
<file path=[Content_Types].xml><?xml version="1.0" encoding="utf-8"?>
<Types xmlns="http://schemas.openxmlformats.org/package/2006/content-types">
  <Default Extension="rels" ContentType="application/vnd.openxmlformats-package.relationships+xml"/>
  <Default Extension="jpeg" ContentType="image/jpeg"/>
  <Default Extension="vml" ContentType="application/vnd.openxmlformats-officedocument.vmlDrawing"/>
  <Default Extension="bin" ContentType="application/vnd.openxmlformats-officedocument.oleObject"/>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NET 16.12.1.0-->
<p:presentation xmlns:r="http://schemas.openxmlformats.org/officeDocument/2006/relationships" xmlns:a="http://schemas.openxmlformats.org/drawingml/2006/main" xmlns:p="http://schemas.openxmlformats.org/presentationml/2006/main" saveSubsetFonts="1">
  <p:sldMasterIdLst>
    <p:sldMasterId id="2147483666" r:id="rId5"/>
    <p:sldMasterId id="2147483680" r:id="rId6"/>
    <p:sldMasterId id="2147483704" r:id="rId7"/>
    <p:sldMasterId id="2147483716" r:id="rId8"/>
    <p:sldMasterId id="2147483734" r:id="rId9"/>
    <p:sldMasterId id="2147483829" r:id="rId10"/>
    <p:sldMasterId id="2147483832" r:id="rId11"/>
    <p:sldMasterId id="2147483929" r:id="rId12"/>
  </p:sldMasterIdLst>
  <p:notesMasterIdLst>
    <p:notesMasterId r:id="rId13"/>
  </p:notesMasterIdLst>
  <p:sldIdLst>
    <p:sldId id="2146848895" r:id="rId14"/>
    <p:sldId id="2146848896" r:id="rId15"/>
    <p:sldId id="2146848897" r:id="rId16"/>
    <p:sldId id="258" r:id="rId17"/>
    <p:sldId id="259" r:id="rId18"/>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p="http://schemas.openxmlformats.org/presentationml/2006/main">
  <p:cmAuthor id="1" name="Sundaram, Ravi Kumar" initials="SRK" lastIdx="0" clrIdx="0">
    <p:extLst>
      <p:ext uri="{19B8F6BF-5375-455C-9EA6-DF929625EA0E}">
        <p15:presenceInfo xmlns:p15="http://schemas.microsoft.com/office/powerpoint/2012/main" userId="S::s.ravikumar@accenture.com::4c13ff63-f112-4b1b-938e-5019ab8fe57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00FF"/>
    <a:srgbClr val="460073"/>
    <a:srgbClr val="7500C0"/>
    <a:srgbClr val="ECCCFF"/>
    <a:srgbClr val="CD80FF"/>
    <a:srgbClr val="B440FF"/>
    <a:srgbClr val="0555FF"/>
    <a:srgbClr val="6600CC"/>
    <a:srgbClr val="008739"/>
    <a:srgbClr val="FF9A2D"/>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A9C842-BC93-4BF7-8D65-D3EA6800E046}" v="9" dt="2021-09-26T14:16:19.458"/>
  </p1510:revLst>
</p1510:revInfo>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4" autoAdjust="0"/>
    <p:restoredTop sz="94660"/>
  </p:normalViewPr>
  <p:slideViewPr>
    <p:cSldViewPr snapToGrid="0">
      <p:cViewPr varScale="1">
        <p:scale>
          <a:sx n="94" d="100"/>
          <a:sy n="94" d="100"/>
        </p:scale>
        <p:origin x="269" y="86"/>
      </p:cViewPr>
      <p:guideLst/>
    </p:cSldViewPr>
  </p:slideViewPr>
  <p:notesTextViewPr>
    <p:cViewPr>
      <p:scale>
        <a:sx n="1" d="1"/>
        <a:sy n="1" d="1"/>
      </p:scale>
      <p:origin x="0" y="0"/>
    </p:cViewPr>
  </p:notesTextViewPr>
  <p:notesViewPr>
    <p:cSldViewPr>
      <p:cViewPr>
        <p:scale>
          <a:sx n="0" d="100"/>
          <a:sy n="0" d="100"/>
        </p:scale>
        <p:origin x="0" y="0"/>
      </p:cViewPr>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Master" Target="slideMasters/slideMaster6.xml" /><Relationship Id="rId11" Type="http://schemas.openxmlformats.org/officeDocument/2006/relationships/slideMaster" Target="slideMasters/slideMaster7.xml" /><Relationship Id="rId12" Type="http://schemas.openxmlformats.org/officeDocument/2006/relationships/slideMaster" Target="slideMasters/slideMaster8.xml" /><Relationship Id="rId13" Type="http://schemas.openxmlformats.org/officeDocument/2006/relationships/notesMaster" Target="notesMasters/notesMaster1.xml" /><Relationship Id="rId14" Type="http://schemas.openxmlformats.org/officeDocument/2006/relationships/slide" Target="slides/slide1.xml" /><Relationship Id="rId15" Type="http://schemas.openxmlformats.org/officeDocument/2006/relationships/slide" Target="slides/slide2.xml" /><Relationship Id="rId16" Type="http://schemas.openxmlformats.org/officeDocument/2006/relationships/slide" Target="slides/slide3.xml" /><Relationship Id="rId17" Type="http://schemas.openxmlformats.org/officeDocument/2006/relationships/slide" Target="slides/slide4.xml" /><Relationship Id="rId18" Type="http://schemas.openxmlformats.org/officeDocument/2006/relationships/slide" Target="slides/slide5.xml" /><Relationship Id="rId19" Type="http://schemas.openxmlformats.org/officeDocument/2006/relationships/tags" Target="tags/tag7.xml" /><Relationship Id="rId2" Type="http://schemas.openxmlformats.org/officeDocument/2006/relationships/customXml" Target="../customXml/item2.xml" /><Relationship Id="rId20" Type="http://schemas.openxmlformats.org/officeDocument/2006/relationships/presProps" Target="presProps.xml" /><Relationship Id="rId21" Type="http://schemas.openxmlformats.org/officeDocument/2006/relationships/viewProps" Target="viewProps.xml" /><Relationship Id="rId22" Type="http://schemas.openxmlformats.org/officeDocument/2006/relationships/theme" Target="theme/theme1.xml" /><Relationship Id="rId23" Type="http://schemas.microsoft.com/office/2015/10/relationships/revisionInfo" Target="revisionInfo.xml" /><Relationship Id="rId24" Type="http://schemas.openxmlformats.org/officeDocument/2006/relationships/tableStyles" Target="tableStyles.xml" /><Relationship Id="rId3" Type="http://schemas.openxmlformats.org/officeDocument/2006/relationships/customXml" Target="../customXml/item3.xml" /><Relationship Id="rId4" Type="http://schemas.openxmlformats.org/officeDocument/2006/relationships/commentAuthors" Target="commentAuthors.xml" /><Relationship Id="rId5" Type="http://schemas.openxmlformats.org/officeDocument/2006/relationships/slideMaster" Target="slideMasters/slideMaster1.xml" /><Relationship Id="rId6" Type="http://schemas.openxmlformats.org/officeDocument/2006/relationships/slideMaster" Target="slideMasters/slideMaster2.xml" /><Relationship Id="rId7" Type="http://schemas.openxmlformats.org/officeDocument/2006/relationships/slideMaster" Target="slideMasters/slideMaster3.xml" /><Relationship Id="rId8" Type="http://schemas.openxmlformats.org/officeDocument/2006/relationships/slideMaster" Target="slideMasters/slideMaster4.xml" /><Relationship Id="rId9" Type="http://schemas.openxmlformats.org/officeDocument/2006/relationships/slideMaster" Target="slideMasters/slideMaster5.xml" /></Relationships>
</file>

<file path=ppt/drawings/_rels/vmlDrawing1.vml.rels>&#65279;<?xml version="1.0" encoding="utf-8" standalone="yes"?><Relationships xmlns="http://schemas.openxmlformats.org/package/2006/relationships"><Relationship Id="rId1" Type="http://schemas.openxmlformats.org/officeDocument/2006/relationships/image" Target="../media/image27.jpeg"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7.jpeg"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36.jpeg" /></Relationships>
</file>

<file path=ppt/drawings/_rels/vmlDrawing4.vml.rels>&#65279;<?xml version="1.0" encoding="utf-8" standalone="yes"?><Relationships xmlns="http://schemas.openxmlformats.org/package/2006/relationships"><Relationship Id="rId1" Type="http://schemas.openxmlformats.org/officeDocument/2006/relationships/image" Target="../media/image36.jpeg" /></Relationships>
</file>

<file path=ppt/notesMasters/_rels/notesMaster1.xml.rels>&#65279;<?xml version="1.0" encoding="utf-8" standalone="yes"?><Relationships xmlns="http://schemas.openxmlformats.org/package/2006/relationships"><Relationship Id="rId1" Type="http://schemas.openxmlformats.org/officeDocument/2006/relationships/theme" Target="../theme/theme9.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25F861F-6EBD-483C-984F-F20AFB151254}" type="datetimeFigureOut">
              <a:rPr lang="en-US" smtClean="0"/>
              <a:t>9/2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FFBA30-D432-4FEA-AF53-BE3B764E29E5}" type="slidenum">
              <a:rPr lang="en-US" smtClean="0"/>
              <a:t>‹#›</a:t>
            </a:fld>
            <a:endParaRPr lang="en-US"/>
          </a:p>
        </p:txBody>
      </p:sp>
    </p:spTree>
    <p:extLst>
      <p:ext uri="{BB962C8B-B14F-4D97-AF65-F5344CB8AC3E}">
        <p14:creationId xmlns:p14="http://schemas.microsoft.com/office/powerpoint/2010/main" val="3785552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Good morning, we are so happy to present to you Parenchute, a new approach to telemedicine where treating the patient goes beyond lab values and dives into a holistic approach. </a:t>
            </a:r>
          </a:p>
          <a:p>
            <a:r>
              <a:rPr lang="en-US">
                <a:cs typeface="Calibri"/>
              </a:rPr>
              <a:t> </a:t>
            </a:r>
          </a:p>
          <a:p>
            <a:r>
              <a:rPr lang="en-US">
                <a:cs typeface="Calibri"/>
              </a:rPr>
              <a:t>We want to treat not just symptoms but the social determinants of health that ultimately impact those symptoms.</a:t>
            </a:r>
            <a:endParaRPr lang="en-US"/>
          </a:p>
        </p:txBody>
      </p:sp>
      <p:sp>
        <p:nvSpPr>
          <p:cNvPr id="4" name="Slide Number Placeholder 3"/>
          <p:cNvSpPr>
            <a:spLocks noGrp="1"/>
          </p:cNvSpPr>
          <p:nvPr>
            <p:ph type="sldNum" sz="quarter" idx="5"/>
          </p:nvPr>
        </p:nvSpPr>
        <p:spPr/>
        <p:txBody>
          <a:bodyPr/>
          <a:lstStyle/>
          <a:p>
            <a:fld id="{EBFFBA30-D432-4FEA-AF53-BE3B764E29E5}" type="slidenum">
              <a:rPr lang="en-US" smtClean="0"/>
              <a:t>1</a:t>
            </a:fld>
            <a:endParaRPr lang="en-US"/>
          </a:p>
        </p:txBody>
      </p:sp>
    </p:spTree>
    <p:extLst>
      <p:ext uri="{BB962C8B-B14F-4D97-AF65-F5344CB8AC3E}">
        <p14:creationId xmlns:p14="http://schemas.microsoft.com/office/powerpoint/2010/main" val="4060832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Before we get into what parenchute is, its important we focus on the who (our target population), the where (our area of focus) and why this application is needed</a:t>
            </a:r>
            <a:endParaRPr lang="en-US"/>
          </a:p>
          <a:p>
            <a:endParaRPr lang="en-US">
              <a:cs typeface="Calibri"/>
            </a:endParaRPr>
          </a:p>
          <a:p>
            <a:r>
              <a:rPr lang="en-US">
                <a:cs typeface="Calibri"/>
              </a:rPr>
              <a:t>During pregnancy birth givers feel a world of emotions that can be overwhelming. For many birth givers Its almost like jumping out of an airplane with out a parachute. You know your ultimate destination, but you do not have the means to get there safely. Parenchute is derived from the concept that a parachute is a lifeline, much like this application. It will work as a saving grace for black birth givers (the who)  who are in rural communities (the where) , with limited resources and support (the why). </a:t>
            </a:r>
          </a:p>
          <a:p>
            <a:endParaRPr lang="en-US">
              <a:cs typeface="Calibri"/>
            </a:endParaRPr>
          </a:p>
          <a:p>
            <a:r>
              <a:rPr lang="en-US">
                <a:cs typeface="Calibri"/>
              </a:rPr>
              <a:t>As we all know, GA has some of the worst maternal and infant health outcomes in the US. There are 37 counties that are in a maternity dessert and when asked women identified 3 main barriers</a:t>
            </a:r>
          </a:p>
          <a:p>
            <a:r>
              <a:rPr lang="en-US">
                <a:cs typeface="Calibri"/>
              </a:rPr>
              <a:t> 1. lack of knowledge that they were pregnant </a:t>
            </a:r>
            <a:endParaRPr lang="en-US"/>
          </a:p>
          <a:p>
            <a:r>
              <a:rPr lang="en-US">
                <a:cs typeface="Calibri"/>
              </a:rPr>
              <a:t>2. lack of available appointments in their area</a:t>
            </a:r>
          </a:p>
          <a:p>
            <a:r>
              <a:rPr lang="en-US">
                <a:cs typeface="Calibri"/>
              </a:rPr>
              <a:t>3. and lastly lack of transportation</a:t>
            </a:r>
          </a:p>
          <a:p>
            <a:r>
              <a:rPr lang="en-US">
                <a:cs typeface="Calibri"/>
              </a:rPr>
              <a:t>Next we will discuss what parenchute will do to address who, where and why</a:t>
            </a:r>
          </a:p>
        </p:txBody>
      </p:sp>
      <p:sp>
        <p:nvSpPr>
          <p:cNvPr id="4" name="Slide Number Placeholder 3"/>
          <p:cNvSpPr>
            <a:spLocks noGrp="1"/>
          </p:cNvSpPr>
          <p:nvPr>
            <p:ph type="sldNum" sz="quarter" idx="5"/>
          </p:nvPr>
        </p:nvSpPr>
        <p:spPr/>
        <p:txBody>
          <a:bodyPr/>
          <a:lstStyle/>
          <a:p>
            <a:fld id="{EBFFBA30-D432-4FEA-AF53-BE3B764E29E5}" type="slidenum">
              <a:rPr lang="en-US" smtClean="0"/>
              <a:t>2</a:t>
            </a:fld>
            <a:endParaRPr lang="en-US"/>
          </a:p>
        </p:txBody>
      </p:sp>
    </p:spTree>
    <p:extLst>
      <p:ext uri="{BB962C8B-B14F-4D97-AF65-F5344CB8AC3E}">
        <p14:creationId xmlns:p14="http://schemas.microsoft.com/office/powerpoint/2010/main" val="4099592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US">
                <a:cs typeface="Calibri"/>
              </a:rPr>
              <a:t>Now, what is Parenchute exactly? It is …</a:t>
            </a:r>
            <a:endParaRPr lang="en-US"/>
          </a:p>
          <a:p>
            <a:pPr>
              <a:spcAft>
                <a:spcPts val="1200"/>
              </a:spcAft>
            </a:pPr>
            <a:endParaRPr lang="en-US" b="1"/>
          </a:p>
          <a:p>
            <a:pPr>
              <a:spcAft>
                <a:spcPts val="1200"/>
              </a:spcAft>
            </a:pPr>
            <a:r>
              <a:rPr lang="en-US" b="1"/>
              <a:t>A  </a:t>
            </a:r>
            <a:r>
              <a:rPr lang="en-US"/>
              <a:t>Mobile Application that creates:</a:t>
            </a:r>
            <a:endParaRPr lang="en-US">
              <a:cs typeface="Calibri"/>
            </a:endParaRPr>
          </a:p>
          <a:p>
            <a:pPr>
              <a:spcAft>
                <a:spcPts val="1200"/>
              </a:spcAft>
            </a:pPr>
            <a:r>
              <a:rPr lang="en-US"/>
              <a:t>- Access to an OB/GYN Provider </a:t>
            </a:r>
            <a:endParaRPr lang="en-US">
              <a:cs typeface="Calibri"/>
            </a:endParaRPr>
          </a:p>
          <a:p>
            <a:pPr>
              <a:spcAft>
                <a:spcPts val="1200"/>
              </a:spcAft>
            </a:pPr>
            <a:r>
              <a:rPr lang="en-US">
                <a:cs typeface="Calibri"/>
              </a:rPr>
              <a:t>- Linkage with and EHR that will push routine wellness surveys and utilize an analytic prediction model to connect with a provider or make a next available appt to address symptoms</a:t>
            </a:r>
          </a:p>
          <a:p>
            <a:pPr>
              <a:spcAft>
                <a:spcPts val="1200"/>
              </a:spcAft>
            </a:pPr>
            <a:r>
              <a:rPr lang="en-US"/>
              <a:t>- Access to on-demand educational tools created by health care providers, such as videos and readings on breastfeeding, creating a birth plan and other vital tools</a:t>
            </a:r>
            <a:endParaRPr lang="en-US">
              <a:cs typeface="Calibri"/>
            </a:endParaRPr>
          </a:p>
          <a:p>
            <a:pPr>
              <a:spcAft>
                <a:spcPts val="1200"/>
              </a:spcAft>
            </a:pPr>
            <a:r>
              <a:rPr lang="en-US">
                <a:cs typeface="Calibri"/>
              </a:rPr>
              <a:t>- And Access to a support forum and voice meets to connect with other birth givers</a:t>
            </a:r>
          </a:p>
          <a:p>
            <a:pPr>
              <a:spcAft>
                <a:spcPts val="1200"/>
              </a:spcAft>
            </a:pPr>
            <a:endParaRPr lang="en-US">
              <a:cs typeface="Calibri"/>
            </a:endParaRPr>
          </a:p>
          <a:p>
            <a:pPr>
              <a:spcAft>
                <a:spcPts val="1200"/>
              </a:spcAft>
            </a:pPr>
            <a:r>
              <a:rPr lang="en-US">
                <a:cs typeface="Calibri"/>
              </a:rPr>
              <a:t>Additionally, the application will have a gamification component. There will incentives that can help address barriers with insurance coverage and income limitations. Participants can receive points that can provide health care spending dollars. These spending dollars can go  towards the cost of copays and other resources like blood pressure cuffs and breast pumps.</a:t>
            </a:r>
          </a:p>
          <a:p>
            <a:pPr>
              <a:spcAft>
                <a:spcPts val="1200"/>
              </a:spcAft>
            </a:pPr>
            <a:endParaRPr lang="en-US">
              <a:cs typeface="Calibri"/>
            </a:endParaRPr>
          </a:p>
          <a:p>
            <a:pPr>
              <a:spcAft>
                <a:spcPts val="1200"/>
              </a:spcAft>
            </a:pPr>
            <a:r>
              <a:rPr lang="en-US">
                <a:cs typeface="Calibri"/>
              </a:rPr>
              <a:t>To promote use of the application services, as well as gain insight for application evaluation, participants can receive points by:</a:t>
            </a:r>
          </a:p>
          <a:p>
            <a:pPr>
              <a:spcAft>
                <a:spcPts val="1200"/>
              </a:spcAft>
            </a:pPr>
            <a:r>
              <a:rPr lang="en-US">
                <a:cs typeface="Calibri"/>
              </a:rPr>
              <a:t>1. Participating  in the support forum AND by</a:t>
            </a:r>
          </a:p>
          <a:p>
            <a:pPr>
              <a:spcAft>
                <a:spcPts val="1200"/>
              </a:spcAft>
            </a:pPr>
            <a:r>
              <a:rPr lang="en-US">
                <a:cs typeface="Calibri"/>
              </a:rPr>
              <a:t>2. Providing feedback on provider and app satisfaction.</a:t>
            </a:r>
          </a:p>
          <a:p>
            <a:pPr>
              <a:spcAft>
                <a:spcPts val="1200"/>
              </a:spcAft>
            </a:pPr>
            <a:endParaRPr lang="en-US">
              <a:cs typeface="Calibri"/>
            </a:endParaRPr>
          </a:p>
          <a:p>
            <a:pPr>
              <a:spcAft>
                <a:spcPts val="1200"/>
              </a:spcAft>
            </a:pPr>
            <a:r>
              <a:rPr lang="en-US">
                <a:cs typeface="Calibri"/>
              </a:rPr>
              <a:t>To create a more culturally competent healthcare experience, providers have the ability to assess and refer patients to the apps repository of vital community resources that address the social determinants of health. This repository will include a built in map feature than pin points, based on location, local community organizations available for food, financial and other forms of assistance. This map feature can give them turn by turn directions to the community organization.</a:t>
            </a:r>
          </a:p>
          <a:p>
            <a:endParaRPr lang="en-US"/>
          </a:p>
          <a:p>
            <a:r>
              <a:rPr lang="en-US">
                <a:cs typeface="Calibri"/>
              </a:rPr>
              <a:t>Lastly to ensure HIPAA all participants will need to provided informed consent for use</a:t>
            </a:r>
          </a:p>
        </p:txBody>
      </p:sp>
      <p:sp>
        <p:nvSpPr>
          <p:cNvPr id="4" name="Slide Number Placeholder 3"/>
          <p:cNvSpPr>
            <a:spLocks noGrp="1"/>
          </p:cNvSpPr>
          <p:nvPr>
            <p:ph type="sldNum" sz="quarter" idx="5"/>
          </p:nvPr>
        </p:nvSpPr>
        <p:spPr/>
        <p:txBody>
          <a:bodyPr/>
          <a:lstStyle/>
          <a:p>
            <a:fld id="{EBFFBA30-D432-4FEA-AF53-BE3B764E29E5}" type="slidenum">
              <a:rPr lang="en-US" smtClean="0"/>
              <a:t>3</a:t>
            </a:fld>
            <a:endParaRPr lang="en-US"/>
          </a:p>
        </p:txBody>
      </p:sp>
    </p:spTree>
    <p:extLst>
      <p:ext uri="{BB962C8B-B14F-4D97-AF65-F5344CB8AC3E}">
        <p14:creationId xmlns:p14="http://schemas.microsoft.com/office/powerpoint/2010/main" val="40747765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hat is the impact that Parenchute can create?</a:t>
            </a:r>
          </a:p>
          <a:p>
            <a:endParaRPr lang="en-US">
              <a:cs typeface="Calibri"/>
            </a:endParaRPr>
          </a:p>
          <a:p>
            <a:r>
              <a:rPr lang="en-US">
                <a:cs typeface="Calibri"/>
              </a:rPr>
              <a:t>Its...</a:t>
            </a:r>
            <a:br>
              <a:rPr lang="en-US">
                <a:cs typeface="+mn-lt"/>
              </a:rPr>
            </a:br>
            <a:r>
              <a:rPr lang="en-US">
                <a:cs typeface="Calibri"/>
              </a:rPr>
              <a:t>1. enabling the empowerment of women through knowledge, access and support to thrive in pregnancy, birth and post partum.</a:t>
            </a:r>
          </a:p>
          <a:p>
            <a:r>
              <a:rPr lang="en-US">
                <a:cs typeface="Calibri"/>
              </a:rPr>
              <a:t>2. Allowing for improved quality of care by looking at the patient as a whole picture and not just as one piece of a puzzle. Parenchute also provides customized planning that tailors to each patient in order to reduce gaps in care and potential for implicit bias, as racial disparity accounts for 45% of the mortality rate.</a:t>
            </a:r>
          </a:p>
          <a:p>
            <a:r>
              <a:rPr lang="en-US">
                <a:cs typeface="Calibri"/>
              </a:rPr>
              <a:t>3. Lastly parenchute has opportunity to improve maternal health outcomes in Georgia</a:t>
            </a:r>
          </a:p>
          <a:p>
            <a:endParaRPr lang="en-US">
              <a:cs typeface="Calibri"/>
            </a:endParaRPr>
          </a:p>
          <a:p>
            <a:r>
              <a:rPr lang="en-US">
                <a:cs typeface="Calibri"/>
              </a:rPr>
              <a:t>From the data we hope to see:</a:t>
            </a:r>
          </a:p>
          <a:p>
            <a:r>
              <a:rPr lang="en-US">
                <a:cs typeface="Calibri"/>
              </a:rPr>
              <a:t>- a reduction in avoidable pregnancy related hospitalizations.. Less use of the ED as a PCP, which can in turn make positive impact on heath care costs</a:t>
            </a:r>
          </a:p>
          <a:p>
            <a:r>
              <a:rPr lang="en-US">
                <a:cs typeface="Calibri"/>
              </a:rPr>
              <a:t>-  a reduction of mortality rates</a:t>
            </a:r>
          </a:p>
          <a:p>
            <a:r>
              <a:rPr lang="en-US">
                <a:cs typeface="Calibri"/>
              </a:rPr>
              <a:t>-increased maternal health literacy rates</a:t>
            </a:r>
          </a:p>
          <a:p>
            <a:r>
              <a:rPr lang="en-US">
                <a:cs typeface="Calibri"/>
              </a:rPr>
              <a:t>- increase in support systems for birth givers who may be experiencing isolation during the pandemic. </a:t>
            </a:r>
          </a:p>
          <a:p>
            <a:r>
              <a:rPr lang="en-US">
                <a:cs typeface="Calibri"/>
              </a:rPr>
              <a:t>         </a:t>
            </a:r>
          </a:p>
        </p:txBody>
      </p:sp>
      <p:sp>
        <p:nvSpPr>
          <p:cNvPr id="4" name="Slide Number Placeholder 3"/>
          <p:cNvSpPr>
            <a:spLocks noGrp="1"/>
          </p:cNvSpPr>
          <p:nvPr>
            <p:ph type="sldNum" sz="quarter" idx="5"/>
          </p:nvPr>
        </p:nvSpPr>
        <p:spPr/>
        <p:txBody>
          <a:bodyPr/>
          <a:lstStyle/>
          <a:p>
            <a:fld id="{EBFFBA30-D432-4FEA-AF53-BE3B764E29E5}" type="slidenum">
              <a:rPr lang="en-US" smtClean="0"/>
              <a:t>4</a:t>
            </a:fld>
            <a:endParaRPr lang="en-US"/>
          </a:p>
        </p:txBody>
      </p:sp>
    </p:spTree>
    <p:extLst>
      <p:ext uri="{BB962C8B-B14F-4D97-AF65-F5344CB8AC3E}">
        <p14:creationId xmlns:p14="http://schemas.microsoft.com/office/powerpoint/2010/main" val="7990655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how do we implement a holistic and equitable care application? We bring everyone together to realize the value of the application.</a:t>
            </a:r>
            <a:endParaRPr lang="en-US">
              <a:cs typeface="Calibri"/>
            </a:endParaRPr>
          </a:p>
          <a:p>
            <a:endParaRPr lang="en-US">
              <a:cs typeface="Calibri"/>
            </a:endParaRPr>
          </a:p>
          <a:p>
            <a:r>
              <a:rPr lang="en-US">
                <a:cs typeface="Calibri"/>
              </a:rPr>
              <a:t>1. we engage key stakeholder- Nurses, social workers, physicians, health care systems, IT professionals, and managed care organizations</a:t>
            </a:r>
          </a:p>
          <a:p>
            <a:endParaRPr lang="en-US">
              <a:cs typeface="Calibri"/>
            </a:endParaRPr>
          </a:p>
          <a:p>
            <a:r>
              <a:rPr lang="en-US">
                <a:cs typeface="Calibri"/>
              </a:rPr>
              <a:t>It will take resources to make this application a reality. We recognize the benefits of this app but we can't ignore the population that may not be able to access it.  Our goal is to link potential patients without these resources to SafeLink Wireless, a government assistance that supplies a smartphone with data and texting capabilities to those who qualify. For any outliers we will rely on stakeholder funding to make this a reality. This slide outlines our projected timeline and budget for our application.</a:t>
            </a:r>
          </a:p>
          <a:p>
            <a:endParaRPr lang="en-US">
              <a:cs typeface="Calibri"/>
            </a:endParaRPr>
          </a:p>
          <a:p>
            <a:r>
              <a:rPr lang="en-US">
                <a:cs typeface="Calibri"/>
              </a:rPr>
              <a:t>In the first 2  months we will engage stake holders</a:t>
            </a:r>
          </a:p>
          <a:p>
            <a:r>
              <a:rPr lang="en-US">
                <a:cs typeface="Calibri"/>
              </a:rPr>
              <a:t>In months 3-8 we will focus on engaging these subject matter experts in application development</a:t>
            </a:r>
          </a:p>
          <a:p>
            <a:r>
              <a:rPr lang="en-US">
                <a:cs typeface="Calibri"/>
              </a:rPr>
              <a:t>Between months 9 and 15 we plan to begin initial testing with a small pilot population</a:t>
            </a:r>
          </a:p>
          <a:p>
            <a:r>
              <a:rPr lang="en-US">
                <a:cs typeface="Calibri"/>
              </a:rPr>
              <a:t>And beyond that point we hope to achieve phase 1 of implementation. </a:t>
            </a:r>
          </a:p>
        </p:txBody>
      </p:sp>
      <p:sp>
        <p:nvSpPr>
          <p:cNvPr id="4" name="Slide Number Placeholder 3"/>
          <p:cNvSpPr>
            <a:spLocks noGrp="1"/>
          </p:cNvSpPr>
          <p:nvPr>
            <p:ph type="sldNum" sz="quarter" idx="5"/>
          </p:nvPr>
        </p:nvSpPr>
        <p:spPr/>
        <p:txBody>
          <a:bodyPr/>
          <a:lstStyle/>
          <a:p>
            <a:fld id="{EBFFBA30-D432-4FEA-AF53-BE3B764E29E5}" type="slidenum">
              <a:rPr lang="en-US" smtClean="0"/>
              <a:t>5</a:t>
            </a:fld>
            <a:endParaRPr lang="en-US"/>
          </a:p>
        </p:txBody>
      </p:sp>
    </p:spTree>
    <p:extLst>
      <p:ext uri="{BB962C8B-B14F-4D97-AF65-F5344CB8AC3E}">
        <p14:creationId xmlns:p14="http://schemas.microsoft.com/office/powerpoint/2010/main" val="3449318991"/>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image" Target="../media/image1.jpeg" /><Relationship Id="rId2" Type="http://schemas.openxmlformats.org/officeDocument/2006/relationships/image" Target="../media/image2.jpeg" /><Relationship Id="rId3" Type="http://schemas.openxmlformats.org/officeDocument/2006/relationships/image" Target="../media/image3.jpeg" /><Relationship Id="rId4"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image" Target="../media/image20.jpeg" /><Relationship Id="rId2" Type="http://schemas.openxmlformats.org/officeDocument/2006/relationships/slideMaster" Target="../slideMasters/slideMaster2.xml" /></Relationships>
</file>

<file path=ppt/slideLayouts/_rels/slideLayout100.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01.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02.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03.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04.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05.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06.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07.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08.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09.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1.xml.rels>&#65279;<?xml version="1.0" encoding="utf-8" standalone="yes"?><Relationships xmlns="http://schemas.openxmlformats.org/package/2006/relationships"><Relationship Id="rId1" Type="http://schemas.openxmlformats.org/officeDocument/2006/relationships/image" Target="../media/image21.jpeg" /><Relationship Id="rId2" Type="http://schemas.openxmlformats.org/officeDocument/2006/relationships/slideMaster" Target="../slideMasters/slideMaster2.xml" /></Relationships>
</file>

<file path=ppt/slideLayouts/_rels/slideLayout110.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11.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12.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13.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14.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15.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16.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17.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18.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19.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2.xml.rels>&#65279;<?xml version="1.0" encoding="utf-8" standalone="yes"?><Relationships xmlns="http://schemas.openxmlformats.org/package/2006/relationships"><Relationship Id="rId1" Type="http://schemas.openxmlformats.org/officeDocument/2006/relationships/image" Target="../media/image22.jpeg" /><Relationship Id="rId2" Type="http://schemas.openxmlformats.org/officeDocument/2006/relationships/slideMaster" Target="../slideMasters/slideMaster2.xml" /></Relationships>
</file>

<file path=ppt/slideLayouts/_rels/slideLayout120.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21.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22.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23.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24.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25.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26.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27.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28.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29.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3.xml.rels>&#65279;<?xml version="1.0" encoding="utf-8" standalone="yes"?><Relationships xmlns="http://schemas.openxmlformats.org/package/2006/relationships"><Relationship Id="rId1" Type="http://schemas.openxmlformats.org/officeDocument/2006/relationships/image" Target="../media/image23.jpeg" /><Relationship Id="rId2" Type="http://schemas.openxmlformats.org/officeDocument/2006/relationships/slideMaster" Target="../slideMasters/slideMaster2.xml" /></Relationships>
</file>

<file path=ppt/slideLayouts/_rels/slideLayout130.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31.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32.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33.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34.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35.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36.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37.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38.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39.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4.xml.rels>&#65279;<?xml version="1.0" encoding="utf-8" standalone="yes"?><Relationships xmlns="http://schemas.openxmlformats.org/package/2006/relationships"><Relationship Id="rId1" Type="http://schemas.openxmlformats.org/officeDocument/2006/relationships/image" Target="../media/image24.jpeg" /><Relationship Id="rId2" Type="http://schemas.openxmlformats.org/officeDocument/2006/relationships/slideMaster" Target="../slideMasters/slideMaster2.xml" /></Relationships>
</file>

<file path=ppt/slideLayouts/_rels/slideLayout140.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41.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42.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43.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144.xml.rels>&#65279;<?xml version="1.0" encoding="utf-8" standalone="yes"?><Relationships xmlns="http://schemas.openxmlformats.org/package/2006/relationships"><Relationship Id="rId1" Type="http://schemas.openxmlformats.org/officeDocument/2006/relationships/slideMaster" Target="../slideMasters/slideMaster6.xml" /></Relationships>
</file>

<file path=ppt/slideLayouts/_rels/slideLayout145.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46.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47.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48.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49.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5.xml.rels>&#65279;<?xml version="1.0" encoding="utf-8" standalone="yes"?><Relationships xmlns="http://schemas.openxmlformats.org/package/2006/relationships"><Relationship Id="rId1" Type="http://schemas.openxmlformats.org/officeDocument/2006/relationships/image" Target="../media/image25.jpeg" /><Relationship Id="rId2" Type="http://schemas.openxmlformats.org/officeDocument/2006/relationships/slideMaster" Target="../slideMasters/slideMaster2.xml" /></Relationships>
</file>

<file path=ppt/slideLayouts/_rels/slideLayout150.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51.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52.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53.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54.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55.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56.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57.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58.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59.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6.xml.rels>&#65279;<?xml version="1.0" encoding="utf-8" standalone="yes"?><Relationships xmlns="http://schemas.openxmlformats.org/package/2006/relationships"><Relationship Id="rId1" Type="http://schemas.openxmlformats.org/officeDocument/2006/relationships/image" Target="../media/image26.jpeg" /><Relationship Id="rId2" Type="http://schemas.openxmlformats.org/officeDocument/2006/relationships/slideMaster" Target="../slideMasters/slideMaster2.xml" /></Relationships>
</file>

<file path=ppt/slideLayouts/_rels/slideLayout160.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61.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62.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63.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64.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65.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66.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67.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68.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69.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7.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70.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71.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72.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73.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74.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75.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76.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77.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78.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79.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80.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81.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82.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83.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84.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85.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86.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87.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88.xml.rels>&#65279;<?xml version="1.0" encoding="utf-8" standalone="yes"?><Relationships xmlns="http://schemas.openxmlformats.org/package/2006/relationships"><Relationship Id="rId1" Type="http://schemas.openxmlformats.org/officeDocument/2006/relationships/image" Target="../media/image37.jpeg" /><Relationship Id="rId2" Type="http://schemas.openxmlformats.org/officeDocument/2006/relationships/slideMaster" Target="../slideMasters/slideMaster7.xml" /></Relationships>
</file>

<file path=ppt/slideLayouts/_rels/slideLayout189.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9.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90.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91.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92.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93.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94.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95.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96.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97.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98.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199.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xml.rels>&#65279;<?xml version="1.0" encoding="utf-8" standalone="yes"?><Relationships xmlns="http://schemas.openxmlformats.org/package/2006/relationships"><Relationship Id="rId1" Type="http://schemas.openxmlformats.org/officeDocument/2006/relationships/image" Target="../media/image4.jpeg" /><Relationship Id="rId2"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00.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01.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02.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03.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04.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05.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06.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07.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08.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09.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10.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11.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12.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13.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14.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15.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16.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17.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18.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19.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2.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oleObject" Target="../embeddings/oleObject1.bin" TargetMode="Internal" /><Relationship Id="rId3" Type="http://schemas.openxmlformats.org/officeDocument/2006/relationships/image" Target="../media/image27.jpeg" /><Relationship Id="rId4" Type="http://schemas.openxmlformats.org/officeDocument/2006/relationships/vmlDrawing" Target="../drawings/vmlDrawing1.vml" /><Relationship Id="rId5" Type="http://schemas.openxmlformats.org/officeDocument/2006/relationships/slideMaster" Target="../slideMasters/slideMaster2.xml" /></Relationships>
</file>

<file path=ppt/slideLayouts/_rels/slideLayout220.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21.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22.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23.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24.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25.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26.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27.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28.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29.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3.xml.rels>&#65279;<?xml version="1.0" encoding="utf-8" standalone="yes"?><Relationships xmlns="http://schemas.openxmlformats.org/package/2006/relationships"><Relationship Id="rId1" Type="http://schemas.openxmlformats.org/officeDocument/2006/relationships/tags" Target="../tags/tag2.xml" /><Relationship Id="rId2" Type="http://schemas.openxmlformats.org/officeDocument/2006/relationships/oleObject" Target="../embeddings/oleObject2.bin" TargetMode="Internal" /><Relationship Id="rId3" Type="http://schemas.openxmlformats.org/officeDocument/2006/relationships/image" Target="../media/image27.jpeg" /><Relationship Id="rId4" Type="http://schemas.openxmlformats.org/officeDocument/2006/relationships/vmlDrawing" Target="../drawings/vmlDrawing2.vml" /><Relationship Id="rId5" Type="http://schemas.openxmlformats.org/officeDocument/2006/relationships/slideMaster" Target="../slideMasters/slideMaster2.xml" /></Relationships>
</file>

<file path=ppt/slideLayouts/_rels/slideLayout230.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31.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32.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33.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34.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35.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36.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37.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38.xml.rels>&#65279;<?xml version="1.0" encoding="utf-8" standalone="yes"?><Relationships xmlns="http://schemas.openxmlformats.org/package/2006/relationships"><Relationship Id="rId1" Type="http://schemas.openxmlformats.org/officeDocument/2006/relationships/slideMaster" Target="../slideMasters/slideMaster7.xml" /></Relationships>
</file>

<file path=ppt/slideLayouts/_rels/slideLayout239.xml.rels>&#65279;<?xml version="1.0" encoding="utf-8" standalone="yes"?><Relationships xmlns="http://schemas.openxmlformats.org/package/2006/relationships"><Relationship Id="rId1" Type="http://schemas.openxmlformats.org/officeDocument/2006/relationships/image" Target="../media/image38.jpeg" /><Relationship Id="rId2" Type="http://schemas.openxmlformats.org/officeDocument/2006/relationships/image" Target="../media/image39.jpeg" /><Relationship Id="rId3" Type="http://schemas.openxmlformats.org/officeDocument/2006/relationships/slideMaster" Target="../slideMasters/slideMaster8.xml" /></Relationships>
</file>

<file path=ppt/slideLayouts/_rels/slideLayout24.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40.xml.rels>&#65279;<?xml version="1.0" encoding="utf-8" standalone="yes"?><Relationships xmlns="http://schemas.openxmlformats.org/package/2006/relationships"><Relationship Id="rId1" Type="http://schemas.openxmlformats.org/officeDocument/2006/relationships/image" Target="../media/image40.jpeg" /><Relationship Id="rId2" Type="http://schemas.openxmlformats.org/officeDocument/2006/relationships/image" Target="../media/image39.jpeg" /><Relationship Id="rId3" Type="http://schemas.openxmlformats.org/officeDocument/2006/relationships/slideMaster" Target="../slideMasters/slideMaster8.xml" /></Relationships>
</file>

<file path=ppt/slideLayouts/_rels/slideLayout241.xml.rels>&#65279;<?xml version="1.0" encoding="utf-8" standalone="yes"?><Relationships xmlns="http://schemas.openxmlformats.org/package/2006/relationships"><Relationship Id="rId1" Type="http://schemas.openxmlformats.org/officeDocument/2006/relationships/image" Target="../media/image41.jpeg" /><Relationship Id="rId2" Type="http://schemas.openxmlformats.org/officeDocument/2006/relationships/image" Target="../media/image35.jpeg" /><Relationship Id="rId3" Type="http://schemas.openxmlformats.org/officeDocument/2006/relationships/slideMaster" Target="../slideMasters/slideMaster8.xml" /></Relationships>
</file>

<file path=ppt/slideLayouts/_rels/slideLayout242.xml.rels>&#65279;<?xml version="1.0" encoding="utf-8" standalone="yes"?><Relationships xmlns="http://schemas.openxmlformats.org/package/2006/relationships"><Relationship Id="rId1" Type="http://schemas.openxmlformats.org/officeDocument/2006/relationships/image" Target="../media/image42.jpeg" /><Relationship Id="rId2" Type="http://schemas.openxmlformats.org/officeDocument/2006/relationships/image" Target="../media/image38.jpeg" /><Relationship Id="rId3" Type="http://schemas.openxmlformats.org/officeDocument/2006/relationships/image" Target="../media/image39.jpeg" /><Relationship Id="rId4" Type="http://schemas.openxmlformats.org/officeDocument/2006/relationships/slideMaster" Target="../slideMasters/slideMaster8.xml" /></Relationships>
</file>

<file path=ppt/slideLayouts/_rels/slideLayout243.xml.rels>&#65279;<?xml version="1.0" encoding="utf-8" standalone="yes"?><Relationships xmlns="http://schemas.openxmlformats.org/package/2006/relationships"><Relationship Id="rId1" Type="http://schemas.openxmlformats.org/officeDocument/2006/relationships/image" Target="../media/image43.jpeg" /><Relationship Id="rId2" Type="http://schemas.openxmlformats.org/officeDocument/2006/relationships/image" Target="../media/image38.jpeg" /><Relationship Id="rId3" Type="http://schemas.openxmlformats.org/officeDocument/2006/relationships/image" Target="../media/image39.jpeg" /><Relationship Id="rId4" Type="http://schemas.openxmlformats.org/officeDocument/2006/relationships/slideMaster" Target="../slideMasters/slideMaster8.xml" /></Relationships>
</file>

<file path=ppt/slideLayouts/_rels/slideLayout244.xml.rels>&#65279;<?xml version="1.0" encoding="utf-8" standalone="yes"?><Relationships xmlns="http://schemas.openxmlformats.org/package/2006/relationships"><Relationship Id="rId1" Type="http://schemas.openxmlformats.org/officeDocument/2006/relationships/image" Target="../media/image44.jpeg" /><Relationship Id="rId2" Type="http://schemas.openxmlformats.org/officeDocument/2006/relationships/image" Target="../media/image38.jpeg" /><Relationship Id="rId3" Type="http://schemas.openxmlformats.org/officeDocument/2006/relationships/image" Target="../media/image39.jpeg" /><Relationship Id="rId4" Type="http://schemas.openxmlformats.org/officeDocument/2006/relationships/slideMaster" Target="../slideMasters/slideMaster8.xml" /></Relationships>
</file>

<file path=ppt/slideLayouts/_rels/slideLayout245.xml.rels>&#65279;<?xml version="1.0" encoding="utf-8" standalone="yes"?><Relationships xmlns="http://schemas.openxmlformats.org/package/2006/relationships"><Relationship Id="rId1" Type="http://schemas.openxmlformats.org/officeDocument/2006/relationships/image" Target="../media/image38.jpeg" /><Relationship Id="rId2" Type="http://schemas.openxmlformats.org/officeDocument/2006/relationships/image" Target="../media/image39.jpeg" /><Relationship Id="rId3" Type="http://schemas.openxmlformats.org/officeDocument/2006/relationships/slideMaster" Target="../slideMasters/slideMaster8.xml" /></Relationships>
</file>

<file path=ppt/slideLayouts/_rels/slideLayout246.xml.rels>&#65279;<?xml version="1.0" encoding="utf-8" standalone="yes"?><Relationships xmlns="http://schemas.openxmlformats.org/package/2006/relationships"><Relationship Id="rId1" Type="http://schemas.openxmlformats.org/officeDocument/2006/relationships/image" Target="../media/image45.jpeg" /><Relationship Id="rId2" Type="http://schemas.openxmlformats.org/officeDocument/2006/relationships/image" Target="../media/image46.jpeg" /><Relationship Id="rId3" Type="http://schemas.openxmlformats.org/officeDocument/2006/relationships/image" Target="../media/image47.jpeg" /><Relationship Id="rId4" Type="http://schemas.openxmlformats.org/officeDocument/2006/relationships/slideMaster" Target="../slideMasters/slideMaster8.xml" /></Relationships>
</file>

<file path=ppt/slideLayouts/_rels/slideLayout247.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48.xml.rels>&#65279;<?xml version="1.0" encoding="utf-8" standalone="yes"?><Relationships xmlns="http://schemas.openxmlformats.org/package/2006/relationships"><Relationship Id="rId1" Type="http://schemas.openxmlformats.org/officeDocument/2006/relationships/image" Target="../media/image48.jpeg" /><Relationship Id="rId2" Type="http://schemas.openxmlformats.org/officeDocument/2006/relationships/image" Target="../media/image49.jpeg" /><Relationship Id="rId3" Type="http://schemas.openxmlformats.org/officeDocument/2006/relationships/slideMaster" Target="../slideMasters/slideMaster8.xml" /></Relationships>
</file>

<file path=ppt/slideLayouts/_rels/slideLayout249.xml.rels>&#65279;<?xml version="1.0" encoding="utf-8" standalone="yes"?><Relationships xmlns="http://schemas.openxmlformats.org/package/2006/relationships"><Relationship Id="rId1" Type="http://schemas.openxmlformats.org/officeDocument/2006/relationships/image" Target="../media/image50.jpeg" /><Relationship Id="rId2" Type="http://schemas.openxmlformats.org/officeDocument/2006/relationships/image" Target="../media/image49.jpeg" /><Relationship Id="rId3" Type="http://schemas.openxmlformats.org/officeDocument/2006/relationships/slideMaster" Target="../slideMasters/slideMaster8.xml" /></Relationships>
</file>

<file path=ppt/slideLayouts/_rels/slideLayout25.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50.xml.rels>&#65279;<?xml version="1.0" encoding="utf-8" standalone="yes"?><Relationships xmlns="http://schemas.openxmlformats.org/package/2006/relationships"><Relationship Id="rId1" Type="http://schemas.openxmlformats.org/officeDocument/2006/relationships/image" Target="../media/image51.jpeg" /><Relationship Id="rId2" Type="http://schemas.openxmlformats.org/officeDocument/2006/relationships/image" Target="../media/image38.jpeg" /><Relationship Id="rId3" Type="http://schemas.openxmlformats.org/officeDocument/2006/relationships/slideMaster" Target="../slideMasters/slideMaster8.xml" /></Relationships>
</file>

<file path=ppt/slideLayouts/_rels/slideLayout251.xml.rels>&#65279;<?xml version="1.0" encoding="utf-8" standalone="yes"?><Relationships xmlns="http://schemas.openxmlformats.org/package/2006/relationships"><Relationship Id="rId1" Type="http://schemas.openxmlformats.org/officeDocument/2006/relationships/image" Target="../media/image49.jpeg" /><Relationship Id="rId2" Type="http://schemas.openxmlformats.org/officeDocument/2006/relationships/slideMaster" Target="../slideMasters/slideMaster8.xml" /></Relationships>
</file>

<file path=ppt/slideLayouts/_rels/slideLayout252.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53.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54.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55.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56.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57.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58.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59.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6.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60.xml.rels>&#65279;<?xml version="1.0" encoding="utf-8" standalone="yes"?><Relationships xmlns="http://schemas.openxmlformats.org/package/2006/relationships"><Relationship Id="rId1" Type="http://schemas.openxmlformats.org/officeDocument/2006/relationships/image" Target="../media/image49.jpeg" /><Relationship Id="rId2" Type="http://schemas.openxmlformats.org/officeDocument/2006/relationships/slideMaster" Target="../slideMasters/slideMaster8.xml" /></Relationships>
</file>

<file path=ppt/slideLayouts/_rels/slideLayout261.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62.xml.rels>&#65279;<?xml version="1.0" encoding="utf-8" standalone="yes"?><Relationships xmlns="http://schemas.openxmlformats.org/package/2006/relationships"><Relationship Id="rId1" Type="http://schemas.openxmlformats.org/officeDocument/2006/relationships/image" Target="../media/image52.jpeg" /><Relationship Id="rId2" Type="http://schemas.openxmlformats.org/officeDocument/2006/relationships/slideMaster" Target="../slideMasters/slideMaster8.xml" /></Relationships>
</file>

<file path=ppt/slideLayouts/_rels/slideLayout263.xml.rels>&#65279;<?xml version="1.0" encoding="utf-8" standalone="yes"?><Relationships xmlns="http://schemas.openxmlformats.org/package/2006/relationships"><Relationship Id="rId1" Type="http://schemas.openxmlformats.org/officeDocument/2006/relationships/image" Target="../media/image49.jpeg" /><Relationship Id="rId2" Type="http://schemas.openxmlformats.org/officeDocument/2006/relationships/slideMaster" Target="../slideMasters/slideMaster8.xml" /></Relationships>
</file>

<file path=ppt/slideLayouts/_rels/slideLayout264.xml.rels>&#65279;<?xml version="1.0" encoding="utf-8" standalone="yes"?><Relationships xmlns="http://schemas.openxmlformats.org/package/2006/relationships"><Relationship Id="rId1" Type="http://schemas.openxmlformats.org/officeDocument/2006/relationships/image" Target="../media/image53.jpeg" /><Relationship Id="rId2" Type="http://schemas.openxmlformats.org/officeDocument/2006/relationships/slideMaster" Target="../slideMasters/slideMaster8.xml" /></Relationships>
</file>

<file path=ppt/slideLayouts/_rels/slideLayout265.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66.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67.xml.rels>&#65279;<?xml version="1.0" encoding="utf-8" standalone="yes"?><Relationships xmlns="http://schemas.openxmlformats.org/package/2006/relationships"><Relationship Id="rId1" Type="http://schemas.openxmlformats.org/officeDocument/2006/relationships/image" Target="../media/image54.jpeg" /><Relationship Id="rId2" Type="http://schemas.openxmlformats.org/officeDocument/2006/relationships/image" Target="../media/image49.jpeg" /><Relationship Id="rId3" Type="http://schemas.openxmlformats.org/officeDocument/2006/relationships/slideMaster" Target="../slideMasters/slideMaster8.xml" /></Relationships>
</file>

<file path=ppt/slideLayouts/_rels/slideLayout268.xml.rels>&#65279;<?xml version="1.0" encoding="utf-8" standalone="yes"?><Relationships xmlns="http://schemas.openxmlformats.org/package/2006/relationships"><Relationship Id="rId1" Type="http://schemas.openxmlformats.org/officeDocument/2006/relationships/image" Target="../media/image49.jpeg" /><Relationship Id="rId2" Type="http://schemas.openxmlformats.org/officeDocument/2006/relationships/slideMaster" Target="../slideMasters/slideMaster8.xml" /></Relationships>
</file>

<file path=ppt/slideLayouts/_rels/slideLayout269.xml.rels>&#65279;<?xml version="1.0" encoding="utf-8" standalone="yes"?><Relationships xmlns="http://schemas.openxmlformats.org/package/2006/relationships"><Relationship Id="rId1" Type="http://schemas.openxmlformats.org/officeDocument/2006/relationships/image" Target="../media/image49.jpeg" /><Relationship Id="rId2" Type="http://schemas.openxmlformats.org/officeDocument/2006/relationships/slideMaster" Target="../slideMasters/slideMaster8.xml" /></Relationships>
</file>

<file path=ppt/slideLayouts/_rels/slideLayout27.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70.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71.xml.rels>&#65279;<?xml version="1.0" encoding="utf-8" standalone="yes"?><Relationships xmlns="http://schemas.openxmlformats.org/package/2006/relationships"><Relationship Id="rId1" Type="http://schemas.openxmlformats.org/officeDocument/2006/relationships/hyperlink" Target="mailto:Amy.Ritz@Accenture.com" TargetMode="External" /><Relationship Id="rId2" Type="http://schemas.openxmlformats.org/officeDocument/2006/relationships/slideMaster" Target="../slideMasters/slideMaster8.xml" /></Relationships>
</file>

<file path=ppt/slideLayouts/_rels/slideLayout272.xml.rels>&#65279;<?xml version="1.0" encoding="utf-8" standalone="yes"?><Relationships xmlns="http://schemas.openxmlformats.org/package/2006/relationships"><Relationship Id="rId1" Type="http://schemas.openxmlformats.org/officeDocument/2006/relationships/image" Target="../media/image41.jpeg" /><Relationship Id="rId2" Type="http://schemas.openxmlformats.org/officeDocument/2006/relationships/image" Target="../media/image35.jpeg" /><Relationship Id="rId3" Type="http://schemas.openxmlformats.org/officeDocument/2006/relationships/slideMaster" Target="../slideMasters/slideMaster8.xml" /></Relationships>
</file>

<file path=ppt/slideLayouts/_rels/slideLayout273.xml.rels>&#65279;<?xml version="1.0" encoding="utf-8" standalone="yes"?><Relationships xmlns="http://schemas.openxmlformats.org/package/2006/relationships"><Relationship Id="rId1" Type="http://schemas.openxmlformats.org/officeDocument/2006/relationships/slideMaster" Target="../slideMasters/slideMaster8.xml" /></Relationships>
</file>

<file path=ppt/slideLayouts/_rels/slideLayout2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9.xml.rels>&#65279;<?xml version="1.0" encoding="utf-8" standalone="yes"?><Relationships xmlns="http://schemas.openxmlformats.org/package/2006/relationships"><Relationship Id="rId1" Type="http://schemas.openxmlformats.org/officeDocument/2006/relationships/image" Target="../media/image28.jpeg" /><Relationship Id="rId2" Type="http://schemas.openxmlformats.org/officeDocument/2006/relationships/image" Target="../media/image29.jpeg" /><Relationship Id="rId3" Type="http://schemas.openxmlformats.org/officeDocument/2006/relationships/slideMaster" Target="../slideMasters/slideMaster3.xml" /></Relationships>
</file>

<file path=ppt/slideLayouts/_rels/slideLayout3.xml.rels>&#65279;<?xml version="1.0" encoding="utf-8" standalone="yes"?><Relationships xmlns="http://schemas.openxmlformats.org/package/2006/relationships"><Relationship Id="rId1" Type="http://schemas.openxmlformats.org/officeDocument/2006/relationships/image" Target="../media/image5.jpeg" /><Relationship Id="rId2" Type="http://schemas.openxmlformats.org/officeDocument/2006/relationships/slideMaster" Target="../slideMasters/slideMaster1.xml" /></Relationships>
</file>

<file path=ppt/slideLayouts/_rels/slideLayout30.xml.rels>&#65279;<?xml version="1.0" encoding="utf-8" standalone="yes"?><Relationships xmlns="http://schemas.openxmlformats.org/package/2006/relationships"><Relationship Id="rId1" Type="http://schemas.openxmlformats.org/officeDocument/2006/relationships/image" Target="../media/image30.jpeg" /><Relationship Id="rId2" Type="http://schemas.openxmlformats.org/officeDocument/2006/relationships/slideMaster" Target="../slideMasters/slideMaster3.xml" /></Relationships>
</file>

<file path=ppt/slideLayouts/_rels/slideLayout31.xml.rels>&#65279;<?xml version="1.0" encoding="utf-8" standalone="yes"?><Relationships xmlns="http://schemas.openxmlformats.org/package/2006/relationships"><Relationship Id="rId1" Type="http://schemas.openxmlformats.org/officeDocument/2006/relationships/image" Target="../media/image30.jpeg" /><Relationship Id="rId2" Type="http://schemas.openxmlformats.org/officeDocument/2006/relationships/slideMaster" Target="../slideMasters/slideMaster3.xml" /></Relationships>
</file>

<file path=ppt/slideLayouts/_rels/slideLayout32.xml.rels>&#65279;<?xml version="1.0" encoding="utf-8" standalone="yes"?><Relationships xmlns="http://schemas.openxmlformats.org/package/2006/relationships"><Relationship Id="rId1" Type="http://schemas.openxmlformats.org/officeDocument/2006/relationships/image" Target="../media/image30.jpeg" /><Relationship Id="rId2" Type="http://schemas.openxmlformats.org/officeDocument/2006/relationships/slideMaster" Target="../slideMasters/slideMaster3.xml" /></Relationships>
</file>

<file path=ppt/slideLayouts/_rels/slideLayout33.xml.rels>&#65279;<?xml version="1.0" encoding="utf-8" standalone="yes"?><Relationships xmlns="http://schemas.openxmlformats.org/package/2006/relationships"><Relationship Id="rId1" Type="http://schemas.openxmlformats.org/officeDocument/2006/relationships/image" Target="../media/image31.jpeg" /><Relationship Id="rId2" Type="http://schemas.openxmlformats.org/officeDocument/2006/relationships/image" Target="../media/image30.jpeg" /><Relationship Id="rId3" Type="http://schemas.openxmlformats.org/officeDocument/2006/relationships/slideMaster" Target="../slideMasters/slideMaster3.xml" /></Relationships>
</file>

<file path=ppt/slideLayouts/_rels/slideLayout34.xml.rels>&#65279;<?xml version="1.0" encoding="utf-8" standalone="yes"?><Relationships xmlns="http://schemas.openxmlformats.org/package/2006/relationships"><Relationship Id="rId1" Type="http://schemas.openxmlformats.org/officeDocument/2006/relationships/image" Target="../media/image31.jpeg" /><Relationship Id="rId2" Type="http://schemas.openxmlformats.org/officeDocument/2006/relationships/image" Target="../media/image30.jpeg" /><Relationship Id="rId3" Type="http://schemas.openxmlformats.org/officeDocument/2006/relationships/slideMaster" Target="../slideMasters/slideMaster3.xml" /></Relationships>
</file>

<file path=ppt/slideLayouts/_rels/slideLayout35.xml.rels>&#65279;<?xml version="1.0" encoding="utf-8" standalone="yes"?><Relationships xmlns="http://schemas.openxmlformats.org/package/2006/relationships"><Relationship Id="rId1" Type="http://schemas.openxmlformats.org/officeDocument/2006/relationships/image" Target="../media/image31.jpeg" /><Relationship Id="rId2" Type="http://schemas.openxmlformats.org/officeDocument/2006/relationships/image" Target="../media/image30.jpeg" /><Relationship Id="rId3" Type="http://schemas.openxmlformats.org/officeDocument/2006/relationships/slideMaster" Target="../slideMasters/slideMaster3.xml" /></Relationships>
</file>

<file path=ppt/slideLayouts/_rels/slideLayout36.xml.rels>&#65279;<?xml version="1.0" encoding="utf-8" standalone="yes"?><Relationships xmlns="http://schemas.openxmlformats.org/package/2006/relationships"><Relationship Id="rId1" Type="http://schemas.openxmlformats.org/officeDocument/2006/relationships/image" Target="../media/image31.jpeg" /><Relationship Id="rId2" Type="http://schemas.openxmlformats.org/officeDocument/2006/relationships/image" Target="../media/image30.jpeg" /><Relationship Id="rId3" Type="http://schemas.openxmlformats.org/officeDocument/2006/relationships/slideMaster" Target="../slideMasters/slideMaster3.xml" /></Relationships>
</file>

<file path=ppt/slideLayouts/_rels/slideLayout37.xml.rels>&#65279;<?xml version="1.0" encoding="utf-8" standalone="yes"?><Relationships xmlns="http://schemas.openxmlformats.org/package/2006/relationships"><Relationship Id="rId1" Type="http://schemas.openxmlformats.org/officeDocument/2006/relationships/image" Target="../media/image32.jpeg" /><Relationship Id="rId2" Type="http://schemas.openxmlformats.org/officeDocument/2006/relationships/image" Target="../media/image30.jpeg" /><Relationship Id="rId3" Type="http://schemas.openxmlformats.org/officeDocument/2006/relationships/slideMaster" Target="../slideMasters/slideMaster3.xml" /></Relationships>
</file>

<file path=ppt/slideLayouts/_rels/slideLayout38.xml.rels>&#65279;<?xml version="1.0" encoding="utf-8" standalone="yes"?><Relationships xmlns="http://schemas.openxmlformats.org/package/2006/relationships"><Relationship Id="rId1" Type="http://schemas.openxmlformats.org/officeDocument/2006/relationships/image" Target="../media/image33.jpeg" /><Relationship Id="rId2" Type="http://schemas.openxmlformats.org/officeDocument/2006/relationships/slideMaster" Target="../slideMasters/slideMaster3.xml" /></Relationships>
</file>

<file path=ppt/slideLayouts/_rels/slideLayout39.xml.rels>&#65279;<?xml version="1.0" encoding="utf-8" standalone="yes"?><Relationships xmlns="http://schemas.openxmlformats.org/package/2006/relationships"><Relationship Id="rId1" Type="http://schemas.openxmlformats.org/officeDocument/2006/relationships/image" Target="../media/image34.jpeg" /><Relationship Id="rId2" Type="http://schemas.openxmlformats.org/officeDocument/2006/relationships/image" Target="../media/image35.jpeg" /><Relationship Id="rId3" Type="http://schemas.openxmlformats.org/officeDocument/2006/relationships/slideMaster" Target="../slideMasters/slideMaster3.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0.xml.rels>&#65279;<?xml version="1.0" encoding="utf-8" standalone="yes"?><Relationships xmlns="http://schemas.openxmlformats.org/package/2006/relationships"><Relationship Id="rId1" Type="http://schemas.openxmlformats.org/officeDocument/2006/relationships/image" Target="../media/image28.jpeg" /><Relationship Id="rId2" Type="http://schemas.openxmlformats.org/officeDocument/2006/relationships/image" Target="../media/image29.jpeg" /><Relationship Id="rId3" Type="http://schemas.openxmlformats.org/officeDocument/2006/relationships/slideMaster" Target="../slideMasters/slideMaster4.xml" /></Relationships>
</file>

<file path=ppt/slideLayouts/_rels/slideLayout41.xml.rels>&#65279;<?xml version="1.0" encoding="utf-8" standalone="yes"?><Relationships xmlns="http://schemas.openxmlformats.org/package/2006/relationships"><Relationship Id="rId1" Type="http://schemas.openxmlformats.org/officeDocument/2006/relationships/image" Target="../media/image30.jpeg" /><Relationship Id="rId2" Type="http://schemas.openxmlformats.org/officeDocument/2006/relationships/slideMaster" Target="../slideMasters/slideMaster4.xml" /></Relationships>
</file>

<file path=ppt/slideLayouts/_rels/slideLayout42.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43.xml.rels>&#65279;<?xml version="1.0" encoding="utf-8" standalone="yes"?><Relationships xmlns="http://schemas.openxmlformats.org/package/2006/relationships"><Relationship Id="rId1" Type="http://schemas.openxmlformats.org/officeDocument/2006/relationships/image" Target="../media/image30.jpeg" /><Relationship Id="rId2" Type="http://schemas.openxmlformats.org/officeDocument/2006/relationships/slideMaster" Target="../slideMasters/slideMaster4.xml" /></Relationships>
</file>

<file path=ppt/slideLayouts/_rels/slideLayout44.xml.rels>&#65279;<?xml version="1.0" encoding="utf-8" standalone="yes"?><Relationships xmlns="http://schemas.openxmlformats.org/package/2006/relationships"><Relationship Id="rId1" Type="http://schemas.openxmlformats.org/officeDocument/2006/relationships/image" Target="../media/image31.jpeg" /><Relationship Id="rId2" Type="http://schemas.openxmlformats.org/officeDocument/2006/relationships/image" Target="../media/image30.jpeg" /><Relationship Id="rId3" Type="http://schemas.openxmlformats.org/officeDocument/2006/relationships/slideMaster" Target="../slideMasters/slideMaster4.xml" /></Relationships>
</file>

<file path=ppt/slideLayouts/_rels/slideLayout45.xml.rels>&#65279;<?xml version="1.0" encoding="utf-8" standalone="yes"?><Relationships xmlns="http://schemas.openxmlformats.org/package/2006/relationships"><Relationship Id="rId1" Type="http://schemas.openxmlformats.org/officeDocument/2006/relationships/image" Target="../media/image31.jpeg" /><Relationship Id="rId2" Type="http://schemas.openxmlformats.org/officeDocument/2006/relationships/image" Target="../media/image30.jpeg" /><Relationship Id="rId3" Type="http://schemas.openxmlformats.org/officeDocument/2006/relationships/slideMaster" Target="../slideMasters/slideMaster4.xml" /></Relationships>
</file>

<file path=ppt/slideLayouts/_rels/slideLayout46.xml.rels>&#65279;<?xml version="1.0" encoding="utf-8" standalone="yes"?><Relationships xmlns="http://schemas.openxmlformats.org/package/2006/relationships"><Relationship Id="rId1" Type="http://schemas.openxmlformats.org/officeDocument/2006/relationships/image" Target="../media/image31.jpeg" /><Relationship Id="rId2" Type="http://schemas.openxmlformats.org/officeDocument/2006/relationships/image" Target="../media/image30.jpeg" /><Relationship Id="rId3" Type="http://schemas.openxmlformats.org/officeDocument/2006/relationships/slideMaster" Target="../slideMasters/slideMaster4.xml" /></Relationships>
</file>

<file path=ppt/slideLayouts/_rels/slideLayout47.xml.rels>&#65279;<?xml version="1.0" encoding="utf-8" standalone="yes"?><Relationships xmlns="http://schemas.openxmlformats.org/package/2006/relationships"><Relationship Id="rId1" Type="http://schemas.openxmlformats.org/officeDocument/2006/relationships/image" Target="../media/image31.jpeg" /><Relationship Id="rId2" Type="http://schemas.openxmlformats.org/officeDocument/2006/relationships/image" Target="../media/image30.jpeg" /><Relationship Id="rId3" Type="http://schemas.openxmlformats.org/officeDocument/2006/relationships/slideMaster" Target="../slideMasters/slideMaster4.xml" /></Relationships>
</file>

<file path=ppt/slideLayouts/_rels/slideLayout48.xml.rels>&#65279;<?xml version="1.0" encoding="utf-8" standalone="yes"?><Relationships xmlns="http://schemas.openxmlformats.org/package/2006/relationships"><Relationship Id="rId1" Type="http://schemas.openxmlformats.org/officeDocument/2006/relationships/image" Target="../media/image32.jpeg" /><Relationship Id="rId2" Type="http://schemas.openxmlformats.org/officeDocument/2006/relationships/image" Target="../media/image30.jpeg" /><Relationship Id="rId3" Type="http://schemas.openxmlformats.org/officeDocument/2006/relationships/slideMaster" Target="../slideMasters/slideMaster4.xml" /></Relationships>
</file>

<file path=ppt/slideLayouts/_rels/slideLayout49.xml.rels>&#65279;<?xml version="1.0" encoding="utf-8" standalone="yes"?><Relationships xmlns="http://schemas.openxmlformats.org/package/2006/relationships"><Relationship Id="rId1" Type="http://schemas.openxmlformats.org/officeDocument/2006/relationships/image" Target="../media/image33.jpeg" /><Relationship Id="rId2" Type="http://schemas.openxmlformats.org/officeDocument/2006/relationships/slideMaster" Target="../slideMasters/slideMaster4.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0.xml.rels>&#65279;<?xml version="1.0" encoding="utf-8" standalone="yes"?><Relationships xmlns="http://schemas.openxmlformats.org/package/2006/relationships"><Relationship Id="rId1" Type="http://schemas.openxmlformats.org/officeDocument/2006/relationships/image" Target="../media/image34.jpeg" /><Relationship Id="rId2" Type="http://schemas.openxmlformats.org/officeDocument/2006/relationships/image" Target="../media/image35.jpeg" /><Relationship Id="rId3" Type="http://schemas.openxmlformats.org/officeDocument/2006/relationships/slideMaster" Target="../slideMasters/slideMaster4.xml" /></Relationships>
</file>

<file path=ppt/slideLayouts/_rels/slideLayout51.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52.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53.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54.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55.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56.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57.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58.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59.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xml.rels>&#65279;<?xml version="1.0" encoding="utf-8" standalone="yes"?><Relationships xmlns="http://schemas.openxmlformats.org/package/2006/relationships"><Relationship Id="rId1" Type="http://schemas.openxmlformats.org/officeDocument/2006/relationships/image" Target="../media/image14.jpeg" /><Relationship Id="rId2" Type="http://schemas.openxmlformats.org/officeDocument/2006/relationships/image" Target="../media/image15.jpeg" /><Relationship Id="rId3" Type="http://schemas.openxmlformats.org/officeDocument/2006/relationships/image" Target="../media/image16.jpeg" /><Relationship Id="rId4" Type="http://schemas.openxmlformats.org/officeDocument/2006/relationships/slideMaster" Target="../slideMasters/slideMaster2.xml" /></Relationships>
</file>

<file path=ppt/slideLayouts/_rels/slideLayout60.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1.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2.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3.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4.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5.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6.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7.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8.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9.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7.xml.rels>&#65279;<?xml version="1.0" encoding="utf-8" standalone="yes"?><Relationships xmlns="http://schemas.openxmlformats.org/package/2006/relationships"><Relationship Id="rId1" Type="http://schemas.openxmlformats.org/officeDocument/2006/relationships/image" Target="../media/image17.jpeg" /><Relationship Id="rId2" Type="http://schemas.openxmlformats.org/officeDocument/2006/relationships/slideMaster" Target="../slideMasters/slideMaster2.xml" /></Relationships>
</file>

<file path=ppt/slideLayouts/_rels/slideLayout70.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71.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72.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73.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74.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75.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76.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77.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78.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79.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8.xml.rels>&#65279;<?xml version="1.0" encoding="utf-8" standalone="yes"?><Relationships xmlns="http://schemas.openxmlformats.org/package/2006/relationships"><Relationship Id="rId1" Type="http://schemas.openxmlformats.org/officeDocument/2006/relationships/image" Target="../media/image18.jpeg" /><Relationship Id="rId2" Type="http://schemas.openxmlformats.org/officeDocument/2006/relationships/slideMaster" Target="../slideMasters/slideMaster2.xml" /></Relationships>
</file>

<file path=ppt/slideLayouts/_rels/slideLayout80.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81.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82.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83.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84.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85.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86.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87.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88.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89.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9.xml.rels>&#65279;<?xml version="1.0" encoding="utf-8" standalone="yes"?><Relationships xmlns="http://schemas.openxmlformats.org/package/2006/relationships"><Relationship Id="rId1" Type="http://schemas.openxmlformats.org/officeDocument/2006/relationships/image" Target="../media/image19.jpeg" /><Relationship Id="rId2" Type="http://schemas.openxmlformats.org/officeDocument/2006/relationships/slideMaster" Target="../slideMasters/slideMaster2.xml" /></Relationships>
</file>

<file path=ppt/slideLayouts/_rels/slideLayout90.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91.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92.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93.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94.xml.rels>&#65279;<?xml version="1.0" encoding="utf-8" standalone="yes"?><Relationships xmlns="http://schemas.openxmlformats.org/package/2006/relationships"><Relationship Id="rId1" Type="http://schemas.openxmlformats.org/officeDocument/2006/relationships/image" Target="../media/image37.jpeg" /><Relationship Id="rId2" Type="http://schemas.openxmlformats.org/officeDocument/2006/relationships/slideMaster" Target="../slideMasters/slideMaster5.xml" /></Relationships>
</file>

<file path=ppt/slideLayouts/_rels/slideLayout95.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96.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97.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98.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99.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slideLayout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_Blank">
    <p:spTree>
      <p:nvGrpSpPr>
        <p:cNvPr id="1" name=""/>
        <p:cNvGrpSpPr/>
        <p:nvPr/>
      </p:nvGrpSpPr>
      <p:grpSpPr>
        <a:xfrm>
          <a:off x="0" y="0"/>
          <a:ext cx="0" cy="0"/>
        </a:xfrm>
      </p:grpSpPr>
      <p:pic>
        <p:nvPicPr>
          <p:cNvPr id="3" name="Picture 2">
            <a:extLst>
              <a:ext uri="{FF2B5EF4-FFF2-40B4-BE49-F238E27FC236}">
                <a16:creationId xmlns:a16="http://schemas.microsoft.com/office/drawing/2014/main" id="{A3150DEC-B01E-44A8-97CF-C229CCAE445F}"/>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p:cNvSpPr/>
          <p:nvPr userDrawn="1"/>
        </p:nvSpPr>
        <p:spPr>
          <a:xfrm>
            <a:off x="0" y="5373216"/>
            <a:ext cx="12192000" cy="1484784"/>
          </a:xfrm>
          <a:prstGeom prst="rect">
            <a:avLst/>
          </a:prstGeom>
          <a:gradFill>
            <a:gsLst>
              <a:gs pos="0">
                <a:schemeClr val="tx1">
                  <a:alpha val="0"/>
                </a:schemeClr>
              </a:gs>
              <a:gs pos="100000">
                <a:schemeClr val="tx1">
                  <a:alpha val="60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6DD3C6A-4B20-4BF7-B6B0-9B3763FEA358}"/>
              </a:ext>
            </a:extLst>
          </p:cNvPr>
          <p:cNvSpPr/>
          <p:nvPr userDrawn="1"/>
        </p:nvSpPr>
        <p:spPr>
          <a:xfrm>
            <a:off x="0" y="0"/>
            <a:ext cx="12192000" cy="6858000"/>
          </a:xfrm>
          <a:prstGeom prst="rect">
            <a:avLst/>
          </a:prstGeom>
          <a:solidFill>
            <a:srgbClr val="DEC9F3">
              <a:alpha val="1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A23050A-E51B-4E6A-8DE0-3EC1692358F9}"/>
              </a:ext>
            </a:extLst>
          </p:cNvPr>
          <p:cNvSpPr txBox="1"/>
          <p:nvPr userDrawn="1"/>
        </p:nvSpPr>
        <p:spPr>
          <a:xfrm rot="1960885">
            <a:off x="9558503" y="513974"/>
            <a:ext cx="2839391" cy="1031051"/>
          </a:xfrm>
          <a:prstGeom prst="rect">
            <a:avLst/>
          </a:prstGeom>
          <a:noFill/>
        </p:spPr>
        <p:txBody>
          <a:bodyPr wrap="square" lIns="0" tIns="0" rIns="0" bIns="45720" rtlCol="0">
            <a:spAutoFit/>
          </a:bodyPr>
          <a:lstStyle/>
          <a:p>
            <a:pPr algn="ctr"/>
            <a:r>
              <a:rPr lang="en-US" sz="3200" b="1">
                <a:solidFill>
                  <a:schemeClr val="bg1"/>
                </a:solidFill>
                <a:latin typeface="+mj-lt"/>
              </a:rPr>
              <a:t>Innovation </a:t>
            </a:r>
          </a:p>
          <a:p>
            <a:pPr algn="ctr"/>
            <a:r>
              <a:rPr lang="en-US" sz="3200" b="1">
                <a:solidFill>
                  <a:schemeClr val="bg1"/>
                </a:solidFill>
                <a:latin typeface="+mj-lt"/>
              </a:rPr>
              <a:t>2020</a:t>
            </a:r>
          </a:p>
        </p:txBody>
      </p:sp>
      <p:grpSp>
        <p:nvGrpSpPr>
          <p:cNvPr id="17" name="Group 16">
            <a:extLst>
              <a:ext uri="{FF2B5EF4-FFF2-40B4-BE49-F238E27FC236}">
                <a16:creationId xmlns:a16="http://schemas.microsoft.com/office/drawing/2014/main" id="{83333CC4-526A-4901-AD51-47CB9593FC75}"/>
              </a:ext>
            </a:extLst>
          </p:cNvPr>
          <p:cNvGrpSpPr/>
          <p:nvPr userDrawn="1"/>
        </p:nvGrpSpPr>
        <p:grpSpPr>
          <a:xfrm>
            <a:off x="146826" y="5910249"/>
            <a:ext cx="2767823" cy="770583"/>
            <a:chOff x="9528695" y="6076950"/>
            <a:chExt cx="2767823" cy="770583"/>
          </a:xfrm>
        </p:grpSpPr>
        <p:sp>
          <p:nvSpPr>
            <p:cNvPr id="4" name="Flowchart: Terminator 3">
              <a:extLst>
                <a:ext uri="{FF2B5EF4-FFF2-40B4-BE49-F238E27FC236}">
                  <a16:creationId xmlns:a16="http://schemas.microsoft.com/office/drawing/2014/main" id="{BCA0D530-2DEB-4E73-BA92-38233F7D97A0}"/>
                </a:ext>
              </a:extLst>
            </p:cNvPr>
            <p:cNvSpPr/>
            <p:nvPr userDrawn="1"/>
          </p:nvSpPr>
          <p:spPr>
            <a:xfrm>
              <a:off x="9528695" y="6076950"/>
              <a:ext cx="2767823" cy="770583"/>
            </a:xfrm>
            <a:prstGeom prst="flowChartTerminator">
              <a:avLst/>
            </a:prstGeom>
            <a:solidFill>
              <a:srgbClr val="C6D4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7C1A88A5-1975-479F-AD90-3F1403B7A203}"/>
                </a:ext>
              </a:extLst>
            </p:cNvPr>
            <p:cNvGrpSpPr/>
            <p:nvPr userDrawn="1"/>
          </p:nvGrpSpPr>
          <p:grpSpPr>
            <a:xfrm>
              <a:off x="9679051" y="6077379"/>
              <a:ext cx="2476894" cy="759964"/>
              <a:chOff x="464807" y="5572148"/>
              <a:chExt cx="3632200" cy="1030564"/>
            </a:xfrm>
          </p:grpSpPr>
          <p:grpSp>
            <p:nvGrpSpPr>
              <p:cNvPr id="10" name="Group 9">
                <a:extLst>
                  <a:ext uri="{FF2B5EF4-FFF2-40B4-BE49-F238E27FC236}">
                    <a16:creationId xmlns:a16="http://schemas.microsoft.com/office/drawing/2014/main" id="{B0908C0F-39BE-4C43-8D69-C9B07422EC7E}"/>
                  </a:ext>
                </a:extLst>
              </p:cNvPr>
              <p:cNvGrpSpPr/>
              <p:nvPr userDrawn="1"/>
            </p:nvGrpSpPr>
            <p:grpSpPr>
              <a:xfrm>
                <a:off x="516871" y="5572148"/>
                <a:ext cx="3352590" cy="684160"/>
                <a:chOff x="506711" y="6008522"/>
                <a:chExt cx="3352590" cy="684160"/>
              </a:xfrm>
            </p:grpSpPr>
            <p:pic>
              <p:nvPicPr>
                <p:cNvPr id="12" name="Picture 11">
                  <a:extLst>
                    <a:ext uri="{FF2B5EF4-FFF2-40B4-BE49-F238E27FC236}">
                      <a16:creationId xmlns:a16="http://schemas.microsoft.com/office/drawing/2014/main" id="{669DE717-7DFC-4A9B-95DF-03AE7CBF48B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46743" y="6008522"/>
                  <a:ext cx="1112558" cy="684160"/>
                </a:xfrm>
                <a:prstGeom prst="rect">
                  <a:avLst/>
                </a:prstGeom>
              </p:spPr>
            </p:pic>
            <p:grpSp>
              <p:nvGrpSpPr>
                <p:cNvPr id="13" name="Group 12">
                  <a:extLst>
                    <a:ext uri="{FF2B5EF4-FFF2-40B4-BE49-F238E27FC236}">
                      <a16:creationId xmlns:a16="http://schemas.microsoft.com/office/drawing/2014/main" id="{91D9E3C0-5C89-4A6B-B752-C606F807B565}"/>
                    </a:ext>
                  </a:extLst>
                </p:cNvPr>
                <p:cNvGrpSpPr>
                  <a:grpSpLocks noChangeAspect="1"/>
                </p:cNvGrpSpPr>
                <p:nvPr userDrawn="1"/>
              </p:nvGrpSpPr>
              <p:grpSpPr>
                <a:xfrm>
                  <a:off x="506711" y="6054389"/>
                  <a:ext cx="1763345" cy="473303"/>
                  <a:chOff x="9662189" y="1673029"/>
                  <a:chExt cx="1389888" cy="373063"/>
                </a:xfrm>
              </p:grpSpPr>
              <p:pic>
                <p:nvPicPr>
                  <p:cNvPr id="14" name="Picture 13">
                    <a:extLst>
                      <a:ext uri="{FF2B5EF4-FFF2-40B4-BE49-F238E27FC236}">
                        <a16:creationId xmlns:a16="http://schemas.microsoft.com/office/drawing/2014/main" id="{115F7A28-C52A-4613-AC36-26AB03417ED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62189" y="1825994"/>
                    <a:ext cx="1389888" cy="220098"/>
                  </a:xfrm>
                  <a:prstGeom prst="rect">
                    <a:avLst/>
                  </a:prstGeom>
                </p:spPr>
              </p:pic>
              <p:sp>
                <p:nvSpPr>
                  <p:cNvPr id="15" name="Freeform 5">
                    <a:extLst>
                      <a:ext uri="{FF2B5EF4-FFF2-40B4-BE49-F238E27FC236}">
                        <a16:creationId xmlns:a16="http://schemas.microsoft.com/office/drawing/2014/main" id="{89C6ACF4-E9AA-4A39-8EB9-D1A72927ABD4}"/>
                      </a:ext>
                    </a:extLst>
                  </p:cNvPr>
                  <p:cNvSpPr/>
                  <p:nvPr/>
                </p:nvSpPr>
                <p:spPr bwMode="auto">
                  <a:xfrm>
                    <a:off x="10472638" y="1673029"/>
                    <a:ext cx="136525" cy="147638"/>
                  </a:xfrm>
                  <a:custGeom>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1" name="TextBox 10">
                <a:extLst>
                  <a:ext uri="{FF2B5EF4-FFF2-40B4-BE49-F238E27FC236}">
                    <a16:creationId xmlns:a16="http://schemas.microsoft.com/office/drawing/2014/main" id="{CA4F9003-F142-4A0E-824F-E383337E8C42}"/>
                  </a:ext>
                </a:extLst>
              </p:cNvPr>
              <p:cNvSpPr txBox="1"/>
              <p:nvPr userDrawn="1"/>
            </p:nvSpPr>
            <p:spPr>
              <a:xfrm>
                <a:off x="464807" y="6310555"/>
                <a:ext cx="3632200" cy="292157"/>
              </a:xfrm>
              <a:prstGeom prst="rect">
                <a:avLst/>
              </a:prstGeom>
              <a:noFill/>
            </p:spPr>
            <p:txBody>
              <a:bodyPr wrap="square" lIns="0" tIns="0" rIns="0" bIns="45720" rtlCol="0">
                <a:spAutoFit/>
              </a:bodyPr>
              <a:lstStyle/>
              <a:p>
                <a:r>
                  <a:rPr lang="en-US" sz="1100" b="1" i="0">
                    <a:latin typeface="Graphik" panose="020b0503030202060203" pitchFamily="34" charset="77"/>
                  </a:rPr>
                  <a:t>The Power of </a:t>
                </a:r>
                <a:r>
                  <a:rPr lang="en-US" sz="1100" b="1" i="0">
                    <a:solidFill>
                      <a:schemeClr val="accent1"/>
                    </a:solidFill>
                    <a:latin typeface="Graphik" panose="020b0503030202060203" pitchFamily="34" charset="77"/>
                  </a:rPr>
                  <a:t>Strategic</a:t>
                </a:r>
                <a:r>
                  <a:rPr lang="en-US" sz="1100" b="1" i="0">
                    <a:latin typeface="Graphik" panose="020b0503030202060203" pitchFamily="34" charset="77"/>
                  </a:rPr>
                  <a:t> Partnership</a:t>
                </a:r>
              </a:p>
            </p:txBody>
          </p:sp>
        </p:grpSp>
      </p:grpSp>
    </p:spTree>
    <p:extLst>
      <p:ext uri="{BB962C8B-B14F-4D97-AF65-F5344CB8AC3E}">
        <p14:creationId xmlns:p14="http://schemas.microsoft.com/office/powerpoint/2010/main" val="3728857653"/>
      </p:ext>
    </p:extLst>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2_Title Master: White">
    <p:bg>
      <p:bgPr>
        <a:solidFill>
          <a:schemeClr val="bg1"/>
        </a:solidFill>
        <a:effectLst/>
      </p:bgPr>
    </p:bg>
    <p:spTree>
      <p:nvGrpSpPr>
        <p:cNvPr id="1" name=""/>
        <p:cNvGrpSpPr/>
        <p:nvPr/>
      </p:nvGrpSpPr>
      <p:grpSpPr>
        <a:xfrm>
          <a:off x="0" y="0"/>
          <a:ext cx="0" cy="0"/>
        </a:xfrm>
      </p:grpSpPr>
      <p:pic>
        <p:nvPicPr>
          <p:cNvPr id="6" name="Picture 5">
            <a:extLst>
              <a:ext uri="{FF2B5EF4-FFF2-40B4-BE49-F238E27FC236}">
                <a16:creationId xmlns:a16="http://schemas.microsoft.com/office/drawing/2014/main" id="{9429AC50-708D-6F47-B85E-BF140D7438C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7013972" y="0"/>
            <a:ext cx="5178027" cy="6858000"/>
          </a:xfrm>
          <a:prstGeom prst="rect">
            <a:avLst/>
          </a:prstGeom>
        </p:spPr>
      </p:pic>
      <p:sp>
        <p:nvSpPr>
          <p:cNvPr id="19" name="Title 1">
            <a:extLst>
              <a:ext uri="{FF2B5EF4-FFF2-40B4-BE49-F238E27FC236}">
                <a16:creationId xmlns:a16="http://schemas.microsoft.com/office/drawing/2014/main" id="{EAA7AAD3-0790-4556-968B-E2AD77BE02A9}"/>
              </a:ext>
            </a:extLst>
          </p:cNvPr>
          <p:cNvSpPr>
            <a:spLocks noGrp="1"/>
          </p:cNvSpPr>
          <p:nvPr>
            <p:ph type="ctrTitle" hasCustomPrompt="1"/>
          </p:nvPr>
        </p:nvSpPr>
        <p:spPr>
          <a:xfrm>
            <a:off x="371475" y="1850118"/>
            <a:ext cx="5985782" cy="2009775"/>
          </a:xfrm>
          <a:prstGeom prst="rect">
            <a:avLst/>
          </a:prstGeom>
        </p:spPr>
        <p:txBody>
          <a:bodyPr vert="horz" lIns="0" tIns="72000" rIns="0" bIns="0" rtlCol="0" anchor="t" anchorCtr="0">
            <a:noAutofit/>
          </a:bodyPr>
          <a:lstStyle>
            <a:lvl1pPr>
              <a:defRPr lang="en-CR" sz="4400" i="0">
                <a:latin typeface="Graphik Black" panose="020b0503030202060203" pitchFamily="34" charset="77"/>
              </a:defRPr>
            </a:lvl1pPr>
          </a:lstStyle>
          <a:p>
            <a:pPr lvl="0"/>
            <a:r>
              <a:rPr lang="en-US"/>
              <a:t>CLICK TO EDIT DIVIDER TITLE STYLE</a:t>
            </a:r>
            <a:endParaRPr lang="en-CR"/>
          </a:p>
        </p:txBody>
      </p:sp>
      <p:sp>
        <p:nvSpPr>
          <p:cNvPr id="20" name="Subtitle 2">
            <a:extLst>
              <a:ext uri="{FF2B5EF4-FFF2-40B4-BE49-F238E27FC236}">
                <a16:creationId xmlns:a16="http://schemas.microsoft.com/office/drawing/2014/main" id="{9A75EFEC-9E72-44E4-8C89-14B62E429503}"/>
              </a:ext>
            </a:extLst>
          </p:cNvPr>
          <p:cNvSpPr>
            <a:spLocks noGrp="1"/>
          </p:cNvSpPr>
          <p:nvPr>
            <p:ph type="subTitle" idx="1"/>
          </p:nvPr>
        </p:nvSpPr>
        <p:spPr>
          <a:xfrm>
            <a:off x="371475" y="5206545"/>
            <a:ext cx="5985782" cy="864507"/>
          </a:xfrm>
          <a:prstGeom prst="rect">
            <a:avLst/>
          </a:prstGeom>
        </p:spPr>
        <p:txBody>
          <a:bodyPr>
            <a:noAutofit/>
          </a:bodyPr>
          <a:lstStyle>
            <a:lvl1pPr marL="0" indent="0" algn="l">
              <a:buNone/>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R"/>
          </a:p>
        </p:txBody>
      </p:sp>
    </p:spTree>
    <p:extLst>
      <p:ext uri="{BB962C8B-B14F-4D97-AF65-F5344CB8AC3E}">
        <p14:creationId xmlns:p14="http://schemas.microsoft.com/office/powerpoint/2010/main" val="1525553819"/>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_Dark_Full Bleed Image">
    <p:bg>
      <p:bgPr>
        <a:solidFill>
          <a:schemeClr val="bg1"/>
        </a:solidFill>
        <a:effectLst/>
      </p:bgPr>
    </p:bg>
    <p:spTree>
      <p:nvGrpSpPr>
        <p:cNvPr id="1" name=""/>
        <p:cNvGrpSpPr/>
        <p:nvPr/>
      </p:nvGrpSpPr>
      <p:grpSpPr>
        <a:xfrm>
          <a:off x="0" y="0"/>
          <a:ext cx="0" cy="0"/>
        </a:xfrm>
      </p:grpSpPr>
      <p:sp>
        <p:nvSpPr>
          <p:cNvPr id="7" name="Picture Placeholder 13"/>
          <p:cNvSpPr>
            <a:spLocks noGrp="1"/>
          </p:cNvSpPr>
          <p:nvPr>
            <p:ph type="pic" sz="quarter" idx="12" hasCustomPrompt="1"/>
          </p:nvPr>
        </p:nvSpPr>
        <p:spPr>
          <a:xfrm>
            <a:off x="0" y="0"/>
            <a:ext cx="12192000" cy="6874525"/>
          </a:xfrm>
          <a:solidFill>
            <a:schemeClr val="accent6"/>
          </a:solidFill>
        </p:spPr>
        <p:txBody>
          <a:bodyPr lIns="720000" rIns="720000" anchor="ctr" anchorCtr="0"/>
          <a:lstStyle>
            <a:lvl1pPr algn="ctr">
              <a:defRPr sz="1000" cap="all" baseline="0">
                <a:solidFill>
                  <a:schemeClr val="bg1"/>
                </a:solidFill>
              </a:defRPr>
            </a:lvl1pPr>
          </a:lstStyle>
          <a:p>
            <a:r>
              <a:rPr lang="en-US"/>
              <a:t>Click on the icon to Insert image in placeholder and USE THE CROP TOOL TO CENTER THE IMAGE</a:t>
            </a:r>
          </a:p>
        </p:txBody>
      </p:sp>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Tree>
    <p:extLst>
      <p:ext uri="{BB962C8B-B14F-4D97-AF65-F5344CB8AC3E}">
        <p14:creationId xmlns:p14="http://schemas.microsoft.com/office/powerpoint/2010/main" val="100326416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0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Subtitle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493368767"/>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0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Subtitle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3667145685"/>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0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Subtitle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1825898499"/>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0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Light_Full Bleed Image">
    <p:bg>
      <p:bgPr>
        <a:solidFill>
          <a:schemeClr val="bg1"/>
        </a:solidFill>
        <a:effectLst/>
      </p:bgPr>
    </p:bg>
    <p:spTree>
      <p:nvGrpSpPr>
        <p:cNvPr id="1" name=""/>
        <p:cNvGrpSpPr/>
        <p:nvPr/>
      </p:nvGrpSpPr>
      <p:grpSpPr>
        <a:xfrm>
          <a:off x="0" y="0"/>
          <a:ext cx="0" cy="0"/>
        </a:xfrm>
      </p:grpSpPr>
      <p:sp>
        <p:nvSpPr>
          <p:cNvPr id="7" name="Picture Placeholder 13"/>
          <p:cNvSpPr>
            <a:spLocks noGrp="1"/>
          </p:cNvSpPr>
          <p:nvPr>
            <p:ph type="pic" sz="quarter" idx="12" hasCustomPrompt="1"/>
          </p:nvPr>
        </p:nvSpPr>
        <p:spPr>
          <a:xfrm>
            <a:off x="0" y="0"/>
            <a:ext cx="12192000" cy="6874525"/>
          </a:xfrm>
          <a:solidFill>
            <a:schemeClr val="tx2">
              <a:lumMod val="20000"/>
              <a:lumOff val="80000"/>
            </a:schemeClr>
          </a:solidFill>
        </p:spPr>
        <p:txBody>
          <a:bodyPr lIns="720000" rIns="720000" anchor="ctr" anchorCtr="0"/>
          <a:lstStyle>
            <a:lvl1pPr algn="ctr">
              <a:defRPr sz="1000" cap="all" baseline="0"/>
            </a:lvl1pPr>
          </a:lstStyle>
          <a:p>
            <a:r>
              <a:rPr lang="en-US"/>
              <a:t>Click on the icon to Insert image in placeholder and USE THE CROP TOOL TO CENTER THE IMAGE</a:t>
            </a:r>
          </a:p>
        </p:txBody>
      </p:sp>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
        <p:nvSpPr>
          <p:cNvPr id="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accent3"/>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861707282"/>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0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Dark_Full Bleed Image">
    <p:bg>
      <p:bgPr>
        <a:solidFill>
          <a:schemeClr val="bg1"/>
        </a:solidFill>
        <a:effectLst/>
      </p:bgPr>
    </p:bg>
    <p:spTree>
      <p:nvGrpSpPr>
        <p:cNvPr id="1" name=""/>
        <p:cNvGrpSpPr/>
        <p:nvPr/>
      </p:nvGrpSpPr>
      <p:grpSpPr>
        <a:xfrm>
          <a:off x="0" y="0"/>
          <a:ext cx="0" cy="0"/>
        </a:xfrm>
      </p:grpSpPr>
      <p:sp>
        <p:nvSpPr>
          <p:cNvPr id="7" name="Picture Placeholder 13"/>
          <p:cNvSpPr>
            <a:spLocks noGrp="1"/>
          </p:cNvSpPr>
          <p:nvPr>
            <p:ph type="pic" sz="quarter" idx="12" hasCustomPrompt="1"/>
          </p:nvPr>
        </p:nvSpPr>
        <p:spPr>
          <a:xfrm>
            <a:off x="0" y="0"/>
            <a:ext cx="12192000" cy="6874525"/>
          </a:xfrm>
          <a:solidFill>
            <a:schemeClr val="accent6"/>
          </a:solidFill>
        </p:spPr>
        <p:txBody>
          <a:bodyPr lIns="720000" rIns="720000" anchor="ctr" anchorCtr="0"/>
          <a:lstStyle>
            <a:lvl1pPr algn="ctr">
              <a:defRPr sz="1000" cap="all" baseline="0">
                <a:solidFill>
                  <a:schemeClr val="bg1"/>
                </a:solidFill>
                <a:latin typeface="+mn-lt"/>
              </a:defRPr>
            </a:lvl1pPr>
          </a:lstStyle>
          <a:p>
            <a:r>
              <a:rPr lang="en-US"/>
              <a:t>Click on the icon to Insert image in placeholder and USE THE CROP TOOL TO CENTER THE IMAGE</a:t>
            </a:r>
          </a:p>
        </p:txBody>
      </p:sp>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1075826585"/>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0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_Blue3">
    <p:bg>
      <p:bgPr>
        <a:solidFill>
          <a:schemeClr val="accent3"/>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5" name="Slide Number Placeholder 4"/>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899191567"/>
      </p:ext>
    </p:extLst>
  </p:cSld>
  <p:clrMapOvr>
    <a:masterClrMapping/>
  </p:clrMapOvr>
  <p:transition/>
  <p:timing/>
</p:sldLayout>
</file>

<file path=ppt/slideLayouts/slideLayout10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_Blue6">
    <p:bg>
      <p:bgPr>
        <a:solidFill>
          <a:schemeClr val="accent6"/>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5" name="Slide Number Placeholder 4"/>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2129226082"/>
      </p:ext>
    </p:extLst>
  </p:cSld>
  <p:clrMapOvr>
    <a:masterClrMapping/>
  </p:clrMapOvr>
  <p:transition/>
  <p:timing/>
</p:sldLayout>
</file>

<file path=ppt/slideLayouts/slideLayout10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_Gradient">
    <p:bg>
      <p:bgPr>
        <a:gradFill>
          <a:gsLst>
            <a:gs pos="0">
              <a:schemeClr val="accent2"/>
            </a:gs>
            <a:gs pos="100000">
              <a:schemeClr val="accent5"/>
            </a:gs>
          </a:gsLst>
          <a:lin ang="1200000" scaled="0"/>
        </a:gra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5" name="Slide Number Placeholder 4"/>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826678237"/>
      </p:ext>
    </p:extLst>
  </p:cSld>
  <p:clrMapOvr>
    <a:masterClrMapping/>
  </p:clrMapOvr>
  <p:transition/>
  <p:timing/>
</p:sldLayout>
</file>

<file path=ppt/slideLayouts/slideLayout10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Full Bleed Image">
    <p:bg>
      <p:bgPr>
        <a:solidFill>
          <a:schemeClr val="bg1"/>
        </a:solidFill>
        <a:effectLst/>
      </p:bgPr>
    </p:bg>
    <p:spTree>
      <p:nvGrpSpPr>
        <p:cNvPr id="1" name=""/>
        <p:cNvGrpSpPr/>
        <p:nvPr/>
      </p:nvGrpSpPr>
      <p:grpSpPr>
        <a:xfrm>
          <a:off x="0" y="0"/>
          <a:ext cx="0" cy="0"/>
        </a:xfrm>
      </p:grpSpPr>
      <p:sp>
        <p:nvSpPr>
          <p:cNvPr id="7" name="Picture Placeholder 13"/>
          <p:cNvSpPr>
            <a:spLocks noGrp="1"/>
          </p:cNvSpPr>
          <p:nvPr>
            <p:ph type="pic" sz="quarter" idx="12" hasCustomPrompt="1"/>
          </p:nvPr>
        </p:nvSpPr>
        <p:spPr>
          <a:xfrm>
            <a:off x="0" y="0"/>
            <a:ext cx="12192000" cy="6874525"/>
          </a:xfrm>
          <a:solidFill>
            <a:schemeClr val="tx2">
              <a:lumMod val="20000"/>
              <a:lumOff val="80000"/>
            </a:schemeClr>
          </a:solidFill>
        </p:spPr>
        <p:txBody>
          <a:bodyPr lIns="720000" rIns="720000" anchor="ctr" anchorCtr="0"/>
          <a:lstStyle>
            <a:lvl1pPr algn="ctr">
              <a:defRPr sz="1000" cap="all" baseline="0"/>
            </a:lvl1pPr>
          </a:lstStyle>
          <a:p>
            <a:r>
              <a:rPr lang="en-US"/>
              <a:t>Click on the icon to Insert image in placeholder and USE THE CROP TOOL TO CENTER THE IMAGE</a:t>
            </a:r>
          </a:p>
        </p:txBody>
      </p:sp>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2436885665"/>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1_Title Master: White">
    <p:bg>
      <p:bgPr>
        <a:solidFill>
          <a:schemeClr val="bg1"/>
        </a:solidFill>
        <a:effectLst/>
      </p:bgPr>
    </p:bg>
    <p:spTree>
      <p:nvGrpSpPr>
        <p:cNvPr id="1" name=""/>
        <p:cNvGrpSpPr/>
        <p:nvPr/>
      </p:nvGrpSpPr>
      <p:grpSpPr>
        <a:xfrm>
          <a:off x="0" y="0"/>
          <a:ext cx="0" cy="0"/>
        </a:xfrm>
      </p:grpSpPr>
      <p:pic>
        <p:nvPicPr>
          <p:cNvPr id="7" name="Picture 6" descr="A close up of a device&#10;&#10;Description automatically generated">
            <a:extLst>
              <a:ext uri="{FF2B5EF4-FFF2-40B4-BE49-F238E27FC236}">
                <a16:creationId xmlns:a16="http://schemas.microsoft.com/office/drawing/2014/main" id="{9DA95435-68BB-344F-B475-241617A23C38}"/>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7624363" y="0"/>
            <a:ext cx="4567637" cy="6858000"/>
          </a:xfrm>
          <a:prstGeom prst="rect">
            <a:avLst/>
          </a:prstGeom>
        </p:spPr>
      </p:pic>
      <p:sp>
        <p:nvSpPr>
          <p:cNvPr id="19" name="Title 1">
            <a:extLst>
              <a:ext uri="{FF2B5EF4-FFF2-40B4-BE49-F238E27FC236}">
                <a16:creationId xmlns:a16="http://schemas.microsoft.com/office/drawing/2014/main" id="{B43053D9-2C3D-41AA-A10D-920B3D2F6052}"/>
              </a:ext>
            </a:extLst>
          </p:cNvPr>
          <p:cNvSpPr>
            <a:spLocks noGrp="1"/>
          </p:cNvSpPr>
          <p:nvPr>
            <p:ph type="ctrTitle" hasCustomPrompt="1"/>
          </p:nvPr>
        </p:nvSpPr>
        <p:spPr>
          <a:xfrm>
            <a:off x="371475" y="1850118"/>
            <a:ext cx="5985782" cy="2009775"/>
          </a:xfrm>
          <a:prstGeom prst="rect">
            <a:avLst/>
          </a:prstGeom>
        </p:spPr>
        <p:txBody>
          <a:bodyPr vert="horz" lIns="0" tIns="72000" rIns="0" bIns="0" rtlCol="0" anchor="t" anchorCtr="0">
            <a:noAutofit/>
          </a:bodyPr>
          <a:lstStyle>
            <a:lvl1pPr>
              <a:defRPr lang="en-CR" sz="4400" i="0">
                <a:latin typeface="Graphik Black" panose="020b0503030202060203" pitchFamily="34" charset="77"/>
              </a:defRPr>
            </a:lvl1pPr>
          </a:lstStyle>
          <a:p>
            <a:pPr lvl="0"/>
            <a:r>
              <a:rPr lang="en-US"/>
              <a:t>CLICK TO EDIT DIVIDER TITLE STYLE</a:t>
            </a:r>
            <a:endParaRPr lang="en-CR"/>
          </a:p>
        </p:txBody>
      </p:sp>
      <p:sp>
        <p:nvSpPr>
          <p:cNvPr id="20" name="Subtitle 2">
            <a:extLst>
              <a:ext uri="{FF2B5EF4-FFF2-40B4-BE49-F238E27FC236}">
                <a16:creationId xmlns:a16="http://schemas.microsoft.com/office/drawing/2014/main" id="{35FE9EE5-B9D2-4139-9B2D-BC2EB66B8232}"/>
              </a:ext>
            </a:extLst>
          </p:cNvPr>
          <p:cNvSpPr>
            <a:spLocks noGrp="1"/>
          </p:cNvSpPr>
          <p:nvPr>
            <p:ph type="subTitle" idx="1"/>
          </p:nvPr>
        </p:nvSpPr>
        <p:spPr>
          <a:xfrm>
            <a:off x="371475" y="5206545"/>
            <a:ext cx="5985782" cy="864507"/>
          </a:xfrm>
          <a:prstGeom prst="rect">
            <a:avLst/>
          </a:prstGeom>
        </p:spPr>
        <p:txBody>
          <a:bodyPr>
            <a:noAutofit/>
          </a:bodyPr>
          <a:lstStyle>
            <a:lvl1pPr marL="0" indent="0" algn="l">
              <a:buNone/>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R"/>
          </a:p>
        </p:txBody>
      </p:sp>
    </p:spTree>
    <p:extLst>
      <p:ext uri="{BB962C8B-B14F-4D97-AF65-F5344CB8AC3E}">
        <p14:creationId xmlns:p14="http://schemas.microsoft.com/office/powerpoint/2010/main" val="4060734719"/>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ection_Intro_White">
    <p:spTree>
      <p:nvGrpSpPr>
        <p:cNvPr id="1" name=""/>
        <p:cNvGrpSpPr/>
        <p:nvPr/>
      </p:nvGrpSpPr>
      <p:grpSpPr>
        <a:xfrm>
          <a:off x="0" y="0"/>
          <a:ext cx="0" cy="0"/>
        </a:xfrm>
      </p:grpSpPr>
      <p:sp>
        <p:nvSpPr>
          <p:cNvPr id="2" name="Title 1"/>
          <p:cNvSpPr>
            <a:spLocks noGrp="1"/>
          </p:cNvSpPr>
          <p:nvPr>
            <p:ph type="title" hasCustomPrompt="1"/>
          </p:nvPr>
        </p:nvSpPr>
        <p:spPr>
          <a:xfrm>
            <a:off x="345019" y="1763714"/>
            <a:ext cx="5589056" cy="4294187"/>
          </a:xfrm>
        </p:spPr>
        <p:txBody>
          <a:bodyPr anchor="t" anchorCtr="0"/>
          <a:lstStyle>
            <a:lvl1pPr algn="l">
              <a:lnSpc>
                <a:spcPct val="80000"/>
              </a:lnSpc>
              <a:defRPr sz="5064" cap="all" baseline="0">
                <a:solidFill>
                  <a:schemeClr val="accent1"/>
                </a:solidFill>
              </a:defRPr>
            </a:lvl1pPr>
          </a:lstStyle>
          <a:p>
            <a:r>
              <a:rPr lang="en-US"/>
              <a:t>SECTION INTRO</a:t>
            </a:r>
          </a:p>
        </p:txBody>
      </p:sp>
      <p:sp>
        <p:nvSpPr>
          <p:cNvPr id="4" name="Footer Placeholder 3"/>
          <p:cNvSpPr>
            <a:spLocks noGrp="1"/>
          </p:cNvSpPr>
          <p:nvPr>
            <p:ph type="ftr" sz="quarter" idx="31"/>
          </p:nvPr>
        </p:nvSpPr>
        <p:spPr/>
        <p:txBody>
          <a:body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5" name="Text Placeholder 4"/>
          <p:cNvSpPr>
            <a:spLocks noGrp="1"/>
          </p:cNvSpPr>
          <p:nvPr>
            <p:ph type="body" sz="quarter" idx="33" hasCustomPrompt="1"/>
          </p:nvPr>
        </p:nvSpPr>
        <p:spPr>
          <a:xfrm>
            <a:off x="6276975" y="1763713"/>
            <a:ext cx="5578475" cy="4294187"/>
          </a:xfrm>
        </p:spPr>
        <p:txBody>
          <a:bodyPr/>
          <a:lstStyle>
            <a:lvl1pPr>
              <a:defRPr b="1"/>
            </a:lvl1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7668509"/>
      </p:ext>
    </p:extLst>
  </p:cSld>
  <p:clrMapOvr>
    <a:masterClrMapping/>
  </p:clrMapOvr>
  <p:transition/>
  <p:timing/>
</p:sldLayout>
</file>

<file path=ppt/slideLayouts/slideLayout1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ection_Intro_Blue3">
    <p:bg>
      <p:bgPr>
        <a:solidFill>
          <a:schemeClr val="accent3"/>
        </a:solidFill>
        <a:effectLst/>
      </p:bgPr>
    </p:bg>
    <p:spTree>
      <p:nvGrpSpPr>
        <p:cNvPr id="1" name=""/>
        <p:cNvGrpSpPr/>
        <p:nvPr/>
      </p:nvGrpSpPr>
      <p:grpSpPr>
        <a:xfrm>
          <a:off x="0" y="0"/>
          <a:ext cx="0" cy="0"/>
        </a:xfrm>
      </p:grpSpPr>
      <p:sp>
        <p:nvSpPr>
          <p:cNvPr id="2" name="Title 1"/>
          <p:cNvSpPr>
            <a:spLocks noGrp="1"/>
          </p:cNvSpPr>
          <p:nvPr>
            <p:ph type="title" hasCustomPrompt="1"/>
          </p:nvPr>
        </p:nvSpPr>
        <p:spPr>
          <a:xfrm>
            <a:off x="345019" y="1763714"/>
            <a:ext cx="5589056" cy="4294187"/>
          </a:xfrm>
        </p:spPr>
        <p:txBody>
          <a:bodyPr anchor="t" anchorCtr="0"/>
          <a:lstStyle>
            <a:lvl1pPr algn="l">
              <a:lnSpc>
                <a:spcPct val="80000"/>
              </a:lnSpc>
              <a:defRPr sz="5064" cap="all" baseline="0">
                <a:solidFill>
                  <a:schemeClr val="bg1"/>
                </a:solidFill>
              </a:defRPr>
            </a:lvl1pPr>
          </a:lstStyle>
          <a:p>
            <a:r>
              <a:rPr lang="en-US"/>
              <a:t>SECTION INTRO</a:t>
            </a:r>
          </a:p>
        </p:txBody>
      </p:sp>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5" name="Text Placeholder 4"/>
          <p:cNvSpPr>
            <a:spLocks noGrp="1"/>
          </p:cNvSpPr>
          <p:nvPr>
            <p:ph type="body" sz="quarter" idx="33" hasCustomPrompt="1"/>
          </p:nvPr>
        </p:nvSpPr>
        <p:spPr>
          <a:xfrm>
            <a:off x="6276975" y="1763713"/>
            <a:ext cx="5578475" cy="4294187"/>
          </a:xfrm>
        </p:spPr>
        <p:txBody>
          <a:bodyPr/>
          <a:lstStyle>
            <a:lvl1pPr>
              <a:defRPr b="1">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3614583"/>
      </p:ext>
    </p:extLst>
  </p:cSld>
  <p:clrMapOvr>
    <a:masterClrMapping/>
  </p:clrMapOvr>
  <p:transition/>
  <p:timing/>
</p:sldLayout>
</file>

<file path=ppt/slideLayouts/slideLayout1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Keypoint_Blue3">
    <p:bg>
      <p:bgPr>
        <a:solidFill>
          <a:schemeClr val="accent3"/>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2331879"/>
            <a:ext cx="11474082" cy="1096328"/>
          </a:xfrm>
        </p:spPr>
        <p:txBody>
          <a:bodyPr anchor="b">
            <a:spAutoFit/>
          </a:bodyPr>
          <a:lstStyle>
            <a:lvl1pPr algn="ctr">
              <a:lnSpc>
                <a:spcPct val="80000"/>
              </a:lnSpc>
              <a:spcBef>
                <a:spcPct val="0"/>
              </a:spcBef>
              <a:defRPr sz="4399" b="0"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at </a:t>
            </a:r>
            <a:br>
              <a:rPr lang="en-US"/>
            </a:br>
            <a:r>
              <a:rPr lang="en-US"/>
              <a:t>44pt min 36pt MAX 3 LINES</a:t>
            </a:r>
          </a:p>
        </p:txBody>
      </p:sp>
      <p:sp>
        <p:nvSpPr>
          <p:cNvPr id="5" name="Text Placeholder 3"/>
          <p:cNvSpPr>
            <a:spLocks noGrp="1"/>
          </p:cNvSpPr>
          <p:nvPr>
            <p:ph type="body" sz="quarter" idx="13" hasCustomPrompt="1"/>
          </p:nvPr>
        </p:nvSpPr>
        <p:spPr>
          <a:xfrm>
            <a:off x="355739" y="3496772"/>
            <a:ext cx="11474082" cy="1292277"/>
          </a:xfrm>
        </p:spPr>
        <p:txBody>
          <a:bodyPr>
            <a:spAutoFit/>
          </a:bodyPr>
          <a:lstStyle>
            <a:lvl1pPr algn="ctr">
              <a:defRPr sz="2799" b="0" cap="none" baseline="0">
                <a:solidFill>
                  <a:schemeClr val="accent6"/>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maximum 3 lines to support </a:t>
            </a:r>
            <a:br>
              <a:rPr lang="en-US"/>
            </a:br>
            <a:r>
              <a:rPr lang="en-US"/>
              <a:t>main title. Text here should be 28pt, </a:t>
            </a:r>
            <a:br>
              <a:rPr lang="en-US"/>
            </a:br>
            <a:r>
              <a:rPr lang="en-US"/>
              <a:t>minimum 20pt and sentence case.</a:t>
            </a:r>
          </a:p>
        </p:txBody>
      </p:sp>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1938176847"/>
      </p:ext>
    </p:extLst>
  </p:cSld>
  <p:clrMapOvr>
    <a:masterClrMapping/>
  </p:clrMapOvr>
  <p:transition/>
  <p:timing/>
</p:sldLayout>
</file>

<file path=ppt/slideLayouts/slideLayout1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Divider_LargeFont_Image">
    <p:bg>
      <p:bgPr>
        <a:solidFill>
          <a:schemeClr val="bg1"/>
        </a:solidFill>
        <a:effectLst/>
      </p:bgPr>
    </p:bg>
    <p:spTree>
      <p:nvGrpSpPr>
        <p:cNvPr id="1" name=""/>
        <p:cNvGrpSpPr/>
        <p:nvPr/>
      </p:nvGrpSpPr>
      <p:grpSpPr>
        <a:xfrm>
          <a:off x="0" y="0"/>
          <a:ext cx="0" cy="0"/>
        </a:xfrm>
      </p:grpSpPr>
      <p:sp>
        <p:nvSpPr>
          <p:cNvPr id="5" name="Picture Placeholder 13"/>
          <p:cNvSpPr>
            <a:spLocks noGrp="1"/>
          </p:cNvSpPr>
          <p:nvPr>
            <p:ph type="pic" sz="quarter" idx="33" hasCustomPrompt="1"/>
          </p:nvPr>
        </p:nvSpPr>
        <p:spPr>
          <a:xfrm>
            <a:off x="0" y="0"/>
            <a:ext cx="12192000" cy="6874525"/>
          </a:xfrm>
          <a:solidFill>
            <a:schemeClr val="tx2">
              <a:lumMod val="20000"/>
              <a:lumOff val="80000"/>
            </a:schemeClr>
          </a:solidFill>
        </p:spPr>
        <p:txBody>
          <a:bodyPr lIns="720000" tIns="1800000" rIns="720000" anchor="ctr" anchorCtr="0"/>
          <a:lstStyle>
            <a:lvl1pPr algn="ctr">
              <a:defRPr sz="1000" cap="all" baseline="0"/>
            </a:lvl1pPr>
          </a:lstStyle>
          <a:p>
            <a:r>
              <a:rPr lang="en-US"/>
              <a:t>Click on the icon to Insert image in placeholder and USE THE CROP TOOL TO CENTER THE IMAGE</a:t>
            </a:r>
          </a:p>
        </p:txBody>
      </p:sp>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accent6"/>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2797358642"/>
      </p:ext>
    </p:extLst>
  </p:cSld>
  <p:clrMapOvr>
    <a:masterClrMapping/>
  </p:clrMapOvr>
  <p:transition/>
  <p:timing/>
</p:sldLayout>
</file>

<file path=ppt/slideLayouts/slideLayout1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Divider_LargeFont_Dark_Image">
    <p:bg>
      <p:bgPr>
        <a:solidFill>
          <a:schemeClr val="bg1"/>
        </a:solidFill>
        <a:effectLst/>
      </p:bgPr>
    </p:bg>
    <p:spTree>
      <p:nvGrpSpPr>
        <p:cNvPr id="1" name=""/>
        <p:cNvGrpSpPr/>
        <p:nvPr/>
      </p:nvGrpSpPr>
      <p:grpSpPr>
        <a:xfrm>
          <a:off x="0" y="0"/>
          <a:ext cx="0" cy="0"/>
        </a:xfrm>
      </p:grpSpPr>
      <p:sp>
        <p:nvSpPr>
          <p:cNvPr id="5" name="Picture Placeholder 13"/>
          <p:cNvSpPr>
            <a:spLocks noGrp="1"/>
          </p:cNvSpPr>
          <p:nvPr>
            <p:ph type="pic" sz="quarter" idx="33" hasCustomPrompt="1"/>
          </p:nvPr>
        </p:nvSpPr>
        <p:spPr>
          <a:xfrm>
            <a:off x="0" y="0"/>
            <a:ext cx="12192000" cy="6874525"/>
          </a:xfrm>
          <a:solidFill>
            <a:schemeClr val="accent6"/>
          </a:solidFill>
        </p:spPr>
        <p:txBody>
          <a:bodyPr lIns="720000" tIns="1800000" rIns="720000" anchor="ctr" anchorCtr="0"/>
          <a:lstStyle>
            <a:lvl1pPr algn="ctr">
              <a:defRPr sz="1000" cap="all" baseline="0">
                <a:solidFill>
                  <a:schemeClr val="bg1"/>
                </a:solidFill>
              </a:defRPr>
            </a:lvl1pPr>
          </a:lstStyle>
          <a:p>
            <a:r>
              <a:rPr lang="en-US"/>
              <a:t>Click on the icon to Insert image in placeholder and USE THE CROP TOOL TO CENTER THE IMAGE</a:t>
            </a:r>
          </a:p>
        </p:txBody>
      </p:sp>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2359881209"/>
      </p:ext>
    </p:extLst>
  </p:cSld>
  <p:clrMapOvr>
    <a:masterClrMapping/>
  </p:clrMapOvr>
  <p:transition/>
  <p:timing/>
</p:sldLayout>
</file>

<file path=ppt/slideLayouts/slideLayout1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Divider_LargeFont_Blue2">
    <p:bg>
      <p:bgPr>
        <a:solidFill>
          <a:schemeClr val="accent2"/>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accent6"/>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5" name="Footer Placeholder 1"/>
          <p:cNvSpPr>
            <a:spLocks noGrp="1"/>
          </p:cNvSpPr>
          <p:nvPr>
            <p:ph type="ftr" sz="quarter" idx="34"/>
          </p:nvPr>
        </p:nvSpPr>
        <p:spPr>
          <a:xfrm>
            <a:off x="7410450" y="6386400"/>
            <a:ext cx="4114800" cy="140400"/>
          </a:xfrm>
        </p:spPr>
        <p:txBody>
          <a:bodyPr/>
          <a:lstStyle>
            <a:lvl1pPr>
              <a:defRPr>
                <a:solidFill>
                  <a:schemeClr val="tx1">
                    <a:alpha val="50000"/>
                  </a:schemeClr>
                </a:solidFill>
              </a:defRPr>
            </a:lvl1pPr>
          </a:lstStyle>
          <a:p>
            <a:r>
              <a:rPr lang="en-US"/>
              <a:t>Copyright © 2017 Accenture. All rights reserved.</a:t>
            </a:r>
            <a:endParaRPr lang="en-AU"/>
          </a:p>
        </p:txBody>
      </p:sp>
      <p:sp>
        <p:nvSpPr>
          <p:cNvPr id="9" name="Slide Number Placeholder 2"/>
          <p:cNvSpPr>
            <a:spLocks noGrp="1"/>
          </p:cNvSpPr>
          <p:nvPr>
            <p:ph type="sldNum" sz="quarter" idx="35"/>
          </p:nvPr>
        </p:nvSpPr>
        <p:spPr>
          <a:xfrm>
            <a:off x="11639450" y="6386400"/>
            <a:ext cx="216000" cy="140400"/>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4193094594"/>
      </p:ext>
    </p:extLst>
  </p:cSld>
  <p:clrMapOvr>
    <a:masterClrMapping/>
  </p:clrMapOvr>
  <p:transition/>
  <p:timing/>
</p:sldLayout>
</file>

<file path=ppt/slideLayouts/slideLayout1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Divider_LargeFont_HeroBlue">
    <p:bg>
      <p:bgPr>
        <a:solidFill>
          <a:schemeClr val="accent1"/>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3111451222"/>
      </p:ext>
    </p:extLst>
  </p:cSld>
  <p:clrMapOvr>
    <a:masterClrMapping/>
  </p:clrMapOvr>
  <p:transition/>
  <p:timing/>
</p:sldLayout>
</file>

<file path=ppt/slideLayouts/slideLayout1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Divider_LargeFont_Blue3">
    <p:bg>
      <p:bgPr>
        <a:solidFill>
          <a:schemeClr val="accent3"/>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5" name="Footer Placeholder 1"/>
          <p:cNvSpPr>
            <a:spLocks noGrp="1"/>
          </p:cNvSpPr>
          <p:nvPr>
            <p:ph type="ftr" sz="quarter" idx="34"/>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p>
        </p:txBody>
      </p:sp>
      <p:sp>
        <p:nvSpPr>
          <p:cNvPr id="9" name="Slide Number Placeholder 2"/>
          <p:cNvSpPr>
            <a:spLocks noGrp="1"/>
          </p:cNvSpPr>
          <p:nvPr>
            <p:ph type="sldNum" sz="quarter" idx="35"/>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527243298"/>
      </p:ext>
    </p:extLst>
  </p:cSld>
  <p:clrMapOvr>
    <a:masterClrMapping/>
  </p:clrMapOvr>
  <p:transition/>
  <p:timing/>
</p:sldLayout>
</file>

<file path=ppt/slideLayouts/slideLayout1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Divider_LargeFont_Blue4">
    <p:bg>
      <p:bgPr>
        <a:solidFill>
          <a:schemeClr val="accent4"/>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5" name="Footer Placeholder 1"/>
          <p:cNvSpPr>
            <a:spLocks noGrp="1"/>
          </p:cNvSpPr>
          <p:nvPr>
            <p:ph type="ftr" sz="quarter" idx="34"/>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p>
        </p:txBody>
      </p:sp>
      <p:sp>
        <p:nvSpPr>
          <p:cNvPr id="9" name="Slide Number Placeholder 2"/>
          <p:cNvSpPr>
            <a:spLocks noGrp="1"/>
          </p:cNvSpPr>
          <p:nvPr>
            <p:ph type="sldNum" sz="quarter" idx="35"/>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4033804579"/>
      </p:ext>
    </p:extLst>
  </p:cSld>
  <p:clrMapOvr>
    <a:masterClrMapping/>
  </p:clrMapOvr>
  <p:transition/>
  <p:timing/>
</p:sldLayout>
</file>

<file path=ppt/slideLayouts/slideLayout1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STATEMENT SLIDE">
    <p:bg>
      <p:bgPr>
        <a:solidFill>
          <a:schemeClr val="bg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9" name="Text Placeholder 7"/>
          <p:cNvSpPr>
            <a:spLocks noGrp="1"/>
          </p:cNvSpPr>
          <p:nvPr>
            <p:ph type="body" sz="quarter" idx="36" hasCustomPrompt="1"/>
          </p:nvPr>
        </p:nvSpPr>
        <p:spPr>
          <a:xfrm>
            <a:off x="4800600" y="2586278"/>
            <a:ext cx="7054850" cy="2025650"/>
          </a:xfrm>
        </p:spPr>
        <p:txBody>
          <a:bodyPr/>
          <a:lstStyle>
            <a:lvl1pPr marL="0" marR="0" indent="0" algn="l" defTabSz="1734634" rtl="0" eaLnBrk="1" fontAlgn="auto" latinLnBrk="0" hangingPunct="1">
              <a:lnSpc>
                <a:spcPct val="80000"/>
              </a:lnSpc>
              <a:spcBef>
                <a:spcPts val="800"/>
              </a:spcBef>
              <a:spcAft>
                <a:spcPct val="0"/>
              </a:spcAft>
              <a:buClrTx/>
              <a:buSzTx/>
              <a:buFont typeface="Arial"/>
              <a:buNone/>
              <a:defRPr lang="en-US" sz="4799" b="1" kern="0" smtClean="0">
                <a:solidFill>
                  <a:srgbClr val="000088"/>
                </a:solidFill>
                <a:latin typeface="+mj-lt"/>
                <a:ea typeface="Gotham Black"/>
                <a:cs typeface="Gotham Black"/>
                <a:sym typeface="Gotham Black"/>
              </a:defRPr>
            </a:lvl1pPr>
          </a:lstStyle>
          <a:p>
            <a:pPr marL="0" marR="0" lvl="0" indent="0" algn="l" defTabSz="1734634" rtl="0" eaLnBrk="1" fontAlgn="auto" latinLnBrk="0" hangingPunct="1">
              <a:lnSpc>
                <a:spcPct val="80000"/>
              </a:lnSpc>
              <a:spcBef>
                <a:spcPts val="800"/>
              </a:spcBef>
              <a:spcAft>
                <a:spcPct val="0"/>
              </a:spcAft>
              <a:buClrTx/>
              <a:buSzTx/>
              <a:buFont typeface="Arial"/>
              <a:buNone/>
              <a:defRPr/>
            </a:pPr>
            <a:r>
              <a:rPr lang="en-US" sz="4799" kern="0">
                <a:solidFill>
                  <a:schemeClr val="accent6"/>
                </a:solidFill>
                <a:latin typeface="+mj-lt"/>
              </a:rPr>
              <a:t>MAXIMUM 48PT MINIMUM 44PT </a:t>
            </a:r>
            <a:br>
              <a:rPr lang="en-US" sz="4799" kern="0">
                <a:solidFill>
                  <a:schemeClr val="accent6"/>
                </a:solidFill>
                <a:latin typeface="+mj-lt"/>
              </a:rPr>
            </a:br>
            <a:r>
              <a:rPr lang="en-US" sz="4799" kern="0">
                <a:solidFill>
                  <a:schemeClr val="accent6"/>
                </a:solidFill>
                <a:latin typeface="+mj-lt"/>
              </a:rPr>
              <a:t>MAX 3 LINES.</a:t>
            </a:r>
          </a:p>
          <a:p>
            <a:pPr lvl="0"/>
            <a:endParaRPr lang="en-US"/>
          </a:p>
        </p:txBody>
      </p:sp>
    </p:spTree>
    <p:extLst>
      <p:ext uri="{BB962C8B-B14F-4D97-AF65-F5344CB8AC3E}">
        <p14:creationId xmlns:p14="http://schemas.microsoft.com/office/powerpoint/2010/main" val="2627415365"/>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8_Title Master: White">
    <p:bg>
      <p:bgPr>
        <a:solidFill>
          <a:schemeClr val="bg1"/>
        </a:solidFill>
        <a:effectLst/>
      </p:bgPr>
    </p:bg>
    <p:spTree>
      <p:nvGrpSpPr>
        <p:cNvPr id="1" name=""/>
        <p:cNvGrpSpPr/>
        <p:nvPr/>
      </p:nvGrpSpPr>
      <p:grpSpPr>
        <a:xfrm>
          <a:off x="0" y="0"/>
          <a:ext cx="0" cy="0"/>
        </a:xfrm>
      </p:grpSpPr>
      <p:pic>
        <p:nvPicPr>
          <p:cNvPr id="10" name="Picture 9" descr="A close up of a bottle&#10;&#10;Description automatically generated">
            <a:extLst>
              <a:ext uri="{FF2B5EF4-FFF2-40B4-BE49-F238E27FC236}">
                <a16:creationId xmlns:a16="http://schemas.microsoft.com/office/drawing/2014/main" id="{00087CE2-1986-8942-B0CF-A50DD63ACC38}"/>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7620000" y="0"/>
            <a:ext cx="4572000" cy="6858000"/>
          </a:xfrm>
          <a:prstGeom prst="rect">
            <a:avLst/>
          </a:prstGeom>
        </p:spPr>
      </p:pic>
      <p:sp>
        <p:nvSpPr>
          <p:cNvPr id="19" name="Title 1">
            <a:extLst>
              <a:ext uri="{FF2B5EF4-FFF2-40B4-BE49-F238E27FC236}">
                <a16:creationId xmlns:a16="http://schemas.microsoft.com/office/drawing/2014/main" id="{FC2FBA78-89C8-481D-856E-8CFD525D1B12}"/>
              </a:ext>
            </a:extLst>
          </p:cNvPr>
          <p:cNvSpPr>
            <a:spLocks noGrp="1"/>
          </p:cNvSpPr>
          <p:nvPr>
            <p:ph type="ctrTitle" hasCustomPrompt="1"/>
          </p:nvPr>
        </p:nvSpPr>
        <p:spPr>
          <a:xfrm>
            <a:off x="371475" y="1850118"/>
            <a:ext cx="5985782" cy="2009775"/>
          </a:xfrm>
          <a:prstGeom prst="rect">
            <a:avLst/>
          </a:prstGeom>
        </p:spPr>
        <p:txBody>
          <a:bodyPr vert="horz" lIns="0" tIns="72000" rIns="0" bIns="0" rtlCol="0" anchor="t" anchorCtr="0">
            <a:noAutofit/>
          </a:bodyPr>
          <a:lstStyle>
            <a:lvl1pPr>
              <a:defRPr lang="en-CR" sz="4400" i="0">
                <a:latin typeface="Graphik Black" panose="020b0503030202060203" pitchFamily="34" charset="77"/>
              </a:defRPr>
            </a:lvl1pPr>
          </a:lstStyle>
          <a:p>
            <a:pPr lvl="0"/>
            <a:r>
              <a:rPr lang="en-US"/>
              <a:t>CLICK TO EDIT DIVIDER TITLE STYLE</a:t>
            </a:r>
            <a:endParaRPr lang="en-CR"/>
          </a:p>
        </p:txBody>
      </p:sp>
      <p:sp>
        <p:nvSpPr>
          <p:cNvPr id="20" name="Subtitle 2">
            <a:extLst>
              <a:ext uri="{FF2B5EF4-FFF2-40B4-BE49-F238E27FC236}">
                <a16:creationId xmlns:a16="http://schemas.microsoft.com/office/drawing/2014/main" id="{A5D96D43-9A60-4634-BB25-0C21E3F1BEDA}"/>
              </a:ext>
            </a:extLst>
          </p:cNvPr>
          <p:cNvSpPr>
            <a:spLocks noGrp="1"/>
          </p:cNvSpPr>
          <p:nvPr>
            <p:ph type="subTitle" idx="1"/>
          </p:nvPr>
        </p:nvSpPr>
        <p:spPr>
          <a:xfrm>
            <a:off x="371475" y="5206545"/>
            <a:ext cx="5985782" cy="864507"/>
          </a:xfrm>
          <a:prstGeom prst="rect">
            <a:avLst/>
          </a:prstGeom>
        </p:spPr>
        <p:txBody>
          <a:bodyPr>
            <a:noAutofit/>
          </a:bodyPr>
          <a:lstStyle>
            <a:lvl1pPr marL="0" indent="0" algn="l">
              <a:buNone/>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R"/>
          </a:p>
        </p:txBody>
      </p:sp>
    </p:spTree>
    <p:extLst>
      <p:ext uri="{BB962C8B-B14F-4D97-AF65-F5344CB8AC3E}">
        <p14:creationId xmlns:p14="http://schemas.microsoft.com/office/powerpoint/2010/main" val="866969032"/>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_STATEMENT SLIDE_WHITE_TEXT">
    <p:bg>
      <p:bgPr>
        <a:solidFill>
          <a:schemeClr val="accent6"/>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8" name="Text Placeholder 5"/>
          <p:cNvSpPr>
            <a:spLocks noGrp="1"/>
          </p:cNvSpPr>
          <p:nvPr>
            <p:ph type="body" sz="quarter" idx="36" hasCustomPrompt="1"/>
          </p:nvPr>
        </p:nvSpPr>
        <p:spPr>
          <a:xfrm>
            <a:off x="936625" y="2353157"/>
            <a:ext cx="6975475" cy="1905000"/>
          </a:xfrm>
        </p:spPr>
        <p:txBody>
          <a:bodyPr/>
          <a:lstStyle>
            <a:lvl1pPr>
              <a:lnSpc>
                <a:spcPct val="80000"/>
              </a:lnSpc>
              <a:defRPr lang="en-US" sz="4799" b="1" kern="0" baseline="0" smtClean="0">
                <a:solidFill>
                  <a:schemeClr val="bg1"/>
                </a:solidFill>
                <a:latin typeface="+mj-lt"/>
                <a:ea typeface="Gotham Black"/>
                <a:cs typeface="Gotham Black"/>
                <a:sym typeface="Gotham Black"/>
              </a:defRPr>
            </a:lvl1pPr>
          </a:lstStyle>
          <a:p>
            <a:pPr lvl="0"/>
            <a:r>
              <a:rPr lang="en-US"/>
              <a:t>MAXIMUM 48PT</a:t>
            </a:r>
            <a:br>
              <a:rPr lang="en-US"/>
            </a:br>
            <a:r>
              <a:rPr lang="en-US"/>
              <a:t>MINIMUM 44PT</a:t>
            </a:r>
            <a:br>
              <a:rPr lang="en-US"/>
            </a:br>
            <a:r>
              <a:rPr lang="en-US"/>
              <a:t>MAX 3 LINES</a:t>
            </a:r>
          </a:p>
        </p:txBody>
      </p:sp>
    </p:spTree>
    <p:extLst>
      <p:ext uri="{BB962C8B-B14F-4D97-AF65-F5344CB8AC3E}">
        <p14:creationId xmlns:p14="http://schemas.microsoft.com/office/powerpoint/2010/main" val="3900666113"/>
      </p:ext>
    </p:extLst>
  </p:cSld>
  <p:clrMapOvr>
    <a:masterClrMapping/>
  </p:clrMapOvr>
  <p:transition/>
  <p:timing/>
</p:sldLayout>
</file>

<file path=ppt/slideLayouts/slideLayout1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Keypoint_Top_Left_Image_ DARK_GREY_PAGE NUMBER">
    <p:bg>
      <p:bgPr>
        <a:solidFill>
          <a:schemeClr val="bg1"/>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618028"/>
            <a:ext cx="7544947" cy="1637949"/>
          </a:xfrm>
        </p:spPr>
        <p:txBody>
          <a:bodyPr wrap="square" anchor="t">
            <a:spAutoFit/>
          </a:bodyPr>
          <a:lstStyle>
            <a:lvl1pPr marL="0" marR="0" indent="0" algn="l" defTabSz="1734634" rtl="0" eaLnBrk="1" fontAlgn="auto" latinLnBrk="0" hangingPunct="1">
              <a:lnSpc>
                <a:spcPct val="80000"/>
              </a:lnSpc>
              <a:spcBef>
                <a:spcPct val="0"/>
              </a:spcBef>
              <a:spcAft>
                <a:spcPct val="0"/>
              </a:spcAft>
              <a:buClrTx/>
              <a:buSzTx/>
              <a:buFont typeface="Arial"/>
              <a:buNone/>
              <a:defRPr sz="4399" b="0" cap="all" baseline="0">
                <a:solidFill>
                  <a:schemeClr val="accent6"/>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pPr marL="0" marR="0" lvl="0" indent="0" algn="l" defTabSz="1734634" rtl="0" eaLnBrk="1" fontAlgn="auto" latinLnBrk="0" hangingPunct="1">
              <a:lnSpc>
                <a:spcPct val="80000"/>
              </a:lnSpc>
              <a:spcBef>
                <a:spcPct val="0"/>
              </a:spcBef>
              <a:spcAft>
                <a:spcPct val="0"/>
              </a:spcAft>
              <a:buClrTx/>
              <a:buSzTx/>
              <a:buFont typeface="Arial"/>
              <a:buNone/>
              <a:defRPr/>
            </a:pPr>
            <a:r>
              <a:rPr lang="en-US"/>
              <a:t>INSERT STATEMENT TEXT at 44pt minimum 36pt max 3 lines</a:t>
            </a:r>
          </a:p>
        </p:txBody>
      </p:sp>
      <p:sp>
        <p:nvSpPr>
          <p:cNvPr id="5" name="Footer Placeholder 3"/>
          <p:cNvSpPr>
            <a:spLocks noGrp="1"/>
          </p:cNvSpPr>
          <p:nvPr>
            <p:ph type="ftr" sz="quarter" idx="34"/>
          </p:nvPr>
        </p:nvSpPr>
        <p:spPr>
          <a:xfrm>
            <a:off x="7410450" y="6386400"/>
            <a:ext cx="4114800" cy="140400"/>
          </a:xfrm>
        </p:spPr>
        <p:txBody>
          <a:bodyPr/>
          <a:lstStyle/>
          <a:p>
            <a:r>
              <a:rPr lang="en-US">
                <a:solidFill>
                  <a:schemeClr val="tx1">
                    <a:lumMod val="50000"/>
                    <a:lumOff val="50000"/>
                  </a:schemeClr>
                </a:solidFill>
              </a:rPr>
              <a:t>Copyright © 2017 Accenture. All rights reserved.</a:t>
            </a:r>
          </a:p>
        </p:txBody>
      </p:sp>
      <p:sp>
        <p:nvSpPr>
          <p:cNvPr id="8" name="Slide Number Placeholder 4"/>
          <p:cNvSpPr>
            <a:spLocks noGrp="1"/>
          </p:cNvSpPr>
          <p:nvPr>
            <p:ph type="sldNum" sz="quarter" idx="35"/>
          </p:nvPr>
        </p:nvSpPr>
        <p:spPr>
          <a:xfrm>
            <a:off x="11639450" y="6386400"/>
            <a:ext cx="216000" cy="140400"/>
          </a:xfrm>
        </p:spPr>
        <p:txBody>
          <a:bodyPr/>
          <a:lstStyle/>
          <a:p>
            <a:fld id="{90CBDC3A-D49F-4631-A8C7-55D59B33E5FA}" type="slidenum">
              <a:rPr lang="en-US" smtClean="0">
                <a:solidFill>
                  <a:schemeClr val="tx1">
                    <a:lumMod val="50000"/>
                    <a:lumOff val="50000"/>
                  </a:schemeClr>
                </a:solidFill>
              </a:rPr>
              <a:t>‹#›</a:t>
            </a:fld>
            <a:endParaRPr lang="en-US">
              <a:solidFill>
                <a:schemeClr val="tx1">
                  <a:lumMod val="50000"/>
                  <a:lumOff val="50000"/>
                </a:schemeClr>
              </a:solidFill>
            </a:endParaRPr>
          </a:p>
        </p:txBody>
      </p:sp>
    </p:spTree>
    <p:extLst>
      <p:ext uri="{BB962C8B-B14F-4D97-AF65-F5344CB8AC3E}">
        <p14:creationId xmlns:p14="http://schemas.microsoft.com/office/powerpoint/2010/main" val="1615149720"/>
      </p:ext>
    </p:extLst>
  </p:cSld>
  <p:clrMapOvr>
    <a:masterClrMapping/>
  </p:clrMapOvr>
  <p:transition/>
  <p:timing/>
</p:sldLayout>
</file>

<file path=ppt/slideLayouts/slideLayout1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Keypoint_Top_Left_Dark_Image">
    <p:bg>
      <p:bgPr>
        <a:solidFill>
          <a:schemeClr val="bg1"/>
        </a:solidFill>
        <a:effectLst/>
      </p:bgPr>
    </p:bg>
    <p:spTree>
      <p:nvGrpSpPr>
        <p:cNvPr id="1" name=""/>
        <p:cNvGrpSpPr/>
        <p:nvPr/>
      </p:nvGrpSpPr>
      <p:grpSpPr>
        <a:xfrm>
          <a:off x="0" y="0"/>
          <a:ext cx="0" cy="0"/>
        </a:xfrm>
      </p:grpSpPr>
      <p:sp>
        <p:nvSpPr>
          <p:cNvPr id="5" name="Picture Placeholder 13"/>
          <p:cNvSpPr>
            <a:spLocks noGrp="1"/>
          </p:cNvSpPr>
          <p:nvPr>
            <p:ph type="pic" sz="quarter" idx="33" hasCustomPrompt="1"/>
          </p:nvPr>
        </p:nvSpPr>
        <p:spPr>
          <a:xfrm>
            <a:off x="0" y="0"/>
            <a:ext cx="12192000" cy="6874525"/>
          </a:xfrm>
          <a:solidFill>
            <a:schemeClr val="accent6"/>
          </a:solidFill>
        </p:spPr>
        <p:txBody>
          <a:bodyPr lIns="720000" rIns="720000" anchor="ctr" anchorCtr="0"/>
          <a:lstStyle>
            <a:lvl1pPr algn="ctr">
              <a:defRPr sz="1000" cap="all" baseline="0">
                <a:solidFill>
                  <a:schemeClr val="bg1"/>
                </a:solidFill>
              </a:defRPr>
            </a:lvl1pPr>
          </a:lstStyle>
          <a:p>
            <a:r>
              <a:rPr lang="en-US"/>
              <a:t>Click on the icon to Insert image in placeholder and USE THE CROP TOOL TO CENTER THE IMAGE</a:t>
            </a:r>
          </a:p>
        </p:txBody>
      </p:sp>
      <p:sp>
        <p:nvSpPr>
          <p:cNvPr id="6" name="Text Placeholder 5"/>
          <p:cNvSpPr>
            <a:spLocks noGrp="1"/>
          </p:cNvSpPr>
          <p:nvPr>
            <p:ph type="body" sz="quarter" idx="12" hasCustomPrompt="1"/>
          </p:nvPr>
        </p:nvSpPr>
        <p:spPr>
          <a:xfrm>
            <a:off x="355739" y="618028"/>
            <a:ext cx="7544947" cy="1637949"/>
          </a:xfrm>
        </p:spPr>
        <p:txBody>
          <a:bodyPr wrap="square" anchor="t">
            <a:spAutoFit/>
          </a:bodyPr>
          <a:lstStyle>
            <a:lvl1pPr marL="0" marR="0" indent="0" algn="l" defTabSz="1734634" rtl="0" eaLnBrk="1" fontAlgn="auto" latinLnBrk="0" hangingPunct="1">
              <a:lnSpc>
                <a:spcPct val="80000"/>
              </a:lnSpc>
              <a:spcBef>
                <a:spcPct val="0"/>
              </a:spcBef>
              <a:spcAft>
                <a:spcPct val="0"/>
              </a:spcAft>
              <a:buClrTx/>
              <a:buSzTx/>
              <a:buFont typeface="Arial"/>
              <a:buNone/>
              <a:defRPr sz="43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pPr marL="0" marR="0" lvl="0" indent="0" algn="l" defTabSz="1734634" rtl="0" eaLnBrk="1" fontAlgn="auto" latinLnBrk="0" hangingPunct="1">
              <a:lnSpc>
                <a:spcPct val="80000"/>
              </a:lnSpc>
              <a:spcBef>
                <a:spcPct val="0"/>
              </a:spcBef>
              <a:spcAft>
                <a:spcPct val="0"/>
              </a:spcAft>
              <a:buClrTx/>
              <a:buSzTx/>
              <a:buFont typeface="Arial"/>
              <a:buNone/>
              <a:defRPr/>
            </a:pPr>
            <a:r>
              <a:rPr lang="en-US"/>
              <a:t>INSERT STATEMENT TEXT at 44pt minimum 36pt max 3 lines</a:t>
            </a:r>
          </a:p>
        </p:txBody>
      </p:sp>
      <p:sp>
        <p:nvSpPr>
          <p:cNvPr id="4" name="Footer Placeholder 3"/>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401856562"/>
      </p:ext>
    </p:extLst>
  </p:cSld>
  <p:clrMapOvr>
    <a:masterClrMapping/>
  </p:clrMapOvr>
  <p:transition/>
  <p:timing/>
</p:sldLayout>
</file>

<file path=ppt/slideLayouts/slideLayout1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Large_Keypoint_HeroBlue">
    <p:bg>
      <p:bgPr>
        <a:solidFill>
          <a:schemeClr val="accent1"/>
        </a:solidFill>
        <a:effectLst/>
      </p:bgPr>
    </p:bg>
    <p:spTree>
      <p:nvGrpSpPr>
        <p:cNvPr id="1" name=""/>
        <p:cNvGrpSpPr/>
        <p:nvPr/>
      </p:nvGrpSpPr>
      <p:grpSpPr>
        <a:xfrm>
          <a:off x="0" y="0"/>
          <a:ext cx="0" cy="0"/>
        </a:xfrm>
      </p:grpSpPr>
      <p:sp>
        <p:nvSpPr>
          <p:cNvPr id="2" name="Title 1"/>
          <p:cNvSpPr>
            <a:spLocks noGrp="1"/>
          </p:cNvSpPr>
          <p:nvPr>
            <p:ph type="title" hasCustomPrompt="1"/>
          </p:nvPr>
        </p:nvSpPr>
        <p:spPr>
          <a:xfrm>
            <a:off x="355740" y="2267421"/>
            <a:ext cx="7556276" cy="2323159"/>
          </a:xfrm>
        </p:spPr>
        <p:txBody>
          <a:bodyPr>
            <a:spAutoFit/>
          </a:bodyPr>
          <a:lstStyle>
            <a:lvl1pPr algn="l">
              <a:lnSpc>
                <a:spcPct val="70000"/>
              </a:lnSpc>
              <a:defRPr sz="6999">
                <a:solidFill>
                  <a:schemeClr val="bg1"/>
                </a:solidFill>
              </a:defRPr>
            </a:lvl1pPr>
          </a:lstStyle>
          <a:p>
            <a:r>
              <a:rPr lang="en-AU"/>
              <a:t>MAX 70pt</a:t>
            </a:r>
            <a:br>
              <a:rPr lang="en-AU"/>
            </a:br>
            <a:r>
              <a:rPr lang="en-AU"/>
              <a:t>MIN 50pt </a:t>
            </a:r>
            <a:br>
              <a:rPr lang="en-AU"/>
            </a:br>
            <a:r>
              <a:rPr lang="en-AU"/>
              <a:t>MAX 3 LINES</a:t>
            </a:r>
            <a:endParaRPr lang="en-US"/>
          </a:p>
        </p:txBody>
      </p:sp>
      <p:sp>
        <p:nvSpPr>
          <p:cNvPr id="5" name="Footer Placeholder 1"/>
          <p:cNvSpPr>
            <a:spLocks noGrp="1"/>
          </p:cNvSpPr>
          <p:nvPr>
            <p:ph type="ftr" sz="quarter" idx="34"/>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p>
        </p:txBody>
      </p:sp>
      <p:sp>
        <p:nvSpPr>
          <p:cNvPr id="8" name="Slide Number Placeholder 2"/>
          <p:cNvSpPr>
            <a:spLocks noGrp="1"/>
          </p:cNvSpPr>
          <p:nvPr>
            <p:ph type="sldNum" sz="quarter" idx="35"/>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1179503337"/>
      </p:ext>
    </p:extLst>
  </p:cSld>
  <p:clrMapOvr>
    <a:masterClrMapping/>
  </p:clrMapOvr>
  <p:transition/>
  <p:timing/>
</p:sldLayout>
</file>

<file path=ppt/slideLayouts/slideLayout1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Quote_HeroBlue">
    <p:bg>
      <p:bgPr>
        <a:solidFill>
          <a:schemeClr val="accent1"/>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ext Placeholder 5"/>
          <p:cNvSpPr>
            <a:spLocks noGrp="1"/>
          </p:cNvSpPr>
          <p:nvPr>
            <p:ph type="body" sz="quarter" idx="12" hasCustomPrompt="1"/>
          </p:nvPr>
        </p:nvSpPr>
        <p:spPr>
          <a:xfrm>
            <a:off x="877822" y="2272934"/>
            <a:ext cx="10433304" cy="1969257"/>
          </a:xfrm>
        </p:spPr>
        <p:txBody>
          <a:bodyPr wrap="square"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9" name="Text Placeholder 5"/>
          <p:cNvSpPr>
            <a:spLocks noGrp="1"/>
          </p:cNvSpPr>
          <p:nvPr>
            <p:ph type="body" sz="quarter" idx="35" hasCustomPrompt="1"/>
          </p:nvPr>
        </p:nvSpPr>
        <p:spPr>
          <a:xfrm>
            <a:off x="4800600" y="4543961"/>
            <a:ext cx="6510526"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bg1">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Tree>
    <p:extLst>
      <p:ext uri="{BB962C8B-B14F-4D97-AF65-F5344CB8AC3E}">
        <p14:creationId xmlns:p14="http://schemas.microsoft.com/office/powerpoint/2010/main" val="1454545693"/>
      </p:ext>
    </p:extLst>
  </p:cSld>
  <p:clrMapOvr>
    <a:masterClrMapping/>
  </p:clrMapOvr>
  <p:transition/>
  <p:timing/>
</p:sldLayout>
</file>

<file path=ppt/slideLayouts/slideLayout1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Quote_Blue3">
    <p:bg>
      <p:bgPr>
        <a:solidFill>
          <a:schemeClr val="accent3"/>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ext Placeholder 5"/>
          <p:cNvSpPr>
            <a:spLocks noGrp="1"/>
          </p:cNvSpPr>
          <p:nvPr>
            <p:ph type="body" sz="quarter" idx="12" hasCustomPrompt="1"/>
          </p:nvPr>
        </p:nvSpPr>
        <p:spPr>
          <a:xfrm>
            <a:off x="877822" y="2272934"/>
            <a:ext cx="10433304" cy="1969257"/>
          </a:xfrm>
        </p:spPr>
        <p:txBody>
          <a:bodyPr wrap="square"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9" name="Text Placeholder 5"/>
          <p:cNvSpPr>
            <a:spLocks noGrp="1"/>
          </p:cNvSpPr>
          <p:nvPr>
            <p:ph type="body" sz="quarter" idx="35" hasCustomPrompt="1"/>
          </p:nvPr>
        </p:nvSpPr>
        <p:spPr>
          <a:xfrm>
            <a:off x="4800600" y="4543961"/>
            <a:ext cx="6510526"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bg1">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Tree>
    <p:extLst>
      <p:ext uri="{BB962C8B-B14F-4D97-AF65-F5344CB8AC3E}">
        <p14:creationId xmlns:p14="http://schemas.microsoft.com/office/powerpoint/2010/main" val="4104940851"/>
      </p:ext>
    </p:extLst>
  </p:cSld>
  <p:clrMapOvr>
    <a:masterClrMapping/>
  </p:clrMapOvr>
  <p:transition/>
  <p:timing/>
</p:sldLayout>
</file>

<file path=ppt/slideLayouts/slideLayout1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Quote_Blue4">
    <p:bg>
      <p:bgPr>
        <a:solidFill>
          <a:schemeClr val="accent4"/>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ext Placeholder 5"/>
          <p:cNvSpPr>
            <a:spLocks noGrp="1"/>
          </p:cNvSpPr>
          <p:nvPr>
            <p:ph type="body" sz="quarter" idx="12" hasCustomPrompt="1"/>
          </p:nvPr>
        </p:nvSpPr>
        <p:spPr>
          <a:xfrm>
            <a:off x="877289" y="2272934"/>
            <a:ext cx="10430983" cy="1969314"/>
          </a:xfrm>
        </p:spPr>
        <p:txBody>
          <a:bodyPr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9" name="Text Placeholder 5"/>
          <p:cNvSpPr>
            <a:spLocks noGrp="1"/>
          </p:cNvSpPr>
          <p:nvPr>
            <p:ph type="body" sz="quarter" idx="35" hasCustomPrompt="1"/>
          </p:nvPr>
        </p:nvSpPr>
        <p:spPr>
          <a:xfrm>
            <a:off x="4800600" y="4543961"/>
            <a:ext cx="6507817"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bg1">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Tree>
    <p:extLst>
      <p:ext uri="{BB962C8B-B14F-4D97-AF65-F5344CB8AC3E}">
        <p14:creationId xmlns:p14="http://schemas.microsoft.com/office/powerpoint/2010/main" val="3990544135"/>
      </p:ext>
    </p:extLst>
  </p:cSld>
  <p:clrMapOvr>
    <a:masterClrMapping/>
  </p:clrMapOvr>
  <p:transition/>
  <p:timing/>
</p:sldLayout>
</file>

<file path=ppt/slideLayouts/slideLayout1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Quote_White4">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21" name="Text Placeholder 5"/>
          <p:cNvSpPr>
            <a:spLocks noGrp="1"/>
          </p:cNvSpPr>
          <p:nvPr>
            <p:ph type="body" sz="quarter" idx="12" hasCustomPrompt="1"/>
          </p:nvPr>
        </p:nvSpPr>
        <p:spPr>
          <a:xfrm>
            <a:off x="1827644" y="2221159"/>
            <a:ext cx="7427874" cy="2461571"/>
          </a:xfrm>
        </p:spPr>
        <p:txBody>
          <a:bodyPr wrap="square"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accent4"/>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22" name="Text Placeholder 5"/>
          <p:cNvSpPr>
            <a:spLocks noGrp="1"/>
          </p:cNvSpPr>
          <p:nvPr>
            <p:ph type="body" sz="quarter" idx="35" hasCustomPrompt="1"/>
          </p:nvPr>
        </p:nvSpPr>
        <p:spPr>
          <a:xfrm>
            <a:off x="1838795" y="4975957"/>
            <a:ext cx="6507817"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accent6">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Tree>
    <p:extLst>
      <p:ext uri="{BB962C8B-B14F-4D97-AF65-F5344CB8AC3E}">
        <p14:creationId xmlns:p14="http://schemas.microsoft.com/office/powerpoint/2010/main" val="2696446815"/>
      </p:ext>
    </p:extLst>
  </p:cSld>
  <p:clrMapOvr>
    <a:masterClrMapping/>
  </p:clrMapOvr>
  <p:transition/>
  <p:timing/>
</p:sldLayout>
</file>

<file path=ppt/slideLayouts/slideLayout1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Quote_HeroBlue_2">
    <p:bg>
      <p:bgPr>
        <a:solidFill>
          <a:schemeClr val="accent1"/>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ext Placeholder 5"/>
          <p:cNvSpPr>
            <a:spLocks noGrp="1"/>
          </p:cNvSpPr>
          <p:nvPr>
            <p:ph type="body" sz="quarter" idx="12" hasCustomPrompt="1"/>
          </p:nvPr>
        </p:nvSpPr>
        <p:spPr>
          <a:xfrm>
            <a:off x="877822" y="2272934"/>
            <a:ext cx="10433304" cy="1969257"/>
          </a:xfrm>
        </p:spPr>
        <p:txBody>
          <a:bodyPr wrap="square"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9" name="Text Placeholder 5"/>
          <p:cNvSpPr>
            <a:spLocks noGrp="1"/>
          </p:cNvSpPr>
          <p:nvPr>
            <p:ph type="body" sz="quarter" idx="35" hasCustomPrompt="1"/>
          </p:nvPr>
        </p:nvSpPr>
        <p:spPr>
          <a:xfrm>
            <a:off x="4800600" y="4543961"/>
            <a:ext cx="6510526"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bg1">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grpSp>
        <p:nvGrpSpPr>
          <p:cNvPr id="8" name="Group 4"/>
          <p:cNvGrpSpPr>
            <a:grpSpLocks noChangeAspect="1"/>
          </p:cNvGrpSpPr>
          <p:nvPr userDrawn="1"/>
        </p:nvGrpSpPr>
        <p:grpSpPr>
          <a:xfrm>
            <a:off x="3175" y="1030919"/>
            <a:ext cx="12193200" cy="692579"/>
            <a:chOff x="2" y="233"/>
            <a:chExt cx="7676" cy="436"/>
          </a:xfrm>
        </p:grpSpPr>
        <p:sp>
          <p:nvSpPr>
            <p:cNvPr id="10" name="Freeform 5"/>
            <p:cNvSpPr/>
            <p:nvPr/>
          </p:nvSpPr>
          <p:spPr bwMode="auto">
            <a:xfrm>
              <a:off x="2" y="233"/>
              <a:ext cx="883" cy="436"/>
            </a:xfrm>
            <a:custGeom>
              <a:gdLst>
                <a:gd name="T0" fmla="*/ 0 w 563"/>
                <a:gd name="T1" fmla="*/ 275 h 275"/>
                <a:gd name="T2" fmla="*/ 367 w 563"/>
                <a:gd name="T3" fmla="*/ 275 h 275"/>
                <a:gd name="T4" fmla="*/ 367 w 563"/>
                <a:gd name="T5" fmla="*/ 214 h 275"/>
                <a:gd name="T6" fmla="*/ 403 w 563"/>
                <a:gd name="T7" fmla="*/ 84 h 275"/>
                <a:gd name="T8" fmla="*/ 520 w 563"/>
                <a:gd name="T9" fmla="*/ 0 h 275"/>
                <a:gd name="T10" fmla="*/ 563 w 563"/>
                <a:gd name="T11" fmla="*/ 79 h 275"/>
                <a:gd name="T12" fmla="*/ 492 w 563"/>
                <a:gd name="T13" fmla="*/ 128 h 275"/>
                <a:gd name="T14" fmla="*/ 469 w 563"/>
                <a:gd name="T15" fmla="*/ 184 h 275"/>
                <a:gd name="T16" fmla="*/ 563 w 563"/>
                <a:gd name="T17" fmla="*/ 184 h 275"/>
                <a:gd name="T18" fmla="*/ 563 w 563"/>
                <a:gd name="T19" fmla="*/ 275 h 2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3" h="275">
                  <a:moveTo>
                    <a:pt x="0" y="275"/>
                  </a:moveTo>
                  <a:cubicBezTo>
                    <a:pt x="367" y="275"/>
                    <a:pt x="367" y="275"/>
                    <a:pt x="367" y="275"/>
                  </a:cubicBezTo>
                  <a:cubicBezTo>
                    <a:pt x="367" y="214"/>
                    <a:pt x="367" y="214"/>
                    <a:pt x="367" y="214"/>
                  </a:cubicBezTo>
                  <a:cubicBezTo>
                    <a:pt x="367" y="160"/>
                    <a:pt x="378" y="116"/>
                    <a:pt x="403" y="84"/>
                  </a:cubicBezTo>
                  <a:cubicBezTo>
                    <a:pt x="425" y="52"/>
                    <a:pt x="465" y="24"/>
                    <a:pt x="520" y="0"/>
                  </a:cubicBezTo>
                  <a:cubicBezTo>
                    <a:pt x="520" y="0"/>
                    <a:pt x="520" y="0"/>
                    <a:pt x="563" y="79"/>
                  </a:cubicBezTo>
                  <a:cubicBezTo>
                    <a:pt x="529" y="96"/>
                    <a:pt x="505" y="111"/>
                    <a:pt x="492" y="128"/>
                  </a:cubicBezTo>
                  <a:cubicBezTo>
                    <a:pt x="478" y="143"/>
                    <a:pt x="471" y="161"/>
                    <a:pt x="469" y="184"/>
                  </a:cubicBezTo>
                  <a:cubicBezTo>
                    <a:pt x="469" y="184"/>
                    <a:pt x="469" y="184"/>
                    <a:pt x="563" y="184"/>
                  </a:cubicBezTo>
                  <a:cubicBezTo>
                    <a:pt x="563" y="275"/>
                    <a:pt x="563" y="275"/>
                    <a:pt x="563" y="275"/>
                  </a:cubicBezTo>
                </a:path>
              </a:pathLst>
            </a:custGeom>
            <a:noFill/>
            <a:ln w="19050" cap="flat">
              <a:solidFill>
                <a:schemeClr val="accent2"/>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p:nvPr/>
          </p:nvSpPr>
          <p:spPr bwMode="auto">
            <a:xfrm>
              <a:off x="935" y="233"/>
              <a:ext cx="6743" cy="436"/>
            </a:xfrm>
            <a:custGeom>
              <a:gdLst>
                <a:gd name="T0" fmla="*/ 4299 w 4299"/>
                <a:gd name="T1" fmla="*/ 275 h 275"/>
                <a:gd name="T2" fmla="*/ 197 w 4299"/>
                <a:gd name="T3" fmla="*/ 275 h 275"/>
                <a:gd name="T4" fmla="*/ 197 w 4299"/>
                <a:gd name="T5" fmla="*/ 184 h 275"/>
                <a:gd name="T6" fmla="*/ 103 w 4299"/>
                <a:gd name="T7" fmla="*/ 184 h 275"/>
                <a:gd name="T8" fmla="*/ 125 w 4299"/>
                <a:gd name="T9" fmla="*/ 128 h 275"/>
                <a:gd name="T10" fmla="*/ 197 w 4299"/>
                <a:gd name="T11" fmla="*/ 79 h 275"/>
                <a:gd name="T12" fmla="*/ 154 w 4299"/>
                <a:gd name="T13" fmla="*/ 0 h 275"/>
                <a:gd name="T14" fmla="*/ 35 w 4299"/>
                <a:gd name="T15" fmla="*/ 84 h 275"/>
                <a:gd name="T16" fmla="*/ 0 w 4299"/>
                <a:gd name="T17" fmla="*/ 214 h 275"/>
                <a:gd name="T18" fmla="*/ 0 w 4299"/>
                <a:gd name="T19" fmla="*/ 275 h 2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99" h="275">
                  <a:moveTo>
                    <a:pt x="4299" y="275"/>
                  </a:moveTo>
                  <a:cubicBezTo>
                    <a:pt x="197" y="275"/>
                    <a:pt x="197" y="275"/>
                    <a:pt x="197" y="275"/>
                  </a:cubicBezTo>
                  <a:cubicBezTo>
                    <a:pt x="197" y="184"/>
                    <a:pt x="197" y="184"/>
                    <a:pt x="197" y="184"/>
                  </a:cubicBezTo>
                  <a:cubicBezTo>
                    <a:pt x="103" y="184"/>
                    <a:pt x="103" y="184"/>
                    <a:pt x="103" y="184"/>
                  </a:cubicBezTo>
                  <a:cubicBezTo>
                    <a:pt x="104" y="161"/>
                    <a:pt x="112" y="143"/>
                    <a:pt x="125" y="128"/>
                  </a:cubicBezTo>
                  <a:cubicBezTo>
                    <a:pt x="138" y="111"/>
                    <a:pt x="161" y="96"/>
                    <a:pt x="197" y="79"/>
                  </a:cubicBezTo>
                  <a:cubicBezTo>
                    <a:pt x="154" y="0"/>
                    <a:pt x="154" y="0"/>
                    <a:pt x="154" y="0"/>
                  </a:cubicBezTo>
                  <a:cubicBezTo>
                    <a:pt x="99" y="24"/>
                    <a:pt x="59" y="52"/>
                    <a:pt x="35" y="84"/>
                  </a:cubicBezTo>
                  <a:cubicBezTo>
                    <a:pt x="12" y="116"/>
                    <a:pt x="0" y="160"/>
                    <a:pt x="0" y="214"/>
                  </a:cubicBezTo>
                  <a:cubicBezTo>
                    <a:pt x="0" y="237"/>
                    <a:pt x="0" y="275"/>
                    <a:pt x="0" y="275"/>
                  </a:cubicBezTo>
                </a:path>
              </a:pathLst>
            </a:custGeom>
            <a:noFill/>
            <a:ln w="19050" cap="flat">
              <a:solidFill>
                <a:schemeClr val="accent2"/>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nvGrpSpPr>
          <p:cNvPr id="12" name="Group 4"/>
          <p:cNvGrpSpPr>
            <a:grpSpLocks noChangeAspect="1"/>
          </p:cNvGrpSpPr>
          <p:nvPr userDrawn="1"/>
        </p:nvGrpSpPr>
        <p:grpSpPr>
          <a:xfrm flipH="1" flipV="1">
            <a:off x="-600" y="5340438"/>
            <a:ext cx="12193200" cy="692579"/>
            <a:chOff x="2" y="233"/>
            <a:chExt cx="7676" cy="436"/>
          </a:xfrm>
        </p:grpSpPr>
        <p:sp>
          <p:nvSpPr>
            <p:cNvPr id="13" name="Freeform 5"/>
            <p:cNvSpPr/>
            <p:nvPr/>
          </p:nvSpPr>
          <p:spPr bwMode="auto">
            <a:xfrm>
              <a:off x="2" y="233"/>
              <a:ext cx="883" cy="436"/>
            </a:xfrm>
            <a:custGeom>
              <a:gdLst>
                <a:gd name="T0" fmla="*/ 0 w 563"/>
                <a:gd name="T1" fmla="*/ 275 h 275"/>
                <a:gd name="T2" fmla="*/ 367 w 563"/>
                <a:gd name="T3" fmla="*/ 275 h 275"/>
                <a:gd name="T4" fmla="*/ 367 w 563"/>
                <a:gd name="T5" fmla="*/ 214 h 275"/>
                <a:gd name="T6" fmla="*/ 403 w 563"/>
                <a:gd name="T7" fmla="*/ 84 h 275"/>
                <a:gd name="T8" fmla="*/ 520 w 563"/>
                <a:gd name="T9" fmla="*/ 0 h 275"/>
                <a:gd name="T10" fmla="*/ 563 w 563"/>
                <a:gd name="T11" fmla="*/ 79 h 275"/>
                <a:gd name="T12" fmla="*/ 492 w 563"/>
                <a:gd name="T13" fmla="*/ 128 h 275"/>
                <a:gd name="T14" fmla="*/ 469 w 563"/>
                <a:gd name="T15" fmla="*/ 184 h 275"/>
                <a:gd name="T16" fmla="*/ 563 w 563"/>
                <a:gd name="T17" fmla="*/ 184 h 275"/>
                <a:gd name="T18" fmla="*/ 563 w 563"/>
                <a:gd name="T19" fmla="*/ 275 h 2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3" h="275">
                  <a:moveTo>
                    <a:pt x="0" y="275"/>
                  </a:moveTo>
                  <a:cubicBezTo>
                    <a:pt x="367" y="275"/>
                    <a:pt x="367" y="275"/>
                    <a:pt x="367" y="275"/>
                  </a:cubicBezTo>
                  <a:cubicBezTo>
                    <a:pt x="367" y="214"/>
                    <a:pt x="367" y="214"/>
                    <a:pt x="367" y="214"/>
                  </a:cubicBezTo>
                  <a:cubicBezTo>
                    <a:pt x="367" y="160"/>
                    <a:pt x="378" y="116"/>
                    <a:pt x="403" y="84"/>
                  </a:cubicBezTo>
                  <a:cubicBezTo>
                    <a:pt x="425" y="52"/>
                    <a:pt x="465" y="24"/>
                    <a:pt x="520" y="0"/>
                  </a:cubicBezTo>
                  <a:cubicBezTo>
                    <a:pt x="520" y="0"/>
                    <a:pt x="520" y="0"/>
                    <a:pt x="563" y="79"/>
                  </a:cubicBezTo>
                  <a:cubicBezTo>
                    <a:pt x="529" y="96"/>
                    <a:pt x="505" y="111"/>
                    <a:pt x="492" y="128"/>
                  </a:cubicBezTo>
                  <a:cubicBezTo>
                    <a:pt x="478" y="143"/>
                    <a:pt x="471" y="161"/>
                    <a:pt x="469" y="184"/>
                  </a:cubicBezTo>
                  <a:cubicBezTo>
                    <a:pt x="469" y="184"/>
                    <a:pt x="469" y="184"/>
                    <a:pt x="563" y="184"/>
                  </a:cubicBezTo>
                  <a:cubicBezTo>
                    <a:pt x="563" y="275"/>
                    <a:pt x="563" y="275"/>
                    <a:pt x="563" y="275"/>
                  </a:cubicBezTo>
                </a:path>
              </a:pathLst>
            </a:custGeom>
            <a:noFill/>
            <a:ln w="19050" cap="flat">
              <a:solidFill>
                <a:schemeClr val="accent2"/>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 name="Freeform 6"/>
            <p:cNvSpPr/>
            <p:nvPr/>
          </p:nvSpPr>
          <p:spPr bwMode="auto">
            <a:xfrm>
              <a:off x="935" y="233"/>
              <a:ext cx="6743" cy="436"/>
            </a:xfrm>
            <a:custGeom>
              <a:gdLst>
                <a:gd name="T0" fmla="*/ 4299 w 4299"/>
                <a:gd name="T1" fmla="*/ 275 h 275"/>
                <a:gd name="T2" fmla="*/ 197 w 4299"/>
                <a:gd name="T3" fmla="*/ 275 h 275"/>
                <a:gd name="T4" fmla="*/ 197 w 4299"/>
                <a:gd name="T5" fmla="*/ 184 h 275"/>
                <a:gd name="T6" fmla="*/ 103 w 4299"/>
                <a:gd name="T7" fmla="*/ 184 h 275"/>
                <a:gd name="T8" fmla="*/ 125 w 4299"/>
                <a:gd name="T9" fmla="*/ 128 h 275"/>
                <a:gd name="T10" fmla="*/ 197 w 4299"/>
                <a:gd name="T11" fmla="*/ 79 h 275"/>
                <a:gd name="T12" fmla="*/ 154 w 4299"/>
                <a:gd name="T13" fmla="*/ 0 h 275"/>
                <a:gd name="T14" fmla="*/ 35 w 4299"/>
                <a:gd name="T15" fmla="*/ 84 h 275"/>
                <a:gd name="T16" fmla="*/ 0 w 4299"/>
                <a:gd name="T17" fmla="*/ 214 h 275"/>
                <a:gd name="T18" fmla="*/ 0 w 4299"/>
                <a:gd name="T19" fmla="*/ 275 h 2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99" h="275">
                  <a:moveTo>
                    <a:pt x="4299" y="275"/>
                  </a:moveTo>
                  <a:cubicBezTo>
                    <a:pt x="197" y="275"/>
                    <a:pt x="197" y="275"/>
                    <a:pt x="197" y="275"/>
                  </a:cubicBezTo>
                  <a:cubicBezTo>
                    <a:pt x="197" y="184"/>
                    <a:pt x="197" y="184"/>
                    <a:pt x="197" y="184"/>
                  </a:cubicBezTo>
                  <a:cubicBezTo>
                    <a:pt x="103" y="184"/>
                    <a:pt x="103" y="184"/>
                    <a:pt x="103" y="184"/>
                  </a:cubicBezTo>
                  <a:cubicBezTo>
                    <a:pt x="104" y="161"/>
                    <a:pt x="112" y="143"/>
                    <a:pt x="125" y="128"/>
                  </a:cubicBezTo>
                  <a:cubicBezTo>
                    <a:pt x="138" y="111"/>
                    <a:pt x="161" y="96"/>
                    <a:pt x="197" y="79"/>
                  </a:cubicBezTo>
                  <a:cubicBezTo>
                    <a:pt x="154" y="0"/>
                    <a:pt x="154" y="0"/>
                    <a:pt x="154" y="0"/>
                  </a:cubicBezTo>
                  <a:cubicBezTo>
                    <a:pt x="99" y="24"/>
                    <a:pt x="59" y="52"/>
                    <a:pt x="35" y="84"/>
                  </a:cubicBezTo>
                  <a:cubicBezTo>
                    <a:pt x="12" y="116"/>
                    <a:pt x="0" y="160"/>
                    <a:pt x="0" y="214"/>
                  </a:cubicBezTo>
                  <a:cubicBezTo>
                    <a:pt x="0" y="237"/>
                    <a:pt x="0" y="275"/>
                    <a:pt x="0" y="275"/>
                  </a:cubicBezTo>
                </a:path>
              </a:pathLst>
            </a:custGeom>
            <a:noFill/>
            <a:ln w="19050" cap="flat">
              <a:solidFill>
                <a:schemeClr val="accent2"/>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1476942"/>
      </p:ext>
    </p:extLst>
  </p:cSld>
  <p:clrMapOvr>
    <a:masterClrMapping/>
  </p:clrMapOvr>
  <p:transition/>
  <p:timing/>
</p:sldLayout>
</file>

<file path=ppt/slideLayouts/slideLayout1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Quote_Blue4_2">
    <p:bg>
      <p:bgPr>
        <a:solidFill>
          <a:schemeClr val="accent4"/>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ext Placeholder 5"/>
          <p:cNvSpPr>
            <a:spLocks noGrp="1"/>
          </p:cNvSpPr>
          <p:nvPr>
            <p:ph type="body" sz="quarter" idx="12" hasCustomPrompt="1"/>
          </p:nvPr>
        </p:nvSpPr>
        <p:spPr>
          <a:xfrm>
            <a:off x="1872869" y="2272934"/>
            <a:ext cx="7461631" cy="2461571"/>
          </a:xfrm>
        </p:spPr>
        <p:txBody>
          <a:bodyPr wrap="square"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9" name="Text Placeholder 5"/>
          <p:cNvSpPr>
            <a:spLocks noGrp="1"/>
          </p:cNvSpPr>
          <p:nvPr>
            <p:ph type="body" sz="quarter" idx="35" hasCustomPrompt="1"/>
          </p:nvPr>
        </p:nvSpPr>
        <p:spPr>
          <a:xfrm>
            <a:off x="1872869" y="5029721"/>
            <a:ext cx="6507817"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bg1">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cxnSp>
        <p:nvCxnSpPr>
          <p:cNvPr id="8" name="Straight Connector 7"/>
          <p:cNvCxnSpPr/>
          <p:nvPr userDrawn="1"/>
        </p:nvCxnSpPr>
        <p:spPr>
          <a:xfrm>
            <a:off x="357824" y="0"/>
            <a:ext cx="1300150" cy="2604521"/>
          </a:xfrm>
          <a:prstGeom prst="line">
            <a:avLst/>
          </a:prstGeom>
          <a:noFill/>
          <a:ln w="9525" cap="flat" cmpd="sng" algn="ctr">
            <a:solidFill>
              <a:schemeClr val="accent2"/>
            </a:solidFill>
            <a:prstDash val="dash"/>
            <a:tailEnd type="oval" w="med" len="med"/>
          </a:ln>
          <a:effectLst/>
        </p:spPr>
      </p:cxnSp>
      <p:cxnSp>
        <p:nvCxnSpPr>
          <p:cNvPr id="12" name="Straight Connector 11"/>
          <p:cNvCxnSpPr/>
          <p:nvPr userDrawn="1"/>
        </p:nvCxnSpPr>
        <p:spPr>
          <a:xfrm>
            <a:off x="8222896" y="-12700"/>
            <a:ext cx="2878228" cy="5765800"/>
          </a:xfrm>
          <a:prstGeom prst="line">
            <a:avLst/>
          </a:prstGeom>
          <a:noFill/>
          <a:ln w="9525" cap="flat" cmpd="sng" algn="ctr">
            <a:solidFill>
              <a:schemeClr val="accent2"/>
            </a:solidFill>
            <a:prstDash val="dash"/>
            <a:tailEnd type="oval" w="med" len="med"/>
          </a:ln>
          <a:effectLst/>
        </p:spPr>
      </p:cxnSp>
      <p:sp>
        <p:nvSpPr>
          <p:cNvPr id="16" name="Rectangle 15"/>
          <p:cNvSpPr/>
          <p:nvPr userDrawn="1"/>
        </p:nvSpPr>
        <p:spPr>
          <a:xfrm>
            <a:off x="748895" y="1316422"/>
            <a:ext cx="1079905" cy="83031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18" name="Rectangle 17"/>
          <p:cNvSpPr/>
          <p:nvPr userDrawn="1"/>
        </p:nvSpPr>
        <p:spPr>
          <a:xfrm>
            <a:off x="10012981" y="4187715"/>
            <a:ext cx="1079905" cy="83031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grpSp>
        <p:nvGrpSpPr>
          <p:cNvPr id="26" name="Group 25"/>
          <p:cNvGrpSpPr/>
          <p:nvPr userDrawn="1"/>
        </p:nvGrpSpPr>
        <p:grpSpPr>
          <a:xfrm>
            <a:off x="10185111" y="4307976"/>
            <a:ext cx="716400" cy="619200"/>
            <a:chOff x="9351169" y="-647749"/>
            <a:chExt cx="5011737" cy="4341813"/>
          </a:xfrm>
        </p:grpSpPr>
        <p:sp>
          <p:nvSpPr>
            <p:cNvPr id="27" name="Freeform 10"/>
            <p:cNvSpPr>
              <a:spLocks noEditPoints="1"/>
            </p:cNvSpPr>
            <p:nvPr userDrawn="1"/>
          </p:nvSpPr>
          <p:spPr bwMode="auto">
            <a:xfrm>
              <a:off x="9351169" y="-647749"/>
              <a:ext cx="2424112" cy="4341813"/>
            </a:xfrm>
            <a:custGeom>
              <a:gdLst>
                <a:gd name="T0" fmla="*/ 28 w 117"/>
                <a:gd name="T1" fmla="*/ 209 h 209"/>
                <a:gd name="T2" fmla="*/ 24 w 117"/>
                <a:gd name="T3" fmla="*/ 206 h 209"/>
                <a:gd name="T4" fmla="*/ 0 w 117"/>
                <a:gd name="T5" fmla="*/ 163 h 209"/>
                <a:gd name="T6" fmla="*/ 0 w 117"/>
                <a:gd name="T7" fmla="*/ 160 h 209"/>
                <a:gd name="T8" fmla="*/ 3 w 117"/>
                <a:gd name="T9" fmla="*/ 157 h 209"/>
                <a:gd name="T10" fmla="*/ 40 w 117"/>
                <a:gd name="T11" fmla="*/ 131 h 209"/>
                <a:gd name="T12" fmla="*/ 51 w 117"/>
                <a:gd name="T13" fmla="*/ 108 h 209"/>
                <a:gd name="T14" fmla="*/ 4 w 117"/>
                <a:gd name="T15" fmla="*/ 108 h 209"/>
                <a:gd name="T16" fmla="*/ 0 w 117"/>
                <a:gd name="T17" fmla="*/ 104 h 209"/>
                <a:gd name="T18" fmla="*/ 0 w 117"/>
                <a:gd name="T19" fmla="*/ 5 h 209"/>
                <a:gd name="T20" fmla="*/ 4 w 117"/>
                <a:gd name="T21" fmla="*/ 0 h 209"/>
                <a:gd name="T22" fmla="*/ 112 w 117"/>
                <a:gd name="T23" fmla="*/ 0 h 209"/>
                <a:gd name="T24" fmla="*/ 117 w 117"/>
                <a:gd name="T25" fmla="*/ 5 h 209"/>
                <a:gd name="T26" fmla="*/ 117 w 117"/>
                <a:gd name="T27" fmla="*/ 87 h 209"/>
                <a:gd name="T28" fmla="*/ 97 w 117"/>
                <a:gd name="T29" fmla="*/ 161 h 209"/>
                <a:gd name="T30" fmla="*/ 30 w 117"/>
                <a:gd name="T31" fmla="*/ 208 h 209"/>
                <a:gd name="T32" fmla="*/ 28 w 117"/>
                <a:gd name="T33" fmla="*/ 209 h 209"/>
                <a:gd name="T34" fmla="*/ 11 w 117"/>
                <a:gd name="T35" fmla="*/ 163 h 209"/>
                <a:gd name="T36" fmla="*/ 30 w 117"/>
                <a:gd name="T37" fmla="*/ 198 h 209"/>
                <a:gd name="T38" fmla="*/ 90 w 117"/>
                <a:gd name="T39" fmla="*/ 155 h 209"/>
                <a:gd name="T40" fmla="*/ 107 w 117"/>
                <a:gd name="T41" fmla="*/ 87 h 209"/>
                <a:gd name="T42" fmla="*/ 107 w 117"/>
                <a:gd name="T43" fmla="*/ 10 h 209"/>
                <a:gd name="T44" fmla="*/ 9 w 117"/>
                <a:gd name="T45" fmla="*/ 10 h 209"/>
                <a:gd name="T46" fmla="*/ 9 w 117"/>
                <a:gd name="T47" fmla="*/ 99 h 209"/>
                <a:gd name="T48" fmla="*/ 56 w 117"/>
                <a:gd name="T49" fmla="*/ 99 h 209"/>
                <a:gd name="T50" fmla="*/ 60 w 117"/>
                <a:gd name="T51" fmla="*/ 100 h 209"/>
                <a:gd name="T52" fmla="*/ 61 w 117"/>
                <a:gd name="T53" fmla="*/ 104 h 209"/>
                <a:gd name="T54" fmla="*/ 47 w 117"/>
                <a:gd name="T55" fmla="*/ 137 h 209"/>
                <a:gd name="T56" fmla="*/ 11 w 117"/>
                <a:gd name="T57" fmla="*/ 163 h 2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209">
                  <a:moveTo>
                    <a:pt x="28" y="209"/>
                  </a:moveTo>
                  <a:cubicBezTo>
                    <a:pt x="27" y="209"/>
                    <a:pt x="25" y="208"/>
                    <a:pt x="24" y="206"/>
                  </a:cubicBezTo>
                  <a:cubicBezTo>
                    <a:pt x="0" y="163"/>
                    <a:pt x="0" y="163"/>
                    <a:pt x="0" y="163"/>
                  </a:cubicBezTo>
                  <a:cubicBezTo>
                    <a:pt x="0" y="162"/>
                    <a:pt x="0" y="161"/>
                    <a:pt x="0" y="160"/>
                  </a:cubicBezTo>
                  <a:cubicBezTo>
                    <a:pt x="1" y="158"/>
                    <a:pt x="1" y="157"/>
                    <a:pt x="3" y="157"/>
                  </a:cubicBezTo>
                  <a:cubicBezTo>
                    <a:pt x="22" y="148"/>
                    <a:pt x="34" y="140"/>
                    <a:pt x="40" y="131"/>
                  </a:cubicBezTo>
                  <a:cubicBezTo>
                    <a:pt x="46" y="125"/>
                    <a:pt x="49" y="117"/>
                    <a:pt x="51" y="108"/>
                  </a:cubicBezTo>
                  <a:cubicBezTo>
                    <a:pt x="4" y="108"/>
                    <a:pt x="4" y="108"/>
                    <a:pt x="4" y="108"/>
                  </a:cubicBezTo>
                  <a:cubicBezTo>
                    <a:pt x="2" y="108"/>
                    <a:pt x="0" y="106"/>
                    <a:pt x="0" y="104"/>
                  </a:cubicBezTo>
                  <a:cubicBezTo>
                    <a:pt x="0" y="5"/>
                    <a:pt x="0" y="5"/>
                    <a:pt x="0" y="5"/>
                  </a:cubicBezTo>
                  <a:cubicBezTo>
                    <a:pt x="0" y="3"/>
                    <a:pt x="2" y="0"/>
                    <a:pt x="4" y="0"/>
                  </a:cubicBezTo>
                  <a:cubicBezTo>
                    <a:pt x="112" y="0"/>
                    <a:pt x="112" y="0"/>
                    <a:pt x="112" y="0"/>
                  </a:cubicBezTo>
                  <a:cubicBezTo>
                    <a:pt x="114" y="0"/>
                    <a:pt x="117" y="3"/>
                    <a:pt x="117" y="5"/>
                  </a:cubicBezTo>
                  <a:cubicBezTo>
                    <a:pt x="117" y="87"/>
                    <a:pt x="117" y="87"/>
                    <a:pt x="117" y="87"/>
                  </a:cubicBezTo>
                  <a:cubicBezTo>
                    <a:pt x="117" y="118"/>
                    <a:pt x="110" y="142"/>
                    <a:pt x="97" y="161"/>
                  </a:cubicBezTo>
                  <a:cubicBezTo>
                    <a:pt x="83" y="179"/>
                    <a:pt x="61" y="195"/>
                    <a:pt x="30" y="208"/>
                  </a:cubicBezTo>
                  <a:cubicBezTo>
                    <a:pt x="30" y="209"/>
                    <a:pt x="29" y="209"/>
                    <a:pt x="28" y="209"/>
                  </a:cubicBezTo>
                  <a:close/>
                  <a:moveTo>
                    <a:pt x="11" y="163"/>
                  </a:moveTo>
                  <a:cubicBezTo>
                    <a:pt x="30" y="198"/>
                    <a:pt x="30" y="198"/>
                    <a:pt x="30" y="198"/>
                  </a:cubicBezTo>
                  <a:cubicBezTo>
                    <a:pt x="57" y="186"/>
                    <a:pt x="77" y="171"/>
                    <a:pt x="90" y="155"/>
                  </a:cubicBezTo>
                  <a:cubicBezTo>
                    <a:pt x="101" y="139"/>
                    <a:pt x="107" y="116"/>
                    <a:pt x="107" y="87"/>
                  </a:cubicBezTo>
                  <a:cubicBezTo>
                    <a:pt x="107" y="10"/>
                    <a:pt x="107" y="10"/>
                    <a:pt x="107" y="10"/>
                  </a:cubicBezTo>
                  <a:cubicBezTo>
                    <a:pt x="9" y="10"/>
                    <a:pt x="9" y="10"/>
                    <a:pt x="9" y="10"/>
                  </a:cubicBezTo>
                  <a:cubicBezTo>
                    <a:pt x="9" y="99"/>
                    <a:pt x="9" y="99"/>
                    <a:pt x="9" y="99"/>
                  </a:cubicBezTo>
                  <a:cubicBezTo>
                    <a:pt x="56" y="99"/>
                    <a:pt x="56" y="99"/>
                    <a:pt x="56" y="99"/>
                  </a:cubicBezTo>
                  <a:cubicBezTo>
                    <a:pt x="57" y="99"/>
                    <a:pt x="59" y="99"/>
                    <a:pt x="60" y="100"/>
                  </a:cubicBezTo>
                  <a:cubicBezTo>
                    <a:pt x="60" y="101"/>
                    <a:pt x="61" y="103"/>
                    <a:pt x="61" y="104"/>
                  </a:cubicBezTo>
                  <a:cubicBezTo>
                    <a:pt x="60" y="117"/>
                    <a:pt x="55" y="128"/>
                    <a:pt x="47" y="137"/>
                  </a:cubicBezTo>
                  <a:cubicBezTo>
                    <a:pt x="40" y="146"/>
                    <a:pt x="29" y="154"/>
                    <a:pt x="11" y="163"/>
                  </a:cubicBezTo>
                  <a:close/>
                </a:path>
              </a:pathLst>
            </a:cu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11"/>
            <p:cNvSpPr>
              <a:spLocks noEditPoints="1"/>
            </p:cNvSpPr>
            <p:nvPr userDrawn="1"/>
          </p:nvSpPr>
          <p:spPr bwMode="auto">
            <a:xfrm>
              <a:off x="11940381" y="-647749"/>
              <a:ext cx="2422525" cy="4341813"/>
            </a:xfrm>
            <a:custGeom>
              <a:gdLst>
                <a:gd name="T0" fmla="*/ 28 w 117"/>
                <a:gd name="T1" fmla="*/ 209 h 209"/>
                <a:gd name="T2" fmla="*/ 24 w 117"/>
                <a:gd name="T3" fmla="*/ 206 h 209"/>
                <a:gd name="T4" fmla="*/ 1 w 117"/>
                <a:gd name="T5" fmla="*/ 163 h 209"/>
                <a:gd name="T6" fmla="*/ 0 w 117"/>
                <a:gd name="T7" fmla="*/ 160 h 209"/>
                <a:gd name="T8" fmla="*/ 3 w 117"/>
                <a:gd name="T9" fmla="*/ 157 h 209"/>
                <a:gd name="T10" fmla="*/ 40 w 117"/>
                <a:gd name="T11" fmla="*/ 131 h 209"/>
                <a:gd name="T12" fmla="*/ 51 w 117"/>
                <a:gd name="T13" fmla="*/ 108 h 209"/>
                <a:gd name="T14" fmla="*/ 5 w 117"/>
                <a:gd name="T15" fmla="*/ 108 h 209"/>
                <a:gd name="T16" fmla="*/ 0 w 117"/>
                <a:gd name="T17" fmla="*/ 104 h 209"/>
                <a:gd name="T18" fmla="*/ 0 w 117"/>
                <a:gd name="T19" fmla="*/ 5 h 209"/>
                <a:gd name="T20" fmla="*/ 5 w 117"/>
                <a:gd name="T21" fmla="*/ 0 h 209"/>
                <a:gd name="T22" fmla="*/ 112 w 117"/>
                <a:gd name="T23" fmla="*/ 0 h 209"/>
                <a:gd name="T24" fmla="*/ 117 w 117"/>
                <a:gd name="T25" fmla="*/ 5 h 209"/>
                <a:gd name="T26" fmla="*/ 117 w 117"/>
                <a:gd name="T27" fmla="*/ 87 h 209"/>
                <a:gd name="T28" fmla="*/ 97 w 117"/>
                <a:gd name="T29" fmla="*/ 161 h 209"/>
                <a:gd name="T30" fmla="*/ 30 w 117"/>
                <a:gd name="T31" fmla="*/ 208 h 209"/>
                <a:gd name="T32" fmla="*/ 28 w 117"/>
                <a:gd name="T33" fmla="*/ 209 h 209"/>
                <a:gd name="T34" fmla="*/ 11 w 117"/>
                <a:gd name="T35" fmla="*/ 163 h 209"/>
                <a:gd name="T36" fmla="*/ 30 w 117"/>
                <a:gd name="T37" fmla="*/ 198 h 209"/>
                <a:gd name="T38" fmla="*/ 90 w 117"/>
                <a:gd name="T39" fmla="*/ 155 h 209"/>
                <a:gd name="T40" fmla="*/ 107 w 117"/>
                <a:gd name="T41" fmla="*/ 87 h 209"/>
                <a:gd name="T42" fmla="*/ 107 w 117"/>
                <a:gd name="T43" fmla="*/ 10 h 209"/>
                <a:gd name="T44" fmla="*/ 9 w 117"/>
                <a:gd name="T45" fmla="*/ 10 h 209"/>
                <a:gd name="T46" fmla="*/ 9 w 117"/>
                <a:gd name="T47" fmla="*/ 99 h 209"/>
                <a:gd name="T48" fmla="*/ 56 w 117"/>
                <a:gd name="T49" fmla="*/ 99 h 209"/>
                <a:gd name="T50" fmla="*/ 60 w 117"/>
                <a:gd name="T51" fmla="*/ 100 h 209"/>
                <a:gd name="T52" fmla="*/ 61 w 117"/>
                <a:gd name="T53" fmla="*/ 104 h 209"/>
                <a:gd name="T54" fmla="*/ 47 w 117"/>
                <a:gd name="T55" fmla="*/ 137 h 209"/>
                <a:gd name="T56" fmla="*/ 11 w 117"/>
                <a:gd name="T57" fmla="*/ 163 h 2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209">
                  <a:moveTo>
                    <a:pt x="28" y="209"/>
                  </a:moveTo>
                  <a:cubicBezTo>
                    <a:pt x="27" y="209"/>
                    <a:pt x="25" y="208"/>
                    <a:pt x="24" y="206"/>
                  </a:cubicBezTo>
                  <a:cubicBezTo>
                    <a:pt x="1" y="163"/>
                    <a:pt x="1" y="163"/>
                    <a:pt x="1" y="163"/>
                  </a:cubicBezTo>
                  <a:cubicBezTo>
                    <a:pt x="0" y="162"/>
                    <a:pt x="0" y="161"/>
                    <a:pt x="0" y="160"/>
                  </a:cubicBezTo>
                  <a:cubicBezTo>
                    <a:pt x="1" y="158"/>
                    <a:pt x="1" y="157"/>
                    <a:pt x="3" y="157"/>
                  </a:cubicBezTo>
                  <a:cubicBezTo>
                    <a:pt x="22" y="148"/>
                    <a:pt x="34" y="140"/>
                    <a:pt x="40" y="131"/>
                  </a:cubicBezTo>
                  <a:cubicBezTo>
                    <a:pt x="46" y="125"/>
                    <a:pt x="49" y="117"/>
                    <a:pt x="51" y="108"/>
                  </a:cubicBezTo>
                  <a:cubicBezTo>
                    <a:pt x="5" y="108"/>
                    <a:pt x="5" y="108"/>
                    <a:pt x="5" y="108"/>
                  </a:cubicBezTo>
                  <a:cubicBezTo>
                    <a:pt x="2" y="108"/>
                    <a:pt x="0" y="106"/>
                    <a:pt x="0" y="104"/>
                  </a:cubicBezTo>
                  <a:cubicBezTo>
                    <a:pt x="0" y="5"/>
                    <a:pt x="0" y="5"/>
                    <a:pt x="0" y="5"/>
                  </a:cubicBezTo>
                  <a:cubicBezTo>
                    <a:pt x="0" y="3"/>
                    <a:pt x="2" y="0"/>
                    <a:pt x="5" y="0"/>
                  </a:cubicBezTo>
                  <a:cubicBezTo>
                    <a:pt x="112" y="0"/>
                    <a:pt x="112" y="0"/>
                    <a:pt x="112" y="0"/>
                  </a:cubicBezTo>
                  <a:cubicBezTo>
                    <a:pt x="115" y="0"/>
                    <a:pt x="117" y="3"/>
                    <a:pt x="117" y="5"/>
                  </a:cubicBezTo>
                  <a:cubicBezTo>
                    <a:pt x="117" y="87"/>
                    <a:pt x="117" y="87"/>
                    <a:pt x="117" y="87"/>
                  </a:cubicBezTo>
                  <a:cubicBezTo>
                    <a:pt x="117" y="118"/>
                    <a:pt x="110" y="142"/>
                    <a:pt x="97" y="161"/>
                  </a:cubicBezTo>
                  <a:cubicBezTo>
                    <a:pt x="83" y="179"/>
                    <a:pt x="61" y="195"/>
                    <a:pt x="30" y="208"/>
                  </a:cubicBezTo>
                  <a:cubicBezTo>
                    <a:pt x="30" y="209"/>
                    <a:pt x="29" y="209"/>
                    <a:pt x="28" y="209"/>
                  </a:cubicBezTo>
                  <a:close/>
                  <a:moveTo>
                    <a:pt x="11" y="163"/>
                  </a:moveTo>
                  <a:cubicBezTo>
                    <a:pt x="30" y="198"/>
                    <a:pt x="30" y="198"/>
                    <a:pt x="30" y="198"/>
                  </a:cubicBezTo>
                  <a:cubicBezTo>
                    <a:pt x="57" y="186"/>
                    <a:pt x="77" y="171"/>
                    <a:pt x="90" y="155"/>
                  </a:cubicBezTo>
                  <a:cubicBezTo>
                    <a:pt x="101" y="139"/>
                    <a:pt x="107" y="116"/>
                    <a:pt x="107" y="87"/>
                  </a:cubicBezTo>
                  <a:cubicBezTo>
                    <a:pt x="107" y="10"/>
                    <a:pt x="107" y="10"/>
                    <a:pt x="107" y="10"/>
                  </a:cubicBezTo>
                  <a:cubicBezTo>
                    <a:pt x="9" y="10"/>
                    <a:pt x="9" y="10"/>
                    <a:pt x="9" y="10"/>
                  </a:cubicBezTo>
                  <a:cubicBezTo>
                    <a:pt x="9" y="99"/>
                    <a:pt x="9" y="99"/>
                    <a:pt x="9" y="99"/>
                  </a:cubicBezTo>
                  <a:cubicBezTo>
                    <a:pt x="56" y="99"/>
                    <a:pt x="56" y="99"/>
                    <a:pt x="56" y="99"/>
                  </a:cubicBezTo>
                  <a:cubicBezTo>
                    <a:pt x="57" y="99"/>
                    <a:pt x="59" y="99"/>
                    <a:pt x="60" y="100"/>
                  </a:cubicBezTo>
                  <a:cubicBezTo>
                    <a:pt x="60" y="101"/>
                    <a:pt x="61" y="103"/>
                    <a:pt x="61" y="104"/>
                  </a:cubicBezTo>
                  <a:cubicBezTo>
                    <a:pt x="60" y="117"/>
                    <a:pt x="55" y="128"/>
                    <a:pt x="47" y="137"/>
                  </a:cubicBezTo>
                  <a:cubicBezTo>
                    <a:pt x="40" y="146"/>
                    <a:pt x="29" y="154"/>
                    <a:pt x="11" y="163"/>
                  </a:cubicBezTo>
                  <a:close/>
                </a:path>
              </a:pathLst>
            </a:cu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2" name="Group 31"/>
          <p:cNvGrpSpPr/>
          <p:nvPr userDrawn="1"/>
        </p:nvGrpSpPr>
        <p:grpSpPr>
          <a:xfrm flipH="1" flipV="1">
            <a:off x="919483" y="1421981"/>
            <a:ext cx="716400" cy="619200"/>
            <a:chOff x="9351169" y="-647749"/>
            <a:chExt cx="5011737" cy="4341813"/>
          </a:xfrm>
        </p:grpSpPr>
        <p:sp>
          <p:nvSpPr>
            <p:cNvPr id="33" name="Freeform 10"/>
            <p:cNvSpPr>
              <a:spLocks noEditPoints="1"/>
            </p:cNvSpPr>
            <p:nvPr userDrawn="1"/>
          </p:nvSpPr>
          <p:spPr bwMode="auto">
            <a:xfrm>
              <a:off x="9351169" y="-647749"/>
              <a:ext cx="2424112" cy="4341813"/>
            </a:xfrm>
            <a:custGeom>
              <a:gdLst>
                <a:gd name="T0" fmla="*/ 28 w 117"/>
                <a:gd name="T1" fmla="*/ 209 h 209"/>
                <a:gd name="T2" fmla="*/ 24 w 117"/>
                <a:gd name="T3" fmla="*/ 206 h 209"/>
                <a:gd name="T4" fmla="*/ 0 w 117"/>
                <a:gd name="T5" fmla="*/ 163 h 209"/>
                <a:gd name="T6" fmla="*/ 0 w 117"/>
                <a:gd name="T7" fmla="*/ 160 h 209"/>
                <a:gd name="T8" fmla="*/ 3 w 117"/>
                <a:gd name="T9" fmla="*/ 157 h 209"/>
                <a:gd name="T10" fmla="*/ 40 w 117"/>
                <a:gd name="T11" fmla="*/ 131 h 209"/>
                <a:gd name="T12" fmla="*/ 51 w 117"/>
                <a:gd name="T13" fmla="*/ 108 h 209"/>
                <a:gd name="T14" fmla="*/ 4 w 117"/>
                <a:gd name="T15" fmla="*/ 108 h 209"/>
                <a:gd name="T16" fmla="*/ 0 w 117"/>
                <a:gd name="T17" fmla="*/ 104 h 209"/>
                <a:gd name="T18" fmla="*/ 0 w 117"/>
                <a:gd name="T19" fmla="*/ 5 h 209"/>
                <a:gd name="T20" fmla="*/ 4 w 117"/>
                <a:gd name="T21" fmla="*/ 0 h 209"/>
                <a:gd name="T22" fmla="*/ 112 w 117"/>
                <a:gd name="T23" fmla="*/ 0 h 209"/>
                <a:gd name="T24" fmla="*/ 117 w 117"/>
                <a:gd name="T25" fmla="*/ 5 h 209"/>
                <a:gd name="T26" fmla="*/ 117 w 117"/>
                <a:gd name="T27" fmla="*/ 87 h 209"/>
                <a:gd name="T28" fmla="*/ 97 w 117"/>
                <a:gd name="T29" fmla="*/ 161 h 209"/>
                <a:gd name="T30" fmla="*/ 30 w 117"/>
                <a:gd name="T31" fmla="*/ 208 h 209"/>
                <a:gd name="T32" fmla="*/ 28 w 117"/>
                <a:gd name="T33" fmla="*/ 209 h 209"/>
                <a:gd name="T34" fmla="*/ 11 w 117"/>
                <a:gd name="T35" fmla="*/ 163 h 209"/>
                <a:gd name="T36" fmla="*/ 30 w 117"/>
                <a:gd name="T37" fmla="*/ 198 h 209"/>
                <a:gd name="T38" fmla="*/ 90 w 117"/>
                <a:gd name="T39" fmla="*/ 155 h 209"/>
                <a:gd name="T40" fmla="*/ 107 w 117"/>
                <a:gd name="T41" fmla="*/ 87 h 209"/>
                <a:gd name="T42" fmla="*/ 107 w 117"/>
                <a:gd name="T43" fmla="*/ 10 h 209"/>
                <a:gd name="T44" fmla="*/ 9 w 117"/>
                <a:gd name="T45" fmla="*/ 10 h 209"/>
                <a:gd name="T46" fmla="*/ 9 w 117"/>
                <a:gd name="T47" fmla="*/ 99 h 209"/>
                <a:gd name="T48" fmla="*/ 56 w 117"/>
                <a:gd name="T49" fmla="*/ 99 h 209"/>
                <a:gd name="T50" fmla="*/ 60 w 117"/>
                <a:gd name="T51" fmla="*/ 100 h 209"/>
                <a:gd name="T52" fmla="*/ 61 w 117"/>
                <a:gd name="T53" fmla="*/ 104 h 209"/>
                <a:gd name="T54" fmla="*/ 47 w 117"/>
                <a:gd name="T55" fmla="*/ 137 h 209"/>
                <a:gd name="T56" fmla="*/ 11 w 117"/>
                <a:gd name="T57" fmla="*/ 163 h 2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209">
                  <a:moveTo>
                    <a:pt x="28" y="209"/>
                  </a:moveTo>
                  <a:cubicBezTo>
                    <a:pt x="27" y="209"/>
                    <a:pt x="25" y="208"/>
                    <a:pt x="24" y="206"/>
                  </a:cubicBezTo>
                  <a:cubicBezTo>
                    <a:pt x="0" y="163"/>
                    <a:pt x="0" y="163"/>
                    <a:pt x="0" y="163"/>
                  </a:cubicBezTo>
                  <a:cubicBezTo>
                    <a:pt x="0" y="162"/>
                    <a:pt x="0" y="161"/>
                    <a:pt x="0" y="160"/>
                  </a:cubicBezTo>
                  <a:cubicBezTo>
                    <a:pt x="1" y="158"/>
                    <a:pt x="1" y="157"/>
                    <a:pt x="3" y="157"/>
                  </a:cubicBezTo>
                  <a:cubicBezTo>
                    <a:pt x="22" y="148"/>
                    <a:pt x="34" y="140"/>
                    <a:pt x="40" y="131"/>
                  </a:cubicBezTo>
                  <a:cubicBezTo>
                    <a:pt x="46" y="125"/>
                    <a:pt x="49" y="117"/>
                    <a:pt x="51" y="108"/>
                  </a:cubicBezTo>
                  <a:cubicBezTo>
                    <a:pt x="4" y="108"/>
                    <a:pt x="4" y="108"/>
                    <a:pt x="4" y="108"/>
                  </a:cubicBezTo>
                  <a:cubicBezTo>
                    <a:pt x="2" y="108"/>
                    <a:pt x="0" y="106"/>
                    <a:pt x="0" y="104"/>
                  </a:cubicBezTo>
                  <a:cubicBezTo>
                    <a:pt x="0" y="5"/>
                    <a:pt x="0" y="5"/>
                    <a:pt x="0" y="5"/>
                  </a:cubicBezTo>
                  <a:cubicBezTo>
                    <a:pt x="0" y="3"/>
                    <a:pt x="2" y="0"/>
                    <a:pt x="4" y="0"/>
                  </a:cubicBezTo>
                  <a:cubicBezTo>
                    <a:pt x="112" y="0"/>
                    <a:pt x="112" y="0"/>
                    <a:pt x="112" y="0"/>
                  </a:cubicBezTo>
                  <a:cubicBezTo>
                    <a:pt x="114" y="0"/>
                    <a:pt x="117" y="3"/>
                    <a:pt x="117" y="5"/>
                  </a:cubicBezTo>
                  <a:cubicBezTo>
                    <a:pt x="117" y="87"/>
                    <a:pt x="117" y="87"/>
                    <a:pt x="117" y="87"/>
                  </a:cubicBezTo>
                  <a:cubicBezTo>
                    <a:pt x="117" y="118"/>
                    <a:pt x="110" y="142"/>
                    <a:pt x="97" y="161"/>
                  </a:cubicBezTo>
                  <a:cubicBezTo>
                    <a:pt x="83" y="179"/>
                    <a:pt x="61" y="195"/>
                    <a:pt x="30" y="208"/>
                  </a:cubicBezTo>
                  <a:cubicBezTo>
                    <a:pt x="30" y="209"/>
                    <a:pt x="29" y="209"/>
                    <a:pt x="28" y="209"/>
                  </a:cubicBezTo>
                  <a:close/>
                  <a:moveTo>
                    <a:pt x="11" y="163"/>
                  </a:moveTo>
                  <a:cubicBezTo>
                    <a:pt x="30" y="198"/>
                    <a:pt x="30" y="198"/>
                    <a:pt x="30" y="198"/>
                  </a:cubicBezTo>
                  <a:cubicBezTo>
                    <a:pt x="57" y="186"/>
                    <a:pt x="77" y="171"/>
                    <a:pt x="90" y="155"/>
                  </a:cubicBezTo>
                  <a:cubicBezTo>
                    <a:pt x="101" y="139"/>
                    <a:pt x="107" y="116"/>
                    <a:pt x="107" y="87"/>
                  </a:cubicBezTo>
                  <a:cubicBezTo>
                    <a:pt x="107" y="10"/>
                    <a:pt x="107" y="10"/>
                    <a:pt x="107" y="10"/>
                  </a:cubicBezTo>
                  <a:cubicBezTo>
                    <a:pt x="9" y="10"/>
                    <a:pt x="9" y="10"/>
                    <a:pt x="9" y="10"/>
                  </a:cubicBezTo>
                  <a:cubicBezTo>
                    <a:pt x="9" y="99"/>
                    <a:pt x="9" y="99"/>
                    <a:pt x="9" y="99"/>
                  </a:cubicBezTo>
                  <a:cubicBezTo>
                    <a:pt x="56" y="99"/>
                    <a:pt x="56" y="99"/>
                    <a:pt x="56" y="99"/>
                  </a:cubicBezTo>
                  <a:cubicBezTo>
                    <a:pt x="57" y="99"/>
                    <a:pt x="59" y="99"/>
                    <a:pt x="60" y="100"/>
                  </a:cubicBezTo>
                  <a:cubicBezTo>
                    <a:pt x="60" y="101"/>
                    <a:pt x="61" y="103"/>
                    <a:pt x="61" y="104"/>
                  </a:cubicBezTo>
                  <a:cubicBezTo>
                    <a:pt x="60" y="117"/>
                    <a:pt x="55" y="128"/>
                    <a:pt x="47" y="137"/>
                  </a:cubicBezTo>
                  <a:cubicBezTo>
                    <a:pt x="40" y="146"/>
                    <a:pt x="29" y="154"/>
                    <a:pt x="11" y="163"/>
                  </a:cubicBezTo>
                  <a:close/>
                </a:path>
              </a:pathLst>
            </a:cu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11"/>
            <p:cNvSpPr>
              <a:spLocks noEditPoints="1"/>
            </p:cNvSpPr>
            <p:nvPr userDrawn="1"/>
          </p:nvSpPr>
          <p:spPr bwMode="auto">
            <a:xfrm>
              <a:off x="11940381" y="-647749"/>
              <a:ext cx="2422525" cy="4341813"/>
            </a:xfrm>
            <a:custGeom>
              <a:gdLst>
                <a:gd name="T0" fmla="*/ 28 w 117"/>
                <a:gd name="T1" fmla="*/ 209 h 209"/>
                <a:gd name="T2" fmla="*/ 24 w 117"/>
                <a:gd name="T3" fmla="*/ 206 h 209"/>
                <a:gd name="T4" fmla="*/ 1 w 117"/>
                <a:gd name="T5" fmla="*/ 163 h 209"/>
                <a:gd name="T6" fmla="*/ 0 w 117"/>
                <a:gd name="T7" fmla="*/ 160 h 209"/>
                <a:gd name="T8" fmla="*/ 3 w 117"/>
                <a:gd name="T9" fmla="*/ 157 h 209"/>
                <a:gd name="T10" fmla="*/ 40 w 117"/>
                <a:gd name="T11" fmla="*/ 131 h 209"/>
                <a:gd name="T12" fmla="*/ 51 w 117"/>
                <a:gd name="T13" fmla="*/ 108 h 209"/>
                <a:gd name="T14" fmla="*/ 5 w 117"/>
                <a:gd name="T15" fmla="*/ 108 h 209"/>
                <a:gd name="T16" fmla="*/ 0 w 117"/>
                <a:gd name="T17" fmla="*/ 104 h 209"/>
                <a:gd name="T18" fmla="*/ 0 w 117"/>
                <a:gd name="T19" fmla="*/ 5 h 209"/>
                <a:gd name="T20" fmla="*/ 5 w 117"/>
                <a:gd name="T21" fmla="*/ 0 h 209"/>
                <a:gd name="T22" fmla="*/ 112 w 117"/>
                <a:gd name="T23" fmla="*/ 0 h 209"/>
                <a:gd name="T24" fmla="*/ 117 w 117"/>
                <a:gd name="T25" fmla="*/ 5 h 209"/>
                <a:gd name="T26" fmla="*/ 117 w 117"/>
                <a:gd name="T27" fmla="*/ 87 h 209"/>
                <a:gd name="T28" fmla="*/ 97 w 117"/>
                <a:gd name="T29" fmla="*/ 161 h 209"/>
                <a:gd name="T30" fmla="*/ 30 w 117"/>
                <a:gd name="T31" fmla="*/ 208 h 209"/>
                <a:gd name="T32" fmla="*/ 28 w 117"/>
                <a:gd name="T33" fmla="*/ 209 h 209"/>
                <a:gd name="T34" fmla="*/ 11 w 117"/>
                <a:gd name="T35" fmla="*/ 163 h 209"/>
                <a:gd name="T36" fmla="*/ 30 w 117"/>
                <a:gd name="T37" fmla="*/ 198 h 209"/>
                <a:gd name="T38" fmla="*/ 90 w 117"/>
                <a:gd name="T39" fmla="*/ 155 h 209"/>
                <a:gd name="T40" fmla="*/ 107 w 117"/>
                <a:gd name="T41" fmla="*/ 87 h 209"/>
                <a:gd name="T42" fmla="*/ 107 w 117"/>
                <a:gd name="T43" fmla="*/ 10 h 209"/>
                <a:gd name="T44" fmla="*/ 9 w 117"/>
                <a:gd name="T45" fmla="*/ 10 h 209"/>
                <a:gd name="T46" fmla="*/ 9 w 117"/>
                <a:gd name="T47" fmla="*/ 99 h 209"/>
                <a:gd name="T48" fmla="*/ 56 w 117"/>
                <a:gd name="T49" fmla="*/ 99 h 209"/>
                <a:gd name="T50" fmla="*/ 60 w 117"/>
                <a:gd name="T51" fmla="*/ 100 h 209"/>
                <a:gd name="T52" fmla="*/ 61 w 117"/>
                <a:gd name="T53" fmla="*/ 104 h 209"/>
                <a:gd name="T54" fmla="*/ 47 w 117"/>
                <a:gd name="T55" fmla="*/ 137 h 209"/>
                <a:gd name="T56" fmla="*/ 11 w 117"/>
                <a:gd name="T57" fmla="*/ 163 h 2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209">
                  <a:moveTo>
                    <a:pt x="28" y="209"/>
                  </a:moveTo>
                  <a:cubicBezTo>
                    <a:pt x="27" y="209"/>
                    <a:pt x="25" y="208"/>
                    <a:pt x="24" y="206"/>
                  </a:cubicBezTo>
                  <a:cubicBezTo>
                    <a:pt x="1" y="163"/>
                    <a:pt x="1" y="163"/>
                    <a:pt x="1" y="163"/>
                  </a:cubicBezTo>
                  <a:cubicBezTo>
                    <a:pt x="0" y="162"/>
                    <a:pt x="0" y="161"/>
                    <a:pt x="0" y="160"/>
                  </a:cubicBezTo>
                  <a:cubicBezTo>
                    <a:pt x="1" y="158"/>
                    <a:pt x="1" y="157"/>
                    <a:pt x="3" y="157"/>
                  </a:cubicBezTo>
                  <a:cubicBezTo>
                    <a:pt x="22" y="148"/>
                    <a:pt x="34" y="140"/>
                    <a:pt x="40" y="131"/>
                  </a:cubicBezTo>
                  <a:cubicBezTo>
                    <a:pt x="46" y="125"/>
                    <a:pt x="49" y="117"/>
                    <a:pt x="51" y="108"/>
                  </a:cubicBezTo>
                  <a:cubicBezTo>
                    <a:pt x="5" y="108"/>
                    <a:pt x="5" y="108"/>
                    <a:pt x="5" y="108"/>
                  </a:cubicBezTo>
                  <a:cubicBezTo>
                    <a:pt x="2" y="108"/>
                    <a:pt x="0" y="106"/>
                    <a:pt x="0" y="104"/>
                  </a:cubicBezTo>
                  <a:cubicBezTo>
                    <a:pt x="0" y="5"/>
                    <a:pt x="0" y="5"/>
                    <a:pt x="0" y="5"/>
                  </a:cubicBezTo>
                  <a:cubicBezTo>
                    <a:pt x="0" y="3"/>
                    <a:pt x="2" y="0"/>
                    <a:pt x="5" y="0"/>
                  </a:cubicBezTo>
                  <a:cubicBezTo>
                    <a:pt x="112" y="0"/>
                    <a:pt x="112" y="0"/>
                    <a:pt x="112" y="0"/>
                  </a:cubicBezTo>
                  <a:cubicBezTo>
                    <a:pt x="115" y="0"/>
                    <a:pt x="117" y="3"/>
                    <a:pt x="117" y="5"/>
                  </a:cubicBezTo>
                  <a:cubicBezTo>
                    <a:pt x="117" y="87"/>
                    <a:pt x="117" y="87"/>
                    <a:pt x="117" y="87"/>
                  </a:cubicBezTo>
                  <a:cubicBezTo>
                    <a:pt x="117" y="118"/>
                    <a:pt x="110" y="142"/>
                    <a:pt x="97" y="161"/>
                  </a:cubicBezTo>
                  <a:cubicBezTo>
                    <a:pt x="83" y="179"/>
                    <a:pt x="61" y="195"/>
                    <a:pt x="30" y="208"/>
                  </a:cubicBezTo>
                  <a:cubicBezTo>
                    <a:pt x="30" y="209"/>
                    <a:pt x="29" y="209"/>
                    <a:pt x="28" y="209"/>
                  </a:cubicBezTo>
                  <a:close/>
                  <a:moveTo>
                    <a:pt x="11" y="163"/>
                  </a:moveTo>
                  <a:cubicBezTo>
                    <a:pt x="30" y="198"/>
                    <a:pt x="30" y="198"/>
                    <a:pt x="30" y="198"/>
                  </a:cubicBezTo>
                  <a:cubicBezTo>
                    <a:pt x="57" y="186"/>
                    <a:pt x="77" y="171"/>
                    <a:pt x="90" y="155"/>
                  </a:cubicBezTo>
                  <a:cubicBezTo>
                    <a:pt x="101" y="139"/>
                    <a:pt x="107" y="116"/>
                    <a:pt x="107" y="87"/>
                  </a:cubicBezTo>
                  <a:cubicBezTo>
                    <a:pt x="107" y="10"/>
                    <a:pt x="107" y="10"/>
                    <a:pt x="107" y="10"/>
                  </a:cubicBezTo>
                  <a:cubicBezTo>
                    <a:pt x="9" y="10"/>
                    <a:pt x="9" y="10"/>
                    <a:pt x="9" y="10"/>
                  </a:cubicBezTo>
                  <a:cubicBezTo>
                    <a:pt x="9" y="99"/>
                    <a:pt x="9" y="99"/>
                    <a:pt x="9" y="99"/>
                  </a:cubicBezTo>
                  <a:cubicBezTo>
                    <a:pt x="56" y="99"/>
                    <a:pt x="56" y="99"/>
                    <a:pt x="56" y="99"/>
                  </a:cubicBezTo>
                  <a:cubicBezTo>
                    <a:pt x="57" y="99"/>
                    <a:pt x="59" y="99"/>
                    <a:pt x="60" y="100"/>
                  </a:cubicBezTo>
                  <a:cubicBezTo>
                    <a:pt x="60" y="101"/>
                    <a:pt x="61" y="103"/>
                    <a:pt x="61" y="104"/>
                  </a:cubicBezTo>
                  <a:cubicBezTo>
                    <a:pt x="60" y="117"/>
                    <a:pt x="55" y="128"/>
                    <a:pt x="47" y="137"/>
                  </a:cubicBezTo>
                  <a:cubicBezTo>
                    <a:pt x="40" y="146"/>
                    <a:pt x="29" y="154"/>
                    <a:pt x="11" y="163"/>
                  </a:cubicBezTo>
                  <a:close/>
                </a:path>
              </a:pathLst>
            </a:cu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1" name="Group 4"/>
          <p:cNvGrpSpPr>
            <a:grpSpLocks noChangeAspect="1"/>
          </p:cNvGrpSpPr>
          <p:nvPr userDrawn="1"/>
        </p:nvGrpSpPr>
        <p:grpSpPr>
          <a:xfrm>
            <a:off x="10766425" y="5235575"/>
            <a:ext cx="269875" cy="282575"/>
            <a:chOff x="6782" y="3298"/>
            <a:chExt cx="170" cy="178"/>
          </a:xfrm>
        </p:grpSpPr>
        <p:sp>
          <p:nvSpPr>
            <p:cNvPr id="17" name="AutoShape 3"/>
            <p:cNvSpPr>
              <a:spLocks noChangeAspect="1" noChangeArrowheads="1" noTextEdit="1"/>
            </p:cNvSpPr>
            <p:nvPr userDrawn="1"/>
          </p:nvSpPr>
          <p:spPr bwMode="auto">
            <a:xfrm>
              <a:off x="6782" y="3298"/>
              <a:ext cx="170"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5"/>
            <p:cNvSpPr>
              <a:spLocks noEditPoints="1"/>
            </p:cNvSpPr>
            <p:nvPr userDrawn="1"/>
          </p:nvSpPr>
          <p:spPr bwMode="auto">
            <a:xfrm>
              <a:off x="6779" y="3298"/>
              <a:ext cx="175" cy="175"/>
            </a:xfrm>
            <a:custGeom>
              <a:gdLst>
                <a:gd name="T0" fmla="*/ 35 w 71"/>
                <a:gd name="T1" fmla="*/ 0 h 71"/>
                <a:gd name="T2" fmla="*/ 0 w 71"/>
                <a:gd name="T3" fmla="*/ 35 h 71"/>
                <a:gd name="T4" fmla="*/ 35 w 71"/>
                <a:gd name="T5" fmla="*/ 71 h 71"/>
                <a:gd name="T6" fmla="*/ 71 w 71"/>
                <a:gd name="T7" fmla="*/ 35 h 71"/>
                <a:gd name="T8" fmla="*/ 35 w 71"/>
                <a:gd name="T9" fmla="*/ 0 h 71"/>
                <a:gd name="T10" fmla="*/ 35 w 71"/>
                <a:gd name="T11" fmla="*/ 68 h 71"/>
                <a:gd name="T12" fmla="*/ 3 w 71"/>
                <a:gd name="T13" fmla="*/ 35 h 71"/>
                <a:gd name="T14" fmla="*/ 35 w 71"/>
                <a:gd name="T15" fmla="*/ 3 h 71"/>
                <a:gd name="T16" fmla="*/ 68 w 71"/>
                <a:gd name="T17" fmla="*/ 35 h 71"/>
                <a:gd name="T18" fmla="*/ 35 w 71"/>
                <a:gd name="T19" fmla="*/ 68 h 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71">
                  <a:moveTo>
                    <a:pt x="35" y="0"/>
                  </a:moveTo>
                  <a:cubicBezTo>
                    <a:pt x="16" y="0"/>
                    <a:pt x="0" y="16"/>
                    <a:pt x="0" y="35"/>
                  </a:cubicBezTo>
                  <a:cubicBezTo>
                    <a:pt x="0" y="55"/>
                    <a:pt x="16" y="71"/>
                    <a:pt x="35" y="71"/>
                  </a:cubicBezTo>
                  <a:cubicBezTo>
                    <a:pt x="55" y="71"/>
                    <a:pt x="71" y="55"/>
                    <a:pt x="71" y="35"/>
                  </a:cubicBezTo>
                  <a:cubicBezTo>
                    <a:pt x="71" y="16"/>
                    <a:pt x="55" y="0"/>
                    <a:pt x="35" y="0"/>
                  </a:cubicBezTo>
                  <a:close/>
                  <a:moveTo>
                    <a:pt x="35" y="68"/>
                  </a:moveTo>
                  <a:cubicBezTo>
                    <a:pt x="17" y="68"/>
                    <a:pt x="3" y="53"/>
                    <a:pt x="3" y="35"/>
                  </a:cubicBezTo>
                  <a:cubicBezTo>
                    <a:pt x="3" y="17"/>
                    <a:pt x="17" y="3"/>
                    <a:pt x="35" y="3"/>
                  </a:cubicBezTo>
                  <a:cubicBezTo>
                    <a:pt x="53" y="3"/>
                    <a:pt x="68" y="17"/>
                    <a:pt x="68" y="35"/>
                  </a:cubicBezTo>
                  <a:cubicBezTo>
                    <a:pt x="68" y="53"/>
                    <a:pt x="53" y="68"/>
                    <a:pt x="35" y="68"/>
                  </a:cubicBezTo>
                  <a:close/>
                </a:path>
              </a:pathLst>
            </a:cu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 name="Oval 6"/>
            <p:cNvSpPr>
              <a:spLocks noChangeArrowheads="1"/>
            </p:cNvSpPr>
            <p:nvPr userDrawn="1"/>
          </p:nvSpPr>
          <p:spPr bwMode="auto">
            <a:xfrm>
              <a:off x="6834" y="3352"/>
              <a:ext cx="64" cy="65"/>
            </a:xfrm>
            <a:prstGeom prst="ellipse">
              <a:avLst/>
            </a:pr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352846702"/>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4_Title Master: White">
    <p:bg>
      <p:bgPr>
        <a:solidFill>
          <a:schemeClr val="bg1"/>
        </a:solidFill>
        <a:effectLst/>
      </p:bgPr>
    </p:bg>
    <p:spTree>
      <p:nvGrpSpPr>
        <p:cNvPr id="1" name=""/>
        <p:cNvGrpSpPr/>
        <p:nvPr/>
      </p:nvGrpSpPr>
      <p:grpSpPr>
        <a:xfrm>
          <a:off x="0" y="0"/>
          <a:ext cx="0" cy="0"/>
        </a:xfrm>
      </p:grpSpPr>
      <p:pic>
        <p:nvPicPr>
          <p:cNvPr id="10" name="Picture 9">
            <a:extLst>
              <a:ext uri="{FF2B5EF4-FFF2-40B4-BE49-F238E27FC236}">
                <a16:creationId xmlns:a16="http://schemas.microsoft.com/office/drawing/2014/main" id="{9056E2D0-B82C-594B-B8E6-9AD5624089D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096000" y="448235"/>
            <a:ext cx="6096000" cy="6409765"/>
          </a:xfrm>
          <a:prstGeom prst="rect">
            <a:avLst/>
          </a:prstGeom>
        </p:spPr>
      </p:pic>
      <p:sp>
        <p:nvSpPr>
          <p:cNvPr id="19" name="Title 1">
            <a:extLst>
              <a:ext uri="{FF2B5EF4-FFF2-40B4-BE49-F238E27FC236}">
                <a16:creationId xmlns:a16="http://schemas.microsoft.com/office/drawing/2014/main" id="{8A346C1B-3B8B-48E9-82FD-D1F0F19D9C47}"/>
              </a:ext>
            </a:extLst>
          </p:cNvPr>
          <p:cNvSpPr>
            <a:spLocks noGrp="1"/>
          </p:cNvSpPr>
          <p:nvPr>
            <p:ph type="ctrTitle" hasCustomPrompt="1"/>
          </p:nvPr>
        </p:nvSpPr>
        <p:spPr>
          <a:xfrm>
            <a:off x="371475" y="1850118"/>
            <a:ext cx="5985782" cy="2009775"/>
          </a:xfrm>
          <a:prstGeom prst="rect">
            <a:avLst/>
          </a:prstGeom>
        </p:spPr>
        <p:txBody>
          <a:bodyPr vert="horz" lIns="0" tIns="72000" rIns="0" bIns="0" rtlCol="0" anchor="t" anchorCtr="0">
            <a:noAutofit/>
          </a:bodyPr>
          <a:lstStyle>
            <a:lvl1pPr>
              <a:defRPr lang="en-CR" sz="4400" i="0">
                <a:latin typeface="Graphik Black" panose="020b0503030202060203" pitchFamily="34" charset="77"/>
              </a:defRPr>
            </a:lvl1pPr>
          </a:lstStyle>
          <a:p>
            <a:pPr lvl="0"/>
            <a:r>
              <a:rPr lang="en-US"/>
              <a:t>CLICK TO EDIT DIVIDER TITLE STYLE</a:t>
            </a:r>
            <a:endParaRPr lang="en-CR"/>
          </a:p>
        </p:txBody>
      </p:sp>
      <p:sp>
        <p:nvSpPr>
          <p:cNvPr id="20" name="Subtitle 2">
            <a:extLst>
              <a:ext uri="{FF2B5EF4-FFF2-40B4-BE49-F238E27FC236}">
                <a16:creationId xmlns:a16="http://schemas.microsoft.com/office/drawing/2014/main" id="{9DD1E08B-5C1A-416A-B759-D218AA0C26C1}"/>
              </a:ext>
            </a:extLst>
          </p:cNvPr>
          <p:cNvSpPr>
            <a:spLocks noGrp="1"/>
          </p:cNvSpPr>
          <p:nvPr>
            <p:ph type="subTitle" idx="1"/>
          </p:nvPr>
        </p:nvSpPr>
        <p:spPr>
          <a:xfrm>
            <a:off x="371475" y="5206545"/>
            <a:ext cx="5985782" cy="864507"/>
          </a:xfrm>
          <a:prstGeom prst="rect">
            <a:avLst/>
          </a:prstGeom>
        </p:spPr>
        <p:txBody>
          <a:bodyPr>
            <a:noAutofit/>
          </a:bodyPr>
          <a:lstStyle>
            <a:lvl1pPr marL="0" indent="0" algn="l">
              <a:buNone/>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R"/>
          </a:p>
        </p:txBody>
      </p:sp>
    </p:spTree>
    <p:extLst>
      <p:ext uri="{BB962C8B-B14F-4D97-AF65-F5344CB8AC3E}">
        <p14:creationId xmlns:p14="http://schemas.microsoft.com/office/powerpoint/2010/main" val="207222114"/>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Quote_Top_Left_Dark_Image">
    <p:bg>
      <p:bgPr>
        <a:solidFill>
          <a:schemeClr val="accent6"/>
        </a:solidFill>
        <a:effectLst/>
      </p:bgPr>
    </p:bg>
    <p:spTree>
      <p:nvGrpSpPr>
        <p:cNvPr id="1" name=""/>
        <p:cNvGrpSpPr/>
        <p:nvPr/>
      </p:nvGrpSpPr>
      <p:grpSpPr>
        <a:xfrm>
          <a:off x="0" y="0"/>
          <a:ext cx="0" cy="0"/>
        </a:xfrm>
      </p:grpSpPr>
      <p:sp>
        <p:nvSpPr>
          <p:cNvPr id="6" name="Picture Placeholder 13"/>
          <p:cNvSpPr>
            <a:spLocks noGrp="1"/>
          </p:cNvSpPr>
          <p:nvPr>
            <p:ph type="pic" sz="quarter" idx="33" hasCustomPrompt="1"/>
          </p:nvPr>
        </p:nvSpPr>
        <p:spPr>
          <a:xfrm>
            <a:off x="0" y="0"/>
            <a:ext cx="12192000" cy="6874525"/>
          </a:xfrm>
          <a:solidFill>
            <a:schemeClr val="accent6"/>
          </a:solidFill>
        </p:spPr>
        <p:txBody>
          <a:bodyPr lIns="7200000" rIns="720000" anchor="ctr" anchorCtr="0"/>
          <a:lstStyle>
            <a:lvl1pPr algn="ctr">
              <a:defRPr sz="1000" cap="all" baseline="0">
                <a:solidFill>
                  <a:schemeClr val="bg1"/>
                </a:solidFill>
              </a:defRPr>
            </a:lvl1pPr>
          </a:lstStyle>
          <a:p>
            <a:r>
              <a:rPr lang="en-US"/>
              <a:t>Click on the icon to Insert image in placeholder and USE THE CROP TOOL TO CENTER THE IMAGE</a:t>
            </a:r>
          </a:p>
        </p:txBody>
      </p:sp>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1"/>
          <p:cNvSpPr>
            <a:spLocks noGrp="1"/>
          </p:cNvSpPr>
          <p:nvPr>
            <p:ph type="title" hasCustomPrompt="1"/>
          </p:nvPr>
        </p:nvSpPr>
        <p:spPr>
          <a:xfrm>
            <a:off x="355741" y="1287578"/>
            <a:ext cx="5582180" cy="1731199"/>
          </a:xfrm>
        </p:spPr>
        <p:txBody>
          <a:bodyPr tIns="0" anchor="b" anchorCtr="0"/>
          <a:lstStyle>
            <a:lvl1pPr marL="0" indent="0" algn="l" rtl="0" eaLnBrk="1" fontAlgn="base" hangingPunct="1">
              <a:lnSpc>
                <a:spcPct val="80000"/>
              </a:lnSpc>
              <a:spcBef>
                <a:spcPct val="0"/>
              </a:spcBef>
              <a:spcAft>
                <a:spcPct val="0"/>
              </a:spcAft>
              <a:buFont typeface="Arial" panose="020b0604020202020204" pitchFamily="34" charset="0"/>
              <a:buNone/>
              <a:defRPr lang="en-AU" sz="2799" b="0" kern="1200" cap="all" baseline="0">
                <a:solidFill>
                  <a:schemeClr val="bg1"/>
                </a:solidFill>
                <a:latin typeface="+mj-lt"/>
                <a:ea typeface="Roboto" panose="02000000000000000000" pitchFamily="2" charset="0"/>
                <a:cs typeface="Arial" panose="020b0604020202020204" pitchFamily="34" charset="0"/>
              </a:defRPr>
            </a:lvl1pPr>
          </a:lstStyle>
          <a:p>
            <a:r>
              <a:rPr lang="en-US"/>
              <a:t>INSERT QUOTE at 28pt min 26pt MAX 5 LINES     AS OLESTOTATE CON RAERUM ES INI EREPUDI ODIT EHENDIAM EUM.</a:t>
            </a:r>
          </a:p>
        </p:txBody>
      </p:sp>
      <p:sp>
        <p:nvSpPr>
          <p:cNvPr id="16" name="Text Placeholder 4"/>
          <p:cNvSpPr>
            <a:spLocks noGrp="1"/>
          </p:cNvSpPr>
          <p:nvPr>
            <p:ph type="body" sz="quarter" idx="12" hasCustomPrompt="1"/>
          </p:nvPr>
        </p:nvSpPr>
        <p:spPr>
          <a:xfrm>
            <a:off x="1792702" y="3276929"/>
            <a:ext cx="4145219" cy="664643"/>
          </a:xfrm>
        </p:spPr>
        <p:txBody>
          <a:bodyPr>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lang="en-US" sz="1600" b="0" kern="1200" cap="all" baseline="0">
                <a:solidFill>
                  <a:schemeClr val="bg1"/>
                </a:solidFill>
                <a:latin typeface="+mn-lt"/>
                <a:ea typeface="Roboto" panose="02000000000000000000" pitchFamily="2" charset="0"/>
                <a:cs typeface="Arial" panose="020b0604020202020204" pitchFamily="34" charset="0"/>
              </a:defRPr>
            </a:lvl1pPr>
          </a:lstStyle>
          <a:p>
            <a:r>
              <a:rPr lang="en-US"/>
              <a:t>INSERT AUTHOR’S DETAILS HERE. UPPERCASE, maximum 3 lines </a:t>
            </a:r>
            <a:br>
              <a:rPr lang="en-US"/>
            </a:br>
            <a:r>
              <a:rPr lang="en-US"/>
              <a:t>AT 16PT, MINIMUM 14PT. </a:t>
            </a:r>
          </a:p>
        </p:txBody>
      </p:sp>
    </p:spTree>
    <p:extLst>
      <p:ext uri="{BB962C8B-B14F-4D97-AF65-F5344CB8AC3E}">
        <p14:creationId xmlns:p14="http://schemas.microsoft.com/office/powerpoint/2010/main" val="3594720969"/>
      </p:ext>
    </p:extLst>
  </p:cSld>
  <p:clrMapOvr>
    <a:masterClrMapping/>
  </p:clrMapOvr>
  <p:transition/>
  <p:timing/>
</p:sldLayout>
</file>

<file path=ppt/slideLayouts/slideLayout1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umbnails_5">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8" name="Text Placeholder 24"/>
          <p:cNvSpPr>
            <a:spLocks noGrp="1"/>
          </p:cNvSpPr>
          <p:nvPr>
            <p:ph type="body" sz="quarter" idx="25" hasCustomPrompt="1"/>
          </p:nvPr>
        </p:nvSpPr>
        <p:spPr>
          <a:xfrm>
            <a:off x="359311" y="4267493"/>
            <a:ext cx="2015533" cy="2070126"/>
          </a:xfrm>
        </p:spPr>
        <p:txBody>
          <a:bodyPr vert="horz" wrap="square" lIns="0" tIns="0" rIns="0" bIns="0" rtlCol="0">
            <a:noAutofit/>
          </a:bodyPr>
          <a:lstStyle>
            <a:lvl1pPr>
              <a:lnSpc>
                <a:spcPct val="100000"/>
              </a:lnSpc>
              <a:defRPr lang="en-US" sz="1600" baseline="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minimum 14pt, paragraph spacing at single spacing. Maximum lines to the bottom of this box.</a:t>
            </a:r>
          </a:p>
        </p:txBody>
      </p:sp>
      <p:sp>
        <p:nvSpPr>
          <p:cNvPr id="39" name="Text Placeholder 4"/>
          <p:cNvSpPr>
            <a:spLocks noGrp="1"/>
          </p:cNvSpPr>
          <p:nvPr>
            <p:ph type="body" sz="quarter" idx="26" hasCustomPrompt="1"/>
          </p:nvPr>
        </p:nvSpPr>
        <p:spPr>
          <a:xfrm>
            <a:off x="359311" y="3493632"/>
            <a:ext cx="2016000" cy="666000"/>
          </a:xfrm>
        </p:spPr>
        <p:txBody>
          <a:bodyPr anchor="t"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16PT MIN 14PT MAX 3 LINES</a:t>
            </a:r>
          </a:p>
        </p:txBody>
      </p:sp>
      <p:sp>
        <p:nvSpPr>
          <p:cNvPr id="5" name="Title 4"/>
          <p:cNvSpPr>
            <a:spLocks noGrp="1"/>
          </p:cNvSpPr>
          <p:nvPr>
            <p:ph type="title"/>
          </p:nvPr>
        </p:nvSpPr>
        <p:spPr/>
        <p:txBody>
          <a:bodyPr/>
          <a:lstStyle/>
          <a:p>
            <a:r>
              <a:rPr lang="en-US"/>
              <a:t>Click to edit Master title style</a:t>
            </a:r>
            <a:endParaRPr lang="en-AU"/>
          </a:p>
        </p:txBody>
      </p:sp>
      <p:cxnSp>
        <p:nvCxnSpPr>
          <p:cNvPr id="29" name="Straight Arrow Connector 28"/>
          <p:cNvCxnSpPr/>
          <p:nvPr userDrawn="1"/>
        </p:nvCxnSpPr>
        <p:spPr>
          <a:xfrm>
            <a:off x="359311" y="3384413"/>
            <a:ext cx="2015533"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4" name="Text Placeholder 24"/>
          <p:cNvSpPr>
            <a:spLocks noGrp="1"/>
          </p:cNvSpPr>
          <p:nvPr>
            <p:ph type="body" sz="quarter" idx="28" hasCustomPrompt="1"/>
          </p:nvPr>
        </p:nvSpPr>
        <p:spPr>
          <a:xfrm>
            <a:off x="2728490" y="4254793"/>
            <a:ext cx="2015533" cy="2070126"/>
          </a:xfrm>
        </p:spPr>
        <p:txBody>
          <a:bodyPr vert="horz" wrap="square" lIns="0" tIns="0" rIns="0" bIns="0" rtlCol="0">
            <a:noAutofit/>
          </a:bodyPr>
          <a:lstStyle>
            <a:lvl1pPr>
              <a:lnSpc>
                <a:spcPct val="100000"/>
              </a:lnSpc>
              <a:defRPr lang="en-US" sz="1600" baseline="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minimum 14pt, paragraph spacing at single spacing. Maximum lines to the bottom of this box.</a:t>
            </a:r>
          </a:p>
        </p:txBody>
      </p:sp>
      <p:sp>
        <p:nvSpPr>
          <p:cNvPr id="35" name="Text Placeholder 4"/>
          <p:cNvSpPr>
            <a:spLocks noGrp="1"/>
          </p:cNvSpPr>
          <p:nvPr>
            <p:ph type="body" sz="quarter" idx="29" hasCustomPrompt="1"/>
          </p:nvPr>
        </p:nvSpPr>
        <p:spPr>
          <a:xfrm>
            <a:off x="2728490" y="3480932"/>
            <a:ext cx="2016000" cy="666000"/>
          </a:xfrm>
        </p:spPr>
        <p:txBody>
          <a:bodyPr anchor="t"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16PT MIN 14PT MAX 3 LINES</a:t>
            </a:r>
          </a:p>
        </p:txBody>
      </p:sp>
      <p:cxnSp>
        <p:nvCxnSpPr>
          <p:cNvPr id="40" name="Straight Arrow Connector 39"/>
          <p:cNvCxnSpPr/>
          <p:nvPr userDrawn="1"/>
        </p:nvCxnSpPr>
        <p:spPr>
          <a:xfrm>
            <a:off x="2728490" y="3371713"/>
            <a:ext cx="2015533"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2" name="Text Placeholder 24"/>
          <p:cNvSpPr>
            <a:spLocks noGrp="1"/>
          </p:cNvSpPr>
          <p:nvPr>
            <p:ph type="body" sz="quarter" idx="31" hasCustomPrompt="1"/>
          </p:nvPr>
        </p:nvSpPr>
        <p:spPr>
          <a:xfrm>
            <a:off x="5097669" y="4254793"/>
            <a:ext cx="2015533" cy="2070126"/>
          </a:xfrm>
        </p:spPr>
        <p:txBody>
          <a:bodyPr vert="horz" wrap="square" lIns="0" tIns="0" rIns="0" bIns="0" rtlCol="0">
            <a:noAutofit/>
          </a:bodyPr>
          <a:lstStyle>
            <a:lvl1pPr>
              <a:lnSpc>
                <a:spcPct val="100000"/>
              </a:lnSpc>
              <a:defRPr lang="en-US" sz="1600" baseline="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minimum 14pt, paragraph spacing at single spacing. Maximum lines to the bottom of this box.</a:t>
            </a:r>
          </a:p>
        </p:txBody>
      </p:sp>
      <p:sp>
        <p:nvSpPr>
          <p:cNvPr id="43" name="Text Placeholder 4"/>
          <p:cNvSpPr>
            <a:spLocks noGrp="1"/>
          </p:cNvSpPr>
          <p:nvPr>
            <p:ph type="body" sz="quarter" idx="32" hasCustomPrompt="1"/>
          </p:nvPr>
        </p:nvSpPr>
        <p:spPr>
          <a:xfrm>
            <a:off x="5097669" y="3480932"/>
            <a:ext cx="2016000" cy="666000"/>
          </a:xfrm>
        </p:spPr>
        <p:txBody>
          <a:bodyPr anchor="t"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16PT MIN 14PT MAX 3 LINES</a:t>
            </a:r>
          </a:p>
        </p:txBody>
      </p:sp>
      <p:cxnSp>
        <p:nvCxnSpPr>
          <p:cNvPr id="44" name="Straight Arrow Connector 43"/>
          <p:cNvCxnSpPr/>
          <p:nvPr userDrawn="1"/>
        </p:nvCxnSpPr>
        <p:spPr>
          <a:xfrm>
            <a:off x="5097669" y="3371713"/>
            <a:ext cx="2015533"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6" name="Text Placeholder 24"/>
          <p:cNvSpPr>
            <a:spLocks noGrp="1"/>
          </p:cNvSpPr>
          <p:nvPr>
            <p:ph type="body" sz="quarter" idx="34" hasCustomPrompt="1"/>
          </p:nvPr>
        </p:nvSpPr>
        <p:spPr>
          <a:xfrm>
            <a:off x="7466848" y="4254793"/>
            <a:ext cx="2015533" cy="2070126"/>
          </a:xfrm>
        </p:spPr>
        <p:txBody>
          <a:bodyPr vert="horz" wrap="square" lIns="0" tIns="0" rIns="0" bIns="0" rtlCol="0">
            <a:noAutofit/>
          </a:bodyPr>
          <a:lstStyle>
            <a:lvl1pPr>
              <a:lnSpc>
                <a:spcPct val="100000"/>
              </a:lnSpc>
              <a:defRPr lang="en-US" sz="1600" baseline="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minimum 14pt, paragraph spacing at single spacing. Maximum lines to the bottom of this box.</a:t>
            </a:r>
          </a:p>
        </p:txBody>
      </p:sp>
      <p:sp>
        <p:nvSpPr>
          <p:cNvPr id="47" name="Text Placeholder 4"/>
          <p:cNvSpPr>
            <a:spLocks noGrp="1"/>
          </p:cNvSpPr>
          <p:nvPr>
            <p:ph type="body" sz="quarter" idx="35" hasCustomPrompt="1"/>
          </p:nvPr>
        </p:nvSpPr>
        <p:spPr>
          <a:xfrm>
            <a:off x="7466848" y="3480932"/>
            <a:ext cx="2016000" cy="666000"/>
          </a:xfrm>
        </p:spPr>
        <p:txBody>
          <a:bodyPr anchor="t"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16PT MIN 14PT MAX 3 LINES</a:t>
            </a:r>
          </a:p>
        </p:txBody>
      </p:sp>
      <p:cxnSp>
        <p:nvCxnSpPr>
          <p:cNvPr id="48" name="Straight Arrow Connector 47"/>
          <p:cNvCxnSpPr/>
          <p:nvPr userDrawn="1"/>
        </p:nvCxnSpPr>
        <p:spPr>
          <a:xfrm>
            <a:off x="7466848" y="3371713"/>
            <a:ext cx="2015533"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0" name="Text Placeholder 24"/>
          <p:cNvSpPr>
            <a:spLocks noGrp="1"/>
          </p:cNvSpPr>
          <p:nvPr>
            <p:ph type="body" sz="quarter" idx="37" hasCustomPrompt="1"/>
          </p:nvPr>
        </p:nvSpPr>
        <p:spPr>
          <a:xfrm>
            <a:off x="9836026" y="4254793"/>
            <a:ext cx="2015533" cy="2070126"/>
          </a:xfrm>
        </p:spPr>
        <p:txBody>
          <a:bodyPr vert="horz" wrap="square" lIns="0" tIns="0" rIns="0" bIns="0" rtlCol="0">
            <a:noAutofit/>
          </a:bodyPr>
          <a:lstStyle>
            <a:lvl1pPr>
              <a:lnSpc>
                <a:spcPct val="100000"/>
              </a:lnSpc>
              <a:defRPr lang="en-US" sz="1600" baseline="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minimum 14pt, paragraph spacing at single spacing. Maximum lines to the bottom of this box.</a:t>
            </a:r>
          </a:p>
        </p:txBody>
      </p:sp>
      <p:sp>
        <p:nvSpPr>
          <p:cNvPr id="51" name="Text Placeholder 4"/>
          <p:cNvSpPr>
            <a:spLocks noGrp="1"/>
          </p:cNvSpPr>
          <p:nvPr>
            <p:ph type="body" sz="quarter" idx="38" hasCustomPrompt="1"/>
          </p:nvPr>
        </p:nvSpPr>
        <p:spPr>
          <a:xfrm>
            <a:off x="9836026" y="3480932"/>
            <a:ext cx="2016000" cy="666000"/>
          </a:xfrm>
        </p:spPr>
        <p:txBody>
          <a:bodyPr anchor="t"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16PT MIN 14PT MAX 3 LINES</a:t>
            </a:r>
          </a:p>
        </p:txBody>
      </p:sp>
      <p:cxnSp>
        <p:nvCxnSpPr>
          <p:cNvPr id="52" name="Straight Arrow Connector 51"/>
          <p:cNvCxnSpPr/>
          <p:nvPr userDrawn="1"/>
        </p:nvCxnSpPr>
        <p:spPr>
          <a:xfrm>
            <a:off x="9836026" y="3371713"/>
            <a:ext cx="2015533"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0" name="Picture Placeholder 5"/>
          <p:cNvSpPr>
            <a:spLocks noGrp="1"/>
          </p:cNvSpPr>
          <p:nvPr>
            <p:ph type="pic" sz="quarter" idx="39" hasCustomPrompt="1"/>
          </p:nvPr>
        </p:nvSpPr>
        <p:spPr>
          <a:xfrm>
            <a:off x="334963" y="1412875"/>
            <a:ext cx="1390650" cy="1835766"/>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
        <p:nvSpPr>
          <p:cNvPr id="31" name="Picture Placeholder 5"/>
          <p:cNvSpPr>
            <a:spLocks noGrp="1"/>
          </p:cNvSpPr>
          <p:nvPr>
            <p:ph type="pic" sz="quarter" idx="40" hasCustomPrompt="1"/>
          </p:nvPr>
        </p:nvSpPr>
        <p:spPr>
          <a:xfrm>
            <a:off x="2728490" y="1412875"/>
            <a:ext cx="1390650" cy="1835766"/>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
        <p:nvSpPr>
          <p:cNvPr id="32" name="Picture Placeholder 5"/>
          <p:cNvSpPr>
            <a:spLocks noGrp="1"/>
          </p:cNvSpPr>
          <p:nvPr>
            <p:ph type="pic" sz="quarter" idx="41" hasCustomPrompt="1"/>
          </p:nvPr>
        </p:nvSpPr>
        <p:spPr>
          <a:xfrm>
            <a:off x="5097669" y="1412875"/>
            <a:ext cx="1390650" cy="1835766"/>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
        <p:nvSpPr>
          <p:cNvPr id="37" name="Picture Placeholder 5"/>
          <p:cNvSpPr>
            <a:spLocks noGrp="1"/>
          </p:cNvSpPr>
          <p:nvPr>
            <p:ph type="pic" sz="quarter" idx="42" hasCustomPrompt="1"/>
          </p:nvPr>
        </p:nvSpPr>
        <p:spPr>
          <a:xfrm>
            <a:off x="7466848" y="1412875"/>
            <a:ext cx="1390650" cy="1835766"/>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
        <p:nvSpPr>
          <p:cNvPr id="53" name="Picture Placeholder 5"/>
          <p:cNvSpPr>
            <a:spLocks noGrp="1"/>
          </p:cNvSpPr>
          <p:nvPr>
            <p:ph type="pic" sz="quarter" idx="43" hasCustomPrompt="1"/>
          </p:nvPr>
        </p:nvSpPr>
        <p:spPr>
          <a:xfrm>
            <a:off x="9836026" y="1412875"/>
            <a:ext cx="1390650" cy="1835766"/>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Tree>
    <p:extLst>
      <p:ext uri="{BB962C8B-B14F-4D97-AF65-F5344CB8AC3E}">
        <p14:creationId xmlns:p14="http://schemas.microsoft.com/office/powerpoint/2010/main" val="675363520"/>
      </p:ext>
    </p:extLst>
  </p:cSld>
  <p:clrMapOvr>
    <a:masterClrMapping/>
  </p:clrMapOvr>
  <p:transition/>
  <p:timing/>
</p:sldLayout>
</file>

<file path=ppt/slideLayouts/slideLayout13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ntact_Slide_2_people">
    <p:bg>
      <p:bgPr>
        <a:solidFill>
          <a:schemeClr val="bg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8" name="TextBox 7"/>
          <p:cNvSpPr txBox="1"/>
          <p:nvPr userDrawn="1"/>
        </p:nvSpPr>
        <p:spPr>
          <a:xfrm>
            <a:off x="2498883" y="2661694"/>
            <a:ext cx="2765320" cy="204775"/>
          </a:xfrm>
          <a:prstGeom prst="rect">
            <a:avLst/>
          </a:prstGeom>
        </p:spPr>
        <p:txBody>
          <a:bodyPr vert="horz" wrap="square" lIns="0" tIns="0" rIns="0" bIns="0" rtlCol="0">
            <a:noAutofit/>
          </a:bodyPr>
          <a:lstStyle/>
          <a:p>
            <a:pPr>
              <a:lnSpc>
                <a:spcPct val="80000"/>
              </a:lnSpc>
              <a:spcBef>
                <a:spcPts val="1800"/>
              </a:spcBef>
              <a:spcAft>
                <a:spcPts val="300"/>
              </a:spcAft>
            </a:pPr>
            <a:endParaRPr lang="en-US" sz="1600" cap="all">
              <a:latin typeface="+mj-lt"/>
            </a:endParaRPr>
          </a:p>
        </p:txBody>
      </p:sp>
      <p:sp>
        <p:nvSpPr>
          <p:cNvPr id="16" name="Picture Placeholder 13"/>
          <p:cNvSpPr>
            <a:spLocks noGrp="1"/>
          </p:cNvSpPr>
          <p:nvPr>
            <p:ph type="pic" sz="quarter" idx="36" hasCustomPrompt="1"/>
          </p:nvPr>
        </p:nvSpPr>
        <p:spPr>
          <a:xfrm>
            <a:off x="334963" y="1006475"/>
            <a:ext cx="1919287" cy="2535238"/>
          </a:xfrm>
          <a:solidFill>
            <a:schemeClr val="bg2">
              <a:lumMod val="20000"/>
              <a:lumOff val="80000"/>
            </a:schemeClr>
          </a:solidFill>
        </p:spPr>
        <p:txBody>
          <a:bodyPr/>
          <a:lstStyle>
            <a:lvl1pPr marL="0" marR="0" indent="0" algn="ctr" defTabSz="1734634" rtl="0" eaLnBrk="1" fontAlgn="auto" latinLnBrk="0" hangingPunct="1">
              <a:lnSpc>
                <a:spcPct val="100000"/>
              </a:lnSpc>
              <a:spcBef>
                <a:spcPts val="800"/>
              </a:spcBef>
              <a:spcAft>
                <a:spcPct val="0"/>
              </a:spcAft>
              <a:buClrTx/>
              <a:buSzTx/>
              <a:buFont typeface="Arial"/>
              <a:buNone/>
              <a:defRPr sz="140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p>
        </p:txBody>
      </p:sp>
      <p:sp>
        <p:nvSpPr>
          <p:cNvPr id="17" name="Picture Placeholder 13"/>
          <p:cNvSpPr>
            <a:spLocks noGrp="1"/>
          </p:cNvSpPr>
          <p:nvPr>
            <p:ph type="pic" sz="quarter" idx="37" hasCustomPrompt="1"/>
          </p:nvPr>
        </p:nvSpPr>
        <p:spPr>
          <a:xfrm>
            <a:off x="6268191" y="1006475"/>
            <a:ext cx="1919287" cy="2535238"/>
          </a:xfrm>
          <a:solidFill>
            <a:schemeClr val="bg2">
              <a:lumMod val="20000"/>
              <a:lumOff val="80000"/>
            </a:schemeClr>
          </a:solidFill>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140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p>
          <a:p>
            <a:endParaRPr lang="en-AU"/>
          </a:p>
        </p:txBody>
      </p:sp>
      <p:sp>
        <p:nvSpPr>
          <p:cNvPr id="5" name="Text Placeholder 4"/>
          <p:cNvSpPr>
            <a:spLocks noGrp="1"/>
          </p:cNvSpPr>
          <p:nvPr>
            <p:ph type="body" sz="quarter" idx="45" hasCustomPrompt="1"/>
          </p:nvPr>
        </p:nvSpPr>
        <p:spPr>
          <a:xfrm>
            <a:off x="334963" y="3756026"/>
            <a:ext cx="1919287" cy="1539874"/>
          </a:xfrm>
        </p:spPr>
        <p:txBody>
          <a:bodyPr/>
          <a:lstStyle>
            <a:lvl1pPr>
              <a:defRPr lang="en-US" sz="2000" b="0" i="0" kern="1200" cap="none" baseline="0" smtClean="0">
                <a:solidFill>
                  <a:schemeClr val="accent1"/>
                </a:solidFill>
                <a:latin typeface="+mj-lt"/>
                <a:ea typeface="Roboto Light" panose="02000000000000000000" pitchFamily="2" charset="0"/>
                <a:cs typeface="+mn-cs"/>
              </a:defRPr>
            </a:lvl1pPr>
            <a:lvl3pPr marL="0" indent="0">
              <a:buNone/>
              <a:defRPr sz="1600"/>
            </a:lvl3pPr>
          </a:lstStyle>
          <a:p>
            <a:pPr marL="0" marR="0" lvl="0" indent="0" algn="l" defTabSz="912517" rtl="0" eaLnBrk="1" fontAlgn="auto" latinLnBrk="0" hangingPunct="1">
              <a:lnSpc>
                <a:spcPct val="80000"/>
              </a:lnSpc>
              <a:spcBef>
                <a:spcPct val="0"/>
              </a:spcBef>
              <a:spcAft>
                <a:spcPct val="0"/>
              </a:spcAft>
              <a:buClrTx/>
              <a:buSzTx/>
              <a:buFont typeface="Arial"/>
              <a:buNone/>
              <a:defRPr/>
            </a:pPr>
            <a:r>
              <a:rPr lang="en-US"/>
              <a:t>FIRST NAME LAST NAME</a:t>
            </a:r>
          </a:p>
          <a:p>
            <a:pPr lvl="2"/>
            <a:r>
              <a:rPr lang="en-US"/>
              <a:t>Third level</a:t>
            </a:r>
          </a:p>
        </p:txBody>
      </p:sp>
      <p:sp>
        <p:nvSpPr>
          <p:cNvPr id="13" name="Text Placeholder 4"/>
          <p:cNvSpPr>
            <a:spLocks noGrp="1"/>
          </p:cNvSpPr>
          <p:nvPr>
            <p:ph type="body" sz="quarter" idx="46" hasCustomPrompt="1"/>
          </p:nvPr>
        </p:nvSpPr>
        <p:spPr>
          <a:xfrm>
            <a:off x="6268191" y="3756026"/>
            <a:ext cx="1919287" cy="1539874"/>
          </a:xfrm>
        </p:spPr>
        <p:txBody>
          <a:bodyPr/>
          <a:lstStyle>
            <a:lvl1pPr>
              <a:defRPr lang="en-US" sz="2000" b="0" i="0" kern="1200" cap="none" baseline="0" smtClean="0">
                <a:solidFill>
                  <a:schemeClr val="accent1"/>
                </a:solidFill>
                <a:latin typeface="+mj-lt"/>
                <a:ea typeface="Roboto Light" panose="02000000000000000000" pitchFamily="2" charset="0"/>
                <a:cs typeface="+mn-cs"/>
              </a:defRPr>
            </a:lvl1pPr>
            <a:lvl3pPr marL="0" indent="0">
              <a:buNone/>
              <a:defRPr sz="1600"/>
            </a:lvl3pPr>
          </a:lstStyle>
          <a:p>
            <a:pPr marL="0" marR="0" lvl="0" indent="0" algn="l" defTabSz="912517" rtl="0" eaLnBrk="1" fontAlgn="auto" latinLnBrk="0" hangingPunct="1">
              <a:lnSpc>
                <a:spcPct val="80000"/>
              </a:lnSpc>
              <a:spcBef>
                <a:spcPct val="0"/>
              </a:spcBef>
              <a:spcAft>
                <a:spcPct val="0"/>
              </a:spcAft>
              <a:buClrTx/>
              <a:buSzTx/>
              <a:buFont typeface="Arial"/>
              <a:buNone/>
              <a:defRPr/>
            </a:pPr>
            <a:r>
              <a:rPr lang="en-US"/>
              <a:t>FIRST NAME LAST NAME</a:t>
            </a:r>
          </a:p>
          <a:p>
            <a:pPr lvl="2"/>
            <a:r>
              <a:rPr lang="en-US"/>
              <a:t>Third level</a:t>
            </a:r>
          </a:p>
        </p:txBody>
      </p:sp>
    </p:spTree>
    <p:extLst>
      <p:ext uri="{BB962C8B-B14F-4D97-AF65-F5344CB8AC3E}">
        <p14:creationId xmlns:p14="http://schemas.microsoft.com/office/powerpoint/2010/main" val="3734981103"/>
      </p:ext>
    </p:extLst>
  </p:cSld>
  <p:clrMapOvr>
    <a:masterClrMapping/>
  </p:clrMapOvr>
  <p:transition/>
  <p:timing/>
</p:sldLayout>
</file>

<file path=ppt/slideLayouts/slideLayout13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umbnails_4">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6" name="Picture Placeholder 13"/>
          <p:cNvSpPr>
            <a:spLocks noGrp="1"/>
          </p:cNvSpPr>
          <p:nvPr>
            <p:ph type="pic" sz="quarter" idx="24" hasCustomPrompt="1"/>
          </p:nvPr>
        </p:nvSpPr>
        <p:spPr>
          <a:xfrm>
            <a:off x="1828800" y="1763713"/>
            <a:ext cx="1389888" cy="1828800"/>
          </a:xfrm>
          <a:solidFill>
            <a:schemeClr val="tx2">
              <a:lumMod val="20000"/>
              <a:lumOff val="80000"/>
            </a:schemeClr>
          </a:solidFill>
        </p:spPr>
        <p:txBody>
          <a:bodyPr anchor="ctr" anchorCtr="0"/>
          <a:lstStyle>
            <a:lvl1pPr algn="ctr">
              <a:defRPr sz="1050" cap="all" baseline="0"/>
            </a:lvl1pPr>
          </a:lstStyle>
          <a:p>
            <a:r>
              <a:rPr lang="en-US"/>
              <a:t>CLICK ON THE ICON TO INSERT IMAGE </a:t>
            </a:r>
            <a:br>
              <a:rPr lang="en-US"/>
            </a:br>
            <a:r>
              <a:rPr lang="en-US"/>
              <a:t>IN PLACEHOLDER AND USE THE CROP TOOL TO CENTER THE IMAGE</a:t>
            </a:r>
          </a:p>
        </p:txBody>
      </p:sp>
      <p:sp>
        <p:nvSpPr>
          <p:cNvPr id="40" name="Picture Placeholder 13"/>
          <p:cNvSpPr>
            <a:spLocks noGrp="1"/>
          </p:cNvSpPr>
          <p:nvPr>
            <p:ph type="pic" sz="quarter" idx="27" hasCustomPrompt="1"/>
          </p:nvPr>
        </p:nvSpPr>
        <p:spPr>
          <a:xfrm>
            <a:off x="6290310" y="1763713"/>
            <a:ext cx="1389888" cy="1828800"/>
          </a:xfrm>
          <a:solidFill>
            <a:schemeClr val="tx2">
              <a:lumMod val="20000"/>
              <a:lumOff val="80000"/>
            </a:schemeClr>
          </a:solidFill>
        </p:spPr>
        <p:txBody>
          <a:bodyPr anchor="ctr" anchorCtr="0"/>
          <a:lstStyle>
            <a:lvl1pPr algn="ctr">
              <a:defRPr sz="1050" cap="all" baseline="0"/>
            </a:lvl1pPr>
          </a:lstStyle>
          <a:p>
            <a:r>
              <a:rPr lang="en-US"/>
              <a:t>CLICK ON THE ICON TO INSERT IMAGE </a:t>
            </a:r>
            <a:br>
              <a:rPr lang="en-US"/>
            </a:br>
            <a:r>
              <a:rPr lang="en-US"/>
              <a:t>IN PLACEHOLDER AND USE THE CROP TOOL TO CENTER THE IMAGE</a:t>
            </a:r>
          </a:p>
        </p:txBody>
      </p:sp>
      <p:sp>
        <p:nvSpPr>
          <p:cNvPr id="52" name="Picture Placeholder 13"/>
          <p:cNvSpPr>
            <a:spLocks noGrp="1"/>
          </p:cNvSpPr>
          <p:nvPr>
            <p:ph type="pic" sz="quarter" idx="30" hasCustomPrompt="1"/>
          </p:nvPr>
        </p:nvSpPr>
        <p:spPr>
          <a:xfrm>
            <a:off x="1828800" y="3978274"/>
            <a:ext cx="1389888" cy="1828800"/>
          </a:xfrm>
          <a:solidFill>
            <a:schemeClr val="tx2">
              <a:lumMod val="20000"/>
              <a:lumOff val="80000"/>
            </a:schemeClr>
          </a:solidFill>
        </p:spPr>
        <p:txBody>
          <a:bodyPr anchor="ctr" anchorCtr="0"/>
          <a:lstStyle>
            <a:lvl1pPr algn="ctr">
              <a:defRPr sz="1050" cap="all" baseline="0"/>
            </a:lvl1pPr>
          </a:lstStyle>
          <a:p>
            <a:r>
              <a:rPr lang="en-US"/>
              <a:t>CLICK ON THE ICON TO INSERT IMAGE </a:t>
            </a:r>
            <a:br>
              <a:rPr lang="en-US"/>
            </a:br>
            <a:r>
              <a:rPr lang="en-US"/>
              <a:t>IN PLACEHOLDER AND USE THE CROP TOOL TO CENTER THE IMAGE</a:t>
            </a:r>
          </a:p>
        </p:txBody>
      </p:sp>
      <p:sp>
        <p:nvSpPr>
          <p:cNvPr id="56" name="Picture Placeholder 13"/>
          <p:cNvSpPr>
            <a:spLocks noGrp="1"/>
          </p:cNvSpPr>
          <p:nvPr>
            <p:ph type="pic" sz="quarter" idx="33" hasCustomPrompt="1"/>
          </p:nvPr>
        </p:nvSpPr>
        <p:spPr>
          <a:xfrm>
            <a:off x="6290310" y="3978274"/>
            <a:ext cx="1389888" cy="1828800"/>
          </a:xfrm>
          <a:solidFill>
            <a:schemeClr val="tx2">
              <a:lumMod val="20000"/>
              <a:lumOff val="80000"/>
            </a:schemeClr>
          </a:solidFill>
        </p:spPr>
        <p:txBody>
          <a:bodyPr anchor="ctr" anchorCtr="0"/>
          <a:lstStyle>
            <a:lvl1pPr algn="ctr">
              <a:defRPr sz="1050" cap="all" baseline="0"/>
            </a:lvl1pPr>
          </a:lstStyle>
          <a:p>
            <a:r>
              <a:rPr lang="en-US"/>
              <a:t>CLICK ON THE ICON TO INSERT IMAGE </a:t>
            </a:r>
            <a:br>
              <a:rPr lang="en-US"/>
            </a:br>
            <a:r>
              <a:rPr lang="en-US"/>
              <a:t>IN PLACEHOLDER AND USE THE CROP TOOL TO CENTER THE IMAGE</a:t>
            </a:r>
          </a:p>
        </p:txBody>
      </p:sp>
      <p:sp>
        <p:nvSpPr>
          <p:cNvPr id="2" name="Title 1"/>
          <p:cNvSpPr>
            <a:spLocks noGrp="1"/>
          </p:cNvSpPr>
          <p:nvPr>
            <p:ph type="title"/>
          </p:nvPr>
        </p:nvSpPr>
        <p:spPr/>
        <p:txBody>
          <a:bodyPr/>
          <a:lstStyle/>
          <a:p>
            <a:r>
              <a:rPr lang="en-US"/>
              <a:t>Click to edit Master title style</a:t>
            </a:r>
            <a:endParaRPr lang="en-AU"/>
          </a:p>
        </p:txBody>
      </p:sp>
      <p:sp>
        <p:nvSpPr>
          <p:cNvPr id="26" name="Text Placeholder 24"/>
          <p:cNvSpPr>
            <a:spLocks noGrp="1"/>
          </p:cNvSpPr>
          <p:nvPr>
            <p:ph type="body" sz="quarter" idx="36" hasCustomPrompt="1"/>
          </p:nvPr>
        </p:nvSpPr>
        <p:spPr>
          <a:xfrm>
            <a:off x="3434604" y="2822197"/>
            <a:ext cx="2160000" cy="770315"/>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27" name="Text Placeholder 4"/>
          <p:cNvSpPr>
            <a:spLocks noGrp="1"/>
          </p:cNvSpPr>
          <p:nvPr>
            <p:ph type="body" sz="quarter" idx="37" hasCustomPrompt="1"/>
          </p:nvPr>
        </p:nvSpPr>
        <p:spPr>
          <a:xfrm>
            <a:off x="3434604" y="1944324"/>
            <a:ext cx="2160000" cy="697921"/>
          </a:xfrm>
        </p:spPr>
        <p:txBody>
          <a:bodyPr anchor="b"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a:r>
            <a:br>
              <a:rPr lang="en-US" i="0" cap="all">
                <a:solidFill>
                  <a:schemeClr val="tx1"/>
                </a:solidFill>
                <a:latin typeface="+mn-lt"/>
                <a:ea typeface="Roboto Medium" panose="02000000000000000000" pitchFamily="2" charset="0"/>
                <a:cs typeface="Open Sans Semibold" panose="020b0706030804020204" pitchFamily="34" charset="0"/>
              </a:rPr>
            </a:br>
            <a:r>
              <a:rPr lang="en-US" i="0" cap="all">
                <a:solidFill>
                  <a:schemeClr val="tx1"/>
                </a:solidFill>
                <a:latin typeface="+mn-lt"/>
                <a:ea typeface="Roboto Medium" panose="02000000000000000000" pitchFamily="2" charset="0"/>
                <a:cs typeface="Open Sans Semibold" panose="020b0706030804020204" pitchFamily="34" charset="0"/>
              </a:rPr>
              <a:t>AT 16PT MIN 14PT MAX 3 LINES</a:t>
            </a:r>
          </a:p>
        </p:txBody>
      </p:sp>
      <p:sp>
        <p:nvSpPr>
          <p:cNvPr id="32" name="Text Placeholder 24"/>
          <p:cNvSpPr>
            <a:spLocks noGrp="1"/>
          </p:cNvSpPr>
          <p:nvPr>
            <p:ph type="body" sz="quarter" idx="38" hasCustomPrompt="1"/>
          </p:nvPr>
        </p:nvSpPr>
        <p:spPr>
          <a:xfrm>
            <a:off x="7896114" y="2822197"/>
            <a:ext cx="2160000" cy="770315"/>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33" name="Text Placeholder 4"/>
          <p:cNvSpPr>
            <a:spLocks noGrp="1"/>
          </p:cNvSpPr>
          <p:nvPr>
            <p:ph type="body" sz="quarter" idx="39" hasCustomPrompt="1"/>
          </p:nvPr>
        </p:nvSpPr>
        <p:spPr>
          <a:xfrm>
            <a:off x="7896114" y="1944324"/>
            <a:ext cx="2160000" cy="697921"/>
          </a:xfrm>
        </p:spPr>
        <p:txBody>
          <a:bodyPr anchor="b"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a:r>
            <a:br>
              <a:rPr lang="en-US" i="0" cap="all">
                <a:solidFill>
                  <a:schemeClr val="tx1"/>
                </a:solidFill>
                <a:latin typeface="+mn-lt"/>
                <a:ea typeface="Roboto Medium" panose="02000000000000000000" pitchFamily="2" charset="0"/>
                <a:cs typeface="Open Sans Semibold" panose="020b0706030804020204" pitchFamily="34" charset="0"/>
              </a:rPr>
            </a:br>
            <a:r>
              <a:rPr lang="en-US" i="0" cap="all">
                <a:solidFill>
                  <a:schemeClr val="tx1"/>
                </a:solidFill>
                <a:latin typeface="+mn-lt"/>
                <a:ea typeface="Roboto Medium" panose="02000000000000000000" pitchFamily="2" charset="0"/>
                <a:cs typeface="Open Sans Semibold" panose="020b0706030804020204" pitchFamily="34" charset="0"/>
              </a:rPr>
              <a:t>AT 16PT MIN 14PT MAX 3 LINES</a:t>
            </a:r>
          </a:p>
        </p:txBody>
      </p:sp>
      <p:sp>
        <p:nvSpPr>
          <p:cNvPr id="49" name="Text Placeholder 24"/>
          <p:cNvSpPr>
            <a:spLocks noGrp="1"/>
          </p:cNvSpPr>
          <p:nvPr>
            <p:ph type="body" sz="quarter" idx="40" hasCustomPrompt="1"/>
          </p:nvPr>
        </p:nvSpPr>
        <p:spPr>
          <a:xfrm>
            <a:off x="3434604" y="5041059"/>
            <a:ext cx="2160000" cy="770315"/>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50" name="Text Placeholder 4"/>
          <p:cNvSpPr>
            <a:spLocks noGrp="1"/>
          </p:cNvSpPr>
          <p:nvPr>
            <p:ph type="body" sz="quarter" idx="41" hasCustomPrompt="1"/>
          </p:nvPr>
        </p:nvSpPr>
        <p:spPr>
          <a:xfrm>
            <a:off x="3434604" y="4163186"/>
            <a:ext cx="2160000" cy="697921"/>
          </a:xfrm>
        </p:spPr>
        <p:txBody>
          <a:bodyPr anchor="b"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a:r>
            <a:br>
              <a:rPr lang="en-US" i="0" cap="all">
                <a:solidFill>
                  <a:schemeClr val="tx1"/>
                </a:solidFill>
                <a:latin typeface="+mn-lt"/>
                <a:ea typeface="Roboto Medium" panose="02000000000000000000" pitchFamily="2" charset="0"/>
                <a:cs typeface="Open Sans Semibold" panose="020b0706030804020204" pitchFamily="34" charset="0"/>
              </a:rPr>
            </a:br>
            <a:r>
              <a:rPr lang="en-US" i="0" cap="all">
                <a:solidFill>
                  <a:schemeClr val="tx1"/>
                </a:solidFill>
                <a:latin typeface="+mn-lt"/>
                <a:ea typeface="Roboto Medium" panose="02000000000000000000" pitchFamily="2" charset="0"/>
                <a:cs typeface="Open Sans Semibold" panose="020b0706030804020204" pitchFamily="34" charset="0"/>
              </a:rPr>
              <a:t>AT 16PT MIN 14PT MAX 3 LINES</a:t>
            </a:r>
          </a:p>
        </p:txBody>
      </p:sp>
      <p:sp>
        <p:nvSpPr>
          <p:cNvPr id="60" name="Text Placeholder 24"/>
          <p:cNvSpPr>
            <a:spLocks noGrp="1"/>
          </p:cNvSpPr>
          <p:nvPr>
            <p:ph type="body" sz="quarter" idx="42" hasCustomPrompt="1"/>
          </p:nvPr>
        </p:nvSpPr>
        <p:spPr>
          <a:xfrm>
            <a:off x="7896114" y="5041059"/>
            <a:ext cx="2160000" cy="770315"/>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61" name="Text Placeholder 4"/>
          <p:cNvSpPr>
            <a:spLocks noGrp="1"/>
          </p:cNvSpPr>
          <p:nvPr>
            <p:ph type="body" sz="quarter" idx="43" hasCustomPrompt="1"/>
          </p:nvPr>
        </p:nvSpPr>
        <p:spPr>
          <a:xfrm>
            <a:off x="7896114" y="4163186"/>
            <a:ext cx="2160000" cy="697921"/>
          </a:xfrm>
        </p:spPr>
        <p:txBody>
          <a:bodyPr anchor="b"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a:r>
            <a:br>
              <a:rPr lang="en-US" i="0" cap="all">
                <a:solidFill>
                  <a:schemeClr val="tx1"/>
                </a:solidFill>
                <a:latin typeface="+mn-lt"/>
                <a:ea typeface="Roboto Medium" panose="02000000000000000000" pitchFamily="2" charset="0"/>
                <a:cs typeface="Open Sans Semibold" panose="020b0706030804020204" pitchFamily="34" charset="0"/>
              </a:rPr>
            </a:br>
            <a:r>
              <a:rPr lang="en-US" i="0" cap="all">
                <a:solidFill>
                  <a:schemeClr val="tx1"/>
                </a:solidFill>
                <a:latin typeface="+mn-lt"/>
                <a:ea typeface="Roboto Medium" panose="02000000000000000000" pitchFamily="2" charset="0"/>
                <a:cs typeface="Open Sans Semibold" panose="020b0706030804020204" pitchFamily="34" charset="0"/>
              </a:rPr>
              <a:t>AT 16PT MIN 14PT MAX 3 LINES</a:t>
            </a:r>
          </a:p>
        </p:txBody>
      </p:sp>
    </p:spTree>
    <p:extLst>
      <p:ext uri="{BB962C8B-B14F-4D97-AF65-F5344CB8AC3E}">
        <p14:creationId xmlns:p14="http://schemas.microsoft.com/office/powerpoint/2010/main" val="2978886759"/>
      </p:ext>
    </p:extLst>
  </p:cSld>
  <p:clrMapOvr>
    <a:masterClrMapping/>
  </p:clrMapOvr>
  <p:transition/>
  <p:timing/>
</p:sldLayout>
</file>

<file path=ppt/slideLayouts/slideLayout13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Tumbnails_3">
    <p:spTree>
      <p:nvGrpSpPr>
        <p:cNvPr id="1" name=""/>
        <p:cNvGrpSpPr/>
        <p:nvPr/>
      </p:nvGrpSpPr>
      <p:grpSpPr>
        <a:xfrm>
          <a:off x="0" y="0"/>
          <a:ext cx="0" cy="0"/>
        </a:xfrm>
      </p:grpSpPr>
      <p:sp>
        <p:nvSpPr>
          <p:cNvPr id="74" name="Picture Placeholder 7"/>
          <p:cNvSpPr>
            <a:spLocks noGrp="1"/>
          </p:cNvSpPr>
          <p:nvPr>
            <p:ph type="pic" sz="quarter" idx="12" hasCustomPrompt="1"/>
          </p:nvPr>
        </p:nvSpPr>
        <p:spPr>
          <a:xfrm>
            <a:off x="334963" y="1763713"/>
            <a:ext cx="1400175" cy="1828800"/>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
        <p:nvSpPr>
          <p:cNvPr id="75" name="Picture Placeholder 7"/>
          <p:cNvSpPr>
            <a:spLocks noGrp="1"/>
          </p:cNvSpPr>
          <p:nvPr>
            <p:ph type="pic" sz="quarter" idx="13" hasCustomPrompt="1"/>
          </p:nvPr>
        </p:nvSpPr>
        <p:spPr>
          <a:xfrm>
            <a:off x="4282701" y="1763713"/>
            <a:ext cx="1400175" cy="1828800"/>
          </a:xfrm>
          <a:solidFill>
            <a:schemeClr val="bg1">
              <a:lumMod val="95000"/>
            </a:schemeClr>
          </a:solidFill>
        </p:spPr>
        <p:txBody>
          <a:bodyPr/>
          <a:lstStyle>
            <a:lvl1pPr>
              <a:defRPr sz="1100"/>
            </a:lvl1pPr>
          </a:lstStyle>
          <a:p>
            <a:r>
              <a:rPr lang="en-US"/>
              <a:t>CLICK ON THE ICON TO INSERT IMAGE </a:t>
            </a:r>
            <a:br>
              <a:rPr lang="en-US"/>
            </a:br>
            <a:r>
              <a:rPr lang="en-US"/>
              <a:t>IN PLACEHOLDER AND USE THE CROP TOOL TO CENTER THE IMAGE</a:t>
            </a:r>
            <a:endParaRPr lang="en-AU"/>
          </a:p>
        </p:txBody>
      </p:sp>
      <p:sp>
        <p:nvSpPr>
          <p:cNvPr id="76" name="Picture Placeholder 7"/>
          <p:cNvSpPr>
            <a:spLocks noGrp="1"/>
          </p:cNvSpPr>
          <p:nvPr>
            <p:ph type="pic" sz="quarter" idx="14" hasCustomPrompt="1"/>
          </p:nvPr>
        </p:nvSpPr>
        <p:spPr>
          <a:xfrm>
            <a:off x="8198160" y="1763713"/>
            <a:ext cx="1400175" cy="1828800"/>
          </a:xfrm>
          <a:solidFill>
            <a:schemeClr val="bg1">
              <a:lumMod val="95000"/>
            </a:schemeClr>
          </a:solidFill>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110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a:p>
            <a:endParaRPr lang="en-AU"/>
          </a:p>
        </p:txBody>
      </p:sp>
      <p:sp>
        <p:nvSpPr>
          <p:cNvPr id="77" name="Title 1"/>
          <p:cNvSpPr>
            <a:spLocks noGrp="1"/>
          </p:cNvSpPr>
          <p:nvPr>
            <p:ph type="title"/>
          </p:nvPr>
        </p:nvSpPr>
        <p:spPr>
          <a:xfrm>
            <a:off x="340256" y="332076"/>
            <a:ext cx="10027707" cy="776139"/>
          </a:xfrm>
        </p:spPr>
        <p:txBody>
          <a:bodyPr/>
          <a:lstStyle/>
          <a:p>
            <a:r>
              <a:rPr lang="en-US"/>
              <a:t>Click to edit Master title style</a:t>
            </a:r>
            <a:endParaRPr lang="en-AU"/>
          </a:p>
        </p:txBody>
      </p:sp>
      <p:sp>
        <p:nvSpPr>
          <p:cNvPr id="78" name="Text Placeholder 4"/>
          <p:cNvSpPr>
            <a:spLocks noGrp="1"/>
          </p:cNvSpPr>
          <p:nvPr>
            <p:ph type="body" sz="quarter" idx="26" hasCustomPrompt="1"/>
          </p:nvPr>
        </p:nvSpPr>
        <p:spPr>
          <a:xfrm>
            <a:off x="1828800" y="2066546"/>
            <a:ext cx="2160000" cy="443198"/>
          </a:xfrm>
        </p:spPr>
        <p:txBody>
          <a:bodyPr wrap="square" anchor="b" anchorCtr="0">
            <a:spAutoFit/>
          </a:bodyPr>
          <a:lstStyle>
            <a:lvl1pPr>
              <a:lnSpc>
                <a:spcPct val="80000"/>
              </a:lnSpc>
              <a:spcBef>
                <a:spcPct val="0"/>
              </a:spcBef>
              <a:defRPr sz="1800" cap="all" baseline="0">
                <a:solidFill>
                  <a:schemeClr val="accent1"/>
                </a:solidFill>
                <a:latin typeface="+mj-lt"/>
              </a:defRPr>
            </a:lvl1pPr>
          </a:lstStyle>
          <a:p>
            <a:pPr lvl="0"/>
            <a:r>
              <a:rPr lang="en-US"/>
              <a:t>First name</a:t>
            </a:r>
            <a:br>
              <a:rPr lang="en-US"/>
            </a:br>
            <a:r>
              <a:rPr lang="en-US"/>
              <a:t>Last name</a:t>
            </a:r>
          </a:p>
        </p:txBody>
      </p:sp>
      <p:sp>
        <p:nvSpPr>
          <p:cNvPr id="79" name="Text Placeholder 24"/>
          <p:cNvSpPr>
            <a:spLocks noGrp="1"/>
          </p:cNvSpPr>
          <p:nvPr>
            <p:ph type="body" sz="quarter" idx="36" hasCustomPrompt="1"/>
          </p:nvPr>
        </p:nvSpPr>
        <p:spPr>
          <a:xfrm>
            <a:off x="1828801" y="2698290"/>
            <a:ext cx="2160000" cy="770315"/>
          </a:xfrm>
        </p:spPr>
        <p:txBody>
          <a:bodyPr vert="horz" wrap="square" lIns="0" tIns="0" rIns="0" bIns="0" rtlCol="0">
            <a:noAutofit/>
          </a:bodyPr>
          <a:lstStyle>
            <a:lvl1pPr marL="0" marR="0" indent="0" algn="l" defTabSz="912517" rtl="0" eaLnBrk="1" fontAlgn="base" latinLnBrk="0" hangingPunct="1">
              <a:lnSpc>
                <a:spcPct val="100000"/>
              </a:lnSpc>
              <a:spcBef>
                <a:spcPct val="0"/>
              </a:spcBef>
              <a:spcAft>
                <a:spcPct val="0"/>
              </a:spcAft>
              <a:buClrTx/>
              <a:buSzTx/>
              <a:buFont typeface="Arial" panose="020b0604020202020204" pitchFamily="34" charset="0"/>
              <a:buNone/>
              <a:defRPr lang="en-US" sz="1400" smtClean="0">
                <a:ea typeface="Roboto Light" panose="02000000000000000000" pitchFamily="2" charset="0"/>
                <a:cs typeface="Arial" panose="020b0604020202020204" pitchFamily="34" charset="0"/>
              </a:defRPr>
            </a:lvl1pPr>
          </a:lstStyle>
          <a:p>
            <a:pPr marL="0" marR="0" lvl="0" indent="0" algn="l" defTabSz="912517" rtl="0" eaLnBrk="1" fontAlgn="base" latinLnBrk="0" hangingPunct="1">
              <a:lnSpc>
                <a:spcPct val="100000"/>
              </a:lnSpc>
              <a:spcBef>
                <a:spcPct val="0"/>
              </a:spcBef>
              <a:spcAft>
                <a:spcPct val="0"/>
              </a:spcAft>
              <a:buClrTx/>
              <a:buSzTx/>
              <a:buFont typeface="Arial" panose="020b0604020202020204" pitchFamily="34" charset="0"/>
              <a:buNone/>
              <a:defRPr/>
            </a:pPr>
            <a:r>
              <a:rPr lang="en-US" sz="1400" b="0" i="0">
                <a:solidFill>
                  <a:schemeClr val="tx1"/>
                </a:solidFill>
                <a:latin typeface="+mn-lt"/>
                <a:ea typeface="Roboto Light" panose="02000000000000000000" pitchFamily="2" charset="0"/>
              </a:rPr>
              <a:t>Job Position, </a:t>
            </a:r>
            <a:br>
              <a:rPr lang="en-US" sz="1400" b="0" i="0">
                <a:solidFill>
                  <a:schemeClr val="tx1"/>
                </a:solidFill>
                <a:latin typeface="+mn-lt"/>
                <a:ea typeface="Roboto Light" panose="02000000000000000000" pitchFamily="2" charset="0"/>
              </a:rPr>
            </a:br>
            <a:r>
              <a:rPr lang="en-US" sz="1400" b="0" i="0">
                <a:solidFill>
                  <a:schemeClr val="tx1"/>
                </a:solidFill>
                <a:latin typeface="+mn-lt"/>
                <a:ea typeface="Roboto Light" panose="02000000000000000000" pitchFamily="2" charset="0"/>
              </a:rPr>
              <a:t>Accenture Operations</a:t>
            </a:r>
          </a:p>
        </p:txBody>
      </p:sp>
      <p:sp>
        <p:nvSpPr>
          <p:cNvPr id="80" name="Text Placeholder 4"/>
          <p:cNvSpPr>
            <a:spLocks noGrp="1"/>
          </p:cNvSpPr>
          <p:nvPr>
            <p:ph type="body" sz="quarter" idx="37" hasCustomPrompt="1"/>
          </p:nvPr>
        </p:nvSpPr>
        <p:spPr>
          <a:xfrm>
            <a:off x="5766483" y="2066546"/>
            <a:ext cx="2160000" cy="443198"/>
          </a:xfrm>
        </p:spPr>
        <p:txBody>
          <a:bodyPr anchor="b" anchorCtr="0">
            <a:spAutoFit/>
          </a:bodyPr>
          <a:lstStyle>
            <a:lvl1pPr>
              <a:lnSpc>
                <a:spcPct val="80000"/>
              </a:lnSpc>
              <a:spcBef>
                <a:spcPct val="0"/>
              </a:spcBef>
              <a:defRPr sz="1800" cap="all" baseline="0">
                <a:solidFill>
                  <a:schemeClr val="accent1"/>
                </a:solidFill>
                <a:latin typeface="+mj-lt"/>
              </a:defRPr>
            </a:lvl1pPr>
          </a:lstStyle>
          <a:p>
            <a:pPr lvl="0"/>
            <a:r>
              <a:rPr lang="en-US"/>
              <a:t>First name</a:t>
            </a:r>
            <a:br>
              <a:rPr lang="en-US"/>
            </a:br>
            <a:r>
              <a:rPr lang="en-US"/>
              <a:t>Last name</a:t>
            </a:r>
          </a:p>
        </p:txBody>
      </p:sp>
      <p:sp>
        <p:nvSpPr>
          <p:cNvPr id="81" name="Text Placeholder 24"/>
          <p:cNvSpPr>
            <a:spLocks noGrp="1"/>
          </p:cNvSpPr>
          <p:nvPr>
            <p:ph type="body" sz="quarter" idx="38" hasCustomPrompt="1"/>
          </p:nvPr>
        </p:nvSpPr>
        <p:spPr>
          <a:xfrm>
            <a:off x="5766483" y="2698290"/>
            <a:ext cx="2160000" cy="770315"/>
          </a:xfrm>
        </p:spPr>
        <p:txBody>
          <a:bodyPr vert="horz" wrap="square" lIns="0" tIns="0" rIns="0" bIns="0" rtlCol="0">
            <a:noAutofit/>
          </a:bodyPr>
          <a:lstStyle>
            <a:lvl1pPr marL="0" marR="0" indent="0" algn="l" defTabSz="912517" rtl="0" eaLnBrk="1" fontAlgn="base" latinLnBrk="0" hangingPunct="1">
              <a:lnSpc>
                <a:spcPct val="100000"/>
              </a:lnSpc>
              <a:spcBef>
                <a:spcPct val="0"/>
              </a:spcBef>
              <a:spcAft>
                <a:spcPct val="0"/>
              </a:spcAft>
              <a:buClrTx/>
              <a:buSzTx/>
              <a:buFont typeface="Arial" panose="020b0604020202020204" pitchFamily="34" charset="0"/>
              <a:buNone/>
              <a:defRPr lang="en-US" sz="1400" smtClean="0">
                <a:ea typeface="Roboto Light" panose="02000000000000000000" pitchFamily="2" charset="0"/>
                <a:cs typeface="Arial" panose="020b0604020202020204" pitchFamily="34" charset="0"/>
              </a:defRPr>
            </a:lvl1pPr>
          </a:lstStyle>
          <a:p>
            <a:pPr marL="0" marR="0" lvl="0" indent="0" algn="l" defTabSz="912517" rtl="0" eaLnBrk="1" fontAlgn="base" latinLnBrk="0" hangingPunct="1">
              <a:lnSpc>
                <a:spcPct val="100000"/>
              </a:lnSpc>
              <a:spcBef>
                <a:spcPct val="0"/>
              </a:spcBef>
              <a:spcAft>
                <a:spcPct val="0"/>
              </a:spcAft>
              <a:buClrTx/>
              <a:buSzTx/>
              <a:buFont typeface="Arial" panose="020b0604020202020204" pitchFamily="34" charset="0"/>
              <a:buNone/>
              <a:defRPr/>
            </a:pPr>
            <a:r>
              <a:rPr lang="en-US" sz="1400" b="0" i="0">
                <a:solidFill>
                  <a:schemeClr val="tx1"/>
                </a:solidFill>
                <a:latin typeface="+mn-lt"/>
                <a:ea typeface="Roboto Light" panose="02000000000000000000" pitchFamily="2" charset="0"/>
              </a:rPr>
              <a:t>Job Position, </a:t>
            </a:r>
            <a:br>
              <a:rPr lang="en-US" sz="1400" b="0" i="0">
                <a:solidFill>
                  <a:schemeClr val="tx1"/>
                </a:solidFill>
                <a:latin typeface="+mn-lt"/>
                <a:ea typeface="Roboto Light" panose="02000000000000000000" pitchFamily="2" charset="0"/>
              </a:rPr>
            </a:br>
            <a:r>
              <a:rPr lang="en-US" sz="1400" b="0" i="0">
                <a:solidFill>
                  <a:schemeClr val="tx1"/>
                </a:solidFill>
                <a:latin typeface="+mn-lt"/>
                <a:ea typeface="Roboto Light" panose="02000000000000000000" pitchFamily="2" charset="0"/>
              </a:rPr>
              <a:t>Accenture Operations</a:t>
            </a:r>
          </a:p>
        </p:txBody>
      </p:sp>
      <p:sp>
        <p:nvSpPr>
          <p:cNvPr id="82" name="Text Placeholder 4"/>
          <p:cNvSpPr>
            <a:spLocks noGrp="1"/>
          </p:cNvSpPr>
          <p:nvPr>
            <p:ph type="body" sz="quarter" idx="39" hasCustomPrompt="1"/>
          </p:nvPr>
        </p:nvSpPr>
        <p:spPr>
          <a:xfrm>
            <a:off x="9681942" y="2066546"/>
            <a:ext cx="2160000" cy="443198"/>
          </a:xfrm>
        </p:spPr>
        <p:txBody>
          <a:bodyPr anchor="b" anchorCtr="0">
            <a:spAutoFit/>
          </a:bodyPr>
          <a:lstStyle>
            <a:lvl1pPr>
              <a:lnSpc>
                <a:spcPct val="80000"/>
              </a:lnSpc>
              <a:spcBef>
                <a:spcPct val="0"/>
              </a:spcBef>
              <a:defRPr sz="1800" cap="all" baseline="0">
                <a:solidFill>
                  <a:schemeClr val="accent1"/>
                </a:solidFill>
                <a:latin typeface="+mj-lt"/>
              </a:defRPr>
            </a:lvl1pPr>
          </a:lstStyle>
          <a:p>
            <a:pPr lvl="0"/>
            <a:r>
              <a:rPr lang="en-US"/>
              <a:t>First name</a:t>
            </a:r>
            <a:br>
              <a:rPr lang="en-US"/>
            </a:br>
            <a:r>
              <a:rPr lang="en-US"/>
              <a:t>Last name</a:t>
            </a:r>
          </a:p>
        </p:txBody>
      </p:sp>
      <p:sp>
        <p:nvSpPr>
          <p:cNvPr id="83" name="Text Placeholder 24"/>
          <p:cNvSpPr>
            <a:spLocks noGrp="1"/>
          </p:cNvSpPr>
          <p:nvPr>
            <p:ph type="body" sz="quarter" idx="40" hasCustomPrompt="1"/>
          </p:nvPr>
        </p:nvSpPr>
        <p:spPr>
          <a:xfrm>
            <a:off x="9681942" y="2698290"/>
            <a:ext cx="2160000" cy="770315"/>
          </a:xfrm>
        </p:spPr>
        <p:txBody>
          <a:bodyPr vert="horz" wrap="square" lIns="0" tIns="0" rIns="0" bIns="0" rtlCol="0">
            <a:noAutofit/>
          </a:bodyPr>
          <a:lstStyle>
            <a:lvl1pPr marL="0" marR="0" indent="0" algn="l" defTabSz="912517" rtl="0" eaLnBrk="1" fontAlgn="base" latinLnBrk="0" hangingPunct="1">
              <a:lnSpc>
                <a:spcPct val="100000"/>
              </a:lnSpc>
              <a:spcBef>
                <a:spcPct val="0"/>
              </a:spcBef>
              <a:spcAft>
                <a:spcPct val="0"/>
              </a:spcAft>
              <a:buClrTx/>
              <a:buSzTx/>
              <a:buFont typeface="Arial" panose="020b0604020202020204" pitchFamily="34" charset="0"/>
              <a:buNone/>
              <a:defRPr lang="en-US" sz="1400" smtClean="0">
                <a:ea typeface="Roboto Light" panose="02000000000000000000" pitchFamily="2" charset="0"/>
                <a:cs typeface="Arial" panose="020b0604020202020204" pitchFamily="34" charset="0"/>
              </a:defRPr>
            </a:lvl1pPr>
          </a:lstStyle>
          <a:p>
            <a:pPr marL="0" marR="0" lvl="0" indent="0" algn="l" defTabSz="912517" rtl="0" eaLnBrk="1" fontAlgn="base" latinLnBrk="0" hangingPunct="1">
              <a:lnSpc>
                <a:spcPct val="100000"/>
              </a:lnSpc>
              <a:spcBef>
                <a:spcPct val="0"/>
              </a:spcBef>
              <a:spcAft>
                <a:spcPct val="0"/>
              </a:spcAft>
              <a:buClrTx/>
              <a:buSzTx/>
              <a:buFont typeface="Arial" panose="020b0604020202020204" pitchFamily="34" charset="0"/>
              <a:buNone/>
              <a:defRPr/>
            </a:pPr>
            <a:r>
              <a:rPr lang="en-US" sz="1400" b="0" i="0">
                <a:solidFill>
                  <a:schemeClr val="tx1"/>
                </a:solidFill>
                <a:latin typeface="+mn-lt"/>
                <a:ea typeface="Roboto Light" panose="02000000000000000000" pitchFamily="2" charset="0"/>
              </a:rPr>
              <a:t>Job Position, </a:t>
            </a:r>
            <a:br>
              <a:rPr lang="en-US" sz="1400" b="0" i="0">
                <a:solidFill>
                  <a:schemeClr val="tx1"/>
                </a:solidFill>
                <a:latin typeface="+mn-lt"/>
                <a:ea typeface="Roboto Light" panose="02000000000000000000" pitchFamily="2" charset="0"/>
              </a:rPr>
            </a:br>
            <a:r>
              <a:rPr lang="en-US" sz="1400" b="0" i="0">
                <a:solidFill>
                  <a:schemeClr val="tx1"/>
                </a:solidFill>
                <a:latin typeface="+mn-lt"/>
                <a:ea typeface="Roboto Light" panose="02000000000000000000" pitchFamily="2" charset="0"/>
              </a:rPr>
              <a:t>Accenture Operations</a:t>
            </a:r>
          </a:p>
        </p:txBody>
      </p:sp>
      <p:sp>
        <p:nvSpPr>
          <p:cNvPr id="85" name="Text Placeholder 24"/>
          <p:cNvSpPr>
            <a:spLocks noGrp="1"/>
          </p:cNvSpPr>
          <p:nvPr>
            <p:ph type="body" sz="quarter" idx="41" hasCustomPrompt="1"/>
          </p:nvPr>
        </p:nvSpPr>
        <p:spPr>
          <a:xfrm>
            <a:off x="334963" y="3794047"/>
            <a:ext cx="3653838" cy="2263853"/>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86" name="Text Placeholder 24"/>
          <p:cNvSpPr>
            <a:spLocks noGrp="1"/>
          </p:cNvSpPr>
          <p:nvPr>
            <p:ph type="body" sz="quarter" idx="42" hasCustomPrompt="1"/>
          </p:nvPr>
        </p:nvSpPr>
        <p:spPr>
          <a:xfrm>
            <a:off x="4282701" y="3794047"/>
            <a:ext cx="3653838" cy="2263853"/>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87" name="Text Placeholder 24"/>
          <p:cNvSpPr>
            <a:spLocks noGrp="1"/>
          </p:cNvSpPr>
          <p:nvPr>
            <p:ph type="body" sz="quarter" idx="43" hasCustomPrompt="1"/>
          </p:nvPr>
        </p:nvSpPr>
        <p:spPr>
          <a:xfrm>
            <a:off x="8201612" y="3794047"/>
            <a:ext cx="3653838" cy="2263853"/>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22" name="Footer Placeholder 2"/>
          <p:cNvSpPr>
            <a:spLocks noGrp="1"/>
          </p:cNvSpPr>
          <p:nvPr>
            <p:ph type="ftr" sz="quarter" idx="10"/>
          </p:nvPr>
        </p:nvSpPr>
        <p:spPr>
          <a:xfrm>
            <a:off x="7410450" y="6386400"/>
            <a:ext cx="4114800" cy="140400"/>
          </a:xfrm>
        </p:spPr>
        <p:txBody>
          <a:bodyPr/>
          <a:lstStyle/>
          <a:p>
            <a:r>
              <a:rPr lang="en-US"/>
              <a:t>Copyright © 2017 Accenture. All rights reserved.</a:t>
            </a:r>
            <a:endParaRPr lang="en-GB"/>
          </a:p>
        </p:txBody>
      </p:sp>
      <p:sp>
        <p:nvSpPr>
          <p:cNvPr id="23" name="Slide Number Placeholder 3"/>
          <p:cNvSpPr>
            <a:spLocks noGrp="1"/>
          </p:cNvSpPr>
          <p:nvPr>
            <p:ph type="sldNum" sz="quarter" idx="11"/>
          </p:nvPr>
        </p:nvSpPr>
        <p:spPr>
          <a:xfrm>
            <a:off x="11639450" y="6386400"/>
            <a:ext cx="216000" cy="140400"/>
          </a:xfrm>
        </p:spPr>
        <p:txBody>
          <a:bodyPr/>
          <a:lstStyle/>
          <a:p>
            <a:fld id="{17D800ED-CB1B-4EBC-A0D2-2190AF4D8872}" type="slidenum">
              <a:rPr lang="en-GB" smtClean="0"/>
              <a:t>‹#›</a:t>
            </a:fld>
            <a:endParaRPr lang="en-GB"/>
          </a:p>
        </p:txBody>
      </p:sp>
    </p:spTree>
    <p:extLst>
      <p:ext uri="{BB962C8B-B14F-4D97-AF65-F5344CB8AC3E}">
        <p14:creationId xmlns:p14="http://schemas.microsoft.com/office/powerpoint/2010/main" val="3107740584"/>
      </p:ext>
    </p:extLst>
  </p:cSld>
  <p:clrMapOvr>
    <a:masterClrMapping/>
  </p:clrMapOvr>
  <p:transition/>
  <p:timing/>
</p:sldLayout>
</file>

<file path=ppt/slideLayouts/slideLayout13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ntacts_3">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8" name="Picture Placeholder 13"/>
          <p:cNvSpPr>
            <a:spLocks noGrp="1"/>
          </p:cNvSpPr>
          <p:nvPr>
            <p:ph type="pic" sz="quarter" idx="21" hasCustomPrompt="1"/>
          </p:nvPr>
        </p:nvSpPr>
        <p:spPr>
          <a:xfrm>
            <a:off x="334899" y="2398714"/>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39" name="Straight Arrow Connector 38"/>
          <p:cNvCxnSpPr/>
          <p:nvPr userDrawn="1"/>
        </p:nvCxnSpPr>
        <p:spPr>
          <a:xfrm flipH="1">
            <a:off x="1941815" y="3424200"/>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0" name="Text Placeholder 24"/>
          <p:cNvSpPr>
            <a:spLocks noGrp="1"/>
          </p:cNvSpPr>
          <p:nvPr>
            <p:ph type="body" sz="quarter" idx="22" hasCustomPrompt="1"/>
          </p:nvPr>
        </p:nvSpPr>
        <p:spPr>
          <a:xfrm>
            <a:off x="1941819" y="3530223"/>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41" name="Text Placeholder 4"/>
          <p:cNvSpPr>
            <a:spLocks noGrp="1"/>
          </p:cNvSpPr>
          <p:nvPr>
            <p:ph type="body" sz="quarter" idx="23" hasCustomPrompt="1"/>
          </p:nvPr>
        </p:nvSpPr>
        <p:spPr>
          <a:xfrm>
            <a:off x="1941261" y="2820671"/>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46" name="Picture Placeholder 13"/>
          <p:cNvSpPr>
            <a:spLocks noGrp="1"/>
          </p:cNvSpPr>
          <p:nvPr>
            <p:ph type="pic" sz="quarter" idx="24" hasCustomPrompt="1"/>
          </p:nvPr>
        </p:nvSpPr>
        <p:spPr>
          <a:xfrm>
            <a:off x="4284630" y="2398714"/>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47" name="Straight Arrow Connector 46"/>
          <p:cNvCxnSpPr/>
          <p:nvPr userDrawn="1"/>
        </p:nvCxnSpPr>
        <p:spPr>
          <a:xfrm flipH="1">
            <a:off x="5891546" y="3424200"/>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8" name="Text Placeholder 24"/>
          <p:cNvSpPr>
            <a:spLocks noGrp="1"/>
          </p:cNvSpPr>
          <p:nvPr>
            <p:ph type="body" sz="quarter" idx="25" hasCustomPrompt="1"/>
          </p:nvPr>
        </p:nvSpPr>
        <p:spPr>
          <a:xfrm>
            <a:off x="5891550" y="3530223"/>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49" name="Text Placeholder 4"/>
          <p:cNvSpPr>
            <a:spLocks noGrp="1"/>
          </p:cNvSpPr>
          <p:nvPr>
            <p:ph type="body" sz="quarter" idx="26" hasCustomPrompt="1"/>
          </p:nvPr>
        </p:nvSpPr>
        <p:spPr>
          <a:xfrm>
            <a:off x="5890992" y="2820671"/>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54" name="Picture Placeholder 13"/>
          <p:cNvSpPr>
            <a:spLocks noGrp="1"/>
          </p:cNvSpPr>
          <p:nvPr>
            <p:ph type="pic" sz="quarter" idx="27" hasCustomPrompt="1"/>
          </p:nvPr>
        </p:nvSpPr>
        <p:spPr>
          <a:xfrm>
            <a:off x="8234426" y="2398714"/>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55" name="Straight Arrow Connector 54"/>
          <p:cNvCxnSpPr/>
          <p:nvPr userDrawn="1"/>
        </p:nvCxnSpPr>
        <p:spPr>
          <a:xfrm flipH="1">
            <a:off x="9841342" y="3424200"/>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6" name="Text Placeholder 24"/>
          <p:cNvSpPr>
            <a:spLocks noGrp="1"/>
          </p:cNvSpPr>
          <p:nvPr>
            <p:ph type="body" sz="quarter" idx="28" hasCustomPrompt="1"/>
          </p:nvPr>
        </p:nvSpPr>
        <p:spPr>
          <a:xfrm>
            <a:off x="9841346" y="3530223"/>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57" name="Text Placeholder 4"/>
          <p:cNvSpPr>
            <a:spLocks noGrp="1"/>
          </p:cNvSpPr>
          <p:nvPr>
            <p:ph type="body" sz="quarter" idx="29" hasCustomPrompt="1"/>
          </p:nvPr>
        </p:nvSpPr>
        <p:spPr>
          <a:xfrm>
            <a:off x="9840788" y="2820671"/>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Tree>
    <p:extLst>
      <p:ext uri="{BB962C8B-B14F-4D97-AF65-F5344CB8AC3E}">
        <p14:creationId xmlns:p14="http://schemas.microsoft.com/office/powerpoint/2010/main" val="933498012"/>
      </p:ext>
    </p:extLst>
  </p:cSld>
  <p:clrMapOvr>
    <a:masterClrMapping/>
  </p:clrMapOvr>
  <p:transition/>
  <p:timing/>
</p:sldLayout>
</file>

<file path=ppt/slideLayouts/slideLayout13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ntacts_4">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6" name="Picture Placeholder 13"/>
          <p:cNvSpPr>
            <a:spLocks noGrp="1"/>
          </p:cNvSpPr>
          <p:nvPr>
            <p:ph type="pic" sz="quarter" idx="24" hasCustomPrompt="1"/>
          </p:nvPr>
        </p:nvSpPr>
        <p:spPr>
          <a:xfrm>
            <a:off x="1828800" y="1419841"/>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5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37" name="Straight Arrow Connector 36"/>
          <p:cNvCxnSpPr/>
          <p:nvPr userDrawn="1"/>
        </p:nvCxnSpPr>
        <p:spPr>
          <a:xfrm flipH="1">
            <a:off x="3435158" y="2372303"/>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8" name="Text Placeholder 24"/>
          <p:cNvSpPr>
            <a:spLocks noGrp="1"/>
          </p:cNvSpPr>
          <p:nvPr>
            <p:ph type="body" sz="quarter" idx="25" hasCustomPrompt="1"/>
          </p:nvPr>
        </p:nvSpPr>
        <p:spPr>
          <a:xfrm>
            <a:off x="3435162" y="2478326"/>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39" name="Text Placeholder 4"/>
          <p:cNvSpPr>
            <a:spLocks noGrp="1"/>
          </p:cNvSpPr>
          <p:nvPr>
            <p:ph type="body" sz="quarter" idx="26" hasCustomPrompt="1"/>
          </p:nvPr>
        </p:nvSpPr>
        <p:spPr>
          <a:xfrm>
            <a:off x="3434604" y="1768774"/>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40" name="Picture Placeholder 13"/>
          <p:cNvSpPr>
            <a:spLocks noGrp="1"/>
          </p:cNvSpPr>
          <p:nvPr>
            <p:ph type="pic" sz="quarter" idx="27" hasCustomPrompt="1"/>
          </p:nvPr>
        </p:nvSpPr>
        <p:spPr>
          <a:xfrm>
            <a:off x="6290310" y="1419841"/>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5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41" name="Straight Arrow Connector 40"/>
          <p:cNvCxnSpPr/>
          <p:nvPr userDrawn="1"/>
        </p:nvCxnSpPr>
        <p:spPr>
          <a:xfrm flipH="1">
            <a:off x="7896668" y="2372303"/>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2" name="Text Placeholder 24"/>
          <p:cNvSpPr>
            <a:spLocks noGrp="1"/>
          </p:cNvSpPr>
          <p:nvPr>
            <p:ph type="body" sz="quarter" idx="28" hasCustomPrompt="1"/>
          </p:nvPr>
        </p:nvSpPr>
        <p:spPr>
          <a:xfrm>
            <a:off x="7896672" y="2478326"/>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43" name="Text Placeholder 4"/>
          <p:cNvSpPr>
            <a:spLocks noGrp="1"/>
          </p:cNvSpPr>
          <p:nvPr>
            <p:ph type="body" sz="quarter" idx="29" hasCustomPrompt="1"/>
          </p:nvPr>
        </p:nvSpPr>
        <p:spPr>
          <a:xfrm>
            <a:off x="7896114" y="1768774"/>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52" name="Picture Placeholder 13"/>
          <p:cNvSpPr>
            <a:spLocks noGrp="1"/>
          </p:cNvSpPr>
          <p:nvPr>
            <p:ph type="pic" sz="quarter" idx="30" hasCustomPrompt="1"/>
          </p:nvPr>
        </p:nvSpPr>
        <p:spPr>
          <a:xfrm>
            <a:off x="1828800" y="3634402"/>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5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53" name="Straight Arrow Connector 52"/>
          <p:cNvCxnSpPr/>
          <p:nvPr userDrawn="1"/>
        </p:nvCxnSpPr>
        <p:spPr>
          <a:xfrm flipH="1">
            <a:off x="3435158" y="4586864"/>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4" name="Text Placeholder 24"/>
          <p:cNvSpPr>
            <a:spLocks noGrp="1"/>
          </p:cNvSpPr>
          <p:nvPr>
            <p:ph type="body" sz="quarter" idx="31" hasCustomPrompt="1"/>
          </p:nvPr>
        </p:nvSpPr>
        <p:spPr>
          <a:xfrm>
            <a:off x="3435162" y="4692887"/>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55" name="Text Placeholder 4"/>
          <p:cNvSpPr>
            <a:spLocks noGrp="1"/>
          </p:cNvSpPr>
          <p:nvPr>
            <p:ph type="body" sz="quarter" idx="32" hasCustomPrompt="1"/>
          </p:nvPr>
        </p:nvSpPr>
        <p:spPr>
          <a:xfrm>
            <a:off x="3434604" y="3983335"/>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56" name="Picture Placeholder 13"/>
          <p:cNvSpPr>
            <a:spLocks noGrp="1"/>
          </p:cNvSpPr>
          <p:nvPr>
            <p:ph type="pic" sz="quarter" idx="33" hasCustomPrompt="1"/>
          </p:nvPr>
        </p:nvSpPr>
        <p:spPr>
          <a:xfrm>
            <a:off x="6290310" y="3634402"/>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5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57" name="Straight Arrow Connector 56"/>
          <p:cNvCxnSpPr/>
          <p:nvPr userDrawn="1"/>
        </p:nvCxnSpPr>
        <p:spPr>
          <a:xfrm flipH="1">
            <a:off x="7896668" y="4586864"/>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8" name="Text Placeholder 24"/>
          <p:cNvSpPr>
            <a:spLocks noGrp="1"/>
          </p:cNvSpPr>
          <p:nvPr>
            <p:ph type="body" sz="quarter" idx="34" hasCustomPrompt="1"/>
          </p:nvPr>
        </p:nvSpPr>
        <p:spPr>
          <a:xfrm>
            <a:off x="7896672" y="4692887"/>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59" name="Text Placeholder 4"/>
          <p:cNvSpPr>
            <a:spLocks noGrp="1"/>
          </p:cNvSpPr>
          <p:nvPr>
            <p:ph type="body" sz="quarter" idx="35" hasCustomPrompt="1"/>
          </p:nvPr>
        </p:nvSpPr>
        <p:spPr>
          <a:xfrm>
            <a:off x="7896114" y="3983335"/>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Tree>
    <p:extLst>
      <p:ext uri="{BB962C8B-B14F-4D97-AF65-F5344CB8AC3E}">
        <p14:creationId xmlns:p14="http://schemas.microsoft.com/office/powerpoint/2010/main" val="3889386933"/>
      </p:ext>
    </p:extLst>
  </p:cSld>
  <p:clrMapOvr>
    <a:masterClrMapping/>
  </p:clrMapOvr>
  <p:transition/>
  <p:timing/>
</p:sldLayout>
</file>

<file path=ppt/slideLayouts/slideLayout13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ntacts_6">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46" name="Picture Placeholder 13"/>
          <p:cNvSpPr>
            <a:spLocks noGrp="1"/>
          </p:cNvSpPr>
          <p:nvPr>
            <p:ph type="pic" sz="quarter" idx="24" hasCustomPrompt="1"/>
          </p:nvPr>
        </p:nvSpPr>
        <p:spPr>
          <a:xfrm>
            <a:off x="334963" y="1419841"/>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48" name="Text Placeholder 24"/>
          <p:cNvSpPr>
            <a:spLocks noGrp="1"/>
          </p:cNvSpPr>
          <p:nvPr>
            <p:ph type="body" sz="quarter" idx="25" hasCustomPrompt="1"/>
          </p:nvPr>
        </p:nvSpPr>
        <p:spPr>
          <a:xfrm>
            <a:off x="1942441" y="2478326"/>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49" name="Text Placeholder 4"/>
          <p:cNvSpPr>
            <a:spLocks noGrp="1"/>
          </p:cNvSpPr>
          <p:nvPr>
            <p:ph type="body" sz="quarter" idx="32" hasCustomPrompt="1"/>
          </p:nvPr>
        </p:nvSpPr>
        <p:spPr>
          <a:xfrm>
            <a:off x="1941883" y="1768774"/>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50" name="Picture Placeholder 13"/>
          <p:cNvSpPr>
            <a:spLocks noGrp="1"/>
          </p:cNvSpPr>
          <p:nvPr>
            <p:ph type="pic" sz="quarter" idx="33" hasCustomPrompt="1"/>
          </p:nvPr>
        </p:nvSpPr>
        <p:spPr>
          <a:xfrm>
            <a:off x="334963" y="3634402"/>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52" name="Text Placeholder 24"/>
          <p:cNvSpPr>
            <a:spLocks noGrp="1"/>
          </p:cNvSpPr>
          <p:nvPr>
            <p:ph type="body" sz="quarter" idx="34" hasCustomPrompt="1"/>
          </p:nvPr>
        </p:nvSpPr>
        <p:spPr>
          <a:xfrm>
            <a:off x="1942441" y="4692887"/>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53" name="Text Placeholder 4"/>
          <p:cNvSpPr>
            <a:spLocks noGrp="1"/>
          </p:cNvSpPr>
          <p:nvPr>
            <p:ph type="body" sz="quarter" idx="35" hasCustomPrompt="1"/>
          </p:nvPr>
        </p:nvSpPr>
        <p:spPr>
          <a:xfrm>
            <a:off x="1941883" y="3983335"/>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62" name="Picture Placeholder 13"/>
          <p:cNvSpPr>
            <a:spLocks noGrp="1"/>
          </p:cNvSpPr>
          <p:nvPr>
            <p:ph type="pic" sz="quarter" idx="36" hasCustomPrompt="1"/>
          </p:nvPr>
        </p:nvSpPr>
        <p:spPr>
          <a:xfrm>
            <a:off x="4284695" y="1419841"/>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64" name="Text Placeholder 24"/>
          <p:cNvSpPr>
            <a:spLocks noGrp="1"/>
          </p:cNvSpPr>
          <p:nvPr>
            <p:ph type="body" sz="quarter" idx="37" hasCustomPrompt="1"/>
          </p:nvPr>
        </p:nvSpPr>
        <p:spPr>
          <a:xfrm>
            <a:off x="5892173" y="2478326"/>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65" name="Text Placeholder 4"/>
          <p:cNvSpPr>
            <a:spLocks noGrp="1"/>
          </p:cNvSpPr>
          <p:nvPr>
            <p:ph type="body" sz="quarter" idx="38" hasCustomPrompt="1"/>
          </p:nvPr>
        </p:nvSpPr>
        <p:spPr>
          <a:xfrm>
            <a:off x="5891615" y="1768774"/>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66" name="Picture Placeholder 13"/>
          <p:cNvSpPr>
            <a:spLocks noGrp="1"/>
          </p:cNvSpPr>
          <p:nvPr>
            <p:ph type="pic" sz="quarter" idx="39" hasCustomPrompt="1"/>
          </p:nvPr>
        </p:nvSpPr>
        <p:spPr>
          <a:xfrm>
            <a:off x="4284695" y="3634402"/>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68" name="Text Placeholder 24"/>
          <p:cNvSpPr>
            <a:spLocks noGrp="1"/>
          </p:cNvSpPr>
          <p:nvPr>
            <p:ph type="body" sz="quarter" idx="40" hasCustomPrompt="1"/>
          </p:nvPr>
        </p:nvSpPr>
        <p:spPr>
          <a:xfrm>
            <a:off x="5892173" y="4692887"/>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69" name="Text Placeholder 4"/>
          <p:cNvSpPr>
            <a:spLocks noGrp="1"/>
          </p:cNvSpPr>
          <p:nvPr>
            <p:ph type="body" sz="quarter" idx="41" hasCustomPrompt="1"/>
          </p:nvPr>
        </p:nvSpPr>
        <p:spPr>
          <a:xfrm>
            <a:off x="5891615" y="3983335"/>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78" name="Picture Placeholder 13"/>
          <p:cNvSpPr>
            <a:spLocks noGrp="1"/>
          </p:cNvSpPr>
          <p:nvPr>
            <p:ph type="pic" sz="quarter" idx="42" hasCustomPrompt="1"/>
          </p:nvPr>
        </p:nvSpPr>
        <p:spPr>
          <a:xfrm>
            <a:off x="8234362" y="1419841"/>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80" name="Text Placeholder 24"/>
          <p:cNvSpPr>
            <a:spLocks noGrp="1"/>
          </p:cNvSpPr>
          <p:nvPr>
            <p:ph type="body" sz="quarter" idx="43" hasCustomPrompt="1"/>
          </p:nvPr>
        </p:nvSpPr>
        <p:spPr>
          <a:xfrm>
            <a:off x="9841840" y="2478326"/>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81" name="Text Placeholder 4"/>
          <p:cNvSpPr>
            <a:spLocks noGrp="1"/>
          </p:cNvSpPr>
          <p:nvPr>
            <p:ph type="body" sz="quarter" idx="44" hasCustomPrompt="1"/>
          </p:nvPr>
        </p:nvSpPr>
        <p:spPr>
          <a:xfrm>
            <a:off x="9841282" y="1768774"/>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82" name="Picture Placeholder 13"/>
          <p:cNvSpPr>
            <a:spLocks noGrp="1"/>
          </p:cNvSpPr>
          <p:nvPr>
            <p:ph type="pic" sz="quarter" idx="45" hasCustomPrompt="1"/>
          </p:nvPr>
        </p:nvSpPr>
        <p:spPr>
          <a:xfrm>
            <a:off x="8234362" y="3634402"/>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84" name="Text Placeholder 24"/>
          <p:cNvSpPr>
            <a:spLocks noGrp="1"/>
          </p:cNvSpPr>
          <p:nvPr>
            <p:ph type="body" sz="quarter" idx="46" hasCustomPrompt="1"/>
          </p:nvPr>
        </p:nvSpPr>
        <p:spPr>
          <a:xfrm>
            <a:off x="9841840" y="4692887"/>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85" name="Text Placeholder 4"/>
          <p:cNvSpPr>
            <a:spLocks noGrp="1"/>
          </p:cNvSpPr>
          <p:nvPr>
            <p:ph type="body" sz="quarter" idx="47" hasCustomPrompt="1"/>
          </p:nvPr>
        </p:nvSpPr>
        <p:spPr>
          <a:xfrm>
            <a:off x="9841282" y="3983335"/>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Tree>
    <p:extLst>
      <p:ext uri="{BB962C8B-B14F-4D97-AF65-F5344CB8AC3E}">
        <p14:creationId xmlns:p14="http://schemas.microsoft.com/office/powerpoint/2010/main" val="3823346195"/>
      </p:ext>
    </p:extLst>
  </p:cSld>
  <p:clrMapOvr>
    <a:masterClrMapping/>
  </p:clrMapOvr>
  <p:transition/>
  <p:timing/>
</p:sldLayout>
</file>

<file path=ppt/slideLayouts/slideLayout13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ntacts_8">
    <p:spTree>
      <p:nvGrpSpPr>
        <p:cNvPr id="1" name=""/>
        <p:cNvGrpSpPr/>
        <p:nvPr/>
      </p:nvGrpSpPr>
      <p:grpSpPr>
        <a:xfrm>
          <a:off x="0" y="0"/>
          <a:ext cx="0" cy="0"/>
        </a:xfrm>
      </p:grpSpPr>
      <p:sp>
        <p:nvSpPr>
          <p:cNvPr id="26" name="Text Placeholder 24"/>
          <p:cNvSpPr>
            <a:spLocks noGrp="1"/>
          </p:cNvSpPr>
          <p:nvPr>
            <p:ph type="body" sz="quarter" idx="24" hasCustomPrompt="1"/>
          </p:nvPr>
        </p:nvSpPr>
        <p:spPr>
          <a:xfrm>
            <a:off x="2621857"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27" name="Text Placeholder 4"/>
          <p:cNvSpPr>
            <a:spLocks noGrp="1"/>
          </p:cNvSpPr>
          <p:nvPr>
            <p:ph type="body" sz="quarter" idx="25" hasCustomPrompt="1"/>
          </p:nvPr>
        </p:nvSpPr>
        <p:spPr>
          <a:xfrm>
            <a:off x="2621857"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28" name="Text Placeholder 24"/>
          <p:cNvSpPr>
            <a:spLocks noGrp="1"/>
          </p:cNvSpPr>
          <p:nvPr>
            <p:ph type="body" sz="quarter" idx="26" hasCustomPrompt="1"/>
          </p:nvPr>
        </p:nvSpPr>
        <p:spPr>
          <a:xfrm>
            <a:off x="4505310"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29" name="Text Placeholder 4"/>
          <p:cNvSpPr>
            <a:spLocks noGrp="1"/>
          </p:cNvSpPr>
          <p:nvPr>
            <p:ph type="body" sz="quarter" idx="27" hasCustomPrompt="1"/>
          </p:nvPr>
        </p:nvSpPr>
        <p:spPr>
          <a:xfrm>
            <a:off x="4505310"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30" name="Text Placeholder 24"/>
          <p:cNvSpPr>
            <a:spLocks noGrp="1"/>
          </p:cNvSpPr>
          <p:nvPr>
            <p:ph type="body" sz="quarter" idx="28" hasCustomPrompt="1"/>
          </p:nvPr>
        </p:nvSpPr>
        <p:spPr>
          <a:xfrm>
            <a:off x="6375193"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31" name="Text Placeholder 4"/>
          <p:cNvSpPr>
            <a:spLocks noGrp="1"/>
          </p:cNvSpPr>
          <p:nvPr>
            <p:ph type="body" sz="quarter" idx="29" hasCustomPrompt="1"/>
          </p:nvPr>
        </p:nvSpPr>
        <p:spPr>
          <a:xfrm>
            <a:off x="6375193"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32" name="Text Placeholder 24"/>
          <p:cNvSpPr>
            <a:spLocks noGrp="1"/>
          </p:cNvSpPr>
          <p:nvPr>
            <p:ph type="body" sz="quarter" idx="30" hasCustomPrompt="1"/>
          </p:nvPr>
        </p:nvSpPr>
        <p:spPr>
          <a:xfrm>
            <a:off x="8251861"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33" name="Text Placeholder 4"/>
          <p:cNvSpPr>
            <a:spLocks noGrp="1"/>
          </p:cNvSpPr>
          <p:nvPr>
            <p:ph type="body" sz="quarter" idx="31" hasCustomPrompt="1"/>
          </p:nvPr>
        </p:nvSpPr>
        <p:spPr>
          <a:xfrm>
            <a:off x="8251861"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34" name="Text Placeholder 24"/>
          <p:cNvSpPr>
            <a:spLocks noGrp="1"/>
          </p:cNvSpPr>
          <p:nvPr>
            <p:ph type="body" sz="quarter" idx="32" hasCustomPrompt="1"/>
          </p:nvPr>
        </p:nvSpPr>
        <p:spPr>
          <a:xfrm>
            <a:off x="10128527"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35" name="Text Placeholder 4"/>
          <p:cNvSpPr>
            <a:spLocks noGrp="1"/>
          </p:cNvSpPr>
          <p:nvPr>
            <p:ph type="body" sz="quarter" idx="33" hasCustomPrompt="1"/>
          </p:nvPr>
        </p:nvSpPr>
        <p:spPr>
          <a:xfrm>
            <a:off x="10128527"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67" name="Text Placeholder 24"/>
          <p:cNvSpPr>
            <a:spLocks noGrp="1"/>
          </p:cNvSpPr>
          <p:nvPr>
            <p:ph type="body" sz="quarter" idx="42" hasCustomPrompt="1"/>
          </p:nvPr>
        </p:nvSpPr>
        <p:spPr>
          <a:xfrm>
            <a:off x="2621857"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68" name="Text Placeholder 4"/>
          <p:cNvSpPr>
            <a:spLocks noGrp="1"/>
          </p:cNvSpPr>
          <p:nvPr>
            <p:ph type="body" sz="quarter" idx="43" hasCustomPrompt="1"/>
          </p:nvPr>
        </p:nvSpPr>
        <p:spPr>
          <a:xfrm>
            <a:off x="2621857"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69" name="Text Placeholder 24"/>
          <p:cNvSpPr>
            <a:spLocks noGrp="1"/>
          </p:cNvSpPr>
          <p:nvPr>
            <p:ph type="body" sz="quarter" idx="44" hasCustomPrompt="1"/>
          </p:nvPr>
        </p:nvSpPr>
        <p:spPr>
          <a:xfrm>
            <a:off x="4498525"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70" name="Text Placeholder 4"/>
          <p:cNvSpPr>
            <a:spLocks noGrp="1"/>
          </p:cNvSpPr>
          <p:nvPr>
            <p:ph type="body" sz="quarter" idx="45" hasCustomPrompt="1"/>
          </p:nvPr>
        </p:nvSpPr>
        <p:spPr>
          <a:xfrm>
            <a:off x="4498525"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71" name="Text Placeholder 24"/>
          <p:cNvSpPr>
            <a:spLocks noGrp="1"/>
          </p:cNvSpPr>
          <p:nvPr>
            <p:ph type="body" sz="quarter" idx="46" hasCustomPrompt="1"/>
          </p:nvPr>
        </p:nvSpPr>
        <p:spPr>
          <a:xfrm>
            <a:off x="6375193"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72" name="Text Placeholder 4"/>
          <p:cNvSpPr>
            <a:spLocks noGrp="1"/>
          </p:cNvSpPr>
          <p:nvPr>
            <p:ph type="body" sz="quarter" idx="47" hasCustomPrompt="1"/>
          </p:nvPr>
        </p:nvSpPr>
        <p:spPr>
          <a:xfrm>
            <a:off x="6375193"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73" name="Text Placeholder 24"/>
          <p:cNvSpPr>
            <a:spLocks noGrp="1"/>
          </p:cNvSpPr>
          <p:nvPr>
            <p:ph type="body" sz="quarter" idx="48" hasCustomPrompt="1"/>
          </p:nvPr>
        </p:nvSpPr>
        <p:spPr>
          <a:xfrm>
            <a:off x="8251861"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74" name="Text Placeholder 4"/>
          <p:cNvSpPr>
            <a:spLocks noGrp="1"/>
          </p:cNvSpPr>
          <p:nvPr>
            <p:ph type="body" sz="quarter" idx="49" hasCustomPrompt="1"/>
          </p:nvPr>
        </p:nvSpPr>
        <p:spPr>
          <a:xfrm>
            <a:off x="8251861"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75" name="Text Placeholder 24"/>
          <p:cNvSpPr>
            <a:spLocks noGrp="1"/>
          </p:cNvSpPr>
          <p:nvPr>
            <p:ph type="body" sz="quarter" idx="50" hasCustomPrompt="1"/>
          </p:nvPr>
        </p:nvSpPr>
        <p:spPr>
          <a:xfrm>
            <a:off x="10128527"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76" name="Text Placeholder 4"/>
          <p:cNvSpPr>
            <a:spLocks noGrp="1"/>
          </p:cNvSpPr>
          <p:nvPr>
            <p:ph type="body" sz="quarter" idx="51" hasCustomPrompt="1"/>
          </p:nvPr>
        </p:nvSpPr>
        <p:spPr>
          <a:xfrm>
            <a:off x="10128527"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78" name="Picture Placeholder 13"/>
          <p:cNvSpPr>
            <a:spLocks noGrp="1"/>
          </p:cNvSpPr>
          <p:nvPr>
            <p:ph type="pic" sz="quarter" idx="12" hasCustomPrompt="1"/>
          </p:nvPr>
        </p:nvSpPr>
        <p:spPr>
          <a:xfrm>
            <a:off x="745189"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79" name="Text Placeholder 24"/>
          <p:cNvSpPr>
            <a:spLocks noGrp="1"/>
          </p:cNvSpPr>
          <p:nvPr>
            <p:ph type="body" sz="quarter" idx="22" hasCustomPrompt="1"/>
          </p:nvPr>
        </p:nvSpPr>
        <p:spPr>
          <a:xfrm>
            <a:off x="738404"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80" name="Text Placeholder 4"/>
          <p:cNvSpPr>
            <a:spLocks noGrp="1"/>
          </p:cNvSpPr>
          <p:nvPr>
            <p:ph type="body" sz="quarter" idx="23" hasCustomPrompt="1"/>
          </p:nvPr>
        </p:nvSpPr>
        <p:spPr>
          <a:xfrm>
            <a:off x="737846"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82" name="Text Placeholder 24"/>
          <p:cNvSpPr>
            <a:spLocks noGrp="1"/>
          </p:cNvSpPr>
          <p:nvPr>
            <p:ph type="body" sz="quarter" idx="40" hasCustomPrompt="1"/>
          </p:nvPr>
        </p:nvSpPr>
        <p:spPr>
          <a:xfrm>
            <a:off x="745747"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83" name="Text Placeholder 4"/>
          <p:cNvSpPr>
            <a:spLocks noGrp="1"/>
          </p:cNvSpPr>
          <p:nvPr>
            <p:ph type="body" sz="quarter" idx="41" hasCustomPrompt="1"/>
          </p:nvPr>
        </p:nvSpPr>
        <p:spPr>
          <a:xfrm>
            <a:off x="745189"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87" name="Picture Placeholder 13"/>
          <p:cNvSpPr>
            <a:spLocks noGrp="1"/>
          </p:cNvSpPr>
          <p:nvPr>
            <p:ph type="pic" sz="quarter" idx="53" hasCustomPrompt="1"/>
          </p:nvPr>
        </p:nvSpPr>
        <p:spPr>
          <a:xfrm>
            <a:off x="2621857"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88" name="Picture Placeholder 13"/>
          <p:cNvSpPr>
            <a:spLocks noGrp="1"/>
          </p:cNvSpPr>
          <p:nvPr>
            <p:ph type="pic" sz="quarter" idx="54" hasCustomPrompt="1"/>
          </p:nvPr>
        </p:nvSpPr>
        <p:spPr>
          <a:xfrm>
            <a:off x="4494472"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89" name="Picture Placeholder 13"/>
          <p:cNvSpPr>
            <a:spLocks noGrp="1"/>
          </p:cNvSpPr>
          <p:nvPr>
            <p:ph type="pic" sz="quarter" idx="55" hasCustomPrompt="1"/>
          </p:nvPr>
        </p:nvSpPr>
        <p:spPr>
          <a:xfrm>
            <a:off x="6359789"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0" name="Picture Placeholder 13"/>
          <p:cNvSpPr>
            <a:spLocks noGrp="1"/>
          </p:cNvSpPr>
          <p:nvPr>
            <p:ph type="pic" sz="quarter" idx="56" hasCustomPrompt="1"/>
          </p:nvPr>
        </p:nvSpPr>
        <p:spPr>
          <a:xfrm>
            <a:off x="8225106"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1" name="Picture Placeholder 13"/>
          <p:cNvSpPr>
            <a:spLocks noGrp="1"/>
          </p:cNvSpPr>
          <p:nvPr>
            <p:ph type="pic" sz="quarter" idx="57" hasCustomPrompt="1"/>
          </p:nvPr>
        </p:nvSpPr>
        <p:spPr>
          <a:xfrm>
            <a:off x="10128527"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2" name="Picture Placeholder 13"/>
          <p:cNvSpPr>
            <a:spLocks noGrp="1"/>
          </p:cNvSpPr>
          <p:nvPr>
            <p:ph type="pic" sz="quarter" idx="58" hasCustomPrompt="1"/>
          </p:nvPr>
        </p:nvSpPr>
        <p:spPr>
          <a:xfrm>
            <a:off x="745189"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3" name="Picture Placeholder 13"/>
          <p:cNvSpPr>
            <a:spLocks noGrp="1"/>
          </p:cNvSpPr>
          <p:nvPr>
            <p:ph type="pic" sz="quarter" idx="59" hasCustomPrompt="1"/>
          </p:nvPr>
        </p:nvSpPr>
        <p:spPr>
          <a:xfrm>
            <a:off x="2621857"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4" name="Picture Placeholder 13"/>
          <p:cNvSpPr>
            <a:spLocks noGrp="1"/>
          </p:cNvSpPr>
          <p:nvPr>
            <p:ph type="pic" sz="quarter" idx="60" hasCustomPrompt="1"/>
          </p:nvPr>
        </p:nvSpPr>
        <p:spPr>
          <a:xfrm>
            <a:off x="4494472"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5" name="Picture Placeholder 13"/>
          <p:cNvSpPr>
            <a:spLocks noGrp="1"/>
          </p:cNvSpPr>
          <p:nvPr>
            <p:ph type="pic" sz="quarter" idx="61" hasCustomPrompt="1"/>
          </p:nvPr>
        </p:nvSpPr>
        <p:spPr>
          <a:xfrm>
            <a:off x="6359789"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6" name="Picture Placeholder 13"/>
          <p:cNvSpPr>
            <a:spLocks noGrp="1"/>
          </p:cNvSpPr>
          <p:nvPr>
            <p:ph type="pic" sz="quarter" idx="62" hasCustomPrompt="1"/>
          </p:nvPr>
        </p:nvSpPr>
        <p:spPr>
          <a:xfrm>
            <a:off x="8225106"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7" name="Picture Placeholder 13"/>
          <p:cNvSpPr>
            <a:spLocks noGrp="1"/>
          </p:cNvSpPr>
          <p:nvPr>
            <p:ph type="pic" sz="quarter" idx="63" hasCustomPrompt="1"/>
          </p:nvPr>
        </p:nvSpPr>
        <p:spPr>
          <a:xfrm>
            <a:off x="10128527"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8" name="Footer Placeholder 2"/>
          <p:cNvSpPr>
            <a:spLocks noGrp="1"/>
          </p:cNvSpPr>
          <p:nvPr>
            <p:ph type="ftr" sz="quarter" idx="10"/>
          </p:nvPr>
        </p:nvSpPr>
        <p:spPr>
          <a:xfrm>
            <a:off x="7410450" y="6386400"/>
            <a:ext cx="4114800" cy="140400"/>
          </a:xfrm>
        </p:spPr>
        <p:txBody>
          <a:bodyPr/>
          <a:lstStyle/>
          <a:p>
            <a:r>
              <a:rPr lang="en-US"/>
              <a:t>Copyright © 2017 Accenture. All rights reserved.</a:t>
            </a:r>
            <a:endParaRPr lang="en-GB"/>
          </a:p>
        </p:txBody>
      </p:sp>
      <p:sp>
        <p:nvSpPr>
          <p:cNvPr id="99" name="Slide Number Placeholder 3"/>
          <p:cNvSpPr>
            <a:spLocks noGrp="1"/>
          </p:cNvSpPr>
          <p:nvPr>
            <p:ph type="sldNum" sz="quarter" idx="11"/>
          </p:nvPr>
        </p:nvSpPr>
        <p:spPr>
          <a:xfrm>
            <a:off x="11639450" y="6386400"/>
            <a:ext cx="216000" cy="140400"/>
          </a:xfrm>
        </p:spPr>
        <p:txBody>
          <a:bodyPr/>
          <a:lstStyle/>
          <a:p>
            <a:fld id="{17D800ED-CB1B-4EBC-A0D2-2190AF4D8872}" type="slidenum">
              <a:rPr lang="en-GB" smtClean="0"/>
              <a:t>‹#›</a:t>
            </a:fld>
            <a:endParaRPr lang="en-GB"/>
          </a:p>
        </p:txBody>
      </p:sp>
    </p:spTree>
    <p:extLst>
      <p:ext uri="{BB962C8B-B14F-4D97-AF65-F5344CB8AC3E}">
        <p14:creationId xmlns:p14="http://schemas.microsoft.com/office/powerpoint/2010/main" val="1144690730"/>
      </p:ext>
    </p:extLst>
  </p:cSld>
  <p:clrMapOvr>
    <a:masterClrMapping/>
  </p:clrMapOvr>
  <p:transition/>
  <p:timing/>
  <p:hf hdr="0" dt="0"/>
</p:sldLayout>
</file>

<file path=ppt/slideLayouts/slideLayout13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Layout_Slide">
    <p:spTree>
      <p:nvGrpSpPr>
        <p:cNvPr id="1" name=""/>
        <p:cNvGrpSpPr/>
        <p:nvPr/>
      </p:nvGrpSpPr>
      <p:grpSpPr>
        <a:xfrm>
          <a:off x="0" y="0"/>
          <a:ext cx="0" cy="0"/>
        </a:xfrm>
      </p:grpSpPr>
      <p:sp>
        <p:nvSpPr>
          <p:cNvPr id="5" name="Rectangle 4"/>
          <p:cNvSpPr/>
          <p:nvPr userDrawn="1"/>
        </p:nvSpPr>
        <p:spPr>
          <a:xfrm>
            <a:off x="12328228" y="1"/>
            <a:ext cx="2196858" cy="6857999"/>
          </a:xfrm>
          <a:prstGeom prst="rect">
            <a:avLst/>
          </a:prstGeom>
          <a:solidFill>
            <a:schemeClr val="accent2">
              <a:lumMod val="40000"/>
              <a:lumOff val="60000"/>
            </a:schemeClr>
          </a:solidFill>
          <a:ln w="12700" cmpd="sng">
            <a:noFill/>
            <a:tailEnd type="non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71983" tIns="71983" rIns="71983" bIns="71983" rtlCol="0" anchor="t">
            <a:noAutofit/>
          </a:bodyPr>
          <a:lstStyle/>
          <a:p>
            <a:pPr lvl="0">
              <a:lnSpc>
                <a:spcPct val="110000"/>
              </a:lnSpc>
              <a:spcBef>
                <a:spcPts val="1200"/>
              </a:spcBef>
              <a:spcAft>
                <a:spcPct val="0"/>
              </a:spcAft>
            </a:pPr>
            <a:r>
              <a:rPr lang="en-US" sz="1050" b="1">
                <a:solidFill>
                  <a:srgbClr val="000000"/>
                </a:solidFill>
              </a:rPr>
              <a:t>IMAGE</a:t>
            </a:r>
            <a:r>
              <a:rPr lang="en-US" sz="1050" b="1" baseline="0">
                <a:solidFill>
                  <a:srgbClr val="000000"/>
                </a:solidFill>
              </a:rPr>
              <a:t> INSTRUCTIONS</a:t>
            </a:r>
            <a:endParaRPr lang="en-US" sz="1050" b="1">
              <a:solidFill>
                <a:srgbClr val="000000"/>
              </a:solidFill>
            </a:endParaRPr>
          </a:p>
          <a:p>
            <a:pPr marL="122214" lvl="0" indent="-122214">
              <a:lnSpc>
                <a:spcPct val="110000"/>
              </a:lnSpc>
              <a:spcBef>
                <a:spcPts val="300"/>
              </a:spcBef>
              <a:spcAft>
                <a:spcPct val="0"/>
              </a:spcAft>
              <a:buFont typeface="Arial"/>
              <a:buChar char="•"/>
            </a:pPr>
            <a:r>
              <a:rPr lang="en-US" sz="900">
                <a:solidFill>
                  <a:srgbClr val="000000"/>
                </a:solidFill>
              </a:rPr>
              <a:t>In Normal View (not Slide Sorter View) Click on the image</a:t>
            </a:r>
          </a:p>
          <a:p>
            <a:pPr marL="122214" lvl="0" indent="-122214">
              <a:lnSpc>
                <a:spcPct val="110000"/>
              </a:lnSpc>
              <a:spcBef>
                <a:spcPts val="300"/>
              </a:spcBef>
              <a:spcAft>
                <a:spcPct val="0"/>
              </a:spcAft>
              <a:buFont typeface="Arial"/>
              <a:buChar char="•"/>
            </a:pPr>
            <a:r>
              <a:rPr lang="en-US" sz="900">
                <a:solidFill>
                  <a:srgbClr val="000000"/>
                </a:solidFill>
              </a:rPr>
              <a:t>Copy</a:t>
            </a:r>
            <a:r>
              <a:rPr lang="en-US" sz="900" baseline="0">
                <a:solidFill>
                  <a:srgbClr val="000000"/>
                </a:solidFill>
              </a:rPr>
              <a:t> the IMAGE ONLY </a:t>
            </a:r>
            <a:br>
              <a:rPr lang="en-US" sz="900" baseline="0">
                <a:solidFill>
                  <a:srgbClr val="000000"/>
                </a:solidFill>
              </a:rPr>
            </a:br>
            <a:r>
              <a:rPr lang="en-US" sz="900" baseline="0">
                <a:solidFill>
                  <a:srgbClr val="000000"/>
                </a:solidFill>
              </a:rPr>
              <a:t>(and not the whole slide)</a:t>
            </a:r>
            <a:br>
              <a:rPr lang="en-US" sz="900" baseline="0">
                <a:solidFill>
                  <a:srgbClr val="000000"/>
                </a:solidFill>
              </a:rPr>
            </a:br>
            <a:r>
              <a:rPr lang="en-US" sz="900" b="1" baseline="0" err="1">
                <a:solidFill>
                  <a:srgbClr val="000000"/>
                </a:solidFill>
              </a:rPr>
              <a:t>Ctrl+C or Right-Click+Copy</a:t>
            </a:r>
            <a:endParaRPr lang="en-US" sz="900" baseline="0">
              <a:solidFill>
                <a:srgbClr val="000000"/>
              </a:solidFill>
            </a:endParaRPr>
          </a:p>
          <a:p>
            <a:pPr marL="122214" lvl="0" indent="-122214">
              <a:lnSpc>
                <a:spcPct val="110000"/>
              </a:lnSpc>
              <a:spcBef>
                <a:spcPts val="300"/>
              </a:spcBef>
              <a:spcAft>
                <a:spcPct val="0"/>
              </a:spcAft>
              <a:buFont typeface="Arial"/>
              <a:buChar char="•"/>
            </a:pPr>
            <a:r>
              <a:rPr lang="en-US" sz="900" baseline="0">
                <a:solidFill>
                  <a:srgbClr val="000000"/>
                </a:solidFill>
              </a:rPr>
              <a:t>Paste the image onto the appropriate layout in your new deck</a:t>
            </a:r>
          </a:p>
          <a:p>
            <a:pPr marL="122214" lvl="0" indent="-122214">
              <a:lnSpc>
                <a:spcPct val="110000"/>
              </a:lnSpc>
              <a:spcBef>
                <a:spcPts val="300"/>
              </a:spcBef>
              <a:spcAft>
                <a:spcPct val="0"/>
              </a:spcAft>
              <a:buFont typeface="Arial"/>
              <a:buChar char="•"/>
            </a:pPr>
            <a:r>
              <a:rPr lang="en-US" sz="900" baseline="0">
                <a:solidFill>
                  <a:srgbClr val="000000"/>
                </a:solidFill>
              </a:rPr>
              <a:t>Select </a:t>
            </a:r>
            <a:r>
              <a:rPr lang="en-US" sz="900" b="1" baseline="0">
                <a:solidFill>
                  <a:srgbClr val="000000"/>
                </a:solidFill>
              </a:rPr>
              <a:t>Send to Back</a:t>
            </a:r>
            <a:r>
              <a:rPr lang="en-US" sz="900" b="0" baseline="0">
                <a:solidFill>
                  <a:srgbClr val="000000"/>
                </a:solidFill>
              </a:rPr>
              <a:t> by either right-clicking on the image or by using the </a:t>
            </a:r>
            <a:r>
              <a:rPr lang="en-US" sz="900" b="0" i="1" baseline="0">
                <a:solidFill>
                  <a:srgbClr val="000000"/>
                </a:solidFill>
              </a:rPr>
              <a:t>Arrange</a:t>
            </a:r>
            <a:r>
              <a:rPr lang="en-US" sz="900" b="0" i="0" baseline="0">
                <a:solidFill>
                  <a:srgbClr val="000000"/>
                </a:solidFill>
              </a:rPr>
              <a:t> drop-down menu on the Home tab.</a:t>
            </a:r>
          </a:p>
          <a:p>
            <a:pPr marL="122214" lvl="0" indent="-122214">
              <a:lnSpc>
                <a:spcPct val="110000"/>
              </a:lnSpc>
              <a:spcBef>
                <a:spcPts val="300"/>
              </a:spcBef>
              <a:spcAft>
                <a:spcPct val="0"/>
              </a:spcAft>
              <a:buFont typeface="Arial"/>
              <a:buChar char="•"/>
            </a:pPr>
            <a:endParaRPr lang="en-US" sz="900" b="0" i="0" baseline="0">
              <a:solidFill>
                <a:srgbClr val="000000"/>
              </a:solidFill>
            </a:endParaRPr>
          </a:p>
          <a:p>
            <a:pPr marL="0" lvl="0" indent="0">
              <a:lnSpc>
                <a:spcPct val="110000"/>
              </a:lnSpc>
              <a:spcBef>
                <a:spcPts val="300"/>
              </a:spcBef>
              <a:spcAft>
                <a:spcPct val="0"/>
              </a:spcAft>
              <a:buFont typeface="Arial"/>
              <a:buNone/>
            </a:pPr>
            <a:r>
              <a:rPr lang="en-US" sz="900" b="0" i="0" baseline="0">
                <a:solidFill>
                  <a:srgbClr val="000000"/>
                </a:solidFill>
              </a:rPr>
              <a:t>Depending on the image you may/may not need to change the layout (ie light images require black text and darker images require white text). </a:t>
            </a:r>
          </a:p>
          <a:p>
            <a:pPr marL="0" lvl="0" indent="0">
              <a:lnSpc>
                <a:spcPct val="110000"/>
              </a:lnSpc>
              <a:spcBef>
                <a:spcPts val="300"/>
              </a:spcBef>
              <a:spcAft>
                <a:spcPct val="0"/>
              </a:spcAft>
              <a:buFont typeface="Arial"/>
              <a:buNone/>
            </a:pPr>
            <a:r>
              <a:rPr lang="en-US" sz="900" b="0" i="0" baseline="0">
                <a:solidFill>
                  <a:srgbClr val="000000"/>
                </a:solidFill>
              </a:rPr>
              <a:t>To change the layout select the </a:t>
            </a:r>
            <a:r>
              <a:rPr lang="en-US" sz="900" b="0" i="1" baseline="0">
                <a:solidFill>
                  <a:srgbClr val="000000"/>
                </a:solidFill>
              </a:rPr>
              <a:t>Layout </a:t>
            </a:r>
            <a:r>
              <a:rPr lang="en-US" sz="900" b="0" i="0" baseline="0">
                <a:solidFill>
                  <a:srgbClr val="000000"/>
                </a:solidFill>
              </a:rPr>
              <a:t>drop-down from the Home</a:t>
            </a:r>
            <a:r>
              <a:rPr lang="en-US" sz="900" b="1" i="0" baseline="0">
                <a:solidFill>
                  <a:srgbClr val="000000"/>
                </a:solidFill>
              </a:rPr>
              <a:t> </a:t>
            </a:r>
            <a:r>
              <a:rPr lang="en-US" sz="900" b="0" i="0" baseline="0">
                <a:solidFill>
                  <a:srgbClr val="000000"/>
                </a:solidFill>
              </a:rPr>
              <a:t>tab. </a:t>
            </a:r>
          </a:p>
          <a:p>
            <a:pPr marL="0" lvl="0" indent="0">
              <a:lnSpc>
                <a:spcPct val="110000"/>
              </a:lnSpc>
              <a:spcBef>
                <a:spcPts val="300"/>
              </a:spcBef>
              <a:spcAft>
                <a:spcPct val="0"/>
              </a:spcAft>
              <a:buFont typeface="Arial" panose="020b0604020202020204" pitchFamily="34" charset="0"/>
              <a:buNone/>
            </a:pPr>
            <a:r>
              <a:rPr lang="en-US" sz="900" b="0" i="0" baseline="0">
                <a:solidFill>
                  <a:srgbClr val="000000"/>
                </a:solidFill>
              </a:rPr>
              <a:t>NOTE: some text/icons may need to be changed manually for legibility.</a:t>
            </a:r>
            <a:endParaRPr lang="en-US" sz="900">
              <a:solidFill>
                <a:srgbClr val="000000"/>
              </a:solidFill>
            </a:endParaRPr>
          </a:p>
        </p:txBody>
      </p:sp>
      <p:sp>
        <p:nvSpPr>
          <p:cNvPr id="6" name="Flowchart: Process 5"/>
          <p:cNvSpPr/>
          <p:nvPr userDrawn="1"/>
        </p:nvSpPr>
        <p:spPr>
          <a:xfrm>
            <a:off x="12328228" y="4570943"/>
            <a:ext cx="2196858" cy="2287058"/>
          </a:xfrm>
          <a:prstGeom prst="flowChartProcess">
            <a:avLst/>
          </a:prstGeom>
          <a:solidFill>
            <a:srgbClr val="FF0066"/>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tIns="0" bIns="0" rtlCol="0" anchor="ctr"/>
          <a:lstStyle/>
          <a:p>
            <a:pPr algn="ctr">
              <a:lnSpc>
                <a:spcPct val="90000"/>
              </a:lnSpc>
              <a:spcBef>
                <a:spcPts val="1200"/>
              </a:spcBef>
              <a:spcAft>
                <a:spcPct val="0"/>
              </a:spcAft>
            </a:pPr>
            <a:r>
              <a:rPr lang="en-US" sz="1600">
                <a:solidFill>
                  <a:schemeClr val="bg1"/>
                </a:solidFill>
              </a:rPr>
              <a:t>Copy &amp; Paste </a:t>
            </a:r>
            <a:br>
              <a:rPr lang="en-US" sz="1600">
                <a:solidFill>
                  <a:schemeClr val="bg1"/>
                </a:solidFill>
              </a:rPr>
            </a:br>
            <a:r>
              <a:rPr lang="en-US" sz="1600">
                <a:solidFill>
                  <a:schemeClr val="bg1"/>
                </a:solidFill>
              </a:rPr>
              <a:t>the image</a:t>
            </a:r>
            <a:r>
              <a:rPr lang="en-US" sz="1600" baseline="0">
                <a:solidFill>
                  <a:schemeClr val="bg1"/>
                </a:solidFill>
              </a:rPr>
              <a:t> onto </a:t>
            </a:r>
            <a:br>
              <a:rPr lang="en-US" sz="1600" baseline="0">
                <a:solidFill>
                  <a:schemeClr val="bg1"/>
                </a:solidFill>
              </a:rPr>
            </a:br>
            <a:r>
              <a:rPr lang="en-US" sz="1600" baseline="0">
                <a:solidFill>
                  <a:schemeClr val="bg1"/>
                </a:solidFill>
              </a:rPr>
              <a:t>a layout in your working deck</a:t>
            </a:r>
            <a:r>
              <a:rPr lang="en-US" sz="1600">
                <a:solidFill>
                  <a:schemeClr val="bg1"/>
                </a:solidFill>
              </a:rPr>
              <a:t>.</a:t>
            </a:r>
          </a:p>
          <a:p>
            <a:pPr algn="ctr">
              <a:lnSpc>
                <a:spcPct val="80000"/>
              </a:lnSpc>
              <a:spcBef>
                <a:spcPts val="1200"/>
              </a:spcBef>
              <a:spcAft>
                <a:spcPct val="0"/>
              </a:spcAft>
            </a:pPr>
            <a:r>
              <a:rPr lang="en-US" sz="2000">
                <a:solidFill>
                  <a:schemeClr val="bg1"/>
                </a:solidFill>
              </a:rPr>
              <a:t> </a:t>
            </a:r>
            <a:r>
              <a:rPr lang="en-US" sz="2400" b="1">
                <a:solidFill>
                  <a:schemeClr val="bg1"/>
                </a:solidFill>
                <a:latin typeface="Arial Black" panose="020b0a04020102020204" pitchFamily="34" charset="0"/>
              </a:rPr>
              <a:t>NOT THE ENTIRE SLIDE</a:t>
            </a:r>
            <a:endParaRPr lang="en-AU" sz="2000" b="1">
              <a:solidFill>
                <a:schemeClr val="bg1"/>
              </a:solidFill>
              <a:latin typeface="Arial Black" panose="020b0a04020102020204" pitchFamily="34" charset="0"/>
            </a:endParaRPr>
          </a:p>
        </p:txBody>
      </p:sp>
    </p:spTree>
    <p:extLst>
      <p:ext uri="{BB962C8B-B14F-4D97-AF65-F5344CB8AC3E}">
        <p14:creationId xmlns:p14="http://schemas.microsoft.com/office/powerpoint/2010/main" val="1627276135"/>
      </p:ext>
    </p:extLst>
  </p:cSld>
  <p:clrMapOvr>
    <a:masterClrMapping/>
  </p:clrMapOvr>
  <p:transition/>
  <p:timing/>
  <p:extLst>
    <p:ext uri="{DCECCB84-F9BA-43D5-87BE-67443E8EF086}">
      <p15:sldGuideLst xmlns:p15="http://schemas.microsoft.com/office/powerpoint/2012/main">
        <p15:guide id="1" orient="horz" pos="2160">
          <p15:clr>
            <a:srgbClr val="FBAE40"/>
          </p15:clr>
        </p15:guide>
        <p15:guide id="2" pos="383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3_Title Master: White">
    <p:bg>
      <p:bgPr>
        <a:solidFill>
          <a:schemeClr val="bg1"/>
        </a:solidFill>
        <a:effectLst/>
      </p:bgPr>
    </p:bg>
    <p:spTree>
      <p:nvGrpSpPr>
        <p:cNvPr id="1" name=""/>
        <p:cNvGrpSpPr/>
        <p:nvPr/>
      </p:nvGrpSpPr>
      <p:grpSpPr>
        <a:xfrm>
          <a:off x="0" y="0"/>
          <a:ext cx="0" cy="0"/>
        </a:xfrm>
      </p:grpSpPr>
      <p:pic>
        <p:nvPicPr>
          <p:cNvPr id="6" name="Picture 5" descr="A close up of sunglasses&#10;&#10;Description automatically generated">
            <a:extLst>
              <a:ext uri="{FF2B5EF4-FFF2-40B4-BE49-F238E27FC236}">
                <a16:creationId xmlns:a16="http://schemas.microsoft.com/office/drawing/2014/main" id="{2C5C99BB-297B-C54A-B696-3A41D9655EA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4024631" y="-10910"/>
            <a:ext cx="8167370" cy="6651214"/>
          </a:xfrm>
          <a:prstGeom prst="rect">
            <a:avLst/>
          </a:prstGeom>
        </p:spPr>
      </p:pic>
      <p:sp>
        <p:nvSpPr>
          <p:cNvPr id="19" name="Title 1">
            <a:extLst>
              <a:ext uri="{FF2B5EF4-FFF2-40B4-BE49-F238E27FC236}">
                <a16:creationId xmlns:a16="http://schemas.microsoft.com/office/drawing/2014/main" id="{2315723A-FE26-41D8-869D-12F9D5348B43}"/>
              </a:ext>
            </a:extLst>
          </p:cNvPr>
          <p:cNvSpPr>
            <a:spLocks noGrp="1"/>
          </p:cNvSpPr>
          <p:nvPr>
            <p:ph type="ctrTitle" hasCustomPrompt="1"/>
          </p:nvPr>
        </p:nvSpPr>
        <p:spPr>
          <a:xfrm>
            <a:off x="371475" y="1850118"/>
            <a:ext cx="5985782" cy="2009775"/>
          </a:xfrm>
          <a:prstGeom prst="rect">
            <a:avLst/>
          </a:prstGeom>
        </p:spPr>
        <p:txBody>
          <a:bodyPr vert="horz" lIns="0" tIns="72000" rIns="0" bIns="0" rtlCol="0" anchor="t" anchorCtr="0">
            <a:noAutofit/>
          </a:bodyPr>
          <a:lstStyle>
            <a:lvl1pPr>
              <a:defRPr lang="en-CR" sz="4400" i="0">
                <a:latin typeface="Graphik Black" panose="020b0503030202060203" pitchFamily="34" charset="77"/>
              </a:defRPr>
            </a:lvl1pPr>
          </a:lstStyle>
          <a:p>
            <a:pPr lvl="0"/>
            <a:r>
              <a:rPr lang="en-US"/>
              <a:t>CLICK TO EDIT DIVIDER TITLE STYLE</a:t>
            </a:r>
            <a:endParaRPr lang="en-CR"/>
          </a:p>
        </p:txBody>
      </p:sp>
      <p:sp>
        <p:nvSpPr>
          <p:cNvPr id="20" name="Subtitle 2">
            <a:extLst>
              <a:ext uri="{FF2B5EF4-FFF2-40B4-BE49-F238E27FC236}">
                <a16:creationId xmlns:a16="http://schemas.microsoft.com/office/drawing/2014/main" id="{0DC95E4B-5E29-44BC-9889-D40F717AC0B9}"/>
              </a:ext>
            </a:extLst>
          </p:cNvPr>
          <p:cNvSpPr>
            <a:spLocks noGrp="1"/>
          </p:cNvSpPr>
          <p:nvPr>
            <p:ph type="subTitle" idx="1"/>
          </p:nvPr>
        </p:nvSpPr>
        <p:spPr>
          <a:xfrm>
            <a:off x="371475" y="5206545"/>
            <a:ext cx="5985782" cy="864507"/>
          </a:xfrm>
          <a:prstGeom prst="rect">
            <a:avLst/>
          </a:prstGeom>
        </p:spPr>
        <p:txBody>
          <a:bodyPr>
            <a:noAutofit/>
          </a:bodyPr>
          <a:lstStyle>
            <a:lvl1pPr marL="0" indent="0" algn="l">
              <a:buNone/>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R"/>
          </a:p>
        </p:txBody>
      </p:sp>
    </p:spTree>
    <p:extLst>
      <p:ext uri="{BB962C8B-B14F-4D97-AF65-F5344CB8AC3E}">
        <p14:creationId xmlns:p14="http://schemas.microsoft.com/office/powerpoint/2010/main" val="3976463991"/>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Short Headline and 1 Column">
    <p:spTree>
      <p:nvGrpSpPr>
        <p:cNvPr id="1" name=""/>
        <p:cNvGrpSpPr/>
        <p:nvPr/>
      </p:nvGrpSpPr>
      <p:grpSpPr>
        <a:xfrm>
          <a:off x="0" y="0"/>
          <a: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77"/>
              <a:buChar char="–"/>
              <a:defRPr/>
            </a:lvl3pPr>
            <a:lvl5pPr marL="857229" indent="-177796">
              <a:buFont typeface="Graphik" panose="020b0503030202060203" pitchFamily="34" charset="77"/>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9" name="Footer Placeholder 2"/>
          <p:cNvSpPr>
            <a:spLocks noGrp="1"/>
          </p:cNvSpPr>
          <p:nvPr>
            <p:ph type="ftr" sz="quarter" idx="20"/>
          </p:nvPr>
        </p:nvSpPr>
        <p:spPr>
          <a:xfrm>
            <a:off x="381002" y="6519009"/>
            <a:ext cx="5714999" cy="206375"/>
          </a:xfrm>
          <a:prstGeom prst="rect">
            <a:avLst/>
          </a:prstGeom>
        </p:spPr>
        <p:txBody>
          <a:bodyPr lIns="0" tIns="45720" rIns="0"/>
          <a:lstStyle>
            <a:lvl1pPr>
              <a:defRPr sz="1200">
                <a:solidFill>
                  <a:schemeClr val="tx2"/>
                </a:solidFill>
              </a:defRPr>
            </a:lvl1pPr>
          </a:lstStyle>
          <a:p>
            <a:r>
              <a:rPr lang="en-US"/>
              <a:t>Copyright © 2017 Accenture. All rights reserved.</a:t>
            </a:r>
          </a:p>
        </p:txBody>
      </p:sp>
      <p:sp>
        <p:nvSpPr>
          <p:cNvPr id="10" name="Slide Number Placeholder 3"/>
          <p:cNvSpPr>
            <a:spLocks noGrp="1"/>
          </p:cNvSpPr>
          <p:nvPr>
            <p:ph type="sldNum" sz="quarter" idx="21"/>
          </p:nvPr>
        </p:nvSpPr>
        <p:spPr>
          <a:xfrm>
            <a:off x="11506202" y="6519009"/>
            <a:ext cx="304799" cy="206375"/>
          </a:xfrm>
          <a:prstGeom prst="rect">
            <a:avLst/>
          </a:prstGeom>
        </p:spPr>
        <p:txBody>
          <a:bodyPr lIns="0" tIns="45720" rIns="0"/>
          <a:lstStyle>
            <a:lvl1pPr>
              <a:defRPr sz="1200">
                <a:solidFill>
                  <a:schemeClr val="tx2"/>
                </a:solidFill>
              </a:defRPr>
            </a:lvl1pPr>
          </a:lstStyle>
          <a:p>
            <a:fld id="{4F9AC08D-23A9-440E-BCB9-AA1E9877CC38}" type="slidenum">
              <a:rPr lang="en-US" smtClean="0"/>
              <a:t>‹#›</a:t>
            </a:fld>
            <a:endParaRPr lang="en-US"/>
          </a:p>
        </p:txBody>
      </p:sp>
    </p:spTree>
    <p:extLst>
      <p:ext uri="{BB962C8B-B14F-4D97-AF65-F5344CB8AC3E}">
        <p14:creationId xmlns:p14="http://schemas.microsoft.com/office/powerpoint/2010/main" val="1602435800"/>
      </p:ext>
    </p:extLst>
  </p:cSld>
  <p:clrMapOvr>
    <a:masterClrMapping/>
  </p:clrMapOvr>
  <p:transition/>
  <p:timing/>
</p:sldLayout>
</file>

<file path=ppt/slideLayouts/slideLayout14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Content Page Background Image">
    <p:spTree>
      <p:nvGrpSpPr>
        <p:cNvPr id="1" name=""/>
        <p:cNvGrpSpPr/>
        <p:nvPr/>
      </p:nvGrpSpPr>
      <p:grpSpPr>
        <a:xfrm>
          <a:off x="0" y="0"/>
          <a:ext cx="0" cy="0"/>
        </a:xfrm>
      </p:grpSpPr>
      <p:sp>
        <p:nvSpPr>
          <p:cNvPr id="2" name="TextBox 1"/>
          <p:cNvSpPr txBox="1"/>
          <p:nvPr userDrawn="1"/>
        </p:nvSpPr>
        <p:spPr>
          <a:xfrm>
            <a:off x="10882681" y="6517446"/>
            <a:ext cx="1041344" cy="169277"/>
          </a:xfrm>
          <a:prstGeom prst="rect">
            <a:avLst/>
          </a:prstGeom>
          <a:noFill/>
        </p:spPr>
        <p:txBody>
          <a:bodyPr wrap="square" lIns="0" tIns="0" rIns="0" bIns="0" rtlCol="0" anchor="b">
            <a:noAutofit/>
          </a:bodyPr>
          <a:lstStyle/>
          <a:p>
            <a:pPr algn="r"/>
            <a:fld id="{989496C2-B50A-F244-A0A1-E3849033C8B1}" type="slidenum">
              <a:rPr lang="en-GB" sz="800" smtClean="0">
                <a:solidFill>
                  <a:schemeClr val="bg1"/>
                </a:solidFill>
              </a:rPr>
              <a:pPr algn="r"/>
              <a:t>‹#›</a:t>
            </a:fld>
            <a:endParaRPr lang="en-GB" sz="800">
              <a:solidFill>
                <a:schemeClr val="bg1"/>
              </a:solidFill>
            </a:endParaRPr>
          </a:p>
        </p:txBody>
      </p:sp>
    </p:spTree>
    <p:extLst>
      <p:ext uri="{BB962C8B-B14F-4D97-AF65-F5344CB8AC3E}">
        <p14:creationId xmlns:p14="http://schemas.microsoft.com/office/powerpoint/2010/main" val="3713818468"/>
      </p:ext>
    </p:extLst>
  </p:cSld>
  <p:clrMapOvr>
    <a:masterClrMapping/>
  </p:clrMapOvr>
  <p:transition/>
  <p:timing/>
</p:sldLayout>
</file>

<file path=ppt/slideLayouts/slideLayout14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Title and Content">
    <p:spTree>
      <p:nvGrpSpPr>
        <p:cNvPr id="1" name=""/>
        <p:cNvGrpSpPr/>
        <p:nvPr/>
      </p:nvGrpSpPr>
      <p:grpSpPr>
        <a:xfrm>
          <a:off x="0" y="0"/>
          <a: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77"/>
              <a:buChar char="–"/>
              <a:defRPr/>
            </a:lvl3pPr>
            <a:lvl5pPr marL="857229" indent="-177796">
              <a:buFont typeface="Graphik" panose="020b0503030202060203" pitchFamily="34" charset="77"/>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p>
            <a:r>
              <a:rPr lang="en-US"/>
              <a:t>Copyright © 2017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t>‹#›</a:t>
            </a:fld>
            <a:endParaRPr lang="en-US"/>
          </a:p>
        </p:txBody>
      </p:sp>
    </p:spTree>
    <p:extLst>
      <p:ext uri="{BB962C8B-B14F-4D97-AF65-F5344CB8AC3E}">
        <p14:creationId xmlns:p14="http://schemas.microsoft.com/office/powerpoint/2010/main" val="755146670"/>
      </p:ext>
    </p:extLst>
  </p:cSld>
  <p:clrMapOvr>
    <a:masterClrMapping/>
  </p:clrMapOvr>
  <p:transition/>
  <p:timing/>
</p:sldLayout>
</file>

<file path=ppt/slideLayouts/slideLayout14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Title Slide">
    <p:spTree>
      <p:nvGrpSpPr>
        <p:cNvPr id="1" name=""/>
        <p:cNvGrpSpPr/>
        <p:nvPr/>
      </p:nvGrpSpPr>
      <p:grpSpPr>
        <a:xfrm>
          <a:off x="0" y="0"/>
          <a:ext cx="0" cy="0"/>
        </a:xfrm>
      </p:grpSpPr>
      <p:sp>
        <p:nvSpPr>
          <p:cNvPr id="2" name="Title 1">
            <a:extLst>
              <a:ext uri="{FF2B5EF4-FFF2-40B4-BE49-F238E27FC236}">
                <a16:creationId xmlns:a16="http://schemas.microsoft.com/office/drawing/2014/main" id="{28F30E22-600D-4925-B425-6010E53C1C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A21B052-A4BF-4E62-A7AF-D2B9DD73997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47751C4-F86A-4FFA-A1F7-917B5E3F9BC5}"/>
              </a:ext>
            </a:extLst>
          </p:cNvPr>
          <p:cNvSpPr>
            <a:spLocks noGrp="1"/>
          </p:cNvSpPr>
          <p:nvPr>
            <p:ph type="dt" sz="half" idx="10"/>
          </p:nvPr>
        </p:nvSpPr>
        <p:spPr/>
        <p:txBody>
          <a:bodyPr/>
          <a:lstStyle/>
          <a:p>
            <a:fld id="{59E8B5DD-268A-47C4-833D-4055BF41FD68}" type="datetimeFigureOut">
              <a:rPr lang="en-US" smtClean="0"/>
              <a:t>9/27/2021</a:t>
            </a:fld>
            <a:endParaRPr lang="en-US"/>
          </a:p>
        </p:txBody>
      </p:sp>
      <p:sp>
        <p:nvSpPr>
          <p:cNvPr id="5" name="Footer Placeholder 4">
            <a:extLst>
              <a:ext uri="{FF2B5EF4-FFF2-40B4-BE49-F238E27FC236}">
                <a16:creationId xmlns:a16="http://schemas.microsoft.com/office/drawing/2014/main" id="{86DB56F4-55BE-4F3C-BE3C-3E30061D5A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BF9371-6FD8-42C0-B8AE-766F0843EA99}"/>
              </a:ext>
            </a:extLst>
          </p:cNvPr>
          <p:cNvSpPr>
            <a:spLocks noGrp="1"/>
          </p:cNvSpPr>
          <p:nvPr>
            <p:ph type="sldNum" sz="quarter" idx="12"/>
          </p:nvPr>
        </p:nvSpPr>
        <p:spPr/>
        <p:txBody>
          <a:bodyPr/>
          <a:lstStyle/>
          <a:p>
            <a:fld id="{C6340A8B-BF72-4377-A12E-CA1C56F059C8}" type="slidenum">
              <a:rPr lang="en-US" smtClean="0"/>
              <a:t>‹#›</a:t>
            </a:fld>
            <a:endParaRPr lang="en-US"/>
          </a:p>
        </p:txBody>
      </p:sp>
    </p:spTree>
    <p:extLst>
      <p:ext uri="{BB962C8B-B14F-4D97-AF65-F5344CB8AC3E}">
        <p14:creationId xmlns:p14="http://schemas.microsoft.com/office/powerpoint/2010/main" val="3617990565"/>
      </p:ext>
    </p:extLst>
  </p:cSld>
  <p:clrMapOvr>
    <a:masterClrMapping/>
  </p:clrMapOvr>
  <p:transition/>
  <p:timing/>
</p:sldLayout>
</file>

<file path=ppt/slideLayouts/slideLayout14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No BG">
    <p:spTree>
      <p:nvGrpSpPr>
        <p:cNvPr id="1" name=""/>
        <p:cNvGrpSpPr/>
        <p:nvPr/>
      </p:nvGrpSpPr>
      <p:grpSpPr>
        <a:xfrm>
          <a:off x="0" y="0"/>
          <a:ext cx="0" cy="0"/>
        </a:xfrm>
      </p:grpSpPr>
      <p:sp>
        <p:nvSpPr>
          <p:cNvPr id="11" name="Title 10"/>
          <p:cNvSpPr>
            <a:spLocks noGrp="1"/>
          </p:cNvSpPr>
          <p:nvPr>
            <p:ph type="title" hasCustomPrompt="1"/>
          </p:nvPr>
        </p:nvSpPr>
        <p:spPr>
          <a:xfrm>
            <a:off x="381000" y="380999"/>
            <a:ext cx="11432382" cy="406047"/>
          </a:xfrm>
        </p:spPr>
        <p:txBody>
          <a:bodyPr>
            <a:noAutofit/>
          </a:bodyPr>
          <a:lstStyle>
            <a:lvl1pPr>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4050032087"/>
      </p:ext>
    </p:extLst>
  </p:cSld>
  <p:clrMapOvr>
    <a:masterClrMapping/>
  </p:clrMapOvr>
  <p:transition/>
  <p:timing/>
</p:sldLayout>
</file>

<file path=ppt/slideLayouts/slideLayout14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hort Agenda">
    <p:bg>
      <p:bgPr>
        <a:gradFill>
          <a:gsLst>
            <a:gs pos="4000">
              <a:schemeClr val="accent2"/>
            </a:gs>
            <a:gs pos="100000">
              <a:schemeClr val="accent5"/>
            </a:gs>
          </a:gsLst>
          <a:lin ang="1200000" scaled="0"/>
        </a:gradFill>
        <a:effectLst/>
      </p:bgPr>
    </p:bg>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lvl1pPr>
              <a:defRPr>
                <a:solidFill>
                  <a:schemeClr val="bg1">
                    <a:alpha val="50000"/>
                  </a:schemeClr>
                </a:solidFill>
              </a:defRPr>
            </a:lvl1p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lvl1pPr>
              <a:defRPr>
                <a:solidFill>
                  <a:schemeClr val="bg1">
                    <a:alpha val="50000"/>
                  </a:schemeClr>
                </a:solidFill>
              </a:defRPr>
            </a:lvl1pPr>
          </a:lstStyle>
          <a:p>
            <a:fld id="{17D800ED-CB1B-4EBC-A0D2-2190AF4D8872}" type="slidenum">
              <a:rPr lang="en-GB" smtClean="0"/>
              <a:t>‹#›</a:t>
            </a:fld>
            <a:endParaRPr lang="en-GB"/>
          </a:p>
        </p:txBody>
      </p:sp>
      <p:sp>
        <p:nvSpPr>
          <p:cNvPr id="5" name="Title 1"/>
          <p:cNvSpPr txBox="1"/>
          <p:nvPr userDrawn="1"/>
        </p:nvSpPr>
        <p:spPr>
          <a:xfrm>
            <a:off x="442089" y="4779691"/>
            <a:ext cx="3897714" cy="776139"/>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chemeClr val="bg1"/>
                </a:solidFill>
                <a:latin typeface="Arial Black" charset="0"/>
                <a:ea typeface="Arial Black" charset="0"/>
                <a:cs typeface="Arial Black" charset="0"/>
              </a:defRPr>
            </a:lvl1pPr>
          </a:lstStyle>
          <a:p>
            <a:pPr>
              <a:defRPr/>
            </a:pPr>
            <a:r>
              <a:rPr lang="en-US" sz="6000">
                <a:solidFill>
                  <a:srgbClr val="FFFFFF"/>
                </a:solidFill>
                <a:latin typeface="+mj-lt"/>
              </a:rPr>
              <a:t>Agenda</a:t>
            </a:r>
            <a:endParaRPr lang="en-AU" sz="6000">
              <a:solidFill>
                <a:srgbClr val="FFFFFF"/>
              </a:solidFill>
              <a:latin typeface="+mj-lt"/>
            </a:endParaRPr>
          </a:p>
        </p:txBody>
      </p:sp>
      <p:cxnSp>
        <p:nvCxnSpPr>
          <p:cNvPr id="6" name="Straight Connector 5"/>
          <p:cNvCxnSpPr/>
          <p:nvPr userDrawn="1"/>
        </p:nvCxnSpPr>
        <p:spPr>
          <a:xfrm>
            <a:off x="3020870" y="-12700"/>
            <a:ext cx="2878228" cy="5765800"/>
          </a:xfrm>
          <a:prstGeom prst="line">
            <a:avLst/>
          </a:prstGeom>
          <a:noFill/>
          <a:ln w="9525" cap="flat" cmpd="sng" algn="ctr">
            <a:solidFill>
              <a:srgbClr val="FFFFFF"/>
            </a:solidFill>
            <a:prstDash val="dash"/>
            <a:tailEnd type="oval" w="med" len="med"/>
          </a:ln>
          <a:effectLst/>
        </p:spPr>
      </p:cxnSp>
      <p:grpSp>
        <p:nvGrpSpPr>
          <p:cNvPr id="7" name="Group 6"/>
          <p:cNvGrpSpPr/>
          <p:nvPr userDrawn="1"/>
        </p:nvGrpSpPr>
        <p:grpSpPr>
          <a:xfrm>
            <a:off x="4018358" y="2099805"/>
            <a:ext cx="215911" cy="215911"/>
            <a:chOff x="1028689" y="2361425"/>
            <a:chExt cx="215911" cy="215911"/>
          </a:xfrm>
        </p:grpSpPr>
        <p:sp>
          <p:nvSpPr>
            <p:cNvPr id="8" name="Oval 7"/>
            <p:cNvSpPr/>
            <p:nvPr/>
          </p:nvSpPr>
          <p:spPr>
            <a:xfrm>
              <a:off x="1028689" y="2361425"/>
              <a:ext cx="215911" cy="215911"/>
            </a:xfrm>
            <a:prstGeom prst="ellipse">
              <a:avLst/>
            </a:prstGeom>
            <a:noFill/>
            <a:ln w="9525" cap="flat" cmpd="sng" algn="ctr">
              <a:solidFill>
                <a:srgbClr val="00F3FF">
                  <a:lumMod val="20000"/>
                  <a:lumOff val="80000"/>
                </a:srgbClr>
              </a:solidFill>
              <a:prstDash val="solid"/>
              <a:tailEnd type="none" w="med" len="med"/>
            </a:ln>
            <a:effectLst/>
          </p:spPr>
          <p:txBody>
            <a:bodyPr rtlCol="0" anchor="ctr"/>
            <a:lstStyle/>
            <a:p>
              <a:pPr algn="ctr">
                <a:defRPr/>
              </a:pPr>
              <a:endParaRPr lang="en-AU" sz="1600" kern="0">
                <a:solidFill>
                  <a:srgbClr val="000000"/>
                </a:solidFill>
              </a:endParaRPr>
            </a:p>
          </p:txBody>
        </p:sp>
        <p:sp>
          <p:nvSpPr>
            <p:cNvPr id="9" name="Oval 8"/>
            <p:cNvSpPr/>
            <p:nvPr/>
          </p:nvSpPr>
          <p:spPr>
            <a:xfrm>
              <a:off x="1096138" y="2428876"/>
              <a:ext cx="81014" cy="81010"/>
            </a:xfrm>
            <a:prstGeom prst="ellipse">
              <a:avLst/>
            </a:prstGeom>
            <a:solidFill>
              <a:srgbClr val="FFFFFF"/>
            </a:solidFill>
            <a:ln w="9525" cap="flat" cmpd="sng" algn="ctr">
              <a:noFill/>
              <a:prstDash val="solid"/>
            </a:ln>
            <a:effectLst/>
          </p:spPr>
          <p:txBody>
            <a:bodyPr rtlCol="0" anchor="ctr"/>
            <a:lstStyle/>
            <a:p>
              <a:pPr algn="ctr">
                <a:defRPr/>
              </a:pPr>
              <a:endParaRPr lang="en-AU" sz="1600" kern="0">
                <a:solidFill>
                  <a:srgbClr val="FFFFFF"/>
                </a:solidFill>
              </a:endParaRPr>
            </a:p>
          </p:txBody>
        </p:sp>
      </p:grpSp>
      <p:grpSp>
        <p:nvGrpSpPr>
          <p:cNvPr id="10" name="Group 9"/>
          <p:cNvGrpSpPr/>
          <p:nvPr userDrawn="1"/>
        </p:nvGrpSpPr>
        <p:grpSpPr>
          <a:xfrm>
            <a:off x="4757498" y="3585705"/>
            <a:ext cx="215911" cy="215911"/>
            <a:chOff x="1028689" y="2361425"/>
            <a:chExt cx="215911" cy="215911"/>
          </a:xfrm>
        </p:grpSpPr>
        <p:sp>
          <p:nvSpPr>
            <p:cNvPr id="11" name="Oval 10"/>
            <p:cNvSpPr/>
            <p:nvPr/>
          </p:nvSpPr>
          <p:spPr>
            <a:xfrm>
              <a:off x="1028689" y="2361425"/>
              <a:ext cx="215911" cy="215911"/>
            </a:xfrm>
            <a:prstGeom prst="ellipse">
              <a:avLst/>
            </a:prstGeom>
            <a:noFill/>
            <a:ln w="9525" cap="flat" cmpd="sng" algn="ctr">
              <a:solidFill>
                <a:srgbClr val="00F3FF">
                  <a:lumMod val="20000"/>
                  <a:lumOff val="80000"/>
                </a:srgbClr>
              </a:solidFill>
              <a:prstDash val="solid"/>
              <a:tailEnd type="none" w="med" len="med"/>
            </a:ln>
            <a:effectLst/>
          </p:spPr>
          <p:txBody>
            <a:bodyPr rtlCol="0" anchor="ctr"/>
            <a:lstStyle/>
            <a:p>
              <a:pPr algn="ctr">
                <a:defRPr/>
              </a:pPr>
              <a:endParaRPr lang="en-AU" sz="1600" kern="0">
                <a:solidFill>
                  <a:srgbClr val="000000"/>
                </a:solidFill>
              </a:endParaRPr>
            </a:p>
          </p:txBody>
        </p:sp>
        <p:sp>
          <p:nvSpPr>
            <p:cNvPr id="12" name="Oval 11"/>
            <p:cNvSpPr/>
            <p:nvPr/>
          </p:nvSpPr>
          <p:spPr>
            <a:xfrm>
              <a:off x="1096138" y="2428876"/>
              <a:ext cx="81014" cy="81010"/>
            </a:xfrm>
            <a:prstGeom prst="ellipse">
              <a:avLst/>
            </a:prstGeom>
            <a:solidFill>
              <a:srgbClr val="FFFFFF"/>
            </a:solidFill>
            <a:ln w="9525" cap="flat" cmpd="sng" algn="ctr">
              <a:noFill/>
              <a:prstDash val="solid"/>
            </a:ln>
            <a:effectLst/>
          </p:spPr>
          <p:txBody>
            <a:bodyPr rtlCol="0" anchor="ctr"/>
            <a:lstStyle/>
            <a:p>
              <a:pPr algn="ctr">
                <a:defRPr/>
              </a:pPr>
              <a:endParaRPr lang="en-AU" sz="1600" kern="0">
                <a:solidFill>
                  <a:srgbClr val="FFFFFF"/>
                </a:solidFill>
              </a:endParaRPr>
            </a:p>
          </p:txBody>
        </p:sp>
      </p:grpSp>
      <p:grpSp>
        <p:nvGrpSpPr>
          <p:cNvPr id="13" name="Group 12"/>
          <p:cNvGrpSpPr/>
          <p:nvPr userDrawn="1"/>
        </p:nvGrpSpPr>
        <p:grpSpPr>
          <a:xfrm>
            <a:off x="5527118" y="5109705"/>
            <a:ext cx="215911" cy="215911"/>
            <a:chOff x="1028689" y="2361425"/>
            <a:chExt cx="215911" cy="215911"/>
          </a:xfrm>
        </p:grpSpPr>
        <p:sp>
          <p:nvSpPr>
            <p:cNvPr id="14" name="Oval 13"/>
            <p:cNvSpPr/>
            <p:nvPr/>
          </p:nvSpPr>
          <p:spPr>
            <a:xfrm>
              <a:off x="1028689" y="2361425"/>
              <a:ext cx="215911" cy="215911"/>
            </a:xfrm>
            <a:prstGeom prst="ellipse">
              <a:avLst/>
            </a:prstGeom>
            <a:noFill/>
            <a:ln w="9525" cap="flat" cmpd="sng" algn="ctr">
              <a:solidFill>
                <a:srgbClr val="00F3FF">
                  <a:lumMod val="20000"/>
                  <a:lumOff val="80000"/>
                </a:srgbClr>
              </a:solidFill>
              <a:prstDash val="solid"/>
              <a:tailEnd type="none" w="med" len="med"/>
            </a:ln>
            <a:effectLst/>
          </p:spPr>
          <p:txBody>
            <a:bodyPr rtlCol="0" anchor="ctr"/>
            <a:lstStyle/>
            <a:p>
              <a:pPr algn="ctr">
                <a:defRPr/>
              </a:pPr>
              <a:endParaRPr lang="en-AU" sz="1600" kern="0">
                <a:solidFill>
                  <a:srgbClr val="000000"/>
                </a:solidFill>
              </a:endParaRPr>
            </a:p>
          </p:txBody>
        </p:sp>
        <p:sp>
          <p:nvSpPr>
            <p:cNvPr id="15" name="Oval 14"/>
            <p:cNvSpPr/>
            <p:nvPr/>
          </p:nvSpPr>
          <p:spPr>
            <a:xfrm>
              <a:off x="1096138" y="2428876"/>
              <a:ext cx="81014" cy="81010"/>
            </a:xfrm>
            <a:prstGeom prst="ellipse">
              <a:avLst/>
            </a:prstGeom>
            <a:solidFill>
              <a:srgbClr val="FFFFFF"/>
            </a:solidFill>
            <a:ln w="9525" cap="flat" cmpd="sng" algn="ctr">
              <a:noFill/>
              <a:prstDash val="solid"/>
            </a:ln>
            <a:effectLst/>
          </p:spPr>
          <p:txBody>
            <a:bodyPr rtlCol="0" anchor="ctr"/>
            <a:lstStyle/>
            <a:p>
              <a:pPr algn="ctr">
                <a:defRPr/>
              </a:pPr>
              <a:endParaRPr lang="en-AU" sz="1600" kern="0">
                <a:solidFill>
                  <a:srgbClr val="FFFFFF"/>
                </a:solidFill>
              </a:endParaRPr>
            </a:p>
          </p:txBody>
        </p:sp>
      </p:grpSp>
      <p:cxnSp>
        <p:nvCxnSpPr>
          <p:cNvPr id="16" name="Straight Connector 15"/>
          <p:cNvCxnSpPr>
            <a:stCxn id="8" idx="6"/>
          </p:cNvCxnSpPr>
          <p:nvPr userDrawn="1"/>
        </p:nvCxnSpPr>
        <p:spPr>
          <a:xfrm>
            <a:off x="4234269" y="2207761"/>
            <a:ext cx="298253" cy="0"/>
          </a:xfrm>
          <a:prstGeom prst="line">
            <a:avLst/>
          </a:prstGeom>
          <a:noFill/>
          <a:ln w="9525" cap="flat" cmpd="sng" algn="ctr">
            <a:solidFill>
              <a:srgbClr val="00F3FF">
                <a:lumMod val="20000"/>
                <a:lumOff val="80000"/>
              </a:srgbClr>
            </a:solidFill>
            <a:prstDash val="solid"/>
            <a:headEnd type="none"/>
            <a:tailEnd type="triangle"/>
          </a:ln>
          <a:effectLst/>
        </p:spPr>
      </p:cxnSp>
      <p:cxnSp>
        <p:nvCxnSpPr>
          <p:cNvPr id="17" name="Straight Connector 16"/>
          <p:cNvCxnSpPr/>
          <p:nvPr userDrawn="1"/>
        </p:nvCxnSpPr>
        <p:spPr>
          <a:xfrm>
            <a:off x="4977220" y="3693660"/>
            <a:ext cx="298253" cy="0"/>
          </a:xfrm>
          <a:prstGeom prst="line">
            <a:avLst/>
          </a:prstGeom>
          <a:noFill/>
          <a:ln w="9525" cap="flat" cmpd="sng" algn="ctr">
            <a:solidFill>
              <a:srgbClr val="00F3FF">
                <a:lumMod val="20000"/>
                <a:lumOff val="80000"/>
              </a:srgbClr>
            </a:solidFill>
            <a:prstDash val="solid"/>
            <a:headEnd type="none"/>
            <a:tailEnd type="triangle"/>
          </a:ln>
          <a:effectLst/>
        </p:spPr>
      </p:cxnSp>
      <p:cxnSp>
        <p:nvCxnSpPr>
          <p:cNvPr id="18" name="Straight Connector 17"/>
          <p:cNvCxnSpPr/>
          <p:nvPr userDrawn="1"/>
        </p:nvCxnSpPr>
        <p:spPr>
          <a:xfrm>
            <a:off x="5743029" y="5217660"/>
            <a:ext cx="298253" cy="0"/>
          </a:xfrm>
          <a:prstGeom prst="line">
            <a:avLst/>
          </a:prstGeom>
          <a:noFill/>
          <a:ln w="9525" cap="flat" cmpd="sng" algn="ctr">
            <a:solidFill>
              <a:srgbClr val="00F3FF">
                <a:lumMod val="20000"/>
                <a:lumOff val="80000"/>
              </a:srgbClr>
            </a:solidFill>
            <a:prstDash val="solid"/>
            <a:headEnd type="none"/>
            <a:tailEnd type="triangle"/>
          </a:ln>
          <a:effectLst/>
        </p:spPr>
      </p:cxnSp>
      <p:cxnSp>
        <p:nvCxnSpPr>
          <p:cNvPr id="19" name="Straight Connector 18"/>
          <p:cNvCxnSpPr/>
          <p:nvPr userDrawn="1"/>
        </p:nvCxnSpPr>
        <p:spPr>
          <a:xfrm>
            <a:off x="6816080" y="0"/>
            <a:ext cx="2912901" cy="5835258"/>
          </a:xfrm>
          <a:prstGeom prst="line">
            <a:avLst/>
          </a:prstGeom>
          <a:noFill/>
          <a:ln w="9525" cap="flat" cmpd="sng" algn="ctr">
            <a:solidFill>
              <a:srgbClr val="FFFFFF"/>
            </a:solidFill>
            <a:prstDash val="dash"/>
            <a:tailEnd type="oval" w="med" len="med"/>
          </a:ln>
          <a:effectLst/>
        </p:spPr>
      </p:cxnSp>
      <p:grpSp>
        <p:nvGrpSpPr>
          <p:cNvPr id="20" name="Group 19"/>
          <p:cNvGrpSpPr/>
          <p:nvPr userDrawn="1"/>
        </p:nvGrpSpPr>
        <p:grpSpPr>
          <a:xfrm>
            <a:off x="7810749" y="2099805"/>
            <a:ext cx="215911" cy="215911"/>
            <a:chOff x="1028689" y="2361425"/>
            <a:chExt cx="215911" cy="215911"/>
          </a:xfrm>
        </p:grpSpPr>
        <p:sp>
          <p:nvSpPr>
            <p:cNvPr id="21" name="Oval 20"/>
            <p:cNvSpPr/>
            <p:nvPr/>
          </p:nvSpPr>
          <p:spPr>
            <a:xfrm>
              <a:off x="1028689" y="2361425"/>
              <a:ext cx="215911" cy="215911"/>
            </a:xfrm>
            <a:prstGeom prst="ellipse">
              <a:avLst/>
            </a:prstGeom>
            <a:noFill/>
            <a:ln w="9525" cap="flat" cmpd="sng" algn="ctr">
              <a:solidFill>
                <a:srgbClr val="00F3FF">
                  <a:lumMod val="20000"/>
                  <a:lumOff val="80000"/>
                </a:srgbClr>
              </a:solidFill>
              <a:prstDash val="solid"/>
              <a:tailEnd type="none" w="med" len="med"/>
            </a:ln>
            <a:effectLst/>
          </p:spPr>
          <p:txBody>
            <a:bodyPr rtlCol="0" anchor="ctr"/>
            <a:lstStyle/>
            <a:p>
              <a:pPr algn="ctr">
                <a:defRPr/>
              </a:pPr>
              <a:endParaRPr lang="en-AU" sz="1600" kern="0">
                <a:solidFill>
                  <a:srgbClr val="000000"/>
                </a:solidFill>
              </a:endParaRPr>
            </a:p>
          </p:txBody>
        </p:sp>
        <p:sp>
          <p:nvSpPr>
            <p:cNvPr id="22" name="Oval 21"/>
            <p:cNvSpPr/>
            <p:nvPr/>
          </p:nvSpPr>
          <p:spPr>
            <a:xfrm>
              <a:off x="1096138" y="2428876"/>
              <a:ext cx="81014" cy="81010"/>
            </a:xfrm>
            <a:prstGeom prst="ellipse">
              <a:avLst/>
            </a:prstGeom>
            <a:solidFill>
              <a:srgbClr val="FFFFFF"/>
            </a:solidFill>
            <a:ln w="9525" cap="flat" cmpd="sng" algn="ctr">
              <a:noFill/>
              <a:prstDash val="solid"/>
            </a:ln>
            <a:effectLst/>
          </p:spPr>
          <p:txBody>
            <a:bodyPr rtlCol="0" anchor="ctr"/>
            <a:lstStyle/>
            <a:p>
              <a:pPr algn="ctr">
                <a:defRPr/>
              </a:pPr>
              <a:endParaRPr lang="en-AU" sz="1600" kern="0">
                <a:solidFill>
                  <a:srgbClr val="FFFFFF"/>
                </a:solidFill>
              </a:endParaRPr>
            </a:p>
          </p:txBody>
        </p:sp>
      </p:grpSp>
      <p:grpSp>
        <p:nvGrpSpPr>
          <p:cNvPr id="23" name="Group 22"/>
          <p:cNvGrpSpPr/>
          <p:nvPr userDrawn="1"/>
        </p:nvGrpSpPr>
        <p:grpSpPr>
          <a:xfrm>
            <a:off x="8549889" y="3585705"/>
            <a:ext cx="215911" cy="215911"/>
            <a:chOff x="1028689" y="2361425"/>
            <a:chExt cx="215911" cy="215911"/>
          </a:xfrm>
        </p:grpSpPr>
        <p:sp>
          <p:nvSpPr>
            <p:cNvPr id="24" name="Oval 23"/>
            <p:cNvSpPr/>
            <p:nvPr/>
          </p:nvSpPr>
          <p:spPr>
            <a:xfrm>
              <a:off x="1028689" y="2361425"/>
              <a:ext cx="215911" cy="215911"/>
            </a:xfrm>
            <a:prstGeom prst="ellipse">
              <a:avLst/>
            </a:prstGeom>
            <a:noFill/>
            <a:ln w="9525" cap="flat" cmpd="sng" algn="ctr">
              <a:solidFill>
                <a:srgbClr val="00F3FF">
                  <a:lumMod val="20000"/>
                  <a:lumOff val="80000"/>
                </a:srgbClr>
              </a:solidFill>
              <a:prstDash val="solid"/>
              <a:tailEnd type="none" w="med" len="med"/>
            </a:ln>
            <a:effectLst/>
          </p:spPr>
          <p:txBody>
            <a:bodyPr rtlCol="0" anchor="ctr"/>
            <a:lstStyle/>
            <a:p>
              <a:pPr algn="ctr">
                <a:defRPr/>
              </a:pPr>
              <a:endParaRPr lang="en-AU" sz="1600" kern="0">
                <a:solidFill>
                  <a:srgbClr val="000000"/>
                </a:solidFill>
              </a:endParaRPr>
            </a:p>
          </p:txBody>
        </p:sp>
        <p:sp>
          <p:nvSpPr>
            <p:cNvPr id="25" name="Oval 24"/>
            <p:cNvSpPr/>
            <p:nvPr/>
          </p:nvSpPr>
          <p:spPr>
            <a:xfrm>
              <a:off x="1096138" y="2428876"/>
              <a:ext cx="81014" cy="81010"/>
            </a:xfrm>
            <a:prstGeom prst="ellipse">
              <a:avLst/>
            </a:prstGeom>
            <a:solidFill>
              <a:srgbClr val="FFFFFF"/>
            </a:solidFill>
            <a:ln w="9525" cap="flat" cmpd="sng" algn="ctr">
              <a:noFill/>
              <a:prstDash val="solid"/>
            </a:ln>
            <a:effectLst/>
          </p:spPr>
          <p:txBody>
            <a:bodyPr rtlCol="0" anchor="ctr"/>
            <a:lstStyle/>
            <a:p>
              <a:pPr algn="ctr">
                <a:defRPr/>
              </a:pPr>
              <a:endParaRPr lang="en-AU" sz="1600" kern="0">
                <a:solidFill>
                  <a:srgbClr val="FFFFFF"/>
                </a:solidFill>
              </a:endParaRPr>
            </a:p>
          </p:txBody>
        </p:sp>
      </p:grpSp>
      <p:cxnSp>
        <p:nvCxnSpPr>
          <p:cNvPr id="26" name="Straight Connector 25"/>
          <p:cNvCxnSpPr/>
          <p:nvPr userDrawn="1"/>
        </p:nvCxnSpPr>
        <p:spPr>
          <a:xfrm>
            <a:off x="8026660" y="2207760"/>
            <a:ext cx="298253" cy="0"/>
          </a:xfrm>
          <a:prstGeom prst="line">
            <a:avLst/>
          </a:prstGeom>
          <a:noFill/>
          <a:ln w="9525" cap="flat" cmpd="sng" algn="ctr">
            <a:solidFill>
              <a:srgbClr val="00F3FF">
                <a:lumMod val="20000"/>
                <a:lumOff val="80000"/>
              </a:srgbClr>
            </a:solidFill>
            <a:prstDash val="solid"/>
            <a:headEnd type="none"/>
            <a:tailEnd type="triangle"/>
          </a:ln>
          <a:effectLst/>
        </p:spPr>
      </p:cxnSp>
      <p:cxnSp>
        <p:nvCxnSpPr>
          <p:cNvPr id="27" name="Straight Connector 26"/>
          <p:cNvCxnSpPr/>
          <p:nvPr userDrawn="1"/>
        </p:nvCxnSpPr>
        <p:spPr>
          <a:xfrm>
            <a:off x="8765800" y="3693660"/>
            <a:ext cx="298253" cy="0"/>
          </a:xfrm>
          <a:prstGeom prst="line">
            <a:avLst/>
          </a:prstGeom>
          <a:noFill/>
          <a:ln w="9525" cap="flat" cmpd="sng" algn="ctr">
            <a:solidFill>
              <a:srgbClr val="00F3FF">
                <a:lumMod val="20000"/>
                <a:lumOff val="80000"/>
              </a:srgbClr>
            </a:solidFill>
            <a:prstDash val="solid"/>
            <a:headEnd type="none"/>
            <a:tailEnd type="triangle"/>
          </a:ln>
          <a:effectLst/>
        </p:spPr>
      </p:cxnSp>
      <p:sp>
        <p:nvSpPr>
          <p:cNvPr id="28" name="Text Placeholder 2"/>
          <p:cNvSpPr>
            <a:spLocks noGrp="1"/>
          </p:cNvSpPr>
          <p:nvPr>
            <p:ph type="body" sz="quarter" idx="33" hasCustomPrompt="1"/>
          </p:nvPr>
        </p:nvSpPr>
        <p:spPr>
          <a:xfrm>
            <a:off x="4673864" y="1961546"/>
            <a:ext cx="2878137" cy="525463"/>
          </a:xfrm>
        </p:spPr>
        <p:txBody>
          <a:bodyPr anchor="ctr" anchorCtr="0"/>
          <a:lstStyle>
            <a:lvl1pPr>
              <a:lnSpc>
                <a:spcPct val="80000"/>
              </a:lnSpc>
              <a:spcBef>
                <a:spcPct val="0"/>
              </a:spcBef>
              <a:defRPr sz="1800" cap="all" baseline="0">
                <a:solidFill>
                  <a:schemeClr val="bg1"/>
                </a:solidFill>
                <a:latin typeface="+mj-lt"/>
              </a:defRPr>
            </a:lvl1pPr>
            <a:lvl2pPr marL="0" indent="0">
              <a:lnSpc>
                <a:spcPct val="80000"/>
              </a:lnSpc>
              <a:spcBef>
                <a:spcPct val="0"/>
              </a:spcBef>
              <a:buNone/>
              <a:defRPr sz="1800" cap="all" baseline="0">
                <a:solidFill>
                  <a:schemeClr val="bg1"/>
                </a:solidFill>
                <a:latin typeface="+mj-lt"/>
              </a:defRPr>
            </a:lvl2pPr>
          </a:lstStyle>
          <a:p>
            <a:pPr lvl="0"/>
            <a:r>
              <a:rPr lang="en-US"/>
              <a:t>Insert item</a:t>
            </a:r>
          </a:p>
          <a:p>
            <a:pPr lvl="1"/>
            <a:r>
              <a:rPr lang="en-US"/>
              <a:t>Max two lines</a:t>
            </a:r>
          </a:p>
        </p:txBody>
      </p:sp>
      <p:sp>
        <p:nvSpPr>
          <p:cNvPr id="29" name="Text Placeholder 2"/>
          <p:cNvSpPr>
            <a:spLocks noGrp="1"/>
          </p:cNvSpPr>
          <p:nvPr>
            <p:ph type="body" sz="quarter" idx="34" hasCustomPrompt="1"/>
          </p:nvPr>
        </p:nvSpPr>
        <p:spPr>
          <a:xfrm>
            <a:off x="5402444" y="3435339"/>
            <a:ext cx="2878137" cy="525463"/>
          </a:xfrm>
        </p:spPr>
        <p:txBody>
          <a:bodyPr anchor="ctr" anchorCtr="0"/>
          <a:lstStyle>
            <a:lvl1pPr>
              <a:lnSpc>
                <a:spcPct val="80000"/>
              </a:lnSpc>
              <a:spcBef>
                <a:spcPct val="0"/>
              </a:spcBef>
              <a:defRPr sz="1800" cap="all" baseline="0">
                <a:solidFill>
                  <a:schemeClr val="bg1"/>
                </a:solidFill>
                <a:latin typeface="+mj-lt"/>
              </a:defRPr>
            </a:lvl1pPr>
            <a:lvl2pPr marL="0" indent="0">
              <a:lnSpc>
                <a:spcPct val="80000"/>
              </a:lnSpc>
              <a:spcBef>
                <a:spcPct val="0"/>
              </a:spcBef>
              <a:buNone/>
              <a:defRPr sz="1800" cap="all" baseline="0">
                <a:solidFill>
                  <a:schemeClr val="bg1"/>
                </a:solidFill>
                <a:latin typeface="+mj-lt"/>
              </a:defRPr>
            </a:lvl2pPr>
          </a:lstStyle>
          <a:p>
            <a:pPr lvl="0"/>
            <a:r>
              <a:rPr lang="en-US"/>
              <a:t>Insert item</a:t>
            </a:r>
          </a:p>
          <a:p>
            <a:pPr lvl="1"/>
            <a:r>
              <a:rPr lang="en-US"/>
              <a:t>Max two lines</a:t>
            </a:r>
          </a:p>
        </p:txBody>
      </p:sp>
      <p:sp>
        <p:nvSpPr>
          <p:cNvPr id="30" name="Text Placeholder 2"/>
          <p:cNvSpPr>
            <a:spLocks noGrp="1"/>
          </p:cNvSpPr>
          <p:nvPr>
            <p:ph type="body" sz="quarter" idx="35" hasCustomPrompt="1"/>
          </p:nvPr>
        </p:nvSpPr>
        <p:spPr>
          <a:xfrm>
            <a:off x="6177520" y="4954928"/>
            <a:ext cx="2878137" cy="525463"/>
          </a:xfrm>
        </p:spPr>
        <p:txBody>
          <a:bodyPr anchor="ctr" anchorCtr="0"/>
          <a:lstStyle>
            <a:lvl1pPr>
              <a:lnSpc>
                <a:spcPct val="80000"/>
              </a:lnSpc>
              <a:spcBef>
                <a:spcPct val="0"/>
              </a:spcBef>
              <a:defRPr sz="1800" cap="all" baseline="0">
                <a:solidFill>
                  <a:schemeClr val="bg1"/>
                </a:solidFill>
                <a:latin typeface="+mj-lt"/>
              </a:defRPr>
            </a:lvl1pPr>
            <a:lvl2pPr marL="0" indent="0">
              <a:lnSpc>
                <a:spcPct val="80000"/>
              </a:lnSpc>
              <a:spcBef>
                <a:spcPct val="0"/>
              </a:spcBef>
              <a:buNone/>
              <a:defRPr sz="1800" cap="all" baseline="0">
                <a:solidFill>
                  <a:schemeClr val="bg1"/>
                </a:solidFill>
                <a:latin typeface="+mj-lt"/>
              </a:defRPr>
            </a:lvl2pPr>
          </a:lstStyle>
          <a:p>
            <a:pPr lvl="0"/>
            <a:r>
              <a:rPr lang="en-US"/>
              <a:t>Insert item</a:t>
            </a:r>
          </a:p>
          <a:p>
            <a:pPr lvl="1"/>
            <a:r>
              <a:rPr lang="en-US"/>
              <a:t>Max two lines</a:t>
            </a:r>
          </a:p>
        </p:txBody>
      </p:sp>
      <p:sp>
        <p:nvSpPr>
          <p:cNvPr id="31" name="Text Placeholder 2"/>
          <p:cNvSpPr>
            <a:spLocks noGrp="1"/>
          </p:cNvSpPr>
          <p:nvPr>
            <p:ph type="body" sz="quarter" idx="36" hasCustomPrompt="1"/>
          </p:nvPr>
        </p:nvSpPr>
        <p:spPr>
          <a:xfrm>
            <a:off x="8454328" y="1961546"/>
            <a:ext cx="3394838" cy="525463"/>
          </a:xfrm>
        </p:spPr>
        <p:txBody>
          <a:bodyPr anchor="ctr" anchorCtr="0"/>
          <a:lstStyle>
            <a:lvl1pPr>
              <a:lnSpc>
                <a:spcPct val="80000"/>
              </a:lnSpc>
              <a:spcBef>
                <a:spcPct val="0"/>
              </a:spcBef>
              <a:defRPr sz="1800" cap="all" baseline="0">
                <a:solidFill>
                  <a:schemeClr val="bg1"/>
                </a:solidFill>
                <a:latin typeface="+mj-lt"/>
              </a:defRPr>
            </a:lvl1pPr>
            <a:lvl2pPr marL="0" indent="0">
              <a:lnSpc>
                <a:spcPct val="80000"/>
              </a:lnSpc>
              <a:spcBef>
                <a:spcPct val="0"/>
              </a:spcBef>
              <a:buNone/>
              <a:defRPr sz="1800" cap="all" baseline="0">
                <a:solidFill>
                  <a:schemeClr val="bg1"/>
                </a:solidFill>
                <a:latin typeface="+mj-lt"/>
              </a:defRPr>
            </a:lvl2pPr>
          </a:lstStyle>
          <a:p>
            <a:pPr lvl="0"/>
            <a:r>
              <a:rPr lang="en-US"/>
              <a:t>Insert item</a:t>
            </a:r>
          </a:p>
          <a:p>
            <a:pPr lvl="1"/>
            <a:r>
              <a:rPr lang="en-US"/>
              <a:t>Max two lines</a:t>
            </a:r>
          </a:p>
        </p:txBody>
      </p:sp>
      <p:sp>
        <p:nvSpPr>
          <p:cNvPr id="32" name="Text Placeholder 2"/>
          <p:cNvSpPr>
            <a:spLocks noGrp="1"/>
          </p:cNvSpPr>
          <p:nvPr>
            <p:ph type="body" sz="quarter" idx="37" hasCustomPrompt="1"/>
          </p:nvPr>
        </p:nvSpPr>
        <p:spPr>
          <a:xfrm>
            <a:off x="9190498" y="3430928"/>
            <a:ext cx="2624106" cy="525463"/>
          </a:xfrm>
        </p:spPr>
        <p:txBody>
          <a:bodyPr anchor="ctr" anchorCtr="0"/>
          <a:lstStyle>
            <a:lvl1pPr>
              <a:lnSpc>
                <a:spcPct val="80000"/>
              </a:lnSpc>
              <a:spcBef>
                <a:spcPct val="0"/>
              </a:spcBef>
              <a:defRPr sz="1800" cap="all" baseline="0">
                <a:solidFill>
                  <a:schemeClr val="bg1"/>
                </a:solidFill>
                <a:latin typeface="+mj-lt"/>
              </a:defRPr>
            </a:lvl1pPr>
            <a:lvl2pPr marL="0" indent="0">
              <a:lnSpc>
                <a:spcPct val="80000"/>
              </a:lnSpc>
              <a:spcBef>
                <a:spcPct val="0"/>
              </a:spcBef>
              <a:buNone/>
              <a:defRPr sz="1800" cap="all" baseline="0">
                <a:solidFill>
                  <a:schemeClr val="bg1"/>
                </a:solidFill>
                <a:latin typeface="+mj-lt"/>
              </a:defRPr>
            </a:lvl2pPr>
          </a:lstStyle>
          <a:p>
            <a:pPr lvl="0"/>
            <a:r>
              <a:rPr lang="en-US"/>
              <a:t>Insert item</a:t>
            </a:r>
          </a:p>
          <a:p>
            <a:pPr lvl="1"/>
            <a:r>
              <a:rPr lang="en-US"/>
              <a:t>Max two lines</a:t>
            </a:r>
          </a:p>
        </p:txBody>
      </p:sp>
    </p:spTree>
    <p:extLst>
      <p:ext uri="{BB962C8B-B14F-4D97-AF65-F5344CB8AC3E}">
        <p14:creationId xmlns:p14="http://schemas.microsoft.com/office/powerpoint/2010/main" val="1673914946"/>
      </p:ext>
    </p:extLst>
  </p:cSld>
  <p:clrMapOvr>
    <a:masterClrMapping/>
  </p:clrMapOvr>
  <p:transition/>
  <p:timing/>
</p:sldLayout>
</file>

<file path=ppt/slideLayouts/slideLayout14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genda_1Column_RHS">
    <p:spTree>
      <p:nvGrpSpPr>
        <p:cNvPr id="1" name=""/>
        <p:cNvGrpSpPr/>
        <p:nvPr/>
      </p:nvGrpSpPr>
      <p:grpSpPr>
        <a:xfrm>
          <a:off x="0" y="0"/>
          <a:ext cx="0" cy="0"/>
        </a:xfrm>
      </p:grpSpPr>
      <p:sp>
        <p:nvSpPr>
          <p:cNvPr id="2" name="Footer Placeholder 1"/>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p>
        </p:txBody>
      </p:sp>
      <p:sp>
        <p:nvSpPr>
          <p:cNvPr id="3" name="Slide Number Placeholder 2"/>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8" name="Text Placeholder 7"/>
          <p:cNvSpPr>
            <a:spLocks noGrp="1"/>
          </p:cNvSpPr>
          <p:nvPr>
            <p:ph type="body" sz="quarter" idx="33" hasCustomPrompt="1"/>
          </p:nvPr>
        </p:nvSpPr>
        <p:spPr>
          <a:xfrm>
            <a:off x="6583589" y="1280817"/>
            <a:ext cx="5271861" cy="4307478"/>
          </a:xfrm>
        </p:spPr>
        <p:txBody>
          <a:bodyPr/>
          <a:lstStyle>
            <a:lvl1pPr marL="347593" marR="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b="0">
                <a:solidFill>
                  <a:schemeClr val="accent3">
                    <a:lumMod val="40000"/>
                    <a:lumOff val="60000"/>
                  </a:schemeClr>
                </a:solidFill>
                <a:latin typeface="+mj-lt"/>
              </a:defRPr>
            </a:lvl1pPr>
            <a:lvl2pPr marL="0" indent="0">
              <a:lnSpc>
                <a:spcPct val="90000"/>
              </a:lnSpc>
              <a:spcBef>
                <a:spcPts val="1200"/>
              </a:spcBef>
              <a:buNone/>
              <a:defRPr>
                <a:solidFill>
                  <a:schemeClr val="bg2">
                    <a:lumMod val="60000"/>
                    <a:lumOff val="40000"/>
                  </a:schemeClr>
                </a:solidFill>
                <a:latin typeface="Arial Black" panose="020b0a04020102020204" pitchFamily="34" charset="0"/>
              </a:defRPr>
            </a:lvl2pPr>
            <a:lvl3pPr>
              <a:lnSpc>
                <a:spcPct val="90000"/>
              </a:lnSpc>
              <a:spcBef>
                <a:spcPts val="1200"/>
              </a:spcBef>
              <a:defRPr>
                <a:solidFill>
                  <a:schemeClr val="bg2">
                    <a:lumMod val="60000"/>
                    <a:lumOff val="40000"/>
                  </a:schemeClr>
                </a:solidFill>
                <a:latin typeface="Arial Black" panose="020b0a04020102020204" pitchFamily="34" charset="0"/>
              </a:defRPr>
            </a:lvl3pPr>
            <a:lvl4pPr>
              <a:lnSpc>
                <a:spcPct val="90000"/>
              </a:lnSpc>
              <a:spcBef>
                <a:spcPts val="1200"/>
              </a:spcBef>
              <a:defRPr>
                <a:solidFill>
                  <a:schemeClr val="bg2">
                    <a:lumMod val="60000"/>
                    <a:lumOff val="40000"/>
                  </a:schemeClr>
                </a:solidFill>
                <a:latin typeface="Arial Black" panose="020b0a04020102020204" pitchFamily="34" charset="0"/>
              </a:defRPr>
            </a:lvl4pPr>
            <a:lvl5pPr>
              <a:lnSpc>
                <a:spcPct val="90000"/>
              </a:lnSpc>
              <a:spcBef>
                <a:spcPts val="1200"/>
              </a:spcBef>
              <a:defRPr>
                <a:solidFill>
                  <a:schemeClr val="bg2">
                    <a:lumMod val="60000"/>
                    <a:lumOff val="40000"/>
                  </a:schemeClr>
                </a:solidFill>
                <a:latin typeface="Arial Black" panose="020b0a04020102020204" pitchFamily="34" charset="0"/>
              </a:defRPr>
            </a:lvl5pPr>
          </a:lstStyle>
          <a:p>
            <a:pPr lvl="0"/>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endParaRPr lang="en-US" b="1"/>
          </a:p>
          <a:p>
            <a:pPr lvl="0"/>
            <a:endParaRPr lang="en-US"/>
          </a:p>
        </p:txBody>
      </p:sp>
    </p:spTree>
    <p:extLst>
      <p:ext uri="{BB962C8B-B14F-4D97-AF65-F5344CB8AC3E}">
        <p14:creationId xmlns:p14="http://schemas.microsoft.com/office/powerpoint/2010/main" val="3877341476"/>
      </p:ext>
    </p:extLst>
  </p:cSld>
  <p:clrMapOvr>
    <a:masterClrMapping/>
  </p:clrMapOvr>
  <p:transition/>
  <p:timing/>
</p:sldLayout>
</file>

<file path=ppt/slideLayouts/slideLayout14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genda_1Column_Image LHS">
    <p:spTree>
      <p:nvGrpSpPr>
        <p:cNvPr id="1" name=""/>
        <p:cNvGrpSpPr/>
        <p:nvPr/>
      </p:nvGrpSpPr>
      <p:grpSpPr>
        <a:xfrm>
          <a:off x="0" y="0"/>
          <a:ext cx="0" cy="0"/>
        </a:xfrm>
      </p:grpSpPr>
      <p:sp>
        <p:nvSpPr>
          <p:cNvPr id="2" name="Footer Placeholder 1"/>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p>
        </p:txBody>
      </p:sp>
      <p:sp>
        <p:nvSpPr>
          <p:cNvPr id="3" name="Slide Number Placeholder 2"/>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8" name="Text Placeholder 7"/>
          <p:cNvSpPr>
            <a:spLocks noGrp="1"/>
          </p:cNvSpPr>
          <p:nvPr>
            <p:ph type="body" sz="quarter" idx="33" hasCustomPrompt="1"/>
          </p:nvPr>
        </p:nvSpPr>
        <p:spPr>
          <a:xfrm>
            <a:off x="1326247" y="1425957"/>
            <a:ext cx="7275179" cy="4307478"/>
          </a:xfrm>
        </p:spPr>
        <p:txBody>
          <a:bodyPr/>
          <a:lstStyle>
            <a:lvl1pPr marL="347593" marR="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b="0">
                <a:solidFill>
                  <a:schemeClr val="accent3">
                    <a:lumMod val="40000"/>
                    <a:lumOff val="60000"/>
                  </a:schemeClr>
                </a:solidFill>
                <a:latin typeface="+mj-lt"/>
              </a:defRPr>
            </a:lvl1pPr>
            <a:lvl2pPr marL="0" indent="0">
              <a:lnSpc>
                <a:spcPct val="90000"/>
              </a:lnSpc>
              <a:spcBef>
                <a:spcPts val="1200"/>
              </a:spcBef>
              <a:buNone/>
              <a:defRPr>
                <a:solidFill>
                  <a:schemeClr val="bg2">
                    <a:lumMod val="60000"/>
                    <a:lumOff val="40000"/>
                  </a:schemeClr>
                </a:solidFill>
                <a:latin typeface="Arial Black" panose="020b0a04020102020204" pitchFamily="34" charset="0"/>
              </a:defRPr>
            </a:lvl2pPr>
            <a:lvl3pPr>
              <a:lnSpc>
                <a:spcPct val="90000"/>
              </a:lnSpc>
              <a:spcBef>
                <a:spcPts val="1200"/>
              </a:spcBef>
              <a:defRPr>
                <a:solidFill>
                  <a:schemeClr val="bg2">
                    <a:lumMod val="60000"/>
                    <a:lumOff val="40000"/>
                  </a:schemeClr>
                </a:solidFill>
                <a:latin typeface="Arial Black" panose="020b0a04020102020204" pitchFamily="34" charset="0"/>
              </a:defRPr>
            </a:lvl3pPr>
            <a:lvl4pPr>
              <a:lnSpc>
                <a:spcPct val="90000"/>
              </a:lnSpc>
              <a:spcBef>
                <a:spcPts val="1200"/>
              </a:spcBef>
              <a:defRPr>
                <a:solidFill>
                  <a:schemeClr val="bg2">
                    <a:lumMod val="60000"/>
                    <a:lumOff val="40000"/>
                  </a:schemeClr>
                </a:solidFill>
                <a:latin typeface="Arial Black" panose="020b0a04020102020204" pitchFamily="34" charset="0"/>
              </a:defRPr>
            </a:lvl4pPr>
            <a:lvl5pPr>
              <a:lnSpc>
                <a:spcPct val="90000"/>
              </a:lnSpc>
              <a:spcBef>
                <a:spcPts val="1200"/>
              </a:spcBef>
              <a:defRPr>
                <a:solidFill>
                  <a:schemeClr val="bg2">
                    <a:lumMod val="60000"/>
                    <a:lumOff val="40000"/>
                  </a:schemeClr>
                </a:solidFill>
                <a:latin typeface="Arial Black" panose="020b0a04020102020204" pitchFamily="34" charset="0"/>
              </a:defRPr>
            </a:lvl5pPr>
          </a:lstStyle>
          <a:p>
            <a:pPr lvl="0"/>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endParaRPr lang="en-US" b="1"/>
          </a:p>
          <a:p>
            <a:pPr lvl="0"/>
            <a:endParaRPr lang="en-US"/>
          </a:p>
        </p:txBody>
      </p:sp>
    </p:spTree>
    <p:extLst>
      <p:ext uri="{BB962C8B-B14F-4D97-AF65-F5344CB8AC3E}">
        <p14:creationId xmlns:p14="http://schemas.microsoft.com/office/powerpoint/2010/main" val="1819717849"/>
      </p:ext>
    </p:extLst>
  </p:cSld>
  <p:clrMapOvr>
    <a:masterClrMapping/>
  </p:clrMapOvr>
  <p:transition/>
  <p:timing/>
</p:sldLayout>
</file>

<file path=ppt/slideLayouts/slideLayout14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Content_White">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2" name="Title 1"/>
          <p:cNvSpPr>
            <a:spLocks noGrp="1"/>
          </p:cNvSpPr>
          <p:nvPr>
            <p:ph type="title" hasCustomPrompt="1"/>
          </p:nvPr>
        </p:nvSpPr>
        <p:spPr/>
        <p:txBody>
          <a:bodyPr/>
          <a:lstStyle/>
          <a:p>
            <a:r>
              <a:rPr lang="en-US"/>
              <a:t>INSERT MAIN TITLE AT 32PT MIN 30PT</a:t>
            </a:r>
          </a:p>
        </p:txBody>
      </p:sp>
      <p:sp>
        <p:nvSpPr>
          <p:cNvPr id="5" name="Content Placeholder 4"/>
          <p:cNvSpPr>
            <a:spLocks noGrp="1"/>
          </p:cNvSpPr>
          <p:nvPr>
            <p:ph sz="quarter" idx="33" hasCustomPrompt="1"/>
          </p:nvPr>
        </p:nvSpPr>
        <p:spPr>
          <a:xfrm>
            <a:off x="334964" y="1763713"/>
            <a:ext cx="10037762" cy="4294187"/>
          </a:xfrm>
        </p:spPr>
        <p:txBody>
          <a:body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302145589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4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Subtitle_Content_White">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2" name="Title 1"/>
          <p:cNvSpPr>
            <a:spLocks noGrp="1"/>
          </p:cNvSpPr>
          <p:nvPr>
            <p:ph type="title" hasCustomPrompt="1"/>
          </p:nvPr>
        </p:nvSpPr>
        <p:spPr/>
        <p:txBody>
          <a:bodyPr/>
          <a:lstStyle/>
          <a:p>
            <a:r>
              <a:rPr lang="en-US"/>
              <a:t>INSERT MAIN TITLE AT 32PT MIN 30PT</a:t>
            </a:r>
          </a:p>
        </p:txBody>
      </p:sp>
      <p:sp>
        <p:nvSpPr>
          <p:cNvPr id="9" name="Text Placeholder 4"/>
          <p:cNvSpPr>
            <a:spLocks noGrp="1"/>
          </p:cNvSpPr>
          <p:nvPr>
            <p:ph type="body" sz="quarter" idx="36" hasCustomPrompt="1"/>
          </p:nvPr>
        </p:nvSpPr>
        <p:spPr>
          <a:xfrm>
            <a:off x="345019" y="1167149"/>
            <a:ext cx="10027706" cy="323165"/>
          </a:xfrm>
        </p:spPr>
        <p:txBody>
          <a:bodyPr wrap="square">
            <a:spAutoFit/>
          </a:bodyPr>
          <a:lstStyle>
            <a:lvl1pPr algn="l">
              <a:lnSpc>
                <a:spcPct val="100000"/>
              </a:lnSpc>
              <a:spcBef>
                <a:spcPct val="0"/>
              </a:spcBef>
              <a:defRPr sz="2100" b="0">
                <a:solidFill>
                  <a:schemeClr val="accent3"/>
                </a:solidFill>
                <a:latin typeface="+mn-lt"/>
              </a:defRPr>
            </a:lvl1pPr>
          </a:lstStyle>
          <a:p>
            <a:r>
              <a:rPr lang="en-US"/>
              <a:t>Insert sub-title here at 21pt, minimum 18pt</a:t>
            </a:r>
          </a:p>
        </p:txBody>
      </p:sp>
      <p:sp>
        <p:nvSpPr>
          <p:cNvPr id="4" name="Content Placeholder 3"/>
          <p:cNvSpPr>
            <a:spLocks noGrp="1"/>
          </p:cNvSpPr>
          <p:nvPr>
            <p:ph sz="quarter" idx="37" hasCustomPrompt="1"/>
          </p:nvPr>
        </p:nvSpPr>
        <p:spPr>
          <a:xfrm>
            <a:off x="334963" y="1763713"/>
            <a:ext cx="10037762" cy="4294187"/>
          </a:xfrm>
        </p:spPr>
        <p:txBody>
          <a:body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3169483280"/>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0_Title Master: White">
    <p:bg>
      <p:bgPr>
        <a:solidFill>
          <a:schemeClr val="bg1"/>
        </a:solidFill>
        <a:effectLst/>
      </p:bgPr>
    </p:bg>
    <p:spTree>
      <p:nvGrpSpPr>
        <p:cNvPr id="1" name=""/>
        <p:cNvGrpSpPr/>
        <p:nvPr/>
      </p:nvGrpSpPr>
      <p:grpSpPr>
        <a:xfrm>
          <a:off x="0" y="0"/>
          <a:ext cx="0" cy="0"/>
        </a:xfrm>
      </p:grpSpPr>
      <p:pic>
        <p:nvPicPr>
          <p:cNvPr id="7" name="Picture 6" descr="A picture containing sitting, pink, computer, white&#10;&#10;Description automatically generated">
            <a:extLst>
              <a:ext uri="{FF2B5EF4-FFF2-40B4-BE49-F238E27FC236}">
                <a16:creationId xmlns:a16="http://schemas.microsoft.com/office/drawing/2014/main" id="{7CB644AB-694F-7B4C-95A7-E7D3A6CEC214}"/>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4805083" y="1206582"/>
            <a:ext cx="7386917" cy="5651417"/>
          </a:xfrm>
          <a:prstGeom prst="rect">
            <a:avLst/>
          </a:prstGeom>
        </p:spPr>
      </p:pic>
      <p:sp>
        <p:nvSpPr>
          <p:cNvPr id="19" name="Title 1">
            <a:extLst>
              <a:ext uri="{FF2B5EF4-FFF2-40B4-BE49-F238E27FC236}">
                <a16:creationId xmlns:a16="http://schemas.microsoft.com/office/drawing/2014/main" id="{F6F3F05C-F31C-467F-B220-841DC3DE2DAA}"/>
              </a:ext>
            </a:extLst>
          </p:cNvPr>
          <p:cNvSpPr>
            <a:spLocks noGrp="1"/>
          </p:cNvSpPr>
          <p:nvPr>
            <p:ph type="ctrTitle" hasCustomPrompt="1"/>
          </p:nvPr>
        </p:nvSpPr>
        <p:spPr>
          <a:xfrm>
            <a:off x="371475" y="1850118"/>
            <a:ext cx="5985782" cy="2009775"/>
          </a:xfrm>
          <a:prstGeom prst="rect">
            <a:avLst/>
          </a:prstGeom>
        </p:spPr>
        <p:txBody>
          <a:bodyPr vert="horz" lIns="0" tIns="72000" rIns="0" bIns="0" rtlCol="0" anchor="t" anchorCtr="0">
            <a:noAutofit/>
          </a:bodyPr>
          <a:lstStyle>
            <a:lvl1pPr>
              <a:defRPr lang="en-CR" sz="4400" i="0">
                <a:latin typeface="Graphik Black" panose="020b0503030202060203" pitchFamily="34" charset="77"/>
              </a:defRPr>
            </a:lvl1pPr>
          </a:lstStyle>
          <a:p>
            <a:pPr lvl="0"/>
            <a:r>
              <a:rPr lang="en-US"/>
              <a:t>CLICK TO EDIT DIVIDER TITLE STYLE</a:t>
            </a:r>
            <a:endParaRPr lang="en-CR"/>
          </a:p>
        </p:txBody>
      </p:sp>
      <p:sp>
        <p:nvSpPr>
          <p:cNvPr id="20" name="Subtitle 2">
            <a:extLst>
              <a:ext uri="{FF2B5EF4-FFF2-40B4-BE49-F238E27FC236}">
                <a16:creationId xmlns:a16="http://schemas.microsoft.com/office/drawing/2014/main" id="{6DE088C9-996C-453A-B5A8-5A401F2AB2AD}"/>
              </a:ext>
            </a:extLst>
          </p:cNvPr>
          <p:cNvSpPr>
            <a:spLocks noGrp="1"/>
          </p:cNvSpPr>
          <p:nvPr>
            <p:ph type="subTitle" idx="1"/>
          </p:nvPr>
        </p:nvSpPr>
        <p:spPr>
          <a:xfrm>
            <a:off x="371475" y="5206545"/>
            <a:ext cx="5985782" cy="864507"/>
          </a:xfrm>
          <a:prstGeom prst="rect">
            <a:avLst/>
          </a:prstGeom>
        </p:spPr>
        <p:txBody>
          <a:bodyPr>
            <a:noAutofit/>
          </a:bodyPr>
          <a:lstStyle>
            <a:lvl1pPr marL="0" indent="0" algn="l">
              <a:buNone/>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R"/>
          </a:p>
        </p:txBody>
      </p:sp>
    </p:spTree>
    <p:extLst>
      <p:ext uri="{BB962C8B-B14F-4D97-AF65-F5344CB8AC3E}">
        <p14:creationId xmlns:p14="http://schemas.microsoft.com/office/powerpoint/2010/main" val="4279851879"/>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Column_Image_Right_White">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9" name="Title 3"/>
          <p:cNvSpPr>
            <a:spLocks noGrp="1"/>
          </p:cNvSpPr>
          <p:nvPr>
            <p:ph type="title" hasCustomPrompt="1"/>
          </p:nvPr>
        </p:nvSpPr>
        <p:spPr>
          <a:xfrm>
            <a:off x="345019" y="332076"/>
            <a:ext cx="7065432" cy="776139"/>
          </a:xfrm>
        </p:spPr>
        <p:txBody>
          <a:bodyPr/>
          <a:lstStyle>
            <a:lvl1pPr>
              <a:defRPr/>
            </a:lvl1pPr>
          </a:lstStyle>
          <a:p>
            <a:r>
              <a:rPr lang="en-US"/>
              <a:t>INSERT MAIN TITLE AT 32PT MIN 30PT</a:t>
            </a:r>
          </a:p>
        </p:txBody>
      </p:sp>
      <p:sp>
        <p:nvSpPr>
          <p:cNvPr id="11" name="Text Placeholder 4"/>
          <p:cNvSpPr>
            <a:spLocks noGrp="1"/>
          </p:cNvSpPr>
          <p:nvPr>
            <p:ph type="body" sz="quarter" idx="36" hasCustomPrompt="1"/>
          </p:nvPr>
        </p:nvSpPr>
        <p:spPr>
          <a:xfrm>
            <a:off x="345019" y="1167149"/>
            <a:ext cx="7065432"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accent3"/>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10" name="Content Placeholder 3"/>
          <p:cNvSpPr>
            <a:spLocks noGrp="1"/>
          </p:cNvSpPr>
          <p:nvPr>
            <p:ph sz="quarter" idx="37" hasCustomPrompt="1"/>
          </p:nvPr>
        </p:nvSpPr>
        <p:spPr>
          <a:xfrm>
            <a:off x="334963" y="1763713"/>
            <a:ext cx="7075487" cy="4294187"/>
          </a:xfrm>
        </p:spPr>
        <p:txBody>
          <a:body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1049923052"/>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5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Column_Image_Right_HeroBlue">
    <p:bg>
      <p:bgPr>
        <a:solidFill>
          <a:schemeClr val="accent1"/>
        </a:solidFill>
        <a:effectLst/>
      </p:bgPr>
    </p:bg>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3" name="Title 2"/>
          <p:cNvSpPr>
            <a:spLocks noGrp="1"/>
          </p:cNvSpPr>
          <p:nvPr>
            <p:ph type="title" hasCustomPrompt="1"/>
          </p:nvPr>
        </p:nvSpPr>
        <p:spPr>
          <a:xfrm>
            <a:off x="345019" y="332076"/>
            <a:ext cx="7065432"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9" y="1167149"/>
            <a:ext cx="7065432" cy="323165"/>
          </a:xfrm>
        </p:spPr>
        <p:txBody>
          <a:bodyPr wrap="square">
            <a:spAutoFit/>
          </a:bodyPr>
          <a:lstStyle>
            <a:lvl1pPr algn="l">
              <a:lnSpc>
                <a:spcPct val="100000"/>
              </a:lnSpc>
              <a:spcBef>
                <a:spcPct val="0"/>
              </a:spcBef>
              <a:defRPr sz="2100">
                <a:solidFill>
                  <a:schemeClr val="bg1"/>
                </a:solidFill>
                <a:latin typeface="+mn-lt"/>
              </a:defRPr>
            </a:lvl1pPr>
          </a:lstStyle>
          <a:p>
            <a:r>
              <a:rPr lang="en-US"/>
              <a:t>Insert sub-title here at 21pt, minimum 18pt</a:t>
            </a:r>
          </a:p>
        </p:txBody>
      </p:sp>
      <p:sp>
        <p:nvSpPr>
          <p:cNvPr id="10" name="Content Placeholder 3"/>
          <p:cNvSpPr>
            <a:spLocks noGrp="1"/>
          </p:cNvSpPr>
          <p:nvPr>
            <p:ph sz="quarter" idx="37" hasCustomPrompt="1"/>
          </p:nvPr>
        </p:nvSpPr>
        <p:spPr>
          <a:xfrm>
            <a:off x="334963" y="1763713"/>
            <a:ext cx="7075487" cy="4294187"/>
          </a:xfrm>
        </p:spPr>
        <p:txBody>
          <a:bodyPr/>
          <a:lstStyle>
            <a:lvl1pPr>
              <a:defRPr>
                <a:solidFill>
                  <a:schemeClr val="bg1"/>
                </a:solidFill>
              </a:defRPr>
            </a:lvl1pPr>
            <a:lvl2pPr>
              <a:defRPr>
                <a:solidFill>
                  <a:schemeClr val="bg1"/>
                </a:solidFill>
              </a:defRPr>
            </a:lvl2pPr>
            <a:lvl3pPr>
              <a:defRPr>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2375512024"/>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5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Column_Image_Right_Blue3">
    <p:bg>
      <p:bgPr>
        <a:solidFill>
          <a:schemeClr val="accent3"/>
        </a:solidFill>
        <a:effectLst/>
      </p:bgPr>
    </p:bg>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3" name="Title 2"/>
          <p:cNvSpPr>
            <a:spLocks noGrp="1"/>
          </p:cNvSpPr>
          <p:nvPr>
            <p:ph type="title" hasCustomPrompt="1"/>
          </p:nvPr>
        </p:nvSpPr>
        <p:spPr>
          <a:xfrm>
            <a:off x="345019" y="332076"/>
            <a:ext cx="7065431"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9" y="1167149"/>
            <a:ext cx="7065430"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10" name="Content Placeholder 3"/>
          <p:cNvSpPr>
            <a:spLocks noGrp="1"/>
          </p:cNvSpPr>
          <p:nvPr>
            <p:ph sz="quarter" idx="37" hasCustomPrompt="1"/>
          </p:nvPr>
        </p:nvSpPr>
        <p:spPr>
          <a:xfrm>
            <a:off x="334963" y="1763713"/>
            <a:ext cx="7075487" cy="4294187"/>
          </a:xfrm>
        </p:spPr>
        <p:txBody>
          <a:bodyPr/>
          <a:lstStyle>
            <a:lvl1pPr>
              <a:defRPr>
                <a:solidFill>
                  <a:schemeClr val="bg1"/>
                </a:solidFill>
              </a:defRPr>
            </a:lvl1pPr>
            <a:lvl2pPr>
              <a:defRPr>
                <a:solidFill>
                  <a:schemeClr val="bg1"/>
                </a:solidFill>
              </a:defRPr>
            </a:lvl2pPr>
            <a:lvl3pPr>
              <a:defRPr>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3988826440"/>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5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Column_Image_Right_Blue4">
    <p:bg>
      <p:bgPr>
        <a:solidFill>
          <a:schemeClr val="accent4"/>
        </a:solidFill>
        <a:effectLst/>
      </p:bgPr>
    </p:bg>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3" name="Title 2"/>
          <p:cNvSpPr>
            <a:spLocks noGrp="1"/>
          </p:cNvSpPr>
          <p:nvPr>
            <p:ph type="title" hasCustomPrompt="1"/>
          </p:nvPr>
        </p:nvSpPr>
        <p:spPr>
          <a:xfrm>
            <a:off x="345019" y="332076"/>
            <a:ext cx="7065431"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9" y="1167149"/>
            <a:ext cx="7065430"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10" name="Content Placeholder 3"/>
          <p:cNvSpPr>
            <a:spLocks noGrp="1"/>
          </p:cNvSpPr>
          <p:nvPr>
            <p:ph sz="quarter" idx="37" hasCustomPrompt="1"/>
          </p:nvPr>
        </p:nvSpPr>
        <p:spPr>
          <a:xfrm>
            <a:off x="334963" y="1763713"/>
            <a:ext cx="7075487" cy="4294187"/>
          </a:xfrm>
        </p:spPr>
        <p:txBody>
          <a:bodyPr/>
          <a:lstStyle>
            <a:lvl1pPr>
              <a:defRPr>
                <a:solidFill>
                  <a:schemeClr val="bg1"/>
                </a:solidFill>
              </a:defRPr>
            </a:lvl1pPr>
            <a:lvl2pPr>
              <a:defRPr>
                <a:solidFill>
                  <a:schemeClr val="bg1"/>
                </a:solidFill>
              </a:defRPr>
            </a:lvl2pPr>
            <a:lvl3pPr>
              <a:defRPr>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4145479343"/>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5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1/3_White">
    <p:bg>
      <p:bgPr>
        <a:solidFill>
          <a:schemeClr val="bg1"/>
        </a:solidFill>
        <a:effectLst/>
      </p:bgPr>
    </p:bg>
    <p:spTree>
      <p:nvGrpSpPr>
        <p:cNvPr id="1" name=""/>
        <p:cNvGrpSpPr/>
        <p:nvPr/>
      </p:nvGrpSpPr>
      <p:grpSpPr>
        <a:xfrm>
          <a:off x="0" y="0"/>
          <a:ext cx="0" cy="0"/>
        </a:xfrm>
      </p:grpSpPr>
      <p:sp>
        <p:nvSpPr>
          <p:cNvPr id="3" name="Title 2"/>
          <p:cNvSpPr>
            <a:spLocks noGrp="1"/>
          </p:cNvSpPr>
          <p:nvPr>
            <p:ph type="title" hasCustomPrompt="1"/>
          </p:nvPr>
        </p:nvSpPr>
        <p:spPr/>
        <p:txBody>
          <a:bodyPr/>
          <a:lstStyle>
            <a:lvl1pPr>
              <a:defRPr/>
            </a:lvl1pPr>
          </a:lstStyle>
          <a:p>
            <a:r>
              <a:rPr lang="en-US"/>
              <a:t>INSERT MAIN TITLE AT 32PT MIN 30PT</a:t>
            </a:r>
          </a:p>
        </p:txBody>
      </p:sp>
      <p:sp>
        <p:nvSpPr>
          <p:cNvPr id="11" name="Text Placeholder 4"/>
          <p:cNvSpPr>
            <a:spLocks noGrp="1"/>
          </p:cNvSpPr>
          <p:nvPr>
            <p:ph type="body" sz="quarter" idx="36" hasCustomPrompt="1"/>
          </p:nvPr>
        </p:nvSpPr>
        <p:spPr>
          <a:xfrm>
            <a:off x="345019" y="1167149"/>
            <a:ext cx="10027706"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accent3"/>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4" name="Content Placeholder 3"/>
          <p:cNvSpPr>
            <a:spLocks noGrp="1"/>
          </p:cNvSpPr>
          <p:nvPr>
            <p:ph sz="quarter" idx="37" hasCustomPrompt="1"/>
          </p:nvPr>
        </p:nvSpPr>
        <p:spPr>
          <a:xfrm>
            <a:off x="334963" y="1763713"/>
            <a:ext cx="7075487" cy="4294187"/>
          </a:xfrm>
        </p:spPr>
        <p:txBody>
          <a:bodyPr/>
          <a:lstStyle>
            <a:lvl1pPr>
              <a:defRPr sz="1600"/>
            </a:lvl1pPr>
            <a:lvl2pPr>
              <a:defRPr sz="1600"/>
            </a:lvl2pPr>
            <a:lvl3pPr>
              <a:defRPr sz="160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3"/>
          <p:cNvSpPr>
            <a:spLocks noGrp="1"/>
          </p:cNvSpPr>
          <p:nvPr>
            <p:ph sz="quarter" idx="38" hasCustomPrompt="1"/>
          </p:nvPr>
        </p:nvSpPr>
        <p:spPr>
          <a:xfrm>
            <a:off x="7753351" y="1763713"/>
            <a:ext cx="4102100" cy="4294187"/>
          </a:xfrm>
        </p:spPr>
        <p:txBody>
          <a:bodyPr/>
          <a:lstStyle>
            <a:lvl1pPr>
              <a:defRPr sz="1600"/>
            </a:lvl1pPr>
            <a:lvl2pPr>
              <a:defRPr sz="1600"/>
            </a:lvl2pPr>
            <a:lvl3pPr>
              <a:defRPr sz="160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8" name="Footer Placeholder 5"/>
          <p:cNvSpPr>
            <a:spLocks noGrp="1"/>
          </p:cNvSpPr>
          <p:nvPr>
            <p:ph type="ftr" sz="quarter" idx="31"/>
          </p:nvPr>
        </p:nvSpPr>
        <p:spPr>
          <a:xfrm>
            <a:off x="7410450" y="6386400"/>
            <a:ext cx="4114800" cy="140400"/>
          </a:xfrm>
        </p:spPr>
        <p:txBody>
          <a:bodyPr/>
          <a:lstStyle>
            <a:lvl1pPr>
              <a:defRPr>
                <a:solidFill>
                  <a:schemeClr val="tx1">
                    <a:alpha val="50000"/>
                  </a:schemeClr>
                </a:solidFill>
              </a:defRPr>
            </a:lvl1pPr>
          </a:lstStyle>
          <a:p>
            <a:r>
              <a:rPr lang="en-US"/>
              <a:t>Copyright © 2017 Accenture. All rights reserved.</a:t>
            </a:r>
          </a:p>
        </p:txBody>
      </p:sp>
      <p:sp>
        <p:nvSpPr>
          <p:cNvPr id="10" name="Slide Number Placeholder 6"/>
          <p:cNvSpPr>
            <a:spLocks noGrp="1"/>
          </p:cNvSpPr>
          <p:nvPr>
            <p:ph type="sldNum" sz="quarter" idx="32"/>
          </p:nvPr>
        </p:nvSpPr>
        <p:spPr>
          <a:xfrm>
            <a:off x="11639450" y="6386400"/>
            <a:ext cx="216000" cy="140400"/>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269177172"/>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5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1/3_HeroBlue">
    <p:bg>
      <p:bgPr>
        <a:solidFill>
          <a:schemeClr val="accent1"/>
        </a:solidFill>
        <a:effectLst/>
      </p:bgPr>
    </p:bg>
    <p:spTree>
      <p:nvGrpSpPr>
        <p:cNvPr id="1" name=""/>
        <p:cNvGrpSpPr/>
        <p:nvPr/>
      </p:nvGrpSpPr>
      <p:grpSpPr>
        <a:xfrm>
          <a:off x="0" y="0"/>
          <a: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INSERT MAIN TITLE AT 36PT MIN 30PT</a:t>
            </a:r>
          </a:p>
        </p:txBody>
      </p:sp>
      <p:sp>
        <p:nvSpPr>
          <p:cNvPr id="10" name="Text Placeholder 4"/>
          <p:cNvSpPr>
            <a:spLocks noGrp="1"/>
          </p:cNvSpPr>
          <p:nvPr>
            <p:ph type="body" sz="quarter" idx="36" hasCustomPrompt="1"/>
          </p:nvPr>
        </p:nvSpPr>
        <p:spPr>
          <a:xfrm>
            <a:off x="345019" y="1167149"/>
            <a:ext cx="10027706"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11" name="Content Placeholder 3"/>
          <p:cNvSpPr>
            <a:spLocks noGrp="1"/>
          </p:cNvSpPr>
          <p:nvPr>
            <p:ph sz="quarter" idx="37" hasCustomPrompt="1"/>
          </p:nvPr>
        </p:nvSpPr>
        <p:spPr>
          <a:xfrm>
            <a:off x="334963" y="1763713"/>
            <a:ext cx="7075487"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3"/>
          <p:cNvSpPr>
            <a:spLocks noGrp="1"/>
          </p:cNvSpPr>
          <p:nvPr>
            <p:ph sz="quarter" idx="38" hasCustomPrompt="1"/>
          </p:nvPr>
        </p:nvSpPr>
        <p:spPr>
          <a:xfrm>
            <a:off x="7753351" y="1763713"/>
            <a:ext cx="4102100"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8" name="Footer Placeholder 5"/>
          <p:cNvSpPr>
            <a:spLocks noGrp="1"/>
          </p:cNvSpPr>
          <p:nvPr>
            <p:ph type="ftr" sz="quarter" idx="31"/>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endParaRPr lang="en-AU"/>
          </a:p>
        </p:txBody>
      </p:sp>
      <p:sp>
        <p:nvSpPr>
          <p:cNvPr id="13" name="Slide Number Placeholder 6"/>
          <p:cNvSpPr>
            <a:spLocks noGrp="1"/>
          </p:cNvSpPr>
          <p:nvPr>
            <p:ph type="sldNum" sz="quarter" idx="32"/>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1198313289"/>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5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1/3_Blue3">
    <p:bg>
      <p:bgPr>
        <a:solidFill>
          <a:schemeClr val="accent3"/>
        </a:solidFill>
        <a:effectLst/>
      </p:bgPr>
    </p:bg>
    <p:spTree>
      <p:nvGrpSpPr>
        <p:cNvPr id="1" name=""/>
        <p:cNvGrpSpPr/>
        <p:nvPr/>
      </p:nvGrpSpPr>
      <p:grpSpPr>
        <a:xfrm>
          <a:off x="0" y="0"/>
          <a: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INSERT MAIN TITLE AT 36PT MIN 30PT</a:t>
            </a:r>
          </a:p>
        </p:txBody>
      </p:sp>
      <p:sp>
        <p:nvSpPr>
          <p:cNvPr id="11" name="Text Placeholder 4"/>
          <p:cNvSpPr>
            <a:spLocks noGrp="1"/>
          </p:cNvSpPr>
          <p:nvPr>
            <p:ph type="body" sz="quarter" idx="36" hasCustomPrompt="1"/>
          </p:nvPr>
        </p:nvSpPr>
        <p:spPr>
          <a:xfrm>
            <a:off x="345019" y="1167149"/>
            <a:ext cx="10027706"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12" name="Content Placeholder 3"/>
          <p:cNvSpPr>
            <a:spLocks noGrp="1"/>
          </p:cNvSpPr>
          <p:nvPr>
            <p:ph sz="quarter" idx="37" hasCustomPrompt="1"/>
          </p:nvPr>
        </p:nvSpPr>
        <p:spPr>
          <a:xfrm>
            <a:off x="334963" y="1763713"/>
            <a:ext cx="7075487"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5" name="Content Placeholder 3"/>
          <p:cNvSpPr>
            <a:spLocks noGrp="1"/>
          </p:cNvSpPr>
          <p:nvPr>
            <p:ph sz="quarter" idx="38" hasCustomPrompt="1"/>
          </p:nvPr>
        </p:nvSpPr>
        <p:spPr>
          <a:xfrm>
            <a:off x="7753351" y="1763713"/>
            <a:ext cx="4102100"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8" name="Footer Placeholder 5"/>
          <p:cNvSpPr>
            <a:spLocks noGrp="1"/>
          </p:cNvSpPr>
          <p:nvPr>
            <p:ph type="ftr" sz="quarter" idx="31"/>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endParaRPr lang="en-AU"/>
          </a:p>
        </p:txBody>
      </p:sp>
      <p:sp>
        <p:nvSpPr>
          <p:cNvPr id="10" name="Slide Number Placeholder 6"/>
          <p:cNvSpPr>
            <a:spLocks noGrp="1"/>
          </p:cNvSpPr>
          <p:nvPr>
            <p:ph type="sldNum" sz="quarter" idx="32"/>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3548129905"/>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5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1/3_Blue4">
    <p:bg>
      <p:bgPr>
        <a:solidFill>
          <a:schemeClr val="accent4"/>
        </a:solidFill>
        <a:effectLst/>
      </p:bgPr>
    </p:bg>
    <p:spTree>
      <p:nvGrpSpPr>
        <p:cNvPr id="1" name=""/>
        <p:cNvGrpSpPr/>
        <p:nvPr/>
      </p:nvGrpSpPr>
      <p:grpSpPr>
        <a:xfrm>
          <a:off x="0" y="0"/>
          <a: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INSERT MAIN TITLE AT 36PT MIN 30PT</a:t>
            </a:r>
          </a:p>
        </p:txBody>
      </p:sp>
      <p:sp>
        <p:nvSpPr>
          <p:cNvPr id="10" name="Text Placeholder 4"/>
          <p:cNvSpPr>
            <a:spLocks noGrp="1"/>
          </p:cNvSpPr>
          <p:nvPr>
            <p:ph type="body" sz="quarter" idx="36" hasCustomPrompt="1"/>
          </p:nvPr>
        </p:nvSpPr>
        <p:spPr>
          <a:xfrm>
            <a:off x="345019" y="1167149"/>
            <a:ext cx="10027706" cy="323165"/>
          </a:xfrm>
        </p:spPr>
        <p:txBody>
          <a:bodyPr wrap="square">
            <a:spAutoFit/>
          </a:bodyPr>
          <a:lstStyle>
            <a:lvl1pPr algn="l">
              <a:lnSpc>
                <a:spcPct val="100000"/>
              </a:lnSpc>
              <a:spcBef>
                <a:spcPct val="0"/>
              </a:spcBef>
              <a:defRPr sz="2100">
                <a:solidFill>
                  <a:schemeClr val="bg1"/>
                </a:solidFill>
                <a:latin typeface="+mn-lt"/>
              </a:defRPr>
            </a:lvl1pPr>
          </a:lstStyle>
          <a:p>
            <a:r>
              <a:rPr lang="en-US"/>
              <a:t>Insert sub-title here at 21pt, min 18pt</a:t>
            </a:r>
          </a:p>
        </p:txBody>
      </p:sp>
      <p:sp>
        <p:nvSpPr>
          <p:cNvPr id="11" name="Content Placeholder 3"/>
          <p:cNvSpPr>
            <a:spLocks noGrp="1"/>
          </p:cNvSpPr>
          <p:nvPr>
            <p:ph sz="quarter" idx="37" hasCustomPrompt="1"/>
          </p:nvPr>
        </p:nvSpPr>
        <p:spPr>
          <a:xfrm>
            <a:off x="334963" y="1763713"/>
            <a:ext cx="7075487"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3"/>
          <p:cNvSpPr>
            <a:spLocks noGrp="1"/>
          </p:cNvSpPr>
          <p:nvPr>
            <p:ph sz="quarter" idx="38" hasCustomPrompt="1"/>
          </p:nvPr>
        </p:nvSpPr>
        <p:spPr>
          <a:xfrm>
            <a:off x="7753351" y="1763713"/>
            <a:ext cx="4102100"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8" name="Footer Placeholder 5"/>
          <p:cNvSpPr>
            <a:spLocks noGrp="1"/>
          </p:cNvSpPr>
          <p:nvPr>
            <p:ph type="ftr" sz="quarter" idx="31"/>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endParaRPr lang="en-AU"/>
          </a:p>
        </p:txBody>
      </p:sp>
      <p:sp>
        <p:nvSpPr>
          <p:cNvPr id="13" name="Slide Number Placeholder 6"/>
          <p:cNvSpPr>
            <a:spLocks noGrp="1"/>
          </p:cNvSpPr>
          <p:nvPr>
            <p:ph type="sldNum" sz="quarter" idx="32"/>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3131559180"/>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5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37" hasCustomPrompt="1"/>
          </p:nvPr>
        </p:nvSpPr>
        <p:spPr>
          <a:xfrm>
            <a:off x="344488" y="1763713"/>
            <a:ext cx="5589587" cy="429418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3" name="Content Placeholder 4"/>
          <p:cNvSpPr>
            <a:spLocks noGrp="1"/>
          </p:cNvSpPr>
          <p:nvPr>
            <p:ph sz="quarter" idx="38" hasCustomPrompt="1"/>
          </p:nvPr>
        </p:nvSpPr>
        <p:spPr>
          <a:xfrm>
            <a:off x="6276975" y="1763713"/>
            <a:ext cx="5578475" cy="429418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3959423395"/>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5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2pt, minimum 18pt</a:t>
            </a:r>
          </a:p>
        </p:txBody>
      </p:sp>
      <p:sp>
        <p:nvSpPr>
          <p:cNvPr id="5" name="Content Placeholder 4"/>
          <p:cNvSpPr>
            <a:spLocks noGrp="1"/>
          </p:cNvSpPr>
          <p:nvPr>
            <p:ph sz="quarter" idx="37" hasCustomPrompt="1"/>
          </p:nvPr>
        </p:nvSpPr>
        <p:spPr>
          <a:xfrm>
            <a:off x="344488" y="1763713"/>
            <a:ext cx="5589587"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3" name="Content Placeholder 4"/>
          <p:cNvSpPr>
            <a:spLocks noGrp="1"/>
          </p:cNvSpPr>
          <p:nvPr>
            <p:ph sz="quarter" idx="38" hasCustomPrompt="1"/>
          </p:nvPr>
        </p:nvSpPr>
        <p:spPr>
          <a:xfrm>
            <a:off x="6276975" y="1763713"/>
            <a:ext cx="5578475"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2556460959"/>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9_Title Master: White">
    <p:bg>
      <p:bgPr>
        <a:solidFill>
          <a:schemeClr val="bg1"/>
        </a:solidFill>
        <a:effectLst/>
      </p:bgPr>
    </p:bg>
    <p:spTree>
      <p:nvGrpSpPr>
        <p:cNvPr id="1" name=""/>
        <p:cNvGrpSpPr/>
        <p:nvPr/>
      </p:nvGrpSpPr>
      <p:grpSpPr>
        <a:xfrm>
          <a:off x="0" y="0"/>
          <a:ext cx="0" cy="0"/>
        </a:xfrm>
      </p:grpSpPr>
      <p:pic>
        <p:nvPicPr>
          <p:cNvPr id="6" name="Picture 5" descr="A picture containing small, table, remote, bottle&#10;&#10;Description automatically generated">
            <a:extLst>
              <a:ext uri="{FF2B5EF4-FFF2-40B4-BE49-F238E27FC236}">
                <a16:creationId xmlns:a16="http://schemas.microsoft.com/office/drawing/2014/main" id="{6CF61D3E-88C8-1E4C-B602-5941404E2DE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7466483" y="223488"/>
            <a:ext cx="4407062" cy="6639629"/>
          </a:xfrm>
          <a:prstGeom prst="rect">
            <a:avLst/>
          </a:prstGeom>
        </p:spPr>
      </p:pic>
      <p:sp>
        <p:nvSpPr>
          <p:cNvPr id="19" name="Title 1">
            <a:extLst>
              <a:ext uri="{FF2B5EF4-FFF2-40B4-BE49-F238E27FC236}">
                <a16:creationId xmlns:a16="http://schemas.microsoft.com/office/drawing/2014/main" id="{CA25A303-44CC-4746-9412-33E96CB727F4}"/>
              </a:ext>
            </a:extLst>
          </p:cNvPr>
          <p:cNvSpPr>
            <a:spLocks noGrp="1"/>
          </p:cNvSpPr>
          <p:nvPr>
            <p:ph type="ctrTitle" hasCustomPrompt="1"/>
          </p:nvPr>
        </p:nvSpPr>
        <p:spPr>
          <a:xfrm>
            <a:off x="371475" y="1850118"/>
            <a:ext cx="5985782" cy="2009775"/>
          </a:xfrm>
          <a:prstGeom prst="rect">
            <a:avLst/>
          </a:prstGeom>
        </p:spPr>
        <p:txBody>
          <a:bodyPr vert="horz" lIns="0" tIns="72000" rIns="0" bIns="0" rtlCol="0" anchor="t" anchorCtr="0">
            <a:noAutofit/>
          </a:bodyPr>
          <a:lstStyle>
            <a:lvl1pPr>
              <a:defRPr lang="en-CR" sz="4400" i="0">
                <a:latin typeface="Graphik Black" panose="020b0503030202060203" pitchFamily="34" charset="77"/>
              </a:defRPr>
            </a:lvl1pPr>
          </a:lstStyle>
          <a:p>
            <a:pPr lvl="0"/>
            <a:r>
              <a:rPr lang="en-US"/>
              <a:t>CLICK TO EDIT DIVIDER TITLE STYLE</a:t>
            </a:r>
            <a:endParaRPr lang="en-CR"/>
          </a:p>
        </p:txBody>
      </p:sp>
      <p:sp>
        <p:nvSpPr>
          <p:cNvPr id="20" name="Subtitle 2">
            <a:extLst>
              <a:ext uri="{FF2B5EF4-FFF2-40B4-BE49-F238E27FC236}">
                <a16:creationId xmlns:a16="http://schemas.microsoft.com/office/drawing/2014/main" id="{5680924B-323F-4EE8-B150-70D9312DCCB1}"/>
              </a:ext>
            </a:extLst>
          </p:cNvPr>
          <p:cNvSpPr>
            <a:spLocks noGrp="1"/>
          </p:cNvSpPr>
          <p:nvPr>
            <p:ph type="subTitle" idx="1"/>
          </p:nvPr>
        </p:nvSpPr>
        <p:spPr>
          <a:xfrm>
            <a:off x="371475" y="5206545"/>
            <a:ext cx="5985782" cy="864507"/>
          </a:xfrm>
          <a:prstGeom prst="rect">
            <a:avLst/>
          </a:prstGeom>
        </p:spPr>
        <p:txBody>
          <a:bodyPr>
            <a:noAutofit/>
          </a:bodyPr>
          <a:lstStyle>
            <a:lvl1pPr marL="0" indent="0" algn="l">
              <a:buNone/>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R"/>
          </a:p>
        </p:txBody>
      </p:sp>
    </p:spTree>
    <p:extLst>
      <p:ext uri="{BB962C8B-B14F-4D97-AF65-F5344CB8AC3E}">
        <p14:creationId xmlns:p14="http://schemas.microsoft.com/office/powerpoint/2010/main" val="304524598"/>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37" hasCustomPrompt="1"/>
          </p:nvPr>
        </p:nvSpPr>
        <p:spPr>
          <a:xfrm>
            <a:off x="344488" y="1763713"/>
            <a:ext cx="5589587" cy="429418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3" name="Content Placeholder 4"/>
          <p:cNvSpPr>
            <a:spLocks noGrp="1"/>
          </p:cNvSpPr>
          <p:nvPr>
            <p:ph sz="quarter" idx="38" hasCustomPrompt="1"/>
          </p:nvPr>
        </p:nvSpPr>
        <p:spPr>
          <a:xfrm>
            <a:off x="6276975" y="1763713"/>
            <a:ext cx="5578475" cy="429418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1186729673"/>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6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2Columns_2Subtitles_Whit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Content Placeholder 4"/>
          <p:cNvSpPr>
            <a:spLocks noGrp="1"/>
          </p:cNvSpPr>
          <p:nvPr>
            <p:ph sz="quarter" idx="37" hasCustomPrompt="1"/>
          </p:nvPr>
        </p:nvSpPr>
        <p:spPr>
          <a:xfrm>
            <a:off x="344488"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4"/>
          <p:cNvSpPr>
            <a:spLocks noGrp="1"/>
          </p:cNvSpPr>
          <p:nvPr>
            <p:ph sz="quarter" idx="38" hasCustomPrompt="1"/>
          </p:nvPr>
        </p:nvSpPr>
        <p:spPr>
          <a:xfrm>
            <a:off x="6276975"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4" name="Text Placeholder 4"/>
          <p:cNvSpPr>
            <a:spLocks noGrp="1"/>
          </p:cNvSpPr>
          <p:nvPr>
            <p:ph type="body" sz="quarter" idx="36" hasCustomPrompt="1"/>
          </p:nvPr>
        </p:nvSpPr>
        <p:spPr>
          <a:xfrm>
            <a:off x="345018"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cxnSp>
        <p:nvCxnSpPr>
          <p:cNvPr id="9" name="Straight Arrow Connector 8"/>
          <p:cNvCxnSpPr/>
          <p:nvPr userDrawn="1"/>
        </p:nvCxnSpPr>
        <p:spPr>
          <a:xfrm>
            <a:off x="363711"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userDrawn="1"/>
        </p:nvCxnSpPr>
        <p:spPr>
          <a:xfrm>
            <a:off x="6272487"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 Placeholder 4"/>
          <p:cNvSpPr>
            <a:spLocks noGrp="1"/>
          </p:cNvSpPr>
          <p:nvPr>
            <p:ph type="body" sz="quarter" idx="39" hasCustomPrompt="1"/>
          </p:nvPr>
        </p:nvSpPr>
        <p:spPr>
          <a:xfrm>
            <a:off x="6276975"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spTree>
    <p:extLst>
      <p:ext uri="{BB962C8B-B14F-4D97-AF65-F5344CB8AC3E}">
        <p14:creationId xmlns:p14="http://schemas.microsoft.com/office/powerpoint/2010/main" val="1148408433"/>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6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2Columns_2Subtitles_White">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Content Placeholder 4"/>
          <p:cNvSpPr>
            <a:spLocks noGrp="1"/>
          </p:cNvSpPr>
          <p:nvPr>
            <p:ph sz="quarter" idx="37" hasCustomPrompt="1"/>
          </p:nvPr>
        </p:nvSpPr>
        <p:spPr>
          <a:xfrm>
            <a:off x="344488"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4"/>
          <p:cNvSpPr>
            <a:spLocks noGrp="1"/>
          </p:cNvSpPr>
          <p:nvPr>
            <p:ph sz="quarter" idx="38" hasCustomPrompt="1"/>
          </p:nvPr>
        </p:nvSpPr>
        <p:spPr>
          <a:xfrm>
            <a:off x="6276975"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cxnSp>
        <p:nvCxnSpPr>
          <p:cNvPr id="9" name="Straight Arrow Connector 8"/>
          <p:cNvCxnSpPr/>
          <p:nvPr userDrawn="1"/>
        </p:nvCxnSpPr>
        <p:spPr>
          <a:xfrm>
            <a:off x="363711"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userDrawn="1"/>
        </p:nvCxnSpPr>
        <p:spPr>
          <a:xfrm>
            <a:off x="6272487"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 Placeholder 4"/>
          <p:cNvSpPr>
            <a:spLocks noGrp="1"/>
          </p:cNvSpPr>
          <p:nvPr>
            <p:ph type="body" sz="quarter" idx="36" hasCustomPrompt="1"/>
          </p:nvPr>
        </p:nvSpPr>
        <p:spPr>
          <a:xfrm>
            <a:off x="345018"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sp>
        <p:nvSpPr>
          <p:cNvPr id="16" name="Text Placeholder 4"/>
          <p:cNvSpPr>
            <a:spLocks noGrp="1"/>
          </p:cNvSpPr>
          <p:nvPr>
            <p:ph type="body" sz="quarter" idx="39" hasCustomPrompt="1"/>
          </p:nvPr>
        </p:nvSpPr>
        <p:spPr>
          <a:xfrm>
            <a:off x="6276975"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spTree>
    <p:extLst>
      <p:ext uri="{BB962C8B-B14F-4D97-AF65-F5344CB8AC3E}">
        <p14:creationId xmlns:p14="http://schemas.microsoft.com/office/powerpoint/2010/main" val="151676836"/>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6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2Columns_2Subtitles_White">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Content Placeholder 4"/>
          <p:cNvSpPr>
            <a:spLocks noGrp="1"/>
          </p:cNvSpPr>
          <p:nvPr>
            <p:ph sz="quarter" idx="37" hasCustomPrompt="1"/>
          </p:nvPr>
        </p:nvSpPr>
        <p:spPr>
          <a:xfrm>
            <a:off x="344488"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4"/>
          <p:cNvSpPr>
            <a:spLocks noGrp="1"/>
          </p:cNvSpPr>
          <p:nvPr>
            <p:ph sz="quarter" idx="38" hasCustomPrompt="1"/>
          </p:nvPr>
        </p:nvSpPr>
        <p:spPr>
          <a:xfrm>
            <a:off x="6276975"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4" name="Text Placeholder 4"/>
          <p:cNvSpPr>
            <a:spLocks noGrp="1"/>
          </p:cNvSpPr>
          <p:nvPr>
            <p:ph type="body" sz="quarter" idx="36" hasCustomPrompt="1"/>
          </p:nvPr>
        </p:nvSpPr>
        <p:spPr>
          <a:xfrm>
            <a:off x="345018"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cxnSp>
        <p:nvCxnSpPr>
          <p:cNvPr id="9" name="Straight Arrow Connector 8"/>
          <p:cNvCxnSpPr/>
          <p:nvPr userDrawn="1"/>
        </p:nvCxnSpPr>
        <p:spPr>
          <a:xfrm>
            <a:off x="363711"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userDrawn="1"/>
        </p:nvCxnSpPr>
        <p:spPr>
          <a:xfrm>
            <a:off x="6272487"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 Placeholder 4"/>
          <p:cNvSpPr>
            <a:spLocks noGrp="1"/>
          </p:cNvSpPr>
          <p:nvPr>
            <p:ph type="body" sz="quarter" idx="39" hasCustomPrompt="1"/>
          </p:nvPr>
        </p:nvSpPr>
        <p:spPr>
          <a:xfrm>
            <a:off x="6276975"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spTree>
    <p:extLst>
      <p:ext uri="{BB962C8B-B14F-4D97-AF65-F5344CB8AC3E}">
        <p14:creationId xmlns:p14="http://schemas.microsoft.com/office/powerpoint/2010/main" val="3131430934"/>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6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Columns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5" name="Slide Number Placeholder 4"/>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INSERT MAIN TITLE AT 32PT MIN 30PT</a:t>
            </a:r>
          </a:p>
        </p:txBody>
      </p:sp>
      <p:sp>
        <p:nvSpPr>
          <p:cNvPr id="11" name="Content Placeholder 10"/>
          <p:cNvSpPr>
            <a:spLocks noGrp="1"/>
          </p:cNvSpPr>
          <p:nvPr>
            <p:ph sz="quarter" idx="37" hasCustomPrompt="1"/>
          </p:nvPr>
        </p:nvSpPr>
        <p:spPr>
          <a:xfrm>
            <a:off x="334963"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4" name="Content Placeholder 10"/>
          <p:cNvSpPr>
            <a:spLocks noGrp="1"/>
          </p:cNvSpPr>
          <p:nvPr>
            <p:ph sz="quarter" idx="38" hasCustomPrompt="1"/>
          </p:nvPr>
        </p:nvSpPr>
        <p:spPr>
          <a:xfrm>
            <a:off x="4287521"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5" name="Content Placeholder 10"/>
          <p:cNvSpPr>
            <a:spLocks noGrp="1"/>
          </p:cNvSpPr>
          <p:nvPr>
            <p:ph sz="quarter" idx="39" hasCustomPrompt="1"/>
          </p:nvPr>
        </p:nvSpPr>
        <p:spPr>
          <a:xfrm>
            <a:off x="8240078"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9"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3465838540"/>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6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Columns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5" name="Slide Number Placeholder 4"/>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INSERT MAIN TITLE AT 32PT MIN 30PT</a:t>
            </a:r>
          </a:p>
        </p:txBody>
      </p:sp>
      <p:sp>
        <p:nvSpPr>
          <p:cNvPr id="11" name="Content Placeholder 10"/>
          <p:cNvSpPr>
            <a:spLocks noGrp="1"/>
          </p:cNvSpPr>
          <p:nvPr>
            <p:ph sz="quarter" idx="37" hasCustomPrompt="1"/>
          </p:nvPr>
        </p:nvSpPr>
        <p:spPr>
          <a:xfrm>
            <a:off x="334963"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4" name="Content Placeholder 10"/>
          <p:cNvSpPr>
            <a:spLocks noGrp="1"/>
          </p:cNvSpPr>
          <p:nvPr>
            <p:ph sz="quarter" idx="38" hasCustomPrompt="1"/>
          </p:nvPr>
        </p:nvSpPr>
        <p:spPr>
          <a:xfrm>
            <a:off x="4287521"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5" name="Content Placeholder 10"/>
          <p:cNvSpPr>
            <a:spLocks noGrp="1"/>
          </p:cNvSpPr>
          <p:nvPr>
            <p:ph sz="quarter" idx="39" hasCustomPrompt="1"/>
          </p:nvPr>
        </p:nvSpPr>
        <p:spPr>
          <a:xfrm>
            <a:off x="8240078"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9" name="Text Placeholder 4"/>
          <p:cNvSpPr>
            <a:spLocks noGrp="1"/>
          </p:cNvSpPr>
          <p:nvPr>
            <p:ph type="body" sz="quarter" idx="36" hasCustomPrompt="1"/>
          </p:nvPr>
        </p:nvSpPr>
        <p:spPr>
          <a:xfrm>
            <a:off x="345018" y="1167149"/>
            <a:ext cx="10027707" cy="323165"/>
          </a:xfrm>
        </p:spPr>
        <p:txBody>
          <a:bodyPr wrap="square">
            <a:spAutoFit/>
          </a:bodyPr>
          <a:lstStyle>
            <a:lvl1pPr algn="l">
              <a:lnSpc>
                <a:spcPct val="100000"/>
              </a:lnSpc>
              <a:spcBef>
                <a:spcPct val="0"/>
              </a:spcBef>
              <a:defRPr sz="2100">
                <a:solidFill>
                  <a:schemeClr val="bg1"/>
                </a:solidFill>
                <a:latin typeface="+mn-lt"/>
              </a:defRPr>
            </a:lvl1pPr>
          </a:lstStyle>
          <a:p>
            <a:r>
              <a:rPr lang="en-US"/>
              <a:t>Insert sub-title here at 21pt, minimum 18pt</a:t>
            </a:r>
          </a:p>
        </p:txBody>
      </p:sp>
    </p:spTree>
    <p:extLst>
      <p:ext uri="{BB962C8B-B14F-4D97-AF65-F5344CB8AC3E}">
        <p14:creationId xmlns:p14="http://schemas.microsoft.com/office/powerpoint/2010/main" val="2726987932"/>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6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Columns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5" name="Slide Number Placeholder 4"/>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INSERT MAIN TITLE AT 32PT MIN 30PT</a:t>
            </a:r>
          </a:p>
        </p:txBody>
      </p:sp>
      <p:sp>
        <p:nvSpPr>
          <p:cNvPr id="11" name="Content Placeholder 10"/>
          <p:cNvSpPr>
            <a:spLocks noGrp="1"/>
          </p:cNvSpPr>
          <p:nvPr>
            <p:ph sz="quarter" idx="37" hasCustomPrompt="1"/>
          </p:nvPr>
        </p:nvSpPr>
        <p:spPr>
          <a:xfrm>
            <a:off x="334963"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4" name="Content Placeholder 10"/>
          <p:cNvSpPr>
            <a:spLocks noGrp="1"/>
          </p:cNvSpPr>
          <p:nvPr>
            <p:ph sz="quarter" idx="38" hasCustomPrompt="1"/>
          </p:nvPr>
        </p:nvSpPr>
        <p:spPr>
          <a:xfrm>
            <a:off x="4287521"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5" name="Content Placeholder 10"/>
          <p:cNvSpPr>
            <a:spLocks noGrp="1"/>
          </p:cNvSpPr>
          <p:nvPr>
            <p:ph sz="quarter" idx="39" hasCustomPrompt="1"/>
          </p:nvPr>
        </p:nvSpPr>
        <p:spPr>
          <a:xfrm>
            <a:off x="8240078"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9" name="Text Placeholder 4"/>
          <p:cNvSpPr>
            <a:spLocks noGrp="1"/>
          </p:cNvSpPr>
          <p:nvPr>
            <p:ph type="body" sz="quarter" idx="36" hasCustomPrompt="1"/>
          </p:nvPr>
        </p:nvSpPr>
        <p:spPr>
          <a:xfrm>
            <a:off x="345018" y="1167149"/>
            <a:ext cx="10027707" cy="323165"/>
          </a:xfrm>
        </p:spPr>
        <p:txBody>
          <a:bodyPr wrap="square">
            <a:spAutoFit/>
          </a:bodyPr>
          <a:lstStyle>
            <a:lvl1pPr algn="l">
              <a:lnSpc>
                <a:spcPct val="100000"/>
              </a:lnSpc>
              <a:spcBef>
                <a:spcPct val="0"/>
              </a:spcBef>
              <a:defRPr sz="2100">
                <a:solidFill>
                  <a:schemeClr val="bg1"/>
                </a:solidFill>
                <a:latin typeface="+mn-lt"/>
              </a:defRPr>
            </a:lvl1pPr>
          </a:lstStyle>
          <a:p>
            <a:r>
              <a:rPr lang="en-US"/>
              <a:t>Insert sub-title here at 21pt, min 18pt</a:t>
            </a:r>
          </a:p>
        </p:txBody>
      </p:sp>
    </p:spTree>
    <p:extLst>
      <p:ext uri="{BB962C8B-B14F-4D97-AF65-F5344CB8AC3E}">
        <p14:creationId xmlns:p14="http://schemas.microsoft.com/office/powerpoint/2010/main" val="1015928636"/>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6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Columns_3Subtitles_White">
    <p:bg>
      <p:bgPr>
        <a:solidFill>
          <a:schemeClr val="bg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5" name="Slide Number Placeholder 4"/>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6" name="Title 5"/>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
        <p:nvSpPr>
          <p:cNvPr id="11" name="Content Placeholder 10"/>
          <p:cNvSpPr>
            <a:spLocks noGrp="1"/>
          </p:cNvSpPr>
          <p:nvPr>
            <p:ph sz="quarter" idx="37" hasCustomPrompt="1"/>
          </p:nvPr>
        </p:nvSpPr>
        <p:spPr>
          <a:xfrm>
            <a:off x="334963"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4" name="Content Placeholder 10"/>
          <p:cNvSpPr>
            <a:spLocks noGrp="1"/>
          </p:cNvSpPr>
          <p:nvPr>
            <p:ph sz="quarter" idx="38" hasCustomPrompt="1"/>
          </p:nvPr>
        </p:nvSpPr>
        <p:spPr>
          <a:xfrm>
            <a:off x="4287521"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5" name="Content Placeholder 10"/>
          <p:cNvSpPr>
            <a:spLocks noGrp="1"/>
          </p:cNvSpPr>
          <p:nvPr>
            <p:ph sz="quarter" idx="39" hasCustomPrompt="1"/>
          </p:nvPr>
        </p:nvSpPr>
        <p:spPr>
          <a:xfrm>
            <a:off x="8240078"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9" name="Text Placeholder 4"/>
          <p:cNvSpPr>
            <a:spLocks noGrp="1"/>
          </p:cNvSpPr>
          <p:nvPr>
            <p:ph type="body" sz="quarter" idx="36" hasCustomPrompt="1"/>
          </p:nvPr>
        </p:nvSpPr>
        <p:spPr>
          <a:xfrm>
            <a:off x="334963"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
        <p:nvSpPr>
          <p:cNvPr id="13" name="Text Placeholder 4"/>
          <p:cNvSpPr>
            <a:spLocks noGrp="1"/>
          </p:cNvSpPr>
          <p:nvPr>
            <p:ph type="body" sz="quarter" idx="40" hasCustomPrompt="1"/>
          </p:nvPr>
        </p:nvSpPr>
        <p:spPr>
          <a:xfrm>
            <a:off x="4286945"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
        <p:nvSpPr>
          <p:cNvPr id="17" name="Text Placeholder 4"/>
          <p:cNvSpPr>
            <a:spLocks noGrp="1"/>
          </p:cNvSpPr>
          <p:nvPr>
            <p:ph type="body" sz="quarter" idx="41" hasCustomPrompt="1"/>
          </p:nvPr>
        </p:nvSpPr>
        <p:spPr>
          <a:xfrm>
            <a:off x="8240078"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Tree>
    <p:extLst>
      <p:ext uri="{BB962C8B-B14F-4D97-AF65-F5344CB8AC3E}">
        <p14:creationId xmlns:p14="http://schemas.microsoft.com/office/powerpoint/2010/main" val="177992908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6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3Columns_3Subtitles_White_no sublines">
    <p:bg>
      <p:bgPr>
        <a:solidFill>
          <a:schemeClr val="bg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5" name="Slide Number Placeholder 4"/>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6" name="Title 5"/>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
        <p:nvSpPr>
          <p:cNvPr id="11" name="Content Placeholder 10"/>
          <p:cNvSpPr>
            <a:spLocks noGrp="1"/>
          </p:cNvSpPr>
          <p:nvPr>
            <p:ph sz="quarter" idx="37" hasCustomPrompt="1"/>
          </p:nvPr>
        </p:nvSpPr>
        <p:spPr>
          <a:xfrm>
            <a:off x="334963"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4" name="Content Placeholder 10"/>
          <p:cNvSpPr>
            <a:spLocks noGrp="1"/>
          </p:cNvSpPr>
          <p:nvPr>
            <p:ph sz="quarter" idx="38" hasCustomPrompt="1"/>
          </p:nvPr>
        </p:nvSpPr>
        <p:spPr>
          <a:xfrm>
            <a:off x="4287521"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5" name="Content Placeholder 10"/>
          <p:cNvSpPr>
            <a:spLocks noGrp="1"/>
          </p:cNvSpPr>
          <p:nvPr>
            <p:ph sz="quarter" idx="39" hasCustomPrompt="1"/>
          </p:nvPr>
        </p:nvSpPr>
        <p:spPr>
          <a:xfrm>
            <a:off x="8240078"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9" name="Text Placeholder 4"/>
          <p:cNvSpPr>
            <a:spLocks noGrp="1"/>
          </p:cNvSpPr>
          <p:nvPr>
            <p:ph type="body" sz="quarter" idx="36" hasCustomPrompt="1"/>
          </p:nvPr>
        </p:nvSpPr>
        <p:spPr>
          <a:xfrm>
            <a:off x="334963"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3"/>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
        <p:nvSpPr>
          <p:cNvPr id="13" name="Text Placeholder 4"/>
          <p:cNvSpPr>
            <a:spLocks noGrp="1"/>
          </p:cNvSpPr>
          <p:nvPr>
            <p:ph type="body" sz="quarter" idx="40" hasCustomPrompt="1"/>
          </p:nvPr>
        </p:nvSpPr>
        <p:spPr>
          <a:xfrm>
            <a:off x="4286945"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3"/>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
        <p:nvSpPr>
          <p:cNvPr id="17" name="Text Placeholder 4"/>
          <p:cNvSpPr>
            <a:spLocks noGrp="1"/>
          </p:cNvSpPr>
          <p:nvPr>
            <p:ph type="body" sz="quarter" idx="41" hasCustomPrompt="1"/>
          </p:nvPr>
        </p:nvSpPr>
        <p:spPr>
          <a:xfrm>
            <a:off x="8240078"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3"/>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Tree>
    <p:extLst>
      <p:ext uri="{BB962C8B-B14F-4D97-AF65-F5344CB8AC3E}">
        <p14:creationId xmlns:p14="http://schemas.microsoft.com/office/powerpoint/2010/main" val="329797529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6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Columns_White">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accent3"/>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606040" cy="4294187"/>
          </a:xfrm>
        </p:spPr>
        <p:txBody>
          <a:bodyPr/>
          <a:lstStyle>
            <a:lvl1pPr>
              <a:defRPr sz="1600"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3314698" y="1763713"/>
            <a:ext cx="2606040" cy="4294187"/>
          </a:xfrm>
        </p:spPr>
        <p:txBody>
          <a:bodyPr/>
          <a:lstStyle>
            <a:lvl1pPr>
              <a:defRPr sz="1600"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6293695" y="1763713"/>
            <a:ext cx="2606040" cy="4294187"/>
          </a:xfrm>
        </p:spPr>
        <p:txBody>
          <a:bodyPr/>
          <a:lstStyle>
            <a:lvl1pPr>
              <a:defRPr sz="1600"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9239248" y="1763713"/>
            <a:ext cx="2606040" cy="4294187"/>
          </a:xfrm>
        </p:spPr>
        <p:txBody>
          <a:bodyPr/>
          <a:lstStyle>
            <a:lvl1pPr>
              <a:defRPr sz="1600"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4210108387"/>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 Line Title">
    <p:spTree>
      <p:nvGrpSpPr>
        <p:cNvPr id="1" name=""/>
        <p:cNvGrpSpPr/>
        <p:nvPr/>
      </p:nvGrpSpPr>
      <p:grpSpPr>
        <a:xfrm>
          <a:off x="0" y="0"/>
          <a:ext cx="0" cy="0"/>
        </a:xfrm>
      </p:grpSpPr>
      <p:sp>
        <p:nvSpPr>
          <p:cNvPr id="9" name="Text Placeholder 8">
            <a:extLst>
              <a:ext uri="{FF2B5EF4-FFF2-40B4-BE49-F238E27FC236}">
                <a16:creationId xmlns:a16="http://schemas.microsoft.com/office/drawing/2014/main" id="{66A868CE-EF50-0644-BE6D-B297B2E0D439}"/>
              </a:ext>
            </a:extLst>
          </p:cNvPr>
          <p:cNvSpPr>
            <a:spLocks noGrp="1"/>
          </p:cNvSpPr>
          <p:nvPr>
            <p:ph type="body" sz="quarter" idx="12" hasCustomPrompt="1"/>
          </p:nvPr>
        </p:nvSpPr>
        <p:spPr>
          <a:xfrm>
            <a:off x="390329" y="765190"/>
            <a:ext cx="11449050" cy="354012"/>
          </a:xfrm>
          <a:prstGeom prst="rect">
            <a:avLst/>
          </a:prstGeom>
        </p:spPr>
        <p:txBody>
          <a:bodyPr lIns="0" tIns="0" rIns="0" bIns="0">
            <a:noAutofit/>
          </a:bodyPr>
          <a:lstStyle>
            <a:lvl1pPr marL="0" indent="0">
              <a:buNone/>
              <a:defRPr sz="1600" b="1" i="0" cap="none">
                <a:solidFill>
                  <a:schemeClr val="accent5"/>
                </a:solidFill>
                <a:latin typeface="Graphik Semibold" panose="020b0503030202060203" pitchFamily="34" charset="77"/>
              </a:defRPr>
            </a:lvl1pPr>
          </a:lstStyle>
          <a:p>
            <a:pPr lvl="0"/>
            <a:r>
              <a:rPr lang="en-US"/>
              <a:t>Click to subtitle</a:t>
            </a:r>
            <a:endParaRPr lang="en-CR"/>
          </a:p>
        </p:txBody>
      </p:sp>
      <p:sp>
        <p:nvSpPr>
          <p:cNvPr id="14" name="Title Placeholder 8">
            <a:extLst>
              <a:ext uri="{FF2B5EF4-FFF2-40B4-BE49-F238E27FC236}">
                <a16:creationId xmlns:a16="http://schemas.microsoft.com/office/drawing/2014/main" id="{979FC6A1-1250-6B4D-87F8-E9B5E045AE3C}"/>
              </a:ext>
            </a:extLst>
          </p:cNvPr>
          <p:cNvSpPr>
            <a:spLocks noGrp="1"/>
          </p:cNvSpPr>
          <p:nvPr>
            <p:ph type="title"/>
          </p:nvPr>
        </p:nvSpPr>
        <p:spPr>
          <a:xfrm>
            <a:off x="390329" y="192000"/>
            <a:ext cx="11449050" cy="354012"/>
          </a:xfrm>
          <a:prstGeom prst="rect">
            <a:avLst/>
          </a:prstGeom>
        </p:spPr>
        <p:txBody>
          <a:bodyPr vert="horz" lIns="0" tIns="0" rIns="0" bIns="0" rtlCol="0" anchor="t">
            <a:normAutofit/>
          </a:bodyPr>
          <a:lstStyle>
            <a:lvl1pPr>
              <a:defRPr sz="2800"/>
            </a:lvl1pPr>
          </a:lstStyle>
          <a:p>
            <a:pPr lvl="0"/>
            <a:r>
              <a:rPr kumimoji="0" lang="en-US" sz="3200" b="1" i="0" u="none" strike="noStrike" kern="1200" cap="none" spc="0" normalizeH="0" baseline="0" noProof="0">
                <a:ln>
                  <a:noFill/>
                </a:ln>
                <a:solidFill>
                  <a:srgbClr val="000000"/>
                </a:solidFill>
                <a:effectLst/>
                <a:uLnTx/>
                <a:uFillTx/>
                <a:latin typeface="Graphik" panose="020b0503030202060203" pitchFamily="34" charset="77"/>
                <a:ea typeface="+mj-ea"/>
                <a:cs typeface="+mj-cs"/>
              </a:rPr>
              <a:t>CLICK TO EDIT A 1 LINE OR SHORT TITLE STYLE</a:t>
            </a:r>
            <a:endParaRPr lang="en-CR"/>
          </a:p>
        </p:txBody>
      </p:sp>
    </p:spTree>
    <p:extLst>
      <p:ext uri="{BB962C8B-B14F-4D97-AF65-F5344CB8AC3E}">
        <p14:creationId xmlns:p14="http://schemas.microsoft.com/office/powerpoint/2010/main" val="315403748"/>
      </p:ext>
    </p:extLst>
  </p:cSld>
  <p:clrMapOvr>
    <a:masterClrMapping/>
  </p:clrMapOvr>
  <p:transition/>
  <p:timing/>
  <p:extLst>
    <p:ext uri="{DCECCB84-F9BA-43D5-87BE-67443E8EF086}">
      <p15:sldGuideLst xmlns:p15="http://schemas.microsoft.com/office/powerpoint/2012/main">
        <p15:guide id="1" orient="horz" pos="408">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Columns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331469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6293695"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923924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3095243008"/>
      </p:ext>
    </p:extLst>
  </p:cSld>
  <p:clrMapOvr>
    <a:masterClrMapping/>
  </p:clrMapOvr>
  <p:transition/>
  <p:timing/>
</p:sldLayout>
</file>

<file path=ppt/slideLayouts/slideLayout17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Columns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331469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6293695"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923924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4040054870"/>
      </p:ext>
    </p:extLst>
  </p:cSld>
  <p:clrMapOvr>
    <a:masterClrMapping/>
  </p:clrMapOvr>
  <p:transition/>
  <p:timing/>
</p:sldLayout>
</file>

<file path=ppt/slideLayouts/slideLayout17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Columns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331469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6293695"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923924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3419458404"/>
      </p:ext>
    </p:extLst>
  </p:cSld>
  <p:clrMapOvr>
    <a:masterClrMapping/>
  </p:clrMapOvr>
  <p:transition/>
  <p:timing/>
</p:sldLayout>
</file>

<file path=ppt/slideLayouts/slideLayout17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Columns_White">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accent3"/>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066544" cy="4294187"/>
          </a:xfrm>
        </p:spPr>
        <p:txBody>
          <a:bodyPr/>
          <a:lstStyle>
            <a:lvl1pPr>
              <a:defRPr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2707739" y="1763713"/>
            <a:ext cx="2066544" cy="4294187"/>
          </a:xfrm>
        </p:spPr>
        <p:txBody>
          <a:bodyPr/>
          <a:lstStyle>
            <a:lvl1pPr>
              <a:defRPr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5068128" y="1763713"/>
            <a:ext cx="2066544" cy="4294187"/>
          </a:xfrm>
        </p:spPr>
        <p:txBody>
          <a:bodyPr/>
          <a:lstStyle>
            <a:lvl1pPr>
              <a:defRPr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7428517" y="1763713"/>
            <a:ext cx="2066544" cy="4294187"/>
          </a:xfrm>
        </p:spPr>
        <p:txBody>
          <a:bodyPr/>
          <a:lstStyle>
            <a:lvl1pPr>
              <a:defRPr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0" name="Content Placeholder 4"/>
          <p:cNvSpPr>
            <a:spLocks noGrp="1"/>
          </p:cNvSpPr>
          <p:nvPr>
            <p:ph sz="quarter" idx="48" hasCustomPrompt="1"/>
          </p:nvPr>
        </p:nvSpPr>
        <p:spPr>
          <a:xfrm>
            <a:off x="9788906" y="1763713"/>
            <a:ext cx="2066544" cy="4294187"/>
          </a:xfrm>
        </p:spPr>
        <p:txBody>
          <a:bodyPr/>
          <a:lstStyle>
            <a:lvl1pPr>
              <a:defRPr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1384083757"/>
      </p:ext>
    </p:extLst>
  </p:cSld>
  <p:clrMapOvr>
    <a:masterClrMapping/>
  </p:clrMapOvr>
  <p:transition/>
  <p:timing/>
</p:sldLayout>
</file>

<file path=ppt/slideLayouts/slideLayout17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Columns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2707739"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5068128"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7428517"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0" name="Content Placeholder 4"/>
          <p:cNvSpPr>
            <a:spLocks noGrp="1"/>
          </p:cNvSpPr>
          <p:nvPr>
            <p:ph sz="quarter" idx="48" hasCustomPrompt="1"/>
          </p:nvPr>
        </p:nvSpPr>
        <p:spPr>
          <a:xfrm>
            <a:off x="9788906"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a:p>
            <a:endParaRPr lang="en-AU"/>
          </a:p>
        </p:txBody>
      </p:sp>
    </p:spTree>
    <p:extLst>
      <p:ext uri="{BB962C8B-B14F-4D97-AF65-F5344CB8AC3E}">
        <p14:creationId xmlns:p14="http://schemas.microsoft.com/office/powerpoint/2010/main" val="2264258743"/>
      </p:ext>
    </p:extLst>
  </p:cSld>
  <p:clrMapOvr>
    <a:masterClrMapping/>
  </p:clrMapOvr>
  <p:transition/>
  <p:timing/>
</p:sldLayout>
</file>

<file path=ppt/slideLayouts/slideLayout17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Columns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2707739"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5068128"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7428517"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0" name="Content Placeholder 4"/>
          <p:cNvSpPr>
            <a:spLocks noGrp="1"/>
          </p:cNvSpPr>
          <p:nvPr>
            <p:ph sz="quarter" idx="48" hasCustomPrompt="1"/>
          </p:nvPr>
        </p:nvSpPr>
        <p:spPr>
          <a:xfrm>
            <a:off x="9788906"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a:p>
            <a:endParaRPr lang="en-AU"/>
          </a:p>
        </p:txBody>
      </p:sp>
    </p:spTree>
    <p:extLst>
      <p:ext uri="{BB962C8B-B14F-4D97-AF65-F5344CB8AC3E}">
        <p14:creationId xmlns:p14="http://schemas.microsoft.com/office/powerpoint/2010/main" val="4279868088"/>
      </p:ext>
    </p:extLst>
  </p:cSld>
  <p:clrMapOvr>
    <a:masterClrMapping/>
  </p:clrMapOvr>
  <p:transition/>
  <p:timing/>
</p:sldLayout>
</file>

<file path=ppt/slideLayouts/slideLayout17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Columns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algn="l">
              <a:lnSpc>
                <a:spcPct val="100000"/>
              </a:lnSpc>
              <a:spcBef>
                <a:spcPct val="0"/>
              </a:spcBef>
              <a:defRPr sz="2100">
                <a:solidFill>
                  <a:schemeClr val="bg1"/>
                </a:solidFill>
                <a:latin typeface="+mn-lt"/>
              </a:defRPr>
            </a:lvl1pPr>
          </a:lstStyle>
          <a:p>
            <a:r>
              <a:rPr lang="en-US"/>
              <a:t>Insert sub-title here at 21pt, min 18pt</a:t>
            </a:r>
          </a:p>
        </p:txBody>
      </p:sp>
      <p:sp>
        <p:nvSpPr>
          <p:cNvPr id="5" name="Content Placeholder 4"/>
          <p:cNvSpPr>
            <a:spLocks noGrp="1"/>
          </p:cNvSpPr>
          <p:nvPr>
            <p:ph sz="quarter" idx="44" hasCustomPrompt="1"/>
          </p:nvPr>
        </p:nvSpPr>
        <p:spPr>
          <a:xfrm>
            <a:off x="347350"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2707739"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5068128"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7428517"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0" name="Content Placeholder 4"/>
          <p:cNvSpPr>
            <a:spLocks noGrp="1"/>
          </p:cNvSpPr>
          <p:nvPr>
            <p:ph sz="quarter" idx="48" hasCustomPrompt="1"/>
          </p:nvPr>
        </p:nvSpPr>
        <p:spPr>
          <a:xfrm>
            <a:off x="9788906"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1706213873"/>
      </p:ext>
    </p:extLst>
  </p:cSld>
  <p:clrMapOvr>
    <a:masterClrMapping/>
  </p:clrMapOvr>
  <p:transition/>
  <p:timing/>
</p:sldLayout>
</file>

<file path=ppt/slideLayouts/slideLayout17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Left_Chart_White">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6" name="Chart Placeholder 5"/>
          <p:cNvSpPr>
            <a:spLocks noGrp="1"/>
          </p:cNvSpPr>
          <p:nvPr>
            <p:ph type="chart" sz="quarter" idx="33"/>
          </p:nvPr>
        </p:nvSpPr>
        <p:spPr>
          <a:xfrm>
            <a:off x="4800600" y="1763713"/>
            <a:ext cx="7054850" cy="4294187"/>
          </a:xfrm>
        </p:spPr>
        <p:txBody>
          <a:bodyPr/>
          <a:lstStyle/>
          <a:p>
            <a:endParaRPr lang="en-US"/>
          </a:p>
        </p:txBody>
      </p:sp>
      <p:sp>
        <p:nvSpPr>
          <p:cNvPr id="13" name="Text Placeholder 12"/>
          <p:cNvSpPr>
            <a:spLocks noGrp="1"/>
          </p:cNvSpPr>
          <p:nvPr>
            <p:ph type="body" sz="quarter" idx="35" hasCustomPrompt="1"/>
          </p:nvPr>
        </p:nvSpPr>
        <p:spPr>
          <a:xfrm>
            <a:off x="334963" y="3222702"/>
            <a:ext cx="4113212" cy="2835198"/>
          </a:xfrm>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2200" b="0" i="0" baseline="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sz="2200">
                <a:latin typeface="+mn-lt"/>
                <a:cs typeface="Gotham Light" pitchFamily="2" charset="0"/>
              </a:rPr>
              <a:t>Insert text at 22pt, min 18pt. Maximum lines to the bottom of this text box. </a:t>
            </a:r>
          </a:p>
          <a:p>
            <a:pPr lvl="0"/>
            <a:endParaRPr lang="en-US"/>
          </a:p>
        </p:txBody>
      </p:sp>
      <p:sp>
        <p:nvSpPr>
          <p:cNvPr id="15" name="Title 14"/>
          <p:cNvSpPr>
            <a:spLocks noGrp="1"/>
          </p:cNvSpPr>
          <p:nvPr>
            <p:ph type="title" hasCustomPrompt="1"/>
          </p:nvPr>
        </p:nvSpPr>
        <p:spPr>
          <a:xfrm>
            <a:off x="345018" y="1763713"/>
            <a:ext cx="4103157" cy="1168672"/>
          </a:xfrm>
        </p:spPr>
        <p:txBody>
          <a:bodyPr/>
          <a:lstStyle>
            <a:lvl1pPr>
              <a:defRPr/>
            </a:lvl1pPr>
          </a:lstStyle>
          <a:p>
            <a:r>
              <a:rPr lang="en-US"/>
              <a:t>Main title at 32pt min 30pt max 3 lines</a:t>
            </a:r>
          </a:p>
        </p:txBody>
      </p:sp>
    </p:spTree>
    <p:extLst>
      <p:ext uri="{BB962C8B-B14F-4D97-AF65-F5344CB8AC3E}">
        <p14:creationId xmlns:p14="http://schemas.microsoft.com/office/powerpoint/2010/main" val="781504657"/>
      </p:ext>
    </p:extLst>
  </p:cSld>
  <p:clrMapOvr>
    <a:masterClrMapping/>
  </p:clrMapOvr>
  <p:transition/>
  <p:timing/>
</p:sldLayout>
</file>

<file path=ppt/slideLayouts/slideLayout17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Title_Left_Chart_White">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13" name="Text Placeholder 12"/>
          <p:cNvSpPr>
            <a:spLocks noGrp="1"/>
          </p:cNvSpPr>
          <p:nvPr>
            <p:ph type="body" sz="quarter" idx="35" hasCustomPrompt="1"/>
          </p:nvPr>
        </p:nvSpPr>
        <p:spPr>
          <a:xfrm>
            <a:off x="334963" y="3222702"/>
            <a:ext cx="4113212" cy="2835198"/>
          </a:xfrm>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2200" b="0" i="0" baseline="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sz="2200">
                <a:latin typeface="+mn-lt"/>
                <a:cs typeface="Gotham Light" pitchFamily="2" charset="0"/>
              </a:rPr>
              <a:t>Insert text at 22pt, min 18pt. Maximum lines to the bottom of this text box. </a:t>
            </a:r>
          </a:p>
          <a:p>
            <a:pPr lvl="0"/>
            <a:endParaRPr lang="en-US"/>
          </a:p>
        </p:txBody>
      </p:sp>
      <p:sp>
        <p:nvSpPr>
          <p:cNvPr id="15" name="Title 14"/>
          <p:cNvSpPr>
            <a:spLocks noGrp="1"/>
          </p:cNvSpPr>
          <p:nvPr>
            <p:ph type="title" hasCustomPrompt="1"/>
          </p:nvPr>
        </p:nvSpPr>
        <p:spPr>
          <a:xfrm>
            <a:off x="345018" y="1763713"/>
            <a:ext cx="4103157" cy="1168672"/>
          </a:xfrm>
        </p:spPr>
        <p:txBody>
          <a:bodyPr/>
          <a:lstStyle>
            <a:lvl1pPr>
              <a:defRPr/>
            </a:lvl1pPr>
          </a:lstStyle>
          <a:p>
            <a:r>
              <a:rPr lang="en-US"/>
              <a:t>Main title at 32pt min 30pt max 3 lines</a:t>
            </a:r>
          </a:p>
        </p:txBody>
      </p:sp>
    </p:spTree>
    <p:extLst>
      <p:ext uri="{BB962C8B-B14F-4D97-AF65-F5344CB8AC3E}">
        <p14:creationId xmlns:p14="http://schemas.microsoft.com/office/powerpoint/2010/main" val="51831375"/>
      </p:ext>
    </p:extLst>
  </p:cSld>
  <p:clrMapOvr>
    <a:masterClrMapping/>
  </p:clrMapOvr>
  <p:transition/>
  <p:timing/>
</p:sldLayout>
</file>

<file path=ppt/slideLayouts/slideLayout17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Left_Graphs_White (2)">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13" name="Text Placeholder 12"/>
          <p:cNvSpPr>
            <a:spLocks noGrp="1"/>
          </p:cNvSpPr>
          <p:nvPr>
            <p:ph type="body" sz="quarter" idx="35" hasCustomPrompt="1"/>
          </p:nvPr>
        </p:nvSpPr>
        <p:spPr>
          <a:xfrm>
            <a:off x="334963" y="3222702"/>
            <a:ext cx="4113212" cy="2835198"/>
          </a:xfrm>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2200" b="0" i="0" baseline="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sz="2200">
                <a:latin typeface="+mn-lt"/>
                <a:cs typeface="Gotham Light" pitchFamily="2" charset="0"/>
              </a:rPr>
              <a:t>Insert text at 22pt, min 18pt. Maximum lines to the bottom of this text box. </a:t>
            </a:r>
          </a:p>
          <a:p>
            <a:pPr lvl="0"/>
            <a:endParaRPr lang="en-US"/>
          </a:p>
        </p:txBody>
      </p:sp>
      <p:sp>
        <p:nvSpPr>
          <p:cNvPr id="15" name="Title 14"/>
          <p:cNvSpPr>
            <a:spLocks noGrp="1"/>
          </p:cNvSpPr>
          <p:nvPr>
            <p:ph type="title" hasCustomPrompt="1"/>
          </p:nvPr>
        </p:nvSpPr>
        <p:spPr>
          <a:xfrm>
            <a:off x="345018" y="1763713"/>
            <a:ext cx="4103157" cy="1168672"/>
          </a:xfrm>
        </p:spPr>
        <p:txBody>
          <a:bodyPr/>
          <a:lstStyle>
            <a:lvl1pPr>
              <a:defRPr/>
            </a:lvl1pPr>
          </a:lstStyle>
          <a:p>
            <a:r>
              <a:rPr lang="en-US"/>
              <a:t>Main title at 32pt min 30pt max 3 lines</a:t>
            </a:r>
          </a:p>
        </p:txBody>
      </p:sp>
    </p:spTree>
    <p:extLst>
      <p:ext uri="{BB962C8B-B14F-4D97-AF65-F5344CB8AC3E}">
        <p14:creationId xmlns:p14="http://schemas.microsoft.com/office/powerpoint/2010/main" val="1859027586"/>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 Line Title">
    <p:spTree>
      <p:nvGrpSpPr>
        <p:cNvPr id="1" name=""/>
        <p:cNvGrpSpPr/>
        <p:nvPr/>
      </p:nvGrpSpPr>
      <p:grpSpPr>
        <a:xfrm>
          <a:off x="0" y="0"/>
          <a:ext cx="0" cy="0"/>
        </a:xfrm>
      </p:grpSpPr>
      <p:sp>
        <p:nvSpPr>
          <p:cNvPr id="12" name="Text Placeholder 8">
            <a:extLst>
              <a:ext uri="{FF2B5EF4-FFF2-40B4-BE49-F238E27FC236}">
                <a16:creationId xmlns:a16="http://schemas.microsoft.com/office/drawing/2014/main" id="{51674A9F-1236-FF41-B28B-7FE84DA72C02}"/>
              </a:ext>
            </a:extLst>
          </p:cNvPr>
          <p:cNvSpPr>
            <a:spLocks noGrp="1"/>
          </p:cNvSpPr>
          <p:nvPr>
            <p:ph type="body" sz="quarter" idx="12" hasCustomPrompt="1"/>
          </p:nvPr>
        </p:nvSpPr>
        <p:spPr>
          <a:xfrm>
            <a:off x="371475" y="974965"/>
            <a:ext cx="11449050" cy="469900"/>
          </a:xfrm>
          <a:prstGeom prst="rect">
            <a:avLst/>
          </a:prstGeom>
        </p:spPr>
        <p:txBody>
          <a:bodyPr lIns="0" tIns="0" rIns="0" bIns="0">
            <a:noAutofit/>
          </a:bodyPr>
          <a:lstStyle>
            <a:lvl1pPr>
              <a:defRPr lang="en-CR" sz="1600" b="1" i="0" cap="none">
                <a:solidFill>
                  <a:schemeClr val="accent5"/>
                </a:solidFill>
                <a:latin typeface="Graphik Semibold" panose="020b0503030202060203" pitchFamily="34" charset="77"/>
              </a:defRPr>
            </a:lvl1pPr>
          </a:lstStyle>
          <a:p>
            <a:pPr lvl="0"/>
            <a:r>
              <a:rPr lang="en-US"/>
              <a:t>Click to subtitle</a:t>
            </a:r>
            <a:endParaRPr lang="en-CR"/>
          </a:p>
        </p:txBody>
      </p:sp>
      <p:sp>
        <p:nvSpPr>
          <p:cNvPr id="19" name="Title Placeholder 8">
            <a:extLst>
              <a:ext uri="{FF2B5EF4-FFF2-40B4-BE49-F238E27FC236}">
                <a16:creationId xmlns:a16="http://schemas.microsoft.com/office/drawing/2014/main" id="{9E5DEC10-18D8-744C-B7F6-D2C0BBC1CEE1}"/>
              </a:ext>
            </a:extLst>
          </p:cNvPr>
          <p:cNvSpPr>
            <a:spLocks noGrp="1"/>
          </p:cNvSpPr>
          <p:nvPr>
            <p:ph type="title" hasCustomPrompt="1"/>
          </p:nvPr>
        </p:nvSpPr>
        <p:spPr>
          <a:xfrm>
            <a:off x="371475" y="368300"/>
            <a:ext cx="11449050" cy="689792"/>
          </a:xfrm>
          <a:prstGeom prst="rect">
            <a:avLst/>
          </a:prstGeom>
        </p:spPr>
        <p:txBody>
          <a:bodyPr vert="horz" lIns="0" tIns="0" rIns="0" bIns="0" rtlCol="0" anchor="t">
            <a:normAutofit/>
          </a:bodyPr>
          <a:lstStyle>
            <a:lvl1pPr>
              <a:defRPr sz="2800"/>
            </a:lvl1pPr>
          </a:lstStyle>
          <a:p>
            <a:pPr lvl="0"/>
            <a:r>
              <a:rPr kumimoji="0" lang="en-US" sz="3200" b="1" i="0" u="none" strike="noStrike" kern="1200" cap="none" spc="0" normalizeH="0" baseline="0" noProof="0">
                <a:ln>
                  <a:noFill/>
                </a:ln>
                <a:solidFill>
                  <a:srgbClr val="000000"/>
                </a:solidFill>
                <a:effectLst/>
                <a:uLnTx/>
                <a:uFillTx/>
                <a:latin typeface="Graphik" panose="020b0503030202060203" pitchFamily="34" charset="77"/>
                <a:ea typeface="+mj-ea"/>
                <a:cs typeface="+mj-cs"/>
              </a:rPr>
              <a:t>CLICK TO EDIT A 2 LINE </a:t>
            </a:r>
            <a:br>
              <a:rPr kumimoji="0" lang="en-US" sz="3200" b="1" i="0" u="none" strike="noStrike" kern="1200" cap="none" spc="0" normalizeH="0" baseline="0" noProof="0">
                <a:ln>
                  <a:noFill/>
                </a:ln>
                <a:solidFill>
                  <a:srgbClr val="000000"/>
                </a:solidFill>
                <a:effectLst/>
                <a:uLnTx/>
                <a:uFillTx/>
                <a:latin typeface="Graphik" panose="020b0503030202060203" pitchFamily="34" charset="77"/>
                <a:ea typeface="+mj-ea"/>
                <a:cs typeface="+mj-cs"/>
              </a:rPr>
            </a:br>
            <a:r>
              <a:rPr kumimoji="0" lang="en-US" sz="3200" b="1" i="0" u="none" strike="noStrike" kern="1200" cap="none" spc="0" normalizeH="0" baseline="0" noProof="0">
                <a:ln>
                  <a:noFill/>
                </a:ln>
                <a:solidFill>
                  <a:srgbClr val="000000"/>
                </a:solidFill>
                <a:effectLst/>
                <a:uLnTx/>
                <a:uFillTx/>
                <a:latin typeface="Graphik" panose="020b0503030202060203" pitchFamily="34" charset="77"/>
                <a:ea typeface="+mj-ea"/>
                <a:cs typeface="+mj-cs"/>
              </a:rPr>
              <a:t>OR SHORT TITLE STYLE</a:t>
            </a:r>
            <a:endParaRPr lang="en-CR"/>
          </a:p>
        </p:txBody>
      </p:sp>
    </p:spTree>
    <p:extLst>
      <p:ext uri="{BB962C8B-B14F-4D97-AF65-F5344CB8AC3E}">
        <p14:creationId xmlns:p14="http://schemas.microsoft.com/office/powerpoint/2010/main" val="3260291644"/>
      </p:ext>
    </p:extLst>
  </p:cSld>
  <p:clrMapOvr>
    <a:masterClrMapping/>
  </p:clrMapOvr>
  <p:transition/>
  <p:timing/>
</p:sldLayout>
</file>

<file path=ppt/slideLayouts/slideLayout18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Left_Graphs_Blue3">
    <p:bg>
      <p:bgPr>
        <a:solidFill>
          <a:schemeClr val="accent4"/>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3" name="Text Placeholder 12"/>
          <p:cNvSpPr>
            <a:spLocks noGrp="1"/>
          </p:cNvSpPr>
          <p:nvPr>
            <p:ph type="body" sz="quarter" idx="35" hasCustomPrompt="1"/>
          </p:nvPr>
        </p:nvSpPr>
        <p:spPr>
          <a:xfrm>
            <a:off x="334963" y="3222702"/>
            <a:ext cx="4113212" cy="2835198"/>
          </a:xfrm>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2200" b="0" i="0" baseline="0">
                <a:solidFill>
                  <a:schemeClr val="bg1"/>
                </a:solidFill>
              </a:defRPr>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sz="2200">
                <a:latin typeface="+mn-lt"/>
                <a:cs typeface="Gotham Light" pitchFamily="2" charset="0"/>
              </a:rPr>
              <a:t>Insert text at 22pt, min 18pt. Maximum lines to the bottom of this text box. </a:t>
            </a:r>
          </a:p>
          <a:p>
            <a:pPr lvl="0"/>
            <a:endParaRPr lang="en-US"/>
          </a:p>
        </p:txBody>
      </p:sp>
      <p:sp>
        <p:nvSpPr>
          <p:cNvPr id="2" name="Title 1"/>
          <p:cNvSpPr>
            <a:spLocks noGrp="1"/>
          </p:cNvSpPr>
          <p:nvPr>
            <p:ph type="title" hasCustomPrompt="1"/>
          </p:nvPr>
        </p:nvSpPr>
        <p:spPr>
          <a:xfrm>
            <a:off x="345018" y="1627078"/>
            <a:ext cx="4103157" cy="1315818"/>
          </a:xfrm>
        </p:spPr>
        <p:txBody>
          <a:bodyPr/>
          <a:lstStyle>
            <a:lvl1pPr>
              <a:defRPr>
                <a:solidFill>
                  <a:schemeClr val="bg1"/>
                </a:solidFill>
              </a:defRPr>
            </a:lvl1pPr>
          </a:lstStyle>
          <a:p>
            <a:r>
              <a:rPr lang="en-US"/>
              <a:t>Main title at 32pt min 30pt max 3 lines </a:t>
            </a:r>
          </a:p>
        </p:txBody>
      </p:sp>
    </p:spTree>
    <p:extLst>
      <p:ext uri="{BB962C8B-B14F-4D97-AF65-F5344CB8AC3E}">
        <p14:creationId xmlns:p14="http://schemas.microsoft.com/office/powerpoint/2010/main" val="267584604"/>
      </p:ext>
    </p:extLst>
  </p:cSld>
  <p:clrMapOvr>
    <a:masterClrMapping/>
  </p:clrMapOvr>
  <p:transition/>
  <p:timing/>
</p:sldLayout>
</file>

<file path=ppt/slideLayouts/slideLayout18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Image_Gallery_White">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13" name="Text Placeholder 12"/>
          <p:cNvSpPr>
            <a:spLocks noGrp="1"/>
          </p:cNvSpPr>
          <p:nvPr>
            <p:ph type="body" sz="quarter" idx="35" hasCustomPrompt="1"/>
          </p:nvPr>
        </p:nvSpPr>
        <p:spPr>
          <a:xfrm>
            <a:off x="334963" y="3222702"/>
            <a:ext cx="4113212" cy="2835198"/>
          </a:xfrm>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2200" b="0" i="0" baseline="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sz="2200">
                <a:latin typeface="+mn-lt"/>
                <a:cs typeface="Gotham Light" pitchFamily="2" charset="0"/>
              </a:rPr>
              <a:t>Insert text at 22pt, min 18pt. Maximum lines to the bottom of this text box. </a:t>
            </a:r>
          </a:p>
          <a:p>
            <a:pPr lvl="0"/>
            <a:endParaRPr lang="en-US"/>
          </a:p>
        </p:txBody>
      </p:sp>
      <p:sp>
        <p:nvSpPr>
          <p:cNvPr id="15" name="Title 14"/>
          <p:cNvSpPr>
            <a:spLocks noGrp="1"/>
          </p:cNvSpPr>
          <p:nvPr>
            <p:ph type="title" hasCustomPrompt="1"/>
          </p:nvPr>
        </p:nvSpPr>
        <p:spPr>
          <a:xfrm>
            <a:off x="345018" y="1763713"/>
            <a:ext cx="4103157" cy="1168672"/>
          </a:xfrm>
        </p:spPr>
        <p:txBody>
          <a:bodyPr/>
          <a:lstStyle>
            <a:lvl1pPr>
              <a:defRPr/>
            </a:lvl1pPr>
          </a:lstStyle>
          <a:p>
            <a:r>
              <a:rPr lang="en-US"/>
              <a:t>Main title at 32pt min 30pt max 3 lines</a:t>
            </a:r>
          </a:p>
        </p:txBody>
      </p:sp>
      <p:sp>
        <p:nvSpPr>
          <p:cNvPr id="7" name="Picture Placeholder 13"/>
          <p:cNvSpPr>
            <a:spLocks noGrp="1"/>
          </p:cNvSpPr>
          <p:nvPr>
            <p:ph type="pic" sz="quarter" idx="12" hasCustomPrompt="1"/>
          </p:nvPr>
        </p:nvSpPr>
        <p:spPr>
          <a:xfrm>
            <a:off x="6067514" y="0"/>
            <a:ext cx="2828836" cy="2932385"/>
          </a:xfrm>
          <a:solidFill>
            <a:schemeClr val="tx2">
              <a:lumMod val="20000"/>
              <a:lumOff val="80000"/>
            </a:schemeClr>
          </a:solidFill>
        </p:spPr>
        <p:txBody>
          <a:bodyPr anchor="ctr" anchorCtr="0"/>
          <a:lstStyle>
            <a:lvl1pPr algn="ctr">
              <a:defRPr sz="1000" cap="all" baseline="0"/>
            </a:lvl1pPr>
          </a:lstStyle>
          <a:p>
            <a:r>
              <a:rPr lang="en-US"/>
              <a:t>Click on the icon to Insert image in placeholder and USE THE CROP TOOL TO CENTER THE IMAGE</a:t>
            </a:r>
          </a:p>
        </p:txBody>
      </p:sp>
      <p:sp>
        <p:nvSpPr>
          <p:cNvPr id="8" name="Picture Placeholder 13"/>
          <p:cNvSpPr>
            <a:spLocks noGrp="1"/>
          </p:cNvSpPr>
          <p:nvPr>
            <p:ph type="pic" sz="quarter" idx="36" hasCustomPrompt="1"/>
          </p:nvPr>
        </p:nvSpPr>
        <p:spPr>
          <a:xfrm>
            <a:off x="4800600" y="3125515"/>
            <a:ext cx="4095750" cy="2932385"/>
          </a:xfrm>
          <a:solidFill>
            <a:schemeClr val="tx2">
              <a:lumMod val="20000"/>
              <a:lumOff val="80000"/>
            </a:schemeClr>
          </a:solidFill>
        </p:spPr>
        <p:txBody>
          <a:bodyPr anchor="ctr" anchorCtr="0"/>
          <a:lstStyle>
            <a:lvl1pPr algn="ctr">
              <a:defRPr sz="1000" cap="all" baseline="0"/>
            </a:lvl1pPr>
          </a:lstStyle>
          <a:p>
            <a:r>
              <a:rPr lang="en-US"/>
              <a:t>Click on the icon to Insert image in placeholder and USE THE CROP TOOL TO CENTER THE IMAGE</a:t>
            </a:r>
          </a:p>
        </p:txBody>
      </p:sp>
      <p:sp>
        <p:nvSpPr>
          <p:cNvPr id="10" name="Picture Placeholder 13"/>
          <p:cNvSpPr>
            <a:spLocks noGrp="1"/>
          </p:cNvSpPr>
          <p:nvPr>
            <p:ph type="pic" sz="quarter" idx="37" hasCustomPrompt="1"/>
          </p:nvPr>
        </p:nvSpPr>
        <p:spPr>
          <a:xfrm>
            <a:off x="9082043" y="1773196"/>
            <a:ext cx="3109957" cy="4294187"/>
          </a:xfrm>
          <a:solidFill>
            <a:schemeClr val="tx2">
              <a:lumMod val="20000"/>
              <a:lumOff val="80000"/>
            </a:schemeClr>
          </a:solidFill>
        </p:spPr>
        <p:txBody>
          <a:bodyPr anchor="ctr" anchorCtr="0"/>
          <a:lstStyle>
            <a:lvl1pPr algn="ctr">
              <a:defRPr sz="1000" cap="all" baseline="0"/>
            </a:lvl1pPr>
          </a:lstStyle>
          <a:p>
            <a:r>
              <a:rPr lang="en-US"/>
              <a:t>Click on the icon to Insert image in placeholder and USE THE CROP TOOL TO CENTER THE IMAGE</a:t>
            </a:r>
          </a:p>
        </p:txBody>
      </p:sp>
    </p:spTree>
    <p:extLst>
      <p:ext uri="{BB962C8B-B14F-4D97-AF65-F5344CB8AC3E}">
        <p14:creationId xmlns:p14="http://schemas.microsoft.com/office/powerpoint/2010/main" val="3417854003"/>
      </p:ext>
    </p:extLst>
  </p:cSld>
  <p:clrMapOvr>
    <a:masterClrMapping/>
  </p:clrMapOvr>
  <p:transition/>
  <p:timing/>
</p:sldLayout>
</file>

<file path=ppt/slideLayouts/slideLayout18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MERICA">
    <p:spTree>
      <p:nvGrpSpPr>
        <p:cNvPr id="1" name=""/>
        <p:cNvGrpSpPr/>
        <p:nvPr/>
      </p:nvGrpSpPr>
      <p:grpSpPr>
        <a:xfrm>
          <a:off x="0" y="0"/>
          <a:ext cx="0" cy="0"/>
        </a:xfrm>
      </p:grpSpPr>
      <p:grpSp>
        <p:nvGrpSpPr>
          <p:cNvPr id="5" name="Group 4"/>
          <p:cNvGrpSpPr>
            <a:grpSpLocks noChangeAspect="1"/>
          </p:cNvGrpSpPr>
          <p:nvPr userDrawn="1"/>
        </p:nvGrpSpPr>
        <p:grpSpPr>
          <a:xfrm>
            <a:off x="3995134" y="1"/>
            <a:ext cx="8197147" cy="6858000"/>
            <a:chOff x="1289041" y="599309"/>
            <a:chExt cx="9699958" cy="8115301"/>
          </a:xfrm>
          <a:gradFill>
            <a:gsLst>
              <a:gs pos="100000">
                <a:schemeClr val="accent4"/>
              </a:gs>
              <a:gs pos="0">
                <a:schemeClr val="accent1"/>
              </a:gs>
            </a:gsLst>
            <a:lin ang="1200000" scaled="0"/>
          </a:gradFill>
        </p:grpSpPr>
        <p:grpSp>
          <p:nvGrpSpPr>
            <p:cNvPr id="6" name="Group 209"/>
            <p:cNvGrpSpPr/>
            <p:nvPr/>
          </p:nvGrpSpPr>
          <p:grpSpPr>
            <a:xfrm>
              <a:off x="1289041" y="1831209"/>
              <a:ext cx="9677400" cy="6662738"/>
              <a:chOff x="786" y="381"/>
              <a:chExt cx="6096" cy="4197"/>
            </a:xfrm>
            <a:grpFill/>
          </p:grpSpPr>
          <p:sp>
            <p:nvSpPr>
              <p:cNvPr id="176" name="Rectangle 9"/>
              <p:cNvSpPr>
                <a:spLocks noChangeArrowheads="1"/>
              </p:cNvSpPr>
              <p:nvPr/>
            </p:nvSpPr>
            <p:spPr bwMode="auto">
              <a:xfrm>
                <a:off x="6187" y="239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0"/>
              <p:cNvSpPr/>
              <p:nvPr/>
            </p:nvSpPr>
            <p:spPr bwMode="auto">
              <a:xfrm flipH="1">
                <a:off x="6187" y="239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Rectangle 11"/>
              <p:cNvSpPr>
                <a:spLocks noChangeArrowheads="1"/>
              </p:cNvSpPr>
              <p:nvPr/>
            </p:nvSpPr>
            <p:spPr bwMode="auto">
              <a:xfrm>
                <a:off x="4671" y="3516"/>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2"/>
              <p:cNvSpPr/>
              <p:nvPr/>
            </p:nvSpPr>
            <p:spPr bwMode="auto">
              <a:xfrm flipH="1">
                <a:off x="4671" y="3516"/>
                <a:ext cx="0" cy="2"/>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3"/>
              <p:cNvSpPr>
                <a:spLocks noEditPoints="1"/>
              </p:cNvSpPr>
              <p:nvPr/>
            </p:nvSpPr>
            <p:spPr bwMode="auto">
              <a:xfrm>
                <a:off x="3160" y="2035"/>
                <a:ext cx="3169" cy="1537"/>
              </a:xfrm>
              <a:custGeom>
                <a:gdLst>
                  <a:gd name="T0" fmla="*/ 1179 w 1340"/>
                  <a:gd name="T1" fmla="*/ 236 h 650"/>
                  <a:gd name="T2" fmla="*/ 1178 w 1340"/>
                  <a:gd name="T3" fmla="*/ 232 h 650"/>
                  <a:gd name="T4" fmla="*/ 475 w 1340"/>
                  <a:gd name="T5" fmla="*/ 11 h 650"/>
                  <a:gd name="T6" fmla="*/ 56 w 1340"/>
                  <a:gd name="T7" fmla="*/ 39 h 650"/>
                  <a:gd name="T8" fmla="*/ 49 w 1340"/>
                  <a:gd name="T9" fmla="*/ 55 h 650"/>
                  <a:gd name="T10" fmla="*/ 47 w 1340"/>
                  <a:gd name="T11" fmla="*/ 42 h 650"/>
                  <a:gd name="T12" fmla="*/ 18 w 1340"/>
                  <a:gd name="T13" fmla="*/ 74 h 650"/>
                  <a:gd name="T14" fmla="*/ 13 w 1340"/>
                  <a:gd name="T15" fmla="*/ 162 h 650"/>
                  <a:gd name="T16" fmla="*/ 23 w 1340"/>
                  <a:gd name="T17" fmla="*/ 277 h 650"/>
                  <a:gd name="T18" fmla="*/ 63 w 1340"/>
                  <a:gd name="T19" fmla="*/ 315 h 650"/>
                  <a:gd name="T20" fmla="*/ 55 w 1340"/>
                  <a:gd name="T21" fmla="*/ 325 h 650"/>
                  <a:gd name="T22" fmla="*/ 95 w 1340"/>
                  <a:gd name="T23" fmla="*/ 400 h 650"/>
                  <a:gd name="T24" fmla="*/ 146 w 1340"/>
                  <a:gd name="T25" fmla="*/ 431 h 650"/>
                  <a:gd name="T26" fmla="*/ 235 w 1340"/>
                  <a:gd name="T27" fmla="*/ 461 h 650"/>
                  <a:gd name="T28" fmla="*/ 485 w 1340"/>
                  <a:gd name="T29" fmla="*/ 544 h 650"/>
                  <a:gd name="T30" fmla="*/ 588 w 1340"/>
                  <a:gd name="T31" fmla="*/ 595 h 650"/>
                  <a:gd name="T32" fmla="*/ 631 w 1340"/>
                  <a:gd name="T33" fmla="*/ 596 h 650"/>
                  <a:gd name="T34" fmla="*/ 650 w 1340"/>
                  <a:gd name="T35" fmla="*/ 569 h 650"/>
                  <a:gd name="T36" fmla="*/ 686 w 1340"/>
                  <a:gd name="T37" fmla="*/ 548 h 650"/>
                  <a:gd name="T38" fmla="*/ 695 w 1340"/>
                  <a:gd name="T39" fmla="*/ 544 h 650"/>
                  <a:gd name="T40" fmla="*/ 756 w 1340"/>
                  <a:gd name="T41" fmla="*/ 535 h 650"/>
                  <a:gd name="T42" fmla="*/ 809 w 1340"/>
                  <a:gd name="T43" fmla="*/ 542 h 650"/>
                  <a:gd name="T44" fmla="*/ 817 w 1340"/>
                  <a:gd name="T45" fmla="*/ 536 h 650"/>
                  <a:gd name="T46" fmla="*/ 831 w 1340"/>
                  <a:gd name="T47" fmla="*/ 517 h 650"/>
                  <a:gd name="T48" fmla="*/ 865 w 1340"/>
                  <a:gd name="T49" fmla="*/ 517 h 650"/>
                  <a:gd name="T50" fmla="*/ 912 w 1340"/>
                  <a:gd name="T51" fmla="*/ 527 h 650"/>
                  <a:gd name="T52" fmla="*/ 975 w 1340"/>
                  <a:gd name="T53" fmla="*/ 568 h 650"/>
                  <a:gd name="T54" fmla="*/ 990 w 1340"/>
                  <a:gd name="T55" fmla="*/ 607 h 650"/>
                  <a:gd name="T56" fmla="*/ 1028 w 1340"/>
                  <a:gd name="T57" fmla="*/ 646 h 650"/>
                  <a:gd name="T58" fmla="*/ 1010 w 1340"/>
                  <a:gd name="T59" fmla="*/ 489 h 650"/>
                  <a:gd name="T60" fmla="*/ 1025 w 1340"/>
                  <a:gd name="T61" fmla="*/ 463 h 650"/>
                  <a:gd name="T62" fmla="*/ 1086 w 1340"/>
                  <a:gd name="T63" fmla="*/ 427 h 650"/>
                  <a:gd name="T64" fmla="*/ 1115 w 1340"/>
                  <a:gd name="T65" fmla="*/ 399 h 650"/>
                  <a:gd name="T66" fmla="*/ 1130 w 1340"/>
                  <a:gd name="T67" fmla="*/ 374 h 650"/>
                  <a:gd name="T68" fmla="*/ 1127 w 1340"/>
                  <a:gd name="T69" fmla="*/ 368 h 650"/>
                  <a:gd name="T70" fmla="*/ 1118 w 1340"/>
                  <a:gd name="T71" fmla="*/ 344 h 650"/>
                  <a:gd name="T72" fmla="*/ 1108 w 1340"/>
                  <a:gd name="T73" fmla="*/ 313 h 650"/>
                  <a:gd name="T74" fmla="*/ 1111 w 1340"/>
                  <a:gd name="T75" fmla="*/ 309 h 650"/>
                  <a:gd name="T76" fmla="*/ 1125 w 1340"/>
                  <a:gd name="T77" fmla="*/ 279 h 650"/>
                  <a:gd name="T78" fmla="*/ 1126 w 1340"/>
                  <a:gd name="T79" fmla="*/ 302 h 650"/>
                  <a:gd name="T80" fmla="*/ 1134 w 1340"/>
                  <a:gd name="T81" fmla="*/ 336 h 650"/>
                  <a:gd name="T82" fmla="*/ 1163 w 1340"/>
                  <a:gd name="T83" fmla="*/ 285 h 650"/>
                  <a:gd name="T84" fmla="*/ 1204 w 1340"/>
                  <a:gd name="T85" fmla="*/ 229 h 650"/>
                  <a:gd name="T86" fmla="*/ 1266 w 1340"/>
                  <a:gd name="T87" fmla="*/ 208 h 650"/>
                  <a:gd name="T88" fmla="*/ 1275 w 1340"/>
                  <a:gd name="T89" fmla="*/ 151 h 650"/>
                  <a:gd name="T90" fmla="*/ 1280 w 1340"/>
                  <a:gd name="T91" fmla="*/ 153 h 650"/>
                  <a:gd name="T92" fmla="*/ 1322 w 1340"/>
                  <a:gd name="T93" fmla="*/ 136 h 650"/>
                  <a:gd name="T94" fmla="*/ 1320 w 1340"/>
                  <a:gd name="T95" fmla="*/ 106 h 650"/>
                  <a:gd name="T96" fmla="*/ 1250 w 1340"/>
                  <a:gd name="T97" fmla="*/ 120 h 650"/>
                  <a:gd name="T98" fmla="*/ 1126 w 1340"/>
                  <a:gd name="T99" fmla="*/ 151 h 650"/>
                  <a:gd name="T100" fmla="*/ 1063 w 1340"/>
                  <a:gd name="T101" fmla="*/ 180 h 650"/>
                  <a:gd name="T102" fmla="*/ 972 w 1340"/>
                  <a:gd name="T103" fmla="*/ 222 h 650"/>
                  <a:gd name="T104" fmla="*/ 946 w 1340"/>
                  <a:gd name="T105" fmla="*/ 158 h 650"/>
                  <a:gd name="T106" fmla="*/ 914 w 1340"/>
                  <a:gd name="T107" fmla="*/ 116 h 650"/>
                  <a:gd name="T108" fmla="*/ 894 w 1340"/>
                  <a:gd name="T109" fmla="*/ 132 h 650"/>
                  <a:gd name="T110" fmla="*/ 872 w 1340"/>
                  <a:gd name="T111" fmla="*/ 125 h 650"/>
                  <a:gd name="T112" fmla="*/ 870 w 1340"/>
                  <a:gd name="T113" fmla="*/ 107 h 650"/>
                  <a:gd name="T114" fmla="*/ 937 w 1340"/>
                  <a:gd name="T115" fmla="*/ 96 h 650"/>
                  <a:gd name="T116" fmla="*/ 894 w 1340"/>
                  <a:gd name="T117" fmla="*/ 77 h 650"/>
                  <a:gd name="T118" fmla="*/ 788 w 1340"/>
                  <a:gd name="T119" fmla="*/ 70 h 650"/>
                  <a:gd name="T120" fmla="*/ 751 w 1340"/>
                  <a:gd name="T121" fmla="*/ 33 h 6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0" h="650">
                    <a:moveTo>
                      <a:pt x="631" y="596"/>
                    </a:moveTo>
                    <a:cubicBezTo>
                      <a:pt x="631" y="596"/>
                      <a:pt x="631" y="596"/>
                      <a:pt x="631" y="596"/>
                    </a:cubicBezTo>
                    <a:cubicBezTo>
                      <a:pt x="631" y="596"/>
                      <a:pt x="631" y="596"/>
                      <a:pt x="631" y="596"/>
                    </a:cubicBezTo>
                    <a:moveTo>
                      <a:pt x="41" y="318"/>
                    </a:moveTo>
                    <a:cubicBezTo>
                      <a:pt x="40" y="318"/>
                      <a:pt x="40" y="318"/>
                      <a:pt x="40" y="319"/>
                    </a:cubicBezTo>
                    <a:cubicBezTo>
                      <a:pt x="40" y="318"/>
                      <a:pt x="40" y="318"/>
                      <a:pt x="41" y="318"/>
                    </a:cubicBezTo>
                    <a:moveTo>
                      <a:pt x="49" y="25"/>
                    </a:moveTo>
                    <a:cubicBezTo>
                      <a:pt x="49" y="25"/>
                      <a:pt x="49" y="25"/>
                      <a:pt x="49" y="25"/>
                    </a:cubicBezTo>
                    <a:cubicBezTo>
                      <a:pt x="49" y="25"/>
                      <a:pt x="49" y="25"/>
                      <a:pt x="49" y="25"/>
                    </a:cubicBezTo>
                    <a:moveTo>
                      <a:pt x="1038" y="458"/>
                    </a:moveTo>
                    <a:cubicBezTo>
                      <a:pt x="1038" y="458"/>
                      <a:pt x="1038" y="458"/>
                      <a:pt x="1038" y="458"/>
                    </a:cubicBezTo>
                    <a:cubicBezTo>
                      <a:pt x="1038" y="458"/>
                      <a:pt x="1038" y="458"/>
                      <a:pt x="1038" y="458"/>
                    </a:cubicBezTo>
                    <a:cubicBezTo>
                      <a:pt x="1038" y="459"/>
                      <a:pt x="1038" y="459"/>
                      <a:pt x="1037" y="459"/>
                    </a:cubicBezTo>
                    <a:cubicBezTo>
                      <a:pt x="1038" y="459"/>
                      <a:pt x="1038" y="459"/>
                      <a:pt x="1038" y="458"/>
                    </a:cubicBezTo>
                    <a:moveTo>
                      <a:pt x="1038" y="457"/>
                    </a:moveTo>
                    <a:cubicBezTo>
                      <a:pt x="1038" y="456"/>
                      <a:pt x="1037" y="456"/>
                      <a:pt x="1037" y="455"/>
                    </a:cubicBezTo>
                    <a:cubicBezTo>
                      <a:pt x="1037" y="456"/>
                      <a:pt x="1038" y="456"/>
                      <a:pt x="1038" y="457"/>
                    </a:cubicBezTo>
                    <a:moveTo>
                      <a:pt x="1106" y="395"/>
                    </a:moveTo>
                    <a:cubicBezTo>
                      <a:pt x="1106" y="395"/>
                      <a:pt x="1106" y="395"/>
                      <a:pt x="1106" y="395"/>
                    </a:cubicBezTo>
                    <a:cubicBezTo>
                      <a:pt x="1106" y="395"/>
                      <a:pt x="1106" y="395"/>
                      <a:pt x="1106" y="395"/>
                    </a:cubicBezTo>
                    <a:cubicBezTo>
                      <a:pt x="1106" y="395"/>
                      <a:pt x="1106" y="395"/>
                      <a:pt x="1106" y="395"/>
                    </a:cubicBezTo>
                    <a:moveTo>
                      <a:pt x="1179" y="236"/>
                    </a:moveTo>
                    <a:cubicBezTo>
                      <a:pt x="1179" y="236"/>
                      <a:pt x="1179" y="236"/>
                      <a:pt x="1179" y="236"/>
                    </a:cubicBezTo>
                    <a:cubicBezTo>
                      <a:pt x="1179" y="236"/>
                      <a:pt x="1179" y="236"/>
                      <a:pt x="1179" y="236"/>
                    </a:cubicBezTo>
                    <a:cubicBezTo>
                      <a:pt x="1179" y="237"/>
                      <a:pt x="1178" y="238"/>
                      <a:pt x="1178" y="239"/>
                    </a:cubicBezTo>
                    <a:cubicBezTo>
                      <a:pt x="1178" y="238"/>
                      <a:pt x="1179" y="237"/>
                      <a:pt x="1179" y="236"/>
                    </a:cubicBezTo>
                    <a:moveTo>
                      <a:pt x="1178" y="233"/>
                    </a:moveTo>
                    <a:cubicBezTo>
                      <a:pt x="1178" y="233"/>
                      <a:pt x="1178" y="233"/>
                      <a:pt x="1178" y="233"/>
                    </a:cubicBezTo>
                    <a:cubicBezTo>
                      <a:pt x="1178" y="233"/>
                      <a:pt x="1178" y="233"/>
                      <a:pt x="1178" y="233"/>
                    </a:cubicBezTo>
                    <a:moveTo>
                      <a:pt x="1178" y="233"/>
                    </a:moveTo>
                    <a:cubicBezTo>
                      <a:pt x="1178" y="233"/>
                      <a:pt x="1178" y="233"/>
                      <a:pt x="1178" y="233"/>
                    </a:cubicBezTo>
                    <a:cubicBezTo>
                      <a:pt x="1178" y="233"/>
                      <a:pt x="1178" y="233"/>
                      <a:pt x="1178" y="233"/>
                    </a:cubicBezTo>
                    <a:moveTo>
                      <a:pt x="1178" y="229"/>
                    </a:move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30"/>
                      <a:pt x="1178" y="231"/>
                      <a:pt x="1178" y="232"/>
                    </a:cubicBezTo>
                    <a:cubicBezTo>
                      <a:pt x="1178" y="232"/>
                      <a:pt x="1178" y="232"/>
                      <a:pt x="1178" y="232"/>
                    </a:cubicBezTo>
                    <a:cubicBezTo>
                      <a:pt x="1178" y="232"/>
                      <a:pt x="1178" y="232"/>
                      <a:pt x="1178" y="232"/>
                    </a:cubicBezTo>
                    <a:cubicBezTo>
                      <a:pt x="1178" y="231"/>
                      <a:pt x="1178" y="230"/>
                      <a:pt x="1178" y="229"/>
                    </a:cubicBezTo>
                    <a:cubicBezTo>
                      <a:pt x="1178" y="229"/>
                      <a:pt x="1178" y="229"/>
                      <a:pt x="1178" y="229"/>
                    </a:cubicBezTo>
                    <a:cubicBezTo>
                      <a:pt x="1178" y="229"/>
                      <a:pt x="1178" y="229"/>
                      <a:pt x="1178" y="229"/>
                    </a:cubicBezTo>
                    <a:moveTo>
                      <a:pt x="1178" y="229"/>
                    </a:moveTo>
                    <a:cubicBezTo>
                      <a:pt x="1178" y="229"/>
                      <a:pt x="1178" y="229"/>
                      <a:pt x="1178" y="229"/>
                    </a:cubicBezTo>
                    <a:cubicBezTo>
                      <a:pt x="1178" y="229"/>
                      <a:pt x="1178" y="229"/>
                      <a:pt x="1178" y="229"/>
                    </a:cubicBezTo>
                    <a:moveTo>
                      <a:pt x="1278" y="153"/>
                    </a:moveTo>
                    <a:cubicBezTo>
                      <a:pt x="1278" y="153"/>
                      <a:pt x="1278" y="153"/>
                      <a:pt x="1278" y="153"/>
                    </a:cubicBezTo>
                    <a:cubicBezTo>
                      <a:pt x="1278" y="153"/>
                      <a:pt x="1278" y="153"/>
                      <a:pt x="1278" y="153"/>
                    </a:cubicBezTo>
                    <a:cubicBezTo>
                      <a:pt x="1278" y="153"/>
                      <a:pt x="1278" y="153"/>
                      <a:pt x="1278" y="153"/>
                    </a:cubicBezTo>
                    <a:cubicBezTo>
                      <a:pt x="1278" y="153"/>
                      <a:pt x="1278" y="153"/>
                      <a:pt x="1278" y="153"/>
                    </a:cubicBezTo>
                    <a:moveTo>
                      <a:pt x="1280" y="153"/>
                    </a:moveTo>
                    <a:cubicBezTo>
                      <a:pt x="1280" y="153"/>
                      <a:pt x="1280" y="153"/>
                      <a:pt x="1280" y="153"/>
                    </a:cubicBezTo>
                    <a:moveTo>
                      <a:pt x="691" y="0"/>
                    </a:moveTo>
                    <a:cubicBezTo>
                      <a:pt x="691" y="3"/>
                      <a:pt x="690" y="7"/>
                      <a:pt x="690" y="8"/>
                    </a:cubicBezTo>
                    <a:cubicBezTo>
                      <a:pt x="689" y="9"/>
                      <a:pt x="689" y="9"/>
                      <a:pt x="689" y="9"/>
                    </a:cubicBezTo>
                    <a:cubicBezTo>
                      <a:pt x="688" y="10"/>
                      <a:pt x="687" y="11"/>
                      <a:pt x="681" y="11"/>
                    </a:cubicBezTo>
                    <a:cubicBezTo>
                      <a:pt x="679" y="11"/>
                      <a:pt x="676" y="11"/>
                      <a:pt x="672" y="11"/>
                    </a:cubicBezTo>
                    <a:cubicBezTo>
                      <a:pt x="671" y="11"/>
                      <a:pt x="671" y="11"/>
                      <a:pt x="671" y="11"/>
                    </a:cubicBezTo>
                    <a:cubicBezTo>
                      <a:pt x="632" y="11"/>
                      <a:pt x="632" y="11"/>
                      <a:pt x="632" y="11"/>
                    </a:cubicBezTo>
                    <a:cubicBezTo>
                      <a:pt x="563" y="11"/>
                      <a:pt x="480" y="11"/>
                      <a:pt x="479" y="11"/>
                    </a:cubicBezTo>
                    <a:cubicBezTo>
                      <a:pt x="478" y="11"/>
                      <a:pt x="476" y="11"/>
                      <a:pt x="475" y="11"/>
                    </a:cubicBezTo>
                    <a:cubicBezTo>
                      <a:pt x="473" y="11"/>
                      <a:pt x="471" y="11"/>
                      <a:pt x="470" y="11"/>
                    </a:cubicBezTo>
                    <a:cubicBezTo>
                      <a:pt x="470" y="11"/>
                      <a:pt x="470" y="11"/>
                      <a:pt x="467" y="11"/>
                    </a:cubicBezTo>
                    <a:cubicBezTo>
                      <a:pt x="466" y="11"/>
                      <a:pt x="464" y="11"/>
                      <a:pt x="460" y="11"/>
                    </a:cubicBezTo>
                    <a:cubicBezTo>
                      <a:pt x="460" y="10"/>
                      <a:pt x="460" y="10"/>
                      <a:pt x="460" y="10"/>
                    </a:cubicBezTo>
                    <a:cubicBezTo>
                      <a:pt x="458" y="11"/>
                      <a:pt x="455" y="11"/>
                      <a:pt x="447" y="11"/>
                    </a:cubicBezTo>
                    <a:cubicBezTo>
                      <a:pt x="417" y="11"/>
                      <a:pt x="417" y="11"/>
                      <a:pt x="417" y="11"/>
                    </a:cubicBezTo>
                    <a:cubicBezTo>
                      <a:pt x="395" y="11"/>
                      <a:pt x="372" y="11"/>
                      <a:pt x="369" y="11"/>
                    </a:cubicBezTo>
                    <a:cubicBezTo>
                      <a:pt x="108" y="11"/>
                      <a:pt x="108" y="11"/>
                      <a:pt x="108" y="11"/>
                    </a:cubicBezTo>
                    <a:cubicBezTo>
                      <a:pt x="47" y="11"/>
                      <a:pt x="47" y="11"/>
                      <a:pt x="47" y="11"/>
                    </a:cubicBezTo>
                    <a:cubicBezTo>
                      <a:pt x="46" y="12"/>
                      <a:pt x="46" y="12"/>
                      <a:pt x="46" y="12"/>
                    </a:cubicBezTo>
                    <a:cubicBezTo>
                      <a:pt x="46" y="13"/>
                      <a:pt x="47" y="14"/>
                      <a:pt x="48" y="14"/>
                    </a:cubicBezTo>
                    <a:cubicBezTo>
                      <a:pt x="48" y="15"/>
                      <a:pt x="48" y="16"/>
                      <a:pt x="49" y="16"/>
                    </a:cubicBezTo>
                    <a:cubicBezTo>
                      <a:pt x="49" y="16"/>
                      <a:pt x="50" y="16"/>
                      <a:pt x="51" y="15"/>
                    </a:cubicBezTo>
                    <a:cubicBezTo>
                      <a:pt x="50" y="18"/>
                      <a:pt x="53" y="18"/>
                      <a:pt x="53" y="20"/>
                    </a:cubicBezTo>
                    <a:cubicBezTo>
                      <a:pt x="53" y="20"/>
                      <a:pt x="52" y="22"/>
                      <a:pt x="52" y="23"/>
                    </a:cubicBezTo>
                    <a:cubicBezTo>
                      <a:pt x="51" y="23"/>
                      <a:pt x="52" y="23"/>
                      <a:pt x="52" y="24"/>
                    </a:cubicBezTo>
                    <a:cubicBezTo>
                      <a:pt x="51" y="25"/>
                      <a:pt x="50" y="25"/>
                      <a:pt x="49" y="25"/>
                    </a:cubicBezTo>
                    <a:cubicBezTo>
                      <a:pt x="49" y="25"/>
                      <a:pt x="49" y="25"/>
                      <a:pt x="49" y="25"/>
                    </a:cubicBezTo>
                    <a:cubicBezTo>
                      <a:pt x="51" y="25"/>
                      <a:pt x="54" y="28"/>
                      <a:pt x="54" y="29"/>
                    </a:cubicBezTo>
                    <a:cubicBezTo>
                      <a:pt x="56" y="31"/>
                      <a:pt x="54" y="34"/>
                      <a:pt x="56" y="36"/>
                    </a:cubicBezTo>
                    <a:cubicBezTo>
                      <a:pt x="57" y="37"/>
                      <a:pt x="59" y="36"/>
                      <a:pt x="58" y="37"/>
                    </a:cubicBezTo>
                    <a:cubicBezTo>
                      <a:pt x="58" y="38"/>
                      <a:pt x="57" y="39"/>
                      <a:pt x="56" y="39"/>
                    </a:cubicBezTo>
                    <a:cubicBezTo>
                      <a:pt x="56" y="39"/>
                      <a:pt x="56" y="41"/>
                      <a:pt x="55" y="41"/>
                    </a:cubicBezTo>
                    <a:cubicBezTo>
                      <a:pt x="55" y="42"/>
                      <a:pt x="55" y="42"/>
                      <a:pt x="54" y="43"/>
                    </a:cubicBezTo>
                    <a:cubicBezTo>
                      <a:pt x="54" y="44"/>
                      <a:pt x="55" y="44"/>
                      <a:pt x="55" y="45"/>
                    </a:cubicBezTo>
                    <a:cubicBezTo>
                      <a:pt x="55" y="45"/>
                      <a:pt x="54" y="46"/>
                      <a:pt x="54" y="46"/>
                    </a:cubicBezTo>
                    <a:cubicBezTo>
                      <a:pt x="54" y="48"/>
                      <a:pt x="54" y="48"/>
                      <a:pt x="54" y="48"/>
                    </a:cubicBezTo>
                    <a:cubicBezTo>
                      <a:pt x="54" y="48"/>
                      <a:pt x="54" y="48"/>
                      <a:pt x="54" y="48"/>
                    </a:cubicBezTo>
                    <a:cubicBezTo>
                      <a:pt x="54" y="48"/>
                      <a:pt x="55" y="49"/>
                      <a:pt x="55" y="50"/>
                    </a:cubicBezTo>
                    <a:cubicBezTo>
                      <a:pt x="56" y="50"/>
                      <a:pt x="54" y="50"/>
                      <a:pt x="54" y="51"/>
                    </a:cubicBezTo>
                    <a:cubicBezTo>
                      <a:pt x="55" y="52"/>
                      <a:pt x="55" y="52"/>
                      <a:pt x="55" y="52"/>
                    </a:cubicBezTo>
                    <a:cubicBezTo>
                      <a:pt x="55" y="53"/>
                      <a:pt x="56" y="54"/>
                      <a:pt x="56" y="54"/>
                    </a:cubicBezTo>
                    <a:cubicBezTo>
                      <a:pt x="56" y="56"/>
                      <a:pt x="55" y="55"/>
                      <a:pt x="54" y="57"/>
                    </a:cubicBezTo>
                    <a:cubicBezTo>
                      <a:pt x="53" y="58"/>
                      <a:pt x="52" y="59"/>
                      <a:pt x="50" y="61"/>
                    </a:cubicBezTo>
                    <a:cubicBezTo>
                      <a:pt x="47" y="63"/>
                      <a:pt x="46" y="63"/>
                      <a:pt x="42" y="64"/>
                    </a:cubicBezTo>
                    <a:cubicBezTo>
                      <a:pt x="43" y="65"/>
                      <a:pt x="43" y="65"/>
                      <a:pt x="43" y="65"/>
                    </a:cubicBezTo>
                    <a:cubicBezTo>
                      <a:pt x="40" y="65"/>
                      <a:pt x="40" y="63"/>
                      <a:pt x="42" y="61"/>
                    </a:cubicBezTo>
                    <a:cubicBezTo>
                      <a:pt x="41" y="62"/>
                      <a:pt x="40" y="63"/>
                      <a:pt x="39" y="63"/>
                    </a:cubicBezTo>
                    <a:cubicBezTo>
                      <a:pt x="39" y="62"/>
                      <a:pt x="41" y="62"/>
                      <a:pt x="41" y="61"/>
                    </a:cubicBezTo>
                    <a:cubicBezTo>
                      <a:pt x="42" y="60"/>
                      <a:pt x="41" y="59"/>
                      <a:pt x="42" y="58"/>
                    </a:cubicBezTo>
                    <a:cubicBezTo>
                      <a:pt x="43" y="57"/>
                      <a:pt x="44" y="57"/>
                      <a:pt x="44" y="55"/>
                    </a:cubicBezTo>
                    <a:cubicBezTo>
                      <a:pt x="45" y="57"/>
                      <a:pt x="44" y="59"/>
                      <a:pt x="45" y="61"/>
                    </a:cubicBezTo>
                    <a:cubicBezTo>
                      <a:pt x="46" y="58"/>
                      <a:pt x="46" y="57"/>
                      <a:pt x="49" y="55"/>
                    </a:cubicBezTo>
                    <a:cubicBezTo>
                      <a:pt x="49" y="55"/>
                      <a:pt x="49" y="55"/>
                      <a:pt x="49" y="55"/>
                    </a:cubicBezTo>
                    <a:cubicBezTo>
                      <a:pt x="49" y="55"/>
                      <a:pt x="49" y="55"/>
                      <a:pt x="49" y="55"/>
                    </a:cubicBezTo>
                    <a:cubicBezTo>
                      <a:pt x="49" y="55"/>
                      <a:pt x="49" y="55"/>
                      <a:pt x="49" y="55"/>
                    </a:cubicBezTo>
                    <a:cubicBezTo>
                      <a:pt x="49" y="55"/>
                      <a:pt x="49" y="55"/>
                      <a:pt x="49" y="55"/>
                    </a:cubicBezTo>
                    <a:cubicBezTo>
                      <a:pt x="49" y="55"/>
                      <a:pt x="49" y="55"/>
                      <a:pt x="49" y="55"/>
                    </a:cubicBezTo>
                    <a:cubicBezTo>
                      <a:pt x="48" y="56"/>
                      <a:pt x="48" y="57"/>
                      <a:pt x="47" y="58"/>
                    </a:cubicBezTo>
                    <a:cubicBezTo>
                      <a:pt x="54" y="56"/>
                      <a:pt x="51" y="48"/>
                      <a:pt x="48" y="45"/>
                    </a:cubicBezTo>
                    <a:cubicBezTo>
                      <a:pt x="48" y="45"/>
                      <a:pt x="49" y="45"/>
                      <a:pt x="49" y="45"/>
                    </a:cubicBezTo>
                    <a:cubicBezTo>
                      <a:pt x="51" y="45"/>
                      <a:pt x="52" y="45"/>
                      <a:pt x="52" y="45"/>
                    </a:cubicBezTo>
                    <a:cubicBezTo>
                      <a:pt x="53" y="43"/>
                      <a:pt x="51" y="41"/>
                      <a:pt x="51" y="40"/>
                    </a:cubicBezTo>
                    <a:cubicBezTo>
                      <a:pt x="50" y="42"/>
                      <a:pt x="48" y="43"/>
                      <a:pt x="46" y="45"/>
                    </a:cubicBezTo>
                    <a:cubicBezTo>
                      <a:pt x="45" y="47"/>
                      <a:pt x="43" y="47"/>
                      <a:pt x="41" y="49"/>
                    </a:cubicBezTo>
                    <a:cubicBezTo>
                      <a:pt x="40" y="50"/>
                      <a:pt x="39" y="52"/>
                      <a:pt x="39" y="53"/>
                    </a:cubicBezTo>
                    <a:cubicBezTo>
                      <a:pt x="38" y="55"/>
                      <a:pt x="37" y="55"/>
                      <a:pt x="39" y="55"/>
                    </a:cubicBezTo>
                    <a:cubicBezTo>
                      <a:pt x="39" y="55"/>
                      <a:pt x="39" y="55"/>
                      <a:pt x="39" y="55"/>
                    </a:cubicBezTo>
                    <a:cubicBezTo>
                      <a:pt x="40" y="55"/>
                      <a:pt x="42" y="54"/>
                      <a:pt x="43" y="54"/>
                    </a:cubicBezTo>
                    <a:cubicBezTo>
                      <a:pt x="43" y="54"/>
                      <a:pt x="40" y="56"/>
                      <a:pt x="38" y="56"/>
                    </a:cubicBezTo>
                    <a:cubicBezTo>
                      <a:pt x="38" y="56"/>
                      <a:pt x="37" y="56"/>
                      <a:pt x="37" y="56"/>
                    </a:cubicBezTo>
                    <a:cubicBezTo>
                      <a:pt x="37" y="54"/>
                      <a:pt x="39" y="51"/>
                      <a:pt x="40" y="50"/>
                    </a:cubicBezTo>
                    <a:cubicBezTo>
                      <a:pt x="41" y="48"/>
                      <a:pt x="42" y="47"/>
                      <a:pt x="43" y="46"/>
                    </a:cubicBezTo>
                    <a:cubicBezTo>
                      <a:pt x="44" y="44"/>
                      <a:pt x="43" y="42"/>
                      <a:pt x="44" y="42"/>
                    </a:cubicBezTo>
                    <a:cubicBezTo>
                      <a:pt x="45" y="43"/>
                      <a:pt x="45" y="45"/>
                      <a:pt x="44" y="46"/>
                    </a:cubicBezTo>
                    <a:cubicBezTo>
                      <a:pt x="45" y="45"/>
                      <a:pt x="47" y="43"/>
                      <a:pt x="47" y="42"/>
                    </a:cubicBezTo>
                    <a:cubicBezTo>
                      <a:pt x="48" y="40"/>
                      <a:pt x="49" y="41"/>
                      <a:pt x="48" y="39"/>
                    </a:cubicBezTo>
                    <a:cubicBezTo>
                      <a:pt x="47" y="38"/>
                      <a:pt x="44" y="35"/>
                      <a:pt x="46" y="33"/>
                    </a:cubicBezTo>
                    <a:cubicBezTo>
                      <a:pt x="45" y="34"/>
                      <a:pt x="44" y="37"/>
                      <a:pt x="44" y="37"/>
                    </a:cubicBezTo>
                    <a:cubicBezTo>
                      <a:pt x="44" y="37"/>
                      <a:pt x="44" y="37"/>
                      <a:pt x="43" y="37"/>
                    </a:cubicBezTo>
                    <a:cubicBezTo>
                      <a:pt x="42" y="37"/>
                      <a:pt x="38" y="33"/>
                      <a:pt x="37" y="32"/>
                    </a:cubicBezTo>
                    <a:cubicBezTo>
                      <a:pt x="37" y="32"/>
                      <a:pt x="37" y="32"/>
                      <a:pt x="37" y="32"/>
                    </a:cubicBezTo>
                    <a:cubicBezTo>
                      <a:pt x="35" y="32"/>
                      <a:pt x="33" y="32"/>
                      <a:pt x="31" y="32"/>
                    </a:cubicBezTo>
                    <a:cubicBezTo>
                      <a:pt x="29" y="33"/>
                      <a:pt x="27" y="33"/>
                      <a:pt x="25" y="33"/>
                    </a:cubicBezTo>
                    <a:cubicBezTo>
                      <a:pt x="23" y="33"/>
                      <a:pt x="22" y="33"/>
                      <a:pt x="20" y="32"/>
                    </a:cubicBezTo>
                    <a:cubicBezTo>
                      <a:pt x="13" y="31"/>
                      <a:pt x="7" y="28"/>
                      <a:pt x="0" y="26"/>
                    </a:cubicBezTo>
                    <a:cubicBezTo>
                      <a:pt x="0" y="30"/>
                      <a:pt x="0" y="33"/>
                      <a:pt x="1" y="37"/>
                    </a:cubicBezTo>
                    <a:cubicBezTo>
                      <a:pt x="3" y="42"/>
                      <a:pt x="7" y="47"/>
                      <a:pt x="9" y="52"/>
                    </a:cubicBezTo>
                    <a:cubicBezTo>
                      <a:pt x="9" y="53"/>
                      <a:pt x="9" y="54"/>
                      <a:pt x="10" y="56"/>
                    </a:cubicBezTo>
                    <a:cubicBezTo>
                      <a:pt x="10" y="58"/>
                      <a:pt x="12" y="60"/>
                      <a:pt x="13" y="62"/>
                    </a:cubicBezTo>
                    <a:cubicBezTo>
                      <a:pt x="13" y="64"/>
                      <a:pt x="13" y="66"/>
                      <a:pt x="13" y="68"/>
                    </a:cubicBezTo>
                    <a:cubicBezTo>
                      <a:pt x="14" y="66"/>
                      <a:pt x="14" y="65"/>
                      <a:pt x="15" y="65"/>
                    </a:cubicBezTo>
                    <a:cubicBezTo>
                      <a:pt x="16" y="65"/>
                      <a:pt x="18" y="67"/>
                      <a:pt x="21" y="67"/>
                    </a:cubicBezTo>
                    <a:cubicBezTo>
                      <a:pt x="20" y="68"/>
                      <a:pt x="15" y="69"/>
                      <a:pt x="16" y="71"/>
                    </a:cubicBezTo>
                    <a:cubicBezTo>
                      <a:pt x="15" y="71"/>
                      <a:pt x="15" y="70"/>
                      <a:pt x="14" y="69"/>
                    </a:cubicBezTo>
                    <a:cubicBezTo>
                      <a:pt x="14" y="70"/>
                      <a:pt x="14" y="73"/>
                      <a:pt x="15" y="73"/>
                    </a:cubicBezTo>
                    <a:cubicBezTo>
                      <a:pt x="15" y="74"/>
                      <a:pt x="16" y="74"/>
                      <a:pt x="17" y="74"/>
                    </a:cubicBezTo>
                    <a:cubicBezTo>
                      <a:pt x="17" y="74"/>
                      <a:pt x="17" y="74"/>
                      <a:pt x="18" y="74"/>
                    </a:cubicBezTo>
                    <a:cubicBezTo>
                      <a:pt x="18" y="74"/>
                      <a:pt x="18" y="74"/>
                      <a:pt x="18" y="74"/>
                    </a:cubicBezTo>
                    <a:cubicBezTo>
                      <a:pt x="19" y="74"/>
                      <a:pt x="21" y="74"/>
                      <a:pt x="21" y="76"/>
                    </a:cubicBezTo>
                    <a:cubicBezTo>
                      <a:pt x="19" y="76"/>
                      <a:pt x="18" y="77"/>
                      <a:pt x="19" y="78"/>
                    </a:cubicBezTo>
                    <a:cubicBezTo>
                      <a:pt x="18" y="77"/>
                      <a:pt x="18" y="77"/>
                      <a:pt x="18" y="77"/>
                    </a:cubicBezTo>
                    <a:cubicBezTo>
                      <a:pt x="19" y="78"/>
                      <a:pt x="19" y="79"/>
                      <a:pt x="19" y="80"/>
                    </a:cubicBezTo>
                    <a:cubicBezTo>
                      <a:pt x="19" y="84"/>
                      <a:pt x="19" y="84"/>
                      <a:pt x="19" y="84"/>
                    </a:cubicBezTo>
                    <a:cubicBezTo>
                      <a:pt x="18" y="84"/>
                      <a:pt x="18" y="84"/>
                      <a:pt x="18" y="84"/>
                    </a:cubicBezTo>
                    <a:cubicBezTo>
                      <a:pt x="16" y="84"/>
                      <a:pt x="17" y="79"/>
                      <a:pt x="16" y="78"/>
                    </a:cubicBezTo>
                    <a:cubicBezTo>
                      <a:pt x="15" y="81"/>
                      <a:pt x="17" y="85"/>
                      <a:pt x="15" y="87"/>
                    </a:cubicBezTo>
                    <a:cubicBezTo>
                      <a:pt x="22" y="89"/>
                      <a:pt x="29" y="89"/>
                      <a:pt x="36" y="90"/>
                    </a:cubicBezTo>
                    <a:cubicBezTo>
                      <a:pt x="32" y="91"/>
                      <a:pt x="28" y="91"/>
                      <a:pt x="24" y="92"/>
                    </a:cubicBezTo>
                    <a:cubicBezTo>
                      <a:pt x="24" y="92"/>
                      <a:pt x="24" y="92"/>
                      <a:pt x="23" y="92"/>
                    </a:cubicBezTo>
                    <a:cubicBezTo>
                      <a:pt x="21" y="92"/>
                      <a:pt x="19" y="90"/>
                      <a:pt x="17" y="89"/>
                    </a:cubicBezTo>
                    <a:cubicBezTo>
                      <a:pt x="19" y="94"/>
                      <a:pt x="17" y="97"/>
                      <a:pt x="17" y="101"/>
                    </a:cubicBezTo>
                    <a:cubicBezTo>
                      <a:pt x="18" y="103"/>
                      <a:pt x="19" y="104"/>
                      <a:pt x="18" y="107"/>
                    </a:cubicBezTo>
                    <a:cubicBezTo>
                      <a:pt x="18" y="108"/>
                      <a:pt x="18" y="110"/>
                      <a:pt x="18" y="111"/>
                    </a:cubicBezTo>
                    <a:cubicBezTo>
                      <a:pt x="17" y="113"/>
                      <a:pt x="18" y="114"/>
                      <a:pt x="18" y="115"/>
                    </a:cubicBezTo>
                    <a:cubicBezTo>
                      <a:pt x="18" y="120"/>
                      <a:pt x="17" y="124"/>
                      <a:pt x="16" y="129"/>
                    </a:cubicBezTo>
                    <a:cubicBezTo>
                      <a:pt x="15" y="132"/>
                      <a:pt x="15" y="136"/>
                      <a:pt x="15" y="140"/>
                    </a:cubicBezTo>
                    <a:cubicBezTo>
                      <a:pt x="15" y="144"/>
                      <a:pt x="14" y="149"/>
                      <a:pt x="14" y="153"/>
                    </a:cubicBezTo>
                    <a:cubicBezTo>
                      <a:pt x="14" y="155"/>
                      <a:pt x="14" y="157"/>
                      <a:pt x="13" y="158"/>
                    </a:cubicBezTo>
                    <a:cubicBezTo>
                      <a:pt x="13" y="160"/>
                      <a:pt x="13" y="161"/>
                      <a:pt x="13" y="162"/>
                    </a:cubicBezTo>
                    <a:cubicBezTo>
                      <a:pt x="12" y="165"/>
                      <a:pt x="11" y="168"/>
                      <a:pt x="10" y="171"/>
                    </a:cubicBezTo>
                    <a:cubicBezTo>
                      <a:pt x="10" y="170"/>
                      <a:pt x="11" y="169"/>
                      <a:pt x="12" y="169"/>
                    </a:cubicBezTo>
                    <a:cubicBezTo>
                      <a:pt x="12" y="169"/>
                      <a:pt x="13" y="170"/>
                      <a:pt x="13" y="171"/>
                    </a:cubicBezTo>
                    <a:cubicBezTo>
                      <a:pt x="12" y="171"/>
                      <a:pt x="12" y="171"/>
                      <a:pt x="12" y="171"/>
                    </a:cubicBezTo>
                    <a:cubicBezTo>
                      <a:pt x="10" y="174"/>
                      <a:pt x="4" y="182"/>
                      <a:pt x="4" y="186"/>
                    </a:cubicBezTo>
                    <a:cubicBezTo>
                      <a:pt x="5" y="188"/>
                      <a:pt x="6" y="188"/>
                      <a:pt x="6" y="189"/>
                    </a:cubicBezTo>
                    <a:cubicBezTo>
                      <a:pt x="7" y="192"/>
                      <a:pt x="8" y="191"/>
                      <a:pt x="7" y="194"/>
                    </a:cubicBezTo>
                    <a:cubicBezTo>
                      <a:pt x="7" y="197"/>
                      <a:pt x="7" y="199"/>
                      <a:pt x="7" y="201"/>
                    </a:cubicBezTo>
                    <a:cubicBezTo>
                      <a:pt x="8" y="204"/>
                      <a:pt x="9" y="207"/>
                      <a:pt x="12" y="209"/>
                    </a:cubicBezTo>
                    <a:cubicBezTo>
                      <a:pt x="13" y="210"/>
                      <a:pt x="12" y="214"/>
                      <a:pt x="12" y="216"/>
                    </a:cubicBezTo>
                    <a:cubicBezTo>
                      <a:pt x="12" y="221"/>
                      <a:pt x="13" y="226"/>
                      <a:pt x="13" y="231"/>
                    </a:cubicBezTo>
                    <a:cubicBezTo>
                      <a:pt x="13" y="232"/>
                      <a:pt x="13" y="243"/>
                      <a:pt x="12" y="243"/>
                    </a:cubicBezTo>
                    <a:cubicBezTo>
                      <a:pt x="12" y="243"/>
                      <a:pt x="12" y="243"/>
                      <a:pt x="12" y="243"/>
                    </a:cubicBezTo>
                    <a:cubicBezTo>
                      <a:pt x="12" y="243"/>
                      <a:pt x="12" y="243"/>
                      <a:pt x="12" y="243"/>
                    </a:cubicBezTo>
                    <a:cubicBezTo>
                      <a:pt x="13" y="242"/>
                      <a:pt x="13" y="241"/>
                      <a:pt x="15" y="241"/>
                    </a:cubicBezTo>
                    <a:cubicBezTo>
                      <a:pt x="15" y="241"/>
                      <a:pt x="15" y="241"/>
                      <a:pt x="15" y="241"/>
                    </a:cubicBezTo>
                    <a:cubicBezTo>
                      <a:pt x="14" y="242"/>
                      <a:pt x="12" y="245"/>
                      <a:pt x="11" y="245"/>
                    </a:cubicBezTo>
                    <a:cubicBezTo>
                      <a:pt x="11" y="245"/>
                      <a:pt x="11" y="245"/>
                      <a:pt x="11" y="245"/>
                    </a:cubicBezTo>
                    <a:cubicBezTo>
                      <a:pt x="9" y="248"/>
                      <a:pt x="8" y="251"/>
                      <a:pt x="9" y="254"/>
                    </a:cubicBezTo>
                    <a:cubicBezTo>
                      <a:pt x="10" y="256"/>
                      <a:pt x="16" y="265"/>
                      <a:pt x="18" y="265"/>
                    </a:cubicBezTo>
                    <a:cubicBezTo>
                      <a:pt x="17" y="265"/>
                      <a:pt x="17" y="265"/>
                      <a:pt x="17" y="265"/>
                    </a:cubicBezTo>
                    <a:cubicBezTo>
                      <a:pt x="19" y="268"/>
                      <a:pt x="23" y="273"/>
                      <a:pt x="23" y="277"/>
                    </a:cubicBezTo>
                    <a:cubicBezTo>
                      <a:pt x="23" y="278"/>
                      <a:pt x="22" y="279"/>
                      <a:pt x="22" y="280"/>
                    </a:cubicBezTo>
                    <a:cubicBezTo>
                      <a:pt x="21" y="283"/>
                      <a:pt x="23" y="285"/>
                      <a:pt x="24" y="288"/>
                    </a:cubicBezTo>
                    <a:cubicBezTo>
                      <a:pt x="25" y="292"/>
                      <a:pt x="23" y="293"/>
                      <a:pt x="25" y="296"/>
                    </a:cubicBezTo>
                    <a:cubicBezTo>
                      <a:pt x="30" y="302"/>
                      <a:pt x="35" y="309"/>
                      <a:pt x="40" y="315"/>
                    </a:cubicBezTo>
                    <a:cubicBezTo>
                      <a:pt x="41" y="316"/>
                      <a:pt x="41" y="317"/>
                      <a:pt x="41" y="318"/>
                    </a:cubicBezTo>
                    <a:cubicBezTo>
                      <a:pt x="41" y="318"/>
                      <a:pt x="41" y="317"/>
                      <a:pt x="42" y="317"/>
                    </a:cubicBezTo>
                    <a:cubicBezTo>
                      <a:pt x="44" y="317"/>
                      <a:pt x="46" y="320"/>
                      <a:pt x="48" y="321"/>
                    </a:cubicBezTo>
                    <a:cubicBezTo>
                      <a:pt x="48" y="321"/>
                      <a:pt x="48" y="321"/>
                      <a:pt x="48" y="321"/>
                    </a:cubicBezTo>
                    <a:cubicBezTo>
                      <a:pt x="48" y="321"/>
                      <a:pt x="51" y="323"/>
                      <a:pt x="52" y="323"/>
                    </a:cubicBezTo>
                    <a:cubicBezTo>
                      <a:pt x="53" y="323"/>
                      <a:pt x="53" y="323"/>
                      <a:pt x="52" y="322"/>
                    </a:cubicBezTo>
                    <a:cubicBezTo>
                      <a:pt x="53" y="322"/>
                      <a:pt x="53" y="322"/>
                      <a:pt x="53" y="322"/>
                    </a:cubicBezTo>
                    <a:cubicBezTo>
                      <a:pt x="53" y="321"/>
                      <a:pt x="52" y="320"/>
                      <a:pt x="52" y="320"/>
                    </a:cubicBezTo>
                    <a:cubicBezTo>
                      <a:pt x="52" y="320"/>
                      <a:pt x="52" y="320"/>
                      <a:pt x="52" y="320"/>
                    </a:cubicBezTo>
                    <a:cubicBezTo>
                      <a:pt x="52" y="320"/>
                      <a:pt x="52" y="319"/>
                      <a:pt x="52" y="319"/>
                    </a:cubicBezTo>
                    <a:cubicBezTo>
                      <a:pt x="52" y="318"/>
                      <a:pt x="52" y="317"/>
                      <a:pt x="52" y="317"/>
                    </a:cubicBezTo>
                    <a:cubicBezTo>
                      <a:pt x="52" y="317"/>
                      <a:pt x="52" y="317"/>
                      <a:pt x="52" y="317"/>
                    </a:cubicBezTo>
                    <a:cubicBezTo>
                      <a:pt x="53" y="315"/>
                      <a:pt x="53" y="316"/>
                      <a:pt x="54" y="315"/>
                    </a:cubicBezTo>
                    <a:cubicBezTo>
                      <a:pt x="56" y="315"/>
                      <a:pt x="57" y="317"/>
                      <a:pt x="58" y="317"/>
                    </a:cubicBezTo>
                    <a:cubicBezTo>
                      <a:pt x="59" y="317"/>
                      <a:pt x="59" y="317"/>
                      <a:pt x="60" y="317"/>
                    </a:cubicBezTo>
                    <a:cubicBezTo>
                      <a:pt x="60" y="317"/>
                      <a:pt x="60" y="317"/>
                      <a:pt x="62" y="316"/>
                    </a:cubicBezTo>
                    <a:cubicBezTo>
                      <a:pt x="62" y="316"/>
                      <a:pt x="62" y="315"/>
                      <a:pt x="63" y="315"/>
                    </a:cubicBezTo>
                    <a:cubicBezTo>
                      <a:pt x="63" y="315"/>
                      <a:pt x="63" y="315"/>
                      <a:pt x="63" y="315"/>
                    </a:cubicBezTo>
                    <a:cubicBezTo>
                      <a:pt x="64" y="315"/>
                      <a:pt x="66" y="317"/>
                      <a:pt x="67" y="317"/>
                    </a:cubicBezTo>
                    <a:cubicBezTo>
                      <a:pt x="67" y="317"/>
                      <a:pt x="67" y="317"/>
                      <a:pt x="67" y="317"/>
                    </a:cubicBezTo>
                    <a:cubicBezTo>
                      <a:pt x="68" y="317"/>
                      <a:pt x="69" y="317"/>
                      <a:pt x="69" y="316"/>
                    </a:cubicBezTo>
                    <a:cubicBezTo>
                      <a:pt x="69" y="317"/>
                      <a:pt x="69" y="317"/>
                      <a:pt x="69" y="317"/>
                    </a:cubicBezTo>
                    <a:cubicBezTo>
                      <a:pt x="70" y="317"/>
                      <a:pt x="71" y="316"/>
                      <a:pt x="72" y="316"/>
                    </a:cubicBezTo>
                    <a:cubicBezTo>
                      <a:pt x="73" y="316"/>
                      <a:pt x="74" y="317"/>
                      <a:pt x="76" y="318"/>
                    </a:cubicBezTo>
                    <a:cubicBezTo>
                      <a:pt x="75" y="318"/>
                      <a:pt x="73" y="317"/>
                      <a:pt x="72" y="317"/>
                    </a:cubicBezTo>
                    <a:cubicBezTo>
                      <a:pt x="72" y="317"/>
                      <a:pt x="72" y="317"/>
                      <a:pt x="72" y="317"/>
                    </a:cubicBezTo>
                    <a:cubicBezTo>
                      <a:pt x="71" y="317"/>
                      <a:pt x="71" y="318"/>
                      <a:pt x="71" y="318"/>
                    </a:cubicBezTo>
                    <a:cubicBezTo>
                      <a:pt x="70" y="318"/>
                      <a:pt x="70" y="318"/>
                      <a:pt x="69" y="318"/>
                    </a:cubicBezTo>
                    <a:cubicBezTo>
                      <a:pt x="68" y="318"/>
                      <a:pt x="68" y="318"/>
                      <a:pt x="68" y="318"/>
                    </a:cubicBezTo>
                    <a:cubicBezTo>
                      <a:pt x="66" y="318"/>
                      <a:pt x="65" y="317"/>
                      <a:pt x="64" y="317"/>
                    </a:cubicBezTo>
                    <a:cubicBezTo>
                      <a:pt x="64" y="317"/>
                      <a:pt x="64" y="317"/>
                      <a:pt x="64" y="317"/>
                    </a:cubicBezTo>
                    <a:cubicBezTo>
                      <a:pt x="62" y="317"/>
                      <a:pt x="61" y="318"/>
                      <a:pt x="60" y="318"/>
                    </a:cubicBezTo>
                    <a:cubicBezTo>
                      <a:pt x="60" y="318"/>
                      <a:pt x="60" y="318"/>
                      <a:pt x="60" y="318"/>
                    </a:cubicBezTo>
                    <a:cubicBezTo>
                      <a:pt x="60" y="318"/>
                      <a:pt x="59" y="318"/>
                      <a:pt x="59" y="318"/>
                    </a:cubicBezTo>
                    <a:cubicBezTo>
                      <a:pt x="58" y="318"/>
                      <a:pt x="58" y="318"/>
                      <a:pt x="57" y="318"/>
                    </a:cubicBezTo>
                    <a:cubicBezTo>
                      <a:pt x="56" y="318"/>
                      <a:pt x="56" y="318"/>
                      <a:pt x="55" y="319"/>
                    </a:cubicBezTo>
                    <a:cubicBezTo>
                      <a:pt x="53" y="322"/>
                      <a:pt x="60" y="330"/>
                      <a:pt x="62" y="334"/>
                    </a:cubicBezTo>
                    <a:cubicBezTo>
                      <a:pt x="60" y="332"/>
                      <a:pt x="58" y="332"/>
                      <a:pt x="57" y="330"/>
                    </a:cubicBezTo>
                    <a:cubicBezTo>
                      <a:pt x="56" y="330"/>
                      <a:pt x="55" y="330"/>
                      <a:pt x="55" y="329"/>
                    </a:cubicBezTo>
                    <a:cubicBezTo>
                      <a:pt x="55" y="328"/>
                      <a:pt x="55" y="325"/>
                      <a:pt x="55" y="325"/>
                    </a:cubicBezTo>
                    <a:cubicBezTo>
                      <a:pt x="54" y="324"/>
                      <a:pt x="54" y="324"/>
                      <a:pt x="54" y="324"/>
                    </a:cubicBezTo>
                    <a:cubicBezTo>
                      <a:pt x="52" y="324"/>
                      <a:pt x="51" y="330"/>
                      <a:pt x="52" y="331"/>
                    </a:cubicBezTo>
                    <a:cubicBezTo>
                      <a:pt x="52" y="333"/>
                      <a:pt x="54" y="335"/>
                      <a:pt x="54" y="338"/>
                    </a:cubicBezTo>
                    <a:cubicBezTo>
                      <a:pt x="55" y="341"/>
                      <a:pt x="54" y="341"/>
                      <a:pt x="58" y="343"/>
                    </a:cubicBezTo>
                    <a:cubicBezTo>
                      <a:pt x="60" y="344"/>
                      <a:pt x="63" y="346"/>
                      <a:pt x="65" y="347"/>
                    </a:cubicBezTo>
                    <a:cubicBezTo>
                      <a:pt x="65" y="347"/>
                      <a:pt x="65" y="347"/>
                      <a:pt x="65" y="347"/>
                    </a:cubicBezTo>
                    <a:cubicBezTo>
                      <a:pt x="65" y="347"/>
                      <a:pt x="65" y="347"/>
                      <a:pt x="65" y="347"/>
                    </a:cubicBezTo>
                    <a:cubicBezTo>
                      <a:pt x="65" y="347"/>
                      <a:pt x="65" y="346"/>
                      <a:pt x="65" y="346"/>
                    </a:cubicBezTo>
                    <a:cubicBezTo>
                      <a:pt x="66" y="346"/>
                      <a:pt x="66" y="347"/>
                      <a:pt x="66" y="347"/>
                    </a:cubicBezTo>
                    <a:cubicBezTo>
                      <a:pt x="67" y="348"/>
                      <a:pt x="69" y="353"/>
                      <a:pt x="68" y="355"/>
                    </a:cubicBezTo>
                    <a:cubicBezTo>
                      <a:pt x="67" y="355"/>
                      <a:pt x="67" y="356"/>
                      <a:pt x="66" y="356"/>
                    </a:cubicBezTo>
                    <a:cubicBezTo>
                      <a:pt x="66" y="356"/>
                      <a:pt x="66" y="356"/>
                      <a:pt x="66" y="355"/>
                    </a:cubicBezTo>
                    <a:cubicBezTo>
                      <a:pt x="66" y="355"/>
                      <a:pt x="66" y="355"/>
                      <a:pt x="65" y="355"/>
                    </a:cubicBezTo>
                    <a:cubicBezTo>
                      <a:pt x="65" y="355"/>
                      <a:pt x="65" y="355"/>
                      <a:pt x="65" y="356"/>
                    </a:cubicBezTo>
                    <a:cubicBezTo>
                      <a:pt x="64" y="357"/>
                      <a:pt x="65" y="358"/>
                      <a:pt x="65" y="360"/>
                    </a:cubicBezTo>
                    <a:cubicBezTo>
                      <a:pt x="66" y="361"/>
                      <a:pt x="66" y="362"/>
                      <a:pt x="66" y="363"/>
                    </a:cubicBezTo>
                    <a:cubicBezTo>
                      <a:pt x="68" y="368"/>
                      <a:pt x="73" y="372"/>
                      <a:pt x="76" y="376"/>
                    </a:cubicBezTo>
                    <a:cubicBezTo>
                      <a:pt x="80" y="380"/>
                      <a:pt x="83" y="384"/>
                      <a:pt x="87" y="388"/>
                    </a:cubicBezTo>
                    <a:cubicBezTo>
                      <a:pt x="89" y="389"/>
                      <a:pt x="89" y="390"/>
                      <a:pt x="89" y="391"/>
                    </a:cubicBezTo>
                    <a:cubicBezTo>
                      <a:pt x="90" y="392"/>
                      <a:pt x="89" y="393"/>
                      <a:pt x="91" y="394"/>
                    </a:cubicBezTo>
                    <a:cubicBezTo>
                      <a:pt x="92" y="395"/>
                      <a:pt x="95" y="397"/>
                      <a:pt x="95" y="399"/>
                    </a:cubicBezTo>
                    <a:cubicBezTo>
                      <a:pt x="95" y="399"/>
                      <a:pt x="94" y="400"/>
                      <a:pt x="95" y="400"/>
                    </a:cubicBezTo>
                    <a:cubicBezTo>
                      <a:pt x="95" y="401"/>
                      <a:pt x="95" y="403"/>
                      <a:pt x="95" y="404"/>
                    </a:cubicBezTo>
                    <a:cubicBezTo>
                      <a:pt x="95" y="405"/>
                      <a:pt x="95" y="407"/>
                      <a:pt x="95" y="408"/>
                    </a:cubicBezTo>
                    <a:cubicBezTo>
                      <a:pt x="95" y="409"/>
                      <a:pt x="94" y="410"/>
                      <a:pt x="95" y="410"/>
                    </a:cubicBezTo>
                    <a:cubicBezTo>
                      <a:pt x="98" y="411"/>
                      <a:pt x="101" y="412"/>
                      <a:pt x="104" y="413"/>
                    </a:cubicBezTo>
                    <a:cubicBezTo>
                      <a:pt x="105" y="413"/>
                      <a:pt x="105" y="413"/>
                      <a:pt x="105" y="413"/>
                    </a:cubicBezTo>
                    <a:cubicBezTo>
                      <a:pt x="106" y="413"/>
                      <a:pt x="106" y="414"/>
                      <a:pt x="107" y="415"/>
                    </a:cubicBezTo>
                    <a:cubicBezTo>
                      <a:pt x="109" y="414"/>
                      <a:pt x="110" y="414"/>
                      <a:pt x="110" y="413"/>
                    </a:cubicBezTo>
                    <a:cubicBezTo>
                      <a:pt x="111" y="414"/>
                      <a:pt x="112" y="414"/>
                      <a:pt x="113" y="414"/>
                    </a:cubicBezTo>
                    <a:cubicBezTo>
                      <a:pt x="114" y="414"/>
                      <a:pt x="114" y="414"/>
                      <a:pt x="115" y="414"/>
                    </a:cubicBezTo>
                    <a:cubicBezTo>
                      <a:pt x="116" y="414"/>
                      <a:pt x="116" y="414"/>
                      <a:pt x="117" y="414"/>
                    </a:cubicBezTo>
                    <a:cubicBezTo>
                      <a:pt x="117" y="414"/>
                      <a:pt x="118" y="414"/>
                      <a:pt x="118" y="414"/>
                    </a:cubicBezTo>
                    <a:cubicBezTo>
                      <a:pt x="119" y="414"/>
                      <a:pt x="120" y="414"/>
                      <a:pt x="121" y="415"/>
                    </a:cubicBezTo>
                    <a:cubicBezTo>
                      <a:pt x="125" y="416"/>
                      <a:pt x="128" y="419"/>
                      <a:pt x="132" y="421"/>
                    </a:cubicBezTo>
                    <a:cubicBezTo>
                      <a:pt x="133" y="422"/>
                      <a:pt x="136" y="424"/>
                      <a:pt x="137" y="424"/>
                    </a:cubicBezTo>
                    <a:cubicBezTo>
                      <a:pt x="137" y="424"/>
                      <a:pt x="137" y="424"/>
                      <a:pt x="137" y="424"/>
                    </a:cubicBezTo>
                    <a:cubicBezTo>
                      <a:pt x="138" y="424"/>
                      <a:pt x="139" y="424"/>
                      <a:pt x="139" y="424"/>
                    </a:cubicBezTo>
                    <a:cubicBezTo>
                      <a:pt x="140" y="424"/>
                      <a:pt x="141" y="424"/>
                      <a:pt x="142" y="424"/>
                    </a:cubicBezTo>
                    <a:cubicBezTo>
                      <a:pt x="143" y="424"/>
                      <a:pt x="143" y="424"/>
                      <a:pt x="143" y="424"/>
                    </a:cubicBezTo>
                    <a:cubicBezTo>
                      <a:pt x="144" y="425"/>
                      <a:pt x="144" y="426"/>
                      <a:pt x="144" y="427"/>
                    </a:cubicBezTo>
                    <a:cubicBezTo>
                      <a:pt x="144" y="426"/>
                      <a:pt x="143" y="426"/>
                      <a:pt x="142" y="426"/>
                    </a:cubicBezTo>
                    <a:cubicBezTo>
                      <a:pt x="143" y="426"/>
                      <a:pt x="144" y="427"/>
                      <a:pt x="145" y="428"/>
                    </a:cubicBezTo>
                    <a:cubicBezTo>
                      <a:pt x="145" y="429"/>
                      <a:pt x="146" y="430"/>
                      <a:pt x="146" y="431"/>
                    </a:cubicBezTo>
                    <a:cubicBezTo>
                      <a:pt x="147" y="431"/>
                      <a:pt x="147" y="431"/>
                      <a:pt x="147" y="431"/>
                    </a:cubicBezTo>
                    <a:cubicBezTo>
                      <a:pt x="148" y="431"/>
                      <a:pt x="149" y="431"/>
                      <a:pt x="150" y="431"/>
                    </a:cubicBezTo>
                    <a:cubicBezTo>
                      <a:pt x="153" y="431"/>
                      <a:pt x="154" y="433"/>
                      <a:pt x="157" y="434"/>
                    </a:cubicBezTo>
                    <a:cubicBezTo>
                      <a:pt x="159" y="436"/>
                      <a:pt x="162" y="437"/>
                      <a:pt x="164" y="439"/>
                    </a:cubicBezTo>
                    <a:cubicBezTo>
                      <a:pt x="167" y="442"/>
                      <a:pt x="168" y="444"/>
                      <a:pt x="170" y="448"/>
                    </a:cubicBezTo>
                    <a:cubicBezTo>
                      <a:pt x="172" y="452"/>
                      <a:pt x="173" y="456"/>
                      <a:pt x="175" y="460"/>
                    </a:cubicBezTo>
                    <a:cubicBezTo>
                      <a:pt x="175" y="461"/>
                      <a:pt x="176" y="461"/>
                      <a:pt x="176" y="462"/>
                    </a:cubicBezTo>
                    <a:cubicBezTo>
                      <a:pt x="176" y="462"/>
                      <a:pt x="176" y="462"/>
                      <a:pt x="176" y="462"/>
                    </a:cubicBezTo>
                    <a:cubicBezTo>
                      <a:pt x="176" y="462"/>
                      <a:pt x="176" y="462"/>
                      <a:pt x="176" y="462"/>
                    </a:cubicBezTo>
                    <a:cubicBezTo>
                      <a:pt x="181" y="460"/>
                      <a:pt x="181" y="460"/>
                      <a:pt x="181" y="460"/>
                    </a:cubicBezTo>
                    <a:cubicBezTo>
                      <a:pt x="181" y="460"/>
                      <a:pt x="186" y="459"/>
                      <a:pt x="190" y="459"/>
                    </a:cubicBezTo>
                    <a:cubicBezTo>
                      <a:pt x="192" y="459"/>
                      <a:pt x="197" y="458"/>
                      <a:pt x="202" y="458"/>
                    </a:cubicBezTo>
                    <a:cubicBezTo>
                      <a:pt x="204" y="458"/>
                      <a:pt x="204" y="458"/>
                      <a:pt x="204" y="458"/>
                    </a:cubicBezTo>
                    <a:cubicBezTo>
                      <a:pt x="209" y="457"/>
                      <a:pt x="213" y="457"/>
                      <a:pt x="214" y="457"/>
                    </a:cubicBezTo>
                    <a:cubicBezTo>
                      <a:pt x="215" y="457"/>
                      <a:pt x="217" y="457"/>
                      <a:pt x="218" y="456"/>
                    </a:cubicBezTo>
                    <a:cubicBezTo>
                      <a:pt x="223" y="456"/>
                      <a:pt x="228" y="455"/>
                      <a:pt x="231" y="455"/>
                    </a:cubicBezTo>
                    <a:cubicBezTo>
                      <a:pt x="231" y="455"/>
                      <a:pt x="232" y="455"/>
                      <a:pt x="232" y="455"/>
                    </a:cubicBezTo>
                    <a:cubicBezTo>
                      <a:pt x="233" y="455"/>
                      <a:pt x="233" y="455"/>
                      <a:pt x="233" y="455"/>
                    </a:cubicBezTo>
                    <a:cubicBezTo>
                      <a:pt x="233" y="455"/>
                      <a:pt x="233" y="455"/>
                      <a:pt x="233" y="455"/>
                    </a:cubicBezTo>
                    <a:cubicBezTo>
                      <a:pt x="243" y="457"/>
                      <a:pt x="243" y="457"/>
                      <a:pt x="243" y="457"/>
                    </a:cubicBezTo>
                    <a:cubicBezTo>
                      <a:pt x="236" y="461"/>
                      <a:pt x="236" y="461"/>
                      <a:pt x="236" y="461"/>
                    </a:cubicBezTo>
                    <a:cubicBezTo>
                      <a:pt x="235" y="461"/>
                      <a:pt x="235" y="461"/>
                      <a:pt x="235" y="461"/>
                    </a:cubicBezTo>
                    <a:cubicBezTo>
                      <a:pt x="234" y="461"/>
                      <a:pt x="234" y="461"/>
                      <a:pt x="234" y="461"/>
                    </a:cubicBezTo>
                    <a:cubicBezTo>
                      <a:pt x="234" y="462"/>
                      <a:pt x="234" y="462"/>
                      <a:pt x="234" y="462"/>
                    </a:cubicBezTo>
                    <a:cubicBezTo>
                      <a:pt x="248" y="467"/>
                      <a:pt x="285" y="480"/>
                      <a:pt x="294" y="483"/>
                    </a:cubicBezTo>
                    <a:cubicBezTo>
                      <a:pt x="322" y="491"/>
                      <a:pt x="329" y="491"/>
                      <a:pt x="355" y="491"/>
                    </a:cubicBezTo>
                    <a:cubicBezTo>
                      <a:pt x="379" y="491"/>
                      <a:pt x="379" y="491"/>
                      <a:pt x="379" y="491"/>
                    </a:cubicBezTo>
                    <a:cubicBezTo>
                      <a:pt x="380" y="490"/>
                      <a:pt x="380" y="489"/>
                      <a:pt x="380" y="489"/>
                    </a:cubicBezTo>
                    <a:cubicBezTo>
                      <a:pt x="380" y="488"/>
                      <a:pt x="380" y="487"/>
                      <a:pt x="380" y="486"/>
                    </a:cubicBezTo>
                    <a:cubicBezTo>
                      <a:pt x="380" y="486"/>
                      <a:pt x="380" y="485"/>
                      <a:pt x="380" y="485"/>
                    </a:cubicBezTo>
                    <a:cubicBezTo>
                      <a:pt x="380" y="484"/>
                      <a:pt x="379" y="482"/>
                      <a:pt x="380" y="481"/>
                    </a:cubicBezTo>
                    <a:cubicBezTo>
                      <a:pt x="381" y="480"/>
                      <a:pt x="382" y="479"/>
                      <a:pt x="384" y="479"/>
                    </a:cubicBezTo>
                    <a:cubicBezTo>
                      <a:pt x="384" y="479"/>
                      <a:pt x="384" y="479"/>
                      <a:pt x="384" y="479"/>
                    </a:cubicBezTo>
                    <a:cubicBezTo>
                      <a:pt x="386" y="480"/>
                      <a:pt x="399" y="480"/>
                      <a:pt x="411" y="480"/>
                    </a:cubicBezTo>
                    <a:cubicBezTo>
                      <a:pt x="422" y="480"/>
                      <a:pt x="422" y="480"/>
                      <a:pt x="422" y="480"/>
                    </a:cubicBezTo>
                    <a:cubicBezTo>
                      <a:pt x="428" y="480"/>
                      <a:pt x="430" y="485"/>
                      <a:pt x="431" y="487"/>
                    </a:cubicBezTo>
                    <a:cubicBezTo>
                      <a:pt x="431" y="487"/>
                      <a:pt x="431" y="487"/>
                      <a:pt x="431" y="487"/>
                    </a:cubicBezTo>
                    <a:cubicBezTo>
                      <a:pt x="431" y="488"/>
                      <a:pt x="432" y="489"/>
                      <a:pt x="435" y="490"/>
                    </a:cubicBezTo>
                    <a:cubicBezTo>
                      <a:pt x="436" y="490"/>
                      <a:pt x="439" y="493"/>
                      <a:pt x="443" y="496"/>
                    </a:cubicBezTo>
                    <a:cubicBezTo>
                      <a:pt x="449" y="500"/>
                      <a:pt x="455" y="505"/>
                      <a:pt x="458" y="507"/>
                    </a:cubicBezTo>
                    <a:cubicBezTo>
                      <a:pt x="459" y="508"/>
                      <a:pt x="459" y="508"/>
                      <a:pt x="459" y="508"/>
                    </a:cubicBezTo>
                    <a:cubicBezTo>
                      <a:pt x="460" y="509"/>
                      <a:pt x="462" y="512"/>
                      <a:pt x="465" y="517"/>
                    </a:cubicBezTo>
                    <a:cubicBezTo>
                      <a:pt x="466" y="521"/>
                      <a:pt x="467" y="524"/>
                      <a:pt x="468" y="528"/>
                    </a:cubicBezTo>
                    <a:cubicBezTo>
                      <a:pt x="469" y="535"/>
                      <a:pt x="480" y="541"/>
                      <a:pt x="485" y="544"/>
                    </a:cubicBezTo>
                    <a:cubicBezTo>
                      <a:pt x="488" y="545"/>
                      <a:pt x="488" y="545"/>
                      <a:pt x="488" y="545"/>
                    </a:cubicBezTo>
                    <a:cubicBezTo>
                      <a:pt x="491" y="547"/>
                      <a:pt x="495" y="549"/>
                      <a:pt x="499" y="549"/>
                    </a:cubicBezTo>
                    <a:cubicBezTo>
                      <a:pt x="499" y="549"/>
                      <a:pt x="499" y="549"/>
                      <a:pt x="500" y="549"/>
                    </a:cubicBezTo>
                    <a:cubicBezTo>
                      <a:pt x="501" y="549"/>
                      <a:pt x="501" y="548"/>
                      <a:pt x="502" y="547"/>
                    </a:cubicBezTo>
                    <a:cubicBezTo>
                      <a:pt x="503" y="545"/>
                      <a:pt x="504" y="544"/>
                      <a:pt x="505" y="542"/>
                    </a:cubicBezTo>
                    <a:cubicBezTo>
                      <a:pt x="507" y="536"/>
                      <a:pt x="510" y="531"/>
                      <a:pt x="516" y="531"/>
                    </a:cubicBezTo>
                    <a:cubicBezTo>
                      <a:pt x="516" y="531"/>
                      <a:pt x="516" y="531"/>
                      <a:pt x="516" y="531"/>
                    </a:cubicBezTo>
                    <a:cubicBezTo>
                      <a:pt x="516" y="530"/>
                      <a:pt x="517" y="530"/>
                      <a:pt x="517" y="529"/>
                    </a:cubicBezTo>
                    <a:cubicBezTo>
                      <a:pt x="518" y="528"/>
                      <a:pt x="520" y="528"/>
                      <a:pt x="522" y="528"/>
                    </a:cubicBezTo>
                    <a:cubicBezTo>
                      <a:pt x="523" y="528"/>
                      <a:pt x="524" y="528"/>
                      <a:pt x="525" y="528"/>
                    </a:cubicBezTo>
                    <a:cubicBezTo>
                      <a:pt x="525" y="528"/>
                      <a:pt x="526" y="529"/>
                      <a:pt x="528" y="529"/>
                    </a:cubicBezTo>
                    <a:cubicBezTo>
                      <a:pt x="530" y="530"/>
                      <a:pt x="533" y="531"/>
                      <a:pt x="535" y="531"/>
                    </a:cubicBezTo>
                    <a:cubicBezTo>
                      <a:pt x="536" y="531"/>
                      <a:pt x="536" y="530"/>
                      <a:pt x="536" y="530"/>
                    </a:cubicBezTo>
                    <a:cubicBezTo>
                      <a:pt x="537" y="530"/>
                      <a:pt x="537" y="530"/>
                      <a:pt x="538" y="530"/>
                    </a:cubicBezTo>
                    <a:cubicBezTo>
                      <a:pt x="540" y="530"/>
                      <a:pt x="543" y="532"/>
                      <a:pt x="548" y="536"/>
                    </a:cubicBezTo>
                    <a:cubicBezTo>
                      <a:pt x="549" y="537"/>
                      <a:pt x="549" y="537"/>
                      <a:pt x="550" y="538"/>
                    </a:cubicBezTo>
                    <a:cubicBezTo>
                      <a:pt x="553" y="540"/>
                      <a:pt x="557" y="544"/>
                      <a:pt x="562" y="552"/>
                    </a:cubicBezTo>
                    <a:cubicBezTo>
                      <a:pt x="567" y="562"/>
                      <a:pt x="571" y="568"/>
                      <a:pt x="576" y="575"/>
                    </a:cubicBezTo>
                    <a:cubicBezTo>
                      <a:pt x="578" y="578"/>
                      <a:pt x="580" y="580"/>
                      <a:pt x="580" y="582"/>
                    </a:cubicBezTo>
                    <a:cubicBezTo>
                      <a:pt x="580" y="583"/>
                      <a:pt x="581" y="583"/>
                      <a:pt x="584" y="584"/>
                    </a:cubicBezTo>
                    <a:cubicBezTo>
                      <a:pt x="587" y="586"/>
                      <a:pt x="589" y="590"/>
                      <a:pt x="588" y="594"/>
                    </a:cubicBezTo>
                    <a:cubicBezTo>
                      <a:pt x="588" y="595"/>
                      <a:pt x="588" y="595"/>
                      <a:pt x="588" y="595"/>
                    </a:cubicBezTo>
                    <a:cubicBezTo>
                      <a:pt x="589" y="597"/>
                      <a:pt x="591" y="601"/>
                      <a:pt x="596" y="614"/>
                    </a:cubicBezTo>
                    <a:cubicBezTo>
                      <a:pt x="596" y="615"/>
                      <a:pt x="597" y="615"/>
                      <a:pt x="602" y="617"/>
                    </a:cubicBezTo>
                    <a:cubicBezTo>
                      <a:pt x="607" y="619"/>
                      <a:pt x="610" y="620"/>
                      <a:pt x="612" y="621"/>
                    </a:cubicBezTo>
                    <a:cubicBezTo>
                      <a:pt x="612" y="621"/>
                      <a:pt x="613" y="622"/>
                      <a:pt x="613" y="622"/>
                    </a:cubicBezTo>
                    <a:cubicBezTo>
                      <a:pt x="614" y="622"/>
                      <a:pt x="614" y="622"/>
                      <a:pt x="614" y="622"/>
                    </a:cubicBezTo>
                    <a:cubicBezTo>
                      <a:pt x="615" y="623"/>
                      <a:pt x="620" y="624"/>
                      <a:pt x="622" y="624"/>
                    </a:cubicBezTo>
                    <a:cubicBezTo>
                      <a:pt x="626" y="624"/>
                      <a:pt x="630" y="626"/>
                      <a:pt x="631" y="628"/>
                    </a:cubicBezTo>
                    <a:cubicBezTo>
                      <a:pt x="632" y="628"/>
                      <a:pt x="633" y="628"/>
                      <a:pt x="636" y="627"/>
                    </a:cubicBezTo>
                    <a:cubicBezTo>
                      <a:pt x="635" y="626"/>
                      <a:pt x="635" y="624"/>
                      <a:pt x="635" y="622"/>
                    </a:cubicBezTo>
                    <a:cubicBezTo>
                      <a:pt x="633" y="617"/>
                      <a:pt x="631" y="612"/>
                      <a:pt x="630" y="607"/>
                    </a:cubicBezTo>
                    <a:cubicBezTo>
                      <a:pt x="630" y="605"/>
                      <a:pt x="630" y="604"/>
                      <a:pt x="630" y="603"/>
                    </a:cubicBezTo>
                    <a:cubicBezTo>
                      <a:pt x="630" y="603"/>
                      <a:pt x="630" y="603"/>
                      <a:pt x="630" y="603"/>
                    </a:cubicBezTo>
                    <a:cubicBezTo>
                      <a:pt x="631" y="603"/>
                      <a:pt x="631" y="603"/>
                      <a:pt x="631" y="603"/>
                    </a:cubicBezTo>
                    <a:cubicBezTo>
                      <a:pt x="631" y="602"/>
                      <a:pt x="632" y="602"/>
                      <a:pt x="632" y="602"/>
                    </a:cubicBezTo>
                    <a:cubicBezTo>
                      <a:pt x="632" y="602"/>
                      <a:pt x="632" y="602"/>
                      <a:pt x="632" y="602"/>
                    </a:cubicBezTo>
                    <a:cubicBezTo>
                      <a:pt x="632" y="601"/>
                      <a:pt x="633" y="598"/>
                      <a:pt x="633" y="597"/>
                    </a:cubicBezTo>
                    <a:cubicBezTo>
                      <a:pt x="632" y="597"/>
                      <a:pt x="631" y="597"/>
                      <a:pt x="631" y="597"/>
                    </a:cubicBezTo>
                    <a:cubicBezTo>
                      <a:pt x="629" y="597"/>
                      <a:pt x="628" y="596"/>
                      <a:pt x="625" y="596"/>
                    </a:cubicBezTo>
                    <a:cubicBezTo>
                      <a:pt x="626" y="595"/>
                      <a:pt x="625" y="593"/>
                      <a:pt x="625" y="592"/>
                    </a:cubicBezTo>
                    <a:cubicBezTo>
                      <a:pt x="627" y="593"/>
                      <a:pt x="627" y="595"/>
                      <a:pt x="629" y="596"/>
                    </a:cubicBezTo>
                    <a:cubicBezTo>
                      <a:pt x="629" y="595"/>
                      <a:pt x="629" y="595"/>
                      <a:pt x="629" y="595"/>
                    </a:cubicBezTo>
                    <a:cubicBezTo>
                      <a:pt x="630" y="595"/>
                      <a:pt x="632" y="596"/>
                      <a:pt x="631" y="596"/>
                    </a:cubicBezTo>
                    <a:cubicBezTo>
                      <a:pt x="631" y="596"/>
                      <a:pt x="632" y="596"/>
                      <a:pt x="633" y="595"/>
                    </a:cubicBezTo>
                    <a:cubicBezTo>
                      <a:pt x="634" y="594"/>
                      <a:pt x="635" y="592"/>
                      <a:pt x="635" y="590"/>
                    </a:cubicBezTo>
                    <a:cubicBezTo>
                      <a:pt x="636" y="589"/>
                      <a:pt x="637" y="587"/>
                      <a:pt x="637" y="586"/>
                    </a:cubicBezTo>
                    <a:cubicBezTo>
                      <a:pt x="637" y="585"/>
                      <a:pt x="635" y="586"/>
                      <a:pt x="635" y="585"/>
                    </a:cubicBezTo>
                    <a:cubicBezTo>
                      <a:pt x="634" y="582"/>
                      <a:pt x="634" y="584"/>
                      <a:pt x="631" y="582"/>
                    </a:cubicBezTo>
                    <a:cubicBezTo>
                      <a:pt x="631" y="582"/>
                      <a:pt x="632" y="582"/>
                      <a:pt x="632" y="582"/>
                    </a:cubicBezTo>
                    <a:cubicBezTo>
                      <a:pt x="632" y="582"/>
                      <a:pt x="633" y="582"/>
                      <a:pt x="634" y="581"/>
                    </a:cubicBezTo>
                    <a:cubicBezTo>
                      <a:pt x="635" y="581"/>
                      <a:pt x="635" y="581"/>
                      <a:pt x="636" y="581"/>
                    </a:cubicBezTo>
                    <a:cubicBezTo>
                      <a:pt x="636" y="581"/>
                      <a:pt x="637" y="581"/>
                      <a:pt x="637" y="581"/>
                    </a:cubicBezTo>
                    <a:cubicBezTo>
                      <a:pt x="638" y="582"/>
                      <a:pt x="638" y="583"/>
                      <a:pt x="638" y="583"/>
                    </a:cubicBezTo>
                    <a:cubicBezTo>
                      <a:pt x="638" y="583"/>
                      <a:pt x="639" y="582"/>
                      <a:pt x="639" y="582"/>
                    </a:cubicBezTo>
                    <a:cubicBezTo>
                      <a:pt x="641" y="581"/>
                      <a:pt x="642" y="577"/>
                      <a:pt x="643" y="576"/>
                    </a:cubicBezTo>
                    <a:cubicBezTo>
                      <a:pt x="642" y="576"/>
                      <a:pt x="642" y="576"/>
                      <a:pt x="642" y="576"/>
                    </a:cubicBezTo>
                    <a:cubicBezTo>
                      <a:pt x="641" y="576"/>
                      <a:pt x="640" y="575"/>
                      <a:pt x="639" y="574"/>
                    </a:cubicBezTo>
                    <a:cubicBezTo>
                      <a:pt x="640" y="574"/>
                      <a:pt x="640" y="575"/>
                      <a:pt x="640" y="575"/>
                    </a:cubicBezTo>
                    <a:cubicBezTo>
                      <a:pt x="641" y="575"/>
                      <a:pt x="642" y="574"/>
                      <a:pt x="643" y="573"/>
                    </a:cubicBezTo>
                    <a:cubicBezTo>
                      <a:pt x="643" y="574"/>
                      <a:pt x="643" y="575"/>
                      <a:pt x="643" y="575"/>
                    </a:cubicBezTo>
                    <a:cubicBezTo>
                      <a:pt x="644" y="574"/>
                      <a:pt x="644" y="573"/>
                      <a:pt x="645" y="572"/>
                    </a:cubicBezTo>
                    <a:cubicBezTo>
                      <a:pt x="645" y="573"/>
                      <a:pt x="645" y="574"/>
                      <a:pt x="644" y="575"/>
                    </a:cubicBezTo>
                    <a:cubicBezTo>
                      <a:pt x="645" y="574"/>
                      <a:pt x="646" y="567"/>
                      <a:pt x="648" y="566"/>
                    </a:cubicBezTo>
                    <a:cubicBezTo>
                      <a:pt x="648" y="566"/>
                      <a:pt x="648" y="566"/>
                      <a:pt x="648" y="566"/>
                    </a:cubicBezTo>
                    <a:cubicBezTo>
                      <a:pt x="648" y="566"/>
                      <a:pt x="650" y="569"/>
                      <a:pt x="650" y="569"/>
                    </a:cubicBezTo>
                    <a:cubicBezTo>
                      <a:pt x="651" y="570"/>
                      <a:pt x="650" y="570"/>
                      <a:pt x="651" y="570"/>
                    </a:cubicBezTo>
                    <a:cubicBezTo>
                      <a:pt x="651" y="570"/>
                      <a:pt x="652" y="570"/>
                      <a:pt x="652" y="570"/>
                    </a:cubicBezTo>
                    <a:cubicBezTo>
                      <a:pt x="653" y="570"/>
                      <a:pt x="656" y="568"/>
                      <a:pt x="657" y="567"/>
                    </a:cubicBezTo>
                    <a:cubicBezTo>
                      <a:pt x="654" y="566"/>
                      <a:pt x="652" y="563"/>
                      <a:pt x="651" y="560"/>
                    </a:cubicBezTo>
                    <a:cubicBezTo>
                      <a:pt x="652" y="560"/>
                      <a:pt x="652" y="560"/>
                      <a:pt x="652" y="560"/>
                    </a:cubicBezTo>
                    <a:cubicBezTo>
                      <a:pt x="653" y="560"/>
                      <a:pt x="653" y="562"/>
                      <a:pt x="654" y="562"/>
                    </a:cubicBezTo>
                    <a:cubicBezTo>
                      <a:pt x="654" y="563"/>
                      <a:pt x="655" y="563"/>
                      <a:pt x="656" y="563"/>
                    </a:cubicBezTo>
                    <a:cubicBezTo>
                      <a:pt x="657" y="563"/>
                      <a:pt x="658" y="562"/>
                      <a:pt x="656" y="559"/>
                    </a:cubicBezTo>
                    <a:cubicBezTo>
                      <a:pt x="657" y="560"/>
                      <a:pt x="657" y="562"/>
                      <a:pt x="658" y="562"/>
                    </a:cubicBezTo>
                    <a:cubicBezTo>
                      <a:pt x="658" y="562"/>
                      <a:pt x="658" y="562"/>
                      <a:pt x="658" y="562"/>
                    </a:cubicBezTo>
                    <a:cubicBezTo>
                      <a:pt x="659" y="562"/>
                      <a:pt x="660" y="561"/>
                      <a:pt x="662" y="561"/>
                    </a:cubicBezTo>
                    <a:cubicBezTo>
                      <a:pt x="661" y="563"/>
                      <a:pt x="661" y="563"/>
                      <a:pt x="662" y="563"/>
                    </a:cubicBezTo>
                    <a:cubicBezTo>
                      <a:pt x="662" y="563"/>
                      <a:pt x="663" y="563"/>
                      <a:pt x="663" y="563"/>
                    </a:cubicBezTo>
                    <a:cubicBezTo>
                      <a:pt x="664" y="563"/>
                      <a:pt x="665" y="563"/>
                      <a:pt x="665" y="563"/>
                    </a:cubicBezTo>
                    <a:cubicBezTo>
                      <a:pt x="666" y="563"/>
                      <a:pt x="666" y="563"/>
                      <a:pt x="666" y="563"/>
                    </a:cubicBezTo>
                    <a:cubicBezTo>
                      <a:pt x="665" y="564"/>
                      <a:pt x="663" y="565"/>
                      <a:pt x="661" y="566"/>
                    </a:cubicBezTo>
                    <a:cubicBezTo>
                      <a:pt x="665" y="565"/>
                      <a:pt x="670" y="563"/>
                      <a:pt x="673" y="560"/>
                    </a:cubicBezTo>
                    <a:cubicBezTo>
                      <a:pt x="672" y="561"/>
                      <a:pt x="670" y="561"/>
                      <a:pt x="669" y="561"/>
                    </a:cubicBezTo>
                    <a:cubicBezTo>
                      <a:pt x="669" y="561"/>
                      <a:pt x="668" y="561"/>
                      <a:pt x="668" y="561"/>
                    </a:cubicBezTo>
                    <a:cubicBezTo>
                      <a:pt x="671" y="560"/>
                      <a:pt x="674" y="560"/>
                      <a:pt x="677" y="558"/>
                    </a:cubicBezTo>
                    <a:cubicBezTo>
                      <a:pt x="681" y="556"/>
                      <a:pt x="682" y="553"/>
                      <a:pt x="684" y="550"/>
                    </a:cubicBezTo>
                    <a:cubicBezTo>
                      <a:pt x="685" y="549"/>
                      <a:pt x="686" y="548"/>
                      <a:pt x="686" y="548"/>
                    </a:cubicBezTo>
                    <a:cubicBezTo>
                      <a:pt x="686" y="548"/>
                      <a:pt x="686" y="549"/>
                      <a:pt x="686" y="549"/>
                    </a:cubicBezTo>
                    <a:cubicBezTo>
                      <a:pt x="687" y="549"/>
                      <a:pt x="687" y="549"/>
                      <a:pt x="687" y="549"/>
                    </a:cubicBezTo>
                    <a:cubicBezTo>
                      <a:pt x="687" y="549"/>
                      <a:pt x="687" y="549"/>
                      <a:pt x="687" y="549"/>
                    </a:cubicBezTo>
                    <a:cubicBezTo>
                      <a:pt x="689" y="548"/>
                      <a:pt x="692" y="545"/>
                      <a:pt x="694" y="544"/>
                    </a:cubicBezTo>
                    <a:cubicBezTo>
                      <a:pt x="693" y="543"/>
                      <a:pt x="692" y="543"/>
                      <a:pt x="692" y="542"/>
                    </a:cubicBezTo>
                    <a:cubicBezTo>
                      <a:pt x="691" y="543"/>
                      <a:pt x="691" y="543"/>
                      <a:pt x="691" y="543"/>
                    </a:cubicBezTo>
                    <a:cubicBezTo>
                      <a:pt x="690" y="542"/>
                      <a:pt x="692" y="541"/>
                      <a:pt x="691" y="541"/>
                    </a:cubicBezTo>
                    <a:cubicBezTo>
                      <a:pt x="691" y="540"/>
                      <a:pt x="690" y="541"/>
                      <a:pt x="689" y="540"/>
                    </a:cubicBezTo>
                    <a:cubicBezTo>
                      <a:pt x="689" y="539"/>
                      <a:pt x="690" y="539"/>
                      <a:pt x="690" y="538"/>
                    </a:cubicBezTo>
                    <a:cubicBezTo>
                      <a:pt x="689" y="537"/>
                      <a:pt x="689" y="536"/>
                      <a:pt x="688" y="535"/>
                    </a:cubicBezTo>
                    <a:cubicBezTo>
                      <a:pt x="688" y="535"/>
                      <a:pt x="688" y="535"/>
                      <a:pt x="688" y="535"/>
                    </a:cubicBezTo>
                    <a:cubicBezTo>
                      <a:pt x="689" y="535"/>
                      <a:pt x="691" y="535"/>
                      <a:pt x="691" y="536"/>
                    </a:cubicBezTo>
                    <a:cubicBezTo>
                      <a:pt x="692" y="536"/>
                      <a:pt x="693" y="533"/>
                      <a:pt x="695" y="533"/>
                    </a:cubicBezTo>
                    <a:cubicBezTo>
                      <a:pt x="695" y="533"/>
                      <a:pt x="695" y="533"/>
                      <a:pt x="695" y="533"/>
                    </a:cubicBezTo>
                    <a:cubicBezTo>
                      <a:pt x="696" y="534"/>
                      <a:pt x="696" y="535"/>
                      <a:pt x="696" y="536"/>
                    </a:cubicBezTo>
                    <a:cubicBezTo>
                      <a:pt x="694" y="540"/>
                      <a:pt x="693" y="539"/>
                      <a:pt x="696" y="539"/>
                    </a:cubicBezTo>
                    <a:cubicBezTo>
                      <a:pt x="696" y="539"/>
                      <a:pt x="696" y="539"/>
                      <a:pt x="696" y="539"/>
                    </a:cubicBezTo>
                    <a:cubicBezTo>
                      <a:pt x="697" y="539"/>
                      <a:pt x="698" y="539"/>
                      <a:pt x="698" y="539"/>
                    </a:cubicBezTo>
                    <a:cubicBezTo>
                      <a:pt x="699" y="539"/>
                      <a:pt x="699" y="539"/>
                      <a:pt x="700" y="539"/>
                    </a:cubicBezTo>
                    <a:cubicBezTo>
                      <a:pt x="700" y="539"/>
                      <a:pt x="701" y="539"/>
                      <a:pt x="702" y="539"/>
                    </a:cubicBezTo>
                    <a:cubicBezTo>
                      <a:pt x="700" y="540"/>
                      <a:pt x="695" y="542"/>
                      <a:pt x="694" y="544"/>
                    </a:cubicBezTo>
                    <a:cubicBezTo>
                      <a:pt x="694" y="544"/>
                      <a:pt x="694" y="544"/>
                      <a:pt x="695" y="544"/>
                    </a:cubicBezTo>
                    <a:cubicBezTo>
                      <a:pt x="695" y="544"/>
                      <a:pt x="697" y="542"/>
                      <a:pt x="697" y="542"/>
                    </a:cubicBezTo>
                    <a:cubicBezTo>
                      <a:pt x="698" y="542"/>
                      <a:pt x="700" y="541"/>
                      <a:pt x="702" y="540"/>
                    </a:cubicBezTo>
                    <a:cubicBezTo>
                      <a:pt x="704" y="539"/>
                      <a:pt x="706" y="538"/>
                      <a:pt x="708" y="538"/>
                    </a:cubicBezTo>
                    <a:cubicBezTo>
                      <a:pt x="711" y="536"/>
                      <a:pt x="713" y="537"/>
                      <a:pt x="716" y="536"/>
                    </a:cubicBezTo>
                    <a:cubicBezTo>
                      <a:pt x="714" y="534"/>
                      <a:pt x="717" y="530"/>
                      <a:pt x="717" y="528"/>
                    </a:cubicBezTo>
                    <a:cubicBezTo>
                      <a:pt x="717" y="530"/>
                      <a:pt x="716" y="533"/>
                      <a:pt x="716" y="535"/>
                    </a:cubicBezTo>
                    <a:cubicBezTo>
                      <a:pt x="720" y="533"/>
                      <a:pt x="723" y="534"/>
                      <a:pt x="727" y="533"/>
                    </a:cubicBezTo>
                    <a:cubicBezTo>
                      <a:pt x="729" y="533"/>
                      <a:pt x="726" y="532"/>
                      <a:pt x="726" y="532"/>
                    </a:cubicBezTo>
                    <a:cubicBezTo>
                      <a:pt x="726" y="531"/>
                      <a:pt x="726" y="531"/>
                      <a:pt x="726" y="531"/>
                    </a:cubicBezTo>
                    <a:cubicBezTo>
                      <a:pt x="726" y="531"/>
                      <a:pt x="727" y="531"/>
                      <a:pt x="727" y="531"/>
                    </a:cubicBezTo>
                    <a:cubicBezTo>
                      <a:pt x="728" y="530"/>
                      <a:pt x="728" y="530"/>
                      <a:pt x="728" y="530"/>
                    </a:cubicBezTo>
                    <a:cubicBezTo>
                      <a:pt x="728" y="529"/>
                      <a:pt x="728" y="527"/>
                      <a:pt x="728" y="526"/>
                    </a:cubicBezTo>
                    <a:cubicBezTo>
                      <a:pt x="730" y="526"/>
                      <a:pt x="729" y="527"/>
                      <a:pt x="730" y="528"/>
                    </a:cubicBezTo>
                    <a:cubicBezTo>
                      <a:pt x="732" y="532"/>
                      <a:pt x="739" y="533"/>
                      <a:pt x="743" y="535"/>
                    </a:cubicBezTo>
                    <a:cubicBezTo>
                      <a:pt x="746" y="537"/>
                      <a:pt x="749" y="539"/>
                      <a:pt x="753" y="539"/>
                    </a:cubicBezTo>
                    <a:cubicBezTo>
                      <a:pt x="753" y="539"/>
                      <a:pt x="753" y="539"/>
                      <a:pt x="754" y="539"/>
                    </a:cubicBezTo>
                    <a:cubicBezTo>
                      <a:pt x="755" y="539"/>
                      <a:pt x="756" y="538"/>
                      <a:pt x="758" y="538"/>
                    </a:cubicBezTo>
                    <a:cubicBezTo>
                      <a:pt x="757" y="538"/>
                      <a:pt x="755" y="536"/>
                      <a:pt x="755" y="536"/>
                    </a:cubicBezTo>
                    <a:cubicBezTo>
                      <a:pt x="755" y="535"/>
                      <a:pt x="755" y="535"/>
                      <a:pt x="755" y="535"/>
                    </a:cubicBezTo>
                    <a:cubicBezTo>
                      <a:pt x="755" y="535"/>
                      <a:pt x="755" y="535"/>
                      <a:pt x="755" y="535"/>
                    </a:cubicBezTo>
                    <a:cubicBezTo>
                      <a:pt x="755" y="535"/>
                      <a:pt x="755" y="535"/>
                      <a:pt x="755" y="535"/>
                    </a:cubicBezTo>
                    <a:cubicBezTo>
                      <a:pt x="755" y="535"/>
                      <a:pt x="756" y="535"/>
                      <a:pt x="756" y="535"/>
                    </a:cubicBezTo>
                    <a:cubicBezTo>
                      <a:pt x="757" y="534"/>
                      <a:pt x="761" y="532"/>
                      <a:pt x="763" y="532"/>
                    </a:cubicBezTo>
                    <a:cubicBezTo>
                      <a:pt x="763" y="532"/>
                      <a:pt x="763" y="532"/>
                      <a:pt x="763" y="532"/>
                    </a:cubicBezTo>
                    <a:cubicBezTo>
                      <a:pt x="764" y="532"/>
                      <a:pt x="767" y="534"/>
                      <a:pt x="768" y="535"/>
                    </a:cubicBezTo>
                    <a:cubicBezTo>
                      <a:pt x="768" y="535"/>
                      <a:pt x="768" y="536"/>
                      <a:pt x="769" y="537"/>
                    </a:cubicBezTo>
                    <a:cubicBezTo>
                      <a:pt x="769" y="538"/>
                      <a:pt x="774" y="541"/>
                      <a:pt x="775" y="541"/>
                    </a:cubicBezTo>
                    <a:cubicBezTo>
                      <a:pt x="775" y="541"/>
                      <a:pt x="775" y="541"/>
                      <a:pt x="775" y="541"/>
                    </a:cubicBezTo>
                    <a:cubicBezTo>
                      <a:pt x="776" y="540"/>
                      <a:pt x="777" y="538"/>
                      <a:pt x="777" y="538"/>
                    </a:cubicBezTo>
                    <a:cubicBezTo>
                      <a:pt x="777" y="539"/>
                      <a:pt x="776" y="540"/>
                      <a:pt x="776" y="541"/>
                    </a:cubicBezTo>
                    <a:cubicBezTo>
                      <a:pt x="776" y="543"/>
                      <a:pt x="778" y="543"/>
                      <a:pt x="779" y="544"/>
                    </a:cubicBezTo>
                    <a:cubicBezTo>
                      <a:pt x="782" y="546"/>
                      <a:pt x="785" y="550"/>
                      <a:pt x="788" y="550"/>
                    </a:cubicBezTo>
                    <a:cubicBezTo>
                      <a:pt x="789" y="550"/>
                      <a:pt x="789" y="550"/>
                      <a:pt x="790" y="549"/>
                    </a:cubicBezTo>
                    <a:cubicBezTo>
                      <a:pt x="791" y="549"/>
                      <a:pt x="792" y="547"/>
                      <a:pt x="792" y="546"/>
                    </a:cubicBezTo>
                    <a:cubicBezTo>
                      <a:pt x="793" y="545"/>
                      <a:pt x="794" y="545"/>
                      <a:pt x="796" y="545"/>
                    </a:cubicBezTo>
                    <a:cubicBezTo>
                      <a:pt x="797" y="545"/>
                      <a:pt x="799" y="546"/>
                      <a:pt x="800" y="547"/>
                    </a:cubicBezTo>
                    <a:cubicBezTo>
                      <a:pt x="800" y="549"/>
                      <a:pt x="799" y="551"/>
                      <a:pt x="800" y="551"/>
                    </a:cubicBezTo>
                    <a:cubicBezTo>
                      <a:pt x="801" y="551"/>
                      <a:pt x="801" y="551"/>
                      <a:pt x="802" y="550"/>
                    </a:cubicBezTo>
                    <a:cubicBezTo>
                      <a:pt x="805" y="549"/>
                      <a:pt x="802" y="546"/>
                      <a:pt x="805" y="546"/>
                    </a:cubicBezTo>
                    <a:cubicBezTo>
                      <a:pt x="805" y="546"/>
                      <a:pt x="805" y="546"/>
                      <a:pt x="805" y="546"/>
                    </a:cubicBezTo>
                    <a:cubicBezTo>
                      <a:pt x="804" y="545"/>
                      <a:pt x="805" y="544"/>
                      <a:pt x="804" y="543"/>
                    </a:cubicBezTo>
                    <a:cubicBezTo>
                      <a:pt x="804" y="543"/>
                      <a:pt x="805" y="543"/>
                      <a:pt x="804" y="542"/>
                    </a:cubicBezTo>
                    <a:cubicBezTo>
                      <a:pt x="804" y="541"/>
                      <a:pt x="802" y="541"/>
                      <a:pt x="801" y="539"/>
                    </a:cubicBezTo>
                    <a:cubicBezTo>
                      <a:pt x="803" y="539"/>
                      <a:pt x="811" y="541"/>
                      <a:pt x="809" y="542"/>
                    </a:cubicBezTo>
                    <a:cubicBezTo>
                      <a:pt x="812" y="544"/>
                      <a:pt x="814" y="545"/>
                      <a:pt x="818" y="547"/>
                    </a:cubicBezTo>
                    <a:cubicBezTo>
                      <a:pt x="818" y="548"/>
                      <a:pt x="818" y="549"/>
                      <a:pt x="819" y="550"/>
                    </a:cubicBezTo>
                    <a:cubicBezTo>
                      <a:pt x="820" y="550"/>
                      <a:pt x="820" y="550"/>
                      <a:pt x="820" y="550"/>
                    </a:cubicBezTo>
                    <a:cubicBezTo>
                      <a:pt x="820" y="550"/>
                      <a:pt x="821" y="550"/>
                      <a:pt x="821" y="549"/>
                    </a:cubicBezTo>
                    <a:cubicBezTo>
                      <a:pt x="821" y="549"/>
                      <a:pt x="822" y="549"/>
                      <a:pt x="822" y="549"/>
                    </a:cubicBezTo>
                    <a:cubicBezTo>
                      <a:pt x="822" y="549"/>
                      <a:pt x="822" y="549"/>
                      <a:pt x="822" y="550"/>
                    </a:cubicBezTo>
                    <a:cubicBezTo>
                      <a:pt x="822" y="551"/>
                      <a:pt x="820" y="554"/>
                      <a:pt x="820" y="555"/>
                    </a:cubicBezTo>
                    <a:cubicBezTo>
                      <a:pt x="821" y="554"/>
                      <a:pt x="824" y="554"/>
                      <a:pt x="826" y="553"/>
                    </a:cubicBezTo>
                    <a:cubicBezTo>
                      <a:pt x="825" y="552"/>
                      <a:pt x="829" y="549"/>
                      <a:pt x="827" y="549"/>
                    </a:cubicBezTo>
                    <a:cubicBezTo>
                      <a:pt x="827" y="549"/>
                      <a:pt x="827" y="549"/>
                      <a:pt x="826" y="550"/>
                    </a:cubicBezTo>
                    <a:cubicBezTo>
                      <a:pt x="828" y="549"/>
                      <a:pt x="828" y="549"/>
                      <a:pt x="828" y="548"/>
                    </a:cubicBezTo>
                    <a:cubicBezTo>
                      <a:pt x="827" y="548"/>
                      <a:pt x="826" y="548"/>
                      <a:pt x="825" y="547"/>
                    </a:cubicBezTo>
                    <a:cubicBezTo>
                      <a:pt x="828" y="546"/>
                      <a:pt x="821" y="544"/>
                      <a:pt x="820" y="544"/>
                    </a:cubicBezTo>
                    <a:cubicBezTo>
                      <a:pt x="821" y="543"/>
                      <a:pt x="821" y="543"/>
                      <a:pt x="821" y="543"/>
                    </a:cubicBezTo>
                    <a:cubicBezTo>
                      <a:pt x="819" y="543"/>
                      <a:pt x="818" y="543"/>
                      <a:pt x="816" y="543"/>
                    </a:cubicBezTo>
                    <a:cubicBezTo>
                      <a:pt x="817" y="543"/>
                      <a:pt x="817" y="543"/>
                      <a:pt x="817" y="543"/>
                    </a:cubicBezTo>
                    <a:cubicBezTo>
                      <a:pt x="817" y="542"/>
                      <a:pt x="816" y="543"/>
                      <a:pt x="817" y="541"/>
                    </a:cubicBezTo>
                    <a:cubicBezTo>
                      <a:pt x="814" y="540"/>
                      <a:pt x="813" y="540"/>
                      <a:pt x="812" y="538"/>
                    </a:cubicBezTo>
                    <a:cubicBezTo>
                      <a:pt x="814" y="538"/>
                      <a:pt x="816" y="538"/>
                      <a:pt x="817" y="537"/>
                    </a:cubicBezTo>
                    <a:cubicBezTo>
                      <a:pt x="817" y="537"/>
                      <a:pt x="817" y="536"/>
                      <a:pt x="816" y="536"/>
                    </a:cubicBezTo>
                    <a:cubicBezTo>
                      <a:pt x="817" y="536"/>
                      <a:pt x="817" y="536"/>
                      <a:pt x="817" y="536"/>
                    </a:cubicBezTo>
                    <a:cubicBezTo>
                      <a:pt x="817" y="536"/>
                      <a:pt x="817" y="536"/>
                      <a:pt x="817" y="536"/>
                    </a:cubicBezTo>
                    <a:cubicBezTo>
                      <a:pt x="816" y="536"/>
                      <a:pt x="814" y="536"/>
                      <a:pt x="815" y="535"/>
                    </a:cubicBezTo>
                    <a:cubicBezTo>
                      <a:pt x="815" y="534"/>
                      <a:pt x="819" y="534"/>
                      <a:pt x="821" y="533"/>
                    </a:cubicBezTo>
                    <a:cubicBezTo>
                      <a:pt x="820" y="532"/>
                      <a:pt x="820" y="532"/>
                      <a:pt x="821" y="531"/>
                    </a:cubicBezTo>
                    <a:cubicBezTo>
                      <a:pt x="820" y="531"/>
                      <a:pt x="820" y="531"/>
                      <a:pt x="820" y="531"/>
                    </a:cubicBezTo>
                    <a:cubicBezTo>
                      <a:pt x="820" y="530"/>
                      <a:pt x="820" y="530"/>
                      <a:pt x="820" y="530"/>
                    </a:cubicBezTo>
                    <a:cubicBezTo>
                      <a:pt x="819" y="530"/>
                      <a:pt x="819" y="530"/>
                      <a:pt x="819" y="530"/>
                    </a:cubicBezTo>
                    <a:cubicBezTo>
                      <a:pt x="821" y="529"/>
                      <a:pt x="818" y="529"/>
                      <a:pt x="818" y="526"/>
                    </a:cubicBezTo>
                    <a:cubicBezTo>
                      <a:pt x="817" y="528"/>
                      <a:pt x="816" y="527"/>
                      <a:pt x="815" y="528"/>
                    </a:cubicBezTo>
                    <a:cubicBezTo>
                      <a:pt x="814" y="530"/>
                      <a:pt x="814" y="531"/>
                      <a:pt x="814" y="531"/>
                    </a:cubicBezTo>
                    <a:cubicBezTo>
                      <a:pt x="813" y="531"/>
                      <a:pt x="813" y="530"/>
                      <a:pt x="812" y="530"/>
                    </a:cubicBezTo>
                    <a:cubicBezTo>
                      <a:pt x="812" y="530"/>
                      <a:pt x="809" y="529"/>
                      <a:pt x="809" y="528"/>
                    </a:cubicBezTo>
                    <a:cubicBezTo>
                      <a:pt x="809" y="527"/>
                      <a:pt x="812" y="527"/>
                      <a:pt x="813" y="526"/>
                    </a:cubicBezTo>
                    <a:cubicBezTo>
                      <a:pt x="813" y="526"/>
                      <a:pt x="812" y="526"/>
                      <a:pt x="812" y="526"/>
                    </a:cubicBezTo>
                    <a:cubicBezTo>
                      <a:pt x="811" y="526"/>
                      <a:pt x="809" y="526"/>
                      <a:pt x="807" y="526"/>
                    </a:cubicBezTo>
                    <a:cubicBezTo>
                      <a:pt x="805" y="526"/>
                      <a:pt x="803" y="526"/>
                      <a:pt x="801" y="526"/>
                    </a:cubicBezTo>
                    <a:cubicBezTo>
                      <a:pt x="798" y="526"/>
                      <a:pt x="796" y="526"/>
                      <a:pt x="796" y="524"/>
                    </a:cubicBezTo>
                    <a:cubicBezTo>
                      <a:pt x="795" y="522"/>
                      <a:pt x="803" y="520"/>
                      <a:pt x="806" y="520"/>
                    </a:cubicBezTo>
                    <a:cubicBezTo>
                      <a:pt x="807" y="520"/>
                      <a:pt x="807" y="520"/>
                      <a:pt x="808" y="520"/>
                    </a:cubicBezTo>
                    <a:cubicBezTo>
                      <a:pt x="809" y="521"/>
                      <a:pt x="813" y="523"/>
                      <a:pt x="816" y="523"/>
                    </a:cubicBezTo>
                    <a:cubicBezTo>
                      <a:pt x="816" y="523"/>
                      <a:pt x="817" y="523"/>
                      <a:pt x="817" y="522"/>
                    </a:cubicBezTo>
                    <a:cubicBezTo>
                      <a:pt x="819" y="520"/>
                      <a:pt x="820" y="519"/>
                      <a:pt x="823" y="518"/>
                    </a:cubicBezTo>
                    <a:cubicBezTo>
                      <a:pt x="826" y="518"/>
                      <a:pt x="829" y="517"/>
                      <a:pt x="831" y="517"/>
                    </a:cubicBezTo>
                    <a:cubicBezTo>
                      <a:pt x="832" y="517"/>
                      <a:pt x="832" y="517"/>
                      <a:pt x="832" y="517"/>
                    </a:cubicBezTo>
                    <a:cubicBezTo>
                      <a:pt x="838" y="518"/>
                      <a:pt x="843" y="519"/>
                      <a:pt x="848" y="519"/>
                    </a:cubicBezTo>
                    <a:cubicBezTo>
                      <a:pt x="848" y="519"/>
                      <a:pt x="848" y="519"/>
                      <a:pt x="848" y="519"/>
                    </a:cubicBezTo>
                    <a:cubicBezTo>
                      <a:pt x="849" y="519"/>
                      <a:pt x="850" y="513"/>
                      <a:pt x="851" y="511"/>
                    </a:cubicBezTo>
                    <a:cubicBezTo>
                      <a:pt x="851" y="511"/>
                      <a:pt x="851" y="510"/>
                      <a:pt x="852" y="509"/>
                    </a:cubicBezTo>
                    <a:cubicBezTo>
                      <a:pt x="852" y="511"/>
                      <a:pt x="853" y="511"/>
                      <a:pt x="854" y="512"/>
                    </a:cubicBezTo>
                    <a:cubicBezTo>
                      <a:pt x="854" y="513"/>
                      <a:pt x="853" y="515"/>
                      <a:pt x="853" y="516"/>
                    </a:cubicBezTo>
                    <a:cubicBezTo>
                      <a:pt x="854" y="517"/>
                      <a:pt x="855" y="517"/>
                      <a:pt x="856" y="517"/>
                    </a:cubicBezTo>
                    <a:cubicBezTo>
                      <a:pt x="856" y="518"/>
                      <a:pt x="856" y="520"/>
                      <a:pt x="858" y="521"/>
                    </a:cubicBezTo>
                    <a:cubicBezTo>
                      <a:pt x="858" y="522"/>
                      <a:pt x="858" y="522"/>
                      <a:pt x="859" y="522"/>
                    </a:cubicBezTo>
                    <a:cubicBezTo>
                      <a:pt x="860" y="522"/>
                      <a:pt x="861" y="521"/>
                      <a:pt x="862" y="520"/>
                    </a:cubicBezTo>
                    <a:cubicBezTo>
                      <a:pt x="861" y="520"/>
                      <a:pt x="861" y="520"/>
                      <a:pt x="861" y="520"/>
                    </a:cubicBezTo>
                    <a:cubicBezTo>
                      <a:pt x="864" y="520"/>
                      <a:pt x="864" y="518"/>
                      <a:pt x="865" y="516"/>
                    </a:cubicBezTo>
                    <a:cubicBezTo>
                      <a:pt x="865" y="516"/>
                      <a:pt x="865" y="516"/>
                      <a:pt x="865" y="516"/>
                    </a:cubicBezTo>
                    <a:cubicBezTo>
                      <a:pt x="865" y="516"/>
                      <a:pt x="865" y="516"/>
                      <a:pt x="865" y="516"/>
                    </a:cubicBezTo>
                    <a:cubicBezTo>
                      <a:pt x="865" y="516"/>
                      <a:pt x="865" y="516"/>
                      <a:pt x="865" y="516"/>
                    </a:cubicBezTo>
                    <a:cubicBezTo>
                      <a:pt x="865" y="516"/>
                      <a:pt x="865" y="516"/>
                      <a:pt x="865" y="516"/>
                    </a:cubicBezTo>
                    <a:cubicBezTo>
                      <a:pt x="865" y="517"/>
                      <a:pt x="865" y="518"/>
                      <a:pt x="864" y="519"/>
                    </a:cubicBezTo>
                    <a:cubicBezTo>
                      <a:pt x="865" y="518"/>
                      <a:pt x="865" y="517"/>
                      <a:pt x="865" y="516"/>
                    </a:cubicBezTo>
                    <a:cubicBezTo>
                      <a:pt x="865" y="516"/>
                      <a:pt x="865" y="516"/>
                      <a:pt x="865" y="516"/>
                    </a:cubicBezTo>
                    <a:cubicBezTo>
                      <a:pt x="865" y="516"/>
                      <a:pt x="865" y="517"/>
                      <a:pt x="865" y="517"/>
                    </a:cubicBezTo>
                    <a:cubicBezTo>
                      <a:pt x="865" y="517"/>
                      <a:pt x="865" y="517"/>
                      <a:pt x="865" y="517"/>
                    </a:cubicBezTo>
                    <a:cubicBezTo>
                      <a:pt x="864" y="518"/>
                      <a:pt x="864" y="519"/>
                      <a:pt x="863" y="521"/>
                    </a:cubicBezTo>
                    <a:cubicBezTo>
                      <a:pt x="865" y="520"/>
                      <a:pt x="868" y="519"/>
                      <a:pt x="870" y="518"/>
                    </a:cubicBezTo>
                    <a:cubicBezTo>
                      <a:pt x="871" y="516"/>
                      <a:pt x="870" y="515"/>
                      <a:pt x="871" y="513"/>
                    </a:cubicBezTo>
                    <a:cubicBezTo>
                      <a:pt x="872" y="514"/>
                      <a:pt x="873" y="514"/>
                      <a:pt x="873" y="515"/>
                    </a:cubicBezTo>
                    <a:cubicBezTo>
                      <a:pt x="874" y="514"/>
                      <a:pt x="874" y="513"/>
                      <a:pt x="875" y="513"/>
                    </a:cubicBezTo>
                    <a:cubicBezTo>
                      <a:pt x="876" y="513"/>
                      <a:pt x="877" y="515"/>
                      <a:pt x="877" y="517"/>
                    </a:cubicBezTo>
                    <a:cubicBezTo>
                      <a:pt x="877" y="517"/>
                      <a:pt x="877" y="517"/>
                      <a:pt x="877" y="517"/>
                    </a:cubicBezTo>
                    <a:cubicBezTo>
                      <a:pt x="875" y="517"/>
                      <a:pt x="872" y="518"/>
                      <a:pt x="871" y="519"/>
                    </a:cubicBezTo>
                    <a:cubicBezTo>
                      <a:pt x="879" y="517"/>
                      <a:pt x="887" y="516"/>
                      <a:pt x="895" y="516"/>
                    </a:cubicBezTo>
                    <a:cubicBezTo>
                      <a:pt x="895" y="517"/>
                      <a:pt x="895" y="516"/>
                      <a:pt x="896" y="517"/>
                    </a:cubicBezTo>
                    <a:cubicBezTo>
                      <a:pt x="895" y="517"/>
                      <a:pt x="893" y="517"/>
                      <a:pt x="892" y="517"/>
                    </a:cubicBezTo>
                    <a:cubicBezTo>
                      <a:pt x="892" y="517"/>
                      <a:pt x="892" y="517"/>
                      <a:pt x="892" y="517"/>
                    </a:cubicBezTo>
                    <a:cubicBezTo>
                      <a:pt x="893" y="517"/>
                      <a:pt x="893" y="517"/>
                      <a:pt x="893" y="517"/>
                    </a:cubicBezTo>
                    <a:cubicBezTo>
                      <a:pt x="892" y="517"/>
                      <a:pt x="891" y="517"/>
                      <a:pt x="891" y="517"/>
                    </a:cubicBezTo>
                    <a:cubicBezTo>
                      <a:pt x="890" y="517"/>
                      <a:pt x="893" y="519"/>
                      <a:pt x="894" y="520"/>
                    </a:cubicBezTo>
                    <a:cubicBezTo>
                      <a:pt x="895" y="520"/>
                      <a:pt x="902" y="525"/>
                      <a:pt x="904" y="525"/>
                    </a:cubicBezTo>
                    <a:cubicBezTo>
                      <a:pt x="904" y="525"/>
                      <a:pt x="905" y="525"/>
                      <a:pt x="905" y="524"/>
                    </a:cubicBezTo>
                    <a:cubicBezTo>
                      <a:pt x="906" y="524"/>
                      <a:pt x="903" y="522"/>
                      <a:pt x="902" y="522"/>
                    </a:cubicBezTo>
                    <a:cubicBezTo>
                      <a:pt x="903" y="521"/>
                      <a:pt x="906" y="520"/>
                      <a:pt x="908" y="520"/>
                    </a:cubicBezTo>
                    <a:cubicBezTo>
                      <a:pt x="908" y="520"/>
                      <a:pt x="908" y="520"/>
                      <a:pt x="908" y="521"/>
                    </a:cubicBezTo>
                    <a:cubicBezTo>
                      <a:pt x="908" y="521"/>
                      <a:pt x="906" y="522"/>
                      <a:pt x="906" y="522"/>
                    </a:cubicBezTo>
                    <a:cubicBezTo>
                      <a:pt x="906" y="522"/>
                      <a:pt x="912" y="526"/>
                      <a:pt x="912" y="527"/>
                    </a:cubicBezTo>
                    <a:cubicBezTo>
                      <a:pt x="911" y="527"/>
                      <a:pt x="908" y="525"/>
                      <a:pt x="907" y="525"/>
                    </a:cubicBezTo>
                    <a:cubicBezTo>
                      <a:pt x="906" y="525"/>
                      <a:pt x="906" y="525"/>
                      <a:pt x="906" y="525"/>
                    </a:cubicBezTo>
                    <a:cubicBezTo>
                      <a:pt x="907" y="526"/>
                      <a:pt x="908" y="527"/>
                      <a:pt x="909" y="527"/>
                    </a:cubicBezTo>
                    <a:cubicBezTo>
                      <a:pt x="908" y="527"/>
                      <a:pt x="908" y="527"/>
                      <a:pt x="908" y="527"/>
                    </a:cubicBezTo>
                    <a:cubicBezTo>
                      <a:pt x="909" y="529"/>
                      <a:pt x="911" y="529"/>
                      <a:pt x="913" y="530"/>
                    </a:cubicBezTo>
                    <a:cubicBezTo>
                      <a:pt x="913" y="531"/>
                      <a:pt x="913" y="531"/>
                      <a:pt x="914" y="532"/>
                    </a:cubicBezTo>
                    <a:cubicBezTo>
                      <a:pt x="915" y="534"/>
                      <a:pt x="916" y="535"/>
                      <a:pt x="917" y="535"/>
                    </a:cubicBezTo>
                    <a:cubicBezTo>
                      <a:pt x="917" y="535"/>
                      <a:pt x="918" y="535"/>
                      <a:pt x="919" y="534"/>
                    </a:cubicBezTo>
                    <a:cubicBezTo>
                      <a:pt x="918" y="535"/>
                      <a:pt x="917" y="535"/>
                      <a:pt x="916" y="536"/>
                    </a:cubicBezTo>
                    <a:cubicBezTo>
                      <a:pt x="924" y="533"/>
                      <a:pt x="931" y="530"/>
                      <a:pt x="938" y="528"/>
                    </a:cubicBezTo>
                    <a:cubicBezTo>
                      <a:pt x="941" y="527"/>
                      <a:pt x="942" y="526"/>
                      <a:pt x="944" y="526"/>
                    </a:cubicBezTo>
                    <a:cubicBezTo>
                      <a:pt x="944" y="526"/>
                      <a:pt x="945" y="526"/>
                      <a:pt x="946" y="526"/>
                    </a:cubicBezTo>
                    <a:cubicBezTo>
                      <a:pt x="948" y="527"/>
                      <a:pt x="951" y="529"/>
                      <a:pt x="953" y="531"/>
                    </a:cubicBezTo>
                    <a:cubicBezTo>
                      <a:pt x="954" y="532"/>
                      <a:pt x="955" y="534"/>
                      <a:pt x="957" y="536"/>
                    </a:cubicBezTo>
                    <a:cubicBezTo>
                      <a:pt x="958" y="537"/>
                      <a:pt x="958" y="537"/>
                      <a:pt x="959" y="538"/>
                    </a:cubicBezTo>
                    <a:cubicBezTo>
                      <a:pt x="959" y="539"/>
                      <a:pt x="959" y="540"/>
                      <a:pt x="960" y="541"/>
                    </a:cubicBezTo>
                    <a:cubicBezTo>
                      <a:pt x="963" y="544"/>
                      <a:pt x="968" y="545"/>
                      <a:pt x="972" y="549"/>
                    </a:cubicBezTo>
                    <a:cubicBezTo>
                      <a:pt x="973" y="550"/>
                      <a:pt x="977" y="556"/>
                      <a:pt x="976" y="558"/>
                    </a:cubicBezTo>
                    <a:cubicBezTo>
                      <a:pt x="976" y="558"/>
                      <a:pt x="976" y="558"/>
                      <a:pt x="976" y="558"/>
                    </a:cubicBezTo>
                    <a:cubicBezTo>
                      <a:pt x="975" y="558"/>
                      <a:pt x="976" y="559"/>
                      <a:pt x="976" y="560"/>
                    </a:cubicBezTo>
                    <a:cubicBezTo>
                      <a:pt x="976" y="561"/>
                      <a:pt x="976" y="562"/>
                      <a:pt x="976" y="563"/>
                    </a:cubicBezTo>
                    <a:cubicBezTo>
                      <a:pt x="976" y="565"/>
                      <a:pt x="976" y="566"/>
                      <a:pt x="975" y="568"/>
                    </a:cubicBezTo>
                    <a:cubicBezTo>
                      <a:pt x="975" y="570"/>
                      <a:pt x="973" y="572"/>
                      <a:pt x="973" y="574"/>
                    </a:cubicBezTo>
                    <a:cubicBezTo>
                      <a:pt x="972" y="575"/>
                      <a:pt x="973" y="577"/>
                      <a:pt x="973" y="579"/>
                    </a:cubicBezTo>
                    <a:cubicBezTo>
                      <a:pt x="972" y="579"/>
                      <a:pt x="972" y="580"/>
                      <a:pt x="972" y="580"/>
                    </a:cubicBezTo>
                    <a:cubicBezTo>
                      <a:pt x="971" y="582"/>
                      <a:pt x="973" y="585"/>
                      <a:pt x="974" y="587"/>
                    </a:cubicBezTo>
                    <a:cubicBezTo>
                      <a:pt x="974" y="587"/>
                      <a:pt x="974" y="586"/>
                      <a:pt x="974" y="585"/>
                    </a:cubicBezTo>
                    <a:cubicBezTo>
                      <a:pt x="975" y="586"/>
                      <a:pt x="975" y="586"/>
                      <a:pt x="975" y="586"/>
                    </a:cubicBezTo>
                    <a:cubicBezTo>
                      <a:pt x="976" y="586"/>
                      <a:pt x="976" y="585"/>
                      <a:pt x="977" y="585"/>
                    </a:cubicBezTo>
                    <a:cubicBezTo>
                      <a:pt x="978" y="582"/>
                      <a:pt x="976" y="582"/>
                      <a:pt x="974" y="580"/>
                    </a:cubicBezTo>
                    <a:cubicBezTo>
                      <a:pt x="977" y="581"/>
                      <a:pt x="978" y="583"/>
                      <a:pt x="979" y="583"/>
                    </a:cubicBezTo>
                    <a:cubicBezTo>
                      <a:pt x="980" y="583"/>
                      <a:pt x="980" y="582"/>
                      <a:pt x="981" y="581"/>
                    </a:cubicBezTo>
                    <a:cubicBezTo>
                      <a:pt x="983" y="585"/>
                      <a:pt x="977" y="587"/>
                      <a:pt x="977" y="591"/>
                    </a:cubicBezTo>
                    <a:cubicBezTo>
                      <a:pt x="977" y="591"/>
                      <a:pt x="976" y="591"/>
                      <a:pt x="976" y="591"/>
                    </a:cubicBezTo>
                    <a:cubicBezTo>
                      <a:pt x="976" y="592"/>
                      <a:pt x="978" y="593"/>
                      <a:pt x="978" y="595"/>
                    </a:cubicBezTo>
                    <a:cubicBezTo>
                      <a:pt x="980" y="600"/>
                      <a:pt x="984" y="605"/>
                      <a:pt x="987" y="609"/>
                    </a:cubicBezTo>
                    <a:cubicBezTo>
                      <a:pt x="988" y="608"/>
                      <a:pt x="987" y="606"/>
                      <a:pt x="987" y="606"/>
                    </a:cubicBezTo>
                    <a:cubicBezTo>
                      <a:pt x="988" y="605"/>
                      <a:pt x="989" y="604"/>
                      <a:pt x="992" y="604"/>
                    </a:cubicBezTo>
                    <a:cubicBezTo>
                      <a:pt x="992" y="604"/>
                      <a:pt x="992" y="604"/>
                      <a:pt x="992" y="604"/>
                    </a:cubicBezTo>
                    <a:cubicBezTo>
                      <a:pt x="992" y="604"/>
                      <a:pt x="991" y="604"/>
                      <a:pt x="991" y="604"/>
                    </a:cubicBezTo>
                    <a:cubicBezTo>
                      <a:pt x="991" y="605"/>
                      <a:pt x="990" y="605"/>
                      <a:pt x="990" y="605"/>
                    </a:cubicBezTo>
                    <a:cubicBezTo>
                      <a:pt x="990" y="605"/>
                      <a:pt x="990" y="605"/>
                      <a:pt x="990" y="605"/>
                    </a:cubicBezTo>
                    <a:cubicBezTo>
                      <a:pt x="990" y="605"/>
                      <a:pt x="990" y="605"/>
                      <a:pt x="990" y="605"/>
                    </a:cubicBezTo>
                    <a:cubicBezTo>
                      <a:pt x="989" y="606"/>
                      <a:pt x="990" y="606"/>
                      <a:pt x="990" y="607"/>
                    </a:cubicBezTo>
                    <a:cubicBezTo>
                      <a:pt x="989" y="610"/>
                      <a:pt x="990" y="613"/>
                      <a:pt x="990" y="615"/>
                    </a:cubicBezTo>
                    <a:cubicBezTo>
                      <a:pt x="993" y="615"/>
                      <a:pt x="993" y="612"/>
                      <a:pt x="996" y="611"/>
                    </a:cubicBezTo>
                    <a:cubicBezTo>
                      <a:pt x="994" y="612"/>
                      <a:pt x="993" y="614"/>
                      <a:pt x="992" y="616"/>
                    </a:cubicBezTo>
                    <a:cubicBezTo>
                      <a:pt x="996" y="617"/>
                      <a:pt x="997" y="628"/>
                      <a:pt x="998" y="631"/>
                    </a:cubicBezTo>
                    <a:cubicBezTo>
                      <a:pt x="998" y="631"/>
                      <a:pt x="999" y="630"/>
                      <a:pt x="999" y="630"/>
                    </a:cubicBezTo>
                    <a:cubicBezTo>
                      <a:pt x="999" y="630"/>
                      <a:pt x="999" y="630"/>
                      <a:pt x="1000" y="630"/>
                    </a:cubicBezTo>
                    <a:cubicBezTo>
                      <a:pt x="1002" y="631"/>
                      <a:pt x="1006" y="636"/>
                      <a:pt x="1009" y="639"/>
                    </a:cubicBezTo>
                    <a:cubicBezTo>
                      <a:pt x="1010" y="640"/>
                      <a:pt x="1018" y="647"/>
                      <a:pt x="1015" y="648"/>
                    </a:cubicBezTo>
                    <a:cubicBezTo>
                      <a:pt x="1015" y="648"/>
                      <a:pt x="1015" y="648"/>
                      <a:pt x="1015" y="648"/>
                    </a:cubicBezTo>
                    <a:cubicBezTo>
                      <a:pt x="1015" y="648"/>
                      <a:pt x="1013" y="646"/>
                      <a:pt x="1012" y="646"/>
                    </a:cubicBezTo>
                    <a:cubicBezTo>
                      <a:pt x="1012" y="647"/>
                      <a:pt x="1012" y="649"/>
                      <a:pt x="1012" y="650"/>
                    </a:cubicBezTo>
                    <a:cubicBezTo>
                      <a:pt x="1014" y="650"/>
                      <a:pt x="1015" y="650"/>
                      <a:pt x="1016" y="649"/>
                    </a:cubicBezTo>
                    <a:cubicBezTo>
                      <a:pt x="1017" y="649"/>
                      <a:pt x="1017" y="649"/>
                      <a:pt x="1017" y="649"/>
                    </a:cubicBezTo>
                    <a:cubicBezTo>
                      <a:pt x="1017" y="649"/>
                      <a:pt x="1017" y="649"/>
                      <a:pt x="1017" y="649"/>
                    </a:cubicBezTo>
                    <a:cubicBezTo>
                      <a:pt x="1018" y="649"/>
                      <a:pt x="1019" y="649"/>
                      <a:pt x="1020" y="649"/>
                    </a:cubicBezTo>
                    <a:cubicBezTo>
                      <a:pt x="1020" y="649"/>
                      <a:pt x="1020" y="649"/>
                      <a:pt x="1020" y="649"/>
                    </a:cubicBezTo>
                    <a:cubicBezTo>
                      <a:pt x="1021" y="649"/>
                      <a:pt x="1022" y="649"/>
                      <a:pt x="1022" y="648"/>
                    </a:cubicBezTo>
                    <a:cubicBezTo>
                      <a:pt x="1023" y="648"/>
                      <a:pt x="1024" y="648"/>
                      <a:pt x="1024" y="648"/>
                    </a:cubicBezTo>
                    <a:cubicBezTo>
                      <a:pt x="1025" y="648"/>
                      <a:pt x="1026" y="648"/>
                      <a:pt x="1027" y="649"/>
                    </a:cubicBezTo>
                    <a:cubicBezTo>
                      <a:pt x="1026" y="647"/>
                      <a:pt x="1026" y="647"/>
                      <a:pt x="1026" y="647"/>
                    </a:cubicBezTo>
                    <a:cubicBezTo>
                      <a:pt x="1026" y="648"/>
                      <a:pt x="1028" y="648"/>
                      <a:pt x="1028" y="648"/>
                    </a:cubicBezTo>
                    <a:cubicBezTo>
                      <a:pt x="1027" y="647"/>
                      <a:pt x="1028" y="647"/>
                      <a:pt x="1028" y="646"/>
                    </a:cubicBezTo>
                    <a:cubicBezTo>
                      <a:pt x="1030" y="643"/>
                      <a:pt x="1031" y="641"/>
                      <a:pt x="1033" y="638"/>
                    </a:cubicBezTo>
                    <a:cubicBezTo>
                      <a:pt x="1036" y="630"/>
                      <a:pt x="1036" y="621"/>
                      <a:pt x="1036" y="612"/>
                    </a:cubicBezTo>
                    <a:cubicBezTo>
                      <a:pt x="1037" y="606"/>
                      <a:pt x="1036" y="600"/>
                      <a:pt x="1030" y="597"/>
                    </a:cubicBezTo>
                    <a:cubicBezTo>
                      <a:pt x="1031" y="598"/>
                      <a:pt x="1032" y="598"/>
                      <a:pt x="1033" y="599"/>
                    </a:cubicBezTo>
                    <a:cubicBezTo>
                      <a:pt x="1030" y="595"/>
                      <a:pt x="1030" y="590"/>
                      <a:pt x="1028" y="586"/>
                    </a:cubicBezTo>
                    <a:cubicBezTo>
                      <a:pt x="1027" y="582"/>
                      <a:pt x="1024" y="579"/>
                      <a:pt x="1023" y="575"/>
                    </a:cubicBezTo>
                    <a:cubicBezTo>
                      <a:pt x="1021" y="570"/>
                      <a:pt x="1019" y="564"/>
                      <a:pt x="1018" y="559"/>
                    </a:cubicBezTo>
                    <a:cubicBezTo>
                      <a:pt x="1019" y="559"/>
                      <a:pt x="1019" y="564"/>
                      <a:pt x="1021" y="564"/>
                    </a:cubicBezTo>
                    <a:cubicBezTo>
                      <a:pt x="1021" y="564"/>
                      <a:pt x="1022" y="563"/>
                      <a:pt x="1022" y="563"/>
                    </a:cubicBezTo>
                    <a:cubicBezTo>
                      <a:pt x="1023" y="566"/>
                      <a:pt x="1023" y="570"/>
                      <a:pt x="1023" y="573"/>
                    </a:cubicBezTo>
                    <a:cubicBezTo>
                      <a:pt x="1026" y="565"/>
                      <a:pt x="1024" y="564"/>
                      <a:pt x="1020" y="558"/>
                    </a:cubicBezTo>
                    <a:cubicBezTo>
                      <a:pt x="1018" y="554"/>
                      <a:pt x="1016" y="551"/>
                      <a:pt x="1014" y="547"/>
                    </a:cubicBezTo>
                    <a:cubicBezTo>
                      <a:pt x="1013" y="545"/>
                      <a:pt x="1012" y="542"/>
                      <a:pt x="1011" y="539"/>
                    </a:cubicBezTo>
                    <a:cubicBezTo>
                      <a:pt x="1009" y="535"/>
                      <a:pt x="1008" y="530"/>
                      <a:pt x="1007" y="526"/>
                    </a:cubicBezTo>
                    <a:cubicBezTo>
                      <a:pt x="1005" y="522"/>
                      <a:pt x="1003" y="517"/>
                      <a:pt x="1003" y="512"/>
                    </a:cubicBezTo>
                    <a:cubicBezTo>
                      <a:pt x="1002" y="508"/>
                      <a:pt x="1001" y="502"/>
                      <a:pt x="1003" y="499"/>
                    </a:cubicBezTo>
                    <a:cubicBezTo>
                      <a:pt x="1003" y="498"/>
                      <a:pt x="1004" y="497"/>
                      <a:pt x="1004" y="497"/>
                    </a:cubicBezTo>
                    <a:cubicBezTo>
                      <a:pt x="1004" y="497"/>
                      <a:pt x="1005" y="497"/>
                      <a:pt x="1005" y="498"/>
                    </a:cubicBezTo>
                    <a:cubicBezTo>
                      <a:pt x="1011" y="495"/>
                      <a:pt x="1006" y="495"/>
                      <a:pt x="1003" y="493"/>
                    </a:cubicBezTo>
                    <a:cubicBezTo>
                      <a:pt x="1005" y="494"/>
                      <a:pt x="1005" y="494"/>
                      <a:pt x="1005" y="494"/>
                    </a:cubicBezTo>
                    <a:cubicBezTo>
                      <a:pt x="1006" y="493"/>
                      <a:pt x="1006" y="492"/>
                      <a:pt x="1007" y="491"/>
                    </a:cubicBezTo>
                    <a:cubicBezTo>
                      <a:pt x="1008" y="490"/>
                      <a:pt x="1009" y="490"/>
                      <a:pt x="1010" y="489"/>
                    </a:cubicBezTo>
                    <a:cubicBezTo>
                      <a:pt x="1009" y="489"/>
                      <a:pt x="1008" y="489"/>
                      <a:pt x="1008" y="490"/>
                    </a:cubicBezTo>
                    <a:cubicBezTo>
                      <a:pt x="1008" y="487"/>
                      <a:pt x="1009" y="485"/>
                      <a:pt x="1008" y="483"/>
                    </a:cubicBezTo>
                    <a:cubicBezTo>
                      <a:pt x="1009" y="483"/>
                      <a:pt x="1010" y="484"/>
                      <a:pt x="1011" y="484"/>
                    </a:cubicBezTo>
                    <a:cubicBezTo>
                      <a:pt x="1011" y="484"/>
                      <a:pt x="1011" y="484"/>
                      <a:pt x="1011" y="484"/>
                    </a:cubicBezTo>
                    <a:cubicBezTo>
                      <a:pt x="1013" y="483"/>
                      <a:pt x="1014" y="479"/>
                      <a:pt x="1015" y="478"/>
                    </a:cubicBezTo>
                    <a:cubicBezTo>
                      <a:pt x="1017" y="476"/>
                      <a:pt x="1022" y="472"/>
                      <a:pt x="1022" y="471"/>
                    </a:cubicBezTo>
                    <a:cubicBezTo>
                      <a:pt x="1022" y="470"/>
                      <a:pt x="1020" y="470"/>
                      <a:pt x="1020" y="470"/>
                    </a:cubicBezTo>
                    <a:cubicBezTo>
                      <a:pt x="1019" y="468"/>
                      <a:pt x="1018" y="465"/>
                      <a:pt x="1018" y="463"/>
                    </a:cubicBezTo>
                    <a:cubicBezTo>
                      <a:pt x="1018" y="463"/>
                      <a:pt x="1019" y="464"/>
                      <a:pt x="1019" y="464"/>
                    </a:cubicBezTo>
                    <a:cubicBezTo>
                      <a:pt x="1019" y="465"/>
                      <a:pt x="1019" y="466"/>
                      <a:pt x="1019" y="466"/>
                    </a:cubicBezTo>
                    <a:cubicBezTo>
                      <a:pt x="1020" y="466"/>
                      <a:pt x="1020" y="466"/>
                      <a:pt x="1021" y="466"/>
                    </a:cubicBezTo>
                    <a:cubicBezTo>
                      <a:pt x="1021" y="465"/>
                      <a:pt x="1021" y="465"/>
                      <a:pt x="1022" y="465"/>
                    </a:cubicBezTo>
                    <a:cubicBezTo>
                      <a:pt x="1022" y="465"/>
                      <a:pt x="1023" y="466"/>
                      <a:pt x="1022" y="467"/>
                    </a:cubicBezTo>
                    <a:cubicBezTo>
                      <a:pt x="1023" y="467"/>
                      <a:pt x="1023" y="467"/>
                      <a:pt x="1023" y="467"/>
                    </a:cubicBezTo>
                    <a:cubicBezTo>
                      <a:pt x="1023" y="468"/>
                      <a:pt x="1023" y="468"/>
                      <a:pt x="1023" y="468"/>
                    </a:cubicBezTo>
                    <a:cubicBezTo>
                      <a:pt x="1023" y="468"/>
                      <a:pt x="1024" y="468"/>
                      <a:pt x="1024" y="468"/>
                    </a:cubicBezTo>
                    <a:cubicBezTo>
                      <a:pt x="1026" y="468"/>
                      <a:pt x="1027" y="468"/>
                      <a:pt x="1027" y="466"/>
                    </a:cubicBezTo>
                    <a:cubicBezTo>
                      <a:pt x="1027" y="467"/>
                      <a:pt x="1027" y="467"/>
                      <a:pt x="1027" y="467"/>
                    </a:cubicBezTo>
                    <a:cubicBezTo>
                      <a:pt x="1028" y="464"/>
                      <a:pt x="1024" y="465"/>
                      <a:pt x="1022" y="463"/>
                    </a:cubicBezTo>
                    <a:cubicBezTo>
                      <a:pt x="1022" y="463"/>
                      <a:pt x="1022" y="463"/>
                      <a:pt x="1023" y="463"/>
                    </a:cubicBezTo>
                    <a:cubicBezTo>
                      <a:pt x="1024" y="463"/>
                      <a:pt x="1025" y="463"/>
                      <a:pt x="1025" y="463"/>
                    </a:cubicBezTo>
                    <a:cubicBezTo>
                      <a:pt x="1025" y="463"/>
                      <a:pt x="1025" y="463"/>
                      <a:pt x="1025" y="463"/>
                    </a:cubicBezTo>
                    <a:cubicBezTo>
                      <a:pt x="1025" y="463"/>
                      <a:pt x="1026" y="463"/>
                      <a:pt x="1026" y="463"/>
                    </a:cubicBezTo>
                    <a:cubicBezTo>
                      <a:pt x="1026" y="464"/>
                      <a:pt x="1026" y="464"/>
                      <a:pt x="1027" y="464"/>
                    </a:cubicBezTo>
                    <a:cubicBezTo>
                      <a:pt x="1027" y="464"/>
                      <a:pt x="1027" y="464"/>
                      <a:pt x="1027" y="464"/>
                    </a:cubicBezTo>
                    <a:cubicBezTo>
                      <a:pt x="1028" y="464"/>
                      <a:pt x="1030" y="462"/>
                      <a:pt x="1031" y="461"/>
                    </a:cubicBezTo>
                    <a:cubicBezTo>
                      <a:pt x="1032" y="460"/>
                      <a:pt x="1035" y="461"/>
                      <a:pt x="1036" y="460"/>
                    </a:cubicBezTo>
                    <a:cubicBezTo>
                      <a:pt x="1037" y="460"/>
                      <a:pt x="1037" y="460"/>
                      <a:pt x="1037" y="459"/>
                    </a:cubicBezTo>
                    <a:cubicBezTo>
                      <a:pt x="1037" y="460"/>
                      <a:pt x="1037" y="460"/>
                      <a:pt x="1037" y="460"/>
                    </a:cubicBezTo>
                    <a:cubicBezTo>
                      <a:pt x="1038" y="458"/>
                      <a:pt x="1039" y="457"/>
                      <a:pt x="1039" y="455"/>
                    </a:cubicBezTo>
                    <a:cubicBezTo>
                      <a:pt x="1040" y="456"/>
                      <a:pt x="1040" y="457"/>
                      <a:pt x="1041" y="457"/>
                    </a:cubicBezTo>
                    <a:cubicBezTo>
                      <a:pt x="1041" y="457"/>
                      <a:pt x="1042" y="457"/>
                      <a:pt x="1043" y="457"/>
                    </a:cubicBezTo>
                    <a:cubicBezTo>
                      <a:pt x="1045" y="456"/>
                      <a:pt x="1048" y="452"/>
                      <a:pt x="1050" y="451"/>
                    </a:cubicBezTo>
                    <a:cubicBezTo>
                      <a:pt x="1052" y="450"/>
                      <a:pt x="1058" y="448"/>
                      <a:pt x="1055" y="445"/>
                    </a:cubicBezTo>
                    <a:cubicBezTo>
                      <a:pt x="1054" y="444"/>
                      <a:pt x="1053" y="443"/>
                      <a:pt x="1054" y="441"/>
                    </a:cubicBezTo>
                    <a:cubicBezTo>
                      <a:pt x="1056" y="442"/>
                      <a:pt x="1056" y="444"/>
                      <a:pt x="1056" y="445"/>
                    </a:cubicBezTo>
                    <a:cubicBezTo>
                      <a:pt x="1058" y="441"/>
                      <a:pt x="1058" y="439"/>
                      <a:pt x="1062" y="435"/>
                    </a:cubicBezTo>
                    <a:cubicBezTo>
                      <a:pt x="1064" y="433"/>
                      <a:pt x="1067" y="431"/>
                      <a:pt x="1070" y="428"/>
                    </a:cubicBezTo>
                    <a:cubicBezTo>
                      <a:pt x="1071" y="428"/>
                      <a:pt x="1073" y="427"/>
                      <a:pt x="1075" y="427"/>
                    </a:cubicBezTo>
                    <a:cubicBezTo>
                      <a:pt x="1076" y="427"/>
                      <a:pt x="1077" y="428"/>
                      <a:pt x="1078" y="428"/>
                    </a:cubicBezTo>
                    <a:cubicBezTo>
                      <a:pt x="1079" y="428"/>
                      <a:pt x="1080" y="428"/>
                      <a:pt x="1081" y="428"/>
                    </a:cubicBezTo>
                    <a:cubicBezTo>
                      <a:pt x="1081" y="428"/>
                      <a:pt x="1081" y="428"/>
                      <a:pt x="1081" y="428"/>
                    </a:cubicBezTo>
                    <a:cubicBezTo>
                      <a:pt x="1086" y="428"/>
                      <a:pt x="1085" y="424"/>
                      <a:pt x="1085" y="420"/>
                    </a:cubicBezTo>
                    <a:cubicBezTo>
                      <a:pt x="1086" y="422"/>
                      <a:pt x="1086" y="424"/>
                      <a:pt x="1086" y="427"/>
                    </a:cubicBezTo>
                    <a:cubicBezTo>
                      <a:pt x="1086" y="425"/>
                      <a:pt x="1086" y="424"/>
                      <a:pt x="1087" y="423"/>
                    </a:cubicBezTo>
                    <a:cubicBezTo>
                      <a:pt x="1088" y="419"/>
                      <a:pt x="1093" y="416"/>
                      <a:pt x="1097" y="413"/>
                    </a:cubicBezTo>
                    <a:cubicBezTo>
                      <a:pt x="1096" y="413"/>
                      <a:pt x="1096" y="413"/>
                      <a:pt x="1096" y="413"/>
                    </a:cubicBezTo>
                    <a:cubicBezTo>
                      <a:pt x="1097" y="413"/>
                      <a:pt x="1097" y="412"/>
                      <a:pt x="1098" y="412"/>
                    </a:cubicBezTo>
                    <a:cubicBezTo>
                      <a:pt x="1097" y="412"/>
                      <a:pt x="1097" y="412"/>
                      <a:pt x="1097" y="412"/>
                    </a:cubicBezTo>
                    <a:cubicBezTo>
                      <a:pt x="1098" y="411"/>
                      <a:pt x="1099" y="410"/>
                      <a:pt x="1097" y="410"/>
                    </a:cubicBezTo>
                    <a:cubicBezTo>
                      <a:pt x="1099" y="408"/>
                      <a:pt x="1098" y="407"/>
                      <a:pt x="1097" y="405"/>
                    </a:cubicBezTo>
                    <a:cubicBezTo>
                      <a:pt x="1098" y="406"/>
                      <a:pt x="1098" y="407"/>
                      <a:pt x="1098" y="407"/>
                    </a:cubicBezTo>
                    <a:cubicBezTo>
                      <a:pt x="1099" y="407"/>
                      <a:pt x="1102" y="405"/>
                      <a:pt x="1103" y="405"/>
                    </a:cubicBezTo>
                    <a:cubicBezTo>
                      <a:pt x="1104" y="405"/>
                      <a:pt x="1104" y="405"/>
                      <a:pt x="1104" y="405"/>
                    </a:cubicBezTo>
                    <a:cubicBezTo>
                      <a:pt x="1106" y="406"/>
                      <a:pt x="1104" y="407"/>
                      <a:pt x="1106" y="407"/>
                    </a:cubicBezTo>
                    <a:cubicBezTo>
                      <a:pt x="1106" y="407"/>
                      <a:pt x="1106" y="407"/>
                      <a:pt x="1107" y="407"/>
                    </a:cubicBezTo>
                    <a:cubicBezTo>
                      <a:pt x="1109" y="407"/>
                      <a:pt x="1111" y="405"/>
                      <a:pt x="1113" y="405"/>
                    </a:cubicBezTo>
                    <a:cubicBezTo>
                      <a:pt x="1116" y="404"/>
                      <a:pt x="1122" y="403"/>
                      <a:pt x="1123" y="400"/>
                    </a:cubicBezTo>
                    <a:cubicBezTo>
                      <a:pt x="1124" y="400"/>
                      <a:pt x="1124" y="399"/>
                      <a:pt x="1123" y="399"/>
                    </a:cubicBezTo>
                    <a:cubicBezTo>
                      <a:pt x="1122" y="399"/>
                      <a:pt x="1120" y="400"/>
                      <a:pt x="1120" y="401"/>
                    </a:cubicBezTo>
                    <a:cubicBezTo>
                      <a:pt x="1121" y="399"/>
                      <a:pt x="1121" y="399"/>
                      <a:pt x="1120" y="399"/>
                    </a:cubicBezTo>
                    <a:cubicBezTo>
                      <a:pt x="1119" y="399"/>
                      <a:pt x="1118" y="400"/>
                      <a:pt x="1117" y="400"/>
                    </a:cubicBezTo>
                    <a:cubicBezTo>
                      <a:pt x="1117" y="400"/>
                      <a:pt x="1117" y="400"/>
                      <a:pt x="1117" y="400"/>
                    </a:cubicBezTo>
                    <a:cubicBezTo>
                      <a:pt x="1117" y="400"/>
                      <a:pt x="1117" y="400"/>
                      <a:pt x="1116" y="400"/>
                    </a:cubicBezTo>
                    <a:cubicBezTo>
                      <a:pt x="1116" y="400"/>
                      <a:pt x="1116" y="399"/>
                      <a:pt x="1115" y="399"/>
                    </a:cubicBezTo>
                    <a:cubicBezTo>
                      <a:pt x="1115" y="399"/>
                      <a:pt x="1115" y="399"/>
                      <a:pt x="1115" y="399"/>
                    </a:cubicBezTo>
                    <a:cubicBezTo>
                      <a:pt x="1114" y="400"/>
                      <a:pt x="1114" y="401"/>
                      <a:pt x="1113" y="401"/>
                    </a:cubicBezTo>
                    <a:cubicBezTo>
                      <a:pt x="1112" y="401"/>
                      <a:pt x="1112" y="401"/>
                      <a:pt x="1112" y="401"/>
                    </a:cubicBezTo>
                    <a:cubicBezTo>
                      <a:pt x="1109" y="401"/>
                      <a:pt x="1107" y="398"/>
                      <a:pt x="1106" y="395"/>
                    </a:cubicBezTo>
                    <a:cubicBezTo>
                      <a:pt x="1106" y="395"/>
                      <a:pt x="1106" y="395"/>
                      <a:pt x="1106" y="395"/>
                    </a:cubicBezTo>
                    <a:cubicBezTo>
                      <a:pt x="1107" y="397"/>
                      <a:pt x="1108" y="398"/>
                      <a:pt x="1110" y="398"/>
                    </a:cubicBezTo>
                    <a:cubicBezTo>
                      <a:pt x="1111" y="398"/>
                      <a:pt x="1111" y="398"/>
                      <a:pt x="1112" y="397"/>
                    </a:cubicBezTo>
                    <a:cubicBezTo>
                      <a:pt x="1115" y="397"/>
                      <a:pt x="1122" y="394"/>
                      <a:pt x="1118" y="391"/>
                    </a:cubicBezTo>
                    <a:cubicBezTo>
                      <a:pt x="1114" y="388"/>
                      <a:pt x="1109" y="389"/>
                      <a:pt x="1106" y="385"/>
                    </a:cubicBezTo>
                    <a:cubicBezTo>
                      <a:pt x="1109" y="387"/>
                      <a:pt x="1113" y="387"/>
                      <a:pt x="1117" y="388"/>
                    </a:cubicBezTo>
                    <a:cubicBezTo>
                      <a:pt x="1116" y="387"/>
                      <a:pt x="1116" y="385"/>
                      <a:pt x="1117" y="384"/>
                    </a:cubicBezTo>
                    <a:cubicBezTo>
                      <a:pt x="1117" y="384"/>
                      <a:pt x="1117" y="384"/>
                      <a:pt x="1117" y="384"/>
                    </a:cubicBezTo>
                    <a:cubicBezTo>
                      <a:pt x="1117" y="384"/>
                      <a:pt x="1117" y="385"/>
                      <a:pt x="1117" y="385"/>
                    </a:cubicBezTo>
                    <a:cubicBezTo>
                      <a:pt x="1117" y="385"/>
                      <a:pt x="1117" y="386"/>
                      <a:pt x="1117" y="386"/>
                    </a:cubicBezTo>
                    <a:cubicBezTo>
                      <a:pt x="1117" y="386"/>
                      <a:pt x="1117" y="386"/>
                      <a:pt x="1117" y="386"/>
                    </a:cubicBezTo>
                    <a:cubicBezTo>
                      <a:pt x="1118" y="387"/>
                      <a:pt x="1118" y="387"/>
                      <a:pt x="1118" y="388"/>
                    </a:cubicBezTo>
                    <a:cubicBezTo>
                      <a:pt x="1119" y="387"/>
                      <a:pt x="1120" y="387"/>
                      <a:pt x="1120" y="387"/>
                    </a:cubicBezTo>
                    <a:cubicBezTo>
                      <a:pt x="1121" y="387"/>
                      <a:pt x="1121" y="387"/>
                      <a:pt x="1121" y="388"/>
                    </a:cubicBezTo>
                    <a:cubicBezTo>
                      <a:pt x="1126" y="388"/>
                      <a:pt x="1139" y="384"/>
                      <a:pt x="1137" y="377"/>
                    </a:cubicBezTo>
                    <a:cubicBezTo>
                      <a:pt x="1136" y="375"/>
                      <a:pt x="1135" y="375"/>
                      <a:pt x="1134" y="375"/>
                    </a:cubicBezTo>
                    <a:cubicBezTo>
                      <a:pt x="1133" y="375"/>
                      <a:pt x="1133" y="375"/>
                      <a:pt x="1132" y="375"/>
                    </a:cubicBezTo>
                    <a:cubicBezTo>
                      <a:pt x="1130" y="375"/>
                      <a:pt x="1130" y="380"/>
                      <a:pt x="1129" y="382"/>
                    </a:cubicBezTo>
                    <a:cubicBezTo>
                      <a:pt x="1129" y="380"/>
                      <a:pt x="1128" y="376"/>
                      <a:pt x="1130" y="374"/>
                    </a:cubicBezTo>
                    <a:cubicBezTo>
                      <a:pt x="1129" y="374"/>
                      <a:pt x="1129" y="374"/>
                      <a:pt x="1129" y="374"/>
                    </a:cubicBezTo>
                    <a:cubicBezTo>
                      <a:pt x="1130" y="373"/>
                      <a:pt x="1128" y="372"/>
                      <a:pt x="1127" y="372"/>
                    </a:cubicBezTo>
                    <a:cubicBezTo>
                      <a:pt x="1127" y="372"/>
                      <a:pt x="1126" y="372"/>
                      <a:pt x="1126" y="373"/>
                    </a:cubicBezTo>
                    <a:cubicBezTo>
                      <a:pt x="1125" y="373"/>
                      <a:pt x="1125" y="374"/>
                      <a:pt x="1124" y="374"/>
                    </a:cubicBezTo>
                    <a:cubicBezTo>
                      <a:pt x="1124" y="374"/>
                      <a:pt x="1123" y="374"/>
                      <a:pt x="1123" y="374"/>
                    </a:cubicBezTo>
                    <a:cubicBezTo>
                      <a:pt x="1123" y="374"/>
                      <a:pt x="1123" y="374"/>
                      <a:pt x="1123" y="374"/>
                    </a:cubicBezTo>
                    <a:cubicBezTo>
                      <a:pt x="1122" y="374"/>
                      <a:pt x="1122" y="374"/>
                      <a:pt x="1122" y="374"/>
                    </a:cubicBezTo>
                    <a:cubicBezTo>
                      <a:pt x="1122" y="374"/>
                      <a:pt x="1121" y="374"/>
                      <a:pt x="1121" y="374"/>
                    </a:cubicBezTo>
                    <a:cubicBezTo>
                      <a:pt x="1121" y="374"/>
                      <a:pt x="1121" y="373"/>
                      <a:pt x="1120" y="373"/>
                    </a:cubicBezTo>
                    <a:cubicBezTo>
                      <a:pt x="1119" y="373"/>
                      <a:pt x="1118" y="374"/>
                      <a:pt x="1117" y="374"/>
                    </a:cubicBezTo>
                    <a:cubicBezTo>
                      <a:pt x="1116" y="374"/>
                      <a:pt x="1115" y="374"/>
                      <a:pt x="1114" y="374"/>
                    </a:cubicBezTo>
                    <a:cubicBezTo>
                      <a:pt x="1114" y="374"/>
                      <a:pt x="1114" y="374"/>
                      <a:pt x="1114" y="374"/>
                    </a:cubicBezTo>
                    <a:cubicBezTo>
                      <a:pt x="1115" y="372"/>
                      <a:pt x="1113" y="371"/>
                      <a:pt x="1113" y="369"/>
                    </a:cubicBezTo>
                    <a:cubicBezTo>
                      <a:pt x="1113" y="369"/>
                      <a:pt x="1114" y="364"/>
                      <a:pt x="1114" y="364"/>
                    </a:cubicBezTo>
                    <a:cubicBezTo>
                      <a:pt x="1114" y="364"/>
                      <a:pt x="1114" y="364"/>
                      <a:pt x="1114" y="364"/>
                    </a:cubicBezTo>
                    <a:cubicBezTo>
                      <a:pt x="1115" y="366"/>
                      <a:pt x="1114" y="366"/>
                      <a:pt x="1114" y="367"/>
                    </a:cubicBezTo>
                    <a:cubicBezTo>
                      <a:pt x="1114" y="370"/>
                      <a:pt x="1115" y="372"/>
                      <a:pt x="1117" y="372"/>
                    </a:cubicBezTo>
                    <a:cubicBezTo>
                      <a:pt x="1119" y="372"/>
                      <a:pt x="1121" y="371"/>
                      <a:pt x="1123" y="370"/>
                    </a:cubicBezTo>
                    <a:cubicBezTo>
                      <a:pt x="1122" y="369"/>
                      <a:pt x="1120" y="368"/>
                      <a:pt x="1120" y="367"/>
                    </a:cubicBezTo>
                    <a:cubicBezTo>
                      <a:pt x="1122" y="368"/>
                      <a:pt x="1123" y="369"/>
                      <a:pt x="1126" y="370"/>
                    </a:cubicBezTo>
                    <a:cubicBezTo>
                      <a:pt x="1125" y="369"/>
                      <a:pt x="1124" y="368"/>
                      <a:pt x="1124" y="367"/>
                    </a:cubicBezTo>
                    <a:cubicBezTo>
                      <a:pt x="1125" y="368"/>
                      <a:pt x="1126" y="368"/>
                      <a:pt x="1127" y="368"/>
                    </a:cubicBezTo>
                    <a:cubicBezTo>
                      <a:pt x="1128" y="368"/>
                      <a:pt x="1128" y="368"/>
                      <a:pt x="1129" y="368"/>
                    </a:cubicBezTo>
                    <a:cubicBezTo>
                      <a:pt x="1128" y="367"/>
                      <a:pt x="1126" y="365"/>
                      <a:pt x="1126" y="364"/>
                    </a:cubicBezTo>
                    <a:cubicBezTo>
                      <a:pt x="1126" y="364"/>
                      <a:pt x="1126" y="364"/>
                      <a:pt x="1126" y="364"/>
                    </a:cubicBezTo>
                    <a:cubicBezTo>
                      <a:pt x="1127" y="365"/>
                      <a:pt x="1130" y="368"/>
                      <a:pt x="1132" y="368"/>
                    </a:cubicBezTo>
                    <a:cubicBezTo>
                      <a:pt x="1131" y="367"/>
                      <a:pt x="1131" y="366"/>
                      <a:pt x="1131" y="364"/>
                    </a:cubicBezTo>
                    <a:cubicBezTo>
                      <a:pt x="1132" y="366"/>
                      <a:pt x="1133" y="369"/>
                      <a:pt x="1135" y="370"/>
                    </a:cubicBezTo>
                    <a:cubicBezTo>
                      <a:pt x="1134" y="366"/>
                      <a:pt x="1131" y="362"/>
                      <a:pt x="1130" y="358"/>
                    </a:cubicBezTo>
                    <a:cubicBezTo>
                      <a:pt x="1130" y="358"/>
                      <a:pt x="1130" y="358"/>
                      <a:pt x="1130" y="358"/>
                    </a:cubicBezTo>
                    <a:cubicBezTo>
                      <a:pt x="1132" y="358"/>
                      <a:pt x="1131" y="355"/>
                      <a:pt x="1132" y="353"/>
                    </a:cubicBezTo>
                    <a:cubicBezTo>
                      <a:pt x="1133" y="356"/>
                      <a:pt x="1133" y="359"/>
                      <a:pt x="1134" y="361"/>
                    </a:cubicBezTo>
                    <a:cubicBezTo>
                      <a:pt x="1134" y="358"/>
                      <a:pt x="1133" y="350"/>
                      <a:pt x="1130" y="348"/>
                    </a:cubicBezTo>
                    <a:cubicBezTo>
                      <a:pt x="1130" y="348"/>
                      <a:pt x="1130" y="348"/>
                      <a:pt x="1129" y="348"/>
                    </a:cubicBezTo>
                    <a:cubicBezTo>
                      <a:pt x="1129" y="348"/>
                      <a:pt x="1129" y="348"/>
                      <a:pt x="1128" y="348"/>
                    </a:cubicBezTo>
                    <a:cubicBezTo>
                      <a:pt x="1128" y="348"/>
                      <a:pt x="1128" y="348"/>
                      <a:pt x="1127" y="348"/>
                    </a:cubicBezTo>
                    <a:cubicBezTo>
                      <a:pt x="1127" y="348"/>
                      <a:pt x="1126" y="348"/>
                      <a:pt x="1126" y="348"/>
                    </a:cubicBezTo>
                    <a:cubicBezTo>
                      <a:pt x="1125" y="347"/>
                      <a:pt x="1125" y="347"/>
                      <a:pt x="1124" y="347"/>
                    </a:cubicBezTo>
                    <a:cubicBezTo>
                      <a:pt x="1124" y="347"/>
                      <a:pt x="1124" y="348"/>
                      <a:pt x="1123" y="348"/>
                    </a:cubicBezTo>
                    <a:cubicBezTo>
                      <a:pt x="1123" y="348"/>
                      <a:pt x="1123" y="348"/>
                      <a:pt x="1123" y="348"/>
                    </a:cubicBezTo>
                    <a:cubicBezTo>
                      <a:pt x="1124" y="348"/>
                      <a:pt x="1123" y="349"/>
                      <a:pt x="1123" y="349"/>
                    </a:cubicBezTo>
                    <a:cubicBezTo>
                      <a:pt x="1122" y="349"/>
                      <a:pt x="1119" y="349"/>
                      <a:pt x="1118" y="349"/>
                    </a:cubicBezTo>
                    <a:cubicBezTo>
                      <a:pt x="1121" y="348"/>
                      <a:pt x="1116" y="343"/>
                      <a:pt x="1115" y="341"/>
                    </a:cubicBezTo>
                    <a:cubicBezTo>
                      <a:pt x="1116" y="342"/>
                      <a:pt x="1117" y="343"/>
                      <a:pt x="1118" y="344"/>
                    </a:cubicBezTo>
                    <a:cubicBezTo>
                      <a:pt x="1119" y="345"/>
                      <a:pt x="1120" y="346"/>
                      <a:pt x="1121" y="346"/>
                    </a:cubicBezTo>
                    <a:cubicBezTo>
                      <a:pt x="1121" y="346"/>
                      <a:pt x="1122" y="346"/>
                      <a:pt x="1122" y="346"/>
                    </a:cubicBezTo>
                    <a:cubicBezTo>
                      <a:pt x="1122" y="343"/>
                      <a:pt x="1122" y="341"/>
                      <a:pt x="1120" y="339"/>
                    </a:cubicBezTo>
                    <a:cubicBezTo>
                      <a:pt x="1120" y="338"/>
                      <a:pt x="1120" y="338"/>
                      <a:pt x="1120" y="338"/>
                    </a:cubicBezTo>
                    <a:cubicBezTo>
                      <a:pt x="1120" y="339"/>
                      <a:pt x="1120" y="339"/>
                      <a:pt x="1120" y="339"/>
                    </a:cubicBezTo>
                    <a:cubicBezTo>
                      <a:pt x="1120" y="338"/>
                      <a:pt x="1120" y="338"/>
                      <a:pt x="1120" y="338"/>
                    </a:cubicBezTo>
                    <a:cubicBezTo>
                      <a:pt x="1119" y="338"/>
                      <a:pt x="1119" y="338"/>
                      <a:pt x="1119" y="338"/>
                    </a:cubicBezTo>
                    <a:cubicBezTo>
                      <a:pt x="1120" y="338"/>
                      <a:pt x="1120" y="338"/>
                      <a:pt x="1121" y="338"/>
                    </a:cubicBezTo>
                    <a:cubicBezTo>
                      <a:pt x="1121" y="338"/>
                      <a:pt x="1121" y="338"/>
                      <a:pt x="1121" y="338"/>
                    </a:cubicBezTo>
                    <a:cubicBezTo>
                      <a:pt x="1123" y="338"/>
                      <a:pt x="1124" y="338"/>
                      <a:pt x="1124" y="336"/>
                    </a:cubicBezTo>
                    <a:cubicBezTo>
                      <a:pt x="1126" y="333"/>
                      <a:pt x="1122" y="331"/>
                      <a:pt x="1120" y="329"/>
                    </a:cubicBezTo>
                    <a:cubicBezTo>
                      <a:pt x="1119" y="328"/>
                      <a:pt x="1119" y="328"/>
                      <a:pt x="1119" y="328"/>
                    </a:cubicBezTo>
                    <a:cubicBezTo>
                      <a:pt x="1119" y="327"/>
                      <a:pt x="1119" y="327"/>
                      <a:pt x="1119" y="327"/>
                    </a:cubicBezTo>
                    <a:cubicBezTo>
                      <a:pt x="1119" y="327"/>
                      <a:pt x="1120" y="327"/>
                      <a:pt x="1120" y="328"/>
                    </a:cubicBezTo>
                    <a:cubicBezTo>
                      <a:pt x="1120" y="328"/>
                      <a:pt x="1120" y="328"/>
                      <a:pt x="1120" y="328"/>
                    </a:cubicBezTo>
                    <a:cubicBezTo>
                      <a:pt x="1120" y="328"/>
                      <a:pt x="1120" y="328"/>
                      <a:pt x="1120" y="328"/>
                    </a:cubicBezTo>
                    <a:cubicBezTo>
                      <a:pt x="1120" y="328"/>
                      <a:pt x="1120" y="328"/>
                      <a:pt x="1120" y="328"/>
                    </a:cubicBezTo>
                    <a:cubicBezTo>
                      <a:pt x="1121" y="328"/>
                      <a:pt x="1121" y="329"/>
                      <a:pt x="1121" y="329"/>
                    </a:cubicBezTo>
                    <a:cubicBezTo>
                      <a:pt x="1122" y="329"/>
                      <a:pt x="1124" y="325"/>
                      <a:pt x="1124" y="324"/>
                    </a:cubicBezTo>
                    <a:cubicBezTo>
                      <a:pt x="1125" y="321"/>
                      <a:pt x="1125" y="322"/>
                      <a:pt x="1123" y="321"/>
                    </a:cubicBezTo>
                    <a:cubicBezTo>
                      <a:pt x="1121" y="319"/>
                      <a:pt x="1116" y="316"/>
                      <a:pt x="1114" y="315"/>
                    </a:cubicBezTo>
                    <a:cubicBezTo>
                      <a:pt x="1112" y="315"/>
                      <a:pt x="1110" y="314"/>
                      <a:pt x="1108" y="313"/>
                    </a:cubicBezTo>
                    <a:cubicBezTo>
                      <a:pt x="1107" y="312"/>
                      <a:pt x="1106" y="311"/>
                      <a:pt x="1105" y="310"/>
                    </a:cubicBezTo>
                    <a:cubicBezTo>
                      <a:pt x="1105" y="309"/>
                      <a:pt x="1105" y="309"/>
                      <a:pt x="1105" y="309"/>
                    </a:cubicBezTo>
                    <a:cubicBezTo>
                      <a:pt x="1105" y="309"/>
                      <a:pt x="1104" y="309"/>
                      <a:pt x="1104" y="309"/>
                    </a:cubicBezTo>
                    <a:cubicBezTo>
                      <a:pt x="1104" y="309"/>
                      <a:pt x="1104" y="310"/>
                      <a:pt x="1104" y="310"/>
                    </a:cubicBezTo>
                    <a:cubicBezTo>
                      <a:pt x="1104" y="310"/>
                      <a:pt x="1104" y="310"/>
                      <a:pt x="1104" y="310"/>
                    </a:cubicBezTo>
                    <a:cubicBezTo>
                      <a:pt x="1103" y="310"/>
                      <a:pt x="1103" y="310"/>
                      <a:pt x="1103" y="310"/>
                    </a:cubicBezTo>
                    <a:cubicBezTo>
                      <a:pt x="1103" y="310"/>
                      <a:pt x="1103" y="310"/>
                      <a:pt x="1102" y="310"/>
                    </a:cubicBezTo>
                    <a:cubicBezTo>
                      <a:pt x="1102" y="310"/>
                      <a:pt x="1102" y="310"/>
                      <a:pt x="1101" y="310"/>
                    </a:cubicBezTo>
                    <a:cubicBezTo>
                      <a:pt x="1101" y="310"/>
                      <a:pt x="1101" y="310"/>
                      <a:pt x="1100" y="310"/>
                    </a:cubicBezTo>
                    <a:cubicBezTo>
                      <a:pt x="1099" y="310"/>
                      <a:pt x="1099" y="310"/>
                      <a:pt x="1099" y="310"/>
                    </a:cubicBezTo>
                    <a:cubicBezTo>
                      <a:pt x="1102" y="305"/>
                      <a:pt x="1107" y="300"/>
                      <a:pt x="1106" y="295"/>
                    </a:cubicBezTo>
                    <a:cubicBezTo>
                      <a:pt x="1107" y="299"/>
                      <a:pt x="1104" y="302"/>
                      <a:pt x="1103" y="306"/>
                    </a:cubicBezTo>
                    <a:cubicBezTo>
                      <a:pt x="1102" y="307"/>
                      <a:pt x="1101" y="308"/>
                      <a:pt x="1102" y="309"/>
                    </a:cubicBezTo>
                    <a:cubicBezTo>
                      <a:pt x="1102" y="309"/>
                      <a:pt x="1103" y="309"/>
                      <a:pt x="1103" y="309"/>
                    </a:cubicBezTo>
                    <a:cubicBezTo>
                      <a:pt x="1104" y="309"/>
                      <a:pt x="1104" y="308"/>
                      <a:pt x="1104" y="307"/>
                    </a:cubicBezTo>
                    <a:cubicBezTo>
                      <a:pt x="1104" y="307"/>
                      <a:pt x="1105" y="308"/>
                      <a:pt x="1105" y="308"/>
                    </a:cubicBezTo>
                    <a:cubicBezTo>
                      <a:pt x="1106" y="308"/>
                      <a:pt x="1106" y="307"/>
                      <a:pt x="1106" y="306"/>
                    </a:cubicBezTo>
                    <a:cubicBezTo>
                      <a:pt x="1107" y="307"/>
                      <a:pt x="1108" y="310"/>
                      <a:pt x="1109" y="311"/>
                    </a:cubicBezTo>
                    <a:cubicBezTo>
                      <a:pt x="1109" y="311"/>
                      <a:pt x="1109" y="311"/>
                      <a:pt x="1109" y="311"/>
                    </a:cubicBezTo>
                    <a:cubicBezTo>
                      <a:pt x="1109" y="311"/>
                      <a:pt x="1110" y="310"/>
                      <a:pt x="1110" y="310"/>
                    </a:cubicBezTo>
                    <a:cubicBezTo>
                      <a:pt x="1111" y="310"/>
                      <a:pt x="1111" y="309"/>
                      <a:pt x="1111" y="309"/>
                    </a:cubicBezTo>
                    <a:cubicBezTo>
                      <a:pt x="1111" y="309"/>
                      <a:pt x="1111" y="309"/>
                      <a:pt x="1111" y="309"/>
                    </a:cubicBezTo>
                    <a:cubicBezTo>
                      <a:pt x="1113" y="310"/>
                      <a:pt x="1114" y="311"/>
                      <a:pt x="1116" y="312"/>
                    </a:cubicBezTo>
                    <a:cubicBezTo>
                      <a:pt x="1118" y="314"/>
                      <a:pt x="1121" y="316"/>
                      <a:pt x="1123" y="318"/>
                    </a:cubicBezTo>
                    <a:cubicBezTo>
                      <a:pt x="1123" y="316"/>
                      <a:pt x="1122" y="315"/>
                      <a:pt x="1122" y="313"/>
                    </a:cubicBezTo>
                    <a:cubicBezTo>
                      <a:pt x="1122" y="313"/>
                      <a:pt x="1122" y="311"/>
                      <a:pt x="1122" y="311"/>
                    </a:cubicBezTo>
                    <a:cubicBezTo>
                      <a:pt x="1121" y="311"/>
                      <a:pt x="1121" y="311"/>
                      <a:pt x="1121" y="311"/>
                    </a:cubicBezTo>
                    <a:cubicBezTo>
                      <a:pt x="1121" y="311"/>
                      <a:pt x="1121" y="311"/>
                      <a:pt x="1121" y="311"/>
                    </a:cubicBezTo>
                    <a:cubicBezTo>
                      <a:pt x="1120" y="311"/>
                      <a:pt x="1120" y="311"/>
                      <a:pt x="1120" y="311"/>
                    </a:cubicBezTo>
                    <a:cubicBezTo>
                      <a:pt x="1120" y="311"/>
                      <a:pt x="1120" y="311"/>
                      <a:pt x="1119" y="311"/>
                    </a:cubicBezTo>
                    <a:cubicBezTo>
                      <a:pt x="1116" y="308"/>
                      <a:pt x="1115" y="306"/>
                      <a:pt x="1115" y="301"/>
                    </a:cubicBezTo>
                    <a:cubicBezTo>
                      <a:pt x="1115" y="306"/>
                      <a:pt x="1116" y="307"/>
                      <a:pt x="1122" y="309"/>
                    </a:cubicBezTo>
                    <a:cubicBezTo>
                      <a:pt x="1121" y="307"/>
                      <a:pt x="1119" y="306"/>
                      <a:pt x="1118" y="303"/>
                    </a:cubicBezTo>
                    <a:cubicBezTo>
                      <a:pt x="1118" y="302"/>
                      <a:pt x="1118" y="300"/>
                      <a:pt x="1119" y="299"/>
                    </a:cubicBezTo>
                    <a:cubicBezTo>
                      <a:pt x="1120" y="293"/>
                      <a:pt x="1120" y="294"/>
                      <a:pt x="1117" y="290"/>
                    </a:cubicBezTo>
                    <a:cubicBezTo>
                      <a:pt x="1118" y="291"/>
                      <a:pt x="1119" y="292"/>
                      <a:pt x="1120" y="292"/>
                    </a:cubicBezTo>
                    <a:cubicBezTo>
                      <a:pt x="1119" y="290"/>
                      <a:pt x="1117" y="287"/>
                      <a:pt x="1116" y="285"/>
                    </a:cubicBezTo>
                    <a:cubicBezTo>
                      <a:pt x="1116" y="285"/>
                      <a:pt x="1116" y="285"/>
                      <a:pt x="1116" y="285"/>
                    </a:cubicBezTo>
                    <a:cubicBezTo>
                      <a:pt x="1119" y="285"/>
                      <a:pt x="1120" y="283"/>
                      <a:pt x="1122" y="281"/>
                    </a:cubicBezTo>
                    <a:cubicBezTo>
                      <a:pt x="1122" y="281"/>
                      <a:pt x="1122" y="281"/>
                      <a:pt x="1123" y="281"/>
                    </a:cubicBezTo>
                    <a:cubicBezTo>
                      <a:pt x="1123" y="281"/>
                      <a:pt x="1123" y="281"/>
                      <a:pt x="1123" y="281"/>
                    </a:cubicBezTo>
                    <a:cubicBezTo>
                      <a:pt x="1123" y="281"/>
                      <a:pt x="1123" y="281"/>
                      <a:pt x="1123" y="281"/>
                    </a:cubicBezTo>
                    <a:cubicBezTo>
                      <a:pt x="1123" y="281"/>
                      <a:pt x="1124" y="281"/>
                      <a:pt x="1124" y="280"/>
                    </a:cubicBezTo>
                    <a:cubicBezTo>
                      <a:pt x="1125" y="280"/>
                      <a:pt x="1125" y="279"/>
                      <a:pt x="1125" y="279"/>
                    </a:cubicBezTo>
                    <a:cubicBezTo>
                      <a:pt x="1125" y="279"/>
                      <a:pt x="1125" y="280"/>
                      <a:pt x="1125" y="280"/>
                    </a:cubicBezTo>
                    <a:cubicBezTo>
                      <a:pt x="1127" y="279"/>
                      <a:pt x="1130" y="277"/>
                      <a:pt x="1132" y="276"/>
                    </a:cubicBezTo>
                    <a:cubicBezTo>
                      <a:pt x="1137" y="277"/>
                      <a:pt x="1132" y="277"/>
                      <a:pt x="1133" y="279"/>
                    </a:cubicBezTo>
                    <a:cubicBezTo>
                      <a:pt x="1133" y="279"/>
                      <a:pt x="1130" y="280"/>
                      <a:pt x="1130" y="281"/>
                    </a:cubicBezTo>
                    <a:cubicBezTo>
                      <a:pt x="1130" y="282"/>
                      <a:pt x="1133" y="281"/>
                      <a:pt x="1134" y="282"/>
                    </a:cubicBezTo>
                    <a:cubicBezTo>
                      <a:pt x="1131" y="282"/>
                      <a:pt x="1128" y="281"/>
                      <a:pt x="1126" y="284"/>
                    </a:cubicBezTo>
                    <a:cubicBezTo>
                      <a:pt x="1125" y="285"/>
                      <a:pt x="1125" y="287"/>
                      <a:pt x="1124" y="288"/>
                    </a:cubicBezTo>
                    <a:cubicBezTo>
                      <a:pt x="1126" y="288"/>
                      <a:pt x="1127" y="288"/>
                      <a:pt x="1129" y="288"/>
                    </a:cubicBezTo>
                    <a:cubicBezTo>
                      <a:pt x="1128" y="289"/>
                      <a:pt x="1127" y="290"/>
                      <a:pt x="1127" y="292"/>
                    </a:cubicBezTo>
                    <a:cubicBezTo>
                      <a:pt x="1127" y="292"/>
                      <a:pt x="1126" y="292"/>
                      <a:pt x="1126" y="292"/>
                    </a:cubicBezTo>
                    <a:cubicBezTo>
                      <a:pt x="1126" y="292"/>
                      <a:pt x="1125" y="292"/>
                      <a:pt x="1125" y="292"/>
                    </a:cubicBezTo>
                    <a:cubicBezTo>
                      <a:pt x="1124" y="292"/>
                      <a:pt x="1124" y="291"/>
                      <a:pt x="1123" y="291"/>
                    </a:cubicBezTo>
                    <a:cubicBezTo>
                      <a:pt x="1123" y="291"/>
                      <a:pt x="1123" y="291"/>
                      <a:pt x="1123" y="292"/>
                    </a:cubicBezTo>
                    <a:cubicBezTo>
                      <a:pt x="1123" y="293"/>
                      <a:pt x="1122" y="295"/>
                      <a:pt x="1122" y="296"/>
                    </a:cubicBezTo>
                    <a:cubicBezTo>
                      <a:pt x="1122" y="295"/>
                      <a:pt x="1123" y="294"/>
                      <a:pt x="1124" y="294"/>
                    </a:cubicBezTo>
                    <a:cubicBezTo>
                      <a:pt x="1124" y="294"/>
                      <a:pt x="1124" y="294"/>
                      <a:pt x="1124" y="294"/>
                    </a:cubicBezTo>
                    <a:cubicBezTo>
                      <a:pt x="1125" y="294"/>
                      <a:pt x="1128" y="297"/>
                      <a:pt x="1128" y="298"/>
                    </a:cubicBezTo>
                    <a:cubicBezTo>
                      <a:pt x="1128" y="298"/>
                      <a:pt x="1125" y="299"/>
                      <a:pt x="1125" y="299"/>
                    </a:cubicBezTo>
                    <a:cubicBezTo>
                      <a:pt x="1126" y="301"/>
                      <a:pt x="1128" y="302"/>
                      <a:pt x="1131" y="303"/>
                    </a:cubicBezTo>
                    <a:cubicBezTo>
                      <a:pt x="1130" y="303"/>
                      <a:pt x="1130" y="303"/>
                      <a:pt x="1130" y="303"/>
                    </a:cubicBezTo>
                    <a:cubicBezTo>
                      <a:pt x="1129" y="303"/>
                      <a:pt x="1128" y="303"/>
                      <a:pt x="1128" y="303"/>
                    </a:cubicBezTo>
                    <a:cubicBezTo>
                      <a:pt x="1127" y="303"/>
                      <a:pt x="1126" y="302"/>
                      <a:pt x="1126" y="302"/>
                    </a:cubicBezTo>
                    <a:cubicBezTo>
                      <a:pt x="1126" y="302"/>
                      <a:pt x="1125" y="303"/>
                      <a:pt x="1124" y="303"/>
                    </a:cubicBezTo>
                    <a:cubicBezTo>
                      <a:pt x="1123" y="304"/>
                      <a:pt x="1124" y="304"/>
                      <a:pt x="1125" y="304"/>
                    </a:cubicBezTo>
                    <a:cubicBezTo>
                      <a:pt x="1125" y="304"/>
                      <a:pt x="1126" y="304"/>
                      <a:pt x="1126" y="304"/>
                    </a:cubicBezTo>
                    <a:cubicBezTo>
                      <a:pt x="1126" y="305"/>
                      <a:pt x="1123" y="306"/>
                      <a:pt x="1123" y="307"/>
                    </a:cubicBezTo>
                    <a:cubicBezTo>
                      <a:pt x="1124" y="308"/>
                      <a:pt x="1125" y="309"/>
                      <a:pt x="1125" y="311"/>
                    </a:cubicBezTo>
                    <a:cubicBezTo>
                      <a:pt x="1125" y="310"/>
                      <a:pt x="1125" y="309"/>
                      <a:pt x="1125" y="309"/>
                    </a:cubicBezTo>
                    <a:cubicBezTo>
                      <a:pt x="1127" y="309"/>
                      <a:pt x="1128" y="312"/>
                      <a:pt x="1129" y="312"/>
                    </a:cubicBezTo>
                    <a:cubicBezTo>
                      <a:pt x="1130" y="312"/>
                      <a:pt x="1130" y="312"/>
                      <a:pt x="1130" y="310"/>
                    </a:cubicBezTo>
                    <a:cubicBezTo>
                      <a:pt x="1130" y="311"/>
                      <a:pt x="1131" y="312"/>
                      <a:pt x="1131" y="312"/>
                    </a:cubicBezTo>
                    <a:cubicBezTo>
                      <a:pt x="1132" y="311"/>
                      <a:pt x="1133" y="309"/>
                      <a:pt x="1134" y="309"/>
                    </a:cubicBezTo>
                    <a:cubicBezTo>
                      <a:pt x="1134" y="310"/>
                      <a:pt x="1135" y="311"/>
                      <a:pt x="1134" y="313"/>
                    </a:cubicBezTo>
                    <a:cubicBezTo>
                      <a:pt x="1134" y="314"/>
                      <a:pt x="1132" y="315"/>
                      <a:pt x="1132" y="316"/>
                    </a:cubicBezTo>
                    <a:cubicBezTo>
                      <a:pt x="1132" y="315"/>
                      <a:pt x="1132" y="315"/>
                      <a:pt x="1132" y="315"/>
                    </a:cubicBezTo>
                    <a:cubicBezTo>
                      <a:pt x="1133" y="315"/>
                      <a:pt x="1133" y="316"/>
                      <a:pt x="1134" y="316"/>
                    </a:cubicBezTo>
                    <a:cubicBezTo>
                      <a:pt x="1134" y="316"/>
                      <a:pt x="1135" y="316"/>
                      <a:pt x="1136" y="316"/>
                    </a:cubicBezTo>
                    <a:cubicBezTo>
                      <a:pt x="1136" y="316"/>
                      <a:pt x="1136" y="316"/>
                      <a:pt x="1136" y="316"/>
                    </a:cubicBezTo>
                    <a:cubicBezTo>
                      <a:pt x="1135" y="317"/>
                      <a:pt x="1132" y="320"/>
                      <a:pt x="1134" y="321"/>
                    </a:cubicBezTo>
                    <a:cubicBezTo>
                      <a:pt x="1133" y="321"/>
                      <a:pt x="1139" y="320"/>
                      <a:pt x="1139" y="320"/>
                    </a:cubicBezTo>
                    <a:cubicBezTo>
                      <a:pt x="1135" y="326"/>
                      <a:pt x="1132" y="331"/>
                      <a:pt x="1130" y="338"/>
                    </a:cubicBezTo>
                    <a:cubicBezTo>
                      <a:pt x="1130" y="339"/>
                      <a:pt x="1130" y="342"/>
                      <a:pt x="1132" y="342"/>
                    </a:cubicBezTo>
                    <a:cubicBezTo>
                      <a:pt x="1132" y="342"/>
                      <a:pt x="1132" y="341"/>
                      <a:pt x="1133" y="341"/>
                    </a:cubicBezTo>
                    <a:cubicBezTo>
                      <a:pt x="1134" y="341"/>
                      <a:pt x="1133" y="337"/>
                      <a:pt x="1134" y="336"/>
                    </a:cubicBezTo>
                    <a:cubicBezTo>
                      <a:pt x="1135" y="334"/>
                      <a:pt x="1138" y="333"/>
                      <a:pt x="1139" y="331"/>
                    </a:cubicBezTo>
                    <a:cubicBezTo>
                      <a:pt x="1140" y="331"/>
                      <a:pt x="1140" y="330"/>
                      <a:pt x="1140" y="329"/>
                    </a:cubicBezTo>
                    <a:cubicBezTo>
                      <a:pt x="1140" y="327"/>
                      <a:pt x="1141" y="325"/>
                      <a:pt x="1142" y="324"/>
                    </a:cubicBezTo>
                    <a:cubicBezTo>
                      <a:pt x="1143" y="321"/>
                      <a:pt x="1145" y="319"/>
                      <a:pt x="1146" y="316"/>
                    </a:cubicBezTo>
                    <a:cubicBezTo>
                      <a:pt x="1148" y="314"/>
                      <a:pt x="1150" y="308"/>
                      <a:pt x="1152" y="307"/>
                    </a:cubicBezTo>
                    <a:cubicBezTo>
                      <a:pt x="1152" y="308"/>
                      <a:pt x="1152" y="309"/>
                      <a:pt x="1152" y="310"/>
                    </a:cubicBezTo>
                    <a:cubicBezTo>
                      <a:pt x="1153" y="308"/>
                      <a:pt x="1153" y="305"/>
                      <a:pt x="1152" y="302"/>
                    </a:cubicBezTo>
                    <a:cubicBezTo>
                      <a:pt x="1152" y="303"/>
                      <a:pt x="1151" y="303"/>
                      <a:pt x="1150" y="303"/>
                    </a:cubicBezTo>
                    <a:cubicBezTo>
                      <a:pt x="1150" y="303"/>
                      <a:pt x="1150" y="303"/>
                      <a:pt x="1149" y="303"/>
                    </a:cubicBezTo>
                    <a:cubicBezTo>
                      <a:pt x="1150" y="303"/>
                      <a:pt x="1150" y="302"/>
                      <a:pt x="1150" y="302"/>
                    </a:cubicBezTo>
                    <a:cubicBezTo>
                      <a:pt x="1151" y="301"/>
                      <a:pt x="1151" y="299"/>
                      <a:pt x="1152" y="297"/>
                    </a:cubicBezTo>
                    <a:cubicBezTo>
                      <a:pt x="1146" y="295"/>
                      <a:pt x="1144" y="286"/>
                      <a:pt x="1141" y="281"/>
                    </a:cubicBezTo>
                    <a:cubicBezTo>
                      <a:pt x="1140" y="279"/>
                      <a:pt x="1139" y="278"/>
                      <a:pt x="1139" y="276"/>
                    </a:cubicBezTo>
                    <a:cubicBezTo>
                      <a:pt x="1141" y="270"/>
                      <a:pt x="1148" y="267"/>
                      <a:pt x="1152" y="265"/>
                    </a:cubicBezTo>
                    <a:cubicBezTo>
                      <a:pt x="1152" y="265"/>
                      <a:pt x="1152" y="265"/>
                      <a:pt x="1152" y="265"/>
                    </a:cubicBezTo>
                    <a:cubicBezTo>
                      <a:pt x="1152" y="265"/>
                      <a:pt x="1152" y="265"/>
                      <a:pt x="1153" y="264"/>
                    </a:cubicBezTo>
                    <a:cubicBezTo>
                      <a:pt x="1149" y="267"/>
                      <a:pt x="1144" y="269"/>
                      <a:pt x="1142" y="273"/>
                    </a:cubicBezTo>
                    <a:cubicBezTo>
                      <a:pt x="1139" y="279"/>
                      <a:pt x="1144" y="281"/>
                      <a:pt x="1149" y="285"/>
                    </a:cubicBezTo>
                    <a:cubicBezTo>
                      <a:pt x="1151" y="287"/>
                      <a:pt x="1156" y="286"/>
                      <a:pt x="1156" y="289"/>
                    </a:cubicBezTo>
                    <a:cubicBezTo>
                      <a:pt x="1156" y="290"/>
                      <a:pt x="1155" y="292"/>
                      <a:pt x="1155" y="294"/>
                    </a:cubicBezTo>
                    <a:cubicBezTo>
                      <a:pt x="1156" y="294"/>
                      <a:pt x="1161" y="290"/>
                      <a:pt x="1160" y="289"/>
                    </a:cubicBezTo>
                    <a:cubicBezTo>
                      <a:pt x="1161" y="288"/>
                      <a:pt x="1162" y="286"/>
                      <a:pt x="1163" y="285"/>
                    </a:cubicBezTo>
                    <a:cubicBezTo>
                      <a:pt x="1162" y="284"/>
                      <a:pt x="1162" y="284"/>
                      <a:pt x="1162" y="284"/>
                    </a:cubicBezTo>
                    <a:cubicBezTo>
                      <a:pt x="1163" y="284"/>
                      <a:pt x="1169" y="282"/>
                      <a:pt x="1166" y="281"/>
                    </a:cubicBezTo>
                    <a:cubicBezTo>
                      <a:pt x="1167" y="280"/>
                      <a:pt x="1169" y="279"/>
                      <a:pt x="1170" y="278"/>
                    </a:cubicBezTo>
                    <a:cubicBezTo>
                      <a:pt x="1170" y="278"/>
                      <a:pt x="1171" y="275"/>
                      <a:pt x="1172" y="275"/>
                    </a:cubicBezTo>
                    <a:cubicBezTo>
                      <a:pt x="1174" y="272"/>
                      <a:pt x="1172" y="273"/>
                      <a:pt x="1173" y="271"/>
                    </a:cubicBezTo>
                    <a:cubicBezTo>
                      <a:pt x="1173" y="270"/>
                      <a:pt x="1174" y="269"/>
                      <a:pt x="1174" y="269"/>
                    </a:cubicBezTo>
                    <a:cubicBezTo>
                      <a:pt x="1174" y="267"/>
                      <a:pt x="1174" y="265"/>
                      <a:pt x="1176" y="263"/>
                    </a:cubicBezTo>
                    <a:cubicBezTo>
                      <a:pt x="1176" y="266"/>
                      <a:pt x="1174" y="268"/>
                      <a:pt x="1175" y="271"/>
                    </a:cubicBezTo>
                    <a:cubicBezTo>
                      <a:pt x="1176" y="267"/>
                      <a:pt x="1176" y="263"/>
                      <a:pt x="1177" y="259"/>
                    </a:cubicBezTo>
                    <a:cubicBezTo>
                      <a:pt x="1177" y="257"/>
                      <a:pt x="1178" y="255"/>
                      <a:pt x="1177" y="254"/>
                    </a:cubicBezTo>
                    <a:cubicBezTo>
                      <a:pt x="1176" y="252"/>
                      <a:pt x="1171" y="253"/>
                      <a:pt x="1170" y="252"/>
                    </a:cubicBezTo>
                    <a:cubicBezTo>
                      <a:pt x="1170" y="251"/>
                      <a:pt x="1171" y="250"/>
                      <a:pt x="1172" y="249"/>
                    </a:cubicBezTo>
                    <a:cubicBezTo>
                      <a:pt x="1171" y="248"/>
                      <a:pt x="1170" y="247"/>
                      <a:pt x="1170" y="245"/>
                    </a:cubicBezTo>
                    <a:cubicBezTo>
                      <a:pt x="1170" y="242"/>
                      <a:pt x="1173" y="239"/>
                      <a:pt x="1177" y="239"/>
                    </a:cubicBezTo>
                    <a:cubicBezTo>
                      <a:pt x="1177" y="239"/>
                      <a:pt x="1177" y="239"/>
                      <a:pt x="1177" y="239"/>
                    </a:cubicBezTo>
                    <a:cubicBezTo>
                      <a:pt x="1177" y="239"/>
                      <a:pt x="1177" y="239"/>
                      <a:pt x="1177" y="239"/>
                    </a:cubicBezTo>
                    <a:cubicBezTo>
                      <a:pt x="1178" y="239"/>
                      <a:pt x="1178" y="239"/>
                      <a:pt x="1178" y="239"/>
                    </a:cubicBezTo>
                    <a:cubicBezTo>
                      <a:pt x="1178" y="239"/>
                      <a:pt x="1178" y="239"/>
                      <a:pt x="1178" y="239"/>
                    </a:cubicBezTo>
                    <a:cubicBezTo>
                      <a:pt x="1179" y="240"/>
                      <a:pt x="1180" y="240"/>
                      <a:pt x="1181" y="241"/>
                    </a:cubicBezTo>
                    <a:cubicBezTo>
                      <a:pt x="1183" y="240"/>
                      <a:pt x="1184" y="237"/>
                      <a:pt x="1187" y="236"/>
                    </a:cubicBezTo>
                    <a:cubicBezTo>
                      <a:pt x="1192" y="234"/>
                      <a:pt x="1197" y="231"/>
                      <a:pt x="1202" y="229"/>
                    </a:cubicBezTo>
                    <a:cubicBezTo>
                      <a:pt x="1203" y="229"/>
                      <a:pt x="1203" y="229"/>
                      <a:pt x="1204" y="229"/>
                    </a:cubicBezTo>
                    <a:cubicBezTo>
                      <a:pt x="1206" y="229"/>
                      <a:pt x="1208" y="229"/>
                      <a:pt x="1210" y="229"/>
                    </a:cubicBezTo>
                    <a:cubicBezTo>
                      <a:pt x="1212" y="228"/>
                      <a:pt x="1214" y="228"/>
                      <a:pt x="1215" y="228"/>
                    </a:cubicBezTo>
                    <a:cubicBezTo>
                      <a:pt x="1215" y="228"/>
                      <a:pt x="1216" y="228"/>
                      <a:pt x="1216" y="228"/>
                    </a:cubicBezTo>
                    <a:cubicBezTo>
                      <a:pt x="1219" y="228"/>
                      <a:pt x="1222" y="228"/>
                      <a:pt x="1225" y="228"/>
                    </a:cubicBezTo>
                    <a:cubicBezTo>
                      <a:pt x="1228" y="228"/>
                      <a:pt x="1231" y="228"/>
                      <a:pt x="1235" y="227"/>
                    </a:cubicBezTo>
                    <a:cubicBezTo>
                      <a:pt x="1237" y="226"/>
                      <a:pt x="1237" y="217"/>
                      <a:pt x="1237" y="215"/>
                    </a:cubicBezTo>
                    <a:cubicBezTo>
                      <a:pt x="1238" y="217"/>
                      <a:pt x="1239" y="217"/>
                      <a:pt x="1240" y="217"/>
                    </a:cubicBezTo>
                    <a:cubicBezTo>
                      <a:pt x="1241" y="217"/>
                      <a:pt x="1242" y="216"/>
                      <a:pt x="1244" y="216"/>
                    </a:cubicBezTo>
                    <a:cubicBezTo>
                      <a:pt x="1242" y="219"/>
                      <a:pt x="1242" y="219"/>
                      <a:pt x="1243" y="223"/>
                    </a:cubicBezTo>
                    <a:cubicBezTo>
                      <a:pt x="1246" y="221"/>
                      <a:pt x="1250" y="217"/>
                      <a:pt x="1253" y="217"/>
                    </a:cubicBezTo>
                    <a:cubicBezTo>
                      <a:pt x="1254" y="217"/>
                      <a:pt x="1254" y="217"/>
                      <a:pt x="1254" y="217"/>
                    </a:cubicBezTo>
                    <a:cubicBezTo>
                      <a:pt x="1255" y="217"/>
                      <a:pt x="1255" y="217"/>
                      <a:pt x="1254" y="218"/>
                    </a:cubicBezTo>
                    <a:cubicBezTo>
                      <a:pt x="1256" y="218"/>
                      <a:pt x="1261" y="219"/>
                      <a:pt x="1265" y="219"/>
                    </a:cubicBezTo>
                    <a:cubicBezTo>
                      <a:pt x="1268" y="219"/>
                      <a:pt x="1270" y="219"/>
                      <a:pt x="1271" y="217"/>
                    </a:cubicBezTo>
                    <a:cubicBezTo>
                      <a:pt x="1272" y="217"/>
                      <a:pt x="1271" y="214"/>
                      <a:pt x="1271" y="213"/>
                    </a:cubicBezTo>
                    <a:cubicBezTo>
                      <a:pt x="1270" y="211"/>
                      <a:pt x="1269" y="208"/>
                      <a:pt x="1267" y="208"/>
                    </a:cubicBezTo>
                    <a:cubicBezTo>
                      <a:pt x="1267" y="208"/>
                      <a:pt x="1265" y="207"/>
                      <a:pt x="1264" y="207"/>
                    </a:cubicBezTo>
                    <a:cubicBezTo>
                      <a:pt x="1264" y="207"/>
                      <a:pt x="1264" y="207"/>
                      <a:pt x="1264" y="208"/>
                    </a:cubicBezTo>
                    <a:cubicBezTo>
                      <a:pt x="1264" y="208"/>
                      <a:pt x="1264" y="208"/>
                      <a:pt x="1265" y="208"/>
                    </a:cubicBezTo>
                    <a:cubicBezTo>
                      <a:pt x="1265" y="208"/>
                      <a:pt x="1265" y="208"/>
                      <a:pt x="1265" y="208"/>
                    </a:cubicBezTo>
                    <a:cubicBezTo>
                      <a:pt x="1266" y="208"/>
                      <a:pt x="1266" y="208"/>
                      <a:pt x="1266" y="208"/>
                    </a:cubicBezTo>
                    <a:cubicBezTo>
                      <a:pt x="1266" y="208"/>
                      <a:pt x="1266" y="208"/>
                      <a:pt x="1266" y="208"/>
                    </a:cubicBezTo>
                    <a:cubicBezTo>
                      <a:pt x="1267" y="209"/>
                      <a:pt x="1267" y="210"/>
                      <a:pt x="1268" y="211"/>
                    </a:cubicBezTo>
                    <a:cubicBezTo>
                      <a:pt x="1270" y="215"/>
                      <a:pt x="1270" y="216"/>
                      <a:pt x="1265" y="217"/>
                    </a:cubicBezTo>
                    <a:cubicBezTo>
                      <a:pt x="1264" y="217"/>
                      <a:pt x="1263" y="217"/>
                      <a:pt x="1262" y="217"/>
                    </a:cubicBezTo>
                    <a:cubicBezTo>
                      <a:pt x="1261" y="217"/>
                      <a:pt x="1260" y="217"/>
                      <a:pt x="1259" y="216"/>
                    </a:cubicBezTo>
                    <a:cubicBezTo>
                      <a:pt x="1257" y="215"/>
                      <a:pt x="1257" y="211"/>
                      <a:pt x="1256" y="209"/>
                    </a:cubicBezTo>
                    <a:cubicBezTo>
                      <a:pt x="1255" y="207"/>
                      <a:pt x="1254" y="204"/>
                      <a:pt x="1252" y="203"/>
                    </a:cubicBezTo>
                    <a:cubicBezTo>
                      <a:pt x="1251" y="202"/>
                      <a:pt x="1251" y="202"/>
                      <a:pt x="1250" y="202"/>
                    </a:cubicBezTo>
                    <a:cubicBezTo>
                      <a:pt x="1250" y="202"/>
                      <a:pt x="1249" y="202"/>
                      <a:pt x="1249" y="202"/>
                    </a:cubicBezTo>
                    <a:cubicBezTo>
                      <a:pt x="1249" y="202"/>
                      <a:pt x="1249" y="202"/>
                      <a:pt x="1248" y="202"/>
                    </a:cubicBezTo>
                    <a:cubicBezTo>
                      <a:pt x="1248" y="202"/>
                      <a:pt x="1247" y="202"/>
                      <a:pt x="1245" y="199"/>
                    </a:cubicBezTo>
                    <a:cubicBezTo>
                      <a:pt x="1247" y="199"/>
                      <a:pt x="1249" y="195"/>
                      <a:pt x="1251" y="194"/>
                    </a:cubicBezTo>
                    <a:cubicBezTo>
                      <a:pt x="1252" y="193"/>
                      <a:pt x="1258" y="192"/>
                      <a:pt x="1255" y="190"/>
                    </a:cubicBezTo>
                    <a:cubicBezTo>
                      <a:pt x="1255" y="191"/>
                      <a:pt x="1254" y="192"/>
                      <a:pt x="1254" y="192"/>
                    </a:cubicBezTo>
                    <a:cubicBezTo>
                      <a:pt x="1253" y="192"/>
                      <a:pt x="1253" y="191"/>
                      <a:pt x="1252" y="190"/>
                    </a:cubicBezTo>
                    <a:cubicBezTo>
                      <a:pt x="1250" y="187"/>
                      <a:pt x="1251" y="181"/>
                      <a:pt x="1254" y="178"/>
                    </a:cubicBezTo>
                    <a:cubicBezTo>
                      <a:pt x="1257" y="174"/>
                      <a:pt x="1264" y="169"/>
                      <a:pt x="1265" y="164"/>
                    </a:cubicBezTo>
                    <a:cubicBezTo>
                      <a:pt x="1266" y="159"/>
                      <a:pt x="1266" y="159"/>
                      <a:pt x="1270" y="157"/>
                    </a:cubicBezTo>
                    <a:cubicBezTo>
                      <a:pt x="1269" y="158"/>
                      <a:pt x="1269" y="158"/>
                      <a:pt x="1269" y="158"/>
                    </a:cubicBezTo>
                    <a:cubicBezTo>
                      <a:pt x="1271" y="157"/>
                      <a:pt x="1271" y="157"/>
                      <a:pt x="1272" y="157"/>
                    </a:cubicBezTo>
                    <a:cubicBezTo>
                      <a:pt x="1273" y="157"/>
                      <a:pt x="1273" y="158"/>
                      <a:pt x="1275" y="160"/>
                    </a:cubicBezTo>
                    <a:cubicBezTo>
                      <a:pt x="1274" y="158"/>
                      <a:pt x="1273" y="153"/>
                      <a:pt x="1275" y="151"/>
                    </a:cubicBezTo>
                    <a:cubicBezTo>
                      <a:pt x="1275" y="151"/>
                      <a:pt x="1275" y="151"/>
                      <a:pt x="1275" y="151"/>
                    </a:cubicBezTo>
                    <a:cubicBezTo>
                      <a:pt x="1275" y="152"/>
                      <a:pt x="1275" y="152"/>
                      <a:pt x="1275" y="153"/>
                    </a:cubicBezTo>
                    <a:cubicBezTo>
                      <a:pt x="1274" y="153"/>
                      <a:pt x="1274" y="153"/>
                      <a:pt x="1274" y="153"/>
                    </a:cubicBezTo>
                    <a:cubicBezTo>
                      <a:pt x="1274" y="156"/>
                      <a:pt x="1275" y="158"/>
                      <a:pt x="1276" y="159"/>
                    </a:cubicBezTo>
                    <a:cubicBezTo>
                      <a:pt x="1277" y="157"/>
                      <a:pt x="1277" y="155"/>
                      <a:pt x="1278" y="153"/>
                    </a:cubicBezTo>
                    <a:cubicBezTo>
                      <a:pt x="1278" y="153"/>
                      <a:pt x="1278" y="153"/>
                      <a:pt x="1278" y="153"/>
                    </a:cubicBezTo>
                    <a:cubicBezTo>
                      <a:pt x="1278" y="153"/>
                      <a:pt x="1278" y="153"/>
                      <a:pt x="1278" y="153"/>
                    </a:cubicBezTo>
                    <a:cubicBezTo>
                      <a:pt x="1278" y="153"/>
                      <a:pt x="1278" y="152"/>
                      <a:pt x="1278" y="152"/>
                    </a:cubicBezTo>
                    <a:cubicBezTo>
                      <a:pt x="1278" y="153"/>
                      <a:pt x="1278" y="153"/>
                      <a:pt x="1278" y="153"/>
                    </a:cubicBezTo>
                    <a:cubicBezTo>
                      <a:pt x="1277" y="154"/>
                      <a:pt x="1278" y="157"/>
                      <a:pt x="1279" y="158"/>
                    </a:cubicBezTo>
                    <a:cubicBezTo>
                      <a:pt x="1280" y="157"/>
                      <a:pt x="1280" y="156"/>
                      <a:pt x="1280" y="155"/>
                    </a:cubicBezTo>
                    <a:cubicBezTo>
                      <a:pt x="1280" y="154"/>
                      <a:pt x="1280" y="154"/>
                      <a:pt x="1280" y="154"/>
                    </a:cubicBezTo>
                    <a:cubicBezTo>
                      <a:pt x="1280" y="153"/>
                      <a:pt x="1280" y="153"/>
                      <a:pt x="1280" y="153"/>
                    </a:cubicBezTo>
                    <a:cubicBezTo>
                      <a:pt x="1281" y="153"/>
                      <a:pt x="1281" y="153"/>
                      <a:pt x="1281"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4"/>
                      <a:pt x="1280" y="154"/>
                      <a:pt x="1280" y="155"/>
                    </a:cubicBezTo>
                    <a:cubicBezTo>
                      <a:pt x="1280" y="155"/>
                      <a:pt x="1280" y="155"/>
                      <a:pt x="1280" y="155"/>
                    </a:cubicBezTo>
                    <a:cubicBezTo>
                      <a:pt x="1282" y="155"/>
                      <a:pt x="1283" y="153"/>
                      <a:pt x="1285" y="151"/>
                    </a:cubicBezTo>
                    <a:cubicBezTo>
                      <a:pt x="1284" y="152"/>
                      <a:pt x="1285" y="152"/>
                      <a:pt x="1285" y="153"/>
                    </a:cubicBezTo>
                    <a:cubicBezTo>
                      <a:pt x="1287" y="153"/>
                      <a:pt x="1291" y="153"/>
                      <a:pt x="1291" y="150"/>
                    </a:cubicBezTo>
                    <a:cubicBezTo>
                      <a:pt x="1289" y="150"/>
                      <a:pt x="1294" y="143"/>
                      <a:pt x="1295" y="142"/>
                    </a:cubicBezTo>
                    <a:cubicBezTo>
                      <a:pt x="1295" y="141"/>
                      <a:pt x="1298" y="137"/>
                      <a:pt x="1298" y="137"/>
                    </a:cubicBezTo>
                    <a:cubicBezTo>
                      <a:pt x="1299" y="137"/>
                      <a:pt x="1299" y="137"/>
                      <a:pt x="1299" y="138"/>
                    </a:cubicBezTo>
                    <a:cubicBezTo>
                      <a:pt x="1299" y="139"/>
                      <a:pt x="1298" y="140"/>
                      <a:pt x="1297" y="141"/>
                    </a:cubicBezTo>
                    <a:cubicBezTo>
                      <a:pt x="1298" y="141"/>
                      <a:pt x="1299" y="141"/>
                      <a:pt x="1299" y="140"/>
                    </a:cubicBezTo>
                    <a:cubicBezTo>
                      <a:pt x="1299" y="141"/>
                      <a:pt x="1297" y="142"/>
                      <a:pt x="1297" y="144"/>
                    </a:cubicBezTo>
                    <a:cubicBezTo>
                      <a:pt x="1297" y="144"/>
                      <a:pt x="1298" y="143"/>
                      <a:pt x="1298" y="143"/>
                    </a:cubicBezTo>
                    <a:cubicBezTo>
                      <a:pt x="1300" y="143"/>
                      <a:pt x="1303" y="145"/>
                      <a:pt x="1304" y="146"/>
                    </a:cubicBezTo>
                    <a:cubicBezTo>
                      <a:pt x="1303" y="143"/>
                      <a:pt x="1304" y="141"/>
                      <a:pt x="1306" y="139"/>
                    </a:cubicBezTo>
                    <a:cubicBezTo>
                      <a:pt x="1307" y="139"/>
                      <a:pt x="1308" y="138"/>
                      <a:pt x="1310" y="138"/>
                    </a:cubicBezTo>
                    <a:cubicBezTo>
                      <a:pt x="1311" y="138"/>
                      <a:pt x="1312" y="138"/>
                      <a:pt x="1312" y="139"/>
                    </a:cubicBezTo>
                    <a:cubicBezTo>
                      <a:pt x="1312" y="139"/>
                      <a:pt x="1312" y="139"/>
                      <a:pt x="1312" y="139"/>
                    </a:cubicBezTo>
                    <a:cubicBezTo>
                      <a:pt x="1314" y="139"/>
                      <a:pt x="1313" y="141"/>
                      <a:pt x="1315" y="143"/>
                    </a:cubicBezTo>
                    <a:cubicBezTo>
                      <a:pt x="1316" y="142"/>
                      <a:pt x="1316" y="140"/>
                      <a:pt x="1317" y="139"/>
                    </a:cubicBezTo>
                    <a:cubicBezTo>
                      <a:pt x="1317" y="140"/>
                      <a:pt x="1318" y="141"/>
                      <a:pt x="1318" y="141"/>
                    </a:cubicBezTo>
                    <a:cubicBezTo>
                      <a:pt x="1319" y="139"/>
                      <a:pt x="1320" y="137"/>
                      <a:pt x="1321" y="136"/>
                    </a:cubicBezTo>
                    <a:cubicBezTo>
                      <a:pt x="1321" y="136"/>
                      <a:pt x="1322" y="136"/>
                      <a:pt x="1322" y="136"/>
                    </a:cubicBezTo>
                    <a:cubicBezTo>
                      <a:pt x="1323" y="136"/>
                      <a:pt x="1325" y="135"/>
                      <a:pt x="1326" y="135"/>
                    </a:cubicBezTo>
                    <a:cubicBezTo>
                      <a:pt x="1328" y="134"/>
                      <a:pt x="1329" y="133"/>
                      <a:pt x="1330" y="133"/>
                    </a:cubicBezTo>
                    <a:cubicBezTo>
                      <a:pt x="1330" y="133"/>
                      <a:pt x="1331" y="133"/>
                      <a:pt x="1331" y="133"/>
                    </a:cubicBezTo>
                    <a:cubicBezTo>
                      <a:pt x="1332" y="133"/>
                      <a:pt x="1332" y="135"/>
                      <a:pt x="1333" y="135"/>
                    </a:cubicBezTo>
                    <a:cubicBezTo>
                      <a:pt x="1333" y="135"/>
                      <a:pt x="1334" y="135"/>
                      <a:pt x="1334" y="134"/>
                    </a:cubicBezTo>
                    <a:cubicBezTo>
                      <a:pt x="1335" y="133"/>
                      <a:pt x="1337" y="132"/>
                      <a:pt x="1339" y="130"/>
                    </a:cubicBezTo>
                    <a:cubicBezTo>
                      <a:pt x="1340" y="129"/>
                      <a:pt x="1340" y="129"/>
                      <a:pt x="1339" y="128"/>
                    </a:cubicBezTo>
                    <a:cubicBezTo>
                      <a:pt x="1338" y="128"/>
                      <a:pt x="1338" y="129"/>
                      <a:pt x="1338" y="129"/>
                    </a:cubicBezTo>
                    <a:cubicBezTo>
                      <a:pt x="1338" y="129"/>
                      <a:pt x="1337" y="128"/>
                      <a:pt x="1337" y="128"/>
                    </a:cubicBezTo>
                    <a:cubicBezTo>
                      <a:pt x="1337" y="128"/>
                      <a:pt x="1337" y="128"/>
                      <a:pt x="1336" y="128"/>
                    </a:cubicBezTo>
                    <a:cubicBezTo>
                      <a:pt x="1335" y="128"/>
                      <a:pt x="1334" y="127"/>
                      <a:pt x="1336" y="126"/>
                    </a:cubicBezTo>
                    <a:cubicBezTo>
                      <a:pt x="1337" y="126"/>
                      <a:pt x="1338" y="126"/>
                      <a:pt x="1338" y="125"/>
                    </a:cubicBezTo>
                    <a:cubicBezTo>
                      <a:pt x="1338" y="124"/>
                      <a:pt x="1338" y="124"/>
                      <a:pt x="1338" y="124"/>
                    </a:cubicBezTo>
                    <a:cubicBezTo>
                      <a:pt x="1337" y="124"/>
                      <a:pt x="1337" y="124"/>
                      <a:pt x="1337" y="124"/>
                    </a:cubicBezTo>
                    <a:cubicBezTo>
                      <a:pt x="1337" y="124"/>
                      <a:pt x="1337" y="124"/>
                      <a:pt x="1337" y="124"/>
                    </a:cubicBezTo>
                    <a:cubicBezTo>
                      <a:pt x="1335" y="123"/>
                      <a:pt x="1335" y="123"/>
                      <a:pt x="1335" y="123"/>
                    </a:cubicBezTo>
                    <a:cubicBezTo>
                      <a:pt x="1334" y="123"/>
                      <a:pt x="1333" y="123"/>
                      <a:pt x="1333" y="123"/>
                    </a:cubicBezTo>
                    <a:cubicBezTo>
                      <a:pt x="1332" y="123"/>
                      <a:pt x="1331" y="123"/>
                      <a:pt x="1330" y="123"/>
                    </a:cubicBezTo>
                    <a:cubicBezTo>
                      <a:pt x="1327" y="121"/>
                      <a:pt x="1328" y="116"/>
                      <a:pt x="1328" y="115"/>
                    </a:cubicBezTo>
                    <a:cubicBezTo>
                      <a:pt x="1328" y="115"/>
                      <a:pt x="1328" y="114"/>
                      <a:pt x="1328" y="114"/>
                    </a:cubicBezTo>
                    <a:cubicBezTo>
                      <a:pt x="1328" y="112"/>
                      <a:pt x="1328" y="111"/>
                      <a:pt x="1328" y="110"/>
                    </a:cubicBezTo>
                    <a:cubicBezTo>
                      <a:pt x="1324" y="110"/>
                      <a:pt x="1322" y="109"/>
                      <a:pt x="1320" y="106"/>
                    </a:cubicBezTo>
                    <a:cubicBezTo>
                      <a:pt x="1318" y="104"/>
                      <a:pt x="1319" y="101"/>
                      <a:pt x="1319" y="99"/>
                    </a:cubicBezTo>
                    <a:cubicBezTo>
                      <a:pt x="1319" y="97"/>
                      <a:pt x="1319" y="81"/>
                      <a:pt x="1319" y="73"/>
                    </a:cubicBezTo>
                    <a:cubicBezTo>
                      <a:pt x="1319" y="69"/>
                      <a:pt x="1319" y="65"/>
                      <a:pt x="1318" y="65"/>
                    </a:cubicBezTo>
                    <a:cubicBezTo>
                      <a:pt x="1318" y="65"/>
                      <a:pt x="1318" y="65"/>
                      <a:pt x="1318" y="65"/>
                    </a:cubicBezTo>
                    <a:cubicBezTo>
                      <a:pt x="1317" y="64"/>
                      <a:pt x="1316" y="64"/>
                      <a:pt x="1315" y="63"/>
                    </a:cubicBezTo>
                    <a:cubicBezTo>
                      <a:pt x="1314" y="62"/>
                      <a:pt x="1312" y="61"/>
                      <a:pt x="1311" y="60"/>
                    </a:cubicBezTo>
                    <a:cubicBezTo>
                      <a:pt x="1311" y="59"/>
                      <a:pt x="1311" y="59"/>
                      <a:pt x="1311" y="59"/>
                    </a:cubicBezTo>
                    <a:cubicBezTo>
                      <a:pt x="1310" y="59"/>
                      <a:pt x="1308" y="60"/>
                      <a:pt x="1302" y="62"/>
                    </a:cubicBezTo>
                    <a:cubicBezTo>
                      <a:pt x="1302" y="63"/>
                      <a:pt x="1301" y="63"/>
                      <a:pt x="1301" y="63"/>
                    </a:cubicBezTo>
                    <a:cubicBezTo>
                      <a:pt x="1300" y="63"/>
                      <a:pt x="1300" y="63"/>
                      <a:pt x="1300" y="63"/>
                    </a:cubicBezTo>
                    <a:cubicBezTo>
                      <a:pt x="1299" y="64"/>
                      <a:pt x="1298" y="64"/>
                      <a:pt x="1297" y="64"/>
                    </a:cubicBezTo>
                    <a:cubicBezTo>
                      <a:pt x="1294" y="64"/>
                      <a:pt x="1292" y="61"/>
                      <a:pt x="1291" y="60"/>
                    </a:cubicBezTo>
                    <a:cubicBezTo>
                      <a:pt x="1290" y="59"/>
                      <a:pt x="1290" y="59"/>
                      <a:pt x="1290" y="59"/>
                    </a:cubicBezTo>
                    <a:cubicBezTo>
                      <a:pt x="1290" y="58"/>
                      <a:pt x="1290" y="58"/>
                      <a:pt x="1290" y="58"/>
                    </a:cubicBezTo>
                    <a:cubicBezTo>
                      <a:pt x="1290" y="57"/>
                      <a:pt x="1290" y="57"/>
                      <a:pt x="1290" y="56"/>
                    </a:cubicBezTo>
                    <a:cubicBezTo>
                      <a:pt x="1290" y="56"/>
                      <a:pt x="1289" y="57"/>
                      <a:pt x="1289" y="58"/>
                    </a:cubicBezTo>
                    <a:cubicBezTo>
                      <a:pt x="1289" y="58"/>
                      <a:pt x="1287" y="61"/>
                      <a:pt x="1281" y="71"/>
                    </a:cubicBezTo>
                    <a:cubicBezTo>
                      <a:pt x="1274" y="83"/>
                      <a:pt x="1274" y="83"/>
                      <a:pt x="1274" y="83"/>
                    </a:cubicBezTo>
                    <a:cubicBezTo>
                      <a:pt x="1272" y="86"/>
                      <a:pt x="1268" y="93"/>
                      <a:pt x="1267" y="95"/>
                    </a:cubicBezTo>
                    <a:cubicBezTo>
                      <a:pt x="1269" y="97"/>
                      <a:pt x="1269" y="100"/>
                      <a:pt x="1266" y="102"/>
                    </a:cubicBezTo>
                    <a:cubicBezTo>
                      <a:pt x="1265" y="104"/>
                      <a:pt x="1261" y="110"/>
                      <a:pt x="1258" y="114"/>
                    </a:cubicBezTo>
                    <a:cubicBezTo>
                      <a:pt x="1256" y="118"/>
                      <a:pt x="1254" y="120"/>
                      <a:pt x="1250" y="120"/>
                    </a:cubicBezTo>
                    <a:cubicBezTo>
                      <a:pt x="1248" y="120"/>
                      <a:pt x="1247" y="120"/>
                      <a:pt x="1245" y="119"/>
                    </a:cubicBezTo>
                    <a:cubicBezTo>
                      <a:pt x="1244" y="119"/>
                      <a:pt x="1243" y="119"/>
                      <a:pt x="1243" y="119"/>
                    </a:cubicBezTo>
                    <a:cubicBezTo>
                      <a:pt x="1242" y="119"/>
                      <a:pt x="1242" y="119"/>
                      <a:pt x="1241" y="119"/>
                    </a:cubicBezTo>
                    <a:cubicBezTo>
                      <a:pt x="1241" y="120"/>
                      <a:pt x="1239" y="121"/>
                      <a:pt x="1238" y="125"/>
                    </a:cubicBezTo>
                    <a:cubicBezTo>
                      <a:pt x="1237" y="127"/>
                      <a:pt x="1237" y="127"/>
                      <a:pt x="1237" y="127"/>
                    </a:cubicBezTo>
                    <a:cubicBezTo>
                      <a:pt x="1235" y="127"/>
                      <a:pt x="1235" y="127"/>
                      <a:pt x="1235" y="127"/>
                    </a:cubicBezTo>
                    <a:cubicBezTo>
                      <a:pt x="1235" y="127"/>
                      <a:pt x="1177" y="128"/>
                      <a:pt x="1165" y="128"/>
                    </a:cubicBezTo>
                    <a:cubicBezTo>
                      <a:pt x="1154" y="128"/>
                      <a:pt x="1150" y="131"/>
                      <a:pt x="1149" y="132"/>
                    </a:cubicBezTo>
                    <a:cubicBezTo>
                      <a:pt x="1148" y="133"/>
                      <a:pt x="1147" y="134"/>
                      <a:pt x="1145" y="135"/>
                    </a:cubicBezTo>
                    <a:cubicBezTo>
                      <a:pt x="1144" y="136"/>
                      <a:pt x="1144" y="136"/>
                      <a:pt x="1144" y="136"/>
                    </a:cubicBezTo>
                    <a:cubicBezTo>
                      <a:pt x="1142" y="138"/>
                      <a:pt x="1140" y="140"/>
                      <a:pt x="1139" y="141"/>
                    </a:cubicBezTo>
                    <a:cubicBezTo>
                      <a:pt x="1137" y="142"/>
                      <a:pt x="1135" y="144"/>
                      <a:pt x="1132" y="146"/>
                    </a:cubicBezTo>
                    <a:cubicBezTo>
                      <a:pt x="1131" y="146"/>
                      <a:pt x="1131" y="146"/>
                      <a:pt x="1131" y="146"/>
                    </a:cubicBezTo>
                    <a:cubicBezTo>
                      <a:pt x="1130" y="144"/>
                      <a:pt x="1130" y="144"/>
                      <a:pt x="1130" y="144"/>
                    </a:cubicBezTo>
                    <a:cubicBezTo>
                      <a:pt x="1128" y="145"/>
                      <a:pt x="1128" y="145"/>
                      <a:pt x="1128" y="145"/>
                    </a:cubicBezTo>
                    <a:cubicBezTo>
                      <a:pt x="1127" y="146"/>
                      <a:pt x="1127" y="146"/>
                      <a:pt x="1127" y="146"/>
                    </a:cubicBezTo>
                    <a:cubicBezTo>
                      <a:pt x="1125" y="147"/>
                      <a:pt x="1124" y="148"/>
                      <a:pt x="1123" y="149"/>
                    </a:cubicBezTo>
                    <a:cubicBezTo>
                      <a:pt x="1123" y="149"/>
                      <a:pt x="1122" y="150"/>
                      <a:pt x="1122" y="151"/>
                    </a:cubicBezTo>
                    <a:cubicBezTo>
                      <a:pt x="1122" y="151"/>
                      <a:pt x="1122" y="151"/>
                      <a:pt x="1122" y="151"/>
                    </a:cubicBezTo>
                    <a:cubicBezTo>
                      <a:pt x="1122" y="151"/>
                      <a:pt x="1123" y="152"/>
                      <a:pt x="1123" y="153"/>
                    </a:cubicBezTo>
                    <a:cubicBezTo>
                      <a:pt x="1124" y="152"/>
                      <a:pt x="1125" y="151"/>
                      <a:pt x="1125" y="151"/>
                    </a:cubicBezTo>
                    <a:cubicBezTo>
                      <a:pt x="1126" y="151"/>
                      <a:pt x="1126" y="151"/>
                      <a:pt x="1126" y="151"/>
                    </a:cubicBezTo>
                    <a:cubicBezTo>
                      <a:pt x="1126" y="152"/>
                      <a:pt x="1126" y="153"/>
                      <a:pt x="1125" y="154"/>
                    </a:cubicBezTo>
                    <a:cubicBezTo>
                      <a:pt x="1125" y="154"/>
                      <a:pt x="1126" y="154"/>
                      <a:pt x="1126" y="154"/>
                    </a:cubicBezTo>
                    <a:cubicBezTo>
                      <a:pt x="1126" y="154"/>
                      <a:pt x="1127" y="154"/>
                      <a:pt x="1127" y="154"/>
                    </a:cubicBezTo>
                    <a:cubicBezTo>
                      <a:pt x="1126" y="156"/>
                      <a:pt x="1125" y="156"/>
                      <a:pt x="1123" y="158"/>
                    </a:cubicBezTo>
                    <a:cubicBezTo>
                      <a:pt x="1126" y="159"/>
                      <a:pt x="1127" y="166"/>
                      <a:pt x="1124" y="167"/>
                    </a:cubicBezTo>
                    <a:cubicBezTo>
                      <a:pt x="1124" y="167"/>
                      <a:pt x="1123" y="167"/>
                      <a:pt x="1123" y="167"/>
                    </a:cubicBezTo>
                    <a:cubicBezTo>
                      <a:pt x="1123" y="167"/>
                      <a:pt x="1123" y="167"/>
                      <a:pt x="1122" y="167"/>
                    </a:cubicBezTo>
                    <a:cubicBezTo>
                      <a:pt x="1122" y="167"/>
                      <a:pt x="1122" y="167"/>
                      <a:pt x="1122" y="167"/>
                    </a:cubicBezTo>
                    <a:cubicBezTo>
                      <a:pt x="1122" y="167"/>
                      <a:pt x="1122" y="167"/>
                      <a:pt x="1122" y="167"/>
                    </a:cubicBezTo>
                    <a:cubicBezTo>
                      <a:pt x="1120" y="167"/>
                      <a:pt x="1118" y="169"/>
                      <a:pt x="1116" y="170"/>
                    </a:cubicBezTo>
                    <a:cubicBezTo>
                      <a:pt x="1114" y="172"/>
                      <a:pt x="1112" y="173"/>
                      <a:pt x="1109" y="174"/>
                    </a:cubicBezTo>
                    <a:cubicBezTo>
                      <a:pt x="1109" y="174"/>
                      <a:pt x="1108" y="174"/>
                      <a:pt x="1108" y="174"/>
                    </a:cubicBezTo>
                    <a:cubicBezTo>
                      <a:pt x="1108" y="174"/>
                      <a:pt x="1108" y="174"/>
                      <a:pt x="1107" y="174"/>
                    </a:cubicBezTo>
                    <a:cubicBezTo>
                      <a:pt x="1105" y="173"/>
                      <a:pt x="1103" y="173"/>
                      <a:pt x="1101" y="173"/>
                    </a:cubicBezTo>
                    <a:cubicBezTo>
                      <a:pt x="1100" y="173"/>
                      <a:pt x="1099" y="173"/>
                      <a:pt x="1098" y="173"/>
                    </a:cubicBezTo>
                    <a:cubicBezTo>
                      <a:pt x="1096" y="174"/>
                      <a:pt x="1095" y="174"/>
                      <a:pt x="1094" y="174"/>
                    </a:cubicBezTo>
                    <a:cubicBezTo>
                      <a:pt x="1093" y="174"/>
                      <a:pt x="1092" y="174"/>
                      <a:pt x="1091" y="173"/>
                    </a:cubicBezTo>
                    <a:cubicBezTo>
                      <a:pt x="1088" y="171"/>
                      <a:pt x="1084" y="170"/>
                      <a:pt x="1080" y="170"/>
                    </a:cubicBezTo>
                    <a:cubicBezTo>
                      <a:pt x="1073" y="170"/>
                      <a:pt x="1065" y="173"/>
                      <a:pt x="1059" y="174"/>
                    </a:cubicBezTo>
                    <a:cubicBezTo>
                      <a:pt x="1059" y="176"/>
                      <a:pt x="1059" y="176"/>
                      <a:pt x="1059" y="176"/>
                    </a:cubicBezTo>
                    <a:cubicBezTo>
                      <a:pt x="1060" y="178"/>
                      <a:pt x="1060" y="179"/>
                      <a:pt x="1060" y="179"/>
                    </a:cubicBezTo>
                    <a:cubicBezTo>
                      <a:pt x="1061" y="179"/>
                      <a:pt x="1063" y="179"/>
                      <a:pt x="1063" y="180"/>
                    </a:cubicBezTo>
                    <a:cubicBezTo>
                      <a:pt x="1063" y="181"/>
                      <a:pt x="1063" y="182"/>
                      <a:pt x="1063" y="182"/>
                    </a:cubicBezTo>
                    <a:cubicBezTo>
                      <a:pt x="1063" y="183"/>
                      <a:pt x="1063" y="183"/>
                      <a:pt x="1063" y="184"/>
                    </a:cubicBezTo>
                    <a:cubicBezTo>
                      <a:pt x="1063" y="185"/>
                      <a:pt x="1063" y="185"/>
                      <a:pt x="1063" y="185"/>
                    </a:cubicBezTo>
                    <a:cubicBezTo>
                      <a:pt x="1063" y="186"/>
                      <a:pt x="1065" y="187"/>
                      <a:pt x="1063" y="188"/>
                    </a:cubicBezTo>
                    <a:cubicBezTo>
                      <a:pt x="1062" y="189"/>
                      <a:pt x="1062" y="189"/>
                      <a:pt x="1062" y="189"/>
                    </a:cubicBezTo>
                    <a:cubicBezTo>
                      <a:pt x="1061" y="190"/>
                      <a:pt x="1059" y="191"/>
                      <a:pt x="1057" y="193"/>
                    </a:cubicBezTo>
                    <a:cubicBezTo>
                      <a:pt x="1056" y="193"/>
                      <a:pt x="1056" y="193"/>
                      <a:pt x="1056" y="193"/>
                    </a:cubicBezTo>
                    <a:cubicBezTo>
                      <a:pt x="1052" y="196"/>
                      <a:pt x="1048" y="199"/>
                      <a:pt x="1044" y="202"/>
                    </a:cubicBezTo>
                    <a:cubicBezTo>
                      <a:pt x="1039" y="205"/>
                      <a:pt x="1034" y="207"/>
                      <a:pt x="1030" y="208"/>
                    </a:cubicBezTo>
                    <a:cubicBezTo>
                      <a:pt x="1029" y="208"/>
                      <a:pt x="1029" y="208"/>
                      <a:pt x="1029" y="208"/>
                    </a:cubicBezTo>
                    <a:cubicBezTo>
                      <a:pt x="1023" y="211"/>
                      <a:pt x="1017" y="213"/>
                      <a:pt x="1011" y="215"/>
                    </a:cubicBezTo>
                    <a:cubicBezTo>
                      <a:pt x="1007" y="217"/>
                      <a:pt x="1004" y="219"/>
                      <a:pt x="1001" y="222"/>
                    </a:cubicBezTo>
                    <a:cubicBezTo>
                      <a:pt x="1001" y="222"/>
                      <a:pt x="1001" y="222"/>
                      <a:pt x="1001" y="222"/>
                    </a:cubicBezTo>
                    <a:cubicBezTo>
                      <a:pt x="1001" y="222"/>
                      <a:pt x="1001" y="222"/>
                      <a:pt x="1001" y="222"/>
                    </a:cubicBezTo>
                    <a:cubicBezTo>
                      <a:pt x="1000" y="222"/>
                      <a:pt x="1000" y="222"/>
                      <a:pt x="1000" y="222"/>
                    </a:cubicBezTo>
                    <a:cubicBezTo>
                      <a:pt x="996" y="225"/>
                      <a:pt x="991" y="224"/>
                      <a:pt x="986" y="225"/>
                    </a:cubicBezTo>
                    <a:cubicBezTo>
                      <a:pt x="985" y="225"/>
                      <a:pt x="984" y="225"/>
                      <a:pt x="983" y="226"/>
                    </a:cubicBezTo>
                    <a:cubicBezTo>
                      <a:pt x="982" y="226"/>
                      <a:pt x="981" y="226"/>
                      <a:pt x="980" y="227"/>
                    </a:cubicBezTo>
                    <a:cubicBezTo>
                      <a:pt x="980" y="227"/>
                      <a:pt x="979" y="227"/>
                      <a:pt x="978" y="227"/>
                    </a:cubicBezTo>
                    <a:cubicBezTo>
                      <a:pt x="975" y="227"/>
                      <a:pt x="970" y="226"/>
                      <a:pt x="967" y="225"/>
                    </a:cubicBezTo>
                    <a:cubicBezTo>
                      <a:pt x="969" y="223"/>
                      <a:pt x="971" y="224"/>
                      <a:pt x="973" y="223"/>
                    </a:cubicBezTo>
                    <a:cubicBezTo>
                      <a:pt x="975" y="223"/>
                      <a:pt x="975" y="223"/>
                      <a:pt x="972" y="222"/>
                    </a:cubicBezTo>
                    <a:cubicBezTo>
                      <a:pt x="967" y="220"/>
                      <a:pt x="962" y="218"/>
                      <a:pt x="957" y="217"/>
                    </a:cubicBezTo>
                    <a:cubicBezTo>
                      <a:pt x="962" y="209"/>
                      <a:pt x="967" y="201"/>
                      <a:pt x="971" y="193"/>
                    </a:cubicBezTo>
                    <a:cubicBezTo>
                      <a:pt x="972" y="192"/>
                      <a:pt x="973" y="191"/>
                      <a:pt x="973" y="191"/>
                    </a:cubicBezTo>
                    <a:cubicBezTo>
                      <a:pt x="974" y="190"/>
                      <a:pt x="974" y="190"/>
                      <a:pt x="975" y="190"/>
                    </a:cubicBezTo>
                    <a:cubicBezTo>
                      <a:pt x="975" y="190"/>
                      <a:pt x="975" y="190"/>
                      <a:pt x="976" y="191"/>
                    </a:cubicBezTo>
                    <a:cubicBezTo>
                      <a:pt x="976" y="191"/>
                      <a:pt x="976" y="191"/>
                      <a:pt x="976" y="192"/>
                    </a:cubicBezTo>
                    <a:cubicBezTo>
                      <a:pt x="976" y="192"/>
                      <a:pt x="976" y="192"/>
                      <a:pt x="976" y="192"/>
                    </a:cubicBezTo>
                    <a:cubicBezTo>
                      <a:pt x="977" y="190"/>
                      <a:pt x="978" y="189"/>
                      <a:pt x="979" y="187"/>
                    </a:cubicBezTo>
                    <a:cubicBezTo>
                      <a:pt x="979" y="187"/>
                      <a:pt x="979" y="187"/>
                      <a:pt x="979" y="187"/>
                    </a:cubicBezTo>
                    <a:cubicBezTo>
                      <a:pt x="979" y="187"/>
                      <a:pt x="979" y="187"/>
                      <a:pt x="979" y="187"/>
                    </a:cubicBezTo>
                    <a:cubicBezTo>
                      <a:pt x="979" y="187"/>
                      <a:pt x="979" y="187"/>
                      <a:pt x="979" y="187"/>
                    </a:cubicBezTo>
                    <a:cubicBezTo>
                      <a:pt x="979" y="187"/>
                      <a:pt x="979" y="187"/>
                      <a:pt x="979" y="187"/>
                    </a:cubicBezTo>
                    <a:cubicBezTo>
                      <a:pt x="979" y="186"/>
                      <a:pt x="980" y="185"/>
                      <a:pt x="980" y="184"/>
                    </a:cubicBezTo>
                    <a:cubicBezTo>
                      <a:pt x="982" y="181"/>
                      <a:pt x="981" y="181"/>
                      <a:pt x="980" y="178"/>
                    </a:cubicBezTo>
                    <a:cubicBezTo>
                      <a:pt x="980" y="177"/>
                      <a:pt x="979" y="176"/>
                      <a:pt x="979" y="175"/>
                    </a:cubicBezTo>
                    <a:cubicBezTo>
                      <a:pt x="979" y="172"/>
                      <a:pt x="978" y="170"/>
                      <a:pt x="978" y="167"/>
                    </a:cubicBezTo>
                    <a:cubicBezTo>
                      <a:pt x="977" y="163"/>
                      <a:pt x="977" y="157"/>
                      <a:pt x="974" y="154"/>
                    </a:cubicBezTo>
                    <a:cubicBezTo>
                      <a:pt x="972" y="152"/>
                      <a:pt x="971" y="152"/>
                      <a:pt x="969" y="152"/>
                    </a:cubicBezTo>
                    <a:cubicBezTo>
                      <a:pt x="966" y="152"/>
                      <a:pt x="962" y="155"/>
                      <a:pt x="959" y="156"/>
                    </a:cubicBezTo>
                    <a:cubicBezTo>
                      <a:pt x="957" y="158"/>
                      <a:pt x="951" y="162"/>
                      <a:pt x="948" y="162"/>
                    </a:cubicBezTo>
                    <a:cubicBezTo>
                      <a:pt x="947" y="162"/>
                      <a:pt x="947" y="162"/>
                      <a:pt x="946" y="162"/>
                    </a:cubicBezTo>
                    <a:cubicBezTo>
                      <a:pt x="946" y="161"/>
                      <a:pt x="946" y="159"/>
                      <a:pt x="946" y="158"/>
                    </a:cubicBezTo>
                    <a:cubicBezTo>
                      <a:pt x="946" y="157"/>
                      <a:pt x="947" y="156"/>
                      <a:pt x="947" y="155"/>
                    </a:cubicBezTo>
                    <a:cubicBezTo>
                      <a:pt x="949" y="152"/>
                      <a:pt x="953" y="153"/>
                      <a:pt x="954" y="151"/>
                    </a:cubicBezTo>
                    <a:cubicBezTo>
                      <a:pt x="955" y="150"/>
                      <a:pt x="954" y="148"/>
                      <a:pt x="955" y="147"/>
                    </a:cubicBezTo>
                    <a:cubicBezTo>
                      <a:pt x="956" y="145"/>
                      <a:pt x="959" y="145"/>
                      <a:pt x="960" y="144"/>
                    </a:cubicBezTo>
                    <a:cubicBezTo>
                      <a:pt x="961" y="142"/>
                      <a:pt x="961" y="134"/>
                      <a:pt x="961" y="131"/>
                    </a:cubicBezTo>
                    <a:cubicBezTo>
                      <a:pt x="961" y="129"/>
                      <a:pt x="955" y="123"/>
                      <a:pt x="959" y="123"/>
                    </a:cubicBezTo>
                    <a:cubicBezTo>
                      <a:pt x="959" y="123"/>
                      <a:pt x="960" y="123"/>
                      <a:pt x="961" y="124"/>
                    </a:cubicBezTo>
                    <a:cubicBezTo>
                      <a:pt x="961" y="121"/>
                      <a:pt x="960" y="121"/>
                      <a:pt x="959" y="119"/>
                    </a:cubicBezTo>
                    <a:cubicBezTo>
                      <a:pt x="959" y="118"/>
                      <a:pt x="959" y="117"/>
                      <a:pt x="958" y="116"/>
                    </a:cubicBezTo>
                    <a:cubicBezTo>
                      <a:pt x="957" y="115"/>
                      <a:pt x="953" y="113"/>
                      <a:pt x="951" y="113"/>
                    </a:cubicBezTo>
                    <a:cubicBezTo>
                      <a:pt x="949" y="112"/>
                      <a:pt x="946" y="111"/>
                      <a:pt x="943" y="110"/>
                    </a:cubicBezTo>
                    <a:cubicBezTo>
                      <a:pt x="941" y="109"/>
                      <a:pt x="941" y="106"/>
                      <a:pt x="937" y="106"/>
                    </a:cubicBezTo>
                    <a:cubicBezTo>
                      <a:pt x="937" y="105"/>
                      <a:pt x="936" y="105"/>
                      <a:pt x="936" y="105"/>
                    </a:cubicBezTo>
                    <a:cubicBezTo>
                      <a:pt x="936" y="105"/>
                      <a:pt x="936" y="105"/>
                      <a:pt x="935" y="105"/>
                    </a:cubicBezTo>
                    <a:cubicBezTo>
                      <a:pt x="935" y="105"/>
                      <a:pt x="935" y="105"/>
                      <a:pt x="935" y="105"/>
                    </a:cubicBezTo>
                    <a:cubicBezTo>
                      <a:pt x="934" y="105"/>
                      <a:pt x="933" y="105"/>
                      <a:pt x="933" y="105"/>
                    </a:cubicBezTo>
                    <a:cubicBezTo>
                      <a:pt x="931" y="104"/>
                      <a:pt x="930" y="103"/>
                      <a:pt x="928" y="103"/>
                    </a:cubicBezTo>
                    <a:cubicBezTo>
                      <a:pt x="928" y="102"/>
                      <a:pt x="926" y="102"/>
                      <a:pt x="924" y="102"/>
                    </a:cubicBezTo>
                    <a:cubicBezTo>
                      <a:pt x="923" y="102"/>
                      <a:pt x="923" y="102"/>
                      <a:pt x="922" y="103"/>
                    </a:cubicBezTo>
                    <a:cubicBezTo>
                      <a:pt x="920" y="104"/>
                      <a:pt x="919" y="113"/>
                      <a:pt x="923" y="113"/>
                    </a:cubicBezTo>
                    <a:cubicBezTo>
                      <a:pt x="923" y="113"/>
                      <a:pt x="923" y="113"/>
                      <a:pt x="923" y="113"/>
                    </a:cubicBezTo>
                    <a:cubicBezTo>
                      <a:pt x="921" y="115"/>
                      <a:pt x="917" y="113"/>
                      <a:pt x="914" y="116"/>
                    </a:cubicBezTo>
                    <a:cubicBezTo>
                      <a:pt x="912" y="118"/>
                      <a:pt x="912" y="121"/>
                      <a:pt x="912" y="124"/>
                    </a:cubicBezTo>
                    <a:cubicBezTo>
                      <a:pt x="912" y="126"/>
                      <a:pt x="912" y="126"/>
                      <a:pt x="912" y="126"/>
                    </a:cubicBezTo>
                    <a:cubicBezTo>
                      <a:pt x="911" y="126"/>
                      <a:pt x="911" y="126"/>
                      <a:pt x="911" y="126"/>
                    </a:cubicBezTo>
                    <a:cubicBezTo>
                      <a:pt x="910" y="125"/>
                      <a:pt x="910" y="125"/>
                      <a:pt x="910" y="125"/>
                    </a:cubicBezTo>
                    <a:cubicBezTo>
                      <a:pt x="910" y="125"/>
                      <a:pt x="909" y="125"/>
                      <a:pt x="909" y="125"/>
                    </a:cubicBezTo>
                    <a:cubicBezTo>
                      <a:pt x="908" y="126"/>
                      <a:pt x="908" y="130"/>
                      <a:pt x="907" y="131"/>
                    </a:cubicBezTo>
                    <a:cubicBezTo>
                      <a:pt x="906" y="129"/>
                      <a:pt x="907" y="127"/>
                      <a:pt x="907" y="125"/>
                    </a:cubicBezTo>
                    <a:cubicBezTo>
                      <a:pt x="907" y="125"/>
                      <a:pt x="907" y="125"/>
                      <a:pt x="907" y="125"/>
                    </a:cubicBezTo>
                    <a:cubicBezTo>
                      <a:pt x="907" y="124"/>
                      <a:pt x="908" y="120"/>
                      <a:pt x="907" y="120"/>
                    </a:cubicBezTo>
                    <a:cubicBezTo>
                      <a:pt x="907" y="120"/>
                      <a:pt x="907" y="120"/>
                      <a:pt x="907" y="120"/>
                    </a:cubicBezTo>
                    <a:cubicBezTo>
                      <a:pt x="906" y="120"/>
                      <a:pt x="904" y="123"/>
                      <a:pt x="904" y="123"/>
                    </a:cubicBezTo>
                    <a:cubicBezTo>
                      <a:pt x="903" y="124"/>
                      <a:pt x="903" y="126"/>
                      <a:pt x="902" y="126"/>
                    </a:cubicBezTo>
                    <a:cubicBezTo>
                      <a:pt x="902" y="126"/>
                      <a:pt x="902" y="126"/>
                      <a:pt x="902" y="126"/>
                    </a:cubicBezTo>
                    <a:cubicBezTo>
                      <a:pt x="902" y="126"/>
                      <a:pt x="901" y="126"/>
                      <a:pt x="901" y="126"/>
                    </a:cubicBezTo>
                    <a:cubicBezTo>
                      <a:pt x="901" y="126"/>
                      <a:pt x="901" y="125"/>
                      <a:pt x="900" y="125"/>
                    </a:cubicBezTo>
                    <a:cubicBezTo>
                      <a:pt x="900" y="125"/>
                      <a:pt x="900" y="125"/>
                      <a:pt x="900" y="125"/>
                    </a:cubicBezTo>
                    <a:cubicBezTo>
                      <a:pt x="899" y="126"/>
                      <a:pt x="899" y="127"/>
                      <a:pt x="899" y="127"/>
                    </a:cubicBezTo>
                    <a:cubicBezTo>
                      <a:pt x="898" y="127"/>
                      <a:pt x="898" y="127"/>
                      <a:pt x="898" y="127"/>
                    </a:cubicBezTo>
                    <a:cubicBezTo>
                      <a:pt x="898" y="127"/>
                      <a:pt x="898" y="127"/>
                      <a:pt x="898" y="127"/>
                    </a:cubicBezTo>
                    <a:cubicBezTo>
                      <a:pt x="898" y="127"/>
                      <a:pt x="897" y="127"/>
                      <a:pt x="897" y="127"/>
                    </a:cubicBezTo>
                    <a:cubicBezTo>
                      <a:pt x="897" y="127"/>
                      <a:pt x="897" y="127"/>
                      <a:pt x="897" y="127"/>
                    </a:cubicBezTo>
                    <a:cubicBezTo>
                      <a:pt x="896" y="128"/>
                      <a:pt x="895" y="131"/>
                      <a:pt x="894" y="132"/>
                    </a:cubicBezTo>
                    <a:cubicBezTo>
                      <a:pt x="894" y="133"/>
                      <a:pt x="893" y="133"/>
                      <a:pt x="892" y="133"/>
                    </a:cubicBezTo>
                    <a:cubicBezTo>
                      <a:pt x="889" y="137"/>
                      <a:pt x="889" y="145"/>
                      <a:pt x="887" y="150"/>
                    </a:cubicBezTo>
                    <a:cubicBezTo>
                      <a:pt x="886" y="153"/>
                      <a:pt x="888" y="155"/>
                      <a:pt x="888" y="158"/>
                    </a:cubicBezTo>
                    <a:cubicBezTo>
                      <a:pt x="889" y="162"/>
                      <a:pt x="887" y="166"/>
                      <a:pt x="888" y="169"/>
                    </a:cubicBezTo>
                    <a:cubicBezTo>
                      <a:pt x="888" y="171"/>
                      <a:pt x="889" y="175"/>
                      <a:pt x="891" y="175"/>
                    </a:cubicBezTo>
                    <a:cubicBezTo>
                      <a:pt x="891" y="175"/>
                      <a:pt x="892" y="174"/>
                      <a:pt x="892" y="174"/>
                    </a:cubicBezTo>
                    <a:cubicBezTo>
                      <a:pt x="892" y="177"/>
                      <a:pt x="892" y="179"/>
                      <a:pt x="893" y="182"/>
                    </a:cubicBezTo>
                    <a:cubicBezTo>
                      <a:pt x="893" y="183"/>
                      <a:pt x="893" y="185"/>
                      <a:pt x="893" y="186"/>
                    </a:cubicBezTo>
                    <a:cubicBezTo>
                      <a:pt x="893" y="198"/>
                      <a:pt x="884" y="207"/>
                      <a:pt x="879" y="216"/>
                    </a:cubicBezTo>
                    <a:cubicBezTo>
                      <a:pt x="871" y="220"/>
                      <a:pt x="871" y="220"/>
                      <a:pt x="871" y="220"/>
                    </a:cubicBezTo>
                    <a:cubicBezTo>
                      <a:pt x="871" y="220"/>
                      <a:pt x="870" y="220"/>
                      <a:pt x="870" y="220"/>
                    </a:cubicBezTo>
                    <a:cubicBezTo>
                      <a:pt x="868" y="220"/>
                      <a:pt x="866" y="219"/>
                      <a:pt x="864" y="218"/>
                    </a:cubicBezTo>
                    <a:cubicBezTo>
                      <a:pt x="858" y="208"/>
                      <a:pt x="858" y="208"/>
                      <a:pt x="858" y="208"/>
                    </a:cubicBezTo>
                    <a:cubicBezTo>
                      <a:pt x="857" y="204"/>
                      <a:pt x="856" y="201"/>
                      <a:pt x="856" y="197"/>
                    </a:cubicBezTo>
                    <a:cubicBezTo>
                      <a:pt x="857" y="191"/>
                      <a:pt x="855" y="184"/>
                      <a:pt x="854" y="178"/>
                    </a:cubicBezTo>
                    <a:cubicBezTo>
                      <a:pt x="854" y="175"/>
                      <a:pt x="855" y="173"/>
                      <a:pt x="855" y="170"/>
                    </a:cubicBezTo>
                    <a:cubicBezTo>
                      <a:pt x="857" y="165"/>
                      <a:pt x="857" y="160"/>
                      <a:pt x="858" y="155"/>
                    </a:cubicBezTo>
                    <a:cubicBezTo>
                      <a:pt x="860" y="151"/>
                      <a:pt x="862" y="148"/>
                      <a:pt x="863" y="143"/>
                    </a:cubicBezTo>
                    <a:cubicBezTo>
                      <a:pt x="864" y="140"/>
                      <a:pt x="865" y="137"/>
                      <a:pt x="866" y="133"/>
                    </a:cubicBezTo>
                    <a:cubicBezTo>
                      <a:pt x="867" y="132"/>
                      <a:pt x="867" y="130"/>
                      <a:pt x="866" y="129"/>
                    </a:cubicBezTo>
                    <a:cubicBezTo>
                      <a:pt x="866" y="129"/>
                      <a:pt x="867" y="129"/>
                      <a:pt x="867" y="129"/>
                    </a:cubicBezTo>
                    <a:cubicBezTo>
                      <a:pt x="869" y="129"/>
                      <a:pt x="871" y="127"/>
                      <a:pt x="872" y="125"/>
                    </a:cubicBezTo>
                    <a:cubicBezTo>
                      <a:pt x="874" y="122"/>
                      <a:pt x="874" y="120"/>
                      <a:pt x="873" y="116"/>
                    </a:cubicBezTo>
                    <a:cubicBezTo>
                      <a:pt x="872" y="118"/>
                      <a:pt x="872" y="119"/>
                      <a:pt x="871" y="120"/>
                    </a:cubicBezTo>
                    <a:cubicBezTo>
                      <a:pt x="870" y="121"/>
                      <a:pt x="870" y="120"/>
                      <a:pt x="869" y="121"/>
                    </a:cubicBezTo>
                    <a:cubicBezTo>
                      <a:pt x="869" y="121"/>
                      <a:pt x="869" y="123"/>
                      <a:pt x="868" y="123"/>
                    </a:cubicBezTo>
                    <a:cubicBezTo>
                      <a:pt x="868" y="124"/>
                      <a:pt x="867" y="124"/>
                      <a:pt x="867" y="125"/>
                    </a:cubicBezTo>
                    <a:cubicBezTo>
                      <a:pt x="866" y="126"/>
                      <a:pt x="865" y="128"/>
                      <a:pt x="866" y="129"/>
                    </a:cubicBezTo>
                    <a:cubicBezTo>
                      <a:pt x="866" y="129"/>
                      <a:pt x="865" y="128"/>
                      <a:pt x="865" y="128"/>
                    </a:cubicBezTo>
                    <a:cubicBezTo>
                      <a:pt x="865" y="128"/>
                      <a:pt x="865" y="128"/>
                      <a:pt x="865" y="128"/>
                    </a:cubicBezTo>
                    <a:cubicBezTo>
                      <a:pt x="863" y="128"/>
                      <a:pt x="860" y="130"/>
                      <a:pt x="859" y="131"/>
                    </a:cubicBezTo>
                    <a:cubicBezTo>
                      <a:pt x="857" y="134"/>
                      <a:pt x="857" y="135"/>
                      <a:pt x="854" y="137"/>
                    </a:cubicBezTo>
                    <a:cubicBezTo>
                      <a:pt x="853" y="137"/>
                      <a:pt x="854" y="138"/>
                      <a:pt x="853" y="138"/>
                    </a:cubicBezTo>
                    <a:cubicBezTo>
                      <a:pt x="853" y="138"/>
                      <a:pt x="853" y="138"/>
                      <a:pt x="852" y="137"/>
                    </a:cubicBezTo>
                    <a:cubicBezTo>
                      <a:pt x="851" y="137"/>
                      <a:pt x="851" y="136"/>
                      <a:pt x="851" y="135"/>
                    </a:cubicBezTo>
                    <a:cubicBezTo>
                      <a:pt x="852" y="133"/>
                      <a:pt x="853" y="132"/>
                      <a:pt x="854" y="131"/>
                    </a:cubicBezTo>
                    <a:cubicBezTo>
                      <a:pt x="854" y="130"/>
                      <a:pt x="855" y="127"/>
                      <a:pt x="856" y="126"/>
                    </a:cubicBezTo>
                    <a:cubicBezTo>
                      <a:pt x="856" y="126"/>
                      <a:pt x="857" y="126"/>
                      <a:pt x="858" y="126"/>
                    </a:cubicBezTo>
                    <a:cubicBezTo>
                      <a:pt x="859" y="125"/>
                      <a:pt x="861" y="123"/>
                      <a:pt x="861" y="121"/>
                    </a:cubicBezTo>
                    <a:cubicBezTo>
                      <a:pt x="863" y="118"/>
                      <a:pt x="865" y="116"/>
                      <a:pt x="867" y="113"/>
                    </a:cubicBezTo>
                    <a:cubicBezTo>
                      <a:pt x="868" y="112"/>
                      <a:pt x="868" y="110"/>
                      <a:pt x="869" y="109"/>
                    </a:cubicBezTo>
                    <a:cubicBezTo>
                      <a:pt x="869" y="109"/>
                      <a:pt x="868" y="108"/>
                      <a:pt x="868" y="108"/>
                    </a:cubicBezTo>
                    <a:cubicBezTo>
                      <a:pt x="868" y="108"/>
                      <a:pt x="868" y="108"/>
                      <a:pt x="868" y="108"/>
                    </a:cubicBezTo>
                    <a:cubicBezTo>
                      <a:pt x="869" y="108"/>
                      <a:pt x="869" y="108"/>
                      <a:pt x="870" y="107"/>
                    </a:cubicBezTo>
                    <a:cubicBezTo>
                      <a:pt x="873" y="105"/>
                      <a:pt x="874" y="102"/>
                      <a:pt x="875" y="98"/>
                    </a:cubicBezTo>
                    <a:cubicBezTo>
                      <a:pt x="875" y="101"/>
                      <a:pt x="876" y="103"/>
                      <a:pt x="876" y="105"/>
                    </a:cubicBezTo>
                    <a:cubicBezTo>
                      <a:pt x="877" y="104"/>
                      <a:pt x="878" y="103"/>
                      <a:pt x="879" y="102"/>
                    </a:cubicBezTo>
                    <a:cubicBezTo>
                      <a:pt x="880" y="100"/>
                      <a:pt x="880" y="100"/>
                      <a:pt x="880" y="100"/>
                    </a:cubicBezTo>
                    <a:cubicBezTo>
                      <a:pt x="880" y="100"/>
                      <a:pt x="880" y="100"/>
                      <a:pt x="880" y="100"/>
                    </a:cubicBezTo>
                    <a:cubicBezTo>
                      <a:pt x="881" y="100"/>
                      <a:pt x="885" y="99"/>
                      <a:pt x="885" y="99"/>
                    </a:cubicBezTo>
                    <a:cubicBezTo>
                      <a:pt x="888" y="101"/>
                      <a:pt x="878" y="105"/>
                      <a:pt x="884" y="107"/>
                    </a:cubicBezTo>
                    <a:cubicBezTo>
                      <a:pt x="885" y="105"/>
                      <a:pt x="885" y="104"/>
                      <a:pt x="887" y="103"/>
                    </a:cubicBezTo>
                    <a:cubicBezTo>
                      <a:pt x="888" y="102"/>
                      <a:pt x="889" y="102"/>
                      <a:pt x="890" y="102"/>
                    </a:cubicBezTo>
                    <a:cubicBezTo>
                      <a:pt x="890" y="101"/>
                      <a:pt x="890" y="100"/>
                      <a:pt x="891" y="99"/>
                    </a:cubicBezTo>
                    <a:cubicBezTo>
                      <a:pt x="892" y="98"/>
                      <a:pt x="894" y="97"/>
                      <a:pt x="896" y="97"/>
                    </a:cubicBezTo>
                    <a:cubicBezTo>
                      <a:pt x="897" y="97"/>
                      <a:pt x="899" y="97"/>
                      <a:pt x="900" y="98"/>
                    </a:cubicBezTo>
                    <a:cubicBezTo>
                      <a:pt x="900" y="96"/>
                      <a:pt x="905" y="97"/>
                      <a:pt x="907" y="96"/>
                    </a:cubicBezTo>
                    <a:cubicBezTo>
                      <a:pt x="908" y="95"/>
                      <a:pt x="908" y="94"/>
                      <a:pt x="910" y="93"/>
                    </a:cubicBezTo>
                    <a:cubicBezTo>
                      <a:pt x="910" y="93"/>
                      <a:pt x="910" y="93"/>
                      <a:pt x="911" y="93"/>
                    </a:cubicBezTo>
                    <a:cubicBezTo>
                      <a:pt x="912" y="93"/>
                      <a:pt x="914" y="93"/>
                      <a:pt x="915" y="93"/>
                    </a:cubicBezTo>
                    <a:cubicBezTo>
                      <a:pt x="916" y="94"/>
                      <a:pt x="919" y="94"/>
                      <a:pt x="920" y="95"/>
                    </a:cubicBezTo>
                    <a:cubicBezTo>
                      <a:pt x="922" y="96"/>
                      <a:pt x="925" y="100"/>
                      <a:pt x="927" y="100"/>
                    </a:cubicBezTo>
                    <a:cubicBezTo>
                      <a:pt x="927" y="100"/>
                      <a:pt x="927" y="100"/>
                      <a:pt x="927" y="100"/>
                    </a:cubicBezTo>
                    <a:cubicBezTo>
                      <a:pt x="929" y="100"/>
                      <a:pt x="927" y="95"/>
                      <a:pt x="929" y="94"/>
                    </a:cubicBezTo>
                    <a:cubicBezTo>
                      <a:pt x="930" y="94"/>
                      <a:pt x="930" y="94"/>
                      <a:pt x="930" y="94"/>
                    </a:cubicBezTo>
                    <a:cubicBezTo>
                      <a:pt x="932" y="94"/>
                      <a:pt x="935" y="96"/>
                      <a:pt x="937" y="96"/>
                    </a:cubicBezTo>
                    <a:cubicBezTo>
                      <a:pt x="938" y="96"/>
                      <a:pt x="940" y="96"/>
                      <a:pt x="942" y="97"/>
                    </a:cubicBezTo>
                    <a:cubicBezTo>
                      <a:pt x="943" y="97"/>
                      <a:pt x="944" y="97"/>
                      <a:pt x="945" y="97"/>
                    </a:cubicBezTo>
                    <a:cubicBezTo>
                      <a:pt x="946" y="97"/>
                      <a:pt x="947" y="97"/>
                      <a:pt x="947" y="96"/>
                    </a:cubicBezTo>
                    <a:cubicBezTo>
                      <a:pt x="947" y="95"/>
                      <a:pt x="944" y="94"/>
                      <a:pt x="943" y="93"/>
                    </a:cubicBezTo>
                    <a:cubicBezTo>
                      <a:pt x="943" y="93"/>
                      <a:pt x="944" y="92"/>
                      <a:pt x="944" y="92"/>
                    </a:cubicBezTo>
                    <a:cubicBezTo>
                      <a:pt x="943" y="91"/>
                      <a:pt x="941" y="90"/>
                      <a:pt x="940" y="89"/>
                    </a:cubicBezTo>
                    <a:cubicBezTo>
                      <a:pt x="940" y="88"/>
                      <a:pt x="939" y="85"/>
                      <a:pt x="939" y="83"/>
                    </a:cubicBezTo>
                    <a:cubicBezTo>
                      <a:pt x="938" y="82"/>
                      <a:pt x="937" y="82"/>
                      <a:pt x="937" y="82"/>
                    </a:cubicBezTo>
                    <a:cubicBezTo>
                      <a:pt x="937" y="82"/>
                      <a:pt x="936" y="82"/>
                      <a:pt x="936" y="82"/>
                    </a:cubicBezTo>
                    <a:cubicBezTo>
                      <a:pt x="936" y="82"/>
                      <a:pt x="936" y="82"/>
                      <a:pt x="936" y="82"/>
                    </a:cubicBezTo>
                    <a:cubicBezTo>
                      <a:pt x="936" y="82"/>
                      <a:pt x="936" y="82"/>
                      <a:pt x="936" y="82"/>
                    </a:cubicBezTo>
                    <a:cubicBezTo>
                      <a:pt x="935" y="82"/>
                      <a:pt x="935" y="82"/>
                      <a:pt x="935" y="82"/>
                    </a:cubicBezTo>
                    <a:cubicBezTo>
                      <a:pt x="935" y="82"/>
                      <a:pt x="935" y="82"/>
                      <a:pt x="935" y="82"/>
                    </a:cubicBezTo>
                    <a:cubicBezTo>
                      <a:pt x="934" y="82"/>
                      <a:pt x="934" y="82"/>
                      <a:pt x="933" y="82"/>
                    </a:cubicBezTo>
                    <a:cubicBezTo>
                      <a:pt x="933" y="82"/>
                      <a:pt x="933" y="82"/>
                      <a:pt x="933" y="82"/>
                    </a:cubicBezTo>
                    <a:cubicBezTo>
                      <a:pt x="933" y="82"/>
                      <a:pt x="933" y="82"/>
                      <a:pt x="933" y="82"/>
                    </a:cubicBezTo>
                    <a:cubicBezTo>
                      <a:pt x="932" y="81"/>
                      <a:pt x="931" y="81"/>
                      <a:pt x="931" y="80"/>
                    </a:cubicBezTo>
                    <a:cubicBezTo>
                      <a:pt x="928" y="80"/>
                      <a:pt x="925" y="79"/>
                      <a:pt x="922" y="78"/>
                    </a:cubicBezTo>
                    <a:cubicBezTo>
                      <a:pt x="920" y="78"/>
                      <a:pt x="921" y="74"/>
                      <a:pt x="923" y="73"/>
                    </a:cubicBezTo>
                    <a:cubicBezTo>
                      <a:pt x="922" y="73"/>
                      <a:pt x="922" y="73"/>
                      <a:pt x="922" y="73"/>
                    </a:cubicBezTo>
                    <a:cubicBezTo>
                      <a:pt x="918" y="73"/>
                      <a:pt x="915" y="74"/>
                      <a:pt x="912" y="75"/>
                    </a:cubicBezTo>
                    <a:cubicBezTo>
                      <a:pt x="906" y="76"/>
                      <a:pt x="900" y="76"/>
                      <a:pt x="894" y="77"/>
                    </a:cubicBezTo>
                    <a:cubicBezTo>
                      <a:pt x="892" y="78"/>
                      <a:pt x="890" y="79"/>
                      <a:pt x="889" y="79"/>
                    </a:cubicBezTo>
                    <a:cubicBezTo>
                      <a:pt x="887" y="80"/>
                      <a:pt x="886" y="82"/>
                      <a:pt x="884" y="82"/>
                    </a:cubicBezTo>
                    <a:cubicBezTo>
                      <a:pt x="884" y="83"/>
                      <a:pt x="883" y="83"/>
                      <a:pt x="883" y="83"/>
                    </a:cubicBezTo>
                    <a:cubicBezTo>
                      <a:pt x="881" y="83"/>
                      <a:pt x="879" y="82"/>
                      <a:pt x="877" y="81"/>
                    </a:cubicBezTo>
                    <a:cubicBezTo>
                      <a:pt x="874" y="80"/>
                      <a:pt x="870" y="80"/>
                      <a:pt x="866" y="79"/>
                    </a:cubicBezTo>
                    <a:cubicBezTo>
                      <a:pt x="866" y="79"/>
                      <a:pt x="862" y="74"/>
                      <a:pt x="861" y="73"/>
                    </a:cubicBezTo>
                    <a:cubicBezTo>
                      <a:pt x="858" y="69"/>
                      <a:pt x="853" y="70"/>
                      <a:pt x="848" y="69"/>
                    </a:cubicBezTo>
                    <a:cubicBezTo>
                      <a:pt x="849" y="68"/>
                      <a:pt x="849" y="68"/>
                      <a:pt x="849" y="68"/>
                    </a:cubicBezTo>
                    <a:cubicBezTo>
                      <a:pt x="846" y="69"/>
                      <a:pt x="843" y="71"/>
                      <a:pt x="841" y="74"/>
                    </a:cubicBezTo>
                    <a:cubicBezTo>
                      <a:pt x="841" y="71"/>
                      <a:pt x="842" y="69"/>
                      <a:pt x="842" y="68"/>
                    </a:cubicBezTo>
                    <a:cubicBezTo>
                      <a:pt x="841" y="67"/>
                      <a:pt x="840" y="64"/>
                      <a:pt x="840" y="64"/>
                    </a:cubicBezTo>
                    <a:cubicBezTo>
                      <a:pt x="839" y="63"/>
                      <a:pt x="838" y="62"/>
                      <a:pt x="837" y="62"/>
                    </a:cubicBezTo>
                    <a:cubicBezTo>
                      <a:pt x="837" y="62"/>
                      <a:pt x="838" y="61"/>
                      <a:pt x="837" y="60"/>
                    </a:cubicBezTo>
                    <a:cubicBezTo>
                      <a:pt x="837" y="60"/>
                      <a:pt x="837" y="60"/>
                      <a:pt x="837" y="60"/>
                    </a:cubicBezTo>
                    <a:cubicBezTo>
                      <a:pt x="835" y="60"/>
                      <a:pt x="832" y="62"/>
                      <a:pt x="831" y="63"/>
                    </a:cubicBezTo>
                    <a:cubicBezTo>
                      <a:pt x="823" y="66"/>
                      <a:pt x="816" y="69"/>
                      <a:pt x="809" y="73"/>
                    </a:cubicBezTo>
                    <a:cubicBezTo>
                      <a:pt x="809" y="73"/>
                      <a:pt x="809" y="73"/>
                      <a:pt x="809" y="73"/>
                    </a:cubicBezTo>
                    <a:cubicBezTo>
                      <a:pt x="809" y="73"/>
                      <a:pt x="809" y="73"/>
                      <a:pt x="809" y="73"/>
                    </a:cubicBezTo>
                    <a:cubicBezTo>
                      <a:pt x="805" y="75"/>
                      <a:pt x="801" y="77"/>
                      <a:pt x="796" y="79"/>
                    </a:cubicBezTo>
                    <a:cubicBezTo>
                      <a:pt x="796" y="79"/>
                      <a:pt x="796" y="79"/>
                      <a:pt x="796" y="79"/>
                    </a:cubicBezTo>
                    <a:cubicBezTo>
                      <a:pt x="793" y="79"/>
                      <a:pt x="788" y="76"/>
                      <a:pt x="786" y="75"/>
                    </a:cubicBezTo>
                    <a:cubicBezTo>
                      <a:pt x="784" y="74"/>
                      <a:pt x="788" y="71"/>
                      <a:pt x="788" y="70"/>
                    </a:cubicBezTo>
                    <a:cubicBezTo>
                      <a:pt x="788" y="69"/>
                      <a:pt x="787" y="68"/>
                      <a:pt x="785" y="68"/>
                    </a:cubicBezTo>
                    <a:cubicBezTo>
                      <a:pt x="782" y="68"/>
                      <a:pt x="775" y="72"/>
                      <a:pt x="774" y="72"/>
                    </a:cubicBezTo>
                    <a:cubicBezTo>
                      <a:pt x="771" y="73"/>
                      <a:pt x="769" y="74"/>
                      <a:pt x="766" y="75"/>
                    </a:cubicBezTo>
                    <a:cubicBezTo>
                      <a:pt x="766" y="75"/>
                      <a:pt x="765" y="75"/>
                      <a:pt x="764" y="75"/>
                    </a:cubicBezTo>
                    <a:cubicBezTo>
                      <a:pt x="762" y="75"/>
                      <a:pt x="759" y="74"/>
                      <a:pt x="757" y="74"/>
                    </a:cubicBezTo>
                    <a:cubicBezTo>
                      <a:pt x="765" y="67"/>
                      <a:pt x="773" y="60"/>
                      <a:pt x="781" y="54"/>
                    </a:cubicBezTo>
                    <a:cubicBezTo>
                      <a:pt x="784" y="51"/>
                      <a:pt x="787" y="49"/>
                      <a:pt x="791" y="47"/>
                    </a:cubicBezTo>
                    <a:cubicBezTo>
                      <a:pt x="796" y="45"/>
                      <a:pt x="802" y="42"/>
                      <a:pt x="808" y="40"/>
                    </a:cubicBezTo>
                    <a:cubicBezTo>
                      <a:pt x="807" y="40"/>
                      <a:pt x="807" y="40"/>
                      <a:pt x="806" y="40"/>
                    </a:cubicBezTo>
                    <a:cubicBezTo>
                      <a:pt x="803" y="39"/>
                      <a:pt x="792" y="38"/>
                      <a:pt x="790" y="38"/>
                    </a:cubicBezTo>
                    <a:cubicBezTo>
                      <a:pt x="787" y="37"/>
                      <a:pt x="786" y="35"/>
                      <a:pt x="785" y="34"/>
                    </a:cubicBezTo>
                    <a:cubicBezTo>
                      <a:pt x="784" y="34"/>
                      <a:pt x="783" y="35"/>
                      <a:pt x="781" y="37"/>
                    </a:cubicBezTo>
                    <a:cubicBezTo>
                      <a:pt x="778" y="38"/>
                      <a:pt x="776" y="39"/>
                      <a:pt x="774" y="39"/>
                    </a:cubicBezTo>
                    <a:cubicBezTo>
                      <a:pt x="768" y="39"/>
                      <a:pt x="763" y="34"/>
                      <a:pt x="761" y="32"/>
                    </a:cubicBezTo>
                    <a:cubicBezTo>
                      <a:pt x="761" y="32"/>
                      <a:pt x="761" y="32"/>
                      <a:pt x="761" y="32"/>
                    </a:cubicBezTo>
                    <a:cubicBezTo>
                      <a:pt x="760" y="31"/>
                      <a:pt x="760" y="31"/>
                      <a:pt x="759" y="31"/>
                    </a:cubicBezTo>
                    <a:cubicBezTo>
                      <a:pt x="759" y="30"/>
                      <a:pt x="758" y="30"/>
                      <a:pt x="757" y="30"/>
                    </a:cubicBezTo>
                    <a:cubicBezTo>
                      <a:pt x="757" y="30"/>
                      <a:pt x="757" y="30"/>
                      <a:pt x="757" y="30"/>
                    </a:cubicBezTo>
                    <a:cubicBezTo>
                      <a:pt x="757" y="31"/>
                      <a:pt x="757" y="31"/>
                      <a:pt x="757" y="31"/>
                    </a:cubicBezTo>
                    <a:cubicBezTo>
                      <a:pt x="755" y="32"/>
                      <a:pt x="755" y="32"/>
                      <a:pt x="755" y="32"/>
                    </a:cubicBezTo>
                    <a:cubicBezTo>
                      <a:pt x="754" y="33"/>
                      <a:pt x="753" y="33"/>
                      <a:pt x="752" y="33"/>
                    </a:cubicBezTo>
                    <a:cubicBezTo>
                      <a:pt x="752" y="33"/>
                      <a:pt x="752" y="33"/>
                      <a:pt x="751" y="33"/>
                    </a:cubicBezTo>
                    <a:cubicBezTo>
                      <a:pt x="749" y="33"/>
                      <a:pt x="748" y="30"/>
                      <a:pt x="747" y="27"/>
                    </a:cubicBezTo>
                    <a:cubicBezTo>
                      <a:pt x="747" y="26"/>
                      <a:pt x="743" y="24"/>
                      <a:pt x="739" y="23"/>
                    </a:cubicBezTo>
                    <a:cubicBezTo>
                      <a:pt x="739" y="23"/>
                      <a:pt x="738" y="23"/>
                      <a:pt x="738" y="23"/>
                    </a:cubicBezTo>
                    <a:cubicBezTo>
                      <a:pt x="737" y="23"/>
                      <a:pt x="737" y="23"/>
                      <a:pt x="737" y="23"/>
                    </a:cubicBezTo>
                    <a:cubicBezTo>
                      <a:pt x="735" y="22"/>
                      <a:pt x="733" y="22"/>
                      <a:pt x="732" y="22"/>
                    </a:cubicBezTo>
                    <a:cubicBezTo>
                      <a:pt x="730" y="22"/>
                      <a:pt x="729" y="22"/>
                      <a:pt x="729" y="23"/>
                    </a:cubicBezTo>
                    <a:cubicBezTo>
                      <a:pt x="727" y="24"/>
                      <a:pt x="724" y="25"/>
                      <a:pt x="722" y="25"/>
                    </a:cubicBezTo>
                    <a:cubicBezTo>
                      <a:pt x="715" y="25"/>
                      <a:pt x="709" y="21"/>
                      <a:pt x="708" y="21"/>
                    </a:cubicBezTo>
                    <a:cubicBezTo>
                      <a:pt x="707" y="20"/>
                      <a:pt x="705" y="20"/>
                      <a:pt x="705" y="20"/>
                    </a:cubicBezTo>
                    <a:cubicBezTo>
                      <a:pt x="704" y="20"/>
                      <a:pt x="704" y="20"/>
                      <a:pt x="703" y="20"/>
                    </a:cubicBezTo>
                    <a:cubicBezTo>
                      <a:pt x="701" y="20"/>
                      <a:pt x="699" y="19"/>
                      <a:pt x="698" y="17"/>
                    </a:cubicBezTo>
                    <a:cubicBezTo>
                      <a:pt x="696" y="16"/>
                      <a:pt x="692" y="6"/>
                      <a:pt x="692" y="2"/>
                    </a:cubicBezTo>
                    <a:cubicBezTo>
                      <a:pt x="692" y="1"/>
                      <a:pt x="692" y="1"/>
                      <a:pt x="6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14"/>
              <p:cNvSpPr>
                <a:spLocks noChangeArrowheads="1"/>
              </p:cNvSpPr>
              <p:nvPr/>
            </p:nvSpPr>
            <p:spPr bwMode="auto">
              <a:xfrm>
                <a:off x="5674" y="189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15"/>
              <p:cNvSpPr>
                <a:spLocks noChangeArrowheads="1"/>
              </p:cNvSpPr>
              <p:nvPr/>
            </p:nvSpPr>
            <p:spPr bwMode="auto">
              <a:xfrm>
                <a:off x="5674" y="189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16"/>
              <p:cNvSpPr>
                <a:spLocks noChangeArrowheads="1"/>
              </p:cNvSpPr>
              <p:nvPr/>
            </p:nvSpPr>
            <p:spPr bwMode="auto">
              <a:xfrm>
                <a:off x="3716" y="311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Rectangle 17"/>
              <p:cNvSpPr>
                <a:spLocks noChangeArrowheads="1"/>
              </p:cNvSpPr>
              <p:nvPr/>
            </p:nvSpPr>
            <p:spPr bwMode="auto">
              <a:xfrm>
                <a:off x="3716" y="311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8"/>
              <p:cNvSpPr/>
              <p:nvPr/>
            </p:nvSpPr>
            <p:spPr bwMode="auto">
              <a:xfrm>
                <a:off x="2971" y="1793"/>
                <a:ext cx="14" cy="12"/>
              </a:xfrm>
              <a:custGeom>
                <a:gdLst>
                  <a:gd name="T0" fmla="*/ 6 w 6"/>
                  <a:gd name="T1" fmla="*/ 0 h 5"/>
                  <a:gd name="T2" fmla="*/ 1 w 6"/>
                  <a:gd name="T3" fmla="*/ 4 h 5"/>
                  <a:gd name="T4" fmla="*/ 0 w 6"/>
                  <a:gd name="T5" fmla="*/ 5 h 5"/>
                  <a:gd name="T6" fmla="*/ 0 w 6"/>
                  <a:gd name="T7" fmla="*/ 5 h 5"/>
                  <a:gd name="T8" fmla="*/ 2 w 6"/>
                  <a:gd name="T9" fmla="*/ 4 h 5"/>
                  <a:gd name="T10" fmla="*/ 2 w 6"/>
                  <a:gd name="T11" fmla="*/ 4 h 5"/>
                  <a:gd name="T12" fmla="*/ 2 w 6"/>
                  <a:gd name="T13" fmla="*/ 4 h 5"/>
                  <a:gd name="T14" fmla="*/ 2 w 6"/>
                  <a:gd name="T15" fmla="*/ 4 h 5"/>
                  <a:gd name="T16" fmla="*/ 4 w 6"/>
                  <a:gd name="T17" fmla="*/ 2 h 5"/>
                  <a:gd name="T18" fmla="*/ 6 w 6"/>
                  <a:gd name="T19"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0"/>
                    </a:moveTo>
                    <a:cubicBezTo>
                      <a:pt x="4" y="2"/>
                      <a:pt x="3" y="2"/>
                      <a:pt x="1" y="4"/>
                    </a:cubicBezTo>
                    <a:cubicBezTo>
                      <a:pt x="1" y="4"/>
                      <a:pt x="0" y="5"/>
                      <a:pt x="0" y="5"/>
                    </a:cubicBezTo>
                    <a:cubicBezTo>
                      <a:pt x="0" y="5"/>
                      <a:pt x="0" y="5"/>
                      <a:pt x="0" y="5"/>
                    </a:cubicBezTo>
                    <a:cubicBezTo>
                      <a:pt x="1" y="5"/>
                      <a:pt x="1" y="4"/>
                      <a:pt x="2" y="4"/>
                    </a:cubicBezTo>
                    <a:cubicBezTo>
                      <a:pt x="2" y="4"/>
                      <a:pt x="2" y="4"/>
                      <a:pt x="2" y="4"/>
                    </a:cubicBezTo>
                    <a:cubicBezTo>
                      <a:pt x="2" y="4"/>
                      <a:pt x="2" y="4"/>
                      <a:pt x="2" y="4"/>
                    </a:cubicBezTo>
                    <a:cubicBezTo>
                      <a:pt x="2" y="4"/>
                      <a:pt x="2" y="4"/>
                      <a:pt x="2" y="4"/>
                    </a:cubicBezTo>
                    <a:cubicBezTo>
                      <a:pt x="3" y="3"/>
                      <a:pt x="4" y="3"/>
                      <a:pt x="4" y="2"/>
                    </a:cubicBezTo>
                    <a:cubicBezTo>
                      <a:pt x="5" y="2"/>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19"/>
              <p:cNvSpPr>
                <a:spLocks noChangeArrowheads="1"/>
              </p:cNvSpPr>
              <p:nvPr/>
            </p:nvSpPr>
            <p:spPr bwMode="auto">
              <a:xfrm>
                <a:off x="3276" y="216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20"/>
              <p:cNvSpPr>
                <a:spLocks noChangeArrowheads="1"/>
              </p:cNvSpPr>
              <p:nvPr/>
            </p:nvSpPr>
            <p:spPr bwMode="auto">
              <a:xfrm>
                <a:off x="3276" y="216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1"/>
              <p:cNvSpPr>
                <a:spLocks noEditPoints="1"/>
              </p:cNvSpPr>
              <p:nvPr/>
            </p:nvSpPr>
            <p:spPr bwMode="auto">
              <a:xfrm>
                <a:off x="5203" y="3255"/>
                <a:ext cx="3" cy="7"/>
              </a:xfrm>
              <a:custGeom>
                <a:gdLst>
                  <a:gd name="T0" fmla="*/ 1 w 1"/>
                  <a:gd name="T1" fmla="*/ 0 h 3"/>
                  <a:gd name="T2" fmla="*/ 1 w 1"/>
                  <a:gd name="T3" fmla="*/ 0 h 3"/>
                  <a:gd name="T4" fmla="*/ 1 w 1"/>
                  <a:gd name="T5" fmla="*/ 0 h 3"/>
                  <a:gd name="T6" fmla="*/ 1 w 1"/>
                  <a:gd name="T7" fmla="*/ 0 h 3"/>
                  <a:gd name="T8" fmla="*/ 1 w 1"/>
                  <a:gd name="T9" fmla="*/ 0 h 3"/>
                  <a:gd name="T10" fmla="*/ 1 w 1"/>
                  <a:gd name="T11" fmla="*/ 0 h 3"/>
                  <a:gd name="T12" fmla="*/ 1 w 1"/>
                  <a:gd name="T13" fmla="*/ 0 h 3"/>
                  <a:gd name="T14" fmla="*/ 1 w 1"/>
                  <a:gd name="T15" fmla="*/ 0 h 3"/>
                  <a:gd name="T16" fmla="*/ 0 w 1"/>
                  <a:gd name="T17" fmla="*/ 3 h 3"/>
                  <a:gd name="T18" fmla="*/ 1 w 1"/>
                  <a:gd name="T19" fmla="*/ 0 h 3"/>
                  <a:gd name="T20" fmla="*/ 1 w 1"/>
                  <a:gd name="T21" fmla="*/ 0 h 3"/>
                  <a:gd name="T22" fmla="*/ 1 w 1"/>
                  <a:gd name="T23"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3">
                    <a:moveTo>
                      <a:pt x="1" y="0"/>
                    </a:moveTo>
                    <a:cubicBezTo>
                      <a:pt x="1" y="0"/>
                      <a:pt x="1" y="0"/>
                      <a:pt x="1" y="0"/>
                    </a:cubicBezTo>
                    <a:cubicBezTo>
                      <a:pt x="1" y="0"/>
                      <a:pt x="1" y="0"/>
                      <a:pt x="1" y="0"/>
                    </a:cubicBezTo>
                    <a:cubicBezTo>
                      <a:pt x="1" y="0"/>
                      <a:pt x="1" y="0"/>
                      <a:pt x="1" y="0"/>
                    </a:cubicBezTo>
                    <a:moveTo>
                      <a:pt x="1" y="0"/>
                    </a:moveTo>
                    <a:cubicBezTo>
                      <a:pt x="1" y="0"/>
                      <a:pt x="1" y="0"/>
                      <a:pt x="1" y="0"/>
                    </a:cubicBezTo>
                    <a:cubicBezTo>
                      <a:pt x="1" y="0"/>
                      <a:pt x="1" y="0"/>
                      <a:pt x="1" y="0"/>
                    </a:cubicBezTo>
                    <a:cubicBezTo>
                      <a:pt x="1" y="0"/>
                      <a:pt x="1" y="0"/>
                      <a:pt x="1" y="0"/>
                    </a:cubicBezTo>
                    <a:cubicBezTo>
                      <a:pt x="1" y="1"/>
                      <a:pt x="1" y="2"/>
                      <a:pt x="0" y="3"/>
                    </a:cubicBezTo>
                    <a:cubicBezTo>
                      <a:pt x="1" y="2"/>
                      <a:pt x="1" y="1"/>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22"/>
              <p:cNvSpPr/>
              <p:nvPr/>
            </p:nvSpPr>
            <p:spPr bwMode="auto">
              <a:xfrm>
                <a:off x="5612" y="3111"/>
                <a:ext cx="3" cy="5"/>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1"/>
                      <a:pt x="1" y="1"/>
                      <a:pt x="1"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23"/>
              <p:cNvSpPr/>
              <p:nvPr/>
            </p:nvSpPr>
            <p:spPr bwMode="auto">
              <a:xfrm>
                <a:off x="6591" y="641"/>
                <a:ext cx="7" cy="3"/>
              </a:xfrm>
              <a:custGeom>
                <a:gdLst>
                  <a:gd name="T0" fmla="*/ 1 w 3"/>
                  <a:gd name="T1" fmla="*/ 0 h 1"/>
                  <a:gd name="T2" fmla="*/ 0 w 3"/>
                  <a:gd name="T3" fmla="*/ 1 h 1"/>
                  <a:gd name="T4" fmla="*/ 0 w 3"/>
                  <a:gd name="T5" fmla="*/ 1 h 1"/>
                  <a:gd name="T6" fmla="*/ 0 w 3"/>
                  <a:gd name="T7" fmla="*/ 1 h 1"/>
                  <a:gd name="T8" fmla="*/ 0 w 3"/>
                  <a:gd name="T9" fmla="*/ 1 h 1"/>
                  <a:gd name="T10" fmla="*/ 0 w 3"/>
                  <a:gd name="T11" fmla="*/ 1 h 1"/>
                  <a:gd name="T12" fmla="*/ 0 w 3"/>
                  <a:gd name="T13" fmla="*/ 1 h 1"/>
                  <a:gd name="T14" fmla="*/ 1 w 3"/>
                  <a:gd name="T15" fmla="*/ 1 h 1"/>
                  <a:gd name="T16" fmla="*/ 1 w 3"/>
                  <a:gd name="T17" fmla="*/ 1 h 1"/>
                  <a:gd name="T18" fmla="*/ 1 w 3"/>
                  <a:gd name="T19" fmla="*/ 1 h 1"/>
                  <a:gd name="T20" fmla="*/ 2 w 3"/>
                  <a:gd name="T21" fmla="*/ 1 h 1"/>
                  <a:gd name="T22" fmla="*/ 2 w 3"/>
                  <a:gd name="T23" fmla="*/ 1 h 1"/>
                  <a:gd name="T24" fmla="*/ 2 w 3"/>
                  <a:gd name="T25" fmla="*/ 1 h 1"/>
                  <a:gd name="T26" fmla="*/ 3 w 3"/>
                  <a:gd name="T27" fmla="*/ 1 h 1"/>
                  <a:gd name="T28" fmla="*/ 3 w 3"/>
                  <a:gd name="T29" fmla="*/ 1 h 1"/>
                  <a:gd name="T30" fmla="*/ 1 w 3"/>
                  <a:gd name="T31"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
                    <a:moveTo>
                      <a:pt x="1" y="0"/>
                    </a:moveTo>
                    <a:cubicBezTo>
                      <a:pt x="1" y="0"/>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3" y="1"/>
                      <a:pt x="3" y="1"/>
                      <a:pt x="3" y="1"/>
                    </a:cubicBezTo>
                    <a:cubicBezTo>
                      <a:pt x="3" y="1"/>
                      <a:pt x="3" y="1"/>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24"/>
              <p:cNvSpPr/>
              <p:nvPr/>
            </p:nvSpPr>
            <p:spPr bwMode="auto">
              <a:xfrm>
                <a:off x="5709" y="4512"/>
                <a:ext cx="3" cy="0"/>
              </a:xfrm>
              <a:custGeom>
                <a:gdLst>
                  <a:gd name="T0" fmla="*/ 0 w 1"/>
                  <a:gd name="T1" fmla="*/ 0 w 1"/>
                  <a:gd name="T2" fmla="*/ 1 w 1"/>
                  <a:gd name="T3" fmla="*/ 1 w 1"/>
                  <a:gd name="T4" fmla="*/ 1 w 1"/>
                  <a:gd name="T5" fmla="*/ 1 w 1"/>
                  <a:gd name="T6" fmla="*/ 1 w 1"/>
                  <a:gd name="T7" fmla="*/ 1 w 1"/>
                  <a:gd name="T8" fmla="*/ 0 w 1"/>
                  <a:gd name="T9" fmla="*/ 0 w 1"/>
                </a:gd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cubicBezTo>
                      <a:pt x="0" y="0"/>
                      <a:pt x="0" y="0"/>
                      <a:pt x="0" y="0"/>
                    </a:cubicBezTo>
                    <a:cubicBezTo>
                      <a:pt x="0"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25"/>
              <p:cNvSpPr/>
              <p:nvPr/>
            </p:nvSpPr>
            <p:spPr bwMode="auto">
              <a:xfrm flipH="1">
                <a:off x="6598" y="4436"/>
                <a:ext cx="0" cy="0"/>
              </a:xfrm>
              <a:custGeom>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26"/>
              <p:cNvSpPr/>
              <p:nvPr/>
            </p:nvSpPr>
            <p:spPr bwMode="auto">
              <a:xfrm>
                <a:off x="2947" y="1751"/>
                <a:ext cx="5" cy="14"/>
              </a:xfrm>
              <a:custGeom>
                <a:gdLst>
                  <a:gd name="T0" fmla="*/ 1 w 2"/>
                  <a:gd name="T1" fmla="*/ 0 h 6"/>
                  <a:gd name="T2" fmla="*/ 0 w 2"/>
                  <a:gd name="T3" fmla="*/ 4 h 6"/>
                  <a:gd name="T4" fmla="*/ 0 w 2"/>
                  <a:gd name="T5" fmla="*/ 4 h 6"/>
                  <a:gd name="T6" fmla="*/ 0 w 2"/>
                  <a:gd name="T7" fmla="*/ 4 h 6"/>
                  <a:gd name="T8" fmla="*/ 0 w 2"/>
                  <a:gd name="T9" fmla="*/ 4 h 6"/>
                  <a:gd name="T10" fmla="*/ 1 w 2"/>
                  <a:gd name="T11" fmla="*/ 4 h 6"/>
                  <a:gd name="T12" fmla="*/ 1 w 2"/>
                  <a:gd name="T13" fmla="*/ 4 h 6"/>
                  <a:gd name="T14" fmla="*/ 2 w 2"/>
                  <a:gd name="T15" fmla="*/ 5 h 6"/>
                  <a:gd name="T16" fmla="*/ 2 w 2"/>
                  <a:gd name="T17" fmla="*/ 5 h 6"/>
                  <a:gd name="T18" fmla="*/ 2 w 2"/>
                  <a:gd name="T19" fmla="*/ 6 h 6"/>
                  <a:gd name="T20" fmla="*/ 2 w 2"/>
                  <a:gd name="T21" fmla="*/ 6 h 6"/>
                  <a:gd name="T22" fmla="*/ 2 w 2"/>
                  <a:gd name="T23" fmla="*/ 5 h 6"/>
                  <a:gd name="T24" fmla="*/ 2 w 2"/>
                  <a:gd name="T25" fmla="*/ 5 h 6"/>
                  <a:gd name="T26" fmla="*/ 2 w 2"/>
                  <a:gd name="T27" fmla="*/ 5 h 6"/>
                  <a:gd name="T28" fmla="*/ 2 w 2"/>
                  <a:gd name="T29" fmla="*/ 4 h 6"/>
                  <a:gd name="T30" fmla="*/ 2 w 2"/>
                  <a:gd name="T31" fmla="*/ 2 h 6"/>
                  <a:gd name="T32" fmla="*/ 2 w 2"/>
                  <a:gd name="T33" fmla="*/ 2 h 6"/>
                  <a:gd name="T34" fmla="*/ 2 w 2"/>
                  <a:gd name="T35" fmla="*/ 1 h 6"/>
                  <a:gd name="T36" fmla="*/ 2 w 2"/>
                  <a:gd name="T37" fmla="*/ 1 h 6"/>
                  <a:gd name="T38" fmla="*/ 1 w 2"/>
                  <a:gd name="T39" fmla="*/ 0 h 6"/>
                  <a:gd name="T40" fmla="*/ 1 w 2"/>
                  <a:gd name="T4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6">
                    <a:moveTo>
                      <a:pt x="1" y="0"/>
                    </a:moveTo>
                    <a:cubicBezTo>
                      <a:pt x="1" y="1"/>
                      <a:pt x="1" y="3"/>
                      <a:pt x="0" y="4"/>
                    </a:cubicBezTo>
                    <a:cubicBezTo>
                      <a:pt x="0" y="4"/>
                      <a:pt x="0" y="4"/>
                      <a:pt x="0" y="4"/>
                    </a:cubicBezTo>
                    <a:cubicBezTo>
                      <a:pt x="0" y="4"/>
                      <a:pt x="0" y="4"/>
                      <a:pt x="0" y="4"/>
                    </a:cubicBezTo>
                    <a:cubicBezTo>
                      <a:pt x="0" y="4"/>
                      <a:pt x="0" y="4"/>
                      <a:pt x="0" y="4"/>
                    </a:cubicBezTo>
                    <a:cubicBezTo>
                      <a:pt x="1" y="4"/>
                      <a:pt x="1" y="4"/>
                      <a:pt x="1" y="4"/>
                    </a:cubicBezTo>
                    <a:cubicBezTo>
                      <a:pt x="1" y="4"/>
                      <a:pt x="1" y="4"/>
                      <a:pt x="1" y="4"/>
                    </a:cubicBezTo>
                    <a:cubicBezTo>
                      <a:pt x="1" y="4"/>
                      <a:pt x="2" y="5"/>
                      <a:pt x="2" y="5"/>
                    </a:cubicBezTo>
                    <a:cubicBezTo>
                      <a:pt x="2" y="5"/>
                      <a:pt x="2" y="5"/>
                      <a:pt x="2" y="5"/>
                    </a:cubicBezTo>
                    <a:cubicBezTo>
                      <a:pt x="2" y="6"/>
                      <a:pt x="2" y="6"/>
                      <a:pt x="2" y="6"/>
                    </a:cubicBezTo>
                    <a:cubicBezTo>
                      <a:pt x="2" y="6"/>
                      <a:pt x="2" y="6"/>
                      <a:pt x="2" y="6"/>
                    </a:cubicBezTo>
                    <a:cubicBezTo>
                      <a:pt x="2" y="6"/>
                      <a:pt x="2" y="5"/>
                      <a:pt x="2" y="5"/>
                    </a:cubicBezTo>
                    <a:cubicBezTo>
                      <a:pt x="2" y="5"/>
                      <a:pt x="2" y="5"/>
                      <a:pt x="2" y="5"/>
                    </a:cubicBezTo>
                    <a:cubicBezTo>
                      <a:pt x="2" y="5"/>
                      <a:pt x="2" y="5"/>
                      <a:pt x="2" y="5"/>
                    </a:cubicBezTo>
                    <a:cubicBezTo>
                      <a:pt x="2" y="5"/>
                      <a:pt x="2" y="5"/>
                      <a:pt x="2" y="4"/>
                    </a:cubicBezTo>
                    <a:cubicBezTo>
                      <a:pt x="2" y="3"/>
                      <a:pt x="2" y="3"/>
                      <a:pt x="2" y="2"/>
                    </a:cubicBezTo>
                    <a:cubicBezTo>
                      <a:pt x="2" y="2"/>
                      <a:pt x="2" y="2"/>
                      <a:pt x="2" y="2"/>
                    </a:cubicBezTo>
                    <a:cubicBezTo>
                      <a:pt x="2" y="1"/>
                      <a:pt x="2" y="1"/>
                      <a:pt x="2" y="1"/>
                    </a:cubicBezTo>
                    <a:cubicBezTo>
                      <a:pt x="2" y="1"/>
                      <a:pt x="2" y="1"/>
                      <a:pt x="2" y="1"/>
                    </a:cubicBezTo>
                    <a:cubicBezTo>
                      <a:pt x="2" y="1"/>
                      <a:pt x="2" y="1"/>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7"/>
              <p:cNvSpPr>
                <a:spLocks noEditPoints="1"/>
              </p:cNvSpPr>
              <p:nvPr/>
            </p:nvSpPr>
            <p:spPr bwMode="auto">
              <a:xfrm flipH="1">
                <a:off x="2869" y="1606"/>
                <a:ext cx="0" cy="3"/>
              </a:xfrm>
              <a:custGeom>
                <a:gdLst>
                  <a:gd name="T0" fmla="*/ 3 h 3"/>
                  <a:gd name="T1" fmla="*/ 3 h 3"/>
                  <a:gd name="T2" fmla="*/ 3 h 3"/>
                  <a:gd name="T3" fmla="*/ 3 h 3"/>
                  <a:gd name="T4" fmla="*/ 0 h 3"/>
                  <a:gd name="T5" fmla="*/ 3 h 3"/>
                  <a:gd name="T6" fmla="*/ 3 h 3"/>
                  <a:gd name="T7" fmla="*/ 3 h 3"/>
                  <a:gd name="T8" fmla="*/ 0 h 3"/>
                </a:gd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3"/>
                    </a:moveTo>
                    <a:lnTo>
                      <a:pt x="0" y="3"/>
                    </a:lnTo>
                    <a:lnTo>
                      <a:pt x="0" y="3"/>
                    </a:lnTo>
                    <a:lnTo>
                      <a:pt x="0" y="3"/>
                    </a:lnTo>
                    <a:close/>
                    <a:moveTo>
                      <a:pt x="0" y="0"/>
                    </a:moveTo>
                    <a:lnTo>
                      <a:pt x="0" y="3"/>
                    </a:lnTo>
                    <a:lnTo>
                      <a:pt x="0" y="3"/>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28"/>
              <p:cNvSpPr>
                <a:spLocks noEditPoints="1"/>
              </p:cNvSpPr>
              <p:nvPr/>
            </p:nvSpPr>
            <p:spPr bwMode="auto">
              <a:xfrm flipH="1">
                <a:off x="2869" y="1606"/>
                <a:ext cx="0" cy="3"/>
              </a:xfrm>
              <a:custGeom>
                <a:gdLst>
                  <a:gd name="T0" fmla="*/ 3 h 3"/>
                  <a:gd name="T1" fmla="*/ 3 h 3"/>
                  <a:gd name="T2" fmla="*/ 3 h 3"/>
                  <a:gd name="T3" fmla="*/ 3 h 3"/>
                  <a:gd name="T4" fmla="*/ 0 h 3"/>
                  <a:gd name="T5" fmla="*/ 3 h 3"/>
                  <a:gd name="T6" fmla="*/ 3 h 3"/>
                  <a:gd name="T7" fmla="*/ 3 h 3"/>
                  <a:gd name="T8" fmla="*/ 0 h 3"/>
                </a:gd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3"/>
                    </a:moveTo>
                    <a:lnTo>
                      <a:pt x="0" y="3"/>
                    </a:lnTo>
                    <a:lnTo>
                      <a:pt x="0" y="3"/>
                    </a:lnTo>
                    <a:lnTo>
                      <a:pt x="0" y="3"/>
                    </a:lnTo>
                    <a:moveTo>
                      <a:pt x="0" y="0"/>
                    </a:moveTo>
                    <a:lnTo>
                      <a:pt x="0"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9"/>
              <p:cNvSpPr/>
              <p:nvPr/>
            </p:nvSpPr>
            <p:spPr bwMode="auto">
              <a:xfrm>
                <a:off x="3418" y="388"/>
                <a:ext cx="2" cy="19"/>
              </a:xfrm>
              <a:custGeom>
                <a:gdLst>
                  <a:gd name="T0" fmla="*/ 0 w 1"/>
                  <a:gd name="T1" fmla="*/ 0 h 8"/>
                  <a:gd name="T2" fmla="*/ 0 w 1"/>
                  <a:gd name="T3" fmla="*/ 8 h 8"/>
                  <a:gd name="T4" fmla="*/ 1 w 1"/>
                  <a:gd name="T5" fmla="*/ 3 h 8"/>
                  <a:gd name="T6" fmla="*/ 0 w 1"/>
                  <a:gd name="T7" fmla="*/ 0 h 8"/>
                </a:gdLst>
                <a:cxnLst>
                  <a:cxn ang="0">
                    <a:pos x="T0" y="T1"/>
                  </a:cxn>
                  <a:cxn ang="0">
                    <a:pos x="T2" y="T3"/>
                  </a:cxn>
                  <a:cxn ang="0">
                    <a:pos x="T4" y="T5"/>
                  </a:cxn>
                  <a:cxn ang="0">
                    <a:pos x="T6" y="T7"/>
                  </a:cxn>
                </a:cxnLst>
                <a:rect l="0" t="0" r="r" b="b"/>
                <a:pathLst>
                  <a:path w="1" h="8">
                    <a:moveTo>
                      <a:pt x="0" y="0"/>
                    </a:moveTo>
                    <a:cubicBezTo>
                      <a:pt x="0" y="3"/>
                      <a:pt x="0" y="5"/>
                      <a:pt x="0" y="8"/>
                    </a:cubicBezTo>
                    <a:cubicBezTo>
                      <a:pt x="0" y="7"/>
                      <a:pt x="1" y="5"/>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30"/>
              <p:cNvSpPr>
                <a:spLocks noChangeArrowheads="1"/>
              </p:cNvSpPr>
              <p:nvPr/>
            </p:nvSpPr>
            <p:spPr bwMode="auto">
              <a:xfrm>
                <a:off x="2872" y="161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31"/>
              <p:cNvSpPr>
                <a:spLocks noChangeArrowheads="1"/>
              </p:cNvSpPr>
              <p:nvPr/>
            </p:nvSpPr>
            <p:spPr bwMode="auto">
              <a:xfrm>
                <a:off x="2872" y="161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Rectangle 32"/>
              <p:cNvSpPr>
                <a:spLocks noChangeArrowheads="1"/>
              </p:cNvSpPr>
              <p:nvPr/>
            </p:nvSpPr>
            <p:spPr bwMode="auto">
              <a:xfrm>
                <a:off x="5775" y="296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33"/>
              <p:cNvSpPr/>
              <p:nvPr/>
            </p:nvSpPr>
            <p:spPr bwMode="auto">
              <a:xfrm flipH="1">
                <a:off x="5775" y="296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34"/>
              <p:cNvSpPr/>
              <p:nvPr/>
            </p:nvSpPr>
            <p:spPr bwMode="auto">
              <a:xfrm>
                <a:off x="2926" y="1722"/>
                <a:ext cx="2" cy="3"/>
              </a:xfrm>
              <a:custGeom>
                <a:gdLst>
                  <a:gd name="T0" fmla="*/ 0 w 1"/>
                  <a:gd name="T1" fmla="*/ 0 h 1"/>
                  <a:gd name="T2" fmla="*/ 0 w 1"/>
                  <a:gd name="T3" fmla="*/ 0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0 w 1"/>
                  <a:gd name="T17" fmla="*/ 0 h 1"/>
                  <a:gd name="T18" fmla="*/ 0 w 1"/>
                  <a:gd name="T1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0"/>
                    </a:moveTo>
                    <a:cubicBezTo>
                      <a:pt x="0" y="0"/>
                      <a:pt x="0" y="0"/>
                      <a:pt x="0" y="0"/>
                    </a:cubicBezTo>
                    <a:cubicBezTo>
                      <a:pt x="0" y="1"/>
                      <a:pt x="0"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35"/>
              <p:cNvSpPr/>
              <p:nvPr/>
            </p:nvSpPr>
            <p:spPr bwMode="auto">
              <a:xfrm>
                <a:off x="6104" y="2091"/>
                <a:ext cx="3" cy="0"/>
              </a:xfrm>
              <a:custGeom>
                <a:gdLst>
                  <a:gd name="T0" fmla="*/ 3 w 3"/>
                  <a:gd name="T1" fmla="*/ 0 w 3"/>
                  <a:gd name="T2" fmla="*/ 3 w 3"/>
                  <a:gd name="T3" fmla="*/ 3 w 3"/>
                  <a:gd name="T4" fmla="*/ 3 w 3"/>
                </a:gdLst>
                <a:cxnLst>
                  <a:cxn ang="0">
                    <a:pos x="T0" y="0"/>
                  </a:cxn>
                  <a:cxn ang="0">
                    <a:pos x="T1" y="0"/>
                  </a:cxn>
                  <a:cxn ang="0">
                    <a:pos x="T2" y="0"/>
                  </a:cxn>
                  <a:cxn ang="0">
                    <a:pos x="T3" y="0"/>
                  </a:cxn>
                  <a:cxn ang="0">
                    <a:pos x="T4" y="0"/>
                  </a:cxn>
                </a:cxnLst>
                <a:rect l="0" t="0" r="r" b="b"/>
                <a:pathLst>
                  <a:path w="3">
                    <a:moveTo>
                      <a:pt x="3" y="0"/>
                    </a:moveTo>
                    <a:lnTo>
                      <a:pt x="0"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36"/>
              <p:cNvSpPr/>
              <p:nvPr/>
            </p:nvSpPr>
            <p:spPr bwMode="auto">
              <a:xfrm>
                <a:off x="6104" y="2091"/>
                <a:ext cx="3" cy="0"/>
              </a:xfrm>
              <a:custGeom>
                <a:gdLst>
                  <a:gd name="T0" fmla="*/ 3 w 3"/>
                  <a:gd name="T1" fmla="*/ 0 w 3"/>
                  <a:gd name="T2" fmla="*/ 3 w 3"/>
                  <a:gd name="T3" fmla="*/ 3 w 3"/>
                  <a:gd name="T4" fmla="*/ 3 w 3"/>
                </a:gdLst>
                <a:cxnLst>
                  <a:cxn ang="0">
                    <a:pos x="T0" y="0"/>
                  </a:cxn>
                  <a:cxn ang="0">
                    <a:pos x="T1" y="0"/>
                  </a:cxn>
                  <a:cxn ang="0">
                    <a:pos x="T2" y="0"/>
                  </a:cxn>
                  <a:cxn ang="0">
                    <a:pos x="T3" y="0"/>
                  </a:cxn>
                  <a:cxn ang="0">
                    <a:pos x="T4" y="0"/>
                  </a:cxn>
                </a:cxnLst>
                <a:rect l="0" t="0" r="r" b="b"/>
                <a:pathLst>
                  <a:path w="3">
                    <a:moveTo>
                      <a:pt x="3" y="0"/>
                    </a:moveTo>
                    <a:lnTo>
                      <a:pt x="0" y="0"/>
                    </a:lnTo>
                    <a:lnTo>
                      <a:pt x="3" y="0"/>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37"/>
              <p:cNvSpPr/>
              <p:nvPr/>
            </p:nvSpPr>
            <p:spPr bwMode="auto">
              <a:xfrm>
                <a:off x="2794" y="381"/>
                <a:ext cx="9" cy="9"/>
              </a:xfrm>
              <a:custGeom>
                <a:gdLst>
                  <a:gd name="T0" fmla="*/ 4 w 4"/>
                  <a:gd name="T1" fmla="*/ 0 h 4"/>
                  <a:gd name="T2" fmla="*/ 0 w 4"/>
                  <a:gd name="T3" fmla="*/ 4 h 4"/>
                  <a:gd name="T4" fmla="*/ 4 w 4"/>
                  <a:gd name="T5" fmla="*/ 0 h 4"/>
                </a:gdLst>
                <a:cxnLst>
                  <a:cxn ang="0">
                    <a:pos x="T0" y="T1"/>
                  </a:cxn>
                  <a:cxn ang="0">
                    <a:pos x="T2" y="T3"/>
                  </a:cxn>
                  <a:cxn ang="0">
                    <a:pos x="T4" y="T5"/>
                  </a:cxn>
                </a:cxnLst>
                <a:rect l="0" t="0" r="r" b="b"/>
                <a:pathLst>
                  <a:path w="4" h="4">
                    <a:moveTo>
                      <a:pt x="4" y="0"/>
                    </a:moveTo>
                    <a:cubicBezTo>
                      <a:pt x="4" y="1"/>
                      <a:pt x="1" y="4"/>
                      <a:pt x="0" y="4"/>
                    </a:cubicBezTo>
                    <a:cubicBezTo>
                      <a:pt x="1" y="4"/>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38"/>
              <p:cNvSpPr/>
              <p:nvPr/>
            </p:nvSpPr>
            <p:spPr bwMode="auto">
              <a:xfrm>
                <a:off x="6873" y="1874"/>
                <a:ext cx="9" cy="7"/>
              </a:xfrm>
              <a:custGeom>
                <a:gdLst>
                  <a:gd name="T0" fmla="*/ 4 w 4"/>
                  <a:gd name="T1" fmla="*/ 0 h 3"/>
                  <a:gd name="T2" fmla="*/ 0 w 4"/>
                  <a:gd name="T3" fmla="*/ 2 h 3"/>
                  <a:gd name="T4" fmla="*/ 0 w 4"/>
                  <a:gd name="T5" fmla="*/ 2 h 3"/>
                  <a:gd name="T6" fmla="*/ 1 w 4"/>
                  <a:gd name="T7" fmla="*/ 3 h 3"/>
                  <a:gd name="T8" fmla="*/ 4 w 4"/>
                  <a:gd name="T9" fmla="*/ 0 h 3"/>
                </a:gdLst>
                <a:cxnLst>
                  <a:cxn ang="0">
                    <a:pos x="T0" y="T1"/>
                  </a:cxn>
                  <a:cxn ang="0">
                    <a:pos x="T2" y="T3"/>
                  </a:cxn>
                  <a:cxn ang="0">
                    <a:pos x="T4" y="T5"/>
                  </a:cxn>
                  <a:cxn ang="0">
                    <a:pos x="T6" y="T7"/>
                  </a:cxn>
                  <a:cxn ang="0">
                    <a:pos x="T8" y="T9"/>
                  </a:cxn>
                </a:cxnLst>
                <a:rect l="0" t="0" r="r" b="b"/>
                <a:pathLst>
                  <a:path w="4" h="3">
                    <a:moveTo>
                      <a:pt x="4" y="0"/>
                    </a:moveTo>
                    <a:cubicBezTo>
                      <a:pt x="3" y="1"/>
                      <a:pt x="1" y="1"/>
                      <a:pt x="0" y="2"/>
                    </a:cubicBezTo>
                    <a:cubicBezTo>
                      <a:pt x="0" y="2"/>
                      <a:pt x="0" y="2"/>
                      <a:pt x="0" y="2"/>
                    </a:cubicBezTo>
                    <a:cubicBezTo>
                      <a:pt x="0" y="2"/>
                      <a:pt x="1" y="2"/>
                      <a:pt x="1" y="3"/>
                    </a:cubicBezTo>
                    <a:cubicBezTo>
                      <a:pt x="1"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39"/>
              <p:cNvSpPr/>
              <p:nvPr/>
            </p:nvSpPr>
            <p:spPr bwMode="auto">
              <a:xfrm>
                <a:off x="2855" y="1658"/>
                <a:ext cx="2" cy="3"/>
              </a:xfrm>
              <a:custGeom>
                <a:gdLst>
                  <a:gd name="T0" fmla="*/ 1 w 1"/>
                  <a:gd name="T1" fmla="*/ 0 h 1"/>
                  <a:gd name="T2" fmla="*/ 0 w 1"/>
                  <a:gd name="T3" fmla="*/ 0 h 1"/>
                  <a:gd name="T4" fmla="*/ 1 w 1"/>
                  <a:gd name="T5" fmla="*/ 1 h 1"/>
                  <a:gd name="T6" fmla="*/ 1 w 1"/>
                  <a:gd name="T7" fmla="*/ 1 h 1"/>
                  <a:gd name="T8" fmla="*/ 1 w 1"/>
                  <a:gd name="T9" fmla="*/ 0 h 1"/>
                  <a:gd name="T10" fmla="*/ 1 w 1"/>
                  <a:gd name="T11" fmla="*/ 0 h 1"/>
                </a:gd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0"/>
                      <a:pt x="0" y="0"/>
                    </a:cubicBezTo>
                    <a:cubicBezTo>
                      <a:pt x="1" y="0"/>
                      <a:pt x="1" y="1"/>
                      <a:pt x="1" y="1"/>
                    </a:cubicBezTo>
                    <a:cubicBezTo>
                      <a:pt x="1" y="1"/>
                      <a:pt x="1" y="1"/>
                      <a:pt x="1" y="1"/>
                    </a:cubicBezTo>
                    <a:cubicBezTo>
                      <a:pt x="1" y="1"/>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40"/>
              <p:cNvSpPr/>
              <p:nvPr/>
            </p:nvSpPr>
            <p:spPr bwMode="auto">
              <a:xfrm>
                <a:off x="6516" y="1964"/>
                <a:ext cx="4" cy="0"/>
              </a:xfrm>
              <a:custGeom>
                <a:gdLst>
                  <a:gd name="T0" fmla="*/ 1 w 2"/>
                  <a:gd name="T1" fmla="*/ 0 w 2"/>
                  <a:gd name="T2" fmla="*/ 1 w 2"/>
                  <a:gd name="T3" fmla="*/ 1 w 2"/>
                  <a:gd name="T4" fmla="*/ 2 w 2"/>
                  <a:gd name="T5" fmla="*/ 2 w 2"/>
                  <a:gd name="T6" fmla="*/ 2 w 2"/>
                  <a:gd name="T7" fmla="*/ 2 w 2"/>
                  <a:gd name="T8" fmla="*/ 1 w 2"/>
                </a:gd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1" y="0"/>
                    </a:moveTo>
                    <a:cubicBezTo>
                      <a:pt x="1" y="0"/>
                      <a:pt x="1" y="0"/>
                      <a:pt x="0" y="0"/>
                    </a:cubicBezTo>
                    <a:cubicBezTo>
                      <a:pt x="1" y="0"/>
                      <a:pt x="1" y="0"/>
                      <a:pt x="1" y="0"/>
                    </a:cubicBezTo>
                    <a:cubicBezTo>
                      <a:pt x="1" y="0"/>
                      <a:pt x="1" y="0"/>
                      <a:pt x="1" y="0"/>
                    </a:cubicBezTo>
                    <a:cubicBezTo>
                      <a:pt x="2" y="0"/>
                      <a:pt x="2" y="0"/>
                      <a:pt x="2" y="0"/>
                    </a:cubicBezTo>
                    <a:cubicBezTo>
                      <a:pt x="2" y="0"/>
                      <a:pt x="2" y="0"/>
                      <a:pt x="2" y="0"/>
                    </a:cubicBezTo>
                    <a:cubicBezTo>
                      <a:pt x="2" y="0"/>
                      <a:pt x="2" y="0"/>
                      <a:pt x="2" y="0"/>
                    </a:cubicBezTo>
                    <a:cubicBezTo>
                      <a:pt x="2" y="0"/>
                      <a:pt x="2"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41"/>
              <p:cNvSpPr/>
              <p:nvPr/>
            </p:nvSpPr>
            <p:spPr bwMode="auto">
              <a:xfrm>
                <a:off x="6490" y="1959"/>
                <a:ext cx="19" cy="2"/>
              </a:xfrm>
              <a:custGeom>
                <a:gdLst>
                  <a:gd name="T0" fmla="*/ 6 w 8"/>
                  <a:gd name="T1" fmla="*/ 0 h 1"/>
                  <a:gd name="T2" fmla="*/ 3 w 8"/>
                  <a:gd name="T3" fmla="*/ 1 h 1"/>
                  <a:gd name="T4" fmla="*/ 0 w 8"/>
                  <a:gd name="T5" fmla="*/ 1 h 1"/>
                  <a:gd name="T6" fmla="*/ 1 w 8"/>
                  <a:gd name="T7" fmla="*/ 1 h 1"/>
                  <a:gd name="T8" fmla="*/ 1 w 8"/>
                  <a:gd name="T9" fmla="*/ 1 h 1"/>
                  <a:gd name="T10" fmla="*/ 1 w 8"/>
                  <a:gd name="T11" fmla="*/ 1 h 1"/>
                  <a:gd name="T12" fmla="*/ 8 w 8"/>
                  <a:gd name="T13" fmla="*/ 1 h 1"/>
                  <a:gd name="T14" fmla="*/ 8 w 8"/>
                  <a:gd name="T15" fmla="*/ 1 h 1"/>
                  <a:gd name="T16" fmla="*/ 7 w 8"/>
                  <a:gd name="T17" fmla="*/ 0 h 1"/>
                  <a:gd name="T18" fmla="*/ 7 w 8"/>
                  <a:gd name="T19" fmla="*/ 0 h 1"/>
                  <a:gd name="T20" fmla="*/ 7 w 8"/>
                  <a:gd name="T21" fmla="*/ 0 h 1"/>
                  <a:gd name="T22" fmla="*/ 7 w 8"/>
                  <a:gd name="T23" fmla="*/ 0 h 1"/>
                  <a:gd name="T24" fmla="*/ 7 w 8"/>
                  <a:gd name="T25" fmla="*/ 0 h 1"/>
                  <a:gd name="T26" fmla="*/ 6 w 8"/>
                  <a:gd name="T27" fmla="*/ 0 h 1"/>
                  <a:gd name="T28" fmla="*/ 6 w 8"/>
                  <a:gd name="T29" fmla="*/ 0 h 1"/>
                  <a:gd name="T30" fmla="*/ 6 w 8"/>
                  <a:gd name="T31"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
                    <a:moveTo>
                      <a:pt x="6" y="0"/>
                    </a:moveTo>
                    <a:cubicBezTo>
                      <a:pt x="5" y="0"/>
                      <a:pt x="4" y="1"/>
                      <a:pt x="3" y="1"/>
                    </a:cubicBezTo>
                    <a:cubicBezTo>
                      <a:pt x="2" y="1"/>
                      <a:pt x="1" y="1"/>
                      <a:pt x="0" y="1"/>
                    </a:cubicBezTo>
                    <a:cubicBezTo>
                      <a:pt x="1" y="1"/>
                      <a:pt x="1" y="1"/>
                      <a:pt x="1" y="1"/>
                    </a:cubicBezTo>
                    <a:cubicBezTo>
                      <a:pt x="1" y="1"/>
                      <a:pt x="1" y="1"/>
                      <a:pt x="1" y="1"/>
                    </a:cubicBezTo>
                    <a:cubicBezTo>
                      <a:pt x="1" y="1"/>
                      <a:pt x="1" y="1"/>
                      <a:pt x="1" y="1"/>
                    </a:cubicBezTo>
                    <a:cubicBezTo>
                      <a:pt x="3" y="1"/>
                      <a:pt x="6" y="1"/>
                      <a:pt x="8" y="1"/>
                    </a:cubicBezTo>
                    <a:cubicBezTo>
                      <a:pt x="8" y="1"/>
                      <a:pt x="8" y="1"/>
                      <a:pt x="8"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42"/>
              <p:cNvSpPr>
                <a:spLocks noChangeArrowheads="1"/>
              </p:cNvSpPr>
              <p:nvPr/>
            </p:nvSpPr>
            <p:spPr bwMode="auto">
              <a:xfrm>
                <a:off x="6523" y="196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43"/>
              <p:cNvSpPr/>
              <p:nvPr/>
            </p:nvSpPr>
            <p:spPr bwMode="auto">
              <a:xfrm flipH="1">
                <a:off x="6523" y="1964"/>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44"/>
              <p:cNvSpPr>
                <a:spLocks noEditPoints="1"/>
              </p:cNvSpPr>
              <p:nvPr/>
            </p:nvSpPr>
            <p:spPr bwMode="auto">
              <a:xfrm>
                <a:off x="5612" y="3118"/>
                <a:ext cx="3" cy="2"/>
              </a:xfrm>
              <a:custGeom>
                <a:gdLst>
                  <a:gd name="T0" fmla="*/ 1 w 1"/>
                  <a:gd name="T1" fmla="*/ 0 h 1"/>
                  <a:gd name="T2" fmla="*/ 0 w 1"/>
                  <a:gd name="T3" fmla="*/ 1 h 1"/>
                  <a:gd name="T4" fmla="*/ 1 w 1"/>
                  <a:gd name="T5" fmla="*/ 0 h 1"/>
                  <a:gd name="T6" fmla="*/ 1 w 1"/>
                  <a:gd name="T7" fmla="*/ 0 h 1"/>
                  <a:gd name="T8" fmla="*/ 1 w 1"/>
                  <a:gd name="T9" fmla="*/ 0 h 1"/>
                  <a:gd name="T10" fmla="*/ 1 w 1"/>
                  <a:gd name="T11" fmla="*/ 0 h 1"/>
                </a:gd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0" y="1"/>
                    </a:cubicBezTo>
                    <a:cubicBezTo>
                      <a:pt x="1" y="1"/>
                      <a:pt x="1" y="1"/>
                      <a:pt x="1" y="0"/>
                    </a:cubicBezTo>
                    <a:moveTo>
                      <a:pt x="1" y="0"/>
                    </a:move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45"/>
              <p:cNvSpPr>
                <a:spLocks noChangeArrowheads="1"/>
              </p:cNvSpPr>
              <p:nvPr/>
            </p:nvSpPr>
            <p:spPr bwMode="auto">
              <a:xfrm>
                <a:off x="1193" y="3745"/>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46"/>
              <p:cNvSpPr/>
              <p:nvPr/>
            </p:nvSpPr>
            <p:spPr bwMode="auto">
              <a:xfrm flipH="1">
                <a:off x="1193" y="3745"/>
                <a:ext cx="0" cy="2"/>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47"/>
              <p:cNvSpPr/>
              <p:nvPr/>
            </p:nvSpPr>
            <p:spPr bwMode="auto">
              <a:xfrm>
                <a:off x="1405" y="3835"/>
                <a:ext cx="10" cy="2"/>
              </a:xfrm>
              <a:custGeom>
                <a:gdLst>
                  <a:gd name="T0" fmla="*/ 3 w 4"/>
                  <a:gd name="T1" fmla="*/ 0 h 1"/>
                  <a:gd name="T2" fmla="*/ 0 w 4"/>
                  <a:gd name="T3" fmla="*/ 1 h 1"/>
                  <a:gd name="T4" fmla="*/ 2 w 4"/>
                  <a:gd name="T5" fmla="*/ 1 h 1"/>
                  <a:gd name="T6" fmla="*/ 4 w 4"/>
                  <a:gd name="T7" fmla="*/ 0 h 1"/>
                  <a:gd name="T8" fmla="*/ 3 w 4"/>
                  <a:gd name="T9" fmla="*/ 0 h 1"/>
                </a:gdLst>
                <a:cxnLst>
                  <a:cxn ang="0">
                    <a:pos x="T0" y="T1"/>
                  </a:cxn>
                  <a:cxn ang="0">
                    <a:pos x="T2" y="T3"/>
                  </a:cxn>
                  <a:cxn ang="0">
                    <a:pos x="T4" y="T5"/>
                  </a:cxn>
                  <a:cxn ang="0">
                    <a:pos x="T6" y="T7"/>
                  </a:cxn>
                  <a:cxn ang="0">
                    <a:pos x="T8" y="T9"/>
                  </a:cxn>
                </a:cxnLst>
                <a:rect l="0" t="0" r="r" b="b"/>
                <a:pathLst>
                  <a:path w="4" h="1">
                    <a:moveTo>
                      <a:pt x="3" y="0"/>
                    </a:moveTo>
                    <a:cubicBezTo>
                      <a:pt x="2" y="0"/>
                      <a:pt x="1" y="0"/>
                      <a:pt x="0" y="1"/>
                    </a:cubicBezTo>
                    <a:cubicBezTo>
                      <a:pt x="1" y="1"/>
                      <a:pt x="2" y="1"/>
                      <a:pt x="2" y="1"/>
                    </a:cubicBezTo>
                    <a:cubicBezTo>
                      <a:pt x="3" y="1"/>
                      <a:pt x="4"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48"/>
              <p:cNvSpPr/>
              <p:nvPr/>
            </p:nvSpPr>
            <p:spPr bwMode="auto">
              <a:xfrm>
                <a:off x="1387" y="3814"/>
                <a:ext cx="14" cy="11"/>
              </a:xfrm>
              <a:custGeom>
                <a:gdLst>
                  <a:gd name="T0" fmla="*/ 4 w 6"/>
                  <a:gd name="T1" fmla="*/ 0 h 5"/>
                  <a:gd name="T2" fmla="*/ 3 w 6"/>
                  <a:gd name="T3" fmla="*/ 1 h 5"/>
                  <a:gd name="T4" fmla="*/ 3 w 6"/>
                  <a:gd name="T5" fmla="*/ 1 h 5"/>
                  <a:gd name="T6" fmla="*/ 0 w 6"/>
                  <a:gd name="T7" fmla="*/ 2 h 5"/>
                  <a:gd name="T8" fmla="*/ 1 w 6"/>
                  <a:gd name="T9" fmla="*/ 4 h 5"/>
                  <a:gd name="T10" fmla="*/ 2 w 6"/>
                  <a:gd name="T11" fmla="*/ 5 h 5"/>
                  <a:gd name="T12" fmla="*/ 3 w 6"/>
                  <a:gd name="T13" fmla="*/ 5 h 5"/>
                  <a:gd name="T14" fmla="*/ 3 w 6"/>
                  <a:gd name="T15" fmla="*/ 5 h 5"/>
                  <a:gd name="T16" fmla="*/ 5 w 6"/>
                  <a:gd name="T17" fmla="*/ 2 h 5"/>
                  <a:gd name="T18" fmla="*/ 4 w 6"/>
                  <a:gd name="T19" fmla="*/ 1 h 5"/>
                  <a:gd name="T20" fmla="*/ 4 w 6"/>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4" y="0"/>
                    </a:moveTo>
                    <a:cubicBezTo>
                      <a:pt x="3" y="1"/>
                      <a:pt x="3" y="1"/>
                      <a:pt x="3" y="1"/>
                    </a:cubicBezTo>
                    <a:cubicBezTo>
                      <a:pt x="3" y="1"/>
                      <a:pt x="3" y="1"/>
                      <a:pt x="3" y="1"/>
                    </a:cubicBezTo>
                    <a:cubicBezTo>
                      <a:pt x="2" y="1"/>
                      <a:pt x="1" y="1"/>
                      <a:pt x="0" y="2"/>
                    </a:cubicBezTo>
                    <a:cubicBezTo>
                      <a:pt x="0" y="2"/>
                      <a:pt x="1" y="3"/>
                      <a:pt x="1" y="4"/>
                    </a:cubicBezTo>
                    <a:cubicBezTo>
                      <a:pt x="1" y="4"/>
                      <a:pt x="2" y="5"/>
                      <a:pt x="2" y="5"/>
                    </a:cubicBezTo>
                    <a:cubicBezTo>
                      <a:pt x="2" y="5"/>
                      <a:pt x="2" y="5"/>
                      <a:pt x="3" y="5"/>
                    </a:cubicBezTo>
                    <a:cubicBezTo>
                      <a:pt x="3" y="5"/>
                      <a:pt x="3" y="5"/>
                      <a:pt x="3" y="5"/>
                    </a:cubicBezTo>
                    <a:cubicBezTo>
                      <a:pt x="5" y="4"/>
                      <a:pt x="6" y="4"/>
                      <a:pt x="5" y="2"/>
                    </a:cubicBezTo>
                    <a:cubicBezTo>
                      <a:pt x="5" y="2"/>
                      <a:pt x="4" y="1"/>
                      <a:pt x="4" y="1"/>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49"/>
              <p:cNvSpPr/>
              <p:nvPr/>
            </p:nvSpPr>
            <p:spPr bwMode="auto">
              <a:xfrm>
                <a:off x="1212" y="3755"/>
                <a:ext cx="7" cy="11"/>
              </a:xfrm>
              <a:custGeom>
                <a:gdLst>
                  <a:gd name="T0" fmla="*/ 3 w 3"/>
                  <a:gd name="T1" fmla="*/ 0 h 5"/>
                  <a:gd name="T2" fmla="*/ 2 w 3"/>
                  <a:gd name="T3" fmla="*/ 1 h 5"/>
                  <a:gd name="T4" fmla="*/ 0 w 3"/>
                  <a:gd name="T5" fmla="*/ 5 h 5"/>
                  <a:gd name="T6" fmla="*/ 2 w 3"/>
                  <a:gd name="T7" fmla="*/ 1 h 5"/>
                  <a:gd name="T8" fmla="*/ 3 w 3"/>
                  <a:gd name="T9" fmla="*/ 0 h 5"/>
                </a:gdLst>
                <a:cxnLst>
                  <a:cxn ang="0">
                    <a:pos x="T0" y="T1"/>
                  </a:cxn>
                  <a:cxn ang="0">
                    <a:pos x="T2" y="T3"/>
                  </a:cxn>
                  <a:cxn ang="0">
                    <a:pos x="T4" y="T5"/>
                  </a:cxn>
                  <a:cxn ang="0">
                    <a:pos x="T6" y="T7"/>
                  </a:cxn>
                  <a:cxn ang="0">
                    <a:pos x="T8" y="T9"/>
                  </a:cxn>
                </a:cxnLst>
                <a:rect l="0" t="0" r="r" b="b"/>
                <a:pathLst>
                  <a:path w="3" h="5">
                    <a:moveTo>
                      <a:pt x="3" y="0"/>
                    </a:moveTo>
                    <a:cubicBezTo>
                      <a:pt x="2" y="1"/>
                      <a:pt x="2" y="1"/>
                      <a:pt x="2" y="1"/>
                    </a:cubicBezTo>
                    <a:cubicBezTo>
                      <a:pt x="1" y="2"/>
                      <a:pt x="1" y="3"/>
                      <a:pt x="0" y="5"/>
                    </a:cubicBezTo>
                    <a:cubicBezTo>
                      <a:pt x="1" y="4"/>
                      <a:pt x="2" y="3"/>
                      <a:pt x="2"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50"/>
              <p:cNvSpPr/>
              <p:nvPr/>
            </p:nvSpPr>
            <p:spPr bwMode="auto">
              <a:xfrm>
                <a:off x="1318" y="3771"/>
                <a:ext cx="35" cy="26"/>
              </a:xfrm>
              <a:custGeom>
                <a:gdLst>
                  <a:gd name="T0" fmla="*/ 7 w 15"/>
                  <a:gd name="T1" fmla="*/ 0 h 11"/>
                  <a:gd name="T2" fmla="*/ 6 w 15"/>
                  <a:gd name="T3" fmla="*/ 0 h 11"/>
                  <a:gd name="T4" fmla="*/ 4 w 15"/>
                  <a:gd name="T5" fmla="*/ 2 h 11"/>
                  <a:gd name="T6" fmla="*/ 0 w 15"/>
                  <a:gd name="T7" fmla="*/ 3 h 11"/>
                  <a:gd name="T8" fmla="*/ 4 w 15"/>
                  <a:gd name="T9" fmla="*/ 9 h 11"/>
                  <a:gd name="T10" fmla="*/ 5 w 15"/>
                  <a:gd name="T11" fmla="*/ 9 h 11"/>
                  <a:gd name="T12" fmla="*/ 6 w 15"/>
                  <a:gd name="T13" fmla="*/ 8 h 11"/>
                  <a:gd name="T14" fmla="*/ 8 w 15"/>
                  <a:gd name="T15" fmla="*/ 7 h 11"/>
                  <a:gd name="T16" fmla="*/ 8 w 15"/>
                  <a:gd name="T17" fmla="*/ 7 h 11"/>
                  <a:gd name="T18" fmla="*/ 11 w 15"/>
                  <a:gd name="T19" fmla="*/ 11 h 11"/>
                  <a:gd name="T20" fmla="*/ 15 w 15"/>
                  <a:gd name="T21" fmla="*/ 9 h 11"/>
                  <a:gd name="T22" fmla="*/ 7 w 15"/>
                  <a:gd name="T2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7" y="0"/>
                    </a:moveTo>
                    <a:cubicBezTo>
                      <a:pt x="7" y="0"/>
                      <a:pt x="6" y="0"/>
                      <a:pt x="6" y="0"/>
                    </a:cubicBezTo>
                    <a:cubicBezTo>
                      <a:pt x="5" y="0"/>
                      <a:pt x="5" y="2"/>
                      <a:pt x="4" y="2"/>
                    </a:cubicBezTo>
                    <a:cubicBezTo>
                      <a:pt x="3" y="3"/>
                      <a:pt x="2" y="3"/>
                      <a:pt x="0" y="3"/>
                    </a:cubicBezTo>
                    <a:cubicBezTo>
                      <a:pt x="2" y="4"/>
                      <a:pt x="2" y="7"/>
                      <a:pt x="4" y="9"/>
                    </a:cubicBezTo>
                    <a:cubicBezTo>
                      <a:pt x="4" y="9"/>
                      <a:pt x="5" y="9"/>
                      <a:pt x="5" y="9"/>
                    </a:cubicBezTo>
                    <a:cubicBezTo>
                      <a:pt x="5" y="9"/>
                      <a:pt x="6" y="9"/>
                      <a:pt x="6" y="8"/>
                    </a:cubicBezTo>
                    <a:cubicBezTo>
                      <a:pt x="6" y="8"/>
                      <a:pt x="7" y="7"/>
                      <a:pt x="8" y="7"/>
                    </a:cubicBezTo>
                    <a:cubicBezTo>
                      <a:pt x="8" y="7"/>
                      <a:pt x="8" y="7"/>
                      <a:pt x="8" y="7"/>
                    </a:cubicBezTo>
                    <a:cubicBezTo>
                      <a:pt x="7" y="8"/>
                      <a:pt x="10" y="10"/>
                      <a:pt x="11" y="11"/>
                    </a:cubicBezTo>
                    <a:cubicBezTo>
                      <a:pt x="13" y="10"/>
                      <a:pt x="14" y="10"/>
                      <a:pt x="15" y="9"/>
                    </a:cubicBezTo>
                    <a:cubicBezTo>
                      <a:pt x="13" y="7"/>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51"/>
              <p:cNvSpPr/>
              <p:nvPr/>
            </p:nvSpPr>
            <p:spPr bwMode="auto">
              <a:xfrm>
                <a:off x="1439" y="3854"/>
                <a:ext cx="71" cy="76"/>
              </a:xfrm>
              <a:custGeom>
                <a:gdLst>
                  <a:gd name="T0" fmla="*/ 6 w 30"/>
                  <a:gd name="T1" fmla="*/ 0 h 32"/>
                  <a:gd name="T2" fmla="*/ 5 w 30"/>
                  <a:gd name="T3" fmla="*/ 4 h 32"/>
                  <a:gd name="T4" fmla="*/ 5 w 30"/>
                  <a:gd name="T5" fmla="*/ 7 h 32"/>
                  <a:gd name="T6" fmla="*/ 2 w 30"/>
                  <a:gd name="T7" fmla="*/ 11 h 32"/>
                  <a:gd name="T8" fmla="*/ 3 w 30"/>
                  <a:gd name="T9" fmla="*/ 17 h 32"/>
                  <a:gd name="T10" fmla="*/ 4 w 30"/>
                  <a:gd name="T11" fmla="*/ 24 h 32"/>
                  <a:gd name="T12" fmla="*/ 10 w 30"/>
                  <a:gd name="T13" fmla="*/ 32 h 32"/>
                  <a:gd name="T14" fmla="*/ 30 w 30"/>
                  <a:gd name="T15" fmla="*/ 18 h 32"/>
                  <a:gd name="T16" fmla="*/ 26 w 30"/>
                  <a:gd name="T17" fmla="*/ 14 h 32"/>
                  <a:gd name="T18" fmla="*/ 24 w 30"/>
                  <a:gd name="T19" fmla="*/ 12 h 32"/>
                  <a:gd name="T20" fmla="*/ 21 w 30"/>
                  <a:gd name="T21" fmla="*/ 7 h 32"/>
                  <a:gd name="T22" fmla="*/ 17 w 30"/>
                  <a:gd name="T23" fmla="*/ 5 h 32"/>
                  <a:gd name="T24" fmla="*/ 10 w 30"/>
                  <a:gd name="T25" fmla="*/ 2 h 32"/>
                  <a:gd name="T26" fmla="*/ 6 w 30"/>
                  <a:gd name="T27"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2">
                    <a:moveTo>
                      <a:pt x="6" y="0"/>
                    </a:moveTo>
                    <a:cubicBezTo>
                      <a:pt x="5" y="0"/>
                      <a:pt x="4" y="1"/>
                      <a:pt x="5" y="4"/>
                    </a:cubicBezTo>
                    <a:cubicBezTo>
                      <a:pt x="6" y="6"/>
                      <a:pt x="6" y="5"/>
                      <a:pt x="5" y="7"/>
                    </a:cubicBezTo>
                    <a:cubicBezTo>
                      <a:pt x="4" y="9"/>
                      <a:pt x="3" y="9"/>
                      <a:pt x="2" y="11"/>
                    </a:cubicBezTo>
                    <a:cubicBezTo>
                      <a:pt x="0" y="13"/>
                      <a:pt x="2" y="14"/>
                      <a:pt x="3" y="17"/>
                    </a:cubicBezTo>
                    <a:cubicBezTo>
                      <a:pt x="4" y="19"/>
                      <a:pt x="5" y="21"/>
                      <a:pt x="4" y="24"/>
                    </a:cubicBezTo>
                    <a:cubicBezTo>
                      <a:pt x="4" y="29"/>
                      <a:pt x="6" y="30"/>
                      <a:pt x="10" y="32"/>
                    </a:cubicBezTo>
                    <a:cubicBezTo>
                      <a:pt x="17" y="27"/>
                      <a:pt x="23" y="22"/>
                      <a:pt x="30" y="18"/>
                    </a:cubicBezTo>
                    <a:cubicBezTo>
                      <a:pt x="28" y="17"/>
                      <a:pt x="27" y="16"/>
                      <a:pt x="26" y="14"/>
                    </a:cubicBezTo>
                    <a:cubicBezTo>
                      <a:pt x="25" y="12"/>
                      <a:pt x="25" y="13"/>
                      <a:pt x="24" y="12"/>
                    </a:cubicBezTo>
                    <a:cubicBezTo>
                      <a:pt x="22" y="10"/>
                      <a:pt x="23" y="8"/>
                      <a:pt x="21" y="7"/>
                    </a:cubicBezTo>
                    <a:cubicBezTo>
                      <a:pt x="19" y="6"/>
                      <a:pt x="18" y="5"/>
                      <a:pt x="17" y="5"/>
                    </a:cubicBezTo>
                    <a:cubicBezTo>
                      <a:pt x="14" y="3"/>
                      <a:pt x="12" y="3"/>
                      <a:pt x="10" y="2"/>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52"/>
              <p:cNvSpPr/>
              <p:nvPr/>
            </p:nvSpPr>
            <p:spPr bwMode="auto">
              <a:xfrm>
                <a:off x="1403" y="3809"/>
                <a:ext cx="43" cy="26"/>
              </a:xfrm>
              <a:custGeom>
                <a:gdLst>
                  <a:gd name="T0" fmla="*/ 5 w 18"/>
                  <a:gd name="T1" fmla="*/ 0 h 11"/>
                  <a:gd name="T2" fmla="*/ 5 w 18"/>
                  <a:gd name="T3" fmla="*/ 1 h 11"/>
                  <a:gd name="T4" fmla="*/ 5 w 18"/>
                  <a:gd name="T5" fmla="*/ 2 h 11"/>
                  <a:gd name="T6" fmla="*/ 3 w 18"/>
                  <a:gd name="T7" fmla="*/ 1 h 11"/>
                  <a:gd name="T8" fmla="*/ 2 w 18"/>
                  <a:gd name="T9" fmla="*/ 1 h 11"/>
                  <a:gd name="T10" fmla="*/ 3 w 18"/>
                  <a:gd name="T11" fmla="*/ 5 h 11"/>
                  <a:gd name="T12" fmla="*/ 4 w 18"/>
                  <a:gd name="T13" fmla="*/ 6 h 11"/>
                  <a:gd name="T14" fmla="*/ 7 w 18"/>
                  <a:gd name="T15" fmla="*/ 7 h 11"/>
                  <a:gd name="T16" fmla="*/ 7 w 18"/>
                  <a:gd name="T17" fmla="*/ 8 h 11"/>
                  <a:gd name="T18" fmla="*/ 10 w 18"/>
                  <a:gd name="T19" fmla="*/ 11 h 11"/>
                  <a:gd name="T20" fmla="*/ 12 w 18"/>
                  <a:gd name="T21" fmla="*/ 10 h 11"/>
                  <a:gd name="T22" fmla="*/ 14 w 18"/>
                  <a:gd name="T23" fmla="*/ 10 h 11"/>
                  <a:gd name="T24" fmla="*/ 17 w 18"/>
                  <a:gd name="T25" fmla="*/ 9 h 11"/>
                  <a:gd name="T26" fmla="*/ 18 w 18"/>
                  <a:gd name="T27" fmla="*/ 7 h 11"/>
                  <a:gd name="T28" fmla="*/ 16 w 18"/>
                  <a:gd name="T29" fmla="*/ 5 h 11"/>
                  <a:gd name="T30" fmla="*/ 12 w 18"/>
                  <a:gd name="T31" fmla="*/ 2 h 11"/>
                  <a:gd name="T32" fmla="*/ 10 w 18"/>
                  <a:gd name="T33" fmla="*/ 2 h 11"/>
                  <a:gd name="T34" fmla="*/ 10 w 18"/>
                  <a:gd name="T35" fmla="*/ 2 h 11"/>
                  <a:gd name="T36" fmla="*/ 10 w 18"/>
                  <a:gd name="T37" fmla="*/ 2 h 11"/>
                  <a:gd name="T38" fmla="*/ 9 w 18"/>
                  <a:gd name="T39" fmla="*/ 2 h 11"/>
                  <a:gd name="T40" fmla="*/ 5 w 18"/>
                  <a:gd name="T41" fmla="*/ 1 h 11"/>
                  <a:gd name="T42" fmla="*/ 5 w 18"/>
                  <a:gd name="T4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1">
                    <a:moveTo>
                      <a:pt x="5" y="0"/>
                    </a:moveTo>
                    <a:cubicBezTo>
                      <a:pt x="5" y="1"/>
                      <a:pt x="5" y="1"/>
                      <a:pt x="5" y="1"/>
                    </a:cubicBezTo>
                    <a:cubicBezTo>
                      <a:pt x="5" y="2"/>
                      <a:pt x="5" y="2"/>
                      <a:pt x="5" y="2"/>
                    </a:cubicBezTo>
                    <a:cubicBezTo>
                      <a:pt x="4" y="1"/>
                      <a:pt x="3" y="1"/>
                      <a:pt x="3" y="1"/>
                    </a:cubicBezTo>
                    <a:cubicBezTo>
                      <a:pt x="2" y="1"/>
                      <a:pt x="2" y="1"/>
                      <a:pt x="2" y="1"/>
                    </a:cubicBezTo>
                    <a:cubicBezTo>
                      <a:pt x="0" y="3"/>
                      <a:pt x="1" y="4"/>
                      <a:pt x="3" y="5"/>
                    </a:cubicBezTo>
                    <a:cubicBezTo>
                      <a:pt x="3" y="5"/>
                      <a:pt x="4" y="6"/>
                      <a:pt x="4" y="6"/>
                    </a:cubicBezTo>
                    <a:cubicBezTo>
                      <a:pt x="5" y="7"/>
                      <a:pt x="6" y="7"/>
                      <a:pt x="7" y="7"/>
                    </a:cubicBezTo>
                    <a:cubicBezTo>
                      <a:pt x="7" y="8"/>
                      <a:pt x="7" y="8"/>
                      <a:pt x="7" y="8"/>
                    </a:cubicBezTo>
                    <a:cubicBezTo>
                      <a:pt x="8" y="10"/>
                      <a:pt x="9" y="11"/>
                      <a:pt x="10" y="11"/>
                    </a:cubicBezTo>
                    <a:cubicBezTo>
                      <a:pt x="10" y="11"/>
                      <a:pt x="11" y="10"/>
                      <a:pt x="12" y="10"/>
                    </a:cubicBezTo>
                    <a:cubicBezTo>
                      <a:pt x="13" y="10"/>
                      <a:pt x="14" y="10"/>
                      <a:pt x="14" y="10"/>
                    </a:cubicBezTo>
                    <a:cubicBezTo>
                      <a:pt x="15" y="9"/>
                      <a:pt x="16" y="9"/>
                      <a:pt x="17" y="9"/>
                    </a:cubicBezTo>
                    <a:cubicBezTo>
                      <a:pt x="17" y="8"/>
                      <a:pt x="18" y="8"/>
                      <a:pt x="18" y="7"/>
                    </a:cubicBezTo>
                    <a:cubicBezTo>
                      <a:pt x="18" y="7"/>
                      <a:pt x="17" y="6"/>
                      <a:pt x="16" y="5"/>
                    </a:cubicBezTo>
                    <a:cubicBezTo>
                      <a:pt x="15" y="4"/>
                      <a:pt x="12" y="3"/>
                      <a:pt x="12" y="2"/>
                    </a:cubicBezTo>
                    <a:cubicBezTo>
                      <a:pt x="11" y="2"/>
                      <a:pt x="11" y="2"/>
                      <a:pt x="10" y="2"/>
                    </a:cubicBezTo>
                    <a:cubicBezTo>
                      <a:pt x="10" y="2"/>
                      <a:pt x="10" y="2"/>
                      <a:pt x="10" y="2"/>
                    </a:cubicBezTo>
                    <a:cubicBezTo>
                      <a:pt x="10" y="2"/>
                      <a:pt x="10" y="2"/>
                      <a:pt x="10" y="2"/>
                    </a:cubicBezTo>
                    <a:cubicBezTo>
                      <a:pt x="10" y="2"/>
                      <a:pt x="9" y="2"/>
                      <a:pt x="9" y="2"/>
                    </a:cubicBezTo>
                    <a:cubicBezTo>
                      <a:pt x="8" y="1"/>
                      <a:pt x="7"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53"/>
              <p:cNvSpPr/>
              <p:nvPr/>
            </p:nvSpPr>
            <p:spPr bwMode="auto">
              <a:xfrm>
                <a:off x="1372" y="3797"/>
                <a:ext cx="33" cy="10"/>
              </a:xfrm>
              <a:custGeom>
                <a:gdLst>
                  <a:gd name="T0" fmla="*/ 2 w 14"/>
                  <a:gd name="T1" fmla="*/ 0 h 4"/>
                  <a:gd name="T2" fmla="*/ 0 w 14"/>
                  <a:gd name="T3" fmla="*/ 3 h 4"/>
                  <a:gd name="T4" fmla="*/ 1 w 14"/>
                  <a:gd name="T5" fmla="*/ 4 h 4"/>
                  <a:gd name="T6" fmla="*/ 3 w 14"/>
                  <a:gd name="T7" fmla="*/ 3 h 4"/>
                  <a:gd name="T8" fmla="*/ 4 w 14"/>
                  <a:gd name="T9" fmla="*/ 3 h 4"/>
                  <a:gd name="T10" fmla="*/ 7 w 14"/>
                  <a:gd name="T11" fmla="*/ 4 h 4"/>
                  <a:gd name="T12" fmla="*/ 14 w 14"/>
                  <a:gd name="T13" fmla="*/ 2 h 4"/>
                  <a:gd name="T14" fmla="*/ 9 w 14"/>
                  <a:gd name="T15" fmla="*/ 1 h 4"/>
                  <a:gd name="T16" fmla="*/ 2 w 14"/>
                  <a:gd name="T17" fmla="*/ 0 h 4"/>
                  <a:gd name="T18" fmla="*/ 2 w 14"/>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
                    <a:moveTo>
                      <a:pt x="2" y="0"/>
                    </a:moveTo>
                    <a:cubicBezTo>
                      <a:pt x="0" y="0"/>
                      <a:pt x="1" y="2"/>
                      <a:pt x="0" y="3"/>
                    </a:cubicBezTo>
                    <a:cubicBezTo>
                      <a:pt x="0" y="4"/>
                      <a:pt x="1" y="4"/>
                      <a:pt x="1" y="4"/>
                    </a:cubicBezTo>
                    <a:cubicBezTo>
                      <a:pt x="2" y="4"/>
                      <a:pt x="2" y="4"/>
                      <a:pt x="3" y="3"/>
                    </a:cubicBezTo>
                    <a:cubicBezTo>
                      <a:pt x="3" y="3"/>
                      <a:pt x="4" y="3"/>
                      <a:pt x="4" y="3"/>
                    </a:cubicBezTo>
                    <a:cubicBezTo>
                      <a:pt x="5" y="3"/>
                      <a:pt x="6" y="4"/>
                      <a:pt x="7" y="4"/>
                    </a:cubicBezTo>
                    <a:cubicBezTo>
                      <a:pt x="9" y="3"/>
                      <a:pt x="12" y="3"/>
                      <a:pt x="14" y="2"/>
                    </a:cubicBezTo>
                    <a:cubicBezTo>
                      <a:pt x="13" y="1"/>
                      <a:pt x="11" y="2"/>
                      <a:pt x="9" y="1"/>
                    </a:cubicBezTo>
                    <a:cubicBezTo>
                      <a:pt x="7" y="1"/>
                      <a:pt x="5"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54"/>
              <p:cNvSpPr/>
              <p:nvPr/>
            </p:nvSpPr>
            <p:spPr bwMode="auto">
              <a:xfrm>
                <a:off x="1233" y="3740"/>
                <a:ext cx="28" cy="19"/>
              </a:xfrm>
              <a:custGeom>
                <a:gdLst>
                  <a:gd name="T0" fmla="*/ 9 w 12"/>
                  <a:gd name="T1" fmla="*/ 0 h 8"/>
                  <a:gd name="T2" fmla="*/ 8 w 12"/>
                  <a:gd name="T3" fmla="*/ 0 h 8"/>
                  <a:gd name="T4" fmla="*/ 5 w 12"/>
                  <a:gd name="T5" fmla="*/ 1 h 8"/>
                  <a:gd name="T6" fmla="*/ 3 w 12"/>
                  <a:gd name="T7" fmla="*/ 3 h 8"/>
                  <a:gd name="T8" fmla="*/ 4 w 12"/>
                  <a:gd name="T9" fmla="*/ 7 h 8"/>
                  <a:gd name="T10" fmla="*/ 4 w 12"/>
                  <a:gd name="T11" fmla="*/ 7 h 8"/>
                  <a:gd name="T12" fmla="*/ 5 w 12"/>
                  <a:gd name="T13" fmla="*/ 7 h 8"/>
                  <a:gd name="T14" fmla="*/ 9 w 12"/>
                  <a:gd name="T15" fmla="*/ 8 h 8"/>
                  <a:gd name="T16" fmla="*/ 12 w 12"/>
                  <a:gd name="T17" fmla="*/ 4 h 8"/>
                  <a:gd name="T18" fmla="*/ 9 w 12"/>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8">
                    <a:moveTo>
                      <a:pt x="9" y="0"/>
                    </a:moveTo>
                    <a:cubicBezTo>
                      <a:pt x="9" y="0"/>
                      <a:pt x="9" y="0"/>
                      <a:pt x="8" y="0"/>
                    </a:cubicBezTo>
                    <a:cubicBezTo>
                      <a:pt x="7" y="0"/>
                      <a:pt x="6" y="1"/>
                      <a:pt x="5" y="1"/>
                    </a:cubicBezTo>
                    <a:cubicBezTo>
                      <a:pt x="4" y="2"/>
                      <a:pt x="3" y="2"/>
                      <a:pt x="3" y="3"/>
                    </a:cubicBezTo>
                    <a:cubicBezTo>
                      <a:pt x="1" y="4"/>
                      <a:pt x="0" y="6"/>
                      <a:pt x="4" y="7"/>
                    </a:cubicBezTo>
                    <a:cubicBezTo>
                      <a:pt x="4" y="7"/>
                      <a:pt x="4" y="7"/>
                      <a:pt x="4" y="7"/>
                    </a:cubicBezTo>
                    <a:cubicBezTo>
                      <a:pt x="5" y="7"/>
                      <a:pt x="5" y="7"/>
                      <a:pt x="5" y="7"/>
                    </a:cubicBezTo>
                    <a:cubicBezTo>
                      <a:pt x="7" y="7"/>
                      <a:pt x="8" y="8"/>
                      <a:pt x="9" y="8"/>
                    </a:cubicBezTo>
                    <a:cubicBezTo>
                      <a:pt x="11" y="8"/>
                      <a:pt x="12" y="7"/>
                      <a:pt x="12" y="4"/>
                    </a:cubicBezTo>
                    <a:cubicBezTo>
                      <a:pt x="12" y="0"/>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55"/>
              <p:cNvSpPr/>
              <p:nvPr/>
            </p:nvSpPr>
            <p:spPr bwMode="auto">
              <a:xfrm>
                <a:off x="6050" y="3759"/>
                <a:ext cx="9" cy="5"/>
              </a:xfrm>
              <a:custGeom>
                <a:gdLst>
                  <a:gd name="T0" fmla="*/ 0 w 4"/>
                  <a:gd name="T1" fmla="*/ 0 h 2"/>
                  <a:gd name="T2" fmla="*/ 4 w 4"/>
                  <a:gd name="T3" fmla="*/ 2 h 2"/>
                  <a:gd name="T4" fmla="*/ 4 w 4"/>
                  <a:gd name="T5" fmla="*/ 2 h 2"/>
                  <a:gd name="T6" fmla="*/ 0 w 4"/>
                  <a:gd name="T7" fmla="*/ 0 h 2"/>
                </a:gdLst>
                <a:cxnLst>
                  <a:cxn ang="0">
                    <a:pos x="T0" y="T1"/>
                  </a:cxn>
                  <a:cxn ang="0">
                    <a:pos x="T2" y="T3"/>
                  </a:cxn>
                  <a:cxn ang="0">
                    <a:pos x="T4" y="T5"/>
                  </a:cxn>
                  <a:cxn ang="0">
                    <a:pos x="T6" y="T7"/>
                  </a:cxn>
                </a:cxnLst>
                <a:rect l="0" t="0" r="r" b="b"/>
                <a:pathLst>
                  <a:path w="4" h="2">
                    <a:moveTo>
                      <a:pt x="0" y="0"/>
                    </a:moveTo>
                    <a:cubicBezTo>
                      <a:pt x="1" y="1"/>
                      <a:pt x="3" y="2"/>
                      <a:pt x="4" y="2"/>
                    </a:cubicBezTo>
                    <a:cubicBezTo>
                      <a:pt x="4" y="2"/>
                      <a:pt x="4" y="2"/>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56"/>
              <p:cNvSpPr/>
              <p:nvPr/>
            </p:nvSpPr>
            <p:spPr bwMode="auto">
              <a:xfrm>
                <a:off x="6062" y="3764"/>
                <a:ext cx="9" cy="2"/>
              </a:xfrm>
              <a:custGeom>
                <a:gdLst>
                  <a:gd name="T0" fmla="*/ 3 w 4"/>
                  <a:gd name="T1" fmla="*/ 0 h 1"/>
                  <a:gd name="T2" fmla="*/ 0 w 4"/>
                  <a:gd name="T3" fmla="*/ 1 h 1"/>
                  <a:gd name="T4" fmla="*/ 4 w 4"/>
                  <a:gd name="T5" fmla="*/ 1 h 1"/>
                  <a:gd name="T6" fmla="*/ 3 w 4"/>
                  <a:gd name="T7" fmla="*/ 0 h 1"/>
                </a:gdLst>
                <a:cxnLst>
                  <a:cxn ang="0">
                    <a:pos x="T0" y="T1"/>
                  </a:cxn>
                  <a:cxn ang="0">
                    <a:pos x="T2" y="T3"/>
                  </a:cxn>
                  <a:cxn ang="0">
                    <a:pos x="T4" y="T5"/>
                  </a:cxn>
                  <a:cxn ang="0">
                    <a:pos x="T6" y="T7"/>
                  </a:cxn>
                </a:cxnLst>
                <a:rect l="0" t="0" r="r" b="b"/>
                <a:pathLst>
                  <a:path w="4" h="1">
                    <a:moveTo>
                      <a:pt x="3" y="0"/>
                    </a:moveTo>
                    <a:cubicBezTo>
                      <a:pt x="2" y="0"/>
                      <a:pt x="1" y="0"/>
                      <a:pt x="0" y="1"/>
                    </a:cubicBezTo>
                    <a:cubicBezTo>
                      <a:pt x="2" y="1"/>
                      <a:pt x="3" y="1"/>
                      <a:pt x="4"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57"/>
              <p:cNvSpPr>
                <a:spLocks noEditPoints="1"/>
              </p:cNvSpPr>
              <p:nvPr/>
            </p:nvSpPr>
            <p:spPr bwMode="auto">
              <a:xfrm>
                <a:off x="6033" y="3764"/>
                <a:ext cx="12" cy="2"/>
              </a:xfrm>
              <a:custGeom>
                <a:gdLst>
                  <a:gd name="T0" fmla="*/ 1 w 5"/>
                  <a:gd name="T1" fmla="*/ 1 h 1"/>
                  <a:gd name="T2" fmla="*/ 0 w 5"/>
                  <a:gd name="T3" fmla="*/ 1 h 1"/>
                  <a:gd name="T4" fmla="*/ 1 w 5"/>
                  <a:gd name="T5" fmla="*/ 1 h 1"/>
                  <a:gd name="T6" fmla="*/ 5 w 5"/>
                  <a:gd name="T7" fmla="*/ 0 h 1"/>
                  <a:gd name="T8" fmla="*/ 1 w 5"/>
                  <a:gd name="T9" fmla="*/ 1 h 1"/>
                  <a:gd name="T10" fmla="*/ 1 w 5"/>
                  <a:gd name="T11" fmla="*/ 1 h 1"/>
                  <a:gd name="T12" fmla="*/ 2 w 5"/>
                  <a:gd name="T13" fmla="*/ 1 h 1"/>
                  <a:gd name="T14" fmla="*/ 3 w 5"/>
                  <a:gd name="T15" fmla="*/ 1 h 1"/>
                  <a:gd name="T16" fmla="*/ 4 w 5"/>
                  <a:gd name="T17" fmla="*/ 1 h 1"/>
                  <a:gd name="T18" fmla="*/ 4 w 5"/>
                  <a:gd name="T19" fmla="*/ 1 h 1"/>
                  <a:gd name="T20" fmla="*/ 5 w 5"/>
                  <a:gd name="T21"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
                    <a:moveTo>
                      <a:pt x="1" y="1"/>
                    </a:moveTo>
                    <a:cubicBezTo>
                      <a:pt x="1" y="1"/>
                      <a:pt x="0" y="1"/>
                      <a:pt x="0" y="1"/>
                    </a:cubicBezTo>
                    <a:cubicBezTo>
                      <a:pt x="0" y="1"/>
                      <a:pt x="1" y="1"/>
                      <a:pt x="1" y="1"/>
                    </a:cubicBezTo>
                    <a:moveTo>
                      <a:pt x="5" y="0"/>
                    </a:moveTo>
                    <a:cubicBezTo>
                      <a:pt x="4" y="1"/>
                      <a:pt x="2" y="1"/>
                      <a:pt x="1" y="1"/>
                    </a:cubicBezTo>
                    <a:cubicBezTo>
                      <a:pt x="1" y="1"/>
                      <a:pt x="1" y="1"/>
                      <a:pt x="1" y="1"/>
                    </a:cubicBezTo>
                    <a:cubicBezTo>
                      <a:pt x="2" y="1"/>
                      <a:pt x="2" y="1"/>
                      <a:pt x="2" y="1"/>
                    </a:cubicBezTo>
                    <a:cubicBezTo>
                      <a:pt x="2" y="1"/>
                      <a:pt x="3" y="1"/>
                      <a:pt x="3" y="1"/>
                    </a:cubicBezTo>
                    <a:cubicBezTo>
                      <a:pt x="3" y="1"/>
                      <a:pt x="4" y="1"/>
                      <a:pt x="4" y="1"/>
                    </a:cubicBezTo>
                    <a:cubicBezTo>
                      <a:pt x="4" y="1"/>
                      <a:pt x="4" y="1"/>
                      <a:pt x="4"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58"/>
              <p:cNvSpPr/>
              <p:nvPr/>
            </p:nvSpPr>
            <p:spPr bwMode="auto">
              <a:xfrm>
                <a:off x="6665" y="4355"/>
                <a:ext cx="19" cy="10"/>
              </a:xfrm>
              <a:custGeom>
                <a:gdLst>
                  <a:gd name="T0" fmla="*/ 7 w 8"/>
                  <a:gd name="T1" fmla="*/ 0 h 4"/>
                  <a:gd name="T2" fmla="*/ 0 w 8"/>
                  <a:gd name="T3" fmla="*/ 4 h 4"/>
                  <a:gd name="T4" fmla="*/ 1 w 8"/>
                  <a:gd name="T5" fmla="*/ 4 h 4"/>
                  <a:gd name="T6" fmla="*/ 4 w 8"/>
                  <a:gd name="T7" fmla="*/ 3 h 4"/>
                  <a:gd name="T8" fmla="*/ 7 w 8"/>
                  <a:gd name="T9" fmla="*/ 0 h 4"/>
                </a:gdLst>
                <a:cxnLst>
                  <a:cxn ang="0">
                    <a:pos x="T0" y="T1"/>
                  </a:cxn>
                  <a:cxn ang="0">
                    <a:pos x="T2" y="T3"/>
                  </a:cxn>
                  <a:cxn ang="0">
                    <a:pos x="T4" y="T5"/>
                  </a:cxn>
                  <a:cxn ang="0">
                    <a:pos x="T6" y="T7"/>
                  </a:cxn>
                  <a:cxn ang="0">
                    <a:pos x="T8" y="T9"/>
                  </a:cxn>
                </a:cxnLst>
                <a:rect l="0" t="0" r="r" b="b"/>
                <a:pathLst>
                  <a:path w="8" h="4">
                    <a:moveTo>
                      <a:pt x="7" y="0"/>
                    </a:moveTo>
                    <a:cubicBezTo>
                      <a:pt x="4" y="1"/>
                      <a:pt x="2" y="2"/>
                      <a:pt x="0" y="4"/>
                    </a:cubicBezTo>
                    <a:cubicBezTo>
                      <a:pt x="0" y="4"/>
                      <a:pt x="0" y="4"/>
                      <a:pt x="1" y="4"/>
                    </a:cubicBezTo>
                    <a:cubicBezTo>
                      <a:pt x="2" y="4"/>
                      <a:pt x="3" y="4"/>
                      <a:pt x="4" y="3"/>
                    </a:cubicBezTo>
                    <a:cubicBezTo>
                      <a:pt x="6" y="3"/>
                      <a:pt x="8"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59"/>
              <p:cNvSpPr/>
              <p:nvPr/>
            </p:nvSpPr>
            <p:spPr bwMode="auto">
              <a:xfrm>
                <a:off x="6650" y="4202"/>
                <a:ext cx="12" cy="21"/>
              </a:xfrm>
              <a:custGeom>
                <a:gdLst>
                  <a:gd name="T0" fmla="*/ 4 w 5"/>
                  <a:gd name="T1" fmla="*/ 0 h 9"/>
                  <a:gd name="T2" fmla="*/ 1 w 5"/>
                  <a:gd name="T3" fmla="*/ 6 h 9"/>
                  <a:gd name="T4" fmla="*/ 3 w 5"/>
                  <a:gd name="T5" fmla="*/ 9 h 9"/>
                  <a:gd name="T6" fmla="*/ 5 w 5"/>
                  <a:gd name="T7" fmla="*/ 5 h 9"/>
                  <a:gd name="T8" fmla="*/ 4 w 5"/>
                  <a:gd name="T9" fmla="*/ 0 h 9"/>
                </a:gdLst>
                <a:cxnLst>
                  <a:cxn ang="0">
                    <a:pos x="T0" y="T1"/>
                  </a:cxn>
                  <a:cxn ang="0">
                    <a:pos x="T2" y="T3"/>
                  </a:cxn>
                  <a:cxn ang="0">
                    <a:pos x="T4" y="T5"/>
                  </a:cxn>
                  <a:cxn ang="0">
                    <a:pos x="T6" y="T7"/>
                  </a:cxn>
                  <a:cxn ang="0">
                    <a:pos x="T8" y="T9"/>
                  </a:cxn>
                </a:cxnLst>
                <a:rect l="0" t="0" r="r" b="b"/>
                <a:pathLst>
                  <a:path w="5" h="9">
                    <a:moveTo>
                      <a:pt x="4" y="0"/>
                    </a:moveTo>
                    <a:cubicBezTo>
                      <a:pt x="3" y="1"/>
                      <a:pt x="0" y="4"/>
                      <a:pt x="1" y="6"/>
                    </a:cubicBezTo>
                    <a:cubicBezTo>
                      <a:pt x="1" y="8"/>
                      <a:pt x="3" y="8"/>
                      <a:pt x="3" y="9"/>
                    </a:cubicBezTo>
                    <a:cubicBezTo>
                      <a:pt x="4" y="8"/>
                      <a:pt x="4" y="6"/>
                      <a:pt x="5" y="5"/>
                    </a:cubicBezTo>
                    <a:cubicBezTo>
                      <a:pt x="5" y="3"/>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60"/>
              <p:cNvSpPr/>
              <p:nvPr/>
            </p:nvSpPr>
            <p:spPr bwMode="auto">
              <a:xfrm>
                <a:off x="6553" y="4017"/>
                <a:ext cx="10" cy="7"/>
              </a:xfrm>
              <a:custGeom>
                <a:gdLst>
                  <a:gd name="T0" fmla="*/ 0 w 4"/>
                  <a:gd name="T1" fmla="*/ 0 h 3"/>
                  <a:gd name="T2" fmla="*/ 4 w 4"/>
                  <a:gd name="T3" fmla="*/ 3 h 3"/>
                  <a:gd name="T4" fmla="*/ 0 w 4"/>
                  <a:gd name="T5" fmla="*/ 0 h 3"/>
                </a:gdLst>
                <a:cxnLst>
                  <a:cxn ang="0">
                    <a:pos x="T0" y="T1"/>
                  </a:cxn>
                  <a:cxn ang="0">
                    <a:pos x="T2" y="T3"/>
                  </a:cxn>
                  <a:cxn ang="0">
                    <a:pos x="T4" y="T5"/>
                  </a:cxn>
                </a:cxnLst>
                <a:rect l="0" t="0" r="r" b="b"/>
                <a:pathLst>
                  <a:path w="4" h="3">
                    <a:moveTo>
                      <a:pt x="0" y="0"/>
                    </a:moveTo>
                    <a:cubicBezTo>
                      <a:pt x="0" y="1"/>
                      <a:pt x="3" y="2"/>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61"/>
              <p:cNvSpPr/>
              <p:nvPr/>
            </p:nvSpPr>
            <p:spPr bwMode="auto">
              <a:xfrm>
                <a:off x="6312" y="3953"/>
                <a:ext cx="92" cy="33"/>
              </a:xfrm>
              <a:custGeom>
                <a:gdLst>
                  <a:gd name="T0" fmla="*/ 4 w 39"/>
                  <a:gd name="T1" fmla="*/ 0 h 14"/>
                  <a:gd name="T2" fmla="*/ 1 w 39"/>
                  <a:gd name="T3" fmla="*/ 4 h 14"/>
                  <a:gd name="T4" fmla="*/ 2 w 39"/>
                  <a:gd name="T5" fmla="*/ 9 h 14"/>
                  <a:gd name="T6" fmla="*/ 6 w 39"/>
                  <a:gd name="T7" fmla="*/ 13 h 14"/>
                  <a:gd name="T8" fmla="*/ 6 w 39"/>
                  <a:gd name="T9" fmla="*/ 13 h 14"/>
                  <a:gd name="T10" fmla="*/ 11 w 39"/>
                  <a:gd name="T11" fmla="*/ 13 h 14"/>
                  <a:gd name="T12" fmla="*/ 14 w 39"/>
                  <a:gd name="T13" fmla="*/ 12 h 14"/>
                  <a:gd name="T14" fmla="*/ 23 w 39"/>
                  <a:gd name="T15" fmla="*/ 13 h 14"/>
                  <a:gd name="T16" fmla="*/ 25 w 39"/>
                  <a:gd name="T17" fmla="*/ 14 h 14"/>
                  <a:gd name="T18" fmla="*/ 34 w 39"/>
                  <a:gd name="T19" fmla="*/ 11 h 14"/>
                  <a:gd name="T20" fmla="*/ 35 w 39"/>
                  <a:gd name="T21" fmla="*/ 3 h 14"/>
                  <a:gd name="T22" fmla="*/ 29 w 39"/>
                  <a:gd name="T23" fmla="*/ 1 h 14"/>
                  <a:gd name="T24" fmla="*/ 29 w 39"/>
                  <a:gd name="T25" fmla="*/ 1 h 14"/>
                  <a:gd name="T26" fmla="*/ 28 w 39"/>
                  <a:gd name="T27" fmla="*/ 2 h 14"/>
                  <a:gd name="T28" fmla="*/ 27 w 39"/>
                  <a:gd name="T29" fmla="*/ 2 h 14"/>
                  <a:gd name="T30" fmla="*/ 27 w 39"/>
                  <a:gd name="T31" fmla="*/ 2 h 14"/>
                  <a:gd name="T32" fmla="*/ 26 w 39"/>
                  <a:gd name="T33" fmla="*/ 1 h 14"/>
                  <a:gd name="T34" fmla="*/ 21 w 39"/>
                  <a:gd name="T35" fmla="*/ 1 h 14"/>
                  <a:gd name="T36" fmla="*/ 4 w 39"/>
                  <a:gd name="T3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4">
                    <a:moveTo>
                      <a:pt x="4" y="0"/>
                    </a:moveTo>
                    <a:cubicBezTo>
                      <a:pt x="3" y="2"/>
                      <a:pt x="0" y="2"/>
                      <a:pt x="1" y="4"/>
                    </a:cubicBezTo>
                    <a:cubicBezTo>
                      <a:pt x="1" y="6"/>
                      <a:pt x="2" y="8"/>
                      <a:pt x="2" y="9"/>
                    </a:cubicBezTo>
                    <a:cubicBezTo>
                      <a:pt x="3" y="12"/>
                      <a:pt x="3" y="13"/>
                      <a:pt x="6" y="13"/>
                    </a:cubicBezTo>
                    <a:cubicBezTo>
                      <a:pt x="6" y="13"/>
                      <a:pt x="6" y="13"/>
                      <a:pt x="6" y="13"/>
                    </a:cubicBezTo>
                    <a:cubicBezTo>
                      <a:pt x="8" y="13"/>
                      <a:pt x="9" y="13"/>
                      <a:pt x="11" y="13"/>
                    </a:cubicBezTo>
                    <a:cubicBezTo>
                      <a:pt x="12" y="12"/>
                      <a:pt x="13" y="12"/>
                      <a:pt x="14" y="12"/>
                    </a:cubicBezTo>
                    <a:cubicBezTo>
                      <a:pt x="18" y="12"/>
                      <a:pt x="21" y="13"/>
                      <a:pt x="23" y="13"/>
                    </a:cubicBezTo>
                    <a:cubicBezTo>
                      <a:pt x="24" y="13"/>
                      <a:pt x="24" y="14"/>
                      <a:pt x="25" y="14"/>
                    </a:cubicBezTo>
                    <a:cubicBezTo>
                      <a:pt x="28" y="14"/>
                      <a:pt x="32" y="12"/>
                      <a:pt x="34" y="11"/>
                    </a:cubicBezTo>
                    <a:cubicBezTo>
                      <a:pt x="37" y="7"/>
                      <a:pt x="39" y="5"/>
                      <a:pt x="35" y="3"/>
                    </a:cubicBezTo>
                    <a:cubicBezTo>
                      <a:pt x="33" y="2"/>
                      <a:pt x="31" y="2"/>
                      <a:pt x="29" y="1"/>
                    </a:cubicBezTo>
                    <a:cubicBezTo>
                      <a:pt x="29" y="1"/>
                      <a:pt x="29" y="1"/>
                      <a:pt x="29" y="1"/>
                    </a:cubicBezTo>
                    <a:cubicBezTo>
                      <a:pt x="29" y="1"/>
                      <a:pt x="28" y="1"/>
                      <a:pt x="28" y="2"/>
                    </a:cubicBezTo>
                    <a:cubicBezTo>
                      <a:pt x="28" y="2"/>
                      <a:pt x="27" y="2"/>
                      <a:pt x="27" y="2"/>
                    </a:cubicBezTo>
                    <a:cubicBezTo>
                      <a:pt x="27" y="2"/>
                      <a:pt x="27" y="2"/>
                      <a:pt x="27" y="2"/>
                    </a:cubicBezTo>
                    <a:cubicBezTo>
                      <a:pt x="26" y="1"/>
                      <a:pt x="26" y="1"/>
                      <a:pt x="26" y="1"/>
                    </a:cubicBezTo>
                    <a:cubicBezTo>
                      <a:pt x="24" y="1"/>
                      <a:pt x="22" y="1"/>
                      <a:pt x="21" y="1"/>
                    </a:cubicBezTo>
                    <a:cubicBezTo>
                      <a:pt x="15" y="1"/>
                      <a:pt x="9"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62"/>
              <p:cNvSpPr/>
              <p:nvPr/>
            </p:nvSpPr>
            <p:spPr bwMode="auto">
              <a:xfrm>
                <a:off x="6404" y="3975"/>
                <a:ext cx="12" cy="2"/>
              </a:xfrm>
              <a:custGeom>
                <a:gdLst>
                  <a:gd name="T0" fmla="*/ 5 w 5"/>
                  <a:gd name="T1" fmla="*/ 0 h 1"/>
                  <a:gd name="T2" fmla="*/ 0 w 5"/>
                  <a:gd name="T3" fmla="*/ 0 h 1"/>
                  <a:gd name="T4" fmla="*/ 3 w 5"/>
                  <a:gd name="T5" fmla="*/ 1 h 1"/>
                  <a:gd name="T6" fmla="*/ 5 w 5"/>
                  <a:gd name="T7" fmla="*/ 0 h 1"/>
                </a:gdLst>
                <a:cxnLst>
                  <a:cxn ang="0">
                    <a:pos x="T0" y="T1"/>
                  </a:cxn>
                  <a:cxn ang="0">
                    <a:pos x="T2" y="T3"/>
                  </a:cxn>
                  <a:cxn ang="0">
                    <a:pos x="T4" y="T5"/>
                  </a:cxn>
                  <a:cxn ang="0">
                    <a:pos x="T6" y="T7"/>
                  </a:cxn>
                </a:cxnLst>
                <a:rect l="0" t="0" r="r" b="b"/>
                <a:pathLst>
                  <a:path w="5" h="1">
                    <a:moveTo>
                      <a:pt x="5" y="0"/>
                    </a:moveTo>
                    <a:cubicBezTo>
                      <a:pt x="3" y="0"/>
                      <a:pt x="2" y="0"/>
                      <a:pt x="0" y="0"/>
                    </a:cubicBezTo>
                    <a:cubicBezTo>
                      <a:pt x="1" y="1"/>
                      <a:pt x="2" y="1"/>
                      <a:pt x="3" y="1"/>
                    </a:cubicBezTo>
                    <a:cubicBezTo>
                      <a:pt x="4" y="1"/>
                      <a:pt x="4"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63"/>
              <p:cNvSpPr/>
              <p:nvPr/>
            </p:nvSpPr>
            <p:spPr bwMode="auto">
              <a:xfrm>
                <a:off x="6589" y="4048"/>
                <a:ext cx="2" cy="9"/>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1"/>
                      <a:pt x="0" y="3"/>
                      <a:pt x="0"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64"/>
              <p:cNvSpPr/>
              <p:nvPr/>
            </p:nvSpPr>
            <p:spPr bwMode="auto">
              <a:xfrm>
                <a:off x="6641" y="4157"/>
                <a:ext cx="26" cy="23"/>
              </a:xfrm>
              <a:custGeom>
                <a:gdLst>
                  <a:gd name="T0" fmla="*/ 3 w 11"/>
                  <a:gd name="T1" fmla="*/ 0 h 10"/>
                  <a:gd name="T2" fmla="*/ 3 w 11"/>
                  <a:gd name="T3" fmla="*/ 6 h 10"/>
                  <a:gd name="T4" fmla="*/ 6 w 11"/>
                  <a:gd name="T5" fmla="*/ 9 h 10"/>
                  <a:gd name="T6" fmla="*/ 5 w 11"/>
                  <a:gd name="T7" fmla="*/ 8 h 10"/>
                  <a:gd name="T8" fmla="*/ 5 w 11"/>
                  <a:gd name="T9" fmla="*/ 10 h 10"/>
                  <a:gd name="T10" fmla="*/ 7 w 11"/>
                  <a:gd name="T11" fmla="*/ 10 h 10"/>
                  <a:gd name="T12" fmla="*/ 8 w 11"/>
                  <a:gd name="T13" fmla="*/ 10 h 10"/>
                  <a:gd name="T14" fmla="*/ 9 w 11"/>
                  <a:gd name="T15" fmla="*/ 10 h 10"/>
                  <a:gd name="T16" fmla="*/ 11 w 11"/>
                  <a:gd name="T17" fmla="*/ 10 h 10"/>
                  <a:gd name="T18" fmla="*/ 3 w 11"/>
                  <a:gd name="T19" fmla="*/ 1 h 10"/>
                  <a:gd name="T20" fmla="*/ 3 w 11"/>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3" y="0"/>
                    </a:moveTo>
                    <a:cubicBezTo>
                      <a:pt x="0" y="0"/>
                      <a:pt x="2" y="5"/>
                      <a:pt x="3" y="6"/>
                    </a:cubicBezTo>
                    <a:cubicBezTo>
                      <a:pt x="3" y="7"/>
                      <a:pt x="8" y="9"/>
                      <a:pt x="6" y="9"/>
                    </a:cubicBezTo>
                    <a:cubicBezTo>
                      <a:pt x="5" y="9"/>
                      <a:pt x="5" y="9"/>
                      <a:pt x="5" y="8"/>
                    </a:cubicBezTo>
                    <a:cubicBezTo>
                      <a:pt x="5" y="9"/>
                      <a:pt x="5" y="10"/>
                      <a:pt x="5" y="10"/>
                    </a:cubicBezTo>
                    <a:cubicBezTo>
                      <a:pt x="6" y="10"/>
                      <a:pt x="6" y="10"/>
                      <a:pt x="7" y="10"/>
                    </a:cubicBezTo>
                    <a:cubicBezTo>
                      <a:pt x="7" y="10"/>
                      <a:pt x="8" y="10"/>
                      <a:pt x="8" y="10"/>
                    </a:cubicBezTo>
                    <a:cubicBezTo>
                      <a:pt x="8" y="10"/>
                      <a:pt x="9" y="10"/>
                      <a:pt x="9" y="10"/>
                    </a:cubicBezTo>
                    <a:cubicBezTo>
                      <a:pt x="10" y="10"/>
                      <a:pt x="10" y="10"/>
                      <a:pt x="11" y="10"/>
                    </a:cubicBezTo>
                    <a:cubicBezTo>
                      <a:pt x="10" y="6"/>
                      <a:pt x="7" y="2"/>
                      <a:pt x="3" y="1"/>
                    </a:cubicBezTo>
                    <a:cubicBezTo>
                      <a:pt x="3"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65"/>
              <p:cNvSpPr/>
              <p:nvPr/>
            </p:nvSpPr>
            <p:spPr bwMode="auto">
              <a:xfrm>
                <a:off x="5705" y="3953"/>
                <a:ext cx="118" cy="45"/>
              </a:xfrm>
              <a:custGeom>
                <a:gdLst>
                  <a:gd name="T0" fmla="*/ 14 w 50"/>
                  <a:gd name="T1" fmla="*/ 0 h 19"/>
                  <a:gd name="T2" fmla="*/ 0 w 50"/>
                  <a:gd name="T3" fmla="*/ 5 h 19"/>
                  <a:gd name="T4" fmla="*/ 21 w 50"/>
                  <a:gd name="T5" fmla="*/ 16 h 19"/>
                  <a:gd name="T6" fmla="*/ 27 w 50"/>
                  <a:gd name="T7" fmla="*/ 19 h 19"/>
                  <a:gd name="T8" fmla="*/ 28 w 50"/>
                  <a:gd name="T9" fmla="*/ 19 h 19"/>
                  <a:gd name="T10" fmla="*/ 26 w 50"/>
                  <a:gd name="T11" fmla="*/ 18 h 19"/>
                  <a:gd name="T12" fmla="*/ 28 w 50"/>
                  <a:gd name="T13" fmla="*/ 15 h 19"/>
                  <a:gd name="T14" fmla="*/ 33 w 50"/>
                  <a:gd name="T15" fmla="*/ 14 h 19"/>
                  <a:gd name="T16" fmla="*/ 35 w 50"/>
                  <a:gd name="T17" fmla="*/ 13 h 19"/>
                  <a:gd name="T18" fmla="*/ 40 w 50"/>
                  <a:gd name="T19" fmla="*/ 14 h 19"/>
                  <a:gd name="T20" fmla="*/ 46 w 50"/>
                  <a:gd name="T21" fmla="*/ 15 h 19"/>
                  <a:gd name="T22" fmla="*/ 50 w 50"/>
                  <a:gd name="T23" fmla="*/ 15 h 19"/>
                  <a:gd name="T24" fmla="*/ 33 w 50"/>
                  <a:gd name="T25" fmla="*/ 4 h 19"/>
                  <a:gd name="T26" fmla="*/ 14 w 50"/>
                  <a:gd name="T27"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9">
                    <a:moveTo>
                      <a:pt x="14" y="0"/>
                    </a:moveTo>
                    <a:cubicBezTo>
                      <a:pt x="9" y="1"/>
                      <a:pt x="5" y="3"/>
                      <a:pt x="0" y="5"/>
                    </a:cubicBezTo>
                    <a:cubicBezTo>
                      <a:pt x="6" y="9"/>
                      <a:pt x="14" y="15"/>
                      <a:pt x="21" y="16"/>
                    </a:cubicBezTo>
                    <a:cubicBezTo>
                      <a:pt x="23" y="16"/>
                      <a:pt x="25" y="19"/>
                      <a:pt x="27" y="19"/>
                    </a:cubicBezTo>
                    <a:cubicBezTo>
                      <a:pt x="27" y="19"/>
                      <a:pt x="28" y="19"/>
                      <a:pt x="28" y="19"/>
                    </a:cubicBezTo>
                    <a:cubicBezTo>
                      <a:pt x="26" y="18"/>
                      <a:pt x="26" y="18"/>
                      <a:pt x="26" y="18"/>
                    </a:cubicBezTo>
                    <a:cubicBezTo>
                      <a:pt x="27" y="17"/>
                      <a:pt x="27" y="16"/>
                      <a:pt x="28" y="15"/>
                    </a:cubicBezTo>
                    <a:cubicBezTo>
                      <a:pt x="29" y="14"/>
                      <a:pt x="32" y="14"/>
                      <a:pt x="33" y="14"/>
                    </a:cubicBezTo>
                    <a:cubicBezTo>
                      <a:pt x="34" y="13"/>
                      <a:pt x="35" y="13"/>
                      <a:pt x="35" y="13"/>
                    </a:cubicBezTo>
                    <a:cubicBezTo>
                      <a:pt x="37" y="13"/>
                      <a:pt x="38" y="14"/>
                      <a:pt x="40" y="14"/>
                    </a:cubicBezTo>
                    <a:cubicBezTo>
                      <a:pt x="42" y="15"/>
                      <a:pt x="44" y="15"/>
                      <a:pt x="46" y="15"/>
                    </a:cubicBezTo>
                    <a:cubicBezTo>
                      <a:pt x="47" y="15"/>
                      <a:pt x="48" y="15"/>
                      <a:pt x="50" y="15"/>
                    </a:cubicBezTo>
                    <a:cubicBezTo>
                      <a:pt x="48" y="9"/>
                      <a:pt x="38" y="6"/>
                      <a:pt x="33" y="4"/>
                    </a:cubicBezTo>
                    <a:cubicBezTo>
                      <a:pt x="27" y="1"/>
                      <a:pt x="20"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66"/>
              <p:cNvSpPr/>
              <p:nvPr/>
            </p:nvSpPr>
            <p:spPr bwMode="auto">
              <a:xfrm>
                <a:off x="5286" y="4067"/>
                <a:ext cx="7" cy="5"/>
              </a:xfrm>
              <a:custGeom>
                <a:gdLst>
                  <a:gd name="T0" fmla="*/ 3 w 3"/>
                  <a:gd name="T1" fmla="*/ 0 h 2"/>
                  <a:gd name="T2" fmla="*/ 0 w 3"/>
                  <a:gd name="T3" fmla="*/ 2 h 2"/>
                  <a:gd name="T4" fmla="*/ 3 w 3"/>
                  <a:gd name="T5" fmla="*/ 0 h 2"/>
                  <a:gd name="T6" fmla="*/ 3 w 3"/>
                  <a:gd name="T7" fmla="*/ 0 h 2"/>
                </a:gdLst>
                <a:cxnLst>
                  <a:cxn ang="0">
                    <a:pos x="T0" y="T1"/>
                  </a:cxn>
                  <a:cxn ang="0">
                    <a:pos x="T2" y="T3"/>
                  </a:cxn>
                  <a:cxn ang="0">
                    <a:pos x="T4" y="T5"/>
                  </a:cxn>
                  <a:cxn ang="0">
                    <a:pos x="T6" y="T7"/>
                  </a:cxn>
                </a:cxnLst>
                <a:rect l="0" t="0" r="r" b="b"/>
                <a:pathLst>
                  <a:path w="3" h="2">
                    <a:moveTo>
                      <a:pt x="3" y="0"/>
                    </a:moveTo>
                    <a:cubicBezTo>
                      <a:pt x="1" y="0"/>
                      <a:pt x="1" y="1"/>
                      <a:pt x="0" y="2"/>
                    </a:cubicBezTo>
                    <a:cubicBezTo>
                      <a:pt x="1" y="1"/>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67"/>
              <p:cNvSpPr/>
              <p:nvPr/>
            </p:nvSpPr>
            <p:spPr bwMode="auto">
              <a:xfrm>
                <a:off x="5981" y="3930"/>
                <a:ext cx="31" cy="11"/>
              </a:xfrm>
              <a:custGeom>
                <a:gdLst>
                  <a:gd name="T0" fmla="*/ 1 w 13"/>
                  <a:gd name="T1" fmla="*/ 0 h 5"/>
                  <a:gd name="T2" fmla="*/ 0 w 13"/>
                  <a:gd name="T3" fmla="*/ 0 h 5"/>
                  <a:gd name="T4" fmla="*/ 8 w 13"/>
                  <a:gd name="T5" fmla="*/ 4 h 5"/>
                  <a:gd name="T6" fmla="*/ 11 w 13"/>
                  <a:gd name="T7" fmla="*/ 5 h 5"/>
                  <a:gd name="T8" fmla="*/ 1 w 13"/>
                  <a:gd name="T9" fmla="*/ 0 h 5"/>
                </a:gdLst>
                <a:cxnLst>
                  <a:cxn ang="0">
                    <a:pos x="T0" y="T1"/>
                  </a:cxn>
                  <a:cxn ang="0">
                    <a:pos x="T2" y="T3"/>
                  </a:cxn>
                  <a:cxn ang="0">
                    <a:pos x="T4" y="T5"/>
                  </a:cxn>
                  <a:cxn ang="0">
                    <a:pos x="T6" y="T7"/>
                  </a:cxn>
                  <a:cxn ang="0">
                    <a:pos x="T8" y="T9"/>
                  </a:cxn>
                </a:cxnLst>
                <a:rect l="0" t="0" r="r" b="b"/>
                <a:pathLst>
                  <a:path w="13" h="5">
                    <a:moveTo>
                      <a:pt x="1" y="0"/>
                    </a:moveTo>
                    <a:cubicBezTo>
                      <a:pt x="1" y="0"/>
                      <a:pt x="0" y="0"/>
                      <a:pt x="0" y="0"/>
                    </a:cubicBezTo>
                    <a:cubicBezTo>
                      <a:pt x="1" y="2"/>
                      <a:pt x="6" y="4"/>
                      <a:pt x="8" y="4"/>
                    </a:cubicBezTo>
                    <a:cubicBezTo>
                      <a:pt x="9" y="5"/>
                      <a:pt x="10" y="5"/>
                      <a:pt x="11" y="5"/>
                    </a:cubicBezTo>
                    <a:cubicBezTo>
                      <a:pt x="13" y="1"/>
                      <a:pt x="5"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68"/>
              <p:cNvSpPr/>
              <p:nvPr/>
            </p:nvSpPr>
            <p:spPr bwMode="auto">
              <a:xfrm>
                <a:off x="6000" y="3863"/>
                <a:ext cx="19" cy="5"/>
              </a:xfrm>
              <a:custGeom>
                <a:gdLst>
                  <a:gd name="T0" fmla="*/ 0 w 8"/>
                  <a:gd name="T1" fmla="*/ 0 h 2"/>
                  <a:gd name="T2" fmla="*/ 2 w 8"/>
                  <a:gd name="T3" fmla="*/ 1 h 2"/>
                  <a:gd name="T4" fmla="*/ 7 w 8"/>
                  <a:gd name="T5" fmla="*/ 2 h 2"/>
                  <a:gd name="T6" fmla="*/ 8 w 8"/>
                  <a:gd name="T7" fmla="*/ 2 h 2"/>
                  <a:gd name="T8" fmla="*/ 8 w 8"/>
                  <a:gd name="T9" fmla="*/ 2 h 2"/>
                  <a:gd name="T10" fmla="*/ 8 w 8"/>
                  <a:gd name="T11" fmla="*/ 2 h 2"/>
                  <a:gd name="T12" fmla="*/ 7 w 8"/>
                  <a:gd name="T13" fmla="*/ 2 h 2"/>
                  <a:gd name="T14" fmla="*/ 6 w 8"/>
                  <a:gd name="T15" fmla="*/ 2 h 2"/>
                  <a:gd name="T16" fmla="*/ 5 w 8"/>
                  <a:gd name="T17" fmla="*/ 2 h 2"/>
                  <a:gd name="T18" fmla="*/ 0 w 8"/>
                  <a:gd name="T19"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
                    <a:moveTo>
                      <a:pt x="0" y="0"/>
                    </a:moveTo>
                    <a:cubicBezTo>
                      <a:pt x="0" y="1"/>
                      <a:pt x="1" y="1"/>
                      <a:pt x="2" y="1"/>
                    </a:cubicBezTo>
                    <a:cubicBezTo>
                      <a:pt x="4" y="2"/>
                      <a:pt x="6" y="2"/>
                      <a:pt x="7" y="2"/>
                    </a:cubicBezTo>
                    <a:cubicBezTo>
                      <a:pt x="8" y="2"/>
                      <a:pt x="8" y="2"/>
                      <a:pt x="8" y="2"/>
                    </a:cubicBezTo>
                    <a:cubicBezTo>
                      <a:pt x="8" y="2"/>
                      <a:pt x="8" y="2"/>
                      <a:pt x="8" y="2"/>
                    </a:cubicBezTo>
                    <a:cubicBezTo>
                      <a:pt x="8" y="2"/>
                      <a:pt x="8" y="2"/>
                      <a:pt x="8" y="2"/>
                    </a:cubicBezTo>
                    <a:cubicBezTo>
                      <a:pt x="7" y="2"/>
                      <a:pt x="7" y="2"/>
                      <a:pt x="7" y="2"/>
                    </a:cubicBezTo>
                    <a:cubicBezTo>
                      <a:pt x="6" y="2"/>
                      <a:pt x="6" y="2"/>
                      <a:pt x="6" y="2"/>
                    </a:cubicBezTo>
                    <a:cubicBezTo>
                      <a:pt x="6" y="2"/>
                      <a:pt x="5" y="2"/>
                      <a:pt x="5" y="2"/>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69"/>
              <p:cNvSpPr/>
              <p:nvPr/>
            </p:nvSpPr>
            <p:spPr bwMode="auto">
              <a:xfrm>
                <a:off x="6622" y="4069"/>
                <a:ext cx="24" cy="14"/>
              </a:xfrm>
              <a:custGeom>
                <a:gdLst>
                  <a:gd name="T0" fmla="*/ 5 w 10"/>
                  <a:gd name="T1" fmla="*/ 0 h 6"/>
                  <a:gd name="T2" fmla="*/ 3 w 10"/>
                  <a:gd name="T3" fmla="*/ 6 h 6"/>
                  <a:gd name="T4" fmla="*/ 4 w 10"/>
                  <a:gd name="T5" fmla="*/ 6 h 6"/>
                  <a:gd name="T6" fmla="*/ 7 w 10"/>
                  <a:gd name="T7" fmla="*/ 5 h 6"/>
                  <a:gd name="T8" fmla="*/ 9 w 10"/>
                  <a:gd name="T9" fmla="*/ 5 h 6"/>
                  <a:gd name="T10" fmla="*/ 10 w 10"/>
                  <a:gd name="T11" fmla="*/ 5 h 6"/>
                  <a:gd name="T12" fmla="*/ 5 w 10"/>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10" h="6">
                    <a:moveTo>
                      <a:pt x="5" y="0"/>
                    </a:moveTo>
                    <a:cubicBezTo>
                      <a:pt x="3" y="1"/>
                      <a:pt x="0" y="5"/>
                      <a:pt x="3" y="6"/>
                    </a:cubicBezTo>
                    <a:cubicBezTo>
                      <a:pt x="4" y="6"/>
                      <a:pt x="4" y="6"/>
                      <a:pt x="4" y="6"/>
                    </a:cubicBezTo>
                    <a:cubicBezTo>
                      <a:pt x="5" y="6"/>
                      <a:pt x="6" y="6"/>
                      <a:pt x="7" y="5"/>
                    </a:cubicBezTo>
                    <a:cubicBezTo>
                      <a:pt x="7" y="5"/>
                      <a:pt x="8" y="5"/>
                      <a:pt x="9" y="5"/>
                    </a:cubicBezTo>
                    <a:cubicBezTo>
                      <a:pt x="10" y="5"/>
                      <a:pt x="10" y="5"/>
                      <a:pt x="10" y="5"/>
                    </a:cubicBezTo>
                    <a:cubicBezTo>
                      <a:pt x="9" y="4"/>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70"/>
              <p:cNvSpPr/>
              <p:nvPr/>
            </p:nvSpPr>
            <p:spPr bwMode="auto">
              <a:xfrm>
                <a:off x="6639" y="4098"/>
                <a:ext cx="4" cy="4"/>
              </a:xfrm>
              <a:custGeom>
                <a:gdLst>
                  <a:gd name="T0" fmla="*/ 2 w 2"/>
                  <a:gd name="T1" fmla="*/ 0 h 2"/>
                  <a:gd name="T2" fmla="*/ 0 w 2"/>
                  <a:gd name="T3" fmla="*/ 0 h 2"/>
                  <a:gd name="T4" fmla="*/ 1 w 2"/>
                  <a:gd name="T5" fmla="*/ 2 h 2"/>
                  <a:gd name="T6" fmla="*/ 2 w 2"/>
                  <a:gd name="T7" fmla="*/ 0 h 2"/>
                  <a:gd name="T8" fmla="*/ 2 w 2"/>
                  <a:gd name="T9" fmla="*/ 0 h 2"/>
                </a:gdLst>
                <a:cxnLst>
                  <a:cxn ang="0">
                    <a:pos x="T0" y="T1"/>
                  </a:cxn>
                  <a:cxn ang="0">
                    <a:pos x="T2" y="T3"/>
                  </a:cxn>
                  <a:cxn ang="0">
                    <a:pos x="T4" y="T5"/>
                  </a:cxn>
                  <a:cxn ang="0">
                    <a:pos x="T6" y="T7"/>
                  </a:cxn>
                  <a:cxn ang="0">
                    <a:pos x="T8" y="T9"/>
                  </a:cxn>
                </a:cxnLst>
                <a:rect l="0" t="0" r="r" b="b"/>
                <a:pathLst>
                  <a:path w="2" h="2">
                    <a:moveTo>
                      <a:pt x="2" y="0"/>
                    </a:moveTo>
                    <a:cubicBezTo>
                      <a:pt x="1" y="0"/>
                      <a:pt x="1" y="0"/>
                      <a:pt x="0" y="0"/>
                    </a:cubicBezTo>
                    <a:cubicBezTo>
                      <a:pt x="0" y="1"/>
                      <a:pt x="1" y="1"/>
                      <a:pt x="1" y="2"/>
                    </a:cubicBezTo>
                    <a:cubicBezTo>
                      <a:pt x="2" y="1"/>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71"/>
              <p:cNvSpPr/>
              <p:nvPr/>
            </p:nvSpPr>
            <p:spPr bwMode="auto">
              <a:xfrm>
                <a:off x="6613" y="4079"/>
                <a:ext cx="14" cy="16"/>
              </a:xfrm>
              <a:custGeom>
                <a:gdLst>
                  <a:gd name="T0" fmla="*/ 4 w 6"/>
                  <a:gd name="T1" fmla="*/ 0 h 7"/>
                  <a:gd name="T2" fmla="*/ 0 w 6"/>
                  <a:gd name="T3" fmla="*/ 1 h 7"/>
                  <a:gd name="T4" fmla="*/ 3 w 6"/>
                  <a:gd name="T5" fmla="*/ 7 h 7"/>
                  <a:gd name="T6" fmla="*/ 4 w 6"/>
                  <a:gd name="T7" fmla="*/ 7 h 7"/>
                  <a:gd name="T8" fmla="*/ 4 w 6"/>
                  <a:gd name="T9" fmla="*/ 0 h 7"/>
                </a:gdLst>
                <a:cxnLst>
                  <a:cxn ang="0">
                    <a:pos x="T0" y="T1"/>
                  </a:cxn>
                  <a:cxn ang="0">
                    <a:pos x="T2" y="T3"/>
                  </a:cxn>
                  <a:cxn ang="0">
                    <a:pos x="T4" y="T5"/>
                  </a:cxn>
                  <a:cxn ang="0">
                    <a:pos x="T6" y="T7"/>
                  </a:cxn>
                  <a:cxn ang="0">
                    <a:pos x="T8" y="T9"/>
                  </a:cxn>
                </a:cxnLst>
                <a:rect l="0" t="0" r="r" b="b"/>
                <a:pathLst>
                  <a:path w="6" h="7">
                    <a:moveTo>
                      <a:pt x="4" y="0"/>
                    </a:moveTo>
                    <a:cubicBezTo>
                      <a:pt x="2" y="0"/>
                      <a:pt x="1" y="0"/>
                      <a:pt x="0" y="1"/>
                    </a:cubicBezTo>
                    <a:cubicBezTo>
                      <a:pt x="0" y="3"/>
                      <a:pt x="0" y="7"/>
                      <a:pt x="3" y="7"/>
                    </a:cubicBezTo>
                    <a:cubicBezTo>
                      <a:pt x="3" y="7"/>
                      <a:pt x="3" y="7"/>
                      <a:pt x="4" y="7"/>
                    </a:cubicBezTo>
                    <a:cubicBezTo>
                      <a:pt x="6" y="7"/>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72"/>
              <p:cNvSpPr/>
              <p:nvPr/>
            </p:nvSpPr>
            <p:spPr bwMode="auto">
              <a:xfrm>
                <a:off x="6613" y="4306"/>
                <a:ext cx="9" cy="12"/>
              </a:xfrm>
              <a:custGeom>
                <a:gdLst>
                  <a:gd name="T0" fmla="*/ 3 w 4"/>
                  <a:gd name="T1" fmla="*/ 0 h 5"/>
                  <a:gd name="T2" fmla="*/ 0 w 4"/>
                  <a:gd name="T3" fmla="*/ 5 h 5"/>
                  <a:gd name="T4" fmla="*/ 4 w 4"/>
                  <a:gd name="T5" fmla="*/ 2 h 5"/>
                  <a:gd name="T6" fmla="*/ 3 w 4"/>
                  <a:gd name="T7" fmla="*/ 0 h 5"/>
                </a:gdLst>
                <a:cxnLst>
                  <a:cxn ang="0">
                    <a:pos x="T0" y="T1"/>
                  </a:cxn>
                  <a:cxn ang="0">
                    <a:pos x="T2" y="T3"/>
                  </a:cxn>
                  <a:cxn ang="0">
                    <a:pos x="T4" y="T5"/>
                  </a:cxn>
                  <a:cxn ang="0">
                    <a:pos x="T6" y="T7"/>
                  </a:cxn>
                </a:cxnLst>
                <a:rect l="0" t="0" r="r" b="b"/>
                <a:pathLst>
                  <a:path w="4" h="5">
                    <a:moveTo>
                      <a:pt x="3" y="0"/>
                    </a:moveTo>
                    <a:cubicBezTo>
                      <a:pt x="2" y="0"/>
                      <a:pt x="0" y="5"/>
                      <a:pt x="0" y="5"/>
                    </a:cubicBezTo>
                    <a:cubicBezTo>
                      <a:pt x="1" y="4"/>
                      <a:pt x="3" y="3"/>
                      <a:pt x="4" y="2"/>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73"/>
              <p:cNvSpPr/>
              <p:nvPr/>
            </p:nvSpPr>
            <p:spPr bwMode="auto">
              <a:xfrm>
                <a:off x="6229" y="3972"/>
                <a:ext cx="12" cy="3"/>
              </a:xfrm>
              <a:custGeom>
                <a:gdLst>
                  <a:gd name="T0" fmla="*/ 1 w 5"/>
                  <a:gd name="T1" fmla="*/ 0 h 1"/>
                  <a:gd name="T2" fmla="*/ 0 w 5"/>
                  <a:gd name="T3" fmla="*/ 0 h 1"/>
                  <a:gd name="T4" fmla="*/ 4 w 5"/>
                  <a:gd name="T5" fmla="*/ 1 h 1"/>
                  <a:gd name="T6" fmla="*/ 5 w 5"/>
                  <a:gd name="T7" fmla="*/ 1 h 1"/>
                  <a:gd name="T8" fmla="*/ 5 w 5"/>
                  <a:gd name="T9" fmla="*/ 1 h 1"/>
                  <a:gd name="T10" fmla="*/ 5 w 5"/>
                  <a:gd name="T11" fmla="*/ 1 h 1"/>
                  <a:gd name="T12" fmla="*/ 4 w 5"/>
                  <a:gd name="T13" fmla="*/ 1 h 1"/>
                  <a:gd name="T14" fmla="*/ 4 w 5"/>
                  <a:gd name="T15" fmla="*/ 1 h 1"/>
                  <a:gd name="T16" fmla="*/ 3 w 5"/>
                  <a:gd name="T17" fmla="*/ 0 h 1"/>
                  <a:gd name="T18" fmla="*/ 1 w 5"/>
                  <a:gd name="T1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
                    <a:moveTo>
                      <a:pt x="1" y="0"/>
                    </a:moveTo>
                    <a:cubicBezTo>
                      <a:pt x="1" y="0"/>
                      <a:pt x="0" y="0"/>
                      <a:pt x="0" y="0"/>
                    </a:cubicBezTo>
                    <a:cubicBezTo>
                      <a:pt x="1" y="1"/>
                      <a:pt x="3" y="1"/>
                      <a:pt x="4"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3" y="0"/>
                      <a:pt x="3" y="0"/>
                      <a:pt x="3" y="0"/>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74"/>
              <p:cNvSpPr/>
              <p:nvPr/>
            </p:nvSpPr>
            <p:spPr bwMode="auto">
              <a:xfrm>
                <a:off x="6627" y="4116"/>
                <a:ext cx="19" cy="24"/>
              </a:xfrm>
              <a:custGeom>
                <a:gdLst>
                  <a:gd name="T0" fmla="*/ 2 w 8"/>
                  <a:gd name="T1" fmla="*/ 0 h 10"/>
                  <a:gd name="T2" fmla="*/ 4 w 8"/>
                  <a:gd name="T3" fmla="*/ 10 h 10"/>
                  <a:gd name="T4" fmla="*/ 2 w 8"/>
                  <a:gd name="T5" fmla="*/ 0 h 10"/>
                </a:gdLst>
                <a:cxnLst>
                  <a:cxn ang="0">
                    <a:pos x="T0" y="T1"/>
                  </a:cxn>
                  <a:cxn ang="0">
                    <a:pos x="T2" y="T3"/>
                  </a:cxn>
                  <a:cxn ang="0">
                    <a:pos x="T4" y="T5"/>
                  </a:cxn>
                </a:cxnLst>
                <a:rect l="0" t="0" r="r" b="b"/>
                <a:pathLst>
                  <a:path w="8" h="10">
                    <a:moveTo>
                      <a:pt x="2" y="0"/>
                    </a:moveTo>
                    <a:cubicBezTo>
                      <a:pt x="0" y="2"/>
                      <a:pt x="2" y="7"/>
                      <a:pt x="4" y="10"/>
                    </a:cubicBezTo>
                    <a:cubicBezTo>
                      <a:pt x="8" y="5"/>
                      <a:pt x="6"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75"/>
              <p:cNvSpPr/>
              <p:nvPr/>
            </p:nvSpPr>
            <p:spPr bwMode="auto">
              <a:xfrm>
                <a:off x="5745" y="3759"/>
                <a:ext cx="7" cy="5"/>
              </a:xfrm>
              <a:custGeom>
                <a:gdLst>
                  <a:gd name="T0" fmla="*/ 0 w 3"/>
                  <a:gd name="T1" fmla="*/ 0 h 2"/>
                  <a:gd name="T2" fmla="*/ 3 w 3"/>
                  <a:gd name="T3" fmla="*/ 2 h 2"/>
                  <a:gd name="T4" fmla="*/ 2 w 3"/>
                  <a:gd name="T5" fmla="*/ 1 h 2"/>
                  <a:gd name="T6" fmla="*/ 0 w 3"/>
                  <a:gd name="T7" fmla="*/ 0 h 2"/>
                </a:gdLst>
                <a:cxnLst>
                  <a:cxn ang="0">
                    <a:pos x="T0" y="T1"/>
                  </a:cxn>
                  <a:cxn ang="0">
                    <a:pos x="T2" y="T3"/>
                  </a:cxn>
                  <a:cxn ang="0">
                    <a:pos x="T4" y="T5"/>
                  </a:cxn>
                  <a:cxn ang="0">
                    <a:pos x="T6" y="T7"/>
                  </a:cxn>
                </a:cxnLst>
                <a:rect l="0" t="0" r="r" b="b"/>
                <a:pathLst>
                  <a:path w="3" h="2">
                    <a:moveTo>
                      <a:pt x="0" y="0"/>
                    </a:moveTo>
                    <a:cubicBezTo>
                      <a:pt x="1" y="1"/>
                      <a:pt x="2" y="2"/>
                      <a:pt x="3" y="2"/>
                    </a:cubicBezTo>
                    <a:cubicBezTo>
                      <a:pt x="3" y="1"/>
                      <a:pt x="2" y="1"/>
                      <a:pt x="2"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76"/>
              <p:cNvSpPr/>
              <p:nvPr/>
            </p:nvSpPr>
            <p:spPr bwMode="auto">
              <a:xfrm>
                <a:off x="5686" y="3721"/>
                <a:ext cx="19" cy="7"/>
              </a:xfrm>
              <a:custGeom>
                <a:gdLst>
                  <a:gd name="T0" fmla="*/ 0 w 8"/>
                  <a:gd name="T1" fmla="*/ 0 h 3"/>
                  <a:gd name="T2" fmla="*/ 8 w 8"/>
                  <a:gd name="T3" fmla="*/ 3 h 3"/>
                  <a:gd name="T4" fmla="*/ 7 w 8"/>
                  <a:gd name="T5" fmla="*/ 0 h 3"/>
                  <a:gd name="T6" fmla="*/ 5 w 8"/>
                  <a:gd name="T7" fmla="*/ 1 h 3"/>
                  <a:gd name="T8" fmla="*/ 3 w 8"/>
                  <a:gd name="T9" fmla="*/ 1 h 3"/>
                  <a:gd name="T10" fmla="*/ 3 w 8"/>
                  <a:gd name="T11" fmla="*/ 1 h 3"/>
                  <a:gd name="T12" fmla="*/ 0 w 8"/>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8" h="3">
                    <a:moveTo>
                      <a:pt x="0" y="0"/>
                    </a:moveTo>
                    <a:cubicBezTo>
                      <a:pt x="2" y="1"/>
                      <a:pt x="5" y="2"/>
                      <a:pt x="8" y="3"/>
                    </a:cubicBezTo>
                    <a:cubicBezTo>
                      <a:pt x="8" y="1"/>
                      <a:pt x="8" y="0"/>
                      <a:pt x="7" y="0"/>
                    </a:cubicBezTo>
                    <a:cubicBezTo>
                      <a:pt x="6" y="0"/>
                      <a:pt x="6" y="1"/>
                      <a:pt x="5" y="1"/>
                    </a:cubicBezTo>
                    <a:cubicBezTo>
                      <a:pt x="5" y="1"/>
                      <a:pt x="4" y="1"/>
                      <a:pt x="3" y="1"/>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77"/>
              <p:cNvSpPr/>
              <p:nvPr/>
            </p:nvSpPr>
            <p:spPr bwMode="auto">
              <a:xfrm>
                <a:off x="5534" y="3904"/>
                <a:ext cx="19" cy="7"/>
              </a:xfrm>
              <a:custGeom>
                <a:gdLst>
                  <a:gd name="T0" fmla="*/ 0 w 8"/>
                  <a:gd name="T1" fmla="*/ 0 h 3"/>
                  <a:gd name="T2" fmla="*/ 2 w 8"/>
                  <a:gd name="T3" fmla="*/ 3 h 3"/>
                  <a:gd name="T4" fmla="*/ 4 w 8"/>
                  <a:gd name="T5" fmla="*/ 3 h 3"/>
                  <a:gd name="T6" fmla="*/ 8 w 8"/>
                  <a:gd name="T7" fmla="*/ 1 h 3"/>
                  <a:gd name="T8" fmla="*/ 7 w 8"/>
                  <a:gd name="T9" fmla="*/ 1 h 3"/>
                  <a:gd name="T10" fmla="*/ 0 w 8"/>
                  <a:gd name="T11" fmla="*/ 0 h 3"/>
                </a:gdLst>
                <a:cxnLst>
                  <a:cxn ang="0">
                    <a:pos x="T0" y="T1"/>
                  </a:cxn>
                  <a:cxn ang="0">
                    <a:pos x="T2" y="T3"/>
                  </a:cxn>
                  <a:cxn ang="0">
                    <a:pos x="T4" y="T5"/>
                  </a:cxn>
                  <a:cxn ang="0">
                    <a:pos x="T6" y="T7"/>
                  </a:cxn>
                  <a:cxn ang="0">
                    <a:pos x="T8" y="T9"/>
                  </a:cxn>
                  <a:cxn ang="0">
                    <a:pos x="T10" y="T11"/>
                  </a:cxn>
                </a:cxnLst>
                <a:rect l="0" t="0" r="r" b="b"/>
                <a:pathLst>
                  <a:path w="8" h="3">
                    <a:moveTo>
                      <a:pt x="0" y="0"/>
                    </a:moveTo>
                    <a:cubicBezTo>
                      <a:pt x="2" y="1"/>
                      <a:pt x="0" y="3"/>
                      <a:pt x="2" y="3"/>
                    </a:cubicBezTo>
                    <a:cubicBezTo>
                      <a:pt x="3" y="3"/>
                      <a:pt x="3" y="3"/>
                      <a:pt x="4" y="3"/>
                    </a:cubicBezTo>
                    <a:cubicBezTo>
                      <a:pt x="5" y="2"/>
                      <a:pt x="7" y="2"/>
                      <a:pt x="8" y="1"/>
                    </a:cubicBezTo>
                    <a:cubicBezTo>
                      <a:pt x="8" y="1"/>
                      <a:pt x="8" y="1"/>
                      <a:pt x="7" y="1"/>
                    </a:cubicBezTo>
                    <a:cubicBezTo>
                      <a:pt x="5"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78"/>
              <p:cNvSpPr>
                <a:spLocks noEditPoints="1"/>
              </p:cNvSpPr>
              <p:nvPr/>
            </p:nvSpPr>
            <p:spPr bwMode="auto">
              <a:xfrm>
                <a:off x="5338" y="3686"/>
                <a:ext cx="598" cy="192"/>
              </a:xfrm>
              <a:custGeom>
                <a:gdLst>
                  <a:gd name="T0" fmla="*/ 12 w 253"/>
                  <a:gd name="T1" fmla="*/ 34 h 81"/>
                  <a:gd name="T2" fmla="*/ 12 w 253"/>
                  <a:gd name="T3" fmla="*/ 34 h 81"/>
                  <a:gd name="T4" fmla="*/ 48 w 253"/>
                  <a:gd name="T5" fmla="*/ 5 h 81"/>
                  <a:gd name="T6" fmla="*/ 16 w 253"/>
                  <a:gd name="T7" fmla="*/ 19 h 81"/>
                  <a:gd name="T8" fmla="*/ 14 w 253"/>
                  <a:gd name="T9" fmla="*/ 29 h 81"/>
                  <a:gd name="T10" fmla="*/ 12 w 253"/>
                  <a:gd name="T11" fmla="*/ 29 h 81"/>
                  <a:gd name="T12" fmla="*/ 5 w 253"/>
                  <a:gd name="T13" fmla="*/ 31 h 81"/>
                  <a:gd name="T14" fmla="*/ 6 w 253"/>
                  <a:gd name="T15" fmla="*/ 33 h 81"/>
                  <a:gd name="T16" fmla="*/ 9 w 253"/>
                  <a:gd name="T17" fmla="*/ 33 h 81"/>
                  <a:gd name="T18" fmla="*/ 12 w 253"/>
                  <a:gd name="T19" fmla="*/ 34 h 81"/>
                  <a:gd name="T20" fmla="*/ 20 w 253"/>
                  <a:gd name="T21" fmla="*/ 31 h 81"/>
                  <a:gd name="T22" fmla="*/ 26 w 253"/>
                  <a:gd name="T23" fmla="*/ 25 h 81"/>
                  <a:gd name="T24" fmla="*/ 33 w 253"/>
                  <a:gd name="T25" fmla="*/ 23 h 81"/>
                  <a:gd name="T26" fmla="*/ 39 w 253"/>
                  <a:gd name="T27" fmla="*/ 21 h 81"/>
                  <a:gd name="T28" fmla="*/ 55 w 253"/>
                  <a:gd name="T29" fmla="*/ 12 h 81"/>
                  <a:gd name="T30" fmla="*/ 65 w 253"/>
                  <a:gd name="T31" fmla="*/ 12 h 81"/>
                  <a:gd name="T32" fmla="*/ 68 w 253"/>
                  <a:gd name="T33" fmla="*/ 12 h 81"/>
                  <a:gd name="T34" fmla="*/ 74 w 253"/>
                  <a:gd name="T35" fmla="*/ 12 h 81"/>
                  <a:gd name="T36" fmla="*/ 74 w 253"/>
                  <a:gd name="T37" fmla="*/ 18 h 81"/>
                  <a:gd name="T38" fmla="*/ 73 w 253"/>
                  <a:gd name="T39" fmla="*/ 18 h 81"/>
                  <a:gd name="T40" fmla="*/ 72 w 253"/>
                  <a:gd name="T41" fmla="*/ 18 h 81"/>
                  <a:gd name="T42" fmla="*/ 69 w 253"/>
                  <a:gd name="T43" fmla="*/ 18 h 81"/>
                  <a:gd name="T44" fmla="*/ 74 w 253"/>
                  <a:gd name="T45" fmla="*/ 24 h 81"/>
                  <a:gd name="T46" fmla="*/ 88 w 253"/>
                  <a:gd name="T47" fmla="*/ 22 h 81"/>
                  <a:gd name="T48" fmla="*/ 96 w 253"/>
                  <a:gd name="T49" fmla="*/ 27 h 81"/>
                  <a:gd name="T50" fmla="*/ 99 w 253"/>
                  <a:gd name="T51" fmla="*/ 27 h 81"/>
                  <a:gd name="T52" fmla="*/ 115 w 253"/>
                  <a:gd name="T53" fmla="*/ 33 h 81"/>
                  <a:gd name="T54" fmla="*/ 146 w 253"/>
                  <a:gd name="T55" fmla="*/ 39 h 81"/>
                  <a:gd name="T56" fmla="*/ 151 w 253"/>
                  <a:gd name="T57" fmla="*/ 52 h 81"/>
                  <a:gd name="T58" fmla="*/ 175 w 253"/>
                  <a:gd name="T59" fmla="*/ 61 h 81"/>
                  <a:gd name="T60" fmla="*/ 176 w 253"/>
                  <a:gd name="T61" fmla="*/ 60 h 81"/>
                  <a:gd name="T62" fmla="*/ 178 w 253"/>
                  <a:gd name="T63" fmla="*/ 60 h 81"/>
                  <a:gd name="T64" fmla="*/ 181 w 253"/>
                  <a:gd name="T65" fmla="*/ 70 h 81"/>
                  <a:gd name="T66" fmla="*/ 169 w 253"/>
                  <a:gd name="T67" fmla="*/ 80 h 81"/>
                  <a:gd name="T68" fmla="*/ 202 w 253"/>
                  <a:gd name="T69" fmla="*/ 79 h 81"/>
                  <a:gd name="T70" fmla="*/ 219 w 253"/>
                  <a:gd name="T71" fmla="*/ 79 h 81"/>
                  <a:gd name="T72" fmla="*/ 227 w 253"/>
                  <a:gd name="T73" fmla="*/ 80 h 81"/>
                  <a:gd name="T74" fmla="*/ 231 w 253"/>
                  <a:gd name="T75" fmla="*/ 80 h 81"/>
                  <a:gd name="T76" fmla="*/ 242 w 253"/>
                  <a:gd name="T77" fmla="*/ 76 h 81"/>
                  <a:gd name="T78" fmla="*/ 245 w 253"/>
                  <a:gd name="T79" fmla="*/ 76 h 81"/>
                  <a:gd name="T80" fmla="*/ 252 w 253"/>
                  <a:gd name="T81" fmla="*/ 73 h 81"/>
                  <a:gd name="T82" fmla="*/ 227 w 253"/>
                  <a:gd name="T83" fmla="*/ 60 h 81"/>
                  <a:gd name="T84" fmla="*/ 213 w 253"/>
                  <a:gd name="T85" fmla="*/ 50 h 81"/>
                  <a:gd name="T86" fmla="*/ 209 w 253"/>
                  <a:gd name="T87" fmla="*/ 50 h 81"/>
                  <a:gd name="T88" fmla="*/ 194 w 253"/>
                  <a:gd name="T89" fmla="*/ 45 h 81"/>
                  <a:gd name="T90" fmla="*/ 182 w 253"/>
                  <a:gd name="T91" fmla="*/ 37 h 81"/>
                  <a:gd name="T92" fmla="*/ 177 w 253"/>
                  <a:gd name="T93" fmla="*/ 34 h 81"/>
                  <a:gd name="T94" fmla="*/ 164 w 253"/>
                  <a:gd name="T95" fmla="*/ 29 h 81"/>
                  <a:gd name="T96" fmla="*/ 137 w 253"/>
                  <a:gd name="T97" fmla="*/ 18 h 81"/>
                  <a:gd name="T98" fmla="*/ 111 w 253"/>
                  <a:gd name="T99" fmla="*/ 7 h 81"/>
                  <a:gd name="T100" fmla="*/ 101 w 253"/>
                  <a:gd name="T101" fmla="*/ 2 h 81"/>
                  <a:gd name="T102" fmla="*/ 94 w 253"/>
                  <a:gd name="T103" fmla="*/ 3 h 81"/>
                  <a:gd name="T104" fmla="*/ 87 w 253"/>
                  <a:gd name="T105" fmla="*/ 2 h 81"/>
                  <a:gd name="T106" fmla="*/ 83 w 253"/>
                  <a:gd name="T107" fmla="*/ 2 h 81"/>
                  <a:gd name="T108" fmla="*/ 68 w 253"/>
                  <a:gd name="T109"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3" h="81">
                    <a:moveTo>
                      <a:pt x="12" y="34"/>
                    </a:moveTo>
                    <a:cubicBezTo>
                      <a:pt x="12" y="34"/>
                      <a:pt x="12" y="34"/>
                      <a:pt x="12" y="34"/>
                    </a:cubicBezTo>
                    <a:cubicBezTo>
                      <a:pt x="12" y="34"/>
                      <a:pt x="12" y="34"/>
                      <a:pt x="12" y="34"/>
                    </a:cubicBezTo>
                    <a:cubicBezTo>
                      <a:pt x="12" y="34"/>
                      <a:pt x="12" y="34"/>
                      <a:pt x="12" y="34"/>
                    </a:cubicBezTo>
                    <a:moveTo>
                      <a:pt x="68" y="0"/>
                    </a:moveTo>
                    <a:cubicBezTo>
                      <a:pt x="61" y="2"/>
                      <a:pt x="55" y="3"/>
                      <a:pt x="48" y="5"/>
                    </a:cubicBezTo>
                    <a:cubicBezTo>
                      <a:pt x="42" y="6"/>
                      <a:pt x="35" y="8"/>
                      <a:pt x="29" y="10"/>
                    </a:cubicBezTo>
                    <a:cubicBezTo>
                      <a:pt x="24" y="11"/>
                      <a:pt x="18" y="15"/>
                      <a:pt x="16" y="19"/>
                    </a:cubicBezTo>
                    <a:cubicBezTo>
                      <a:pt x="14" y="22"/>
                      <a:pt x="16" y="25"/>
                      <a:pt x="17" y="28"/>
                    </a:cubicBezTo>
                    <a:cubicBezTo>
                      <a:pt x="16" y="29"/>
                      <a:pt x="15" y="29"/>
                      <a:pt x="14" y="29"/>
                    </a:cubicBezTo>
                    <a:cubicBezTo>
                      <a:pt x="14" y="29"/>
                      <a:pt x="13" y="29"/>
                      <a:pt x="13" y="29"/>
                    </a:cubicBezTo>
                    <a:cubicBezTo>
                      <a:pt x="12" y="29"/>
                      <a:pt x="12" y="29"/>
                      <a:pt x="12" y="29"/>
                    </a:cubicBezTo>
                    <a:cubicBezTo>
                      <a:pt x="11" y="29"/>
                      <a:pt x="10" y="29"/>
                      <a:pt x="9" y="29"/>
                    </a:cubicBezTo>
                    <a:cubicBezTo>
                      <a:pt x="8" y="29"/>
                      <a:pt x="7" y="30"/>
                      <a:pt x="5" y="31"/>
                    </a:cubicBezTo>
                    <a:cubicBezTo>
                      <a:pt x="4" y="31"/>
                      <a:pt x="0" y="31"/>
                      <a:pt x="3" y="33"/>
                    </a:cubicBezTo>
                    <a:cubicBezTo>
                      <a:pt x="3" y="33"/>
                      <a:pt x="5" y="33"/>
                      <a:pt x="6" y="33"/>
                    </a:cubicBezTo>
                    <a:cubicBezTo>
                      <a:pt x="6" y="33"/>
                      <a:pt x="7" y="33"/>
                      <a:pt x="8" y="33"/>
                    </a:cubicBezTo>
                    <a:cubicBezTo>
                      <a:pt x="8" y="33"/>
                      <a:pt x="9" y="33"/>
                      <a:pt x="9" y="33"/>
                    </a:cubicBezTo>
                    <a:cubicBezTo>
                      <a:pt x="9" y="33"/>
                      <a:pt x="9" y="33"/>
                      <a:pt x="9" y="33"/>
                    </a:cubicBezTo>
                    <a:cubicBezTo>
                      <a:pt x="10" y="33"/>
                      <a:pt x="12" y="34"/>
                      <a:pt x="12" y="34"/>
                    </a:cubicBezTo>
                    <a:cubicBezTo>
                      <a:pt x="12" y="34"/>
                      <a:pt x="12" y="34"/>
                      <a:pt x="12" y="34"/>
                    </a:cubicBezTo>
                    <a:cubicBezTo>
                      <a:pt x="14" y="34"/>
                      <a:pt x="17" y="32"/>
                      <a:pt x="20" y="31"/>
                    </a:cubicBezTo>
                    <a:cubicBezTo>
                      <a:pt x="22" y="31"/>
                      <a:pt x="22" y="31"/>
                      <a:pt x="23" y="30"/>
                    </a:cubicBezTo>
                    <a:cubicBezTo>
                      <a:pt x="25" y="28"/>
                      <a:pt x="23" y="25"/>
                      <a:pt x="26" y="25"/>
                    </a:cubicBezTo>
                    <a:cubicBezTo>
                      <a:pt x="29" y="24"/>
                      <a:pt x="31" y="23"/>
                      <a:pt x="33" y="23"/>
                    </a:cubicBezTo>
                    <a:cubicBezTo>
                      <a:pt x="33" y="23"/>
                      <a:pt x="33" y="23"/>
                      <a:pt x="33" y="23"/>
                    </a:cubicBezTo>
                    <a:cubicBezTo>
                      <a:pt x="35" y="23"/>
                      <a:pt x="36" y="23"/>
                      <a:pt x="36" y="23"/>
                    </a:cubicBezTo>
                    <a:cubicBezTo>
                      <a:pt x="37" y="23"/>
                      <a:pt x="38" y="23"/>
                      <a:pt x="39" y="21"/>
                    </a:cubicBezTo>
                    <a:cubicBezTo>
                      <a:pt x="42" y="19"/>
                      <a:pt x="45" y="17"/>
                      <a:pt x="48" y="16"/>
                    </a:cubicBezTo>
                    <a:cubicBezTo>
                      <a:pt x="49" y="15"/>
                      <a:pt x="53" y="12"/>
                      <a:pt x="55" y="12"/>
                    </a:cubicBezTo>
                    <a:cubicBezTo>
                      <a:pt x="55" y="12"/>
                      <a:pt x="55" y="12"/>
                      <a:pt x="55" y="12"/>
                    </a:cubicBezTo>
                    <a:cubicBezTo>
                      <a:pt x="58" y="12"/>
                      <a:pt x="62" y="12"/>
                      <a:pt x="65" y="12"/>
                    </a:cubicBezTo>
                    <a:cubicBezTo>
                      <a:pt x="65" y="12"/>
                      <a:pt x="65" y="12"/>
                      <a:pt x="66" y="12"/>
                    </a:cubicBezTo>
                    <a:cubicBezTo>
                      <a:pt x="66" y="12"/>
                      <a:pt x="67" y="12"/>
                      <a:pt x="68" y="12"/>
                    </a:cubicBezTo>
                    <a:cubicBezTo>
                      <a:pt x="68" y="12"/>
                      <a:pt x="69" y="12"/>
                      <a:pt x="70" y="12"/>
                    </a:cubicBezTo>
                    <a:cubicBezTo>
                      <a:pt x="71" y="12"/>
                      <a:pt x="73" y="12"/>
                      <a:pt x="74" y="12"/>
                    </a:cubicBezTo>
                    <a:cubicBezTo>
                      <a:pt x="77" y="14"/>
                      <a:pt x="80" y="16"/>
                      <a:pt x="75" y="18"/>
                    </a:cubicBezTo>
                    <a:cubicBezTo>
                      <a:pt x="75" y="18"/>
                      <a:pt x="74" y="18"/>
                      <a:pt x="74" y="18"/>
                    </a:cubicBezTo>
                    <a:cubicBezTo>
                      <a:pt x="73" y="18"/>
                      <a:pt x="73" y="18"/>
                      <a:pt x="73" y="18"/>
                    </a:cubicBezTo>
                    <a:cubicBezTo>
                      <a:pt x="73" y="18"/>
                      <a:pt x="73" y="18"/>
                      <a:pt x="73" y="18"/>
                    </a:cubicBezTo>
                    <a:cubicBezTo>
                      <a:pt x="73" y="18"/>
                      <a:pt x="73" y="18"/>
                      <a:pt x="72" y="18"/>
                    </a:cubicBezTo>
                    <a:cubicBezTo>
                      <a:pt x="72" y="18"/>
                      <a:pt x="72" y="18"/>
                      <a:pt x="72" y="18"/>
                    </a:cubicBezTo>
                    <a:cubicBezTo>
                      <a:pt x="72" y="18"/>
                      <a:pt x="71" y="18"/>
                      <a:pt x="71" y="18"/>
                    </a:cubicBezTo>
                    <a:cubicBezTo>
                      <a:pt x="70" y="18"/>
                      <a:pt x="70" y="18"/>
                      <a:pt x="69" y="18"/>
                    </a:cubicBezTo>
                    <a:cubicBezTo>
                      <a:pt x="68" y="18"/>
                      <a:pt x="66" y="18"/>
                      <a:pt x="67" y="19"/>
                    </a:cubicBezTo>
                    <a:cubicBezTo>
                      <a:pt x="67" y="21"/>
                      <a:pt x="73" y="24"/>
                      <a:pt x="74" y="24"/>
                    </a:cubicBezTo>
                    <a:cubicBezTo>
                      <a:pt x="75" y="24"/>
                      <a:pt x="76" y="24"/>
                      <a:pt x="77" y="24"/>
                    </a:cubicBezTo>
                    <a:cubicBezTo>
                      <a:pt x="81" y="24"/>
                      <a:pt x="87" y="23"/>
                      <a:pt x="88" y="22"/>
                    </a:cubicBezTo>
                    <a:cubicBezTo>
                      <a:pt x="90" y="25"/>
                      <a:pt x="90" y="27"/>
                      <a:pt x="94" y="27"/>
                    </a:cubicBezTo>
                    <a:cubicBezTo>
                      <a:pt x="95" y="27"/>
                      <a:pt x="95" y="27"/>
                      <a:pt x="96" y="27"/>
                    </a:cubicBezTo>
                    <a:cubicBezTo>
                      <a:pt x="96" y="27"/>
                      <a:pt x="97" y="27"/>
                      <a:pt x="97" y="27"/>
                    </a:cubicBezTo>
                    <a:cubicBezTo>
                      <a:pt x="98" y="27"/>
                      <a:pt x="98" y="27"/>
                      <a:pt x="99" y="27"/>
                    </a:cubicBezTo>
                    <a:cubicBezTo>
                      <a:pt x="101" y="27"/>
                      <a:pt x="104" y="27"/>
                      <a:pt x="106" y="28"/>
                    </a:cubicBezTo>
                    <a:cubicBezTo>
                      <a:pt x="109" y="29"/>
                      <a:pt x="112" y="32"/>
                      <a:pt x="115" y="33"/>
                    </a:cubicBezTo>
                    <a:cubicBezTo>
                      <a:pt x="122" y="36"/>
                      <a:pt x="128" y="37"/>
                      <a:pt x="135" y="38"/>
                    </a:cubicBezTo>
                    <a:cubicBezTo>
                      <a:pt x="139" y="38"/>
                      <a:pt x="142" y="39"/>
                      <a:pt x="146" y="39"/>
                    </a:cubicBezTo>
                    <a:cubicBezTo>
                      <a:pt x="149" y="40"/>
                      <a:pt x="150" y="43"/>
                      <a:pt x="151" y="46"/>
                    </a:cubicBezTo>
                    <a:cubicBezTo>
                      <a:pt x="152" y="48"/>
                      <a:pt x="151" y="50"/>
                      <a:pt x="151" y="52"/>
                    </a:cubicBezTo>
                    <a:cubicBezTo>
                      <a:pt x="152" y="53"/>
                      <a:pt x="154" y="54"/>
                      <a:pt x="155" y="55"/>
                    </a:cubicBezTo>
                    <a:cubicBezTo>
                      <a:pt x="161" y="59"/>
                      <a:pt x="167" y="60"/>
                      <a:pt x="175" y="61"/>
                    </a:cubicBezTo>
                    <a:cubicBezTo>
                      <a:pt x="175" y="61"/>
                      <a:pt x="175" y="61"/>
                      <a:pt x="175" y="61"/>
                    </a:cubicBezTo>
                    <a:cubicBezTo>
                      <a:pt x="175" y="61"/>
                      <a:pt x="176" y="60"/>
                      <a:pt x="176" y="60"/>
                    </a:cubicBezTo>
                    <a:cubicBezTo>
                      <a:pt x="177" y="60"/>
                      <a:pt x="177" y="60"/>
                      <a:pt x="178" y="60"/>
                    </a:cubicBezTo>
                    <a:cubicBezTo>
                      <a:pt x="178" y="60"/>
                      <a:pt x="178" y="60"/>
                      <a:pt x="178" y="60"/>
                    </a:cubicBezTo>
                    <a:cubicBezTo>
                      <a:pt x="179" y="60"/>
                      <a:pt x="181" y="63"/>
                      <a:pt x="181" y="63"/>
                    </a:cubicBezTo>
                    <a:cubicBezTo>
                      <a:pt x="185" y="66"/>
                      <a:pt x="184" y="67"/>
                      <a:pt x="181" y="70"/>
                    </a:cubicBezTo>
                    <a:cubicBezTo>
                      <a:pt x="178" y="72"/>
                      <a:pt x="174" y="74"/>
                      <a:pt x="172" y="77"/>
                    </a:cubicBezTo>
                    <a:cubicBezTo>
                      <a:pt x="171" y="77"/>
                      <a:pt x="170" y="79"/>
                      <a:pt x="169" y="80"/>
                    </a:cubicBezTo>
                    <a:cubicBezTo>
                      <a:pt x="171" y="81"/>
                      <a:pt x="174" y="81"/>
                      <a:pt x="177" y="81"/>
                    </a:cubicBezTo>
                    <a:cubicBezTo>
                      <a:pt x="185" y="81"/>
                      <a:pt x="194" y="79"/>
                      <a:pt x="202" y="79"/>
                    </a:cubicBezTo>
                    <a:cubicBezTo>
                      <a:pt x="204" y="78"/>
                      <a:pt x="207" y="78"/>
                      <a:pt x="209" y="78"/>
                    </a:cubicBezTo>
                    <a:cubicBezTo>
                      <a:pt x="212" y="78"/>
                      <a:pt x="215" y="79"/>
                      <a:pt x="219" y="79"/>
                    </a:cubicBezTo>
                    <a:cubicBezTo>
                      <a:pt x="221" y="79"/>
                      <a:pt x="223" y="80"/>
                      <a:pt x="225" y="80"/>
                    </a:cubicBezTo>
                    <a:cubicBezTo>
                      <a:pt x="226" y="80"/>
                      <a:pt x="227" y="80"/>
                      <a:pt x="227" y="80"/>
                    </a:cubicBezTo>
                    <a:cubicBezTo>
                      <a:pt x="228" y="79"/>
                      <a:pt x="229" y="78"/>
                      <a:pt x="230" y="78"/>
                    </a:cubicBezTo>
                    <a:cubicBezTo>
                      <a:pt x="230" y="78"/>
                      <a:pt x="230" y="78"/>
                      <a:pt x="231" y="80"/>
                    </a:cubicBezTo>
                    <a:cubicBezTo>
                      <a:pt x="233" y="78"/>
                      <a:pt x="236" y="76"/>
                      <a:pt x="239" y="76"/>
                    </a:cubicBezTo>
                    <a:cubicBezTo>
                      <a:pt x="240" y="76"/>
                      <a:pt x="241" y="76"/>
                      <a:pt x="242" y="76"/>
                    </a:cubicBezTo>
                    <a:cubicBezTo>
                      <a:pt x="243" y="76"/>
                      <a:pt x="243" y="76"/>
                      <a:pt x="244" y="76"/>
                    </a:cubicBezTo>
                    <a:cubicBezTo>
                      <a:pt x="244" y="76"/>
                      <a:pt x="245" y="76"/>
                      <a:pt x="245" y="76"/>
                    </a:cubicBezTo>
                    <a:cubicBezTo>
                      <a:pt x="246" y="76"/>
                      <a:pt x="247" y="76"/>
                      <a:pt x="248" y="75"/>
                    </a:cubicBezTo>
                    <a:cubicBezTo>
                      <a:pt x="249" y="75"/>
                      <a:pt x="253" y="73"/>
                      <a:pt x="252" y="73"/>
                    </a:cubicBezTo>
                    <a:cubicBezTo>
                      <a:pt x="249" y="68"/>
                      <a:pt x="242" y="65"/>
                      <a:pt x="237" y="62"/>
                    </a:cubicBezTo>
                    <a:cubicBezTo>
                      <a:pt x="233" y="61"/>
                      <a:pt x="231" y="60"/>
                      <a:pt x="227" y="60"/>
                    </a:cubicBezTo>
                    <a:cubicBezTo>
                      <a:pt x="222" y="59"/>
                      <a:pt x="222" y="60"/>
                      <a:pt x="220" y="56"/>
                    </a:cubicBezTo>
                    <a:cubicBezTo>
                      <a:pt x="219" y="52"/>
                      <a:pt x="217" y="50"/>
                      <a:pt x="213" y="50"/>
                    </a:cubicBezTo>
                    <a:cubicBezTo>
                      <a:pt x="213" y="50"/>
                      <a:pt x="212" y="50"/>
                      <a:pt x="212" y="50"/>
                    </a:cubicBezTo>
                    <a:cubicBezTo>
                      <a:pt x="211" y="50"/>
                      <a:pt x="210" y="50"/>
                      <a:pt x="209" y="50"/>
                    </a:cubicBezTo>
                    <a:cubicBezTo>
                      <a:pt x="207" y="50"/>
                      <a:pt x="206" y="50"/>
                      <a:pt x="203" y="47"/>
                    </a:cubicBezTo>
                    <a:cubicBezTo>
                      <a:pt x="201" y="46"/>
                      <a:pt x="197" y="46"/>
                      <a:pt x="194" y="45"/>
                    </a:cubicBezTo>
                    <a:cubicBezTo>
                      <a:pt x="192" y="44"/>
                      <a:pt x="188" y="43"/>
                      <a:pt x="187" y="41"/>
                    </a:cubicBezTo>
                    <a:cubicBezTo>
                      <a:pt x="185" y="40"/>
                      <a:pt x="184" y="38"/>
                      <a:pt x="182" y="37"/>
                    </a:cubicBezTo>
                    <a:cubicBezTo>
                      <a:pt x="182" y="36"/>
                      <a:pt x="180" y="35"/>
                      <a:pt x="179" y="35"/>
                    </a:cubicBezTo>
                    <a:cubicBezTo>
                      <a:pt x="178" y="34"/>
                      <a:pt x="177" y="34"/>
                      <a:pt x="177" y="34"/>
                    </a:cubicBezTo>
                    <a:cubicBezTo>
                      <a:pt x="176" y="34"/>
                      <a:pt x="177" y="35"/>
                      <a:pt x="177" y="37"/>
                    </a:cubicBezTo>
                    <a:cubicBezTo>
                      <a:pt x="172" y="34"/>
                      <a:pt x="168" y="32"/>
                      <a:pt x="164" y="29"/>
                    </a:cubicBezTo>
                    <a:cubicBezTo>
                      <a:pt x="160" y="26"/>
                      <a:pt x="156" y="24"/>
                      <a:pt x="151" y="23"/>
                    </a:cubicBezTo>
                    <a:cubicBezTo>
                      <a:pt x="146" y="21"/>
                      <a:pt x="142" y="19"/>
                      <a:pt x="137" y="18"/>
                    </a:cubicBezTo>
                    <a:cubicBezTo>
                      <a:pt x="130" y="17"/>
                      <a:pt x="128" y="16"/>
                      <a:pt x="125" y="10"/>
                    </a:cubicBezTo>
                    <a:cubicBezTo>
                      <a:pt x="123" y="7"/>
                      <a:pt x="114" y="8"/>
                      <a:pt x="111" y="7"/>
                    </a:cubicBezTo>
                    <a:cubicBezTo>
                      <a:pt x="108" y="6"/>
                      <a:pt x="106" y="4"/>
                      <a:pt x="103" y="3"/>
                    </a:cubicBezTo>
                    <a:cubicBezTo>
                      <a:pt x="103" y="3"/>
                      <a:pt x="102" y="2"/>
                      <a:pt x="101" y="2"/>
                    </a:cubicBezTo>
                    <a:cubicBezTo>
                      <a:pt x="99" y="2"/>
                      <a:pt x="98" y="3"/>
                      <a:pt x="97" y="3"/>
                    </a:cubicBezTo>
                    <a:cubicBezTo>
                      <a:pt x="96" y="3"/>
                      <a:pt x="95" y="3"/>
                      <a:pt x="94" y="3"/>
                    </a:cubicBezTo>
                    <a:cubicBezTo>
                      <a:pt x="92" y="3"/>
                      <a:pt x="91" y="3"/>
                      <a:pt x="89" y="2"/>
                    </a:cubicBezTo>
                    <a:cubicBezTo>
                      <a:pt x="88" y="2"/>
                      <a:pt x="87" y="2"/>
                      <a:pt x="87" y="2"/>
                    </a:cubicBezTo>
                    <a:cubicBezTo>
                      <a:pt x="86" y="2"/>
                      <a:pt x="86" y="2"/>
                      <a:pt x="85" y="2"/>
                    </a:cubicBezTo>
                    <a:cubicBezTo>
                      <a:pt x="84" y="2"/>
                      <a:pt x="84" y="2"/>
                      <a:pt x="83" y="2"/>
                    </a:cubicBezTo>
                    <a:cubicBezTo>
                      <a:pt x="83" y="2"/>
                      <a:pt x="83" y="2"/>
                      <a:pt x="83" y="2"/>
                    </a:cubicBezTo>
                    <a:cubicBezTo>
                      <a:pt x="78" y="2"/>
                      <a:pt x="73" y="0"/>
                      <a:pt x="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79"/>
              <p:cNvSpPr/>
              <p:nvPr/>
            </p:nvSpPr>
            <p:spPr bwMode="auto">
              <a:xfrm>
                <a:off x="5638" y="3710"/>
                <a:ext cx="5" cy="4"/>
              </a:xfrm>
              <a:custGeom>
                <a:gdLst>
                  <a:gd name="T0" fmla="*/ 0 w 2"/>
                  <a:gd name="T1" fmla="*/ 0 h 2"/>
                  <a:gd name="T2" fmla="*/ 2 w 2"/>
                  <a:gd name="T3" fmla="*/ 2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1" y="1"/>
                      <a:pt x="1" y="2"/>
                      <a:pt x="2" y="2"/>
                    </a:cubicBezTo>
                    <a:cubicBezTo>
                      <a:pt x="2" y="2"/>
                      <a:pt x="2" y="2"/>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80"/>
              <p:cNvSpPr/>
              <p:nvPr/>
            </p:nvSpPr>
            <p:spPr bwMode="auto">
              <a:xfrm>
                <a:off x="5634" y="3707"/>
                <a:ext cx="4" cy="3"/>
              </a:xfrm>
              <a:custGeom>
                <a:gdLst>
                  <a:gd name="T0" fmla="*/ 1 w 2"/>
                  <a:gd name="T1" fmla="*/ 0 h 1"/>
                  <a:gd name="T2" fmla="*/ 0 w 2"/>
                  <a:gd name="T3" fmla="*/ 0 h 1"/>
                  <a:gd name="T4" fmla="*/ 2 w 2"/>
                  <a:gd name="T5" fmla="*/ 1 h 1"/>
                  <a:gd name="T6" fmla="*/ 1 w 2"/>
                  <a:gd name="T7" fmla="*/ 0 h 1"/>
                </a:gdLst>
                <a:cxnLst>
                  <a:cxn ang="0">
                    <a:pos x="T0" y="T1"/>
                  </a:cxn>
                  <a:cxn ang="0">
                    <a:pos x="T2" y="T3"/>
                  </a:cxn>
                  <a:cxn ang="0">
                    <a:pos x="T4" y="T5"/>
                  </a:cxn>
                  <a:cxn ang="0">
                    <a:pos x="T6" y="T7"/>
                  </a:cxn>
                </a:cxnLst>
                <a:rect l="0" t="0" r="r" b="b"/>
                <a:pathLst>
                  <a:path w="2" h="1">
                    <a:moveTo>
                      <a:pt x="1" y="0"/>
                    </a:moveTo>
                    <a:cubicBezTo>
                      <a:pt x="1" y="0"/>
                      <a:pt x="1" y="0"/>
                      <a:pt x="0" y="0"/>
                    </a:cubicBezTo>
                    <a:cubicBezTo>
                      <a:pt x="1" y="1"/>
                      <a:pt x="1" y="1"/>
                      <a:pt x="2" y="1"/>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81"/>
              <p:cNvSpPr>
                <a:spLocks noEditPoints="1"/>
              </p:cNvSpPr>
              <p:nvPr/>
            </p:nvSpPr>
            <p:spPr bwMode="auto">
              <a:xfrm>
                <a:off x="5643" y="3714"/>
                <a:ext cx="7" cy="5"/>
              </a:xfrm>
              <a:custGeom>
                <a:gdLst>
                  <a:gd name="T0" fmla="*/ 3 w 3"/>
                  <a:gd name="T1" fmla="*/ 1 h 2"/>
                  <a:gd name="T2" fmla="*/ 3 w 3"/>
                  <a:gd name="T3" fmla="*/ 2 h 2"/>
                  <a:gd name="T4" fmla="*/ 3 w 3"/>
                  <a:gd name="T5" fmla="*/ 1 h 2"/>
                  <a:gd name="T6" fmla="*/ 0 w 3"/>
                  <a:gd name="T7" fmla="*/ 0 h 2"/>
                  <a:gd name="T8" fmla="*/ 3 w 3"/>
                  <a:gd name="T9" fmla="*/ 1 h 2"/>
                  <a:gd name="T10" fmla="*/ 0 w 3"/>
                  <a:gd name="T11" fmla="*/ 0 h 2"/>
                </a:gdLst>
                <a:cxnLst>
                  <a:cxn ang="0">
                    <a:pos x="T0" y="T1"/>
                  </a:cxn>
                  <a:cxn ang="0">
                    <a:pos x="T2" y="T3"/>
                  </a:cxn>
                  <a:cxn ang="0">
                    <a:pos x="T4" y="T5"/>
                  </a:cxn>
                  <a:cxn ang="0">
                    <a:pos x="T6" y="T7"/>
                  </a:cxn>
                  <a:cxn ang="0">
                    <a:pos x="T8" y="T9"/>
                  </a:cxn>
                  <a:cxn ang="0">
                    <a:pos x="T10" y="T11"/>
                  </a:cxn>
                </a:cxnLst>
                <a:rect l="0" t="0" r="r" b="b"/>
                <a:pathLst>
                  <a:path w="3" h="2">
                    <a:moveTo>
                      <a:pt x="3" y="1"/>
                    </a:moveTo>
                    <a:cubicBezTo>
                      <a:pt x="3" y="1"/>
                      <a:pt x="3" y="2"/>
                      <a:pt x="3" y="2"/>
                    </a:cubicBezTo>
                    <a:cubicBezTo>
                      <a:pt x="3" y="2"/>
                      <a:pt x="3" y="1"/>
                      <a:pt x="3" y="1"/>
                    </a:cubicBezTo>
                    <a:moveTo>
                      <a:pt x="0" y="0"/>
                    </a:moveTo>
                    <a:cubicBezTo>
                      <a:pt x="1" y="0"/>
                      <a:pt x="2"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82"/>
              <p:cNvSpPr/>
              <p:nvPr/>
            </p:nvSpPr>
            <p:spPr bwMode="auto">
              <a:xfrm>
                <a:off x="5712" y="3738"/>
                <a:ext cx="30" cy="21"/>
              </a:xfrm>
              <a:custGeom>
                <a:gdLst>
                  <a:gd name="T0" fmla="*/ 5 w 13"/>
                  <a:gd name="T1" fmla="*/ 0 h 9"/>
                  <a:gd name="T2" fmla="*/ 12 w 13"/>
                  <a:gd name="T3" fmla="*/ 9 h 9"/>
                  <a:gd name="T4" fmla="*/ 13 w 13"/>
                  <a:gd name="T5" fmla="*/ 6 h 9"/>
                  <a:gd name="T6" fmla="*/ 10 w 13"/>
                  <a:gd name="T7" fmla="*/ 4 h 9"/>
                  <a:gd name="T8" fmla="*/ 9 w 13"/>
                  <a:gd name="T9" fmla="*/ 6 h 9"/>
                  <a:gd name="T10" fmla="*/ 9 w 13"/>
                  <a:gd name="T11" fmla="*/ 4 h 9"/>
                  <a:gd name="T12" fmla="*/ 8 w 13"/>
                  <a:gd name="T13" fmla="*/ 4 h 9"/>
                  <a:gd name="T14" fmla="*/ 7 w 13"/>
                  <a:gd name="T15" fmla="*/ 1 h 9"/>
                  <a:gd name="T16" fmla="*/ 7 w 13"/>
                  <a:gd name="T17" fmla="*/ 1 h 9"/>
                  <a:gd name="T18" fmla="*/ 6 w 13"/>
                  <a:gd name="T19" fmla="*/ 1 h 9"/>
                  <a:gd name="T20" fmla="*/ 6 w 13"/>
                  <a:gd name="T21" fmla="*/ 1 h 9"/>
                  <a:gd name="T22" fmla="*/ 5 w 13"/>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5" y="0"/>
                    </a:moveTo>
                    <a:cubicBezTo>
                      <a:pt x="0" y="2"/>
                      <a:pt x="11" y="8"/>
                      <a:pt x="12" y="9"/>
                    </a:cubicBezTo>
                    <a:cubicBezTo>
                      <a:pt x="12" y="8"/>
                      <a:pt x="13" y="7"/>
                      <a:pt x="13" y="6"/>
                    </a:cubicBezTo>
                    <a:cubicBezTo>
                      <a:pt x="12" y="5"/>
                      <a:pt x="11" y="5"/>
                      <a:pt x="10" y="4"/>
                    </a:cubicBezTo>
                    <a:cubicBezTo>
                      <a:pt x="10" y="5"/>
                      <a:pt x="10" y="5"/>
                      <a:pt x="9" y="6"/>
                    </a:cubicBezTo>
                    <a:cubicBezTo>
                      <a:pt x="9" y="5"/>
                      <a:pt x="10" y="4"/>
                      <a:pt x="9" y="4"/>
                    </a:cubicBezTo>
                    <a:cubicBezTo>
                      <a:pt x="9" y="4"/>
                      <a:pt x="9" y="4"/>
                      <a:pt x="8" y="4"/>
                    </a:cubicBezTo>
                    <a:cubicBezTo>
                      <a:pt x="9" y="2"/>
                      <a:pt x="7" y="3"/>
                      <a:pt x="7" y="1"/>
                    </a:cubicBezTo>
                    <a:cubicBezTo>
                      <a:pt x="7" y="1"/>
                      <a:pt x="7" y="1"/>
                      <a:pt x="7" y="1"/>
                    </a:cubicBezTo>
                    <a:cubicBezTo>
                      <a:pt x="6" y="1"/>
                      <a:pt x="6" y="1"/>
                      <a:pt x="6" y="1"/>
                    </a:cubicBezTo>
                    <a:cubicBezTo>
                      <a:pt x="6" y="1"/>
                      <a:pt x="6" y="1"/>
                      <a:pt x="6" y="1"/>
                    </a:cubicBezTo>
                    <a:cubicBezTo>
                      <a:pt x="5"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83"/>
              <p:cNvSpPr/>
              <p:nvPr/>
            </p:nvSpPr>
            <p:spPr bwMode="auto">
              <a:xfrm>
                <a:off x="5697" y="3833"/>
                <a:ext cx="8" cy="4"/>
              </a:xfrm>
              <a:custGeom>
                <a:gdLst>
                  <a:gd name="T0" fmla="*/ 0 w 3"/>
                  <a:gd name="T1" fmla="*/ 0 h 2"/>
                  <a:gd name="T2" fmla="*/ 0 w 3"/>
                  <a:gd name="T3" fmla="*/ 0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cubicBezTo>
                      <a:pt x="0" y="0"/>
                      <a:pt x="0" y="0"/>
                      <a:pt x="0" y="0"/>
                    </a:cubicBezTo>
                    <a:cubicBezTo>
                      <a:pt x="1" y="1"/>
                      <a:pt x="2" y="1"/>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84"/>
              <p:cNvSpPr/>
              <p:nvPr/>
            </p:nvSpPr>
            <p:spPr bwMode="auto">
              <a:xfrm>
                <a:off x="5440" y="3757"/>
                <a:ext cx="35" cy="28"/>
              </a:xfrm>
              <a:custGeom>
                <a:gdLst>
                  <a:gd name="T0" fmla="*/ 6 w 15"/>
                  <a:gd name="T1" fmla="*/ 0 h 12"/>
                  <a:gd name="T2" fmla="*/ 2 w 15"/>
                  <a:gd name="T3" fmla="*/ 10 h 12"/>
                  <a:gd name="T4" fmla="*/ 8 w 15"/>
                  <a:gd name="T5" fmla="*/ 12 h 12"/>
                  <a:gd name="T6" fmla="*/ 12 w 15"/>
                  <a:gd name="T7" fmla="*/ 11 h 12"/>
                  <a:gd name="T8" fmla="*/ 14 w 15"/>
                  <a:gd name="T9" fmla="*/ 9 h 12"/>
                  <a:gd name="T10" fmla="*/ 11 w 15"/>
                  <a:gd name="T11" fmla="*/ 3 h 12"/>
                  <a:gd name="T12" fmla="*/ 7 w 15"/>
                  <a:gd name="T13" fmla="*/ 0 h 12"/>
                  <a:gd name="T14" fmla="*/ 6 w 15"/>
                  <a:gd name="T15" fmla="*/ 0 h 1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6" y="0"/>
                    </a:moveTo>
                    <a:cubicBezTo>
                      <a:pt x="0" y="0"/>
                      <a:pt x="3" y="6"/>
                      <a:pt x="2" y="10"/>
                    </a:cubicBezTo>
                    <a:cubicBezTo>
                      <a:pt x="4" y="11"/>
                      <a:pt x="6" y="12"/>
                      <a:pt x="8" y="12"/>
                    </a:cubicBezTo>
                    <a:cubicBezTo>
                      <a:pt x="9" y="12"/>
                      <a:pt x="10" y="11"/>
                      <a:pt x="12" y="11"/>
                    </a:cubicBezTo>
                    <a:cubicBezTo>
                      <a:pt x="12" y="10"/>
                      <a:pt x="14" y="10"/>
                      <a:pt x="14" y="9"/>
                    </a:cubicBezTo>
                    <a:cubicBezTo>
                      <a:pt x="15" y="7"/>
                      <a:pt x="12" y="4"/>
                      <a:pt x="11" y="3"/>
                    </a:cubicBezTo>
                    <a:cubicBezTo>
                      <a:pt x="12" y="1"/>
                      <a:pt x="8" y="0"/>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85"/>
              <p:cNvSpPr/>
              <p:nvPr/>
            </p:nvSpPr>
            <p:spPr bwMode="auto">
              <a:xfrm>
                <a:off x="5655" y="3811"/>
                <a:ext cx="9" cy="5"/>
              </a:xfrm>
              <a:custGeom>
                <a:gdLst>
                  <a:gd name="T0" fmla="*/ 0 w 4"/>
                  <a:gd name="T1" fmla="*/ 0 h 2"/>
                  <a:gd name="T2" fmla="*/ 4 w 4"/>
                  <a:gd name="T3" fmla="*/ 2 h 2"/>
                  <a:gd name="T4" fmla="*/ 0 w 4"/>
                  <a:gd name="T5" fmla="*/ 0 h 2"/>
                </a:gdLst>
                <a:cxnLst>
                  <a:cxn ang="0">
                    <a:pos x="T0" y="T1"/>
                  </a:cxn>
                  <a:cxn ang="0">
                    <a:pos x="T2" y="T3"/>
                  </a:cxn>
                  <a:cxn ang="0">
                    <a:pos x="T4" y="T5"/>
                  </a:cxn>
                </a:cxnLst>
                <a:rect l="0" t="0" r="r" b="b"/>
                <a:pathLst>
                  <a:path w="4" h="2">
                    <a:moveTo>
                      <a:pt x="0" y="0"/>
                    </a:moveTo>
                    <a:cubicBezTo>
                      <a:pt x="2" y="0"/>
                      <a:pt x="3" y="1"/>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86"/>
              <p:cNvSpPr/>
              <p:nvPr/>
            </p:nvSpPr>
            <p:spPr bwMode="auto">
              <a:xfrm>
                <a:off x="5707" y="3728"/>
                <a:ext cx="16" cy="10"/>
              </a:xfrm>
              <a:custGeom>
                <a:gdLst>
                  <a:gd name="T0" fmla="*/ 2 w 7"/>
                  <a:gd name="T1" fmla="*/ 0 h 4"/>
                  <a:gd name="T2" fmla="*/ 0 w 7"/>
                  <a:gd name="T3" fmla="*/ 0 h 4"/>
                  <a:gd name="T4" fmla="*/ 7 w 7"/>
                  <a:gd name="T5" fmla="*/ 4 h 4"/>
                  <a:gd name="T6" fmla="*/ 2 w 7"/>
                  <a:gd name="T7" fmla="*/ 0 h 4"/>
                </a:gdLst>
                <a:cxnLst>
                  <a:cxn ang="0">
                    <a:pos x="T0" y="T1"/>
                  </a:cxn>
                  <a:cxn ang="0">
                    <a:pos x="T2" y="T3"/>
                  </a:cxn>
                  <a:cxn ang="0">
                    <a:pos x="T4" y="T5"/>
                  </a:cxn>
                  <a:cxn ang="0">
                    <a:pos x="T6" y="T7"/>
                  </a:cxn>
                </a:cxnLst>
                <a:rect l="0" t="0" r="r" b="b"/>
                <a:pathLst>
                  <a:path w="7" h="4">
                    <a:moveTo>
                      <a:pt x="2" y="0"/>
                    </a:moveTo>
                    <a:cubicBezTo>
                      <a:pt x="1" y="0"/>
                      <a:pt x="1" y="0"/>
                      <a:pt x="0" y="0"/>
                    </a:cubicBezTo>
                    <a:cubicBezTo>
                      <a:pt x="2" y="2"/>
                      <a:pt x="4" y="3"/>
                      <a:pt x="7" y="4"/>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87"/>
              <p:cNvSpPr/>
              <p:nvPr/>
            </p:nvSpPr>
            <p:spPr bwMode="auto">
              <a:xfrm>
                <a:off x="5894" y="3655"/>
                <a:ext cx="4" cy="3"/>
              </a:xfrm>
              <a:custGeom>
                <a:gdLst>
                  <a:gd name="T0" fmla="*/ 2 w 2"/>
                  <a:gd name="T1" fmla="*/ 0 h 1"/>
                  <a:gd name="T2" fmla="*/ 0 w 2"/>
                  <a:gd name="T3" fmla="*/ 1 h 1"/>
                  <a:gd name="T4" fmla="*/ 2 w 2"/>
                  <a:gd name="T5" fmla="*/ 0 h 1"/>
                  <a:gd name="T6" fmla="*/ 2 w 2"/>
                  <a:gd name="T7" fmla="*/ 0 h 1"/>
                </a:gdLst>
                <a:cxnLst>
                  <a:cxn ang="0">
                    <a:pos x="T0" y="T1"/>
                  </a:cxn>
                  <a:cxn ang="0">
                    <a:pos x="T2" y="T3"/>
                  </a:cxn>
                  <a:cxn ang="0">
                    <a:pos x="T4" y="T5"/>
                  </a:cxn>
                  <a:cxn ang="0">
                    <a:pos x="T6" y="T7"/>
                  </a:cxn>
                </a:cxnLst>
                <a:rect l="0" t="0" r="r" b="b"/>
                <a:pathLst>
                  <a:path w="2" h="1">
                    <a:moveTo>
                      <a:pt x="2" y="0"/>
                    </a:moveTo>
                    <a:cubicBezTo>
                      <a:pt x="1" y="0"/>
                      <a:pt x="0" y="0"/>
                      <a:pt x="0" y="1"/>
                    </a:cubicBezTo>
                    <a:cubicBezTo>
                      <a:pt x="1" y="1"/>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88"/>
              <p:cNvSpPr>
                <a:spLocks noEditPoints="1"/>
              </p:cNvSpPr>
              <p:nvPr/>
            </p:nvSpPr>
            <p:spPr bwMode="auto">
              <a:xfrm>
                <a:off x="5835" y="3662"/>
                <a:ext cx="16" cy="7"/>
              </a:xfrm>
              <a:custGeom>
                <a:gdLst>
                  <a:gd name="T0" fmla="*/ 1 w 7"/>
                  <a:gd name="T1" fmla="*/ 0 h 3"/>
                  <a:gd name="T2" fmla="*/ 4 w 7"/>
                  <a:gd name="T3" fmla="*/ 3 h 3"/>
                  <a:gd name="T4" fmla="*/ 7 w 7"/>
                  <a:gd name="T5" fmla="*/ 3 h 3"/>
                  <a:gd name="T6" fmla="*/ 1 w 7"/>
                  <a:gd name="T7" fmla="*/ 0 h 3"/>
                  <a:gd name="T8" fmla="*/ 0 w 7"/>
                  <a:gd name="T9" fmla="*/ 0 h 3"/>
                  <a:gd name="T10" fmla="*/ 1 w 7"/>
                  <a:gd name="T11" fmla="*/ 0 h 3"/>
                  <a:gd name="T12" fmla="*/ 0 w 7"/>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7" h="3">
                    <a:moveTo>
                      <a:pt x="1" y="0"/>
                    </a:moveTo>
                    <a:cubicBezTo>
                      <a:pt x="2" y="1"/>
                      <a:pt x="3" y="2"/>
                      <a:pt x="4" y="3"/>
                    </a:cubicBezTo>
                    <a:cubicBezTo>
                      <a:pt x="5" y="3"/>
                      <a:pt x="6" y="3"/>
                      <a:pt x="7" y="3"/>
                    </a:cubicBezTo>
                    <a:cubicBezTo>
                      <a:pt x="5" y="2"/>
                      <a:pt x="3" y="1"/>
                      <a:pt x="1" y="0"/>
                    </a:cubicBezTo>
                    <a:moveTo>
                      <a:pt x="0" y="0"/>
                    </a:moveTo>
                    <a:cubicBezTo>
                      <a:pt x="1" y="0"/>
                      <a:pt x="1" y="0"/>
                      <a:pt x="1" y="0"/>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89"/>
              <p:cNvSpPr/>
              <p:nvPr/>
            </p:nvSpPr>
            <p:spPr bwMode="auto">
              <a:xfrm>
                <a:off x="5872" y="3676"/>
                <a:ext cx="19" cy="19"/>
              </a:xfrm>
              <a:custGeom>
                <a:gdLst>
                  <a:gd name="T0" fmla="*/ 4 w 8"/>
                  <a:gd name="T1" fmla="*/ 0 h 8"/>
                  <a:gd name="T2" fmla="*/ 3 w 8"/>
                  <a:gd name="T3" fmla="*/ 5 h 8"/>
                  <a:gd name="T4" fmla="*/ 8 w 8"/>
                  <a:gd name="T5" fmla="*/ 8 h 8"/>
                  <a:gd name="T6" fmla="*/ 4 w 8"/>
                  <a:gd name="T7" fmla="*/ 0 h 8"/>
                </a:gdLst>
                <a:cxnLst>
                  <a:cxn ang="0">
                    <a:pos x="T0" y="T1"/>
                  </a:cxn>
                  <a:cxn ang="0">
                    <a:pos x="T2" y="T3"/>
                  </a:cxn>
                  <a:cxn ang="0">
                    <a:pos x="T4" y="T5"/>
                  </a:cxn>
                  <a:cxn ang="0">
                    <a:pos x="T6" y="T7"/>
                  </a:cxn>
                </a:cxnLst>
                <a:rect l="0" t="0" r="r" b="b"/>
                <a:pathLst>
                  <a:path w="8" h="8">
                    <a:moveTo>
                      <a:pt x="4" y="0"/>
                    </a:moveTo>
                    <a:cubicBezTo>
                      <a:pt x="5" y="3"/>
                      <a:pt x="0" y="2"/>
                      <a:pt x="3" y="5"/>
                    </a:cubicBezTo>
                    <a:cubicBezTo>
                      <a:pt x="5" y="7"/>
                      <a:pt x="7" y="6"/>
                      <a:pt x="8" y="8"/>
                    </a:cubicBezTo>
                    <a:cubicBezTo>
                      <a:pt x="7" y="6"/>
                      <a:pt x="5"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90"/>
              <p:cNvSpPr>
                <a:spLocks noEditPoints="1"/>
              </p:cNvSpPr>
              <p:nvPr/>
            </p:nvSpPr>
            <p:spPr bwMode="auto">
              <a:xfrm>
                <a:off x="5726" y="3622"/>
                <a:ext cx="23" cy="33"/>
              </a:xfrm>
              <a:custGeom>
                <a:gdLst>
                  <a:gd name="T0" fmla="*/ 1 w 10"/>
                  <a:gd name="T1" fmla="*/ 5 h 14"/>
                  <a:gd name="T2" fmla="*/ 1 w 10"/>
                  <a:gd name="T3" fmla="*/ 5 h 14"/>
                  <a:gd name="T4" fmla="*/ 1 w 10"/>
                  <a:gd name="T5" fmla="*/ 5 h 14"/>
                  <a:gd name="T6" fmla="*/ 5 w 10"/>
                  <a:gd name="T7" fmla="*/ 0 h 14"/>
                  <a:gd name="T8" fmla="*/ 1 w 10"/>
                  <a:gd name="T9" fmla="*/ 5 h 14"/>
                  <a:gd name="T10" fmla="*/ 1 w 10"/>
                  <a:gd name="T11" fmla="*/ 4 h 14"/>
                  <a:gd name="T12" fmla="*/ 2 w 10"/>
                  <a:gd name="T13" fmla="*/ 6 h 14"/>
                  <a:gd name="T14" fmla="*/ 3 w 10"/>
                  <a:gd name="T15" fmla="*/ 7 h 14"/>
                  <a:gd name="T16" fmla="*/ 3 w 10"/>
                  <a:gd name="T17" fmla="*/ 7 h 14"/>
                  <a:gd name="T18" fmla="*/ 4 w 10"/>
                  <a:gd name="T19" fmla="*/ 11 h 14"/>
                  <a:gd name="T20" fmla="*/ 7 w 10"/>
                  <a:gd name="T21" fmla="*/ 14 h 14"/>
                  <a:gd name="T22" fmla="*/ 9 w 10"/>
                  <a:gd name="T23" fmla="*/ 12 h 14"/>
                  <a:gd name="T24" fmla="*/ 10 w 10"/>
                  <a:gd name="T25" fmla="*/ 12 h 14"/>
                  <a:gd name="T26" fmla="*/ 8 w 10"/>
                  <a:gd name="T27" fmla="*/ 2 h 14"/>
                  <a:gd name="T28" fmla="*/ 8 w 10"/>
                  <a:gd name="T29" fmla="*/ 2 h 14"/>
                  <a:gd name="T30" fmla="*/ 7 w 10"/>
                  <a:gd name="T31" fmla="*/ 2 h 14"/>
                  <a:gd name="T32" fmla="*/ 5 w 10"/>
                  <a:gd name="T33" fmla="*/ 3 h 14"/>
                  <a:gd name="T34" fmla="*/ 5 w 10"/>
                  <a:gd name="T35" fmla="*/ 3 h 14"/>
                  <a:gd name="T36" fmla="*/ 5 w 10"/>
                  <a:gd name="T3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4">
                    <a:moveTo>
                      <a:pt x="1" y="5"/>
                    </a:moveTo>
                    <a:cubicBezTo>
                      <a:pt x="1" y="5"/>
                      <a:pt x="1" y="5"/>
                      <a:pt x="1" y="5"/>
                    </a:cubicBezTo>
                    <a:cubicBezTo>
                      <a:pt x="1" y="5"/>
                      <a:pt x="1" y="5"/>
                      <a:pt x="1" y="5"/>
                    </a:cubicBezTo>
                    <a:moveTo>
                      <a:pt x="5" y="0"/>
                    </a:moveTo>
                    <a:cubicBezTo>
                      <a:pt x="4" y="0"/>
                      <a:pt x="0" y="3"/>
                      <a:pt x="1" y="5"/>
                    </a:cubicBezTo>
                    <a:cubicBezTo>
                      <a:pt x="1" y="5"/>
                      <a:pt x="1" y="4"/>
                      <a:pt x="1" y="4"/>
                    </a:cubicBezTo>
                    <a:cubicBezTo>
                      <a:pt x="1" y="4"/>
                      <a:pt x="1" y="5"/>
                      <a:pt x="2" y="6"/>
                    </a:cubicBezTo>
                    <a:cubicBezTo>
                      <a:pt x="3" y="7"/>
                      <a:pt x="3" y="7"/>
                      <a:pt x="3" y="7"/>
                    </a:cubicBezTo>
                    <a:cubicBezTo>
                      <a:pt x="3" y="7"/>
                      <a:pt x="3" y="7"/>
                      <a:pt x="3" y="7"/>
                    </a:cubicBezTo>
                    <a:cubicBezTo>
                      <a:pt x="3" y="8"/>
                      <a:pt x="3" y="11"/>
                      <a:pt x="4" y="11"/>
                    </a:cubicBezTo>
                    <a:cubicBezTo>
                      <a:pt x="3" y="14"/>
                      <a:pt x="6" y="13"/>
                      <a:pt x="7" y="14"/>
                    </a:cubicBezTo>
                    <a:cubicBezTo>
                      <a:pt x="7" y="13"/>
                      <a:pt x="8" y="12"/>
                      <a:pt x="9" y="12"/>
                    </a:cubicBezTo>
                    <a:cubicBezTo>
                      <a:pt x="9" y="12"/>
                      <a:pt x="9" y="12"/>
                      <a:pt x="10" y="12"/>
                    </a:cubicBezTo>
                    <a:cubicBezTo>
                      <a:pt x="9" y="11"/>
                      <a:pt x="9" y="2"/>
                      <a:pt x="8" y="2"/>
                    </a:cubicBezTo>
                    <a:cubicBezTo>
                      <a:pt x="8" y="2"/>
                      <a:pt x="8" y="2"/>
                      <a:pt x="8" y="2"/>
                    </a:cubicBezTo>
                    <a:cubicBezTo>
                      <a:pt x="8" y="2"/>
                      <a:pt x="8" y="2"/>
                      <a:pt x="7" y="2"/>
                    </a:cubicBezTo>
                    <a:cubicBezTo>
                      <a:pt x="7" y="3"/>
                      <a:pt x="6" y="3"/>
                      <a:pt x="5" y="3"/>
                    </a:cubicBezTo>
                    <a:cubicBezTo>
                      <a:pt x="5" y="3"/>
                      <a:pt x="5" y="3"/>
                      <a:pt x="5" y="3"/>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91"/>
              <p:cNvSpPr/>
              <p:nvPr/>
            </p:nvSpPr>
            <p:spPr bwMode="auto">
              <a:xfrm>
                <a:off x="5934" y="3710"/>
                <a:ext cx="2" cy="2"/>
              </a:xfrm>
              <a:custGeom>
                <a:gdLst>
                  <a:gd name="T0" fmla="*/ 0 w 1"/>
                  <a:gd name="T1" fmla="*/ 0 h 1"/>
                  <a:gd name="T2" fmla="*/ 1 w 1"/>
                  <a:gd name="T3" fmla="*/ 1 h 1"/>
                  <a:gd name="T4" fmla="*/ 1 w 1"/>
                  <a:gd name="T5" fmla="*/ 1 h 1"/>
                  <a:gd name="T6" fmla="*/ 0 w 1"/>
                  <a:gd name="T7" fmla="*/ 0 h 1"/>
                </a:gdLst>
                <a:cxnLst>
                  <a:cxn ang="0">
                    <a:pos x="T0" y="T1"/>
                  </a:cxn>
                  <a:cxn ang="0">
                    <a:pos x="T2" y="T3"/>
                  </a:cxn>
                  <a:cxn ang="0">
                    <a:pos x="T4" y="T5"/>
                  </a:cxn>
                  <a:cxn ang="0">
                    <a:pos x="T6" y="T7"/>
                  </a:cxn>
                </a:cxnLst>
                <a:rect l="0" t="0" r="r" b="b"/>
                <a:pathLst>
                  <a:path w="1" h="1">
                    <a:moveTo>
                      <a:pt x="0" y="0"/>
                    </a:moveTo>
                    <a:cubicBezTo>
                      <a:pt x="0" y="1"/>
                      <a:pt x="1" y="1"/>
                      <a:pt x="1" y="1"/>
                    </a:cubicBezTo>
                    <a:cubicBezTo>
                      <a:pt x="1" y="1"/>
                      <a:pt x="1" y="1"/>
                      <a:pt x="1"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92"/>
              <p:cNvSpPr/>
              <p:nvPr/>
            </p:nvSpPr>
            <p:spPr bwMode="auto">
              <a:xfrm>
                <a:off x="5936" y="3712"/>
                <a:ext cx="5" cy="0"/>
              </a:xfrm>
              <a:custGeom>
                <a:gdLst>
                  <a:gd name="T0" fmla="*/ 1 w 2"/>
                  <a:gd name="T1" fmla="*/ 1 w 2"/>
                  <a:gd name="T2" fmla="*/ 1 w 2"/>
                  <a:gd name="T3" fmla="*/ 0 w 2"/>
                  <a:gd name="T4" fmla="*/ 2 w 2"/>
                  <a:gd name="T5" fmla="*/ 1 w 2"/>
                </a:gdLst>
                <a:cxnLst>
                  <a:cxn ang="0">
                    <a:pos x="T0" y="0"/>
                  </a:cxn>
                  <a:cxn ang="0">
                    <a:pos x="T1" y="0"/>
                  </a:cxn>
                  <a:cxn ang="0">
                    <a:pos x="T2" y="0"/>
                  </a:cxn>
                  <a:cxn ang="0">
                    <a:pos x="T3" y="0"/>
                  </a:cxn>
                  <a:cxn ang="0">
                    <a:pos x="T4" y="0"/>
                  </a:cxn>
                  <a:cxn ang="0">
                    <a:pos x="T5" y="0"/>
                  </a:cxn>
                </a:cxnLst>
                <a:rect l="0" t="0" r="r" b="b"/>
                <a:pathLst>
                  <a:path w="2">
                    <a:moveTo>
                      <a:pt x="1" y="0"/>
                    </a:moveTo>
                    <a:cubicBezTo>
                      <a:pt x="1" y="0"/>
                      <a:pt x="1" y="0"/>
                      <a:pt x="1" y="0"/>
                    </a:cubicBezTo>
                    <a:cubicBezTo>
                      <a:pt x="1" y="0"/>
                      <a:pt x="1" y="0"/>
                      <a:pt x="1" y="0"/>
                    </a:cubicBezTo>
                    <a:cubicBezTo>
                      <a:pt x="0" y="0"/>
                      <a:pt x="0" y="0"/>
                      <a:pt x="0" y="0"/>
                    </a:cubicBezTo>
                    <a:cubicBezTo>
                      <a:pt x="1" y="0"/>
                      <a:pt x="1"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93"/>
              <p:cNvSpPr/>
              <p:nvPr/>
            </p:nvSpPr>
            <p:spPr bwMode="auto">
              <a:xfrm>
                <a:off x="5924" y="3707"/>
                <a:ext cx="10" cy="3"/>
              </a:xfrm>
              <a:custGeom>
                <a:gdLst>
                  <a:gd name="T0" fmla="*/ 2 w 4"/>
                  <a:gd name="T1" fmla="*/ 0 h 1"/>
                  <a:gd name="T2" fmla="*/ 0 w 4"/>
                  <a:gd name="T3" fmla="*/ 1 h 1"/>
                  <a:gd name="T4" fmla="*/ 4 w 4"/>
                  <a:gd name="T5" fmla="*/ 1 h 1"/>
                  <a:gd name="T6" fmla="*/ 2 w 4"/>
                  <a:gd name="T7" fmla="*/ 0 h 1"/>
                </a:gdLst>
                <a:cxnLst>
                  <a:cxn ang="0">
                    <a:pos x="T0" y="T1"/>
                  </a:cxn>
                  <a:cxn ang="0">
                    <a:pos x="T2" y="T3"/>
                  </a:cxn>
                  <a:cxn ang="0">
                    <a:pos x="T4" y="T5"/>
                  </a:cxn>
                  <a:cxn ang="0">
                    <a:pos x="T6" y="T7"/>
                  </a:cxn>
                </a:cxnLst>
                <a:rect l="0" t="0" r="r" b="b"/>
                <a:pathLst>
                  <a:path w="4" h="1">
                    <a:moveTo>
                      <a:pt x="2" y="0"/>
                    </a:moveTo>
                    <a:cubicBezTo>
                      <a:pt x="1" y="0"/>
                      <a:pt x="1" y="1"/>
                      <a:pt x="0" y="1"/>
                    </a:cubicBezTo>
                    <a:cubicBezTo>
                      <a:pt x="2" y="1"/>
                      <a:pt x="3" y="1"/>
                      <a:pt x="4"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94"/>
              <p:cNvSpPr/>
              <p:nvPr/>
            </p:nvSpPr>
            <p:spPr bwMode="auto">
              <a:xfrm>
                <a:off x="5955" y="3792"/>
                <a:ext cx="45" cy="22"/>
              </a:xfrm>
              <a:custGeom>
                <a:gdLst>
                  <a:gd name="T0" fmla="*/ 17 w 19"/>
                  <a:gd name="T1" fmla="*/ 0 h 9"/>
                  <a:gd name="T2" fmla="*/ 16 w 19"/>
                  <a:gd name="T3" fmla="*/ 0 h 9"/>
                  <a:gd name="T4" fmla="*/ 14 w 19"/>
                  <a:gd name="T5" fmla="*/ 4 h 9"/>
                  <a:gd name="T6" fmla="*/ 12 w 19"/>
                  <a:gd name="T7" fmla="*/ 4 h 9"/>
                  <a:gd name="T8" fmla="*/ 9 w 19"/>
                  <a:gd name="T9" fmla="*/ 2 h 9"/>
                  <a:gd name="T10" fmla="*/ 5 w 19"/>
                  <a:gd name="T11" fmla="*/ 4 h 9"/>
                  <a:gd name="T12" fmla="*/ 2 w 19"/>
                  <a:gd name="T13" fmla="*/ 5 h 9"/>
                  <a:gd name="T14" fmla="*/ 3 w 19"/>
                  <a:gd name="T15" fmla="*/ 9 h 9"/>
                  <a:gd name="T16" fmla="*/ 5 w 19"/>
                  <a:gd name="T17" fmla="*/ 9 h 9"/>
                  <a:gd name="T18" fmla="*/ 6 w 19"/>
                  <a:gd name="T19" fmla="*/ 9 h 9"/>
                  <a:gd name="T20" fmla="*/ 8 w 19"/>
                  <a:gd name="T21" fmla="*/ 9 h 9"/>
                  <a:gd name="T22" fmla="*/ 15 w 19"/>
                  <a:gd name="T23" fmla="*/ 6 h 9"/>
                  <a:gd name="T24" fmla="*/ 17 w 19"/>
                  <a:gd name="T25"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9">
                    <a:moveTo>
                      <a:pt x="17" y="0"/>
                    </a:moveTo>
                    <a:cubicBezTo>
                      <a:pt x="17" y="0"/>
                      <a:pt x="17" y="0"/>
                      <a:pt x="16" y="0"/>
                    </a:cubicBezTo>
                    <a:cubicBezTo>
                      <a:pt x="15" y="1"/>
                      <a:pt x="15" y="3"/>
                      <a:pt x="14" y="4"/>
                    </a:cubicBezTo>
                    <a:cubicBezTo>
                      <a:pt x="13" y="4"/>
                      <a:pt x="12" y="4"/>
                      <a:pt x="12" y="4"/>
                    </a:cubicBezTo>
                    <a:cubicBezTo>
                      <a:pt x="11" y="4"/>
                      <a:pt x="10" y="4"/>
                      <a:pt x="9" y="2"/>
                    </a:cubicBezTo>
                    <a:cubicBezTo>
                      <a:pt x="8" y="4"/>
                      <a:pt x="6" y="3"/>
                      <a:pt x="5" y="4"/>
                    </a:cubicBezTo>
                    <a:cubicBezTo>
                      <a:pt x="4" y="4"/>
                      <a:pt x="3" y="5"/>
                      <a:pt x="2" y="5"/>
                    </a:cubicBezTo>
                    <a:cubicBezTo>
                      <a:pt x="3" y="7"/>
                      <a:pt x="0" y="8"/>
                      <a:pt x="3" y="9"/>
                    </a:cubicBezTo>
                    <a:cubicBezTo>
                      <a:pt x="4" y="9"/>
                      <a:pt x="4" y="9"/>
                      <a:pt x="5" y="9"/>
                    </a:cubicBezTo>
                    <a:cubicBezTo>
                      <a:pt x="5" y="9"/>
                      <a:pt x="6" y="9"/>
                      <a:pt x="6" y="9"/>
                    </a:cubicBezTo>
                    <a:cubicBezTo>
                      <a:pt x="7" y="9"/>
                      <a:pt x="7" y="9"/>
                      <a:pt x="8" y="9"/>
                    </a:cubicBezTo>
                    <a:cubicBezTo>
                      <a:pt x="11" y="9"/>
                      <a:pt x="14" y="9"/>
                      <a:pt x="15" y="6"/>
                    </a:cubicBezTo>
                    <a:cubicBezTo>
                      <a:pt x="16" y="5"/>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95"/>
              <p:cNvSpPr/>
              <p:nvPr/>
            </p:nvSpPr>
            <p:spPr bwMode="auto">
              <a:xfrm>
                <a:off x="5929" y="3712"/>
                <a:ext cx="24" cy="28"/>
              </a:xfrm>
              <a:custGeom>
                <a:gdLst>
                  <a:gd name="T0" fmla="*/ 9 w 10"/>
                  <a:gd name="T1" fmla="*/ 0 h 12"/>
                  <a:gd name="T2" fmla="*/ 7 w 10"/>
                  <a:gd name="T3" fmla="*/ 0 h 12"/>
                  <a:gd name="T4" fmla="*/ 7 w 10"/>
                  <a:gd name="T5" fmla="*/ 0 h 12"/>
                  <a:gd name="T6" fmla="*/ 6 w 10"/>
                  <a:gd name="T7" fmla="*/ 1 h 12"/>
                  <a:gd name="T8" fmla="*/ 5 w 10"/>
                  <a:gd name="T9" fmla="*/ 1 h 12"/>
                  <a:gd name="T10" fmla="*/ 5 w 10"/>
                  <a:gd name="T11" fmla="*/ 2 h 12"/>
                  <a:gd name="T12" fmla="*/ 6 w 10"/>
                  <a:gd name="T13" fmla="*/ 7 h 12"/>
                  <a:gd name="T14" fmla="*/ 0 w 10"/>
                  <a:gd name="T15" fmla="*/ 12 h 12"/>
                  <a:gd name="T16" fmla="*/ 9 w 10"/>
                  <a:gd name="T17" fmla="*/ 5 h 12"/>
                  <a:gd name="T18" fmla="*/ 9 w 10"/>
                  <a:gd name="T19"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9" y="0"/>
                    </a:moveTo>
                    <a:cubicBezTo>
                      <a:pt x="8" y="0"/>
                      <a:pt x="8" y="0"/>
                      <a:pt x="7" y="0"/>
                    </a:cubicBezTo>
                    <a:cubicBezTo>
                      <a:pt x="7" y="0"/>
                      <a:pt x="7" y="0"/>
                      <a:pt x="7" y="0"/>
                    </a:cubicBezTo>
                    <a:cubicBezTo>
                      <a:pt x="6" y="1"/>
                      <a:pt x="6" y="1"/>
                      <a:pt x="6" y="1"/>
                    </a:cubicBezTo>
                    <a:cubicBezTo>
                      <a:pt x="6" y="1"/>
                      <a:pt x="5" y="1"/>
                      <a:pt x="5" y="1"/>
                    </a:cubicBezTo>
                    <a:cubicBezTo>
                      <a:pt x="5" y="1"/>
                      <a:pt x="5" y="2"/>
                      <a:pt x="5" y="2"/>
                    </a:cubicBezTo>
                    <a:cubicBezTo>
                      <a:pt x="10" y="4"/>
                      <a:pt x="9" y="5"/>
                      <a:pt x="6" y="7"/>
                    </a:cubicBezTo>
                    <a:cubicBezTo>
                      <a:pt x="4" y="8"/>
                      <a:pt x="2" y="9"/>
                      <a:pt x="0" y="12"/>
                    </a:cubicBezTo>
                    <a:cubicBezTo>
                      <a:pt x="3" y="10"/>
                      <a:pt x="6" y="8"/>
                      <a:pt x="9" y="5"/>
                    </a:cubicBezTo>
                    <a:cubicBezTo>
                      <a:pt x="10" y="4"/>
                      <a:pt x="9"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96"/>
              <p:cNvSpPr/>
              <p:nvPr/>
            </p:nvSpPr>
            <p:spPr bwMode="auto">
              <a:xfrm>
                <a:off x="5988" y="3728"/>
                <a:ext cx="24" cy="5"/>
              </a:xfrm>
              <a:custGeom>
                <a:gdLst>
                  <a:gd name="T0" fmla="*/ 2 w 10"/>
                  <a:gd name="T1" fmla="*/ 0 h 2"/>
                  <a:gd name="T2" fmla="*/ 0 w 10"/>
                  <a:gd name="T3" fmla="*/ 1 h 2"/>
                  <a:gd name="T4" fmla="*/ 3 w 10"/>
                  <a:gd name="T5" fmla="*/ 2 h 2"/>
                  <a:gd name="T6" fmla="*/ 9 w 10"/>
                  <a:gd name="T7" fmla="*/ 2 h 2"/>
                  <a:gd name="T8" fmla="*/ 10 w 10"/>
                  <a:gd name="T9" fmla="*/ 2 h 2"/>
                  <a:gd name="T10" fmla="*/ 7 w 10"/>
                  <a:gd name="T11" fmla="*/ 1 h 2"/>
                  <a:gd name="T12" fmla="*/ 6 w 10"/>
                  <a:gd name="T13" fmla="*/ 1 h 2"/>
                  <a:gd name="T14" fmla="*/ 6 w 10"/>
                  <a:gd name="T15" fmla="*/ 1 h 2"/>
                  <a:gd name="T16" fmla="*/ 5 w 10"/>
                  <a:gd name="T17" fmla="*/ 1 h 2"/>
                  <a:gd name="T18" fmla="*/ 5 w 10"/>
                  <a:gd name="T19" fmla="*/ 1 h 2"/>
                  <a:gd name="T20" fmla="*/ 2 w 10"/>
                  <a:gd name="T21"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2">
                    <a:moveTo>
                      <a:pt x="2" y="0"/>
                    </a:moveTo>
                    <a:cubicBezTo>
                      <a:pt x="1" y="0"/>
                      <a:pt x="1" y="0"/>
                      <a:pt x="0" y="1"/>
                    </a:cubicBezTo>
                    <a:cubicBezTo>
                      <a:pt x="0" y="2"/>
                      <a:pt x="1" y="2"/>
                      <a:pt x="3" y="2"/>
                    </a:cubicBezTo>
                    <a:cubicBezTo>
                      <a:pt x="5" y="2"/>
                      <a:pt x="7" y="2"/>
                      <a:pt x="9" y="2"/>
                    </a:cubicBezTo>
                    <a:cubicBezTo>
                      <a:pt x="9" y="2"/>
                      <a:pt x="10" y="2"/>
                      <a:pt x="10" y="2"/>
                    </a:cubicBezTo>
                    <a:cubicBezTo>
                      <a:pt x="9" y="2"/>
                      <a:pt x="8" y="1"/>
                      <a:pt x="7" y="1"/>
                    </a:cubicBezTo>
                    <a:cubicBezTo>
                      <a:pt x="7" y="1"/>
                      <a:pt x="6" y="1"/>
                      <a:pt x="6" y="1"/>
                    </a:cubicBezTo>
                    <a:cubicBezTo>
                      <a:pt x="6" y="1"/>
                      <a:pt x="6" y="1"/>
                      <a:pt x="6" y="1"/>
                    </a:cubicBezTo>
                    <a:cubicBezTo>
                      <a:pt x="6" y="1"/>
                      <a:pt x="5" y="1"/>
                      <a:pt x="5" y="1"/>
                    </a:cubicBezTo>
                    <a:cubicBezTo>
                      <a:pt x="5" y="1"/>
                      <a:pt x="5" y="1"/>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97"/>
              <p:cNvSpPr/>
              <p:nvPr/>
            </p:nvSpPr>
            <p:spPr bwMode="auto">
              <a:xfrm>
                <a:off x="5913" y="3629"/>
                <a:ext cx="4" cy="10"/>
              </a:xfrm>
              <a:custGeom>
                <a:gdLst>
                  <a:gd name="T0" fmla="*/ 2 w 2"/>
                  <a:gd name="T1" fmla="*/ 0 h 4"/>
                  <a:gd name="T2" fmla="*/ 0 w 2"/>
                  <a:gd name="T3" fmla="*/ 4 h 4"/>
                  <a:gd name="T4" fmla="*/ 2 w 2"/>
                  <a:gd name="T5" fmla="*/ 0 h 4"/>
                </a:gdLst>
                <a:cxnLst>
                  <a:cxn ang="0">
                    <a:pos x="T0" y="T1"/>
                  </a:cxn>
                  <a:cxn ang="0">
                    <a:pos x="T2" y="T3"/>
                  </a:cxn>
                  <a:cxn ang="0">
                    <a:pos x="T4" y="T5"/>
                  </a:cxn>
                </a:cxnLst>
                <a:rect l="0" t="0" r="r" b="b"/>
                <a:pathLst>
                  <a:path w="2" h="4">
                    <a:moveTo>
                      <a:pt x="2" y="0"/>
                    </a:moveTo>
                    <a:cubicBezTo>
                      <a:pt x="0" y="1"/>
                      <a:pt x="0" y="2"/>
                      <a:pt x="0"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98"/>
              <p:cNvSpPr/>
              <p:nvPr/>
            </p:nvSpPr>
            <p:spPr bwMode="auto">
              <a:xfrm>
                <a:off x="5993" y="3781"/>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0" y="0"/>
                      <a:pt x="0" y="1"/>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99"/>
              <p:cNvSpPr/>
              <p:nvPr/>
            </p:nvSpPr>
            <p:spPr bwMode="auto">
              <a:xfrm>
                <a:off x="6726" y="4247"/>
                <a:ext cx="19" cy="11"/>
              </a:xfrm>
              <a:custGeom>
                <a:gdLst>
                  <a:gd name="T0" fmla="*/ 3 w 8"/>
                  <a:gd name="T1" fmla="*/ 0 h 5"/>
                  <a:gd name="T2" fmla="*/ 4 w 8"/>
                  <a:gd name="T3" fmla="*/ 5 h 5"/>
                  <a:gd name="T4" fmla="*/ 4 w 8"/>
                  <a:gd name="T5" fmla="*/ 5 h 5"/>
                  <a:gd name="T6" fmla="*/ 3 w 8"/>
                  <a:gd name="T7" fmla="*/ 0 h 5"/>
                </a:gdLst>
                <a:cxnLst>
                  <a:cxn ang="0">
                    <a:pos x="T0" y="T1"/>
                  </a:cxn>
                  <a:cxn ang="0">
                    <a:pos x="T2" y="T3"/>
                  </a:cxn>
                  <a:cxn ang="0">
                    <a:pos x="T4" y="T5"/>
                  </a:cxn>
                  <a:cxn ang="0">
                    <a:pos x="T6" y="T7"/>
                  </a:cxn>
                </a:cxnLst>
                <a:rect l="0" t="0" r="r" b="b"/>
                <a:pathLst>
                  <a:path w="8" h="5">
                    <a:moveTo>
                      <a:pt x="3" y="0"/>
                    </a:moveTo>
                    <a:cubicBezTo>
                      <a:pt x="0" y="0"/>
                      <a:pt x="1" y="5"/>
                      <a:pt x="4" y="5"/>
                    </a:cubicBezTo>
                    <a:cubicBezTo>
                      <a:pt x="4" y="5"/>
                      <a:pt x="4" y="5"/>
                      <a:pt x="4" y="5"/>
                    </a:cubicBezTo>
                    <a:cubicBezTo>
                      <a:pt x="8" y="5"/>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00"/>
              <p:cNvSpPr/>
              <p:nvPr/>
            </p:nvSpPr>
            <p:spPr bwMode="auto">
              <a:xfrm>
                <a:off x="6537" y="3967"/>
                <a:ext cx="9" cy="5"/>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3" y="0"/>
                      <a:pt x="1" y="1"/>
                      <a:pt x="0" y="2"/>
                    </a:cubicBezTo>
                    <a:cubicBezTo>
                      <a:pt x="2"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01"/>
              <p:cNvSpPr/>
              <p:nvPr/>
            </p:nvSpPr>
            <p:spPr bwMode="auto">
              <a:xfrm>
                <a:off x="6605" y="4029"/>
                <a:ext cx="15" cy="9"/>
              </a:xfrm>
              <a:custGeom>
                <a:gdLst>
                  <a:gd name="T0" fmla="*/ 3 w 6"/>
                  <a:gd name="T1" fmla="*/ 0 h 4"/>
                  <a:gd name="T2" fmla="*/ 0 w 6"/>
                  <a:gd name="T3" fmla="*/ 3 h 4"/>
                  <a:gd name="T4" fmla="*/ 2 w 6"/>
                  <a:gd name="T5" fmla="*/ 4 h 4"/>
                  <a:gd name="T6" fmla="*/ 3 w 6"/>
                  <a:gd name="T7" fmla="*/ 4 h 4"/>
                  <a:gd name="T8" fmla="*/ 4 w 6"/>
                  <a:gd name="T9" fmla="*/ 4 h 4"/>
                  <a:gd name="T10" fmla="*/ 6 w 6"/>
                  <a:gd name="T11" fmla="*/ 3 h 4"/>
                  <a:gd name="T12" fmla="*/ 4 w 6"/>
                  <a:gd name="T13" fmla="*/ 0 h 4"/>
                  <a:gd name="T14" fmla="*/ 3 w 6"/>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2" y="0"/>
                      <a:pt x="1" y="2"/>
                      <a:pt x="0" y="3"/>
                    </a:cubicBezTo>
                    <a:cubicBezTo>
                      <a:pt x="1" y="4"/>
                      <a:pt x="2" y="4"/>
                      <a:pt x="2" y="4"/>
                    </a:cubicBezTo>
                    <a:cubicBezTo>
                      <a:pt x="3" y="4"/>
                      <a:pt x="3" y="4"/>
                      <a:pt x="3" y="4"/>
                    </a:cubicBezTo>
                    <a:cubicBezTo>
                      <a:pt x="3" y="4"/>
                      <a:pt x="4" y="4"/>
                      <a:pt x="4" y="4"/>
                    </a:cubicBezTo>
                    <a:cubicBezTo>
                      <a:pt x="4" y="4"/>
                      <a:pt x="5" y="3"/>
                      <a:pt x="6" y="3"/>
                    </a:cubicBezTo>
                    <a:cubicBezTo>
                      <a:pt x="5" y="2"/>
                      <a:pt x="4"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02"/>
              <p:cNvSpPr/>
              <p:nvPr/>
            </p:nvSpPr>
            <p:spPr bwMode="auto">
              <a:xfrm>
                <a:off x="6605" y="3998"/>
                <a:ext cx="5" cy="7"/>
              </a:xfrm>
              <a:custGeom>
                <a:gdLst>
                  <a:gd name="T0" fmla="*/ 1 w 2"/>
                  <a:gd name="T1" fmla="*/ 0 h 3"/>
                  <a:gd name="T2" fmla="*/ 2 w 2"/>
                  <a:gd name="T3" fmla="*/ 3 h 3"/>
                  <a:gd name="T4" fmla="*/ 1 w 2"/>
                  <a:gd name="T5" fmla="*/ 0 h 3"/>
                </a:gdLst>
                <a:cxnLst>
                  <a:cxn ang="0">
                    <a:pos x="T0" y="T1"/>
                  </a:cxn>
                  <a:cxn ang="0">
                    <a:pos x="T2" y="T3"/>
                  </a:cxn>
                  <a:cxn ang="0">
                    <a:pos x="T4" y="T5"/>
                  </a:cxn>
                </a:cxnLst>
                <a:rect l="0" t="0" r="r" b="b"/>
                <a:pathLst>
                  <a:path w="2" h="3">
                    <a:moveTo>
                      <a:pt x="1" y="0"/>
                    </a:moveTo>
                    <a:cubicBezTo>
                      <a:pt x="0" y="1"/>
                      <a:pt x="1" y="2"/>
                      <a:pt x="2" y="3"/>
                    </a:cubicBezTo>
                    <a:cubicBezTo>
                      <a:pt x="2"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03"/>
              <p:cNvSpPr/>
              <p:nvPr/>
            </p:nvSpPr>
            <p:spPr bwMode="auto">
              <a:xfrm>
                <a:off x="6442" y="3996"/>
                <a:ext cx="17" cy="5"/>
              </a:xfrm>
              <a:custGeom>
                <a:gdLst>
                  <a:gd name="T0" fmla="*/ 7 w 7"/>
                  <a:gd name="T1" fmla="*/ 0 h 2"/>
                  <a:gd name="T2" fmla="*/ 0 w 7"/>
                  <a:gd name="T3" fmla="*/ 2 h 2"/>
                  <a:gd name="T4" fmla="*/ 7 w 7"/>
                  <a:gd name="T5" fmla="*/ 0 h 2"/>
                </a:gdLst>
                <a:cxnLst>
                  <a:cxn ang="0">
                    <a:pos x="T0" y="T1"/>
                  </a:cxn>
                  <a:cxn ang="0">
                    <a:pos x="T2" y="T3"/>
                  </a:cxn>
                  <a:cxn ang="0">
                    <a:pos x="T4" y="T5"/>
                  </a:cxn>
                </a:cxnLst>
                <a:rect l="0" t="0" r="r" b="b"/>
                <a:pathLst>
                  <a:path w="7" h="2">
                    <a:moveTo>
                      <a:pt x="7" y="0"/>
                    </a:moveTo>
                    <a:cubicBezTo>
                      <a:pt x="5" y="0"/>
                      <a:pt x="2" y="1"/>
                      <a:pt x="0" y="2"/>
                    </a:cubicBezTo>
                    <a:cubicBezTo>
                      <a:pt x="3" y="1"/>
                      <a:pt x="5"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04"/>
              <p:cNvSpPr/>
              <p:nvPr/>
            </p:nvSpPr>
            <p:spPr bwMode="auto">
              <a:xfrm>
                <a:off x="6435" y="3960"/>
                <a:ext cx="10" cy="5"/>
              </a:xfrm>
              <a:custGeom>
                <a:gdLst>
                  <a:gd name="T0" fmla="*/ 0 w 4"/>
                  <a:gd name="T1" fmla="*/ 0 h 2"/>
                  <a:gd name="T2" fmla="*/ 3 w 4"/>
                  <a:gd name="T3" fmla="*/ 2 h 2"/>
                  <a:gd name="T4" fmla="*/ 4 w 4"/>
                  <a:gd name="T5" fmla="*/ 1 h 2"/>
                  <a:gd name="T6" fmla="*/ 0 w 4"/>
                  <a:gd name="T7" fmla="*/ 0 h 2"/>
                </a:gdLst>
                <a:cxnLst>
                  <a:cxn ang="0">
                    <a:pos x="T0" y="T1"/>
                  </a:cxn>
                  <a:cxn ang="0">
                    <a:pos x="T2" y="T3"/>
                  </a:cxn>
                  <a:cxn ang="0">
                    <a:pos x="T4" y="T5"/>
                  </a:cxn>
                  <a:cxn ang="0">
                    <a:pos x="T6" y="T7"/>
                  </a:cxn>
                </a:cxnLst>
                <a:rect l="0" t="0" r="r" b="b"/>
                <a:pathLst>
                  <a:path w="4" h="2">
                    <a:moveTo>
                      <a:pt x="0" y="0"/>
                    </a:moveTo>
                    <a:cubicBezTo>
                      <a:pt x="1" y="1"/>
                      <a:pt x="2" y="2"/>
                      <a:pt x="3" y="2"/>
                    </a:cubicBezTo>
                    <a:cubicBezTo>
                      <a:pt x="4" y="2"/>
                      <a:pt x="4" y="1"/>
                      <a:pt x="4" y="1"/>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05"/>
              <p:cNvSpPr/>
              <p:nvPr/>
            </p:nvSpPr>
            <p:spPr bwMode="auto">
              <a:xfrm>
                <a:off x="6454" y="3953"/>
                <a:ext cx="10" cy="7"/>
              </a:xfrm>
              <a:custGeom>
                <a:gdLst>
                  <a:gd name="T0" fmla="*/ 3 w 4"/>
                  <a:gd name="T1" fmla="*/ 0 h 3"/>
                  <a:gd name="T2" fmla="*/ 0 w 4"/>
                  <a:gd name="T3" fmla="*/ 3 h 3"/>
                  <a:gd name="T4" fmla="*/ 3 w 4"/>
                  <a:gd name="T5" fmla="*/ 0 h 3"/>
                </a:gdLst>
                <a:cxnLst>
                  <a:cxn ang="0">
                    <a:pos x="T0" y="T1"/>
                  </a:cxn>
                  <a:cxn ang="0">
                    <a:pos x="T2" y="T3"/>
                  </a:cxn>
                  <a:cxn ang="0">
                    <a:pos x="T4" y="T5"/>
                  </a:cxn>
                </a:cxnLst>
                <a:rect l="0" t="0" r="r" b="b"/>
                <a:pathLst>
                  <a:path w="4" h="3">
                    <a:moveTo>
                      <a:pt x="3" y="0"/>
                    </a:moveTo>
                    <a:cubicBezTo>
                      <a:pt x="2" y="1"/>
                      <a:pt x="1" y="2"/>
                      <a:pt x="0" y="3"/>
                    </a:cubicBezTo>
                    <a:cubicBezTo>
                      <a:pt x="2"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06"/>
              <p:cNvSpPr/>
              <p:nvPr/>
            </p:nvSpPr>
            <p:spPr bwMode="auto">
              <a:xfrm>
                <a:off x="6641" y="4242"/>
                <a:ext cx="9" cy="14"/>
              </a:xfrm>
              <a:custGeom>
                <a:gdLst>
                  <a:gd name="T0" fmla="*/ 2 w 4"/>
                  <a:gd name="T1" fmla="*/ 0 h 6"/>
                  <a:gd name="T2" fmla="*/ 0 w 4"/>
                  <a:gd name="T3" fmla="*/ 3 h 6"/>
                  <a:gd name="T4" fmla="*/ 0 w 4"/>
                  <a:gd name="T5" fmla="*/ 4 h 6"/>
                  <a:gd name="T6" fmla="*/ 2 w 4"/>
                  <a:gd name="T7" fmla="*/ 6 h 6"/>
                  <a:gd name="T8" fmla="*/ 4 w 4"/>
                  <a:gd name="T9" fmla="*/ 3 h 6"/>
                  <a:gd name="T10" fmla="*/ 2 w 4"/>
                  <a:gd name="T11" fmla="*/ 0 h 6"/>
                </a:gdLst>
                <a:cxnLst>
                  <a:cxn ang="0">
                    <a:pos x="T0" y="T1"/>
                  </a:cxn>
                  <a:cxn ang="0">
                    <a:pos x="T2" y="T3"/>
                  </a:cxn>
                  <a:cxn ang="0">
                    <a:pos x="T4" y="T5"/>
                  </a:cxn>
                  <a:cxn ang="0">
                    <a:pos x="T6" y="T7"/>
                  </a:cxn>
                  <a:cxn ang="0">
                    <a:pos x="T8" y="T9"/>
                  </a:cxn>
                  <a:cxn ang="0">
                    <a:pos x="T10" y="T11"/>
                  </a:cxn>
                </a:cxnLst>
                <a:rect l="0" t="0" r="r" b="b"/>
                <a:pathLst>
                  <a:path w="4" h="6">
                    <a:moveTo>
                      <a:pt x="2" y="0"/>
                    </a:moveTo>
                    <a:cubicBezTo>
                      <a:pt x="1" y="0"/>
                      <a:pt x="0" y="1"/>
                      <a:pt x="0" y="3"/>
                    </a:cubicBezTo>
                    <a:cubicBezTo>
                      <a:pt x="0" y="3"/>
                      <a:pt x="0" y="4"/>
                      <a:pt x="0" y="4"/>
                    </a:cubicBezTo>
                    <a:cubicBezTo>
                      <a:pt x="1" y="5"/>
                      <a:pt x="1" y="6"/>
                      <a:pt x="2" y="6"/>
                    </a:cubicBezTo>
                    <a:cubicBezTo>
                      <a:pt x="3" y="6"/>
                      <a:pt x="3" y="4"/>
                      <a:pt x="4"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07"/>
              <p:cNvSpPr/>
              <p:nvPr/>
            </p:nvSpPr>
            <p:spPr bwMode="auto">
              <a:xfrm>
                <a:off x="1888" y="1185"/>
                <a:ext cx="54" cy="48"/>
              </a:xfrm>
              <a:custGeom>
                <a:gdLst>
                  <a:gd name="T0" fmla="*/ 19 w 23"/>
                  <a:gd name="T1" fmla="*/ 0 h 20"/>
                  <a:gd name="T2" fmla="*/ 12 w 23"/>
                  <a:gd name="T3" fmla="*/ 8 h 20"/>
                  <a:gd name="T4" fmla="*/ 7 w 23"/>
                  <a:gd name="T5" fmla="*/ 12 h 20"/>
                  <a:gd name="T6" fmla="*/ 0 w 23"/>
                  <a:gd name="T7" fmla="*/ 20 h 20"/>
                  <a:gd name="T8" fmla="*/ 13 w 23"/>
                  <a:gd name="T9" fmla="*/ 13 h 20"/>
                  <a:gd name="T10" fmla="*/ 20 w 23"/>
                  <a:gd name="T11" fmla="*/ 6 h 20"/>
                  <a:gd name="T12" fmla="*/ 23 w 23"/>
                  <a:gd name="T13" fmla="*/ 3 h 20"/>
                  <a:gd name="T14" fmla="*/ 19 w 23"/>
                  <a:gd name="T15" fmla="*/ 0 h 2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0">
                    <a:moveTo>
                      <a:pt x="19" y="0"/>
                    </a:moveTo>
                    <a:cubicBezTo>
                      <a:pt x="15" y="0"/>
                      <a:pt x="14" y="6"/>
                      <a:pt x="12" y="8"/>
                    </a:cubicBezTo>
                    <a:cubicBezTo>
                      <a:pt x="11" y="10"/>
                      <a:pt x="9" y="11"/>
                      <a:pt x="7" y="12"/>
                    </a:cubicBezTo>
                    <a:cubicBezTo>
                      <a:pt x="5" y="14"/>
                      <a:pt x="0" y="17"/>
                      <a:pt x="0" y="20"/>
                    </a:cubicBezTo>
                    <a:cubicBezTo>
                      <a:pt x="4" y="18"/>
                      <a:pt x="8" y="16"/>
                      <a:pt x="13" y="13"/>
                    </a:cubicBezTo>
                    <a:cubicBezTo>
                      <a:pt x="15" y="9"/>
                      <a:pt x="17" y="8"/>
                      <a:pt x="20" y="6"/>
                    </a:cubicBezTo>
                    <a:cubicBezTo>
                      <a:pt x="20" y="5"/>
                      <a:pt x="23" y="4"/>
                      <a:pt x="23" y="3"/>
                    </a:cubicBezTo>
                    <a:cubicBezTo>
                      <a:pt x="23" y="1"/>
                      <a:pt x="18" y="2"/>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08"/>
              <p:cNvSpPr/>
              <p:nvPr/>
            </p:nvSpPr>
            <p:spPr bwMode="auto">
              <a:xfrm>
                <a:off x="2663" y="1524"/>
                <a:ext cx="27" cy="16"/>
              </a:xfrm>
              <a:custGeom>
                <a:gdLst>
                  <a:gd name="T0" fmla="*/ 8 w 11"/>
                  <a:gd name="T1" fmla="*/ 0 h 7"/>
                  <a:gd name="T2" fmla="*/ 0 w 11"/>
                  <a:gd name="T3" fmla="*/ 7 h 7"/>
                  <a:gd name="T4" fmla="*/ 7 w 11"/>
                  <a:gd name="T5" fmla="*/ 6 h 7"/>
                  <a:gd name="T6" fmla="*/ 11 w 11"/>
                  <a:gd name="T7" fmla="*/ 1 h 7"/>
                  <a:gd name="T8" fmla="*/ 8 w 11"/>
                  <a:gd name="T9" fmla="*/ 0 h 7"/>
                </a:gdLst>
                <a:cxnLst>
                  <a:cxn ang="0">
                    <a:pos x="T0" y="T1"/>
                  </a:cxn>
                  <a:cxn ang="0">
                    <a:pos x="T2" y="T3"/>
                  </a:cxn>
                  <a:cxn ang="0">
                    <a:pos x="T4" y="T5"/>
                  </a:cxn>
                  <a:cxn ang="0">
                    <a:pos x="T6" y="T7"/>
                  </a:cxn>
                  <a:cxn ang="0">
                    <a:pos x="T8" y="T9"/>
                  </a:cxn>
                </a:cxnLst>
                <a:rect l="0" t="0" r="r" b="b"/>
                <a:pathLst>
                  <a:path w="11" h="7">
                    <a:moveTo>
                      <a:pt x="8" y="0"/>
                    </a:moveTo>
                    <a:cubicBezTo>
                      <a:pt x="4" y="0"/>
                      <a:pt x="0" y="3"/>
                      <a:pt x="0" y="7"/>
                    </a:cubicBezTo>
                    <a:cubicBezTo>
                      <a:pt x="2" y="7"/>
                      <a:pt x="5" y="6"/>
                      <a:pt x="7" y="6"/>
                    </a:cubicBezTo>
                    <a:cubicBezTo>
                      <a:pt x="11" y="5"/>
                      <a:pt x="11" y="4"/>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09"/>
              <p:cNvSpPr/>
              <p:nvPr/>
            </p:nvSpPr>
            <p:spPr bwMode="auto">
              <a:xfrm>
                <a:off x="2517" y="1358"/>
                <a:ext cx="90" cy="62"/>
              </a:xfrm>
              <a:custGeom>
                <a:gdLst>
                  <a:gd name="T0" fmla="*/ 14 w 38"/>
                  <a:gd name="T1" fmla="*/ 0 h 26"/>
                  <a:gd name="T2" fmla="*/ 14 w 38"/>
                  <a:gd name="T3" fmla="*/ 0 h 26"/>
                  <a:gd name="T4" fmla="*/ 10 w 38"/>
                  <a:gd name="T5" fmla="*/ 3 h 26"/>
                  <a:gd name="T6" fmla="*/ 10 w 38"/>
                  <a:gd name="T7" fmla="*/ 3 h 26"/>
                  <a:gd name="T8" fmla="*/ 7 w 38"/>
                  <a:gd name="T9" fmla="*/ 2 h 26"/>
                  <a:gd name="T10" fmla="*/ 6 w 38"/>
                  <a:gd name="T11" fmla="*/ 4 h 26"/>
                  <a:gd name="T12" fmla="*/ 2 w 38"/>
                  <a:gd name="T13" fmla="*/ 2 h 26"/>
                  <a:gd name="T14" fmla="*/ 0 w 38"/>
                  <a:gd name="T15" fmla="*/ 5 h 26"/>
                  <a:gd name="T16" fmla="*/ 9 w 38"/>
                  <a:gd name="T17" fmla="*/ 14 h 26"/>
                  <a:gd name="T18" fmla="*/ 2 w 38"/>
                  <a:gd name="T19" fmla="*/ 10 h 26"/>
                  <a:gd name="T20" fmla="*/ 1 w 38"/>
                  <a:gd name="T21" fmla="*/ 15 h 26"/>
                  <a:gd name="T22" fmla="*/ 1 w 38"/>
                  <a:gd name="T23" fmla="*/ 14 h 26"/>
                  <a:gd name="T24" fmla="*/ 7 w 38"/>
                  <a:gd name="T25" fmla="*/ 19 h 26"/>
                  <a:gd name="T26" fmla="*/ 7 w 38"/>
                  <a:gd name="T27" fmla="*/ 21 h 26"/>
                  <a:gd name="T28" fmla="*/ 7 w 38"/>
                  <a:gd name="T29" fmla="*/ 21 h 26"/>
                  <a:gd name="T30" fmla="*/ 8 w 38"/>
                  <a:gd name="T31" fmla="*/ 21 h 26"/>
                  <a:gd name="T32" fmla="*/ 9 w 38"/>
                  <a:gd name="T33" fmla="*/ 23 h 26"/>
                  <a:gd name="T34" fmla="*/ 13 w 38"/>
                  <a:gd name="T35" fmla="*/ 26 h 26"/>
                  <a:gd name="T36" fmla="*/ 19 w 38"/>
                  <a:gd name="T37" fmla="*/ 26 h 26"/>
                  <a:gd name="T38" fmla="*/ 21 w 38"/>
                  <a:gd name="T39" fmla="*/ 26 h 26"/>
                  <a:gd name="T40" fmla="*/ 15 w 38"/>
                  <a:gd name="T41" fmla="*/ 17 h 26"/>
                  <a:gd name="T42" fmla="*/ 23 w 38"/>
                  <a:gd name="T43" fmla="*/ 21 h 26"/>
                  <a:gd name="T44" fmla="*/ 38 w 38"/>
                  <a:gd name="T45" fmla="*/ 25 h 26"/>
                  <a:gd name="T46" fmla="*/ 34 w 38"/>
                  <a:gd name="T47" fmla="*/ 17 h 26"/>
                  <a:gd name="T48" fmla="*/ 34 w 38"/>
                  <a:gd name="T49" fmla="*/ 17 h 26"/>
                  <a:gd name="T50" fmla="*/ 31 w 38"/>
                  <a:gd name="T51" fmla="*/ 17 h 26"/>
                  <a:gd name="T52" fmla="*/ 29 w 38"/>
                  <a:gd name="T53" fmla="*/ 18 h 26"/>
                  <a:gd name="T54" fmla="*/ 28 w 38"/>
                  <a:gd name="T55" fmla="*/ 18 h 26"/>
                  <a:gd name="T56" fmla="*/ 22 w 38"/>
                  <a:gd name="T57" fmla="*/ 13 h 26"/>
                  <a:gd name="T58" fmla="*/ 13 w 38"/>
                  <a:gd name="T59" fmla="*/ 9 h 26"/>
                  <a:gd name="T60" fmla="*/ 22 w 38"/>
                  <a:gd name="T61" fmla="*/ 13 h 26"/>
                  <a:gd name="T62" fmla="*/ 31 w 38"/>
                  <a:gd name="T63" fmla="*/ 16 h 26"/>
                  <a:gd name="T64" fmla="*/ 35 w 38"/>
                  <a:gd name="T65" fmla="*/ 15 h 26"/>
                  <a:gd name="T66" fmla="*/ 29 w 38"/>
                  <a:gd name="T67" fmla="*/ 11 h 26"/>
                  <a:gd name="T68" fmla="*/ 35 w 38"/>
                  <a:gd name="T69" fmla="*/ 14 h 26"/>
                  <a:gd name="T70" fmla="*/ 32 w 38"/>
                  <a:gd name="T71" fmla="*/ 6 h 26"/>
                  <a:gd name="T72" fmla="*/ 28 w 38"/>
                  <a:gd name="T73" fmla="*/ 5 h 26"/>
                  <a:gd name="T74" fmla="*/ 25 w 38"/>
                  <a:gd name="T75" fmla="*/ 4 h 26"/>
                  <a:gd name="T76" fmla="*/ 24 w 38"/>
                  <a:gd name="T77" fmla="*/ 4 h 26"/>
                  <a:gd name="T78" fmla="*/ 21 w 38"/>
                  <a:gd name="T79" fmla="*/ 8 h 26"/>
                  <a:gd name="T80" fmla="*/ 18 w 38"/>
                  <a:gd name="T81" fmla="*/ 10 h 26"/>
                  <a:gd name="T82" fmla="*/ 15 w 38"/>
                  <a:gd name="T83" fmla="*/ 9 h 26"/>
                  <a:gd name="T84" fmla="*/ 19 w 38"/>
                  <a:gd name="T85" fmla="*/ 8 h 26"/>
                  <a:gd name="T86" fmla="*/ 16 w 38"/>
                  <a:gd name="T87" fmla="*/ 7 h 26"/>
                  <a:gd name="T88" fmla="*/ 20 w 38"/>
                  <a:gd name="T89" fmla="*/ 2 h 26"/>
                  <a:gd name="T90" fmla="*/ 14 w 38"/>
                  <a:gd name="T91"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 h="26">
                    <a:moveTo>
                      <a:pt x="14" y="0"/>
                    </a:moveTo>
                    <a:cubicBezTo>
                      <a:pt x="14" y="0"/>
                      <a:pt x="14" y="0"/>
                      <a:pt x="14" y="0"/>
                    </a:cubicBezTo>
                    <a:cubicBezTo>
                      <a:pt x="12" y="0"/>
                      <a:pt x="12" y="3"/>
                      <a:pt x="10" y="3"/>
                    </a:cubicBezTo>
                    <a:cubicBezTo>
                      <a:pt x="10" y="3"/>
                      <a:pt x="10" y="3"/>
                      <a:pt x="10" y="3"/>
                    </a:cubicBezTo>
                    <a:cubicBezTo>
                      <a:pt x="9" y="3"/>
                      <a:pt x="8" y="2"/>
                      <a:pt x="7" y="2"/>
                    </a:cubicBezTo>
                    <a:cubicBezTo>
                      <a:pt x="6" y="2"/>
                      <a:pt x="6" y="2"/>
                      <a:pt x="6" y="4"/>
                    </a:cubicBezTo>
                    <a:cubicBezTo>
                      <a:pt x="5" y="3"/>
                      <a:pt x="3" y="2"/>
                      <a:pt x="2" y="2"/>
                    </a:cubicBezTo>
                    <a:cubicBezTo>
                      <a:pt x="4" y="4"/>
                      <a:pt x="4" y="5"/>
                      <a:pt x="0" y="5"/>
                    </a:cubicBezTo>
                    <a:cubicBezTo>
                      <a:pt x="2" y="8"/>
                      <a:pt x="7" y="11"/>
                      <a:pt x="9" y="14"/>
                    </a:cubicBezTo>
                    <a:cubicBezTo>
                      <a:pt x="7" y="13"/>
                      <a:pt x="5" y="10"/>
                      <a:pt x="2" y="10"/>
                    </a:cubicBezTo>
                    <a:cubicBezTo>
                      <a:pt x="2" y="11"/>
                      <a:pt x="1" y="13"/>
                      <a:pt x="1" y="15"/>
                    </a:cubicBezTo>
                    <a:cubicBezTo>
                      <a:pt x="1" y="15"/>
                      <a:pt x="1" y="14"/>
                      <a:pt x="1" y="14"/>
                    </a:cubicBezTo>
                    <a:cubicBezTo>
                      <a:pt x="3" y="14"/>
                      <a:pt x="7" y="18"/>
                      <a:pt x="7" y="19"/>
                    </a:cubicBezTo>
                    <a:cubicBezTo>
                      <a:pt x="8" y="20"/>
                      <a:pt x="7" y="20"/>
                      <a:pt x="7" y="21"/>
                    </a:cubicBezTo>
                    <a:cubicBezTo>
                      <a:pt x="7" y="21"/>
                      <a:pt x="7" y="21"/>
                      <a:pt x="7" y="21"/>
                    </a:cubicBezTo>
                    <a:cubicBezTo>
                      <a:pt x="8" y="21"/>
                      <a:pt x="8" y="21"/>
                      <a:pt x="8" y="21"/>
                    </a:cubicBezTo>
                    <a:cubicBezTo>
                      <a:pt x="8" y="21"/>
                      <a:pt x="9" y="22"/>
                      <a:pt x="9" y="23"/>
                    </a:cubicBezTo>
                    <a:cubicBezTo>
                      <a:pt x="11" y="24"/>
                      <a:pt x="12" y="24"/>
                      <a:pt x="13" y="26"/>
                    </a:cubicBezTo>
                    <a:cubicBezTo>
                      <a:pt x="15" y="26"/>
                      <a:pt x="17" y="26"/>
                      <a:pt x="19" y="26"/>
                    </a:cubicBezTo>
                    <a:cubicBezTo>
                      <a:pt x="20" y="26"/>
                      <a:pt x="20" y="26"/>
                      <a:pt x="21" y="26"/>
                    </a:cubicBezTo>
                    <a:cubicBezTo>
                      <a:pt x="20" y="21"/>
                      <a:pt x="17" y="21"/>
                      <a:pt x="15" y="17"/>
                    </a:cubicBezTo>
                    <a:cubicBezTo>
                      <a:pt x="18" y="17"/>
                      <a:pt x="20" y="19"/>
                      <a:pt x="23" y="21"/>
                    </a:cubicBezTo>
                    <a:cubicBezTo>
                      <a:pt x="27" y="23"/>
                      <a:pt x="32" y="25"/>
                      <a:pt x="38" y="25"/>
                    </a:cubicBezTo>
                    <a:cubicBezTo>
                      <a:pt x="37" y="23"/>
                      <a:pt x="37" y="17"/>
                      <a:pt x="34" y="17"/>
                    </a:cubicBezTo>
                    <a:cubicBezTo>
                      <a:pt x="34" y="17"/>
                      <a:pt x="34" y="17"/>
                      <a:pt x="34" y="17"/>
                    </a:cubicBezTo>
                    <a:cubicBezTo>
                      <a:pt x="33" y="17"/>
                      <a:pt x="32" y="17"/>
                      <a:pt x="31" y="17"/>
                    </a:cubicBezTo>
                    <a:cubicBezTo>
                      <a:pt x="30" y="18"/>
                      <a:pt x="29" y="18"/>
                      <a:pt x="29" y="18"/>
                    </a:cubicBezTo>
                    <a:cubicBezTo>
                      <a:pt x="28" y="18"/>
                      <a:pt x="28" y="18"/>
                      <a:pt x="28" y="18"/>
                    </a:cubicBezTo>
                    <a:cubicBezTo>
                      <a:pt x="26" y="17"/>
                      <a:pt x="24" y="15"/>
                      <a:pt x="22" y="13"/>
                    </a:cubicBezTo>
                    <a:cubicBezTo>
                      <a:pt x="19" y="12"/>
                      <a:pt x="15" y="11"/>
                      <a:pt x="13" y="9"/>
                    </a:cubicBezTo>
                    <a:cubicBezTo>
                      <a:pt x="16" y="10"/>
                      <a:pt x="19" y="12"/>
                      <a:pt x="22" y="13"/>
                    </a:cubicBezTo>
                    <a:cubicBezTo>
                      <a:pt x="25" y="14"/>
                      <a:pt x="28" y="16"/>
                      <a:pt x="31" y="16"/>
                    </a:cubicBezTo>
                    <a:cubicBezTo>
                      <a:pt x="32" y="16"/>
                      <a:pt x="33" y="15"/>
                      <a:pt x="35" y="15"/>
                    </a:cubicBezTo>
                    <a:cubicBezTo>
                      <a:pt x="33" y="14"/>
                      <a:pt x="30" y="12"/>
                      <a:pt x="29" y="11"/>
                    </a:cubicBezTo>
                    <a:cubicBezTo>
                      <a:pt x="31" y="12"/>
                      <a:pt x="33" y="13"/>
                      <a:pt x="35" y="14"/>
                    </a:cubicBezTo>
                    <a:cubicBezTo>
                      <a:pt x="33" y="10"/>
                      <a:pt x="37" y="7"/>
                      <a:pt x="32" y="6"/>
                    </a:cubicBezTo>
                    <a:cubicBezTo>
                      <a:pt x="30" y="5"/>
                      <a:pt x="29" y="6"/>
                      <a:pt x="28" y="5"/>
                    </a:cubicBezTo>
                    <a:cubicBezTo>
                      <a:pt x="27" y="5"/>
                      <a:pt x="26" y="4"/>
                      <a:pt x="25" y="4"/>
                    </a:cubicBezTo>
                    <a:cubicBezTo>
                      <a:pt x="25" y="4"/>
                      <a:pt x="25" y="4"/>
                      <a:pt x="24" y="4"/>
                    </a:cubicBezTo>
                    <a:cubicBezTo>
                      <a:pt x="24" y="4"/>
                      <a:pt x="22" y="7"/>
                      <a:pt x="21" y="8"/>
                    </a:cubicBezTo>
                    <a:cubicBezTo>
                      <a:pt x="20" y="9"/>
                      <a:pt x="19" y="10"/>
                      <a:pt x="18" y="10"/>
                    </a:cubicBezTo>
                    <a:cubicBezTo>
                      <a:pt x="18" y="10"/>
                      <a:pt x="17" y="9"/>
                      <a:pt x="15" y="9"/>
                    </a:cubicBezTo>
                    <a:cubicBezTo>
                      <a:pt x="16" y="8"/>
                      <a:pt x="18" y="8"/>
                      <a:pt x="19" y="8"/>
                    </a:cubicBezTo>
                    <a:cubicBezTo>
                      <a:pt x="18" y="8"/>
                      <a:pt x="17" y="7"/>
                      <a:pt x="16" y="7"/>
                    </a:cubicBezTo>
                    <a:cubicBezTo>
                      <a:pt x="18" y="7"/>
                      <a:pt x="24" y="4"/>
                      <a:pt x="20" y="2"/>
                    </a:cubicBezTo>
                    <a:cubicBezTo>
                      <a:pt x="19" y="1"/>
                      <a:pt x="16"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10"/>
              <p:cNvSpPr/>
              <p:nvPr/>
            </p:nvSpPr>
            <p:spPr bwMode="auto">
              <a:xfrm>
                <a:off x="1595" y="1339"/>
                <a:ext cx="71" cy="40"/>
              </a:xfrm>
              <a:custGeom>
                <a:gdLst>
                  <a:gd name="T0" fmla="*/ 15 w 30"/>
                  <a:gd name="T1" fmla="*/ 0 h 17"/>
                  <a:gd name="T2" fmla="*/ 14 w 30"/>
                  <a:gd name="T3" fmla="*/ 0 h 17"/>
                  <a:gd name="T4" fmla="*/ 9 w 30"/>
                  <a:gd name="T5" fmla="*/ 3 h 17"/>
                  <a:gd name="T6" fmla="*/ 11 w 30"/>
                  <a:gd name="T7" fmla="*/ 5 h 17"/>
                  <a:gd name="T8" fmla="*/ 12 w 30"/>
                  <a:gd name="T9" fmla="*/ 7 h 17"/>
                  <a:gd name="T10" fmla="*/ 6 w 30"/>
                  <a:gd name="T11" fmla="*/ 6 h 17"/>
                  <a:gd name="T12" fmla="*/ 6 w 30"/>
                  <a:gd name="T13" fmla="*/ 6 h 17"/>
                  <a:gd name="T14" fmla="*/ 8 w 30"/>
                  <a:gd name="T15" fmla="*/ 11 h 17"/>
                  <a:gd name="T16" fmla="*/ 4 w 30"/>
                  <a:gd name="T17" fmla="*/ 10 h 17"/>
                  <a:gd name="T18" fmla="*/ 2 w 30"/>
                  <a:gd name="T19" fmla="*/ 13 h 17"/>
                  <a:gd name="T20" fmla="*/ 3 w 30"/>
                  <a:gd name="T21" fmla="*/ 13 h 17"/>
                  <a:gd name="T22" fmla="*/ 3 w 30"/>
                  <a:gd name="T23" fmla="*/ 13 h 17"/>
                  <a:gd name="T24" fmla="*/ 4 w 30"/>
                  <a:gd name="T25" fmla="*/ 13 h 17"/>
                  <a:gd name="T26" fmla="*/ 4 w 30"/>
                  <a:gd name="T27" fmla="*/ 13 h 17"/>
                  <a:gd name="T28" fmla="*/ 5 w 30"/>
                  <a:gd name="T29" fmla="*/ 15 h 17"/>
                  <a:gd name="T30" fmla="*/ 9 w 30"/>
                  <a:gd name="T31" fmla="*/ 17 h 17"/>
                  <a:gd name="T32" fmla="*/ 16 w 30"/>
                  <a:gd name="T33" fmla="*/ 10 h 17"/>
                  <a:gd name="T34" fmla="*/ 21 w 30"/>
                  <a:gd name="T35" fmla="*/ 12 h 17"/>
                  <a:gd name="T36" fmla="*/ 22 w 30"/>
                  <a:gd name="T37" fmla="*/ 12 h 17"/>
                  <a:gd name="T38" fmla="*/ 23 w 30"/>
                  <a:gd name="T39" fmla="*/ 8 h 17"/>
                  <a:gd name="T40" fmla="*/ 27 w 30"/>
                  <a:gd name="T41" fmla="*/ 11 h 17"/>
                  <a:gd name="T42" fmla="*/ 29 w 30"/>
                  <a:gd name="T43" fmla="*/ 8 h 17"/>
                  <a:gd name="T44" fmla="*/ 30 w 30"/>
                  <a:gd name="T45" fmla="*/ 5 h 17"/>
                  <a:gd name="T46" fmla="*/ 27 w 30"/>
                  <a:gd name="T47" fmla="*/ 8 h 17"/>
                  <a:gd name="T48" fmla="*/ 26 w 30"/>
                  <a:gd name="T49" fmla="*/ 4 h 17"/>
                  <a:gd name="T50" fmla="*/ 25 w 30"/>
                  <a:gd name="T51" fmla="*/ 4 h 17"/>
                  <a:gd name="T52" fmla="*/ 25 w 30"/>
                  <a:gd name="T53" fmla="*/ 4 h 17"/>
                  <a:gd name="T54" fmla="*/ 24 w 30"/>
                  <a:gd name="T55" fmla="*/ 4 h 17"/>
                  <a:gd name="T56" fmla="*/ 23 w 30"/>
                  <a:gd name="T57" fmla="*/ 3 h 17"/>
                  <a:gd name="T58" fmla="*/ 22 w 30"/>
                  <a:gd name="T59" fmla="*/ 2 h 17"/>
                  <a:gd name="T60" fmla="*/ 20 w 30"/>
                  <a:gd name="T61" fmla="*/ 6 h 17"/>
                  <a:gd name="T62" fmla="*/ 15 w 30"/>
                  <a:gd name="T6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17">
                    <a:moveTo>
                      <a:pt x="15" y="0"/>
                    </a:moveTo>
                    <a:cubicBezTo>
                      <a:pt x="15" y="0"/>
                      <a:pt x="14" y="0"/>
                      <a:pt x="14" y="0"/>
                    </a:cubicBezTo>
                    <a:cubicBezTo>
                      <a:pt x="12" y="1"/>
                      <a:pt x="11" y="3"/>
                      <a:pt x="9" y="3"/>
                    </a:cubicBezTo>
                    <a:cubicBezTo>
                      <a:pt x="10" y="3"/>
                      <a:pt x="11" y="4"/>
                      <a:pt x="11" y="5"/>
                    </a:cubicBezTo>
                    <a:cubicBezTo>
                      <a:pt x="11" y="5"/>
                      <a:pt x="11" y="6"/>
                      <a:pt x="12" y="7"/>
                    </a:cubicBezTo>
                    <a:cubicBezTo>
                      <a:pt x="11" y="7"/>
                      <a:pt x="7" y="6"/>
                      <a:pt x="6" y="6"/>
                    </a:cubicBezTo>
                    <a:cubicBezTo>
                      <a:pt x="6" y="6"/>
                      <a:pt x="6" y="6"/>
                      <a:pt x="6" y="6"/>
                    </a:cubicBezTo>
                    <a:cubicBezTo>
                      <a:pt x="1" y="7"/>
                      <a:pt x="6" y="9"/>
                      <a:pt x="8" y="11"/>
                    </a:cubicBezTo>
                    <a:cubicBezTo>
                      <a:pt x="7" y="11"/>
                      <a:pt x="5" y="10"/>
                      <a:pt x="4" y="10"/>
                    </a:cubicBezTo>
                    <a:cubicBezTo>
                      <a:pt x="1" y="10"/>
                      <a:pt x="0" y="11"/>
                      <a:pt x="2" y="13"/>
                    </a:cubicBezTo>
                    <a:cubicBezTo>
                      <a:pt x="3" y="13"/>
                      <a:pt x="3" y="13"/>
                      <a:pt x="3" y="13"/>
                    </a:cubicBezTo>
                    <a:cubicBezTo>
                      <a:pt x="3" y="13"/>
                      <a:pt x="3" y="13"/>
                      <a:pt x="3" y="13"/>
                    </a:cubicBezTo>
                    <a:cubicBezTo>
                      <a:pt x="3" y="13"/>
                      <a:pt x="4" y="13"/>
                      <a:pt x="4" y="13"/>
                    </a:cubicBezTo>
                    <a:cubicBezTo>
                      <a:pt x="4" y="13"/>
                      <a:pt x="4" y="13"/>
                      <a:pt x="4" y="13"/>
                    </a:cubicBezTo>
                    <a:cubicBezTo>
                      <a:pt x="5" y="13"/>
                      <a:pt x="4" y="14"/>
                      <a:pt x="5" y="15"/>
                    </a:cubicBezTo>
                    <a:cubicBezTo>
                      <a:pt x="6" y="15"/>
                      <a:pt x="8" y="16"/>
                      <a:pt x="9" y="17"/>
                    </a:cubicBezTo>
                    <a:cubicBezTo>
                      <a:pt x="12" y="15"/>
                      <a:pt x="14" y="12"/>
                      <a:pt x="16" y="10"/>
                    </a:cubicBezTo>
                    <a:cubicBezTo>
                      <a:pt x="17" y="11"/>
                      <a:pt x="20" y="12"/>
                      <a:pt x="21" y="12"/>
                    </a:cubicBezTo>
                    <a:cubicBezTo>
                      <a:pt x="22" y="12"/>
                      <a:pt x="22" y="12"/>
                      <a:pt x="22" y="12"/>
                    </a:cubicBezTo>
                    <a:cubicBezTo>
                      <a:pt x="23" y="12"/>
                      <a:pt x="23" y="9"/>
                      <a:pt x="23" y="8"/>
                    </a:cubicBezTo>
                    <a:cubicBezTo>
                      <a:pt x="24" y="10"/>
                      <a:pt x="25" y="11"/>
                      <a:pt x="27" y="11"/>
                    </a:cubicBezTo>
                    <a:cubicBezTo>
                      <a:pt x="27" y="11"/>
                      <a:pt x="28" y="10"/>
                      <a:pt x="29" y="8"/>
                    </a:cubicBezTo>
                    <a:cubicBezTo>
                      <a:pt x="30" y="6"/>
                      <a:pt x="30" y="5"/>
                      <a:pt x="30" y="5"/>
                    </a:cubicBezTo>
                    <a:cubicBezTo>
                      <a:pt x="29" y="5"/>
                      <a:pt x="28" y="7"/>
                      <a:pt x="27" y="8"/>
                    </a:cubicBezTo>
                    <a:cubicBezTo>
                      <a:pt x="26" y="5"/>
                      <a:pt x="28" y="5"/>
                      <a:pt x="26" y="4"/>
                    </a:cubicBezTo>
                    <a:cubicBezTo>
                      <a:pt x="26" y="4"/>
                      <a:pt x="26" y="4"/>
                      <a:pt x="25" y="4"/>
                    </a:cubicBezTo>
                    <a:cubicBezTo>
                      <a:pt x="25" y="4"/>
                      <a:pt x="25" y="4"/>
                      <a:pt x="25" y="4"/>
                    </a:cubicBezTo>
                    <a:cubicBezTo>
                      <a:pt x="25" y="4"/>
                      <a:pt x="25" y="4"/>
                      <a:pt x="24" y="4"/>
                    </a:cubicBezTo>
                    <a:cubicBezTo>
                      <a:pt x="24" y="4"/>
                      <a:pt x="24" y="4"/>
                      <a:pt x="23" y="3"/>
                    </a:cubicBezTo>
                    <a:cubicBezTo>
                      <a:pt x="23" y="2"/>
                      <a:pt x="22" y="2"/>
                      <a:pt x="22" y="2"/>
                    </a:cubicBezTo>
                    <a:cubicBezTo>
                      <a:pt x="21" y="2"/>
                      <a:pt x="20" y="6"/>
                      <a:pt x="20" y="6"/>
                    </a:cubicBezTo>
                    <a:cubicBezTo>
                      <a:pt x="20" y="6"/>
                      <a:pt x="17"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11"/>
              <p:cNvSpPr/>
              <p:nvPr/>
            </p:nvSpPr>
            <p:spPr bwMode="auto">
              <a:xfrm>
                <a:off x="2550" y="1431"/>
                <a:ext cx="19" cy="26"/>
              </a:xfrm>
              <a:custGeom>
                <a:gdLst>
                  <a:gd name="T0" fmla="*/ 1 w 8"/>
                  <a:gd name="T1" fmla="*/ 0 h 11"/>
                  <a:gd name="T2" fmla="*/ 0 w 8"/>
                  <a:gd name="T3" fmla="*/ 2 h 11"/>
                  <a:gd name="T4" fmla="*/ 2 w 8"/>
                  <a:gd name="T5" fmla="*/ 6 h 11"/>
                  <a:gd name="T6" fmla="*/ 0 w 8"/>
                  <a:gd name="T7" fmla="*/ 10 h 11"/>
                  <a:gd name="T8" fmla="*/ 2 w 8"/>
                  <a:gd name="T9" fmla="*/ 11 h 11"/>
                  <a:gd name="T10" fmla="*/ 4 w 8"/>
                  <a:gd name="T11" fmla="*/ 11 h 11"/>
                  <a:gd name="T12" fmla="*/ 3 w 8"/>
                  <a:gd name="T13" fmla="*/ 0 h 11"/>
                  <a:gd name="T14" fmla="*/ 1 w 8"/>
                  <a:gd name="T15" fmla="*/ 0 h 1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1" y="0"/>
                    </a:moveTo>
                    <a:cubicBezTo>
                      <a:pt x="0" y="0"/>
                      <a:pt x="0" y="1"/>
                      <a:pt x="0" y="2"/>
                    </a:cubicBezTo>
                    <a:cubicBezTo>
                      <a:pt x="0" y="4"/>
                      <a:pt x="0" y="5"/>
                      <a:pt x="2" y="6"/>
                    </a:cubicBezTo>
                    <a:cubicBezTo>
                      <a:pt x="3" y="7"/>
                      <a:pt x="0" y="8"/>
                      <a:pt x="0" y="10"/>
                    </a:cubicBezTo>
                    <a:cubicBezTo>
                      <a:pt x="0" y="11"/>
                      <a:pt x="1" y="11"/>
                      <a:pt x="2" y="11"/>
                    </a:cubicBezTo>
                    <a:cubicBezTo>
                      <a:pt x="3" y="11"/>
                      <a:pt x="4" y="11"/>
                      <a:pt x="4" y="11"/>
                    </a:cubicBezTo>
                    <a:cubicBezTo>
                      <a:pt x="8" y="9"/>
                      <a:pt x="5" y="3"/>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12"/>
              <p:cNvSpPr/>
              <p:nvPr/>
            </p:nvSpPr>
            <p:spPr bwMode="auto">
              <a:xfrm>
                <a:off x="1510" y="1379"/>
                <a:ext cx="146" cy="100"/>
              </a:xfrm>
              <a:custGeom>
                <a:gdLst>
                  <a:gd name="T0" fmla="*/ 35 w 62"/>
                  <a:gd name="T1" fmla="*/ 0 h 42"/>
                  <a:gd name="T2" fmla="*/ 36 w 62"/>
                  <a:gd name="T3" fmla="*/ 3 h 42"/>
                  <a:gd name="T4" fmla="*/ 33 w 62"/>
                  <a:gd name="T5" fmla="*/ 6 h 42"/>
                  <a:gd name="T6" fmla="*/ 34 w 62"/>
                  <a:gd name="T7" fmla="*/ 9 h 42"/>
                  <a:gd name="T8" fmla="*/ 33 w 62"/>
                  <a:gd name="T9" fmla="*/ 9 h 42"/>
                  <a:gd name="T10" fmla="*/ 32 w 62"/>
                  <a:gd name="T11" fmla="*/ 9 h 42"/>
                  <a:gd name="T12" fmla="*/ 29 w 62"/>
                  <a:gd name="T13" fmla="*/ 5 h 42"/>
                  <a:gd name="T14" fmla="*/ 20 w 62"/>
                  <a:gd name="T15" fmla="*/ 7 h 42"/>
                  <a:gd name="T16" fmla="*/ 23 w 62"/>
                  <a:gd name="T17" fmla="*/ 11 h 42"/>
                  <a:gd name="T18" fmla="*/ 26 w 62"/>
                  <a:gd name="T19" fmla="*/ 15 h 42"/>
                  <a:gd name="T20" fmla="*/ 22 w 62"/>
                  <a:gd name="T21" fmla="*/ 14 h 42"/>
                  <a:gd name="T22" fmla="*/ 16 w 62"/>
                  <a:gd name="T23" fmla="*/ 15 h 42"/>
                  <a:gd name="T24" fmla="*/ 12 w 62"/>
                  <a:gd name="T25" fmla="*/ 11 h 42"/>
                  <a:gd name="T26" fmla="*/ 9 w 62"/>
                  <a:gd name="T27" fmla="*/ 14 h 42"/>
                  <a:gd name="T28" fmla="*/ 5 w 62"/>
                  <a:gd name="T29" fmla="*/ 15 h 42"/>
                  <a:gd name="T30" fmla="*/ 0 w 62"/>
                  <a:gd name="T31" fmla="*/ 22 h 42"/>
                  <a:gd name="T32" fmla="*/ 6 w 62"/>
                  <a:gd name="T33" fmla="*/ 30 h 42"/>
                  <a:gd name="T34" fmla="*/ 12 w 62"/>
                  <a:gd name="T35" fmla="*/ 38 h 42"/>
                  <a:gd name="T36" fmla="*/ 15 w 62"/>
                  <a:gd name="T37" fmla="*/ 33 h 42"/>
                  <a:gd name="T38" fmla="*/ 13 w 62"/>
                  <a:gd name="T39" fmla="*/ 28 h 42"/>
                  <a:gd name="T40" fmla="*/ 19 w 62"/>
                  <a:gd name="T41" fmla="*/ 29 h 42"/>
                  <a:gd name="T42" fmla="*/ 16 w 62"/>
                  <a:gd name="T43" fmla="*/ 34 h 42"/>
                  <a:gd name="T44" fmla="*/ 16 w 62"/>
                  <a:gd name="T45" fmla="*/ 42 h 42"/>
                  <a:gd name="T46" fmla="*/ 18 w 62"/>
                  <a:gd name="T47" fmla="*/ 41 h 42"/>
                  <a:gd name="T48" fmla="*/ 20 w 62"/>
                  <a:gd name="T49" fmla="*/ 41 h 42"/>
                  <a:gd name="T50" fmla="*/ 26 w 62"/>
                  <a:gd name="T51" fmla="*/ 35 h 42"/>
                  <a:gd name="T52" fmla="*/ 29 w 62"/>
                  <a:gd name="T53" fmla="*/ 30 h 42"/>
                  <a:gd name="T54" fmla="*/ 33 w 62"/>
                  <a:gd name="T55" fmla="*/ 28 h 42"/>
                  <a:gd name="T56" fmla="*/ 43 w 62"/>
                  <a:gd name="T57" fmla="*/ 24 h 42"/>
                  <a:gd name="T58" fmla="*/ 45 w 62"/>
                  <a:gd name="T59" fmla="*/ 23 h 42"/>
                  <a:gd name="T60" fmla="*/ 43 w 62"/>
                  <a:gd name="T61" fmla="*/ 16 h 42"/>
                  <a:gd name="T62" fmla="*/ 57 w 62"/>
                  <a:gd name="T63" fmla="*/ 17 h 42"/>
                  <a:gd name="T64" fmla="*/ 61 w 62"/>
                  <a:gd name="T65" fmla="*/ 12 h 42"/>
                  <a:gd name="T66" fmla="*/ 59 w 62"/>
                  <a:gd name="T67" fmla="*/ 12 h 42"/>
                  <a:gd name="T68" fmla="*/ 58 w 62"/>
                  <a:gd name="T69" fmla="*/ 12 h 42"/>
                  <a:gd name="T70" fmla="*/ 56 w 62"/>
                  <a:gd name="T71" fmla="*/ 10 h 42"/>
                  <a:gd name="T72" fmla="*/ 57 w 62"/>
                  <a:gd name="T73" fmla="*/ 5 h 42"/>
                  <a:gd name="T74" fmla="*/ 56 w 62"/>
                  <a:gd name="T75" fmla="*/ 5 h 42"/>
                  <a:gd name="T76" fmla="*/ 55 w 62"/>
                  <a:gd name="T77" fmla="*/ 5 h 42"/>
                  <a:gd name="T78" fmla="*/ 51 w 62"/>
                  <a:gd name="T79" fmla="*/ 4 h 42"/>
                  <a:gd name="T80" fmla="*/ 49 w 62"/>
                  <a:gd name="T81" fmla="*/ 4 h 42"/>
                  <a:gd name="T82" fmla="*/ 47 w 62"/>
                  <a:gd name="T83" fmla="*/ 4 h 42"/>
                  <a:gd name="T84" fmla="*/ 43 w 62"/>
                  <a:gd name="T85" fmla="*/ 2 h 42"/>
                  <a:gd name="T86" fmla="*/ 42 w 62"/>
                  <a:gd name="T87" fmla="*/ 2 h 42"/>
                  <a:gd name="T88" fmla="*/ 35 w 62"/>
                  <a:gd name="T89" fmla="*/ 0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42">
                    <a:moveTo>
                      <a:pt x="35" y="0"/>
                    </a:moveTo>
                    <a:cubicBezTo>
                      <a:pt x="35" y="0"/>
                      <a:pt x="35" y="0"/>
                      <a:pt x="35" y="0"/>
                    </a:cubicBezTo>
                    <a:cubicBezTo>
                      <a:pt x="35" y="0"/>
                      <a:pt x="40" y="4"/>
                      <a:pt x="40" y="5"/>
                    </a:cubicBezTo>
                    <a:cubicBezTo>
                      <a:pt x="39" y="5"/>
                      <a:pt x="38" y="4"/>
                      <a:pt x="36" y="3"/>
                    </a:cubicBezTo>
                    <a:cubicBezTo>
                      <a:pt x="37" y="4"/>
                      <a:pt x="38" y="6"/>
                      <a:pt x="37" y="7"/>
                    </a:cubicBezTo>
                    <a:cubicBezTo>
                      <a:pt x="37" y="6"/>
                      <a:pt x="34" y="6"/>
                      <a:pt x="33" y="6"/>
                    </a:cubicBezTo>
                    <a:cubicBezTo>
                      <a:pt x="32" y="5"/>
                      <a:pt x="32" y="5"/>
                      <a:pt x="31" y="5"/>
                    </a:cubicBezTo>
                    <a:cubicBezTo>
                      <a:pt x="30" y="5"/>
                      <a:pt x="34" y="8"/>
                      <a:pt x="34" y="9"/>
                    </a:cubicBezTo>
                    <a:cubicBezTo>
                      <a:pt x="35" y="9"/>
                      <a:pt x="34" y="9"/>
                      <a:pt x="34" y="9"/>
                    </a:cubicBezTo>
                    <a:cubicBezTo>
                      <a:pt x="34" y="9"/>
                      <a:pt x="33" y="9"/>
                      <a:pt x="33" y="9"/>
                    </a:cubicBezTo>
                    <a:cubicBezTo>
                      <a:pt x="33" y="9"/>
                      <a:pt x="32" y="7"/>
                      <a:pt x="32" y="7"/>
                    </a:cubicBezTo>
                    <a:cubicBezTo>
                      <a:pt x="31" y="7"/>
                      <a:pt x="31" y="8"/>
                      <a:pt x="32" y="9"/>
                    </a:cubicBezTo>
                    <a:cubicBezTo>
                      <a:pt x="32" y="9"/>
                      <a:pt x="32" y="10"/>
                      <a:pt x="32" y="10"/>
                    </a:cubicBezTo>
                    <a:cubicBezTo>
                      <a:pt x="31" y="10"/>
                      <a:pt x="29" y="6"/>
                      <a:pt x="29" y="5"/>
                    </a:cubicBezTo>
                    <a:cubicBezTo>
                      <a:pt x="28" y="4"/>
                      <a:pt x="26" y="3"/>
                      <a:pt x="24" y="3"/>
                    </a:cubicBezTo>
                    <a:cubicBezTo>
                      <a:pt x="22" y="3"/>
                      <a:pt x="21" y="4"/>
                      <a:pt x="20" y="7"/>
                    </a:cubicBezTo>
                    <a:cubicBezTo>
                      <a:pt x="20" y="11"/>
                      <a:pt x="27" y="9"/>
                      <a:pt x="28" y="13"/>
                    </a:cubicBezTo>
                    <a:cubicBezTo>
                      <a:pt x="27" y="13"/>
                      <a:pt x="25" y="11"/>
                      <a:pt x="23" y="11"/>
                    </a:cubicBezTo>
                    <a:cubicBezTo>
                      <a:pt x="23" y="11"/>
                      <a:pt x="22" y="11"/>
                      <a:pt x="22" y="11"/>
                    </a:cubicBezTo>
                    <a:cubicBezTo>
                      <a:pt x="21" y="12"/>
                      <a:pt x="25" y="14"/>
                      <a:pt x="26" y="15"/>
                    </a:cubicBezTo>
                    <a:cubicBezTo>
                      <a:pt x="26" y="15"/>
                      <a:pt x="26" y="15"/>
                      <a:pt x="26" y="15"/>
                    </a:cubicBezTo>
                    <a:cubicBezTo>
                      <a:pt x="25" y="15"/>
                      <a:pt x="23" y="14"/>
                      <a:pt x="22" y="14"/>
                    </a:cubicBezTo>
                    <a:cubicBezTo>
                      <a:pt x="23" y="14"/>
                      <a:pt x="23" y="15"/>
                      <a:pt x="23" y="16"/>
                    </a:cubicBezTo>
                    <a:cubicBezTo>
                      <a:pt x="21" y="16"/>
                      <a:pt x="19" y="16"/>
                      <a:pt x="16" y="15"/>
                    </a:cubicBezTo>
                    <a:cubicBezTo>
                      <a:pt x="20" y="12"/>
                      <a:pt x="17" y="11"/>
                      <a:pt x="14" y="11"/>
                    </a:cubicBezTo>
                    <a:cubicBezTo>
                      <a:pt x="14" y="11"/>
                      <a:pt x="13" y="11"/>
                      <a:pt x="12" y="11"/>
                    </a:cubicBezTo>
                    <a:cubicBezTo>
                      <a:pt x="11" y="12"/>
                      <a:pt x="10" y="12"/>
                      <a:pt x="8" y="14"/>
                    </a:cubicBezTo>
                    <a:cubicBezTo>
                      <a:pt x="9" y="14"/>
                      <a:pt x="9" y="14"/>
                      <a:pt x="9" y="14"/>
                    </a:cubicBezTo>
                    <a:cubicBezTo>
                      <a:pt x="9" y="14"/>
                      <a:pt x="8" y="14"/>
                      <a:pt x="8" y="14"/>
                    </a:cubicBezTo>
                    <a:cubicBezTo>
                      <a:pt x="7" y="14"/>
                      <a:pt x="6" y="14"/>
                      <a:pt x="5" y="15"/>
                    </a:cubicBezTo>
                    <a:cubicBezTo>
                      <a:pt x="4" y="16"/>
                      <a:pt x="4" y="17"/>
                      <a:pt x="4" y="18"/>
                    </a:cubicBezTo>
                    <a:cubicBezTo>
                      <a:pt x="3" y="19"/>
                      <a:pt x="0" y="20"/>
                      <a:pt x="0" y="22"/>
                    </a:cubicBezTo>
                    <a:cubicBezTo>
                      <a:pt x="0" y="25"/>
                      <a:pt x="1" y="23"/>
                      <a:pt x="3" y="24"/>
                    </a:cubicBezTo>
                    <a:cubicBezTo>
                      <a:pt x="6" y="25"/>
                      <a:pt x="6" y="27"/>
                      <a:pt x="6" y="30"/>
                    </a:cubicBezTo>
                    <a:cubicBezTo>
                      <a:pt x="7" y="33"/>
                      <a:pt x="7" y="32"/>
                      <a:pt x="9" y="34"/>
                    </a:cubicBezTo>
                    <a:cubicBezTo>
                      <a:pt x="10" y="35"/>
                      <a:pt x="11" y="36"/>
                      <a:pt x="12" y="38"/>
                    </a:cubicBezTo>
                    <a:cubicBezTo>
                      <a:pt x="12" y="36"/>
                      <a:pt x="14" y="37"/>
                      <a:pt x="13" y="35"/>
                    </a:cubicBezTo>
                    <a:cubicBezTo>
                      <a:pt x="14" y="35"/>
                      <a:pt x="15" y="34"/>
                      <a:pt x="15" y="33"/>
                    </a:cubicBezTo>
                    <a:cubicBezTo>
                      <a:pt x="15" y="31"/>
                      <a:pt x="9" y="30"/>
                      <a:pt x="7" y="29"/>
                    </a:cubicBezTo>
                    <a:cubicBezTo>
                      <a:pt x="9" y="29"/>
                      <a:pt x="12" y="29"/>
                      <a:pt x="13" y="28"/>
                    </a:cubicBezTo>
                    <a:cubicBezTo>
                      <a:pt x="13" y="28"/>
                      <a:pt x="13" y="28"/>
                      <a:pt x="14" y="28"/>
                    </a:cubicBezTo>
                    <a:cubicBezTo>
                      <a:pt x="15" y="28"/>
                      <a:pt x="17" y="29"/>
                      <a:pt x="19" y="29"/>
                    </a:cubicBezTo>
                    <a:cubicBezTo>
                      <a:pt x="18" y="30"/>
                      <a:pt x="15" y="32"/>
                      <a:pt x="16" y="33"/>
                    </a:cubicBezTo>
                    <a:cubicBezTo>
                      <a:pt x="16" y="34"/>
                      <a:pt x="16" y="34"/>
                      <a:pt x="16" y="34"/>
                    </a:cubicBezTo>
                    <a:cubicBezTo>
                      <a:pt x="18" y="34"/>
                      <a:pt x="22" y="28"/>
                      <a:pt x="24" y="28"/>
                    </a:cubicBezTo>
                    <a:cubicBezTo>
                      <a:pt x="21" y="33"/>
                      <a:pt x="17" y="36"/>
                      <a:pt x="16" y="42"/>
                    </a:cubicBezTo>
                    <a:cubicBezTo>
                      <a:pt x="16" y="41"/>
                      <a:pt x="17" y="41"/>
                      <a:pt x="17" y="41"/>
                    </a:cubicBezTo>
                    <a:cubicBezTo>
                      <a:pt x="17" y="41"/>
                      <a:pt x="18" y="41"/>
                      <a:pt x="18" y="41"/>
                    </a:cubicBezTo>
                    <a:cubicBezTo>
                      <a:pt x="18" y="41"/>
                      <a:pt x="19" y="41"/>
                      <a:pt x="19" y="41"/>
                    </a:cubicBezTo>
                    <a:cubicBezTo>
                      <a:pt x="19" y="41"/>
                      <a:pt x="20" y="41"/>
                      <a:pt x="20" y="41"/>
                    </a:cubicBezTo>
                    <a:cubicBezTo>
                      <a:pt x="21" y="41"/>
                      <a:pt x="22" y="39"/>
                      <a:pt x="23" y="38"/>
                    </a:cubicBezTo>
                    <a:cubicBezTo>
                      <a:pt x="24" y="38"/>
                      <a:pt x="25" y="36"/>
                      <a:pt x="26" y="35"/>
                    </a:cubicBezTo>
                    <a:cubicBezTo>
                      <a:pt x="31" y="33"/>
                      <a:pt x="28" y="34"/>
                      <a:pt x="24" y="31"/>
                    </a:cubicBezTo>
                    <a:cubicBezTo>
                      <a:pt x="25" y="31"/>
                      <a:pt x="29" y="31"/>
                      <a:pt x="29" y="30"/>
                    </a:cubicBezTo>
                    <a:cubicBezTo>
                      <a:pt x="30" y="29"/>
                      <a:pt x="29" y="27"/>
                      <a:pt x="30" y="27"/>
                    </a:cubicBezTo>
                    <a:cubicBezTo>
                      <a:pt x="31" y="27"/>
                      <a:pt x="32" y="27"/>
                      <a:pt x="33" y="28"/>
                    </a:cubicBezTo>
                    <a:cubicBezTo>
                      <a:pt x="34" y="28"/>
                      <a:pt x="35" y="27"/>
                      <a:pt x="37" y="26"/>
                    </a:cubicBezTo>
                    <a:cubicBezTo>
                      <a:pt x="38" y="26"/>
                      <a:pt x="41" y="25"/>
                      <a:pt x="43" y="24"/>
                    </a:cubicBezTo>
                    <a:cubicBezTo>
                      <a:pt x="42" y="23"/>
                      <a:pt x="40" y="23"/>
                      <a:pt x="39" y="22"/>
                    </a:cubicBezTo>
                    <a:cubicBezTo>
                      <a:pt x="40" y="22"/>
                      <a:pt x="43" y="23"/>
                      <a:pt x="45" y="23"/>
                    </a:cubicBezTo>
                    <a:cubicBezTo>
                      <a:pt x="49" y="23"/>
                      <a:pt x="52" y="22"/>
                      <a:pt x="50" y="19"/>
                    </a:cubicBezTo>
                    <a:cubicBezTo>
                      <a:pt x="48" y="18"/>
                      <a:pt x="45" y="18"/>
                      <a:pt x="43" y="16"/>
                    </a:cubicBezTo>
                    <a:cubicBezTo>
                      <a:pt x="47" y="16"/>
                      <a:pt x="50" y="18"/>
                      <a:pt x="54" y="18"/>
                    </a:cubicBezTo>
                    <a:cubicBezTo>
                      <a:pt x="55" y="18"/>
                      <a:pt x="56" y="18"/>
                      <a:pt x="57" y="17"/>
                    </a:cubicBezTo>
                    <a:cubicBezTo>
                      <a:pt x="58" y="17"/>
                      <a:pt x="62" y="13"/>
                      <a:pt x="61" y="12"/>
                    </a:cubicBezTo>
                    <a:cubicBezTo>
                      <a:pt x="61" y="12"/>
                      <a:pt x="61" y="12"/>
                      <a:pt x="61" y="12"/>
                    </a:cubicBezTo>
                    <a:cubicBezTo>
                      <a:pt x="60" y="12"/>
                      <a:pt x="60" y="12"/>
                      <a:pt x="60" y="12"/>
                    </a:cubicBezTo>
                    <a:cubicBezTo>
                      <a:pt x="59" y="12"/>
                      <a:pt x="59" y="12"/>
                      <a:pt x="59" y="12"/>
                    </a:cubicBezTo>
                    <a:cubicBezTo>
                      <a:pt x="59" y="12"/>
                      <a:pt x="59" y="12"/>
                      <a:pt x="59" y="12"/>
                    </a:cubicBezTo>
                    <a:cubicBezTo>
                      <a:pt x="59" y="12"/>
                      <a:pt x="58" y="12"/>
                      <a:pt x="58" y="12"/>
                    </a:cubicBezTo>
                    <a:cubicBezTo>
                      <a:pt x="57" y="12"/>
                      <a:pt x="56" y="12"/>
                      <a:pt x="55" y="13"/>
                    </a:cubicBezTo>
                    <a:cubicBezTo>
                      <a:pt x="55" y="12"/>
                      <a:pt x="55" y="11"/>
                      <a:pt x="56" y="10"/>
                    </a:cubicBezTo>
                    <a:cubicBezTo>
                      <a:pt x="55" y="11"/>
                      <a:pt x="54" y="11"/>
                      <a:pt x="54" y="11"/>
                    </a:cubicBezTo>
                    <a:cubicBezTo>
                      <a:pt x="55" y="9"/>
                      <a:pt x="57" y="7"/>
                      <a:pt x="57" y="5"/>
                    </a:cubicBezTo>
                    <a:cubicBezTo>
                      <a:pt x="57" y="5"/>
                      <a:pt x="57" y="5"/>
                      <a:pt x="57" y="5"/>
                    </a:cubicBezTo>
                    <a:cubicBezTo>
                      <a:pt x="57" y="5"/>
                      <a:pt x="56" y="5"/>
                      <a:pt x="56" y="5"/>
                    </a:cubicBezTo>
                    <a:cubicBezTo>
                      <a:pt x="56" y="6"/>
                      <a:pt x="56" y="6"/>
                      <a:pt x="55" y="6"/>
                    </a:cubicBezTo>
                    <a:cubicBezTo>
                      <a:pt x="55" y="6"/>
                      <a:pt x="55" y="5"/>
                      <a:pt x="55" y="5"/>
                    </a:cubicBezTo>
                    <a:cubicBezTo>
                      <a:pt x="56" y="4"/>
                      <a:pt x="53" y="2"/>
                      <a:pt x="52" y="2"/>
                    </a:cubicBezTo>
                    <a:cubicBezTo>
                      <a:pt x="51" y="2"/>
                      <a:pt x="50" y="3"/>
                      <a:pt x="51" y="4"/>
                    </a:cubicBezTo>
                    <a:cubicBezTo>
                      <a:pt x="50" y="4"/>
                      <a:pt x="50" y="4"/>
                      <a:pt x="50" y="4"/>
                    </a:cubicBezTo>
                    <a:cubicBezTo>
                      <a:pt x="49" y="4"/>
                      <a:pt x="49" y="4"/>
                      <a:pt x="49" y="4"/>
                    </a:cubicBezTo>
                    <a:cubicBezTo>
                      <a:pt x="49" y="5"/>
                      <a:pt x="48" y="5"/>
                      <a:pt x="48" y="5"/>
                    </a:cubicBezTo>
                    <a:cubicBezTo>
                      <a:pt x="48" y="5"/>
                      <a:pt x="47" y="5"/>
                      <a:pt x="47" y="4"/>
                    </a:cubicBezTo>
                    <a:cubicBezTo>
                      <a:pt x="45" y="3"/>
                      <a:pt x="46" y="2"/>
                      <a:pt x="44" y="2"/>
                    </a:cubicBezTo>
                    <a:cubicBezTo>
                      <a:pt x="44" y="2"/>
                      <a:pt x="44" y="2"/>
                      <a:pt x="43" y="2"/>
                    </a:cubicBezTo>
                    <a:cubicBezTo>
                      <a:pt x="43" y="2"/>
                      <a:pt x="43" y="2"/>
                      <a:pt x="42" y="2"/>
                    </a:cubicBezTo>
                    <a:cubicBezTo>
                      <a:pt x="42" y="2"/>
                      <a:pt x="42" y="2"/>
                      <a:pt x="42" y="2"/>
                    </a:cubicBezTo>
                    <a:cubicBezTo>
                      <a:pt x="42" y="2"/>
                      <a:pt x="42" y="2"/>
                      <a:pt x="41" y="2"/>
                    </a:cubicBezTo>
                    <a:cubicBezTo>
                      <a:pt x="41" y="2"/>
                      <a:pt x="37"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13"/>
              <p:cNvSpPr/>
              <p:nvPr/>
            </p:nvSpPr>
            <p:spPr bwMode="auto">
              <a:xfrm>
                <a:off x="2510" y="1372"/>
                <a:ext cx="14" cy="17"/>
              </a:xfrm>
              <a:custGeom>
                <a:gdLst>
                  <a:gd name="T0" fmla="*/ 3 w 6"/>
                  <a:gd name="T1" fmla="*/ 0 h 7"/>
                  <a:gd name="T2" fmla="*/ 1 w 6"/>
                  <a:gd name="T3" fmla="*/ 4 h 7"/>
                  <a:gd name="T4" fmla="*/ 3 w 6"/>
                  <a:gd name="T5" fmla="*/ 7 h 7"/>
                  <a:gd name="T6" fmla="*/ 3 w 6"/>
                  <a:gd name="T7" fmla="*/ 0 h 7"/>
                </a:gdLst>
                <a:cxnLst>
                  <a:cxn ang="0">
                    <a:pos x="T0" y="T1"/>
                  </a:cxn>
                  <a:cxn ang="0">
                    <a:pos x="T2" y="T3"/>
                  </a:cxn>
                  <a:cxn ang="0">
                    <a:pos x="T4" y="T5"/>
                  </a:cxn>
                  <a:cxn ang="0">
                    <a:pos x="T6" y="T7"/>
                  </a:cxn>
                </a:cxnLst>
                <a:rect l="0" t="0" r="r" b="b"/>
                <a:pathLst>
                  <a:path w="6" h="7">
                    <a:moveTo>
                      <a:pt x="3" y="0"/>
                    </a:moveTo>
                    <a:cubicBezTo>
                      <a:pt x="1" y="1"/>
                      <a:pt x="0" y="2"/>
                      <a:pt x="1" y="4"/>
                    </a:cubicBezTo>
                    <a:cubicBezTo>
                      <a:pt x="1" y="5"/>
                      <a:pt x="2" y="6"/>
                      <a:pt x="3" y="7"/>
                    </a:cubicBezTo>
                    <a:cubicBezTo>
                      <a:pt x="5" y="4"/>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14"/>
              <p:cNvSpPr/>
              <p:nvPr/>
            </p:nvSpPr>
            <p:spPr bwMode="auto">
              <a:xfrm>
                <a:off x="2739" y="1498"/>
                <a:ext cx="26" cy="28"/>
              </a:xfrm>
              <a:custGeom>
                <a:gdLst>
                  <a:gd name="T0" fmla="*/ 1 w 11"/>
                  <a:gd name="T1" fmla="*/ 0 h 12"/>
                  <a:gd name="T2" fmla="*/ 3 w 11"/>
                  <a:gd name="T3" fmla="*/ 9 h 12"/>
                  <a:gd name="T4" fmla="*/ 7 w 11"/>
                  <a:gd name="T5" fmla="*/ 11 h 12"/>
                  <a:gd name="T6" fmla="*/ 8 w 11"/>
                  <a:gd name="T7" fmla="*/ 12 h 12"/>
                  <a:gd name="T8" fmla="*/ 8 w 11"/>
                  <a:gd name="T9" fmla="*/ 12 h 12"/>
                  <a:gd name="T10" fmla="*/ 11 w 11"/>
                  <a:gd name="T11" fmla="*/ 10 h 12"/>
                  <a:gd name="T12" fmla="*/ 1 w 11"/>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11" h="12">
                    <a:moveTo>
                      <a:pt x="1" y="0"/>
                    </a:moveTo>
                    <a:cubicBezTo>
                      <a:pt x="1" y="4"/>
                      <a:pt x="0" y="7"/>
                      <a:pt x="3" y="9"/>
                    </a:cubicBezTo>
                    <a:cubicBezTo>
                      <a:pt x="4" y="10"/>
                      <a:pt x="6" y="11"/>
                      <a:pt x="7" y="11"/>
                    </a:cubicBezTo>
                    <a:cubicBezTo>
                      <a:pt x="8" y="11"/>
                      <a:pt x="7" y="12"/>
                      <a:pt x="8" y="12"/>
                    </a:cubicBezTo>
                    <a:cubicBezTo>
                      <a:pt x="8" y="12"/>
                      <a:pt x="8" y="12"/>
                      <a:pt x="8" y="12"/>
                    </a:cubicBezTo>
                    <a:cubicBezTo>
                      <a:pt x="9" y="12"/>
                      <a:pt x="10" y="10"/>
                      <a:pt x="11" y="10"/>
                    </a:cubicBezTo>
                    <a:cubicBezTo>
                      <a:pt x="8" y="6"/>
                      <a:pt x="4"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15"/>
              <p:cNvSpPr/>
              <p:nvPr/>
            </p:nvSpPr>
            <p:spPr bwMode="auto">
              <a:xfrm>
                <a:off x="1171" y="1580"/>
                <a:ext cx="26" cy="22"/>
              </a:xfrm>
              <a:custGeom>
                <a:gdLst>
                  <a:gd name="T0" fmla="*/ 6 w 11"/>
                  <a:gd name="T1" fmla="*/ 0 h 9"/>
                  <a:gd name="T2" fmla="*/ 3 w 11"/>
                  <a:gd name="T3" fmla="*/ 9 h 9"/>
                  <a:gd name="T4" fmla="*/ 9 w 11"/>
                  <a:gd name="T5" fmla="*/ 8 h 9"/>
                  <a:gd name="T6" fmla="*/ 10 w 11"/>
                  <a:gd name="T7" fmla="*/ 8 h 9"/>
                  <a:gd name="T8" fmla="*/ 10 w 11"/>
                  <a:gd name="T9" fmla="*/ 8 h 9"/>
                  <a:gd name="T10" fmla="*/ 10 w 11"/>
                  <a:gd name="T11" fmla="*/ 8 h 9"/>
                  <a:gd name="T12" fmla="*/ 11 w 11"/>
                  <a:gd name="T13" fmla="*/ 7 h 9"/>
                  <a:gd name="T14" fmla="*/ 6 w 11"/>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6" y="0"/>
                    </a:moveTo>
                    <a:cubicBezTo>
                      <a:pt x="0" y="1"/>
                      <a:pt x="4" y="6"/>
                      <a:pt x="3" y="9"/>
                    </a:cubicBezTo>
                    <a:cubicBezTo>
                      <a:pt x="5" y="9"/>
                      <a:pt x="8" y="9"/>
                      <a:pt x="9" y="8"/>
                    </a:cubicBezTo>
                    <a:cubicBezTo>
                      <a:pt x="10" y="8"/>
                      <a:pt x="10" y="8"/>
                      <a:pt x="10" y="8"/>
                    </a:cubicBezTo>
                    <a:cubicBezTo>
                      <a:pt x="10" y="8"/>
                      <a:pt x="10" y="8"/>
                      <a:pt x="10" y="8"/>
                    </a:cubicBezTo>
                    <a:cubicBezTo>
                      <a:pt x="10" y="8"/>
                      <a:pt x="10" y="8"/>
                      <a:pt x="10" y="8"/>
                    </a:cubicBezTo>
                    <a:cubicBezTo>
                      <a:pt x="11" y="8"/>
                      <a:pt x="11" y="8"/>
                      <a:pt x="11" y="7"/>
                    </a:cubicBezTo>
                    <a:cubicBezTo>
                      <a:pt x="10" y="4"/>
                      <a:pt x="8"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16"/>
              <p:cNvSpPr/>
              <p:nvPr/>
            </p:nvSpPr>
            <p:spPr bwMode="auto">
              <a:xfrm>
                <a:off x="1214" y="1592"/>
                <a:ext cx="19" cy="31"/>
              </a:xfrm>
              <a:custGeom>
                <a:gdLst>
                  <a:gd name="T0" fmla="*/ 7 w 8"/>
                  <a:gd name="T1" fmla="*/ 0 h 13"/>
                  <a:gd name="T2" fmla="*/ 0 w 8"/>
                  <a:gd name="T3" fmla="*/ 5 h 13"/>
                  <a:gd name="T4" fmla="*/ 2 w 8"/>
                  <a:gd name="T5" fmla="*/ 8 h 13"/>
                  <a:gd name="T6" fmla="*/ 0 w 8"/>
                  <a:gd name="T7" fmla="*/ 13 h 13"/>
                  <a:gd name="T8" fmla="*/ 4 w 8"/>
                  <a:gd name="T9" fmla="*/ 7 h 13"/>
                  <a:gd name="T10" fmla="*/ 6 w 8"/>
                  <a:gd name="T11" fmla="*/ 5 h 13"/>
                  <a:gd name="T12" fmla="*/ 6 w 8"/>
                  <a:gd name="T13" fmla="*/ 4 h 13"/>
                  <a:gd name="T14" fmla="*/ 7 w 8"/>
                  <a:gd name="T15" fmla="*/ 5 h 13"/>
                  <a:gd name="T16" fmla="*/ 8 w 8"/>
                  <a:gd name="T17" fmla="*/ 3 h 13"/>
                  <a:gd name="T18" fmla="*/ 8 w 8"/>
                  <a:gd name="T19" fmla="*/ 0 h 13"/>
                  <a:gd name="T20" fmla="*/ 7 w 8"/>
                  <a:gd name="T21"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7" y="0"/>
                    </a:moveTo>
                    <a:cubicBezTo>
                      <a:pt x="6" y="0"/>
                      <a:pt x="1" y="3"/>
                      <a:pt x="0" y="5"/>
                    </a:cubicBezTo>
                    <a:cubicBezTo>
                      <a:pt x="0" y="5"/>
                      <a:pt x="2" y="7"/>
                      <a:pt x="2" y="8"/>
                    </a:cubicBezTo>
                    <a:cubicBezTo>
                      <a:pt x="2" y="9"/>
                      <a:pt x="0" y="11"/>
                      <a:pt x="0" y="13"/>
                    </a:cubicBezTo>
                    <a:cubicBezTo>
                      <a:pt x="1" y="10"/>
                      <a:pt x="2" y="9"/>
                      <a:pt x="4" y="7"/>
                    </a:cubicBezTo>
                    <a:cubicBezTo>
                      <a:pt x="4" y="7"/>
                      <a:pt x="6" y="6"/>
                      <a:pt x="6" y="5"/>
                    </a:cubicBezTo>
                    <a:cubicBezTo>
                      <a:pt x="5" y="5"/>
                      <a:pt x="5" y="4"/>
                      <a:pt x="6" y="4"/>
                    </a:cubicBezTo>
                    <a:cubicBezTo>
                      <a:pt x="6" y="4"/>
                      <a:pt x="7" y="5"/>
                      <a:pt x="7" y="5"/>
                    </a:cubicBezTo>
                    <a:cubicBezTo>
                      <a:pt x="7" y="5"/>
                      <a:pt x="8" y="4"/>
                      <a:pt x="8" y="3"/>
                    </a:cubicBezTo>
                    <a:cubicBezTo>
                      <a:pt x="8" y="3"/>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17"/>
              <p:cNvSpPr/>
              <p:nvPr/>
            </p:nvSpPr>
            <p:spPr bwMode="auto">
              <a:xfrm>
                <a:off x="795" y="1687"/>
                <a:ext cx="88" cy="57"/>
              </a:xfrm>
              <a:custGeom>
                <a:gdLst>
                  <a:gd name="T0" fmla="*/ 26 w 37"/>
                  <a:gd name="T1" fmla="*/ 0 h 24"/>
                  <a:gd name="T2" fmla="*/ 20 w 37"/>
                  <a:gd name="T3" fmla="*/ 1 h 24"/>
                  <a:gd name="T4" fmla="*/ 18 w 37"/>
                  <a:gd name="T5" fmla="*/ 6 h 24"/>
                  <a:gd name="T6" fmla="*/ 18 w 37"/>
                  <a:gd name="T7" fmla="*/ 8 h 24"/>
                  <a:gd name="T8" fmla="*/ 19 w 37"/>
                  <a:gd name="T9" fmla="*/ 8 h 24"/>
                  <a:gd name="T10" fmla="*/ 19 w 37"/>
                  <a:gd name="T11" fmla="*/ 8 h 24"/>
                  <a:gd name="T12" fmla="*/ 20 w 37"/>
                  <a:gd name="T13" fmla="*/ 8 h 24"/>
                  <a:gd name="T14" fmla="*/ 26 w 37"/>
                  <a:gd name="T15" fmla="*/ 9 h 24"/>
                  <a:gd name="T16" fmla="*/ 17 w 37"/>
                  <a:gd name="T17" fmla="*/ 15 h 24"/>
                  <a:gd name="T18" fmla="*/ 19 w 37"/>
                  <a:gd name="T19" fmla="*/ 15 h 24"/>
                  <a:gd name="T20" fmla="*/ 20 w 37"/>
                  <a:gd name="T21" fmla="*/ 15 h 24"/>
                  <a:gd name="T22" fmla="*/ 0 w 37"/>
                  <a:gd name="T23" fmla="*/ 22 h 24"/>
                  <a:gd name="T24" fmla="*/ 4 w 37"/>
                  <a:gd name="T25" fmla="*/ 24 h 24"/>
                  <a:gd name="T26" fmla="*/ 5 w 37"/>
                  <a:gd name="T27" fmla="*/ 24 h 24"/>
                  <a:gd name="T28" fmla="*/ 6 w 37"/>
                  <a:gd name="T29" fmla="*/ 24 h 24"/>
                  <a:gd name="T30" fmla="*/ 6 w 37"/>
                  <a:gd name="T31" fmla="*/ 24 h 24"/>
                  <a:gd name="T32" fmla="*/ 7 w 37"/>
                  <a:gd name="T33" fmla="*/ 24 h 24"/>
                  <a:gd name="T34" fmla="*/ 9 w 37"/>
                  <a:gd name="T35" fmla="*/ 22 h 24"/>
                  <a:gd name="T36" fmla="*/ 12 w 37"/>
                  <a:gd name="T37" fmla="*/ 21 h 24"/>
                  <a:gd name="T38" fmla="*/ 19 w 37"/>
                  <a:gd name="T39" fmla="*/ 18 h 24"/>
                  <a:gd name="T40" fmla="*/ 20 w 37"/>
                  <a:gd name="T41" fmla="*/ 18 h 24"/>
                  <a:gd name="T42" fmla="*/ 20 w 37"/>
                  <a:gd name="T43" fmla="*/ 17 h 24"/>
                  <a:gd name="T44" fmla="*/ 21 w 37"/>
                  <a:gd name="T45" fmla="*/ 18 h 24"/>
                  <a:gd name="T46" fmla="*/ 22 w 37"/>
                  <a:gd name="T47" fmla="*/ 17 h 24"/>
                  <a:gd name="T48" fmla="*/ 22 w 37"/>
                  <a:gd name="T49" fmla="*/ 17 h 24"/>
                  <a:gd name="T50" fmla="*/ 22 w 37"/>
                  <a:gd name="T51" fmla="*/ 18 h 24"/>
                  <a:gd name="T52" fmla="*/ 23 w 37"/>
                  <a:gd name="T53" fmla="*/ 18 h 24"/>
                  <a:gd name="T54" fmla="*/ 23 w 37"/>
                  <a:gd name="T55" fmla="*/ 18 h 24"/>
                  <a:gd name="T56" fmla="*/ 24 w 37"/>
                  <a:gd name="T57" fmla="*/ 15 h 24"/>
                  <a:gd name="T58" fmla="*/ 26 w 37"/>
                  <a:gd name="T59" fmla="*/ 16 h 24"/>
                  <a:gd name="T60" fmla="*/ 28 w 37"/>
                  <a:gd name="T61" fmla="*/ 14 h 24"/>
                  <a:gd name="T62" fmla="*/ 29 w 37"/>
                  <a:gd name="T63" fmla="*/ 15 h 24"/>
                  <a:gd name="T64" fmla="*/ 29 w 37"/>
                  <a:gd name="T65" fmla="*/ 13 h 24"/>
                  <a:gd name="T66" fmla="*/ 30 w 37"/>
                  <a:gd name="T67" fmla="*/ 14 h 24"/>
                  <a:gd name="T68" fmla="*/ 34 w 37"/>
                  <a:gd name="T69" fmla="*/ 11 h 24"/>
                  <a:gd name="T70" fmla="*/ 36 w 37"/>
                  <a:gd name="T71" fmla="*/ 10 h 24"/>
                  <a:gd name="T72" fmla="*/ 29 w 37"/>
                  <a:gd name="T73" fmla="*/ 9 h 24"/>
                  <a:gd name="T74" fmla="*/ 31 w 37"/>
                  <a:gd name="T75" fmla="*/ 8 h 24"/>
                  <a:gd name="T76" fmla="*/ 30 w 37"/>
                  <a:gd name="T77" fmla="*/ 7 h 24"/>
                  <a:gd name="T78" fmla="*/ 35 w 37"/>
                  <a:gd name="T79" fmla="*/ 4 h 24"/>
                  <a:gd name="T80" fmla="*/ 35 w 37"/>
                  <a:gd name="T81" fmla="*/ 4 h 24"/>
                  <a:gd name="T82" fmla="*/ 35 w 37"/>
                  <a:gd name="T83" fmla="*/ 4 h 24"/>
                  <a:gd name="T84" fmla="*/ 36 w 37"/>
                  <a:gd name="T85" fmla="*/ 4 h 24"/>
                  <a:gd name="T86" fmla="*/ 37 w 37"/>
                  <a:gd name="T87" fmla="*/ 4 h 24"/>
                  <a:gd name="T88" fmla="*/ 34 w 37"/>
                  <a:gd name="T89" fmla="*/ 0 h 24"/>
                  <a:gd name="T90" fmla="*/ 34 w 37"/>
                  <a:gd name="T91" fmla="*/ 0 h 24"/>
                  <a:gd name="T92" fmla="*/ 28 w 37"/>
                  <a:gd name="T93" fmla="*/ 4 h 24"/>
                  <a:gd name="T94" fmla="*/ 26 w 37"/>
                  <a:gd name="T95" fmla="*/ 0 h 24"/>
                  <a:gd name="T96" fmla="*/ 26 w 37"/>
                  <a:gd name="T97"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 h="24">
                    <a:moveTo>
                      <a:pt x="26" y="0"/>
                    </a:moveTo>
                    <a:cubicBezTo>
                      <a:pt x="24" y="0"/>
                      <a:pt x="22" y="1"/>
                      <a:pt x="20" y="1"/>
                    </a:cubicBezTo>
                    <a:cubicBezTo>
                      <a:pt x="19" y="2"/>
                      <a:pt x="18" y="3"/>
                      <a:pt x="18" y="6"/>
                    </a:cubicBezTo>
                    <a:cubicBezTo>
                      <a:pt x="18" y="8"/>
                      <a:pt x="18" y="8"/>
                      <a:pt x="18" y="8"/>
                    </a:cubicBezTo>
                    <a:cubicBezTo>
                      <a:pt x="18" y="8"/>
                      <a:pt x="18" y="8"/>
                      <a:pt x="19" y="8"/>
                    </a:cubicBezTo>
                    <a:cubicBezTo>
                      <a:pt x="19" y="8"/>
                      <a:pt x="19" y="8"/>
                      <a:pt x="19" y="8"/>
                    </a:cubicBezTo>
                    <a:cubicBezTo>
                      <a:pt x="19" y="8"/>
                      <a:pt x="19" y="8"/>
                      <a:pt x="20" y="8"/>
                    </a:cubicBezTo>
                    <a:cubicBezTo>
                      <a:pt x="21" y="9"/>
                      <a:pt x="24" y="9"/>
                      <a:pt x="26" y="9"/>
                    </a:cubicBezTo>
                    <a:cubicBezTo>
                      <a:pt x="20" y="10"/>
                      <a:pt x="17" y="8"/>
                      <a:pt x="17" y="15"/>
                    </a:cubicBezTo>
                    <a:cubicBezTo>
                      <a:pt x="18" y="15"/>
                      <a:pt x="18" y="15"/>
                      <a:pt x="19" y="15"/>
                    </a:cubicBezTo>
                    <a:cubicBezTo>
                      <a:pt x="19" y="15"/>
                      <a:pt x="20" y="15"/>
                      <a:pt x="20" y="15"/>
                    </a:cubicBezTo>
                    <a:cubicBezTo>
                      <a:pt x="13" y="18"/>
                      <a:pt x="6" y="18"/>
                      <a:pt x="0" y="22"/>
                    </a:cubicBezTo>
                    <a:cubicBezTo>
                      <a:pt x="1" y="23"/>
                      <a:pt x="2" y="23"/>
                      <a:pt x="4" y="24"/>
                    </a:cubicBezTo>
                    <a:cubicBezTo>
                      <a:pt x="4" y="24"/>
                      <a:pt x="4" y="24"/>
                      <a:pt x="5" y="24"/>
                    </a:cubicBezTo>
                    <a:cubicBezTo>
                      <a:pt x="5" y="24"/>
                      <a:pt x="5" y="24"/>
                      <a:pt x="6" y="24"/>
                    </a:cubicBezTo>
                    <a:cubicBezTo>
                      <a:pt x="6" y="24"/>
                      <a:pt x="6" y="24"/>
                      <a:pt x="6" y="24"/>
                    </a:cubicBezTo>
                    <a:cubicBezTo>
                      <a:pt x="7" y="24"/>
                      <a:pt x="7" y="24"/>
                      <a:pt x="7" y="24"/>
                    </a:cubicBezTo>
                    <a:cubicBezTo>
                      <a:pt x="8" y="24"/>
                      <a:pt x="8" y="22"/>
                      <a:pt x="9" y="22"/>
                    </a:cubicBezTo>
                    <a:cubicBezTo>
                      <a:pt x="10" y="21"/>
                      <a:pt x="11" y="21"/>
                      <a:pt x="12" y="21"/>
                    </a:cubicBezTo>
                    <a:cubicBezTo>
                      <a:pt x="14" y="20"/>
                      <a:pt x="17" y="18"/>
                      <a:pt x="19" y="18"/>
                    </a:cubicBezTo>
                    <a:cubicBezTo>
                      <a:pt x="19" y="18"/>
                      <a:pt x="20" y="18"/>
                      <a:pt x="20" y="18"/>
                    </a:cubicBezTo>
                    <a:cubicBezTo>
                      <a:pt x="20" y="17"/>
                      <a:pt x="20" y="17"/>
                      <a:pt x="20" y="17"/>
                    </a:cubicBezTo>
                    <a:cubicBezTo>
                      <a:pt x="21" y="18"/>
                      <a:pt x="21" y="18"/>
                      <a:pt x="21" y="18"/>
                    </a:cubicBezTo>
                    <a:cubicBezTo>
                      <a:pt x="21" y="18"/>
                      <a:pt x="21" y="17"/>
                      <a:pt x="22" y="17"/>
                    </a:cubicBezTo>
                    <a:cubicBezTo>
                      <a:pt x="22" y="17"/>
                      <a:pt x="22" y="17"/>
                      <a:pt x="22" y="17"/>
                    </a:cubicBezTo>
                    <a:cubicBezTo>
                      <a:pt x="22" y="17"/>
                      <a:pt x="22" y="17"/>
                      <a:pt x="22" y="18"/>
                    </a:cubicBezTo>
                    <a:cubicBezTo>
                      <a:pt x="23" y="18"/>
                      <a:pt x="23" y="18"/>
                      <a:pt x="23" y="18"/>
                    </a:cubicBezTo>
                    <a:cubicBezTo>
                      <a:pt x="23" y="18"/>
                      <a:pt x="23" y="18"/>
                      <a:pt x="23" y="18"/>
                    </a:cubicBezTo>
                    <a:cubicBezTo>
                      <a:pt x="25" y="18"/>
                      <a:pt x="25" y="18"/>
                      <a:pt x="24" y="15"/>
                    </a:cubicBezTo>
                    <a:cubicBezTo>
                      <a:pt x="25" y="16"/>
                      <a:pt x="26" y="16"/>
                      <a:pt x="26" y="16"/>
                    </a:cubicBezTo>
                    <a:cubicBezTo>
                      <a:pt x="27" y="16"/>
                      <a:pt x="28" y="16"/>
                      <a:pt x="28" y="14"/>
                    </a:cubicBezTo>
                    <a:cubicBezTo>
                      <a:pt x="28" y="14"/>
                      <a:pt x="28" y="15"/>
                      <a:pt x="29" y="15"/>
                    </a:cubicBezTo>
                    <a:cubicBezTo>
                      <a:pt x="29" y="14"/>
                      <a:pt x="29" y="13"/>
                      <a:pt x="29" y="13"/>
                    </a:cubicBezTo>
                    <a:cubicBezTo>
                      <a:pt x="30" y="13"/>
                      <a:pt x="30" y="13"/>
                      <a:pt x="30" y="14"/>
                    </a:cubicBezTo>
                    <a:cubicBezTo>
                      <a:pt x="30" y="11"/>
                      <a:pt x="33" y="12"/>
                      <a:pt x="34" y="11"/>
                    </a:cubicBezTo>
                    <a:cubicBezTo>
                      <a:pt x="34" y="11"/>
                      <a:pt x="36" y="11"/>
                      <a:pt x="36" y="10"/>
                    </a:cubicBezTo>
                    <a:cubicBezTo>
                      <a:pt x="36" y="9"/>
                      <a:pt x="30" y="9"/>
                      <a:pt x="29" y="9"/>
                    </a:cubicBezTo>
                    <a:cubicBezTo>
                      <a:pt x="30" y="8"/>
                      <a:pt x="30" y="8"/>
                      <a:pt x="31" y="8"/>
                    </a:cubicBezTo>
                    <a:cubicBezTo>
                      <a:pt x="30" y="7"/>
                      <a:pt x="30" y="7"/>
                      <a:pt x="30" y="7"/>
                    </a:cubicBezTo>
                    <a:cubicBezTo>
                      <a:pt x="31" y="6"/>
                      <a:pt x="34" y="5"/>
                      <a:pt x="35" y="4"/>
                    </a:cubicBezTo>
                    <a:cubicBezTo>
                      <a:pt x="35" y="4"/>
                      <a:pt x="35" y="4"/>
                      <a:pt x="35" y="4"/>
                    </a:cubicBezTo>
                    <a:cubicBezTo>
                      <a:pt x="35" y="4"/>
                      <a:pt x="35" y="4"/>
                      <a:pt x="35" y="4"/>
                    </a:cubicBezTo>
                    <a:cubicBezTo>
                      <a:pt x="36" y="4"/>
                      <a:pt x="36" y="4"/>
                      <a:pt x="36" y="4"/>
                    </a:cubicBezTo>
                    <a:cubicBezTo>
                      <a:pt x="37" y="4"/>
                      <a:pt x="37" y="4"/>
                      <a:pt x="37" y="4"/>
                    </a:cubicBezTo>
                    <a:cubicBezTo>
                      <a:pt x="37" y="3"/>
                      <a:pt x="34" y="0"/>
                      <a:pt x="34" y="0"/>
                    </a:cubicBezTo>
                    <a:cubicBezTo>
                      <a:pt x="34" y="0"/>
                      <a:pt x="34" y="0"/>
                      <a:pt x="34" y="0"/>
                    </a:cubicBezTo>
                    <a:cubicBezTo>
                      <a:pt x="32" y="0"/>
                      <a:pt x="29" y="3"/>
                      <a:pt x="28" y="4"/>
                    </a:cubicBezTo>
                    <a:cubicBezTo>
                      <a:pt x="27" y="1"/>
                      <a:pt x="29" y="1"/>
                      <a:pt x="26" y="0"/>
                    </a:cubicBez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18"/>
              <p:cNvSpPr>
                <a:spLocks noEditPoints="1"/>
              </p:cNvSpPr>
              <p:nvPr/>
            </p:nvSpPr>
            <p:spPr bwMode="auto">
              <a:xfrm>
                <a:off x="888" y="1673"/>
                <a:ext cx="26" cy="11"/>
              </a:xfrm>
              <a:custGeom>
                <a:gdLst>
                  <a:gd name="T0" fmla="*/ 6 w 11"/>
                  <a:gd name="T1" fmla="*/ 0 h 5"/>
                  <a:gd name="T2" fmla="*/ 6 w 11"/>
                  <a:gd name="T3" fmla="*/ 0 h 5"/>
                  <a:gd name="T4" fmla="*/ 6 w 11"/>
                  <a:gd name="T5" fmla="*/ 0 h 5"/>
                  <a:gd name="T6" fmla="*/ 4 w 11"/>
                  <a:gd name="T7" fmla="*/ 0 h 5"/>
                  <a:gd name="T8" fmla="*/ 2 w 11"/>
                  <a:gd name="T9" fmla="*/ 1 h 5"/>
                  <a:gd name="T10" fmla="*/ 6 w 11"/>
                  <a:gd name="T11" fmla="*/ 5 h 5"/>
                  <a:gd name="T12" fmla="*/ 11 w 11"/>
                  <a:gd name="T13" fmla="*/ 3 h 5"/>
                  <a:gd name="T14" fmla="*/ 8 w 11"/>
                  <a:gd name="T15" fmla="*/ 1 h 5"/>
                  <a:gd name="T16" fmla="*/ 6 w 11"/>
                  <a:gd name="T17" fmla="*/ 0 h 5"/>
                  <a:gd name="T18" fmla="*/ 6 w 11"/>
                  <a:gd name="T19" fmla="*/ 0 h 5"/>
                  <a:gd name="T20" fmla="*/ 4 w 11"/>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5">
                    <a:moveTo>
                      <a:pt x="6" y="0"/>
                    </a:moveTo>
                    <a:cubicBezTo>
                      <a:pt x="6" y="0"/>
                      <a:pt x="6" y="0"/>
                      <a:pt x="6" y="0"/>
                    </a:cubicBezTo>
                    <a:cubicBezTo>
                      <a:pt x="6" y="0"/>
                      <a:pt x="6" y="0"/>
                      <a:pt x="6" y="0"/>
                    </a:cubicBezTo>
                    <a:moveTo>
                      <a:pt x="4" y="0"/>
                    </a:moveTo>
                    <a:cubicBezTo>
                      <a:pt x="3" y="0"/>
                      <a:pt x="2" y="0"/>
                      <a:pt x="2" y="1"/>
                    </a:cubicBezTo>
                    <a:cubicBezTo>
                      <a:pt x="0" y="3"/>
                      <a:pt x="3" y="4"/>
                      <a:pt x="6" y="5"/>
                    </a:cubicBezTo>
                    <a:cubicBezTo>
                      <a:pt x="6" y="5"/>
                      <a:pt x="11" y="4"/>
                      <a:pt x="11" y="3"/>
                    </a:cubicBezTo>
                    <a:cubicBezTo>
                      <a:pt x="11" y="2"/>
                      <a:pt x="9" y="2"/>
                      <a:pt x="8" y="1"/>
                    </a:cubicBezTo>
                    <a:cubicBezTo>
                      <a:pt x="8" y="1"/>
                      <a:pt x="6" y="0"/>
                      <a:pt x="6" y="0"/>
                    </a:cubicBezTo>
                    <a:cubicBezTo>
                      <a:pt x="6" y="0"/>
                      <a:pt x="6" y="0"/>
                      <a:pt x="6"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19"/>
              <p:cNvSpPr/>
              <p:nvPr/>
            </p:nvSpPr>
            <p:spPr bwMode="auto">
              <a:xfrm>
                <a:off x="1074" y="1651"/>
                <a:ext cx="10" cy="10"/>
              </a:xfrm>
              <a:custGeom>
                <a:gdLst>
                  <a:gd name="T0" fmla="*/ 0 w 4"/>
                  <a:gd name="T1" fmla="*/ 0 h 4"/>
                  <a:gd name="T2" fmla="*/ 3 w 4"/>
                  <a:gd name="T3" fmla="*/ 4 h 4"/>
                  <a:gd name="T4" fmla="*/ 4 w 4"/>
                  <a:gd name="T5" fmla="*/ 3 h 4"/>
                  <a:gd name="T6" fmla="*/ 0 w 4"/>
                  <a:gd name="T7" fmla="*/ 0 h 4"/>
                </a:gdLst>
                <a:cxnLst>
                  <a:cxn ang="0">
                    <a:pos x="T0" y="T1"/>
                  </a:cxn>
                  <a:cxn ang="0">
                    <a:pos x="T2" y="T3"/>
                  </a:cxn>
                  <a:cxn ang="0">
                    <a:pos x="T4" y="T5"/>
                  </a:cxn>
                  <a:cxn ang="0">
                    <a:pos x="T6" y="T7"/>
                  </a:cxn>
                </a:cxnLst>
                <a:rect l="0" t="0" r="r" b="b"/>
                <a:pathLst>
                  <a:path w="4" h="4">
                    <a:moveTo>
                      <a:pt x="0" y="0"/>
                    </a:moveTo>
                    <a:cubicBezTo>
                      <a:pt x="0" y="2"/>
                      <a:pt x="1" y="4"/>
                      <a:pt x="3" y="4"/>
                    </a:cubicBezTo>
                    <a:cubicBezTo>
                      <a:pt x="3" y="4"/>
                      <a:pt x="4"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20"/>
              <p:cNvSpPr/>
              <p:nvPr/>
            </p:nvSpPr>
            <p:spPr bwMode="auto">
              <a:xfrm>
                <a:off x="2706" y="1472"/>
                <a:ext cx="26" cy="26"/>
              </a:xfrm>
              <a:custGeom>
                <a:gdLst>
                  <a:gd name="T0" fmla="*/ 2 w 11"/>
                  <a:gd name="T1" fmla="*/ 0 h 11"/>
                  <a:gd name="T2" fmla="*/ 2 w 11"/>
                  <a:gd name="T3" fmla="*/ 6 h 11"/>
                  <a:gd name="T4" fmla="*/ 1 w 11"/>
                  <a:gd name="T5" fmla="*/ 10 h 11"/>
                  <a:gd name="T6" fmla="*/ 3 w 11"/>
                  <a:gd name="T7" fmla="*/ 11 h 11"/>
                  <a:gd name="T8" fmla="*/ 8 w 11"/>
                  <a:gd name="T9" fmla="*/ 9 h 11"/>
                  <a:gd name="T10" fmla="*/ 10 w 11"/>
                  <a:gd name="T11" fmla="*/ 8 h 11"/>
                  <a:gd name="T12" fmla="*/ 4 w 11"/>
                  <a:gd name="T13" fmla="*/ 1 h 11"/>
                  <a:gd name="T14" fmla="*/ 2 w 11"/>
                  <a:gd name="T15" fmla="*/ 0 h 1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2" y="0"/>
                    </a:moveTo>
                    <a:cubicBezTo>
                      <a:pt x="0" y="0"/>
                      <a:pt x="3" y="4"/>
                      <a:pt x="2" y="6"/>
                    </a:cubicBezTo>
                    <a:cubicBezTo>
                      <a:pt x="2" y="6"/>
                      <a:pt x="0" y="8"/>
                      <a:pt x="1" y="10"/>
                    </a:cubicBezTo>
                    <a:cubicBezTo>
                      <a:pt x="2" y="11"/>
                      <a:pt x="3" y="11"/>
                      <a:pt x="3" y="11"/>
                    </a:cubicBezTo>
                    <a:cubicBezTo>
                      <a:pt x="5" y="11"/>
                      <a:pt x="7" y="10"/>
                      <a:pt x="8" y="9"/>
                    </a:cubicBezTo>
                    <a:cubicBezTo>
                      <a:pt x="8" y="9"/>
                      <a:pt x="10" y="9"/>
                      <a:pt x="10" y="8"/>
                    </a:cubicBezTo>
                    <a:cubicBezTo>
                      <a:pt x="11" y="7"/>
                      <a:pt x="5" y="2"/>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21"/>
              <p:cNvSpPr/>
              <p:nvPr/>
            </p:nvSpPr>
            <p:spPr bwMode="auto">
              <a:xfrm>
                <a:off x="2649" y="1450"/>
                <a:ext cx="62" cy="52"/>
              </a:xfrm>
              <a:custGeom>
                <a:gdLst>
                  <a:gd name="T0" fmla="*/ 4 w 26"/>
                  <a:gd name="T1" fmla="*/ 0 h 22"/>
                  <a:gd name="T2" fmla="*/ 1 w 26"/>
                  <a:gd name="T3" fmla="*/ 3 h 22"/>
                  <a:gd name="T4" fmla="*/ 6 w 26"/>
                  <a:gd name="T5" fmla="*/ 7 h 22"/>
                  <a:gd name="T6" fmla="*/ 6 w 26"/>
                  <a:gd name="T7" fmla="*/ 7 h 22"/>
                  <a:gd name="T8" fmla="*/ 5 w 26"/>
                  <a:gd name="T9" fmla="*/ 7 h 22"/>
                  <a:gd name="T10" fmla="*/ 4 w 26"/>
                  <a:gd name="T11" fmla="*/ 7 h 22"/>
                  <a:gd name="T12" fmla="*/ 3 w 26"/>
                  <a:gd name="T13" fmla="*/ 7 h 22"/>
                  <a:gd name="T14" fmla="*/ 6 w 26"/>
                  <a:gd name="T15" fmla="*/ 8 h 22"/>
                  <a:gd name="T16" fmla="*/ 8 w 26"/>
                  <a:gd name="T17" fmla="*/ 8 h 22"/>
                  <a:gd name="T18" fmla="*/ 8 w 26"/>
                  <a:gd name="T19" fmla="*/ 13 h 22"/>
                  <a:gd name="T20" fmla="*/ 8 w 26"/>
                  <a:gd name="T21" fmla="*/ 17 h 22"/>
                  <a:gd name="T22" fmla="*/ 11 w 26"/>
                  <a:gd name="T23" fmla="*/ 22 h 22"/>
                  <a:gd name="T24" fmla="*/ 22 w 26"/>
                  <a:gd name="T25" fmla="*/ 17 h 22"/>
                  <a:gd name="T26" fmla="*/ 19 w 26"/>
                  <a:gd name="T27" fmla="*/ 15 h 22"/>
                  <a:gd name="T28" fmla="*/ 19 w 26"/>
                  <a:gd name="T29" fmla="*/ 15 h 22"/>
                  <a:gd name="T30" fmla="*/ 16 w 26"/>
                  <a:gd name="T31" fmla="*/ 8 h 22"/>
                  <a:gd name="T32" fmla="*/ 19 w 26"/>
                  <a:gd name="T33" fmla="*/ 10 h 22"/>
                  <a:gd name="T34" fmla="*/ 20 w 26"/>
                  <a:gd name="T35" fmla="*/ 12 h 22"/>
                  <a:gd name="T36" fmla="*/ 25 w 26"/>
                  <a:gd name="T37" fmla="*/ 15 h 22"/>
                  <a:gd name="T38" fmla="*/ 25 w 26"/>
                  <a:gd name="T39" fmla="*/ 15 h 22"/>
                  <a:gd name="T40" fmla="*/ 25 w 26"/>
                  <a:gd name="T41" fmla="*/ 13 h 22"/>
                  <a:gd name="T42" fmla="*/ 18 w 26"/>
                  <a:gd name="T43" fmla="*/ 3 h 22"/>
                  <a:gd name="T44" fmla="*/ 18 w 26"/>
                  <a:gd name="T45" fmla="*/ 3 h 22"/>
                  <a:gd name="T46" fmla="*/ 18 w 26"/>
                  <a:gd name="T47" fmla="*/ 5 h 22"/>
                  <a:gd name="T48" fmla="*/ 6 w 26"/>
                  <a:gd name="T49" fmla="*/ 1 h 22"/>
                  <a:gd name="T50" fmla="*/ 4 w 26"/>
                  <a:gd name="T51"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4" y="0"/>
                    </a:moveTo>
                    <a:cubicBezTo>
                      <a:pt x="2" y="0"/>
                      <a:pt x="0" y="1"/>
                      <a:pt x="1" y="3"/>
                    </a:cubicBezTo>
                    <a:cubicBezTo>
                      <a:pt x="2" y="4"/>
                      <a:pt x="5" y="6"/>
                      <a:pt x="6" y="7"/>
                    </a:cubicBezTo>
                    <a:cubicBezTo>
                      <a:pt x="6" y="7"/>
                      <a:pt x="6" y="7"/>
                      <a:pt x="6" y="7"/>
                    </a:cubicBezTo>
                    <a:cubicBezTo>
                      <a:pt x="6" y="7"/>
                      <a:pt x="5" y="7"/>
                      <a:pt x="5" y="7"/>
                    </a:cubicBezTo>
                    <a:cubicBezTo>
                      <a:pt x="5" y="7"/>
                      <a:pt x="4" y="7"/>
                      <a:pt x="4" y="7"/>
                    </a:cubicBezTo>
                    <a:cubicBezTo>
                      <a:pt x="4" y="7"/>
                      <a:pt x="4" y="7"/>
                      <a:pt x="3" y="7"/>
                    </a:cubicBezTo>
                    <a:cubicBezTo>
                      <a:pt x="5" y="8"/>
                      <a:pt x="5" y="8"/>
                      <a:pt x="6" y="8"/>
                    </a:cubicBezTo>
                    <a:cubicBezTo>
                      <a:pt x="7" y="8"/>
                      <a:pt x="7" y="8"/>
                      <a:pt x="8" y="8"/>
                    </a:cubicBezTo>
                    <a:cubicBezTo>
                      <a:pt x="8" y="10"/>
                      <a:pt x="8" y="11"/>
                      <a:pt x="8" y="13"/>
                    </a:cubicBezTo>
                    <a:cubicBezTo>
                      <a:pt x="8" y="14"/>
                      <a:pt x="9" y="16"/>
                      <a:pt x="8" y="17"/>
                    </a:cubicBezTo>
                    <a:cubicBezTo>
                      <a:pt x="9" y="18"/>
                      <a:pt x="9" y="20"/>
                      <a:pt x="11" y="22"/>
                    </a:cubicBezTo>
                    <a:cubicBezTo>
                      <a:pt x="13" y="21"/>
                      <a:pt x="22" y="20"/>
                      <a:pt x="22" y="17"/>
                    </a:cubicBezTo>
                    <a:cubicBezTo>
                      <a:pt x="22" y="16"/>
                      <a:pt x="21" y="15"/>
                      <a:pt x="19" y="15"/>
                    </a:cubicBezTo>
                    <a:cubicBezTo>
                      <a:pt x="19" y="15"/>
                      <a:pt x="19" y="15"/>
                      <a:pt x="19" y="15"/>
                    </a:cubicBezTo>
                    <a:cubicBezTo>
                      <a:pt x="20" y="11"/>
                      <a:pt x="16" y="12"/>
                      <a:pt x="16" y="8"/>
                    </a:cubicBezTo>
                    <a:cubicBezTo>
                      <a:pt x="17" y="9"/>
                      <a:pt x="18" y="9"/>
                      <a:pt x="19" y="10"/>
                    </a:cubicBezTo>
                    <a:cubicBezTo>
                      <a:pt x="19" y="11"/>
                      <a:pt x="19" y="12"/>
                      <a:pt x="20" y="12"/>
                    </a:cubicBezTo>
                    <a:cubicBezTo>
                      <a:pt x="21" y="14"/>
                      <a:pt x="23" y="15"/>
                      <a:pt x="25" y="15"/>
                    </a:cubicBezTo>
                    <a:cubicBezTo>
                      <a:pt x="25" y="15"/>
                      <a:pt x="25" y="15"/>
                      <a:pt x="25" y="15"/>
                    </a:cubicBezTo>
                    <a:cubicBezTo>
                      <a:pt x="26" y="15"/>
                      <a:pt x="25" y="14"/>
                      <a:pt x="25" y="13"/>
                    </a:cubicBezTo>
                    <a:cubicBezTo>
                      <a:pt x="25" y="7"/>
                      <a:pt x="24" y="3"/>
                      <a:pt x="18" y="3"/>
                    </a:cubicBezTo>
                    <a:cubicBezTo>
                      <a:pt x="18" y="3"/>
                      <a:pt x="18" y="3"/>
                      <a:pt x="18" y="3"/>
                    </a:cubicBezTo>
                    <a:cubicBezTo>
                      <a:pt x="18" y="4"/>
                      <a:pt x="18" y="5"/>
                      <a:pt x="18" y="5"/>
                    </a:cubicBezTo>
                    <a:cubicBezTo>
                      <a:pt x="15" y="2"/>
                      <a:pt x="10" y="1"/>
                      <a:pt x="6"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22"/>
              <p:cNvSpPr/>
              <p:nvPr/>
            </p:nvSpPr>
            <p:spPr bwMode="auto">
              <a:xfrm>
                <a:off x="2559" y="1415"/>
                <a:ext cx="57" cy="106"/>
              </a:xfrm>
              <a:custGeom>
                <a:gdLst>
                  <a:gd name="T0" fmla="*/ 7 w 24"/>
                  <a:gd name="T1" fmla="*/ 0 h 45"/>
                  <a:gd name="T2" fmla="*/ 4 w 24"/>
                  <a:gd name="T3" fmla="*/ 1 h 45"/>
                  <a:gd name="T4" fmla="*/ 4 w 24"/>
                  <a:gd name="T5" fmla="*/ 3 h 45"/>
                  <a:gd name="T6" fmla="*/ 4 w 24"/>
                  <a:gd name="T7" fmla="*/ 6 h 45"/>
                  <a:gd name="T8" fmla="*/ 4 w 24"/>
                  <a:gd name="T9" fmla="*/ 6 h 45"/>
                  <a:gd name="T10" fmla="*/ 3 w 24"/>
                  <a:gd name="T11" fmla="*/ 6 h 45"/>
                  <a:gd name="T12" fmla="*/ 2 w 24"/>
                  <a:gd name="T13" fmla="*/ 6 h 45"/>
                  <a:gd name="T14" fmla="*/ 0 w 24"/>
                  <a:gd name="T15" fmla="*/ 6 h 45"/>
                  <a:gd name="T16" fmla="*/ 4 w 24"/>
                  <a:gd name="T17" fmla="*/ 10 h 45"/>
                  <a:gd name="T18" fmla="*/ 6 w 24"/>
                  <a:gd name="T19" fmla="*/ 10 h 45"/>
                  <a:gd name="T20" fmla="*/ 6 w 24"/>
                  <a:gd name="T21" fmla="*/ 10 h 45"/>
                  <a:gd name="T22" fmla="*/ 7 w 24"/>
                  <a:gd name="T23" fmla="*/ 10 h 45"/>
                  <a:gd name="T24" fmla="*/ 6 w 24"/>
                  <a:gd name="T25" fmla="*/ 13 h 45"/>
                  <a:gd name="T26" fmla="*/ 8 w 24"/>
                  <a:gd name="T27" fmla="*/ 12 h 45"/>
                  <a:gd name="T28" fmla="*/ 9 w 24"/>
                  <a:gd name="T29" fmla="*/ 17 h 45"/>
                  <a:gd name="T30" fmla="*/ 11 w 24"/>
                  <a:gd name="T31" fmla="*/ 17 h 45"/>
                  <a:gd name="T32" fmla="*/ 11 w 24"/>
                  <a:gd name="T33" fmla="*/ 17 h 45"/>
                  <a:gd name="T34" fmla="*/ 11 w 24"/>
                  <a:gd name="T35" fmla="*/ 17 h 45"/>
                  <a:gd name="T36" fmla="*/ 10 w 24"/>
                  <a:gd name="T37" fmla="*/ 18 h 45"/>
                  <a:gd name="T38" fmla="*/ 7 w 24"/>
                  <a:gd name="T39" fmla="*/ 20 h 45"/>
                  <a:gd name="T40" fmla="*/ 8 w 24"/>
                  <a:gd name="T41" fmla="*/ 21 h 45"/>
                  <a:gd name="T42" fmla="*/ 7 w 24"/>
                  <a:gd name="T43" fmla="*/ 24 h 45"/>
                  <a:gd name="T44" fmla="*/ 9 w 24"/>
                  <a:gd name="T45" fmla="*/ 25 h 45"/>
                  <a:gd name="T46" fmla="*/ 13 w 24"/>
                  <a:gd name="T47" fmla="*/ 24 h 45"/>
                  <a:gd name="T48" fmla="*/ 11 w 24"/>
                  <a:gd name="T49" fmla="*/ 28 h 45"/>
                  <a:gd name="T50" fmla="*/ 11 w 24"/>
                  <a:gd name="T51" fmla="*/ 28 h 45"/>
                  <a:gd name="T52" fmla="*/ 16 w 24"/>
                  <a:gd name="T53" fmla="*/ 26 h 45"/>
                  <a:gd name="T54" fmla="*/ 13 w 24"/>
                  <a:gd name="T55" fmla="*/ 31 h 45"/>
                  <a:gd name="T56" fmla="*/ 19 w 24"/>
                  <a:gd name="T57" fmla="*/ 29 h 45"/>
                  <a:gd name="T58" fmla="*/ 24 w 24"/>
                  <a:gd name="T59" fmla="*/ 45 h 45"/>
                  <a:gd name="T60" fmla="*/ 24 w 24"/>
                  <a:gd name="T61" fmla="*/ 42 h 45"/>
                  <a:gd name="T62" fmla="*/ 24 w 24"/>
                  <a:gd name="T63" fmla="*/ 43 h 45"/>
                  <a:gd name="T64" fmla="*/ 24 w 24"/>
                  <a:gd name="T65" fmla="*/ 41 h 45"/>
                  <a:gd name="T66" fmla="*/ 24 w 24"/>
                  <a:gd name="T67" fmla="*/ 39 h 45"/>
                  <a:gd name="T68" fmla="*/ 24 w 24"/>
                  <a:gd name="T69" fmla="*/ 34 h 45"/>
                  <a:gd name="T70" fmla="*/ 23 w 24"/>
                  <a:gd name="T71" fmla="*/ 22 h 45"/>
                  <a:gd name="T72" fmla="*/ 16 w 24"/>
                  <a:gd name="T73" fmla="*/ 5 h 45"/>
                  <a:gd name="T74" fmla="*/ 9 w 24"/>
                  <a:gd name="T75" fmla="*/ 2 h 45"/>
                  <a:gd name="T76" fmla="*/ 6 w 24"/>
                  <a:gd name="T77" fmla="*/ 3 h 45"/>
                  <a:gd name="T78" fmla="*/ 7 w 24"/>
                  <a:gd name="T79"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5">
                    <a:moveTo>
                      <a:pt x="7" y="0"/>
                    </a:moveTo>
                    <a:cubicBezTo>
                      <a:pt x="6" y="0"/>
                      <a:pt x="5" y="0"/>
                      <a:pt x="4" y="1"/>
                    </a:cubicBezTo>
                    <a:cubicBezTo>
                      <a:pt x="3" y="1"/>
                      <a:pt x="4" y="2"/>
                      <a:pt x="4" y="3"/>
                    </a:cubicBezTo>
                    <a:cubicBezTo>
                      <a:pt x="3" y="5"/>
                      <a:pt x="1" y="5"/>
                      <a:pt x="4" y="6"/>
                    </a:cubicBezTo>
                    <a:cubicBezTo>
                      <a:pt x="4" y="6"/>
                      <a:pt x="4" y="6"/>
                      <a:pt x="4" y="6"/>
                    </a:cubicBezTo>
                    <a:cubicBezTo>
                      <a:pt x="3" y="6"/>
                      <a:pt x="3" y="6"/>
                      <a:pt x="3" y="6"/>
                    </a:cubicBezTo>
                    <a:cubicBezTo>
                      <a:pt x="2" y="6"/>
                      <a:pt x="2" y="6"/>
                      <a:pt x="2" y="6"/>
                    </a:cubicBezTo>
                    <a:cubicBezTo>
                      <a:pt x="1" y="6"/>
                      <a:pt x="0" y="6"/>
                      <a:pt x="0" y="6"/>
                    </a:cubicBezTo>
                    <a:cubicBezTo>
                      <a:pt x="1" y="8"/>
                      <a:pt x="3" y="10"/>
                      <a:pt x="4" y="10"/>
                    </a:cubicBezTo>
                    <a:cubicBezTo>
                      <a:pt x="5" y="10"/>
                      <a:pt x="5" y="10"/>
                      <a:pt x="6" y="10"/>
                    </a:cubicBezTo>
                    <a:cubicBezTo>
                      <a:pt x="6" y="10"/>
                      <a:pt x="6" y="10"/>
                      <a:pt x="6" y="10"/>
                    </a:cubicBezTo>
                    <a:cubicBezTo>
                      <a:pt x="6" y="10"/>
                      <a:pt x="7" y="10"/>
                      <a:pt x="7" y="10"/>
                    </a:cubicBezTo>
                    <a:cubicBezTo>
                      <a:pt x="8" y="10"/>
                      <a:pt x="8" y="10"/>
                      <a:pt x="6" y="13"/>
                    </a:cubicBezTo>
                    <a:cubicBezTo>
                      <a:pt x="7" y="12"/>
                      <a:pt x="7" y="12"/>
                      <a:pt x="8" y="12"/>
                    </a:cubicBezTo>
                    <a:cubicBezTo>
                      <a:pt x="6" y="14"/>
                      <a:pt x="7" y="16"/>
                      <a:pt x="9" y="17"/>
                    </a:cubicBezTo>
                    <a:cubicBezTo>
                      <a:pt x="10" y="17"/>
                      <a:pt x="10" y="17"/>
                      <a:pt x="11" y="17"/>
                    </a:cubicBezTo>
                    <a:cubicBezTo>
                      <a:pt x="11" y="17"/>
                      <a:pt x="11" y="17"/>
                      <a:pt x="11" y="17"/>
                    </a:cubicBezTo>
                    <a:cubicBezTo>
                      <a:pt x="11" y="17"/>
                      <a:pt x="11" y="17"/>
                      <a:pt x="11" y="17"/>
                    </a:cubicBezTo>
                    <a:cubicBezTo>
                      <a:pt x="11" y="17"/>
                      <a:pt x="11" y="17"/>
                      <a:pt x="10" y="18"/>
                    </a:cubicBezTo>
                    <a:cubicBezTo>
                      <a:pt x="9" y="19"/>
                      <a:pt x="8" y="19"/>
                      <a:pt x="7" y="20"/>
                    </a:cubicBezTo>
                    <a:cubicBezTo>
                      <a:pt x="6" y="20"/>
                      <a:pt x="8" y="20"/>
                      <a:pt x="8" y="21"/>
                    </a:cubicBezTo>
                    <a:cubicBezTo>
                      <a:pt x="7" y="22"/>
                      <a:pt x="7" y="23"/>
                      <a:pt x="7" y="24"/>
                    </a:cubicBezTo>
                    <a:cubicBezTo>
                      <a:pt x="8" y="25"/>
                      <a:pt x="8" y="25"/>
                      <a:pt x="9" y="25"/>
                    </a:cubicBezTo>
                    <a:cubicBezTo>
                      <a:pt x="10" y="25"/>
                      <a:pt x="11" y="24"/>
                      <a:pt x="13" y="24"/>
                    </a:cubicBezTo>
                    <a:cubicBezTo>
                      <a:pt x="12" y="25"/>
                      <a:pt x="11" y="26"/>
                      <a:pt x="11" y="28"/>
                    </a:cubicBezTo>
                    <a:cubicBezTo>
                      <a:pt x="11" y="28"/>
                      <a:pt x="11" y="28"/>
                      <a:pt x="11" y="28"/>
                    </a:cubicBezTo>
                    <a:cubicBezTo>
                      <a:pt x="12" y="28"/>
                      <a:pt x="15" y="26"/>
                      <a:pt x="16" y="26"/>
                    </a:cubicBezTo>
                    <a:cubicBezTo>
                      <a:pt x="13" y="27"/>
                      <a:pt x="13" y="29"/>
                      <a:pt x="13" y="31"/>
                    </a:cubicBezTo>
                    <a:cubicBezTo>
                      <a:pt x="15" y="30"/>
                      <a:pt x="17" y="29"/>
                      <a:pt x="19" y="29"/>
                    </a:cubicBezTo>
                    <a:cubicBezTo>
                      <a:pt x="15" y="33"/>
                      <a:pt x="21" y="41"/>
                      <a:pt x="24" y="45"/>
                    </a:cubicBezTo>
                    <a:cubicBezTo>
                      <a:pt x="24" y="44"/>
                      <a:pt x="24" y="43"/>
                      <a:pt x="24" y="42"/>
                    </a:cubicBezTo>
                    <a:cubicBezTo>
                      <a:pt x="24" y="43"/>
                      <a:pt x="24" y="43"/>
                      <a:pt x="24" y="43"/>
                    </a:cubicBezTo>
                    <a:cubicBezTo>
                      <a:pt x="24" y="43"/>
                      <a:pt x="24" y="41"/>
                      <a:pt x="24" y="41"/>
                    </a:cubicBezTo>
                    <a:cubicBezTo>
                      <a:pt x="24" y="40"/>
                      <a:pt x="24" y="40"/>
                      <a:pt x="24" y="39"/>
                    </a:cubicBezTo>
                    <a:cubicBezTo>
                      <a:pt x="24" y="37"/>
                      <a:pt x="24" y="36"/>
                      <a:pt x="24" y="34"/>
                    </a:cubicBezTo>
                    <a:cubicBezTo>
                      <a:pt x="24" y="31"/>
                      <a:pt x="24" y="26"/>
                      <a:pt x="23" y="22"/>
                    </a:cubicBezTo>
                    <a:cubicBezTo>
                      <a:pt x="21" y="16"/>
                      <a:pt x="20" y="9"/>
                      <a:pt x="16" y="5"/>
                    </a:cubicBezTo>
                    <a:cubicBezTo>
                      <a:pt x="14" y="3"/>
                      <a:pt x="12" y="2"/>
                      <a:pt x="9" y="2"/>
                    </a:cubicBezTo>
                    <a:cubicBezTo>
                      <a:pt x="8" y="2"/>
                      <a:pt x="7" y="2"/>
                      <a:pt x="6" y="3"/>
                    </a:cubicBezTo>
                    <a:cubicBezTo>
                      <a:pt x="9"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23"/>
              <p:cNvSpPr/>
              <p:nvPr/>
            </p:nvSpPr>
            <p:spPr bwMode="auto">
              <a:xfrm>
                <a:off x="2628" y="1462"/>
                <a:ext cx="40" cy="73"/>
              </a:xfrm>
              <a:custGeom>
                <a:gdLst>
                  <a:gd name="T0" fmla="*/ 4 w 17"/>
                  <a:gd name="T1" fmla="*/ 0 h 31"/>
                  <a:gd name="T2" fmla="*/ 7 w 17"/>
                  <a:gd name="T3" fmla="*/ 3 h 31"/>
                  <a:gd name="T4" fmla="*/ 2 w 17"/>
                  <a:gd name="T5" fmla="*/ 2 h 31"/>
                  <a:gd name="T6" fmla="*/ 0 w 17"/>
                  <a:gd name="T7" fmla="*/ 3 h 31"/>
                  <a:gd name="T8" fmla="*/ 1 w 17"/>
                  <a:gd name="T9" fmla="*/ 7 h 31"/>
                  <a:gd name="T10" fmla="*/ 2 w 17"/>
                  <a:gd name="T11" fmla="*/ 8 h 31"/>
                  <a:gd name="T12" fmla="*/ 3 w 17"/>
                  <a:gd name="T13" fmla="*/ 8 h 31"/>
                  <a:gd name="T14" fmla="*/ 4 w 17"/>
                  <a:gd name="T15" fmla="*/ 8 h 31"/>
                  <a:gd name="T16" fmla="*/ 5 w 17"/>
                  <a:gd name="T17" fmla="*/ 9 h 31"/>
                  <a:gd name="T18" fmla="*/ 4 w 17"/>
                  <a:gd name="T19" fmla="*/ 11 h 31"/>
                  <a:gd name="T20" fmla="*/ 4 w 17"/>
                  <a:gd name="T21" fmla="*/ 11 h 31"/>
                  <a:gd name="T22" fmla="*/ 6 w 17"/>
                  <a:gd name="T23" fmla="*/ 10 h 31"/>
                  <a:gd name="T24" fmla="*/ 7 w 17"/>
                  <a:gd name="T25" fmla="*/ 10 h 31"/>
                  <a:gd name="T26" fmla="*/ 7 w 17"/>
                  <a:gd name="T27" fmla="*/ 10 h 31"/>
                  <a:gd name="T28" fmla="*/ 3 w 17"/>
                  <a:gd name="T29" fmla="*/ 12 h 31"/>
                  <a:gd name="T30" fmla="*/ 4 w 17"/>
                  <a:gd name="T31" fmla="*/ 12 h 31"/>
                  <a:gd name="T32" fmla="*/ 9 w 17"/>
                  <a:gd name="T33" fmla="*/ 15 h 31"/>
                  <a:gd name="T34" fmla="*/ 9 w 17"/>
                  <a:gd name="T35" fmla="*/ 19 h 31"/>
                  <a:gd name="T36" fmla="*/ 6 w 17"/>
                  <a:gd name="T37" fmla="*/ 17 h 31"/>
                  <a:gd name="T38" fmla="*/ 3 w 17"/>
                  <a:gd name="T39" fmla="*/ 21 h 31"/>
                  <a:gd name="T40" fmla="*/ 6 w 17"/>
                  <a:gd name="T41" fmla="*/ 20 h 31"/>
                  <a:gd name="T42" fmla="*/ 4 w 17"/>
                  <a:gd name="T43" fmla="*/ 25 h 31"/>
                  <a:gd name="T44" fmla="*/ 5 w 17"/>
                  <a:gd name="T45" fmla="*/ 26 h 31"/>
                  <a:gd name="T46" fmla="*/ 4 w 17"/>
                  <a:gd name="T47" fmla="*/ 27 h 31"/>
                  <a:gd name="T48" fmla="*/ 7 w 17"/>
                  <a:gd name="T49" fmla="*/ 31 h 31"/>
                  <a:gd name="T50" fmla="*/ 9 w 17"/>
                  <a:gd name="T51" fmla="*/ 21 h 31"/>
                  <a:gd name="T52" fmla="*/ 10 w 17"/>
                  <a:gd name="T53" fmla="*/ 25 h 31"/>
                  <a:gd name="T54" fmla="*/ 11 w 17"/>
                  <a:gd name="T55" fmla="*/ 25 h 31"/>
                  <a:gd name="T56" fmla="*/ 11 w 17"/>
                  <a:gd name="T57" fmla="*/ 19 h 31"/>
                  <a:gd name="T58" fmla="*/ 12 w 17"/>
                  <a:gd name="T59" fmla="*/ 21 h 31"/>
                  <a:gd name="T60" fmla="*/ 12 w 17"/>
                  <a:gd name="T61" fmla="*/ 11 h 31"/>
                  <a:gd name="T62" fmla="*/ 13 w 17"/>
                  <a:gd name="T63" fmla="*/ 11 h 31"/>
                  <a:gd name="T64" fmla="*/ 14 w 17"/>
                  <a:gd name="T65" fmla="*/ 11 h 31"/>
                  <a:gd name="T66" fmla="*/ 15 w 17"/>
                  <a:gd name="T67" fmla="*/ 11 h 31"/>
                  <a:gd name="T68" fmla="*/ 15 w 17"/>
                  <a:gd name="T69" fmla="*/ 11 h 31"/>
                  <a:gd name="T70" fmla="*/ 16 w 17"/>
                  <a:gd name="T71" fmla="*/ 6 h 31"/>
                  <a:gd name="T72" fmla="*/ 13 w 17"/>
                  <a:gd name="T73" fmla="*/ 5 h 31"/>
                  <a:gd name="T74" fmla="*/ 13 w 17"/>
                  <a:gd name="T75" fmla="*/ 8 h 31"/>
                  <a:gd name="T76" fmla="*/ 4 w 17"/>
                  <a:gd name="T77"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 h="31">
                    <a:moveTo>
                      <a:pt x="4" y="0"/>
                    </a:moveTo>
                    <a:cubicBezTo>
                      <a:pt x="5" y="1"/>
                      <a:pt x="6" y="2"/>
                      <a:pt x="7" y="3"/>
                    </a:cubicBezTo>
                    <a:cubicBezTo>
                      <a:pt x="6" y="3"/>
                      <a:pt x="4" y="2"/>
                      <a:pt x="2" y="2"/>
                    </a:cubicBezTo>
                    <a:cubicBezTo>
                      <a:pt x="2" y="2"/>
                      <a:pt x="1" y="2"/>
                      <a:pt x="0" y="3"/>
                    </a:cubicBezTo>
                    <a:cubicBezTo>
                      <a:pt x="1" y="7"/>
                      <a:pt x="1" y="7"/>
                      <a:pt x="1" y="7"/>
                    </a:cubicBezTo>
                    <a:cubicBezTo>
                      <a:pt x="1" y="8"/>
                      <a:pt x="2" y="8"/>
                      <a:pt x="2" y="8"/>
                    </a:cubicBezTo>
                    <a:cubicBezTo>
                      <a:pt x="3" y="8"/>
                      <a:pt x="3" y="8"/>
                      <a:pt x="3" y="8"/>
                    </a:cubicBezTo>
                    <a:cubicBezTo>
                      <a:pt x="3" y="8"/>
                      <a:pt x="3" y="8"/>
                      <a:pt x="4" y="8"/>
                    </a:cubicBezTo>
                    <a:cubicBezTo>
                      <a:pt x="4" y="8"/>
                      <a:pt x="4" y="8"/>
                      <a:pt x="5" y="9"/>
                    </a:cubicBezTo>
                    <a:cubicBezTo>
                      <a:pt x="5" y="9"/>
                      <a:pt x="2" y="10"/>
                      <a:pt x="4" y="11"/>
                    </a:cubicBezTo>
                    <a:cubicBezTo>
                      <a:pt x="4" y="11"/>
                      <a:pt x="4" y="11"/>
                      <a:pt x="4" y="11"/>
                    </a:cubicBezTo>
                    <a:cubicBezTo>
                      <a:pt x="4" y="11"/>
                      <a:pt x="5" y="10"/>
                      <a:pt x="6" y="10"/>
                    </a:cubicBezTo>
                    <a:cubicBezTo>
                      <a:pt x="6" y="10"/>
                      <a:pt x="7" y="10"/>
                      <a:pt x="7" y="10"/>
                    </a:cubicBezTo>
                    <a:cubicBezTo>
                      <a:pt x="7" y="10"/>
                      <a:pt x="7" y="10"/>
                      <a:pt x="7" y="10"/>
                    </a:cubicBezTo>
                    <a:cubicBezTo>
                      <a:pt x="6" y="10"/>
                      <a:pt x="4" y="11"/>
                      <a:pt x="3" y="12"/>
                    </a:cubicBezTo>
                    <a:cubicBezTo>
                      <a:pt x="3" y="12"/>
                      <a:pt x="4" y="12"/>
                      <a:pt x="4" y="12"/>
                    </a:cubicBezTo>
                    <a:cubicBezTo>
                      <a:pt x="6" y="12"/>
                      <a:pt x="8" y="13"/>
                      <a:pt x="9" y="15"/>
                    </a:cubicBezTo>
                    <a:cubicBezTo>
                      <a:pt x="7" y="16"/>
                      <a:pt x="10" y="17"/>
                      <a:pt x="9" y="19"/>
                    </a:cubicBezTo>
                    <a:cubicBezTo>
                      <a:pt x="8" y="18"/>
                      <a:pt x="7" y="17"/>
                      <a:pt x="6" y="17"/>
                    </a:cubicBezTo>
                    <a:cubicBezTo>
                      <a:pt x="5" y="17"/>
                      <a:pt x="3" y="19"/>
                      <a:pt x="3" y="21"/>
                    </a:cubicBezTo>
                    <a:cubicBezTo>
                      <a:pt x="4" y="21"/>
                      <a:pt x="5" y="21"/>
                      <a:pt x="6" y="20"/>
                    </a:cubicBezTo>
                    <a:cubicBezTo>
                      <a:pt x="4" y="22"/>
                      <a:pt x="4" y="23"/>
                      <a:pt x="4" y="25"/>
                    </a:cubicBezTo>
                    <a:cubicBezTo>
                      <a:pt x="4" y="26"/>
                      <a:pt x="5" y="25"/>
                      <a:pt x="5" y="26"/>
                    </a:cubicBezTo>
                    <a:cubicBezTo>
                      <a:pt x="5" y="26"/>
                      <a:pt x="4" y="27"/>
                      <a:pt x="4" y="27"/>
                    </a:cubicBezTo>
                    <a:cubicBezTo>
                      <a:pt x="5" y="28"/>
                      <a:pt x="5" y="30"/>
                      <a:pt x="7" y="31"/>
                    </a:cubicBezTo>
                    <a:cubicBezTo>
                      <a:pt x="7" y="27"/>
                      <a:pt x="7" y="24"/>
                      <a:pt x="9" y="21"/>
                    </a:cubicBezTo>
                    <a:cubicBezTo>
                      <a:pt x="10" y="23"/>
                      <a:pt x="8" y="24"/>
                      <a:pt x="10" y="25"/>
                    </a:cubicBezTo>
                    <a:cubicBezTo>
                      <a:pt x="11" y="25"/>
                      <a:pt x="11" y="25"/>
                      <a:pt x="11" y="25"/>
                    </a:cubicBezTo>
                    <a:cubicBezTo>
                      <a:pt x="13" y="25"/>
                      <a:pt x="11" y="20"/>
                      <a:pt x="11" y="19"/>
                    </a:cubicBezTo>
                    <a:cubicBezTo>
                      <a:pt x="12" y="20"/>
                      <a:pt x="12" y="21"/>
                      <a:pt x="12" y="21"/>
                    </a:cubicBezTo>
                    <a:cubicBezTo>
                      <a:pt x="14" y="21"/>
                      <a:pt x="12" y="11"/>
                      <a:pt x="12" y="11"/>
                    </a:cubicBezTo>
                    <a:cubicBezTo>
                      <a:pt x="12" y="11"/>
                      <a:pt x="12" y="11"/>
                      <a:pt x="13" y="11"/>
                    </a:cubicBezTo>
                    <a:cubicBezTo>
                      <a:pt x="13" y="11"/>
                      <a:pt x="13" y="11"/>
                      <a:pt x="14" y="11"/>
                    </a:cubicBezTo>
                    <a:cubicBezTo>
                      <a:pt x="14" y="11"/>
                      <a:pt x="15" y="11"/>
                      <a:pt x="15" y="11"/>
                    </a:cubicBezTo>
                    <a:cubicBezTo>
                      <a:pt x="15" y="11"/>
                      <a:pt x="15" y="11"/>
                      <a:pt x="15" y="11"/>
                    </a:cubicBezTo>
                    <a:cubicBezTo>
                      <a:pt x="17" y="10"/>
                      <a:pt x="17" y="7"/>
                      <a:pt x="16" y="6"/>
                    </a:cubicBezTo>
                    <a:cubicBezTo>
                      <a:pt x="16" y="5"/>
                      <a:pt x="14" y="5"/>
                      <a:pt x="13" y="5"/>
                    </a:cubicBezTo>
                    <a:cubicBezTo>
                      <a:pt x="13" y="6"/>
                      <a:pt x="13" y="7"/>
                      <a:pt x="13" y="8"/>
                    </a:cubicBezTo>
                    <a:cubicBezTo>
                      <a:pt x="10" y="3"/>
                      <a:pt x="10"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24"/>
              <p:cNvSpPr/>
              <p:nvPr/>
            </p:nvSpPr>
            <p:spPr bwMode="auto">
              <a:xfrm>
                <a:off x="2720" y="1509"/>
                <a:ext cx="36" cy="34"/>
              </a:xfrm>
              <a:custGeom>
                <a:gdLst>
                  <a:gd name="T0" fmla="*/ 6 w 15"/>
                  <a:gd name="T1" fmla="*/ 0 h 14"/>
                  <a:gd name="T2" fmla="*/ 4 w 15"/>
                  <a:gd name="T3" fmla="*/ 2 h 14"/>
                  <a:gd name="T4" fmla="*/ 1 w 15"/>
                  <a:gd name="T5" fmla="*/ 5 h 14"/>
                  <a:gd name="T6" fmla="*/ 3 w 15"/>
                  <a:gd name="T7" fmla="*/ 8 h 14"/>
                  <a:gd name="T8" fmla="*/ 6 w 15"/>
                  <a:gd name="T9" fmla="*/ 9 h 14"/>
                  <a:gd name="T10" fmla="*/ 6 w 15"/>
                  <a:gd name="T11" fmla="*/ 10 h 14"/>
                  <a:gd name="T12" fmla="*/ 7 w 15"/>
                  <a:gd name="T13" fmla="*/ 10 h 14"/>
                  <a:gd name="T14" fmla="*/ 7 w 15"/>
                  <a:gd name="T15" fmla="*/ 10 h 14"/>
                  <a:gd name="T16" fmla="*/ 8 w 15"/>
                  <a:gd name="T17" fmla="*/ 10 h 14"/>
                  <a:gd name="T18" fmla="*/ 8 w 15"/>
                  <a:gd name="T19" fmla="*/ 10 h 14"/>
                  <a:gd name="T20" fmla="*/ 8 w 15"/>
                  <a:gd name="T21" fmla="*/ 12 h 14"/>
                  <a:gd name="T22" fmla="*/ 10 w 15"/>
                  <a:gd name="T23" fmla="*/ 14 h 14"/>
                  <a:gd name="T24" fmla="*/ 12 w 15"/>
                  <a:gd name="T25" fmla="*/ 13 h 14"/>
                  <a:gd name="T26" fmla="*/ 13 w 15"/>
                  <a:gd name="T27" fmla="*/ 13 h 14"/>
                  <a:gd name="T28" fmla="*/ 13 w 15"/>
                  <a:gd name="T29" fmla="*/ 13 h 14"/>
                  <a:gd name="T30" fmla="*/ 13 w 15"/>
                  <a:gd name="T31" fmla="*/ 13 h 14"/>
                  <a:gd name="T32" fmla="*/ 14 w 15"/>
                  <a:gd name="T33" fmla="*/ 12 h 14"/>
                  <a:gd name="T34" fmla="*/ 15 w 15"/>
                  <a:gd name="T35" fmla="*/ 8 h 14"/>
                  <a:gd name="T36" fmla="*/ 7 w 15"/>
                  <a:gd name="T37" fmla="*/ 5 h 14"/>
                  <a:gd name="T38" fmla="*/ 6 w 15"/>
                  <a:gd name="T39" fmla="*/ 5 h 14"/>
                  <a:gd name="T40" fmla="*/ 8 w 15"/>
                  <a:gd name="T41" fmla="*/ 0 h 14"/>
                  <a:gd name="T42" fmla="*/ 6 w 15"/>
                  <a:gd name="T43"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 h="14">
                    <a:moveTo>
                      <a:pt x="6" y="0"/>
                    </a:moveTo>
                    <a:cubicBezTo>
                      <a:pt x="5" y="0"/>
                      <a:pt x="5" y="1"/>
                      <a:pt x="4" y="2"/>
                    </a:cubicBezTo>
                    <a:cubicBezTo>
                      <a:pt x="2" y="4"/>
                      <a:pt x="1" y="3"/>
                      <a:pt x="1" y="5"/>
                    </a:cubicBezTo>
                    <a:cubicBezTo>
                      <a:pt x="0" y="7"/>
                      <a:pt x="1" y="7"/>
                      <a:pt x="3" y="8"/>
                    </a:cubicBezTo>
                    <a:cubicBezTo>
                      <a:pt x="4" y="9"/>
                      <a:pt x="5" y="8"/>
                      <a:pt x="6" y="9"/>
                    </a:cubicBezTo>
                    <a:cubicBezTo>
                      <a:pt x="7" y="9"/>
                      <a:pt x="6" y="10"/>
                      <a:pt x="6" y="10"/>
                    </a:cubicBezTo>
                    <a:cubicBezTo>
                      <a:pt x="7" y="10"/>
                      <a:pt x="7" y="10"/>
                      <a:pt x="7" y="10"/>
                    </a:cubicBezTo>
                    <a:cubicBezTo>
                      <a:pt x="7" y="10"/>
                      <a:pt x="7" y="10"/>
                      <a:pt x="7" y="10"/>
                    </a:cubicBezTo>
                    <a:cubicBezTo>
                      <a:pt x="7" y="10"/>
                      <a:pt x="8" y="10"/>
                      <a:pt x="8" y="10"/>
                    </a:cubicBezTo>
                    <a:cubicBezTo>
                      <a:pt x="8" y="10"/>
                      <a:pt x="8" y="10"/>
                      <a:pt x="8" y="10"/>
                    </a:cubicBezTo>
                    <a:cubicBezTo>
                      <a:pt x="9" y="11"/>
                      <a:pt x="7" y="12"/>
                      <a:pt x="8" y="12"/>
                    </a:cubicBezTo>
                    <a:cubicBezTo>
                      <a:pt x="8" y="13"/>
                      <a:pt x="9" y="14"/>
                      <a:pt x="10" y="14"/>
                    </a:cubicBezTo>
                    <a:cubicBezTo>
                      <a:pt x="11" y="14"/>
                      <a:pt x="11" y="13"/>
                      <a:pt x="12" y="13"/>
                    </a:cubicBezTo>
                    <a:cubicBezTo>
                      <a:pt x="12" y="13"/>
                      <a:pt x="13" y="13"/>
                      <a:pt x="13" y="13"/>
                    </a:cubicBezTo>
                    <a:cubicBezTo>
                      <a:pt x="13" y="13"/>
                      <a:pt x="13" y="13"/>
                      <a:pt x="13" y="13"/>
                    </a:cubicBezTo>
                    <a:cubicBezTo>
                      <a:pt x="13" y="13"/>
                      <a:pt x="13" y="13"/>
                      <a:pt x="13" y="13"/>
                    </a:cubicBezTo>
                    <a:cubicBezTo>
                      <a:pt x="14" y="13"/>
                      <a:pt x="14" y="13"/>
                      <a:pt x="14" y="12"/>
                    </a:cubicBezTo>
                    <a:cubicBezTo>
                      <a:pt x="14" y="12"/>
                      <a:pt x="15" y="8"/>
                      <a:pt x="15" y="8"/>
                    </a:cubicBezTo>
                    <a:cubicBezTo>
                      <a:pt x="13" y="6"/>
                      <a:pt x="10" y="5"/>
                      <a:pt x="7" y="5"/>
                    </a:cubicBezTo>
                    <a:cubicBezTo>
                      <a:pt x="7" y="5"/>
                      <a:pt x="7" y="5"/>
                      <a:pt x="6" y="5"/>
                    </a:cubicBezTo>
                    <a:cubicBezTo>
                      <a:pt x="6" y="3"/>
                      <a:pt x="7" y="1"/>
                      <a:pt x="8"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25"/>
              <p:cNvSpPr/>
              <p:nvPr/>
            </p:nvSpPr>
            <p:spPr bwMode="auto">
              <a:xfrm>
                <a:off x="925" y="1682"/>
                <a:ext cx="10" cy="2"/>
              </a:xfrm>
              <a:custGeom>
                <a:gdLst>
                  <a:gd name="T0" fmla="*/ 1 w 4"/>
                  <a:gd name="T1" fmla="*/ 0 h 1"/>
                  <a:gd name="T2" fmla="*/ 0 w 4"/>
                  <a:gd name="T3" fmla="*/ 0 h 1"/>
                  <a:gd name="T4" fmla="*/ 4 w 4"/>
                  <a:gd name="T5" fmla="*/ 1 h 1"/>
                  <a:gd name="T6" fmla="*/ 1 w 4"/>
                  <a:gd name="T7" fmla="*/ 0 h 1"/>
                </a:gdLst>
                <a:cxnLst>
                  <a:cxn ang="0">
                    <a:pos x="T0" y="T1"/>
                  </a:cxn>
                  <a:cxn ang="0">
                    <a:pos x="T2" y="T3"/>
                  </a:cxn>
                  <a:cxn ang="0">
                    <a:pos x="T4" y="T5"/>
                  </a:cxn>
                  <a:cxn ang="0">
                    <a:pos x="T6" y="T7"/>
                  </a:cxn>
                </a:cxnLst>
                <a:rect l="0" t="0" r="r" b="b"/>
                <a:pathLst>
                  <a:path w="4" h="1">
                    <a:moveTo>
                      <a:pt x="1" y="0"/>
                    </a:moveTo>
                    <a:cubicBezTo>
                      <a:pt x="0" y="0"/>
                      <a:pt x="0" y="0"/>
                      <a:pt x="0" y="0"/>
                    </a:cubicBezTo>
                    <a:cubicBezTo>
                      <a:pt x="1" y="0"/>
                      <a:pt x="2" y="1"/>
                      <a:pt x="4" y="1"/>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26"/>
              <p:cNvSpPr/>
              <p:nvPr/>
            </p:nvSpPr>
            <p:spPr bwMode="auto">
              <a:xfrm>
                <a:off x="817" y="1183"/>
                <a:ext cx="106" cy="54"/>
              </a:xfrm>
              <a:custGeom>
                <a:gdLst>
                  <a:gd name="T0" fmla="*/ 30 w 45"/>
                  <a:gd name="T1" fmla="*/ 0 h 23"/>
                  <a:gd name="T2" fmla="*/ 24 w 45"/>
                  <a:gd name="T3" fmla="*/ 2 h 23"/>
                  <a:gd name="T4" fmla="*/ 23 w 45"/>
                  <a:gd name="T5" fmla="*/ 1 h 23"/>
                  <a:gd name="T6" fmla="*/ 19 w 45"/>
                  <a:gd name="T7" fmla="*/ 3 h 23"/>
                  <a:gd name="T8" fmla="*/ 15 w 45"/>
                  <a:gd name="T9" fmla="*/ 4 h 23"/>
                  <a:gd name="T10" fmla="*/ 12 w 45"/>
                  <a:gd name="T11" fmla="*/ 7 h 23"/>
                  <a:gd name="T12" fmla="*/ 12 w 45"/>
                  <a:gd name="T13" fmla="*/ 7 h 23"/>
                  <a:gd name="T14" fmla="*/ 6 w 45"/>
                  <a:gd name="T15" fmla="*/ 6 h 23"/>
                  <a:gd name="T16" fmla="*/ 5 w 45"/>
                  <a:gd name="T17" fmla="*/ 6 h 23"/>
                  <a:gd name="T18" fmla="*/ 0 w 45"/>
                  <a:gd name="T19" fmla="*/ 7 h 23"/>
                  <a:gd name="T20" fmla="*/ 29 w 45"/>
                  <a:gd name="T21" fmla="*/ 23 h 23"/>
                  <a:gd name="T22" fmla="*/ 29 w 45"/>
                  <a:gd name="T23" fmla="*/ 19 h 23"/>
                  <a:gd name="T24" fmla="*/ 30 w 45"/>
                  <a:gd name="T25" fmla="*/ 19 h 23"/>
                  <a:gd name="T26" fmla="*/ 31 w 45"/>
                  <a:gd name="T27" fmla="*/ 19 h 23"/>
                  <a:gd name="T28" fmla="*/ 33 w 45"/>
                  <a:gd name="T29" fmla="*/ 19 h 23"/>
                  <a:gd name="T30" fmla="*/ 38 w 45"/>
                  <a:gd name="T31" fmla="*/ 18 h 23"/>
                  <a:gd name="T32" fmla="*/ 39 w 45"/>
                  <a:gd name="T33" fmla="*/ 17 h 23"/>
                  <a:gd name="T34" fmla="*/ 39 w 45"/>
                  <a:gd name="T35" fmla="*/ 17 h 23"/>
                  <a:gd name="T36" fmla="*/ 40 w 45"/>
                  <a:gd name="T37" fmla="*/ 17 h 23"/>
                  <a:gd name="T38" fmla="*/ 40 w 45"/>
                  <a:gd name="T39" fmla="*/ 18 h 23"/>
                  <a:gd name="T40" fmla="*/ 40 w 45"/>
                  <a:gd name="T41" fmla="*/ 18 h 23"/>
                  <a:gd name="T42" fmla="*/ 43 w 45"/>
                  <a:gd name="T43" fmla="*/ 17 h 23"/>
                  <a:gd name="T44" fmla="*/ 40 w 45"/>
                  <a:gd name="T45" fmla="*/ 12 h 23"/>
                  <a:gd name="T46" fmla="*/ 41 w 45"/>
                  <a:gd name="T47" fmla="*/ 9 h 23"/>
                  <a:gd name="T48" fmla="*/ 40 w 45"/>
                  <a:gd name="T49" fmla="*/ 8 h 23"/>
                  <a:gd name="T50" fmla="*/ 41 w 45"/>
                  <a:gd name="T51" fmla="*/ 7 h 23"/>
                  <a:gd name="T52" fmla="*/ 36 w 45"/>
                  <a:gd name="T53" fmla="*/ 3 h 23"/>
                  <a:gd name="T54" fmla="*/ 35 w 45"/>
                  <a:gd name="T55" fmla="*/ 3 h 23"/>
                  <a:gd name="T56" fmla="*/ 33 w 45"/>
                  <a:gd name="T57" fmla="*/ 3 h 23"/>
                  <a:gd name="T58" fmla="*/ 32 w 45"/>
                  <a:gd name="T59" fmla="*/ 2 h 23"/>
                  <a:gd name="T60" fmla="*/ 31 w 45"/>
                  <a:gd name="T61" fmla="*/ 0 h 23"/>
                  <a:gd name="T62" fmla="*/ 30 w 45"/>
                  <a:gd name="T63"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23">
                    <a:moveTo>
                      <a:pt x="30" y="0"/>
                    </a:moveTo>
                    <a:cubicBezTo>
                      <a:pt x="29" y="0"/>
                      <a:pt x="25" y="2"/>
                      <a:pt x="24" y="2"/>
                    </a:cubicBezTo>
                    <a:cubicBezTo>
                      <a:pt x="24" y="1"/>
                      <a:pt x="24" y="1"/>
                      <a:pt x="23" y="1"/>
                    </a:cubicBezTo>
                    <a:cubicBezTo>
                      <a:pt x="21" y="1"/>
                      <a:pt x="19" y="3"/>
                      <a:pt x="19" y="3"/>
                    </a:cubicBezTo>
                    <a:cubicBezTo>
                      <a:pt x="18" y="3"/>
                      <a:pt x="16" y="3"/>
                      <a:pt x="15" y="4"/>
                    </a:cubicBezTo>
                    <a:cubicBezTo>
                      <a:pt x="14" y="5"/>
                      <a:pt x="14" y="7"/>
                      <a:pt x="12" y="7"/>
                    </a:cubicBezTo>
                    <a:cubicBezTo>
                      <a:pt x="12" y="7"/>
                      <a:pt x="12" y="7"/>
                      <a:pt x="12" y="7"/>
                    </a:cubicBezTo>
                    <a:cubicBezTo>
                      <a:pt x="10" y="7"/>
                      <a:pt x="7" y="6"/>
                      <a:pt x="6" y="6"/>
                    </a:cubicBezTo>
                    <a:cubicBezTo>
                      <a:pt x="6" y="6"/>
                      <a:pt x="6" y="6"/>
                      <a:pt x="5" y="6"/>
                    </a:cubicBezTo>
                    <a:cubicBezTo>
                      <a:pt x="3" y="6"/>
                      <a:pt x="2" y="7"/>
                      <a:pt x="0" y="7"/>
                    </a:cubicBezTo>
                    <a:cubicBezTo>
                      <a:pt x="9" y="12"/>
                      <a:pt x="19" y="18"/>
                      <a:pt x="29" y="23"/>
                    </a:cubicBezTo>
                    <a:cubicBezTo>
                      <a:pt x="28" y="21"/>
                      <a:pt x="27" y="19"/>
                      <a:pt x="29" y="19"/>
                    </a:cubicBezTo>
                    <a:cubicBezTo>
                      <a:pt x="29" y="19"/>
                      <a:pt x="30" y="19"/>
                      <a:pt x="30" y="19"/>
                    </a:cubicBezTo>
                    <a:cubicBezTo>
                      <a:pt x="31" y="19"/>
                      <a:pt x="31" y="19"/>
                      <a:pt x="31" y="19"/>
                    </a:cubicBezTo>
                    <a:cubicBezTo>
                      <a:pt x="32" y="19"/>
                      <a:pt x="32" y="19"/>
                      <a:pt x="33" y="19"/>
                    </a:cubicBezTo>
                    <a:cubicBezTo>
                      <a:pt x="35" y="19"/>
                      <a:pt x="36" y="18"/>
                      <a:pt x="38" y="18"/>
                    </a:cubicBezTo>
                    <a:cubicBezTo>
                      <a:pt x="38" y="18"/>
                      <a:pt x="39" y="17"/>
                      <a:pt x="39" y="17"/>
                    </a:cubicBezTo>
                    <a:cubicBezTo>
                      <a:pt x="39" y="17"/>
                      <a:pt x="39" y="17"/>
                      <a:pt x="39" y="17"/>
                    </a:cubicBezTo>
                    <a:cubicBezTo>
                      <a:pt x="39" y="17"/>
                      <a:pt x="40" y="17"/>
                      <a:pt x="40" y="17"/>
                    </a:cubicBezTo>
                    <a:cubicBezTo>
                      <a:pt x="40" y="18"/>
                      <a:pt x="40" y="18"/>
                      <a:pt x="40" y="18"/>
                    </a:cubicBezTo>
                    <a:cubicBezTo>
                      <a:pt x="40" y="18"/>
                      <a:pt x="40" y="18"/>
                      <a:pt x="40" y="18"/>
                    </a:cubicBezTo>
                    <a:cubicBezTo>
                      <a:pt x="41" y="18"/>
                      <a:pt x="42" y="18"/>
                      <a:pt x="43" y="17"/>
                    </a:cubicBezTo>
                    <a:cubicBezTo>
                      <a:pt x="45" y="15"/>
                      <a:pt x="42" y="12"/>
                      <a:pt x="40" y="12"/>
                    </a:cubicBezTo>
                    <a:cubicBezTo>
                      <a:pt x="41" y="11"/>
                      <a:pt x="40" y="10"/>
                      <a:pt x="41" y="9"/>
                    </a:cubicBezTo>
                    <a:cubicBezTo>
                      <a:pt x="41" y="9"/>
                      <a:pt x="40" y="9"/>
                      <a:pt x="40" y="8"/>
                    </a:cubicBezTo>
                    <a:cubicBezTo>
                      <a:pt x="40" y="8"/>
                      <a:pt x="41" y="8"/>
                      <a:pt x="41" y="7"/>
                    </a:cubicBezTo>
                    <a:cubicBezTo>
                      <a:pt x="41" y="4"/>
                      <a:pt x="39" y="3"/>
                      <a:pt x="36" y="3"/>
                    </a:cubicBezTo>
                    <a:cubicBezTo>
                      <a:pt x="36" y="3"/>
                      <a:pt x="35" y="3"/>
                      <a:pt x="35" y="3"/>
                    </a:cubicBezTo>
                    <a:cubicBezTo>
                      <a:pt x="34" y="3"/>
                      <a:pt x="34" y="3"/>
                      <a:pt x="33" y="3"/>
                    </a:cubicBezTo>
                    <a:cubicBezTo>
                      <a:pt x="33" y="3"/>
                      <a:pt x="32" y="3"/>
                      <a:pt x="32" y="2"/>
                    </a:cubicBezTo>
                    <a:cubicBezTo>
                      <a:pt x="31" y="2"/>
                      <a:pt x="31" y="0"/>
                      <a:pt x="31" y="0"/>
                    </a:cubicBezTo>
                    <a:cubicBezTo>
                      <a:pt x="31"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27"/>
              <p:cNvSpPr/>
              <p:nvPr/>
            </p:nvSpPr>
            <p:spPr bwMode="auto">
              <a:xfrm>
                <a:off x="1632" y="1330"/>
                <a:ext cx="12" cy="4"/>
              </a:xfrm>
              <a:custGeom>
                <a:gdLst>
                  <a:gd name="T0" fmla="*/ 3 w 5"/>
                  <a:gd name="T1" fmla="*/ 0 h 2"/>
                  <a:gd name="T2" fmla="*/ 0 w 5"/>
                  <a:gd name="T3" fmla="*/ 2 h 2"/>
                  <a:gd name="T4" fmla="*/ 5 w 5"/>
                  <a:gd name="T5" fmla="*/ 1 h 2"/>
                  <a:gd name="T6" fmla="*/ 3 w 5"/>
                  <a:gd name="T7" fmla="*/ 0 h 2"/>
                </a:gdLst>
                <a:cxnLst>
                  <a:cxn ang="0">
                    <a:pos x="T0" y="T1"/>
                  </a:cxn>
                  <a:cxn ang="0">
                    <a:pos x="T2" y="T3"/>
                  </a:cxn>
                  <a:cxn ang="0">
                    <a:pos x="T4" y="T5"/>
                  </a:cxn>
                  <a:cxn ang="0">
                    <a:pos x="T6" y="T7"/>
                  </a:cxn>
                </a:cxnLst>
                <a:rect l="0" t="0" r="r" b="b"/>
                <a:pathLst>
                  <a:path w="5" h="2">
                    <a:moveTo>
                      <a:pt x="3" y="0"/>
                    </a:moveTo>
                    <a:cubicBezTo>
                      <a:pt x="2" y="0"/>
                      <a:pt x="0" y="0"/>
                      <a:pt x="0" y="2"/>
                    </a:cubicBezTo>
                    <a:cubicBezTo>
                      <a:pt x="1" y="1"/>
                      <a:pt x="3"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28"/>
              <p:cNvSpPr/>
              <p:nvPr/>
            </p:nvSpPr>
            <p:spPr bwMode="auto">
              <a:xfrm>
                <a:off x="5028" y="2195"/>
                <a:ext cx="7" cy="3"/>
              </a:xfrm>
              <a:custGeom>
                <a:gdLst>
                  <a:gd name="T0" fmla="*/ 3 w 3"/>
                  <a:gd name="T1" fmla="*/ 0 h 1"/>
                  <a:gd name="T2" fmla="*/ 0 w 3"/>
                  <a:gd name="T3" fmla="*/ 1 h 1"/>
                  <a:gd name="T4" fmla="*/ 3 w 3"/>
                  <a:gd name="T5" fmla="*/ 0 h 1"/>
                  <a:gd name="T6" fmla="*/ 3 w 3"/>
                  <a:gd name="T7" fmla="*/ 0 h 1"/>
                </a:gdLst>
                <a:cxnLst>
                  <a:cxn ang="0">
                    <a:pos x="T0" y="T1"/>
                  </a:cxn>
                  <a:cxn ang="0">
                    <a:pos x="T2" y="T3"/>
                  </a:cxn>
                  <a:cxn ang="0">
                    <a:pos x="T4" y="T5"/>
                  </a:cxn>
                  <a:cxn ang="0">
                    <a:pos x="T6" y="T7"/>
                  </a:cxn>
                </a:cxnLst>
                <a:rect l="0" t="0" r="r" b="b"/>
                <a:pathLst>
                  <a:path w="3" h="1">
                    <a:moveTo>
                      <a:pt x="3" y="0"/>
                    </a:moveTo>
                    <a:cubicBezTo>
                      <a:pt x="2" y="0"/>
                      <a:pt x="1" y="1"/>
                      <a:pt x="0" y="1"/>
                    </a:cubicBezTo>
                    <a:cubicBezTo>
                      <a:pt x="1" y="1"/>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29"/>
              <p:cNvSpPr/>
              <p:nvPr/>
            </p:nvSpPr>
            <p:spPr bwMode="auto">
              <a:xfrm>
                <a:off x="1588" y="1441"/>
                <a:ext cx="26" cy="9"/>
              </a:xfrm>
              <a:custGeom>
                <a:gdLst>
                  <a:gd name="T0" fmla="*/ 4 w 11"/>
                  <a:gd name="T1" fmla="*/ 0 h 4"/>
                  <a:gd name="T2" fmla="*/ 0 w 11"/>
                  <a:gd name="T3" fmla="*/ 4 h 4"/>
                  <a:gd name="T4" fmla="*/ 11 w 11"/>
                  <a:gd name="T5" fmla="*/ 2 h 4"/>
                  <a:gd name="T6" fmla="*/ 8 w 11"/>
                  <a:gd name="T7" fmla="*/ 1 h 4"/>
                  <a:gd name="T8" fmla="*/ 4 w 11"/>
                  <a:gd name="T9" fmla="*/ 2 h 4"/>
                  <a:gd name="T10" fmla="*/ 4 w 11"/>
                  <a:gd name="T11" fmla="*/ 0 h 4"/>
                </a:gdLst>
                <a:cxnLst>
                  <a:cxn ang="0">
                    <a:pos x="T0" y="T1"/>
                  </a:cxn>
                  <a:cxn ang="0">
                    <a:pos x="T2" y="T3"/>
                  </a:cxn>
                  <a:cxn ang="0">
                    <a:pos x="T4" y="T5"/>
                  </a:cxn>
                  <a:cxn ang="0">
                    <a:pos x="T6" y="T7"/>
                  </a:cxn>
                  <a:cxn ang="0">
                    <a:pos x="T8" y="T9"/>
                  </a:cxn>
                  <a:cxn ang="0">
                    <a:pos x="T10" y="T11"/>
                  </a:cxn>
                </a:cxnLst>
                <a:rect l="0" t="0" r="r" b="b"/>
                <a:pathLst>
                  <a:path w="11" h="4">
                    <a:moveTo>
                      <a:pt x="4" y="0"/>
                    </a:moveTo>
                    <a:cubicBezTo>
                      <a:pt x="2" y="1"/>
                      <a:pt x="0" y="3"/>
                      <a:pt x="0" y="4"/>
                    </a:cubicBezTo>
                    <a:cubicBezTo>
                      <a:pt x="4" y="4"/>
                      <a:pt x="8" y="3"/>
                      <a:pt x="11" y="2"/>
                    </a:cubicBezTo>
                    <a:cubicBezTo>
                      <a:pt x="10" y="2"/>
                      <a:pt x="9" y="1"/>
                      <a:pt x="8" y="1"/>
                    </a:cubicBezTo>
                    <a:cubicBezTo>
                      <a:pt x="6" y="1"/>
                      <a:pt x="5" y="2"/>
                      <a:pt x="4" y="2"/>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30"/>
              <p:cNvSpPr/>
              <p:nvPr/>
            </p:nvSpPr>
            <p:spPr bwMode="auto">
              <a:xfrm>
                <a:off x="2597" y="1346"/>
                <a:ext cx="64" cy="109"/>
              </a:xfrm>
              <a:custGeom>
                <a:gdLst>
                  <a:gd name="T0" fmla="*/ 0 w 27"/>
                  <a:gd name="T1" fmla="*/ 0 h 46"/>
                  <a:gd name="T2" fmla="*/ 2 w 27"/>
                  <a:gd name="T3" fmla="*/ 5 h 46"/>
                  <a:gd name="T4" fmla="*/ 4 w 27"/>
                  <a:gd name="T5" fmla="*/ 8 h 46"/>
                  <a:gd name="T6" fmla="*/ 6 w 27"/>
                  <a:gd name="T7" fmla="*/ 7 h 46"/>
                  <a:gd name="T8" fmla="*/ 4 w 27"/>
                  <a:gd name="T9" fmla="*/ 13 h 46"/>
                  <a:gd name="T10" fmla="*/ 6 w 27"/>
                  <a:gd name="T11" fmla="*/ 17 h 46"/>
                  <a:gd name="T12" fmla="*/ 9 w 27"/>
                  <a:gd name="T13" fmla="*/ 30 h 46"/>
                  <a:gd name="T14" fmla="*/ 14 w 27"/>
                  <a:gd name="T15" fmla="*/ 29 h 46"/>
                  <a:gd name="T16" fmla="*/ 15 w 27"/>
                  <a:gd name="T17" fmla="*/ 35 h 46"/>
                  <a:gd name="T18" fmla="*/ 15 w 27"/>
                  <a:gd name="T19" fmla="*/ 36 h 46"/>
                  <a:gd name="T20" fmla="*/ 14 w 27"/>
                  <a:gd name="T21" fmla="*/ 36 h 46"/>
                  <a:gd name="T22" fmla="*/ 14 w 27"/>
                  <a:gd name="T23" fmla="*/ 35 h 46"/>
                  <a:gd name="T24" fmla="*/ 14 w 27"/>
                  <a:gd name="T25" fmla="*/ 35 h 46"/>
                  <a:gd name="T26" fmla="*/ 12 w 27"/>
                  <a:gd name="T27" fmla="*/ 35 h 46"/>
                  <a:gd name="T28" fmla="*/ 11 w 27"/>
                  <a:gd name="T29" fmla="*/ 38 h 46"/>
                  <a:gd name="T30" fmla="*/ 9 w 27"/>
                  <a:gd name="T31" fmla="*/ 46 h 46"/>
                  <a:gd name="T32" fmla="*/ 14 w 27"/>
                  <a:gd name="T33" fmla="*/ 44 h 46"/>
                  <a:gd name="T34" fmla="*/ 20 w 27"/>
                  <a:gd name="T35" fmla="*/ 37 h 46"/>
                  <a:gd name="T36" fmla="*/ 26 w 27"/>
                  <a:gd name="T37" fmla="*/ 34 h 46"/>
                  <a:gd name="T38" fmla="*/ 25 w 27"/>
                  <a:gd name="T39" fmla="*/ 30 h 46"/>
                  <a:gd name="T40" fmla="*/ 23 w 27"/>
                  <a:gd name="T41" fmla="*/ 26 h 46"/>
                  <a:gd name="T42" fmla="*/ 20 w 27"/>
                  <a:gd name="T43" fmla="*/ 22 h 46"/>
                  <a:gd name="T44" fmla="*/ 17 w 27"/>
                  <a:gd name="T45" fmla="*/ 19 h 46"/>
                  <a:gd name="T46" fmla="*/ 16 w 27"/>
                  <a:gd name="T47" fmla="*/ 19 h 46"/>
                  <a:gd name="T48" fmla="*/ 16 w 27"/>
                  <a:gd name="T49" fmla="*/ 11 h 46"/>
                  <a:gd name="T50" fmla="*/ 20 w 27"/>
                  <a:gd name="T51" fmla="*/ 18 h 46"/>
                  <a:gd name="T52" fmla="*/ 23 w 27"/>
                  <a:gd name="T53" fmla="*/ 21 h 46"/>
                  <a:gd name="T54" fmla="*/ 27 w 27"/>
                  <a:gd name="T55" fmla="*/ 27 h 46"/>
                  <a:gd name="T56" fmla="*/ 25 w 27"/>
                  <a:gd name="T57" fmla="*/ 22 h 46"/>
                  <a:gd name="T58" fmla="*/ 23 w 27"/>
                  <a:gd name="T59" fmla="*/ 18 h 46"/>
                  <a:gd name="T60" fmla="*/ 17 w 27"/>
                  <a:gd name="T61" fmla="*/ 8 h 46"/>
                  <a:gd name="T62" fmla="*/ 16 w 27"/>
                  <a:gd name="T63" fmla="*/ 8 h 46"/>
                  <a:gd name="T64" fmla="*/ 15 w 27"/>
                  <a:gd name="T65" fmla="*/ 8 h 46"/>
                  <a:gd name="T66" fmla="*/ 14 w 27"/>
                  <a:gd name="T67" fmla="*/ 8 h 46"/>
                  <a:gd name="T68" fmla="*/ 13 w 27"/>
                  <a:gd name="T69" fmla="*/ 8 h 46"/>
                  <a:gd name="T70" fmla="*/ 9 w 27"/>
                  <a:gd name="T71" fmla="*/ 8 h 46"/>
                  <a:gd name="T72" fmla="*/ 5 w 27"/>
                  <a:gd name="T73" fmla="*/ 5 h 46"/>
                  <a:gd name="T74" fmla="*/ 0 w 27"/>
                  <a:gd name="T75" fmla="*/ 0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46">
                    <a:moveTo>
                      <a:pt x="0" y="0"/>
                    </a:moveTo>
                    <a:cubicBezTo>
                      <a:pt x="0" y="2"/>
                      <a:pt x="0" y="5"/>
                      <a:pt x="2" y="5"/>
                    </a:cubicBezTo>
                    <a:cubicBezTo>
                      <a:pt x="1" y="7"/>
                      <a:pt x="2" y="8"/>
                      <a:pt x="4" y="8"/>
                    </a:cubicBezTo>
                    <a:cubicBezTo>
                      <a:pt x="5" y="8"/>
                      <a:pt x="5" y="8"/>
                      <a:pt x="6" y="7"/>
                    </a:cubicBezTo>
                    <a:cubicBezTo>
                      <a:pt x="5" y="8"/>
                      <a:pt x="4" y="12"/>
                      <a:pt x="4" y="13"/>
                    </a:cubicBezTo>
                    <a:cubicBezTo>
                      <a:pt x="4" y="14"/>
                      <a:pt x="6" y="16"/>
                      <a:pt x="6" y="17"/>
                    </a:cubicBezTo>
                    <a:cubicBezTo>
                      <a:pt x="7" y="22"/>
                      <a:pt x="7" y="25"/>
                      <a:pt x="9" y="30"/>
                    </a:cubicBezTo>
                    <a:cubicBezTo>
                      <a:pt x="11" y="30"/>
                      <a:pt x="13" y="29"/>
                      <a:pt x="14" y="29"/>
                    </a:cubicBezTo>
                    <a:cubicBezTo>
                      <a:pt x="14" y="31"/>
                      <a:pt x="16" y="33"/>
                      <a:pt x="15" y="35"/>
                    </a:cubicBezTo>
                    <a:cubicBezTo>
                      <a:pt x="15" y="36"/>
                      <a:pt x="15" y="36"/>
                      <a:pt x="15" y="36"/>
                    </a:cubicBezTo>
                    <a:cubicBezTo>
                      <a:pt x="15" y="36"/>
                      <a:pt x="14" y="36"/>
                      <a:pt x="14" y="36"/>
                    </a:cubicBezTo>
                    <a:cubicBezTo>
                      <a:pt x="14" y="35"/>
                      <a:pt x="14" y="35"/>
                      <a:pt x="14" y="35"/>
                    </a:cubicBezTo>
                    <a:cubicBezTo>
                      <a:pt x="14" y="35"/>
                      <a:pt x="14" y="35"/>
                      <a:pt x="14" y="35"/>
                    </a:cubicBezTo>
                    <a:cubicBezTo>
                      <a:pt x="12" y="35"/>
                      <a:pt x="12" y="35"/>
                      <a:pt x="12" y="35"/>
                    </a:cubicBezTo>
                    <a:cubicBezTo>
                      <a:pt x="11" y="38"/>
                      <a:pt x="11" y="38"/>
                      <a:pt x="11" y="38"/>
                    </a:cubicBezTo>
                    <a:cubicBezTo>
                      <a:pt x="10" y="41"/>
                      <a:pt x="9" y="44"/>
                      <a:pt x="9" y="46"/>
                    </a:cubicBezTo>
                    <a:cubicBezTo>
                      <a:pt x="11" y="46"/>
                      <a:pt x="12" y="45"/>
                      <a:pt x="14" y="44"/>
                    </a:cubicBezTo>
                    <a:cubicBezTo>
                      <a:pt x="13" y="43"/>
                      <a:pt x="23" y="39"/>
                      <a:pt x="20" y="37"/>
                    </a:cubicBezTo>
                    <a:cubicBezTo>
                      <a:pt x="22" y="36"/>
                      <a:pt x="25" y="36"/>
                      <a:pt x="26" y="34"/>
                    </a:cubicBezTo>
                    <a:cubicBezTo>
                      <a:pt x="27" y="32"/>
                      <a:pt x="26" y="32"/>
                      <a:pt x="25" y="30"/>
                    </a:cubicBezTo>
                    <a:cubicBezTo>
                      <a:pt x="25" y="29"/>
                      <a:pt x="24" y="27"/>
                      <a:pt x="23" y="26"/>
                    </a:cubicBezTo>
                    <a:cubicBezTo>
                      <a:pt x="22" y="25"/>
                      <a:pt x="21" y="23"/>
                      <a:pt x="20" y="22"/>
                    </a:cubicBezTo>
                    <a:cubicBezTo>
                      <a:pt x="19" y="21"/>
                      <a:pt x="18" y="19"/>
                      <a:pt x="17" y="19"/>
                    </a:cubicBezTo>
                    <a:cubicBezTo>
                      <a:pt x="17" y="19"/>
                      <a:pt x="17" y="19"/>
                      <a:pt x="16" y="19"/>
                    </a:cubicBezTo>
                    <a:cubicBezTo>
                      <a:pt x="17" y="15"/>
                      <a:pt x="17" y="15"/>
                      <a:pt x="16" y="11"/>
                    </a:cubicBezTo>
                    <a:cubicBezTo>
                      <a:pt x="18" y="12"/>
                      <a:pt x="19" y="15"/>
                      <a:pt x="20" y="18"/>
                    </a:cubicBezTo>
                    <a:cubicBezTo>
                      <a:pt x="21" y="19"/>
                      <a:pt x="22" y="20"/>
                      <a:pt x="23" y="21"/>
                    </a:cubicBezTo>
                    <a:cubicBezTo>
                      <a:pt x="24" y="24"/>
                      <a:pt x="24" y="25"/>
                      <a:pt x="27" y="27"/>
                    </a:cubicBezTo>
                    <a:cubicBezTo>
                      <a:pt x="26" y="25"/>
                      <a:pt x="25" y="24"/>
                      <a:pt x="25" y="22"/>
                    </a:cubicBezTo>
                    <a:cubicBezTo>
                      <a:pt x="25" y="20"/>
                      <a:pt x="24" y="20"/>
                      <a:pt x="23" y="18"/>
                    </a:cubicBezTo>
                    <a:cubicBezTo>
                      <a:pt x="22" y="15"/>
                      <a:pt x="19" y="9"/>
                      <a:pt x="17" y="8"/>
                    </a:cubicBezTo>
                    <a:cubicBezTo>
                      <a:pt x="17" y="8"/>
                      <a:pt x="16" y="8"/>
                      <a:pt x="16" y="8"/>
                    </a:cubicBezTo>
                    <a:cubicBezTo>
                      <a:pt x="16" y="8"/>
                      <a:pt x="15" y="8"/>
                      <a:pt x="15" y="8"/>
                    </a:cubicBezTo>
                    <a:cubicBezTo>
                      <a:pt x="15" y="8"/>
                      <a:pt x="15" y="8"/>
                      <a:pt x="14" y="8"/>
                    </a:cubicBezTo>
                    <a:cubicBezTo>
                      <a:pt x="14" y="8"/>
                      <a:pt x="13" y="8"/>
                      <a:pt x="13" y="8"/>
                    </a:cubicBezTo>
                    <a:cubicBezTo>
                      <a:pt x="11" y="8"/>
                      <a:pt x="10" y="8"/>
                      <a:pt x="9" y="8"/>
                    </a:cubicBezTo>
                    <a:cubicBezTo>
                      <a:pt x="7" y="8"/>
                      <a:pt x="7" y="7"/>
                      <a:pt x="5" y="5"/>
                    </a:cubicBezTo>
                    <a:cubicBezTo>
                      <a:pt x="4"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31"/>
              <p:cNvSpPr/>
              <p:nvPr/>
            </p:nvSpPr>
            <p:spPr bwMode="auto">
              <a:xfrm>
                <a:off x="2678" y="1587"/>
                <a:ext cx="16" cy="10"/>
              </a:xfrm>
              <a:custGeom>
                <a:gdLst>
                  <a:gd name="T0" fmla="*/ 5 w 7"/>
                  <a:gd name="T1" fmla="*/ 0 h 4"/>
                  <a:gd name="T2" fmla="*/ 2 w 7"/>
                  <a:gd name="T3" fmla="*/ 3 h 4"/>
                  <a:gd name="T4" fmla="*/ 4 w 7"/>
                  <a:gd name="T5" fmla="*/ 4 h 4"/>
                  <a:gd name="T6" fmla="*/ 4 w 7"/>
                  <a:gd name="T7" fmla="*/ 4 h 4"/>
                  <a:gd name="T8" fmla="*/ 5 w 7"/>
                  <a:gd name="T9" fmla="*/ 4 h 4"/>
                  <a:gd name="T10" fmla="*/ 5 w 7"/>
                  <a:gd name="T11" fmla="*/ 4 h 4"/>
                  <a:gd name="T12" fmla="*/ 5 w 7"/>
                  <a:gd name="T13" fmla="*/ 4 h 4"/>
                  <a:gd name="T14" fmla="*/ 5 w 7"/>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5" y="0"/>
                    </a:moveTo>
                    <a:cubicBezTo>
                      <a:pt x="4" y="0"/>
                      <a:pt x="0" y="0"/>
                      <a:pt x="2" y="3"/>
                    </a:cubicBezTo>
                    <a:cubicBezTo>
                      <a:pt x="2" y="4"/>
                      <a:pt x="3" y="4"/>
                      <a:pt x="4" y="4"/>
                    </a:cubicBezTo>
                    <a:cubicBezTo>
                      <a:pt x="4" y="4"/>
                      <a:pt x="4" y="4"/>
                      <a:pt x="4" y="4"/>
                    </a:cubicBezTo>
                    <a:cubicBezTo>
                      <a:pt x="4" y="4"/>
                      <a:pt x="5" y="4"/>
                      <a:pt x="5" y="4"/>
                    </a:cubicBezTo>
                    <a:cubicBezTo>
                      <a:pt x="5" y="4"/>
                      <a:pt x="5" y="4"/>
                      <a:pt x="5" y="4"/>
                    </a:cubicBezTo>
                    <a:cubicBezTo>
                      <a:pt x="5" y="4"/>
                      <a:pt x="5" y="4"/>
                      <a:pt x="5" y="4"/>
                    </a:cubicBezTo>
                    <a:cubicBezTo>
                      <a:pt x="7" y="4"/>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32"/>
              <p:cNvSpPr/>
              <p:nvPr/>
            </p:nvSpPr>
            <p:spPr bwMode="auto">
              <a:xfrm>
                <a:off x="2770" y="1540"/>
                <a:ext cx="50" cy="57"/>
              </a:xfrm>
              <a:custGeom>
                <a:gdLst>
                  <a:gd name="T0" fmla="*/ 12 w 21"/>
                  <a:gd name="T1" fmla="*/ 0 h 24"/>
                  <a:gd name="T2" fmla="*/ 11 w 21"/>
                  <a:gd name="T3" fmla="*/ 0 h 24"/>
                  <a:gd name="T4" fmla="*/ 7 w 21"/>
                  <a:gd name="T5" fmla="*/ 1 h 24"/>
                  <a:gd name="T6" fmla="*/ 9 w 21"/>
                  <a:gd name="T7" fmla="*/ 3 h 24"/>
                  <a:gd name="T8" fmla="*/ 8 w 21"/>
                  <a:gd name="T9" fmla="*/ 3 h 24"/>
                  <a:gd name="T10" fmla="*/ 7 w 21"/>
                  <a:gd name="T11" fmla="*/ 3 h 24"/>
                  <a:gd name="T12" fmla="*/ 6 w 21"/>
                  <a:gd name="T13" fmla="*/ 3 h 24"/>
                  <a:gd name="T14" fmla="*/ 3 w 21"/>
                  <a:gd name="T15" fmla="*/ 4 h 24"/>
                  <a:gd name="T16" fmla="*/ 4 w 21"/>
                  <a:gd name="T17" fmla="*/ 5 h 24"/>
                  <a:gd name="T18" fmla="*/ 5 w 21"/>
                  <a:gd name="T19" fmla="*/ 4 h 24"/>
                  <a:gd name="T20" fmla="*/ 6 w 21"/>
                  <a:gd name="T21" fmla="*/ 4 h 24"/>
                  <a:gd name="T22" fmla="*/ 8 w 21"/>
                  <a:gd name="T23" fmla="*/ 5 h 24"/>
                  <a:gd name="T24" fmla="*/ 3 w 21"/>
                  <a:gd name="T25" fmla="*/ 7 h 24"/>
                  <a:gd name="T26" fmla="*/ 3 w 21"/>
                  <a:gd name="T27" fmla="*/ 7 h 24"/>
                  <a:gd name="T28" fmla="*/ 5 w 21"/>
                  <a:gd name="T29" fmla="*/ 7 h 24"/>
                  <a:gd name="T30" fmla="*/ 7 w 21"/>
                  <a:gd name="T31" fmla="*/ 7 h 24"/>
                  <a:gd name="T32" fmla="*/ 7 w 21"/>
                  <a:gd name="T33" fmla="*/ 7 h 24"/>
                  <a:gd name="T34" fmla="*/ 7 w 21"/>
                  <a:gd name="T35" fmla="*/ 7 h 24"/>
                  <a:gd name="T36" fmla="*/ 3 w 21"/>
                  <a:gd name="T37" fmla="*/ 10 h 24"/>
                  <a:gd name="T38" fmla="*/ 4 w 21"/>
                  <a:gd name="T39" fmla="*/ 13 h 24"/>
                  <a:gd name="T40" fmla="*/ 1 w 21"/>
                  <a:gd name="T41" fmla="*/ 16 h 24"/>
                  <a:gd name="T42" fmla="*/ 5 w 21"/>
                  <a:gd name="T43" fmla="*/ 20 h 24"/>
                  <a:gd name="T44" fmla="*/ 9 w 21"/>
                  <a:gd name="T45" fmla="*/ 13 h 24"/>
                  <a:gd name="T46" fmla="*/ 11 w 21"/>
                  <a:gd name="T47" fmla="*/ 17 h 24"/>
                  <a:gd name="T48" fmla="*/ 12 w 21"/>
                  <a:gd name="T49" fmla="*/ 16 h 24"/>
                  <a:gd name="T50" fmla="*/ 11 w 21"/>
                  <a:gd name="T51" fmla="*/ 11 h 24"/>
                  <a:gd name="T52" fmla="*/ 13 w 21"/>
                  <a:gd name="T53" fmla="*/ 17 h 24"/>
                  <a:gd name="T54" fmla="*/ 11 w 21"/>
                  <a:gd name="T55" fmla="*/ 21 h 24"/>
                  <a:gd name="T56" fmla="*/ 12 w 21"/>
                  <a:gd name="T57" fmla="*/ 22 h 24"/>
                  <a:gd name="T58" fmla="*/ 14 w 21"/>
                  <a:gd name="T59" fmla="*/ 17 h 24"/>
                  <a:gd name="T60" fmla="*/ 16 w 21"/>
                  <a:gd name="T61" fmla="*/ 24 h 24"/>
                  <a:gd name="T62" fmla="*/ 18 w 21"/>
                  <a:gd name="T63" fmla="*/ 5 h 24"/>
                  <a:gd name="T64" fmla="*/ 12 w 21"/>
                  <a:gd name="T65"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4">
                    <a:moveTo>
                      <a:pt x="12" y="0"/>
                    </a:moveTo>
                    <a:cubicBezTo>
                      <a:pt x="12" y="0"/>
                      <a:pt x="11" y="0"/>
                      <a:pt x="11" y="0"/>
                    </a:cubicBezTo>
                    <a:cubicBezTo>
                      <a:pt x="10" y="0"/>
                      <a:pt x="8" y="0"/>
                      <a:pt x="7" y="1"/>
                    </a:cubicBezTo>
                    <a:cubicBezTo>
                      <a:pt x="6" y="2"/>
                      <a:pt x="6" y="3"/>
                      <a:pt x="9" y="3"/>
                    </a:cubicBezTo>
                    <a:cubicBezTo>
                      <a:pt x="9" y="3"/>
                      <a:pt x="9" y="3"/>
                      <a:pt x="8" y="3"/>
                    </a:cubicBezTo>
                    <a:cubicBezTo>
                      <a:pt x="8" y="3"/>
                      <a:pt x="8" y="3"/>
                      <a:pt x="7" y="3"/>
                    </a:cubicBezTo>
                    <a:cubicBezTo>
                      <a:pt x="7" y="3"/>
                      <a:pt x="6" y="3"/>
                      <a:pt x="6" y="3"/>
                    </a:cubicBezTo>
                    <a:cubicBezTo>
                      <a:pt x="5" y="3"/>
                      <a:pt x="3" y="3"/>
                      <a:pt x="3" y="4"/>
                    </a:cubicBezTo>
                    <a:cubicBezTo>
                      <a:pt x="3" y="4"/>
                      <a:pt x="4" y="5"/>
                      <a:pt x="4" y="5"/>
                    </a:cubicBezTo>
                    <a:cubicBezTo>
                      <a:pt x="4" y="5"/>
                      <a:pt x="5" y="4"/>
                      <a:pt x="5" y="4"/>
                    </a:cubicBezTo>
                    <a:cubicBezTo>
                      <a:pt x="6" y="4"/>
                      <a:pt x="6" y="4"/>
                      <a:pt x="6" y="4"/>
                    </a:cubicBezTo>
                    <a:cubicBezTo>
                      <a:pt x="7" y="4"/>
                      <a:pt x="8" y="4"/>
                      <a:pt x="8" y="5"/>
                    </a:cubicBezTo>
                    <a:cubicBezTo>
                      <a:pt x="7" y="6"/>
                      <a:pt x="4" y="5"/>
                      <a:pt x="3" y="7"/>
                    </a:cubicBezTo>
                    <a:cubicBezTo>
                      <a:pt x="3" y="7"/>
                      <a:pt x="3" y="7"/>
                      <a:pt x="3" y="7"/>
                    </a:cubicBezTo>
                    <a:cubicBezTo>
                      <a:pt x="4" y="7"/>
                      <a:pt x="4" y="7"/>
                      <a:pt x="5" y="7"/>
                    </a:cubicBezTo>
                    <a:cubicBezTo>
                      <a:pt x="6" y="7"/>
                      <a:pt x="6" y="7"/>
                      <a:pt x="7" y="7"/>
                    </a:cubicBezTo>
                    <a:cubicBezTo>
                      <a:pt x="7" y="7"/>
                      <a:pt x="7" y="7"/>
                      <a:pt x="7" y="7"/>
                    </a:cubicBezTo>
                    <a:cubicBezTo>
                      <a:pt x="7" y="7"/>
                      <a:pt x="7" y="7"/>
                      <a:pt x="7" y="7"/>
                    </a:cubicBezTo>
                    <a:cubicBezTo>
                      <a:pt x="5" y="7"/>
                      <a:pt x="3" y="8"/>
                      <a:pt x="3" y="10"/>
                    </a:cubicBezTo>
                    <a:cubicBezTo>
                      <a:pt x="3" y="12"/>
                      <a:pt x="5" y="10"/>
                      <a:pt x="4" y="13"/>
                    </a:cubicBezTo>
                    <a:cubicBezTo>
                      <a:pt x="4" y="14"/>
                      <a:pt x="0" y="14"/>
                      <a:pt x="1" y="16"/>
                    </a:cubicBezTo>
                    <a:cubicBezTo>
                      <a:pt x="1" y="17"/>
                      <a:pt x="4" y="20"/>
                      <a:pt x="5" y="20"/>
                    </a:cubicBezTo>
                    <a:cubicBezTo>
                      <a:pt x="7" y="18"/>
                      <a:pt x="8" y="15"/>
                      <a:pt x="9" y="13"/>
                    </a:cubicBezTo>
                    <a:cubicBezTo>
                      <a:pt x="9" y="14"/>
                      <a:pt x="10" y="17"/>
                      <a:pt x="11" y="17"/>
                    </a:cubicBezTo>
                    <a:cubicBezTo>
                      <a:pt x="11" y="17"/>
                      <a:pt x="11" y="17"/>
                      <a:pt x="12" y="16"/>
                    </a:cubicBezTo>
                    <a:cubicBezTo>
                      <a:pt x="12" y="16"/>
                      <a:pt x="11" y="12"/>
                      <a:pt x="11" y="11"/>
                    </a:cubicBezTo>
                    <a:cubicBezTo>
                      <a:pt x="12" y="13"/>
                      <a:pt x="13" y="15"/>
                      <a:pt x="13" y="17"/>
                    </a:cubicBezTo>
                    <a:cubicBezTo>
                      <a:pt x="12" y="18"/>
                      <a:pt x="10" y="19"/>
                      <a:pt x="11" y="21"/>
                    </a:cubicBezTo>
                    <a:cubicBezTo>
                      <a:pt x="12" y="21"/>
                      <a:pt x="12" y="22"/>
                      <a:pt x="12" y="22"/>
                    </a:cubicBezTo>
                    <a:cubicBezTo>
                      <a:pt x="13" y="22"/>
                      <a:pt x="14" y="18"/>
                      <a:pt x="14" y="17"/>
                    </a:cubicBezTo>
                    <a:cubicBezTo>
                      <a:pt x="15" y="19"/>
                      <a:pt x="14" y="21"/>
                      <a:pt x="16" y="24"/>
                    </a:cubicBezTo>
                    <a:cubicBezTo>
                      <a:pt x="21" y="20"/>
                      <a:pt x="21" y="10"/>
                      <a:pt x="18" y="5"/>
                    </a:cubicBezTo>
                    <a:cubicBezTo>
                      <a:pt x="16" y="2"/>
                      <a:pt x="15"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33"/>
              <p:cNvSpPr/>
              <p:nvPr/>
            </p:nvSpPr>
            <p:spPr bwMode="auto">
              <a:xfrm>
                <a:off x="786" y="1720"/>
                <a:ext cx="12" cy="14"/>
              </a:xfrm>
              <a:custGeom>
                <a:gdLst>
                  <a:gd name="T0" fmla="*/ 0 w 5"/>
                  <a:gd name="T1" fmla="*/ 0 h 6"/>
                  <a:gd name="T2" fmla="*/ 0 w 5"/>
                  <a:gd name="T3" fmla="*/ 6 h 6"/>
                  <a:gd name="T4" fmla="*/ 5 w 5"/>
                  <a:gd name="T5" fmla="*/ 2 h 6"/>
                  <a:gd name="T6" fmla="*/ 0 w 5"/>
                  <a:gd name="T7" fmla="*/ 0 h 6"/>
                </a:gdLst>
                <a:cxnLst>
                  <a:cxn ang="0">
                    <a:pos x="T0" y="T1"/>
                  </a:cxn>
                  <a:cxn ang="0">
                    <a:pos x="T2" y="T3"/>
                  </a:cxn>
                  <a:cxn ang="0">
                    <a:pos x="T4" y="T5"/>
                  </a:cxn>
                  <a:cxn ang="0">
                    <a:pos x="T6" y="T7"/>
                  </a:cxn>
                </a:cxnLst>
                <a:rect l="0" t="0" r="r" b="b"/>
                <a:pathLst>
                  <a:path w="5" h="6">
                    <a:moveTo>
                      <a:pt x="0" y="0"/>
                    </a:moveTo>
                    <a:cubicBezTo>
                      <a:pt x="0" y="2"/>
                      <a:pt x="0" y="4"/>
                      <a:pt x="0" y="6"/>
                    </a:cubicBezTo>
                    <a:cubicBezTo>
                      <a:pt x="1" y="5"/>
                      <a:pt x="3" y="3"/>
                      <a:pt x="5" y="2"/>
                    </a:cubicBezTo>
                    <a:cubicBezTo>
                      <a:pt x="3" y="2"/>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34"/>
              <p:cNvSpPr/>
              <p:nvPr/>
            </p:nvSpPr>
            <p:spPr bwMode="auto">
              <a:xfrm>
                <a:off x="5021" y="2203"/>
                <a:ext cx="12" cy="7"/>
              </a:xfrm>
              <a:custGeom>
                <a:gdLst>
                  <a:gd name="T0" fmla="*/ 5 w 5"/>
                  <a:gd name="T1" fmla="*/ 0 h 3"/>
                  <a:gd name="T2" fmla="*/ 0 w 5"/>
                  <a:gd name="T3" fmla="*/ 3 h 3"/>
                  <a:gd name="T4" fmla="*/ 5 w 5"/>
                  <a:gd name="T5" fmla="*/ 0 h 3"/>
                </a:gdLst>
                <a:cxnLst>
                  <a:cxn ang="0">
                    <a:pos x="T0" y="T1"/>
                  </a:cxn>
                  <a:cxn ang="0">
                    <a:pos x="T2" y="T3"/>
                  </a:cxn>
                  <a:cxn ang="0">
                    <a:pos x="T4" y="T5"/>
                  </a:cxn>
                </a:cxnLst>
                <a:rect l="0" t="0" r="r" b="b"/>
                <a:pathLst>
                  <a:path w="5" h="3">
                    <a:moveTo>
                      <a:pt x="5" y="0"/>
                    </a:moveTo>
                    <a:cubicBezTo>
                      <a:pt x="3" y="0"/>
                      <a:pt x="1" y="1"/>
                      <a:pt x="0" y="3"/>
                    </a:cubicBezTo>
                    <a:cubicBezTo>
                      <a:pt x="2" y="2"/>
                      <a:pt x="3"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35"/>
              <p:cNvSpPr/>
              <p:nvPr/>
            </p:nvSpPr>
            <p:spPr bwMode="auto">
              <a:xfrm>
                <a:off x="2789" y="1614"/>
                <a:ext cx="14" cy="7"/>
              </a:xfrm>
              <a:custGeom>
                <a:gdLst>
                  <a:gd name="T0" fmla="*/ 6 w 6"/>
                  <a:gd name="T1" fmla="*/ 0 h 3"/>
                  <a:gd name="T2" fmla="*/ 0 w 6"/>
                  <a:gd name="T3" fmla="*/ 1 h 3"/>
                  <a:gd name="T4" fmla="*/ 3 w 6"/>
                  <a:gd name="T5" fmla="*/ 3 h 3"/>
                  <a:gd name="T6" fmla="*/ 6 w 6"/>
                  <a:gd name="T7" fmla="*/ 0 h 3"/>
                </a:gdLst>
                <a:cxnLst>
                  <a:cxn ang="0">
                    <a:pos x="T0" y="T1"/>
                  </a:cxn>
                  <a:cxn ang="0">
                    <a:pos x="T2" y="T3"/>
                  </a:cxn>
                  <a:cxn ang="0">
                    <a:pos x="T4" y="T5"/>
                  </a:cxn>
                  <a:cxn ang="0">
                    <a:pos x="T6" y="T7"/>
                  </a:cxn>
                </a:cxnLst>
                <a:rect l="0" t="0" r="r" b="b"/>
                <a:pathLst>
                  <a:path w="6" h="3">
                    <a:moveTo>
                      <a:pt x="6" y="0"/>
                    </a:moveTo>
                    <a:cubicBezTo>
                      <a:pt x="5" y="0"/>
                      <a:pt x="1" y="0"/>
                      <a:pt x="0" y="1"/>
                    </a:cubicBezTo>
                    <a:cubicBezTo>
                      <a:pt x="0" y="2"/>
                      <a:pt x="2" y="3"/>
                      <a:pt x="3" y="3"/>
                    </a:cubicBezTo>
                    <a:cubicBezTo>
                      <a:pt x="4" y="3"/>
                      <a:pt x="5"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36"/>
              <p:cNvSpPr/>
              <p:nvPr/>
            </p:nvSpPr>
            <p:spPr bwMode="auto">
              <a:xfrm>
                <a:off x="786" y="722"/>
                <a:ext cx="7" cy="7"/>
              </a:xfrm>
              <a:custGeom>
                <a:gdLst>
                  <a:gd name="T0" fmla="*/ 3 w 3"/>
                  <a:gd name="T1" fmla="*/ 0 h 3"/>
                  <a:gd name="T2" fmla="*/ 0 w 3"/>
                  <a:gd name="T3" fmla="*/ 1 h 3"/>
                  <a:gd name="T4" fmla="*/ 0 w 3"/>
                  <a:gd name="T5" fmla="*/ 3 h 3"/>
                  <a:gd name="T6" fmla="*/ 3 w 3"/>
                  <a:gd name="T7" fmla="*/ 0 h 3"/>
                </a:gdLst>
                <a:cxnLst>
                  <a:cxn ang="0">
                    <a:pos x="T0" y="T1"/>
                  </a:cxn>
                  <a:cxn ang="0">
                    <a:pos x="T2" y="T3"/>
                  </a:cxn>
                  <a:cxn ang="0">
                    <a:pos x="T4" y="T5"/>
                  </a:cxn>
                  <a:cxn ang="0">
                    <a:pos x="T6" y="T7"/>
                  </a:cxn>
                </a:cxnLst>
                <a:rect l="0" t="0" r="r" b="b"/>
                <a:pathLst>
                  <a:path w="3" h="3">
                    <a:moveTo>
                      <a:pt x="3" y="0"/>
                    </a:moveTo>
                    <a:cubicBezTo>
                      <a:pt x="2" y="0"/>
                      <a:pt x="1" y="1"/>
                      <a:pt x="0" y="1"/>
                    </a:cubicBezTo>
                    <a:cubicBezTo>
                      <a:pt x="0" y="2"/>
                      <a:pt x="0"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37"/>
              <p:cNvSpPr>
                <a:spLocks noEditPoints="1"/>
              </p:cNvSpPr>
              <p:nvPr/>
            </p:nvSpPr>
            <p:spPr bwMode="auto">
              <a:xfrm>
                <a:off x="2671" y="1509"/>
                <a:ext cx="92" cy="126"/>
              </a:xfrm>
              <a:custGeom>
                <a:gdLst>
                  <a:gd name="T0" fmla="*/ 16 w 39"/>
                  <a:gd name="T1" fmla="*/ 23 h 53"/>
                  <a:gd name="T2" fmla="*/ 17 w 39"/>
                  <a:gd name="T3" fmla="*/ 23 h 53"/>
                  <a:gd name="T4" fmla="*/ 17 w 39"/>
                  <a:gd name="T5" fmla="*/ 23 h 53"/>
                  <a:gd name="T6" fmla="*/ 2 w 39"/>
                  <a:gd name="T7" fmla="*/ 0 h 53"/>
                  <a:gd name="T8" fmla="*/ 1 w 39"/>
                  <a:gd name="T9" fmla="*/ 4 h 53"/>
                  <a:gd name="T10" fmla="*/ 9 w 39"/>
                  <a:gd name="T11" fmla="*/ 11 h 53"/>
                  <a:gd name="T12" fmla="*/ 11 w 39"/>
                  <a:gd name="T13" fmla="*/ 15 h 53"/>
                  <a:gd name="T14" fmla="*/ 9 w 39"/>
                  <a:gd name="T15" fmla="*/ 25 h 53"/>
                  <a:gd name="T16" fmla="*/ 13 w 39"/>
                  <a:gd name="T17" fmla="*/ 25 h 53"/>
                  <a:gd name="T18" fmla="*/ 14 w 39"/>
                  <a:gd name="T19" fmla="*/ 29 h 53"/>
                  <a:gd name="T20" fmla="*/ 16 w 39"/>
                  <a:gd name="T21" fmla="*/ 32 h 53"/>
                  <a:gd name="T22" fmla="*/ 13 w 39"/>
                  <a:gd name="T23" fmla="*/ 32 h 53"/>
                  <a:gd name="T24" fmla="*/ 16 w 39"/>
                  <a:gd name="T25" fmla="*/ 35 h 53"/>
                  <a:gd name="T26" fmla="*/ 15 w 39"/>
                  <a:gd name="T27" fmla="*/ 37 h 53"/>
                  <a:gd name="T28" fmla="*/ 19 w 39"/>
                  <a:gd name="T29" fmla="*/ 35 h 53"/>
                  <a:gd name="T30" fmla="*/ 20 w 39"/>
                  <a:gd name="T31" fmla="*/ 38 h 53"/>
                  <a:gd name="T32" fmla="*/ 23 w 39"/>
                  <a:gd name="T33" fmla="*/ 35 h 53"/>
                  <a:gd name="T34" fmla="*/ 25 w 39"/>
                  <a:gd name="T35" fmla="*/ 40 h 53"/>
                  <a:gd name="T36" fmla="*/ 27 w 39"/>
                  <a:gd name="T37" fmla="*/ 46 h 53"/>
                  <a:gd name="T38" fmla="*/ 34 w 39"/>
                  <a:gd name="T39" fmla="*/ 52 h 53"/>
                  <a:gd name="T40" fmla="*/ 37 w 39"/>
                  <a:gd name="T41" fmla="*/ 52 h 53"/>
                  <a:gd name="T42" fmla="*/ 39 w 39"/>
                  <a:gd name="T43" fmla="*/ 43 h 53"/>
                  <a:gd name="T44" fmla="*/ 34 w 39"/>
                  <a:gd name="T45" fmla="*/ 44 h 53"/>
                  <a:gd name="T46" fmla="*/ 38 w 39"/>
                  <a:gd name="T47" fmla="*/ 35 h 53"/>
                  <a:gd name="T48" fmla="*/ 33 w 39"/>
                  <a:gd name="T49" fmla="*/ 30 h 53"/>
                  <a:gd name="T50" fmla="*/ 31 w 39"/>
                  <a:gd name="T51" fmla="*/ 30 h 53"/>
                  <a:gd name="T52" fmla="*/ 30 w 39"/>
                  <a:gd name="T53" fmla="*/ 31 h 53"/>
                  <a:gd name="T54" fmla="*/ 32 w 39"/>
                  <a:gd name="T55" fmla="*/ 29 h 53"/>
                  <a:gd name="T56" fmla="*/ 24 w 39"/>
                  <a:gd name="T57" fmla="*/ 28 h 53"/>
                  <a:gd name="T58" fmla="*/ 26 w 39"/>
                  <a:gd name="T59" fmla="*/ 23 h 53"/>
                  <a:gd name="T60" fmla="*/ 28 w 39"/>
                  <a:gd name="T61" fmla="*/ 25 h 53"/>
                  <a:gd name="T62" fmla="*/ 31 w 39"/>
                  <a:gd name="T63" fmla="*/ 25 h 53"/>
                  <a:gd name="T64" fmla="*/ 19 w 39"/>
                  <a:gd name="T65" fmla="*/ 10 h 53"/>
                  <a:gd name="T66" fmla="*/ 11 w 39"/>
                  <a:gd name="T67" fmla="*/ 1 h 53"/>
                  <a:gd name="T68" fmla="*/ 8 w 39"/>
                  <a:gd name="T69" fmla="*/ 0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52">
                    <a:moveTo>
                      <a:pt x="16" y="23"/>
                    </a:moveTo>
                    <a:cubicBezTo>
                      <a:pt x="16" y="23"/>
                      <a:pt x="16" y="23"/>
                      <a:pt x="16" y="23"/>
                    </a:cubicBezTo>
                    <a:cubicBezTo>
                      <a:pt x="16" y="23"/>
                      <a:pt x="16" y="23"/>
                      <a:pt x="16" y="23"/>
                    </a:cubicBezTo>
                    <a:moveTo>
                      <a:pt x="17" y="23"/>
                    </a:moveTo>
                    <a:cubicBezTo>
                      <a:pt x="17" y="23"/>
                      <a:pt x="17" y="23"/>
                      <a:pt x="17" y="23"/>
                    </a:cubicBezTo>
                    <a:cubicBezTo>
                      <a:pt x="17" y="23"/>
                      <a:pt x="17" y="23"/>
                      <a:pt x="17" y="23"/>
                    </a:cubicBezTo>
                    <a:cubicBezTo>
                      <a:pt x="17" y="23"/>
                      <a:pt x="17" y="23"/>
                      <a:pt x="17" y="23"/>
                    </a:cubicBezTo>
                    <a:moveTo>
                      <a:pt x="2" y="0"/>
                    </a:moveTo>
                    <a:cubicBezTo>
                      <a:pt x="1" y="0"/>
                      <a:pt x="1" y="0"/>
                      <a:pt x="1" y="0"/>
                    </a:cubicBezTo>
                    <a:cubicBezTo>
                      <a:pt x="1" y="0"/>
                      <a:pt x="0" y="3"/>
                      <a:pt x="1" y="4"/>
                    </a:cubicBezTo>
                    <a:cubicBezTo>
                      <a:pt x="2" y="6"/>
                      <a:pt x="7" y="4"/>
                      <a:pt x="9" y="7"/>
                    </a:cubicBezTo>
                    <a:cubicBezTo>
                      <a:pt x="9" y="7"/>
                      <a:pt x="9" y="10"/>
                      <a:pt x="9" y="11"/>
                    </a:cubicBezTo>
                    <a:cubicBezTo>
                      <a:pt x="9" y="12"/>
                      <a:pt x="9" y="12"/>
                      <a:pt x="9" y="13"/>
                    </a:cubicBezTo>
                    <a:cubicBezTo>
                      <a:pt x="10" y="14"/>
                      <a:pt x="11" y="14"/>
                      <a:pt x="11" y="15"/>
                    </a:cubicBezTo>
                    <a:cubicBezTo>
                      <a:pt x="13" y="19"/>
                      <a:pt x="4" y="19"/>
                      <a:pt x="6" y="23"/>
                    </a:cubicBezTo>
                    <a:cubicBezTo>
                      <a:pt x="7" y="24"/>
                      <a:pt x="8" y="25"/>
                      <a:pt x="9" y="25"/>
                    </a:cubicBezTo>
                    <a:cubicBezTo>
                      <a:pt x="11" y="25"/>
                      <a:pt x="14" y="24"/>
                      <a:pt x="16" y="23"/>
                    </a:cubicBezTo>
                    <a:cubicBezTo>
                      <a:pt x="15" y="24"/>
                      <a:pt x="14" y="24"/>
                      <a:pt x="13" y="25"/>
                    </a:cubicBezTo>
                    <a:cubicBezTo>
                      <a:pt x="12" y="27"/>
                      <a:pt x="13" y="27"/>
                      <a:pt x="15" y="29"/>
                    </a:cubicBezTo>
                    <a:cubicBezTo>
                      <a:pt x="14" y="29"/>
                      <a:pt x="14" y="29"/>
                      <a:pt x="14" y="29"/>
                    </a:cubicBezTo>
                    <a:cubicBezTo>
                      <a:pt x="15" y="30"/>
                      <a:pt x="17" y="31"/>
                      <a:pt x="18" y="32"/>
                    </a:cubicBezTo>
                    <a:cubicBezTo>
                      <a:pt x="17" y="32"/>
                      <a:pt x="17" y="32"/>
                      <a:pt x="16" y="32"/>
                    </a:cubicBezTo>
                    <a:cubicBezTo>
                      <a:pt x="15" y="32"/>
                      <a:pt x="15" y="32"/>
                      <a:pt x="14" y="32"/>
                    </a:cubicBezTo>
                    <a:cubicBezTo>
                      <a:pt x="14" y="32"/>
                      <a:pt x="13" y="32"/>
                      <a:pt x="13" y="32"/>
                    </a:cubicBezTo>
                    <a:cubicBezTo>
                      <a:pt x="11" y="32"/>
                      <a:pt x="10" y="32"/>
                      <a:pt x="9" y="33"/>
                    </a:cubicBezTo>
                    <a:cubicBezTo>
                      <a:pt x="10" y="35"/>
                      <a:pt x="13" y="34"/>
                      <a:pt x="16" y="35"/>
                    </a:cubicBezTo>
                    <a:cubicBezTo>
                      <a:pt x="15" y="35"/>
                      <a:pt x="15" y="36"/>
                      <a:pt x="14" y="37"/>
                    </a:cubicBezTo>
                    <a:cubicBezTo>
                      <a:pt x="14" y="37"/>
                      <a:pt x="15" y="37"/>
                      <a:pt x="15" y="37"/>
                    </a:cubicBezTo>
                    <a:cubicBezTo>
                      <a:pt x="16" y="37"/>
                      <a:pt x="16" y="36"/>
                      <a:pt x="17" y="36"/>
                    </a:cubicBezTo>
                    <a:cubicBezTo>
                      <a:pt x="18" y="36"/>
                      <a:pt x="19" y="35"/>
                      <a:pt x="19" y="35"/>
                    </a:cubicBezTo>
                    <a:cubicBezTo>
                      <a:pt x="19" y="35"/>
                      <a:pt x="19" y="35"/>
                      <a:pt x="19" y="35"/>
                    </a:cubicBezTo>
                    <a:cubicBezTo>
                      <a:pt x="20" y="35"/>
                      <a:pt x="20" y="37"/>
                      <a:pt x="20" y="38"/>
                    </a:cubicBezTo>
                    <a:cubicBezTo>
                      <a:pt x="21" y="38"/>
                      <a:pt x="21" y="38"/>
                      <a:pt x="21" y="38"/>
                    </a:cubicBezTo>
                    <a:cubicBezTo>
                      <a:pt x="22" y="38"/>
                      <a:pt x="22" y="37"/>
                      <a:pt x="23" y="35"/>
                    </a:cubicBezTo>
                    <a:cubicBezTo>
                      <a:pt x="25" y="38"/>
                      <a:pt x="23" y="39"/>
                      <a:pt x="24" y="41"/>
                    </a:cubicBezTo>
                    <a:cubicBezTo>
                      <a:pt x="24" y="41"/>
                      <a:pt x="25" y="40"/>
                      <a:pt x="25" y="40"/>
                    </a:cubicBezTo>
                    <a:cubicBezTo>
                      <a:pt x="26" y="40"/>
                      <a:pt x="26" y="41"/>
                      <a:pt x="27" y="42"/>
                    </a:cubicBezTo>
                    <a:cubicBezTo>
                      <a:pt x="24" y="44"/>
                      <a:pt x="24" y="45"/>
                      <a:pt x="27" y="46"/>
                    </a:cubicBezTo>
                    <a:cubicBezTo>
                      <a:pt x="30" y="48"/>
                      <a:pt x="34" y="48"/>
                      <a:pt x="32" y="53"/>
                    </a:cubicBezTo>
                    <a:cubicBezTo>
                      <a:pt x="32" y="52"/>
                      <a:pt x="33" y="52"/>
                      <a:pt x="34" y="52"/>
                    </a:cubicBezTo>
                    <a:cubicBezTo>
                      <a:pt x="34" y="52"/>
                      <a:pt x="35" y="52"/>
                      <a:pt x="36" y="52"/>
                    </a:cubicBezTo>
                    <a:cubicBezTo>
                      <a:pt x="36" y="52"/>
                      <a:pt x="37" y="52"/>
                      <a:pt x="37" y="52"/>
                    </a:cubicBezTo>
                    <a:cubicBezTo>
                      <a:pt x="38" y="52"/>
                      <a:pt x="39" y="52"/>
                      <a:pt x="39" y="49"/>
                    </a:cubicBezTo>
                    <a:cubicBezTo>
                      <a:pt x="39" y="47"/>
                      <a:pt x="39" y="45"/>
                      <a:pt x="39" y="43"/>
                    </a:cubicBezTo>
                    <a:cubicBezTo>
                      <a:pt x="37" y="43"/>
                      <a:pt x="36" y="44"/>
                      <a:pt x="35" y="44"/>
                    </a:cubicBezTo>
                    <a:cubicBezTo>
                      <a:pt x="35" y="44"/>
                      <a:pt x="34" y="44"/>
                      <a:pt x="34" y="44"/>
                    </a:cubicBezTo>
                    <a:cubicBezTo>
                      <a:pt x="35" y="43"/>
                      <a:pt x="38" y="41"/>
                      <a:pt x="38" y="39"/>
                    </a:cubicBezTo>
                    <a:cubicBezTo>
                      <a:pt x="38" y="38"/>
                      <a:pt x="39" y="35"/>
                      <a:pt x="38" y="35"/>
                    </a:cubicBezTo>
                    <a:cubicBezTo>
                      <a:pt x="37" y="35"/>
                      <a:pt x="37" y="35"/>
                      <a:pt x="37" y="36"/>
                    </a:cubicBezTo>
                    <a:cubicBezTo>
                      <a:pt x="36" y="34"/>
                      <a:pt x="34" y="31"/>
                      <a:pt x="33" y="30"/>
                    </a:cubicBezTo>
                    <a:cubicBezTo>
                      <a:pt x="32" y="30"/>
                      <a:pt x="32" y="30"/>
                      <a:pt x="32" y="30"/>
                    </a:cubicBezTo>
                    <a:cubicBezTo>
                      <a:pt x="32" y="30"/>
                      <a:pt x="31" y="30"/>
                      <a:pt x="31" y="30"/>
                    </a:cubicBezTo>
                    <a:cubicBezTo>
                      <a:pt x="31" y="31"/>
                      <a:pt x="30" y="31"/>
                      <a:pt x="30" y="31"/>
                    </a:cubicBezTo>
                    <a:cubicBezTo>
                      <a:pt x="30" y="31"/>
                      <a:pt x="30" y="31"/>
                      <a:pt x="30" y="31"/>
                    </a:cubicBezTo>
                    <a:cubicBezTo>
                      <a:pt x="30" y="31"/>
                      <a:pt x="28" y="30"/>
                      <a:pt x="27" y="30"/>
                    </a:cubicBezTo>
                    <a:cubicBezTo>
                      <a:pt x="29" y="29"/>
                      <a:pt x="30" y="30"/>
                      <a:pt x="32" y="29"/>
                    </a:cubicBezTo>
                    <a:cubicBezTo>
                      <a:pt x="30" y="28"/>
                      <a:pt x="29" y="27"/>
                      <a:pt x="27" y="27"/>
                    </a:cubicBezTo>
                    <a:cubicBezTo>
                      <a:pt x="26" y="27"/>
                      <a:pt x="25" y="28"/>
                      <a:pt x="24" y="28"/>
                    </a:cubicBezTo>
                    <a:cubicBezTo>
                      <a:pt x="23" y="28"/>
                      <a:pt x="23" y="28"/>
                      <a:pt x="23" y="28"/>
                    </a:cubicBezTo>
                    <a:cubicBezTo>
                      <a:pt x="24" y="27"/>
                      <a:pt x="25" y="23"/>
                      <a:pt x="26" y="23"/>
                    </a:cubicBezTo>
                    <a:cubicBezTo>
                      <a:pt x="26" y="23"/>
                      <a:pt x="26" y="23"/>
                      <a:pt x="26" y="23"/>
                    </a:cubicBezTo>
                    <a:cubicBezTo>
                      <a:pt x="27" y="23"/>
                      <a:pt x="27" y="25"/>
                      <a:pt x="28" y="25"/>
                    </a:cubicBezTo>
                    <a:cubicBezTo>
                      <a:pt x="29" y="26"/>
                      <a:pt x="32" y="27"/>
                      <a:pt x="35" y="28"/>
                    </a:cubicBezTo>
                    <a:cubicBezTo>
                      <a:pt x="34" y="26"/>
                      <a:pt x="32" y="26"/>
                      <a:pt x="31" y="25"/>
                    </a:cubicBezTo>
                    <a:cubicBezTo>
                      <a:pt x="30" y="24"/>
                      <a:pt x="29" y="22"/>
                      <a:pt x="28" y="20"/>
                    </a:cubicBezTo>
                    <a:cubicBezTo>
                      <a:pt x="26" y="16"/>
                      <a:pt x="23" y="13"/>
                      <a:pt x="19" y="10"/>
                    </a:cubicBezTo>
                    <a:cubicBezTo>
                      <a:pt x="17" y="9"/>
                      <a:pt x="16" y="9"/>
                      <a:pt x="14" y="9"/>
                    </a:cubicBezTo>
                    <a:cubicBezTo>
                      <a:pt x="10" y="7"/>
                      <a:pt x="15" y="4"/>
                      <a:pt x="11" y="1"/>
                    </a:cubicBezTo>
                    <a:cubicBezTo>
                      <a:pt x="11" y="0"/>
                      <a:pt x="10" y="0"/>
                      <a:pt x="9" y="0"/>
                    </a:cubicBezTo>
                    <a:cubicBezTo>
                      <a:pt x="9" y="0"/>
                      <a:pt x="8" y="0"/>
                      <a:pt x="8" y="0"/>
                    </a:cubicBezTo>
                    <a:cubicBezTo>
                      <a:pt x="6"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38"/>
              <p:cNvSpPr/>
              <p:nvPr/>
            </p:nvSpPr>
            <p:spPr bwMode="auto">
              <a:xfrm>
                <a:off x="5537" y="3594"/>
                <a:ext cx="2" cy="7"/>
              </a:xfrm>
              <a:custGeom>
                <a:gdLst>
                  <a:gd name="T0" fmla="*/ 0 w 1"/>
                  <a:gd name="T1" fmla="*/ 0 h 3"/>
                  <a:gd name="T2" fmla="*/ 1 w 1"/>
                  <a:gd name="T3" fmla="*/ 2 h 3"/>
                  <a:gd name="T4" fmla="*/ 1 w 1"/>
                  <a:gd name="T5" fmla="*/ 3 h 3"/>
                  <a:gd name="T6" fmla="*/ 1 w 1"/>
                  <a:gd name="T7" fmla="*/ 3 h 3"/>
                  <a:gd name="T8" fmla="*/ 1 w 1"/>
                  <a:gd name="T9" fmla="*/ 3 h 3"/>
                  <a:gd name="T10" fmla="*/ 1 w 1"/>
                  <a:gd name="T11" fmla="*/ 3 h 3"/>
                  <a:gd name="T12" fmla="*/ 0 w 1"/>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cubicBezTo>
                      <a:pt x="0" y="1"/>
                      <a:pt x="0" y="1"/>
                      <a:pt x="1" y="2"/>
                    </a:cubicBezTo>
                    <a:cubicBezTo>
                      <a:pt x="1" y="2"/>
                      <a:pt x="1" y="3"/>
                      <a:pt x="1" y="3"/>
                    </a:cubicBezTo>
                    <a:cubicBezTo>
                      <a:pt x="1" y="3"/>
                      <a:pt x="1" y="3"/>
                      <a:pt x="1" y="3"/>
                    </a:cubicBezTo>
                    <a:cubicBezTo>
                      <a:pt x="1" y="3"/>
                      <a:pt x="1" y="3"/>
                      <a:pt x="1" y="3"/>
                    </a:cubicBezTo>
                    <a:cubicBezTo>
                      <a:pt x="1" y="3"/>
                      <a:pt x="1"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39"/>
              <p:cNvSpPr/>
              <p:nvPr/>
            </p:nvSpPr>
            <p:spPr bwMode="auto">
              <a:xfrm>
                <a:off x="937" y="1677"/>
                <a:ext cx="14" cy="3"/>
              </a:xfrm>
              <a:custGeom>
                <a:gdLst>
                  <a:gd name="T0" fmla="*/ 5 w 6"/>
                  <a:gd name="T1" fmla="*/ 0 h 1"/>
                  <a:gd name="T2" fmla="*/ 0 w 6"/>
                  <a:gd name="T3" fmla="*/ 1 h 1"/>
                  <a:gd name="T4" fmla="*/ 1 w 6"/>
                  <a:gd name="T5" fmla="*/ 1 h 1"/>
                  <a:gd name="T6" fmla="*/ 6 w 6"/>
                  <a:gd name="T7" fmla="*/ 0 h 1"/>
                  <a:gd name="T8" fmla="*/ 5 w 6"/>
                  <a:gd name="T9" fmla="*/ 0 h 1"/>
                </a:gdLst>
                <a:cxnLst>
                  <a:cxn ang="0">
                    <a:pos x="T0" y="T1"/>
                  </a:cxn>
                  <a:cxn ang="0">
                    <a:pos x="T2" y="T3"/>
                  </a:cxn>
                  <a:cxn ang="0">
                    <a:pos x="T4" y="T5"/>
                  </a:cxn>
                  <a:cxn ang="0">
                    <a:pos x="T6" y="T7"/>
                  </a:cxn>
                  <a:cxn ang="0">
                    <a:pos x="T8" y="T9"/>
                  </a:cxn>
                </a:cxnLst>
                <a:rect l="0" t="0" r="r" b="b"/>
                <a:pathLst>
                  <a:path w="6" h="1">
                    <a:moveTo>
                      <a:pt x="5" y="0"/>
                    </a:moveTo>
                    <a:cubicBezTo>
                      <a:pt x="3" y="0"/>
                      <a:pt x="1" y="0"/>
                      <a:pt x="0" y="1"/>
                    </a:cubicBezTo>
                    <a:cubicBezTo>
                      <a:pt x="1" y="1"/>
                      <a:pt x="1" y="1"/>
                      <a:pt x="1" y="1"/>
                    </a:cubicBezTo>
                    <a:cubicBezTo>
                      <a:pt x="3" y="1"/>
                      <a:pt x="4"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40"/>
              <p:cNvSpPr/>
              <p:nvPr/>
            </p:nvSpPr>
            <p:spPr bwMode="auto">
              <a:xfrm>
                <a:off x="1583" y="1382"/>
                <a:ext cx="14" cy="12"/>
              </a:xfrm>
              <a:custGeom>
                <a:gdLst>
                  <a:gd name="T0" fmla="*/ 0 w 6"/>
                  <a:gd name="T1" fmla="*/ 0 h 5"/>
                  <a:gd name="T2" fmla="*/ 6 w 6"/>
                  <a:gd name="T3" fmla="*/ 5 h 5"/>
                  <a:gd name="T4" fmla="*/ 0 w 6"/>
                  <a:gd name="T5" fmla="*/ 0 h 5"/>
                </a:gdLst>
                <a:cxnLst>
                  <a:cxn ang="0">
                    <a:pos x="T0" y="T1"/>
                  </a:cxn>
                  <a:cxn ang="0">
                    <a:pos x="T2" y="T3"/>
                  </a:cxn>
                  <a:cxn ang="0">
                    <a:pos x="T4" y="T5"/>
                  </a:cxn>
                </a:cxnLst>
                <a:rect l="0" t="0" r="r" b="b"/>
                <a:pathLst>
                  <a:path w="6" h="5">
                    <a:moveTo>
                      <a:pt x="0" y="0"/>
                    </a:moveTo>
                    <a:cubicBezTo>
                      <a:pt x="1" y="2"/>
                      <a:pt x="3" y="5"/>
                      <a:pt x="6" y="5"/>
                    </a:cubicBezTo>
                    <a:cubicBezTo>
                      <a:pt x="4"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41"/>
              <p:cNvSpPr/>
              <p:nvPr/>
            </p:nvSpPr>
            <p:spPr bwMode="auto">
              <a:xfrm>
                <a:off x="4990" y="3324"/>
                <a:ext cx="12" cy="5"/>
              </a:xfrm>
              <a:custGeom>
                <a:gdLst>
                  <a:gd name="T0" fmla="*/ 0 w 5"/>
                  <a:gd name="T1" fmla="*/ 0 h 2"/>
                  <a:gd name="T2" fmla="*/ 1 w 5"/>
                  <a:gd name="T3" fmla="*/ 1 h 2"/>
                  <a:gd name="T4" fmla="*/ 1 w 5"/>
                  <a:gd name="T5" fmla="*/ 1 h 2"/>
                  <a:gd name="T6" fmla="*/ 2 w 5"/>
                  <a:gd name="T7" fmla="*/ 2 h 2"/>
                  <a:gd name="T8" fmla="*/ 3 w 5"/>
                  <a:gd name="T9" fmla="*/ 2 h 2"/>
                  <a:gd name="T10" fmla="*/ 4 w 5"/>
                  <a:gd name="T11" fmla="*/ 2 h 2"/>
                  <a:gd name="T12" fmla="*/ 5 w 5"/>
                  <a:gd name="T13" fmla="*/ 2 h 2"/>
                  <a:gd name="T14" fmla="*/ 1 w 5"/>
                  <a:gd name="T15" fmla="*/ 1 h 2"/>
                  <a:gd name="T16" fmla="*/ 1 w 5"/>
                  <a:gd name="T17" fmla="*/ 0 h 2"/>
                  <a:gd name="T18" fmla="*/ 1 w 5"/>
                  <a:gd name="T19" fmla="*/ 0 h 2"/>
                  <a:gd name="T20" fmla="*/ 0 w 5"/>
                  <a:gd name="T21"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
                    <a:moveTo>
                      <a:pt x="0" y="0"/>
                    </a:moveTo>
                    <a:cubicBezTo>
                      <a:pt x="1" y="1"/>
                      <a:pt x="1" y="1"/>
                      <a:pt x="1" y="1"/>
                    </a:cubicBezTo>
                    <a:cubicBezTo>
                      <a:pt x="1" y="1"/>
                      <a:pt x="1" y="1"/>
                      <a:pt x="1" y="1"/>
                    </a:cubicBezTo>
                    <a:cubicBezTo>
                      <a:pt x="1" y="1"/>
                      <a:pt x="2" y="1"/>
                      <a:pt x="2" y="2"/>
                    </a:cubicBezTo>
                    <a:cubicBezTo>
                      <a:pt x="3" y="2"/>
                      <a:pt x="3" y="2"/>
                      <a:pt x="3" y="2"/>
                    </a:cubicBezTo>
                    <a:cubicBezTo>
                      <a:pt x="4" y="2"/>
                      <a:pt x="4" y="2"/>
                      <a:pt x="4" y="2"/>
                    </a:cubicBezTo>
                    <a:cubicBezTo>
                      <a:pt x="5" y="2"/>
                      <a:pt x="5" y="2"/>
                      <a:pt x="5" y="2"/>
                    </a:cubicBezTo>
                    <a:cubicBezTo>
                      <a:pt x="4" y="2"/>
                      <a:pt x="3" y="1"/>
                      <a:pt x="1" y="1"/>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42"/>
              <p:cNvSpPr/>
              <p:nvPr/>
            </p:nvSpPr>
            <p:spPr bwMode="auto">
              <a:xfrm>
                <a:off x="1164" y="1313"/>
                <a:ext cx="22" cy="21"/>
              </a:xfrm>
              <a:custGeom>
                <a:gdLst>
                  <a:gd name="T0" fmla="*/ 9 w 9"/>
                  <a:gd name="T1" fmla="*/ 0 h 9"/>
                  <a:gd name="T2" fmla="*/ 0 w 9"/>
                  <a:gd name="T3" fmla="*/ 5 h 9"/>
                  <a:gd name="T4" fmla="*/ 2 w 9"/>
                  <a:gd name="T5" fmla="*/ 9 h 9"/>
                  <a:gd name="T6" fmla="*/ 9 w 9"/>
                  <a:gd name="T7" fmla="*/ 0 h 9"/>
                </a:gdLst>
                <a:cxnLst>
                  <a:cxn ang="0">
                    <a:pos x="T0" y="T1"/>
                  </a:cxn>
                  <a:cxn ang="0">
                    <a:pos x="T2" y="T3"/>
                  </a:cxn>
                  <a:cxn ang="0">
                    <a:pos x="T4" y="T5"/>
                  </a:cxn>
                  <a:cxn ang="0">
                    <a:pos x="T6" y="T7"/>
                  </a:cxn>
                </a:cxnLst>
                <a:rect l="0" t="0" r="r" b="b"/>
                <a:pathLst>
                  <a:path w="9" h="9">
                    <a:moveTo>
                      <a:pt x="9" y="0"/>
                    </a:moveTo>
                    <a:cubicBezTo>
                      <a:pt x="6" y="1"/>
                      <a:pt x="3" y="4"/>
                      <a:pt x="0" y="5"/>
                    </a:cubicBezTo>
                    <a:cubicBezTo>
                      <a:pt x="0" y="8"/>
                      <a:pt x="1" y="9"/>
                      <a:pt x="2" y="9"/>
                    </a:cubicBezTo>
                    <a:cubicBezTo>
                      <a:pt x="4" y="9"/>
                      <a:pt x="8" y="2"/>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43"/>
              <p:cNvSpPr/>
              <p:nvPr/>
            </p:nvSpPr>
            <p:spPr bwMode="auto">
              <a:xfrm>
                <a:off x="4678" y="3397"/>
                <a:ext cx="12" cy="14"/>
              </a:xfrm>
              <a:custGeom>
                <a:gdLst>
                  <a:gd name="T0" fmla="*/ 5 w 5"/>
                  <a:gd name="T1" fmla="*/ 0 h 6"/>
                  <a:gd name="T2" fmla="*/ 3 w 5"/>
                  <a:gd name="T3" fmla="*/ 1 h 6"/>
                  <a:gd name="T4" fmla="*/ 0 w 5"/>
                  <a:gd name="T5" fmla="*/ 6 h 6"/>
                  <a:gd name="T6" fmla="*/ 5 w 5"/>
                  <a:gd name="T7" fmla="*/ 0 h 6"/>
                </a:gdLst>
                <a:cxnLst>
                  <a:cxn ang="0">
                    <a:pos x="T0" y="T1"/>
                  </a:cxn>
                  <a:cxn ang="0">
                    <a:pos x="T2" y="T3"/>
                  </a:cxn>
                  <a:cxn ang="0">
                    <a:pos x="T4" y="T5"/>
                  </a:cxn>
                  <a:cxn ang="0">
                    <a:pos x="T6" y="T7"/>
                  </a:cxn>
                </a:cxnLst>
                <a:rect l="0" t="0" r="r" b="b"/>
                <a:pathLst>
                  <a:path w="5" h="6">
                    <a:moveTo>
                      <a:pt x="5" y="0"/>
                    </a:moveTo>
                    <a:cubicBezTo>
                      <a:pt x="4" y="0"/>
                      <a:pt x="3" y="1"/>
                      <a:pt x="3" y="1"/>
                    </a:cubicBezTo>
                    <a:cubicBezTo>
                      <a:pt x="1" y="3"/>
                      <a:pt x="1" y="4"/>
                      <a:pt x="0" y="6"/>
                    </a:cubicBezTo>
                    <a:cubicBezTo>
                      <a:pt x="2" y="4"/>
                      <a:pt x="3"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44"/>
              <p:cNvSpPr/>
              <p:nvPr/>
            </p:nvSpPr>
            <p:spPr bwMode="auto">
              <a:xfrm>
                <a:off x="2701" y="1500"/>
                <a:ext cx="24" cy="17"/>
              </a:xfrm>
              <a:custGeom>
                <a:gdLst>
                  <a:gd name="T0" fmla="*/ 9 w 10"/>
                  <a:gd name="T1" fmla="*/ 0 h 7"/>
                  <a:gd name="T2" fmla="*/ 7 w 10"/>
                  <a:gd name="T3" fmla="*/ 0 h 7"/>
                  <a:gd name="T4" fmla="*/ 6 w 10"/>
                  <a:gd name="T5" fmla="*/ 0 h 7"/>
                  <a:gd name="T6" fmla="*/ 5 w 10"/>
                  <a:gd name="T7" fmla="*/ 0 h 7"/>
                  <a:gd name="T8" fmla="*/ 3 w 10"/>
                  <a:gd name="T9" fmla="*/ 1 h 7"/>
                  <a:gd name="T10" fmla="*/ 2 w 10"/>
                  <a:gd name="T11" fmla="*/ 4 h 7"/>
                  <a:gd name="T12" fmla="*/ 6 w 10"/>
                  <a:gd name="T13" fmla="*/ 7 h 7"/>
                  <a:gd name="T14" fmla="*/ 7 w 10"/>
                  <a:gd name="T15" fmla="*/ 7 h 7"/>
                  <a:gd name="T16" fmla="*/ 9 w 10"/>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9" y="0"/>
                    </a:moveTo>
                    <a:cubicBezTo>
                      <a:pt x="8" y="0"/>
                      <a:pt x="7" y="0"/>
                      <a:pt x="7" y="0"/>
                    </a:cubicBezTo>
                    <a:cubicBezTo>
                      <a:pt x="7" y="0"/>
                      <a:pt x="6" y="0"/>
                      <a:pt x="6" y="0"/>
                    </a:cubicBezTo>
                    <a:cubicBezTo>
                      <a:pt x="6" y="0"/>
                      <a:pt x="5" y="0"/>
                      <a:pt x="5" y="0"/>
                    </a:cubicBezTo>
                    <a:cubicBezTo>
                      <a:pt x="4" y="0"/>
                      <a:pt x="4" y="0"/>
                      <a:pt x="3" y="1"/>
                    </a:cubicBezTo>
                    <a:cubicBezTo>
                      <a:pt x="1" y="2"/>
                      <a:pt x="0" y="3"/>
                      <a:pt x="2" y="4"/>
                    </a:cubicBezTo>
                    <a:cubicBezTo>
                      <a:pt x="3" y="6"/>
                      <a:pt x="4" y="7"/>
                      <a:pt x="6" y="7"/>
                    </a:cubicBezTo>
                    <a:cubicBezTo>
                      <a:pt x="6" y="7"/>
                      <a:pt x="6" y="7"/>
                      <a:pt x="7" y="7"/>
                    </a:cubicBezTo>
                    <a:cubicBezTo>
                      <a:pt x="10" y="7"/>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45"/>
              <p:cNvSpPr/>
              <p:nvPr/>
            </p:nvSpPr>
            <p:spPr bwMode="auto">
              <a:xfrm>
                <a:off x="1093" y="1614"/>
                <a:ext cx="10" cy="11"/>
              </a:xfrm>
              <a:custGeom>
                <a:gdLst>
                  <a:gd name="T0" fmla="*/ 2 w 4"/>
                  <a:gd name="T1" fmla="*/ 0 h 5"/>
                  <a:gd name="T2" fmla="*/ 0 w 4"/>
                  <a:gd name="T3" fmla="*/ 2 h 5"/>
                  <a:gd name="T4" fmla="*/ 1 w 4"/>
                  <a:gd name="T5" fmla="*/ 5 h 5"/>
                  <a:gd name="T6" fmla="*/ 4 w 4"/>
                  <a:gd name="T7" fmla="*/ 0 h 5"/>
                  <a:gd name="T8" fmla="*/ 2 w 4"/>
                  <a:gd name="T9" fmla="*/ 0 h 5"/>
                </a:gdLst>
                <a:cxnLst>
                  <a:cxn ang="0">
                    <a:pos x="T0" y="T1"/>
                  </a:cxn>
                  <a:cxn ang="0">
                    <a:pos x="T2" y="T3"/>
                  </a:cxn>
                  <a:cxn ang="0">
                    <a:pos x="T4" y="T5"/>
                  </a:cxn>
                  <a:cxn ang="0">
                    <a:pos x="T6" y="T7"/>
                  </a:cxn>
                  <a:cxn ang="0">
                    <a:pos x="T8" y="T9"/>
                  </a:cxn>
                </a:cxnLst>
                <a:rect l="0" t="0" r="r" b="b"/>
                <a:pathLst>
                  <a:path w="4" h="5">
                    <a:moveTo>
                      <a:pt x="2" y="0"/>
                    </a:moveTo>
                    <a:cubicBezTo>
                      <a:pt x="1" y="0"/>
                      <a:pt x="0" y="1"/>
                      <a:pt x="0" y="2"/>
                    </a:cubicBezTo>
                    <a:cubicBezTo>
                      <a:pt x="0" y="4"/>
                      <a:pt x="0" y="5"/>
                      <a:pt x="1" y="5"/>
                    </a:cubicBezTo>
                    <a:cubicBezTo>
                      <a:pt x="2" y="5"/>
                      <a:pt x="3" y="1"/>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46"/>
              <p:cNvSpPr/>
              <p:nvPr/>
            </p:nvSpPr>
            <p:spPr bwMode="auto">
              <a:xfrm>
                <a:off x="1242" y="1595"/>
                <a:ext cx="14" cy="14"/>
              </a:xfrm>
              <a:custGeom>
                <a:gdLst>
                  <a:gd name="T0" fmla="*/ 4 w 6"/>
                  <a:gd name="T1" fmla="*/ 0 h 6"/>
                  <a:gd name="T2" fmla="*/ 2 w 6"/>
                  <a:gd name="T3" fmla="*/ 4 h 6"/>
                  <a:gd name="T4" fmla="*/ 1 w 6"/>
                  <a:gd name="T5" fmla="*/ 3 h 6"/>
                  <a:gd name="T6" fmla="*/ 2 w 6"/>
                  <a:gd name="T7" fmla="*/ 6 h 6"/>
                  <a:gd name="T8" fmla="*/ 2 w 6"/>
                  <a:gd name="T9" fmla="*/ 6 h 6"/>
                  <a:gd name="T10" fmla="*/ 4 w 6"/>
                  <a:gd name="T11" fmla="*/ 0 h 6"/>
                </a:gdLst>
                <a:cxnLst>
                  <a:cxn ang="0">
                    <a:pos x="T0" y="T1"/>
                  </a:cxn>
                  <a:cxn ang="0">
                    <a:pos x="T2" y="T3"/>
                  </a:cxn>
                  <a:cxn ang="0">
                    <a:pos x="T4" y="T5"/>
                  </a:cxn>
                  <a:cxn ang="0">
                    <a:pos x="T6" y="T7"/>
                  </a:cxn>
                  <a:cxn ang="0">
                    <a:pos x="T8" y="T9"/>
                  </a:cxn>
                  <a:cxn ang="0">
                    <a:pos x="T10" y="T11"/>
                  </a:cxn>
                </a:cxnLst>
                <a:rect l="0" t="0" r="r" b="b"/>
                <a:pathLst>
                  <a:path w="6" h="6">
                    <a:moveTo>
                      <a:pt x="4" y="0"/>
                    </a:moveTo>
                    <a:cubicBezTo>
                      <a:pt x="2" y="1"/>
                      <a:pt x="1" y="2"/>
                      <a:pt x="2" y="4"/>
                    </a:cubicBezTo>
                    <a:cubicBezTo>
                      <a:pt x="2" y="4"/>
                      <a:pt x="1" y="3"/>
                      <a:pt x="1" y="3"/>
                    </a:cubicBezTo>
                    <a:cubicBezTo>
                      <a:pt x="1" y="5"/>
                      <a:pt x="0" y="6"/>
                      <a:pt x="2" y="6"/>
                    </a:cubicBezTo>
                    <a:cubicBezTo>
                      <a:pt x="2" y="6"/>
                      <a:pt x="2" y="6"/>
                      <a:pt x="2" y="6"/>
                    </a:cubicBezTo>
                    <a:cubicBezTo>
                      <a:pt x="6" y="6"/>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47"/>
              <p:cNvSpPr/>
              <p:nvPr/>
            </p:nvSpPr>
            <p:spPr bwMode="auto">
              <a:xfrm>
                <a:off x="5106" y="2113"/>
                <a:ext cx="43" cy="19"/>
              </a:xfrm>
              <a:custGeom>
                <a:gdLst>
                  <a:gd name="T0" fmla="*/ 18 w 18"/>
                  <a:gd name="T1" fmla="*/ 0 h 8"/>
                  <a:gd name="T2" fmla="*/ 1 w 18"/>
                  <a:gd name="T3" fmla="*/ 8 h 8"/>
                  <a:gd name="T4" fmla="*/ 18 w 18"/>
                  <a:gd name="T5" fmla="*/ 0 h 8"/>
                </a:gdLst>
                <a:cxnLst>
                  <a:cxn ang="0">
                    <a:pos x="T0" y="T1"/>
                  </a:cxn>
                  <a:cxn ang="0">
                    <a:pos x="T2" y="T3"/>
                  </a:cxn>
                  <a:cxn ang="0">
                    <a:pos x="T4" y="T5"/>
                  </a:cxn>
                </a:cxnLst>
                <a:rect l="0" t="0" r="r" b="b"/>
                <a:pathLst>
                  <a:path w="18" h="8">
                    <a:moveTo>
                      <a:pt x="18" y="0"/>
                    </a:moveTo>
                    <a:cubicBezTo>
                      <a:pt x="15" y="0"/>
                      <a:pt x="0" y="5"/>
                      <a:pt x="1" y="8"/>
                    </a:cubicBezTo>
                    <a:cubicBezTo>
                      <a:pt x="7" y="6"/>
                      <a:pt x="12" y="3"/>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48"/>
              <p:cNvSpPr/>
              <p:nvPr/>
            </p:nvSpPr>
            <p:spPr bwMode="auto">
              <a:xfrm>
                <a:off x="911" y="1666"/>
                <a:ext cx="17" cy="14"/>
              </a:xfrm>
              <a:custGeom>
                <a:gdLst>
                  <a:gd name="T0" fmla="*/ 3 w 7"/>
                  <a:gd name="T1" fmla="*/ 0 h 6"/>
                  <a:gd name="T2" fmla="*/ 3 w 7"/>
                  <a:gd name="T3" fmla="*/ 6 h 6"/>
                  <a:gd name="T4" fmla="*/ 7 w 7"/>
                  <a:gd name="T5" fmla="*/ 4 h 6"/>
                  <a:gd name="T6" fmla="*/ 5 w 7"/>
                  <a:gd name="T7" fmla="*/ 0 h 6"/>
                  <a:gd name="T8" fmla="*/ 3 w 7"/>
                  <a:gd name="T9" fmla="*/ 0 h 6"/>
                </a:gdLst>
                <a:cxnLst>
                  <a:cxn ang="0">
                    <a:pos x="T0" y="T1"/>
                  </a:cxn>
                  <a:cxn ang="0">
                    <a:pos x="T2" y="T3"/>
                  </a:cxn>
                  <a:cxn ang="0">
                    <a:pos x="T4" y="T5"/>
                  </a:cxn>
                  <a:cxn ang="0">
                    <a:pos x="T6" y="T7"/>
                  </a:cxn>
                  <a:cxn ang="0">
                    <a:pos x="T8" y="T9"/>
                  </a:cxn>
                </a:cxnLst>
                <a:rect l="0" t="0" r="r" b="b"/>
                <a:pathLst>
                  <a:path w="7" h="6">
                    <a:moveTo>
                      <a:pt x="3" y="0"/>
                    </a:moveTo>
                    <a:cubicBezTo>
                      <a:pt x="0" y="0"/>
                      <a:pt x="2" y="3"/>
                      <a:pt x="3" y="6"/>
                    </a:cubicBezTo>
                    <a:cubicBezTo>
                      <a:pt x="5" y="5"/>
                      <a:pt x="5" y="4"/>
                      <a:pt x="7" y="4"/>
                    </a:cubicBezTo>
                    <a:cubicBezTo>
                      <a:pt x="6" y="2"/>
                      <a:pt x="2" y="2"/>
                      <a:pt x="5"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49"/>
              <p:cNvSpPr/>
              <p:nvPr/>
            </p:nvSpPr>
            <p:spPr bwMode="auto">
              <a:xfrm>
                <a:off x="956" y="1606"/>
                <a:ext cx="102" cy="52"/>
              </a:xfrm>
              <a:custGeom>
                <a:gdLst>
                  <a:gd name="T0" fmla="*/ 29 w 43"/>
                  <a:gd name="T1" fmla="*/ 0 h 22"/>
                  <a:gd name="T2" fmla="*/ 21 w 43"/>
                  <a:gd name="T3" fmla="*/ 3 h 22"/>
                  <a:gd name="T4" fmla="*/ 8 w 43"/>
                  <a:gd name="T5" fmla="*/ 7 h 22"/>
                  <a:gd name="T6" fmla="*/ 0 w 43"/>
                  <a:gd name="T7" fmla="*/ 15 h 22"/>
                  <a:gd name="T8" fmla="*/ 5 w 43"/>
                  <a:gd name="T9" fmla="*/ 22 h 22"/>
                  <a:gd name="T10" fmla="*/ 7 w 43"/>
                  <a:gd name="T11" fmla="*/ 22 h 22"/>
                  <a:gd name="T12" fmla="*/ 13 w 43"/>
                  <a:gd name="T13" fmla="*/ 19 h 22"/>
                  <a:gd name="T14" fmla="*/ 13 w 43"/>
                  <a:gd name="T15" fmla="*/ 17 h 22"/>
                  <a:gd name="T16" fmla="*/ 18 w 43"/>
                  <a:gd name="T17" fmla="*/ 17 h 22"/>
                  <a:gd name="T18" fmla="*/ 29 w 43"/>
                  <a:gd name="T19" fmla="*/ 15 h 22"/>
                  <a:gd name="T20" fmla="*/ 34 w 43"/>
                  <a:gd name="T21" fmla="*/ 12 h 22"/>
                  <a:gd name="T22" fmla="*/ 37 w 43"/>
                  <a:gd name="T23" fmla="*/ 12 h 22"/>
                  <a:gd name="T24" fmla="*/ 43 w 43"/>
                  <a:gd name="T25" fmla="*/ 13 h 22"/>
                  <a:gd name="T26" fmla="*/ 40 w 43"/>
                  <a:gd name="T27" fmla="*/ 11 h 22"/>
                  <a:gd name="T28" fmla="*/ 34 w 43"/>
                  <a:gd name="T29" fmla="*/ 7 h 22"/>
                  <a:gd name="T30" fmla="*/ 32 w 43"/>
                  <a:gd name="T31" fmla="*/ 1 h 22"/>
                  <a:gd name="T32" fmla="*/ 29 w 43"/>
                  <a:gd name="T33"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22">
                    <a:moveTo>
                      <a:pt x="29" y="0"/>
                    </a:moveTo>
                    <a:cubicBezTo>
                      <a:pt x="26" y="0"/>
                      <a:pt x="22" y="2"/>
                      <a:pt x="21" y="3"/>
                    </a:cubicBezTo>
                    <a:cubicBezTo>
                      <a:pt x="16" y="5"/>
                      <a:pt x="11" y="3"/>
                      <a:pt x="8" y="7"/>
                    </a:cubicBezTo>
                    <a:cubicBezTo>
                      <a:pt x="5" y="10"/>
                      <a:pt x="4" y="12"/>
                      <a:pt x="0" y="15"/>
                    </a:cubicBezTo>
                    <a:cubicBezTo>
                      <a:pt x="1" y="20"/>
                      <a:pt x="1" y="22"/>
                      <a:pt x="5" y="22"/>
                    </a:cubicBezTo>
                    <a:cubicBezTo>
                      <a:pt x="5" y="22"/>
                      <a:pt x="6" y="22"/>
                      <a:pt x="7" y="22"/>
                    </a:cubicBezTo>
                    <a:cubicBezTo>
                      <a:pt x="10" y="21"/>
                      <a:pt x="11" y="21"/>
                      <a:pt x="13" y="19"/>
                    </a:cubicBezTo>
                    <a:cubicBezTo>
                      <a:pt x="13" y="18"/>
                      <a:pt x="13" y="18"/>
                      <a:pt x="13" y="17"/>
                    </a:cubicBezTo>
                    <a:cubicBezTo>
                      <a:pt x="14" y="17"/>
                      <a:pt x="17" y="17"/>
                      <a:pt x="18" y="17"/>
                    </a:cubicBezTo>
                    <a:cubicBezTo>
                      <a:pt x="21" y="16"/>
                      <a:pt x="25" y="16"/>
                      <a:pt x="29" y="15"/>
                    </a:cubicBezTo>
                    <a:cubicBezTo>
                      <a:pt x="31" y="15"/>
                      <a:pt x="32" y="14"/>
                      <a:pt x="34" y="12"/>
                    </a:cubicBezTo>
                    <a:cubicBezTo>
                      <a:pt x="35" y="12"/>
                      <a:pt x="36" y="12"/>
                      <a:pt x="37" y="12"/>
                    </a:cubicBezTo>
                    <a:cubicBezTo>
                      <a:pt x="39" y="12"/>
                      <a:pt x="41" y="13"/>
                      <a:pt x="43" y="13"/>
                    </a:cubicBezTo>
                    <a:cubicBezTo>
                      <a:pt x="42" y="12"/>
                      <a:pt x="41" y="11"/>
                      <a:pt x="40" y="11"/>
                    </a:cubicBezTo>
                    <a:cubicBezTo>
                      <a:pt x="37" y="10"/>
                      <a:pt x="35" y="10"/>
                      <a:pt x="34" y="7"/>
                    </a:cubicBezTo>
                    <a:cubicBezTo>
                      <a:pt x="33" y="5"/>
                      <a:pt x="33" y="3"/>
                      <a:pt x="32" y="1"/>
                    </a:cubicBezTo>
                    <a:cubicBezTo>
                      <a:pt x="31"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50"/>
              <p:cNvSpPr/>
              <p:nvPr/>
            </p:nvSpPr>
            <p:spPr bwMode="auto">
              <a:xfrm>
                <a:off x="2694" y="1592"/>
                <a:ext cx="29" cy="45"/>
              </a:xfrm>
              <a:custGeom>
                <a:gdLst>
                  <a:gd name="T0" fmla="*/ 2 w 12"/>
                  <a:gd name="T1" fmla="*/ 0 h 19"/>
                  <a:gd name="T2" fmla="*/ 0 w 12"/>
                  <a:gd name="T3" fmla="*/ 7 h 19"/>
                  <a:gd name="T4" fmla="*/ 3 w 12"/>
                  <a:gd name="T5" fmla="*/ 11 h 19"/>
                  <a:gd name="T6" fmla="*/ 3 w 12"/>
                  <a:gd name="T7" fmla="*/ 11 h 19"/>
                  <a:gd name="T8" fmla="*/ 6 w 12"/>
                  <a:gd name="T9" fmla="*/ 14 h 19"/>
                  <a:gd name="T10" fmla="*/ 7 w 12"/>
                  <a:gd name="T11" fmla="*/ 14 h 19"/>
                  <a:gd name="T12" fmla="*/ 8 w 12"/>
                  <a:gd name="T13" fmla="*/ 17 h 19"/>
                  <a:gd name="T14" fmla="*/ 12 w 12"/>
                  <a:gd name="T15" fmla="*/ 19 h 19"/>
                  <a:gd name="T16" fmla="*/ 2 w 12"/>
                  <a:gd name="T17"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9">
                    <a:moveTo>
                      <a:pt x="2" y="0"/>
                    </a:moveTo>
                    <a:cubicBezTo>
                      <a:pt x="0" y="2"/>
                      <a:pt x="0" y="5"/>
                      <a:pt x="0" y="7"/>
                    </a:cubicBezTo>
                    <a:cubicBezTo>
                      <a:pt x="1" y="8"/>
                      <a:pt x="2" y="11"/>
                      <a:pt x="3" y="11"/>
                    </a:cubicBezTo>
                    <a:cubicBezTo>
                      <a:pt x="3" y="11"/>
                      <a:pt x="3" y="11"/>
                      <a:pt x="3" y="11"/>
                    </a:cubicBezTo>
                    <a:cubicBezTo>
                      <a:pt x="4" y="11"/>
                      <a:pt x="4" y="14"/>
                      <a:pt x="6" y="14"/>
                    </a:cubicBezTo>
                    <a:cubicBezTo>
                      <a:pt x="6" y="14"/>
                      <a:pt x="7" y="14"/>
                      <a:pt x="7" y="14"/>
                    </a:cubicBezTo>
                    <a:cubicBezTo>
                      <a:pt x="6" y="15"/>
                      <a:pt x="7" y="17"/>
                      <a:pt x="8" y="17"/>
                    </a:cubicBezTo>
                    <a:cubicBezTo>
                      <a:pt x="9" y="18"/>
                      <a:pt x="10" y="19"/>
                      <a:pt x="12" y="19"/>
                    </a:cubicBezTo>
                    <a:cubicBezTo>
                      <a:pt x="9" y="13"/>
                      <a:pt x="6" y="7"/>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51"/>
              <p:cNvSpPr/>
              <p:nvPr/>
            </p:nvSpPr>
            <p:spPr bwMode="auto">
              <a:xfrm>
                <a:off x="2782" y="1592"/>
                <a:ext cx="16" cy="19"/>
              </a:xfrm>
              <a:custGeom>
                <a:gdLst>
                  <a:gd name="T0" fmla="*/ 2 w 7"/>
                  <a:gd name="T1" fmla="*/ 0 h 8"/>
                  <a:gd name="T2" fmla="*/ 2 w 7"/>
                  <a:gd name="T3" fmla="*/ 5 h 8"/>
                  <a:gd name="T4" fmla="*/ 2 w 7"/>
                  <a:gd name="T5" fmla="*/ 5 h 8"/>
                  <a:gd name="T6" fmla="*/ 1 w 7"/>
                  <a:gd name="T7" fmla="*/ 8 h 8"/>
                  <a:gd name="T8" fmla="*/ 5 w 7"/>
                  <a:gd name="T9" fmla="*/ 8 h 8"/>
                  <a:gd name="T10" fmla="*/ 3 w 7"/>
                  <a:gd name="T11" fmla="*/ 1 h 8"/>
                  <a:gd name="T12" fmla="*/ 2 w 7"/>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7" h="8">
                    <a:moveTo>
                      <a:pt x="2" y="0"/>
                    </a:moveTo>
                    <a:cubicBezTo>
                      <a:pt x="0" y="0"/>
                      <a:pt x="1" y="3"/>
                      <a:pt x="2" y="5"/>
                    </a:cubicBezTo>
                    <a:cubicBezTo>
                      <a:pt x="2" y="5"/>
                      <a:pt x="2" y="5"/>
                      <a:pt x="2" y="5"/>
                    </a:cubicBezTo>
                    <a:cubicBezTo>
                      <a:pt x="0" y="5"/>
                      <a:pt x="0" y="8"/>
                      <a:pt x="1" y="8"/>
                    </a:cubicBezTo>
                    <a:cubicBezTo>
                      <a:pt x="5" y="8"/>
                      <a:pt x="5" y="8"/>
                      <a:pt x="5" y="8"/>
                    </a:cubicBezTo>
                    <a:cubicBezTo>
                      <a:pt x="7" y="7"/>
                      <a:pt x="4" y="2"/>
                      <a:pt x="3"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52"/>
              <p:cNvSpPr/>
              <p:nvPr/>
            </p:nvSpPr>
            <p:spPr bwMode="auto">
              <a:xfrm>
                <a:off x="2768" y="1580"/>
                <a:ext cx="14" cy="22"/>
              </a:xfrm>
              <a:custGeom>
                <a:gdLst>
                  <a:gd name="T0" fmla="*/ 1 w 6"/>
                  <a:gd name="T1" fmla="*/ 0 h 9"/>
                  <a:gd name="T2" fmla="*/ 3 w 6"/>
                  <a:gd name="T3" fmla="*/ 9 h 9"/>
                  <a:gd name="T4" fmla="*/ 5 w 6"/>
                  <a:gd name="T5" fmla="*/ 4 h 9"/>
                  <a:gd name="T6" fmla="*/ 6 w 6"/>
                  <a:gd name="T7" fmla="*/ 5 h 9"/>
                  <a:gd name="T8" fmla="*/ 1 w 6"/>
                  <a:gd name="T9" fmla="*/ 0 h 9"/>
                </a:gdLst>
                <a:cxnLst>
                  <a:cxn ang="0">
                    <a:pos x="T0" y="T1"/>
                  </a:cxn>
                  <a:cxn ang="0">
                    <a:pos x="T2" y="T3"/>
                  </a:cxn>
                  <a:cxn ang="0">
                    <a:pos x="T4" y="T5"/>
                  </a:cxn>
                  <a:cxn ang="0">
                    <a:pos x="T6" y="T7"/>
                  </a:cxn>
                  <a:cxn ang="0">
                    <a:pos x="T8" y="T9"/>
                  </a:cxn>
                </a:cxnLst>
                <a:rect l="0" t="0" r="r" b="b"/>
                <a:pathLst>
                  <a:path w="6" h="9">
                    <a:moveTo>
                      <a:pt x="1" y="0"/>
                    </a:moveTo>
                    <a:cubicBezTo>
                      <a:pt x="0" y="3"/>
                      <a:pt x="0" y="7"/>
                      <a:pt x="3" y="9"/>
                    </a:cubicBezTo>
                    <a:cubicBezTo>
                      <a:pt x="4" y="7"/>
                      <a:pt x="4" y="6"/>
                      <a:pt x="5" y="4"/>
                    </a:cubicBezTo>
                    <a:cubicBezTo>
                      <a:pt x="6" y="5"/>
                      <a:pt x="6" y="5"/>
                      <a:pt x="6" y="5"/>
                    </a:cubicBezTo>
                    <a:cubicBezTo>
                      <a:pt x="5" y="3"/>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53"/>
              <p:cNvSpPr/>
              <p:nvPr/>
            </p:nvSpPr>
            <p:spPr bwMode="auto">
              <a:xfrm>
                <a:off x="6605" y="4384"/>
                <a:ext cx="55" cy="42"/>
              </a:xfrm>
              <a:custGeom>
                <a:gdLst>
                  <a:gd name="T0" fmla="*/ 22 w 23"/>
                  <a:gd name="T1" fmla="*/ 0 h 18"/>
                  <a:gd name="T2" fmla="*/ 17 w 23"/>
                  <a:gd name="T3" fmla="*/ 1 h 18"/>
                  <a:gd name="T4" fmla="*/ 6 w 23"/>
                  <a:gd name="T5" fmla="*/ 3 h 18"/>
                  <a:gd name="T6" fmla="*/ 10 w 23"/>
                  <a:gd name="T7" fmla="*/ 8 h 18"/>
                  <a:gd name="T8" fmla="*/ 10 w 23"/>
                  <a:gd name="T9" fmla="*/ 14 h 18"/>
                  <a:gd name="T10" fmla="*/ 6 w 23"/>
                  <a:gd name="T11" fmla="*/ 15 h 18"/>
                  <a:gd name="T12" fmla="*/ 0 w 23"/>
                  <a:gd name="T13" fmla="*/ 18 h 18"/>
                  <a:gd name="T14" fmla="*/ 2 w 23"/>
                  <a:gd name="T15" fmla="*/ 18 h 18"/>
                  <a:gd name="T16" fmla="*/ 5 w 23"/>
                  <a:gd name="T17" fmla="*/ 18 h 18"/>
                  <a:gd name="T18" fmla="*/ 8 w 23"/>
                  <a:gd name="T19" fmla="*/ 18 h 18"/>
                  <a:gd name="T20" fmla="*/ 9 w 23"/>
                  <a:gd name="T21" fmla="*/ 18 h 18"/>
                  <a:gd name="T22" fmla="*/ 13 w 23"/>
                  <a:gd name="T23" fmla="*/ 18 h 18"/>
                  <a:gd name="T24" fmla="*/ 19 w 23"/>
                  <a:gd name="T25" fmla="*/ 17 h 18"/>
                  <a:gd name="T26" fmla="*/ 20 w 23"/>
                  <a:gd name="T27" fmla="*/ 8 h 18"/>
                  <a:gd name="T28" fmla="*/ 23 w 23"/>
                  <a:gd name="T29" fmla="*/ 0 h 18"/>
                  <a:gd name="T30" fmla="*/ 22 w 23"/>
                  <a:gd name="T3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18">
                    <a:moveTo>
                      <a:pt x="22" y="0"/>
                    </a:moveTo>
                    <a:cubicBezTo>
                      <a:pt x="20" y="0"/>
                      <a:pt x="19" y="0"/>
                      <a:pt x="17" y="1"/>
                    </a:cubicBezTo>
                    <a:cubicBezTo>
                      <a:pt x="14" y="1"/>
                      <a:pt x="10" y="2"/>
                      <a:pt x="6" y="3"/>
                    </a:cubicBezTo>
                    <a:cubicBezTo>
                      <a:pt x="10" y="4"/>
                      <a:pt x="10" y="5"/>
                      <a:pt x="10" y="8"/>
                    </a:cubicBezTo>
                    <a:cubicBezTo>
                      <a:pt x="11" y="10"/>
                      <a:pt x="11" y="12"/>
                      <a:pt x="10" y="14"/>
                    </a:cubicBezTo>
                    <a:cubicBezTo>
                      <a:pt x="9" y="14"/>
                      <a:pt x="7" y="14"/>
                      <a:pt x="6" y="15"/>
                    </a:cubicBezTo>
                    <a:cubicBezTo>
                      <a:pt x="5" y="16"/>
                      <a:pt x="2" y="17"/>
                      <a:pt x="0" y="18"/>
                    </a:cubicBezTo>
                    <a:cubicBezTo>
                      <a:pt x="1" y="18"/>
                      <a:pt x="1" y="18"/>
                      <a:pt x="2" y="18"/>
                    </a:cubicBezTo>
                    <a:cubicBezTo>
                      <a:pt x="3" y="18"/>
                      <a:pt x="4" y="18"/>
                      <a:pt x="5" y="18"/>
                    </a:cubicBezTo>
                    <a:cubicBezTo>
                      <a:pt x="6" y="18"/>
                      <a:pt x="7" y="18"/>
                      <a:pt x="8" y="18"/>
                    </a:cubicBezTo>
                    <a:cubicBezTo>
                      <a:pt x="8" y="18"/>
                      <a:pt x="9" y="18"/>
                      <a:pt x="9" y="18"/>
                    </a:cubicBezTo>
                    <a:cubicBezTo>
                      <a:pt x="10" y="18"/>
                      <a:pt x="11" y="18"/>
                      <a:pt x="13" y="18"/>
                    </a:cubicBezTo>
                    <a:cubicBezTo>
                      <a:pt x="15" y="18"/>
                      <a:pt x="17" y="18"/>
                      <a:pt x="19" y="17"/>
                    </a:cubicBezTo>
                    <a:cubicBezTo>
                      <a:pt x="23" y="15"/>
                      <a:pt x="21" y="11"/>
                      <a:pt x="20" y="8"/>
                    </a:cubicBezTo>
                    <a:cubicBezTo>
                      <a:pt x="20" y="5"/>
                      <a:pt x="22" y="3"/>
                      <a:pt x="23" y="0"/>
                    </a:cubicBezTo>
                    <a:cubicBezTo>
                      <a:pt x="23" y="0"/>
                      <a:pt x="22"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54"/>
              <p:cNvSpPr/>
              <p:nvPr/>
            </p:nvSpPr>
            <p:spPr bwMode="auto">
              <a:xfrm>
                <a:off x="5511" y="4561"/>
                <a:ext cx="14" cy="17"/>
              </a:xfrm>
              <a:custGeom>
                <a:gdLst>
                  <a:gd name="T0" fmla="*/ 3 w 6"/>
                  <a:gd name="T1" fmla="*/ 0 h 7"/>
                  <a:gd name="T2" fmla="*/ 0 w 6"/>
                  <a:gd name="T3" fmla="*/ 2 h 7"/>
                  <a:gd name="T4" fmla="*/ 6 w 6"/>
                  <a:gd name="T5" fmla="*/ 7 h 7"/>
                  <a:gd name="T6" fmla="*/ 6 w 6"/>
                  <a:gd name="T7" fmla="*/ 7 h 7"/>
                  <a:gd name="T8" fmla="*/ 3 w 6"/>
                  <a:gd name="T9" fmla="*/ 0 h 7"/>
                </a:gdLst>
                <a:cxnLst>
                  <a:cxn ang="0">
                    <a:pos x="T0" y="T1"/>
                  </a:cxn>
                  <a:cxn ang="0">
                    <a:pos x="T2" y="T3"/>
                  </a:cxn>
                  <a:cxn ang="0">
                    <a:pos x="T4" y="T5"/>
                  </a:cxn>
                  <a:cxn ang="0">
                    <a:pos x="T6" y="T7"/>
                  </a:cxn>
                  <a:cxn ang="0">
                    <a:pos x="T8" y="T9"/>
                  </a:cxn>
                </a:cxnLst>
                <a:rect l="0" t="0" r="r" b="b"/>
                <a:pathLst>
                  <a:path w="6" h="7">
                    <a:moveTo>
                      <a:pt x="3" y="0"/>
                    </a:moveTo>
                    <a:cubicBezTo>
                      <a:pt x="1" y="0"/>
                      <a:pt x="1" y="2"/>
                      <a:pt x="0" y="2"/>
                    </a:cubicBezTo>
                    <a:cubicBezTo>
                      <a:pt x="0" y="5"/>
                      <a:pt x="3" y="7"/>
                      <a:pt x="6" y="7"/>
                    </a:cubicBezTo>
                    <a:cubicBezTo>
                      <a:pt x="6" y="7"/>
                      <a:pt x="6" y="7"/>
                      <a:pt x="6" y="7"/>
                    </a:cubicBezTo>
                    <a:cubicBezTo>
                      <a:pt x="6" y="4"/>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55"/>
              <p:cNvSpPr/>
              <p:nvPr/>
            </p:nvSpPr>
            <p:spPr bwMode="auto">
              <a:xfrm>
                <a:off x="5553" y="4564"/>
                <a:ext cx="3" cy="2"/>
              </a:xfrm>
              <a:custGeom>
                <a:gdLst>
                  <a:gd name="T0" fmla="*/ 1 w 1"/>
                  <a:gd name="T1" fmla="*/ 0 h 1"/>
                  <a:gd name="T2" fmla="*/ 0 w 1"/>
                  <a:gd name="T3" fmla="*/ 1 h 1"/>
                  <a:gd name="T4" fmla="*/ 0 w 1"/>
                  <a:gd name="T5" fmla="*/ 1 h 1"/>
                  <a:gd name="T6" fmla="*/ 0 w 1"/>
                  <a:gd name="T7" fmla="*/ 1 h 1"/>
                  <a:gd name="T8" fmla="*/ 1 w 1"/>
                  <a:gd name="T9" fmla="*/ 1 h 1"/>
                  <a:gd name="T10" fmla="*/ 1 w 1"/>
                  <a:gd name="T11" fmla="*/ 0 h 1"/>
                </a:gd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0" y="1"/>
                      <a:pt x="0" y="1"/>
                    </a:cubicBezTo>
                    <a:cubicBezTo>
                      <a:pt x="0" y="1"/>
                      <a:pt x="0" y="1"/>
                      <a:pt x="0" y="1"/>
                    </a:cubicBezTo>
                    <a:cubicBezTo>
                      <a:pt x="0" y="1"/>
                      <a:pt x="0" y="1"/>
                      <a:pt x="0" y="1"/>
                    </a:cubicBezTo>
                    <a:cubicBezTo>
                      <a:pt x="1" y="1"/>
                      <a:pt x="1" y="1"/>
                      <a:pt x="1"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156"/>
              <p:cNvSpPr/>
              <p:nvPr/>
            </p:nvSpPr>
            <p:spPr bwMode="auto">
              <a:xfrm>
                <a:off x="5551" y="4566"/>
                <a:ext cx="2" cy="0"/>
              </a:xfrm>
              <a:custGeom>
                <a:gdLst>
                  <a:gd name="T0" fmla="*/ 1 w 1"/>
                  <a:gd name="T1" fmla="*/ 0 w 1"/>
                  <a:gd name="T2" fmla="*/ 1 w 1"/>
                  <a:gd name="T3" fmla="*/ 1 w 1"/>
                </a:gdLst>
                <a:cxnLst>
                  <a:cxn ang="0">
                    <a:pos x="T0" y="0"/>
                  </a:cxn>
                  <a:cxn ang="0">
                    <a:pos x="T1" y="0"/>
                  </a:cxn>
                  <a:cxn ang="0">
                    <a:pos x="T2" y="0"/>
                  </a:cxn>
                  <a:cxn ang="0">
                    <a:pos x="T3" y="0"/>
                  </a:cxn>
                </a:cxnLst>
                <a:rect l="0" t="0" r="r" b="b"/>
                <a:pathLst>
                  <a:path w="1">
                    <a:moveTo>
                      <a:pt x="1" y="0"/>
                    </a:moveTo>
                    <a:cubicBezTo>
                      <a:pt x="0" y="0"/>
                      <a:pt x="0" y="0"/>
                      <a:pt x="0"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157"/>
              <p:cNvSpPr/>
              <p:nvPr/>
            </p:nvSpPr>
            <p:spPr bwMode="auto">
              <a:xfrm>
                <a:off x="5494" y="4467"/>
                <a:ext cx="5" cy="4"/>
              </a:xfrm>
              <a:custGeom>
                <a:gdLst>
                  <a:gd name="T0" fmla="*/ 0 w 2"/>
                  <a:gd name="T1" fmla="*/ 0 h 2"/>
                  <a:gd name="T2" fmla="*/ 1 w 2"/>
                  <a:gd name="T3" fmla="*/ 2 h 2"/>
                  <a:gd name="T4" fmla="*/ 2 w 2"/>
                  <a:gd name="T5" fmla="*/ 1 h 2"/>
                  <a:gd name="T6" fmla="*/ 0 w 2"/>
                  <a:gd name="T7" fmla="*/ 0 h 2"/>
                </a:gdLst>
                <a:cxnLst>
                  <a:cxn ang="0">
                    <a:pos x="T0" y="T1"/>
                  </a:cxn>
                  <a:cxn ang="0">
                    <a:pos x="T2" y="T3"/>
                  </a:cxn>
                  <a:cxn ang="0">
                    <a:pos x="T4" y="T5"/>
                  </a:cxn>
                  <a:cxn ang="0">
                    <a:pos x="T6" y="T7"/>
                  </a:cxn>
                </a:cxnLst>
                <a:rect l="0" t="0" r="r" b="b"/>
                <a:pathLst>
                  <a:path w="2" h="2">
                    <a:moveTo>
                      <a:pt x="0" y="0"/>
                    </a:moveTo>
                    <a:cubicBezTo>
                      <a:pt x="0" y="1"/>
                      <a:pt x="0" y="2"/>
                      <a:pt x="1" y="2"/>
                    </a:cubicBezTo>
                    <a:cubicBezTo>
                      <a:pt x="1" y="2"/>
                      <a:pt x="2" y="2"/>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158"/>
              <p:cNvSpPr/>
              <p:nvPr/>
            </p:nvSpPr>
            <p:spPr bwMode="auto">
              <a:xfrm>
                <a:off x="5667" y="4514"/>
                <a:ext cx="9" cy="14"/>
              </a:xfrm>
              <a:custGeom>
                <a:gdLst>
                  <a:gd name="T0" fmla="*/ 4 w 4"/>
                  <a:gd name="T1" fmla="*/ 0 h 6"/>
                  <a:gd name="T2" fmla="*/ 3 w 4"/>
                  <a:gd name="T3" fmla="*/ 6 h 6"/>
                  <a:gd name="T4" fmla="*/ 4 w 4"/>
                  <a:gd name="T5" fmla="*/ 0 h 6"/>
                </a:gdLst>
                <a:cxnLst>
                  <a:cxn ang="0">
                    <a:pos x="T0" y="T1"/>
                  </a:cxn>
                  <a:cxn ang="0">
                    <a:pos x="T2" y="T3"/>
                  </a:cxn>
                  <a:cxn ang="0">
                    <a:pos x="T4" y="T5"/>
                  </a:cxn>
                </a:cxnLst>
                <a:rect l="0" t="0" r="r" b="b"/>
                <a:pathLst>
                  <a:path w="4" h="6">
                    <a:moveTo>
                      <a:pt x="4" y="0"/>
                    </a:moveTo>
                    <a:cubicBezTo>
                      <a:pt x="0" y="1"/>
                      <a:pt x="2" y="5"/>
                      <a:pt x="3" y="6"/>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59"/>
              <p:cNvSpPr/>
              <p:nvPr/>
            </p:nvSpPr>
            <p:spPr bwMode="auto">
              <a:xfrm>
                <a:off x="6213" y="4301"/>
                <a:ext cx="7" cy="7"/>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2"/>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160"/>
              <p:cNvSpPr/>
              <p:nvPr/>
            </p:nvSpPr>
            <p:spPr bwMode="auto">
              <a:xfrm>
                <a:off x="6220" y="4308"/>
                <a:ext cx="12" cy="7"/>
              </a:xfrm>
              <a:custGeom>
                <a:gdLst>
                  <a:gd name="T0" fmla="*/ 1 w 5"/>
                  <a:gd name="T1" fmla="*/ 0 h 3"/>
                  <a:gd name="T2" fmla="*/ 0 w 5"/>
                  <a:gd name="T3" fmla="*/ 0 h 3"/>
                  <a:gd name="T4" fmla="*/ 5 w 5"/>
                  <a:gd name="T5" fmla="*/ 3 h 3"/>
                  <a:gd name="T6" fmla="*/ 1 w 5"/>
                  <a:gd name="T7" fmla="*/ 0 h 3"/>
                </a:gdLst>
                <a:cxnLst>
                  <a:cxn ang="0">
                    <a:pos x="T0" y="T1"/>
                  </a:cxn>
                  <a:cxn ang="0">
                    <a:pos x="T2" y="T3"/>
                  </a:cxn>
                  <a:cxn ang="0">
                    <a:pos x="T4" y="T5"/>
                  </a:cxn>
                  <a:cxn ang="0">
                    <a:pos x="T6" y="T7"/>
                  </a:cxn>
                </a:cxnLst>
                <a:rect l="0" t="0" r="r" b="b"/>
                <a:pathLst>
                  <a:path w="5" h="3">
                    <a:moveTo>
                      <a:pt x="1" y="0"/>
                    </a:moveTo>
                    <a:cubicBezTo>
                      <a:pt x="1" y="0"/>
                      <a:pt x="1" y="0"/>
                      <a:pt x="0" y="0"/>
                    </a:cubicBezTo>
                    <a:cubicBezTo>
                      <a:pt x="2" y="1"/>
                      <a:pt x="3" y="2"/>
                      <a:pt x="5" y="3"/>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61"/>
              <p:cNvSpPr/>
              <p:nvPr/>
            </p:nvSpPr>
            <p:spPr bwMode="auto">
              <a:xfrm>
                <a:off x="6208" y="4296"/>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2" y="2"/>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162"/>
              <p:cNvSpPr/>
              <p:nvPr/>
            </p:nvSpPr>
            <p:spPr bwMode="auto">
              <a:xfrm>
                <a:off x="6251" y="4301"/>
                <a:ext cx="14" cy="17"/>
              </a:xfrm>
              <a:custGeom>
                <a:gdLst>
                  <a:gd name="T0" fmla="*/ 0 w 6"/>
                  <a:gd name="T1" fmla="*/ 0 h 7"/>
                  <a:gd name="T2" fmla="*/ 3 w 6"/>
                  <a:gd name="T3" fmla="*/ 7 h 7"/>
                  <a:gd name="T4" fmla="*/ 0 w 6"/>
                  <a:gd name="T5" fmla="*/ 0 h 7"/>
                </a:gdLst>
                <a:cxnLst>
                  <a:cxn ang="0">
                    <a:pos x="T0" y="T1"/>
                  </a:cxn>
                  <a:cxn ang="0">
                    <a:pos x="T2" y="T3"/>
                  </a:cxn>
                  <a:cxn ang="0">
                    <a:pos x="T4" y="T5"/>
                  </a:cxn>
                </a:cxnLst>
                <a:rect l="0" t="0" r="r" b="b"/>
                <a:pathLst>
                  <a:path w="6" h="7">
                    <a:moveTo>
                      <a:pt x="0" y="0"/>
                    </a:moveTo>
                    <a:cubicBezTo>
                      <a:pt x="1" y="3"/>
                      <a:pt x="2" y="5"/>
                      <a:pt x="3" y="7"/>
                    </a:cubicBezTo>
                    <a:cubicBezTo>
                      <a:pt x="6" y="2"/>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63"/>
              <p:cNvSpPr/>
              <p:nvPr/>
            </p:nvSpPr>
            <p:spPr bwMode="auto">
              <a:xfrm>
                <a:off x="4151" y="3771"/>
                <a:ext cx="7" cy="10"/>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0" y="2"/>
                      <a:pt x="1" y="3"/>
                      <a:pt x="3"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164"/>
              <p:cNvSpPr/>
              <p:nvPr/>
            </p:nvSpPr>
            <p:spPr bwMode="auto">
              <a:xfrm>
                <a:off x="3505" y="3331"/>
                <a:ext cx="7" cy="19"/>
              </a:xfrm>
              <a:custGeom>
                <a:gdLst>
                  <a:gd name="T0" fmla="*/ 3 w 3"/>
                  <a:gd name="T1" fmla="*/ 0 h 8"/>
                  <a:gd name="T2" fmla="*/ 3 w 3"/>
                  <a:gd name="T3" fmla="*/ 8 h 8"/>
                  <a:gd name="T4" fmla="*/ 3 w 3"/>
                  <a:gd name="T5" fmla="*/ 0 h 8"/>
                </a:gdLst>
                <a:cxnLst>
                  <a:cxn ang="0">
                    <a:pos x="T0" y="T1"/>
                  </a:cxn>
                  <a:cxn ang="0">
                    <a:pos x="T2" y="T3"/>
                  </a:cxn>
                  <a:cxn ang="0">
                    <a:pos x="T4" y="T5"/>
                  </a:cxn>
                </a:cxnLst>
                <a:rect l="0" t="0" r="r" b="b"/>
                <a:pathLst>
                  <a:path w="3" h="8">
                    <a:moveTo>
                      <a:pt x="3" y="0"/>
                    </a:moveTo>
                    <a:cubicBezTo>
                      <a:pt x="0" y="1"/>
                      <a:pt x="3" y="5"/>
                      <a:pt x="3" y="8"/>
                    </a:cubicBezTo>
                    <a:cubicBezTo>
                      <a:pt x="3" y="5"/>
                      <a:pt x="3"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165"/>
              <p:cNvSpPr/>
              <p:nvPr/>
            </p:nvSpPr>
            <p:spPr bwMode="auto">
              <a:xfrm>
                <a:off x="3673" y="3381"/>
                <a:ext cx="10" cy="21"/>
              </a:xfrm>
              <a:custGeom>
                <a:gdLst>
                  <a:gd name="T0" fmla="*/ 4 w 4"/>
                  <a:gd name="T1" fmla="*/ 0 h 9"/>
                  <a:gd name="T2" fmla="*/ 3 w 4"/>
                  <a:gd name="T3" fmla="*/ 4 h 9"/>
                  <a:gd name="T4" fmla="*/ 1 w 4"/>
                  <a:gd name="T5" fmla="*/ 6 h 9"/>
                  <a:gd name="T6" fmla="*/ 3 w 4"/>
                  <a:gd name="T7" fmla="*/ 9 h 9"/>
                  <a:gd name="T8" fmla="*/ 4 w 4"/>
                  <a:gd name="T9" fmla="*/ 0 h 9"/>
                </a:gdLst>
                <a:cxnLst>
                  <a:cxn ang="0">
                    <a:pos x="T0" y="T1"/>
                  </a:cxn>
                  <a:cxn ang="0">
                    <a:pos x="T2" y="T3"/>
                  </a:cxn>
                  <a:cxn ang="0">
                    <a:pos x="T4" y="T5"/>
                  </a:cxn>
                  <a:cxn ang="0">
                    <a:pos x="T6" y="T7"/>
                  </a:cxn>
                  <a:cxn ang="0">
                    <a:pos x="T8" y="T9"/>
                  </a:cxn>
                </a:cxnLst>
                <a:rect l="0" t="0" r="r" b="b"/>
                <a:pathLst>
                  <a:path w="4" h="9">
                    <a:moveTo>
                      <a:pt x="4" y="0"/>
                    </a:moveTo>
                    <a:cubicBezTo>
                      <a:pt x="3" y="1"/>
                      <a:pt x="3" y="3"/>
                      <a:pt x="3" y="4"/>
                    </a:cubicBezTo>
                    <a:cubicBezTo>
                      <a:pt x="3" y="4"/>
                      <a:pt x="2" y="5"/>
                      <a:pt x="1" y="6"/>
                    </a:cubicBezTo>
                    <a:cubicBezTo>
                      <a:pt x="1" y="8"/>
                      <a:pt x="0" y="7"/>
                      <a:pt x="3" y="9"/>
                    </a:cubicBezTo>
                    <a:cubicBezTo>
                      <a:pt x="4" y="6"/>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66"/>
              <p:cNvSpPr/>
              <p:nvPr/>
            </p:nvSpPr>
            <p:spPr bwMode="auto">
              <a:xfrm>
                <a:off x="4971" y="3941"/>
                <a:ext cx="3" cy="3"/>
              </a:xfrm>
              <a:custGeom>
                <a:gdLst>
                  <a:gd name="T0" fmla="*/ 1 w 1"/>
                  <a:gd name="T1" fmla="*/ 0 h 1"/>
                  <a:gd name="T2" fmla="*/ 1 w 1"/>
                  <a:gd name="T3" fmla="*/ 0 h 1"/>
                  <a:gd name="T4" fmla="*/ 1 w 1"/>
                  <a:gd name="T5" fmla="*/ 0 h 1"/>
                  <a:gd name="T6" fmla="*/ 0 w 1"/>
                  <a:gd name="T7" fmla="*/ 0 h 1"/>
                  <a:gd name="T8" fmla="*/ 0 w 1"/>
                  <a:gd name="T9" fmla="*/ 1 h 1"/>
                  <a:gd name="T10" fmla="*/ 1 w 1"/>
                  <a:gd name="T11" fmla="*/ 0 h 1"/>
                  <a:gd name="T12" fmla="*/ 1 w 1"/>
                  <a:gd name="T13" fmla="*/ 0 h 1"/>
                  <a:gd name="T14" fmla="*/ 1 w 1"/>
                  <a:gd name="T15" fmla="*/ 0 h 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cubicBezTo>
                      <a:pt x="1" y="0"/>
                      <a:pt x="1" y="0"/>
                      <a:pt x="1" y="0"/>
                    </a:cubicBezTo>
                    <a:cubicBezTo>
                      <a:pt x="1" y="0"/>
                      <a:pt x="1" y="0"/>
                      <a:pt x="1" y="0"/>
                    </a:cubicBezTo>
                    <a:cubicBezTo>
                      <a:pt x="0" y="0"/>
                      <a:pt x="0" y="0"/>
                      <a:pt x="0" y="0"/>
                    </a:cubicBezTo>
                    <a:cubicBezTo>
                      <a:pt x="0" y="1"/>
                      <a:pt x="0" y="1"/>
                      <a:pt x="0" y="1"/>
                    </a:cubicBezTo>
                    <a:cubicBezTo>
                      <a:pt x="1" y="1"/>
                      <a:pt x="1" y="1"/>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67"/>
              <p:cNvSpPr/>
              <p:nvPr/>
            </p:nvSpPr>
            <p:spPr bwMode="auto">
              <a:xfrm>
                <a:off x="3768" y="3307"/>
                <a:ext cx="28" cy="36"/>
              </a:xfrm>
              <a:custGeom>
                <a:gdLst>
                  <a:gd name="T0" fmla="*/ 1 w 12"/>
                  <a:gd name="T1" fmla="*/ 0 h 15"/>
                  <a:gd name="T2" fmla="*/ 12 w 12"/>
                  <a:gd name="T3" fmla="*/ 15 h 15"/>
                  <a:gd name="T4" fmla="*/ 11 w 12"/>
                  <a:gd name="T5" fmla="*/ 8 h 15"/>
                  <a:gd name="T6" fmla="*/ 9 w 12"/>
                  <a:gd name="T7" fmla="*/ 7 h 15"/>
                  <a:gd name="T8" fmla="*/ 8 w 12"/>
                  <a:gd name="T9" fmla="*/ 7 h 15"/>
                  <a:gd name="T10" fmla="*/ 8 w 12"/>
                  <a:gd name="T11" fmla="*/ 7 h 15"/>
                  <a:gd name="T12" fmla="*/ 6 w 12"/>
                  <a:gd name="T13" fmla="*/ 7 h 15"/>
                  <a:gd name="T14" fmla="*/ 6 w 12"/>
                  <a:gd name="T15" fmla="*/ 4 h 15"/>
                  <a:gd name="T16" fmla="*/ 5 w 12"/>
                  <a:gd name="T17" fmla="*/ 3 h 15"/>
                  <a:gd name="T18" fmla="*/ 1 w 12"/>
                  <a:gd name="T1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5">
                    <a:moveTo>
                      <a:pt x="1" y="0"/>
                    </a:moveTo>
                    <a:cubicBezTo>
                      <a:pt x="0" y="7"/>
                      <a:pt x="7" y="11"/>
                      <a:pt x="12" y="15"/>
                    </a:cubicBezTo>
                    <a:cubicBezTo>
                      <a:pt x="12" y="14"/>
                      <a:pt x="11" y="8"/>
                      <a:pt x="11" y="8"/>
                    </a:cubicBezTo>
                    <a:cubicBezTo>
                      <a:pt x="10" y="8"/>
                      <a:pt x="10" y="7"/>
                      <a:pt x="9" y="7"/>
                    </a:cubicBezTo>
                    <a:cubicBezTo>
                      <a:pt x="9" y="7"/>
                      <a:pt x="9" y="7"/>
                      <a:pt x="8" y="7"/>
                    </a:cubicBezTo>
                    <a:cubicBezTo>
                      <a:pt x="8" y="7"/>
                      <a:pt x="8" y="7"/>
                      <a:pt x="8" y="7"/>
                    </a:cubicBezTo>
                    <a:cubicBezTo>
                      <a:pt x="7" y="7"/>
                      <a:pt x="6" y="7"/>
                      <a:pt x="6" y="7"/>
                    </a:cubicBezTo>
                    <a:cubicBezTo>
                      <a:pt x="6" y="6"/>
                      <a:pt x="6" y="5"/>
                      <a:pt x="6" y="4"/>
                    </a:cubicBezTo>
                    <a:cubicBezTo>
                      <a:pt x="6" y="3"/>
                      <a:pt x="5" y="3"/>
                      <a:pt x="5" y="3"/>
                    </a:cubicBezTo>
                    <a:cubicBezTo>
                      <a:pt x="4" y="1"/>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68"/>
              <p:cNvSpPr/>
              <p:nvPr/>
            </p:nvSpPr>
            <p:spPr bwMode="auto">
              <a:xfrm>
                <a:off x="3827" y="3329"/>
                <a:ext cx="21" cy="28"/>
              </a:xfrm>
              <a:custGeom>
                <a:gdLst>
                  <a:gd name="T0" fmla="*/ 7 w 9"/>
                  <a:gd name="T1" fmla="*/ 0 h 12"/>
                  <a:gd name="T2" fmla="*/ 2 w 9"/>
                  <a:gd name="T3" fmla="*/ 3 h 12"/>
                  <a:gd name="T4" fmla="*/ 0 w 9"/>
                  <a:gd name="T5" fmla="*/ 9 h 12"/>
                  <a:gd name="T6" fmla="*/ 6 w 9"/>
                  <a:gd name="T7" fmla="*/ 12 h 12"/>
                  <a:gd name="T8" fmla="*/ 8 w 9"/>
                  <a:gd name="T9" fmla="*/ 5 h 12"/>
                  <a:gd name="T10" fmla="*/ 7 w 9"/>
                  <a:gd name="T11" fmla="*/ 0 h 12"/>
                </a:gdLst>
                <a:cxnLst>
                  <a:cxn ang="0">
                    <a:pos x="T0" y="T1"/>
                  </a:cxn>
                  <a:cxn ang="0">
                    <a:pos x="T2" y="T3"/>
                  </a:cxn>
                  <a:cxn ang="0">
                    <a:pos x="T4" y="T5"/>
                  </a:cxn>
                  <a:cxn ang="0">
                    <a:pos x="T6" y="T7"/>
                  </a:cxn>
                  <a:cxn ang="0">
                    <a:pos x="T8" y="T9"/>
                  </a:cxn>
                  <a:cxn ang="0">
                    <a:pos x="T10" y="T11"/>
                  </a:cxn>
                </a:cxnLst>
                <a:rect l="0" t="0" r="r" b="b"/>
                <a:pathLst>
                  <a:path w="9" h="12">
                    <a:moveTo>
                      <a:pt x="7" y="0"/>
                    </a:moveTo>
                    <a:cubicBezTo>
                      <a:pt x="5" y="0"/>
                      <a:pt x="3" y="1"/>
                      <a:pt x="2" y="3"/>
                    </a:cubicBezTo>
                    <a:cubicBezTo>
                      <a:pt x="1" y="5"/>
                      <a:pt x="2" y="8"/>
                      <a:pt x="0" y="9"/>
                    </a:cubicBezTo>
                    <a:cubicBezTo>
                      <a:pt x="2" y="10"/>
                      <a:pt x="4" y="11"/>
                      <a:pt x="6" y="12"/>
                    </a:cubicBezTo>
                    <a:cubicBezTo>
                      <a:pt x="7" y="10"/>
                      <a:pt x="9" y="8"/>
                      <a:pt x="8" y="5"/>
                    </a:cubicBezTo>
                    <a:cubicBezTo>
                      <a:pt x="8" y="3"/>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69"/>
              <p:cNvSpPr/>
              <p:nvPr/>
            </p:nvSpPr>
            <p:spPr bwMode="auto">
              <a:xfrm>
                <a:off x="5250" y="4072"/>
                <a:ext cx="22" cy="7"/>
              </a:xfrm>
              <a:custGeom>
                <a:gdLst>
                  <a:gd name="T0" fmla="*/ 8 w 9"/>
                  <a:gd name="T1" fmla="*/ 0 h 3"/>
                  <a:gd name="T2" fmla="*/ 0 w 9"/>
                  <a:gd name="T3" fmla="*/ 3 h 3"/>
                  <a:gd name="T4" fmla="*/ 9 w 9"/>
                  <a:gd name="T5" fmla="*/ 0 h 3"/>
                  <a:gd name="T6" fmla="*/ 8 w 9"/>
                  <a:gd name="T7" fmla="*/ 0 h 3"/>
                </a:gdLst>
                <a:cxnLst>
                  <a:cxn ang="0">
                    <a:pos x="T0" y="T1"/>
                  </a:cxn>
                  <a:cxn ang="0">
                    <a:pos x="T2" y="T3"/>
                  </a:cxn>
                  <a:cxn ang="0">
                    <a:pos x="T4" y="T5"/>
                  </a:cxn>
                  <a:cxn ang="0">
                    <a:pos x="T6" y="T7"/>
                  </a:cxn>
                </a:cxnLst>
                <a:rect l="0" t="0" r="r" b="b"/>
                <a:pathLst>
                  <a:path w="9" h="3">
                    <a:moveTo>
                      <a:pt x="8" y="0"/>
                    </a:moveTo>
                    <a:cubicBezTo>
                      <a:pt x="6" y="0"/>
                      <a:pt x="2" y="2"/>
                      <a:pt x="0" y="3"/>
                    </a:cubicBezTo>
                    <a:cubicBezTo>
                      <a:pt x="3" y="2"/>
                      <a:pt x="6"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70"/>
              <p:cNvSpPr/>
              <p:nvPr/>
            </p:nvSpPr>
            <p:spPr bwMode="auto">
              <a:xfrm>
                <a:off x="5168" y="2063"/>
                <a:ext cx="19" cy="5"/>
              </a:xfrm>
              <a:custGeom>
                <a:gdLst>
                  <a:gd name="T0" fmla="*/ 4 w 8"/>
                  <a:gd name="T1" fmla="*/ 0 h 2"/>
                  <a:gd name="T2" fmla="*/ 2 w 8"/>
                  <a:gd name="T3" fmla="*/ 0 h 2"/>
                  <a:gd name="T4" fmla="*/ 1 w 8"/>
                  <a:gd name="T5" fmla="*/ 2 h 2"/>
                  <a:gd name="T6" fmla="*/ 8 w 8"/>
                  <a:gd name="T7" fmla="*/ 0 h 2"/>
                  <a:gd name="T8" fmla="*/ 4 w 8"/>
                  <a:gd name="T9" fmla="*/ 0 h 2"/>
                </a:gdLst>
                <a:cxnLst>
                  <a:cxn ang="0">
                    <a:pos x="T0" y="T1"/>
                  </a:cxn>
                  <a:cxn ang="0">
                    <a:pos x="T2" y="T3"/>
                  </a:cxn>
                  <a:cxn ang="0">
                    <a:pos x="T4" y="T5"/>
                  </a:cxn>
                  <a:cxn ang="0">
                    <a:pos x="T6" y="T7"/>
                  </a:cxn>
                  <a:cxn ang="0">
                    <a:pos x="T8" y="T9"/>
                  </a:cxn>
                </a:cxnLst>
                <a:rect l="0" t="0" r="r" b="b"/>
                <a:pathLst>
                  <a:path w="8" h="2">
                    <a:moveTo>
                      <a:pt x="4" y="0"/>
                    </a:moveTo>
                    <a:cubicBezTo>
                      <a:pt x="4" y="0"/>
                      <a:pt x="3" y="0"/>
                      <a:pt x="2" y="0"/>
                    </a:cubicBezTo>
                    <a:cubicBezTo>
                      <a:pt x="0" y="2"/>
                      <a:pt x="0" y="2"/>
                      <a:pt x="1" y="2"/>
                    </a:cubicBezTo>
                    <a:cubicBezTo>
                      <a:pt x="3" y="2"/>
                      <a:pt x="7" y="1"/>
                      <a:pt x="8" y="0"/>
                    </a:cubicBezTo>
                    <a:cubicBezTo>
                      <a:pt x="7" y="0"/>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171"/>
              <p:cNvSpPr/>
              <p:nvPr/>
            </p:nvSpPr>
            <p:spPr bwMode="auto">
              <a:xfrm>
                <a:off x="5726" y="3466"/>
                <a:ext cx="52" cy="61"/>
              </a:xfrm>
              <a:custGeom>
                <a:gdLst>
                  <a:gd name="T0" fmla="*/ 4 w 22"/>
                  <a:gd name="T1" fmla="*/ 0 h 26"/>
                  <a:gd name="T2" fmla="*/ 0 w 22"/>
                  <a:gd name="T3" fmla="*/ 1 h 26"/>
                  <a:gd name="T4" fmla="*/ 1 w 22"/>
                  <a:gd name="T5" fmla="*/ 1 h 26"/>
                  <a:gd name="T6" fmla="*/ 6 w 22"/>
                  <a:gd name="T7" fmla="*/ 2 h 26"/>
                  <a:gd name="T8" fmla="*/ 12 w 22"/>
                  <a:gd name="T9" fmla="*/ 5 h 26"/>
                  <a:gd name="T10" fmla="*/ 16 w 22"/>
                  <a:gd name="T11" fmla="*/ 9 h 26"/>
                  <a:gd name="T12" fmla="*/ 17 w 22"/>
                  <a:gd name="T13" fmla="*/ 9 h 26"/>
                  <a:gd name="T14" fmla="*/ 18 w 22"/>
                  <a:gd name="T15" fmla="*/ 9 h 26"/>
                  <a:gd name="T16" fmla="*/ 18 w 22"/>
                  <a:gd name="T17" fmla="*/ 9 h 26"/>
                  <a:gd name="T18" fmla="*/ 18 w 22"/>
                  <a:gd name="T19" fmla="*/ 11 h 26"/>
                  <a:gd name="T20" fmla="*/ 13 w 22"/>
                  <a:gd name="T21" fmla="*/ 23 h 26"/>
                  <a:gd name="T22" fmla="*/ 17 w 22"/>
                  <a:gd name="T23" fmla="*/ 26 h 26"/>
                  <a:gd name="T24" fmla="*/ 21 w 22"/>
                  <a:gd name="T25" fmla="*/ 16 h 26"/>
                  <a:gd name="T26" fmla="*/ 22 w 22"/>
                  <a:gd name="T27" fmla="*/ 16 h 26"/>
                  <a:gd name="T28" fmla="*/ 20 w 22"/>
                  <a:gd name="T29" fmla="*/ 10 h 26"/>
                  <a:gd name="T30" fmla="*/ 15 w 22"/>
                  <a:gd name="T31" fmla="*/ 7 h 26"/>
                  <a:gd name="T32" fmla="*/ 16 w 22"/>
                  <a:gd name="T33" fmla="*/ 6 h 26"/>
                  <a:gd name="T34" fmla="*/ 10 w 22"/>
                  <a:gd name="T35" fmla="*/ 1 h 26"/>
                  <a:gd name="T36" fmla="*/ 4 w 22"/>
                  <a:gd name="T37"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4" y="0"/>
                    </a:moveTo>
                    <a:cubicBezTo>
                      <a:pt x="2" y="0"/>
                      <a:pt x="1" y="0"/>
                      <a:pt x="0" y="1"/>
                    </a:cubicBezTo>
                    <a:cubicBezTo>
                      <a:pt x="1" y="1"/>
                      <a:pt x="1" y="1"/>
                      <a:pt x="1" y="1"/>
                    </a:cubicBezTo>
                    <a:cubicBezTo>
                      <a:pt x="3" y="1"/>
                      <a:pt x="4" y="1"/>
                      <a:pt x="6" y="2"/>
                    </a:cubicBezTo>
                    <a:cubicBezTo>
                      <a:pt x="10" y="2"/>
                      <a:pt x="10" y="2"/>
                      <a:pt x="12" y="5"/>
                    </a:cubicBezTo>
                    <a:cubicBezTo>
                      <a:pt x="13" y="6"/>
                      <a:pt x="15" y="8"/>
                      <a:pt x="16" y="9"/>
                    </a:cubicBezTo>
                    <a:cubicBezTo>
                      <a:pt x="17" y="9"/>
                      <a:pt x="17" y="9"/>
                      <a:pt x="17" y="9"/>
                    </a:cubicBezTo>
                    <a:cubicBezTo>
                      <a:pt x="18" y="9"/>
                      <a:pt x="18" y="9"/>
                      <a:pt x="18" y="9"/>
                    </a:cubicBezTo>
                    <a:cubicBezTo>
                      <a:pt x="18" y="9"/>
                      <a:pt x="18" y="9"/>
                      <a:pt x="18" y="9"/>
                    </a:cubicBezTo>
                    <a:cubicBezTo>
                      <a:pt x="18" y="9"/>
                      <a:pt x="18" y="9"/>
                      <a:pt x="18" y="11"/>
                    </a:cubicBezTo>
                    <a:cubicBezTo>
                      <a:pt x="19" y="14"/>
                      <a:pt x="16" y="21"/>
                      <a:pt x="13" y="23"/>
                    </a:cubicBezTo>
                    <a:cubicBezTo>
                      <a:pt x="14" y="24"/>
                      <a:pt x="16" y="25"/>
                      <a:pt x="17" y="26"/>
                    </a:cubicBezTo>
                    <a:cubicBezTo>
                      <a:pt x="18" y="24"/>
                      <a:pt x="17" y="16"/>
                      <a:pt x="21" y="16"/>
                    </a:cubicBezTo>
                    <a:cubicBezTo>
                      <a:pt x="21" y="16"/>
                      <a:pt x="21" y="16"/>
                      <a:pt x="22" y="16"/>
                    </a:cubicBezTo>
                    <a:cubicBezTo>
                      <a:pt x="22" y="14"/>
                      <a:pt x="21" y="11"/>
                      <a:pt x="20" y="10"/>
                    </a:cubicBezTo>
                    <a:cubicBezTo>
                      <a:pt x="19" y="8"/>
                      <a:pt x="16" y="9"/>
                      <a:pt x="15" y="7"/>
                    </a:cubicBezTo>
                    <a:cubicBezTo>
                      <a:pt x="16" y="6"/>
                      <a:pt x="16" y="6"/>
                      <a:pt x="16" y="6"/>
                    </a:cubicBezTo>
                    <a:cubicBezTo>
                      <a:pt x="13" y="6"/>
                      <a:pt x="12" y="3"/>
                      <a:pt x="10" y="1"/>
                    </a:cubicBezTo>
                    <a:cubicBezTo>
                      <a:pt x="9"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172"/>
              <p:cNvSpPr/>
              <p:nvPr/>
            </p:nvSpPr>
            <p:spPr bwMode="auto">
              <a:xfrm>
                <a:off x="5700" y="3568"/>
                <a:ext cx="40" cy="54"/>
              </a:xfrm>
              <a:custGeom>
                <a:gdLst>
                  <a:gd name="T0" fmla="*/ 5 w 17"/>
                  <a:gd name="T1" fmla="*/ 0 h 23"/>
                  <a:gd name="T2" fmla="*/ 4 w 17"/>
                  <a:gd name="T3" fmla="*/ 9 h 23"/>
                  <a:gd name="T4" fmla="*/ 3 w 17"/>
                  <a:gd name="T5" fmla="*/ 12 h 23"/>
                  <a:gd name="T6" fmla="*/ 5 w 17"/>
                  <a:gd name="T7" fmla="*/ 16 h 23"/>
                  <a:gd name="T8" fmla="*/ 2 w 17"/>
                  <a:gd name="T9" fmla="*/ 13 h 23"/>
                  <a:gd name="T10" fmla="*/ 0 w 17"/>
                  <a:gd name="T11" fmla="*/ 14 h 23"/>
                  <a:gd name="T12" fmla="*/ 5 w 17"/>
                  <a:gd name="T13" fmla="*/ 18 h 23"/>
                  <a:gd name="T14" fmla="*/ 8 w 17"/>
                  <a:gd name="T15" fmla="*/ 20 h 23"/>
                  <a:gd name="T16" fmla="*/ 9 w 17"/>
                  <a:gd name="T17" fmla="*/ 23 h 23"/>
                  <a:gd name="T18" fmla="*/ 10 w 17"/>
                  <a:gd name="T19" fmla="*/ 23 h 23"/>
                  <a:gd name="T20" fmla="*/ 13 w 17"/>
                  <a:gd name="T21" fmla="*/ 19 h 23"/>
                  <a:gd name="T22" fmla="*/ 16 w 17"/>
                  <a:gd name="T23" fmla="*/ 18 h 23"/>
                  <a:gd name="T24" fmla="*/ 14 w 17"/>
                  <a:gd name="T25" fmla="*/ 10 h 23"/>
                  <a:gd name="T26" fmla="*/ 5 w 17"/>
                  <a:gd name="T27"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23">
                    <a:moveTo>
                      <a:pt x="5" y="0"/>
                    </a:moveTo>
                    <a:cubicBezTo>
                      <a:pt x="5" y="4"/>
                      <a:pt x="6" y="6"/>
                      <a:pt x="4" y="9"/>
                    </a:cubicBezTo>
                    <a:cubicBezTo>
                      <a:pt x="4" y="10"/>
                      <a:pt x="3" y="11"/>
                      <a:pt x="3" y="12"/>
                    </a:cubicBezTo>
                    <a:cubicBezTo>
                      <a:pt x="4" y="14"/>
                      <a:pt x="6" y="14"/>
                      <a:pt x="5" y="16"/>
                    </a:cubicBezTo>
                    <a:cubicBezTo>
                      <a:pt x="4" y="15"/>
                      <a:pt x="3" y="14"/>
                      <a:pt x="2" y="13"/>
                    </a:cubicBezTo>
                    <a:cubicBezTo>
                      <a:pt x="2" y="13"/>
                      <a:pt x="0" y="14"/>
                      <a:pt x="0" y="14"/>
                    </a:cubicBezTo>
                    <a:cubicBezTo>
                      <a:pt x="0" y="16"/>
                      <a:pt x="3" y="17"/>
                      <a:pt x="5" y="18"/>
                    </a:cubicBezTo>
                    <a:cubicBezTo>
                      <a:pt x="6" y="19"/>
                      <a:pt x="7" y="19"/>
                      <a:pt x="8" y="20"/>
                    </a:cubicBezTo>
                    <a:cubicBezTo>
                      <a:pt x="8" y="21"/>
                      <a:pt x="8" y="23"/>
                      <a:pt x="9" y="23"/>
                    </a:cubicBezTo>
                    <a:cubicBezTo>
                      <a:pt x="9" y="23"/>
                      <a:pt x="9" y="23"/>
                      <a:pt x="10" y="23"/>
                    </a:cubicBezTo>
                    <a:cubicBezTo>
                      <a:pt x="11" y="22"/>
                      <a:pt x="12" y="20"/>
                      <a:pt x="13" y="19"/>
                    </a:cubicBezTo>
                    <a:cubicBezTo>
                      <a:pt x="14" y="19"/>
                      <a:pt x="16" y="19"/>
                      <a:pt x="16" y="18"/>
                    </a:cubicBezTo>
                    <a:cubicBezTo>
                      <a:pt x="17" y="16"/>
                      <a:pt x="15" y="11"/>
                      <a:pt x="14" y="10"/>
                    </a:cubicBezTo>
                    <a:cubicBezTo>
                      <a:pt x="11" y="4"/>
                      <a:pt x="11"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173"/>
              <p:cNvSpPr/>
              <p:nvPr/>
            </p:nvSpPr>
            <p:spPr bwMode="auto">
              <a:xfrm>
                <a:off x="5752" y="3577"/>
                <a:ext cx="9" cy="2"/>
              </a:xfrm>
              <a:custGeom>
                <a:gdLst>
                  <a:gd name="T0" fmla="*/ 4 w 4"/>
                  <a:gd name="T1" fmla="*/ 0 h 1"/>
                  <a:gd name="T2" fmla="*/ 0 w 4"/>
                  <a:gd name="T3" fmla="*/ 1 h 1"/>
                  <a:gd name="T4" fmla="*/ 1 w 4"/>
                  <a:gd name="T5" fmla="*/ 1 h 1"/>
                  <a:gd name="T6" fmla="*/ 4 w 4"/>
                  <a:gd name="T7" fmla="*/ 0 h 1"/>
                </a:gdLst>
                <a:cxnLst>
                  <a:cxn ang="0">
                    <a:pos x="T0" y="T1"/>
                  </a:cxn>
                  <a:cxn ang="0">
                    <a:pos x="T2" y="T3"/>
                  </a:cxn>
                  <a:cxn ang="0">
                    <a:pos x="T4" y="T5"/>
                  </a:cxn>
                  <a:cxn ang="0">
                    <a:pos x="T6" y="T7"/>
                  </a:cxn>
                </a:cxnLst>
                <a:rect l="0" t="0" r="r" b="b"/>
                <a:pathLst>
                  <a:path w="4" h="1">
                    <a:moveTo>
                      <a:pt x="4" y="0"/>
                    </a:moveTo>
                    <a:cubicBezTo>
                      <a:pt x="3" y="0"/>
                      <a:pt x="2" y="1"/>
                      <a:pt x="0" y="1"/>
                    </a:cubicBezTo>
                    <a:cubicBezTo>
                      <a:pt x="0" y="1"/>
                      <a:pt x="0" y="1"/>
                      <a:pt x="1" y="1"/>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174"/>
              <p:cNvSpPr/>
              <p:nvPr/>
            </p:nvSpPr>
            <p:spPr bwMode="auto">
              <a:xfrm>
                <a:off x="5669" y="3475"/>
                <a:ext cx="62" cy="17"/>
              </a:xfrm>
              <a:custGeom>
                <a:gdLst>
                  <a:gd name="T0" fmla="*/ 9 w 26"/>
                  <a:gd name="T1" fmla="*/ 0 h 7"/>
                  <a:gd name="T2" fmla="*/ 9 w 26"/>
                  <a:gd name="T3" fmla="*/ 0 h 7"/>
                  <a:gd name="T4" fmla="*/ 4 w 26"/>
                  <a:gd name="T5" fmla="*/ 5 h 7"/>
                  <a:gd name="T6" fmla="*/ 3 w 26"/>
                  <a:gd name="T7" fmla="*/ 4 h 7"/>
                  <a:gd name="T8" fmla="*/ 0 w 26"/>
                  <a:gd name="T9" fmla="*/ 2 h 7"/>
                  <a:gd name="T10" fmla="*/ 6 w 26"/>
                  <a:gd name="T11" fmla="*/ 7 h 7"/>
                  <a:gd name="T12" fmla="*/ 17 w 26"/>
                  <a:gd name="T13" fmla="*/ 4 h 7"/>
                  <a:gd name="T14" fmla="*/ 22 w 26"/>
                  <a:gd name="T15" fmla="*/ 3 h 7"/>
                  <a:gd name="T16" fmla="*/ 22 w 26"/>
                  <a:gd name="T17" fmla="*/ 3 h 7"/>
                  <a:gd name="T18" fmla="*/ 23 w 26"/>
                  <a:gd name="T19" fmla="*/ 3 h 7"/>
                  <a:gd name="T20" fmla="*/ 24 w 26"/>
                  <a:gd name="T21" fmla="*/ 3 h 7"/>
                  <a:gd name="T22" fmla="*/ 25 w 26"/>
                  <a:gd name="T23" fmla="*/ 0 h 7"/>
                  <a:gd name="T24" fmla="*/ 15 w 26"/>
                  <a:gd name="T25" fmla="*/ 2 h 7"/>
                  <a:gd name="T26" fmla="*/ 12 w 26"/>
                  <a:gd name="T27" fmla="*/ 1 h 7"/>
                  <a:gd name="T28" fmla="*/ 9 w 26"/>
                  <a:gd name="T2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7">
                    <a:moveTo>
                      <a:pt x="9" y="0"/>
                    </a:moveTo>
                    <a:cubicBezTo>
                      <a:pt x="9" y="0"/>
                      <a:pt x="9" y="0"/>
                      <a:pt x="9" y="0"/>
                    </a:cubicBezTo>
                    <a:cubicBezTo>
                      <a:pt x="7" y="0"/>
                      <a:pt x="6" y="5"/>
                      <a:pt x="4" y="5"/>
                    </a:cubicBezTo>
                    <a:cubicBezTo>
                      <a:pt x="3" y="4"/>
                      <a:pt x="3" y="4"/>
                      <a:pt x="3" y="4"/>
                    </a:cubicBezTo>
                    <a:cubicBezTo>
                      <a:pt x="2" y="4"/>
                      <a:pt x="1" y="2"/>
                      <a:pt x="0" y="2"/>
                    </a:cubicBezTo>
                    <a:cubicBezTo>
                      <a:pt x="2" y="4"/>
                      <a:pt x="4" y="5"/>
                      <a:pt x="6" y="7"/>
                    </a:cubicBezTo>
                    <a:cubicBezTo>
                      <a:pt x="10" y="6"/>
                      <a:pt x="13" y="4"/>
                      <a:pt x="17" y="4"/>
                    </a:cubicBezTo>
                    <a:cubicBezTo>
                      <a:pt x="18" y="3"/>
                      <a:pt x="20" y="3"/>
                      <a:pt x="22" y="3"/>
                    </a:cubicBezTo>
                    <a:cubicBezTo>
                      <a:pt x="22" y="3"/>
                      <a:pt x="22" y="3"/>
                      <a:pt x="22" y="3"/>
                    </a:cubicBezTo>
                    <a:cubicBezTo>
                      <a:pt x="23" y="3"/>
                      <a:pt x="23" y="3"/>
                      <a:pt x="23" y="3"/>
                    </a:cubicBezTo>
                    <a:cubicBezTo>
                      <a:pt x="24" y="3"/>
                      <a:pt x="24" y="3"/>
                      <a:pt x="24" y="3"/>
                    </a:cubicBezTo>
                    <a:cubicBezTo>
                      <a:pt x="25" y="3"/>
                      <a:pt x="26" y="3"/>
                      <a:pt x="25" y="0"/>
                    </a:cubicBezTo>
                    <a:cubicBezTo>
                      <a:pt x="22" y="1"/>
                      <a:pt x="18" y="2"/>
                      <a:pt x="15" y="2"/>
                    </a:cubicBezTo>
                    <a:cubicBezTo>
                      <a:pt x="14" y="2"/>
                      <a:pt x="13" y="2"/>
                      <a:pt x="12" y="1"/>
                    </a:cubicBezTo>
                    <a:cubicBezTo>
                      <a:pt x="11"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175"/>
              <p:cNvSpPr/>
              <p:nvPr/>
            </p:nvSpPr>
            <p:spPr bwMode="auto">
              <a:xfrm>
                <a:off x="5816" y="3565"/>
                <a:ext cx="11" cy="36"/>
              </a:xfrm>
              <a:custGeom>
                <a:gdLst>
                  <a:gd name="T0" fmla="*/ 0 w 5"/>
                  <a:gd name="T1" fmla="*/ 0 h 15"/>
                  <a:gd name="T2" fmla="*/ 4 w 5"/>
                  <a:gd name="T3" fmla="*/ 3 h 15"/>
                  <a:gd name="T4" fmla="*/ 2 w 5"/>
                  <a:gd name="T5" fmla="*/ 9 h 15"/>
                  <a:gd name="T6" fmla="*/ 3 w 5"/>
                  <a:gd name="T7" fmla="*/ 9 h 15"/>
                  <a:gd name="T8" fmla="*/ 1 w 5"/>
                  <a:gd name="T9" fmla="*/ 11 h 15"/>
                  <a:gd name="T10" fmla="*/ 0 w 5"/>
                  <a:gd name="T11" fmla="*/ 11 h 15"/>
                  <a:gd name="T12" fmla="*/ 3 w 5"/>
                  <a:gd name="T13" fmla="*/ 15 h 15"/>
                  <a:gd name="T14" fmla="*/ 4 w 5"/>
                  <a:gd name="T15" fmla="*/ 7 h 15"/>
                  <a:gd name="T16" fmla="*/ 0 w 5"/>
                  <a:gd name="T17"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5">
                    <a:moveTo>
                      <a:pt x="0" y="0"/>
                    </a:moveTo>
                    <a:cubicBezTo>
                      <a:pt x="1" y="2"/>
                      <a:pt x="3" y="2"/>
                      <a:pt x="4" y="3"/>
                    </a:cubicBezTo>
                    <a:cubicBezTo>
                      <a:pt x="5" y="6"/>
                      <a:pt x="2" y="7"/>
                      <a:pt x="2" y="9"/>
                    </a:cubicBezTo>
                    <a:cubicBezTo>
                      <a:pt x="3" y="9"/>
                      <a:pt x="3" y="9"/>
                      <a:pt x="3" y="9"/>
                    </a:cubicBezTo>
                    <a:cubicBezTo>
                      <a:pt x="3" y="10"/>
                      <a:pt x="2" y="11"/>
                      <a:pt x="1" y="11"/>
                    </a:cubicBezTo>
                    <a:cubicBezTo>
                      <a:pt x="1" y="11"/>
                      <a:pt x="0" y="11"/>
                      <a:pt x="0" y="11"/>
                    </a:cubicBezTo>
                    <a:cubicBezTo>
                      <a:pt x="2" y="12"/>
                      <a:pt x="2" y="13"/>
                      <a:pt x="3" y="15"/>
                    </a:cubicBezTo>
                    <a:cubicBezTo>
                      <a:pt x="4" y="12"/>
                      <a:pt x="4" y="9"/>
                      <a:pt x="4" y="7"/>
                    </a:cubicBezTo>
                    <a:cubicBezTo>
                      <a:pt x="4" y="3"/>
                      <a:pt x="5"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176"/>
              <p:cNvSpPr/>
              <p:nvPr/>
            </p:nvSpPr>
            <p:spPr bwMode="auto">
              <a:xfrm>
                <a:off x="5846" y="3598"/>
                <a:ext cx="24" cy="33"/>
              </a:xfrm>
              <a:custGeom>
                <a:gdLst>
                  <a:gd name="T0" fmla="*/ 0 w 10"/>
                  <a:gd name="T1" fmla="*/ 0 h 14"/>
                  <a:gd name="T2" fmla="*/ 4 w 10"/>
                  <a:gd name="T3" fmla="*/ 5 h 14"/>
                  <a:gd name="T4" fmla="*/ 7 w 10"/>
                  <a:gd name="T5" fmla="*/ 14 h 14"/>
                  <a:gd name="T6" fmla="*/ 8 w 10"/>
                  <a:gd name="T7" fmla="*/ 9 h 14"/>
                  <a:gd name="T8" fmla="*/ 0 w 10"/>
                  <a:gd name="T9" fmla="*/ 0 h 14"/>
                </a:gdLst>
                <a:cxnLst>
                  <a:cxn ang="0">
                    <a:pos x="T0" y="T1"/>
                  </a:cxn>
                  <a:cxn ang="0">
                    <a:pos x="T2" y="T3"/>
                  </a:cxn>
                  <a:cxn ang="0">
                    <a:pos x="T4" y="T5"/>
                  </a:cxn>
                  <a:cxn ang="0">
                    <a:pos x="T6" y="T7"/>
                  </a:cxn>
                  <a:cxn ang="0">
                    <a:pos x="T8" y="T9"/>
                  </a:cxn>
                </a:cxnLst>
                <a:rect l="0" t="0" r="r" b="b"/>
                <a:pathLst>
                  <a:path w="10" h="14">
                    <a:moveTo>
                      <a:pt x="0" y="0"/>
                    </a:moveTo>
                    <a:cubicBezTo>
                      <a:pt x="0" y="1"/>
                      <a:pt x="4" y="4"/>
                      <a:pt x="4" y="5"/>
                    </a:cubicBezTo>
                    <a:cubicBezTo>
                      <a:pt x="6" y="8"/>
                      <a:pt x="9" y="10"/>
                      <a:pt x="7" y="14"/>
                    </a:cubicBezTo>
                    <a:cubicBezTo>
                      <a:pt x="10" y="11"/>
                      <a:pt x="10" y="11"/>
                      <a:pt x="8" y="9"/>
                    </a:cubicBezTo>
                    <a:cubicBezTo>
                      <a:pt x="6" y="6"/>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77"/>
              <p:cNvSpPr/>
              <p:nvPr/>
            </p:nvSpPr>
            <p:spPr bwMode="auto">
              <a:xfrm>
                <a:off x="6159" y="4284"/>
                <a:ext cx="9" cy="12"/>
              </a:xfrm>
              <a:custGeom>
                <a:gdLst>
                  <a:gd name="T0" fmla="*/ 0 w 4"/>
                  <a:gd name="T1" fmla="*/ 0 h 5"/>
                  <a:gd name="T2" fmla="*/ 1 w 4"/>
                  <a:gd name="T3" fmla="*/ 3 h 5"/>
                  <a:gd name="T4" fmla="*/ 4 w 4"/>
                  <a:gd name="T5" fmla="*/ 5 h 5"/>
                  <a:gd name="T6" fmla="*/ 0 w 4"/>
                  <a:gd name="T7" fmla="*/ 0 h 5"/>
                </a:gdLst>
                <a:cxnLst>
                  <a:cxn ang="0">
                    <a:pos x="T0" y="T1"/>
                  </a:cxn>
                  <a:cxn ang="0">
                    <a:pos x="T2" y="T3"/>
                  </a:cxn>
                  <a:cxn ang="0">
                    <a:pos x="T4" y="T5"/>
                  </a:cxn>
                  <a:cxn ang="0">
                    <a:pos x="T6" y="T7"/>
                  </a:cxn>
                </a:cxnLst>
                <a:rect l="0" t="0" r="r" b="b"/>
                <a:pathLst>
                  <a:path w="4" h="5">
                    <a:moveTo>
                      <a:pt x="0" y="0"/>
                    </a:moveTo>
                    <a:cubicBezTo>
                      <a:pt x="1" y="1"/>
                      <a:pt x="1" y="2"/>
                      <a:pt x="1" y="3"/>
                    </a:cubicBezTo>
                    <a:cubicBezTo>
                      <a:pt x="2" y="4"/>
                      <a:pt x="3" y="4"/>
                      <a:pt x="4"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178"/>
              <p:cNvSpPr/>
              <p:nvPr/>
            </p:nvSpPr>
            <p:spPr bwMode="auto">
              <a:xfrm>
                <a:off x="6492" y="4386"/>
                <a:ext cx="5" cy="3"/>
              </a:xfrm>
              <a:custGeom>
                <a:gdLst>
                  <a:gd name="T0" fmla="*/ 0 w 2"/>
                  <a:gd name="T1" fmla="*/ 0 h 1"/>
                  <a:gd name="T2" fmla="*/ 2 w 2"/>
                  <a:gd name="T3" fmla="*/ 1 h 1"/>
                  <a:gd name="T4" fmla="*/ 0 w 2"/>
                  <a:gd name="T5" fmla="*/ 0 h 1"/>
                </a:gdLst>
                <a:cxnLst>
                  <a:cxn ang="0">
                    <a:pos x="T0" y="T1"/>
                  </a:cxn>
                  <a:cxn ang="0">
                    <a:pos x="T2" y="T3"/>
                  </a:cxn>
                  <a:cxn ang="0">
                    <a:pos x="T4" y="T5"/>
                  </a:cxn>
                </a:cxnLst>
                <a:rect l="0" t="0" r="r" b="b"/>
                <a:pathLst>
                  <a:path w="2" h="1">
                    <a:moveTo>
                      <a:pt x="0" y="0"/>
                    </a:moveTo>
                    <a:cubicBezTo>
                      <a:pt x="1" y="0"/>
                      <a:pt x="1"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179"/>
              <p:cNvSpPr/>
              <p:nvPr/>
            </p:nvSpPr>
            <p:spPr bwMode="auto">
              <a:xfrm>
                <a:off x="6414" y="4377"/>
                <a:ext cx="9" cy="4"/>
              </a:xfrm>
              <a:custGeom>
                <a:gdLst>
                  <a:gd name="T0" fmla="*/ 2 w 4"/>
                  <a:gd name="T1" fmla="*/ 0 h 2"/>
                  <a:gd name="T2" fmla="*/ 0 w 4"/>
                  <a:gd name="T3" fmla="*/ 1 h 2"/>
                  <a:gd name="T4" fmla="*/ 3 w 4"/>
                  <a:gd name="T5" fmla="*/ 2 h 2"/>
                  <a:gd name="T6" fmla="*/ 4 w 4"/>
                  <a:gd name="T7" fmla="*/ 0 h 2"/>
                  <a:gd name="T8" fmla="*/ 2 w 4"/>
                  <a:gd name="T9" fmla="*/ 0 h 2"/>
                </a:gdLst>
                <a:cxnLst>
                  <a:cxn ang="0">
                    <a:pos x="T0" y="T1"/>
                  </a:cxn>
                  <a:cxn ang="0">
                    <a:pos x="T2" y="T3"/>
                  </a:cxn>
                  <a:cxn ang="0">
                    <a:pos x="T4" y="T5"/>
                  </a:cxn>
                  <a:cxn ang="0">
                    <a:pos x="T6" y="T7"/>
                  </a:cxn>
                  <a:cxn ang="0">
                    <a:pos x="T8" y="T9"/>
                  </a:cxn>
                </a:cxnLst>
                <a:rect l="0" t="0" r="r" b="b"/>
                <a:pathLst>
                  <a:path w="4" h="2">
                    <a:moveTo>
                      <a:pt x="2" y="0"/>
                    </a:moveTo>
                    <a:cubicBezTo>
                      <a:pt x="1" y="0"/>
                      <a:pt x="0" y="0"/>
                      <a:pt x="0" y="1"/>
                    </a:cubicBezTo>
                    <a:cubicBezTo>
                      <a:pt x="1" y="1"/>
                      <a:pt x="2" y="2"/>
                      <a:pt x="3" y="2"/>
                    </a:cubicBezTo>
                    <a:cubicBezTo>
                      <a:pt x="3" y="1"/>
                      <a:pt x="4" y="1"/>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180"/>
              <p:cNvSpPr/>
              <p:nvPr/>
            </p:nvSpPr>
            <p:spPr bwMode="auto">
              <a:xfrm>
                <a:off x="6471" y="4365"/>
                <a:ext cx="33" cy="16"/>
              </a:xfrm>
              <a:custGeom>
                <a:gdLst>
                  <a:gd name="T0" fmla="*/ 11 w 14"/>
                  <a:gd name="T1" fmla="*/ 0 h 7"/>
                  <a:gd name="T2" fmla="*/ 6 w 14"/>
                  <a:gd name="T3" fmla="*/ 4 h 7"/>
                  <a:gd name="T4" fmla="*/ 6 w 14"/>
                  <a:gd name="T5" fmla="*/ 4 h 7"/>
                  <a:gd name="T6" fmla="*/ 4 w 14"/>
                  <a:gd name="T7" fmla="*/ 3 h 7"/>
                  <a:gd name="T8" fmla="*/ 2 w 14"/>
                  <a:gd name="T9" fmla="*/ 2 h 7"/>
                  <a:gd name="T10" fmla="*/ 0 w 14"/>
                  <a:gd name="T11" fmla="*/ 3 h 7"/>
                  <a:gd name="T12" fmla="*/ 7 w 14"/>
                  <a:gd name="T13" fmla="*/ 7 h 7"/>
                  <a:gd name="T14" fmla="*/ 13 w 14"/>
                  <a:gd name="T15" fmla="*/ 5 h 7"/>
                  <a:gd name="T16" fmla="*/ 11 w 14"/>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11" y="0"/>
                    </a:moveTo>
                    <a:cubicBezTo>
                      <a:pt x="10" y="1"/>
                      <a:pt x="8" y="4"/>
                      <a:pt x="6" y="4"/>
                    </a:cubicBezTo>
                    <a:cubicBezTo>
                      <a:pt x="6" y="4"/>
                      <a:pt x="6" y="4"/>
                      <a:pt x="6" y="4"/>
                    </a:cubicBezTo>
                    <a:cubicBezTo>
                      <a:pt x="5" y="4"/>
                      <a:pt x="4" y="3"/>
                      <a:pt x="4" y="3"/>
                    </a:cubicBezTo>
                    <a:cubicBezTo>
                      <a:pt x="4" y="2"/>
                      <a:pt x="3" y="2"/>
                      <a:pt x="2" y="2"/>
                    </a:cubicBezTo>
                    <a:cubicBezTo>
                      <a:pt x="2" y="2"/>
                      <a:pt x="1" y="2"/>
                      <a:pt x="0" y="3"/>
                    </a:cubicBezTo>
                    <a:cubicBezTo>
                      <a:pt x="2" y="4"/>
                      <a:pt x="5" y="6"/>
                      <a:pt x="7" y="7"/>
                    </a:cubicBezTo>
                    <a:cubicBezTo>
                      <a:pt x="9" y="6"/>
                      <a:pt x="12" y="7"/>
                      <a:pt x="13" y="5"/>
                    </a:cubicBezTo>
                    <a:cubicBezTo>
                      <a:pt x="14" y="4"/>
                      <a:pt x="13"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81"/>
              <p:cNvSpPr/>
              <p:nvPr/>
            </p:nvSpPr>
            <p:spPr bwMode="auto">
              <a:xfrm>
                <a:off x="5172" y="3972"/>
                <a:ext cx="12" cy="17"/>
              </a:xfrm>
              <a:custGeom>
                <a:gdLst>
                  <a:gd name="T0" fmla="*/ 4 w 5"/>
                  <a:gd name="T1" fmla="*/ 0 h 7"/>
                  <a:gd name="T2" fmla="*/ 0 w 5"/>
                  <a:gd name="T3" fmla="*/ 7 h 7"/>
                  <a:gd name="T4" fmla="*/ 1 w 5"/>
                  <a:gd name="T5" fmla="*/ 6 h 7"/>
                  <a:gd name="T6" fmla="*/ 2 w 5"/>
                  <a:gd name="T7" fmla="*/ 5 h 7"/>
                  <a:gd name="T8" fmla="*/ 3 w 5"/>
                  <a:gd name="T9" fmla="*/ 4 h 7"/>
                  <a:gd name="T10" fmla="*/ 4 w 5"/>
                  <a:gd name="T11" fmla="*/ 1 h 7"/>
                  <a:gd name="T12" fmla="*/ 4 w 5"/>
                  <a:gd name="T13" fmla="*/ 1 h 7"/>
                  <a:gd name="T14" fmla="*/ 4 w 5"/>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4" y="0"/>
                    </a:moveTo>
                    <a:cubicBezTo>
                      <a:pt x="3" y="2"/>
                      <a:pt x="2" y="5"/>
                      <a:pt x="0" y="7"/>
                    </a:cubicBezTo>
                    <a:cubicBezTo>
                      <a:pt x="1" y="6"/>
                      <a:pt x="1" y="6"/>
                      <a:pt x="1" y="6"/>
                    </a:cubicBezTo>
                    <a:cubicBezTo>
                      <a:pt x="2" y="5"/>
                      <a:pt x="2" y="5"/>
                      <a:pt x="2" y="5"/>
                    </a:cubicBezTo>
                    <a:cubicBezTo>
                      <a:pt x="2" y="5"/>
                      <a:pt x="3" y="4"/>
                      <a:pt x="3" y="4"/>
                    </a:cubicBezTo>
                    <a:cubicBezTo>
                      <a:pt x="4" y="3"/>
                      <a:pt x="4" y="2"/>
                      <a:pt x="4" y="1"/>
                    </a:cubicBezTo>
                    <a:cubicBezTo>
                      <a:pt x="4" y="1"/>
                      <a:pt x="4" y="1"/>
                      <a:pt x="4" y="1"/>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182"/>
              <p:cNvSpPr/>
              <p:nvPr/>
            </p:nvSpPr>
            <p:spPr bwMode="auto">
              <a:xfrm>
                <a:off x="4953" y="3305"/>
                <a:ext cx="16" cy="5"/>
              </a:xfrm>
              <a:custGeom>
                <a:gdLst>
                  <a:gd name="T0" fmla="*/ 3 w 7"/>
                  <a:gd name="T1" fmla="*/ 0 h 2"/>
                  <a:gd name="T2" fmla="*/ 0 w 7"/>
                  <a:gd name="T3" fmla="*/ 1 h 2"/>
                  <a:gd name="T4" fmla="*/ 7 w 7"/>
                  <a:gd name="T5" fmla="*/ 2 h 2"/>
                  <a:gd name="T6" fmla="*/ 5 w 7"/>
                  <a:gd name="T7" fmla="*/ 1 h 2"/>
                  <a:gd name="T8" fmla="*/ 3 w 7"/>
                  <a:gd name="T9" fmla="*/ 0 h 2"/>
                </a:gdLst>
                <a:cxnLst>
                  <a:cxn ang="0">
                    <a:pos x="T0" y="T1"/>
                  </a:cxn>
                  <a:cxn ang="0">
                    <a:pos x="T2" y="T3"/>
                  </a:cxn>
                  <a:cxn ang="0">
                    <a:pos x="T4" y="T5"/>
                  </a:cxn>
                  <a:cxn ang="0">
                    <a:pos x="T6" y="T7"/>
                  </a:cxn>
                  <a:cxn ang="0">
                    <a:pos x="T8" y="T9"/>
                  </a:cxn>
                </a:cxnLst>
                <a:rect l="0" t="0" r="r" b="b"/>
                <a:pathLst>
                  <a:path w="7" h="2">
                    <a:moveTo>
                      <a:pt x="3" y="0"/>
                    </a:moveTo>
                    <a:cubicBezTo>
                      <a:pt x="2" y="0"/>
                      <a:pt x="1" y="1"/>
                      <a:pt x="0" y="1"/>
                    </a:cubicBezTo>
                    <a:cubicBezTo>
                      <a:pt x="3" y="2"/>
                      <a:pt x="5" y="2"/>
                      <a:pt x="7" y="2"/>
                    </a:cubicBezTo>
                    <a:cubicBezTo>
                      <a:pt x="7" y="2"/>
                      <a:pt x="6" y="1"/>
                      <a:pt x="5"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183"/>
              <p:cNvSpPr/>
              <p:nvPr/>
            </p:nvSpPr>
            <p:spPr bwMode="auto">
              <a:xfrm>
                <a:off x="4666" y="3492"/>
                <a:ext cx="5" cy="24"/>
              </a:xfrm>
              <a:custGeom>
                <a:gdLst>
                  <a:gd name="T0" fmla="*/ 0 w 2"/>
                  <a:gd name="T1" fmla="*/ 0 h 10"/>
                  <a:gd name="T2" fmla="*/ 0 w 2"/>
                  <a:gd name="T3" fmla="*/ 0 h 10"/>
                  <a:gd name="T4" fmla="*/ 0 w 2"/>
                  <a:gd name="T5" fmla="*/ 0 h 10"/>
                  <a:gd name="T6" fmla="*/ 2 w 2"/>
                  <a:gd name="T7" fmla="*/ 10 h 10"/>
                  <a:gd name="T8" fmla="*/ 2 w 2"/>
                  <a:gd name="T9" fmla="*/ 6 h 10"/>
                  <a:gd name="T10" fmla="*/ 1 w 2"/>
                  <a:gd name="T11" fmla="*/ 5 h 10"/>
                  <a:gd name="T12" fmla="*/ 1 w 2"/>
                  <a:gd name="T13" fmla="*/ 3 h 10"/>
                  <a:gd name="T14" fmla="*/ 0 w 2"/>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0" y="0"/>
                    </a:moveTo>
                    <a:cubicBezTo>
                      <a:pt x="0" y="0"/>
                      <a:pt x="0" y="0"/>
                      <a:pt x="0" y="0"/>
                    </a:cubicBezTo>
                    <a:cubicBezTo>
                      <a:pt x="0" y="0"/>
                      <a:pt x="0" y="0"/>
                      <a:pt x="0" y="0"/>
                    </a:cubicBezTo>
                    <a:cubicBezTo>
                      <a:pt x="1" y="3"/>
                      <a:pt x="1" y="7"/>
                      <a:pt x="2" y="10"/>
                    </a:cubicBezTo>
                    <a:cubicBezTo>
                      <a:pt x="2" y="9"/>
                      <a:pt x="2" y="7"/>
                      <a:pt x="2" y="6"/>
                    </a:cubicBezTo>
                    <a:cubicBezTo>
                      <a:pt x="2" y="6"/>
                      <a:pt x="1" y="5"/>
                      <a:pt x="1" y="5"/>
                    </a:cubicBezTo>
                    <a:cubicBezTo>
                      <a:pt x="1" y="4"/>
                      <a:pt x="1" y="4"/>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184"/>
              <p:cNvSpPr/>
              <p:nvPr/>
            </p:nvSpPr>
            <p:spPr bwMode="auto">
              <a:xfrm>
                <a:off x="5135" y="3267"/>
                <a:ext cx="11" cy="3"/>
              </a:xfrm>
              <a:custGeom>
                <a:gdLst>
                  <a:gd name="T0" fmla="*/ 0 w 5"/>
                  <a:gd name="T1" fmla="*/ 0 h 1"/>
                  <a:gd name="T2" fmla="*/ 4 w 5"/>
                  <a:gd name="T3" fmla="*/ 1 h 1"/>
                  <a:gd name="T4" fmla="*/ 5 w 5"/>
                  <a:gd name="T5" fmla="*/ 1 h 1"/>
                  <a:gd name="T6" fmla="*/ 0 w 5"/>
                  <a:gd name="T7" fmla="*/ 0 h 1"/>
                </a:gdLst>
                <a:cxnLst>
                  <a:cxn ang="0">
                    <a:pos x="T0" y="T1"/>
                  </a:cxn>
                  <a:cxn ang="0">
                    <a:pos x="T2" y="T3"/>
                  </a:cxn>
                  <a:cxn ang="0">
                    <a:pos x="T4" y="T5"/>
                  </a:cxn>
                  <a:cxn ang="0">
                    <a:pos x="T6" y="T7"/>
                  </a:cxn>
                </a:cxnLst>
                <a:rect l="0" t="0" r="r" b="b"/>
                <a:pathLst>
                  <a:path w="5" h="1">
                    <a:moveTo>
                      <a:pt x="0" y="0"/>
                    </a:moveTo>
                    <a:cubicBezTo>
                      <a:pt x="1" y="1"/>
                      <a:pt x="2" y="1"/>
                      <a:pt x="4" y="1"/>
                    </a:cubicBezTo>
                    <a:cubicBezTo>
                      <a:pt x="4" y="1"/>
                      <a:pt x="4" y="1"/>
                      <a:pt x="5" y="1"/>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185"/>
              <p:cNvSpPr/>
              <p:nvPr/>
            </p:nvSpPr>
            <p:spPr bwMode="auto">
              <a:xfrm>
                <a:off x="3245" y="2080"/>
                <a:ext cx="10" cy="11"/>
              </a:xfrm>
              <a:custGeom>
                <a:gdLst>
                  <a:gd name="T0" fmla="*/ 2 w 4"/>
                  <a:gd name="T1" fmla="*/ 0 h 5"/>
                  <a:gd name="T2" fmla="*/ 1 w 4"/>
                  <a:gd name="T3" fmla="*/ 4 h 5"/>
                  <a:gd name="T4" fmla="*/ 4 w 4"/>
                  <a:gd name="T5" fmla="*/ 5 h 5"/>
                  <a:gd name="T6" fmla="*/ 2 w 4"/>
                  <a:gd name="T7" fmla="*/ 0 h 5"/>
                </a:gdLst>
                <a:cxnLst>
                  <a:cxn ang="0">
                    <a:pos x="T0" y="T1"/>
                  </a:cxn>
                  <a:cxn ang="0">
                    <a:pos x="T2" y="T3"/>
                  </a:cxn>
                  <a:cxn ang="0">
                    <a:pos x="T4" y="T5"/>
                  </a:cxn>
                  <a:cxn ang="0">
                    <a:pos x="T6" y="T7"/>
                  </a:cxn>
                </a:cxnLst>
                <a:rect l="0" t="0" r="r" b="b"/>
                <a:pathLst>
                  <a:path w="4" h="5">
                    <a:moveTo>
                      <a:pt x="2" y="0"/>
                    </a:moveTo>
                    <a:cubicBezTo>
                      <a:pt x="0" y="2"/>
                      <a:pt x="0" y="3"/>
                      <a:pt x="1" y="4"/>
                    </a:cubicBezTo>
                    <a:cubicBezTo>
                      <a:pt x="2" y="5"/>
                      <a:pt x="3" y="5"/>
                      <a:pt x="4" y="5"/>
                    </a:cubicBezTo>
                    <a:cubicBezTo>
                      <a:pt x="4"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186"/>
              <p:cNvSpPr/>
              <p:nvPr/>
            </p:nvSpPr>
            <p:spPr bwMode="auto">
              <a:xfrm>
                <a:off x="3269" y="2096"/>
                <a:ext cx="16" cy="29"/>
              </a:xfrm>
              <a:custGeom>
                <a:gdLst>
                  <a:gd name="T0" fmla="*/ 4 w 7"/>
                  <a:gd name="T1" fmla="*/ 0 h 12"/>
                  <a:gd name="T2" fmla="*/ 1 w 7"/>
                  <a:gd name="T3" fmla="*/ 2 h 12"/>
                  <a:gd name="T4" fmla="*/ 0 w 7"/>
                  <a:gd name="T5" fmla="*/ 3 h 12"/>
                  <a:gd name="T6" fmla="*/ 0 w 7"/>
                  <a:gd name="T7" fmla="*/ 3 h 12"/>
                  <a:gd name="T8" fmla="*/ 0 w 7"/>
                  <a:gd name="T9" fmla="*/ 4 h 12"/>
                  <a:gd name="T10" fmla="*/ 0 w 7"/>
                  <a:gd name="T11" fmla="*/ 4 h 12"/>
                  <a:gd name="T12" fmla="*/ 1 w 7"/>
                  <a:gd name="T13" fmla="*/ 6 h 12"/>
                  <a:gd name="T14" fmla="*/ 3 w 7"/>
                  <a:gd name="T15" fmla="*/ 7 h 12"/>
                  <a:gd name="T16" fmla="*/ 4 w 7"/>
                  <a:gd name="T17" fmla="*/ 11 h 12"/>
                  <a:gd name="T18" fmla="*/ 6 w 7"/>
                  <a:gd name="T19" fmla="*/ 12 h 12"/>
                  <a:gd name="T20" fmla="*/ 7 w 7"/>
                  <a:gd name="T21" fmla="*/ 12 h 12"/>
                  <a:gd name="T22" fmla="*/ 1 w 7"/>
                  <a:gd name="T23" fmla="*/ 5 h 12"/>
                  <a:gd name="T24" fmla="*/ 1 w 7"/>
                  <a:gd name="T25" fmla="*/ 5 h 12"/>
                  <a:gd name="T26" fmla="*/ 2 w 7"/>
                  <a:gd name="T27" fmla="*/ 4 h 12"/>
                  <a:gd name="T28" fmla="*/ 2 w 7"/>
                  <a:gd name="T29" fmla="*/ 4 h 12"/>
                  <a:gd name="T30" fmla="*/ 4 w 7"/>
                  <a:gd name="T31"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12">
                    <a:moveTo>
                      <a:pt x="4" y="0"/>
                    </a:moveTo>
                    <a:cubicBezTo>
                      <a:pt x="3" y="0"/>
                      <a:pt x="1" y="1"/>
                      <a:pt x="1" y="2"/>
                    </a:cubicBezTo>
                    <a:cubicBezTo>
                      <a:pt x="1" y="2"/>
                      <a:pt x="0" y="3"/>
                      <a:pt x="0" y="3"/>
                    </a:cubicBezTo>
                    <a:cubicBezTo>
                      <a:pt x="0" y="3"/>
                      <a:pt x="0" y="3"/>
                      <a:pt x="0" y="3"/>
                    </a:cubicBezTo>
                    <a:cubicBezTo>
                      <a:pt x="0" y="4"/>
                      <a:pt x="0" y="4"/>
                      <a:pt x="0" y="4"/>
                    </a:cubicBezTo>
                    <a:cubicBezTo>
                      <a:pt x="0" y="4"/>
                      <a:pt x="0" y="4"/>
                      <a:pt x="0" y="4"/>
                    </a:cubicBezTo>
                    <a:cubicBezTo>
                      <a:pt x="0" y="5"/>
                      <a:pt x="0" y="5"/>
                      <a:pt x="1" y="6"/>
                    </a:cubicBezTo>
                    <a:cubicBezTo>
                      <a:pt x="1" y="6"/>
                      <a:pt x="2" y="6"/>
                      <a:pt x="3" y="7"/>
                    </a:cubicBezTo>
                    <a:cubicBezTo>
                      <a:pt x="3" y="8"/>
                      <a:pt x="4" y="10"/>
                      <a:pt x="4" y="11"/>
                    </a:cubicBezTo>
                    <a:cubicBezTo>
                      <a:pt x="4" y="11"/>
                      <a:pt x="5" y="12"/>
                      <a:pt x="6" y="12"/>
                    </a:cubicBezTo>
                    <a:cubicBezTo>
                      <a:pt x="6" y="12"/>
                      <a:pt x="6" y="12"/>
                      <a:pt x="7" y="12"/>
                    </a:cubicBezTo>
                    <a:cubicBezTo>
                      <a:pt x="5" y="10"/>
                      <a:pt x="4" y="5"/>
                      <a:pt x="1" y="5"/>
                    </a:cubicBezTo>
                    <a:cubicBezTo>
                      <a:pt x="1" y="5"/>
                      <a:pt x="1" y="5"/>
                      <a:pt x="1" y="5"/>
                    </a:cubicBezTo>
                    <a:cubicBezTo>
                      <a:pt x="2" y="4"/>
                      <a:pt x="2" y="4"/>
                      <a:pt x="2" y="4"/>
                    </a:cubicBezTo>
                    <a:cubicBezTo>
                      <a:pt x="2" y="4"/>
                      <a:pt x="2" y="4"/>
                      <a:pt x="2" y="4"/>
                    </a:cubicBezTo>
                    <a:cubicBezTo>
                      <a:pt x="4" y="3"/>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187"/>
              <p:cNvSpPr>
                <a:spLocks noEditPoints="1"/>
              </p:cNvSpPr>
              <p:nvPr/>
            </p:nvSpPr>
            <p:spPr bwMode="auto">
              <a:xfrm>
                <a:off x="4785" y="3324"/>
                <a:ext cx="19" cy="14"/>
              </a:xfrm>
              <a:custGeom>
                <a:gdLst>
                  <a:gd name="T0" fmla="*/ 8 w 8"/>
                  <a:gd name="T1" fmla="*/ 0 h 6"/>
                  <a:gd name="T2" fmla="*/ 7 w 8"/>
                  <a:gd name="T3" fmla="*/ 0 h 6"/>
                  <a:gd name="T4" fmla="*/ 6 w 8"/>
                  <a:gd name="T5" fmla="*/ 1 h 6"/>
                  <a:gd name="T6" fmla="*/ 1 w 8"/>
                  <a:gd name="T7" fmla="*/ 4 h 6"/>
                  <a:gd name="T8" fmla="*/ 0 w 8"/>
                  <a:gd name="T9" fmla="*/ 6 h 6"/>
                  <a:gd name="T10" fmla="*/ 6 w 8"/>
                  <a:gd name="T11" fmla="*/ 1 h 6"/>
                  <a:gd name="T12" fmla="*/ 8 w 8"/>
                  <a:gd name="T13" fmla="*/ 0 h 6"/>
                  <a:gd name="T14" fmla="*/ 8 w 8"/>
                  <a:gd name="T15" fmla="*/ 0 h 6"/>
                  <a:gd name="T16" fmla="*/ 8 w 8"/>
                  <a:gd name="T17" fmla="*/ 0 h 6"/>
                  <a:gd name="T18" fmla="*/ 8 w 8"/>
                  <a:gd name="T19" fmla="*/ 0 h 6"/>
                  <a:gd name="T20" fmla="*/ 8 w 8"/>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6">
                    <a:moveTo>
                      <a:pt x="8" y="0"/>
                    </a:moveTo>
                    <a:cubicBezTo>
                      <a:pt x="7" y="0"/>
                      <a:pt x="7" y="0"/>
                      <a:pt x="7" y="0"/>
                    </a:cubicBezTo>
                    <a:cubicBezTo>
                      <a:pt x="6" y="1"/>
                      <a:pt x="6" y="1"/>
                      <a:pt x="6" y="1"/>
                    </a:cubicBezTo>
                    <a:cubicBezTo>
                      <a:pt x="5" y="2"/>
                      <a:pt x="3" y="3"/>
                      <a:pt x="1" y="4"/>
                    </a:cubicBezTo>
                    <a:cubicBezTo>
                      <a:pt x="1" y="4"/>
                      <a:pt x="0" y="5"/>
                      <a:pt x="0" y="6"/>
                    </a:cubicBezTo>
                    <a:cubicBezTo>
                      <a:pt x="2" y="4"/>
                      <a:pt x="4" y="3"/>
                      <a:pt x="6" y="1"/>
                    </a:cubicBezTo>
                    <a:cubicBezTo>
                      <a:pt x="7" y="1"/>
                      <a:pt x="7" y="0"/>
                      <a:pt x="8" y="0"/>
                    </a:cubicBezTo>
                    <a:moveTo>
                      <a:pt x="8" y="0"/>
                    </a:moveTo>
                    <a:cubicBezTo>
                      <a:pt x="8" y="0"/>
                      <a:pt x="8" y="0"/>
                      <a:pt x="8" y="0"/>
                    </a:cubicBezTo>
                    <a:cubicBezTo>
                      <a:pt x="8" y="0"/>
                      <a:pt x="8"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188"/>
              <p:cNvSpPr/>
              <p:nvPr/>
            </p:nvSpPr>
            <p:spPr bwMode="auto">
              <a:xfrm>
                <a:off x="5494" y="3490"/>
                <a:ext cx="7" cy="7"/>
              </a:xfrm>
              <a:custGeom>
                <a:gdLst>
                  <a:gd name="T0" fmla="*/ 0 w 3"/>
                  <a:gd name="T1" fmla="*/ 0 h 3"/>
                  <a:gd name="T2" fmla="*/ 2 w 3"/>
                  <a:gd name="T3" fmla="*/ 3 h 3"/>
                  <a:gd name="T4" fmla="*/ 2 w 3"/>
                  <a:gd name="T5" fmla="*/ 3 h 3"/>
                  <a:gd name="T6" fmla="*/ 3 w 3"/>
                  <a:gd name="T7" fmla="*/ 3 h 3"/>
                  <a:gd name="T8" fmla="*/ 3 w 3"/>
                  <a:gd name="T9" fmla="*/ 2 h 3"/>
                  <a:gd name="T10" fmla="*/ 3 w 3"/>
                  <a:gd name="T11" fmla="*/ 2 h 3"/>
                  <a:gd name="T12" fmla="*/ 3 w 3"/>
                  <a:gd name="T13" fmla="*/ 2 h 3"/>
                  <a:gd name="T14" fmla="*/ 0 w 3"/>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cubicBezTo>
                      <a:pt x="0" y="2"/>
                      <a:pt x="1" y="3"/>
                      <a:pt x="2" y="3"/>
                    </a:cubicBezTo>
                    <a:cubicBezTo>
                      <a:pt x="2" y="3"/>
                      <a:pt x="2" y="3"/>
                      <a:pt x="2" y="3"/>
                    </a:cubicBezTo>
                    <a:cubicBezTo>
                      <a:pt x="3" y="3"/>
                      <a:pt x="3" y="3"/>
                      <a:pt x="3" y="3"/>
                    </a:cubicBezTo>
                    <a:cubicBezTo>
                      <a:pt x="3" y="2"/>
                      <a:pt x="3" y="2"/>
                      <a:pt x="3" y="2"/>
                    </a:cubicBezTo>
                    <a:cubicBezTo>
                      <a:pt x="3" y="2"/>
                      <a:pt x="3" y="2"/>
                      <a:pt x="3" y="2"/>
                    </a:cubicBezTo>
                    <a:cubicBezTo>
                      <a:pt x="3" y="2"/>
                      <a:pt x="3"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189"/>
              <p:cNvSpPr/>
              <p:nvPr/>
            </p:nvSpPr>
            <p:spPr bwMode="auto">
              <a:xfrm flipH="1">
                <a:off x="5161" y="3267"/>
                <a:ext cx="0" cy="3"/>
              </a:xfrm>
              <a:custGeom>
                <a:gdLst>
                  <a:gd name="T0" fmla="*/ 0 h 1"/>
                  <a:gd name="T1" fmla="*/ 1 h 1"/>
                  <a:gd name="T2" fmla="*/ 1 h 1"/>
                  <a:gd name="T3" fmla="*/ 0 h 1"/>
                </a:gd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190"/>
              <p:cNvSpPr/>
              <p:nvPr/>
            </p:nvSpPr>
            <p:spPr bwMode="auto">
              <a:xfrm>
                <a:off x="4690" y="3378"/>
                <a:ext cx="24" cy="19"/>
              </a:xfrm>
              <a:custGeom>
                <a:gdLst>
                  <a:gd name="T0" fmla="*/ 10 w 10"/>
                  <a:gd name="T1" fmla="*/ 0 h 8"/>
                  <a:gd name="T2" fmla="*/ 9 w 10"/>
                  <a:gd name="T3" fmla="*/ 1 h 8"/>
                  <a:gd name="T4" fmla="*/ 8 w 10"/>
                  <a:gd name="T5" fmla="*/ 1 h 8"/>
                  <a:gd name="T6" fmla="*/ 7 w 10"/>
                  <a:gd name="T7" fmla="*/ 2 h 8"/>
                  <a:gd name="T8" fmla="*/ 3 w 10"/>
                  <a:gd name="T9" fmla="*/ 4 h 8"/>
                  <a:gd name="T10" fmla="*/ 1 w 10"/>
                  <a:gd name="T11" fmla="*/ 6 h 8"/>
                  <a:gd name="T12" fmla="*/ 0 w 10"/>
                  <a:gd name="T13" fmla="*/ 8 h 8"/>
                  <a:gd name="T14" fmla="*/ 10 w 10"/>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cubicBezTo>
                      <a:pt x="9" y="1"/>
                      <a:pt x="9" y="1"/>
                      <a:pt x="9" y="1"/>
                    </a:cubicBezTo>
                    <a:cubicBezTo>
                      <a:pt x="8" y="1"/>
                      <a:pt x="8" y="1"/>
                      <a:pt x="8" y="1"/>
                    </a:cubicBezTo>
                    <a:cubicBezTo>
                      <a:pt x="7" y="2"/>
                      <a:pt x="7" y="2"/>
                      <a:pt x="7" y="2"/>
                    </a:cubicBezTo>
                    <a:cubicBezTo>
                      <a:pt x="6" y="2"/>
                      <a:pt x="5" y="3"/>
                      <a:pt x="3" y="4"/>
                    </a:cubicBezTo>
                    <a:cubicBezTo>
                      <a:pt x="2" y="5"/>
                      <a:pt x="2" y="5"/>
                      <a:pt x="1" y="6"/>
                    </a:cubicBezTo>
                    <a:cubicBezTo>
                      <a:pt x="1" y="6"/>
                      <a:pt x="0" y="7"/>
                      <a:pt x="0" y="8"/>
                    </a:cubicBezTo>
                    <a:cubicBezTo>
                      <a:pt x="1" y="8"/>
                      <a:pt x="10"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191"/>
              <p:cNvSpPr/>
              <p:nvPr/>
            </p:nvSpPr>
            <p:spPr bwMode="auto">
              <a:xfrm>
                <a:off x="3255" y="2075"/>
                <a:ext cx="11" cy="7"/>
              </a:xfrm>
              <a:custGeom>
                <a:gdLst>
                  <a:gd name="T0" fmla="*/ 3 w 5"/>
                  <a:gd name="T1" fmla="*/ 0 h 3"/>
                  <a:gd name="T2" fmla="*/ 1 w 5"/>
                  <a:gd name="T3" fmla="*/ 0 h 3"/>
                  <a:gd name="T4" fmla="*/ 0 w 5"/>
                  <a:gd name="T5" fmla="*/ 2 h 3"/>
                  <a:gd name="T6" fmla="*/ 0 w 5"/>
                  <a:gd name="T7" fmla="*/ 2 h 3"/>
                  <a:gd name="T8" fmla="*/ 3 w 5"/>
                  <a:gd name="T9" fmla="*/ 3 h 3"/>
                  <a:gd name="T10" fmla="*/ 4 w 5"/>
                  <a:gd name="T11" fmla="*/ 3 h 3"/>
                  <a:gd name="T12" fmla="*/ 3 w 5"/>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5" h="3">
                    <a:moveTo>
                      <a:pt x="3" y="0"/>
                    </a:moveTo>
                    <a:cubicBezTo>
                      <a:pt x="2" y="0"/>
                      <a:pt x="2" y="0"/>
                      <a:pt x="1" y="0"/>
                    </a:cubicBezTo>
                    <a:cubicBezTo>
                      <a:pt x="1" y="1"/>
                      <a:pt x="0" y="1"/>
                      <a:pt x="0" y="2"/>
                    </a:cubicBezTo>
                    <a:cubicBezTo>
                      <a:pt x="0" y="2"/>
                      <a:pt x="0" y="2"/>
                      <a:pt x="0" y="2"/>
                    </a:cubicBezTo>
                    <a:cubicBezTo>
                      <a:pt x="0" y="2"/>
                      <a:pt x="1" y="3"/>
                      <a:pt x="3" y="3"/>
                    </a:cubicBezTo>
                    <a:cubicBezTo>
                      <a:pt x="3" y="3"/>
                      <a:pt x="4" y="3"/>
                      <a:pt x="4" y="3"/>
                    </a:cubicBezTo>
                    <a:cubicBezTo>
                      <a:pt x="5" y="2"/>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192"/>
              <p:cNvSpPr>
                <a:spLocks noChangeArrowheads="1"/>
              </p:cNvSpPr>
              <p:nvPr/>
            </p:nvSpPr>
            <p:spPr bwMode="auto">
              <a:xfrm>
                <a:off x="5109" y="327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193"/>
              <p:cNvSpPr/>
              <p:nvPr/>
            </p:nvSpPr>
            <p:spPr bwMode="auto">
              <a:xfrm flipH="1">
                <a:off x="5109" y="3274"/>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194"/>
              <p:cNvSpPr>
                <a:spLocks noEditPoints="1"/>
              </p:cNvSpPr>
              <p:nvPr/>
            </p:nvSpPr>
            <p:spPr bwMode="auto">
              <a:xfrm>
                <a:off x="5229" y="3260"/>
                <a:ext cx="24" cy="2"/>
              </a:xfrm>
              <a:custGeom>
                <a:gdLst>
                  <a:gd name="T0" fmla="*/ 0 w 10"/>
                  <a:gd name="T1" fmla="*/ 1 h 1"/>
                  <a:gd name="T2" fmla="*/ 0 w 10"/>
                  <a:gd name="T3" fmla="*/ 1 h 1"/>
                  <a:gd name="T4" fmla="*/ 0 w 10"/>
                  <a:gd name="T5" fmla="*/ 1 h 1"/>
                  <a:gd name="T6" fmla="*/ 7 w 10"/>
                  <a:gd name="T7" fmla="*/ 0 h 1"/>
                  <a:gd name="T8" fmla="*/ 0 w 10"/>
                  <a:gd name="T9" fmla="*/ 1 h 1"/>
                  <a:gd name="T10" fmla="*/ 10 w 10"/>
                  <a:gd name="T11" fmla="*/ 0 h 1"/>
                  <a:gd name="T12" fmla="*/ 8 w 10"/>
                  <a:gd name="T13" fmla="*/ 0 h 1"/>
                  <a:gd name="T14" fmla="*/ 7 w 10"/>
                  <a:gd name="T15" fmla="*/ 0 h 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
                    <a:moveTo>
                      <a:pt x="0" y="1"/>
                    </a:moveTo>
                    <a:cubicBezTo>
                      <a:pt x="0" y="1"/>
                      <a:pt x="0" y="1"/>
                      <a:pt x="0" y="1"/>
                    </a:cubicBezTo>
                    <a:cubicBezTo>
                      <a:pt x="0" y="1"/>
                      <a:pt x="0" y="1"/>
                      <a:pt x="0" y="1"/>
                    </a:cubicBezTo>
                    <a:moveTo>
                      <a:pt x="7" y="0"/>
                    </a:moveTo>
                    <a:cubicBezTo>
                      <a:pt x="5" y="0"/>
                      <a:pt x="2" y="1"/>
                      <a:pt x="0" y="1"/>
                    </a:cubicBezTo>
                    <a:cubicBezTo>
                      <a:pt x="3" y="0"/>
                      <a:pt x="7" y="0"/>
                      <a:pt x="10" y="0"/>
                    </a:cubicBezTo>
                    <a:cubicBezTo>
                      <a:pt x="10" y="0"/>
                      <a:pt x="9" y="0"/>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195"/>
              <p:cNvSpPr/>
              <p:nvPr/>
            </p:nvSpPr>
            <p:spPr bwMode="auto">
              <a:xfrm>
                <a:off x="5213" y="3262"/>
                <a:ext cx="16" cy="3"/>
              </a:xfrm>
              <a:custGeom>
                <a:gdLst>
                  <a:gd name="T0" fmla="*/ 7 w 7"/>
                  <a:gd name="T1" fmla="*/ 0 h 1"/>
                  <a:gd name="T2" fmla="*/ 2 w 7"/>
                  <a:gd name="T3" fmla="*/ 0 h 1"/>
                  <a:gd name="T4" fmla="*/ 0 w 7"/>
                  <a:gd name="T5" fmla="*/ 0 h 1"/>
                  <a:gd name="T6" fmla="*/ 2 w 7"/>
                  <a:gd name="T7" fmla="*/ 1 h 1"/>
                  <a:gd name="T8" fmla="*/ 7 w 7"/>
                  <a:gd name="T9" fmla="*/ 0 h 1"/>
                </a:gdLst>
                <a:cxnLst>
                  <a:cxn ang="0">
                    <a:pos x="T0" y="T1"/>
                  </a:cxn>
                  <a:cxn ang="0">
                    <a:pos x="T2" y="T3"/>
                  </a:cxn>
                  <a:cxn ang="0">
                    <a:pos x="T4" y="T5"/>
                  </a:cxn>
                  <a:cxn ang="0">
                    <a:pos x="T6" y="T7"/>
                  </a:cxn>
                  <a:cxn ang="0">
                    <a:pos x="T8" y="T9"/>
                  </a:cxn>
                </a:cxnLst>
                <a:rect l="0" t="0" r="r" b="b"/>
                <a:pathLst>
                  <a:path w="7" h="1">
                    <a:moveTo>
                      <a:pt x="7" y="0"/>
                    </a:moveTo>
                    <a:cubicBezTo>
                      <a:pt x="5" y="0"/>
                      <a:pt x="3" y="0"/>
                      <a:pt x="2" y="0"/>
                    </a:cubicBezTo>
                    <a:cubicBezTo>
                      <a:pt x="1" y="0"/>
                      <a:pt x="1" y="0"/>
                      <a:pt x="0" y="0"/>
                    </a:cubicBezTo>
                    <a:cubicBezTo>
                      <a:pt x="1" y="1"/>
                      <a:pt x="1" y="1"/>
                      <a:pt x="2" y="1"/>
                    </a:cubicBezTo>
                    <a:cubicBezTo>
                      <a:pt x="3" y="1"/>
                      <a:pt x="5"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196"/>
              <p:cNvSpPr>
                <a:spLocks noEditPoints="1"/>
              </p:cNvSpPr>
              <p:nvPr/>
            </p:nvSpPr>
            <p:spPr bwMode="auto">
              <a:xfrm>
                <a:off x="4716" y="3376"/>
                <a:ext cx="5" cy="2"/>
              </a:xfrm>
              <a:custGeom>
                <a:gdLst>
                  <a:gd name="T0" fmla="*/ 1 w 2"/>
                  <a:gd name="T1" fmla="*/ 1 h 1"/>
                  <a:gd name="T2" fmla="*/ 0 w 2"/>
                  <a:gd name="T3" fmla="*/ 1 h 1"/>
                  <a:gd name="T4" fmla="*/ 1 w 2"/>
                  <a:gd name="T5" fmla="*/ 1 h 1"/>
                  <a:gd name="T6" fmla="*/ 2 w 2"/>
                  <a:gd name="T7" fmla="*/ 0 h 1"/>
                  <a:gd name="T8" fmla="*/ 1 w 2"/>
                  <a:gd name="T9" fmla="*/ 1 h 1"/>
                  <a:gd name="T10" fmla="*/ 2 w 2"/>
                  <a:gd name="T11" fmla="*/ 0 h 1"/>
                  <a:gd name="T12" fmla="*/ 2 w 2"/>
                  <a:gd name="T13" fmla="*/ 0 h 1"/>
                </a:gd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0" y="1"/>
                      <a:pt x="0" y="1"/>
                    </a:cubicBezTo>
                    <a:cubicBezTo>
                      <a:pt x="0" y="1"/>
                      <a:pt x="1" y="1"/>
                      <a:pt x="1" y="1"/>
                    </a:cubicBezTo>
                    <a:moveTo>
                      <a:pt x="2" y="0"/>
                    </a:moveTo>
                    <a:cubicBezTo>
                      <a:pt x="2" y="0"/>
                      <a:pt x="1" y="0"/>
                      <a:pt x="1" y="1"/>
                    </a:cubicBezTo>
                    <a:cubicBezTo>
                      <a:pt x="1" y="0"/>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197"/>
              <p:cNvSpPr/>
              <p:nvPr/>
            </p:nvSpPr>
            <p:spPr bwMode="auto">
              <a:xfrm>
                <a:off x="4659" y="3442"/>
                <a:ext cx="3" cy="7"/>
              </a:xfrm>
              <a:custGeom>
                <a:gdLst>
                  <a:gd name="T0" fmla="*/ 1 w 1"/>
                  <a:gd name="T1" fmla="*/ 0 h 3"/>
                  <a:gd name="T2" fmla="*/ 0 w 1"/>
                  <a:gd name="T3" fmla="*/ 2 h 3"/>
                  <a:gd name="T4" fmla="*/ 0 w 1"/>
                  <a:gd name="T5" fmla="*/ 2 h 3"/>
                  <a:gd name="T6" fmla="*/ 0 w 1"/>
                  <a:gd name="T7" fmla="*/ 2 h 3"/>
                  <a:gd name="T8" fmla="*/ 0 w 1"/>
                  <a:gd name="T9" fmla="*/ 3 h 3"/>
                  <a:gd name="T10" fmla="*/ 1 w 1"/>
                  <a:gd name="T11" fmla="*/ 0 h 3"/>
                </a:gdLst>
                <a:cxnLst>
                  <a:cxn ang="0">
                    <a:pos x="T0" y="T1"/>
                  </a:cxn>
                  <a:cxn ang="0">
                    <a:pos x="T2" y="T3"/>
                  </a:cxn>
                  <a:cxn ang="0">
                    <a:pos x="T4" y="T5"/>
                  </a:cxn>
                  <a:cxn ang="0">
                    <a:pos x="T6" y="T7"/>
                  </a:cxn>
                  <a:cxn ang="0">
                    <a:pos x="T8" y="T9"/>
                  </a:cxn>
                  <a:cxn ang="0">
                    <a:pos x="T10" y="T11"/>
                  </a:cxn>
                </a:cxnLst>
                <a:rect l="0" t="0" r="r" b="b"/>
                <a:pathLst>
                  <a:path w="1" h="3">
                    <a:moveTo>
                      <a:pt x="1" y="0"/>
                    </a:moveTo>
                    <a:cubicBezTo>
                      <a:pt x="1" y="1"/>
                      <a:pt x="1" y="1"/>
                      <a:pt x="0" y="2"/>
                    </a:cubicBezTo>
                    <a:cubicBezTo>
                      <a:pt x="0" y="2"/>
                      <a:pt x="0" y="2"/>
                      <a:pt x="0" y="2"/>
                    </a:cubicBezTo>
                    <a:cubicBezTo>
                      <a:pt x="0" y="2"/>
                      <a:pt x="0" y="2"/>
                      <a:pt x="0" y="2"/>
                    </a:cubicBezTo>
                    <a:cubicBezTo>
                      <a:pt x="0" y="3"/>
                      <a:pt x="0" y="3"/>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198"/>
              <p:cNvSpPr/>
              <p:nvPr/>
            </p:nvSpPr>
            <p:spPr bwMode="auto">
              <a:xfrm flipH="1">
                <a:off x="4659" y="3447"/>
                <a:ext cx="0" cy="2"/>
              </a:xfrm>
              <a:custGeom>
                <a:gdLst>
                  <a:gd name="T0" fmla="*/ 0 h 2"/>
                  <a:gd name="T1" fmla="*/ 2 h 2"/>
                  <a:gd name="T2" fmla="*/ 0 h 2"/>
                </a:gdLst>
                <a:cxnLst>
                  <a:cxn ang="0">
                    <a:pos x="0" y="T0"/>
                  </a:cxn>
                  <a:cxn ang="0">
                    <a:pos x="0" y="T1"/>
                  </a:cxn>
                  <a:cxn ang="0">
                    <a:pos x="0" y="T2"/>
                  </a:cxn>
                </a:cxnLst>
                <a:rect l="0" t="0" r="r" b="b"/>
                <a:pathLst>
                  <a:path h="2">
                    <a:moveTo>
                      <a:pt x="0" y="0"/>
                    </a:move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199"/>
              <p:cNvSpPr/>
              <p:nvPr/>
            </p:nvSpPr>
            <p:spPr bwMode="auto">
              <a:xfrm flipH="1">
                <a:off x="4659" y="3447"/>
                <a:ext cx="0" cy="2"/>
              </a:xfrm>
              <a:custGeom>
                <a:gdLst>
                  <a:gd name="T0" fmla="*/ 0 h 2"/>
                  <a:gd name="T1" fmla="*/ 2 h 2"/>
                  <a:gd name="T2" fmla="*/ 0 h 2"/>
                </a:gdLst>
                <a:cxnLst>
                  <a:cxn ang="0">
                    <a:pos x="0" y="T0"/>
                  </a:cxn>
                  <a:cxn ang="0">
                    <a:pos x="0" y="T1"/>
                  </a:cxn>
                  <a:cxn ang="0">
                    <a:pos x="0" y="T2"/>
                  </a:cxn>
                </a:cxnLst>
                <a:rect l="0" t="0" r="r" b="b"/>
                <a:pathLst>
                  <a:path h="2">
                    <a:moveTo>
                      <a:pt x="0" y="0"/>
                    </a:move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200"/>
              <p:cNvSpPr/>
              <p:nvPr/>
            </p:nvSpPr>
            <p:spPr bwMode="auto">
              <a:xfrm>
                <a:off x="4662" y="3414"/>
                <a:ext cx="16" cy="28"/>
              </a:xfrm>
              <a:custGeom>
                <a:gdLst>
                  <a:gd name="T0" fmla="*/ 7 w 7"/>
                  <a:gd name="T1" fmla="*/ 0 h 12"/>
                  <a:gd name="T2" fmla="*/ 0 w 7"/>
                  <a:gd name="T3" fmla="*/ 12 h 12"/>
                  <a:gd name="T4" fmla="*/ 7 w 7"/>
                  <a:gd name="T5" fmla="*/ 0 h 12"/>
                </a:gdLst>
                <a:cxnLst>
                  <a:cxn ang="0">
                    <a:pos x="T0" y="T1"/>
                  </a:cxn>
                  <a:cxn ang="0">
                    <a:pos x="T2" y="T3"/>
                  </a:cxn>
                  <a:cxn ang="0">
                    <a:pos x="T4" y="T5"/>
                  </a:cxn>
                </a:cxnLst>
                <a:rect l="0" t="0" r="r" b="b"/>
                <a:pathLst>
                  <a:path w="7" h="12">
                    <a:moveTo>
                      <a:pt x="7" y="0"/>
                    </a:moveTo>
                    <a:cubicBezTo>
                      <a:pt x="4" y="4"/>
                      <a:pt x="2" y="8"/>
                      <a:pt x="0" y="12"/>
                    </a:cubicBezTo>
                    <a:cubicBezTo>
                      <a:pt x="2" y="8"/>
                      <a:pt x="4"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201"/>
              <p:cNvSpPr/>
              <p:nvPr/>
            </p:nvSpPr>
            <p:spPr bwMode="auto">
              <a:xfrm>
                <a:off x="5582" y="3561"/>
                <a:ext cx="16" cy="21"/>
              </a:xfrm>
              <a:custGeom>
                <a:gdLst>
                  <a:gd name="T0" fmla="*/ 7 w 7"/>
                  <a:gd name="T1" fmla="*/ 0 h 9"/>
                  <a:gd name="T2" fmla="*/ 2 w 7"/>
                  <a:gd name="T3" fmla="*/ 7 h 9"/>
                  <a:gd name="T4" fmla="*/ 0 w 7"/>
                  <a:gd name="T5" fmla="*/ 8 h 9"/>
                  <a:gd name="T6" fmla="*/ 0 w 7"/>
                  <a:gd name="T7" fmla="*/ 9 h 9"/>
                  <a:gd name="T8" fmla="*/ 7 w 7"/>
                  <a:gd name="T9" fmla="*/ 0 h 9"/>
                </a:gdLst>
                <a:cxnLst>
                  <a:cxn ang="0">
                    <a:pos x="T0" y="T1"/>
                  </a:cxn>
                  <a:cxn ang="0">
                    <a:pos x="T2" y="T3"/>
                  </a:cxn>
                  <a:cxn ang="0">
                    <a:pos x="T4" y="T5"/>
                  </a:cxn>
                  <a:cxn ang="0">
                    <a:pos x="T6" y="T7"/>
                  </a:cxn>
                  <a:cxn ang="0">
                    <a:pos x="T8" y="T9"/>
                  </a:cxn>
                </a:cxnLst>
                <a:rect l="0" t="0" r="r" b="b"/>
                <a:pathLst>
                  <a:path w="7" h="9">
                    <a:moveTo>
                      <a:pt x="7" y="0"/>
                    </a:moveTo>
                    <a:cubicBezTo>
                      <a:pt x="5" y="2"/>
                      <a:pt x="4" y="4"/>
                      <a:pt x="2" y="7"/>
                    </a:cubicBezTo>
                    <a:cubicBezTo>
                      <a:pt x="1" y="7"/>
                      <a:pt x="1" y="8"/>
                      <a:pt x="0" y="8"/>
                    </a:cubicBezTo>
                    <a:cubicBezTo>
                      <a:pt x="0" y="9"/>
                      <a:pt x="0" y="9"/>
                      <a:pt x="0" y="9"/>
                    </a:cubicBezTo>
                    <a:cubicBezTo>
                      <a:pt x="3" y="7"/>
                      <a:pt x="5"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202"/>
              <p:cNvSpPr/>
              <p:nvPr/>
            </p:nvSpPr>
            <p:spPr bwMode="auto">
              <a:xfrm>
                <a:off x="3929" y="3572"/>
                <a:ext cx="9" cy="15"/>
              </a:xfrm>
              <a:custGeom>
                <a:gdLst>
                  <a:gd name="T0" fmla="*/ 0 w 4"/>
                  <a:gd name="T1" fmla="*/ 0 h 6"/>
                  <a:gd name="T2" fmla="*/ 2 w 4"/>
                  <a:gd name="T3" fmla="*/ 5 h 6"/>
                  <a:gd name="T4" fmla="*/ 3 w 4"/>
                  <a:gd name="T5" fmla="*/ 6 h 6"/>
                  <a:gd name="T6" fmla="*/ 3 w 4"/>
                  <a:gd name="T7" fmla="*/ 6 h 6"/>
                  <a:gd name="T8" fmla="*/ 3 w 4"/>
                  <a:gd name="T9" fmla="*/ 6 h 6"/>
                  <a:gd name="T10" fmla="*/ 4 w 4"/>
                  <a:gd name="T11" fmla="*/ 6 h 6"/>
                  <a:gd name="T12" fmla="*/ 0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0" y="0"/>
                    </a:moveTo>
                    <a:cubicBezTo>
                      <a:pt x="1" y="3"/>
                      <a:pt x="1" y="4"/>
                      <a:pt x="2" y="5"/>
                    </a:cubicBezTo>
                    <a:cubicBezTo>
                      <a:pt x="2" y="6"/>
                      <a:pt x="3" y="6"/>
                      <a:pt x="3" y="6"/>
                    </a:cubicBezTo>
                    <a:cubicBezTo>
                      <a:pt x="3" y="6"/>
                      <a:pt x="3" y="6"/>
                      <a:pt x="3" y="6"/>
                    </a:cubicBezTo>
                    <a:cubicBezTo>
                      <a:pt x="3" y="6"/>
                      <a:pt x="3" y="6"/>
                      <a:pt x="3" y="6"/>
                    </a:cubicBezTo>
                    <a:cubicBezTo>
                      <a:pt x="3" y="6"/>
                      <a:pt x="3" y="6"/>
                      <a:pt x="4" y="6"/>
                    </a:cubicBezTo>
                    <a:cubicBezTo>
                      <a:pt x="3"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203"/>
              <p:cNvSpPr/>
              <p:nvPr/>
            </p:nvSpPr>
            <p:spPr bwMode="auto">
              <a:xfrm>
                <a:off x="3974" y="3617"/>
                <a:ext cx="4" cy="12"/>
              </a:xfrm>
              <a:custGeom>
                <a:gdLst>
                  <a:gd name="T0" fmla="*/ 0 w 2"/>
                  <a:gd name="T1" fmla="*/ 0 h 5"/>
                  <a:gd name="T2" fmla="*/ 2 w 2"/>
                  <a:gd name="T3" fmla="*/ 5 h 5"/>
                  <a:gd name="T4" fmla="*/ 0 w 2"/>
                  <a:gd name="T5" fmla="*/ 0 h 5"/>
                </a:gdLst>
                <a:cxnLst>
                  <a:cxn ang="0">
                    <a:pos x="T0" y="T1"/>
                  </a:cxn>
                  <a:cxn ang="0">
                    <a:pos x="T2" y="T3"/>
                  </a:cxn>
                  <a:cxn ang="0">
                    <a:pos x="T4" y="T5"/>
                  </a:cxn>
                </a:cxnLst>
                <a:rect l="0" t="0" r="r" b="b"/>
                <a:pathLst>
                  <a:path w="2" h="5">
                    <a:moveTo>
                      <a:pt x="0" y="0"/>
                    </a:moveTo>
                    <a:cubicBezTo>
                      <a:pt x="0" y="2"/>
                      <a:pt x="1" y="4"/>
                      <a:pt x="2" y="5"/>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04"/>
              <p:cNvSpPr/>
              <p:nvPr/>
            </p:nvSpPr>
            <p:spPr bwMode="auto">
              <a:xfrm>
                <a:off x="5227" y="3835"/>
                <a:ext cx="16" cy="19"/>
              </a:xfrm>
              <a:custGeom>
                <a:gdLst>
                  <a:gd name="T0" fmla="*/ 7 w 7"/>
                  <a:gd name="T1" fmla="*/ 0 h 8"/>
                  <a:gd name="T2" fmla="*/ 6 w 7"/>
                  <a:gd name="T3" fmla="*/ 0 h 8"/>
                  <a:gd name="T4" fmla="*/ 6 w 7"/>
                  <a:gd name="T5" fmla="*/ 1 h 8"/>
                  <a:gd name="T6" fmla="*/ 3 w 7"/>
                  <a:gd name="T7" fmla="*/ 1 h 8"/>
                  <a:gd name="T8" fmla="*/ 2 w 7"/>
                  <a:gd name="T9" fmla="*/ 1 h 8"/>
                  <a:gd name="T10" fmla="*/ 1 w 7"/>
                  <a:gd name="T11" fmla="*/ 8 h 8"/>
                  <a:gd name="T12" fmla="*/ 6 w 7"/>
                  <a:gd name="T13" fmla="*/ 1 h 8"/>
                  <a:gd name="T14" fmla="*/ 7 w 7"/>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7" y="0"/>
                    </a:moveTo>
                    <a:cubicBezTo>
                      <a:pt x="6" y="0"/>
                      <a:pt x="6" y="0"/>
                      <a:pt x="6" y="0"/>
                    </a:cubicBezTo>
                    <a:cubicBezTo>
                      <a:pt x="6" y="1"/>
                      <a:pt x="6" y="1"/>
                      <a:pt x="6" y="1"/>
                    </a:cubicBezTo>
                    <a:cubicBezTo>
                      <a:pt x="5" y="1"/>
                      <a:pt x="4" y="1"/>
                      <a:pt x="3" y="1"/>
                    </a:cubicBezTo>
                    <a:cubicBezTo>
                      <a:pt x="3" y="1"/>
                      <a:pt x="3" y="1"/>
                      <a:pt x="2" y="1"/>
                    </a:cubicBezTo>
                    <a:cubicBezTo>
                      <a:pt x="0" y="3"/>
                      <a:pt x="0" y="6"/>
                      <a:pt x="1" y="8"/>
                    </a:cubicBezTo>
                    <a:cubicBezTo>
                      <a:pt x="3" y="6"/>
                      <a:pt x="5" y="3"/>
                      <a:pt x="6" y="1"/>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05"/>
              <p:cNvSpPr/>
              <p:nvPr/>
            </p:nvSpPr>
            <p:spPr bwMode="auto">
              <a:xfrm>
                <a:off x="3948" y="3608"/>
                <a:ext cx="2" cy="7"/>
              </a:xfrm>
              <a:custGeom>
                <a:gdLst>
                  <a:gd name="T0" fmla="*/ 0 w 1"/>
                  <a:gd name="T1" fmla="*/ 0 h 3"/>
                  <a:gd name="T2" fmla="*/ 0 w 1"/>
                  <a:gd name="T3" fmla="*/ 0 h 3"/>
                  <a:gd name="T4" fmla="*/ 1 w 1"/>
                  <a:gd name="T5" fmla="*/ 3 h 3"/>
                  <a:gd name="T6" fmla="*/ 1 w 1"/>
                  <a:gd name="T7" fmla="*/ 0 h 3"/>
                  <a:gd name="T8" fmla="*/ 1 w 1"/>
                  <a:gd name="T9" fmla="*/ 0 h 3"/>
                  <a:gd name="T10" fmla="*/ 1 w 1"/>
                  <a:gd name="T11" fmla="*/ 0 h 3"/>
                  <a:gd name="T12" fmla="*/ 0 w 1"/>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cubicBezTo>
                      <a:pt x="0" y="0"/>
                      <a:pt x="0" y="0"/>
                      <a:pt x="0" y="0"/>
                    </a:cubicBezTo>
                    <a:cubicBezTo>
                      <a:pt x="0" y="0"/>
                      <a:pt x="0" y="2"/>
                      <a:pt x="1" y="3"/>
                    </a:cubicBezTo>
                    <a:cubicBezTo>
                      <a:pt x="1" y="2"/>
                      <a:pt x="1" y="1"/>
                      <a:pt x="1" y="0"/>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06"/>
              <p:cNvSpPr/>
              <p:nvPr/>
            </p:nvSpPr>
            <p:spPr bwMode="auto">
              <a:xfrm>
                <a:off x="3810" y="3362"/>
                <a:ext cx="5" cy="7"/>
              </a:xfrm>
              <a:custGeom>
                <a:gdLst>
                  <a:gd name="T0" fmla="*/ 0 w 2"/>
                  <a:gd name="T1" fmla="*/ 0 h 3"/>
                  <a:gd name="T2" fmla="*/ 2 w 2"/>
                  <a:gd name="T3" fmla="*/ 3 h 3"/>
                  <a:gd name="T4" fmla="*/ 1 w 2"/>
                  <a:gd name="T5" fmla="*/ 1 h 3"/>
                  <a:gd name="T6" fmla="*/ 1 w 2"/>
                  <a:gd name="T7" fmla="*/ 1 h 3"/>
                  <a:gd name="T8" fmla="*/ 0 w 2"/>
                  <a:gd name="T9" fmla="*/ 0 h 3"/>
                </a:gdLst>
                <a:cxnLst>
                  <a:cxn ang="0">
                    <a:pos x="T0" y="T1"/>
                  </a:cxn>
                  <a:cxn ang="0">
                    <a:pos x="T2" y="T3"/>
                  </a:cxn>
                  <a:cxn ang="0">
                    <a:pos x="T4" y="T5"/>
                  </a:cxn>
                  <a:cxn ang="0">
                    <a:pos x="T6" y="T7"/>
                  </a:cxn>
                  <a:cxn ang="0">
                    <a:pos x="T8" y="T9"/>
                  </a:cxn>
                </a:cxnLst>
                <a:rect l="0" t="0" r="r" b="b"/>
                <a:pathLst>
                  <a:path w="2" h="3">
                    <a:moveTo>
                      <a:pt x="0" y="0"/>
                    </a:moveTo>
                    <a:cubicBezTo>
                      <a:pt x="1" y="1"/>
                      <a:pt x="1" y="2"/>
                      <a:pt x="2" y="3"/>
                    </a:cubicBezTo>
                    <a:cubicBezTo>
                      <a:pt x="2" y="2"/>
                      <a:pt x="1" y="1"/>
                      <a:pt x="1" y="1"/>
                    </a:cubicBezTo>
                    <a:cubicBezTo>
                      <a:pt x="1" y="1"/>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07"/>
              <p:cNvSpPr/>
              <p:nvPr/>
            </p:nvSpPr>
            <p:spPr bwMode="auto">
              <a:xfrm>
                <a:off x="3900" y="3516"/>
                <a:ext cx="10" cy="14"/>
              </a:xfrm>
              <a:custGeom>
                <a:gdLst>
                  <a:gd name="T0" fmla="*/ 4 w 4"/>
                  <a:gd name="T1" fmla="*/ 0 h 6"/>
                  <a:gd name="T2" fmla="*/ 1 w 4"/>
                  <a:gd name="T3" fmla="*/ 2 h 6"/>
                  <a:gd name="T4" fmla="*/ 0 w 4"/>
                  <a:gd name="T5" fmla="*/ 4 h 6"/>
                  <a:gd name="T6" fmla="*/ 0 w 4"/>
                  <a:gd name="T7" fmla="*/ 4 h 6"/>
                  <a:gd name="T8" fmla="*/ 0 w 4"/>
                  <a:gd name="T9" fmla="*/ 4 h 6"/>
                  <a:gd name="T10" fmla="*/ 1 w 4"/>
                  <a:gd name="T11" fmla="*/ 6 h 6"/>
                  <a:gd name="T12" fmla="*/ 1 w 4"/>
                  <a:gd name="T13" fmla="*/ 6 h 6"/>
                  <a:gd name="T14" fmla="*/ 1 w 4"/>
                  <a:gd name="T15" fmla="*/ 6 h 6"/>
                  <a:gd name="T16" fmla="*/ 1 w 4"/>
                  <a:gd name="T17" fmla="*/ 6 h 6"/>
                  <a:gd name="T18" fmla="*/ 4 w 4"/>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cubicBezTo>
                      <a:pt x="2" y="1"/>
                      <a:pt x="1" y="1"/>
                      <a:pt x="1" y="2"/>
                    </a:cubicBezTo>
                    <a:cubicBezTo>
                      <a:pt x="1" y="3"/>
                      <a:pt x="0" y="3"/>
                      <a:pt x="0" y="4"/>
                    </a:cubicBezTo>
                    <a:cubicBezTo>
                      <a:pt x="0" y="4"/>
                      <a:pt x="0" y="4"/>
                      <a:pt x="0" y="4"/>
                    </a:cubicBezTo>
                    <a:cubicBezTo>
                      <a:pt x="0" y="4"/>
                      <a:pt x="0" y="4"/>
                      <a:pt x="0" y="4"/>
                    </a:cubicBezTo>
                    <a:cubicBezTo>
                      <a:pt x="0" y="5"/>
                      <a:pt x="0" y="5"/>
                      <a:pt x="1" y="6"/>
                    </a:cubicBezTo>
                    <a:cubicBezTo>
                      <a:pt x="1" y="6"/>
                      <a:pt x="1" y="6"/>
                      <a:pt x="1" y="6"/>
                    </a:cubicBezTo>
                    <a:cubicBezTo>
                      <a:pt x="1" y="6"/>
                      <a:pt x="1" y="6"/>
                      <a:pt x="1" y="6"/>
                    </a:cubicBezTo>
                    <a:cubicBezTo>
                      <a:pt x="1" y="6"/>
                      <a:pt x="1" y="6"/>
                      <a:pt x="1" y="6"/>
                    </a:cubicBezTo>
                    <a:cubicBezTo>
                      <a:pt x="2"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208"/>
              <p:cNvSpPr/>
              <p:nvPr/>
            </p:nvSpPr>
            <p:spPr bwMode="auto">
              <a:xfrm>
                <a:off x="3843" y="3563"/>
                <a:ext cx="10" cy="42"/>
              </a:xfrm>
              <a:custGeom>
                <a:gdLst>
                  <a:gd name="T0" fmla="*/ 3 w 4"/>
                  <a:gd name="T1" fmla="*/ 0 h 18"/>
                  <a:gd name="T2" fmla="*/ 1 w 4"/>
                  <a:gd name="T3" fmla="*/ 5 h 18"/>
                  <a:gd name="T4" fmla="*/ 0 w 4"/>
                  <a:gd name="T5" fmla="*/ 11 h 18"/>
                  <a:gd name="T6" fmla="*/ 2 w 4"/>
                  <a:gd name="T7" fmla="*/ 15 h 18"/>
                  <a:gd name="T8" fmla="*/ 2 w 4"/>
                  <a:gd name="T9" fmla="*/ 16 h 18"/>
                  <a:gd name="T10" fmla="*/ 4 w 4"/>
                  <a:gd name="T11" fmla="*/ 18 h 18"/>
                  <a:gd name="T12" fmla="*/ 2 w 4"/>
                  <a:gd name="T13" fmla="*/ 11 h 18"/>
                  <a:gd name="T14" fmla="*/ 2 w 4"/>
                  <a:gd name="T15" fmla="*/ 6 h 18"/>
                  <a:gd name="T16" fmla="*/ 2 w 4"/>
                  <a:gd name="T17" fmla="*/ 5 h 18"/>
                  <a:gd name="T18" fmla="*/ 3 w 4"/>
                  <a:gd name="T19" fmla="*/ 1 h 18"/>
                  <a:gd name="T20" fmla="*/ 3 w 4"/>
                  <a:gd name="T2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8">
                    <a:moveTo>
                      <a:pt x="3" y="0"/>
                    </a:moveTo>
                    <a:cubicBezTo>
                      <a:pt x="2" y="2"/>
                      <a:pt x="2" y="3"/>
                      <a:pt x="1" y="5"/>
                    </a:cubicBezTo>
                    <a:cubicBezTo>
                      <a:pt x="1" y="7"/>
                      <a:pt x="0" y="9"/>
                      <a:pt x="0" y="11"/>
                    </a:cubicBezTo>
                    <a:cubicBezTo>
                      <a:pt x="1" y="12"/>
                      <a:pt x="2" y="13"/>
                      <a:pt x="2" y="15"/>
                    </a:cubicBezTo>
                    <a:cubicBezTo>
                      <a:pt x="2" y="15"/>
                      <a:pt x="2" y="15"/>
                      <a:pt x="2" y="16"/>
                    </a:cubicBezTo>
                    <a:cubicBezTo>
                      <a:pt x="3" y="17"/>
                      <a:pt x="4" y="18"/>
                      <a:pt x="4" y="18"/>
                    </a:cubicBezTo>
                    <a:cubicBezTo>
                      <a:pt x="4" y="16"/>
                      <a:pt x="3" y="12"/>
                      <a:pt x="2" y="11"/>
                    </a:cubicBezTo>
                    <a:cubicBezTo>
                      <a:pt x="2" y="9"/>
                      <a:pt x="2" y="8"/>
                      <a:pt x="2" y="6"/>
                    </a:cubicBezTo>
                    <a:cubicBezTo>
                      <a:pt x="2" y="5"/>
                      <a:pt x="2" y="5"/>
                      <a:pt x="2" y="5"/>
                    </a:cubicBezTo>
                    <a:cubicBezTo>
                      <a:pt x="2" y="4"/>
                      <a:pt x="3" y="3"/>
                      <a:pt x="3" y="1"/>
                    </a:cubicBezTo>
                    <a:cubicBezTo>
                      <a:pt x="3"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Freeform 210"/>
            <p:cNvSpPr/>
            <p:nvPr/>
          </p:nvSpPr>
          <p:spPr bwMode="auto">
            <a:xfrm>
              <a:off x="6251566" y="7468422"/>
              <a:ext cx="3175" cy="14288"/>
            </a:xfrm>
            <a:custGeom>
              <a:gdLst>
                <a:gd name="T0" fmla="*/ 1 w 1"/>
                <a:gd name="T1" fmla="*/ 0 h 4"/>
                <a:gd name="T2" fmla="*/ 0 w 1"/>
                <a:gd name="T3" fmla="*/ 1 h 4"/>
                <a:gd name="T4" fmla="*/ 0 w 1"/>
                <a:gd name="T5" fmla="*/ 1 h 4"/>
                <a:gd name="T6" fmla="*/ 0 w 1"/>
                <a:gd name="T7" fmla="*/ 2 h 4"/>
                <a:gd name="T8" fmla="*/ 0 w 1"/>
                <a:gd name="T9" fmla="*/ 2 h 4"/>
                <a:gd name="T10" fmla="*/ 0 w 1"/>
                <a:gd name="T11" fmla="*/ 3 h 4"/>
                <a:gd name="T12" fmla="*/ 1 w 1"/>
                <a:gd name="T13" fmla="*/ 4 h 4"/>
                <a:gd name="T14" fmla="*/ 1 w 1"/>
                <a:gd name="T15" fmla="*/ 3 h 4"/>
                <a:gd name="T16" fmla="*/ 1 w 1"/>
                <a:gd name="T17" fmla="*/ 3 h 4"/>
                <a:gd name="T18" fmla="*/ 1 w 1"/>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4">
                  <a:moveTo>
                    <a:pt x="1" y="0"/>
                  </a:moveTo>
                  <a:cubicBezTo>
                    <a:pt x="0" y="0"/>
                    <a:pt x="0" y="1"/>
                    <a:pt x="0" y="1"/>
                  </a:cubicBezTo>
                  <a:cubicBezTo>
                    <a:pt x="0" y="1"/>
                    <a:pt x="0" y="1"/>
                    <a:pt x="0" y="1"/>
                  </a:cubicBezTo>
                  <a:cubicBezTo>
                    <a:pt x="0" y="2"/>
                    <a:pt x="0" y="2"/>
                    <a:pt x="0" y="2"/>
                  </a:cubicBezTo>
                  <a:cubicBezTo>
                    <a:pt x="0" y="2"/>
                    <a:pt x="0" y="2"/>
                    <a:pt x="0" y="2"/>
                  </a:cubicBezTo>
                  <a:cubicBezTo>
                    <a:pt x="0" y="3"/>
                    <a:pt x="0" y="3"/>
                    <a:pt x="0" y="3"/>
                  </a:cubicBezTo>
                  <a:cubicBezTo>
                    <a:pt x="0" y="3"/>
                    <a:pt x="1" y="3"/>
                    <a:pt x="1" y="4"/>
                  </a:cubicBezTo>
                  <a:cubicBezTo>
                    <a:pt x="1" y="3"/>
                    <a:pt x="1" y="3"/>
                    <a:pt x="1" y="3"/>
                  </a:cubicBezTo>
                  <a:cubicBezTo>
                    <a:pt x="1" y="3"/>
                    <a:pt x="1" y="3"/>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11"/>
            <p:cNvSpPr/>
            <p:nvPr/>
          </p:nvSpPr>
          <p:spPr bwMode="auto">
            <a:xfrm>
              <a:off x="10545754" y="3550472"/>
              <a:ext cx="30163" cy="38100"/>
            </a:xfrm>
            <a:custGeom>
              <a:gdLst>
                <a:gd name="T0" fmla="*/ 6 w 8"/>
                <a:gd name="T1" fmla="*/ 0 h 10"/>
                <a:gd name="T2" fmla="*/ 0 w 8"/>
                <a:gd name="T3" fmla="*/ 8 h 10"/>
                <a:gd name="T4" fmla="*/ 3 w 8"/>
                <a:gd name="T5" fmla="*/ 7 h 10"/>
                <a:gd name="T6" fmla="*/ 3 w 8"/>
                <a:gd name="T7" fmla="*/ 7 h 10"/>
                <a:gd name="T8" fmla="*/ 7 w 8"/>
                <a:gd name="T9" fmla="*/ 10 h 10"/>
                <a:gd name="T10" fmla="*/ 7 w 8"/>
                <a:gd name="T11" fmla="*/ 9 h 10"/>
                <a:gd name="T12" fmla="*/ 8 w 8"/>
                <a:gd name="T13" fmla="*/ 9 h 10"/>
                <a:gd name="T14" fmla="*/ 8 w 8"/>
                <a:gd name="T15" fmla="*/ 8 h 10"/>
                <a:gd name="T16" fmla="*/ 8 w 8"/>
                <a:gd name="T17" fmla="*/ 6 h 10"/>
                <a:gd name="T18" fmla="*/ 6 w 8"/>
                <a:gd name="T19" fmla="*/ 5 h 10"/>
                <a:gd name="T20" fmla="*/ 4 w 8"/>
                <a:gd name="T21" fmla="*/ 5 h 10"/>
                <a:gd name="T22" fmla="*/ 4 w 8"/>
                <a:gd name="T23" fmla="*/ 5 h 10"/>
                <a:gd name="T24" fmla="*/ 3 w 8"/>
                <a:gd name="T25" fmla="*/ 5 h 10"/>
                <a:gd name="T26" fmla="*/ 5 w 8"/>
                <a:gd name="T27" fmla="*/ 2 h 10"/>
                <a:gd name="T28" fmla="*/ 5 w 8"/>
                <a:gd name="T29" fmla="*/ 2 h 10"/>
                <a:gd name="T30" fmla="*/ 6 w 8"/>
                <a:gd name="T31" fmla="*/ 3 h 10"/>
                <a:gd name="T32" fmla="*/ 6 w 8"/>
                <a:gd name="T33" fmla="*/ 3 h 10"/>
                <a:gd name="T34" fmla="*/ 6 w 8"/>
                <a:gd name="T35" fmla="*/ 2 h 10"/>
                <a:gd name="T36" fmla="*/ 8 w 8"/>
                <a:gd name="T37" fmla="*/ 0 h 10"/>
                <a:gd name="T38" fmla="*/ 6 w 8"/>
                <a:gd name="T3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10">
                  <a:moveTo>
                    <a:pt x="6" y="0"/>
                  </a:moveTo>
                  <a:cubicBezTo>
                    <a:pt x="2" y="0"/>
                    <a:pt x="1" y="3"/>
                    <a:pt x="0" y="8"/>
                  </a:cubicBezTo>
                  <a:cubicBezTo>
                    <a:pt x="1" y="7"/>
                    <a:pt x="2" y="7"/>
                    <a:pt x="3" y="7"/>
                  </a:cubicBezTo>
                  <a:cubicBezTo>
                    <a:pt x="3" y="7"/>
                    <a:pt x="3" y="7"/>
                    <a:pt x="3" y="7"/>
                  </a:cubicBezTo>
                  <a:cubicBezTo>
                    <a:pt x="4" y="7"/>
                    <a:pt x="5" y="10"/>
                    <a:pt x="7" y="10"/>
                  </a:cubicBezTo>
                  <a:cubicBezTo>
                    <a:pt x="7" y="10"/>
                    <a:pt x="7" y="10"/>
                    <a:pt x="7" y="9"/>
                  </a:cubicBezTo>
                  <a:cubicBezTo>
                    <a:pt x="8" y="9"/>
                    <a:pt x="8" y="9"/>
                    <a:pt x="8" y="9"/>
                  </a:cubicBezTo>
                  <a:cubicBezTo>
                    <a:pt x="8" y="8"/>
                    <a:pt x="8" y="8"/>
                    <a:pt x="8" y="8"/>
                  </a:cubicBezTo>
                  <a:cubicBezTo>
                    <a:pt x="8" y="7"/>
                    <a:pt x="8" y="6"/>
                    <a:pt x="8" y="6"/>
                  </a:cubicBezTo>
                  <a:cubicBezTo>
                    <a:pt x="7" y="5"/>
                    <a:pt x="7" y="5"/>
                    <a:pt x="6" y="5"/>
                  </a:cubicBezTo>
                  <a:cubicBezTo>
                    <a:pt x="5" y="5"/>
                    <a:pt x="5" y="5"/>
                    <a:pt x="4" y="5"/>
                  </a:cubicBezTo>
                  <a:cubicBezTo>
                    <a:pt x="4" y="5"/>
                    <a:pt x="4" y="5"/>
                    <a:pt x="4" y="5"/>
                  </a:cubicBezTo>
                  <a:cubicBezTo>
                    <a:pt x="4" y="5"/>
                    <a:pt x="3" y="5"/>
                    <a:pt x="3" y="5"/>
                  </a:cubicBezTo>
                  <a:cubicBezTo>
                    <a:pt x="4" y="4"/>
                    <a:pt x="4" y="4"/>
                    <a:pt x="5" y="2"/>
                  </a:cubicBezTo>
                  <a:cubicBezTo>
                    <a:pt x="5" y="2"/>
                    <a:pt x="5" y="2"/>
                    <a:pt x="5" y="2"/>
                  </a:cubicBezTo>
                  <a:cubicBezTo>
                    <a:pt x="6" y="3"/>
                    <a:pt x="6" y="3"/>
                    <a:pt x="6" y="3"/>
                  </a:cubicBezTo>
                  <a:cubicBezTo>
                    <a:pt x="6" y="3"/>
                    <a:pt x="6" y="3"/>
                    <a:pt x="6" y="3"/>
                  </a:cubicBezTo>
                  <a:cubicBezTo>
                    <a:pt x="6" y="2"/>
                    <a:pt x="6" y="2"/>
                    <a:pt x="6" y="2"/>
                  </a:cubicBezTo>
                  <a:cubicBezTo>
                    <a:pt x="7" y="2"/>
                    <a:pt x="8" y="1"/>
                    <a:pt x="8"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12"/>
            <p:cNvSpPr/>
            <p:nvPr/>
          </p:nvSpPr>
          <p:spPr bwMode="auto">
            <a:xfrm>
              <a:off x="4559291" y="3791772"/>
              <a:ext cx="25400" cy="14288"/>
            </a:xfrm>
            <a:custGeom>
              <a:gdLst>
                <a:gd name="T0" fmla="*/ 6 w 7"/>
                <a:gd name="T1" fmla="*/ 0 h 4"/>
                <a:gd name="T2" fmla="*/ 3 w 7"/>
                <a:gd name="T3" fmla="*/ 1 h 4"/>
                <a:gd name="T4" fmla="*/ 2 w 7"/>
                <a:gd name="T5" fmla="*/ 2 h 4"/>
                <a:gd name="T6" fmla="*/ 0 w 7"/>
                <a:gd name="T7" fmla="*/ 4 h 4"/>
                <a:gd name="T8" fmla="*/ 2 w 7"/>
                <a:gd name="T9" fmla="*/ 4 h 4"/>
                <a:gd name="T10" fmla="*/ 3 w 7"/>
                <a:gd name="T11" fmla="*/ 3 h 4"/>
                <a:gd name="T12" fmla="*/ 7 w 7"/>
                <a:gd name="T13" fmla="*/ 0 h 4"/>
                <a:gd name="T14" fmla="*/ 6 w 7"/>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6" y="0"/>
                  </a:moveTo>
                  <a:cubicBezTo>
                    <a:pt x="5" y="0"/>
                    <a:pt x="4" y="1"/>
                    <a:pt x="3" y="1"/>
                  </a:cubicBezTo>
                  <a:cubicBezTo>
                    <a:pt x="3" y="1"/>
                    <a:pt x="3" y="2"/>
                    <a:pt x="2" y="2"/>
                  </a:cubicBezTo>
                  <a:cubicBezTo>
                    <a:pt x="1" y="3"/>
                    <a:pt x="0" y="3"/>
                    <a:pt x="0" y="4"/>
                  </a:cubicBezTo>
                  <a:cubicBezTo>
                    <a:pt x="1" y="4"/>
                    <a:pt x="1" y="4"/>
                    <a:pt x="2" y="4"/>
                  </a:cubicBezTo>
                  <a:cubicBezTo>
                    <a:pt x="3" y="3"/>
                    <a:pt x="3" y="3"/>
                    <a:pt x="3" y="3"/>
                  </a:cubicBezTo>
                  <a:cubicBezTo>
                    <a:pt x="4" y="3"/>
                    <a:pt x="6" y="2"/>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13"/>
            <p:cNvSpPr/>
            <p:nvPr/>
          </p:nvSpPr>
          <p:spPr bwMode="auto">
            <a:xfrm>
              <a:off x="3784591" y="1793109"/>
              <a:ext cx="38100" cy="19050"/>
            </a:xfrm>
            <a:custGeom>
              <a:gdLst>
                <a:gd name="T0" fmla="*/ 5 w 10"/>
                <a:gd name="T1" fmla="*/ 0 h 5"/>
                <a:gd name="T2" fmla="*/ 0 w 10"/>
                <a:gd name="T3" fmla="*/ 3 h 5"/>
                <a:gd name="T4" fmla="*/ 1 w 10"/>
                <a:gd name="T5" fmla="*/ 3 h 5"/>
                <a:gd name="T6" fmla="*/ 2 w 10"/>
                <a:gd name="T7" fmla="*/ 4 h 5"/>
                <a:gd name="T8" fmla="*/ 5 w 10"/>
                <a:gd name="T9" fmla="*/ 5 h 5"/>
                <a:gd name="T10" fmla="*/ 5 w 10"/>
                <a:gd name="T11" fmla="*/ 4 h 5"/>
                <a:gd name="T12" fmla="*/ 6 w 10"/>
                <a:gd name="T13" fmla="*/ 4 h 5"/>
                <a:gd name="T14" fmla="*/ 8 w 10"/>
                <a:gd name="T15" fmla="*/ 3 h 5"/>
                <a:gd name="T16" fmla="*/ 10 w 10"/>
                <a:gd name="T17" fmla="*/ 2 h 5"/>
                <a:gd name="T18" fmla="*/ 10 w 10"/>
                <a:gd name="T19" fmla="*/ 2 h 5"/>
                <a:gd name="T20" fmla="*/ 5 w 10"/>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5">
                  <a:moveTo>
                    <a:pt x="5" y="0"/>
                  </a:moveTo>
                  <a:cubicBezTo>
                    <a:pt x="4" y="0"/>
                    <a:pt x="2" y="1"/>
                    <a:pt x="0" y="3"/>
                  </a:cubicBezTo>
                  <a:cubicBezTo>
                    <a:pt x="1" y="3"/>
                    <a:pt x="1" y="3"/>
                    <a:pt x="1" y="3"/>
                  </a:cubicBezTo>
                  <a:cubicBezTo>
                    <a:pt x="1" y="3"/>
                    <a:pt x="2" y="4"/>
                    <a:pt x="2" y="4"/>
                  </a:cubicBezTo>
                  <a:cubicBezTo>
                    <a:pt x="3" y="4"/>
                    <a:pt x="4" y="4"/>
                    <a:pt x="5" y="5"/>
                  </a:cubicBezTo>
                  <a:cubicBezTo>
                    <a:pt x="5" y="4"/>
                    <a:pt x="5" y="4"/>
                    <a:pt x="5" y="4"/>
                  </a:cubicBezTo>
                  <a:cubicBezTo>
                    <a:pt x="6" y="4"/>
                    <a:pt x="6" y="4"/>
                    <a:pt x="6" y="4"/>
                  </a:cubicBezTo>
                  <a:cubicBezTo>
                    <a:pt x="7" y="3"/>
                    <a:pt x="7" y="3"/>
                    <a:pt x="8" y="3"/>
                  </a:cubicBezTo>
                  <a:cubicBezTo>
                    <a:pt x="9" y="2"/>
                    <a:pt x="9" y="2"/>
                    <a:pt x="10" y="2"/>
                  </a:cubicBezTo>
                  <a:cubicBezTo>
                    <a:pt x="10" y="2"/>
                    <a:pt x="10" y="2"/>
                    <a:pt x="10" y="2"/>
                  </a:cubicBezTo>
                  <a:cubicBezTo>
                    <a:pt x="9"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14"/>
            <p:cNvSpPr/>
            <p:nvPr/>
          </p:nvSpPr>
          <p:spPr bwMode="auto">
            <a:xfrm>
              <a:off x="6243629" y="1962972"/>
              <a:ext cx="34925" cy="6350"/>
            </a:xfrm>
            <a:custGeom>
              <a:gdLst>
                <a:gd name="T0" fmla="*/ 6 w 9"/>
                <a:gd name="T1" fmla="*/ 0 h 2"/>
                <a:gd name="T2" fmla="*/ 5 w 9"/>
                <a:gd name="T3" fmla="*/ 0 h 2"/>
                <a:gd name="T4" fmla="*/ 0 w 9"/>
                <a:gd name="T5" fmla="*/ 2 h 2"/>
                <a:gd name="T6" fmla="*/ 3 w 9"/>
                <a:gd name="T7" fmla="*/ 2 h 2"/>
                <a:gd name="T8" fmla="*/ 9 w 9"/>
                <a:gd name="T9" fmla="*/ 2 h 2"/>
                <a:gd name="T10" fmla="*/ 6 w 9"/>
                <a:gd name="T11" fmla="*/ 0 h 2"/>
              </a:gdLst>
              <a:cxnLst>
                <a:cxn ang="0">
                  <a:pos x="T0" y="T1"/>
                </a:cxn>
                <a:cxn ang="0">
                  <a:pos x="T2" y="T3"/>
                </a:cxn>
                <a:cxn ang="0">
                  <a:pos x="T4" y="T5"/>
                </a:cxn>
                <a:cxn ang="0">
                  <a:pos x="T6" y="T7"/>
                </a:cxn>
                <a:cxn ang="0">
                  <a:pos x="T8" y="T9"/>
                </a:cxn>
                <a:cxn ang="0">
                  <a:pos x="T10" y="T11"/>
                </a:cxn>
              </a:cxnLst>
              <a:rect l="0" t="0" r="r" b="b"/>
              <a:pathLst>
                <a:path w="9" h="2">
                  <a:moveTo>
                    <a:pt x="6" y="0"/>
                  </a:moveTo>
                  <a:cubicBezTo>
                    <a:pt x="5" y="0"/>
                    <a:pt x="5" y="0"/>
                    <a:pt x="5" y="0"/>
                  </a:cubicBezTo>
                  <a:cubicBezTo>
                    <a:pt x="3" y="0"/>
                    <a:pt x="2" y="1"/>
                    <a:pt x="0" y="2"/>
                  </a:cubicBezTo>
                  <a:cubicBezTo>
                    <a:pt x="1" y="2"/>
                    <a:pt x="2" y="2"/>
                    <a:pt x="3" y="2"/>
                  </a:cubicBezTo>
                  <a:cubicBezTo>
                    <a:pt x="5" y="2"/>
                    <a:pt x="7" y="2"/>
                    <a:pt x="9" y="2"/>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5"/>
            <p:cNvSpPr/>
            <p:nvPr/>
          </p:nvSpPr>
          <p:spPr bwMode="auto">
            <a:xfrm>
              <a:off x="10845791" y="3794947"/>
              <a:ext cx="30163" cy="19050"/>
            </a:xfrm>
            <a:custGeom>
              <a:gdLst>
                <a:gd name="T0" fmla="*/ 7 w 8"/>
                <a:gd name="T1" fmla="*/ 0 h 5"/>
                <a:gd name="T2" fmla="*/ 4 w 8"/>
                <a:gd name="T3" fmla="*/ 1 h 5"/>
                <a:gd name="T4" fmla="*/ 1 w 8"/>
                <a:gd name="T5" fmla="*/ 2 h 5"/>
                <a:gd name="T6" fmla="*/ 1 w 8"/>
                <a:gd name="T7" fmla="*/ 2 h 5"/>
                <a:gd name="T8" fmla="*/ 1 w 8"/>
                <a:gd name="T9" fmla="*/ 2 h 5"/>
                <a:gd name="T10" fmla="*/ 1 w 8"/>
                <a:gd name="T11" fmla="*/ 3 h 5"/>
                <a:gd name="T12" fmla="*/ 4 w 8"/>
                <a:gd name="T13" fmla="*/ 5 h 5"/>
                <a:gd name="T14" fmla="*/ 5 w 8"/>
                <a:gd name="T15" fmla="*/ 5 h 5"/>
                <a:gd name="T16" fmla="*/ 6 w 8"/>
                <a:gd name="T17" fmla="*/ 5 h 5"/>
                <a:gd name="T18" fmla="*/ 7 w 8"/>
                <a:gd name="T19" fmla="*/ 4 h 5"/>
                <a:gd name="T20" fmla="*/ 8 w 8"/>
                <a:gd name="T21" fmla="*/ 2 h 5"/>
                <a:gd name="T22" fmla="*/ 7 w 8"/>
                <a:gd name="T23" fmla="*/ 1 h 5"/>
                <a:gd name="T24" fmla="*/ 7 w 8"/>
                <a:gd name="T25"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5">
                  <a:moveTo>
                    <a:pt x="7" y="0"/>
                  </a:moveTo>
                  <a:cubicBezTo>
                    <a:pt x="7" y="0"/>
                    <a:pt x="5" y="1"/>
                    <a:pt x="4" y="1"/>
                  </a:cubicBezTo>
                  <a:cubicBezTo>
                    <a:pt x="3" y="1"/>
                    <a:pt x="2" y="1"/>
                    <a:pt x="1" y="2"/>
                  </a:cubicBezTo>
                  <a:cubicBezTo>
                    <a:pt x="1" y="2"/>
                    <a:pt x="1" y="2"/>
                    <a:pt x="1" y="2"/>
                  </a:cubicBezTo>
                  <a:cubicBezTo>
                    <a:pt x="1" y="2"/>
                    <a:pt x="1" y="2"/>
                    <a:pt x="1" y="2"/>
                  </a:cubicBezTo>
                  <a:cubicBezTo>
                    <a:pt x="0" y="2"/>
                    <a:pt x="1" y="3"/>
                    <a:pt x="1" y="3"/>
                  </a:cubicBezTo>
                  <a:cubicBezTo>
                    <a:pt x="2" y="5"/>
                    <a:pt x="3" y="5"/>
                    <a:pt x="4" y="5"/>
                  </a:cubicBezTo>
                  <a:cubicBezTo>
                    <a:pt x="4" y="5"/>
                    <a:pt x="5" y="5"/>
                    <a:pt x="5" y="5"/>
                  </a:cubicBezTo>
                  <a:cubicBezTo>
                    <a:pt x="5" y="5"/>
                    <a:pt x="5" y="5"/>
                    <a:pt x="6" y="5"/>
                  </a:cubicBezTo>
                  <a:cubicBezTo>
                    <a:pt x="6" y="5"/>
                    <a:pt x="7" y="5"/>
                    <a:pt x="7" y="4"/>
                  </a:cubicBezTo>
                  <a:cubicBezTo>
                    <a:pt x="8" y="4"/>
                    <a:pt x="8" y="3"/>
                    <a:pt x="8" y="2"/>
                  </a:cubicBezTo>
                  <a:cubicBezTo>
                    <a:pt x="8" y="2"/>
                    <a:pt x="8" y="1"/>
                    <a:pt x="7" y="1"/>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16"/>
            <p:cNvSpPr/>
            <p:nvPr/>
          </p:nvSpPr>
          <p:spPr bwMode="auto">
            <a:xfrm flipH="1">
              <a:off x="8270866" y="7600185"/>
              <a:ext cx="0" cy="6350"/>
            </a:xfrm>
            <a:custGeom>
              <a:gdLst>
                <a:gd name="T0" fmla="*/ 0 h 2"/>
                <a:gd name="T1" fmla="*/ 2 h 2"/>
                <a:gd name="T2" fmla="*/ 2 h 2"/>
                <a:gd name="T3" fmla="*/ 2 h 2"/>
                <a:gd name="T4" fmla="*/ 2 h 2"/>
                <a:gd name="T5" fmla="*/ 1 h 2"/>
                <a:gd name="T6" fmla="*/ 0 h 2"/>
              </a:gdLst>
              <a:cxnLst>
                <a:cxn ang="0">
                  <a:pos x="0" y="T0"/>
                </a:cxn>
                <a:cxn ang="0">
                  <a:pos x="0" y="T1"/>
                </a:cxn>
                <a:cxn ang="0">
                  <a:pos x="0" y="T2"/>
                </a:cxn>
                <a:cxn ang="0">
                  <a:pos x="0" y="T3"/>
                </a:cxn>
                <a:cxn ang="0">
                  <a:pos x="0" y="T4"/>
                </a:cxn>
                <a:cxn ang="0">
                  <a:pos x="0" y="T5"/>
                </a:cxn>
                <a:cxn ang="0">
                  <a:pos x="0" y="T6"/>
                </a:cxn>
              </a:cxnLst>
              <a:rect l="0" t="0" r="r" b="b"/>
              <a:pathLst>
                <a:path h="2">
                  <a:moveTo>
                    <a:pt x="0" y="0"/>
                  </a:moveTo>
                  <a:cubicBezTo>
                    <a:pt x="0" y="1"/>
                    <a:pt x="0" y="1"/>
                    <a:pt x="0" y="2"/>
                  </a:cubicBezTo>
                  <a:cubicBezTo>
                    <a:pt x="0" y="2"/>
                    <a:pt x="0" y="2"/>
                    <a:pt x="0" y="2"/>
                  </a:cubicBezTo>
                  <a:cubicBezTo>
                    <a:pt x="0" y="2"/>
                    <a:pt x="0" y="2"/>
                    <a:pt x="0" y="2"/>
                  </a:cubicBezTo>
                  <a:cubicBezTo>
                    <a:pt x="0" y="2"/>
                    <a:pt x="0" y="2"/>
                    <a:pt x="0" y="2"/>
                  </a:cubicBezTo>
                  <a:cubicBezTo>
                    <a:pt x="0" y="1"/>
                    <a:pt x="0" y="1"/>
                    <a:pt x="0" y="1"/>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17"/>
            <p:cNvSpPr/>
            <p:nvPr/>
          </p:nvSpPr>
          <p:spPr bwMode="auto">
            <a:xfrm>
              <a:off x="8259754" y="7595422"/>
              <a:ext cx="11113" cy="19050"/>
            </a:xfrm>
            <a:custGeom>
              <a:gdLst>
                <a:gd name="T0" fmla="*/ 1 w 3"/>
                <a:gd name="T1" fmla="*/ 0 h 5"/>
                <a:gd name="T2" fmla="*/ 1 w 3"/>
                <a:gd name="T3" fmla="*/ 1 h 5"/>
                <a:gd name="T4" fmla="*/ 1 w 3"/>
                <a:gd name="T5" fmla="*/ 2 h 5"/>
                <a:gd name="T6" fmla="*/ 0 w 3"/>
                <a:gd name="T7" fmla="*/ 5 h 5"/>
                <a:gd name="T8" fmla="*/ 3 w 3"/>
                <a:gd name="T9" fmla="*/ 0 h 5"/>
                <a:gd name="T10" fmla="*/ 2 w 3"/>
                <a:gd name="T11" fmla="*/ 0 h 5"/>
                <a:gd name="T12" fmla="*/ 1 w 3"/>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3" h="5">
                  <a:moveTo>
                    <a:pt x="1" y="0"/>
                  </a:moveTo>
                  <a:cubicBezTo>
                    <a:pt x="1" y="1"/>
                    <a:pt x="1" y="1"/>
                    <a:pt x="1" y="1"/>
                  </a:cubicBezTo>
                  <a:cubicBezTo>
                    <a:pt x="1" y="1"/>
                    <a:pt x="1" y="1"/>
                    <a:pt x="1" y="2"/>
                  </a:cubicBezTo>
                  <a:cubicBezTo>
                    <a:pt x="1" y="3"/>
                    <a:pt x="0" y="4"/>
                    <a:pt x="0" y="5"/>
                  </a:cubicBezTo>
                  <a:cubicBezTo>
                    <a:pt x="1" y="3"/>
                    <a:pt x="2" y="2"/>
                    <a:pt x="3" y="0"/>
                  </a:cubicBezTo>
                  <a:cubicBezTo>
                    <a:pt x="3"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18"/>
            <p:cNvSpPr/>
            <p:nvPr/>
          </p:nvSpPr>
          <p:spPr bwMode="auto">
            <a:xfrm>
              <a:off x="5203816" y="599309"/>
              <a:ext cx="401638" cy="123825"/>
            </a:xfrm>
            <a:custGeom>
              <a:gdLst>
                <a:gd name="T0" fmla="*/ 96 w 107"/>
                <a:gd name="T1" fmla="*/ 0 h 33"/>
                <a:gd name="T2" fmla="*/ 37 w 107"/>
                <a:gd name="T3" fmla="*/ 0 h 33"/>
                <a:gd name="T4" fmla="*/ 36 w 107"/>
                <a:gd name="T5" fmla="*/ 2 h 33"/>
                <a:gd name="T6" fmla="*/ 30 w 107"/>
                <a:gd name="T7" fmla="*/ 4 h 33"/>
                <a:gd name="T8" fmla="*/ 25 w 107"/>
                <a:gd name="T9" fmla="*/ 4 h 33"/>
                <a:gd name="T10" fmla="*/ 24 w 107"/>
                <a:gd name="T11" fmla="*/ 4 h 33"/>
                <a:gd name="T12" fmla="*/ 21 w 107"/>
                <a:gd name="T13" fmla="*/ 5 h 33"/>
                <a:gd name="T14" fmla="*/ 9 w 107"/>
                <a:gd name="T15" fmla="*/ 9 h 33"/>
                <a:gd name="T16" fmla="*/ 8 w 107"/>
                <a:gd name="T17" fmla="*/ 12 h 33"/>
                <a:gd name="T18" fmla="*/ 5 w 107"/>
                <a:gd name="T19" fmla="*/ 13 h 33"/>
                <a:gd name="T20" fmla="*/ 3 w 107"/>
                <a:gd name="T21" fmla="*/ 16 h 33"/>
                <a:gd name="T22" fmla="*/ 0 w 107"/>
                <a:gd name="T23" fmla="*/ 20 h 33"/>
                <a:gd name="T24" fmla="*/ 9 w 107"/>
                <a:gd name="T25" fmla="*/ 17 h 33"/>
                <a:gd name="T26" fmla="*/ 13 w 107"/>
                <a:gd name="T27" fmla="*/ 18 h 33"/>
                <a:gd name="T28" fmla="*/ 12 w 107"/>
                <a:gd name="T29" fmla="*/ 27 h 33"/>
                <a:gd name="T30" fmla="*/ 15 w 107"/>
                <a:gd name="T31" fmla="*/ 28 h 33"/>
                <a:gd name="T32" fmla="*/ 16 w 107"/>
                <a:gd name="T33" fmla="*/ 28 h 33"/>
                <a:gd name="T34" fmla="*/ 17 w 107"/>
                <a:gd name="T35" fmla="*/ 28 h 33"/>
                <a:gd name="T36" fmla="*/ 18 w 107"/>
                <a:gd name="T37" fmla="*/ 28 h 33"/>
                <a:gd name="T38" fmla="*/ 31 w 107"/>
                <a:gd name="T39" fmla="*/ 29 h 33"/>
                <a:gd name="T40" fmla="*/ 39 w 107"/>
                <a:gd name="T41" fmla="*/ 29 h 33"/>
                <a:gd name="T42" fmla="*/ 47 w 107"/>
                <a:gd name="T43" fmla="*/ 27 h 33"/>
                <a:gd name="T44" fmla="*/ 47 w 107"/>
                <a:gd name="T45" fmla="*/ 22 h 33"/>
                <a:gd name="T46" fmla="*/ 49 w 107"/>
                <a:gd name="T47" fmla="*/ 17 h 33"/>
                <a:gd name="T48" fmla="*/ 51 w 107"/>
                <a:gd name="T49" fmla="*/ 16 h 33"/>
                <a:gd name="T50" fmla="*/ 53 w 107"/>
                <a:gd name="T51" fmla="*/ 17 h 33"/>
                <a:gd name="T52" fmla="*/ 54 w 107"/>
                <a:gd name="T53" fmla="*/ 18 h 33"/>
                <a:gd name="T54" fmla="*/ 55 w 107"/>
                <a:gd name="T55" fmla="*/ 20 h 33"/>
                <a:gd name="T56" fmla="*/ 54 w 107"/>
                <a:gd name="T57" fmla="*/ 21 h 33"/>
                <a:gd name="T58" fmla="*/ 55 w 107"/>
                <a:gd name="T59" fmla="*/ 23 h 33"/>
                <a:gd name="T60" fmla="*/ 59 w 107"/>
                <a:gd name="T61" fmla="*/ 24 h 33"/>
                <a:gd name="T62" fmla="*/ 61 w 107"/>
                <a:gd name="T63" fmla="*/ 26 h 33"/>
                <a:gd name="T64" fmla="*/ 60 w 107"/>
                <a:gd name="T65" fmla="*/ 29 h 33"/>
                <a:gd name="T66" fmla="*/ 63 w 107"/>
                <a:gd name="T67" fmla="*/ 33 h 33"/>
                <a:gd name="T68" fmla="*/ 65 w 107"/>
                <a:gd name="T69" fmla="*/ 32 h 33"/>
                <a:gd name="T70" fmla="*/ 83 w 107"/>
                <a:gd name="T71" fmla="*/ 25 h 33"/>
                <a:gd name="T72" fmla="*/ 81 w 107"/>
                <a:gd name="T73" fmla="*/ 22 h 33"/>
                <a:gd name="T74" fmla="*/ 80 w 107"/>
                <a:gd name="T75" fmla="*/ 19 h 33"/>
                <a:gd name="T76" fmla="*/ 80 w 107"/>
                <a:gd name="T77" fmla="*/ 15 h 33"/>
                <a:gd name="T78" fmla="*/ 78 w 107"/>
                <a:gd name="T79" fmla="*/ 10 h 33"/>
                <a:gd name="T80" fmla="*/ 82 w 107"/>
                <a:gd name="T81" fmla="*/ 7 h 33"/>
                <a:gd name="T82" fmla="*/ 82 w 107"/>
                <a:gd name="T83" fmla="*/ 7 h 33"/>
                <a:gd name="T84" fmla="*/ 83 w 107"/>
                <a:gd name="T85" fmla="*/ 11 h 33"/>
                <a:gd name="T86" fmla="*/ 87 w 107"/>
                <a:gd name="T87" fmla="*/ 16 h 33"/>
                <a:gd name="T88" fmla="*/ 90 w 107"/>
                <a:gd name="T89" fmla="*/ 17 h 33"/>
                <a:gd name="T90" fmla="*/ 102 w 107"/>
                <a:gd name="T91" fmla="*/ 4 h 33"/>
                <a:gd name="T92" fmla="*/ 96 w 107"/>
                <a:gd name="T93"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33">
                  <a:moveTo>
                    <a:pt x="96" y="0"/>
                  </a:moveTo>
                  <a:cubicBezTo>
                    <a:pt x="37" y="0"/>
                    <a:pt x="37" y="0"/>
                    <a:pt x="37" y="0"/>
                  </a:cubicBezTo>
                  <a:cubicBezTo>
                    <a:pt x="37" y="1"/>
                    <a:pt x="37" y="1"/>
                    <a:pt x="36" y="2"/>
                  </a:cubicBezTo>
                  <a:cubicBezTo>
                    <a:pt x="34" y="4"/>
                    <a:pt x="33" y="4"/>
                    <a:pt x="30" y="4"/>
                  </a:cubicBezTo>
                  <a:cubicBezTo>
                    <a:pt x="28" y="4"/>
                    <a:pt x="27" y="4"/>
                    <a:pt x="25" y="4"/>
                  </a:cubicBezTo>
                  <a:cubicBezTo>
                    <a:pt x="24" y="4"/>
                    <a:pt x="24" y="4"/>
                    <a:pt x="24" y="4"/>
                  </a:cubicBezTo>
                  <a:cubicBezTo>
                    <a:pt x="23" y="4"/>
                    <a:pt x="22" y="4"/>
                    <a:pt x="21" y="5"/>
                  </a:cubicBezTo>
                  <a:cubicBezTo>
                    <a:pt x="17" y="5"/>
                    <a:pt x="11" y="5"/>
                    <a:pt x="9" y="9"/>
                  </a:cubicBezTo>
                  <a:cubicBezTo>
                    <a:pt x="9" y="11"/>
                    <a:pt x="10" y="11"/>
                    <a:pt x="8" y="12"/>
                  </a:cubicBezTo>
                  <a:cubicBezTo>
                    <a:pt x="7" y="14"/>
                    <a:pt x="7" y="13"/>
                    <a:pt x="5" y="13"/>
                  </a:cubicBezTo>
                  <a:cubicBezTo>
                    <a:pt x="3" y="16"/>
                    <a:pt x="3" y="16"/>
                    <a:pt x="3" y="16"/>
                  </a:cubicBezTo>
                  <a:cubicBezTo>
                    <a:pt x="2" y="17"/>
                    <a:pt x="1" y="19"/>
                    <a:pt x="0" y="20"/>
                  </a:cubicBezTo>
                  <a:cubicBezTo>
                    <a:pt x="3" y="19"/>
                    <a:pt x="6" y="17"/>
                    <a:pt x="9" y="17"/>
                  </a:cubicBezTo>
                  <a:cubicBezTo>
                    <a:pt x="11" y="17"/>
                    <a:pt x="12" y="17"/>
                    <a:pt x="13" y="18"/>
                  </a:cubicBezTo>
                  <a:cubicBezTo>
                    <a:pt x="14" y="21"/>
                    <a:pt x="9" y="24"/>
                    <a:pt x="12" y="27"/>
                  </a:cubicBezTo>
                  <a:cubicBezTo>
                    <a:pt x="12" y="28"/>
                    <a:pt x="13" y="28"/>
                    <a:pt x="15" y="28"/>
                  </a:cubicBezTo>
                  <a:cubicBezTo>
                    <a:pt x="15" y="28"/>
                    <a:pt x="16" y="28"/>
                    <a:pt x="16" y="28"/>
                  </a:cubicBezTo>
                  <a:cubicBezTo>
                    <a:pt x="17" y="28"/>
                    <a:pt x="17" y="28"/>
                    <a:pt x="17" y="28"/>
                  </a:cubicBezTo>
                  <a:cubicBezTo>
                    <a:pt x="17" y="28"/>
                    <a:pt x="17" y="28"/>
                    <a:pt x="18" y="28"/>
                  </a:cubicBezTo>
                  <a:cubicBezTo>
                    <a:pt x="22" y="28"/>
                    <a:pt x="27" y="28"/>
                    <a:pt x="31" y="29"/>
                  </a:cubicBezTo>
                  <a:cubicBezTo>
                    <a:pt x="33" y="29"/>
                    <a:pt x="36" y="29"/>
                    <a:pt x="39" y="29"/>
                  </a:cubicBezTo>
                  <a:cubicBezTo>
                    <a:pt x="42" y="29"/>
                    <a:pt x="45" y="29"/>
                    <a:pt x="47" y="27"/>
                  </a:cubicBezTo>
                  <a:cubicBezTo>
                    <a:pt x="50" y="26"/>
                    <a:pt x="47" y="25"/>
                    <a:pt x="47" y="22"/>
                  </a:cubicBezTo>
                  <a:cubicBezTo>
                    <a:pt x="47" y="20"/>
                    <a:pt x="48" y="19"/>
                    <a:pt x="49" y="17"/>
                  </a:cubicBezTo>
                  <a:cubicBezTo>
                    <a:pt x="50" y="16"/>
                    <a:pt x="50" y="16"/>
                    <a:pt x="51" y="16"/>
                  </a:cubicBezTo>
                  <a:cubicBezTo>
                    <a:pt x="51" y="16"/>
                    <a:pt x="52" y="16"/>
                    <a:pt x="53" y="17"/>
                  </a:cubicBezTo>
                  <a:cubicBezTo>
                    <a:pt x="56" y="18"/>
                    <a:pt x="54" y="18"/>
                    <a:pt x="54" y="18"/>
                  </a:cubicBezTo>
                  <a:cubicBezTo>
                    <a:pt x="55" y="20"/>
                    <a:pt x="55" y="20"/>
                    <a:pt x="55" y="20"/>
                  </a:cubicBezTo>
                  <a:cubicBezTo>
                    <a:pt x="54" y="21"/>
                    <a:pt x="54" y="21"/>
                    <a:pt x="54" y="21"/>
                  </a:cubicBezTo>
                  <a:cubicBezTo>
                    <a:pt x="55" y="22"/>
                    <a:pt x="53" y="21"/>
                    <a:pt x="55" y="23"/>
                  </a:cubicBezTo>
                  <a:cubicBezTo>
                    <a:pt x="56" y="23"/>
                    <a:pt x="58" y="23"/>
                    <a:pt x="59" y="24"/>
                  </a:cubicBezTo>
                  <a:cubicBezTo>
                    <a:pt x="60" y="24"/>
                    <a:pt x="61" y="25"/>
                    <a:pt x="61" y="26"/>
                  </a:cubicBezTo>
                  <a:cubicBezTo>
                    <a:pt x="61" y="27"/>
                    <a:pt x="60" y="28"/>
                    <a:pt x="60" y="29"/>
                  </a:cubicBezTo>
                  <a:cubicBezTo>
                    <a:pt x="62" y="32"/>
                    <a:pt x="62" y="33"/>
                    <a:pt x="63" y="33"/>
                  </a:cubicBezTo>
                  <a:cubicBezTo>
                    <a:pt x="63" y="33"/>
                    <a:pt x="64" y="33"/>
                    <a:pt x="65" y="32"/>
                  </a:cubicBezTo>
                  <a:cubicBezTo>
                    <a:pt x="68" y="31"/>
                    <a:pt x="82" y="28"/>
                    <a:pt x="83" y="25"/>
                  </a:cubicBezTo>
                  <a:cubicBezTo>
                    <a:pt x="83" y="23"/>
                    <a:pt x="82" y="23"/>
                    <a:pt x="81" y="22"/>
                  </a:cubicBezTo>
                  <a:cubicBezTo>
                    <a:pt x="81" y="21"/>
                    <a:pt x="80" y="21"/>
                    <a:pt x="80" y="19"/>
                  </a:cubicBezTo>
                  <a:cubicBezTo>
                    <a:pt x="80" y="17"/>
                    <a:pt x="80" y="16"/>
                    <a:pt x="80" y="15"/>
                  </a:cubicBezTo>
                  <a:cubicBezTo>
                    <a:pt x="79" y="13"/>
                    <a:pt x="77" y="12"/>
                    <a:pt x="78" y="10"/>
                  </a:cubicBezTo>
                  <a:cubicBezTo>
                    <a:pt x="78" y="9"/>
                    <a:pt x="80" y="7"/>
                    <a:pt x="82" y="7"/>
                  </a:cubicBezTo>
                  <a:cubicBezTo>
                    <a:pt x="82" y="7"/>
                    <a:pt x="82" y="7"/>
                    <a:pt x="82" y="7"/>
                  </a:cubicBezTo>
                  <a:cubicBezTo>
                    <a:pt x="83" y="8"/>
                    <a:pt x="82" y="10"/>
                    <a:pt x="83" y="11"/>
                  </a:cubicBezTo>
                  <a:cubicBezTo>
                    <a:pt x="83" y="12"/>
                    <a:pt x="85" y="15"/>
                    <a:pt x="87" y="16"/>
                  </a:cubicBezTo>
                  <a:cubicBezTo>
                    <a:pt x="88" y="17"/>
                    <a:pt x="89" y="17"/>
                    <a:pt x="90" y="17"/>
                  </a:cubicBezTo>
                  <a:cubicBezTo>
                    <a:pt x="97" y="17"/>
                    <a:pt x="107" y="9"/>
                    <a:pt x="102" y="4"/>
                  </a:cubicBezTo>
                  <a:cubicBezTo>
                    <a:pt x="101" y="3"/>
                    <a:pt x="96" y="2"/>
                    <a:pt x="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9"/>
            <p:cNvSpPr>
              <a:spLocks noEditPoints="1"/>
            </p:cNvSpPr>
            <p:nvPr/>
          </p:nvSpPr>
          <p:spPr bwMode="auto">
            <a:xfrm>
              <a:off x="5640379" y="599309"/>
              <a:ext cx="1103313" cy="371475"/>
            </a:xfrm>
            <a:custGeom>
              <a:gdLst>
                <a:gd name="T0" fmla="*/ 221 w 294"/>
                <a:gd name="T1" fmla="*/ 0 h 99"/>
                <a:gd name="T2" fmla="*/ 178 w 294"/>
                <a:gd name="T3" fmla="*/ 10 h 99"/>
                <a:gd name="T4" fmla="*/ 203 w 294"/>
                <a:gd name="T5" fmla="*/ 23 h 99"/>
                <a:gd name="T6" fmla="*/ 210 w 294"/>
                <a:gd name="T7" fmla="*/ 38 h 99"/>
                <a:gd name="T8" fmla="*/ 199 w 294"/>
                <a:gd name="T9" fmla="*/ 47 h 99"/>
                <a:gd name="T10" fmla="*/ 158 w 294"/>
                <a:gd name="T11" fmla="*/ 47 h 99"/>
                <a:gd name="T12" fmla="*/ 145 w 294"/>
                <a:gd name="T13" fmla="*/ 33 h 99"/>
                <a:gd name="T14" fmla="*/ 144 w 294"/>
                <a:gd name="T15" fmla="*/ 30 h 99"/>
                <a:gd name="T16" fmla="*/ 114 w 294"/>
                <a:gd name="T17" fmla="*/ 12 h 99"/>
                <a:gd name="T18" fmla="*/ 109 w 294"/>
                <a:gd name="T19" fmla="*/ 12 h 99"/>
                <a:gd name="T20" fmla="*/ 93 w 294"/>
                <a:gd name="T21" fmla="*/ 11 h 99"/>
                <a:gd name="T22" fmla="*/ 100 w 294"/>
                <a:gd name="T23" fmla="*/ 3 h 99"/>
                <a:gd name="T24" fmla="*/ 47 w 294"/>
                <a:gd name="T25" fmla="*/ 1 h 99"/>
                <a:gd name="T26" fmla="*/ 1 w 294"/>
                <a:gd name="T27" fmla="*/ 2 h 99"/>
                <a:gd name="T28" fmla="*/ 9 w 294"/>
                <a:gd name="T29" fmla="*/ 9 h 99"/>
                <a:gd name="T30" fmla="*/ 25 w 294"/>
                <a:gd name="T31" fmla="*/ 8 h 99"/>
                <a:gd name="T32" fmla="*/ 36 w 294"/>
                <a:gd name="T33" fmla="*/ 9 h 99"/>
                <a:gd name="T34" fmla="*/ 60 w 294"/>
                <a:gd name="T35" fmla="*/ 15 h 99"/>
                <a:gd name="T36" fmla="*/ 63 w 294"/>
                <a:gd name="T37" fmla="*/ 16 h 99"/>
                <a:gd name="T38" fmla="*/ 52 w 294"/>
                <a:gd name="T39" fmla="*/ 16 h 99"/>
                <a:gd name="T40" fmla="*/ 33 w 294"/>
                <a:gd name="T41" fmla="*/ 24 h 99"/>
                <a:gd name="T42" fmla="*/ 49 w 294"/>
                <a:gd name="T43" fmla="*/ 30 h 99"/>
                <a:gd name="T44" fmla="*/ 60 w 294"/>
                <a:gd name="T45" fmla="*/ 32 h 99"/>
                <a:gd name="T46" fmla="*/ 27 w 294"/>
                <a:gd name="T47" fmla="*/ 45 h 99"/>
                <a:gd name="T48" fmla="*/ 34 w 294"/>
                <a:gd name="T49" fmla="*/ 45 h 99"/>
                <a:gd name="T50" fmla="*/ 64 w 294"/>
                <a:gd name="T51" fmla="*/ 42 h 99"/>
                <a:gd name="T52" fmla="*/ 10 w 294"/>
                <a:gd name="T53" fmla="*/ 56 h 99"/>
                <a:gd name="T54" fmla="*/ 29 w 294"/>
                <a:gd name="T55" fmla="*/ 66 h 99"/>
                <a:gd name="T56" fmla="*/ 42 w 294"/>
                <a:gd name="T57" fmla="*/ 64 h 99"/>
                <a:gd name="T58" fmla="*/ 49 w 294"/>
                <a:gd name="T59" fmla="*/ 71 h 99"/>
                <a:gd name="T60" fmla="*/ 59 w 294"/>
                <a:gd name="T61" fmla="*/ 66 h 99"/>
                <a:gd name="T62" fmla="*/ 65 w 294"/>
                <a:gd name="T63" fmla="*/ 68 h 99"/>
                <a:gd name="T64" fmla="*/ 83 w 294"/>
                <a:gd name="T65" fmla="*/ 68 h 99"/>
                <a:gd name="T66" fmla="*/ 91 w 294"/>
                <a:gd name="T67" fmla="*/ 58 h 99"/>
                <a:gd name="T68" fmla="*/ 97 w 294"/>
                <a:gd name="T69" fmla="*/ 54 h 99"/>
                <a:gd name="T70" fmla="*/ 95 w 294"/>
                <a:gd name="T71" fmla="*/ 63 h 99"/>
                <a:gd name="T72" fmla="*/ 99 w 294"/>
                <a:gd name="T73" fmla="*/ 69 h 99"/>
                <a:gd name="T74" fmla="*/ 126 w 294"/>
                <a:gd name="T75" fmla="*/ 59 h 99"/>
                <a:gd name="T76" fmla="*/ 131 w 294"/>
                <a:gd name="T77" fmla="*/ 61 h 99"/>
                <a:gd name="T78" fmla="*/ 133 w 294"/>
                <a:gd name="T79" fmla="*/ 66 h 99"/>
                <a:gd name="T80" fmla="*/ 137 w 294"/>
                <a:gd name="T81" fmla="*/ 65 h 99"/>
                <a:gd name="T82" fmla="*/ 146 w 294"/>
                <a:gd name="T83" fmla="*/ 63 h 99"/>
                <a:gd name="T84" fmla="*/ 154 w 294"/>
                <a:gd name="T85" fmla="*/ 62 h 99"/>
                <a:gd name="T86" fmla="*/ 142 w 294"/>
                <a:gd name="T87" fmla="*/ 72 h 99"/>
                <a:gd name="T88" fmla="*/ 88 w 294"/>
                <a:gd name="T89" fmla="*/ 84 h 99"/>
                <a:gd name="T90" fmla="*/ 125 w 294"/>
                <a:gd name="T91" fmla="*/ 97 h 99"/>
                <a:gd name="T92" fmla="*/ 218 w 294"/>
                <a:gd name="T93" fmla="*/ 70 h 99"/>
                <a:gd name="T94" fmla="*/ 239 w 294"/>
                <a:gd name="T95" fmla="*/ 68 h 99"/>
                <a:gd name="T96" fmla="*/ 255 w 294"/>
                <a:gd name="T97" fmla="*/ 69 h 99"/>
                <a:gd name="T98" fmla="*/ 283 w 294"/>
                <a:gd name="T99" fmla="*/ 63 h 99"/>
                <a:gd name="T100" fmla="*/ 286 w 294"/>
                <a:gd name="T101" fmla="*/ 53 h 99"/>
                <a:gd name="T102" fmla="*/ 288 w 294"/>
                <a:gd name="T103" fmla="*/ 27 h 99"/>
                <a:gd name="T104" fmla="*/ 259 w 294"/>
                <a:gd name="T105" fmla="*/ 29 h 99"/>
                <a:gd name="T106" fmla="*/ 257 w 294"/>
                <a:gd name="T107" fmla="*/ 38 h 99"/>
                <a:gd name="T108" fmla="*/ 250 w 294"/>
                <a:gd name="T109" fmla="*/ 29 h 99"/>
                <a:gd name="T110" fmla="*/ 240 w 294"/>
                <a:gd name="T111" fmla="*/ 23 h 99"/>
                <a:gd name="T112" fmla="*/ 230 w 294"/>
                <a:gd name="T113" fmla="*/ 22 h 99"/>
                <a:gd name="T114" fmla="*/ 222 w 294"/>
                <a:gd name="T115" fmla="*/ 5 h 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99">
                  <a:moveTo>
                    <a:pt x="234" y="74"/>
                  </a:moveTo>
                  <a:cubicBezTo>
                    <a:pt x="234" y="74"/>
                    <a:pt x="234" y="74"/>
                    <a:pt x="234" y="74"/>
                  </a:cubicBezTo>
                  <a:cubicBezTo>
                    <a:pt x="234" y="74"/>
                    <a:pt x="234" y="74"/>
                    <a:pt x="234" y="74"/>
                  </a:cubicBezTo>
                  <a:moveTo>
                    <a:pt x="221" y="0"/>
                  </a:moveTo>
                  <a:cubicBezTo>
                    <a:pt x="192" y="0"/>
                    <a:pt x="192" y="0"/>
                    <a:pt x="192" y="0"/>
                  </a:cubicBezTo>
                  <a:cubicBezTo>
                    <a:pt x="191" y="1"/>
                    <a:pt x="189" y="1"/>
                    <a:pt x="187" y="1"/>
                  </a:cubicBezTo>
                  <a:cubicBezTo>
                    <a:pt x="187" y="1"/>
                    <a:pt x="187" y="1"/>
                    <a:pt x="186" y="1"/>
                  </a:cubicBezTo>
                  <a:cubicBezTo>
                    <a:pt x="184" y="3"/>
                    <a:pt x="177" y="5"/>
                    <a:pt x="178" y="10"/>
                  </a:cubicBezTo>
                  <a:cubicBezTo>
                    <a:pt x="178" y="11"/>
                    <a:pt x="181" y="11"/>
                    <a:pt x="182" y="11"/>
                  </a:cubicBezTo>
                  <a:cubicBezTo>
                    <a:pt x="185" y="12"/>
                    <a:pt x="187" y="14"/>
                    <a:pt x="190" y="15"/>
                  </a:cubicBezTo>
                  <a:cubicBezTo>
                    <a:pt x="194" y="18"/>
                    <a:pt x="199" y="20"/>
                    <a:pt x="203" y="23"/>
                  </a:cubicBezTo>
                  <a:cubicBezTo>
                    <a:pt x="203" y="23"/>
                    <a:pt x="203" y="23"/>
                    <a:pt x="203" y="23"/>
                  </a:cubicBezTo>
                  <a:cubicBezTo>
                    <a:pt x="201" y="23"/>
                    <a:pt x="197" y="25"/>
                    <a:pt x="196" y="26"/>
                  </a:cubicBezTo>
                  <a:cubicBezTo>
                    <a:pt x="193" y="27"/>
                    <a:pt x="190" y="28"/>
                    <a:pt x="187" y="29"/>
                  </a:cubicBezTo>
                  <a:cubicBezTo>
                    <a:pt x="184" y="30"/>
                    <a:pt x="193" y="33"/>
                    <a:pt x="194" y="33"/>
                  </a:cubicBezTo>
                  <a:cubicBezTo>
                    <a:pt x="199" y="35"/>
                    <a:pt x="205" y="36"/>
                    <a:pt x="210" y="38"/>
                  </a:cubicBezTo>
                  <a:cubicBezTo>
                    <a:pt x="214" y="39"/>
                    <a:pt x="214" y="40"/>
                    <a:pt x="213" y="44"/>
                  </a:cubicBezTo>
                  <a:cubicBezTo>
                    <a:pt x="213" y="45"/>
                    <a:pt x="212" y="49"/>
                    <a:pt x="211" y="49"/>
                  </a:cubicBezTo>
                  <a:cubicBezTo>
                    <a:pt x="211" y="49"/>
                    <a:pt x="211" y="49"/>
                    <a:pt x="211" y="49"/>
                  </a:cubicBezTo>
                  <a:cubicBezTo>
                    <a:pt x="207" y="49"/>
                    <a:pt x="203" y="48"/>
                    <a:pt x="199" y="47"/>
                  </a:cubicBezTo>
                  <a:cubicBezTo>
                    <a:pt x="194" y="47"/>
                    <a:pt x="190" y="46"/>
                    <a:pt x="185" y="46"/>
                  </a:cubicBezTo>
                  <a:cubicBezTo>
                    <a:pt x="184" y="46"/>
                    <a:pt x="184" y="46"/>
                    <a:pt x="183" y="46"/>
                  </a:cubicBezTo>
                  <a:cubicBezTo>
                    <a:pt x="175" y="47"/>
                    <a:pt x="166" y="47"/>
                    <a:pt x="158" y="47"/>
                  </a:cubicBezTo>
                  <a:cubicBezTo>
                    <a:pt x="158" y="47"/>
                    <a:pt x="158" y="47"/>
                    <a:pt x="158" y="47"/>
                  </a:cubicBezTo>
                  <a:cubicBezTo>
                    <a:pt x="155" y="47"/>
                    <a:pt x="155" y="43"/>
                    <a:pt x="154" y="42"/>
                  </a:cubicBezTo>
                  <a:cubicBezTo>
                    <a:pt x="154" y="39"/>
                    <a:pt x="155" y="35"/>
                    <a:pt x="152" y="32"/>
                  </a:cubicBezTo>
                  <a:cubicBezTo>
                    <a:pt x="152" y="32"/>
                    <a:pt x="151" y="32"/>
                    <a:pt x="150" y="32"/>
                  </a:cubicBezTo>
                  <a:cubicBezTo>
                    <a:pt x="148" y="32"/>
                    <a:pt x="146" y="33"/>
                    <a:pt x="145" y="33"/>
                  </a:cubicBezTo>
                  <a:cubicBezTo>
                    <a:pt x="142" y="33"/>
                    <a:pt x="139" y="33"/>
                    <a:pt x="136" y="33"/>
                  </a:cubicBezTo>
                  <a:cubicBezTo>
                    <a:pt x="136" y="33"/>
                    <a:pt x="135" y="33"/>
                    <a:pt x="135" y="33"/>
                  </a:cubicBezTo>
                  <a:cubicBezTo>
                    <a:pt x="137" y="33"/>
                    <a:pt x="136" y="31"/>
                    <a:pt x="138" y="30"/>
                  </a:cubicBezTo>
                  <a:cubicBezTo>
                    <a:pt x="140" y="30"/>
                    <a:pt x="142" y="30"/>
                    <a:pt x="144" y="30"/>
                  </a:cubicBezTo>
                  <a:cubicBezTo>
                    <a:pt x="139" y="27"/>
                    <a:pt x="135" y="24"/>
                    <a:pt x="131" y="21"/>
                  </a:cubicBezTo>
                  <a:cubicBezTo>
                    <a:pt x="127" y="18"/>
                    <a:pt x="123" y="14"/>
                    <a:pt x="119" y="12"/>
                  </a:cubicBezTo>
                  <a:cubicBezTo>
                    <a:pt x="118" y="12"/>
                    <a:pt x="118" y="12"/>
                    <a:pt x="118" y="12"/>
                  </a:cubicBezTo>
                  <a:cubicBezTo>
                    <a:pt x="116" y="12"/>
                    <a:pt x="116" y="12"/>
                    <a:pt x="114" y="12"/>
                  </a:cubicBezTo>
                  <a:cubicBezTo>
                    <a:pt x="114" y="12"/>
                    <a:pt x="114" y="12"/>
                    <a:pt x="114" y="12"/>
                  </a:cubicBezTo>
                  <a:cubicBezTo>
                    <a:pt x="113" y="12"/>
                    <a:pt x="113" y="12"/>
                    <a:pt x="112" y="12"/>
                  </a:cubicBezTo>
                  <a:cubicBezTo>
                    <a:pt x="111" y="12"/>
                    <a:pt x="111" y="12"/>
                    <a:pt x="110" y="12"/>
                  </a:cubicBezTo>
                  <a:cubicBezTo>
                    <a:pt x="110" y="12"/>
                    <a:pt x="109" y="12"/>
                    <a:pt x="109" y="12"/>
                  </a:cubicBezTo>
                  <a:cubicBezTo>
                    <a:pt x="106" y="13"/>
                    <a:pt x="102" y="14"/>
                    <a:pt x="99" y="14"/>
                  </a:cubicBezTo>
                  <a:cubicBezTo>
                    <a:pt x="99" y="14"/>
                    <a:pt x="98" y="14"/>
                    <a:pt x="97" y="14"/>
                  </a:cubicBezTo>
                  <a:cubicBezTo>
                    <a:pt x="95" y="14"/>
                    <a:pt x="92" y="14"/>
                    <a:pt x="93" y="13"/>
                  </a:cubicBezTo>
                  <a:cubicBezTo>
                    <a:pt x="94" y="13"/>
                    <a:pt x="94" y="12"/>
                    <a:pt x="93" y="11"/>
                  </a:cubicBezTo>
                  <a:cubicBezTo>
                    <a:pt x="92" y="11"/>
                    <a:pt x="91" y="11"/>
                    <a:pt x="91" y="10"/>
                  </a:cubicBezTo>
                  <a:cubicBezTo>
                    <a:pt x="94" y="10"/>
                    <a:pt x="96" y="9"/>
                    <a:pt x="99" y="9"/>
                  </a:cubicBezTo>
                  <a:cubicBezTo>
                    <a:pt x="102" y="8"/>
                    <a:pt x="104" y="3"/>
                    <a:pt x="101" y="3"/>
                  </a:cubicBezTo>
                  <a:cubicBezTo>
                    <a:pt x="101" y="3"/>
                    <a:pt x="100" y="3"/>
                    <a:pt x="100" y="3"/>
                  </a:cubicBezTo>
                  <a:cubicBezTo>
                    <a:pt x="102" y="2"/>
                    <a:pt x="100" y="2"/>
                    <a:pt x="101" y="1"/>
                  </a:cubicBezTo>
                  <a:cubicBezTo>
                    <a:pt x="101" y="1"/>
                    <a:pt x="101" y="0"/>
                    <a:pt x="102" y="0"/>
                  </a:cubicBezTo>
                  <a:cubicBezTo>
                    <a:pt x="49" y="0"/>
                    <a:pt x="49" y="0"/>
                    <a:pt x="49" y="0"/>
                  </a:cubicBezTo>
                  <a:cubicBezTo>
                    <a:pt x="48" y="0"/>
                    <a:pt x="48" y="1"/>
                    <a:pt x="47" y="1"/>
                  </a:cubicBezTo>
                  <a:cubicBezTo>
                    <a:pt x="46" y="1"/>
                    <a:pt x="45" y="0"/>
                    <a:pt x="44" y="0"/>
                  </a:cubicBezTo>
                  <a:cubicBezTo>
                    <a:pt x="1" y="0"/>
                    <a:pt x="1" y="0"/>
                    <a:pt x="1" y="0"/>
                  </a:cubicBezTo>
                  <a:cubicBezTo>
                    <a:pt x="1" y="0"/>
                    <a:pt x="1" y="0"/>
                    <a:pt x="1" y="0"/>
                  </a:cubicBezTo>
                  <a:cubicBezTo>
                    <a:pt x="1" y="2"/>
                    <a:pt x="1" y="2"/>
                    <a:pt x="1" y="2"/>
                  </a:cubicBezTo>
                  <a:cubicBezTo>
                    <a:pt x="0" y="4"/>
                    <a:pt x="0" y="4"/>
                    <a:pt x="1" y="6"/>
                  </a:cubicBezTo>
                  <a:cubicBezTo>
                    <a:pt x="3" y="7"/>
                    <a:pt x="4" y="9"/>
                    <a:pt x="6" y="9"/>
                  </a:cubicBezTo>
                  <a:cubicBezTo>
                    <a:pt x="7" y="9"/>
                    <a:pt x="7" y="9"/>
                    <a:pt x="7" y="9"/>
                  </a:cubicBezTo>
                  <a:cubicBezTo>
                    <a:pt x="7" y="9"/>
                    <a:pt x="8" y="9"/>
                    <a:pt x="9" y="9"/>
                  </a:cubicBezTo>
                  <a:cubicBezTo>
                    <a:pt x="10" y="9"/>
                    <a:pt x="12" y="9"/>
                    <a:pt x="14" y="10"/>
                  </a:cubicBezTo>
                  <a:cubicBezTo>
                    <a:pt x="16" y="10"/>
                    <a:pt x="17" y="10"/>
                    <a:pt x="19" y="10"/>
                  </a:cubicBezTo>
                  <a:cubicBezTo>
                    <a:pt x="20" y="10"/>
                    <a:pt x="22" y="10"/>
                    <a:pt x="23" y="10"/>
                  </a:cubicBezTo>
                  <a:cubicBezTo>
                    <a:pt x="24" y="9"/>
                    <a:pt x="25" y="8"/>
                    <a:pt x="25" y="8"/>
                  </a:cubicBezTo>
                  <a:cubicBezTo>
                    <a:pt x="26" y="8"/>
                    <a:pt x="26" y="8"/>
                    <a:pt x="27" y="8"/>
                  </a:cubicBezTo>
                  <a:cubicBezTo>
                    <a:pt x="27" y="8"/>
                    <a:pt x="27" y="8"/>
                    <a:pt x="28" y="8"/>
                  </a:cubicBezTo>
                  <a:cubicBezTo>
                    <a:pt x="28" y="8"/>
                    <a:pt x="28" y="8"/>
                    <a:pt x="28" y="8"/>
                  </a:cubicBezTo>
                  <a:cubicBezTo>
                    <a:pt x="31" y="8"/>
                    <a:pt x="33" y="8"/>
                    <a:pt x="36" y="9"/>
                  </a:cubicBezTo>
                  <a:cubicBezTo>
                    <a:pt x="37" y="9"/>
                    <a:pt x="38" y="11"/>
                    <a:pt x="40" y="12"/>
                  </a:cubicBezTo>
                  <a:cubicBezTo>
                    <a:pt x="42" y="12"/>
                    <a:pt x="43" y="13"/>
                    <a:pt x="45" y="13"/>
                  </a:cubicBezTo>
                  <a:cubicBezTo>
                    <a:pt x="49" y="14"/>
                    <a:pt x="52" y="14"/>
                    <a:pt x="56" y="14"/>
                  </a:cubicBezTo>
                  <a:cubicBezTo>
                    <a:pt x="57" y="15"/>
                    <a:pt x="59" y="15"/>
                    <a:pt x="60" y="15"/>
                  </a:cubicBezTo>
                  <a:cubicBezTo>
                    <a:pt x="62" y="15"/>
                    <a:pt x="64" y="14"/>
                    <a:pt x="66" y="14"/>
                  </a:cubicBezTo>
                  <a:cubicBezTo>
                    <a:pt x="70" y="15"/>
                    <a:pt x="74" y="15"/>
                    <a:pt x="78" y="17"/>
                  </a:cubicBezTo>
                  <a:cubicBezTo>
                    <a:pt x="77" y="17"/>
                    <a:pt x="76" y="17"/>
                    <a:pt x="74" y="17"/>
                  </a:cubicBezTo>
                  <a:cubicBezTo>
                    <a:pt x="70" y="17"/>
                    <a:pt x="66" y="16"/>
                    <a:pt x="63" y="16"/>
                  </a:cubicBezTo>
                  <a:cubicBezTo>
                    <a:pt x="61" y="16"/>
                    <a:pt x="60" y="15"/>
                    <a:pt x="59" y="15"/>
                  </a:cubicBezTo>
                  <a:cubicBezTo>
                    <a:pt x="58" y="15"/>
                    <a:pt x="57" y="16"/>
                    <a:pt x="56" y="16"/>
                  </a:cubicBezTo>
                  <a:cubicBezTo>
                    <a:pt x="55" y="16"/>
                    <a:pt x="55" y="16"/>
                    <a:pt x="54" y="16"/>
                  </a:cubicBezTo>
                  <a:cubicBezTo>
                    <a:pt x="53" y="16"/>
                    <a:pt x="52" y="16"/>
                    <a:pt x="52" y="16"/>
                  </a:cubicBezTo>
                  <a:cubicBezTo>
                    <a:pt x="49" y="15"/>
                    <a:pt x="47" y="15"/>
                    <a:pt x="45" y="15"/>
                  </a:cubicBezTo>
                  <a:cubicBezTo>
                    <a:pt x="44" y="15"/>
                    <a:pt x="44" y="15"/>
                    <a:pt x="43" y="15"/>
                  </a:cubicBezTo>
                  <a:cubicBezTo>
                    <a:pt x="40" y="15"/>
                    <a:pt x="30" y="18"/>
                    <a:pt x="31" y="22"/>
                  </a:cubicBezTo>
                  <a:cubicBezTo>
                    <a:pt x="31" y="23"/>
                    <a:pt x="33" y="23"/>
                    <a:pt x="33" y="24"/>
                  </a:cubicBezTo>
                  <a:cubicBezTo>
                    <a:pt x="34" y="25"/>
                    <a:pt x="30" y="26"/>
                    <a:pt x="30" y="28"/>
                  </a:cubicBezTo>
                  <a:cubicBezTo>
                    <a:pt x="30" y="30"/>
                    <a:pt x="34" y="30"/>
                    <a:pt x="36" y="30"/>
                  </a:cubicBezTo>
                  <a:cubicBezTo>
                    <a:pt x="38" y="31"/>
                    <a:pt x="40" y="31"/>
                    <a:pt x="42" y="31"/>
                  </a:cubicBezTo>
                  <a:cubicBezTo>
                    <a:pt x="45" y="31"/>
                    <a:pt x="47" y="31"/>
                    <a:pt x="49" y="30"/>
                  </a:cubicBezTo>
                  <a:cubicBezTo>
                    <a:pt x="56" y="29"/>
                    <a:pt x="64" y="29"/>
                    <a:pt x="71" y="29"/>
                  </a:cubicBezTo>
                  <a:cubicBezTo>
                    <a:pt x="71" y="29"/>
                    <a:pt x="71" y="29"/>
                    <a:pt x="72" y="29"/>
                  </a:cubicBezTo>
                  <a:cubicBezTo>
                    <a:pt x="75" y="29"/>
                    <a:pt x="76" y="31"/>
                    <a:pt x="72" y="31"/>
                  </a:cubicBezTo>
                  <a:cubicBezTo>
                    <a:pt x="68" y="32"/>
                    <a:pt x="64" y="32"/>
                    <a:pt x="60" y="32"/>
                  </a:cubicBezTo>
                  <a:cubicBezTo>
                    <a:pt x="54" y="32"/>
                    <a:pt x="50" y="32"/>
                    <a:pt x="45" y="33"/>
                  </a:cubicBezTo>
                  <a:cubicBezTo>
                    <a:pt x="39" y="34"/>
                    <a:pt x="30" y="33"/>
                    <a:pt x="25" y="36"/>
                  </a:cubicBezTo>
                  <a:cubicBezTo>
                    <a:pt x="23" y="37"/>
                    <a:pt x="22" y="40"/>
                    <a:pt x="20" y="41"/>
                  </a:cubicBezTo>
                  <a:cubicBezTo>
                    <a:pt x="16" y="45"/>
                    <a:pt x="22" y="45"/>
                    <a:pt x="27" y="45"/>
                  </a:cubicBezTo>
                  <a:cubicBezTo>
                    <a:pt x="28" y="45"/>
                    <a:pt x="28" y="45"/>
                    <a:pt x="29" y="45"/>
                  </a:cubicBezTo>
                  <a:cubicBezTo>
                    <a:pt x="29" y="45"/>
                    <a:pt x="29" y="45"/>
                    <a:pt x="30" y="45"/>
                  </a:cubicBezTo>
                  <a:cubicBezTo>
                    <a:pt x="30" y="45"/>
                    <a:pt x="30" y="45"/>
                    <a:pt x="30" y="45"/>
                  </a:cubicBezTo>
                  <a:cubicBezTo>
                    <a:pt x="32" y="45"/>
                    <a:pt x="33" y="45"/>
                    <a:pt x="34" y="45"/>
                  </a:cubicBezTo>
                  <a:cubicBezTo>
                    <a:pt x="38" y="45"/>
                    <a:pt x="42" y="45"/>
                    <a:pt x="47" y="43"/>
                  </a:cubicBezTo>
                  <a:cubicBezTo>
                    <a:pt x="54" y="41"/>
                    <a:pt x="63" y="39"/>
                    <a:pt x="70" y="39"/>
                  </a:cubicBezTo>
                  <a:cubicBezTo>
                    <a:pt x="70" y="39"/>
                    <a:pt x="70" y="39"/>
                    <a:pt x="70" y="39"/>
                  </a:cubicBezTo>
                  <a:cubicBezTo>
                    <a:pt x="68" y="39"/>
                    <a:pt x="66" y="41"/>
                    <a:pt x="64" y="42"/>
                  </a:cubicBezTo>
                  <a:cubicBezTo>
                    <a:pt x="62" y="44"/>
                    <a:pt x="59" y="44"/>
                    <a:pt x="56" y="44"/>
                  </a:cubicBezTo>
                  <a:cubicBezTo>
                    <a:pt x="53" y="45"/>
                    <a:pt x="51" y="47"/>
                    <a:pt x="47" y="47"/>
                  </a:cubicBezTo>
                  <a:cubicBezTo>
                    <a:pt x="37" y="49"/>
                    <a:pt x="27" y="51"/>
                    <a:pt x="16" y="52"/>
                  </a:cubicBezTo>
                  <a:cubicBezTo>
                    <a:pt x="13" y="53"/>
                    <a:pt x="13" y="54"/>
                    <a:pt x="10" y="56"/>
                  </a:cubicBezTo>
                  <a:cubicBezTo>
                    <a:pt x="8" y="58"/>
                    <a:pt x="8" y="59"/>
                    <a:pt x="10" y="61"/>
                  </a:cubicBezTo>
                  <a:cubicBezTo>
                    <a:pt x="13" y="63"/>
                    <a:pt x="19" y="64"/>
                    <a:pt x="23" y="64"/>
                  </a:cubicBezTo>
                  <a:cubicBezTo>
                    <a:pt x="25" y="65"/>
                    <a:pt x="26" y="65"/>
                    <a:pt x="29" y="66"/>
                  </a:cubicBezTo>
                  <a:cubicBezTo>
                    <a:pt x="29" y="66"/>
                    <a:pt x="29" y="66"/>
                    <a:pt x="29" y="66"/>
                  </a:cubicBezTo>
                  <a:cubicBezTo>
                    <a:pt x="31" y="66"/>
                    <a:pt x="32" y="64"/>
                    <a:pt x="34" y="63"/>
                  </a:cubicBezTo>
                  <a:cubicBezTo>
                    <a:pt x="35" y="63"/>
                    <a:pt x="36" y="63"/>
                    <a:pt x="37" y="63"/>
                  </a:cubicBezTo>
                  <a:cubicBezTo>
                    <a:pt x="38" y="63"/>
                    <a:pt x="40" y="62"/>
                    <a:pt x="41" y="62"/>
                  </a:cubicBezTo>
                  <a:cubicBezTo>
                    <a:pt x="41" y="62"/>
                    <a:pt x="42" y="62"/>
                    <a:pt x="42" y="64"/>
                  </a:cubicBezTo>
                  <a:cubicBezTo>
                    <a:pt x="41" y="65"/>
                    <a:pt x="39" y="66"/>
                    <a:pt x="40" y="67"/>
                  </a:cubicBezTo>
                  <a:cubicBezTo>
                    <a:pt x="40" y="67"/>
                    <a:pt x="40" y="67"/>
                    <a:pt x="41" y="67"/>
                  </a:cubicBezTo>
                  <a:cubicBezTo>
                    <a:pt x="42" y="67"/>
                    <a:pt x="43" y="67"/>
                    <a:pt x="43" y="67"/>
                  </a:cubicBezTo>
                  <a:cubicBezTo>
                    <a:pt x="39" y="70"/>
                    <a:pt x="47" y="70"/>
                    <a:pt x="49" y="71"/>
                  </a:cubicBezTo>
                  <a:cubicBezTo>
                    <a:pt x="51" y="72"/>
                    <a:pt x="53" y="73"/>
                    <a:pt x="55" y="73"/>
                  </a:cubicBezTo>
                  <a:cubicBezTo>
                    <a:pt x="56" y="73"/>
                    <a:pt x="57" y="72"/>
                    <a:pt x="57" y="71"/>
                  </a:cubicBezTo>
                  <a:cubicBezTo>
                    <a:pt x="59" y="69"/>
                    <a:pt x="56" y="67"/>
                    <a:pt x="56" y="65"/>
                  </a:cubicBezTo>
                  <a:cubicBezTo>
                    <a:pt x="58" y="65"/>
                    <a:pt x="59" y="66"/>
                    <a:pt x="59" y="66"/>
                  </a:cubicBezTo>
                  <a:cubicBezTo>
                    <a:pt x="60" y="66"/>
                    <a:pt x="61" y="65"/>
                    <a:pt x="63" y="64"/>
                  </a:cubicBezTo>
                  <a:cubicBezTo>
                    <a:pt x="63" y="64"/>
                    <a:pt x="64" y="64"/>
                    <a:pt x="65" y="64"/>
                  </a:cubicBezTo>
                  <a:cubicBezTo>
                    <a:pt x="66" y="64"/>
                    <a:pt x="66" y="65"/>
                    <a:pt x="66" y="66"/>
                  </a:cubicBezTo>
                  <a:cubicBezTo>
                    <a:pt x="66" y="67"/>
                    <a:pt x="65" y="68"/>
                    <a:pt x="65" y="68"/>
                  </a:cubicBezTo>
                  <a:cubicBezTo>
                    <a:pt x="66" y="70"/>
                    <a:pt x="67" y="71"/>
                    <a:pt x="68" y="72"/>
                  </a:cubicBezTo>
                  <a:cubicBezTo>
                    <a:pt x="69" y="73"/>
                    <a:pt x="70" y="73"/>
                    <a:pt x="71" y="73"/>
                  </a:cubicBezTo>
                  <a:cubicBezTo>
                    <a:pt x="72" y="73"/>
                    <a:pt x="72" y="73"/>
                    <a:pt x="74" y="72"/>
                  </a:cubicBezTo>
                  <a:cubicBezTo>
                    <a:pt x="77" y="71"/>
                    <a:pt x="81" y="70"/>
                    <a:pt x="83" y="68"/>
                  </a:cubicBezTo>
                  <a:cubicBezTo>
                    <a:pt x="84" y="67"/>
                    <a:pt x="87" y="65"/>
                    <a:pt x="87" y="63"/>
                  </a:cubicBezTo>
                  <a:cubicBezTo>
                    <a:pt x="87" y="62"/>
                    <a:pt x="82" y="59"/>
                    <a:pt x="82" y="57"/>
                  </a:cubicBezTo>
                  <a:cubicBezTo>
                    <a:pt x="84" y="58"/>
                    <a:pt x="86" y="60"/>
                    <a:pt x="88" y="60"/>
                  </a:cubicBezTo>
                  <a:cubicBezTo>
                    <a:pt x="89" y="60"/>
                    <a:pt x="90" y="60"/>
                    <a:pt x="91" y="58"/>
                  </a:cubicBezTo>
                  <a:cubicBezTo>
                    <a:pt x="93" y="55"/>
                    <a:pt x="91" y="52"/>
                    <a:pt x="92" y="50"/>
                  </a:cubicBezTo>
                  <a:cubicBezTo>
                    <a:pt x="92" y="50"/>
                    <a:pt x="93" y="50"/>
                    <a:pt x="93" y="50"/>
                  </a:cubicBezTo>
                  <a:cubicBezTo>
                    <a:pt x="93" y="50"/>
                    <a:pt x="96" y="54"/>
                    <a:pt x="96" y="54"/>
                  </a:cubicBezTo>
                  <a:cubicBezTo>
                    <a:pt x="96" y="54"/>
                    <a:pt x="96" y="54"/>
                    <a:pt x="97" y="54"/>
                  </a:cubicBezTo>
                  <a:cubicBezTo>
                    <a:pt x="98" y="54"/>
                    <a:pt x="100" y="53"/>
                    <a:pt x="102" y="53"/>
                  </a:cubicBezTo>
                  <a:cubicBezTo>
                    <a:pt x="101" y="54"/>
                    <a:pt x="99" y="55"/>
                    <a:pt x="98" y="57"/>
                  </a:cubicBezTo>
                  <a:cubicBezTo>
                    <a:pt x="97" y="58"/>
                    <a:pt x="97" y="59"/>
                    <a:pt x="97" y="60"/>
                  </a:cubicBezTo>
                  <a:cubicBezTo>
                    <a:pt x="96" y="61"/>
                    <a:pt x="96" y="62"/>
                    <a:pt x="95" y="63"/>
                  </a:cubicBezTo>
                  <a:cubicBezTo>
                    <a:pt x="95" y="63"/>
                    <a:pt x="96" y="64"/>
                    <a:pt x="95" y="65"/>
                  </a:cubicBezTo>
                  <a:cubicBezTo>
                    <a:pt x="95" y="65"/>
                    <a:pt x="95" y="65"/>
                    <a:pt x="95" y="66"/>
                  </a:cubicBezTo>
                  <a:cubicBezTo>
                    <a:pt x="94" y="69"/>
                    <a:pt x="95" y="69"/>
                    <a:pt x="98" y="69"/>
                  </a:cubicBezTo>
                  <a:cubicBezTo>
                    <a:pt x="98" y="69"/>
                    <a:pt x="98" y="69"/>
                    <a:pt x="99" y="69"/>
                  </a:cubicBezTo>
                  <a:cubicBezTo>
                    <a:pt x="100" y="69"/>
                    <a:pt x="102" y="69"/>
                    <a:pt x="103" y="68"/>
                  </a:cubicBezTo>
                  <a:cubicBezTo>
                    <a:pt x="107" y="67"/>
                    <a:pt x="123" y="69"/>
                    <a:pt x="124" y="64"/>
                  </a:cubicBezTo>
                  <a:cubicBezTo>
                    <a:pt x="124" y="63"/>
                    <a:pt x="124" y="59"/>
                    <a:pt x="125" y="59"/>
                  </a:cubicBezTo>
                  <a:cubicBezTo>
                    <a:pt x="125" y="59"/>
                    <a:pt x="125" y="59"/>
                    <a:pt x="126" y="59"/>
                  </a:cubicBezTo>
                  <a:cubicBezTo>
                    <a:pt x="126" y="60"/>
                    <a:pt x="125" y="62"/>
                    <a:pt x="125" y="62"/>
                  </a:cubicBezTo>
                  <a:cubicBezTo>
                    <a:pt x="126" y="62"/>
                    <a:pt x="126" y="62"/>
                    <a:pt x="126" y="62"/>
                  </a:cubicBezTo>
                  <a:cubicBezTo>
                    <a:pt x="127" y="62"/>
                    <a:pt x="128" y="62"/>
                    <a:pt x="129" y="61"/>
                  </a:cubicBezTo>
                  <a:cubicBezTo>
                    <a:pt x="130" y="61"/>
                    <a:pt x="130" y="61"/>
                    <a:pt x="131" y="61"/>
                  </a:cubicBezTo>
                  <a:cubicBezTo>
                    <a:pt x="132" y="61"/>
                    <a:pt x="132" y="61"/>
                    <a:pt x="132" y="62"/>
                  </a:cubicBezTo>
                  <a:cubicBezTo>
                    <a:pt x="131" y="64"/>
                    <a:pt x="128" y="64"/>
                    <a:pt x="131" y="66"/>
                  </a:cubicBezTo>
                  <a:cubicBezTo>
                    <a:pt x="131" y="66"/>
                    <a:pt x="131" y="66"/>
                    <a:pt x="131" y="66"/>
                  </a:cubicBezTo>
                  <a:cubicBezTo>
                    <a:pt x="132" y="66"/>
                    <a:pt x="132" y="66"/>
                    <a:pt x="133" y="66"/>
                  </a:cubicBezTo>
                  <a:cubicBezTo>
                    <a:pt x="133" y="66"/>
                    <a:pt x="134" y="66"/>
                    <a:pt x="134" y="66"/>
                  </a:cubicBezTo>
                  <a:cubicBezTo>
                    <a:pt x="134" y="66"/>
                    <a:pt x="134" y="66"/>
                    <a:pt x="134" y="66"/>
                  </a:cubicBezTo>
                  <a:cubicBezTo>
                    <a:pt x="134" y="66"/>
                    <a:pt x="134" y="66"/>
                    <a:pt x="134" y="66"/>
                  </a:cubicBezTo>
                  <a:cubicBezTo>
                    <a:pt x="135" y="66"/>
                    <a:pt x="136" y="65"/>
                    <a:pt x="137" y="65"/>
                  </a:cubicBezTo>
                  <a:cubicBezTo>
                    <a:pt x="138" y="65"/>
                    <a:pt x="139" y="65"/>
                    <a:pt x="140" y="65"/>
                  </a:cubicBezTo>
                  <a:cubicBezTo>
                    <a:pt x="140" y="65"/>
                    <a:pt x="140" y="65"/>
                    <a:pt x="141" y="65"/>
                  </a:cubicBezTo>
                  <a:cubicBezTo>
                    <a:pt x="141" y="65"/>
                    <a:pt x="141" y="65"/>
                    <a:pt x="141" y="65"/>
                  </a:cubicBezTo>
                  <a:cubicBezTo>
                    <a:pt x="143" y="65"/>
                    <a:pt x="144" y="63"/>
                    <a:pt x="146" y="63"/>
                  </a:cubicBezTo>
                  <a:cubicBezTo>
                    <a:pt x="146" y="63"/>
                    <a:pt x="146" y="63"/>
                    <a:pt x="146" y="63"/>
                  </a:cubicBezTo>
                  <a:cubicBezTo>
                    <a:pt x="147" y="63"/>
                    <a:pt x="147" y="64"/>
                    <a:pt x="148" y="64"/>
                  </a:cubicBezTo>
                  <a:cubicBezTo>
                    <a:pt x="148" y="64"/>
                    <a:pt x="148" y="64"/>
                    <a:pt x="148" y="64"/>
                  </a:cubicBezTo>
                  <a:cubicBezTo>
                    <a:pt x="150" y="64"/>
                    <a:pt x="152" y="63"/>
                    <a:pt x="154" y="62"/>
                  </a:cubicBezTo>
                  <a:cubicBezTo>
                    <a:pt x="155" y="61"/>
                    <a:pt x="157" y="59"/>
                    <a:pt x="159" y="59"/>
                  </a:cubicBezTo>
                  <a:cubicBezTo>
                    <a:pt x="159" y="59"/>
                    <a:pt x="159" y="59"/>
                    <a:pt x="159" y="59"/>
                  </a:cubicBezTo>
                  <a:cubicBezTo>
                    <a:pt x="156" y="66"/>
                    <a:pt x="151" y="72"/>
                    <a:pt x="144" y="72"/>
                  </a:cubicBezTo>
                  <a:cubicBezTo>
                    <a:pt x="143" y="72"/>
                    <a:pt x="143" y="72"/>
                    <a:pt x="142" y="72"/>
                  </a:cubicBezTo>
                  <a:cubicBezTo>
                    <a:pt x="141" y="71"/>
                    <a:pt x="140" y="71"/>
                    <a:pt x="138" y="71"/>
                  </a:cubicBezTo>
                  <a:cubicBezTo>
                    <a:pt x="135" y="71"/>
                    <a:pt x="131" y="72"/>
                    <a:pt x="127" y="73"/>
                  </a:cubicBezTo>
                  <a:cubicBezTo>
                    <a:pt x="118" y="76"/>
                    <a:pt x="109" y="78"/>
                    <a:pt x="100" y="81"/>
                  </a:cubicBezTo>
                  <a:cubicBezTo>
                    <a:pt x="96" y="82"/>
                    <a:pt x="92" y="83"/>
                    <a:pt x="88" y="84"/>
                  </a:cubicBezTo>
                  <a:cubicBezTo>
                    <a:pt x="87" y="84"/>
                    <a:pt x="84" y="85"/>
                    <a:pt x="84" y="85"/>
                  </a:cubicBezTo>
                  <a:cubicBezTo>
                    <a:pt x="81" y="90"/>
                    <a:pt x="102" y="97"/>
                    <a:pt x="106" y="98"/>
                  </a:cubicBezTo>
                  <a:cubicBezTo>
                    <a:pt x="108" y="99"/>
                    <a:pt x="111" y="99"/>
                    <a:pt x="114" y="99"/>
                  </a:cubicBezTo>
                  <a:cubicBezTo>
                    <a:pt x="118" y="99"/>
                    <a:pt x="121" y="98"/>
                    <a:pt x="125" y="97"/>
                  </a:cubicBezTo>
                  <a:cubicBezTo>
                    <a:pt x="143" y="92"/>
                    <a:pt x="160" y="87"/>
                    <a:pt x="178" y="81"/>
                  </a:cubicBezTo>
                  <a:cubicBezTo>
                    <a:pt x="190" y="78"/>
                    <a:pt x="201" y="73"/>
                    <a:pt x="213" y="69"/>
                  </a:cubicBezTo>
                  <a:cubicBezTo>
                    <a:pt x="213" y="68"/>
                    <a:pt x="214" y="68"/>
                    <a:pt x="214" y="68"/>
                  </a:cubicBezTo>
                  <a:cubicBezTo>
                    <a:pt x="216" y="68"/>
                    <a:pt x="217" y="69"/>
                    <a:pt x="218" y="70"/>
                  </a:cubicBezTo>
                  <a:cubicBezTo>
                    <a:pt x="223" y="72"/>
                    <a:pt x="228" y="74"/>
                    <a:pt x="234" y="74"/>
                  </a:cubicBezTo>
                  <a:cubicBezTo>
                    <a:pt x="233" y="74"/>
                    <a:pt x="233" y="74"/>
                    <a:pt x="233" y="74"/>
                  </a:cubicBezTo>
                  <a:cubicBezTo>
                    <a:pt x="234" y="73"/>
                    <a:pt x="235" y="72"/>
                    <a:pt x="236" y="71"/>
                  </a:cubicBezTo>
                  <a:cubicBezTo>
                    <a:pt x="236" y="70"/>
                    <a:pt x="237" y="68"/>
                    <a:pt x="239" y="68"/>
                  </a:cubicBezTo>
                  <a:cubicBezTo>
                    <a:pt x="239" y="68"/>
                    <a:pt x="239" y="68"/>
                    <a:pt x="239" y="68"/>
                  </a:cubicBezTo>
                  <a:cubicBezTo>
                    <a:pt x="240" y="68"/>
                    <a:pt x="240" y="68"/>
                    <a:pt x="240" y="68"/>
                  </a:cubicBezTo>
                  <a:cubicBezTo>
                    <a:pt x="240" y="68"/>
                    <a:pt x="240" y="68"/>
                    <a:pt x="240" y="68"/>
                  </a:cubicBezTo>
                  <a:cubicBezTo>
                    <a:pt x="245" y="68"/>
                    <a:pt x="251" y="69"/>
                    <a:pt x="255" y="69"/>
                  </a:cubicBezTo>
                  <a:cubicBezTo>
                    <a:pt x="263" y="69"/>
                    <a:pt x="271" y="69"/>
                    <a:pt x="278" y="69"/>
                  </a:cubicBezTo>
                  <a:cubicBezTo>
                    <a:pt x="278" y="69"/>
                    <a:pt x="278" y="69"/>
                    <a:pt x="278" y="69"/>
                  </a:cubicBezTo>
                  <a:cubicBezTo>
                    <a:pt x="281" y="69"/>
                    <a:pt x="276" y="67"/>
                    <a:pt x="279" y="66"/>
                  </a:cubicBezTo>
                  <a:cubicBezTo>
                    <a:pt x="280" y="66"/>
                    <a:pt x="283" y="65"/>
                    <a:pt x="283" y="63"/>
                  </a:cubicBezTo>
                  <a:cubicBezTo>
                    <a:pt x="283" y="62"/>
                    <a:pt x="281" y="63"/>
                    <a:pt x="281" y="62"/>
                  </a:cubicBezTo>
                  <a:cubicBezTo>
                    <a:pt x="280" y="59"/>
                    <a:pt x="284" y="58"/>
                    <a:pt x="285" y="57"/>
                  </a:cubicBezTo>
                  <a:cubicBezTo>
                    <a:pt x="286" y="57"/>
                    <a:pt x="286" y="56"/>
                    <a:pt x="287" y="55"/>
                  </a:cubicBezTo>
                  <a:cubicBezTo>
                    <a:pt x="289" y="54"/>
                    <a:pt x="286" y="53"/>
                    <a:pt x="286" y="53"/>
                  </a:cubicBezTo>
                  <a:cubicBezTo>
                    <a:pt x="287" y="50"/>
                    <a:pt x="291" y="50"/>
                    <a:pt x="286" y="49"/>
                  </a:cubicBezTo>
                  <a:cubicBezTo>
                    <a:pt x="287" y="47"/>
                    <a:pt x="289" y="45"/>
                    <a:pt x="291" y="43"/>
                  </a:cubicBezTo>
                  <a:cubicBezTo>
                    <a:pt x="294" y="40"/>
                    <a:pt x="293" y="38"/>
                    <a:pt x="292" y="34"/>
                  </a:cubicBezTo>
                  <a:cubicBezTo>
                    <a:pt x="292" y="31"/>
                    <a:pt x="290" y="29"/>
                    <a:pt x="288" y="27"/>
                  </a:cubicBezTo>
                  <a:cubicBezTo>
                    <a:pt x="284" y="25"/>
                    <a:pt x="280" y="24"/>
                    <a:pt x="276" y="23"/>
                  </a:cubicBezTo>
                  <a:cubicBezTo>
                    <a:pt x="274" y="22"/>
                    <a:pt x="271" y="22"/>
                    <a:pt x="268" y="22"/>
                  </a:cubicBezTo>
                  <a:cubicBezTo>
                    <a:pt x="266" y="22"/>
                    <a:pt x="265" y="22"/>
                    <a:pt x="263" y="23"/>
                  </a:cubicBezTo>
                  <a:cubicBezTo>
                    <a:pt x="261" y="26"/>
                    <a:pt x="259" y="26"/>
                    <a:pt x="259" y="29"/>
                  </a:cubicBezTo>
                  <a:cubicBezTo>
                    <a:pt x="258" y="33"/>
                    <a:pt x="261" y="32"/>
                    <a:pt x="264" y="34"/>
                  </a:cubicBezTo>
                  <a:cubicBezTo>
                    <a:pt x="264" y="34"/>
                    <a:pt x="263" y="34"/>
                    <a:pt x="263" y="34"/>
                  </a:cubicBezTo>
                  <a:cubicBezTo>
                    <a:pt x="259" y="34"/>
                    <a:pt x="259" y="37"/>
                    <a:pt x="259" y="41"/>
                  </a:cubicBezTo>
                  <a:cubicBezTo>
                    <a:pt x="258" y="41"/>
                    <a:pt x="257" y="39"/>
                    <a:pt x="257" y="38"/>
                  </a:cubicBezTo>
                  <a:cubicBezTo>
                    <a:pt x="257" y="36"/>
                    <a:pt x="256" y="35"/>
                    <a:pt x="256" y="34"/>
                  </a:cubicBezTo>
                  <a:cubicBezTo>
                    <a:pt x="255" y="32"/>
                    <a:pt x="256" y="31"/>
                    <a:pt x="254" y="30"/>
                  </a:cubicBezTo>
                  <a:cubicBezTo>
                    <a:pt x="254" y="29"/>
                    <a:pt x="251" y="29"/>
                    <a:pt x="251" y="29"/>
                  </a:cubicBezTo>
                  <a:cubicBezTo>
                    <a:pt x="250" y="29"/>
                    <a:pt x="250" y="29"/>
                    <a:pt x="250" y="29"/>
                  </a:cubicBezTo>
                  <a:cubicBezTo>
                    <a:pt x="249" y="29"/>
                    <a:pt x="248" y="29"/>
                    <a:pt x="247" y="29"/>
                  </a:cubicBezTo>
                  <a:cubicBezTo>
                    <a:pt x="247" y="29"/>
                    <a:pt x="246" y="29"/>
                    <a:pt x="245" y="29"/>
                  </a:cubicBezTo>
                  <a:cubicBezTo>
                    <a:pt x="245" y="29"/>
                    <a:pt x="244" y="29"/>
                    <a:pt x="244" y="29"/>
                  </a:cubicBezTo>
                  <a:cubicBezTo>
                    <a:pt x="241" y="29"/>
                    <a:pt x="242" y="25"/>
                    <a:pt x="240" y="23"/>
                  </a:cubicBezTo>
                  <a:cubicBezTo>
                    <a:pt x="238" y="22"/>
                    <a:pt x="236" y="21"/>
                    <a:pt x="234" y="21"/>
                  </a:cubicBezTo>
                  <a:cubicBezTo>
                    <a:pt x="234" y="21"/>
                    <a:pt x="233" y="21"/>
                    <a:pt x="233" y="21"/>
                  </a:cubicBezTo>
                  <a:cubicBezTo>
                    <a:pt x="232" y="22"/>
                    <a:pt x="231" y="22"/>
                    <a:pt x="230" y="22"/>
                  </a:cubicBezTo>
                  <a:cubicBezTo>
                    <a:pt x="230" y="22"/>
                    <a:pt x="230" y="22"/>
                    <a:pt x="230" y="22"/>
                  </a:cubicBezTo>
                  <a:cubicBezTo>
                    <a:pt x="228" y="22"/>
                    <a:pt x="229" y="19"/>
                    <a:pt x="229" y="17"/>
                  </a:cubicBezTo>
                  <a:cubicBezTo>
                    <a:pt x="230" y="16"/>
                    <a:pt x="232" y="11"/>
                    <a:pt x="230" y="10"/>
                  </a:cubicBezTo>
                  <a:cubicBezTo>
                    <a:pt x="229" y="10"/>
                    <a:pt x="228" y="8"/>
                    <a:pt x="228" y="8"/>
                  </a:cubicBezTo>
                  <a:cubicBezTo>
                    <a:pt x="226" y="6"/>
                    <a:pt x="223" y="6"/>
                    <a:pt x="222" y="5"/>
                  </a:cubicBezTo>
                  <a:cubicBezTo>
                    <a:pt x="221" y="4"/>
                    <a:pt x="221" y="2"/>
                    <a:pt x="2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20"/>
            <p:cNvSpPr/>
            <p:nvPr/>
          </p:nvSpPr>
          <p:spPr bwMode="auto">
            <a:xfrm>
              <a:off x="5516554" y="670747"/>
              <a:ext cx="171450" cy="109538"/>
            </a:xfrm>
            <a:custGeom>
              <a:gdLst>
                <a:gd name="T0" fmla="*/ 42 w 46"/>
                <a:gd name="T1" fmla="*/ 0 h 29"/>
                <a:gd name="T2" fmla="*/ 35 w 46"/>
                <a:gd name="T3" fmla="*/ 3 h 29"/>
                <a:gd name="T4" fmla="*/ 32 w 46"/>
                <a:gd name="T5" fmla="*/ 4 h 29"/>
                <a:gd name="T6" fmla="*/ 31 w 46"/>
                <a:gd name="T7" fmla="*/ 6 h 29"/>
                <a:gd name="T8" fmla="*/ 25 w 46"/>
                <a:gd name="T9" fmla="*/ 7 h 29"/>
                <a:gd name="T10" fmla="*/ 13 w 46"/>
                <a:gd name="T11" fmla="*/ 14 h 29"/>
                <a:gd name="T12" fmla="*/ 4 w 46"/>
                <a:gd name="T13" fmla="*/ 21 h 29"/>
                <a:gd name="T14" fmla="*/ 8 w 46"/>
                <a:gd name="T15" fmla="*/ 26 h 29"/>
                <a:gd name="T16" fmla="*/ 13 w 46"/>
                <a:gd name="T17" fmla="*/ 28 h 29"/>
                <a:gd name="T18" fmla="*/ 14 w 46"/>
                <a:gd name="T19" fmla="*/ 28 h 29"/>
                <a:gd name="T20" fmla="*/ 19 w 46"/>
                <a:gd name="T21" fmla="*/ 29 h 29"/>
                <a:gd name="T22" fmla="*/ 19 w 46"/>
                <a:gd name="T23" fmla="*/ 29 h 29"/>
                <a:gd name="T24" fmla="*/ 31 w 46"/>
                <a:gd name="T25" fmla="*/ 21 h 29"/>
                <a:gd name="T26" fmla="*/ 42 w 46"/>
                <a:gd name="T27" fmla="*/ 9 h 29"/>
                <a:gd name="T28" fmla="*/ 43 w 46"/>
                <a:gd name="T29" fmla="*/ 0 h 29"/>
                <a:gd name="T30" fmla="*/ 42 w 46"/>
                <a:gd name="T31"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8">
                  <a:moveTo>
                    <a:pt x="42" y="0"/>
                  </a:moveTo>
                  <a:cubicBezTo>
                    <a:pt x="39" y="0"/>
                    <a:pt x="38" y="2"/>
                    <a:pt x="35" y="3"/>
                  </a:cubicBezTo>
                  <a:cubicBezTo>
                    <a:pt x="34" y="4"/>
                    <a:pt x="33" y="3"/>
                    <a:pt x="32" y="4"/>
                  </a:cubicBezTo>
                  <a:cubicBezTo>
                    <a:pt x="31" y="4"/>
                    <a:pt x="31" y="6"/>
                    <a:pt x="31" y="6"/>
                  </a:cubicBezTo>
                  <a:cubicBezTo>
                    <a:pt x="29" y="7"/>
                    <a:pt x="27" y="7"/>
                    <a:pt x="25" y="7"/>
                  </a:cubicBezTo>
                  <a:cubicBezTo>
                    <a:pt x="20" y="8"/>
                    <a:pt x="17" y="11"/>
                    <a:pt x="13" y="14"/>
                  </a:cubicBezTo>
                  <a:cubicBezTo>
                    <a:pt x="10" y="17"/>
                    <a:pt x="7" y="19"/>
                    <a:pt x="4" y="21"/>
                  </a:cubicBezTo>
                  <a:cubicBezTo>
                    <a:pt x="0" y="25"/>
                    <a:pt x="5" y="25"/>
                    <a:pt x="8" y="26"/>
                  </a:cubicBezTo>
                  <a:cubicBezTo>
                    <a:pt x="10" y="26"/>
                    <a:pt x="14" y="26"/>
                    <a:pt x="13" y="28"/>
                  </a:cubicBezTo>
                  <a:cubicBezTo>
                    <a:pt x="13" y="28"/>
                    <a:pt x="13" y="28"/>
                    <a:pt x="14" y="28"/>
                  </a:cubicBezTo>
                  <a:cubicBezTo>
                    <a:pt x="16" y="28"/>
                    <a:pt x="17" y="29"/>
                    <a:pt x="19" y="29"/>
                  </a:cubicBezTo>
                  <a:cubicBezTo>
                    <a:pt x="19" y="29"/>
                    <a:pt x="19" y="29"/>
                    <a:pt x="19" y="29"/>
                  </a:cubicBezTo>
                  <a:cubicBezTo>
                    <a:pt x="24" y="29"/>
                    <a:pt x="28" y="24"/>
                    <a:pt x="31" y="21"/>
                  </a:cubicBezTo>
                  <a:cubicBezTo>
                    <a:pt x="35" y="17"/>
                    <a:pt x="38" y="13"/>
                    <a:pt x="42" y="9"/>
                  </a:cubicBezTo>
                  <a:cubicBezTo>
                    <a:pt x="45" y="5"/>
                    <a:pt x="46" y="4"/>
                    <a:pt x="43" y="0"/>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21"/>
            <p:cNvSpPr/>
            <p:nvPr/>
          </p:nvSpPr>
          <p:spPr bwMode="auto">
            <a:xfrm>
              <a:off x="8991591" y="1786759"/>
              <a:ext cx="123825" cy="85725"/>
            </a:xfrm>
            <a:custGeom>
              <a:gdLst>
                <a:gd name="T0" fmla="*/ 25 w 33"/>
                <a:gd name="T1" fmla="*/ 0 h 23"/>
                <a:gd name="T2" fmla="*/ 9 w 33"/>
                <a:gd name="T3" fmla="*/ 16 h 23"/>
                <a:gd name="T4" fmla="*/ 6 w 33"/>
                <a:gd name="T5" fmla="*/ 23 h 23"/>
                <a:gd name="T6" fmla="*/ 6 w 33"/>
                <a:gd name="T7" fmla="*/ 23 h 23"/>
                <a:gd name="T8" fmla="*/ 13 w 33"/>
                <a:gd name="T9" fmla="*/ 20 h 23"/>
                <a:gd name="T10" fmla="*/ 19 w 33"/>
                <a:gd name="T11" fmla="*/ 17 h 23"/>
                <a:gd name="T12" fmla="*/ 20 w 33"/>
                <a:gd name="T13" fmla="*/ 15 h 23"/>
                <a:gd name="T14" fmla="*/ 23 w 33"/>
                <a:gd name="T15" fmla="*/ 12 h 23"/>
                <a:gd name="T16" fmla="*/ 25 w 33"/>
                <a:gd name="T17" fmla="*/ 8 h 23"/>
                <a:gd name="T18" fmla="*/ 25 w 33"/>
                <a:gd name="T19" fmla="*/ 7 h 23"/>
                <a:gd name="T20" fmla="*/ 25 w 33"/>
                <a:gd name="T21" fmla="*/ 7 h 23"/>
                <a:gd name="T22" fmla="*/ 26 w 33"/>
                <a:gd name="T23" fmla="*/ 7 h 23"/>
                <a:gd name="T24" fmla="*/ 27 w 33"/>
                <a:gd name="T25" fmla="*/ 7 h 23"/>
                <a:gd name="T26" fmla="*/ 27 w 33"/>
                <a:gd name="T27" fmla="*/ 7 h 23"/>
                <a:gd name="T28" fmla="*/ 30 w 33"/>
                <a:gd name="T29" fmla="*/ 5 h 23"/>
                <a:gd name="T30" fmla="*/ 25 w 33"/>
                <a:gd name="T31"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23">
                  <a:moveTo>
                    <a:pt x="25" y="0"/>
                  </a:moveTo>
                  <a:cubicBezTo>
                    <a:pt x="20" y="5"/>
                    <a:pt x="14" y="10"/>
                    <a:pt x="9" y="16"/>
                  </a:cubicBezTo>
                  <a:cubicBezTo>
                    <a:pt x="7" y="17"/>
                    <a:pt x="0" y="22"/>
                    <a:pt x="6" y="23"/>
                  </a:cubicBezTo>
                  <a:cubicBezTo>
                    <a:pt x="6" y="23"/>
                    <a:pt x="6" y="23"/>
                    <a:pt x="6" y="23"/>
                  </a:cubicBezTo>
                  <a:cubicBezTo>
                    <a:pt x="8" y="23"/>
                    <a:pt x="11" y="21"/>
                    <a:pt x="13" y="20"/>
                  </a:cubicBezTo>
                  <a:cubicBezTo>
                    <a:pt x="15" y="20"/>
                    <a:pt x="17" y="19"/>
                    <a:pt x="19" y="17"/>
                  </a:cubicBezTo>
                  <a:cubicBezTo>
                    <a:pt x="19" y="16"/>
                    <a:pt x="19" y="16"/>
                    <a:pt x="20" y="15"/>
                  </a:cubicBezTo>
                  <a:cubicBezTo>
                    <a:pt x="21" y="14"/>
                    <a:pt x="22" y="13"/>
                    <a:pt x="23" y="12"/>
                  </a:cubicBezTo>
                  <a:cubicBezTo>
                    <a:pt x="24" y="11"/>
                    <a:pt x="24" y="9"/>
                    <a:pt x="25" y="8"/>
                  </a:cubicBezTo>
                  <a:cubicBezTo>
                    <a:pt x="25" y="8"/>
                    <a:pt x="25" y="7"/>
                    <a:pt x="25" y="7"/>
                  </a:cubicBezTo>
                  <a:cubicBezTo>
                    <a:pt x="25" y="7"/>
                    <a:pt x="25" y="7"/>
                    <a:pt x="25" y="7"/>
                  </a:cubicBezTo>
                  <a:cubicBezTo>
                    <a:pt x="25" y="7"/>
                    <a:pt x="26" y="7"/>
                    <a:pt x="26" y="7"/>
                  </a:cubicBezTo>
                  <a:cubicBezTo>
                    <a:pt x="26" y="7"/>
                    <a:pt x="27" y="7"/>
                    <a:pt x="27" y="7"/>
                  </a:cubicBezTo>
                  <a:cubicBezTo>
                    <a:pt x="27" y="7"/>
                    <a:pt x="27" y="7"/>
                    <a:pt x="27" y="7"/>
                  </a:cubicBezTo>
                  <a:cubicBezTo>
                    <a:pt x="28" y="7"/>
                    <a:pt x="29" y="6"/>
                    <a:pt x="30" y="5"/>
                  </a:cubicBezTo>
                  <a:cubicBezTo>
                    <a:pt x="33" y="2"/>
                    <a:pt x="27"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22"/>
            <p:cNvSpPr/>
            <p:nvPr/>
          </p:nvSpPr>
          <p:spPr bwMode="auto">
            <a:xfrm>
              <a:off x="7505691" y="756472"/>
              <a:ext cx="280988" cy="177800"/>
            </a:xfrm>
            <a:custGeom>
              <a:gdLst>
                <a:gd name="T0" fmla="*/ 40 w 75"/>
                <a:gd name="T1" fmla="*/ 0 h 47"/>
                <a:gd name="T2" fmla="*/ 22 w 75"/>
                <a:gd name="T3" fmla="*/ 6 h 47"/>
                <a:gd name="T4" fmla="*/ 10 w 75"/>
                <a:gd name="T5" fmla="*/ 12 h 47"/>
                <a:gd name="T6" fmla="*/ 14 w 75"/>
                <a:gd name="T7" fmla="*/ 11 h 47"/>
                <a:gd name="T8" fmla="*/ 15 w 75"/>
                <a:gd name="T9" fmla="*/ 11 h 47"/>
                <a:gd name="T10" fmla="*/ 3 w 75"/>
                <a:gd name="T11" fmla="*/ 21 h 47"/>
                <a:gd name="T12" fmla="*/ 0 w 75"/>
                <a:gd name="T13" fmla="*/ 30 h 47"/>
                <a:gd name="T14" fmla="*/ 2 w 75"/>
                <a:gd name="T15" fmla="*/ 30 h 47"/>
                <a:gd name="T16" fmla="*/ 6 w 75"/>
                <a:gd name="T17" fmla="*/ 34 h 47"/>
                <a:gd name="T18" fmla="*/ 8 w 75"/>
                <a:gd name="T19" fmla="*/ 34 h 47"/>
                <a:gd name="T20" fmla="*/ 11 w 75"/>
                <a:gd name="T21" fmla="*/ 31 h 47"/>
                <a:gd name="T22" fmla="*/ 20 w 75"/>
                <a:gd name="T23" fmla="*/ 38 h 47"/>
                <a:gd name="T24" fmla="*/ 20 w 75"/>
                <a:gd name="T25" fmla="*/ 38 h 47"/>
                <a:gd name="T26" fmla="*/ 21 w 75"/>
                <a:gd name="T27" fmla="*/ 38 h 47"/>
                <a:gd name="T28" fmla="*/ 21 w 75"/>
                <a:gd name="T29" fmla="*/ 38 h 47"/>
                <a:gd name="T30" fmla="*/ 22 w 75"/>
                <a:gd name="T31" fmla="*/ 38 h 47"/>
                <a:gd name="T32" fmla="*/ 24 w 75"/>
                <a:gd name="T33" fmla="*/ 40 h 47"/>
                <a:gd name="T34" fmla="*/ 26 w 75"/>
                <a:gd name="T35" fmla="*/ 41 h 47"/>
                <a:gd name="T36" fmla="*/ 26 w 75"/>
                <a:gd name="T37" fmla="*/ 40 h 47"/>
                <a:gd name="T38" fmla="*/ 27 w 75"/>
                <a:gd name="T39" fmla="*/ 40 h 47"/>
                <a:gd name="T40" fmla="*/ 29 w 75"/>
                <a:gd name="T41" fmla="*/ 40 h 47"/>
                <a:gd name="T42" fmla="*/ 31 w 75"/>
                <a:gd name="T43" fmla="*/ 39 h 47"/>
                <a:gd name="T44" fmla="*/ 32 w 75"/>
                <a:gd name="T45" fmla="*/ 39 h 47"/>
                <a:gd name="T46" fmla="*/ 39 w 75"/>
                <a:gd name="T47" fmla="*/ 45 h 47"/>
                <a:gd name="T48" fmla="*/ 39 w 75"/>
                <a:gd name="T49" fmla="*/ 45 h 47"/>
                <a:gd name="T50" fmla="*/ 40 w 75"/>
                <a:gd name="T51" fmla="*/ 45 h 47"/>
                <a:gd name="T52" fmla="*/ 41 w 75"/>
                <a:gd name="T53" fmla="*/ 45 h 47"/>
                <a:gd name="T54" fmla="*/ 42 w 75"/>
                <a:gd name="T55" fmla="*/ 45 h 47"/>
                <a:gd name="T56" fmla="*/ 45 w 75"/>
                <a:gd name="T57" fmla="*/ 47 h 47"/>
                <a:gd name="T58" fmla="*/ 47 w 75"/>
                <a:gd name="T59" fmla="*/ 47 h 47"/>
                <a:gd name="T60" fmla="*/ 51 w 75"/>
                <a:gd name="T61" fmla="*/ 46 h 47"/>
                <a:gd name="T62" fmla="*/ 55 w 75"/>
                <a:gd name="T63" fmla="*/ 46 h 47"/>
                <a:gd name="T64" fmla="*/ 59 w 75"/>
                <a:gd name="T65" fmla="*/ 46 h 47"/>
                <a:gd name="T66" fmla="*/ 62 w 75"/>
                <a:gd name="T67" fmla="*/ 46 h 47"/>
                <a:gd name="T68" fmla="*/ 74 w 75"/>
                <a:gd name="T69" fmla="*/ 37 h 47"/>
                <a:gd name="T70" fmla="*/ 74 w 75"/>
                <a:gd name="T71" fmla="*/ 30 h 47"/>
                <a:gd name="T72" fmla="*/ 70 w 75"/>
                <a:gd name="T73" fmla="*/ 28 h 47"/>
                <a:gd name="T74" fmla="*/ 73 w 75"/>
                <a:gd name="T75" fmla="*/ 24 h 47"/>
                <a:gd name="T76" fmla="*/ 72 w 75"/>
                <a:gd name="T77" fmla="*/ 18 h 47"/>
                <a:gd name="T78" fmla="*/ 70 w 75"/>
                <a:gd name="T79" fmla="*/ 16 h 47"/>
                <a:gd name="T80" fmla="*/ 68 w 75"/>
                <a:gd name="T81" fmla="*/ 13 h 47"/>
                <a:gd name="T82" fmla="*/ 65 w 75"/>
                <a:gd name="T83" fmla="*/ 12 h 47"/>
                <a:gd name="T84" fmla="*/ 54 w 75"/>
                <a:gd name="T85" fmla="*/ 3 h 47"/>
                <a:gd name="T86" fmla="*/ 40 w 75"/>
                <a:gd name="T87"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47">
                  <a:moveTo>
                    <a:pt x="40" y="0"/>
                  </a:moveTo>
                  <a:cubicBezTo>
                    <a:pt x="34" y="2"/>
                    <a:pt x="28" y="4"/>
                    <a:pt x="22" y="6"/>
                  </a:cubicBezTo>
                  <a:cubicBezTo>
                    <a:pt x="20" y="7"/>
                    <a:pt x="11" y="9"/>
                    <a:pt x="10" y="12"/>
                  </a:cubicBezTo>
                  <a:cubicBezTo>
                    <a:pt x="12" y="12"/>
                    <a:pt x="13" y="11"/>
                    <a:pt x="14" y="11"/>
                  </a:cubicBezTo>
                  <a:cubicBezTo>
                    <a:pt x="14" y="11"/>
                    <a:pt x="15" y="11"/>
                    <a:pt x="15" y="11"/>
                  </a:cubicBezTo>
                  <a:cubicBezTo>
                    <a:pt x="12" y="15"/>
                    <a:pt x="6" y="17"/>
                    <a:pt x="3" y="21"/>
                  </a:cubicBezTo>
                  <a:cubicBezTo>
                    <a:pt x="2" y="23"/>
                    <a:pt x="1" y="28"/>
                    <a:pt x="0" y="30"/>
                  </a:cubicBezTo>
                  <a:cubicBezTo>
                    <a:pt x="1" y="30"/>
                    <a:pt x="2" y="30"/>
                    <a:pt x="2" y="30"/>
                  </a:cubicBezTo>
                  <a:cubicBezTo>
                    <a:pt x="4" y="30"/>
                    <a:pt x="4" y="33"/>
                    <a:pt x="6" y="34"/>
                  </a:cubicBezTo>
                  <a:cubicBezTo>
                    <a:pt x="7" y="34"/>
                    <a:pt x="7" y="34"/>
                    <a:pt x="8" y="34"/>
                  </a:cubicBezTo>
                  <a:cubicBezTo>
                    <a:pt x="9" y="34"/>
                    <a:pt x="9" y="31"/>
                    <a:pt x="11" y="31"/>
                  </a:cubicBezTo>
                  <a:cubicBezTo>
                    <a:pt x="12" y="35"/>
                    <a:pt x="16" y="37"/>
                    <a:pt x="20" y="38"/>
                  </a:cubicBezTo>
                  <a:cubicBezTo>
                    <a:pt x="20" y="38"/>
                    <a:pt x="20" y="38"/>
                    <a:pt x="20" y="38"/>
                  </a:cubicBezTo>
                  <a:cubicBezTo>
                    <a:pt x="20" y="38"/>
                    <a:pt x="20" y="38"/>
                    <a:pt x="21" y="38"/>
                  </a:cubicBezTo>
                  <a:cubicBezTo>
                    <a:pt x="21" y="38"/>
                    <a:pt x="21" y="38"/>
                    <a:pt x="21" y="38"/>
                  </a:cubicBezTo>
                  <a:cubicBezTo>
                    <a:pt x="21" y="38"/>
                    <a:pt x="22" y="38"/>
                    <a:pt x="22" y="38"/>
                  </a:cubicBezTo>
                  <a:cubicBezTo>
                    <a:pt x="23" y="38"/>
                    <a:pt x="23" y="40"/>
                    <a:pt x="24" y="40"/>
                  </a:cubicBezTo>
                  <a:cubicBezTo>
                    <a:pt x="25" y="41"/>
                    <a:pt x="26" y="41"/>
                    <a:pt x="26" y="41"/>
                  </a:cubicBezTo>
                  <a:cubicBezTo>
                    <a:pt x="27" y="41"/>
                    <a:pt x="27" y="41"/>
                    <a:pt x="26" y="40"/>
                  </a:cubicBezTo>
                  <a:cubicBezTo>
                    <a:pt x="27" y="40"/>
                    <a:pt x="27" y="40"/>
                    <a:pt x="27" y="40"/>
                  </a:cubicBezTo>
                  <a:cubicBezTo>
                    <a:pt x="28" y="40"/>
                    <a:pt x="28" y="40"/>
                    <a:pt x="29" y="40"/>
                  </a:cubicBezTo>
                  <a:cubicBezTo>
                    <a:pt x="30" y="39"/>
                    <a:pt x="30" y="39"/>
                    <a:pt x="31" y="39"/>
                  </a:cubicBezTo>
                  <a:cubicBezTo>
                    <a:pt x="31" y="39"/>
                    <a:pt x="31" y="39"/>
                    <a:pt x="32" y="39"/>
                  </a:cubicBezTo>
                  <a:cubicBezTo>
                    <a:pt x="35" y="41"/>
                    <a:pt x="35" y="44"/>
                    <a:pt x="39" y="45"/>
                  </a:cubicBezTo>
                  <a:cubicBezTo>
                    <a:pt x="39" y="45"/>
                    <a:pt x="39" y="45"/>
                    <a:pt x="39" y="45"/>
                  </a:cubicBezTo>
                  <a:cubicBezTo>
                    <a:pt x="39" y="45"/>
                    <a:pt x="40" y="45"/>
                    <a:pt x="40" y="45"/>
                  </a:cubicBezTo>
                  <a:cubicBezTo>
                    <a:pt x="40" y="45"/>
                    <a:pt x="41" y="45"/>
                    <a:pt x="41" y="45"/>
                  </a:cubicBezTo>
                  <a:cubicBezTo>
                    <a:pt x="41" y="45"/>
                    <a:pt x="41" y="45"/>
                    <a:pt x="42" y="45"/>
                  </a:cubicBezTo>
                  <a:cubicBezTo>
                    <a:pt x="43" y="45"/>
                    <a:pt x="44" y="46"/>
                    <a:pt x="45" y="47"/>
                  </a:cubicBezTo>
                  <a:cubicBezTo>
                    <a:pt x="45" y="47"/>
                    <a:pt x="46" y="47"/>
                    <a:pt x="47" y="47"/>
                  </a:cubicBezTo>
                  <a:cubicBezTo>
                    <a:pt x="48" y="47"/>
                    <a:pt x="50" y="47"/>
                    <a:pt x="51" y="46"/>
                  </a:cubicBezTo>
                  <a:cubicBezTo>
                    <a:pt x="52" y="46"/>
                    <a:pt x="54" y="46"/>
                    <a:pt x="55" y="46"/>
                  </a:cubicBezTo>
                  <a:cubicBezTo>
                    <a:pt x="57" y="46"/>
                    <a:pt x="58" y="46"/>
                    <a:pt x="59" y="46"/>
                  </a:cubicBezTo>
                  <a:cubicBezTo>
                    <a:pt x="60" y="46"/>
                    <a:pt x="61" y="46"/>
                    <a:pt x="62" y="46"/>
                  </a:cubicBezTo>
                  <a:cubicBezTo>
                    <a:pt x="68" y="46"/>
                    <a:pt x="73" y="45"/>
                    <a:pt x="74" y="37"/>
                  </a:cubicBezTo>
                  <a:cubicBezTo>
                    <a:pt x="74" y="35"/>
                    <a:pt x="75" y="32"/>
                    <a:pt x="74" y="30"/>
                  </a:cubicBezTo>
                  <a:cubicBezTo>
                    <a:pt x="73" y="29"/>
                    <a:pt x="71" y="29"/>
                    <a:pt x="70" y="28"/>
                  </a:cubicBezTo>
                  <a:cubicBezTo>
                    <a:pt x="69" y="27"/>
                    <a:pt x="73" y="25"/>
                    <a:pt x="73" y="24"/>
                  </a:cubicBezTo>
                  <a:cubicBezTo>
                    <a:pt x="73" y="23"/>
                    <a:pt x="72" y="19"/>
                    <a:pt x="72" y="18"/>
                  </a:cubicBezTo>
                  <a:cubicBezTo>
                    <a:pt x="72" y="17"/>
                    <a:pt x="71" y="16"/>
                    <a:pt x="70" y="16"/>
                  </a:cubicBezTo>
                  <a:cubicBezTo>
                    <a:pt x="69" y="15"/>
                    <a:pt x="69" y="14"/>
                    <a:pt x="68" y="13"/>
                  </a:cubicBezTo>
                  <a:cubicBezTo>
                    <a:pt x="67" y="12"/>
                    <a:pt x="66" y="12"/>
                    <a:pt x="65" y="12"/>
                  </a:cubicBezTo>
                  <a:cubicBezTo>
                    <a:pt x="61" y="10"/>
                    <a:pt x="58" y="6"/>
                    <a:pt x="54" y="3"/>
                  </a:cubicBezTo>
                  <a:cubicBezTo>
                    <a:pt x="50" y="0"/>
                    <a:pt x="45"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23"/>
            <p:cNvSpPr/>
            <p:nvPr/>
          </p:nvSpPr>
          <p:spPr bwMode="auto">
            <a:xfrm>
              <a:off x="9186854" y="1947097"/>
              <a:ext cx="211138" cy="161925"/>
            </a:xfrm>
            <a:custGeom>
              <a:gdLst>
                <a:gd name="T0" fmla="*/ 35 w 56"/>
                <a:gd name="T1" fmla="*/ 0 h 43"/>
                <a:gd name="T2" fmla="*/ 30 w 56"/>
                <a:gd name="T3" fmla="*/ 0 h 43"/>
                <a:gd name="T4" fmla="*/ 28 w 56"/>
                <a:gd name="T5" fmla="*/ 1 h 43"/>
                <a:gd name="T6" fmla="*/ 27 w 56"/>
                <a:gd name="T7" fmla="*/ 1 h 43"/>
                <a:gd name="T8" fmla="*/ 24 w 56"/>
                <a:gd name="T9" fmla="*/ 0 h 43"/>
                <a:gd name="T10" fmla="*/ 24 w 56"/>
                <a:gd name="T11" fmla="*/ 0 h 43"/>
                <a:gd name="T12" fmla="*/ 18 w 56"/>
                <a:gd name="T13" fmla="*/ 1 h 43"/>
                <a:gd name="T14" fmla="*/ 12 w 56"/>
                <a:gd name="T15" fmla="*/ 5 h 43"/>
                <a:gd name="T16" fmla="*/ 6 w 56"/>
                <a:gd name="T17" fmla="*/ 13 h 43"/>
                <a:gd name="T18" fmla="*/ 0 w 56"/>
                <a:gd name="T19" fmla="*/ 23 h 43"/>
                <a:gd name="T20" fmla="*/ 3 w 56"/>
                <a:gd name="T21" fmla="*/ 36 h 43"/>
                <a:gd name="T22" fmla="*/ 19 w 56"/>
                <a:gd name="T23" fmla="*/ 43 h 43"/>
                <a:gd name="T24" fmla="*/ 21 w 56"/>
                <a:gd name="T25" fmla="*/ 43 h 43"/>
                <a:gd name="T26" fmla="*/ 36 w 56"/>
                <a:gd name="T27" fmla="*/ 41 h 43"/>
                <a:gd name="T28" fmla="*/ 52 w 56"/>
                <a:gd name="T29" fmla="*/ 27 h 43"/>
                <a:gd name="T30" fmla="*/ 51 w 56"/>
                <a:gd name="T31" fmla="*/ 18 h 43"/>
                <a:gd name="T32" fmla="*/ 51 w 56"/>
                <a:gd name="T33" fmla="*/ 4 h 43"/>
                <a:gd name="T34" fmla="*/ 44 w 56"/>
                <a:gd name="T35" fmla="*/ 3 h 43"/>
                <a:gd name="T36" fmla="*/ 38 w 56"/>
                <a:gd name="T37" fmla="*/ 0 h 43"/>
                <a:gd name="T38" fmla="*/ 35 w 56"/>
                <a:gd name="T39"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43">
                  <a:moveTo>
                    <a:pt x="35" y="0"/>
                  </a:moveTo>
                  <a:cubicBezTo>
                    <a:pt x="33" y="0"/>
                    <a:pt x="32" y="0"/>
                    <a:pt x="30" y="0"/>
                  </a:cubicBezTo>
                  <a:cubicBezTo>
                    <a:pt x="29" y="1"/>
                    <a:pt x="28" y="1"/>
                    <a:pt x="28" y="1"/>
                  </a:cubicBezTo>
                  <a:cubicBezTo>
                    <a:pt x="27" y="1"/>
                    <a:pt x="27" y="1"/>
                    <a:pt x="27" y="1"/>
                  </a:cubicBezTo>
                  <a:cubicBezTo>
                    <a:pt x="26" y="1"/>
                    <a:pt x="25" y="0"/>
                    <a:pt x="24" y="0"/>
                  </a:cubicBezTo>
                  <a:cubicBezTo>
                    <a:pt x="24" y="0"/>
                    <a:pt x="24" y="0"/>
                    <a:pt x="24" y="0"/>
                  </a:cubicBezTo>
                  <a:cubicBezTo>
                    <a:pt x="22" y="0"/>
                    <a:pt x="19" y="1"/>
                    <a:pt x="18" y="1"/>
                  </a:cubicBezTo>
                  <a:cubicBezTo>
                    <a:pt x="15" y="2"/>
                    <a:pt x="14" y="3"/>
                    <a:pt x="12" y="5"/>
                  </a:cubicBezTo>
                  <a:cubicBezTo>
                    <a:pt x="10" y="7"/>
                    <a:pt x="8" y="10"/>
                    <a:pt x="6" y="13"/>
                  </a:cubicBezTo>
                  <a:cubicBezTo>
                    <a:pt x="4" y="16"/>
                    <a:pt x="1" y="19"/>
                    <a:pt x="0" y="23"/>
                  </a:cubicBezTo>
                  <a:cubicBezTo>
                    <a:pt x="0" y="27"/>
                    <a:pt x="1" y="33"/>
                    <a:pt x="3" y="36"/>
                  </a:cubicBezTo>
                  <a:cubicBezTo>
                    <a:pt x="8" y="40"/>
                    <a:pt x="12" y="43"/>
                    <a:pt x="19" y="43"/>
                  </a:cubicBezTo>
                  <a:cubicBezTo>
                    <a:pt x="19" y="43"/>
                    <a:pt x="20" y="43"/>
                    <a:pt x="21" y="43"/>
                  </a:cubicBezTo>
                  <a:cubicBezTo>
                    <a:pt x="26" y="43"/>
                    <a:pt x="31" y="43"/>
                    <a:pt x="36" y="41"/>
                  </a:cubicBezTo>
                  <a:cubicBezTo>
                    <a:pt x="43" y="39"/>
                    <a:pt x="52" y="36"/>
                    <a:pt x="52" y="27"/>
                  </a:cubicBezTo>
                  <a:cubicBezTo>
                    <a:pt x="52" y="24"/>
                    <a:pt x="52" y="21"/>
                    <a:pt x="51" y="18"/>
                  </a:cubicBezTo>
                  <a:cubicBezTo>
                    <a:pt x="48" y="13"/>
                    <a:pt x="56" y="9"/>
                    <a:pt x="51" y="4"/>
                  </a:cubicBezTo>
                  <a:cubicBezTo>
                    <a:pt x="49" y="3"/>
                    <a:pt x="47" y="3"/>
                    <a:pt x="44" y="3"/>
                  </a:cubicBezTo>
                  <a:cubicBezTo>
                    <a:pt x="42" y="2"/>
                    <a:pt x="40" y="1"/>
                    <a:pt x="38" y="0"/>
                  </a:cubicBezTo>
                  <a:cubicBezTo>
                    <a:pt x="37" y="0"/>
                    <a:pt x="36"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24"/>
            <p:cNvSpPr/>
            <p:nvPr/>
          </p:nvSpPr>
          <p:spPr bwMode="auto">
            <a:xfrm>
              <a:off x="6507154" y="1102547"/>
              <a:ext cx="38100" cy="11113"/>
            </a:xfrm>
            <a:custGeom>
              <a:gdLst>
                <a:gd name="T0" fmla="*/ 4 w 10"/>
                <a:gd name="T1" fmla="*/ 0 h 3"/>
                <a:gd name="T2" fmla="*/ 0 w 10"/>
                <a:gd name="T3" fmla="*/ 1 h 3"/>
                <a:gd name="T4" fmla="*/ 2 w 10"/>
                <a:gd name="T5" fmla="*/ 2 h 3"/>
                <a:gd name="T6" fmla="*/ 2 w 10"/>
                <a:gd name="T7" fmla="*/ 2 h 3"/>
                <a:gd name="T8" fmla="*/ 10 w 10"/>
                <a:gd name="T9" fmla="*/ 3 h 3"/>
                <a:gd name="T10" fmla="*/ 4 w 10"/>
                <a:gd name="T11" fmla="*/ 0 h 3"/>
              </a:gdLst>
              <a:cxnLst>
                <a:cxn ang="0">
                  <a:pos x="T0" y="T1"/>
                </a:cxn>
                <a:cxn ang="0">
                  <a:pos x="T2" y="T3"/>
                </a:cxn>
                <a:cxn ang="0">
                  <a:pos x="T4" y="T5"/>
                </a:cxn>
                <a:cxn ang="0">
                  <a:pos x="T6" y="T7"/>
                </a:cxn>
                <a:cxn ang="0">
                  <a:pos x="T8" y="T9"/>
                </a:cxn>
                <a:cxn ang="0">
                  <a:pos x="T10" y="T11"/>
                </a:cxn>
              </a:cxnLst>
              <a:rect l="0" t="0" r="r" b="b"/>
              <a:pathLst>
                <a:path w="10" h="3">
                  <a:moveTo>
                    <a:pt x="4" y="0"/>
                  </a:moveTo>
                  <a:cubicBezTo>
                    <a:pt x="2" y="0"/>
                    <a:pt x="1" y="0"/>
                    <a:pt x="0" y="1"/>
                  </a:cubicBezTo>
                  <a:cubicBezTo>
                    <a:pt x="0" y="2"/>
                    <a:pt x="1" y="2"/>
                    <a:pt x="2" y="2"/>
                  </a:cubicBezTo>
                  <a:cubicBezTo>
                    <a:pt x="2" y="2"/>
                    <a:pt x="2" y="2"/>
                    <a:pt x="2" y="2"/>
                  </a:cubicBezTo>
                  <a:cubicBezTo>
                    <a:pt x="5" y="3"/>
                    <a:pt x="8" y="2"/>
                    <a:pt x="10" y="3"/>
                  </a:cubicBezTo>
                  <a:cubicBezTo>
                    <a:pt x="9"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5"/>
            <p:cNvSpPr/>
            <p:nvPr/>
          </p:nvSpPr>
          <p:spPr bwMode="auto">
            <a:xfrm>
              <a:off x="9043979" y="3563172"/>
              <a:ext cx="26988" cy="36513"/>
            </a:xfrm>
            <a:custGeom>
              <a:gdLst>
                <a:gd name="T0" fmla="*/ 5 w 7"/>
                <a:gd name="T1" fmla="*/ 0 h 10"/>
                <a:gd name="T2" fmla="*/ 2 w 7"/>
                <a:gd name="T3" fmla="*/ 5 h 10"/>
                <a:gd name="T4" fmla="*/ 0 w 7"/>
                <a:gd name="T5" fmla="*/ 10 h 10"/>
                <a:gd name="T6" fmla="*/ 1 w 7"/>
                <a:gd name="T7" fmla="*/ 10 h 10"/>
                <a:gd name="T8" fmla="*/ 7 w 7"/>
                <a:gd name="T9" fmla="*/ 1 h 10"/>
                <a:gd name="T10" fmla="*/ 5 w 7"/>
                <a:gd name="T11" fmla="*/ 0 h 10"/>
              </a:gdLst>
              <a:cxnLst>
                <a:cxn ang="0">
                  <a:pos x="T0" y="T1"/>
                </a:cxn>
                <a:cxn ang="0">
                  <a:pos x="T2" y="T3"/>
                </a:cxn>
                <a:cxn ang="0">
                  <a:pos x="T4" y="T5"/>
                </a:cxn>
                <a:cxn ang="0">
                  <a:pos x="T6" y="T7"/>
                </a:cxn>
                <a:cxn ang="0">
                  <a:pos x="T8" y="T9"/>
                </a:cxn>
                <a:cxn ang="0">
                  <a:pos x="T10" y="T11"/>
                </a:cxn>
              </a:cxnLst>
              <a:rect l="0" t="0" r="r" b="b"/>
              <a:pathLst>
                <a:path w="7" h="10">
                  <a:moveTo>
                    <a:pt x="5" y="0"/>
                  </a:moveTo>
                  <a:cubicBezTo>
                    <a:pt x="3" y="0"/>
                    <a:pt x="3" y="4"/>
                    <a:pt x="2" y="5"/>
                  </a:cubicBezTo>
                  <a:cubicBezTo>
                    <a:pt x="2" y="7"/>
                    <a:pt x="0" y="8"/>
                    <a:pt x="0" y="10"/>
                  </a:cubicBezTo>
                  <a:cubicBezTo>
                    <a:pt x="0" y="10"/>
                    <a:pt x="1" y="10"/>
                    <a:pt x="1" y="10"/>
                  </a:cubicBezTo>
                  <a:cubicBezTo>
                    <a:pt x="7" y="10"/>
                    <a:pt x="6" y="6"/>
                    <a:pt x="7" y="1"/>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6"/>
            <p:cNvSpPr/>
            <p:nvPr/>
          </p:nvSpPr>
          <p:spPr bwMode="auto">
            <a:xfrm>
              <a:off x="9717079" y="2724972"/>
              <a:ext cx="85725" cy="49213"/>
            </a:xfrm>
            <a:custGeom>
              <a:gdLst>
                <a:gd name="T0" fmla="*/ 0 w 23"/>
                <a:gd name="T1" fmla="*/ 0 h 13"/>
                <a:gd name="T2" fmla="*/ 9 w 23"/>
                <a:gd name="T3" fmla="*/ 8 h 13"/>
                <a:gd name="T4" fmla="*/ 11 w 23"/>
                <a:gd name="T5" fmla="*/ 12 h 13"/>
                <a:gd name="T6" fmla="*/ 16 w 23"/>
                <a:gd name="T7" fmla="*/ 13 h 13"/>
                <a:gd name="T8" fmla="*/ 23 w 23"/>
                <a:gd name="T9" fmla="*/ 12 h 13"/>
                <a:gd name="T10" fmla="*/ 15 w 23"/>
                <a:gd name="T11" fmla="*/ 4 h 13"/>
                <a:gd name="T12" fmla="*/ 0 w 23"/>
                <a:gd name="T13" fmla="*/ 0 h 13"/>
              </a:gdLst>
              <a:cxnLst>
                <a:cxn ang="0">
                  <a:pos x="T0" y="T1"/>
                </a:cxn>
                <a:cxn ang="0">
                  <a:pos x="T2" y="T3"/>
                </a:cxn>
                <a:cxn ang="0">
                  <a:pos x="T4" y="T5"/>
                </a:cxn>
                <a:cxn ang="0">
                  <a:pos x="T6" y="T7"/>
                </a:cxn>
                <a:cxn ang="0">
                  <a:pos x="T8" y="T9"/>
                </a:cxn>
                <a:cxn ang="0">
                  <a:pos x="T10" y="T11"/>
                </a:cxn>
                <a:cxn ang="0">
                  <a:pos x="T12" y="T13"/>
                </a:cxn>
              </a:cxnLst>
              <a:rect l="0" t="0" r="r" b="b"/>
              <a:pathLst>
                <a:path w="23" h="13">
                  <a:moveTo>
                    <a:pt x="0" y="0"/>
                  </a:moveTo>
                  <a:cubicBezTo>
                    <a:pt x="3" y="3"/>
                    <a:pt x="7" y="5"/>
                    <a:pt x="9" y="8"/>
                  </a:cubicBezTo>
                  <a:cubicBezTo>
                    <a:pt x="10" y="9"/>
                    <a:pt x="10" y="11"/>
                    <a:pt x="11" y="12"/>
                  </a:cubicBezTo>
                  <a:cubicBezTo>
                    <a:pt x="12" y="13"/>
                    <a:pt x="14" y="13"/>
                    <a:pt x="16" y="13"/>
                  </a:cubicBezTo>
                  <a:cubicBezTo>
                    <a:pt x="19" y="13"/>
                    <a:pt x="21" y="13"/>
                    <a:pt x="23" y="12"/>
                  </a:cubicBezTo>
                  <a:cubicBezTo>
                    <a:pt x="21" y="9"/>
                    <a:pt x="18" y="7"/>
                    <a:pt x="15" y="4"/>
                  </a:cubicBezTo>
                  <a:cubicBezTo>
                    <a:pt x="10" y="2"/>
                    <a:pt x="5"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7"/>
            <p:cNvSpPr/>
            <p:nvPr/>
          </p:nvSpPr>
          <p:spPr bwMode="auto">
            <a:xfrm>
              <a:off x="6597641" y="1080322"/>
              <a:ext cx="220663" cy="146050"/>
            </a:xfrm>
            <a:custGeom>
              <a:gdLst>
                <a:gd name="T0" fmla="*/ 41 w 59"/>
                <a:gd name="T1" fmla="*/ 0 h 39"/>
                <a:gd name="T2" fmla="*/ 39 w 59"/>
                <a:gd name="T3" fmla="*/ 0 h 39"/>
                <a:gd name="T4" fmla="*/ 38 w 59"/>
                <a:gd name="T5" fmla="*/ 0 h 39"/>
                <a:gd name="T6" fmla="*/ 38 w 59"/>
                <a:gd name="T7" fmla="*/ 0 h 39"/>
                <a:gd name="T8" fmla="*/ 36 w 59"/>
                <a:gd name="T9" fmla="*/ 0 h 39"/>
                <a:gd name="T10" fmla="*/ 26 w 59"/>
                <a:gd name="T11" fmla="*/ 1 h 39"/>
                <a:gd name="T12" fmla="*/ 26 w 59"/>
                <a:gd name="T13" fmla="*/ 1 h 39"/>
                <a:gd name="T14" fmla="*/ 20 w 59"/>
                <a:gd name="T15" fmla="*/ 1 h 39"/>
                <a:gd name="T16" fmla="*/ 17 w 59"/>
                <a:gd name="T17" fmla="*/ 1 h 39"/>
                <a:gd name="T18" fmla="*/ 16 w 59"/>
                <a:gd name="T19" fmla="*/ 1 h 39"/>
                <a:gd name="T20" fmla="*/ 13 w 59"/>
                <a:gd name="T21" fmla="*/ 2 h 39"/>
                <a:gd name="T22" fmla="*/ 11 w 59"/>
                <a:gd name="T23" fmla="*/ 2 h 39"/>
                <a:gd name="T24" fmla="*/ 10 w 59"/>
                <a:gd name="T25" fmla="*/ 3 h 39"/>
                <a:gd name="T26" fmla="*/ 9 w 59"/>
                <a:gd name="T27" fmla="*/ 3 h 39"/>
                <a:gd name="T28" fmla="*/ 9 w 59"/>
                <a:gd name="T29" fmla="*/ 3 h 39"/>
                <a:gd name="T30" fmla="*/ 6 w 59"/>
                <a:gd name="T31" fmla="*/ 6 h 39"/>
                <a:gd name="T32" fmla="*/ 4 w 59"/>
                <a:gd name="T33" fmla="*/ 9 h 39"/>
                <a:gd name="T34" fmla="*/ 3 w 59"/>
                <a:gd name="T35" fmla="*/ 9 h 39"/>
                <a:gd name="T36" fmla="*/ 1 w 59"/>
                <a:gd name="T37" fmla="*/ 13 h 39"/>
                <a:gd name="T38" fmla="*/ 1 w 59"/>
                <a:gd name="T39" fmla="*/ 13 h 39"/>
                <a:gd name="T40" fmla="*/ 8 w 59"/>
                <a:gd name="T41" fmla="*/ 14 h 39"/>
                <a:gd name="T42" fmla="*/ 13 w 59"/>
                <a:gd name="T43" fmla="*/ 17 h 39"/>
                <a:gd name="T44" fmla="*/ 15 w 59"/>
                <a:gd name="T45" fmla="*/ 18 h 39"/>
                <a:gd name="T46" fmla="*/ 20 w 59"/>
                <a:gd name="T47" fmla="*/ 22 h 39"/>
                <a:gd name="T48" fmla="*/ 20 w 59"/>
                <a:gd name="T49" fmla="*/ 22 h 39"/>
                <a:gd name="T50" fmla="*/ 21 w 59"/>
                <a:gd name="T51" fmla="*/ 23 h 39"/>
                <a:gd name="T52" fmla="*/ 22 w 59"/>
                <a:gd name="T53" fmla="*/ 23 h 39"/>
                <a:gd name="T54" fmla="*/ 22 w 59"/>
                <a:gd name="T55" fmla="*/ 25 h 39"/>
                <a:gd name="T56" fmla="*/ 22 w 59"/>
                <a:gd name="T57" fmla="*/ 25 h 39"/>
                <a:gd name="T58" fmla="*/ 24 w 59"/>
                <a:gd name="T59" fmla="*/ 26 h 39"/>
                <a:gd name="T60" fmla="*/ 27 w 59"/>
                <a:gd name="T61" fmla="*/ 29 h 39"/>
                <a:gd name="T62" fmla="*/ 34 w 59"/>
                <a:gd name="T63" fmla="*/ 35 h 39"/>
                <a:gd name="T64" fmla="*/ 38 w 59"/>
                <a:gd name="T65" fmla="*/ 39 h 39"/>
                <a:gd name="T66" fmla="*/ 39 w 59"/>
                <a:gd name="T67" fmla="*/ 38 h 39"/>
                <a:gd name="T68" fmla="*/ 41 w 59"/>
                <a:gd name="T69" fmla="*/ 38 h 39"/>
                <a:gd name="T70" fmla="*/ 45 w 59"/>
                <a:gd name="T71" fmla="*/ 35 h 39"/>
                <a:gd name="T72" fmla="*/ 46 w 59"/>
                <a:gd name="T73" fmla="*/ 35 h 39"/>
                <a:gd name="T74" fmla="*/ 46 w 59"/>
                <a:gd name="T75" fmla="*/ 35 h 39"/>
                <a:gd name="T76" fmla="*/ 57 w 59"/>
                <a:gd name="T77" fmla="*/ 19 h 39"/>
                <a:gd name="T78" fmla="*/ 58 w 59"/>
                <a:gd name="T79" fmla="*/ 13 h 39"/>
                <a:gd name="T80" fmla="*/ 59 w 59"/>
                <a:gd name="T81" fmla="*/ 11 h 39"/>
                <a:gd name="T82" fmla="*/ 59 w 59"/>
                <a:gd name="T83" fmla="*/ 10 h 39"/>
                <a:gd name="T84" fmla="*/ 59 w 59"/>
                <a:gd name="T85" fmla="*/ 9 h 39"/>
                <a:gd name="T86" fmla="*/ 56 w 59"/>
                <a:gd name="T87" fmla="*/ 7 h 39"/>
                <a:gd name="T88" fmla="*/ 54 w 59"/>
                <a:gd name="T89" fmla="*/ 6 h 39"/>
                <a:gd name="T90" fmla="*/ 50 w 59"/>
                <a:gd name="T91" fmla="*/ 4 h 39"/>
                <a:gd name="T92" fmla="*/ 44 w 59"/>
                <a:gd name="T93" fmla="*/ 0 h 39"/>
                <a:gd name="T94" fmla="*/ 41 w 59"/>
                <a:gd name="T95" fmla="*/ 0 h 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39">
                  <a:moveTo>
                    <a:pt x="41" y="0"/>
                  </a:moveTo>
                  <a:cubicBezTo>
                    <a:pt x="40" y="0"/>
                    <a:pt x="40" y="0"/>
                    <a:pt x="39" y="0"/>
                  </a:cubicBezTo>
                  <a:cubicBezTo>
                    <a:pt x="39" y="0"/>
                    <a:pt x="38" y="0"/>
                    <a:pt x="38" y="0"/>
                  </a:cubicBezTo>
                  <a:cubicBezTo>
                    <a:pt x="38" y="0"/>
                    <a:pt x="38" y="0"/>
                    <a:pt x="38" y="0"/>
                  </a:cubicBezTo>
                  <a:cubicBezTo>
                    <a:pt x="37" y="0"/>
                    <a:pt x="37" y="0"/>
                    <a:pt x="36" y="0"/>
                  </a:cubicBezTo>
                  <a:cubicBezTo>
                    <a:pt x="33" y="0"/>
                    <a:pt x="29" y="1"/>
                    <a:pt x="26" y="1"/>
                  </a:cubicBezTo>
                  <a:cubicBezTo>
                    <a:pt x="26" y="1"/>
                    <a:pt x="26" y="1"/>
                    <a:pt x="26" y="1"/>
                  </a:cubicBezTo>
                  <a:cubicBezTo>
                    <a:pt x="24" y="1"/>
                    <a:pt x="22" y="1"/>
                    <a:pt x="20" y="1"/>
                  </a:cubicBezTo>
                  <a:cubicBezTo>
                    <a:pt x="19" y="1"/>
                    <a:pt x="18" y="1"/>
                    <a:pt x="17" y="1"/>
                  </a:cubicBezTo>
                  <a:cubicBezTo>
                    <a:pt x="16" y="1"/>
                    <a:pt x="16" y="1"/>
                    <a:pt x="16" y="1"/>
                  </a:cubicBezTo>
                  <a:cubicBezTo>
                    <a:pt x="15" y="1"/>
                    <a:pt x="14" y="2"/>
                    <a:pt x="13" y="2"/>
                  </a:cubicBezTo>
                  <a:cubicBezTo>
                    <a:pt x="12" y="2"/>
                    <a:pt x="12" y="2"/>
                    <a:pt x="11" y="2"/>
                  </a:cubicBezTo>
                  <a:cubicBezTo>
                    <a:pt x="11" y="2"/>
                    <a:pt x="10" y="2"/>
                    <a:pt x="10" y="3"/>
                  </a:cubicBezTo>
                  <a:cubicBezTo>
                    <a:pt x="9" y="3"/>
                    <a:pt x="9" y="3"/>
                    <a:pt x="9" y="3"/>
                  </a:cubicBezTo>
                  <a:cubicBezTo>
                    <a:pt x="9" y="3"/>
                    <a:pt x="9" y="3"/>
                    <a:pt x="9" y="3"/>
                  </a:cubicBezTo>
                  <a:cubicBezTo>
                    <a:pt x="8" y="4"/>
                    <a:pt x="7" y="5"/>
                    <a:pt x="6" y="6"/>
                  </a:cubicBezTo>
                  <a:cubicBezTo>
                    <a:pt x="5" y="7"/>
                    <a:pt x="4" y="8"/>
                    <a:pt x="4" y="9"/>
                  </a:cubicBezTo>
                  <a:cubicBezTo>
                    <a:pt x="3" y="9"/>
                    <a:pt x="3" y="9"/>
                    <a:pt x="3" y="9"/>
                  </a:cubicBezTo>
                  <a:cubicBezTo>
                    <a:pt x="1" y="11"/>
                    <a:pt x="0" y="12"/>
                    <a:pt x="1" y="13"/>
                  </a:cubicBezTo>
                  <a:cubicBezTo>
                    <a:pt x="1" y="13"/>
                    <a:pt x="1" y="13"/>
                    <a:pt x="1" y="13"/>
                  </a:cubicBezTo>
                  <a:cubicBezTo>
                    <a:pt x="3" y="14"/>
                    <a:pt x="6" y="13"/>
                    <a:pt x="8" y="14"/>
                  </a:cubicBezTo>
                  <a:cubicBezTo>
                    <a:pt x="10" y="15"/>
                    <a:pt x="12" y="16"/>
                    <a:pt x="13" y="17"/>
                  </a:cubicBezTo>
                  <a:cubicBezTo>
                    <a:pt x="14" y="17"/>
                    <a:pt x="15" y="18"/>
                    <a:pt x="15" y="18"/>
                  </a:cubicBezTo>
                  <a:cubicBezTo>
                    <a:pt x="17" y="19"/>
                    <a:pt x="18" y="20"/>
                    <a:pt x="20" y="22"/>
                  </a:cubicBezTo>
                  <a:cubicBezTo>
                    <a:pt x="20" y="22"/>
                    <a:pt x="20" y="22"/>
                    <a:pt x="20" y="22"/>
                  </a:cubicBezTo>
                  <a:cubicBezTo>
                    <a:pt x="21" y="23"/>
                    <a:pt x="21" y="23"/>
                    <a:pt x="21" y="23"/>
                  </a:cubicBezTo>
                  <a:cubicBezTo>
                    <a:pt x="21" y="23"/>
                    <a:pt x="21" y="23"/>
                    <a:pt x="22" y="23"/>
                  </a:cubicBezTo>
                  <a:cubicBezTo>
                    <a:pt x="22" y="24"/>
                    <a:pt x="22" y="25"/>
                    <a:pt x="22" y="25"/>
                  </a:cubicBezTo>
                  <a:cubicBezTo>
                    <a:pt x="22" y="25"/>
                    <a:pt x="22" y="25"/>
                    <a:pt x="22" y="25"/>
                  </a:cubicBezTo>
                  <a:cubicBezTo>
                    <a:pt x="22" y="26"/>
                    <a:pt x="23" y="26"/>
                    <a:pt x="24" y="26"/>
                  </a:cubicBezTo>
                  <a:cubicBezTo>
                    <a:pt x="25" y="27"/>
                    <a:pt x="26" y="28"/>
                    <a:pt x="27" y="29"/>
                  </a:cubicBezTo>
                  <a:cubicBezTo>
                    <a:pt x="29" y="31"/>
                    <a:pt x="32" y="33"/>
                    <a:pt x="34" y="35"/>
                  </a:cubicBezTo>
                  <a:cubicBezTo>
                    <a:pt x="36" y="36"/>
                    <a:pt x="37" y="38"/>
                    <a:pt x="38" y="39"/>
                  </a:cubicBezTo>
                  <a:cubicBezTo>
                    <a:pt x="38" y="39"/>
                    <a:pt x="39" y="39"/>
                    <a:pt x="39" y="38"/>
                  </a:cubicBezTo>
                  <a:cubicBezTo>
                    <a:pt x="40" y="38"/>
                    <a:pt x="40" y="38"/>
                    <a:pt x="41" y="38"/>
                  </a:cubicBezTo>
                  <a:cubicBezTo>
                    <a:pt x="43" y="37"/>
                    <a:pt x="45" y="36"/>
                    <a:pt x="45" y="35"/>
                  </a:cubicBezTo>
                  <a:cubicBezTo>
                    <a:pt x="46" y="35"/>
                    <a:pt x="46" y="35"/>
                    <a:pt x="46" y="35"/>
                  </a:cubicBezTo>
                  <a:cubicBezTo>
                    <a:pt x="46" y="35"/>
                    <a:pt x="46" y="35"/>
                    <a:pt x="46" y="35"/>
                  </a:cubicBezTo>
                  <a:cubicBezTo>
                    <a:pt x="49" y="30"/>
                    <a:pt x="56" y="25"/>
                    <a:pt x="57" y="19"/>
                  </a:cubicBezTo>
                  <a:cubicBezTo>
                    <a:pt x="58" y="17"/>
                    <a:pt x="58" y="15"/>
                    <a:pt x="58" y="13"/>
                  </a:cubicBezTo>
                  <a:cubicBezTo>
                    <a:pt x="59" y="13"/>
                    <a:pt x="59" y="12"/>
                    <a:pt x="59" y="11"/>
                  </a:cubicBezTo>
                  <a:cubicBezTo>
                    <a:pt x="59" y="10"/>
                    <a:pt x="59" y="10"/>
                    <a:pt x="59" y="10"/>
                  </a:cubicBezTo>
                  <a:cubicBezTo>
                    <a:pt x="59" y="9"/>
                    <a:pt x="59" y="9"/>
                    <a:pt x="59" y="9"/>
                  </a:cubicBezTo>
                  <a:cubicBezTo>
                    <a:pt x="58" y="8"/>
                    <a:pt x="57" y="7"/>
                    <a:pt x="56" y="7"/>
                  </a:cubicBezTo>
                  <a:cubicBezTo>
                    <a:pt x="55" y="7"/>
                    <a:pt x="55" y="6"/>
                    <a:pt x="54" y="6"/>
                  </a:cubicBezTo>
                  <a:cubicBezTo>
                    <a:pt x="53" y="5"/>
                    <a:pt x="51" y="4"/>
                    <a:pt x="50" y="4"/>
                  </a:cubicBezTo>
                  <a:cubicBezTo>
                    <a:pt x="48" y="2"/>
                    <a:pt x="46" y="1"/>
                    <a:pt x="44" y="0"/>
                  </a:cubicBezTo>
                  <a:cubicBezTo>
                    <a:pt x="43" y="0"/>
                    <a:pt x="42"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8"/>
            <p:cNvSpPr>
              <a:spLocks noEditPoints="1"/>
            </p:cNvSpPr>
            <p:nvPr/>
          </p:nvSpPr>
          <p:spPr bwMode="auto">
            <a:xfrm>
              <a:off x="8883641" y="1721672"/>
              <a:ext cx="130175" cy="49213"/>
            </a:xfrm>
            <a:custGeom>
              <a:gdLst>
                <a:gd name="T0" fmla="*/ 11 w 35"/>
                <a:gd name="T1" fmla="*/ 10 h 13"/>
                <a:gd name="T2" fmla="*/ 11 w 35"/>
                <a:gd name="T3" fmla="*/ 10 h 13"/>
                <a:gd name="T4" fmla="*/ 11 w 35"/>
                <a:gd name="T5" fmla="*/ 10 h 13"/>
                <a:gd name="T6" fmla="*/ 11 w 35"/>
                <a:gd name="T7" fmla="*/ 10 h 13"/>
                <a:gd name="T8" fmla="*/ 11 w 35"/>
                <a:gd name="T9" fmla="*/ 10 h 13"/>
                <a:gd name="T10" fmla="*/ 27 w 35"/>
                <a:gd name="T11" fmla="*/ 0 h 13"/>
                <a:gd name="T12" fmla="*/ 24 w 35"/>
                <a:gd name="T13" fmla="*/ 1 h 13"/>
                <a:gd name="T14" fmla="*/ 20 w 35"/>
                <a:gd name="T15" fmla="*/ 3 h 13"/>
                <a:gd name="T16" fmla="*/ 19 w 35"/>
                <a:gd name="T17" fmla="*/ 3 h 13"/>
                <a:gd name="T18" fmla="*/ 12 w 35"/>
                <a:gd name="T19" fmla="*/ 0 h 13"/>
                <a:gd name="T20" fmla="*/ 11 w 35"/>
                <a:gd name="T21" fmla="*/ 0 h 13"/>
                <a:gd name="T22" fmla="*/ 10 w 35"/>
                <a:gd name="T23" fmla="*/ 4 h 13"/>
                <a:gd name="T24" fmla="*/ 9 w 35"/>
                <a:gd name="T25" fmla="*/ 4 h 13"/>
                <a:gd name="T26" fmla="*/ 7 w 35"/>
                <a:gd name="T27" fmla="*/ 4 h 13"/>
                <a:gd name="T28" fmla="*/ 5 w 35"/>
                <a:gd name="T29" fmla="*/ 4 h 13"/>
                <a:gd name="T30" fmla="*/ 0 w 35"/>
                <a:gd name="T31" fmla="*/ 5 h 13"/>
                <a:gd name="T32" fmla="*/ 9 w 35"/>
                <a:gd name="T33" fmla="*/ 7 h 13"/>
                <a:gd name="T34" fmla="*/ 11 w 35"/>
                <a:gd name="T35" fmla="*/ 10 h 13"/>
                <a:gd name="T36" fmla="*/ 13 w 35"/>
                <a:gd name="T37" fmla="*/ 7 h 13"/>
                <a:gd name="T38" fmla="*/ 13 w 35"/>
                <a:gd name="T39" fmla="*/ 11 h 13"/>
                <a:gd name="T40" fmla="*/ 18 w 35"/>
                <a:gd name="T41" fmla="*/ 13 h 13"/>
                <a:gd name="T42" fmla="*/ 17 w 35"/>
                <a:gd name="T43" fmla="*/ 6 h 13"/>
                <a:gd name="T44" fmla="*/ 18 w 35"/>
                <a:gd name="T45" fmla="*/ 6 h 13"/>
                <a:gd name="T46" fmla="*/ 19 w 35"/>
                <a:gd name="T47" fmla="*/ 7 h 13"/>
                <a:gd name="T48" fmla="*/ 20 w 35"/>
                <a:gd name="T49" fmla="*/ 7 h 13"/>
                <a:gd name="T50" fmla="*/ 20 w 35"/>
                <a:gd name="T51" fmla="*/ 7 h 13"/>
                <a:gd name="T52" fmla="*/ 34 w 35"/>
                <a:gd name="T53" fmla="*/ 3 h 13"/>
                <a:gd name="T54" fmla="*/ 29 w 35"/>
                <a:gd name="T55" fmla="*/ 0 h 13"/>
                <a:gd name="T56" fmla="*/ 27 w 35"/>
                <a:gd name="T57"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13">
                  <a:moveTo>
                    <a:pt x="11" y="10"/>
                  </a:moveTo>
                  <a:cubicBezTo>
                    <a:pt x="11" y="10"/>
                    <a:pt x="11" y="10"/>
                    <a:pt x="11" y="10"/>
                  </a:cubicBezTo>
                  <a:cubicBezTo>
                    <a:pt x="11" y="10"/>
                    <a:pt x="11" y="10"/>
                    <a:pt x="11" y="10"/>
                  </a:cubicBezTo>
                  <a:cubicBezTo>
                    <a:pt x="11" y="10"/>
                    <a:pt x="11" y="10"/>
                    <a:pt x="11" y="10"/>
                  </a:cubicBezTo>
                  <a:cubicBezTo>
                    <a:pt x="11" y="10"/>
                    <a:pt x="11" y="10"/>
                    <a:pt x="11" y="10"/>
                  </a:cubicBezTo>
                  <a:moveTo>
                    <a:pt x="27" y="0"/>
                  </a:moveTo>
                  <a:cubicBezTo>
                    <a:pt x="26" y="0"/>
                    <a:pt x="26" y="0"/>
                    <a:pt x="24" y="1"/>
                  </a:cubicBezTo>
                  <a:cubicBezTo>
                    <a:pt x="24" y="1"/>
                    <a:pt x="21" y="3"/>
                    <a:pt x="20" y="3"/>
                  </a:cubicBezTo>
                  <a:cubicBezTo>
                    <a:pt x="19" y="3"/>
                    <a:pt x="19" y="3"/>
                    <a:pt x="19" y="3"/>
                  </a:cubicBezTo>
                  <a:cubicBezTo>
                    <a:pt x="17" y="3"/>
                    <a:pt x="15" y="0"/>
                    <a:pt x="12" y="0"/>
                  </a:cubicBezTo>
                  <a:cubicBezTo>
                    <a:pt x="12" y="0"/>
                    <a:pt x="11" y="0"/>
                    <a:pt x="11" y="0"/>
                  </a:cubicBezTo>
                  <a:cubicBezTo>
                    <a:pt x="8" y="0"/>
                    <a:pt x="5" y="1"/>
                    <a:pt x="10" y="4"/>
                  </a:cubicBezTo>
                  <a:cubicBezTo>
                    <a:pt x="10" y="4"/>
                    <a:pt x="9" y="4"/>
                    <a:pt x="9" y="4"/>
                  </a:cubicBezTo>
                  <a:cubicBezTo>
                    <a:pt x="9" y="4"/>
                    <a:pt x="8" y="4"/>
                    <a:pt x="7" y="4"/>
                  </a:cubicBezTo>
                  <a:cubicBezTo>
                    <a:pt x="6" y="4"/>
                    <a:pt x="6" y="4"/>
                    <a:pt x="5" y="4"/>
                  </a:cubicBezTo>
                  <a:cubicBezTo>
                    <a:pt x="3" y="4"/>
                    <a:pt x="2" y="4"/>
                    <a:pt x="0" y="5"/>
                  </a:cubicBezTo>
                  <a:cubicBezTo>
                    <a:pt x="3" y="6"/>
                    <a:pt x="6" y="5"/>
                    <a:pt x="9" y="7"/>
                  </a:cubicBezTo>
                  <a:cubicBezTo>
                    <a:pt x="9" y="7"/>
                    <a:pt x="11" y="9"/>
                    <a:pt x="11" y="10"/>
                  </a:cubicBezTo>
                  <a:cubicBezTo>
                    <a:pt x="12" y="9"/>
                    <a:pt x="13" y="7"/>
                    <a:pt x="13" y="7"/>
                  </a:cubicBezTo>
                  <a:cubicBezTo>
                    <a:pt x="13" y="8"/>
                    <a:pt x="13" y="10"/>
                    <a:pt x="13" y="11"/>
                  </a:cubicBezTo>
                  <a:cubicBezTo>
                    <a:pt x="18" y="13"/>
                    <a:pt x="18" y="13"/>
                    <a:pt x="18" y="13"/>
                  </a:cubicBezTo>
                  <a:cubicBezTo>
                    <a:pt x="18" y="12"/>
                    <a:pt x="16" y="7"/>
                    <a:pt x="17" y="6"/>
                  </a:cubicBezTo>
                  <a:cubicBezTo>
                    <a:pt x="17" y="6"/>
                    <a:pt x="17" y="6"/>
                    <a:pt x="18" y="6"/>
                  </a:cubicBezTo>
                  <a:cubicBezTo>
                    <a:pt x="18" y="6"/>
                    <a:pt x="18" y="6"/>
                    <a:pt x="19" y="7"/>
                  </a:cubicBezTo>
                  <a:cubicBezTo>
                    <a:pt x="19" y="7"/>
                    <a:pt x="20" y="7"/>
                    <a:pt x="20" y="7"/>
                  </a:cubicBezTo>
                  <a:cubicBezTo>
                    <a:pt x="20" y="7"/>
                    <a:pt x="20" y="7"/>
                    <a:pt x="20" y="7"/>
                  </a:cubicBezTo>
                  <a:cubicBezTo>
                    <a:pt x="22" y="7"/>
                    <a:pt x="33" y="5"/>
                    <a:pt x="34" y="3"/>
                  </a:cubicBezTo>
                  <a:cubicBezTo>
                    <a:pt x="35" y="1"/>
                    <a:pt x="30" y="0"/>
                    <a:pt x="29" y="0"/>
                  </a:cubicBezTo>
                  <a:cubicBezTo>
                    <a:pt x="28"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9"/>
            <p:cNvSpPr/>
            <p:nvPr/>
          </p:nvSpPr>
          <p:spPr bwMode="auto">
            <a:xfrm>
              <a:off x="6780204" y="791397"/>
              <a:ext cx="131763" cy="71438"/>
            </a:xfrm>
            <a:custGeom>
              <a:gdLst>
                <a:gd name="T0" fmla="*/ 18 w 35"/>
                <a:gd name="T1" fmla="*/ 0 h 19"/>
                <a:gd name="T2" fmla="*/ 7 w 35"/>
                <a:gd name="T3" fmla="*/ 5 h 19"/>
                <a:gd name="T4" fmla="*/ 1 w 35"/>
                <a:gd name="T5" fmla="*/ 12 h 19"/>
                <a:gd name="T6" fmla="*/ 3 w 35"/>
                <a:gd name="T7" fmla="*/ 16 h 19"/>
                <a:gd name="T8" fmla="*/ 9 w 35"/>
                <a:gd name="T9" fmla="*/ 18 h 19"/>
                <a:gd name="T10" fmla="*/ 15 w 35"/>
                <a:gd name="T11" fmla="*/ 19 h 19"/>
                <a:gd name="T12" fmla="*/ 22 w 35"/>
                <a:gd name="T13" fmla="*/ 18 h 19"/>
                <a:gd name="T14" fmla="*/ 28 w 35"/>
                <a:gd name="T15" fmla="*/ 10 h 19"/>
                <a:gd name="T16" fmla="*/ 26 w 35"/>
                <a:gd name="T17" fmla="*/ 4 h 19"/>
                <a:gd name="T18" fmla="*/ 18 w 35"/>
                <a:gd name="T1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9">
                  <a:moveTo>
                    <a:pt x="18" y="0"/>
                  </a:moveTo>
                  <a:cubicBezTo>
                    <a:pt x="15" y="1"/>
                    <a:pt x="10" y="2"/>
                    <a:pt x="7" y="5"/>
                  </a:cubicBezTo>
                  <a:cubicBezTo>
                    <a:pt x="4" y="7"/>
                    <a:pt x="3" y="9"/>
                    <a:pt x="1" y="12"/>
                  </a:cubicBezTo>
                  <a:cubicBezTo>
                    <a:pt x="0" y="15"/>
                    <a:pt x="1" y="15"/>
                    <a:pt x="3" y="16"/>
                  </a:cubicBezTo>
                  <a:cubicBezTo>
                    <a:pt x="5" y="17"/>
                    <a:pt x="7" y="18"/>
                    <a:pt x="9" y="18"/>
                  </a:cubicBezTo>
                  <a:cubicBezTo>
                    <a:pt x="11" y="19"/>
                    <a:pt x="13" y="19"/>
                    <a:pt x="15" y="19"/>
                  </a:cubicBezTo>
                  <a:cubicBezTo>
                    <a:pt x="17" y="19"/>
                    <a:pt x="19" y="19"/>
                    <a:pt x="22" y="18"/>
                  </a:cubicBezTo>
                  <a:cubicBezTo>
                    <a:pt x="26" y="17"/>
                    <a:pt x="35" y="14"/>
                    <a:pt x="28" y="10"/>
                  </a:cubicBezTo>
                  <a:cubicBezTo>
                    <a:pt x="27" y="9"/>
                    <a:pt x="27" y="5"/>
                    <a:pt x="26" y="4"/>
                  </a:cubicBezTo>
                  <a:cubicBezTo>
                    <a:pt x="24" y="2"/>
                    <a:pt x="20" y="1"/>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30"/>
            <p:cNvSpPr>
              <a:spLocks noEditPoints="1"/>
            </p:cNvSpPr>
            <p:nvPr/>
          </p:nvSpPr>
          <p:spPr bwMode="auto">
            <a:xfrm>
              <a:off x="9180504" y="1778822"/>
              <a:ext cx="63500" cy="49213"/>
            </a:xfrm>
            <a:custGeom>
              <a:gdLst>
                <a:gd name="T0" fmla="*/ 10 w 17"/>
                <a:gd name="T1" fmla="*/ 13 h 13"/>
                <a:gd name="T2" fmla="*/ 10 w 17"/>
                <a:gd name="T3" fmla="*/ 13 h 13"/>
                <a:gd name="T4" fmla="*/ 10 w 17"/>
                <a:gd name="T5" fmla="*/ 13 h 13"/>
                <a:gd name="T6" fmla="*/ 6 w 17"/>
                <a:gd name="T7" fmla="*/ 0 h 13"/>
                <a:gd name="T8" fmla="*/ 1 w 17"/>
                <a:gd name="T9" fmla="*/ 2 h 13"/>
                <a:gd name="T10" fmla="*/ 0 w 17"/>
                <a:gd name="T11" fmla="*/ 6 h 13"/>
                <a:gd name="T12" fmla="*/ 6 w 17"/>
                <a:gd name="T13" fmla="*/ 12 h 13"/>
                <a:gd name="T14" fmla="*/ 8 w 17"/>
                <a:gd name="T15" fmla="*/ 12 h 13"/>
                <a:gd name="T16" fmla="*/ 8 w 17"/>
                <a:gd name="T17" fmla="*/ 12 h 13"/>
                <a:gd name="T18" fmla="*/ 10 w 17"/>
                <a:gd name="T19" fmla="*/ 13 h 13"/>
                <a:gd name="T20" fmla="*/ 13 w 17"/>
                <a:gd name="T21" fmla="*/ 7 h 13"/>
                <a:gd name="T22" fmla="*/ 17 w 17"/>
                <a:gd name="T23" fmla="*/ 4 h 13"/>
                <a:gd name="T24" fmla="*/ 6 w 17"/>
                <a:gd name="T2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3">
                  <a:moveTo>
                    <a:pt x="10" y="13"/>
                  </a:moveTo>
                  <a:cubicBezTo>
                    <a:pt x="10" y="13"/>
                    <a:pt x="10" y="13"/>
                    <a:pt x="10" y="13"/>
                  </a:cubicBezTo>
                  <a:cubicBezTo>
                    <a:pt x="10" y="13"/>
                    <a:pt x="10" y="13"/>
                    <a:pt x="10" y="13"/>
                  </a:cubicBezTo>
                  <a:moveTo>
                    <a:pt x="6" y="0"/>
                  </a:moveTo>
                  <a:cubicBezTo>
                    <a:pt x="5" y="0"/>
                    <a:pt x="2" y="0"/>
                    <a:pt x="1" y="2"/>
                  </a:cubicBezTo>
                  <a:cubicBezTo>
                    <a:pt x="1" y="2"/>
                    <a:pt x="0" y="6"/>
                    <a:pt x="0" y="6"/>
                  </a:cubicBezTo>
                  <a:cubicBezTo>
                    <a:pt x="0" y="10"/>
                    <a:pt x="3" y="12"/>
                    <a:pt x="6" y="12"/>
                  </a:cubicBezTo>
                  <a:cubicBezTo>
                    <a:pt x="6" y="12"/>
                    <a:pt x="7" y="12"/>
                    <a:pt x="8" y="12"/>
                  </a:cubicBezTo>
                  <a:cubicBezTo>
                    <a:pt x="8" y="12"/>
                    <a:pt x="8" y="12"/>
                    <a:pt x="8" y="12"/>
                  </a:cubicBezTo>
                  <a:cubicBezTo>
                    <a:pt x="9" y="12"/>
                    <a:pt x="11" y="13"/>
                    <a:pt x="10" y="13"/>
                  </a:cubicBezTo>
                  <a:cubicBezTo>
                    <a:pt x="12" y="13"/>
                    <a:pt x="12" y="9"/>
                    <a:pt x="13" y="7"/>
                  </a:cubicBezTo>
                  <a:cubicBezTo>
                    <a:pt x="14" y="6"/>
                    <a:pt x="17" y="5"/>
                    <a:pt x="17" y="4"/>
                  </a:cubicBezTo>
                  <a:cubicBezTo>
                    <a:pt x="17" y="3"/>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31"/>
            <p:cNvSpPr/>
            <p:nvPr/>
          </p:nvSpPr>
          <p:spPr bwMode="auto">
            <a:xfrm>
              <a:off x="8609004" y="2713859"/>
              <a:ext cx="184150" cy="112713"/>
            </a:xfrm>
            <a:custGeom>
              <a:gdLst>
                <a:gd name="T0" fmla="*/ 39 w 49"/>
                <a:gd name="T1" fmla="*/ 0 h 30"/>
                <a:gd name="T2" fmla="*/ 39 w 49"/>
                <a:gd name="T3" fmla="*/ 0 h 30"/>
                <a:gd name="T4" fmla="*/ 34 w 49"/>
                <a:gd name="T5" fmla="*/ 2 h 30"/>
                <a:gd name="T6" fmla="*/ 34 w 49"/>
                <a:gd name="T7" fmla="*/ 2 h 30"/>
                <a:gd name="T8" fmla="*/ 32 w 49"/>
                <a:gd name="T9" fmla="*/ 2 h 30"/>
                <a:gd name="T10" fmla="*/ 30 w 49"/>
                <a:gd name="T11" fmla="*/ 1 h 30"/>
                <a:gd name="T12" fmla="*/ 28 w 49"/>
                <a:gd name="T13" fmla="*/ 2 h 30"/>
                <a:gd name="T14" fmla="*/ 23 w 49"/>
                <a:gd name="T15" fmla="*/ 4 h 30"/>
                <a:gd name="T16" fmla="*/ 20 w 49"/>
                <a:gd name="T17" fmla="*/ 5 h 30"/>
                <a:gd name="T18" fmla="*/ 18 w 49"/>
                <a:gd name="T19" fmla="*/ 4 h 30"/>
                <a:gd name="T20" fmla="*/ 15 w 49"/>
                <a:gd name="T21" fmla="*/ 2 h 30"/>
                <a:gd name="T22" fmla="*/ 14 w 49"/>
                <a:gd name="T23" fmla="*/ 2 h 30"/>
                <a:gd name="T24" fmla="*/ 10 w 49"/>
                <a:gd name="T25" fmla="*/ 5 h 30"/>
                <a:gd name="T26" fmla="*/ 9 w 49"/>
                <a:gd name="T27" fmla="*/ 10 h 30"/>
                <a:gd name="T28" fmla="*/ 0 w 49"/>
                <a:gd name="T29" fmla="*/ 19 h 30"/>
                <a:gd name="T30" fmla="*/ 5 w 49"/>
                <a:gd name="T31" fmla="*/ 28 h 30"/>
                <a:gd name="T32" fmla="*/ 6 w 49"/>
                <a:gd name="T33" fmla="*/ 30 h 30"/>
                <a:gd name="T34" fmla="*/ 8 w 49"/>
                <a:gd name="T35" fmla="*/ 29 h 30"/>
                <a:gd name="T36" fmla="*/ 10 w 49"/>
                <a:gd name="T37" fmla="*/ 28 h 30"/>
                <a:gd name="T38" fmla="*/ 12 w 49"/>
                <a:gd name="T39" fmla="*/ 28 h 30"/>
                <a:gd name="T40" fmla="*/ 18 w 49"/>
                <a:gd name="T41" fmla="*/ 29 h 30"/>
                <a:gd name="T42" fmla="*/ 18 w 49"/>
                <a:gd name="T43" fmla="*/ 29 h 30"/>
                <a:gd name="T44" fmla="*/ 29 w 49"/>
                <a:gd name="T45" fmla="*/ 24 h 30"/>
                <a:gd name="T46" fmla="*/ 36 w 49"/>
                <a:gd name="T47" fmla="*/ 17 h 30"/>
                <a:gd name="T48" fmla="*/ 46 w 49"/>
                <a:gd name="T49" fmla="*/ 10 h 30"/>
                <a:gd name="T50" fmla="*/ 47 w 49"/>
                <a:gd name="T51" fmla="*/ 4 h 30"/>
                <a:gd name="T52" fmla="*/ 44 w 49"/>
                <a:gd name="T53" fmla="*/ 1 h 30"/>
                <a:gd name="T54" fmla="*/ 39 w 49"/>
                <a:gd name="T55"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30">
                  <a:moveTo>
                    <a:pt x="39" y="0"/>
                  </a:moveTo>
                  <a:cubicBezTo>
                    <a:pt x="39" y="0"/>
                    <a:pt x="39" y="0"/>
                    <a:pt x="39" y="0"/>
                  </a:cubicBezTo>
                  <a:cubicBezTo>
                    <a:pt x="36" y="0"/>
                    <a:pt x="36" y="2"/>
                    <a:pt x="34" y="2"/>
                  </a:cubicBezTo>
                  <a:cubicBezTo>
                    <a:pt x="34" y="2"/>
                    <a:pt x="34" y="2"/>
                    <a:pt x="34" y="2"/>
                  </a:cubicBezTo>
                  <a:cubicBezTo>
                    <a:pt x="33" y="2"/>
                    <a:pt x="32" y="2"/>
                    <a:pt x="32" y="2"/>
                  </a:cubicBezTo>
                  <a:cubicBezTo>
                    <a:pt x="31" y="2"/>
                    <a:pt x="30" y="1"/>
                    <a:pt x="30" y="1"/>
                  </a:cubicBezTo>
                  <a:cubicBezTo>
                    <a:pt x="29" y="1"/>
                    <a:pt x="29" y="1"/>
                    <a:pt x="28" y="2"/>
                  </a:cubicBezTo>
                  <a:cubicBezTo>
                    <a:pt x="27" y="2"/>
                    <a:pt x="25" y="3"/>
                    <a:pt x="23" y="4"/>
                  </a:cubicBezTo>
                  <a:cubicBezTo>
                    <a:pt x="22" y="5"/>
                    <a:pt x="21" y="5"/>
                    <a:pt x="20" y="5"/>
                  </a:cubicBezTo>
                  <a:cubicBezTo>
                    <a:pt x="20" y="5"/>
                    <a:pt x="19" y="5"/>
                    <a:pt x="18" y="4"/>
                  </a:cubicBezTo>
                  <a:cubicBezTo>
                    <a:pt x="17" y="4"/>
                    <a:pt x="17" y="2"/>
                    <a:pt x="15" y="2"/>
                  </a:cubicBezTo>
                  <a:cubicBezTo>
                    <a:pt x="15" y="2"/>
                    <a:pt x="15" y="2"/>
                    <a:pt x="14" y="2"/>
                  </a:cubicBezTo>
                  <a:cubicBezTo>
                    <a:pt x="13" y="2"/>
                    <a:pt x="11" y="4"/>
                    <a:pt x="10" y="5"/>
                  </a:cubicBezTo>
                  <a:cubicBezTo>
                    <a:pt x="9" y="7"/>
                    <a:pt x="10" y="9"/>
                    <a:pt x="9" y="10"/>
                  </a:cubicBezTo>
                  <a:cubicBezTo>
                    <a:pt x="7" y="14"/>
                    <a:pt x="3" y="16"/>
                    <a:pt x="0" y="19"/>
                  </a:cubicBezTo>
                  <a:cubicBezTo>
                    <a:pt x="2" y="22"/>
                    <a:pt x="3" y="26"/>
                    <a:pt x="5" y="28"/>
                  </a:cubicBezTo>
                  <a:cubicBezTo>
                    <a:pt x="6" y="30"/>
                    <a:pt x="6" y="30"/>
                    <a:pt x="6" y="30"/>
                  </a:cubicBezTo>
                  <a:cubicBezTo>
                    <a:pt x="6" y="30"/>
                    <a:pt x="7" y="30"/>
                    <a:pt x="8" y="29"/>
                  </a:cubicBezTo>
                  <a:cubicBezTo>
                    <a:pt x="9" y="29"/>
                    <a:pt x="9" y="28"/>
                    <a:pt x="10" y="28"/>
                  </a:cubicBezTo>
                  <a:cubicBezTo>
                    <a:pt x="10" y="28"/>
                    <a:pt x="11" y="28"/>
                    <a:pt x="12" y="28"/>
                  </a:cubicBezTo>
                  <a:cubicBezTo>
                    <a:pt x="14" y="28"/>
                    <a:pt x="16" y="28"/>
                    <a:pt x="18" y="29"/>
                  </a:cubicBezTo>
                  <a:cubicBezTo>
                    <a:pt x="18" y="29"/>
                    <a:pt x="18" y="29"/>
                    <a:pt x="18" y="29"/>
                  </a:cubicBezTo>
                  <a:cubicBezTo>
                    <a:pt x="22" y="29"/>
                    <a:pt x="26" y="26"/>
                    <a:pt x="29" y="24"/>
                  </a:cubicBezTo>
                  <a:cubicBezTo>
                    <a:pt x="31" y="21"/>
                    <a:pt x="34" y="19"/>
                    <a:pt x="36" y="17"/>
                  </a:cubicBezTo>
                  <a:cubicBezTo>
                    <a:pt x="38" y="14"/>
                    <a:pt x="44" y="14"/>
                    <a:pt x="46" y="10"/>
                  </a:cubicBezTo>
                  <a:cubicBezTo>
                    <a:pt x="47" y="8"/>
                    <a:pt x="46" y="6"/>
                    <a:pt x="47" y="4"/>
                  </a:cubicBezTo>
                  <a:cubicBezTo>
                    <a:pt x="49" y="0"/>
                    <a:pt x="46" y="1"/>
                    <a:pt x="44" y="1"/>
                  </a:cubicBezTo>
                  <a:cubicBezTo>
                    <a:pt x="42" y="1"/>
                    <a:pt x="41"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32"/>
            <p:cNvSpPr/>
            <p:nvPr/>
          </p:nvSpPr>
          <p:spPr bwMode="auto">
            <a:xfrm>
              <a:off x="8924916" y="2793234"/>
              <a:ext cx="93663" cy="112713"/>
            </a:xfrm>
            <a:custGeom>
              <a:gdLst>
                <a:gd name="T0" fmla="*/ 17 w 25"/>
                <a:gd name="T1" fmla="*/ 0 h 30"/>
                <a:gd name="T2" fmla="*/ 16 w 25"/>
                <a:gd name="T3" fmla="*/ 0 h 30"/>
                <a:gd name="T4" fmla="*/ 14 w 25"/>
                <a:gd name="T5" fmla="*/ 1 h 30"/>
                <a:gd name="T6" fmla="*/ 12 w 25"/>
                <a:gd name="T7" fmla="*/ 0 h 30"/>
                <a:gd name="T8" fmla="*/ 11 w 25"/>
                <a:gd name="T9" fmla="*/ 0 h 30"/>
                <a:gd name="T10" fmla="*/ 7 w 25"/>
                <a:gd name="T11" fmla="*/ 1 h 30"/>
                <a:gd name="T12" fmla="*/ 4 w 25"/>
                <a:gd name="T13" fmla="*/ 6 h 30"/>
                <a:gd name="T14" fmla="*/ 1 w 25"/>
                <a:gd name="T15" fmla="*/ 11 h 30"/>
                <a:gd name="T16" fmla="*/ 1 w 25"/>
                <a:gd name="T17" fmla="*/ 20 h 30"/>
                <a:gd name="T18" fmla="*/ 11 w 25"/>
                <a:gd name="T19" fmla="*/ 30 h 30"/>
                <a:gd name="T20" fmla="*/ 17 w 25"/>
                <a:gd name="T21" fmla="*/ 23 h 30"/>
                <a:gd name="T22" fmla="*/ 19 w 25"/>
                <a:gd name="T23" fmla="*/ 20 h 30"/>
                <a:gd name="T24" fmla="*/ 20 w 25"/>
                <a:gd name="T25" fmla="*/ 17 h 30"/>
                <a:gd name="T26" fmla="*/ 22 w 25"/>
                <a:gd name="T27" fmla="*/ 14 h 30"/>
                <a:gd name="T28" fmla="*/ 22 w 25"/>
                <a:gd name="T29" fmla="*/ 14 h 30"/>
                <a:gd name="T30" fmla="*/ 22 w 25"/>
                <a:gd name="T31" fmla="*/ 14 h 30"/>
                <a:gd name="T32" fmla="*/ 23 w 25"/>
                <a:gd name="T33" fmla="*/ 14 h 30"/>
                <a:gd name="T34" fmla="*/ 23 w 25"/>
                <a:gd name="T35" fmla="*/ 14 h 30"/>
                <a:gd name="T36" fmla="*/ 24 w 25"/>
                <a:gd name="T37" fmla="*/ 7 h 30"/>
                <a:gd name="T38" fmla="*/ 23 w 25"/>
                <a:gd name="T39" fmla="*/ 4 h 30"/>
                <a:gd name="T40" fmla="*/ 21 w 25"/>
                <a:gd name="T41" fmla="*/ 2 h 30"/>
                <a:gd name="T42" fmla="*/ 17 w 25"/>
                <a:gd name="T43"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0">
                  <a:moveTo>
                    <a:pt x="17" y="0"/>
                  </a:moveTo>
                  <a:cubicBezTo>
                    <a:pt x="17" y="0"/>
                    <a:pt x="16" y="0"/>
                    <a:pt x="16" y="0"/>
                  </a:cubicBezTo>
                  <a:cubicBezTo>
                    <a:pt x="15" y="0"/>
                    <a:pt x="15" y="1"/>
                    <a:pt x="14" y="1"/>
                  </a:cubicBezTo>
                  <a:cubicBezTo>
                    <a:pt x="14" y="1"/>
                    <a:pt x="12" y="0"/>
                    <a:pt x="12" y="0"/>
                  </a:cubicBezTo>
                  <a:cubicBezTo>
                    <a:pt x="12" y="0"/>
                    <a:pt x="11" y="0"/>
                    <a:pt x="11" y="0"/>
                  </a:cubicBezTo>
                  <a:cubicBezTo>
                    <a:pt x="10" y="0"/>
                    <a:pt x="8" y="0"/>
                    <a:pt x="7" y="1"/>
                  </a:cubicBezTo>
                  <a:cubicBezTo>
                    <a:pt x="6" y="2"/>
                    <a:pt x="5" y="5"/>
                    <a:pt x="4" y="6"/>
                  </a:cubicBezTo>
                  <a:cubicBezTo>
                    <a:pt x="3" y="8"/>
                    <a:pt x="2" y="9"/>
                    <a:pt x="1" y="11"/>
                  </a:cubicBezTo>
                  <a:cubicBezTo>
                    <a:pt x="1" y="14"/>
                    <a:pt x="0" y="18"/>
                    <a:pt x="1" y="20"/>
                  </a:cubicBezTo>
                  <a:cubicBezTo>
                    <a:pt x="2" y="24"/>
                    <a:pt x="8" y="27"/>
                    <a:pt x="11" y="30"/>
                  </a:cubicBezTo>
                  <a:cubicBezTo>
                    <a:pt x="16" y="28"/>
                    <a:pt x="15" y="26"/>
                    <a:pt x="17" y="23"/>
                  </a:cubicBezTo>
                  <a:cubicBezTo>
                    <a:pt x="17" y="22"/>
                    <a:pt x="18" y="21"/>
                    <a:pt x="19" y="20"/>
                  </a:cubicBezTo>
                  <a:cubicBezTo>
                    <a:pt x="19" y="19"/>
                    <a:pt x="20" y="18"/>
                    <a:pt x="20" y="17"/>
                  </a:cubicBezTo>
                  <a:cubicBezTo>
                    <a:pt x="21" y="16"/>
                    <a:pt x="21" y="15"/>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4" y="12"/>
                    <a:pt x="24" y="9"/>
                    <a:pt x="24" y="7"/>
                  </a:cubicBezTo>
                  <a:cubicBezTo>
                    <a:pt x="24" y="5"/>
                    <a:pt x="25" y="6"/>
                    <a:pt x="23" y="4"/>
                  </a:cubicBezTo>
                  <a:cubicBezTo>
                    <a:pt x="23" y="4"/>
                    <a:pt x="22" y="3"/>
                    <a:pt x="21" y="2"/>
                  </a:cubicBezTo>
                  <a:cubicBezTo>
                    <a:pt x="19" y="1"/>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3"/>
            <p:cNvSpPr/>
            <p:nvPr/>
          </p:nvSpPr>
          <p:spPr bwMode="auto">
            <a:xfrm>
              <a:off x="10215554" y="2893247"/>
              <a:ext cx="71438" cy="41275"/>
            </a:xfrm>
            <a:custGeom>
              <a:gdLst>
                <a:gd name="T0" fmla="*/ 8 w 19"/>
                <a:gd name="T1" fmla="*/ 0 h 11"/>
                <a:gd name="T2" fmla="*/ 0 w 19"/>
                <a:gd name="T3" fmla="*/ 2 h 11"/>
                <a:gd name="T4" fmla="*/ 11 w 19"/>
                <a:gd name="T5" fmla="*/ 9 h 11"/>
                <a:gd name="T6" fmla="*/ 14 w 19"/>
                <a:gd name="T7" fmla="*/ 11 h 11"/>
                <a:gd name="T8" fmla="*/ 16 w 19"/>
                <a:gd name="T9" fmla="*/ 10 h 11"/>
                <a:gd name="T10" fmla="*/ 17 w 19"/>
                <a:gd name="T11" fmla="*/ 8 h 11"/>
                <a:gd name="T12" fmla="*/ 18 w 19"/>
                <a:gd name="T13" fmla="*/ 7 h 11"/>
                <a:gd name="T14" fmla="*/ 19 w 19"/>
                <a:gd name="T15" fmla="*/ 2 h 11"/>
                <a:gd name="T16" fmla="*/ 8 w 19"/>
                <a:gd name="T1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8" y="0"/>
                  </a:moveTo>
                  <a:cubicBezTo>
                    <a:pt x="5" y="0"/>
                    <a:pt x="3" y="1"/>
                    <a:pt x="0" y="2"/>
                  </a:cubicBezTo>
                  <a:cubicBezTo>
                    <a:pt x="4" y="4"/>
                    <a:pt x="8" y="6"/>
                    <a:pt x="11" y="9"/>
                  </a:cubicBezTo>
                  <a:cubicBezTo>
                    <a:pt x="12" y="10"/>
                    <a:pt x="13" y="11"/>
                    <a:pt x="14" y="11"/>
                  </a:cubicBezTo>
                  <a:cubicBezTo>
                    <a:pt x="14" y="11"/>
                    <a:pt x="15" y="11"/>
                    <a:pt x="16" y="10"/>
                  </a:cubicBezTo>
                  <a:cubicBezTo>
                    <a:pt x="16" y="9"/>
                    <a:pt x="16" y="8"/>
                    <a:pt x="17" y="8"/>
                  </a:cubicBezTo>
                  <a:cubicBezTo>
                    <a:pt x="17" y="8"/>
                    <a:pt x="18" y="8"/>
                    <a:pt x="18" y="7"/>
                  </a:cubicBezTo>
                  <a:cubicBezTo>
                    <a:pt x="19" y="6"/>
                    <a:pt x="19" y="4"/>
                    <a:pt x="19" y="2"/>
                  </a:cubicBezTo>
                  <a:cubicBezTo>
                    <a:pt x="16" y="1"/>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34"/>
            <p:cNvSpPr/>
            <p:nvPr/>
          </p:nvSpPr>
          <p:spPr bwMode="auto">
            <a:xfrm>
              <a:off x="6916729" y="692972"/>
              <a:ext cx="119063" cy="41275"/>
            </a:xfrm>
            <a:custGeom>
              <a:gdLst>
                <a:gd name="T0" fmla="*/ 27 w 32"/>
                <a:gd name="T1" fmla="*/ 0 h 11"/>
                <a:gd name="T2" fmla="*/ 26 w 32"/>
                <a:gd name="T3" fmla="*/ 0 h 11"/>
                <a:gd name="T4" fmla="*/ 15 w 32"/>
                <a:gd name="T5" fmla="*/ 2 h 11"/>
                <a:gd name="T6" fmla="*/ 14 w 32"/>
                <a:gd name="T7" fmla="*/ 2 h 11"/>
                <a:gd name="T8" fmla="*/ 14 w 32"/>
                <a:gd name="T9" fmla="*/ 3 h 11"/>
                <a:gd name="T10" fmla="*/ 9 w 32"/>
                <a:gd name="T11" fmla="*/ 4 h 11"/>
                <a:gd name="T12" fmla="*/ 8 w 32"/>
                <a:gd name="T13" fmla="*/ 4 h 11"/>
                <a:gd name="T14" fmla="*/ 7 w 32"/>
                <a:gd name="T15" fmla="*/ 5 h 11"/>
                <a:gd name="T16" fmla="*/ 0 w 32"/>
                <a:gd name="T17" fmla="*/ 11 h 11"/>
                <a:gd name="T18" fmla="*/ 32 w 32"/>
                <a:gd name="T19" fmla="*/ 3 h 11"/>
                <a:gd name="T20" fmla="*/ 32 w 32"/>
                <a:gd name="T21" fmla="*/ 3 h 11"/>
                <a:gd name="T22" fmla="*/ 32 w 32"/>
                <a:gd name="T23" fmla="*/ 3 h 11"/>
                <a:gd name="T24" fmla="*/ 32 w 32"/>
                <a:gd name="T25" fmla="*/ 2 h 11"/>
                <a:gd name="T26" fmla="*/ 32 w 32"/>
                <a:gd name="T27" fmla="*/ 2 h 11"/>
                <a:gd name="T28" fmla="*/ 30 w 32"/>
                <a:gd name="T29" fmla="*/ 2 h 11"/>
                <a:gd name="T30" fmla="*/ 30 w 32"/>
                <a:gd name="T31" fmla="*/ 1 h 11"/>
                <a:gd name="T32" fmla="*/ 29 w 32"/>
                <a:gd name="T33" fmla="*/ 1 h 11"/>
                <a:gd name="T34" fmla="*/ 27 w 32"/>
                <a:gd name="T35"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11">
                  <a:moveTo>
                    <a:pt x="27" y="0"/>
                  </a:moveTo>
                  <a:cubicBezTo>
                    <a:pt x="26" y="0"/>
                    <a:pt x="26" y="0"/>
                    <a:pt x="26" y="0"/>
                  </a:cubicBezTo>
                  <a:cubicBezTo>
                    <a:pt x="23" y="0"/>
                    <a:pt x="17" y="2"/>
                    <a:pt x="15" y="2"/>
                  </a:cubicBezTo>
                  <a:cubicBezTo>
                    <a:pt x="14" y="2"/>
                    <a:pt x="14" y="2"/>
                    <a:pt x="14" y="2"/>
                  </a:cubicBezTo>
                  <a:cubicBezTo>
                    <a:pt x="14" y="3"/>
                    <a:pt x="14" y="3"/>
                    <a:pt x="14" y="3"/>
                  </a:cubicBezTo>
                  <a:cubicBezTo>
                    <a:pt x="12" y="3"/>
                    <a:pt x="10" y="3"/>
                    <a:pt x="9" y="4"/>
                  </a:cubicBezTo>
                  <a:cubicBezTo>
                    <a:pt x="8" y="4"/>
                    <a:pt x="8" y="4"/>
                    <a:pt x="8" y="4"/>
                  </a:cubicBezTo>
                  <a:cubicBezTo>
                    <a:pt x="8" y="4"/>
                    <a:pt x="7" y="5"/>
                    <a:pt x="7" y="5"/>
                  </a:cubicBezTo>
                  <a:cubicBezTo>
                    <a:pt x="4" y="7"/>
                    <a:pt x="3" y="9"/>
                    <a:pt x="0" y="11"/>
                  </a:cubicBezTo>
                  <a:cubicBezTo>
                    <a:pt x="11" y="8"/>
                    <a:pt x="21" y="5"/>
                    <a:pt x="32" y="3"/>
                  </a:cubicBezTo>
                  <a:cubicBezTo>
                    <a:pt x="32" y="3"/>
                    <a:pt x="32" y="3"/>
                    <a:pt x="32" y="3"/>
                  </a:cubicBezTo>
                  <a:cubicBezTo>
                    <a:pt x="32" y="3"/>
                    <a:pt x="32" y="3"/>
                    <a:pt x="32" y="3"/>
                  </a:cubicBezTo>
                  <a:cubicBezTo>
                    <a:pt x="32" y="2"/>
                    <a:pt x="32" y="2"/>
                    <a:pt x="32" y="2"/>
                  </a:cubicBezTo>
                  <a:cubicBezTo>
                    <a:pt x="32" y="2"/>
                    <a:pt x="32" y="2"/>
                    <a:pt x="32" y="2"/>
                  </a:cubicBezTo>
                  <a:cubicBezTo>
                    <a:pt x="31" y="2"/>
                    <a:pt x="31" y="2"/>
                    <a:pt x="30" y="2"/>
                  </a:cubicBezTo>
                  <a:cubicBezTo>
                    <a:pt x="30" y="1"/>
                    <a:pt x="30" y="1"/>
                    <a:pt x="30" y="1"/>
                  </a:cubicBezTo>
                  <a:cubicBezTo>
                    <a:pt x="30" y="1"/>
                    <a:pt x="29" y="1"/>
                    <a:pt x="29" y="1"/>
                  </a:cubicBezTo>
                  <a:cubicBezTo>
                    <a:pt x="28" y="0"/>
                    <a:pt x="28"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35"/>
            <p:cNvSpPr/>
            <p:nvPr/>
          </p:nvSpPr>
          <p:spPr bwMode="auto">
            <a:xfrm>
              <a:off x="9078904" y="2642422"/>
              <a:ext cx="93663" cy="55563"/>
            </a:xfrm>
            <a:custGeom>
              <a:gdLst>
                <a:gd name="T0" fmla="*/ 8 w 25"/>
                <a:gd name="T1" fmla="*/ 0 h 15"/>
                <a:gd name="T2" fmla="*/ 0 w 25"/>
                <a:gd name="T3" fmla="*/ 4 h 15"/>
                <a:gd name="T4" fmla="*/ 3 w 25"/>
                <a:gd name="T5" fmla="*/ 6 h 15"/>
                <a:gd name="T6" fmla="*/ 11 w 25"/>
                <a:gd name="T7" fmla="*/ 13 h 15"/>
                <a:gd name="T8" fmla="*/ 15 w 25"/>
                <a:gd name="T9" fmla="*/ 15 h 15"/>
                <a:gd name="T10" fmla="*/ 18 w 25"/>
                <a:gd name="T11" fmla="*/ 13 h 15"/>
                <a:gd name="T12" fmla="*/ 24 w 25"/>
                <a:gd name="T13" fmla="*/ 10 h 15"/>
                <a:gd name="T14" fmla="*/ 19 w 25"/>
                <a:gd name="T15" fmla="*/ 2 h 15"/>
                <a:gd name="T16" fmla="*/ 19 w 25"/>
                <a:gd name="T17" fmla="*/ 2 h 15"/>
                <a:gd name="T18" fmla="*/ 19 w 25"/>
                <a:gd name="T19" fmla="*/ 3 h 15"/>
                <a:gd name="T20" fmla="*/ 18 w 25"/>
                <a:gd name="T21" fmla="*/ 3 h 15"/>
                <a:gd name="T22" fmla="*/ 18 w 25"/>
                <a:gd name="T23" fmla="*/ 3 h 15"/>
                <a:gd name="T24" fmla="*/ 17 w 25"/>
                <a:gd name="T25" fmla="*/ 2 h 15"/>
                <a:gd name="T26" fmla="*/ 15 w 25"/>
                <a:gd name="T27" fmla="*/ 1 h 15"/>
                <a:gd name="T28" fmla="*/ 12 w 25"/>
                <a:gd name="T29" fmla="*/ 1 h 15"/>
                <a:gd name="T30" fmla="*/ 12 w 25"/>
                <a:gd name="T31" fmla="*/ 1 h 15"/>
                <a:gd name="T32" fmla="*/ 11 w 25"/>
                <a:gd name="T33" fmla="*/ 1 h 15"/>
                <a:gd name="T34" fmla="*/ 8 w 25"/>
                <a:gd name="T35"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15">
                  <a:moveTo>
                    <a:pt x="8" y="0"/>
                  </a:moveTo>
                  <a:cubicBezTo>
                    <a:pt x="7" y="0"/>
                    <a:pt x="0" y="4"/>
                    <a:pt x="0" y="4"/>
                  </a:cubicBezTo>
                  <a:cubicBezTo>
                    <a:pt x="1" y="5"/>
                    <a:pt x="2" y="5"/>
                    <a:pt x="3" y="6"/>
                  </a:cubicBezTo>
                  <a:cubicBezTo>
                    <a:pt x="6" y="8"/>
                    <a:pt x="8" y="11"/>
                    <a:pt x="11" y="13"/>
                  </a:cubicBezTo>
                  <a:cubicBezTo>
                    <a:pt x="13" y="14"/>
                    <a:pt x="14" y="15"/>
                    <a:pt x="15" y="15"/>
                  </a:cubicBezTo>
                  <a:cubicBezTo>
                    <a:pt x="16" y="15"/>
                    <a:pt x="17" y="14"/>
                    <a:pt x="18" y="13"/>
                  </a:cubicBezTo>
                  <a:cubicBezTo>
                    <a:pt x="21" y="12"/>
                    <a:pt x="23" y="12"/>
                    <a:pt x="24" y="10"/>
                  </a:cubicBezTo>
                  <a:cubicBezTo>
                    <a:pt x="25" y="8"/>
                    <a:pt x="21" y="3"/>
                    <a:pt x="19" y="2"/>
                  </a:cubicBezTo>
                  <a:cubicBezTo>
                    <a:pt x="19" y="2"/>
                    <a:pt x="19" y="2"/>
                    <a:pt x="19" y="2"/>
                  </a:cubicBezTo>
                  <a:cubicBezTo>
                    <a:pt x="19" y="2"/>
                    <a:pt x="19" y="3"/>
                    <a:pt x="19" y="3"/>
                  </a:cubicBezTo>
                  <a:cubicBezTo>
                    <a:pt x="18" y="3"/>
                    <a:pt x="18" y="3"/>
                    <a:pt x="18" y="3"/>
                  </a:cubicBezTo>
                  <a:cubicBezTo>
                    <a:pt x="18" y="3"/>
                    <a:pt x="18" y="3"/>
                    <a:pt x="18" y="3"/>
                  </a:cubicBezTo>
                  <a:cubicBezTo>
                    <a:pt x="17" y="3"/>
                    <a:pt x="17" y="2"/>
                    <a:pt x="17" y="2"/>
                  </a:cubicBezTo>
                  <a:cubicBezTo>
                    <a:pt x="16" y="1"/>
                    <a:pt x="15" y="1"/>
                    <a:pt x="15" y="1"/>
                  </a:cubicBezTo>
                  <a:cubicBezTo>
                    <a:pt x="14" y="1"/>
                    <a:pt x="13" y="1"/>
                    <a:pt x="12" y="1"/>
                  </a:cubicBezTo>
                  <a:cubicBezTo>
                    <a:pt x="12" y="1"/>
                    <a:pt x="12" y="1"/>
                    <a:pt x="12" y="1"/>
                  </a:cubicBezTo>
                  <a:cubicBezTo>
                    <a:pt x="12" y="1"/>
                    <a:pt x="11" y="1"/>
                    <a:pt x="11" y="1"/>
                  </a:cubicBezTo>
                  <a:cubicBezTo>
                    <a:pt x="10" y="1"/>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36"/>
            <p:cNvSpPr>
              <a:spLocks noEditPoints="1"/>
            </p:cNvSpPr>
            <p:nvPr/>
          </p:nvSpPr>
          <p:spPr bwMode="auto">
            <a:xfrm>
              <a:off x="4325929" y="3840984"/>
              <a:ext cx="127000" cy="119063"/>
            </a:xfrm>
            <a:custGeom>
              <a:gdLst>
                <a:gd name="T0" fmla="*/ 0 w 34"/>
                <a:gd name="T1" fmla="*/ 12 h 32"/>
                <a:gd name="T2" fmla="*/ 0 w 34"/>
                <a:gd name="T3" fmla="*/ 12 h 32"/>
                <a:gd name="T4" fmla="*/ 0 w 34"/>
                <a:gd name="T5" fmla="*/ 12 h 32"/>
                <a:gd name="T6" fmla="*/ 2 w 34"/>
                <a:gd name="T7" fmla="*/ 0 h 32"/>
                <a:gd name="T8" fmla="*/ 1 w 34"/>
                <a:gd name="T9" fmla="*/ 0 h 32"/>
                <a:gd name="T10" fmla="*/ 2 w 34"/>
                <a:gd name="T11" fmla="*/ 3 h 32"/>
                <a:gd name="T12" fmla="*/ 0 w 34"/>
                <a:gd name="T13" fmla="*/ 9 h 32"/>
                <a:gd name="T14" fmla="*/ 0 w 34"/>
                <a:gd name="T15" fmla="*/ 9 h 32"/>
                <a:gd name="T16" fmla="*/ 0 w 34"/>
                <a:gd name="T17" fmla="*/ 10 h 32"/>
                <a:gd name="T18" fmla="*/ 1 w 34"/>
                <a:gd name="T19" fmla="*/ 12 h 32"/>
                <a:gd name="T20" fmla="*/ 0 w 34"/>
                <a:gd name="T21" fmla="*/ 12 h 32"/>
                <a:gd name="T22" fmla="*/ 3 w 34"/>
                <a:gd name="T23" fmla="*/ 13 h 32"/>
                <a:gd name="T24" fmla="*/ 3 w 34"/>
                <a:gd name="T25" fmla="*/ 13 h 32"/>
                <a:gd name="T26" fmla="*/ 3 w 34"/>
                <a:gd name="T27" fmla="*/ 14 h 32"/>
                <a:gd name="T28" fmla="*/ 3 w 34"/>
                <a:gd name="T29" fmla="*/ 16 h 32"/>
                <a:gd name="T30" fmla="*/ 6 w 34"/>
                <a:gd name="T31" fmla="*/ 18 h 32"/>
                <a:gd name="T32" fmla="*/ 5 w 34"/>
                <a:gd name="T33" fmla="*/ 18 h 32"/>
                <a:gd name="T34" fmla="*/ 3 w 34"/>
                <a:gd name="T35" fmla="*/ 18 h 32"/>
                <a:gd name="T36" fmla="*/ 17 w 34"/>
                <a:gd name="T37" fmla="*/ 27 h 32"/>
                <a:gd name="T38" fmla="*/ 12 w 34"/>
                <a:gd name="T39" fmla="*/ 25 h 32"/>
                <a:gd name="T40" fmla="*/ 9 w 34"/>
                <a:gd name="T41" fmla="*/ 27 h 32"/>
                <a:gd name="T42" fmla="*/ 11 w 34"/>
                <a:gd name="T43" fmla="*/ 26 h 32"/>
                <a:gd name="T44" fmla="*/ 14 w 34"/>
                <a:gd name="T45" fmla="*/ 27 h 32"/>
                <a:gd name="T46" fmla="*/ 13 w 34"/>
                <a:gd name="T47" fmla="*/ 27 h 32"/>
                <a:gd name="T48" fmla="*/ 10 w 34"/>
                <a:gd name="T49" fmla="*/ 28 h 32"/>
                <a:gd name="T50" fmla="*/ 15 w 34"/>
                <a:gd name="T51" fmla="*/ 32 h 32"/>
                <a:gd name="T52" fmla="*/ 17 w 34"/>
                <a:gd name="T53" fmla="*/ 32 h 32"/>
                <a:gd name="T54" fmla="*/ 21 w 34"/>
                <a:gd name="T55" fmla="*/ 31 h 32"/>
                <a:gd name="T56" fmla="*/ 20 w 34"/>
                <a:gd name="T57" fmla="*/ 30 h 32"/>
                <a:gd name="T58" fmla="*/ 28 w 34"/>
                <a:gd name="T59" fmla="*/ 24 h 32"/>
                <a:gd name="T60" fmla="*/ 28 w 34"/>
                <a:gd name="T61" fmla="*/ 17 h 32"/>
                <a:gd name="T62" fmla="*/ 30 w 34"/>
                <a:gd name="T63" fmla="*/ 10 h 32"/>
                <a:gd name="T64" fmla="*/ 34 w 34"/>
                <a:gd name="T65" fmla="*/ 0 h 32"/>
                <a:gd name="T66" fmla="*/ 25 w 34"/>
                <a:gd name="T67" fmla="*/ 4 h 32"/>
                <a:gd name="T68" fmla="*/ 22 w 34"/>
                <a:gd name="T69" fmla="*/ 4 h 32"/>
                <a:gd name="T70" fmla="*/ 22 w 34"/>
                <a:gd name="T71" fmla="*/ 11 h 32"/>
                <a:gd name="T72" fmla="*/ 20 w 34"/>
                <a:gd name="T73" fmla="*/ 17 h 32"/>
                <a:gd name="T74" fmla="*/ 15 w 34"/>
                <a:gd name="T75" fmla="*/ 18 h 32"/>
                <a:gd name="T76" fmla="*/ 18 w 34"/>
                <a:gd name="T77" fmla="*/ 15 h 32"/>
                <a:gd name="T78" fmla="*/ 15 w 34"/>
                <a:gd name="T79" fmla="*/ 16 h 32"/>
                <a:gd name="T80" fmla="*/ 22 w 34"/>
                <a:gd name="T81" fmla="*/ 5 h 32"/>
                <a:gd name="T82" fmla="*/ 19 w 34"/>
                <a:gd name="T83" fmla="*/ 2 h 32"/>
                <a:gd name="T84" fmla="*/ 16 w 34"/>
                <a:gd name="T85" fmla="*/ 2 h 32"/>
                <a:gd name="T86" fmla="*/ 14 w 34"/>
                <a:gd name="T87" fmla="*/ 3 h 32"/>
                <a:gd name="T88" fmla="*/ 13 w 34"/>
                <a:gd name="T89" fmla="*/ 2 h 32"/>
                <a:gd name="T90" fmla="*/ 9 w 34"/>
                <a:gd name="T91" fmla="*/ 1 h 32"/>
                <a:gd name="T92" fmla="*/ 9 w 34"/>
                <a:gd name="T93" fmla="*/ 1 h 32"/>
                <a:gd name="T94" fmla="*/ 8 w 34"/>
                <a:gd name="T95" fmla="*/ 1 h 32"/>
                <a:gd name="T96" fmla="*/ 7 w 34"/>
                <a:gd name="T97" fmla="*/ 1 h 32"/>
                <a:gd name="T98" fmla="*/ 6 w 34"/>
                <a:gd name="T99" fmla="*/ 1 h 32"/>
                <a:gd name="T100" fmla="*/ 2 w 34"/>
                <a:gd name="T101"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2">
                  <a:moveTo>
                    <a:pt x="0" y="12"/>
                  </a:moveTo>
                  <a:cubicBezTo>
                    <a:pt x="0" y="12"/>
                    <a:pt x="0" y="12"/>
                    <a:pt x="0" y="12"/>
                  </a:cubicBezTo>
                  <a:cubicBezTo>
                    <a:pt x="0" y="12"/>
                    <a:pt x="0" y="12"/>
                    <a:pt x="0" y="12"/>
                  </a:cubicBezTo>
                  <a:moveTo>
                    <a:pt x="2" y="0"/>
                  </a:moveTo>
                  <a:cubicBezTo>
                    <a:pt x="2" y="0"/>
                    <a:pt x="2" y="0"/>
                    <a:pt x="1" y="0"/>
                  </a:cubicBezTo>
                  <a:cubicBezTo>
                    <a:pt x="1" y="0"/>
                    <a:pt x="2" y="2"/>
                    <a:pt x="2" y="3"/>
                  </a:cubicBezTo>
                  <a:cubicBezTo>
                    <a:pt x="2" y="5"/>
                    <a:pt x="0" y="7"/>
                    <a:pt x="0" y="9"/>
                  </a:cubicBezTo>
                  <a:cubicBezTo>
                    <a:pt x="0" y="9"/>
                    <a:pt x="0" y="9"/>
                    <a:pt x="0" y="9"/>
                  </a:cubicBezTo>
                  <a:cubicBezTo>
                    <a:pt x="0" y="9"/>
                    <a:pt x="0" y="10"/>
                    <a:pt x="0" y="10"/>
                  </a:cubicBezTo>
                  <a:cubicBezTo>
                    <a:pt x="1" y="11"/>
                    <a:pt x="1" y="12"/>
                    <a:pt x="1" y="12"/>
                  </a:cubicBezTo>
                  <a:cubicBezTo>
                    <a:pt x="1" y="12"/>
                    <a:pt x="1" y="12"/>
                    <a:pt x="0" y="12"/>
                  </a:cubicBezTo>
                  <a:cubicBezTo>
                    <a:pt x="1" y="12"/>
                    <a:pt x="3" y="13"/>
                    <a:pt x="3" y="13"/>
                  </a:cubicBezTo>
                  <a:cubicBezTo>
                    <a:pt x="3" y="13"/>
                    <a:pt x="3" y="13"/>
                    <a:pt x="3" y="13"/>
                  </a:cubicBezTo>
                  <a:cubicBezTo>
                    <a:pt x="3" y="14"/>
                    <a:pt x="3" y="14"/>
                    <a:pt x="3" y="14"/>
                  </a:cubicBezTo>
                  <a:cubicBezTo>
                    <a:pt x="3" y="14"/>
                    <a:pt x="3" y="15"/>
                    <a:pt x="3" y="16"/>
                  </a:cubicBezTo>
                  <a:cubicBezTo>
                    <a:pt x="3" y="16"/>
                    <a:pt x="5" y="17"/>
                    <a:pt x="6" y="18"/>
                  </a:cubicBezTo>
                  <a:cubicBezTo>
                    <a:pt x="6" y="18"/>
                    <a:pt x="6" y="18"/>
                    <a:pt x="5" y="18"/>
                  </a:cubicBezTo>
                  <a:cubicBezTo>
                    <a:pt x="5" y="18"/>
                    <a:pt x="4" y="18"/>
                    <a:pt x="3" y="18"/>
                  </a:cubicBezTo>
                  <a:cubicBezTo>
                    <a:pt x="5" y="22"/>
                    <a:pt x="17" y="25"/>
                    <a:pt x="17" y="27"/>
                  </a:cubicBezTo>
                  <a:cubicBezTo>
                    <a:pt x="15" y="26"/>
                    <a:pt x="13" y="25"/>
                    <a:pt x="12" y="25"/>
                  </a:cubicBezTo>
                  <a:cubicBezTo>
                    <a:pt x="11" y="25"/>
                    <a:pt x="10" y="25"/>
                    <a:pt x="9" y="27"/>
                  </a:cubicBezTo>
                  <a:cubicBezTo>
                    <a:pt x="10" y="26"/>
                    <a:pt x="11" y="26"/>
                    <a:pt x="11" y="26"/>
                  </a:cubicBezTo>
                  <a:cubicBezTo>
                    <a:pt x="12" y="26"/>
                    <a:pt x="13" y="26"/>
                    <a:pt x="14" y="27"/>
                  </a:cubicBezTo>
                  <a:cubicBezTo>
                    <a:pt x="13" y="27"/>
                    <a:pt x="13" y="27"/>
                    <a:pt x="13" y="27"/>
                  </a:cubicBezTo>
                  <a:cubicBezTo>
                    <a:pt x="12" y="27"/>
                    <a:pt x="11" y="27"/>
                    <a:pt x="10" y="28"/>
                  </a:cubicBezTo>
                  <a:cubicBezTo>
                    <a:pt x="10" y="29"/>
                    <a:pt x="14" y="31"/>
                    <a:pt x="15" y="32"/>
                  </a:cubicBezTo>
                  <a:cubicBezTo>
                    <a:pt x="15" y="32"/>
                    <a:pt x="16" y="32"/>
                    <a:pt x="17" y="32"/>
                  </a:cubicBezTo>
                  <a:cubicBezTo>
                    <a:pt x="18" y="32"/>
                    <a:pt x="20" y="31"/>
                    <a:pt x="21" y="31"/>
                  </a:cubicBezTo>
                  <a:cubicBezTo>
                    <a:pt x="21" y="31"/>
                    <a:pt x="20" y="30"/>
                    <a:pt x="20" y="30"/>
                  </a:cubicBezTo>
                  <a:cubicBezTo>
                    <a:pt x="24" y="29"/>
                    <a:pt x="28" y="29"/>
                    <a:pt x="28" y="24"/>
                  </a:cubicBezTo>
                  <a:cubicBezTo>
                    <a:pt x="28" y="22"/>
                    <a:pt x="27" y="19"/>
                    <a:pt x="28" y="17"/>
                  </a:cubicBezTo>
                  <a:cubicBezTo>
                    <a:pt x="28" y="15"/>
                    <a:pt x="29" y="12"/>
                    <a:pt x="30" y="10"/>
                  </a:cubicBezTo>
                  <a:cubicBezTo>
                    <a:pt x="32" y="6"/>
                    <a:pt x="34" y="4"/>
                    <a:pt x="34" y="0"/>
                  </a:cubicBezTo>
                  <a:cubicBezTo>
                    <a:pt x="32" y="3"/>
                    <a:pt x="28" y="4"/>
                    <a:pt x="25" y="4"/>
                  </a:cubicBezTo>
                  <a:cubicBezTo>
                    <a:pt x="24" y="4"/>
                    <a:pt x="23" y="4"/>
                    <a:pt x="22" y="4"/>
                  </a:cubicBezTo>
                  <a:cubicBezTo>
                    <a:pt x="26" y="6"/>
                    <a:pt x="23" y="9"/>
                    <a:pt x="22" y="11"/>
                  </a:cubicBezTo>
                  <a:cubicBezTo>
                    <a:pt x="21" y="13"/>
                    <a:pt x="22" y="15"/>
                    <a:pt x="20" y="17"/>
                  </a:cubicBezTo>
                  <a:cubicBezTo>
                    <a:pt x="18" y="18"/>
                    <a:pt x="16" y="18"/>
                    <a:pt x="15" y="18"/>
                  </a:cubicBezTo>
                  <a:cubicBezTo>
                    <a:pt x="15" y="17"/>
                    <a:pt x="17" y="16"/>
                    <a:pt x="18" y="15"/>
                  </a:cubicBezTo>
                  <a:cubicBezTo>
                    <a:pt x="17" y="16"/>
                    <a:pt x="16" y="16"/>
                    <a:pt x="15" y="16"/>
                  </a:cubicBezTo>
                  <a:cubicBezTo>
                    <a:pt x="19" y="13"/>
                    <a:pt x="25" y="11"/>
                    <a:pt x="22" y="5"/>
                  </a:cubicBezTo>
                  <a:cubicBezTo>
                    <a:pt x="21" y="3"/>
                    <a:pt x="20" y="2"/>
                    <a:pt x="19" y="2"/>
                  </a:cubicBezTo>
                  <a:cubicBezTo>
                    <a:pt x="18" y="2"/>
                    <a:pt x="17" y="2"/>
                    <a:pt x="16" y="2"/>
                  </a:cubicBezTo>
                  <a:cubicBezTo>
                    <a:pt x="15" y="3"/>
                    <a:pt x="15" y="3"/>
                    <a:pt x="14" y="3"/>
                  </a:cubicBezTo>
                  <a:cubicBezTo>
                    <a:pt x="14" y="3"/>
                    <a:pt x="13" y="3"/>
                    <a:pt x="13" y="2"/>
                  </a:cubicBezTo>
                  <a:cubicBezTo>
                    <a:pt x="12" y="0"/>
                    <a:pt x="11" y="1"/>
                    <a:pt x="9" y="1"/>
                  </a:cubicBezTo>
                  <a:cubicBezTo>
                    <a:pt x="9" y="1"/>
                    <a:pt x="9" y="1"/>
                    <a:pt x="9" y="1"/>
                  </a:cubicBezTo>
                  <a:cubicBezTo>
                    <a:pt x="9" y="1"/>
                    <a:pt x="8" y="1"/>
                    <a:pt x="8" y="1"/>
                  </a:cubicBezTo>
                  <a:cubicBezTo>
                    <a:pt x="8" y="1"/>
                    <a:pt x="7" y="1"/>
                    <a:pt x="7" y="1"/>
                  </a:cubicBezTo>
                  <a:cubicBezTo>
                    <a:pt x="7" y="1"/>
                    <a:pt x="6" y="1"/>
                    <a:pt x="6" y="1"/>
                  </a:cubicBezTo>
                  <a:cubicBezTo>
                    <a:pt x="4"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37"/>
            <p:cNvSpPr/>
            <p:nvPr/>
          </p:nvSpPr>
          <p:spPr bwMode="auto">
            <a:xfrm>
              <a:off x="8774104" y="3953697"/>
              <a:ext cx="120650" cy="58738"/>
            </a:xfrm>
            <a:custGeom>
              <a:gdLst>
                <a:gd name="T0" fmla="*/ 16 w 32"/>
                <a:gd name="T1" fmla="*/ 0 h 16"/>
                <a:gd name="T2" fmla="*/ 8 w 32"/>
                <a:gd name="T3" fmla="*/ 1 h 16"/>
                <a:gd name="T4" fmla="*/ 0 w 32"/>
                <a:gd name="T5" fmla="*/ 5 h 16"/>
                <a:gd name="T6" fmla="*/ 11 w 32"/>
                <a:gd name="T7" fmla="*/ 10 h 16"/>
                <a:gd name="T8" fmla="*/ 21 w 32"/>
                <a:gd name="T9" fmla="*/ 13 h 16"/>
                <a:gd name="T10" fmla="*/ 31 w 32"/>
                <a:gd name="T11" fmla="*/ 16 h 16"/>
                <a:gd name="T12" fmla="*/ 22 w 32"/>
                <a:gd name="T13" fmla="*/ 1 h 16"/>
                <a:gd name="T14" fmla="*/ 16 w 32"/>
                <a:gd name="T15" fmla="*/ 0 h 1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6">
                  <a:moveTo>
                    <a:pt x="16" y="0"/>
                  </a:moveTo>
                  <a:cubicBezTo>
                    <a:pt x="13" y="0"/>
                    <a:pt x="10" y="0"/>
                    <a:pt x="8" y="1"/>
                  </a:cubicBezTo>
                  <a:cubicBezTo>
                    <a:pt x="5" y="1"/>
                    <a:pt x="1" y="2"/>
                    <a:pt x="0" y="5"/>
                  </a:cubicBezTo>
                  <a:cubicBezTo>
                    <a:pt x="0" y="7"/>
                    <a:pt x="8" y="9"/>
                    <a:pt x="11" y="10"/>
                  </a:cubicBezTo>
                  <a:cubicBezTo>
                    <a:pt x="15" y="11"/>
                    <a:pt x="18" y="12"/>
                    <a:pt x="21" y="13"/>
                  </a:cubicBezTo>
                  <a:cubicBezTo>
                    <a:pt x="24" y="15"/>
                    <a:pt x="28" y="14"/>
                    <a:pt x="31" y="16"/>
                  </a:cubicBezTo>
                  <a:cubicBezTo>
                    <a:pt x="32" y="9"/>
                    <a:pt x="27" y="6"/>
                    <a:pt x="22" y="1"/>
                  </a:cubicBezTo>
                  <a:cubicBezTo>
                    <a:pt x="20" y="0"/>
                    <a:pt x="18"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38"/>
            <p:cNvSpPr/>
            <p:nvPr/>
          </p:nvSpPr>
          <p:spPr bwMode="auto">
            <a:xfrm>
              <a:off x="8950316" y="3539359"/>
              <a:ext cx="106363" cy="101600"/>
            </a:xfrm>
            <a:custGeom>
              <a:gdLst>
                <a:gd name="T0" fmla="*/ 17 w 28"/>
                <a:gd name="T1" fmla="*/ 0 h 27"/>
                <a:gd name="T2" fmla="*/ 16 w 28"/>
                <a:gd name="T3" fmla="*/ 7 h 27"/>
                <a:gd name="T4" fmla="*/ 14 w 28"/>
                <a:gd name="T5" fmla="*/ 14 h 27"/>
                <a:gd name="T6" fmla="*/ 10 w 28"/>
                <a:gd name="T7" fmla="*/ 16 h 27"/>
                <a:gd name="T8" fmla="*/ 13 w 28"/>
                <a:gd name="T9" fmla="*/ 2 h 27"/>
                <a:gd name="T10" fmla="*/ 11 w 28"/>
                <a:gd name="T11" fmla="*/ 12 h 27"/>
                <a:gd name="T12" fmla="*/ 6 w 28"/>
                <a:gd name="T13" fmla="*/ 16 h 27"/>
                <a:gd name="T14" fmla="*/ 0 w 28"/>
                <a:gd name="T15" fmla="*/ 22 h 27"/>
                <a:gd name="T16" fmla="*/ 3 w 28"/>
                <a:gd name="T17" fmla="*/ 26 h 27"/>
                <a:gd name="T18" fmla="*/ 11 w 28"/>
                <a:gd name="T19" fmla="*/ 17 h 27"/>
                <a:gd name="T20" fmla="*/ 12 w 28"/>
                <a:gd name="T21" fmla="*/ 17 h 27"/>
                <a:gd name="T22" fmla="*/ 11 w 28"/>
                <a:gd name="T23" fmla="*/ 19 h 27"/>
                <a:gd name="T24" fmla="*/ 6 w 28"/>
                <a:gd name="T25" fmla="*/ 27 h 27"/>
                <a:gd name="T26" fmla="*/ 15 w 28"/>
                <a:gd name="T27" fmla="*/ 21 h 27"/>
                <a:gd name="T28" fmla="*/ 20 w 28"/>
                <a:gd name="T29" fmla="*/ 13 h 27"/>
                <a:gd name="T30" fmla="*/ 17 w 28"/>
                <a:gd name="T31" fmla="*/ 25 h 27"/>
                <a:gd name="T32" fmla="*/ 22 w 28"/>
                <a:gd name="T33" fmla="*/ 13 h 27"/>
                <a:gd name="T34" fmla="*/ 22 w 28"/>
                <a:gd name="T35" fmla="*/ 13 h 27"/>
                <a:gd name="T36" fmla="*/ 24 w 28"/>
                <a:gd name="T37" fmla="*/ 8 h 27"/>
                <a:gd name="T38" fmla="*/ 19 w 28"/>
                <a:gd name="T39" fmla="*/ 24 h 27"/>
                <a:gd name="T40" fmla="*/ 24 w 28"/>
                <a:gd name="T41" fmla="*/ 14 h 27"/>
                <a:gd name="T42" fmla="*/ 25 w 28"/>
                <a:gd name="T43" fmla="*/ 6 h 27"/>
                <a:gd name="T44" fmla="*/ 25 w 28"/>
                <a:gd name="T45" fmla="*/ 6 h 27"/>
                <a:gd name="T46" fmla="*/ 24 w 28"/>
                <a:gd name="T47" fmla="*/ 6 h 27"/>
                <a:gd name="T48" fmla="*/ 23 w 28"/>
                <a:gd name="T49" fmla="*/ 6 h 27"/>
                <a:gd name="T50" fmla="*/ 22 w 28"/>
                <a:gd name="T51" fmla="*/ 6 h 27"/>
                <a:gd name="T52" fmla="*/ 20 w 28"/>
                <a:gd name="T53" fmla="*/ 3 h 27"/>
                <a:gd name="T54" fmla="*/ 17 w 28"/>
                <a:gd name="T55"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27">
                  <a:moveTo>
                    <a:pt x="17" y="0"/>
                  </a:moveTo>
                  <a:cubicBezTo>
                    <a:pt x="16" y="2"/>
                    <a:pt x="17" y="5"/>
                    <a:pt x="16" y="7"/>
                  </a:cubicBezTo>
                  <a:cubicBezTo>
                    <a:pt x="16" y="9"/>
                    <a:pt x="15" y="12"/>
                    <a:pt x="14" y="14"/>
                  </a:cubicBezTo>
                  <a:cubicBezTo>
                    <a:pt x="13" y="15"/>
                    <a:pt x="11" y="14"/>
                    <a:pt x="10" y="16"/>
                  </a:cubicBezTo>
                  <a:cubicBezTo>
                    <a:pt x="12" y="11"/>
                    <a:pt x="14" y="8"/>
                    <a:pt x="13" y="2"/>
                  </a:cubicBezTo>
                  <a:cubicBezTo>
                    <a:pt x="12" y="4"/>
                    <a:pt x="13" y="9"/>
                    <a:pt x="11" y="12"/>
                  </a:cubicBezTo>
                  <a:cubicBezTo>
                    <a:pt x="9" y="14"/>
                    <a:pt x="7" y="15"/>
                    <a:pt x="6" y="16"/>
                  </a:cubicBezTo>
                  <a:cubicBezTo>
                    <a:pt x="4" y="18"/>
                    <a:pt x="3" y="21"/>
                    <a:pt x="0" y="22"/>
                  </a:cubicBezTo>
                  <a:cubicBezTo>
                    <a:pt x="1" y="24"/>
                    <a:pt x="2" y="25"/>
                    <a:pt x="3" y="26"/>
                  </a:cubicBezTo>
                  <a:cubicBezTo>
                    <a:pt x="4" y="23"/>
                    <a:pt x="9" y="18"/>
                    <a:pt x="11" y="17"/>
                  </a:cubicBezTo>
                  <a:cubicBezTo>
                    <a:pt x="12" y="17"/>
                    <a:pt x="12" y="17"/>
                    <a:pt x="12" y="17"/>
                  </a:cubicBezTo>
                  <a:cubicBezTo>
                    <a:pt x="13" y="17"/>
                    <a:pt x="12" y="18"/>
                    <a:pt x="11" y="19"/>
                  </a:cubicBezTo>
                  <a:cubicBezTo>
                    <a:pt x="9" y="22"/>
                    <a:pt x="7" y="24"/>
                    <a:pt x="6" y="27"/>
                  </a:cubicBezTo>
                  <a:cubicBezTo>
                    <a:pt x="10" y="25"/>
                    <a:pt x="13" y="25"/>
                    <a:pt x="15" y="21"/>
                  </a:cubicBezTo>
                  <a:cubicBezTo>
                    <a:pt x="17" y="19"/>
                    <a:pt x="18" y="16"/>
                    <a:pt x="20" y="13"/>
                  </a:cubicBezTo>
                  <a:cubicBezTo>
                    <a:pt x="22" y="17"/>
                    <a:pt x="18" y="21"/>
                    <a:pt x="17" y="25"/>
                  </a:cubicBezTo>
                  <a:cubicBezTo>
                    <a:pt x="19" y="22"/>
                    <a:pt x="21" y="16"/>
                    <a:pt x="22" y="13"/>
                  </a:cubicBezTo>
                  <a:cubicBezTo>
                    <a:pt x="22" y="13"/>
                    <a:pt x="22" y="13"/>
                    <a:pt x="22" y="13"/>
                  </a:cubicBezTo>
                  <a:cubicBezTo>
                    <a:pt x="20" y="13"/>
                    <a:pt x="24" y="9"/>
                    <a:pt x="24" y="8"/>
                  </a:cubicBezTo>
                  <a:cubicBezTo>
                    <a:pt x="24" y="13"/>
                    <a:pt x="20" y="18"/>
                    <a:pt x="19" y="24"/>
                  </a:cubicBezTo>
                  <a:cubicBezTo>
                    <a:pt x="20" y="21"/>
                    <a:pt x="22" y="17"/>
                    <a:pt x="24" y="14"/>
                  </a:cubicBezTo>
                  <a:cubicBezTo>
                    <a:pt x="25" y="12"/>
                    <a:pt x="28" y="9"/>
                    <a:pt x="25" y="6"/>
                  </a:cubicBezTo>
                  <a:cubicBezTo>
                    <a:pt x="25" y="6"/>
                    <a:pt x="25" y="6"/>
                    <a:pt x="25" y="6"/>
                  </a:cubicBezTo>
                  <a:cubicBezTo>
                    <a:pt x="24" y="6"/>
                    <a:pt x="24" y="6"/>
                    <a:pt x="24" y="6"/>
                  </a:cubicBezTo>
                  <a:cubicBezTo>
                    <a:pt x="24" y="6"/>
                    <a:pt x="23" y="6"/>
                    <a:pt x="23" y="6"/>
                  </a:cubicBezTo>
                  <a:cubicBezTo>
                    <a:pt x="23" y="6"/>
                    <a:pt x="23" y="6"/>
                    <a:pt x="22" y="6"/>
                  </a:cubicBezTo>
                  <a:cubicBezTo>
                    <a:pt x="21" y="5"/>
                    <a:pt x="21" y="3"/>
                    <a:pt x="20" y="3"/>
                  </a:cubicBezTo>
                  <a:cubicBezTo>
                    <a:pt x="20" y="2"/>
                    <a:pt x="18" y="1"/>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39"/>
            <p:cNvSpPr>
              <a:spLocks noEditPoints="1"/>
            </p:cNvSpPr>
            <p:nvPr/>
          </p:nvSpPr>
          <p:spPr bwMode="auto">
            <a:xfrm>
              <a:off x="10561629" y="4655372"/>
              <a:ext cx="149225" cy="161925"/>
            </a:xfrm>
            <a:custGeom>
              <a:gdLst>
                <a:gd name="T0" fmla="*/ 23 w 40"/>
                <a:gd name="T1" fmla="*/ 27 h 43"/>
                <a:gd name="T2" fmla="*/ 29 w 40"/>
                <a:gd name="T3" fmla="*/ 24 h 43"/>
                <a:gd name="T4" fmla="*/ 19 w 40"/>
                <a:gd name="T5" fmla="*/ 31 h 43"/>
                <a:gd name="T6" fmla="*/ 18 w 40"/>
                <a:gd name="T7" fmla="*/ 33 h 43"/>
                <a:gd name="T8" fmla="*/ 19 w 40"/>
                <a:gd name="T9" fmla="*/ 34 h 43"/>
                <a:gd name="T10" fmla="*/ 26 w 40"/>
                <a:gd name="T11" fmla="*/ 31 h 43"/>
                <a:gd name="T12" fmla="*/ 19 w 40"/>
                <a:gd name="T13" fmla="*/ 36 h 43"/>
                <a:gd name="T14" fmla="*/ 18 w 40"/>
                <a:gd name="T15" fmla="*/ 38 h 43"/>
                <a:gd name="T16" fmla="*/ 9 w 40"/>
                <a:gd name="T17" fmla="*/ 39 h 43"/>
                <a:gd name="T18" fmla="*/ 12 w 40"/>
                <a:gd name="T19" fmla="*/ 36 h 43"/>
                <a:gd name="T20" fmla="*/ 11 w 40"/>
                <a:gd name="T21" fmla="*/ 35 h 43"/>
                <a:gd name="T22" fmla="*/ 10 w 40"/>
                <a:gd name="T23" fmla="*/ 35 h 43"/>
                <a:gd name="T24" fmla="*/ 10 w 40"/>
                <a:gd name="T25" fmla="*/ 34 h 43"/>
                <a:gd name="T26" fmla="*/ 13 w 40"/>
                <a:gd name="T27" fmla="*/ 33 h 43"/>
                <a:gd name="T28" fmla="*/ 16 w 40"/>
                <a:gd name="T29" fmla="*/ 32 h 43"/>
                <a:gd name="T30" fmla="*/ 17 w 40"/>
                <a:gd name="T31" fmla="*/ 31 h 43"/>
                <a:gd name="T32" fmla="*/ 18 w 40"/>
                <a:gd name="T33" fmla="*/ 29 h 43"/>
                <a:gd name="T34" fmla="*/ 17 w 40"/>
                <a:gd name="T35" fmla="*/ 28 h 43"/>
                <a:gd name="T36" fmla="*/ 22 w 40"/>
                <a:gd name="T37" fmla="*/ 26 h 43"/>
                <a:gd name="T38" fmla="*/ 22 w 40"/>
                <a:gd name="T39" fmla="*/ 26 h 43"/>
                <a:gd name="T40" fmla="*/ 22 w 40"/>
                <a:gd name="T41" fmla="*/ 0 h 43"/>
                <a:gd name="T42" fmla="*/ 21 w 40"/>
                <a:gd name="T43" fmla="*/ 1 h 43"/>
                <a:gd name="T44" fmla="*/ 20 w 40"/>
                <a:gd name="T45" fmla="*/ 3 h 43"/>
                <a:gd name="T46" fmla="*/ 16 w 40"/>
                <a:gd name="T47" fmla="*/ 7 h 43"/>
                <a:gd name="T48" fmla="*/ 14 w 40"/>
                <a:gd name="T49" fmla="*/ 10 h 43"/>
                <a:gd name="T50" fmla="*/ 13 w 40"/>
                <a:gd name="T51" fmla="*/ 12 h 43"/>
                <a:gd name="T52" fmla="*/ 11 w 40"/>
                <a:gd name="T53" fmla="*/ 13 h 43"/>
                <a:gd name="T54" fmla="*/ 11 w 40"/>
                <a:gd name="T55" fmla="*/ 13 h 43"/>
                <a:gd name="T56" fmla="*/ 11 w 40"/>
                <a:gd name="T57" fmla="*/ 14 h 43"/>
                <a:gd name="T58" fmla="*/ 9 w 40"/>
                <a:gd name="T59" fmla="*/ 18 h 43"/>
                <a:gd name="T60" fmla="*/ 4 w 40"/>
                <a:gd name="T61" fmla="*/ 25 h 43"/>
                <a:gd name="T62" fmla="*/ 1 w 40"/>
                <a:gd name="T63" fmla="*/ 27 h 43"/>
                <a:gd name="T64" fmla="*/ 0 w 40"/>
                <a:gd name="T65" fmla="*/ 30 h 43"/>
                <a:gd name="T66" fmla="*/ 1 w 40"/>
                <a:gd name="T67" fmla="*/ 37 h 43"/>
                <a:gd name="T68" fmla="*/ 7 w 40"/>
                <a:gd name="T69" fmla="*/ 43 h 43"/>
                <a:gd name="T70" fmla="*/ 9 w 40"/>
                <a:gd name="T71" fmla="*/ 43 h 43"/>
                <a:gd name="T72" fmla="*/ 9 w 40"/>
                <a:gd name="T73" fmla="*/ 43 h 43"/>
                <a:gd name="T74" fmla="*/ 12 w 40"/>
                <a:gd name="T75" fmla="*/ 42 h 43"/>
                <a:gd name="T76" fmla="*/ 19 w 40"/>
                <a:gd name="T77" fmla="*/ 43 h 43"/>
                <a:gd name="T78" fmla="*/ 26 w 40"/>
                <a:gd name="T79" fmla="*/ 41 h 43"/>
                <a:gd name="T80" fmla="*/ 30 w 40"/>
                <a:gd name="T81" fmla="*/ 39 h 43"/>
                <a:gd name="T82" fmla="*/ 35 w 40"/>
                <a:gd name="T83" fmla="*/ 34 h 43"/>
                <a:gd name="T84" fmla="*/ 40 w 40"/>
                <a:gd name="T85" fmla="*/ 32 h 43"/>
                <a:gd name="T86" fmla="*/ 40 w 40"/>
                <a:gd name="T87" fmla="*/ 27 h 43"/>
                <a:gd name="T88" fmla="*/ 38 w 40"/>
                <a:gd name="T89" fmla="*/ 25 h 43"/>
                <a:gd name="T90" fmla="*/ 33 w 40"/>
                <a:gd name="T91" fmla="*/ 23 h 43"/>
                <a:gd name="T92" fmla="*/ 29 w 40"/>
                <a:gd name="T93" fmla="*/ 22 h 43"/>
                <a:gd name="T94" fmla="*/ 23 w 40"/>
                <a:gd name="T95" fmla="*/ 25 h 43"/>
                <a:gd name="T96" fmla="*/ 25 w 40"/>
                <a:gd name="T97" fmla="*/ 21 h 43"/>
                <a:gd name="T98" fmla="*/ 25 w 40"/>
                <a:gd name="T99" fmla="*/ 17 h 43"/>
                <a:gd name="T100" fmla="*/ 26 w 40"/>
                <a:gd name="T101" fmla="*/ 16 h 43"/>
                <a:gd name="T102" fmla="*/ 26 w 40"/>
                <a:gd name="T103" fmla="*/ 16 h 43"/>
                <a:gd name="T104" fmla="*/ 27 w 40"/>
                <a:gd name="T105" fmla="*/ 11 h 43"/>
                <a:gd name="T106" fmla="*/ 28 w 40"/>
                <a:gd name="T107" fmla="*/ 5 h 43"/>
                <a:gd name="T108" fmla="*/ 26 w 40"/>
                <a:gd name="T109" fmla="*/ 1 h 43"/>
                <a:gd name="T110" fmla="*/ 23 w 40"/>
                <a:gd name="T111" fmla="*/ 1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43">
                  <a:moveTo>
                    <a:pt x="21" y="29"/>
                  </a:moveTo>
                  <a:cubicBezTo>
                    <a:pt x="21" y="28"/>
                    <a:pt x="22" y="28"/>
                    <a:pt x="23" y="27"/>
                  </a:cubicBezTo>
                  <a:cubicBezTo>
                    <a:pt x="23" y="27"/>
                    <a:pt x="23" y="27"/>
                    <a:pt x="23" y="27"/>
                  </a:cubicBezTo>
                  <a:cubicBezTo>
                    <a:pt x="25" y="26"/>
                    <a:pt x="26" y="24"/>
                    <a:pt x="29" y="24"/>
                  </a:cubicBezTo>
                  <a:cubicBezTo>
                    <a:pt x="26" y="26"/>
                    <a:pt x="23" y="28"/>
                    <a:pt x="20" y="30"/>
                  </a:cubicBezTo>
                  <a:cubicBezTo>
                    <a:pt x="19" y="31"/>
                    <a:pt x="19" y="31"/>
                    <a:pt x="19" y="31"/>
                  </a:cubicBezTo>
                  <a:cubicBezTo>
                    <a:pt x="18" y="31"/>
                    <a:pt x="17" y="32"/>
                    <a:pt x="18" y="33"/>
                  </a:cubicBezTo>
                  <a:cubicBezTo>
                    <a:pt x="18" y="33"/>
                    <a:pt x="18" y="33"/>
                    <a:pt x="18" y="33"/>
                  </a:cubicBezTo>
                  <a:cubicBezTo>
                    <a:pt x="18" y="33"/>
                    <a:pt x="18" y="33"/>
                    <a:pt x="18" y="33"/>
                  </a:cubicBezTo>
                  <a:cubicBezTo>
                    <a:pt x="18" y="33"/>
                    <a:pt x="18" y="34"/>
                    <a:pt x="19" y="34"/>
                  </a:cubicBezTo>
                  <a:cubicBezTo>
                    <a:pt x="19" y="34"/>
                    <a:pt x="19" y="34"/>
                    <a:pt x="20" y="34"/>
                  </a:cubicBezTo>
                  <a:cubicBezTo>
                    <a:pt x="21" y="34"/>
                    <a:pt x="25" y="31"/>
                    <a:pt x="26" y="31"/>
                  </a:cubicBezTo>
                  <a:cubicBezTo>
                    <a:pt x="25" y="32"/>
                    <a:pt x="23" y="33"/>
                    <a:pt x="21" y="35"/>
                  </a:cubicBezTo>
                  <a:cubicBezTo>
                    <a:pt x="20" y="35"/>
                    <a:pt x="20" y="36"/>
                    <a:pt x="19" y="36"/>
                  </a:cubicBezTo>
                  <a:cubicBezTo>
                    <a:pt x="18" y="37"/>
                    <a:pt x="18" y="37"/>
                    <a:pt x="18" y="37"/>
                  </a:cubicBezTo>
                  <a:cubicBezTo>
                    <a:pt x="18" y="38"/>
                    <a:pt x="18" y="38"/>
                    <a:pt x="18" y="38"/>
                  </a:cubicBezTo>
                  <a:cubicBezTo>
                    <a:pt x="17" y="40"/>
                    <a:pt x="16" y="40"/>
                    <a:pt x="14" y="40"/>
                  </a:cubicBezTo>
                  <a:cubicBezTo>
                    <a:pt x="12" y="40"/>
                    <a:pt x="11" y="40"/>
                    <a:pt x="9" y="39"/>
                  </a:cubicBezTo>
                  <a:cubicBezTo>
                    <a:pt x="9" y="38"/>
                    <a:pt x="10" y="37"/>
                    <a:pt x="11" y="36"/>
                  </a:cubicBezTo>
                  <a:cubicBezTo>
                    <a:pt x="11" y="36"/>
                    <a:pt x="12" y="36"/>
                    <a:pt x="12" y="36"/>
                  </a:cubicBezTo>
                  <a:cubicBezTo>
                    <a:pt x="12" y="36"/>
                    <a:pt x="11" y="36"/>
                    <a:pt x="11" y="35"/>
                  </a:cubicBezTo>
                  <a:cubicBezTo>
                    <a:pt x="11" y="35"/>
                    <a:pt x="11" y="35"/>
                    <a:pt x="11" y="35"/>
                  </a:cubicBezTo>
                  <a:cubicBezTo>
                    <a:pt x="10" y="35"/>
                    <a:pt x="10" y="35"/>
                    <a:pt x="10" y="35"/>
                  </a:cubicBezTo>
                  <a:cubicBezTo>
                    <a:pt x="10" y="35"/>
                    <a:pt x="10" y="35"/>
                    <a:pt x="10" y="35"/>
                  </a:cubicBezTo>
                  <a:cubicBezTo>
                    <a:pt x="10" y="35"/>
                    <a:pt x="10" y="35"/>
                    <a:pt x="10" y="35"/>
                  </a:cubicBezTo>
                  <a:cubicBezTo>
                    <a:pt x="10" y="34"/>
                    <a:pt x="10" y="34"/>
                    <a:pt x="10" y="34"/>
                  </a:cubicBezTo>
                  <a:cubicBezTo>
                    <a:pt x="11" y="34"/>
                    <a:pt x="11" y="34"/>
                    <a:pt x="11" y="34"/>
                  </a:cubicBezTo>
                  <a:cubicBezTo>
                    <a:pt x="11" y="34"/>
                    <a:pt x="12" y="33"/>
                    <a:pt x="13" y="33"/>
                  </a:cubicBezTo>
                  <a:cubicBezTo>
                    <a:pt x="14" y="33"/>
                    <a:pt x="14" y="33"/>
                    <a:pt x="14" y="33"/>
                  </a:cubicBezTo>
                  <a:cubicBezTo>
                    <a:pt x="15" y="33"/>
                    <a:pt x="16" y="33"/>
                    <a:pt x="16" y="32"/>
                  </a:cubicBezTo>
                  <a:cubicBezTo>
                    <a:pt x="16" y="32"/>
                    <a:pt x="16" y="32"/>
                    <a:pt x="16" y="32"/>
                  </a:cubicBezTo>
                  <a:cubicBezTo>
                    <a:pt x="17" y="32"/>
                    <a:pt x="17" y="31"/>
                    <a:pt x="17" y="31"/>
                  </a:cubicBezTo>
                  <a:cubicBezTo>
                    <a:pt x="17" y="31"/>
                    <a:pt x="17" y="31"/>
                    <a:pt x="17" y="31"/>
                  </a:cubicBezTo>
                  <a:cubicBezTo>
                    <a:pt x="17" y="30"/>
                    <a:pt x="18" y="30"/>
                    <a:pt x="18" y="29"/>
                  </a:cubicBezTo>
                  <a:cubicBezTo>
                    <a:pt x="15" y="30"/>
                    <a:pt x="12" y="32"/>
                    <a:pt x="9" y="32"/>
                  </a:cubicBezTo>
                  <a:cubicBezTo>
                    <a:pt x="11" y="31"/>
                    <a:pt x="15" y="29"/>
                    <a:pt x="17" y="28"/>
                  </a:cubicBezTo>
                  <a:cubicBezTo>
                    <a:pt x="18" y="28"/>
                    <a:pt x="19" y="28"/>
                    <a:pt x="20" y="28"/>
                  </a:cubicBezTo>
                  <a:cubicBezTo>
                    <a:pt x="20" y="27"/>
                    <a:pt x="21" y="27"/>
                    <a:pt x="22" y="26"/>
                  </a:cubicBezTo>
                  <a:cubicBezTo>
                    <a:pt x="22" y="26"/>
                    <a:pt x="22" y="26"/>
                    <a:pt x="22" y="26"/>
                  </a:cubicBezTo>
                  <a:cubicBezTo>
                    <a:pt x="22" y="26"/>
                    <a:pt x="22" y="26"/>
                    <a:pt x="22" y="26"/>
                  </a:cubicBezTo>
                  <a:cubicBezTo>
                    <a:pt x="22" y="27"/>
                    <a:pt x="21" y="28"/>
                    <a:pt x="21" y="29"/>
                  </a:cubicBezTo>
                  <a:moveTo>
                    <a:pt x="22" y="0"/>
                  </a:moveTo>
                  <a:cubicBezTo>
                    <a:pt x="22" y="0"/>
                    <a:pt x="22" y="0"/>
                    <a:pt x="21" y="1"/>
                  </a:cubicBezTo>
                  <a:cubicBezTo>
                    <a:pt x="21" y="1"/>
                    <a:pt x="21" y="1"/>
                    <a:pt x="21" y="1"/>
                  </a:cubicBezTo>
                  <a:cubicBezTo>
                    <a:pt x="21" y="1"/>
                    <a:pt x="21" y="1"/>
                    <a:pt x="21" y="1"/>
                  </a:cubicBezTo>
                  <a:cubicBezTo>
                    <a:pt x="20" y="2"/>
                    <a:pt x="20" y="2"/>
                    <a:pt x="20" y="3"/>
                  </a:cubicBezTo>
                  <a:cubicBezTo>
                    <a:pt x="18" y="5"/>
                    <a:pt x="18" y="5"/>
                    <a:pt x="16" y="7"/>
                  </a:cubicBezTo>
                  <a:cubicBezTo>
                    <a:pt x="16" y="7"/>
                    <a:pt x="16" y="7"/>
                    <a:pt x="16" y="7"/>
                  </a:cubicBezTo>
                  <a:cubicBezTo>
                    <a:pt x="15" y="7"/>
                    <a:pt x="15" y="7"/>
                    <a:pt x="15" y="7"/>
                  </a:cubicBezTo>
                  <a:cubicBezTo>
                    <a:pt x="14" y="8"/>
                    <a:pt x="14" y="9"/>
                    <a:pt x="14" y="10"/>
                  </a:cubicBezTo>
                  <a:cubicBezTo>
                    <a:pt x="13" y="11"/>
                    <a:pt x="13" y="11"/>
                    <a:pt x="13" y="12"/>
                  </a:cubicBezTo>
                  <a:cubicBezTo>
                    <a:pt x="13" y="12"/>
                    <a:pt x="13" y="12"/>
                    <a:pt x="13" y="12"/>
                  </a:cubicBezTo>
                  <a:cubicBezTo>
                    <a:pt x="12" y="12"/>
                    <a:pt x="12" y="12"/>
                    <a:pt x="12" y="12"/>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5"/>
                    <a:pt x="11" y="15"/>
                    <a:pt x="10" y="16"/>
                  </a:cubicBezTo>
                  <a:cubicBezTo>
                    <a:pt x="10" y="17"/>
                    <a:pt x="10" y="17"/>
                    <a:pt x="9" y="18"/>
                  </a:cubicBezTo>
                  <a:cubicBezTo>
                    <a:pt x="8" y="20"/>
                    <a:pt x="6" y="23"/>
                    <a:pt x="4" y="24"/>
                  </a:cubicBezTo>
                  <a:cubicBezTo>
                    <a:pt x="4" y="25"/>
                    <a:pt x="4" y="25"/>
                    <a:pt x="4" y="25"/>
                  </a:cubicBezTo>
                  <a:cubicBezTo>
                    <a:pt x="3" y="25"/>
                    <a:pt x="2" y="26"/>
                    <a:pt x="2" y="27"/>
                  </a:cubicBezTo>
                  <a:cubicBezTo>
                    <a:pt x="1" y="27"/>
                    <a:pt x="1" y="27"/>
                    <a:pt x="1" y="27"/>
                  </a:cubicBezTo>
                  <a:cubicBezTo>
                    <a:pt x="0" y="28"/>
                    <a:pt x="0" y="28"/>
                    <a:pt x="0" y="28"/>
                  </a:cubicBezTo>
                  <a:cubicBezTo>
                    <a:pt x="0" y="29"/>
                    <a:pt x="0" y="30"/>
                    <a:pt x="0" y="30"/>
                  </a:cubicBezTo>
                  <a:cubicBezTo>
                    <a:pt x="0" y="31"/>
                    <a:pt x="0" y="32"/>
                    <a:pt x="0" y="32"/>
                  </a:cubicBezTo>
                  <a:cubicBezTo>
                    <a:pt x="0" y="34"/>
                    <a:pt x="1" y="35"/>
                    <a:pt x="1" y="37"/>
                  </a:cubicBezTo>
                  <a:cubicBezTo>
                    <a:pt x="2" y="39"/>
                    <a:pt x="4" y="43"/>
                    <a:pt x="6" y="43"/>
                  </a:cubicBezTo>
                  <a:cubicBezTo>
                    <a:pt x="6" y="43"/>
                    <a:pt x="6" y="43"/>
                    <a:pt x="7" y="43"/>
                  </a:cubicBezTo>
                  <a:cubicBezTo>
                    <a:pt x="7" y="43"/>
                    <a:pt x="7" y="42"/>
                    <a:pt x="7" y="42"/>
                  </a:cubicBezTo>
                  <a:cubicBezTo>
                    <a:pt x="8" y="43"/>
                    <a:pt x="8" y="43"/>
                    <a:pt x="9" y="43"/>
                  </a:cubicBezTo>
                  <a:cubicBezTo>
                    <a:pt x="9" y="43"/>
                    <a:pt x="9" y="43"/>
                    <a:pt x="9" y="43"/>
                  </a:cubicBezTo>
                  <a:cubicBezTo>
                    <a:pt x="9" y="43"/>
                    <a:pt x="9" y="43"/>
                    <a:pt x="9" y="43"/>
                  </a:cubicBezTo>
                  <a:cubicBezTo>
                    <a:pt x="10" y="43"/>
                    <a:pt x="10" y="43"/>
                    <a:pt x="10" y="43"/>
                  </a:cubicBezTo>
                  <a:cubicBezTo>
                    <a:pt x="10" y="43"/>
                    <a:pt x="11" y="43"/>
                    <a:pt x="12" y="42"/>
                  </a:cubicBezTo>
                  <a:cubicBezTo>
                    <a:pt x="12" y="42"/>
                    <a:pt x="14" y="42"/>
                    <a:pt x="15" y="41"/>
                  </a:cubicBezTo>
                  <a:cubicBezTo>
                    <a:pt x="16" y="42"/>
                    <a:pt x="17" y="43"/>
                    <a:pt x="19" y="43"/>
                  </a:cubicBezTo>
                  <a:cubicBezTo>
                    <a:pt x="19" y="43"/>
                    <a:pt x="20" y="43"/>
                    <a:pt x="20" y="43"/>
                  </a:cubicBezTo>
                  <a:cubicBezTo>
                    <a:pt x="22" y="42"/>
                    <a:pt x="25" y="42"/>
                    <a:pt x="26" y="41"/>
                  </a:cubicBezTo>
                  <a:cubicBezTo>
                    <a:pt x="27" y="41"/>
                    <a:pt x="27" y="41"/>
                    <a:pt x="27" y="40"/>
                  </a:cubicBezTo>
                  <a:cubicBezTo>
                    <a:pt x="28" y="40"/>
                    <a:pt x="30" y="39"/>
                    <a:pt x="30" y="39"/>
                  </a:cubicBezTo>
                  <a:cubicBezTo>
                    <a:pt x="33" y="37"/>
                    <a:pt x="31" y="34"/>
                    <a:pt x="34" y="34"/>
                  </a:cubicBezTo>
                  <a:cubicBezTo>
                    <a:pt x="35" y="34"/>
                    <a:pt x="35" y="34"/>
                    <a:pt x="35" y="34"/>
                  </a:cubicBezTo>
                  <a:cubicBezTo>
                    <a:pt x="36" y="34"/>
                    <a:pt x="37" y="34"/>
                    <a:pt x="38" y="33"/>
                  </a:cubicBezTo>
                  <a:cubicBezTo>
                    <a:pt x="39" y="33"/>
                    <a:pt x="39" y="33"/>
                    <a:pt x="40" y="32"/>
                  </a:cubicBezTo>
                  <a:cubicBezTo>
                    <a:pt x="40" y="31"/>
                    <a:pt x="40" y="30"/>
                    <a:pt x="40" y="29"/>
                  </a:cubicBezTo>
                  <a:cubicBezTo>
                    <a:pt x="40" y="28"/>
                    <a:pt x="40" y="28"/>
                    <a:pt x="40" y="27"/>
                  </a:cubicBezTo>
                  <a:cubicBezTo>
                    <a:pt x="40" y="27"/>
                    <a:pt x="40" y="26"/>
                    <a:pt x="39" y="26"/>
                  </a:cubicBezTo>
                  <a:cubicBezTo>
                    <a:pt x="39" y="26"/>
                    <a:pt x="39" y="25"/>
                    <a:pt x="38" y="25"/>
                  </a:cubicBezTo>
                  <a:cubicBezTo>
                    <a:pt x="37" y="25"/>
                    <a:pt x="35" y="24"/>
                    <a:pt x="33" y="23"/>
                  </a:cubicBezTo>
                  <a:cubicBezTo>
                    <a:pt x="33" y="23"/>
                    <a:pt x="33" y="23"/>
                    <a:pt x="33" y="23"/>
                  </a:cubicBezTo>
                  <a:cubicBezTo>
                    <a:pt x="32" y="23"/>
                    <a:pt x="31" y="22"/>
                    <a:pt x="30" y="22"/>
                  </a:cubicBezTo>
                  <a:cubicBezTo>
                    <a:pt x="30" y="22"/>
                    <a:pt x="29" y="22"/>
                    <a:pt x="29" y="22"/>
                  </a:cubicBezTo>
                  <a:cubicBezTo>
                    <a:pt x="27" y="22"/>
                    <a:pt x="25" y="23"/>
                    <a:pt x="23" y="25"/>
                  </a:cubicBezTo>
                  <a:cubicBezTo>
                    <a:pt x="23" y="25"/>
                    <a:pt x="23" y="25"/>
                    <a:pt x="23" y="25"/>
                  </a:cubicBezTo>
                  <a:cubicBezTo>
                    <a:pt x="24" y="24"/>
                    <a:pt x="24" y="24"/>
                    <a:pt x="24" y="24"/>
                  </a:cubicBezTo>
                  <a:cubicBezTo>
                    <a:pt x="25" y="23"/>
                    <a:pt x="25" y="22"/>
                    <a:pt x="25" y="21"/>
                  </a:cubicBezTo>
                  <a:cubicBezTo>
                    <a:pt x="24" y="22"/>
                    <a:pt x="23" y="23"/>
                    <a:pt x="21" y="24"/>
                  </a:cubicBezTo>
                  <a:cubicBezTo>
                    <a:pt x="22" y="22"/>
                    <a:pt x="24" y="19"/>
                    <a:pt x="25" y="17"/>
                  </a:cubicBezTo>
                  <a:cubicBezTo>
                    <a:pt x="26" y="16"/>
                    <a:pt x="26" y="16"/>
                    <a:pt x="26" y="16"/>
                  </a:cubicBezTo>
                  <a:cubicBezTo>
                    <a:pt x="26" y="16"/>
                    <a:pt x="26" y="16"/>
                    <a:pt x="26" y="16"/>
                  </a:cubicBezTo>
                  <a:cubicBezTo>
                    <a:pt x="26" y="16"/>
                    <a:pt x="26" y="16"/>
                    <a:pt x="26" y="16"/>
                  </a:cubicBezTo>
                  <a:cubicBezTo>
                    <a:pt x="26" y="16"/>
                    <a:pt x="26" y="16"/>
                    <a:pt x="26" y="16"/>
                  </a:cubicBezTo>
                  <a:cubicBezTo>
                    <a:pt x="26" y="14"/>
                    <a:pt x="26" y="13"/>
                    <a:pt x="27" y="12"/>
                  </a:cubicBezTo>
                  <a:cubicBezTo>
                    <a:pt x="27" y="11"/>
                    <a:pt x="27" y="11"/>
                    <a:pt x="27" y="11"/>
                  </a:cubicBezTo>
                  <a:cubicBezTo>
                    <a:pt x="28" y="8"/>
                    <a:pt x="28" y="7"/>
                    <a:pt x="28" y="7"/>
                  </a:cubicBezTo>
                  <a:cubicBezTo>
                    <a:pt x="28" y="6"/>
                    <a:pt x="28" y="6"/>
                    <a:pt x="28" y="5"/>
                  </a:cubicBezTo>
                  <a:cubicBezTo>
                    <a:pt x="28" y="5"/>
                    <a:pt x="25" y="5"/>
                    <a:pt x="24" y="4"/>
                  </a:cubicBezTo>
                  <a:cubicBezTo>
                    <a:pt x="25" y="3"/>
                    <a:pt x="26" y="2"/>
                    <a:pt x="26" y="1"/>
                  </a:cubicBezTo>
                  <a:cubicBezTo>
                    <a:pt x="26" y="1"/>
                    <a:pt x="25" y="1"/>
                    <a:pt x="25" y="1"/>
                  </a:cubicBezTo>
                  <a:cubicBezTo>
                    <a:pt x="24" y="1"/>
                    <a:pt x="24" y="1"/>
                    <a:pt x="23" y="1"/>
                  </a:cubicBezTo>
                  <a:cubicBezTo>
                    <a:pt x="23" y="1"/>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40"/>
            <p:cNvSpPr/>
            <p:nvPr/>
          </p:nvSpPr>
          <p:spPr bwMode="auto">
            <a:xfrm>
              <a:off x="4659304" y="3998147"/>
              <a:ext cx="46038" cy="44450"/>
            </a:xfrm>
            <a:custGeom>
              <a:gdLst>
                <a:gd name="T0" fmla="*/ 1 w 12"/>
                <a:gd name="T1" fmla="*/ 0 h 12"/>
                <a:gd name="T2" fmla="*/ 4 w 12"/>
                <a:gd name="T3" fmla="*/ 8 h 12"/>
                <a:gd name="T4" fmla="*/ 7 w 12"/>
                <a:gd name="T5" fmla="*/ 12 h 12"/>
                <a:gd name="T6" fmla="*/ 1 w 12"/>
                <a:gd name="T7" fmla="*/ 0 h 12"/>
              </a:gdLst>
              <a:cxnLst>
                <a:cxn ang="0">
                  <a:pos x="T0" y="T1"/>
                </a:cxn>
                <a:cxn ang="0">
                  <a:pos x="T2" y="T3"/>
                </a:cxn>
                <a:cxn ang="0">
                  <a:pos x="T4" y="T5"/>
                </a:cxn>
                <a:cxn ang="0">
                  <a:pos x="T6" y="T7"/>
                </a:cxn>
              </a:cxnLst>
              <a:rect l="0" t="0" r="r" b="b"/>
              <a:pathLst>
                <a:path w="12" h="12">
                  <a:moveTo>
                    <a:pt x="1" y="0"/>
                  </a:moveTo>
                  <a:cubicBezTo>
                    <a:pt x="0" y="3"/>
                    <a:pt x="2" y="6"/>
                    <a:pt x="4" y="8"/>
                  </a:cubicBezTo>
                  <a:cubicBezTo>
                    <a:pt x="5" y="9"/>
                    <a:pt x="7" y="9"/>
                    <a:pt x="7" y="12"/>
                  </a:cubicBezTo>
                  <a:cubicBezTo>
                    <a:pt x="12" y="9"/>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41"/>
            <p:cNvSpPr/>
            <p:nvPr/>
          </p:nvSpPr>
          <p:spPr bwMode="auto">
            <a:xfrm>
              <a:off x="10693391" y="4985572"/>
              <a:ext cx="25400" cy="11113"/>
            </a:xfrm>
            <a:custGeom>
              <a:gdLst>
                <a:gd name="T0" fmla="*/ 7 w 7"/>
                <a:gd name="T1" fmla="*/ 0 h 3"/>
                <a:gd name="T2" fmla="*/ 0 w 7"/>
                <a:gd name="T3" fmla="*/ 3 h 3"/>
                <a:gd name="T4" fmla="*/ 1 w 7"/>
                <a:gd name="T5" fmla="*/ 3 h 3"/>
                <a:gd name="T6" fmla="*/ 7 w 7"/>
                <a:gd name="T7" fmla="*/ 0 h 3"/>
              </a:gdLst>
              <a:cxnLst>
                <a:cxn ang="0">
                  <a:pos x="T0" y="T1"/>
                </a:cxn>
                <a:cxn ang="0">
                  <a:pos x="T2" y="T3"/>
                </a:cxn>
                <a:cxn ang="0">
                  <a:pos x="T4" y="T5"/>
                </a:cxn>
                <a:cxn ang="0">
                  <a:pos x="T6" y="T7"/>
                </a:cxn>
              </a:cxnLst>
              <a:rect l="0" t="0" r="r" b="b"/>
              <a:pathLst>
                <a:path w="7" h="3">
                  <a:moveTo>
                    <a:pt x="7" y="0"/>
                  </a:moveTo>
                  <a:cubicBezTo>
                    <a:pt x="5" y="1"/>
                    <a:pt x="3" y="2"/>
                    <a:pt x="0" y="3"/>
                  </a:cubicBezTo>
                  <a:cubicBezTo>
                    <a:pt x="1" y="3"/>
                    <a:pt x="1" y="3"/>
                    <a:pt x="1" y="3"/>
                  </a:cubicBezTo>
                  <a:cubicBezTo>
                    <a:pt x="3" y="3"/>
                    <a:pt x="5"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42"/>
            <p:cNvSpPr/>
            <p:nvPr/>
          </p:nvSpPr>
          <p:spPr bwMode="auto">
            <a:xfrm>
              <a:off x="10264766" y="2769422"/>
              <a:ext cx="49213" cy="26988"/>
            </a:xfrm>
            <a:custGeom>
              <a:gdLst>
                <a:gd name="T0" fmla="*/ 4 w 13"/>
                <a:gd name="T1" fmla="*/ 0 h 7"/>
                <a:gd name="T2" fmla="*/ 0 w 13"/>
                <a:gd name="T3" fmla="*/ 3 h 7"/>
                <a:gd name="T4" fmla="*/ 6 w 13"/>
                <a:gd name="T5" fmla="*/ 7 h 7"/>
                <a:gd name="T6" fmla="*/ 6 w 13"/>
                <a:gd name="T7" fmla="*/ 7 h 7"/>
                <a:gd name="T8" fmla="*/ 13 w 13"/>
                <a:gd name="T9" fmla="*/ 1 h 7"/>
                <a:gd name="T10" fmla="*/ 9 w 13"/>
                <a:gd name="T11" fmla="*/ 1 h 7"/>
                <a:gd name="T12" fmla="*/ 9 w 13"/>
                <a:gd name="T13" fmla="*/ 1 h 7"/>
                <a:gd name="T14" fmla="*/ 8 w 13"/>
                <a:gd name="T15" fmla="*/ 1 h 7"/>
                <a:gd name="T16" fmla="*/ 8 w 13"/>
                <a:gd name="T17" fmla="*/ 1 h 7"/>
                <a:gd name="T18" fmla="*/ 5 w 13"/>
                <a:gd name="T19" fmla="*/ 0 h 7"/>
                <a:gd name="T20" fmla="*/ 4 w 13"/>
                <a:gd name="T2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4" y="0"/>
                  </a:moveTo>
                  <a:cubicBezTo>
                    <a:pt x="1" y="0"/>
                    <a:pt x="2" y="3"/>
                    <a:pt x="0" y="3"/>
                  </a:cubicBezTo>
                  <a:cubicBezTo>
                    <a:pt x="1" y="5"/>
                    <a:pt x="4" y="7"/>
                    <a:pt x="6" y="7"/>
                  </a:cubicBezTo>
                  <a:cubicBezTo>
                    <a:pt x="6" y="7"/>
                    <a:pt x="6" y="7"/>
                    <a:pt x="6" y="7"/>
                  </a:cubicBezTo>
                  <a:cubicBezTo>
                    <a:pt x="9" y="7"/>
                    <a:pt x="11" y="4"/>
                    <a:pt x="13" y="1"/>
                  </a:cubicBezTo>
                  <a:cubicBezTo>
                    <a:pt x="11" y="1"/>
                    <a:pt x="10" y="1"/>
                    <a:pt x="9" y="1"/>
                  </a:cubicBezTo>
                  <a:cubicBezTo>
                    <a:pt x="9" y="1"/>
                    <a:pt x="9" y="1"/>
                    <a:pt x="9" y="1"/>
                  </a:cubicBezTo>
                  <a:cubicBezTo>
                    <a:pt x="9" y="1"/>
                    <a:pt x="9" y="1"/>
                    <a:pt x="8" y="1"/>
                  </a:cubicBezTo>
                  <a:cubicBezTo>
                    <a:pt x="8" y="1"/>
                    <a:pt x="8" y="1"/>
                    <a:pt x="8" y="1"/>
                  </a:cubicBezTo>
                  <a:cubicBezTo>
                    <a:pt x="7" y="1"/>
                    <a:pt x="5" y="0"/>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43"/>
            <p:cNvSpPr/>
            <p:nvPr/>
          </p:nvSpPr>
          <p:spPr bwMode="auto">
            <a:xfrm>
              <a:off x="4851391" y="4339459"/>
              <a:ext cx="38100" cy="30163"/>
            </a:xfrm>
            <a:custGeom>
              <a:gdLst>
                <a:gd name="T0" fmla="*/ 7 w 10"/>
                <a:gd name="T1" fmla="*/ 0 h 8"/>
                <a:gd name="T2" fmla="*/ 5 w 10"/>
                <a:gd name="T3" fmla="*/ 6 h 8"/>
                <a:gd name="T4" fmla="*/ 9 w 10"/>
                <a:gd name="T5" fmla="*/ 8 h 8"/>
                <a:gd name="T6" fmla="*/ 9 w 10"/>
                <a:gd name="T7" fmla="*/ 8 h 8"/>
                <a:gd name="T8" fmla="*/ 9 w 10"/>
                <a:gd name="T9" fmla="*/ 8 h 8"/>
                <a:gd name="T10" fmla="*/ 9 w 10"/>
                <a:gd name="T11" fmla="*/ 8 h 8"/>
                <a:gd name="T12" fmla="*/ 10 w 10"/>
                <a:gd name="T13" fmla="*/ 8 h 8"/>
                <a:gd name="T14" fmla="*/ 10 w 10"/>
                <a:gd name="T15" fmla="*/ 7 h 8"/>
                <a:gd name="T16" fmla="*/ 7 w 10"/>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7" y="0"/>
                  </a:moveTo>
                  <a:cubicBezTo>
                    <a:pt x="3" y="1"/>
                    <a:pt x="0" y="3"/>
                    <a:pt x="5" y="6"/>
                  </a:cubicBezTo>
                  <a:cubicBezTo>
                    <a:pt x="6" y="7"/>
                    <a:pt x="7" y="8"/>
                    <a:pt x="9" y="8"/>
                  </a:cubicBezTo>
                  <a:cubicBezTo>
                    <a:pt x="9" y="8"/>
                    <a:pt x="9" y="8"/>
                    <a:pt x="9" y="8"/>
                  </a:cubicBezTo>
                  <a:cubicBezTo>
                    <a:pt x="9" y="8"/>
                    <a:pt x="9" y="8"/>
                    <a:pt x="9" y="8"/>
                  </a:cubicBezTo>
                  <a:cubicBezTo>
                    <a:pt x="9" y="8"/>
                    <a:pt x="9" y="8"/>
                    <a:pt x="9" y="8"/>
                  </a:cubicBezTo>
                  <a:cubicBezTo>
                    <a:pt x="9" y="8"/>
                    <a:pt x="9" y="8"/>
                    <a:pt x="10" y="8"/>
                  </a:cubicBezTo>
                  <a:cubicBezTo>
                    <a:pt x="10" y="8"/>
                    <a:pt x="10" y="8"/>
                    <a:pt x="10" y="7"/>
                  </a:cubicBezTo>
                  <a:cubicBezTo>
                    <a:pt x="10" y="5"/>
                    <a:pt x="8"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44"/>
            <p:cNvSpPr/>
            <p:nvPr/>
          </p:nvSpPr>
          <p:spPr bwMode="auto">
            <a:xfrm>
              <a:off x="7156441" y="1839147"/>
              <a:ext cx="41275" cy="47625"/>
            </a:xfrm>
            <a:custGeom>
              <a:gdLst>
                <a:gd name="T0" fmla="*/ 4 w 11"/>
                <a:gd name="T1" fmla="*/ 0 h 13"/>
                <a:gd name="T2" fmla="*/ 3 w 11"/>
                <a:gd name="T3" fmla="*/ 1 h 13"/>
                <a:gd name="T4" fmla="*/ 3 w 11"/>
                <a:gd name="T5" fmla="*/ 0 h 13"/>
                <a:gd name="T6" fmla="*/ 0 w 11"/>
                <a:gd name="T7" fmla="*/ 3 h 13"/>
                <a:gd name="T8" fmla="*/ 0 w 11"/>
                <a:gd name="T9" fmla="*/ 5 h 13"/>
                <a:gd name="T10" fmla="*/ 0 w 11"/>
                <a:gd name="T11" fmla="*/ 8 h 13"/>
                <a:gd name="T12" fmla="*/ 0 w 11"/>
                <a:gd name="T13" fmla="*/ 10 h 13"/>
                <a:gd name="T14" fmla="*/ 0 w 11"/>
                <a:gd name="T15" fmla="*/ 10 h 13"/>
                <a:gd name="T16" fmla="*/ 1 w 11"/>
                <a:gd name="T17" fmla="*/ 11 h 13"/>
                <a:gd name="T18" fmla="*/ 2 w 11"/>
                <a:gd name="T19" fmla="*/ 11 h 13"/>
                <a:gd name="T20" fmla="*/ 4 w 11"/>
                <a:gd name="T21" fmla="*/ 13 h 13"/>
                <a:gd name="T22" fmla="*/ 5 w 11"/>
                <a:gd name="T23" fmla="*/ 13 h 13"/>
                <a:gd name="T24" fmla="*/ 6 w 11"/>
                <a:gd name="T25" fmla="*/ 13 h 13"/>
                <a:gd name="T26" fmla="*/ 9 w 11"/>
                <a:gd name="T27" fmla="*/ 11 h 13"/>
                <a:gd name="T28" fmla="*/ 7 w 11"/>
                <a:gd name="T29" fmla="*/ 2 h 13"/>
                <a:gd name="T30" fmla="*/ 7 w 11"/>
                <a:gd name="T31" fmla="*/ 2 h 13"/>
                <a:gd name="T32" fmla="*/ 7 w 11"/>
                <a:gd name="T33" fmla="*/ 2 h 13"/>
                <a:gd name="T34" fmla="*/ 4 w 11"/>
                <a:gd name="T3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3">
                  <a:moveTo>
                    <a:pt x="4" y="0"/>
                  </a:moveTo>
                  <a:cubicBezTo>
                    <a:pt x="3" y="1"/>
                    <a:pt x="3" y="1"/>
                    <a:pt x="3" y="1"/>
                  </a:cubicBezTo>
                  <a:cubicBezTo>
                    <a:pt x="3" y="0"/>
                    <a:pt x="3" y="0"/>
                    <a:pt x="3" y="0"/>
                  </a:cubicBezTo>
                  <a:cubicBezTo>
                    <a:pt x="2" y="0"/>
                    <a:pt x="1" y="1"/>
                    <a:pt x="0" y="3"/>
                  </a:cubicBezTo>
                  <a:cubicBezTo>
                    <a:pt x="0" y="3"/>
                    <a:pt x="0" y="4"/>
                    <a:pt x="0" y="5"/>
                  </a:cubicBezTo>
                  <a:cubicBezTo>
                    <a:pt x="0" y="6"/>
                    <a:pt x="0" y="7"/>
                    <a:pt x="0" y="8"/>
                  </a:cubicBezTo>
                  <a:cubicBezTo>
                    <a:pt x="0" y="9"/>
                    <a:pt x="0" y="10"/>
                    <a:pt x="0" y="10"/>
                  </a:cubicBezTo>
                  <a:cubicBezTo>
                    <a:pt x="0" y="10"/>
                    <a:pt x="0" y="10"/>
                    <a:pt x="0" y="10"/>
                  </a:cubicBezTo>
                  <a:cubicBezTo>
                    <a:pt x="0" y="11"/>
                    <a:pt x="1" y="11"/>
                    <a:pt x="1" y="11"/>
                  </a:cubicBezTo>
                  <a:cubicBezTo>
                    <a:pt x="1" y="11"/>
                    <a:pt x="2" y="11"/>
                    <a:pt x="2" y="11"/>
                  </a:cubicBezTo>
                  <a:cubicBezTo>
                    <a:pt x="4" y="11"/>
                    <a:pt x="3" y="13"/>
                    <a:pt x="4" y="13"/>
                  </a:cubicBezTo>
                  <a:cubicBezTo>
                    <a:pt x="5" y="13"/>
                    <a:pt x="5" y="13"/>
                    <a:pt x="5" y="13"/>
                  </a:cubicBezTo>
                  <a:cubicBezTo>
                    <a:pt x="5" y="13"/>
                    <a:pt x="6" y="13"/>
                    <a:pt x="6" y="13"/>
                  </a:cubicBezTo>
                  <a:cubicBezTo>
                    <a:pt x="7" y="12"/>
                    <a:pt x="8" y="12"/>
                    <a:pt x="9" y="11"/>
                  </a:cubicBezTo>
                  <a:cubicBezTo>
                    <a:pt x="11" y="9"/>
                    <a:pt x="10" y="4"/>
                    <a:pt x="7" y="2"/>
                  </a:cubicBezTo>
                  <a:cubicBezTo>
                    <a:pt x="7" y="2"/>
                    <a:pt x="7" y="2"/>
                    <a:pt x="7" y="2"/>
                  </a:cubicBezTo>
                  <a:cubicBezTo>
                    <a:pt x="7" y="2"/>
                    <a:pt x="7" y="2"/>
                    <a:pt x="7" y="2"/>
                  </a:cubicBezTo>
                  <a:cubicBezTo>
                    <a:pt x="6" y="1"/>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45"/>
            <p:cNvSpPr/>
            <p:nvPr/>
          </p:nvSpPr>
          <p:spPr bwMode="auto">
            <a:xfrm>
              <a:off x="10523529" y="4625209"/>
              <a:ext cx="26988" cy="11113"/>
            </a:xfrm>
            <a:custGeom>
              <a:gdLst>
                <a:gd name="T0" fmla="*/ 1 w 7"/>
                <a:gd name="T1" fmla="*/ 0 h 3"/>
                <a:gd name="T2" fmla="*/ 0 w 7"/>
                <a:gd name="T3" fmla="*/ 3 h 3"/>
                <a:gd name="T4" fmla="*/ 1 w 7"/>
                <a:gd name="T5" fmla="*/ 0 h 3"/>
              </a:gdLst>
              <a:cxnLst>
                <a:cxn ang="0">
                  <a:pos x="T0" y="T1"/>
                </a:cxn>
                <a:cxn ang="0">
                  <a:pos x="T2" y="T3"/>
                </a:cxn>
                <a:cxn ang="0">
                  <a:pos x="T4" y="T5"/>
                </a:cxn>
              </a:cxnLst>
              <a:rect l="0" t="0" r="r" b="b"/>
              <a:pathLst>
                <a:path w="7" h="3">
                  <a:moveTo>
                    <a:pt x="1" y="0"/>
                  </a:moveTo>
                  <a:cubicBezTo>
                    <a:pt x="1" y="0"/>
                    <a:pt x="0" y="2"/>
                    <a:pt x="0" y="3"/>
                  </a:cubicBezTo>
                  <a:cubicBezTo>
                    <a:pt x="7"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46"/>
            <p:cNvSpPr/>
            <p:nvPr/>
          </p:nvSpPr>
          <p:spPr bwMode="auto">
            <a:xfrm flipH="1">
              <a:off x="10526704" y="4622034"/>
              <a:ext cx="0" cy="3175"/>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47"/>
            <p:cNvSpPr/>
            <p:nvPr/>
          </p:nvSpPr>
          <p:spPr bwMode="auto">
            <a:xfrm flipH="1">
              <a:off x="10526704" y="4622034"/>
              <a:ext cx="0" cy="3175"/>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8"/>
            <p:cNvSpPr/>
            <p:nvPr/>
          </p:nvSpPr>
          <p:spPr bwMode="auto">
            <a:xfrm>
              <a:off x="10526704" y="4591872"/>
              <a:ext cx="30163" cy="30163"/>
            </a:xfrm>
            <a:custGeom>
              <a:gdLst>
                <a:gd name="T0" fmla="*/ 8 w 8"/>
                <a:gd name="T1" fmla="*/ 0 h 8"/>
                <a:gd name="T2" fmla="*/ 4 w 8"/>
                <a:gd name="T3" fmla="*/ 4 h 8"/>
                <a:gd name="T4" fmla="*/ 0 w 8"/>
                <a:gd name="T5" fmla="*/ 8 h 8"/>
                <a:gd name="T6" fmla="*/ 4 w 8"/>
                <a:gd name="T7" fmla="*/ 6 h 8"/>
                <a:gd name="T8" fmla="*/ 8 w 8"/>
                <a:gd name="T9" fmla="*/ 0 h 8"/>
              </a:gdLst>
              <a:cxnLst>
                <a:cxn ang="0">
                  <a:pos x="T0" y="T1"/>
                </a:cxn>
                <a:cxn ang="0">
                  <a:pos x="T2" y="T3"/>
                </a:cxn>
                <a:cxn ang="0">
                  <a:pos x="T4" y="T5"/>
                </a:cxn>
                <a:cxn ang="0">
                  <a:pos x="T6" y="T7"/>
                </a:cxn>
                <a:cxn ang="0">
                  <a:pos x="T8" y="T9"/>
                </a:cxn>
              </a:cxnLst>
              <a:rect l="0" t="0" r="r" b="b"/>
              <a:pathLst>
                <a:path w="8" h="8">
                  <a:moveTo>
                    <a:pt x="8" y="0"/>
                  </a:moveTo>
                  <a:cubicBezTo>
                    <a:pt x="7" y="1"/>
                    <a:pt x="5" y="2"/>
                    <a:pt x="4" y="4"/>
                  </a:cubicBezTo>
                  <a:cubicBezTo>
                    <a:pt x="1" y="6"/>
                    <a:pt x="0" y="6"/>
                    <a:pt x="0" y="8"/>
                  </a:cubicBezTo>
                  <a:cubicBezTo>
                    <a:pt x="0" y="7"/>
                    <a:pt x="3" y="7"/>
                    <a:pt x="4" y="6"/>
                  </a:cubicBezTo>
                  <a:cubicBezTo>
                    <a:pt x="5" y="5"/>
                    <a:pt x="7"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49"/>
            <p:cNvSpPr/>
            <p:nvPr/>
          </p:nvSpPr>
          <p:spPr bwMode="auto">
            <a:xfrm>
              <a:off x="4483091" y="4042597"/>
              <a:ext cx="7938" cy="7938"/>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0" y="2"/>
                  </a:cubicBezTo>
                  <a:cubicBezTo>
                    <a:pt x="0"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50"/>
            <p:cNvSpPr/>
            <p:nvPr/>
          </p:nvSpPr>
          <p:spPr bwMode="auto">
            <a:xfrm>
              <a:off x="4375141" y="3948934"/>
              <a:ext cx="130175" cy="131763"/>
            </a:xfrm>
            <a:custGeom>
              <a:gdLst>
                <a:gd name="T0" fmla="*/ 17 w 35"/>
                <a:gd name="T1" fmla="*/ 0 h 35"/>
                <a:gd name="T2" fmla="*/ 11 w 35"/>
                <a:gd name="T3" fmla="*/ 3 h 35"/>
                <a:gd name="T4" fmla="*/ 7 w 35"/>
                <a:gd name="T5" fmla="*/ 3 h 35"/>
                <a:gd name="T6" fmla="*/ 5 w 35"/>
                <a:gd name="T7" fmla="*/ 3 h 35"/>
                <a:gd name="T8" fmla="*/ 2 w 35"/>
                <a:gd name="T9" fmla="*/ 3 h 35"/>
                <a:gd name="T10" fmla="*/ 0 w 35"/>
                <a:gd name="T11" fmla="*/ 3 h 35"/>
                <a:gd name="T12" fmla="*/ 10 w 35"/>
                <a:gd name="T13" fmla="*/ 8 h 35"/>
                <a:gd name="T14" fmla="*/ 10 w 35"/>
                <a:gd name="T15" fmla="*/ 9 h 35"/>
                <a:gd name="T16" fmla="*/ 5 w 35"/>
                <a:gd name="T17" fmla="*/ 10 h 35"/>
                <a:gd name="T18" fmla="*/ 10 w 35"/>
                <a:gd name="T19" fmla="*/ 15 h 35"/>
                <a:gd name="T20" fmla="*/ 11 w 35"/>
                <a:gd name="T21" fmla="*/ 12 h 35"/>
                <a:gd name="T22" fmla="*/ 14 w 35"/>
                <a:gd name="T23" fmla="*/ 14 h 35"/>
                <a:gd name="T24" fmla="*/ 11 w 35"/>
                <a:gd name="T25" fmla="*/ 16 h 35"/>
                <a:gd name="T26" fmla="*/ 14 w 35"/>
                <a:gd name="T27" fmla="*/ 18 h 35"/>
                <a:gd name="T28" fmla="*/ 18 w 35"/>
                <a:gd name="T29" fmla="*/ 23 h 35"/>
                <a:gd name="T30" fmla="*/ 22 w 35"/>
                <a:gd name="T31" fmla="*/ 25 h 35"/>
                <a:gd name="T32" fmla="*/ 23 w 35"/>
                <a:gd name="T33" fmla="*/ 28 h 35"/>
                <a:gd name="T34" fmla="*/ 28 w 35"/>
                <a:gd name="T35" fmla="*/ 33 h 35"/>
                <a:gd name="T36" fmla="*/ 28 w 35"/>
                <a:gd name="T37" fmla="*/ 32 h 35"/>
                <a:gd name="T38" fmla="*/ 30 w 35"/>
                <a:gd name="T39" fmla="*/ 35 h 35"/>
                <a:gd name="T40" fmla="*/ 30 w 35"/>
                <a:gd name="T41" fmla="*/ 31 h 35"/>
                <a:gd name="T42" fmla="*/ 32 w 35"/>
                <a:gd name="T43" fmla="*/ 35 h 35"/>
                <a:gd name="T44" fmla="*/ 35 w 35"/>
                <a:gd name="T45" fmla="*/ 32 h 35"/>
                <a:gd name="T46" fmla="*/ 29 w 35"/>
                <a:gd name="T47" fmla="*/ 27 h 35"/>
                <a:gd name="T48" fmla="*/ 28 w 35"/>
                <a:gd name="T49" fmla="*/ 28 h 35"/>
                <a:gd name="T50" fmla="*/ 17 w 35"/>
                <a:gd name="T51" fmla="*/ 17 h 35"/>
                <a:gd name="T52" fmla="*/ 21 w 35"/>
                <a:gd name="T53" fmla="*/ 14 h 35"/>
                <a:gd name="T54" fmla="*/ 14 w 35"/>
                <a:gd name="T55" fmla="*/ 11 h 35"/>
                <a:gd name="T56" fmla="*/ 14 w 35"/>
                <a:gd name="T57" fmla="*/ 8 h 35"/>
                <a:gd name="T58" fmla="*/ 13 w 35"/>
                <a:gd name="T59" fmla="*/ 6 h 35"/>
                <a:gd name="T60" fmla="*/ 15 w 35"/>
                <a:gd name="T61" fmla="*/ 6 h 35"/>
                <a:gd name="T62" fmla="*/ 17 w 35"/>
                <a:gd name="T63" fmla="*/ 5 h 35"/>
                <a:gd name="T64" fmla="*/ 17 w 35"/>
                <a:gd name="T65"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 h="35">
                  <a:moveTo>
                    <a:pt x="17" y="0"/>
                  </a:moveTo>
                  <a:cubicBezTo>
                    <a:pt x="15" y="1"/>
                    <a:pt x="13" y="2"/>
                    <a:pt x="11" y="3"/>
                  </a:cubicBezTo>
                  <a:cubicBezTo>
                    <a:pt x="10" y="3"/>
                    <a:pt x="9" y="3"/>
                    <a:pt x="7" y="3"/>
                  </a:cubicBezTo>
                  <a:cubicBezTo>
                    <a:pt x="7" y="3"/>
                    <a:pt x="6" y="3"/>
                    <a:pt x="5" y="3"/>
                  </a:cubicBezTo>
                  <a:cubicBezTo>
                    <a:pt x="4" y="3"/>
                    <a:pt x="3" y="3"/>
                    <a:pt x="2" y="3"/>
                  </a:cubicBezTo>
                  <a:cubicBezTo>
                    <a:pt x="2" y="3"/>
                    <a:pt x="1" y="3"/>
                    <a:pt x="0" y="3"/>
                  </a:cubicBezTo>
                  <a:cubicBezTo>
                    <a:pt x="1" y="8"/>
                    <a:pt x="6" y="6"/>
                    <a:pt x="10" y="8"/>
                  </a:cubicBezTo>
                  <a:cubicBezTo>
                    <a:pt x="10" y="8"/>
                    <a:pt x="10" y="9"/>
                    <a:pt x="10" y="9"/>
                  </a:cubicBezTo>
                  <a:cubicBezTo>
                    <a:pt x="8" y="9"/>
                    <a:pt x="7" y="9"/>
                    <a:pt x="5" y="10"/>
                  </a:cubicBezTo>
                  <a:cubicBezTo>
                    <a:pt x="6" y="12"/>
                    <a:pt x="8" y="13"/>
                    <a:pt x="10" y="15"/>
                  </a:cubicBezTo>
                  <a:cubicBezTo>
                    <a:pt x="11" y="14"/>
                    <a:pt x="11" y="13"/>
                    <a:pt x="11" y="12"/>
                  </a:cubicBezTo>
                  <a:cubicBezTo>
                    <a:pt x="12" y="13"/>
                    <a:pt x="13" y="14"/>
                    <a:pt x="14" y="14"/>
                  </a:cubicBezTo>
                  <a:cubicBezTo>
                    <a:pt x="14" y="15"/>
                    <a:pt x="11" y="15"/>
                    <a:pt x="11" y="16"/>
                  </a:cubicBezTo>
                  <a:cubicBezTo>
                    <a:pt x="11" y="17"/>
                    <a:pt x="13" y="18"/>
                    <a:pt x="14" y="18"/>
                  </a:cubicBezTo>
                  <a:cubicBezTo>
                    <a:pt x="15" y="20"/>
                    <a:pt x="17" y="22"/>
                    <a:pt x="18" y="23"/>
                  </a:cubicBezTo>
                  <a:cubicBezTo>
                    <a:pt x="20" y="24"/>
                    <a:pt x="21" y="24"/>
                    <a:pt x="22" y="25"/>
                  </a:cubicBezTo>
                  <a:cubicBezTo>
                    <a:pt x="23" y="26"/>
                    <a:pt x="22" y="27"/>
                    <a:pt x="23" y="28"/>
                  </a:cubicBezTo>
                  <a:cubicBezTo>
                    <a:pt x="24" y="29"/>
                    <a:pt x="26" y="32"/>
                    <a:pt x="28" y="33"/>
                  </a:cubicBezTo>
                  <a:cubicBezTo>
                    <a:pt x="28" y="32"/>
                    <a:pt x="28" y="32"/>
                    <a:pt x="28" y="32"/>
                  </a:cubicBezTo>
                  <a:cubicBezTo>
                    <a:pt x="29" y="33"/>
                    <a:pt x="30" y="35"/>
                    <a:pt x="30" y="35"/>
                  </a:cubicBezTo>
                  <a:cubicBezTo>
                    <a:pt x="30" y="35"/>
                    <a:pt x="30" y="34"/>
                    <a:pt x="30" y="31"/>
                  </a:cubicBezTo>
                  <a:cubicBezTo>
                    <a:pt x="32" y="33"/>
                    <a:pt x="32" y="35"/>
                    <a:pt x="32" y="35"/>
                  </a:cubicBezTo>
                  <a:cubicBezTo>
                    <a:pt x="33" y="35"/>
                    <a:pt x="33" y="34"/>
                    <a:pt x="35" y="32"/>
                  </a:cubicBezTo>
                  <a:cubicBezTo>
                    <a:pt x="33" y="31"/>
                    <a:pt x="31" y="27"/>
                    <a:pt x="29" y="27"/>
                  </a:cubicBezTo>
                  <a:cubicBezTo>
                    <a:pt x="29" y="27"/>
                    <a:pt x="28" y="27"/>
                    <a:pt x="28" y="28"/>
                  </a:cubicBezTo>
                  <a:cubicBezTo>
                    <a:pt x="29" y="25"/>
                    <a:pt x="20" y="19"/>
                    <a:pt x="17" y="17"/>
                  </a:cubicBezTo>
                  <a:cubicBezTo>
                    <a:pt x="15" y="15"/>
                    <a:pt x="19" y="14"/>
                    <a:pt x="21" y="14"/>
                  </a:cubicBezTo>
                  <a:cubicBezTo>
                    <a:pt x="18" y="14"/>
                    <a:pt x="16" y="12"/>
                    <a:pt x="14" y="11"/>
                  </a:cubicBezTo>
                  <a:cubicBezTo>
                    <a:pt x="15" y="10"/>
                    <a:pt x="15" y="9"/>
                    <a:pt x="14" y="8"/>
                  </a:cubicBezTo>
                  <a:cubicBezTo>
                    <a:pt x="13" y="6"/>
                    <a:pt x="13" y="6"/>
                    <a:pt x="13" y="6"/>
                  </a:cubicBezTo>
                  <a:cubicBezTo>
                    <a:pt x="14" y="6"/>
                    <a:pt x="14" y="6"/>
                    <a:pt x="15" y="6"/>
                  </a:cubicBezTo>
                  <a:cubicBezTo>
                    <a:pt x="15" y="5"/>
                    <a:pt x="17" y="6"/>
                    <a:pt x="17" y="5"/>
                  </a:cubicBezTo>
                  <a:cubicBezTo>
                    <a:pt x="18" y="4"/>
                    <a:pt x="18" y="1"/>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51"/>
            <p:cNvSpPr/>
            <p:nvPr/>
          </p:nvSpPr>
          <p:spPr bwMode="auto">
            <a:xfrm>
              <a:off x="4960929" y="945384"/>
              <a:ext cx="919163" cy="574675"/>
            </a:xfrm>
            <a:custGeom>
              <a:gdLst>
                <a:gd name="T0" fmla="*/ 75 w 245"/>
                <a:gd name="T1" fmla="*/ 4 h 153"/>
                <a:gd name="T2" fmla="*/ 25 w 245"/>
                <a:gd name="T3" fmla="*/ 10 h 153"/>
                <a:gd name="T4" fmla="*/ 35 w 245"/>
                <a:gd name="T5" fmla="*/ 26 h 153"/>
                <a:gd name="T6" fmla="*/ 44 w 245"/>
                <a:gd name="T7" fmla="*/ 33 h 153"/>
                <a:gd name="T8" fmla="*/ 41 w 245"/>
                <a:gd name="T9" fmla="*/ 45 h 153"/>
                <a:gd name="T10" fmla="*/ 28 w 245"/>
                <a:gd name="T11" fmla="*/ 60 h 153"/>
                <a:gd name="T12" fmla="*/ 26 w 245"/>
                <a:gd name="T13" fmla="*/ 69 h 153"/>
                <a:gd name="T14" fmla="*/ 25 w 245"/>
                <a:gd name="T15" fmla="*/ 75 h 153"/>
                <a:gd name="T16" fmla="*/ 21 w 245"/>
                <a:gd name="T17" fmla="*/ 76 h 153"/>
                <a:gd name="T18" fmla="*/ 18 w 245"/>
                <a:gd name="T19" fmla="*/ 76 h 153"/>
                <a:gd name="T20" fmla="*/ 18 w 245"/>
                <a:gd name="T21" fmla="*/ 83 h 153"/>
                <a:gd name="T22" fmla="*/ 13 w 245"/>
                <a:gd name="T23" fmla="*/ 93 h 153"/>
                <a:gd name="T24" fmla="*/ 10 w 245"/>
                <a:gd name="T25" fmla="*/ 96 h 153"/>
                <a:gd name="T26" fmla="*/ 7 w 245"/>
                <a:gd name="T27" fmla="*/ 101 h 153"/>
                <a:gd name="T28" fmla="*/ 6 w 245"/>
                <a:gd name="T29" fmla="*/ 103 h 153"/>
                <a:gd name="T30" fmla="*/ 2 w 245"/>
                <a:gd name="T31" fmla="*/ 108 h 153"/>
                <a:gd name="T32" fmla="*/ 2 w 245"/>
                <a:gd name="T33" fmla="*/ 115 h 153"/>
                <a:gd name="T34" fmla="*/ 14 w 245"/>
                <a:gd name="T35" fmla="*/ 115 h 153"/>
                <a:gd name="T36" fmla="*/ 14 w 245"/>
                <a:gd name="T37" fmla="*/ 116 h 153"/>
                <a:gd name="T38" fmla="*/ 41 w 245"/>
                <a:gd name="T39" fmla="*/ 127 h 153"/>
                <a:gd name="T40" fmla="*/ 57 w 245"/>
                <a:gd name="T41" fmla="*/ 145 h 153"/>
                <a:gd name="T42" fmla="*/ 68 w 245"/>
                <a:gd name="T43" fmla="*/ 153 h 153"/>
                <a:gd name="T44" fmla="*/ 81 w 245"/>
                <a:gd name="T45" fmla="*/ 147 h 153"/>
                <a:gd name="T46" fmla="*/ 97 w 245"/>
                <a:gd name="T47" fmla="*/ 137 h 153"/>
                <a:gd name="T48" fmla="*/ 101 w 245"/>
                <a:gd name="T49" fmla="*/ 140 h 153"/>
                <a:gd name="T50" fmla="*/ 105 w 245"/>
                <a:gd name="T51" fmla="*/ 140 h 153"/>
                <a:gd name="T52" fmla="*/ 126 w 245"/>
                <a:gd name="T53" fmla="*/ 121 h 153"/>
                <a:gd name="T54" fmla="*/ 132 w 245"/>
                <a:gd name="T55" fmla="*/ 108 h 153"/>
                <a:gd name="T56" fmla="*/ 131 w 245"/>
                <a:gd name="T57" fmla="*/ 102 h 153"/>
                <a:gd name="T58" fmla="*/ 136 w 245"/>
                <a:gd name="T59" fmla="*/ 104 h 153"/>
                <a:gd name="T60" fmla="*/ 138 w 245"/>
                <a:gd name="T61" fmla="*/ 104 h 153"/>
                <a:gd name="T62" fmla="*/ 139 w 245"/>
                <a:gd name="T63" fmla="*/ 104 h 153"/>
                <a:gd name="T64" fmla="*/ 152 w 245"/>
                <a:gd name="T65" fmla="*/ 94 h 153"/>
                <a:gd name="T66" fmla="*/ 158 w 245"/>
                <a:gd name="T67" fmla="*/ 85 h 153"/>
                <a:gd name="T68" fmla="*/ 171 w 245"/>
                <a:gd name="T69" fmla="*/ 80 h 153"/>
                <a:gd name="T70" fmla="*/ 198 w 245"/>
                <a:gd name="T71" fmla="*/ 68 h 153"/>
                <a:gd name="T72" fmla="*/ 211 w 245"/>
                <a:gd name="T73" fmla="*/ 62 h 153"/>
                <a:gd name="T74" fmla="*/ 240 w 245"/>
                <a:gd name="T75" fmla="*/ 51 h 153"/>
                <a:gd name="T76" fmla="*/ 237 w 245"/>
                <a:gd name="T77" fmla="*/ 40 h 153"/>
                <a:gd name="T78" fmla="*/ 213 w 245"/>
                <a:gd name="T79" fmla="*/ 25 h 153"/>
                <a:gd name="T80" fmla="*/ 179 w 245"/>
                <a:gd name="T81" fmla="*/ 13 h 153"/>
                <a:gd name="T82" fmla="*/ 165 w 245"/>
                <a:gd name="T83" fmla="*/ 16 h 153"/>
                <a:gd name="T84" fmla="*/ 158 w 245"/>
                <a:gd name="T85" fmla="*/ 24 h 153"/>
                <a:gd name="T86" fmla="*/ 155 w 245"/>
                <a:gd name="T87" fmla="*/ 24 h 153"/>
                <a:gd name="T88" fmla="*/ 153 w 245"/>
                <a:gd name="T89" fmla="*/ 15 h 153"/>
                <a:gd name="T90" fmla="*/ 145 w 245"/>
                <a:gd name="T91" fmla="*/ 17 h 153"/>
                <a:gd name="T92" fmla="*/ 144 w 245"/>
                <a:gd name="T93" fmla="*/ 15 h 153"/>
                <a:gd name="T94" fmla="*/ 113 w 245"/>
                <a:gd name="T95" fmla="*/ 6 h 153"/>
                <a:gd name="T96" fmla="*/ 108 w 245"/>
                <a:gd name="T97" fmla="*/ 2 h 153"/>
                <a:gd name="T98" fmla="*/ 98 w 245"/>
                <a:gd name="T99" fmla="*/ 0 h 1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153">
                  <a:moveTo>
                    <a:pt x="98" y="0"/>
                  </a:moveTo>
                  <a:cubicBezTo>
                    <a:pt x="90" y="0"/>
                    <a:pt x="83" y="4"/>
                    <a:pt x="75" y="4"/>
                  </a:cubicBezTo>
                  <a:cubicBezTo>
                    <a:pt x="67" y="5"/>
                    <a:pt x="58" y="5"/>
                    <a:pt x="50" y="6"/>
                  </a:cubicBezTo>
                  <a:cubicBezTo>
                    <a:pt x="42" y="7"/>
                    <a:pt x="33" y="7"/>
                    <a:pt x="25" y="10"/>
                  </a:cubicBezTo>
                  <a:cubicBezTo>
                    <a:pt x="30" y="11"/>
                    <a:pt x="31" y="16"/>
                    <a:pt x="33" y="20"/>
                  </a:cubicBezTo>
                  <a:cubicBezTo>
                    <a:pt x="33" y="22"/>
                    <a:pt x="34" y="24"/>
                    <a:pt x="35" y="26"/>
                  </a:cubicBezTo>
                  <a:cubicBezTo>
                    <a:pt x="36" y="27"/>
                    <a:pt x="37" y="28"/>
                    <a:pt x="38" y="29"/>
                  </a:cubicBezTo>
                  <a:cubicBezTo>
                    <a:pt x="40" y="33"/>
                    <a:pt x="41" y="31"/>
                    <a:pt x="44" y="33"/>
                  </a:cubicBezTo>
                  <a:cubicBezTo>
                    <a:pt x="48" y="34"/>
                    <a:pt x="48" y="37"/>
                    <a:pt x="45" y="39"/>
                  </a:cubicBezTo>
                  <a:cubicBezTo>
                    <a:pt x="41" y="42"/>
                    <a:pt x="41" y="41"/>
                    <a:pt x="41" y="45"/>
                  </a:cubicBezTo>
                  <a:cubicBezTo>
                    <a:pt x="41" y="48"/>
                    <a:pt x="38" y="48"/>
                    <a:pt x="36" y="49"/>
                  </a:cubicBezTo>
                  <a:cubicBezTo>
                    <a:pt x="32" y="51"/>
                    <a:pt x="30" y="57"/>
                    <a:pt x="28" y="60"/>
                  </a:cubicBezTo>
                  <a:cubicBezTo>
                    <a:pt x="27" y="63"/>
                    <a:pt x="25" y="63"/>
                    <a:pt x="24" y="65"/>
                  </a:cubicBezTo>
                  <a:cubicBezTo>
                    <a:pt x="23" y="67"/>
                    <a:pt x="24" y="68"/>
                    <a:pt x="26" y="69"/>
                  </a:cubicBezTo>
                  <a:cubicBezTo>
                    <a:pt x="27" y="69"/>
                    <a:pt x="29" y="70"/>
                    <a:pt x="30" y="71"/>
                  </a:cubicBezTo>
                  <a:cubicBezTo>
                    <a:pt x="32" y="74"/>
                    <a:pt x="27" y="75"/>
                    <a:pt x="25" y="75"/>
                  </a:cubicBezTo>
                  <a:cubicBezTo>
                    <a:pt x="24" y="75"/>
                    <a:pt x="22" y="76"/>
                    <a:pt x="21" y="76"/>
                  </a:cubicBezTo>
                  <a:cubicBezTo>
                    <a:pt x="21" y="76"/>
                    <a:pt x="21" y="76"/>
                    <a:pt x="21" y="76"/>
                  </a:cubicBezTo>
                  <a:cubicBezTo>
                    <a:pt x="21" y="76"/>
                    <a:pt x="20" y="76"/>
                    <a:pt x="20" y="76"/>
                  </a:cubicBezTo>
                  <a:cubicBezTo>
                    <a:pt x="19" y="76"/>
                    <a:pt x="19" y="76"/>
                    <a:pt x="18" y="76"/>
                  </a:cubicBezTo>
                  <a:cubicBezTo>
                    <a:pt x="18" y="76"/>
                    <a:pt x="18" y="76"/>
                    <a:pt x="18" y="76"/>
                  </a:cubicBezTo>
                  <a:cubicBezTo>
                    <a:pt x="16" y="76"/>
                    <a:pt x="18" y="81"/>
                    <a:pt x="18" y="83"/>
                  </a:cubicBezTo>
                  <a:cubicBezTo>
                    <a:pt x="18" y="85"/>
                    <a:pt x="18" y="85"/>
                    <a:pt x="17" y="87"/>
                  </a:cubicBezTo>
                  <a:cubicBezTo>
                    <a:pt x="17" y="91"/>
                    <a:pt x="16" y="90"/>
                    <a:pt x="13" y="93"/>
                  </a:cubicBezTo>
                  <a:cubicBezTo>
                    <a:pt x="12" y="93"/>
                    <a:pt x="11" y="94"/>
                    <a:pt x="11" y="95"/>
                  </a:cubicBezTo>
                  <a:cubicBezTo>
                    <a:pt x="11" y="96"/>
                    <a:pt x="10" y="95"/>
                    <a:pt x="10" y="96"/>
                  </a:cubicBezTo>
                  <a:cubicBezTo>
                    <a:pt x="9" y="97"/>
                    <a:pt x="10" y="97"/>
                    <a:pt x="10" y="98"/>
                  </a:cubicBezTo>
                  <a:cubicBezTo>
                    <a:pt x="9" y="99"/>
                    <a:pt x="8" y="99"/>
                    <a:pt x="7" y="101"/>
                  </a:cubicBezTo>
                  <a:cubicBezTo>
                    <a:pt x="7" y="101"/>
                    <a:pt x="7" y="102"/>
                    <a:pt x="7" y="102"/>
                  </a:cubicBezTo>
                  <a:cubicBezTo>
                    <a:pt x="7" y="103"/>
                    <a:pt x="6" y="103"/>
                    <a:pt x="6" y="103"/>
                  </a:cubicBezTo>
                  <a:cubicBezTo>
                    <a:pt x="5" y="104"/>
                    <a:pt x="4" y="103"/>
                    <a:pt x="4" y="105"/>
                  </a:cubicBezTo>
                  <a:cubicBezTo>
                    <a:pt x="4" y="107"/>
                    <a:pt x="2" y="107"/>
                    <a:pt x="2" y="108"/>
                  </a:cubicBezTo>
                  <a:cubicBezTo>
                    <a:pt x="1" y="110"/>
                    <a:pt x="4" y="114"/>
                    <a:pt x="0" y="115"/>
                  </a:cubicBezTo>
                  <a:cubicBezTo>
                    <a:pt x="1" y="115"/>
                    <a:pt x="1" y="115"/>
                    <a:pt x="2" y="115"/>
                  </a:cubicBezTo>
                  <a:cubicBezTo>
                    <a:pt x="4" y="115"/>
                    <a:pt x="6" y="115"/>
                    <a:pt x="8" y="115"/>
                  </a:cubicBezTo>
                  <a:cubicBezTo>
                    <a:pt x="10" y="115"/>
                    <a:pt x="12" y="115"/>
                    <a:pt x="14" y="115"/>
                  </a:cubicBezTo>
                  <a:cubicBezTo>
                    <a:pt x="16" y="115"/>
                    <a:pt x="18" y="115"/>
                    <a:pt x="20" y="115"/>
                  </a:cubicBezTo>
                  <a:cubicBezTo>
                    <a:pt x="18" y="116"/>
                    <a:pt x="16" y="116"/>
                    <a:pt x="14" y="116"/>
                  </a:cubicBezTo>
                  <a:cubicBezTo>
                    <a:pt x="19" y="119"/>
                    <a:pt x="26" y="122"/>
                    <a:pt x="32" y="124"/>
                  </a:cubicBezTo>
                  <a:cubicBezTo>
                    <a:pt x="35" y="125"/>
                    <a:pt x="39" y="125"/>
                    <a:pt x="41" y="127"/>
                  </a:cubicBezTo>
                  <a:cubicBezTo>
                    <a:pt x="43" y="128"/>
                    <a:pt x="45" y="130"/>
                    <a:pt x="46" y="132"/>
                  </a:cubicBezTo>
                  <a:cubicBezTo>
                    <a:pt x="50" y="136"/>
                    <a:pt x="53" y="140"/>
                    <a:pt x="57" y="145"/>
                  </a:cubicBezTo>
                  <a:cubicBezTo>
                    <a:pt x="60" y="149"/>
                    <a:pt x="62" y="153"/>
                    <a:pt x="67" y="153"/>
                  </a:cubicBezTo>
                  <a:cubicBezTo>
                    <a:pt x="68" y="153"/>
                    <a:pt x="68" y="153"/>
                    <a:pt x="68" y="153"/>
                  </a:cubicBezTo>
                  <a:cubicBezTo>
                    <a:pt x="71" y="153"/>
                    <a:pt x="72" y="152"/>
                    <a:pt x="74" y="150"/>
                  </a:cubicBezTo>
                  <a:cubicBezTo>
                    <a:pt x="76" y="149"/>
                    <a:pt x="78" y="148"/>
                    <a:pt x="81" y="147"/>
                  </a:cubicBezTo>
                  <a:cubicBezTo>
                    <a:pt x="86" y="145"/>
                    <a:pt x="88" y="143"/>
                    <a:pt x="92" y="140"/>
                  </a:cubicBezTo>
                  <a:cubicBezTo>
                    <a:pt x="94" y="138"/>
                    <a:pt x="95" y="137"/>
                    <a:pt x="97" y="137"/>
                  </a:cubicBezTo>
                  <a:cubicBezTo>
                    <a:pt x="98" y="137"/>
                    <a:pt x="98" y="137"/>
                    <a:pt x="99" y="137"/>
                  </a:cubicBezTo>
                  <a:cubicBezTo>
                    <a:pt x="100" y="138"/>
                    <a:pt x="100" y="140"/>
                    <a:pt x="101" y="140"/>
                  </a:cubicBezTo>
                  <a:cubicBezTo>
                    <a:pt x="101" y="140"/>
                    <a:pt x="102" y="141"/>
                    <a:pt x="102" y="141"/>
                  </a:cubicBezTo>
                  <a:cubicBezTo>
                    <a:pt x="103" y="141"/>
                    <a:pt x="104" y="140"/>
                    <a:pt x="105" y="140"/>
                  </a:cubicBezTo>
                  <a:cubicBezTo>
                    <a:pt x="110" y="139"/>
                    <a:pt x="117" y="138"/>
                    <a:pt x="122" y="136"/>
                  </a:cubicBezTo>
                  <a:cubicBezTo>
                    <a:pt x="127" y="132"/>
                    <a:pt x="126" y="126"/>
                    <a:pt x="126" y="121"/>
                  </a:cubicBezTo>
                  <a:cubicBezTo>
                    <a:pt x="126" y="117"/>
                    <a:pt x="126" y="116"/>
                    <a:pt x="128" y="113"/>
                  </a:cubicBezTo>
                  <a:cubicBezTo>
                    <a:pt x="129" y="112"/>
                    <a:pt x="132" y="110"/>
                    <a:pt x="132" y="108"/>
                  </a:cubicBezTo>
                  <a:cubicBezTo>
                    <a:pt x="132" y="106"/>
                    <a:pt x="129" y="104"/>
                    <a:pt x="129" y="103"/>
                  </a:cubicBezTo>
                  <a:cubicBezTo>
                    <a:pt x="130" y="103"/>
                    <a:pt x="131" y="102"/>
                    <a:pt x="131" y="102"/>
                  </a:cubicBezTo>
                  <a:cubicBezTo>
                    <a:pt x="132" y="102"/>
                    <a:pt x="132" y="102"/>
                    <a:pt x="133" y="103"/>
                  </a:cubicBezTo>
                  <a:cubicBezTo>
                    <a:pt x="133" y="104"/>
                    <a:pt x="134" y="104"/>
                    <a:pt x="136" y="104"/>
                  </a:cubicBezTo>
                  <a:cubicBezTo>
                    <a:pt x="136" y="104"/>
                    <a:pt x="136" y="104"/>
                    <a:pt x="137" y="104"/>
                  </a:cubicBezTo>
                  <a:cubicBezTo>
                    <a:pt x="137" y="104"/>
                    <a:pt x="137" y="104"/>
                    <a:pt x="138" y="104"/>
                  </a:cubicBezTo>
                  <a:cubicBezTo>
                    <a:pt x="138" y="104"/>
                    <a:pt x="138" y="104"/>
                    <a:pt x="139" y="104"/>
                  </a:cubicBezTo>
                  <a:cubicBezTo>
                    <a:pt x="139" y="104"/>
                    <a:pt x="139" y="104"/>
                    <a:pt x="139" y="104"/>
                  </a:cubicBezTo>
                  <a:cubicBezTo>
                    <a:pt x="142" y="104"/>
                    <a:pt x="151" y="100"/>
                    <a:pt x="152" y="98"/>
                  </a:cubicBezTo>
                  <a:cubicBezTo>
                    <a:pt x="152" y="96"/>
                    <a:pt x="152" y="95"/>
                    <a:pt x="152" y="94"/>
                  </a:cubicBezTo>
                  <a:cubicBezTo>
                    <a:pt x="153" y="93"/>
                    <a:pt x="154" y="92"/>
                    <a:pt x="154" y="91"/>
                  </a:cubicBezTo>
                  <a:cubicBezTo>
                    <a:pt x="155" y="88"/>
                    <a:pt x="154" y="87"/>
                    <a:pt x="158" y="85"/>
                  </a:cubicBezTo>
                  <a:cubicBezTo>
                    <a:pt x="160" y="84"/>
                    <a:pt x="162" y="83"/>
                    <a:pt x="164" y="82"/>
                  </a:cubicBezTo>
                  <a:cubicBezTo>
                    <a:pt x="166" y="81"/>
                    <a:pt x="169" y="81"/>
                    <a:pt x="171" y="80"/>
                  </a:cubicBezTo>
                  <a:cubicBezTo>
                    <a:pt x="175" y="77"/>
                    <a:pt x="180" y="76"/>
                    <a:pt x="185" y="73"/>
                  </a:cubicBezTo>
                  <a:cubicBezTo>
                    <a:pt x="189" y="71"/>
                    <a:pt x="194" y="68"/>
                    <a:pt x="198" y="68"/>
                  </a:cubicBezTo>
                  <a:cubicBezTo>
                    <a:pt x="200" y="68"/>
                    <a:pt x="203" y="66"/>
                    <a:pt x="205" y="65"/>
                  </a:cubicBezTo>
                  <a:cubicBezTo>
                    <a:pt x="207" y="64"/>
                    <a:pt x="209" y="63"/>
                    <a:pt x="211" y="62"/>
                  </a:cubicBezTo>
                  <a:cubicBezTo>
                    <a:pt x="216" y="60"/>
                    <a:pt x="220" y="58"/>
                    <a:pt x="225" y="57"/>
                  </a:cubicBezTo>
                  <a:cubicBezTo>
                    <a:pt x="230" y="55"/>
                    <a:pt x="235" y="54"/>
                    <a:pt x="240" y="51"/>
                  </a:cubicBezTo>
                  <a:cubicBezTo>
                    <a:pt x="243" y="50"/>
                    <a:pt x="245" y="48"/>
                    <a:pt x="242" y="45"/>
                  </a:cubicBezTo>
                  <a:cubicBezTo>
                    <a:pt x="241" y="44"/>
                    <a:pt x="237" y="40"/>
                    <a:pt x="237" y="40"/>
                  </a:cubicBezTo>
                  <a:cubicBezTo>
                    <a:pt x="232" y="39"/>
                    <a:pt x="229" y="36"/>
                    <a:pt x="225" y="33"/>
                  </a:cubicBezTo>
                  <a:cubicBezTo>
                    <a:pt x="221" y="31"/>
                    <a:pt x="217" y="28"/>
                    <a:pt x="213" y="25"/>
                  </a:cubicBezTo>
                  <a:cubicBezTo>
                    <a:pt x="206" y="19"/>
                    <a:pt x="197" y="15"/>
                    <a:pt x="187" y="14"/>
                  </a:cubicBezTo>
                  <a:cubicBezTo>
                    <a:pt x="184" y="14"/>
                    <a:pt x="182" y="13"/>
                    <a:pt x="179" y="13"/>
                  </a:cubicBezTo>
                  <a:cubicBezTo>
                    <a:pt x="177" y="13"/>
                    <a:pt x="176" y="13"/>
                    <a:pt x="174" y="14"/>
                  </a:cubicBezTo>
                  <a:cubicBezTo>
                    <a:pt x="171" y="14"/>
                    <a:pt x="168" y="15"/>
                    <a:pt x="165" y="16"/>
                  </a:cubicBezTo>
                  <a:cubicBezTo>
                    <a:pt x="164" y="16"/>
                    <a:pt x="162" y="16"/>
                    <a:pt x="163" y="18"/>
                  </a:cubicBezTo>
                  <a:cubicBezTo>
                    <a:pt x="164" y="21"/>
                    <a:pt x="161" y="22"/>
                    <a:pt x="158" y="24"/>
                  </a:cubicBezTo>
                  <a:cubicBezTo>
                    <a:pt x="157" y="25"/>
                    <a:pt x="156" y="26"/>
                    <a:pt x="155" y="26"/>
                  </a:cubicBezTo>
                  <a:cubicBezTo>
                    <a:pt x="155" y="26"/>
                    <a:pt x="155" y="25"/>
                    <a:pt x="155" y="24"/>
                  </a:cubicBezTo>
                  <a:cubicBezTo>
                    <a:pt x="155" y="21"/>
                    <a:pt x="157" y="18"/>
                    <a:pt x="156" y="16"/>
                  </a:cubicBezTo>
                  <a:cubicBezTo>
                    <a:pt x="155" y="16"/>
                    <a:pt x="154" y="15"/>
                    <a:pt x="153" y="15"/>
                  </a:cubicBezTo>
                  <a:cubicBezTo>
                    <a:pt x="152" y="15"/>
                    <a:pt x="151" y="16"/>
                    <a:pt x="150" y="16"/>
                  </a:cubicBezTo>
                  <a:cubicBezTo>
                    <a:pt x="148" y="16"/>
                    <a:pt x="147" y="15"/>
                    <a:pt x="145" y="17"/>
                  </a:cubicBezTo>
                  <a:cubicBezTo>
                    <a:pt x="143" y="19"/>
                    <a:pt x="142" y="21"/>
                    <a:pt x="139" y="22"/>
                  </a:cubicBezTo>
                  <a:cubicBezTo>
                    <a:pt x="140" y="19"/>
                    <a:pt x="145" y="18"/>
                    <a:pt x="144" y="15"/>
                  </a:cubicBezTo>
                  <a:cubicBezTo>
                    <a:pt x="138" y="14"/>
                    <a:pt x="133" y="13"/>
                    <a:pt x="127" y="11"/>
                  </a:cubicBezTo>
                  <a:cubicBezTo>
                    <a:pt x="123" y="10"/>
                    <a:pt x="116" y="9"/>
                    <a:pt x="113" y="6"/>
                  </a:cubicBezTo>
                  <a:cubicBezTo>
                    <a:pt x="112" y="5"/>
                    <a:pt x="112" y="4"/>
                    <a:pt x="111" y="3"/>
                  </a:cubicBezTo>
                  <a:cubicBezTo>
                    <a:pt x="110" y="2"/>
                    <a:pt x="109" y="2"/>
                    <a:pt x="108" y="2"/>
                  </a:cubicBezTo>
                  <a:cubicBezTo>
                    <a:pt x="106" y="2"/>
                    <a:pt x="103" y="1"/>
                    <a:pt x="101" y="1"/>
                  </a:cubicBezTo>
                  <a:cubicBezTo>
                    <a:pt x="100" y="0"/>
                    <a:pt x="99" y="0"/>
                    <a:pt x="9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52"/>
            <p:cNvSpPr/>
            <p:nvPr/>
          </p:nvSpPr>
          <p:spPr bwMode="auto">
            <a:xfrm>
              <a:off x="4757729" y="4129909"/>
              <a:ext cx="22225" cy="33338"/>
            </a:xfrm>
            <a:custGeom>
              <a:gdLst>
                <a:gd name="T0" fmla="*/ 4 w 6"/>
                <a:gd name="T1" fmla="*/ 0 h 9"/>
                <a:gd name="T2" fmla="*/ 1 w 6"/>
                <a:gd name="T3" fmla="*/ 3 h 9"/>
                <a:gd name="T4" fmla="*/ 1 w 6"/>
                <a:gd name="T5" fmla="*/ 5 h 9"/>
                <a:gd name="T6" fmla="*/ 6 w 6"/>
                <a:gd name="T7" fmla="*/ 9 h 9"/>
                <a:gd name="T8" fmla="*/ 5 w 6"/>
                <a:gd name="T9" fmla="*/ 7 h 9"/>
                <a:gd name="T10" fmla="*/ 5 w 6"/>
                <a:gd name="T11" fmla="*/ 7 h 9"/>
                <a:gd name="T12" fmla="*/ 4 w 6"/>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6" h="9">
                  <a:moveTo>
                    <a:pt x="4" y="0"/>
                  </a:moveTo>
                  <a:cubicBezTo>
                    <a:pt x="1" y="1"/>
                    <a:pt x="0" y="1"/>
                    <a:pt x="1" y="3"/>
                  </a:cubicBezTo>
                  <a:cubicBezTo>
                    <a:pt x="1" y="4"/>
                    <a:pt x="1" y="4"/>
                    <a:pt x="1" y="5"/>
                  </a:cubicBezTo>
                  <a:cubicBezTo>
                    <a:pt x="2" y="8"/>
                    <a:pt x="4" y="7"/>
                    <a:pt x="6" y="9"/>
                  </a:cubicBezTo>
                  <a:cubicBezTo>
                    <a:pt x="5" y="8"/>
                    <a:pt x="6" y="8"/>
                    <a:pt x="5" y="7"/>
                  </a:cubicBezTo>
                  <a:cubicBezTo>
                    <a:pt x="5" y="7"/>
                    <a:pt x="5" y="7"/>
                    <a:pt x="5" y="7"/>
                  </a:cubicBezTo>
                  <a:cubicBezTo>
                    <a:pt x="5" y="5"/>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3"/>
            <p:cNvSpPr/>
            <p:nvPr/>
          </p:nvSpPr>
          <p:spPr bwMode="auto">
            <a:xfrm>
              <a:off x="4554529" y="3904484"/>
              <a:ext cx="79375" cy="55563"/>
            </a:xfrm>
            <a:custGeom>
              <a:gdLst>
                <a:gd name="T0" fmla="*/ 0 w 21"/>
                <a:gd name="T1" fmla="*/ 0 h 15"/>
                <a:gd name="T2" fmla="*/ 0 w 21"/>
                <a:gd name="T3" fmla="*/ 0 h 15"/>
                <a:gd name="T4" fmla="*/ 15 w 21"/>
                <a:gd name="T5" fmla="*/ 15 h 15"/>
                <a:gd name="T6" fmla="*/ 16 w 21"/>
                <a:gd name="T7" fmla="*/ 15 h 15"/>
                <a:gd name="T8" fmla="*/ 11 w 21"/>
                <a:gd name="T9" fmla="*/ 5 h 15"/>
                <a:gd name="T10" fmla="*/ 0 w 21"/>
                <a:gd name="T11" fmla="*/ 0 h 15"/>
              </a:gdLst>
              <a:cxnLst>
                <a:cxn ang="0">
                  <a:pos x="T0" y="T1"/>
                </a:cxn>
                <a:cxn ang="0">
                  <a:pos x="T2" y="T3"/>
                </a:cxn>
                <a:cxn ang="0">
                  <a:pos x="T4" y="T5"/>
                </a:cxn>
                <a:cxn ang="0">
                  <a:pos x="T6" y="T7"/>
                </a:cxn>
                <a:cxn ang="0">
                  <a:pos x="T8" y="T9"/>
                </a:cxn>
                <a:cxn ang="0">
                  <a:pos x="T10" y="T11"/>
                </a:cxn>
              </a:cxnLst>
              <a:rect l="0" t="0" r="r" b="b"/>
              <a:pathLst>
                <a:path w="21" h="15">
                  <a:moveTo>
                    <a:pt x="0" y="0"/>
                  </a:moveTo>
                  <a:cubicBezTo>
                    <a:pt x="0" y="0"/>
                    <a:pt x="0" y="0"/>
                    <a:pt x="0" y="0"/>
                  </a:cubicBezTo>
                  <a:cubicBezTo>
                    <a:pt x="4" y="5"/>
                    <a:pt x="10" y="10"/>
                    <a:pt x="15" y="15"/>
                  </a:cubicBezTo>
                  <a:cubicBezTo>
                    <a:pt x="15" y="15"/>
                    <a:pt x="15" y="15"/>
                    <a:pt x="16" y="15"/>
                  </a:cubicBezTo>
                  <a:cubicBezTo>
                    <a:pt x="21" y="15"/>
                    <a:pt x="13" y="6"/>
                    <a:pt x="11" y="5"/>
                  </a:cubicBezTo>
                  <a:cubicBezTo>
                    <a:pt x="8" y="3"/>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54"/>
            <p:cNvSpPr/>
            <p:nvPr/>
          </p:nvSpPr>
          <p:spPr bwMode="auto">
            <a:xfrm>
              <a:off x="4559291" y="3882259"/>
              <a:ext cx="28575" cy="30163"/>
            </a:xfrm>
            <a:custGeom>
              <a:gdLst>
                <a:gd name="T0" fmla="*/ 4 w 8"/>
                <a:gd name="T1" fmla="*/ 0 h 8"/>
                <a:gd name="T2" fmla="*/ 3 w 8"/>
                <a:gd name="T3" fmla="*/ 6 h 8"/>
                <a:gd name="T4" fmla="*/ 8 w 8"/>
                <a:gd name="T5" fmla="*/ 8 h 8"/>
                <a:gd name="T6" fmla="*/ 4 w 8"/>
                <a:gd name="T7" fmla="*/ 0 h 8"/>
              </a:gdLst>
              <a:cxnLst>
                <a:cxn ang="0">
                  <a:pos x="T0" y="T1"/>
                </a:cxn>
                <a:cxn ang="0">
                  <a:pos x="T2" y="T3"/>
                </a:cxn>
                <a:cxn ang="0">
                  <a:pos x="T4" y="T5"/>
                </a:cxn>
                <a:cxn ang="0">
                  <a:pos x="T6" y="T7"/>
                </a:cxn>
              </a:cxnLst>
              <a:rect l="0" t="0" r="r" b="b"/>
              <a:pathLst>
                <a:path w="8" h="8">
                  <a:moveTo>
                    <a:pt x="4" y="0"/>
                  </a:moveTo>
                  <a:cubicBezTo>
                    <a:pt x="3" y="3"/>
                    <a:pt x="0" y="4"/>
                    <a:pt x="3" y="6"/>
                  </a:cubicBezTo>
                  <a:cubicBezTo>
                    <a:pt x="4" y="7"/>
                    <a:pt x="7" y="7"/>
                    <a:pt x="8" y="8"/>
                  </a:cubicBezTo>
                  <a:cubicBezTo>
                    <a:pt x="7" y="5"/>
                    <a:pt x="5"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5"/>
            <p:cNvSpPr/>
            <p:nvPr/>
          </p:nvSpPr>
          <p:spPr bwMode="auto">
            <a:xfrm>
              <a:off x="9172566" y="2615434"/>
              <a:ext cx="77788" cy="46038"/>
            </a:xfrm>
            <a:custGeom>
              <a:gdLst>
                <a:gd name="T0" fmla="*/ 8 w 21"/>
                <a:gd name="T1" fmla="*/ 0 h 12"/>
                <a:gd name="T2" fmla="*/ 1 w 21"/>
                <a:gd name="T3" fmla="*/ 2 h 12"/>
                <a:gd name="T4" fmla="*/ 0 w 21"/>
                <a:gd name="T5" fmla="*/ 3 h 12"/>
                <a:gd name="T6" fmla="*/ 1 w 21"/>
                <a:gd name="T7" fmla="*/ 2 h 12"/>
                <a:gd name="T8" fmla="*/ 1 w 21"/>
                <a:gd name="T9" fmla="*/ 3 h 12"/>
                <a:gd name="T10" fmla="*/ 7 w 21"/>
                <a:gd name="T11" fmla="*/ 7 h 12"/>
                <a:gd name="T12" fmla="*/ 17 w 21"/>
                <a:gd name="T13" fmla="*/ 12 h 12"/>
                <a:gd name="T14" fmla="*/ 21 w 21"/>
                <a:gd name="T15" fmla="*/ 8 h 12"/>
                <a:gd name="T16" fmla="*/ 18 w 21"/>
                <a:gd name="T17" fmla="*/ 8 h 12"/>
                <a:gd name="T18" fmla="*/ 8 w 21"/>
                <a:gd name="T19" fmla="*/ 0 h 12"/>
                <a:gd name="T20" fmla="*/ 8 w 21"/>
                <a:gd name="T21"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8" y="0"/>
                  </a:moveTo>
                  <a:cubicBezTo>
                    <a:pt x="6" y="0"/>
                    <a:pt x="3" y="1"/>
                    <a:pt x="1" y="2"/>
                  </a:cubicBezTo>
                  <a:cubicBezTo>
                    <a:pt x="1" y="2"/>
                    <a:pt x="0" y="2"/>
                    <a:pt x="0" y="3"/>
                  </a:cubicBezTo>
                  <a:cubicBezTo>
                    <a:pt x="1" y="2"/>
                    <a:pt x="1" y="2"/>
                    <a:pt x="1" y="2"/>
                  </a:cubicBezTo>
                  <a:cubicBezTo>
                    <a:pt x="1" y="3"/>
                    <a:pt x="1" y="3"/>
                    <a:pt x="1" y="3"/>
                  </a:cubicBezTo>
                  <a:cubicBezTo>
                    <a:pt x="1" y="4"/>
                    <a:pt x="6" y="6"/>
                    <a:pt x="7" y="7"/>
                  </a:cubicBezTo>
                  <a:cubicBezTo>
                    <a:pt x="9" y="9"/>
                    <a:pt x="13" y="12"/>
                    <a:pt x="17" y="12"/>
                  </a:cubicBezTo>
                  <a:cubicBezTo>
                    <a:pt x="18" y="12"/>
                    <a:pt x="20" y="11"/>
                    <a:pt x="21" y="8"/>
                  </a:cubicBezTo>
                  <a:cubicBezTo>
                    <a:pt x="20" y="8"/>
                    <a:pt x="19" y="8"/>
                    <a:pt x="18" y="8"/>
                  </a:cubicBezTo>
                  <a:cubicBezTo>
                    <a:pt x="16" y="5"/>
                    <a:pt x="12"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6"/>
            <p:cNvSpPr/>
            <p:nvPr/>
          </p:nvSpPr>
          <p:spPr bwMode="auto">
            <a:xfrm>
              <a:off x="10234604" y="2851972"/>
              <a:ext cx="44450" cy="30163"/>
            </a:xfrm>
            <a:custGeom>
              <a:gdLst>
                <a:gd name="T0" fmla="*/ 3 w 12"/>
                <a:gd name="T1" fmla="*/ 0 h 8"/>
                <a:gd name="T2" fmla="*/ 1 w 12"/>
                <a:gd name="T3" fmla="*/ 2 h 8"/>
                <a:gd name="T4" fmla="*/ 5 w 12"/>
                <a:gd name="T5" fmla="*/ 7 h 8"/>
                <a:gd name="T6" fmla="*/ 8 w 12"/>
                <a:gd name="T7" fmla="*/ 8 h 8"/>
                <a:gd name="T8" fmla="*/ 9 w 12"/>
                <a:gd name="T9" fmla="*/ 8 h 8"/>
                <a:gd name="T10" fmla="*/ 5 w 12"/>
                <a:gd name="T11" fmla="*/ 1 h 8"/>
                <a:gd name="T12" fmla="*/ 3 w 12"/>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12" h="8">
                  <a:moveTo>
                    <a:pt x="3" y="0"/>
                  </a:moveTo>
                  <a:cubicBezTo>
                    <a:pt x="2" y="0"/>
                    <a:pt x="1" y="1"/>
                    <a:pt x="1" y="2"/>
                  </a:cubicBezTo>
                  <a:cubicBezTo>
                    <a:pt x="0" y="5"/>
                    <a:pt x="4" y="6"/>
                    <a:pt x="5" y="7"/>
                  </a:cubicBezTo>
                  <a:cubicBezTo>
                    <a:pt x="6" y="7"/>
                    <a:pt x="7" y="8"/>
                    <a:pt x="8" y="8"/>
                  </a:cubicBezTo>
                  <a:cubicBezTo>
                    <a:pt x="9" y="8"/>
                    <a:pt x="9" y="8"/>
                    <a:pt x="9" y="8"/>
                  </a:cubicBezTo>
                  <a:cubicBezTo>
                    <a:pt x="12" y="7"/>
                    <a:pt x="6" y="2"/>
                    <a:pt x="5"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57"/>
            <p:cNvSpPr/>
            <p:nvPr/>
          </p:nvSpPr>
          <p:spPr bwMode="auto">
            <a:xfrm>
              <a:off x="9420216" y="2747197"/>
              <a:ext cx="55563" cy="19050"/>
            </a:xfrm>
            <a:custGeom>
              <a:gdLst>
                <a:gd name="T0" fmla="*/ 4 w 15"/>
                <a:gd name="T1" fmla="*/ 0 h 5"/>
                <a:gd name="T2" fmla="*/ 0 w 15"/>
                <a:gd name="T3" fmla="*/ 0 h 5"/>
                <a:gd name="T4" fmla="*/ 13 w 15"/>
                <a:gd name="T5" fmla="*/ 5 h 5"/>
                <a:gd name="T6" fmla="*/ 15 w 15"/>
                <a:gd name="T7" fmla="*/ 5 h 5"/>
                <a:gd name="T8" fmla="*/ 4 w 15"/>
                <a:gd name="T9" fmla="*/ 0 h 5"/>
              </a:gdLst>
              <a:cxnLst>
                <a:cxn ang="0">
                  <a:pos x="T0" y="T1"/>
                </a:cxn>
                <a:cxn ang="0">
                  <a:pos x="T2" y="T3"/>
                </a:cxn>
                <a:cxn ang="0">
                  <a:pos x="T4" y="T5"/>
                </a:cxn>
                <a:cxn ang="0">
                  <a:pos x="T6" y="T7"/>
                </a:cxn>
                <a:cxn ang="0">
                  <a:pos x="T8" y="T9"/>
                </a:cxn>
              </a:cxnLst>
              <a:rect l="0" t="0" r="r" b="b"/>
              <a:pathLst>
                <a:path w="15" h="5">
                  <a:moveTo>
                    <a:pt x="4" y="0"/>
                  </a:moveTo>
                  <a:cubicBezTo>
                    <a:pt x="2" y="0"/>
                    <a:pt x="1" y="0"/>
                    <a:pt x="0" y="0"/>
                  </a:cubicBezTo>
                  <a:cubicBezTo>
                    <a:pt x="4" y="3"/>
                    <a:pt x="9" y="5"/>
                    <a:pt x="13" y="5"/>
                  </a:cubicBezTo>
                  <a:cubicBezTo>
                    <a:pt x="14" y="5"/>
                    <a:pt x="15" y="5"/>
                    <a:pt x="15" y="5"/>
                  </a:cubicBezTo>
                  <a:cubicBezTo>
                    <a:pt x="12"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58"/>
            <p:cNvSpPr/>
            <p:nvPr/>
          </p:nvSpPr>
          <p:spPr bwMode="auto">
            <a:xfrm>
              <a:off x="8072429" y="599309"/>
              <a:ext cx="33338" cy="7938"/>
            </a:xfrm>
            <a:custGeom>
              <a:gdLst>
                <a:gd name="T0" fmla="*/ 9 w 9"/>
                <a:gd name="T1" fmla="*/ 0 h 2"/>
                <a:gd name="T2" fmla="*/ 0 w 9"/>
                <a:gd name="T3" fmla="*/ 0 h 2"/>
                <a:gd name="T4" fmla="*/ 2 w 9"/>
                <a:gd name="T5" fmla="*/ 1 h 2"/>
                <a:gd name="T6" fmla="*/ 3 w 9"/>
                <a:gd name="T7" fmla="*/ 2 h 2"/>
                <a:gd name="T8" fmla="*/ 7 w 9"/>
                <a:gd name="T9" fmla="*/ 1 h 2"/>
                <a:gd name="T10" fmla="*/ 9 w 9"/>
                <a:gd name="T11" fmla="*/ 1 h 2"/>
                <a:gd name="T12" fmla="*/ 9 w 9"/>
                <a:gd name="T13" fmla="*/ 0 h 2"/>
                <a:gd name="T14" fmla="*/ 9 w 9"/>
                <a:gd name="T15" fmla="*/ 0 h 2"/>
                <a:gd name="T16" fmla="*/ 9 w 9"/>
                <a:gd name="T17" fmla="*/ 0 h 2"/>
                <a:gd name="T18" fmla="*/ 9 w 9"/>
                <a:gd name="T19"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
                  <a:moveTo>
                    <a:pt x="9" y="0"/>
                  </a:moveTo>
                  <a:cubicBezTo>
                    <a:pt x="0" y="0"/>
                    <a:pt x="0" y="0"/>
                    <a:pt x="0" y="0"/>
                  </a:cubicBezTo>
                  <a:cubicBezTo>
                    <a:pt x="1" y="0"/>
                    <a:pt x="1" y="1"/>
                    <a:pt x="2" y="1"/>
                  </a:cubicBezTo>
                  <a:cubicBezTo>
                    <a:pt x="2" y="1"/>
                    <a:pt x="3" y="2"/>
                    <a:pt x="3" y="2"/>
                  </a:cubicBezTo>
                  <a:cubicBezTo>
                    <a:pt x="3" y="2"/>
                    <a:pt x="6" y="2"/>
                    <a:pt x="7" y="1"/>
                  </a:cubicBezTo>
                  <a:cubicBezTo>
                    <a:pt x="8" y="1"/>
                    <a:pt x="9" y="1"/>
                    <a:pt x="9" y="1"/>
                  </a:cubicBezTo>
                  <a:cubicBezTo>
                    <a:pt x="9" y="0"/>
                    <a:pt x="9" y="0"/>
                    <a:pt x="9" y="0"/>
                  </a:cubicBezTo>
                  <a:cubicBezTo>
                    <a:pt x="9" y="0"/>
                    <a:pt x="9" y="0"/>
                    <a:pt x="9" y="0"/>
                  </a:cubicBezTo>
                  <a:cubicBezTo>
                    <a:pt x="9" y="0"/>
                    <a:pt x="9"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59"/>
            <p:cNvSpPr/>
            <p:nvPr/>
          </p:nvSpPr>
          <p:spPr bwMode="auto">
            <a:xfrm>
              <a:off x="10283816" y="4556947"/>
              <a:ext cx="19050" cy="19050"/>
            </a:xfrm>
            <a:custGeom>
              <a:gdLst>
                <a:gd name="T0" fmla="*/ 5 w 5"/>
                <a:gd name="T1" fmla="*/ 0 h 5"/>
                <a:gd name="T2" fmla="*/ 5 w 5"/>
                <a:gd name="T3" fmla="*/ 1 h 5"/>
                <a:gd name="T4" fmla="*/ 0 w 5"/>
                <a:gd name="T5" fmla="*/ 4 h 5"/>
                <a:gd name="T6" fmla="*/ 1 w 5"/>
                <a:gd name="T7" fmla="*/ 5 h 5"/>
                <a:gd name="T8" fmla="*/ 5 w 5"/>
                <a:gd name="T9" fmla="*/ 0 h 5"/>
              </a:gdLst>
              <a:cxnLst>
                <a:cxn ang="0">
                  <a:pos x="T0" y="T1"/>
                </a:cxn>
                <a:cxn ang="0">
                  <a:pos x="T2" y="T3"/>
                </a:cxn>
                <a:cxn ang="0">
                  <a:pos x="T4" y="T5"/>
                </a:cxn>
                <a:cxn ang="0">
                  <a:pos x="T6" y="T7"/>
                </a:cxn>
                <a:cxn ang="0">
                  <a:pos x="T8" y="T9"/>
                </a:cxn>
              </a:cxnLst>
              <a:rect l="0" t="0" r="r" b="b"/>
              <a:pathLst>
                <a:path w="5" h="5">
                  <a:moveTo>
                    <a:pt x="5" y="0"/>
                  </a:moveTo>
                  <a:cubicBezTo>
                    <a:pt x="5" y="1"/>
                    <a:pt x="5" y="1"/>
                    <a:pt x="5" y="1"/>
                  </a:cubicBezTo>
                  <a:cubicBezTo>
                    <a:pt x="3" y="2"/>
                    <a:pt x="0" y="1"/>
                    <a:pt x="0" y="4"/>
                  </a:cubicBezTo>
                  <a:cubicBezTo>
                    <a:pt x="0" y="4"/>
                    <a:pt x="0" y="4"/>
                    <a:pt x="1" y="5"/>
                  </a:cubicBezTo>
                  <a:cubicBezTo>
                    <a:pt x="2" y="4"/>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60"/>
            <p:cNvSpPr/>
            <p:nvPr/>
          </p:nvSpPr>
          <p:spPr bwMode="auto">
            <a:xfrm>
              <a:off x="4926004" y="4391847"/>
              <a:ext cx="11113" cy="19050"/>
            </a:xfrm>
            <a:custGeom>
              <a:gdLst>
                <a:gd name="T0" fmla="*/ 2 w 3"/>
                <a:gd name="T1" fmla="*/ 0 h 5"/>
                <a:gd name="T2" fmla="*/ 0 w 3"/>
                <a:gd name="T3" fmla="*/ 3 h 5"/>
                <a:gd name="T4" fmla="*/ 3 w 3"/>
                <a:gd name="T5" fmla="*/ 5 h 5"/>
                <a:gd name="T6" fmla="*/ 2 w 3"/>
                <a:gd name="T7" fmla="*/ 0 h 5"/>
                <a:gd name="T8" fmla="*/ 2 w 3"/>
                <a:gd name="T9" fmla="*/ 0 h 5"/>
              </a:gdLst>
              <a:cxnLst>
                <a:cxn ang="0">
                  <a:pos x="T0" y="T1"/>
                </a:cxn>
                <a:cxn ang="0">
                  <a:pos x="T2" y="T3"/>
                </a:cxn>
                <a:cxn ang="0">
                  <a:pos x="T4" y="T5"/>
                </a:cxn>
                <a:cxn ang="0">
                  <a:pos x="T6" y="T7"/>
                </a:cxn>
                <a:cxn ang="0">
                  <a:pos x="T8" y="T9"/>
                </a:cxn>
              </a:cxnLst>
              <a:rect l="0" t="0" r="r" b="b"/>
              <a:pathLst>
                <a:path w="3" h="5">
                  <a:moveTo>
                    <a:pt x="2" y="0"/>
                  </a:moveTo>
                  <a:cubicBezTo>
                    <a:pt x="0" y="0"/>
                    <a:pt x="0" y="2"/>
                    <a:pt x="0" y="3"/>
                  </a:cubicBezTo>
                  <a:cubicBezTo>
                    <a:pt x="1" y="4"/>
                    <a:pt x="2" y="4"/>
                    <a:pt x="3" y="5"/>
                  </a:cubicBezTo>
                  <a:cubicBezTo>
                    <a:pt x="3" y="3"/>
                    <a:pt x="3" y="2"/>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61"/>
            <p:cNvSpPr/>
            <p:nvPr/>
          </p:nvSpPr>
          <p:spPr bwMode="auto">
            <a:xfrm>
              <a:off x="6815129" y="632647"/>
              <a:ext cx="176213" cy="52388"/>
            </a:xfrm>
            <a:custGeom>
              <a:gdLst>
                <a:gd name="T0" fmla="*/ 37 w 47"/>
                <a:gd name="T1" fmla="*/ 0 h 14"/>
                <a:gd name="T2" fmla="*/ 18 w 47"/>
                <a:gd name="T3" fmla="*/ 3 h 14"/>
                <a:gd name="T4" fmla="*/ 12 w 47"/>
                <a:gd name="T5" fmla="*/ 5 h 14"/>
                <a:gd name="T6" fmla="*/ 6 w 47"/>
                <a:gd name="T7" fmla="*/ 5 h 14"/>
                <a:gd name="T8" fmla="*/ 3 w 47"/>
                <a:gd name="T9" fmla="*/ 7 h 14"/>
                <a:gd name="T10" fmla="*/ 6 w 47"/>
                <a:gd name="T11" fmla="*/ 11 h 14"/>
                <a:gd name="T12" fmla="*/ 11 w 47"/>
                <a:gd name="T13" fmla="*/ 13 h 14"/>
                <a:gd name="T14" fmla="*/ 12 w 47"/>
                <a:gd name="T15" fmla="*/ 13 h 14"/>
                <a:gd name="T16" fmla="*/ 13 w 47"/>
                <a:gd name="T17" fmla="*/ 13 h 14"/>
                <a:gd name="T18" fmla="*/ 14 w 47"/>
                <a:gd name="T19" fmla="*/ 13 h 14"/>
                <a:gd name="T20" fmla="*/ 15 w 47"/>
                <a:gd name="T21" fmla="*/ 13 h 14"/>
                <a:gd name="T22" fmla="*/ 14 w 47"/>
                <a:gd name="T23" fmla="*/ 14 h 14"/>
                <a:gd name="T24" fmla="*/ 19 w 47"/>
                <a:gd name="T25" fmla="*/ 14 h 14"/>
                <a:gd name="T26" fmla="*/ 28 w 47"/>
                <a:gd name="T27" fmla="*/ 14 h 14"/>
                <a:gd name="T28" fmla="*/ 41 w 47"/>
                <a:gd name="T29" fmla="*/ 11 h 14"/>
                <a:gd name="T30" fmla="*/ 44 w 47"/>
                <a:gd name="T31" fmla="*/ 2 h 14"/>
                <a:gd name="T32" fmla="*/ 37 w 47"/>
                <a:gd name="T33"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14">
                  <a:moveTo>
                    <a:pt x="37" y="0"/>
                  </a:moveTo>
                  <a:cubicBezTo>
                    <a:pt x="31" y="0"/>
                    <a:pt x="23" y="3"/>
                    <a:pt x="18" y="3"/>
                  </a:cubicBezTo>
                  <a:cubicBezTo>
                    <a:pt x="16" y="4"/>
                    <a:pt x="14" y="4"/>
                    <a:pt x="12" y="5"/>
                  </a:cubicBezTo>
                  <a:cubicBezTo>
                    <a:pt x="10" y="5"/>
                    <a:pt x="7" y="5"/>
                    <a:pt x="6" y="5"/>
                  </a:cubicBezTo>
                  <a:cubicBezTo>
                    <a:pt x="4" y="6"/>
                    <a:pt x="5" y="7"/>
                    <a:pt x="3" y="7"/>
                  </a:cubicBezTo>
                  <a:cubicBezTo>
                    <a:pt x="0" y="8"/>
                    <a:pt x="5" y="10"/>
                    <a:pt x="6" y="11"/>
                  </a:cubicBezTo>
                  <a:cubicBezTo>
                    <a:pt x="8" y="12"/>
                    <a:pt x="9" y="13"/>
                    <a:pt x="11" y="13"/>
                  </a:cubicBezTo>
                  <a:cubicBezTo>
                    <a:pt x="11" y="13"/>
                    <a:pt x="12" y="13"/>
                    <a:pt x="12" y="13"/>
                  </a:cubicBezTo>
                  <a:cubicBezTo>
                    <a:pt x="12" y="13"/>
                    <a:pt x="13" y="13"/>
                    <a:pt x="13" y="13"/>
                  </a:cubicBezTo>
                  <a:cubicBezTo>
                    <a:pt x="13" y="13"/>
                    <a:pt x="14" y="13"/>
                    <a:pt x="14" y="13"/>
                  </a:cubicBezTo>
                  <a:cubicBezTo>
                    <a:pt x="14" y="13"/>
                    <a:pt x="15" y="13"/>
                    <a:pt x="15" y="13"/>
                  </a:cubicBezTo>
                  <a:cubicBezTo>
                    <a:pt x="15" y="13"/>
                    <a:pt x="14" y="14"/>
                    <a:pt x="14" y="14"/>
                  </a:cubicBezTo>
                  <a:cubicBezTo>
                    <a:pt x="15" y="14"/>
                    <a:pt x="17" y="14"/>
                    <a:pt x="19" y="14"/>
                  </a:cubicBezTo>
                  <a:cubicBezTo>
                    <a:pt x="22" y="14"/>
                    <a:pt x="25" y="14"/>
                    <a:pt x="28" y="14"/>
                  </a:cubicBezTo>
                  <a:cubicBezTo>
                    <a:pt x="32" y="13"/>
                    <a:pt x="37" y="13"/>
                    <a:pt x="41" y="11"/>
                  </a:cubicBezTo>
                  <a:cubicBezTo>
                    <a:pt x="47" y="9"/>
                    <a:pt x="46" y="7"/>
                    <a:pt x="44" y="2"/>
                  </a:cubicBezTo>
                  <a:cubicBezTo>
                    <a:pt x="42" y="1"/>
                    <a:pt x="40"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62"/>
            <p:cNvSpPr/>
            <p:nvPr/>
          </p:nvSpPr>
          <p:spPr bwMode="auto">
            <a:xfrm>
              <a:off x="4430704" y="3971159"/>
              <a:ext cx="26988" cy="12700"/>
            </a:xfrm>
            <a:custGeom>
              <a:gdLst>
                <a:gd name="T0" fmla="*/ 2 w 7"/>
                <a:gd name="T1" fmla="*/ 0 h 3"/>
                <a:gd name="T2" fmla="*/ 0 w 7"/>
                <a:gd name="T3" fmla="*/ 3 h 3"/>
                <a:gd name="T4" fmla="*/ 7 w 7"/>
                <a:gd name="T5" fmla="*/ 2 h 3"/>
                <a:gd name="T6" fmla="*/ 4 w 7"/>
                <a:gd name="T7" fmla="*/ 1 h 3"/>
                <a:gd name="T8" fmla="*/ 2 w 7"/>
                <a:gd name="T9" fmla="*/ 0 h 3"/>
              </a:gdLst>
              <a:cxnLst>
                <a:cxn ang="0">
                  <a:pos x="T0" y="T1"/>
                </a:cxn>
                <a:cxn ang="0">
                  <a:pos x="T2" y="T3"/>
                </a:cxn>
                <a:cxn ang="0">
                  <a:pos x="T4" y="T5"/>
                </a:cxn>
                <a:cxn ang="0">
                  <a:pos x="T6" y="T7"/>
                </a:cxn>
                <a:cxn ang="0">
                  <a:pos x="T8" y="T9"/>
                </a:cxn>
              </a:cxnLst>
              <a:rect l="0" t="0" r="r" b="b"/>
              <a:pathLst>
                <a:path w="7" h="3">
                  <a:moveTo>
                    <a:pt x="2" y="0"/>
                  </a:moveTo>
                  <a:cubicBezTo>
                    <a:pt x="1" y="0"/>
                    <a:pt x="1" y="1"/>
                    <a:pt x="0" y="3"/>
                  </a:cubicBezTo>
                  <a:cubicBezTo>
                    <a:pt x="3" y="3"/>
                    <a:pt x="5" y="3"/>
                    <a:pt x="7" y="2"/>
                  </a:cubicBezTo>
                  <a:cubicBezTo>
                    <a:pt x="6" y="1"/>
                    <a:pt x="5" y="1"/>
                    <a:pt x="4" y="1"/>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63"/>
            <p:cNvSpPr/>
            <p:nvPr/>
          </p:nvSpPr>
          <p:spPr bwMode="auto">
            <a:xfrm>
              <a:off x="9404341" y="1969322"/>
              <a:ext cx="131763" cy="65088"/>
            </a:xfrm>
            <a:custGeom>
              <a:gdLst>
                <a:gd name="T0" fmla="*/ 11 w 35"/>
                <a:gd name="T1" fmla="*/ 0 h 17"/>
                <a:gd name="T2" fmla="*/ 10 w 35"/>
                <a:gd name="T3" fmla="*/ 2 h 17"/>
                <a:gd name="T4" fmla="*/ 3 w 35"/>
                <a:gd name="T5" fmla="*/ 6 h 17"/>
                <a:gd name="T6" fmla="*/ 3 w 35"/>
                <a:gd name="T7" fmla="*/ 12 h 17"/>
                <a:gd name="T8" fmla="*/ 12 w 35"/>
                <a:gd name="T9" fmla="*/ 16 h 17"/>
                <a:gd name="T10" fmla="*/ 14 w 35"/>
                <a:gd name="T11" fmla="*/ 16 h 17"/>
                <a:gd name="T12" fmla="*/ 16 w 35"/>
                <a:gd name="T13" fmla="*/ 16 h 17"/>
                <a:gd name="T14" fmla="*/ 22 w 35"/>
                <a:gd name="T15" fmla="*/ 16 h 17"/>
                <a:gd name="T16" fmla="*/ 27 w 35"/>
                <a:gd name="T17" fmla="*/ 17 h 17"/>
                <a:gd name="T18" fmla="*/ 31 w 35"/>
                <a:gd name="T19" fmla="*/ 16 h 17"/>
                <a:gd name="T20" fmla="*/ 32 w 35"/>
                <a:gd name="T21" fmla="*/ 10 h 17"/>
                <a:gd name="T22" fmla="*/ 28 w 35"/>
                <a:gd name="T23" fmla="*/ 7 h 17"/>
                <a:gd name="T24" fmla="*/ 27 w 35"/>
                <a:gd name="T25" fmla="*/ 7 h 17"/>
                <a:gd name="T26" fmla="*/ 12 w 35"/>
                <a:gd name="T27" fmla="*/ 0 h 17"/>
                <a:gd name="T28" fmla="*/ 11 w 35"/>
                <a:gd name="T29"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17">
                  <a:moveTo>
                    <a:pt x="11" y="0"/>
                  </a:moveTo>
                  <a:cubicBezTo>
                    <a:pt x="10" y="0"/>
                    <a:pt x="11" y="1"/>
                    <a:pt x="10" y="2"/>
                  </a:cubicBezTo>
                  <a:cubicBezTo>
                    <a:pt x="8" y="4"/>
                    <a:pt x="5" y="5"/>
                    <a:pt x="3" y="6"/>
                  </a:cubicBezTo>
                  <a:cubicBezTo>
                    <a:pt x="0" y="8"/>
                    <a:pt x="1" y="9"/>
                    <a:pt x="3" y="12"/>
                  </a:cubicBezTo>
                  <a:cubicBezTo>
                    <a:pt x="5" y="15"/>
                    <a:pt x="8" y="16"/>
                    <a:pt x="12" y="16"/>
                  </a:cubicBezTo>
                  <a:cubicBezTo>
                    <a:pt x="13" y="16"/>
                    <a:pt x="14" y="16"/>
                    <a:pt x="14" y="16"/>
                  </a:cubicBezTo>
                  <a:cubicBezTo>
                    <a:pt x="15" y="16"/>
                    <a:pt x="16" y="16"/>
                    <a:pt x="16" y="16"/>
                  </a:cubicBezTo>
                  <a:cubicBezTo>
                    <a:pt x="18" y="16"/>
                    <a:pt x="20" y="16"/>
                    <a:pt x="22" y="16"/>
                  </a:cubicBezTo>
                  <a:cubicBezTo>
                    <a:pt x="24" y="16"/>
                    <a:pt x="26" y="17"/>
                    <a:pt x="27" y="17"/>
                  </a:cubicBezTo>
                  <a:cubicBezTo>
                    <a:pt x="29" y="17"/>
                    <a:pt x="30" y="17"/>
                    <a:pt x="31" y="16"/>
                  </a:cubicBezTo>
                  <a:cubicBezTo>
                    <a:pt x="35" y="15"/>
                    <a:pt x="33" y="13"/>
                    <a:pt x="32" y="10"/>
                  </a:cubicBezTo>
                  <a:cubicBezTo>
                    <a:pt x="32" y="7"/>
                    <a:pt x="31" y="7"/>
                    <a:pt x="28" y="7"/>
                  </a:cubicBezTo>
                  <a:cubicBezTo>
                    <a:pt x="28" y="7"/>
                    <a:pt x="27" y="7"/>
                    <a:pt x="27" y="7"/>
                  </a:cubicBezTo>
                  <a:cubicBezTo>
                    <a:pt x="22" y="5"/>
                    <a:pt x="17" y="2"/>
                    <a:pt x="12" y="0"/>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64"/>
            <p:cNvSpPr/>
            <p:nvPr/>
          </p:nvSpPr>
          <p:spPr bwMode="auto">
            <a:xfrm>
              <a:off x="9126529" y="2567809"/>
              <a:ext cx="34925" cy="6350"/>
            </a:xfrm>
            <a:custGeom>
              <a:gdLst>
                <a:gd name="T0" fmla="*/ 4 w 9"/>
                <a:gd name="T1" fmla="*/ 0 h 2"/>
                <a:gd name="T2" fmla="*/ 0 w 9"/>
                <a:gd name="T3" fmla="*/ 2 h 2"/>
                <a:gd name="T4" fmla="*/ 2 w 9"/>
                <a:gd name="T5" fmla="*/ 2 h 2"/>
                <a:gd name="T6" fmla="*/ 9 w 9"/>
                <a:gd name="T7" fmla="*/ 2 h 2"/>
                <a:gd name="T8" fmla="*/ 4 w 9"/>
                <a:gd name="T9" fmla="*/ 0 h 2"/>
              </a:gdLst>
              <a:cxnLst>
                <a:cxn ang="0">
                  <a:pos x="T0" y="T1"/>
                </a:cxn>
                <a:cxn ang="0">
                  <a:pos x="T2" y="T3"/>
                </a:cxn>
                <a:cxn ang="0">
                  <a:pos x="T4" y="T5"/>
                </a:cxn>
                <a:cxn ang="0">
                  <a:pos x="T6" y="T7"/>
                </a:cxn>
                <a:cxn ang="0">
                  <a:pos x="T8" y="T9"/>
                </a:cxn>
              </a:cxnLst>
              <a:rect l="0" t="0" r="r" b="b"/>
              <a:pathLst>
                <a:path w="9" h="2">
                  <a:moveTo>
                    <a:pt x="4" y="0"/>
                  </a:moveTo>
                  <a:cubicBezTo>
                    <a:pt x="3" y="0"/>
                    <a:pt x="1" y="1"/>
                    <a:pt x="0" y="2"/>
                  </a:cubicBezTo>
                  <a:cubicBezTo>
                    <a:pt x="1" y="2"/>
                    <a:pt x="2" y="2"/>
                    <a:pt x="2" y="2"/>
                  </a:cubicBezTo>
                  <a:cubicBezTo>
                    <a:pt x="4" y="2"/>
                    <a:pt x="7" y="2"/>
                    <a:pt x="9" y="2"/>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65"/>
            <p:cNvSpPr/>
            <p:nvPr/>
          </p:nvSpPr>
          <p:spPr bwMode="auto">
            <a:xfrm>
              <a:off x="8947141" y="3569522"/>
              <a:ext cx="22225" cy="22225"/>
            </a:xfrm>
            <a:custGeom>
              <a:gdLst>
                <a:gd name="T0" fmla="*/ 5 w 6"/>
                <a:gd name="T1" fmla="*/ 0 h 6"/>
                <a:gd name="T2" fmla="*/ 5 w 6"/>
                <a:gd name="T3" fmla="*/ 1 h 6"/>
                <a:gd name="T4" fmla="*/ 5 w 6"/>
                <a:gd name="T5" fmla="*/ 1 h 6"/>
                <a:gd name="T6" fmla="*/ 3 w 6"/>
                <a:gd name="T7" fmla="*/ 2 h 6"/>
                <a:gd name="T8" fmla="*/ 0 w 6"/>
                <a:gd name="T9" fmla="*/ 6 h 6"/>
                <a:gd name="T10" fmla="*/ 6 w 6"/>
                <a:gd name="T11" fmla="*/ 0 h 6"/>
                <a:gd name="T12" fmla="*/ 5 w 6"/>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6" h="6">
                  <a:moveTo>
                    <a:pt x="5" y="0"/>
                  </a:moveTo>
                  <a:cubicBezTo>
                    <a:pt x="5" y="0"/>
                    <a:pt x="5" y="1"/>
                    <a:pt x="5" y="1"/>
                  </a:cubicBezTo>
                  <a:cubicBezTo>
                    <a:pt x="5" y="1"/>
                    <a:pt x="5" y="1"/>
                    <a:pt x="5" y="1"/>
                  </a:cubicBezTo>
                  <a:cubicBezTo>
                    <a:pt x="5" y="1"/>
                    <a:pt x="3" y="2"/>
                    <a:pt x="3" y="2"/>
                  </a:cubicBezTo>
                  <a:cubicBezTo>
                    <a:pt x="0" y="3"/>
                    <a:pt x="0" y="2"/>
                    <a:pt x="0" y="6"/>
                  </a:cubicBezTo>
                  <a:cubicBezTo>
                    <a:pt x="2" y="4"/>
                    <a:pt x="4" y="2"/>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66"/>
            <p:cNvSpPr/>
            <p:nvPr/>
          </p:nvSpPr>
          <p:spPr bwMode="auto">
            <a:xfrm>
              <a:off x="9964729" y="3036122"/>
              <a:ext cx="49213" cy="46038"/>
            </a:xfrm>
            <a:custGeom>
              <a:gdLst>
                <a:gd name="T0" fmla="*/ 7 w 13"/>
                <a:gd name="T1" fmla="*/ 0 h 12"/>
                <a:gd name="T2" fmla="*/ 4 w 13"/>
                <a:gd name="T3" fmla="*/ 4 h 12"/>
                <a:gd name="T4" fmla="*/ 0 w 13"/>
                <a:gd name="T5" fmla="*/ 10 h 12"/>
                <a:gd name="T6" fmla="*/ 2 w 13"/>
                <a:gd name="T7" fmla="*/ 12 h 12"/>
                <a:gd name="T8" fmla="*/ 7 w 13"/>
                <a:gd name="T9" fmla="*/ 10 h 12"/>
                <a:gd name="T10" fmla="*/ 10 w 13"/>
                <a:gd name="T11" fmla="*/ 0 h 12"/>
                <a:gd name="T12" fmla="*/ 7 w 13"/>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13" h="12">
                  <a:moveTo>
                    <a:pt x="7" y="0"/>
                  </a:moveTo>
                  <a:cubicBezTo>
                    <a:pt x="5" y="0"/>
                    <a:pt x="5" y="2"/>
                    <a:pt x="4" y="4"/>
                  </a:cubicBezTo>
                  <a:cubicBezTo>
                    <a:pt x="3" y="6"/>
                    <a:pt x="0" y="8"/>
                    <a:pt x="0" y="10"/>
                  </a:cubicBezTo>
                  <a:cubicBezTo>
                    <a:pt x="0" y="11"/>
                    <a:pt x="1" y="12"/>
                    <a:pt x="2" y="12"/>
                  </a:cubicBezTo>
                  <a:cubicBezTo>
                    <a:pt x="4" y="12"/>
                    <a:pt x="6" y="11"/>
                    <a:pt x="7" y="10"/>
                  </a:cubicBezTo>
                  <a:cubicBezTo>
                    <a:pt x="13" y="7"/>
                    <a:pt x="12" y="6"/>
                    <a:pt x="10"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67"/>
            <p:cNvSpPr/>
            <p:nvPr/>
          </p:nvSpPr>
          <p:spPr bwMode="auto">
            <a:xfrm>
              <a:off x="9051916" y="1729609"/>
              <a:ext cx="93663" cy="44450"/>
            </a:xfrm>
            <a:custGeom>
              <a:gdLst>
                <a:gd name="T0" fmla="*/ 17 w 25"/>
                <a:gd name="T1" fmla="*/ 0 h 12"/>
                <a:gd name="T2" fmla="*/ 0 w 25"/>
                <a:gd name="T3" fmla="*/ 12 h 12"/>
                <a:gd name="T4" fmla="*/ 1 w 25"/>
                <a:gd name="T5" fmla="*/ 12 h 12"/>
                <a:gd name="T6" fmla="*/ 6 w 25"/>
                <a:gd name="T7" fmla="*/ 10 h 12"/>
                <a:gd name="T8" fmla="*/ 6 w 25"/>
                <a:gd name="T9" fmla="*/ 10 h 12"/>
                <a:gd name="T10" fmla="*/ 7 w 25"/>
                <a:gd name="T11" fmla="*/ 11 h 12"/>
                <a:gd name="T12" fmla="*/ 8 w 25"/>
                <a:gd name="T13" fmla="*/ 11 h 12"/>
                <a:gd name="T14" fmla="*/ 8 w 25"/>
                <a:gd name="T15" fmla="*/ 11 h 12"/>
                <a:gd name="T16" fmla="*/ 9 w 25"/>
                <a:gd name="T17" fmla="*/ 10 h 12"/>
                <a:gd name="T18" fmla="*/ 12 w 25"/>
                <a:gd name="T19" fmla="*/ 9 h 12"/>
                <a:gd name="T20" fmla="*/ 17 w 25"/>
                <a:gd name="T21"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2">
                  <a:moveTo>
                    <a:pt x="17" y="0"/>
                  </a:moveTo>
                  <a:cubicBezTo>
                    <a:pt x="11" y="4"/>
                    <a:pt x="5" y="7"/>
                    <a:pt x="0" y="12"/>
                  </a:cubicBezTo>
                  <a:cubicBezTo>
                    <a:pt x="0" y="12"/>
                    <a:pt x="0" y="12"/>
                    <a:pt x="1" y="12"/>
                  </a:cubicBezTo>
                  <a:cubicBezTo>
                    <a:pt x="2" y="12"/>
                    <a:pt x="5" y="10"/>
                    <a:pt x="6" y="10"/>
                  </a:cubicBezTo>
                  <a:cubicBezTo>
                    <a:pt x="6" y="10"/>
                    <a:pt x="6" y="10"/>
                    <a:pt x="6" y="10"/>
                  </a:cubicBezTo>
                  <a:cubicBezTo>
                    <a:pt x="6" y="10"/>
                    <a:pt x="7" y="10"/>
                    <a:pt x="7" y="11"/>
                  </a:cubicBezTo>
                  <a:cubicBezTo>
                    <a:pt x="7" y="11"/>
                    <a:pt x="7" y="11"/>
                    <a:pt x="8" y="11"/>
                  </a:cubicBezTo>
                  <a:cubicBezTo>
                    <a:pt x="8" y="11"/>
                    <a:pt x="8" y="11"/>
                    <a:pt x="8" y="11"/>
                  </a:cubicBezTo>
                  <a:cubicBezTo>
                    <a:pt x="8" y="11"/>
                    <a:pt x="8" y="10"/>
                    <a:pt x="9" y="10"/>
                  </a:cubicBezTo>
                  <a:cubicBezTo>
                    <a:pt x="10" y="10"/>
                    <a:pt x="11" y="9"/>
                    <a:pt x="12" y="9"/>
                  </a:cubicBezTo>
                  <a:cubicBezTo>
                    <a:pt x="17" y="7"/>
                    <a:pt x="25" y="4"/>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68"/>
            <p:cNvSpPr/>
            <p:nvPr/>
          </p:nvSpPr>
          <p:spPr bwMode="auto">
            <a:xfrm>
              <a:off x="9337666" y="1886772"/>
              <a:ext cx="71438" cy="60325"/>
            </a:xfrm>
            <a:custGeom>
              <a:gdLst>
                <a:gd name="T0" fmla="*/ 8 w 19"/>
                <a:gd name="T1" fmla="*/ 0 h 16"/>
                <a:gd name="T2" fmla="*/ 7 w 19"/>
                <a:gd name="T3" fmla="*/ 0 h 16"/>
                <a:gd name="T4" fmla="*/ 13 w 19"/>
                <a:gd name="T5" fmla="*/ 16 h 16"/>
                <a:gd name="T6" fmla="*/ 14 w 19"/>
                <a:gd name="T7" fmla="*/ 16 h 16"/>
                <a:gd name="T8" fmla="*/ 16 w 19"/>
                <a:gd name="T9" fmla="*/ 16 h 16"/>
                <a:gd name="T10" fmla="*/ 17 w 19"/>
                <a:gd name="T11" fmla="*/ 16 h 16"/>
                <a:gd name="T12" fmla="*/ 18 w 19"/>
                <a:gd name="T13" fmla="*/ 15 h 16"/>
                <a:gd name="T14" fmla="*/ 19 w 19"/>
                <a:gd name="T15" fmla="*/ 10 h 16"/>
                <a:gd name="T16" fmla="*/ 15 w 19"/>
                <a:gd name="T17" fmla="*/ 6 h 16"/>
                <a:gd name="T18" fmla="*/ 14 w 19"/>
                <a:gd name="T19" fmla="*/ 3 h 16"/>
                <a:gd name="T20" fmla="*/ 10 w 19"/>
                <a:gd name="T21" fmla="*/ 1 h 16"/>
                <a:gd name="T22" fmla="*/ 8 w 19"/>
                <a:gd name="T23"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6">
                  <a:moveTo>
                    <a:pt x="8" y="0"/>
                  </a:moveTo>
                  <a:cubicBezTo>
                    <a:pt x="7" y="0"/>
                    <a:pt x="7" y="0"/>
                    <a:pt x="7" y="0"/>
                  </a:cubicBezTo>
                  <a:cubicBezTo>
                    <a:pt x="0" y="3"/>
                    <a:pt x="12" y="14"/>
                    <a:pt x="13" y="16"/>
                  </a:cubicBezTo>
                  <a:cubicBezTo>
                    <a:pt x="14" y="16"/>
                    <a:pt x="14" y="16"/>
                    <a:pt x="14" y="16"/>
                  </a:cubicBezTo>
                  <a:cubicBezTo>
                    <a:pt x="15" y="16"/>
                    <a:pt x="15" y="16"/>
                    <a:pt x="16" y="16"/>
                  </a:cubicBezTo>
                  <a:cubicBezTo>
                    <a:pt x="16" y="16"/>
                    <a:pt x="17" y="16"/>
                    <a:pt x="17" y="16"/>
                  </a:cubicBezTo>
                  <a:cubicBezTo>
                    <a:pt x="17" y="16"/>
                    <a:pt x="18" y="16"/>
                    <a:pt x="18" y="15"/>
                  </a:cubicBezTo>
                  <a:cubicBezTo>
                    <a:pt x="18" y="13"/>
                    <a:pt x="19" y="12"/>
                    <a:pt x="19" y="10"/>
                  </a:cubicBezTo>
                  <a:cubicBezTo>
                    <a:pt x="18" y="8"/>
                    <a:pt x="16" y="8"/>
                    <a:pt x="15" y="6"/>
                  </a:cubicBezTo>
                  <a:cubicBezTo>
                    <a:pt x="14" y="5"/>
                    <a:pt x="15" y="4"/>
                    <a:pt x="14" y="3"/>
                  </a:cubicBezTo>
                  <a:cubicBezTo>
                    <a:pt x="13" y="1"/>
                    <a:pt x="12" y="2"/>
                    <a:pt x="10" y="1"/>
                  </a:cubicBezTo>
                  <a:cubicBezTo>
                    <a:pt x="9" y="1"/>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69"/>
            <p:cNvSpPr/>
            <p:nvPr/>
          </p:nvSpPr>
          <p:spPr bwMode="auto">
            <a:xfrm>
              <a:off x="6769091" y="1905822"/>
              <a:ext cx="57150" cy="30163"/>
            </a:xfrm>
            <a:custGeom>
              <a:gdLst>
                <a:gd name="T0" fmla="*/ 4 w 15"/>
                <a:gd name="T1" fmla="*/ 0 h 8"/>
                <a:gd name="T2" fmla="*/ 1 w 15"/>
                <a:gd name="T3" fmla="*/ 1 h 8"/>
                <a:gd name="T4" fmla="*/ 1 w 15"/>
                <a:gd name="T5" fmla="*/ 1 h 8"/>
                <a:gd name="T6" fmla="*/ 1 w 15"/>
                <a:gd name="T7" fmla="*/ 3 h 8"/>
                <a:gd name="T8" fmla="*/ 6 w 15"/>
                <a:gd name="T9" fmla="*/ 7 h 8"/>
                <a:gd name="T10" fmla="*/ 11 w 15"/>
                <a:gd name="T11" fmla="*/ 8 h 8"/>
                <a:gd name="T12" fmla="*/ 12 w 15"/>
                <a:gd name="T13" fmla="*/ 8 h 8"/>
                <a:gd name="T14" fmla="*/ 12 w 15"/>
                <a:gd name="T15" fmla="*/ 8 h 8"/>
                <a:gd name="T16" fmla="*/ 15 w 15"/>
                <a:gd name="T17" fmla="*/ 5 h 8"/>
                <a:gd name="T18" fmla="*/ 14 w 15"/>
                <a:gd name="T19" fmla="*/ 5 h 8"/>
                <a:gd name="T20" fmla="*/ 9 w 15"/>
                <a:gd name="T21" fmla="*/ 1 h 8"/>
                <a:gd name="T22" fmla="*/ 4 w 15"/>
                <a:gd name="T23"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8">
                  <a:moveTo>
                    <a:pt x="4" y="0"/>
                  </a:moveTo>
                  <a:cubicBezTo>
                    <a:pt x="3" y="0"/>
                    <a:pt x="1" y="1"/>
                    <a:pt x="1" y="1"/>
                  </a:cubicBezTo>
                  <a:cubicBezTo>
                    <a:pt x="1" y="1"/>
                    <a:pt x="1" y="1"/>
                    <a:pt x="1" y="1"/>
                  </a:cubicBezTo>
                  <a:cubicBezTo>
                    <a:pt x="0" y="1"/>
                    <a:pt x="0" y="2"/>
                    <a:pt x="1" y="3"/>
                  </a:cubicBezTo>
                  <a:cubicBezTo>
                    <a:pt x="1" y="4"/>
                    <a:pt x="5" y="6"/>
                    <a:pt x="6" y="7"/>
                  </a:cubicBezTo>
                  <a:cubicBezTo>
                    <a:pt x="7" y="7"/>
                    <a:pt x="9" y="8"/>
                    <a:pt x="11" y="8"/>
                  </a:cubicBezTo>
                  <a:cubicBezTo>
                    <a:pt x="12" y="8"/>
                    <a:pt x="12" y="8"/>
                    <a:pt x="12" y="8"/>
                  </a:cubicBezTo>
                  <a:cubicBezTo>
                    <a:pt x="12" y="8"/>
                    <a:pt x="12" y="8"/>
                    <a:pt x="12" y="8"/>
                  </a:cubicBezTo>
                  <a:cubicBezTo>
                    <a:pt x="14" y="8"/>
                    <a:pt x="15" y="7"/>
                    <a:pt x="15" y="5"/>
                  </a:cubicBezTo>
                  <a:cubicBezTo>
                    <a:pt x="14" y="5"/>
                    <a:pt x="14" y="5"/>
                    <a:pt x="14" y="5"/>
                  </a:cubicBezTo>
                  <a:cubicBezTo>
                    <a:pt x="13" y="3"/>
                    <a:pt x="10" y="2"/>
                    <a:pt x="9" y="1"/>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70"/>
            <p:cNvSpPr/>
            <p:nvPr/>
          </p:nvSpPr>
          <p:spPr bwMode="auto">
            <a:xfrm>
              <a:off x="8977304" y="670747"/>
              <a:ext cx="71438" cy="55563"/>
            </a:xfrm>
            <a:custGeom>
              <a:gdLst>
                <a:gd name="T0" fmla="*/ 16 w 19"/>
                <a:gd name="T1" fmla="*/ 0 h 15"/>
                <a:gd name="T2" fmla="*/ 15 w 19"/>
                <a:gd name="T3" fmla="*/ 0 h 15"/>
                <a:gd name="T4" fmla="*/ 13 w 19"/>
                <a:gd name="T5" fmla="*/ 2 h 15"/>
                <a:gd name="T6" fmla="*/ 8 w 19"/>
                <a:gd name="T7" fmla="*/ 5 h 15"/>
                <a:gd name="T8" fmla="*/ 6 w 19"/>
                <a:gd name="T9" fmla="*/ 6 h 15"/>
                <a:gd name="T10" fmla="*/ 4 w 19"/>
                <a:gd name="T11" fmla="*/ 8 h 15"/>
                <a:gd name="T12" fmla="*/ 0 w 19"/>
                <a:gd name="T13" fmla="*/ 11 h 15"/>
                <a:gd name="T14" fmla="*/ 5 w 19"/>
                <a:gd name="T15" fmla="*/ 15 h 15"/>
                <a:gd name="T16" fmla="*/ 6 w 19"/>
                <a:gd name="T17" fmla="*/ 15 h 15"/>
                <a:gd name="T18" fmla="*/ 6 w 19"/>
                <a:gd name="T19" fmla="*/ 15 h 15"/>
                <a:gd name="T20" fmla="*/ 11 w 19"/>
                <a:gd name="T21" fmla="*/ 13 h 15"/>
                <a:gd name="T22" fmla="*/ 15 w 19"/>
                <a:gd name="T23" fmla="*/ 12 h 15"/>
                <a:gd name="T24" fmla="*/ 16 w 19"/>
                <a:gd name="T25" fmla="*/ 12 h 15"/>
                <a:gd name="T26" fmla="*/ 16 w 19"/>
                <a:gd name="T27" fmla="*/ 13 h 15"/>
                <a:gd name="T28" fmla="*/ 16 w 19"/>
                <a:gd name="T29" fmla="*/ 13 h 15"/>
                <a:gd name="T30" fmla="*/ 17 w 19"/>
                <a:gd name="T31" fmla="*/ 13 h 15"/>
                <a:gd name="T32" fmla="*/ 18 w 19"/>
                <a:gd name="T33" fmla="*/ 13 h 15"/>
                <a:gd name="T34" fmla="*/ 18 w 19"/>
                <a:gd name="T35" fmla="*/ 13 h 15"/>
                <a:gd name="T36" fmla="*/ 18 w 19"/>
                <a:gd name="T37" fmla="*/ 12 h 15"/>
                <a:gd name="T38" fmla="*/ 17 w 19"/>
                <a:gd name="T39" fmla="*/ 12 h 15"/>
                <a:gd name="T40" fmla="*/ 13 w 19"/>
                <a:gd name="T41" fmla="*/ 9 h 15"/>
                <a:gd name="T42" fmla="*/ 13 w 19"/>
                <a:gd name="T43" fmla="*/ 8 h 15"/>
                <a:gd name="T44" fmla="*/ 14 w 19"/>
                <a:gd name="T45" fmla="*/ 6 h 15"/>
                <a:gd name="T46" fmla="*/ 19 w 19"/>
                <a:gd name="T47" fmla="*/ 0 h 15"/>
                <a:gd name="T48" fmla="*/ 16 w 19"/>
                <a:gd name="T4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5">
                  <a:moveTo>
                    <a:pt x="16" y="0"/>
                  </a:moveTo>
                  <a:cubicBezTo>
                    <a:pt x="16" y="0"/>
                    <a:pt x="15" y="0"/>
                    <a:pt x="15" y="0"/>
                  </a:cubicBezTo>
                  <a:cubicBezTo>
                    <a:pt x="14" y="0"/>
                    <a:pt x="14" y="2"/>
                    <a:pt x="13" y="2"/>
                  </a:cubicBezTo>
                  <a:cubicBezTo>
                    <a:pt x="11" y="3"/>
                    <a:pt x="10" y="5"/>
                    <a:pt x="8" y="5"/>
                  </a:cubicBezTo>
                  <a:cubicBezTo>
                    <a:pt x="7" y="5"/>
                    <a:pt x="6" y="6"/>
                    <a:pt x="6" y="6"/>
                  </a:cubicBezTo>
                  <a:cubicBezTo>
                    <a:pt x="5" y="7"/>
                    <a:pt x="5" y="7"/>
                    <a:pt x="4" y="8"/>
                  </a:cubicBezTo>
                  <a:cubicBezTo>
                    <a:pt x="3" y="9"/>
                    <a:pt x="2" y="11"/>
                    <a:pt x="0" y="11"/>
                  </a:cubicBezTo>
                  <a:cubicBezTo>
                    <a:pt x="0" y="12"/>
                    <a:pt x="3" y="14"/>
                    <a:pt x="5" y="15"/>
                  </a:cubicBezTo>
                  <a:cubicBezTo>
                    <a:pt x="5" y="15"/>
                    <a:pt x="6" y="15"/>
                    <a:pt x="6" y="15"/>
                  </a:cubicBezTo>
                  <a:cubicBezTo>
                    <a:pt x="6" y="15"/>
                    <a:pt x="6" y="15"/>
                    <a:pt x="6" y="15"/>
                  </a:cubicBezTo>
                  <a:cubicBezTo>
                    <a:pt x="8" y="15"/>
                    <a:pt x="9" y="14"/>
                    <a:pt x="11" y="13"/>
                  </a:cubicBezTo>
                  <a:cubicBezTo>
                    <a:pt x="12" y="13"/>
                    <a:pt x="14" y="12"/>
                    <a:pt x="15" y="12"/>
                  </a:cubicBezTo>
                  <a:cubicBezTo>
                    <a:pt x="15" y="12"/>
                    <a:pt x="16" y="12"/>
                    <a:pt x="16" y="12"/>
                  </a:cubicBezTo>
                  <a:cubicBezTo>
                    <a:pt x="15" y="13"/>
                    <a:pt x="15" y="13"/>
                    <a:pt x="16" y="13"/>
                  </a:cubicBezTo>
                  <a:cubicBezTo>
                    <a:pt x="16" y="13"/>
                    <a:pt x="16" y="13"/>
                    <a:pt x="16" y="13"/>
                  </a:cubicBezTo>
                  <a:cubicBezTo>
                    <a:pt x="16" y="13"/>
                    <a:pt x="17" y="13"/>
                    <a:pt x="17" y="13"/>
                  </a:cubicBezTo>
                  <a:cubicBezTo>
                    <a:pt x="18" y="13"/>
                    <a:pt x="18" y="13"/>
                    <a:pt x="18" y="13"/>
                  </a:cubicBezTo>
                  <a:cubicBezTo>
                    <a:pt x="18" y="13"/>
                    <a:pt x="18" y="13"/>
                    <a:pt x="18" y="13"/>
                  </a:cubicBezTo>
                  <a:cubicBezTo>
                    <a:pt x="19" y="13"/>
                    <a:pt x="19" y="13"/>
                    <a:pt x="18" y="12"/>
                  </a:cubicBezTo>
                  <a:cubicBezTo>
                    <a:pt x="17" y="12"/>
                    <a:pt x="17" y="12"/>
                    <a:pt x="17" y="12"/>
                  </a:cubicBezTo>
                  <a:cubicBezTo>
                    <a:pt x="16" y="10"/>
                    <a:pt x="14" y="10"/>
                    <a:pt x="13" y="9"/>
                  </a:cubicBezTo>
                  <a:cubicBezTo>
                    <a:pt x="13" y="8"/>
                    <a:pt x="13" y="8"/>
                    <a:pt x="13" y="8"/>
                  </a:cubicBezTo>
                  <a:cubicBezTo>
                    <a:pt x="13" y="8"/>
                    <a:pt x="14" y="7"/>
                    <a:pt x="14" y="6"/>
                  </a:cubicBezTo>
                  <a:cubicBezTo>
                    <a:pt x="16" y="4"/>
                    <a:pt x="17" y="2"/>
                    <a:pt x="19" y="0"/>
                  </a:cubicBezTo>
                  <a:cubicBezTo>
                    <a:pt x="19"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71"/>
            <p:cNvSpPr/>
            <p:nvPr/>
          </p:nvSpPr>
          <p:spPr bwMode="auto">
            <a:xfrm>
              <a:off x="8391516" y="599309"/>
              <a:ext cx="165100" cy="41275"/>
            </a:xfrm>
            <a:custGeom>
              <a:gdLst>
                <a:gd name="T0" fmla="*/ 33 w 44"/>
                <a:gd name="T1" fmla="*/ 0 h 11"/>
                <a:gd name="T2" fmla="*/ 5 w 44"/>
                <a:gd name="T3" fmla="*/ 0 h 11"/>
                <a:gd name="T4" fmla="*/ 1 w 44"/>
                <a:gd name="T5" fmla="*/ 2 h 11"/>
                <a:gd name="T6" fmla="*/ 2 w 44"/>
                <a:gd name="T7" fmla="*/ 6 h 11"/>
                <a:gd name="T8" fmla="*/ 18 w 44"/>
                <a:gd name="T9" fmla="*/ 8 h 11"/>
                <a:gd name="T10" fmla="*/ 30 w 44"/>
                <a:gd name="T11" fmla="*/ 11 h 11"/>
                <a:gd name="T12" fmla="*/ 31 w 44"/>
                <a:gd name="T13" fmla="*/ 11 h 11"/>
                <a:gd name="T14" fmla="*/ 33 w 44"/>
                <a:gd name="T15" fmla="*/ 10 h 11"/>
                <a:gd name="T16" fmla="*/ 34 w 44"/>
                <a:gd name="T17" fmla="*/ 11 h 11"/>
                <a:gd name="T18" fmla="*/ 44 w 44"/>
                <a:gd name="T19" fmla="*/ 9 h 11"/>
                <a:gd name="T20" fmla="*/ 33 w 44"/>
                <a:gd name="T21" fmla="*/ 3 h 11"/>
                <a:gd name="T22" fmla="*/ 33 w 44"/>
                <a:gd name="T23" fmla="*/ 5 h 11"/>
                <a:gd name="T24" fmla="*/ 33 w 44"/>
                <a:gd name="T25" fmla="*/ 3 h 11"/>
                <a:gd name="T26" fmla="*/ 33 w 44"/>
                <a:gd name="T2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11">
                  <a:moveTo>
                    <a:pt x="33" y="0"/>
                  </a:moveTo>
                  <a:cubicBezTo>
                    <a:pt x="5" y="0"/>
                    <a:pt x="5" y="0"/>
                    <a:pt x="5" y="0"/>
                  </a:cubicBezTo>
                  <a:cubicBezTo>
                    <a:pt x="3" y="1"/>
                    <a:pt x="1" y="1"/>
                    <a:pt x="1" y="2"/>
                  </a:cubicBezTo>
                  <a:cubicBezTo>
                    <a:pt x="0" y="3"/>
                    <a:pt x="1" y="6"/>
                    <a:pt x="2" y="6"/>
                  </a:cubicBezTo>
                  <a:cubicBezTo>
                    <a:pt x="7" y="7"/>
                    <a:pt x="13" y="7"/>
                    <a:pt x="18" y="8"/>
                  </a:cubicBezTo>
                  <a:cubicBezTo>
                    <a:pt x="22" y="9"/>
                    <a:pt x="26" y="11"/>
                    <a:pt x="30" y="11"/>
                  </a:cubicBezTo>
                  <a:cubicBezTo>
                    <a:pt x="31" y="11"/>
                    <a:pt x="31" y="11"/>
                    <a:pt x="31" y="11"/>
                  </a:cubicBezTo>
                  <a:cubicBezTo>
                    <a:pt x="33" y="11"/>
                    <a:pt x="33" y="11"/>
                    <a:pt x="33" y="10"/>
                  </a:cubicBezTo>
                  <a:cubicBezTo>
                    <a:pt x="33" y="10"/>
                    <a:pt x="34" y="11"/>
                    <a:pt x="34" y="11"/>
                  </a:cubicBezTo>
                  <a:cubicBezTo>
                    <a:pt x="37" y="10"/>
                    <a:pt x="41" y="11"/>
                    <a:pt x="44" y="9"/>
                  </a:cubicBezTo>
                  <a:cubicBezTo>
                    <a:pt x="44" y="5"/>
                    <a:pt x="35" y="6"/>
                    <a:pt x="33" y="3"/>
                  </a:cubicBezTo>
                  <a:cubicBezTo>
                    <a:pt x="33" y="4"/>
                    <a:pt x="33" y="4"/>
                    <a:pt x="33" y="5"/>
                  </a:cubicBezTo>
                  <a:cubicBezTo>
                    <a:pt x="33" y="4"/>
                    <a:pt x="33" y="3"/>
                    <a:pt x="33" y="3"/>
                  </a:cubicBezTo>
                  <a:cubicBezTo>
                    <a:pt x="33" y="2"/>
                    <a:pt x="33" y="1"/>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72"/>
            <p:cNvSpPr/>
            <p:nvPr/>
          </p:nvSpPr>
          <p:spPr bwMode="auto">
            <a:xfrm>
              <a:off x="8124816" y="599309"/>
              <a:ext cx="60325" cy="14288"/>
            </a:xfrm>
            <a:custGeom>
              <a:gdLst>
                <a:gd name="T0" fmla="*/ 16 w 16"/>
                <a:gd name="T1" fmla="*/ 0 h 4"/>
                <a:gd name="T2" fmla="*/ 0 w 16"/>
                <a:gd name="T3" fmla="*/ 0 h 4"/>
                <a:gd name="T4" fmla="*/ 10 w 16"/>
                <a:gd name="T5" fmla="*/ 4 h 4"/>
                <a:gd name="T6" fmla="*/ 11 w 16"/>
                <a:gd name="T7" fmla="*/ 4 h 4"/>
                <a:gd name="T8" fmla="*/ 16 w 16"/>
                <a:gd name="T9" fmla="*/ 0 h 4"/>
              </a:gdLst>
              <a:cxnLst>
                <a:cxn ang="0">
                  <a:pos x="T0" y="T1"/>
                </a:cxn>
                <a:cxn ang="0">
                  <a:pos x="T2" y="T3"/>
                </a:cxn>
                <a:cxn ang="0">
                  <a:pos x="T4" y="T5"/>
                </a:cxn>
                <a:cxn ang="0">
                  <a:pos x="T6" y="T7"/>
                </a:cxn>
                <a:cxn ang="0">
                  <a:pos x="T8" y="T9"/>
                </a:cxn>
              </a:cxnLst>
              <a:rect l="0" t="0" r="r" b="b"/>
              <a:pathLst>
                <a:path w="16" h="4">
                  <a:moveTo>
                    <a:pt x="16" y="0"/>
                  </a:moveTo>
                  <a:cubicBezTo>
                    <a:pt x="0" y="0"/>
                    <a:pt x="0" y="0"/>
                    <a:pt x="0" y="0"/>
                  </a:cubicBezTo>
                  <a:cubicBezTo>
                    <a:pt x="3" y="2"/>
                    <a:pt x="7" y="4"/>
                    <a:pt x="10" y="4"/>
                  </a:cubicBezTo>
                  <a:cubicBezTo>
                    <a:pt x="10" y="4"/>
                    <a:pt x="11" y="4"/>
                    <a:pt x="11" y="4"/>
                  </a:cubicBezTo>
                  <a:cubicBezTo>
                    <a:pt x="14" y="4"/>
                    <a:pt x="15" y="2"/>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73"/>
            <p:cNvSpPr/>
            <p:nvPr/>
          </p:nvSpPr>
          <p:spPr bwMode="auto">
            <a:xfrm>
              <a:off x="8305791" y="599309"/>
              <a:ext cx="88900" cy="30163"/>
            </a:xfrm>
            <a:custGeom>
              <a:gdLst>
                <a:gd name="T0" fmla="*/ 24 w 24"/>
                <a:gd name="T1" fmla="*/ 0 h 8"/>
                <a:gd name="T2" fmla="*/ 1 w 24"/>
                <a:gd name="T3" fmla="*/ 0 h 8"/>
                <a:gd name="T4" fmla="*/ 1 w 24"/>
                <a:gd name="T5" fmla="*/ 3 h 8"/>
                <a:gd name="T6" fmla="*/ 6 w 24"/>
                <a:gd name="T7" fmla="*/ 3 h 8"/>
                <a:gd name="T8" fmla="*/ 7 w 24"/>
                <a:gd name="T9" fmla="*/ 5 h 8"/>
                <a:gd name="T10" fmla="*/ 9 w 24"/>
                <a:gd name="T11" fmla="*/ 6 h 8"/>
                <a:gd name="T12" fmla="*/ 14 w 24"/>
                <a:gd name="T13" fmla="*/ 7 h 8"/>
                <a:gd name="T14" fmla="*/ 15 w 24"/>
                <a:gd name="T15" fmla="*/ 8 h 8"/>
                <a:gd name="T16" fmla="*/ 18 w 24"/>
                <a:gd name="T17" fmla="*/ 2 h 8"/>
                <a:gd name="T18" fmla="*/ 23 w 24"/>
                <a:gd name="T19" fmla="*/ 0 h 8"/>
                <a:gd name="T20" fmla="*/ 24 w 24"/>
                <a:gd name="T2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8">
                  <a:moveTo>
                    <a:pt x="24" y="0"/>
                  </a:moveTo>
                  <a:cubicBezTo>
                    <a:pt x="1" y="0"/>
                    <a:pt x="1" y="0"/>
                    <a:pt x="1" y="0"/>
                  </a:cubicBezTo>
                  <a:cubicBezTo>
                    <a:pt x="1" y="1"/>
                    <a:pt x="0" y="2"/>
                    <a:pt x="1" y="3"/>
                  </a:cubicBezTo>
                  <a:cubicBezTo>
                    <a:pt x="2" y="3"/>
                    <a:pt x="4" y="3"/>
                    <a:pt x="6" y="3"/>
                  </a:cubicBezTo>
                  <a:cubicBezTo>
                    <a:pt x="8" y="4"/>
                    <a:pt x="6" y="5"/>
                    <a:pt x="7" y="5"/>
                  </a:cubicBezTo>
                  <a:cubicBezTo>
                    <a:pt x="7" y="6"/>
                    <a:pt x="8" y="6"/>
                    <a:pt x="9" y="6"/>
                  </a:cubicBezTo>
                  <a:cubicBezTo>
                    <a:pt x="10" y="7"/>
                    <a:pt x="12" y="7"/>
                    <a:pt x="14" y="7"/>
                  </a:cubicBezTo>
                  <a:cubicBezTo>
                    <a:pt x="15" y="8"/>
                    <a:pt x="15" y="8"/>
                    <a:pt x="15" y="8"/>
                  </a:cubicBezTo>
                  <a:cubicBezTo>
                    <a:pt x="18" y="8"/>
                    <a:pt x="17" y="4"/>
                    <a:pt x="18" y="2"/>
                  </a:cubicBezTo>
                  <a:cubicBezTo>
                    <a:pt x="19" y="1"/>
                    <a:pt x="22" y="1"/>
                    <a:pt x="23" y="0"/>
                  </a:cubicBezTo>
                  <a:cubicBezTo>
                    <a:pt x="24" y="0"/>
                    <a:pt x="24"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74"/>
            <p:cNvSpPr/>
            <p:nvPr/>
          </p:nvSpPr>
          <p:spPr bwMode="auto">
            <a:xfrm>
              <a:off x="8210541" y="599309"/>
              <a:ext cx="87313" cy="30163"/>
            </a:xfrm>
            <a:custGeom>
              <a:gdLst>
                <a:gd name="T0" fmla="*/ 23 w 23"/>
                <a:gd name="T1" fmla="*/ 0 h 8"/>
                <a:gd name="T2" fmla="*/ 3 w 23"/>
                <a:gd name="T3" fmla="*/ 0 h 8"/>
                <a:gd name="T4" fmla="*/ 2 w 23"/>
                <a:gd name="T5" fmla="*/ 2 h 8"/>
                <a:gd name="T6" fmla="*/ 5 w 23"/>
                <a:gd name="T7" fmla="*/ 6 h 8"/>
                <a:gd name="T8" fmla="*/ 13 w 23"/>
                <a:gd name="T9" fmla="*/ 7 h 8"/>
                <a:gd name="T10" fmla="*/ 17 w 23"/>
                <a:gd name="T11" fmla="*/ 8 h 8"/>
                <a:gd name="T12" fmla="*/ 20 w 23"/>
                <a:gd name="T13" fmla="*/ 7 h 8"/>
                <a:gd name="T14" fmla="*/ 23 w 23"/>
                <a:gd name="T15" fmla="*/ 1 h 8"/>
                <a:gd name="T16" fmla="*/ 23 w 23"/>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8">
                  <a:moveTo>
                    <a:pt x="23" y="0"/>
                  </a:moveTo>
                  <a:cubicBezTo>
                    <a:pt x="3" y="0"/>
                    <a:pt x="3" y="0"/>
                    <a:pt x="3" y="0"/>
                  </a:cubicBezTo>
                  <a:cubicBezTo>
                    <a:pt x="4" y="1"/>
                    <a:pt x="4" y="2"/>
                    <a:pt x="2" y="2"/>
                  </a:cubicBezTo>
                  <a:cubicBezTo>
                    <a:pt x="5" y="4"/>
                    <a:pt x="0" y="6"/>
                    <a:pt x="5" y="6"/>
                  </a:cubicBezTo>
                  <a:cubicBezTo>
                    <a:pt x="7" y="7"/>
                    <a:pt x="10" y="7"/>
                    <a:pt x="13" y="7"/>
                  </a:cubicBezTo>
                  <a:cubicBezTo>
                    <a:pt x="14" y="8"/>
                    <a:pt x="16" y="8"/>
                    <a:pt x="17" y="8"/>
                  </a:cubicBezTo>
                  <a:cubicBezTo>
                    <a:pt x="18" y="8"/>
                    <a:pt x="19" y="8"/>
                    <a:pt x="20" y="7"/>
                  </a:cubicBezTo>
                  <a:cubicBezTo>
                    <a:pt x="21" y="7"/>
                    <a:pt x="23" y="2"/>
                    <a:pt x="23" y="1"/>
                  </a:cubicBezTo>
                  <a:cubicBezTo>
                    <a:pt x="23" y="0"/>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75"/>
            <p:cNvSpPr/>
            <p:nvPr/>
          </p:nvSpPr>
          <p:spPr bwMode="auto">
            <a:xfrm>
              <a:off x="8526454" y="599309"/>
              <a:ext cx="49213" cy="14288"/>
            </a:xfrm>
            <a:custGeom>
              <a:gdLst>
                <a:gd name="T0" fmla="*/ 13 w 13"/>
                <a:gd name="T1" fmla="*/ 0 h 4"/>
                <a:gd name="T2" fmla="*/ 0 w 13"/>
                <a:gd name="T3" fmla="*/ 0 h 4"/>
                <a:gd name="T4" fmla="*/ 1 w 13"/>
                <a:gd name="T5" fmla="*/ 1 h 4"/>
                <a:gd name="T6" fmla="*/ 7 w 13"/>
                <a:gd name="T7" fmla="*/ 4 h 4"/>
                <a:gd name="T8" fmla="*/ 9 w 13"/>
                <a:gd name="T9" fmla="*/ 3 h 4"/>
                <a:gd name="T10" fmla="*/ 13 w 13"/>
                <a:gd name="T11" fmla="*/ 0 h 4"/>
              </a:gdLst>
              <a:cxnLst>
                <a:cxn ang="0">
                  <a:pos x="T0" y="T1"/>
                </a:cxn>
                <a:cxn ang="0">
                  <a:pos x="T2" y="T3"/>
                </a:cxn>
                <a:cxn ang="0">
                  <a:pos x="T4" y="T5"/>
                </a:cxn>
                <a:cxn ang="0">
                  <a:pos x="T6" y="T7"/>
                </a:cxn>
                <a:cxn ang="0">
                  <a:pos x="T8" y="T9"/>
                </a:cxn>
                <a:cxn ang="0">
                  <a:pos x="T10" y="T11"/>
                </a:cxn>
              </a:cxnLst>
              <a:rect l="0" t="0" r="r" b="b"/>
              <a:pathLst>
                <a:path w="13" h="4">
                  <a:moveTo>
                    <a:pt x="13" y="0"/>
                  </a:moveTo>
                  <a:cubicBezTo>
                    <a:pt x="0" y="0"/>
                    <a:pt x="0" y="0"/>
                    <a:pt x="0" y="0"/>
                  </a:cubicBezTo>
                  <a:cubicBezTo>
                    <a:pt x="1" y="1"/>
                    <a:pt x="1" y="1"/>
                    <a:pt x="1" y="1"/>
                  </a:cubicBezTo>
                  <a:cubicBezTo>
                    <a:pt x="3" y="2"/>
                    <a:pt x="5" y="4"/>
                    <a:pt x="7" y="4"/>
                  </a:cubicBezTo>
                  <a:cubicBezTo>
                    <a:pt x="8" y="4"/>
                    <a:pt x="8" y="3"/>
                    <a:pt x="9" y="3"/>
                  </a:cubicBezTo>
                  <a:cubicBezTo>
                    <a:pt x="10" y="2"/>
                    <a:pt x="11"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76"/>
            <p:cNvSpPr/>
            <p:nvPr/>
          </p:nvSpPr>
          <p:spPr bwMode="auto">
            <a:xfrm>
              <a:off x="8193079" y="599309"/>
              <a:ext cx="17463" cy="19050"/>
            </a:xfrm>
            <a:custGeom>
              <a:gdLst>
                <a:gd name="T0" fmla="*/ 5 w 5"/>
                <a:gd name="T1" fmla="*/ 0 h 5"/>
                <a:gd name="T2" fmla="*/ 2 w 5"/>
                <a:gd name="T3" fmla="*/ 0 h 5"/>
                <a:gd name="T4" fmla="*/ 2 w 5"/>
                <a:gd name="T5" fmla="*/ 2 h 5"/>
                <a:gd name="T6" fmla="*/ 2 w 5"/>
                <a:gd name="T7" fmla="*/ 5 h 5"/>
                <a:gd name="T8" fmla="*/ 2 w 5"/>
                <a:gd name="T9" fmla="*/ 5 h 5"/>
                <a:gd name="T10" fmla="*/ 5 w 5"/>
                <a:gd name="T11" fmla="*/ 0 h 5"/>
              </a:gdLst>
              <a:cxnLst>
                <a:cxn ang="0">
                  <a:pos x="T0" y="T1"/>
                </a:cxn>
                <a:cxn ang="0">
                  <a:pos x="T2" y="T3"/>
                </a:cxn>
                <a:cxn ang="0">
                  <a:pos x="T4" y="T5"/>
                </a:cxn>
                <a:cxn ang="0">
                  <a:pos x="T6" y="T7"/>
                </a:cxn>
                <a:cxn ang="0">
                  <a:pos x="T8" y="T9"/>
                </a:cxn>
                <a:cxn ang="0">
                  <a:pos x="T10" y="T11"/>
                </a:cxn>
              </a:cxnLst>
              <a:rect l="0" t="0" r="r" b="b"/>
              <a:pathLst>
                <a:path w="5" h="5">
                  <a:moveTo>
                    <a:pt x="5" y="0"/>
                  </a:moveTo>
                  <a:cubicBezTo>
                    <a:pt x="2" y="0"/>
                    <a:pt x="2" y="0"/>
                    <a:pt x="2" y="0"/>
                  </a:cubicBezTo>
                  <a:cubicBezTo>
                    <a:pt x="2" y="1"/>
                    <a:pt x="2" y="1"/>
                    <a:pt x="2" y="2"/>
                  </a:cubicBezTo>
                  <a:cubicBezTo>
                    <a:pt x="1" y="3"/>
                    <a:pt x="0" y="5"/>
                    <a:pt x="2" y="5"/>
                  </a:cubicBezTo>
                  <a:cubicBezTo>
                    <a:pt x="2" y="5"/>
                    <a:pt x="2" y="5"/>
                    <a:pt x="2" y="5"/>
                  </a:cubicBezTo>
                  <a:cubicBezTo>
                    <a:pt x="3" y="5"/>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7"/>
            <p:cNvSpPr/>
            <p:nvPr/>
          </p:nvSpPr>
          <p:spPr bwMode="auto">
            <a:xfrm>
              <a:off x="8861416" y="599309"/>
              <a:ext cx="187325" cy="68263"/>
            </a:xfrm>
            <a:custGeom>
              <a:gdLst>
                <a:gd name="T0" fmla="*/ 50 w 50"/>
                <a:gd name="T1" fmla="*/ 0 h 18"/>
                <a:gd name="T2" fmla="*/ 0 w 50"/>
                <a:gd name="T3" fmla="*/ 0 h 18"/>
                <a:gd name="T4" fmla="*/ 4 w 50"/>
                <a:gd name="T5" fmla="*/ 4 h 18"/>
                <a:gd name="T6" fmla="*/ 6 w 50"/>
                <a:gd name="T7" fmla="*/ 4 h 18"/>
                <a:gd name="T8" fmla="*/ 5 w 50"/>
                <a:gd name="T9" fmla="*/ 8 h 18"/>
                <a:gd name="T10" fmla="*/ 0 w 50"/>
                <a:gd name="T11" fmla="*/ 18 h 18"/>
                <a:gd name="T12" fmla="*/ 21 w 50"/>
                <a:gd name="T13" fmla="*/ 14 h 18"/>
                <a:gd name="T14" fmla="*/ 34 w 50"/>
                <a:gd name="T15" fmla="*/ 12 h 18"/>
                <a:gd name="T16" fmla="*/ 40 w 50"/>
                <a:gd name="T17" fmla="*/ 10 h 18"/>
                <a:gd name="T18" fmla="*/ 50 w 50"/>
                <a:gd name="T19"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8">
                  <a:moveTo>
                    <a:pt x="50" y="0"/>
                  </a:moveTo>
                  <a:cubicBezTo>
                    <a:pt x="0" y="0"/>
                    <a:pt x="0" y="0"/>
                    <a:pt x="0" y="0"/>
                  </a:cubicBezTo>
                  <a:cubicBezTo>
                    <a:pt x="2" y="1"/>
                    <a:pt x="4" y="3"/>
                    <a:pt x="4" y="4"/>
                  </a:cubicBezTo>
                  <a:cubicBezTo>
                    <a:pt x="6" y="4"/>
                    <a:pt x="6" y="4"/>
                    <a:pt x="6" y="4"/>
                  </a:cubicBezTo>
                  <a:cubicBezTo>
                    <a:pt x="6" y="5"/>
                    <a:pt x="5" y="7"/>
                    <a:pt x="5" y="8"/>
                  </a:cubicBezTo>
                  <a:cubicBezTo>
                    <a:pt x="3" y="11"/>
                    <a:pt x="2" y="15"/>
                    <a:pt x="0" y="18"/>
                  </a:cubicBezTo>
                  <a:cubicBezTo>
                    <a:pt x="7" y="17"/>
                    <a:pt x="14" y="16"/>
                    <a:pt x="21" y="14"/>
                  </a:cubicBezTo>
                  <a:cubicBezTo>
                    <a:pt x="25" y="13"/>
                    <a:pt x="29" y="12"/>
                    <a:pt x="34" y="12"/>
                  </a:cubicBezTo>
                  <a:cubicBezTo>
                    <a:pt x="36" y="11"/>
                    <a:pt x="39" y="11"/>
                    <a:pt x="40" y="10"/>
                  </a:cubicBezTo>
                  <a:cubicBezTo>
                    <a:pt x="44" y="7"/>
                    <a:pt x="47" y="4"/>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78"/>
            <p:cNvSpPr/>
            <p:nvPr/>
          </p:nvSpPr>
          <p:spPr bwMode="auto">
            <a:xfrm>
              <a:off x="8609004" y="599309"/>
              <a:ext cx="57150" cy="19050"/>
            </a:xfrm>
            <a:custGeom>
              <a:gdLst>
                <a:gd name="T0" fmla="*/ 15 w 15"/>
                <a:gd name="T1" fmla="*/ 0 h 5"/>
                <a:gd name="T2" fmla="*/ 0 w 15"/>
                <a:gd name="T3" fmla="*/ 0 h 5"/>
                <a:gd name="T4" fmla="*/ 7 w 15"/>
                <a:gd name="T5" fmla="*/ 4 h 5"/>
                <a:gd name="T6" fmla="*/ 12 w 15"/>
                <a:gd name="T7" fmla="*/ 5 h 5"/>
                <a:gd name="T8" fmla="*/ 15 w 15"/>
                <a:gd name="T9" fmla="*/ 1 h 5"/>
                <a:gd name="T10" fmla="*/ 15 w 15"/>
                <a:gd name="T11" fmla="*/ 0 h 5"/>
              </a:gdLst>
              <a:cxnLst>
                <a:cxn ang="0">
                  <a:pos x="T0" y="T1"/>
                </a:cxn>
                <a:cxn ang="0">
                  <a:pos x="T2" y="T3"/>
                </a:cxn>
                <a:cxn ang="0">
                  <a:pos x="T4" y="T5"/>
                </a:cxn>
                <a:cxn ang="0">
                  <a:pos x="T6" y="T7"/>
                </a:cxn>
                <a:cxn ang="0">
                  <a:pos x="T8" y="T9"/>
                </a:cxn>
                <a:cxn ang="0">
                  <a:pos x="T10" y="T11"/>
                </a:cxn>
              </a:cxnLst>
              <a:rect l="0" t="0" r="r" b="b"/>
              <a:pathLst>
                <a:path w="15" h="5">
                  <a:moveTo>
                    <a:pt x="15" y="0"/>
                  </a:moveTo>
                  <a:cubicBezTo>
                    <a:pt x="0" y="0"/>
                    <a:pt x="0" y="0"/>
                    <a:pt x="0" y="0"/>
                  </a:cubicBezTo>
                  <a:cubicBezTo>
                    <a:pt x="2" y="2"/>
                    <a:pt x="5" y="3"/>
                    <a:pt x="7" y="4"/>
                  </a:cubicBezTo>
                  <a:cubicBezTo>
                    <a:pt x="9" y="5"/>
                    <a:pt x="10" y="5"/>
                    <a:pt x="12" y="5"/>
                  </a:cubicBezTo>
                  <a:cubicBezTo>
                    <a:pt x="13" y="5"/>
                    <a:pt x="15" y="4"/>
                    <a:pt x="15" y="1"/>
                  </a:cubicBezTo>
                  <a:cubicBezTo>
                    <a:pt x="15" y="1"/>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79"/>
            <p:cNvSpPr/>
            <p:nvPr/>
          </p:nvSpPr>
          <p:spPr bwMode="auto">
            <a:xfrm>
              <a:off x="9070966" y="599309"/>
              <a:ext cx="38100" cy="11113"/>
            </a:xfrm>
            <a:custGeom>
              <a:gdLst>
                <a:gd name="T0" fmla="*/ 10 w 10"/>
                <a:gd name="T1" fmla="*/ 0 h 3"/>
                <a:gd name="T2" fmla="*/ 0 w 10"/>
                <a:gd name="T3" fmla="*/ 0 h 3"/>
                <a:gd name="T4" fmla="*/ 3 w 10"/>
                <a:gd name="T5" fmla="*/ 3 h 3"/>
                <a:gd name="T6" fmla="*/ 4 w 10"/>
                <a:gd name="T7" fmla="*/ 3 h 3"/>
                <a:gd name="T8" fmla="*/ 10 w 10"/>
                <a:gd name="T9" fmla="*/ 0 h 3"/>
              </a:gdLst>
              <a:cxnLst>
                <a:cxn ang="0">
                  <a:pos x="T0" y="T1"/>
                </a:cxn>
                <a:cxn ang="0">
                  <a:pos x="T2" y="T3"/>
                </a:cxn>
                <a:cxn ang="0">
                  <a:pos x="T4" y="T5"/>
                </a:cxn>
                <a:cxn ang="0">
                  <a:pos x="T6" y="T7"/>
                </a:cxn>
                <a:cxn ang="0">
                  <a:pos x="T8" y="T9"/>
                </a:cxn>
              </a:cxnLst>
              <a:rect l="0" t="0" r="r" b="b"/>
              <a:pathLst>
                <a:path w="10" h="3">
                  <a:moveTo>
                    <a:pt x="10" y="0"/>
                  </a:moveTo>
                  <a:cubicBezTo>
                    <a:pt x="0" y="0"/>
                    <a:pt x="0" y="0"/>
                    <a:pt x="0" y="0"/>
                  </a:cubicBezTo>
                  <a:cubicBezTo>
                    <a:pt x="1" y="1"/>
                    <a:pt x="2" y="3"/>
                    <a:pt x="3" y="3"/>
                  </a:cubicBezTo>
                  <a:cubicBezTo>
                    <a:pt x="3" y="3"/>
                    <a:pt x="4" y="3"/>
                    <a:pt x="4" y="3"/>
                  </a:cubicBezTo>
                  <a:cubicBezTo>
                    <a:pt x="5" y="2"/>
                    <a:pt x="8" y="1"/>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80"/>
            <p:cNvSpPr/>
            <p:nvPr/>
          </p:nvSpPr>
          <p:spPr bwMode="auto">
            <a:xfrm>
              <a:off x="8778866" y="599309"/>
              <a:ext cx="55563" cy="7938"/>
            </a:xfrm>
            <a:custGeom>
              <a:gdLst>
                <a:gd name="T0" fmla="*/ 15 w 15"/>
                <a:gd name="T1" fmla="*/ 0 h 2"/>
                <a:gd name="T2" fmla="*/ 0 w 15"/>
                <a:gd name="T3" fmla="*/ 0 h 2"/>
                <a:gd name="T4" fmla="*/ 10 w 15"/>
                <a:gd name="T5" fmla="*/ 2 h 2"/>
                <a:gd name="T6" fmla="*/ 12 w 15"/>
                <a:gd name="T7" fmla="*/ 2 h 2"/>
                <a:gd name="T8" fmla="*/ 15 w 15"/>
                <a:gd name="T9" fmla="*/ 0 h 2"/>
              </a:gdLst>
              <a:cxnLst>
                <a:cxn ang="0">
                  <a:pos x="T0" y="T1"/>
                </a:cxn>
                <a:cxn ang="0">
                  <a:pos x="T2" y="T3"/>
                </a:cxn>
                <a:cxn ang="0">
                  <a:pos x="T4" y="T5"/>
                </a:cxn>
                <a:cxn ang="0">
                  <a:pos x="T6" y="T7"/>
                </a:cxn>
                <a:cxn ang="0">
                  <a:pos x="T8" y="T9"/>
                </a:cxn>
              </a:cxnLst>
              <a:rect l="0" t="0" r="r" b="b"/>
              <a:pathLst>
                <a:path w="15" h="2">
                  <a:moveTo>
                    <a:pt x="15" y="0"/>
                  </a:moveTo>
                  <a:cubicBezTo>
                    <a:pt x="0" y="0"/>
                    <a:pt x="0" y="0"/>
                    <a:pt x="0" y="0"/>
                  </a:cubicBezTo>
                  <a:cubicBezTo>
                    <a:pt x="3" y="1"/>
                    <a:pt x="7" y="2"/>
                    <a:pt x="10" y="2"/>
                  </a:cubicBezTo>
                  <a:cubicBezTo>
                    <a:pt x="11" y="2"/>
                    <a:pt x="11" y="2"/>
                    <a:pt x="12" y="2"/>
                  </a:cubicBezTo>
                  <a:cubicBezTo>
                    <a:pt x="13" y="2"/>
                    <a:pt x="14"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81"/>
            <p:cNvSpPr/>
            <p:nvPr/>
          </p:nvSpPr>
          <p:spPr bwMode="auto">
            <a:xfrm>
              <a:off x="8683616" y="599309"/>
              <a:ext cx="82550" cy="22225"/>
            </a:xfrm>
            <a:custGeom>
              <a:gdLst>
                <a:gd name="T0" fmla="*/ 22 w 22"/>
                <a:gd name="T1" fmla="*/ 0 h 6"/>
                <a:gd name="T2" fmla="*/ 0 w 22"/>
                <a:gd name="T3" fmla="*/ 0 h 6"/>
                <a:gd name="T4" fmla="*/ 0 w 22"/>
                <a:gd name="T5" fmla="*/ 3 h 6"/>
                <a:gd name="T6" fmla="*/ 4 w 22"/>
                <a:gd name="T7" fmla="*/ 5 h 6"/>
                <a:gd name="T8" fmla="*/ 9 w 22"/>
                <a:gd name="T9" fmla="*/ 6 h 6"/>
                <a:gd name="T10" fmla="*/ 9 w 22"/>
                <a:gd name="T11" fmla="*/ 6 h 6"/>
                <a:gd name="T12" fmla="*/ 15 w 22"/>
                <a:gd name="T13" fmla="*/ 6 h 6"/>
                <a:gd name="T14" fmla="*/ 15 w 22"/>
                <a:gd name="T15" fmla="*/ 6 h 6"/>
                <a:gd name="T16" fmla="*/ 17 w 22"/>
                <a:gd name="T17" fmla="*/ 6 h 6"/>
                <a:gd name="T18" fmla="*/ 20 w 22"/>
                <a:gd name="T19" fmla="*/ 5 h 6"/>
                <a:gd name="T20" fmla="*/ 22 w 22"/>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6">
                  <a:moveTo>
                    <a:pt x="22" y="0"/>
                  </a:moveTo>
                  <a:cubicBezTo>
                    <a:pt x="0" y="0"/>
                    <a:pt x="0" y="0"/>
                    <a:pt x="0" y="0"/>
                  </a:cubicBezTo>
                  <a:cubicBezTo>
                    <a:pt x="0" y="1"/>
                    <a:pt x="0" y="2"/>
                    <a:pt x="0" y="3"/>
                  </a:cubicBezTo>
                  <a:cubicBezTo>
                    <a:pt x="1" y="4"/>
                    <a:pt x="3" y="4"/>
                    <a:pt x="4" y="5"/>
                  </a:cubicBezTo>
                  <a:cubicBezTo>
                    <a:pt x="6" y="5"/>
                    <a:pt x="7" y="6"/>
                    <a:pt x="9" y="6"/>
                  </a:cubicBezTo>
                  <a:cubicBezTo>
                    <a:pt x="9" y="6"/>
                    <a:pt x="9" y="6"/>
                    <a:pt x="9" y="6"/>
                  </a:cubicBezTo>
                  <a:cubicBezTo>
                    <a:pt x="11" y="6"/>
                    <a:pt x="13" y="6"/>
                    <a:pt x="15" y="6"/>
                  </a:cubicBezTo>
                  <a:cubicBezTo>
                    <a:pt x="15" y="6"/>
                    <a:pt x="15" y="6"/>
                    <a:pt x="15" y="6"/>
                  </a:cubicBezTo>
                  <a:cubicBezTo>
                    <a:pt x="16" y="6"/>
                    <a:pt x="17" y="6"/>
                    <a:pt x="17" y="6"/>
                  </a:cubicBezTo>
                  <a:cubicBezTo>
                    <a:pt x="18" y="6"/>
                    <a:pt x="19" y="5"/>
                    <a:pt x="20" y="5"/>
                  </a:cubicBezTo>
                  <a:cubicBezTo>
                    <a:pt x="22" y="4"/>
                    <a:pt x="22" y="2"/>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82"/>
            <p:cNvSpPr/>
            <p:nvPr/>
          </p:nvSpPr>
          <p:spPr bwMode="auto">
            <a:xfrm>
              <a:off x="7442191" y="794572"/>
              <a:ext cx="3175" cy="3175"/>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1" y="0"/>
                    <a:pt x="1" y="1"/>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83"/>
            <p:cNvSpPr/>
            <p:nvPr/>
          </p:nvSpPr>
          <p:spPr bwMode="auto">
            <a:xfrm>
              <a:off x="6950066" y="599309"/>
              <a:ext cx="498475" cy="274638"/>
            </a:xfrm>
            <a:custGeom>
              <a:gdLst>
                <a:gd name="T0" fmla="*/ 96 w 133"/>
                <a:gd name="T1" fmla="*/ 4 h 73"/>
                <a:gd name="T2" fmla="*/ 90 w 133"/>
                <a:gd name="T3" fmla="*/ 5 h 73"/>
                <a:gd name="T4" fmla="*/ 87 w 133"/>
                <a:gd name="T5" fmla="*/ 0 h 73"/>
                <a:gd name="T6" fmla="*/ 49 w 133"/>
                <a:gd name="T7" fmla="*/ 0 h 73"/>
                <a:gd name="T8" fmla="*/ 60 w 133"/>
                <a:gd name="T9" fmla="*/ 7 h 73"/>
                <a:gd name="T10" fmla="*/ 65 w 133"/>
                <a:gd name="T11" fmla="*/ 7 h 73"/>
                <a:gd name="T12" fmla="*/ 69 w 133"/>
                <a:gd name="T13" fmla="*/ 10 h 73"/>
                <a:gd name="T14" fmla="*/ 68 w 133"/>
                <a:gd name="T15" fmla="*/ 12 h 73"/>
                <a:gd name="T16" fmla="*/ 58 w 133"/>
                <a:gd name="T17" fmla="*/ 12 h 73"/>
                <a:gd name="T18" fmla="*/ 73 w 133"/>
                <a:gd name="T19" fmla="*/ 16 h 73"/>
                <a:gd name="T20" fmla="*/ 83 w 133"/>
                <a:gd name="T21" fmla="*/ 17 h 73"/>
                <a:gd name="T22" fmla="*/ 68 w 133"/>
                <a:gd name="T23" fmla="*/ 17 h 73"/>
                <a:gd name="T24" fmla="*/ 73 w 133"/>
                <a:gd name="T25" fmla="*/ 27 h 73"/>
                <a:gd name="T26" fmla="*/ 76 w 133"/>
                <a:gd name="T27" fmla="*/ 28 h 73"/>
                <a:gd name="T28" fmla="*/ 56 w 133"/>
                <a:gd name="T29" fmla="*/ 20 h 73"/>
                <a:gd name="T30" fmla="*/ 55 w 133"/>
                <a:gd name="T31" fmla="*/ 19 h 73"/>
                <a:gd name="T32" fmla="*/ 30 w 133"/>
                <a:gd name="T33" fmla="*/ 3 h 73"/>
                <a:gd name="T34" fmla="*/ 24 w 133"/>
                <a:gd name="T35" fmla="*/ 7 h 73"/>
                <a:gd name="T36" fmla="*/ 20 w 133"/>
                <a:gd name="T37" fmla="*/ 13 h 73"/>
                <a:gd name="T38" fmla="*/ 23 w 133"/>
                <a:gd name="T39" fmla="*/ 14 h 73"/>
                <a:gd name="T40" fmla="*/ 33 w 133"/>
                <a:gd name="T41" fmla="*/ 13 h 73"/>
                <a:gd name="T42" fmla="*/ 30 w 133"/>
                <a:gd name="T43" fmla="*/ 25 h 73"/>
                <a:gd name="T44" fmla="*/ 35 w 133"/>
                <a:gd name="T45" fmla="*/ 32 h 73"/>
                <a:gd name="T46" fmla="*/ 48 w 133"/>
                <a:gd name="T47" fmla="*/ 34 h 73"/>
                <a:gd name="T48" fmla="*/ 23 w 133"/>
                <a:gd name="T49" fmla="*/ 30 h 73"/>
                <a:gd name="T50" fmla="*/ 21 w 133"/>
                <a:gd name="T51" fmla="*/ 35 h 73"/>
                <a:gd name="T52" fmla="*/ 13 w 133"/>
                <a:gd name="T53" fmla="*/ 37 h 73"/>
                <a:gd name="T54" fmla="*/ 10 w 133"/>
                <a:gd name="T55" fmla="*/ 48 h 73"/>
                <a:gd name="T56" fmla="*/ 22 w 133"/>
                <a:gd name="T57" fmla="*/ 46 h 73"/>
                <a:gd name="T58" fmla="*/ 36 w 133"/>
                <a:gd name="T59" fmla="*/ 43 h 73"/>
                <a:gd name="T60" fmla="*/ 39 w 133"/>
                <a:gd name="T61" fmla="*/ 44 h 73"/>
                <a:gd name="T62" fmla="*/ 49 w 133"/>
                <a:gd name="T63" fmla="*/ 43 h 73"/>
                <a:gd name="T64" fmla="*/ 79 w 133"/>
                <a:gd name="T65" fmla="*/ 39 h 73"/>
                <a:gd name="T66" fmla="*/ 91 w 133"/>
                <a:gd name="T67" fmla="*/ 38 h 73"/>
                <a:gd name="T68" fmla="*/ 85 w 133"/>
                <a:gd name="T69" fmla="*/ 40 h 73"/>
                <a:gd name="T70" fmla="*/ 77 w 133"/>
                <a:gd name="T71" fmla="*/ 43 h 73"/>
                <a:gd name="T72" fmla="*/ 70 w 133"/>
                <a:gd name="T73" fmla="*/ 48 h 73"/>
                <a:gd name="T74" fmla="*/ 62 w 133"/>
                <a:gd name="T75" fmla="*/ 51 h 73"/>
                <a:gd name="T76" fmla="*/ 52 w 133"/>
                <a:gd name="T77" fmla="*/ 55 h 73"/>
                <a:gd name="T78" fmla="*/ 62 w 133"/>
                <a:gd name="T79" fmla="*/ 57 h 73"/>
                <a:gd name="T80" fmla="*/ 60 w 133"/>
                <a:gd name="T81" fmla="*/ 70 h 73"/>
                <a:gd name="T82" fmla="*/ 79 w 133"/>
                <a:gd name="T83" fmla="*/ 73 h 73"/>
                <a:gd name="T84" fmla="*/ 114 w 133"/>
                <a:gd name="T85" fmla="*/ 71 h 73"/>
                <a:gd name="T86" fmla="*/ 119 w 133"/>
                <a:gd name="T87" fmla="*/ 64 h 73"/>
                <a:gd name="T88" fmla="*/ 121 w 133"/>
                <a:gd name="T89" fmla="*/ 63 h 73"/>
                <a:gd name="T90" fmla="*/ 122 w 133"/>
                <a:gd name="T91" fmla="*/ 45 h 73"/>
                <a:gd name="T92" fmla="*/ 129 w 133"/>
                <a:gd name="T93" fmla="*/ 39 h 73"/>
                <a:gd name="T94" fmla="*/ 125 w 133"/>
                <a:gd name="T95" fmla="*/ 13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73">
                  <a:moveTo>
                    <a:pt x="120" y="0"/>
                  </a:moveTo>
                  <a:cubicBezTo>
                    <a:pt x="93" y="0"/>
                    <a:pt x="93" y="0"/>
                    <a:pt x="93" y="0"/>
                  </a:cubicBezTo>
                  <a:cubicBezTo>
                    <a:pt x="94" y="1"/>
                    <a:pt x="95" y="2"/>
                    <a:pt x="95" y="3"/>
                  </a:cubicBezTo>
                  <a:cubicBezTo>
                    <a:pt x="96" y="3"/>
                    <a:pt x="96" y="4"/>
                    <a:pt x="96" y="4"/>
                  </a:cubicBezTo>
                  <a:cubicBezTo>
                    <a:pt x="95" y="4"/>
                    <a:pt x="93" y="2"/>
                    <a:pt x="93" y="2"/>
                  </a:cubicBezTo>
                  <a:cubicBezTo>
                    <a:pt x="93" y="2"/>
                    <a:pt x="93" y="2"/>
                    <a:pt x="93" y="2"/>
                  </a:cubicBezTo>
                  <a:cubicBezTo>
                    <a:pt x="92" y="2"/>
                    <a:pt x="91" y="5"/>
                    <a:pt x="90" y="5"/>
                  </a:cubicBezTo>
                  <a:cubicBezTo>
                    <a:pt x="90" y="5"/>
                    <a:pt x="90" y="5"/>
                    <a:pt x="90" y="5"/>
                  </a:cubicBezTo>
                  <a:cubicBezTo>
                    <a:pt x="90" y="5"/>
                    <a:pt x="89" y="4"/>
                    <a:pt x="88" y="4"/>
                  </a:cubicBezTo>
                  <a:cubicBezTo>
                    <a:pt x="86" y="2"/>
                    <a:pt x="89" y="1"/>
                    <a:pt x="89" y="1"/>
                  </a:cubicBezTo>
                  <a:cubicBezTo>
                    <a:pt x="88" y="0"/>
                    <a:pt x="88" y="0"/>
                    <a:pt x="88" y="0"/>
                  </a:cubicBezTo>
                  <a:cubicBezTo>
                    <a:pt x="88" y="0"/>
                    <a:pt x="88" y="0"/>
                    <a:pt x="87" y="0"/>
                  </a:cubicBezTo>
                  <a:cubicBezTo>
                    <a:pt x="87" y="0"/>
                    <a:pt x="87" y="1"/>
                    <a:pt x="86" y="1"/>
                  </a:cubicBezTo>
                  <a:cubicBezTo>
                    <a:pt x="86" y="1"/>
                    <a:pt x="86" y="1"/>
                    <a:pt x="86" y="0"/>
                  </a:cubicBezTo>
                  <a:cubicBezTo>
                    <a:pt x="85" y="0"/>
                    <a:pt x="85" y="0"/>
                    <a:pt x="85" y="0"/>
                  </a:cubicBezTo>
                  <a:cubicBezTo>
                    <a:pt x="49" y="0"/>
                    <a:pt x="49" y="0"/>
                    <a:pt x="49" y="0"/>
                  </a:cubicBezTo>
                  <a:cubicBezTo>
                    <a:pt x="48" y="0"/>
                    <a:pt x="46" y="1"/>
                    <a:pt x="48" y="2"/>
                  </a:cubicBezTo>
                  <a:cubicBezTo>
                    <a:pt x="49" y="3"/>
                    <a:pt x="51" y="6"/>
                    <a:pt x="53" y="6"/>
                  </a:cubicBezTo>
                  <a:cubicBezTo>
                    <a:pt x="54" y="7"/>
                    <a:pt x="55" y="7"/>
                    <a:pt x="56" y="7"/>
                  </a:cubicBezTo>
                  <a:cubicBezTo>
                    <a:pt x="57" y="7"/>
                    <a:pt x="59" y="7"/>
                    <a:pt x="60" y="7"/>
                  </a:cubicBezTo>
                  <a:cubicBezTo>
                    <a:pt x="60" y="6"/>
                    <a:pt x="61" y="6"/>
                    <a:pt x="62" y="6"/>
                  </a:cubicBezTo>
                  <a:cubicBezTo>
                    <a:pt x="62" y="6"/>
                    <a:pt x="62" y="6"/>
                    <a:pt x="63" y="6"/>
                  </a:cubicBezTo>
                  <a:cubicBezTo>
                    <a:pt x="63" y="6"/>
                    <a:pt x="64" y="7"/>
                    <a:pt x="64" y="7"/>
                  </a:cubicBezTo>
                  <a:cubicBezTo>
                    <a:pt x="64" y="7"/>
                    <a:pt x="64" y="7"/>
                    <a:pt x="65" y="7"/>
                  </a:cubicBezTo>
                  <a:cubicBezTo>
                    <a:pt x="65" y="7"/>
                    <a:pt x="65" y="7"/>
                    <a:pt x="65" y="7"/>
                  </a:cubicBezTo>
                  <a:cubicBezTo>
                    <a:pt x="66" y="7"/>
                    <a:pt x="65" y="7"/>
                    <a:pt x="66" y="7"/>
                  </a:cubicBezTo>
                  <a:cubicBezTo>
                    <a:pt x="67" y="8"/>
                    <a:pt x="69" y="9"/>
                    <a:pt x="71" y="9"/>
                  </a:cubicBezTo>
                  <a:cubicBezTo>
                    <a:pt x="70" y="10"/>
                    <a:pt x="70" y="10"/>
                    <a:pt x="69" y="10"/>
                  </a:cubicBezTo>
                  <a:cubicBezTo>
                    <a:pt x="70" y="11"/>
                    <a:pt x="72" y="11"/>
                    <a:pt x="73" y="11"/>
                  </a:cubicBezTo>
                  <a:cubicBezTo>
                    <a:pt x="72" y="11"/>
                    <a:pt x="72" y="11"/>
                    <a:pt x="71" y="11"/>
                  </a:cubicBezTo>
                  <a:cubicBezTo>
                    <a:pt x="69" y="11"/>
                    <a:pt x="67" y="10"/>
                    <a:pt x="65" y="10"/>
                  </a:cubicBezTo>
                  <a:cubicBezTo>
                    <a:pt x="66" y="10"/>
                    <a:pt x="67" y="11"/>
                    <a:pt x="68" y="12"/>
                  </a:cubicBezTo>
                  <a:cubicBezTo>
                    <a:pt x="67" y="12"/>
                    <a:pt x="67" y="12"/>
                    <a:pt x="67" y="12"/>
                  </a:cubicBezTo>
                  <a:cubicBezTo>
                    <a:pt x="66" y="12"/>
                    <a:pt x="65" y="12"/>
                    <a:pt x="64" y="11"/>
                  </a:cubicBezTo>
                  <a:cubicBezTo>
                    <a:pt x="63" y="11"/>
                    <a:pt x="62" y="11"/>
                    <a:pt x="62" y="11"/>
                  </a:cubicBezTo>
                  <a:cubicBezTo>
                    <a:pt x="60" y="11"/>
                    <a:pt x="59" y="11"/>
                    <a:pt x="58" y="12"/>
                  </a:cubicBezTo>
                  <a:cubicBezTo>
                    <a:pt x="57" y="14"/>
                    <a:pt x="64" y="15"/>
                    <a:pt x="65" y="15"/>
                  </a:cubicBezTo>
                  <a:cubicBezTo>
                    <a:pt x="65" y="15"/>
                    <a:pt x="65" y="15"/>
                    <a:pt x="65" y="15"/>
                  </a:cubicBezTo>
                  <a:cubicBezTo>
                    <a:pt x="66" y="15"/>
                    <a:pt x="67" y="15"/>
                    <a:pt x="68" y="15"/>
                  </a:cubicBezTo>
                  <a:cubicBezTo>
                    <a:pt x="69" y="15"/>
                    <a:pt x="71" y="16"/>
                    <a:pt x="73" y="16"/>
                  </a:cubicBezTo>
                  <a:cubicBezTo>
                    <a:pt x="74" y="17"/>
                    <a:pt x="76" y="17"/>
                    <a:pt x="77" y="17"/>
                  </a:cubicBezTo>
                  <a:cubicBezTo>
                    <a:pt x="78" y="17"/>
                    <a:pt x="79" y="17"/>
                    <a:pt x="80" y="17"/>
                  </a:cubicBezTo>
                  <a:cubicBezTo>
                    <a:pt x="80" y="17"/>
                    <a:pt x="81" y="17"/>
                    <a:pt x="82" y="17"/>
                  </a:cubicBezTo>
                  <a:cubicBezTo>
                    <a:pt x="83" y="17"/>
                    <a:pt x="83" y="17"/>
                    <a:pt x="83" y="17"/>
                  </a:cubicBezTo>
                  <a:cubicBezTo>
                    <a:pt x="81" y="18"/>
                    <a:pt x="79" y="18"/>
                    <a:pt x="77" y="18"/>
                  </a:cubicBezTo>
                  <a:cubicBezTo>
                    <a:pt x="75" y="18"/>
                    <a:pt x="74" y="18"/>
                    <a:pt x="73" y="18"/>
                  </a:cubicBezTo>
                  <a:cubicBezTo>
                    <a:pt x="71" y="18"/>
                    <a:pt x="70" y="17"/>
                    <a:pt x="68" y="17"/>
                  </a:cubicBezTo>
                  <a:cubicBezTo>
                    <a:pt x="68" y="17"/>
                    <a:pt x="68" y="17"/>
                    <a:pt x="68" y="17"/>
                  </a:cubicBezTo>
                  <a:cubicBezTo>
                    <a:pt x="68" y="17"/>
                    <a:pt x="65" y="17"/>
                    <a:pt x="65" y="18"/>
                  </a:cubicBezTo>
                  <a:cubicBezTo>
                    <a:pt x="65" y="19"/>
                    <a:pt x="66" y="19"/>
                    <a:pt x="67" y="20"/>
                  </a:cubicBezTo>
                  <a:cubicBezTo>
                    <a:pt x="68" y="23"/>
                    <a:pt x="70" y="25"/>
                    <a:pt x="72" y="27"/>
                  </a:cubicBezTo>
                  <a:cubicBezTo>
                    <a:pt x="72" y="27"/>
                    <a:pt x="73" y="27"/>
                    <a:pt x="73" y="27"/>
                  </a:cubicBezTo>
                  <a:cubicBezTo>
                    <a:pt x="75" y="27"/>
                    <a:pt x="76" y="27"/>
                    <a:pt x="77" y="27"/>
                  </a:cubicBezTo>
                  <a:cubicBezTo>
                    <a:pt x="79" y="26"/>
                    <a:pt x="80" y="26"/>
                    <a:pt x="81" y="26"/>
                  </a:cubicBezTo>
                  <a:cubicBezTo>
                    <a:pt x="82" y="26"/>
                    <a:pt x="82" y="26"/>
                    <a:pt x="82" y="26"/>
                  </a:cubicBezTo>
                  <a:cubicBezTo>
                    <a:pt x="80" y="27"/>
                    <a:pt x="78" y="28"/>
                    <a:pt x="76" y="28"/>
                  </a:cubicBezTo>
                  <a:cubicBezTo>
                    <a:pt x="74" y="29"/>
                    <a:pt x="73" y="29"/>
                    <a:pt x="72" y="29"/>
                  </a:cubicBezTo>
                  <a:cubicBezTo>
                    <a:pt x="72" y="29"/>
                    <a:pt x="71" y="29"/>
                    <a:pt x="70" y="28"/>
                  </a:cubicBezTo>
                  <a:cubicBezTo>
                    <a:pt x="67" y="27"/>
                    <a:pt x="66" y="26"/>
                    <a:pt x="63" y="24"/>
                  </a:cubicBezTo>
                  <a:cubicBezTo>
                    <a:pt x="61" y="21"/>
                    <a:pt x="59" y="21"/>
                    <a:pt x="56" y="20"/>
                  </a:cubicBezTo>
                  <a:cubicBezTo>
                    <a:pt x="57" y="20"/>
                    <a:pt x="58" y="20"/>
                    <a:pt x="59" y="19"/>
                  </a:cubicBezTo>
                  <a:cubicBezTo>
                    <a:pt x="59" y="19"/>
                    <a:pt x="59" y="19"/>
                    <a:pt x="59" y="19"/>
                  </a:cubicBezTo>
                  <a:cubicBezTo>
                    <a:pt x="58" y="19"/>
                    <a:pt x="58" y="19"/>
                    <a:pt x="57" y="19"/>
                  </a:cubicBezTo>
                  <a:cubicBezTo>
                    <a:pt x="56" y="19"/>
                    <a:pt x="56" y="19"/>
                    <a:pt x="55" y="19"/>
                  </a:cubicBezTo>
                  <a:cubicBezTo>
                    <a:pt x="55" y="19"/>
                    <a:pt x="54" y="19"/>
                    <a:pt x="54" y="19"/>
                  </a:cubicBezTo>
                  <a:cubicBezTo>
                    <a:pt x="55" y="17"/>
                    <a:pt x="51" y="15"/>
                    <a:pt x="49" y="14"/>
                  </a:cubicBezTo>
                  <a:cubicBezTo>
                    <a:pt x="44" y="12"/>
                    <a:pt x="41" y="4"/>
                    <a:pt x="35" y="4"/>
                  </a:cubicBezTo>
                  <a:cubicBezTo>
                    <a:pt x="35" y="3"/>
                    <a:pt x="32" y="3"/>
                    <a:pt x="30" y="3"/>
                  </a:cubicBezTo>
                  <a:cubicBezTo>
                    <a:pt x="27" y="3"/>
                    <a:pt x="23" y="4"/>
                    <a:pt x="23" y="5"/>
                  </a:cubicBezTo>
                  <a:cubicBezTo>
                    <a:pt x="23" y="5"/>
                    <a:pt x="23" y="5"/>
                    <a:pt x="23" y="5"/>
                  </a:cubicBezTo>
                  <a:cubicBezTo>
                    <a:pt x="23" y="6"/>
                    <a:pt x="23" y="6"/>
                    <a:pt x="23" y="6"/>
                  </a:cubicBezTo>
                  <a:cubicBezTo>
                    <a:pt x="23" y="6"/>
                    <a:pt x="23" y="7"/>
                    <a:pt x="24" y="7"/>
                  </a:cubicBezTo>
                  <a:cubicBezTo>
                    <a:pt x="23" y="8"/>
                    <a:pt x="23" y="8"/>
                    <a:pt x="23" y="8"/>
                  </a:cubicBezTo>
                  <a:cubicBezTo>
                    <a:pt x="23" y="8"/>
                    <a:pt x="23" y="7"/>
                    <a:pt x="23" y="7"/>
                  </a:cubicBezTo>
                  <a:cubicBezTo>
                    <a:pt x="22" y="7"/>
                    <a:pt x="22" y="8"/>
                    <a:pt x="22" y="9"/>
                  </a:cubicBezTo>
                  <a:cubicBezTo>
                    <a:pt x="22" y="9"/>
                    <a:pt x="20" y="13"/>
                    <a:pt x="20" y="13"/>
                  </a:cubicBezTo>
                  <a:cubicBezTo>
                    <a:pt x="20" y="14"/>
                    <a:pt x="21" y="14"/>
                    <a:pt x="21" y="14"/>
                  </a:cubicBezTo>
                  <a:cubicBezTo>
                    <a:pt x="22" y="14"/>
                    <a:pt x="22" y="14"/>
                    <a:pt x="22" y="14"/>
                  </a:cubicBezTo>
                  <a:cubicBezTo>
                    <a:pt x="23" y="14"/>
                    <a:pt x="23" y="14"/>
                    <a:pt x="23" y="13"/>
                  </a:cubicBezTo>
                  <a:cubicBezTo>
                    <a:pt x="23" y="14"/>
                    <a:pt x="23" y="14"/>
                    <a:pt x="23" y="14"/>
                  </a:cubicBezTo>
                  <a:cubicBezTo>
                    <a:pt x="24" y="14"/>
                    <a:pt x="24" y="14"/>
                    <a:pt x="25" y="14"/>
                  </a:cubicBezTo>
                  <a:cubicBezTo>
                    <a:pt x="26" y="14"/>
                    <a:pt x="27" y="14"/>
                    <a:pt x="29" y="14"/>
                  </a:cubicBezTo>
                  <a:cubicBezTo>
                    <a:pt x="29" y="14"/>
                    <a:pt x="29" y="14"/>
                    <a:pt x="29" y="14"/>
                  </a:cubicBezTo>
                  <a:cubicBezTo>
                    <a:pt x="30" y="14"/>
                    <a:pt x="31" y="14"/>
                    <a:pt x="33" y="13"/>
                  </a:cubicBezTo>
                  <a:cubicBezTo>
                    <a:pt x="34" y="13"/>
                    <a:pt x="35" y="13"/>
                    <a:pt x="37" y="13"/>
                  </a:cubicBezTo>
                  <a:cubicBezTo>
                    <a:pt x="37" y="13"/>
                    <a:pt x="37" y="13"/>
                    <a:pt x="37" y="13"/>
                  </a:cubicBezTo>
                  <a:cubicBezTo>
                    <a:pt x="33" y="16"/>
                    <a:pt x="26" y="15"/>
                    <a:pt x="27" y="21"/>
                  </a:cubicBezTo>
                  <a:cubicBezTo>
                    <a:pt x="27" y="24"/>
                    <a:pt x="28" y="25"/>
                    <a:pt x="30" y="25"/>
                  </a:cubicBezTo>
                  <a:cubicBezTo>
                    <a:pt x="32" y="25"/>
                    <a:pt x="33" y="25"/>
                    <a:pt x="34" y="25"/>
                  </a:cubicBezTo>
                  <a:cubicBezTo>
                    <a:pt x="36" y="24"/>
                    <a:pt x="37" y="24"/>
                    <a:pt x="38" y="24"/>
                  </a:cubicBezTo>
                  <a:cubicBezTo>
                    <a:pt x="38" y="24"/>
                    <a:pt x="39" y="24"/>
                    <a:pt x="39" y="24"/>
                  </a:cubicBezTo>
                  <a:cubicBezTo>
                    <a:pt x="37" y="26"/>
                    <a:pt x="31" y="29"/>
                    <a:pt x="35" y="32"/>
                  </a:cubicBezTo>
                  <a:cubicBezTo>
                    <a:pt x="38" y="34"/>
                    <a:pt x="39" y="34"/>
                    <a:pt x="41" y="34"/>
                  </a:cubicBezTo>
                  <a:cubicBezTo>
                    <a:pt x="42" y="34"/>
                    <a:pt x="43" y="34"/>
                    <a:pt x="44" y="34"/>
                  </a:cubicBezTo>
                  <a:cubicBezTo>
                    <a:pt x="45" y="34"/>
                    <a:pt x="46" y="34"/>
                    <a:pt x="48" y="34"/>
                  </a:cubicBezTo>
                  <a:cubicBezTo>
                    <a:pt x="48" y="34"/>
                    <a:pt x="48" y="34"/>
                    <a:pt x="48" y="34"/>
                  </a:cubicBezTo>
                  <a:cubicBezTo>
                    <a:pt x="46" y="35"/>
                    <a:pt x="45" y="35"/>
                    <a:pt x="43" y="35"/>
                  </a:cubicBezTo>
                  <a:cubicBezTo>
                    <a:pt x="39" y="35"/>
                    <a:pt x="36" y="33"/>
                    <a:pt x="32" y="32"/>
                  </a:cubicBezTo>
                  <a:cubicBezTo>
                    <a:pt x="31" y="31"/>
                    <a:pt x="28" y="29"/>
                    <a:pt x="25" y="29"/>
                  </a:cubicBezTo>
                  <a:cubicBezTo>
                    <a:pt x="24" y="29"/>
                    <a:pt x="24" y="29"/>
                    <a:pt x="23" y="30"/>
                  </a:cubicBezTo>
                  <a:cubicBezTo>
                    <a:pt x="23" y="30"/>
                    <a:pt x="23" y="30"/>
                    <a:pt x="23" y="30"/>
                  </a:cubicBezTo>
                  <a:cubicBezTo>
                    <a:pt x="23" y="30"/>
                    <a:pt x="23" y="30"/>
                    <a:pt x="23" y="30"/>
                  </a:cubicBezTo>
                  <a:cubicBezTo>
                    <a:pt x="21" y="30"/>
                    <a:pt x="18" y="30"/>
                    <a:pt x="16" y="32"/>
                  </a:cubicBezTo>
                  <a:cubicBezTo>
                    <a:pt x="17" y="33"/>
                    <a:pt x="19" y="33"/>
                    <a:pt x="21" y="35"/>
                  </a:cubicBezTo>
                  <a:cubicBezTo>
                    <a:pt x="16" y="36"/>
                    <a:pt x="21" y="37"/>
                    <a:pt x="23" y="39"/>
                  </a:cubicBezTo>
                  <a:cubicBezTo>
                    <a:pt x="22" y="39"/>
                    <a:pt x="22" y="39"/>
                    <a:pt x="22" y="39"/>
                  </a:cubicBezTo>
                  <a:cubicBezTo>
                    <a:pt x="20" y="39"/>
                    <a:pt x="19" y="38"/>
                    <a:pt x="17" y="38"/>
                  </a:cubicBezTo>
                  <a:cubicBezTo>
                    <a:pt x="16" y="38"/>
                    <a:pt x="15" y="37"/>
                    <a:pt x="13" y="37"/>
                  </a:cubicBezTo>
                  <a:cubicBezTo>
                    <a:pt x="12" y="37"/>
                    <a:pt x="11" y="38"/>
                    <a:pt x="10" y="38"/>
                  </a:cubicBezTo>
                  <a:cubicBezTo>
                    <a:pt x="11" y="40"/>
                    <a:pt x="0" y="41"/>
                    <a:pt x="4" y="44"/>
                  </a:cubicBezTo>
                  <a:cubicBezTo>
                    <a:pt x="6" y="46"/>
                    <a:pt x="7" y="48"/>
                    <a:pt x="9" y="48"/>
                  </a:cubicBezTo>
                  <a:cubicBezTo>
                    <a:pt x="10" y="48"/>
                    <a:pt x="10" y="48"/>
                    <a:pt x="10" y="48"/>
                  </a:cubicBezTo>
                  <a:cubicBezTo>
                    <a:pt x="13" y="48"/>
                    <a:pt x="15" y="46"/>
                    <a:pt x="18" y="46"/>
                  </a:cubicBezTo>
                  <a:cubicBezTo>
                    <a:pt x="18" y="46"/>
                    <a:pt x="18" y="46"/>
                    <a:pt x="18" y="46"/>
                  </a:cubicBezTo>
                  <a:cubicBezTo>
                    <a:pt x="20" y="46"/>
                    <a:pt x="21" y="46"/>
                    <a:pt x="22" y="46"/>
                  </a:cubicBezTo>
                  <a:cubicBezTo>
                    <a:pt x="22" y="46"/>
                    <a:pt x="22" y="46"/>
                    <a:pt x="22" y="46"/>
                  </a:cubicBezTo>
                  <a:cubicBezTo>
                    <a:pt x="22" y="46"/>
                    <a:pt x="23" y="46"/>
                    <a:pt x="23" y="45"/>
                  </a:cubicBezTo>
                  <a:cubicBezTo>
                    <a:pt x="23" y="46"/>
                    <a:pt x="23" y="46"/>
                    <a:pt x="23" y="46"/>
                  </a:cubicBezTo>
                  <a:cubicBezTo>
                    <a:pt x="27" y="45"/>
                    <a:pt x="32" y="43"/>
                    <a:pt x="36" y="43"/>
                  </a:cubicBezTo>
                  <a:cubicBezTo>
                    <a:pt x="36" y="43"/>
                    <a:pt x="36" y="43"/>
                    <a:pt x="36" y="43"/>
                  </a:cubicBezTo>
                  <a:cubicBezTo>
                    <a:pt x="37" y="43"/>
                    <a:pt x="37" y="44"/>
                    <a:pt x="37" y="44"/>
                  </a:cubicBezTo>
                  <a:cubicBezTo>
                    <a:pt x="37" y="44"/>
                    <a:pt x="37" y="44"/>
                    <a:pt x="37" y="44"/>
                  </a:cubicBezTo>
                  <a:cubicBezTo>
                    <a:pt x="38" y="44"/>
                    <a:pt x="38" y="44"/>
                    <a:pt x="38" y="44"/>
                  </a:cubicBezTo>
                  <a:cubicBezTo>
                    <a:pt x="38" y="44"/>
                    <a:pt x="39" y="44"/>
                    <a:pt x="39" y="44"/>
                  </a:cubicBezTo>
                  <a:cubicBezTo>
                    <a:pt x="39" y="44"/>
                    <a:pt x="39" y="44"/>
                    <a:pt x="39" y="44"/>
                  </a:cubicBezTo>
                  <a:cubicBezTo>
                    <a:pt x="39" y="44"/>
                    <a:pt x="39" y="44"/>
                    <a:pt x="39" y="44"/>
                  </a:cubicBezTo>
                  <a:cubicBezTo>
                    <a:pt x="40" y="44"/>
                    <a:pt x="41" y="44"/>
                    <a:pt x="42" y="44"/>
                  </a:cubicBezTo>
                  <a:cubicBezTo>
                    <a:pt x="45" y="43"/>
                    <a:pt x="46" y="43"/>
                    <a:pt x="49" y="43"/>
                  </a:cubicBezTo>
                  <a:cubicBezTo>
                    <a:pt x="54" y="42"/>
                    <a:pt x="58" y="42"/>
                    <a:pt x="62" y="41"/>
                  </a:cubicBezTo>
                  <a:cubicBezTo>
                    <a:pt x="67" y="41"/>
                    <a:pt x="71" y="40"/>
                    <a:pt x="75" y="39"/>
                  </a:cubicBezTo>
                  <a:cubicBezTo>
                    <a:pt x="76" y="39"/>
                    <a:pt x="76" y="39"/>
                    <a:pt x="77" y="39"/>
                  </a:cubicBezTo>
                  <a:cubicBezTo>
                    <a:pt x="78" y="39"/>
                    <a:pt x="78" y="39"/>
                    <a:pt x="79" y="39"/>
                  </a:cubicBezTo>
                  <a:cubicBezTo>
                    <a:pt x="78" y="40"/>
                    <a:pt x="78" y="40"/>
                    <a:pt x="78" y="40"/>
                  </a:cubicBezTo>
                  <a:cubicBezTo>
                    <a:pt x="78" y="40"/>
                    <a:pt x="79" y="40"/>
                    <a:pt x="79" y="40"/>
                  </a:cubicBezTo>
                  <a:cubicBezTo>
                    <a:pt x="81" y="40"/>
                    <a:pt x="83" y="40"/>
                    <a:pt x="85" y="39"/>
                  </a:cubicBezTo>
                  <a:cubicBezTo>
                    <a:pt x="87" y="39"/>
                    <a:pt x="89" y="38"/>
                    <a:pt x="91" y="38"/>
                  </a:cubicBezTo>
                  <a:cubicBezTo>
                    <a:pt x="93" y="38"/>
                    <a:pt x="94" y="38"/>
                    <a:pt x="95" y="39"/>
                  </a:cubicBezTo>
                  <a:cubicBezTo>
                    <a:pt x="93" y="40"/>
                    <a:pt x="92" y="40"/>
                    <a:pt x="90" y="40"/>
                  </a:cubicBezTo>
                  <a:cubicBezTo>
                    <a:pt x="89" y="40"/>
                    <a:pt x="88" y="40"/>
                    <a:pt x="87" y="40"/>
                  </a:cubicBezTo>
                  <a:cubicBezTo>
                    <a:pt x="87" y="40"/>
                    <a:pt x="86" y="40"/>
                    <a:pt x="85" y="40"/>
                  </a:cubicBezTo>
                  <a:cubicBezTo>
                    <a:pt x="85" y="40"/>
                    <a:pt x="84" y="40"/>
                    <a:pt x="83" y="40"/>
                  </a:cubicBezTo>
                  <a:cubicBezTo>
                    <a:pt x="81" y="40"/>
                    <a:pt x="79" y="40"/>
                    <a:pt x="77" y="40"/>
                  </a:cubicBezTo>
                  <a:cubicBezTo>
                    <a:pt x="76" y="41"/>
                    <a:pt x="75" y="40"/>
                    <a:pt x="74" y="41"/>
                  </a:cubicBezTo>
                  <a:cubicBezTo>
                    <a:pt x="72" y="43"/>
                    <a:pt x="75" y="43"/>
                    <a:pt x="77" y="43"/>
                  </a:cubicBezTo>
                  <a:cubicBezTo>
                    <a:pt x="76" y="45"/>
                    <a:pt x="71" y="45"/>
                    <a:pt x="69" y="46"/>
                  </a:cubicBezTo>
                  <a:cubicBezTo>
                    <a:pt x="70" y="46"/>
                    <a:pt x="72" y="46"/>
                    <a:pt x="73" y="46"/>
                  </a:cubicBezTo>
                  <a:cubicBezTo>
                    <a:pt x="70" y="47"/>
                    <a:pt x="67" y="47"/>
                    <a:pt x="64" y="47"/>
                  </a:cubicBezTo>
                  <a:cubicBezTo>
                    <a:pt x="66" y="48"/>
                    <a:pt x="68" y="48"/>
                    <a:pt x="70" y="48"/>
                  </a:cubicBezTo>
                  <a:cubicBezTo>
                    <a:pt x="68" y="49"/>
                    <a:pt x="65" y="49"/>
                    <a:pt x="63" y="49"/>
                  </a:cubicBezTo>
                  <a:cubicBezTo>
                    <a:pt x="65" y="50"/>
                    <a:pt x="67" y="49"/>
                    <a:pt x="69" y="50"/>
                  </a:cubicBezTo>
                  <a:cubicBezTo>
                    <a:pt x="67" y="51"/>
                    <a:pt x="66" y="51"/>
                    <a:pt x="64" y="51"/>
                  </a:cubicBezTo>
                  <a:cubicBezTo>
                    <a:pt x="63" y="51"/>
                    <a:pt x="63" y="51"/>
                    <a:pt x="62" y="51"/>
                  </a:cubicBezTo>
                  <a:cubicBezTo>
                    <a:pt x="62" y="51"/>
                    <a:pt x="62" y="51"/>
                    <a:pt x="61" y="51"/>
                  </a:cubicBezTo>
                  <a:cubicBezTo>
                    <a:pt x="61" y="51"/>
                    <a:pt x="60" y="51"/>
                    <a:pt x="60" y="51"/>
                  </a:cubicBezTo>
                  <a:cubicBezTo>
                    <a:pt x="58" y="51"/>
                    <a:pt x="55" y="50"/>
                    <a:pt x="58" y="53"/>
                  </a:cubicBezTo>
                  <a:cubicBezTo>
                    <a:pt x="61" y="55"/>
                    <a:pt x="54" y="55"/>
                    <a:pt x="52" y="55"/>
                  </a:cubicBezTo>
                  <a:cubicBezTo>
                    <a:pt x="54" y="55"/>
                    <a:pt x="54" y="57"/>
                    <a:pt x="56" y="57"/>
                  </a:cubicBezTo>
                  <a:cubicBezTo>
                    <a:pt x="57" y="58"/>
                    <a:pt x="57" y="58"/>
                    <a:pt x="58" y="58"/>
                  </a:cubicBezTo>
                  <a:cubicBezTo>
                    <a:pt x="58" y="58"/>
                    <a:pt x="59" y="58"/>
                    <a:pt x="60" y="57"/>
                  </a:cubicBezTo>
                  <a:cubicBezTo>
                    <a:pt x="61" y="57"/>
                    <a:pt x="61" y="57"/>
                    <a:pt x="62" y="57"/>
                  </a:cubicBezTo>
                  <a:cubicBezTo>
                    <a:pt x="62" y="57"/>
                    <a:pt x="63" y="57"/>
                    <a:pt x="63" y="57"/>
                  </a:cubicBezTo>
                  <a:cubicBezTo>
                    <a:pt x="57" y="61"/>
                    <a:pt x="67" y="60"/>
                    <a:pt x="70" y="61"/>
                  </a:cubicBezTo>
                  <a:cubicBezTo>
                    <a:pt x="66" y="61"/>
                    <a:pt x="61" y="61"/>
                    <a:pt x="57" y="63"/>
                  </a:cubicBezTo>
                  <a:cubicBezTo>
                    <a:pt x="61" y="63"/>
                    <a:pt x="59" y="67"/>
                    <a:pt x="60" y="70"/>
                  </a:cubicBezTo>
                  <a:cubicBezTo>
                    <a:pt x="61" y="71"/>
                    <a:pt x="65" y="72"/>
                    <a:pt x="67" y="72"/>
                  </a:cubicBezTo>
                  <a:cubicBezTo>
                    <a:pt x="69" y="72"/>
                    <a:pt x="71" y="72"/>
                    <a:pt x="74" y="72"/>
                  </a:cubicBezTo>
                  <a:cubicBezTo>
                    <a:pt x="75" y="72"/>
                    <a:pt x="76" y="73"/>
                    <a:pt x="78" y="73"/>
                  </a:cubicBezTo>
                  <a:cubicBezTo>
                    <a:pt x="78" y="73"/>
                    <a:pt x="78" y="73"/>
                    <a:pt x="79" y="73"/>
                  </a:cubicBezTo>
                  <a:cubicBezTo>
                    <a:pt x="81" y="72"/>
                    <a:pt x="84" y="67"/>
                    <a:pt x="86" y="66"/>
                  </a:cubicBezTo>
                  <a:cubicBezTo>
                    <a:pt x="86" y="66"/>
                    <a:pt x="86" y="67"/>
                    <a:pt x="85" y="68"/>
                  </a:cubicBezTo>
                  <a:cubicBezTo>
                    <a:pt x="92" y="68"/>
                    <a:pt x="99" y="69"/>
                    <a:pt x="106" y="70"/>
                  </a:cubicBezTo>
                  <a:cubicBezTo>
                    <a:pt x="108" y="70"/>
                    <a:pt x="111" y="71"/>
                    <a:pt x="114" y="71"/>
                  </a:cubicBezTo>
                  <a:cubicBezTo>
                    <a:pt x="116" y="71"/>
                    <a:pt x="117" y="70"/>
                    <a:pt x="117" y="68"/>
                  </a:cubicBezTo>
                  <a:cubicBezTo>
                    <a:pt x="117" y="67"/>
                    <a:pt x="111" y="63"/>
                    <a:pt x="114" y="61"/>
                  </a:cubicBezTo>
                  <a:cubicBezTo>
                    <a:pt x="114" y="61"/>
                    <a:pt x="114" y="61"/>
                    <a:pt x="114" y="61"/>
                  </a:cubicBezTo>
                  <a:cubicBezTo>
                    <a:pt x="115" y="61"/>
                    <a:pt x="118" y="64"/>
                    <a:pt x="119" y="64"/>
                  </a:cubicBezTo>
                  <a:cubicBezTo>
                    <a:pt x="120" y="64"/>
                    <a:pt x="122" y="65"/>
                    <a:pt x="124" y="65"/>
                  </a:cubicBezTo>
                  <a:cubicBezTo>
                    <a:pt x="125" y="65"/>
                    <a:pt x="125" y="65"/>
                    <a:pt x="126" y="65"/>
                  </a:cubicBezTo>
                  <a:cubicBezTo>
                    <a:pt x="123" y="65"/>
                    <a:pt x="124" y="62"/>
                    <a:pt x="122" y="62"/>
                  </a:cubicBezTo>
                  <a:cubicBezTo>
                    <a:pt x="122" y="62"/>
                    <a:pt x="122" y="62"/>
                    <a:pt x="121" y="63"/>
                  </a:cubicBezTo>
                  <a:cubicBezTo>
                    <a:pt x="125" y="59"/>
                    <a:pt x="112" y="59"/>
                    <a:pt x="118" y="57"/>
                  </a:cubicBezTo>
                  <a:cubicBezTo>
                    <a:pt x="117" y="57"/>
                    <a:pt x="116" y="58"/>
                    <a:pt x="115" y="58"/>
                  </a:cubicBezTo>
                  <a:cubicBezTo>
                    <a:pt x="116" y="56"/>
                    <a:pt x="119" y="54"/>
                    <a:pt x="121" y="52"/>
                  </a:cubicBezTo>
                  <a:cubicBezTo>
                    <a:pt x="120" y="51"/>
                    <a:pt x="121" y="46"/>
                    <a:pt x="122" y="45"/>
                  </a:cubicBezTo>
                  <a:cubicBezTo>
                    <a:pt x="122" y="45"/>
                    <a:pt x="122" y="45"/>
                    <a:pt x="122" y="45"/>
                  </a:cubicBezTo>
                  <a:cubicBezTo>
                    <a:pt x="123" y="45"/>
                    <a:pt x="125" y="47"/>
                    <a:pt x="125" y="47"/>
                  </a:cubicBezTo>
                  <a:cubicBezTo>
                    <a:pt x="128" y="49"/>
                    <a:pt x="129" y="50"/>
                    <a:pt x="131" y="52"/>
                  </a:cubicBezTo>
                  <a:cubicBezTo>
                    <a:pt x="127" y="49"/>
                    <a:pt x="133" y="40"/>
                    <a:pt x="129" y="39"/>
                  </a:cubicBezTo>
                  <a:cubicBezTo>
                    <a:pt x="125" y="38"/>
                    <a:pt x="124" y="39"/>
                    <a:pt x="125" y="33"/>
                  </a:cubicBezTo>
                  <a:cubicBezTo>
                    <a:pt x="126" y="30"/>
                    <a:pt x="125" y="30"/>
                    <a:pt x="124" y="28"/>
                  </a:cubicBezTo>
                  <a:cubicBezTo>
                    <a:pt x="124" y="26"/>
                    <a:pt x="126" y="22"/>
                    <a:pt x="127" y="20"/>
                  </a:cubicBezTo>
                  <a:cubicBezTo>
                    <a:pt x="128" y="17"/>
                    <a:pt x="128" y="14"/>
                    <a:pt x="125" y="13"/>
                  </a:cubicBezTo>
                  <a:cubicBezTo>
                    <a:pt x="120" y="11"/>
                    <a:pt x="124" y="7"/>
                    <a:pt x="123" y="3"/>
                  </a:cubicBezTo>
                  <a:cubicBezTo>
                    <a:pt x="123" y="1"/>
                    <a:pt x="122" y="0"/>
                    <a:pt x="1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84"/>
            <p:cNvSpPr/>
            <p:nvPr/>
          </p:nvSpPr>
          <p:spPr bwMode="auto">
            <a:xfrm>
              <a:off x="7032616" y="618359"/>
              <a:ext cx="3175" cy="3175"/>
            </a:xfrm>
            <a:custGeom>
              <a:gdLst>
                <a:gd name="T0" fmla="*/ 1 w 1"/>
                <a:gd name="T1" fmla="*/ 0 h 1"/>
                <a:gd name="T2" fmla="*/ 1 w 1"/>
                <a:gd name="T3" fmla="*/ 1 h 1"/>
                <a:gd name="T4" fmla="*/ 1 w 1"/>
                <a:gd name="T5" fmla="*/ 1 h 1"/>
                <a:gd name="T6" fmla="*/ 1 w 1"/>
                <a:gd name="T7" fmla="*/ 0 h 1"/>
                <a:gd name="T8" fmla="*/ 1 w 1"/>
                <a:gd name="T9" fmla="*/ 0 h 1"/>
              </a:gdLst>
              <a:cxnLst>
                <a:cxn ang="0">
                  <a:pos x="T0" y="T1"/>
                </a:cxn>
                <a:cxn ang="0">
                  <a:pos x="T2" y="T3"/>
                </a:cxn>
                <a:cxn ang="0">
                  <a:pos x="T4" y="T5"/>
                </a:cxn>
                <a:cxn ang="0">
                  <a:pos x="T6" y="T7"/>
                </a:cxn>
                <a:cxn ang="0">
                  <a:pos x="T8" y="T9"/>
                </a:cxn>
              </a:cxnLst>
              <a:rect l="0" t="0" r="r" b="b"/>
              <a:pathLst>
                <a:path w="1" h="1">
                  <a:moveTo>
                    <a:pt x="1" y="0"/>
                  </a:moveTo>
                  <a:cubicBezTo>
                    <a:pt x="0" y="1"/>
                    <a:pt x="0" y="1"/>
                    <a:pt x="1" y="1"/>
                  </a:cubicBezTo>
                  <a:cubicBezTo>
                    <a:pt x="1" y="1"/>
                    <a:pt x="1" y="1"/>
                    <a:pt x="1" y="1"/>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5"/>
            <p:cNvSpPr/>
            <p:nvPr/>
          </p:nvSpPr>
          <p:spPr bwMode="auto">
            <a:xfrm>
              <a:off x="6969116" y="1050159"/>
              <a:ext cx="566738" cy="439738"/>
            </a:xfrm>
            <a:custGeom>
              <a:gdLst>
                <a:gd name="T0" fmla="*/ 59 w 151"/>
                <a:gd name="T1" fmla="*/ 5 h 117"/>
                <a:gd name="T2" fmla="*/ 67 w 151"/>
                <a:gd name="T3" fmla="*/ 2 h 117"/>
                <a:gd name="T4" fmla="*/ 63 w 151"/>
                <a:gd name="T5" fmla="*/ 7 h 117"/>
                <a:gd name="T6" fmla="*/ 52 w 151"/>
                <a:gd name="T7" fmla="*/ 4 h 117"/>
                <a:gd name="T8" fmla="*/ 45 w 151"/>
                <a:gd name="T9" fmla="*/ 6 h 117"/>
                <a:gd name="T10" fmla="*/ 41 w 151"/>
                <a:gd name="T11" fmla="*/ 9 h 117"/>
                <a:gd name="T12" fmla="*/ 41 w 151"/>
                <a:gd name="T13" fmla="*/ 12 h 117"/>
                <a:gd name="T14" fmla="*/ 48 w 151"/>
                <a:gd name="T15" fmla="*/ 15 h 117"/>
                <a:gd name="T16" fmla="*/ 50 w 151"/>
                <a:gd name="T17" fmla="*/ 22 h 117"/>
                <a:gd name="T18" fmla="*/ 38 w 151"/>
                <a:gd name="T19" fmla="*/ 15 h 117"/>
                <a:gd name="T20" fmla="*/ 29 w 151"/>
                <a:gd name="T21" fmla="*/ 22 h 117"/>
                <a:gd name="T22" fmla="*/ 50 w 151"/>
                <a:gd name="T23" fmla="*/ 30 h 117"/>
                <a:gd name="T24" fmla="*/ 58 w 151"/>
                <a:gd name="T25" fmla="*/ 26 h 117"/>
                <a:gd name="T26" fmla="*/ 67 w 151"/>
                <a:gd name="T27" fmla="*/ 34 h 117"/>
                <a:gd name="T28" fmla="*/ 54 w 151"/>
                <a:gd name="T29" fmla="*/ 31 h 117"/>
                <a:gd name="T30" fmla="*/ 54 w 151"/>
                <a:gd name="T31" fmla="*/ 38 h 117"/>
                <a:gd name="T32" fmla="*/ 59 w 151"/>
                <a:gd name="T33" fmla="*/ 36 h 117"/>
                <a:gd name="T34" fmla="*/ 61 w 151"/>
                <a:gd name="T35" fmla="*/ 47 h 117"/>
                <a:gd name="T36" fmla="*/ 58 w 151"/>
                <a:gd name="T37" fmla="*/ 45 h 117"/>
                <a:gd name="T38" fmla="*/ 55 w 151"/>
                <a:gd name="T39" fmla="*/ 46 h 117"/>
                <a:gd name="T40" fmla="*/ 46 w 151"/>
                <a:gd name="T41" fmla="*/ 53 h 117"/>
                <a:gd name="T42" fmla="*/ 43 w 151"/>
                <a:gd name="T43" fmla="*/ 56 h 117"/>
                <a:gd name="T44" fmla="*/ 27 w 151"/>
                <a:gd name="T45" fmla="*/ 44 h 117"/>
                <a:gd name="T46" fmla="*/ 18 w 151"/>
                <a:gd name="T47" fmla="*/ 39 h 117"/>
                <a:gd name="T48" fmla="*/ 11 w 151"/>
                <a:gd name="T49" fmla="*/ 39 h 117"/>
                <a:gd name="T50" fmla="*/ 3 w 151"/>
                <a:gd name="T51" fmla="*/ 48 h 117"/>
                <a:gd name="T52" fmla="*/ 18 w 151"/>
                <a:gd name="T53" fmla="*/ 64 h 117"/>
                <a:gd name="T54" fmla="*/ 25 w 151"/>
                <a:gd name="T55" fmla="*/ 73 h 117"/>
                <a:gd name="T56" fmla="*/ 28 w 151"/>
                <a:gd name="T57" fmla="*/ 73 h 117"/>
                <a:gd name="T58" fmla="*/ 36 w 151"/>
                <a:gd name="T59" fmla="*/ 71 h 117"/>
                <a:gd name="T60" fmla="*/ 44 w 151"/>
                <a:gd name="T61" fmla="*/ 77 h 117"/>
                <a:gd name="T62" fmla="*/ 65 w 151"/>
                <a:gd name="T63" fmla="*/ 92 h 117"/>
                <a:gd name="T64" fmla="*/ 74 w 151"/>
                <a:gd name="T65" fmla="*/ 100 h 117"/>
                <a:gd name="T66" fmla="*/ 78 w 151"/>
                <a:gd name="T67" fmla="*/ 106 h 117"/>
                <a:gd name="T68" fmla="*/ 86 w 151"/>
                <a:gd name="T69" fmla="*/ 113 h 117"/>
                <a:gd name="T70" fmla="*/ 93 w 151"/>
                <a:gd name="T71" fmla="*/ 117 h 117"/>
                <a:gd name="T72" fmla="*/ 110 w 151"/>
                <a:gd name="T73" fmla="*/ 106 h 117"/>
                <a:gd name="T74" fmla="*/ 104 w 151"/>
                <a:gd name="T75" fmla="*/ 99 h 117"/>
                <a:gd name="T76" fmla="*/ 104 w 151"/>
                <a:gd name="T77" fmla="*/ 92 h 117"/>
                <a:gd name="T78" fmla="*/ 105 w 151"/>
                <a:gd name="T79" fmla="*/ 92 h 117"/>
                <a:gd name="T80" fmla="*/ 110 w 151"/>
                <a:gd name="T81" fmla="*/ 101 h 117"/>
                <a:gd name="T82" fmla="*/ 115 w 151"/>
                <a:gd name="T83" fmla="*/ 101 h 117"/>
                <a:gd name="T84" fmla="*/ 143 w 151"/>
                <a:gd name="T85" fmla="*/ 91 h 117"/>
                <a:gd name="T86" fmla="*/ 143 w 151"/>
                <a:gd name="T87" fmla="*/ 85 h 117"/>
                <a:gd name="T88" fmla="*/ 143 w 151"/>
                <a:gd name="T89" fmla="*/ 74 h 117"/>
                <a:gd name="T90" fmla="*/ 147 w 151"/>
                <a:gd name="T91" fmla="*/ 69 h 117"/>
                <a:gd name="T92" fmla="*/ 144 w 151"/>
                <a:gd name="T93" fmla="*/ 53 h 117"/>
                <a:gd name="T94" fmla="*/ 132 w 151"/>
                <a:gd name="T95" fmla="*/ 52 h 117"/>
                <a:gd name="T96" fmla="*/ 120 w 151"/>
                <a:gd name="T97" fmla="*/ 41 h 117"/>
                <a:gd name="T98" fmla="*/ 101 w 151"/>
                <a:gd name="T99" fmla="*/ 48 h 117"/>
                <a:gd name="T100" fmla="*/ 109 w 151"/>
                <a:gd name="T101" fmla="*/ 36 h 117"/>
                <a:gd name="T102" fmla="*/ 130 w 151"/>
                <a:gd name="T103" fmla="*/ 22 h 117"/>
                <a:gd name="T104" fmla="*/ 127 w 151"/>
                <a:gd name="T105" fmla="*/ 21 h 117"/>
                <a:gd name="T106" fmla="*/ 123 w 151"/>
                <a:gd name="T107" fmla="*/ 20 h 117"/>
                <a:gd name="T108" fmla="*/ 120 w 151"/>
                <a:gd name="T109" fmla="*/ 19 h 117"/>
                <a:gd name="T110" fmla="*/ 121 w 151"/>
                <a:gd name="T111" fmla="*/ 19 h 117"/>
                <a:gd name="T112" fmla="*/ 125 w 151"/>
                <a:gd name="T113" fmla="*/ 17 h 117"/>
                <a:gd name="T114" fmla="*/ 126 w 151"/>
                <a:gd name="T115" fmla="*/ 3 h 117"/>
                <a:gd name="T116" fmla="*/ 116 w 151"/>
                <a:gd name="T117" fmla="*/ 1 h 117"/>
                <a:gd name="T118" fmla="*/ 99 w 151"/>
                <a:gd name="T119" fmla="*/ 7 h 117"/>
                <a:gd name="T120" fmla="*/ 89 w 151"/>
                <a:gd name="T121" fmla="*/ 9 h 117"/>
                <a:gd name="T122" fmla="*/ 84 w 151"/>
                <a:gd name="T123" fmla="*/ 10 h 117"/>
                <a:gd name="T124" fmla="*/ 74 w 151"/>
                <a:gd name="T125" fmla="*/ 5 h 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1" h="117">
                  <a:moveTo>
                    <a:pt x="66" y="0"/>
                  </a:moveTo>
                  <a:cubicBezTo>
                    <a:pt x="65" y="0"/>
                    <a:pt x="63" y="0"/>
                    <a:pt x="62" y="0"/>
                  </a:cubicBezTo>
                  <a:cubicBezTo>
                    <a:pt x="61" y="0"/>
                    <a:pt x="56" y="4"/>
                    <a:pt x="59" y="5"/>
                  </a:cubicBezTo>
                  <a:cubicBezTo>
                    <a:pt x="60" y="5"/>
                    <a:pt x="61" y="5"/>
                    <a:pt x="61" y="5"/>
                  </a:cubicBezTo>
                  <a:cubicBezTo>
                    <a:pt x="63" y="5"/>
                    <a:pt x="64" y="5"/>
                    <a:pt x="65" y="4"/>
                  </a:cubicBezTo>
                  <a:cubicBezTo>
                    <a:pt x="65" y="3"/>
                    <a:pt x="67" y="2"/>
                    <a:pt x="67" y="2"/>
                  </a:cubicBezTo>
                  <a:cubicBezTo>
                    <a:pt x="68" y="2"/>
                    <a:pt x="68" y="3"/>
                    <a:pt x="68" y="3"/>
                  </a:cubicBezTo>
                  <a:cubicBezTo>
                    <a:pt x="68" y="5"/>
                    <a:pt x="66" y="5"/>
                    <a:pt x="66" y="6"/>
                  </a:cubicBezTo>
                  <a:cubicBezTo>
                    <a:pt x="64" y="7"/>
                    <a:pt x="64" y="7"/>
                    <a:pt x="63" y="7"/>
                  </a:cubicBezTo>
                  <a:cubicBezTo>
                    <a:pt x="63" y="7"/>
                    <a:pt x="62" y="7"/>
                    <a:pt x="60" y="6"/>
                  </a:cubicBezTo>
                  <a:cubicBezTo>
                    <a:pt x="58" y="6"/>
                    <a:pt x="56" y="5"/>
                    <a:pt x="53" y="4"/>
                  </a:cubicBezTo>
                  <a:cubicBezTo>
                    <a:pt x="53" y="4"/>
                    <a:pt x="53" y="4"/>
                    <a:pt x="52" y="4"/>
                  </a:cubicBezTo>
                  <a:cubicBezTo>
                    <a:pt x="50" y="4"/>
                    <a:pt x="49" y="5"/>
                    <a:pt x="47" y="6"/>
                  </a:cubicBezTo>
                  <a:cubicBezTo>
                    <a:pt x="47" y="6"/>
                    <a:pt x="47" y="6"/>
                    <a:pt x="46" y="6"/>
                  </a:cubicBezTo>
                  <a:cubicBezTo>
                    <a:pt x="46" y="6"/>
                    <a:pt x="45" y="6"/>
                    <a:pt x="45" y="6"/>
                  </a:cubicBezTo>
                  <a:cubicBezTo>
                    <a:pt x="44" y="5"/>
                    <a:pt x="44" y="5"/>
                    <a:pt x="43" y="5"/>
                  </a:cubicBezTo>
                  <a:cubicBezTo>
                    <a:pt x="43" y="5"/>
                    <a:pt x="42" y="6"/>
                    <a:pt x="41" y="6"/>
                  </a:cubicBezTo>
                  <a:cubicBezTo>
                    <a:pt x="41" y="9"/>
                    <a:pt x="41" y="9"/>
                    <a:pt x="41" y="9"/>
                  </a:cubicBezTo>
                  <a:cubicBezTo>
                    <a:pt x="40" y="10"/>
                    <a:pt x="39" y="9"/>
                    <a:pt x="40" y="11"/>
                  </a:cubicBezTo>
                  <a:cubicBezTo>
                    <a:pt x="40" y="12"/>
                    <a:pt x="40" y="12"/>
                    <a:pt x="40" y="12"/>
                  </a:cubicBezTo>
                  <a:cubicBezTo>
                    <a:pt x="41" y="12"/>
                    <a:pt x="41" y="12"/>
                    <a:pt x="41" y="12"/>
                  </a:cubicBezTo>
                  <a:cubicBezTo>
                    <a:pt x="41" y="12"/>
                    <a:pt x="41" y="12"/>
                    <a:pt x="41" y="12"/>
                  </a:cubicBezTo>
                  <a:cubicBezTo>
                    <a:pt x="41" y="12"/>
                    <a:pt x="41" y="12"/>
                    <a:pt x="41" y="12"/>
                  </a:cubicBezTo>
                  <a:cubicBezTo>
                    <a:pt x="44" y="14"/>
                    <a:pt x="45" y="14"/>
                    <a:pt x="48" y="15"/>
                  </a:cubicBezTo>
                  <a:cubicBezTo>
                    <a:pt x="54" y="15"/>
                    <a:pt x="50" y="18"/>
                    <a:pt x="53" y="21"/>
                  </a:cubicBezTo>
                  <a:cubicBezTo>
                    <a:pt x="54" y="23"/>
                    <a:pt x="55" y="24"/>
                    <a:pt x="54" y="24"/>
                  </a:cubicBezTo>
                  <a:cubicBezTo>
                    <a:pt x="53" y="24"/>
                    <a:pt x="52" y="23"/>
                    <a:pt x="50" y="22"/>
                  </a:cubicBezTo>
                  <a:cubicBezTo>
                    <a:pt x="48" y="21"/>
                    <a:pt x="46" y="16"/>
                    <a:pt x="43" y="15"/>
                  </a:cubicBezTo>
                  <a:cubicBezTo>
                    <a:pt x="43" y="15"/>
                    <a:pt x="40" y="15"/>
                    <a:pt x="39" y="15"/>
                  </a:cubicBezTo>
                  <a:cubicBezTo>
                    <a:pt x="38" y="15"/>
                    <a:pt x="38" y="15"/>
                    <a:pt x="38" y="15"/>
                  </a:cubicBezTo>
                  <a:cubicBezTo>
                    <a:pt x="36" y="15"/>
                    <a:pt x="36" y="16"/>
                    <a:pt x="35" y="17"/>
                  </a:cubicBezTo>
                  <a:cubicBezTo>
                    <a:pt x="34" y="17"/>
                    <a:pt x="33" y="17"/>
                    <a:pt x="32" y="17"/>
                  </a:cubicBezTo>
                  <a:cubicBezTo>
                    <a:pt x="29" y="18"/>
                    <a:pt x="26" y="20"/>
                    <a:pt x="29" y="22"/>
                  </a:cubicBezTo>
                  <a:cubicBezTo>
                    <a:pt x="32" y="25"/>
                    <a:pt x="36" y="26"/>
                    <a:pt x="39" y="28"/>
                  </a:cubicBezTo>
                  <a:cubicBezTo>
                    <a:pt x="42" y="29"/>
                    <a:pt x="44" y="30"/>
                    <a:pt x="47" y="30"/>
                  </a:cubicBezTo>
                  <a:cubicBezTo>
                    <a:pt x="48" y="30"/>
                    <a:pt x="49" y="30"/>
                    <a:pt x="50" y="30"/>
                  </a:cubicBezTo>
                  <a:cubicBezTo>
                    <a:pt x="51" y="29"/>
                    <a:pt x="55" y="28"/>
                    <a:pt x="55" y="27"/>
                  </a:cubicBezTo>
                  <a:cubicBezTo>
                    <a:pt x="55" y="25"/>
                    <a:pt x="55" y="25"/>
                    <a:pt x="56" y="25"/>
                  </a:cubicBezTo>
                  <a:cubicBezTo>
                    <a:pt x="56" y="25"/>
                    <a:pt x="57" y="25"/>
                    <a:pt x="58" y="26"/>
                  </a:cubicBezTo>
                  <a:cubicBezTo>
                    <a:pt x="60" y="28"/>
                    <a:pt x="61" y="30"/>
                    <a:pt x="63" y="31"/>
                  </a:cubicBezTo>
                  <a:cubicBezTo>
                    <a:pt x="65" y="32"/>
                    <a:pt x="67" y="32"/>
                    <a:pt x="70" y="33"/>
                  </a:cubicBezTo>
                  <a:cubicBezTo>
                    <a:pt x="69" y="33"/>
                    <a:pt x="68" y="34"/>
                    <a:pt x="67" y="34"/>
                  </a:cubicBezTo>
                  <a:cubicBezTo>
                    <a:pt x="64" y="34"/>
                    <a:pt x="61" y="31"/>
                    <a:pt x="58" y="30"/>
                  </a:cubicBezTo>
                  <a:cubicBezTo>
                    <a:pt x="57" y="30"/>
                    <a:pt x="57" y="30"/>
                    <a:pt x="56" y="30"/>
                  </a:cubicBezTo>
                  <a:cubicBezTo>
                    <a:pt x="55" y="30"/>
                    <a:pt x="55" y="30"/>
                    <a:pt x="54" y="31"/>
                  </a:cubicBezTo>
                  <a:cubicBezTo>
                    <a:pt x="54" y="32"/>
                    <a:pt x="54" y="33"/>
                    <a:pt x="53" y="33"/>
                  </a:cubicBezTo>
                  <a:cubicBezTo>
                    <a:pt x="53" y="34"/>
                    <a:pt x="52" y="34"/>
                    <a:pt x="51" y="35"/>
                  </a:cubicBezTo>
                  <a:cubicBezTo>
                    <a:pt x="50" y="37"/>
                    <a:pt x="53" y="38"/>
                    <a:pt x="54" y="38"/>
                  </a:cubicBezTo>
                  <a:cubicBezTo>
                    <a:pt x="54" y="38"/>
                    <a:pt x="54" y="38"/>
                    <a:pt x="54" y="38"/>
                  </a:cubicBezTo>
                  <a:cubicBezTo>
                    <a:pt x="55" y="38"/>
                    <a:pt x="56" y="36"/>
                    <a:pt x="58" y="36"/>
                  </a:cubicBezTo>
                  <a:cubicBezTo>
                    <a:pt x="58" y="36"/>
                    <a:pt x="58" y="36"/>
                    <a:pt x="59" y="36"/>
                  </a:cubicBezTo>
                  <a:cubicBezTo>
                    <a:pt x="60" y="37"/>
                    <a:pt x="63" y="42"/>
                    <a:pt x="61" y="42"/>
                  </a:cubicBezTo>
                  <a:cubicBezTo>
                    <a:pt x="61" y="42"/>
                    <a:pt x="61" y="42"/>
                    <a:pt x="61" y="42"/>
                  </a:cubicBezTo>
                  <a:cubicBezTo>
                    <a:pt x="63" y="44"/>
                    <a:pt x="65" y="46"/>
                    <a:pt x="61" y="47"/>
                  </a:cubicBezTo>
                  <a:cubicBezTo>
                    <a:pt x="61" y="47"/>
                    <a:pt x="60" y="47"/>
                    <a:pt x="60" y="47"/>
                  </a:cubicBezTo>
                  <a:cubicBezTo>
                    <a:pt x="60" y="47"/>
                    <a:pt x="60" y="47"/>
                    <a:pt x="59" y="47"/>
                  </a:cubicBezTo>
                  <a:cubicBezTo>
                    <a:pt x="57" y="46"/>
                    <a:pt x="59" y="47"/>
                    <a:pt x="58" y="45"/>
                  </a:cubicBezTo>
                  <a:cubicBezTo>
                    <a:pt x="56" y="43"/>
                    <a:pt x="55" y="43"/>
                    <a:pt x="56" y="40"/>
                  </a:cubicBezTo>
                  <a:cubicBezTo>
                    <a:pt x="54" y="42"/>
                    <a:pt x="54" y="41"/>
                    <a:pt x="55" y="44"/>
                  </a:cubicBezTo>
                  <a:cubicBezTo>
                    <a:pt x="55" y="45"/>
                    <a:pt x="55" y="45"/>
                    <a:pt x="55" y="46"/>
                  </a:cubicBezTo>
                  <a:cubicBezTo>
                    <a:pt x="56" y="48"/>
                    <a:pt x="57" y="48"/>
                    <a:pt x="57" y="50"/>
                  </a:cubicBezTo>
                  <a:cubicBezTo>
                    <a:pt x="57" y="53"/>
                    <a:pt x="54" y="54"/>
                    <a:pt x="51" y="54"/>
                  </a:cubicBezTo>
                  <a:cubicBezTo>
                    <a:pt x="49" y="54"/>
                    <a:pt x="47" y="53"/>
                    <a:pt x="46" y="53"/>
                  </a:cubicBezTo>
                  <a:cubicBezTo>
                    <a:pt x="46" y="53"/>
                    <a:pt x="45" y="53"/>
                    <a:pt x="45" y="53"/>
                  </a:cubicBezTo>
                  <a:cubicBezTo>
                    <a:pt x="44" y="53"/>
                    <a:pt x="46" y="54"/>
                    <a:pt x="46" y="55"/>
                  </a:cubicBezTo>
                  <a:cubicBezTo>
                    <a:pt x="45" y="55"/>
                    <a:pt x="44" y="56"/>
                    <a:pt x="43" y="56"/>
                  </a:cubicBezTo>
                  <a:cubicBezTo>
                    <a:pt x="43" y="56"/>
                    <a:pt x="42" y="56"/>
                    <a:pt x="42" y="56"/>
                  </a:cubicBezTo>
                  <a:cubicBezTo>
                    <a:pt x="40" y="55"/>
                    <a:pt x="38" y="52"/>
                    <a:pt x="36" y="51"/>
                  </a:cubicBezTo>
                  <a:cubicBezTo>
                    <a:pt x="33" y="49"/>
                    <a:pt x="30" y="46"/>
                    <a:pt x="27" y="44"/>
                  </a:cubicBezTo>
                  <a:cubicBezTo>
                    <a:pt x="26" y="43"/>
                    <a:pt x="21" y="39"/>
                    <a:pt x="20" y="38"/>
                  </a:cubicBezTo>
                  <a:cubicBezTo>
                    <a:pt x="19" y="38"/>
                    <a:pt x="19" y="38"/>
                    <a:pt x="19" y="38"/>
                  </a:cubicBezTo>
                  <a:cubicBezTo>
                    <a:pt x="19" y="38"/>
                    <a:pt x="18" y="39"/>
                    <a:pt x="18" y="39"/>
                  </a:cubicBezTo>
                  <a:cubicBezTo>
                    <a:pt x="18" y="38"/>
                    <a:pt x="18" y="38"/>
                    <a:pt x="18" y="38"/>
                  </a:cubicBezTo>
                  <a:cubicBezTo>
                    <a:pt x="16" y="39"/>
                    <a:pt x="15" y="39"/>
                    <a:pt x="13" y="39"/>
                  </a:cubicBezTo>
                  <a:cubicBezTo>
                    <a:pt x="12" y="39"/>
                    <a:pt x="12" y="39"/>
                    <a:pt x="11" y="39"/>
                  </a:cubicBezTo>
                  <a:cubicBezTo>
                    <a:pt x="10" y="39"/>
                    <a:pt x="10" y="39"/>
                    <a:pt x="10" y="39"/>
                  </a:cubicBezTo>
                  <a:cubicBezTo>
                    <a:pt x="10" y="40"/>
                    <a:pt x="5" y="42"/>
                    <a:pt x="4" y="44"/>
                  </a:cubicBezTo>
                  <a:cubicBezTo>
                    <a:pt x="4" y="45"/>
                    <a:pt x="4" y="47"/>
                    <a:pt x="3" y="48"/>
                  </a:cubicBezTo>
                  <a:cubicBezTo>
                    <a:pt x="1" y="51"/>
                    <a:pt x="0" y="52"/>
                    <a:pt x="1" y="55"/>
                  </a:cubicBezTo>
                  <a:cubicBezTo>
                    <a:pt x="4" y="59"/>
                    <a:pt x="13" y="63"/>
                    <a:pt x="18" y="64"/>
                  </a:cubicBezTo>
                  <a:cubicBezTo>
                    <a:pt x="18" y="64"/>
                    <a:pt x="18" y="64"/>
                    <a:pt x="18" y="64"/>
                  </a:cubicBezTo>
                  <a:cubicBezTo>
                    <a:pt x="18" y="65"/>
                    <a:pt x="21" y="67"/>
                    <a:pt x="21" y="69"/>
                  </a:cubicBezTo>
                  <a:cubicBezTo>
                    <a:pt x="21" y="72"/>
                    <a:pt x="23" y="73"/>
                    <a:pt x="25" y="73"/>
                  </a:cubicBezTo>
                  <a:cubicBezTo>
                    <a:pt x="25" y="73"/>
                    <a:pt x="25" y="73"/>
                    <a:pt x="25" y="73"/>
                  </a:cubicBezTo>
                  <a:cubicBezTo>
                    <a:pt x="26" y="73"/>
                    <a:pt x="26" y="73"/>
                    <a:pt x="26" y="73"/>
                  </a:cubicBezTo>
                  <a:cubicBezTo>
                    <a:pt x="27" y="73"/>
                    <a:pt x="27" y="73"/>
                    <a:pt x="27" y="73"/>
                  </a:cubicBezTo>
                  <a:cubicBezTo>
                    <a:pt x="27" y="73"/>
                    <a:pt x="28" y="73"/>
                    <a:pt x="28" y="73"/>
                  </a:cubicBezTo>
                  <a:cubicBezTo>
                    <a:pt x="29" y="73"/>
                    <a:pt x="30" y="75"/>
                    <a:pt x="30" y="75"/>
                  </a:cubicBezTo>
                  <a:cubicBezTo>
                    <a:pt x="32" y="75"/>
                    <a:pt x="33" y="71"/>
                    <a:pt x="36" y="71"/>
                  </a:cubicBezTo>
                  <a:cubicBezTo>
                    <a:pt x="36" y="71"/>
                    <a:pt x="36" y="71"/>
                    <a:pt x="36" y="71"/>
                  </a:cubicBezTo>
                  <a:cubicBezTo>
                    <a:pt x="38" y="72"/>
                    <a:pt x="39" y="75"/>
                    <a:pt x="40" y="76"/>
                  </a:cubicBezTo>
                  <a:cubicBezTo>
                    <a:pt x="41" y="77"/>
                    <a:pt x="42" y="78"/>
                    <a:pt x="42" y="78"/>
                  </a:cubicBezTo>
                  <a:cubicBezTo>
                    <a:pt x="43" y="78"/>
                    <a:pt x="43" y="77"/>
                    <a:pt x="44" y="77"/>
                  </a:cubicBezTo>
                  <a:cubicBezTo>
                    <a:pt x="45" y="77"/>
                    <a:pt x="45" y="77"/>
                    <a:pt x="46" y="77"/>
                  </a:cubicBezTo>
                  <a:cubicBezTo>
                    <a:pt x="50" y="77"/>
                    <a:pt x="53" y="81"/>
                    <a:pt x="55" y="84"/>
                  </a:cubicBezTo>
                  <a:cubicBezTo>
                    <a:pt x="57" y="87"/>
                    <a:pt x="62" y="91"/>
                    <a:pt x="65" y="92"/>
                  </a:cubicBezTo>
                  <a:cubicBezTo>
                    <a:pt x="67" y="93"/>
                    <a:pt x="67" y="92"/>
                    <a:pt x="68" y="93"/>
                  </a:cubicBezTo>
                  <a:cubicBezTo>
                    <a:pt x="68" y="93"/>
                    <a:pt x="70" y="95"/>
                    <a:pt x="70" y="95"/>
                  </a:cubicBezTo>
                  <a:cubicBezTo>
                    <a:pt x="72" y="97"/>
                    <a:pt x="72" y="98"/>
                    <a:pt x="74" y="100"/>
                  </a:cubicBezTo>
                  <a:cubicBezTo>
                    <a:pt x="74" y="101"/>
                    <a:pt x="74" y="102"/>
                    <a:pt x="75" y="103"/>
                  </a:cubicBezTo>
                  <a:cubicBezTo>
                    <a:pt x="76" y="103"/>
                    <a:pt x="77" y="103"/>
                    <a:pt x="78" y="104"/>
                  </a:cubicBezTo>
                  <a:cubicBezTo>
                    <a:pt x="78" y="104"/>
                    <a:pt x="78" y="105"/>
                    <a:pt x="78" y="106"/>
                  </a:cubicBezTo>
                  <a:cubicBezTo>
                    <a:pt x="80" y="108"/>
                    <a:pt x="80" y="110"/>
                    <a:pt x="81" y="112"/>
                  </a:cubicBezTo>
                  <a:cubicBezTo>
                    <a:pt x="82" y="113"/>
                    <a:pt x="83" y="114"/>
                    <a:pt x="83" y="114"/>
                  </a:cubicBezTo>
                  <a:cubicBezTo>
                    <a:pt x="84" y="114"/>
                    <a:pt x="85" y="113"/>
                    <a:pt x="86" y="113"/>
                  </a:cubicBezTo>
                  <a:cubicBezTo>
                    <a:pt x="87" y="113"/>
                    <a:pt x="88" y="113"/>
                    <a:pt x="88" y="113"/>
                  </a:cubicBezTo>
                  <a:cubicBezTo>
                    <a:pt x="88" y="113"/>
                    <a:pt x="89" y="113"/>
                    <a:pt x="89" y="114"/>
                  </a:cubicBezTo>
                  <a:cubicBezTo>
                    <a:pt x="91" y="114"/>
                    <a:pt x="91" y="116"/>
                    <a:pt x="93" y="117"/>
                  </a:cubicBezTo>
                  <a:cubicBezTo>
                    <a:pt x="93" y="117"/>
                    <a:pt x="93" y="117"/>
                    <a:pt x="94" y="117"/>
                  </a:cubicBezTo>
                  <a:cubicBezTo>
                    <a:pt x="97" y="117"/>
                    <a:pt x="99" y="113"/>
                    <a:pt x="102" y="112"/>
                  </a:cubicBezTo>
                  <a:cubicBezTo>
                    <a:pt x="104" y="110"/>
                    <a:pt x="107" y="108"/>
                    <a:pt x="110" y="106"/>
                  </a:cubicBezTo>
                  <a:cubicBezTo>
                    <a:pt x="107" y="106"/>
                    <a:pt x="104" y="102"/>
                    <a:pt x="104" y="100"/>
                  </a:cubicBezTo>
                  <a:cubicBezTo>
                    <a:pt x="104" y="99"/>
                    <a:pt x="104" y="99"/>
                    <a:pt x="104" y="99"/>
                  </a:cubicBezTo>
                  <a:cubicBezTo>
                    <a:pt x="104" y="99"/>
                    <a:pt x="104" y="99"/>
                    <a:pt x="104" y="99"/>
                  </a:cubicBezTo>
                  <a:cubicBezTo>
                    <a:pt x="104" y="97"/>
                    <a:pt x="104" y="95"/>
                    <a:pt x="104" y="93"/>
                  </a:cubicBezTo>
                  <a:cubicBezTo>
                    <a:pt x="104" y="93"/>
                    <a:pt x="104" y="94"/>
                    <a:pt x="104" y="94"/>
                  </a:cubicBezTo>
                  <a:cubicBezTo>
                    <a:pt x="104" y="93"/>
                    <a:pt x="104" y="93"/>
                    <a:pt x="104" y="92"/>
                  </a:cubicBezTo>
                  <a:cubicBezTo>
                    <a:pt x="104" y="92"/>
                    <a:pt x="104" y="93"/>
                    <a:pt x="105" y="93"/>
                  </a:cubicBezTo>
                  <a:cubicBezTo>
                    <a:pt x="105" y="93"/>
                    <a:pt x="105" y="93"/>
                    <a:pt x="105" y="93"/>
                  </a:cubicBezTo>
                  <a:cubicBezTo>
                    <a:pt x="105" y="92"/>
                    <a:pt x="105" y="92"/>
                    <a:pt x="105" y="92"/>
                  </a:cubicBezTo>
                  <a:cubicBezTo>
                    <a:pt x="105" y="95"/>
                    <a:pt x="103" y="99"/>
                    <a:pt x="106" y="101"/>
                  </a:cubicBezTo>
                  <a:cubicBezTo>
                    <a:pt x="106" y="101"/>
                    <a:pt x="107" y="101"/>
                    <a:pt x="107" y="101"/>
                  </a:cubicBezTo>
                  <a:cubicBezTo>
                    <a:pt x="108" y="101"/>
                    <a:pt x="109" y="101"/>
                    <a:pt x="110" y="101"/>
                  </a:cubicBezTo>
                  <a:cubicBezTo>
                    <a:pt x="110" y="101"/>
                    <a:pt x="110" y="101"/>
                    <a:pt x="110" y="101"/>
                  </a:cubicBezTo>
                  <a:cubicBezTo>
                    <a:pt x="111" y="101"/>
                    <a:pt x="112" y="101"/>
                    <a:pt x="113" y="101"/>
                  </a:cubicBezTo>
                  <a:cubicBezTo>
                    <a:pt x="113" y="101"/>
                    <a:pt x="114" y="101"/>
                    <a:pt x="115" y="101"/>
                  </a:cubicBezTo>
                  <a:cubicBezTo>
                    <a:pt x="115" y="101"/>
                    <a:pt x="115" y="101"/>
                    <a:pt x="115" y="101"/>
                  </a:cubicBezTo>
                  <a:cubicBezTo>
                    <a:pt x="118" y="101"/>
                    <a:pt x="122" y="99"/>
                    <a:pt x="125" y="98"/>
                  </a:cubicBezTo>
                  <a:cubicBezTo>
                    <a:pt x="131" y="95"/>
                    <a:pt x="137" y="93"/>
                    <a:pt x="143" y="91"/>
                  </a:cubicBezTo>
                  <a:cubicBezTo>
                    <a:pt x="146" y="90"/>
                    <a:pt x="146" y="90"/>
                    <a:pt x="146" y="87"/>
                  </a:cubicBezTo>
                  <a:cubicBezTo>
                    <a:pt x="145" y="85"/>
                    <a:pt x="146" y="84"/>
                    <a:pt x="145" y="84"/>
                  </a:cubicBezTo>
                  <a:cubicBezTo>
                    <a:pt x="144" y="84"/>
                    <a:pt x="144" y="84"/>
                    <a:pt x="143" y="85"/>
                  </a:cubicBezTo>
                  <a:cubicBezTo>
                    <a:pt x="144" y="83"/>
                    <a:pt x="146" y="83"/>
                    <a:pt x="146" y="80"/>
                  </a:cubicBezTo>
                  <a:cubicBezTo>
                    <a:pt x="146" y="80"/>
                    <a:pt x="145" y="77"/>
                    <a:pt x="145" y="77"/>
                  </a:cubicBezTo>
                  <a:cubicBezTo>
                    <a:pt x="145" y="76"/>
                    <a:pt x="144" y="74"/>
                    <a:pt x="143" y="74"/>
                  </a:cubicBezTo>
                  <a:cubicBezTo>
                    <a:pt x="142" y="73"/>
                    <a:pt x="139" y="73"/>
                    <a:pt x="138" y="72"/>
                  </a:cubicBezTo>
                  <a:cubicBezTo>
                    <a:pt x="138" y="72"/>
                    <a:pt x="138" y="72"/>
                    <a:pt x="138" y="72"/>
                  </a:cubicBezTo>
                  <a:cubicBezTo>
                    <a:pt x="141" y="72"/>
                    <a:pt x="144" y="70"/>
                    <a:pt x="147" y="69"/>
                  </a:cubicBezTo>
                  <a:cubicBezTo>
                    <a:pt x="149" y="68"/>
                    <a:pt x="151" y="68"/>
                    <a:pt x="150" y="65"/>
                  </a:cubicBezTo>
                  <a:cubicBezTo>
                    <a:pt x="149" y="62"/>
                    <a:pt x="146" y="60"/>
                    <a:pt x="146" y="57"/>
                  </a:cubicBezTo>
                  <a:cubicBezTo>
                    <a:pt x="145" y="55"/>
                    <a:pt x="146" y="54"/>
                    <a:pt x="144" y="53"/>
                  </a:cubicBezTo>
                  <a:cubicBezTo>
                    <a:pt x="144" y="53"/>
                    <a:pt x="141" y="55"/>
                    <a:pt x="140" y="55"/>
                  </a:cubicBezTo>
                  <a:cubicBezTo>
                    <a:pt x="137" y="56"/>
                    <a:pt x="135" y="57"/>
                    <a:pt x="132" y="59"/>
                  </a:cubicBezTo>
                  <a:cubicBezTo>
                    <a:pt x="132" y="57"/>
                    <a:pt x="134" y="55"/>
                    <a:pt x="132" y="52"/>
                  </a:cubicBezTo>
                  <a:cubicBezTo>
                    <a:pt x="131" y="51"/>
                    <a:pt x="129" y="51"/>
                    <a:pt x="129" y="48"/>
                  </a:cubicBezTo>
                  <a:cubicBezTo>
                    <a:pt x="128" y="44"/>
                    <a:pt x="129" y="44"/>
                    <a:pt x="125" y="43"/>
                  </a:cubicBezTo>
                  <a:cubicBezTo>
                    <a:pt x="123" y="42"/>
                    <a:pt x="122" y="42"/>
                    <a:pt x="120" y="41"/>
                  </a:cubicBezTo>
                  <a:cubicBezTo>
                    <a:pt x="118" y="41"/>
                    <a:pt x="116" y="40"/>
                    <a:pt x="114" y="40"/>
                  </a:cubicBezTo>
                  <a:cubicBezTo>
                    <a:pt x="113" y="40"/>
                    <a:pt x="111" y="41"/>
                    <a:pt x="110" y="41"/>
                  </a:cubicBezTo>
                  <a:cubicBezTo>
                    <a:pt x="107" y="42"/>
                    <a:pt x="102" y="44"/>
                    <a:pt x="101" y="48"/>
                  </a:cubicBezTo>
                  <a:cubicBezTo>
                    <a:pt x="100" y="47"/>
                    <a:pt x="99" y="43"/>
                    <a:pt x="99" y="42"/>
                  </a:cubicBezTo>
                  <a:cubicBezTo>
                    <a:pt x="100" y="41"/>
                    <a:pt x="102" y="41"/>
                    <a:pt x="103" y="40"/>
                  </a:cubicBezTo>
                  <a:cubicBezTo>
                    <a:pt x="105" y="39"/>
                    <a:pt x="106" y="37"/>
                    <a:pt x="109" y="36"/>
                  </a:cubicBezTo>
                  <a:cubicBezTo>
                    <a:pt x="113" y="33"/>
                    <a:pt x="116" y="29"/>
                    <a:pt x="121" y="28"/>
                  </a:cubicBezTo>
                  <a:cubicBezTo>
                    <a:pt x="124" y="27"/>
                    <a:pt x="127" y="26"/>
                    <a:pt x="129" y="25"/>
                  </a:cubicBezTo>
                  <a:cubicBezTo>
                    <a:pt x="130" y="25"/>
                    <a:pt x="131" y="23"/>
                    <a:pt x="130" y="22"/>
                  </a:cubicBezTo>
                  <a:cubicBezTo>
                    <a:pt x="130" y="21"/>
                    <a:pt x="129" y="21"/>
                    <a:pt x="129" y="21"/>
                  </a:cubicBezTo>
                  <a:cubicBezTo>
                    <a:pt x="129" y="21"/>
                    <a:pt x="128" y="21"/>
                    <a:pt x="128" y="21"/>
                  </a:cubicBezTo>
                  <a:cubicBezTo>
                    <a:pt x="128" y="21"/>
                    <a:pt x="127" y="21"/>
                    <a:pt x="127" y="21"/>
                  </a:cubicBezTo>
                  <a:cubicBezTo>
                    <a:pt x="127" y="21"/>
                    <a:pt x="127" y="21"/>
                    <a:pt x="127" y="21"/>
                  </a:cubicBezTo>
                  <a:cubicBezTo>
                    <a:pt x="125" y="21"/>
                    <a:pt x="125" y="20"/>
                    <a:pt x="123" y="20"/>
                  </a:cubicBezTo>
                  <a:cubicBezTo>
                    <a:pt x="123" y="20"/>
                    <a:pt x="123" y="20"/>
                    <a:pt x="123" y="20"/>
                  </a:cubicBezTo>
                  <a:cubicBezTo>
                    <a:pt x="123" y="20"/>
                    <a:pt x="122" y="20"/>
                    <a:pt x="122" y="21"/>
                  </a:cubicBezTo>
                  <a:cubicBezTo>
                    <a:pt x="122" y="21"/>
                    <a:pt x="121" y="21"/>
                    <a:pt x="121" y="21"/>
                  </a:cubicBezTo>
                  <a:cubicBezTo>
                    <a:pt x="121" y="21"/>
                    <a:pt x="121" y="21"/>
                    <a:pt x="120" y="19"/>
                  </a:cubicBezTo>
                  <a:cubicBezTo>
                    <a:pt x="120" y="19"/>
                    <a:pt x="120" y="18"/>
                    <a:pt x="120" y="18"/>
                  </a:cubicBezTo>
                  <a:cubicBezTo>
                    <a:pt x="120" y="18"/>
                    <a:pt x="120" y="18"/>
                    <a:pt x="121" y="18"/>
                  </a:cubicBezTo>
                  <a:cubicBezTo>
                    <a:pt x="121" y="19"/>
                    <a:pt x="121" y="19"/>
                    <a:pt x="121" y="19"/>
                  </a:cubicBezTo>
                  <a:cubicBezTo>
                    <a:pt x="122" y="19"/>
                    <a:pt x="122" y="19"/>
                    <a:pt x="122" y="18"/>
                  </a:cubicBezTo>
                  <a:cubicBezTo>
                    <a:pt x="123" y="18"/>
                    <a:pt x="123" y="16"/>
                    <a:pt x="124" y="16"/>
                  </a:cubicBezTo>
                  <a:cubicBezTo>
                    <a:pt x="124" y="16"/>
                    <a:pt x="125" y="16"/>
                    <a:pt x="125" y="17"/>
                  </a:cubicBezTo>
                  <a:cubicBezTo>
                    <a:pt x="126" y="17"/>
                    <a:pt x="126" y="17"/>
                    <a:pt x="127" y="17"/>
                  </a:cubicBezTo>
                  <a:cubicBezTo>
                    <a:pt x="131" y="17"/>
                    <a:pt x="136" y="13"/>
                    <a:pt x="135" y="10"/>
                  </a:cubicBezTo>
                  <a:cubicBezTo>
                    <a:pt x="135" y="8"/>
                    <a:pt x="128" y="3"/>
                    <a:pt x="126" y="3"/>
                  </a:cubicBezTo>
                  <a:cubicBezTo>
                    <a:pt x="126" y="4"/>
                    <a:pt x="126" y="4"/>
                    <a:pt x="125" y="4"/>
                  </a:cubicBezTo>
                  <a:cubicBezTo>
                    <a:pt x="123" y="4"/>
                    <a:pt x="120" y="2"/>
                    <a:pt x="118" y="2"/>
                  </a:cubicBezTo>
                  <a:cubicBezTo>
                    <a:pt x="117" y="2"/>
                    <a:pt x="116" y="1"/>
                    <a:pt x="116" y="1"/>
                  </a:cubicBezTo>
                  <a:cubicBezTo>
                    <a:pt x="115" y="1"/>
                    <a:pt x="115" y="1"/>
                    <a:pt x="114" y="2"/>
                  </a:cubicBezTo>
                  <a:cubicBezTo>
                    <a:pt x="113" y="2"/>
                    <a:pt x="113" y="3"/>
                    <a:pt x="112" y="4"/>
                  </a:cubicBezTo>
                  <a:cubicBezTo>
                    <a:pt x="108" y="7"/>
                    <a:pt x="103" y="6"/>
                    <a:pt x="99" y="7"/>
                  </a:cubicBezTo>
                  <a:cubicBezTo>
                    <a:pt x="97" y="7"/>
                    <a:pt x="94" y="8"/>
                    <a:pt x="92" y="9"/>
                  </a:cubicBezTo>
                  <a:cubicBezTo>
                    <a:pt x="92" y="9"/>
                    <a:pt x="92" y="9"/>
                    <a:pt x="91" y="9"/>
                  </a:cubicBezTo>
                  <a:cubicBezTo>
                    <a:pt x="90" y="9"/>
                    <a:pt x="90" y="9"/>
                    <a:pt x="89" y="9"/>
                  </a:cubicBezTo>
                  <a:cubicBezTo>
                    <a:pt x="88" y="9"/>
                    <a:pt x="87" y="8"/>
                    <a:pt x="87" y="8"/>
                  </a:cubicBezTo>
                  <a:cubicBezTo>
                    <a:pt x="86" y="8"/>
                    <a:pt x="86" y="8"/>
                    <a:pt x="85" y="9"/>
                  </a:cubicBezTo>
                  <a:cubicBezTo>
                    <a:pt x="84" y="9"/>
                    <a:pt x="84" y="10"/>
                    <a:pt x="84" y="10"/>
                  </a:cubicBezTo>
                  <a:cubicBezTo>
                    <a:pt x="83" y="10"/>
                    <a:pt x="83" y="10"/>
                    <a:pt x="83" y="10"/>
                  </a:cubicBezTo>
                  <a:cubicBezTo>
                    <a:pt x="81" y="8"/>
                    <a:pt x="79" y="7"/>
                    <a:pt x="77" y="5"/>
                  </a:cubicBezTo>
                  <a:cubicBezTo>
                    <a:pt x="76" y="5"/>
                    <a:pt x="75" y="5"/>
                    <a:pt x="74" y="5"/>
                  </a:cubicBezTo>
                  <a:cubicBezTo>
                    <a:pt x="71" y="4"/>
                    <a:pt x="70" y="1"/>
                    <a:pt x="68" y="0"/>
                  </a:cubicBezTo>
                  <a:cubicBezTo>
                    <a:pt x="68" y="0"/>
                    <a:pt x="67" y="0"/>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86"/>
            <p:cNvSpPr/>
            <p:nvPr/>
          </p:nvSpPr>
          <p:spPr bwMode="auto">
            <a:xfrm>
              <a:off x="8323254" y="2301109"/>
              <a:ext cx="612775" cy="390525"/>
            </a:xfrm>
            <a:custGeom>
              <a:gdLst>
                <a:gd name="T0" fmla="*/ 33 w 163"/>
                <a:gd name="T1" fmla="*/ 3 h 104"/>
                <a:gd name="T2" fmla="*/ 26 w 163"/>
                <a:gd name="T3" fmla="*/ 17 h 104"/>
                <a:gd name="T4" fmla="*/ 26 w 163"/>
                <a:gd name="T5" fmla="*/ 22 h 104"/>
                <a:gd name="T6" fmla="*/ 25 w 163"/>
                <a:gd name="T7" fmla="*/ 27 h 104"/>
                <a:gd name="T8" fmla="*/ 23 w 163"/>
                <a:gd name="T9" fmla="*/ 36 h 104"/>
                <a:gd name="T10" fmla="*/ 24 w 163"/>
                <a:gd name="T11" fmla="*/ 40 h 104"/>
                <a:gd name="T12" fmla="*/ 22 w 163"/>
                <a:gd name="T13" fmla="*/ 44 h 104"/>
                <a:gd name="T14" fmla="*/ 19 w 163"/>
                <a:gd name="T15" fmla="*/ 53 h 104"/>
                <a:gd name="T16" fmla="*/ 20 w 163"/>
                <a:gd name="T17" fmla="*/ 58 h 104"/>
                <a:gd name="T18" fmla="*/ 20 w 163"/>
                <a:gd name="T19" fmla="*/ 62 h 104"/>
                <a:gd name="T20" fmla="*/ 15 w 163"/>
                <a:gd name="T21" fmla="*/ 72 h 104"/>
                <a:gd name="T22" fmla="*/ 0 w 163"/>
                <a:gd name="T23" fmla="*/ 86 h 104"/>
                <a:gd name="T24" fmla="*/ 33 w 163"/>
                <a:gd name="T25" fmla="*/ 81 h 104"/>
                <a:gd name="T26" fmla="*/ 35 w 163"/>
                <a:gd name="T27" fmla="*/ 82 h 104"/>
                <a:gd name="T28" fmla="*/ 38 w 163"/>
                <a:gd name="T29" fmla="*/ 86 h 104"/>
                <a:gd name="T30" fmla="*/ 36 w 163"/>
                <a:gd name="T31" fmla="*/ 95 h 104"/>
                <a:gd name="T32" fmla="*/ 46 w 163"/>
                <a:gd name="T33" fmla="*/ 104 h 104"/>
                <a:gd name="T34" fmla="*/ 64 w 163"/>
                <a:gd name="T35" fmla="*/ 93 h 104"/>
                <a:gd name="T36" fmla="*/ 73 w 163"/>
                <a:gd name="T37" fmla="*/ 86 h 104"/>
                <a:gd name="T38" fmla="*/ 83 w 163"/>
                <a:gd name="T39" fmla="*/ 80 h 104"/>
                <a:gd name="T40" fmla="*/ 82 w 163"/>
                <a:gd name="T41" fmla="*/ 73 h 104"/>
                <a:gd name="T42" fmla="*/ 95 w 163"/>
                <a:gd name="T43" fmla="*/ 73 h 104"/>
                <a:gd name="T44" fmla="*/ 111 w 163"/>
                <a:gd name="T45" fmla="*/ 83 h 104"/>
                <a:gd name="T46" fmla="*/ 128 w 163"/>
                <a:gd name="T47" fmla="*/ 87 h 104"/>
                <a:gd name="T48" fmla="*/ 144 w 163"/>
                <a:gd name="T49" fmla="*/ 93 h 104"/>
                <a:gd name="T50" fmla="*/ 163 w 163"/>
                <a:gd name="T51" fmla="*/ 81 h 104"/>
                <a:gd name="T52" fmla="*/ 146 w 163"/>
                <a:gd name="T53" fmla="*/ 68 h 104"/>
                <a:gd name="T54" fmla="*/ 139 w 163"/>
                <a:gd name="T55" fmla="*/ 70 h 104"/>
                <a:gd name="T56" fmla="*/ 135 w 163"/>
                <a:gd name="T57" fmla="*/ 69 h 104"/>
                <a:gd name="T58" fmla="*/ 121 w 163"/>
                <a:gd name="T59" fmla="*/ 73 h 104"/>
                <a:gd name="T60" fmla="*/ 127 w 163"/>
                <a:gd name="T61" fmla="*/ 62 h 104"/>
                <a:gd name="T62" fmla="*/ 117 w 163"/>
                <a:gd name="T63" fmla="*/ 46 h 104"/>
                <a:gd name="T64" fmla="*/ 88 w 163"/>
                <a:gd name="T65" fmla="*/ 30 h 104"/>
                <a:gd name="T66" fmla="*/ 67 w 163"/>
                <a:gd name="T67" fmla="*/ 22 h 104"/>
                <a:gd name="T68" fmla="*/ 60 w 163"/>
                <a:gd name="T69" fmla="*/ 18 h 104"/>
                <a:gd name="T70" fmla="*/ 51 w 163"/>
                <a:gd name="T71" fmla="*/ 23 h 104"/>
                <a:gd name="T72" fmla="*/ 45 w 163"/>
                <a:gd name="T73" fmla="*/ 16 h 104"/>
                <a:gd name="T74" fmla="*/ 46 w 163"/>
                <a:gd name="T75" fmla="*/ 4 h 104"/>
                <a:gd name="T76" fmla="*/ 43 w 163"/>
                <a:gd name="T77" fmla="*/ 4 h 104"/>
                <a:gd name="T78" fmla="*/ 40 w 163"/>
                <a:gd name="T79" fmla="*/ 5 h 104"/>
                <a:gd name="T80" fmla="*/ 39 w 163"/>
                <a:gd name="T81" fmla="*/ 0 h 1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04">
                  <a:moveTo>
                    <a:pt x="39" y="0"/>
                  </a:moveTo>
                  <a:cubicBezTo>
                    <a:pt x="37" y="0"/>
                    <a:pt x="34" y="2"/>
                    <a:pt x="33" y="3"/>
                  </a:cubicBezTo>
                  <a:cubicBezTo>
                    <a:pt x="29" y="6"/>
                    <a:pt x="29" y="8"/>
                    <a:pt x="27" y="13"/>
                  </a:cubicBezTo>
                  <a:cubicBezTo>
                    <a:pt x="27" y="14"/>
                    <a:pt x="26" y="16"/>
                    <a:pt x="26" y="17"/>
                  </a:cubicBezTo>
                  <a:cubicBezTo>
                    <a:pt x="25" y="18"/>
                    <a:pt x="25" y="19"/>
                    <a:pt x="25" y="20"/>
                  </a:cubicBezTo>
                  <a:cubicBezTo>
                    <a:pt x="25" y="21"/>
                    <a:pt x="26" y="21"/>
                    <a:pt x="26" y="22"/>
                  </a:cubicBezTo>
                  <a:cubicBezTo>
                    <a:pt x="26" y="23"/>
                    <a:pt x="25" y="23"/>
                    <a:pt x="24" y="24"/>
                  </a:cubicBezTo>
                  <a:cubicBezTo>
                    <a:pt x="24" y="25"/>
                    <a:pt x="25" y="26"/>
                    <a:pt x="25" y="27"/>
                  </a:cubicBezTo>
                  <a:cubicBezTo>
                    <a:pt x="25" y="28"/>
                    <a:pt x="25" y="30"/>
                    <a:pt x="25" y="31"/>
                  </a:cubicBezTo>
                  <a:cubicBezTo>
                    <a:pt x="25" y="33"/>
                    <a:pt x="23" y="34"/>
                    <a:pt x="23" y="36"/>
                  </a:cubicBezTo>
                  <a:cubicBezTo>
                    <a:pt x="23" y="37"/>
                    <a:pt x="24" y="37"/>
                    <a:pt x="24" y="38"/>
                  </a:cubicBezTo>
                  <a:cubicBezTo>
                    <a:pt x="25" y="39"/>
                    <a:pt x="24" y="39"/>
                    <a:pt x="24" y="40"/>
                  </a:cubicBezTo>
                  <a:cubicBezTo>
                    <a:pt x="24" y="42"/>
                    <a:pt x="24" y="42"/>
                    <a:pt x="24" y="42"/>
                  </a:cubicBezTo>
                  <a:cubicBezTo>
                    <a:pt x="24" y="42"/>
                    <a:pt x="22" y="43"/>
                    <a:pt x="22" y="44"/>
                  </a:cubicBezTo>
                  <a:cubicBezTo>
                    <a:pt x="21" y="45"/>
                    <a:pt x="20" y="47"/>
                    <a:pt x="20" y="49"/>
                  </a:cubicBezTo>
                  <a:cubicBezTo>
                    <a:pt x="19" y="51"/>
                    <a:pt x="19" y="51"/>
                    <a:pt x="19" y="53"/>
                  </a:cubicBezTo>
                  <a:cubicBezTo>
                    <a:pt x="19" y="54"/>
                    <a:pt x="19" y="55"/>
                    <a:pt x="19" y="56"/>
                  </a:cubicBezTo>
                  <a:cubicBezTo>
                    <a:pt x="19" y="57"/>
                    <a:pt x="20" y="57"/>
                    <a:pt x="20" y="58"/>
                  </a:cubicBezTo>
                  <a:cubicBezTo>
                    <a:pt x="20" y="58"/>
                    <a:pt x="20" y="59"/>
                    <a:pt x="20" y="60"/>
                  </a:cubicBezTo>
                  <a:cubicBezTo>
                    <a:pt x="20" y="61"/>
                    <a:pt x="20" y="61"/>
                    <a:pt x="20" y="62"/>
                  </a:cubicBezTo>
                  <a:cubicBezTo>
                    <a:pt x="21" y="64"/>
                    <a:pt x="23" y="65"/>
                    <a:pt x="24" y="66"/>
                  </a:cubicBezTo>
                  <a:cubicBezTo>
                    <a:pt x="25" y="70"/>
                    <a:pt x="18" y="71"/>
                    <a:pt x="15" y="72"/>
                  </a:cubicBezTo>
                  <a:cubicBezTo>
                    <a:pt x="11" y="74"/>
                    <a:pt x="8" y="75"/>
                    <a:pt x="5" y="78"/>
                  </a:cubicBezTo>
                  <a:cubicBezTo>
                    <a:pt x="2" y="81"/>
                    <a:pt x="1" y="83"/>
                    <a:pt x="0" y="86"/>
                  </a:cubicBezTo>
                  <a:cubicBezTo>
                    <a:pt x="7" y="85"/>
                    <a:pt x="14" y="84"/>
                    <a:pt x="22" y="83"/>
                  </a:cubicBezTo>
                  <a:cubicBezTo>
                    <a:pt x="26" y="83"/>
                    <a:pt x="29" y="82"/>
                    <a:pt x="33" y="81"/>
                  </a:cubicBezTo>
                  <a:cubicBezTo>
                    <a:pt x="34" y="81"/>
                    <a:pt x="34" y="81"/>
                    <a:pt x="34" y="81"/>
                  </a:cubicBezTo>
                  <a:cubicBezTo>
                    <a:pt x="35" y="81"/>
                    <a:pt x="34" y="82"/>
                    <a:pt x="35" y="82"/>
                  </a:cubicBezTo>
                  <a:cubicBezTo>
                    <a:pt x="35" y="83"/>
                    <a:pt x="35" y="83"/>
                    <a:pt x="36" y="84"/>
                  </a:cubicBezTo>
                  <a:cubicBezTo>
                    <a:pt x="37" y="85"/>
                    <a:pt x="37" y="85"/>
                    <a:pt x="38" y="86"/>
                  </a:cubicBezTo>
                  <a:cubicBezTo>
                    <a:pt x="38" y="87"/>
                    <a:pt x="38" y="90"/>
                    <a:pt x="37" y="91"/>
                  </a:cubicBezTo>
                  <a:cubicBezTo>
                    <a:pt x="37" y="92"/>
                    <a:pt x="36" y="94"/>
                    <a:pt x="36" y="95"/>
                  </a:cubicBezTo>
                  <a:cubicBezTo>
                    <a:pt x="37" y="99"/>
                    <a:pt x="42" y="103"/>
                    <a:pt x="45" y="104"/>
                  </a:cubicBezTo>
                  <a:cubicBezTo>
                    <a:pt x="45" y="104"/>
                    <a:pt x="46" y="104"/>
                    <a:pt x="46" y="104"/>
                  </a:cubicBezTo>
                  <a:cubicBezTo>
                    <a:pt x="50" y="104"/>
                    <a:pt x="54" y="101"/>
                    <a:pt x="57" y="100"/>
                  </a:cubicBezTo>
                  <a:cubicBezTo>
                    <a:pt x="60" y="98"/>
                    <a:pt x="62" y="97"/>
                    <a:pt x="64" y="93"/>
                  </a:cubicBezTo>
                  <a:cubicBezTo>
                    <a:pt x="65" y="92"/>
                    <a:pt x="64" y="91"/>
                    <a:pt x="65" y="90"/>
                  </a:cubicBezTo>
                  <a:cubicBezTo>
                    <a:pt x="67" y="88"/>
                    <a:pt x="71" y="88"/>
                    <a:pt x="73" y="86"/>
                  </a:cubicBezTo>
                  <a:cubicBezTo>
                    <a:pt x="75" y="86"/>
                    <a:pt x="76" y="84"/>
                    <a:pt x="77" y="83"/>
                  </a:cubicBezTo>
                  <a:cubicBezTo>
                    <a:pt x="79" y="82"/>
                    <a:pt x="83" y="82"/>
                    <a:pt x="83" y="80"/>
                  </a:cubicBezTo>
                  <a:cubicBezTo>
                    <a:pt x="84" y="79"/>
                    <a:pt x="84" y="77"/>
                    <a:pt x="83" y="76"/>
                  </a:cubicBezTo>
                  <a:cubicBezTo>
                    <a:pt x="83" y="75"/>
                    <a:pt x="84" y="74"/>
                    <a:pt x="82" y="73"/>
                  </a:cubicBezTo>
                  <a:cubicBezTo>
                    <a:pt x="87" y="70"/>
                    <a:pt x="93" y="67"/>
                    <a:pt x="98" y="66"/>
                  </a:cubicBezTo>
                  <a:cubicBezTo>
                    <a:pt x="100" y="68"/>
                    <a:pt x="96" y="71"/>
                    <a:pt x="95" y="73"/>
                  </a:cubicBezTo>
                  <a:cubicBezTo>
                    <a:pt x="98" y="73"/>
                    <a:pt x="111" y="72"/>
                    <a:pt x="113" y="77"/>
                  </a:cubicBezTo>
                  <a:cubicBezTo>
                    <a:pt x="113" y="79"/>
                    <a:pt x="104" y="82"/>
                    <a:pt x="111" y="83"/>
                  </a:cubicBezTo>
                  <a:cubicBezTo>
                    <a:pt x="115" y="84"/>
                    <a:pt x="118" y="84"/>
                    <a:pt x="121" y="85"/>
                  </a:cubicBezTo>
                  <a:cubicBezTo>
                    <a:pt x="124" y="86"/>
                    <a:pt x="126" y="86"/>
                    <a:pt x="128" y="87"/>
                  </a:cubicBezTo>
                  <a:cubicBezTo>
                    <a:pt x="132" y="89"/>
                    <a:pt x="137" y="90"/>
                    <a:pt x="141" y="92"/>
                  </a:cubicBezTo>
                  <a:cubicBezTo>
                    <a:pt x="141" y="92"/>
                    <a:pt x="143" y="93"/>
                    <a:pt x="144" y="93"/>
                  </a:cubicBezTo>
                  <a:cubicBezTo>
                    <a:pt x="145" y="93"/>
                    <a:pt x="146" y="92"/>
                    <a:pt x="146" y="91"/>
                  </a:cubicBezTo>
                  <a:cubicBezTo>
                    <a:pt x="151" y="87"/>
                    <a:pt x="157" y="84"/>
                    <a:pt x="163" y="81"/>
                  </a:cubicBezTo>
                  <a:cubicBezTo>
                    <a:pt x="160" y="80"/>
                    <a:pt x="155" y="79"/>
                    <a:pt x="152" y="76"/>
                  </a:cubicBezTo>
                  <a:cubicBezTo>
                    <a:pt x="149" y="74"/>
                    <a:pt x="148" y="70"/>
                    <a:pt x="146" y="68"/>
                  </a:cubicBezTo>
                  <a:cubicBezTo>
                    <a:pt x="146" y="70"/>
                    <a:pt x="145" y="70"/>
                    <a:pt x="144" y="70"/>
                  </a:cubicBezTo>
                  <a:cubicBezTo>
                    <a:pt x="142" y="70"/>
                    <a:pt x="141" y="70"/>
                    <a:pt x="139" y="70"/>
                  </a:cubicBezTo>
                  <a:cubicBezTo>
                    <a:pt x="138" y="69"/>
                    <a:pt x="136" y="69"/>
                    <a:pt x="135" y="69"/>
                  </a:cubicBezTo>
                  <a:cubicBezTo>
                    <a:pt x="135" y="69"/>
                    <a:pt x="135" y="69"/>
                    <a:pt x="135" y="69"/>
                  </a:cubicBezTo>
                  <a:cubicBezTo>
                    <a:pt x="133" y="70"/>
                    <a:pt x="135" y="71"/>
                    <a:pt x="133" y="71"/>
                  </a:cubicBezTo>
                  <a:cubicBezTo>
                    <a:pt x="129" y="72"/>
                    <a:pt x="125" y="72"/>
                    <a:pt x="121" y="73"/>
                  </a:cubicBezTo>
                  <a:cubicBezTo>
                    <a:pt x="122" y="68"/>
                    <a:pt x="129" y="71"/>
                    <a:pt x="130" y="67"/>
                  </a:cubicBezTo>
                  <a:cubicBezTo>
                    <a:pt x="131" y="65"/>
                    <a:pt x="128" y="64"/>
                    <a:pt x="127" y="62"/>
                  </a:cubicBezTo>
                  <a:cubicBezTo>
                    <a:pt x="126" y="60"/>
                    <a:pt x="127" y="59"/>
                    <a:pt x="127" y="57"/>
                  </a:cubicBezTo>
                  <a:cubicBezTo>
                    <a:pt x="126" y="54"/>
                    <a:pt x="120" y="48"/>
                    <a:pt x="117" y="46"/>
                  </a:cubicBezTo>
                  <a:cubicBezTo>
                    <a:pt x="114" y="45"/>
                    <a:pt x="111" y="43"/>
                    <a:pt x="108" y="41"/>
                  </a:cubicBezTo>
                  <a:cubicBezTo>
                    <a:pt x="101" y="38"/>
                    <a:pt x="95" y="33"/>
                    <a:pt x="88" y="30"/>
                  </a:cubicBezTo>
                  <a:cubicBezTo>
                    <a:pt x="85" y="29"/>
                    <a:pt x="83" y="29"/>
                    <a:pt x="80" y="29"/>
                  </a:cubicBezTo>
                  <a:cubicBezTo>
                    <a:pt x="74" y="27"/>
                    <a:pt x="71" y="27"/>
                    <a:pt x="67" y="22"/>
                  </a:cubicBezTo>
                  <a:cubicBezTo>
                    <a:pt x="66" y="20"/>
                    <a:pt x="64" y="17"/>
                    <a:pt x="62" y="17"/>
                  </a:cubicBezTo>
                  <a:cubicBezTo>
                    <a:pt x="62" y="17"/>
                    <a:pt x="61" y="17"/>
                    <a:pt x="60" y="18"/>
                  </a:cubicBezTo>
                  <a:cubicBezTo>
                    <a:pt x="56" y="21"/>
                    <a:pt x="58" y="25"/>
                    <a:pt x="53" y="27"/>
                  </a:cubicBezTo>
                  <a:cubicBezTo>
                    <a:pt x="53" y="25"/>
                    <a:pt x="52" y="24"/>
                    <a:pt x="51" y="23"/>
                  </a:cubicBezTo>
                  <a:cubicBezTo>
                    <a:pt x="51" y="22"/>
                    <a:pt x="52" y="21"/>
                    <a:pt x="51" y="20"/>
                  </a:cubicBezTo>
                  <a:cubicBezTo>
                    <a:pt x="50" y="18"/>
                    <a:pt x="46" y="18"/>
                    <a:pt x="45" y="16"/>
                  </a:cubicBezTo>
                  <a:cubicBezTo>
                    <a:pt x="43" y="13"/>
                    <a:pt x="47" y="15"/>
                    <a:pt x="49" y="13"/>
                  </a:cubicBezTo>
                  <a:cubicBezTo>
                    <a:pt x="51" y="11"/>
                    <a:pt x="48" y="5"/>
                    <a:pt x="46" y="4"/>
                  </a:cubicBezTo>
                  <a:cubicBezTo>
                    <a:pt x="45" y="4"/>
                    <a:pt x="45" y="4"/>
                    <a:pt x="45" y="4"/>
                  </a:cubicBezTo>
                  <a:cubicBezTo>
                    <a:pt x="44" y="4"/>
                    <a:pt x="43" y="4"/>
                    <a:pt x="43" y="4"/>
                  </a:cubicBezTo>
                  <a:cubicBezTo>
                    <a:pt x="42" y="5"/>
                    <a:pt x="41" y="5"/>
                    <a:pt x="41" y="5"/>
                  </a:cubicBezTo>
                  <a:cubicBezTo>
                    <a:pt x="40" y="5"/>
                    <a:pt x="40" y="5"/>
                    <a:pt x="40" y="5"/>
                  </a:cubicBezTo>
                  <a:cubicBezTo>
                    <a:pt x="38" y="4"/>
                    <a:pt x="40" y="1"/>
                    <a:pt x="39" y="0"/>
                  </a:cubicBezTo>
                  <a:cubicBezTo>
                    <a:pt x="39"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87"/>
            <p:cNvSpPr/>
            <p:nvPr/>
          </p:nvSpPr>
          <p:spPr bwMode="auto">
            <a:xfrm>
              <a:off x="7010391" y="1872484"/>
              <a:ext cx="52388" cy="38100"/>
            </a:xfrm>
            <a:custGeom>
              <a:gdLst>
                <a:gd name="T0" fmla="*/ 7 w 14"/>
                <a:gd name="T1" fmla="*/ 0 h 10"/>
                <a:gd name="T2" fmla="*/ 6 w 14"/>
                <a:gd name="T3" fmla="*/ 1 h 10"/>
                <a:gd name="T4" fmla="*/ 3 w 14"/>
                <a:gd name="T5" fmla="*/ 4 h 10"/>
                <a:gd name="T6" fmla="*/ 0 w 14"/>
                <a:gd name="T7" fmla="*/ 5 h 10"/>
                <a:gd name="T8" fmla="*/ 6 w 14"/>
                <a:gd name="T9" fmla="*/ 8 h 10"/>
                <a:gd name="T10" fmla="*/ 8 w 14"/>
                <a:gd name="T11" fmla="*/ 9 h 10"/>
                <a:gd name="T12" fmla="*/ 10 w 14"/>
                <a:gd name="T13" fmla="*/ 10 h 10"/>
                <a:gd name="T14" fmla="*/ 10 w 14"/>
                <a:gd name="T15" fmla="*/ 10 h 10"/>
                <a:gd name="T16" fmla="*/ 10 w 14"/>
                <a:gd name="T17" fmla="*/ 10 h 10"/>
                <a:gd name="T18" fmla="*/ 10 w 14"/>
                <a:gd name="T19" fmla="*/ 10 h 10"/>
                <a:gd name="T20" fmla="*/ 14 w 14"/>
                <a:gd name="T21" fmla="*/ 2 h 10"/>
                <a:gd name="T22" fmla="*/ 9 w 14"/>
                <a:gd name="T23" fmla="*/ 0 h 10"/>
                <a:gd name="T24" fmla="*/ 9 w 14"/>
                <a:gd name="T25" fmla="*/ 0 h 10"/>
                <a:gd name="T26" fmla="*/ 9 w 14"/>
                <a:gd name="T27" fmla="*/ 0 h 10"/>
                <a:gd name="T28" fmla="*/ 8 w 14"/>
                <a:gd name="T29" fmla="*/ 0 h 10"/>
                <a:gd name="T30" fmla="*/ 7 w 14"/>
                <a:gd name="T31" fmla="*/ 0 h 10"/>
                <a:gd name="T32" fmla="*/ 7 w 14"/>
                <a:gd name="T33"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0">
                  <a:moveTo>
                    <a:pt x="7" y="0"/>
                  </a:moveTo>
                  <a:cubicBezTo>
                    <a:pt x="6" y="0"/>
                    <a:pt x="6" y="1"/>
                    <a:pt x="6" y="1"/>
                  </a:cubicBezTo>
                  <a:cubicBezTo>
                    <a:pt x="5" y="2"/>
                    <a:pt x="4" y="3"/>
                    <a:pt x="3" y="4"/>
                  </a:cubicBezTo>
                  <a:cubicBezTo>
                    <a:pt x="2" y="4"/>
                    <a:pt x="1" y="5"/>
                    <a:pt x="0" y="5"/>
                  </a:cubicBezTo>
                  <a:cubicBezTo>
                    <a:pt x="1" y="7"/>
                    <a:pt x="4" y="8"/>
                    <a:pt x="6" y="8"/>
                  </a:cubicBezTo>
                  <a:cubicBezTo>
                    <a:pt x="7" y="8"/>
                    <a:pt x="7" y="9"/>
                    <a:pt x="8" y="9"/>
                  </a:cubicBezTo>
                  <a:cubicBezTo>
                    <a:pt x="9" y="9"/>
                    <a:pt x="10" y="10"/>
                    <a:pt x="10" y="10"/>
                  </a:cubicBezTo>
                  <a:cubicBezTo>
                    <a:pt x="10" y="10"/>
                    <a:pt x="10" y="10"/>
                    <a:pt x="10" y="10"/>
                  </a:cubicBezTo>
                  <a:cubicBezTo>
                    <a:pt x="10" y="10"/>
                    <a:pt x="10" y="10"/>
                    <a:pt x="10" y="10"/>
                  </a:cubicBezTo>
                  <a:cubicBezTo>
                    <a:pt x="10" y="10"/>
                    <a:pt x="10" y="10"/>
                    <a:pt x="10" y="10"/>
                  </a:cubicBezTo>
                  <a:cubicBezTo>
                    <a:pt x="12" y="9"/>
                    <a:pt x="13" y="4"/>
                    <a:pt x="14" y="2"/>
                  </a:cubicBezTo>
                  <a:cubicBezTo>
                    <a:pt x="13" y="2"/>
                    <a:pt x="11" y="0"/>
                    <a:pt x="9" y="0"/>
                  </a:cubicBezTo>
                  <a:cubicBezTo>
                    <a:pt x="9" y="0"/>
                    <a:pt x="9" y="0"/>
                    <a:pt x="9" y="0"/>
                  </a:cubicBezTo>
                  <a:cubicBezTo>
                    <a:pt x="9" y="0"/>
                    <a:pt x="9" y="0"/>
                    <a:pt x="9" y="0"/>
                  </a:cubicBezTo>
                  <a:cubicBezTo>
                    <a:pt x="8" y="0"/>
                    <a:pt x="8" y="0"/>
                    <a:pt x="8" y="0"/>
                  </a:cubicBezTo>
                  <a:cubicBezTo>
                    <a:pt x="8" y="0"/>
                    <a:pt x="7" y="0"/>
                    <a:pt x="7"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88"/>
            <p:cNvSpPr/>
            <p:nvPr/>
          </p:nvSpPr>
          <p:spPr bwMode="auto">
            <a:xfrm>
              <a:off x="7959716" y="599309"/>
              <a:ext cx="63500" cy="11113"/>
            </a:xfrm>
            <a:custGeom>
              <a:gdLst>
                <a:gd name="T0" fmla="*/ 16 w 17"/>
                <a:gd name="T1" fmla="*/ 0 h 3"/>
                <a:gd name="T2" fmla="*/ 0 w 17"/>
                <a:gd name="T3" fmla="*/ 0 h 3"/>
                <a:gd name="T4" fmla="*/ 6 w 17"/>
                <a:gd name="T5" fmla="*/ 1 h 3"/>
                <a:gd name="T6" fmla="*/ 7 w 17"/>
                <a:gd name="T7" fmla="*/ 1 h 3"/>
                <a:gd name="T8" fmla="*/ 8 w 17"/>
                <a:gd name="T9" fmla="*/ 1 h 3"/>
                <a:gd name="T10" fmla="*/ 9 w 17"/>
                <a:gd name="T11" fmla="*/ 1 h 3"/>
                <a:gd name="T12" fmla="*/ 12 w 17"/>
                <a:gd name="T13" fmla="*/ 2 h 3"/>
                <a:gd name="T14" fmla="*/ 17 w 17"/>
                <a:gd name="T15" fmla="*/ 3 h 3"/>
                <a:gd name="T16" fmla="*/ 16 w 17"/>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
                  <a:moveTo>
                    <a:pt x="16" y="0"/>
                  </a:moveTo>
                  <a:cubicBezTo>
                    <a:pt x="0" y="0"/>
                    <a:pt x="0" y="0"/>
                    <a:pt x="0" y="0"/>
                  </a:cubicBezTo>
                  <a:cubicBezTo>
                    <a:pt x="2" y="0"/>
                    <a:pt x="4" y="1"/>
                    <a:pt x="6" y="1"/>
                  </a:cubicBezTo>
                  <a:cubicBezTo>
                    <a:pt x="6" y="1"/>
                    <a:pt x="7" y="1"/>
                    <a:pt x="7" y="1"/>
                  </a:cubicBezTo>
                  <a:cubicBezTo>
                    <a:pt x="7" y="1"/>
                    <a:pt x="8" y="1"/>
                    <a:pt x="8" y="1"/>
                  </a:cubicBezTo>
                  <a:cubicBezTo>
                    <a:pt x="8" y="1"/>
                    <a:pt x="9" y="1"/>
                    <a:pt x="9" y="1"/>
                  </a:cubicBezTo>
                  <a:cubicBezTo>
                    <a:pt x="10" y="1"/>
                    <a:pt x="11" y="1"/>
                    <a:pt x="12" y="2"/>
                  </a:cubicBezTo>
                  <a:cubicBezTo>
                    <a:pt x="14" y="3"/>
                    <a:pt x="15" y="2"/>
                    <a:pt x="17" y="3"/>
                  </a:cubicBezTo>
                  <a:cubicBezTo>
                    <a:pt x="17" y="2"/>
                    <a:pt x="16" y="1"/>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89"/>
            <p:cNvSpPr/>
            <p:nvPr/>
          </p:nvSpPr>
          <p:spPr bwMode="auto">
            <a:xfrm>
              <a:off x="7550141" y="599309"/>
              <a:ext cx="1460500" cy="360363"/>
            </a:xfrm>
            <a:custGeom>
              <a:gdLst>
                <a:gd name="T0" fmla="*/ 61 w 389"/>
                <a:gd name="T1" fmla="*/ 1 h 96"/>
                <a:gd name="T2" fmla="*/ 12 w 389"/>
                <a:gd name="T3" fmla="*/ 6 h 96"/>
                <a:gd name="T4" fmla="*/ 19 w 389"/>
                <a:gd name="T5" fmla="*/ 13 h 96"/>
                <a:gd name="T6" fmla="*/ 28 w 389"/>
                <a:gd name="T7" fmla="*/ 12 h 96"/>
                <a:gd name="T8" fmla="*/ 51 w 389"/>
                <a:gd name="T9" fmla="*/ 12 h 96"/>
                <a:gd name="T10" fmla="*/ 59 w 389"/>
                <a:gd name="T11" fmla="*/ 10 h 96"/>
                <a:gd name="T12" fmla="*/ 80 w 389"/>
                <a:gd name="T13" fmla="*/ 19 h 96"/>
                <a:gd name="T14" fmla="*/ 93 w 389"/>
                <a:gd name="T15" fmla="*/ 39 h 96"/>
                <a:gd name="T16" fmla="*/ 94 w 389"/>
                <a:gd name="T17" fmla="*/ 43 h 96"/>
                <a:gd name="T18" fmla="*/ 85 w 389"/>
                <a:gd name="T19" fmla="*/ 62 h 96"/>
                <a:gd name="T20" fmla="*/ 98 w 389"/>
                <a:gd name="T21" fmla="*/ 85 h 96"/>
                <a:gd name="T22" fmla="*/ 106 w 389"/>
                <a:gd name="T23" fmla="*/ 88 h 96"/>
                <a:gd name="T24" fmla="*/ 113 w 389"/>
                <a:gd name="T25" fmla="*/ 88 h 96"/>
                <a:gd name="T26" fmla="*/ 120 w 389"/>
                <a:gd name="T27" fmla="*/ 86 h 96"/>
                <a:gd name="T28" fmla="*/ 128 w 389"/>
                <a:gd name="T29" fmla="*/ 89 h 96"/>
                <a:gd name="T30" fmla="*/ 139 w 389"/>
                <a:gd name="T31" fmla="*/ 92 h 96"/>
                <a:gd name="T32" fmla="*/ 145 w 389"/>
                <a:gd name="T33" fmla="*/ 93 h 96"/>
                <a:gd name="T34" fmla="*/ 155 w 389"/>
                <a:gd name="T35" fmla="*/ 92 h 96"/>
                <a:gd name="T36" fmla="*/ 157 w 389"/>
                <a:gd name="T37" fmla="*/ 91 h 96"/>
                <a:gd name="T38" fmla="*/ 163 w 389"/>
                <a:gd name="T39" fmla="*/ 79 h 96"/>
                <a:gd name="T40" fmla="*/ 174 w 389"/>
                <a:gd name="T41" fmla="*/ 80 h 96"/>
                <a:gd name="T42" fmla="*/ 178 w 389"/>
                <a:gd name="T43" fmla="*/ 82 h 96"/>
                <a:gd name="T44" fmla="*/ 184 w 389"/>
                <a:gd name="T45" fmla="*/ 94 h 96"/>
                <a:gd name="T46" fmla="*/ 196 w 389"/>
                <a:gd name="T47" fmla="*/ 96 h 96"/>
                <a:gd name="T48" fmla="*/ 204 w 389"/>
                <a:gd name="T49" fmla="*/ 95 h 96"/>
                <a:gd name="T50" fmla="*/ 211 w 389"/>
                <a:gd name="T51" fmla="*/ 94 h 96"/>
                <a:gd name="T52" fmla="*/ 225 w 389"/>
                <a:gd name="T53" fmla="*/ 95 h 96"/>
                <a:gd name="T54" fmla="*/ 233 w 389"/>
                <a:gd name="T55" fmla="*/ 95 h 96"/>
                <a:gd name="T56" fmla="*/ 248 w 389"/>
                <a:gd name="T57" fmla="*/ 91 h 96"/>
                <a:gd name="T58" fmla="*/ 257 w 389"/>
                <a:gd name="T59" fmla="*/ 86 h 96"/>
                <a:gd name="T60" fmla="*/ 266 w 389"/>
                <a:gd name="T61" fmla="*/ 94 h 96"/>
                <a:gd name="T62" fmla="*/ 295 w 389"/>
                <a:gd name="T63" fmla="*/ 83 h 96"/>
                <a:gd name="T64" fmla="*/ 302 w 389"/>
                <a:gd name="T65" fmla="*/ 87 h 96"/>
                <a:gd name="T66" fmla="*/ 335 w 389"/>
                <a:gd name="T67" fmla="*/ 96 h 96"/>
                <a:gd name="T68" fmla="*/ 369 w 389"/>
                <a:gd name="T69" fmla="*/ 83 h 96"/>
                <a:gd name="T70" fmla="*/ 368 w 389"/>
                <a:gd name="T71" fmla="*/ 75 h 96"/>
                <a:gd name="T72" fmla="*/ 389 w 389"/>
                <a:gd name="T73" fmla="*/ 76 h 96"/>
                <a:gd name="T74" fmla="*/ 363 w 389"/>
                <a:gd name="T75" fmla="*/ 70 h 96"/>
                <a:gd name="T76" fmla="*/ 377 w 389"/>
                <a:gd name="T77" fmla="*/ 49 h 96"/>
                <a:gd name="T78" fmla="*/ 374 w 389"/>
                <a:gd name="T79" fmla="*/ 46 h 96"/>
                <a:gd name="T80" fmla="*/ 352 w 389"/>
                <a:gd name="T81" fmla="*/ 42 h 96"/>
                <a:gd name="T82" fmla="*/ 334 w 389"/>
                <a:gd name="T83" fmla="*/ 33 h 96"/>
                <a:gd name="T84" fmla="*/ 302 w 389"/>
                <a:gd name="T85" fmla="*/ 37 h 96"/>
                <a:gd name="T86" fmla="*/ 278 w 389"/>
                <a:gd name="T87" fmla="*/ 36 h 96"/>
                <a:gd name="T88" fmla="*/ 274 w 389"/>
                <a:gd name="T89" fmla="*/ 38 h 96"/>
                <a:gd name="T90" fmla="*/ 257 w 389"/>
                <a:gd name="T91" fmla="*/ 41 h 96"/>
                <a:gd name="T92" fmla="*/ 245 w 389"/>
                <a:gd name="T93" fmla="*/ 44 h 96"/>
                <a:gd name="T94" fmla="*/ 234 w 389"/>
                <a:gd name="T95" fmla="*/ 52 h 96"/>
                <a:gd name="T96" fmla="*/ 204 w 389"/>
                <a:gd name="T97" fmla="*/ 43 h 96"/>
                <a:gd name="T98" fmla="*/ 192 w 389"/>
                <a:gd name="T99" fmla="*/ 45 h 96"/>
                <a:gd name="T100" fmla="*/ 168 w 389"/>
                <a:gd name="T101" fmla="*/ 43 h 96"/>
                <a:gd name="T102" fmla="*/ 156 w 389"/>
                <a:gd name="T103" fmla="*/ 46 h 96"/>
                <a:gd name="T104" fmla="*/ 150 w 389"/>
                <a:gd name="T105" fmla="*/ 43 h 96"/>
                <a:gd name="T106" fmla="*/ 155 w 389"/>
                <a:gd name="T107" fmla="*/ 33 h 96"/>
                <a:gd name="T108" fmla="*/ 141 w 389"/>
                <a:gd name="T109" fmla="*/ 24 h 96"/>
                <a:gd name="T110" fmla="*/ 123 w 389"/>
                <a:gd name="T111" fmla="*/ 25 h 96"/>
                <a:gd name="T112" fmla="*/ 115 w 389"/>
                <a:gd name="T113" fmla="*/ 24 h 96"/>
                <a:gd name="T114" fmla="*/ 136 w 389"/>
                <a:gd name="T115" fmla="*/ 21 h 96"/>
                <a:gd name="T116" fmla="*/ 112 w 389"/>
                <a:gd name="T117" fmla="*/ 14 h 96"/>
                <a:gd name="T118" fmla="*/ 142 w 389"/>
                <a:gd name="T119" fmla="*/ 16 h 96"/>
                <a:gd name="T120" fmla="*/ 131 w 389"/>
                <a:gd name="T121" fmla="*/ 5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9" h="96">
                  <a:moveTo>
                    <a:pt x="108" y="0"/>
                  </a:moveTo>
                  <a:cubicBezTo>
                    <a:pt x="66" y="0"/>
                    <a:pt x="66" y="0"/>
                    <a:pt x="66" y="0"/>
                  </a:cubicBezTo>
                  <a:cubicBezTo>
                    <a:pt x="64" y="2"/>
                    <a:pt x="61" y="5"/>
                    <a:pt x="59" y="5"/>
                  </a:cubicBezTo>
                  <a:cubicBezTo>
                    <a:pt x="59" y="5"/>
                    <a:pt x="59" y="5"/>
                    <a:pt x="59" y="5"/>
                  </a:cubicBezTo>
                  <a:cubicBezTo>
                    <a:pt x="54" y="4"/>
                    <a:pt x="60" y="2"/>
                    <a:pt x="61" y="1"/>
                  </a:cubicBezTo>
                  <a:cubicBezTo>
                    <a:pt x="61" y="1"/>
                    <a:pt x="62" y="1"/>
                    <a:pt x="62" y="0"/>
                  </a:cubicBezTo>
                  <a:cubicBezTo>
                    <a:pt x="3" y="0"/>
                    <a:pt x="3" y="0"/>
                    <a:pt x="3" y="0"/>
                  </a:cubicBezTo>
                  <a:cubicBezTo>
                    <a:pt x="2" y="0"/>
                    <a:pt x="1" y="1"/>
                    <a:pt x="0" y="1"/>
                  </a:cubicBezTo>
                  <a:cubicBezTo>
                    <a:pt x="3" y="4"/>
                    <a:pt x="6" y="5"/>
                    <a:pt x="10" y="6"/>
                  </a:cubicBezTo>
                  <a:cubicBezTo>
                    <a:pt x="11" y="6"/>
                    <a:pt x="11" y="6"/>
                    <a:pt x="12" y="6"/>
                  </a:cubicBezTo>
                  <a:cubicBezTo>
                    <a:pt x="14" y="7"/>
                    <a:pt x="14" y="7"/>
                    <a:pt x="15" y="7"/>
                  </a:cubicBezTo>
                  <a:cubicBezTo>
                    <a:pt x="20" y="8"/>
                    <a:pt x="25" y="8"/>
                    <a:pt x="30" y="9"/>
                  </a:cubicBezTo>
                  <a:cubicBezTo>
                    <a:pt x="29" y="9"/>
                    <a:pt x="28" y="9"/>
                    <a:pt x="27" y="9"/>
                  </a:cubicBezTo>
                  <a:cubicBezTo>
                    <a:pt x="23" y="9"/>
                    <a:pt x="19" y="9"/>
                    <a:pt x="17" y="11"/>
                  </a:cubicBezTo>
                  <a:cubicBezTo>
                    <a:pt x="16" y="13"/>
                    <a:pt x="17" y="13"/>
                    <a:pt x="19" y="13"/>
                  </a:cubicBezTo>
                  <a:cubicBezTo>
                    <a:pt x="19" y="13"/>
                    <a:pt x="20" y="13"/>
                    <a:pt x="20" y="13"/>
                  </a:cubicBezTo>
                  <a:cubicBezTo>
                    <a:pt x="21" y="13"/>
                    <a:pt x="21" y="13"/>
                    <a:pt x="21" y="13"/>
                  </a:cubicBezTo>
                  <a:cubicBezTo>
                    <a:pt x="22" y="13"/>
                    <a:pt x="22" y="13"/>
                    <a:pt x="22" y="13"/>
                  </a:cubicBezTo>
                  <a:cubicBezTo>
                    <a:pt x="22" y="13"/>
                    <a:pt x="23" y="13"/>
                    <a:pt x="23" y="13"/>
                  </a:cubicBezTo>
                  <a:cubicBezTo>
                    <a:pt x="25" y="13"/>
                    <a:pt x="26" y="13"/>
                    <a:pt x="28" y="12"/>
                  </a:cubicBezTo>
                  <a:cubicBezTo>
                    <a:pt x="29" y="12"/>
                    <a:pt x="30" y="10"/>
                    <a:pt x="31" y="10"/>
                  </a:cubicBezTo>
                  <a:cubicBezTo>
                    <a:pt x="31" y="10"/>
                    <a:pt x="32" y="10"/>
                    <a:pt x="32" y="10"/>
                  </a:cubicBezTo>
                  <a:cubicBezTo>
                    <a:pt x="33" y="10"/>
                    <a:pt x="32" y="10"/>
                    <a:pt x="33" y="11"/>
                  </a:cubicBezTo>
                  <a:cubicBezTo>
                    <a:pt x="37" y="12"/>
                    <a:pt x="43" y="11"/>
                    <a:pt x="47" y="12"/>
                  </a:cubicBezTo>
                  <a:cubicBezTo>
                    <a:pt x="48" y="12"/>
                    <a:pt x="49" y="12"/>
                    <a:pt x="51" y="12"/>
                  </a:cubicBezTo>
                  <a:cubicBezTo>
                    <a:pt x="52" y="12"/>
                    <a:pt x="53" y="12"/>
                    <a:pt x="54" y="12"/>
                  </a:cubicBezTo>
                  <a:cubicBezTo>
                    <a:pt x="54" y="12"/>
                    <a:pt x="55" y="9"/>
                    <a:pt x="56" y="9"/>
                  </a:cubicBezTo>
                  <a:cubicBezTo>
                    <a:pt x="56" y="9"/>
                    <a:pt x="56" y="9"/>
                    <a:pt x="56" y="10"/>
                  </a:cubicBezTo>
                  <a:cubicBezTo>
                    <a:pt x="57" y="10"/>
                    <a:pt x="57" y="10"/>
                    <a:pt x="57" y="10"/>
                  </a:cubicBezTo>
                  <a:cubicBezTo>
                    <a:pt x="58" y="10"/>
                    <a:pt x="59" y="10"/>
                    <a:pt x="59" y="10"/>
                  </a:cubicBezTo>
                  <a:cubicBezTo>
                    <a:pt x="61" y="10"/>
                    <a:pt x="63" y="8"/>
                    <a:pt x="65" y="7"/>
                  </a:cubicBezTo>
                  <a:cubicBezTo>
                    <a:pt x="66" y="7"/>
                    <a:pt x="67" y="7"/>
                    <a:pt x="68" y="7"/>
                  </a:cubicBezTo>
                  <a:cubicBezTo>
                    <a:pt x="68" y="7"/>
                    <a:pt x="68" y="7"/>
                    <a:pt x="69" y="7"/>
                  </a:cubicBezTo>
                  <a:cubicBezTo>
                    <a:pt x="70" y="8"/>
                    <a:pt x="69" y="8"/>
                    <a:pt x="70" y="10"/>
                  </a:cubicBezTo>
                  <a:cubicBezTo>
                    <a:pt x="73" y="14"/>
                    <a:pt x="77" y="15"/>
                    <a:pt x="80" y="19"/>
                  </a:cubicBezTo>
                  <a:cubicBezTo>
                    <a:pt x="80" y="20"/>
                    <a:pt x="80" y="21"/>
                    <a:pt x="80" y="23"/>
                  </a:cubicBezTo>
                  <a:cubicBezTo>
                    <a:pt x="80" y="24"/>
                    <a:pt x="81" y="24"/>
                    <a:pt x="82" y="25"/>
                  </a:cubicBezTo>
                  <a:cubicBezTo>
                    <a:pt x="84" y="26"/>
                    <a:pt x="86" y="28"/>
                    <a:pt x="88" y="29"/>
                  </a:cubicBezTo>
                  <a:cubicBezTo>
                    <a:pt x="91" y="30"/>
                    <a:pt x="93" y="30"/>
                    <a:pt x="93" y="33"/>
                  </a:cubicBezTo>
                  <a:cubicBezTo>
                    <a:pt x="92" y="36"/>
                    <a:pt x="90" y="37"/>
                    <a:pt x="93" y="39"/>
                  </a:cubicBezTo>
                  <a:cubicBezTo>
                    <a:pt x="94" y="39"/>
                    <a:pt x="94" y="40"/>
                    <a:pt x="95" y="41"/>
                  </a:cubicBezTo>
                  <a:cubicBezTo>
                    <a:pt x="95" y="41"/>
                    <a:pt x="95" y="40"/>
                    <a:pt x="95" y="40"/>
                  </a:cubicBezTo>
                  <a:cubicBezTo>
                    <a:pt x="94" y="40"/>
                    <a:pt x="94" y="41"/>
                    <a:pt x="94" y="42"/>
                  </a:cubicBezTo>
                  <a:cubicBezTo>
                    <a:pt x="94" y="43"/>
                    <a:pt x="94" y="43"/>
                    <a:pt x="94" y="43"/>
                  </a:cubicBezTo>
                  <a:cubicBezTo>
                    <a:pt x="94" y="43"/>
                    <a:pt x="94" y="43"/>
                    <a:pt x="94" y="43"/>
                  </a:cubicBezTo>
                  <a:cubicBezTo>
                    <a:pt x="94" y="44"/>
                    <a:pt x="95" y="44"/>
                    <a:pt x="93" y="45"/>
                  </a:cubicBezTo>
                  <a:cubicBezTo>
                    <a:pt x="93" y="45"/>
                    <a:pt x="91" y="45"/>
                    <a:pt x="91" y="46"/>
                  </a:cubicBezTo>
                  <a:cubicBezTo>
                    <a:pt x="88" y="47"/>
                    <a:pt x="82" y="53"/>
                    <a:pt x="87" y="54"/>
                  </a:cubicBezTo>
                  <a:cubicBezTo>
                    <a:pt x="86" y="55"/>
                    <a:pt x="85" y="56"/>
                    <a:pt x="85" y="57"/>
                  </a:cubicBezTo>
                  <a:cubicBezTo>
                    <a:pt x="83" y="60"/>
                    <a:pt x="84" y="60"/>
                    <a:pt x="85" y="62"/>
                  </a:cubicBezTo>
                  <a:cubicBezTo>
                    <a:pt x="87" y="65"/>
                    <a:pt x="89" y="65"/>
                    <a:pt x="90" y="68"/>
                  </a:cubicBezTo>
                  <a:cubicBezTo>
                    <a:pt x="90" y="71"/>
                    <a:pt x="92" y="72"/>
                    <a:pt x="93" y="74"/>
                  </a:cubicBezTo>
                  <a:cubicBezTo>
                    <a:pt x="95" y="76"/>
                    <a:pt x="94" y="77"/>
                    <a:pt x="94" y="79"/>
                  </a:cubicBezTo>
                  <a:cubicBezTo>
                    <a:pt x="93" y="82"/>
                    <a:pt x="95" y="81"/>
                    <a:pt x="96" y="82"/>
                  </a:cubicBezTo>
                  <a:cubicBezTo>
                    <a:pt x="98" y="85"/>
                    <a:pt x="98" y="85"/>
                    <a:pt x="98" y="85"/>
                  </a:cubicBezTo>
                  <a:cubicBezTo>
                    <a:pt x="98" y="85"/>
                    <a:pt x="99" y="85"/>
                    <a:pt x="99" y="85"/>
                  </a:cubicBezTo>
                  <a:cubicBezTo>
                    <a:pt x="100" y="85"/>
                    <a:pt x="100" y="84"/>
                    <a:pt x="101" y="84"/>
                  </a:cubicBezTo>
                  <a:cubicBezTo>
                    <a:pt x="101" y="84"/>
                    <a:pt x="101" y="84"/>
                    <a:pt x="101" y="84"/>
                  </a:cubicBezTo>
                  <a:cubicBezTo>
                    <a:pt x="102" y="84"/>
                    <a:pt x="102" y="86"/>
                    <a:pt x="103" y="87"/>
                  </a:cubicBezTo>
                  <a:cubicBezTo>
                    <a:pt x="104" y="87"/>
                    <a:pt x="106" y="88"/>
                    <a:pt x="106" y="88"/>
                  </a:cubicBezTo>
                  <a:cubicBezTo>
                    <a:pt x="106" y="88"/>
                    <a:pt x="106" y="88"/>
                    <a:pt x="107" y="88"/>
                  </a:cubicBezTo>
                  <a:cubicBezTo>
                    <a:pt x="108" y="88"/>
                    <a:pt x="109" y="87"/>
                    <a:pt x="109" y="87"/>
                  </a:cubicBezTo>
                  <a:cubicBezTo>
                    <a:pt x="110" y="86"/>
                    <a:pt x="110" y="85"/>
                    <a:pt x="110" y="85"/>
                  </a:cubicBezTo>
                  <a:cubicBezTo>
                    <a:pt x="111" y="85"/>
                    <a:pt x="111" y="86"/>
                    <a:pt x="111" y="87"/>
                  </a:cubicBezTo>
                  <a:cubicBezTo>
                    <a:pt x="112" y="88"/>
                    <a:pt x="112" y="88"/>
                    <a:pt x="113" y="88"/>
                  </a:cubicBezTo>
                  <a:cubicBezTo>
                    <a:pt x="113" y="88"/>
                    <a:pt x="114" y="88"/>
                    <a:pt x="114" y="87"/>
                  </a:cubicBezTo>
                  <a:cubicBezTo>
                    <a:pt x="113" y="84"/>
                    <a:pt x="113" y="84"/>
                    <a:pt x="115" y="83"/>
                  </a:cubicBezTo>
                  <a:cubicBezTo>
                    <a:pt x="118" y="81"/>
                    <a:pt x="121" y="78"/>
                    <a:pt x="124" y="77"/>
                  </a:cubicBezTo>
                  <a:cubicBezTo>
                    <a:pt x="125" y="80"/>
                    <a:pt x="119" y="83"/>
                    <a:pt x="118" y="85"/>
                  </a:cubicBezTo>
                  <a:cubicBezTo>
                    <a:pt x="119" y="86"/>
                    <a:pt x="119" y="86"/>
                    <a:pt x="120" y="86"/>
                  </a:cubicBezTo>
                  <a:cubicBezTo>
                    <a:pt x="120" y="86"/>
                    <a:pt x="121" y="85"/>
                    <a:pt x="121" y="85"/>
                  </a:cubicBezTo>
                  <a:cubicBezTo>
                    <a:pt x="122" y="85"/>
                    <a:pt x="122" y="84"/>
                    <a:pt x="123" y="84"/>
                  </a:cubicBezTo>
                  <a:cubicBezTo>
                    <a:pt x="123" y="84"/>
                    <a:pt x="123" y="84"/>
                    <a:pt x="123" y="84"/>
                  </a:cubicBezTo>
                  <a:cubicBezTo>
                    <a:pt x="124" y="85"/>
                    <a:pt x="124" y="86"/>
                    <a:pt x="125" y="87"/>
                  </a:cubicBezTo>
                  <a:cubicBezTo>
                    <a:pt x="125" y="88"/>
                    <a:pt x="127" y="89"/>
                    <a:pt x="128" y="89"/>
                  </a:cubicBezTo>
                  <a:cubicBezTo>
                    <a:pt x="129" y="90"/>
                    <a:pt x="130" y="90"/>
                    <a:pt x="131" y="90"/>
                  </a:cubicBezTo>
                  <a:cubicBezTo>
                    <a:pt x="131" y="90"/>
                    <a:pt x="131" y="90"/>
                    <a:pt x="131" y="90"/>
                  </a:cubicBezTo>
                  <a:cubicBezTo>
                    <a:pt x="131" y="90"/>
                    <a:pt x="131" y="90"/>
                    <a:pt x="131" y="90"/>
                  </a:cubicBezTo>
                  <a:cubicBezTo>
                    <a:pt x="133" y="90"/>
                    <a:pt x="132" y="90"/>
                    <a:pt x="134" y="90"/>
                  </a:cubicBezTo>
                  <a:cubicBezTo>
                    <a:pt x="136" y="91"/>
                    <a:pt x="137" y="92"/>
                    <a:pt x="139" y="92"/>
                  </a:cubicBezTo>
                  <a:cubicBezTo>
                    <a:pt x="140" y="92"/>
                    <a:pt x="140" y="92"/>
                    <a:pt x="140" y="92"/>
                  </a:cubicBezTo>
                  <a:cubicBezTo>
                    <a:pt x="140" y="92"/>
                    <a:pt x="140" y="91"/>
                    <a:pt x="141" y="91"/>
                  </a:cubicBezTo>
                  <a:cubicBezTo>
                    <a:pt x="141" y="91"/>
                    <a:pt x="141" y="91"/>
                    <a:pt x="141" y="91"/>
                  </a:cubicBezTo>
                  <a:cubicBezTo>
                    <a:pt x="142" y="91"/>
                    <a:pt x="142" y="92"/>
                    <a:pt x="142" y="92"/>
                  </a:cubicBezTo>
                  <a:cubicBezTo>
                    <a:pt x="143" y="92"/>
                    <a:pt x="143" y="93"/>
                    <a:pt x="145" y="93"/>
                  </a:cubicBezTo>
                  <a:cubicBezTo>
                    <a:pt x="145" y="93"/>
                    <a:pt x="145" y="93"/>
                    <a:pt x="145" y="93"/>
                  </a:cubicBezTo>
                  <a:cubicBezTo>
                    <a:pt x="147" y="93"/>
                    <a:pt x="149" y="92"/>
                    <a:pt x="150" y="92"/>
                  </a:cubicBezTo>
                  <a:cubicBezTo>
                    <a:pt x="151" y="92"/>
                    <a:pt x="151" y="92"/>
                    <a:pt x="151" y="92"/>
                  </a:cubicBezTo>
                  <a:cubicBezTo>
                    <a:pt x="152" y="93"/>
                    <a:pt x="152" y="93"/>
                    <a:pt x="152" y="93"/>
                  </a:cubicBezTo>
                  <a:cubicBezTo>
                    <a:pt x="153" y="93"/>
                    <a:pt x="154" y="92"/>
                    <a:pt x="155" y="92"/>
                  </a:cubicBezTo>
                  <a:cubicBezTo>
                    <a:pt x="155" y="92"/>
                    <a:pt x="155" y="91"/>
                    <a:pt x="156" y="91"/>
                  </a:cubicBezTo>
                  <a:cubicBezTo>
                    <a:pt x="156" y="91"/>
                    <a:pt x="156" y="91"/>
                    <a:pt x="156" y="91"/>
                  </a:cubicBezTo>
                  <a:cubicBezTo>
                    <a:pt x="156" y="91"/>
                    <a:pt x="157" y="91"/>
                    <a:pt x="157" y="91"/>
                  </a:cubicBezTo>
                  <a:cubicBezTo>
                    <a:pt x="157" y="91"/>
                    <a:pt x="157" y="91"/>
                    <a:pt x="157" y="91"/>
                  </a:cubicBezTo>
                  <a:cubicBezTo>
                    <a:pt x="157" y="91"/>
                    <a:pt x="157" y="91"/>
                    <a:pt x="157" y="91"/>
                  </a:cubicBezTo>
                  <a:cubicBezTo>
                    <a:pt x="160" y="90"/>
                    <a:pt x="162" y="91"/>
                    <a:pt x="162" y="88"/>
                  </a:cubicBezTo>
                  <a:cubicBezTo>
                    <a:pt x="161" y="86"/>
                    <a:pt x="159" y="85"/>
                    <a:pt x="159" y="83"/>
                  </a:cubicBezTo>
                  <a:cubicBezTo>
                    <a:pt x="160" y="83"/>
                    <a:pt x="161" y="84"/>
                    <a:pt x="162" y="84"/>
                  </a:cubicBezTo>
                  <a:cubicBezTo>
                    <a:pt x="163" y="84"/>
                    <a:pt x="163" y="84"/>
                    <a:pt x="163" y="84"/>
                  </a:cubicBezTo>
                  <a:cubicBezTo>
                    <a:pt x="164" y="84"/>
                    <a:pt x="163" y="80"/>
                    <a:pt x="163" y="79"/>
                  </a:cubicBezTo>
                  <a:cubicBezTo>
                    <a:pt x="164" y="80"/>
                    <a:pt x="166" y="81"/>
                    <a:pt x="167" y="83"/>
                  </a:cubicBezTo>
                  <a:cubicBezTo>
                    <a:pt x="167" y="84"/>
                    <a:pt x="167" y="87"/>
                    <a:pt x="168" y="87"/>
                  </a:cubicBezTo>
                  <a:cubicBezTo>
                    <a:pt x="168" y="87"/>
                    <a:pt x="169" y="87"/>
                    <a:pt x="169" y="87"/>
                  </a:cubicBezTo>
                  <a:cubicBezTo>
                    <a:pt x="170" y="86"/>
                    <a:pt x="172" y="79"/>
                    <a:pt x="173" y="79"/>
                  </a:cubicBezTo>
                  <a:cubicBezTo>
                    <a:pt x="173" y="79"/>
                    <a:pt x="173" y="79"/>
                    <a:pt x="174" y="80"/>
                  </a:cubicBezTo>
                  <a:cubicBezTo>
                    <a:pt x="174" y="79"/>
                    <a:pt x="175" y="76"/>
                    <a:pt x="176" y="76"/>
                  </a:cubicBezTo>
                  <a:cubicBezTo>
                    <a:pt x="176" y="76"/>
                    <a:pt x="176" y="77"/>
                    <a:pt x="177" y="78"/>
                  </a:cubicBezTo>
                  <a:cubicBezTo>
                    <a:pt x="177" y="79"/>
                    <a:pt x="177" y="81"/>
                    <a:pt x="177" y="81"/>
                  </a:cubicBezTo>
                  <a:cubicBezTo>
                    <a:pt x="177" y="82"/>
                    <a:pt x="180" y="81"/>
                    <a:pt x="181" y="82"/>
                  </a:cubicBezTo>
                  <a:cubicBezTo>
                    <a:pt x="180" y="82"/>
                    <a:pt x="179" y="82"/>
                    <a:pt x="178" y="82"/>
                  </a:cubicBezTo>
                  <a:cubicBezTo>
                    <a:pt x="180" y="86"/>
                    <a:pt x="170" y="93"/>
                    <a:pt x="178" y="95"/>
                  </a:cubicBezTo>
                  <a:cubicBezTo>
                    <a:pt x="179" y="95"/>
                    <a:pt x="180" y="95"/>
                    <a:pt x="181" y="95"/>
                  </a:cubicBezTo>
                  <a:cubicBezTo>
                    <a:pt x="181" y="95"/>
                    <a:pt x="181" y="95"/>
                    <a:pt x="181" y="95"/>
                  </a:cubicBezTo>
                  <a:cubicBezTo>
                    <a:pt x="182" y="95"/>
                    <a:pt x="184" y="94"/>
                    <a:pt x="184" y="94"/>
                  </a:cubicBezTo>
                  <a:cubicBezTo>
                    <a:pt x="184" y="94"/>
                    <a:pt x="184" y="94"/>
                    <a:pt x="184" y="94"/>
                  </a:cubicBezTo>
                  <a:cubicBezTo>
                    <a:pt x="186" y="94"/>
                    <a:pt x="187" y="96"/>
                    <a:pt x="189" y="96"/>
                  </a:cubicBezTo>
                  <a:cubicBezTo>
                    <a:pt x="190" y="96"/>
                    <a:pt x="190" y="96"/>
                    <a:pt x="190" y="96"/>
                  </a:cubicBezTo>
                  <a:cubicBezTo>
                    <a:pt x="191" y="96"/>
                    <a:pt x="192" y="94"/>
                    <a:pt x="193" y="94"/>
                  </a:cubicBezTo>
                  <a:cubicBezTo>
                    <a:pt x="193" y="94"/>
                    <a:pt x="193" y="94"/>
                    <a:pt x="193" y="94"/>
                  </a:cubicBezTo>
                  <a:cubicBezTo>
                    <a:pt x="193" y="94"/>
                    <a:pt x="195" y="96"/>
                    <a:pt x="196" y="96"/>
                  </a:cubicBezTo>
                  <a:cubicBezTo>
                    <a:pt x="196" y="96"/>
                    <a:pt x="196" y="96"/>
                    <a:pt x="196" y="96"/>
                  </a:cubicBezTo>
                  <a:cubicBezTo>
                    <a:pt x="197" y="96"/>
                    <a:pt x="198" y="96"/>
                    <a:pt x="199" y="96"/>
                  </a:cubicBezTo>
                  <a:cubicBezTo>
                    <a:pt x="200" y="96"/>
                    <a:pt x="201" y="94"/>
                    <a:pt x="201" y="94"/>
                  </a:cubicBezTo>
                  <a:cubicBezTo>
                    <a:pt x="201" y="94"/>
                    <a:pt x="201" y="94"/>
                    <a:pt x="201" y="94"/>
                  </a:cubicBezTo>
                  <a:cubicBezTo>
                    <a:pt x="202" y="94"/>
                    <a:pt x="203" y="94"/>
                    <a:pt x="204" y="95"/>
                  </a:cubicBezTo>
                  <a:cubicBezTo>
                    <a:pt x="204" y="95"/>
                    <a:pt x="205" y="96"/>
                    <a:pt x="207" y="96"/>
                  </a:cubicBezTo>
                  <a:cubicBezTo>
                    <a:pt x="207" y="96"/>
                    <a:pt x="207" y="96"/>
                    <a:pt x="207" y="96"/>
                  </a:cubicBezTo>
                  <a:cubicBezTo>
                    <a:pt x="208" y="96"/>
                    <a:pt x="209" y="96"/>
                    <a:pt x="210" y="95"/>
                  </a:cubicBezTo>
                  <a:cubicBezTo>
                    <a:pt x="210" y="95"/>
                    <a:pt x="210" y="94"/>
                    <a:pt x="211" y="94"/>
                  </a:cubicBezTo>
                  <a:cubicBezTo>
                    <a:pt x="211" y="94"/>
                    <a:pt x="211" y="94"/>
                    <a:pt x="211" y="94"/>
                  </a:cubicBezTo>
                  <a:cubicBezTo>
                    <a:pt x="211" y="94"/>
                    <a:pt x="211" y="95"/>
                    <a:pt x="212" y="96"/>
                  </a:cubicBezTo>
                  <a:cubicBezTo>
                    <a:pt x="213" y="96"/>
                    <a:pt x="215" y="96"/>
                    <a:pt x="217" y="96"/>
                  </a:cubicBezTo>
                  <a:cubicBezTo>
                    <a:pt x="218" y="96"/>
                    <a:pt x="219" y="96"/>
                    <a:pt x="220" y="96"/>
                  </a:cubicBezTo>
                  <a:cubicBezTo>
                    <a:pt x="218" y="95"/>
                    <a:pt x="216" y="92"/>
                    <a:pt x="216" y="89"/>
                  </a:cubicBezTo>
                  <a:cubicBezTo>
                    <a:pt x="217" y="91"/>
                    <a:pt x="221" y="95"/>
                    <a:pt x="225" y="95"/>
                  </a:cubicBezTo>
                  <a:cubicBezTo>
                    <a:pt x="226" y="95"/>
                    <a:pt x="226" y="95"/>
                    <a:pt x="227" y="95"/>
                  </a:cubicBezTo>
                  <a:cubicBezTo>
                    <a:pt x="228" y="94"/>
                    <a:pt x="229" y="90"/>
                    <a:pt x="230" y="90"/>
                  </a:cubicBezTo>
                  <a:cubicBezTo>
                    <a:pt x="230" y="90"/>
                    <a:pt x="230" y="90"/>
                    <a:pt x="231" y="91"/>
                  </a:cubicBezTo>
                  <a:cubicBezTo>
                    <a:pt x="232" y="93"/>
                    <a:pt x="231" y="95"/>
                    <a:pt x="233" y="95"/>
                  </a:cubicBezTo>
                  <a:cubicBezTo>
                    <a:pt x="233" y="95"/>
                    <a:pt x="233" y="95"/>
                    <a:pt x="233" y="95"/>
                  </a:cubicBezTo>
                  <a:cubicBezTo>
                    <a:pt x="234" y="95"/>
                    <a:pt x="235" y="95"/>
                    <a:pt x="236" y="95"/>
                  </a:cubicBezTo>
                  <a:cubicBezTo>
                    <a:pt x="238" y="95"/>
                    <a:pt x="240" y="95"/>
                    <a:pt x="243" y="95"/>
                  </a:cubicBezTo>
                  <a:cubicBezTo>
                    <a:pt x="248" y="95"/>
                    <a:pt x="245" y="91"/>
                    <a:pt x="245" y="87"/>
                  </a:cubicBezTo>
                  <a:cubicBezTo>
                    <a:pt x="245" y="87"/>
                    <a:pt x="245" y="86"/>
                    <a:pt x="245" y="86"/>
                  </a:cubicBezTo>
                  <a:cubicBezTo>
                    <a:pt x="246" y="86"/>
                    <a:pt x="248" y="90"/>
                    <a:pt x="248" y="91"/>
                  </a:cubicBezTo>
                  <a:cubicBezTo>
                    <a:pt x="249" y="94"/>
                    <a:pt x="249" y="95"/>
                    <a:pt x="252" y="95"/>
                  </a:cubicBezTo>
                  <a:cubicBezTo>
                    <a:pt x="252" y="95"/>
                    <a:pt x="252" y="95"/>
                    <a:pt x="253" y="95"/>
                  </a:cubicBezTo>
                  <a:cubicBezTo>
                    <a:pt x="259" y="94"/>
                    <a:pt x="254" y="88"/>
                    <a:pt x="257" y="86"/>
                  </a:cubicBezTo>
                  <a:cubicBezTo>
                    <a:pt x="257" y="85"/>
                    <a:pt x="257" y="84"/>
                    <a:pt x="257" y="83"/>
                  </a:cubicBezTo>
                  <a:cubicBezTo>
                    <a:pt x="257" y="84"/>
                    <a:pt x="257" y="85"/>
                    <a:pt x="257" y="86"/>
                  </a:cubicBezTo>
                  <a:cubicBezTo>
                    <a:pt x="258" y="88"/>
                    <a:pt x="258" y="93"/>
                    <a:pt x="260" y="94"/>
                  </a:cubicBezTo>
                  <a:cubicBezTo>
                    <a:pt x="260" y="94"/>
                    <a:pt x="260" y="94"/>
                    <a:pt x="261" y="94"/>
                  </a:cubicBezTo>
                  <a:cubicBezTo>
                    <a:pt x="261" y="94"/>
                    <a:pt x="262" y="94"/>
                    <a:pt x="263" y="94"/>
                  </a:cubicBezTo>
                  <a:cubicBezTo>
                    <a:pt x="263" y="94"/>
                    <a:pt x="264" y="94"/>
                    <a:pt x="264" y="94"/>
                  </a:cubicBezTo>
                  <a:cubicBezTo>
                    <a:pt x="265" y="94"/>
                    <a:pt x="265" y="94"/>
                    <a:pt x="266" y="94"/>
                  </a:cubicBezTo>
                  <a:cubicBezTo>
                    <a:pt x="268" y="94"/>
                    <a:pt x="269" y="94"/>
                    <a:pt x="271" y="94"/>
                  </a:cubicBezTo>
                  <a:cubicBezTo>
                    <a:pt x="273" y="94"/>
                    <a:pt x="276" y="94"/>
                    <a:pt x="278" y="93"/>
                  </a:cubicBezTo>
                  <a:cubicBezTo>
                    <a:pt x="283" y="92"/>
                    <a:pt x="287" y="93"/>
                    <a:pt x="291" y="92"/>
                  </a:cubicBezTo>
                  <a:cubicBezTo>
                    <a:pt x="293" y="91"/>
                    <a:pt x="293" y="89"/>
                    <a:pt x="294" y="87"/>
                  </a:cubicBezTo>
                  <a:cubicBezTo>
                    <a:pt x="295" y="85"/>
                    <a:pt x="295" y="85"/>
                    <a:pt x="295" y="83"/>
                  </a:cubicBezTo>
                  <a:cubicBezTo>
                    <a:pt x="295" y="81"/>
                    <a:pt x="292" y="79"/>
                    <a:pt x="292" y="76"/>
                  </a:cubicBezTo>
                  <a:cubicBezTo>
                    <a:pt x="294" y="76"/>
                    <a:pt x="296" y="80"/>
                    <a:pt x="299" y="80"/>
                  </a:cubicBezTo>
                  <a:cubicBezTo>
                    <a:pt x="299" y="80"/>
                    <a:pt x="299" y="80"/>
                    <a:pt x="299" y="80"/>
                  </a:cubicBezTo>
                  <a:cubicBezTo>
                    <a:pt x="299" y="80"/>
                    <a:pt x="299" y="80"/>
                    <a:pt x="299" y="80"/>
                  </a:cubicBezTo>
                  <a:cubicBezTo>
                    <a:pt x="304" y="80"/>
                    <a:pt x="300" y="83"/>
                    <a:pt x="302" y="87"/>
                  </a:cubicBezTo>
                  <a:cubicBezTo>
                    <a:pt x="303" y="90"/>
                    <a:pt x="308" y="94"/>
                    <a:pt x="313" y="94"/>
                  </a:cubicBezTo>
                  <a:cubicBezTo>
                    <a:pt x="314" y="94"/>
                    <a:pt x="316" y="94"/>
                    <a:pt x="316" y="92"/>
                  </a:cubicBezTo>
                  <a:cubicBezTo>
                    <a:pt x="316" y="94"/>
                    <a:pt x="324" y="96"/>
                    <a:pt x="326" y="96"/>
                  </a:cubicBezTo>
                  <a:cubicBezTo>
                    <a:pt x="329" y="96"/>
                    <a:pt x="331" y="96"/>
                    <a:pt x="333" y="96"/>
                  </a:cubicBezTo>
                  <a:cubicBezTo>
                    <a:pt x="333" y="96"/>
                    <a:pt x="334" y="96"/>
                    <a:pt x="335" y="96"/>
                  </a:cubicBezTo>
                  <a:cubicBezTo>
                    <a:pt x="342" y="95"/>
                    <a:pt x="350" y="94"/>
                    <a:pt x="357" y="93"/>
                  </a:cubicBezTo>
                  <a:cubicBezTo>
                    <a:pt x="361" y="92"/>
                    <a:pt x="367" y="93"/>
                    <a:pt x="369" y="90"/>
                  </a:cubicBezTo>
                  <a:cubicBezTo>
                    <a:pt x="370" y="88"/>
                    <a:pt x="369" y="89"/>
                    <a:pt x="369" y="88"/>
                  </a:cubicBezTo>
                  <a:cubicBezTo>
                    <a:pt x="369" y="87"/>
                    <a:pt x="370" y="86"/>
                    <a:pt x="370" y="85"/>
                  </a:cubicBezTo>
                  <a:cubicBezTo>
                    <a:pt x="369" y="83"/>
                    <a:pt x="369" y="83"/>
                    <a:pt x="369" y="83"/>
                  </a:cubicBezTo>
                  <a:cubicBezTo>
                    <a:pt x="369" y="82"/>
                    <a:pt x="371" y="82"/>
                    <a:pt x="371" y="80"/>
                  </a:cubicBezTo>
                  <a:cubicBezTo>
                    <a:pt x="370" y="78"/>
                    <a:pt x="367" y="78"/>
                    <a:pt x="367" y="75"/>
                  </a:cubicBezTo>
                  <a:cubicBezTo>
                    <a:pt x="367" y="75"/>
                    <a:pt x="367" y="75"/>
                    <a:pt x="367" y="75"/>
                  </a:cubicBezTo>
                  <a:cubicBezTo>
                    <a:pt x="367" y="75"/>
                    <a:pt x="367" y="75"/>
                    <a:pt x="368" y="75"/>
                  </a:cubicBezTo>
                  <a:cubicBezTo>
                    <a:pt x="368" y="75"/>
                    <a:pt x="368" y="75"/>
                    <a:pt x="368" y="75"/>
                  </a:cubicBezTo>
                  <a:cubicBezTo>
                    <a:pt x="369" y="75"/>
                    <a:pt x="369" y="75"/>
                    <a:pt x="370" y="75"/>
                  </a:cubicBezTo>
                  <a:cubicBezTo>
                    <a:pt x="371" y="76"/>
                    <a:pt x="369" y="77"/>
                    <a:pt x="370" y="78"/>
                  </a:cubicBezTo>
                  <a:cubicBezTo>
                    <a:pt x="370" y="78"/>
                    <a:pt x="371" y="78"/>
                    <a:pt x="371" y="78"/>
                  </a:cubicBezTo>
                  <a:cubicBezTo>
                    <a:pt x="374" y="78"/>
                    <a:pt x="378" y="77"/>
                    <a:pt x="379" y="77"/>
                  </a:cubicBezTo>
                  <a:cubicBezTo>
                    <a:pt x="382" y="77"/>
                    <a:pt x="386" y="77"/>
                    <a:pt x="389" y="76"/>
                  </a:cubicBezTo>
                  <a:cubicBezTo>
                    <a:pt x="385" y="74"/>
                    <a:pt x="385" y="71"/>
                    <a:pt x="382" y="70"/>
                  </a:cubicBezTo>
                  <a:cubicBezTo>
                    <a:pt x="381" y="70"/>
                    <a:pt x="380" y="70"/>
                    <a:pt x="380" y="70"/>
                  </a:cubicBezTo>
                  <a:cubicBezTo>
                    <a:pt x="378" y="70"/>
                    <a:pt x="377" y="71"/>
                    <a:pt x="376" y="71"/>
                  </a:cubicBezTo>
                  <a:cubicBezTo>
                    <a:pt x="373" y="73"/>
                    <a:pt x="371" y="73"/>
                    <a:pt x="368" y="74"/>
                  </a:cubicBezTo>
                  <a:cubicBezTo>
                    <a:pt x="370" y="71"/>
                    <a:pt x="365" y="71"/>
                    <a:pt x="363" y="70"/>
                  </a:cubicBezTo>
                  <a:cubicBezTo>
                    <a:pt x="371" y="66"/>
                    <a:pt x="379" y="62"/>
                    <a:pt x="386" y="59"/>
                  </a:cubicBezTo>
                  <a:cubicBezTo>
                    <a:pt x="385" y="58"/>
                    <a:pt x="385" y="57"/>
                    <a:pt x="385" y="55"/>
                  </a:cubicBezTo>
                  <a:cubicBezTo>
                    <a:pt x="385" y="53"/>
                    <a:pt x="384" y="54"/>
                    <a:pt x="384" y="53"/>
                  </a:cubicBezTo>
                  <a:cubicBezTo>
                    <a:pt x="382" y="50"/>
                    <a:pt x="383" y="50"/>
                    <a:pt x="380" y="49"/>
                  </a:cubicBezTo>
                  <a:cubicBezTo>
                    <a:pt x="379" y="49"/>
                    <a:pt x="378" y="49"/>
                    <a:pt x="377" y="49"/>
                  </a:cubicBezTo>
                  <a:cubicBezTo>
                    <a:pt x="376" y="49"/>
                    <a:pt x="375" y="49"/>
                    <a:pt x="373" y="50"/>
                  </a:cubicBezTo>
                  <a:cubicBezTo>
                    <a:pt x="372" y="50"/>
                    <a:pt x="371" y="50"/>
                    <a:pt x="369" y="50"/>
                  </a:cubicBezTo>
                  <a:cubicBezTo>
                    <a:pt x="368" y="50"/>
                    <a:pt x="367" y="50"/>
                    <a:pt x="366" y="49"/>
                  </a:cubicBezTo>
                  <a:cubicBezTo>
                    <a:pt x="368" y="48"/>
                    <a:pt x="372" y="48"/>
                    <a:pt x="374" y="46"/>
                  </a:cubicBezTo>
                  <a:cubicBezTo>
                    <a:pt x="374" y="46"/>
                    <a:pt x="374" y="46"/>
                    <a:pt x="374" y="46"/>
                  </a:cubicBezTo>
                  <a:cubicBezTo>
                    <a:pt x="372" y="46"/>
                    <a:pt x="371" y="44"/>
                    <a:pt x="369" y="43"/>
                  </a:cubicBezTo>
                  <a:cubicBezTo>
                    <a:pt x="367" y="42"/>
                    <a:pt x="364" y="41"/>
                    <a:pt x="362" y="41"/>
                  </a:cubicBezTo>
                  <a:cubicBezTo>
                    <a:pt x="362" y="41"/>
                    <a:pt x="361" y="41"/>
                    <a:pt x="361" y="41"/>
                  </a:cubicBezTo>
                  <a:cubicBezTo>
                    <a:pt x="359" y="41"/>
                    <a:pt x="356" y="42"/>
                    <a:pt x="354" y="42"/>
                  </a:cubicBezTo>
                  <a:cubicBezTo>
                    <a:pt x="353" y="42"/>
                    <a:pt x="352" y="42"/>
                    <a:pt x="352" y="42"/>
                  </a:cubicBezTo>
                  <a:cubicBezTo>
                    <a:pt x="351" y="42"/>
                    <a:pt x="351" y="42"/>
                    <a:pt x="351" y="42"/>
                  </a:cubicBezTo>
                  <a:cubicBezTo>
                    <a:pt x="348" y="41"/>
                    <a:pt x="349" y="38"/>
                    <a:pt x="347" y="36"/>
                  </a:cubicBezTo>
                  <a:cubicBezTo>
                    <a:pt x="346" y="34"/>
                    <a:pt x="340" y="34"/>
                    <a:pt x="338" y="34"/>
                  </a:cubicBezTo>
                  <a:cubicBezTo>
                    <a:pt x="337" y="33"/>
                    <a:pt x="336" y="33"/>
                    <a:pt x="335" y="33"/>
                  </a:cubicBezTo>
                  <a:cubicBezTo>
                    <a:pt x="335" y="33"/>
                    <a:pt x="334" y="33"/>
                    <a:pt x="334" y="33"/>
                  </a:cubicBezTo>
                  <a:cubicBezTo>
                    <a:pt x="333" y="33"/>
                    <a:pt x="333" y="33"/>
                    <a:pt x="332" y="33"/>
                  </a:cubicBezTo>
                  <a:cubicBezTo>
                    <a:pt x="332" y="33"/>
                    <a:pt x="331" y="33"/>
                    <a:pt x="331" y="33"/>
                  </a:cubicBezTo>
                  <a:cubicBezTo>
                    <a:pt x="327" y="33"/>
                    <a:pt x="323" y="32"/>
                    <a:pt x="320" y="32"/>
                  </a:cubicBezTo>
                  <a:cubicBezTo>
                    <a:pt x="318" y="32"/>
                    <a:pt x="317" y="32"/>
                    <a:pt x="316" y="33"/>
                  </a:cubicBezTo>
                  <a:cubicBezTo>
                    <a:pt x="311" y="33"/>
                    <a:pt x="307" y="36"/>
                    <a:pt x="302" y="37"/>
                  </a:cubicBezTo>
                  <a:cubicBezTo>
                    <a:pt x="302" y="37"/>
                    <a:pt x="301" y="37"/>
                    <a:pt x="300" y="37"/>
                  </a:cubicBezTo>
                  <a:cubicBezTo>
                    <a:pt x="298" y="37"/>
                    <a:pt x="295" y="36"/>
                    <a:pt x="293" y="35"/>
                  </a:cubicBezTo>
                  <a:cubicBezTo>
                    <a:pt x="289" y="34"/>
                    <a:pt x="286" y="33"/>
                    <a:pt x="282" y="33"/>
                  </a:cubicBezTo>
                  <a:cubicBezTo>
                    <a:pt x="282" y="33"/>
                    <a:pt x="282" y="33"/>
                    <a:pt x="282" y="33"/>
                  </a:cubicBezTo>
                  <a:cubicBezTo>
                    <a:pt x="284" y="34"/>
                    <a:pt x="280" y="35"/>
                    <a:pt x="278" y="36"/>
                  </a:cubicBezTo>
                  <a:cubicBezTo>
                    <a:pt x="278" y="36"/>
                    <a:pt x="278" y="36"/>
                    <a:pt x="278" y="36"/>
                  </a:cubicBezTo>
                  <a:cubicBezTo>
                    <a:pt x="278" y="36"/>
                    <a:pt x="277" y="36"/>
                    <a:pt x="277" y="36"/>
                  </a:cubicBezTo>
                  <a:cubicBezTo>
                    <a:pt x="277" y="36"/>
                    <a:pt x="277" y="36"/>
                    <a:pt x="277" y="36"/>
                  </a:cubicBezTo>
                  <a:cubicBezTo>
                    <a:pt x="276" y="36"/>
                    <a:pt x="276" y="36"/>
                    <a:pt x="276" y="36"/>
                  </a:cubicBezTo>
                  <a:cubicBezTo>
                    <a:pt x="275" y="36"/>
                    <a:pt x="275" y="38"/>
                    <a:pt x="274" y="38"/>
                  </a:cubicBezTo>
                  <a:cubicBezTo>
                    <a:pt x="271" y="40"/>
                    <a:pt x="261" y="38"/>
                    <a:pt x="269" y="42"/>
                  </a:cubicBezTo>
                  <a:cubicBezTo>
                    <a:pt x="268" y="42"/>
                    <a:pt x="268" y="42"/>
                    <a:pt x="267" y="42"/>
                  </a:cubicBezTo>
                  <a:cubicBezTo>
                    <a:pt x="266" y="42"/>
                    <a:pt x="264" y="42"/>
                    <a:pt x="263" y="41"/>
                  </a:cubicBezTo>
                  <a:cubicBezTo>
                    <a:pt x="261" y="41"/>
                    <a:pt x="260" y="41"/>
                    <a:pt x="258" y="41"/>
                  </a:cubicBezTo>
                  <a:cubicBezTo>
                    <a:pt x="258" y="41"/>
                    <a:pt x="258" y="41"/>
                    <a:pt x="257" y="41"/>
                  </a:cubicBezTo>
                  <a:cubicBezTo>
                    <a:pt x="257" y="41"/>
                    <a:pt x="257" y="41"/>
                    <a:pt x="257" y="41"/>
                  </a:cubicBezTo>
                  <a:cubicBezTo>
                    <a:pt x="257" y="41"/>
                    <a:pt x="257" y="41"/>
                    <a:pt x="257" y="41"/>
                  </a:cubicBezTo>
                  <a:cubicBezTo>
                    <a:pt x="257" y="41"/>
                    <a:pt x="256" y="41"/>
                    <a:pt x="256" y="41"/>
                  </a:cubicBezTo>
                  <a:cubicBezTo>
                    <a:pt x="258" y="42"/>
                    <a:pt x="247" y="44"/>
                    <a:pt x="252" y="45"/>
                  </a:cubicBezTo>
                  <a:cubicBezTo>
                    <a:pt x="250" y="45"/>
                    <a:pt x="247" y="44"/>
                    <a:pt x="245" y="44"/>
                  </a:cubicBezTo>
                  <a:cubicBezTo>
                    <a:pt x="245" y="44"/>
                    <a:pt x="244" y="44"/>
                    <a:pt x="244" y="44"/>
                  </a:cubicBezTo>
                  <a:cubicBezTo>
                    <a:pt x="243" y="44"/>
                    <a:pt x="241" y="46"/>
                    <a:pt x="239" y="46"/>
                  </a:cubicBezTo>
                  <a:cubicBezTo>
                    <a:pt x="236" y="46"/>
                    <a:pt x="234" y="46"/>
                    <a:pt x="231" y="48"/>
                  </a:cubicBezTo>
                  <a:cubicBezTo>
                    <a:pt x="236" y="50"/>
                    <a:pt x="241" y="51"/>
                    <a:pt x="245" y="53"/>
                  </a:cubicBezTo>
                  <a:cubicBezTo>
                    <a:pt x="241" y="53"/>
                    <a:pt x="238" y="52"/>
                    <a:pt x="234" y="52"/>
                  </a:cubicBezTo>
                  <a:cubicBezTo>
                    <a:pt x="233" y="52"/>
                    <a:pt x="232" y="52"/>
                    <a:pt x="232" y="52"/>
                  </a:cubicBezTo>
                  <a:cubicBezTo>
                    <a:pt x="229" y="52"/>
                    <a:pt x="226" y="54"/>
                    <a:pt x="223" y="54"/>
                  </a:cubicBezTo>
                  <a:cubicBezTo>
                    <a:pt x="221" y="54"/>
                    <a:pt x="220" y="53"/>
                    <a:pt x="218" y="52"/>
                  </a:cubicBezTo>
                  <a:cubicBezTo>
                    <a:pt x="215" y="50"/>
                    <a:pt x="208" y="43"/>
                    <a:pt x="204" y="43"/>
                  </a:cubicBezTo>
                  <a:cubicBezTo>
                    <a:pt x="204" y="43"/>
                    <a:pt x="204" y="43"/>
                    <a:pt x="204" y="43"/>
                  </a:cubicBezTo>
                  <a:cubicBezTo>
                    <a:pt x="202" y="43"/>
                    <a:pt x="200" y="45"/>
                    <a:pt x="199" y="47"/>
                  </a:cubicBezTo>
                  <a:cubicBezTo>
                    <a:pt x="198" y="48"/>
                    <a:pt x="198" y="49"/>
                    <a:pt x="197" y="49"/>
                  </a:cubicBezTo>
                  <a:cubicBezTo>
                    <a:pt x="197" y="49"/>
                    <a:pt x="196" y="48"/>
                    <a:pt x="195" y="47"/>
                  </a:cubicBezTo>
                  <a:cubicBezTo>
                    <a:pt x="195" y="45"/>
                    <a:pt x="194" y="45"/>
                    <a:pt x="194" y="45"/>
                  </a:cubicBezTo>
                  <a:cubicBezTo>
                    <a:pt x="193" y="45"/>
                    <a:pt x="193" y="45"/>
                    <a:pt x="192" y="45"/>
                  </a:cubicBezTo>
                  <a:cubicBezTo>
                    <a:pt x="190" y="46"/>
                    <a:pt x="185" y="49"/>
                    <a:pt x="182" y="49"/>
                  </a:cubicBezTo>
                  <a:cubicBezTo>
                    <a:pt x="182" y="49"/>
                    <a:pt x="182" y="49"/>
                    <a:pt x="182" y="49"/>
                  </a:cubicBezTo>
                  <a:cubicBezTo>
                    <a:pt x="180" y="48"/>
                    <a:pt x="175" y="40"/>
                    <a:pt x="172" y="40"/>
                  </a:cubicBezTo>
                  <a:cubicBezTo>
                    <a:pt x="171" y="40"/>
                    <a:pt x="171" y="40"/>
                    <a:pt x="171" y="40"/>
                  </a:cubicBezTo>
                  <a:cubicBezTo>
                    <a:pt x="168" y="43"/>
                    <a:pt x="168" y="43"/>
                    <a:pt x="168" y="43"/>
                  </a:cubicBezTo>
                  <a:cubicBezTo>
                    <a:pt x="168" y="44"/>
                    <a:pt x="168" y="43"/>
                    <a:pt x="168" y="44"/>
                  </a:cubicBezTo>
                  <a:cubicBezTo>
                    <a:pt x="167" y="44"/>
                    <a:pt x="169" y="46"/>
                    <a:pt x="169" y="46"/>
                  </a:cubicBezTo>
                  <a:cubicBezTo>
                    <a:pt x="168" y="46"/>
                    <a:pt x="167" y="46"/>
                    <a:pt x="165" y="46"/>
                  </a:cubicBezTo>
                  <a:cubicBezTo>
                    <a:pt x="163" y="46"/>
                    <a:pt x="160" y="46"/>
                    <a:pt x="158" y="46"/>
                  </a:cubicBezTo>
                  <a:cubicBezTo>
                    <a:pt x="157" y="46"/>
                    <a:pt x="157" y="46"/>
                    <a:pt x="156" y="46"/>
                  </a:cubicBezTo>
                  <a:cubicBezTo>
                    <a:pt x="156" y="46"/>
                    <a:pt x="156" y="46"/>
                    <a:pt x="155" y="46"/>
                  </a:cubicBezTo>
                  <a:cubicBezTo>
                    <a:pt x="155" y="46"/>
                    <a:pt x="155" y="46"/>
                    <a:pt x="154" y="46"/>
                  </a:cubicBezTo>
                  <a:cubicBezTo>
                    <a:pt x="152" y="46"/>
                    <a:pt x="149" y="46"/>
                    <a:pt x="147" y="44"/>
                  </a:cubicBezTo>
                  <a:cubicBezTo>
                    <a:pt x="148" y="44"/>
                    <a:pt x="149" y="43"/>
                    <a:pt x="150" y="43"/>
                  </a:cubicBezTo>
                  <a:cubicBezTo>
                    <a:pt x="150" y="43"/>
                    <a:pt x="150" y="43"/>
                    <a:pt x="150" y="43"/>
                  </a:cubicBezTo>
                  <a:cubicBezTo>
                    <a:pt x="151" y="43"/>
                    <a:pt x="151" y="43"/>
                    <a:pt x="151" y="43"/>
                  </a:cubicBezTo>
                  <a:cubicBezTo>
                    <a:pt x="151" y="43"/>
                    <a:pt x="152" y="43"/>
                    <a:pt x="152" y="43"/>
                  </a:cubicBezTo>
                  <a:cubicBezTo>
                    <a:pt x="152" y="43"/>
                    <a:pt x="152" y="43"/>
                    <a:pt x="152" y="43"/>
                  </a:cubicBezTo>
                  <a:cubicBezTo>
                    <a:pt x="154" y="43"/>
                    <a:pt x="158" y="43"/>
                    <a:pt x="159" y="42"/>
                  </a:cubicBezTo>
                  <a:cubicBezTo>
                    <a:pt x="161" y="39"/>
                    <a:pt x="156" y="34"/>
                    <a:pt x="155" y="33"/>
                  </a:cubicBezTo>
                  <a:cubicBezTo>
                    <a:pt x="154" y="32"/>
                    <a:pt x="153" y="31"/>
                    <a:pt x="152" y="31"/>
                  </a:cubicBezTo>
                  <a:cubicBezTo>
                    <a:pt x="150" y="31"/>
                    <a:pt x="149" y="33"/>
                    <a:pt x="147" y="34"/>
                  </a:cubicBezTo>
                  <a:cubicBezTo>
                    <a:pt x="146" y="33"/>
                    <a:pt x="148" y="32"/>
                    <a:pt x="148" y="31"/>
                  </a:cubicBezTo>
                  <a:cubicBezTo>
                    <a:pt x="147" y="30"/>
                    <a:pt x="144" y="24"/>
                    <a:pt x="142" y="24"/>
                  </a:cubicBezTo>
                  <a:cubicBezTo>
                    <a:pt x="142" y="24"/>
                    <a:pt x="142" y="24"/>
                    <a:pt x="141" y="24"/>
                  </a:cubicBezTo>
                  <a:cubicBezTo>
                    <a:pt x="140" y="24"/>
                    <a:pt x="141" y="25"/>
                    <a:pt x="139" y="26"/>
                  </a:cubicBezTo>
                  <a:cubicBezTo>
                    <a:pt x="139" y="26"/>
                    <a:pt x="138" y="26"/>
                    <a:pt x="137" y="26"/>
                  </a:cubicBezTo>
                  <a:cubicBezTo>
                    <a:pt x="137" y="26"/>
                    <a:pt x="136" y="26"/>
                    <a:pt x="135" y="26"/>
                  </a:cubicBezTo>
                  <a:cubicBezTo>
                    <a:pt x="133" y="26"/>
                    <a:pt x="128" y="25"/>
                    <a:pt x="125" y="25"/>
                  </a:cubicBezTo>
                  <a:cubicBezTo>
                    <a:pt x="124" y="25"/>
                    <a:pt x="124" y="25"/>
                    <a:pt x="123" y="25"/>
                  </a:cubicBezTo>
                  <a:cubicBezTo>
                    <a:pt x="122" y="25"/>
                    <a:pt x="122" y="27"/>
                    <a:pt x="121" y="28"/>
                  </a:cubicBezTo>
                  <a:cubicBezTo>
                    <a:pt x="119" y="29"/>
                    <a:pt x="117" y="31"/>
                    <a:pt x="115" y="32"/>
                  </a:cubicBezTo>
                  <a:cubicBezTo>
                    <a:pt x="116" y="29"/>
                    <a:pt x="115" y="30"/>
                    <a:pt x="117" y="28"/>
                  </a:cubicBezTo>
                  <a:cubicBezTo>
                    <a:pt x="118" y="27"/>
                    <a:pt x="119" y="28"/>
                    <a:pt x="119" y="27"/>
                  </a:cubicBezTo>
                  <a:cubicBezTo>
                    <a:pt x="119" y="26"/>
                    <a:pt x="116" y="24"/>
                    <a:pt x="115" y="24"/>
                  </a:cubicBezTo>
                  <a:cubicBezTo>
                    <a:pt x="116" y="23"/>
                    <a:pt x="117" y="23"/>
                    <a:pt x="118" y="23"/>
                  </a:cubicBezTo>
                  <a:cubicBezTo>
                    <a:pt x="118" y="23"/>
                    <a:pt x="119" y="23"/>
                    <a:pt x="119" y="23"/>
                  </a:cubicBezTo>
                  <a:cubicBezTo>
                    <a:pt x="120" y="24"/>
                    <a:pt x="121" y="24"/>
                    <a:pt x="121" y="24"/>
                  </a:cubicBezTo>
                  <a:cubicBezTo>
                    <a:pt x="122" y="24"/>
                    <a:pt x="122" y="24"/>
                    <a:pt x="122" y="24"/>
                  </a:cubicBezTo>
                  <a:cubicBezTo>
                    <a:pt x="127" y="23"/>
                    <a:pt x="132" y="23"/>
                    <a:pt x="136" y="21"/>
                  </a:cubicBezTo>
                  <a:cubicBezTo>
                    <a:pt x="127" y="20"/>
                    <a:pt x="118" y="19"/>
                    <a:pt x="109" y="17"/>
                  </a:cubicBezTo>
                  <a:cubicBezTo>
                    <a:pt x="110" y="17"/>
                    <a:pt x="110" y="16"/>
                    <a:pt x="111" y="16"/>
                  </a:cubicBezTo>
                  <a:cubicBezTo>
                    <a:pt x="109" y="14"/>
                    <a:pt x="106" y="13"/>
                    <a:pt x="104" y="12"/>
                  </a:cubicBezTo>
                  <a:cubicBezTo>
                    <a:pt x="105" y="12"/>
                    <a:pt x="105" y="12"/>
                    <a:pt x="105" y="12"/>
                  </a:cubicBezTo>
                  <a:cubicBezTo>
                    <a:pt x="108" y="12"/>
                    <a:pt x="110" y="13"/>
                    <a:pt x="112" y="14"/>
                  </a:cubicBezTo>
                  <a:cubicBezTo>
                    <a:pt x="115" y="15"/>
                    <a:pt x="117" y="15"/>
                    <a:pt x="120" y="16"/>
                  </a:cubicBezTo>
                  <a:cubicBezTo>
                    <a:pt x="124" y="17"/>
                    <a:pt x="128" y="16"/>
                    <a:pt x="133" y="18"/>
                  </a:cubicBezTo>
                  <a:cubicBezTo>
                    <a:pt x="132" y="17"/>
                    <a:pt x="132" y="17"/>
                    <a:pt x="131" y="16"/>
                  </a:cubicBezTo>
                  <a:cubicBezTo>
                    <a:pt x="132" y="16"/>
                    <a:pt x="133" y="16"/>
                    <a:pt x="134" y="16"/>
                  </a:cubicBezTo>
                  <a:cubicBezTo>
                    <a:pt x="136" y="16"/>
                    <a:pt x="139" y="16"/>
                    <a:pt x="142" y="16"/>
                  </a:cubicBezTo>
                  <a:cubicBezTo>
                    <a:pt x="145" y="17"/>
                    <a:pt x="148" y="17"/>
                    <a:pt x="150" y="17"/>
                  </a:cubicBezTo>
                  <a:cubicBezTo>
                    <a:pt x="154" y="17"/>
                    <a:pt x="157" y="16"/>
                    <a:pt x="157" y="14"/>
                  </a:cubicBezTo>
                  <a:cubicBezTo>
                    <a:pt x="158" y="10"/>
                    <a:pt x="155" y="10"/>
                    <a:pt x="152" y="9"/>
                  </a:cubicBezTo>
                  <a:cubicBezTo>
                    <a:pt x="149" y="9"/>
                    <a:pt x="147" y="9"/>
                    <a:pt x="145" y="8"/>
                  </a:cubicBezTo>
                  <a:cubicBezTo>
                    <a:pt x="140" y="7"/>
                    <a:pt x="136" y="6"/>
                    <a:pt x="131" y="5"/>
                  </a:cubicBezTo>
                  <a:cubicBezTo>
                    <a:pt x="123" y="5"/>
                    <a:pt x="114" y="3"/>
                    <a:pt x="106" y="1"/>
                  </a:cubicBezTo>
                  <a:cubicBezTo>
                    <a:pt x="106" y="0"/>
                    <a:pt x="107" y="0"/>
                    <a:pt x="1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90"/>
            <p:cNvSpPr/>
            <p:nvPr/>
          </p:nvSpPr>
          <p:spPr bwMode="auto">
            <a:xfrm>
              <a:off x="7261216" y="1023172"/>
              <a:ext cx="153988" cy="49213"/>
            </a:xfrm>
            <a:custGeom>
              <a:gdLst>
                <a:gd name="T0" fmla="*/ 41 w 41"/>
                <a:gd name="T1" fmla="*/ 0 h 13"/>
                <a:gd name="T2" fmla="*/ 0 w 41"/>
                <a:gd name="T3" fmla="*/ 9 h 13"/>
                <a:gd name="T4" fmla="*/ 0 w 41"/>
                <a:gd name="T5" fmla="*/ 9 h 13"/>
                <a:gd name="T6" fmla="*/ 0 w 41"/>
                <a:gd name="T7" fmla="*/ 10 h 13"/>
                <a:gd name="T8" fmla="*/ 1 w 41"/>
                <a:gd name="T9" fmla="*/ 10 h 13"/>
                <a:gd name="T10" fmla="*/ 5 w 41"/>
                <a:gd name="T11" fmla="*/ 11 h 13"/>
                <a:gd name="T12" fmla="*/ 9 w 41"/>
                <a:gd name="T13" fmla="*/ 13 h 13"/>
                <a:gd name="T14" fmla="*/ 10 w 41"/>
                <a:gd name="T15" fmla="*/ 13 h 13"/>
                <a:gd name="T16" fmla="*/ 10 w 41"/>
                <a:gd name="T17" fmla="*/ 13 h 13"/>
                <a:gd name="T18" fmla="*/ 10 w 41"/>
                <a:gd name="T19" fmla="*/ 13 h 13"/>
                <a:gd name="T20" fmla="*/ 10 w 41"/>
                <a:gd name="T21" fmla="*/ 13 h 13"/>
                <a:gd name="T22" fmla="*/ 11 w 41"/>
                <a:gd name="T23" fmla="*/ 13 h 13"/>
                <a:gd name="T24" fmla="*/ 11 w 41"/>
                <a:gd name="T25" fmla="*/ 13 h 13"/>
                <a:gd name="T26" fmla="*/ 13 w 41"/>
                <a:gd name="T27" fmla="*/ 13 h 13"/>
                <a:gd name="T28" fmla="*/ 14 w 41"/>
                <a:gd name="T29" fmla="*/ 13 h 13"/>
                <a:gd name="T30" fmla="*/ 14 w 41"/>
                <a:gd name="T31" fmla="*/ 13 h 13"/>
                <a:gd name="T32" fmla="*/ 14 w 41"/>
                <a:gd name="T33" fmla="*/ 13 h 13"/>
                <a:gd name="T34" fmla="*/ 15 w 41"/>
                <a:gd name="T35" fmla="*/ 12 h 13"/>
                <a:gd name="T36" fmla="*/ 16 w 41"/>
                <a:gd name="T37" fmla="*/ 11 h 13"/>
                <a:gd name="T38" fmla="*/ 16 w 41"/>
                <a:gd name="T39" fmla="*/ 11 h 13"/>
                <a:gd name="T40" fmla="*/ 16 w 41"/>
                <a:gd name="T41" fmla="*/ 11 h 13"/>
                <a:gd name="T42" fmla="*/ 16 w 41"/>
                <a:gd name="T43" fmla="*/ 11 h 13"/>
                <a:gd name="T44" fmla="*/ 18 w 41"/>
                <a:gd name="T45" fmla="*/ 11 h 13"/>
                <a:gd name="T46" fmla="*/ 21 w 41"/>
                <a:gd name="T47" fmla="*/ 12 h 13"/>
                <a:gd name="T48" fmla="*/ 21 w 41"/>
                <a:gd name="T49" fmla="*/ 12 h 13"/>
                <a:gd name="T50" fmla="*/ 21 w 41"/>
                <a:gd name="T51" fmla="*/ 12 h 13"/>
                <a:gd name="T52" fmla="*/ 21 w 41"/>
                <a:gd name="T53" fmla="*/ 12 h 13"/>
                <a:gd name="T54" fmla="*/ 21 w 41"/>
                <a:gd name="T55" fmla="*/ 12 h 13"/>
                <a:gd name="T56" fmla="*/ 27 w 41"/>
                <a:gd name="T57" fmla="*/ 10 h 13"/>
                <a:gd name="T58" fmla="*/ 27 w 41"/>
                <a:gd name="T59" fmla="*/ 10 h 13"/>
                <a:gd name="T60" fmla="*/ 32 w 41"/>
                <a:gd name="T61" fmla="*/ 8 h 13"/>
                <a:gd name="T62" fmla="*/ 41 w 41"/>
                <a:gd name="T63"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 h="13">
                  <a:moveTo>
                    <a:pt x="41" y="0"/>
                  </a:moveTo>
                  <a:cubicBezTo>
                    <a:pt x="27" y="3"/>
                    <a:pt x="13" y="6"/>
                    <a:pt x="0" y="9"/>
                  </a:cubicBezTo>
                  <a:cubicBezTo>
                    <a:pt x="0" y="9"/>
                    <a:pt x="0" y="9"/>
                    <a:pt x="0" y="9"/>
                  </a:cubicBezTo>
                  <a:cubicBezTo>
                    <a:pt x="0" y="10"/>
                    <a:pt x="0" y="10"/>
                    <a:pt x="0" y="10"/>
                  </a:cubicBezTo>
                  <a:cubicBezTo>
                    <a:pt x="1" y="10"/>
                    <a:pt x="1" y="10"/>
                    <a:pt x="1" y="10"/>
                  </a:cubicBezTo>
                  <a:cubicBezTo>
                    <a:pt x="2" y="11"/>
                    <a:pt x="4" y="11"/>
                    <a:pt x="5" y="11"/>
                  </a:cubicBezTo>
                  <a:cubicBezTo>
                    <a:pt x="7" y="12"/>
                    <a:pt x="7" y="13"/>
                    <a:pt x="9" y="13"/>
                  </a:cubicBezTo>
                  <a:cubicBezTo>
                    <a:pt x="9" y="13"/>
                    <a:pt x="10" y="13"/>
                    <a:pt x="10" y="13"/>
                  </a:cubicBezTo>
                  <a:cubicBezTo>
                    <a:pt x="10" y="13"/>
                    <a:pt x="10" y="13"/>
                    <a:pt x="10" y="13"/>
                  </a:cubicBezTo>
                  <a:cubicBezTo>
                    <a:pt x="10" y="13"/>
                    <a:pt x="10" y="13"/>
                    <a:pt x="10" y="13"/>
                  </a:cubicBezTo>
                  <a:cubicBezTo>
                    <a:pt x="10" y="13"/>
                    <a:pt x="10" y="13"/>
                    <a:pt x="10" y="13"/>
                  </a:cubicBezTo>
                  <a:cubicBezTo>
                    <a:pt x="11" y="13"/>
                    <a:pt x="11" y="13"/>
                    <a:pt x="11" y="13"/>
                  </a:cubicBezTo>
                  <a:cubicBezTo>
                    <a:pt x="11" y="13"/>
                    <a:pt x="11" y="13"/>
                    <a:pt x="11" y="13"/>
                  </a:cubicBezTo>
                  <a:cubicBezTo>
                    <a:pt x="12" y="13"/>
                    <a:pt x="12" y="13"/>
                    <a:pt x="13" y="13"/>
                  </a:cubicBezTo>
                  <a:cubicBezTo>
                    <a:pt x="13" y="13"/>
                    <a:pt x="13" y="13"/>
                    <a:pt x="14" y="13"/>
                  </a:cubicBezTo>
                  <a:cubicBezTo>
                    <a:pt x="14" y="13"/>
                    <a:pt x="14" y="13"/>
                    <a:pt x="14" y="13"/>
                  </a:cubicBezTo>
                  <a:cubicBezTo>
                    <a:pt x="14" y="13"/>
                    <a:pt x="14" y="13"/>
                    <a:pt x="14" y="13"/>
                  </a:cubicBezTo>
                  <a:cubicBezTo>
                    <a:pt x="15" y="13"/>
                    <a:pt x="15" y="13"/>
                    <a:pt x="15" y="12"/>
                  </a:cubicBezTo>
                  <a:cubicBezTo>
                    <a:pt x="15" y="12"/>
                    <a:pt x="15" y="12"/>
                    <a:pt x="16" y="11"/>
                  </a:cubicBezTo>
                  <a:cubicBezTo>
                    <a:pt x="16" y="11"/>
                    <a:pt x="16" y="11"/>
                    <a:pt x="16" y="11"/>
                  </a:cubicBezTo>
                  <a:cubicBezTo>
                    <a:pt x="16" y="11"/>
                    <a:pt x="16" y="11"/>
                    <a:pt x="16" y="11"/>
                  </a:cubicBezTo>
                  <a:cubicBezTo>
                    <a:pt x="16" y="11"/>
                    <a:pt x="16" y="11"/>
                    <a:pt x="16" y="11"/>
                  </a:cubicBezTo>
                  <a:cubicBezTo>
                    <a:pt x="17" y="11"/>
                    <a:pt x="17" y="11"/>
                    <a:pt x="18" y="11"/>
                  </a:cubicBezTo>
                  <a:cubicBezTo>
                    <a:pt x="19" y="12"/>
                    <a:pt x="20" y="12"/>
                    <a:pt x="21" y="12"/>
                  </a:cubicBezTo>
                  <a:cubicBezTo>
                    <a:pt x="21" y="12"/>
                    <a:pt x="21" y="12"/>
                    <a:pt x="21" y="12"/>
                  </a:cubicBezTo>
                  <a:cubicBezTo>
                    <a:pt x="21" y="12"/>
                    <a:pt x="21" y="12"/>
                    <a:pt x="21" y="12"/>
                  </a:cubicBezTo>
                  <a:cubicBezTo>
                    <a:pt x="21" y="12"/>
                    <a:pt x="21" y="12"/>
                    <a:pt x="21" y="12"/>
                  </a:cubicBezTo>
                  <a:cubicBezTo>
                    <a:pt x="21" y="12"/>
                    <a:pt x="21" y="12"/>
                    <a:pt x="21" y="12"/>
                  </a:cubicBezTo>
                  <a:cubicBezTo>
                    <a:pt x="23" y="11"/>
                    <a:pt x="25" y="11"/>
                    <a:pt x="27" y="10"/>
                  </a:cubicBezTo>
                  <a:cubicBezTo>
                    <a:pt x="27" y="10"/>
                    <a:pt x="27" y="10"/>
                    <a:pt x="27" y="10"/>
                  </a:cubicBezTo>
                  <a:cubicBezTo>
                    <a:pt x="29" y="10"/>
                    <a:pt x="30" y="9"/>
                    <a:pt x="32" y="8"/>
                  </a:cubicBezTo>
                  <a:cubicBezTo>
                    <a:pt x="36" y="5"/>
                    <a:pt x="39" y="6"/>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91"/>
            <p:cNvSpPr/>
            <p:nvPr/>
          </p:nvSpPr>
          <p:spPr bwMode="auto">
            <a:xfrm>
              <a:off x="8872529" y="1080322"/>
              <a:ext cx="423863" cy="173038"/>
            </a:xfrm>
            <a:custGeom>
              <a:gdLst>
                <a:gd name="T0" fmla="*/ 10 w 113"/>
                <a:gd name="T1" fmla="*/ 0 h 46"/>
                <a:gd name="T2" fmla="*/ 2 w 113"/>
                <a:gd name="T3" fmla="*/ 1 h 46"/>
                <a:gd name="T4" fmla="*/ 2 w 113"/>
                <a:gd name="T5" fmla="*/ 10 h 46"/>
                <a:gd name="T6" fmla="*/ 5 w 113"/>
                <a:gd name="T7" fmla="*/ 13 h 46"/>
                <a:gd name="T8" fmla="*/ 1 w 113"/>
                <a:gd name="T9" fmla="*/ 16 h 46"/>
                <a:gd name="T10" fmla="*/ 3 w 113"/>
                <a:gd name="T11" fmla="*/ 22 h 46"/>
                <a:gd name="T12" fmla="*/ 13 w 113"/>
                <a:gd name="T13" fmla="*/ 23 h 46"/>
                <a:gd name="T14" fmla="*/ 13 w 113"/>
                <a:gd name="T15" fmla="*/ 23 h 46"/>
                <a:gd name="T16" fmla="*/ 14 w 113"/>
                <a:gd name="T17" fmla="*/ 23 h 46"/>
                <a:gd name="T18" fmla="*/ 15 w 113"/>
                <a:gd name="T19" fmla="*/ 23 h 46"/>
                <a:gd name="T20" fmla="*/ 17 w 113"/>
                <a:gd name="T21" fmla="*/ 24 h 46"/>
                <a:gd name="T22" fmla="*/ 17 w 113"/>
                <a:gd name="T23" fmla="*/ 32 h 46"/>
                <a:gd name="T24" fmla="*/ 23 w 113"/>
                <a:gd name="T25" fmla="*/ 41 h 46"/>
                <a:gd name="T26" fmla="*/ 30 w 113"/>
                <a:gd name="T27" fmla="*/ 45 h 46"/>
                <a:gd name="T28" fmla="*/ 35 w 113"/>
                <a:gd name="T29" fmla="*/ 46 h 46"/>
                <a:gd name="T30" fmla="*/ 39 w 113"/>
                <a:gd name="T31" fmla="*/ 45 h 46"/>
                <a:gd name="T32" fmla="*/ 72 w 113"/>
                <a:gd name="T33" fmla="*/ 39 h 46"/>
                <a:gd name="T34" fmla="*/ 113 w 113"/>
                <a:gd name="T35" fmla="*/ 38 h 46"/>
                <a:gd name="T36" fmla="*/ 110 w 113"/>
                <a:gd name="T37" fmla="*/ 37 h 46"/>
                <a:gd name="T38" fmla="*/ 110 w 113"/>
                <a:gd name="T39" fmla="*/ 37 h 46"/>
                <a:gd name="T40" fmla="*/ 109 w 113"/>
                <a:gd name="T41" fmla="*/ 37 h 46"/>
                <a:gd name="T42" fmla="*/ 107 w 113"/>
                <a:gd name="T43" fmla="*/ 36 h 46"/>
                <a:gd name="T44" fmla="*/ 108 w 113"/>
                <a:gd name="T45" fmla="*/ 30 h 46"/>
                <a:gd name="T46" fmla="*/ 104 w 113"/>
                <a:gd name="T47" fmla="*/ 29 h 46"/>
                <a:gd name="T48" fmla="*/ 99 w 113"/>
                <a:gd name="T49" fmla="*/ 23 h 46"/>
                <a:gd name="T50" fmla="*/ 94 w 113"/>
                <a:gd name="T51" fmla="*/ 20 h 46"/>
                <a:gd name="T52" fmla="*/ 88 w 113"/>
                <a:gd name="T53" fmla="*/ 15 h 46"/>
                <a:gd name="T54" fmla="*/ 83 w 113"/>
                <a:gd name="T55" fmla="*/ 11 h 46"/>
                <a:gd name="T56" fmla="*/ 77 w 113"/>
                <a:gd name="T57" fmla="*/ 8 h 46"/>
                <a:gd name="T58" fmla="*/ 71 w 113"/>
                <a:gd name="T59" fmla="*/ 7 h 46"/>
                <a:gd name="T60" fmla="*/ 59 w 113"/>
                <a:gd name="T61" fmla="*/ 4 h 46"/>
                <a:gd name="T62" fmla="*/ 57 w 113"/>
                <a:gd name="T63" fmla="*/ 4 h 46"/>
                <a:gd name="T64" fmla="*/ 51 w 113"/>
                <a:gd name="T65" fmla="*/ 5 h 46"/>
                <a:gd name="T66" fmla="*/ 50 w 113"/>
                <a:gd name="T67" fmla="*/ 5 h 46"/>
                <a:gd name="T68" fmla="*/ 50 w 113"/>
                <a:gd name="T69" fmla="*/ 5 h 46"/>
                <a:gd name="T70" fmla="*/ 44 w 113"/>
                <a:gd name="T71" fmla="*/ 6 h 46"/>
                <a:gd name="T72" fmla="*/ 30 w 113"/>
                <a:gd name="T73" fmla="*/ 4 h 46"/>
                <a:gd name="T74" fmla="*/ 25 w 113"/>
                <a:gd name="T75" fmla="*/ 3 h 46"/>
                <a:gd name="T76" fmla="*/ 22 w 113"/>
                <a:gd name="T77" fmla="*/ 2 h 46"/>
                <a:gd name="T78" fmla="*/ 22 w 113"/>
                <a:gd name="T79" fmla="*/ 2 h 46"/>
                <a:gd name="T80" fmla="*/ 19 w 113"/>
                <a:gd name="T81" fmla="*/ 3 h 46"/>
                <a:gd name="T82" fmla="*/ 18 w 113"/>
                <a:gd name="T83" fmla="*/ 3 h 46"/>
                <a:gd name="T84" fmla="*/ 11 w 113"/>
                <a:gd name="T85" fmla="*/ 0 h 46"/>
                <a:gd name="T86" fmla="*/ 10 w 113"/>
                <a:gd name="T87" fmla="*/ 0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 h="46">
                  <a:moveTo>
                    <a:pt x="10" y="0"/>
                  </a:moveTo>
                  <a:cubicBezTo>
                    <a:pt x="7" y="0"/>
                    <a:pt x="4" y="0"/>
                    <a:pt x="2" y="1"/>
                  </a:cubicBezTo>
                  <a:cubicBezTo>
                    <a:pt x="5" y="3"/>
                    <a:pt x="0" y="7"/>
                    <a:pt x="2" y="10"/>
                  </a:cubicBezTo>
                  <a:cubicBezTo>
                    <a:pt x="3" y="11"/>
                    <a:pt x="5" y="12"/>
                    <a:pt x="5" y="13"/>
                  </a:cubicBezTo>
                  <a:cubicBezTo>
                    <a:pt x="4" y="14"/>
                    <a:pt x="1" y="14"/>
                    <a:pt x="1" y="16"/>
                  </a:cubicBezTo>
                  <a:cubicBezTo>
                    <a:pt x="1" y="18"/>
                    <a:pt x="1" y="21"/>
                    <a:pt x="3" y="22"/>
                  </a:cubicBezTo>
                  <a:cubicBezTo>
                    <a:pt x="5" y="23"/>
                    <a:pt x="10" y="23"/>
                    <a:pt x="13" y="23"/>
                  </a:cubicBezTo>
                  <a:cubicBezTo>
                    <a:pt x="13" y="23"/>
                    <a:pt x="13" y="23"/>
                    <a:pt x="13" y="23"/>
                  </a:cubicBezTo>
                  <a:cubicBezTo>
                    <a:pt x="13" y="23"/>
                    <a:pt x="14" y="23"/>
                    <a:pt x="14" y="23"/>
                  </a:cubicBezTo>
                  <a:cubicBezTo>
                    <a:pt x="15" y="23"/>
                    <a:pt x="15" y="23"/>
                    <a:pt x="15" y="23"/>
                  </a:cubicBezTo>
                  <a:cubicBezTo>
                    <a:pt x="16" y="23"/>
                    <a:pt x="17" y="23"/>
                    <a:pt x="17" y="24"/>
                  </a:cubicBezTo>
                  <a:cubicBezTo>
                    <a:pt x="18" y="25"/>
                    <a:pt x="18" y="30"/>
                    <a:pt x="17" y="32"/>
                  </a:cubicBezTo>
                  <a:cubicBezTo>
                    <a:pt x="18" y="35"/>
                    <a:pt x="21" y="40"/>
                    <a:pt x="23" y="41"/>
                  </a:cubicBezTo>
                  <a:cubicBezTo>
                    <a:pt x="25" y="42"/>
                    <a:pt x="28" y="44"/>
                    <a:pt x="30" y="45"/>
                  </a:cubicBezTo>
                  <a:cubicBezTo>
                    <a:pt x="32" y="45"/>
                    <a:pt x="34" y="46"/>
                    <a:pt x="35" y="46"/>
                  </a:cubicBezTo>
                  <a:cubicBezTo>
                    <a:pt x="36" y="46"/>
                    <a:pt x="38" y="45"/>
                    <a:pt x="39" y="45"/>
                  </a:cubicBezTo>
                  <a:cubicBezTo>
                    <a:pt x="50" y="42"/>
                    <a:pt x="60" y="39"/>
                    <a:pt x="72" y="39"/>
                  </a:cubicBezTo>
                  <a:cubicBezTo>
                    <a:pt x="86" y="39"/>
                    <a:pt x="99" y="39"/>
                    <a:pt x="113" y="38"/>
                  </a:cubicBezTo>
                  <a:cubicBezTo>
                    <a:pt x="112" y="37"/>
                    <a:pt x="111" y="37"/>
                    <a:pt x="110" y="37"/>
                  </a:cubicBezTo>
                  <a:cubicBezTo>
                    <a:pt x="110" y="37"/>
                    <a:pt x="110" y="37"/>
                    <a:pt x="110" y="37"/>
                  </a:cubicBezTo>
                  <a:cubicBezTo>
                    <a:pt x="109" y="37"/>
                    <a:pt x="109" y="37"/>
                    <a:pt x="109" y="37"/>
                  </a:cubicBezTo>
                  <a:cubicBezTo>
                    <a:pt x="108" y="37"/>
                    <a:pt x="107" y="37"/>
                    <a:pt x="107" y="36"/>
                  </a:cubicBezTo>
                  <a:cubicBezTo>
                    <a:pt x="106" y="35"/>
                    <a:pt x="108" y="32"/>
                    <a:pt x="108" y="30"/>
                  </a:cubicBezTo>
                  <a:cubicBezTo>
                    <a:pt x="108" y="30"/>
                    <a:pt x="105" y="29"/>
                    <a:pt x="104" y="29"/>
                  </a:cubicBezTo>
                  <a:cubicBezTo>
                    <a:pt x="101" y="28"/>
                    <a:pt x="101" y="26"/>
                    <a:pt x="99" y="23"/>
                  </a:cubicBezTo>
                  <a:cubicBezTo>
                    <a:pt x="97" y="20"/>
                    <a:pt x="98" y="20"/>
                    <a:pt x="94" y="20"/>
                  </a:cubicBezTo>
                  <a:cubicBezTo>
                    <a:pt x="91" y="19"/>
                    <a:pt x="90" y="17"/>
                    <a:pt x="88" y="15"/>
                  </a:cubicBezTo>
                  <a:cubicBezTo>
                    <a:pt x="86" y="12"/>
                    <a:pt x="86" y="12"/>
                    <a:pt x="83" y="11"/>
                  </a:cubicBezTo>
                  <a:cubicBezTo>
                    <a:pt x="81" y="10"/>
                    <a:pt x="79" y="9"/>
                    <a:pt x="77" y="8"/>
                  </a:cubicBezTo>
                  <a:cubicBezTo>
                    <a:pt x="75" y="8"/>
                    <a:pt x="73" y="8"/>
                    <a:pt x="71" y="7"/>
                  </a:cubicBezTo>
                  <a:cubicBezTo>
                    <a:pt x="67" y="5"/>
                    <a:pt x="64" y="4"/>
                    <a:pt x="59" y="4"/>
                  </a:cubicBezTo>
                  <a:cubicBezTo>
                    <a:pt x="59" y="4"/>
                    <a:pt x="58" y="4"/>
                    <a:pt x="57" y="4"/>
                  </a:cubicBezTo>
                  <a:cubicBezTo>
                    <a:pt x="55" y="5"/>
                    <a:pt x="53" y="5"/>
                    <a:pt x="51" y="5"/>
                  </a:cubicBezTo>
                  <a:cubicBezTo>
                    <a:pt x="51" y="5"/>
                    <a:pt x="51" y="5"/>
                    <a:pt x="50" y="5"/>
                  </a:cubicBezTo>
                  <a:cubicBezTo>
                    <a:pt x="50" y="5"/>
                    <a:pt x="50" y="5"/>
                    <a:pt x="50" y="5"/>
                  </a:cubicBezTo>
                  <a:cubicBezTo>
                    <a:pt x="48" y="5"/>
                    <a:pt x="46" y="6"/>
                    <a:pt x="44" y="6"/>
                  </a:cubicBezTo>
                  <a:cubicBezTo>
                    <a:pt x="39" y="6"/>
                    <a:pt x="35" y="6"/>
                    <a:pt x="30" y="4"/>
                  </a:cubicBezTo>
                  <a:cubicBezTo>
                    <a:pt x="29" y="4"/>
                    <a:pt x="27" y="4"/>
                    <a:pt x="25" y="3"/>
                  </a:cubicBezTo>
                  <a:cubicBezTo>
                    <a:pt x="24" y="3"/>
                    <a:pt x="22" y="2"/>
                    <a:pt x="22" y="2"/>
                  </a:cubicBezTo>
                  <a:cubicBezTo>
                    <a:pt x="22" y="2"/>
                    <a:pt x="22" y="2"/>
                    <a:pt x="22" y="2"/>
                  </a:cubicBezTo>
                  <a:cubicBezTo>
                    <a:pt x="20" y="2"/>
                    <a:pt x="20" y="3"/>
                    <a:pt x="19" y="3"/>
                  </a:cubicBezTo>
                  <a:cubicBezTo>
                    <a:pt x="19" y="3"/>
                    <a:pt x="19" y="3"/>
                    <a:pt x="18" y="3"/>
                  </a:cubicBezTo>
                  <a:cubicBezTo>
                    <a:pt x="16" y="3"/>
                    <a:pt x="14" y="0"/>
                    <a:pt x="11" y="0"/>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92"/>
            <p:cNvSpPr/>
            <p:nvPr/>
          </p:nvSpPr>
          <p:spPr bwMode="auto">
            <a:xfrm>
              <a:off x="7585066" y="1023172"/>
              <a:ext cx="479425" cy="354013"/>
            </a:xfrm>
            <a:custGeom>
              <a:gdLst>
                <a:gd name="T0" fmla="*/ 61 w 128"/>
                <a:gd name="T1" fmla="*/ 0 h 94"/>
                <a:gd name="T2" fmla="*/ 55 w 128"/>
                <a:gd name="T3" fmla="*/ 0 h 94"/>
                <a:gd name="T4" fmla="*/ 27 w 128"/>
                <a:gd name="T5" fmla="*/ 0 h 94"/>
                <a:gd name="T6" fmla="*/ 12 w 128"/>
                <a:gd name="T7" fmla="*/ 11 h 94"/>
                <a:gd name="T8" fmla="*/ 15 w 128"/>
                <a:gd name="T9" fmla="*/ 11 h 94"/>
                <a:gd name="T10" fmla="*/ 16 w 128"/>
                <a:gd name="T11" fmla="*/ 16 h 94"/>
                <a:gd name="T12" fmla="*/ 16 w 128"/>
                <a:gd name="T13" fmla="*/ 19 h 94"/>
                <a:gd name="T14" fmla="*/ 0 w 128"/>
                <a:gd name="T15" fmla="*/ 20 h 94"/>
                <a:gd name="T16" fmla="*/ 1 w 128"/>
                <a:gd name="T17" fmla="*/ 23 h 94"/>
                <a:gd name="T18" fmla="*/ 2 w 128"/>
                <a:gd name="T19" fmla="*/ 33 h 94"/>
                <a:gd name="T20" fmla="*/ 3 w 128"/>
                <a:gd name="T21" fmla="*/ 37 h 94"/>
                <a:gd name="T22" fmla="*/ 0 w 128"/>
                <a:gd name="T23" fmla="*/ 49 h 94"/>
                <a:gd name="T24" fmla="*/ 1 w 128"/>
                <a:gd name="T25" fmla="*/ 56 h 94"/>
                <a:gd name="T26" fmla="*/ 6 w 128"/>
                <a:gd name="T27" fmla="*/ 64 h 94"/>
                <a:gd name="T28" fmla="*/ 12 w 128"/>
                <a:gd name="T29" fmla="*/ 71 h 94"/>
                <a:gd name="T30" fmla="*/ 12 w 128"/>
                <a:gd name="T31" fmla="*/ 77 h 94"/>
                <a:gd name="T32" fmla="*/ 14 w 128"/>
                <a:gd name="T33" fmla="*/ 87 h 94"/>
                <a:gd name="T34" fmla="*/ 21 w 128"/>
                <a:gd name="T35" fmla="*/ 86 h 94"/>
                <a:gd name="T36" fmla="*/ 14 w 128"/>
                <a:gd name="T37" fmla="*/ 91 h 94"/>
                <a:gd name="T38" fmla="*/ 14 w 128"/>
                <a:gd name="T39" fmla="*/ 94 h 94"/>
                <a:gd name="T40" fmla="*/ 29 w 128"/>
                <a:gd name="T41" fmla="*/ 92 h 94"/>
                <a:gd name="T42" fmla="*/ 37 w 128"/>
                <a:gd name="T43" fmla="*/ 93 h 94"/>
                <a:gd name="T44" fmla="*/ 39 w 128"/>
                <a:gd name="T45" fmla="*/ 90 h 94"/>
                <a:gd name="T46" fmla="*/ 34 w 128"/>
                <a:gd name="T47" fmla="*/ 91 h 94"/>
                <a:gd name="T48" fmla="*/ 41 w 128"/>
                <a:gd name="T49" fmla="*/ 84 h 94"/>
                <a:gd name="T50" fmla="*/ 48 w 128"/>
                <a:gd name="T51" fmla="*/ 78 h 94"/>
                <a:gd name="T52" fmla="*/ 52 w 128"/>
                <a:gd name="T53" fmla="*/ 74 h 94"/>
                <a:gd name="T54" fmla="*/ 44 w 128"/>
                <a:gd name="T55" fmla="*/ 65 h 94"/>
                <a:gd name="T56" fmla="*/ 40 w 128"/>
                <a:gd name="T57" fmla="*/ 62 h 94"/>
                <a:gd name="T58" fmla="*/ 38 w 128"/>
                <a:gd name="T59" fmla="*/ 62 h 94"/>
                <a:gd name="T60" fmla="*/ 36 w 128"/>
                <a:gd name="T61" fmla="*/ 62 h 94"/>
                <a:gd name="T62" fmla="*/ 33 w 128"/>
                <a:gd name="T63" fmla="*/ 59 h 94"/>
                <a:gd name="T64" fmla="*/ 48 w 128"/>
                <a:gd name="T65" fmla="*/ 59 h 94"/>
                <a:gd name="T66" fmla="*/ 51 w 128"/>
                <a:gd name="T67" fmla="*/ 58 h 94"/>
                <a:gd name="T68" fmla="*/ 55 w 128"/>
                <a:gd name="T69" fmla="*/ 58 h 94"/>
                <a:gd name="T70" fmla="*/ 74 w 128"/>
                <a:gd name="T71" fmla="*/ 61 h 94"/>
                <a:gd name="T72" fmla="*/ 92 w 128"/>
                <a:gd name="T73" fmla="*/ 53 h 94"/>
                <a:gd name="T74" fmla="*/ 100 w 128"/>
                <a:gd name="T75" fmla="*/ 41 h 94"/>
                <a:gd name="T76" fmla="*/ 101 w 128"/>
                <a:gd name="T77" fmla="*/ 38 h 94"/>
                <a:gd name="T78" fmla="*/ 110 w 128"/>
                <a:gd name="T79" fmla="*/ 25 h 94"/>
                <a:gd name="T80" fmla="*/ 111 w 128"/>
                <a:gd name="T81" fmla="*/ 25 h 94"/>
                <a:gd name="T82" fmla="*/ 127 w 128"/>
                <a:gd name="T83" fmla="*/ 9 h 94"/>
                <a:gd name="T84" fmla="*/ 98 w 128"/>
                <a:gd name="T85" fmla="*/ 3 h 94"/>
                <a:gd name="T86" fmla="*/ 89 w 128"/>
                <a:gd name="T87" fmla="*/ 4 h 94"/>
                <a:gd name="T88" fmla="*/ 82 w 128"/>
                <a:gd name="T89" fmla="*/ 7 h 94"/>
                <a:gd name="T90" fmla="*/ 72 w 128"/>
                <a:gd name="T91" fmla="*/ 0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94">
                  <a:moveTo>
                    <a:pt x="67" y="0"/>
                  </a:moveTo>
                  <a:cubicBezTo>
                    <a:pt x="65" y="0"/>
                    <a:pt x="63" y="0"/>
                    <a:pt x="61" y="0"/>
                  </a:cubicBezTo>
                  <a:cubicBezTo>
                    <a:pt x="59" y="0"/>
                    <a:pt x="57" y="0"/>
                    <a:pt x="56" y="0"/>
                  </a:cubicBezTo>
                  <a:cubicBezTo>
                    <a:pt x="55" y="0"/>
                    <a:pt x="55" y="0"/>
                    <a:pt x="55" y="0"/>
                  </a:cubicBezTo>
                  <a:cubicBezTo>
                    <a:pt x="46" y="0"/>
                    <a:pt x="37" y="0"/>
                    <a:pt x="27" y="0"/>
                  </a:cubicBezTo>
                  <a:cubicBezTo>
                    <a:pt x="27" y="0"/>
                    <a:pt x="27" y="0"/>
                    <a:pt x="27" y="0"/>
                  </a:cubicBezTo>
                  <a:cubicBezTo>
                    <a:pt x="22" y="0"/>
                    <a:pt x="7" y="2"/>
                    <a:pt x="9" y="8"/>
                  </a:cubicBezTo>
                  <a:cubicBezTo>
                    <a:pt x="9" y="11"/>
                    <a:pt x="11" y="11"/>
                    <a:pt x="12" y="11"/>
                  </a:cubicBezTo>
                  <a:cubicBezTo>
                    <a:pt x="13" y="11"/>
                    <a:pt x="13" y="11"/>
                    <a:pt x="14" y="11"/>
                  </a:cubicBezTo>
                  <a:cubicBezTo>
                    <a:pt x="14" y="11"/>
                    <a:pt x="15" y="11"/>
                    <a:pt x="15" y="11"/>
                  </a:cubicBezTo>
                  <a:cubicBezTo>
                    <a:pt x="16" y="11"/>
                    <a:pt x="16" y="11"/>
                    <a:pt x="17" y="11"/>
                  </a:cubicBezTo>
                  <a:cubicBezTo>
                    <a:pt x="14" y="13"/>
                    <a:pt x="13" y="13"/>
                    <a:pt x="16" y="16"/>
                  </a:cubicBezTo>
                  <a:cubicBezTo>
                    <a:pt x="19" y="18"/>
                    <a:pt x="22" y="18"/>
                    <a:pt x="25" y="20"/>
                  </a:cubicBezTo>
                  <a:cubicBezTo>
                    <a:pt x="22" y="20"/>
                    <a:pt x="19" y="20"/>
                    <a:pt x="16" y="19"/>
                  </a:cubicBezTo>
                  <a:cubicBezTo>
                    <a:pt x="15" y="19"/>
                    <a:pt x="10" y="18"/>
                    <a:pt x="6" y="18"/>
                  </a:cubicBezTo>
                  <a:cubicBezTo>
                    <a:pt x="3" y="18"/>
                    <a:pt x="0" y="19"/>
                    <a:pt x="0" y="20"/>
                  </a:cubicBezTo>
                  <a:cubicBezTo>
                    <a:pt x="0" y="21"/>
                    <a:pt x="1" y="21"/>
                    <a:pt x="1" y="21"/>
                  </a:cubicBezTo>
                  <a:cubicBezTo>
                    <a:pt x="1" y="23"/>
                    <a:pt x="1" y="23"/>
                    <a:pt x="1" y="23"/>
                  </a:cubicBezTo>
                  <a:cubicBezTo>
                    <a:pt x="1" y="24"/>
                    <a:pt x="1" y="26"/>
                    <a:pt x="1" y="27"/>
                  </a:cubicBezTo>
                  <a:cubicBezTo>
                    <a:pt x="0" y="29"/>
                    <a:pt x="1" y="31"/>
                    <a:pt x="2" y="33"/>
                  </a:cubicBezTo>
                  <a:cubicBezTo>
                    <a:pt x="2" y="33"/>
                    <a:pt x="2" y="34"/>
                    <a:pt x="2" y="35"/>
                  </a:cubicBezTo>
                  <a:cubicBezTo>
                    <a:pt x="2" y="35"/>
                    <a:pt x="3" y="36"/>
                    <a:pt x="3" y="37"/>
                  </a:cubicBezTo>
                  <a:cubicBezTo>
                    <a:pt x="3" y="38"/>
                    <a:pt x="3" y="39"/>
                    <a:pt x="3" y="40"/>
                  </a:cubicBezTo>
                  <a:cubicBezTo>
                    <a:pt x="2" y="43"/>
                    <a:pt x="0" y="46"/>
                    <a:pt x="0" y="49"/>
                  </a:cubicBezTo>
                  <a:cubicBezTo>
                    <a:pt x="0" y="50"/>
                    <a:pt x="1" y="51"/>
                    <a:pt x="2" y="52"/>
                  </a:cubicBezTo>
                  <a:cubicBezTo>
                    <a:pt x="2" y="53"/>
                    <a:pt x="1" y="55"/>
                    <a:pt x="1" y="56"/>
                  </a:cubicBezTo>
                  <a:cubicBezTo>
                    <a:pt x="1" y="59"/>
                    <a:pt x="4" y="58"/>
                    <a:pt x="3" y="61"/>
                  </a:cubicBezTo>
                  <a:cubicBezTo>
                    <a:pt x="2" y="63"/>
                    <a:pt x="5" y="63"/>
                    <a:pt x="6" y="64"/>
                  </a:cubicBezTo>
                  <a:cubicBezTo>
                    <a:pt x="8" y="65"/>
                    <a:pt x="8" y="66"/>
                    <a:pt x="9" y="68"/>
                  </a:cubicBezTo>
                  <a:cubicBezTo>
                    <a:pt x="10" y="69"/>
                    <a:pt x="11" y="69"/>
                    <a:pt x="12" y="71"/>
                  </a:cubicBezTo>
                  <a:cubicBezTo>
                    <a:pt x="12" y="72"/>
                    <a:pt x="11" y="73"/>
                    <a:pt x="11" y="74"/>
                  </a:cubicBezTo>
                  <a:cubicBezTo>
                    <a:pt x="11" y="75"/>
                    <a:pt x="12" y="76"/>
                    <a:pt x="12" y="77"/>
                  </a:cubicBezTo>
                  <a:cubicBezTo>
                    <a:pt x="13" y="79"/>
                    <a:pt x="11" y="83"/>
                    <a:pt x="12" y="85"/>
                  </a:cubicBezTo>
                  <a:cubicBezTo>
                    <a:pt x="13" y="87"/>
                    <a:pt x="13" y="87"/>
                    <a:pt x="14" y="87"/>
                  </a:cubicBezTo>
                  <a:cubicBezTo>
                    <a:pt x="14" y="87"/>
                    <a:pt x="15" y="87"/>
                    <a:pt x="15" y="87"/>
                  </a:cubicBezTo>
                  <a:cubicBezTo>
                    <a:pt x="17" y="87"/>
                    <a:pt x="19" y="86"/>
                    <a:pt x="21" y="86"/>
                  </a:cubicBezTo>
                  <a:cubicBezTo>
                    <a:pt x="22" y="86"/>
                    <a:pt x="22" y="86"/>
                    <a:pt x="22" y="86"/>
                  </a:cubicBezTo>
                  <a:cubicBezTo>
                    <a:pt x="19" y="86"/>
                    <a:pt x="16" y="89"/>
                    <a:pt x="14" y="91"/>
                  </a:cubicBezTo>
                  <a:cubicBezTo>
                    <a:pt x="13" y="92"/>
                    <a:pt x="11" y="94"/>
                    <a:pt x="13" y="94"/>
                  </a:cubicBezTo>
                  <a:cubicBezTo>
                    <a:pt x="13" y="94"/>
                    <a:pt x="14" y="94"/>
                    <a:pt x="14" y="94"/>
                  </a:cubicBezTo>
                  <a:cubicBezTo>
                    <a:pt x="16" y="94"/>
                    <a:pt x="19" y="93"/>
                    <a:pt x="22" y="93"/>
                  </a:cubicBezTo>
                  <a:cubicBezTo>
                    <a:pt x="24" y="92"/>
                    <a:pt x="27" y="92"/>
                    <a:pt x="29" y="92"/>
                  </a:cubicBezTo>
                  <a:cubicBezTo>
                    <a:pt x="29" y="92"/>
                    <a:pt x="29" y="92"/>
                    <a:pt x="30" y="92"/>
                  </a:cubicBezTo>
                  <a:cubicBezTo>
                    <a:pt x="32" y="92"/>
                    <a:pt x="34" y="93"/>
                    <a:pt x="37" y="93"/>
                  </a:cubicBezTo>
                  <a:cubicBezTo>
                    <a:pt x="38" y="93"/>
                    <a:pt x="38" y="93"/>
                    <a:pt x="39" y="93"/>
                  </a:cubicBezTo>
                  <a:cubicBezTo>
                    <a:pt x="39" y="92"/>
                    <a:pt x="39" y="91"/>
                    <a:pt x="39" y="90"/>
                  </a:cubicBezTo>
                  <a:cubicBezTo>
                    <a:pt x="38" y="91"/>
                    <a:pt x="37" y="92"/>
                    <a:pt x="36" y="92"/>
                  </a:cubicBezTo>
                  <a:cubicBezTo>
                    <a:pt x="35" y="92"/>
                    <a:pt x="35" y="91"/>
                    <a:pt x="34" y="91"/>
                  </a:cubicBezTo>
                  <a:cubicBezTo>
                    <a:pt x="36" y="90"/>
                    <a:pt x="37" y="90"/>
                    <a:pt x="39" y="88"/>
                  </a:cubicBezTo>
                  <a:cubicBezTo>
                    <a:pt x="39" y="87"/>
                    <a:pt x="40" y="86"/>
                    <a:pt x="41" y="84"/>
                  </a:cubicBezTo>
                  <a:cubicBezTo>
                    <a:pt x="42" y="83"/>
                    <a:pt x="42" y="81"/>
                    <a:pt x="44" y="80"/>
                  </a:cubicBezTo>
                  <a:cubicBezTo>
                    <a:pt x="45" y="78"/>
                    <a:pt x="47" y="79"/>
                    <a:pt x="48" y="78"/>
                  </a:cubicBezTo>
                  <a:cubicBezTo>
                    <a:pt x="49" y="77"/>
                    <a:pt x="49" y="76"/>
                    <a:pt x="50" y="75"/>
                  </a:cubicBezTo>
                  <a:cubicBezTo>
                    <a:pt x="50" y="75"/>
                    <a:pt x="52" y="74"/>
                    <a:pt x="52" y="74"/>
                  </a:cubicBezTo>
                  <a:cubicBezTo>
                    <a:pt x="53" y="72"/>
                    <a:pt x="51" y="70"/>
                    <a:pt x="50" y="69"/>
                  </a:cubicBezTo>
                  <a:cubicBezTo>
                    <a:pt x="49" y="67"/>
                    <a:pt x="45" y="67"/>
                    <a:pt x="44" y="65"/>
                  </a:cubicBezTo>
                  <a:cubicBezTo>
                    <a:pt x="44" y="64"/>
                    <a:pt x="45" y="62"/>
                    <a:pt x="45" y="61"/>
                  </a:cubicBezTo>
                  <a:cubicBezTo>
                    <a:pt x="43" y="62"/>
                    <a:pt x="42" y="62"/>
                    <a:pt x="40" y="62"/>
                  </a:cubicBezTo>
                  <a:cubicBezTo>
                    <a:pt x="40" y="62"/>
                    <a:pt x="39" y="62"/>
                    <a:pt x="39" y="62"/>
                  </a:cubicBezTo>
                  <a:cubicBezTo>
                    <a:pt x="38" y="62"/>
                    <a:pt x="38" y="62"/>
                    <a:pt x="38" y="62"/>
                  </a:cubicBezTo>
                  <a:cubicBezTo>
                    <a:pt x="37" y="62"/>
                    <a:pt x="37" y="62"/>
                    <a:pt x="37" y="62"/>
                  </a:cubicBezTo>
                  <a:cubicBezTo>
                    <a:pt x="36" y="62"/>
                    <a:pt x="36" y="62"/>
                    <a:pt x="36" y="62"/>
                  </a:cubicBezTo>
                  <a:cubicBezTo>
                    <a:pt x="34" y="62"/>
                    <a:pt x="33" y="62"/>
                    <a:pt x="33" y="62"/>
                  </a:cubicBezTo>
                  <a:cubicBezTo>
                    <a:pt x="32" y="61"/>
                    <a:pt x="31" y="60"/>
                    <a:pt x="33" y="59"/>
                  </a:cubicBezTo>
                  <a:cubicBezTo>
                    <a:pt x="35" y="59"/>
                    <a:pt x="39" y="59"/>
                    <a:pt x="42" y="59"/>
                  </a:cubicBezTo>
                  <a:cubicBezTo>
                    <a:pt x="44" y="59"/>
                    <a:pt x="46" y="59"/>
                    <a:pt x="48" y="59"/>
                  </a:cubicBezTo>
                  <a:cubicBezTo>
                    <a:pt x="48" y="59"/>
                    <a:pt x="48" y="59"/>
                    <a:pt x="48" y="59"/>
                  </a:cubicBezTo>
                  <a:cubicBezTo>
                    <a:pt x="49" y="59"/>
                    <a:pt x="50" y="59"/>
                    <a:pt x="51" y="58"/>
                  </a:cubicBezTo>
                  <a:cubicBezTo>
                    <a:pt x="52" y="58"/>
                    <a:pt x="53" y="58"/>
                    <a:pt x="54" y="58"/>
                  </a:cubicBezTo>
                  <a:cubicBezTo>
                    <a:pt x="54" y="58"/>
                    <a:pt x="55" y="58"/>
                    <a:pt x="55" y="58"/>
                  </a:cubicBezTo>
                  <a:cubicBezTo>
                    <a:pt x="57" y="58"/>
                    <a:pt x="59" y="59"/>
                    <a:pt x="62" y="59"/>
                  </a:cubicBezTo>
                  <a:cubicBezTo>
                    <a:pt x="66" y="60"/>
                    <a:pt x="70" y="61"/>
                    <a:pt x="74" y="61"/>
                  </a:cubicBezTo>
                  <a:cubicBezTo>
                    <a:pt x="75" y="62"/>
                    <a:pt x="76" y="62"/>
                    <a:pt x="77" y="62"/>
                  </a:cubicBezTo>
                  <a:cubicBezTo>
                    <a:pt x="83" y="62"/>
                    <a:pt x="88" y="58"/>
                    <a:pt x="92" y="53"/>
                  </a:cubicBezTo>
                  <a:cubicBezTo>
                    <a:pt x="94" y="50"/>
                    <a:pt x="95" y="48"/>
                    <a:pt x="97" y="45"/>
                  </a:cubicBezTo>
                  <a:cubicBezTo>
                    <a:pt x="98" y="44"/>
                    <a:pt x="100" y="42"/>
                    <a:pt x="100" y="41"/>
                  </a:cubicBezTo>
                  <a:cubicBezTo>
                    <a:pt x="101" y="38"/>
                    <a:pt x="98" y="39"/>
                    <a:pt x="95" y="39"/>
                  </a:cubicBezTo>
                  <a:cubicBezTo>
                    <a:pt x="97" y="38"/>
                    <a:pt x="99" y="38"/>
                    <a:pt x="101" y="38"/>
                  </a:cubicBezTo>
                  <a:cubicBezTo>
                    <a:pt x="103" y="37"/>
                    <a:pt x="103" y="37"/>
                    <a:pt x="105" y="34"/>
                  </a:cubicBezTo>
                  <a:cubicBezTo>
                    <a:pt x="106" y="32"/>
                    <a:pt x="113" y="28"/>
                    <a:pt x="110" y="25"/>
                  </a:cubicBezTo>
                  <a:cubicBezTo>
                    <a:pt x="110" y="25"/>
                    <a:pt x="110" y="25"/>
                    <a:pt x="111" y="25"/>
                  </a:cubicBezTo>
                  <a:cubicBezTo>
                    <a:pt x="111" y="25"/>
                    <a:pt x="111" y="25"/>
                    <a:pt x="111" y="25"/>
                  </a:cubicBezTo>
                  <a:cubicBezTo>
                    <a:pt x="115" y="25"/>
                    <a:pt x="119" y="20"/>
                    <a:pt x="121" y="17"/>
                  </a:cubicBezTo>
                  <a:cubicBezTo>
                    <a:pt x="122" y="16"/>
                    <a:pt x="128" y="10"/>
                    <a:pt x="127" y="9"/>
                  </a:cubicBezTo>
                  <a:cubicBezTo>
                    <a:pt x="127" y="8"/>
                    <a:pt x="123" y="8"/>
                    <a:pt x="122" y="8"/>
                  </a:cubicBezTo>
                  <a:cubicBezTo>
                    <a:pt x="114" y="6"/>
                    <a:pt x="106" y="3"/>
                    <a:pt x="98" y="3"/>
                  </a:cubicBezTo>
                  <a:cubicBezTo>
                    <a:pt x="97" y="3"/>
                    <a:pt x="96" y="3"/>
                    <a:pt x="95" y="3"/>
                  </a:cubicBezTo>
                  <a:cubicBezTo>
                    <a:pt x="93" y="3"/>
                    <a:pt x="91" y="3"/>
                    <a:pt x="89" y="4"/>
                  </a:cubicBezTo>
                  <a:cubicBezTo>
                    <a:pt x="86" y="4"/>
                    <a:pt x="85" y="5"/>
                    <a:pt x="83" y="6"/>
                  </a:cubicBezTo>
                  <a:cubicBezTo>
                    <a:pt x="83" y="7"/>
                    <a:pt x="82" y="7"/>
                    <a:pt x="82" y="7"/>
                  </a:cubicBezTo>
                  <a:cubicBezTo>
                    <a:pt x="80" y="7"/>
                    <a:pt x="80" y="5"/>
                    <a:pt x="79" y="4"/>
                  </a:cubicBezTo>
                  <a:cubicBezTo>
                    <a:pt x="78" y="2"/>
                    <a:pt x="74" y="1"/>
                    <a:pt x="72" y="0"/>
                  </a:cubicBezTo>
                  <a:cubicBezTo>
                    <a:pt x="70" y="0"/>
                    <a:pt x="69"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93"/>
            <p:cNvSpPr/>
            <p:nvPr/>
          </p:nvSpPr>
          <p:spPr bwMode="auto">
            <a:xfrm>
              <a:off x="5546716" y="1143822"/>
              <a:ext cx="1598613" cy="777875"/>
            </a:xfrm>
            <a:custGeom>
              <a:gdLst>
                <a:gd name="T0" fmla="*/ 21 w 426"/>
                <a:gd name="T1" fmla="*/ 34 h 207"/>
                <a:gd name="T2" fmla="*/ 0 w 426"/>
                <a:gd name="T3" fmla="*/ 71 h 207"/>
                <a:gd name="T4" fmla="*/ 22 w 426"/>
                <a:gd name="T5" fmla="*/ 77 h 207"/>
                <a:gd name="T6" fmla="*/ 28 w 426"/>
                <a:gd name="T7" fmla="*/ 88 h 207"/>
                <a:gd name="T8" fmla="*/ 39 w 426"/>
                <a:gd name="T9" fmla="*/ 84 h 207"/>
                <a:gd name="T10" fmla="*/ 21 w 426"/>
                <a:gd name="T11" fmla="*/ 102 h 207"/>
                <a:gd name="T12" fmla="*/ 42 w 426"/>
                <a:gd name="T13" fmla="*/ 120 h 207"/>
                <a:gd name="T14" fmla="*/ 74 w 426"/>
                <a:gd name="T15" fmla="*/ 121 h 207"/>
                <a:gd name="T16" fmla="*/ 108 w 426"/>
                <a:gd name="T17" fmla="*/ 118 h 207"/>
                <a:gd name="T18" fmla="*/ 128 w 426"/>
                <a:gd name="T19" fmla="*/ 118 h 207"/>
                <a:gd name="T20" fmla="*/ 144 w 426"/>
                <a:gd name="T21" fmla="*/ 123 h 207"/>
                <a:gd name="T22" fmla="*/ 154 w 426"/>
                <a:gd name="T23" fmla="*/ 124 h 207"/>
                <a:gd name="T24" fmla="*/ 170 w 426"/>
                <a:gd name="T25" fmla="*/ 131 h 207"/>
                <a:gd name="T26" fmla="*/ 160 w 426"/>
                <a:gd name="T27" fmla="*/ 134 h 207"/>
                <a:gd name="T28" fmla="*/ 144 w 426"/>
                <a:gd name="T29" fmla="*/ 136 h 207"/>
                <a:gd name="T30" fmla="*/ 111 w 426"/>
                <a:gd name="T31" fmla="*/ 132 h 207"/>
                <a:gd name="T32" fmla="*/ 74 w 426"/>
                <a:gd name="T33" fmla="*/ 175 h 207"/>
                <a:gd name="T34" fmla="*/ 130 w 426"/>
                <a:gd name="T35" fmla="*/ 180 h 207"/>
                <a:gd name="T36" fmla="*/ 127 w 426"/>
                <a:gd name="T37" fmla="*/ 190 h 207"/>
                <a:gd name="T38" fmla="*/ 250 w 426"/>
                <a:gd name="T39" fmla="*/ 189 h 207"/>
                <a:gd name="T40" fmla="*/ 292 w 426"/>
                <a:gd name="T41" fmla="*/ 167 h 207"/>
                <a:gd name="T42" fmla="*/ 316 w 426"/>
                <a:gd name="T43" fmla="*/ 181 h 207"/>
                <a:gd name="T44" fmla="*/ 327 w 426"/>
                <a:gd name="T45" fmla="*/ 187 h 207"/>
                <a:gd name="T46" fmla="*/ 364 w 426"/>
                <a:gd name="T47" fmla="*/ 194 h 207"/>
                <a:gd name="T48" fmla="*/ 400 w 426"/>
                <a:gd name="T49" fmla="*/ 185 h 207"/>
                <a:gd name="T50" fmla="*/ 395 w 426"/>
                <a:gd name="T51" fmla="*/ 179 h 207"/>
                <a:gd name="T52" fmla="*/ 397 w 426"/>
                <a:gd name="T53" fmla="*/ 169 h 207"/>
                <a:gd name="T54" fmla="*/ 370 w 426"/>
                <a:gd name="T55" fmla="*/ 182 h 207"/>
                <a:gd name="T56" fmla="*/ 372 w 426"/>
                <a:gd name="T57" fmla="*/ 169 h 207"/>
                <a:gd name="T58" fmla="*/ 385 w 426"/>
                <a:gd name="T59" fmla="*/ 163 h 207"/>
                <a:gd name="T60" fmla="*/ 394 w 426"/>
                <a:gd name="T61" fmla="*/ 152 h 207"/>
                <a:gd name="T62" fmla="*/ 400 w 426"/>
                <a:gd name="T63" fmla="*/ 156 h 207"/>
                <a:gd name="T64" fmla="*/ 421 w 426"/>
                <a:gd name="T65" fmla="*/ 142 h 207"/>
                <a:gd name="T66" fmla="*/ 411 w 426"/>
                <a:gd name="T67" fmla="*/ 139 h 207"/>
                <a:gd name="T68" fmla="*/ 407 w 426"/>
                <a:gd name="T69" fmla="*/ 140 h 207"/>
                <a:gd name="T70" fmla="*/ 394 w 426"/>
                <a:gd name="T71" fmla="*/ 132 h 207"/>
                <a:gd name="T72" fmla="*/ 377 w 426"/>
                <a:gd name="T73" fmla="*/ 121 h 207"/>
                <a:gd name="T74" fmla="*/ 357 w 426"/>
                <a:gd name="T75" fmla="*/ 117 h 207"/>
                <a:gd name="T76" fmla="*/ 343 w 426"/>
                <a:gd name="T77" fmla="*/ 90 h 207"/>
                <a:gd name="T78" fmla="*/ 320 w 426"/>
                <a:gd name="T79" fmla="*/ 32 h 207"/>
                <a:gd name="T80" fmla="*/ 307 w 426"/>
                <a:gd name="T81" fmla="*/ 15 h 207"/>
                <a:gd name="T82" fmla="*/ 284 w 426"/>
                <a:gd name="T83" fmla="*/ 3 h 207"/>
                <a:gd name="T84" fmla="*/ 255 w 426"/>
                <a:gd name="T85" fmla="*/ 4 h 207"/>
                <a:gd name="T86" fmla="*/ 253 w 426"/>
                <a:gd name="T87" fmla="*/ 16 h 207"/>
                <a:gd name="T88" fmla="*/ 261 w 426"/>
                <a:gd name="T89" fmla="*/ 43 h 207"/>
                <a:gd name="T90" fmla="*/ 272 w 426"/>
                <a:gd name="T91" fmla="*/ 64 h 207"/>
                <a:gd name="T92" fmla="*/ 263 w 426"/>
                <a:gd name="T93" fmla="*/ 74 h 207"/>
                <a:gd name="T94" fmla="*/ 255 w 426"/>
                <a:gd name="T95" fmla="*/ 73 h 207"/>
                <a:gd name="T96" fmla="*/ 249 w 426"/>
                <a:gd name="T97" fmla="*/ 60 h 207"/>
                <a:gd name="T98" fmla="*/ 244 w 426"/>
                <a:gd name="T99" fmla="*/ 37 h 207"/>
                <a:gd name="T100" fmla="*/ 233 w 426"/>
                <a:gd name="T101" fmla="*/ 31 h 207"/>
                <a:gd name="T102" fmla="*/ 220 w 426"/>
                <a:gd name="T103" fmla="*/ 24 h 207"/>
                <a:gd name="T104" fmla="*/ 214 w 426"/>
                <a:gd name="T105" fmla="*/ 19 h 207"/>
                <a:gd name="T106" fmla="*/ 209 w 426"/>
                <a:gd name="T107" fmla="*/ 28 h 207"/>
                <a:gd name="T108" fmla="*/ 205 w 426"/>
                <a:gd name="T109" fmla="*/ 32 h 207"/>
                <a:gd name="T110" fmla="*/ 206 w 426"/>
                <a:gd name="T111" fmla="*/ 37 h 207"/>
                <a:gd name="T112" fmla="*/ 188 w 426"/>
                <a:gd name="T113" fmla="*/ 42 h 207"/>
                <a:gd name="T114" fmla="*/ 170 w 426"/>
                <a:gd name="T115" fmla="*/ 52 h 207"/>
                <a:gd name="T116" fmla="*/ 182 w 426"/>
                <a:gd name="T117" fmla="*/ 36 h 207"/>
                <a:gd name="T118" fmla="*/ 129 w 426"/>
                <a:gd name="T119" fmla="*/ 28 h 207"/>
                <a:gd name="T120" fmla="*/ 105 w 426"/>
                <a:gd name="T121" fmla="*/ 35 h 207"/>
                <a:gd name="T122" fmla="*/ 119 w 426"/>
                <a:gd name="T123" fmla="*/ 26 h 207"/>
                <a:gd name="T124" fmla="*/ 105 w 426"/>
                <a:gd name="T125" fmla="*/ 0 h 2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 h="206">
                  <a:moveTo>
                    <a:pt x="104" y="0"/>
                  </a:moveTo>
                  <a:cubicBezTo>
                    <a:pt x="102" y="0"/>
                    <a:pt x="100" y="2"/>
                    <a:pt x="98" y="3"/>
                  </a:cubicBezTo>
                  <a:cubicBezTo>
                    <a:pt x="88" y="7"/>
                    <a:pt x="78" y="9"/>
                    <a:pt x="68" y="12"/>
                  </a:cubicBezTo>
                  <a:cubicBezTo>
                    <a:pt x="63" y="13"/>
                    <a:pt x="58" y="16"/>
                    <a:pt x="53" y="18"/>
                  </a:cubicBezTo>
                  <a:cubicBezTo>
                    <a:pt x="48" y="20"/>
                    <a:pt x="43" y="20"/>
                    <a:pt x="39" y="23"/>
                  </a:cubicBezTo>
                  <a:cubicBezTo>
                    <a:pt x="37" y="25"/>
                    <a:pt x="35" y="26"/>
                    <a:pt x="33" y="27"/>
                  </a:cubicBezTo>
                  <a:cubicBezTo>
                    <a:pt x="29" y="30"/>
                    <a:pt x="25" y="31"/>
                    <a:pt x="21" y="34"/>
                  </a:cubicBezTo>
                  <a:cubicBezTo>
                    <a:pt x="19" y="35"/>
                    <a:pt x="15" y="37"/>
                    <a:pt x="13" y="40"/>
                  </a:cubicBezTo>
                  <a:cubicBezTo>
                    <a:pt x="9" y="45"/>
                    <a:pt x="17" y="46"/>
                    <a:pt x="20" y="46"/>
                  </a:cubicBezTo>
                  <a:cubicBezTo>
                    <a:pt x="28" y="46"/>
                    <a:pt x="17" y="51"/>
                    <a:pt x="15" y="52"/>
                  </a:cubicBezTo>
                  <a:cubicBezTo>
                    <a:pt x="13" y="53"/>
                    <a:pt x="12" y="54"/>
                    <a:pt x="10" y="55"/>
                  </a:cubicBezTo>
                  <a:cubicBezTo>
                    <a:pt x="9" y="56"/>
                    <a:pt x="10" y="57"/>
                    <a:pt x="9" y="58"/>
                  </a:cubicBezTo>
                  <a:cubicBezTo>
                    <a:pt x="5" y="61"/>
                    <a:pt x="1" y="62"/>
                    <a:pt x="0" y="68"/>
                  </a:cubicBezTo>
                  <a:cubicBezTo>
                    <a:pt x="0" y="69"/>
                    <a:pt x="0" y="70"/>
                    <a:pt x="0" y="71"/>
                  </a:cubicBezTo>
                  <a:cubicBezTo>
                    <a:pt x="0" y="72"/>
                    <a:pt x="0" y="75"/>
                    <a:pt x="1" y="76"/>
                  </a:cubicBezTo>
                  <a:cubicBezTo>
                    <a:pt x="1" y="77"/>
                    <a:pt x="2" y="77"/>
                    <a:pt x="3" y="77"/>
                  </a:cubicBezTo>
                  <a:cubicBezTo>
                    <a:pt x="4" y="77"/>
                    <a:pt x="6" y="76"/>
                    <a:pt x="8" y="76"/>
                  </a:cubicBezTo>
                  <a:cubicBezTo>
                    <a:pt x="8" y="75"/>
                    <a:pt x="8" y="75"/>
                    <a:pt x="8" y="75"/>
                  </a:cubicBezTo>
                  <a:cubicBezTo>
                    <a:pt x="11" y="75"/>
                    <a:pt x="19" y="76"/>
                    <a:pt x="16" y="79"/>
                  </a:cubicBezTo>
                  <a:cubicBezTo>
                    <a:pt x="16" y="79"/>
                    <a:pt x="16" y="79"/>
                    <a:pt x="16" y="79"/>
                  </a:cubicBezTo>
                  <a:cubicBezTo>
                    <a:pt x="18" y="79"/>
                    <a:pt x="20" y="78"/>
                    <a:pt x="22" y="77"/>
                  </a:cubicBezTo>
                  <a:cubicBezTo>
                    <a:pt x="23" y="76"/>
                    <a:pt x="25" y="75"/>
                    <a:pt x="27" y="75"/>
                  </a:cubicBezTo>
                  <a:cubicBezTo>
                    <a:pt x="27" y="75"/>
                    <a:pt x="28" y="75"/>
                    <a:pt x="29" y="75"/>
                  </a:cubicBezTo>
                  <a:cubicBezTo>
                    <a:pt x="27" y="76"/>
                    <a:pt x="27" y="77"/>
                    <a:pt x="27" y="78"/>
                  </a:cubicBezTo>
                  <a:cubicBezTo>
                    <a:pt x="25" y="79"/>
                    <a:pt x="23" y="80"/>
                    <a:pt x="22" y="81"/>
                  </a:cubicBezTo>
                  <a:cubicBezTo>
                    <a:pt x="20" y="83"/>
                    <a:pt x="18" y="84"/>
                    <a:pt x="19" y="86"/>
                  </a:cubicBezTo>
                  <a:cubicBezTo>
                    <a:pt x="20" y="88"/>
                    <a:pt x="22" y="88"/>
                    <a:pt x="25" y="88"/>
                  </a:cubicBezTo>
                  <a:cubicBezTo>
                    <a:pt x="26" y="88"/>
                    <a:pt x="27" y="88"/>
                    <a:pt x="28" y="88"/>
                  </a:cubicBezTo>
                  <a:cubicBezTo>
                    <a:pt x="29" y="88"/>
                    <a:pt x="30" y="88"/>
                    <a:pt x="31" y="88"/>
                  </a:cubicBezTo>
                  <a:cubicBezTo>
                    <a:pt x="31" y="88"/>
                    <a:pt x="31" y="88"/>
                    <a:pt x="31" y="88"/>
                  </a:cubicBezTo>
                  <a:cubicBezTo>
                    <a:pt x="32" y="88"/>
                    <a:pt x="33" y="88"/>
                    <a:pt x="35" y="88"/>
                  </a:cubicBezTo>
                  <a:cubicBezTo>
                    <a:pt x="36" y="88"/>
                    <a:pt x="37" y="88"/>
                    <a:pt x="37" y="87"/>
                  </a:cubicBezTo>
                  <a:cubicBezTo>
                    <a:pt x="38" y="86"/>
                    <a:pt x="36" y="84"/>
                    <a:pt x="37" y="83"/>
                  </a:cubicBezTo>
                  <a:cubicBezTo>
                    <a:pt x="38" y="83"/>
                    <a:pt x="38" y="83"/>
                    <a:pt x="38" y="84"/>
                  </a:cubicBezTo>
                  <a:cubicBezTo>
                    <a:pt x="39" y="84"/>
                    <a:pt x="39" y="84"/>
                    <a:pt x="39" y="84"/>
                  </a:cubicBezTo>
                  <a:cubicBezTo>
                    <a:pt x="41" y="84"/>
                    <a:pt x="39" y="86"/>
                    <a:pt x="40" y="86"/>
                  </a:cubicBezTo>
                  <a:cubicBezTo>
                    <a:pt x="40" y="87"/>
                    <a:pt x="40" y="87"/>
                    <a:pt x="41" y="87"/>
                  </a:cubicBezTo>
                  <a:cubicBezTo>
                    <a:pt x="43" y="87"/>
                    <a:pt x="45" y="86"/>
                    <a:pt x="46" y="86"/>
                  </a:cubicBezTo>
                  <a:cubicBezTo>
                    <a:pt x="50" y="85"/>
                    <a:pt x="54" y="85"/>
                    <a:pt x="57" y="84"/>
                  </a:cubicBezTo>
                  <a:cubicBezTo>
                    <a:pt x="63" y="83"/>
                    <a:pt x="68" y="82"/>
                    <a:pt x="74" y="81"/>
                  </a:cubicBezTo>
                  <a:cubicBezTo>
                    <a:pt x="60" y="87"/>
                    <a:pt x="45" y="92"/>
                    <a:pt x="31" y="98"/>
                  </a:cubicBezTo>
                  <a:cubicBezTo>
                    <a:pt x="28" y="99"/>
                    <a:pt x="24" y="101"/>
                    <a:pt x="21" y="102"/>
                  </a:cubicBezTo>
                  <a:cubicBezTo>
                    <a:pt x="20" y="102"/>
                    <a:pt x="16" y="103"/>
                    <a:pt x="16" y="104"/>
                  </a:cubicBezTo>
                  <a:cubicBezTo>
                    <a:pt x="16" y="105"/>
                    <a:pt x="19" y="108"/>
                    <a:pt x="20" y="109"/>
                  </a:cubicBezTo>
                  <a:cubicBezTo>
                    <a:pt x="23" y="112"/>
                    <a:pt x="29" y="113"/>
                    <a:pt x="31" y="116"/>
                  </a:cubicBezTo>
                  <a:cubicBezTo>
                    <a:pt x="33" y="117"/>
                    <a:pt x="32" y="120"/>
                    <a:pt x="36" y="121"/>
                  </a:cubicBezTo>
                  <a:cubicBezTo>
                    <a:pt x="36" y="121"/>
                    <a:pt x="36" y="121"/>
                    <a:pt x="36" y="121"/>
                  </a:cubicBezTo>
                  <a:cubicBezTo>
                    <a:pt x="37" y="121"/>
                    <a:pt x="38" y="120"/>
                    <a:pt x="39" y="120"/>
                  </a:cubicBezTo>
                  <a:cubicBezTo>
                    <a:pt x="41" y="120"/>
                    <a:pt x="41" y="120"/>
                    <a:pt x="42" y="120"/>
                  </a:cubicBezTo>
                  <a:cubicBezTo>
                    <a:pt x="45" y="121"/>
                    <a:pt x="47" y="121"/>
                    <a:pt x="50" y="121"/>
                  </a:cubicBezTo>
                  <a:cubicBezTo>
                    <a:pt x="53" y="121"/>
                    <a:pt x="55" y="121"/>
                    <a:pt x="57" y="120"/>
                  </a:cubicBezTo>
                  <a:cubicBezTo>
                    <a:pt x="60" y="120"/>
                    <a:pt x="62" y="119"/>
                    <a:pt x="64" y="119"/>
                  </a:cubicBezTo>
                  <a:cubicBezTo>
                    <a:pt x="64" y="119"/>
                    <a:pt x="64" y="119"/>
                    <a:pt x="65" y="119"/>
                  </a:cubicBezTo>
                  <a:cubicBezTo>
                    <a:pt x="67" y="119"/>
                    <a:pt x="68" y="121"/>
                    <a:pt x="71" y="121"/>
                  </a:cubicBezTo>
                  <a:cubicBezTo>
                    <a:pt x="71" y="121"/>
                    <a:pt x="71" y="121"/>
                    <a:pt x="71" y="121"/>
                  </a:cubicBezTo>
                  <a:cubicBezTo>
                    <a:pt x="72" y="121"/>
                    <a:pt x="73" y="121"/>
                    <a:pt x="74" y="121"/>
                  </a:cubicBezTo>
                  <a:cubicBezTo>
                    <a:pt x="75" y="121"/>
                    <a:pt x="76" y="121"/>
                    <a:pt x="78" y="121"/>
                  </a:cubicBezTo>
                  <a:cubicBezTo>
                    <a:pt x="78" y="121"/>
                    <a:pt x="78" y="121"/>
                    <a:pt x="78" y="121"/>
                  </a:cubicBezTo>
                  <a:cubicBezTo>
                    <a:pt x="79" y="121"/>
                    <a:pt x="80" y="121"/>
                    <a:pt x="81" y="121"/>
                  </a:cubicBezTo>
                  <a:cubicBezTo>
                    <a:pt x="82" y="121"/>
                    <a:pt x="82" y="121"/>
                    <a:pt x="82" y="121"/>
                  </a:cubicBezTo>
                  <a:cubicBezTo>
                    <a:pt x="83" y="121"/>
                    <a:pt x="84" y="121"/>
                    <a:pt x="85" y="121"/>
                  </a:cubicBezTo>
                  <a:cubicBezTo>
                    <a:pt x="90" y="120"/>
                    <a:pt x="96" y="120"/>
                    <a:pt x="100" y="120"/>
                  </a:cubicBezTo>
                  <a:cubicBezTo>
                    <a:pt x="103" y="120"/>
                    <a:pt x="106" y="119"/>
                    <a:pt x="108" y="118"/>
                  </a:cubicBezTo>
                  <a:cubicBezTo>
                    <a:pt x="109" y="118"/>
                    <a:pt x="110" y="118"/>
                    <a:pt x="110" y="118"/>
                  </a:cubicBezTo>
                  <a:cubicBezTo>
                    <a:pt x="111" y="118"/>
                    <a:pt x="111" y="118"/>
                    <a:pt x="112" y="118"/>
                  </a:cubicBezTo>
                  <a:cubicBezTo>
                    <a:pt x="112" y="118"/>
                    <a:pt x="113" y="118"/>
                    <a:pt x="114" y="118"/>
                  </a:cubicBezTo>
                  <a:cubicBezTo>
                    <a:pt x="114" y="118"/>
                    <a:pt x="114" y="118"/>
                    <a:pt x="115" y="118"/>
                  </a:cubicBezTo>
                  <a:cubicBezTo>
                    <a:pt x="117" y="117"/>
                    <a:pt x="118" y="116"/>
                    <a:pt x="120" y="116"/>
                  </a:cubicBezTo>
                  <a:cubicBezTo>
                    <a:pt x="120" y="116"/>
                    <a:pt x="121" y="116"/>
                    <a:pt x="121" y="116"/>
                  </a:cubicBezTo>
                  <a:cubicBezTo>
                    <a:pt x="123" y="116"/>
                    <a:pt x="126" y="118"/>
                    <a:pt x="128" y="118"/>
                  </a:cubicBezTo>
                  <a:cubicBezTo>
                    <a:pt x="128" y="118"/>
                    <a:pt x="128" y="118"/>
                    <a:pt x="128" y="118"/>
                  </a:cubicBezTo>
                  <a:cubicBezTo>
                    <a:pt x="129" y="118"/>
                    <a:pt x="130" y="118"/>
                    <a:pt x="131" y="118"/>
                  </a:cubicBezTo>
                  <a:cubicBezTo>
                    <a:pt x="131" y="118"/>
                    <a:pt x="131" y="118"/>
                    <a:pt x="131" y="118"/>
                  </a:cubicBezTo>
                  <a:cubicBezTo>
                    <a:pt x="132" y="118"/>
                    <a:pt x="134" y="119"/>
                    <a:pt x="135" y="119"/>
                  </a:cubicBezTo>
                  <a:cubicBezTo>
                    <a:pt x="137" y="119"/>
                    <a:pt x="138" y="120"/>
                    <a:pt x="140" y="121"/>
                  </a:cubicBezTo>
                  <a:cubicBezTo>
                    <a:pt x="141" y="121"/>
                    <a:pt x="142" y="122"/>
                    <a:pt x="143" y="122"/>
                  </a:cubicBezTo>
                  <a:cubicBezTo>
                    <a:pt x="144" y="122"/>
                    <a:pt x="144" y="123"/>
                    <a:pt x="144" y="123"/>
                  </a:cubicBezTo>
                  <a:cubicBezTo>
                    <a:pt x="144" y="123"/>
                    <a:pt x="144" y="123"/>
                    <a:pt x="144" y="123"/>
                  </a:cubicBezTo>
                  <a:cubicBezTo>
                    <a:pt x="145" y="123"/>
                    <a:pt x="145" y="123"/>
                    <a:pt x="145" y="122"/>
                  </a:cubicBezTo>
                  <a:cubicBezTo>
                    <a:pt x="145" y="122"/>
                    <a:pt x="146" y="122"/>
                    <a:pt x="146" y="122"/>
                  </a:cubicBezTo>
                  <a:cubicBezTo>
                    <a:pt x="146" y="122"/>
                    <a:pt x="146" y="122"/>
                    <a:pt x="146" y="122"/>
                  </a:cubicBezTo>
                  <a:cubicBezTo>
                    <a:pt x="149" y="122"/>
                    <a:pt x="151" y="123"/>
                    <a:pt x="153" y="124"/>
                  </a:cubicBezTo>
                  <a:cubicBezTo>
                    <a:pt x="153" y="124"/>
                    <a:pt x="153" y="124"/>
                    <a:pt x="153" y="124"/>
                  </a:cubicBezTo>
                  <a:cubicBezTo>
                    <a:pt x="154" y="124"/>
                    <a:pt x="154" y="124"/>
                    <a:pt x="154" y="124"/>
                  </a:cubicBezTo>
                  <a:cubicBezTo>
                    <a:pt x="154" y="124"/>
                    <a:pt x="154" y="123"/>
                    <a:pt x="155" y="123"/>
                  </a:cubicBezTo>
                  <a:cubicBezTo>
                    <a:pt x="155" y="123"/>
                    <a:pt x="155" y="123"/>
                    <a:pt x="155" y="123"/>
                  </a:cubicBezTo>
                  <a:cubicBezTo>
                    <a:pt x="155" y="123"/>
                    <a:pt x="155" y="124"/>
                    <a:pt x="156" y="124"/>
                  </a:cubicBezTo>
                  <a:cubicBezTo>
                    <a:pt x="157" y="124"/>
                    <a:pt x="158" y="124"/>
                    <a:pt x="159" y="125"/>
                  </a:cubicBezTo>
                  <a:cubicBezTo>
                    <a:pt x="163" y="126"/>
                    <a:pt x="162" y="126"/>
                    <a:pt x="164" y="129"/>
                  </a:cubicBezTo>
                  <a:cubicBezTo>
                    <a:pt x="165" y="130"/>
                    <a:pt x="168" y="131"/>
                    <a:pt x="170" y="131"/>
                  </a:cubicBezTo>
                  <a:cubicBezTo>
                    <a:pt x="170" y="131"/>
                    <a:pt x="170" y="131"/>
                    <a:pt x="170" y="131"/>
                  </a:cubicBezTo>
                  <a:cubicBezTo>
                    <a:pt x="171" y="131"/>
                    <a:pt x="171" y="131"/>
                    <a:pt x="172" y="131"/>
                  </a:cubicBezTo>
                  <a:cubicBezTo>
                    <a:pt x="172" y="131"/>
                    <a:pt x="173" y="131"/>
                    <a:pt x="173" y="131"/>
                  </a:cubicBezTo>
                  <a:cubicBezTo>
                    <a:pt x="174" y="131"/>
                    <a:pt x="174" y="131"/>
                    <a:pt x="174" y="131"/>
                  </a:cubicBezTo>
                  <a:cubicBezTo>
                    <a:pt x="176" y="132"/>
                    <a:pt x="174" y="134"/>
                    <a:pt x="177" y="134"/>
                  </a:cubicBezTo>
                  <a:cubicBezTo>
                    <a:pt x="175" y="135"/>
                    <a:pt x="174" y="135"/>
                    <a:pt x="172" y="135"/>
                  </a:cubicBezTo>
                  <a:cubicBezTo>
                    <a:pt x="170" y="135"/>
                    <a:pt x="168" y="135"/>
                    <a:pt x="166" y="134"/>
                  </a:cubicBezTo>
                  <a:cubicBezTo>
                    <a:pt x="164" y="134"/>
                    <a:pt x="162" y="134"/>
                    <a:pt x="160" y="134"/>
                  </a:cubicBezTo>
                  <a:cubicBezTo>
                    <a:pt x="160" y="134"/>
                    <a:pt x="159" y="134"/>
                    <a:pt x="159" y="134"/>
                  </a:cubicBezTo>
                  <a:cubicBezTo>
                    <a:pt x="160" y="134"/>
                    <a:pt x="161" y="134"/>
                    <a:pt x="161" y="134"/>
                  </a:cubicBezTo>
                  <a:cubicBezTo>
                    <a:pt x="158" y="135"/>
                    <a:pt x="155" y="137"/>
                    <a:pt x="152" y="137"/>
                  </a:cubicBezTo>
                  <a:cubicBezTo>
                    <a:pt x="152" y="137"/>
                    <a:pt x="152" y="137"/>
                    <a:pt x="152" y="137"/>
                  </a:cubicBezTo>
                  <a:cubicBezTo>
                    <a:pt x="150" y="137"/>
                    <a:pt x="149" y="137"/>
                    <a:pt x="148" y="137"/>
                  </a:cubicBezTo>
                  <a:cubicBezTo>
                    <a:pt x="147" y="136"/>
                    <a:pt x="145" y="136"/>
                    <a:pt x="144" y="136"/>
                  </a:cubicBezTo>
                  <a:cubicBezTo>
                    <a:pt x="144" y="136"/>
                    <a:pt x="144" y="136"/>
                    <a:pt x="144" y="136"/>
                  </a:cubicBezTo>
                  <a:cubicBezTo>
                    <a:pt x="143" y="136"/>
                    <a:pt x="143" y="136"/>
                    <a:pt x="143" y="136"/>
                  </a:cubicBezTo>
                  <a:cubicBezTo>
                    <a:pt x="141" y="136"/>
                    <a:pt x="139" y="135"/>
                    <a:pt x="137" y="135"/>
                  </a:cubicBezTo>
                  <a:cubicBezTo>
                    <a:pt x="135" y="135"/>
                    <a:pt x="133" y="134"/>
                    <a:pt x="131" y="134"/>
                  </a:cubicBezTo>
                  <a:cubicBezTo>
                    <a:pt x="130" y="134"/>
                    <a:pt x="130" y="134"/>
                    <a:pt x="129" y="134"/>
                  </a:cubicBezTo>
                  <a:cubicBezTo>
                    <a:pt x="128" y="134"/>
                    <a:pt x="127" y="134"/>
                    <a:pt x="126" y="134"/>
                  </a:cubicBezTo>
                  <a:cubicBezTo>
                    <a:pt x="122" y="134"/>
                    <a:pt x="119" y="134"/>
                    <a:pt x="115" y="133"/>
                  </a:cubicBezTo>
                  <a:cubicBezTo>
                    <a:pt x="114" y="132"/>
                    <a:pt x="112" y="132"/>
                    <a:pt x="111" y="132"/>
                  </a:cubicBezTo>
                  <a:cubicBezTo>
                    <a:pt x="107" y="132"/>
                    <a:pt x="102" y="134"/>
                    <a:pt x="98" y="134"/>
                  </a:cubicBezTo>
                  <a:cubicBezTo>
                    <a:pt x="89" y="134"/>
                    <a:pt x="81" y="135"/>
                    <a:pt x="73" y="136"/>
                  </a:cubicBezTo>
                  <a:cubicBezTo>
                    <a:pt x="61" y="138"/>
                    <a:pt x="50" y="142"/>
                    <a:pt x="39" y="146"/>
                  </a:cubicBezTo>
                  <a:cubicBezTo>
                    <a:pt x="41" y="149"/>
                    <a:pt x="42" y="152"/>
                    <a:pt x="43" y="155"/>
                  </a:cubicBezTo>
                  <a:cubicBezTo>
                    <a:pt x="45" y="158"/>
                    <a:pt x="50" y="159"/>
                    <a:pt x="53" y="160"/>
                  </a:cubicBezTo>
                  <a:cubicBezTo>
                    <a:pt x="52" y="161"/>
                    <a:pt x="52" y="162"/>
                    <a:pt x="51" y="162"/>
                  </a:cubicBezTo>
                  <a:cubicBezTo>
                    <a:pt x="58" y="166"/>
                    <a:pt x="66" y="173"/>
                    <a:pt x="74" y="175"/>
                  </a:cubicBezTo>
                  <a:cubicBezTo>
                    <a:pt x="78" y="176"/>
                    <a:pt x="82" y="176"/>
                    <a:pt x="85" y="176"/>
                  </a:cubicBezTo>
                  <a:cubicBezTo>
                    <a:pt x="87" y="176"/>
                    <a:pt x="88" y="176"/>
                    <a:pt x="90" y="176"/>
                  </a:cubicBezTo>
                  <a:cubicBezTo>
                    <a:pt x="91" y="176"/>
                    <a:pt x="92" y="176"/>
                    <a:pt x="94" y="176"/>
                  </a:cubicBezTo>
                  <a:cubicBezTo>
                    <a:pt x="95" y="176"/>
                    <a:pt x="96" y="176"/>
                    <a:pt x="97" y="176"/>
                  </a:cubicBezTo>
                  <a:cubicBezTo>
                    <a:pt x="99" y="176"/>
                    <a:pt x="100" y="176"/>
                    <a:pt x="101" y="176"/>
                  </a:cubicBezTo>
                  <a:cubicBezTo>
                    <a:pt x="108" y="177"/>
                    <a:pt x="114" y="178"/>
                    <a:pt x="121" y="178"/>
                  </a:cubicBezTo>
                  <a:cubicBezTo>
                    <a:pt x="123" y="179"/>
                    <a:pt x="128" y="178"/>
                    <a:pt x="130" y="180"/>
                  </a:cubicBezTo>
                  <a:cubicBezTo>
                    <a:pt x="130" y="180"/>
                    <a:pt x="130" y="180"/>
                    <a:pt x="130" y="180"/>
                  </a:cubicBezTo>
                  <a:cubicBezTo>
                    <a:pt x="129" y="180"/>
                    <a:pt x="129" y="180"/>
                    <a:pt x="128" y="180"/>
                  </a:cubicBezTo>
                  <a:cubicBezTo>
                    <a:pt x="128" y="180"/>
                    <a:pt x="127" y="179"/>
                    <a:pt x="127" y="179"/>
                  </a:cubicBezTo>
                  <a:cubicBezTo>
                    <a:pt x="126" y="179"/>
                    <a:pt x="125" y="180"/>
                    <a:pt x="127" y="181"/>
                  </a:cubicBezTo>
                  <a:cubicBezTo>
                    <a:pt x="125" y="183"/>
                    <a:pt x="128" y="184"/>
                    <a:pt x="129" y="185"/>
                  </a:cubicBezTo>
                  <a:cubicBezTo>
                    <a:pt x="129" y="185"/>
                    <a:pt x="128" y="185"/>
                    <a:pt x="128" y="185"/>
                  </a:cubicBezTo>
                  <a:cubicBezTo>
                    <a:pt x="129" y="187"/>
                    <a:pt x="128" y="188"/>
                    <a:pt x="127" y="190"/>
                  </a:cubicBezTo>
                  <a:cubicBezTo>
                    <a:pt x="126" y="196"/>
                    <a:pt x="134" y="202"/>
                    <a:pt x="138" y="207"/>
                  </a:cubicBezTo>
                  <a:cubicBezTo>
                    <a:pt x="138" y="207"/>
                    <a:pt x="139" y="207"/>
                    <a:pt x="141" y="207"/>
                  </a:cubicBezTo>
                  <a:cubicBezTo>
                    <a:pt x="144" y="207"/>
                    <a:pt x="149" y="206"/>
                    <a:pt x="150" y="206"/>
                  </a:cubicBezTo>
                  <a:cubicBezTo>
                    <a:pt x="160" y="206"/>
                    <a:pt x="170" y="205"/>
                    <a:pt x="179" y="204"/>
                  </a:cubicBezTo>
                  <a:cubicBezTo>
                    <a:pt x="192" y="203"/>
                    <a:pt x="204" y="203"/>
                    <a:pt x="216" y="201"/>
                  </a:cubicBezTo>
                  <a:cubicBezTo>
                    <a:pt x="223" y="200"/>
                    <a:pt x="231" y="200"/>
                    <a:pt x="237" y="197"/>
                  </a:cubicBezTo>
                  <a:cubicBezTo>
                    <a:pt x="242" y="194"/>
                    <a:pt x="244" y="189"/>
                    <a:pt x="250" y="189"/>
                  </a:cubicBezTo>
                  <a:cubicBezTo>
                    <a:pt x="254" y="188"/>
                    <a:pt x="259" y="188"/>
                    <a:pt x="263" y="187"/>
                  </a:cubicBezTo>
                  <a:cubicBezTo>
                    <a:pt x="266" y="187"/>
                    <a:pt x="270" y="187"/>
                    <a:pt x="272" y="186"/>
                  </a:cubicBezTo>
                  <a:cubicBezTo>
                    <a:pt x="275" y="185"/>
                    <a:pt x="277" y="182"/>
                    <a:pt x="279" y="181"/>
                  </a:cubicBezTo>
                  <a:cubicBezTo>
                    <a:pt x="280" y="180"/>
                    <a:pt x="281" y="179"/>
                    <a:pt x="282" y="178"/>
                  </a:cubicBezTo>
                  <a:cubicBezTo>
                    <a:pt x="284" y="177"/>
                    <a:pt x="282" y="177"/>
                    <a:pt x="282" y="176"/>
                  </a:cubicBezTo>
                  <a:cubicBezTo>
                    <a:pt x="283" y="173"/>
                    <a:pt x="288" y="167"/>
                    <a:pt x="291" y="167"/>
                  </a:cubicBezTo>
                  <a:cubicBezTo>
                    <a:pt x="292" y="167"/>
                    <a:pt x="292" y="167"/>
                    <a:pt x="292" y="167"/>
                  </a:cubicBezTo>
                  <a:cubicBezTo>
                    <a:pt x="296" y="168"/>
                    <a:pt x="299" y="173"/>
                    <a:pt x="297" y="176"/>
                  </a:cubicBezTo>
                  <a:cubicBezTo>
                    <a:pt x="296" y="178"/>
                    <a:pt x="293" y="178"/>
                    <a:pt x="297" y="180"/>
                  </a:cubicBezTo>
                  <a:cubicBezTo>
                    <a:pt x="298" y="180"/>
                    <a:pt x="299" y="180"/>
                    <a:pt x="301" y="180"/>
                  </a:cubicBezTo>
                  <a:cubicBezTo>
                    <a:pt x="302" y="180"/>
                    <a:pt x="303" y="180"/>
                    <a:pt x="305" y="180"/>
                  </a:cubicBezTo>
                  <a:cubicBezTo>
                    <a:pt x="306" y="180"/>
                    <a:pt x="308" y="180"/>
                    <a:pt x="309" y="180"/>
                  </a:cubicBezTo>
                  <a:cubicBezTo>
                    <a:pt x="309" y="180"/>
                    <a:pt x="310" y="180"/>
                    <a:pt x="310" y="180"/>
                  </a:cubicBezTo>
                  <a:cubicBezTo>
                    <a:pt x="312" y="180"/>
                    <a:pt x="314" y="180"/>
                    <a:pt x="316" y="181"/>
                  </a:cubicBezTo>
                  <a:cubicBezTo>
                    <a:pt x="316" y="182"/>
                    <a:pt x="316" y="182"/>
                    <a:pt x="317" y="182"/>
                  </a:cubicBezTo>
                  <a:cubicBezTo>
                    <a:pt x="318" y="183"/>
                    <a:pt x="319" y="183"/>
                    <a:pt x="319" y="183"/>
                  </a:cubicBezTo>
                  <a:cubicBezTo>
                    <a:pt x="320" y="183"/>
                    <a:pt x="321" y="183"/>
                    <a:pt x="322" y="183"/>
                  </a:cubicBezTo>
                  <a:cubicBezTo>
                    <a:pt x="322" y="183"/>
                    <a:pt x="323" y="182"/>
                    <a:pt x="324" y="182"/>
                  </a:cubicBezTo>
                  <a:cubicBezTo>
                    <a:pt x="324" y="182"/>
                    <a:pt x="324" y="182"/>
                    <a:pt x="324" y="182"/>
                  </a:cubicBezTo>
                  <a:cubicBezTo>
                    <a:pt x="325" y="182"/>
                    <a:pt x="329" y="183"/>
                    <a:pt x="329" y="184"/>
                  </a:cubicBezTo>
                  <a:cubicBezTo>
                    <a:pt x="330" y="186"/>
                    <a:pt x="327" y="185"/>
                    <a:pt x="327" y="187"/>
                  </a:cubicBezTo>
                  <a:cubicBezTo>
                    <a:pt x="324" y="187"/>
                    <a:pt x="323" y="188"/>
                    <a:pt x="321" y="189"/>
                  </a:cubicBezTo>
                  <a:cubicBezTo>
                    <a:pt x="322" y="190"/>
                    <a:pt x="324" y="190"/>
                    <a:pt x="326" y="190"/>
                  </a:cubicBezTo>
                  <a:cubicBezTo>
                    <a:pt x="327" y="190"/>
                    <a:pt x="329" y="190"/>
                    <a:pt x="331" y="190"/>
                  </a:cubicBezTo>
                  <a:cubicBezTo>
                    <a:pt x="333" y="189"/>
                    <a:pt x="337" y="189"/>
                    <a:pt x="341" y="189"/>
                  </a:cubicBezTo>
                  <a:cubicBezTo>
                    <a:pt x="342" y="189"/>
                    <a:pt x="344" y="189"/>
                    <a:pt x="345" y="189"/>
                  </a:cubicBezTo>
                  <a:cubicBezTo>
                    <a:pt x="346" y="190"/>
                    <a:pt x="345" y="192"/>
                    <a:pt x="347" y="192"/>
                  </a:cubicBezTo>
                  <a:cubicBezTo>
                    <a:pt x="353" y="193"/>
                    <a:pt x="359" y="193"/>
                    <a:pt x="364" y="194"/>
                  </a:cubicBezTo>
                  <a:cubicBezTo>
                    <a:pt x="368" y="194"/>
                    <a:pt x="371" y="194"/>
                    <a:pt x="373" y="194"/>
                  </a:cubicBezTo>
                  <a:cubicBezTo>
                    <a:pt x="377" y="194"/>
                    <a:pt x="381" y="194"/>
                    <a:pt x="385" y="192"/>
                  </a:cubicBezTo>
                  <a:cubicBezTo>
                    <a:pt x="388" y="191"/>
                    <a:pt x="390" y="190"/>
                    <a:pt x="394" y="189"/>
                  </a:cubicBezTo>
                  <a:cubicBezTo>
                    <a:pt x="397" y="188"/>
                    <a:pt x="397" y="189"/>
                    <a:pt x="397" y="186"/>
                  </a:cubicBezTo>
                  <a:cubicBezTo>
                    <a:pt x="397" y="186"/>
                    <a:pt x="397" y="187"/>
                    <a:pt x="397" y="188"/>
                  </a:cubicBezTo>
                  <a:cubicBezTo>
                    <a:pt x="398" y="188"/>
                    <a:pt x="401" y="188"/>
                    <a:pt x="402" y="186"/>
                  </a:cubicBezTo>
                  <a:cubicBezTo>
                    <a:pt x="402" y="186"/>
                    <a:pt x="400" y="185"/>
                    <a:pt x="400" y="185"/>
                  </a:cubicBezTo>
                  <a:cubicBezTo>
                    <a:pt x="401" y="184"/>
                    <a:pt x="401" y="184"/>
                    <a:pt x="402" y="183"/>
                  </a:cubicBezTo>
                  <a:cubicBezTo>
                    <a:pt x="402" y="182"/>
                    <a:pt x="403" y="180"/>
                    <a:pt x="403" y="179"/>
                  </a:cubicBezTo>
                  <a:cubicBezTo>
                    <a:pt x="402" y="179"/>
                    <a:pt x="401" y="178"/>
                    <a:pt x="401" y="178"/>
                  </a:cubicBezTo>
                  <a:cubicBezTo>
                    <a:pt x="400" y="178"/>
                    <a:pt x="400" y="178"/>
                    <a:pt x="400" y="178"/>
                  </a:cubicBezTo>
                  <a:cubicBezTo>
                    <a:pt x="397" y="179"/>
                    <a:pt x="397" y="179"/>
                    <a:pt x="397" y="180"/>
                  </a:cubicBezTo>
                  <a:cubicBezTo>
                    <a:pt x="397" y="180"/>
                    <a:pt x="397" y="179"/>
                    <a:pt x="397" y="179"/>
                  </a:cubicBezTo>
                  <a:cubicBezTo>
                    <a:pt x="397" y="179"/>
                    <a:pt x="396" y="179"/>
                    <a:pt x="395" y="179"/>
                  </a:cubicBezTo>
                  <a:cubicBezTo>
                    <a:pt x="395" y="179"/>
                    <a:pt x="394" y="179"/>
                    <a:pt x="394" y="179"/>
                  </a:cubicBezTo>
                  <a:cubicBezTo>
                    <a:pt x="393" y="177"/>
                    <a:pt x="395" y="178"/>
                    <a:pt x="396" y="177"/>
                  </a:cubicBezTo>
                  <a:cubicBezTo>
                    <a:pt x="397" y="175"/>
                    <a:pt x="395" y="174"/>
                    <a:pt x="393" y="174"/>
                  </a:cubicBezTo>
                  <a:cubicBezTo>
                    <a:pt x="394" y="173"/>
                    <a:pt x="396" y="173"/>
                    <a:pt x="397" y="172"/>
                  </a:cubicBezTo>
                  <a:cubicBezTo>
                    <a:pt x="397" y="172"/>
                    <a:pt x="397" y="172"/>
                    <a:pt x="397" y="172"/>
                  </a:cubicBezTo>
                  <a:cubicBezTo>
                    <a:pt x="397" y="172"/>
                    <a:pt x="397" y="172"/>
                    <a:pt x="397" y="172"/>
                  </a:cubicBezTo>
                  <a:cubicBezTo>
                    <a:pt x="399" y="171"/>
                    <a:pt x="399" y="169"/>
                    <a:pt x="397" y="169"/>
                  </a:cubicBezTo>
                  <a:cubicBezTo>
                    <a:pt x="397" y="169"/>
                    <a:pt x="397" y="169"/>
                    <a:pt x="397" y="169"/>
                  </a:cubicBezTo>
                  <a:cubicBezTo>
                    <a:pt x="396" y="168"/>
                    <a:pt x="393" y="167"/>
                    <a:pt x="391" y="167"/>
                  </a:cubicBezTo>
                  <a:cubicBezTo>
                    <a:pt x="390" y="167"/>
                    <a:pt x="390" y="167"/>
                    <a:pt x="389" y="167"/>
                  </a:cubicBezTo>
                  <a:cubicBezTo>
                    <a:pt x="386" y="167"/>
                    <a:pt x="386" y="169"/>
                    <a:pt x="383" y="170"/>
                  </a:cubicBezTo>
                  <a:cubicBezTo>
                    <a:pt x="379" y="171"/>
                    <a:pt x="378" y="171"/>
                    <a:pt x="376" y="174"/>
                  </a:cubicBezTo>
                  <a:cubicBezTo>
                    <a:pt x="375" y="175"/>
                    <a:pt x="371" y="182"/>
                    <a:pt x="370" y="182"/>
                  </a:cubicBezTo>
                  <a:cubicBezTo>
                    <a:pt x="370" y="182"/>
                    <a:pt x="370" y="182"/>
                    <a:pt x="370" y="182"/>
                  </a:cubicBezTo>
                  <a:cubicBezTo>
                    <a:pt x="367" y="182"/>
                    <a:pt x="370" y="179"/>
                    <a:pt x="371" y="178"/>
                  </a:cubicBezTo>
                  <a:cubicBezTo>
                    <a:pt x="373" y="176"/>
                    <a:pt x="373" y="176"/>
                    <a:pt x="374" y="173"/>
                  </a:cubicBezTo>
                  <a:cubicBezTo>
                    <a:pt x="374" y="170"/>
                    <a:pt x="374" y="170"/>
                    <a:pt x="374" y="170"/>
                  </a:cubicBezTo>
                  <a:cubicBezTo>
                    <a:pt x="374" y="169"/>
                    <a:pt x="373" y="169"/>
                    <a:pt x="373" y="169"/>
                  </a:cubicBezTo>
                  <a:cubicBezTo>
                    <a:pt x="373" y="169"/>
                    <a:pt x="373" y="169"/>
                    <a:pt x="373" y="169"/>
                  </a:cubicBezTo>
                  <a:cubicBezTo>
                    <a:pt x="373" y="169"/>
                    <a:pt x="373" y="169"/>
                    <a:pt x="373" y="169"/>
                  </a:cubicBezTo>
                  <a:cubicBezTo>
                    <a:pt x="372" y="169"/>
                    <a:pt x="372" y="169"/>
                    <a:pt x="372" y="169"/>
                  </a:cubicBezTo>
                  <a:cubicBezTo>
                    <a:pt x="370" y="168"/>
                    <a:pt x="370" y="166"/>
                    <a:pt x="369" y="164"/>
                  </a:cubicBezTo>
                  <a:cubicBezTo>
                    <a:pt x="368" y="163"/>
                    <a:pt x="366" y="164"/>
                    <a:pt x="365" y="162"/>
                  </a:cubicBezTo>
                  <a:cubicBezTo>
                    <a:pt x="363" y="161"/>
                    <a:pt x="364" y="158"/>
                    <a:pt x="365" y="158"/>
                  </a:cubicBezTo>
                  <a:cubicBezTo>
                    <a:pt x="365" y="158"/>
                    <a:pt x="366" y="158"/>
                    <a:pt x="366" y="158"/>
                  </a:cubicBezTo>
                  <a:cubicBezTo>
                    <a:pt x="368" y="158"/>
                    <a:pt x="370" y="161"/>
                    <a:pt x="372" y="162"/>
                  </a:cubicBezTo>
                  <a:cubicBezTo>
                    <a:pt x="374" y="163"/>
                    <a:pt x="378" y="164"/>
                    <a:pt x="381" y="164"/>
                  </a:cubicBezTo>
                  <a:cubicBezTo>
                    <a:pt x="383" y="164"/>
                    <a:pt x="385" y="164"/>
                    <a:pt x="385" y="163"/>
                  </a:cubicBezTo>
                  <a:cubicBezTo>
                    <a:pt x="386" y="159"/>
                    <a:pt x="386" y="159"/>
                    <a:pt x="386" y="159"/>
                  </a:cubicBezTo>
                  <a:cubicBezTo>
                    <a:pt x="385" y="158"/>
                    <a:pt x="385" y="159"/>
                    <a:pt x="383" y="158"/>
                  </a:cubicBezTo>
                  <a:cubicBezTo>
                    <a:pt x="385" y="156"/>
                    <a:pt x="388" y="157"/>
                    <a:pt x="390" y="155"/>
                  </a:cubicBezTo>
                  <a:cubicBezTo>
                    <a:pt x="391" y="153"/>
                    <a:pt x="391" y="150"/>
                    <a:pt x="392" y="150"/>
                  </a:cubicBezTo>
                  <a:cubicBezTo>
                    <a:pt x="393" y="150"/>
                    <a:pt x="393" y="150"/>
                    <a:pt x="393" y="150"/>
                  </a:cubicBezTo>
                  <a:cubicBezTo>
                    <a:pt x="394" y="150"/>
                    <a:pt x="393" y="152"/>
                    <a:pt x="393" y="152"/>
                  </a:cubicBezTo>
                  <a:cubicBezTo>
                    <a:pt x="393" y="152"/>
                    <a:pt x="394" y="152"/>
                    <a:pt x="394" y="152"/>
                  </a:cubicBezTo>
                  <a:cubicBezTo>
                    <a:pt x="394" y="152"/>
                    <a:pt x="394" y="152"/>
                    <a:pt x="395" y="152"/>
                  </a:cubicBezTo>
                  <a:cubicBezTo>
                    <a:pt x="395" y="152"/>
                    <a:pt x="395" y="152"/>
                    <a:pt x="395" y="152"/>
                  </a:cubicBezTo>
                  <a:cubicBezTo>
                    <a:pt x="396" y="152"/>
                    <a:pt x="396" y="152"/>
                    <a:pt x="396" y="152"/>
                  </a:cubicBezTo>
                  <a:cubicBezTo>
                    <a:pt x="397" y="152"/>
                    <a:pt x="397" y="154"/>
                    <a:pt x="397" y="154"/>
                  </a:cubicBezTo>
                  <a:cubicBezTo>
                    <a:pt x="397" y="154"/>
                    <a:pt x="397" y="154"/>
                    <a:pt x="397" y="154"/>
                  </a:cubicBezTo>
                  <a:cubicBezTo>
                    <a:pt x="397" y="154"/>
                    <a:pt x="397" y="155"/>
                    <a:pt x="398" y="155"/>
                  </a:cubicBezTo>
                  <a:cubicBezTo>
                    <a:pt x="399" y="156"/>
                    <a:pt x="398" y="156"/>
                    <a:pt x="400" y="156"/>
                  </a:cubicBezTo>
                  <a:cubicBezTo>
                    <a:pt x="402" y="156"/>
                    <a:pt x="403" y="159"/>
                    <a:pt x="405" y="160"/>
                  </a:cubicBezTo>
                  <a:cubicBezTo>
                    <a:pt x="405" y="158"/>
                    <a:pt x="406" y="157"/>
                    <a:pt x="407" y="156"/>
                  </a:cubicBezTo>
                  <a:cubicBezTo>
                    <a:pt x="408" y="154"/>
                    <a:pt x="409" y="152"/>
                    <a:pt x="410" y="150"/>
                  </a:cubicBezTo>
                  <a:cubicBezTo>
                    <a:pt x="411" y="152"/>
                    <a:pt x="409" y="153"/>
                    <a:pt x="410" y="155"/>
                  </a:cubicBezTo>
                  <a:cubicBezTo>
                    <a:pt x="411" y="157"/>
                    <a:pt x="416" y="159"/>
                    <a:pt x="419" y="159"/>
                  </a:cubicBezTo>
                  <a:cubicBezTo>
                    <a:pt x="420" y="159"/>
                    <a:pt x="420" y="159"/>
                    <a:pt x="420" y="159"/>
                  </a:cubicBezTo>
                  <a:cubicBezTo>
                    <a:pt x="426" y="158"/>
                    <a:pt x="421" y="146"/>
                    <a:pt x="421" y="142"/>
                  </a:cubicBezTo>
                  <a:cubicBezTo>
                    <a:pt x="421" y="141"/>
                    <a:pt x="421" y="139"/>
                    <a:pt x="420" y="138"/>
                  </a:cubicBezTo>
                  <a:cubicBezTo>
                    <a:pt x="420" y="138"/>
                    <a:pt x="419" y="138"/>
                    <a:pt x="419" y="138"/>
                  </a:cubicBezTo>
                  <a:cubicBezTo>
                    <a:pt x="418" y="138"/>
                    <a:pt x="418" y="139"/>
                    <a:pt x="417" y="139"/>
                  </a:cubicBezTo>
                  <a:cubicBezTo>
                    <a:pt x="416" y="139"/>
                    <a:pt x="415" y="140"/>
                    <a:pt x="415" y="140"/>
                  </a:cubicBezTo>
                  <a:cubicBezTo>
                    <a:pt x="414" y="140"/>
                    <a:pt x="414" y="140"/>
                    <a:pt x="414" y="140"/>
                  </a:cubicBezTo>
                  <a:cubicBezTo>
                    <a:pt x="413" y="140"/>
                    <a:pt x="412" y="139"/>
                    <a:pt x="412" y="139"/>
                  </a:cubicBezTo>
                  <a:cubicBezTo>
                    <a:pt x="412" y="139"/>
                    <a:pt x="412" y="139"/>
                    <a:pt x="411" y="139"/>
                  </a:cubicBezTo>
                  <a:cubicBezTo>
                    <a:pt x="411" y="140"/>
                    <a:pt x="411" y="140"/>
                    <a:pt x="411" y="140"/>
                  </a:cubicBezTo>
                  <a:cubicBezTo>
                    <a:pt x="411" y="140"/>
                    <a:pt x="410" y="140"/>
                    <a:pt x="410" y="140"/>
                  </a:cubicBezTo>
                  <a:cubicBezTo>
                    <a:pt x="410" y="140"/>
                    <a:pt x="410" y="140"/>
                    <a:pt x="410" y="140"/>
                  </a:cubicBezTo>
                  <a:cubicBezTo>
                    <a:pt x="410" y="140"/>
                    <a:pt x="409" y="140"/>
                    <a:pt x="409" y="140"/>
                  </a:cubicBezTo>
                  <a:cubicBezTo>
                    <a:pt x="409" y="140"/>
                    <a:pt x="409" y="140"/>
                    <a:pt x="409" y="140"/>
                  </a:cubicBezTo>
                  <a:cubicBezTo>
                    <a:pt x="408" y="141"/>
                    <a:pt x="408" y="141"/>
                    <a:pt x="408" y="141"/>
                  </a:cubicBezTo>
                  <a:cubicBezTo>
                    <a:pt x="407" y="141"/>
                    <a:pt x="407" y="141"/>
                    <a:pt x="407" y="140"/>
                  </a:cubicBezTo>
                  <a:cubicBezTo>
                    <a:pt x="405" y="138"/>
                    <a:pt x="408" y="133"/>
                    <a:pt x="404" y="133"/>
                  </a:cubicBezTo>
                  <a:cubicBezTo>
                    <a:pt x="404" y="133"/>
                    <a:pt x="403" y="133"/>
                    <a:pt x="403" y="133"/>
                  </a:cubicBezTo>
                  <a:cubicBezTo>
                    <a:pt x="401" y="133"/>
                    <a:pt x="401" y="135"/>
                    <a:pt x="399" y="135"/>
                  </a:cubicBezTo>
                  <a:cubicBezTo>
                    <a:pt x="399" y="135"/>
                    <a:pt x="398" y="134"/>
                    <a:pt x="397" y="134"/>
                  </a:cubicBezTo>
                  <a:cubicBezTo>
                    <a:pt x="397" y="134"/>
                    <a:pt x="397" y="134"/>
                    <a:pt x="397" y="135"/>
                  </a:cubicBezTo>
                  <a:cubicBezTo>
                    <a:pt x="397" y="134"/>
                    <a:pt x="397" y="133"/>
                    <a:pt x="396" y="133"/>
                  </a:cubicBezTo>
                  <a:cubicBezTo>
                    <a:pt x="396" y="132"/>
                    <a:pt x="395" y="132"/>
                    <a:pt x="394" y="132"/>
                  </a:cubicBezTo>
                  <a:cubicBezTo>
                    <a:pt x="394" y="132"/>
                    <a:pt x="394" y="132"/>
                    <a:pt x="394" y="132"/>
                  </a:cubicBezTo>
                  <a:cubicBezTo>
                    <a:pt x="394" y="132"/>
                    <a:pt x="393" y="132"/>
                    <a:pt x="393" y="132"/>
                  </a:cubicBezTo>
                  <a:cubicBezTo>
                    <a:pt x="393" y="132"/>
                    <a:pt x="393" y="132"/>
                    <a:pt x="393" y="132"/>
                  </a:cubicBezTo>
                  <a:cubicBezTo>
                    <a:pt x="391" y="131"/>
                    <a:pt x="391" y="130"/>
                    <a:pt x="389" y="129"/>
                  </a:cubicBezTo>
                  <a:cubicBezTo>
                    <a:pt x="388" y="128"/>
                    <a:pt x="386" y="127"/>
                    <a:pt x="384" y="127"/>
                  </a:cubicBezTo>
                  <a:cubicBezTo>
                    <a:pt x="383" y="126"/>
                    <a:pt x="380" y="126"/>
                    <a:pt x="379" y="125"/>
                  </a:cubicBezTo>
                  <a:cubicBezTo>
                    <a:pt x="377" y="124"/>
                    <a:pt x="378" y="122"/>
                    <a:pt x="377" y="121"/>
                  </a:cubicBezTo>
                  <a:cubicBezTo>
                    <a:pt x="376" y="119"/>
                    <a:pt x="372" y="118"/>
                    <a:pt x="370" y="118"/>
                  </a:cubicBezTo>
                  <a:cubicBezTo>
                    <a:pt x="370" y="119"/>
                    <a:pt x="370" y="120"/>
                    <a:pt x="371" y="121"/>
                  </a:cubicBezTo>
                  <a:cubicBezTo>
                    <a:pt x="372" y="123"/>
                    <a:pt x="374" y="123"/>
                    <a:pt x="375" y="125"/>
                  </a:cubicBezTo>
                  <a:cubicBezTo>
                    <a:pt x="375" y="125"/>
                    <a:pt x="375" y="125"/>
                    <a:pt x="374" y="125"/>
                  </a:cubicBezTo>
                  <a:cubicBezTo>
                    <a:pt x="372" y="125"/>
                    <a:pt x="371" y="124"/>
                    <a:pt x="369" y="123"/>
                  </a:cubicBezTo>
                  <a:cubicBezTo>
                    <a:pt x="366" y="120"/>
                    <a:pt x="365" y="122"/>
                    <a:pt x="362" y="121"/>
                  </a:cubicBezTo>
                  <a:cubicBezTo>
                    <a:pt x="360" y="120"/>
                    <a:pt x="359" y="118"/>
                    <a:pt x="357" y="117"/>
                  </a:cubicBezTo>
                  <a:cubicBezTo>
                    <a:pt x="357" y="116"/>
                    <a:pt x="355" y="115"/>
                    <a:pt x="355" y="115"/>
                  </a:cubicBezTo>
                  <a:cubicBezTo>
                    <a:pt x="354" y="114"/>
                    <a:pt x="352" y="115"/>
                    <a:pt x="351" y="114"/>
                  </a:cubicBezTo>
                  <a:cubicBezTo>
                    <a:pt x="350" y="113"/>
                    <a:pt x="350" y="111"/>
                    <a:pt x="349" y="110"/>
                  </a:cubicBezTo>
                  <a:cubicBezTo>
                    <a:pt x="348" y="107"/>
                    <a:pt x="347" y="106"/>
                    <a:pt x="345" y="105"/>
                  </a:cubicBezTo>
                  <a:cubicBezTo>
                    <a:pt x="343" y="104"/>
                    <a:pt x="341" y="104"/>
                    <a:pt x="339" y="102"/>
                  </a:cubicBezTo>
                  <a:cubicBezTo>
                    <a:pt x="337" y="101"/>
                    <a:pt x="337" y="101"/>
                    <a:pt x="338" y="99"/>
                  </a:cubicBezTo>
                  <a:cubicBezTo>
                    <a:pt x="338" y="96"/>
                    <a:pt x="342" y="93"/>
                    <a:pt x="343" y="90"/>
                  </a:cubicBezTo>
                  <a:cubicBezTo>
                    <a:pt x="346" y="85"/>
                    <a:pt x="341" y="78"/>
                    <a:pt x="339" y="74"/>
                  </a:cubicBezTo>
                  <a:cubicBezTo>
                    <a:pt x="338" y="73"/>
                    <a:pt x="337" y="71"/>
                    <a:pt x="336" y="70"/>
                  </a:cubicBezTo>
                  <a:cubicBezTo>
                    <a:pt x="333" y="67"/>
                    <a:pt x="333" y="68"/>
                    <a:pt x="332" y="64"/>
                  </a:cubicBezTo>
                  <a:cubicBezTo>
                    <a:pt x="331" y="63"/>
                    <a:pt x="330" y="61"/>
                    <a:pt x="329" y="60"/>
                  </a:cubicBezTo>
                  <a:cubicBezTo>
                    <a:pt x="328" y="57"/>
                    <a:pt x="329" y="54"/>
                    <a:pt x="327" y="51"/>
                  </a:cubicBezTo>
                  <a:cubicBezTo>
                    <a:pt x="324" y="46"/>
                    <a:pt x="323" y="42"/>
                    <a:pt x="322" y="37"/>
                  </a:cubicBezTo>
                  <a:cubicBezTo>
                    <a:pt x="321" y="34"/>
                    <a:pt x="321" y="33"/>
                    <a:pt x="320" y="32"/>
                  </a:cubicBezTo>
                  <a:cubicBezTo>
                    <a:pt x="318" y="30"/>
                    <a:pt x="316" y="30"/>
                    <a:pt x="316" y="27"/>
                  </a:cubicBezTo>
                  <a:cubicBezTo>
                    <a:pt x="317" y="27"/>
                    <a:pt x="319" y="28"/>
                    <a:pt x="320" y="28"/>
                  </a:cubicBezTo>
                  <a:cubicBezTo>
                    <a:pt x="318" y="26"/>
                    <a:pt x="317" y="25"/>
                    <a:pt x="315" y="23"/>
                  </a:cubicBezTo>
                  <a:cubicBezTo>
                    <a:pt x="315" y="22"/>
                    <a:pt x="314" y="20"/>
                    <a:pt x="313" y="20"/>
                  </a:cubicBezTo>
                  <a:cubicBezTo>
                    <a:pt x="312" y="19"/>
                    <a:pt x="311" y="19"/>
                    <a:pt x="310" y="18"/>
                  </a:cubicBezTo>
                  <a:cubicBezTo>
                    <a:pt x="309" y="17"/>
                    <a:pt x="309" y="16"/>
                    <a:pt x="308" y="15"/>
                  </a:cubicBezTo>
                  <a:cubicBezTo>
                    <a:pt x="308" y="15"/>
                    <a:pt x="307" y="15"/>
                    <a:pt x="307" y="15"/>
                  </a:cubicBezTo>
                  <a:cubicBezTo>
                    <a:pt x="306" y="15"/>
                    <a:pt x="306" y="15"/>
                    <a:pt x="306" y="15"/>
                  </a:cubicBezTo>
                  <a:cubicBezTo>
                    <a:pt x="306" y="15"/>
                    <a:pt x="305" y="15"/>
                    <a:pt x="305" y="15"/>
                  </a:cubicBezTo>
                  <a:cubicBezTo>
                    <a:pt x="305" y="15"/>
                    <a:pt x="305" y="15"/>
                    <a:pt x="305" y="15"/>
                  </a:cubicBezTo>
                  <a:cubicBezTo>
                    <a:pt x="302" y="15"/>
                    <a:pt x="300" y="14"/>
                    <a:pt x="298" y="13"/>
                  </a:cubicBezTo>
                  <a:cubicBezTo>
                    <a:pt x="296" y="12"/>
                    <a:pt x="295" y="9"/>
                    <a:pt x="293" y="8"/>
                  </a:cubicBezTo>
                  <a:cubicBezTo>
                    <a:pt x="292" y="7"/>
                    <a:pt x="290" y="8"/>
                    <a:pt x="287" y="6"/>
                  </a:cubicBezTo>
                  <a:cubicBezTo>
                    <a:pt x="286" y="5"/>
                    <a:pt x="285" y="3"/>
                    <a:pt x="284" y="3"/>
                  </a:cubicBezTo>
                  <a:cubicBezTo>
                    <a:pt x="283" y="3"/>
                    <a:pt x="282" y="3"/>
                    <a:pt x="281" y="4"/>
                  </a:cubicBezTo>
                  <a:cubicBezTo>
                    <a:pt x="277" y="6"/>
                    <a:pt x="281" y="9"/>
                    <a:pt x="279" y="9"/>
                  </a:cubicBezTo>
                  <a:cubicBezTo>
                    <a:pt x="279" y="9"/>
                    <a:pt x="279" y="9"/>
                    <a:pt x="278" y="9"/>
                  </a:cubicBezTo>
                  <a:cubicBezTo>
                    <a:pt x="275" y="8"/>
                    <a:pt x="273" y="6"/>
                    <a:pt x="271" y="5"/>
                  </a:cubicBezTo>
                  <a:cubicBezTo>
                    <a:pt x="268" y="3"/>
                    <a:pt x="266" y="3"/>
                    <a:pt x="264" y="3"/>
                  </a:cubicBezTo>
                  <a:cubicBezTo>
                    <a:pt x="262" y="2"/>
                    <a:pt x="261" y="2"/>
                    <a:pt x="259" y="2"/>
                  </a:cubicBezTo>
                  <a:cubicBezTo>
                    <a:pt x="255" y="4"/>
                    <a:pt x="255" y="4"/>
                    <a:pt x="255" y="4"/>
                  </a:cubicBezTo>
                  <a:cubicBezTo>
                    <a:pt x="254" y="6"/>
                    <a:pt x="259" y="8"/>
                    <a:pt x="260" y="9"/>
                  </a:cubicBezTo>
                  <a:cubicBezTo>
                    <a:pt x="260" y="9"/>
                    <a:pt x="260" y="9"/>
                    <a:pt x="260" y="9"/>
                  </a:cubicBezTo>
                  <a:cubicBezTo>
                    <a:pt x="260" y="9"/>
                    <a:pt x="259" y="9"/>
                    <a:pt x="258" y="8"/>
                  </a:cubicBezTo>
                  <a:cubicBezTo>
                    <a:pt x="257" y="8"/>
                    <a:pt x="256" y="8"/>
                    <a:pt x="256" y="8"/>
                  </a:cubicBezTo>
                  <a:cubicBezTo>
                    <a:pt x="255" y="8"/>
                    <a:pt x="255" y="8"/>
                    <a:pt x="255" y="8"/>
                  </a:cubicBezTo>
                  <a:cubicBezTo>
                    <a:pt x="250" y="9"/>
                    <a:pt x="251" y="11"/>
                    <a:pt x="253" y="14"/>
                  </a:cubicBezTo>
                  <a:cubicBezTo>
                    <a:pt x="253" y="15"/>
                    <a:pt x="252" y="15"/>
                    <a:pt x="253" y="16"/>
                  </a:cubicBezTo>
                  <a:cubicBezTo>
                    <a:pt x="253" y="16"/>
                    <a:pt x="254" y="16"/>
                    <a:pt x="254" y="17"/>
                  </a:cubicBezTo>
                  <a:cubicBezTo>
                    <a:pt x="254" y="18"/>
                    <a:pt x="254" y="19"/>
                    <a:pt x="254" y="20"/>
                  </a:cubicBezTo>
                  <a:cubicBezTo>
                    <a:pt x="254" y="22"/>
                    <a:pt x="256" y="23"/>
                    <a:pt x="256" y="26"/>
                  </a:cubicBezTo>
                  <a:cubicBezTo>
                    <a:pt x="257" y="28"/>
                    <a:pt x="257" y="30"/>
                    <a:pt x="257" y="32"/>
                  </a:cubicBezTo>
                  <a:cubicBezTo>
                    <a:pt x="258" y="34"/>
                    <a:pt x="259" y="35"/>
                    <a:pt x="259" y="38"/>
                  </a:cubicBezTo>
                  <a:cubicBezTo>
                    <a:pt x="258" y="40"/>
                    <a:pt x="260" y="39"/>
                    <a:pt x="260" y="40"/>
                  </a:cubicBezTo>
                  <a:cubicBezTo>
                    <a:pt x="261" y="41"/>
                    <a:pt x="261" y="42"/>
                    <a:pt x="261" y="43"/>
                  </a:cubicBezTo>
                  <a:cubicBezTo>
                    <a:pt x="262" y="46"/>
                    <a:pt x="266" y="48"/>
                    <a:pt x="262" y="48"/>
                  </a:cubicBezTo>
                  <a:cubicBezTo>
                    <a:pt x="262" y="48"/>
                    <a:pt x="261" y="48"/>
                    <a:pt x="261" y="48"/>
                  </a:cubicBezTo>
                  <a:cubicBezTo>
                    <a:pt x="264" y="50"/>
                    <a:pt x="262" y="52"/>
                    <a:pt x="263" y="54"/>
                  </a:cubicBezTo>
                  <a:cubicBezTo>
                    <a:pt x="264" y="55"/>
                    <a:pt x="265" y="55"/>
                    <a:pt x="266" y="56"/>
                  </a:cubicBezTo>
                  <a:cubicBezTo>
                    <a:pt x="267" y="57"/>
                    <a:pt x="266" y="58"/>
                    <a:pt x="266" y="60"/>
                  </a:cubicBezTo>
                  <a:cubicBezTo>
                    <a:pt x="268" y="61"/>
                    <a:pt x="270" y="61"/>
                    <a:pt x="271" y="62"/>
                  </a:cubicBezTo>
                  <a:cubicBezTo>
                    <a:pt x="272" y="64"/>
                    <a:pt x="272" y="64"/>
                    <a:pt x="272" y="64"/>
                  </a:cubicBezTo>
                  <a:cubicBezTo>
                    <a:pt x="272" y="64"/>
                    <a:pt x="274" y="65"/>
                    <a:pt x="274" y="65"/>
                  </a:cubicBezTo>
                  <a:cubicBezTo>
                    <a:pt x="275" y="67"/>
                    <a:pt x="271" y="66"/>
                    <a:pt x="270" y="67"/>
                  </a:cubicBezTo>
                  <a:cubicBezTo>
                    <a:pt x="272" y="68"/>
                    <a:pt x="274" y="68"/>
                    <a:pt x="275" y="70"/>
                  </a:cubicBezTo>
                  <a:cubicBezTo>
                    <a:pt x="272" y="70"/>
                    <a:pt x="270" y="70"/>
                    <a:pt x="267" y="71"/>
                  </a:cubicBezTo>
                  <a:cubicBezTo>
                    <a:pt x="266" y="72"/>
                    <a:pt x="266" y="73"/>
                    <a:pt x="265" y="74"/>
                  </a:cubicBezTo>
                  <a:cubicBezTo>
                    <a:pt x="265" y="74"/>
                    <a:pt x="265" y="74"/>
                    <a:pt x="264" y="74"/>
                  </a:cubicBezTo>
                  <a:cubicBezTo>
                    <a:pt x="264" y="74"/>
                    <a:pt x="264" y="74"/>
                    <a:pt x="263" y="74"/>
                  </a:cubicBezTo>
                  <a:cubicBezTo>
                    <a:pt x="263" y="73"/>
                    <a:pt x="263" y="73"/>
                    <a:pt x="262" y="73"/>
                  </a:cubicBezTo>
                  <a:cubicBezTo>
                    <a:pt x="262" y="73"/>
                    <a:pt x="262" y="74"/>
                    <a:pt x="262" y="75"/>
                  </a:cubicBezTo>
                  <a:cubicBezTo>
                    <a:pt x="262" y="76"/>
                    <a:pt x="265" y="76"/>
                    <a:pt x="263" y="78"/>
                  </a:cubicBezTo>
                  <a:cubicBezTo>
                    <a:pt x="263" y="78"/>
                    <a:pt x="262" y="78"/>
                    <a:pt x="262" y="78"/>
                  </a:cubicBezTo>
                  <a:cubicBezTo>
                    <a:pt x="261" y="78"/>
                    <a:pt x="260" y="77"/>
                    <a:pt x="259" y="77"/>
                  </a:cubicBezTo>
                  <a:cubicBezTo>
                    <a:pt x="259" y="76"/>
                    <a:pt x="259" y="75"/>
                    <a:pt x="258" y="74"/>
                  </a:cubicBezTo>
                  <a:cubicBezTo>
                    <a:pt x="257" y="74"/>
                    <a:pt x="255" y="73"/>
                    <a:pt x="255" y="73"/>
                  </a:cubicBezTo>
                  <a:cubicBezTo>
                    <a:pt x="253" y="72"/>
                    <a:pt x="254" y="67"/>
                    <a:pt x="254" y="65"/>
                  </a:cubicBezTo>
                  <a:cubicBezTo>
                    <a:pt x="254" y="64"/>
                    <a:pt x="254" y="63"/>
                    <a:pt x="253" y="62"/>
                  </a:cubicBezTo>
                  <a:cubicBezTo>
                    <a:pt x="253" y="62"/>
                    <a:pt x="253" y="62"/>
                    <a:pt x="253" y="62"/>
                  </a:cubicBezTo>
                  <a:cubicBezTo>
                    <a:pt x="253" y="62"/>
                    <a:pt x="252" y="62"/>
                    <a:pt x="252" y="63"/>
                  </a:cubicBezTo>
                  <a:cubicBezTo>
                    <a:pt x="252" y="63"/>
                    <a:pt x="252" y="63"/>
                    <a:pt x="252" y="63"/>
                  </a:cubicBezTo>
                  <a:cubicBezTo>
                    <a:pt x="251" y="63"/>
                    <a:pt x="251" y="63"/>
                    <a:pt x="251" y="62"/>
                  </a:cubicBezTo>
                  <a:cubicBezTo>
                    <a:pt x="251" y="61"/>
                    <a:pt x="249" y="61"/>
                    <a:pt x="249" y="60"/>
                  </a:cubicBezTo>
                  <a:cubicBezTo>
                    <a:pt x="248" y="58"/>
                    <a:pt x="249" y="56"/>
                    <a:pt x="248" y="54"/>
                  </a:cubicBezTo>
                  <a:cubicBezTo>
                    <a:pt x="248" y="54"/>
                    <a:pt x="248" y="54"/>
                    <a:pt x="248" y="54"/>
                  </a:cubicBezTo>
                  <a:cubicBezTo>
                    <a:pt x="248" y="54"/>
                    <a:pt x="247" y="54"/>
                    <a:pt x="247" y="54"/>
                  </a:cubicBezTo>
                  <a:cubicBezTo>
                    <a:pt x="247" y="55"/>
                    <a:pt x="247" y="55"/>
                    <a:pt x="247" y="55"/>
                  </a:cubicBezTo>
                  <a:cubicBezTo>
                    <a:pt x="246" y="55"/>
                    <a:pt x="246" y="54"/>
                    <a:pt x="246" y="53"/>
                  </a:cubicBezTo>
                  <a:cubicBezTo>
                    <a:pt x="246" y="52"/>
                    <a:pt x="245" y="51"/>
                    <a:pt x="245" y="50"/>
                  </a:cubicBezTo>
                  <a:cubicBezTo>
                    <a:pt x="244" y="46"/>
                    <a:pt x="246" y="41"/>
                    <a:pt x="244" y="37"/>
                  </a:cubicBezTo>
                  <a:cubicBezTo>
                    <a:pt x="243" y="36"/>
                    <a:pt x="242" y="36"/>
                    <a:pt x="241" y="35"/>
                  </a:cubicBezTo>
                  <a:cubicBezTo>
                    <a:pt x="241" y="35"/>
                    <a:pt x="240" y="35"/>
                    <a:pt x="240" y="35"/>
                  </a:cubicBezTo>
                  <a:cubicBezTo>
                    <a:pt x="240" y="35"/>
                    <a:pt x="239" y="36"/>
                    <a:pt x="238" y="36"/>
                  </a:cubicBezTo>
                  <a:cubicBezTo>
                    <a:pt x="238" y="36"/>
                    <a:pt x="237" y="36"/>
                    <a:pt x="237" y="36"/>
                  </a:cubicBezTo>
                  <a:cubicBezTo>
                    <a:pt x="237" y="36"/>
                    <a:pt x="237" y="36"/>
                    <a:pt x="237" y="36"/>
                  </a:cubicBezTo>
                  <a:cubicBezTo>
                    <a:pt x="236" y="35"/>
                    <a:pt x="236" y="32"/>
                    <a:pt x="235" y="31"/>
                  </a:cubicBezTo>
                  <a:cubicBezTo>
                    <a:pt x="235" y="31"/>
                    <a:pt x="233" y="31"/>
                    <a:pt x="233" y="31"/>
                  </a:cubicBezTo>
                  <a:cubicBezTo>
                    <a:pt x="232" y="30"/>
                    <a:pt x="232" y="29"/>
                    <a:pt x="232" y="28"/>
                  </a:cubicBezTo>
                  <a:cubicBezTo>
                    <a:pt x="231" y="28"/>
                    <a:pt x="231" y="28"/>
                    <a:pt x="230" y="28"/>
                  </a:cubicBezTo>
                  <a:cubicBezTo>
                    <a:pt x="230" y="28"/>
                    <a:pt x="230" y="28"/>
                    <a:pt x="229" y="28"/>
                  </a:cubicBezTo>
                  <a:cubicBezTo>
                    <a:pt x="229" y="28"/>
                    <a:pt x="229" y="28"/>
                    <a:pt x="228" y="28"/>
                  </a:cubicBezTo>
                  <a:cubicBezTo>
                    <a:pt x="228" y="28"/>
                    <a:pt x="228" y="28"/>
                    <a:pt x="228" y="28"/>
                  </a:cubicBezTo>
                  <a:cubicBezTo>
                    <a:pt x="226" y="27"/>
                    <a:pt x="226" y="27"/>
                    <a:pt x="224" y="26"/>
                  </a:cubicBezTo>
                  <a:cubicBezTo>
                    <a:pt x="223" y="25"/>
                    <a:pt x="221" y="25"/>
                    <a:pt x="220" y="24"/>
                  </a:cubicBezTo>
                  <a:cubicBezTo>
                    <a:pt x="217" y="23"/>
                    <a:pt x="218" y="22"/>
                    <a:pt x="220" y="21"/>
                  </a:cubicBezTo>
                  <a:cubicBezTo>
                    <a:pt x="219" y="20"/>
                    <a:pt x="218" y="20"/>
                    <a:pt x="217" y="20"/>
                  </a:cubicBezTo>
                  <a:cubicBezTo>
                    <a:pt x="217" y="20"/>
                    <a:pt x="217" y="20"/>
                    <a:pt x="217" y="20"/>
                  </a:cubicBezTo>
                  <a:cubicBezTo>
                    <a:pt x="216" y="20"/>
                    <a:pt x="216" y="20"/>
                    <a:pt x="216" y="20"/>
                  </a:cubicBezTo>
                  <a:cubicBezTo>
                    <a:pt x="216" y="21"/>
                    <a:pt x="215" y="21"/>
                    <a:pt x="215" y="21"/>
                  </a:cubicBezTo>
                  <a:cubicBezTo>
                    <a:pt x="215" y="21"/>
                    <a:pt x="215" y="21"/>
                    <a:pt x="215" y="21"/>
                  </a:cubicBezTo>
                  <a:cubicBezTo>
                    <a:pt x="214" y="20"/>
                    <a:pt x="215" y="19"/>
                    <a:pt x="214" y="19"/>
                  </a:cubicBezTo>
                  <a:cubicBezTo>
                    <a:pt x="213" y="18"/>
                    <a:pt x="211" y="18"/>
                    <a:pt x="210" y="18"/>
                  </a:cubicBezTo>
                  <a:cubicBezTo>
                    <a:pt x="208" y="18"/>
                    <a:pt x="206" y="18"/>
                    <a:pt x="204" y="18"/>
                  </a:cubicBezTo>
                  <a:cubicBezTo>
                    <a:pt x="201" y="18"/>
                    <a:pt x="197" y="18"/>
                    <a:pt x="194" y="19"/>
                  </a:cubicBezTo>
                  <a:cubicBezTo>
                    <a:pt x="195" y="20"/>
                    <a:pt x="198" y="23"/>
                    <a:pt x="199" y="24"/>
                  </a:cubicBezTo>
                  <a:cubicBezTo>
                    <a:pt x="203" y="26"/>
                    <a:pt x="204" y="23"/>
                    <a:pt x="205" y="28"/>
                  </a:cubicBezTo>
                  <a:cubicBezTo>
                    <a:pt x="205" y="28"/>
                    <a:pt x="206" y="29"/>
                    <a:pt x="207" y="29"/>
                  </a:cubicBezTo>
                  <a:cubicBezTo>
                    <a:pt x="208" y="29"/>
                    <a:pt x="209" y="28"/>
                    <a:pt x="209" y="28"/>
                  </a:cubicBezTo>
                  <a:cubicBezTo>
                    <a:pt x="210" y="28"/>
                    <a:pt x="212" y="28"/>
                    <a:pt x="213" y="28"/>
                  </a:cubicBezTo>
                  <a:cubicBezTo>
                    <a:pt x="214" y="28"/>
                    <a:pt x="216" y="29"/>
                    <a:pt x="216" y="30"/>
                  </a:cubicBezTo>
                  <a:cubicBezTo>
                    <a:pt x="217" y="31"/>
                    <a:pt x="216" y="31"/>
                    <a:pt x="216" y="31"/>
                  </a:cubicBezTo>
                  <a:cubicBezTo>
                    <a:pt x="215" y="31"/>
                    <a:pt x="214" y="31"/>
                    <a:pt x="214" y="31"/>
                  </a:cubicBezTo>
                  <a:cubicBezTo>
                    <a:pt x="212" y="31"/>
                    <a:pt x="211" y="31"/>
                    <a:pt x="210" y="31"/>
                  </a:cubicBezTo>
                  <a:cubicBezTo>
                    <a:pt x="210" y="31"/>
                    <a:pt x="209" y="31"/>
                    <a:pt x="208" y="31"/>
                  </a:cubicBezTo>
                  <a:cubicBezTo>
                    <a:pt x="207" y="31"/>
                    <a:pt x="206" y="31"/>
                    <a:pt x="205" y="32"/>
                  </a:cubicBezTo>
                  <a:cubicBezTo>
                    <a:pt x="205" y="32"/>
                    <a:pt x="206" y="33"/>
                    <a:pt x="206" y="33"/>
                  </a:cubicBezTo>
                  <a:cubicBezTo>
                    <a:pt x="207" y="33"/>
                    <a:pt x="207" y="33"/>
                    <a:pt x="207" y="33"/>
                  </a:cubicBezTo>
                  <a:cubicBezTo>
                    <a:pt x="208" y="32"/>
                    <a:pt x="208" y="32"/>
                    <a:pt x="208" y="32"/>
                  </a:cubicBezTo>
                  <a:cubicBezTo>
                    <a:pt x="209" y="32"/>
                    <a:pt x="209" y="32"/>
                    <a:pt x="209" y="33"/>
                  </a:cubicBezTo>
                  <a:cubicBezTo>
                    <a:pt x="212" y="34"/>
                    <a:pt x="215" y="37"/>
                    <a:pt x="216" y="39"/>
                  </a:cubicBezTo>
                  <a:cubicBezTo>
                    <a:pt x="216" y="39"/>
                    <a:pt x="215" y="40"/>
                    <a:pt x="215" y="40"/>
                  </a:cubicBezTo>
                  <a:cubicBezTo>
                    <a:pt x="212" y="40"/>
                    <a:pt x="209" y="37"/>
                    <a:pt x="206" y="37"/>
                  </a:cubicBezTo>
                  <a:cubicBezTo>
                    <a:pt x="209" y="38"/>
                    <a:pt x="214" y="40"/>
                    <a:pt x="216" y="42"/>
                  </a:cubicBezTo>
                  <a:cubicBezTo>
                    <a:pt x="212" y="41"/>
                    <a:pt x="207" y="40"/>
                    <a:pt x="202" y="38"/>
                  </a:cubicBezTo>
                  <a:cubicBezTo>
                    <a:pt x="200" y="37"/>
                    <a:pt x="198" y="37"/>
                    <a:pt x="195" y="36"/>
                  </a:cubicBezTo>
                  <a:cubicBezTo>
                    <a:pt x="195" y="36"/>
                    <a:pt x="195" y="36"/>
                    <a:pt x="195" y="36"/>
                  </a:cubicBezTo>
                  <a:cubicBezTo>
                    <a:pt x="194" y="36"/>
                    <a:pt x="193" y="38"/>
                    <a:pt x="192" y="38"/>
                  </a:cubicBezTo>
                  <a:cubicBezTo>
                    <a:pt x="191" y="39"/>
                    <a:pt x="189" y="39"/>
                    <a:pt x="188" y="40"/>
                  </a:cubicBezTo>
                  <a:cubicBezTo>
                    <a:pt x="188" y="41"/>
                    <a:pt x="189" y="41"/>
                    <a:pt x="188" y="42"/>
                  </a:cubicBezTo>
                  <a:cubicBezTo>
                    <a:pt x="188" y="43"/>
                    <a:pt x="187" y="43"/>
                    <a:pt x="186" y="44"/>
                  </a:cubicBezTo>
                  <a:cubicBezTo>
                    <a:pt x="186" y="45"/>
                    <a:pt x="187" y="47"/>
                    <a:pt x="187" y="48"/>
                  </a:cubicBezTo>
                  <a:cubicBezTo>
                    <a:pt x="186" y="46"/>
                    <a:pt x="185" y="46"/>
                    <a:pt x="183" y="46"/>
                  </a:cubicBezTo>
                  <a:cubicBezTo>
                    <a:pt x="178" y="45"/>
                    <a:pt x="181" y="45"/>
                    <a:pt x="180" y="41"/>
                  </a:cubicBezTo>
                  <a:cubicBezTo>
                    <a:pt x="179" y="42"/>
                    <a:pt x="175" y="43"/>
                    <a:pt x="174" y="45"/>
                  </a:cubicBezTo>
                  <a:cubicBezTo>
                    <a:pt x="174" y="46"/>
                    <a:pt x="176" y="46"/>
                    <a:pt x="175" y="47"/>
                  </a:cubicBezTo>
                  <a:cubicBezTo>
                    <a:pt x="175" y="49"/>
                    <a:pt x="172" y="51"/>
                    <a:pt x="170" y="52"/>
                  </a:cubicBezTo>
                  <a:cubicBezTo>
                    <a:pt x="170" y="49"/>
                    <a:pt x="173" y="49"/>
                    <a:pt x="169" y="47"/>
                  </a:cubicBezTo>
                  <a:cubicBezTo>
                    <a:pt x="165" y="45"/>
                    <a:pt x="171" y="44"/>
                    <a:pt x="172" y="43"/>
                  </a:cubicBezTo>
                  <a:cubicBezTo>
                    <a:pt x="175" y="43"/>
                    <a:pt x="176" y="41"/>
                    <a:pt x="178" y="40"/>
                  </a:cubicBezTo>
                  <a:cubicBezTo>
                    <a:pt x="178" y="40"/>
                    <a:pt x="178" y="40"/>
                    <a:pt x="178" y="40"/>
                  </a:cubicBezTo>
                  <a:cubicBezTo>
                    <a:pt x="178" y="40"/>
                    <a:pt x="177" y="39"/>
                    <a:pt x="177" y="39"/>
                  </a:cubicBezTo>
                  <a:cubicBezTo>
                    <a:pt x="178" y="38"/>
                    <a:pt x="179" y="38"/>
                    <a:pt x="179" y="38"/>
                  </a:cubicBezTo>
                  <a:cubicBezTo>
                    <a:pt x="180" y="37"/>
                    <a:pt x="181" y="37"/>
                    <a:pt x="182" y="36"/>
                  </a:cubicBezTo>
                  <a:cubicBezTo>
                    <a:pt x="172" y="31"/>
                    <a:pt x="162" y="26"/>
                    <a:pt x="152" y="21"/>
                  </a:cubicBezTo>
                  <a:cubicBezTo>
                    <a:pt x="148" y="20"/>
                    <a:pt x="144" y="17"/>
                    <a:pt x="141" y="17"/>
                  </a:cubicBezTo>
                  <a:cubicBezTo>
                    <a:pt x="139" y="17"/>
                    <a:pt x="138" y="18"/>
                    <a:pt x="136" y="19"/>
                  </a:cubicBezTo>
                  <a:cubicBezTo>
                    <a:pt x="134" y="20"/>
                    <a:pt x="133" y="21"/>
                    <a:pt x="132" y="22"/>
                  </a:cubicBezTo>
                  <a:cubicBezTo>
                    <a:pt x="131" y="23"/>
                    <a:pt x="128" y="26"/>
                    <a:pt x="128" y="26"/>
                  </a:cubicBezTo>
                  <a:cubicBezTo>
                    <a:pt x="128" y="28"/>
                    <a:pt x="128" y="28"/>
                    <a:pt x="129" y="28"/>
                  </a:cubicBezTo>
                  <a:cubicBezTo>
                    <a:pt x="129" y="28"/>
                    <a:pt x="129" y="28"/>
                    <a:pt x="129" y="28"/>
                  </a:cubicBezTo>
                  <a:cubicBezTo>
                    <a:pt x="130" y="28"/>
                    <a:pt x="130" y="28"/>
                    <a:pt x="130" y="28"/>
                  </a:cubicBezTo>
                  <a:cubicBezTo>
                    <a:pt x="131" y="28"/>
                    <a:pt x="131" y="28"/>
                    <a:pt x="131" y="28"/>
                  </a:cubicBezTo>
                  <a:cubicBezTo>
                    <a:pt x="133" y="30"/>
                    <a:pt x="128" y="33"/>
                    <a:pt x="126" y="34"/>
                  </a:cubicBezTo>
                  <a:cubicBezTo>
                    <a:pt x="127" y="32"/>
                    <a:pt x="128" y="32"/>
                    <a:pt x="129" y="30"/>
                  </a:cubicBezTo>
                  <a:cubicBezTo>
                    <a:pt x="126" y="32"/>
                    <a:pt x="123" y="32"/>
                    <a:pt x="119" y="33"/>
                  </a:cubicBezTo>
                  <a:cubicBezTo>
                    <a:pt x="116" y="33"/>
                    <a:pt x="111" y="36"/>
                    <a:pt x="108" y="36"/>
                  </a:cubicBezTo>
                  <a:cubicBezTo>
                    <a:pt x="106" y="36"/>
                    <a:pt x="105" y="35"/>
                    <a:pt x="105" y="35"/>
                  </a:cubicBezTo>
                  <a:cubicBezTo>
                    <a:pt x="106" y="34"/>
                    <a:pt x="111" y="33"/>
                    <a:pt x="112" y="31"/>
                  </a:cubicBezTo>
                  <a:cubicBezTo>
                    <a:pt x="112" y="31"/>
                    <a:pt x="110" y="29"/>
                    <a:pt x="110" y="29"/>
                  </a:cubicBezTo>
                  <a:cubicBezTo>
                    <a:pt x="114" y="26"/>
                    <a:pt x="114" y="26"/>
                    <a:pt x="114" y="26"/>
                  </a:cubicBezTo>
                  <a:cubicBezTo>
                    <a:pt x="114" y="26"/>
                    <a:pt x="114" y="26"/>
                    <a:pt x="114" y="26"/>
                  </a:cubicBezTo>
                  <a:cubicBezTo>
                    <a:pt x="115" y="26"/>
                    <a:pt x="115" y="26"/>
                    <a:pt x="116" y="26"/>
                  </a:cubicBezTo>
                  <a:cubicBezTo>
                    <a:pt x="116" y="26"/>
                    <a:pt x="117" y="26"/>
                    <a:pt x="117" y="26"/>
                  </a:cubicBezTo>
                  <a:cubicBezTo>
                    <a:pt x="118" y="26"/>
                    <a:pt x="119" y="26"/>
                    <a:pt x="119" y="26"/>
                  </a:cubicBezTo>
                  <a:cubicBezTo>
                    <a:pt x="120" y="24"/>
                    <a:pt x="118" y="24"/>
                    <a:pt x="118" y="24"/>
                  </a:cubicBezTo>
                  <a:cubicBezTo>
                    <a:pt x="118" y="23"/>
                    <a:pt x="118" y="23"/>
                    <a:pt x="117" y="22"/>
                  </a:cubicBezTo>
                  <a:cubicBezTo>
                    <a:pt x="117" y="22"/>
                    <a:pt x="118" y="21"/>
                    <a:pt x="118" y="21"/>
                  </a:cubicBezTo>
                  <a:cubicBezTo>
                    <a:pt x="118" y="18"/>
                    <a:pt x="118" y="18"/>
                    <a:pt x="119" y="16"/>
                  </a:cubicBezTo>
                  <a:cubicBezTo>
                    <a:pt x="119" y="15"/>
                    <a:pt x="120" y="12"/>
                    <a:pt x="120" y="11"/>
                  </a:cubicBezTo>
                  <a:cubicBezTo>
                    <a:pt x="119" y="10"/>
                    <a:pt x="115" y="7"/>
                    <a:pt x="114" y="6"/>
                  </a:cubicBezTo>
                  <a:cubicBezTo>
                    <a:pt x="111" y="5"/>
                    <a:pt x="107" y="1"/>
                    <a:pt x="105" y="0"/>
                  </a:cubicBezTo>
                  <a:cubicBezTo>
                    <a:pt x="105" y="0"/>
                    <a:pt x="104" y="0"/>
                    <a:pt x="10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94"/>
            <p:cNvSpPr>
              <a:spLocks noEditPoints="1"/>
            </p:cNvSpPr>
            <p:nvPr/>
          </p:nvSpPr>
          <p:spPr bwMode="auto">
            <a:xfrm>
              <a:off x="7246929" y="1526409"/>
              <a:ext cx="382588" cy="409575"/>
            </a:xfrm>
            <a:custGeom>
              <a:gdLst>
                <a:gd name="T0" fmla="*/ 11 w 102"/>
                <a:gd name="T1" fmla="*/ 88 h 109"/>
                <a:gd name="T2" fmla="*/ 18 w 102"/>
                <a:gd name="T3" fmla="*/ 0 h 109"/>
                <a:gd name="T4" fmla="*/ 8 w 102"/>
                <a:gd name="T5" fmla="*/ 20 h 109"/>
                <a:gd name="T6" fmla="*/ 12 w 102"/>
                <a:gd name="T7" fmla="*/ 26 h 109"/>
                <a:gd name="T8" fmla="*/ 17 w 102"/>
                <a:gd name="T9" fmla="*/ 26 h 109"/>
                <a:gd name="T10" fmla="*/ 21 w 102"/>
                <a:gd name="T11" fmla="*/ 25 h 109"/>
                <a:gd name="T12" fmla="*/ 20 w 102"/>
                <a:gd name="T13" fmla="*/ 30 h 109"/>
                <a:gd name="T14" fmla="*/ 24 w 102"/>
                <a:gd name="T15" fmla="*/ 43 h 109"/>
                <a:gd name="T16" fmla="*/ 31 w 102"/>
                <a:gd name="T17" fmla="*/ 53 h 109"/>
                <a:gd name="T18" fmla="*/ 29 w 102"/>
                <a:gd name="T19" fmla="*/ 58 h 109"/>
                <a:gd name="T20" fmla="*/ 25 w 102"/>
                <a:gd name="T21" fmla="*/ 65 h 109"/>
                <a:gd name="T22" fmla="*/ 23 w 102"/>
                <a:gd name="T23" fmla="*/ 72 h 109"/>
                <a:gd name="T24" fmla="*/ 14 w 102"/>
                <a:gd name="T25" fmla="*/ 78 h 109"/>
                <a:gd name="T26" fmla="*/ 9 w 102"/>
                <a:gd name="T27" fmla="*/ 78 h 109"/>
                <a:gd name="T28" fmla="*/ 0 w 102"/>
                <a:gd name="T29" fmla="*/ 84 h 109"/>
                <a:gd name="T30" fmla="*/ 7 w 102"/>
                <a:gd name="T31" fmla="*/ 90 h 109"/>
                <a:gd name="T32" fmla="*/ 10 w 102"/>
                <a:gd name="T33" fmla="*/ 92 h 109"/>
                <a:gd name="T34" fmla="*/ 11 w 102"/>
                <a:gd name="T35" fmla="*/ 88 h 109"/>
                <a:gd name="T36" fmla="*/ 16 w 102"/>
                <a:gd name="T37" fmla="*/ 90 h 109"/>
                <a:gd name="T38" fmla="*/ 26 w 102"/>
                <a:gd name="T39" fmla="*/ 95 h 109"/>
                <a:gd name="T40" fmla="*/ 28 w 102"/>
                <a:gd name="T41" fmla="*/ 90 h 109"/>
                <a:gd name="T42" fmla="*/ 34 w 102"/>
                <a:gd name="T43" fmla="*/ 97 h 109"/>
                <a:gd name="T44" fmla="*/ 36 w 102"/>
                <a:gd name="T45" fmla="*/ 97 h 109"/>
                <a:gd name="T46" fmla="*/ 49 w 102"/>
                <a:gd name="T47" fmla="*/ 103 h 109"/>
                <a:gd name="T48" fmla="*/ 56 w 102"/>
                <a:gd name="T49" fmla="*/ 104 h 109"/>
                <a:gd name="T50" fmla="*/ 57 w 102"/>
                <a:gd name="T51" fmla="*/ 102 h 109"/>
                <a:gd name="T52" fmla="*/ 61 w 102"/>
                <a:gd name="T53" fmla="*/ 104 h 109"/>
                <a:gd name="T54" fmla="*/ 65 w 102"/>
                <a:gd name="T55" fmla="*/ 109 h 109"/>
                <a:gd name="T56" fmla="*/ 70 w 102"/>
                <a:gd name="T57" fmla="*/ 107 h 109"/>
                <a:gd name="T58" fmla="*/ 78 w 102"/>
                <a:gd name="T59" fmla="*/ 104 h 109"/>
                <a:gd name="T60" fmla="*/ 78 w 102"/>
                <a:gd name="T61" fmla="*/ 104 h 109"/>
                <a:gd name="T62" fmla="*/ 99 w 102"/>
                <a:gd name="T63" fmla="*/ 89 h 109"/>
                <a:gd name="T64" fmla="*/ 93 w 102"/>
                <a:gd name="T65" fmla="*/ 92 h 109"/>
                <a:gd name="T66" fmla="*/ 89 w 102"/>
                <a:gd name="T67" fmla="*/ 89 h 109"/>
                <a:gd name="T68" fmla="*/ 88 w 102"/>
                <a:gd name="T69" fmla="*/ 89 h 109"/>
                <a:gd name="T70" fmla="*/ 85 w 102"/>
                <a:gd name="T71" fmla="*/ 83 h 109"/>
                <a:gd name="T72" fmla="*/ 82 w 102"/>
                <a:gd name="T73" fmla="*/ 76 h 109"/>
                <a:gd name="T74" fmla="*/ 77 w 102"/>
                <a:gd name="T75" fmla="*/ 78 h 109"/>
                <a:gd name="T76" fmla="*/ 75 w 102"/>
                <a:gd name="T77" fmla="*/ 80 h 109"/>
                <a:gd name="T78" fmla="*/ 70 w 102"/>
                <a:gd name="T79" fmla="*/ 67 h 109"/>
                <a:gd name="T80" fmla="*/ 67 w 102"/>
                <a:gd name="T81" fmla="*/ 64 h 109"/>
                <a:gd name="T82" fmla="*/ 64 w 102"/>
                <a:gd name="T83" fmla="*/ 63 h 109"/>
                <a:gd name="T84" fmla="*/ 64 w 102"/>
                <a:gd name="T85" fmla="*/ 63 h 109"/>
                <a:gd name="T86" fmla="*/ 64 w 102"/>
                <a:gd name="T87" fmla="*/ 60 h 109"/>
                <a:gd name="T88" fmla="*/ 59 w 102"/>
                <a:gd name="T89" fmla="*/ 49 h 109"/>
                <a:gd name="T90" fmla="*/ 54 w 102"/>
                <a:gd name="T91" fmla="*/ 36 h 109"/>
                <a:gd name="T92" fmla="*/ 52 w 102"/>
                <a:gd name="T93" fmla="*/ 27 h 109"/>
                <a:gd name="T94" fmla="*/ 48 w 102"/>
                <a:gd name="T95" fmla="*/ 20 h 109"/>
                <a:gd name="T96" fmla="*/ 41 w 102"/>
                <a:gd name="T97" fmla="*/ 9 h 109"/>
                <a:gd name="T98" fmla="*/ 41 w 102"/>
                <a:gd name="T99" fmla="*/ 5 h 109"/>
                <a:gd name="T100" fmla="*/ 40 w 102"/>
                <a:gd name="T101" fmla="*/ 5 h 109"/>
                <a:gd name="T102" fmla="*/ 38 w 102"/>
                <a:gd name="T103" fmla="*/ 5 h 109"/>
                <a:gd name="T104" fmla="*/ 32 w 102"/>
                <a:gd name="T105" fmla="*/ 2 h 109"/>
                <a:gd name="T106" fmla="*/ 26 w 102"/>
                <a:gd name="T107" fmla="*/ 1 h 109"/>
                <a:gd name="T108" fmla="*/ 22 w 102"/>
                <a:gd name="T109" fmla="*/ 1 h 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2" h="109">
                  <a:moveTo>
                    <a:pt x="11" y="88"/>
                  </a:moveTo>
                  <a:cubicBezTo>
                    <a:pt x="11" y="88"/>
                    <a:pt x="11" y="88"/>
                    <a:pt x="11" y="88"/>
                  </a:cubicBezTo>
                  <a:cubicBezTo>
                    <a:pt x="11" y="88"/>
                    <a:pt x="11" y="88"/>
                    <a:pt x="11" y="88"/>
                  </a:cubicBezTo>
                  <a:moveTo>
                    <a:pt x="18" y="0"/>
                  </a:moveTo>
                  <a:cubicBezTo>
                    <a:pt x="17" y="0"/>
                    <a:pt x="16" y="0"/>
                    <a:pt x="14" y="1"/>
                  </a:cubicBezTo>
                  <a:cubicBezTo>
                    <a:pt x="11" y="6"/>
                    <a:pt x="10" y="15"/>
                    <a:pt x="8" y="20"/>
                  </a:cubicBezTo>
                  <a:cubicBezTo>
                    <a:pt x="8" y="20"/>
                    <a:pt x="8" y="21"/>
                    <a:pt x="8" y="22"/>
                  </a:cubicBezTo>
                  <a:cubicBezTo>
                    <a:pt x="11" y="22"/>
                    <a:pt x="11" y="25"/>
                    <a:pt x="12" y="26"/>
                  </a:cubicBezTo>
                  <a:cubicBezTo>
                    <a:pt x="13" y="26"/>
                    <a:pt x="15" y="26"/>
                    <a:pt x="16" y="26"/>
                  </a:cubicBezTo>
                  <a:cubicBezTo>
                    <a:pt x="16" y="26"/>
                    <a:pt x="16" y="26"/>
                    <a:pt x="17" y="26"/>
                  </a:cubicBezTo>
                  <a:cubicBezTo>
                    <a:pt x="18" y="26"/>
                    <a:pt x="18" y="26"/>
                    <a:pt x="20" y="25"/>
                  </a:cubicBezTo>
                  <a:cubicBezTo>
                    <a:pt x="20" y="25"/>
                    <a:pt x="21" y="25"/>
                    <a:pt x="21" y="25"/>
                  </a:cubicBezTo>
                  <a:cubicBezTo>
                    <a:pt x="23" y="25"/>
                    <a:pt x="25" y="26"/>
                    <a:pt x="27" y="26"/>
                  </a:cubicBezTo>
                  <a:cubicBezTo>
                    <a:pt x="25" y="28"/>
                    <a:pt x="21" y="27"/>
                    <a:pt x="20" y="30"/>
                  </a:cubicBezTo>
                  <a:cubicBezTo>
                    <a:pt x="18" y="34"/>
                    <a:pt x="18" y="35"/>
                    <a:pt x="20" y="38"/>
                  </a:cubicBezTo>
                  <a:cubicBezTo>
                    <a:pt x="21" y="40"/>
                    <a:pt x="23" y="41"/>
                    <a:pt x="24" y="43"/>
                  </a:cubicBezTo>
                  <a:cubicBezTo>
                    <a:pt x="26" y="45"/>
                    <a:pt x="27" y="47"/>
                    <a:pt x="28" y="48"/>
                  </a:cubicBezTo>
                  <a:cubicBezTo>
                    <a:pt x="30" y="50"/>
                    <a:pt x="31" y="51"/>
                    <a:pt x="31" y="53"/>
                  </a:cubicBezTo>
                  <a:cubicBezTo>
                    <a:pt x="31" y="53"/>
                    <a:pt x="31" y="53"/>
                    <a:pt x="31" y="53"/>
                  </a:cubicBezTo>
                  <a:cubicBezTo>
                    <a:pt x="29" y="55"/>
                    <a:pt x="30" y="56"/>
                    <a:pt x="29" y="58"/>
                  </a:cubicBezTo>
                  <a:cubicBezTo>
                    <a:pt x="28" y="61"/>
                    <a:pt x="26" y="59"/>
                    <a:pt x="24" y="61"/>
                  </a:cubicBezTo>
                  <a:cubicBezTo>
                    <a:pt x="22" y="63"/>
                    <a:pt x="23" y="64"/>
                    <a:pt x="25" y="65"/>
                  </a:cubicBezTo>
                  <a:cubicBezTo>
                    <a:pt x="21" y="65"/>
                    <a:pt x="23" y="67"/>
                    <a:pt x="25" y="69"/>
                  </a:cubicBezTo>
                  <a:cubicBezTo>
                    <a:pt x="29" y="72"/>
                    <a:pt x="28" y="72"/>
                    <a:pt x="23" y="72"/>
                  </a:cubicBezTo>
                  <a:cubicBezTo>
                    <a:pt x="20" y="73"/>
                    <a:pt x="21" y="76"/>
                    <a:pt x="19" y="77"/>
                  </a:cubicBezTo>
                  <a:cubicBezTo>
                    <a:pt x="18" y="78"/>
                    <a:pt x="16" y="78"/>
                    <a:pt x="14" y="78"/>
                  </a:cubicBezTo>
                  <a:cubicBezTo>
                    <a:pt x="13" y="78"/>
                    <a:pt x="12" y="78"/>
                    <a:pt x="11" y="78"/>
                  </a:cubicBezTo>
                  <a:cubicBezTo>
                    <a:pt x="10" y="78"/>
                    <a:pt x="9" y="78"/>
                    <a:pt x="9" y="78"/>
                  </a:cubicBezTo>
                  <a:cubicBezTo>
                    <a:pt x="7" y="78"/>
                    <a:pt x="5" y="78"/>
                    <a:pt x="4" y="79"/>
                  </a:cubicBezTo>
                  <a:cubicBezTo>
                    <a:pt x="2" y="80"/>
                    <a:pt x="0" y="82"/>
                    <a:pt x="0" y="84"/>
                  </a:cubicBezTo>
                  <a:cubicBezTo>
                    <a:pt x="0" y="85"/>
                    <a:pt x="1" y="84"/>
                    <a:pt x="2" y="86"/>
                  </a:cubicBezTo>
                  <a:cubicBezTo>
                    <a:pt x="3" y="88"/>
                    <a:pt x="4" y="89"/>
                    <a:pt x="7" y="90"/>
                  </a:cubicBezTo>
                  <a:cubicBezTo>
                    <a:pt x="8" y="91"/>
                    <a:pt x="9" y="92"/>
                    <a:pt x="9" y="92"/>
                  </a:cubicBezTo>
                  <a:cubicBezTo>
                    <a:pt x="9" y="92"/>
                    <a:pt x="10" y="92"/>
                    <a:pt x="10" y="92"/>
                  </a:cubicBezTo>
                  <a:cubicBezTo>
                    <a:pt x="11" y="91"/>
                    <a:pt x="10" y="89"/>
                    <a:pt x="11" y="88"/>
                  </a:cubicBezTo>
                  <a:cubicBezTo>
                    <a:pt x="11" y="88"/>
                    <a:pt x="11" y="88"/>
                    <a:pt x="11" y="88"/>
                  </a:cubicBezTo>
                  <a:cubicBezTo>
                    <a:pt x="12" y="88"/>
                    <a:pt x="15" y="87"/>
                    <a:pt x="14" y="87"/>
                  </a:cubicBezTo>
                  <a:cubicBezTo>
                    <a:pt x="16" y="87"/>
                    <a:pt x="16" y="88"/>
                    <a:pt x="16" y="90"/>
                  </a:cubicBezTo>
                  <a:cubicBezTo>
                    <a:pt x="17" y="93"/>
                    <a:pt x="21" y="92"/>
                    <a:pt x="22" y="93"/>
                  </a:cubicBezTo>
                  <a:cubicBezTo>
                    <a:pt x="24" y="94"/>
                    <a:pt x="25" y="95"/>
                    <a:pt x="26" y="95"/>
                  </a:cubicBezTo>
                  <a:cubicBezTo>
                    <a:pt x="26" y="95"/>
                    <a:pt x="27" y="94"/>
                    <a:pt x="27" y="92"/>
                  </a:cubicBezTo>
                  <a:cubicBezTo>
                    <a:pt x="27" y="91"/>
                    <a:pt x="27" y="90"/>
                    <a:pt x="28" y="90"/>
                  </a:cubicBezTo>
                  <a:cubicBezTo>
                    <a:pt x="29" y="90"/>
                    <a:pt x="31" y="95"/>
                    <a:pt x="31" y="96"/>
                  </a:cubicBezTo>
                  <a:cubicBezTo>
                    <a:pt x="32" y="97"/>
                    <a:pt x="33" y="97"/>
                    <a:pt x="34" y="97"/>
                  </a:cubicBezTo>
                  <a:cubicBezTo>
                    <a:pt x="34" y="97"/>
                    <a:pt x="35" y="97"/>
                    <a:pt x="35" y="97"/>
                  </a:cubicBezTo>
                  <a:cubicBezTo>
                    <a:pt x="35" y="97"/>
                    <a:pt x="36" y="97"/>
                    <a:pt x="36" y="97"/>
                  </a:cubicBezTo>
                  <a:cubicBezTo>
                    <a:pt x="36" y="97"/>
                    <a:pt x="37" y="97"/>
                    <a:pt x="37" y="97"/>
                  </a:cubicBezTo>
                  <a:cubicBezTo>
                    <a:pt x="42" y="98"/>
                    <a:pt x="45" y="102"/>
                    <a:pt x="49" y="103"/>
                  </a:cubicBezTo>
                  <a:cubicBezTo>
                    <a:pt x="50" y="104"/>
                    <a:pt x="52" y="104"/>
                    <a:pt x="53" y="104"/>
                  </a:cubicBezTo>
                  <a:cubicBezTo>
                    <a:pt x="53" y="104"/>
                    <a:pt x="55" y="104"/>
                    <a:pt x="56" y="104"/>
                  </a:cubicBezTo>
                  <a:cubicBezTo>
                    <a:pt x="56" y="104"/>
                    <a:pt x="56" y="104"/>
                    <a:pt x="56" y="104"/>
                  </a:cubicBezTo>
                  <a:cubicBezTo>
                    <a:pt x="58" y="103"/>
                    <a:pt x="56" y="102"/>
                    <a:pt x="57" y="102"/>
                  </a:cubicBezTo>
                  <a:cubicBezTo>
                    <a:pt x="58" y="102"/>
                    <a:pt x="58" y="102"/>
                    <a:pt x="58" y="102"/>
                  </a:cubicBezTo>
                  <a:cubicBezTo>
                    <a:pt x="59" y="102"/>
                    <a:pt x="60" y="103"/>
                    <a:pt x="61" y="104"/>
                  </a:cubicBezTo>
                  <a:cubicBezTo>
                    <a:pt x="61" y="106"/>
                    <a:pt x="62" y="108"/>
                    <a:pt x="65" y="109"/>
                  </a:cubicBezTo>
                  <a:cubicBezTo>
                    <a:pt x="65" y="109"/>
                    <a:pt x="65" y="109"/>
                    <a:pt x="65" y="109"/>
                  </a:cubicBezTo>
                  <a:cubicBezTo>
                    <a:pt x="67" y="109"/>
                    <a:pt x="69" y="108"/>
                    <a:pt x="69" y="107"/>
                  </a:cubicBezTo>
                  <a:cubicBezTo>
                    <a:pt x="70" y="107"/>
                    <a:pt x="70" y="107"/>
                    <a:pt x="70" y="107"/>
                  </a:cubicBezTo>
                  <a:cubicBezTo>
                    <a:pt x="70" y="107"/>
                    <a:pt x="71" y="107"/>
                    <a:pt x="72" y="107"/>
                  </a:cubicBezTo>
                  <a:cubicBezTo>
                    <a:pt x="74" y="107"/>
                    <a:pt x="76" y="106"/>
                    <a:pt x="78" y="104"/>
                  </a:cubicBezTo>
                  <a:cubicBezTo>
                    <a:pt x="78" y="104"/>
                    <a:pt x="78" y="104"/>
                    <a:pt x="78" y="104"/>
                  </a:cubicBezTo>
                  <a:cubicBezTo>
                    <a:pt x="78" y="104"/>
                    <a:pt x="78" y="104"/>
                    <a:pt x="78" y="104"/>
                  </a:cubicBezTo>
                  <a:cubicBezTo>
                    <a:pt x="86" y="100"/>
                    <a:pt x="94" y="95"/>
                    <a:pt x="102" y="91"/>
                  </a:cubicBezTo>
                  <a:cubicBezTo>
                    <a:pt x="100" y="90"/>
                    <a:pt x="99" y="89"/>
                    <a:pt x="99" y="89"/>
                  </a:cubicBezTo>
                  <a:cubicBezTo>
                    <a:pt x="97" y="89"/>
                    <a:pt x="96" y="91"/>
                    <a:pt x="93" y="91"/>
                  </a:cubicBezTo>
                  <a:cubicBezTo>
                    <a:pt x="93" y="92"/>
                    <a:pt x="93" y="92"/>
                    <a:pt x="93" y="92"/>
                  </a:cubicBezTo>
                  <a:cubicBezTo>
                    <a:pt x="91" y="92"/>
                    <a:pt x="91" y="90"/>
                    <a:pt x="90" y="90"/>
                  </a:cubicBezTo>
                  <a:cubicBezTo>
                    <a:pt x="89" y="89"/>
                    <a:pt x="89" y="89"/>
                    <a:pt x="89" y="89"/>
                  </a:cubicBezTo>
                  <a:cubicBezTo>
                    <a:pt x="88" y="89"/>
                    <a:pt x="88" y="89"/>
                    <a:pt x="88" y="89"/>
                  </a:cubicBezTo>
                  <a:cubicBezTo>
                    <a:pt x="88" y="89"/>
                    <a:pt x="88" y="89"/>
                    <a:pt x="88" y="89"/>
                  </a:cubicBezTo>
                  <a:cubicBezTo>
                    <a:pt x="87" y="89"/>
                    <a:pt x="87" y="89"/>
                    <a:pt x="87" y="87"/>
                  </a:cubicBezTo>
                  <a:cubicBezTo>
                    <a:pt x="87" y="85"/>
                    <a:pt x="85" y="85"/>
                    <a:pt x="85" y="83"/>
                  </a:cubicBezTo>
                  <a:cubicBezTo>
                    <a:pt x="85" y="81"/>
                    <a:pt x="84" y="80"/>
                    <a:pt x="84" y="78"/>
                  </a:cubicBezTo>
                  <a:cubicBezTo>
                    <a:pt x="83" y="76"/>
                    <a:pt x="82" y="76"/>
                    <a:pt x="82" y="76"/>
                  </a:cubicBezTo>
                  <a:cubicBezTo>
                    <a:pt x="81" y="76"/>
                    <a:pt x="81" y="81"/>
                    <a:pt x="80" y="83"/>
                  </a:cubicBezTo>
                  <a:cubicBezTo>
                    <a:pt x="79" y="82"/>
                    <a:pt x="78" y="80"/>
                    <a:pt x="77" y="78"/>
                  </a:cubicBezTo>
                  <a:cubicBezTo>
                    <a:pt x="77" y="79"/>
                    <a:pt x="76" y="80"/>
                    <a:pt x="75" y="80"/>
                  </a:cubicBezTo>
                  <a:cubicBezTo>
                    <a:pt x="75" y="80"/>
                    <a:pt x="75" y="80"/>
                    <a:pt x="75" y="80"/>
                  </a:cubicBezTo>
                  <a:cubicBezTo>
                    <a:pt x="78" y="78"/>
                    <a:pt x="80" y="74"/>
                    <a:pt x="77" y="71"/>
                  </a:cubicBezTo>
                  <a:cubicBezTo>
                    <a:pt x="76" y="70"/>
                    <a:pt x="72" y="68"/>
                    <a:pt x="70" y="67"/>
                  </a:cubicBezTo>
                  <a:cubicBezTo>
                    <a:pt x="69" y="67"/>
                    <a:pt x="68" y="66"/>
                    <a:pt x="67" y="66"/>
                  </a:cubicBezTo>
                  <a:cubicBezTo>
                    <a:pt x="67" y="65"/>
                    <a:pt x="67" y="65"/>
                    <a:pt x="67" y="64"/>
                  </a:cubicBezTo>
                  <a:cubicBezTo>
                    <a:pt x="66" y="64"/>
                    <a:pt x="65" y="64"/>
                    <a:pt x="65" y="63"/>
                  </a:cubicBezTo>
                  <a:cubicBezTo>
                    <a:pt x="65" y="63"/>
                    <a:pt x="64" y="63"/>
                    <a:pt x="64" y="63"/>
                  </a:cubicBezTo>
                  <a:cubicBezTo>
                    <a:pt x="64" y="63"/>
                    <a:pt x="64" y="63"/>
                    <a:pt x="64" y="63"/>
                  </a:cubicBezTo>
                  <a:cubicBezTo>
                    <a:pt x="64" y="63"/>
                    <a:pt x="64" y="63"/>
                    <a:pt x="64" y="63"/>
                  </a:cubicBezTo>
                  <a:cubicBezTo>
                    <a:pt x="63" y="63"/>
                    <a:pt x="63" y="63"/>
                    <a:pt x="63" y="62"/>
                  </a:cubicBezTo>
                  <a:cubicBezTo>
                    <a:pt x="63" y="62"/>
                    <a:pt x="64" y="61"/>
                    <a:pt x="64" y="60"/>
                  </a:cubicBezTo>
                  <a:cubicBezTo>
                    <a:pt x="64" y="59"/>
                    <a:pt x="62" y="58"/>
                    <a:pt x="62" y="57"/>
                  </a:cubicBezTo>
                  <a:cubicBezTo>
                    <a:pt x="60" y="55"/>
                    <a:pt x="59" y="52"/>
                    <a:pt x="59" y="49"/>
                  </a:cubicBezTo>
                  <a:cubicBezTo>
                    <a:pt x="59" y="46"/>
                    <a:pt x="58" y="46"/>
                    <a:pt x="57" y="43"/>
                  </a:cubicBezTo>
                  <a:cubicBezTo>
                    <a:pt x="56" y="40"/>
                    <a:pt x="55" y="38"/>
                    <a:pt x="54" y="36"/>
                  </a:cubicBezTo>
                  <a:cubicBezTo>
                    <a:pt x="53" y="35"/>
                    <a:pt x="52" y="34"/>
                    <a:pt x="51" y="33"/>
                  </a:cubicBezTo>
                  <a:cubicBezTo>
                    <a:pt x="50" y="30"/>
                    <a:pt x="50" y="29"/>
                    <a:pt x="52" y="27"/>
                  </a:cubicBezTo>
                  <a:cubicBezTo>
                    <a:pt x="50" y="27"/>
                    <a:pt x="51" y="25"/>
                    <a:pt x="50" y="24"/>
                  </a:cubicBezTo>
                  <a:cubicBezTo>
                    <a:pt x="49" y="22"/>
                    <a:pt x="49" y="21"/>
                    <a:pt x="48" y="20"/>
                  </a:cubicBezTo>
                  <a:cubicBezTo>
                    <a:pt x="46" y="17"/>
                    <a:pt x="45" y="14"/>
                    <a:pt x="44" y="12"/>
                  </a:cubicBezTo>
                  <a:cubicBezTo>
                    <a:pt x="43" y="11"/>
                    <a:pt x="42" y="10"/>
                    <a:pt x="41" y="9"/>
                  </a:cubicBezTo>
                  <a:cubicBezTo>
                    <a:pt x="41" y="8"/>
                    <a:pt x="42" y="6"/>
                    <a:pt x="41" y="5"/>
                  </a:cubicBezTo>
                  <a:cubicBezTo>
                    <a:pt x="41" y="5"/>
                    <a:pt x="41" y="5"/>
                    <a:pt x="41" y="5"/>
                  </a:cubicBezTo>
                  <a:cubicBezTo>
                    <a:pt x="40" y="5"/>
                    <a:pt x="41" y="5"/>
                    <a:pt x="40" y="5"/>
                  </a:cubicBezTo>
                  <a:cubicBezTo>
                    <a:pt x="40" y="5"/>
                    <a:pt x="40" y="5"/>
                    <a:pt x="40" y="5"/>
                  </a:cubicBezTo>
                  <a:cubicBezTo>
                    <a:pt x="39" y="5"/>
                    <a:pt x="39" y="5"/>
                    <a:pt x="38" y="5"/>
                  </a:cubicBezTo>
                  <a:cubicBezTo>
                    <a:pt x="38" y="5"/>
                    <a:pt x="38" y="5"/>
                    <a:pt x="38" y="5"/>
                  </a:cubicBezTo>
                  <a:cubicBezTo>
                    <a:pt x="37" y="5"/>
                    <a:pt x="37" y="5"/>
                    <a:pt x="36" y="5"/>
                  </a:cubicBezTo>
                  <a:cubicBezTo>
                    <a:pt x="35" y="4"/>
                    <a:pt x="34" y="2"/>
                    <a:pt x="32" y="2"/>
                  </a:cubicBezTo>
                  <a:cubicBezTo>
                    <a:pt x="31" y="1"/>
                    <a:pt x="29" y="1"/>
                    <a:pt x="28" y="1"/>
                  </a:cubicBezTo>
                  <a:cubicBezTo>
                    <a:pt x="27" y="1"/>
                    <a:pt x="26" y="1"/>
                    <a:pt x="26" y="1"/>
                  </a:cubicBezTo>
                  <a:cubicBezTo>
                    <a:pt x="25" y="1"/>
                    <a:pt x="24" y="1"/>
                    <a:pt x="24" y="1"/>
                  </a:cubicBezTo>
                  <a:cubicBezTo>
                    <a:pt x="23" y="1"/>
                    <a:pt x="23" y="1"/>
                    <a:pt x="22" y="1"/>
                  </a:cubicBezTo>
                  <a:cubicBezTo>
                    <a:pt x="21" y="1"/>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95"/>
            <p:cNvSpPr>
              <a:spLocks noEditPoints="1"/>
            </p:cNvSpPr>
            <p:nvPr/>
          </p:nvSpPr>
          <p:spPr bwMode="auto">
            <a:xfrm>
              <a:off x="9994891" y="2315397"/>
              <a:ext cx="19050" cy="33338"/>
            </a:xfrm>
            <a:custGeom>
              <a:gdLst>
                <a:gd name="T0" fmla="*/ 1 w 5"/>
                <a:gd name="T1" fmla="*/ 9 h 9"/>
                <a:gd name="T2" fmla="*/ 1 w 5"/>
                <a:gd name="T3" fmla="*/ 9 h 9"/>
                <a:gd name="T4" fmla="*/ 1 w 5"/>
                <a:gd name="T5" fmla="*/ 9 h 9"/>
                <a:gd name="T6" fmla="*/ 4 w 5"/>
                <a:gd name="T7" fmla="*/ 0 h 9"/>
                <a:gd name="T8" fmla="*/ 1 w 5"/>
                <a:gd name="T9" fmla="*/ 7 h 9"/>
                <a:gd name="T10" fmla="*/ 1 w 5"/>
                <a:gd name="T11" fmla="*/ 9 h 9"/>
                <a:gd name="T12" fmla="*/ 4 w 5"/>
                <a:gd name="T13" fmla="*/ 5 h 9"/>
                <a:gd name="T14" fmla="*/ 3 w 5"/>
                <a:gd name="T15" fmla="*/ 5 h 9"/>
                <a:gd name="T16" fmla="*/ 5 w 5"/>
                <a:gd name="T17" fmla="*/ 0 h 9"/>
                <a:gd name="T18" fmla="*/ 4 w 5"/>
                <a:gd name="T1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1" y="9"/>
                  </a:moveTo>
                  <a:cubicBezTo>
                    <a:pt x="1" y="9"/>
                    <a:pt x="1" y="9"/>
                    <a:pt x="1" y="9"/>
                  </a:cubicBezTo>
                  <a:cubicBezTo>
                    <a:pt x="1" y="9"/>
                    <a:pt x="1" y="9"/>
                    <a:pt x="1" y="9"/>
                  </a:cubicBezTo>
                  <a:moveTo>
                    <a:pt x="4" y="0"/>
                  </a:moveTo>
                  <a:cubicBezTo>
                    <a:pt x="1" y="0"/>
                    <a:pt x="1" y="5"/>
                    <a:pt x="1" y="7"/>
                  </a:cubicBezTo>
                  <a:cubicBezTo>
                    <a:pt x="1" y="8"/>
                    <a:pt x="1" y="8"/>
                    <a:pt x="1" y="9"/>
                  </a:cubicBezTo>
                  <a:cubicBezTo>
                    <a:pt x="1" y="7"/>
                    <a:pt x="3" y="6"/>
                    <a:pt x="4" y="5"/>
                  </a:cubicBezTo>
                  <a:cubicBezTo>
                    <a:pt x="3" y="5"/>
                    <a:pt x="3" y="5"/>
                    <a:pt x="3" y="5"/>
                  </a:cubicBezTo>
                  <a:cubicBezTo>
                    <a:pt x="0" y="5"/>
                    <a:pt x="4" y="2"/>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96"/>
            <p:cNvSpPr/>
            <p:nvPr/>
          </p:nvSpPr>
          <p:spPr bwMode="auto">
            <a:xfrm flipH="1">
              <a:off x="9998066" y="1864547"/>
              <a:ext cx="0" cy="4763"/>
            </a:xfrm>
            <a:custGeom>
              <a:gdLst>
                <a:gd name="T0" fmla="*/ 0 h 1"/>
                <a:gd name="T1" fmla="*/ 0 h 1"/>
                <a:gd name="T2" fmla="*/ 1 h 1"/>
                <a:gd name="T3" fmla="*/ 1 h 1"/>
                <a:gd name="T4" fmla="*/ 0 h 1"/>
              </a:gd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1"/>
                  </a:cubicBezTo>
                  <a:cubicBezTo>
                    <a:pt x="0" y="1"/>
                    <a:pt x="0" y="1"/>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97"/>
            <p:cNvSpPr/>
            <p:nvPr/>
          </p:nvSpPr>
          <p:spPr bwMode="auto">
            <a:xfrm>
              <a:off x="9998066" y="1872484"/>
              <a:ext cx="15875" cy="7938"/>
            </a:xfrm>
            <a:custGeom>
              <a:gdLst>
                <a:gd name="T0" fmla="*/ 0 w 4"/>
                <a:gd name="T1" fmla="*/ 0 h 2"/>
                <a:gd name="T2" fmla="*/ 0 w 4"/>
                <a:gd name="T3" fmla="*/ 1 h 2"/>
                <a:gd name="T4" fmla="*/ 0 w 4"/>
                <a:gd name="T5" fmla="*/ 1 h 2"/>
                <a:gd name="T6" fmla="*/ 0 w 4"/>
                <a:gd name="T7" fmla="*/ 1 h 2"/>
                <a:gd name="T8" fmla="*/ 0 w 4"/>
                <a:gd name="T9" fmla="*/ 1 h 2"/>
                <a:gd name="T10" fmla="*/ 3 w 4"/>
                <a:gd name="T11" fmla="*/ 2 h 2"/>
                <a:gd name="T12" fmla="*/ 4 w 4"/>
                <a:gd name="T13" fmla="*/ 2 h 2"/>
                <a:gd name="T14" fmla="*/ 0 w 4"/>
                <a:gd name="T15" fmla="*/ 0 h 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0" y="0"/>
                  </a:moveTo>
                  <a:cubicBezTo>
                    <a:pt x="0" y="0"/>
                    <a:pt x="0" y="1"/>
                    <a:pt x="0" y="1"/>
                  </a:cubicBezTo>
                  <a:cubicBezTo>
                    <a:pt x="0" y="1"/>
                    <a:pt x="0" y="1"/>
                    <a:pt x="0" y="1"/>
                  </a:cubicBezTo>
                  <a:cubicBezTo>
                    <a:pt x="0" y="1"/>
                    <a:pt x="0" y="1"/>
                    <a:pt x="0" y="1"/>
                  </a:cubicBezTo>
                  <a:cubicBezTo>
                    <a:pt x="0" y="1"/>
                    <a:pt x="0" y="1"/>
                    <a:pt x="0" y="1"/>
                  </a:cubicBezTo>
                  <a:cubicBezTo>
                    <a:pt x="1" y="2"/>
                    <a:pt x="2" y="2"/>
                    <a:pt x="3" y="2"/>
                  </a:cubicBezTo>
                  <a:cubicBezTo>
                    <a:pt x="4" y="2"/>
                    <a:pt x="4" y="2"/>
                    <a:pt x="4" y="2"/>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98"/>
            <p:cNvSpPr>
              <a:spLocks noEditPoints="1"/>
            </p:cNvSpPr>
            <p:nvPr/>
          </p:nvSpPr>
          <p:spPr bwMode="auto">
            <a:xfrm>
              <a:off x="8069254" y="1064447"/>
              <a:ext cx="2517775" cy="1800225"/>
            </a:xfrm>
            <a:custGeom>
              <a:gdLst>
                <a:gd name="T0" fmla="*/ 572 w 671"/>
                <a:gd name="T1" fmla="*/ 312 h 479"/>
                <a:gd name="T2" fmla="*/ 34 w 671"/>
                <a:gd name="T3" fmla="*/ 25 h 479"/>
                <a:gd name="T4" fmla="*/ 4 w 671"/>
                <a:gd name="T5" fmla="*/ 97 h 479"/>
                <a:gd name="T6" fmla="*/ 15 w 671"/>
                <a:gd name="T7" fmla="*/ 121 h 479"/>
                <a:gd name="T8" fmla="*/ 88 w 671"/>
                <a:gd name="T9" fmla="*/ 145 h 479"/>
                <a:gd name="T10" fmla="*/ 171 w 671"/>
                <a:gd name="T11" fmla="*/ 170 h 479"/>
                <a:gd name="T12" fmla="*/ 215 w 671"/>
                <a:gd name="T13" fmla="*/ 178 h 479"/>
                <a:gd name="T14" fmla="*/ 251 w 671"/>
                <a:gd name="T15" fmla="*/ 171 h 479"/>
                <a:gd name="T16" fmla="*/ 262 w 671"/>
                <a:gd name="T17" fmla="*/ 140 h 479"/>
                <a:gd name="T18" fmla="*/ 294 w 671"/>
                <a:gd name="T19" fmla="*/ 175 h 479"/>
                <a:gd name="T20" fmla="*/ 316 w 671"/>
                <a:gd name="T21" fmla="*/ 179 h 479"/>
                <a:gd name="T22" fmla="*/ 350 w 671"/>
                <a:gd name="T23" fmla="*/ 210 h 479"/>
                <a:gd name="T24" fmla="*/ 380 w 671"/>
                <a:gd name="T25" fmla="*/ 235 h 479"/>
                <a:gd name="T26" fmla="*/ 413 w 671"/>
                <a:gd name="T27" fmla="*/ 299 h 479"/>
                <a:gd name="T28" fmla="*/ 482 w 671"/>
                <a:gd name="T29" fmla="*/ 309 h 479"/>
                <a:gd name="T30" fmla="*/ 440 w 671"/>
                <a:gd name="T31" fmla="*/ 320 h 479"/>
                <a:gd name="T32" fmla="*/ 353 w 671"/>
                <a:gd name="T33" fmla="*/ 349 h 479"/>
                <a:gd name="T34" fmla="*/ 337 w 671"/>
                <a:gd name="T35" fmla="*/ 359 h 479"/>
                <a:gd name="T36" fmla="*/ 320 w 671"/>
                <a:gd name="T37" fmla="*/ 388 h 479"/>
                <a:gd name="T38" fmla="*/ 359 w 671"/>
                <a:gd name="T39" fmla="*/ 369 h 479"/>
                <a:gd name="T40" fmla="*/ 382 w 671"/>
                <a:gd name="T41" fmla="*/ 381 h 479"/>
                <a:gd name="T42" fmla="*/ 415 w 671"/>
                <a:gd name="T43" fmla="*/ 406 h 479"/>
                <a:gd name="T44" fmla="*/ 444 w 671"/>
                <a:gd name="T45" fmla="*/ 434 h 479"/>
                <a:gd name="T46" fmla="*/ 554 w 671"/>
                <a:gd name="T47" fmla="*/ 465 h 479"/>
                <a:gd name="T48" fmla="*/ 525 w 671"/>
                <a:gd name="T49" fmla="*/ 438 h 479"/>
                <a:gd name="T50" fmla="*/ 510 w 671"/>
                <a:gd name="T51" fmla="*/ 416 h 479"/>
                <a:gd name="T52" fmla="*/ 547 w 671"/>
                <a:gd name="T53" fmla="*/ 438 h 479"/>
                <a:gd name="T54" fmla="*/ 576 w 671"/>
                <a:gd name="T55" fmla="*/ 450 h 479"/>
                <a:gd name="T56" fmla="*/ 577 w 671"/>
                <a:gd name="T57" fmla="*/ 409 h 479"/>
                <a:gd name="T58" fmla="*/ 577 w 671"/>
                <a:gd name="T59" fmla="*/ 391 h 479"/>
                <a:gd name="T60" fmla="*/ 556 w 671"/>
                <a:gd name="T61" fmla="*/ 370 h 479"/>
                <a:gd name="T62" fmla="*/ 531 w 671"/>
                <a:gd name="T63" fmla="*/ 351 h 479"/>
                <a:gd name="T64" fmla="*/ 507 w 671"/>
                <a:gd name="T65" fmla="*/ 329 h 479"/>
                <a:gd name="T66" fmla="*/ 529 w 671"/>
                <a:gd name="T67" fmla="*/ 315 h 479"/>
                <a:gd name="T68" fmla="*/ 588 w 671"/>
                <a:gd name="T69" fmla="*/ 318 h 479"/>
                <a:gd name="T70" fmla="*/ 589 w 671"/>
                <a:gd name="T71" fmla="*/ 351 h 479"/>
                <a:gd name="T72" fmla="*/ 616 w 671"/>
                <a:gd name="T73" fmla="*/ 365 h 479"/>
                <a:gd name="T74" fmla="*/ 637 w 671"/>
                <a:gd name="T75" fmla="*/ 339 h 479"/>
                <a:gd name="T76" fmla="*/ 651 w 671"/>
                <a:gd name="T77" fmla="*/ 324 h 479"/>
                <a:gd name="T78" fmla="*/ 670 w 671"/>
                <a:gd name="T79" fmla="*/ 315 h 479"/>
                <a:gd name="T80" fmla="*/ 617 w 671"/>
                <a:gd name="T81" fmla="*/ 294 h 479"/>
                <a:gd name="T82" fmla="*/ 594 w 671"/>
                <a:gd name="T83" fmla="*/ 256 h 479"/>
                <a:gd name="T84" fmla="*/ 560 w 671"/>
                <a:gd name="T85" fmla="*/ 251 h 479"/>
                <a:gd name="T86" fmla="*/ 524 w 671"/>
                <a:gd name="T87" fmla="*/ 242 h 479"/>
                <a:gd name="T88" fmla="*/ 515 w 671"/>
                <a:gd name="T89" fmla="*/ 232 h 479"/>
                <a:gd name="T90" fmla="*/ 482 w 671"/>
                <a:gd name="T91" fmla="*/ 213 h 479"/>
                <a:gd name="T92" fmla="*/ 492 w 671"/>
                <a:gd name="T93" fmla="*/ 205 h 479"/>
                <a:gd name="T94" fmla="*/ 514 w 671"/>
                <a:gd name="T95" fmla="*/ 195 h 479"/>
                <a:gd name="T96" fmla="*/ 467 w 671"/>
                <a:gd name="T97" fmla="*/ 186 h 479"/>
                <a:gd name="T98" fmla="*/ 497 w 671"/>
                <a:gd name="T99" fmla="*/ 168 h 479"/>
                <a:gd name="T100" fmla="*/ 473 w 671"/>
                <a:gd name="T101" fmla="*/ 160 h 479"/>
                <a:gd name="T102" fmla="*/ 445 w 671"/>
                <a:gd name="T103" fmla="*/ 141 h 479"/>
                <a:gd name="T104" fmla="*/ 408 w 671"/>
                <a:gd name="T105" fmla="*/ 132 h 479"/>
                <a:gd name="T106" fmla="*/ 384 w 671"/>
                <a:gd name="T107" fmla="*/ 107 h 479"/>
                <a:gd name="T108" fmla="*/ 359 w 671"/>
                <a:gd name="T109" fmla="*/ 95 h 479"/>
                <a:gd name="T110" fmla="*/ 342 w 671"/>
                <a:gd name="T111" fmla="*/ 77 h 479"/>
                <a:gd name="T112" fmla="*/ 270 w 671"/>
                <a:gd name="T113" fmla="*/ 63 h 479"/>
                <a:gd name="T114" fmla="*/ 278 w 671"/>
                <a:gd name="T115" fmla="*/ 83 h 479"/>
                <a:gd name="T116" fmla="*/ 241 w 671"/>
                <a:gd name="T117" fmla="*/ 72 h 479"/>
                <a:gd name="T118" fmla="*/ 219 w 671"/>
                <a:gd name="T119" fmla="*/ 76 h 479"/>
                <a:gd name="T120" fmla="*/ 181 w 671"/>
                <a:gd name="T121" fmla="*/ 6 h 479"/>
                <a:gd name="T122" fmla="*/ 118 w 671"/>
                <a:gd name="T123" fmla="*/ 2 h 4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479">
                  <a:moveTo>
                    <a:pt x="378" y="384"/>
                  </a:moveTo>
                  <a:cubicBezTo>
                    <a:pt x="378" y="384"/>
                    <a:pt x="378" y="384"/>
                    <a:pt x="378" y="384"/>
                  </a:cubicBezTo>
                  <a:cubicBezTo>
                    <a:pt x="378" y="384"/>
                    <a:pt x="378" y="384"/>
                    <a:pt x="378" y="384"/>
                  </a:cubicBezTo>
                  <a:moveTo>
                    <a:pt x="191" y="173"/>
                  </a:moveTo>
                  <a:cubicBezTo>
                    <a:pt x="191" y="173"/>
                    <a:pt x="191" y="173"/>
                    <a:pt x="191" y="173"/>
                  </a:cubicBezTo>
                  <a:cubicBezTo>
                    <a:pt x="191" y="173"/>
                    <a:pt x="191" y="173"/>
                    <a:pt x="191" y="173"/>
                  </a:cubicBezTo>
                  <a:cubicBezTo>
                    <a:pt x="191" y="173"/>
                    <a:pt x="191" y="173"/>
                    <a:pt x="191" y="173"/>
                  </a:cubicBezTo>
                  <a:moveTo>
                    <a:pt x="649" y="315"/>
                  </a:moveTo>
                  <a:cubicBezTo>
                    <a:pt x="649" y="315"/>
                    <a:pt x="649" y="315"/>
                    <a:pt x="649" y="315"/>
                  </a:cubicBezTo>
                  <a:cubicBezTo>
                    <a:pt x="649" y="315"/>
                    <a:pt x="650" y="314"/>
                    <a:pt x="650" y="314"/>
                  </a:cubicBezTo>
                  <a:cubicBezTo>
                    <a:pt x="651" y="314"/>
                    <a:pt x="651" y="314"/>
                    <a:pt x="652" y="315"/>
                  </a:cubicBezTo>
                  <a:cubicBezTo>
                    <a:pt x="652" y="315"/>
                    <a:pt x="652" y="315"/>
                    <a:pt x="652" y="315"/>
                  </a:cubicBezTo>
                  <a:cubicBezTo>
                    <a:pt x="652" y="315"/>
                    <a:pt x="652" y="315"/>
                    <a:pt x="652" y="315"/>
                  </a:cubicBezTo>
                  <a:cubicBezTo>
                    <a:pt x="652" y="315"/>
                    <a:pt x="652" y="315"/>
                    <a:pt x="651" y="315"/>
                  </a:cubicBezTo>
                  <a:cubicBezTo>
                    <a:pt x="651" y="315"/>
                    <a:pt x="651" y="315"/>
                    <a:pt x="651" y="315"/>
                  </a:cubicBezTo>
                  <a:cubicBezTo>
                    <a:pt x="651" y="315"/>
                    <a:pt x="651" y="315"/>
                    <a:pt x="651" y="315"/>
                  </a:cubicBezTo>
                  <a:cubicBezTo>
                    <a:pt x="651" y="315"/>
                    <a:pt x="651" y="315"/>
                    <a:pt x="650" y="315"/>
                  </a:cubicBezTo>
                  <a:cubicBezTo>
                    <a:pt x="650" y="315"/>
                    <a:pt x="650" y="315"/>
                    <a:pt x="650" y="315"/>
                  </a:cubicBezTo>
                  <a:cubicBezTo>
                    <a:pt x="650" y="315"/>
                    <a:pt x="650" y="315"/>
                    <a:pt x="650" y="315"/>
                  </a:cubicBezTo>
                  <a:cubicBezTo>
                    <a:pt x="650" y="315"/>
                    <a:pt x="650" y="315"/>
                    <a:pt x="650" y="315"/>
                  </a:cubicBezTo>
                  <a:cubicBezTo>
                    <a:pt x="650" y="315"/>
                    <a:pt x="650" y="315"/>
                    <a:pt x="649" y="315"/>
                  </a:cubicBezTo>
                  <a:cubicBezTo>
                    <a:pt x="649" y="315"/>
                    <a:pt x="649" y="315"/>
                    <a:pt x="649" y="315"/>
                  </a:cubicBezTo>
                  <a:cubicBezTo>
                    <a:pt x="649" y="315"/>
                    <a:pt x="649" y="315"/>
                    <a:pt x="649" y="315"/>
                  </a:cubicBezTo>
                  <a:cubicBezTo>
                    <a:pt x="649" y="315"/>
                    <a:pt x="649" y="315"/>
                    <a:pt x="649" y="315"/>
                  </a:cubicBezTo>
                  <a:cubicBezTo>
                    <a:pt x="649" y="315"/>
                    <a:pt x="649" y="315"/>
                    <a:pt x="649" y="315"/>
                  </a:cubicBezTo>
                  <a:cubicBezTo>
                    <a:pt x="649" y="315"/>
                    <a:pt x="649" y="315"/>
                    <a:pt x="649" y="315"/>
                  </a:cubicBezTo>
                  <a:moveTo>
                    <a:pt x="571" y="314"/>
                  </a:moveTo>
                  <a:cubicBezTo>
                    <a:pt x="571" y="313"/>
                    <a:pt x="571" y="313"/>
                    <a:pt x="572" y="312"/>
                  </a:cubicBezTo>
                  <a:cubicBezTo>
                    <a:pt x="572" y="312"/>
                    <a:pt x="572" y="312"/>
                    <a:pt x="572" y="312"/>
                  </a:cubicBezTo>
                  <a:cubicBezTo>
                    <a:pt x="572" y="312"/>
                    <a:pt x="571" y="313"/>
                    <a:pt x="571" y="313"/>
                  </a:cubicBezTo>
                  <a:cubicBezTo>
                    <a:pt x="571" y="313"/>
                    <a:pt x="571" y="313"/>
                    <a:pt x="571" y="313"/>
                  </a:cubicBezTo>
                  <a:cubicBezTo>
                    <a:pt x="571" y="313"/>
                    <a:pt x="571" y="313"/>
                    <a:pt x="571" y="313"/>
                  </a:cubicBezTo>
                  <a:cubicBezTo>
                    <a:pt x="571" y="313"/>
                    <a:pt x="571" y="314"/>
                    <a:pt x="570" y="315"/>
                  </a:cubicBezTo>
                  <a:cubicBezTo>
                    <a:pt x="570" y="314"/>
                    <a:pt x="570" y="314"/>
                    <a:pt x="570" y="314"/>
                  </a:cubicBezTo>
                  <a:cubicBezTo>
                    <a:pt x="570" y="314"/>
                    <a:pt x="570" y="315"/>
                    <a:pt x="569" y="315"/>
                  </a:cubicBezTo>
                  <a:cubicBezTo>
                    <a:pt x="570" y="315"/>
                    <a:pt x="570" y="314"/>
                    <a:pt x="571" y="314"/>
                  </a:cubicBezTo>
                  <a:cubicBezTo>
                    <a:pt x="570" y="314"/>
                    <a:pt x="570" y="314"/>
                    <a:pt x="570" y="314"/>
                  </a:cubicBezTo>
                  <a:cubicBezTo>
                    <a:pt x="571" y="313"/>
                    <a:pt x="571" y="313"/>
                    <a:pt x="571" y="313"/>
                  </a:cubicBezTo>
                  <a:cubicBezTo>
                    <a:pt x="571" y="314"/>
                    <a:pt x="571" y="314"/>
                    <a:pt x="571" y="314"/>
                  </a:cubicBezTo>
                  <a:moveTo>
                    <a:pt x="85" y="126"/>
                  </a:moveTo>
                  <a:cubicBezTo>
                    <a:pt x="86" y="125"/>
                    <a:pt x="86" y="125"/>
                    <a:pt x="86" y="125"/>
                  </a:cubicBezTo>
                  <a:cubicBezTo>
                    <a:pt x="85" y="126"/>
                    <a:pt x="85" y="126"/>
                    <a:pt x="85" y="126"/>
                  </a:cubicBezTo>
                  <a:moveTo>
                    <a:pt x="119" y="120"/>
                  </a:moveTo>
                  <a:cubicBezTo>
                    <a:pt x="120" y="119"/>
                    <a:pt x="120" y="119"/>
                    <a:pt x="120" y="119"/>
                  </a:cubicBezTo>
                  <a:cubicBezTo>
                    <a:pt x="120" y="119"/>
                    <a:pt x="120" y="119"/>
                    <a:pt x="119" y="120"/>
                  </a:cubicBezTo>
                  <a:moveTo>
                    <a:pt x="110" y="116"/>
                  </a:moveTo>
                  <a:cubicBezTo>
                    <a:pt x="110" y="116"/>
                    <a:pt x="110" y="116"/>
                    <a:pt x="110" y="116"/>
                  </a:cubicBezTo>
                  <a:cubicBezTo>
                    <a:pt x="110" y="116"/>
                    <a:pt x="110" y="116"/>
                    <a:pt x="110" y="116"/>
                  </a:cubicBezTo>
                  <a:moveTo>
                    <a:pt x="119" y="65"/>
                  </a:moveTo>
                  <a:cubicBezTo>
                    <a:pt x="119" y="65"/>
                    <a:pt x="119" y="65"/>
                    <a:pt x="119" y="65"/>
                  </a:cubicBezTo>
                  <a:cubicBezTo>
                    <a:pt x="119" y="65"/>
                    <a:pt x="119" y="65"/>
                    <a:pt x="119" y="65"/>
                  </a:cubicBezTo>
                  <a:moveTo>
                    <a:pt x="89" y="0"/>
                  </a:moveTo>
                  <a:cubicBezTo>
                    <a:pt x="86" y="0"/>
                    <a:pt x="82" y="0"/>
                    <a:pt x="79" y="1"/>
                  </a:cubicBezTo>
                  <a:cubicBezTo>
                    <a:pt x="71" y="2"/>
                    <a:pt x="63" y="3"/>
                    <a:pt x="55" y="7"/>
                  </a:cubicBezTo>
                  <a:cubicBezTo>
                    <a:pt x="51" y="8"/>
                    <a:pt x="48" y="10"/>
                    <a:pt x="44" y="12"/>
                  </a:cubicBezTo>
                  <a:cubicBezTo>
                    <a:pt x="41" y="14"/>
                    <a:pt x="39" y="17"/>
                    <a:pt x="36" y="18"/>
                  </a:cubicBezTo>
                  <a:cubicBezTo>
                    <a:pt x="33" y="20"/>
                    <a:pt x="32" y="22"/>
                    <a:pt x="30" y="23"/>
                  </a:cubicBezTo>
                  <a:cubicBezTo>
                    <a:pt x="31" y="24"/>
                    <a:pt x="33" y="24"/>
                    <a:pt x="34" y="25"/>
                  </a:cubicBezTo>
                  <a:cubicBezTo>
                    <a:pt x="33" y="25"/>
                    <a:pt x="31" y="25"/>
                    <a:pt x="29" y="25"/>
                  </a:cubicBezTo>
                  <a:cubicBezTo>
                    <a:pt x="28" y="25"/>
                    <a:pt x="27" y="25"/>
                    <a:pt x="26" y="26"/>
                  </a:cubicBezTo>
                  <a:cubicBezTo>
                    <a:pt x="26" y="27"/>
                    <a:pt x="25" y="28"/>
                    <a:pt x="25" y="29"/>
                  </a:cubicBezTo>
                  <a:cubicBezTo>
                    <a:pt x="24" y="30"/>
                    <a:pt x="23" y="30"/>
                    <a:pt x="23" y="31"/>
                  </a:cubicBezTo>
                  <a:cubicBezTo>
                    <a:pt x="21" y="33"/>
                    <a:pt x="20" y="36"/>
                    <a:pt x="19" y="38"/>
                  </a:cubicBezTo>
                  <a:cubicBezTo>
                    <a:pt x="19" y="39"/>
                    <a:pt x="19" y="39"/>
                    <a:pt x="19" y="40"/>
                  </a:cubicBezTo>
                  <a:cubicBezTo>
                    <a:pt x="19" y="41"/>
                    <a:pt x="19" y="42"/>
                    <a:pt x="19" y="43"/>
                  </a:cubicBezTo>
                  <a:cubicBezTo>
                    <a:pt x="19" y="43"/>
                    <a:pt x="18" y="44"/>
                    <a:pt x="18" y="44"/>
                  </a:cubicBezTo>
                  <a:cubicBezTo>
                    <a:pt x="18" y="45"/>
                    <a:pt x="17" y="45"/>
                    <a:pt x="17" y="46"/>
                  </a:cubicBezTo>
                  <a:cubicBezTo>
                    <a:pt x="17" y="46"/>
                    <a:pt x="18" y="48"/>
                    <a:pt x="18" y="48"/>
                  </a:cubicBezTo>
                  <a:cubicBezTo>
                    <a:pt x="18" y="48"/>
                    <a:pt x="18" y="49"/>
                    <a:pt x="17" y="49"/>
                  </a:cubicBezTo>
                  <a:cubicBezTo>
                    <a:pt x="17" y="49"/>
                    <a:pt x="17" y="48"/>
                    <a:pt x="17" y="48"/>
                  </a:cubicBezTo>
                  <a:cubicBezTo>
                    <a:pt x="16" y="48"/>
                    <a:pt x="16" y="48"/>
                    <a:pt x="16" y="48"/>
                  </a:cubicBezTo>
                  <a:cubicBezTo>
                    <a:pt x="16" y="48"/>
                    <a:pt x="16" y="48"/>
                    <a:pt x="15" y="48"/>
                  </a:cubicBezTo>
                  <a:cubicBezTo>
                    <a:pt x="12" y="48"/>
                    <a:pt x="14" y="49"/>
                    <a:pt x="14" y="52"/>
                  </a:cubicBezTo>
                  <a:cubicBezTo>
                    <a:pt x="14" y="54"/>
                    <a:pt x="13" y="55"/>
                    <a:pt x="12" y="55"/>
                  </a:cubicBezTo>
                  <a:cubicBezTo>
                    <a:pt x="12" y="55"/>
                    <a:pt x="12" y="55"/>
                    <a:pt x="12" y="55"/>
                  </a:cubicBezTo>
                  <a:cubicBezTo>
                    <a:pt x="12" y="55"/>
                    <a:pt x="12" y="55"/>
                    <a:pt x="11" y="55"/>
                  </a:cubicBezTo>
                  <a:cubicBezTo>
                    <a:pt x="11" y="55"/>
                    <a:pt x="10" y="55"/>
                    <a:pt x="9" y="56"/>
                  </a:cubicBezTo>
                  <a:cubicBezTo>
                    <a:pt x="8" y="57"/>
                    <a:pt x="9" y="60"/>
                    <a:pt x="8" y="61"/>
                  </a:cubicBezTo>
                  <a:cubicBezTo>
                    <a:pt x="8" y="62"/>
                    <a:pt x="6" y="62"/>
                    <a:pt x="6" y="63"/>
                  </a:cubicBezTo>
                  <a:cubicBezTo>
                    <a:pt x="5" y="64"/>
                    <a:pt x="6" y="65"/>
                    <a:pt x="6" y="66"/>
                  </a:cubicBezTo>
                  <a:cubicBezTo>
                    <a:pt x="6" y="67"/>
                    <a:pt x="4" y="69"/>
                    <a:pt x="5" y="71"/>
                  </a:cubicBezTo>
                  <a:cubicBezTo>
                    <a:pt x="6" y="74"/>
                    <a:pt x="14" y="73"/>
                    <a:pt x="12" y="76"/>
                  </a:cubicBezTo>
                  <a:cubicBezTo>
                    <a:pt x="11" y="77"/>
                    <a:pt x="7" y="78"/>
                    <a:pt x="5" y="78"/>
                  </a:cubicBezTo>
                  <a:cubicBezTo>
                    <a:pt x="3" y="79"/>
                    <a:pt x="4" y="80"/>
                    <a:pt x="3" y="82"/>
                  </a:cubicBezTo>
                  <a:cubicBezTo>
                    <a:pt x="3" y="85"/>
                    <a:pt x="0" y="84"/>
                    <a:pt x="2" y="87"/>
                  </a:cubicBezTo>
                  <a:cubicBezTo>
                    <a:pt x="3" y="90"/>
                    <a:pt x="5" y="92"/>
                    <a:pt x="6" y="95"/>
                  </a:cubicBezTo>
                  <a:cubicBezTo>
                    <a:pt x="7" y="96"/>
                    <a:pt x="4" y="96"/>
                    <a:pt x="4" y="97"/>
                  </a:cubicBezTo>
                  <a:cubicBezTo>
                    <a:pt x="3" y="99"/>
                    <a:pt x="4" y="102"/>
                    <a:pt x="3" y="103"/>
                  </a:cubicBezTo>
                  <a:cubicBezTo>
                    <a:pt x="5" y="108"/>
                    <a:pt x="5" y="109"/>
                    <a:pt x="11" y="111"/>
                  </a:cubicBezTo>
                  <a:cubicBezTo>
                    <a:pt x="14" y="112"/>
                    <a:pt x="18" y="113"/>
                    <a:pt x="21" y="113"/>
                  </a:cubicBezTo>
                  <a:cubicBezTo>
                    <a:pt x="26" y="113"/>
                    <a:pt x="31" y="114"/>
                    <a:pt x="37" y="115"/>
                  </a:cubicBezTo>
                  <a:cubicBezTo>
                    <a:pt x="39" y="115"/>
                    <a:pt x="43" y="115"/>
                    <a:pt x="46" y="115"/>
                  </a:cubicBezTo>
                  <a:cubicBezTo>
                    <a:pt x="47" y="115"/>
                    <a:pt x="48" y="115"/>
                    <a:pt x="49" y="115"/>
                  </a:cubicBezTo>
                  <a:cubicBezTo>
                    <a:pt x="51" y="115"/>
                    <a:pt x="52" y="114"/>
                    <a:pt x="53" y="114"/>
                  </a:cubicBezTo>
                  <a:cubicBezTo>
                    <a:pt x="54" y="114"/>
                    <a:pt x="55" y="115"/>
                    <a:pt x="57" y="116"/>
                  </a:cubicBezTo>
                  <a:cubicBezTo>
                    <a:pt x="60" y="120"/>
                    <a:pt x="62" y="122"/>
                    <a:pt x="66" y="123"/>
                  </a:cubicBezTo>
                  <a:cubicBezTo>
                    <a:pt x="68" y="124"/>
                    <a:pt x="71" y="124"/>
                    <a:pt x="73" y="125"/>
                  </a:cubicBezTo>
                  <a:cubicBezTo>
                    <a:pt x="71" y="125"/>
                    <a:pt x="70" y="124"/>
                    <a:pt x="68" y="124"/>
                  </a:cubicBezTo>
                  <a:cubicBezTo>
                    <a:pt x="68" y="124"/>
                    <a:pt x="67" y="124"/>
                    <a:pt x="67" y="124"/>
                  </a:cubicBezTo>
                  <a:cubicBezTo>
                    <a:pt x="65" y="125"/>
                    <a:pt x="66" y="126"/>
                    <a:pt x="65" y="127"/>
                  </a:cubicBezTo>
                  <a:cubicBezTo>
                    <a:pt x="64" y="127"/>
                    <a:pt x="64" y="127"/>
                    <a:pt x="63" y="127"/>
                  </a:cubicBezTo>
                  <a:cubicBezTo>
                    <a:pt x="62" y="127"/>
                    <a:pt x="61" y="127"/>
                    <a:pt x="60" y="127"/>
                  </a:cubicBezTo>
                  <a:cubicBezTo>
                    <a:pt x="59" y="127"/>
                    <a:pt x="58" y="127"/>
                    <a:pt x="57" y="127"/>
                  </a:cubicBezTo>
                  <a:cubicBezTo>
                    <a:pt x="57" y="127"/>
                    <a:pt x="57" y="127"/>
                    <a:pt x="57" y="127"/>
                  </a:cubicBezTo>
                  <a:cubicBezTo>
                    <a:pt x="54" y="127"/>
                    <a:pt x="51" y="128"/>
                    <a:pt x="48" y="128"/>
                  </a:cubicBezTo>
                  <a:cubicBezTo>
                    <a:pt x="46" y="128"/>
                    <a:pt x="45" y="127"/>
                    <a:pt x="43" y="127"/>
                  </a:cubicBezTo>
                  <a:cubicBezTo>
                    <a:pt x="40" y="126"/>
                    <a:pt x="39" y="123"/>
                    <a:pt x="35" y="123"/>
                  </a:cubicBezTo>
                  <a:cubicBezTo>
                    <a:pt x="35" y="123"/>
                    <a:pt x="35" y="123"/>
                    <a:pt x="35" y="123"/>
                  </a:cubicBezTo>
                  <a:cubicBezTo>
                    <a:pt x="34" y="123"/>
                    <a:pt x="33" y="123"/>
                    <a:pt x="32" y="123"/>
                  </a:cubicBezTo>
                  <a:cubicBezTo>
                    <a:pt x="32" y="123"/>
                    <a:pt x="31" y="123"/>
                    <a:pt x="31" y="123"/>
                  </a:cubicBezTo>
                  <a:cubicBezTo>
                    <a:pt x="31" y="123"/>
                    <a:pt x="30" y="123"/>
                    <a:pt x="30" y="123"/>
                  </a:cubicBezTo>
                  <a:cubicBezTo>
                    <a:pt x="29" y="123"/>
                    <a:pt x="29" y="123"/>
                    <a:pt x="28" y="123"/>
                  </a:cubicBezTo>
                  <a:cubicBezTo>
                    <a:pt x="28" y="123"/>
                    <a:pt x="28" y="123"/>
                    <a:pt x="28" y="123"/>
                  </a:cubicBezTo>
                  <a:cubicBezTo>
                    <a:pt x="26" y="123"/>
                    <a:pt x="25" y="123"/>
                    <a:pt x="24" y="123"/>
                  </a:cubicBezTo>
                  <a:cubicBezTo>
                    <a:pt x="23" y="123"/>
                    <a:pt x="22" y="123"/>
                    <a:pt x="21" y="122"/>
                  </a:cubicBezTo>
                  <a:cubicBezTo>
                    <a:pt x="21" y="122"/>
                    <a:pt x="17" y="121"/>
                    <a:pt x="15" y="121"/>
                  </a:cubicBezTo>
                  <a:cubicBezTo>
                    <a:pt x="15" y="121"/>
                    <a:pt x="14" y="121"/>
                    <a:pt x="14" y="121"/>
                  </a:cubicBezTo>
                  <a:cubicBezTo>
                    <a:pt x="14" y="121"/>
                    <a:pt x="14" y="121"/>
                    <a:pt x="14" y="121"/>
                  </a:cubicBezTo>
                  <a:cubicBezTo>
                    <a:pt x="15" y="123"/>
                    <a:pt x="17" y="125"/>
                    <a:pt x="18" y="128"/>
                  </a:cubicBezTo>
                  <a:cubicBezTo>
                    <a:pt x="14" y="128"/>
                    <a:pt x="20" y="134"/>
                    <a:pt x="21" y="135"/>
                  </a:cubicBezTo>
                  <a:cubicBezTo>
                    <a:pt x="26" y="139"/>
                    <a:pt x="32" y="143"/>
                    <a:pt x="37" y="147"/>
                  </a:cubicBezTo>
                  <a:cubicBezTo>
                    <a:pt x="39" y="148"/>
                    <a:pt x="42" y="149"/>
                    <a:pt x="45" y="150"/>
                  </a:cubicBezTo>
                  <a:cubicBezTo>
                    <a:pt x="47" y="151"/>
                    <a:pt x="49" y="153"/>
                    <a:pt x="52" y="153"/>
                  </a:cubicBezTo>
                  <a:cubicBezTo>
                    <a:pt x="51" y="153"/>
                    <a:pt x="51" y="153"/>
                    <a:pt x="51" y="153"/>
                  </a:cubicBezTo>
                  <a:cubicBezTo>
                    <a:pt x="50" y="153"/>
                    <a:pt x="49" y="153"/>
                    <a:pt x="48" y="153"/>
                  </a:cubicBezTo>
                  <a:cubicBezTo>
                    <a:pt x="47" y="153"/>
                    <a:pt x="46" y="153"/>
                    <a:pt x="46" y="153"/>
                  </a:cubicBezTo>
                  <a:cubicBezTo>
                    <a:pt x="45" y="153"/>
                    <a:pt x="44" y="153"/>
                    <a:pt x="44" y="153"/>
                  </a:cubicBezTo>
                  <a:cubicBezTo>
                    <a:pt x="46" y="154"/>
                    <a:pt x="50" y="156"/>
                    <a:pt x="54" y="156"/>
                  </a:cubicBezTo>
                  <a:cubicBezTo>
                    <a:pt x="55" y="156"/>
                    <a:pt x="56" y="156"/>
                    <a:pt x="57" y="156"/>
                  </a:cubicBezTo>
                  <a:cubicBezTo>
                    <a:pt x="57" y="156"/>
                    <a:pt x="58" y="155"/>
                    <a:pt x="58" y="155"/>
                  </a:cubicBezTo>
                  <a:cubicBezTo>
                    <a:pt x="59" y="155"/>
                    <a:pt x="58" y="154"/>
                    <a:pt x="58" y="154"/>
                  </a:cubicBezTo>
                  <a:cubicBezTo>
                    <a:pt x="58" y="154"/>
                    <a:pt x="58" y="154"/>
                    <a:pt x="58" y="154"/>
                  </a:cubicBezTo>
                  <a:cubicBezTo>
                    <a:pt x="59" y="153"/>
                    <a:pt x="59" y="153"/>
                    <a:pt x="60" y="153"/>
                  </a:cubicBezTo>
                  <a:cubicBezTo>
                    <a:pt x="61" y="153"/>
                    <a:pt x="62" y="153"/>
                    <a:pt x="63" y="154"/>
                  </a:cubicBezTo>
                  <a:cubicBezTo>
                    <a:pt x="65" y="154"/>
                    <a:pt x="69" y="155"/>
                    <a:pt x="72" y="155"/>
                  </a:cubicBezTo>
                  <a:cubicBezTo>
                    <a:pt x="72" y="155"/>
                    <a:pt x="72" y="155"/>
                    <a:pt x="73" y="155"/>
                  </a:cubicBezTo>
                  <a:cubicBezTo>
                    <a:pt x="77" y="153"/>
                    <a:pt x="70" y="151"/>
                    <a:pt x="68" y="151"/>
                  </a:cubicBezTo>
                  <a:cubicBezTo>
                    <a:pt x="69" y="149"/>
                    <a:pt x="71" y="147"/>
                    <a:pt x="73" y="147"/>
                  </a:cubicBezTo>
                  <a:cubicBezTo>
                    <a:pt x="74" y="147"/>
                    <a:pt x="75" y="148"/>
                    <a:pt x="75" y="148"/>
                  </a:cubicBezTo>
                  <a:cubicBezTo>
                    <a:pt x="81" y="151"/>
                    <a:pt x="76" y="150"/>
                    <a:pt x="76" y="152"/>
                  </a:cubicBezTo>
                  <a:cubicBezTo>
                    <a:pt x="75" y="153"/>
                    <a:pt x="78" y="153"/>
                    <a:pt x="80" y="153"/>
                  </a:cubicBezTo>
                  <a:cubicBezTo>
                    <a:pt x="81" y="153"/>
                    <a:pt x="81" y="153"/>
                    <a:pt x="81" y="153"/>
                  </a:cubicBezTo>
                  <a:cubicBezTo>
                    <a:pt x="81" y="151"/>
                    <a:pt x="81" y="151"/>
                    <a:pt x="81" y="151"/>
                  </a:cubicBezTo>
                  <a:cubicBezTo>
                    <a:pt x="81" y="151"/>
                    <a:pt x="82" y="149"/>
                    <a:pt x="83" y="149"/>
                  </a:cubicBezTo>
                  <a:cubicBezTo>
                    <a:pt x="84" y="148"/>
                    <a:pt x="90" y="148"/>
                    <a:pt x="88" y="145"/>
                  </a:cubicBezTo>
                  <a:cubicBezTo>
                    <a:pt x="91" y="146"/>
                    <a:pt x="83" y="150"/>
                    <a:pt x="83" y="152"/>
                  </a:cubicBezTo>
                  <a:cubicBezTo>
                    <a:pt x="82" y="158"/>
                    <a:pt x="90" y="162"/>
                    <a:pt x="94" y="164"/>
                  </a:cubicBezTo>
                  <a:cubicBezTo>
                    <a:pt x="97" y="165"/>
                    <a:pt x="100" y="167"/>
                    <a:pt x="103" y="167"/>
                  </a:cubicBezTo>
                  <a:cubicBezTo>
                    <a:pt x="104" y="167"/>
                    <a:pt x="104" y="167"/>
                    <a:pt x="104" y="167"/>
                  </a:cubicBezTo>
                  <a:cubicBezTo>
                    <a:pt x="104" y="167"/>
                    <a:pt x="105" y="167"/>
                    <a:pt x="105" y="167"/>
                  </a:cubicBezTo>
                  <a:cubicBezTo>
                    <a:pt x="107" y="167"/>
                    <a:pt x="108" y="167"/>
                    <a:pt x="109" y="167"/>
                  </a:cubicBezTo>
                  <a:cubicBezTo>
                    <a:pt x="111" y="167"/>
                    <a:pt x="112" y="167"/>
                    <a:pt x="114" y="167"/>
                  </a:cubicBezTo>
                  <a:cubicBezTo>
                    <a:pt x="114" y="167"/>
                    <a:pt x="114" y="167"/>
                    <a:pt x="114" y="167"/>
                  </a:cubicBezTo>
                  <a:cubicBezTo>
                    <a:pt x="111" y="165"/>
                    <a:pt x="108" y="164"/>
                    <a:pt x="104" y="164"/>
                  </a:cubicBezTo>
                  <a:cubicBezTo>
                    <a:pt x="103" y="164"/>
                    <a:pt x="102" y="164"/>
                    <a:pt x="100" y="165"/>
                  </a:cubicBezTo>
                  <a:cubicBezTo>
                    <a:pt x="101" y="163"/>
                    <a:pt x="104" y="162"/>
                    <a:pt x="107" y="162"/>
                  </a:cubicBezTo>
                  <a:cubicBezTo>
                    <a:pt x="112" y="162"/>
                    <a:pt x="117" y="163"/>
                    <a:pt x="119" y="164"/>
                  </a:cubicBezTo>
                  <a:cubicBezTo>
                    <a:pt x="119" y="163"/>
                    <a:pt x="119" y="163"/>
                    <a:pt x="119" y="163"/>
                  </a:cubicBezTo>
                  <a:cubicBezTo>
                    <a:pt x="120" y="163"/>
                    <a:pt x="120" y="164"/>
                    <a:pt x="120" y="164"/>
                  </a:cubicBezTo>
                  <a:cubicBezTo>
                    <a:pt x="120" y="164"/>
                    <a:pt x="120" y="164"/>
                    <a:pt x="120" y="164"/>
                  </a:cubicBezTo>
                  <a:cubicBezTo>
                    <a:pt x="121" y="164"/>
                    <a:pt x="122" y="163"/>
                    <a:pt x="123" y="162"/>
                  </a:cubicBezTo>
                  <a:cubicBezTo>
                    <a:pt x="123" y="162"/>
                    <a:pt x="123" y="162"/>
                    <a:pt x="123" y="162"/>
                  </a:cubicBezTo>
                  <a:cubicBezTo>
                    <a:pt x="126" y="162"/>
                    <a:pt x="127" y="165"/>
                    <a:pt x="129" y="166"/>
                  </a:cubicBezTo>
                  <a:cubicBezTo>
                    <a:pt x="130" y="167"/>
                    <a:pt x="133" y="167"/>
                    <a:pt x="135" y="167"/>
                  </a:cubicBezTo>
                  <a:cubicBezTo>
                    <a:pt x="136" y="168"/>
                    <a:pt x="136" y="168"/>
                    <a:pt x="137" y="168"/>
                  </a:cubicBezTo>
                  <a:cubicBezTo>
                    <a:pt x="138" y="168"/>
                    <a:pt x="138" y="168"/>
                    <a:pt x="139" y="168"/>
                  </a:cubicBezTo>
                  <a:cubicBezTo>
                    <a:pt x="139" y="167"/>
                    <a:pt x="140" y="167"/>
                    <a:pt x="140" y="167"/>
                  </a:cubicBezTo>
                  <a:cubicBezTo>
                    <a:pt x="141" y="167"/>
                    <a:pt x="142" y="168"/>
                    <a:pt x="143" y="168"/>
                  </a:cubicBezTo>
                  <a:cubicBezTo>
                    <a:pt x="145" y="168"/>
                    <a:pt x="147" y="169"/>
                    <a:pt x="150" y="169"/>
                  </a:cubicBezTo>
                  <a:cubicBezTo>
                    <a:pt x="150" y="169"/>
                    <a:pt x="150" y="169"/>
                    <a:pt x="150" y="169"/>
                  </a:cubicBezTo>
                  <a:cubicBezTo>
                    <a:pt x="155" y="169"/>
                    <a:pt x="158" y="166"/>
                    <a:pt x="162" y="166"/>
                  </a:cubicBezTo>
                  <a:cubicBezTo>
                    <a:pt x="162" y="166"/>
                    <a:pt x="162" y="166"/>
                    <a:pt x="162" y="166"/>
                  </a:cubicBezTo>
                  <a:cubicBezTo>
                    <a:pt x="164" y="166"/>
                    <a:pt x="166" y="167"/>
                    <a:pt x="168" y="168"/>
                  </a:cubicBezTo>
                  <a:cubicBezTo>
                    <a:pt x="169" y="169"/>
                    <a:pt x="170" y="170"/>
                    <a:pt x="171" y="170"/>
                  </a:cubicBezTo>
                  <a:cubicBezTo>
                    <a:pt x="171" y="170"/>
                    <a:pt x="172" y="170"/>
                    <a:pt x="172" y="170"/>
                  </a:cubicBezTo>
                  <a:cubicBezTo>
                    <a:pt x="172" y="170"/>
                    <a:pt x="172" y="170"/>
                    <a:pt x="172" y="170"/>
                  </a:cubicBezTo>
                  <a:cubicBezTo>
                    <a:pt x="172" y="170"/>
                    <a:pt x="172" y="170"/>
                    <a:pt x="172" y="170"/>
                  </a:cubicBezTo>
                  <a:cubicBezTo>
                    <a:pt x="172" y="170"/>
                    <a:pt x="173" y="170"/>
                    <a:pt x="173" y="170"/>
                  </a:cubicBezTo>
                  <a:cubicBezTo>
                    <a:pt x="175" y="171"/>
                    <a:pt x="177" y="173"/>
                    <a:pt x="179" y="173"/>
                  </a:cubicBezTo>
                  <a:cubicBezTo>
                    <a:pt x="182" y="173"/>
                    <a:pt x="184" y="173"/>
                    <a:pt x="186" y="175"/>
                  </a:cubicBezTo>
                  <a:cubicBezTo>
                    <a:pt x="186" y="174"/>
                    <a:pt x="187" y="173"/>
                    <a:pt x="188" y="172"/>
                  </a:cubicBezTo>
                  <a:cubicBezTo>
                    <a:pt x="188" y="172"/>
                    <a:pt x="188" y="172"/>
                    <a:pt x="189" y="172"/>
                  </a:cubicBezTo>
                  <a:cubicBezTo>
                    <a:pt x="189" y="172"/>
                    <a:pt x="189" y="172"/>
                    <a:pt x="190" y="172"/>
                  </a:cubicBezTo>
                  <a:cubicBezTo>
                    <a:pt x="190" y="173"/>
                    <a:pt x="190" y="173"/>
                    <a:pt x="191" y="173"/>
                  </a:cubicBezTo>
                  <a:cubicBezTo>
                    <a:pt x="191" y="173"/>
                    <a:pt x="191" y="173"/>
                    <a:pt x="191" y="173"/>
                  </a:cubicBezTo>
                  <a:cubicBezTo>
                    <a:pt x="191" y="173"/>
                    <a:pt x="192" y="172"/>
                    <a:pt x="193" y="172"/>
                  </a:cubicBezTo>
                  <a:cubicBezTo>
                    <a:pt x="193" y="172"/>
                    <a:pt x="194" y="172"/>
                    <a:pt x="194" y="172"/>
                  </a:cubicBezTo>
                  <a:cubicBezTo>
                    <a:pt x="194" y="172"/>
                    <a:pt x="194" y="172"/>
                    <a:pt x="194" y="172"/>
                  </a:cubicBezTo>
                  <a:cubicBezTo>
                    <a:pt x="195" y="171"/>
                    <a:pt x="195" y="171"/>
                    <a:pt x="195" y="171"/>
                  </a:cubicBezTo>
                  <a:cubicBezTo>
                    <a:pt x="195" y="171"/>
                    <a:pt x="195" y="171"/>
                    <a:pt x="195" y="171"/>
                  </a:cubicBezTo>
                  <a:cubicBezTo>
                    <a:pt x="195" y="171"/>
                    <a:pt x="195" y="171"/>
                    <a:pt x="195" y="171"/>
                  </a:cubicBezTo>
                  <a:cubicBezTo>
                    <a:pt x="194" y="171"/>
                    <a:pt x="194" y="171"/>
                    <a:pt x="195" y="171"/>
                  </a:cubicBezTo>
                  <a:cubicBezTo>
                    <a:pt x="195" y="170"/>
                    <a:pt x="195" y="170"/>
                    <a:pt x="196" y="169"/>
                  </a:cubicBezTo>
                  <a:cubicBezTo>
                    <a:pt x="194" y="168"/>
                    <a:pt x="192" y="168"/>
                    <a:pt x="191" y="167"/>
                  </a:cubicBezTo>
                  <a:cubicBezTo>
                    <a:pt x="190" y="167"/>
                    <a:pt x="189" y="166"/>
                    <a:pt x="188" y="165"/>
                  </a:cubicBezTo>
                  <a:cubicBezTo>
                    <a:pt x="186" y="163"/>
                    <a:pt x="183" y="162"/>
                    <a:pt x="180" y="161"/>
                  </a:cubicBezTo>
                  <a:cubicBezTo>
                    <a:pt x="178" y="160"/>
                    <a:pt x="175" y="159"/>
                    <a:pt x="172" y="158"/>
                  </a:cubicBezTo>
                  <a:cubicBezTo>
                    <a:pt x="170" y="157"/>
                    <a:pt x="168" y="156"/>
                    <a:pt x="165" y="154"/>
                  </a:cubicBezTo>
                  <a:cubicBezTo>
                    <a:pt x="171" y="156"/>
                    <a:pt x="176" y="159"/>
                    <a:pt x="182" y="160"/>
                  </a:cubicBezTo>
                  <a:cubicBezTo>
                    <a:pt x="186" y="162"/>
                    <a:pt x="189" y="165"/>
                    <a:pt x="194" y="167"/>
                  </a:cubicBezTo>
                  <a:cubicBezTo>
                    <a:pt x="196" y="168"/>
                    <a:pt x="198" y="168"/>
                    <a:pt x="201" y="169"/>
                  </a:cubicBezTo>
                  <a:cubicBezTo>
                    <a:pt x="203" y="171"/>
                    <a:pt x="206" y="172"/>
                    <a:pt x="208" y="174"/>
                  </a:cubicBezTo>
                  <a:cubicBezTo>
                    <a:pt x="210" y="175"/>
                    <a:pt x="212" y="178"/>
                    <a:pt x="215" y="178"/>
                  </a:cubicBezTo>
                  <a:cubicBezTo>
                    <a:pt x="215" y="178"/>
                    <a:pt x="215" y="178"/>
                    <a:pt x="215" y="178"/>
                  </a:cubicBezTo>
                  <a:cubicBezTo>
                    <a:pt x="220" y="177"/>
                    <a:pt x="215" y="173"/>
                    <a:pt x="213" y="172"/>
                  </a:cubicBezTo>
                  <a:cubicBezTo>
                    <a:pt x="211" y="170"/>
                    <a:pt x="209" y="168"/>
                    <a:pt x="207" y="167"/>
                  </a:cubicBezTo>
                  <a:cubicBezTo>
                    <a:pt x="206" y="166"/>
                    <a:pt x="206" y="166"/>
                    <a:pt x="205" y="166"/>
                  </a:cubicBezTo>
                  <a:cubicBezTo>
                    <a:pt x="205" y="166"/>
                    <a:pt x="204" y="166"/>
                    <a:pt x="204" y="166"/>
                  </a:cubicBezTo>
                  <a:cubicBezTo>
                    <a:pt x="204" y="166"/>
                    <a:pt x="203" y="167"/>
                    <a:pt x="202" y="167"/>
                  </a:cubicBezTo>
                  <a:cubicBezTo>
                    <a:pt x="202" y="167"/>
                    <a:pt x="202" y="167"/>
                    <a:pt x="202" y="167"/>
                  </a:cubicBezTo>
                  <a:cubicBezTo>
                    <a:pt x="202" y="167"/>
                    <a:pt x="200" y="165"/>
                    <a:pt x="200" y="164"/>
                  </a:cubicBezTo>
                  <a:cubicBezTo>
                    <a:pt x="198" y="164"/>
                    <a:pt x="197" y="164"/>
                    <a:pt x="196" y="163"/>
                  </a:cubicBezTo>
                  <a:cubicBezTo>
                    <a:pt x="194" y="162"/>
                    <a:pt x="195" y="162"/>
                    <a:pt x="196" y="162"/>
                  </a:cubicBezTo>
                  <a:cubicBezTo>
                    <a:pt x="198" y="162"/>
                    <a:pt x="202" y="163"/>
                    <a:pt x="202" y="163"/>
                  </a:cubicBezTo>
                  <a:cubicBezTo>
                    <a:pt x="203" y="163"/>
                    <a:pt x="203" y="163"/>
                    <a:pt x="204" y="163"/>
                  </a:cubicBezTo>
                  <a:cubicBezTo>
                    <a:pt x="204" y="163"/>
                    <a:pt x="205" y="163"/>
                    <a:pt x="206" y="163"/>
                  </a:cubicBezTo>
                  <a:cubicBezTo>
                    <a:pt x="206" y="163"/>
                    <a:pt x="207" y="163"/>
                    <a:pt x="208" y="163"/>
                  </a:cubicBezTo>
                  <a:cubicBezTo>
                    <a:pt x="209" y="163"/>
                    <a:pt x="209" y="163"/>
                    <a:pt x="210" y="163"/>
                  </a:cubicBezTo>
                  <a:cubicBezTo>
                    <a:pt x="213" y="163"/>
                    <a:pt x="215" y="164"/>
                    <a:pt x="218" y="164"/>
                  </a:cubicBezTo>
                  <a:cubicBezTo>
                    <a:pt x="221" y="165"/>
                    <a:pt x="223" y="165"/>
                    <a:pt x="225" y="166"/>
                  </a:cubicBezTo>
                  <a:cubicBezTo>
                    <a:pt x="226" y="167"/>
                    <a:pt x="227" y="167"/>
                    <a:pt x="227" y="167"/>
                  </a:cubicBezTo>
                  <a:cubicBezTo>
                    <a:pt x="228" y="167"/>
                    <a:pt x="229" y="166"/>
                    <a:pt x="230" y="166"/>
                  </a:cubicBezTo>
                  <a:cubicBezTo>
                    <a:pt x="230" y="166"/>
                    <a:pt x="230" y="166"/>
                    <a:pt x="231" y="166"/>
                  </a:cubicBezTo>
                  <a:cubicBezTo>
                    <a:pt x="233" y="166"/>
                    <a:pt x="235" y="167"/>
                    <a:pt x="237" y="168"/>
                  </a:cubicBezTo>
                  <a:cubicBezTo>
                    <a:pt x="237" y="168"/>
                    <a:pt x="237" y="168"/>
                    <a:pt x="237" y="168"/>
                  </a:cubicBezTo>
                  <a:cubicBezTo>
                    <a:pt x="238" y="168"/>
                    <a:pt x="238" y="168"/>
                    <a:pt x="238" y="168"/>
                  </a:cubicBezTo>
                  <a:cubicBezTo>
                    <a:pt x="238" y="168"/>
                    <a:pt x="238" y="168"/>
                    <a:pt x="238" y="168"/>
                  </a:cubicBezTo>
                  <a:cubicBezTo>
                    <a:pt x="238" y="168"/>
                    <a:pt x="239" y="168"/>
                    <a:pt x="240" y="169"/>
                  </a:cubicBezTo>
                  <a:cubicBezTo>
                    <a:pt x="241" y="171"/>
                    <a:pt x="242" y="173"/>
                    <a:pt x="243" y="173"/>
                  </a:cubicBezTo>
                  <a:cubicBezTo>
                    <a:pt x="243" y="173"/>
                    <a:pt x="244" y="173"/>
                    <a:pt x="244" y="173"/>
                  </a:cubicBezTo>
                  <a:cubicBezTo>
                    <a:pt x="246" y="173"/>
                    <a:pt x="248" y="171"/>
                    <a:pt x="250" y="171"/>
                  </a:cubicBezTo>
                  <a:cubicBezTo>
                    <a:pt x="251" y="171"/>
                    <a:pt x="251" y="171"/>
                    <a:pt x="251" y="171"/>
                  </a:cubicBezTo>
                  <a:cubicBezTo>
                    <a:pt x="252" y="171"/>
                    <a:pt x="253" y="171"/>
                    <a:pt x="254" y="171"/>
                  </a:cubicBezTo>
                  <a:cubicBezTo>
                    <a:pt x="255" y="171"/>
                    <a:pt x="256" y="172"/>
                    <a:pt x="257" y="172"/>
                  </a:cubicBezTo>
                  <a:cubicBezTo>
                    <a:pt x="257" y="172"/>
                    <a:pt x="258" y="172"/>
                    <a:pt x="258" y="172"/>
                  </a:cubicBezTo>
                  <a:cubicBezTo>
                    <a:pt x="262" y="171"/>
                    <a:pt x="267" y="172"/>
                    <a:pt x="266" y="167"/>
                  </a:cubicBezTo>
                  <a:cubicBezTo>
                    <a:pt x="266" y="163"/>
                    <a:pt x="263" y="156"/>
                    <a:pt x="260" y="153"/>
                  </a:cubicBezTo>
                  <a:cubicBezTo>
                    <a:pt x="259" y="153"/>
                    <a:pt x="258" y="153"/>
                    <a:pt x="258" y="153"/>
                  </a:cubicBezTo>
                  <a:cubicBezTo>
                    <a:pt x="257" y="153"/>
                    <a:pt x="257" y="153"/>
                    <a:pt x="257" y="153"/>
                  </a:cubicBezTo>
                  <a:cubicBezTo>
                    <a:pt x="256" y="153"/>
                    <a:pt x="256" y="154"/>
                    <a:pt x="255" y="154"/>
                  </a:cubicBezTo>
                  <a:cubicBezTo>
                    <a:pt x="255" y="154"/>
                    <a:pt x="254" y="154"/>
                    <a:pt x="254" y="154"/>
                  </a:cubicBezTo>
                  <a:cubicBezTo>
                    <a:pt x="253" y="153"/>
                    <a:pt x="252" y="152"/>
                    <a:pt x="251" y="152"/>
                  </a:cubicBezTo>
                  <a:cubicBezTo>
                    <a:pt x="251" y="152"/>
                    <a:pt x="251" y="152"/>
                    <a:pt x="251" y="152"/>
                  </a:cubicBezTo>
                  <a:cubicBezTo>
                    <a:pt x="250" y="152"/>
                    <a:pt x="250" y="152"/>
                    <a:pt x="249" y="152"/>
                  </a:cubicBezTo>
                  <a:cubicBezTo>
                    <a:pt x="249" y="152"/>
                    <a:pt x="249" y="152"/>
                    <a:pt x="249" y="152"/>
                  </a:cubicBezTo>
                  <a:cubicBezTo>
                    <a:pt x="249" y="152"/>
                    <a:pt x="248" y="152"/>
                    <a:pt x="248" y="152"/>
                  </a:cubicBezTo>
                  <a:cubicBezTo>
                    <a:pt x="246" y="151"/>
                    <a:pt x="246" y="151"/>
                    <a:pt x="246" y="151"/>
                  </a:cubicBezTo>
                  <a:cubicBezTo>
                    <a:pt x="245" y="148"/>
                    <a:pt x="248" y="149"/>
                    <a:pt x="249" y="148"/>
                  </a:cubicBezTo>
                  <a:cubicBezTo>
                    <a:pt x="250" y="148"/>
                    <a:pt x="250" y="146"/>
                    <a:pt x="252" y="146"/>
                  </a:cubicBezTo>
                  <a:cubicBezTo>
                    <a:pt x="252" y="146"/>
                    <a:pt x="252" y="146"/>
                    <a:pt x="252" y="146"/>
                  </a:cubicBezTo>
                  <a:cubicBezTo>
                    <a:pt x="252" y="148"/>
                    <a:pt x="253" y="149"/>
                    <a:pt x="254" y="149"/>
                  </a:cubicBezTo>
                  <a:cubicBezTo>
                    <a:pt x="255" y="149"/>
                    <a:pt x="255" y="148"/>
                    <a:pt x="255" y="147"/>
                  </a:cubicBezTo>
                  <a:cubicBezTo>
                    <a:pt x="255" y="144"/>
                    <a:pt x="258" y="143"/>
                    <a:pt x="259" y="141"/>
                  </a:cubicBezTo>
                  <a:cubicBezTo>
                    <a:pt x="258" y="141"/>
                    <a:pt x="258" y="141"/>
                    <a:pt x="258" y="141"/>
                  </a:cubicBezTo>
                  <a:cubicBezTo>
                    <a:pt x="257" y="141"/>
                    <a:pt x="257" y="141"/>
                    <a:pt x="257" y="141"/>
                  </a:cubicBezTo>
                  <a:cubicBezTo>
                    <a:pt x="257" y="141"/>
                    <a:pt x="256" y="141"/>
                    <a:pt x="256" y="141"/>
                  </a:cubicBezTo>
                  <a:cubicBezTo>
                    <a:pt x="256" y="141"/>
                    <a:pt x="255" y="141"/>
                    <a:pt x="255" y="141"/>
                  </a:cubicBezTo>
                  <a:cubicBezTo>
                    <a:pt x="256" y="139"/>
                    <a:pt x="257" y="139"/>
                    <a:pt x="257" y="139"/>
                  </a:cubicBezTo>
                  <a:cubicBezTo>
                    <a:pt x="258" y="139"/>
                    <a:pt x="259" y="140"/>
                    <a:pt x="261" y="140"/>
                  </a:cubicBezTo>
                  <a:cubicBezTo>
                    <a:pt x="261" y="141"/>
                    <a:pt x="261" y="141"/>
                    <a:pt x="261" y="141"/>
                  </a:cubicBezTo>
                  <a:cubicBezTo>
                    <a:pt x="261" y="141"/>
                    <a:pt x="261" y="141"/>
                    <a:pt x="262" y="140"/>
                  </a:cubicBezTo>
                  <a:cubicBezTo>
                    <a:pt x="262" y="140"/>
                    <a:pt x="262" y="140"/>
                    <a:pt x="262" y="140"/>
                  </a:cubicBezTo>
                  <a:cubicBezTo>
                    <a:pt x="262" y="140"/>
                    <a:pt x="262" y="140"/>
                    <a:pt x="262" y="140"/>
                  </a:cubicBezTo>
                  <a:cubicBezTo>
                    <a:pt x="263" y="141"/>
                    <a:pt x="264" y="142"/>
                    <a:pt x="265" y="143"/>
                  </a:cubicBezTo>
                  <a:cubicBezTo>
                    <a:pt x="263" y="142"/>
                    <a:pt x="263" y="142"/>
                    <a:pt x="262" y="142"/>
                  </a:cubicBezTo>
                  <a:cubicBezTo>
                    <a:pt x="261" y="142"/>
                    <a:pt x="260" y="143"/>
                    <a:pt x="259" y="143"/>
                  </a:cubicBezTo>
                  <a:cubicBezTo>
                    <a:pt x="260" y="143"/>
                    <a:pt x="260" y="144"/>
                    <a:pt x="261" y="144"/>
                  </a:cubicBezTo>
                  <a:cubicBezTo>
                    <a:pt x="260" y="144"/>
                    <a:pt x="256" y="143"/>
                    <a:pt x="257" y="146"/>
                  </a:cubicBezTo>
                  <a:cubicBezTo>
                    <a:pt x="258" y="147"/>
                    <a:pt x="261" y="149"/>
                    <a:pt x="262" y="150"/>
                  </a:cubicBezTo>
                  <a:cubicBezTo>
                    <a:pt x="262" y="149"/>
                    <a:pt x="262" y="148"/>
                    <a:pt x="262" y="147"/>
                  </a:cubicBezTo>
                  <a:cubicBezTo>
                    <a:pt x="262" y="149"/>
                    <a:pt x="264" y="148"/>
                    <a:pt x="265" y="149"/>
                  </a:cubicBezTo>
                  <a:cubicBezTo>
                    <a:pt x="267" y="152"/>
                    <a:pt x="267" y="152"/>
                    <a:pt x="267" y="152"/>
                  </a:cubicBezTo>
                  <a:cubicBezTo>
                    <a:pt x="267" y="153"/>
                    <a:pt x="268" y="153"/>
                    <a:pt x="268" y="153"/>
                  </a:cubicBezTo>
                  <a:cubicBezTo>
                    <a:pt x="269" y="153"/>
                    <a:pt x="269" y="152"/>
                    <a:pt x="270" y="152"/>
                  </a:cubicBezTo>
                  <a:cubicBezTo>
                    <a:pt x="270" y="152"/>
                    <a:pt x="270" y="152"/>
                    <a:pt x="271" y="152"/>
                  </a:cubicBezTo>
                  <a:cubicBezTo>
                    <a:pt x="273" y="152"/>
                    <a:pt x="272" y="153"/>
                    <a:pt x="270" y="154"/>
                  </a:cubicBezTo>
                  <a:cubicBezTo>
                    <a:pt x="270" y="155"/>
                    <a:pt x="272" y="156"/>
                    <a:pt x="272" y="157"/>
                  </a:cubicBezTo>
                  <a:cubicBezTo>
                    <a:pt x="274" y="158"/>
                    <a:pt x="273" y="157"/>
                    <a:pt x="275" y="158"/>
                  </a:cubicBezTo>
                  <a:cubicBezTo>
                    <a:pt x="276" y="157"/>
                    <a:pt x="276" y="157"/>
                    <a:pt x="276" y="157"/>
                  </a:cubicBezTo>
                  <a:cubicBezTo>
                    <a:pt x="277" y="157"/>
                    <a:pt x="277" y="159"/>
                    <a:pt x="278" y="159"/>
                  </a:cubicBezTo>
                  <a:cubicBezTo>
                    <a:pt x="278" y="159"/>
                    <a:pt x="278" y="159"/>
                    <a:pt x="278" y="159"/>
                  </a:cubicBezTo>
                  <a:cubicBezTo>
                    <a:pt x="279" y="158"/>
                    <a:pt x="279" y="157"/>
                    <a:pt x="278" y="156"/>
                  </a:cubicBezTo>
                  <a:cubicBezTo>
                    <a:pt x="279" y="157"/>
                    <a:pt x="280" y="157"/>
                    <a:pt x="281" y="157"/>
                  </a:cubicBezTo>
                  <a:cubicBezTo>
                    <a:pt x="282" y="157"/>
                    <a:pt x="282" y="157"/>
                    <a:pt x="283" y="157"/>
                  </a:cubicBezTo>
                  <a:cubicBezTo>
                    <a:pt x="284" y="156"/>
                    <a:pt x="284" y="156"/>
                    <a:pt x="285" y="156"/>
                  </a:cubicBezTo>
                  <a:cubicBezTo>
                    <a:pt x="286" y="156"/>
                    <a:pt x="287" y="157"/>
                    <a:pt x="288" y="158"/>
                  </a:cubicBezTo>
                  <a:cubicBezTo>
                    <a:pt x="291" y="162"/>
                    <a:pt x="290" y="169"/>
                    <a:pt x="290" y="174"/>
                  </a:cubicBezTo>
                  <a:cubicBezTo>
                    <a:pt x="291" y="176"/>
                    <a:pt x="291" y="177"/>
                    <a:pt x="291" y="177"/>
                  </a:cubicBezTo>
                  <a:cubicBezTo>
                    <a:pt x="292" y="177"/>
                    <a:pt x="292" y="177"/>
                    <a:pt x="292" y="176"/>
                  </a:cubicBezTo>
                  <a:cubicBezTo>
                    <a:pt x="293" y="176"/>
                    <a:pt x="293" y="175"/>
                    <a:pt x="294" y="175"/>
                  </a:cubicBezTo>
                  <a:cubicBezTo>
                    <a:pt x="294" y="175"/>
                    <a:pt x="294" y="175"/>
                    <a:pt x="294" y="175"/>
                  </a:cubicBezTo>
                  <a:cubicBezTo>
                    <a:pt x="294" y="175"/>
                    <a:pt x="292" y="174"/>
                    <a:pt x="291" y="174"/>
                  </a:cubicBezTo>
                  <a:cubicBezTo>
                    <a:pt x="291" y="174"/>
                    <a:pt x="291" y="174"/>
                    <a:pt x="291" y="174"/>
                  </a:cubicBezTo>
                  <a:cubicBezTo>
                    <a:pt x="295" y="172"/>
                    <a:pt x="300" y="171"/>
                    <a:pt x="305" y="169"/>
                  </a:cubicBezTo>
                  <a:cubicBezTo>
                    <a:pt x="304" y="171"/>
                    <a:pt x="301" y="170"/>
                    <a:pt x="300" y="171"/>
                  </a:cubicBezTo>
                  <a:cubicBezTo>
                    <a:pt x="298" y="173"/>
                    <a:pt x="299" y="174"/>
                    <a:pt x="301" y="174"/>
                  </a:cubicBezTo>
                  <a:cubicBezTo>
                    <a:pt x="301" y="174"/>
                    <a:pt x="301" y="174"/>
                    <a:pt x="302" y="174"/>
                  </a:cubicBezTo>
                  <a:cubicBezTo>
                    <a:pt x="302" y="174"/>
                    <a:pt x="303" y="173"/>
                    <a:pt x="304" y="173"/>
                  </a:cubicBezTo>
                  <a:cubicBezTo>
                    <a:pt x="304" y="173"/>
                    <a:pt x="304" y="173"/>
                    <a:pt x="304" y="173"/>
                  </a:cubicBezTo>
                  <a:cubicBezTo>
                    <a:pt x="306" y="173"/>
                    <a:pt x="305" y="174"/>
                    <a:pt x="306" y="174"/>
                  </a:cubicBezTo>
                  <a:cubicBezTo>
                    <a:pt x="306" y="174"/>
                    <a:pt x="306" y="174"/>
                    <a:pt x="307" y="174"/>
                  </a:cubicBezTo>
                  <a:cubicBezTo>
                    <a:pt x="308" y="174"/>
                    <a:pt x="309" y="174"/>
                    <a:pt x="309" y="174"/>
                  </a:cubicBezTo>
                  <a:cubicBezTo>
                    <a:pt x="306" y="176"/>
                    <a:pt x="310" y="176"/>
                    <a:pt x="310" y="177"/>
                  </a:cubicBezTo>
                  <a:cubicBezTo>
                    <a:pt x="309" y="179"/>
                    <a:pt x="308" y="179"/>
                    <a:pt x="307" y="179"/>
                  </a:cubicBezTo>
                  <a:cubicBezTo>
                    <a:pt x="307" y="179"/>
                    <a:pt x="307" y="179"/>
                    <a:pt x="306" y="179"/>
                  </a:cubicBezTo>
                  <a:cubicBezTo>
                    <a:pt x="306" y="179"/>
                    <a:pt x="306" y="179"/>
                    <a:pt x="305" y="179"/>
                  </a:cubicBezTo>
                  <a:cubicBezTo>
                    <a:pt x="305" y="179"/>
                    <a:pt x="305" y="179"/>
                    <a:pt x="305" y="179"/>
                  </a:cubicBezTo>
                  <a:cubicBezTo>
                    <a:pt x="301" y="179"/>
                    <a:pt x="299" y="181"/>
                    <a:pt x="304" y="182"/>
                  </a:cubicBezTo>
                  <a:cubicBezTo>
                    <a:pt x="304" y="182"/>
                    <a:pt x="305" y="183"/>
                    <a:pt x="305" y="183"/>
                  </a:cubicBezTo>
                  <a:cubicBezTo>
                    <a:pt x="305" y="183"/>
                    <a:pt x="306" y="183"/>
                    <a:pt x="306" y="183"/>
                  </a:cubicBezTo>
                  <a:cubicBezTo>
                    <a:pt x="306" y="183"/>
                    <a:pt x="306" y="183"/>
                    <a:pt x="307" y="183"/>
                  </a:cubicBezTo>
                  <a:cubicBezTo>
                    <a:pt x="307" y="183"/>
                    <a:pt x="307" y="182"/>
                    <a:pt x="307" y="182"/>
                  </a:cubicBezTo>
                  <a:cubicBezTo>
                    <a:pt x="307" y="182"/>
                    <a:pt x="307" y="182"/>
                    <a:pt x="307" y="182"/>
                  </a:cubicBezTo>
                  <a:cubicBezTo>
                    <a:pt x="309" y="183"/>
                    <a:pt x="308" y="183"/>
                    <a:pt x="309" y="184"/>
                  </a:cubicBezTo>
                  <a:cubicBezTo>
                    <a:pt x="310" y="184"/>
                    <a:pt x="310" y="185"/>
                    <a:pt x="311" y="185"/>
                  </a:cubicBezTo>
                  <a:cubicBezTo>
                    <a:pt x="311" y="185"/>
                    <a:pt x="312" y="185"/>
                    <a:pt x="312" y="185"/>
                  </a:cubicBezTo>
                  <a:cubicBezTo>
                    <a:pt x="313" y="185"/>
                    <a:pt x="314" y="183"/>
                    <a:pt x="314" y="182"/>
                  </a:cubicBezTo>
                  <a:cubicBezTo>
                    <a:pt x="315" y="182"/>
                    <a:pt x="318" y="180"/>
                    <a:pt x="314" y="180"/>
                  </a:cubicBezTo>
                  <a:cubicBezTo>
                    <a:pt x="315" y="179"/>
                    <a:pt x="315" y="179"/>
                    <a:pt x="316" y="179"/>
                  </a:cubicBezTo>
                  <a:cubicBezTo>
                    <a:pt x="317" y="179"/>
                    <a:pt x="318" y="179"/>
                    <a:pt x="319" y="180"/>
                  </a:cubicBezTo>
                  <a:cubicBezTo>
                    <a:pt x="321" y="180"/>
                    <a:pt x="322" y="181"/>
                    <a:pt x="323" y="181"/>
                  </a:cubicBezTo>
                  <a:cubicBezTo>
                    <a:pt x="323" y="181"/>
                    <a:pt x="323" y="181"/>
                    <a:pt x="323" y="180"/>
                  </a:cubicBezTo>
                  <a:cubicBezTo>
                    <a:pt x="323" y="181"/>
                    <a:pt x="322" y="181"/>
                    <a:pt x="321" y="181"/>
                  </a:cubicBezTo>
                  <a:cubicBezTo>
                    <a:pt x="321" y="181"/>
                    <a:pt x="321" y="181"/>
                    <a:pt x="321" y="181"/>
                  </a:cubicBezTo>
                  <a:cubicBezTo>
                    <a:pt x="320" y="181"/>
                    <a:pt x="320" y="181"/>
                    <a:pt x="320" y="181"/>
                  </a:cubicBezTo>
                  <a:cubicBezTo>
                    <a:pt x="320" y="181"/>
                    <a:pt x="319" y="181"/>
                    <a:pt x="319" y="181"/>
                  </a:cubicBezTo>
                  <a:cubicBezTo>
                    <a:pt x="317" y="182"/>
                    <a:pt x="317" y="181"/>
                    <a:pt x="316" y="183"/>
                  </a:cubicBezTo>
                  <a:cubicBezTo>
                    <a:pt x="312" y="185"/>
                    <a:pt x="315" y="186"/>
                    <a:pt x="317" y="188"/>
                  </a:cubicBezTo>
                  <a:cubicBezTo>
                    <a:pt x="319" y="190"/>
                    <a:pt x="319" y="191"/>
                    <a:pt x="320" y="191"/>
                  </a:cubicBezTo>
                  <a:cubicBezTo>
                    <a:pt x="321" y="191"/>
                    <a:pt x="321" y="191"/>
                    <a:pt x="322" y="191"/>
                  </a:cubicBezTo>
                  <a:cubicBezTo>
                    <a:pt x="322" y="191"/>
                    <a:pt x="323" y="191"/>
                    <a:pt x="323" y="191"/>
                  </a:cubicBezTo>
                  <a:cubicBezTo>
                    <a:pt x="325" y="191"/>
                    <a:pt x="327" y="192"/>
                    <a:pt x="329" y="193"/>
                  </a:cubicBezTo>
                  <a:cubicBezTo>
                    <a:pt x="331" y="193"/>
                    <a:pt x="334" y="195"/>
                    <a:pt x="335" y="196"/>
                  </a:cubicBezTo>
                  <a:cubicBezTo>
                    <a:pt x="337" y="198"/>
                    <a:pt x="338" y="198"/>
                    <a:pt x="336" y="200"/>
                  </a:cubicBezTo>
                  <a:cubicBezTo>
                    <a:pt x="334" y="202"/>
                    <a:pt x="333" y="204"/>
                    <a:pt x="331" y="206"/>
                  </a:cubicBezTo>
                  <a:cubicBezTo>
                    <a:pt x="330" y="207"/>
                    <a:pt x="329" y="207"/>
                    <a:pt x="328" y="207"/>
                  </a:cubicBezTo>
                  <a:cubicBezTo>
                    <a:pt x="326" y="207"/>
                    <a:pt x="325" y="207"/>
                    <a:pt x="323" y="206"/>
                  </a:cubicBezTo>
                  <a:cubicBezTo>
                    <a:pt x="322" y="206"/>
                    <a:pt x="320" y="206"/>
                    <a:pt x="319" y="206"/>
                  </a:cubicBezTo>
                  <a:cubicBezTo>
                    <a:pt x="318" y="206"/>
                    <a:pt x="318" y="206"/>
                    <a:pt x="317" y="206"/>
                  </a:cubicBezTo>
                  <a:cubicBezTo>
                    <a:pt x="316" y="206"/>
                    <a:pt x="313" y="206"/>
                    <a:pt x="314" y="208"/>
                  </a:cubicBezTo>
                  <a:cubicBezTo>
                    <a:pt x="315" y="213"/>
                    <a:pt x="317" y="212"/>
                    <a:pt x="314" y="216"/>
                  </a:cubicBezTo>
                  <a:cubicBezTo>
                    <a:pt x="311" y="219"/>
                    <a:pt x="313" y="220"/>
                    <a:pt x="316" y="220"/>
                  </a:cubicBezTo>
                  <a:cubicBezTo>
                    <a:pt x="318" y="220"/>
                    <a:pt x="322" y="220"/>
                    <a:pt x="323" y="219"/>
                  </a:cubicBezTo>
                  <a:cubicBezTo>
                    <a:pt x="326" y="218"/>
                    <a:pt x="329" y="216"/>
                    <a:pt x="332" y="214"/>
                  </a:cubicBezTo>
                  <a:cubicBezTo>
                    <a:pt x="334" y="214"/>
                    <a:pt x="336" y="213"/>
                    <a:pt x="338" y="212"/>
                  </a:cubicBezTo>
                  <a:cubicBezTo>
                    <a:pt x="340" y="211"/>
                    <a:pt x="340" y="209"/>
                    <a:pt x="341" y="207"/>
                  </a:cubicBezTo>
                  <a:cubicBezTo>
                    <a:pt x="343" y="209"/>
                    <a:pt x="345" y="212"/>
                    <a:pt x="348" y="212"/>
                  </a:cubicBezTo>
                  <a:cubicBezTo>
                    <a:pt x="348" y="212"/>
                    <a:pt x="349" y="211"/>
                    <a:pt x="350" y="210"/>
                  </a:cubicBezTo>
                  <a:cubicBezTo>
                    <a:pt x="351" y="208"/>
                    <a:pt x="351" y="207"/>
                    <a:pt x="353" y="206"/>
                  </a:cubicBezTo>
                  <a:cubicBezTo>
                    <a:pt x="354" y="205"/>
                    <a:pt x="354" y="205"/>
                    <a:pt x="355" y="205"/>
                  </a:cubicBezTo>
                  <a:cubicBezTo>
                    <a:pt x="356" y="205"/>
                    <a:pt x="357" y="205"/>
                    <a:pt x="359" y="206"/>
                  </a:cubicBezTo>
                  <a:cubicBezTo>
                    <a:pt x="357" y="207"/>
                    <a:pt x="353" y="207"/>
                    <a:pt x="351" y="209"/>
                  </a:cubicBezTo>
                  <a:cubicBezTo>
                    <a:pt x="352" y="209"/>
                    <a:pt x="352" y="209"/>
                    <a:pt x="352" y="209"/>
                  </a:cubicBezTo>
                  <a:cubicBezTo>
                    <a:pt x="353" y="209"/>
                    <a:pt x="354" y="209"/>
                    <a:pt x="355" y="209"/>
                  </a:cubicBezTo>
                  <a:cubicBezTo>
                    <a:pt x="354" y="209"/>
                    <a:pt x="353" y="210"/>
                    <a:pt x="352" y="210"/>
                  </a:cubicBezTo>
                  <a:cubicBezTo>
                    <a:pt x="353" y="210"/>
                    <a:pt x="353" y="210"/>
                    <a:pt x="354" y="210"/>
                  </a:cubicBezTo>
                  <a:cubicBezTo>
                    <a:pt x="354" y="210"/>
                    <a:pt x="355" y="210"/>
                    <a:pt x="355" y="210"/>
                  </a:cubicBezTo>
                  <a:cubicBezTo>
                    <a:pt x="354" y="211"/>
                    <a:pt x="352" y="211"/>
                    <a:pt x="351" y="211"/>
                  </a:cubicBezTo>
                  <a:cubicBezTo>
                    <a:pt x="351" y="211"/>
                    <a:pt x="351" y="211"/>
                    <a:pt x="351" y="211"/>
                  </a:cubicBezTo>
                  <a:cubicBezTo>
                    <a:pt x="352" y="211"/>
                    <a:pt x="353" y="211"/>
                    <a:pt x="354" y="211"/>
                  </a:cubicBezTo>
                  <a:cubicBezTo>
                    <a:pt x="355" y="211"/>
                    <a:pt x="357" y="210"/>
                    <a:pt x="358" y="210"/>
                  </a:cubicBezTo>
                  <a:cubicBezTo>
                    <a:pt x="358" y="210"/>
                    <a:pt x="359" y="210"/>
                    <a:pt x="359" y="211"/>
                  </a:cubicBezTo>
                  <a:cubicBezTo>
                    <a:pt x="361" y="213"/>
                    <a:pt x="354" y="215"/>
                    <a:pt x="352" y="215"/>
                  </a:cubicBezTo>
                  <a:cubicBezTo>
                    <a:pt x="353" y="216"/>
                    <a:pt x="356" y="217"/>
                    <a:pt x="358" y="217"/>
                  </a:cubicBezTo>
                  <a:cubicBezTo>
                    <a:pt x="359" y="217"/>
                    <a:pt x="360" y="216"/>
                    <a:pt x="359" y="215"/>
                  </a:cubicBezTo>
                  <a:cubicBezTo>
                    <a:pt x="360" y="215"/>
                    <a:pt x="360" y="214"/>
                    <a:pt x="361" y="214"/>
                  </a:cubicBezTo>
                  <a:cubicBezTo>
                    <a:pt x="362" y="214"/>
                    <a:pt x="362" y="215"/>
                    <a:pt x="361" y="217"/>
                  </a:cubicBezTo>
                  <a:cubicBezTo>
                    <a:pt x="361" y="218"/>
                    <a:pt x="360" y="219"/>
                    <a:pt x="360" y="220"/>
                  </a:cubicBezTo>
                  <a:cubicBezTo>
                    <a:pt x="360" y="221"/>
                    <a:pt x="362" y="221"/>
                    <a:pt x="362" y="221"/>
                  </a:cubicBezTo>
                  <a:cubicBezTo>
                    <a:pt x="363" y="223"/>
                    <a:pt x="363" y="224"/>
                    <a:pt x="365" y="225"/>
                  </a:cubicBezTo>
                  <a:cubicBezTo>
                    <a:pt x="367" y="226"/>
                    <a:pt x="369" y="227"/>
                    <a:pt x="371" y="227"/>
                  </a:cubicBezTo>
                  <a:cubicBezTo>
                    <a:pt x="372" y="227"/>
                    <a:pt x="373" y="227"/>
                    <a:pt x="375" y="227"/>
                  </a:cubicBezTo>
                  <a:cubicBezTo>
                    <a:pt x="376" y="227"/>
                    <a:pt x="377" y="227"/>
                    <a:pt x="377" y="227"/>
                  </a:cubicBezTo>
                  <a:cubicBezTo>
                    <a:pt x="379" y="223"/>
                    <a:pt x="367" y="219"/>
                    <a:pt x="373" y="219"/>
                  </a:cubicBezTo>
                  <a:cubicBezTo>
                    <a:pt x="373" y="219"/>
                    <a:pt x="374" y="219"/>
                    <a:pt x="375" y="219"/>
                  </a:cubicBezTo>
                  <a:cubicBezTo>
                    <a:pt x="379" y="219"/>
                    <a:pt x="381" y="220"/>
                    <a:pt x="380" y="225"/>
                  </a:cubicBezTo>
                  <a:cubicBezTo>
                    <a:pt x="380" y="228"/>
                    <a:pt x="376" y="233"/>
                    <a:pt x="380" y="235"/>
                  </a:cubicBezTo>
                  <a:cubicBezTo>
                    <a:pt x="382" y="236"/>
                    <a:pt x="385" y="235"/>
                    <a:pt x="384" y="238"/>
                  </a:cubicBezTo>
                  <a:cubicBezTo>
                    <a:pt x="386" y="236"/>
                    <a:pt x="388" y="235"/>
                    <a:pt x="390" y="234"/>
                  </a:cubicBezTo>
                  <a:cubicBezTo>
                    <a:pt x="390" y="233"/>
                    <a:pt x="391" y="232"/>
                    <a:pt x="391" y="232"/>
                  </a:cubicBezTo>
                  <a:cubicBezTo>
                    <a:pt x="392" y="232"/>
                    <a:pt x="392" y="232"/>
                    <a:pt x="392" y="232"/>
                  </a:cubicBezTo>
                  <a:cubicBezTo>
                    <a:pt x="394" y="233"/>
                    <a:pt x="393" y="237"/>
                    <a:pt x="393" y="238"/>
                  </a:cubicBezTo>
                  <a:cubicBezTo>
                    <a:pt x="394" y="239"/>
                    <a:pt x="395" y="240"/>
                    <a:pt x="396" y="240"/>
                  </a:cubicBezTo>
                  <a:cubicBezTo>
                    <a:pt x="396" y="240"/>
                    <a:pt x="396" y="240"/>
                    <a:pt x="396" y="240"/>
                  </a:cubicBezTo>
                  <a:cubicBezTo>
                    <a:pt x="396" y="240"/>
                    <a:pt x="397" y="239"/>
                    <a:pt x="397" y="239"/>
                  </a:cubicBezTo>
                  <a:cubicBezTo>
                    <a:pt x="397" y="239"/>
                    <a:pt x="397" y="238"/>
                    <a:pt x="398" y="238"/>
                  </a:cubicBezTo>
                  <a:cubicBezTo>
                    <a:pt x="398" y="238"/>
                    <a:pt x="398" y="238"/>
                    <a:pt x="398" y="238"/>
                  </a:cubicBezTo>
                  <a:cubicBezTo>
                    <a:pt x="399" y="239"/>
                    <a:pt x="398" y="242"/>
                    <a:pt x="399" y="243"/>
                  </a:cubicBezTo>
                  <a:cubicBezTo>
                    <a:pt x="399" y="245"/>
                    <a:pt x="401" y="248"/>
                    <a:pt x="399" y="251"/>
                  </a:cubicBezTo>
                  <a:cubicBezTo>
                    <a:pt x="400" y="251"/>
                    <a:pt x="400" y="251"/>
                    <a:pt x="400" y="251"/>
                  </a:cubicBezTo>
                  <a:cubicBezTo>
                    <a:pt x="401" y="251"/>
                    <a:pt x="400" y="253"/>
                    <a:pt x="402" y="254"/>
                  </a:cubicBezTo>
                  <a:cubicBezTo>
                    <a:pt x="402" y="254"/>
                    <a:pt x="402" y="254"/>
                    <a:pt x="402" y="254"/>
                  </a:cubicBezTo>
                  <a:cubicBezTo>
                    <a:pt x="402" y="254"/>
                    <a:pt x="402" y="254"/>
                    <a:pt x="403" y="254"/>
                  </a:cubicBezTo>
                  <a:cubicBezTo>
                    <a:pt x="403" y="254"/>
                    <a:pt x="403" y="254"/>
                    <a:pt x="404" y="254"/>
                  </a:cubicBezTo>
                  <a:cubicBezTo>
                    <a:pt x="404" y="254"/>
                    <a:pt x="404" y="254"/>
                    <a:pt x="404" y="254"/>
                  </a:cubicBezTo>
                  <a:cubicBezTo>
                    <a:pt x="405" y="255"/>
                    <a:pt x="405" y="255"/>
                    <a:pt x="405" y="255"/>
                  </a:cubicBezTo>
                  <a:cubicBezTo>
                    <a:pt x="408" y="258"/>
                    <a:pt x="407" y="257"/>
                    <a:pt x="406" y="260"/>
                  </a:cubicBezTo>
                  <a:cubicBezTo>
                    <a:pt x="405" y="262"/>
                    <a:pt x="409" y="262"/>
                    <a:pt x="410" y="263"/>
                  </a:cubicBezTo>
                  <a:cubicBezTo>
                    <a:pt x="410" y="263"/>
                    <a:pt x="411" y="266"/>
                    <a:pt x="411" y="267"/>
                  </a:cubicBezTo>
                  <a:cubicBezTo>
                    <a:pt x="411" y="268"/>
                    <a:pt x="411" y="269"/>
                    <a:pt x="411" y="270"/>
                  </a:cubicBezTo>
                  <a:cubicBezTo>
                    <a:pt x="411" y="270"/>
                    <a:pt x="412" y="271"/>
                    <a:pt x="412" y="272"/>
                  </a:cubicBezTo>
                  <a:cubicBezTo>
                    <a:pt x="413" y="274"/>
                    <a:pt x="412" y="274"/>
                    <a:pt x="414" y="276"/>
                  </a:cubicBezTo>
                  <a:cubicBezTo>
                    <a:pt x="414" y="276"/>
                    <a:pt x="416" y="276"/>
                    <a:pt x="416" y="277"/>
                  </a:cubicBezTo>
                  <a:cubicBezTo>
                    <a:pt x="415" y="280"/>
                    <a:pt x="415" y="280"/>
                    <a:pt x="415" y="280"/>
                  </a:cubicBezTo>
                  <a:cubicBezTo>
                    <a:pt x="411" y="287"/>
                    <a:pt x="403" y="291"/>
                    <a:pt x="398" y="297"/>
                  </a:cubicBezTo>
                  <a:cubicBezTo>
                    <a:pt x="404" y="299"/>
                    <a:pt x="408" y="298"/>
                    <a:pt x="413" y="299"/>
                  </a:cubicBezTo>
                  <a:cubicBezTo>
                    <a:pt x="418" y="299"/>
                    <a:pt x="423" y="300"/>
                    <a:pt x="428" y="301"/>
                  </a:cubicBezTo>
                  <a:cubicBezTo>
                    <a:pt x="429" y="301"/>
                    <a:pt x="431" y="303"/>
                    <a:pt x="433" y="303"/>
                  </a:cubicBezTo>
                  <a:cubicBezTo>
                    <a:pt x="434" y="303"/>
                    <a:pt x="434" y="303"/>
                    <a:pt x="434" y="302"/>
                  </a:cubicBezTo>
                  <a:cubicBezTo>
                    <a:pt x="437" y="301"/>
                    <a:pt x="437" y="297"/>
                    <a:pt x="438" y="295"/>
                  </a:cubicBezTo>
                  <a:cubicBezTo>
                    <a:pt x="439" y="294"/>
                    <a:pt x="439" y="294"/>
                    <a:pt x="440" y="292"/>
                  </a:cubicBezTo>
                  <a:cubicBezTo>
                    <a:pt x="441" y="289"/>
                    <a:pt x="440" y="289"/>
                    <a:pt x="439" y="286"/>
                  </a:cubicBezTo>
                  <a:cubicBezTo>
                    <a:pt x="441" y="286"/>
                    <a:pt x="441" y="286"/>
                    <a:pt x="443" y="286"/>
                  </a:cubicBezTo>
                  <a:cubicBezTo>
                    <a:pt x="444" y="287"/>
                    <a:pt x="445" y="287"/>
                    <a:pt x="447" y="288"/>
                  </a:cubicBezTo>
                  <a:cubicBezTo>
                    <a:pt x="447" y="288"/>
                    <a:pt x="448" y="288"/>
                    <a:pt x="448" y="288"/>
                  </a:cubicBezTo>
                  <a:cubicBezTo>
                    <a:pt x="452" y="288"/>
                    <a:pt x="451" y="289"/>
                    <a:pt x="453" y="292"/>
                  </a:cubicBezTo>
                  <a:cubicBezTo>
                    <a:pt x="453" y="292"/>
                    <a:pt x="452" y="293"/>
                    <a:pt x="452" y="293"/>
                  </a:cubicBezTo>
                  <a:cubicBezTo>
                    <a:pt x="452" y="293"/>
                    <a:pt x="452" y="293"/>
                    <a:pt x="453" y="293"/>
                  </a:cubicBezTo>
                  <a:cubicBezTo>
                    <a:pt x="453" y="293"/>
                    <a:pt x="453" y="293"/>
                    <a:pt x="454" y="293"/>
                  </a:cubicBezTo>
                  <a:cubicBezTo>
                    <a:pt x="454" y="294"/>
                    <a:pt x="453" y="294"/>
                    <a:pt x="453" y="295"/>
                  </a:cubicBezTo>
                  <a:cubicBezTo>
                    <a:pt x="454" y="295"/>
                    <a:pt x="454" y="295"/>
                    <a:pt x="455" y="296"/>
                  </a:cubicBezTo>
                  <a:cubicBezTo>
                    <a:pt x="456" y="297"/>
                    <a:pt x="458" y="298"/>
                    <a:pt x="461" y="298"/>
                  </a:cubicBezTo>
                  <a:cubicBezTo>
                    <a:pt x="461" y="298"/>
                    <a:pt x="461" y="298"/>
                    <a:pt x="461" y="298"/>
                  </a:cubicBezTo>
                  <a:cubicBezTo>
                    <a:pt x="464" y="299"/>
                    <a:pt x="468" y="299"/>
                    <a:pt x="471" y="301"/>
                  </a:cubicBezTo>
                  <a:cubicBezTo>
                    <a:pt x="474" y="302"/>
                    <a:pt x="475" y="303"/>
                    <a:pt x="477" y="303"/>
                  </a:cubicBezTo>
                  <a:cubicBezTo>
                    <a:pt x="478" y="303"/>
                    <a:pt x="480" y="304"/>
                    <a:pt x="481" y="304"/>
                  </a:cubicBezTo>
                  <a:cubicBezTo>
                    <a:pt x="481" y="304"/>
                    <a:pt x="481" y="305"/>
                    <a:pt x="482" y="305"/>
                  </a:cubicBezTo>
                  <a:cubicBezTo>
                    <a:pt x="482" y="305"/>
                    <a:pt x="483" y="304"/>
                    <a:pt x="483" y="304"/>
                  </a:cubicBezTo>
                  <a:cubicBezTo>
                    <a:pt x="483" y="304"/>
                    <a:pt x="483" y="304"/>
                    <a:pt x="483" y="304"/>
                  </a:cubicBezTo>
                  <a:cubicBezTo>
                    <a:pt x="483" y="304"/>
                    <a:pt x="483" y="304"/>
                    <a:pt x="483" y="304"/>
                  </a:cubicBezTo>
                  <a:cubicBezTo>
                    <a:pt x="483" y="304"/>
                    <a:pt x="484" y="304"/>
                    <a:pt x="484" y="304"/>
                  </a:cubicBezTo>
                  <a:cubicBezTo>
                    <a:pt x="484" y="304"/>
                    <a:pt x="484" y="304"/>
                    <a:pt x="484" y="304"/>
                  </a:cubicBezTo>
                  <a:cubicBezTo>
                    <a:pt x="484" y="304"/>
                    <a:pt x="485" y="304"/>
                    <a:pt x="485" y="304"/>
                  </a:cubicBezTo>
                  <a:cubicBezTo>
                    <a:pt x="486" y="305"/>
                    <a:pt x="482" y="308"/>
                    <a:pt x="482" y="309"/>
                  </a:cubicBezTo>
                  <a:cubicBezTo>
                    <a:pt x="482" y="309"/>
                    <a:pt x="482" y="309"/>
                    <a:pt x="482" y="309"/>
                  </a:cubicBezTo>
                  <a:cubicBezTo>
                    <a:pt x="483" y="309"/>
                    <a:pt x="483" y="309"/>
                    <a:pt x="484" y="309"/>
                  </a:cubicBezTo>
                  <a:cubicBezTo>
                    <a:pt x="484" y="309"/>
                    <a:pt x="485" y="309"/>
                    <a:pt x="486" y="309"/>
                  </a:cubicBezTo>
                  <a:cubicBezTo>
                    <a:pt x="487" y="309"/>
                    <a:pt x="488" y="309"/>
                    <a:pt x="487" y="311"/>
                  </a:cubicBezTo>
                  <a:cubicBezTo>
                    <a:pt x="481" y="314"/>
                    <a:pt x="481" y="314"/>
                    <a:pt x="481" y="314"/>
                  </a:cubicBezTo>
                  <a:cubicBezTo>
                    <a:pt x="479" y="315"/>
                    <a:pt x="480" y="315"/>
                    <a:pt x="479" y="316"/>
                  </a:cubicBezTo>
                  <a:cubicBezTo>
                    <a:pt x="479" y="317"/>
                    <a:pt x="479" y="317"/>
                    <a:pt x="478" y="318"/>
                  </a:cubicBezTo>
                  <a:cubicBezTo>
                    <a:pt x="479" y="318"/>
                    <a:pt x="479" y="318"/>
                    <a:pt x="479" y="318"/>
                  </a:cubicBezTo>
                  <a:cubicBezTo>
                    <a:pt x="478" y="318"/>
                    <a:pt x="478" y="319"/>
                    <a:pt x="477" y="319"/>
                  </a:cubicBezTo>
                  <a:cubicBezTo>
                    <a:pt x="475" y="319"/>
                    <a:pt x="472" y="316"/>
                    <a:pt x="470" y="316"/>
                  </a:cubicBezTo>
                  <a:cubicBezTo>
                    <a:pt x="470" y="316"/>
                    <a:pt x="469" y="316"/>
                    <a:pt x="469" y="316"/>
                  </a:cubicBezTo>
                  <a:cubicBezTo>
                    <a:pt x="467" y="316"/>
                    <a:pt x="466" y="316"/>
                    <a:pt x="464" y="317"/>
                  </a:cubicBezTo>
                  <a:cubicBezTo>
                    <a:pt x="462" y="317"/>
                    <a:pt x="461" y="318"/>
                    <a:pt x="459" y="318"/>
                  </a:cubicBezTo>
                  <a:cubicBezTo>
                    <a:pt x="459" y="318"/>
                    <a:pt x="459" y="318"/>
                    <a:pt x="459" y="318"/>
                  </a:cubicBezTo>
                  <a:cubicBezTo>
                    <a:pt x="456" y="318"/>
                    <a:pt x="458" y="318"/>
                    <a:pt x="456" y="316"/>
                  </a:cubicBezTo>
                  <a:cubicBezTo>
                    <a:pt x="456" y="316"/>
                    <a:pt x="456" y="316"/>
                    <a:pt x="456" y="316"/>
                  </a:cubicBezTo>
                  <a:cubicBezTo>
                    <a:pt x="456" y="316"/>
                    <a:pt x="456" y="316"/>
                    <a:pt x="455" y="315"/>
                  </a:cubicBezTo>
                  <a:cubicBezTo>
                    <a:pt x="455" y="315"/>
                    <a:pt x="454" y="315"/>
                    <a:pt x="454" y="315"/>
                  </a:cubicBezTo>
                  <a:cubicBezTo>
                    <a:pt x="454" y="315"/>
                    <a:pt x="454" y="315"/>
                    <a:pt x="454" y="315"/>
                  </a:cubicBezTo>
                  <a:cubicBezTo>
                    <a:pt x="453" y="313"/>
                    <a:pt x="453" y="313"/>
                    <a:pt x="453" y="313"/>
                  </a:cubicBezTo>
                  <a:cubicBezTo>
                    <a:pt x="453" y="315"/>
                    <a:pt x="452" y="316"/>
                    <a:pt x="452" y="317"/>
                  </a:cubicBezTo>
                  <a:cubicBezTo>
                    <a:pt x="452" y="318"/>
                    <a:pt x="451" y="318"/>
                    <a:pt x="450" y="319"/>
                  </a:cubicBezTo>
                  <a:cubicBezTo>
                    <a:pt x="449" y="320"/>
                    <a:pt x="447" y="321"/>
                    <a:pt x="446" y="322"/>
                  </a:cubicBezTo>
                  <a:cubicBezTo>
                    <a:pt x="444" y="324"/>
                    <a:pt x="442" y="326"/>
                    <a:pt x="440" y="328"/>
                  </a:cubicBezTo>
                  <a:cubicBezTo>
                    <a:pt x="440" y="327"/>
                    <a:pt x="443" y="323"/>
                    <a:pt x="442" y="323"/>
                  </a:cubicBezTo>
                  <a:cubicBezTo>
                    <a:pt x="442" y="323"/>
                    <a:pt x="442" y="323"/>
                    <a:pt x="442" y="323"/>
                  </a:cubicBezTo>
                  <a:cubicBezTo>
                    <a:pt x="441" y="323"/>
                    <a:pt x="441" y="323"/>
                    <a:pt x="440" y="323"/>
                  </a:cubicBezTo>
                  <a:cubicBezTo>
                    <a:pt x="440" y="323"/>
                    <a:pt x="439" y="323"/>
                    <a:pt x="439" y="323"/>
                  </a:cubicBezTo>
                  <a:cubicBezTo>
                    <a:pt x="439" y="323"/>
                    <a:pt x="438" y="323"/>
                    <a:pt x="438" y="323"/>
                  </a:cubicBezTo>
                  <a:cubicBezTo>
                    <a:pt x="437" y="323"/>
                    <a:pt x="440" y="321"/>
                    <a:pt x="440" y="320"/>
                  </a:cubicBezTo>
                  <a:cubicBezTo>
                    <a:pt x="441" y="318"/>
                    <a:pt x="441" y="318"/>
                    <a:pt x="441" y="318"/>
                  </a:cubicBezTo>
                  <a:cubicBezTo>
                    <a:pt x="441" y="318"/>
                    <a:pt x="440" y="316"/>
                    <a:pt x="440" y="316"/>
                  </a:cubicBezTo>
                  <a:cubicBezTo>
                    <a:pt x="440" y="316"/>
                    <a:pt x="440" y="316"/>
                    <a:pt x="440" y="316"/>
                  </a:cubicBezTo>
                  <a:cubicBezTo>
                    <a:pt x="441" y="316"/>
                    <a:pt x="442" y="313"/>
                    <a:pt x="442" y="313"/>
                  </a:cubicBezTo>
                  <a:cubicBezTo>
                    <a:pt x="442" y="312"/>
                    <a:pt x="440" y="312"/>
                    <a:pt x="440" y="312"/>
                  </a:cubicBezTo>
                  <a:cubicBezTo>
                    <a:pt x="440" y="311"/>
                    <a:pt x="439" y="311"/>
                    <a:pt x="439" y="310"/>
                  </a:cubicBezTo>
                  <a:cubicBezTo>
                    <a:pt x="438" y="309"/>
                    <a:pt x="438" y="308"/>
                    <a:pt x="438" y="307"/>
                  </a:cubicBezTo>
                  <a:cubicBezTo>
                    <a:pt x="435" y="303"/>
                    <a:pt x="430" y="303"/>
                    <a:pt x="426" y="302"/>
                  </a:cubicBezTo>
                  <a:cubicBezTo>
                    <a:pt x="423" y="301"/>
                    <a:pt x="419" y="300"/>
                    <a:pt x="416" y="300"/>
                  </a:cubicBezTo>
                  <a:cubicBezTo>
                    <a:pt x="413" y="300"/>
                    <a:pt x="411" y="300"/>
                    <a:pt x="408" y="300"/>
                  </a:cubicBezTo>
                  <a:cubicBezTo>
                    <a:pt x="407" y="300"/>
                    <a:pt x="405" y="300"/>
                    <a:pt x="404" y="300"/>
                  </a:cubicBezTo>
                  <a:cubicBezTo>
                    <a:pt x="401" y="299"/>
                    <a:pt x="399" y="299"/>
                    <a:pt x="397" y="299"/>
                  </a:cubicBezTo>
                  <a:cubicBezTo>
                    <a:pt x="396" y="299"/>
                    <a:pt x="394" y="299"/>
                    <a:pt x="392" y="301"/>
                  </a:cubicBezTo>
                  <a:cubicBezTo>
                    <a:pt x="383" y="308"/>
                    <a:pt x="374" y="315"/>
                    <a:pt x="364" y="322"/>
                  </a:cubicBezTo>
                  <a:cubicBezTo>
                    <a:pt x="366" y="325"/>
                    <a:pt x="369" y="326"/>
                    <a:pt x="371" y="328"/>
                  </a:cubicBezTo>
                  <a:cubicBezTo>
                    <a:pt x="374" y="331"/>
                    <a:pt x="376" y="332"/>
                    <a:pt x="379" y="334"/>
                  </a:cubicBezTo>
                  <a:cubicBezTo>
                    <a:pt x="380" y="334"/>
                    <a:pt x="382" y="336"/>
                    <a:pt x="382" y="337"/>
                  </a:cubicBezTo>
                  <a:cubicBezTo>
                    <a:pt x="383" y="337"/>
                    <a:pt x="382" y="338"/>
                    <a:pt x="382" y="339"/>
                  </a:cubicBezTo>
                  <a:cubicBezTo>
                    <a:pt x="382" y="339"/>
                    <a:pt x="383" y="339"/>
                    <a:pt x="384" y="340"/>
                  </a:cubicBezTo>
                  <a:cubicBezTo>
                    <a:pt x="384" y="340"/>
                    <a:pt x="383" y="341"/>
                    <a:pt x="384" y="341"/>
                  </a:cubicBezTo>
                  <a:cubicBezTo>
                    <a:pt x="384" y="342"/>
                    <a:pt x="385" y="343"/>
                    <a:pt x="385" y="343"/>
                  </a:cubicBezTo>
                  <a:cubicBezTo>
                    <a:pt x="386" y="344"/>
                    <a:pt x="386" y="346"/>
                    <a:pt x="387" y="347"/>
                  </a:cubicBezTo>
                  <a:cubicBezTo>
                    <a:pt x="383" y="346"/>
                    <a:pt x="379" y="344"/>
                    <a:pt x="375" y="344"/>
                  </a:cubicBezTo>
                  <a:cubicBezTo>
                    <a:pt x="374" y="344"/>
                    <a:pt x="374" y="344"/>
                    <a:pt x="373" y="344"/>
                  </a:cubicBezTo>
                  <a:cubicBezTo>
                    <a:pt x="370" y="344"/>
                    <a:pt x="368" y="348"/>
                    <a:pt x="365" y="350"/>
                  </a:cubicBezTo>
                  <a:cubicBezTo>
                    <a:pt x="363" y="350"/>
                    <a:pt x="363" y="351"/>
                    <a:pt x="362" y="351"/>
                  </a:cubicBezTo>
                  <a:cubicBezTo>
                    <a:pt x="361" y="351"/>
                    <a:pt x="360" y="350"/>
                    <a:pt x="359" y="349"/>
                  </a:cubicBezTo>
                  <a:cubicBezTo>
                    <a:pt x="359" y="348"/>
                    <a:pt x="359" y="348"/>
                    <a:pt x="358" y="348"/>
                  </a:cubicBezTo>
                  <a:cubicBezTo>
                    <a:pt x="357" y="348"/>
                    <a:pt x="353" y="349"/>
                    <a:pt x="353" y="349"/>
                  </a:cubicBezTo>
                  <a:cubicBezTo>
                    <a:pt x="350" y="350"/>
                    <a:pt x="349" y="349"/>
                    <a:pt x="349" y="352"/>
                  </a:cubicBezTo>
                  <a:cubicBezTo>
                    <a:pt x="350" y="353"/>
                    <a:pt x="350" y="354"/>
                    <a:pt x="348" y="354"/>
                  </a:cubicBezTo>
                  <a:cubicBezTo>
                    <a:pt x="348" y="354"/>
                    <a:pt x="347" y="354"/>
                    <a:pt x="347" y="354"/>
                  </a:cubicBezTo>
                  <a:cubicBezTo>
                    <a:pt x="345" y="354"/>
                    <a:pt x="342" y="354"/>
                    <a:pt x="340" y="354"/>
                  </a:cubicBezTo>
                  <a:cubicBezTo>
                    <a:pt x="339" y="353"/>
                    <a:pt x="338" y="353"/>
                    <a:pt x="337" y="353"/>
                  </a:cubicBezTo>
                  <a:cubicBezTo>
                    <a:pt x="338" y="352"/>
                    <a:pt x="338" y="352"/>
                    <a:pt x="338" y="352"/>
                  </a:cubicBezTo>
                  <a:cubicBezTo>
                    <a:pt x="337" y="352"/>
                    <a:pt x="337" y="352"/>
                    <a:pt x="336" y="352"/>
                  </a:cubicBezTo>
                  <a:cubicBezTo>
                    <a:pt x="335" y="352"/>
                    <a:pt x="335" y="352"/>
                    <a:pt x="334" y="352"/>
                  </a:cubicBezTo>
                  <a:cubicBezTo>
                    <a:pt x="333" y="352"/>
                    <a:pt x="332" y="352"/>
                    <a:pt x="331" y="352"/>
                  </a:cubicBezTo>
                  <a:cubicBezTo>
                    <a:pt x="331" y="352"/>
                    <a:pt x="331" y="352"/>
                    <a:pt x="330" y="352"/>
                  </a:cubicBezTo>
                  <a:cubicBezTo>
                    <a:pt x="332" y="356"/>
                    <a:pt x="336" y="357"/>
                    <a:pt x="338" y="358"/>
                  </a:cubicBezTo>
                  <a:cubicBezTo>
                    <a:pt x="340" y="359"/>
                    <a:pt x="341" y="360"/>
                    <a:pt x="342" y="362"/>
                  </a:cubicBezTo>
                  <a:cubicBezTo>
                    <a:pt x="343" y="363"/>
                    <a:pt x="343" y="364"/>
                    <a:pt x="344" y="364"/>
                  </a:cubicBezTo>
                  <a:cubicBezTo>
                    <a:pt x="344" y="364"/>
                    <a:pt x="345" y="364"/>
                    <a:pt x="346" y="363"/>
                  </a:cubicBezTo>
                  <a:cubicBezTo>
                    <a:pt x="345" y="364"/>
                    <a:pt x="345" y="365"/>
                    <a:pt x="345" y="365"/>
                  </a:cubicBezTo>
                  <a:cubicBezTo>
                    <a:pt x="344" y="367"/>
                    <a:pt x="341" y="368"/>
                    <a:pt x="339" y="369"/>
                  </a:cubicBezTo>
                  <a:cubicBezTo>
                    <a:pt x="340" y="369"/>
                    <a:pt x="341" y="369"/>
                    <a:pt x="343" y="369"/>
                  </a:cubicBezTo>
                  <a:cubicBezTo>
                    <a:pt x="343" y="369"/>
                    <a:pt x="343" y="369"/>
                    <a:pt x="344" y="369"/>
                  </a:cubicBezTo>
                  <a:cubicBezTo>
                    <a:pt x="342" y="371"/>
                    <a:pt x="344" y="373"/>
                    <a:pt x="345" y="374"/>
                  </a:cubicBezTo>
                  <a:cubicBezTo>
                    <a:pt x="343" y="373"/>
                    <a:pt x="342" y="371"/>
                    <a:pt x="341" y="370"/>
                  </a:cubicBezTo>
                  <a:cubicBezTo>
                    <a:pt x="340" y="370"/>
                    <a:pt x="339" y="370"/>
                    <a:pt x="338" y="370"/>
                  </a:cubicBezTo>
                  <a:cubicBezTo>
                    <a:pt x="338" y="370"/>
                    <a:pt x="337" y="366"/>
                    <a:pt x="336" y="366"/>
                  </a:cubicBezTo>
                  <a:cubicBezTo>
                    <a:pt x="336" y="366"/>
                    <a:pt x="336" y="366"/>
                    <a:pt x="336" y="366"/>
                  </a:cubicBezTo>
                  <a:cubicBezTo>
                    <a:pt x="336" y="366"/>
                    <a:pt x="337" y="366"/>
                    <a:pt x="338" y="366"/>
                  </a:cubicBezTo>
                  <a:cubicBezTo>
                    <a:pt x="338" y="366"/>
                    <a:pt x="338" y="366"/>
                    <a:pt x="338" y="366"/>
                  </a:cubicBezTo>
                  <a:cubicBezTo>
                    <a:pt x="339" y="366"/>
                    <a:pt x="339" y="366"/>
                    <a:pt x="339" y="366"/>
                  </a:cubicBezTo>
                  <a:cubicBezTo>
                    <a:pt x="340" y="366"/>
                    <a:pt x="341" y="366"/>
                    <a:pt x="342" y="365"/>
                  </a:cubicBezTo>
                  <a:cubicBezTo>
                    <a:pt x="342" y="364"/>
                    <a:pt x="342" y="363"/>
                    <a:pt x="341" y="362"/>
                  </a:cubicBezTo>
                  <a:cubicBezTo>
                    <a:pt x="340" y="360"/>
                    <a:pt x="338" y="360"/>
                    <a:pt x="337" y="359"/>
                  </a:cubicBezTo>
                  <a:cubicBezTo>
                    <a:pt x="335" y="358"/>
                    <a:pt x="335" y="358"/>
                    <a:pt x="334" y="357"/>
                  </a:cubicBezTo>
                  <a:cubicBezTo>
                    <a:pt x="331" y="354"/>
                    <a:pt x="327" y="354"/>
                    <a:pt x="324" y="353"/>
                  </a:cubicBezTo>
                  <a:cubicBezTo>
                    <a:pt x="320" y="352"/>
                    <a:pt x="316" y="350"/>
                    <a:pt x="312" y="349"/>
                  </a:cubicBezTo>
                  <a:cubicBezTo>
                    <a:pt x="309" y="348"/>
                    <a:pt x="305" y="348"/>
                    <a:pt x="302" y="348"/>
                  </a:cubicBezTo>
                  <a:cubicBezTo>
                    <a:pt x="301" y="347"/>
                    <a:pt x="300" y="347"/>
                    <a:pt x="299" y="347"/>
                  </a:cubicBezTo>
                  <a:cubicBezTo>
                    <a:pt x="299" y="347"/>
                    <a:pt x="299" y="347"/>
                    <a:pt x="299" y="347"/>
                  </a:cubicBezTo>
                  <a:cubicBezTo>
                    <a:pt x="297" y="347"/>
                    <a:pt x="296" y="353"/>
                    <a:pt x="296" y="354"/>
                  </a:cubicBezTo>
                  <a:cubicBezTo>
                    <a:pt x="296" y="355"/>
                    <a:pt x="298" y="356"/>
                    <a:pt x="298" y="356"/>
                  </a:cubicBezTo>
                  <a:cubicBezTo>
                    <a:pt x="297" y="358"/>
                    <a:pt x="294" y="358"/>
                    <a:pt x="292" y="359"/>
                  </a:cubicBezTo>
                  <a:cubicBezTo>
                    <a:pt x="290" y="359"/>
                    <a:pt x="287" y="360"/>
                    <a:pt x="285" y="362"/>
                  </a:cubicBezTo>
                  <a:cubicBezTo>
                    <a:pt x="280" y="364"/>
                    <a:pt x="278" y="370"/>
                    <a:pt x="275" y="375"/>
                  </a:cubicBezTo>
                  <a:cubicBezTo>
                    <a:pt x="274" y="377"/>
                    <a:pt x="279" y="381"/>
                    <a:pt x="280" y="382"/>
                  </a:cubicBezTo>
                  <a:cubicBezTo>
                    <a:pt x="281" y="383"/>
                    <a:pt x="282" y="385"/>
                    <a:pt x="282" y="385"/>
                  </a:cubicBezTo>
                  <a:cubicBezTo>
                    <a:pt x="282" y="385"/>
                    <a:pt x="282" y="385"/>
                    <a:pt x="282" y="385"/>
                  </a:cubicBezTo>
                  <a:cubicBezTo>
                    <a:pt x="282" y="385"/>
                    <a:pt x="282" y="386"/>
                    <a:pt x="282" y="386"/>
                  </a:cubicBezTo>
                  <a:cubicBezTo>
                    <a:pt x="282" y="386"/>
                    <a:pt x="284" y="387"/>
                    <a:pt x="285" y="388"/>
                  </a:cubicBezTo>
                  <a:cubicBezTo>
                    <a:pt x="288" y="390"/>
                    <a:pt x="293" y="392"/>
                    <a:pt x="297" y="392"/>
                  </a:cubicBezTo>
                  <a:cubicBezTo>
                    <a:pt x="297" y="392"/>
                    <a:pt x="297" y="392"/>
                    <a:pt x="297" y="392"/>
                  </a:cubicBezTo>
                  <a:cubicBezTo>
                    <a:pt x="298" y="392"/>
                    <a:pt x="299" y="392"/>
                    <a:pt x="300" y="391"/>
                  </a:cubicBezTo>
                  <a:cubicBezTo>
                    <a:pt x="301" y="391"/>
                    <a:pt x="302" y="391"/>
                    <a:pt x="303" y="391"/>
                  </a:cubicBezTo>
                  <a:cubicBezTo>
                    <a:pt x="304" y="391"/>
                    <a:pt x="305" y="391"/>
                    <a:pt x="306" y="392"/>
                  </a:cubicBezTo>
                  <a:cubicBezTo>
                    <a:pt x="308" y="392"/>
                    <a:pt x="310" y="393"/>
                    <a:pt x="313" y="394"/>
                  </a:cubicBezTo>
                  <a:cubicBezTo>
                    <a:pt x="312" y="393"/>
                    <a:pt x="311" y="392"/>
                    <a:pt x="312" y="390"/>
                  </a:cubicBezTo>
                  <a:cubicBezTo>
                    <a:pt x="312" y="390"/>
                    <a:pt x="313" y="390"/>
                    <a:pt x="313" y="390"/>
                  </a:cubicBezTo>
                  <a:cubicBezTo>
                    <a:pt x="315" y="390"/>
                    <a:pt x="318" y="391"/>
                    <a:pt x="319" y="391"/>
                  </a:cubicBezTo>
                  <a:cubicBezTo>
                    <a:pt x="319" y="391"/>
                    <a:pt x="318" y="390"/>
                    <a:pt x="317" y="390"/>
                  </a:cubicBezTo>
                  <a:cubicBezTo>
                    <a:pt x="319" y="390"/>
                    <a:pt x="321" y="391"/>
                    <a:pt x="322" y="391"/>
                  </a:cubicBezTo>
                  <a:cubicBezTo>
                    <a:pt x="322" y="391"/>
                    <a:pt x="322" y="391"/>
                    <a:pt x="323" y="391"/>
                  </a:cubicBezTo>
                  <a:cubicBezTo>
                    <a:pt x="326" y="390"/>
                    <a:pt x="321" y="389"/>
                    <a:pt x="320" y="388"/>
                  </a:cubicBezTo>
                  <a:cubicBezTo>
                    <a:pt x="320" y="388"/>
                    <a:pt x="320" y="388"/>
                    <a:pt x="320" y="388"/>
                  </a:cubicBezTo>
                  <a:cubicBezTo>
                    <a:pt x="321" y="388"/>
                    <a:pt x="321" y="388"/>
                    <a:pt x="321" y="388"/>
                  </a:cubicBezTo>
                  <a:cubicBezTo>
                    <a:pt x="322" y="388"/>
                    <a:pt x="322" y="388"/>
                    <a:pt x="323" y="388"/>
                  </a:cubicBezTo>
                  <a:cubicBezTo>
                    <a:pt x="323" y="388"/>
                    <a:pt x="323" y="388"/>
                    <a:pt x="323" y="388"/>
                  </a:cubicBezTo>
                  <a:cubicBezTo>
                    <a:pt x="323" y="388"/>
                    <a:pt x="324" y="388"/>
                    <a:pt x="324" y="388"/>
                  </a:cubicBezTo>
                  <a:cubicBezTo>
                    <a:pt x="325" y="388"/>
                    <a:pt x="324" y="387"/>
                    <a:pt x="326" y="387"/>
                  </a:cubicBezTo>
                  <a:cubicBezTo>
                    <a:pt x="326" y="387"/>
                    <a:pt x="327" y="387"/>
                    <a:pt x="328" y="387"/>
                  </a:cubicBezTo>
                  <a:cubicBezTo>
                    <a:pt x="330" y="387"/>
                    <a:pt x="332" y="387"/>
                    <a:pt x="335" y="388"/>
                  </a:cubicBezTo>
                  <a:cubicBezTo>
                    <a:pt x="334" y="387"/>
                    <a:pt x="332" y="386"/>
                    <a:pt x="333" y="385"/>
                  </a:cubicBezTo>
                  <a:cubicBezTo>
                    <a:pt x="332" y="385"/>
                    <a:pt x="331" y="384"/>
                    <a:pt x="331" y="383"/>
                  </a:cubicBezTo>
                  <a:cubicBezTo>
                    <a:pt x="333" y="384"/>
                    <a:pt x="335" y="384"/>
                    <a:pt x="337" y="385"/>
                  </a:cubicBezTo>
                  <a:cubicBezTo>
                    <a:pt x="335" y="384"/>
                    <a:pt x="333" y="382"/>
                    <a:pt x="332" y="381"/>
                  </a:cubicBezTo>
                  <a:cubicBezTo>
                    <a:pt x="333" y="380"/>
                    <a:pt x="333" y="380"/>
                    <a:pt x="333" y="380"/>
                  </a:cubicBezTo>
                  <a:cubicBezTo>
                    <a:pt x="331" y="379"/>
                    <a:pt x="332" y="379"/>
                    <a:pt x="333" y="379"/>
                  </a:cubicBezTo>
                  <a:cubicBezTo>
                    <a:pt x="334" y="379"/>
                    <a:pt x="334" y="379"/>
                    <a:pt x="335" y="379"/>
                  </a:cubicBezTo>
                  <a:cubicBezTo>
                    <a:pt x="340" y="381"/>
                    <a:pt x="345" y="382"/>
                    <a:pt x="350" y="384"/>
                  </a:cubicBezTo>
                  <a:cubicBezTo>
                    <a:pt x="353" y="385"/>
                    <a:pt x="356" y="387"/>
                    <a:pt x="359" y="387"/>
                  </a:cubicBezTo>
                  <a:cubicBezTo>
                    <a:pt x="361" y="387"/>
                    <a:pt x="362" y="386"/>
                    <a:pt x="363" y="384"/>
                  </a:cubicBezTo>
                  <a:cubicBezTo>
                    <a:pt x="362" y="384"/>
                    <a:pt x="359" y="382"/>
                    <a:pt x="361" y="382"/>
                  </a:cubicBezTo>
                  <a:cubicBezTo>
                    <a:pt x="361" y="382"/>
                    <a:pt x="362" y="382"/>
                    <a:pt x="362" y="382"/>
                  </a:cubicBezTo>
                  <a:cubicBezTo>
                    <a:pt x="361" y="382"/>
                    <a:pt x="361" y="382"/>
                    <a:pt x="360" y="381"/>
                  </a:cubicBezTo>
                  <a:cubicBezTo>
                    <a:pt x="361" y="381"/>
                    <a:pt x="362" y="382"/>
                    <a:pt x="362" y="382"/>
                  </a:cubicBezTo>
                  <a:cubicBezTo>
                    <a:pt x="364" y="382"/>
                    <a:pt x="363" y="379"/>
                    <a:pt x="360" y="378"/>
                  </a:cubicBezTo>
                  <a:cubicBezTo>
                    <a:pt x="358" y="375"/>
                    <a:pt x="355" y="374"/>
                    <a:pt x="352" y="372"/>
                  </a:cubicBezTo>
                  <a:cubicBezTo>
                    <a:pt x="352" y="372"/>
                    <a:pt x="352" y="372"/>
                    <a:pt x="353" y="372"/>
                  </a:cubicBezTo>
                  <a:cubicBezTo>
                    <a:pt x="353" y="372"/>
                    <a:pt x="354" y="372"/>
                    <a:pt x="355" y="372"/>
                  </a:cubicBezTo>
                  <a:cubicBezTo>
                    <a:pt x="356" y="372"/>
                    <a:pt x="356" y="372"/>
                    <a:pt x="357" y="372"/>
                  </a:cubicBezTo>
                  <a:cubicBezTo>
                    <a:pt x="358" y="372"/>
                    <a:pt x="358" y="372"/>
                    <a:pt x="358" y="372"/>
                  </a:cubicBezTo>
                  <a:cubicBezTo>
                    <a:pt x="359" y="371"/>
                    <a:pt x="357" y="369"/>
                    <a:pt x="359" y="369"/>
                  </a:cubicBezTo>
                  <a:cubicBezTo>
                    <a:pt x="359" y="369"/>
                    <a:pt x="359" y="369"/>
                    <a:pt x="360" y="369"/>
                  </a:cubicBezTo>
                  <a:cubicBezTo>
                    <a:pt x="360" y="369"/>
                    <a:pt x="359" y="368"/>
                    <a:pt x="360" y="368"/>
                  </a:cubicBezTo>
                  <a:cubicBezTo>
                    <a:pt x="360" y="368"/>
                    <a:pt x="360" y="368"/>
                    <a:pt x="360" y="368"/>
                  </a:cubicBezTo>
                  <a:cubicBezTo>
                    <a:pt x="362" y="369"/>
                    <a:pt x="361" y="371"/>
                    <a:pt x="360" y="372"/>
                  </a:cubicBezTo>
                  <a:cubicBezTo>
                    <a:pt x="359" y="375"/>
                    <a:pt x="358" y="374"/>
                    <a:pt x="360" y="376"/>
                  </a:cubicBezTo>
                  <a:cubicBezTo>
                    <a:pt x="361" y="377"/>
                    <a:pt x="362" y="378"/>
                    <a:pt x="363" y="378"/>
                  </a:cubicBezTo>
                  <a:cubicBezTo>
                    <a:pt x="364" y="378"/>
                    <a:pt x="364" y="377"/>
                    <a:pt x="365" y="377"/>
                  </a:cubicBezTo>
                  <a:cubicBezTo>
                    <a:pt x="366" y="377"/>
                    <a:pt x="367" y="376"/>
                    <a:pt x="367" y="376"/>
                  </a:cubicBezTo>
                  <a:cubicBezTo>
                    <a:pt x="368" y="376"/>
                    <a:pt x="368" y="376"/>
                    <a:pt x="368" y="377"/>
                  </a:cubicBezTo>
                  <a:cubicBezTo>
                    <a:pt x="369" y="377"/>
                    <a:pt x="369" y="377"/>
                    <a:pt x="370" y="377"/>
                  </a:cubicBezTo>
                  <a:cubicBezTo>
                    <a:pt x="371" y="377"/>
                    <a:pt x="372" y="375"/>
                    <a:pt x="372" y="374"/>
                  </a:cubicBezTo>
                  <a:cubicBezTo>
                    <a:pt x="373" y="376"/>
                    <a:pt x="372" y="378"/>
                    <a:pt x="375" y="380"/>
                  </a:cubicBezTo>
                  <a:cubicBezTo>
                    <a:pt x="374" y="380"/>
                    <a:pt x="374" y="380"/>
                    <a:pt x="374" y="380"/>
                  </a:cubicBezTo>
                  <a:cubicBezTo>
                    <a:pt x="372" y="380"/>
                    <a:pt x="369" y="380"/>
                    <a:pt x="373" y="382"/>
                  </a:cubicBezTo>
                  <a:cubicBezTo>
                    <a:pt x="372" y="382"/>
                    <a:pt x="372" y="382"/>
                    <a:pt x="372" y="382"/>
                  </a:cubicBezTo>
                  <a:cubicBezTo>
                    <a:pt x="372" y="382"/>
                    <a:pt x="373" y="384"/>
                    <a:pt x="373" y="384"/>
                  </a:cubicBezTo>
                  <a:cubicBezTo>
                    <a:pt x="373" y="385"/>
                    <a:pt x="373" y="385"/>
                    <a:pt x="373" y="385"/>
                  </a:cubicBezTo>
                  <a:cubicBezTo>
                    <a:pt x="372" y="385"/>
                    <a:pt x="372" y="385"/>
                    <a:pt x="371" y="384"/>
                  </a:cubicBezTo>
                  <a:cubicBezTo>
                    <a:pt x="373" y="385"/>
                    <a:pt x="373" y="386"/>
                    <a:pt x="372" y="388"/>
                  </a:cubicBezTo>
                  <a:cubicBezTo>
                    <a:pt x="378" y="386"/>
                    <a:pt x="374" y="387"/>
                    <a:pt x="376" y="384"/>
                  </a:cubicBezTo>
                  <a:cubicBezTo>
                    <a:pt x="378" y="384"/>
                    <a:pt x="378" y="384"/>
                    <a:pt x="378" y="384"/>
                  </a:cubicBezTo>
                  <a:cubicBezTo>
                    <a:pt x="378" y="384"/>
                    <a:pt x="378" y="384"/>
                    <a:pt x="378" y="384"/>
                  </a:cubicBezTo>
                  <a:cubicBezTo>
                    <a:pt x="378" y="384"/>
                    <a:pt x="378" y="384"/>
                    <a:pt x="378" y="384"/>
                  </a:cubicBezTo>
                  <a:cubicBezTo>
                    <a:pt x="378" y="384"/>
                    <a:pt x="378" y="383"/>
                    <a:pt x="379" y="383"/>
                  </a:cubicBezTo>
                  <a:cubicBezTo>
                    <a:pt x="379" y="383"/>
                    <a:pt x="379" y="384"/>
                    <a:pt x="380" y="384"/>
                  </a:cubicBezTo>
                  <a:cubicBezTo>
                    <a:pt x="378" y="382"/>
                    <a:pt x="378" y="381"/>
                    <a:pt x="376" y="379"/>
                  </a:cubicBezTo>
                  <a:cubicBezTo>
                    <a:pt x="376" y="379"/>
                    <a:pt x="376" y="379"/>
                    <a:pt x="376" y="379"/>
                  </a:cubicBezTo>
                  <a:cubicBezTo>
                    <a:pt x="377" y="379"/>
                    <a:pt x="378" y="379"/>
                    <a:pt x="379" y="380"/>
                  </a:cubicBezTo>
                  <a:cubicBezTo>
                    <a:pt x="380" y="380"/>
                    <a:pt x="381" y="381"/>
                    <a:pt x="382" y="381"/>
                  </a:cubicBezTo>
                  <a:cubicBezTo>
                    <a:pt x="382" y="381"/>
                    <a:pt x="383" y="381"/>
                    <a:pt x="383" y="380"/>
                  </a:cubicBezTo>
                  <a:cubicBezTo>
                    <a:pt x="383" y="380"/>
                    <a:pt x="382" y="378"/>
                    <a:pt x="382" y="377"/>
                  </a:cubicBezTo>
                  <a:cubicBezTo>
                    <a:pt x="382" y="377"/>
                    <a:pt x="383" y="377"/>
                    <a:pt x="383" y="377"/>
                  </a:cubicBezTo>
                  <a:cubicBezTo>
                    <a:pt x="384" y="377"/>
                    <a:pt x="387" y="378"/>
                    <a:pt x="387" y="379"/>
                  </a:cubicBezTo>
                  <a:cubicBezTo>
                    <a:pt x="387" y="380"/>
                    <a:pt x="387" y="382"/>
                    <a:pt x="388" y="382"/>
                  </a:cubicBezTo>
                  <a:cubicBezTo>
                    <a:pt x="388" y="382"/>
                    <a:pt x="388" y="382"/>
                    <a:pt x="388" y="382"/>
                  </a:cubicBezTo>
                  <a:cubicBezTo>
                    <a:pt x="390" y="381"/>
                    <a:pt x="390" y="381"/>
                    <a:pt x="391" y="380"/>
                  </a:cubicBezTo>
                  <a:cubicBezTo>
                    <a:pt x="391" y="379"/>
                    <a:pt x="389" y="378"/>
                    <a:pt x="391" y="377"/>
                  </a:cubicBezTo>
                  <a:cubicBezTo>
                    <a:pt x="392" y="380"/>
                    <a:pt x="392" y="381"/>
                    <a:pt x="390" y="383"/>
                  </a:cubicBezTo>
                  <a:cubicBezTo>
                    <a:pt x="390" y="384"/>
                    <a:pt x="386" y="383"/>
                    <a:pt x="389" y="385"/>
                  </a:cubicBezTo>
                  <a:cubicBezTo>
                    <a:pt x="389" y="385"/>
                    <a:pt x="389" y="385"/>
                    <a:pt x="388" y="385"/>
                  </a:cubicBezTo>
                  <a:cubicBezTo>
                    <a:pt x="387" y="385"/>
                    <a:pt x="387" y="386"/>
                    <a:pt x="387" y="387"/>
                  </a:cubicBezTo>
                  <a:cubicBezTo>
                    <a:pt x="387" y="387"/>
                    <a:pt x="388" y="387"/>
                    <a:pt x="388" y="388"/>
                  </a:cubicBezTo>
                  <a:cubicBezTo>
                    <a:pt x="389" y="389"/>
                    <a:pt x="389" y="389"/>
                    <a:pt x="389" y="389"/>
                  </a:cubicBezTo>
                  <a:cubicBezTo>
                    <a:pt x="389" y="391"/>
                    <a:pt x="389" y="391"/>
                    <a:pt x="389" y="391"/>
                  </a:cubicBezTo>
                  <a:cubicBezTo>
                    <a:pt x="389" y="391"/>
                    <a:pt x="389" y="391"/>
                    <a:pt x="390" y="391"/>
                  </a:cubicBezTo>
                  <a:cubicBezTo>
                    <a:pt x="390" y="391"/>
                    <a:pt x="390" y="390"/>
                    <a:pt x="391" y="390"/>
                  </a:cubicBezTo>
                  <a:cubicBezTo>
                    <a:pt x="392" y="390"/>
                    <a:pt x="392" y="390"/>
                    <a:pt x="392" y="390"/>
                  </a:cubicBezTo>
                  <a:cubicBezTo>
                    <a:pt x="396" y="390"/>
                    <a:pt x="399" y="395"/>
                    <a:pt x="401" y="398"/>
                  </a:cubicBezTo>
                  <a:cubicBezTo>
                    <a:pt x="398" y="398"/>
                    <a:pt x="400" y="399"/>
                    <a:pt x="401" y="401"/>
                  </a:cubicBezTo>
                  <a:cubicBezTo>
                    <a:pt x="402" y="402"/>
                    <a:pt x="402" y="402"/>
                    <a:pt x="403" y="402"/>
                  </a:cubicBezTo>
                  <a:cubicBezTo>
                    <a:pt x="404" y="402"/>
                    <a:pt x="405" y="400"/>
                    <a:pt x="405" y="398"/>
                  </a:cubicBezTo>
                  <a:cubicBezTo>
                    <a:pt x="406" y="400"/>
                    <a:pt x="406" y="401"/>
                    <a:pt x="407" y="403"/>
                  </a:cubicBezTo>
                  <a:cubicBezTo>
                    <a:pt x="407" y="404"/>
                    <a:pt x="406" y="403"/>
                    <a:pt x="406" y="404"/>
                  </a:cubicBezTo>
                  <a:cubicBezTo>
                    <a:pt x="406" y="407"/>
                    <a:pt x="406" y="407"/>
                    <a:pt x="406" y="407"/>
                  </a:cubicBezTo>
                  <a:cubicBezTo>
                    <a:pt x="407" y="408"/>
                    <a:pt x="408" y="409"/>
                    <a:pt x="408" y="409"/>
                  </a:cubicBezTo>
                  <a:cubicBezTo>
                    <a:pt x="410" y="409"/>
                    <a:pt x="411" y="408"/>
                    <a:pt x="412" y="407"/>
                  </a:cubicBezTo>
                  <a:cubicBezTo>
                    <a:pt x="413" y="406"/>
                    <a:pt x="414" y="405"/>
                    <a:pt x="415" y="405"/>
                  </a:cubicBezTo>
                  <a:cubicBezTo>
                    <a:pt x="415" y="405"/>
                    <a:pt x="415" y="406"/>
                    <a:pt x="415" y="406"/>
                  </a:cubicBezTo>
                  <a:cubicBezTo>
                    <a:pt x="415" y="404"/>
                    <a:pt x="415" y="405"/>
                    <a:pt x="415" y="403"/>
                  </a:cubicBezTo>
                  <a:cubicBezTo>
                    <a:pt x="415" y="404"/>
                    <a:pt x="416" y="410"/>
                    <a:pt x="415" y="410"/>
                  </a:cubicBezTo>
                  <a:cubicBezTo>
                    <a:pt x="415" y="410"/>
                    <a:pt x="415" y="410"/>
                    <a:pt x="415" y="410"/>
                  </a:cubicBezTo>
                  <a:cubicBezTo>
                    <a:pt x="415" y="410"/>
                    <a:pt x="414" y="410"/>
                    <a:pt x="414" y="410"/>
                  </a:cubicBezTo>
                  <a:cubicBezTo>
                    <a:pt x="414" y="410"/>
                    <a:pt x="414" y="410"/>
                    <a:pt x="413" y="410"/>
                  </a:cubicBezTo>
                  <a:cubicBezTo>
                    <a:pt x="413" y="410"/>
                    <a:pt x="413" y="410"/>
                    <a:pt x="413" y="410"/>
                  </a:cubicBezTo>
                  <a:cubicBezTo>
                    <a:pt x="413" y="410"/>
                    <a:pt x="414" y="412"/>
                    <a:pt x="413" y="413"/>
                  </a:cubicBezTo>
                  <a:cubicBezTo>
                    <a:pt x="414" y="413"/>
                    <a:pt x="416" y="410"/>
                    <a:pt x="416" y="410"/>
                  </a:cubicBezTo>
                  <a:cubicBezTo>
                    <a:pt x="416" y="410"/>
                    <a:pt x="416" y="410"/>
                    <a:pt x="417" y="410"/>
                  </a:cubicBezTo>
                  <a:cubicBezTo>
                    <a:pt x="418" y="410"/>
                    <a:pt x="420" y="412"/>
                    <a:pt x="421" y="412"/>
                  </a:cubicBezTo>
                  <a:cubicBezTo>
                    <a:pt x="422" y="412"/>
                    <a:pt x="422" y="412"/>
                    <a:pt x="423" y="412"/>
                  </a:cubicBezTo>
                  <a:cubicBezTo>
                    <a:pt x="425" y="412"/>
                    <a:pt x="424" y="410"/>
                    <a:pt x="422" y="409"/>
                  </a:cubicBezTo>
                  <a:cubicBezTo>
                    <a:pt x="422" y="409"/>
                    <a:pt x="423" y="409"/>
                    <a:pt x="423" y="409"/>
                  </a:cubicBezTo>
                  <a:cubicBezTo>
                    <a:pt x="425" y="409"/>
                    <a:pt x="428" y="411"/>
                    <a:pt x="430" y="412"/>
                  </a:cubicBezTo>
                  <a:cubicBezTo>
                    <a:pt x="432" y="413"/>
                    <a:pt x="431" y="415"/>
                    <a:pt x="431" y="417"/>
                  </a:cubicBezTo>
                  <a:cubicBezTo>
                    <a:pt x="432" y="416"/>
                    <a:pt x="434" y="415"/>
                    <a:pt x="435" y="415"/>
                  </a:cubicBezTo>
                  <a:cubicBezTo>
                    <a:pt x="435" y="415"/>
                    <a:pt x="435" y="415"/>
                    <a:pt x="435" y="415"/>
                  </a:cubicBezTo>
                  <a:cubicBezTo>
                    <a:pt x="436" y="415"/>
                    <a:pt x="437" y="416"/>
                    <a:pt x="438" y="416"/>
                  </a:cubicBezTo>
                  <a:cubicBezTo>
                    <a:pt x="437" y="420"/>
                    <a:pt x="434" y="420"/>
                    <a:pt x="431" y="421"/>
                  </a:cubicBezTo>
                  <a:cubicBezTo>
                    <a:pt x="431" y="421"/>
                    <a:pt x="432" y="422"/>
                    <a:pt x="430" y="423"/>
                  </a:cubicBezTo>
                  <a:cubicBezTo>
                    <a:pt x="430" y="423"/>
                    <a:pt x="429" y="423"/>
                    <a:pt x="429" y="423"/>
                  </a:cubicBezTo>
                  <a:cubicBezTo>
                    <a:pt x="428" y="423"/>
                    <a:pt x="426" y="422"/>
                    <a:pt x="425" y="422"/>
                  </a:cubicBezTo>
                  <a:cubicBezTo>
                    <a:pt x="424" y="422"/>
                    <a:pt x="419" y="422"/>
                    <a:pt x="418" y="422"/>
                  </a:cubicBezTo>
                  <a:cubicBezTo>
                    <a:pt x="418" y="422"/>
                    <a:pt x="418" y="422"/>
                    <a:pt x="418" y="422"/>
                  </a:cubicBezTo>
                  <a:cubicBezTo>
                    <a:pt x="417" y="423"/>
                    <a:pt x="423" y="426"/>
                    <a:pt x="424" y="427"/>
                  </a:cubicBezTo>
                  <a:cubicBezTo>
                    <a:pt x="427" y="428"/>
                    <a:pt x="426" y="430"/>
                    <a:pt x="428" y="431"/>
                  </a:cubicBezTo>
                  <a:cubicBezTo>
                    <a:pt x="427" y="433"/>
                    <a:pt x="432" y="433"/>
                    <a:pt x="433" y="433"/>
                  </a:cubicBezTo>
                  <a:cubicBezTo>
                    <a:pt x="436" y="434"/>
                    <a:pt x="440" y="434"/>
                    <a:pt x="443" y="434"/>
                  </a:cubicBezTo>
                  <a:cubicBezTo>
                    <a:pt x="444" y="434"/>
                    <a:pt x="444" y="434"/>
                    <a:pt x="444" y="434"/>
                  </a:cubicBezTo>
                  <a:cubicBezTo>
                    <a:pt x="444" y="433"/>
                    <a:pt x="445" y="432"/>
                    <a:pt x="446" y="432"/>
                  </a:cubicBezTo>
                  <a:cubicBezTo>
                    <a:pt x="446" y="434"/>
                    <a:pt x="445" y="436"/>
                    <a:pt x="444" y="437"/>
                  </a:cubicBezTo>
                  <a:cubicBezTo>
                    <a:pt x="444" y="437"/>
                    <a:pt x="443" y="437"/>
                    <a:pt x="443" y="437"/>
                  </a:cubicBezTo>
                  <a:cubicBezTo>
                    <a:pt x="443" y="437"/>
                    <a:pt x="443" y="437"/>
                    <a:pt x="442" y="437"/>
                  </a:cubicBezTo>
                  <a:cubicBezTo>
                    <a:pt x="442" y="437"/>
                    <a:pt x="442" y="437"/>
                    <a:pt x="442" y="437"/>
                  </a:cubicBezTo>
                  <a:cubicBezTo>
                    <a:pt x="441" y="437"/>
                    <a:pt x="441" y="437"/>
                    <a:pt x="441" y="438"/>
                  </a:cubicBezTo>
                  <a:cubicBezTo>
                    <a:pt x="440" y="442"/>
                    <a:pt x="470" y="446"/>
                    <a:pt x="473" y="447"/>
                  </a:cubicBezTo>
                  <a:cubicBezTo>
                    <a:pt x="472" y="446"/>
                    <a:pt x="470" y="445"/>
                    <a:pt x="472" y="445"/>
                  </a:cubicBezTo>
                  <a:cubicBezTo>
                    <a:pt x="472" y="445"/>
                    <a:pt x="472" y="445"/>
                    <a:pt x="472" y="445"/>
                  </a:cubicBezTo>
                  <a:cubicBezTo>
                    <a:pt x="474" y="445"/>
                    <a:pt x="479" y="447"/>
                    <a:pt x="481" y="447"/>
                  </a:cubicBezTo>
                  <a:cubicBezTo>
                    <a:pt x="480" y="448"/>
                    <a:pt x="479" y="449"/>
                    <a:pt x="480" y="450"/>
                  </a:cubicBezTo>
                  <a:cubicBezTo>
                    <a:pt x="479" y="450"/>
                    <a:pt x="479" y="450"/>
                    <a:pt x="478" y="450"/>
                  </a:cubicBezTo>
                  <a:cubicBezTo>
                    <a:pt x="477" y="450"/>
                    <a:pt x="477" y="450"/>
                    <a:pt x="478" y="451"/>
                  </a:cubicBezTo>
                  <a:cubicBezTo>
                    <a:pt x="478" y="453"/>
                    <a:pt x="479" y="454"/>
                    <a:pt x="480" y="454"/>
                  </a:cubicBezTo>
                  <a:cubicBezTo>
                    <a:pt x="481" y="454"/>
                    <a:pt x="482" y="453"/>
                    <a:pt x="484" y="452"/>
                  </a:cubicBezTo>
                  <a:cubicBezTo>
                    <a:pt x="483" y="457"/>
                    <a:pt x="485" y="458"/>
                    <a:pt x="489" y="460"/>
                  </a:cubicBezTo>
                  <a:cubicBezTo>
                    <a:pt x="496" y="464"/>
                    <a:pt x="506" y="466"/>
                    <a:pt x="514" y="468"/>
                  </a:cubicBezTo>
                  <a:cubicBezTo>
                    <a:pt x="514" y="467"/>
                    <a:pt x="514" y="467"/>
                    <a:pt x="514" y="466"/>
                  </a:cubicBezTo>
                  <a:cubicBezTo>
                    <a:pt x="515" y="467"/>
                    <a:pt x="515" y="468"/>
                    <a:pt x="517" y="469"/>
                  </a:cubicBezTo>
                  <a:cubicBezTo>
                    <a:pt x="525" y="471"/>
                    <a:pt x="534" y="474"/>
                    <a:pt x="543" y="476"/>
                  </a:cubicBezTo>
                  <a:cubicBezTo>
                    <a:pt x="547" y="477"/>
                    <a:pt x="550" y="478"/>
                    <a:pt x="553" y="479"/>
                  </a:cubicBezTo>
                  <a:cubicBezTo>
                    <a:pt x="554" y="479"/>
                    <a:pt x="554" y="479"/>
                    <a:pt x="555" y="479"/>
                  </a:cubicBezTo>
                  <a:cubicBezTo>
                    <a:pt x="557" y="479"/>
                    <a:pt x="559" y="479"/>
                    <a:pt x="561" y="478"/>
                  </a:cubicBezTo>
                  <a:cubicBezTo>
                    <a:pt x="561" y="477"/>
                    <a:pt x="558" y="475"/>
                    <a:pt x="557" y="474"/>
                  </a:cubicBezTo>
                  <a:cubicBezTo>
                    <a:pt x="557" y="472"/>
                    <a:pt x="557" y="471"/>
                    <a:pt x="556" y="470"/>
                  </a:cubicBezTo>
                  <a:cubicBezTo>
                    <a:pt x="556" y="471"/>
                    <a:pt x="558" y="472"/>
                    <a:pt x="559" y="472"/>
                  </a:cubicBezTo>
                  <a:cubicBezTo>
                    <a:pt x="559" y="472"/>
                    <a:pt x="559" y="472"/>
                    <a:pt x="560" y="472"/>
                  </a:cubicBezTo>
                  <a:cubicBezTo>
                    <a:pt x="561" y="471"/>
                    <a:pt x="559" y="468"/>
                    <a:pt x="562" y="467"/>
                  </a:cubicBezTo>
                  <a:cubicBezTo>
                    <a:pt x="560" y="465"/>
                    <a:pt x="557" y="467"/>
                    <a:pt x="554" y="465"/>
                  </a:cubicBezTo>
                  <a:cubicBezTo>
                    <a:pt x="555" y="465"/>
                    <a:pt x="555" y="465"/>
                    <a:pt x="555" y="465"/>
                  </a:cubicBezTo>
                  <a:cubicBezTo>
                    <a:pt x="555" y="465"/>
                    <a:pt x="555" y="465"/>
                    <a:pt x="555" y="465"/>
                  </a:cubicBezTo>
                  <a:cubicBezTo>
                    <a:pt x="556" y="465"/>
                    <a:pt x="556" y="465"/>
                    <a:pt x="556" y="465"/>
                  </a:cubicBezTo>
                  <a:cubicBezTo>
                    <a:pt x="556" y="465"/>
                    <a:pt x="556" y="465"/>
                    <a:pt x="556" y="465"/>
                  </a:cubicBezTo>
                  <a:cubicBezTo>
                    <a:pt x="555" y="463"/>
                    <a:pt x="554" y="462"/>
                    <a:pt x="554" y="462"/>
                  </a:cubicBezTo>
                  <a:cubicBezTo>
                    <a:pt x="553" y="462"/>
                    <a:pt x="553" y="463"/>
                    <a:pt x="552" y="463"/>
                  </a:cubicBezTo>
                  <a:cubicBezTo>
                    <a:pt x="552" y="463"/>
                    <a:pt x="552" y="463"/>
                    <a:pt x="551" y="463"/>
                  </a:cubicBezTo>
                  <a:cubicBezTo>
                    <a:pt x="551" y="463"/>
                    <a:pt x="550" y="463"/>
                    <a:pt x="549" y="462"/>
                  </a:cubicBezTo>
                  <a:cubicBezTo>
                    <a:pt x="550" y="462"/>
                    <a:pt x="551" y="461"/>
                    <a:pt x="552" y="461"/>
                  </a:cubicBezTo>
                  <a:cubicBezTo>
                    <a:pt x="552" y="459"/>
                    <a:pt x="549" y="459"/>
                    <a:pt x="549" y="459"/>
                  </a:cubicBezTo>
                  <a:cubicBezTo>
                    <a:pt x="548" y="459"/>
                    <a:pt x="548" y="459"/>
                    <a:pt x="548" y="459"/>
                  </a:cubicBezTo>
                  <a:cubicBezTo>
                    <a:pt x="548" y="457"/>
                    <a:pt x="548" y="456"/>
                    <a:pt x="547" y="454"/>
                  </a:cubicBezTo>
                  <a:cubicBezTo>
                    <a:pt x="547" y="453"/>
                    <a:pt x="545" y="453"/>
                    <a:pt x="544" y="452"/>
                  </a:cubicBezTo>
                  <a:cubicBezTo>
                    <a:pt x="544" y="452"/>
                    <a:pt x="542" y="450"/>
                    <a:pt x="542" y="450"/>
                  </a:cubicBezTo>
                  <a:cubicBezTo>
                    <a:pt x="541" y="450"/>
                    <a:pt x="541" y="450"/>
                    <a:pt x="541" y="450"/>
                  </a:cubicBezTo>
                  <a:cubicBezTo>
                    <a:pt x="540" y="450"/>
                    <a:pt x="540" y="450"/>
                    <a:pt x="539" y="450"/>
                  </a:cubicBezTo>
                  <a:cubicBezTo>
                    <a:pt x="538" y="450"/>
                    <a:pt x="538" y="451"/>
                    <a:pt x="537" y="451"/>
                  </a:cubicBezTo>
                  <a:cubicBezTo>
                    <a:pt x="537" y="451"/>
                    <a:pt x="536" y="450"/>
                    <a:pt x="536" y="449"/>
                  </a:cubicBezTo>
                  <a:cubicBezTo>
                    <a:pt x="535" y="447"/>
                    <a:pt x="534" y="446"/>
                    <a:pt x="533" y="445"/>
                  </a:cubicBezTo>
                  <a:cubicBezTo>
                    <a:pt x="532" y="444"/>
                    <a:pt x="531" y="446"/>
                    <a:pt x="531" y="443"/>
                  </a:cubicBezTo>
                  <a:cubicBezTo>
                    <a:pt x="530" y="443"/>
                    <a:pt x="530" y="443"/>
                    <a:pt x="529" y="443"/>
                  </a:cubicBezTo>
                  <a:cubicBezTo>
                    <a:pt x="532" y="443"/>
                    <a:pt x="530" y="442"/>
                    <a:pt x="528" y="440"/>
                  </a:cubicBezTo>
                  <a:cubicBezTo>
                    <a:pt x="528" y="441"/>
                    <a:pt x="528" y="441"/>
                    <a:pt x="528" y="441"/>
                  </a:cubicBezTo>
                  <a:cubicBezTo>
                    <a:pt x="527" y="440"/>
                    <a:pt x="527" y="439"/>
                    <a:pt x="526" y="439"/>
                  </a:cubicBezTo>
                  <a:cubicBezTo>
                    <a:pt x="526" y="439"/>
                    <a:pt x="526" y="439"/>
                    <a:pt x="526" y="439"/>
                  </a:cubicBezTo>
                  <a:cubicBezTo>
                    <a:pt x="525" y="439"/>
                    <a:pt x="524" y="439"/>
                    <a:pt x="524" y="440"/>
                  </a:cubicBezTo>
                  <a:cubicBezTo>
                    <a:pt x="523" y="440"/>
                    <a:pt x="522" y="441"/>
                    <a:pt x="521" y="441"/>
                  </a:cubicBezTo>
                  <a:cubicBezTo>
                    <a:pt x="521" y="441"/>
                    <a:pt x="521" y="441"/>
                    <a:pt x="521" y="441"/>
                  </a:cubicBezTo>
                  <a:cubicBezTo>
                    <a:pt x="522" y="440"/>
                    <a:pt x="524" y="439"/>
                    <a:pt x="525" y="438"/>
                  </a:cubicBezTo>
                  <a:cubicBezTo>
                    <a:pt x="524" y="437"/>
                    <a:pt x="524" y="437"/>
                    <a:pt x="523" y="437"/>
                  </a:cubicBezTo>
                  <a:cubicBezTo>
                    <a:pt x="522" y="437"/>
                    <a:pt x="521" y="438"/>
                    <a:pt x="520" y="438"/>
                  </a:cubicBezTo>
                  <a:cubicBezTo>
                    <a:pt x="520" y="438"/>
                    <a:pt x="520" y="440"/>
                    <a:pt x="520" y="440"/>
                  </a:cubicBezTo>
                  <a:cubicBezTo>
                    <a:pt x="519" y="440"/>
                    <a:pt x="519" y="439"/>
                    <a:pt x="519" y="438"/>
                  </a:cubicBezTo>
                  <a:cubicBezTo>
                    <a:pt x="520" y="437"/>
                    <a:pt x="521" y="436"/>
                    <a:pt x="523" y="436"/>
                  </a:cubicBezTo>
                  <a:cubicBezTo>
                    <a:pt x="522" y="436"/>
                    <a:pt x="517" y="434"/>
                    <a:pt x="517" y="434"/>
                  </a:cubicBezTo>
                  <a:cubicBezTo>
                    <a:pt x="517" y="434"/>
                    <a:pt x="517" y="434"/>
                    <a:pt x="517" y="434"/>
                  </a:cubicBezTo>
                  <a:cubicBezTo>
                    <a:pt x="516" y="434"/>
                    <a:pt x="515" y="436"/>
                    <a:pt x="515" y="436"/>
                  </a:cubicBezTo>
                  <a:cubicBezTo>
                    <a:pt x="514" y="436"/>
                    <a:pt x="514" y="435"/>
                    <a:pt x="514" y="433"/>
                  </a:cubicBezTo>
                  <a:cubicBezTo>
                    <a:pt x="514" y="434"/>
                    <a:pt x="514" y="434"/>
                    <a:pt x="514" y="434"/>
                  </a:cubicBezTo>
                  <a:cubicBezTo>
                    <a:pt x="514" y="433"/>
                    <a:pt x="513" y="432"/>
                    <a:pt x="513" y="432"/>
                  </a:cubicBezTo>
                  <a:cubicBezTo>
                    <a:pt x="512" y="432"/>
                    <a:pt x="512" y="432"/>
                    <a:pt x="512" y="432"/>
                  </a:cubicBezTo>
                  <a:cubicBezTo>
                    <a:pt x="511" y="433"/>
                    <a:pt x="511" y="433"/>
                    <a:pt x="511" y="433"/>
                  </a:cubicBezTo>
                  <a:cubicBezTo>
                    <a:pt x="511" y="433"/>
                    <a:pt x="510" y="433"/>
                    <a:pt x="510" y="433"/>
                  </a:cubicBezTo>
                  <a:cubicBezTo>
                    <a:pt x="508" y="432"/>
                    <a:pt x="508" y="429"/>
                    <a:pt x="507" y="427"/>
                  </a:cubicBezTo>
                  <a:cubicBezTo>
                    <a:pt x="505" y="425"/>
                    <a:pt x="502" y="422"/>
                    <a:pt x="499" y="420"/>
                  </a:cubicBezTo>
                  <a:cubicBezTo>
                    <a:pt x="498" y="419"/>
                    <a:pt x="497" y="418"/>
                    <a:pt x="496" y="417"/>
                  </a:cubicBezTo>
                  <a:cubicBezTo>
                    <a:pt x="495" y="416"/>
                    <a:pt x="492" y="414"/>
                    <a:pt x="492" y="412"/>
                  </a:cubicBezTo>
                  <a:cubicBezTo>
                    <a:pt x="491" y="411"/>
                    <a:pt x="491" y="411"/>
                    <a:pt x="491" y="411"/>
                  </a:cubicBezTo>
                  <a:cubicBezTo>
                    <a:pt x="492" y="411"/>
                    <a:pt x="493" y="411"/>
                    <a:pt x="494" y="411"/>
                  </a:cubicBezTo>
                  <a:cubicBezTo>
                    <a:pt x="495" y="411"/>
                    <a:pt x="495" y="411"/>
                    <a:pt x="496" y="411"/>
                  </a:cubicBezTo>
                  <a:cubicBezTo>
                    <a:pt x="496" y="408"/>
                    <a:pt x="499" y="405"/>
                    <a:pt x="502" y="405"/>
                  </a:cubicBezTo>
                  <a:cubicBezTo>
                    <a:pt x="506" y="405"/>
                    <a:pt x="509" y="408"/>
                    <a:pt x="509" y="411"/>
                  </a:cubicBezTo>
                  <a:cubicBezTo>
                    <a:pt x="509" y="412"/>
                    <a:pt x="508" y="414"/>
                    <a:pt x="508" y="414"/>
                  </a:cubicBezTo>
                  <a:cubicBezTo>
                    <a:pt x="508" y="414"/>
                    <a:pt x="508" y="414"/>
                    <a:pt x="508" y="414"/>
                  </a:cubicBezTo>
                  <a:cubicBezTo>
                    <a:pt x="509" y="415"/>
                    <a:pt x="509" y="416"/>
                    <a:pt x="509" y="416"/>
                  </a:cubicBezTo>
                  <a:cubicBezTo>
                    <a:pt x="508" y="416"/>
                    <a:pt x="509" y="416"/>
                    <a:pt x="509" y="416"/>
                  </a:cubicBezTo>
                  <a:cubicBezTo>
                    <a:pt x="509" y="416"/>
                    <a:pt x="509" y="416"/>
                    <a:pt x="509" y="416"/>
                  </a:cubicBezTo>
                  <a:cubicBezTo>
                    <a:pt x="509" y="416"/>
                    <a:pt x="509" y="416"/>
                    <a:pt x="510" y="416"/>
                  </a:cubicBezTo>
                  <a:cubicBezTo>
                    <a:pt x="510" y="416"/>
                    <a:pt x="510" y="416"/>
                    <a:pt x="510" y="416"/>
                  </a:cubicBezTo>
                  <a:cubicBezTo>
                    <a:pt x="511" y="417"/>
                    <a:pt x="512" y="418"/>
                    <a:pt x="514" y="419"/>
                  </a:cubicBezTo>
                  <a:cubicBezTo>
                    <a:pt x="514" y="418"/>
                    <a:pt x="514" y="418"/>
                    <a:pt x="514" y="418"/>
                  </a:cubicBezTo>
                  <a:cubicBezTo>
                    <a:pt x="514" y="419"/>
                    <a:pt x="514" y="419"/>
                    <a:pt x="514" y="419"/>
                  </a:cubicBezTo>
                  <a:cubicBezTo>
                    <a:pt x="515" y="420"/>
                    <a:pt x="517" y="422"/>
                    <a:pt x="518" y="423"/>
                  </a:cubicBezTo>
                  <a:cubicBezTo>
                    <a:pt x="519" y="424"/>
                    <a:pt x="520" y="425"/>
                    <a:pt x="520" y="425"/>
                  </a:cubicBezTo>
                  <a:cubicBezTo>
                    <a:pt x="521" y="425"/>
                    <a:pt x="521" y="423"/>
                    <a:pt x="520" y="421"/>
                  </a:cubicBezTo>
                  <a:cubicBezTo>
                    <a:pt x="519" y="419"/>
                    <a:pt x="519" y="418"/>
                    <a:pt x="518" y="416"/>
                  </a:cubicBezTo>
                  <a:cubicBezTo>
                    <a:pt x="518" y="416"/>
                    <a:pt x="516" y="412"/>
                    <a:pt x="516" y="411"/>
                  </a:cubicBezTo>
                  <a:cubicBezTo>
                    <a:pt x="516" y="411"/>
                    <a:pt x="516" y="411"/>
                    <a:pt x="516" y="411"/>
                  </a:cubicBezTo>
                  <a:cubicBezTo>
                    <a:pt x="518" y="411"/>
                    <a:pt x="518" y="414"/>
                    <a:pt x="519" y="415"/>
                  </a:cubicBezTo>
                  <a:cubicBezTo>
                    <a:pt x="519" y="415"/>
                    <a:pt x="519" y="415"/>
                    <a:pt x="519" y="415"/>
                  </a:cubicBezTo>
                  <a:cubicBezTo>
                    <a:pt x="519" y="415"/>
                    <a:pt x="520" y="415"/>
                    <a:pt x="520" y="414"/>
                  </a:cubicBezTo>
                  <a:cubicBezTo>
                    <a:pt x="520" y="414"/>
                    <a:pt x="521" y="414"/>
                    <a:pt x="521" y="414"/>
                  </a:cubicBezTo>
                  <a:cubicBezTo>
                    <a:pt x="521" y="414"/>
                    <a:pt x="521" y="414"/>
                    <a:pt x="521" y="414"/>
                  </a:cubicBezTo>
                  <a:cubicBezTo>
                    <a:pt x="521" y="414"/>
                    <a:pt x="522" y="416"/>
                    <a:pt x="522" y="417"/>
                  </a:cubicBezTo>
                  <a:cubicBezTo>
                    <a:pt x="523" y="418"/>
                    <a:pt x="524" y="419"/>
                    <a:pt x="525" y="420"/>
                  </a:cubicBezTo>
                  <a:cubicBezTo>
                    <a:pt x="525" y="421"/>
                    <a:pt x="526" y="423"/>
                    <a:pt x="527" y="423"/>
                  </a:cubicBezTo>
                  <a:cubicBezTo>
                    <a:pt x="527" y="423"/>
                    <a:pt x="528" y="423"/>
                    <a:pt x="528" y="423"/>
                  </a:cubicBezTo>
                  <a:cubicBezTo>
                    <a:pt x="529" y="426"/>
                    <a:pt x="533" y="428"/>
                    <a:pt x="536" y="428"/>
                  </a:cubicBezTo>
                  <a:cubicBezTo>
                    <a:pt x="536" y="428"/>
                    <a:pt x="536" y="428"/>
                    <a:pt x="536" y="428"/>
                  </a:cubicBezTo>
                  <a:cubicBezTo>
                    <a:pt x="537" y="428"/>
                    <a:pt x="537" y="427"/>
                    <a:pt x="537" y="427"/>
                  </a:cubicBezTo>
                  <a:cubicBezTo>
                    <a:pt x="538" y="427"/>
                    <a:pt x="538" y="428"/>
                    <a:pt x="538" y="428"/>
                  </a:cubicBezTo>
                  <a:cubicBezTo>
                    <a:pt x="538" y="428"/>
                    <a:pt x="537" y="429"/>
                    <a:pt x="537" y="430"/>
                  </a:cubicBezTo>
                  <a:cubicBezTo>
                    <a:pt x="538" y="430"/>
                    <a:pt x="538" y="430"/>
                    <a:pt x="538" y="431"/>
                  </a:cubicBezTo>
                  <a:cubicBezTo>
                    <a:pt x="539" y="432"/>
                    <a:pt x="540" y="433"/>
                    <a:pt x="541" y="433"/>
                  </a:cubicBezTo>
                  <a:cubicBezTo>
                    <a:pt x="541" y="433"/>
                    <a:pt x="542" y="432"/>
                    <a:pt x="543" y="431"/>
                  </a:cubicBezTo>
                  <a:cubicBezTo>
                    <a:pt x="542" y="433"/>
                    <a:pt x="542" y="434"/>
                    <a:pt x="543" y="436"/>
                  </a:cubicBezTo>
                  <a:cubicBezTo>
                    <a:pt x="544" y="437"/>
                    <a:pt x="546" y="437"/>
                    <a:pt x="547" y="438"/>
                  </a:cubicBezTo>
                  <a:cubicBezTo>
                    <a:pt x="547" y="437"/>
                    <a:pt x="545" y="436"/>
                    <a:pt x="545" y="435"/>
                  </a:cubicBezTo>
                  <a:cubicBezTo>
                    <a:pt x="545" y="435"/>
                    <a:pt x="546" y="435"/>
                    <a:pt x="546" y="435"/>
                  </a:cubicBezTo>
                  <a:cubicBezTo>
                    <a:pt x="549" y="435"/>
                    <a:pt x="545" y="430"/>
                    <a:pt x="543" y="428"/>
                  </a:cubicBezTo>
                  <a:cubicBezTo>
                    <a:pt x="549" y="429"/>
                    <a:pt x="546" y="436"/>
                    <a:pt x="551" y="438"/>
                  </a:cubicBezTo>
                  <a:cubicBezTo>
                    <a:pt x="552" y="439"/>
                    <a:pt x="554" y="440"/>
                    <a:pt x="556" y="440"/>
                  </a:cubicBezTo>
                  <a:cubicBezTo>
                    <a:pt x="556" y="440"/>
                    <a:pt x="557" y="440"/>
                    <a:pt x="557" y="440"/>
                  </a:cubicBezTo>
                  <a:cubicBezTo>
                    <a:pt x="557" y="440"/>
                    <a:pt x="557" y="440"/>
                    <a:pt x="557" y="439"/>
                  </a:cubicBezTo>
                  <a:cubicBezTo>
                    <a:pt x="557" y="437"/>
                    <a:pt x="555" y="435"/>
                    <a:pt x="554" y="434"/>
                  </a:cubicBezTo>
                  <a:cubicBezTo>
                    <a:pt x="554" y="434"/>
                    <a:pt x="554" y="434"/>
                    <a:pt x="554" y="434"/>
                  </a:cubicBezTo>
                  <a:cubicBezTo>
                    <a:pt x="556" y="434"/>
                    <a:pt x="556" y="435"/>
                    <a:pt x="557" y="436"/>
                  </a:cubicBezTo>
                  <a:cubicBezTo>
                    <a:pt x="558" y="437"/>
                    <a:pt x="558" y="437"/>
                    <a:pt x="558" y="437"/>
                  </a:cubicBezTo>
                  <a:cubicBezTo>
                    <a:pt x="558" y="437"/>
                    <a:pt x="558" y="437"/>
                    <a:pt x="558" y="437"/>
                  </a:cubicBezTo>
                  <a:cubicBezTo>
                    <a:pt x="558" y="437"/>
                    <a:pt x="558" y="437"/>
                    <a:pt x="558" y="437"/>
                  </a:cubicBezTo>
                  <a:cubicBezTo>
                    <a:pt x="558" y="437"/>
                    <a:pt x="559" y="436"/>
                    <a:pt x="559" y="436"/>
                  </a:cubicBezTo>
                  <a:cubicBezTo>
                    <a:pt x="559" y="436"/>
                    <a:pt x="559" y="436"/>
                    <a:pt x="559" y="437"/>
                  </a:cubicBezTo>
                  <a:cubicBezTo>
                    <a:pt x="560" y="437"/>
                    <a:pt x="559" y="439"/>
                    <a:pt x="561" y="439"/>
                  </a:cubicBezTo>
                  <a:cubicBezTo>
                    <a:pt x="561" y="439"/>
                    <a:pt x="561" y="439"/>
                    <a:pt x="561" y="439"/>
                  </a:cubicBezTo>
                  <a:cubicBezTo>
                    <a:pt x="562" y="439"/>
                    <a:pt x="563" y="437"/>
                    <a:pt x="564" y="437"/>
                  </a:cubicBezTo>
                  <a:cubicBezTo>
                    <a:pt x="564" y="438"/>
                    <a:pt x="561" y="440"/>
                    <a:pt x="561" y="440"/>
                  </a:cubicBezTo>
                  <a:cubicBezTo>
                    <a:pt x="561" y="441"/>
                    <a:pt x="563" y="441"/>
                    <a:pt x="563" y="441"/>
                  </a:cubicBezTo>
                  <a:cubicBezTo>
                    <a:pt x="564" y="442"/>
                    <a:pt x="565" y="442"/>
                    <a:pt x="565" y="442"/>
                  </a:cubicBezTo>
                  <a:cubicBezTo>
                    <a:pt x="566" y="442"/>
                    <a:pt x="566" y="441"/>
                    <a:pt x="567" y="439"/>
                  </a:cubicBezTo>
                  <a:cubicBezTo>
                    <a:pt x="566" y="442"/>
                    <a:pt x="569" y="445"/>
                    <a:pt x="572" y="445"/>
                  </a:cubicBezTo>
                  <a:cubicBezTo>
                    <a:pt x="573" y="445"/>
                    <a:pt x="575" y="444"/>
                    <a:pt x="576" y="443"/>
                  </a:cubicBezTo>
                  <a:cubicBezTo>
                    <a:pt x="576" y="444"/>
                    <a:pt x="576" y="444"/>
                    <a:pt x="577" y="444"/>
                  </a:cubicBezTo>
                  <a:cubicBezTo>
                    <a:pt x="577" y="444"/>
                    <a:pt x="577" y="444"/>
                    <a:pt x="577" y="444"/>
                  </a:cubicBezTo>
                  <a:cubicBezTo>
                    <a:pt x="575" y="445"/>
                    <a:pt x="575" y="446"/>
                    <a:pt x="576" y="446"/>
                  </a:cubicBezTo>
                  <a:cubicBezTo>
                    <a:pt x="577" y="446"/>
                    <a:pt x="577" y="446"/>
                    <a:pt x="578" y="446"/>
                  </a:cubicBezTo>
                  <a:cubicBezTo>
                    <a:pt x="577" y="447"/>
                    <a:pt x="575" y="450"/>
                    <a:pt x="576" y="450"/>
                  </a:cubicBezTo>
                  <a:cubicBezTo>
                    <a:pt x="576" y="450"/>
                    <a:pt x="576" y="450"/>
                    <a:pt x="577" y="449"/>
                  </a:cubicBezTo>
                  <a:cubicBezTo>
                    <a:pt x="577" y="451"/>
                    <a:pt x="578" y="454"/>
                    <a:pt x="579" y="454"/>
                  </a:cubicBezTo>
                  <a:cubicBezTo>
                    <a:pt x="579" y="454"/>
                    <a:pt x="579" y="454"/>
                    <a:pt x="580" y="454"/>
                  </a:cubicBezTo>
                  <a:cubicBezTo>
                    <a:pt x="581" y="454"/>
                    <a:pt x="583" y="452"/>
                    <a:pt x="585" y="452"/>
                  </a:cubicBezTo>
                  <a:cubicBezTo>
                    <a:pt x="584" y="449"/>
                    <a:pt x="581" y="446"/>
                    <a:pt x="580" y="443"/>
                  </a:cubicBezTo>
                  <a:cubicBezTo>
                    <a:pt x="579" y="442"/>
                    <a:pt x="578" y="440"/>
                    <a:pt x="577" y="440"/>
                  </a:cubicBezTo>
                  <a:cubicBezTo>
                    <a:pt x="578" y="440"/>
                    <a:pt x="580" y="440"/>
                    <a:pt x="581" y="441"/>
                  </a:cubicBezTo>
                  <a:cubicBezTo>
                    <a:pt x="580" y="440"/>
                    <a:pt x="581" y="439"/>
                    <a:pt x="581" y="438"/>
                  </a:cubicBezTo>
                  <a:cubicBezTo>
                    <a:pt x="581" y="440"/>
                    <a:pt x="583" y="442"/>
                    <a:pt x="585" y="443"/>
                  </a:cubicBezTo>
                  <a:cubicBezTo>
                    <a:pt x="586" y="443"/>
                    <a:pt x="586" y="443"/>
                    <a:pt x="587" y="443"/>
                  </a:cubicBezTo>
                  <a:cubicBezTo>
                    <a:pt x="588" y="443"/>
                    <a:pt x="588" y="443"/>
                    <a:pt x="589" y="442"/>
                  </a:cubicBezTo>
                  <a:cubicBezTo>
                    <a:pt x="590" y="442"/>
                    <a:pt x="590" y="442"/>
                    <a:pt x="591" y="442"/>
                  </a:cubicBezTo>
                  <a:cubicBezTo>
                    <a:pt x="591" y="442"/>
                    <a:pt x="591" y="442"/>
                    <a:pt x="592" y="442"/>
                  </a:cubicBezTo>
                  <a:cubicBezTo>
                    <a:pt x="591" y="441"/>
                    <a:pt x="588" y="440"/>
                    <a:pt x="587" y="439"/>
                  </a:cubicBezTo>
                  <a:cubicBezTo>
                    <a:pt x="587" y="438"/>
                    <a:pt x="591" y="436"/>
                    <a:pt x="589" y="434"/>
                  </a:cubicBezTo>
                  <a:cubicBezTo>
                    <a:pt x="587" y="433"/>
                    <a:pt x="585" y="432"/>
                    <a:pt x="584" y="432"/>
                  </a:cubicBezTo>
                  <a:cubicBezTo>
                    <a:pt x="584" y="431"/>
                    <a:pt x="580" y="431"/>
                    <a:pt x="584" y="430"/>
                  </a:cubicBezTo>
                  <a:cubicBezTo>
                    <a:pt x="582" y="430"/>
                    <a:pt x="581" y="430"/>
                    <a:pt x="580" y="428"/>
                  </a:cubicBezTo>
                  <a:cubicBezTo>
                    <a:pt x="581" y="428"/>
                    <a:pt x="582" y="429"/>
                    <a:pt x="583" y="429"/>
                  </a:cubicBezTo>
                  <a:cubicBezTo>
                    <a:pt x="583" y="429"/>
                    <a:pt x="583" y="429"/>
                    <a:pt x="583" y="428"/>
                  </a:cubicBezTo>
                  <a:cubicBezTo>
                    <a:pt x="584" y="428"/>
                    <a:pt x="585" y="429"/>
                    <a:pt x="585" y="429"/>
                  </a:cubicBezTo>
                  <a:cubicBezTo>
                    <a:pt x="586" y="429"/>
                    <a:pt x="586" y="429"/>
                    <a:pt x="585" y="428"/>
                  </a:cubicBezTo>
                  <a:cubicBezTo>
                    <a:pt x="584" y="427"/>
                    <a:pt x="581" y="424"/>
                    <a:pt x="581" y="423"/>
                  </a:cubicBezTo>
                  <a:cubicBezTo>
                    <a:pt x="580" y="422"/>
                    <a:pt x="583" y="422"/>
                    <a:pt x="582" y="421"/>
                  </a:cubicBezTo>
                  <a:cubicBezTo>
                    <a:pt x="582" y="420"/>
                    <a:pt x="582" y="419"/>
                    <a:pt x="582" y="418"/>
                  </a:cubicBezTo>
                  <a:cubicBezTo>
                    <a:pt x="582" y="417"/>
                    <a:pt x="583" y="417"/>
                    <a:pt x="583" y="417"/>
                  </a:cubicBezTo>
                  <a:cubicBezTo>
                    <a:pt x="583" y="416"/>
                    <a:pt x="584" y="417"/>
                    <a:pt x="582" y="415"/>
                  </a:cubicBezTo>
                  <a:cubicBezTo>
                    <a:pt x="581" y="413"/>
                    <a:pt x="579" y="411"/>
                    <a:pt x="577" y="409"/>
                  </a:cubicBezTo>
                  <a:cubicBezTo>
                    <a:pt x="577" y="409"/>
                    <a:pt x="577" y="409"/>
                    <a:pt x="577" y="409"/>
                  </a:cubicBezTo>
                  <a:cubicBezTo>
                    <a:pt x="580" y="409"/>
                    <a:pt x="581" y="412"/>
                    <a:pt x="582" y="414"/>
                  </a:cubicBezTo>
                  <a:cubicBezTo>
                    <a:pt x="583" y="415"/>
                    <a:pt x="585" y="414"/>
                    <a:pt x="585" y="416"/>
                  </a:cubicBezTo>
                  <a:cubicBezTo>
                    <a:pt x="586" y="417"/>
                    <a:pt x="586" y="418"/>
                    <a:pt x="587" y="420"/>
                  </a:cubicBezTo>
                  <a:cubicBezTo>
                    <a:pt x="588" y="422"/>
                    <a:pt x="589" y="427"/>
                    <a:pt x="591" y="428"/>
                  </a:cubicBezTo>
                  <a:cubicBezTo>
                    <a:pt x="591" y="429"/>
                    <a:pt x="592" y="429"/>
                    <a:pt x="593" y="429"/>
                  </a:cubicBezTo>
                  <a:cubicBezTo>
                    <a:pt x="594" y="429"/>
                    <a:pt x="595" y="429"/>
                    <a:pt x="595" y="428"/>
                  </a:cubicBezTo>
                  <a:cubicBezTo>
                    <a:pt x="595" y="428"/>
                    <a:pt x="594" y="427"/>
                    <a:pt x="593" y="427"/>
                  </a:cubicBezTo>
                  <a:cubicBezTo>
                    <a:pt x="593" y="427"/>
                    <a:pt x="593" y="427"/>
                    <a:pt x="593" y="427"/>
                  </a:cubicBezTo>
                  <a:cubicBezTo>
                    <a:pt x="596" y="427"/>
                    <a:pt x="595" y="421"/>
                    <a:pt x="595" y="419"/>
                  </a:cubicBezTo>
                  <a:cubicBezTo>
                    <a:pt x="594" y="415"/>
                    <a:pt x="595" y="413"/>
                    <a:pt x="590" y="411"/>
                  </a:cubicBezTo>
                  <a:cubicBezTo>
                    <a:pt x="587" y="409"/>
                    <a:pt x="582" y="411"/>
                    <a:pt x="586" y="406"/>
                  </a:cubicBezTo>
                  <a:cubicBezTo>
                    <a:pt x="587" y="405"/>
                    <a:pt x="590" y="403"/>
                    <a:pt x="592" y="403"/>
                  </a:cubicBezTo>
                  <a:cubicBezTo>
                    <a:pt x="591" y="402"/>
                    <a:pt x="589" y="401"/>
                    <a:pt x="588" y="401"/>
                  </a:cubicBezTo>
                  <a:cubicBezTo>
                    <a:pt x="588" y="401"/>
                    <a:pt x="587" y="401"/>
                    <a:pt x="587" y="401"/>
                  </a:cubicBezTo>
                  <a:cubicBezTo>
                    <a:pt x="586" y="401"/>
                    <a:pt x="586" y="403"/>
                    <a:pt x="585" y="403"/>
                  </a:cubicBezTo>
                  <a:cubicBezTo>
                    <a:pt x="585" y="403"/>
                    <a:pt x="585" y="403"/>
                    <a:pt x="585" y="403"/>
                  </a:cubicBezTo>
                  <a:cubicBezTo>
                    <a:pt x="585" y="403"/>
                    <a:pt x="582" y="401"/>
                    <a:pt x="582" y="401"/>
                  </a:cubicBezTo>
                  <a:cubicBezTo>
                    <a:pt x="581" y="401"/>
                    <a:pt x="580" y="401"/>
                    <a:pt x="579" y="401"/>
                  </a:cubicBezTo>
                  <a:cubicBezTo>
                    <a:pt x="580" y="400"/>
                    <a:pt x="581" y="400"/>
                    <a:pt x="582" y="399"/>
                  </a:cubicBezTo>
                  <a:cubicBezTo>
                    <a:pt x="578" y="399"/>
                    <a:pt x="580" y="397"/>
                    <a:pt x="577" y="395"/>
                  </a:cubicBezTo>
                  <a:cubicBezTo>
                    <a:pt x="577" y="395"/>
                    <a:pt x="577" y="395"/>
                    <a:pt x="577" y="395"/>
                  </a:cubicBezTo>
                  <a:cubicBezTo>
                    <a:pt x="576" y="395"/>
                    <a:pt x="575" y="396"/>
                    <a:pt x="575" y="396"/>
                  </a:cubicBezTo>
                  <a:cubicBezTo>
                    <a:pt x="575" y="395"/>
                    <a:pt x="576" y="394"/>
                    <a:pt x="577" y="394"/>
                  </a:cubicBezTo>
                  <a:cubicBezTo>
                    <a:pt x="575" y="392"/>
                    <a:pt x="573" y="393"/>
                    <a:pt x="571" y="392"/>
                  </a:cubicBezTo>
                  <a:cubicBezTo>
                    <a:pt x="572" y="392"/>
                    <a:pt x="573" y="391"/>
                    <a:pt x="574" y="391"/>
                  </a:cubicBezTo>
                  <a:cubicBezTo>
                    <a:pt x="572" y="390"/>
                    <a:pt x="570" y="391"/>
                    <a:pt x="568" y="390"/>
                  </a:cubicBezTo>
                  <a:cubicBezTo>
                    <a:pt x="569" y="390"/>
                    <a:pt x="570" y="390"/>
                    <a:pt x="570" y="390"/>
                  </a:cubicBezTo>
                  <a:cubicBezTo>
                    <a:pt x="571" y="390"/>
                    <a:pt x="572" y="390"/>
                    <a:pt x="573" y="390"/>
                  </a:cubicBezTo>
                  <a:cubicBezTo>
                    <a:pt x="575" y="391"/>
                    <a:pt x="576" y="391"/>
                    <a:pt x="577" y="391"/>
                  </a:cubicBezTo>
                  <a:cubicBezTo>
                    <a:pt x="578" y="391"/>
                    <a:pt x="578" y="391"/>
                    <a:pt x="579" y="390"/>
                  </a:cubicBezTo>
                  <a:cubicBezTo>
                    <a:pt x="580" y="389"/>
                    <a:pt x="579" y="388"/>
                    <a:pt x="579" y="387"/>
                  </a:cubicBezTo>
                  <a:cubicBezTo>
                    <a:pt x="579" y="387"/>
                    <a:pt x="581" y="386"/>
                    <a:pt x="581" y="386"/>
                  </a:cubicBezTo>
                  <a:cubicBezTo>
                    <a:pt x="582" y="383"/>
                    <a:pt x="580" y="384"/>
                    <a:pt x="577" y="383"/>
                  </a:cubicBezTo>
                  <a:cubicBezTo>
                    <a:pt x="577" y="384"/>
                    <a:pt x="577" y="384"/>
                    <a:pt x="576" y="384"/>
                  </a:cubicBezTo>
                  <a:cubicBezTo>
                    <a:pt x="574" y="385"/>
                    <a:pt x="574" y="385"/>
                    <a:pt x="574" y="385"/>
                  </a:cubicBezTo>
                  <a:cubicBezTo>
                    <a:pt x="571" y="384"/>
                    <a:pt x="571" y="384"/>
                    <a:pt x="571" y="384"/>
                  </a:cubicBezTo>
                  <a:cubicBezTo>
                    <a:pt x="571" y="383"/>
                    <a:pt x="571" y="383"/>
                    <a:pt x="570" y="383"/>
                  </a:cubicBezTo>
                  <a:cubicBezTo>
                    <a:pt x="570" y="383"/>
                    <a:pt x="569" y="383"/>
                    <a:pt x="569" y="383"/>
                  </a:cubicBezTo>
                  <a:cubicBezTo>
                    <a:pt x="569" y="383"/>
                    <a:pt x="568" y="383"/>
                    <a:pt x="568" y="383"/>
                  </a:cubicBezTo>
                  <a:cubicBezTo>
                    <a:pt x="568" y="383"/>
                    <a:pt x="568" y="383"/>
                    <a:pt x="568" y="383"/>
                  </a:cubicBezTo>
                  <a:cubicBezTo>
                    <a:pt x="565" y="382"/>
                    <a:pt x="570" y="379"/>
                    <a:pt x="570" y="377"/>
                  </a:cubicBezTo>
                  <a:cubicBezTo>
                    <a:pt x="571" y="375"/>
                    <a:pt x="569" y="374"/>
                    <a:pt x="568" y="374"/>
                  </a:cubicBezTo>
                  <a:cubicBezTo>
                    <a:pt x="567" y="374"/>
                    <a:pt x="567" y="374"/>
                    <a:pt x="567" y="376"/>
                  </a:cubicBezTo>
                  <a:cubicBezTo>
                    <a:pt x="566" y="374"/>
                    <a:pt x="568" y="373"/>
                    <a:pt x="567" y="372"/>
                  </a:cubicBezTo>
                  <a:cubicBezTo>
                    <a:pt x="567" y="372"/>
                    <a:pt x="565" y="372"/>
                    <a:pt x="565" y="371"/>
                  </a:cubicBezTo>
                  <a:cubicBezTo>
                    <a:pt x="565" y="371"/>
                    <a:pt x="564" y="369"/>
                    <a:pt x="564" y="369"/>
                  </a:cubicBezTo>
                  <a:cubicBezTo>
                    <a:pt x="564" y="369"/>
                    <a:pt x="563" y="369"/>
                    <a:pt x="563" y="369"/>
                  </a:cubicBezTo>
                  <a:cubicBezTo>
                    <a:pt x="563" y="369"/>
                    <a:pt x="563" y="369"/>
                    <a:pt x="563" y="369"/>
                  </a:cubicBezTo>
                  <a:cubicBezTo>
                    <a:pt x="562" y="368"/>
                    <a:pt x="562" y="368"/>
                    <a:pt x="562" y="368"/>
                  </a:cubicBezTo>
                  <a:cubicBezTo>
                    <a:pt x="562" y="368"/>
                    <a:pt x="562" y="368"/>
                    <a:pt x="562" y="368"/>
                  </a:cubicBezTo>
                  <a:cubicBezTo>
                    <a:pt x="560" y="370"/>
                    <a:pt x="563" y="376"/>
                    <a:pt x="564" y="378"/>
                  </a:cubicBezTo>
                  <a:cubicBezTo>
                    <a:pt x="562" y="376"/>
                    <a:pt x="562" y="375"/>
                    <a:pt x="560" y="373"/>
                  </a:cubicBezTo>
                  <a:cubicBezTo>
                    <a:pt x="560" y="375"/>
                    <a:pt x="560" y="375"/>
                    <a:pt x="560" y="375"/>
                  </a:cubicBezTo>
                  <a:cubicBezTo>
                    <a:pt x="560" y="375"/>
                    <a:pt x="559" y="373"/>
                    <a:pt x="558" y="372"/>
                  </a:cubicBezTo>
                  <a:cubicBezTo>
                    <a:pt x="557" y="373"/>
                    <a:pt x="557" y="376"/>
                    <a:pt x="557" y="376"/>
                  </a:cubicBezTo>
                  <a:cubicBezTo>
                    <a:pt x="556" y="376"/>
                    <a:pt x="556" y="376"/>
                    <a:pt x="556" y="376"/>
                  </a:cubicBezTo>
                  <a:cubicBezTo>
                    <a:pt x="555" y="376"/>
                    <a:pt x="554" y="373"/>
                    <a:pt x="553" y="373"/>
                  </a:cubicBezTo>
                  <a:cubicBezTo>
                    <a:pt x="555" y="373"/>
                    <a:pt x="557" y="373"/>
                    <a:pt x="556" y="370"/>
                  </a:cubicBezTo>
                  <a:cubicBezTo>
                    <a:pt x="556" y="369"/>
                    <a:pt x="556" y="368"/>
                    <a:pt x="555" y="368"/>
                  </a:cubicBezTo>
                  <a:cubicBezTo>
                    <a:pt x="555" y="368"/>
                    <a:pt x="554" y="368"/>
                    <a:pt x="554" y="369"/>
                  </a:cubicBezTo>
                  <a:cubicBezTo>
                    <a:pt x="553" y="369"/>
                    <a:pt x="553" y="369"/>
                    <a:pt x="553" y="369"/>
                  </a:cubicBezTo>
                  <a:cubicBezTo>
                    <a:pt x="553" y="369"/>
                    <a:pt x="553" y="369"/>
                    <a:pt x="553" y="369"/>
                  </a:cubicBezTo>
                  <a:cubicBezTo>
                    <a:pt x="552" y="369"/>
                    <a:pt x="553" y="367"/>
                    <a:pt x="552" y="367"/>
                  </a:cubicBezTo>
                  <a:cubicBezTo>
                    <a:pt x="552" y="367"/>
                    <a:pt x="552" y="366"/>
                    <a:pt x="552" y="366"/>
                  </a:cubicBezTo>
                  <a:cubicBezTo>
                    <a:pt x="552" y="366"/>
                    <a:pt x="552" y="367"/>
                    <a:pt x="552" y="367"/>
                  </a:cubicBezTo>
                  <a:cubicBezTo>
                    <a:pt x="552" y="367"/>
                    <a:pt x="552" y="367"/>
                    <a:pt x="551" y="367"/>
                  </a:cubicBezTo>
                  <a:cubicBezTo>
                    <a:pt x="551" y="367"/>
                    <a:pt x="551" y="367"/>
                    <a:pt x="551" y="367"/>
                  </a:cubicBezTo>
                  <a:cubicBezTo>
                    <a:pt x="550" y="367"/>
                    <a:pt x="548" y="366"/>
                    <a:pt x="548" y="366"/>
                  </a:cubicBezTo>
                  <a:cubicBezTo>
                    <a:pt x="548" y="365"/>
                    <a:pt x="546" y="363"/>
                    <a:pt x="545" y="363"/>
                  </a:cubicBezTo>
                  <a:cubicBezTo>
                    <a:pt x="545" y="363"/>
                    <a:pt x="544" y="363"/>
                    <a:pt x="544" y="363"/>
                  </a:cubicBezTo>
                  <a:cubicBezTo>
                    <a:pt x="544" y="363"/>
                    <a:pt x="544" y="363"/>
                    <a:pt x="544" y="363"/>
                  </a:cubicBezTo>
                  <a:cubicBezTo>
                    <a:pt x="544" y="363"/>
                    <a:pt x="544" y="369"/>
                    <a:pt x="544" y="369"/>
                  </a:cubicBezTo>
                  <a:cubicBezTo>
                    <a:pt x="544" y="371"/>
                    <a:pt x="545" y="373"/>
                    <a:pt x="544" y="373"/>
                  </a:cubicBezTo>
                  <a:cubicBezTo>
                    <a:pt x="544" y="373"/>
                    <a:pt x="544" y="372"/>
                    <a:pt x="543" y="371"/>
                  </a:cubicBezTo>
                  <a:cubicBezTo>
                    <a:pt x="542" y="369"/>
                    <a:pt x="541" y="365"/>
                    <a:pt x="539" y="363"/>
                  </a:cubicBezTo>
                  <a:cubicBezTo>
                    <a:pt x="539" y="362"/>
                    <a:pt x="545" y="359"/>
                    <a:pt x="543" y="358"/>
                  </a:cubicBezTo>
                  <a:cubicBezTo>
                    <a:pt x="543" y="358"/>
                    <a:pt x="543" y="358"/>
                    <a:pt x="543" y="358"/>
                  </a:cubicBezTo>
                  <a:cubicBezTo>
                    <a:pt x="542" y="358"/>
                    <a:pt x="540" y="360"/>
                    <a:pt x="539" y="361"/>
                  </a:cubicBezTo>
                  <a:cubicBezTo>
                    <a:pt x="539" y="362"/>
                    <a:pt x="539" y="362"/>
                    <a:pt x="539" y="362"/>
                  </a:cubicBezTo>
                  <a:cubicBezTo>
                    <a:pt x="538" y="362"/>
                    <a:pt x="538" y="362"/>
                    <a:pt x="538" y="361"/>
                  </a:cubicBezTo>
                  <a:cubicBezTo>
                    <a:pt x="538" y="361"/>
                    <a:pt x="537" y="361"/>
                    <a:pt x="537" y="361"/>
                  </a:cubicBezTo>
                  <a:cubicBezTo>
                    <a:pt x="537" y="361"/>
                    <a:pt x="537" y="361"/>
                    <a:pt x="537" y="361"/>
                  </a:cubicBezTo>
                  <a:cubicBezTo>
                    <a:pt x="537" y="361"/>
                    <a:pt x="535" y="362"/>
                    <a:pt x="535" y="362"/>
                  </a:cubicBezTo>
                  <a:cubicBezTo>
                    <a:pt x="537" y="361"/>
                    <a:pt x="538" y="361"/>
                    <a:pt x="538" y="359"/>
                  </a:cubicBezTo>
                  <a:cubicBezTo>
                    <a:pt x="538" y="356"/>
                    <a:pt x="536" y="357"/>
                    <a:pt x="535" y="356"/>
                  </a:cubicBezTo>
                  <a:cubicBezTo>
                    <a:pt x="535" y="356"/>
                    <a:pt x="534" y="356"/>
                    <a:pt x="533" y="356"/>
                  </a:cubicBezTo>
                  <a:cubicBezTo>
                    <a:pt x="533" y="354"/>
                    <a:pt x="534" y="351"/>
                    <a:pt x="531" y="351"/>
                  </a:cubicBezTo>
                  <a:cubicBezTo>
                    <a:pt x="531" y="351"/>
                    <a:pt x="531" y="351"/>
                    <a:pt x="531" y="351"/>
                  </a:cubicBezTo>
                  <a:cubicBezTo>
                    <a:pt x="533" y="351"/>
                    <a:pt x="535" y="350"/>
                    <a:pt x="535" y="349"/>
                  </a:cubicBezTo>
                  <a:cubicBezTo>
                    <a:pt x="534" y="347"/>
                    <a:pt x="533" y="347"/>
                    <a:pt x="530" y="346"/>
                  </a:cubicBezTo>
                  <a:cubicBezTo>
                    <a:pt x="530" y="346"/>
                    <a:pt x="530" y="346"/>
                    <a:pt x="530" y="346"/>
                  </a:cubicBezTo>
                  <a:cubicBezTo>
                    <a:pt x="530" y="346"/>
                    <a:pt x="530" y="347"/>
                    <a:pt x="529" y="347"/>
                  </a:cubicBezTo>
                  <a:cubicBezTo>
                    <a:pt x="529" y="347"/>
                    <a:pt x="529" y="347"/>
                    <a:pt x="529" y="347"/>
                  </a:cubicBezTo>
                  <a:cubicBezTo>
                    <a:pt x="528" y="347"/>
                    <a:pt x="528" y="347"/>
                    <a:pt x="527" y="346"/>
                  </a:cubicBezTo>
                  <a:cubicBezTo>
                    <a:pt x="526" y="344"/>
                    <a:pt x="527" y="344"/>
                    <a:pt x="528" y="342"/>
                  </a:cubicBezTo>
                  <a:cubicBezTo>
                    <a:pt x="528" y="341"/>
                    <a:pt x="530" y="339"/>
                    <a:pt x="528" y="339"/>
                  </a:cubicBezTo>
                  <a:cubicBezTo>
                    <a:pt x="528" y="338"/>
                    <a:pt x="528" y="338"/>
                    <a:pt x="527" y="338"/>
                  </a:cubicBezTo>
                  <a:cubicBezTo>
                    <a:pt x="526" y="338"/>
                    <a:pt x="525" y="339"/>
                    <a:pt x="524" y="339"/>
                  </a:cubicBezTo>
                  <a:cubicBezTo>
                    <a:pt x="522" y="340"/>
                    <a:pt x="521" y="340"/>
                    <a:pt x="519" y="341"/>
                  </a:cubicBezTo>
                  <a:cubicBezTo>
                    <a:pt x="518" y="341"/>
                    <a:pt x="517" y="342"/>
                    <a:pt x="516" y="343"/>
                  </a:cubicBezTo>
                  <a:cubicBezTo>
                    <a:pt x="515" y="344"/>
                    <a:pt x="514" y="345"/>
                    <a:pt x="514" y="346"/>
                  </a:cubicBezTo>
                  <a:cubicBezTo>
                    <a:pt x="514" y="346"/>
                    <a:pt x="514" y="346"/>
                    <a:pt x="514" y="346"/>
                  </a:cubicBezTo>
                  <a:cubicBezTo>
                    <a:pt x="513" y="346"/>
                    <a:pt x="513" y="346"/>
                    <a:pt x="513" y="346"/>
                  </a:cubicBezTo>
                  <a:cubicBezTo>
                    <a:pt x="513" y="342"/>
                    <a:pt x="514" y="338"/>
                    <a:pt x="514" y="335"/>
                  </a:cubicBezTo>
                  <a:cubicBezTo>
                    <a:pt x="514" y="335"/>
                    <a:pt x="514" y="335"/>
                    <a:pt x="514" y="335"/>
                  </a:cubicBezTo>
                  <a:cubicBezTo>
                    <a:pt x="513" y="335"/>
                    <a:pt x="513" y="334"/>
                    <a:pt x="512" y="334"/>
                  </a:cubicBezTo>
                  <a:cubicBezTo>
                    <a:pt x="511" y="334"/>
                    <a:pt x="511" y="334"/>
                    <a:pt x="510" y="334"/>
                  </a:cubicBezTo>
                  <a:cubicBezTo>
                    <a:pt x="510" y="334"/>
                    <a:pt x="510" y="334"/>
                    <a:pt x="509" y="334"/>
                  </a:cubicBezTo>
                  <a:cubicBezTo>
                    <a:pt x="509" y="333"/>
                    <a:pt x="511" y="329"/>
                    <a:pt x="511" y="329"/>
                  </a:cubicBezTo>
                  <a:cubicBezTo>
                    <a:pt x="511" y="329"/>
                    <a:pt x="510" y="329"/>
                    <a:pt x="510" y="329"/>
                  </a:cubicBezTo>
                  <a:cubicBezTo>
                    <a:pt x="510" y="329"/>
                    <a:pt x="510" y="329"/>
                    <a:pt x="509" y="329"/>
                  </a:cubicBezTo>
                  <a:cubicBezTo>
                    <a:pt x="509" y="329"/>
                    <a:pt x="508" y="329"/>
                    <a:pt x="508" y="329"/>
                  </a:cubicBezTo>
                  <a:cubicBezTo>
                    <a:pt x="508" y="329"/>
                    <a:pt x="508" y="329"/>
                    <a:pt x="508" y="329"/>
                  </a:cubicBezTo>
                  <a:cubicBezTo>
                    <a:pt x="508" y="329"/>
                    <a:pt x="508" y="329"/>
                    <a:pt x="508" y="329"/>
                  </a:cubicBezTo>
                  <a:cubicBezTo>
                    <a:pt x="508" y="329"/>
                    <a:pt x="507" y="329"/>
                    <a:pt x="507" y="329"/>
                  </a:cubicBezTo>
                  <a:cubicBezTo>
                    <a:pt x="507" y="329"/>
                    <a:pt x="507" y="329"/>
                    <a:pt x="507" y="329"/>
                  </a:cubicBezTo>
                  <a:cubicBezTo>
                    <a:pt x="507" y="329"/>
                    <a:pt x="507" y="329"/>
                    <a:pt x="506" y="329"/>
                  </a:cubicBezTo>
                  <a:cubicBezTo>
                    <a:pt x="506" y="328"/>
                    <a:pt x="506" y="326"/>
                    <a:pt x="506" y="325"/>
                  </a:cubicBezTo>
                  <a:cubicBezTo>
                    <a:pt x="507" y="325"/>
                    <a:pt x="509" y="327"/>
                    <a:pt x="510" y="327"/>
                  </a:cubicBezTo>
                  <a:cubicBezTo>
                    <a:pt x="510" y="327"/>
                    <a:pt x="510" y="327"/>
                    <a:pt x="510" y="327"/>
                  </a:cubicBezTo>
                  <a:cubicBezTo>
                    <a:pt x="512" y="326"/>
                    <a:pt x="512" y="324"/>
                    <a:pt x="512" y="323"/>
                  </a:cubicBezTo>
                  <a:cubicBezTo>
                    <a:pt x="511" y="322"/>
                    <a:pt x="510" y="322"/>
                    <a:pt x="509" y="321"/>
                  </a:cubicBezTo>
                  <a:cubicBezTo>
                    <a:pt x="511" y="322"/>
                    <a:pt x="512" y="322"/>
                    <a:pt x="514" y="323"/>
                  </a:cubicBezTo>
                  <a:cubicBezTo>
                    <a:pt x="514" y="322"/>
                    <a:pt x="514" y="322"/>
                    <a:pt x="514" y="322"/>
                  </a:cubicBezTo>
                  <a:cubicBezTo>
                    <a:pt x="514" y="322"/>
                    <a:pt x="514" y="323"/>
                    <a:pt x="515" y="323"/>
                  </a:cubicBezTo>
                  <a:cubicBezTo>
                    <a:pt x="514" y="323"/>
                    <a:pt x="514" y="324"/>
                    <a:pt x="514" y="325"/>
                  </a:cubicBezTo>
                  <a:cubicBezTo>
                    <a:pt x="514" y="325"/>
                    <a:pt x="514" y="325"/>
                    <a:pt x="514" y="325"/>
                  </a:cubicBezTo>
                  <a:cubicBezTo>
                    <a:pt x="514" y="326"/>
                    <a:pt x="514" y="326"/>
                    <a:pt x="514" y="326"/>
                  </a:cubicBezTo>
                  <a:cubicBezTo>
                    <a:pt x="514" y="327"/>
                    <a:pt x="515" y="329"/>
                    <a:pt x="515" y="330"/>
                  </a:cubicBezTo>
                  <a:cubicBezTo>
                    <a:pt x="516" y="331"/>
                    <a:pt x="518" y="331"/>
                    <a:pt x="519" y="331"/>
                  </a:cubicBezTo>
                  <a:cubicBezTo>
                    <a:pt x="521" y="331"/>
                    <a:pt x="523" y="331"/>
                    <a:pt x="525" y="330"/>
                  </a:cubicBezTo>
                  <a:cubicBezTo>
                    <a:pt x="527" y="330"/>
                    <a:pt x="529" y="329"/>
                    <a:pt x="530" y="329"/>
                  </a:cubicBezTo>
                  <a:cubicBezTo>
                    <a:pt x="531" y="329"/>
                    <a:pt x="532" y="329"/>
                    <a:pt x="532" y="330"/>
                  </a:cubicBezTo>
                  <a:cubicBezTo>
                    <a:pt x="532" y="328"/>
                    <a:pt x="530" y="327"/>
                    <a:pt x="530" y="326"/>
                  </a:cubicBezTo>
                  <a:cubicBezTo>
                    <a:pt x="530" y="325"/>
                    <a:pt x="531" y="325"/>
                    <a:pt x="531" y="324"/>
                  </a:cubicBezTo>
                  <a:cubicBezTo>
                    <a:pt x="530" y="321"/>
                    <a:pt x="529" y="322"/>
                    <a:pt x="527" y="321"/>
                  </a:cubicBezTo>
                  <a:cubicBezTo>
                    <a:pt x="526" y="320"/>
                    <a:pt x="526" y="320"/>
                    <a:pt x="525" y="319"/>
                  </a:cubicBezTo>
                  <a:cubicBezTo>
                    <a:pt x="524" y="319"/>
                    <a:pt x="523" y="318"/>
                    <a:pt x="521" y="317"/>
                  </a:cubicBezTo>
                  <a:cubicBezTo>
                    <a:pt x="520" y="317"/>
                    <a:pt x="520" y="317"/>
                    <a:pt x="520" y="317"/>
                  </a:cubicBezTo>
                  <a:cubicBezTo>
                    <a:pt x="520" y="316"/>
                    <a:pt x="521" y="316"/>
                    <a:pt x="521" y="316"/>
                  </a:cubicBezTo>
                  <a:cubicBezTo>
                    <a:pt x="520" y="315"/>
                    <a:pt x="520" y="314"/>
                    <a:pt x="520" y="313"/>
                  </a:cubicBezTo>
                  <a:cubicBezTo>
                    <a:pt x="518" y="310"/>
                    <a:pt x="516" y="309"/>
                    <a:pt x="514" y="307"/>
                  </a:cubicBezTo>
                  <a:cubicBezTo>
                    <a:pt x="517" y="308"/>
                    <a:pt x="520" y="310"/>
                    <a:pt x="523" y="312"/>
                  </a:cubicBezTo>
                  <a:cubicBezTo>
                    <a:pt x="524" y="312"/>
                    <a:pt x="527" y="315"/>
                    <a:pt x="529" y="315"/>
                  </a:cubicBezTo>
                  <a:cubicBezTo>
                    <a:pt x="529" y="315"/>
                    <a:pt x="529" y="315"/>
                    <a:pt x="529" y="315"/>
                  </a:cubicBezTo>
                  <a:cubicBezTo>
                    <a:pt x="532" y="314"/>
                    <a:pt x="528" y="311"/>
                    <a:pt x="528" y="311"/>
                  </a:cubicBezTo>
                  <a:cubicBezTo>
                    <a:pt x="528" y="309"/>
                    <a:pt x="529" y="309"/>
                    <a:pt x="531" y="309"/>
                  </a:cubicBezTo>
                  <a:cubicBezTo>
                    <a:pt x="531" y="309"/>
                    <a:pt x="531" y="309"/>
                    <a:pt x="531" y="309"/>
                  </a:cubicBezTo>
                  <a:cubicBezTo>
                    <a:pt x="532" y="309"/>
                    <a:pt x="532" y="309"/>
                    <a:pt x="532" y="309"/>
                  </a:cubicBezTo>
                  <a:cubicBezTo>
                    <a:pt x="533" y="309"/>
                    <a:pt x="533" y="309"/>
                    <a:pt x="534" y="309"/>
                  </a:cubicBezTo>
                  <a:cubicBezTo>
                    <a:pt x="532" y="308"/>
                    <a:pt x="531" y="307"/>
                    <a:pt x="529" y="306"/>
                  </a:cubicBezTo>
                  <a:cubicBezTo>
                    <a:pt x="528" y="305"/>
                    <a:pt x="520" y="305"/>
                    <a:pt x="520" y="304"/>
                  </a:cubicBezTo>
                  <a:cubicBezTo>
                    <a:pt x="524" y="303"/>
                    <a:pt x="524" y="303"/>
                    <a:pt x="524" y="303"/>
                  </a:cubicBezTo>
                  <a:cubicBezTo>
                    <a:pt x="525" y="303"/>
                    <a:pt x="525" y="302"/>
                    <a:pt x="525" y="302"/>
                  </a:cubicBezTo>
                  <a:cubicBezTo>
                    <a:pt x="528" y="302"/>
                    <a:pt x="531" y="304"/>
                    <a:pt x="534" y="304"/>
                  </a:cubicBezTo>
                  <a:cubicBezTo>
                    <a:pt x="535" y="304"/>
                    <a:pt x="537" y="305"/>
                    <a:pt x="538" y="305"/>
                  </a:cubicBezTo>
                  <a:cubicBezTo>
                    <a:pt x="539" y="305"/>
                    <a:pt x="540" y="305"/>
                    <a:pt x="539" y="304"/>
                  </a:cubicBezTo>
                  <a:cubicBezTo>
                    <a:pt x="539" y="303"/>
                    <a:pt x="536" y="302"/>
                    <a:pt x="536" y="301"/>
                  </a:cubicBezTo>
                  <a:cubicBezTo>
                    <a:pt x="538" y="302"/>
                    <a:pt x="541" y="303"/>
                    <a:pt x="543" y="303"/>
                  </a:cubicBezTo>
                  <a:cubicBezTo>
                    <a:pt x="541" y="306"/>
                    <a:pt x="540" y="305"/>
                    <a:pt x="541" y="309"/>
                  </a:cubicBezTo>
                  <a:cubicBezTo>
                    <a:pt x="542" y="311"/>
                    <a:pt x="543" y="311"/>
                    <a:pt x="545" y="311"/>
                  </a:cubicBezTo>
                  <a:cubicBezTo>
                    <a:pt x="546" y="311"/>
                    <a:pt x="548" y="310"/>
                    <a:pt x="550" y="310"/>
                  </a:cubicBezTo>
                  <a:cubicBezTo>
                    <a:pt x="547" y="313"/>
                    <a:pt x="547" y="312"/>
                    <a:pt x="551" y="316"/>
                  </a:cubicBezTo>
                  <a:cubicBezTo>
                    <a:pt x="552" y="316"/>
                    <a:pt x="553" y="316"/>
                    <a:pt x="554" y="316"/>
                  </a:cubicBezTo>
                  <a:cubicBezTo>
                    <a:pt x="555" y="316"/>
                    <a:pt x="556" y="316"/>
                    <a:pt x="556" y="315"/>
                  </a:cubicBezTo>
                  <a:cubicBezTo>
                    <a:pt x="556" y="316"/>
                    <a:pt x="555" y="317"/>
                    <a:pt x="554" y="318"/>
                  </a:cubicBezTo>
                  <a:cubicBezTo>
                    <a:pt x="557" y="320"/>
                    <a:pt x="559" y="321"/>
                    <a:pt x="561" y="321"/>
                  </a:cubicBezTo>
                  <a:cubicBezTo>
                    <a:pt x="563" y="321"/>
                    <a:pt x="564" y="321"/>
                    <a:pt x="565" y="320"/>
                  </a:cubicBezTo>
                  <a:cubicBezTo>
                    <a:pt x="567" y="319"/>
                    <a:pt x="568" y="318"/>
                    <a:pt x="569" y="316"/>
                  </a:cubicBezTo>
                  <a:cubicBezTo>
                    <a:pt x="568" y="318"/>
                    <a:pt x="567" y="319"/>
                    <a:pt x="567" y="319"/>
                  </a:cubicBezTo>
                  <a:cubicBezTo>
                    <a:pt x="567" y="319"/>
                    <a:pt x="567" y="319"/>
                    <a:pt x="567" y="319"/>
                  </a:cubicBezTo>
                  <a:cubicBezTo>
                    <a:pt x="565" y="322"/>
                    <a:pt x="563" y="324"/>
                    <a:pt x="562" y="327"/>
                  </a:cubicBezTo>
                  <a:cubicBezTo>
                    <a:pt x="566" y="325"/>
                    <a:pt x="571" y="324"/>
                    <a:pt x="576" y="322"/>
                  </a:cubicBezTo>
                  <a:cubicBezTo>
                    <a:pt x="580" y="321"/>
                    <a:pt x="585" y="320"/>
                    <a:pt x="588" y="318"/>
                  </a:cubicBezTo>
                  <a:cubicBezTo>
                    <a:pt x="589" y="317"/>
                    <a:pt x="590" y="316"/>
                    <a:pt x="591" y="315"/>
                  </a:cubicBezTo>
                  <a:cubicBezTo>
                    <a:pt x="593" y="315"/>
                    <a:pt x="594" y="314"/>
                    <a:pt x="596" y="313"/>
                  </a:cubicBezTo>
                  <a:cubicBezTo>
                    <a:pt x="594" y="315"/>
                    <a:pt x="591" y="316"/>
                    <a:pt x="590" y="318"/>
                  </a:cubicBezTo>
                  <a:cubicBezTo>
                    <a:pt x="589" y="319"/>
                    <a:pt x="589" y="321"/>
                    <a:pt x="589" y="322"/>
                  </a:cubicBezTo>
                  <a:cubicBezTo>
                    <a:pt x="588" y="325"/>
                    <a:pt x="586" y="325"/>
                    <a:pt x="590" y="327"/>
                  </a:cubicBezTo>
                  <a:cubicBezTo>
                    <a:pt x="584" y="328"/>
                    <a:pt x="577" y="327"/>
                    <a:pt x="574" y="331"/>
                  </a:cubicBezTo>
                  <a:cubicBezTo>
                    <a:pt x="573" y="332"/>
                    <a:pt x="572" y="334"/>
                    <a:pt x="572" y="335"/>
                  </a:cubicBezTo>
                  <a:cubicBezTo>
                    <a:pt x="572" y="336"/>
                    <a:pt x="573" y="336"/>
                    <a:pt x="573" y="336"/>
                  </a:cubicBezTo>
                  <a:cubicBezTo>
                    <a:pt x="573" y="336"/>
                    <a:pt x="573" y="336"/>
                    <a:pt x="573" y="336"/>
                  </a:cubicBezTo>
                  <a:cubicBezTo>
                    <a:pt x="573" y="336"/>
                    <a:pt x="573" y="336"/>
                    <a:pt x="573" y="336"/>
                  </a:cubicBezTo>
                  <a:cubicBezTo>
                    <a:pt x="573" y="336"/>
                    <a:pt x="574" y="336"/>
                    <a:pt x="574" y="336"/>
                  </a:cubicBezTo>
                  <a:cubicBezTo>
                    <a:pt x="573" y="338"/>
                    <a:pt x="573" y="338"/>
                    <a:pt x="573" y="338"/>
                  </a:cubicBezTo>
                  <a:cubicBezTo>
                    <a:pt x="574" y="339"/>
                    <a:pt x="575" y="339"/>
                    <a:pt x="575" y="339"/>
                  </a:cubicBezTo>
                  <a:cubicBezTo>
                    <a:pt x="576" y="339"/>
                    <a:pt x="576" y="339"/>
                    <a:pt x="577" y="339"/>
                  </a:cubicBezTo>
                  <a:cubicBezTo>
                    <a:pt x="577" y="339"/>
                    <a:pt x="577" y="339"/>
                    <a:pt x="578" y="339"/>
                  </a:cubicBezTo>
                  <a:cubicBezTo>
                    <a:pt x="578" y="339"/>
                    <a:pt x="579" y="339"/>
                    <a:pt x="579" y="339"/>
                  </a:cubicBezTo>
                  <a:cubicBezTo>
                    <a:pt x="583" y="340"/>
                    <a:pt x="578" y="340"/>
                    <a:pt x="576" y="341"/>
                  </a:cubicBezTo>
                  <a:cubicBezTo>
                    <a:pt x="575" y="343"/>
                    <a:pt x="577" y="344"/>
                    <a:pt x="580" y="344"/>
                  </a:cubicBezTo>
                  <a:cubicBezTo>
                    <a:pt x="582" y="344"/>
                    <a:pt x="585" y="343"/>
                    <a:pt x="586" y="343"/>
                  </a:cubicBezTo>
                  <a:cubicBezTo>
                    <a:pt x="585" y="345"/>
                    <a:pt x="580" y="345"/>
                    <a:pt x="580" y="346"/>
                  </a:cubicBezTo>
                  <a:cubicBezTo>
                    <a:pt x="579" y="347"/>
                    <a:pt x="581" y="350"/>
                    <a:pt x="582" y="350"/>
                  </a:cubicBezTo>
                  <a:cubicBezTo>
                    <a:pt x="583" y="350"/>
                    <a:pt x="583" y="350"/>
                    <a:pt x="584" y="350"/>
                  </a:cubicBezTo>
                  <a:cubicBezTo>
                    <a:pt x="587" y="350"/>
                    <a:pt x="591" y="349"/>
                    <a:pt x="593" y="348"/>
                  </a:cubicBezTo>
                  <a:cubicBezTo>
                    <a:pt x="594" y="348"/>
                    <a:pt x="596" y="348"/>
                    <a:pt x="596" y="348"/>
                  </a:cubicBezTo>
                  <a:cubicBezTo>
                    <a:pt x="597" y="348"/>
                    <a:pt x="597" y="348"/>
                    <a:pt x="595" y="349"/>
                  </a:cubicBezTo>
                  <a:cubicBezTo>
                    <a:pt x="592" y="350"/>
                    <a:pt x="588" y="350"/>
                    <a:pt x="586" y="351"/>
                  </a:cubicBezTo>
                  <a:cubicBezTo>
                    <a:pt x="586" y="351"/>
                    <a:pt x="586" y="351"/>
                    <a:pt x="586" y="351"/>
                  </a:cubicBezTo>
                  <a:cubicBezTo>
                    <a:pt x="587" y="351"/>
                    <a:pt x="587" y="351"/>
                    <a:pt x="588" y="351"/>
                  </a:cubicBezTo>
                  <a:cubicBezTo>
                    <a:pt x="588" y="351"/>
                    <a:pt x="588" y="351"/>
                    <a:pt x="589" y="351"/>
                  </a:cubicBezTo>
                  <a:cubicBezTo>
                    <a:pt x="589" y="351"/>
                    <a:pt x="590" y="351"/>
                    <a:pt x="591" y="351"/>
                  </a:cubicBezTo>
                  <a:cubicBezTo>
                    <a:pt x="590" y="352"/>
                    <a:pt x="588" y="353"/>
                    <a:pt x="586" y="353"/>
                  </a:cubicBezTo>
                  <a:cubicBezTo>
                    <a:pt x="586" y="355"/>
                    <a:pt x="587" y="355"/>
                    <a:pt x="589" y="355"/>
                  </a:cubicBezTo>
                  <a:cubicBezTo>
                    <a:pt x="590" y="355"/>
                    <a:pt x="591" y="355"/>
                    <a:pt x="591" y="355"/>
                  </a:cubicBezTo>
                  <a:cubicBezTo>
                    <a:pt x="589" y="356"/>
                    <a:pt x="591" y="357"/>
                    <a:pt x="590" y="358"/>
                  </a:cubicBezTo>
                  <a:cubicBezTo>
                    <a:pt x="590" y="358"/>
                    <a:pt x="591" y="358"/>
                    <a:pt x="591" y="358"/>
                  </a:cubicBezTo>
                  <a:cubicBezTo>
                    <a:pt x="592" y="358"/>
                    <a:pt x="592" y="359"/>
                    <a:pt x="592" y="360"/>
                  </a:cubicBezTo>
                  <a:cubicBezTo>
                    <a:pt x="593" y="360"/>
                    <a:pt x="593" y="360"/>
                    <a:pt x="594" y="361"/>
                  </a:cubicBezTo>
                  <a:cubicBezTo>
                    <a:pt x="595" y="358"/>
                    <a:pt x="595" y="355"/>
                    <a:pt x="596" y="353"/>
                  </a:cubicBezTo>
                  <a:cubicBezTo>
                    <a:pt x="597" y="351"/>
                    <a:pt x="599" y="350"/>
                    <a:pt x="600" y="348"/>
                  </a:cubicBezTo>
                  <a:cubicBezTo>
                    <a:pt x="599" y="350"/>
                    <a:pt x="599" y="352"/>
                    <a:pt x="598" y="354"/>
                  </a:cubicBezTo>
                  <a:cubicBezTo>
                    <a:pt x="598" y="355"/>
                    <a:pt x="597" y="355"/>
                    <a:pt x="598" y="357"/>
                  </a:cubicBezTo>
                  <a:cubicBezTo>
                    <a:pt x="598" y="358"/>
                    <a:pt x="599" y="358"/>
                    <a:pt x="599" y="358"/>
                  </a:cubicBezTo>
                  <a:cubicBezTo>
                    <a:pt x="600" y="358"/>
                    <a:pt x="601" y="358"/>
                    <a:pt x="602" y="357"/>
                  </a:cubicBezTo>
                  <a:cubicBezTo>
                    <a:pt x="603" y="357"/>
                    <a:pt x="604" y="357"/>
                    <a:pt x="605" y="357"/>
                  </a:cubicBezTo>
                  <a:cubicBezTo>
                    <a:pt x="605" y="357"/>
                    <a:pt x="605" y="357"/>
                    <a:pt x="605" y="357"/>
                  </a:cubicBezTo>
                  <a:cubicBezTo>
                    <a:pt x="603" y="358"/>
                    <a:pt x="601" y="359"/>
                    <a:pt x="600" y="360"/>
                  </a:cubicBezTo>
                  <a:cubicBezTo>
                    <a:pt x="601" y="360"/>
                    <a:pt x="601" y="360"/>
                    <a:pt x="601" y="360"/>
                  </a:cubicBezTo>
                  <a:cubicBezTo>
                    <a:pt x="602" y="360"/>
                    <a:pt x="602" y="361"/>
                    <a:pt x="603" y="362"/>
                  </a:cubicBezTo>
                  <a:cubicBezTo>
                    <a:pt x="603" y="362"/>
                    <a:pt x="604" y="362"/>
                    <a:pt x="605" y="362"/>
                  </a:cubicBezTo>
                  <a:cubicBezTo>
                    <a:pt x="605" y="362"/>
                    <a:pt x="606" y="362"/>
                    <a:pt x="607" y="362"/>
                  </a:cubicBezTo>
                  <a:cubicBezTo>
                    <a:pt x="607" y="362"/>
                    <a:pt x="608" y="362"/>
                    <a:pt x="609" y="362"/>
                  </a:cubicBezTo>
                  <a:cubicBezTo>
                    <a:pt x="609" y="362"/>
                    <a:pt x="609" y="362"/>
                    <a:pt x="610" y="362"/>
                  </a:cubicBezTo>
                  <a:cubicBezTo>
                    <a:pt x="610" y="363"/>
                    <a:pt x="610" y="363"/>
                    <a:pt x="611" y="363"/>
                  </a:cubicBezTo>
                  <a:cubicBezTo>
                    <a:pt x="612" y="363"/>
                    <a:pt x="614" y="363"/>
                    <a:pt x="615" y="363"/>
                  </a:cubicBezTo>
                  <a:cubicBezTo>
                    <a:pt x="614" y="363"/>
                    <a:pt x="611" y="364"/>
                    <a:pt x="611" y="365"/>
                  </a:cubicBezTo>
                  <a:cubicBezTo>
                    <a:pt x="611" y="365"/>
                    <a:pt x="612" y="365"/>
                    <a:pt x="614" y="365"/>
                  </a:cubicBezTo>
                  <a:cubicBezTo>
                    <a:pt x="614" y="365"/>
                    <a:pt x="615" y="365"/>
                    <a:pt x="615" y="365"/>
                  </a:cubicBezTo>
                  <a:cubicBezTo>
                    <a:pt x="615" y="365"/>
                    <a:pt x="616" y="365"/>
                    <a:pt x="616" y="365"/>
                  </a:cubicBezTo>
                  <a:cubicBezTo>
                    <a:pt x="616" y="365"/>
                    <a:pt x="616" y="365"/>
                    <a:pt x="616" y="365"/>
                  </a:cubicBezTo>
                  <a:cubicBezTo>
                    <a:pt x="615" y="366"/>
                    <a:pt x="615" y="367"/>
                    <a:pt x="615" y="367"/>
                  </a:cubicBezTo>
                  <a:cubicBezTo>
                    <a:pt x="615" y="368"/>
                    <a:pt x="616" y="368"/>
                    <a:pt x="617" y="368"/>
                  </a:cubicBezTo>
                  <a:cubicBezTo>
                    <a:pt x="618" y="365"/>
                    <a:pt x="621" y="359"/>
                    <a:pt x="618" y="357"/>
                  </a:cubicBezTo>
                  <a:cubicBezTo>
                    <a:pt x="619" y="357"/>
                    <a:pt x="620" y="357"/>
                    <a:pt x="620" y="357"/>
                  </a:cubicBezTo>
                  <a:cubicBezTo>
                    <a:pt x="621" y="357"/>
                    <a:pt x="622" y="357"/>
                    <a:pt x="622" y="357"/>
                  </a:cubicBezTo>
                  <a:cubicBezTo>
                    <a:pt x="620" y="355"/>
                    <a:pt x="620" y="356"/>
                    <a:pt x="620" y="354"/>
                  </a:cubicBezTo>
                  <a:cubicBezTo>
                    <a:pt x="620" y="353"/>
                    <a:pt x="620" y="353"/>
                    <a:pt x="620" y="353"/>
                  </a:cubicBezTo>
                  <a:cubicBezTo>
                    <a:pt x="620" y="352"/>
                    <a:pt x="620" y="352"/>
                    <a:pt x="620" y="351"/>
                  </a:cubicBezTo>
                  <a:cubicBezTo>
                    <a:pt x="619" y="351"/>
                    <a:pt x="619" y="351"/>
                    <a:pt x="619" y="351"/>
                  </a:cubicBezTo>
                  <a:cubicBezTo>
                    <a:pt x="618" y="349"/>
                    <a:pt x="617" y="348"/>
                    <a:pt x="615" y="346"/>
                  </a:cubicBezTo>
                  <a:cubicBezTo>
                    <a:pt x="617" y="347"/>
                    <a:pt x="620" y="348"/>
                    <a:pt x="623" y="348"/>
                  </a:cubicBezTo>
                  <a:cubicBezTo>
                    <a:pt x="620" y="345"/>
                    <a:pt x="615" y="346"/>
                    <a:pt x="616" y="342"/>
                  </a:cubicBezTo>
                  <a:cubicBezTo>
                    <a:pt x="617" y="343"/>
                    <a:pt x="618" y="344"/>
                    <a:pt x="619" y="344"/>
                  </a:cubicBezTo>
                  <a:cubicBezTo>
                    <a:pt x="620" y="344"/>
                    <a:pt x="620" y="344"/>
                    <a:pt x="620" y="344"/>
                  </a:cubicBezTo>
                  <a:cubicBezTo>
                    <a:pt x="622" y="343"/>
                    <a:pt x="621" y="341"/>
                    <a:pt x="620" y="340"/>
                  </a:cubicBezTo>
                  <a:cubicBezTo>
                    <a:pt x="618" y="339"/>
                    <a:pt x="615" y="340"/>
                    <a:pt x="613" y="339"/>
                  </a:cubicBezTo>
                  <a:cubicBezTo>
                    <a:pt x="614" y="338"/>
                    <a:pt x="616" y="338"/>
                    <a:pt x="618" y="338"/>
                  </a:cubicBezTo>
                  <a:cubicBezTo>
                    <a:pt x="619" y="338"/>
                    <a:pt x="620" y="338"/>
                    <a:pt x="622" y="339"/>
                  </a:cubicBezTo>
                  <a:cubicBezTo>
                    <a:pt x="621" y="336"/>
                    <a:pt x="617" y="332"/>
                    <a:pt x="618" y="329"/>
                  </a:cubicBezTo>
                  <a:cubicBezTo>
                    <a:pt x="620" y="332"/>
                    <a:pt x="622" y="335"/>
                    <a:pt x="623" y="338"/>
                  </a:cubicBezTo>
                  <a:cubicBezTo>
                    <a:pt x="624" y="339"/>
                    <a:pt x="625" y="340"/>
                    <a:pt x="626" y="340"/>
                  </a:cubicBezTo>
                  <a:cubicBezTo>
                    <a:pt x="626" y="340"/>
                    <a:pt x="626" y="340"/>
                    <a:pt x="627" y="340"/>
                  </a:cubicBezTo>
                  <a:cubicBezTo>
                    <a:pt x="627" y="340"/>
                    <a:pt x="628" y="340"/>
                    <a:pt x="628" y="340"/>
                  </a:cubicBezTo>
                  <a:cubicBezTo>
                    <a:pt x="629" y="340"/>
                    <a:pt x="630" y="341"/>
                    <a:pt x="630" y="342"/>
                  </a:cubicBezTo>
                  <a:cubicBezTo>
                    <a:pt x="631" y="340"/>
                    <a:pt x="631" y="338"/>
                    <a:pt x="631" y="336"/>
                  </a:cubicBezTo>
                  <a:cubicBezTo>
                    <a:pt x="633" y="337"/>
                    <a:pt x="633" y="339"/>
                    <a:pt x="634" y="341"/>
                  </a:cubicBezTo>
                  <a:cubicBezTo>
                    <a:pt x="635" y="342"/>
                    <a:pt x="636" y="341"/>
                    <a:pt x="638" y="342"/>
                  </a:cubicBezTo>
                  <a:cubicBezTo>
                    <a:pt x="638" y="341"/>
                    <a:pt x="638" y="339"/>
                    <a:pt x="637" y="339"/>
                  </a:cubicBezTo>
                  <a:cubicBezTo>
                    <a:pt x="637" y="337"/>
                    <a:pt x="636" y="338"/>
                    <a:pt x="636" y="337"/>
                  </a:cubicBezTo>
                  <a:cubicBezTo>
                    <a:pt x="635" y="337"/>
                    <a:pt x="634" y="337"/>
                    <a:pt x="633" y="336"/>
                  </a:cubicBezTo>
                  <a:cubicBezTo>
                    <a:pt x="635" y="336"/>
                    <a:pt x="637" y="336"/>
                    <a:pt x="639" y="337"/>
                  </a:cubicBezTo>
                  <a:cubicBezTo>
                    <a:pt x="638" y="333"/>
                    <a:pt x="634" y="333"/>
                    <a:pt x="633" y="330"/>
                  </a:cubicBezTo>
                  <a:cubicBezTo>
                    <a:pt x="636" y="331"/>
                    <a:pt x="637" y="333"/>
                    <a:pt x="640" y="333"/>
                  </a:cubicBezTo>
                  <a:cubicBezTo>
                    <a:pt x="640" y="334"/>
                    <a:pt x="641" y="334"/>
                    <a:pt x="641" y="334"/>
                  </a:cubicBezTo>
                  <a:cubicBezTo>
                    <a:pt x="642" y="334"/>
                    <a:pt x="642" y="334"/>
                    <a:pt x="643" y="334"/>
                  </a:cubicBezTo>
                  <a:cubicBezTo>
                    <a:pt x="644" y="333"/>
                    <a:pt x="644" y="333"/>
                    <a:pt x="645" y="333"/>
                  </a:cubicBezTo>
                  <a:cubicBezTo>
                    <a:pt x="645" y="333"/>
                    <a:pt x="645" y="333"/>
                    <a:pt x="646" y="333"/>
                  </a:cubicBezTo>
                  <a:cubicBezTo>
                    <a:pt x="645" y="333"/>
                    <a:pt x="645" y="331"/>
                    <a:pt x="644" y="330"/>
                  </a:cubicBezTo>
                  <a:cubicBezTo>
                    <a:pt x="644" y="330"/>
                    <a:pt x="643" y="330"/>
                    <a:pt x="643" y="329"/>
                  </a:cubicBezTo>
                  <a:cubicBezTo>
                    <a:pt x="642" y="328"/>
                    <a:pt x="643" y="328"/>
                    <a:pt x="641" y="327"/>
                  </a:cubicBezTo>
                  <a:cubicBezTo>
                    <a:pt x="641" y="326"/>
                    <a:pt x="641" y="326"/>
                    <a:pt x="640" y="326"/>
                  </a:cubicBezTo>
                  <a:cubicBezTo>
                    <a:pt x="639" y="326"/>
                    <a:pt x="639" y="326"/>
                    <a:pt x="638" y="326"/>
                  </a:cubicBezTo>
                  <a:cubicBezTo>
                    <a:pt x="638" y="326"/>
                    <a:pt x="637" y="326"/>
                    <a:pt x="637" y="326"/>
                  </a:cubicBezTo>
                  <a:cubicBezTo>
                    <a:pt x="637" y="326"/>
                    <a:pt x="636" y="326"/>
                    <a:pt x="636" y="326"/>
                  </a:cubicBezTo>
                  <a:cubicBezTo>
                    <a:pt x="635" y="326"/>
                    <a:pt x="634" y="326"/>
                    <a:pt x="634" y="325"/>
                  </a:cubicBezTo>
                  <a:cubicBezTo>
                    <a:pt x="633" y="325"/>
                    <a:pt x="633" y="324"/>
                    <a:pt x="632" y="323"/>
                  </a:cubicBezTo>
                  <a:cubicBezTo>
                    <a:pt x="631" y="323"/>
                    <a:pt x="630" y="322"/>
                    <a:pt x="628" y="322"/>
                  </a:cubicBezTo>
                  <a:cubicBezTo>
                    <a:pt x="629" y="322"/>
                    <a:pt x="629" y="322"/>
                    <a:pt x="630" y="322"/>
                  </a:cubicBezTo>
                  <a:cubicBezTo>
                    <a:pt x="631" y="322"/>
                    <a:pt x="631" y="322"/>
                    <a:pt x="633" y="323"/>
                  </a:cubicBezTo>
                  <a:cubicBezTo>
                    <a:pt x="635" y="325"/>
                    <a:pt x="637" y="325"/>
                    <a:pt x="639" y="325"/>
                  </a:cubicBezTo>
                  <a:cubicBezTo>
                    <a:pt x="641" y="325"/>
                    <a:pt x="641" y="325"/>
                    <a:pt x="643" y="326"/>
                  </a:cubicBezTo>
                  <a:cubicBezTo>
                    <a:pt x="643" y="326"/>
                    <a:pt x="645" y="327"/>
                    <a:pt x="645" y="327"/>
                  </a:cubicBezTo>
                  <a:cubicBezTo>
                    <a:pt x="645" y="327"/>
                    <a:pt x="646" y="327"/>
                    <a:pt x="646" y="327"/>
                  </a:cubicBezTo>
                  <a:cubicBezTo>
                    <a:pt x="647" y="327"/>
                    <a:pt x="648" y="327"/>
                    <a:pt x="650" y="326"/>
                  </a:cubicBezTo>
                  <a:cubicBezTo>
                    <a:pt x="651" y="326"/>
                    <a:pt x="652" y="326"/>
                    <a:pt x="653" y="326"/>
                  </a:cubicBezTo>
                  <a:cubicBezTo>
                    <a:pt x="654" y="326"/>
                    <a:pt x="654" y="326"/>
                    <a:pt x="654" y="326"/>
                  </a:cubicBezTo>
                  <a:cubicBezTo>
                    <a:pt x="653" y="325"/>
                    <a:pt x="651" y="325"/>
                    <a:pt x="651" y="324"/>
                  </a:cubicBezTo>
                  <a:cubicBezTo>
                    <a:pt x="650" y="323"/>
                    <a:pt x="650" y="321"/>
                    <a:pt x="648" y="320"/>
                  </a:cubicBezTo>
                  <a:cubicBezTo>
                    <a:pt x="647" y="320"/>
                    <a:pt x="643" y="319"/>
                    <a:pt x="642" y="319"/>
                  </a:cubicBezTo>
                  <a:cubicBezTo>
                    <a:pt x="641" y="318"/>
                    <a:pt x="641" y="318"/>
                    <a:pt x="640" y="318"/>
                  </a:cubicBezTo>
                  <a:cubicBezTo>
                    <a:pt x="640" y="318"/>
                    <a:pt x="640" y="318"/>
                    <a:pt x="640" y="318"/>
                  </a:cubicBezTo>
                  <a:cubicBezTo>
                    <a:pt x="639" y="318"/>
                    <a:pt x="639" y="318"/>
                    <a:pt x="638" y="318"/>
                  </a:cubicBezTo>
                  <a:cubicBezTo>
                    <a:pt x="638" y="318"/>
                    <a:pt x="638" y="318"/>
                    <a:pt x="637" y="318"/>
                  </a:cubicBezTo>
                  <a:cubicBezTo>
                    <a:pt x="637" y="318"/>
                    <a:pt x="637" y="318"/>
                    <a:pt x="636" y="318"/>
                  </a:cubicBezTo>
                  <a:cubicBezTo>
                    <a:pt x="634" y="318"/>
                    <a:pt x="634" y="316"/>
                    <a:pt x="633" y="314"/>
                  </a:cubicBezTo>
                  <a:cubicBezTo>
                    <a:pt x="635" y="315"/>
                    <a:pt x="636" y="317"/>
                    <a:pt x="637" y="318"/>
                  </a:cubicBezTo>
                  <a:cubicBezTo>
                    <a:pt x="639" y="316"/>
                    <a:pt x="643" y="312"/>
                    <a:pt x="641" y="311"/>
                  </a:cubicBezTo>
                  <a:cubicBezTo>
                    <a:pt x="641" y="310"/>
                    <a:pt x="641" y="310"/>
                    <a:pt x="641" y="310"/>
                  </a:cubicBezTo>
                  <a:cubicBezTo>
                    <a:pt x="640" y="310"/>
                    <a:pt x="640" y="311"/>
                    <a:pt x="639" y="311"/>
                  </a:cubicBezTo>
                  <a:cubicBezTo>
                    <a:pt x="639" y="311"/>
                    <a:pt x="638" y="311"/>
                    <a:pt x="638" y="311"/>
                  </a:cubicBezTo>
                  <a:cubicBezTo>
                    <a:pt x="637" y="311"/>
                    <a:pt x="637" y="311"/>
                    <a:pt x="637" y="311"/>
                  </a:cubicBezTo>
                  <a:cubicBezTo>
                    <a:pt x="637" y="310"/>
                    <a:pt x="638" y="310"/>
                    <a:pt x="639" y="310"/>
                  </a:cubicBezTo>
                  <a:cubicBezTo>
                    <a:pt x="641" y="310"/>
                    <a:pt x="645" y="312"/>
                    <a:pt x="648" y="313"/>
                  </a:cubicBezTo>
                  <a:cubicBezTo>
                    <a:pt x="648" y="314"/>
                    <a:pt x="648" y="315"/>
                    <a:pt x="648" y="315"/>
                  </a:cubicBezTo>
                  <a:cubicBezTo>
                    <a:pt x="648" y="316"/>
                    <a:pt x="648" y="317"/>
                    <a:pt x="649" y="318"/>
                  </a:cubicBezTo>
                  <a:cubicBezTo>
                    <a:pt x="649" y="319"/>
                    <a:pt x="650" y="320"/>
                    <a:pt x="651" y="321"/>
                  </a:cubicBezTo>
                  <a:cubicBezTo>
                    <a:pt x="652" y="322"/>
                    <a:pt x="653" y="322"/>
                    <a:pt x="654" y="322"/>
                  </a:cubicBezTo>
                  <a:cubicBezTo>
                    <a:pt x="655" y="322"/>
                    <a:pt x="656" y="322"/>
                    <a:pt x="657" y="322"/>
                  </a:cubicBezTo>
                  <a:cubicBezTo>
                    <a:pt x="658" y="321"/>
                    <a:pt x="661" y="321"/>
                    <a:pt x="663" y="320"/>
                  </a:cubicBezTo>
                  <a:cubicBezTo>
                    <a:pt x="662" y="319"/>
                    <a:pt x="659" y="316"/>
                    <a:pt x="656" y="315"/>
                  </a:cubicBezTo>
                  <a:cubicBezTo>
                    <a:pt x="657" y="314"/>
                    <a:pt x="657" y="314"/>
                    <a:pt x="658" y="313"/>
                  </a:cubicBezTo>
                  <a:cubicBezTo>
                    <a:pt x="658" y="313"/>
                    <a:pt x="658" y="313"/>
                    <a:pt x="658" y="313"/>
                  </a:cubicBezTo>
                  <a:cubicBezTo>
                    <a:pt x="659" y="314"/>
                    <a:pt x="659" y="314"/>
                    <a:pt x="659" y="314"/>
                  </a:cubicBezTo>
                  <a:cubicBezTo>
                    <a:pt x="662" y="315"/>
                    <a:pt x="662" y="318"/>
                    <a:pt x="665" y="318"/>
                  </a:cubicBezTo>
                  <a:cubicBezTo>
                    <a:pt x="665" y="318"/>
                    <a:pt x="666" y="318"/>
                    <a:pt x="666" y="317"/>
                  </a:cubicBezTo>
                  <a:cubicBezTo>
                    <a:pt x="667" y="317"/>
                    <a:pt x="670" y="316"/>
                    <a:pt x="670" y="315"/>
                  </a:cubicBezTo>
                  <a:cubicBezTo>
                    <a:pt x="671" y="313"/>
                    <a:pt x="663" y="306"/>
                    <a:pt x="662" y="305"/>
                  </a:cubicBezTo>
                  <a:cubicBezTo>
                    <a:pt x="660" y="303"/>
                    <a:pt x="659" y="302"/>
                    <a:pt x="657" y="302"/>
                  </a:cubicBezTo>
                  <a:cubicBezTo>
                    <a:pt x="656" y="302"/>
                    <a:pt x="655" y="303"/>
                    <a:pt x="654" y="303"/>
                  </a:cubicBezTo>
                  <a:cubicBezTo>
                    <a:pt x="650" y="303"/>
                    <a:pt x="650" y="304"/>
                    <a:pt x="650" y="307"/>
                  </a:cubicBezTo>
                  <a:cubicBezTo>
                    <a:pt x="649" y="307"/>
                    <a:pt x="649" y="306"/>
                    <a:pt x="649" y="306"/>
                  </a:cubicBezTo>
                  <a:cubicBezTo>
                    <a:pt x="648" y="305"/>
                    <a:pt x="648" y="304"/>
                    <a:pt x="648" y="303"/>
                  </a:cubicBezTo>
                  <a:cubicBezTo>
                    <a:pt x="648" y="301"/>
                    <a:pt x="648" y="300"/>
                    <a:pt x="648" y="298"/>
                  </a:cubicBezTo>
                  <a:cubicBezTo>
                    <a:pt x="649" y="294"/>
                    <a:pt x="651" y="290"/>
                    <a:pt x="653" y="286"/>
                  </a:cubicBezTo>
                  <a:cubicBezTo>
                    <a:pt x="653" y="286"/>
                    <a:pt x="653" y="286"/>
                    <a:pt x="652" y="286"/>
                  </a:cubicBezTo>
                  <a:cubicBezTo>
                    <a:pt x="651" y="286"/>
                    <a:pt x="648" y="286"/>
                    <a:pt x="647" y="287"/>
                  </a:cubicBezTo>
                  <a:cubicBezTo>
                    <a:pt x="647" y="288"/>
                    <a:pt x="647" y="289"/>
                    <a:pt x="647" y="289"/>
                  </a:cubicBezTo>
                  <a:cubicBezTo>
                    <a:pt x="646" y="289"/>
                    <a:pt x="644" y="290"/>
                    <a:pt x="643" y="291"/>
                  </a:cubicBezTo>
                  <a:cubicBezTo>
                    <a:pt x="642" y="294"/>
                    <a:pt x="647" y="295"/>
                    <a:pt x="646" y="298"/>
                  </a:cubicBezTo>
                  <a:cubicBezTo>
                    <a:pt x="644" y="296"/>
                    <a:pt x="642" y="290"/>
                    <a:pt x="640" y="290"/>
                  </a:cubicBezTo>
                  <a:cubicBezTo>
                    <a:pt x="640" y="290"/>
                    <a:pt x="639" y="290"/>
                    <a:pt x="639" y="290"/>
                  </a:cubicBezTo>
                  <a:cubicBezTo>
                    <a:pt x="636" y="290"/>
                    <a:pt x="636" y="293"/>
                    <a:pt x="635" y="294"/>
                  </a:cubicBezTo>
                  <a:cubicBezTo>
                    <a:pt x="635" y="295"/>
                    <a:pt x="636" y="295"/>
                    <a:pt x="636" y="296"/>
                  </a:cubicBezTo>
                  <a:cubicBezTo>
                    <a:pt x="636" y="296"/>
                    <a:pt x="635" y="297"/>
                    <a:pt x="634" y="298"/>
                  </a:cubicBezTo>
                  <a:cubicBezTo>
                    <a:pt x="634" y="299"/>
                    <a:pt x="634" y="301"/>
                    <a:pt x="632" y="301"/>
                  </a:cubicBezTo>
                  <a:cubicBezTo>
                    <a:pt x="632" y="299"/>
                    <a:pt x="634" y="297"/>
                    <a:pt x="634" y="294"/>
                  </a:cubicBezTo>
                  <a:cubicBezTo>
                    <a:pt x="634" y="292"/>
                    <a:pt x="633" y="291"/>
                    <a:pt x="634" y="289"/>
                  </a:cubicBezTo>
                  <a:cubicBezTo>
                    <a:pt x="633" y="289"/>
                    <a:pt x="633" y="289"/>
                    <a:pt x="633" y="289"/>
                  </a:cubicBezTo>
                  <a:cubicBezTo>
                    <a:pt x="630" y="289"/>
                    <a:pt x="623" y="290"/>
                    <a:pt x="622" y="292"/>
                  </a:cubicBezTo>
                  <a:cubicBezTo>
                    <a:pt x="622" y="292"/>
                    <a:pt x="622" y="295"/>
                    <a:pt x="622" y="296"/>
                  </a:cubicBezTo>
                  <a:cubicBezTo>
                    <a:pt x="622" y="297"/>
                    <a:pt x="621" y="298"/>
                    <a:pt x="620" y="299"/>
                  </a:cubicBezTo>
                  <a:cubicBezTo>
                    <a:pt x="620" y="297"/>
                    <a:pt x="620" y="294"/>
                    <a:pt x="620" y="291"/>
                  </a:cubicBezTo>
                  <a:cubicBezTo>
                    <a:pt x="617" y="294"/>
                    <a:pt x="617" y="295"/>
                    <a:pt x="614" y="295"/>
                  </a:cubicBezTo>
                  <a:cubicBezTo>
                    <a:pt x="613" y="295"/>
                    <a:pt x="612" y="295"/>
                    <a:pt x="611" y="295"/>
                  </a:cubicBezTo>
                  <a:cubicBezTo>
                    <a:pt x="613" y="294"/>
                    <a:pt x="615" y="295"/>
                    <a:pt x="617" y="294"/>
                  </a:cubicBezTo>
                  <a:cubicBezTo>
                    <a:pt x="618" y="293"/>
                    <a:pt x="616" y="292"/>
                    <a:pt x="617" y="291"/>
                  </a:cubicBezTo>
                  <a:cubicBezTo>
                    <a:pt x="619" y="290"/>
                    <a:pt x="622" y="291"/>
                    <a:pt x="624" y="289"/>
                  </a:cubicBezTo>
                  <a:cubicBezTo>
                    <a:pt x="627" y="286"/>
                    <a:pt x="621" y="284"/>
                    <a:pt x="626" y="282"/>
                  </a:cubicBezTo>
                  <a:cubicBezTo>
                    <a:pt x="627" y="281"/>
                    <a:pt x="630" y="281"/>
                    <a:pt x="630" y="279"/>
                  </a:cubicBezTo>
                  <a:cubicBezTo>
                    <a:pt x="631" y="277"/>
                    <a:pt x="630" y="276"/>
                    <a:pt x="629" y="276"/>
                  </a:cubicBezTo>
                  <a:cubicBezTo>
                    <a:pt x="628" y="276"/>
                    <a:pt x="626" y="277"/>
                    <a:pt x="626" y="277"/>
                  </a:cubicBezTo>
                  <a:cubicBezTo>
                    <a:pt x="622" y="279"/>
                    <a:pt x="622" y="277"/>
                    <a:pt x="620" y="280"/>
                  </a:cubicBezTo>
                  <a:cubicBezTo>
                    <a:pt x="620" y="282"/>
                    <a:pt x="620" y="283"/>
                    <a:pt x="617" y="285"/>
                  </a:cubicBezTo>
                  <a:cubicBezTo>
                    <a:pt x="615" y="286"/>
                    <a:pt x="613" y="285"/>
                    <a:pt x="612" y="289"/>
                  </a:cubicBezTo>
                  <a:cubicBezTo>
                    <a:pt x="611" y="284"/>
                    <a:pt x="620" y="284"/>
                    <a:pt x="619" y="279"/>
                  </a:cubicBezTo>
                  <a:cubicBezTo>
                    <a:pt x="618" y="279"/>
                    <a:pt x="617" y="279"/>
                    <a:pt x="615" y="279"/>
                  </a:cubicBezTo>
                  <a:cubicBezTo>
                    <a:pt x="610" y="279"/>
                    <a:pt x="606" y="280"/>
                    <a:pt x="601" y="281"/>
                  </a:cubicBezTo>
                  <a:cubicBezTo>
                    <a:pt x="599" y="282"/>
                    <a:pt x="596" y="282"/>
                    <a:pt x="594" y="283"/>
                  </a:cubicBezTo>
                  <a:cubicBezTo>
                    <a:pt x="592" y="284"/>
                    <a:pt x="593" y="287"/>
                    <a:pt x="591" y="287"/>
                  </a:cubicBezTo>
                  <a:cubicBezTo>
                    <a:pt x="590" y="282"/>
                    <a:pt x="594" y="281"/>
                    <a:pt x="599" y="280"/>
                  </a:cubicBezTo>
                  <a:cubicBezTo>
                    <a:pt x="602" y="280"/>
                    <a:pt x="607" y="280"/>
                    <a:pt x="607" y="277"/>
                  </a:cubicBezTo>
                  <a:cubicBezTo>
                    <a:pt x="607" y="277"/>
                    <a:pt x="607" y="277"/>
                    <a:pt x="607" y="277"/>
                  </a:cubicBezTo>
                  <a:cubicBezTo>
                    <a:pt x="604" y="277"/>
                    <a:pt x="600" y="278"/>
                    <a:pt x="596" y="278"/>
                  </a:cubicBezTo>
                  <a:cubicBezTo>
                    <a:pt x="593" y="278"/>
                    <a:pt x="591" y="280"/>
                    <a:pt x="589" y="280"/>
                  </a:cubicBezTo>
                  <a:cubicBezTo>
                    <a:pt x="592" y="276"/>
                    <a:pt x="597" y="279"/>
                    <a:pt x="601" y="276"/>
                  </a:cubicBezTo>
                  <a:cubicBezTo>
                    <a:pt x="597" y="275"/>
                    <a:pt x="593" y="276"/>
                    <a:pt x="589" y="274"/>
                  </a:cubicBezTo>
                  <a:cubicBezTo>
                    <a:pt x="589" y="274"/>
                    <a:pt x="590" y="274"/>
                    <a:pt x="591" y="274"/>
                  </a:cubicBezTo>
                  <a:cubicBezTo>
                    <a:pt x="593" y="274"/>
                    <a:pt x="596" y="274"/>
                    <a:pt x="598" y="275"/>
                  </a:cubicBezTo>
                  <a:cubicBezTo>
                    <a:pt x="601" y="275"/>
                    <a:pt x="603" y="276"/>
                    <a:pt x="606" y="276"/>
                  </a:cubicBezTo>
                  <a:cubicBezTo>
                    <a:pt x="606" y="276"/>
                    <a:pt x="606" y="275"/>
                    <a:pt x="607" y="275"/>
                  </a:cubicBezTo>
                  <a:cubicBezTo>
                    <a:pt x="609" y="275"/>
                    <a:pt x="609" y="275"/>
                    <a:pt x="608" y="273"/>
                  </a:cubicBezTo>
                  <a:cubicBezTo>
                    <a:pt x="607" y="270"/>
                    <a:pt x="606" y="269"/>
                    <a:pt x="605" y="267"/>
                  </a:cubicBezTo>
                  <a:cubicBezTo>
                    <a:pt x="607" y="267"/>
                    <a:pt x="603" y="262"/>
                    <a:pt x="602" y="261"/>
                  </a:cubicBezTo>
                  <a:cubicBezTo>
                    <a:pt x="599" y="259"/>
                    <a:pt x="597" y="256"/>
                    <a:pt x="594" y="256"/>
                  </a:cubicBezTo>
                  <a:cubicBezTo>
                    <a:pt x="593" y="256"/>
                    <a:pt x="591" y="256"/>
                    <a:pt x="590" y="258"/>
                  </a:cubicBezTo>
                  <a:cubicBezTo>
                    <a:pt x="589" y="258"/>
                    <a:pt x="589" y="260"/>
                    <a:pt x="588" y="260"/>
                  </a:cubicBezTo>
                  <a:cubicBezTo>
                    <a:pt x="588" y="260"/>
                    <a:pt x="588" y="260"/>
                    <a:pt x="588" y="260"/>
                  </a:cubicBezTo>
                  <a:cubicBezTo>
                    <a:pt x="587" y="260"/>
                    <a:pt x="587" y="259"/>
                    <a:pt x="587" y="259"/>
                  </a:cubicBezTo>
                  <a:cubicBezTo>
                    <a:pt x="587" y="259"/>
                    <a:pt x="587" y="258"/>
                    <a:pt x="586" y="258"/>
                  </a:cubicBezTo>
                  <a:cubicBezTo>
                    <a:pt x="586" y="258"/>
                    <a:pt x="586" y="258"/>
                    <a:pt x="586" y="258"/>
                  </a:cubicBezTo>
                  <a:cubicBezTo>
                    <a:pt x="585" y="258"/>
                    <a:pt x="584" y="258"/>
                    <a:pt x="584" y="258"/>
                  </a:cubicBezTo>
                  <a:cubicBezTo>
                    <a:pt x="581" y="259"/>
                    <a:pt x="580" y="259"/>
                    <a:pt x="580" y="262"/>
                  </a:cubicBezTo>
                  <a:cubicBezTo>
                    <a:pt x="580" y="261"/>
                    <a:pt x="580" y="260"/>
                    <a:pt x="580" y="258"/>
                  </a:cubicBezTo>
                  <a:cubicBezTo>
                    <a:pt x="581" y="258"/>
                    <a:pt x="582" y="258"/>
                    <a:pt x="582" y="257"/>
                  </a:cubicBezTo>
                  <a:cubicBezTo>
                    <a:pt x="583" y="256"/>
                    <a:pt x="583" y="255"/>
                    <a:pt x="581" y="254"/>
                  </a:cubicBezTo>
                  <a:cubicBezTo>
                    <a:pt x="581" y="254"/>
                    <a:pt x="582" y="254"/>
                    <a:pt x="582" y="254"/>
                  </a:cubicBezTo>
                  <a:cubicBezTo>
                    <a:pt x="584" y="254"/>
                    <a:pt x="585" y="252"/>
                    <a:pt x="584" y="250"/>
                  </a:cubicBezTo>
                  <a:cubicBezTo>
                    <a:pt x="584" y="251"/>
                    <a:pt x="585" y="251"/>
                    <a:pt x="585" y="251"/>
                  </a:cubicBezTo>
                  <a:cubicBezTo>
                    <a:pt x="587" y="251"/>
                    <a:pt x="588" y="250"/>
                    <a:pt x="590" y="249"/>
                  </a:cubicBezTo>
                  <a:cubicBezTo>
                    <a:pt x="584" y="249"/>
                    <a:pt x="573" y="249"/>
                    <a:pt x="571" y="256"/>
                  </a:cubicBezTo>
                  <a:cubicBezTo>
                    <a:pt x="571" y="258"/>
                    <a:pt x="573" y="257"/>
                    <a:pt x="575" y="259"/>
                  </a:cubicBezTo>
                  <a:cubicBezTo>
                    <a:pt x="575" y="260"/>
                    <a:pt x="576" y="263"/>
                    <a:pt x="576" y="264"/>
                  </a:cubicBezTo>
                  <a:cubicBezTo>
                    <a:pt x="574" y="262"/>
                    <a:pt x="572" y="259"/>
                    <a:pt x="571" y="257"/>
                  </a:cubicBezTo>
                  <a:cubicBezTo>
                    <a:pt x="570" y="255"/>
                    <a:pt x="571" y="255"/>
                    <a:pt x="571" y="254"/>
                  </a:cubicBezTo>
                  <a:cubicBezTo>
                    <a:pt x="572" y="252"/>
                    <a:pt x="573" y="250"/>
                    <a:pt x="573" y="248"/>
                  </a:cubicBezTo>
                  <a:cubicBezTo>
                    <a:pt x="571" y="249"/>
                    <a:pt x="569" y="249"/>
                    <a:pt x="567" y="250"/>
                  </a:cubicBezTo>
                  <a:cubicBezTo>
                    <a:pt x="566" y="251"/>
                    <a:pt x="566" y="251"/>
                    <a:pt x="565" y="252"/>
                  </a:cubicBezTo>
                  <a:cubicBezTo>
                    <a:pt x="565" y="253"/>
                    <a:pt x="562" y="254"/>
                    <a:pt x="562" y="255"/>
                  </a:cubicBezTo>
                  <a:cubicBezTo>
                    <a:pt x="561" y="256"/>
                    <a:pt x="562" y="258"/>
                    <a:pt x="561" y="259"/>
                  </a:cubicBezTo>
                  <a:cubicBezTo>
                    <a:pt x="561" y="260"/>
                    <a:pt x="561" y="261"/>
                    <a:pt x="560" y="263"/>
                  </a:cubicBezTo>
                  <a:cubicBezTo>
                    <a:pt x="560" y="261"/>
                    <a:pt x="560" y="257"/>
                    <a:pt x="560" y="255"/>
                  </a:cubicBezTo>
                  <a:cubicBezTo>
                    <a:pt x="560" y="255"/>
                    <a:pt x="561" y="254"/>
                    <a:pt x="561" y="253"/>
                  </a:cubicBezTo>
                  <a:cubicBezTo>
                    <a:pt x="562" y="252"/>
                    <a:pt x="560" y="252"/>
                    <a:pt x="560" y="251"/>
                  </a:cubicBezTo>
                  <a:cubicBezTo>
                    <a:pt x="560" y="248"/>
                    <a:pt x="566" y="245"/>
                    <a:pt x="562" y="242"/>
                  </a:cubicBezTo>
                  <a:cubicBezTo>
                    <a:pt x="561" y="246"/>
                    <a:pt x="562" y="246"/>
                    <a:pt x="559" y="248"/>
                  </a:cubicBezTo>
                  <a:cubicBezTo>
                    <a:pt x="557" y="248"/>
                    <a:pt x="554" y="249"/>
                    <a:pt x="553" y="250"/>
                  </a:cubicBezTo>
                  <a:cubicBezTo>
                    <a:pt x="552" y="252"/>
                    <a:pt x="553" y="253"/>
                    <a:pt x="552" y="255"/>
                  </a:cubicBezTo>
                  <a:cubicBezTo>
                    <a:pt x="552" y="256"/>
                    <a:pt x="552" y="256"/>
                    <a:pt x="552" y="256"/>
                  </a:cubicBezTo>
                  <a:cubicBezTo>
                    <a:pt x="551" y="256"/>
                    <a:pt x="551" y="256"/>
                    <a:pt x="550" y="256"/>
                  </a:cubicBezTo>
                  <a:cubicBezTo>
                    <a:pt x="548" y="255"/>
                    <a:pt x="546" y="254"/>
                    <a:pt x="543" y="253"/>
                  </a:cubicBezTo>
                  <a:cubicBezTo>
                    <a:pt x="544" y="253"/>
                    <a:pt x="544" y="253"/>
                    <a:pt x="544" y="253"/>
                  </a:cubicBezTo>
                  <a:cubicBezTo>
                    <a:pt x="545" y="253"/>
                    <a:pt x="546" y="253"/>
                    <a:pt x="547" y="253"/>
                  </a:cubicBezTo>
                  <a:cubicBezTo>
                    <a:pt x="548" y="254"/>
                    <a:pt x="548" y="254"/>
                    <a:pt x="549" y="254"/>
                  </a:cubicBezTo>
                  <a:cubicBezTo>
                    <a:pt x="550" y="254"/>
                    <a:pt x="550" y="254"/>
                    <a:pt x="551" y="253"/>
                  </a:cubicBezTo>
                  <a:cubicBezTo>
                    <a:pt x="552" y="253"/>
                    <a:pt x="552" y="250"/>
                    <a:pt x="553" y="249"/>
                  </a:cubicBezTo>
                  <a:cubicBezTo>
                    <a:pt x="554" y="247"/>
                    <a:pt x="558" y="247"/>
                    <a:pt x="554" y="245"/>
                  </a:cubicBezTo>
                  <a:cubicBezTo>
                    <a:pt x="553" y="245"/>
                    <a:pt x="553" y="245"/>
                    <a:pt x="553" y="245"/>
                  </a:cubicBezTo>
                  <a:cubicBezTo>
                    <a:pt x="550" y="245"/>
                    <a:pt x="545" y="247"/>
                    <a:pt x="544" y="249"/>
                  </a:cubicBezTo>
                  <a:cubicBezTo>
                    <a:pt x="544" y="247"/>
                    <a:pt x="544" y="245"/>
                    <a:pt x="545" y="243"/>
                  </a:cubicBezTo>
                  <a:cubicBezTo>
                    <a:pt x="543" y="244"/>
                    <a:pt x="539" y="247"/>
                    <a:pt x="539" y="247"/>
                  </a:cubicBezTo>
                  <a:cubicBezTo>
                    <a:pt x="539" y="247"/>
                    <a:pt x="539" y="247"/>
                    <a:pt x="539" y="247"/>
                  </a:cubicBezTo>
                  <a:cubicBezTo>
                    <a:pt x="537" y="247"/>
                    <a:pt x="540" y="243"/>
                    <a:pt x="541" y="242"/>
                  </a:cubicBezTo>
                  <a:cubicBezTo>
                    <a:pt x="540" y="242"/>
                    <a:pt x="540" y="242"/>
                    <a:pt x="540" y="242"/>
                  </a:cubicBezTo>
                  <a:cubicBezTo>
                    <a:pt x="540" y="242"/>
                    <a:pt x="541" y="241"/>
                    <a:pt x="541" y="241"/>
                  </a:cubicBezTo>
                  <a:cubicBezTo>
                    <a:pt x="542" y="238"/>
                    <a:pt x="541" y="238"/>
                    <a:pt x="538" y="238"/>
                  </a:cubicBezTo>
                  <a:cubicBezTo>
                    <a:pt x="538" y="238"/>
                    <a:pt x="537" y="238"/>
                    <a:pt x="537" y="238"/>
                  </a:cubicBezTo>
                  <a:cubicBezTo>
                    <a:pt x="536" y="238"/>
                    <a:pt x="535" y="238"/>
                    <a:pt x="535" y="238"/>
                  </a:cubicBezTo>
                  <a:cubicBezTo>
                    <a:pt x="535" y="238"/>
                    <a:pt x="535" y="238"/>
                    <a:pt x="535" y="238"/>
                  </a:cubicBezTo>
                  <a:cubicBezTo>
                    <a:pt x="534" y="238"/>
                    <a:pt x="534" y="238"/>
                    <a:pt x="533" y="238"/>
                  </a:cubicBezTo>
                  <a:cubicBezTo>
                    <a:pt x="529" y="238"/>
                    <a:pt x="532" y="239"/>
                    <a:pt x="530" y="242"/>
                  </a:cubicBezTo>
                  <a:cubicBezTo>
                    <a:pt x="529" y="243"/>
                    <a:pt x="528" y="243"/>
                    <a:pt x="528" y="243"/>
                  </a:cubicBezTo>
                  <a:cubicBezTo>
                    <a:pt x="526" y="243"/>
                    <a:pt x="525" y="242"/>
                    <a:pt x="524" y="242"/>
                  </a:cubicBezTo>
                  <a:cubicBezTo>
                    <a:pt x="525" y="242"/>
                    <a:pt x="526" y="242"/>
                    <a:pt x="527" y="242"/>
                  </a:cubicBezTo>
                  <a:cubicBezTo>
                    <a:pt x="528" y="242"/>
                    <a:pt x="529" y="242"/>
                    <a:pt x="529" y="241"/>
                  </a:cubicBezTo>
                  <a:cubicBezTo>
                    <a:pt x="530" y="240"/>
                    <a:pt x="529" y="239"/>
                    <a:pt x="530" y="237"/>
                  </a:cubicBezTo>
                  <a:cubicBezTo>
                    <a:pt x="532" y="236"/>
                    <a:pt x="534" y="236"/>
                    <a:pt x="537" y="235"/>
                  </a:cubicBezTo>
                  <a:cubicBezTo>
                    <a:pt x="535" y="235"/>
                    <a:pt x="532" y="235"/>
                    <a:pt x="530" y="235"/>
                  </a:cubicBezTo>
                  <a:cubicBezTo>
                    <a:pt x="528" y="235"/>
                    <a:pt x="526" y="235"/>
                    <a:pt x="525" y="236"/>
                  </a:cubicBezTo>
                  <a:cubicBezTo>
                    <a:pt x="524" y="236"/>
                    <a:pt x="525" y="237"/>
                    <a:pt x="524" y="238"/>
                  </a:cubicBezTo>
                  <a:cubicBezTo>
                    <a:pt x="524" y="238"/>
                    <a:pt x="522" y="238"/>
                    <a:pt x="521" y="238"/>
                  </a:cubicBezTo>
                  <a:cubicBezTo>
                    <a:pt x="524" y="238"/>
                    <a:pt x="523" y="236"/>
                    <a:pt x="525" y="235"/>
                  </a:cubicBezTo>
                  <a:cubicBezTo>
                    <a:pt x="524" y="235"/>
                    <a:pt x="524" y="235"/>
                    <a:pt x="523" y="235"/>
                  </a:cubicBezTo>
                  <a:cubicBezTo>
                    <a:pt x="521" y="235"/>
                    <a:pt x="519" y="236"/>
                    <a:pt x="517" y="238"/>
                  </a:cubicBezTo>
                  <a:cubicBezTo>
                    <a:pt x="518" y="234"/>
                    <a:pt x="521" y="234"/>
                    <a:pt x="524" y="234"/>
                  </a:cubicBezTo>
                  <a:cubicBezTo>
                    <a:pt x="526" y="233"/>
                    <a:pt x="528" y="232"/>
                    <a:pt x="530" y="232"/>
                  </a:cubicBezTo>
                  <a:cubicBezTo>
                    <a:pt x="530" y="232"/>
                    <a:pt x="530" y="232"/>
                    <a:pt x="530" y="232"/>
                  </a:cubicBezTo>
                  <a:cubicBezTo>
                    <a:pt x="532" y="232"/>
                    <a:pt x="535" y="234"/>
                    <a:pt x="536" y="234"/>
                  </a:cubicBezTo>
                  <a:cubicBezTo>
                    <a:pt x="537" y="234"/>
                    <a:pt x="537" y="234"/>
                    <a:pt x="537" y="234"/>
                  </a:cubicBezTo>
                  <a:cubicBezTo>
                    <a:pt x="539" y="233"/>
                    <a:pt x="539" y="231"/>
                    <a:pt x="540" y="231"/>
                  </a:cubicBezTo>
                  <a:cubicBezTo>
                    <a:pt x="541" y="231"/>
                    <a:pt x="541" y="231"/>
                    <a:pt x="542" y="232"/>
                  </a:cubicBezTo>
                  <a:cubicBezTo>
                    <a:pt x="542" y="230"/>
                    <a:pt x="544" y="231"/>
                    <a:pt x="545" y="231"/>
                  </a:cubicBezTo>
                  <a:cubicBezTo>
                    <a:pt x="544" y="231"/>
                    <a:pt x="543" y="231"/>
                    <a:pt x="542" y="231"/>
                  </a:cubicBezTo>
                  <a:cubicBezTo>
                    <a:pt x="541" y="231"/>
                    <a:pt x="541" y="231"/>
                    <a:pt x="541" y="231"/>
                  </a:cubicBezTo>
                  <a:cubicBezTo>
                    <a:pt x="541" y="231"/>
                    <a:pt x="540" y="231"/>
                    <a:pt x="540" y="231"/>
                  </a:cubicBezTo>
                  <a:cubicBezTo>
                    <a:pt x="534" y="231"/>
                    <a:pt x="528" y="231"/>
                    <a:pt x="523" y="233"/>
                  </a:cubicBezTo>
                  <a:cubicBezTo>
                    <a:pt x="523" y="231"/>
                    <a:pt x="522" y="229"/>
                    <a:pt x="523" y="228"/>
                  </a:cubicBezTo>
                  <a:cubicBezTo>
                    <a:pt x="523" y="227"/>
                    <a:pt x="524" y="227"/>
                    <a:pt x="524" y="227"/>
                  </a:cubicBezTo>
                  <a:cubicBezTo>
                    <a:pt x="524" y="227"/>
                    <a:pt x="524" y="227"/>
                    <a:pt x="524" y="227"/>
                  </a:cubicBezTo>
                  <a:cubicBezTo>
                    <a:pt x="524" y="227"/>
                    <a:pt x="524" y="227"/>
                    <a:pt x="524" y="227"/>
                  </a:cubicBezTo>
                  <a:cubicBezTo>
                    <a:pt x="525" y="227"/>
                    <a:pt x="525" y="227"/>
                    <a:pt x="525" y="227"/>
                  </a:cubicBezTo>
                  <a:cubicBezTo>
                    <a:pt x="522" y="227"/>
                    <a:pt x="518" y="230"/>
                    <a:pt x="515" y="232"/>
                  </a:cubicBezTo>
                  <a:cubicBezTo>
                    <a:pt x="515" y="231"/>
                    <a:pt x="515" y="231"/>
                    <a:pt x="515" y="230"/>
                  </a:cubicBezTo>
                  <a:cubicBezTo>
                    <a:pt x="515" y="230"/>
                    <a:pt x="514" y="229"/>
                    <a:pt x="514" y="228"/>
                  </a:cubicBezTo>
                  <a:cubicBezTo>
                    <a:pt x="514" y="228"/>
                    <a:pt x="514" y="227"/>
                    <a:pt x="514" y="227"/>
                  </a:cubicBezTo>
                  <a:cubicBezTo>
                    <a:pt x="514" y="228"/>
                    <a:pt x="514" y="228"/>
                    <a:pt x="514" y="228"/>
                  </a:cubicBezTo>
                  <a:cubicBezTo>
                    <a:pt x="514" y="227"/>
                    <a:pt x="514" y="227"/>
                    <a:pt x="514" y="227"/>
                  </a:cubicBezTo>
                  <a:cubicBezTo>
                    <a:pt x="514" y="227"/>
                    <a:pt x="514" y="228"/>
                    <a:pt x="514" y="228"/>
                  </a:cubicBezTo>
                  <a:cubicBezTo>
                    <a:pt x="514" y="227"/>
                    <a:pt x="513" y="226"/>
                    <a:pt x="510" y="225"/>
                  </a:cubicBezTo>
                  <a:cubicBezTo>
                    <a:pt x="509" y="225"/>
                    <a:pt x="507" y="224"/>
                    <a:pt x="506" y="224"/>
                  </a:cubicBezTo>
                  <a:cubicBezTo>
                    <a:pt x="505" y="224"/>
                    <a:pt x="505" y="224"/>
                    <a:pt x="504" y="224"/>
                  </a:cubicBezTo>
                  <a:cubicBezTo>
                    <a:pt x="502" y="225"/>
                    <a:pt x="500" y="225"/>
                    <a:pt x="499" y="225"/>
                  </a:cubicBezTo>
                  <a:cubicBezTo>
                    <a:pt x="498" y="225"/>
                    <a:pt x="497" y="225"/>
                    <a:pt x="496" y="225"/>
                  </a:cubicBezTo>
                  <a:cubicBezTo>
                    <a:pt x="497" y="224"/>
                    <a:pt x="499" y="224"/>
                    <a:pt x="499" y="223"/>
                  </a:cubicBezTo>
                  <a:cubicBezTo>
                    <a:pt x="500" y="222"/>
                    <a:pt x="500" y="222"/>
                    <a:pt x="501" y="222"/>
                  </a:cubicBezTo>
                  <a:cubicBezTo>
                    <a:pt x="501" y="222"/>
                    <a:pt x="501" y="222"/>
                    <a:pt x="501" y="222"/>
                  </a:cubicBezTo>
                  <a:cubicBezTo>
                    <a:pt x="502" y="222"/>
                    <a:pt x="503" y="222"/>
                    <a:pt x="503" y="222"/>
                  </a:cubicBezTo>
                  <a:cubicBezTo>
                    <a:pt x="504" y="223"/>
                    <a:pt x="504" y="223"/>
                    <a:pt x="505" y="223"/>
                  </a:cubicBezTo>
                  <a:cubicBezTo>
                    <a:pt x="505" y="223"/>
                    <a:pt x="505" y="223"/>
                    <a:pt x="505" y="223"/>
                  </a:cubicBezTo>
                  <a:cubicBezTo>
                    <a:pt x="507" y="223"/>
                    <a:pt x="508" y="222"/>
                    <a:pt x="509" y="222"/>
                  </a:cubicBezTo>
                  <a:cubicBezTo>
                    <a:pt x="510" y="222"/>
                    <a:pt x="511" y="222"/>
                    <a:pt x="512" y="223"/>
                  </a:cubicBezTo>
                  <a:cubicBezTo>
                    <a:pt x="509" y="218"/>
                    <a:pt x="500" y="218"/>
                    <a:pt x="495" y="217"/>
                  </a:cubicBezTo>
                  <a:cubicBezTo>
                    <a:pt x="495" y="217"/>
                    <a:pt x="495" y="217"/>
                    <a:pt x="495" y="217"/>
                  </a:cubicBezTo>
                  <a:cubicBezTo>
                    <a:pt x="495" y="217"/>
                    <a:pt x="494" y="218"/>
                    <a:pt x="493" y="218"/>
                  </a:cubicBezTo>
                  <a:cubicBezTo>
                    <a:pt x="492" y="218"/>
                    <a:pt x="492" y="218"/>
                    <a:pt x="491" y="218"/>
                  </a:cubicBezTo>
                  <a:cubicBezTo>
                    <a:pt x="491" y="218"/>
                    <a:pt x="491" y="218"/>
                    <a:pt x="491" y="218"/>
                  </a:cubicBezTo>
                  <a:cubicBezTo>
                    <a:pt x="491" y="218"/>
                    <a:pt x="492" y="217"/>
                    <a:pt x="491" y="216"/>
                  </a:cubicBezTo>
                  <a:cubicBezTo>
                    <a:pt x="490" y="215"/>
                    <a:pt x="484" y="215"/>
                    <a:pt x="482" y="215"/>
                  </a:cubicBezTo>
                  <a:cubicBezTo>
                    <a:pt x="482" y="215"/>
                    <a:pt x="483" y="214"/>
                    <a:pt x="483" y="214"/>
                  </a:cubicBezTo>
                  <a:cubicBezTo>
                    <a:pt x="483" y="214"/>
                    <a:pt x="482" y="213"/>
                    <a:pt x="482" y="213"/>
                  </a:cubicBezTo>
                  <a:cubicBezTo>
                    <a:pt x="482" y="213"/>
                    <a:pt x="482" y="213"/>
                    <a:pt x="482" y="213"/>
                  </a:cubicBezTo>
                  <a:cubicBezTo>
                    <a:pt x="482" y="213"/>
                    <a:pt x="483" y="213"/>
                    <a:pt x="484" y="213"/>
                  </a:cubicBezTo>
                  <a:cubicBezTo>
                    <a:pt x="489" y="213"/>
                    <a:pt x="494" y="216"/>
                    <a:pt x="499" y="216"/>
                  </a:cubicBezTo>
                  <a:cubicBezTo>
                    <a:pt x="499" y="216"/>
                    <a:pt x="499" y="216"/>
                    <a:pt x="499" y="216"/>
                  </a:cubicBezTo>
                  <a:cubicBezTo>
                    <a:pt x="502" y="216"/>
                    <a:pt x="504" y="215"/>
                    <a:pt x="506" y="215"/>
                  </a:cubicBezTo>
                  <a:cubicBezTo>
                    <a:pt x="506" y="215"/>
                    <a:pt x="506" y="215"/>
                    <a:pt x="507" y="215"/>
                  </a:cubicBezTo>
                  <a:cubicBezTo>
                    <a:pt x="509" y="215"/>
                    <a:pt x="512" y="216"/>
                    <a:pt x="514" y="216"/>
                  </a:cubicBezTo>
                  <a:cubicBezTo>
                    <a:pt x="514" y="216"/>
                    <a:pt x="514" y="216"/>
                    <a:pt x="514" y="216"/>
                  </a:cubicBezTo>
                  <a:cubicBezTo>
                    <a:pt x="514" y="216"/>
                    <a:pt x="514" y="216"/>
                    <a:pt x="514" y="216"/>
                  </a:cubicBezTo>
                  <a:cubicBezTo>
                    <a:pt x="513" y="213"/>
                    <a:pt x="504" y="213"/>
                    <a:pt x="502" y="212"/>
                  </a:cubicBezTo>
                  <a:cubicBezTo>
                    <a:pt x="503" y="212"/>
                    <a:pt x="503" y="212"/>
                    <a:pt x="503" y="212"/>
                  </a:cubicBezTo>
                  <a:cubicBezTo>
                    <a:pt x="507" y="212"/>
                    <a:pt x="510" y="213"/>
                    <a:pt x="514" y="214"/>
                  </a:cubicBezTo>
                  <a:cubicBezTo>
                    <a:pt x="514" y="214"/>
                    <a:pt x="514" y="214"/>
                    <a:pt x="514" y="214"/>
                  </a:cubicBezTo>
                  <a:cubicBezTo>
                    <a:pt x="514" y="213"/>
                    <a:pt x="514" y="213"/>
                    <a:pt x="514" y="213"/>
                  </a:cubicBezTo>
                  <a:cubicBezTo>
                    <a:pt x="514" y="210"/>
                    <a:pt x="510" y="209"/>
                    <a:pt x="506" y="209"/>
                  </a:cubicBezTo>
                  <a:cubicBezTo>
                    <a:pt x="504" y="209"/>
                    <a:pt x="502" y="209"/>
                    <a:pt x="501" y="209"/>
                  </a:cubicBezTo>
                  <a:cubicBezTo>
                    <a:pt x="501" y="209"/>
                    <a:pt x="501" y="209"/>
                    <a:pt x="501" y="209"/>
                  </a:cubicBezTo>
                  <a:cubicBezTo>
                    <a:pt x="503" y="208"/>
                    <a:pt x="505" y="208"/>
                    <a:pt x="507" y="208"/>
                  </a:cubicBezTo>
                  <a:cubicBezTo>
                    <a:pt x="507" y="208"/>
                    <a:pt x="508" y="208"/>
                    <a:pt x="509" y="208"/>
                  </a:cubicBezTo>
                  <a:cubicBezTo>
                    <a:pt x="510" y="208"/>
                    <a:pt x="512" y="209"/>
                    <a:pt x="513" y="209"/>
                  </a:cubicBezTo>
                  <a:cubicBezTo>
                    <a:pt x="513" y="209"/>
                    <a:pt x="514" y="209"/>
                    <a:pt x="514" y="209"/>
                  </a:cubicBezTo>
                  <a:cubicBezTo>
                    <a:pt x="514" y="208"/>
                    <a:pt x="514" y="208"/>
                    <a:pt x="514" y="208"/>
                  </a:cubicBezTo>
                  <a:cubicBezTo>
                    <a:pt x="514" y="208"/>
                    <a:pt x="514" y="208"/>
                    <a:pt x="514" y="208"/>
                  </a:cubicBezTo>
                  <a:cubicBezTo>
                    <a:pt x="515" y="208"/>
                    <a:pt x="519" y="207"/>
                    <a:pt x="520" y="207"/>
                  </a:cubicBezTo>
                  <a:cubicBezTo>
                    <a:pt x="519" y="205"/>
                    <a:pt x="516" y="204"/>
                    <a:pt x="514" y="204"/>
                  </a:cubicBezTo>
                  <a:cubicBezTo>
                    <a:pt x="514" y="204"/>
                    <a:pt x="514" y="205"/>
                    <a:pt x="514" y="205"/>
                  </a:cubicBezTo>
                  <a:cubicBezTo>
                    <a:pt x="514" y="204"/>
                    <a:pt x="513" y="204"/>
                    <a:pt x="513" y="203"/>
                  </a:cubicBezTo>
                  <a:cubicBezTo>
                    <a:pt x="512" y="202"/>
                    <a:pt x="510" y="202"/>
                    <a:pt x="509" y="202"/>
                  </a:cubicBezTo>
                  <a:cubicBezTo>
                    <a:pt x="508" y="201"/>
                    <a:pt x="506" y="201"/>
                    <a:pt x="505" y="201"/>
                  </a:cubicBezTo>
                  <a:cubicBezTo>
                    <a:pt x="501" y="201"/>
                    <a:pt x="496" y="203"/>
                    <a:pt x="492" y="205"/>
                  </a:cubicBezTo>
                  <a:cubicBezTo>
                    <a:pt x="492" y="204"/>
                    <a:pt x="492" y="203"/>
                    <a:pt x="491" y="203"/>
                  </a:cubicBezTo>
                  <a:cubicBezTo>
                    <a:pt x="490" y="203"/>
                    <a:pt x="489" y="204"/>
                    <a:pt x="489" y="204"/>
                  </a:cubicBezTo>
                  <a:cubicBezTo>
                    <a:pt x="491" y="202"/>
                    <a:pt x="495" y="203"/>
                    <a:pt x="497" y="202"/>
                  </a:cubicBezTo>
                  <a:cubicBezTo>
                    <a:pt x="499" y="202"/>
                    <a:pt x="500" y="200"/>
                    <a:pt x="502" y="200"/>
                  </a:cubicBezTo>
                  <a:cubicBezTo>
                    <a:pt x="500" y="200"/>
                    <a:pt x="499" y="199"/>
                    <a:pt x="498" y="199"/>
                  </a:cubicBezTo>
                  <a:cubicBezTo>
                    <a:pt x="498" y="199"/>
                    <a:pt x="497" y="199"/>
                    <a:pt x="497" y="199"/>
                  </a:cubicBezTo>
                  <a:cubicBezTo>
                    <a:pt x="496" y="199"/>
                    <a:pt x="496" y="199"/>
                    <a:pt x="496" y="199"/>
                  </a:cubicBezTo>
                  <a:cubicBezTo>
                    <a:pt x="494" y="199"/>
                    <a:pt x="493" y="199"/>
                    <a:pt x="492" y="199"/>
                  </a:cubicBezTo>
                  <a:cubicBezTo>
                    <a:pt x="494" y="199"/>
                    <a:pt x="497" y="198"/>
                    <a:pt x="500" y="198"/>
                  </a:cubicBezTo>
                  <a:cubicBezTo>
                    <a:pt x="501" y="198"/>
                    <a:pt x="503" y="199"/>
                    <a:pt x="504" y="199"/>
                  </a:cubicBezTo>
                  <a:cubicBezTo>
                    <a:pt x="506" y="199"/>
                    <a:pt x="507" y="199"/>
                    <a:pt x="509" y="199"/>
                  </a:cubicBezTo>
                  <a:cubicBezTo>
                    <a:pt x="509" y="199"/>
                    <a:pt x="509" y="199"/>
                    <a:pt x="509" y="199"/>
                  </a:cubicBezTo>
                  <a:cubicBezTo>
                    <a:pt x="509" y="199"/>
                    <a:pt x="510" y="199"/>
                    <a:pt x="510" y="199"/>
                  </a:cubicBezTo>
                  <a:cubicBezTo>
                    <a:pt x="510" y="199"/>
                    <a:pt x="510" y="199"/>
                    <a:pt x="510" y="199"/>
                  </a:cubicBezTo>
                  <a:cubicBezTo>
                    <a:pt x="510" y="199"/>
                    <a:pt x="511" y="199"/>
                    <a:pt x="511" y="199"/>
                  </a:cubicBezTo>
                  <a:cubicBezTo>
                    <a:pt x="511" y="199"/>
                    <a:pt x="511" y="199"/>
                    <a:pt x="511" y="198"/>
                  </a:cubicBezTo>
                  <a:cubicBezTo>
                    <a:pt x="510" y="197"/>
                    <a:pt x="509" y="197"/>
                    <a:pt x="508" y="196"/>
                  </a:cubicBezTo>
                  <a:cubicBezTo>
                    <a:pt x="507" y="196"/>
                    <a:pt x="507" y="196"/>
                    <a:pt x="507" y="196"/>
                  </a:cubicBezTo>
                  <a:cubicBezTo>
                    <a:pt x="506" y="196"/>
                    <a:pt x="506" y="196"/>
                    <a:pt x="505" y="196"/>
                  </a:cubicBezTo>
                  <a:cubicBezTo>
                    <a:pt x="505" y="197"/>
                    <a:pt x="504" y="197"/>
                    <a:pt x="504" y="197"/>
                  </a:cubicBezTo>
                  <a:cubicBezTo>
                    <a:pt x="504" y="197"/>
                    <a:pt x="503" y="197"/>
                    <a:pt x="503" y="197"/>
                  </a:cubicBezTo>
                  <a:cubicBezTo>
                    <a:pt x="501" y="196"/>
                    <a:pt x="499" y="196"/>
                    <a:pt x="497" y="195"/>
                  </a:cubicBezTo>
                  <a:cubicBezTo>
                    <a:pt x="495" y="195"/>
                    <a:pt x="493" y="194"/>
                    <a:pt x="492" y="194"/>
                  </a:cubicBezTo>
                  <a:cubicBezTo>
                    <a:pt x="491" y="194"/>
                    <a:pt x="491" y="194"/>
                    <a:pt x="491" y="194"/>
                  </a:cubicBezTo>
                  <a:cubicBezTo>
                    <a:pt x="489" y="195"/>
                    <a:pt x="487" y="196"/>
                    <a:pt x="485" y="196"/>
                  </a:cubicBezTo>
                  <a:cubicBezTo>
                    <a:pt x="487" y="194"/>
                    <a:pt x="489" y="194"/>
                    <a:pt x="492" y="194"/>
                  </a:cubicBezTo>
                  <a:cubicBezTo>
                    <a:pt x="496" y="194"/>
                    <a:pt x="499" y="195"/>
                    <a:pt x="502" y="195"/>
                  </a:cubicBezTo>
                  <a:cubicBezTo>
                    <a:pt x="507" y="196"/>
                    <a:pt x="510" y="195"/>
                    <a:pt x="514" y="197"/>
                  </a:cubicBezTo>
                  <a:cubicBezTo>
                    <a:pt x="514" y="197"/>
                    <a:pt x="514" y="196"/>
                    <a:pt x="514" y="195"/>
                  </a:cubicBezTo>
                  <a:cubicBezTo>
                    <a:pt x="514" y="196"/>
                    <a:pt x="514" y="197"/>
                    <a:pt x="515" y="198"/>
                  </a:cubicBezTo>
                  <a:cubicBezTo>
                    <a:pt x="516" y="199"/>
                    <a:pt x="518" y="199"/>
                    <a:pt x="519" y="200"/>
                  </a:cubicBezTo>
                  <a:cubicBezTo>
                    <a:pt x="521" y="201"/>
                    <a:pt x="523" y="201"/>
                    <a:pt x="525" y="201"/>
                  </a:cubicBezTo>
                  <a:cubicBezTo>
                    <a:pt x="526" y="201"/>
                    <a:pt x="526" y="201"/>
                    <a:pt x="527" y="201"/>
                  </a:cubicBezTo>
                  <a:cubicBezTo>
                    <a:pt x="528" y="201"/>
                    <a:pt x="528" y="201"/>
                    <a:pt x="529" y="201"/>
                  </a:cubicBezTo>
                  <a:cubicBezTo>
                    <a:pt x="529" y="201"/>
                    <a:pt x="530" y="201"/>
                    <a:pt x="530" y="201"/>
                  </a:cubicBezTo>
                  <a:cubicBezTo>
                    <a:pt x="531" y="201"/>
                    <a:pt x="532" y="202"/>
                    <a:pt x="532" y="202"/>
                  </a:cubicBezTo>
                  <a:cubicBezTo>
                    <a:pt x="533" y="202"/>
                    <a:pt x="533" y="201"/>
                    <a:pt x="534" y="201"/>
                  </a:cubicBezTo>
                  <a:cubicBezTo>
                    <a:pt x="534" y="201"/>
                    <a:pt x="535" y="200"/>
                    <a:pt x="536" y="200"/>
                  </a:cubicBezTo>
                  <a:cubicBezTo>
                    <a:pt x="537" y="200"/>
                    <a:pt x="539" y="202"/>
                    <a:pt x="541" y="202"/>
                  </a:cubicBezTo>
                  <a:cubicBezTo>
                    <a:pt x="541" y="202"/>
                    <a:pt x="541" y="202"/>
                    <a:pt x="541" y="202"/>
                  </a:cubicBezTo>
                  <a:cubicBezTo>
                    <a:pt x="545" y="202"/>
                    <a:pt x="545" y="198"/>
                    <a:pt x="543" y="195"/>
                  </a:cubicBezTo>
                  <a:cubicBezTo>
                    <a:pt x="542" y="193"/>
                    <a:pt x="539" y="193"/>
                    <a:pt x="537" y="191"/>
                  </a:cubicBezTo>
                  <a:cubicBezTo>
                    <a:pt x="532" y="189"/>
                    <a:pt x="529" y="189"/>
                    <a:pt x="523" y="188"/>
                  </a:cubicBezTo>
                  <a:cubicBezTo>
                    <a:pt x="523" y="188"/>
                    <a:pt x="523" y="188"/>
                    <a:pt x="522" y="188"/>
                  </a:cubicBezTo>
                  <a:cubicBezTo>
                    <a:pt x="521" y="188"/>
                    <a:pt x="520" y="188"/>
                    <a:pt x="519" y="189"/>
                  </a:cubicBezTo>
                  <a:cubicBezTo>
                    <a:pt x="518" y="189"/>
                    <a:pt x="517" y="189"/>
                    <a:pt x="516" y="189"/>
                  </a:cubicBezTo>
                  <a:cubicBezTo>
                    <a:pt x="515" y="189"/>
                    <a:pt x="514" y="189"/>
                    <a:pt x="514" y="189"/>
                  </a:cubicBezTo>
                  <a:cubicBezTo>
                    <a:pt x="514" y="189"/>
                    <a:pt x="514" y="190"/>
                    <a:pt x="514" y="190"/>
                  </a:cubicBezTo>
                  <a:cubicBezTo>
                    <a:pt x="514" y="188"/>
                    <a:pt x="513" y="189"/>
                    <a:pt x="511" y="188"/>
                  </a:cubicBezTo>
                  <a:cubicBezTo>
                    <a:pt x="509" y="187"/>
                    <a:pt x="507" y="186"/>
                    <a:pt x="505" y="185"/>
                  </a:cubicBezTo>
                  <a:cubicBezTo>
                    <a:pt x="502" y="184"/>
                    <a:pt x="500" y="184"/>
                    <a:pt x="497" y="184"/>
                  </a:cubicBezTo>
                  <a:cubicBezTo>
                    <a:pt x="496" y="184"/>
                    <a:pt x="494" y="184"/>
                    <a:pt x="492" y="185"/>
                  </a:cubicBezTo>
                  <a:cubicBezTo>
                    <a:pt x="489" y="186"/>
                    <a:pt x="486" y="187"/>
                    <a:pt x="483" y="187"/>
                  </a:cubicBezTo>
                  <a:cubicBezTo>
                    <a:pt x="482" y="187"/>
                    <a:pt x="481" y="186"/>
                    <a:pt x="479" y="186"/>
                  </a:cubicBezTo>
                  <a:cubicBezTo>
                    <a:pt x="478" y="186"/>
                    <a:pt x="476" y="185"/>
                    <a:pt x="475" y="185"/>
                  </a:cubicBezTo>
                  <a:cubicBezTo>
                    <a:pt x="474" y="185"/>
                    <a:pt x="473" y="185"/>
                    <a:pt x="473" y="186"/>
                  </a:cubicBezTo>
                  <a:cubicBezTo>
                    <a:pt x="471" y="186"/>
                    <a:pt x="470" y="187"/>
                    <a:pt x="469" y="187"/>
                  </a:cubicBezTo>
                  <a:cubicBezTo>
                    <a:pt x="468" y="187"/>
                    <a:pt x="467" y="187"/>
                    <a:pt x="467" y="186"/>
                  </a:cubicBezTo>
                  <a:cubicBezTo>
                    <a:pt x="469" y="185"/>
                    <a:pt x="472" y="185"/>
                    <a:pt x="475" y="185"/>
                  </a:cubicBezTo>
                  <a:cubicBezTo>
                    <a:pt x="476" y="185"/>
                    <a:pt x="476" y="185"/>
                    <a:pt x="477" y="185"/>
                  </a:cubicBezTo>
                  <a:cubicBezTo>
                    <a:pt x="480" y="185"/>
                    <a:pt x="482" y="186"/>
                    <a:pt x="484" y="186"/>
                  </a:cubicBezTo>
                  <a:cubicBezTo>
                    <a:pt x="485" y="186"/>
                    <a:pt x="485" y="186"/>
                    <a:pt x="485" y="186"/>
                  </a:cubicBezTo>
                  <a:cubicBezTo>
                    <a:pt x="490" y="186"/>
                    <a:pt x="494" y="182"/>
                    <a:pt x="499" y="182"/>
                  </a:cubicBezTo>
                  <a:cubicBezTo>
                    <a:pt x="500" y="182"/>
                    <a:pt x="500" y="182"/>
                    <a:pt x="500" y="182"/>
                  </a:cubicBezTo>
                  <a:cubicBezTo>
                    <a:pt x="501" y="182"/>
                    <a:pt x="502" y="182"/>
                    <a:pt x="503" y="182"/>
                  </a:cubicBezTo>
                  <a:cubicBezTo>
                    <a:pt x="506" y="182"/>
                    <a:pt x="507" y="181"/>
                    <a:pt x="509" y="179"/>
                  </a:cubicBezTo>
                  <a:cubicBezTo>
                    <a:pt x="510" y="178"/>
                    <a:pt x="512" y="177"/>
                    <a:pt x="513" y="176"/>
                  </a:cubicBezTo>
                  <a:cubicBezTo>
                    <a:pt x="514" y="175"/>
                    <a:pt x="514" y="174"/>
                    <a:pt x="514" y="173"/>
                  </a:cubicBezTo>
                  <a:cubicBezTo>
                    <a:pt x="514" y="174"/>
                    <a:pt x="514" y="175"/>
                    <a:pt x="514" y="176"/>
                  </a:cubicBezTo>
                  <a:cubicBezTo>
                    <a:pt x="514" y="176"/>
                    <a:pt x="514" y="176"/>
                    <a:pt x="514" y="176"/>
                  </a:cubicBezTo>
                  <a:cubicBezTo>
                    <a:pt x="515" y="176"/>
                    <a:pt x="515" y="176"/>
                    <a:pt x="516" y="176"/>
                  </a:cubicBezTo>
                  <a:cubicBezTo>
                    <a:pt x="517" y="176"/>
                    <a:pt x="518" y="176"/>
                    <a:pt x="518" y="176"/>
                  </a:cubicBezTo>
                  <a:cubicBezTo>
                    <a:pt x="519" y="176"/>
                    <a:pt x="519" y="176"/>
                    <a:pt x="520" y="176"/>
                  </a:cubicBezTo>
                  <a:cubicBezTo>
                    <a:pt x="523" y="176"/>
                    <a:pt x="525" y="178"/>
                    <a:pt x="528" y="178"/>
                  </a:cubicBezTo>
                  <a:cubicBezTo>
                    <a:pt x="529" y="178"/>
                    <a:pt x="529" y="179"/>
                    <a:pt x="530" y="179"/>
                  </a:cubicBezTo>
                  <a:cubicBezTo>
                    <a:pt x="532" y="179"/>
                    <a:pt x="534" y="178"/>
                    <a:pt x="534" y="176"/>
                  </a:cubicBezTo>
                  <a:cubicBezTo>
                    <a:pt x="534" y="175"/>
                    <a:pt x="533" y="174"/>
                    <a:pt x="532" y="172"/>
                  </a:cubicBezTo>
                  <a:cubicBezTo>
                    <a:pt x="532" y="171"/>
                    <a:pt x="532" y="170"/>
                    <a:pt x="532" y="169"/>
                  </a:cubicBezTo>
                  <a:cubicBezTo>
                    <a:pt x="531" y="167"/>
                    <a:pt x="529" y="166"/>
                    <a:pt x="528" y="165"/>
                  </a:cubicBezTo>
                  <a:cubicBezTo>
                    <a:pt x="527" y="164"/>
                    <a:pt x="526" y="163"/>
                    <a:pt x="525" y="162"/>
                  </a:cubicBezTo>
                  <a:cubicBezTo>
                    <a:pt x="522" y="158"/>
                    <a:pt x="518" y="156"/>
                    <a:pt x="514" y="155"/>
                  </a:cubicBezTo>
                  <a:cubicBezTo>
                    <a:pt x="514" y="155"/>
                    <a:pt x="514" y="155"/>
                    <a:pt x="514" y="156"/>
                  </a:cubicBezTo>
                  <a:cubicBezTo>
                    <a:pt x="514" y="155"/>
                    <a:pt x="513" y="154"/>
                    <a:pt x="513" y="154"/>
                  </a:cubicBezTo>
                  <a:cubicBezTo>
                    <a:pt x="513" y="154"/>
                    <a:pt x="512" y="154"/>
                    <a:pt x="512" y="154"/>
                  </a:cubicBezTo>
                  <a:cubicBezTo>
                    <a:pt x="510" y="154"/>
                    <a:pt x="509" y="157"/>
                    <a:pt x="509" y="159"/>
                  </a:cubicBezTo>
                  <a:cubicBezTo>
                    <a:pt x="509" y="162"/>
                    <a:pt x="510" y="162"/>
                    <a:pt x="507" y="163"/>
                  </a:cubicBezTo>
                  <a:cubicBezTo>
                    <a:pt x="503" y="164"/>
                    <a:pt x="501" y="166"/>
                    <a:pt x="497" y="168"/>
                  </a:cubicBezTo>
                  <a:cubicBezTo>
                    <a:pt x="495" y="169"/>
                    <a:pt x="491" y="169"/>
                    <a:pt x="488" y="170"/>
                  </a:cubicBezTo>
                  <a:cubicBezTo>
                    <a:pt x="485" y="172"/>
                    <a:pt x="483" y="175"/>
                    <a:pt x="479" y="175"/>
                  </a:cubicBezTo>
                  <a:cubicBezTo>
                    <a:pt x="479" y="175"/>
                    <a:pt x="479" y="175"/>
                    <a:pt x="479" y="175"/>
                  </a:cubicBezTo>
                  <a:cubicBezTo>
                    <a:pt x="477" y="175"/>
                    <a:pt x="477" y="174"/>
                    <a:pt x="475" y="174"/>
                  </a:cubicBezTo>
                  <a:cubicBezTo>
                    <a:pt x="475" y="174"/>
                    <a:pt x="475" y="174"/>
                    <a:pt x="475" y="175"/>
                  </a:cubicBezTo>
                  <a:cubicBezTo>
                    <a:pt x="473" y="175"/>
                    <a:pt x="472" y="176"/>
                    <a:pt x="470" y="176"/>
                  </a:cubicBezTo>
                  <a:cubicBezTo>
                    <a:pt x="471" y="174"/>
                    <a:pt x="474" y="174"/>
                    <a:pt x="476" y="174"/>
                  </a:cubicBezTo>
                  <a:cubicBezTo>
                    <a:pt x="477" y="174"/>
                    <a:pt x="477" y="174"/>
                    <a:pt x="478" y="174"/>
                  </a:cubicBezTo>
                  <a:cubicBezTo>
                    <a:pt x="478" y="174"/>
                    <a:pt x="479" y="174"/>
                    <a:pt x="479" y="174"/>
                  </a:cubicBezTo>
                  <a:cubicBezTo>
                    <a:pt x="482" y="174"/>
                    <a:pt x="482" y="173"/>
                    <a:pt x="485" y="170"/>
                  </a:cubicBezTo>
                  <a:cubicBezTo>
                    <a:pt x="487" y="168"/>
                    <a:pt x="496" y="166"/>
                    <a:pt x="497" y="163"/>
                  </a:cubicBezTo>
                  <a:cubicBezTo>
                    <a:pt x="497" y="159"/>
                    <a:pt x="496" y="158"/>
                    <a:pt x="495" y="158"/>
                  </a:cubicBezTo>
                  <a:cubicBezTo>
                    <a:pt x="494" y="158"/>
                    <a:pt x="494" y="159"/>
                    <a:pt x="494" y="159"/>
                  </a:cubicBezTo>
                  <a:cubicBezTo>
                    <a:pt x="493" y="159"/>
                    <a:pt x="493" y="159"/>
                    <a:pt x="493" y="159"/>
                  </a:cubicBezTo>
                  <a:cubicBezTo>
                    <a:pt x="492" y="159"/>
                    <a:pt x="492" y="159"/>
                    <a:pt x="491" y="159"/>
                  </a:cubicBezTo>
                  <a:cubicBezTo>
                    <a:pt x="490" y="158"/>
                    <a:pt x="489" y="158"/>
                    <a:pt x="488" y="158"/>
                  </a:cubicBezTo>
                  <a:cubicBezTo>
                    <a:pt x="488" y="158"/>
                    <a:pt x="488" y="158"/>
                    <a:pt x="488" y="158"/>
                  </a:cubicBezTo>
                  <a:cubicBezTo>
                    <a:pt x="487" y="158"/>
                    <a:pt x="485" y="159"/>
                    <a:pt x="484" y="159"/>
                  </a:cubicBezTo>
                  <a:cubicBezTo>
                    <a:pt x="482" y="159"/>
                    <a:pt x="479" y="160"/>
                    <a:pt x="477" y="161"/>
                  </a:cubicBezTo>
                  <a:cubicBezTo>
                    <a:pt x="475" y="162"/>
                    <a:pt x="475" y="161"/>
                    <a:pt x="474" y="164"/>
                  </a:cubicBezTo>
                  <a:cubicBezTo>
                    <a:pt x="473" y="168"/>
                    <a:pt x="471" y="168"/>
                    <a:pt x="468" y="168"/>
                  </a:cubicBezTo>
                  <a:cubicBezTo>
                    <a:pt x="465" y="169"/>
                    <a:pt x="461" y="173"/>
                    <a:pt x="458" y="173"/>
                  </a:cubicBezTo>
                  <a:cubicBezTo>
                    <a:pt x="457" y="173"/>
                    <a:pt x="457" y="173"/>
                    <a:pt x="457" y="173"/>
                  </a:cubicBezTo>
                  <a:cubicBezTo>
                    <a:pt x="460" y="169"/>
                    <a:pt x="466" y="167"/>
                    <a:pt x="471" y="167"/>
                  </a:cubicBezTo>
                  <a:cubicBezTo>
                    <a:pt x="471" y="167"/>
                    <a:pt x="471" y="167"/>
                    <a:pt x="471" y="167"/>
                  </a:cubicBezTo>
                  <a:cubicBezTo>
                    <a:pt x="471" y="165"/>
                    <a:pt x="469" y="164"/>
                    <a:pt x="468" y="164"/>
                  </a:cubicBezTo>
                  <a:cubicBezTo>
                    <a:pt x="466" y="164"/>
                    <a:pt x="465" y="165"/>
                    <a:pt x="463" y="166"/>
                  </a:cubicBezTo>
                  <a:cubicBezTo>
                    <a:pt x="465" y="164"/>
                    <a:pt x="467" y="164"/>
                    <a:pt x="469" y="163"/>
                  </a:cubicBezTo>
                  <a:cubicBezTo>
                    <a:pt x="471" y="162"/>
                    <a:pt x="472" y="161"/>
                    <a:pt x="473" y="160"/>
                  </a:cubicBezTo>
                  <a:cubicBezTo>
                    <a:pt x="475" y="158"/>
                    <a:pt x="477" y="158"/>
                    <a:pt x="479" y="157"/>
                  </a:cubicBezTo>
                  <a:cubicBezTo>
                    <a:pt x="484" y="156"/>
                    <a:pt x="488" y="155"/>
                    <a:pt x="493" y="154"/>
                  </a:cubicBezTo>
                  <a:cubicBezTo>
                    <a:pt x="494" y="154"/>
                    <a:pt x="496" y="154"/>
                    <a:pt x="496" y="153"/>
                  </a:cubicBezTo>
                  <a:cubicBezTo>
                    <a:pt x="498" y="153"/>
                    <a:pt x="499" y="151"/>
                    <a:pt x="500" y="151"/>
                  </a:cubicBezTo>
                  <a:cubicBezTo>
                    <a:pt x="500" y="151"/>
                    <a:pt x="500" y="151"/>
                    <a:pt x="501" y="151"/>
                  </a:cubicBezTo>
                  <a:cubicBezTo>
                    <a:pt x="501" y="151"/>
                    <a:pt x="501" y="151"/>
                    <a:pt x="502" y="151"/>
                  </a:cubicBezTo>
                  <a:cubicBezTo>
                    <a:pt x="502" y="151"/>
                    <a:pt x="502" y="151"/>
                    <a:pt x="503" y="151"/>
                  </a:cubicBezTo>
                  <a:cubicBezTo>
                    <a:pt x="503" y="151"/>
                    <a:pt x="503" y="151"/>
                    <a:pt x="503" y="151"/>
                  </a:cubicBezTo>
                  <a:cubicBezTo>
                    <a:pt x="504" y="149"/>
                    <a:pt x="507" y="144"/>
                    <a:pt x="506" y="143"/>
                  </a:cubicBezTo>
                  <a:cubicBezTo>
                    <a:pt x="505" y="141"/>
                    <a:pt x="500" y="141"/>
                    <a:pt x="498" y="140"/>
                  </a:cubicBezTo>
                  <a:cubicBezTo>
                    <a:pt x="495" y="139"/>
                    <a:pt x="493" y="138"/>
                    <a:pt x="491" y="137"/>
                  </a:cubicBezTo>
                  <a:cubicBezTo>
                    <a:pt x="488" y="136"/>
                    <a:pt x="486" y="134"/>
                    <a:pt x="483" y="134"/>
                  </a:cubicBezTo>
                  <a:cubicBezTo>
                    <a:pt x="482" y="134"/>
                    <a:pt x="482" y="134"/>
                    <a:pt x="481" y="134"/>
                  </a:cubicBezTo>
                  <a:cubicBezTo>
                    <a:pt x="478" y="134"/>
                    <a:pt x="476" y="135"/>
                    <a:pt x="473" y="137"/>
                  </a:cubicBezTo>
                  <a:cubicBezTo>
                    <a:pt x="470" y="138"/>
                    <a:pt x="467" y="141"/>
                    <a:pt x="463" y="141"/>
                  </a:cubicBezTo>
                  <a:cubicBezTo>
                    <a:pt x="463" y="141"/>
                    <a:pt x="463" y="141"/>
                    <a:pt x="463" y="141"/>
                  </a:cubicBezTo>
                  <a:cubicBezTo>
                    <a:pt x="463" y="141"/>
                    <a:pt x="462" y="141"/>
                    <a:pt x="462" y="141"/>
                  </a:cubicBezTo>
                  <a:cubicBezTo>
                    <a:pt x="461" y="141"/>
                    <a:pt x="461" y="141"/>
                    <a:pt x="461" y="141"/>
                  </a:cubicBezTo>
                  <a:cubicBezTo>
                    <a:pt x="460" y="141"/>
                    <a:pt x="460" y="141"/>
                    <a:pt x="460" y="141"/>
                  </a:cubicBezTo>
                  <a:cubicBezTo>
                    <a:pt x="458" y="142"/>
                    <a:pt x="460" y="144"/>
                    <a:pt x="460" y="146"/>
                  </a:cubicBezTo>
                  <a:cubicBezTo>
                    <a:pt x="459" y="145"/>
                    <a:pt x="455" y="142"/>
                    <a:pt x="457" y="141"/>
                  </a:cubicBezTo>
                  <a:cubicBezTo>
                    <a:pt x="458" y="140"/>
                    <a:pt x="461" y="140"/>
                    <a:pt x="462" y="140"/>
                  </a:cubicBezTo>
                  <a:cubicBezTo>
                    <a:pt x="464" y="139"/>
                    <a:pt x="465" y="138"/>
                    <a:pt x="466" y="138"/>
                  </a:cubicBezTo>
                  <a:cubicBezTo>
                    <a:pt x="468" y="137"/>
                    <a:pt x="470" y="135"/>
                    <a:pt x="471" y="134"/>
                  </a:cubicBezTo>
                  <a:cubicBezTo>
                    <a:pt x="473" y="131"/>
                    <a:pt x="472" y="130"/>
                    <a:pt x="470" y="130"/>
                  </a:cubicBezTo>
                  <a:cubicBezTo>
                    <a:pt x="470" y="130"/>
                    <a:pt x="469" y="130"/>
                    <a:pt x="468" y="131"/>
                  </a:cubicBezTo>
                  <a:cubicBezTo>
                    <a:pt x="463" y="133"/>
                    <a:pt x="458" y="134"/>
                    <a:pt x="454" y="136"/>
                  </a:cubicBezTo>
                  <a:cubicBezTo>
                    <a:pt x="452" y="137"/>
                    <a:pt x="451" y="138"/>
                    <a:pt x="449" y="139"/>
                  </a:cubicBezTo>
                  <a:cubicBezTo>
                    <a:pt x="448" y="140"/>
                    <a:pt x="445" y="140"/>
                    <a:pt x="445" y="141"/>
                  </a:cubicBezTo>
                  <a:cubicBezTo>
                    <a:pt x="442" y="145"/>
                    <a:pt x="441" y="151"/>
                    <a:pt x="439" y="155"/>
                  </a:cubicBezTo>
                  <a:cubicBezTo>
                    <a:pt x="439" y="157"/>
                    <a:pt x="437" y="159"/>
                    <a:pt x="437" y="161"/>
                  </a:cubicBezTo>
                  <a:cubicBezTo>
                    <a:pt x="437" y="156"/>
                    <a:pt x="438" y="153"/>
                    <a:pt x="439" y="148"/>
                  </a:cubicBezTo>
                  <a:cubicBezTo>
                    <a:pt x="440" y="147"/>
                    <a:pt x="441" y="145"/>
                    <a:pt x="440" y="144"/>
                  </a:cubicBezTo>
                  <a:cubicBezTo>
                    <a:pt x="439" y="144"/>
                    <a:pt x="438" y="143"/>
                    <a:pt x="437" y="143"/>
                  </a:cubicBezTo>
                  <a:cubicBezTo>
                    <a:pt x="436" y="143"/>
                    <a:pt x="435" y="143"/>
                    <a:pt x="434" y="144"/>
                  </a:cubicBezTo>
                  <a:cubicBezTo>
                    <a:pt x="435" y="143"/>
                    <a:pt x="434" y="143"/>
                    <a:pt x="434" y="143"/>
                  </a:cubicBezTo>
                  <a:cubicBezTo>
                    <a:pt x="433" y="143"/>
                    <a:pt x="431" y="144"/>
                    <a:pt x="429" y="145"/>
                  </a:cubicBezTo>
                  <a:cubicBezTo>
                    <a:pt x="430" y="145"/>
                    <a:pt x="430" y="144"/>
                    <a:pt x="431" y="144"/>
                  </a:cubicBezTo>
                  <a:cubicBezTo>
                    <a:pt x="432" y="142"/>
                    <a:pt x="429" y="141"/>
                    <a:pt x="432" y="141"/>
                  </a:cubicBezTo>
                  <a:cubicBezTo>
                    <a:pt x="432" y="141"/>
                    <a:pt x="432" y="141"/>
                    <a:pt x="432" y="141"/>
                  </a:cubicBezTo>
                  <a:cubicBezTo>
                    <a:pt x="434" y="141"/>
                    <a:pt x="436" y="142"/>
                    <a:pt x="438" y="142"/>
                  </a:cubicBezTo>
                  <a:cubicBezTo>
                    <a:pt x="438" y="142"/>
                    <a:pt x="438" y="142"/>
                    <a:pt x="438" y="142"/>
                  </a:cubicBezTo>
                  <a:cubicBezTo>
                    <a:pt x="441" y="142"/>
                    <a:pt x="442" y="140"/>
                    <a:pt x="445" y="138"/>
                  </a:cubicBezTo>
                  <a:cubicBezTo>
                    <a:pt x="448" y="136"/>
                    <a:pt x="450" y="136"/>
                    <a:pt x="452" y="132"/>
                  </a:cubicBezTo>
                  <a:cubicBezTo>
                    <a:pt x="454" y="129"/>
                    <a:pt x="456" y="128"/>
                    <a:pt x="454" y="124"/>
                  </a:cubicBezTo>
                  <a:cubicBezTo>
                    <a:pt x="453" y="122"/>
                    <a:pt x="452" y="120"/>
                    <a:pt x="449" y="120"/>
                  </a:cubicBezTo>
                  <a:cubicBezTo>
                    <a:pt x="449" y="120"/>
                    <a:pt x="449" y="120"/>
                    <a:pt x="449" y="120"/>
                  </a:cubicBezTo>
                  <a:cubicBezTo>
                    <a:pt x="447" y="120"/>
                    <a:pt x="442" y="122"/>
                    <a:pt x="441" y="124"/>
                  </a:cubicBezTo>
                  <a:cubicBezTo>
                    <a:pt x="440" y="125"/>
                    <a:pt x="441" y="130"/>
                    <a:pt x="439" y="130"/>
                  </a:cubicBezTo>
                  <a:cubicBezTo>
                    <a:pt x="439" y="130"/>
                    <a:pt x="439" y="130"/>
                    <a:pt x="439" y="130"/>
                  </a:cubicBezTo>
                  <a:cubicBezTo>
                    <a:pt x="438" y="130"/>
                    <a:pt x="437" y="130"/>
                    <a:pt x="437" y="130"/>
                  </a:cubicBezTo>
                  <a:cubicBezTo>
                    <a:pt x="436" y="130"/>
                    <a:pt x="435" y="130"/>
                    <a:pt x="434" y="130"/>
                  </a:cubicBezTo>
                  <a:cubicBezTo>
                    <a:pt x="429" y="131"/>
                    <a:pt x="425" y="133"/>
                    <a:pt x="420" y="134"/>
                  </a:cubicBezTo>
                  <a:cubicBezTo>
                    <a:pt x="418" y="134"/>
                    <a:pt x="415" y="135"/>
                    <a:pt x="413" y="137"/>
                  </a:cubicBezTo>
                  <a:cubicBezTo>
                    <a:pt x="414" y="137"/>
                    <a:pt x="414" y="136"/>
                    <a:pt x="414" y="136"/>
                  </a:cubicBezTo>
                  <a:cubicBezTo>
                    <a:pt x="413" y="133"/>
                    <a:pt x="419" y="133"/>
                    <a:pt x="416" y="131"/>
                  </a:cubicBezTo>
                  <a:cubicBezTo>
                    <a:pt x="415" y="131"/>
                    <a:pt x="415" y="130"/>
                    <a:pt x="414" y="130"/>
                  </a:cubicBezTo>
                  <a:cubicBezTo>
                    <a:pt x="412" y="130"/>
                    <a:pt x="410" y="131"/>
                    <a:pt x="408" y="132"/>
                  </a:cubicBezTo>
                  <a:cubicBezTo>
                    <a:pt x="407" y="132"/>
                    <a:pt x="405" y="133"/>
                    <a:pt x="403" y="133"/>
                  </a:cubicBezTo>
                  <a:cubicBezTo>
                    <a:pt x="403" y="133"/>
                    <a:pt x="403" y="133"/>
                    <a:pt x="403" y="133"/>
                  </a:cubicBezTo>
                  <a:cubicBezTo>
                    <a:pt x="406" y="132"/>
                    <a:pt x="409" y="132"/>
                    <a:pt x="412" y="130"/>
                  </a:cubicBezTo>
                  <a:cubicBezTo>
                    <a:pt x="414" y="129"/>
                    <a:pt x="416" y="126"/>
                    <a:pt x="418" y="125"/>
                  </a:cubicBezTo>
                  <a:cubicBezTo>
                    <a:pt x="420" y="122"/>
                    <a:pt x="422" y="120"/>
                    <a:pt x="425" y="120"/>
                  </a:cubicBezTo>
                  <a:cubicBezTo>
                    <a:pt x="426" y="120"/>
                    <a:pt x="426" y="121"/>
                    <a:pt x="427" y="121"/>
                  </a:cubicBezTo>
                  <a:cubicBezTo>
                    <a:pt x="429" y="121"/>
                    <a:pt x="431" y="122"/>
                    <a:pt x="432" y="122"/>
                  </a:cubicBezTo>
                  <a:cubicBezTo>
                    <a:pt x="433" y="122"/>
                    <a:pt x="433" y="122"/>
                    <a:pt x="434" y="122"/>
                  </a:cubicBezTo>
                  <a:cubicBezTo>
                    <a:pt x="436" y="121"/>
                    <a:pt x="437" y="117"/>
                    <a:pt x="439" y="116"/>
                  </a:cubicBezTo>
                  <a:cubicBezTo>
                    <a:pt x="439" y="115"/>
                    <a:pt x="441" y="115"/>
                    <a:pt x="441" y="114"/>
                  </a:cubicBezTo>
                  <a:cubicBezTo>
                    <a:pt x="441" y="113"/>
                    <a:pt x="439" y="110"/>
                    <a:pt x="438" y="110"/>
                  </a:cubicBezTo>
                  <a:cubicBezTo>
                    <a:pt x="435" y="106"/>
                    <a:pt x="432" y="103"/>
                    <a:pt x="427" y="102"/>
                  </a:cubicBezTo>
                  <a:cubicBezTo>
                    <a:pt x="425" y="102"/>
                    <a:pt x="423" y="100"/>
                    <a:pt x="420" y="100"/>
                  </a:cubicBezTo>
                  <a:cubicBezTo>
                    <a:pt x="417" y="100"/>
                    <a:pt x="415" y="98"/>
                    <a:pt x="412" y="98"/>
                  </a:cubicBezTo>
                  <a:cubicBezTo>
                    <a:pt x="411" y="98"/>
                    <a:pt x="410" y="97"/>
                    <a:pt x="409" y="97"/>
                  </a:cubicBezTo>
                  <a:cubicBezTo>
                    <a:pt x="408" y="97"/>
                    <a:pt x="408" y="97"/>
                    <a:pt x="408" y="97"/>
                  </a:cubicBezTo>
                  <a:cubicBezTo>
                    <a:pt x="406" y="98"/>
                    <a:pt x="402" y="101"/>
                    <a:pt x="403" y="104"/>
                  </a:cubicBezTo>
                  <a:cubicBezTo>
                    <a:pt x="403" y="108"/>
                    <a:pt x="401" y="106"/>
                    <a:pt x="399" y="107"/>
                  </a:cubicBezTo>
                  <a:cubicBezTo>
                    <a:pt x="397" y="108"/>
                    <a:pt x="395" y="113"/>
                    <a:pt x="396" y="114"/>
                  </a:cubicBezTo>
                  <a:cubicBezTo>
                    <a:pt x="396" y="114"/>
                    <a:pt x="395" y="114"/>
                    <a:pt x="394" y="115"/>
                  </a:cubicBezTo>
                  <a:cubicBezTo>
                    <a:pt x="395" y="114"/>
                    <a:pt x="395" y="114"/>
                    <a:pt x="395" y="113"/>
                  </a:cubicBezTo>
                  <a:cubicBezTo>
                    <a:pt x="393" y="112"/>
                    <a:pt x="392" y="110"/>
                    <a:pt x="390" y="110"/>
                  </a:cubicBezTo>
                  <a:cubicBezTo>
                    <a:pt x="389" y="110"/>
                    <a:pt x="387" y="111"/>
                    <a:pt x="386" y="113"/>
                  </a:cubicBezTo>
                  <a:cubicBezTo>
                    <a:pt x="384" y="116"/>
                    <a:pt x="381" y="122"/>
                    <a:pt x="377" y="122"/>
                  </a:cubicBezTo>
                  <a:cubicBezTo>
                    <a:pt x="380" y="120"/>
                    <a:pt x="381" y="120"/>
                    <a:pt x="382" y="116"/>
                  </a:cubicBezTo>
                  <a:cubicBezTo>
                    <a:pt x="383" y="113"/>
                    <a:pt x="384" y="112"/>
                    <a:pt x="386" y="110"/>
                  </a:cubicBezTo>
                  <a:cubicBezTo>
                    <a:pt x="386" y="109"/>
                    <a:pt x="389" y="106"/>
                    <a:pt x="388" y="106"/>
                  </a:cubicBezTo>
                  <a:cubicBezTo>
                    <a:pt x="387" y="106"/>
                    <a:pt x="387" y="106"/>
                    <a:pt x="387" y="106"/>
                  </a:cubicBezTo>
                  <a:cubicBezTo>
                    <a:pt x="386" y="107"/>
                    <a:pt x="385" y="107"/>
                    <a:pt x="384" y="107"/>
                  </a:cubicBezTo>
                  <a:cubicBezTo>
                    <a:pt x="384" y="107"/>
                    <a:pt x="383" y="106"/>
                    <a:pt x="383" y="105"/>
                  </a:cubicBezTo>
                  <a:cubicBezTo>
                    <a:pt x="383" y="104"/>
                    <a:pt x="385" y="102"/>
                    <a:pt x="385" y="101"/>
                  </a:cubicBezTo>
                  <a:cubicBezTo>
                    <a:pt x="384" y="100"/>
                    <a:pt x="383" y="100"/>
                    <a:pt x="382" y="100"/>
                  </a:cubicBezTo>
                  <a:cubicBezTo>
                    <a:pt x="382" y="100"/>
                    <a:pt x="381" y="100"/>
                    <a:pt x="380" y="101"/>
                  </a:cubicBezTo>
                  <a:cubicBezTo>
                    <a:pt x="377" y="105"/>
                    <a:pt x="375" y="114"/>
                    <a:pt x="369" y="116"/>
                  </a:cubicBezTo>
                  <a:cubicBezTo>
                    <a:pt x="370" y="114"/>
                    <a:pt x="373" y="108"/>
                    <a:pt x="372" y="106"/>
                  </a:cubicBezTo>
                  <a:cubicBezTo>
                    <a:pt x="371" y="106"/>
                    <a:pt x="371" y="106"/>
                    <a:pt x="371" y="106"/>
                  </a:cubicBezTo>
                  <a:cubicBezTo>
                    <a:pt x="371" y="106"/>
                    <a:pt x="368" y="107"/>
                    <a:pt x="367" y="107"/>
                  </a:cubicBezTo>
                  <a:cubicBezTo>
                    <a:pt x="369" y="106"/>
                    <a:pt x="371" y="106"/>
                    <a:pt x="372" y="105"/>
                  </a:cubicBezTo>
                  <a:cubicBezTo>
                    <a:pt x="375" y="104"/>
                    <a:pt x="374" y="105"/>
                    <a:pt x="376" y="102"/>
                  </a:cubicBezTo>
                  <a:cubicBezTo>
                    <a:pt x="376" y="101"/>
                    <a:pt x="377" y="99"/>
                    <a:pt x="378" y="98"/>
                  </a:cubicBezTo>
                  <a:cubicBezTo>
                    <a:pt x="379" y="97"/>
                    <a:pt x="382" y="96"/>
                    <a:pt x="383" y="94"/>
                  </a:cubicBezTo>
                  <a:cubicBezTo>
                    <a:pt x="385" y="92"/>
                    <a:pt x="383" y="92"/>
                    <a:pt x="381" y="92"/>
                  </a:cubicBezTo>
                  <a:cubicBezTo>
                    <a:pt x="380" y="92"/>
                    <a:pt x="379" y="92"/>
                    <a:pt x="379" y="92"/>
                  </a:cubicBezTo>
                  <a:cubicBezTo>
                    <a:pt x="375" y="92"/>
                    <a:pt x="370" y="96"/>
                    <a:pt x="369" y="100"/>
                  </a:cubicBezTo>
                  <a:cubicBezTo>
                    <a:pt x="368" y="98"/>
                    <a:pt x="374" y="93"/>
                    <a:pt x="371" y="93"/>
                  </a:cubicBezTo>
                  <a:cubicBezTo>
                    <a:pt x="371" y="93"/>
                    <a:pt x="371" y="93"/>
                    <a:pt x="370" y="93"/>
                  </a:cubicBezTo>
                  <a:cubicBezTo>
                    <a:pt x="366" y="94"/>
                    <a:pt x="361" y="98"/>
                    <a:pt x="358" y="101"/>
                  </a:cubicBezTo>
                  <a:cubicBezTo>
                    <a:pt x="357" y="103"/>
                    <a:pt x="360" y="105"/>
                    <a:pt x="360" y="107"/>
                  </a:cubicBezTo>
                  <a:cubicBezTo>
                    <a:pt x="360" y="109"/>
                    <a:pt x="357" y="111"/>
                    <a:pt x="356" y="112"/>
                  </a:cubicBezTo>
                  <a:cubicBezTo>
                    <a:pt x="354" y="114"/>
                    <a:pt x="352" y="117"/>
                    <a:pt x="350" y="117"/>
                  </a:cubicBezTo>
                  <a:cubicBezTo>
                    <a:pt x="350" y="117"/>
                    <a:pt x="349" y="117"/>
                    <a:pt x="349" y="117"/>
                  </a:cubicBezTo>
                  <a:cubicBezTo>
                    <a:pt x="351" y="115"/>
                    <a:pt x="359" y="109"/>
                    <a:pt x="357" y="107"/>
                  </a:cubicBezTo>
                  <a:cubicBezTo>
                    <a:pt x="356" y="106"/>
                    <a:pt x="356" y="106"/>
                    <a:pt x="355" y="105"/>
                  </a:cubicBezTo>
                  <a:cubicBezTo>
                    <a:pt x="353" y="105"/>
                    <a:pt x="354" y="104"/>
                    <a:pt x="353" y="103"/>
                  </a:cubicBezTo>
                  <a:cubicBezTo>
                    <a:pt x="353" y="103"/>
                    <a:pt x="353" y="102"/>
                    <a:pt x="352" y="102"/>
                  </a:cubicBezTo>
                  <a:cubicBezTo>
                    <a:pt x="352" y="102"/>
                    <a:pt x="352" y="103"/>
                    <a:pt x="351" y="103"/>
                  </a:cubicBezTo>
                  <a:cubicBezTo>
                    <a:pt x="355" y="101"/>
                    <a:pt x="362" y="99"/>
                    <a:pt x="359" y="96"/>
                  </a:cubicBezTo>
                  <a:cubicBezTo>
                    <a:pt x="359" y="96"/>
                    <a:pt x="359" y="95"/>
                    <a:pt x="359" y="95"/>
                  </a:cubicBezTo>
                  <a:cubicBezTo>
                    <a:pt x="356" y="95"/>
                    <a:pt x="344" y="102"/>
                    <a:pt x="342" y="103"/>
                  </a:cubicBezTo>
                  <a:cubicBezTo>
                    <a:pt x="343" y="101"/>
                    <a:pt x="353" y="98"/>
                    <a:pt x="353" y="97"/>
                  </a:cubicBezTo>
                  <a:cubicBezTo>
                    <a:pt x="353" y="95"/>
                    <a:pt x="351" y="95"/>
                    <a:pt x="349" y="95"/>
                  </a:cubicBezTo>
                  <a:cubicBezTo>
                    <a:pt x="347" y="95"/>
                    <a:pt x="343" y="96"/>
                    <a:pt x="342" y="96"/>
                  </a:cubicBezTo>
                  <a:cubicBezTo>
                    <a:pt x="344" y="94"/>
                    <a:pt x="346" y="94"/>
                    <a:pt x="349" y="94"/>
                  </a:cubicBezTo>
                  <a:cubicBezTo>
                    <a:pt x="349" y="94"/>
                    <a:pt x="350" y="94"/>
                    <a:pt x="350" y="94"/>
                  </a:cubicBezTo>
                  <a:cubicBezTo>
                    <a:pt x="351" y="94"/>
                    <a:pt x="352" y="94"/>
                    <a:pt x="352" y="94"/>
                  </a:cubicBezTo>
                  <a:cubicBezTo>
                    <a:pt x="354" y="94"/>
                    <a:pt x="356" y="94"/>
                    <a:pt x="357" y="93"/>
                  </a:cubicBezTo>
                  <a:cubicBezTo>
                    <a:pt x="359" y="93"/>
                    <a:pt x="361" y="90"/>
                    <a:pt x="363" y="90"/>
                  </a:cubicBezTo>
                  <a:cubicBezTo>
                    <a:pt x="363" y="90"/>
                    <a:pt x="363" y="90"/>
                    <a:pt x="363" y="90"/>
                  </a:cubicBezTo>
                  <a:cubicBezTo>
                    <a:pt x="364" y="90"/>
                    <a:pt x="364" y="90"/>
                    <a:pt x="365" y="90"/>
                  </a:cubicBezTo>
                  <a:cubicBezTo>
                    <a:pt x="366" y="90"/>
                    <a:pt x="366" y="90"/>
                    <a:pt x="367" y="90"/>
                  </a:cubicBezTo>
                  <a:cubicBezTo>
                    <a:pt x="367" y="90"/>
                    <a:pt x="368" y="90"/>
                    <a:pt x="369" y="90"/>
                  </a:cubicBezTo>
                  <a:cubicBezTo>
                    <a:pt x="371" y="88"/>
                    <a:pt x="372" y="84"/>
                    <a:pt x="371" y="81"/>
                  </a:cubicBezTo>
                  <a:cubicBezTo>
                    <a:pt x="369" y="78"/>
                    <a:pt x="368" y="78"/>
                    <a:pt x="365" y="78"/>
                  </a:cubicBezTo>
                  <a:cubicBezTo>
                    <a:pt x="363" y="78"/>
                    <a:pt x="361" y="78"/>
                    <a:pt x="359" y="78"/>
                  </a:cubicBezTo>
                  <a:cubicBezTo>
                    <a:pt x="357" y="78"/>
                    <a:pt x="354" y="76"/>
                    <a:pt x="352" y="76"/>
                  </a:cubicBezTo>
                  <a:cubicBezTo>
                    <a:pt x="352" y="76"/>
                    <a:pt x="351" y="76"/>
                    <a:pt x="351" y="76"/>
                  </a:cubicBezTo>
                  <a:cubicBezTo>
                    <a:pt x="348" y="77"/>
                    <a:pt x="347" y="81"/>
                    <a:pt x="344" y="82"/>
                  </a:cubicBezTo>
                  <a:cubicBezTo>
                    <a:pt x="343" y="82"/>
                    <a:pt x="342" y="82"/>
                    <a:pt x="342" y="82"/>
                  </a:cubicBezTo>
                  <a:cubicBezTo>
                    <a:pt x="342" y="82"/>
                    <a:pt x="342" y="82"/>
                    <a:pt x="341" y="82"/>
                  </a:cubicBezTo>
                  <a:cubicBezTo>
                    <a:pt x="341" y="82"/>
                    <a:pt x="341" y="82"/>
                    <a:pt x="341" y="82"/>
                  </a:cubicBezTo>
                  <a:cubicBezTo>
                    <a:pt x="340" y="82"/>
                    <a:pt x="339" y="82"/>
                    <a:pt x="338" y="84"/>
                  </a:cubicBezTo>
                  <a:cubicBezTo>
                    <a:pt x="337" y="87"/>
                    <a:pt x="335" y="92"/>
                    <a:pt x="333" y="94"/>
                  </a:cubicBezTo>
                  <a:cubicBezTo>
                    <a:pt x="331" y="95"/>
                    <a:pt x="328" y="94"/>
                    <a:pt x="326" y="95"/>
                  </a:cubicBezTo>
                  <a:cubicBezTo>
                    <a:pt x="329" y="94"/>
                    <a:pt x="331" y="94"/>
                    <a:pt x="333" y="92"/>
                  </a:cubicBezTo>
                  <a:cubicBezTo>
                    <a:pt x="335" y="90"/>
                    <a:pt x="336" y="88"/>
                    <a:pt x="337" y="85"/>
                  </a:cubicBezTo>
                  <a:cubicBezTo>
                    <a:pt x="338" y="82"/>
                    <a:pt x="339" y="81"/>
                    <a:pt x="343" y="81"/>
                  </a:cubicBezTo>
                  <a:cubicBezTo>
                    <a:pt x="347" y="80"/>
                    <a:pt x="346" y="78"/>
                    <a:pt x="342" y="77"/>
                  </a:cubicBezTo>
                  <a:cubicBezTo>
                    <a:pt x="341" y="77"/>
                    <a:pt x="339" y="77"/>
                    <a:pt x="338" y="77"/>
                  </a:cubicBezTo>
                  <a:cubicBezTo>
                    <a:pt x="335" y="77"/>
                    <a:pt x="332" y="77"/>
                    <a:pt x="330" y="79"/>
                  </a:cubicBezTo>
                  <a:cubicBezTo>
                    <a:pt x="327" y="80"/>
                    <a:pt x="324" y="84"/>
                    <a:pt x="322" y="86"/>
                  </a:cubicBezTo>
                  <a:cubicBezTo>
                    <a:pt x="321" y="87"/>
                    <a:pt x="321" y="88"/>
                    <a:pt x="320" y="89"/>
                  </a:cubicBezTo>
                  <a:cubicBezTo>
                    <a:pt x="319" y="89"/>
                    <a:pt x="319" y="89"/>
                    <a:pt x="319" y="89"/>
                  </a:cubicBezTo>
                  <a:cubicBezTo>
                    <a:pt x="318" y="89"/>
                    <a:pt x="322" y="85"/>
                    <a:pt x="322" y="84"/>
                  </a:cubicBezTo>
                  <a:cubicBezTo>
                    <a:pt x="324" y="82"/>
                    <a:pt x="325" y="81"/>
                    <a:pt x="326" y="79"/>
                  </a:cubicBezTo>
                  <a:cubicBezTo>
                    <a:pt x="328" y="78"/>
                    <a:pt x="331" y="77"/>
                    <a:pt x="334" y="76"/>
                  </a:cubicBezTo>
                  <a:cubicBezTo>
                    <a:pt x="335" y="76"/>
                    <a:pt x="337" y="76"/>
                    <a:pt x="339" y="76"/>
                  </a:cubicBezTo>
                  <a:cubicBezTo>
                    <a:pt x="339" y="76"/>
                    <a:pt x="340" y="76"/>
                    <a:pt x="340" y="76"/>
                  </a:cubicBezTo>
                  <a:cubicBezTo>
                    <a:pt x="342" y="76"/>
                    <a:pt x="343" y="76"/>
                    <a:pt x="345" y="76"/>
                  </a:cubicBezTo>
                  <a:cubicBezTo>
                    <a:pt x="345" y="76"/>
                    <a:pt x="346" y="76"/>
                    <a:pt x="347" y="75"/>
                  </a:cubicBezTo>
                  <a:cubicBezTo>
                    <a:pt x="349" y="74"/>
                    <a:pt x="352" y="72"/>
                    <a:pt x="352" y="70"/>
                  </a:cubicBezTo>
                  <a:cubicBezTo>
                    <a:pt x="352" y="68"/>
                    <a:pt x="348" y="64"/>
                    <a:pt x="347" y="62"/>
                  </a:cubicBezTo>
                  <a:cubicBezTo>
                    <a:pt x="346" y="60"/>
                    <a:pt x="346" y="60"/>
                    <a:pt x="343" y="59"/>
                  </a:cubicBezTo>
                  <a:cubicBezTo>
                    <a:pt x="340" y="59"/>
                    <a:pt x="338" y="58"/>
                    <a:pt x="336" y="57"/>
                  </a:cubicBezTo>
                  <a:cubicBezTo>
                    <a:pt x="334" y="57"/>
                    <a:pt x="332" y="56"/>
                    <a:pt x="331" y="56"/>
                  </a:cubicBezTo>
                  <a:cubicBezTo>
                    <a:pt x="330" y="56"/>
                    <a:pt x="330" y="56"/>
                    <a:pt x="330" y="56"/>
                  </a:cubicBezTo>
                  <a:cubicBezTo>
                    <a:pt x="328" y="57"/>
                    <a:pt x="327" y="59"/>
                    <a:pt x="326" y="59"/>
                  </a:cubicBezTo>
                  <a:cubicBezTo>
                    <a:pt x="325" y="59"/>
                    <a:pt x="325" y="59"/>
                    <a:pt x="325" y="59"/>
                  </a:cubicBezTo>
                  <a:cubicBezTo>
                    <a:pt x="323" y="59"/>
                    <a:pt x="326" y="58"/>
                    <a:pt x="324" y="56"/>
                  </a:cubicBezTo>
                  <a:cubicBezTo>
                    <a:pt x="323" y="55"/>
                    <a:pt x="320" y="55"/>
                    <a:pt x="318" y="55"/>
                  </a:cubicBezTo>
                  <a:cubicBezTo>
                    <a:pt x="317" y="55"/>
                    <a:pt x="316" y="55"/>
                    <a:pt x="316" y="54"/>
                  </a:cubicBezTo>
                  <a:cubicBezTo>
                    <a:pt x="315" y="54"/>
                    <a:pt x="314" y="54"/>
                    <a:pt x="313" y="54"/>
                  </a:cubicBezTo>
                  <a:cubicBezTo>
                    <a:pt x="312" y="53"/>
                    <a:pt x="314" y="53"/>
                    <a:pt x="313" y="53"/>
                  </a:cubicBezTo>
                  <a:cubicBezTo>
                    <a:pt x="310" y="50"/>
                    <a:pt x="305" y="49"/>
                    <a:pt x="301" y="49"/>
                  </a:cubicBezTo>
                  <a:cubicBezTo>
                    <a:pt x="296" y="49"/>
                    <a:pt x="291" y="50"/>
                    <a:pt x="288" y="51"/>
                  </a:cubicBezTo>
                  <a:cubicBezTo>
                    <a:pt x="283" y="52"/>
                    <a:pt x="279" y="53"/>
                    <a:pt x="275" y="55"/>
                  </a:cubicBezTo>
                  <a:cubicBezTo>
                    <a:pt x="272" y="57"/>
                    <a:pt x="268" y="59"/>
                    <a:pt x="270" y="63"/>
                  </a:cubicBezTo>
                  <a:cubicBezTo>
                    <a:pt x="271" y="66"/>
                    <a:pt x="275" y="67"/>
                    <a:pt x="278" y="67"/>
                  </a:cubicBezTo>
                  <a:cubicBezTo>
                    <a:pt x="282" y="69"/>
                    <a:pt x="287" y="71"/>
                    <a:pt x="291" y="73"/>
                  </a:cubicBezTo>
                  <a:cubicBezTo>
                    <a:pt x="292" y="73"/>
                    <a:pt x="293" y="73"/>
                    <a:pt x="294" y="73"/>
                  </a:cubicBezTo>
                  <a:cubicBezTo>
                    <a:pt x="295" y="73"/>
                    <a:pt x="295" y="73"/>
                    <a:pt x="295" y="73"/>
                  </a:cubicBezTo>
                  <a:cubicBezTo>
                    <a:pt x="296" y="73"/>
                    <a:pt x="296" y="73"/>
                    <a:pt x="296" y="73"/>
                  </a:cubicBezTo>
                  <a:cubicBezTo>
                    <a:pt x="297" y="73"/>
                    <a:pt x="297" y="73"/>
                    <a:pt x="298" y="73"/>
                  </a:cubicBezTo>
                  <a:cubicBezTo>
                    <a:pt x="300" y="74"/>
                    <a:pt x="303" y="75"/>
                    <a:pt x="305" y="76"/>
                  </a:cubicBezTo>
                  <a:cubicBezTo>
                    <a:pt x="302" y="76"/>
                    <a:pt x="300" y="74"/>
                    <a:pt x="297" y="74"/>
                  </a:cubicBezTo>
                  <a:cubicBezTo>
                    <a:pt x="296" y="74"/>
                    <a:pt x="296" y="74"/>
                    <a:pt x="296" y="74"/>
                  </a:cubicBezTo>
                  <a:cubicBezTo>
                    <a:pt x="295" y="74"/>
                    <a:pt x="293" y="74"/>
                    <a:pt x="293" y="74"/>
                  </a:cubicBezTo>
                  <a:cubicBezTo>
                    <a:pt x="290" y="75"/>
                    <a:pt x="291" y="75"/>
                    <a:pt x="290" y="77"/>
                  </a:cubicBezTo>
                  <a:cubicBezTo>
                    <a:pt x="290" y="74"/>
                    <a:pt x="290" y="73"/>
                    <a:pt x="287" y="72"/>
                  </a:cubicBezTo>
                  <a:cubicBezTo>
                    <a:pt x="286" y="71"/>
                    <a:pt x="284" y="71"/>
                    <a:pt x="283" y="70"/>
                  </a:cubicBezTo>
                  <a:cubicBezTo>
                    <a:pt x="283" y="70"/>
                    <a:pt x="283" y="70"/>
                    <a:pt x="283" y="70"/>
                  </a:cubicBezTo>
                  <a:cubicBezTo>
                    <a:pt x="283" y="70"/>
                    <a:pt x="283" y="71"/>
                    <a:pt x="282" y="71"/>
                  </a:cubicBezTo>
                  <a:cubicBezTo>
                    <a:pt x="282" y="71"/>
                    <a:pt x="282" y="71"/>
                    <a:pt x="282" y="71"/>
                  </a:cubicBezTo>
                  <a:cubicBezTo>
                    <a:pt x="282" y="71"/>
                    <a:pt x="282" y="71"/>
                    <a:pt x="282" y="71"/>
                  </a:cubicBezTo>
                  <a:cubicBezTo>
                    <a:pt x="281" y="71"/>
                    <a:pt x="282" y="70"/>
                    <a:pt x="281" y="70"/>
                  </a:cubicBezTo>
                  <a:cubicBezTo>
                    <a:pt x="279" y="69"/>
                    <a:pt x="277" y="69"/>
                    <a:pt x="275" y="68"/>
                  </a:cubicBezTo>
                  <a:cubicBezTo>
                    <a:pt x="274" y="68"/>
                    <a:pt x="273" y="68"/>
                    <a:pt x="273" y="68"/>
                  </a:cubicBezTo>
                  <a:cubicBezTo>
                    <a:pt x="271" y="68"/>
                    <a:pt x="271" y="70"/>
                    <a:pt x="270" y="72"/>
                  </a:cubicBezTo>
                  <a:cubicBezTo>
                    <a:pt x="269" y="70"/>
                    <a:pt x="270" y="67"/>
                    <a:pt x="268" y="66"/>
                  </a:cubicBezTo>
                  <a:cubicBezTo>
                    <a:pt x="263" y="67"/>
                    <a:pt x="263" y="67"/>
                    <a:pt x="263" y="67"/>
                  </a:cubicBezTo>
                  <a:cubicBezTo>
                    <a:pt x="260" y="70"/>
                    <a:pt x="263" y="73"/>
                    <a:pt x="265" y="74"/>
                  </a:cubicBezTo>
                  <a:cubicBezTo>
                    <a:pt x="267" y="75"/>
                    <a:pt x="270" y="75"/>
                    <a:pt x="272" y="77"/>
                  </a:cubicBezTo>
                  <a:cubicBezTo>
                    <a:pt x="273" y="78"/>
                    <a:pt x="274" y="79"/>
                    <a:pt x="274" y="81"/>
                  </a:cubicBezTo>
                  <a:cubicBezTo>
                    <a:pt x="274" y="83"/>
                    <a:pt x="275" y="83"/>
                    <a:pt x="276" y="83"/>
                  </a:cubicBezTo>
                  <a:cubicBezTo>
                    <a:pt x="276" y="83"/>
                    <a:pt x="277" y="83"/>
                    <a:pt x="277" y="83"/>
                  </a:cubicBezTo>
                  <a:cubicBezTo>
                    <a:pt x="277" y="83"/>
                    <a:pt x="278" y="83"/>
                    <a:pt x="278" y="83"/>
                  </a:cubicBezTo>
                  <a:cubicBezTo>
                    <a:pt x="278" y="83"/>
                    <a:pt x="279" y="83"/>
                    <a:pt x="279" y="83"/>
                  </a:cubicBezTo>
                  <a:cubicBezTo>
                    <a:pt x="280" y="83"/>
                    <a:pt x="282" y="86"/>
                    <a:pt x="283" y="87"/>
                  </a:cubicBezTo>
                  <a:cubicBezTo>
                    <a:pt x="285" y="89"/>
                    <a:pt x="286" y="90"/>
                    <a:pt x="288" y="90"/>
                  </a:cubicBezTo>
                  <a:cubicBezTo>
                    <a:pt x="288" y="90"/>
                    <a:pt x="287" y="90"/>
                    <a:pt x="286" y="90"/>
                  </a:cubicBezTo>
                  <a:cubicBezTo>
                    <a:pt x="282" y="90"/>
                    <a:pt x="281" y="84"/>
                    <a:pt x="277" y="83"/>
                  </a:cubicBezTo>
                  <a:cubicBezTo>
                    <a:pt x="277" y="83"/>
                    <a:pt x="277" y="83"/>
                    <a:pt x="277" y="83"/>
                  </a:cubicBezTo>
                  <a:cubicBezTo>
                    <a:pt x="273" y="83"/>
                    <a:pt x="276" y="87"/>
                    <a:pt x="277" y="88"/>
                  </a:cubicBezTo>
                  <a:cubicBezTo>
                    <a:pt x="279" y="90"/>
                    <a:pt x="282" y="91"/>
                    <a:pt x="284" y="92"/>
                  </a:cubicBezTo>
                  <a:cubicBezTo>
                    <a:pt x="280" y="91"/>
                    <a:pt x="276" y="90"/>
                    <a:pt x="274" y="86"/>
                  </a:cubicBezTo>
                  <a:cubicBezTo>
                    <a:pt x="272" y="84"/>
                    <a:pt x="273" y="79"/>
                    <a:pt x="270" y="77"/>
                  </a:cubicBezTo>
                  <a:cubicBezTo>
                    <a:pt x="269" y="77"/>
                    <a:pt x="265" y="75"/>
                    <a:pt x="264" y="75"/>
                  </a:cubicBezTo>
                  <a:cubicBezTo>
                    <a:pt x="263" y="75"/>
                    <a:pt x="263" y="75"/>
                    <a:pt x="263" y="75"/>
                  </a:cubicBezTo>
                  <a:cubicBezTo>
                    <a:pt x="261" y="75"/>
                    <a:pt x="262" y="76"/>
                    <a:pt x="261" y="79"/>
                  </a:cubicBezTo>
                  <a:cubicBezTo>
                    <a:pt x="260" y="82"/>
                    <a:pt x="263" y="83"/>
                    <a:pt x="265" y="84"/>
                  </a:cubicBezTo>
                  <a:cubicBezTo>
                    <a:pt x="266" y="84"/>
                    <a:pt x="267" y="84"/>
                    <a:pt x="268" y="85"/>
                  </a:cubicBezTo>
                  <a:cubicBezTo>
                    <a:pt x="269" y="85"/>
                    <a:pt x="268" y="87"/>
                    <a:pt x="270" y="87"/>
                  </a:cubicBezTo>
                  <a:cubicBezTo>
                    <a:pt x="270" y="87"/>
                    <a:pt x="269" y="87"/>
                    <a:pt x="269" y="87"/>
                  </a:cubicBezTo>
                  <a:cubicBezTo>
                    <a:pt x="267" y="87"/>
                    <a:pt x="264" y="85"/>
                    <a:pt x="262" y="85"/>
                  </a:cubicBezTo>
                  <a:cubicBezTo>
                    <a:pt x="260" y="84"/>
                    <a:pt x="259" y="84"/>
                    <a:pt x="257" y="84"/>
                  </a:cubicBezTo>
                  <a:cubicBezTo>
                    <a:pt x="257" y="84"/>
                    <a:pt x="256" y="84"/>
                    <a:pt x="255" y="84"/>
                  </a:cubicBezTo>
                  <a:cubicBezTo>
                    <a:pt x="255" y="84"/>
                    <a:pt x="255" y="84"/>
                    <a:pt x="255" y="84"/>
                  </a:cubicBezTo>
                  <a:cubicBezTo>
                    <a:pt x="252" y="84"/>
                    <a:pt x="257" y="80"/>
                    <a:pt x="258" y="79"/>
                  </a:cubicBezTo>
                  <a:cubicBezTo>
                    <a:pt x="259" y="77"/>
                    <a:pt x="260" y="73"/>
                    <a:pt x="260" y="71"/>
                  </a:cubicBezTo>
                  <a:cubicBezTo>
                    <a:pt x="259" y="70"/>
                    <a:pt x="254" y="66"/>
                    <a:pt x="252" y="65"/>
                  </a:cubicBezTo>
                  <a:cubicBezTo>
                    <a:pt x="252" y="65"/>
                    <a:pt x="252" y="65"/>
                    <a:pt x="252" y="65"/>
                  </a:cubicBezTo>
                  <a:cubicBezTo>
                    <a:pt x="249" y="65"/>
                    <a:pt x="248" y="68"/>
                    <a:pt x="245" y="70"/>
                  </a:cubicBezTo>
                  <a:cubicBezTo>
                    <a:pt x="245" y="70"/>
                    <a:pt x="243" y="71"/>
                    <a:pt x="242" y="72"/>
                  </a:cubicBezTo>
                  <a:cubicBezTo>
                    <a:pt x="242" y="72"/>
                    <a:pt x="242" y="73"/>
                    <a:pt x="242" y="73"/>
                  </a:cubicBezTo>
                  <a:cubicBezTo>
                    <a:pt x="241" y="73"/>
                    <a:pt x="241" y="72"/>
                    <a:pt x="241" y="72"/>
                  </a:cubicBezTo>
                  <a:cubicBezTo>
                    <a:pt x="240" y="72"/>
                    <a:pt x="241" y="71"/>
                    <a:pt x="242" y="70"/>
                  </a:cubicBezTo>
                  <a:cubicBezTo>
                    <a:pt x="244" y="68"/>
                    <a:pt x="245" y="68"/>
                    <a:pt x="243" y="65"/>
                  </a:cubicBezTo>
                  <a:cubicBezTo>
                    <a:pt x="241" y="64"/>
                    <a:pt x="242" y="64"/>
                    <a:pt x="241" y="63"/>
                  </a:cubicBezTo>
                  <a:cubicBezTo>
                    <a:pt x="241" y="62"/>
                    <a:pt x="243" y="61"/>
                    <a:pt x="242" y="61"/>
                  </a:cubicBezTo>
                  <a:cubicBezTo>
                    <a:pt x="241" y="61"/>
                    <a:pt x="241" y="61"/>
                    <a:pt x="241" y="61"/>
                  </a:cubicBezTo>
                  <a:cubicBezTo>
                    <a:pt x="241" y="60"/>
                    <a:pt x="240" y="60"/>
                    <a:pt x="240" y="60"/>
                  </a:cubicBezTo>
                  <a:cubicBezTo>
                    <a:pt x="239" y="60"/>
                    <a:pt x="237" y="64"/>
                    <a:pt x="236" y="64"/>
                  </a:cubicBezTo>
                  <a:cubicBezTo>
                    <a:pt x="235" y="65"/>
                    <a:pt x="232" y="66"/>
                    <a:pt x="232" y="67"/>
                  </a:cubicBezTo>
                  <a:cubicBezTo>
                    <a:pt x="231" y="72"/>
                    <a:pt x="240" y="75"/>
                    <a:pt x="243" y="76"/>
                  </a:cubicBezTo>
                  <a:cubicBezTo>
                    <a:pt x="242" y="76"/>
                    <a:pt x="242" y="76"/>
                    <a:pt x="241" y="76"/>
                  </a:cubicBezTo>
                  <a:cubicBezTo>
                    <a:pt x="237" y="76"/>
                    <a:pt x="235" y="73"/>
                    <a:pt x="232" y="70"/>
                  </a:cubicBezTo>
                  <a:cubicBezTo>
                    <a:pt x="232" y="70"/>
                    <a:pt x="231" y="69"/>
                    <a:pt x="230" y="69"/>
                  </a:cubicBezTo>
                  <a:cubicBezTo>
                    <a:pt x="229" y="69"/>
                    <a:pt x="229" y="70"/>
                    <a:pt x="228" y="71"/>
                  </a:cubicBezTo>
                  <a:cubicBezTo>
                    <a:pt x="228" y="72"/>
                    <a:pt x="229" y="73"/>
                    <a:pt x="228" y="74"/>
                  </a:cubicBezTo>
                  <a:cubicBezTo>
                    <a:pt x="228" y="74"/>
                    <a:pt x="228" y="74"/>
                    <a:pt x="227" y="74"/>
                  </a:cubicBezTo>
                  <a:cubicBezTo>
                    <a:pt x="227" y="74"/>
                    <a:pt x="227" y="74"/>
                    <a:pt x="226" y="74"/>
                  </a:cubicBezTo>
                  <a:cubicBezTo>
                    <a:pt x="226" y="74"/>
                    <a:pt x="226" y="74"/>
                    <a:pt x="226" y="74"/>
                  </a:cubicBezTo>
                  <a:cubicBezTo>
                    <a:pt x="226" y="74"/>
                    <a:pt x="226" y="74"/>
                    <a:pt x="226" y="74"/>
                  </a:cubicBezTo>
                  <a:cubicBezTo>
                    <a:pt x="224" y="75"/>
                    <a:pt x="229" y="77"/>
                    <a:pt x="225" y="80"/>
                  </a:cubicBezTo>
                  <a:cubicBezTo>
                    <a:pt x="224" y="81"/>
                    <a:pt x="222" y="82"/>
                    <a:pt x="221" y="82"/>
                  </a:cubicBezTo>
                  <a:cubicBezTo>
                    <a:pt x="218" y="82"/>
                    <a:pt x="217" y="87"/>
                    <a:pt x="214" y="87"/>
                  </a:cubicBezTo>
                  <a:cubicBezTo>
                    <a:pt x="214" y="87"/>
                    <a:pt x="214" y="87"/>
                    <a:pt x="213" y="87"/>
                  </a:cubicBezTo>
                  <a:cubicBezTo>
                    <a:pt x="214" y="85"/>
                    <a:pt x="218" y="84"/>
                    <a:pt x="217" y="81"/>
                  </a:cubicBezTo>
                  <a:cubicBezTo>
                    <a:pt x="216" y="80"/>
                    <a:pt x="212" y="81"/>
                    <a:pt x="210" y="80"/>
                  </a:cubicBezTo>
                  <a:cubicBezTo>
                    <a:pt x="212" y="77"/>
                    <a:pt x="214" y="78"/>
                    <a:pt x="216" y="78"/>
                  </a:cubicBezTo>
                  <a:cubicBezTo>
                    <a:pt x="216" y="78"/>
                    <a:pt x="217" y="78"/>
                    <a:pt x="217" y="78"/>
                  </a:cubicBezTo>
                  <a:cubicBezTo>
                    <a:pt x="218" y="78"/>
                    <a:pt x="218" y="79"/>
                    <a:pt x="220" y="79"/>
                  </a:cubicBezTo>
                  <a:cubicBezTo>
                    <a:pt x="221" y="79"/>
                    <a:pt x="221" y="79"/>
                    <a:pt x="221" y="79"/>
                  </a:cubicBezTo>
                  <a:cubicBezTo>
                    <a:pt x="223" y="79"/>
                    <a:pt x="220" y="77"/>
                    <a:pt x="219" y="76"/>
                  </a:cubicBezTo>
                  <a:cubicBezTo>
                    <a:pt x="217" y="75"/>
                    <a:pt x="215" y="75"/>
                    <a:pt x="213" y="73"/>
                  </a:cubicBezTo>
                  <a:cubicBezTo>
                    <a:pt x="217" y="73"/>
                    <a:pt x="215" y="73"/>
                    <a:pt x="216" y="70"/>
                  </a:cubicBezTo>
                  <a:cubicBezTo>
                    <a:pt x="217" y="69"/>
                    <a:pt x="219" y="68"/>
                    <a:pt x="220" y="67"/>
                  </a:cubicBezTo>
                  <a:cubicBezTo>
                    <a:pt x="222" y="65"/>
                    <a:pt x="222" y="66"/>
                    <a:pt x="223" y="64"/>
                  </a:cubicBezTo>
                  <a:cubicBezTo>
                    <a:pt x="224" y="63"/>
                    <a:pt x="225" y="60"/>
                    <a:pt x="223" y="60"/>
                  </a:cubicBezTo>
                  <a:cubicBezTo>
                    <a:pt x="223" y="60"/>
                    <a:pt x="222" y="59"/>
                    <a:pt x="222" y="59"/>
                  </a:cubicBezTo>
                  <a:cubicBezTo>
                    <a:pt x="219" y="59"/>
                    <a:pt x="214" y="64"/>
                    <a:pt x="213" y="66"/>
                  </a:cubicBezTo>
                  <a:cubicBezTo>
                    <a:pt x="210" y="68"/>
                    <a:pt x="207" y="71"/>
                    <a:pt x="204" y="71"/>
                  </a:cubicBezTo>
                  <a:cubicBezTo>
                    <a:pt x="205" y="70"/>
                    <a:pt x="207" y="70"/>
                    <a:pt x="208" y="69"/>
                  </a:cubicBezTo>
                  <a:cubicBezTo>
                    <a:pt x="208" y="69"/>
                    <a:pt x="208" y="68"/>
                    <a:pt x="208" y="67"/>
                  </a:cubicBezTo>
                  <a:cubicBezTo>
                    <a:pt x="209" y="66"/>
                    <a:pt x="210" y="66"/>
                    <a:pt x="211" y="65"/>
                  </a:cubicBezTo>
                  <a:cubicBezTo>
                    <a:pt x="213" y="63"/>
                    <a:pt x="215" y="61"/>
                    <a:pt x="218" y="59"/>
                  </a:cubicBezTo>
                  <a:cubicBezTo>
                    <a:pt x="219" y="59"/>
                    <a:pt x="220" y="58"/>
                    <a:pt x="221" y="57"/>
                  </a:cubicBezTo>
                  <a:cubicBezTo>
                    <a:pt x="223" y="57"/>
                    <a:pt x="222" y="56"/>
                    <a:pt x="223" y="55"/>
                  </a:cubicBezTo>
                  <a:cubicBezTo>
                    <a:pt x="223" y="54"/>
                    <a:pt x="229" y="50"/>
                    <a:pt x="229" y="50"/>
                  </a:cubicBezTo>
                  <a:cubicBezTo>
                    <a:pt x="229" y="50"/>
                    <a:pt x="229" y="50"/>
                    <a:pt x="229" y="50"/>
                  </a:cubicBezTo>
                  <a:cubicBezTo>
                    <a:pt x="227" y="46"/>
                    <a:pt x="221" y="45"/>
                    <a:pt x="221" y="40"/>
                  </a:cubicBezTo>
                  <a:cubicBezTo>
                    <a:pt x="220" y="36"/>
                    <a:pt x="225" y="32"/>
                    <a:pt x="218" y="30"/>
                  </a:cubicBezTo>
                  <a:cubicBezTo>
                    <a:pt x="214" y="29"/>
                    <a:pt x="207" y="28"/>
                    <a:pt x="207" y="24"/>
                  </a:cubicBezTo>
                  <a:cubicBezTo>
                    <a:pt x="207" y="22"/>
                    <a:pt x="208" y="20"/>
                    <a:pt x="208" y="18"/>
                  </a:cubicBezTo>
                  <a:cubicBezTo>
                    <a:pt x="207" y="15"/>
                    <a:pt x="207" y="13"/>
                    <a:pt x="205" y="12"/>
                  </a:cubicBezTo>
                  <a:cubicBezTo>
                    <a:pt x="204" y="11"/>
                    <a:pt x="203" y="10"/>
                    <a:pt x="202" y="9"/>
                  </a:cubicBezTo>
                  <a:cubicBezTo>
                    <a:pt x="201" y="8"/>
                    <a:pt x="202" y="7"/>
                    <a:pt x="200" y="6"/>
                  </a:cubicBezTo>
                  <a:cubicBezTo>
                    <a:pt x="199" y="6"/>
                    <a:pt x="198" y="6"/>
                    <a:pt x="197" y="6"/>
                  </a:cubicBezTo>
                  <a:cubicBezTo>
                    <a:pt x="197" y="6"/>
                    <a:pt x="196" y="6"/>
                    <a:pt x="196" y="6"/>
                  </a:cubicBezTo>
                  <a:cubicBezTo>
                    <a:pt x="195" y="6"/>
                    <a:pt x="195" y="6"/>
                    <a:pt x="194" y="6"/>
                  </a:cubicBezTo>
                  <a:cubicBezTo>
                    <a:pt x="194" y="6"/>
                    <a:pt x="194" y="6"/>
                    <a:pt x="194" y="6"/>
                  </a:cubicBezTo>
                  <a:cubicBezTo>
                    <a:pt x="193" y="6"/>
                    <a:pt x="191" y="6"/>
                    <a:pt x="190" y="6"/>
                  </a:cubicBezTo>
                  <a:cubicBezTo>
                    <a:pt x="187" y="6"/>
                    <a:pt x="184" y="6"/>
                    <a:pt x="181" y="6"/>
                  </a:cubicBezTo>
                  <a:cubicBezTo>
                    <a:pt x="180" y="6"/>
                    <a:pt x="180" y="6"/>
                    <a:pt x="180" y="6"/>
                  </a:cubicBezTo>
                  <a:cubicBezTo>
                    <a:pt x="179" y="6"/>
                    <a:pt x="178" y="6"/>
                    <a:pt x="176" y="6"/>
                  </a:cubicBezTo>
                  <a:cubicBezTo>
                    <a:pt x="175" y="5"/>
                    <a:pt x="173" y="5"/>
                    <a:pt x="172" y="5"/>
                  </a:cubicBezTo>
                  <a:cubicBezTo>
                    <a:pt x="171" y="5"/>
                    <a:pt x="170" y="5"/>
                    <a:pt x="169" y="6"/>
                  </a:cubicBezTo>
                  <a:cubicBezTo>
                    <a:pt x="167" y="6"/>
                    <a:pt x="166" y="9"/>
                    <a:pt x="164" y="9"/>
                  </a:cubicBezTo>
                  <a:cubicBezTo>
                    <a:pt x="162" y="9"/>
                    <a:pt x="159" y="9"/>
                    <a:pt x="157" y="10"/>
                  </a:cubicBezTo>
                  <a:cubicBezTo>
                    <a:pt x="153" y="11"/>
                    <a:pt x="149" y="12"/>
                    <a:pt x="146" y="14"/>
                  </a:cubicBezTo>
                  <a:cubicBezTo>
                    <a:pt x="145" y="14"/>
                    <a:pt x="144" y="15"/>
                    <a:pt x="144" y="15"/>
                  </a:cubicBezTo>
                  <a:cubicBezTo>
                    <a:pt x="143" y="16"/>
                    <a:pt x="147" y="17"/>
                    <a:pt x="148" y="17"/>
                  </a:cubicBezTo>
                  <a:cubicBezTo>
                    <a:pt x="151" y="18"/>
                    <a:pt x="152" y="20"/>
                    <a:pt x="150" y="23"/>
                  </a:cubicBezTo>
                  <a:cubicBezTo>
                    <a:pt x="148" y="19"/>
                    <a:pt x="144" y="17"/>
                    <a:pt x="139" y="17"/>
                  </a:cubicBezTo>
                  <a:cubicBezTo>
                    <a:pt x="139" y="17"/>
                    <a:pt x="138" y="17"/>
                    <a:pt x="137" y="17"/>
                  </a:cubicBezTo>
                  <a:cubicBezTo>
                    <a:pt x="135" y="17"/>
                    <a:pt x="133" y="19"/>
                    <a:pt x="131" y="19"/>
                  </a:cubicBezTo>
                  <a:cubicBezTo>
                    <a:pt x="129" y="20"/>
                    <a:pt x="129" y="20"/>
                    <a:pt x="129" y="22"/>
                  </a:cubicBezTo>
                  <a:cubicBezTo>
                    <a:pt x="130" y="24"/>
                    <a:pt x="133" y="26"/>
                    <a:pt x="134" y="28"/>
                  </a:cubicBezTo>
                  <a:cubicBezTo>
                    <a:pt x="133" y="27"/>
                    <a:pt x="129" y="26"/>
                    <a:pt x="127" y="24"/>
                  </a:cubicBezTo>
                  <a:cubicBezTo>
                    <a:pt x="125" y="23"/>
                    <a:pt x="126" y="21"/>
                    <a:pt x="123" y="21"/>
                  </a:cubicBezTo>
                  <a:cubicBezTo>
                    <a:pt x="123" y="21"/>
                    <a:pt x="123" y="21"/>
                    <a:pt x="123" y="21"/>
                  </a:cubicBezTo>
                  <a:cubicBezTo>
                    <a:pt x="121" y="21"/>
                    <a:pt x="120" y="22"/>
                    <a:pt x="120" y="24"/>
                  </a:cubicBezTo>
                  <a:cubicBezTo>
                    <a:pt x="119" y="23"/>
                    <a:pt x="119" y="23"/>
                    <a:pt x="119" y="23"/>
                  </a:cubicBezTo>
                  <a:cubicBezTo>
                    <a:pt x="119" y="23"/>
                    <a:pt x="118" y="23"/>
                    <a:pt x="118" y="24"/>
                  </a:cubicBezTo>
                  <a:cubicBezTo>
                    <a:pt x="120" y="22"/>
                    <a:pt x="119" y="22"/>
                    <a:pt x="119" y="19"/>
                  </a:cubicBezTo>
                  <a:cubicBezTo>
                    <a:pt x="119" y="17"/>
                    <a:pt x="120" y="9"/>
                    <a:pt x="119" y="9"/>
                  </a:cubicBezTo>
                  <a:cubicBezTo>
                    <a:pt x="119" y="9"/>
                    <a:pt x="118" y="10"/>
                    <a:pt x="118" y="10"/>
                  </a:cubicBezTo>
                  <a:cubicBezTo>
                    <a:pt x="118" y="9"/>
                    <a:pt x="119" y="8"/>
                    <a:pt x="119" y="7"/>
                  </a:cubicBezTo>
                  <a:cubicBezTo>
                    <a:pt x="120" y="8"/>
                    <a:pt x="119" y="8"/>
                    <a:pt x="120" y="9"/>
                  </a:cubicBezTo>
                  <a:cubicBezTo>
                    <a:pt x="124" y="7"/>
                    <a:pt x="123" y="5"/>
                    <a:pt x="119" y="3"/>
                  </a:cubicBezTo>
                  <a:cubicBezTo>
                    <a:pt x="119" y="4"/>
                    <a:pt x="119" y="4"/>
                    <a:pt x="119" y="4"/>
                  </a:cubicBezTo>
                  <a:cubicBezTo>
                    <a:pt x="119" y="3"/>
                    <a:pt x="119" y="2"/>
                    <a:pt x="118" y="2"/>
                  </a:cubicBezTo>
                  <a:cubicBezTo>
                    <a:pt x="114" y="1"/>
                    <a:pt x="109" y="2"/>
                    <a:pt x="105" y="1"/>
                  </a:cubicBezTo>
                  <a:cubicBezTo>
                    <a:pt x="100" y="0"/>
                    <a:pt x="94"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99"/>
            <p:cNvSpPr/>
            <p:nvPr/>
          </p:nvSpPr>
          <p:spPr bwMode="auto">
            <a:xfrm>
              <a:off x="9994891" y="2277297"/>
              <a:ext cx="3175" cy="15875"/>
            </a:xfrm>
            <a:custGeom>
              <a:gdLst>
                <a:gd name="T0" fmla="*/ 1 w 1"/>
                <a:gd name="T1" fmla="*/ 0 h 4"/>
                <a:gd name="T2" fmla="*/ 1 w 1"/>
                <a:gd name="T3" fmla="*/ 4 h 4"/>
                <a:gd name="T4" fmla="*/ 1 w 1"/>
                <a:gd name="T5" fmla="*/ 3 h 4"/>
                <a:gd name="T6" fmla="*/ 1 w 1"/>
                <a:gd name="T7" fmla="*/ 2 h 4"/>
                <a:gd name="T8" fmla="*/ 1 w 1"/>
                <a:gd name="T9" fmla="*/ 2 h 4"/>
                <a:gd name="T10" fmla="*/ 1 w 1"/>
                <a:gd name="T11" fmla="*/ 2 h 4"/>
                <a:gd name="T12" fmla="*/ 1 w 1"/>
                <a:gd name="T13" fmla="*/ 1 h 4"/>
                <a:gd name="T14" fmla="*/ 1 w 1"/>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0"/>
                  </a:moveTo>
                  <a:cubicBezTo>
                    <a:pt x="0" y="1"/>
                    <a:pt x="0" y="3"/>
                    <a:pt x="1" y="4"/>
                  </a:cubicBezTo>
                  <a:cubicBezTo>
                    <a:pt x="1" y="3"/>
                    <a:pt x="1" y="3"/>
                    <a:pt x="1" y="3"/>
                  </a:cubicBezTo>
                  <a:cubicBezTo>
                    <a:pt x="1" y="3"/>
                    <a:pt x="1" y="3"/>
                    <a:pt x="1" y="2"/>
                  </a:cubicBezTo>
                  <a:cubicBezTo>
                    <a:pt x="1" y="2"/>
                    <a:pt x="1" y="2"/>
                    <a:pt x="1" y="2"/>
                  </a:cubicBezTo>
                  <a:cubicBezTo>
                    <a:pt x="1" y="2"/>
                    <a:pt x="1" y="2"/>
                    <a:pt x="1" y="2"/>
                  </a:cubicBezTo>
                  <a:cubicBezTo>
                    <a:pt x="1"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300"/>
            <p:cNvSpPr/>
            <p:nvPr/>
          </p:nvSpPr>
          <p:spPr bwMode="auto">
            <a:xfrm>
              <a:off x="7186604" y="1823272"/>
              <a:ext cx="22225" cy="30163"/>
            </a:xfrm>
            <a:custGeom>
              <a:gdLst>
                <a:gd name="T0" fmla="*/ 3 w 6"/>
                <a:gd name="T1" fmla="*/ 0 h 8"/>
                <a:gd name="T2" fmla="*/ 3 w 6"/>
                <a:gd name="T3" fmla="*/ 0 h 8"/>
                <a:gd name="T4" fmla="*/ 2 w 6"/>
                <a:gd name="T5" fmla="*/ 1 h 8"/>
                <a:gd name="T6" fmla="*/ 1 w 6"/>
                <a:gd name="T7" fmla="*/ 2 h 8"/>
                <a:gd name="T8" fmla="*/ 6 w 6"/>
                <a:gd name="T9" fmla="*/ 8 h 8"/>
                <a:gd name="T10" fmla="*/ 6 w 6"/>
                <a:gd name="T11" fmla="*/ 7 h 8"/>
                <a:gd name="T12" fmla="*/ 6 w 6"/>
                <a:gd name="T13" fmla="*/ 5 h 8"/>
                <a:gd name="T14" fmla="*/ 6 w 6"/>
                <a:gd name="T15" fmla="*/ 4 h 8"/>
                <a:gd name="T16" fmla="*/ 5 w 6"/>
                <a:gd name="T17" fmla="*/ 1 h 8"/>
                <a:gd name="T18" fmla="*/ 3 w 6"/>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3" y="0"/>
                  </a:moveTo>
                  <a:cubicBezTo>
                    <a:pt x="3" y="0"/>
                    <a:pt x="3" y="0"/>
                    <a:pt x="3" y="0"/>
                  </a:cubicBezTo>
                  <a:cubicBezTo>
                    <a:pt x="3" y="0"/>
                    <a:pt x="2" y="1"/>
                    <a:pt x="2" y="1"/>
                  </a:cubicBezTo>
                  <a:cubicBezTo>
                    <a:pt x="1" y="2"/>
                    <a:pt x="1" y="2"/>
                    <a:pt x="1" y="2"/>
                  </a:cubicBezTo>
                  <a:cubicBezTo>
                    <a:pt x="0" y="5"/>
                    <a:pt x="5" y="7"/>
                    <a:pt x="6" y="8"/>
                  </a:cubicBezTo>
                  <a:cubicBezTo>
                    <a:pt x="6" y="7"/>
                    <a:pt x="6" y="7"/>
                    <a:pt x="6" y="7"/>
                  </a:cubicBezTo>
                  <a:cubicBezTo>
                    <a:pt x="6" y="6"/>
                    <a:pt x="6" y="6"/>
                    <a:pt x="6" y="5"/>
                  </a:cubicBezTo>
                  <a:cubicBezTo>
                    <a:pt x="6" y="4"/>
                    <a:pt x="6" y="4"/>
                    <a:pt x="6" y="4"/>
                  </a:cubicBezTo>
                  <a:cubicBezTo>
                    <a:pt x="6" y="3"/>
                    <a:pt x="6" y="2"/>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01"/>
            <p:cNvSpPr/>
            <p:nvPr/>
          </p:nvSpPr>
          <p:spPr bwMode="auto">
            <a:xfrm>
              <a:off x="10272704" y="3051997"/>
              <a:ext cx="36513" cy="19050"/>
            </a:xfrm>
            <a:custGeom>
              <a:gdLst>
                <a:gd name="T0" fmla="*/ 0 w 10"/>
                <a:gd name="T1" fmla="*/ 0 h 5"/>
                <a:gd name="T2" fmla="*/ 1 w 10"/>
                <a:gd name="T3" fmla="*/ 2 h 5"/>
                <a:gd name="T4" fmla="*/ 1 w 10"/>
                <a:gd name="T5" fmla="*/ 2 h 5"/>
                <a:gd name="T6" fmla="*/ 2 w 10"/>
                <a:gd name="T7" fmla="*/ 3 h 5"/>
                <a:gd name="T8" fmla="*/ 3 w 10"/>
                <a:gd name="T9" fmla="*/ 3 h 5"/>
                <a:gd name="T10" fmla="*/ 8 w 10"/>
                <a:gd name="T11" fmla="*/ 5 h 5"/>
                <a:gd name="T12" fmla="*/ 10 w 10"/>
                <a:gd name="T13" fmla="*/ 3 h 5"/>
                <a:gd name="T14" fmla="*/ 3 w 10"/>
                <a:gd name="T15" fmla="*/ 0 h 5"/>
                <a:gd name="T16" fmla="*/ 1 w 10"/>
                <a:gd name="T17" fmla="*/ 0 h 5"/>
                <a:gd name="T18" fmla="*/ 1 w 10"/>
                <a:gd name="T19" fmla="*/ 0 h 5"/>
                <a:gd name="T20" fmla="*/ 0 w 10"/>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5">
                  <a:moveTo>
                    <a:pt x="0" y="0"/>
                  </a:moveTo>
                  <a:cubicBezTo>
                    <a:pt x="0" y="1"/>
                    <a:pt x="0" y="1"/>
                    <a:pt x="1" y="2"/>
                  </a:cubicBezTo>
                  <a:cubicBezTo>
                    <a:pt x="1" y="2"/>
                    <a:pt x="1" y="2"/>
                    <a:pt x="1" y="2"/>
                  </a:cubicBezTo>
                  <a:cubicBezTo>
                    <a:pt x="2" y="3"/>
                    <a:pt x="2" y="3"/>
                    <a:pt x="2" y="3"/>
                  </a:cubicBezTo>
                  <a:cubicBezTo>
                    <a:pt x="3" y="3"/>
                    <a:pt x="3" y="3"/>
                    <a:pt x="3" y="3"/>
                  </a:cubicBezTo>
                  <a:cubicBezTo>
                    <a:pt x="4" y="4"/>
                    <a:pt x="6" y="4"/>
                    <a:pt x="8" y="5"/>
                  </a:cubicBezTo>
                  <a:cubicBezTo>
                    <a:pt x="8" y="4"/>
                    <a:pt x="9" y="4"/>
                    <a:pt x="10" y="3"/>
                  </a:cubicBezTo>
                  <a:cubicBezTo>
                    <a:pt x="7" y="2"/>
                    <a:pt x="5" y="1"/>
                    <a:pt x="3" y="0"/>
                  </a:cubicBezTo>
                  <a:cubicBezTo>
                    <a:pt x="2"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302"/>
            <p:cNvSpPr/>
            <p:nvPr/>
          </p:nvSpPr>
          <p:spPr bwMode="auto">
            <a:xfrm>
              <a:off x="7148504" y="1583559"/>
              <a:ext cx="46038" cy="36513"/>
            </a:xfrm>
            <a:custGeom>
              <a:gdLst>
                <a:gd name="T0" fmla="*/ 1 w 12"/>
                <a:gd name="T1" fmla="*/ 0 h 10"/>
                <a:gd name="T2" fmla="*/ 0 w 12"/>
                <a:gd name="T3" fmla="*/ 4 h 10"/>
                <a:gd name="T4" fmla="*/ 2 w 12"/>
                <a:gd name="T5" fmla="*/ 6 h 10"/>
                <a:gd name="T6" fmla="*/ 3 w 12"/>
                <a:gd name="T7" fmla="*/ 6 h 10"/>
                <a:gd name="T8" fmla="*/ 6 w 12"/>
                <a:gd name="T9" fmla="*/ 8 h 10"/>
                <a:gd name="T10" fmla="*/ 11 w 12"/>
                <a:gd name="T11" fmla="*/ 10 h 10"/>
                <a:gd name="T12" fmla="*/ 11 w 12"/>
                <a:gd name="T13" fmla="*/ 10 h 10"/>
                <a:gd name="T14" fmla="*/ 11 w 12"/>
                <a:gd name="T15" fmla="*/ 5 h 10"/>
                <a:gd name="T16" fmla="*/ 6 w 12"/>
                <a:gd name="T17" fmla="*/ 1 h 10"/>
                <a:gd name="T18" fmla="*/ 2 w 12"/>
                <a:gd name="T19" fmla="*/ 1 h 10"/>
                <a:gd name="T20" fmla="*/ 1 w 12"/>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0">
                  <a:moveTo>
                    <a:pt x="1" y="0"/>
                  </a:moveTo>
                  <a:cubicBezTo>
                    <a:pt x="0" y="2"/>
                    <a:pt x="0" y="3"/>
                    <a:pt x="0" y="4"/>
                  </a:cubicBezTo>
                  <a:cubicBezTo>
                    <a:pt x="1" y="5"/>
                    <a:pt x="1" y="6"/>
                    <a:pt x="2" y="6"/>
                  </a:cubicBezTo>
                  <a:cubicBezTo>
                    <a:pt x="3" y="6"/>
                    <a:pt x="3" y="6"/>
                    <a:pt x="3" y="6"/>
                  </a:cubicBezTo>
                  <a:cubicBezTo>
                    <a:pt x="4" y="7"/>
                    <a:pt x="5" y="8"/>
                    <a:pt x="6" y="8"/>
                  </a:cubicBezTo>
                  <a:cubicBezTo>
                    <a:pt x="8" y="9"/>
                    <a:pt x="10" y="10"/>
                    <a:pt x="11" y="10"/>
                  </a:cubicBezTo>
                  <a:cubicBezTo>
                    <a:pt x="11" y="10"/>
                    <a:pt x="11" y="10"/>
                    <a:pt x="11" y="10"/>
                  </a:cubicBezTo>
                  <a:cubicBezTo>
                    <a:pt x="12" y="8"/>
                    <a:pt x="12" y="6"/>
                    <a:pt x="11" y="5"/>
                  </a:cubicBezTo>
                  <a:cubicBezTo>
                    <a:pt x="10" y="3"/>
                    <a:pt x="8" y="2"/>
                    <a:pt x="6" y="1"/>
                  </a:cubicBezTo>
                  <a:cubicBezTo>
                    <a:pt x="4" y="1"/>
                    <a:pt x="3" y="1"/>
                    <a:pt x="2"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303"/>
            <p:cNvSpPr/>
            <p:nvPr/>
          </p:nvSpPr>
          <p:spPr bwMode="auto">
            <a:xfrm>
              <a:off x="6499216" y="2045522"/>
              <a:ext cx="19050" cy="25400"/>
            </a:xfrm>
            <a:custGeom>
              <a:gdLst>
                <a:gd name="T0" fmla="*/ 3 w 5"/>
                <a:gd name="T1" fmla="*/ 0 h 7"/>
                <a:gd name="T2" fmla="*/ 1 w 5"/>
                <a:gd name="T3" fmla="*/ 0 h 7"/>
                <a:gd name="T4" fmla="*/ 1 w 5"/>
                <a:gd name="T5" fmla="*/ 1 h 7"/>
                <a:gd name="T6" fmla="*/ 1 w 5"/>
                <a:gd name="T7" fmla="*/ 1 h 7"/>
                <a:gd name="T8" fmla="*/ 1 w 5"/>
                <a:gd name="T9" fmla="*/ 1 h 7"/>
                <a:gd name="T10" fmla="*/ 1 w 5"/>
                <a:gd name="T11" fmla="*/ 5 h 7"/>
                <a:gd name="T12" fmla="*/ 1 w 5"/>
                <a:gd name="T13" fmla="*/ 6 h 7"/>
                <a:gd name="T14" fmla="*/ 2 w 5"/>
                <a:gd name="T15" fmla="*/ 7 h 7"/>
                <a:gd name="T16" fmla="*/ 2 w 5"/>
                <a:gd name="T17" fmla="*/ 7 h 7"/>
                <a:gd name="T18" fmla="*/ 2 w 5"/>
                <a:gd name="T19" fmla="*/ 7 h 7"/>
                <a:gd name="T20" fmla="*/ 2 w 5"/>
                <a:gd name="T21" fmla="*/ 7 h 7"/>
                <a:gd name="T22" fmla="*/ 5 w 5"/>
                <a:gd name="T23" fmla="*/ 4 h 7"/>
                <a:gd name="T24" fmla="*/ 5 w 5"/>
                <a:gd name="T25" fmla="*/ 3 h 7"/>
                <a:gd name="T26" fmla="*/ 4 w 5"/>
                <a:gd name="T27" fmla="*/ 1 h 7"/>
                <a:gd name="T28" fmla="*/ 4 w 5"/>
                <a:gd name="T29" fmla="*/ 1 h 7"/>
                <a:gd name="T30" fmla="*/ 4 w 5"/>
                <a:gd name="T31" fmla="*/ 1 h 7"/>
                <a:gd name="T32" fmla="*/ 4 w 5"/>
                <a:gd name="T33" fmla="*/ 1 h 7"/>
                <a:gd name="T34" fmla="*/ 3 w 5"/>
                <a:gd name="T35"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7">
                  <a:moveTo>
                    <a:pt x="3" y="0"/>
                  </a:moveTo>
                  <a:cubicBezTo>
                    <a:pt x="2" y="0"/>
                    <a:pt x="2" y="0"/>
                    <a:pt x="1" y="0"/>
                  </a:cubicBezTo>
                  <a:cubicBezTo>
                    <a:pt x="1" y="1"/>
                    <a:pt x="1" y="1"/>
                    <a:pt x="1" y="1"/>
                  </a:cubicBezTo>
                  <a:cubicBezTo>
                    <a:pt x="1" y="1"/>
                    <a:pt x="1" y="1"/>
                    <a:pt x="1" y="1"/>
                  </a:cubicBezTo>
                  <a:cubicBezTo>
                    <a:pt x="1" y="1"/>
                    <a:pt x="1" y="1"/>
                    <a:pt x="1" y="1"/>
                  </a:cubicBezTo>
                  <a:cubicBezTo>
                    <a:pt x="0" y="2"/>
                    <a:pt x="0" y="4"/>
                    <a:pt x="1" y="5"/>
                  </a:cubicBezTo>
                  <a:cubicBezTo>
                    <a:pt x="1" y="6"/>
                    <a:pt x="1" y="6"/>
                    <a:pt x="1" y="6"/>
                  </a:cubicBezTo>
                  <a:cubicBezTo>
                    <a:pt x="1" y="6"/>
                    <a:pt x="1" y="7"/>
                    <a:pt x="2" y="7"/>
                  </a:cubicBezTo>
                  <a:cubicBezTo>
                    <a:pt x="2" y="7"/>
                    <a:pt x="2" y="7"/>
                    <a:pt x="2" y="7"/>
                  </a:cubicBezTo>
                  <a:cubicBezTo>
                    <a:pt x="2" y="7"/>
                    <a:pt x="2" y="7"/>
                    <a:pt x="2" y="7"/>
                  </a:cubicBezTo>
                  <a:cubicBezTo>
                    <a:pt x="2" y="7"/>
                    <a:pt x="2" y="7"/>
                    <a:pt x="2" y="7"/>
                  </a:cubicBezTo>
                  <a:cubicBezTo>
                    <a:pt x="5" y="7"/>
                    <a:pt x="5" y="5"/>
                    <a:pt x="5" y="4"/>
                  </a:cubicBezTo>
                  <a:cubicBezTo>
                    <a:pt x="5" y="3"/>
                    <a:pt x="5" y="3"/>
                    <a:pt x="5" y="3"/>
                  </a:cubicBezTo>
                  <a:cubicBezTo>
                    <a:pt x="5" y="3"/>
                    <a:pt x="5" y="2"/>
                    <a:pt x="4" y="1"/>
                  </a:cubicBezTo>
                  <a:cubicBezTo>
                    <a:pt x="4" y="1"/>
                    <a:pt x="4" y="1"/>
                    <a:pt x="4" y="1"/>
                  </a:cubicBezTo>
                  <a:cubicBezTo>
                    <a:pt x="4" y="1"/>
                    <a:pt x="4" y="1"/>
                    <a:pt x="4" y="1"/>
                  </a:cubicBezTo>
                  <a:cubicBezTo>
                    <a:pt x="4" y="1"/>
                    <a:pt x="4" y="1"/>
                    <a:pt x="4"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04"/>
            <p:cNvSpPr/>
            <p:nvPr/>
          </p:nvSpPr>
          <p:spPr bwMode="auto">
            <a:xfrm>
              <a:off x="8342304" y="1951859"/>
              <a:ext cx="52388" cy="85725"/>
            </a:xfrm>
            <a:custGeom>
              <a:gdLst>
                <a:gd name="T0" fmla="*/ 8 w 14"/>
                <a:gd name="T1" fmla="*/ 0 h 23"/>
                <a:gd name="T2" fmla="*/ 8 w 14"/>
                <a:gd name="T3" fmla="*/ 0 h 23"/>
                <a:gd name="T4" fmla="*/ 4 w 14"/>
                <a:gd name="T5" fmla="*/ 3 h 23"/>
                <a:gd name="T6" fmla="*/ 1 w 14"/>
                <a:gd name="T7" fmla="*/ 7 h 23"/>
                <a:gd name="T8" fmla="*/ 0 w 14"/>
                <a:gd name="T9" fmla="*/ 8 h 23"/>
                <a:gd name="T10" fmla="*/ 2 w 14"/>
                <a:gd name="T11" fmla="*/ 11 h 23"/>
                <a:gd name="T12" fmla="*/ 4 w 14"/>
                <a:gd name="T13" fmla="*/ 14 h 23"/>
                <a:gd name="T14" fmla="*/ 2 w 14"/>
                <a:gd name="T15" fmla="*/ 15 h 23"/>
                <a:gd name="T16" fmla="*/ 1 w 14"/>
                <a:gd name="T17" fmla="*/ 16 h 23"/>
                <a:gd name="T18" fmla="*/ 2 w 14"/>
                <a:gd name="T19" fmla="*/ 17 h 23"/>
                <a:gd name="T20" fmla="*/ 2 w 14"/>
                <a:gd name="T21" fmla="*/ 17 h 23"/>
                <a:gd name="T22" fmla="*/ 3 w 14"/>
                <a:gd name="T23" fmla="*/ 19 h 23"/>
                <a:gd name="T24" fmla="*/ 5 w 14"/>
                <a:gd name="T25" fmla="*/ 21 h 23"/>
                <a:gd name="T26" fmla="*/ 7 w 14"/>
                <a:gd name="T27" fmla="*/ 22 h 23"/>
                <a:gd name="T28" fmla="*/ 9 w 14"/>
                <a:gd name="T29" fmla="*/ 23 h 23"/>
                <a:gd name="T30" fmla="*/ 13 w 14"/>
                <a:gd name="T31" fmla="*/ 19 h 23"/>
                <a:gd name="T32" fmla="*/ 13 w 14"/>
                <a:gd name="T33" fmla="*/ 5 h 23"/>
                <a:gd name="T34" fmla="*/ 13 w 14"/>
                <a:gd name="T35" fmla="*/ 5 h 23"/>
                <a:gd name="T36" fmla="*/ 13 w 14"/>
                <a:gd name="T37" fmla="*/ 5 h 23"/>
                <a:gd name="T38" fmla="*/ 11 w 14"/>
                <a:gd name="T39" fmla="*/ 2 h 23"/>
                <a:gd name="T40" fmla="*/ 8 w 14"/>
                <a:gd name="T41"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3">
                  <a:moveTo>
                    <a:pt x="8" y="0"/>
                  </a:moveTo>
                  <a:cubicBezTo>
                    <a:pt x="8" y="0"/>
                    <a:pt x="8" y="0"/>
                    <a:pt x="8" y="0"/>
                  </a:cubicBezTo>
                  <a:cubicBezTo>
                    <a:pt x="6" y="0"/>
                    <a:pt x="5" y="2"/>
                    <a:pt x="4" y="3"/>
                  </a:cubicBezTo>
                  <a:cubicBezTo>
                    <a:pt x="3" y="4"/>
                    <a:pt x="2" y="6"/>
                    <a:pt x="1" y="7"/>
                  </a:cubicBezTo>
                  <a:cubicBezTo>
                    <a:pt x="1" y="7"/>
                    <a:pt x="0" y="8"/>
                    <a:pt x="0" y="8"/>
                  </a:cubicBezTo>
                  <a:cubicBezTo>
                    <a:pt x="0" y="9"/>
                    <a:pt x="1" y="10"/>
                    <a:pt x="2" y="11"/>
                  </a:cubicBezTo>
                  <a:cubicBezTo>
                    <a:pt x="3" y="12"/>
                    <a:pt x="4" y="12"/>
                    <a:pt x="4" y="14"/>
                  </a:cubicBezTo>
                  <a:cubicBezTo>
                    <a:pt x="3" y="14"/>
                    <a:pt x="2" y="14"/>
                    <a:pt x="2" y="15"/>
                  </a:cubicBezTo>
                  <a:cubicBezTo>
                    <a:pt x="1" y="16"/>
                    <a:pt x="1" y="16"/>
                    <a:pt x="1" y="16"/>
                  </a:cubicBezTo>
                  <a:cubicBezTo>
                    <a:pt x="1" y="16"/>
                    <a:pt x="2" y="16"/>
                    <a:pt x="2" y="17"/>
                  </a:cubicBezTo>
                  <a:cubicBezTo>
                    <a:pt x="2" y="17"/>
                    <a:pt x="2" y="17"/>
                    <a:pt x="2" y="17"/>
                  </a:cubicBezTo>
                  <a:cubicBezTo>
                    <a:pt x="2" y="18"/>
                    <a:pt x="3" y="19"/>
                    <a:pt x="3" y="19"/>
                  </a:cubicBezTo>
                  <a:cubicBezTo>
                    <a:pt x="3" y="20"/>
                    <a:pt x="4" y="20"/>
                    <a:pt x="5" y="21"/>
                  </a:cubicBezTo>
                  <a:cubicBezTo>
                    <a:pt x="6" y="22"/>
                    <a:pt x="6" y="22"/>
                    <a:pt x="7" y="22"/>
                  </a:cubicBezTo>
                  <a:cubicBezTo>
                    <a:pt x="8" y="23"/>
                    <a:pt x="8" y="23"/>
                    <a:pt x="9" y="23"/>
                  </a:cubicBezTo>
                  <a:cubicBezTo>
                    <a:pt x="11" y="23"/>
                    <a:pt x="13" y="21"/>
                    <a:pt x="13" y="19"/>
                  </a:cubicBezTo>
                  <a:cubicBezTo>
                    <a:pt x="14" y="14"/>
                    <a:pt x="14" y="8"/>
                    <a:pt x="13" y="5"/>
                  </a:cubicBezTo>
                  <a:cubicBezTo>
                    <a:pt x="13" y="5"/>
                    <a:pt x="13" y="5"/>
                    <a:pt x="13" y="5"/>
                  </a:cubicBezTo>
                  <a:cubicBezTo>
                    <a:pt x="13" y="5"/>
                    <a:pt x="13" y="5"/>
                    <a:pt x="13" y="5"/>
                  </a:cubicBezTo>
                  <a:cubicBezTo>
                    <a:pt x="13" y="4"/>
                    <a:pt x="12" y="3"/>
                    <a:pt x="11" y="2"/>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05"/>
            <p:cNvSpPr/>
            <p:nvPr/>
          </p:nvSpPr>
          <p:spPr bwMode="auto">
            <a:xfrm>
              <a:off x="9067791" y="3005959"/>
              <a:ext cx="41275" cy="12700"/>
            </a:xfrm>
            <a:custGeom>
              <a:gdLst>
                <a:gd name="T0" fmla="*/ 11 w 11"/>
                <a:gd name="T1" fmla="*/ 0 h 3"/>
                <a:gd name="T2" fmla="*/ 8 w 11"/>
                <a:gd name="T3" fmla="*/ 0 h 3"/>
                <a:gd name="T4" fmla="*/ 1 w 11"/>
                <a:gd name="T5" fmla="*/ 2 h 3"/>
                <a:gd name="T6" fmla="*/ 1 w 11"/>
                <a:gd name="T7" fmla="*/ 2 h 3"/>
                <a:gd name="T8" fmla="*/ 0 w 11"/>
                <a:gd name="T9" fmla="*/ 3 h 3"/>
                <a:gd name="T10" fmla="*/ 1 w 11"/>
                <a:gd name="T11" fmla="*/ 3 h 3"/>
                <a:gd name="T12" fmla="*/ 11 w 11"/>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11" h="3">
                  <a:moveTo>
                    <a:pt x="11" y="0"/>
                  </a:moveTo>
                  <a:cubicBezTo>
                    <a:pt x="10" y="0"/>
                    <a:pt x="9" y="0"/>
                    <a:pt x="8" y="0"/>
                  </a:cubicBezTo>
                  <a:cubicBezTo>
                    <a:pt x="5" y="1"/>
                    <a:pt x="3" y="2"/>
                    <a:pt x="1" y="2"/>
                  </a:cubicBezTo>
                  <a:cubicBezTo>
                    <a:pt x="1" y="2"/>
                    <a:pt x="1" y="2"/>
                    <a:pt x="1" y="2"/>
                  </a:cubicBezTo>
                  <a:cubicBezTo>
                    <a:pt x="0" y="3"/>
                    <a:pt x="0" y="3"/>
                    <a:pt x="0" y="3"/>
                  </a:cubicBezTo>
                  <a:cubicBezTo>
                    <a:pt x="0" y="3"/>
                    <a:pt x="1" y="3"/>
                    <a:pt x="1" y="3"/>
                  </a:cubicBezTo>
                  <a:cubicBezTo>
                    <a:pt x="4" y="3"/>
                    <a:pt x="8"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306"/>
            <p:cNvSpPr/>
            <p:nvPr/>
          </p:nvSpPr>
          <p:spPr bwMode="auto">
            <a:xfrm>
              <a:off x="7461241" y="1177159"/>
              <a:ext cx="47625" cy="46038"/>
            </a:xfrm>
            <a:custGeom>
              <a:gdLst>
                <a:gd name="T0" fmla="*/ 8 w 13"/>
                <a:gd name="T1" fmla="*/ 0 h 12"/>
                <a:gd name="T2" fmla="*/ 6 w 13"/>
                <a:gd name="T3" fmla="*/ 0 h 12"/>
                <a:gd name="T4" fmla="*/ 6 w 13"/>
                <a:gd name="T5" fmla="*/ 0 h 12"/>
                <a:gd name="T6" fmla="*/ 2 w 13"/>
                <a:gd name="T7" fmla="*/ 1 h 12"/>
                <a:gd name="T8" fmla="*/ 2 w 13"/>
                <a:gd name="T9" fmla="*/ 1 h 12"/>
                <a:gd name="T10" fmla="*/ 1 w 13"/>
                <a:gd name="T11" fmla="*/ 2 h 12"/>
                <a:gd name="T12" fmla="*/ 1 w 13"/>
                <a:gd name="T13" fmla="*/ 3 h 12"/>
                <a:gd name="T14" fmla="*/ 1 w 13"/>
                <a:gd name="T15" fmla="*/ 3 h 12"/>
                <a:gd name="T16" fmla="*/ 0 w 13"/>
                <a:gd name="T17" fmla="*/ 4 h 12"/>
                <a:gd name="T18" fmla="*/ 0 w 13"/>
                <a:gd name="T19" fmla="*/ 7 h 12"/>
                <a:gd name="T20" fmla="*/ 4 w 13"/>
                <a:gd name="T21" fmla="*/ 11 h 12"/>
                <a:gd name="T22" fmla="*/ 6 w 13"/>
                <a:gd name="T23" fmla="*/ 12 h 12"/>
                <a:gd name="T24" fmla="*/ 10 w 13"/>
                <a:gd name="T25" fmla="*/ 11 h 12"/>
                <a:gd name="T26" fmla="*/ 13 w 13"/>
                <a:gd name="T27" fmla="*/ 8 h 12"/>
                <a:gd name="T28" fmla="*/ 12 w 13"/>
                <a:gd name="T29" fmla="*/ 5 h 12"/>
                <a:gd name="T30" fmla="*/ 11 w 13"/>
                <a:gd name="T31" fmla="*/ 3 h 12"/>
                <a:gd name="T32" fmla="*/ 8 w 13"/>
                <a:gd name="T33" fmla="*/ 0 h 12"/>
                <a:gd name="T34" fmla="*/ 8 w 13"/>
                <a:gd name="T35"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2">
                  <a:moveTo>
                    <a:pt x="8" y="0"/>
                  </a:moveTo>
                  <a:cubicBezTo>
                    <a:pt x="7" y="0"/>
                    <a:pt x="7" y="0"/>
                    <a:pt x="6" y="0"/>
                  </a:cubicBezTo>
                  <a:cubicBezTo>
                    <a:pt x="6" y="0"/>
                    <a:pt x="6" y="0"/>
                    <a:pt x="6" y="0"/>
                  </a:cubicBezTo>
                  <a:cubicBezTo>
                    <a:pt x="5" y="0"/>
                    <a:pt x="4" y="0"/>
                    <a:pt x="2" y="1"/>
                  </a:cubicBezTo>
                  <a:cubicBezTo>
                    <a:pt x="2" y="1"/>
                    <a:pt x="2" y="1"/>
                    <a:pt x="2" y="1"/>
                  </a:cubicBezTo>
                  <a:cubicBezTo>
                    <a:pt x="2" y="2"/>
                    <a:pt x="2" y="2"/>
                    <a:pt x="1" y="2"/>
                  </a:cubicBezTo>
                  <a:cubicBezTo>
                    <a:pt x="1" y="3"/>
                    <a:pt x="1" y="3"/>
                    <a:pt x="1" y="3"/>
                  </a:cubicBezTo>
                  <a:cubicBezTo>
                    <a:pt x="1" y="3"/>
                    <a:pt x="1" y="3"/>
                    <a:pt x="1" y="3"/>
                  </a:cubicBezTo>
                  <a:cubicBezTo>
                    <a:pt x="0" y="4"/>
                    <a:pt x="0" y="4"/>
                    <a:pt x="0" y="4"/>
                  </a:cubicBezTo>
                  <a:cubicBezTo>
                    <a:pt x="0" y="5"/>
                    <a:pt x="0" y="6"/>
                    <a:pt x="0" y="7"/>
                  </a:cubicBezTo>
                  <a:cubicBezTo>
                    <a:pt x="1" y="9"/>
                    <a:pt x="2" y="11"/>
                    <a:pt x="4" y="11"/>
                  </a:cubicBezTo>
                  <a:cubicBezTo>
                    <a:pt x="4" y="12"/>
                    <a:pt x="5" y="12"/>
                    <a:pt x="6" y="12"/>
                  </a:cubicBezTo>
                  <a:cubicBezTo>
                    <a:pt x="7" y="12"/>
                    <a:pt x="9" y="11"/>
                    <a:pt x="10" y="11"/>
                  </a:cubicBezTo>
                  <a:cubicBezTo>
                    <a:pt x="12" y="10"/>
                    <a:pt x="12" y="9"/>
                    <a:pt x="13" y="8"/>
                  </a:cubicBezTo>
                  <a:cubicBezTo>
                    <a:pt x="13" y="6"/>
                    <a:pt x="13" y="5"/>
                    <a:pt x="12" y="5"/>
                  </a:cubicBezTo>
                  <a:cubicBezTo>
                    <a:pt x="12" y="4"/>
                    <a:pt x="12" y="4"/>
                    <a:pt x="11" y="3"/>
                  </a:cubicBezTo>
                  <a:cubicBezTo>
                    <a:pt x="10" y="2"/>
                    <a:pt x="9"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07"/>
            <p:cNvSpPr/>
            <p:nvPr/>
          </p:nvSpPr>
          <p:spPr bwMode="auto">
            <a:xfrm>
              <a:off x="8193079" y="4606159"/>
              <a:ext cx="85725" cy="57150"/>
            </a:xfrm>
            <a:custGeom>
              <a:gdLst>
                <a:gd name="T0" fmla="*/ 17 w 23"/>
                <a:gd name="T1" fmla="*/ 0 h 15"/>
                <a:gd name="T2" fmla="*/ 8 w 23"/>
                <a:gd name="T3" fmla="*/ 3 h 15"/>
                <a:gd name="T4" fmla="*/ 7 w 23"/>
                <a:gd name="T5" fmla="*/ 11 h 15"/>
                <a:gd name="T6" fmla="*/ 7 w 23"/>
                <a:gd name="T7" fmla="*/ 15 h 15"/>
                <a:gd name="T8" fmla="*/ 17 w 23"/>
                <a:gd name="T9" fmla="*/ 5 h 15"/>
                <a:gd name="T10" fmla="*/ 20 w 23"/>
                <a:gd name="T11" fmla="*/ 3 h 15"/>
                <a:gd name="T12" fmla="*/ 21 w 23"/>
                <a:gd name="T13" fmla="*/ 3 h 15"/>
                <a:gd name="T14" fmla="*/ 21 w 23"/>
                <a:gd name="T15" fmla="*/ 3 h 15"/>
                <a:gd name="T16" fmla="*/ 23 w 23"/>
                <a:gd name="T17" fmla="*/ 2 h 15"/>
                <a:gd name="T18" fmla="*/ 17 w 23"/>
                <a:gd name="T1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5">
                  <a:moveTo>
                    <a:pt x="17" y="0"/>
                  </a:moveTo>
                  <a:cubicBezTo>
                    <a:pt x="13" y="0"/>
                    <a:pt x="10" y="1"/>
                    <a:pt x="8" y="3"/>
                  </a:cubicBezTo>
                  <a:cubicBezTo>
                    <a:pt x="4" y="5"/>
                    <a:pt x="0" y="10"/>
                    <a:pt x="7" y="11"/>
                  </a:cubicBezTo>
                  <a:cubicBezTo>
                    <a:pt x="5" y="12"/>
                    <a:pt x="6" y="13"/>
                    <a:pt x="7" y="15"/>
                  </a:cubicBezTo>
                  <a:cubicBezTo>
                    <a:pt x="11" y="11"/>
                    <a:pt x="14" y="8"/>
                    <a:pt x="17" y="5"/>
                  </a:cubicBezTo>
                  <a:cubicBezTo>
                    <a:pt x="19" y="3"/>
                    <a:pt x="19" y="3"/>
                    <a:pt x="20" y="3"/>
                  </a:cubicBezTo>
                  <a:cubicBezTo>
                    <a:pt x="20" y="3"/>
                    <a:pt x="21" y="3"/>
                    <a:pt x="21" y="3"/>
                  </a:cubicBezTo>
                  <a:cubicBezTo>
                    <a:pt x="21" y="3"/>
                    <a:pt x="21" y="3"/>
                    <a:pt x="21" y="3"/>
                  </a:cubicBezTo>
                  <a:cubicBezTo>
                    <a:pt x="22" y="3"/>
                    <a:pt x="22" y="3"/>
                    <a:pt x="23" y="2"/>
                  </a:cubicBezTo>
                  <a:cubicBezTo>
                    <a:pt x="21" y="1"/>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08"/>
            <p:cNvSpPr/>
            <p:nvPr/>
          </p:nvSpPr>
          <p:spPr bwMode="auto">
            <a:xfrm>
              <a:off x="5599104" y="6104760"/>
              <a:ext cx="14288" cy="15875"/>
            </a:xfrm>
            <a:custGeom>
              <a:gdLst>
                <a:gd name="T0" fmla="*/ 0 w 4"/>
                <a:gd name="T1" fmla="*/ 0 h 4"/>
                <a:gd name="T2" fmla="*/ 3 w 4"/>
                <a:gd name="T3" fmla="*/ 4 h 4"/>
                <a:gd name="T4" fmla="*/ 4 w 4"/>
                <a:gd name="T5" fmla="*/ 4 h 4"/>
                <a:gd name="T6" fmla="*/ 0 w 4"/>
                <a:gd name="T7" fmla="*/ 0 h 4"/>
              </a:gdLst>
              <a:cxnLst>
                <a:cxn ang="0">
                  <a:pos x="T0" y="T1"/>
                </a:cxn>
                <a:cxn ang="0">
                  <a:pos x="T2" y="T3"/>
                </a:cxn>
                <a:cxn ang="0">
                  <a:pos x="T4" y="T5"/>
                </a:cxn>
                <a:cxn ang="0">
                  <a:pos x="T6" y="T7"/>
                </a:cxn>
              </a:cxnLst>
              <a:rect l="0" t="0" r="r" b="b"/>
              <a:pathLst>
                <a:path w="4" h="4">
                  <a:moveTo>
                    <a:pt x="0" y="0"/>
                  </a:moveTo>
                  <a:cubicBezTo>
                    <a:pt x="0" y="2"/>
                    <a:pt x="1" y="4"/>
                    <a:pt x="3" y="4"/>
                  </a:cubicBezTo>
                  <a:cubicBezTo>
                    <a:pt x="3" y="4"/>
                    <a:pt x="3" y="4"/>
                    <a:pt x="4" y="4"/>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309"/>
            <p:cNvSpPr/>
            <p:nvPr/>
          </p:nvSpPr>
          <p:spPr bwMode="auto">
            <a:xfrm>
              <a:off x="9255116" y="5914260"/>
              <a:ext cx="25400" cy="33338"/>
            </a:xfrm>
            <a:custGeom>
              <a:gdLst>
                <a:gd name="T0" fmla="*/ 7 w 7"/>
                <a:gd name="T1" fmla="*/ 0 h 9"/>
                <a:gd name="T2" fmla="*/ 5 w 7"/>
                <a:gd name="T3" fmla="*/ 2 h 9"/>
                <a:gd name="T4" fmla="*/ 5 w 7"/>
                <a:gd name="T5" fmla="*/ 3 h 9"/>
                <a:gd name="T6" fmla="*/ 3 w 7"/>
                <a:gd name="T7" fmla="*/ 5 h 9"/>
                <a:gd name="T8" fmla="*/ 2 w 7"/>
                <a:gd name="T9" fmla="*/ 6 h 9"/>
                <a:gd name="T10" fmla="*/ 0 w 7"/>
                <a:gd name="T11" fmla="*/ 9 h 9"/>
                <a:gd name="T12" fmla="*/ 7 w 7"/>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7" h="9">
                  <a:moveTo>
                    <a:pt x="7" y="0"/>
                  </a:moveTo>
                  <a:cubicBezTo>
                    <a:pt x="6" y="1"/>
                    <a:pt x="6" y="1"/>
                    <a:pt x="5" y="2"/>
                  </a:cubicBezTo>
                  <a:cubicBezTo>
                    <a:pt x="5" y="3"/>
                    <a:pt x="5" y="3"/>
                    <a:pt x="5" y="3"/>
                  </a:cubicBezTo>
                  <a:cubicBezTo>
                    <a:pt x="4" y="3"/>
                    <a:pt x="3" y="4"/>
                    <a:pt x="3" y="5"/>
                  </a:cubicBezTo>
                  <a:cubicBezTo>
                    <a:pt x="2" y="5"/>
                    <a:pt x="2" y="5"/>
                    <a:pt x="2" y="6"/>
                  </a:cubicBezTo>
                  <a:cubicBezTo>
                    <a:pt x="1" y="7"/>
                    <a:pt x="0" y="8"/>
                    <a:pt x="0" y="9"/>
                  </a:cubicBezTo>
                  <a:cubicBezTo>
                    <a:pt x="2" y="6"/>
                    <a:pt x="5"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310"/>
            <p:cNvSpPr/>
            <p:nvPr/>
          </p:nvSpPr>
          <p:spPr bwMode="auto">
            <a:xfrm>
              <a:off x="9321791" y="5872985"/>
              <a:ext cx="23813" cy="14288"/>
            </a:xfrm>
            <a:custGeom>
              <a:gdLst>
                <a:gd name="T0" fmla="*/ 5 w 6"/>
                <a:gd name="T1" fmla="*/ 0 h 4"/>
                <a:gd name="T2" fmla="*/ 0 w 6"/>
                <a:gd name="T3" fmla="*/ 4 h 4"/>
                <a:gd name="T4" fmla="*/ 5 w 6"/>
                <a:gd name="T5" fmla="*/ 0 h 4"/>
              </a:gdLst>
              <a:cxnLst>
                <a:cxn ang="0">
                  <a:pos x="T0" y="T1"/>
                </a:cxn>
                <a:cxn ang="0">
                  <a:pos x="T2" y="T3"/>
                </a:cxn>
                <a:cxn ang="0">
                  <a:pos x="T4" y="T5"/>
                </a:cxn>
              </a:cxnLst>
              <a:rect l="0" t="0" r="r" b="b"/>
              <a:pathLst>
                <a:path w="6" h="4">
                  <a:moveTo>
                    <a:pt x="5" y="0"/>
                  </a:moveTo>
                  <a:cubicBezTo>
                    <a:pt x="4" y="2"/>
                    <a:pt x="2" y="3"/>
                    <a:pt x="0" y="4"/>
                  </a:cubicBezTo>
                  <a:cubicBezTo>
                    <a:pt x="3" y="3"/>
                    <a:pt x="6"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311"/>
            <p:cNvSpPr/>
            <p:nvPr/>
          </p:nvSpPr>
          <p:spPr bwMode="auto">
            <a:xfrm>
              <a:off x="9161454" y="2628134"/>
              <a:ext cx="11113" cy="3175"/>
            </a:xfrm>
            <a:custGeom>
              <a:gdLst>
                <a:gd name="T0" fmla="*/ 7 w 7"/>
                <a:gd name="T1" fmla="*/ 0 h 2"/>
                <a:gd name="T2" fmla="*/ 4 w 7"/>
                <a:gd name="T3" fmla="*/ 0 h 2"/>
                <a:gd name="T4" fmla="*/ 2 w 7"/>
                <a:gd name="T5" fmla="*/ 0 h 2"/>
                <a:gd name="T6" fmla="*/ 2 w 7"/>
                <a:gd name="T7" fmla="*/ 0 h 2"/>
                <a:gd name="T8" fmla="*/ 0 w 7"/>
                <a:gd name="T9" fmla="*/ 0 h 2"/>
                <a:gd name="T10" fmla="*/ 0 w 7"/>
                <a:gd name="T11" fmla="*/ 2 h 2"/>
                <a:gd name="T12" fmla="*/ 2 w 7"/>
                <a:gd name="T13" fmla="*/ 2 h 2"/>
                <a:gd name="T14" fmla="*/ 2 w 7"/>
                <a:gd name="T15" fmla="*/ 2 h 2"/>
                <a:gd name="T16" fmla="*/ 2 w 7"/>
                <a:gd name="T17" fmla="*/ 0 h 2"/>
                <a:gd name="T18" fmla="*/ 4 w 7"/>
                <a:gd name="T19" fmla="*/ 0 h 2"/>
                <a:gd name="T20" fmla="*/ 7 w 7"/>
                <a:gd name="T21" fmla="*/ 0 h 2"/>
                <a:gd name="T22" fmla="*/ 7 w 7"/>
                <a:gd name="T23"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7" y="0"/>
                  </a:moveTo>
                  <a:lnTo>
                    <a:pt x="4" y="0"/>
                  </a:lnTo>
                  <a:lnTo>
                    <a:pt x="2" y="0"/>
                  </a:lnTo>
                  <a:lnTo>
                    <a:pt x="2" y="0"/>
                  </a:lnTo>
                  <a:lnTo>
                    <a:pt x="0" y="0"/>
                  </a:lnTo>
                  <a:lnTo>
                    <a:pt x="0" y="2"/>
                  </a:lnTo>
                  <a:lnTo>
                    <a:pt x="2" y="2"/>
                  </a:lnTo>
                  <a:lnTo>
                    <a:pt x="2" y="2"/>
                  </a:lnTo>
                  <a:lnTo>
                    <a:pt x="2" y="0"/>
                  </a:lnTo>
                  <a:lnTo>
                    <a:pt x="4"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312"/>
            <p:cNvSpPr/>
            <p:nvPr/>
          </p:nvSpPr>
          <p:spPr bwMode="auto">
            <a:xfrm>
              <a:off x="9161454" y="2628134"/>
              <a:ext cx="11113" cy="3175"/>
            </a:xfrm>
            <a:custGeom>
              <a:gdLst>
                <a:gd name="T0" fmla="*/ 7 w 7"/>
                <a:gd name="T1" fmla="*/ 0 h 2"/>
                <a:gd name="T2" fmla="*/ 4 w 7"/>
                <a:gd name="T3" fmla="*/ 0 h 2"/>
                <a:gd name="T4" fmla="*/ 2 w 7"/>
                <a:gd name="T5" fmla="*/ 0 h 2"/>
                <a:gd name="T6" fmla="*/ 2 w 7"/>
                <a:gd name="T7" fmla="*/ 0 h 2"/>
                <a:gd name="T8" fmla="*/ 0 w 7"/>
                <a:gd name="T9" fmla="*/ 0 h 2"/>
                <a:gd name="T10" fmla="*/ 0 w 7"/>
                <a:gd name="T11" fmla="*/ 2 h 2"/>
                <a:gd name="T12" fmla="*/ 2 w 7"/>
                <a:gd name="T13" fmla="*/ 2 h 2"/>
                <a:gd name="T14" fmla="*/ 2 w 7"/>
                <a:gd name="T15" fmla="*/ 2 h 2"/>
                <a:gd name="T16" fmla="*/ 2 w 7"/>
                <a:gd name="T17" fmla="*/ 0 h 2"/>
                <a:gd name="T18" fmla="*/ 4 w 7"/>
                <a:gd name="T19" fmla="*/ 0 h 2"/>
                <a:gd name="T20" fmla="*/ 7 w 7"/>
                <a:gd name="T21" fmla="*/ 0 h 2"/>
                <a:gd name="T22" fmla="*/ 7 w 7"/>
                <a:gd name="T23"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7" y="0"/>
                  </a:moveTo>
                  <a:lnTo>
                    <a:pt x="4" y="0"/>
                  </a:lnTo>
                  <a:lnTo>
                    <a:pt x="2" y="0"/>
                  </a:lnTo>
                  <a:lnTo>
                    <a:pt x="2" y="0"/>
                  </a:lnTo>
                  <a:lnTo>
                    <a:pt x="0" y="0"/>
                  </a:lnTo>
                  <a:lnTo>
                    <a:pt x="0" y="2"/>
                  </a:lnTo>
                  <a:lnTo>
                    <a:pt x="2" y="2"/>
                  </a:lnTo>
                  <a:lnTo>
                    <a:pt x="2" y="2"/>
                  </a:lnTo>
                  <a:lnTo>
                    <a:pt x="2" y="0"/>
                  </a:lnTo>
                  <a:lnTo>
                    <a:pt x="4" y="0"/>
                  </a:lnTo>
                  <a:lnTo>
                    <a:pt x="7"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313"/>
            <p:cNvSpPr/>
            <p:nvPr/>
          </p:nvSpPr>
          <p:spPr bwMode="auto">
            <a:xfrm>
              <a:off x="7351704" y="1462909"/>
              <a:ext cx="63500" cy="79375"/>
            </a:xfrm>
            <a:custGeom>
              <a:gdLst>
                <a:gd name="T0" fmla="*/ 8 w 17"/>
                <a:gd name="T1" fmla="*/ 0 h 21"/>
                <a:gd name="T2" fmla="*/ 2 w 17"/>
                <a:gd name="T3" fmla="*/ 12 h 21"/>
                <a:gd name="T4" fmla="*/ 6 w 17"/>
                <a:gd name="T5" fmla="*/ 18 h 21"/>
                <a:gd name="T6" fmla="*/ 12 w 17"/>
                <a:gd name="T7" fmla="*/ 21 h 21"/>
                <a:gd name="T8" fmla="*/ 11 w 17"/>
                <a:gd name="T9" fmla="*/ 18 h 21"/>
                <a:gd name="T10" fmla="*/ 10 w 17"/>
                <a:gd name="T11" fmla="*/ 17 h 21"/>
                <a:gd name="T12" fmla="*/ 10 w 17"/>
                <a:gd name="T13" fmla="*/ 16 h 21"/>
                <a:gd name="T14" fmla="*/ 11 w 17"/>
                <a:gd name="T15" fmla="*/ 14 h 21"/>
                <a:gd name="T16" fmla="*/ 15 w 17"/>
                <a:gd name="T17" fmla="*/ 10 h 21"/>
                <a:gd name="T18" fmla="*/ 15 w 17"/>
                <a:gd name="T19" fmla="*/ 10 h 21"/>
                <a:gd name="T20" fmla="*/ 13 w 17"/>
                <a:gd name="T21" fmla="*/ 12 h 21"/>
                <a:gd name="T22" fmla="*/ 13 w 17"/>
                <a:gd name="T23" fmla="*/ 12 h 21"/>
                <a:gd name="T24" fmla="*/ 12 w 17"/>
                <a:gd name="T25" fmla="*/ 12 h 21"/>
                <a:gd name="T26" fmla="*/ 11 w 17"/>
                <a:gd name="T27" fmla="*/ 12 h 21"/>
                <a:gd name="T28" fmla="*/ 11 w 17"/>
                <a:gd name="T29" fmla="*/ 12 h 21"/>
                <a:gd name="T30" fmla="*/ 9 w 17"/>
                <a:gd name="T31" fmla="*/ 13 h 21"/>
                <a:gd name="T32" fmla="*/ 7 w 17"/>
                <a:gd name="T33" fmla="*/ 15 h 21"/>
                <a:gd name="T34" fmla="*/ 6 w 17"/>
                <a:gd name="T35" fmla="*/ 15 h 21"/>
                <a:gd name="T36" fmla="*/ 5 w 17"/>
                <a:gd name="T37" fmla="*/ 12 h 21"/>
                <a:gd name="T38" fmla="*/ 5 w 17"/>
                <a:gd name="T39" fmla="*/ 8 h 21"/>
                <a:gd name="T40" fmla="*/ 14 w 17"/>
                <a:gd name="T41" fmla="*/ 3 h 21"/>
                <a:gd name="T42" fmla="*/ 13 w 17"/>
                <a:gd name="T43" fmla="*/ 3 h 21"/>
                <a:gd name="T44" fmla="*/ 12 w 17"/>
                <a:gd name="T45" fmla="*/ 3 h 21"/>
                <a:gd name="T46" fmla="*/ 11 w 17"/>
                <a:gd name="T47" fmla="*/ 3 h 21"/>
                <a:gd name="T48" fmla="*/ 11 w 17"/>
                <a:gd name="T49" fmla="*/ 3 h 21"/>
                <a:gd name="T50" fmla="*/ 8 w 17"/>
                <a:gd name="T51"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21">
                  <a:moveTo>
                    <a:pt x="8" y="0"/>
                  </a:moveTo>
                  <a:cubicBezTo>
                    <a:pt x="6" y="4"/>
                    <a:pt x="4" y="8"/>
                    <a:pt x="2" y="12"/>
                  </a:cubicBezTo>
                  <a:cubicBezTo>
                    <a:pt x="0" y="16"/>
                    <a:pt x="5" y="16"/>
                    <a:pt x="6" y="18"/>
                  </a:cubicBezTo>
                  <a:cubicBezTo>
                    <a:pt x="9" y="20"/>
                    <a:pt x="8" y="21"/>
                    <a:pt x="12" y="21"/>
                  </a:cubicBezTo>
                  <a:cubicBezTo>
                    <a:pt x="12" y="20"/>
                    <a:pt x="11" y="19"/>
                    <a:pt x="11" y="18"/>
                  </a:cubicBezTo>
                  <a:cubicBezTo>
                    <a:pt x="10" y="17"/>
                    <a:pt x="10" y="17"/>
                    <a:pt x="10" y="17"/>
                  </a:cubicBezTo>
                  <a:cubicBezTo>
                    <a:pt x="10" y="16"/>
                    <a:pt x="10" y="16"/>
                    <a:pt x="10" y="16"/>
                  </a:cubicBezTo>
                  <a:cubicBezTo>
                    <a:pt x="10" y="14"/>
                    <a:pt x="9" y="15"/>
                    <a:pt x="11" y="14"/>
                  </a:cubicBezTo>
                  <a:cubicBezTo>
                    <a:pt x="12" y="13"/>
                    <a:pt x="17" y="10"/>
                    <a:pt x="15" y="10"/>
                  </a:cubicBezTo>
                  <a:cubicBezTo>
                    <a:pt x="15" y="10"/>
                    <a:pt x="15" y="10"/>
                    <a:pt x="15" y="10"/>
                  </a:cubicBezTo>
                  <a:cubicBezTo>
                    <a:pt x="14" y="10"/>
                    <a:pt x="14" y="12"/>
                    <a:pt x="13" y="12"/>
                  </a:cubicBezTo>
                  <a:cubicBezTo>
                    <a:pt x="13" y="12"/>
                    <a:pt x="13" y="12"/>
                    <a:pt x="13" y="12"/>
                  </a:cubicBezTo>
                  <a:cubicBezTo>
                    <a:pt x="12" y="12"/>
                    <a:pt x="12" y="12"/>
                    <a:pt x="12" y="12"/>
                  </a:cubicBezTo>
                  <a:cubicBezTo>
                    <a:pt x="12" y="12"/>
                    <a:pt x="12" y="12"/>
                    <a:pt x="11" y="12"/>
                  </a:cubicBezTo>
                  <a:cubicBezTo>
                    <a:pt x="11" y="12"/>
                    <a:pt x="11" y="12"/>
                    <a:pt x="11" y="12"/>
                  </a:cubicBezTo>
                  <a:cubicBezTo>
                    <a:pt x="10" y="12"/>
                    <a:pt x="9" y="13"/>
                    <a:pt x="9" y="13"/>
                  </a:cubicBezTo>
                  <a:cubicBezTo>
                    <a:pt x="8" y="14"/>
                    <a:pt x="7" y="15"/>
                    <a:pt x="7" y="15"/>
                  </a:cubicBezTo>
                  <a:cubicBezTo>
                    <a:pt x="7" y="15"/>
                    <a:pt x="6" y="15"/>
                    <a:pt x="6" y="15"/>
                  </a:cubicBezTo>
                  <a:cubicBezTo>
                    <a:pt x="2" y="14"/>
                    <a:pt x="5" y="13"/>
                    <a:pt x="5" y="12"/>
                  </a:cubicBezTo>
                  <a:cubicBezTo>
                    <a:pt x="5" y="11"/>
                    <a:pt x="5" y="9"/>
                    <a:pt x="5" y="8"/>
                  </a:cubicBezTo>
                  <a:cubicBezTo>
                    <a:pt x="6" y="5"/>
                    <a:pt x="11" y="6"/>
                    <a:pt x="14" y="3"/>
                  </a:cubicBezTo>
                  <a:cubicBezTo>
                    <a:pt x="13" y="3"/>
                    <a:pt x="13" y="3"/>
                    <a:pt x="13" y="3"/>
                  </a:cubicBezTo>
                  <a:cubicBezTo>
                    <a:pt x="13" y="3"/>
                    <a:pt x="12" y="3"/>
                    <a:pt x="12" y="3"/>
                  </a:cubicBezTo>
                  <a:cubicBezTo>
                    <a:pt x="11" y="3"/>
                    <a:pt x="11" y="3"/>
                    <a:pt x="11" y="3"/>
                  </a:cubicBezTo>
                  <a:cubicBezTo>
                    <a:pt x="11" y="3"/>
                    <a:pt x="11" y="3"/>
                    <a:pt x="11" y="3"/>
                  </a:cubicBezTo>
                  <a:cubicBezTo>
                    <a:pt x="10" y="3"/>
                    <a:pt x="11"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314"/>
            <p:cNvSpPr/>
            <p:nvPr/>
          </p:nvSpPr>
          <p:spPr bwMode="auto">
            <a:xfrm>
              <a:off x="9731366" y="2153472"/>
              <a:ext cx="4763" cy="0"/>
            </a:xfrm>
            <a:custGeom>
              <a:gdLst>
                <a:gd name="T0" fmla="*/ 0 w 1"/>
                <a:gd name="T1" fmla="*/ 0 w 1"/>
                <a:gd name="T2" fmla="*/ 0 w 1"/>
                <a:gd name="T3" fmla="*/ 0 w 1"/>
                <a:gd name="T4" fmla="*/ 1 w 1"/>
                <a:gd name="T5" fmla="*/ 1 w 1"/>
                <a:gd name="T6" fmla="*/ 1 w 1"/>
                <a:gd name="T7" fmla="*/ 0 w 1"/>
              </a:gd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0" y="0"/>
                  </a:move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315"/>
            <p:cNvSpPr>
              <a:spLocks noChangeArrowheads="1"/>
            </p:cNvSpPr>
            <p:nvPr/>
          </p:nvSpPr>
          <p:spPr bwMode="auto">
            <a:xfrm>
              <a:off x="8305791" y="6393685"/>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316"/>
            <p:cNvSpPr/>
            <p:nvPr/>
          </p:nvSpPr>
          <p:spPr bwMode="auto">
            <a:xfrm flipH="1">
              <a:off x="8305791" y="6393685"/>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317"/>
            <p:cNvSpPr/>
            <p:nvPr/>
          </p:nvSpPr>
          <p:spPr bwMode="auto">
            <a:xfrm>
              <a:off x="8721716" y="5158610"/>
              <a:ext cx="11113" cy="26988"/>
            </a:xfrm>
            <a:custGeom>
              <a:gdLst>
                <a:gd name="T0" fmla="*/ 3 w 3"/>
                <a:gd name="T1" fmla="*/ 0 h 7"/>
                <a:gd name="T2" fmla="*/ 0 w 3"/>
                <a:gd name="T3" fmla="*/ 5 h 7"/>
                <a:gd name="T4" fmla="*/ 0 w 3"/>
                <a:gd name="T5" fmla="*/ 5 h 7"/>
                <a:gd name="T6" fmla="*/ 0 w 3"/>
                <a:gd name="T7" fmla="*/ 5 h 7"/>
                <a:gd name="T8" fmla="*/ 0 w 3"/>
                <a:gd name="T9" fmla="*/ 7 h 7"/>
                <a:gd name="T10" fmla="*/ 0 w 3"/>
                <a:gd name="T11" fmla="*/ 7 h 7"/>
                <a:gd name="T12" fmla="*/ 0 w 3"/>
                <a:gd name="T13" fmla="*/ 7 h 7"/>
                <a:gd name="T14" fmla="*/ 1 w 3"/>
                <a:gd name="T15" fmla="*/ 6 h 7"/>
                <a:gd name="T16" fmla="*/ 3 w 3"/>
                <a:gd name="T17" fmla="*/ 0 h 7"/>
                <a:gd name="T18" fmla="*/ 3 w 3"/>
                <a:gd name="T1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0"/>
                  </a:moveTo>
                  <a:cubicBezTo>
                    <a:pt x="2" y="2"/>
                    <a:pt x="1" y="3"/>
                    <a:pt x="0" y="5"/>
                  </a:cubicBezTo>
                  <a:cubicBezTo>
                    <a:pt x="0" y="5"/>
                    <a:pt x="0" y="5"/>
                    <a:pt x="0" y="5"/>
                  </a:cubicBezTo>
                  <a:cubicBezTo>
                    <a:pt x="0" y="5"/>
                    <a:pt x="0" y="5"/>
                    <a:pt x="0" y="5"/>
                  </a:cubicBezTo>
                  <a:cubicBezTo>
                    <a:pt x="0" y="5"/>
                    <a:pt x="0" y="6"/>
                    <a:pt x="0" y="7"/>
                  </a:cubicBezTo>
                  <a:cubicBezTo>
                    <a:pt x="0" y="7"/>
                    <a:pt x="0" y="7"/>
                    <a:pt x="0" y="7"/>
                  </a:cubicBezTo>
                  <a:cubicBezTo>
                    <a:pt x="0" y="7"/>
                    <a:pt x="0" y="7"/>
                    <a:pt x="0" y="7"/>
                  </a:cubicBezTo>
                  <a:cubicBezTo>
                    <a:pt x="1" y="6"/>
                    <a:pt x="1" y="6"/>
                    <a:pt x="1" y="6"/>
                  </a:cubicBezTo>
                  <a:cubicBezTo>
                    <a:pt x="1" y="4"/>
                    <a:pt x="2" y="2"/>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318"/>
            <p:cNvSpPr/>
            <p:nvPr/>
          </p:nvSpPr>
          <p:spPr bwMode="auto">
            <a:xfrm flipH="1">
              <a:off x="9032866" y="5117335"/>
              <a:ext cx="0" cy="3175"/>
            </a:xfrm>
            <a:custGeom>
              <a:gdLst>
                <a:gd name="T0" fmla="*/ 0 h 2"/>
                <a:gd name="T1" fmla="*/ 0 h 2"/>
                <a:gd name="T2" fmla="*/ 2 h 2"/>
                <a:gd name="T3" fmla="*/ 0 h 2"/>
                <a:gd name="T4" fmla="*/ 0 h 2"/>
              </a:gd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19"/>
            <p:cNvSpPr/>
            <p:nvPr/>
          </p:nvSpPr>
          <p:spPr bwMode="auto">
            <a:xfrm flipH="1">
              <a:off x="9032866" y="5117335"/>
              <a:ext cx="0" cy="3175"/>
            </a:xfrm>
            <a:custGeom>
              <a:gdLst>
                <a:gd name="T0" fmla="*/ 0 h 2"/>
                <a:gd name="T1" fmla="*/ 0 h 2"/>
                <a:gd name="T2" fmla="*/ 2 h 2"/>
                <a:gd name="T3" fmla="*/ 0 h 2"/>
                <a:gd name="T4" fmla="*/ 0 h 2"/>
              </a:gd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320"/>
            <p:cNvSpPr/>
            <p:nvPr/>
          </p:nvSpPr>
          <p:spPr bwMode="auto">
            <a:xfrm flipH="1">
              <a:off x="9678979" y="7438260"/>
              <a:ext cx="0" cy="0"/>
            </a:xfrm>
            <a:custGeom>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21"/>
            <p:cNvSpPr/>
            <p:nvPr/>
          </p:nvSpPr>
          <p:spPr bwMode="auto">
            <a:xfrm>
              <a:off x="8462954" y="8117710"/>
              <a:ext cx="19050" cy="15875"/>
            </a:xfrm>
            <a:custGeom>
              <a:gdLst>
                <a:gd name="T0" fmla="*/ 0 w 5"/>
                <a:gd name="T1" fmla="*/ 0 h 4"/>
                <a:gd name="T2" fmla="*/ 4 w 5"/>
                <a:gd name="T3" fmla="*/ 4 h 4"/>
                <a:gd name="T4" fmla="*/ 0 w 5"/>
                <a:gd name="T5" fmla="*/ 0 h 4"/>
              </a:gdLst>
              <a:cxnLst>
                <a:cxn ang="0">
                  <a:pos x="T0" y="T1"/>
                </a:cxn>
                <a:cxn ang="0">
                  <a:pos x="T2" y="T3"/>
                </a:cxn>
                <a:cxn ang="0">
                  <a:pos x="T4" y="T5"/>
                </a:cxn>
              </a:cxnLst>
              <a:rect l="0" t="0" r="r" b="b"/>
              <a:pathLst>
                <a:path w="5" h="4">
                  <a:moveTo>
                    <a:pt x="0" y="0"/>
                  </a:moveTo>
                  <a:cubicBezTo>
                    <a:pt x="0" y="2"/>
                    <a:pt x="3" y="4"/>
                    <a:pt x="4" y="4"/>
                  </a:cubicBezTo>
                  <a:cubicBezTo>
                    <a:pt x="5" y="4"/>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322"/>
            <p:cNvSpPr>
              <a:spLocks noChangeArrowheads="1"/>
            </p:cNvSpPr>
            <p:nvPr/>
          </p:nvSpPr>
          <p:spPr bwMode="auto">
            <a:xfrm>
              <a:off x="9855191" y="5031610"/>
              <a:ext cx="1588" cy="15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23"/>
            <p:cNvSpPr/>
            <p:nvPr/>
          </p:nvSpPr>
          <p:spPr bwMode="auto">
            <a:xfrm flipH="1">
              <a:off x="9480541" y="5331647"/>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24"/>
            <p:cNvSpPr/>
            <p:nvPr/>
          </p:nvSpPr>
          <p:spPr bwMode="auto">
            <a:xfrm flipH="1">
              <a:off x="9480541" y="5331647"/>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25"/>
            <p:cNvSpPr>
              <a:spLocks noEditPoints="1"/>
            </p:cNvSpPr>
            <p:nvPr/>
          </p:nvSpPr>
          <p:spPr bwMode="auto">
            <a:xfrm flipH="1">
              <a:off x="9480541" y="5315772"/>
              <a:ext cx="0" cy="0"/>
            </a:xfrm>
            <a:custGeom>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close/>
                  <a:moveTo>
                    <a:pt x="0" y="0"/>
                  </a:move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26"/>
            <p:cNvSpPr>
              <a:spLocks noEditPoints="1"/>
            </p:cNvSpPr>
            <p:nvPr/>
          </p:nvSpPr>
          <p:spPr bwMode="auto">
            <a:xfrm flipH="1">
              <a:off x="9480541" y="5315772"/>
              <a:ext cx="0" cy="0"/>
            </a:xfrm>
            <a:custGeom>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27"/>
            <p:cNvSpPr/>
            <p:nvPr/>
          </p:nvSpPr>
          <p:spPr bwMode="auto">
            <a:xfrm flipH="1">
              <a:off x="9186854" y="5018910"/>
              <a:ext cx="0" cy="0"/>
            </a:xfrm>
            <a:custGeom>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28"/>
            <p:cNvSpPr/>
            <p:nvPr/>
          </p:nvSpPr>
          <p:spPr bwMode="auto">
            <a:xfrm flipH="1">
              <a:off x="9186854" y="5018910"/>
              <a:ext cx="0" cy="0"/>
            </a:xfrm>
            <a:custGeom>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29"/>
            <p:cNvSpPr/>
            <p:nvPr/>
          </p:nvSpPr>
          <p:spPr bwMode="auto">
            <a:xfrm flipH="1">
              <a:off x="9480541" y="5315772"/>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330"/>
            <p:cNvSpPr/>
            <p:nvPr/>
          </p:nvSpPr>
          <p:spPr bwMode="auto">
            <a:xfrm flipH="1">
              <a:off x="9480541" y="5315772"/>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31"/>
            <p:cNvSpPr>
              <a:spLocks noEditPoints="1"/>
            </p:cNvSpPr>
            <p:nvPr/>
          </p:nvSpPr>
          <p:spPr bwMode="auto">
            <a:xfrm>
              <a:off x="9480541" y="5342760"/>
              <a:ext cx="3175" cy="11113"/>
            </a:xfrm>
            <a:custGeom>
              <a:gdLst>
                <a:gd name="T0" fmla="*/ 1 w 1"/>
                <a:gd name="T1" fmla="*/ 0 h 3"/>
                <a:gd name="T2" fmla="*/ 0 w 1"/>
                <a:gd name="T3" fmla="*/ 3 h 3"/>
                <a:gd name="T4" fmla="*/ 1 w 1"/>
                <a:gd name="T5" fmla="*/ 0 h 3"/>
                <a:gd name="T6" fmla="*/ 1 w 1"/>
                <a:gd name="T7" fmla="*/ 0 h 3"/>
                <a:gd name="T8" fmla="*/ 1 w 1"/>
                <a:gd name="T9" fmla="*/ 0 h 3"/>
                <a:gd name="T10" fmla="*/ 1 w 1"/>
                <a:gd name="T11" fmla="*/ 0 h 3"/>
              </a:gdLst>
              <a:cxnLst>
                <a:cxn ang="0">
                  <a:pos x="T0" y="T1"/>
                </a:cxn>
                <a:cxn ang="0">
                  <a:pos x="T2" y="T3"/>
                </a:cxn>
                <a:cxn ang="0">
                  <a:pos x="T4" y="T5"/>
                </a:cxn>
                <a:cxn ang="0">
                  <a:pos x="T6" y="T7"/>
                </a:cxn>
                <a:cxn ang="0">
                  <a:pos x="T8" y="T9"/>
                </a:cxn>
                <a:cxn ang="0">
                  <a:pos x="T10" y="T11"/>
                </a:cxn>
              </a:cxnLst>
              <a:rect l="0" t="0" r="r" b="b"/>
              <a:pathLst>
                <a:path w="1" h="3">
                  <a:moveTo>
                    <a:pt x="1" y="0"/>
                  </a:moveTo>
                  <a:cubicBezTo>
                    <a:pt x="1" y="1"/>
                    <a:pt x="0" y="2"/>
                    <a:pt x="0" y="3"/>
                  </a:cubicBezTo>
                  <a:cubicBezTo>
                    <a:pt x="0" y="2"/>
                    <a:pt x="1" y="1"/>
                    <a:pt x="1" y="0"/>
                  </a:cubicBezTo>
                  <a:moveTo>
                    <a:pt x="1" y="0"/>
                  </a:move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32"/>
            <p:cNvSpPr/>
            <p:nvPr/>
          </p:nvSpPr>
          <p:spPr bwMode="auto">
            <a:xfrm flipH="1">
              <a:off x="9863129" y="5031610"/>
              <a:ext cx="0" cy="0"/>
            </a:xfrm>
            <a:custGeom>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33"/>
            <p:cNvSpPr/>
            <p:nvPr/>
          </p:nvSpPr>
          <p:spPr bwMode="auto">
            <a:xfrm>
              <a:off x="9802804" y="5304660"/>
              <a:ext cx="19050" cy="15875"/>
            </a:xfrm>
            <a:custGeom>
              <a:gdLst>
                <a:gd name="T0" fmla="*/ 5 w 5"/>
                <a:gd name="T1" fmla="*/ 0 h 4"/>
                <a:gd name="T2" fmla="*/ 0 w 5"/>
                <a:gd name="T3" fmla="*/ 3 h 4"/>
                <a:gd name="T4" fmla="*/ 5 w 5"/>
                <a:gd name="T5" fmla="*/ 4 h 4"/>
                <a:gd name="T6" fmla="*/ 5 w 5"/>
                <a:gd name="T7" fmla="*/ 0 h 4"/>
              </a:gdLst>
              <a:cxnLst>
                <a:cxn ang="0">
                  <a:pos x="T0" y="T1"/>
                </a:cxn>
                <a:cxn ang="0">
                  <a:pos x="T2" y="T3"/>
                </a:cxn>
                <a:cxn ang="0">
                  <a:pos x="T4" y="T5"/>
                </a:cxn>
                <a:cxn ang="0">
                  <a:pos x="T6" y="T7"/>
                </a:cxn>
              </a:cxnLst>
              <a:rect l="0" t="0" r="r" b="b"/>
              <a:pathLst>
                <a:path w="5" h="4">
                  <a:moveTo>
                    <a:pt x="5" y="0"/>
                  </a:moveTo>
                  <a:cubicBezTo>
                    <a:pt x="3" y="2"/>
                    <a:pt x="2" y="3"/>
                    <a:pt x="0" y="3"/>
                  </a:cubicBezTo>
                  <a:cubicBezTo>
                    <a:pt x="2" y="4"/>
                    <a:pt x="3" y="4"/>
                    <a:pt x="5" y="4"/>
                  </a:cubicBezTo>
                  <a:cubicBezTo>
                    <a:pt x="5"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34"/>
            <p:cNvSpPr/>
            <p:nvPr/>
          </p:nvSpPr>
          <p:spPr bwMode="auto">
            <a:xfrm>
              <a:off x="9758354" y="5298310"/>
              <a:ext cx="22225" cy="14288"/>
            </a:xfrm>
            <a:custGeom>
              <a:gdLst>
                <a:gd name="T0" fmla="*/ 4 w 6"/>
                <a:gd name="T1" fmla="*/ 0 h 4"/>
                <a:gd name="T2" fmla="*/ 0 w 6"/>
                <a:gd name="T3" fmla="*/ 3 h 4"/>
                <a:gd name="T4" fmla="*/ 3 w 6"/>
                <a:gd name="T5" fmla="*/ 4 h 4"/>
                <a:gd name="T6" fmla="*/ 5 w 6"/>
                <a:gd name="T7" fmla="*/ 0 h 4"/>
                <a:gd name="T8" fmla="*/ 4 w 6"/>
                <a:gd name="T9" fmla="*/ 0 h 4"/>
              </a:gdLst>
              <a:cxnLst>
                <a:cxn ang="0">
                  <a:pos x="T0" y="T1"/>
                </a:cxn>
                <a:cxn ang="0">
                  <a:pos x="T2" y="T3"/>
                </a:cxn>
                <a:cxn ang="0">
                  <a:pos x="T4" y="T5"/>
                </a:cxn>
                <a:cxn ang="0">
                  <a:pos x="T6" y="T7"/>
                </a:cxn>
                <a:cxn ang="0">
                  <a:pos x="T8" y="T9"/>
                </a:cxn>
              </a:cxnLst>
              <a:rect l="0" t="0" r="r" b="b"/>
              <a:pathLst>
                <a:path w="6" h="4">
                  <a:moveTo>
                    <a:pt x="4" y="0"/>
                  </a:moveTo>
                  <a:cubicBezTo>
                    <a:pt x="2" y="0"/>
                    <a:pt x="1" y="2"/>
                    <a:pt x="0" y="3"/>
                  </a:cubicBezTo>
                  <a:cubicBezTo>
                    <a:pt x="1" y="3"/>
                    <a:pt x="2" y="4"/>
                    <a:pt x="3" y="4"/>
                  </a:cubicBezTo>
                  <a:cubicBezTo>
                    <a:pt x="5" y="4"/>
                    <a:pt x="6" y="3"/>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35"/>
            <p:cNvSpPr/>
            <p:nvPr/>
          </p:nvSpPr>
          <p:spPr bwMode="auto">
            <a:xfrm>
              <a:off x="9494829" y="5331647"/>
              <a:ext cx="165100" cy="52388"/>
            </a:xfrm>
            <a:custGeom>
              <a:gdLst>
                <a:gd name="T0" fmla="*/ 35 w 44"/>
                <a:gd name="T1" fmla="*/ 0 h 14"/>
                <a:gd name="T2" fmla="*/ 20 w 44"/>
                <a:gd name="T3" fmla="*/ 5 h 14"/>
                <a:gd name="T4" fmla="*/ 13 w 44"/>
                <a:gd name="T5" fmla="*/ 6 h 14"/>
                <a:gd name="T6" fmla="*/ 11 w 44"/>
                <a:gd name="T7" fmla="*/ 6 h 14"/>
                <a:gd name="T8" fmla="*/ 9 w 44"/>
                <a:gd name="T9" fmla="*/ 6 h 14"/>
                <a:gd name="T10" fmla="*/ 8 w 44"/>
                <a:gd name="T11" fmla="*/ 6 h 14"/>
                <a:gd name="T12" fmla="*/ 3 w 44"/>
                <a:gd name="T13" fmla="*/ 9 h 14"/>
                <a:gd name="T14" fmla="*/ 2 w 44"/>
                <a:gd name="T15" fmla="*/ 8 h 14"/>
                <a:gd name="T16" fmla="*/ 2 w 44"/>
                <a:gd name="T17" fmla="*/ 8 h 14"/>
                <a:gd name="T18" fmla="*/ 1 w 44"/>
                <a:gd name="T19" fmla="*/ 9 h 14"/>
                <a:gd name="T20" fmla="*/ 1 w 44"/>
                <a:gd name="T21" fmla="*/ 9 h 14"/>
                <a:gd name="T22" fmla="*/ 0 w 44"/>
                <a:gd name="T23" fmla="*/ 9 h 14"/>
                <a:gd name="T24" fmla="*/ 0 w 44"/>
                <a:gd name="T25" fmla="*/ 10 h 14"/>
                <a:gd name="T26" fmla="*/ 1 w 44"/>
                <a:gd name="T27" fmla="*/ 12 h 14"/>
                <a:gd name="T28" fmla="*/ 0 w 44"/>
                <a:gd name="T29" fmla="*/ 14 h 14"/>
                <a:gd name="T30" fmla="*/ 0 w 44"/>
                <a:gd name="T31" fmla="*/ 14 h 14"/>
                <a:gd name="T32" fmla="*/ 8 w 44"/>
                <a:gd name="T33" fmla="*/ 13 h 14"/>
                <a:gd name="T34" fmla="*/ 11 w 44"/>
                <a:gd name="T35" fmla="*/ 13 h 14"/>
                <a:gd name="T36" fmla="*/ 15 w 44"/>
                <a:gd name="T37" fmla="*/ 12 h 14"/>
                <a:gd name="T38" fmla="*/ 22 w 44"/>
                <a:gd name="T39" fmla="*/ 11 h 14"/>
                <a:gd name="T40" fmla="*/ 24 w 44"/>
                <a:gd name="T41" fmla="*/ 10 h 14"/>
                <a:gd name="T42" fmla="*/ 25 w 44"/>
                <a:gd name="T43" fmla="*/ 10 h 14"/>
                <a:gd name="T44" fmla="*/ 29 w 44"/>
                <a:gd name="T45" fmla="*/ 9 h 14"/>
                <a:gd name="T46" fmla="*/ 30 w 44"/>
                <a:gd name="T47" fmla="*/ 8 h 14"/>
                <a:gd name="T48" fmla="*/ 31 w 44"/>
                <a:gd name="T49" fmla="*/ 8 h 14"/>
                <a:gd name="T50" fmla="*/ 32 w 44"/>
                <a:gd name="T51" fmla="*/ 8 h 14"/>
                <a:gd name="T52" fmla="*/ 35 w 44"/>
                <a:gd name="T53" fmla="*/ 6 h 14"/>
                <a:gd name="T54" fmla="*/ 44 w 44"/>
                <a:gd name="T55" fmla="*/ 3 h 14"/>
                <a:gd name="T56" fmla="*/ 31 w 44"/>
                <a:gd name="T57" fmla="*/ 3 h 14"/>
                <a:gd name="T58" fmla="*/ 35 w 44"/>
                <a:gd name="T5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 h="14">
                  <a:moveTo>
                    <a:pt x="35" y="0"/>
                  </a:moveTo>
                  <a:cubicBezTo>
                    <a:pt x="30" y="1"/>
                    <a:pt x="25" y="3"/>
                    <a:pt x="20" y="5"/>
                  </a:cubicBezTo>
                  <a:cubicBezTo>
                    <a:pt x="17" y="5"/>
                    <a:pt x="15" y="5"/>
                    <a:pt x="13" y="6"/>
                  </a:cubicBezTo>
                  <a:cubicBezTo>
                    <a:pt x="12" y="6"/>
                    <a:pt x="11" y="6"/>
                    <a:pt x="11" y="6"/>
                  </a:cubicBezTo>
                  <a:cubicBezTo>
                    <a:pt x="10" y="6"/>
                    <a:pt x="10" y="6"/>
                    <a:pt x="9" y="6"/>
                  </a:cubicBezTo>
                  <a:cubicBezTo>
                    <a:pt x="9" y="6"/>
                    <a:pt x="8" y="6"/>
                    <a:pt x="8" y="6"/>
                  </a:cubicBezTo>
                  <a:cubicBezTo>
                    <a:pt x="5" y="6"/>
                    <a:pt x="2" y="6"/>
                    <a:pt x="3" y="9"/>
                  </a:cubicBezTo>
                  <a:cubicBezTo>
                    <a:pt x="2" y="8"/>
                    <a:pt x="2" y="8"/>
                    <a:pt x="2" y="8"/>
                  </a:cubicBezTo>
                  <a:cubicBezTo>
                    <a:pt x="2" y="8"/>
                    <a:pt x="2" y="8"/>
                    <a:pt x="2" y="8"/>
                  </a:cubicBezTo>
                  <a:cubicBezTo>
                    <a:pt x="1" y="8"/>
                    <a:pt x="1" y="8"/>
                    <a:pt x="1" y="9"/>
                  </a:cubicBezTo>
                  <a:cubicBezTo>
                    <a:pt x="1" y="9"/>
                    <a:pt x="1" y="9"/>
                    <a:pt x="1" y="9"/>
                  </a:cubicBezTo>
                  <a:cubicBezTo>
                    <a:pt x="0" y="9"/>
                    <a:pt x="0" y="9"/>
                    <a:pt x="0" y="9"/>
                  </a:cubicBezTo>
                  <a:cubicBezTo>
                    <a:pt x="0" y="10"/>
                    <a:pt x="0" y="10"/>
                    <a:pt x="0" y="10"/>
                  </a:cubicBezTo>
                  <a:cubicBezTo>
                    <a:pt x="1" y="10"/>
                    <a:pt x="1" y="11"/>
                    <a:pt x="1" y="12"/>
                  </a:cubicBezTo>
                  <a:cubicBezTo>
                    <a:pt x="1" y="13"/>
                    <a:pt x="1" y="13"/>
                    <a:pt x="0" y="14"/>
                  </a:cubicBezTo>
                  <a:cubicBezTo>
                    <a:pt x="0" y="14"/>
                    <a:pt x="0" y="14"/>
                    <a:pt x="0" y="14"/>
                  </a:cubicBezTo>
                  <a:cubicBezTo>
                    <a:pt x="3" y="14"/>
                    <a:pt x="6" y="14"/>
                    <a:pt x="8" y="13"/>
                  </a:cubicBezTo>
                  <a:cubicBezTo>
                    <a:pt x="9" y="13"/>
                    <a:pt x="10" y="13"/>
                    <a:pt x="11" y="13"/>
                  </a:cubicBezTo>
                  <a:cubicBezTo>
                    <a:pt x="12" y="12"/>
                    <a:pt x="14" y="12"/>
                    <a:pt x="15" y="12"/>
                  </a:cubicBezTo>
                  <a:cubicBezTo>
                    <a:pt x="16" y="12"/>
                    <a:pt x="20" y="11"/>
                    <a:pt x="22" y="11"/>
                  </a:cubicBezTo>
                  <a:cubicBezTo>
                    <a:pt x="23" y="10"/>
                    <a:pt x="23" y="10"/>
                    <a:pt x="24" y="10"/>
                  </a:cubicBezTo>
                  <a:cubicBezTo>
                    <a:pt x="25" y="10"/>
                    <a:pt x="25" y="10"/>
                    <a:pt x="25" y="10"/>
                  </a:cubicBezTo>
                  <a:cubicBezTo>
                    <a:pt x="26" y="9"/>
                    <a:pt x="27" y="10"/>
                    <a:pt x="29" y="9"/>
                  </a:cubicBezTo>
                  <a:cubicBezTo>
                    <a:pt x="29" y="9"/>
                    <a:pt x="30" y="9"/>
                    <a:pt x="30" y="8"/>
                  </a:cubicBezTo>
                  <a:cubicBezTo>
                    <a:pt x="30" y="8"/>
                    <a:pt x="31" y="8"/>
                    <a:pt x="31" y="8"/>
                  </a:cubicBezTo>
                  <a:cubicBezTo>
                    <a:pt x="32" y="8"/>
                    <a:pt x="32" y="8"/>
                    <a:pt x="32" y="8"/>
                  </a:cubicBezTo>
                  <a:cubicBezTo>
                    <a:pt x="33" y="7"/>
                    <a:pt x="34" y="7"/>
                    <a:pt x="35" y="6"/>
                  </a:cubicBezTo>
                  <a:cubicBezTo>
                    <a:pt x="38" y="5"/>
                    <a:pt x="41" y="4"/>
                    <a:pt x="44" y="3"/>
                  </a:cubicBezTo>
                  <a:cubicBezTo>
                    <a:pt x="40" y="3"/>
                    <a:pt x="35" y="3"/>
                    <a:pt x="31" y="3"/>
                  </a:cubicBezTo>
                  <a:cubicBezTo>
                    <a:pt x="32" y="2"/>
                    <a:pt x="33"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36"/>
            <p:cNvSpPr/>
            <p:nvPr/>
          </p:nvSpPr>
          <p:spPr bwMode="auto">
            <a:xfrm>
              <a:off x="10306041" y="4655372"/>
              <a:ext cx="217488" cy="120650"/>
            </a:xfrm>
            <a:custGeom>
              <a:gdLst>
                <a:gd name="T0" fmla="*/ 11 w 58"/>
                <a:gd name="T1" fmla="*/ 0 h 32"/>
                <a:gd name="T2" fmla="*/ 7 w 58"/>
                <a:gd name="T3" fmla="*/ 3 h 32"/>
                <a:gd name="T4" fmla="*/ 4 w 58"/>
                <a:gd name="T5" fmla="*/ 7 h 32"/>
                <a:gd name="T6" fmla="*/ 3 w 58"/>
                <a:gd name="T7" fmla="*/ 12 h 32"/>
                <a:gd name="T8" fmla="*/ 7 w 58"/>
                <a:gd name="T9" fmla="*/ 13 h 32"/>
                <a:gd name="T10" fmla="*/ 9 w 58"/>
                <a:gd name="T11" fmla="*/ 12 h 32"/>
                <a:gd name="T12" fmla="*/ 10 w 58"/>
                <a:gd name="T13" fmla="*/ 19 h 32"/>
                <a:gd name="T14" fmla="*/ 10 w 58"/>
                <a:gd name="T15" fmla="*/ 19 h 32"/>
                <a:gd name="T16" fmla="*/ 11 w 58"/>
                <a:gd name="T17" fmla="*/ 19 h 32"/>
                <a:gd name="T18" fmla="*/ 12 w 58"/>
                <a:gd name="T19" fmla="*/ 19 h 32"/>
                <a:gd name="T20" fmla="*/ 13 w 58"/>
                <a:gd name="T21" fmla="*/ 19 h 32"/>
                <a:gd name="T22" fmla="*/ 16 w 58"/>
                <a:gd name="T23" fmla="*/ 22 h 32"/>
                <a:gd name="T24" fmla="*/ 23 w 58"/>
                <a:gd name="T25" fmla="*/ 25 h 32"/>
                <a:gd name="T26" fmla="*/ 27 w 58"/>
                <a:gd name="T27" fmla="*/ 26 h 32"/>
                <a:gd name="T28" fmla="*/ 28 w 58"/>
                <a:gd name="T29" fmla="*/ 26 h 32"/>
                <a:gd name="T30" fmla="*/ 28 w 58"/>
                <a:gd name="T31" fmla="*/ 26 h 32"/>
                <a:gd name="T32" fmla="*/ 30 w 58"/>
                <a:gd name="T33" fmla="*/ 23 h 32"/>
                <a:gd name="T34" fmla="*/ 33 w 58"/>
                <a:gd name="T35" fmla="*/ 27 h 32"/>
                <a:gd name="T36" fmla="*/ 37 w 58"/>
                <a:gd name="T37" fmla="*/ 31 h 32"/>
                <a:gd name="T38" fmla="*/ 41 w 58"/>
                <a:gd name="T39" fmla="*/ 32 h 32"/>
                <a:gd name="T40" fmla="*/ 46 w 58"/>
                <a:gd name="T41" fmla="*/ 30 h 32"/>
                <a:gd name="T42" fmla="*/ 44 w 58"/>
                <a:gd name="T43" fmla="*/ 29 h 32"/>
                <a:gd name="T44" fmla="*/ 46 w 58"/>
                <a:gd name="T45" fmla="*/ 28 h 32"/>
                <a:gd name="T46" fmla="*/ 43 w 58"/>
                <a:gd name="T47" fmla="*/ 25 h 32"/>
                <a:gd name="T48" fmla="*/ 44 w 58"/>
                <a:gd name="T49" fmla="*/ 25 h 32"/>
                <a:gd name="T50" fmla="*/ 45 w 58"/>
                <a:gd name="T51" fmla="*/ 25 h 32"/>
                <a:gd name="T52" fmla="*/ 45 w 58"/>
                <a:gd name="T53" fmla="*/ 24 h 32"/>
                <a:gd name="T54" fmla="*/ 46 w 58"/>
                <a:gd name="T55" fmla="*/ 24 h 32"/>
                <a:gd name="T56" fmla="*/ 46 w 58"/>
                <a:gd name="T57" fmla="*/ 23 h 32"/>
                <a:gd name="T58" fmla="*/ 47 w 58"/>
                <a:gd name="T59" fmla="*/ 23 h 32"/>
                <a:gd name="T60" fmla="*/ 48 w 58"/>
                <a:gd name="T61" fmla="*/ 22 h 32"/>
                <a:gd name="T62" fmla="*/ 49 w 58"/>
                <a:gd name="T63" fmla="*/ 21 h 32"/>
                <a:gd name="T64" fmla="*/ 58 w 58"/>
                <a:gd name="T65" fmla="*/ 17 h 32"/>
                <a:gd name="T66" fmla="*/ 53 w 58"/>
                <a:gd name="T67" fmla="*/ 17 h 32"/>
                <a:gd name="T68" fmla="*/ 49 w 58"/>
                <a:gd name="T69" fmla="*/ 17 h 32"/>
                <a:gd name="T70" fmla="*/ 13 w 58"/>
                <a:gd name="T71" fmla="*/ 17 h 32"/>
                <a:gd name="T72" fmla="*/ 13 w 58"/>
                <a:gd name="T73" fmla="*/ 13 h 32"/>
                <a:gd name="T74" fmla="*/ 9 w 58"/>
                <a:gd name="T75" fmla="*/ 7 h 32"/>
                <a:gd name="T76" fmla="*/ 11 w 58"/>
                <a:gd name="T77" fmla="*/ 5 h 32"/>
                <a:gd name="T78" fmla="*/ 11 w 58"/>
                <a:gd name="T79"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 h="32">
                  <a:moveTo>
                    <a:pt x="11" y="0"/>
                  </a:moveTo>
                  <a:cubicBezTo>
                    <a:pt x="9" y="1"/>
                    <a:pt x="8" y="2"/>
                    <a:pt x="7" y="3"/>
                  </a:cubicBezTo>
                  <a:cubicBezTo>
                    <a:pt x="5" y="4"/>
                    <a:pt x="5" y="6"/>
                    <a:pt x="4" y="7"/>
                  </a:cubicBezTo>
                  <a:cubicBezTo>
                    <a:pt x="2" y="10"/>
                    <a:pt x="0" y="11"/>
                    <a:pt x="3" y="12"/>
                  </a:cubicBezTo>
                  <a:cubicBezTo>
                    <a:pt x="4" y="13"/>
                    <a:pt x="5" y="13"/>
                    <a:pt x="7" y="13"/>
                  </a:cubicBezTo>
                  <a:cubicBezTo>
                    <a:pt x="8" y="13"/>
                    <a:pt x="9" y="13"/>
                    <a:pt x="9" y="12"/>
                  </a:cubicBezTo>
                  <a:cubicBezTo>
                    <a:pt x="10" y="15"/>
                    <a:pt x="5" y="19"/>
                    <a:pt x="10" y="19"/>
                  </a:cubicBezTo>
                  <a:cubicBezTo>
                    <a:pt x="10" y="19"/>
                    <a:pt x="10" y="19"/>
                    <a:pt x="10" y="19"/>
                  </a:cubicBezTo>
                  <a:cubicBezTo>
                    <a:pt x="11" y="19"/>
                    <a:pt x="11" y="19"/>
                    <a:pt x="11" y="19"/>
                  </a:cubicBezTo>
                  <a:cubicBezTo>
                    <a:pt x="12" y="19"/>
                    <a:pt x="12" y="19"/>
                    <a:pt x="12" y="19"/>
                  </a:cubicBezTo>
                  <a:cubicBezTo>
                    <a:pt x="12" y="19"/>
                    <a:pt x="13" y="19"/>
                    <a:pt x="13" y="19"/>
                  </a:cubicBezTo>
                  <a:cubicBezTo>
                    <a:pt x="14" y="19"/>
                    <a:pt x="15" y="20"/>
                    <a:pt x="16" y="22"/>
                  </a:cubicBezTo>
                  <a:cubicBezTo>
                    <a:pt x="19" y="24"/>
                    <a:pt x="20" y="24"/>
                    <a:pt x="23" y="25"/>
                  </a:cubicBezTo>
                  <a:cubicBezTo>
                    <a:pt x="24" y="25"/>
                    <a:pt x="26" y="26"/>
                    <a:pt x="27" y="26"/>
                  </a:cubicBezTo>
                  <a:cubicBezTo>
                    <a:pt x="27" y="26"/>
                    <a:pt x="28" y="26"/>
                    <a:pt x="28" y="26"/>
                  </a:cubicBezTo>
                  <a:cubicBezTo>
                    <a:pt x="28" y="26"/>
                    <a:pt x="28" y="26"/>
                    <a:pt x="28" y="26"/>
                  </a:cubicBezTo>
                  <a:cubicBezTo>
                    <a:pt x="27" y="26"/>
                    <a:pt x="30" y="23"/>
                    <a:pt x="30" y="23"/>
                  </a:cubicBezTo>
                  <a:cubicBezTo>
                    <a:pt x="31" y="24"/>
                    <a:pt x="33" y="25"/>
                    <a:pt x="33" y="27"/>
                  </a:cubicBezTo>
                  <a:cubicBezTo>
                    <a:pt x="33" y="28"/>
                    <a:pt x="36" y="30"/>
                    <a:pt x="37" y="31"/>
                  </a:cubicBezTo>
                  <a:cubicBezTo>
                    <a:pt x="38" y="32"/>
                    <a:pt x="40" y="32"/>
                    <a:pt x="41" y="32"/>
                  </a:cubicBezTo>
                  <a:cubicBezTo>
                    <a:pt x="43" y="32"/>
                    <a:pt x="45" y="31"/>
                    <a:pt x="46" y="30"/>
                  </a:cubicBezTo>
                  <a:cubicBezTo>
                    <a:pt x="46" y="30"/>
                    <a:pt x="45" y="29"/>
                    <a:pt x="44" y="29"/>
                  </a:cubicBezTo>
                  <a:cubicBezTo>
                    <a:pt x="45" y="29"/>
                    <a:pt x="46" y="29"/>
                    <a:pt x="46" y="28"/>
                  </a:cubicBezTo>
                  <a:cubicBezTo>
                    <a:pt x="46" y="27"/>
                    <a:pt x="44" y="25"/>
                    <a:pt x="43" y="25"/>
                  </a:cubicBezTo>
                  <a:cubicBezTo>
                    <a:pt x="43" y="25"/>
                    <a:pt x="43" y="25"/>
                    <a:pt x="44" y="25"/>
                  </a:cubicBezTo>
                  <a:cubicBezTo>
                    <a:pt x="44" y="25"/>
                    <a:pt x="45" y="25"/>
                    <a:pt x="45" y="25"/>
                  </a:cubicBezTo>
                  <a:cubicBezTo>
                    <a:pt x="45" y="24"/>
                    <a:pt x="45" y="24"/>
                    <a:pt x="45" y="24"/>
                  </a:cubicBezTo>
                  <a:cubicBezTo>
                    <a:pt x="45" y="24"/>
                    <a:pt x="45" y="24"/>
                    <a:pt x="46" y="24"/>
                  </a:cubicBezTo>
                  <a:cubicBezTo>
                    <a:pt x="47" y="24"/>
                    <a:pt x="48" y="23"/>
                    <a:pt x="46" y="23"/>
                  </a:cubicBezTo>
                  <a:cubicBezTo>
                    <a:pt x="46" y="23"/>
                    <a:pt x="47" y="23"/>
                    <a:pt x="47" y="23"/>
                  </a:cubicBezTo>
                  <a:cubicBezTo>
                    <a:pt x="48" y="23"/>
                    <a:pt x="49" y="23"/>
                    <a:pt x="48" y="22"/>
                  </a:cubicBezTo>
                  <a:cubicBezTo>
                    <a:pt x="49" y="21"/>
                    <a:pt x="49" y="21"/>
                    <a:pt x="49" y="21"/>
                  </a:cubicBezTo>
                  <a:cubicBezTo>
                    <a:pt x="49" y="21"/>
                    <a:pt x="56" y="18"/>
                    <a:pt x="58" y="17"/>
                  </a:cubicBezTo>
                  <a:cubicBezTo>
                    <a:pt x="56" y="17"/>
                    <a:pt x="54" y="17"/>
                    <a:pt x="53" y="17"/>
                  </a:cubicBezTo>
                  <a:cubicBezTo>
                    <a:pt x="51" y="17"/>
                    <a:pt x="50" y="17"/>
                    <a:pt x="49" y="17"/>
                  </a:cubicBezTo>
                  <a:cubicBezTo>
                    <a:pt x="37" y="17"/>
                    <a:pt x="25" y="17"/>
                    <a:pt x="13" y="17"/>
                  </a:cubicBezTo>
                  <a:cubicBezTo>
                    <a:pt x="10" y="17"/>
                    <a:pt x="17" y="14"/>
                    <a:pt x="13" y="13"/>
                  </a:cubicBezTo>
                  <a:cubicBezTo>
                    <a:pt x="15" y="11"/>
                    <a:pt x="9" y="9"/>
                    <a:pt x="9" y="7"/>
                  </a:cubicBezTo>
                  <a:cubicBezTo>
                    <a:pt x="9" y="7"/>
                    <a:pt x="11" y="5"/>
                    <a:pt x="11" y="5"/>
                  </a:cubicBezTo>
                  <a:cubicBezTo>
                    <a:pt x="11" y="4"/>
                    <a:pt x="11"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37"/>
            <p:cNvSpPr/>
            <p:nvPr/>
          </p:nvSpPr>
          <p:spPr bwMode="auto">
            <a:xfrm>
              <a:off x="9340841" y="5830122"/>
              <a:ext cx="7938" cy="42863"/>
            </a:xfrm>
            <a:custGeom>
              <a:gdLst>
                <a:gd name="T0" fmla="*/ 0 w 2"/>
                <a:gd name="T1" fmla="*/ 0 h 11"/>
                <a:gd name="T2" fmla="*/ 0 w 2"/>
                <a:gd name="T3" fmla="*/ 11 h 11"/>
                <a:gd name="T4" fmla="*/ 1 w 2"/>
                <a:gd name="T5" fmla="*/ 10 h 11"/>
                <a:gd name="T6" fmla="*/ 2 w 2"/>
                <a:gd name="T7" fmla="*/ 5 h 11"/>
                <a:gd name="T8" fmla="*/ 2 w 2"/>
                <a:gd name="T9" fmla="*/ 5 h 11"/>
                <a:gd name="T10" fmla="*/ 1 w 2"/>
                <a:gd name="T11" fmla="*/ 3 h 11"/>
                <a:gd name="T12" fmla="*/ 0 w 2"/>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2" h="11">
                  <a:moveTo>
                    <a:pt x="0" y="0"/>
                  </a:moveTo>
                  <a:cubicBezTo>
                    <a:pt x="1" y="4"/>
                    <a:pt x="0" y="8"/>
                    <a:pt x="0" y="11"/>
                  </a:cubicBezTo>
                  <a:cubicBezTo>
                    <a:pt x="1" y="11"/>
                    <a:pt x="1" y="10"/>
                    <a:pt x="1" y="10"/>
                  </a:cubicBezTo>
                  <a:cubicBezTo>
                    <a:pt x="1" y="8"/>
                    <a:pt x="2" y="7"/>
                    <a:pt x="2" y="5"/>
                  </a:cubicBezTo>
                  <a:cubicBezTo>
                    <a:pt x="2" y="5"/>
                    <a:pt x="2" y="5"/>
                    <a:pt x="2" y="5"/>
                  </a:cubicBezTo>
                  <a:cubicBezTo>
                    <a:pt x="2" y="4"/>
                    <a:pt x="1" y="4"/>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38"/>
            <p:cNvSpPr/>
            <p:nvPr/>
          </p:nvSpPr>
          <p:spPr bwMode="auto">
            <a:xfrm flipH="1">
              <a:off x="9480541" y="5331647"/>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39"/>
            <p:cNvSpPr/>
            <p:nvPr/>
          </p:nvSpPr>
          <p:spPr bwMode="auto">
            <a:xfrm flipH="1">
              <a:off x="9480541" y="5331647"/>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40"/>
            <p:cNvSpPr/>
            <p:nvPr/>
          </p:nvSpPr>
          <p:spPr bwMode="auto">
            <a:xfrm>
              <a:off x="9161454" y="5018910"/>
              <a:ext cx="63500" cy="26988"/>
            </a:xfrm>
            <a:custGeom>
              <a:gdLst>
                <a:gd name="T0" fmla="*/ 12 w 17"/>
                <a:gd name="T1" fmla="*/ 0 h 7"/>
                <a:gd name="T2" fmla="*/ 7 w 17"/>
                <a:gd name="T3" fmla="*/ 0 h 7"/>
                <a:gd name="T4" fmla="*/ 7 w 17"/>
                <a:gd name="T5" fmla="*/ 0 h 7"/>
                <a:gd name="T6" fmla="*/ 7 w 17"/>
                <a:gd name="T7" fmla="*/ 0 h 7"/>
                <a:gd name="T8" fmla="*/ 7 w 17"/>
                <a:gd name="T9" fmla="*/ 0 h 7"/>
                <a:gd name="T10" fmla="*/ 4 w 17"/>
                <a:gd name="T11" fmla="*/ 0 h 7"/>
                <a:gd name="T12" fmla="*/ 3 w 17"/>
                <a:gd name="T13" fmla="*/ 0 h 7"/>
                <a:gd name="T14" fmla="*/ 1 w 17"/>
                <a:gd name="T15" fmla="*/ 1 h 7"/>
                <a:gd name="T16" fmla="*/ 0 w 17"/>
                <a:gd name="T17" fmla="*/ 3 h 7"/>
                <a:gd name="T18" fmla="*/ 1 w 17"/>
                <a:gd name="T19" fmla="*/ 3 h 7"/>
                <a:gd name="T20" fmla="*/ 2 w 17"/>
                <a:gd name="T21" fmla="*/ 3 h 7"/>
                <a:gd name="T22" fmla="*/ 1 w 17"/>
                <a:gd name="T23" fmla="*/ 3 h 7"/>
                <a:gd name="T24" fmla="*/ 2 w 17"/>
                <a:gd name="T25" fmla="*/ 4 h 7"/>
                <a:gd name="T26" fmla="*/ 2 w 17"/>
                <a:gd name="T27" fmla="*/ 4 h 7"/>
                <a:gd name="T28" fmla="*/ 2 w 17"/>
                <a:gd name="T29" fmla="*/ 4 h 7"/>
                <a:gd name="T30" fmla="*/ 3 w 17"/>
                <a:gd name="T31" fmla="*/ 5 h 7"/>
                <a:gd name="T32" fmla="*/ 3 w 17"/>
                <a:gd name="T33" fmla="*/ 5 h 7"/>
                <a:gd name="T34" fmla="*/ 7 w 17"/>
                <a:gd name="T35" fmla="*/ 4 h 7"/>
                <a:gd name="T36" fmla="*/ 7 w 17"/>
                <a:gd name="T37" fmla="*/ 5 h 7"/>
                <a:gd name="T38" fmla="*/ 8 w 17"/>
                <a:gd name="T39" fmla="*/ 5 h 7"/>
                <a:gd name="T40" fmla="*/ 8 w 17"/>
                <a:gd name="T41" fmla="*/ 5 h 7"/>
                <a:gd name="T42" fmla="*/ 8 w 17"/>
                <a:gd name="T43" fmla="*/ 5 h 7"/>
                <a:gd name="T44" fmla="*/ 8 w 17"/>
                <a:gd name="T45" fmla="*/ 5 h 7"/>
                <a:gd name="T46" fmla="*/ 7 w 17"/>
                <a:gd name="T47" fmla="*/ 5 h 7"/>
                <a:gd name="T48" fmla="*/ 7 w 17"/>
                <a:gd name="T49" fmla="*/ 5 h 7"/>
                <a:gd name="T50" fmla="*/ 7 w 17"/>
                <a:gd name="T51" fmla="*/ 6 h 7"/>
                <a:gd name="T52" fmla="*/ 8 w 17"/>
                <a:gd name="T53" fmla="*/ 6 h 7"/>
                <a:gd name="T54" fmla="*/ 8 w 17"/>
                <a:gd name="T55" fmla="*/ 6 h 7"/>
                <a:gd name="T56" fmla="*/ 9 w 17"/>
                <a:gd name="T57" fmla="*/ 6 h 7"/>
                <a:gd name="T58" fmla="*/ 9 w 17"/>
                <a:gd name="T59" fmla="*/ 6 h 7"/>
                <a:gd name="T60" fmla="*/ 9 w 17"/>
                <a:gd name="T61" fmla="*/ 6 h 7"/>
                <a:gd name="T62" fmla="*/ 9 w 17"/>
                <a:gd name="T63" fmla="*/ 6 h 7"/>
                <a:gd name="T64" fmla="*/ 9 w 17"/>
                <a:gd name="T65" fmla="*/ 6 h 7"/>
                <a:gd name="T66" fmla="*/ 9 w 17"/>
                <a:gd name="T67" fmla="*/ 7 h 7"/>
                <a:gd name="T68" fmla="*/ 9 w 17"/>
                <a:gd name="T69" fmla="*/ 7 h 7"/>
                <a:gd name="T70" fmla="*/ 10 w 17"/>
                <a:gd name="T71" fmla="*/ 7 h 7"/>
                <a:gd name="T72" fmla="*/ 10 w 17"/>
                <a:gd name="T73" fmla="*/ 7 h 7"/>
                <a:gd name="T74" fmla="*/ 11 w 17"/>
                <a:gd name="T75" fmla="*/ 7 h 7"/>
                <a:gd name="T76" fmla="*/ 16 w 17"/>
                <a:gd name="T77" fmla="*/ 2 h 7"/>
                <a:gd name="T78" fmla="*/ 17 w 17"/>
                <a:gd name="T79" fmla="*/ 0 h 7"/>
                <a:gd name="T80" fmla="*/ 17 w 17"/>
                <a:gd name="T81" fmla="*/ 0 h 7"/>
                <a:gd name="T82" fmla="*/ 17 w 17"/>
                <a:gd name="T83" fmla="*/ 0 h 7"/>
                <a:gd name="T84" fmla="*/ 17 w 17"/>
                <a:gd name="T85" fmla="*/ 0 h 7"/>
                <a:gd name="T86" fmla="*/ 13 w 17"/>
                <a:gd name="T87" fmla="*/ 2 h 7"/>
                <a:gd name="T88" fmla="*/ 12 w 17"/>
                <a:gd name="T89" fmla="*/ 2 h 7"/>
                <a:gd name="T90" fmla="*/ 11 w 17"/>
                <a:gd name="T91" fmla="*/ 2 h 7"/>
                <a:gd name="T92" fmla="*/ 12 w 17"/>
                <a:gd name="T9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 h="7">
                  <a:moveTo>
                    <a:pt x="12" y="0"/>
                  </a:moveTo>
                  <a:cubicBezTo>
                    <a:pt x="12" y="0"/>
                    <a:pt x="12" y="0"/>
                    <a:pt x="12" y="0"/>
                  </a:cubicBezTo>
                  <a:cubicBezTo>
                    <a:pt x="10" y="0"/>
                    <a:pt x="10" y="0"/>
                    <a:pt x="10" y="0"/>
                  </a:cubicBezTo>
                  <a:cubicBezTo>
                    <a:pt x="9" y="0"/>
                    <a:pt x="8"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4" y="0"/>
                    <a:pt x="4" y="0"/>
                    <a:pt x="4" y="0"/>
                  </a:cubicBezTo>
                  <a:cubicBezTo>
                    <a:pt x="3" y="0"/>
                    <a:pt x="3" y="0"/>
                    <a:pt x="3" y="0"/>
                  </a:cubicBezTo>
                  <a:cubicBezTo>
                    <a:pt x="3" y="0"/>
                    <a:pt x="3" y="0"/>
                    <a:pt x="3" y="0"/>
                  </a:cubicBezTo>
                  <a:cubicBezTo>
                    <a:pt x="2" y="0"/>
                    <a:pt x="2" y="0"/>
                    <a:pt x="2" y="0"/>
                  </a:cubicBezTo>
                  <a:cubicBezTo>
                    <a:pt x="1" y="1"/>
                    <a:pt x="1" y="1"/>
                    <a:pt x="1" y="1"/>
                  </a:cubicBezTo>
                  <a:cubicBezTo>
                    <a:pt x="1" y="1"/>
                    <a:pt x="1" y="1"/>
                    <a:pt x="1" y="1"/>
                  </a:cubicBezTo>
                  <a:cubicBezTo>
                    <a:pt x="0" y="3"/>
                    <a:pt x="0" y="3"/>
                    <a:pt x="0" y="3"/>
                  </a:cubicBezTo>
                  <a:cubicBezTo>
                    <a:pt x="0" y="3"/>
                    <a:pt x="0" y="3"/>
                    <a:pt x="0" y="3"/>
                  </a:cubicBezTo>
                  <a:cubicBezTo>
                    <a:pt x="1" y="3"/>
                    <a:pt x="1" y="3"/>
                    <a:pt x="1" y="3"/>
                  </a:cubicBezTo>
                  <a:cubicBezTo>
                    <a:pt x="1" y="3"/>
                    <a:pt x="1" y="3"/>
                    <a:pt x="1" y="3"/>
                  </a:cubicBezTo>
                  <a:cubicBezTo>
                    <a:pt x="2" y="3"/>
                    <a:pt x="2" y="3"/>
                    <a:pt x="2" y="3"/>
                  </a:cubicBezTo>
                  <a:cubicBezTo>
                    <a:pt x="2" y="3"/>
                    <a:pt x="2" y="3"/>
                    <a:pt x="2" y="3"/>
                  </a:cubicBezTo>
                  <a:cubicBezTo>
                    <a:pt x="1" y="3"/>
                    <a:pt x="1" y="3"/>
                    <a:pt x="1" y="3"/>
                  </a:cubicBezTo>
                  <a:cubicBezTo>
                    <a:pt x="1" y="3"/>
                    <a:pt x="1" y="4"/>
                    <a:pt x="1"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3" y="5"/>
                    <a:pt x="2" y="5"/>
                    <a:pt x="3" y="5"/>
                  </a:cubicBezTo>
                  <a:cubicBezTo>
                    <a:pt x="3" y="5"/>
                    <a:pt x="3" y="5"/>
                    <a:pt x="3" y="5"/>
                  </a:cubicBezTo>
                  <a:cubicBezTo>
                    <a:pt x="3" y="5"/>
                    <a:pt x="3" y="5"/>
                    <a:pt x="3" y="5"/>
                  </a:cubicBezTo>
                  <a:cubicBezTo>
                    <a:pt x="3" y="5"/>
                    <a:pt x="3" y="5"/>
                    <a:pt x="3" y="5"/>
                  </a:cubicBezTo>
                  <a:cubicBezTo>
                    <a:pt x="4" y="5"/>
                    <a:pt x="6" y="4"/>
                    <a:pt x="7" y="4"/>
                  </a:cubicBezTo>
                  <a:cubicBezTo>
                    <a:pt x="7" y="4"/>
                    <a:pt x="7" y="4"/>
                    <a:pt x="7" y="4"/>
                  </a:cubicBezTo>
                  <a:cubicBezTo>
                    <a:pt x="7" y="4"/>
                    <a:pt x="7" y="4"/>
                    <a:pt x="7" y="4"/>
                  </a:cubicBezTo>
                  <a:cubicBezTo>
                    <a:pt x="7" y="5"/>
                    <a:pt x="7" y="5"/>
                    <a:pt x="7"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7" y="5"/>
                    <a:pt x="7" y="5"/>
                    <a:pt x="7" y="5"/>
                  </a:cubicBezTo>
                  <a:cubicBezTo>
                    <a:pt x="7" y="5"/>
                    <a:pt x="7" y="5"/>
                    <a:pt x="7" y="5"/>
                  </a:cubicBezTo>
                  <a:cubicBezTo>
                    <a:pt x="7" y="5"/>
                    <a:pt x="7" y="5"/>
                    <a:pt x="7" y="5"/>
                  </a:cubicBezTo>
                  <a:cubicBezTo>
                    <a:pt x="7" y="5"/>
                    <a:pt x="7" y="5"/>
                    <a:pt x="7" y="5"/>
                  </a:cubicBezTo>
                  <a:cubicBezTo>
                    <a:pt x="7" y="6"/>
                    <a:pt x="7" y="6"/>
                    <a:pt x="7" y="6"/>
                  </a:cubicBezTo>
                  <a:cubicBezTo>
                    <a:pt x="7" y="6"/>
                    <a:pt x="7" y="6"/>
                    <a:pt x="7" y="6"/>
                  </a:cubicBezTo>
                  <a:cubicBezTo>
                    <a:pt x="7" y="6"/>
                    <a:pt x="7" y="6"/>
                    <a:pt x="7" y="6"/>
                  </a:cubicBezTo>
                  <a:cubicBezTo>
                    <a:pt x="8" y="6"/>
                    <a:pt x="8" y="6"/>
                    <a:pt x="8" y="6"/>
                  </a:cubicBezTo>
                  <a:cubicBezTo>
                    <a:pt x="8" y="6"/>
                    <a:pt x="8" y="6"/>
                    <a:pt x="8" y="6"/>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10" y="7"/>
                    <a:pt x="10" y="7"/>
                    <a:pt x="10" y="7"/>
                  </a:cubicBezTo>
                  <a:cubicBezTo>
                    <a:pt x="10" y="7"/>
                    <a:pt x="10" y="7"/>
                    <a:pt x="10" y="7"/>
                  </a:cubicBezTo>
                  <a:cubicBezTo>
                    <a:pt x="10" y="7"/>
                    <a:pt x="10" y="7"/>
                    <a:pt x="10" y="7"/>
                  </a:cubicBezTo>
                  <a:cubicBezTo>
                    <a:pt x="11" y="7"/>
                    <a:pt x="11" y="7"/>
                    <a:pt x="11" y="7"/>
                  </a:cubicBezTo>
                  <a:cubicBezTo>
                    <a:pt x="11" y="7"/>
                    <a:pt x="11" y="7"/>
                    <a:pt x="11" y="7"/>
                  </a:cubicBezTo>
                  <a:cubicBezTo>
                    <a:pt x="13" y="5"/>
                    <a:pt x="13" y="5"/>
                    <a:pt x="13" y="5"/>
                  </a:cubicBezTo>
                  <a:cubicBezTo>
                    <a:pt x="16" y="2"/>
                    <a:pt x="16" y="2"/>
                    <a:pt x="16" y="2"/>
                  </a:cubicBezTo>
                  <a:cubicBezTo>
                    <a:pt x="17" y="1"/>
                    <a:pt x="17" y="1"/>
                    <a:pt x="17" y="1"/>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4" y="2"/>
                    <a:pt x="14" y="2"/>
                    <a:pt x="13" y="2"/>
                  </a:cubicBezTo>
                  <a:cubicBezTo>
                    <a:pt x="13" y="2"/>
                    <a:pt x="13" y="2"/>
                    <a:pt x="13" y="2"/>
                  </a:cubicBezTo>
                  <a:cubicBezTo>
                    <a:pt x="13" y="2"/>
                    <a:pt x="13" y="2"/>
                    <a:pt x="12" y="2"/>
                  </a:cubicBezTo>
                  <a:cubicBezTo>
                    <a:pt x="12" y="2"/>
                    <a:pt x="12" y="2"/>
                    <a:pt x="12" y="2"/>
                  </a:cubicBezTo>
                  <a:cubicBezTo>
                    <a:pt x="11" y="2"/>
                    <a:pt x="11" y="2"/>
                    <a:pt x="11" y="2"/>
                  </a:cubicBezTo>
                  <a:cubicBezTo>
                    <a:pt x="11" y="2"/>
                    <a:pt x="11" y="2"/>
                    <a:pt x="11" y="2"/>
                  </a:cubicBezTo>
                  <a:cubicBezTo>
                    <a:pt x="11" y="2"/>
                    <a:pt x="11" y="2"/>
                    <a:pt x="11" y="2"/>
                  </a:cubicBezTo>
                  <a:cubicBezTo>
                    <a:pt x="12" y="1"/>
                    <a:pt x="12" y="1"/>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41"/>
            <p:cNvSpPr/>
            <p:nvPr/>
          </p:nvSpPr>
          <p:spPr bwMode="auto">
            <a:xfrm flipH="1">
              <a:off x="9480541" y="5315772"/>
              <a:ext cx="0" cy="11113"/>
            </a:xfrm>
            <a:custGeom>
              <a:gdLst>
                <a:gd name="T0" fmla="*/ 0 h 3"/>
                <a:gd name="T1" fmla="*/ 0 h 3"/>
                <a:gd name="T2" fmla="*/ 3 h 3"/>
                <a:gd name="T3" fmla="*/ 3 h 3"/>
                <a:gd name="T4" fmla="*/ 3 h 3"/>
                <a:gd name="T5" fmla="*/ 0 h 3"/>
                <a:gd name="T6" fmla="*/ 0 h 3"/>
                <a:gd name="T7" fmla="*/ 0 h 3"/>
              </a:gd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cubicBezTo>
                    <a:pt x="0" y="0"/>
                    <a:pt x="0" y="0"/>
                    <a:pt x="0" y="0"/>
                  </a:cubicBezTo>
                  <a:cubicBezTo>
                    <a:pt x="0" y="1"/>
                    <a:pt x="0" y="2"/>
                    <a:pt x="0" y="3"/>
                  </a:cubicBezTo>
                  <a:cubicBezTo>
                    <a:pt x="0" y="3"/>
                    <a:pt x="0" y="3"/>
                    <a:pt x="0" y="3"/>
                  </a:cubicBezTo>
                  <a:cubicBezTo>
                    <a:pt x="0" y="3"/>
                    <a:pt x="0" y="3"/>
                    <a:pt x="0" y="3"/>
                  </a:cubicBezTo>
                  <a:cubicBezTo>
                    <a:pt x="0" y="2"/>
                    <a:pt x="0" y="1"/>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42"/>
            <p:cNvSpPr>
              <a:spLocks noEditPoints="1"/>
            </p:cNvSpPr>
            <p:nvPr/>
          </p:nvSpPr>
          <p:spPr bwMode="auto">
            <a:xfrm>
              <a:off x="1289041" y="1515297"/>
              <a:ext cx="2781300" cy="2290763"/>
            </a:xfrm>
            <a:custGeom>
              <a:gdLst>
                <a:gd name="T0" fmla="*/ 223 w 741"/>
                <a:gd name="T1" fmla="*/ 25 h 610"/>
                <a:gd name="T2" fmla="*/ 199 w 741"/>
                <a:gd name="T3" fmla="*/ 38 h 610"/>
                <a:gd name="T4" fmla="*/ 167 w 741"/>
                <a:gd name="T5" fmla="*/ 43 h 610"/>
                <a:gd name="T6" fmla="*/ 133 w 741"/>
                <a:gd name="T7" fmla="*/ 53 h 610"/>
                <a:gd name="T8" fmla="*/ 36 w 741"/>
                <a:gd name="T9" fmla="*/ 125 h 610"/>
                <a:gd name="T10" fmla="*/ 118 w 741"/>
                <a:gd name="T11" fmla="*/ 180 h 610"/>
                <a:gd name="T12" fmla="*/ 150 w 741"/>
                <a:gd name="T13" fmla="*/ 181 h 610"/>
                <a:gd name="T14" fmla="*/ 160 w 741"/>
                <a:gd name="T15" fmla="*/ 206 h 610"/>
                <a:gd name="T16" fmla="*/ 101 w 741"/>
                <a:gd name="T17" fmla="*/ 216 h 610"/>
                <a:gd name="T18" fmla="*/ 44 w 741"/>
                <a:gd name="T19" fmla="*/ 214 h 610"/>
                <a:gd name="T20" fmla="*/ 7 w 741"/>
                <a:gd name="T21" fmla="*/ 230 h 610"/>
                <a:gd name="T22" fmla="*/ 25 w 741"/>
                <a:gd name="T23" fmla="*/ 251 h 610"/>
                <a:gd name="T24" fmla="*/ 87 w 741"/>
                <a:gd name="T25" fmla="*/ 273 h 610"/>
                <a:gd name="T26" fmla="*/ 125 w 741"/>
                <a:gd name="T27" fmla="*/ 276 h 610"/>
                <a:gd name="T28" fmla="*/ 156 w 741"/>
                <a:gd name="T29" fmla="*/ 275 h 610"/>
                <a:gd name="T30" fmla="*/ 139 w 741"/>
                <a:gd name="T31" fmla="*/ 312 h 610"/>
                <a:gd name="T32" fmla="*/ 74 w 741"/>
                <a:gd name="T33" fmla="*/ 333 h 610"/>
                <a:gd name="T34" fmla="*/ 48 w 741"/>
                <a:gd name="T35" fmla="*/ 383 h 610"/>
                <a:gd name="T36" fmla="*/ 70 w 741"/>
                <a:gd name="T37" fmla="*/ 402 h 610"/>
                <a:gd name="T38" fmla="*/ 98 w 741"/>
                <a:gd name="T39" fmla="*/ 403 h 610"/>
                <a:gd name="T40" fmla="*/ 87 w 741"/>
                <a:gd name="T41" fmla="*/ 414 h 610"/>
                <a:gd name="T42" fmla="*/ 69 w 741"/>
                <a:gd name="T43" fmla="*/ 418 h 610"/>
                <a:gd name="T44" fmla="*/ 126 w 741"/>
                <a:gd name="T45" fmla="*/ 427 h 610"/>
                <a:gd name="T46" fmla="*/ 132 w 741"/>
                <a:gd name="T47" fmla="*/ 431 h 610"/>
                <a:gd name="T48" fmla="*/ 144 w 741"/>
                <a:gd name="T49" fmla="*/ 474 h 610"/>
                <a:gd name="T50" fmla="*/ 165 w 741"/>
                <a:gd name="T51" fmla="*/ 476 h 610"/>
                <a:gd name="T52" fmla="*/ 190 w 741"/>
                <a:gd name="T53" fmla="*/ 477 h 610"/>
                <a:gd name="T54" fmla="*/ 226 w 741"/>
                <a:gd name="T55" fmla="*/ 470 h 610"/>
                <a:gd name="T56" fmla="*/ 243 w 741"/>
                <a:gd name="T57" fmla="*/ 497 h 610"/>
                <a:gd name="T58" fmla="*/ 209 w 741"/>
                <a:gd name="T59" fmla="*/ 544 h 610"/>
                <a:gd name="T60" fmla="*/ 162 w 741"/>
                <a:gd name="T61" fmla="*/ 576 h 610"/>
                <a:gd name="T62" fmla="*/ 111 w 741"/>
                <a:gd name="T63" fmla="*/ 601 h 610"/>
                <a:gd name="T64" fmla="*/ 136 w 741"/>
                <a:gd name="T65" fmla="*/ 601 h 610"/>
                <a:gd name="T66" fmla="*/ 168 w 741"/>
                <a:gd name="T67" fmla="*/ 590 h 610"/>
                <a:gd name="T68" fmla="*/ 215 w 741"/>
                <a:gd name="T69" fmla="*/ 573 h 610"/>
                <a:gd name="T70" fmla="*/ 217 w 741"/>
                <a:gd name="T71" fmla="*/ 563 h 610"/>
                <a:gd name="T72" fmla="*/ 287 w 741"/>
                <a:gd name="T73" fmla="*/ 513 h 610"/>
                <a:gd name="T74" fmla="*/ 324 w 741"/>
                <a:gd name="T75" fmla="*/ 492 h 610"/>
                <a:gd name="T76" fmla="*/ 320 w 741"/>
                <a:gd name="T77" fmla="*/ 470 h 610"/>
                <a:gd name="T78" fmla="*/ 342 w 741"/>
                <a:gd name="T79" fmla="*/ 443 h 610"/>
                <a:gd name="T80" fmla="*/ 415 w 741"/>
                <a:gd name="T81" fmla="*/ 390 h 610"/>
                <a:gd name="T82" fmla="*/ 392 w 741"/>
                <a:gd name="T83" fmla="*/ 410 h 610"/>
                <a:gd name="T84" fmla="*/ 385 w 741"/>
                <a:gd name="T85" fmla="*/ 457 h 610"/>
                <a:gd name="T86" fmla="*/ 409 w 741"/>
                <a:gd name="T87" fmla="*/ 456 h 610"/>
                <a:gd name="T88" fmla="*/ 444 w 741"/>
                <a:gd name="T89" fmla="*/ 439 h 610"/>
                <a:gd name="T90" fmla="*/ 458 w 741"/>
                <a:gd name="T91" fmla="*/ 422 h 610"/>
                <a:gd name="T92" fmla="*/ 460 w 741"/>
                <a:gd name="T93" fmla="*/ 400 h 610"/>
                <a:gd name="T94" fmla="*/ 472 w 741"/>
                <a:gd name="T95" fmla="*/ 402 h 610"/>
                <a:gd name="T96" fmla="*/ 496 w 741"/>
                <a:gd name="T97" fmla="*/ 404 h 610"/>
                <a:gd name="T98" fmla="*/ 509 w 741"/>
                <a:gd name="T99" fmla="*/ 410 h 610"/>
                <a:gd name="T100" fmla="*/ 538 w 741"/>
                <a:gd name="T101" fmla="*/ 428 h 610"/>
                <a:gd name="T102" fmla="*/ 655 w 741"/>
                <a:gd name="T103" fmla="*/ 442 h 610"/>
                <a:gd name="T104" fmla="*/ 659 w 741"/>
                <a:gd name="T105" fmla="*/ 451 h 610"/>
                <a:gd name="T106" fmla="*/ 731 w 741"/>
                <a:gd name="T107" fmla="*/ 495 h 610"/>
                <a:gd name="T108" fmla="*/ 713 w 741"/>
                <a:gd name="T109" fmla="*/ 475 h 610"/>
                <a:gd name="T110" fmla="*/ 667 w 741"/>
                <a:gd name="T111" fmla="*/ 431 h 610"/>
                <a:gd name="T112" fmla="*/ 623 w 741"/>
                <a:gd name="T113" fmla="*/ 213 h 610"/>
                <a:gd name="T114" fmla="*/ 497 w 741"/>
                <a:gd name="T115" fmla="*/ 52 h 610"/>
                <a:gd name="T116" fmla="*/ 366 w 741"/>
                <a:gd name="T117" fmla="*/ 35 h 610"/>
                <a:gd name="T118" fmla="*/ 311 w 741"/>
                <a:gd name="T119" fmla="*/ 24 h 610"/>
                <a:gd name="T120" fmla="*/ 285 w 741"/>
                <a:gd name="T121" fmla="*/ 24 h 6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41" h="610">
                  <a:moveTo>
                    <a:pt x="341" y="476"/>
                  </a:moveTo>
                  <a:cubicBezTo>
                    <a:pt x="341" y="476"/>
                    <a:pt x="341" y="476"/>
                    <a:pt x="341" y="476"/>
                  </a:cubicBezTo>
                  <a:cubicBezTo>
                    <a:pt x="341" y="476"/>
                    <a:pt x="341" y="476"/>
                    <a:pt x="341" y="476"/>
                  </a:cubicBezTo>
                  <a:moveTo>
                    <a:pt x="466" y="407"/>
                  </a:moveTo>
                  <a:cubicBezTo>
                    <a:pt x="466" y="407"/>
                    <a:pt x="466" y="407"/>
                    <a:pt x="466" y="407"/>
                  </a:cubicBezTo>
                  <a:cubicBezTo>
                    <a:pt x="466" y="407"/>
                    <a:pt x="466" y="407"/>
                    <a:pt x="466" y="407"/>
                  </a:cubicBezTo>
                  <a:moveTo>
                    <a:pt x="432" y="386"/>
                  </a:moveTo>
                  <a:cubicBezTo>
                    <a:pt x="432" y="386"/>
                    <a:pt x="433" y="385"/>
                    <a:pt x="434" y="385"/>
                  </a:cubicBezTo>
                  <a:cubicBezTo>
                    <a:pt x="434" y="385"/>
                    <a:pt x="434" y="385"/>
                    <a:pt x="434" y="385"/>
                  </a:cubicBezTo>
                  <a:cubicBezTo>
                    <a:pt x="433" y="385"/>
                    <a:pt x="432" y="386"/>
                    <a:pt x="432" y="386"/>
                  </a:cubicBezTo>
                  <a:moveTo>
                    <a:pt x="267" y="0"/>
                  </a:moveTo>
                  <a:cubicBezTo>
                    <a:pt x="266" y="0"/>
                    <a:pt x="265" y="2"/>
                    <a:pt x="263" y="3"/>
                  </a:cubicBezTo>
                  <a:cubicBezTo>
                    <a:pt x="259" y="6"/>
                    <a:pt x="255" y="9"/>
                    <a:pt x="251" y="12"/>
                  </a:cubicBezTo>
                  <a:cubicBezTo>
                    <a:pt x="246" y="16"/>
                    <a:pt x="242" y="20"/>
                    <a:pt x="236" y="23"/>
                  </a:cubicBezTo>
                  <a:cubicBezTo>
                    <a:pt x="233" y="24"/>
                    <a:pt x="230" y="25"/>
                    <a:pt x="227" y="25"/>
                  </a:cubicBezTo>
                  <a:cubicBezTo>
                    <a:pt x="225" y="25"/>
                    <a:pt x="223" y="24"/>
                    <a:pt x="220" y="24"/>
                  </a:cubicBezTo>
                  <a:cubicBezTo>
                    <a:pt x="221" y="24"/>
                    <a:pt x="222" y="25"/>
                    <a:pt x="223" y="25"/>
                  </a:cubicBezTo>
                  <a:cubicBezTo>
                    <a:pt x="220" y="26"/>
                    <a:pt x="217" y="26"/>
                    <a:pt x="215" y="26"/>
                  </a:cubicBezTo>
                  <a:cubicBezTo>
                    <a:pt x="213" y="26"/>
                    <a:pt x="212" y="26"/>
                    <a:pt x="211" y="26"/>
                  </a:cubicBezTo>
                  <a:cubicBezTo>
                    <a:pt x="210" y="26"/>
                    <a:pt x="209" y="26"/>
                    <a:pt x="209" y="26"/>
                  </a:cubicBezTo>
                  <a:cubicBezTo>
                    <a:pt x="206" y="26"/>
                    <a:pt x="204" y="26"/>
                    <a:pt x="202" y="28"/>
                  </a:cubicBezTo>
                  <a:cubicBezTo>
                    <a:pt x="201" y="27"/>
                    <a:pt x="200" y="27"/>
                    <a:pt x="199" y="27"/>
                  </a:cubicBezTo>
                  <a:cubicBezTo>
                    <a:pt x="200" y="26"/>
                    <a:pt x="203" y="25"/>
                    <a:pt x="205" y="25"/>
                  </a:cubicBezTo>
                  <a:cubicBezTo>
                    <a:pt x="204" y="24"/>
                    <a:pt x="202" y="24"/>
                    <a:pt x="201" y="24"/>
                  </a:cubicBezTo>
                  <a:cubicBezTo>
                    <a:pt x="201" y="24"/>
                    <a:pt x="201" y="24"/>
                    <a:pt x="200" y="24"/>
                  </a:cubicBezTo>
                  <a:cubicBezTo>
                    <a:pt x="201" y="24"/>
                    <a:pt x="202" y="23"/>
                    <a:pt x="203" y="23"/>
                  </a:cubicBezTo>
                  <a:cubicBezTo>
                    <a:pt x="199" y="24"/>
                    <a:pt x="194" y="24"/>
                    <a:pt x="191" y="28"/>
                  </a:cubicBezTo>
                  <a:cubicBezTo>
                    <a:pt x="189" y="30"/>
                    <a:pt x="186" y="31"/>
                    <a:pt x="183" y="32"/>
                  </a:cubicBezTo>
                  <a:cubicBezTo>
                    <a:pt x="185" y="33"/>
                    <a:pt x="186" y="32"/>
                    <a:pt x="188" y="34"/>
                  </a:cubicBezTo>
                  <a:cubicBezTo>
                    <a:pt x="189" y="35"/>
                    <a:pt x="189" y="36"/>
                    <a:pt x="190" y="37"/>
                  </a:cubicBezTo>
                  <a:cubicBezTo>
                    <a:pt x="191" y="38"/>
                    <a:pt x="192" y="38"/>
                    <a:pt x="193" y="38"/>
                  </a:cubicBezTo>
                  <a:cubicBezTo>
                    <a:pt x="194" y="38"/>
                    <a:pt x="195" y="38"/>
                    <a:pt x="196" y="38"/>
                  </a:cubicBezTo>
                  <a:cubicBezTo>
                    <a:pt x="197" y="38"/>
                    <a:pt x="198" y="37"/>
                    <a:pt x="198" y="37"/>
                  </a:cubicBezTo>
                  <a:cubicBezTo>
                    <a:pt x="199" y="37"/>
                    <a:pt x="199" y="37"/>
                    <a:pt x="199" y="38"/>
                  </a:cubicBezTo>
                  <a:cubicBezTo>
                    <a:pt x="197" y="38"/>
                    <a:pt x="194" y="40"/>
                    <a:pt x="192" y="40"/>
                  </a:cubicBezTo>
                  <a:cubicBezTo>
                    <a:pt x="192" y="40"/>
                    <a:pt x="191" y="39"/>
                    <a:pt x="190" y="39"/>
                  </a:cubicBezTo>
                  <a:cubicBezTo>
                    <a:pt x="189" y="41"/>
                    <a:pt x="189" y="44"/>
                    <a:pt x="189" y="47"/>
                  </a:cubicBezTo>
                  <a:cubicBezTo>
                    <a:pt x="190" y="48"/>
                    <a:pt x="191" y="49"/>
                    <a:pt x="191" y="50"/>
                  </a:cubicBezTo>
                  <a:cubicBezTo>
                    <a:pt x="190" y="50"/>
                    <a:pt x="188" y="48"/>
                    <a:pt x="188" y="47"/>
                  </a:cubicBezTo>
                  <a:cubicBezTo>
                    <a:pt x="188" y="47"/>
                    <a:pt x="188" y="45"/>
                    <a:pt x="187" y="45"/>
                  </a:cubicBezTo>
                  <a:cubicBezTo>
                    <a:pt x="187" y="44"/>
                    <a:pt x="186" y="44"/>
                    <a:pt x="186" y="44"/>
                  </a:cubicBezTo>
                  <a:cubicBezTo>
                    <a:pt x="185" y="44"/>
                    <a:pt x="184" y="46"/>
                    <a:pt x="183" y="46"/>
                  </a:cubicBezTo>
                  <a:cubicBezTo>
                    <a:pt x="184" y="43"/>
                    <a:pt x="186" y="41"/>
                    <a:pt x="186" y="39"/>
                  </a:cubicBezTo>
                  <a:cubicBezTo>
                    <a:pt x="185" y="39"/>
                    <a:pt x="184" y="40"/>
                    <a:pt x="182" y="40"/>
                  </a:cubicBezTo>
                  <a:cubicBezTo>
                    <a:pt x="182" y="40"/>
                    <a:pt x="182" y="40"/>
                    <a:pt x="181" y="40"/>
                  </a:cubicBezTo>
                  <a:cubicBezTo>
                    <a:pt x="183" y="38"/>
                    <a:pt x="189" y="38"/>
                    <a:pt x="185" y="35"/>
                  </a:cubicBezTo>
                  <a:cubicBezTo>
                    <a:pt x="185" y="35"/>
                    <a:pt x="185" y="35"/>
                    <a:pt x="184" y="35"/>
                  </a:cubicBezTo>
                  <a:cubicBezTo>
                    <a:pt x="184" y="35"/>
                    <a:pt x="184" y="35"/>
                    <a:pt x="184" y="35"/>
                  </a:cubicBezTo>
                  <a:cubicBezTo>
                    <a:pt x="183" y="35"/>
                    <a:pt x="183" y="35"/>
                    <a:pt x="183" y="35"/>
                  </a:cubicBezTo>
                  <a:cubicBezTo>
                    <a:pt x="183" y="35"/>
                    <a:pt x="182" y="35"/>
                    <a:pt x="182" y="34"/>
                  </a:cubicBezTo>
                  <a:cubicBezTo>
                    <a:pt x="177" y="38"/>
                    <a:pt x="172" y="40"/>
                    <a:pt x="167" y="43"/>
                  </a:cubicBezTo>
                  <a:cubicBezTo>
                    <a:pt x="168" y="42"/>
                    <a:pt x="169" y="42"/>
                    <a:pt x="170" y="42"/>
                  </a:cubicBezTo>
                  <a:cubicBezTo>
                    <a:pt x="166" y="46"/>
                    <a:pt x="158" y="48"/>
                    <a:pt x="152" y="49"/>
                  </a:cubicBezTo>
                  <a:cubicBezTo>
                    <a:pt x="152" y="49"/>
                    <a:pt x="152" y="49"/>
                    <a:pt x="152" y="49"/>
                  </a:cubicBezTo>
                  <a:cubicBezTo>
                    <a:pt x="151" y="49"/>
                    <a:pt x="151" y="49"/>
                    <a:pt x="150" y="48"/>
                  </a:cubicBezTo>
                  <a:cubicBezTo>
                    <a:pt x="150" y="48"/>
                    <a:pt x="150" y="48"/>
                    <a:pt x="149" y="48"/>
                  </a:cubicBezTo>
                  <a:cubicBezTo>
                    <a:pt x="149" y="48"/>
                    <a:pt x="148" y="48"/>
                    <a:pt x="148" y="49"/>
                  </a:cubicBezTo>
                  <a:cubicBezTo>
                    <a:pt x="146" y="49"/>
                    <a:pt x="146" y="50"/>
                    <a:pt x="145" y="51"/>
                  </a:cubicBezTo>
                  <a:cubicBezTo>
                    <a:pt x="142" y="52"/>
                    <a:pt x="140" y="52"/>
                    <a:pt x="137" y="53"/>
                  </a:cubicBezTo>
                  <a:cubicBezTo>
                    <a:pt x="139" y="51"/>
                    <a:pt x="142" y="53"/>
                    <a:pt x="144" y="50"/>
                  </a:cubicBezTo>
                  <a:cubicBezTo>
                    <a:pt x="143" y="50"/>
                    <a:pt x="142" y="49"/>
                    <a:pt x="142" y="49"/>
                  </a:cubicBezTo>
                  <a:cubicBezTo>
                    <a:pt x="142" y="49"/>
                    <a:pt x="143" y="49"/>
                    <a:pt x="143" y="49"/>
                  </a:cubicBezTo>
                  <a:cubicBezTo>
                    <a:pt x="143" y="49"/>
                    <a:pt x="144" y="49"/>
                    <a:pt x="144" y="49"/>
                  </a:cubicBezTo>
                  <a:cubicBezTo>
                    <a:pt x="144" y="49"/>
                    <a:pt x="144" y="49"/>
                    <a:pt x="144" y="49"/>
                  </a:cubicBezTo>
                  <a:cubicBezTo>
                    <a:pt x="145" y="49"/>
                    <a:pt x="145" y="49"/>
                    <a:pt x="145" y="49"/>
                  </a:cubicBezTo>
                  <a:cubicBezTo>
                    <a:pt x="144" y="48"/>
                    <a:pt x="143" y="46"/>
                    <a:pt x="141" y="46"/>
                  </a:cubicBezTo>
                  <a:cubicBezTo>
                    <a:pt x="141" y="46"/>
                    <a:pt x="140" y="46"/>
                    <a:pt x="140" y="47"/>
                  </a:cubicBezTo>
                  <a:cubicBezTo>
                    <a:pt x="138" y="48"/>
                    <a:pt x="136" y="51"/>
                    <a:pt x="133" y="53"/>
                  </a:cubicBezTo>
                  <a:cubicBezTo>
                    <a:pt x="128" y="57"/>
                    <a:pt x="124" y="63"/>
                    <a:pt x="118" y="67"/>
                  </a:cubicBezTo>
                  <a:cubicBezTo>
                    <a:pt x="114" y="70"/>
                    <a:pt x="112" y="79"/>
                    <a:pt x="110" y="83"/>
                  </a:cubicBezTo>
                  <a:cubicBezTo>
                    <a:pt x="108" y="87"/>
                    <a:pt x="107" y="89"/>
                    <a:pt x="105" y="92"/>
                  </a:cubicBezTo>
                  <a:cubicBezTo>
                    <a:pt x="98" y="100"/>
                    <a:pt x="89" y="102"/>
                    <a:pt x="79" y="103"/>
                  </a:cubicBezTo>
                  <a:cubicBezTo>
                    <a:pt x="73" y="104"/>
                    <a:pt x="67" y="105"/>
                    <a:pt x="61" y="106"/>
                  </a:cubicBezTo>
                  <a:cubicBezTo>
                    <a:pt x="60" y="106"/>
                    <a:pt x="59" y="106"/>
                    <a:pt x="58" y="106"/>
                  </a:cubicBezTo>
                  <a:cubicBezTo>
                    <a:pt x="56" y="106"/>
                    <a:pt x="54" y="106"/>
                    <a:pt x="52" y="105"/>
                  </a:cubicBezTo>
                  <a:cubicBezTo>
                    <a:pt x="49" y="105"/>
                    <a:pt x="47" y="105"/>
                    <a:pt x="45" y="105"/>
                  </a:cubicBezTo>
                  <a:cubicBezTo>
                    <a:pt x="45" y="105"/>
                    <a:pt x="45" y="105"/>
                    <a:pt x="44" y="105"/>
                  </a:cubicBezTo>
                  <a:cubicBezTo>
                    <a:pt x="44" y="105"/>
                    <a:pt x="44" y="105"/>
                    <a:pt x="44" y="105"/>
                  </a:cubicBezTo>
                  <a:cubicBezTo>
                    <a:pt x="44" y="105"/>
                    <a:pt x="44" y="105"/>
                    <a:pt x="44" y="105"/>
                  </a:cubicBezTo>
                  <a:cubicBezTo>
                    <a:pt x="44" y="105"/>
                    <a:pt x="43" y="105"/>
                    <a:pt x="43" y="105"/>
                  </a:cubicBezTo>
                  <a:cubicBezTo>
                    <a:pt x="42" y="105"/>
                    <a:pt x="41" y="105"/>
                    <a:pt x="41" y="108"/>
                  </a:cubicBezTo>
                  <a:cubicBezTo>
                    <a:pt x="41" y="110"/>
                    <a:pt x="41" y="113"/>
                    <a:pt x="41" y="115"/>
                  </a:cubicBezTo>
                  <a:cubicBezTo>
                    <a:pt x="41" y="117"/>
                    <a:pt x="40" y="119"/>
                    <a:pt x="39" y="120"/>
                  </a:cubicBezTo>
                  <a:cubicBezTo>
                    <a:pt x="39" y="121"/>
                    <a:pt x="39" y="122"/>
                    <a:pt x="38" y="123"/>
                  </a:cubicBezTo>
                  <a:cubicBezTo>
                    <a:pt x="37" y="124"/>
                    <a:pt x="37" y="124"/>
                    <a:pt x="36" y="125"/>
                  </a:cubicBezTo>
                  <a:cubicBezTo>
                    <a:pt x="35" y="126"/>
                    <a:pt x="33" y="126"/>
                    <a:pt x="31" y="126"/>
                  </a:cubicBezTo>
                  <a:cubicBezTo>
                    <a:pt x="31" y="126"/>
                    <a:pt x="30" y="126"/>
                    <a:pt x="29" y="126"/>
                  </a:cubicBezTo>
                  <a:cubicBezTo>
                    <a:pt x="30" y="125"/>
                    <a:pt x="32" y="125"/>
                    <a:pt x="33" y="125"/>
                  </a:cubicBezTo>
                  <a:cubicBezTo>
                    <a:pt x="31" y="125"/>
                    <a:pt x="29" y="126"/>
                    <a:pt x="28" y="126"/>
                  </a:cubicBezTo>
                  <a:cubicBezTo>
                    <a:pt x="33" y="128"/>
                    <a:pt x="37" y="127"/>
                    <a:pt x="42" y="130"/>
                  </a:cubicBezTo>
                  <a:cubicBezTo>
                    <a:pt x="44" y="132"/>
                    <a:pt x="45" y="133"/>
                    <a:pt x="47" y="135"/>
                  </a:cubicBezTo>
                  <a:cubicBezTo>
                    <a:pt x="49" y="136"/>
                    <a:pt x="52" y="136"/>
                    <a:pt x="54" y="137"/>
                  </a:cubicBezTo>
                  <a:cubicBezTo>
                    <a:pt x="63" y="138"/>
                    <a:pt x="68" y="146"/>
                    <a:pt x="76" y="148"/>
                  </a:cubicBezTo>
                  <a:cubicBezTo>
                    <a:pt x="76" y="148"/>
                    <a:pt x="76" y="147"/>
                    <a:pt x="76" y="147"/>
                  </a:cubicBezTo>
                  <a:cubicBezTo>
                    <a:pt x="77" y="147"/>
                    <a:pt x="79" y="149"/>
                    <a:pt x="80" y="150"/>
                  </a:cubicBezTo>
                  <a:cubicBezTo>
                    <a:pt x="81" y="151"/>
                    <a:pt x="83" y="152"/>
                    <a:pt x="85" y="153"/>
                  </a:cubicBezTo>
                  <a:cubicBezTo>
                    <a:pt x="89" y="155"/>
                    <a:pt x="91" y="157"/>
                    <a:pt x="94" y="160"/>
                  </a:cubicBezTo>
                  <a:cubicBezTo>
                    <a:pt x="95" y="162"/>
                    <a:pt x="96" y="164"/>
                    <a:pt x="97" y="166"/>
                  </a:cubicBezTo>
                  <a:cubicBezTo>
                    <a:pt x="98" y="169"/>
                    <a:pt x="97" y="172"/>
                    <a:pt x="98" y="174"/>
                  </a:cubicBezTo>
                  <a:cubicBezTo>
                    <a:pt x="100" y="177"/>
                    <a:pt x="108" y="177"/>
                    <a:pt x="112" y="178"/>
                  </a:cubicBezTo>
                  <a:cubicBezTo>
                    <a:pt x="113" y="178"/>
                    <a:pt x="116" y="180"/>
                    <a:pt x="118" y="180"/>
                  </a:cubicBezTo>
                  <a:cubicBezTo>
                    <a:pt x="118" y="180"/>
                    <a:pt x="118" y="180"/>
                    <a:pt x="118" y="180"/>
                  </a:cubicBezTo>
                  <a:cubicBezTo>
                    <a:pt x="120" y="180"/>
                    <a:pt x="120" y="178"/>
                    <a:pt x="122" y="178"/>
                  </a:cubicBezTo>
                  <a:cubicBezTo>
                    <a:pt x="122" y="178"/>
                    <a:pt x="122" y="178"/>
                    <a:pt x="123" y="178"/>
                  </a:cubicBezTo>
                  <a:cubicBezTo>
                    <a:pt x="124" y="178"/>
                    <a:pt x="124" y="180"/>
                    <a:pt x="125" y="180"/>
                  </a:cubicBezTo>
                  <a:cubicBezTo>
                    <a:pt x="125" y="180"/>
                    <a:pt x="125" y="180"/>
                    <a:pt x="126" y="179"/>
                  </a:cubicBezTo>
                  <a:cubicBezTo>
                    <a:pt x="126" y="179"/>
                    <a:pt x="127" y="178"/>
                    <a:pt x="128" y="178"/>
                  </a:cubicBezTo>
                  <a:cubicBezTo>
                    <a:pt x="129" y="177"/>
                    <a:pt x="130" y="175"/>
                    <a:pt x="131" y="174"/>
                  </a:cubicBezTo>
                  <a:cubicBezTo>
                    <a:pt x="131" y="177"/>
                    <a:pt x="127" y="180"/>
                    <a:pt x="130" y="180"/>
                  </a:cubicBezTo>
                  <a:cubicBezTo>
                    <a:pt x="130" y="180"/>
                    <a:pt x="130" y="180"/>
                    <a:pt x="131" y="180"/>
                  </a:cubicBezTo>
                  <a:cubicBezTo>
                    <a:pt x="131" y="180"/>
                    <a:pt x="132" y="179"/>
                    <a:pt x="132" y="179"/>
                  </a:cubicBezTo>
                  <a:cubicBezTo>
                    <a:pt x="133" y="179"/>
                    <a:pt x="132" y="178"/>
                    <a:pt x="133" y="178"/>
                  </a:cubicBezTo>
                  <a:cubicBezTo>
                    <a:pt x="133" y="178"/>
                    <a:pt x="133" y="178"/>
                    <a:pt x="133" y="178"/>
                  </a:cubicBezTo>
                  <a:cubicBezTo>
                    <a:pt x="133" y="178"/>
                    <a:pt x="133" y="178"/>
                    <a:pt x="133" y="178"/>
                  </a:cubicBezTo>
                  <a:cubicBezTo>
                    <a:pt x="134" y="179"/>
                    <a:pt x="134" y="179"/>
                    <a:pt x="134" y="179"/>
                  </a:cubicBezTo>
                  <a:cubicBezTo>
                    <a:pt x="134" y="179"/>
                    <a:pt x="134" y="179"/>
                    <a:pt x="134" y="179"/>
                  </a:cubicBezTo>
                  <a:cubicBezTo>
                    <a:pt x="135" y="179"/>
                    <a:pt x="136" y="179"/>
                    <a:pt x="138" y="179"/>
                  </a:cubicBezTo>
                  <a:cubicBezTo>
                    <a:pt x="139" y="178"/>
                    <a:pt x="140" y="178"/>
                    <a:pt x="141" y="178"/>
                  </a:cubicBezTo>
                  <a:cubicBezTo>
                    <a:pt x="144" y="178"/>
                    <a:pt x="147" y="180"/>
                    <a:pt x="150" y="181"/>
                  </a:cubicBezTo>
                  <a:cubicBezTo>
                    <a:pt x="147" y="185"/>
                    <a:pt x="139" y="187"/>
                    <a:pt x="143" y="192"/>
                  </a:cubicBezTo>
                  <a:cubicBezTo>
                    <a:pt x="144" y="194"/>
                    <a:pt x="150" y="195"/>
                    <a:pt x="150" y="197"/>
                  </a:cubicBezTo>
                  <a:cubicBezTo>
                    <a:pt x="149" y="197"/>
                    <a:pt x="148" y="197"/>
                    <a:pt x="147" y="197"/>
                  </a:cubicBezTo>
                  <a:cubicBezTo>
                    <a:pt x="144" y="197"/>
                    <a:pt x="140" y="197"/>
                    <a:pt x="138" y="194"/>
                  </a:cubicBezTo>
                  <a:cubicBezTo>
                    <a:pt x="137" y="191"/>
                    <a:pt x="139" y="191"/>
                    <a:pt x="139" y="189"/>
                  </a:cubicBezTo>
                  <a:cubicBezTo>
                    <a:pt x="139" y="188"/>
                    <a:pt x="135" y="186"/>
                    <a:pt x="134" y="185"/>
                  </a:cubicBezTo>
                  <a:cubicBezTo>
                    <a:pt x="133" y="184"/>
                    <a:pt x="132" y="182"/>
                    <a:pt x="130" y="182"/>
                  </a:cubicBezTo>
                  <a:cubicBezTo>
                    <a:pt x="130" y="182"/>
                    <a:pt x="129" y="182"/>
                    <a:pt x="128" y="183"/>
                  </a:cubicBezTo>
                  <a:cubicBezTo>
                    <a:pt x="126" y="186"/>
                    <a:pt x="125" y="189"/>
                    <a:pt x="128" y="190"/>
                  </a:cubicBezTo>
                  <a:cubicBezTo>
                    <a:pt x="130" y="191"/>
                    <a:pt x="133" y="190"/>
                    <a:pt x="135" y="192"/>
                  </a:cubicBezTo>
                  <a:cubicBezTo>
                    <a:pt x="137" y="193"/>
                    <a:pt x="137" y="195"/>
                    <a:pt x="139" y="196"/>
                  </a:cubicBezTo>
                  <a:cubicBezTo>
                    <a:pt x="141" y="198"/>
                    <a:pt x="142" y="198"/>
                    <a:pt x="142" y="201"/>
                  </a:cubicBezTo>
                  <a:cubicBezTo>
                    <a:pt x="142" y="203"/>
                    <a:pt x="140" y="204"/>
                    <a:pt x="140" y="206"/>
                  </a:cubicBezTo>
                  <a:cubicBezTo>
                    <a:pt x="140" y="207"/>
                    <a:pt x="140" y="208"/>
                    <a:pt x="141" y="208"/>
                  </a:cubicBezTo>
                  <a:cubicBezTo>
                    <a:pt x="142" y="208"/>
                    <a:pt x="143" y="204"/>
                    <a:pt x="144" y="204"/>
                  </a:cubicBezTo>
                  <a:cubicBezTo>
                    <a:pt x="145" y="203"/>
                    <a:pt x="146" y="203"/>
                    <a:pt x="148" y="203"/>
                  </a:cubicBezTo>
                  <a:cubicBezTo>
                    <a:pt x="152" y="203"/>
                    <a:pt x="158" y="205"/>
                    <a:pt x="160" y="206"/>
                  </a:cubicBezTo>
                  <a:cubicBezTo>
                    <a:pt x="161" y="207"/>
                    <a:pt x="162" y="209"/>
                    <a:pt x="162" y="211"/>
                  </a:cubicBezTo>
                  <a:cubicBezTo>
                    <a:pt x="162" y="212"/>
                    <a:pt x="161" y="214"/>
                    <a:pt x="160" y="214"/>
                  </a:cubicBezTo>
                  <a:cubicBezTo>
                    <a:pt x="159" y="214"/>
                    <a:pt x="159" y="213"/>
                    <a:pt x="160" y="212"/>
                  </a:cubicBezTo>
                  <a:cubicBezTo>
                    <a:pt x="160" y="210"/>
                    <a:pt x="160" y="210"/>
                    <a:pt x="160" y="210"/>
                  </a:cubicBezTo>
                  <a:cubicBezTo>
                    <a:pt x="159" y="210"/>
                    <a:pt x="158" y="210"/>
                    <a:pt x="157" y="210"/>
                  </a:cubicBezTo>
                  <a:cubicBezTo>
                    <a:pt x="155" y="210"/>
                    <a:pt x="151" y="210"/>
                    <a:pt x="149" y="211"/>
                  </a:cubicBezTo>
                  <a:cubicBezTo>
                    <a:pt x="147" y="212"/>
                    <a:pt x="146" y="214"/>
                    <a:pt x="144" y="216"/>
                  </a:cubicBezTo>
                  <a:cubicBezTo>
                    <a:pt x="145" y="216"/>
                    <a:pt x="145" y="216"/>
                    <a:pt x="145" y="216"/>
                  </a:cubicBezTo>
                  <a:cubicBezTo>
                    <a:pt x="144" y="216"/>
                    <a:pt x="142" y="218"/>
                    <a:pt x="144" y="219"/>
                  </a:cubicBezTo>
                  <a:cubicBezTo>
                    <a:pt x="144" y="219"/>
                    <a:pt x="143" y="219"/>
                    <a:pt x="143" y="219"/>
                  </a:cubicBezTo>
                  <a:cubicBezTo>
                    <a:pt x="141" y="219"/>
                    <a:pt x="138" y="219"/>
                    <a:pt x="135" y="219"/>
                  </a:cubicBezTo>
                  <a:cubicBezTo>
                    <a:pt x="132" y="218"/>
                    <a:pt x="129" y="218"/>
                    <a:pt x="126" y="218"/>
                  </a:cubicBezTo>
                  <a:cubicBezTo>
                    <a:pt x="125" y="218"/>
                    <a:pt x="124" y="218"/>
                    <a:pt x="124" y="219"/>
                  </a:cubicBezTo>
                  <a:cubicBezTo>
                    <a:pt x="118" y="217"/>
                    <a:pt x="112" y="215"/>
                    <a:pt x="107" y="215"/>
                  </a:cubicBezTo>
                  <a:cubicBezTo>
                    <a:pt x="107" y="215"/>
                    <a:pt x="107" y="215"/>
                    <a:pt x="106" y="215"/>
                  </a:cubicBezTo>
                  <a:cubicBezTo>
                    <a:pt x="106" y="215"/>
                    <a:pt x="105" y="215"/>
                    <a:pt x="104" y="216"/>
                  </a:cubicBezTo>
                  <a:cubicBezTo>
                    <a:pt x="103" y="216"/>
                    <a:pt x="102" y="216"/>
                    <a:pt x="101" y="216"/>
                  </a:cubicBezTo>
                  <a:cubicBezTo>
                    <a:pt x="101" y="216"/>
                    <a:pt x="101" y="216"/>
                    <a:pt x="101" y="216"/>
                  </a:cubicBezTo>
                  <a:cubicBezTo>
                    <a:pt x="98" y="216"/>
                    <a:pt x="92" y="213"/>
                    <a:pt x="92" y="210"/>
                  </a:cubicBezTo>
                  <a:cubicBezTo>
                    <a:pt x="92" y="210"/>
                    <a:pt x="92" y="210"/>
                    <a:pt x="92" y="210"/>
                  </a:cubicBezTo>
                  <a:cubicBezTo>
                    <a:pt x="97" y="210"/>
                    <a:pt x="95" y="205"/>
                    <a:pt x="97" y="201"/>
                  </a:cubicBezTo>
                  <a:cubicBezTo>
                    <a:pt x="97" y="200"/>
                    <a:pt x="100" y="199"/>
                    <a:pt x="97" y="197"/>
                  </a:cubicBezTo>
                  <a:cubicBezTo>
                    <a:pt x="97" y="196"/>
                    <a:pt x="96" y="196"/>
                    <a:pt x="95" y="196"/>
                  </a:cubicBezTo>
                  <a:cubicBezTo>
                    <a:pt x="92" y="196"/>
                    <a:pt x="88" y="197"/>
                    <a:pt x="87" y="197"/>
                  </a:cubicBezTo>
                  <a:cubicBezTo>
                    <a:pt x="83" y="197"/>
                    <a:pt x="80" y="197"/>
                    <a:pt x="76" y="197"/>
                  </a:cubicBezTo>
                  <a:cubicBezTo>
                    <a:pt x="75" y="197"/>
                    <a:pt x="71" y="201"/>
                    <a:pt x="70" y="202"/>
                  </a:cubicBezTo>
                  <a:cubicBezTo>
                    <a:pt x="69" y="203"/>
                    <a:pt x="69" y="203"/>
                    <a:pt x="68" y="203"/>
                  </a:cubicBezTo>
                  <a:cubicBezTo>
                    <a:pt x="68" y="203"/>
                    <a:pt x="68" y="202"/>
                    <a:pt x="65" y="202"/>
                  </a:cubicBezTo>
                  <a:cubicBezTo>
                    <a:pt x="65" y="202"/>
                    <a:pt x="65" y="202"/>
                    <a:pt x="65" y="202"/>
                  </a:cubicBezTo>
                  <a:cubicBezTo>
                    <a:pt x="61" y="202"/>
                    <a:pt x="55" y="204"/>
                    <a:pt x="52" y="206"/>
                  </a:cubicBezTo>
                  <a:cubicBezTo>
                    <a:pt x="49" y="208"/>
                    <a:pt x="48" y="209"/>
                    <a:pt x="51" y="210"/>
                  </a:cubicBezTo>
                  <a:cubicBezTo>
                    <a:pt x="54" y="211"/>
                    <a:pt x="56" y="212"/>
                    <a:pt x="58" y="213"/>
                  </a:cubicBezTo>
                  <a:cubicBezTo>
                    <a:pt x="56" y="214"/>
                    <a:pt x="53" y="215"/>
                    <a:pt x="50" y="215"/>
                  </a:cubicBezTo>
                  <a:cubicBezTo>
                    <a:pt x="48" y="215"/>
                    <a:pt x="45" y="214"/>
                    <a:pt x="44" y="214"/>
                  </a:cubicBezTo>
                  <a:cubicBezTo>
                    <a:pt x="42" y="213"/>
                    <a:pt x="42" y="212"/>
                    <a:pt x="41" y="212"/>
                  </a:cubicBezTo>
                  <a:cubicBezTo>
                    <a:pt x="41" y="212"/>
                    <a:pt x="41" y="212"/>
                    <a:pt x="41" y="212"/>
                  </a:cubicBezTo>
                  <a:cubicBezTo>
                    <a:pt x="40" y="212"/>
                    <a:pt x="38" y="213"/>
                    <a:pt x="38" y="213"/>
                  </a:cubicBezTo>
                  <a:cubicBezTo>
                    <a:pt x="35" y="214"/>
                    <a:pt x="33" y="214"/>
                    <a:pt x="31" y="216"/>
                  </a:cubicBezTo>
                  <a:cubicBezTo>
                    <a:pt x="29" y="217"/>
                    <a:pt x="28" y="218"/>
                    <a:pt x="27" y="219"/>
                  </a:cubicBezTo>
                  <a:cubicBezTo>
                    <a:pt x="27" y="219"/>
                    <a:pt x="26" y="219"/>
                    <a:pt x="26" y="219"/>
                  </a:cubicBezTo>
                  <a:cubicBezTo>
                    <a:pt x="26" y="219"/>
                    <a:pt x="26" y="219"/>
                    <a:pt x="26" y="219"/>
                  </a:cubicBezTo>
                  <a:cubicBezTo>
                    <a:pt x="26" y="219"/>
                    <a:pt x="25" y="219"/>
                    <a:pt x="25" y="219"/>
                  </a:cubicBezTo>
                  <a:cubicBezTo>
                    <a:pt x="25" y="219"/>
                    <a:pt x="25" y="219"/>
                    <a:pt x="24" y="220"/>
                  </a:cubicBezTo>
                  <a:cubicBezTo>
                    <a:pt x="23" y="220"/>
                    <a:pt x="24" y="222"/>
                    <a:pt x="23" y="223"/>
                  </a:cubicBezTo>
                  <a:cubicBezTo>
                    <a:pt x="22" y="224"/>
                    <a:pt x="21" y="224"/>
                    <a:pt x="20" y="224"/>
                  </a:cubicBezTo>
                  <a:cubicBezTo>
                    <a:pt x="19" y="224"/>
                    <a:pt x="18" y="223"/>
                    <a:pt x="16" y="223"/>
                  </a:cubicBezTo>
                  <a:cubicBezTo>
                    <a:pt x="16" y="223"/>
                    <a:pt x="16" y="223"/>
                    <a:pt x="16" y="223"/>
                  </a:cubicBezTo>
                  <a:cubicBezTo>
                    <a:pt x="15" y="223"/>
                    <a:pt x="12" y="225"/>
                    <a:pt x="11" y="226"/>
                  </a:cubicBezTo>
                  <a:cubicBezTo>
                    <a:pt x="10" y="227"/>
                    <a:pt x="10" y="229"/>
                    <a:pt x="9" y="229"/>
                  </a:cubicBezTo>
                  <a:cubicBezTo>
                    <a:pt x="9" y="230"/>
                    <a:pt x="8" y="230"/>
                    <a:pt x="8" y="230"/>
                  </a:cubicBezTo>
                  <a:cubicBezTo>
                    <a:pt x="7" y="230"/>
                    <a:pt x="7" y="230"/>
                    <a:pt x="7" y="230"/>
                  </a:cubicBezTo>
                  <a:cubicBezTo>
                    <a:pt x="7" y="230"/>
                    <a:pt x="6" y="230"/>
                    <a:pt x="6" y="230"/>
                  </a:cubicBezTo>
                  <a:cubicBezTo>
                    <a:pt x="6" y="230"/>
                    <a:pt x="6" y="230"/>
                    <a:pt x="5" y="230"/>
                  </a:cubicBezTo>
                  <a:cubicBezTo>
                    <a:pt x="4" y="230"/>
                    <a:pt x="2" y="231"/>
                    <a:pt x="0" y="232"/>
                  </a:cubicBezTo>
                  <a:cubicBezTo>
                    <a:pt x="0" y="236"/>
                    <a:pt x="12" y="241"/>
                    <a:pt x="16" y="241"/>
                  </a:cubicBezTo>
                  <a:cubicBezTo>
                    <a:pt x="21" y="242"/>
                    <a:pt x="25" y="243"/>
                    <a:pt x="30" y="244"/>
                  </a:cubicBezTo>
                  <a:cubicBezTo>
                    <a:pt x="28" y="243"/>
                    <a:pt x="27" y="243"/>
                    <a:pt x="25" y="243"/>
                  </a:cubicBezTo>
                  <a:cubicBezTo>
                    <a:pt x="26" y="242"/>
                    <a:pt x="26" y="242"/>
                    <a:pt x="27" y="242"/>
                  </a:cubicBezTo>
                  <a:cubicBezTo>
                    <a:pt x="30" y="242"/>
                    <a:pt x="33" y="244"/>
                    <a:pt x="36" y="244"/>
                  </a:cubicBezTo>
                  <a:cubicBezTo>
                    <a:pt x="39" y="245"/>
                    <a:pt x="42" y="245"/>
                    <a:pt x="45" y="247"/>
                  </a:cubicBezTo>
                  <a:cubicBezTo>
                    <a:pt x="44" y="247"/>
                    <a:pt x="44" y="247"/>
                    <a:pt x="43" y="247"/>
                  </a:cubicBezTo>
                  <a:cubicBezTo>
                    <a:pt x="42" y="247"/>
                    <a:pt x="42" y="247"/>
                    <a:pt x="41" y="247"/>
                  </a:cubicBezTo>
                  <a:cubicBezTo>
                    <a:pt x="40" y="247"/>
                    <a:pt x="39" y="247"/>
                    <a:pt x="39" y="247"/>
                  </a:cubicBezTo>
                  <a:cubicBezTo>
                    <a:pt x="39" y="247"/>
                    <a:pt x="38" y="247"/>
                    <a:pt x="38" y="247"/>
                  </a:cubicBezTo>
                  <a:cubicBezTo>
                    <a:pt x="38" y="247"/>
                    <a:pt x="36" y="247"/>
                    <a:pt x="36" y="247"/>
                  </a:cubicBezTo>
                  <a:cubicBezTo>
                    <a:pt x="35" y="249"/>
                    <a:pt x="36" y="249"/>
                    <a:pt x="35" y="250"/>
                  </a:cubicBezTo>
                  <a:cubicBezTo>
                    <a:pt x="34" y="252"/>
                    <a:pt x="32" y="252"/>
                    <a:pt x="30" y="252"/>
                  </a:cubicBezTo>
                  <a:cubicBezTo>
                    <a:pt x="29" y="252"/>
                    <a:pt x="27" y="252"/>
                    <a:pt x="25" y="251"/>
                  </a:cubicBezTo>
                  <a:cubicBezTo>
                    <a:pt x="28" y="254"/>
                    <a:pt x="32" y="258"/>
                    <a:pt x="35" y="260"/>
                  </a:cubicBezTo>
                  <a:cubicBezTo>
                    <a:pt x="35" y="259"/>
                    <a:pt x="35" y="259"/>
                    <a:pt x="35" y="259"/>
                  </a:cubicBezTo>
                  <a:cubicBezTo>
                    <a:pt x="38" y="260"/>
                    <a:pt x="36" y="262"/>
                    <a:pt x="35" y="264"/>
                  </a:cubicBezTo>
                  <a:cubicBezTo>
                    <a:pt x="35" y="268"/>
                    <a:pt x="38" y="269"/>
                    <a:pt x="41" y="271"/>
                  </a:cubicBezTo>
                  <a:cubicBezTo>
                    <a:pt x="44" y="273"/>
                    <a:pt x="49" y="273"/>
                    <a:pt x="53" y="274"/>
                  </a:cubicBezTo>
                  <a:cubicBezTo>
                    <a:pt x="57" y="275"/>
                    <a:pt x="64" y="278"/>
                    <a:pt x="70" y="278"/>
                  </a:cubicBezTo>
                  <a:cubicBezTo>
                    <a:pt x="72" y="278"/>
                    <a:pt x="73" y="277"/>
                    <a:pt x="75" y="277"/>
                  </a:cubicBezTo>
                  <a:cubicBezTo>
                    <a:pt x="74" y="277"/>
                    <a:pt x="73" y="277"/>
                    <a:pt x="72" y="277"/>
                  </a:cubicBezTo>
                  <a:cubicBezTo>
                    <a:pt x="71" y="277"/>
                    <a:pt x="71" y="276"/>
                    <a:pt x="72" y="275"/>
                  </a:cubicBezTo>
                  <a:cubicBezTo>
                    <a:pt x="73" y="275"/>
                    <a:pt x="74" y="275"/>
                    <a:pt x="75" y="275"/>
                  </a:cubicBezTo>
                  <a:cubicBezTo>
                    <a:pt x="75" y="275"/>
                    <a:pt x="76" y="275"/>
                    <a:pt x="76" y="275"/>
                  </a:cubicBezTo>
                  <a:cubicBezTo>
                    <a:pt x="76" y="275"/>
                    <a:pt x="76" y="275"/>
                    <a:pt x="76" y="275"/>
                  </a:cubicBezTo>
                  <a:cubicBezTo>
                    <a:pt x="77" y="275"/>
                    <a:pt x="77" y="275"/>
                    <a:pt x="77" y="275"/>
                  </a:cubicBezTo>
                  <a:cubicBezTo>
                    <a:pt x="80" y="274"/>
                    <a:pt x="83" y="272"/>
                    <a:pt x="86" y="272"/>
                  </a:cubicBezTo>
                  <a:cubicBezTo>
                    <a:pt x="86" y="272"/>
                    <a:pt x="86" y="272"/>
                    <a:pt x="86" y="272"/>
                  </a:cubicBezTo>
                  <a:cubicBezTo>
                    <a:pt x="85" y="273"/>
                    <a:pt x="85" y="273"/>
                    <a:pt x="85" y="273"/>
                  </a:cubicBezTo>
                  <a:cubicBezTo>
                    <a:pt x="86" y="273"/>
                    <a:pt x="86" y="273"/>
                    <a:pt x="87" y="273"/>
                  </a:cubicBezTo>
                  <a:cubicBezTo>
                    <a:pt x="88" y="273"/>
                    <a:pt x="90" y="273"/>
                    <a:pt x="91" y="273"/>
                  </a:cubicBezTo>
                  <a:cubicBezTo>
                    <a:pt x="91" y="273"/>
                    <a:pt x="91" y="273"/>
                    <a:pt x="91" y="273"/>
                  </a:cubicBezTo>
                  <a:cubicBezTo>
                    <a:pt x="93" y="273"/>
                    <a:pt x="94" y="272"/>
                    <a:pt x="96" y="272"/>
                  </a:cubicBezTo>
                  <a:cubicBezTo>
                    <a:pt x="96" y="272"/>
                    <a:pt x="97" y="272"/>
                    <a:pt x="97" y="272"/>
                  </a:cubicBezTo>
                  <a:cubicBezTo>
                    <a:pt x="100" y="272"/>
                    <a:pt x="104" y="273"/>
                    <a:pt x="106" y="274"/>
                  </a:cubicBezTo>
                  <a:cubicBezTo>
                    <a:pt x="108" y="275"/>
                    <a:pt x="109" y="276"/>
                    <a:pt x="110" y="277"/>
                  </a:cubicBezTo>
                  <a:cubicBezTo>
                    <a:pt x="111" y="278"/>
                    <a:pt x="112" y="279"/>
                    <a:pt x="112" y="279"/>
                  </a:cubicBezTo>
                  <a:cubicBezTo>
                    <a:pt x="113" y="279"/>
                    <a:pt x="113" y="278"/>
                    <a:pt x="113" y="277"/>
                  </a:cubicBezTo>
                  <a:cubicBezTo>
                    <a:pt x="114" y="276"/>
                    <a:pt x="115" y="276"/>
                    <a:pt x="115" y="275"/>
                  </a:cubicBezTo>
                  <a:cubicBezTo>
                    <a:pt x="115" y="274"/>
                    <a:pt x="112" y="274"/>
                    <a:pt x="111" y="274"/>
                  </a:cubicBezTo>
                  <a:cubicBezTo>
                    <a:pt x="110" y="273"/>
                    <a:pt x="109" y="273"/>
                    <a:pt x="107" y="272"/>
                  </a:cubicBezTo>
                  <a:cubicBezTo>
                    <a:pt x="109" y="271"/>
                    <a:pt x="110" y="270"/>
                    <a:pt x="111" y="270"/>
                  </a:cubicBezTo>
                  <a:cubicBezTo>
                    <a:pt x="112" y="270"/>
                    <a:pt x="113" y="271"/>
                    <a:pt x="115" y="272"/>
                  </a:cubicBezTo>
                  <a:cubicBezTo>
                    <a:pt x="117" y="274"/>
                    <a:pt x="119" y="275"/>
                    <a:pt x="120" y="277"/>
                  </a:cubicBezTo>
                  <a:cubicBezTo>
                    <a:pt x="121" y="279"/>
                    <a:pt x="120" y="281"/>
                    <a:pt x="121" y="281"/>
                  </a:cubicBezTo>
                  <a:cubicBezTo>
                    <a:pt x="121" y="281"/>
                    <a:pt x="122" y="281"/>
                    <a:pt x="123" y="280"/>
                  </a:cubicBezTo>
                  <a:cubicBezTo>
                    <a:pt x="125" y="279"/>
                    <a:pt x="124" y="279"/>
                    <a:pt x="125" y="276"/>
                  </a:cubicBezTo>
                  <a:cubicBezTo>
                    <a:pt x="126" y="273"/>
                    <a:pt x="131" y="273"/>
                    <a:pt x="133" y="271"/>
                  </a:cubicBezTo>
                  <a:cubicBezTo>
                    <a:pt x="135" y="269"/>
                    <a:pt x="135" y="268"/>
                    <a:pt x="137" y="268"/>
                  </a:cubicBezTo>
                  <a:cubicBezTo>
                    <a:pt x="138" y="268"/>
                    <a:pt x="141" y="268"/>
                    <a:pt x="142" y="267"/>
                  </a:cubicBezTo>
                  <a:cubicBezTo>
                    <a:pt x="144" y="266"/>
                    <a:pt x="145" y="264"/>
                    <a:pt x="146" y="264"/>
                  </a:cubicBezTo>
                  <a:cubicBezTo>
                    <a:pt x="146" y="264"/>
                    <a:pt x="146" y="264"/>
                    <a:pt x="146" y="264"/>
                  </a:cubicBezTo>
                  <a:cubicBezTo>
                    <a:pt x="147" y="265"/>
                    <a:pt x="149" y="266"/>
                    <a:pt x="150" y="266"/>
                  </a:cubicBezTo>
                  <a:cubicBezTo>
                    <a:pt x="151" y="266"/>
                    <a:pt x="152" y="266"/>
                    <a:pt x="152" y="265"/>
                  </a:cubicBezTo>
                  <a:cubicBezTo>
                    <a:pt x="156" y="264"/>
                    <a:pt x="156" y="259"/>
                    <a:pt x="160" y="259"/>
                  </a:cubicBezTo>
                  <a:cubicBezTo>
                    <a:pt x="160" y="259"/>
                    <a:pt x="160" y="259"/>
                    <a:pt x="161" y="259"/>
                  </a:cubicBezTo>
                  <a:cubicBezTo>
                    <a:pt x="161" y="259"/>
                    <a:pt x="161" y="259"/>
                    <a:pt x="161" y="259"/>
                  </a:cubicBezTo>
                  <a:cubicBezTo>
                    <a:pt x="161" y="259"/>
                    <a:pt x="162" y="259"/>
                    <a:pt x="162" y="259"/>
                  </a:cubicBezTo>
                  <a:cubicBezTo>
                    <a:pt x="162" y="259"/>
                    <a:pt x="162" y="259"/>
                    <a:pt x="162" y="259"/>
                  </a:cubicBezTo>
                  <a:cubicBezTo>
                    <a:pt x="162" y="259"/>
                    <a:pt x="162" y="260"/>
                    <a:pt x="163" y="261"/>
                  </a:cubicBezTo>
                  <a:cubicBezTo>
                    <a:pt x="163" y="263"/>
                    <a:pt x="164" y="262"/>
                    <a:pt x="165" y="263"/>
                  </a:cubicBezTo>
                  <a:cubicBezTo>
                    <a:pt x="167" y="266"/>
                    <a:pt x="168" y="267"/>
                    <a:pt x="165" y="269"/>
                  </a:cubicBezTo>
                  <a:cubicBezTo>
                    <a:pt x="162" y="272"/>
                    <a:pt x="160" y="273"/>
                    <a:pt x="156" y="275"/>
                  </a:cubicBezTo>
                  <a:cubicBezTo>
                    <a:pt x="156" y="275"/>
                    <a:pt x="156" y="275"/>
                    <a:pt x="156" y="275"/>
                  </a:cubicBezTo>
                  <a:cubicBezTo>
                    <a:pt x="155" y="275"/>
                    <a:pt x="155" y="275"/>
                    <a:pt x="155" y="274"/>
                  </a:cubicBezTo>
                  <a:cubicBezTo>
                    <a:pt x="154" y="274"/>
                    <a:pt x="154" y="274"/>
                    <a:pt x="154" y="274"/>
                  </a:cubicBezTo>
                  <a:cubicBezTo>
                    <a:pt x="153" y="274"/>
                    <a:pt x="153" y="274"/>
                    <a:pt x="153" y="275"/>
                  </a:cubicBezTo>
                  <a:cubicBezTo>
                    <a:pt x="152" y="276"/>
                    <a:pt x="153" y="278"/>
                    <a:pt x="154" y="279"/>
                  </a:cubicBezTo>
                  <a:cubicBezTo>
                    <a:pt x="154" y="279"/>
                    <a:pt x="155" y="279"/>
                    <a:pt x="155" y="279"/>
                  </a:cubicBezTo>
                  <a:cubicBezTo>
                    <a:pt x="155" y="279"/>
                    <a:pt x="155" y="279"/>
                    <a:pt x="156" y="279"/>
                  </a:cubicBezTo>
                  <a:cubicBezTo>
                    <a:pt x="156" y="279"/>
                    <a:pt x="157" y="278"/>
                    <a:pt x="157" y="278"/>
                  </a:cubicBezTo>
                  <a:cubicBezTo>
                    <a:pt x="157" y="278"/>
                    <a:pt x="157" y="278"/>
                    <a:pt x="158" y="279"/>
                  </a:cubicBezTo>
                  <a:cubicBezTo>
                    <a:pt x="158" y="279"/>
                    <a:pt x="159" y="282"/>
                    <a:pt x="160" y="283"/>
                  </a:cubicBezTo>
                  <a:cubicBezTo>
                    <a:pt x="161" y="284"/>
                    <a:pt x="163" y="284"/>
                    <a:pt x="164" y="286"/>
                  </a:cubicBezTo>
                  <a:cubicBezTo>
                    <a:pt x="164" y="288"/>
                    <a:pt x="163" y="290"/>
                    <a:pt x="164" y="292"/>
                  </a:cubicBezTo>
                  <a:cubicBezTo>
                    <a:pt x="164" y="293"/>
                    <a:pt x="165" y="295"/>
                    <a:pt x="166" y="296"/>
                  </a:cubicBezTo>
                  <a:cubicBezTo>
                    <a:pt x="168" y="301"/>
                    <a:pt x="168" y="303"/>
                    <a:pt x="164" y="306"/>
                  </a:cubicBezTo>
                  <a:cubicBezTo>
                    <a:pt x="163" y="308"/>
                    <a:pt x="162" y="310"/>
                    <a:pt x="160" y="311"/>
                  </a:cubicBezTo>
                  <a:cubicBezTo>
                    <a:pt x="158" y="312"/>
                    <a:pt x="155" y="312"/>
                    <a:pt x="152" y="312"/>
                  </a:cubicBezTo>
                  <a:cubicBezTo>
                    <a:pt x="149" y="312"/>
                    <a:pt x="145" y="312"/>
                    <a:pt x="143" y="312"/>
                  </a:cubicBezTo>
                  <a:cubicBezTo>
                    <a:pt x="142" y="312"/>
                    <a:pt x="140" y="312"/>
                    <a:pt x="139" y="312"/>
                  </a:cubicBezTo>
                  <a:cubicBezTo>
                    <a:pt x="138" y="312"/>
                    <a:pt x="137" y="312"/>
                    <a:pt x="135" y="312"/>
                  </a:cubicBezTo>
                  <a:cubicBezTo>
                    <a:pt x="135" y="312"/>
                    <a:pt x="134" y="311"/>
                    <a:pt x="133" y="311"/>
                  </a:cubicBezTo>
                  <a:cubicBezTo>
                    <a:pt x="133" y="311"/>
                    <a:pt x="133" y="311"/>
                    <a:pt x="132" y="311"/>
                  </a:cubicBezTo>
                  <a:cubicBezTo>
                    <a:pt x="131" y="312"/>
                    <a:pt x="129" y="316"/>
                    <a:pt x="128" y="318"/>
                  </a:cubicBezTo>
                  <a:cubicBezTo>
                    <a:pt x="127" y="319"/>
                    <a:pt x="126" y="321"/>
                    <a:pt x="124" y="322"/>
                  </a:cubicBezTo>
                  <a:cubicBezTo>
                    <a:pt x="123" y="322"/>
                    <a:pt x="122" y="323"/>
                    <a:pt x="121" y="323"/>
                  </a:cubicBezTo>
                  <a:cubicBezTo>
                    <a:pt x="119" y="324"/>
                    <a:pt x="120" y="324"/>
                    <a:pt x="119" y="325"/>
                  </a:cubicBezTo>
                  <a:cubicBezTo>
                    <a:pt x="116" y="328"/>
                    <a:pt x="113" y="329"/>
                    <a:pt x="110" y="329"/>
                  </a:cubicBezTo>
                  <a:cubicBezTo>
                    <a:pt x="107" y="329"/>
                    <a:pt x="104" y="328"/>
                    <a:pt x="101" y="325"/>
                  </a:cubicBezTo>
                  <a:cubicBezTo>
                    <a:pt x="99" y="323"/>
                    <a:pt x="98" y="323"/>
                    <a:pt x="95" y="322"/>
                  </a:cubicBezTo>
                  <a:cubicBezTo>
                    <a:pt x="95" y="322"/>
                    <a:pt x="94" y="322"/>
                    <a:pt x="94" y="322"/>
                  </a:cubicBezTo>
                  <a:cubicBezTo>
                    <a:pt x="89" y="322"/>
                    <a:pt x="84" y="325"/>
                    <a:pt x="79" y="326"/>
                  </a:cubicBezTo>
                  <a:cubicBezTo>
                    <a:pt x="81" y="327"/>
                    <a:pt x="84" y="328"/>
                    <a:pt x="85" y="330"/>
                  </a:cubicBezTo>
                  <a:cubicBezTo>
                    <a:pt x="84" y="330"/>
                    <a:pt x="83" y="330"/>
                    <a:pt x="82" y="330"/>
                  </a:cubicBezTo>
                  <a:cubicBezTo>
                    <a:pt x="82" y="330"/>
                    <a:pt x="81" y="330"/>
                    <a:pt x="81" y="330"/>
                  </a:cubicBezTo>
                  <a:cubicBezTo>
                    <a:pt x="80" y="330"/>
                    <a:pt x="80" y="330"/>
                    <a:pt x="79" y="330"/>
                  </a:cubicBezTo>
                  <a:cubicBezTo>
                    <a:pt x="77" y="330"/>
                    <a:pt x="75" y="330"/>
                    <a:pt x="74" y="333"/>
                  </a:cubicBezTo>
                  <a:cubicBezTo>
                    <a:pt x="73" y="335"/>
                    <a:pt x="72" y="337"/>
                    <a:pt x="72" y="339"/>
                  </a:cubicBezTo>
                  <a:cubicBezTo>
                    <a:pt x="73" y="343"/>
                    <a:pt x="73" y="344"/>
                    <a:pt x="74" y="344"/>
                  </a:cubicBezTo>
                  <a:cubicBezTo>
                    <a:pt x="76" y="344"/>
                    <a:pt x="78" y="340"/>
                    <a:pt x="81" y="340"/>
                  </a:cubicBezTo>
                  <a:cubicBezTo>
                    <a:pt x="79" y="343"/>
                    <a:pt x="77" y="345"/>
                    <a:pt x="75" y="348"/>
                  </a:cubicBezTo>
                  <a:cubicBezTo>
                    <a:pt x="74" y="349"/>
                    <a:pt x="74" y="349"/>
                    <a:pt x="74" y="349"/>
                  </a:cubicBezTo>
                  <a:cubicBezTo>
                    <a:pt x="74" y="349"/>
                    <a:pt x="74" y="348"/>
                    <a:pt x="73" y="348"/>
                  </a:cubicBezTo>
                  <a:cubicBezTo>
                    <a:pt x="72" y="348"/>
                    <a:pt x="71" y="348"/>
                    <a:pt x="70" y="348"/>
                  </a:cubicBezTo>
                  <a:cubicBezTo>
                    <a:pt x="69" y="348"/>
                    <a:pt x="68" y="348"/>
                    <a:pt x="66" y="350"/>
                  </a:cubicBezTo>
                  <a:cubicBezTo>
                    <a:pt x="62" y="353"/>
                    <a:pt x="58" y="357"/>
                    <a:pt x="54" y="362"/>
                  </a:cubicBezTo>
                  <a:cubicBezTo>
                    <a:pt x="52" y="365"/>
                    <a:pt x="52" y="367"/>
                    <a:pt x="54" y="371"/>
                  </a:cubicBezTo>
                  <a:cubicBezTo>
                    <a:pt x="55" y="374"/>
                    <a:pt x="46" y="373"/>
                    <a:pt x="44" y="373"/>
                  </a:cubicBezTo>
                  <a:cubicBezTo>
                    <a:pt x="46" y="375"/>
                    <a:pt x="49" y="376"/>
                    <a:pt x="51" y="378"/>
                  </a:cubicBezTo>
                  <a:cubicBezTo>
                    <a:pt x="49" y="379"/>
                    <a:pt x="47" y="380"/>
                    <a:pt x="44" y="380"/>
                  </a:cubicBezTo>
                  <a:cubicBezTo>
                    <a:pt x="44" y="380"/>
                    <a:pt x="43" y="380"/>
                    <a:pt x="42" y="379"/>
                  </a:cubicBezTo>
                  <a:cubicBezTo>
                    <a:pt x="41" y="383"/>
                    <a:pt x="43" y="383"/>
                    <a:pt x="47" y="383"/>
                  </a:cubicBezTo>
                  <a:cubicBezTo>
                    <a:pt x="47" y="383"/>
                    <a:pt x="47" y="383"/>
                    <a:pt x="47" y="383"/>
                  </a:cubicBezTo>
                  <a:cubicBezTo>
                    <a:pt x="47" y="383"/>
                    <a:pt x="47" y="383"/>
                    <a:pt x="48" y="383"/>
                  </a:cubicBezTo>
                  <a:cubicBezTo>
                    <a:pt x="48" y="383"/>
                    <a:pt x="48" y="383"/>
                    <a:pt x="49" y="383"/>
                  </a:cubicBezTo>
                  <a:cubicBezTo>
                    <a:pt x="49" y="383"/>
                    <a:pt x="50" y="383"/>
                    <a:pt x="50" y="383"/>
                  </a:cubicBezTo>
                  <a:cubicBezTo>
                    <a:pt x="52" y="385"/>
                    <a:pt x="49" y="386"/>
                    <a:pt x="49" y="387"/>
                  </a:cubicBezTo>
                  <a:cubicBezTo>
                    <a:pt x="47" y="392"/>
                    <a:pt x="54" y="390"/>
                    <a:pt x="55" y="392"/>
                  </a:cubicBezTo>
                  <a:cubicBezTo>
                    <a:pt x="56" y="394"/>
                    <a:pt x="54" y="396"/>
                    <a:pt x="55" y="398"/>
                  </a:cubicBezTo>
                  <a:cubicBezTo>
                    <a:pt x="56" y="399"/>
                    <a:pt x="59" y="399"/>
                    <a:pt x="61" y="399"/>
                  </a:cubicBezTo>
                  <a:cubicBezTo>
                    <a:pt x="61" y="399"/>
                    <a:pt x="61" y="399"/>
                    <a:pt x="61" y="399"/>
                  </a:cubicBezTo>
                  <a:cubicBezTo>
                    <a:pt x="61" y="398"/>
                    <a:pt x="61" y="395"/>
                    <a:pt x="61" y="394"/>
                  </a:cubicBezTo>
                  <a:cubicBezTo>
                    <a:pt x="62" y="393"/>
                    <a:pt x="64" y="394"/>
                    <a:pt x="64" y="392"/>
                  </a:cubicBezTo>
                  <a:cubicBezTo>
                    <a:pt x="65" y="394"/>
                    <a:pt x="62" y="394"/>
                    <a:pt x="61" y="395"/>
                  </a:cubicBezTo>
                  <a:cubicBezTo>
                    <a:pt x="63" y="396"/>
                    <a:pt x="64" y="396"/>
                    <a:pt x="66" y="397"/>
                  </a:cubicBezTo>
                  <a:cubicBezTo>
                    <a:pt x="66" y="395"/>
                    <a:pt x="67" y="395"/>
                    <a:pt x="68" y="394"/>
                  </a:cubicBezTo>
                  <a:cubicBezTo>
                    <a:pt x="67" y="396"/>
                    <a:pt x="66" y="397"/>
                    <a:pt x="65" y="398"/>
                  </a:cubicBezTo>
                  <a:cubicBezTo>
                    <a:pt x="66" y="398"/>
                    <a:pt x="69" y="399"/>
                    <a:pt x="71" y="399"/>
                  </a:cubicBezTo>
                  <a:cubicBezTo>
                    <a:pt x="72" y="399"/>
                    <a:pt x="74" y="398"/>
                    <a:pt x="74" y="398"/>
                  </a:cubicBezTo>
                  <a:cubicBezTo>
                    <a:pt x="73" y="400"/>
                    <a:pt x="70" y="399"/>
                    <a:pt x="71" y="402"/>
                  </a:cubicBezTo>
                  <a:cubicBezTo>
                    <a:pt x="70" y="402"/>
                    <a:pt x="70" y="402"/>
                    <a:pt x="70" y="402"/>
                  </a:cubicBezTo>
                  <a:cubicBezTo>
                    <a:pt x="68" y="402"/>
                    <a:pt x="66" y="402"/>
                    <a:pt x="65" y="403"/>
                  </a:cubicBezTo>
                  <a:cubicBezTo>
                    <a:pt x="66" y="404"/>
                    <a:pt x="67" y="404"/>
                    <a:pt x="68" y="404"/>
                  </a:cubicBezTo>
                  <a:cubicBezTo>
                    <a:pt x="69" y="404"/>
                    <a:pt x="69" y="404"/>
                    <a:pt x="70" y="404"/>
                  </a:cubicBezTo>
                  <a:cubicBezTo>
                    <a:pt x="70" y="404"/>
                    <a:pt x="71" y="404"/>
                    <a:pt x="71" y="404"/>
                  </a:cubicBezTo>
                  <a:cubicBezTo>
                    <a:pt x="72" y="404"/>
                    <a:pt x="72" y="404"/>
                    <a:pt x="72" y="404"/>
                  </a:cubicBezTo>
                  <a:cubicBezTo>
                    <a:pt x="73" y="404"/>
                    <a:pt x="74" y="405"/>
                    <a:pt x="75" y="405"/>
                  </a:cubicBezTo>
                  <a:cubicBezTo>
                    <a:pt x="75" y="405"/>
                    <a:pt x="75" y="405"/>
                    <a:pt x="75" y="405"/>
                  </a:cubicBezTo>
                  <a:cubicBezTo>
                    <a:pt x="75" y="405"/>
                    <a:pt x="76" y="405"/>
                    <a:pt x="76" y="405"/>
                  </a:cubicBezTo>
                  <a:cubicBezTo>
                    <a:pt x="76" y="405"/>
                    <a:pt x="77" y="405"/>
                    <a:pt x="77" y="405"/>
                  </a:cubicBezTo>
                  <a:cubicBezTo>
                    <a:pt x="77" y="405"/>
                    <a:pt x="77" y="405"/>
                    <a:pt x="77" y="405"/>
                  </a:cubicBezTo>
                  <a:cubicBezTo>
                    <a:pt x="79" y="405"/>
                    <a:pt x="80" y="407"/>
                    <a:pt x="82" y="407"/>
                  </a:cubicBezTo>
                  <a:cubicBezTo>
                    <a:pt x="83" y="407"/>
                    <a:pt x="83" y="407"/>
                    <a:pt x="84" y="407"/>
                  </a:cubicBezTo>
                  <a:cubicBezTo>
                    <a:pt x="85" y="407"/>
                    <a:pt x="86" y="407"/>
                    <a:pt x="88" y="407"/>
                  </a:cubicBezTo>
                  <a:cubicBezTo>
                    <a:pt x="89" y="407"/>
                    <a:pt x="90" y="407"/>
                    <a:pt x="91" y="407"/>
                  </a:cubicBezTo>
                  <a:cubicBezTo>
                    <a:pt x="92" y="407"/>
                    <a:pt x="92" y="407"/>
                    <a:pt x="93" y="407"/>
                  </a:cubicBezTo>
                  <a:cubicBezTo>
                    <a:pt x="94" y="407"/>
                    <a:pt x="94" y="406"/>
                    <a:pt x="95" y="405"/>
                  </a:cubicBezTo>
                  <a:cubicBezTo>
                    <a:pt x="96" y="405"/>
                    <a:pt x="98" y="403"/>
                    <a:pt x="98" y="403"/>
                  </a:cubicBezTo>
                  <a:cubicBezTo>
                    <a:pt x="99" y="403"/>
                    <a:pt x="99" y="403"/>
                    <a:pt x="99" y="403"/>
                  </a:cubicBezTo>
                  <a:cubicBezTo>
                    <a:pt x="100" y="403"/>
                    <a:pt x="100" y="403"/>
                    <a:pt x="100" y="404"/>
                  </a:cubicBezTo>
                  <a:cubicBezTo>
                    <a:pt x="100" y="405"/>
                    <a:pt x="102" y="405"/>
                    <a:pt x="103" y="405"/>
                  </a:cubicBezTo>
                  <a:cubicBezTo>
                    <a:pt x="102" y="407"/>
                    <a:pt x="101" y="407"/>
                    <a:pt x="100" y="407"/>
                  </a:cubicBezTo>
                  <a:cubicBezTo>
                    <a:pt x="99" y="407"/>
                    <a:pt x="99" y="407"/>
                    <a:pt x="98" y="407"/>
                  </a:cubicBezTo>
                  <a:cubicBezTo>
                    <a:pt x="98" y="407"/>
                    <a:pt x="98" y="407"/>
                    <a:pt x="97" y="407"/>
                  </a:cubicBezTo>
                  <a:cubicBezTo>
                    <a:pt x="96" y="407"/>
                    <a:pt x="96" y="407"/>
                    <a:pt x="95" y="407"/>
                  </a:cubicBezTo>
                  <a:cubicBezTo>
                    <a:pt x="97" y="408"/>
                    <a:pt x="104" y="408"/>
                    <a:pt x="106" y="411"/>
                  </a:cubicBezTo>
                  <a:cubicBezTo>
                    <a:pt x="107" y="413"/>
                    <a:pt x="102" y="417"/>
                    <a:pt x="99" y="417"/>
                  </a:cubicBezTo>
                  <a:cubicBezTo>
                    <a:pt x="98" y="417"/>
                    <a:pt x="98" y="417"/>
                    <a:pt x="98" y="417"/>
                  </a:cubicBezTo>
                  <a:cubicBezTo>
                    <a:pt x="95" y="416"/>
                    <a:pt x="97" y="410"/>
                    <a:pt x="94" y="410"/>
                  </a:cubicBezTo>
                  <a:cubicBezTo>
                    <a:pt x="93" y="410"/>
                    <a:pt x="93" y="410"/>
                    <a:pt x="93" y="410"/>
                  </a:cubicBezTo>
                  <a:cubicBezTo>
                    <a:pt x="91" y="411"/>
                    <a:pt x="91" y="413"/>
                    <a:pt x="90" y="413"/>
                  </a:cubicBezTo>
                  <a:cubicBezTo>
                    <a:pt x="89" y="414"/>
                    <a:pt x="87" y="414"/>
                    <a:pt x="86" y="415"/>
                  </a:cubicBezTo>
                  <a:cubicBezTo>
                    <a:pt x="85" y="416"/>
                    <a:pt x="84" y="418"/>
                    <a:pt x="83" y="418"/>
                  </a:cubicBezTo>
                  <a:cubicBezTo>
                    <a:pt x="83" y="417"/>
                    <a:pt x="84" y="416"/>
                    <a:pt x="85" y="415"/>
                  </a:cubicBezTo>
                  <a:cubicBezTo>
                    <a:pt x="87" y="414"/>
                    <a:pt x="87" y="414"/>
                    <a:pt x="87" y="414"/>
                  </a:cubicBezTo>
                  <a:cubicBezTo>
                    <a:pt x="88" y="411"/>
                    <a:pt x="86" y="410"/>
                    <a:pt x="83" y="409"/>
                  </a:cubicBezTo>
                  <a:cubicBezTo>
                    <a:pt x="82" y="409"/>
                    <a:pt x="79" y="409"/>
                    <a:pt x="77" y="409"/>
                  </a:cubicBezTo>
                  <a:cubicBezTo>
                    <a:pt x="76" y="408"/>
                    <a:pt x="76" y="406"/>
                    <a:pt x="75" y="406"/>
                  </a:cubicBezTo>
                  <a:cubicBezTo>
                    <a:pt x="75" y="406"/>
                    <a:pt x="75" y="406"/>
                    <a:pt x="75" y="406"/>
                  </a:cubicBezTo>
                  <a:cubicBezTo>
                    <a:pt x="75" y="406"/>
                    <a:pt x="74" y="406"/>
                    <a:pt x="74" y="406"/>
                  </a:cubicBezTo>
                  <a:cubicBezTo>
                    <a:pt x="74" y="407"/>
                    <a:pt x="73" y="407"/>
                    <a:pt x="73" y="407"/>
                  </a:cubicBezTo>
                  <a:cubicBezTo>
                    <a:pt x="73" y="407"/>
                    <a:pt x="73" y="407"/>
                    <a:pt x="73" y="407"/>
                  </a:cubicBezTo>
                  <a:cubicBezTo>
                    <a:pt x="72" y="407"/>
                    <a:pt x="72" y="405"/>
                    <a:pt x="71" y="405"/>
                  </a:cubicBezTo>
                  <a:cubicBezTo>
                    <a:pt x="71" y="405"/>
                    <a:pt x="71" y="405"/>
                    <a:pt x="71" y="405"/>
                  </a:cubicBezTo>
                  <a:cubicBezTo>
                    <a:pt x="70" y="406"/>
                    <a:pt x="71" y="408"/>
                    <a:pt x="71" y="409"/>
                  </a:cubicBezTo>
                  <a:cubicBezTo>
                    <a:pt x="71" y="410"/>
                    <a:pt x="69" y="410"/>
                    <a:pt x="69" y="410"/>
                  </a:cubicBezTo>
                  <a:cubicBezTo>
                    <a:pt x="68" y="411"/>
                    <a:pt x="70" y="412"/>
                    <a:pt x="69" y="413"/>
                  </a:cubicBezTo>
                  <a:cubicBezTo>
                    <a:pt x="67" y="416"/>
                    <a:pt x="62" y="416"/>
                    <a:pt x="60" y="418"/>
                  </a:cubicBezTo>
                  <a:cubicBezTo>
                    <a:pt x="61" y="419"/>
                    <a:pt x="64" y="419"/>
                    <a:pt x="66" y="419"/>
                  </a:cubicBezTo>
                  <a:cubicBezTo>
                    <a:pt x="66" y="419"/>
                    <a:pt x="66" y="419"/>
                    <a:pt x="66" y="419"/>
                  </a:cubicBezTo>
                  <a:cubicBezTo>
                    <a:pt x="67" y="419"/>
                    <a:pt x="68" y="418"/>
                    <a:pt x="69" y="418"/>
                  </a:cubicBezTo>
                  <a:cubicBezTo>
                    <a:pt x="69" y="418"/>
                    <a:pt x="69" y="418"/>
                    <a:pt x="69" y="418"/>
                  </a:cubicBezTo>
                  <a:cubicBezTo>
                    <a:pt x="71" y="419"/>
                    <a:pt x="67" y="421"/>
                    <a:pt x="67" y="421"/>
                  </a:cubicBezTo>
                  <a:cubicBezTo>
                    <a:pt x="67" y="423"/>
                    <a:pt x="66" y="422"/>
                    <a:pt x="68" y="423"/>
                  </a:cubicBezTo>
                  <a:cubicBezTo>
                    <a:pt x="69" y="425"/>
                    <a:pt x="73" y="426"/>
                    <a:pt x="75" y="426"/>
                  </a:cubicBezTo>
                  <a:cubicBezTo>
                    <a:pt x="75" y="427"/>
                    <a:pt x="75" y="427"/>
                    <a:pt x="76" y="427"/>
                  </a:cubicBezTo>
                  <a:cubicBezTo>
                    <a:pt x="76" y="427"/>
                    <a:pt x="76" y="426"/>
                    <a:pt x="76" y="426"/>
                  </a:cubicBezTo>
                  <a:cubicBezTo>
                    <a:pt x="77" y="426"/>
                    <a:pt x="77" y="426"/>
                    <a:pt x="77" y="426"/>
                  </a:cubicBezTo>
                  <a:cubicBezTo>
                    <a:pt x="78" y="426"/>
                    <a:pt x="78" y="426"/>
                    <a:pt x="78" y="427"/>
                  </a:cubicBezTo>
                  <a:cubicBezTo>
                    <a:pt x="82" y="431"/>
                    <a:pt x="85" y="438"/>
                    <a:pt x="89" y="442"/>
                  </a:cubicBezTo>
                  <a:cubicBezTo>
                    <a:pt x="91" y="444"/>
                    <a:pt x="96" y="444"/>
                    <a:pt x="99" y="444"/>
                  </a:cubicBezTo>
                  <a:cubicBezTo>
                    <a:pt x="99" y="444"/>
                    <a:pt x="99" y="444"/>
                    <a:pt x="99" y="444"/>
                  </a:cubicBezTo>
                  <a:cubicBezTo>
                    <a:pt x="102" y="444"/>
                    <a:pt x="123" y="442"/>
                    <a:pt x="122" y="437"/>
                  </a:cubicBezTo>
                  <a:cubicBezTo>
                    <a:pt x="123" y="438"/>
                    <a:pt x="124" y="438"/>
                    <a:pt x="124" y="438"/>
                  </a:cubicBezTo>
                  <a:cubicBezTo>
                    <a:pt x="126" y="438"/>
                    <a:pt x="128" y="437"/>
                    <a:pt x="128" y="435"/>
                  </a:cubicBezTo>
                  <a:cubicBezTo>
                    <a:pt x="129" y="431"/>
                    <a:pt x="129" y="431"/>
                    <a:pt x="129" y="431"/>
                  </a:cubicBezTo>
                  <a:cubicBezTo>
                    <a:pt x="128" y="429"/>
                    <a:pt x="125" y="429"/>
                    <a:pt x="123" y="428"/>
                  </a:cubicBezTo>
                  <a:cubicBezTo>
                    <a:pt x="124" y="428"/>
                    <a:pt x="124" y="428"/>
                    <a:pt x="124" y="428"/>
                  </a:cubicBezTo>
                  <a:cubicBezTo>
                    <a:pt x="126" y="428"/>
                    <a:pt x="125" y="428"/>
                    <a:pt x="126" y="427"/>
                  </a:cubicBezTo>
                  <a:cubicBezTo>
                    <a:pt x="126" y="426"/>
                    <a:pt x="126" y="426"/>
                    <a:pt x="126" y="426"/>
                  </a:cubicBezTo>
                  <a:cubicBezTo>
                    <a:pt x="127" y="425"/>
                    <a:pt x="127" y="425"/>
                    <a:pt x="127" y="425"/>
                  </a:cubicBezTo>
                  <a:cubicBezTo>
                    <a:pt x="128" y="425"/>
                    <a:pt x="129" y="424"/>
                    <a:pt x="129" y="424"/>
                  </a:cubicBezTo>
                  <a:cubicBezTo>
                    <a:pt x="130" y="424"/>
                    <a:pt x="129" y="423"/>
                    <a:pt x="129" y="422"/>
                  </a:cubicBezTo>
                  <a:cubicBezTo>
                    <a:pt x="129" y="422"/>
                    <a:pt x="129" y="422"/>
                    <a:pt x="129" y="422"/>
                  </a:cubicBezTo>
                  <a:cubicBezTo>
                    <a:pt x="129" y="422"/>
                    <a:pt x="129" y="422"/>
                    <a:pt x="130" y="422"/>
                  </a:cubicBezTo>
                  <a:cubicBezTo>
                    <a:pt x="130" y="422"/>
                    <a:pt x="130" y="422"/>
                    <a:pt x="130" y="422"/>
                  </a:cubicBezTo>
                  <a:cubicBezTo>
                    <a:pt x="130" y="422"/>
                    <a:pt x="130" y="422"/>
                    <a:pt x="130" y="422"/>
                  </a:cubicBezTo>
                  <a:cubicBezTo>
                    <a:pt x="131" y="421"/>
                    <a:pt x="132" y="418"/>
                    <a:pt x="132" y="417"/>
                  </a:cubicBezTo>
                  <a:cubicBezTo>
                    <a:pt x="134" y="415"/>
                    <a:pt x="137" y="415"/>
                    <a:pt x="136" y="412"/>
                  </a:cubicBezTo>
                  <a:cubicBezTo>
                    <a:pt x="137" y="413"/>
                    <a:pt x="137" y="413"/>
                    <a:pt x="138" y="413"/>
                  </a:cubicBezTo>
                  <a:cubicBezTo>
                    <a:pt x="139" y="413"/>
                    <a:pt x="140" y="413"/>
                    <a:pt x="141" y="413"/>
                  </a:cubicBezTo>
                  <a:cubicBezTo>
                    <a:pt x="140" y="415"/>
                    <a:pt x="137" y="414"/>
                    <a:pt x="135" y="416"/>
                  </a:cubicBezTo>
                  <a:cubicBezTo>
                    <a:pt x="133" y="418"/>
                    <a:pt x="133" y="421"/>
                    <a:pt x="132" y="423"/>
                  </a:cubicBezTo>
                  <a:cubicBezTo>
                    <a:pt x="131" y="423"/>
                    <a:pt x="129" y="427"/>
                    <a:pt x="129" y="427"/>
                  </a:cubicBezTo>
                  <a:cubicBezTo>
                    <a:pt x="129" y="427"/>
                    <a:pt x="129" y="427"/>
                    <a:pt x="129" y="427"/>
                  </a:cubicBezTo>
                  <a:cubicBezTo>
                    <a:pt x="129" y="428"/>
                    <a:pt x="131" y="430"/>
                    <a:pt x="132" y="431"/>
                  </a:cubicBezTo>
                  <a:cubicBezTo>
                    <a:pt x="132" y="432"/>
                    <a:pt x="132" y="432"/>
                    <a:pt x="132" y="432"/>
                  </a:cubicBezTo>
                  <a:cubicBezTo>
                    <a:pt x="132" y="432"/>
                    <a:pt x="133" y="430"/>
                    <a:pt x="133" y="429"/>
                  </a:cubicBezTo>
                  <a:cubicBezTo>
                    <a:pt x="133" y="430"/>
                    <a:pt x="134" y="430"/>
                    <a:pt x="134" y="430"/>
                  </a:cubicBezTo>
                  <a:cubicBezTo>
                    <a:pt x="134" y="430"/>
                    <a:pt x="135" y="429"/>
                    <a:pt x="135" y="429"/>
                  </a:cubicBezTo>
                  <a:cubicBezTo>
                    <a:pt x="135" y="432"/>
                    <a:pt x="135" y="434"/>
                    <a:pt x="136" y="437"/>
                  </a:cubicBezTo>
                  <a:cubicBezTo>
                    <a:pt x="136" y="438"/>
                    <a:pt x="137" y="439"/>
                    <a:pt x="137" y="441"/>
                  </a:cubicBezTo>
                  <a:cubicBezTo>
                    <a:pt x="137" y="442"/>
                    <a:pt x="139" y="444"/>
                    <a:pt x="140" y="445"/>
                  </a:cubicBezTo>
                  <a:cubicBezTo>
                    <a:pt x="141" y="446"/>
                    <a:pt x="141" y="448"/>
                    <a:pt x="142" y="450"/>
                  </a:cubicBezTo>
                  <a:cubicBezTo>
                    <a:pt x="143" y="451"/>
                    <a:pt x="144" y="452"/>
                    <a:pt x="145" y="453"/>
                  </a:cubicBezTo>
                  <a:cubicBezTo>
                    <a:pt x="146" y="456"/>
                    <a:pt x="143" y="456"/>
                    <a:pt x="141" y="458"/>
                  </a:cubicBezTo>
                  <a:cubicBezTo>
                    <a:pt x="138" y="461"/>
                    <a:pt x="138" y="463"/>
                    <a:pt x="140" y="467"/>
                  </a:cubicBezTo>
                  <a:cubicBezTo>
                    <a:pt x="140" y="469"/>
                    <a:pt x="141" y="469"/>
                    <a:pt x="142" y="469"/>
                  </a:cubicBezTo>
                  <a:cubicBezTo>
                    <a:pt x="143" y="469"/>
                    <a:pt x="144" y="469"/>
                    <a:pt x="144" y="468"/>
                  </a:cubicBezTo>
                  <a:cubicBezTo>
                    <a:pt x="145" y="468"/>
                    <a:pt x="146" y="467"/>
                    <a:pt x="147" y="467"/>
                  </a:cubicBezTo>
                  <a:cubicBezTo>
                    <a:pt x="148" y="467"/>
                    <a:pt x="148" y="467"/>
                    <a:pt x="149" y="468"/>
                  </a:cubicBezTo>
                  <a:cubicBezTo>
                    <a:pt x="148" y="468"/>
                    <a:pt x="143" y="469"/>
                    <a:pt x="143" y="470"/>
                  </a:cubicBezTo>
                  <a:cubicBezTo>
                    <a:pt x="142" y="471"/>
                    <a:pt x="144" y="473"/>
                    <a:pt x="144" y="474"/>
                  </a:cubicBezTo>
                  <a:cubicBezTo>
                    <a:pt x="144" y="475"/>
                    <a:pt x="145" y="478"/>
                    <a:pt x="144" y="479"/>
                  </a:cubicBezTo>
                  <a:cubicBezTo>
                    <a:pt x="145" y="478"/>
                    <a:pt x="146" y="478"/>
                    <a:pt x="146" y="478"/>
                  </a:cubicBezTo>
                  <a:cubicBezTo>
                    <a:pt x="147" y="478"/>
                    <a:pt x="147" y="479"/>
                    <a:pt x="146" y="479"/>
                  </a:cubicBezTo>
                  <a:cubicBezTo>
                    <a:pt x="143" y="481"/>
                    <a:pt x="139" y="482"/>
                    <a:pt x="135" y="484"/>
                  </a:cubicBezTo>
                  <a:cubicBezTo>
                    <a:pt x="136" y="484"/>
                    <a:pt x="137" y="484"/>
                    <a:pt x="138" y="484"/>
                  </a:cubicBezTo>
                  <a:cubicBezTo>
                    <a:pt x="139" y="484"/>
                    <a:pt x="139" y="484"/>
                    <a:pt x="139" y="484"/>
                  </a:cubicBezTo>
                  <a:cubicBezTo>
                    <a:pt x="140" y="484"/>
                    <a:pt x="140" y="484"/>
                    <a:pt x="140" y="484"/>
                  </a:cubicBezTo>
                  <a:cubicBezTo>
                    <a:pt x="142" y="484"/>
                    <a:pt x="144" y="484"/>
                    <a:pt x="145" y="485"/>
                  </a:cubicBezTo>
                  <a:cubicBezTo>
                    <a:pt x="145" y="485"/>
                    <a:pt x="145" y="484"/>
                    <a:pt x="145" y="484"/>
                  </a:cubicBezTo>
                  <a:cubicBezTo>
                    <a:pt x="146" y="485"/>
                    <a:pt x="146" y="486"/>
                    <a:pt x="146" y="486"/>
                  </a:cubicBezTo>
                  <a:cubicBezTo>
                    <a:pt x="147" y="485"/>
                    <a:pt x="150" y="485"/>
                    <a:pt x="152" y="484"/>
                  </a:cubicBezTo>
                  <a:cubicBezTo>
                    <a:pt x="154" y="483"/>
                    <a:pt x="154" y="483"/>
                    <a:pt x="155" y="482"/>
                  </a:cubicBezTo>
                  <a:cubicBezTo>
                    <a:pt x="156" y="481"/>
                    <a:pt x="155" y="479"/>
                    <a:pt x="157" y="479"/>
                  </a:cubicBezTo>
                  <a:cubicBezTo>
                    <a:pt x="156" y="479"/>
                    <a:pt x="156" y="479"/>
                    <a:pt x="156" y="479"/>
                  </a:cubicBezTo>
                  <a:cubicBezTo>
                    <a:pt x="156" y="479"/>
                    <a:pt x="156" y="479"/>
                    <a:pt x="156" y="479"/>
                  </a:cubicBezTo>
                  <a:cubicBezTo>
                    <a:pt x="157" y="479"/>
                    <a:pt x="158" y="478"/>
                    <a:pt x="160" y="477"/>
                  </a:cubicBezTo>
                  <a:cubicBezTo>
                    <a:pt x="162" y="477"/>
                    <a:pt x="163" y="476"/>
                    <a:pt x="165" y="476"/>
                  </a:cubicBezTo>
                  <a:cubicBezTo>
                    <a:pt x="165" y="476"/>
                    <a:pt x="166" y="476"/>
                    <a:pt x="166" y="477"/>
                  </a:cubicBezTo>
                  <a:cubicBezTo>
                    <a:pt x="167" y="476"/>
                    <a:pt x="168" y="475"/>
                    <a:pt x="169" y="474"/>
                  </a:cubicBezTo>
                  <a:cubicBezTo>
                    <a:pt x="170" y="473"/>
                    <a:pt x="175" y="470"/>
                    <a:pt x="177" y="470"/>
                  </a:cubicBezTo>
                  <a:cubicBezTo>
                    <a:pt x="177" y="470"/>
                    <a:pt x="177" y="470"/>
                    <a:pt x="177" y="470"/>
                  </a:cubicBezTo>
                  <a:cubicBezTo>
                    <a:pt x="179" y="470"/>
                    <a:pt x="180" y="472"/>
                    <a:pt x="180" y="474"/>
                  </a:cubicBezTo>
                  <a:cubicBezTo>
                    <a:pt x="180" y="475"/>
                    <a:pt x="180" y="475"/>
                    <a:pt x="180" y="475"/>
                  </a:cubicBezTo>
                  <a:cubicBezTo>
                    <a:pt x="180" y="475"/>
                    <a:pt x="180" y="475"/>
                    <a:pt x="180" y="475"/>
                  </a:cubicBezTo>
                  <a:cubicBezTo>
                    <a:pt x="181" y="474"/>
                    <a:pt x="181" y="474"/>
                    <a:pt x="181" y="474"/>
                  </a:cubicBezTo>
                  <a:cubicBezTo>
                    <a:pt x="181" y="474"/>
                    <a:pt x="181" y="474"/>
                    <a:pt x="182" y="474"/>
                  </a:cubicBezTo>
                  <a:cubicBezTo>
                    <a:pt x="182" y="475"/>
                    <a:pt x="182" y="476"/>
                    <a:pt x="183" y="476"/>
                  </a:cubicBezTo>
                  <a:cubicBezTo>
                    <a:pt x="183" y="476"/>
                    <a:pt x="183" y="476"/>
                    <a:pt x="183" y="476"/>
                  </a:cubicBezTo>
                  <a:cubicBezTo>
                    <a:pt x="183" y="476"/>
                    <a:pt x="183" y="476"/>
                    <a:pt x="184" y="476"/>
                  </a:cubicBezTo>
                  <a:cubicBezTo>
                    <a:pt x="184" y="476"/>
                    <a:pt x="184" y="476"/>
                    <a:pt x="185" y="476"/>
                  </a:cubicBezTo>
                  <a:cubicBezTo>
                    <a:pt x="185" y="476"/>
                    <a:pt x="185" y="476"/>
                    <a:pt x="186" y="476"/>
                  </a:cubicBezTo>
                  <a:cubicBezTo>
                    <a:pt x="186" y="476"/>
                    <a:pt x="186" y="478"/>
                    <a:pt x="187" y="478"/>
                  </a:cubicBezTo>
                  <a:cubicBezTo>
                    <a:pt x="187" y="479"/>
                    <a:pt x="188" y="479"/>
                    <a:pt x="188" y="479"/>
                  </a:cubicBezTo>
                  <a:cubicBezTo>
                    <a:pt x="189" y="479"/>
                    <a:pt x="189" y="478"/>
                    <a:pt x="190" y="477"/>
                  </a:cubicBezTo>
                  <a:cubicBezTo>
                    <a:pt x="191" y="476"/>
                    <a:pt x="192" y="473"/>
                    <a:pt x="193" y="473"/>
                  </a:cubicBezTo>
                  <a:cubicBezTo>
                    <a:pt x="194" y="473"/>
                    <a:pt x="194" y="473"/>
                    <a:pt x="194" y="473"/>
                  </a:cubicBezTo>
                  <a:cubicBezTo>
                    <a:pt x="195" y="474"/>
                    <a:pt x="195" y="476"/>
                    <a:pt x="195" y="477"/>
                  </a:cubicBezTo>
                  <a:cubicBezTo>
                    <a:pt x="195" y="477"/>
                    <a:pt x="197" y="478"/>
                    <a:pt x="197" y="478"/>
                  </a:cubicBezTo>
                  <a:cubicBezTo>
                    <a:pt x="202" y="482"/>
                    <a:pt x="205" y="490"/>
                    <a:pt x="210" y="492"/>
                  </a:cubicBezTo>
                  <a:cubicBezTo>
                    <a:pt x="210" y="492"/>
                    <a:pt x="211" y="492"/>
                    <a:pt x="211" y="492"/>
                  </a:cubicBezTo>
                  <a:cubicBezTo>
                    <a:pt x="213" y="492"/>
                    <a:pt x="214" y="491"/>
                    <a:pt x="215" y="490"/>
                  </a:cubicBezTo>
                  <a:cubicBezTo>
                    <a:pt x="216" y="488"/>
                    <a:pt x="214" y="487"/>
                    <a:pt x="212" y="485"/>
                  </a:cubicBezTo>
                  <a:cubicBezTo>
                    <a:pt x="212" y="483"/>
                    <a:pt x="211" y="481"/>
                    <a:pt x="211" y="480"/>
                  </a:cubicBezTo>
                  <a:cubicBezTo>
                    <a:pt x="211" y="477"/>
                    <a:pt x="216" y="476"/>
                    <a:pt x="213" y="473"/>
                  </a:cubicBezTo>
                  <a:cubicBezTo>
                    <a:pt x="215" y="474"/>
                    <a:pt x="214" y="476"/>
                    <a:pt x="215" y="476"/>
                  </a:cubicBezTo>
                  <a:cubicBezTo>
                    <a:pt x="215" y="476"/>
                    <a:pt x="216" y="476"/>
                    <a:pt x="216" y="475"/>
                  </a:cubicBezTo>
                  <a:cubicBezTo>
                    <a:pt x="217" y="475"/>
                    <a:pt x="218" y="474"/>
                    <a:pt x="219" y="473"/>
                  </a:cubicBezTo>
                  <a:cubicBezTo>
                    <a:pt x="219" y="472"/>
                    <a:pt x="221" y="470"/>
                    <a:pt x="221" y="470"/>
                  </a:cubicBezTo>
                  <a:cubicBezTo>
                    <a:pt x="221" y="469"/>
                    <a:pt x="222" y="469"/>
                    <a:pt x="220" y="468"/>
                  </a:cubicBezTo>
                  <a:cubicBezTo>
                    <a:pt x="219" y="467"/>
                    <a:pt x="219" y="467"/>
                    <a:pt x="219" y="466"/>
                  </a:cubicBezTo>
                  <a:cubicBezTo>
                    <a:pt x="222" y="469"/>
                    <a:pt x="223" y="469"/>
                    <a:pt x="226" y="470"/>
                  </a:cubicBezTo>
                  <a:cubicBezTo>
                    <a:pt x="229" y="471"/>
                    <a:pt x="231" y="471"/>
                    <a:pt x="231" y="474"/>
                  </a:cubicBezTo>
                  <a:cubicBezTo>
                    <a:pt x="229" y="472"/>
                    <a:pt x="227" y="471"/>
                    <a:pt x="224" y="471"/>
                  </a:cubicBezTo>
                  <a:cubicBezTo>
                    <a:pt x="224" y="471"/>
                    <a:pt x="224" y="471"/>
                    <a:pt x="224" y="471"/>
                  </a:cubicBezTo>
                  <a:cubicBezTo>
                    <a:pt x="223" y="471"/>
                    <a:pt x="221" y="471"/>
                    <a:pt x="220" y="472"/>
                  </a:cubicBezTo>
                  <a:cubicBezTo>
                    <a:pt x="220" y="474"/>
                    <a:pt x="219" y="476"/>
                    <a:pt x="219" y="478"/>
                  </a:cubicBezTo>
                  <a:cubicBezTo>
                    <a:pt x="219" y="479"/>
                    <a:pt x="220" y="479"/>
                    <a:pt x="221" y="479"/>
                  </a:cubicBezTo>
                  <a:cubicBezTo>
                    <a:pt x="222" y="480"/>
                    <a:pt x="223" y="479"/>
                    <a:pt x="223" y="480"/>
                  </a:cubicBezTo>
                  <a:cubicBezTo>
                    <a:pt x="224" y="481"/>
                    <a:pt x="224" y="482"/>
                    <a:pt x="224" y="483"/>
                  </a:cubicBezTo>
                  <a:cubicBezTo>
                    <a:pt x="225" y="484"/>
                    <a:pt x="226" y="485"/>
                    <a:pt x="228" y="485"/>
                  </a:cubicBezTo>
                  <a:cubicBezTo>
                    <a:pt x="228" y="485"/>
                    <a:pt x="228" y="485"/>
                    <a:pt x="228" y="485"/>
                  </a:cubicBezTo>
                  <a:cubicBezTo>
                    <a:pt x="231" y="485"/>
                    <a:pt x="235" y="482"/>
                    <a:pt x="238" y="481"/>
                  </a:cubicBezTo>
                  <a:cubicBezTo>
                    <a:pt x="242" y="479"/>
                    <a:pt x="246" y="478"/>
                    <a:pt x="249" y="477"/>
                  </a:cubicBezTo>
                  <a:cubicBezTo>
                    <a:pt x="253" y="476"/>
                    <a:pt x="254" y="473"/>
                    <a:pt x="257" y="472"/>
                  </a:cubicBezTo>
                  <a:cubicBezTo>
                    <a:pt x="256" y="474"/>
                    <a:pt x="252" y="481"/>
                    <a:pt x="255" y="481"/>
                  </a:cubicBezTo>
                  <a:cubicBezTo>
                    <a:pt x="255" y="481"/>
                    <a:pt x="256" y="481"/>
                    <a:pt x="256" y="481"/>
                  </a:cubicBezTo>
                  <a:cubicBezTo>
                    <a:pt x="252" y="485"/>
                    <a:pt x="248" y="489"/>
                    <a:pt x="244" y="493"/>
                  </a:cubicBezTo>
                  <a:cubicBezTo>
                    <a:pt x="242" y="494"/>
                    <a:pt x="241" y="496"/>
                    <a:pt x="243" y="497"/>
                  </a:cubicBezTo>
                  <a:cubicBezTo>
                    <a:pt x="244" y="498"/>
                    <a:pt x="245" y="498"/>
                    <a:pt x="247" y="498"/>
                  </a:cubicBezTo>
                  <a:cubicBezTo>
                    <a:pt x="247" y="498"/>
                    <a:pt x="247" y="498"/>
                    <a:pt x="247" y="498"/>
                  </a:cubicBezTo>
                  <a:cubicBezTo>
                    <a:pt x="249" y="498"/>
                    <a:pt x="251" y="498"/>
                    <a:pt x="252" y="500"/>
                  </a:cubicBezTo>
                  <a:cubicBezTo>
                    <a:pt x="250" y="500"/>
                    <a:pt x="248" y="499"/>
                    <a:pt x="247" y="499"/>
                  </a:cubicBezTo>
                  <a:cubicBezTo>
                    <a:pt x="244" y="499"/>
                    <a:pt x="242" y="501"/>
                    <a:pt x="241" y="505"/>
                  </a:cubicBezTo>
                  <a:cubicBezTo>
                    <a:pt x="240" y="508"/>
                    <a:pt x="240" y="510"/>
                    <a:pt x="240" y="512"/>
                  </a:cubicBezTo>
                  <a:cubicBezTo>
                    <a:pt x="239" y="513"/>
                    <a:pt x="239" y="514"/>
                    <a:pt x="239" y="516"/>
                  </a:cubicBezTo>
                  <a:cubicBezTo>
                    <a:pt x="239" y="518"/>
                    <a:pt x="239" y="517"/>
                    <a:pt x="240" y="519"/>
                  </a:cubicBezTo>
                  <a:cubicBezTo>
                    <a:pt x="240" y="519"/>
                    <a:pt x="243" y="520"/>
                    <a:pt x="241" y="521"/>
                  </a:cubicBezTo>
                  <a:cubicBezTo>
                    <a:pt x="241" y="522"/>
                    <a:pt x="241" y="522"/>
                    <a:pt x="241" y="522"/>
                  </a:cubicBezTo>
                  <a:cubicBezTo>
                    <a:pt x="240" y="522"/>
                    <a:pt x="239" y="521"/>
                    <a:pt x="239" y="520"/>
                  </a:cubicBezTo>
                  <a:cubicBezTo>
                    <a:pt x="235" y="520"/>
                    <a:pt x="229" y="527"/>
                    <a:pt x="226" y="529"/>
                  </a:cubicBezTo>
                  <a:cubicBezTo>
                    <a:pt x="223" y="532"/>
                    <a:pt x="219" y="534"/>
                    <a:pt x="217" y="537"/>
                  </a:cubicBezTo>
                  <a:cubicBezTo>
                    <a:pt x="215" y="541"/>
                    <a:pt x="217" y="543"/>
                    <a:pt x="217" y="547"/>
                  </a:cubicBezTo>
                  <a:cubicBezTo>
                    <a:pt x="217" y="547"/>
                    <a:pt x="217" y="547"/>
                    <a:pt x="217" y="547"/>
                  </a:cubicBezTo>
                  <a:cubicBezTo>
                    <a:pt x="215" y="547"/>
                    <a:pt x="214" y="546"/>
                    <a:pt x="213" y="546"/>
                  </a:cubicBezTo>
                  <a:cubicBezTo>
                    <a:pt x="212" y="545"/>
                    <a:pt x="210" y="544"/>
                    <a:pt x="209" y="544"/>
                  </a:cubicBezTo>
                  <a:cubicBezTo>
                    <a:pt x="209" y="544"/>
                    <a:pt x="209" y="544"/>
                    <a:pt x="209" y="544"/>
                  </a:cubicBezTo>
                  <a:cubicBezTo>
                    <a:pt x="210" y="544"/>
                    <a:pt x="211" y="543"/>
                    <a:pt x="212" y="542"/>
                  </a:cubicBezTo>
                  <a:cubicBezTo>
                    <a:pt x="204" y="547"/>
                    <a:pt x="195" y="552"/>
                    <a:pt x="187" y="557"/>
                  </a:cubicBezTo>
                  <a:cubicBezTo>
                    <a:pt x="183" y="560"/>
                    <a:pt x="177" y="562"/>
                    <a:pt x="175" y="566"/>
                  </a:cubicBezTo>
                  <a:cubicBezTo>
                    <a:pt x="175" y="567"/>
                    <a:pt x="174" y="569"/>
                    <a:pt x="173" y="570"/>
                  </a:cubicBezTo>
                  <a:cubicBezTo>
                    <a:pt x="173" y="571"/>
                    <a:pt x="172" y="572"/>
                    <a:pt x="172" y="572"/>
                  </a:cubicBezTo>
                  <a:cubicBezTo>
                    <a:pt x="172" y="572"/>
                    <a:pt x="173" y="573"/>
                    <a:pt x="172" y="574"/>
                  </a:cubicBezTo>
                  <a:cubicBezTo>
                    <a:pt x="173" y="574"/>
                    <a:pt x="173" y="574"/>
                    <a:pt x="173" y="574"/>
                  </a:cubicBezTo>
                  <a:cubicBezTo>
                    <a:pt x="175" y="574"/>
                    <a:pt x="178" y="576"/>
                    <a:pt x="180" y="577"/>
                  </a:cubicBezTo>
                  <a:cubicBezTo>
                    <a:pt x="179" y="578"/>
                    <a:pt x="178" y="579"/>
                    <a:pt x="180" y="579"/>
                  </a:cubicBezTo>
                  <a:cubicBezTo>
                    <a:pt x="176" y="578"/>
                    <a:pt x="172" y="577"/>
                    <a:pt x="168" y="576"/>
                  </a:cubicBezTo>
                  <a:cubicBezTo>
                    <a:pt x="167" y="579"/>
                    <a:pt x="171" y="580"/>
                    <a:pt x="170" y="582"/>
                  </a:cubicBezTo>
                  <a:cubicBezTo>
                    <a:pt x="167" y="581"/>
                    <a:pt x="165" y="579"/>
                    <a:pt x="164" y="577"/>
                  </a:cubicBezTo>
                  <a:cubicBezTo>
                    <a:pt x="163" y="576"/>
                    <a:pt x="163" y="576"/>
                    <a:pt x="163" y="576"/>
                  </a:cubicBezTo>
                  <a:cubicBezTo>
                    <a:pt x="163" y="576"/>
                    <a:pt x="163" y="576"/>
                    <a:pt x="163" y="576"/>
                  </a:cubicBezTo>
                  <a:cubicBezTo>
                    <a:pt x="163" y="576"/>
                    <a:pt x="163" y="576"/>
                    <a:pt x="163" y="576"/>
                  </a:cubicBezTo>
                  <a:cubicBezTo>
                    <a:pt x="162" y="576"/>
                    <a:pt x="162" y="576"/>
                    <a:pt x="162" y="576"/>
                  </a:cubicBezTo>
                  <a:cubicBezTo>
                    <a:pt x="162" y="576"/>
                    <a:pt x="162" y="576"/>
                    <a:pt x="162" y="575"/>
                  </a:cubicBezTo>
                  <a:cubicBezTo>
                    <a:pt x="162" y="573"/>
                    <a:pt x="165" y="574"/>
                    <a:pt x="165" y="573"/>
                  </a:cubicBezTo>
                  <a:cubicBezTo>
                    <a:pt x="166" y="572"/>
                    <a:pt x="163" y="572"/>
                    <a:pt x="160" y="572"/>
                  </a:cubicBezTo>
                  <a:cubicBezTo>
                    <a:pt x="160" y="572"/>
                    <a:pt x="160" y="572"/>
                    <a:pt x="159" y="572"/>
                  </a:cubicBezTo>
                  <a:cubicBezTo>
                    <a:pt x="159" y="572"/>
                    <a:pt x="158" y="572"/>
                    <a:pt x="158" y="572"/>
                  </a:cubicBezTo>
                  <a:cubicBezTo>
                    <a:pt x="158" y="572"/>
                    <a:pt x="158" y="572"/>
                    <a:pt x="157" y="572"/>
                  </a:cubicBezTo>
                  <a:cubicBezTo>
                    <a:pt x="158" y="572"/>
                    <a:pt x="158" y="572"/>
                    <a:pt x="158" y="572"/>
                  </a:cubicBezTo>
                  <a:cubicBezTo>
                    <a:pt x="149" y="575"/>
                    <a:pt x="139" y="578"/>
                    <a:pt x="132" y="584"/>
                  </a:cubicBezTo>
                  <a:cubicBezTo>
                    <a:pt x="127" y="588"/>
                    <a:pt x="121" y="593"/>
                    <a:pt x="116" y="597"/>
                  </a:cubicBezTo>
                  <a:cubicBezTo>
                    <a:pt x="115" y="598"/>
                    <a:pt x="115" y="598"/>
                    <a:pt x="114" y="598"/>
                  </a:cubicBezTo>
                  <a:cubicBezTo>
                    <a:pt x="114" y="598"/>
                    <a:pt x="114" y="598"/>
                    <a:pt x="115" y="597"/>
                  </a:cubicBezTo>
                  <a:cubicBezTo>
                    <a:pt x="114" y="598"/>
                    <a:pt x="112" y="598"/>
                    <a:pt x="110" y="599"/>
                  </a:cubicBezTo>
                  <a:cubicBezTo>
                    <a:pt x="109" y="601"/>
                    <a:pt x="109" y="600"/>
                    <a:pt x="109" y="602"/>
                  </a:cubicBezTo>
                  <a:cubicBezTo>
                    <a:pt x="109" y="603"/>
                    <a:pt x="110" y="605"/>
                    <a:pt x="110" y="606"/>
                  </a:cubicBezTo>
                  <a:cubicBezTo>
                    <a:pt x="109" y="607"/>
                    <a:pt x="108" y="609"/>
                    <a:pt x="108" y="610"/>
                  </a:cubicBezTo>
                  <a:cubicBezTo>
                    <a:pt x="109" y="609"/>
                    <a:pt x="111" y="607"/>
                    <a:pt x="113" y="605"/>
                  </a:cubicBezTo>
                  <a:cubicBezTo>
                    <a:pt x="111" y="604"/>
                    <a:pt x="110" y="602"/>
                    <a:pt x="111" y="601"/>
                  </a:cubicBezTo>
                  <a:cubicBezTo>
                    <a:pt x="111" y="600"/>
                    <a:pt x="112" y="600"/>
                    <a:pt x="112" y="600"/>
                  </a:cubicBezTo>
                  <a:cubicBezTo>
                    <a:pt x="114" y="600"/>
                    <a:pt x="116" y="603"/>
                    <a:pt x="118" y="604"/>
                  </a:cubicBezTo>
                  <a:cubicBezTo>
                    <a:pt x="115" y="606"/>
                    <a:pt x="118" y="606"/>
                    <a:pt x="121" y="606"/>
                  </a:cubicBezTo>
                  <a:cubicBezTo>
                    <a:pt x="124" y="606"/>
                    <a:pt x="126" y="606"/>
                    <a:pt x="126" y="606"/>
                  </a:cubicBezTo>
                  <a:cubicBezTo>
                    <a:pt x="126" y="604"/>
                    <a:pt x="125" y="603"/>
                    <a:pt x="125" y="602"/>
                  </a:cubicBezTo>
                  <a:cubicBezTo>
                    <a:pt x="125" y="600"/>
                    <a:pt x="125" y="600"/>
                    <a:pt x="125" y="600"/>
                  </a:cubicBezTo>
                  <a:cubicBezTo>
                    <a:pt x="125" y="599"/>
                    <a:pt x="125" y="599"/>
                    <a:pt x="125" y="599"/>
                  </a:cubicBezTo>
                  <a:cubicBezTo>
                    <a:pt x="124" y="598"/>
                    <a:pt x="124" y="598"/>
                    <a:pt x="124" y="598"/>
                  </a:cubicBezTo>
                  <a:cubicBezTo>
                    <a:pt x="123" y="598"/>
                    <a:pt x="122" y="598"/>
                    <a:pt x="122" y="597"/>
                  </a:cubicBezTo>
                  <a:cubicBezTo>
                    <a:pt x="122" y="596"/>
                    <a:pt x="123" y="595"/>
                    <a:pt x="123" y="595"/>
                  </a:cubicBezTo>
                  <a:cubicBezTo>
                    <a:pt x="125" y="595"/>
                    <a:pt x="130" y="601"/>
                    <a:pt x="131" y="601"/>
                  </a:cubicBezTo>
                  <a:cubicBezTo>
                    <a:pt x="130" y="602"/>
                    <a:pt x="129" y="602"/>
                    <a:pt x="128" y="603"/>
                  </a:cubicBezTo>
                  <a:cubicBezTo>
                    <a:pt x="129" y="603"/>
                    <a:pt x="132" y="604"/>
                    <a:pt x="132" y="604"/>
                  </a:cubicBezTo>
                  <a:cubicBezTo>
                    <a:pt x="132" y="604"/>
                    <a:pt x="132" y="604"/>
                    <a:pt x="132" y="604"/>
                  </a:cubicBezTo>
                  <a:cubicBezTo>
                    <a:pt x="134" y="603"/>
                    <a:pt x="134" y="601"/>
                    <a:pt x="135" y="601"/>
                  </a:cubicBezTo>
                  <a:cubicBezTo>
                    <a:pt x="135" y="601"/>
                    <a:pt x="135" y="600"/>
                    <a:pt x="135" y="600"/>
                  </a:cubicBezTo>
                  <a:cubicBezTo>
                    <a:pt x="136" y="600"/>
                    <a:pt x="136" y="601"/>
                    <a:pt x="136" y="601"/>
                  </a:cubicBezTo>
                  <a:cubicBezTo>
                    <a:pt x="137" y="601"/>
                    <a:pt x="137" y="602"/>
                    <a:pt x="137" y="602"/>
                  </a:cubicBezTo>
                  <a:cubicBezTo>
                    <a:pt x="138" y="602"/>
                    <a:pt x="138" y="602"/>
                    <a:pt x="138" y="602"/>
                  </a:cubicBezTo>
                  <a:cubicBezTo>
                    <a:pt x="139" y="601"/>
                    <a:pt x="138" y="598"/>
                    <a:pt x="138" y="598"/>
                  </a:cubicBezTo>
                  <a:cubicBezTo>
                    <a:pt x="139" y="597"/>
                    <a:pt x="140" y="596"/>
                    <a:pt x="142" y="595"/>
                  </a:cubicBezTo>
                  <a:cubicBezTo>
                    <a:pt x="143" y="594"/>
                    <a:pt x="145" y="593"/>
                    <a:pt x="145" y="592"/>
                  </a:cubicBezTo>
                  <a:cubicBezTo>
                    <a:pt x="147" y="590"/>
                    <a:pt x="145" y="588"/>
                    <a:pt x="147" y="586"/>
                  </a:cubicBezTo>
                  <a:cubicBezTo>
                    <a:pt x="148" y="585"/>
                    <a:pt x="149" y="585"/>
                    <a:pt x="151" y="585"/>
                  </a:cubicBezTo>
                  <a:cubicBezTo>
                    <a:pt x="152" y="585"/>
                    <a:pt x="154" y="585"/>
                    <a:pt x="155" y="586"/>
                  </a:cubicBezTo>
                  <a:cubicBezTo>
                    <a:pt x="156" y="586"/>
                    <a:pt x="158" y="587"/>
                    <a:pt x="159" y="587"/>
                  </a:cubicBezTo>
                  <a:cubicBezTo>
                    <a:pt x="157" y="587"/>
                    <a:pt x="156" y="587"/>
                    <a:pt x="155" y="587"/>
                  </a:cubicBezTo>
                  <a:cubicBezTo>
                    <a:pt x="154" y="587"/>
                    <a:pt x="153" y="587"/>
                    <a:pt x="152" y="589"/>
                  </a:cubicBezTo>
                  <a:cubicBezTo>
                    <a:pt x="151" y="590"/>
                    <a:pt x="150" y="592"/>
                    <a:pt x="150" y="593"/>
                  </a:cubicBezTo>
                  <a:cubicBezTo>
                    <a:pt x="151" y="593"/>
                    <a:pt x="151" y="593"/>
                    <a:pt x="151" y="593"/>
                  </a:cubicBezTo>
                  <a:cubicBezTo>
                    <a:pt x="152" y="593"/>
                    <a:pt x="154" y="592"/>
                    <a:pt x="155" y="592"/>
                  </a:cubicBezTo>
                  <a:cubicBezTo>
                    <a:pt x="155" y="592"/>
                    <a:pt x="156" y="593"/>
                    <a:pt x="157" y="593"/>
                  </a:cubicBezTo>
                  <a:cubicBezTo>
                    <a:pt x="158" y="593"/>
                    <a:pt x="159" y="592"/>
                    <a:pt x="159" y="592"/>
                  </a:cubicBezTo>
                  <a:cubicBezTo>
                    <a:pt x="161" y="592"/>
                    <a:pt x="167" y="591"/>
                    <a:pt x="168" y="590"/>
                  </a:cubicBezTo>
                  <a:cubicBezTo>
                    <a:pt x="170" y="588"/>
                    <a:pt x="167" y="587"/>
                    <a:pt x="170" y="586"/>
                  </a:cubicBezTo>
                  <a:cubicBezTo>
                    <a:pt x="170" y="585"/>
                    <a:pt x="171" y="585"/>
                    <a:pt x="171" y="585"/>
                  </a:cubicBezTo>
                  <a:cubicBezTo>
                    <a:pt x="173" y="585"/>
                    <a:pt x="172" y="589"/>
                    <a:pt x="173" y="589"/>
                  </a:cubicBezTo>
                  <a:cubicBezTo>
                    <a:pt x="173" y="589"/>
                    <a:pt x="173" y="589"/>
                    <a:pt x="173" y="589"/>
                  </a:cubicBezTo>
                  <a:cubicBezTo>
                    <a:pt x="174" y="589"/>
                    <a:pt x="176" y="585"/>
                    <a:pt x="175" y="584"/>
                  </a:cubicBezTo>
                  <a:cubicBezTo>
                    <a:pt x="181" y="581"/>
                    <a:pt x="188" y="580"/>
                    <a:pt x="194" y="578"/>
                  </a:cubicBezTo>
                  <a:cubicBezTo>
                    <a:pt x="192" y="580"/>
                    <a:pt x="195" y="582"/>
                    <a:pt x="192" y="583"/>
                  </a:cubicBezTo>
                  <a:cubicBezTo>
                    <a:pt x="196" y="583"/>
                    <a:pt x="193" y="585"/>
                    <a:pt x="192" y="586"/>
                  </a:cubicBezTo>
                  <a:cubicBezTo>
                    <a:pt x="192" y="586"/>
                    <a:pt x="192" y="586"/>
                    <a:pt x="192" y="586"/>
                  </a:cubicBezTo>
                  <a:cubicBezTo>
                    <a:pt x="196" y="586"/>
                    <a:pt x="198" y="579"/>
                    <a:pt x="196" y="576"/>
                  </a:cubicBezTo>
                  <a:cubicBezTo>
                    <a:pt x="197" y="577"/>
                    <a:pt x="198" y="579"/>
                    <a:pt x="199" y="579"/>
                  </a:cubicBezTo>
                  <a:cubicBezTo>
                    <a:pt x="199" y="579"/>
                    <a:pt x="199" y="579"/>
                    <a:pt x="199" y="579"/>
                  </a:cubicBezTo>
                  <a:cubicBezTo>
                    <a:pt x="201" y="579"/>
                    <a:pt x="204" y="576"/>
                    <a:pt x="205" y="576"/>
                  </a:cubicBezTo>
                  <a:cubicBezTo>
                    <a:pt x="208" y="575"/>
                    <a:pt x="211" y="574"/>
                    <a:pt x="215" y="573"/>
                  </a:cubicBezTo>
                  <a:cubicBezTo>
                    <a:pt x="214" y="573"/>
                    <a:pt x="214" y="573"/>
                    <a:pt x="214" y="573"/>
                  </a:cubicBezTo>
                  <a:cubicBezTo>
                    <a:pt x="215" y="573"/>
                    <a:pt x="215" y="573"/>
                    <a:pt x="215" y="573"/>
                  </a:cubicBezTo>
                  <a:cubicBezTo>
                    <a:pt x="215" y="573"/>
                    <a:pt x="215" y="573"/>
                    <a:pt x="215" y="573"/>
                  </a:cubicBezTo>
                  <a:cubicBezTo>
                    <a:pt x="215" y="573"/>
                    <a:pt x="215" y="573"/>
                    <a:pt x="215" y="573"/>
                  </a:cubicBezTo>
                  <a:cubicBezTo>
                    <a:pt x="216" y="573"/>
                    <a:pt x="216" y="573"/>
                    <a:pt x="216" y="573"/>
                  </a:cubicBezTo>
                  <a:cubicBezTo>
                    <a:pt x="216" y="572"/>
                    <a:pt x="216" y="569"/>
                    <a:pt x="216" y="569"/>
                  </a:cubicBezTo>
                  <a:cubicBezTo>
                    <a:pt x="216" y="568"/>
                    <a:pt x="216" y="566"/>
                    <a:pt x="217" y="566"/>
                  </a:cubicBezTo>
                  <a:cubicBezTo>
                    <a:pt x="217" y="566"/>
                    <a:pt x="217" y="566"/>
                    <a:pt x="217" y="566"/>
                  </a:cubicBezTo>
                  <a:cubicBezTo>
                    <a:pt x="218" y="568"/>
                    <a:pt x="217" y="571"/>
                    <a:pt x="219" y="571"/>
                  </a:cubicBezTo>
                  <a:cubicBezTo>
                    <a:pt x="219" y="571"/>
                    <a:pt x="220" y="570"/>
                    <a:pt x="220" y="570"/>
                  </a:cubicBezTo>
                  <a:cubicBezTo>
                    <a:pt x="219" y="571"/>
                    <a:pt x="219" y="572"/>
                    <a:pt x="221" y="572"/>
                  </a:cubicBezTo>
                  <a:cubicBezTo>
                    <a:pt x="221" y="572"/>
                    <a:pt x="221" y="572"/>
                    <a:pt x="221" y="572"/>
                  </a:cubicBezTo>
                  <a:cubicBezTo>
                    <a:pt x="221" y="570"/>
                    <a:pt x="220" y="570"/>
                    <a:pt x="221" y="568"/>
                  </a:cubicBezTo>
                  <a:cubicBezTo>
                    <a:pt x="221" y="567"/>
                    <a:pt x="223" y="566"/>
                    <a:pt x="223" y="565"/>
                  </a:cubicBezTo>
                  <a:cubicBezTo>
                    <a:pt x="222" y="565"/>
                    <a:pt x="222" y="565"/>
                    <a:pt x="222" y="565"/>
                  </a:cubicBezTo>
                  <a:cubicBezTo>
                    <a:pt x="223" y="564"/>
                    <a:pt x="225" y="561"/>
                    <a:pt x="224" y="561"/>
                  </a:cubicBezTo>
                  <a:cubicBezTo>
                    <a:pt x="224" y="561"/>
                    <a:pt x="223" y="562"/>
                    <a:pt x="222" y="562"/>
                  </a:cubicBezTo>
                  <a:cubicBezTo>
                    <a:pt x="222" y="561"/>
                    <a:pt x="222" y="561"/>
                    <a:pt x="221" y="561"/>
                  </a:cubicBezTo>
                  <a:cubicBezTo>
                    <a:pt x="221" y="561"/>
                    <a:pt x="220" y="561"/>
                    <a:pt x="220" y="562"/>
                  </a:cubicBezTo>
                  <a:cubicBezTo>
                    <a:pt x="219" y="562"/>
                    <a:pt x="218" y="563"/>
                    <a:pt x="217" y="563"/>
                  </a:cubicBezTo>
                  <a:cubicBezTo>
                    <a:pt x="217" y="563"/>
                    <a:pt x="217" y="563"/>
                    <a:pt x="217" y="563"/>
                  </a:cubicBezTo>
                  <a:cubicBezTo>
                    <a:pt x="216" y="562"/>
                    <a:pt x="220" y="560"/>
                    <a:pt x="221" y="559"/>
                  </a:cubicBezTo>
                  <a:cubicBezTo>
                    <a:pt x="224" y="556"/>
                    <a:pt x="229" y="554"/>
                    <a:pt x="233" y="551"/>
                  </a:cubicBezTo>
                  <a:cubicBezTo>
                    <a:pt x="234" y="550"/>
                    <a:pt x="236" y="550"/>
                    <a:pt x="237" y="550"/>
                  </a:cubicBezTo>
                  <a:cubicBezTo>
                    <a:pt x="239" y="550"/>
                    <a:pt x="241" y="551"/>
                    <a:pt x="243" y="552"/>
                  </a:cubicBezTo>
                  <a:cubicBezTo>
                    <a:pt x="244" y="550"/>
                    <a:pt x="243" y="549"/>
                    <a:pt x="241" y="548"/>
                  </a:cubicBezTo>
                  <a:cubicBezTo>
                    <a:pt x="244" y="546"/>
                    <a:pt x="247" y="547"/>
                    <a:pt x="250" y="547"/>
                  </a:cubicBezTo>
                  <a:cubicBezTo>
                    <a:pt x="253" y="546"/>
                    <a:pt x="256" y="543"/>
                    <a:pt x="259" y="542"/>
                  </a:cubicBezTo>
                  <a:cubicBezTo>
                    <a:pt x="259" y="542"/>
                    <a:pt x="259" y="542"/>
                    <a:pt x="259" y="542"/>
                  </a:cubicBezTo>
                  <a:cubicBezTo>
                    <a:pt x="260" y="540"/>
                    <a:pt x="261" y="539"/>
                    <a:pt x="262" y="539"/>
                  </a:cubicBezTo>
                  <a:cubicBezTo>
                    <a:pt x="263" y="539"/>
                    <a:pt x="264" y="539"/>
                    <a:pt x="265" y="540"/>
                  </a:cubicBezTo>
                  <a:cubicBezTo>
                    <a:pt x="264" y="538"/>
                    <a:pt x="263" y="538"/>
                    <a:pt x="264" y="536"/>
                  </a:cubicBezTo>
                  <a:cubicBezTo>
                    <a:pt x="266" y="533"/>
                    <a:pt x="268" y="531"/>
                    <a:pt x="269" y="529"/>
                  </a:cubicBezTo>
                  <a:cubicBezTo>
                    <a:pt x="268" y="529"/>
                    <a:pt x="267" y="529"/>
                    <a:pt x="265" y="530"/>
                  </a:cubicBezTo>
                  <a:cubicBezTo>
                    <a:pt x="265" y="527"/>
                    <a:pt x="276" y="523"/>
                    <a:pt x="278" y="522"/>
                  </a:cubicBezTo>
                  <a:cubicBezTo>
                    <a:pt x="282" y="521"/>
                    <a:pt x="285" y="518"/>
                    <a:pt x="287" y="515"/>
                  </a:cubicBezTo>
                  <a:cubicBezTo>
                    <a:pt x="287" y="513"/>
                    <a:pt x="287" y="513"/>
                    <a:pt x="287" y="513"/>
                  </a:cubicBezTo>
                  <a:cubicBezTo>
                    <a:pt x="287" y="513"/>
                    <a:pt x="287" y="513"/>
                    <a:pt x="288" y="513"/>
                  </a:cubicBezTo>
                  <a:cubicBezTo>
                    <a:pt x="288" y="513"/>
                    <a:pt x="289" y="513"/>
                    <a:pt x="290" y="514"/>
                  </a:cubicBezTo>
                  <a:cubicBezTo>
                    <a:pt x="290" y="514"/>
                    <a:pt x="291" y="514"/>
                    <a:pt x="292" y="514"/>
                  </a:cubicBezTo>
                  <a:cubicBezTo>
                    <a:pt x="292" y="514"/>
                    <a:pt x="292" y="514"/>
                    <a:pt x="292" y="514"/>
                  </a:cubicBezTo>
                  <a:cubicBezTo>
                    <a:pt x="293" y="514"/>
                    <a:pt x="295" y="511"/>
                    <a:pt x="296" y="510"/>
                  </a:cubicBezTo>
                  <a:cubicBezTo>
                    <a:pt x="297" y="509"/>
                    <a:pt x="298" y="509"/>
                    <a:pt x="299" y="508"/>
                  </a:cubicBezTo>
                  <a:cubicBezTo>
                    <a:pt x="299" y="508"/>
                    <a:pt x="301" y="505"/>
                    <a:pt x="301" y="505"/>
                  </a:cubicBezTo>
                  <a:cubicBezTo>
                    <a:pt x="303" y="504"/>
                    <a:pt x="314" y="502"/>
                    <a:pt x="313" y="499"/>
                  </a:cubicBezTo>
                  <a:cubicBezTo>
                    <a:pt x="315" y="500"/>
                    <a:pt x="316" y="502"/>
                    <a:pt x="317" y="503"/>
                  </a:cubicBezTo>
                  <a:cubicBezTo>
                    <a:pt x="318" y="500"/>
                    <a:pt x="318" y="499"/>
                    <a:pt x="321" y="498"/>
                  </a:cubicBezTo>
                  <a:cubicBezTo>
                    <a:pt x="320" y="498"/>
                    <a:pt x="320" y="497"/>
                    <a:pt x="319" y="497"/>
                  </a:cubicBezTo>
                  <a:cubicBezTo>
                    <a:pt x="320" y="497"/>
                    <a:pt x="321" y="496"/>
                    <a:pt x="322" y="496"/>
                  </a:cubicBezTo>
                  <a:cubicBezTo>
                    <a:pt x="321" y="495"/>
                    <a:pt x="321" y="495"/>
                    <a:pt x="320" y="495"/>
                  </a:cubicBezTo>
                  <a:cubicBezTo>
                    <a:pt x="320" y="495"/>
                    <a:pt x="319" y="495"/>
                    <a:pt x="319" y="495"/>
                  </a:cubicBezTo>
                  <a:cubicBezTo>
                    <a:pt x="318" y="495"/>
                    <a:pt x="318" y="495"/>
                    <a:pt x="317" y="495"/>
                  </a:cubicBezTo>
                  <a:cubicBezTo>
                    <a:pt x="317" y="495"/>
                    <a:pt x="317" y="495"/>
                    <a:pt x="317" y="495"/>
                  </a:cubicBezTo>
                  <a:cubicBezTo>
                    <a:pt x="319" y="494"/>
                    <a:pt x="322" y="493"/>
                    <a:pt x="324" y="492"/>
                  </a:cubicBezTo>
                  <a:cubicBezTo>
                    <a:pt x="324" y="492"/>
                    <a:pt x="322" y="491"/>
                    <a:pt x="323" y="490"/>
                  </a:cubicBezTo>
                  <a:cubicBezTo>
                    <a:pt x="323" y="488"/>
                    <a:pt x="323" y="490"/>
                    <a:pt x="325" y="488"/>
                  </a:cubicBezTo>
                  <a:cubicBezTo>
                    <a:pt x="327" y="487"/>
                    <a:pt x="327" y="485"/>
                    <a:pt x="328" y="484"/>
                  </a:cubicBezTo>
                  <a:cubicBezTo>
                    <a:pt x="331" y="483"/>
                    <a:pt x="336" y="483"/>
                    <a:pt x="338" y="480"/>
                  </a:cubicBezTo>
                  <a:cubicBezTo>
                    <a:pt x="340" y="479"/>
                    <a:pt x="339" y="477"/>
                    <a:pt x="341" y="476"/>
                  </a:cubicBezTo>
                  <a:cubicBezTo>
                    <a:pt x="341" y="476"/>
                    <a:pt x="341" y="476"/>
                    <a:pt x="341" y="476"/>
                  </a:cubicBezTo>
                  <a:cubicBezTo>
                    <a:pt x="340" y="476"/>
                    <a:pt x="340" y="476"/>
                    <a:pt x="340" y="476"/>
                  </a:cubicBezTo>
                  <a:cubicBezTo>
                    <a:pt x="343" y="474"/>
                    <a:pt x="334" y="472"/>
                    <a:pt x="333" y="471"/>
                  </a:cubicBezTo>
                  <a:cubicBezTo>
                    <a:pt x="333" y="471"/>
                    <a:pt x="332" y="470"/>
                    <a:pt x="332" y="469"/>
                  </a:cubicBezTo>
                  <a:cubicBezTo>
                    <a:pt x="331" y="469"/>
                    <a:pt x="331" y="469"/>
                    <a:pt x="331" y="469"/>
                  </a:cubicBezTo>
                  <a:cubicBezTo>
                    <a:pt x="330" y="469"/>
                    <a:pt x="330" y="469"/>
                    <a:pt x="329" y="469"/>
                  </a:cubicBezTo>
                  <a:cubicBezTo>
                    <a:pt x="329" y="469"/>
                    <a:pt x="328" y="469"/>
                    <a:pt x="328" y="469"/>
                  </a:cubicBezTo>
                  <a:cubicBezTo>
                    <a:pt x="328" y="469"/>
                    <a:pt x="328" y="469"/>
                    <a:pt x="328" y="469"/>
                  </a:cubicBezTo>
                  <a:cubicBezTo>
                    <a:pt x="328" y="469"/>
                    <a:pt x="327" y="469"/>
                    <a:pt x="327" y="469"/>
                  </a:cubicBezTo>
                  <a:cubicBezTo>
                    <a:pt x="326" y="469"/>
                    <a:pt x="325" y="469"/>
                    <a:pt x="324" y="470"/>
                  </a:cubicBezTo>
                  <a:cubicBezTo>
                    <a:pt x="323" y="470"/>
                    <a:pt x="322" y="470"/>
                    <a:pt x="322" y="470"/>
                  </a:cubicBezTo>
                  <a:cubicBezTo>
                    <a:pt x="321" y="470"/>
                    <a:pt x="321" y="470"/>
                    <a:pt x="320" y="470"/>
                  </a:cubicBezTo>
                  <a:cubicBezTo>
                    <a:pt x="321" y="467"/>
                    <a:pt x="319" y="468"/>
                    <a:pt x="319" y="467"/>
                  </a:cubicBezTo>
                  <a:cubicBezTo>
                    <a:pt x="319" y="466"/>
                    <a:pt x="320" y="466"/>
                    <a:pt x="322" y="464"/>
                  </a:cubicBezTo>
                  <a:cubicBezTo>
                    <a:pt x="320" y="462"/>
                    <a:pt x="324" y="460"/>
                    <a:pt x="325" y="459"/>
                  </a:cubicBezTo>
                  <a:cubicBezTo>
                    <a:pt x="325" y="459"/>
                    <a:pt x="324" y="460"/>
                    <a:pt x="323" y="460"/>
                  </a:cubicBezTo>
                  <a:cubicBezTo>
                    <a:pt x="322" y="460"/>
                    <a:pt x="322" y="459"/>
                    <a:pt x="321" y="459"/>
                  </a:cubicBezTo>
                  <a:cubicBezTo>
                    <a:pt x="323" y="458"/>
                    <a:pt x="331" y="457"/>
                    <a:pt x="331" y="455"/>
                  </a:cubicBezTo>
                  <a:cubicBezTo>
                    <a:pt x="331" y="454"/>
                    <a:pt x="329" y="453"/>
                    <a:pt x="328" y="453"/>
                  </a:cubicBezTo>
                  <a:cubicBezTo>
                    <a:pt x="330" y="452"/>
                    <a:pt x="332" y="452"/>
                    <a:pt x="334" y="451"/>
                  </a:cubicBezTo>
                  <a:cubicBezTo>
                    <a:pt x="333" y="450"/>
                    <a:pt x="332" y="450"/>
                    <a:pt x="332" y="450"/>
                  </a:cubicBezTo>
                  <a:cubicBezTo>
                    <a:pt x="333" y="449"/>
                    <a:pt x="338" y="447"/>
                    <a:pt x="337" y="445"/>
                  </a:cubicBezTo>
                  <a:cubicBezTo>
                    <a:pt x="338" y="446"/>
                    <a:pt x="340" y="448"/>
                    <a:pt x="338" y="449"/>
                  </a:cubicBezTo>
                  <a:cubicBezTo>
                    <a:pt x="338" y="450"/>
                    <a:pt x="339" y="450"/>
                    <a:pt x="339" y="450"/>
                  </a:cubicBezTo>
                  <a:cubicBezTo>
                    <a:pt x="342" y="450"/>
                    <a:pt x="348" y="447"/>
                    <a:pt x="348" y="445"/>
                  </a:cubicBezTo>
                  <a:cubicBezTo>
                    <a:pt x="348" y="443"/>
                    <a:pt x="347" y="443"/>
                    <a:pt x="345" y="443"/>
                  </a:cubicBezTo>
                  <a:cubicBezTo>
                    <a:pt x="345" y="443"/>
                    <a:pt x="344" y="443"/>
                    <a:pt x="344" y="443"/>
                  </a:cubicBezTo>
                  <a:cubicBezTo>
                    <a:pt x="343" y="443"/>
                    <a:pt x="342" y="443"/>
                    <a:pt x="342" y="443"/>
                  </a:cubicBezTo>
                  <a:cubicBezTo>
                    <a:pt x="342" y="443"/>
                    <a:pt x="342" y="443"/>
                    <a:pt x="342" y="443"/>
                  </a:cubicBezTo>
                  <a:cubicBezTo>
                    <a:pt x="344" y="439"/>
                    <a:pt x="353" y="441"/>
                    <a:pt x="356" y="437"/>
                  </a:cubicBezTo>
                  <a:cubicBezTo>
                    <a:pt x="358" y="435"/>
                    <a:pt x="357" y="435"/>
                    <a:pt x="356" y="433"/>
                  </a:cubicBezTo>
                  <a:cubicBezTo>
                    <a:pt x="353" y="431"/>
                    <a:pt x="349" y="427"/>
                    <a:pt x="346" y="427"/>
                  </a:cubicBezTo>
                  <a:cubicBezTo>
                    <a:pt x="346" y="427"/>
                    <a:pt x="346" y="427"/>
                    <a:pt x="346" y="427"/>
                  </a:cubicBezTo>
                  <a:cubicBezTo>
                    <a:pt x="352" y="425"/>
                    <a:pt x="359" y="426"/>
                    <a:pt x="365" y="424"/>
                  </a:cubicBezTo>
                  <a:cubicBezTo>
                    <a:pt x="360" y="422"/>
                    <a:pt x="366" y="417"/>
                    <a:pt x="368" y="416"/>
                  </a:cubicBezTo>
                  <a:cubicBezTo>
                    <a:pt x="370" y="416"/>
                    <a:pt x="371" y="414"/>
                    <a:pt x="372" y="413"/>
                  </a:cubicBezTo>
                  <a:cubicBezTo>
                    <a:pt x="373" y="412"/>
                    <a:pt x="376" y="411"/>
                    <a:pt x="376" y="410"/>
                  </a:cubicBezTo>
                  <a:cubicBezTo>
                    <a:pt x="377" y="409"/>
                    <a:pt x="375" y="409"/>
                    <a:pt x="376" y="408"/>
                  </a:cubicBezTo>
                  <a:cubicBezTo>
                    <a:pt x="377" y="404"/>
                    <a:pt x="382" y="402"/>
                    <a:pt x="386" y="401"/>
                  </a:cubicBezTo>
                  <a:cubicBezTo>
                    <a:pt x="388" y="400"/>
                    <a:pt x="390" y="400"/>
                    <a:pt x="392" y="398"/>
                  </a:cubicBezTo>
                  <a:cubicBezTo>
                    <a:pt x="392" y="398"/>
                    <a:pt x="393" y="397"/>
                    <a:pt x="393" y="396"/>
                  </a:cubicBezTo>
                  <a:cubicBezTo>
                    <a:pt x="396" y="394"/>
                    <a:pt x="399" y="394"/>
                    <a:pt x="402" y="392"/>
                  </a:cubicBezTo>
                  <a:cubicBezTo>
                    <a:pt x="403" y="392"/>
                    <a:pt x="403" y="390"/>
                    <a:pt x="404" y="390"/>
                  </a:cubicBezTo>
                  <a:cubicBezTo>
                    <a:pt x="405" y="389"/>
                    <a:pt x="406" y="389"/>
                    <a:pt x="407" y="389"/>
                  </a:cubicBezTo>
                  <a:cubicBezTo>
                    <a:pt x="409" y="389"/>
                    <a:pt x="411" y="390"/>
                    <a:pt x="413" y="390"/>
                  </a:cubicBezTo>
                  <a:cubicBezTo>
                    <a:pt x="413" y="390"/>
                    <a:pt x="414" y="390"/>
                    <a:pt x="415" y="390"/>
                  </a:cubicBezTo>
                  <a:cubicBezTo>
                    <a:pt x="415" y="390"/>
                    <a:pt x="416" y="390"/>
                    <a:pt x="416" y="390"/>
                  </a:cubicBezTo>
                  <a:cubicBezTo>
                    <a:pt x="417" y="389"/>
                    <a:pt x="418" y="388"/>
                    <a:pt x="420" y="388"/>
                  </a:cubicBezTo>
                  <a:cubicBezTo>
                    <a:pt x="420" y="388"/>
                    <a:pt x="420" y="388"/>
                    <a:pt x="421" y="389"/>
                  </a:cubicBezTo>
                  <a:cubicBezTo>
                    <a:pt x="422" y="389"/>
                    <a:pt x="423" y="389"/>
                    <a:pt x="424" y="390"/>
                  </a:cubicBezTo>
                  <a:cubicBezTo>
                    <a:pt x="424" y="390"/>
                    <a:pt x="424" y="390"/>
                    <a:pt x="424" y="390"/>
                  </a:cubicBezTo>
                  <a:cubicBezTo>
                    <a:pt x="424" y="390"/>
                    <a:pt x="424" y="390"/>
                    <a:pt x="424" y="390"/>
                  </a:cubicBezTo>
                  <a:cubicBezTo>
                    <a:pt x="425" y="391"/>
                    <a:pt x="426" y="393"/>
                    <a:pt x="426" y="395"/>
                  </a:cubicBezTo>
                  <a:cubicBezTo>
                    <a:pt x="426" y="397"/>
                    <a:pt x="425" y="399"/>
                    <a:pt x="422" y="400"/>
                  </a:cubicBezTo>
                  <a:cubicBezTo>
                    <a:pt x="427" y="403"/>
                    <a:pt x="432" y="405"/>
                    <a:pt x="437" y="407"/>
                  </a:cubicBezTo>
                  <a:cubicBezTo>
                    <a:pt x="433" y="405"/>
                    <a:pt x="428" y="405"/>
                    <a:pt x="424" y="404"/>
                  </a:cubicBezTo>
                  <a:cubicBezTo>
                    <a:pt x="423" y="404"/>
                    <a:pt x="423" y="404"/>
                    <a:pt x="422" y="404"/>
                  </a:cubicBezTo>
                  <a:cubicBezTo>
                    <a:pt x="420" y="404"/>
                    <a:pt x="418" y="405"/>
                    <a:pt x="416" y="405"/>
                  </a:cubicBezTo>
                  <a:cubicBezTo>
                    <a:pt x="416" y="405"/>
                    <a:pt x="416" y="406"/>
                    <a:pt x="416" y="406"/>
                  </a:cubicBezTo>
                  <a:cubicBezTo>
                    <a:pt x="412" y="406"/>
                    <a:pt x="408" y="403"/>
                    <a:pt x="405" y="402"/>
                  </a:cubicBezTo>
                  <a:cubicBezTo>
                    <a:pt x="405" y="402"/>
                    <a:pt x="405" y="402"/>
                    <a:pt x="405" y="402"/>
                  </a:cubicBezTo>
                  <a:cubicBezTo>
                    <a:pt x="403" y="402"/>
                    <a:pt x="402" y="404"/>
                    <a:pt x="401" y="405"/>
                  </a:cubicBezTo>
                  <a:cubicBezTo>
                    <a:pt x="398" y="407"/>
                    <a:pt x="395" y="409"/>
                    <a:pt x="392" y="410"/>
                  </a:cubicBezTo>
                  <a:cubicBezTo>
                    <a:pt x="390" y="410"/>
                    <a:pt x="387" y="410"/>
                    <a:pt x="386" y="412"/>
                  </a:cubicBezTo>
                  <a:cubicBezTo>
                    <a:pt x="384" y="413"/>
                    <a:pt x="385" y="414"/>
                    <a:pt x="386" y="416"/>
                  </a:cubicBezTo>
                  <a:cubicBezTo>
                    <a:pt x="387" y="417"/>
                    <a:pt x="388" y="418"/>
                    <a:pt x="388" y="420"/>
                  </a:cubicBezTo>
                  <a:cubicBezTo>
                    <a:pt x="388" y="421"/>
                    <a:pt x="388" y="422"/>
                    <a:pt x="387" y="423"/>
                  </a:cubicBezTo>
                  <a:cubicBezTo>
                    <a:pt x="387" y="424"/>
                    <a:pt x="386" y="424"/>
                    <a:pt x="386" y="424"/>
                  </a:cubicBezTo>
                  <a:cubicBezTo>
                    <a:pt x="384" y="428"/>
                    <a:pt x="385" y="430"/>
                    <a:pt x="381" y="433"/>
                  </a:cubicBezTo>
                  <a:cubicBezTo>
                    <a:pt x="379" y="435"/>
                    <a:pt x="377" y="437"/>
                    <a:pt x="376" y="440"/>
                  </a:cubicBezTo>
                  <a:cubicBezTo>
                    <a:pt x="375" y="444"/>
                    <a:pt x="372" y="446"/>
                    <a:pt x="377" y="448"/>
                  </a:cubicBezTo>
                  <a:cubicBezTo>
                    <a:pt x="378" y="449"/>
                    <a:pt x="381" y="449"/>
                    <a:pt x="382" y="450"/>
                  </a:cubicBezTo>
                  <a:cubicBezTo>
                    <a:pt x="383" y="450"/>
                    <a:pt x="383" y="450"/>
                    <a:pt x="384" y="450"/>
                  </a:cubicBezTo>
                  <a:cubicBezTo>
                    <a:pt x="386" y="450"/>
                    <a:pt x="387" y="448"/>
                    <a:pt x="388" y="447"/>
                  </a:cubicBezTo>
                  <a:cubicBezTo>
                    <a:pt x="390" y="446"/>
                    <a:pt x="391" y="445"/>
                    <a:pt x="393" y="445"/>
                  </a:cubicBezTo>
                  <a:cubicBezTo>
                    <a:pt x="393" y="447"/>
                    <a:pt x="391" y="448"/>
                    <a:pt x="390" y="449"/>
                  </a:cubicBezTo>
                  <a:cubicBezTo>
                    <a:pt x="390" y="451"/>
                    <a:pt x="390" y="450"/>
                    <a:pt x="389" y="451"/>
                  </a:cubicBezTo>
                  <a:cubicBezTo>
                    <a:pt x="388" y="453"/>
                    <a:pt x="387" y="452"/>
                    <a:pt x="385" y="453"/>
                  </a:cubicBezTo>
                  <a:cubicBezTo>
                    <a:pt x="383" y="455"/>
                    <a:pt x="385" y="454"/>
                    <a:pt x="385" y="455"/>
                  </a:cubicBezTo>
                  <a:cubicBezTo>
                    <a:pt x="385" y="456"/>
                    <a:pt x="385" y="457"/>
                    <a:pt x="385" y="457"/>
                  </a:cubicBezTo>
                  <a:cubicBezTo>
                    <a:pt x="385" y="457"/>
                    <a:pt x="384" y="456"/>
                    <a:pt x="382" y="456"/>
                  </a:cubicBezTo>
                  <a:cubicBezTo>
                    <a:pt x="381" y="456"/>
                    <a:pt x="381" y="456"/>
                    <a:pt x="380" y="456"/>
                  </a:cubicBezTo>
                  <a:cubicBezTo>
                    <a:pt x="379" y="456"/>
                    <a:pt x="379" y="456"/>
                    <a:pt x="377" y="456"/>
                  </a:cubicBezTo>
                  <a:cubicBezTo>
                    <a:pt x="376" y="457"/>
                    <a:pt x="371" y="458"/>
                    <a:pt x="375" y="460"/>
                  </a:cubicBezTo>
                  <a:cubicBezTo>
                    <a:pt x="375" y="459"/>
                    <a:pt x="375" y="459"/>
                    <a:pt x="374" y="459"/>
                  </a:cubicBezTo>
                  <a:cubicBezTo>
                    <a:pt x="373" y="459"/>
                    <a:pt x="371" y="460"/>
                    <a:pt x="372" y="462"/>
                  </a:cubicBezTo>
                  <a:cubicBezTo>
                    <a:pt x="372" y="463"/>
                    <a:pt x="375" y="465"/>
                    <a:pt x="376" y="465"/>
                  </a:cubicBezTo>
                  <a:cubicBezTo>
                    <a:pt x="377" y="465"/>
                    <a:pt x="377" y="466"/>
                    <a:pt x="378" y="466"/>
                  </a:cubicBezTo>
                  <a:cubicBezTo>
                    <a:pt x="383" y="466"/>
                    <a:pt x="390" y="462"/>
                    <a:pt x="394" y="461"/>
                  </a:cubicBezTo>
                  <a:cubicBezTo>
                    <a:pt x="398" y="460"/>
                    <a:pt x="400" y="458"/>
                    <a:pt x="403" y="456"/>
                  </a:cubicBezTo>
                  <a:cubicBezTo>
                    <a:pt x="403" y="456"/>
                    <a:pt x="403" y="456"/>
                    <a:pt x="403" y="456"/>
                  </a:cubicBezTo>
                  <a:cubicBezTo>
                    <a:pt x="405" y="455"/>
                    <a:pt x="404" y="454"/>
                    <a:pt x="402" y="453"/>
                  </a:cubicBezTo>
                  <a:cubicBezTo>
                    <a:pt x="403" y="453"/>
                    <a:pt x="404" y="452"/>
                    <a:pt x="405" y="451"/>
                  </a:cubicBezTo>
                  <a:cubicBezTo>
                    <a:pt x="406" y="453"/>
                    <a:pt x="406" y="454"/>
                    <a:pt x="406" y="456"/>
                  </a:cubicBezTo>
                  <a:cubicBezTo>
                    <a:pt x="408" y="453"/>
                    <a:pt x="409" y="449"/>
                    <a:pt x="412" y="447"/>
                  </a:cubicBezTo>
                  <a:cubicBezTo>
                    <a:pt x="412" y="450"/>
                    <a:pt x="410" y="451"/>
                    <a:pt x="410" y="453"/>
                  </a:cubicBezTo>
                  <a:cubicBezTo>
                    <a:pt x="409" y="454"/>
                    <a:pt x="409" y="455"/>
                    <a:pt x="409" y="456"/>
                  </a:cubicBezTo>
                  <a:cubicBezTo>
                    <a:pt x="411" y="455"/>
                    <a:pt x="417" y="450"/>
                    <a:pt x="415" y="448"/>
                  </a:cubicBezTo>
                  <a:cubicBezTo>
                    <a:pt x="416" y="447"/>
                    <a:pt x="418" y="447"/>
                    <a:pt x="419" y="447"/>
                  </a:cubicBezTo>
                  <a:cubicBezTo>
                    <a:pt x="418" y="446"/>
                    <a:pt x="417" y="445"/>
                    <a:pt x="417" y="444"/>
                  </a:cubicBezTo>
                  <a:cubicBezTo>
                    <a:pt x="419" y="445"/>
                    <a:pt x="421" y="447"/>
                    <a:pt x="423" y="449"/>
                  </a:cubicBezTo>
                  <a:cubicBezTo>
                    <a:pt x="423" y="448"/>
                    <a:pt x="423" y="446"/>
                    <a:pt x="423" y="445"/>
                  </a:cubicBezTo>
                  <a:cubicBezTo>
                    <a:pt x="423" y="444"/>
                    <a:pt x="421" y="443"/>
                    <a:pt x="421" y="443"/>
                  </a:cubicBezTo>
                  <a:cubicBezTo>
                    <a:pt x="421" y="442"/>
                    <a:pt x="423" y="442"/>
                    <a:pt x="424" y="441"/>
                  </a:cubicBezTo>
                  <a:cubicBezTo>
                    <a:pt x="424" y="439"/>
                    <a:pt x="424" y="439"/>
                    <a:pt x="424" y="439"/>
                  </a:cubicBezTo>
                  <a:cubicBezTo>
                    <a:pt x="425" y="440"/>
                    <a:pt x="427" y="446"/>
                    <a:pt x="426" y="446"/>
                  </a:cubicBezTo>
                  <a:cubicBezTo>
                    <a:pt x="427" y="446"/>
                    <a:pt x="427" y="447"/>
                    <a:pt x="428" y="447"/>
                  </a:cubicBezTo>
                  <a:cubicBezTo>
                    <a:pt x="427" y="444"/>
                    <a:pt x="426" y="444"/>
                    <a:pt x="427" y="442"/>
                  </a:cubicBezTo>
                  <a:cubicBezTo>
                    <a:pt x="428" y="440"/>
                    <a:pt x="429" y="440"/>
                    <a:pt x="430" y="439"/>
                  </a:cubicBezTo>
                  <a:cubicBezTo>
                    <a:pt x="432" y="437"/>
                    <a:pt x="429" y="436"/>
                    <a:pt x="431" y="433"/>
                  </a:cubicBezTo>
                  <a:cubicBezTo>
                    <a:pt x="434" y="436"/>
                    <a:pt x="434" y="438"/>
                    <a:pt x="434" y="442"/>
                  </a:cubicBezTo>
                  <a:cubicBezTo>
                    <a:pt x="435" y="440"/>
                    <a:pt x="436" y="435"/>
                    <a:pt x="438" y="435"/>
                  </a:cubicBezTo>
                  <a:cubicBezTo>
                    <a:pt x="438" y="435"/>
                    <a:pt x="438" y="435"/>
                    <a:pt x="438" y="435"/>
                  </a:cubicBezTo>
                  <a:cubicBezTo>
                    <a:pt x="441" y="435"/>
                    <a:pt x="442" y="439"/>
                    <a:pt x="444" y="439"/>
                  </a:cubicBezTo>
                  <a:cubicBezTo>
                    <a:pt x="445" y="440"/>
                    <a:pt x="446" y="440"/>
                    <a:pt x="447" y="440"/>
                  </a:cubicBezTo>
                  <a:cubicBezTo>
                    <a:pt x="448" y="440"/>
                    <a:pt x="449" y="439"/>
                    <a:pt x="451" y="438"/>
                  </a:cubicBezTo>
                  <a:cubicBezTo>
                    <a:pt x="452" y="436"/>
                    <a:pt x="454" y="436"/>
                    <a:pt x="455" y="435"/>
                  </a:cubicBezTo>
                  <a:cubicBezTo>
                    <a:pt x="456" y="434"/>
                    <a:pt x="455" y="433"/>
                    <a:pt x="456" y="432"/>
                  </a:cubicBezTo>
                  <a:cubicBezTo>
                    <a:pt x="457" y="431"/>
                    <a:pt x="466" y="430"/>
                    <a:pt x="458" y="429"/>
                  </a:cubicBezTo>
                  <a:cubicBezTo>
                    <a:pt x="459" y="429"/>
                    <a:pt x="459" y="429"/>
                    <a:pt x="459" y="429"/>
                  </a:cubicBezTo>
                  <a:cubicBezTo>
                    <a:pt x="459" y="429"/>
                    <a:pt x="459" y="429"/>
                    <a:pt x="459" y="429"/>
                  </a:cubicBezTo>
                  <a:cubicBezTo>
                    <a:pt x="458" y="429"/>
                    <a:pt x="458" y="429"/>
                    <a:pt x="458" y="429"/>
                  </a:cubicBezTo>
                  <a:cubicBezTo>
                    <a:pt x="457" y="429"/>
                    <a:pt x="457" y="429"/>
                    <a:pt x="457" y="429"/>
                  </a:cubicBezTo>
                  <a:cubicBezTo>
                    <a:pt x="456" y="429"/>
                    <a:pt x="455" y="429"/>
                    <a:pt x="455" y="428"/>
                  </a:cubicBezTo>
                  <a:cubicBezTo>
                    <a:pt x="455" y="427"/>
                    <a:pt x="458" y="426"/>
                    <a:pt x="459" y="425"/>
                  </a:cubicBezTo>
                  <a:cubicBezTo>
                    <a:pt x="459" y="425"/>
                    <a:pt x="459" y="425"/>
                    <a:pt x="459" y="425"/>
                  </a:cubicBezTo>
                  <a:cubicBezTo>
                    <a:pt x="459" y="425"/>
                    <a:pt x="457" y="425"/>
                    <a:pt x="458" y="424"/>
                  </a:cubicBezTo>
                  <a:cubicBezTo>
                    <a:pt x="460" y="423"/>
                    <a:pt x="460" y="423"/>
                    <a:pt x="460" y="423"/>
                  </a:cubicBezTo>
                  <a:cubicBezTo>
                    <a:pt x="461" y="423"/>
                    <a:pt x="468" y="422"/>
                    <a:pt x="464" y="421"/>
                  </a:cubicBezTo>
                  <a:cubicBezTo>
                    <a:pt x="466" y="419"/>
                    <a:pt x="463" y="418"/>
                    <a:pt x="462" y="416"/>
                  </a:cubicBezTo>
                  <a:cubicBezTo>
                    <a:pt x="461" y="418"/>
                    <a:pt x="460" y="421"/>
                    <a:pt x="458" y="422"/>
                  </a:cubicBezTo>
                  <a:cubicBezTo>
                    <a:pt x="458" y="422"/>
                    <a:pt x="457" y="422"/>
                    <a:pt x="457" y="422"/>
                  </a:cubicBezTo>
                  <a:cubicBezTo>
                    <a:pt x="456" y="422"/>
                    <a:pt x="455" y="422"/>
                    <a:pt x="454" y="421"/>
                  </a:cubicBezTo>
                  <a:cubicBezTo>
                    <a:pt x="453" y="421"/>
                    <a:pt x="452" y="421"/>
                    <a:pt x="451" y="421"/>
                  </a:cubicBezTo>
                  <a:cubicBezTo>
                    <a:pt x="450" y="421"/>
                    <a:pt x="449" y="421"/>
                    <a:pt x="449" y="422"/>
                  </a:cubicBezTo>
                  <a:cubicBezTo>
                    <a:pt x="449" y="420"/>
                    <a:pt x="451" y="419"/>
                    <a:pt x="452" y="418"/>
                  </a:cubicBezTo>
                  <a:cubicBezTo>
                    <a:pt x="454" y="417"/>
                    <a:pt x="457" y="417"/>
                    <a:pt x="458" y="416"/>
                  </a:cubicBezTo>
                  <a:cubicBezTo>
                    <a:pt x="460" y="414"/>
                    <a:pt x="457" y="413"/>
                    <a:pt x="458" y="411"/>
                  </a:cubicBezTo>
                  <a:cubicBezTo>
                    <a:pt x="457" y="412"/>
                    <a:pt x="456" y="414"/>
                    <a:pt x="454" y="415"/>
                  </a:cubicBezTo>
                  <a:cubicBezTo>
                    <a:pt x="454" y="414"/>
                    <a:pt x="456" y="411"/>
                    <a:pt x="455" y="410"/>
                  </a:cubicBezTo>
                  <a:cubicBezTo>
                    <a:pt x="455" y="410"/>
                    <a:pt x="455" y="410"/>
                    <a:pt x="455" y="410"/>
                  </a:cubicBezTo>
                  <a:cubicBezTo>
                    <a:pt x="453" y="410"/>
                    <a:pt x="449" y="413"/>
                    <a:pt x="448" y="414"/>
                  </a:cubicBezTo>
                  <a:cubicBezTo>
                    <a:pt x="448" y="411"/>
                    <a:pt x="451" y="410"/>
                    <a:pt x="453" y="409"/>
                  </a:cubicBezTo>
                  <a:cubicBezTo>
                    <a:pt x="453" y="409"/>
                    <a:pt x="452" y="409"/>
                    <a:pt x="452" y="409"/>
                  </a:cubicBezTo>
                  <a:cubicBezTo>
                    <a:pt x="451" y="409"/>
                    <a:pt x="450" y="409"/>
                    <a:pt x="448" y="409"/>
                  </a:cubicBezTo>
                  <a:cubicBezTo>
                    <a:pt x="450" y="408"/>
                    <a:pt x="461" y="406"/>
                    <a:pt x="456" y="404"/>
                  </a:cubicBezTo>
                  <a:cubicBezTo>
                    <a:pt x="457" y="403"/>
                    <a:pt x="461" y="403"/>
                    <a:pt x="460" y="401"/>
                  </a:cubicBezTo>
                  <a:cubicBezTo>
                    <a:pt x="460" y="400"/>
                    <a:pt x="460" y="400"/>
                    <a:pt x="460" y="400"/>
                  </a:cubicBezTo>
                  <a:cubicBezTo>
                    <a:pt x="458" y="400"/>
                    <a:pt x="455" y="402"/>
                    <a:pt x="454" y="403"/>
                  </a:cubicBezTo>
                  <a:cubicBezTo>
                    <a:pt x="454" y="399"/>
                    <a:pt x="461" y="398"/>
                    <a:pt x="464" y="397"/>
                  </a:cubicBezTo>
                  <a:cubicBezTo>
                    <a:pt x="467" y="397"/>
                    <a:pt x="468" y="395"/>
                    <a:pt x="470" y="393"/>
                  </a:cubicBezTo>
                  <a:cubicBezTo>
                    <a:pt x="470" y="397"/>
                    <a:pt x="465" y="400"/>
                    <a:pt x="464" y="403"/>
                  </a:cubicBezTo>
                  <a:cubicBezTo>
                    <a:pt x="463" y="404"/>
                    <a:pt x="463" y="403"/>
                    <a:pt x="464" y="405"/>
                  </a:cubicBezTo>
                  <a:cubicBezTo>
                    <a:pt x="464" y="405"/>
                    <a:pt x="464" y="405"/>
                    <a:pt x="464" y="405"/>
                  </a:cubicBezTo>
                  <a:cubicBezTo>
                    <a:pt x="464" y="405"/>
                    <a:pt x="464" y="405"/>
                    <a:pt x="465" y="406"/>
                  </a:cubicBezTo>
                  <a:cubicBezTo>
                    <a:pt x="466" y="407"/>
                    <a:pt x="466" y="407"/>
                    <a:pt x="466" y="407"/>
                  </a:cubicBezTo>
                  <a:cubicBezTo>
                    <a:pt x="466" y="407"/>
                    <a:pt x="466" y="407"/>
                    <a:pt x="466" y="407"/>
                  </a:cubicBezTo>
                  <a:cubicBezTo>
                    <a:pt x="466" y="407"/>
                    <a:pt x="467" y="407"/>
                    <a:pt x="467" y="407"/>
                  </a:cubicBezTo>
                  <a:cubicBezTo>
                    <a:pt x="468" y="407"/>
                    <a:pt x="468" y="406"/>
                    <a:pt x="470" y="405"/>
                  </a:cubicBezTo>
                  <a:cubicBezTo>
                    <a:pt x="470" y="404"/>
                    <a:pt x="471" y="404"/>
                    <a:pt x="472" y="404"/>
                  </a:cubicBezTo>
                  <a:cubicBezTo>
                    <a:pt x="472" y="404"/>
                    <a:pt x="472" y="404"/>
                    <a:pt x="472" y="404"/>
                  </a:cubicBezTo>
                  <a:cubicBezTo>
                    <a:pt x="472" y="404"/>
                    <a:pt x="473" y="404"/>
                    <a:pt x="473" y="404"/>
                  </a:cubicBezTo>
                  <a:cubicBezTo>
                    <a:pt x="473" y="404"/>
                    <a:pt x="473" y="404"/>
                    <a:pt x="473" y="404"/>
                  </a:cubicBezTo>
                  <a:cubicBezTo>
                    <a:pt x="473" y="403"/>
                    <a:pt x="473" y="403"/>
                    <a:pt x="472" y="402"/>
                  </a:cubicBezTo>
                  <a:cubicBezTo>
                    <a:pt x="472" y="402"/>
                    <a:pt x="472" y="402"/>
                    <a:pt x="472" y="402"/>
                  </a:cubicBezTo>
                  <a:cubicBezTo>
                    <a:pt x="474" y="402"/>
                    <a:pt x="473" y="400"/>
                    <a:pt x="474" y="399"/>
                  </a:cubicBezTo>
                  <a:cubicBezTo>
                    <a:pt x="474" y="399"/>
                    <a:pt x="474" y="397"/>
                    <a:pt x="474" y="397"/>
                  </a:cubicBezTo>
                  <a:cubicBezTo>
                    <a:pt x="474" y="397"/>
                    <a:pt x="475" y="397"/>
                    <a:pt x="475" y="398"/>
                  </a:cubicBezTo>
                  <a:cubicBezTo>
                    <a:pt x="475" y="400"/>
                    <a:pt x="475" y="403"/>
                    <a:pt x="474" y="405"/>
                  </a:cubicBezTo>
                  <a:cubicBezTo>
                    <a:pt x="475" y="404"/>
                    <a:pt x="476" y="403"/>
                    <a:pt x="477" y="402"/>
                  </a:cubicBezTo>
                  <a:cubicBezTo>
                    <a:pt x="477" y="404"/>
                    <a:pt x="477" y="405"/>
                    <a:pt x="478" y="405"/>
                  </a:cubicBezTo>
                  <a:cubicBezTo>
                    <a:pt x="479" y="405"/>
                    <a:pt x="480" y="403"/>
                    <a:pt x="482" y="402"/>
                  </a:cubicBezTo>
                  <a:cubicBezTo>
                    <a:pt x="482" y="402"/>
                    <a:pt x="483" y="402"/>
                    <a:pt x="484" y="402"/>
                  </a:cubicBezTo>
                  <a:cubicBezTo>
                    <a:pt x="484" y="402"/>
                    <a:pt x="485" y="402"/>
                    <a:pt x="486" y="402"/>
                  </a:cubicBezTo>
                  <a:cubicBezTo>
                    <a:pt x="487" y="402"/>
                    <a:pt x="488" y="403"/>
                    <a:pt x="489" y="403"/>
                  </a:cubicBezTo>
                  <a:cubicBezTo>
                    <a:pt x="490" y="403"/>
                    <a:pt x="490" y="402"/>
                    <a:pt x="491" y="402"/>
                  </a:cubicBezTo>
                  <a:cubicBezTo>
                    <a:pt x="492" y="402"/>
                    <a:pt x="494" y="399"/>
                    <a:pt x="495" y="399"/>
                  </a:cubicBezTo>
                  <a:cubicBezTo>
                    <a:pt x="497" y="398"/>
                    <a:pt x="499" y="398"/>
                    <a:pt x="500" y="398"/>
                  </a:cubicBezTo>
                  <a:cubicBezTo>
                    <a:pt x="501" y="398"/>
                    <a:pt x="502" y="398"/>
                    <a:pt x="503" y="398"/>
                  </a:cubicBezTo>
                  <a:cubicBezTo>
                    <a:pt x="501" y="399"/>
                    <a:pt x="494" y="399"/>
                    <a:pt x="497" y="401"/>
                  </a:cubicBezTo>
                  <a:cubicBezTo>
                    <a:pt x="496" y="401"/>
                    <a:pt x="496" y="401"/>
                    <a:pt x="496" y="401"/>
                  </a:cubicBezTo>
                  <a:cubicBezTo>
                    <a:pt x="494" y="401"/>
                    <a:pt x="493" y="404"/>
                    <a:pt x="496" y="404"/>
                  </a:cubicBezTo>
                  <a:cubicBezTo>
                    <a:pt x="495" y="404"/>
                    <a:pt x="494" y="404"/>
                    <a:pt x="493" y="404"/>
                  </a:cubicBezTo>
                  <a:cubicBezTo>
                    <a:pt x="493" y="405"/>
                    <a:pt x="494" y="407"/>
                    <a:pt x="496" y="408"/>
                  </a:cubicBezTo>
                  <a:cubicBezTo>
                    <a:pt x="496" y="408"/>
                    <a:pt x="498" y="408"/>
                    <a:pt x="499" y="408"/>
                  </a:cubicBezTo>
                  <a:cubicBezTo>
                    <a:pt x="501" y="408"/>
                    <a:pt x="504" y="408"/>
                    <a:pt x="505" y="406"/>
                  </a:cubicBezTo>
                  <a:cubicBezTo>
                    <a:pt x="504" y="410"/>
                    <a:pt x="502" y="410"/>
                    <a:pt x="499" y="410"/>
                  </a:cubicBezTo>
                  <a:cubicBezTo>
                    <a:pt x="499" y="410"/>
                    <a:pt x="498" y="410"/>
                    <a:pt x="498" y="410"/>
                  </a:cubicBezTo>
                  <a:cubicBezTo>
                    <a:pt x="499" y="411"/>
                    <a:pt x="499" y="411"/>
                    <a:pt x="499" y="411"/>
                  </a:cubicBezTo>
                  <a:cubicBezTo>
                    <a:pt x="498" y="411"/>
                    <a:pt x="498" y="411"/>
                    <a:pt x="498" y="411"/>
                  </a:cubicBezTo>
                  <a:cubicBezTo>
                    <a:pt x="497" y="411"/>
                    <a:pt x="497" y="411"/>
                    <a:pt x="496" y="411"/>
                  </a:cubicBezTo>
                  <a:cubicBezTo>
                    <a:pt x="496" y="411"/>
                    <a:pt x="495" y="411"/>
                    <a:pt x="495" y="411"/>
                  </a:cubicBezTo>
                  <a:cubicBezTo>
                    <a:pt x="495" y="411"/>
                    <a:pt x="495" y="411"/>
                    <a:pt x="494" y="411"/>
                  </a:cubicBezTo>
                  <a:cubicBezTo>
                    <a:pt x="495" y="412"/>
                    <a:pt x="495" y="413"/>
                    <a:pt x="496" y="413"/>
                  </a:cubicBezTo>
                  <a:cubicBezTo>
                    <a:pt x="498" y="413"/>
                    <a:pt x="501" y="411"/>
                    <a:pt x="503" y="411"/>
                  </a:cubicBezTo>
                  <a:cubicBezTo>
                    <a:pt x="503" y="411"/>
                    <a:pt x="503" y="411"/>
                    <a:pt x="503" y="411"/>
                  </a:cubicBezTo>
                  <a:cubicBezTo>
                    <a:pt x="504" y="411"/>
                    <a:pt x="504" y="411"/>
                    <a:pt x="505" y="411"/>
                  </a:cubicBezTo>
                  <a:cubicBezTo>
                    <a:pt x="505" y="411"/>
                    <a:pt x="506" y="411"/>
                    <a:pt x="506" y="411"/>
                  </a:cubicBezTo>
                  <a:cubicBezTo>
                    <a:pt x="507" y="411"/>
                    <a:pt x="509" y="411"/>
                    <a:pt x="509" y="410"/>
                  </a:cubicBezTo>
                  <a:cubicBezTo>
                    <a:pt x="508" y="412"/>
                    <a:pt x="506" y="413"/>
                    <a:pt x="504" y="415"/>
                  </a:cubicBezTo>
                  <a:cubicBezTo>
                    <a:pt x="507" y="415"/>
                    <a:pt x="509" y="413"/>
                    <a:pt x="512" y="413"/>
                  </a:cubicBezTo>
                  <a:cubicBezTo>
                    <a:pt x="512" y="413"/>
                    <a:pt x="512" y="413"/>
                    <a:pt x="512" y="413"/>
                  </a:cubicBezTo>
                  <a:cubicBezTo>
                    <a:pt x="513" y="413"/>
                    <a:pt x="514" y="413"/>
                    <a:pt x="515" y="413"/>
                  </a:cubicBezTo>
                  <a:cubicBezTo>
                    <a:pt x="516" y="414"/>
                    <a:pt x="517" y="414"/>
                    <a:pt x="518" y="414"/>
                  </a:cubicBezTo>
                  <a:cubicBezTo>
                    <a:pt x="518" y="414"/>
                    <a:pt x="518" y="414"/>
                    <a:pt x="518" y="414"/>
                  </a:cubicBezTo>
                  <a:cubicBezTo>
                    <a:pt x="518" y="417"/>
                    <a:pt x="514" y="419"/>
                    <a:pt x="512" y="421"/>
                  </a:cubicBezTo>
                  <a:cubicBezTo>
                    <a:pt x="515" y="422"/>
                    <a:pt x="518" y="422"/>
                    <a:pt x="522" y="422"/>
                  </a:cubicBezTo>
                  <a:cubicBezTo>
                    <a:pt x="525" y="422"/>
                    <a:pt x="528" y="422"/>
                    <a:pt x="530" y="422"/>
                  </a:cubicBezTo>
                  <a:cubicBezTo>
                    <a:pt x="532" y="422"/>
                    <a:pt x="533" y="420"/>
                    <a:pt x="534" y="418"/>
                  </a:cubicBezTo>
                  <a:cubicBezTo>
                    <a:pt x="535" y="417"/>
                    <a:pt x="537" y="417"/>
                    <a:pt x="538" y="415"/>
                  </a:cubicBezTo>
                  <a:cubicBezTo>
                    <a:pt x="539" y="414"/>
                    <a:pt x="540" y="413"/>
                    <a:pt x="542" y="412"/>
                  </a:cubicBezTo>
                  <a:cubicBezTo>
                    <a:pt x="539" y="414"/>
                    <a:pt x="539" y="415"/>
                    <a:pt x="538" y="418"/>
                  </a:cubicBezTo>
                  <a:cubicBezTo>
                    <a:pt x="536" y="421"/>
                    <a:pt x="537" y="421"/>
                    <a:pt x="537" y="423"/>
                  </a:cubicBezTo>
                  <a:cubicBezTo>
                    <a:pt x="537" y="423"/>
                    <a:pt x="537" y="423"/>
                    <a:pt x="537" y="423"/>
                  </a:cubicBezTo>
                  <a:cubicBezTo>
                    <a:pt x="535" y="423"/>
                    <a:pt x="536" y="424"/>
                    <a:pt x="536" y="425"/>
                  </a:cubicBezTo>
                  <a:cubicBezTo>
                    <a:pt x="536" y="427"/>
                    <a:pt x="534" y="427"/>
                    <a:pt x="538" y="428"/>
                  </a:cubicBezTo>
                  <a:cubicBezTo>
                    <a:pt x="541" y="430"/>
                    <a:pt x="545" y="431"/>
                    <a:pt x="549" y="433"/>
                  </a:cubicBezTo>
                  <a:cubicBezTo>
                    <a:pt x="551" y="433"/>
                    <a:pt x="556" y="434"/>
                    <a:pt x="556" y="436"/>
                  </a:cubicBezTo>
                  <a:cubicBezTo>
                    <a:pt x="562" y="436"/>
                    <a:pt x="568" y="435"/>
                    <a:pt x="574" y="435"/>
                  </a:cubicBezTo>
                  <a:cubicBezTo>
                    <a:pt x="578" y="435"/>
                    <a:pt x="583" y="434"/>
                    <a:pt x="587" y="434"/>
                  </a:cubicBezTo>
                  <a:cubicBezTo>
                    <a:pt x="589" y="434"/>
                    <a:pt x="591" y="434"/>
                    <a:pt x="592" y="435"/>
                  </a:cubicBezTo>
                  <a:cubicBezTo>
                    <a:pt x="597" y="435"/>
                    <a:pt x="602" y="436"/>
                    <a:pt x="606" y="437"/>
                  </a:cubicBezTo>
                  <a:cubicBezTo>
                    <a:pt x="608" y="438"/>
                    <a:pt x="609" y="438"/>
                    <a:pt x="611" y="438"/>
                  </a:cubicBezTo>
                  <a:cubicBezTo>
                    <a:pt x="612" y="438"/>
                    <a:pt x="612" y="438"/>
                    <a:pt x="613" y="438"/>
                  </a:cubicBezTo>
                  <a:cubicBezTo>
                    <a:pt x="614" y="438"/>
                    <a:pt x="617" y="437"/>
                    <a:pt x="617" y="436"/>
                  </a:cubicBezTo>
                  <a:cubicBezTo>
                    <a:pt x="618" y="435"/>
                    <a:pt x="614" y="434"/>
                    <a:pt x="616" y="433"/>
                  </a:cubicBezTo>
                  <a:cubicBezTo>
                    <a:pt x="616" y="433"/>
                    <a:pt x="616" y="432"/>
                    <a:pt x="616" y="432"/>
                  </a:cubicBezTo>
                  <a:cubicBezTo>
                    <a:pt x="618" y="432"/>
                    <a:pt x="621" y="438"/>
                    <a:pt x="620" y="439"/>
                  </a:cubicBezTo>
                  <a:cubicBezTo>
                    <a:pt x="619" y="440"/>
                    <a:pt x="616" y="441"/>
                    <a:pt x="616" y="441"/>
                  </a:cubicBezTo>
                  <a:cubicBezTo>
                    <a:pt x="622" y="445"/>
                    <a:pt x="632" y="448"/>
                    <a:pt x="640" y="448"/>
                  </a:cubicBezTo>
                  <a:cubicBezTo>
                    <a:pt x="640" y="448"/>
                    <a:pt x="640" y="448"/>
                    <a:pt x="640" y="448"/>
                  </a:cubicBezTo>
                  <a:cubicBezTo>
                    <a:pt x="644" y="448"/>
                    <a:pt x="647" y="446"/>
                    <a:pt x="651" y="444"/>
                  </a:cubicBezTo>
                  <a:cubicBezTo>
                    <a:pt x="653" y="444"/>
                    <a:pt x="653" y="443"/>
                    <a:pt x="655" y="442"/>
                  </a:cubicBezTo>
                  <a:cubicBezTo>
                    <a:pt x="656" y="441"/>
                    <a:pt x="658" y="440"/>
                    <a:pt x="659" y="439"/>
                  </a:cubicBezTo>
                  <a:cubicBezTo>
                    <a:pt x="660" y="438"/>
                    <a:pt x="659" y="436"/>
                    <a:pt x="661" y="436"/>
                  </a:cubicBezTo>
                  <a:cubicBezTo>
                    <a:pt x="661" y="436"/>
                    <a:pt x="661" y="436"/>
                    <a:pt x="662" y="436"/>
                  </a:cubicBezTo>
                  <a:cubicBezTo>
                    <a:pt x="666" y="437"/>
                    <a:pt x="671" y="442"/>
                    <a:pt x="675" y="444"/>
                  </a:cubicBezTo>
                  <a:cubicBezTo>
                    <a:pt x="673" y="443"/>
                    <a:pt x="671" y="443"/>
                    <a:pt x="669" y="443"/>
                  </a:cubicBezTo>
                  <a:cubicBezTo>
                    <a:pt x="668" y="443"/>
                    <a:pt x="667" y="443"/>
                    <a:pt x="666" y="444"/>
                  </a:cubicBezTo>
                  <a:cubicBezTo>
                    <a:pt x="665" y="445"/>
                    <a:pt x="666" y="448"/>
                    <a:pt x="667" y="449"/>
                  </a:cubicBezTo>
                  <a:cubicBezTo>
                    <a:pt x="667" y="451"/>
                    <a:pt x="666" y="452"/>
                    <a:pt x="666" y="452"/>
                  </a:cubicBezTo>
                  <a:cubicBezTo>
                    <a:pt x="666" y="452"/>
                    <a:pt x="665" y="451"/>
                    <a:pt x="665" y="450"/>
                  </a:cubicBezTo>
                  <a:cubicBezTo>
                    <a:pt x="666" y="448"/>
                    <a:pt x="665" y="446"/>
                    <a:pt x="665" y="443"/>
                  </a:cubicBezTo>
                  <a:cubicBezTo>
                    <a:pt x="665" y="442"/>
                    <a:pt x="665" y="443"/>
                    <a:pt x="665" y="441"/>
                  </a:cubicBezTo>
                  <a:cubicBezTo>
                    <a:pt x="665" y="441"/>
                    <a:pt x="664" y="440"/>
                    <a:pt x="663" y="439"/>
                  </a:cubicBezTo>
                  <a:cubicBezTo>
                    <a:pt x="663" y="439"/>
                    <a:pt x="663" y="439"/>
                    <a:pt x="662" y="439"/>
                  </a:cubicBezTo>
                  <a:cubicBezTo>
                    <a:pt x="660" y="439"/>
                    <a:pt x="659" y="440"/>
                    <a:pt x="658" y="442"/>
                  </a:cubicBezTo>
                  <a:cubicBezTo>
                    <a:pt x="658" y="443"/>
                    <a:pt x="660" y="445"/>
                    <a:pt x="660" y="446"/>
                  </a:cubicBezTo>
                  <a:cubicBezTo>
                    <a:pt x="661" y="449"/>
                    <a:pt x="661" y="447"/>
                    <a:pt x="660" y="449"/>
                  </a:cubicBezTo>
                  <a:cubicBezTo>
                    <a:pt x="659" y="451"/>
                    <a:pt x="659" y="451"/>
                    <a:pt x="659" y="451"/>
                  </a:cubicBezTo>
                  <a:cubicBezTo>
                    <a:pt x="658" y="452"/>
                    <a:pt x="656" y="453"/>
                    <a:pt x="655" y="453"/>
                  </a:cubicBezTo>
                  <a:cubicBezTo>
                    <a:pt x="655" y="453"/>
                    <a:pt x="654" y="453"/>
                    <a:pt x="653" y="453"/>
                  </a:cubicBezTo>
                  <a:cubicBezTo>
                    <a:pt x="653" y="453"/>
                    <a:pt x="653" y="453"/>
                    <a:pt x="653" y="453"/>
                  </a:cubicBezTo>
                  <a:cubicBezTo>
                    <a:pt x="656" y="455"/>
                    <a:pt x="659" y="456"/>
                    <a:pt x="662" y="458"/>
                  </a:cubicBezTo>
                  <a:cubicBezTo>
                    <a:pt x="668" y="460"/>
                    <a:pt x="674" y="464"/>
                    <a:pt x="680" y="466"/>
                  </a:cubicBezTo>
                  <a:cubicBezTo>
                    <a:pt x="680" y="466"/>
                    <a:pt x="680" y="466"/>
                    <a:pt x="681" y="466"/>
                  </a:cubicBezTo>
                  <a:cubicBezTo>
                    <a:pt x="682" y="466"/>
                    <a:pt x="684" y="465"/>
                    <a:pt x="685" y="465"/>
                  </a:cubicBezTo>
                  <a:cubicBezTo>
                    <a:pt x="685" y="467"/>
                    <a:pt x="683" y="468"/>
                    <a:pt x="682" y="468"/>
                  </a:cubicBezTo>
                  <a:cubicBezTo>
                    <a:pt x="682" y="468"/>
                    <a:pt x="682" y="467"/>
                    <a:pt x="682" y="467"/>
                  </a:cubicBezTo>
                  <a:cubicBezTo>
                    <a:pt x="688" y="473"/>
                    <a:pt x="695" y="477"/>
                    <a:pt x="701" y="481"/>
                  </a:cubicBezTo>
                  <a:cubicBezTo>
                    <a:pt x="709" y="486"/>
                    <a:pt x="717" y="492"/>
                    <a:pt x="725" y="497"/>
                  </a:cubicBezTo>
                  <a:cubicBezTo>
                    <a:pt x="726" y="498"/>
                    <a:pt x="726" y="498"/>
                    <a:pt x="726" y="498"/>
                  </a:cubicBezTo>
                  <a:cubicBezTo>
                    <a:pt x="727" y="498"/>
                    <a:pt x="727" y="497"/>
                    <a:pt x="727" y="496"/>
                  </a:cubicBezTo>
                  <a:cubicBezTo>
                    <a:pt x="727" y="495"/>
                    <a:pt x="727" y="494"/>
                    <a:pt x="727" y="494"/>
                  </a:cubicBezTo>
                  <a:cubicBezTo>
                    <a:pt x="727" y="494"/>
                    <a:pt x="727" y="494"/>
                    <a:pt x="727" y="494"/>
                  </a:cubicBezTo>
                  <a:cubicBezTo>
                    <a:pt x="728" y="494"/>
                    <a:pt x="728" y="494"/>
                    <a:pt x="729" y="494"/>
                  </a:cubicBezTo>
                  <a:cubicBezTo>
                    <a:pt x="729" y="494"/>
                    <a:pt x="730" y="494"/>
                    <a:pt x="731" y="495"/>
                  </a:cubicBezTo>
                  <a:cubicBezTo>
                    <a:pt x="732" y="495"/>
                    <a:pt x="733" y="495"/>
                    <a:pt x="733" y="495"/>
                  </a:cubicBezTo>
                  <a:cubicBezTo>
                    <a:pt x="735" y="495"/>
                    <a:pt x="731" y="492"/>
                    <a:pt x="730" y="491"/>
                  </a:cubicBezTo>
                  <a:cubicBezTo>
                    <a:pt x="733" y="491"/>
                    <a:pt x="737" y="494"/>
                    <a:pt x="739" y="494"/>
                  </a:cubicBezTo>
                  <a:cubicBezTo>
                    <a:pt x="740" y="494"/>
                    <a:pt x="741" y="493"/>
                    <a:pt x="741" y="492"/>
                  </a:cubicBezTo>
                  <a:cubicBezTo>
                    <a:pt x="741" y="489"/>
                    <a:pt x="739" y="486"/>
                    <a:pt x="738" y="485"/>
                  </a:cubicBezTo>
                  <a:cubicBezTo>
                    <a:pt x="738" y="484"/>
                    <a:pt x="737" y="484"/>
                    <a:pt x="736" y="484"/>
                  </a:cubicBezTo>
                  <a:cubicBezTo>
                    <a:pt x="735" y="484"/>
                    <a:pt x="732" y="485"/>
                    <a:pt x="731" y="485"/>
                  </a:cubicBezTo>
                  <a:cubicBezTo>
                    <a:pt x="732" y="484"/>
                    <a:pt x="734" y="483"/>
                    <a:pt x="734" y="482"/>
                  </a:cubicBezTo>
                  <a:cubicBezTo>
                    <a:pt x="734" y="480"/>
                    <a:pt x="729" y="479"/>
                    <a:pt x="727" y="478"/>
                  </a:cubicBezTo>
                  <a:cubicBezTo>
                    <a:pt x="729" y="478"/>
                    <a:pt x="730" y="479"/>
                    <a:pt x="731" y="479"/>
                  </a:cubicBezTo>
                  <a:cubicBezTo>
                    <a:pt x="730" y="476"/>
                    <a:pt x="724" y="476"/>
                    <a:pt x="721" y="476"/>
                  </a:cubicBezTo>
                  <a:cubicBezTo>
                    <a:pt x="721" y="476"/>
                    <a:pt x="721" y="476"/>
                    <a:pt x="720" y="476"/>
                  </a:cubicBezTo>
                  <a:cubicBezTo>
                    <a:pt x="718" y="476"/>
                    <a:pt x="718" y="476"/>
                    <a:pt x="717" y="478"/>
                  </a:cubicBezTo>
                  <a:cubicBezTo>
                    <a:pt x="718" y="473"/>
                    <a:pt x="722" y="476"/>
                    <a:pt x="720" y="472"/>
                  </a:cubicBezTo>
                  <a:cubicBezTo>
                    <a:pt x="719" y="472"/>
                    <a:pt x="719" y="472"/>
                    <a:pt x="719" y="472"/>
                  </a:cubicBezTo>
                  <a:cubicBezTo>
                    <a:pt x="718" y="472"/>
                    <a:pt x="716" y="473"/>
                    <a:pt x="714" y="474"/>
                  </a:cubicBezTo>
                  <a:cubicBezTo>
                    <a:pt x="714" y="474"/>
                    <a:pt x="714" y="474"/>
                    <a:pt x="713" y="475"/>
                  </a:cubicBezTo>
                  <a:cubicBezTo>
                    <a:pt x="712" y="475"/>
                    <a:pt x="712" y="475"/>
                    <a:pt x="712" y="475"/>
                  </a:cubicBezTo>
                  <a:cubicBezTo>
                    <a:pt x="711" y="476"/>
                    <a:pt x="710" y="476"/>
                    <a:pt x="710" y="477"/>
                  </a:cubicBezTo>
                  <a:cubicBezTo>
                    <a:pt x="709" y="477"/>
                    <a:pt x="709" y="477"/>
                    <a:pt x="709" y="477"/>
                  </a:cubicBezTo>
                  <a:cubicBezTo>
                    <a:pt x="709" y="477"/>
                    <a:pt x="709" y="477"/>
                    <a:pt x="708" y="477"/>
                  </a:cubicBezTo>
                  <a:cubicBezTo>
                    <a:pt x="706" y="477"/>
                    <a:pt x="705" y="476"/>
                    <a:pt x="705" y="475"/>
                  </a:cubicBezTo>
                  <a:cubicBezTo>
                    <a:pt x="704" y="474"/>
                    <a:pt x="704" y="474"/>
                    <a:pt x="704" y="474"/>
                  </a:cubicBezTo>
                  <a:cubicBezTo>
                    <a:pt x="705" y="472"/>
                    <a:pt x="705" y="472"/>
                    <a:pt x="705" y="472"/>
                  </a:cubicBezTo>
                  <a:cubicBezTo>
                    <a:pt x="704" y="468"/>
                    <a:pt x="704" y="468"/>
                    <a:pt x="704" y="468"/>
                  </a:cubicBezTo>
                  <a:cubicBezTo>
                    <a:pt x="704" y="467"/>
                    <a:pt x="703" y="465"/>
                    <a:pt x="703" y="465"/>
                  </a:cubicBezTo>
                  <a:cubicBezTo>
                    <a:pt x="702" y="465"/>
                    <a:pt x="702" y="465"/>
                    <a:pt x="702" y="465"/>
                  </a:cubicBezTo>
                  <a:cubicBezTo>
                    <a:pt x="701" y="463"/>
                    <a:pt x="698" y="461"/>
                    <a:pt x="696" y="460"/>
                  </a:cubicBezTo>
                  <a:cubicBezTo>
                    <a:pt x="696" y="460"/>
                    <a:pt x="696" y="460"/>
                    <a:pt x="696" y="460"/>
                  </a:cubicBezTo>
                  <a:cubicBezTo>
                    <a:pt x="695" y="459"/>
                    <a:pt x="694" y="458"/>
                    <a:pt x="693" y="458"/>
                  </a:cubicBezTo>
                  <a:cubicBezTo>
                    <a:pt x="680" y="447"/>
                    <a:pt x="680" y="447"/>
                    <a:pt x="680" y="447"/>
                  </a:cubicBezTo>
                  <a:cubicBezTo>
                    <a:pt x="676" y="445"/>
                    <a:pt x="673" y="442"/>
                    <a:pt x="670" y="440"/>
                  </a:cubicBezTo>
                  <a:cubicBezTo>
                    <a:pt x="669" y="439"/>
                    <a:pt x="669" y="439"/>
                    <a:pt x="669" y="439"/>
                  </a:cubicBezTo>
                  <a:cubicBezTo>
                    <a:pt x="667" y="436"/>
                    <a:pt x="666" y="434"/>
                    <a:pt x="667" y="431"/>
                  </a:cubicBezTo>
                  <a:cubicBezTo>
                    <a:pt x="667" y="429"/>
                    <a:pt x="667" y="428"/>
                    <a:pt x="667" y="428"/>
                  </a:cubicBezTo>
                  <a:cubicBezTo>
                    <a:pt x="667" y="428"/>
                    <a:pt x="666" y="428"/>
                    <a:pt x="664" y="428"/>
                  </a:cubicBezTo>
                  <a:cubicBezTo>
                    <a:pt x="663" y="428"/>
                    <a:pt x="663" y="428"/>
                    <a:pt x="663" y="428"/>
                  </a:cubicBezTo>
                  <a:cubicBezTo>
                    <a:pt x="662" y="428"/>
                    <a:pt x="661" y="428"/>
                    <a:pt x="661" y="428"/>
                  </a:cubicBezTo>
                  <a:cubicBezTo>
                    <a:pt x="660" y="428"/>
                    <a:pt x="659" y="428"/>
                    <a:pt x="658" y="428"/>
                  </a:cubicBezTo>
                  <a:cubicBezTo>
                    <a:pt x="657" y="428"/>
                    <a:pt x="656" y="429"/>
                    <a:pt x="655" y="430"/>
                  </a:cubicBezTo>
                  <a:cubicBezTo>
                    <a:pt x="654" y="431"/>
                    <a:pt x="652" y="433"/>
                    <a:pt x="649" y="433"/>
                  </a:cubicBezTo>
                  <a:cubicBezTo>
                    <a:pt x="649" y="433"/>
                    <a:pt x="648" y="433"/>
                    <a:pt x="648" y="433"/>
                  </a:cubicBezTo>
                  <a:cubicBezTo>
                    <a:pt x="627" y="430"/>
                    <a:pt x="627" y="430"/>
                    <a:pt x="627" y="430"/>
                  </a:cubicBezTo>
                  <a:cubicBezTo>
                    <a:pt x="625" y="429"/>
                    <a:pt x="623" y="428"/>
                    <a:pt x="623" y="424"/>
                  </a:cubicBezTo>
                  <a:cubicBezTo>
                    <a:pt x="623" y="423"/>
                    <a:pt x="623" y="423"/>
                    <a:pt x="623" y="423"/>
                  </a:cubicBezTo>
                  <a:cubicBezTo>
                    <a:pt x="623" y="421"/>
                    <a:pt x="623" y="418"/>
                    <a:pt x="623" y="416"/>
                  </a:cubicBezTo>
                  <a:cubicBezTo>
                    <a:pt x="623" y="404"/>
                    <a:pt x="623" y="404"/>
                    <a:pt x="623" y="404"/>
                  </a:cubicBezTo>
                  <a:cubicBezTo>
                    <a:pt x="623" y="397"/>
                    <a:pt x="623" y="389"/>
                    <a:pt x="623" y="382"/>
                  </a:cubicBezTo>
                  <a:cubicBezTo>
                    <a:pt x="623" y="369"/>
                    <a:pt x="623" y="356"/>
                    <a:pt x="623" y="343"/>
                  </a:cubicBezTo>
                  <a:cubicBezTo>
                    <a:pt x="623" y="286"/>
                    <a:pt x="623" y="286"/>
                    <a:pt x="623" y="286"/>
                  </a:cubicBezTo>
                  <a:cubicBezTo>
                    <a:pt x="623" y="262"/>
                    <a:pt x="623" y="237"/>
                    <a:pt x="623" y="213"/>
                  </a:cubicBezTo>
                  <a:cubicBezTo>
                    <a:pt x="623" y="212"/>
                    <a:pt x="623" y="212"/>
                    <a:pt x="623" y="212"/>
                  </a:cubicBezTo>
                  <a:cubicBezTo>
                    <a:pt x="623" y="183"/>
                    <a:pt x="623" y="144"/>
                    <a:pt x="623" y="110"/>
                  </a:cubicBezTo>
                  <a:cubicBezTo>
                    <a:pt x="623" y="73"/>
                    <a:pt x="623" y="73"/>
                    <a:pt x="623" y="73"/>
                  </a:cubicBezTo>
                  <a:cubicBezTo>
                    <a:pt x="621" y="72"/>
                    <a:pt x="618" y="71"/>
                    <a:pt x="616" y="70"/>
                  </a:cubicBezTo>
                  <a:cubicBezTo>
                    <a:pt x="608" y="67"/>
                    <a:pt x="600" y="64"/>
                    <a:pt x="592" y="61"/>
                  </a:cubicBezTo>
                  <a:cubicBezTo>
                    <a:pt x="587" y="59"/>
                    <a:pt x="582" y="59"/>
                    <a:pt x="576" y="58"/>
                  </a:cubicBezTo>
                  <a:cubicBezTo>
                    <a:pt x="572" y="58"/>
                    <a:pt x="566" y="57"/>
                    <a:pt x="561" y="57"/>
                  </a:cubicBezTo>
                  <a:cubicBezTo>
                    <a:pt x="559" y="57"/>
                    <a:pt x="557" y="58"/>
                    <a:pt x="556" y="58"/>
                  </a:cubicBezTo>
                  <a:cubicBezTo>
                    <a:pt x="555" y="58"/>
                    <a:pt x="556" y="59"/>
                    <a:pt x="554" y="59"/>
                  </a:cubicBezTo>
                  <a:cubicBezTo>
                    <a:pt x="554" y="59"/>
                    <a:pt x="553" y="59"/>
                    <a:pt x="553" y="59"/>
                  </a:cubicBezTo>
                  <a:cubicBezTo>
                    <a:pt x="551" y="59"/>
                    <a:pt x="549" y="58"/>
                    <a:pt x="546" y="58"/>
                  </a:cubicBezTo>
                  <a:cubicBezTo>
                    <a:pt x="546" y="58"/>
                    <a:pt x="546" y="58"/>
                    <a:pt x="545" y="58"/>
                  </a:cubicBezTo>
                  <a:cubicBezTo>
                    <a:pt x="543" y="59"/>
                    <a:pt x="542" y="60"/>
                    <a:pt x="539" y="60"/>
                  </a:cubicBezTo>
                  <a:cubicBezTo>
                    <a:pt x="539" y="60"/>
                    <a:pt x="539" y="60"/>
                    <a:pt x="539" y="60"/>
                  </a:cubicBezTo>
                  <a:cubicBezTo>
                    <a:pt x="534" y="60"/>
                    <a:pt x="530" y="60"/>
                    <a:pt x="525" y="58"/>
                  </a:cubicBezTo>
                  <a:cubicBezTo>
                    <a:pt x="519" y="56"/>
                    <a:pt x="516" y="52"/>
                    <a:pt x="509" y="52"/>
                  </a:cubicBezTo>
                  <a:cubicBezTo>
                    <a:pt x="505" y="52"/>
                    <a:pt x="501" y="52"/>
                    <a:pt x="497" y="52"/>
                  </a:cubicBezTo>
                  <a:cubicBezTo>
                    <a:pt x="494" y="52"/>
                    <a:pt x="492" y="52"/>
                    <a:pt x="489" y="52"/>
                  </a:cubicBezTo>
                  <a:cubicBezTo>
                    <a:pt x="488" y="52"/>
                    <a:pt x="487" y="52"/>
                    <a:pt x="486" y="52"/>
                  </a:cubicBezTo>
                  <a:cubicBezTo>
                    <a:pt x="483" y="52"/>
                    <a:pt x="481" y="52"/>
                    <a:pt x="479" y="51"/>
                  </a:cubicBezTo>
                  <a:cubicBezTo>
                    <a:pt x="465" y="49"/>
                    <a:pt x="452" y="47"/>
                    <a:pt x="438" y="45"/>
                  </a:cubicBezTo>
                  <a:cubicBezTo>
                    <a:pt x="431" y="43"/>
                    <a:pt x="423" y="41"/>
                    <a:pt x="415" y="41"/>
                  </a:cubicBezTo>
                  <a:cubicBezTo>
                    <a:pt x="414" y="41"/>
                    <a:pt x="412" y="41"/>
                    <a:pt x="410" y="42"/>
                  </a:cubicBezTo>
                  <a:cubicBezTo>
                    <a:pt x="410" y="42"/>
                    <a:pt x="410" y="42"/>
                    <a:pt x="410" y="42"/>
                  </a:cubicBezTo>
                  <a:cubicBezTo>
                    <a:pt x="409" y="42"/>
                    <a:pt x="407" y="41"/>
                    <a:pt x="404" y="41"/>
                  </a:cubicBezTo>
                  <a:cubicBezTo>
                    <a:pt x="402" y="41"/>
                    <a:pt x="399" y="41"/>
                    <a:pt x="396" y="41"/>
                  </a:cubicBezTo>
                  <a:cubicBezTo>
                    <a:pt x="392" y="41"/>
                    <a:pt x="388" y="41"/>
                    <a:pt x="390" y="43"/>
                  </a:cubicBezTo>
                  <a:cubicBezTo>
                    <a:pt x="390" y="43"/>
                    <a:pt x="390" y="43"/>
                    <a:pt x="389" y="43"/>
                  </a:cubicBezTo>
                  <a:cubicBezTo>
                    <a:pt x="387" y="43"/>
                    <a:pt x="385" y="42"/>
                    <a:pt x="382" y="42"/>
                  </a:cubicBezTo>
                  <a:cubicBezTo>
                    <a:pt x="378" y="41"/>
                    <a:pt x="378" y="40"/>
                    <a:pt x="375" y="38"/>
                  </a:cubicBezTo>
                  <a:cubicBezTo>
                    <a:pt x="376" y="37"/>
                    <a:pt x="376" y="37"/>
                    <a:pt x="377" y="36"/>
                  </a:cubicBezTo>
                  <a:cubicBezTo>
                    <a:pt x="375" y="36"/>
                    <a:pt x="374" y="36"/>
                    <a:pt x="372" y="36"/>
                  </a:cubicBezTo>
                  <a:cubicBezTo>
                    <a:pt x="367" y="36"/>
                    <a:pt x="363" y="36"/>
                    <a:pt x="358" y="36"/>
                  </a:cubicBezTo>
                  <a:cubicBezTo>
                    <a:pt x="360" y="35"/>
                    <a:pt x="364" y="35"/>
                    <a:pt x="366" y="35"/>
                  </a:cubicBezTo>
                  <a:cubicBezTo>
                    <a:pt x="366" y="35"/>
                    <a:pt x="366" y="35"/>
                    <a:pt x="366" y="35"/>
                  </a:cubicBezTo>
                  <a:cubicBezTo>
                    <a:pt x="366" y="35"/>
                    <a:pt x="367" y="35"/>
                    <a:pt x="367" y="35"/>
                  </a:cubicBezTo>
                  <a:cubicBezTo>
                    <a:pt x="367" y="35"/>
                    <a:pt x="368" y="35"/>
                    <a:pt x="368" y="35"/>
                  </a:cubicBezTo>
                  <a:cubicBezTo>
                    <a:pt x="369" y="35"/>
                    <a:pt x="369" y="35"/>
                    <a:pt x="369" y="35"/>
                  </a:cubicBezTo>
                  <a:cubicBezTo>
                    <a:pt x="366" y="33"/>
                    <a:pt x="363" y="32"/>
                    <a:pt x="360" y="30"/>
                  </a:cubicBezTo>
                  <a:cubicBezTo>
                    <a:pt x="360" y="30"/>
                    <a:pt x="365" y="27"/>
                    <a:pt x="365" y="25"/>
                  </a:cubicBezTo>
                  <a:cubicBezTo>
                    <a:pt x="365" y="25"/>
                    <a:pt x="366" y="24"/>
                    <a:pt x="364" y="24"/>
                  </a:cubicBezTo>
                  <a:cubicBezTo>
                    <a:pt x="361" y="24"/>
                    <a:pt x="358" y="23"/>
                    <a:pt x="355" y="23"/>
                  </a:cubicBezTo>
                  <a:cubicBezTo>
                    <a:pt x="349" y="23"/>
                    <a:pt x="343" y="22"/>
                    <a:pt x="337" y="22"/>
                  </a:cubicBezTo>
                  <a:cubicBezTo>
                    <a:pt x="337" y="22"/>
                    <a:pt x="336" y="22"/>
                    <a:pt x="336" y="22"/>
                  </a:cubicBezTo>
                  <a:cubicBezTo>
                    <a:pt x="336" y="22"/>
                    <a:pt x="336" y="22"/>
                    <a:pt x="336" y="22"/>
                  </a:cubicBezTo>
                  <a:cubicBezTo>
                    <a:pt x="335" y="22"/>
                    <a:pt x="334" y="22"/>
                    <a:pt x="333" y="22"/>
                  </a:cubicBezTo>
                  <a:cubicBezTo>
                    <a:pt x="332" y="22"/>
                    <a:pt x="331" y="22"/>
                    <a:pt x="330" y="22"/>
                  </a:cubicBezTo>
                  <a:cubicBezTo>
                    <a:pt x="329" y="22"/>
                    <a:pt x="329" y="22"/>
                    <a:pt x="328" y="22"/>
                  </a:cubicBezTo>
                  <a:cubicBezTo>
                    <a:pt x="326" y="22"/>
                    <a:pt x="325" y="24"/>
                    <a:pt x="323" y="25"/>
                  </a:cubicBezTo>
                  <a:cubicBezTo>
                    <a:pt x="322" y="26"/>
                    <a:pt x="320" y="26"/>
                    <a:pt x="319" y="26"/>
                  </a:cubicBezTo>
                  <a:cubicBezTo>
                    <a:pt x="316" y="26"/>
                    <a:pt x="314" y="25"/>
                    <a:pt x="311" y="24"/>
                  </a:cubicBezTo>
                  <a:cubicBezTo>
                    <a:pt x="308" y="21"/>
                    <a:pt x="311" y="18"/>
                    <a:pt x="310" y="16"/>
                  </a:cubicBezTo>
                  <a:cubicBezTo>
                    <a:pt x="310" y="15"/>
                    <a:pt x="308" y="14"/>
                    <a:pt x="307" y="14"/>
                  </a:cubicBezTo>
                  <a:cubicBezTo>
                    <a:pt x="306" y="14"/>
                    <a:pt x="305" y="15"/>
                    <a:pt x="304" y="15"/>
                  </a:cubicBezTo>
                  <a:cubicBezTo>
                    <a:pt x="302" y="16"/>
                    <a:pt x="301" y="16"/>
                    <a:pt x="301" y="16"/>
                  </a:cubicBezTo>
                  <a:cubicBezTo>
                    <a:pt x="301" y="16"/>
                    <a:pt x="300" y="16"/>
                    <a:pt x="300" y="16"/>
                  </a:cubicBezTo>
                  <a:cubicBezTo>
                    <a:pt x="299" y="15"/>
                    <a:pt x="301" y="12"/>
                    <a:pt x="300" y="11"/>
                  </a:cubicBezTo>
                  <a:cubicBezTo>
                    <a:pt x="300" y="11"/>
                    <a:pt x="300" y="11"/>
                    <a:pt x="300" y="11"/>
                  </a:cubicBezTo>
                  <a:cubicBezTo>
                    <a:pt x="298" y="11"/>
                    <a:pt x="296" y="13"/>
                    <a:pt x="295" y="14"/>
                  </a:cubicBezTo>
                  <a:cubicBezTo>
                    <a:pt x="297" y="15"/>
                    <a:pt x="297" y="15"/>
                    <a:pt x="297" y="15"/>
                  </a:cubicBezTo>
                  <a:cubicBezTo>
                    <a:pt x="297" y="17"/>
                    <a:pt x="297" y="17"/>
                    <a:pt x="296" y="17"/>
                  </a:cubicBezTo>
                  <a:cubicBezTo>
                    <a:pt x="296" y="17"/>
                    <a:pt x="296" y="17"/>
                    <a:pt x="295" y="17"/>
                  </a:cubicBezTo>
                  <a:cubicBezTo>
                    <a:pt x="295" y="17"/>
                    <a:pt x="294" y="17"/>
                    <a:pt x="294" y="17"/>
                  </a:cubicBezTo>
                  <a:cubicBezTo>
                    <a:pt x="293" y="17"/>
                    <a:pt x="293" y="17"/>
                    <a:pt x="292" y="17"/>
                  </a:cubicBezTo>
                  <a:cubicBezTo>
                    <a:pt x="290" y="19"/>
                    <a:pt x="290" y="19"/>
                    <a:pt x="290" y="19"/>
                  </a:cubicBezTo>
                  <a:cubicBezTo>
                    <a:pt x="289" y="20"/>
                    <a:pt x="290" y="22"/>
                    <a:pt x="289" y="22"/>
                  </a:cubicBezTo>
                  <a:cubicBezTo>
                    <a:pt x="288" y="24"/>
                    <a:pt x="287" y="24"/>
                    <a:pt x="285" y="24"/>
                  </a:cubicBezTo>
                  <a:cubicBezTo>
                    <a:pt x="285" y="24"/>
                    <a:pt x="285" y="24"/>
                    <a:pt x="285" y="24"/>
                  </a:cubicBezTo>
                  <a:cubicBezTo>
                    <a:pt x="285" y="24"/>
                    <a:pt x="284" y="24"/>
                    <a:pt x="284" y="24"/>
                  </a:cubicBezTo>
                  <a:cubicBezTo>
                    <a:pt x="284" y="24"/>
                    <a:pt x="284" y="24"/>
                    <a:pt x="283" y="24"/>
                  </a:cubicBezTo>
                  <a:cubicBezTo>
                    <a:pt x="283" y="24"/>
                    <a:pt x="283" y="24"/>
                    <a:pt x="283" y="24"/>
                  </a:cubicBezTo>
                  <a:cubicBezTo>
                    <a:pt x="283" y="24"/>
                    <a:pt x="283" y="24"/>
                    <a:pt x="283" y="24"/>
                  </a:cubicBezTo>
                  <a:cubicBezTo>
                    <a:pt x="283" y="24"/>
                    <a:pt x="282" y="24"/>
                    <a:pt x="282" y="24"/>
                  </a:cubicBezTo>
                  <a:cubicBezTo>
                    <a:pt x="282" y="24"/>
                    <a:pt x="281" y="24"/>
                    <a:pt x="280" y="25"/>
                  </a:cubicBezTo>
                  <a:cubicBezTo>
                    <a:pt x="280" y="25"/>
                    <a:pt x="281" y="27"/>
                    <a:pt x="280" y="27"/>
                  </a:cubicBezTo>
                  <a:cubicBezTo>
                    <a:pt x="280" y="27"/>
                    <a:pt x="280" y="27"/>
                    <a:pt x="280" y="27"/>
                  </a:cubicBezTo>
                  <a:cubicBezTo>
                    <a:pt x="279" y="27"/>
                    <a:pt x="278" y="20"/>
                    <a:pt x="279" y="19"/>
                  </a:cubicBezTo>
                  <a:cubicBezTo>
                    <a:pt x="280" y="18"/>
                    <a:pt x="281" y="18"/>
                    <a:pt x="283" y="18"/>
                  </a:cubicBezTo>
                  <a:cubicBezTo>
                    <a:pt x="284" y="17"/>
                    <a:pt x="287" y="16"/>
                    <a:pt x="288" y="14"/>
                  </a:cubicBezTo>
                  <a:cubicBezTo>
                    <a:pt x="289" y="12"/>
                    <a:pt x="288" y="12"/>
                    <a:pt x="285" y="12"/>
                  </a:cubicBezTo>
                  <a:cubicBezTo>
                    <a:pt x="282" y="11"/>
                    <a:pt x="279" y="11"/>
                    <a:pt x="276" y="10"/>
                  </a:cubicBezTo>
                  <a:cubicBezTo>
                    <a:pt x="272" y="8"/>
                    <a:pt x="267" y="6"/>
                    <a:pt x="265" y="3"/>
                  </a:cubicBezTo>
                  <a:cubicBezTo>
                    <a:pt x="266" y="2"/>
                    <a:pt x="268" y="1"/>
                    <a:pt x="270" y="1"/>
                  </a:cubicBezTo>
                  <a:cubicBezTo>
                    <a:pt x="269" y="1"/>
                    <a:pt x="268" y="0"/>
                    <a:pt x="2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343"/>
            <p:cNvSpPr>
              <a:spLocks noChangeArrowheads="1"/>
            </p:cNvSpPr>
            <p:nvPr/>
          </p:nvSpPr>
          <p:spPr bwMode="auto">
            <a:xfrm>
              <a:off x="4584691" y="370922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344"/>
            <p:cNvSpPr>
              <a:spLocks noChangeArrowheads="1"/>
            </p:cNvSpPr>
            <p:nvPr/>
          </p:nvSpPr>
          <p:spPr bwMode="auto">
            <a:xfrm>
              <a:off x="4584691" y="370922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45"/>
            <p:cNvSpPr/>
            <p:nvPr/>
          </p:nvSpPr>
          <p:spPr bwMode="auto">
            <a:xfrm>
              <a:off x="3995729" y="3198047"/>
              <a:ext cx="269875" cy="187325"/>
            </a:xfrm>
            <a:custGeom>
              <a:gdLst>
                <a:gd name="T0" fmla="*/ 30 w 72"/>
                <a:gd name="T1" fmla="*/ 0 h 50"/>
                <a:gd name="T2" fmla="*/ 27 w 72"/>
                <a:gd name="T3" fmla="*/ 2 h 50"/>
                <a:gd name="T4" fmla="*/ 21 w 72"/>
                <a:gd name="T5" fmla="*/ 4 h 50"/>
                <a:gd name="T6" fmla="*/ 18 w 72"/>
                <a:gd name="T7" fmla="*/ 4 h 50"/>
                <a:gd name="T8" fmla="*/ 18 w 72"/>
                <a:gd name="T9" fmla="*/ 5 h 50"/>
                <a:gd name="T10" fmla="*/ 14 w 72"/>
                <a:gd name="T11" fmla="*/ 10 h 50"/>
                <a:gd name="T12" fmla="*/ 13 w 72"/>
                <a:gd name="T13" fmla="*/ 11 h 50"/>
                <a:gd name="T14" fmla="*/ 11 w 72"/>
                <a:gd name="T15" fmla="*/ 18 h 50"/>
                <a:gd name="T16" fmla="*/ 7 w 72"/>
                <a:gd name="T17" fmla="*/ 21 h 50"/>
                <a:gd name="T18" fmla="*/ 4 w 72"/>
                <a:gd name="T19" fmla="*/ 21 h 50"/>
                <a:gd name="T20" fmla="*/ 3 w 72"/>
                <a:gd name="T21" fmla="*/ 21 h 50"/>
                <a:gd name="T22" fmla="*/ 0 w 72"/>
                <a:gd name="T23" fmla="*/ 23 h 50"/>
                <a:gd name="T24" fmla="*/ 5 w 72"/>
                <a:gd name="T25" fmla="*/ 23 h 50"/>
                <a:gd name="T26" fmla="*/ 10 w 72"/>
                <a:gd name="T27" fmla="*/ 29 h 50"/>
                <a:gd name="T28" fmla="*/ 19 w 72"/>
                <a:gd name="T29" fmla="*/ 29 h 50"/>
                <a:gd name="T30" fmla="*/ 21 w 72"/>
                <a:gd name="T31" fmla="*/ 28 h 50"/>
                <a:gd name="T32" fmla="*/ 25 w 72"/>
                <a:gd name="T33" fmla="*/ 27 h 50"/>
                <a:gd name="T34" fmla="*/ 20 w 72"/>
                <a:gd name="T35" fmla="*/ 30 h 50"/>
                <a:gd name="T36" fmla="*/ 25 w 72"/>
                <a:gd name="T37" fmla="*/ 42 h 50"/>
                <a:gd name="T38" fmla="*/ 23 w 72"/>
                <a:gd name="T39" fmla="*/ 44 h 50"/>
                <a:gd name="T40" fmla="*/ 27 w 72"/>
                <a:gd name="T41" fmla="*/ 44 h 50"/>
                <a:gd name="T42" fmla="*/ 31 w 72"/>
                <a:gd name="T43" fmla="*/ 44 h 50"/>
                <a:gd name="T44" fmla="*/ 34 w 72"/>
                <a:gd name="T45" fmla="*/ 44 h 50"/>
                <a:gd name="T46" fmla="*/ 33 w 72"/>
                <a:gd name="T47" fmla="*/ 43 h 50"/>
                <a:gd name="T48" fmla="*/ 33 w 72"/>
                <a:gd name="T49" fmla="*/ 41 h 50"/>
                <a:gd name="T50" fmla="*/ 36 w 72"/>
                <a:gd name="T51" fmla="*/ 47 h 50"/>
                <a:gd name="T52" fmla="*/ 41 w 72"/>
                <a:gd name="T53" fmla="*/ 49 h 50"/>
                <a:gd name="T54" fmla="*/ 40 w 72"/>
                <a:gd name="T55" fmla="*/ 37 h 50"/>
                <a:gd name="T56" fmla="*/ 39 w 72"/>
                <a:gd name="T57" fmla="*/ 31 h 50"/>
                <a:gd name="T58" fmla="*/ 36 w 72"/>
                <a:gd name="T59" fmla="*/ 22 h 50"/>
                <a:gd name="T60" fmla="*/ 32 w 72"/>
                <a:gd name="T61" fmla="*/ 16 h 50"/>
                <a:gd name="T62" fmla="*/ 37 w 72"/>
                <a:gd name="T63" fmla="*/ 17 h 50"/>
                <a:gd name="T64" fmla="*/ 34 w 72"/>
                <a:gd name="T65" fmla="*/ 13 h 50"/>
                <a:gd name="T66" fmla="*/ 36 w 72"/>
                <a:gd name="T67" fmla="*/ 14 h 50"/>
                <a:gd name="T68" fmla="*/ 40 w 72"/>
                <a:gd name="T69" fmla="*/ 23 h 50"/>
                <a:gd name="T70" fmla="*/ 43 w 72"/>
                <a:gd name="T71" fmla="*/ 32 h 50"/>
                <a:gd name="T72" fmla="*/ 44 w 72"/>
                <a:gd name="T73" fmla="*/ 31 h 50"/>
                <a:gd name="T74" fmla="*/ 46 w 72"/>
                <a:gd name="T75" fmla="*/ 31 h 50"/>
                <a:gd name="T76" fmla="*/ 45 w 72"/>
                <a:gd name="T77" fmla="*/ 35 h 50"/>
                <a:gd name="T78" fmla="*/ 50 w 72"/>
                <a:gd name="T79" fmla="*/ 43 h 50"/>
                <a:gd name="T80" fmla="*/ 65 w 72"/>
                <a:gd name="T81" fmla="*/ 49 h 50"/>
                <a:gd name="T82" fmla="*/ 66 w 72"/>
                <a:gd name="T83" fmla="*/ 47 h 50"/>
                <a:gd name="T84" fmla="*/ 68 w 72"/>
                <a:gd name="T85" fmla="*/ 41 h 50"/>
                <a:gd name="T86" fmla="*/ 72 w 72"/>
                <a:gd name="T87" fmla="*/ 40 h 50"/>
                <a:gd name="T88" fmla="*/ 57 w 72"/>
                <a:gd name="T89" fmla="*/ 25 h 50"/>
                <a:gd name="T90" fmla="*/ 50 w 72"/>
                <a:gd name="T91" fmla="*/ 19 h 50"/>
                <a:gd name="T92" fmla="*/ 47 w 72"/>
                <a:gd name="T93" fmla="*/ 18 h 50"/>
                <a:gd name="T94" fmla="*/ 35 w 72"/>
                <a:gd name="T95" fmla="*/ 3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50">
                  <a:moveTo>
                    <a:pt x="32" y="0"/>
                  </a:moveTo>
                  <a:cubicBezTo>
                    <a:pt x="31" y="0"/>
                    <a:pt x="31" y="0"/>
                    <a:pt x="30" y="0"/>
                  </a:cubicBezTo>
                  <a:cubicBezTo>
                    <a:pt x="29" y="1"/>
                    <a:pt x="29" y="1"/>
                    <a:pt x="28" y="1"/>
                  </a:cubicBezTo>
                  <a:cubicBezTo>
                    <a:pt x="27" y="2"/>
                    <a:pt x="27" y="2"/>
                    <a:pt x="27" y="2"/>
                  </a:cubicBezTo>
                  <a:cubicBezTo>
                    <a:pt x="26" y="2"/>
                    <a:pt x="25" y="3"/>
                    <a:pt x="25" y="3"/>
                  </a:cubicBezTo>
                  <a:cubicBezTo>
                    <a:pt x="23" y="3"/>
                    <a:pt x="22" y="3"/>
                    <a:pt x="21" y="4"/>
                  </a:cubicBezTo>
                  <a:cubicBezTo>
                    <a:pt x="19" y="4"/>
                    <a:pt x="19" y="4"/>
                    <a:pt x="19" y="4"/>
                  </a:cubicBezTo>
                  <a:cubicBezTo>
                    <a:pt x="18" y="4"/>
                    <a:pt x="18" y="4"/>
                    <a:pt x="18" y="4"/>
                  </a:cubicBezTo>
                  <a:cubicBezTo>
                    <a:pt x="18" y="4"/>
                    <a:pt x="18" y="4"/>
                    <a:pt x="18" y="4"/>
                  </a:cubicBezTo>
                  <a:cubicBezTo>
                    <a:pt x="18" y="5"/>
                    <a:pt x="18" y="5"/>
                    <a:pt x="18" y="5"/>
                  </a:cubicBezTo>
                  <a:cubicBezTo>
                    <a:pt x="18" y="6"/>
                    <a:pt x="18" y="6"/>
                    <a:pt x="18" y="6"/>
                  </a:cubicBezTo>
                  <a:cubicBezTo>
                    <a:pt x="18" y="8"/>
                    <a:pt x="16" y="9"/>
                    <a:pt x="14" y="10"/>
                  </a:cubicBezTo>
                  <a:cubicBezTo>
                    <a:pt x="13" y="11"/>
                    <a:pt x="13" y="11"/>
                    <a:pt x="13" y="11"/>
                  </a:cubicBezTo>
                  <a:cubicBezTo>
                    <a:pt x="13" y="11"/>
                    <a:pt x="13" y="11"/>
                    <a:pt x="13" y="11"/>
                  </a:cubicBezTo>
                  <a:cubicBezTo>
                    <a:pt x="13" y="12"/>
                    <a:pt x="13" y="12"/>
                    <a:pt x="13" y="12"/>
                  </a:cubicBezTo>
                  <a:cubicBezTo>
                    <a:pt x="13" y="15"/>
                    <a:pt x="12" y="17"/>
                    <a:pt x="11" y="18"/>
                  </a:cubicBezTo>
                  <a:cubicBezTo>
                    <a:pt x="10" y="19"/>
                    <a:pt x="10" y="19"/>
                    <a:pt x="10" y="19"/>
                  </a:cubicBezTo>
                  <a:cubicBezTo>
                    <a:pt x="9" y="20"/>
                    <a:pt x="8" y="20"/>
                    <a:pt x="7" y="21"/>
                  </a:cubicBezTo>
                  <a:cubicBezTo>
                    <a:pt x="6" y="21"/>
                    <a:pt x="6" y="21"/>
                    <a:pt x="5" y="21"/>
                  </a:cubicBezTo>
                  <a:cubicBezTo>
                    <a:pt x="4" y="21"/>
                    <a:pt x="4" y="21"/>
                    <a:pt x="4" y="21"/>
                  </a:cubicBezTo>
                  <a:cubicBezTo>
                    <a:pt x="4" y="21"/>
                    <a:pt x="4" y="21"/>
                    <a:pt x="4" y="21"/>
                  </a:cubicBezTo>
                  <a:cubicBezTo>
                    <a:pt x="3" y="21"/>
                    <a:pt x="3" y="21"/>
                    <a:pt x="3" y="21"/>
                  </a:cubicBezTo>
                  <a:cubicBezTo>
                    <a:pt x="2" y="21"/>
                    <a:pt x="1" y="22"/>
                    <a:pt x="0" y="22"/>
                  </a:cubicBezTo>
                  <a:cubicBezTo>
                    <a:pt x="0" y="23"/>
                    <a:pt x="0" y="23"/>
                    <a:pt x="0" y="23"/>
                  </a:cubicBezTo>
                  <a:cubicBezTo>
                    <a:pt x="3" y="24"/>
                    <a:pt x="6" y="26"/>
                    <a:pt x="7" y="26"/>
                  </a:cubicBezTo>
                  <a:cubicBezTo>
                    <a:pt x="6" y="25"/>
                    <a:pt x="5" y="24"/>
                    <a:pt x="5" y="23"/>
                  </a:cubicBezTo>
                  <a:cubicBezTo>
                    <a:pt x="6" y="23"/>
                    <a:pt x="9" y="24"/>
                    <a:pt x="10" y="25"/>
                  </a:cubicBezTo>
                  <a:cubicBezTo>
                    <a:pt x="10" y="26"/>
                    <a:pt x="9" y="28"/>
                    <a:pt x="10" y="29"/>
                  </a:cubicBezTo>
                  <a:cubicBezTo>
                    <a:pt x="11" y="30"/>
                    <a:pt x="13" y="31"/>
                    <a:pt x="15" y="31"/>
                  </a:cubicBezTo>
                  <a:cubicBezTo>
                    <a:pt x="17" y="31"/>
                    <a:pt x="18" y="30"/>
                    <a:pt x="19" y="29"/>
                  </a:cubicBezTo>
                  <a:cubicBezTo>
                    <a:pt x="20" y="28"/>
                    <a:pt x="18" y="24"/>
                    <a:pt x="18" y="23"/>
                  </a:cubicBezTo>
                  <a:cubicBezTo>
                    <a:pt x="19" y="24"/>
                    <a:pt x="19" y="28"/>
                    <a:pt x="21" y="28"/>
                  </a:cubicBezTo>
                  <a:cubicBezTo>
                    <a:pt x="21" y="28"/>
                    <a:pt x="21" y="28"/>
                    <a:pt x="22" y="28"/>
                  </a:cubicBezTo>
                  <a:cubicBezTo>
                    <a:pt x="23" y="27"/>
                    <a:pt x="24" y="27"/>
                    <a:pt x="25" y="27"/>
                  </a:cubicBezTo>
                  <a:cubicBezTo>
                    <a:pt x="25" y="27"/>
                    <a:pt x="26" y="27"/>
                    <a:pt x="26" y="27"/>
                  </a:cubicBezTo>
                  <a:cubicBezTo>
                    <a:pt x="25" y="28"/>
                    <a:pt x="22" y="28"/>
                    <a:pt x="20" y="30"/>
                  </a:cubicBezTo>
                  <a:cubicBezTo>
                    <a:pt x="20" y="31"/>
                    <a:pt x="21" y="31"/>
                    <a:pt x="22" y="33"/>
                  </a:cubicBezTo>
                  <a:cubicBezTo>
                    <a:pt x="23" y="36"/>
                    <a:pt x="25" y="39"/>
                    <a:pt x="25" y="42"/>
                  </a:cubicBezTo>
                  <a:cubicBezTo>
                    <a:pt x="24" y="42"/>
                    <a:pt x="24" y="42"/>
                    <a:pt x="24" y="42"/>
                  </a:cubicBezTo>
                  <a:cubicBezTo>
                    <a:pt x="22" y="42"/>
                    <a:pt x="23" y="43"/>
                    <a:pt x="23" y="44"/>
                  </a:cubicBezTo>
                  <a:cubicBezTo>
                    <a:pt x="24" y="44"/>
                    <a:pt x="24" y="44"/>
                    <a:pt x="24" y="44"/>
                  </a:cubicBezTo>
                  <a:cubicBezTo>
                    <a:pt x="25" y="44"/>
                    <a:pt x="26" y="44"/>
                    <a:pt x="27" y="44"/>
                  </a:cubicBezTo>
                  <a:cubicBezTo>
                    <a:pt x="28" y="44"/>
                    <a:pt x="29" y="44"/>
                    <a:pt x="30" y="44"/>
                  </a:cubicBezTo>
                  <a:cubicBezTo>
                    <a:pt x="31" y="44"/>
                    <a:pt x="31" y="44"/>
                    <a:pt x="31" y="44"/>
                  </a:cubicBezTo>
                  <a:cubicBezTo>
                    <a:pt x="32" y="44"/>
                    <a:pt x="33" y="45"/>
                    <a:pt x="33" y="45"/>
                  </a:cubicBezTo>
                  <a:cubicBezTo>
                    <a:pt x="33" y="45"/>
                    <a:pt x="34" y="45"/>
                    <a:pt x="34" y="44"/>
                  </a:cubicBezTo>
                  <a:cubicBezTo>
                    <a:pt x="34" y="44"/>
                    <a:pt x="33" y="43"/>
                    <a:pt x="33" y="43"/>
                  </a:cubicBezTo>
                  <a:cubicBezTo>
                    <a:pt x="33" y="43"/>
                    <a:pt x="33" y="43"/>
                    <a:pt x="33" y="43"/>
                  </a:cubicBezTo>
                  <a:cubicBezTo>
                    <a:pt x="33" y="43"/>
                    <a:pt x="33" y="42"/>
                    <a:pt x="33" y="42"/>
                  </a:cubicBezTo>
                  <a:cubicBezTo>
                    <a:pt x="33" y="42"/>
                    <a:pt x="33" y="41"/>
                    <a:pt x="33" y="41"/>
                  </a:cubicBezTo>
                  <a:cubicBezTo>
                    <a:pt x="33" y="41"/>
                    <a:pt x="33" y="41"/>
                    <a:pt x="33" y="42"/>
                  </a:cubicBezTo>
                  <a:cubicBezTo>
                    <a:pt x="34" y="43"/>
                    <a:pt x="34" y="45"/>
                    <a:pt x="36" y="47"/>
                  </a:cubicBezTo>
                  <a:cubicBezTo>
                    <a:pt x="37" y="49"/>
                    <a:pt x="37" y="49"/>
                    <a:pt x="39" y="49"/>
                  </a:cubicBezTo>
                  <a:cubicBezTo>
                    <a:pt x="40" y="49"/>
                    <a:pt x="40" y="49"/>
                    <a:pt x="41" y="49"/>
                  </a:cubicBezTo>
                  <a:cubicBezTo>
                    <a:pt x="44" y="48"/>
                    <a:pt x="43" y="44"/>
                    <a:pt x="42" y="42"/>
                  </a:cubicBezTo>
                  <a:cubicBezTo>
                    <a:pt x="42" y="41"/>
                    <a:pt x="38" y="37"/>
                    <a:pt x="40" y="37"/>
                  </a:cubicBezTo>
                  <a:cubicBezTo>
                    <a:pt x="40" y="37"/>
                    <a:pt x="41" y="37"/>
                    <a:pt x="41" y="37"/>
                  </a:cubicBezTo>
                  <a:cubicBezTo>
                    <a:pt x="40" y="35"/>
                    <a:pt x="39" y="33"/>
                    <a:pt x="39" y="31"/>
                  </a:cubicBezTo>
                  <a:cubicBezTo>
                    <a:pt x="38" y="28"/>
                    <a:pt x="36" y="27"/>
                    <a:pt x="35" y="25"/>
                  </a:cubicBezTo>
                  <a:cubicBezTo>
                    <a:pt x="35" y="24"/>
                    <a:pt x="36" y="23"/>
                    <a:pt x="36" y="22"/>
                  </a:cubicBezTo>
                  <a:cubicBezTo>
                    <a:pt x="35" y="20"/>
                    <a:pt x="35" y="21"/>
                    <a:pt x="34" y="19"/>
                  </a:cubicBezTo>
                  <a:cubicBezTo>
                    <a:pt x="32" y="16"/>
                    <a:pt x="32" y="16"/>
                    <a:pt x="32" y="16"/>
                  </a:cubicBezTo>
                  <a:cubicBezTo>
                    <a:pt x="32" y="16"/>
                    <a:pt x="32" y="16"/>
                    <a:pt x="33" y="16"/>
                  </a:cubicBezTo>
                  <a:cubicBezTo>
                    <a:pt x="34" y="16"/>
                    <a:pt x="36" y="17"/>
                    <a:pt x="37" y="17"/>
                  </a:cubicBezTo>
                  <a:cubicBezTo>
                    <a:pt x="35" y="16"/>
                    <a:pt x="34" y="14"/>
                    <a:pt x="32" y="13"/>
                  </a:cubicBezTo>
                  <a:cubicBezTo>
                    <a:pt x="33" y="13"/>
                    <a:pt x="33" y="13"/>
                    <a:pt x="34" y="13"/>
                  </a:cubicBezTo>
                  <a:cubicBezTo>
                    <a:pt x="36" y="13"/>
                    <a:pt x="36" y="10"/>
                    <a:pt x="36" y="8"/>
                  </a:cubicBezTo>
                  <a:cubicBezTo>
                    <a:pt x="37" y="10"/>
                    <a:pt x="36" y="12"/>
                    <a:pt x="36" y="14"/>
                  </a:cubicBezTo>
                  <a:cubicBezTo>
                    <a:pt x="36" y="15"/>
                    <a:pt x="37" y="15"/>
                    <a:pt x="38" y="17"/>
                  </a:cubicBezTo>
                  <a:cubicBezTo>
                    <a:pt x="39" y="19"/>
                    <a:pt x="40" y="21"/>
                    <a:pt x="40" y="23"/>
                  </a:cubicBezTo>
                  <a:cubicBezTo>
                    <a:pt x="41" y="25"/>
                    <a:pt x="41" y="29"/>
                    <a:pt x="42" y="30"/>
                  </a:cubicBezTo>
                  <a:cubicBezTo>
                    <a:pt x="43" y="32"/>
                    <a:pt x="43" y="32"/>
                    <a:pt x="43" y="32"/>
                  </a:cubicBezTo>
                  <a:cubicBezTo>
                    <a:pt x="43" y="32"/>
                    <a:pt x="43" y="32"/>
                    <a:pt x="43" y="32"/>
                  </a:cubicBezTo>
                  <a:cubicBezTo>
                    <a:pt x="44" y="32"/>
                    <a:pt x="44" y="32"/>
                    <a:pt x="44" y="31"/>
                  </a:cubicBezTo>
                  <a:cubicBezTo>
                    <a:pt x="44" y="31"/>
                    <a:pt x="45" y="31"/>
                    <a:pt x="45" y="31"/>
                  </a:cubicBezTo>
                  <a:cubicBezTo>
                    <a:pt x="45" y="31"/>
                    <a:pt x="45" y="31"/>
                    <a:pt x="46" y="31"/>
                  </a:cubicBezTo>
                  <a:cubicBezTo>
                    <a:pt x="47" y="32"/>
                    <a:pt x="47" y="35"/>
                    <a:pt x="46" y="35"/>
                  </a:cubicBezTo>
                  <a:cubicBezTo>
                    <a:pt x="46" y="35"/>
                    <a:pt x="45" y="35"/>
                    <a:pt x="45" y="35"/>
                  </a:cubicBezTo>
                  <a:cubicBezTo>
                    <a:pt x="45" y="36"/>
                    <a:pt x="47" y="38"/>
                    <a:pt x="48" y="39"/>
                  </a:cubicBezTo>
                  <a:cubicBezTo>
                    <a:pt x="49" y="40"/>
                    <a:pt x="49" y="42"/>
                    <a:pt x="50" y="43"/>
                  </a:cubicBezTo>
                  <a:cubicBezTo>
                    <a:pt x="51" y="45"/>
                    <a:pt x="59" y="50"/>
                    <a:pt x="63" y="50"/>
                  </a:cubicBezTo>
                  <a:cubicBezTo>
                    <a:pt x="64" y="50"/>
                    <a:pt x="65" y="50"/>
                    <a:pt x="65" y="49"/>
                  </a:cubicBezTo>
                  <a:cubicBezTo>
                    <a:pt x="66" y="49"/>
                    <a:pt x="64" y="48"/>
                    <a:pt x="64" y="48"/>
                  </a:cubicBezTo>
                  <a:cubicBezTo>
                    <a:pt x="65" y="47"/>
                    <a:pt x="66" y="47"/>
                    <a:pt x="66" y="47"/>
                  </a:cubicBezTo>
                  <a:cubicBezTo>
                    <a:pt x="66" y="46"/>
                    <a:pt x="67" y="44"/>
                    <a:pt x="67" y="43"/>
                  </a:cubicBezTo>
                  <a:cubicBezTo>
                    <a:pt x="68" y="41"/>
                    <a:pt x="68" y="41"/>
                    <a:pt x="68" y="41"/>
                  </a:cubicBezTo>
                  <a:cubicBezTo>
                    <a:pt x="69" y="40"/>
                    <a:pt x="70" y="40"/>
                    <a:pt x="71" y="40"/>
                  </a:cubicBezTo>
                  <a:cubicBezTo>
                    <a:pt x="72" y="40"/>
                    <a:pt x="72" y="40"/>
                    <a:pt x="72" y="40"/>
                  </a:cubicBezTo>
                  <a:cubicBezTo>
                    <a:pt x="68" y="37"/>
                    <a:pt x="68" y="37"/>
                    <a:pt x="68" y="37"/>
                  </a:cubicBezTo>
                  <a:cubicBezTo>
                    <a:pt x="63" y="33"/>
                    <a:pt x="60" y="30"/>
                    <a:pt x="57" y="25"/>
                  </a:cubicBezTo>
                  <a:cubicBezTo>
                    <a:pt x="55" y="23"/>
                    <a:pt x="54" y="21"/>
                    <a:pt x="52" y="20"/>
                  </a:cubicBezTo>
                  <a:cubicBezTo>
                    <a:pt x="51" y="20"/>
                    <a:pt x="51" y="20"/>
                    <a:pt x="50" y="19"/>
                  </a:cubicBezTo>
                  <a:cubicBezTo>
                    <a:pt x="50" y="19"/>
                    <a:pt x="50" y="19"/>
                    <a:pt x="50" y="19"/>
                  </a:cubicBezTo>
                  <a:cubicBezTo>
                    <a:pt x="49" y="19"/>
                    <a:pt x="48" y="18"/>
                    <a:pt x="47" y="18"/>
                  </a:cubicBezTo>
                  <a:cubicBezTo>
                    <a:pt x="45" y="17"/>
                    <a:pt x="43" y="15"/>
                    <a:pt x="42" y="13"/>
                  </a:cubicBezTo>
                  <a:cubicBezTo>
                    <a:pt x="39" y="9"/>
                    <a:pt x="37" y="6"/>
                    <a:pt x="35" y="3"/>
                  </a:cubicBezTo>
                  <a:cubicBezTo>
                    <a:pt x="33" y="1"/>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46"/>
            <p:cNvSpPr/>
            <p:nvPr/>
          </p:nvSpPr>
          <p:spPr bwMode="auto">
            <a:xfrm>
              <a:off x="4243379" y="3348859"/>
              <a:ext cx="349250" cy="465138"/>
            </a:xfrm>
            <a:custGeom>
              <a:gdLst>
                <a:gd name="T0" fmla="*/ 2 w 93"/>
                <a:gd name="T1" fmla="*/ 5 h 124"/>
                <a:gd name="T2" fmla="*/ 0 w 93"/>
                <a:gd name="T3" fmla="*/ 9 h 124"/>
                <a:gd name="T4" fmla="*/ 2 w 93"/>
                <a:gd name="T5" fmla="*/ 16 h 124"/>
                <a:gd name="T6" fmla="*/ 9 w 93"/>
                <a:gd name="T7" fmla="*/ 13 h 124"/>
                <a:gd name="T8" fmla="*/ 9 w 93"/>
                <a:gd name="T9" fmla="*/ 19 h 124"/>
                <a:gd name="T10" fmla="*/ 7 w 93"/>
                <a:gd name="T11" fmla="*/ 19 h 124"/>
                <a:gd name="T12" fmla="*/ 6 w 93"/>
                <a:gd name="T13" fmla="*/ 21 h 124"/>
                <a:gd name="T14" fmla="*/ 13 w 93"/>
                <a:gd name="T15" fmla="*/ 20 h 124"/>
                <a:gd name="T16" fmla="*/ 19 w 93"/>
                <a:gd name="T17" fmla="*/ 21 h 124"/>
                <a:gd name="T18" fmla="*/ 17 w 93"/>
                <a:gd name="T19" fmla="*/ 21 h 124"/>
                <a:gd name="T20" fmla="*/ 12 w 93"/>
                <a:gd name="T21" fmla="*/ 22 h 124"/>
                <a:gd name="T22" fmla="*/ 11 w 93"/>
                <a:gd name="T23" fmla="*/ 28 h 124"/>
                <a:gd name="T24" fmla="*/ 14 w 93"/>
                <a:gd name="T25" fmla="*/ 31 h 124"/>
                <a:gd name="T26" fmla="*/ 14 w 93"/>
                <a:gd name="T27" fmla="*/ 36 h 124"/>
                <a:gd name="T28" fmla="*/ 16 w 93"/>
                <a:gd name="T29" fmla="*/ 42 h 124"/>
                <a:gd name="T30" fmla="*/ 22 w 93"/>
                <a:gd name="T31" fmla="*/ 46 h 124"/>
                <a:gd name="T32" fmla="*/ 29 w 93"/>
                <a:gd name="T33" fmla="*/ 48 h 124"/>
                <a:gd name="T34" fmla="*/ 28 w 93"/>
                <a:gd name="T35" fmla="*/ 52 h 124"/>
                <a:gd name="T36" fmla="*/ 27 w 93"/>
                <a:gd name="T37" fmla="*/ 52 h 124"/>
                <a:gd name="T38" fmla="*/ 35 w 93"/>
                <a:gd name="T39" fmla="*/ 58 h 124"/>
                <a:gd name="T40" fmla="*/ 37 w 93"/>
                <a:gd name="T41" fmla="*/ 62 h 124"/>
                <a:gd name="T42" fmla="*/ 35 w 93"/>
                <a:gd name="T43" fmla="*/ 63 h 124"/>
                <a:gd name="T44" fmla="*/ 43 w 93"/>
                <a:gd name="T45" fmla="*/ 69 h 124"/>
                <a:gd name="T46" fmla="*/ 49 w 93"/>
                <a:gd name="T47" fmla="*/ 74 h 124"/>
                <a:gd name="T48" fmla="*/ 49 w 93"/>
                <a:gd name="T49" fmla="*/ 84 h 124"/>
                <a:gd name="T50" fmla="*/ 47 w 93"/>
                <a:gd name="T51" fmla="*/ 90 h 124"/>
                <a:gd name="T52" fmla="*/ 44 w 93"/>
                <a:gd name="T53" fmla="*/ 93 h 124"/>
                <a:gd name="T54" fmla="*/ 44 w 93"/>
                <a:gd name="T55" fmla="*/ 97 h 124"/>
                <a:gd name="T56" fmla="*/ 49 w 93"/>
                <a:gd name="T57" fmla="*/ 99 h 124"/>
                <a:gd name="T58" fmla="*/ 54 w 93"/>
                <a:gd name="T59" fmla="*/ 91 h 124"/>
                <a:gd name="T60" fmla="*/ 59 w 93"/>
                <a:gd name="T61" fmla="*/ 85 h 124"/>
                <a:gd name="T62" fmla="*/ 67 w 93"/>
                <a:gd name="T63" fmla="*/ 85 h 124"/>
                <a:gd name="T64" fmla="*/ 74 w 93"/>
                <a:gd name="T65" fmla="*/ 95 h 124"/>
                <a:gd name="T66" fmla="*/ 76 w 93"/>
                <a:gd name="T67" fmla="*/ 106 h 124"/>
                <a:gd name="T68" fmla="*/ 77 w 93"/>
                <a:gd name="T69" fmla="*/ 106 h 124"/>
                <a:gd name="T70" fmla="*/ 77 w 93"/>
                <a:gd name="T71" fmla="*/ 107 h 124"/>
                <a:gd name="T72" fmla="*/ 76 w 93"/>
                <a:gd name="T73" fmla="*/ 107 h 124"/>
                <a:gd name="T74" fmla="*/ 73 w 93"/>
                <a:gd name="T75" fmla="*/ 113 h 124"/>
                <a:gd name="T76" fmla="*/ 71 w 93"/>
                <a:gd name="T77" fmla="*/ 116 h 124"/>
                <a:gd name="T78" fmla="*/ 76 w 93"/>
                <a:gd name="T79" fmla="*/ 124 h 124"/>
                <a:gd name="T80" fmla="*/ 88 w 93"/>
                <a:gd name="T81" fmla="*/ 117 h 124"/>
                <a:gd name="T82" fmla="*/ 89 w 93"/>
                <a:gd name="T83" fmla="*/ 116 h 124"/>
                <a:gd name="T84" fmla="*/ 93 w 93"/>
                <a:gd name="T85" fmla="*/ 107 h 124"/>
                <a:gd name="T86" fmla="*/ 89 w 93"/>
                <a:gd name="T87" fmla="*/ 99 h 124"/>
                <a:gd name="T88" fmla="*/ 90 w 93"/>
                <a:gd name="T89" fmla="*/ 96 h 124"/>
                <a:gd name="T90" fmla="*/ 89 w 93"/>
                <a:gd name="T91" fmla="*/ 95 h 124"/>
                <a:gd name="T92" fmla="*/ 91 w 93"/>
                <a:gd name="T93" fmla="*/ 86 h 124"/>
                <a:gd name="T94" fmla="*/ 90 w 93"/>
                <a:gd name="T95" fmla="*/ 83 h 124"/>
                <a:gd name="T96" fmla="*/ 77 w 93"/>
                <a:gd name="T97" fmla="*/ 76 h 124"/>
                <a:gd name="T98" fmla="*/ 71 w 93"/>
                <a:gd name="T99" fmla="*/ 73 h 124"/>
                <a:gd name="T100" fmla="*/ 65 w 93"/>
                <a:gd name="T101" fmla="*/ 71 h 124"/>
                <a:gd name="T102" fmla="*/ 60 w 93"/>
                <a:gd name="T103" fmla="*/ 69 h 124"/>
                <a:gd name="T104" fmla="*/ 50 w 93"/>
                <a:gd name="T105" fmla="*/ 65 h 124"/>
                <a:gd name="T106" fmla="*/ 49 w 93"/>
                <a:gd name="T107" fmla="*/ 63 h 124"/>
                <a:gd name="T108" fmla="*/ 43 w 93"/>
                <a:gd name="T109" fmla="*/ 56 h 124"/>
                <a:gd name="T110" fmla="*/ 43 w 93"/>
                <a:gd name="T111" fmla="*/ 55 h 124"/>
                <a:gd name="T112" fmla="*/ 39 w 93"/>
                <a:gd name="T113" fmla="*/ 45 h 124"/>
                <a:gd name="T114" fmla="*/ 38 w 93"/>
                <a:gd name="T115" fmla="*/ 41 h 124"/>
                <a:gd name="T116" fmla="*/ 29 w 93"/>
                <a:gd name="T117" fmla="*/ 30 h 124"/>
                <a:gd name="T118" fmla="*/ 24 w 93"/>
                <a:gd name="T119" fmla="*/ 22 h 124"/>
                <a:gd name="T120" fmla="*/ 17 w 93"/>
                <a:gd name="T121" fmla="*/ 11 h 124"/>
                <a:gd name="T122" fmla="*/ 13 w 93"/>
                <a:gd name="T123" fmla="*/ 5 h 1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 h="124">
                  <a:moveTo>
                    <a:pt x="6" y="0"/>
                  </a:moveTo>
                  <a:cubicBezTo>
                    <a:pt x="3" y="1"/>
                    <a:pt x="2" y="2"/>
                    <a:pt x="2" y="5"/>
                  </a:cubicBezTo>
                  <a:cubicBezTo>
                    <a:pt x="1" y="6"/>
                    <a:pt x="2" y="7"/>
                    <a:pt x="1" y="8"/>
                  </a:cubicBezTo>
                  <a:cubicBezTo>
                    <a:pt x="0" y="9"/>
                    <a:pt x="0" y="9"/>
                    <a:pt x="0" y="9"/>
                  </a:cubicBezTo>
                  <a:cubicBezTo>
                    <a:pt x="0" y="10"/>
                    <a:pt x="0" y="10"/>
                    <a:pt x="0" y="10"/>
                  </a:cubicBezTo>
                  <a:cubicBezTo>
                    <a:pt x="0" y="13"/>
                    <a:pt x="0" y="16"/>
                    <a:pt x="2" y="16"/>
                  </a:cubicBezTo>
                  <a:cubicBezTo>
                    <a:pt x="3" y="17"/>
                    <a:pt x="4" y="17"/>
                    <a:pt x="4" y="17"/>
                  </a:cubicBezTo>
                  <a:cubicBezTo>
                    <a:pt x="7" y="17"/>
                    <a:pt x="7" y="13"/>
                    <a:pt x="9" y="13"/>
                  </a:cubicBezTo>
                  <a:cubicBezTo>
                    <a:pt x="8" y="15"/>
                    <a:pt x="6" y="15"/>
                    <a:pt x="8" y="18"/>
                  </a:cubicBezTo>
                  <a:cubicBezTo>
                    <a:pt x="9" y="19"/>
                    <a:pt x="9" y="19"/>
                    <a:pt x="9" y="19"/>
                  </a:cubicBezTo>
                  <a:cubicBezTo>
                    <a:pt x="9" y="19"/>
                    <a:pt x="8" y="19"/>
                    <a:pt x="8" y="19"/>
                  </a:cubicBezTo>
                  <a:cubicBezTo>
                    <a:pt x="8" y="19"/>
                    <a:pt x="7" y="19"/>
                    <a:pt x="7" y="19"/>
                  </a:cubicBezTo>
                  <a:cubicBezTo>
                    <a:pt x="7" y="19"/>
                    <a:pt x="7" y="19"/>
                    <a:pt x="7" y="19"/>
                  </a:cubicBezTo>
                  <a:cubicBezTo>
                    <a:pt x="5" y="19"/>
                    <a:pt x="5" y="19"/>
                    <a:pt x="6" y="21"/>
                  </a:cubicBezTo>
                  <a:cubicBezTo>
                    <a:pt x="7" y="22"/>
                    <a:pt x="8" y="23"/>
                    <a:pt x="8" y="24"/>
                  </a:cubicBezTo>
                  <a:cubicBezTo>
                    <a:pt x="10" y="22"/>
                    <a:pt x="11" y="21"/>
                    <a:pt x="13" y="20"/>
                  </a:cubicBezTo>
                  <a:cubicBezTo>
                    <a:pt x="13" y="20"/>
                    <a:pt x="13" y="20"/>
                    <a:pt x="14" y="20"/>
                  </a:cubicBezTo>
                  <a:cubicBezTo>
                    <a:pt x="16" y="20"/>
                    <a:pt x="18" y="21"/>
                    <a:pt x="19" y="21"/>
                  </a:cubicBezTo>
                  <a:cubicBezTo>
                    <a:pt x="19" y="21"/>
                    <a:pt x="19" y="21"/>
                    <a:pt x="19" y="21"/>
                  </a:cubicBezTo>
                  <a:cubicBezTo>
                    <a:pt x="18" y="21"/>
                    <a:pt x="17" y="21"/>
                    <a:pt x="17" y="21"/>
                  </a:cubicBezTo>
                  <a:cubicBezTo>
                    <a:pt x="16" y="21"/>
                    <a:pt x="15" y="21"/>
                    <a:pt x="14" y="21"/>
                  </a:cubicBezTo>
                  <a:cubicBezTo>
                    <a:pt x="13" y="21"/>
                    <a:pt x="12" y="21"/>
                    <a:pt x="12" y="22"/>
                  </a:cubicBezTo>
                  <a:cubicBezTo>
                    <a:pt x="11" y="25"/>
                    <a:pt x="15" y="28"/>
                    <a:pt x="17" y="30"/>
                  </a:cubicBezTo>
                  <a:cubicBezTo>
                    <a:pt x="15" y="29"/>
                    <a:pt x="13" y="28"/>
                    <a:pt x="11" y="28"/>
                  </a:cubicBezTo>
                  <a:cubicBezTo>
                    <a:pt x="11" y="28"/>
                    <a:pt x="10" y="28"/>
                    <a:pt x="10" y="28"/>
                  </a:cubicBezTo>
                  <a:cubicBezTo>
                    <a:pt x="8" y="31"/>
                    <a:pt x="11" y="31"/>
                    <a:pt x="14" y="31"/>
                  </a:cubicBezTo>
                  <a:cubicBezTo>
                    <a:pt x="15" y="31"/>
                    <a:pt x="16" y="31"/>
                    <a:pt x="17" y="31"/>
                  </a:cubicBezTo>
                  <a:cubicBezTo>
                    <a:pt x="14" y="33"/>
                    <a:pt x="13" y="33"/>
                    <a:pt x="14" y="36"/>
                  </a:cubicBezTo>
                  <a:cubicBezTo>
                    <a:pt x="14" y="40"/>
                    <a:pt x="17" y="40"/>
                    <a:pt x="22" y="40"/>
                  </a:cubicBezTo>
                  <a:cubicBezTo>
                    <a:pt x="20" y="42"/>
                    <a:pt x="18" y="41"/>
                    <a:pt x="16" y="42"/>
                  </a:cubicBezTo>
                  <a:cubicBezTo>
                    <a:pt x="12" y="42"/>
                    <a:pt x="15" y="44"/>
                    <a:pt x="12" y="45"/>
                  </a:cubicBezTo>
                  <a:cubicBezTo>
                    <a:pt x="15" y="45"/>
                    <a:pt x="19" y="45"/>
                    <a:pt x="22" y="46"/>
                  </a:cubicBezTo>
                  <a:cubicBezTo>
                    <a:pt x="23" y="46"/>
                    <a:pt x="26" y="49"/>
                    <a:pt x="28" y="49"/>
                  </a:cubicBezTo>
                  <a:cubicBezTo>
                    <a:pt x="29" y="49"/>
                    <a:pt x="29" y="48"/>
                    <a:pt x="29" y="48"/>
                  </a:cubicBezTo>
                  <a:cubicBezTo>
                    <a:pt x="31" y="51"/>
                    <a:pt x="30" y="52"/>
                    <a:pt x="29" y="52"/>
                  </a:cubicBezTo>
                  <a:cubicBezTo>
                    <a:pt x="29" y="52"/>
                    <a:pt x="29" y="52"/>
                    <a:pt x="28" y="52"/>
                  </a:cubicBezTo>
                  <a:cubicBezTo>
                    <a:pt x="28" y="52"/>
                    <a:pt x="28" y="52"/>
                    <a:pt x="28" y="52"/>
                  </a:cubicBezTo>
                  <a:cubicBezTo>
                    <a:pt x="27" y="52"/>
                    <a:pt x="27" y="52"/>
                    <a:pt x="27" y="52"/>
                  </a:cubicBezTo>
                  <a:cubicBezTo>
                    <a:pt x="28" y="53"/>
                    <a:pt x="29" y="55"/>
                    <a:pt x="30" y="56"/>
                  </a:cubicBezTo>
                  <a:cubicBezTo>
                    <a:pt x="32" y="57"/>
                    <a:pt x="33" y="58"/>
                    <a:pt x="35" y="58"/>
                  </a:cubicBezTo>
                  <a:cubicBezTo>
                    <a:pt x="36" y="58"/>
                    <a:pt x="38" y="57"/>
                    <a:pt x="39" y="57"/>
                  </a:cubicBezTo>
                  <a:cubicBezTo>
                    <a:pt x="38" y="59"/>
                    <a:pt x="35" y="60"/>
                    <a:pt x="37" y="62"/>
                  </a:cubicBezTo>
                  <a:cubicBezTo>
                    <a:pt x="37" y="62"/>
                    <a:pt x="37" y="62"/>
                    <a:pt x="37" y="62"/>
                  </a:cubicBezTo>
                  <a:cubicBezTo>
                    <a:pt x="36" y="62"/>
                    <a:pt x="35" y="62"/>
                    <a:pt x="35" y="63"/>
                  </a:cubicBezTo>
                  <a:cubicBezTo>
                    <a:pt x="36" y="64"/>
                    <a:pt x="37" y="64"/>
                    <a:pt x="39" y="65"/>
                  </a:cubicBezTo>
                  <a:cubicBezTo>
                    <a:pt x="40" y="66"/>
                    <a:pt x="42" y="68"/>
                    <a:pt x="43" y="69"/>
                  </a:cubicBezTo>
                  <a:cubicBezTo>
                    <a:pt x="44" y="70"/>
                    <a:pt x="44" y="71"/>
                    <a:pt x="44" y="71"/>
                  </a:cubicBezTo>
                  <a:cubicBezTo>
                    <a:pt x="45" y="72"/>
                    <a:pt x="47" y="73"/>
                    <a:pt x="49" y="74"/>
                  </a:cubicBezTo>
                  <a:cubicBezTo>
                    <a:pt x="50" y="75"/>
                    <a:pt x="51" y="77"/>
                    <a:pt x="52" y="78"/>
                  </a:cubicBezTo>
                  <a:cubicBezTo>
                    <a:pt x="47" y="78"/>
                    <a:pt x="50" y="81"/>
                    <a:pt x="49" y="84"/>
                  </a:cubicBezTo>
                  <a:cubicBezTo>
                    <a:pt x="49" y="86"/>
                    <a:pt x="48" y="85"/>
                    <a:pt x="47" y="86"/>
                  </a:cubicBezTo>
                  <a:cubicBezTo>
                    <a:pt x="47" y="90"/>
                    <a:pt x="47" y="90"/>
                    <a:pt x="47" y="90"/>
                  </a:cubicBezTo>
                  <a:cubicBezTo>
                    <a:pt x="46" y="90"/>
                    <a:pt x="46" y="90"/>
                    <a:pt x="46" y="90"/>
                  </a:cubicBezTo>
                  <a:cubicBezTo>
                    <a:pt x="44" y="90"/>
                    <a:pt x="44" y="91"/>
                    <a:pt x="44" y="93"/>
                  </a:cubicBezTo>
                  <a:cubicBezTo>
                    <a:pt x="43" y="92"/>
                    <a:pt x="43" y="92"/>
                    <a:pt x="43" y="92"/>
                  </a:cubicBezTo>
                  <a:cubicBezTo>
                    <a:pt x="42" y="92"/>
                    <a:pt x="43" y="95"/>
                    <a:pt x="44" y="97"/>
                  </a:cubicBezTo>
                  <a:cubicBezTo>
                    <a:pt x="44" y="98"/>
                    <a:pt x="47" y="100"/>
                    <a:pt x="48" y="100"/>
                  </a:cubicBezTo>
                  <a:cubicBezTo>
                    <a:pt x="49" y="100"/>
                    <a:pt x="49" y="99"/>
                    <a:pt x="49" y="99"/>
                  </a:cubicBezTo>
                  <a:cubicBezTo>
                    <a:pt x="49" y="97"/>
                    <a:pt x="49" y="96"/>
                    <a:pt x="48" y="95"/>
                  </a:cubicBezTo>
                  <a:cubicBezTo>
                    <a:pt x="50" y="94"/>
                    <a:pt x="53" y="93"/>
                    <a:pt x="54" y="91"/>
                  </a:cubicBezTo>
                  <a:cubicBezTo>
                    <a:pt x="54" y="89"/>
                    <a:pt x="51" y="90"/>
                    <a:pt x="50" y="88"/>
                  </a:cubicBezTo>
                  <a:cubicBezTo>
                    <a:pt x="53" y="87"/>
                    <a:pt x="56" y="87"/>
                    <a:pt x="59" y="85"/>
                  </a:cubicBezTo>
                  <a:cubicBezTo>
                    <a:pt x="62" y="83"/>
                    <a:pt x="67" y="83"/>
                    <a:pt x="70" y="81"/>
                  </a:cubicBezTo>
                  <a:cubicBezTo>
                    <a:pt x="70" y="82"/>
                    <a:pt x="67" y="84"/>
                    <a:pt x="67" y="85"/>
                  </a:cubicBezTo>
                  <a:cubicBezTo>
                    <a:pt x="67" y="86"/>
                    <a:pt x="69" y="87"/>
                    <a:pt x="70" y="88"/>
                  </a:cubicBezTo>
                  <a:cubicBezTo>
                    <a:pt x="72" y="90"/>
                    <a:pt x="73" y="92"/>
                    <a:pt x="74" y="95"/>
                  </a:cubicBezTo>
                  <a:cubicBezTo>
                    <a:pt x="74" y="98"/>
                    <a:pt x="74" y="100"/>
                    <a:pt x="74" y="103"/>
                  </a:cubicBezTo>
                  <a:cubicBezTo>
                    <a:pt x="74" y="106"/>
                    <a:pt x="75" y="106"/>
                    <a:pt x="76" y="106"/>
                  </a:cubicBezTo>
                  <a:cubicBezTo>
                    <a:pt x="76" y="106"/>
                    <a:pt x="76" y="106"/>
                    <a:pt x="77" y="106"/>
                  </a:cubicBezTo>
                  <a:cubicBezTo>
                    <a:pt x="77" y="106"/>
                    <a:pt x="77" y="106"/>
                    <a:pt x="77" y="106"/>
                  </a:cubicBezTo>
                  <a:cubicBezTo>
                    <a:pt x="78" y="106"/>
                    <a:pt x="79" y="106"/>
                    <a:pt x="80" y="107"/>
                  </a:cubicBezTo>
                  <a:cubicBezTo>
                    <a:pt x="79" y="107"/>
                    <a:pt x="78" y="107"/>
                    <a:pt x="77" y="107"/>
                  </a:cubicBezTo>
                  <a:cubicBezTo>
                    <a:pt x="77" y="107"/>
                    <a:pt x="77" y="107"/>
                    <a:pt x="77" y="107"/>
                  </a:cubicBezTo>
                  <a:cubicBezTo>
                    <a:pt x="76" y="107"/>
                    <a:pt x="76" y="107"/>
                    <a:pt x="76" y="107"/>
                  </a:cubicBezTo>
                  <a:cubicBezTo>
                    <a:pt x="74" y="107"/>
                    <a:pt x="71" y="107"/>
                    <a:pt x="70" y="110"/>
                  </a:cubicBezTo>
                  <a:cubicBezTo>
                    <a:pt x="69" y="112"/>
                    <a:pt x="71" y="113"/>
                    <a:pt x="73" y="113"/>
                  </a:cubicBezTo>
                  <a:cubicBezTo>
                    <a:pt x="73" y="113"/>
                    <a:pt x="74" y="113"/>
                    <a:pt x="75" y="113"/>
                  </a:cubicBezTo>
                  <a:cubicBezTo>
                    <a:pt x="73" y="114"/>
                    <a:pt x="71" y="114"/>
                    <a:pt x="71" y="116"/>
                  </a:cubicBezTo>
                  <a:cubicBezTo>
                    <a:pt x="71" y="117"/>
                    <a:pt x="73" y="118"/>
                    <a:pt x="73" y="119"/>
                  </a:cubicBezTo>
                  <a:cubicBezTo>
                    <a:pt x="74" y="121"/>
                    <a:pt x="73" y="124"/>
                    <a:pt x="76" y="124"/>
                  </a:cubicBezTo>
                  <a:cubicBezTo>
                    <a:pt x="77" y="124"/>
                    <a:pt x="78" y="124"/>
                    <a:pt x="78" y="124"/>
                  </a:cubicBezTo>
                  <a:cubicBezTo>
                    <a:pt x="82" y="123"/>
                    <a:pt x="86" y="120"/>
                    <a:pt x="88" y="117"/>
                  </a:cubicBezTo>
                  <a:cubicBezTo>
                    <a:pt x="89" y="116"/>
                    <a:pt x="89" y="116"/>
                    <a:pt x="89" y="116"/>
                  </a:cubicBezTo>
                  <a:cubicBezTo>
                    <a:pt x="89" y="116"/>
                    <a:pt x="89" y="116"/>
                    <a:pt x="89" y="116"/>
                  </a:cubicBezTo>
                  <a:cubicBezTo>
                    <a:pt x="89" y="115"/>
                    <a:pt x="89" y="115"/>
                    <a:pt x="89" y="115"/>
                  </a:cubicBezTo>
                  <a:cubicBezTo>
                    <a:pt x="90" y="112"/>
                    <a:pt x="92" y="107"/>
                    <a:pt x="93" y="107"/>
                  </a:cubicBezTo>
                  <a:cubicBezTo>
                    <a:pt x="93" y="106"/>
                    <a:pt x="92" y="104"/>
                    <a:pt x="91" y="103"/>
                  </a:cubicBezTo>
                  <a:cubicBezTo>
                    <a:pt x="90" y="101"/>
                    <a:pt x="90" y="100"/>
                    <a:pt x="89" y="99"/>
                  </a:cubicBezTo>
                  <a:cubicBezTo>
                    <a:pt x="89" y="98"/>
                    <a:pt x="89" y="98"/>
                    <a:pt x="89" y="98"/>
                  </a:cubicBezTo>
                  <a:cubicBezTo>
                    <a:pt x="89" y="97"/>
                    <a:pt x="89" y="96"/>
                    <a:pt x="90" y="96"/>
                  </a:cubicBezTo>
                  <a:cubicBezTo>
                    <a:pt x="90" y="96"/>
                    <a:pt x="90" y="96"/>
                    <a:pt x="90" y="96"/>
                  </a:cubicBezTo>
                  <a:cubicBezTo>
                    <a:pt x="89" y="95"/>
                    <a:pt x="89" y="95"/>
                    <a:pt x="89" y="95"/>
                  </a:cubicBezTo>
                  <a:cubicBezTo>
                    <a:pt x="89" y="94"/>
                    <a:pt x="89" y="94"/>
                    <a:pt x="89" y="94"/>
                  </a:cubicBezTo>
                  <a:cubicBezTo>
                    <a:pt x="89" y="91"/>
                    <a:pt x="90" y="89"/>
                    <a:pt x="91" y="86"/>
                  </a:cubicBezTo>
                  <a:cubicBezTo>
                    <a:pt x="91" y="86"/>
                    <a:pt x="92" y="85"/>
                    <a:pt x="90" y="84"/>
                  </a:cubicBezTo>
                  <a:cubicBezTo>
                    <a:pt x="90" y="83"/>
                    <a:pt x="90" y="83"/>
                    <a:pt x="90" y="83"/>
                  </a:cubicBezTo>
                  <a:cubicBezTo>
                    <a:pt x="89" y="81"/>
                    <a:pt x="81" y="77"/>
                    <a:pt x="78" y="76"/>
                  </a:cubicBezTo>
                  <a:cubicBezTo>
                    <a:pt x="77" y="76"/>
                    <a:pt x="77" y="76"/>
                    <a:pt x="77" y="76"/>
                  </a:cubicBezTo>
                  <a:cubicBezTo>
                    <a:pt x="77" y="75"/>
                    <a:pt x="76" y="75"/>
                    <a:pt x="76" y="75"/>
                  </a:cubicBezTo>
                  <a:cubicBezTo>
                    <a:pt x="74" y="74"/>
                    <a:pt x="72" y="74"/>
                    <a:pt x="71" y="73"/>
                  </a:cubicBezTo>
                  <a:cubicBezTo>
                    <a:pt x="70" y="73"/>
                    <a:pt x="70" y="73"/>
                    <a:pt x="70" y="73"/>
                  </a:cubicBezTo>
                  <a:cubicBezTo>
                    <a:pt x="68" y="72"/>
                    <a:pt x="67" y="72"/>
                    <a:pt x="65" y="71"/>
                  </a:cubicBezTo>
                  <a:cubicBezTo>
                    <a:pt x="63" y="70"/>
                    <a:pt x="62" y="69"/>
                    <a:pt x="60" y="69"/>
                  </a:cubicBezTo>
                  <a:cubicBezTo>
                    <a:pt x="60" y="69"/>
                    <a:pt x="60" y="69"/>
                    <a:pt x="60" y="69"/>
                  </a:cubicBezTo>
                  <a:cubicBezTo>
                    <a:pt x="58" y="68"/>
                    <a:pt x="57" y="68"/>
                    <a:pt x="56" y="67"/>
                  </a:cubicBezTo>
                  <a:cubicBezTo>
                    <a:pt x="53" y="67"/>
                    <a:pt x="52" y="67"/>
                    <a:pt x="50" y="65"/>
                  </a:cubicBezTo>
                  <a:cubicBezTo>
                    <a:pt x="50" y="64"/>
                    <a:pt x="50" y="64"/>
                    <a:pt x="50" y="64"/>
                  </a:cubicBezTo>
                  <a:cubicBezTo>
                    <a:pt x="49" y="63"/>
                    <a:pt x="49" y="63"/>
                    <a:pt x="49" y="63"/>
                  </a:cubicBezTo>
                  <a:cubicBezTo>
                    <a:pt x="49" y="63"/>
                    <a:pt x="48" y="62"/>
                    <a:pt x="47" y="61"/>
                  </a:cubicBezTo>
                  <a:cubicBezTo>
                    <a:pt x="46" y="60"/>
                    <a:pt x="45" y="58"/>
                    <a:pt x="43" y="56"/>
                  </a:cubicBezTo>
                  <a:cubicBezTo>
                    <a:pt x="43" y="56"/>
                    <a:pt x="43" y="56"/>
                    <a:pt x="43" y="56"/>
                  </a:cubicBezTo>
                  <a:cubicBezTo>
                    <a:pt x="43" y="55"/>
                    <a:pt x="43" y="55"/>
                    <a:pt x="43" y="55"/>
                  </a:cubicBezTo>
                  <a:cubicBezTo>
                    <a:pt x="42" y="54"/>
                    <a:pt x="41" y="53"/>
                    <a:pt x="40" y="52"/>
                  </a:cubicBezTo>
                  <a:cubicBezTo>
                    <a:pt x="37" y="48"/>
                    <a:pt x="38" y="46"/>
                    <a:pt x="39" y="45"/>
                  </a:cubicBezTo>
                  <a:cubicBezTo>
                    <a:pt x="40" y="44"/>
                    <a:pt x="40" y="44"/>
                    <a:pt x="40" y="44"/>
                  </a:cubicBezTo>
                  <a:cubicBezTo>
                    <a:pt x="39" y="43"/>
                    <a:pt x="38" y="42"/>
                    <a:pt x="38" y="41"/>
                  </a:cubicBezTo>
                  <a:cubicBezTo>
                    <a:pt x="35" y="37"/>
                    <a:pt x="32" y="34"/>
                    <a:pt x="30" y="30"/>
                  </a:cubicBezTo>
                  <a:cubicBezTo>
                    <a:pt x="29" y="30"/>
                    <a:pt x="29" y="30"/>
                    <a:pt x="29" y="30"/>
                  </a:cubicBezTo>
                  <a:cubicBezTo>
                    <a:pt x="28" y="27"/>
                    <a:pt x="28" y="27"/>
                    <a:pt x="28" y="27"/>
                  </a:cubicBezTo>
                  <a:cubicBezTo>
                    <a:pt x="26" y="25"/>
                    <a:pt x="25" y="24"/>
                    <a:pt x="24" y="22"/>
                  </a:cubicBezTo>
                  <a:cubicBezTo>
                    <a:pt x="22" y="20"/>
                    <a:pt x="21" y="18"/>
                    <a:pt x="19" y="16"/>
                  </a:cubicBezTo>
                  <a:cubicBezTo>
                    <a:pt x="19" y="14"/>
                    <a:pt x="18" y="12"/>
                    <a:pt x="17" y="11"/>
                  </a:cubicBezTo>
                  <a:cubicBezTo>
                    <a:pt x="16" y="10"/>
                    <a:pt x="16" y="10"/>
                    <a:pt x="16" y="10"/>
                  </a:cubicBezTo>
                  <a:cubicBezTo>
                    <a:pt x="15" y="8"/>
                    <a:pt x="14" y="6"/>
                    <a:pt x="13" y="5"/>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47"/>
            <p:cNvSpPr/>
            <p:nvPr/>
          </p:nvSpPr>
          <p:spPr bwMode="auto">
            <a:xfrm>
              <a:off x="8435966" y="8166922"/>
              <a:ext cx="274638" cy="233363"/>
            </a:xfrm>
            <a:custGeom>
              <a:gdLst>
                <a:gd name="T0" fmla="*/ 6 w 73"/>
                <a:gd name="T1" fmla="*/ 1 h 62"/>
                <a:gd name="T2" fmla="*/ 4 w 73"/>
                <a:gd name="T3" fmla="*/ 1 h 62"/>
                <a:gd name="T4" fmla="*/ 2 w 73"/>
                <a:gd name="T5" fmla="*/ 2 h 62"/>
                <a:gd name="T6" fmla="*/ 6 w 73"/>
                <a:gd name="T7" fmla="*/ 6 h 62"/>
                <a:gd name="T8" fmla="*/ 3 w 73"/>
                <a:gd name="T9" fmla="*/ 13 h 62"/>
                <a:gd name="T10" fmla="*/ 11 w 73"/>
                <a:gd name="T11" fmla="*/ 28 h 62"/>
                <a:gd name="T12" fmla="*/ 18 w 73"/>
                <a:gd name="T13" fmla="*/ 34 h 62"/>
                <a:gd name="T14" fmla="*/ 19 w 73"/>
                <a:gd name="T15" fmla="*/ 35 h 62"/>
                <a:gd name="T16" fmla="*/ 25 w 73"/>
                <a:gd name="T17" fmla="*/ 29 h 62"/>
                <a:gd name="T18" fmla="*/ 15 w 73"/>
                <a:gd name="T19" fmla="*/ 18 h 62"/>
                <a:gd name="T20" fmla="*/ 27 w 73"/>
                <a:gd name="T21" fmla="*/ 25 h 62"/>
                <a:gd name="T22" fmla="*/ 36 w 73"/>
                <a:gd name="T23" fmla="*/ 36 h 62"/>
                <a:gd name="T24" fmla="*/ 40 w 73"/>
                <a:gd name="T25" fmla="*/ 37 h 62"/>
                <a:gd name="T26" fmla="*/ 51 w 73"/>
                <a:gd name="T27" fmla="*/ 45 h 62"/>
                <a:gd name="T28" fmla="*/ 55 w 73"/>
                <a:gd name="T29" fmla="*/ 60 h 62"/>
                <a:gd name="T30" fmla="*/ 57 w 73"/>
                <a:gd name="T31" fmla="*/ 55 h 62"/>
                <a:gd name="T32" fmla="*/ 65 w 73"/>
                <a:gd name="T33" fmla="*/ 59 h 62"/>
                <a:gd name="T34" fmla="*/ 66 w 73"/>
                <a:gd name="T35" fmla="*/ 60 h 62"/>
                <a:gd name="T36" fmla="*/ 68 w 73"/>
                <a:gd name="T37" fmla="*/ 58 h 62"/>
                <a:gd name="T38" fmla="*/ 70 w 73"/>
                <a:gd name="T39" fmla="*/ 50 h 62"/>
                <a:gd name="T40" fmla="*/ 67 w 73"/>
                <a:gd name="T41" fmla="*/ 48 h 62"/>
                <a:gd name="T42" fmla="*/ 67 w 73"/>
                <a:gd name="T43" fmla="*/ 46 h 62"/>
                <a:gd name="T44" fmla="*/ 67 w 73"/>
                <a:gd name="T45" fmla="*/ 44 h 62"/>
                <a:gd name="T46" fmla="*/ 70 w 73"/>
                <a:gd name="T47" fmla="*/ 32 h 62"/>
                <a:gd name="T48" fmla="*/ 71 w 73"/>
                <a:gd name="T49" fmla="*/ 31 h 62"/>
                <a:gd name="T50" fmla="*/ 73 w 73"/>
                <a:gd name="T51" fmla="*/ 31 h 62"/>
                <a:gd name="T52" fmla="*/ 54 w 73"/>
                <a:gd name="T53" fmla="*/ 6 h 62"/>
                <a:gd name="T54" fmla="*/ 49 w 73"/>
                <a:gd name="T55" fmla="*/ 9 h 62"/>
                <a:gd name="T56" fmla="*/ 48 w 73"/>
                <a:gd name="T57" fmla="*/ 9 h 62"/>
                <a:gd name="T58" fmla="*/ 45 w 73"/>
                <a:gd name="T59" fmla="*/ 9 h 62"/>
                <a:gd name="T60" fmla="*/ 36 w 73"/>
                <a:gd name="T61" fmla="*/ 6 h 62"/>
                <a:gd name="T62" fmla="*/ 32 w 73"/>
                <a:gd name="T63" fmla="*/ 4 h 62"/>
                <a:gd name="T64" fmla="*/ 31 w 73"/>
                <a:gd name="T65" fmla="*/ 3 h 62"/>
                <a:gd name="T66" fmla="*/ 31 w 73"/>
                <a:gd name="T67" fmla="*/ 3 h 62"/>
                <a:gd name="T68" fmla="*/ 25 w 73"/>
                <a:gd name="T69" fmla="*/ 5 h 62"/>
                <a:gd name="T70" fmla="*/ 23 w 73"/>
                <a:gd name="T71" fmla="*/ 5 h 62"/>
                <a:gd name="T72" fmla="*/ 10 w 73"/>
                <a:gd name="T73" fmla="*/ 0 h 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62">
                  <a:moveTo>
                    <a:pt x="8" y="0"/>
                  </a:moveTo>
                  <a:cubicBezTo>
                    <a:pt x="8" y="0"/>
                    <a:pt x="7" y="0"/>
                    <a:pt x="6" y="1"/>
                  </a:cubicBezTo>
                  <a:cubicBezTo>
                    <a:pt x="5" y="2"/>
                    <a:pt x="5" y="2"/>
                    <a:pt x="5" y="2"/>
                  </a:cubicBezTo>
                  <a:cubicBezTo>
                    <a:pt x="4" y="1"/>
                    <a:pt x="4" y="1"/>
                    <a:pt x="4" y="1"/>
                  </a:cubicBezTo>
                  <a:cubicBezTo>
                    <a:pt x="3" y="3"/>
                    <a:pt x="3" y="3"/>
                    <a:pt x="3" y="3"/>
                  </a:cubicBezTo>
                  <a:cubicBezTo>
                    <a:pt x="3" y="3"/>
                    <a:pt x="2" y="2"/>
                    <a:pt x="2" y="2"/>
                  </a:cubicBezTo>
                  <a:cubicBezTo>
                    <a:pt x="1" y="2"/>
                    <a:pt x="0" y="3"/>
                    <a:pt x="0" y="3"/>
                  </a:cubicBezTo>
                  <a:cubicBezTo>
                    <a:pt x="1" y="4"/>
                    <a:pt x="5" y="5"/>
                    <a:pt x="6" y="6"/>
                  </a:cubicBezTo>
                  <a:cubicBezTo>
                    <a:pt x="6" y="7"/>
                    <a:pt x="7" y="10"/>
                    <a:pt x="6" y="10"/>
                  </a:cubicBezTo>
                  <a:cubicBezTo>
                    <a:pt x="6" y="10"/>
                    <a:pt x="3" y="12"/>
                    <a:pt x="3" y="13"/>
                  </a:cubicBezTo>
                  <a:cubicBezTo>
                    <a:pt x="4" y="16"/>
                    <a:pt x="4" y="20"/>
                    <a:pt x="5" y="24"/>
                  </a:cubicBezTo>
                  <a:cubicBezTo>
                    <a:pt x="6" y="26"/>
                    <a:pt x="9" y="27"/>
                    <a:pt x="11" y="28"/>
                  </a:cubicBezTo>
                  <a:cubicBezTo>
                    <a:pt x="14" y="29"/>
                    <a:pt x="15" y="31"/>
                    <a:pt x="18" y="33"/>
                  </a:cubicBezTo>
                  <a:cubicBezTo>
                    <a:pt x="18" y="34"/>
                    <a:pt x="18" y="34"/>
                    <a:pt x="18" y="34"/>
                  </a:cubicBezTo>
                  <a:cubicBezTo>
                    <a:pt x="19" y="34"/>
                    <a:pt x="18" y="35"/>
                    <a:pt x="19" y="35"/>
                  </a:cubicBezTo>
                  <a:cubicBezTo>
                    <a:pt x="19" y="35"/>
                    <a:pt x="19" y="35"/>
                    <a:pt x="19" y="35"/>
                  </a:cubicBezTo>
                  <a:cubicBezTo>
                    <a:pt x="19" y="35"/>
                    <a:pt x="21" y="32"/>
                    <a:pt x="22" y="32"/>
                  </a:cubicBezTo>
                  <a:cubicBezTo>
                    <a:pt x="22" y="31"/>
                    <a:pt x="23" y="29"/>
                    <a:pt x="25" y="29"/>
                  </a:cubicBezTo>
                  <a:cubicBezTo>
                    <a:pt x="23" y="27"/>
                    <a:pt x="20" y="26"/>
                    <a:pt x="18" y="24"/>
                  </a:cubicBezTo>
                  <a:cubicBezTo>
                    <a:pt x="17" y="23"/>
                    <a:pt x="16" y="20"/>
                    <a:pt x="15" y="18"/>
                  </a:cubicBezTo>
                  <a:cubicBezTo>
                    <a:pt x="16" y="20"/>
                    <a:pt x="17" y="20"/>
                    <a:pt x="20" y="21"/>
                  </a:cubicBezTo>
                  <a:cubicBezTo>
                    <a:pt x="22" y="22"/>
                    <a:pt x="25" y="24"/>
                    <a:pt x="27" y="25"/>
                  </a:cubicBezTo>
                  <a:cubicBezTo>
                    <a:pt x="29" y="26"/>
                    <a:pt x="28" y="30"/>
                    <a:pt x="29" y="32"/>
                  </a:cubicBezTo>
                  <a:cubicBezTo>
                    <a:pt x="30" y="34"/>
                    <a:pt x="33" y="35"/>
                    <a:pt x="36" y="36"/>
                  </a:cubicBezTo>
                  <a:cubicBezTo>
                    <a:pt x="37" y="36"/>
                    <a:pt x="39" y="37"/>
                    <a:pt x="40" y="37"/>
                  </a:cubicBezTo>
                  <a:cubicBezTo>
                    <a:pt x="40" y="37"/>
                    <a:pt x="40" y="37"/>
                    <a:pt x="40" y="37"/>
                  </a:cubicBezTo>
                  <a:cubicBezTo>
                    <a:pt x="42" y="39"/>
                    <a:pt x="45" y="40"/>
                    <a:pt x="48" y="42"/>
                  </a:cubicBezTo>
                  <a:cubicBezTo>
                    <a:pt x="49" y="43"/>
                    <a:pt x="50" y="44"/>
                    <a:pt x="51" y="45"/>
                  </a:cubicBezTo>
                  <a:cubicBezTo>
                    <a:pt x="53" y="46"/>
                    <a:pt x="53" y="46"/>
                    <a:pt x="53" y="48"/>
                  </a:cubicBezTo>
                  <a:cubicBezTo>
                    <a:pt x="54" y="54"/>
                    <a:pt x="48" y="56"/>
                    <a:pt x="55" y="60"/>
                  </a:cubicBezTo>
                  <a:cubicBezTo>
                    <a:pt x="56" y="61"/>
                    <a:pt x="60" y="62"/>
                    <a:pt x="61" y="62"/>
                  </a:cubicBezTo>
                  <a:cubicBezTo>
                    <a:pt x="60" y="60"/>
                    <a:pt x="59" y="58"/>
                    <a:pt x="57" y="55"/>
                  </a:cubicBezTo>
                  <a:cubicBezTo>
                    <a:pt x="58" y="55"/>
                    <a:pt x="59" y="55"/>
                    <a:pt x="60" y="55"/>
                  </a:cubicBezTo>
                  <a:cubicBezTo>
                    <a:pt x="62" y="55"/>
                    <a:pt x="65" y="56"/>
                    <a:pt x="65" y="59"/>
                  </a:cubicBezTo>
                  <a:cubicBezTo>
                    <a:pt x="65" y="60"/>
                    <a:pt x="65" y="61"/>
                    <a:pt x="65" y="61"/>
                  </a:cubicBezTo>
                  <a:cubicBezTo>
                    <a:pt x="65" y="61"/>
                    <a:pt x="65" y="60"/>
                    <a:pt x="66" y="60"/>
                  </a:cubicBezTo>
                  <a:cubicBezTo>
                    <a:pt x="66" y="59"/>
                    <a:pt x="66" y="59"/>
                    <a:pt x="66" y="59"/>
                  </a:cubicBezTo>
                  <a:cubicBezTo>
                    <a:pt x="67" y="59"/>
                    <a:pt x="68" y="58"/>
                    <a:pt x="68" y="58"/>
                  </a:cubicBezTo>
                  <a:cubicBezTo>
                    <a:pt x="67" y="57"/>
                    <a:pt x="67" y="55"/>
                    <a:pt x="67" y="54"/>
                  </a:cubicBezTo>
                  <a:cubicBezTo>
                    <a:pt x="67" y="52"/>
                    <a:pt x="68" y="51"/>
                    <a:pt x="70" y="50"/>
                  </a:cubicBezTo>
                  <a:cubicBezTo>
                    <a:pt x="69" y="49"/>
                    <a:pt x="69" y="49"/>
                    <a:pt x="69" y="49"/>
                  </a:cubicBezTo>
                  <a:cubicBezTo>
                    <a:pt x="67" y="48"/>
                    <a:pt x="67" y="48"/>
                    <a:pt x="67" y="48"/>
                  </a:cubicBezTo>
                  <a:cubicBezTo>
                    <a:pt x="67" y="46"/>
                    <a:pt x="67" y="46"/>
                    <a:pt x="67" y="46"/>
                  </a:cubicBezTo>
                  <a:cubicBezTo>
                    <a:pt x="67" y="46"/>
                    <a:pt x="67" y="46"/>
                    <a:pt x="67" y="46"/>
                  </a:cubicBezTo>
                  <a:cubicBezTo>
                    <a:pt x="67" y="46"/>
                    <a:pt x="67" y="45"/>
                    <a:pt x="67" y="44"/>
                  </a:cubicBezTo>
                  <a:cubicBezTo>
                    <a:pt x="67" y="44"/>
                    <a:pt x="67" y="44"/>
                    <a:pt x="67" y="44"/>
                  </a:cubicBezTo>
                  <a:cubicBezTo>
                    <a:pt x="67" y="42"/>
                    <a:pt x="67" y="39"/>
                    <a:pt x="67" y="37"/>
                  </a:cubicBezTo>
                  <a:cubicBezTo>
                    <a:pt x="68" y="34"/>
                    <a:pt x="68" y="33"/>
                    <a:pt x="70" y="32"/>
                  </a:cubicBezTo>
                  <a:cubicBezTo>
                    <a:pt x="70" y="31"/>
                    <a:pt x="70" y="31"/>
                    <a:pt x="70" y="31"/>
                  </a:cubicBezTo>
                  <a:cubicBezTo>
                    <a:pt x="71" y="31"/>
                    <a:pt x="71" y="31"/>
                    <a:pt x="71" y="31"/>
                  </a:cubicBezTo>
                  <a:cubicBezTo>
                    <a:pt x="71" y="31"/>
                    <a:pt x="72" y="31"/>
                    <a:pt x="72" y="31"/>
                  </a:cubicBezTo>
                  <a:cubicBezTo>
                    <a:pt x="72" y="31"/>
                    <a:pt x="73" y="31"/>
                    <a:pt x="73" y="31"/>
                  </a:cubicBezTo>
                  <a:cubicBezTo>
                    <a:pt x="69" y="28"/>
                    <a:pt x="66" y="25"/>
                    <a:pt x="63" y="21"/>
                  </a:cubicBezTo>
                  <a:cubicBezTo>
                    <a:pt x="59" y="16"/>
                    <a:pt x="57" y="11"/>
                    <a:pt x="54" y="6"/>
                  </a:cubicBezTo>
                  <a:cubicBezTo>
                    <a:pt x="53" y="7"/>
                    <a:pt x="52" y="8"/>
                    <a:pt x="52" y="8"/>
                  </a:cubicBezTo>
                  <a:cubicBezTo>
                    <a:pt x="51" y="9"/>
                    <a:pt x="50" y="9"/>
                    <a:pt x="49" y="9"/>
                  </a:cubicBezTo>
                  <a:cubicBezTo>
                    <a:pt x="49" y="9"/>
                    <a:pt x="49" y="9"/>
                    <a:pt x="49" y="9"/>
                  </a:cubicBezTo>
                  <a:cubicBezTo>
                    <a:pt x="48" y="9"/>
                    <a:pt x="48" y="9"/>
                    <a:pt x="48" y="9"/>
                  </a:cubicBezTo>
                  <a:cubicBezTo>
                    <a:pt x="47" y="9"/>
                    <a:pt x="47" y="9"/>
                    <a:pt x="47" y="9"/>
                  </a:cubicBezTo>
                  <a:cubicBezTo>
                    <a:pt x="45" y="9"/>
                    <a:pt x="45" y="9"/>
                    <a:pt x="45" y="9"/>
                  </a:cubicBezTo>
                  <a:cubicBezTo>
                    <a:pt x="42" y="9"/>
                    <a:pt x="40" y="9"/>
                    <a:pt x="37" y="7"/>
                  </a:cubicBezTo>
                  <a:cubicBezTo>
                    <a:pt x="37" y="7"/>
                    <a:pt x="37" y="7"/>
                    <a:pt x="36" y="6"/>
                  </a:cubicBezTo>
                  <a:cubicBezTo>
                    <a:pt x="36" y="6"/>
                    <a:pt x="36" y="6"/>
                    <a:pt x="36" y="6"/>
                  </a:cubicBezTo>
                  <a:cubicBezTo>
                    <a:pt x="34" y="5"/>
                    <a:pt x="33" y="4"/>
                    <a:pt x="32" y="4"/>
                  </a:cubicBezTo>
                  <a:cubicBezTo>
                    <a:pt x="32" y="3"/>
                    <a:pt x="32" y="3"/>
                    <a:pt x="32" y="3"/>
                  </a:cubicBezTo>
                  <a:cubicBezTo>
                    <a:pt x="31" y="3"/>
                    <a:pt x="31" y="3"/>
                    <a:pt x="31" y="3"/>
                  </a:cubicBezTo>
                  <a:cubicBezTo>
                    <a:pt x="31" y="3"/>
                    <a:pt x="31" y="3"/>
                    <a:pt x="31" y="3"/>
                  </a:cubicBezTo>
                  <a:cubicBezTo>
                    <a:pt x="31" y="3"/>
                    <a:pt x="31" y="3"/>
                    <a:pt x="31" y="3"/>
                  </a:cubicBezTo>
                  <a:cubicBezTo>
                    <a:pt x="31" y="3"/>
                    <a:pt x="29" y="4"/>
                    <a:pt x="29" y="4"/>
                  </a:cubicBezTo>
                  <a:cubicBezTo>
                    <a:pt x="27" y="4"/>
                    <a:pt x="26" y="5"/>
                    <a:pt x="25" y="5"/>
                  </a:cubicBezTo>
                  <a:cubicBezTo>
                    <a:pt x="25" y="5"/>
                    <a:pt x="25" y="5"/>
                    <a:pt x="24" y="5"/>
                  </a:cubicBezTo>
                  <a:cubicBezTo>
                    <a:pt x="24" y="5"/>
                    <a:pt x="24" y="5"/>
                    <a:pt x="23" y="5"/>
                  </a:cubicBezTo>
                  <a:cubicBezTo>
                    <a:pt x="20" y="4"/>
                    <a:pt x="17" y="2"/>
                    <a:pt x="13" y="1"/>
                  </a:cubicBezTo>
                  <a:cubicBezTo>
                    <a:pt x="12" y="1"/>
                    <a:pt x="11" y="0"/>
                    <a:pt x="10"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348"/>
            <p:cNvSpPr>
              <a:spLocks noChangeArrowheads="1"/>
            </p:cNvSpPr>
            <p:nvPr/>
          </p:nvSpPr>
          <p:spPr bwMode="auto">
            <a:xfrm>
              <a:off x="8308966" y="7998647"/>
              <a:ext cx="3175"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49"/>
            <p:cNvSpPr/>
            <p:nvPr/>
          </p:nvSpPr>
          <p:spPr bwMode="auto">
            <a:xfrm>
              <a:off x="8308966" y="7998647"/>
              <a:ext cx="3175" cy="0"/>
            </a:xfrm>
            <a:custGeom>
              <a:gdLst>
                <a:gd name="T0" fmla="*/ 2 w 2"/>
                <a:gd name="T1" fmla="*/ 0 w 2"/>
                <a:gd name="T2" fmla="*/ 0 w 2"/>
                <a:gd name="T3" fmla="*/ 2 w 2"/>
              </a:gdLst>
              <a:cxnLst>
                <a:cxn ang="0">
                  <a:pos x="T0" y="0"/>
                </a:cxn>
                <a:cxn ang="0">
                  <a:pos x="T1" y="0"/>
                </a:cxn>
                <a:cxn ang="0">
                  <a:pos x="T2" y="0"/>
                </a:cxn>
                <a:cxn ang="0">
                  <a:pos x="T3" y="0"/>
                </a:cxn>
              </a:cxnLst>
              <a:rect l="0" t="0" r="r" b="b"/>
              <a:pathLst>
                <a:path w="2">
                  <a:moveTo>
                    <a:pt x="2" y="0"/>
                  </a:move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50"/>
            <p:cNvSpPr/>
            <p:nvPr/>
          </p:nvSpPr>
          <p:spPr bwMode="auto">
            <a:xfrm>
              <a:off x="8278804" y="7836722"/>
              <a:ext cx="398463" cy="341313"/>
            </a:xfrm>
            <a:custGeom>
              <a:gdLst>
                <a:gd name="T0" fmla="*/ 96 w 106"/>
                <a:gd name="T1" fmla="*/ 1 h 91"/>
                <a:gd name="T2" fmla="*/ 85 w 106"/>
                <a:gd name="T3" fmla="*/ 4 h 91"/>
                <a:gd name="T4" fmla="*/ 83 w 106"/>
                <a:gd name="T5" fmla="*/ 4 h 91"/>
                <a:gd name="T6" fmla="*/ 81 w 106"/>
                <a:gd name="T7" fmla="*/ 5 h 91"/>
                <a:gd name="T8" fmla="*/ 78 w 106"/>
                <a:gd name="T9" fmla="*/ 6 h 91"/>
                <a:gd name="T10" fmla="*/ 70 w 106"/>
                <a:gd name="T11" fmla="*/ 4 h 91"/>
                <a:gd name="T12" fmla="*/ 67 w 106"/>
                <a:gd name="T13" fmla="*/ 2 h 91"/>
                <a:gd name="T14" fmla="*/ 66 w 106"/>
                <a:gd name="T15" fmla="*/ 3 h 91"/>
                <a:gd name="T16" fmla="*/ 63 w 106"/>
                <a:gd name="T17" fmla="*/ 7 h 91"/>
                <a:gd name="T18" fmla="*/ 61 w 106"/>
                <a:gd name="T19" fmla="*/ 13 h 91"/>
                <a:gd name="T20" fmla="*/ 58 w 106"/>
                <a:gd name="T21" fmla="*/ 15 h 91"/>
                <a:gd name="T22" fmla="*/ 51 w 106"/>
                <a:gd name="T23" fmla="*/ 21 h 91"/>
                <a:gd name="T24" fmla="*/ 46 w 106"/>
                <a:gd name="T25" fmla="*/ 25 h 91"/>
                <a:gd name="T26" fmla="*/ 40 w 106"/>
                <a:gd name="T27" fmla="*/ 21 h 91"/>
                <a:gd name="T28" fmla="*/ 39 w 106"/>
                <a:gd name="T29" fmla="*/ 21 h 91"/>
                <a:gd name="T30" fmla="*/ 31 w 106"/>
                <a:gd name="T31" fmla="*/ 27 h 91"/>
                <a:gd name="T32" fmla="*/ 27 w 106"/>
                <a:gd name="T33" fmla="*/ 26 h 91"/>
                <a:gd name="T34" fmla="*/ 25 w 106"/>
                <a:gd name="T35" fmla="*/ 27 h 91"/>
                <a:gd name="T36" fmla="*/ 26 w 106"/>
                <a:gd name="T37" fmla="*/ 31 h 91"/>
                <a:gd name="T38" fmla="*/ 25 w 106"/>
                <a:gd name="T39" fmla="*/ 37 h 91"/>
                <a:gd name="T40" fmla="*/ 22 w 106"/>
                <a:gd name="T41" fmla="*/ 38 h 91"/>
                <a:gd name="T42" fmla="*/ 20 w 106"/>
                <a:gd name="T43" fmla="*/ 41 h 91"/>
                <a:gd name="T44" fmla="*/ 12 w 106"/>
                <a:gd name="T45" fmla="*/ 45 h 91"/>
                <a:gd name="T46" fmla="*/ 10 w 106"/>
                <a:gd name="T47" fmla="*/ 45 h 91"/>
                <a:gd name="T48" fmla="*/ 8 w 106"/>
                <a:gd name="T49" fmla="*/ 44 h 91"/>
                <a:gd name="T50" fmla="*/ 4 w 106"/>
                <a:gd name="T51" fmla="*/ 40 h 91"/>
                <a:gd name="T52" fmla="*/ 14 w 106"/>
                <a:gd name="T53" fmla="*/ 55 h 91"/>
                <a:gd name="T54" fmla="*/ 25 w 106"/>
                <a:gd name="T55" fmla="*/ 65 h 91"/>
                <a:gd name="T56" fmla="*/ 46 w 106"/>
                <a:gd name="T57" fmla="*/ 84 h 91"/>
                <a:gd name="T58" fmla="*/ 47 w 106"/>
                <a:gd name="T59" fmla="*/ 83 h 91"/>
                <a:gd name="T60" fmla="*/ 50 w 106"/>
                <a:gd name="T61" fmla="*/ 81 h 91"/>
                <a:gd name="T62" fmla="*/ 51 w 106"/>
                <a:gd name="T63" fmla="*/ 82 h 91"/>
                <a:gd name="T64" fmla="*/ 53 w 106"/>
                <a:gd name="T65" fmla="*/ 82 h 91"/>
                <a:gd name="T66" fmla="*/ 43 w 106"/>
                <a:gd name="T67" fmla="*/ 69 h 91"/>
                <a:gd name="T68" fmla="*/ 49 w 106"/>
                <a:gd name="T69" fmla="*/ 64 h 91"/>
                <a:gd name="T70" fmla="*/ 73 w 106"/>
                <a:gd name="T71" fmla="*/ 86 h 91"/>
                <a:gd name="T72" fmla="*/ 74 w 106"/>
                <a:gd name="T73" fmla="*/ 86 h 91"/>
                <a:gd name="T74" fmla="*/ 82 w 106"/>
                <a:gd name="T75" fmla="*/ 90 h 91"/>
                <a:gd name="T76" fmla="*/ 89 w 106"/>
                <a:gd name="T77" fmla="*/ 91 h 91"/>
                <a:gd name="T78" fmla="*/ 91 w 106"/>
                <a:gd name="T79" fmla="*/ 91 h 91"/>
                <a:gd name="T80" fmla="*/ 92 w 106"/>
                <a:gd name="T81" fmla="*/ 89 h 91"/>
                <a:gd name="T82" fmla="*/ 95 w 106"/>
                <a:gd name="T83" fmla="*/ 75 h 91"/>
                <a:gd name="T84" fmla="*/ 94 w 106"/>
                <a:gd name="T85" fmla="*/ 66 h 91"/>
                <a:gd name="T86" fmla="*/ 92 w 106"/>
                <a:gd name="T87" fmla="*/ 54 h 91"/>
                <a:gd name="T88" fmla="*/ 97 w 106"/>
                <a:gd name="T89" fmla="*/ 49 h 91"/>
                <a:gd name="T90" fmla="*/ 96 w 106"/>
                <a:gd name="T91" fmla="*/ 57 h 91"/>
                <a:gd name="T92" fmla="*/ 98 w 106"/>
                <a:gd name="T93" fmla="*/ 49 h 91"/>
                <a:gd name="T94" fmla="*/ 103 w 106"/>
                <a:gd name="T95" fmla="*/ 15 h 91"/>
                <a:gd name="T96" fmla="*/ 101 w 106"/>
                <a:gd name="T97" fmla="*/ 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 h="91">
                  <a:moveTo>
                    <a:pt x="101" y="0"/>
                  </a:moveTo>
                  <a:cubicBezTo>
                    <a:pt x="100" y="0"/>
                    <a:pt x="98" y="0"/>
                    <a:pt x="96" y="1"/>
                  </a:cubicBezTo>
                  <a:cubicBezTo>
                    <a:pt x="93" y="2"/>
                    <a:pt x="93" y="2"/>
                    <a:pt x="93" y="2"/>
                  </a:cubicBezTo>
                  <a:cubicBezTo>
                    <a:pt x="90" y="2"/>
                    <a:pt x="87" y="3"/>
                    <a:pt x="85" y="4"/>
                  </a:cubicBezTo>
                  <a:cubicBezTo>
                    <a:pt x="84" y="4"/>
                    <a:pt x="84" y="4"/>
                    <a:pt x="84" y="4"/>
                  </a:cubicBezTo>
                  <a:cubicBezTo>
                    <a:pt x="83" y="4"/>
                    <a:pt x="83" y="4"/>
                    <a:pt x="83" y="4"/>
                  </a:cubicBezTo>
                  <a:cubicBezTo>
                    <a:pt x="82" y="4"/>
                    <a:pt x="82" y="4"/>
                    <a:pt x="82" y="4"/>
                  </a:cubicBezTo>
                  <a:cubicBezTo>
                    <a:pt x="82" y="4"/>
                    <a:pt x="82" y="5"/>
                    <a:pt x="81" y="5"/>
                  </a:cubicBezTo>
                  <a:cubicBezTo>
                    <a:pt x="81" y="5"/>
                    <a:pt x="80" y="5"/>
                    <a:pt x="79" y="6"/>
                  </a:cubicBezTo>
                  <a:cubicBezTo>
                    <a:pt x="78" y="6"/>
                    <a:pt x="78" y="6"/>
                    <a:pt x="78" y="6"/>
                  </a:cubicBezTo>
                  <a:cubicBezTo>
                    <a:pt x="78" y="6"/>
                    <a:pt x="77" y="6"/>
                    <a:pt x="77" y="6"/>
                  </a:cubicBezTo>
                  <a:cubicBezTo>
                    <a:pt x="74" y="6"/>
                    <a:pt x="72" y="5"/>
                    <a:pt x="70" y="4"/>
                  </a:cubicBezTo>
                  <a:cubicBezTo>
                    <a:pt x="70" y="3"/>
                    <a:pt x="70" y="3"/>
                    <a:pt x="70" y="3"/>
                  </a:cubicBezTo>
                  <a:cubicBezTo>
                    <a:pt x="69" y="3"/>
                    <a:pt x="68" y="2"/>
                    <a:pt x="67" y="2"/>
                  </a:cubicBezTo>
                  <a:cubicBezTo>
                    <a:pt x="67" y="2"/>
                    <a:pt x="67" y="2"/>
                    <a:pt x="67" y="2"/>
                  </a:cubicBezTo>
                  <a:cubicBezTo>
                    <a:pt x="66" y="2"/>
                    <a:pt x="66" y="3"/>
                    <a:pt x="66" y="3"/>
                  </a:cubicBezTo>
                  <a:cubicBezTo>
                    <a:pt x="66" y="4"/>
                    <a:pt x="66" y="5"/>
                    <a:pt x="65" y="6"/>
                  </a:cubicBezTo>
                  <a:cubicBezTo>
                    <a:pt x="64" y="7"/>
                    <a:pt x="64" y="7"/>
                    <a:pt x="63" y="7"/>
                  </a:cubicBezTo>
                  <a:cubicBezTo>
                    <a:pt x="63" y="8"/>
                    <a:pt x="63" y="9"/>
                    <a:pt x="63" y="10"/>
                  </a:cubicBezTo>
                  <a:cubicBezTo>
                    <a:pt x="63" y="11"/>
                    <a:pt x="62" y="12"/>
                    <a:pt x="61" y="13"/>
                  </a:cubicBezTo>
                  <a:cubicBezTo>
                    <a:pt x="60" y="13"/>
                    <a:pt x="59" y="14"/>
                    <a:pt x="58" y="15"/>
                  </a:cubicBezTo>
                  <a:cubicBezTo>
                    <a:pt x="58" y="15"/>
                    <a:pt x="58" y="15"/>
                    <a:pt x="58" y="15"/>
                  </a:cubicBezTo>
                  <a:cubicBezTo>
                    <a:pt x="56" y="16"/>
                    <a:pt x="54" y="18"/>
                    <a:pt x="52" y="19"/>
                  </a:cubicBezTo>
                  <a:cubicBezTo>
                    <a:pt x="52" y="20"/>
                    <a:pt x="51" y="20"/>
                    <a:pt x="51" y="21"/>
                  </a:cubicBezTo>
                  <a:cubicBezTo>
                    <a:pt x="51" y="21"/>
                    <a:pt x="51" y="21"/>
                    <a:pt x="51" y="21"/>
                  </a:cubicBezTo>
                  <a:cubicBezTo>
                    <a:pt x="50" y="23"/>
                    <a:pt x="49" y="25"/>
                    <a:pt x="46" y="25"/>
                  </a:cubicBezTo>
                  <a:cubicBezTo>
                    <a:pt x="45" y="25"/>
                    <a:pt x="44" y="24"/>
                    <a:pt x="43" y="24"/>
                  </a:cubicBezTo>
                  <a:cubicBezTo>
                    <a:pt x="42" y="23"/>
                    <a:pt x="41" y="22"/>
                    <a:pt x="40" y="21"/>
                  </a:cubicBezTo>
                  <a:cubicBezTo>
                    <a:pt x="39" y="21"/>
                    <a:pt x="39" y="21"/>
                    <a:pt x="39" y="21"/>
                  </a:cubicBezTo>
                  <a:cubicBezTo>
                    <a:pt x="39" y="21"/>
                    <a:pt x="39" y="21"/>
                    <a:pt x="39" y="21"/>
                  </a:cubicBezTo>
                  <a:cubicBezTo>
                    <a:pt x="37" y="22"/>
                    <a:pt x="36" y="24"/>
                    <a:pt x="35" y="25"/>
                  </a:cubicBezTo>
                  <a:cubicBezTo>
                    <a:pt x="34" y="26"/>
                    <a:pt x="32" y="27"/>
                    <a:pt x="31" y="27"/>
                  </a:cubicBezTo>
                  <a:cubicBezTo>
                    <a:pt x="30" y="27"/>
                    <a:pt x="29" y="27"/>
                    <a:pt x="29" y="26"/>
                  </a:cubicBezTo>
                  <a:cubicBezTo>
                    <a:pt x="28" y="26"/>
                    <a:pt x="28" y="26"/>
                    <a:pt x="27" y="26"/>
                  </a:cubicBezTo>
                  <a:cubicBezTo>
                    <a:pt x="27" y="26"/>
                    <a:pt x="26" y="26"/>
                    <a:pt x="25" y="26"/>
                  </a:cubicBezTo>
                  <a:cubicBezTo>
                    <a:pt x="25" y="27"/>
                    <a:pt x="25" y="27"/>
                    <a:pt x="25" y="27"/>
                  </a:cubicBezTo>
                  <a:cubicBezTo>
                    <a:pt x="26" y="28"/>
                    <a:pt x="26" y="29"/>
                    <a:pt x="26" y="30"/>
                  </a:cubicBezTo>
                  <a:cubicBezTo>
                    <a:pt x="26" y="31"/>
                    <a:pt x="26" y="31"/>
                    <a:pt x="26" y="31"/>
                  </a:cubicBezTo>
                  <a:cubicBezTo>
                    <a:pt x="27" y="32"/>
                    <a:pt x="27" y="32"/>
                    <a:pt x="27" y="33"/>
                  </a:cubicBezTo>
                  <a:cubicBezTo>
                    <a:pt x="27" y="35"/>
                    <a:pt x="26" y="36"/>
                    <a:pt x="25" y="37"/>
                  </a:cubicBezTo>
                  <a:cubicBezTo>
                    <a:pt x="24" y="38"/>
                    <a:pt x="24" y="38"/>
                    <a:pt x="24" y="38"/>
                  </a:cubicBezTo>
                  <a:cubicBezTo>
                    <a:pt x="23" y="38"/>
                    <a:pt x="23" y="38"/>
                    <a:pt x="22" y="38"/>
                  </a:cubicBezTo>
                  <a:cubicBezTo>
                    <a:pt x="22" y="38"/>
                    <a:pt x="22" y="38"/>
                    <a:pt x="22" y="38"/>
                  </a:cubicBezTo>
                  <a:cubicBezTo>
                    <a:pt x="22" y="39"/>
                    <a:pt x="21" y="40"/>
                    <a:pt x="20" y="41"/>
                  </a:cubicBezTo>
                  <a:cubicBezTo>
                    <a:pt x="19" y="42"/>
                    <a:pt x="19" y="42"/>
                    <a:pt x="19" y="42"/>
                  </a:cubicBezTo>
                  <a:cubicBezTo>
                    <a:pt x="17" y="44"/>
                    <a:pt x="15" y="45"/>
                    <a:pt x="12" y="45"/>
                  </a:cubicBezTo>
                  <a:cubicBezTo>
                    <a:pt x="11" y="45"/>
                    <a:pt x="11" y="45"/>
                    <a:pt x="11" y="45"/>
                  </a:cubicBezTo>
                  <a:cubicBezTo>
                    <a:pt x="10" y="45"/>
                    <a:pt x="10" y="45"/>
                    <a:pt x="10" y="45"/>
                  </a:cubicBezTo>
                  <a:cubicBezTo>
                    <a:pt x="9" y="44"/>
                    <a:pt x="9" y="44"/>
                    <a:pt x="9" y="44"/>
                  </a:cubicBezTo>
                  <a:cubicBezTo>
                    <a:pt x="8" y="44"/>
                    <a:pt x="8" y="44"/>
                    <a:pt x="8" y="44"/>
                  </a:cubicBezTo>
                  <a:cubicBezTo>
                    <a:pt x="8" y="44"/>
                    <a:pt x="8" y="44"/>
                    <a:pt x="8" y="44"/>
                  </a:cubicBezTo>
                  <a:cubicBezTo>
                    <a:pt x="6" y="43"/>
                    <a:pt x="6" y="41"/>
                    <a:pt x="4" y="40"/>
                  </a:cubicBezTo>
                  <a:cubicBezTo>
                    <a:pt x="3" y="42"/>
                    <a:pt x="0" y="43"/>
                    <a:pt x="2" y="45"/>
                  </a:cubicBezTo>
                  <a:cubicBezTo>
                    <a:pt x="6" y="48"/>
                    <a:pt x="10" y="52"/>
                    <a:pt x="14" y="55"/>
                  </a:cubicBezTo>
                  <a:cubicBezTo>
                    <a:pt x="17" y="56"/>
                    <a:pt x="19" y="58"/>
                    <a:pt x="21" y="60"/>
                  </a:cubicBezTo>
                  <a:cubicBezTo>
                    <a:pt x="23" y="61"/>
                    <a:pt x="24" y="63"/>
                    <a:pt x="25" y="65"/>
                  </a:cubicBezTo>
                  <a:cubicBezTo>
                    <a:pt x="29" y="73"/>
                    <a:pt x="38" y="79"/>
                    <a:pt x="45" y="85"/>
                  </a:cubicBezTo>
                  <a:cubicBezTo>
                    <a:pt x="46" y="84"/>
                    <a:pt x="46" y="84"/>
                    <a:pt x="46" y="84"/>
                  </a:cubicBezTo>
                  <a:cubicBezTo>
                    <a:pt x="46" y="83"/>
                    <a:pt x="46" y="83"/>
                    <a:pt x="46" y="83"/>
                  </a:cubicBezTo>
                  <a:cubicBezTo>
                    <a:pt x="47" y="83"/>
                    <a:pt x="47" y="83"/>
                    <a:pt x="47" y="83"/>
                  </a:cubicBezTo>
                  <a:cubicBezTo>
                    <a:pt x="48" y="82"/>
                    <a:pt x="48" y="82"/>
                    <a:pt x="48" y="82"/>
                  </a:cubicBezTo>
                  <a:cubicBezTo>
                    <a:pt x="48" y="82"/>
                    <a:pt x="49" y="81"/>
                    <a:pt x="50" y="81"/>
                  </a:cubicBezTo>
                  <a:cubicBezTo>
                    <a:pt x="50" y="81"/>
                    <a:pt x="50" y="82"/>
                    <a:pt x="50" y="82"/>
                  </a:cubicBezTo>
                  <a:cubicBezTo>
                    <a:pt x="50" y="82"/>
                    <a:pt x="51" y="82"/>
                    <a:pt x="51" y="82"/>
                  </a:cubicBezTo>
                  <a:cubicBezTo>
                    <a:pt x="51" y="82"/>
                    <a:pt x="52" y="82"/>
                    <a:pt x="52" y="82"/>
                  </a:cubicBezTo>
                  <a:cubicBezTo>
                    <a:pt x="53" y="82"/>
                    <a:pt x="53" y="82"/>
                    <a:pt x="53" y="82"/>
                  </a:cubicBezTo>
                  <a:cubicBezTo>
                    <a:pt x="50" y="81"/>
                    <a:pt x="48" y="80"/>
                    <a:pt x="46" y="77"/>
                  </a:cubicBezTo>
                  <a:cubicBezTo>
                    <a:pt x="44" y="75"/>
                    <a:pt x="44" y="72"/>
                    <a:pt x="43" y="69"/>
                  </a:cubicBezTo>
                  <a:cubicBezTo>
                    <a:pt x="43" y="66"/>
                    <a:pt x="43" y="63"/>
                    <a:pt x="46" y="63"/>
                  </a:cubicBezTo>
                  <a:cubicBezTo>
                    <a:pt x="47" y="63"/>
                    <a:pt x="48" y="63"/>
                    <a:pt x="49" y="64"/>
                  </a:cubicBezTo>
                  <a:cubicBezTo>
                    <a:pt x="54" y="65"/>
                    <a:pt x="71" y="80"/>
                    <a:pt x="69" y="86"/>
                  </a:cubicBezTo>
                  <a:cubicBezTo>
                    <a:pt x="70" y="86"/>
                    <a:pt x="72" y="86"/>
                    <a:pt x="73" y="86"/>
                  </a:cubicBezTo>
                  <a:cubicBezTo>
                    <a:pt x="73" y="86"/>
                    <a:pt x="74" y="86"/>
                    <a:pt x="74" y="86"/>
                  </a:cubicBezTo>
                  <a:cubicBezTo>
                    <a:pt x="74" y="86"/>
                    <a:pt x="74" y="86"/>
                    <a:pt x="74" y="86"/>
                  </a:cubicBezTo>
                  <a:cubicBezTo>
                    <a:pt x="76" y="86"/>
                    <a:pt x="78" y="87"/>
                    <a:pt x="81" y="89"/>
                  </a:cubicBezTo>
                  <a:cubicBezTo>
                    <a:pt x="82" y="90"/>
                    <a:pt x="82" y="90"/>
                    <a:pt x="82" y="90"/>
                  </a:cubicBezTo>
                  <a:cubicBezTo>
                    <a:pt x="84" y="91"/>
                    <a:pt x="85" y="91"/>
                    <a:pt x="87" y="91"/>
                  </a:cubicBezTo>
                  <a:cubicBezTo>
                    <a:pt x="89" y="91"/>
                    <a:pt x="89" y="91"/>
                    <a:pt x="89" y="91"/>
                  </a:cubicBezTo>
                  <a:cubicBezTo>
                    <a:pt x="90" y="91"/>
                    <a:pt x="90" y="91"/>
                    <a:pt x="90" y="91"/>
                  </a:cubicBezTo>
                  <a:cubicBezTo>
                    <a:pt x="91" y="91"/>
                    <a:pt x="91" y="91"/>
                    <a:pt x="91" y="91"/>
                  </a:cubicBezTo>
                  <a:cubicBezTo>
                    <a:pt x="91" y="91"/>
                    <a:pt x="91" y="91"/>
                    <a:pt x="91" y="91"/>
                  </a:cubicBezTo>
                  <a:cubicBezTo>
                    <a:pt x="91" y="91"/>
                    <a:pt x="92" y="90"/>
                    <a:pt x="92" y="89"/>
                  </a:cubicBezTo>
                  <a:cubicBezTo>
                    <a:pt x="91" y="87"/>
                    <a:pt x="90" y="84"/>
                    <a:pt x="90" y="82"/>
                  </a:cubicBezTo>
                  <a:cubicBezTo>
                    <a:pt x="90" y="80"/>
                    <a:pt x="92" y="75"/>
                    <a:pt x="95" y="75"/>
                  </a:cubicBezTo>
                  <a:cubicBezTo>
                    <a:pt x="91" y="68"/>
                    <a:pt x="90" y="70"/>
                    <a:pt x="92" y="62"/>
                  </a:cubicBezTo>
                  <a:cubicBezTo>
                    <a:pt x="93" y="63"/>
                    <a:pt x="94" y="65"/>
                    <a:pt x="94" y="66"/>
                  </a:cubicBezTo>
                  <a:cubicBezTo>
                    <a:pt x="95" y="62"/>
                    <a:pt x="94" y="59"/>
                    <a:pt x="93" y="55"/>
                  </a:cubicBezTo>
                  <a:cubicBezTo>
                    <a:pt x="93" y="54"/>
                    <a:pt x="92" y="54"/>
                    <a:pt x="92" y="54"/>
                  </a:cubicBezTo>
                  <a:cubicBezTo>
                    <a:pt x="92" y="54"/>
                    <a:pt x="92" y="54"/>
                    <a:pt x="92" y="54"/>
                  </a:cubicBezTo>
                  <a:cubicBezTo>
                    <a:pt x="92" y="52"/>
                    <a:pt x="96" y="52"/>
                    <a:pt x="97" y="49"/>
                  </a:cubicBezTo>
                  <a:cubicBezTo>
                    <a:pt x="97" y="52"/>
                    <a:pt x="96" y="54"/>
                    <a:pt x="96" y="57"/>
                  </a:cubicBezTo>
                  <a:cubicBezTo>
                    <a:pt x="96" y="57"/>
                    <a:pt x="96" y="57"/>
                    <a:pt x="96" y="57"/>
                  </a:cubicBezTo>
                  <a:cubicBezTo>
                    <a:pt x="96" y="57"/>
                    <a:pt x="97" y="57"/>
                    <a:pt x="97" y="57"/>
                  </a:cubicBezTo>
                  <a:cubicBezTo>
                    <a:pt x="100" y="57"/>
                    <a:pt x="98" y="50"/>
                    <a:pt x="98" y="49"/>
                  </a:cubicBezTo>
                  <a:cubicBezTo>
                    <a:pt x="98" y="41"/>
                    <a:pt x="99" y="36"/>
                    <a:pt x="100" y="28"/>
                  </a:cubicBezTo>
                  <a:cubicBezTo>
                    <a:pt x="101" y="24"/>
                    <a:pt x="102" y="19"/>
                    <a:pt x="103" y="15"/>
                  </a:cubicBezTo>
                  <a:cubicBezTo>
                    <a:pt x="104" y="14"/>
                    <a:pt x="105" y="13"/>
                    <a:pt x="105" y="12"/>
                  </a:cubicBezTo>
                  <a:cubicBezTo>
                    <a:pt x="106" y="9"/>
                    <a:pt x="104" y="1"/>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351"/>
            <p:cNvSpPr>
              <a:spLocks noChangeArrowheads="1"/>
            </p:cNvSpPr>
            <p:nvPr/>
          </p:nvSpPr>
          <p:spPr bwMode="auto">
            <a:xfrm>
              <a:off x="8099416" y="7903397"/>
              <a:ext cx="15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52"/>
            <p:cNvSpPr/>
            <p:nvPr/>
          </p:nvSpPr>
          <p:spPr bwMode="auto">
            <a:xfrm flipH="1">
              <a:off x="8099416" y="7903397"/>
              <a:ext cx="0" cy="4763"/>
            </a:xfrm>
            <a:custGeom>
              <a:gdLst>
                <a:gd name="T0" fmla="*/ 0 h 3"/>
                <a:gd name="T1" fmla="*/ 3 h 3"/>
                <a:gd name="T2" fmla="*/ 3 h 3"/>
                <a:gd name="T3" fmla="*/ 0 h 3"/>
              </a:gd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53"/>
            <p:cNvSpPr/>
            <p:nvPr/>
          </p:nvSpPr>
          <p:spPr bwMode="auto">
            <a:xfrm>
              <a:off x="8132754" y="7877997"/>
              <a:ext cx="3175" cy="0"/>
            </a:xfrm>
            <a:custGeom>
              <a:gdLst>
                <a:gd name="T0" fmla="*/ 0 w 2"/>
                <a:gd name="T1" fmla="*/ 0 w 2"/>
                <a:gd name="T2" fmla="*/ 0 w 2"/>
                <a:gd name="T3" fmla="*/ 2 w 2"/>
                <a:gd name="T4" fmla="*/ 0 w 2"/>
              </a:gd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354"/>
            <p:cNvSpPr/>
            <p:nvPr/>
          </p:nvSpPr>
          <p:spPr bwMode="auto">
            <a:xfrm>
              <a:off x="8132754" y="7877997"/>
              <a:ext cx="3175" cy="0"/>
            </a:xfrm>
            <a:custGeom>
              <a:gdLst>
                <a:gd name="T0" fmla="*/ 0 w 2"/>
                <a:gd name="T1" fmla="*/ 0 w 2"/>
                <a:gd name="T2" fmla="*/ 0 w 2"/>
                <a:gd name="T3" fmla="*/ 2 w 2"/>
                <a:gd name="T4" fmla="*/ 0 w 2"/>
              </a:gd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355"/>
            <p:cNvSpPr/>
            <p:nvPr/>
          </p:nvSpPr>
          <p:spPr bwMode="auto">
            <a:xfrm>
              <a:off x="8083541" y="7877997"/>
              <a:ext cx="187325" cy="101600"/>
            </a:xfrm>
            <a:custGeom>
              <a:gdLst>
                <a:gd name="T0" fmla="*/ 16 w 50"/>
                <a:gd name="T1" fmla="*/ 0 h 27"/>
                <a:gd name="T2" fmla="*/ 15 w 50"/>
                <a:gd name="T3" fmla="*/ 1 h 27"/>
                <a:gd name="T4" fmla="*/ 15 w 50"/>
                <a:gd name="T5" fmla="*/ 0 h 27"/>
                <a:gd name="T6" fmla="*/ 13 w 50"/>
                <a:gd name="T7" fmla="*/ 1 h 27"/>
                <a:gd name="T8" fmla="*/ 13 w 50"/>
                <a:gd name="T9" fmla="*/ 3 h 27"/>
                <a:gd name="T10" fmla="*/ 9 w 50"/>
                <a:gd name="T11" fmla="*/ 6 h 27"/>
                <a:gd name="T12" fmla="*/ 8 w 50"/>
                <a:gd name="T13" fmla="*/ 6 h 27"/>
                <a:gd name="T14" fmla="*/ 8 w 50"/>
                <a:gd name="T15" fmla="*/ 6 h 27"/>
                <a:gd name="T16" fmla="*/ 8 w 50"/>
                <a:gd name="T17" fmla="*/ 6 h 27"/>
                <a:gd name="T18" fmla="*/ 9 w 50"/>
                <a:gd name="T19" fmla="*/ 14 h 27"/>
                <a:gd name="T20" fmla="*/ 4 w 50"/>
                <a:gd name="T21" fmla="*/ 9 h 27"/>
                <a:gd name="T22" fmla="*/ 4 w 50"/>
                <a:gd name="T23" fmla="*/ 9 h 27"/>
                <a:gd name="T24" fmla="*/ 2 w 50"/>
                <a:gd name="T25" fmla="*/ 10 h 27"/>
                <a:gd name="T26" fmla="*/ 0 w 50"/>
                <a:gd name="T27" fmla="*/ 14 h 27"/>
                <a:gd name="T28" fmla="*/ 0 w 50"/>
                <a:gd name="T29" fmla="*/ 15 h 27"/>
                <a:gd name="T30" fmla="*/ 12 w 50"/>
                <a:gd name="T31" fmla="*/ 19 h 27"/>
                <a:gd name="T32" fmla="*/ 27 w 50"/>
                <a:gd name="T33" fmla="*/ 25 h 27"/>
                <a:gd name="T34" fmla="*/ 43 w 50"/>
                <a:gd name="T35" fmla="*/ 27 h 27"/>
                <a:gd name="T36" fmla="*/ 47 w 50"/>
                <a:gd name="T37" fmla="*/ 27 h 27"/>
                <a:gd name="T38" fmla="*/ 48 w 50"/>
                <a:gd name="T39" fmla="*/ 27 h 27"/>
                <a:gd name="T40" fmla="*/ 50 w 50"/>
                <a:gd name="T41" fmla="*/ 23 h 27"/>
                <a:gd name="T42" fmla="*/ 49 w 50"/>
                <a:gd name="T43" fmla="*/ 23 h 27"/>
                <a:gd name="T44" fmla="*/ 49 w 50"/>
                <a:gd name="T45" fmla="*/ 22 h 27"/>
                <a:gd name="T46" fmla="*/ 49 w 50"/>
                <a:gd name="T47" fmla="*/ 20 h 27"/>
                <a:gd name="T48" fmla="*/ 49 w 50"/>
                <a:gd name="T49" fmla="*/ 20 h 27"/>
                <a:gd name="T50" fmla="*/ 49 w 50"/>
                <a:gd name="T51" fmla="*/ 16 h 27"/>
                <a:gd name="T52" fmla="*/ 49 w 50"/>
                <a:gd name="T53" fmla="*/ 15 h 27"/>
                <a:gd name="T54" fmla="*/ 50 w 50"/>
                <a:gd name="T55" fmla="*/ 13 h 27"/>
                <a:gd name="T56" fmla="*/ 49 w 50"/>
                <a:gd name="T57" fmla="*/ 13 h 27"/>
                <a:gd name="T58" fmla="*/ 48 w 50"/>
                <a:gd name="T59" fmla="*/ 13 h 27"/>
                <a:gd name="T60" fmla="*/ 48 w 50"/>
                <a:gd name="T61" fmla="*/ 13 h 27"/>
                <a:gd name="T62" fmla="*/ 47 w 50"/>
                <a:gd name="T63" fmla="*/ 13 h 27"/>
                <a:gd name="T64" fmla="*/ 47 w 50"/>
                <a:gd name="T65" fmla="*/ 13 h 27"/>
                <a:gd name="T66" fmla="*/ 46 w 50"/>
                <a:gd name="T67" fmla="*/ 12 h 27"/>
                <a:gd name="T68" fmla="*/ 43 w 50"/>
                <a:gd name="T69" fmla="*/ 11 h 27"/>
                <a:gd name="T70" fmla="*/ 43 w 50"/>
                <a:gd name="T71" fmla="*/ 10 h 27"/>
                <a:gd name="T72" fmla="*/ 42 w 50"/>
                <a:gd name="T73" fmla="*/ 10 h 27"/>
                <a:gd name="T74" fmla="*/ 42 w 50"/>
                <a:gd name="T75" fmla="*/ 10 h 27"/>
                <a:gd name="T76" fmla="*/ 41 w 50"/>
                <a:gd name="T77" fmla="*/ 11 h 27"/>
                <a:gd name="T78" fmla="*/ 39 w 50"/>
                <a:gd name="T79" fmla="*/ 12 h 27"/>
                <a:gd name="T80" fmla="*/ 37 w 50"/>
                <a:gd name="T81" fmla="*/ 13 h 27"/>
                <a:gd name="T82" fmla="*/ 35 w 50"/>
                <a:gd name="T83" fmla="*/ 13 h 27"/>
                <a:gd name="T84" fmla="*/ 31 w 50"/>
                <a:gd name="T85" fmla="*/ 14 h 27"/>
                <a:gd name="T86" fmla="*/ 32 w 50"/>
                <a:gd name="T87" fmla="*/ 10 h 27"/>
                <a:gd name="T88" fmla="*/ 31 w 50"/>
                <a:gd name="T89" fmla="*/ 10 h 27"/>
                <a:gd name="T90" fmla="*/ 30 w 50"/>
                <a:gd name="T91" fmla="*/ 10 h 27"/>
                <a:gd name="T92" fmla="*/ 27 w 50"/>
                <a:gd name="T93" fmla="*/ 7 h 27"/>
                <a:gd name="T94" fmla="*/ 27 w 50"/>
                <a:gd name="T95" fmla="*/ 7 h 27"/>
                <a:gd name="T96" fmla="*/ 25 w 50"/>
                <a:gd name="T97" fmla="*/ 6 h 27"/>
                <a:gd name="T98" fmla="*/ 21 w 50"/>
                <a:gd name="T99" fmla="*/ 10 h 27"/>
                <a:gd name="T100" fmla="*/ 24 w 50"/>
                <a:gd name="T101" fmla="*/ 5 h 27"/>
                <a:gd name="T102" fmla="*/ 21 w 50"/>
                <a:gd name="T103" fmla="*/ 3 h 27"/>
                <a:gd name="T104" fmla="*/ 19 w 50"/>
                <a:gd name="T105" fmla="*/ 1 h 27"/>
                <a:gd name="T106" fmla="*/ 19 w 50"/>
                <a:gd name="T107" fmla="*/ 1 h 27"/>
                <a:gd name="T108" fmla="*/ 16 w 50"/>
                <a:gd name="T109" fmla="*/ 0 h 27"/>
                <a:gd name="T110" fmla="*/ 16 w 50"/>
                <a:gd name="T111"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27">
                  <a:moveTo>
                    <a:pt x="16" y="0"/>
                  </a:moveTo>
                  <a:cubicBezTo>
                    <a:pt x="15" y="1"/>
                    <a:pt x="15" y="1"/>
                    <a:pt x="15" y="1"/>
                  </a:cubicBezTo>
                  <a:cubicBezTo>
                    <a:pt x="15" y="0"/>
                    <a:pt x="15" y="0"/>
                    <a:pt x="15" y="0"/>
                  </a:cubicBezTo>
                  <a:cubicBezTo>
                    <a:pt x="13" y="1"/>
                    <a:pt x="13" y="1"/>
                    <a:pt x="13" y="1"/>
                  </a:cubicBezTo>
                  <a:cubicBezTo>
                    <a:pt x="13" y="2"/>
                    <a:pt x="13" y="2"/>
                    <a:pt x="13" y="3"/>
                  </a:cubicBezTo>
                  <a:cubicBezTo>
                    <a:pt x="12" y="5"/>
                    <a:pt x="10" y="6"/>
                    <a:pt x="9" y="6"/>
                  </a:cubicBezTo>
                  <a:cubicBezTo>
                    <a:pt x="8" y="6"/>
                    <a:pt x="8" y="6"/>
                    <a:pt x="8" y="6"/>
                  </a:cubicBezTo>
                  <a:cubicBezTo>
                    <a:pt x="8" y="6"/>
                    <a:pt x="8" y="6"/>
                    <a:pt x="8" y="6"/>
                  </a:cubicBezTo>
                  <a:cubicBezTo>
                    <a:pt x="8" y="6"/>
                    <a:pt x="8" y="6"/>
                    <a:pt x="8" y="6"/>
                  </a:cubicBezTo>
                  <a:cubicBezTo>
                    <a:pt x="9" y="14"/>
                    <a:pt x="9" y="14"/>
                    <a:pt x="9" y="14"/>
                  </a:cubicBezTo>
                  <a:cubicBezTo>
                    <a:pt x="4" y="9"/>
                    <a:pt x="4" y="9"/>
                    <a:pt x="4" y="9"/>
                  </a:cubicBezTo>
                  <a:cubicBezTo>
                    <a:pt x="4" y="9"/>
                    <a:pt x="4" y="9"/>
                    <a:pt x="4" y="9"/>
                  </a:cubicBezTo>
                  <a:cubicBezTo>
                    <a:pt x="3" y="9"/>
                    <a:pt x="2" y="10"/>
                    <a:pt x="2" y="10"/>
                  </a:cubicBezTo>
                  <a:cubicBezTo>
                    <a:pt x="2" y="10"/>
                    <a:pt x="1" y="11"/>
                    <a:pt x="0" y="14"/>
                  </a:cubicBezTo>
                  <a:cubicBezTo>
                    <a:pt x="0" y="15"/>
                    <a:pt x="0" y="15"/>
                    <a:pt x="0" y="15"/>
                  </a:cubicBezTo>
                  <a:cubicBezTo>
                    <a:pt x="3" y="17"/>
                    <a:pt x="7" y="18"/>
                    <a:pt x="12" y="19"/>
                  </a:cubicBezTo>
                  <a:cubicBezTo>
                    <a:pt x="17" y="21"/>
                    <a:pt x="21" y="23"/>
                    <a:pt x="27" y="25"/>
                  </a:cubicBezTo>
                  <a:cubicBezTo>
                    <a:pt x="32" y="27"/>
                    <a:pt x="38" y="26"/>
                    <a:pt x="43" y="27"/>
                  </a:cubicBezTo>
                  <a:cubicBezTo>
                    <a:pt x="44" y="27"/>
                    <a:pt x="46" y="27"/>
                    <a:pt x="47" y="27"/>
                  </a:cubicBezTo>
                  <a:cubicBezTo>
                    <a:pt x="48" y="27"/>
                    <a:pt x="48" y="27"/>
                    <a:pt x="48" y="27"/>
                  </a:cubicBezTo>
                  <a:cubicBezTo>
                    <a:pt x="49" y="27"/>
                    <a:pt x="49" y="25"/>
                    <a:pt x="50" y="23"/>
                  </a:cubicBezTo>
                  <a:cubicBezTo>
                    <a:pt x="49" y="23"/>
                    <a:pt x="49" y="23"/>
                    <a:pt x="49" y="23"/>
                  </a:cubicBezTo>
                  <a:cubicBezTo>
                    <a:pt x="49" y="22"/>
                    <a:pt x="49" y="22"/>
                    <a:pt x="49" y="22"/>
                  </a:cubicBezTo>
                  <a:cubicBezTo>
                    <a:pt x="49" y="21"/>
                    <a:pt x="49" y="21"/>
                    <a:pt x="49" y="20"/>
                  </a:cubicBezTo>
                  <a:cubicBezTo>
                    <a:pt x="49" y="20"/>
                    <a:pt x="49" y="20"/>
                    <a:pt x="49" y="20"/>
                  </a:cubicBezTo>
                  <a:cubicBezTo>
                    <a:pt x="48" y="18"/>
                    <a:pt x="48" y="17"/>
                    <a:pt x="49" y="16"/>
                  </a:cubicBezTo>
                  <a:cubicBezTo>
                    <a:pt x="49" y="15"/>
                    <a:pt x="49" y="15"/>
                    <a:pt x="49" y="15"/>
                  </a:cubicBezTo>
                  <a:cubicBezTo>
                    <a:pt x="49" y="14"/>
                    <a:pt x="50" y="13"/>
                    <a:pt x="50" y="13"/>
                  </a:cubicBezTo>
                  <a:cubicBezTo>
                    <a:pt x="49" y="13"/>
                    <a:pt x="49" y="13"/>
                    <a:pt x="49" y="13"/>
                  </a:cubicBezTo>
                  <a:cubicBezTo>
                    <a:pt x="49" y="13"/>
                    <a:pt x="49" y="13"/>
                    <a:pt x="48" y="13"/>
                  </a:cubicBezTo>
                  <a:cubicBezTo>
                    <a:pt x="48" y="13"/>
                    <a:pt x="48" y="13"/>
                    <a:pt x="48" y="13"/>
                  </a:cubicBezTo>
                  <a:cubicBezTo>
                    <a:pt x="48" y="13"/>
                    <a:pt x="48" y="13"/>
                    <a:pt x="47" y="13"/>
                  </a:cubicBezTo>
                  <a:cubicBezTo>
                    <a:pt x="47" y="13"/>
                    <a:pt x="47" y="13"/>
                    <a:pt x="47" y="13"/>
                  </a:cubicBezTo>
                  <a:cubicBezTo>
                    <a:pt x="46" y="12"/>
                    <a:pt x="46" y="12"/>
                    <a:pt x="46" y="12"/>
                  </a:cubicBezTo>
                  <a:cubicBezTo>
                    <a:pt x="44" y="12"/>
                    <a:pt x="44" y="11"/>
                    <a:pt x="43" y="11"/>
                  </a:cubicBezTo>
                  <a:cubicBezTo>
                    <a:pt x="43" y="10"/>
                    <a:pt x="43" y="10"/>
                    <a:pt x="43" y="10"/>
                  </a:cubicBezTo>
                  <a:cubicBezTo>
                    <a:pt x="42" y="10"/>
                    <a:pt x="42" y="10"/>
                    <a:pt x="42" y="10"/>
                  </a:cubicBezTo>
                  <a:cubicBezTo>
                    <a:pt x="42" y="10"/>
                    <a:pt x="42" y="10"/>
                    <a:pt x="42" y="10"/>
                  </a:cubicBezTo>
                  <a:cubicBezTo>
                    <a:pt x="42" y="11"/>
                    <a:pt x="41" y="11"/>
                    <a:pt x="41" y="11"/>
                  </a:cubicBezTo>
                  <a:cubicBezTo>
                    <a:pt x="40" y="12"/>
                    <a:pt x="40" y="12"/>
                    <a:pt x="39" y="12"/>
                  </a:cubicBezTo>
                  <a:cubicBezTo>
                    <a:pt x="37" y="13"/>
                    <a:pt x="37" y="13"/>
                    <a:pt x="37" y="13"/>
                  </a:cubicBezTo>
                  <a:cubicBezTo>
                    <a:pt x="36" y="13"/>
                    <a:pt x="36" y="13"/>
                    <a:pt x="35" y="13"/>
                  </a:cubicBezTo>
                  <a:cubicBezTo>
                    <a:pt x="31" y="14"/>
                    <a:pt x="31" y="14"/>
                    <a:pt x="31" y="14"/>
                  </a:cubicBezTo>
                  <a:cubicBezTo>
                    <a:pt x="32" y="10"/>
                    <a:pt x="32" y="10"/>
                    <a:pt x="32" y="10"/>
                  </a:cubicBezTo>
                  <a:cubicBezTo>
                    <a:pt x="31" y="10"/>
                    <a:pt x="31" y="10"/>
                    <a:pt x="31" y="10"/>
                  </a:cubicBezTo>
                  <a:cubicBezTo>
                    <a:pt x="30" y="10"/>
                    <a:pt x="30" y="10"/>
                    <a:pt x="30" y="10"/>
                  </a:cubicBezTo>
                  <a:cubicBezTo>
                    <a:pt x="29" y="9"/>
                    <a:pt x="28" y="8"/>
                    <a:pt x="27" y="7"/>
                  </a:cubicBezTo>
                  <a:cubicBezTo>
                    <a:pt x="27" y="7"/>
                    <a:pt x="27" y="7"/>
                    <a:pt x="27" y="7"/>
                  </a:cubicBezTo>
                  <a:cubicBezTo>
                    <a:pt x="26" y="7"/>
                    <a:pt x="25" y="6"/>
                    <a:pt x="25" y="6"/>
                  </a:cubicBezTo>
                  <a:cubicBezTo>
                    <a:pt x="21" y="10"/>
                    <a:pt x="21" y="10"/>
                    <a:pt x="21" y="10"/>
                  </a:cubicBezTo>
                  <a:cubicBezTo>
                    <a:pt x="24" y="5"/>
                    <a:pt x="24" y="5"/>
                    <a:pt x="24" y="5"/>
                  </a:cubicBezTo>
                  <a:cubicBezTo>
                    <a:pt x="23" y="5"/>
                    <a:pt x="22" y="4"/>
                    <a:pt x="21" y="3"/>
                  </a:cubicBezTo>
                  <a:cubicBezTo>
                    <a:pt x="20" y="2"/>
                    <a:pt x="20" y="1"/>
                    <a:pt x="19" y="1"/>
                  </a:cubicBezTo>
                  <a:cubicBezTo>
                    <a:pt x="19" y="1"/>
                    <a:pt x="19" y="1"/>
                    <a:pt x="19" y="1"/>
                  </a:cubicBezTo>
                  <a:cubicBezTo>
                    <a:pt x="18" y="0"/>
                    <a:pt x="17" y="0"/>
                    <a:pt x="16" y="0"/>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356"/>
            <p:cNvSpPr/>
            <p:nvPr/>
          </p:nvSpPr>
          <p:spPr bwMode="auto">
            <a:xfrm>
              <a:off x="8162916" y="7724010"/>
              <a:ext cx="509588" cy="261938"/>
            </a:xfrm>
            <a:custGeom>
              <a:gdLst>
                <a:gd name="T0" fmla="*/ 60 w 136"/>
                <a:gd name="T1" fmla="*/ 6 h 70"/>
                <a:gd name="T2" fmla="*/ 53 w 136"/>
                <a:gd name="T3" fmla="*/ 6 h 70"/>
                <a:gd name="T4" fmla="*/ 32 w 136"/>
                <a:gd name="T5" fmla="*/ 3 h 70"/>
                <a:gd name="T6" fmla="*/ 23 w 136"/>
                <a:gd name="T7" fmla="*/ 8 h 70"/>
                <a:gd name="T8" fmla="*/ 16 w 136"/>
                <a:gd name="T9" fmla="*/ 14 h 70"/>
                <a:gd name="T10" fmla="*/ 7 w 136"/>
                <a:gd name="T11" fmla="*/ 21 h 70"/>
                <a:gd name="T12" fmla="*/ 1 w 136"/>
                <a:gd name="T13" fmla="*/ 25 h 70"/>
                <a:gd name="T14" fmla="*/ 3 w 136"/>
                <a:gd name="T15" fmla="*/ 25 h 70"/>
                <a:gd name="T16" fmla="*/ 1 w 136"/>
                <a:gd name="T17" fmla="*/ 32 h 70"/>
                <a:gd name="T18" fmla="*/ 0 w 136"/>
                <a:gd name="T19" fmla="*/ 36 h 70"/>
                <a:gd name="T20" fmla="*/ 7 w 136"/>
                <a:gd name="T21" fmla="*/ 42 h 70"/>
                <a:gd name="T22" fmla="*/ 14 w 136"/>
                <a:gd name="T23" fmla="*/ 46 h 70"/>
                <a:gd name="T24" fmla="*/ 17 w 136"/>
                <a:gd name="T25" fmla="*/ 48 h 70"/>
                <a:gd name="T26" fmla="*/ 21 w 136"/>
                <a:gd name="T27" fmla="*/ 45 h 70"/>
                <a:gd name="T28" fmla="*/ 26 w 136"/>
                <a:gd name="T29" fmla="*/ 48 h 70"/>
                <a:gd name="T30" fmla="*/ 34 w 136"/>
                <a:gd name="T31" fmla="*/ 54 h 70"/>
                <a:gd name="T32" fmla="*/ 33 w 136"/>
                <a:gd name="T33" fmla="*/ 58 h 70"/>
                <a:gd name="T34" fmla="*/ 33 w 136"/>
                <a:gd name="T35" fmla="*/ 62 h 70"/>
                <a:gd name="T36" fmla="*/ 36 w 136"/>
                <a:gd name="T37" fmla="*/ 65 h 70"/>
                <a:gd name="T38" fmla="*/ 42 w 136"/>
                <a:gd name="T39" fmla="*/ 69 h 70"/>
                <a:gd name="T40" fmla="*/ 47 w 136"/>
                <a:gd name="T41" fmla="*/ 67 h 70"/>
                <a:gd name="T42" fmla="*/ 48 w 136"/>
                <a:gd name="T43" fmla="*/ 65 h 70"/>
                <a:gd name="T44" fmla="*/ 52 w 136"/>
                <a:gd name="T45" fmla="*/ 62 h 70"/>
                <a:gd name="T46" fmla="*/ 59 w 136"/>
                <a:gd name="T47" fmla="*/ 50 h 70"/>
                <a:gd name="T48" fmla="*/ 66 w 136"/>
                <a:gd name="T49" fmla="*/ 47 h 70"/>
                <a:gd name="T50" fmla="*/ 72 w 136"/>
                <a:gd name="T51" fmla="*/ 43 h 70"/>
                <a:gd name="T52" fmla="*/ 74 w 136"/>
                <a:gd name="T53" fmla="*/ 47 h 70"/>
                <a:gd name="T54" fmla="*/ 77 w 136"/>
                <a:gd name="T55" fmla="*/ 48 h 70"/>
                <a:gd name="T56" fmla="*/ 86 w 136"/>
                <a:gd name="T57" fmla="*/ 40 h 70"/>
                <a:gd name="T58" fmla="*/ 88 w 136"/>
                <a:gd name="T59" fmla="*/ 37 h 70"/>
                <a:gd name="T60" fmla="*/ 91 w 136"/>
                <a:gd name="T61" fmla="*/ 32 h 70"/>
                <a:gd name="T62" fmla="*/ 99 w 136"/>
                <a:gd name="T63" fmla="*/ 26 h 70"/>
                <a:gd name="T64" fmla="*/ 104 w 136"/>
                <a:gd name="T65" fmla="*/ 29 h 70"/>
                <a:gd name="T66" fmla="*/ 109 w 136"/>
                <a:gd name="T67" fmla="*/ 30 h 70"/>
                <a:gd name="T68" fmla="*/ 112 w 136"/>
                <a:gd name="T69" fmla="*/ 29 h 70"/>
                <a:gd name="T70" fmla="*/ 123 w 136"/>
                <a:gd name="T71" fmla="*/ 26 h 70"/>
                <a:gd name="T72" fmla="*/ 134 w 136"/>
                <a:gd name="T73" fmla="*/ 23 h 70"/>
                <a:gd name="T74" fmla="*/ 124 w 136"/>
                <a:gd name="T75" fmla="*/ 20 h 70"/>
                <a:gd name="T76" fmla="*/ 117 w 136"/>
                <a:gd name="T77" fmla="*/ 17 h 70"/>
                <a:gd name="T78" fmla="*/ 124 w 136"/>
                <a:gd name="T79" fmla="*/ 15 h 70"/>
                <a:gd name="T80" fmla="*/ 110 w 136"/>
                <a:gd name="T81" fmla="*/ 6 h 70"/>
                <a:gd name="T82" fmla="*/ 95 w 136"/>
                <a:gd name="T83" fmla="*/ 1 h 70"/>
                <a:gd name="T84" fmla="*/ 87 w 136"/>
                <a:gd name="T85" fmla="*/ 3 h 70"/>
                <a:gd name="T86" fmla="*/ 72 w 136"/>
                <a:gd name="T87" fmla="*/ 0 h 7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0">
                  <a:moveTo>
                    <a:pt x="72" y="0"/>
                  </a:moveTo>
                  <a:cubicBezTo>
                    <a:pt x="74" y="1"/>
                    <a:pt x="73" y="2"/>
                    <a:pt x="71" y="3"/>
                  </a:cubicBezTo>
                  <a:cubicBezTo>
                    <a:pt x="67" y="4"/>
                    <a:pt x="63" y="6"/>
                    <a:pt x="60" y="6"/>
                  </a:cubicBezTo>
                  <a:cubicBezTo>
                    <a:pt x="59" y="6"/>
                    <a:pt x="59" y="6"/>
                    <a:pt x="59" y="6"/>
                  </a:cubicBezTo>
                  <a:cubicBezTo>
                    <a:pt x="58" y="6"/>
                    <a:pt x="57" y="6"/>
                    <a:pt x="57" y="6"/>
                  </a:cubicBezTo>
                  <a:cubicBezTo>
                    <a:pt x="55" y="6"/>
                    <a:pt x="54" y="6"/>
                    <a:pt x="53" y="6"/>
                  </a:cubicBezTo>
                  <a:cubicBezTo>
                    <a:pt x="52" y="6"/>
                    <a:pt x="50" y="6"/>
                    <a:pt x="49" y="6"/>
                  </a:cubicBezTo>
                  <a:cubicBezTo>
                    <a:pt x="48" y="6"/>
                    <a:pt x="47" y="6"/>
                    <a:pt x="46" y="6"/>
                  </a:cubicBezTo>
                  <a:cubicBezTo>
                    <a:pt x="41" y="5"/>
                    <a:pt x="37" y="4"/>
                    <a:pt x="32" y="3"/>
                  </a:cubicBezTo>
                  <a:cubicBezTo>
                    <a:pt x="32" y="3"/>
                    <a:pt x="32" y="3"/>
                    <a:pt x="32" y="3"/>
                  </a:cubicBezTo>
                  <a:cubicBezTo>
                    <a:pt x="29" y="3"/>
                    <a:pt x="25" y="5"/>
                    <a:pt x="22" y="7"/>
                  </a:cubicBezTo>
                  <a:cubicBezTo>
                    <a:pt x="23" y="8"/>
                    <a:pt x="23" y="8"/>
                    <a:pt x="23" y="8"/>
                  </a:cubicBezTo>
                  <a:cubicBezTo>
                    <a:pt x="22" y="9"/>
                    <a:pt x="22" y="9"/>
                    <a:pt x="22" y="9"/>
                  </a:cubicBezTo>
                  <a:cubicBezTo>
                    <a:pt x="20" y="10"/>
                    <a:pt x="18" y="12"/>
                    <a:pt x="17" y="13"/>
                  </a:cubicBezTo>
                  <a:cubicBezTo>
                    <a:pt x="16" y="14"/>
                    <a:pt x="16" y="14"/>
                    <a:pt x="16" y="14"/>
                  </a:cubicBezTo>
                  <a:cubicBezTo>
                    <a:pt x="15" y="15"/>
                    <a:pt x="15" y="15"/>
                    <a:pt x="14" y="16"/>
                  </a:cubicBezTo>
                  <a:cubicBezTo>
                    <a:pt x="12" y="17"/>
                    <a:pt x="10" y="19"/>
                    <a:pt x="8" y="21"/>
                  </a:cubicBezTo>
                  <a:cubicBezTo>
                    <a:pt x="7" y="21"/>
                    <a:pt x="7" y="21"/>
                    <a:pt x="7" y="21"/>
                  </a:cubicBezTo>
                  <a:cubicBezTo>
                    <a:pt x="6" y="22"/>
                    <a:pt x="5" y="23"/>
                    <a:pt x="4" y="23"/>
                  </a:cubicBezTo>
                  <a:cubicBezTo>
                    <a:pt x="3" y="24"/>
                    <a:pt x="3" y="24"/>
                    <a:pt x="3" y="24"/>
                  </a:cubicBezTo>
                  <a:cubicBezTo>
                    <a:pt x="2" y="24"/>
                    <a:pt x="1" y="24"/>
                    <a:pt x="1" y="25"/>
                  </a:cubicBezTo>
                  <a:cubicBezTo>
                    <a:pt x="1" y="25"/>
                    <a:pt x="1" y="26"/>
                    <a:pt x="0" y="26"/>
                  </a:cubicBezTo>
                  <a:cubicBezTo>
                    <a:pt x="0" y="27"/>
                    <a:pt x="0" y="27"/>
                    <a:pt x="0" y="27"/>
                  </a:cubicBezTo>
                  <a:cubicBezTo>
                    <a:pt x="3" y="25"/>
                    <a:pt x="3" y="25"/>
                    <a:pt x="3" y="25"/>
                  </a:cubicBezTo>
                  <a:cubicBezTo>
                    <a:pt x="0" y="29"/>
                    <a:pt x="0" y="29"/>
                    <a:pt x="0" y="29"/>
                  </a:cubicBezTo>
                  <a:cubicBezTo>
                    <a:pt x="1" y="29"/>
                    <a:pt x="1" y="29"/>
                    <a:pt x="1" y="30"/>
                  </a:cubicBezTo>
                  <a:cubicBezTo>
                    <a:pt x="1" y="31"/>
                    <a:pt x="1" y="31"/>
                    <a:pt x="1" y="32"/>
                  </a:cubicBezTo>
                  <a:cubicBezTo>
                    <a:pt x="1" y="33"/>
                    <a:pt x="1" y="34"/>
                    <a:pt x="1" y="34"/>
                  </a:cubicBezTo>
                  <a:cubicBezTo>
                    <a:pt x="1" y="35"/>
                    <a:pt x="1" y="35"/>
                    <a:pt x="1" y="35"/>
                  </a:cubicBezTo>
                  <a:cubicBezTo>
                    <a:pt x="0" y="35"/>
                    <a:pt x="0" y="36"/>
                    <a:pt x="0" y="36"/>
                  </a:cubicBezTo>
                  <a:cubicBezTo>
                    <a:pt x="1" y="36"/>
                    <a:pt x="2" y="37"/>
                    <a:pt x="4" y="39"/>
                  </a:cubicBezTo>
                  <a:cubicBezTo>
                    <a:pt x="5" y="40"/>
                    <a:pt x="6" y="41"/>
                    <a:pt x="6" y="42"/>
                  </a:cubicBezTo>
                  <a:cubicBezTo>
                    <a:pt x="7" y="42"/>
                    <a:pt x="7" y="42"/>
                    <a:pt x="7" y="42"/>
                  </a:cubicBezTo>
                  <a:cubicBezTo>
                    <a:pt x="8" y="43"/>
                    <a:pt x="9" y="43"/>
                    <a:pt x="9" y="44"/>
                  </a:cubicBezTo>
                  <a:cubicBezTo>
                    <a:pt x="10" y="44"/>
                    <a:pt x="10" y="45"/>
                    <a:pt x="11" y="45"/>
                  </a:cubicBezTo>
                  <a:cubicBezTo>
                    <a:pt x="12" y="45"/>
                    <a:pt x="13" y="46"/>
                    <a:pt x="14" y="46"/>
                  </a:cubicBezTo>
                  <a:cubicBezTo>
                    <a:pt x="15" y="47"/>
                    <a:pt x="16" y="47"/>
                    <a:pt x="16" y="48"/>
                  </a:cubicBezTo>
                  <a:cubicBezTo>
                    <a:pt x="16" y="48"/>
                    <a:pt x="16" y="48"/>
                    <a:pt x="16" y="48"/>
                  </a:cubicBezTo>
                  <a:cubicBezTo>
                    <a:pt x="17" y="48"/>
                    <a:pt x="17" y="48"/>
                    <a:pt x="17" y="48"/>
                  </a:cubicBezTo>
                  <a:cubicBezTo>
                    <a:pt x="17" y="48"/>
                    <a:pt x="17" y="48"/>
                    <a:pt x="17" y="48"/>
                  </a:cubicBezTo>
                  <a:cubicBezTo>
                    <a:pt x="17" y="47"/>
                    <a:pt x="18" y="47"/>
                    <a:pt x="18" y="46"/>
                  </a:cubicBezTo>
                  <a:cubicBezTo>
                    <a:pt x="19" y="46"/>
                    <a:pt x="20" y="45"/>
                    <a:pt x="21" y="45"/>
                  </a:cubicBezTo>
                  <a:cubicBezTo>
                    <a:pt x="23" y="45"/>
                    <a:pt x="24" y="46"/>
                    <a:pt x="25" y="47"/>
                  </a:cubicBezTo>
                  <a:cubicBezTo>
                    <a:pt x="25" y="47"/>
                    <a:pt x="25" y="47"/>
                    <a:pt x="25" y="47"/>
                  </a:cubicBezTo>
                  <a:cubicBezTo>
                    <a:pt x="26" y="47"/>
                    <a:pt x="26" y="48"/>
                    <a:pt x="26" y="48"/>
                  </a:cubicBezTo>
                  <a:cubicBezTo>
                    <a:pt x="28" y="48"/>
                    <a:pt x="30" y="48"/>
                    <a:pt x="32" y="49"/>
                  </a:cubicBezTo>
                  <a:cubicBezTo>
                    <a:pt x="32" y="49"/>
                    <a:pt x="32" y="49"/>
                    <a:pt x="32" y="49"/>
                  </a:cubicBezTo>
                  <a:cubicBezTo>
                    <a:pt x="34" y="50"/>
                    <a:pt x="34" y="52"/>
                    <a:pt x="34" y="54"/>
                  </a:cubicBezTo>
                  <a:cubicBezTo>
                    <a:pt x="34" y="55"/>
                    <a:pt x="34" y="56"/>
                    <a:pt x="34" y="57"/>
                  </a:cubicBezTo>
                  <a:cubicBezTo>
                    <a:pt x="33" y="58"/>
                    <a:pt x="33" y="58"/>
                    <a:pt x="33" y="58"/>
                  </a:cubicBezTo>
                  <a:cubicBezTo>
                    <a:pt x="33" y="58"/>
                    <a:pt x="33" y="58"/>
                    <a:pt x="33" y="58"/>
                  </a:cubicBezTo>
                  <a:cubicBezTo>
                    <a:pt x="33" y="59"/>
                    <a:pt x="33" y="59"/>
                    <a:pt x="33" y="60"/>
                  </a:cubicBezTo>
                  <a:cubicBezTo>
                    <a:pt x="33" y="61"/>
                    <a:pt x="33" y="61"/>
                    <a:pt x="33" y="61"/>
                  </a:cubicBezTo>
                  <a:cubicBezTo>
                    <a:pt x="33" y="62"/>
                    <a:pt x="33" y="62"/>
                    <a:pt x="33" y="62"/>
                  </a:cubicBezTo>
                  <a:cubicBezTo>
                    <a:pt x="33" y="62"/>
                    <a:pt x="34" y="62"/>
                    <a:pt x="34" y="62"/>
                  </a:cubicBezTo>
                  <a:cubicBezTo>
                    <a:pt x="36" y="62"/>
                    <a:pt x="37" y="62"/>
                    <a:pt x="39" y="63"/>
                  </a:cubicBezTo>
                  <a:cubicBezTo>
                    <a:pt x="39" y="63"/>
                    <a:pt x="36" y="65"/>
                    <a:pt x="36" y="65"/>
                  </a:cubicBezTo>
                  <a:cubicBezTo>
                    <a:pt x="36" y="67"/>
                    <a:pt x="40" y="68"/>
                    <a:pt x="40" y="70"/>
                  </a:cubicBezTo>
                  <a:cubicBezTo>
                    <a:pt x="41" y="69"/>
                    <a:pt x="41" y="69"/>
                    <a:pt x="41" y="69"/>
                  </a:cubicBezTo>
                  <a:cubicBezTo>
                    <a:pt x="42" y="69"/>
                    <a:pt x="42" y="69"/>
                    <a:pt x="42" y="69"/>
                  </a:cubicBezTo>
                  <a:cubicBezTo>
                    <a:pt x="43" y="69"/>
                    <a:pt x="43" y="69"/>
                    <a:pt x="43" y="69"/>
                  </a:cubicBezTo>
                  <a:cubicBezTo>
                    <a:pt x="44" y="69"/>
                    <a:pt x="45" y="69"/>
                    <a:pt x="47" y="67"/>
                  </a:cubicBezTo>
                  <a:cubicBezTo>
                    <a:pt x="47" y="67"/>
                    <a:pt x="47" y="67"/>
                    <a:pt x="47" y="67"/>
                  </a:cubicBezTo>
                  <a:cubicBezTo>
                    <a:pt x="47" y="67"/>
                    <a:pt x="47" y="67"/>
                    <a:pt x="47" y="67"/>
                  </a:cubicBezTo>
                  <a:cubicBezTo>
                    <a:pt x="47" y="66"/>
                    <a:pt x="47" y="66"/>
                    <a:pt x="48" y="65"/>
                  </a:cubicBezTo>
                  <a:cubicBezTo>
                    <a:pt x="48" y="65"/>
                    <a:pt x="48" y="65"/>
                    <a:pt x="48" y="65"/>
                  </a:cubicBezTo>
                  <a:cubicBezTo>
                    <a:pt x="49" y="63"/>
                    <a:pt x="51" y="63"/>
                    <a:pt x="52" y="63"/>
                  </a:cubicBezTo>
                  <a:cubicBezTo>
                    <a:pt x="52" y="62"/>
                    <a:pt x="52" y="62"/>
                    <a:pt x="52" y="62"/>
                  </a:cubicBezTo>
                  <a:cubicBezTo>
                    <a:pt x="52" y="62"/>
                    <a:pt x="52" y="62"/>
                    <a:pt x="52" y="62"/>
                  </a:cubicBezTo>
                  <a:cubicBezTo>
                    <a:pt x="51" y="60"/>
                    <a:pt x="51" y="59"/>
                    <a:pt x="51" y="58"/>
                  </a:cubicBezTo>
                  <a:cubicBezTo>
                    <a:pt x="50" y="56"/>
                    <a:pt x="50" y="53"/>
                    <a:pt x="52" y="52"/>
                  </a:cubicBezTo>
                  <a:cubicBezTo>
                    <a:pt x="53" y="51"/>
                    <a:pt x="58" y="50"/>
                    <a:pt x="59" y="50"/>
                  </a:cubicBezTo>
                  <a:cubicBezTo>
                    <a:pt x="60" y="50"/>
                    <a:pt x="61" y="51"/>
                    <a:pt x="61" y="51"/>
                  </a:cubicBezTo>
                  <a:cubicBezTo>
                    <a:pt x="62" y="51"/>
                    <a:pt x="62" y="51"/>
                    <a:pt x="62" y="51"/>
                  </a:cubicBezTo>
                  <a:cubicBezTo>
                    <a:pt x="63" y="49"/>
                    <a:pt x="65" y="48"/>
                    <a:pt x="66" y="47"/>
                  </a:cubicBezTo>
                  <a:cubicBezTo>
                    <a:pt x="68" y="46"/>
                    <a:pt x="68" y="46"/>
                    <a:pt x="68" y="46"/>
                  </a:cubicBezTo>
                  <a:cubicBezTo>
                    <a:pt x="69" y="45"/>
                    <a:pt x="70" y="44"/>
                    <a:pt x="71" y="44"/>
                  </a:cubicBezTo>
                  <a:cubicBezTo>
                    <a:pt x="72" y="43"/>
                    <a:pt x="72" y="43"/>
                    <a:pt x="72" y="43"/>
                  </a:cubicBezTo>
                  <a:cubicBezTo>
                    <a:pt x="73" y="45"/>
                    <a:pt x="73" y="45"/>
                    <a:pt x="73" y="45"/>
                  </a:cubicBezTo>
                  <a:cubicBezTo>
                    <a:pt x="74" y="45"/>
                    <a:pt x="74" y="46"/>
                    <a:pt x="74" y="47"/>
                  </a:cubicBezTo>
                  <a:cubicBezTo>
                    <a:pt x="74" y="47"/>
                    <a:pt x="74" y="47"/>
                    <a:pt x="74" y="47"/>
                  </a:cubicBezTo>
                  <a:cubicBezTo>
                    <a:pt x="75" y="48"/>
                    <a:pt x="76" y="48"/>
                    <a:pt x="77" y="49"/>
                  </a:cubicBezTo>
                  <a:cubicBezTo>
                    <a:pt x="77" y="49"/>
                    <a:pt x="77" y="49"/>
                    <a:pt x="77" y="49"/>
                  </a:cubicBezTo>
                  <a:cubicBezTo>
                    <a:pt x="77" y="48"/>
                    <a:pt x="77" y="48"/>
                    <a:pt x="77" y="48"/>
                  </a:cubicBezTo>
                  <a:cubicBezTo>
                    <a:pt x="77" y="48"/>
                    <a:pt x="77" y="48"/>
                    <a:pt x="77" y="48"/>
                  </a:cubicBezTo>
                  <a:cubicBezTo>
                    <a:pt x="78" y="47"/>
                    <a:pt x="79" y="46"/>
                    <a:pt x="79" y="45"/>
                  </a:cubicBezTo>
                  <a:cubicBezTo>
                    <a:pt x="81" y="43"/>
                    <a:pt x="84" y="42"/>
                    <a:pt x="86" y="40"/>
                  </a:cubicBezTo>
                  <a:cubicBezTo>
                    <a:pt x="87" y="40"/>
                    <a:pt x="87" y="39"/>
                    <a:pt x="88" y="39"/>
                  </a:cubicBezTo>
                  <a:cubicBezTo>
                    <a:pt x="88" y="38"/>
                    <a:pt x="88" y="38"/>
                    <a:pt x="88" y="37"/>
                  </a:cubicBezTo>
                  <a:cubicBezTo>
                    <a:pt x="88" y="37"/>
                    <a:pt x="88" y="37"/>
                    <a:pt x="88" y="37"/>
                  </a:cubicBezTo>
                  <a:cubicBezTo>
                    <a:pt x="88" y="36"/>
                    <a:pt x="88" y="36"/>
                    <a:pt x="88" y="36"/>
                  </a:cubicBezTo>
                  <a:cubicBezTo>
                    <a:pt x="88" y="35"/>
                    <a:pt x="88" y="35"/>
                    <a:pt x="88" y="35"/>
                  </a:cubicBezTo>
                  <a:cubicBezTo>
                    <a:pt x="88" y="34"/>
                    <a:pt x="89" y="32"/>
                    <a:pt x="91" y="32"/>
                  </a:cubicBezTo>
                  <a:cubicBezTo>
                    <a:pt x="92" y="29"/>
                    <a:pt x="95" y="27"/>
                    <a:pt x="97" y="26"/>
                  </a:cubicBezTo>
                  <a:cubicBezTo>
                    <a:pt x="97" y="26"/>
                    <a:pt x="98" y="26"/>
                    <a:pt x="99" y="26"/>
                  </a:cubicBezTo>
                  <a:cubicBezTo>
                    <a:pt x="99" y="26"/>
                    <a:pt x="99" y="26"/>
                    <a:pt x="99" y="26"/>
                  </a:cubicBezTo>
                  <a:cubicBezTo>
                    <a:pt x="100" y="26"/>
                    <a:pt x="100" y="26"/>
                    <a:pt x="100" y="26"/>
                  </a:cubicBezTo>
                  <a:cubicBezTo>
                    <a:pt x="101" y="26"/>
                    <a:pt x="101" y="26"/>
                    <a:pt x="101" y="26"/>
                  </a:cubicBezTo>
                  <a:cubicBezTo>
                    <a:pt x="102" y="27"/>
                    <a:pt x="103" y="28"/>
                    <a:pt x="104" y="29"/>
                  </a:cubicBezTo>
                  <a:cubicBezTo>
                    <a:pt x="106" y="30"/>
                    <a:pt x="107" y="30"/>
                    <a:pt x="108" y="30"/>
                  </a:cubicBezTo>
                  <a:cubicBezTo>
                    <a:pt x="108" y="30"/>
                    <a:pt x="108" y="30"/>
                    <a:pt x="108" y="30"/>
                  </a:cubicBezTo>
                  <a:cubicBezTo>
                    <a:pt x="109" y="30"/>
                    <a:pt x="109" y="30"/>
                    <a:pt x="109" y="30"/>
                  </a:cubicBezTo>
                  <a:cubicBezTo>
                    <a:pt x="109" y="30"/>
                    <a:pt x="109" y="30"/>
                    <a:pt x="109" y="30"/>
                  </a:cubicBezTo>
                  <a:cubicBezTo>
                    <a:pt x="110" y="30"/>
                    <a:pt x="110" y="30"/>
                    <a:pt x="110" y="30"/>
                  </a:cubicBezTo>
                  <a:cubicBezTo>
                    <a:pt x="110" y="29"/>
                    <a:pt x="111" y="29"/>
                    <a:pt x="112" y="29"/>
                  </a:cubicBezTo>
                  <a:cubicBezTo>
                    <a:pt x="113" y="29"/>
                    <a:pt x="113" y="29"/>
                    <a:pt x="113" y="29"/>
                  </a:cubicBezTo>
                  <a:cubicBezTo>
                    <a:pt x="114" y="28"/>
                    <a:pt x="114" y="28"/>
                    <a:pt x="114" y="28"/>
                  </a:cubicBezTo>
                  <a:cubicBezTo>
                    <a:pt x="117" y="28"/>
                    <a:pt x="120" y="27"/>
                    <a:pt x="123" y="26"/>
                  </a:cubicBezTo>
                  <a:cubicBezTo>
                    <a:pt x="127" y="25"/>
                    <a:pt x="132" y="24"/>
                    <a:pt x="136" y="23"/>
                  </a:cubicBezTo>
                  <a:cubicBezTo>
                    <a:pt x="136" y="23"/>
                    <a:pt x="136" y="23"/>
                    <a:pt x="136" y="23"/>
                  </a:cubicBezTo>
                  <a:cubicBezTo>
                    <a:pt x="135" y="23"/>
                    <a:pt x="135" y="23"/>
                    <a:pt x="134" y="23"/>
                  </a:cubicBezTo>
                  <a:cubicBezTo>
                    <a:pt x="132" y="22"/>
                    <a:pt x="129" y="21"/>
                    <a:pt x="127" y="21"/>
                  </a:cubicBezTo>
                  <a:cubicBezTo>
                    <a:pt x="128" y="20"/>
                    <a:pt x="129" y="19"/>
                    <a:pt x="129" y="18"/>
                  </a:cubicBezTo>
                  <a:cubicBezTo>
                    <a:pt x="128" y="18"/>
                    <a:pt x="125" y="20"/>
                    <a:pt x="124" y="20"/>
                  </a:cubicBezTo>
                  <a:cubicBezTo>
                    <a:pt x="124" y="20"/>
                    <a:pt x="124" y="20"/>
                    <a:pt x="124" y="20"/>
                  </a:cubicBezTo>
                  <a:cubicBezTo>
                    <a:pt x="123" y="20"/>
                    <a:pt x="122" y="19"/>
                    <a:pt x="121" y="19"/>
                  </a:cubicBezTo>
                  <a:cubicBezTo>
                    <a:pt x="119" y="18"/>
                    <a:pt x="119" y="19"/>
                    <a:pt x="117" y="17"/>
                  </a:cubicBezTo>
                  <a:cubicBezTo>
                    <a:pt x="116" y="16"/>
                    <a:pt x="115" y="12"/>
                    <a:pt x="117" y="12"/>
                  </a:cubicBezTo>
                  <a:cubicBezTo>
                    <a:pt x="119" y="13"/>
                    <a:pt x="119" y="13"/>
                    <a:pt x="119" y="13"/>
                  </a:cubicBezTo>
                  <a:cubicBezTo>
                    <a:pt x="120" y="13"/>
                    <a:pt x="122" y="15"/>
                    <a:pt x="124" y="15"/>
                  </a:cubicBezTo>
                  <a:cubicBezTo>
                    <a:pt x="124" y="15"/>
                    <a:pt x="124" y="15"/>
                    <a:pt x="124" y="15"/>
                  </a:cubicBezTo>
                  <a:cubicBezTo>
                    <a:pt x="121" y="13"/>
                    <a:pt x="119" y="11"/>
                    <a:pt x="116" y="9"/>
                  </a:cubicBezTo>
                  <a:cubicBezTo>
                    <a:pt x="113" y="6"/>
                    <a:pt x="112" y="6"/>
                    <a:pt x="110" y="6"/>
                  </a:cubicBezTo>
                  <a:cubicBezTo>
                    <a:pt x="109" y="6"/>
                    <a:pt x="108" y="6"/>
                    <a:pt x="108" y="6"/>
                  </a:cubicBezTo>
                  <a:cubicBezTo>
                    <a:pt x="107" y="6"/>
                    <a:pt x="107" y="6"/>
                    <a:pt x="106" y="6"/>
                  </a:cubicBezTo>
                  <a:cubicBezTo>
                    <a:pt x="102" y="6"/>
                    <a:pt x="100" y="4"/>
                    <a:pt x="95" y="1"/>
                  </a:cubicBezTo>
                  <a:cubicBezTo>
                    <a:pt x="95" y="1"/>
                    <a:pt x="94" y="1"/>
                    <a:pt x="94" y="1"/>
                  </a:cubicBezTo>
                  <a:cubicBezTo>
                    <a:pt x="93" y="1"/>
                    <a:pt x="92" y="2"/>
                    <a:pt x="90" y="2"/>
                  </a:cubicBezTo>
                  <a:cubicBezTo>
                    <a:pt x="89" y="3"/>
                    <a:pt x="88" y="3"/>
                    <a:pt x="87" y="3"/>
                  </a:cubicBezTo>
                  <a:cubicBezTo>
                    <a:pt x="87" y="3"/>
                    <a:pt x="87" y="3"/>
                    <a:pt x="86" y="3"/>
                  </a:cubicBezTo>
                  <a:cubicBezTo>
                    <a:pt x="83" y="3"/>
                    <a:pt x="80" y="2"/>
                    <a:pt x="77" y="1"/>
                  </a:cubicBezTo>
                  <a:cubicBezTo>
                    <a:pt x="75" y="1"/>
                    <a:pt x="74" y="1"/>
                    <a:pt x="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357"/>
            <p:cNvSpPr>
              <a:spLocks noChangeArrowheads="1"/>
            </p:cNvSpPr>
            <p:nvPr/>
          </p:nvSpPr>
          <p:spPr bwMode="auto">
            <a:xfrm>
              <a:off x="8147041" y="781767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358"/>
            <p:cNvSpPr/>
            <p:nvPr/>
          </p:nvSpPr>
          <p:spPr bwMode="auto">
            <a:xfrm flipH="1">
              <a:off x="8147041" y="781767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359"/>
            <p:cNvSpPr/>
            <p:nvPr/>
          </p:nvSpPr>
          <p:spPr bwMode="auto">
            <a:xfrm>
              <a:off x="7896216" y="7573197"/>
              <a:ext cx="330200" cy="349250"/>
            </a:xfrm>
            <a:custGeom>
              <a:gdLst>
                <a:gd name="T0" fmla="*/ 29 w 88"/>
                <a:gd name="T1" fmla="*/ 0 h 93"/>
                <a:gd name="T2" fmla="*/ 29 w 88"/>
                <a:gd name="T3" fmla="*/ 10 h 93"/>
                <a:gd name="T4" fmla="*/ 29 w 88"/>
                <a:gd name="T5" fmla="*/ 11 h 93"/>
                <a:gd name="T6" fmla="*/ 24 w 88"/>
                <a:gd name="T7" fmla="*/ 14 h 93"/>
                <a:gd name="T8" fmla="*/ 29 w 88"/>
                <a:gd name="T9" fmla="*/ 18 h 93"/>
                <a:gd name="T10" fmla="*/ 32 w 88"/>
                <a:gd name="T11" fmla="*/ 21 h 93"/>
                <a:gd name="T12" fmla="*/ 38 w 88"/>
                <a:gd name="T13" fmla="*/ 27 h 93"/>
                <a:gd name="T14" fmla="*/ 41 w 88"/>
                <a:gd name="T15" fmla="*/ 29 h 93"/>
                <a:gd name="T16" fmla="*/ 43 w 88"/>
                <a:gd name="T17" fmla="*/ 34 h 93"/>
                <a:gd name="T18" fmla="*/ 43 w 88"/>
                <a:gd name="T19" fmla="*/ 36 h 93"/>
                <a:gd name="T20" fmla="*/ 38 w 88"/>
                <a:gd name="T21" fmla="*/ 42 h 93"/>
                <a:gd name="T22" fmla="*/ 23 w 88"/>
                <a:gd name="T23" fmla="*/ 42 h 93"/>
                <a:gd name="T24" fmla="*/ 15 w 88"/>
                <a:gd name="T25" fmla="*/ 42 h 93"/>
                <a:gd name="T26" fmla="*/ 11 w 88"/>
                <a:gd name="T27" fmla="*/ 44 h 93"/>
                <a:gd name="T28" fmla="*/ 9 w 88"/>
                <a:gd name="T29" fmla="*/ 46 h 93"/>
                <a:gd name="T30" fmla="*/ 2 w 88"/>
                <a:gd name="T31" fmla="*/ 56 h 93"/>
                <a:gd name="T32" fmla="*/ 2 w 88"/>
                <a:gd name="T33" fmla="*/ 58 h 93"/>
                <a:gd name="T34" fmla="*/ 2 w 88"/>
                <a:gd name="T35" fmla="*/ 58 h 93"/>
                <a:gd name="T36" fmla="*/ 2 w 88"/>
                <a:gd name="T37" fmla="*/ 59 h 93"/>
                <a:gd name="T38" fmla="*/ 3 w 88"/>
                <a:gd name="T39" fmla="*/ 64 h 93"/>
                <a:gd name="T40" fmla="*/ 3 w 88"/>
                <a:gd name="T41" fmla="*/ 66 h 93"/>
                <a:gd name="T42" fmla="*/ 2 w 88"/>
                <a:gd name="T43" fmla="*/ 69 h 93"/>
                <a:gd name="T44" fmla="*/ 2 w 88"/>
                <a:gd name="T45" fmla="*/ 71 h 93"/>
                <a:gd name="T46" fmla="*/ 2 w 88"/>
                <a:gd name="T47" fmla="*/ 73 h 93"/>
                <a:gd name="T48" fmla="*/ 1 w 88"/>
                <a:gd name="T49" fmla="*/ 76 h 93"/>
                <a:gd name="T50" fmla="*/ 1 w 88"/>
                <a:gd name="T51" fmla="*/ 78 h 93"/>
                <a:gd name="T52" fmla="*/ 26 w 88"/>
                <a:gd name="T53" fmla="*/ 90 h 93"/>
                <a:gd name="T54" fmla="*/ 31 w 88"/>
                <a:gd name="T55" fmla="*/ 90 h 93"/>
                <a:gd name="T56" fmla="*/ 35 w 88"/>
                <a:gd name="T57" fmla="*/ 90 h 93"/>
                <a:gd name="T58" fmla="*/ 44 w 88"/>
                <a:gd name="T59" fmla="*/ 93 h 93"/>
                <a:gd name="T60" fmla="*/ 47 w 88"/>
                <a:gd name="T61" fmla="*/ 88 h 93"/>
                <a:gd name="T62" fmla="*/ 53 w 88"/>
                <a:gd name="T63" fmla="*/ 84 h 93"/>
                <a:gd name="T64" fmla="*/ 57 w 88"/>
                <a:gd name="T65" fmla="*/ 82 h 93"/>
                <a:gd name="T66" fmla="*/ 61 w 88"/>
                <a:gd name="T67" fmla="*/ 75 h 93"/>
                <a:gd name="T68" fmla="*/ 64 w 88"/>
                <a:gd name="T69" fmla="*/ 75 h 93"/>
                <a:gd name="T70" fmla="*/ 67 w 88"/>
                <a:gd name="T71" fmla="*/ 72 h 93"/>
                <a:gd name="T72" fmla="*/ 65 w 88"/>
                <a:gd name="T73" fmla="*/ 69 h 93"/>
                <a:gd name="T74" fmla="*/ 66 w 88"/>
                <a:gd name="T75" fmla="*/ 65 h 93"/>
                <a:gd name="T76" fmla="*/ 66 w 88"/>
                <a:gd name="T77" fmla="*/ 63 h 93"/>
                <a:gd name="T78" fmla="*/ 72 w 88"/>
                <a:gd name="T79" fmla="*/ 59 h 93"/>
                <a:gd name="T80" fmla="*/ 73 w 88"/>
                <a:gd name="T81" fmla="*/ 58 h 93"/>
                <a:gd name="T82" fmla="*/ 75 w 88"/>
                <a:gd name="T83" fmla="*/ 56 h 93"/>
                <a:gd name="T84" fmla="*/ 83 w 88"/>
                <a:gd name="T85" fmla="*/ 50 h 93"/>
                <a:gd name="T86" fmla="*/ 88 w 88"/>
                <a:gd name="T87" fmla="*/ 46 h 93"/>
                <a:gd name="T88" fmla="*/ 84 w 88"/>
                <a:gd name="T89" fmla="*/ 44 h 93"/>
                <a:gd name="T90" fmla="*/ 76 w 88"/>
                <a:gd name="T91" fmla="*/ 44 h 93"/>
                <a:gd name="T92" fmla="*/ 76 w 88"/>
                <a:gd name="T93" fmla="*/ 45 h 93"/>
                <a:gd name="T94" fmla="*/ 75 w 88"/>
                <a:gd name="T95" fmla="*/ 46 h 93"/>
                <a:gd name="T96" fmla="*/ 73 w 88"/>
                <a:gd name="T97" fmla="*/ 47 h 93"/>
                <a:gd name="T98" fmla="*/ 72 w 88"/>
                <a:gd name="T99" fmla="*/ 46 h 93"/>
                <a:gd name="T100" fmla="*/ 69 w 88"/>
                <a:gd name="T101" fmla="*/ 46 h 93"/>
                <a:gd name="T102" fmla="*/ 65 w 88"/>
                <a:gd name="T103" fmla="*/ 42 h 93"/>
                <a:gd name="T104" fmla="*/ 66 w 88"/>
                <a:gd name="T105" fmla="*/ 12 h 93"/>
                <a:gd name="T106" fmla="*/ 66 w 88"/>
                <a:gd name="T107" fmla="*/ 4 h 93"/>
                <a:gd name="T108" fmla="*/ 37 w 88"/>
                <a:gd name="T109" fmla="*/ 0 h 93"/>
                <a:gd name="T110" fmla="*/ 34 w 88"/>
                <a:gd name="T111"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93">
                  <a:moveTo>
                    <a:pt x="29" y="0"/>
                  </a:moveTo>
                  <a:cubicBezTo>
                    <a:pt x="29" y="0"/>
                    <a:pt x="29" y="0"/>
                    <a:pt x="29" y="0"/>
                  </a:cubicBezTo>
                  <a:cubicBezTo>
                    <a:pt x="29" y="2"/>
                    <a:pt x="29" y="6"/>
                    <a:pt x="29" y="7"/>
                  </a:cubicBezTo>
                  <a:cubicBezTo>
                    <a:pt x="29" y="8"/>
                    <a:pt x="29" y="9"/>
                    <a:pt x="29" y="10"/>
                  </a:cubicBezTo>
                  <a:cubicBezTo>
                    <a:pt x="30" y="11"/>
                    <a:pt x="30" y="11"/>
                    <a:pt x="30" y="11"/>
                  </a:cubicBezTo>
                  <a:cubicBezTo>
                    <a:pt x="29" y="11"/>
                    <a:pt x="29" y="11"/>
                    <a:pt x="29" y="11"/>
                  </a:cubicBezTo>
                  <a:cubicBezTo>
                    <a:pt x="28" y="13"/>
                    <a:pt x="27" y="14"/>
                    <a:pt x="25" y="14"/>
                  </a:cubicBezTo>
                  <a:cubicBezTo>
                    <a:pt x="24" y="14"/>
                    <a:pt x="24" y="14"/>
                    <a:pt x="24" y="14"/>
                  </a:cubicBezTo>
                  <a:cubicBezTo>
                    <a:pt x="26" y="15"/>
                    <a:pt x="26" y="15"/>
                    <a:pt x="26" y="15"/>
                  </a:cubicBezTo>
                  <a:cubicBezTo>
                    <a:pt x="27" y="16"/>
                    <a:pt x="28" y="17"/>
                    <a:pt x="29" y="18"/>
                  </a:cubicBezTo>
                  <a:cubicBezTo>
                    <a:pt x="29" y="19"/>
                    <a:pt x="30" y="20"/>
                    <a:pt x="31" y="21"/>
                  </a:cubicBezTo>
                  <a:cubicBezTo>
                    <a:pt x="32" y="21"/>
                    <a:pt x="32" y="21"/>
                    <a:pt x="32" y="21"/>
                  </a:cubicBezTo>
                  <a:cubicBezTo>
                    <a:pt x="34" y="23"/>
                    <a:pt x="36" y="25"/>
                    <a:pt x="38" y="27"/>
                  </a:cubicBezTo>
                  <a:cubicBezTo>
                    <a:pt x="38" y="27"/>
                    <a:pt x="38" y="27"/>
                    <a:pt x="38" y="27"/>
                  </a:cubicBezTo>
                  <a:cubicBezTo>
                    <a:pt x="39" y="27"/>
                    <a:pt x="39" y="27"/>
                    <a:pt x="39" y="27"/>
                  </a:cubicBezTo>
                  <a:cubicBezTo>
                    <a:pt x="40" y="28"/>
                    <a:pt x="41" y="28"/>
                    <a:pt x="41" y="29"/>
                  </a:cubicBezTo>
                  <a:cubicBezTo>
                    <a:pt x="42" y="29"/>
                    <a:pt x="42" y="29"/>
                    <a:pt x="42" y="29"/>
                  </a:cubicBezTo>
                  <a:cubicBezTo>
                    <a:pt x="43" y="31"/>
                    <a:pt x="44" y="32"/>
                    <a:pt x="43" y="34"/>
                  </a:cubicBezTo>
                  <a:cubicBezTo>
                    <a:pt x="43" y="35"/>
                    <a:pt x="43" y="35"/>
                    <a:pt x="43" y="36"/>
                  </a:cubicBezTo>
                  <a:cubicBezTo>
                    <a:pt x="43" y="36"/>
                    <a:pt x="43" y="36"/>
                    <a:pt x="43" y="36"/>
                  </a:cubicBezTo>
                  <a:cubicBezTo>
                    <a:pt x="43" y="37"/>
                    <a:pt x="42" y="38"/>
                    <a:pt x="42" y="39"/>
                  </a:cubicBezTo>
                  <a:cubicBezTo>
                    <a:pt x="42" y="40"/>
                    <a:pt x="41" y="42"/>
                    <a:pt x="38" y="42"/>
                  </a:cubicBezTo>
                  <a:cubicBezTo>
                    <a:pt x="27" y="42"/>
                    <a:pt x="27" y="42"/>
                    <a:pt x="27" y="42"/>
                  </a:cubicBezTo>
                  <a:cubicBezTo>
                    <a:pt x="23" y="42"/>
                    <a:pt x="23" y="42"/>
                    <a:pt x="23" y="42"/>
                  </a:cubicBezTo>
                  <a:cubicBezTo>
                    <a:pt x="22" y="42"/>
                    <a:pt x="21" y="42"/>
                    <a:pt x="20" y="42"/>
                  </a:cubicBezTo>
                  <a:cubicBezTo>
                    <a:pt x="19" y="42"/>
                    <a:pt x="17" y="42"/>
                    <a:pt x="15" y="42"/>
                  </a:cubicBezTo>
                  <a:cubicBezTo>
                    <a:pt x="14" y="42"/>
                    <a:pt x="13" y="43"/>
                    <a:pt x="12" y="43"/>
                  </a:cubicBezTo>
                  <a:cubicBezTo>
                    <a:pt x="11" y="44"/>
                    <a:pt x="11" y="44"/>
                    <a:pt x="11" y="44"/>
                  </a:cubicBezTo>
                  <a:cubicBezTo>
                    <a:pt x="11" y="44"/>
                    <a:pt x="11" y="44"/>
                    <a:pt x="11" y="44"/>
                  </a:cubicBezTo>
                  <a:cubicBezTo>
                    <a:pt x="10" y="44"/>
                    <a:pt x="9" y="45"/>
                    <a:pt x="9" y="46"/>
                  </a:cubicBezTo>
                  <a:cubicBezTo>
                    <a:pt x="8" y="47"/>
                    <a:pt x="8" y="47"/>
                    <a:pt x="8" y="47"/>
                  </a:cubicBezTo>
                  <a:cubicBezTo>
                    <a:pt x="6" y="50"/>
                    <a:pt x="4" y="53"/>
                    <a:pt x="2" y="56"/>
                  </a:cubicBezTo>
                  <a:cubicBezTo>
                    <a:pt x="2" y="58"/>
                    <a:pt x="2" y="58"/>
                    <a:pt x="2" y="58"/>
                  </a:cubicBezTo>
                  <a:cubicBezTo>
                    <a:pt x="2" y="58"/>
                    <a:pt x="2" y="58"/>
                    <a:pt x="2" y="58"/>
                  </a:cubicBezTo>
                  <a:cubicBezTo>
                    <a:pt x="2" y="58"/>
                    <a:pt x="2" y="58"/>
                    <a:pt x="2" y="58"/>
                  </a:cubicBezTo>
                  <a:cubicBezTo>
                    <a:pt x="2" y="58"/>
                    <a:pt x="2" y="58"/>
                    <a:pt x="2" y="58"/>
                  </a:cubicBezTo>
                  <a:cubicBezTo>
                    <a:pt x="2" y="59"/>
                    <a:pt x="2" y="59"/>
                    <a:pt x="2" y="59"/>
                  </a:cubicBezTo>
                  <a:cubicBezTo>
                    <a:pt x="2" y="59"/>
                    <a:pt x="2" y="59"/>
                    <a:pt x="2" y="59"/>
                  </a:cubicBezTo>
                  <a:cubicBezTo>
                    <a:pt x="4" y="61"/>
                    <a:pt x="4" y="62"/>
                    <a:pt x="4" y="64"/>
                  </a:cubicBezTo>
                  <a:cubicBezTo>
                    <a:pt x="3" y="64"/>
                    <a:pt x="3" y="64"/>
                    <a:pt x="3" y="64"/>
                  </a:cubicBezTo>
                  <a:cubicBezTo>
                    <a:pt x="3" y="65"/>
                    <a:pt x="3" y="65"/>
                    <a:pt x="3" y="65"/>
                  </a:cubicBezTo>
                  <a:cubicBezTo>
                    <a:pt x="3" y="66"/>
                    <a:pt x="3" y="66"/>
                    <a:pt x="3" y="66"/>
                  </a:cubicBezTo>
                  <a:cubicBezTo>
                    <a:pt x="3" y="67"/>
                    <a:pt x="3" y="67"/>
                    <a:pt x="3" y="67"/>
                  </a:cubicBezTo>
                  <a:cubicBezTo>
                    <a:pt x="3" y="68"/>
                    <a:pt x="2" y="68"/>
                    <a:pt x="2" y="69"/>
                  </a:cubicBezTo>
                  <a:cubicBezTo>
                    <a:pt x="2" y="69"/>
                    <a:pt x="2" y="69"/>
                    <a:pt x="2" y="70"/>
                  </a:cubicBezTo>
                  <a:cubicBezTo>
                    <a:pt x="2" y="70"/>
                    <a:pt x="2" y="70"/>
                    <a:pt x="2" y="71"/>
                  </a:cubicBezTo>
                  <a:cubicBezTo>
                    <a:pt x="2" y="71"/>
                    <a:pt x="2" y="71"/>
                    <a:pt x="2" y="71"/>
                  </a:cubicBezTo>
                  <a:cubicBezTo>
                    <a:pt x="2" y="72"/>
                    <a:pt x="2" y="73"/>
                    <a:pt x="2" y="73"/>
                  </a:cubicBezTo>
                  <a:cubicBezTo>
                    <a:pt x="1" y="75"/>
                    <a:pt x="1" y="75"/>
                    <a:pt x="1" y="75"/>
                  </a:cubicBezTo>
                  <a:cubicBezTo>
                    <a:pt x="1" y="75"/>
                    <a:pt x="1" y="75"/>
                    <a:pt x="1" y="76"/>
                  </a:cubicBezTo>
                  <a:cubicBezTo>
                    <a:pt x="0" y="77"/>
                    <a:pt x="0" y="77"/>
                    <a:pt x="0" y="77"/>
                  </a:cubicBezTo>
                  <a:cubicBezTo>
                    <a:pt x="0" y="78"/>
                    <a:pt x="1" y="78"/>
                    <a:pt x="1" y="78"/>
                  </a:cubicBezTo>
                  <a:cubicBezTo>
                    <a:pt x="3" y="80"/>
                    <a:pt x="6" y="82"/>
                    <a:pt x="8" y="84"/>
                  </a:cubicBezTo>
                  <a:cubicBezTo>
                    <a:pt x="14" y="87"/>
                    <a:pt x="19" y="89"/>
                    <a:pt x="26" y="90"/>
                  </a:cubicBezTo>
                  <a:cubicBezTo>
                    <a:pt x="26" y="90"/>
                    <a:pt x="27" y="90"/>
                    <a:pt x="28" y="90"/>
                  </a:cubicBezTo>
                  <a:cubicBezTo>
                    <a:pt x="29" y="90"/>
                    <a:pt x="30" y="90"/>
                    <a:pt x="31" y="90"/>
                  </a:cubicBezTo>
                  <a:cubicBezTo>
                    <a:pt x="32" y="90"/>
                    <a:pt x="33" y="90"/>
                    <a:pt x="34" y="90"/>
                  </a:cubicBezTo>
                  <a:cubicBezTo>
                    <a:pt x="34" y="90"/>
                    <a:pt x="34" y="90"/>
                    <a:pt x="35" y="90"/>
                  </a:cubicBezTo>
                  <a:cubicBezTo>
                    <a:pt x="38" y="90"/>
                    <a:pt x="41" y="92"/>
                    <a:pt x="44" y="93"/>
                  </a:cubicBezTo>
                  <a:cubicBezTo>
                    <a:pt x="44" y="93"/>
                    <a:pt x="44" y="93"/>
                    <a:pt x="44" y="93"/>
                  </a:cubicBezTo>
                  <a:cubicBezTo>
                    <a:pt x="45" y="93"/>
                    <a:pt x="45" y="93"/>
                    <a:pt x="45" y="93"/>
                  </a:cubicBezTo>
                  <a:cubicBezTo>
                    <a:pt x="47" y="88"/>
                    <a:pt x="47" y="88"/>
                    <a:pt x="47" y="88"/>
                  </a:cubicBezTo>
                  <a:cubicBezTo>
                    <a:pt x="48" y="86"/>
                    <a:pt x="50" y="85"/>
                    <a:pt x="51" y="85"/>
                  </a:cubicBezTo>
                  <a:cubicBezTo>
                    <a:pt x="52" y="84"/>
                    <a:pt x="53" y="84"/>
                    <a:pt x="53" y="84"/>
                  </a:cubicBezTo>
                  <a:cubicBezTo>
                    <a:pt x="54" y="83"/>
                    <a:pt x="55" y="82"/>
                    <a:pt x="57" y="82"/>
                  </a:cubicBezTo>
                  <a:cubicBezTo>
                    <a:pt x="57" y="82"/>
                    <a:pt x="57" y="82"/>
                    <a:pt x="57" y="82"/>
                  </a:cubicBezTo>
                  <a:cubicBezTo>
                    <a:pt x="56" y="81"/>
                    <a:pt x="56" y="80"/>
                    <a:pt x="56" y="79"/>
                  </a:cubicBezTo>
                  <a:cubicBezTo>
                    <a:pt x="57" y="77"/>
                    <a:pt x="59" y="76"/>
                    <a:pt x="61" y="75"/>
                  </a:cubicBezTo>
                  <a:cubicBezTo>
                    <a:pt x="62" y="75"/>
                    <a:pt x="62" y="75"/>
                    <a:pt x="63" y="75"/>
                  </a:cubicBezTo>
                  <a:cubicBezTo>
                    <a:pt x="64" y="75"/>
                    <a:pt x="64" y="75"/>
                    <a:pt x="64" y="75"/>
                  </a:cubicBezTo>
                  <a:cubicBezTo>
                    <a:pt x="65" y="74"/>
                    <a:pt x="65" y="74"/>
                    <a:pt x="65" y="74"/>
                  </a:cubicBezTo>
                  <a:cubicBezTo>
                    <a:pt x="65" y="73"/>
                    <a:pt x="66" y="72"/>
                    <a:pt x="67" y="72"/>
                  </a:cubicBezTo>
                  <a:cubicBezTo>
                    <a:pt x="66" y="72"/>
                    <a:pt x="66" y="72"/>
                    <a:pt x="66" y="72"/>
                  </a:cubicBezTo>
                  <a:cubicBezTo>
                    <a:pt x="66" y="71"/>
                    <a:pt x="66" y="70"/>
                    <a:pt x="65" y="69"/>
                  </a:cubicBezTo>
                  <a:cubicBezTo>
                    <a:pt x="65" y="68"/>
                    <a:pt x="66" y="66"/>
                    <a:pt x="66" y="65"/>
                  </a:cubicBezTo>
                  <a:cubicBezTo>
                    <a:pt x="66" y="65"/>
                    <a:pt x="66" y="65"/>
                    <a:pt x="66" y="65"/>
                  </a:cubicBezTo>
                  <a:cubicBezTo>
                    <a:pt x="66" y="65"/>
                    <a:pt x="66" y="65"/>
                    <a:pt x="66" y="65"/>
                  </a:cubicBezTo>
                  <a:cubicBezTo>
                    <a:pt x="66" y="64"/>
                    <a:pt x="66" y="64"/>
                    <a:pt x="66" y="63"/>
                  </a:cubicBezTo>
                  <a:cubicBezTo>
                    <a:pt x="66" y="61"/>
                    <a:pt x="69" y="60"/>
                    <a:pt x="72" y="59"/>
                  </a:cubicBezTo>
                  <a:cubicBezTo>
                    <a:pt x="72" y="59"/>
                    <a:pt x="72" y="59"/>
                    <a:pt x="72" y="59"/>
                  </a:cubicBezTo>
                  <a:cubicBezTo>
                    <a:pt x="72" y="58"/>
                    <a:pt x="72" y="58"/>
                    <a:pt x="72" y="58"/>
                  </a:cubicBezTo>
                  <a:cubicBezTo>
                    <a:pt x="73" y="58"/>
                    <a:pt x="73" y="58"/>
                    <a:pt x="73" y="58"/>
                  </a:cubicBezTo>
                  <a:cubicBezTo>
                    <a:pt x="73" y="58"/>
                    <a:pt x="74" y="57"/>
                    <a:pt x="75" y="57"/>
                  </a:cubicBezTo>
                  <a:cubicBezTo>
                    <a:pt x="75" y="56"/>
                    <a:pt x="75" y="56"/>
                    <a:pt x="75" y="56"/>
                  </a:cubicBezTo>
                  <a:cubicBezTo>
                    <a:pt x="78" y="55"/>
                    <a:pt x="80" y="53"/>
                    <a:pt x="82" y="51"/>
                  </a:cubicBezTo>
                  <a:cubicBezTo>
                    <a:pt x="82" y="51"/>
                    <a:pt x="83" y="50"/>
                    <a:pt x="83" y="50"/>
                  </a:cubicBezTo>
                  <a:cubicBezTo>
                    <a:pt x="84" y="49"/>
                    <a:pt x="84" y="49"/>
                    <a:pt x="84" y="49"/>
                  </a:cubicBezTo>
                  <a:cubicBezTo>
                    <a:pt x="85" y="48"/>
                    <a:pt x="87" y="47"/>
                    <a:pt x="88" y="46"/>
                  </a:cubicBezTo>
                  <a:cubicBezTo>
                    <a:pt x="86" y="44"/>
                    <a:pt x="84" y="43"/>
                    <a:pt x="82" y="42"/>
                  </a:cubicBezTo>
                  <a:cubicBezTo>
                    <a:pt x="83" y="43"/>
                    <a:pt x="84" y="44"/>
                    <a:pt x="84" y="44"/>
                  </a:cubicBezTo>
                  <a:cubicBezTo>
                    <a:pt x="83" y="45"/>
                    <a:pt x="82" y="46"/>
                    <a:pt x="81" y="46"/>
                  </a:cubicBezTo>
                  <a:cubicBezTo>
                    <a:pt x="79" y="46"/>
                    <a:pt x="78" y="45"/>
                    <a:pt x="76" y="44"/>
                  </a:cubicBezTo>
                  <a:cubicBezTo>
                    <a:pt x="76" y="44"/>
                    <a:pt x="76" y="44"/>
                    <a:pt x="76" y="44"/>
                  </a:cubicBezTo>
                  <a:cubicBezTo>
                    <a:pt x="76" y="45"/>
                    <a:pt x="76" y="45"/>
                    <a:pt x="76" y="45"/>
                  </a:cubicBezTo>
                  <a:cubicBezTo>
                    <a:pt x="75" y="46"/>
                    <a:pt x="75" y="46"/>
                    <a:pt x="75" y="46"/>
                  </a:cubicBezTo>
                  <a:cubicBezTo>
                    <a:pt x="75" y="46"/>
                    <a:pt x="75" y="46"/>
                    <a:pt x="75" y="46"/>
                  </a:cubicBezTo>
                  <a:cubicBezTo>
                    <a:pt x="74" y="46"/>
                    <a:pt x="74" y="46"/>
                    <a:pt x="74" y="46"/>
                  </a:cubicBezTo>
                  <a:cubicBezTo>
                    <a:pt x="73" y="47"/>
                    <a:pt x="73" y="47"/>
                    <a:pt x="73" y="47"/>
                  </a:cubicBezTo>
                  <a:cubicBezTo>
                    <a:pt x="73" y="46"/>
                    <a:pt x="73" y="46"/>
                    <a:pt x="73" y="46"/>
                  </a:cubicBezTo>
                  <a:cubicBezTo>
                    <a:pt x="72" y="46"/>
                    <a:pt x="72" y="46"/>
                    <a:pt x="72" y="46"/>
                  </a:cubicBezTo>
                  <a:cubicBezTo>
                    <a:pt x="71" y="46"/>
                    <a:pt x="71" y="46"/>
                    <a:pt x="71" y="46"/>
                  </a:cubicBezTo>
                  <a:cubicBezTo>
                    <a:pt x="70" y="46"/>
                    <a:pt x="70" y="46"/>
                    <a:pt x="69" y="46"/>
                  </a:cubicBezTo>
                  <a:cubicBezTo>
                    <a:pt x="64" y="46"/>
                    <a:pt x="64" y="46"/>
                    <a:pt x="64" y="46"/>
                  </a:cubicBezTo>
                  <a:cubicBezTo>
                    <a:pt x="65" y="42"/>
                    <a:pt x="65" y="42"/>
                    <a:pt x="65" y="42"/>
                  </a:cubicBezTo>
                  <a:cubicBezTo>
                    <a:pt x="65" y="31"/>
                    <a:pt x="66" y="22"/>
                    <a:pt x="66" y="13"/>
                  </a:cubicBezTo>
                  <a:cubicBezTo>
                    <a:pt x="66" y="12"/>
                    <a:pt x="66" y="12"/>
                    <a:pt x="66" y="12"/>
                  </a:cubicBezTo>
                  <a:cubicBezTo>
                    <a:pt x="66" y="10"/>
                    <a:pt x="66" y="8"/>
                    <a:pt x="66" y="6"/>
                  </a:cubicBezTo>
                  <a:cubicBezTo>
                    <a:pt x="66" y="4"/>
                    <a:pt x="66" y="4"/>
                    <a:pt x="66" y="4"/>
                  </a:cubicBezTo>
                  <a:cubicBezTo>
                    <a:pt x="66" y="3"/>
                    <a:pt x="66" y="2"/>
                    <a:pt x="66" y="0"/>
                  </a:cubicBezTo>
                  <a:cubicBezTo>
                    <a:pt x="37" y="0"/>
                    <a:pt x="37" y="0"/>
                    <a:pt x="37" y="0"/>
                  </a:cubicBezTo>
                  <a:cubicBezTo>
                    <a:pt x="36" y="0"/>
                    <a:pt x="36" y="0"/>
                    <a:pt x="35" y="0"/>
                  </a:cubicBezTo>
                  <a:cubicBezTo>
                    <a:pt x="34" y="0"/>
                    <a:pt x="34" y="0"/>
                    <a:pt x="34" y="0"/>
                  </a:cubicBezTo>
                  <a:cubicBezTo>
                    <a:pt x="31"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360"/>
            <p:cNvSpPr>
              <a:spLocks noEditPoints="1"/>
            </p:cNvSpPr>
            <p:nvPr/>
          </p:nvSpPr>
          <p:spPr bwMode="auto">
            <a:xfrm>
              <a:off x="8699491" y="8298685"/>
              <a:ext cx="487363" cy="203200"/>
            </a:xfrm>
            <a:custGeom>
              <a:gdLst>
                <a:gd name="T0" fmla="*/ 104 w 130"/>
                <a:gd name="T1" fmla="*/ 28 h 54"/>
                <a:gd name="T2" fmla="*/ 104 w 130"/>
                <a:gd name="T3" fmla="*/ 28 h 54"/>
                <a:gd name="T4" fmla="*/ 108 w 130"/>
                <a:gd name="T5" fmla="*/ 24 h 54"/>
                <a:gd name="T6" fmla="*/ 109 w 130"/>
                <a:gd name="T7" fmla="*/ 24 h 54"/>
                <a:gd name="T8" fmla="*/ 109 w 130"/>
                <a:gd name="T9" fmla="*/ 24 h 54"/>
                <a:gd name="T10" fmla="*/ 109 w 130"/>
                <a:gd name="T11" fmla="*/ 24 h 54"/>
                <a:gd name="T12" fmla="*/ 109 w 130"/>
                <a:gd name="T13" fmla="*/ 24 h 54"/>
                <a:gd name="T14" fmla="*/ 81 w 130"/>
                <a:gd name="T15" fmla="*/ 0 h 54"/>
                <a:gd name="T16" fmla="*/ 51 w 130"/>
                <a:gd name="T17" fmla="*/ 14 h 54"/>
                <a:gd name="T18" fmla="*/ 37 w 130"/>
                <a:gd name="T19" fmla="*/ 17 h 54"/>
                <a:gd name="T20" fmla="*/ 26 w 130"/>
                <a:gd name="T21" fmla="*/ 13 h 54"/>
                <a:gd name="T22" fmla="*/ 20 w 130"/>
                <a:gd name="T23" fmla="*/ 14 h 54"/>
                <a:gd name="T24" fmla="*/ 16 w 130"/>
                <a:gd name="T25" fmla="*/ 9 h 54"/>
                <a:gd name="T26" fmla="*/ 9 w 130"/>
                <a:gd name="T27" fmla="*/ 2 h 54"/>
                <a:gd name="T28" fmla="*/ 3 w 130"/>
                <a:gd name="T29" fmla="*/ 2 h 54"/>
                <a:gd name="T30" fmla="*/ 3 w 130"/>
                <a:gd name="T31" fmla="*/ 3 h 54"/>
                <a:gd name="T32" fmla="*/ 2 w 130"/>
                <a:gd name="T33" fmla="*/ 9 h 54"/>
                <a:gd name="T34" fmla="*/ 4 w 130"/>
                <a:gd name="T35" fmla="*/ 11 h 54"/>
                <a:gd name="T36" fmla="*/ 9 w 130"/>
                <a:gd name="T37" fmla="*/ 14 h 54"/>
                <a:gd name="T38" fmla="*/ 5 w 130"/>
                <a:gd name="T39" fmla="*/ 18 h 54"/>
                <a:gd name="T40" fmla="*/ 3 w 130"/>
                <a:gd name="T41" fmla="*/ 20 h 54"/>
                <a:gd name="T42" fmla="*/ 3 w 130"/>
                <a:gd name="T43" fmla="*/ 26 h 54"/>
                <a:gd name="T44" fmla="*/ 0 w 130"/>
                <a:gd name="T45" fmla="*/ 28 h 54"/>
                <a:gd name="T46" fmla="*/ 0 w 130"/>
                <a:gd name="T47" fmla="*/ 29 h 54"/>
                <a:gd name="T48" fmla="*/ 6 w 130"/>
                <a:gd name="T49" fmla="*/ 29 h 54"/>
                <a:gd name="T50" fmla="*/ 18 w 130"/>
                <a:gd name="T51" fmla="*/ 32 h 54"/>
                <a:gd name="T52" fmla="*/ 22 w 130"/>
                <a:gd name="T53" fmla="*/ 31 h 54"/>
                <a:gd name="T54" fmla="*/ 24 w 130"/>
                <a:gd name="T55" fmla="*/ 32 h 54"/>
                <a:gd name="T56" fmla="*/ 27 w 130"/>
                <a:gd name="T57" fmla="*/ 32 h 54"/>
                <a:gd name="T58" fmla="*/ 35 w 130"/>
                <a:gd name="T59" fmla="*/ 44 h 54"/>
                <a:gd name="T60" fmla="*/ 42 w 130"/>
                <a:gd name="T61" fmla="*/ 39 h 54"/>
                <a:gd name="T62" fmla="*/ 45 w 130"/>
                <a:gd name="T63" fmla="*/ 45 h 54"/>
                <a:gd name="T64" fmla="*/ 46 w 130"/>
                <a:gd name="T65" fmla="*/ 54 h 54"/>
                <a:gd name="T66" fmla="*/ 56 w 130"/>
                <a:gd name="T67" fmla="*/ 53 h 54"/>
                <a:gd name="T68" fmla="*/ 60 w 130"/>
                <a:gd name="T69" fmla="*/ 39 h 54"/>
                <a:gd name="T70" fmla="*/ 60 w 130"/>
                <a:gd name="T71" fmla="*/ 29 h 54"/>
                <a:gd name="T72" fmla="*/ 73 w 130"/>
                <a:gd name="T73" fmla="*/ 21 h 54"/>
                <a:gd name="T74" fmla="*/ 72 w 130"/>
                <a:gd name="T75" fmla="*/ 21 h 54"/>
                <a:gd name="T76" fmla="*/ 74 w 130"/>
                <a:gd name="T77" fmla="*/ 16 h 54"/>
                <a:gd name="T78" fmla="*/ 88 w 130"/>
                <a:gd name="T79" fmla="*/ 11 h 54"/>
                <a:gd name="T80" fmla="*/ 100 w 130"/>
                <a:gd name="T81" fmla="*/ 19 h 54"/>
                <a:gd name="T82" fmla="*/ 104 w 130"/>
                <a:gd name="T83" fmla="*/ 28 h 54"/>
                <a:gd name="T84" fmla="*/ 104 w 130"/>
                <a:gd name="T85" fmla="*/ 24 h 54"/>
                <a:gd name="T86" fmla="*/ 106 w 130"/>
                <a:gd name="T87" fmla="*/ 24 h 54"/>
                <a:gd name="T88" fmla="*/ 108 w 130"/>
                <a:gd name="T89" fmla="*/ 27 h 54"/>
                <a:gd name="T90" fmla="*/ 112 w 130"/>
                <a:gd name="T91" fmla="*/ 26 h 54"/>
                <a:gd name="T92" fmla="*/ 118 w 130"/>
                <a:gd name="T93" fmla="*/ 32 h 54"/>
                <a:gd name="T94" fmla="*/ 115 w 130"/>
                <a:gd name="T95" fmla="*/ 30 h 54"/>
                <a:gd name="T96" fmla="*/ 113 w 130"/>
                <a:gd name="T97" fmla="*/ 30 h 54"/>
                <a:gd name="T98" fmla="*/ 111 w 130"/>
                <a:gd name="T99" fmla="*/ 27 h 54"/>
                <a:gd name="T100" fmla="*/ 104 w 130"/>
                <a:gd name="T101" fmla="*/ 34 h 54"/>
                <a:gd name="T102" fmla="*/ 115 w 130"/>
                <a:gd name="T103" fmla="*/ 51 h 54"/>
                <a:gd name="T104" fmla="*/ 116 w 130"/>
                <a:gd name="T105" fmla="*/ 50 h 54"/>
                <a:gd name="T106" fmla="*/ 117 w 130"/>
                <a:gd name="T107" fmla="*/ 47 h 54"/>
                <a:gd name="T108" fmla="*/ 117 w 130"/>
                <a:gd name="T109" fmla="*/ 44 h 54"/>
                <a:gd name="T110" fmla="*/ 117 w 130"/>
                <a:gd name="T111" fmla="*/ 41 h 54"/>
                <a:gd name="T112" fmla="*/ 122 w 130"/>
                <a:gd name="T113" fmla="*/ 40 h 54"/>
                <a:gd name="T114" fmla="*/ 124 w 130"/>
                <a:gd name="T115" fmla="*/ 43 h 54"/>
                <a:gd name="T116" fmla="*/ 130 w 130"/>
                <a:gd name="T117" fmla="*/ 37 h 54"/>
                <a:gd name="T118" fmla="*/ 125 w 130"/>
                <a:gd name="T119" fmla="*/ 26 h 54"/>
                <a:gd name="T120" fmla="*/ 116 w 130"/>
                <a:gd name="T121" fmla="*/ 10 h 54"/>
                <a:gd name="T122" fmla="*/ 81 w 130"/>
                <a:gd name="T123" fmla="*/ 0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 h="54">
                  <a:moveTo>
                    <a:pt x="104" y="28"/>
                  </a:moveTo>
                  <a:cubicBezTo>
                    <a:pt x="104" y="28"/>
                    <a:pt x="104" y="28"/>
                    <a:pt x="104" y="28"/>
                  </a:cubicBezTo>
                  <a:cubicBezTo>
                    <a:pt x="104" y="28"/>
                    <a:pt x="104" y="28"/>
                    <a:pt x="104" y="28"/>
                  </a:cubicBezTo>
                  <a:cubicBezTo>
                    <a:pt x="104" y="28"/>
                    <a:pt x="104" y="28"/>
                    <a:pt x="104" y="28"/>
                  </a:cubicBezTo>
                  <a:moveTo>
                    <a:pt x="108" y="24"/>
                  </a:moveTo>
                  <a:cubicBezTo>
                    <a:pt x="108" y="24"/>
                    <a:pt x="108" y="24"/>
                    <a:pt x="108" y="24"/>
                  </a:cubicBezTo>
                  <a:cubicBezTo>
                    <a:pt x="108" y="24"/>
                    <a:pt x="108" y="24"/>
                    <a:pt x="108" y="24"/>
                  </a:cubicBezTo>
                  <a:cubicBezTo>
                    <a:pt x="108" y="24"/>
                    <a:pt x="108"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8" y="24"/>
                    <a:pt x="108" y="24"/>
                  </a:cubicBezTo>
                  <a:moveTo>
                    <a:pt x="81" y="0"/>
                  </a:moveTo>
                  <a:cubicBezTo>
                    <a:pt x="77" y="0"/>
                    <a:pt x="70" y="3"/>
                    <a:pt x="67" y="6"/>
                  </a:cubicBezTo>
                  <a:cubicBezTo>
                    <a:pt x="63" y="10"/>
                    <a:pt x="56" y="12"/>
                    <a:pt x="51" y="14"/>
                  </a:cubicBezTo>
                  <a:cubicBezTo>
                    <a:pt x="48" y="16"/>
                    <a:pt x="44" y="18"/>
                    <a:pt x="40" y="18"/>
                  </a:cubicBezTo>
                  <a:cubicBezTo>
                    <a:pt x="39" y="18"/>
                    <a:pt x="38" y="17"/>
                    <a:pt x="37" y="17"/>
                  </a:cubicBezTo>
                  <a:cubicBezTo>
                    <a:pt x="33" y="15"/>
                    <a:pt x="27" y="12"/>
                    <a:pt x="24" y="9"/>
                  </a:cubicBezTo>
                  <a:cubicBezTo>
                    <a:pt x="25" y="10"/>
                    <a:pt x="26" y="12"/>
                    <a:pt x="26" y="13"/>
                  </a:cubicBezTo>
                  <a:cubicBezTo>
                    <a:pt x="25" y="14"/>
                    <a:pt x="23" y="15"/>
                    <a:pt x="21" y="15"/>
                  </a:cubicBezTo>
                  <a:cubicBezTo>
                    <a:pt x="20" y="15"/>
                    <a:pt x="20" y="15"/>
                    <a:pt x="20" y="14"/>
                  </a:cubicBezTo>
                  <a:cubicBezTo>
                    <a:pt x="18" y="14"/>
                    <a:pt x="14" y="11"/>
                    <a:pt x="16" y="9"/>
                  </a:cubicBezTo>
                  <a:cubicBezTo>
                    <a:pt x="16" y="9"/>
                    <a:pt x="16" y="9"/>
                    <a:pt x="16" y="9"/>
                  </a:cubicBezTo>
                  <a:cubicBezTo>
                    <a:pt x="14" y="9"/>
                    <a:pt x="11" y="5"/>
                    <a:pt x="10" y="2"/>
                  </a:cubicBezTo>
                  <a:cubicBezTo>
                    <a:pt x="9" y="2"/>
                    <a:pt x="9" y="2"/>
                    <a:pt x="9" y="2"/>
                  </a:cubicBezTo>
                  <a:cubicBezTo>
                    <a:pt x="6" y="2"/>
                    <a:pt x="5" y="2"/>
                    <a:pt x="4" y="2"/>
                  </a:cubicBezTo>
                  <a:cubicBezTo>
                    <a:pt x="3" y="2"/>
                    <a:pt x="3" y="2"/>
                    <a:pt x="3" y="2"/>
                  </a:cubicBezTo>
                  <a:cubicBezTo>
                    <a:pt x="3" y="2"/>
                    <a:pt x="3" y="2"/>
                    <a:pt x="3" y="2"/>
                  </a:cubicBezTo>
                  <a:cubicBezTo>
                    <a:pt x="3" y="3"/>
                    <a:pt x="3" y="3"/>
                    <a:pt x="3" y="3"/>
                  </a:cubicBezTo>
                  <a:cubicBezTo>
                    <a:pt x="3" y="3"/>
                    <a:pt x="3" y="3"/>
                    <a:pt x="3" y="3"/>
                  </a:cubicBezTo>
                  <a:cubicBezTo>
                    <a:pt x="3" y="5"/>
                    <a:pt x="3" y="7"/>
                    <a:pt x="2" y="9"/>
                  </a:cubicBezTo>
                  <a:cubicBezTo>
                    <a:pt x="2" y="10"/>
                    <a:pt x="2" y="10"/>
                    <a:pt x="2" y="10"/>
                  </a:cubicBezTo>
                  <a:cubicBezTo>
                    <a:pt x="3" y="11"/>
                    <a:pt x="4" y="11"/>
                    <a:pt x="4" y="11"/>
                  </a:cubicBezTo>
                  <a:cubicBezTo>
                    <a:pt x="5" y="12"/>
                    <a:pt x="5" y="12"/>
                    <a:pt x="6" y="12"/>
                  </a:cubicBezTo>
                  <a:cubicBezTo>
                    <a:pt x="9" y="14"/>
                    <a:pt x="9" y="14"/>
                    <a:pt x="9" y="14"/>
                  </a:cubicBezTo>
                  <a:cubicBezTo>
                    <a:pt x="6" y="17"/>
                    <a:pt x="6" y="17"/>
                    <a:pt x="6" y="17"/>
                  </a:cubicBezTo>
                  <a:cubicBezTo>
                    <a:pt x="6" y="17"/>
                    <a:pt x="6" y="17"/>
                    <a:pt x="5" y="18"/>
                  </a:cubicBezTo>
                  <a:cubicBezTo>
                    <a:pt x="5" y="18"/>
                    <a:pt x="5" y="18"/>
                    <a:pt x="5" y="18"/>
                  </a:cubicBezTo>
                  <a:cubicBezTo>
                    <a:pt x="4" y="19"/>
                    <a:pt x="3" y="19"/>
                    <a:pt x="3" y="20"/>
                  </a:cubicBezTo>
                  <a:cubicBezTo>
                    <a:pt x="4" y="20"/>
                    <a:pt x="4" y="21"/>
                    <a:pt x="4" y="22"/>
                  </a:cubicBezTo>
                  <a:cubicBezTo>
                    <a:pt x="4" y="24"/>
                    <a:pt x="3" y="25"/>
                    <a:pt x="3" y="26"/>
                  </a:cubicBezTo>
                  <a:cubicBezTo>
                    <a:pt x="2" y="26"/>
                    <a:pt x="2" y="26"/>
                    <a:pt x="2" y="26"/>
                  </a:cubicBezTo>
                  <a:cubicBezTo>
                    <a:pt x="2" y="27"/>
                    <a:pt x="1" y="28"/>
                    <a:pt x="0" y="28"/>
                  </a:cubicBezTo>
                  <a:cubicBezTo>
                    <a:pt x="0" y="29"/>
                    <a:pt x="0" y="29"/>
                    <a:pt x="0" y="29"/>
                  </a:cubicBezTo>
                  <a:cubicBezTo>
                    <a:pt x="0" y="29"/>
                    <a:pt x="0" y="29"/>
                    <a:pt x="0" y="29"/>
                  </a:cubicBezTo>
                  <a:cubicBezTo>
                    <a:pt x="2" y="33"/>
                    <a:pt x="2" y="33"/>
                    <a:pt x="2" y="33"/>
                  </a:cubicBezTo>
                  <a:cubicBezTo>
                    <a:pt x="3" y="31"/>
                    <a:pt x="4" y="29"/>
                    <a:pt x="6" y="29"/>
                  </a:cubicBezTo>
                  <a:cubicBezTo>
                    <a:pt x="9" y="29"/>
                    <a:pt x="13" y="29"/>
                    <a:pt x="16" y="28"/>
                  </a:cubicBezTo>
                  <a:cubicBezTo>
                    <a:pt x="16" y="30"/>
                    <a:pt x="16" y="32"/>
                    <a:pt x="18" y="32"/>
                  </a:cubicBezTo>
                  <a:cubicBezTo>
                    <a:pt x="17" y="32"/>
                    <a:pt x="17" y="32"/>
                    <a:pt x="17" y="32"/>
                  </a:cubicBezTo>
                  <a:cubicBezTo>
                    <a:pt x="19" y="32"/>
                    <a:pt x="21" y="31"/>
                    <a:pt x="22" y="31"/>
                  </a:cubicBezTo>
                  <a:cubicBezTo>
                    <a:pt x="22" y="31"/>
                    <a:pt x="23" y="31"/>
                    <a:pt x="23" y="31"/>
                  </a:cubicBezTo>
                  <a:cubicBezTo>
                    <a:pt x="23" y="31"/>
                    <a:pt x="24" y="31"/>
                    <a:pt x="24" y="32"/>
                  </a:cubicBezTo>
                  <a:cubicBezTo>
                    <a:pt x="25" y="32"/>
                    <a:pt x="25" y="32"/>
                    <a:pt x="26" y="32"/>
                  </a:cubicBezTo>
                  <a:cubicBezTo>
                    <a:pt x="26" y="32"/>
                    <a:pt x="26" y="32"/>
                    <a:pt x="27" y="32"/>
                  </a:cubicBezTo>
                  <a:cubicBezTo>
                    <a:pt x="29" y="36"/>
                    <a:pt x="30" y="39"/>
                    <a:pt x="33" y="42"/>
                  </a:cubicBezTo>
                  <a:cubicBezTo>
                    <a:pt x="31" y="43"/>
                    <a:pt x="34" y="44"/>
                    <a:pt x="35" y="44"/>
                  </a:cubicBezTo>
                  <a:cubicBezTo>
                    <a:pt x="37" y="44"/>
                    <a:pt x="38" y="45"/>
                    <a:pt x="39" y="45"/>
                  </a:cubicBezTo>
                  <a:cubicBezTo>
                    <a:pt x="39" y="42"/>
                    <a:pt x="38" y="39"/>
                    <a:pt x="42" y="39"/>
                  </a:cubicBezTo>
                  <a:cubicBezTo>
                    <a:pt x="42" y="39"/>
                    <a:pt x="42" y="39"/>
                    <a:pt x="42" y="39"/>
                  </a:cubicBezTo>
                  <a:cubicBezTo>
                    <a:pt x="44" y="39"/>
                    <a:pt x="44" y="43"/>
                    <a:pt x="45" y="45"/>
                  </a:cubicBezTo>
                  <a:cubicBezTo>
                    <a:pt x="45" y="47"/>
                    <a:pt x="47" y="50"/>
                    <a:pt x="47" y="51"/>
                  </a:cubicBezTo>
                  <a:cubicBezTo>
                    <a:pt x="47" y="52"/>
                    <a:pt x="46" y="53"/>
                    <a:pt x="46" y="54"/>
                  </a:cubicBezTo>
                  <a:cubicBezTo>
                    <a:pt x="48" y="54"/>
                    <a:pt x="49" y="54"/>
                    <a:pt x="51" y="54"/>
                  </a:cubicBezTo>
                  <a:cubicBezTo>
                    <a:pt x="52" y="54"/>
                    <a:pt x="54" y="54"/>
                    <a:pt x="56" y="53"/>
                  </a:cubicBezTo>
                  <a:cubicBezTo>
                    <a:pt x="60" y="51"/>
                    <a:pt x="63" y="49"/>
                    <a:pt x="68" y="48"/>
                  </a:cubicBezTo>
                  <a:cubicBezTo>
                    <a:pt x="66" y="44"/>
                    <a:pt x="63" y="42"/>
                    <a:pt x="60" y="39"/>
                  </a:cubicBezTo>
                  <a:cubicBezTo>
                    <a:pt x="58" y="36"/>
                    <a:pt x="54" y="33"/>
                    <a:pt x="59" y="29"/>
                  </a:cubicBezTo>
                  <a:cubicBezTo>
                    <a:pt x="59" y="29"/>
                    <a:pt x="59" y="29"/>
                    <a:pt x="60" y="29"/>
                  </a:cubicBezTo>
                  <a:cubicBezTo>
                    <a:pt x="64" y="29"/>
                    <a:pt x="72" y="23"/>
                    <a:pt x="74" y="21"/>
                  </a:cubicBezTo>
                  <a:cubicBezTo>
                    <a:pt x="74" y="21"/>
                    <a:pt x="74" y="21"/>
                    <a:pt x="73" y="21"/>
                  </a:cubicBezTo>
                  <a:cubicBezTo>
                    <a:pt x="73" y="21"/>
                    <a:pt x="73" y="21"/>
                    <a:pt x="73" y="21"/>
                  </a:cubicBezTo>
                  <a:cubicBezTo>
                    <a:pt x="72" y="21"/>
                    <a:pt x="72" y="21"/>
                    <a:pt x="72" y="21"/>
                  </a:cubicBezTo>
                  <a:cubicBezTo>
                    <a:pt x="72" y="21"/>
                    <a:pt x="72" y="21"/>
                    <a:pt x="71" y="21"/>
                  </a:cubicBezTo>
                  <a:cubicBezTo>
                    <a:pt x="72" y="20"/>
                    <a:pt x="73" y="18"/>
                    <a:pt x="74" y="16"/>
                  </a:cubicBezTo>
                  <a:cubicBezTo>
                    <a:pt x="75" y="16"/>
                    <a:pt x="78" y="15"/>
                    <a:pt x="79" y="14"/>
                  </a:cubicBezTo>
                  <a:cubicBezTo>
                    <a:pt x="81" y="12"/>
                    <a:pt x="86" y="14"/>
                    <a:pt x="88" y="11"/>
                  </a:cubicBezTo>
                  <a:cubicBezTo>
                    <a:pt x="88" y="13"/>
                    <a:pt x="89" y="13"/>
                    <a:pt x="91" y="14"/>
                  </a:cubicBezTo>
                  <a:cubicBezTo>
                    <a:pt x="94" y="15"/>
                    <a:pt x="96" y="17"/>
                    <a:pt x="100" y="19"/>
                  </a:cubicBezTo>
                  <a:cubicBezTo>
                    <a:pt x="99" y="18"/>
                    <a:pt x="99" y="18"/>
                    <a:pt x="99" y="18"/>
                  </a:cubicBezTo>
                  <a:cubicBezTo>
                    <a:pt x="101" y="21"/>
                    <a:pt x="103" y="25"/>
                    <a:pt x="104" y="28"/>
                  </a:cubicBezTo>
                  <a:cubicBezTo>
                    <a:pt x="104" y="28"/>
                    <a:pt x="104" y="27"/>
                    <a:pt x="104" y="26"/>
                  </a:cubicBezTo>
                  <a:cubicBezTo>
                    <a:pt x="104" y="25"/>
                    <a:pt x="104" y="24"/>
                    <a:pt x="104" y="24"/>
                  </a:cubicBezTo>
                  <a:cubicBezTo>
                    <a:pt x="104" y="24"/>
                    <a:pt x="104" y="24"/>
                    <a:pt x="104" y="24"/>
                  </a:cubicBezTo>
                  <a:cubicBezTo>
                    <a:pt x="105" y="24"/>
                    <a:pt x="105" y="24"/>
                    <a:pt x="106" y="24"/>
                  </a:cubicBezTo>
                  <a:cubicBezTo>
                    <a:pt x="107" y="24"/>
                    <a:pt x="108" y="24"/>
                    <a:pt x="108" y="24"/>
                  </a:cubicBezTo>
                  <a:cubicBezTo>
                    <a:pt x="109" y="25"/>
                    <a:pt x="108" y="27"/>
                    <a:pt x="108" y="27"/>
                  </a:cubicBezTo>
                  <a:cubicBezTo>
                    <a:pt x="109" y="26"/>
                    <a:pt x="110" y="25"/>
                    <a:pt x="111" y="25"/>
                  </a:cubicBezTo>
                  <a:cubicBezTo>
                    <a:pt x="111" y="25"/>
                    <a:pt x="111" y="25"/>
                    <a:pt x="112" y="26"/>
                  </a:cubicBezTo>
                  <a:cubicBezTo>
                    <a:pt x="111" y="25"/>
                    <a:pt x="111" y="24"/>
                    <a:pt x="111" y="23"/>
                  </a:cubicBezTo>
                  <a:cubicBezTo>
                    <a:pt x="113" y="26"/>
                    <a:pt x="117" y="29"/>
                    <a:pt x="118" y="32"/>
                  </a:cubicBezTo>
                  <a:cubicBezTo>
                    <a:pt x="118" y="32"/>
                    <a:pt x="117" y="31"/>
                    <a:pt x="116" y="31"/>
                  </a:cubicBezTo>
                  <a:cubicBezTo>
                    <a:pt x="116" y="30"/>
                    <a:pt x="115" y="30"/>
                    <a:pt x="115" y="30"/>
                  </a:cubicBezTo>
                  <a:cubicBezTo>
                    <a:pt x="115" y="30"/>
                    <a:pt x="115" y="30"/>
                    <a:pt x="115" y="30"/>
                  </a:cubicBezTo>
                  <a:cubicBezTo>
                    <a:pt x="114" y="30"/>
                    <a:pt x="114" y="30"/>
                    <a:pt x="113" y="30"/>
                  </a:cubicBezTo>
                  <a:cubicBezTo>
                    <a:pt x="113" y="30"/>
                    <a:pt x="112" y="28"/>
                    <a:pt x="111" y="28"/>
                  </a:cubicBezTo>
                  <a:cubicBezTo>
                    <a:pt x="111" y="28"/>
                    <a:pt x="111" y="27"/>
                    <a:pt x="111" y="27"/>
                  </a:cubicBezTo>
                  <a:cubicBezTo>
                    <a:pt x="111" y="27"/>
                    <a:pt x="111" y="27"/>
                    <a:pt x="111" y="27"/>
                  </a:cubicBezTo>
                  <a:cubicBezTo>
                    <a:pt x="109" y="27"/>
                    <a:pt x="105" y="33"/>
                    <a:pt x="104" y="34"/>
                  </a:cubicBezTo>
                  <a:cubicBezTo>
                    <a:pt x="103" y="40"/>
                    <a:pt x="110" y="47"/>
                    <a:pt x="114" y="52"/>
                  </a:cubicBezTo>
                  <a:cubicBezTo>
                    <a:pt x="115" y="51"/>
                    <a:pt x="115" y="51"/>
                    <a:pt x="115" y="51"/>
                  </a:cubicBezTo>
                  <a:cubicBezTo>
                    <a:pt x="115" y="51"/>
                    <a:pt x="115" y="51"/>
                    <a:pt x="115" y="50"/>
                  </a:cubicBezTo>
                  <a:cubicBezTo>
                    <a:pt x="116" y="50"/>
                    <a:pt x="116" y="50"/>
                    <a:pt x="116" y="50"/>
                  </a:cubicBezTo>
                  <a:cubicBezTo>
                    <a:pt x="116" y="49"/>
                    <a:pt x="117" y="48"/>
                    <a:pt x="117" y="47"/>
                  </a:cubicBezTo>
                  <a:cubicBezTo>
                    <a:pt x="117" y="47"/>
                    <a:pt x="117" y="47"/>
                    <a:pt x="117" y="47"/>
                  </a:cubicBezTo>
                  <a:cubicBezTo>
                    <a:pt x="117" y="46"/>
                    <a:pt x="117" y="46"/>
                    <a:pt x="117" y="46"/>
                  </a:cubicBezTo>
                  <a:cubicBezTo>
                    <a:pt x="117" y="44"/>
                    <a:pt x="117" y="44"/>
                    <a:pt x="117" y="44"/>
                  </a:cubicBezTo>
                  <a:cubicBezTo>
                    <a:pt x="117" y="44"/>
                    <a:pt x="117" y="43"/>
                    <a:pt x="117" y="42"/>
                  </a:cubicBezTo>
                  <a:cubicBezTo>
                    <a:pt x="117" y="41"/>
                    <a:pt x="117" y="41"/>
                    <a:pt x="117" y="41"/>
                  </a:cubicBezTo>
                  <a:cubicBezTo>
                    <a:pt x="120" y="42"/>
                    <a:pt x="120" y="42"/>
                    <a:pt x="120" y="42"/>
                  </a:cubicBezTo>
                  <a:cubicBezTo>
                    <a:pt x="122" y="40"/>
                    <a:pt x="122" y="40"/>
                    <a:pt x="122" y="40"/>
                  </a:cubicBezTo>
                  <a:cubicBezTo>
                    <a:pt x="123" y="41"/>
                    <a:pt x="123" y="41"/>
                    <a:pt x="123" y="41"/>
                  </a:cubicBezTo>
                  <a:cubicBezTo>
                    <a:pt x="123" y="41"/>
                    <a:pt x="123" y="42"/>
                    <a:pt x="124" y="43"/>
                  </a:cubicBezTo>
                  <a:cubicBezTo>
                    <a:pt x="124" y="43"/>
                    <a:pt x="124" y="42"/>
                    <a:pt x="124" y="42"/>
                  </a:cubicBezTo>
                  <a:cubicBezTo>
                    <a:pt x="126" y="40"/>
                    <a:pt x="128" y="38"/>
                    <a:pt x="130" y="37"/>
                  </a:cubicBezTo>
                  <a:cubicBezTo>
                    <a:pt x="129" y="35"/>
                    <a:pt x="128" y="33"/>
                    <a:pt x="127" y="31"/>
                  </a:cubicBezTo>
                  <a:cubicBezTo>
                    <a:pt x="126" y="29"/>
                    <a:pt x="126" y="28"/>
                    <a:pt x="125" y="26"/>
                  </a:cubicBezTo>
                  <a:cubicBezTo>
                    <a:pt x="123" y="24"/>
                    <a:pt x="124" y="22"/>
                    <a:pt x="126" y="20"/>
                  </a:cubicBezTo>
                  <a:cubicBezTo>
                    <a:pt x="122" y="18"/>
                    <a:pt x="119" y="11"/>
                    <a:pt x="116" y="10"/>
                  </a:cubicBezTo>
                  <a:cubicBezTo>
                    <a:pt x="109" y="8"/>
                    <a:pt x="103" y="5"/>
                    <a:pt x="96" y="3"/>
                  </a:cubicBezTo>
                  <a:cubicBezTo>
                    <a:pt x="90" y="1"/>
                    <a:pt x="87" y="0"/>
                    <a:pt x="81" y="0"/>
                  </a:cubicBezTo>
                  <a:cubicBezTo>
                    <a:pt x="81" y="0"/>
                    <a:pt x="81" y="0"/>
                    <a:pt x="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361"/>
            <p:cNvSpPr>
              <a:spLocks noEditPoints="1"/>
            </p:cNvSpPr>
            <p:nvPr/>
          </p:nvSpPr>
          <p:spPr bwMode="auto">
            <a:xfrm>
              <a:off x="5726104" y="6187310"/>
              <a:ext cx="2638425" cy="1660525"/>
            </a:xfrm>
            <a:custGeom>
              <a:gdLst>
                <a:gd name="T0" fmla="*/ 594 w 703"/>
                <a:gd name="T1" fmla="*/ 341 h 442"/>
                <a:gd name="T2" fmla="*/ 37 w 703"/>
                <a:gd name="T3" fmla="*/ 2 h 442"/>
                <a:gd name="T4" fmla="*/ 17 w 703"/>
                <a:gd name="T5" fmla="*/ 42 h 442"/>
                <a:gd name="T6" fmla="*/ 42 w 703"/>
                <a:gd name="T7" fmla="*/ 80 h 442"/>
                <a:gd name="T8" fmla="*/ 67 w 703"/>
                <a:gd name="T9" fmla="*/ 119 h 442"/>
                <a:gd name="T10" fmla="*/ 73 w 703"/>
                <a:gd name="T11" fmla="*/ 131 h 442"/>
                <a:gd name="T12" fmla="*/ 62 w 703"/>
                <a:gd name="T13" fmla="*/ 122 h 442"/>
                <a:gd name="T14" fmla="*/ 70 w 703"/>
                <a:gd name="T15" fmla="*/ 143 h 442"/>
                <a:gd name="T16" fmla="*/ 90 w 703"/>
                <a:gd name="T17" fmla="*/ 143 h 442"/>
                <a:gd name="T18" fmla="*/ 115 w 703"/>
                <a:gd name="T19" fmla="*/ 192 h 442"/>
                <a:gd name="T20" fmla="*/ 175 w 703"/>
                <a:gd name="T21" fmla="*/ 238 h 442"/>
                <a:gd name="T22" fmla="*/ 165 w 703"/>
                <a:gd name="T23" fmla="*/ 216 h 442"/>
                <a:gd name="T24" fmla="*/ 136 w 703"/>
                <a:gd name="T25" fmla="*/ 171 h 442"/>
                <a:gd name="T26" fmla="*/ 118 w 703"/>
                <a:gd name="T27" fmla="*/ 141 h 442"/>
                <a:gd name="T28" fmla="*/ 93 w 703"/>
                <a:gd name="T29" fmla="*/ 105 h 442"/>
                <a:gd name="T30" fmla="*/ 56 w 703"/>
                <a:gd name="T31" fmla="*/ 56 h 442"/>
                <a:gd name="T32" fmla="*/ 69 w 703"/>
                <a:gd name="T33" fmla="*/ 29 h 442"/>
                <a:gd name="T34" fmla="*/ 92 w 703"/>
                <a:gd name="T35" fmla="*/ 43 h 442"/>
                <a:gd name="T36" fmla="*/ 130 w 703"/>
                <a:gd name="T37" fmla="*/ 110 h 442"/>
                <a:gd name="T38" fmla="*/ 149 w 703"/>
                <a:gd name="T39" fmla="*/ 123 h 442"/>
                <a:gd name="T40" fmla="*/ 179 w 703"/>
                <a:gd name="T41" fmla="*/ 163 h 442"/>
                <a:gd name="T42" fmla="*/ 181 w 703"/>
                <a:gd name="T43" fmla="*/ 176 h 442"/>
                <a:gd name="T44" fmla="*/ 189 w 703"/>
                <a:gd name="T45" fmla="*/ 177 h 442"/>
                <a:gd name="T46" fmla="*/ 217 w 703"/>
                <a:gd name="T47" fmla="*/ 205 h 442"/>
                <a:gd name="T48" fmla="*/ 219 w 703"/>
                <a:gd name="T49" fmla="*/ 207 h 442"/>
                <a:gd name="T50" fmla="*/ 267 w 703"/>
                <a:gd name="T51" fmla="*/ 295 h 442"/>
                <a:gd name="T52" fmla="*/ 304 w 703"/>
                <a:gd name="T53" fmla="*/ 342 h 442"/>
                <a:gd name="T54" fmla="*/ 351 w 703"/>
                <a:gd name="T55" fmla="*/ 363 h 442"/>
                <a:gd name="T56" fmla="*/ 453 w 703"/>
                <a:gd name="T57" fmla="*/ 411 h 442"/>
                <a:gd name="T58" fmla="*/ 512 w 703"/>
                <a:gd name="T59" fmla="*/ 405 h 442"/>
                <a:gd name="T60" fmla="*/ 518 w 703"/>
                <a:gd name="T61" fmla="*/ 405 h 442"/>
                <a:gd name="T62" fmla="*/ 558 w 703"/>
                <a:gd name="T63" fmla="*/ 427 h 442"/>
                <a:gd name="T64" fmla="*/ 575 w 703"/>
                <a:gd name="T65" fmla="*/ 435 h 442"/>
                <a:gd name="T66" fmla="*/ 575 w 703"/>
                <a:gd name="T67" fmla="*/ 424 h 442"/>
                <a:gd name="T68" fmla="*/ 599 w 703"/>
                <a:gd name="T69" fmla="*/ 405 h 442"/>
                <a:gd name="T70" fmla="*/ 615 w 703"/>
                <a:gd name="T71" fmla="*/ 402 h 442"/>
                <a:gd name="T72" fmla="*/ 601 w 703"/>
                <a:gd name="T73" fmla="*/ 389 h 442"/>
                <a:gd name="T74" fmla="*/ 607 w 703"/>
                <a:gd name="T75" fmla="*/ 363 h 442"/>
                <a:gd name="T76" fmla="*/ 645 w 703"/>
                <a:gd name="T77" fmla="*/ 363 h 442"/>
                <a:gd name="T78" fmla="*/ 653 w 703"/>
                <a:gd name="T79" fmla="*/ 361 h 442"/>
                <a:gd name="T80" fmla="*/ 664 w 703"/>
                <a:gd name="T81" fmla="*/ 348 h 442"/>
                <a:gd name="T82" fmla="*/ 672 w 703"/>
                <a:gd name="T83" fmla="*/ 350 h 442"/>
                <a:gd name="T84" fmla="*/ 685 w 703"/>
                <a:gd name="T85" fmla="*/ 328 h 442"/>
                <a:gd name="T86" fmla="*/ 698 w 703"/>
                <a:gd name="T87" fmla="*/ 296 h 442"/>
                <a:gd name="T88" fmla="*/ 689 w 703"/>
                <a:gd name="T89" fmla="*/ 276 h 442"/>
                <a:gd name="T90" fmla="*/ 619 w 703"/>
                <a:gd name="T91" fmla="*/ 293 h 442"/>
                <a:gd name="T92" fmla="*/ 599 w 703"/>
                <a:gd name="T93" fmla="*/ 339 h 442"/>
                <a:gd name="T94" fmla="*/ 586 w 703"/>
                <a:gd name="T95" fmla="*/ 353 h 442"/>
                <a:gd name="T96" fmla="*/ 566 w 703"/>
                <a:gd name="T97" fmla="*/ 351 h 442"/>
                <a:gd name="T98" fmla="*/ 519 w 703"/>
                <a:gd name="T99" fmla="*/ 354 h 442"/>
                <a:gd name="T100" fmla="*/ 495 w 703"/>
                <a:gd name="T101" fmla="*/ 345 h 442"/>
                <a:gd name="T102" fmla="*/ 481 w 703"/>
                <a:gd name="T103" fmla="*/ 328 h 442"/>
                <a:gd name="T104" fmla="*/ 455 w 703"/>
                <a:gd name="T105" fmla="*/ 280 h 442"/>
                <a:gd name="T106" fmla="*/ 448 w 703"/>
                <a:gd name="T107" fmla="*/ 221 h 442"/>
                <a:gd name="T108" fmla="*/ 453 w 703"/>
                <a:gd name="T109" fmla="*/ 181 h 442"/>
                <a:gd name="T110" fmla="*/ 454 w 703"/>
                <a:gd name="T111" fmla="*/ 172 h 442"/>
                <a:gd name="T112" fmla="*/ 413 w 703"/>
                <a:gd name="T113" fmla="*/ 156 h 442"/>
                <a:gd name="T114" fmla="*/ 366 w 703"/>
                <a:gd name="T115" fmla="*/ 79 h 442"/>
                <a:gd name="T116" fmla="*/ 344 w 703"/>
                <a:gd name="T117" fmla="*/ 73 h 442"/>
                <a:gd name="T118" fmla="*/ 321 w 703"/>
                <a:gd name="T119" fmla="*/ 94 h 442"/>
                <a:gd name="T120" fmla="*/ 255 w 703"/>
                <a:gd name="T121" fmla="*/ 34 h 442"/>
                <a:gd name="T122" fmla="*/ 208 w 703"/>
                <a:gd name="T123" fmla="*/ 26 h 442"/>
                <a:gd name="T124" fmla="*/ 48 w 703"/>
                <a:gd name="T125" fmla="*/ 5 h 4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3" h="442">
                  <a:moveTo>
                    <a:pt x="595" y="341"/>
                  </a:moveTo>
                  <a:cubicBezTo>
                    <a:pt x="595" y="341"/>
                    <a:pt x="595" y="341"/>
                    <a:pt x="594" y="341"/>
                  </a:cubicBezTo>
                  <a:cubicBezTo>
                    <a:pt x="594" y="341"/>
                    <a:pt x="594" y="341"/>
                    <a:pt x="595" y="341"/>
                  </a:cubicBezTo>
                  <a:cubicBezTo>
                    <a:pt x="595" y="341"/>
                    <a:pt x="595" y="341"/>
                    <a:pt x="595" y="341"/>
                  </a:cubicBezTo>
                  <a:moveTo>
                    <a:pt x="594" y="341"/>
                  </a:moveTo>
                  <a:cubicBezTo>
                    <a:pt x="594" y="341"/>
                    <a:pt x="594" y="341"/>
                    <a:pt x="594" y="341"/>
                  </a:cubicBezTo>
                  <a:cubicBezTo>
                    <a:pt x="594" y="341"/>
                    <a:pt x="594" y="341"/>
                    <a:pt x="594" y="341"/>
                  </a:cubicBezTo>
                  <a:cubicBezTo>
                    <a:pt x="594" y="341"/>
                    <a:pt x="594" y="341"/>
                    <a:pt x="594" y="341"/>
                  </a:cubicBezTo>
                  <a:moveTo>
                    <a:pt x="179" y="176"/>
                  </a:moveTo>
                  <a:cubicBezTo>
                    <a:pt x="178" y="176"/>
                    <a:pt x="178" y="176"/>
                    <a:pt x="178" y="176"/>
                  </a:cubicBezTo>
                  <a:cubicBezTo>
                    <a:pt x="178" y="176"/>
                    <a:pt x="178" y="176"/>
                    <a:pt x="179" y="176"/>
                  </a:cubicBezTo>
                  <a:moveTo>
                    <a:pt x="50" y="0"/>
                  </a:moveTo>
                  <a:cubicBezTo>
                    <a:pt x="47" y="0"/>
                    <a:pt x="44" y="1"/>
                    <a:pt x="41" y="1"/>
                  </a:cubicBezTo>
                  <a:cubicBezTo>
                    <a:pt x="39" y="1"/>
                    <a:pt x="38" y="1"/>
                    <a:pt x="37" y="2"/>
                  </a:cubicBezTo>
                  <a:cubicBezTo>
                    <a:pt x="36" y="2"/>
                    <a:pt x="32" y="2"/>
                    <a:pt x="29" y="2"/>
                  </a:cubicBezTo>
                  <a:cubicBezTo>
                    <a:pt x="25" y="2"/>
                    <a:pt x="25" y="2"/>
                    <a:pt x="25" y="2"/>
                  </a:cubicBezTo>
                  <a:cubicBezTo>
                    <a:pt x="20" y="3"/>
                    <a:pt x="15" y="3"/>
                    <a:pt x="13" y="4"/>
                  </a:cubicBezTo>
                  <a:cubicBezTo>
                    <a:pt x="10" y="4"/>
                    <a:pt x="7" y="4"/>
                    <a:pt x="4" y="4"/>
                  </a:cubicBezTo>
                  <a:cubicBezTo>
                    <a:pt x="0" y="6"/>
                    <a:pt x="0" y="6"/>
                    <a:pt x="0" y="6"/>
                  </a:cubicBezTo>
                  <a:cubicBezTo>
                    <a:pt x="4" y="12"/>
                    <a:pt x="6" y="18"/>
                    <a:pt x="8" y="25"/>
                  </a:cubicBezTo>
                  <a:cubicBezTo>
                    <a:pt x="10" y="30"/>
                    <a:pt x="13" y="37"/>
                    <a:pt x="17" y="42"/>
                  </a:cubicBezTo>
                  <a:cubicBezTo>
                    <a:pt x="18" y="43"/>
                    <a:pt x="21" y="44"/>
                    <a:pt x="23" y="46"/>
                  </a:cubicBezTo>
                  <a:cubicBezTo>
                    <a:pt x="24" y="48"/>
                    <a:pt x="23" y="51"/>
                    <a:pt x="24" y="53"/>
                  </a:cubicBezTo>
                  <a:cubicBezTo>
                    <a:pt x="24" y="54"/>
                    <a:pt x="23" y="55"/>
                    <a:pt x="24" y="57"/>
                  </a:cubicBezTo>
                  <a:cubicBezTo>
                    <a:pt x="24" y="56"/>
                    <a:pt x="25" y="55"/>
                    <a:pt x="25" y="55"/>
                  </a:cubicBezTo>
                  <a:cubicBezTo>
                    <a:pt x="27" y="55"/>
                    <a:pt x="28" y="60"/>
                    <a:pt x="29" y="61"/>
                  </a:cubicBezTo>
                  <a:cubicBezTo>
                    <a:pt x="29" y="63"/>
                    <a:pt x="29" y="65"/>
                    <a:pt x="29" y="67"/>
                  </a:cubicBezTo>
                  <a:cubicBezTo>
                    <a:pt x="30" y="73"/>
                    <a:pt x="37" y="76"/>
                    <a:pt x="42" y="80"/>
                  </a:cubicBezTo>
                  <a:cubicBezTo>
                    <a:pt x="43" y="81"/>
                    <a:pt x="44" y="81"/>
                    <a:pt x="46" y="82"/>
                  </a:cubicBezTo>
                  <a:cubicBezTo>
                    <a:pt x="47" y="82"/>
                    <a:pt x="48" y="82"/>
                    <a:pt x="49" y="83"/>
                  </a:cubicBezTo>
                  <a:cubicBezTo>
                    <a:pt x="53" y="86"/>
                    <a:pt x="57" y="91"/>
                    <a:pt x="60" y="95"/>
                  </a:cubicBezTo>
                  <a:cubicBezTo>
                    <a:pt x="62" y="97"/>
                    <a:pt x="64" y="99"/>
                    <a:pt x="66" y="101"/>
                  </a:cubicBezTo>
                  <a:cubicBezTo>
                    <a:pt x="70" y="105"/>
                    <a:pt x="68" y="111"/>
                    <a:pt x="66" y="116"/>
                  </a:cubicBezTo>
                  <a:cubicBezTo>
                    <a:pt x="65" y="120"/>
                    <a:pt x="65" y="120"/>
                    <a:pt x="65" y="120"/>
                  </a:cubicBezTo>
                  <a:cubicBezTo>
                    <a:pt x="65" y="119"/>
                    <a:pt x="66" y="119"/>
                    <a:pt x="67" y="119"/>
                  </a:cubicBezTo>
                  <a:cubicBezTo>
                    <a:pt x="67" y="121"/>
                    <a:pt x="67" y="122"/>
                    <a:pt x="68" y="125"/>
                  </a:cubicBezTo>
                  <a:cubicBezTo>
                    <a:pt x="69" y="124"/>
                    <a:pt x="69" y="124"/>
                    <a:pt x="69" y="123"/>
                  </a:cubicBezTo>
                  <a:cubicBezTo>
                    <a:pt x="70" y="123"/>
                    <a:pt x="71" y="123"/>
                    <a:pt x="71" y="123"/>
                  </a:cubicBezTo>
                  <a:cubicBezTo>
                    <a:pt x="71" y="123"/>
                    <a:pt x="71" y="121"/>
                    <a:pt x="71" y="121"/>
                  </a:cubicBezTo>
                  <a:cubicBezTo>
                    <a:pt x="70" y="120"/>
                    <a:pt x="70" y="119"/>
                    <a:pt x="70" y="119"/>
                  </a:cubicBezTo>
                  <a:cubicBezTo>
                    <a:pt x="70" y="119"/>
                    <a:pt x="72" y="121"/>
                    <a:pt x="72" y="122"/>
                  </a:cubicBezTo>
                  <a:cubicBezTo>
                    <a:pt x="74" y="125"/>
                    <a:pt x="75" y="129"/>
                    <a:pt x="73" y="131"/>
                  </a:cubicBezTo>
                  <a:cubicBezTo>
                    <a:pt x="73" y="130"/>
                    <a:pt x="73" y="127"/>
                    <a:pt x="72" y="127"/>
                  </a:cubicBezTo>
                  <a:cubicBezTo>
                    <a:pt x="72" y="126"/>
                    <a:pt x="71" y="126"/>
                    <a:pt x="70" y="126"/>
                  </a:cubicBezTo>
                  <a:cubicBezTo>
                    <a:pt x="70" y="126"/>
                    <a:pt x="70" y="126"/>
                    <a:pt x="70" y="126"/>
                  </a:cubicBezTo>
                  <a:cubicBezTo>
                    <a:pt x="70" y="126"/>
                    <a:pt x="69" y="126"/>
                    <a:pt x="69" y="126"/>
                  </a:cubicBezTo>
                  <a:cubicBezTo>
                    <a:pt x="68" y="126"/>
                    <a:pt x="68" y="126"/>
                    <a:pt x="67" y="126"/>
                  </a:cubicBezTo>
                  <a:cubicBezTo>
                    <a:pt x="66" y="125"/>
                    <a:pt x="65" y="124"/>
                    <a:pt x="64" y="123"/>
                  </a:cubicBezTo>
                  <a:cubicBezTo>
                    <a:pt x="63" y="122"/>
                    <a:pt x="62" y="122"/>
                    <a:pt x="62" y="122"/>
                  </a:cubicBezTo>
                  <a:cubicBezTo>
                    <a:pt x="61" y="122"/>
                    <a:pt x="61" y="123"/>
                    <a:pt x="60" y="123"/>
                  </a:cubicBezTo>
                  <a:cubicBezTo>
                    <a:pt x="59" y="123"/>
                    <a:pt x="58" y="123"/>
                    <a:pt x="58" y="123"/>
                  </a:cubicBezTo>
                  <a:cubicBezTo>
                    <a:pt x="54" y="123"/>
                    <a:pt x="51" y="122"/>
                    <a:pt x="48" y="122"/>
                  </a:cubicBezTo>
                  <a:cubicBezTo>
                    <a:pt x="47" y="122"/>
                    <a:pt x="46" y="122"/>
                    <a:pt x="46" y="122"/>
                  </a:cubicBezTo>
                  <a:cubicBezTo>
                    <a:pt x="46" y="122"/>
                    <a:pt x="46" y="122"/>
                    <a:pt x="47" y="124"/>
                  </a:cubicBezTo>
                  <a:cubicBezTo>
                    <a:pt x="50" y="128"/>
                    <a:pt x="56" y="132"/>
                    <a:pt x="60" y="136"/>
                  </a:cubicBezTo>
                  <a:cubicBezTo>
                    <a:pt x="62" y="138"/>
                    <a:pt x="66" y="141"/>
                    <a:pt x="70" y="143"/>
                  </a:cubicBezTo>
                  <a:cubicBezTo>
                    <a:pt x="72" y="145"/>
                    <a:pt x="75" y="147"/>
                    <a:pt x="78" y="148"/>
                  </a:cubicBezTo>
                  <a:cubicBezTo>
                    <a:pt x="79" y="148"/>
                    <a:pt x="79" y="148"/>
                    <a:pt x="80" y="148"/>
                  </a:cubicBezTo>
                  <a:cubicBezTo>
                    <a:pt x="81" y="148"/>
                    <a:pt x="81" y="148"/>
                    <a:pt x="83" y="148"/>
                  </a:cubicBezTo>
                  <a:cubicBezTo>
                    <a:pt x="83" y="148"/>
                    <a:pt x="84" y="148"/>
                    <a:pt x="85" y="148"/>
                  </a:cubicBezTo>
                  <a:cubicBezTo>
                    <a:pt x="86" y="148"/>
                    <a:pt x="86" y="148"/>
                    <a:pt x="87" y="148"/>
                  </a:cubicBezTo>
                  <a:cubicBezTo>
                    <a:pt x="87" y="148"/>
                    <a:pt x="87" y="148"/>
                    <a:pt x="88" y="147"/>
                  </a:cubicBezTo>
                  <a:cubicBezTo>
                    <a:pt x="89" y="146"/>
                    <a:pt x="89" y="144"/>
                    <a:pt x="90" y="143"/>
                  </a:cubicBezTo>
                  <a:cubicBezTo>
                    <a:pt x="90" y="144"/>
                    <a:pt x="89" y="148"/>
                    <a:pt x="89" y="148"/>
                  </a:cubicBezTo>
                  <a:cubicBezTo>
                    <a:pt x="93" y="152"/>
                    <a:pt x="98" y="155"/>
                    <a:pt x="102" y="159"/>
                  </a:cubicBezTo>
                  <a:cubicBezTo>
                    <a:pt x="106" y="162"/>
                    <a:pt x="112" y="164"/>
                    <a:pt x="113" y="169"/>
                  </a:cubicBezTo>
                  <a:cubicBezTo>
                    <a:pt x="114" y="174"/>
                    <a:pt x="115" y="178"/>
                    <a:pt x="115" y="183"/>
                  </a:cubicBezTo>
                  <a:cubicBezTo>
                    <a:pt x="115" y="185"/>
                    <a:pt x="114" y="186"/>
                    <a:pt x="114" y="188"/>
                  </a:cubicBezTo>
                  <a:cubicBezTo>
                    <a:pt x="114" y="190"/>
                    <a:pt x="114" y="193"/>
                    <a:pt x="113" y="196"/>
                  </a:cubicBezTo>
                  <a:cubicBezTo>
                    <a:pt x="114" y="194"/>
                    <a:pt x="114" y="193"/>
                    <a:pt x="115" y="192"/>
                  </a:cubicBezTo>
                  <a:cubicBezTo>
                    <a:pt x="114" y="193"/>
                    <a:pt x="114" y="196"/>
                    <a:pt x="114" y="197"/>
                  </a:cubicBezTo>
                  <a:cubicBezTo>
                    <a:pt x="118" y="200"/>
                    <a:pt x="123" y="201"/>
                    <a:pt x="127" y="204"/>
                  </a:cubicBezTo>
                  <a:cubicBezTo>
                    <a:pt x="134" y="210"/>
                    <a:pt x="140" y="215"/>
                    <a:pt x="147" y="220"/>
                  </a:cubicBezTo>
                  <a:cubicBezTo>
                    <a:pt x="150" y="223"/>
                    <a:pt x="153" y="225"/>
                    <a:pt x="156" y="228"/>
                  </a:cubicBezTo>
                  <a:cubicBezTo>
                    <a:pt x="160" y="232"/>
                    <a:pt x="163" y="239"/>
                    <a:pt x="165" y="244"/>
                  </a:cubicBezTo>
                  <a:cubicBezTo>
                    <a:pt x="167" y="243"/>
                    <a:pt x="169" y="241"/>
                    <a:pt x="170" y="240"/>
                  </a:cubicBezTo>
                  <a:cubicBezTo>
                    <a:pt x="172" y="239"/>
                    <a:pt x="173" y="239"/>
                    <a:pt x="175" y="238"/>
                  </a:cubicBezTo>
                  <a:cubicBezTo>
                    <a:pt x="177" y="236"/>
                    <a:pt x="177" y="233"/>
                    <a:pt x="177" y="231"/>
                  </a:cubicBezTo>
                  <a:cubicBezTo>
                    <a:pt x="176" y="226"/>
                    <a:pt x="171" y="226"/>
                    <a:pt x="170" y="223"/>
                  </a:cubicBezTo>
                  <a:cubicBezTo>
                    <a:pt x="170" y="221"/>
                    <a:pt x="169" y="217"/>
                    <a:pt x="168" y="216"/>
                  </a:cubicBezTo>
                  <a:cubicBezTo>
                    <a:pt x="168" y="216"/>
                    <a:pt x="168" y="216"/>
                    <a:pt x="167" y="216"/>
                  </a:cubicBezTo>
                  <a:cubicBezTo>
                    <a:pt x="167" y="216"/>
                    <a:pt x="167" y="216"/>
                    <a:pt x="166" y="216"/>
                  </a:cubicBezTo>
                  <a:cubicBezTo>
                    <a:pt x="166" y="216"/>
                    <a:pt x="166" y="216"/>
                    <a:pt x="165" y="216"/>
                  </a:cubicBezTo>
                  <a:cubicBezTo>
                    <a:pt x="165" y="216"/>
                    <a:pt x="165" y="216"/>
                    <a:pt x="165" y="216"/>
                  </a:cubicBezTo>
                  <a:cubicBezTo>
                    <a:pt x="162" y="215"/>
                    <a:pt x="160" y="208"/>
                    <a:pt x="157" y="208"/>
                  </a:cubicBezTo>
                  <a:cubicBezTo>
                    <a:pt x="157" y="208"/>
                    <a:pt x="157" y="208"/>
                    <a:pt x="157" y="208"/>
                  </a:cubicBezTo>
                  <a:cubicBezTo>
                    <a:pt x="155" y="208"/>
                    <a:pt x="156" y="210"/>
                    <a:pt x="156" y="212"/>
                  </a:cubicBezTo>
                  <a:cubicBezTo>
                    <a:pt x="154" y="212"/>
                    <a:pt x="151" y="212"/>
                    <a:pt x="150" y="211"/>
                  </a:cubicBezTo>
                  <a:cubicBezTo>
                    <a:pt x="147" y="208"/>
                    <a:pt x="147" y="202"/>
                    <a:pt x="147" y="199"/>
                  </a:cubicBezTo>
                  <a:cubicBezTo>
                    <a:pt x="148" y="194"/>
                    <a:pt x="144" y="190"/>
                    <a:pt x="142" y="185"/>
                  </a:cubicBezTo>
                  <a:cubicBezTo>
                    <a:pt x="140" y="181"/>
                    <a:pt x="138" y="176"/>
                    <a:pt x="136" y="171"/>
                  </a:cubicBezTo>
                  <a:cubicBezTo>
                    <a:pt x="136" y="171"/>
                    <a:pt x="136" y="171"/>
                    <a:pt x="136" y="171"/>
                  </a:cubicBezTo>
                  <a:cubicBezTo>
                    <a:pt x="135" y="172"/>
                    <a:pt x="135" y="172"/>
                    <a:pt x="135" y="172"/>
                  </a:cubicBezTo>
                  <a:cubicBezTo>
                    <a:pt x="136" y="169"/>
                    <a:pt x="133" y="165"/>
                    <a:pt x="132" y="162"/>
                  </a:cubicBezTo>
                  <a:cubicBezTo>
                    <a:pt x="131" y="160"/>
                    <a:pt x="131" y="158"/>
                    <a:pt x="130" y="155"/>
                  </a:cubicBezTo>
                  <a:cubicBezTo>
                    <a:pt x="128" y="151"/>
                    <a:pt x="125" y="147"/>
                    <a:pt x="121" y="145"/>
                  </a:cubicBezTo>
                  <a:cubicBezTo>
                    <a:pt x="122" y="147"/>
                    <a:pt x="123" y="150"/>
                    <a:pt x="123" y="152"/>
                  </a:cubicBezTo>
                  <a:cubicBezTo>
                    <a:pt x="120" y="152"/>
                    <a:pt x="119" y="144"/>
                    <a:pt x="118" y="141"/>
                  </a:cubicBezTo>
                  <a:cubicBezTo>
                    <a:pt x="118" y="140"/>
                    <a:pt x="116" y="139"/>
                    <a:pt x="113" y="138"/>
                  </a:cubicBezTo>
                  <a:cubicBezTo>
                    <a:pt x="111" y="137"/>
                    <a:pt x="109" y="132"/>
                    <a:pt x="107" y="130"/>
                  </a:cubicBezTo>
                  <a:cubicBezTo>
                    <a:pt x="105" y="126"/>
                    <a:pt x="103" y="120"/>
                    <a:pt x="99" y="117"/>
                  </a:cubicBezTo>
                  <a:cubicBezTo>
                    <a:pt x="100" y="117"/>
                    <a:pt x="100" y="117"/>
                    <a:pt x="100" y="117"/>
                  </a:cubicBezTo>
                  <a:cubicBezTo>
                    <a:pt x="99" y="115"/>
                    <a:pt x="98" y="113"/>
                    <a:pt x="98" y="110"/>
                  </a:cubicBezTo>
                  <a:cubicBezTo>
                    <a:pt x="97" y="109"/>
                    <a:pt x="98" y="107"/>
                    <a:pt x="97" y="106"/>
                  </a:cubicBezTo>
                  <a:cubicBezTo>
                    <a:pt x="95" y="106"/>
                    <a:pt x="94" y="106"/>
                    <a:pt x="93" y="105"/>
                  </a:cubicBezTo>
                  <a:cubicBezTo>
                    <a:pt x="88" y="103"/>
                    <a:pt x="86" y="97"/>
                    <a:pt x="83" y="93"/>
                  </a:cubicBezTo>
                  <a:cubicBezTo>
                    <a:pt x="83" y="94"/>
                    <a:pt x="83" y="94"/>
                    <a:pt x="83" y="94"/>
                  </a:cubicBezTo>
                  <a:cubicBezTo>
                    <a:pt x="81" y="94"/>
                    <a:pt x="78" y="88"/>
                    <a:pt x="77" y="87"/>
                  </a:cubicBezTo>
                  <a:cubicBezTo>
                    <a:pt x="74" y="83"/>
                    <a:pt x="71" y="79"/>
                    <a:pt x="68" y="75"/>
                  </a:cubicBezTo>
                  <a:cubicBezTo>
                    <a:pt x="66" y="73"/>
                    <a:pt x="65" y="73"/>
                    <a:pt x="64" y="73"/>
                  </a:cubicBezTo>
                  <a:cubicBezTo>
                    <a:pt x="62" y="72"/>
                    <a:pt x="60" y="70"/>
                    <a:pt x="59" y="68"/>
                  </a:cubicBezTo>
                  <a:cubicBezTo>
                    <a:pt x="57" y="64"/>
                    <a:pt x="57" y="60"/>
                    <a:pt x="56" y="56"/>
                  </a:cubicBezTo>
                  <a:cubicBezTo>
                    <a:pt x="55" y="50"/>
                    <a:pt x="51" y="44"/>
                    <a:pt x="52" y="38"/>
                  </a:cubicBezTo>
                  <a:cubicBezTo>
                    <a:pt x="52" y="34"/>
                    <a:pt x="52" y="31"/>
                    <a:pt x="52" y="28"/>
                  </a:cubicBezTo>
                  <a:cubicBezTo>
                    <a:pt x="53" y="24"/>
                    <a:pt x="51" y="23"/>
                    <a:pt x="50" y="20"/>
                  </a:cubicBezTo>
                  <a:cubicBezTo>
                    <a:pt x="50" y="19"/>
                    <a:pt x="50" y="19"/>
                    <a:pt x="50" y="18"/>
                  </a:cubicBezTo>
                  <a:cubicBezTo>
                    <a:pt x="50" y="19"/>
                    <a:pt x="51" y="19"/>
                    <a:pt x="52" y="20"/>
                  </a:cubicBezTo>
                  <a:cubicBezTo>
                    <a:pt x="56" y="22"/>
                    <a:pt x="60" y="24"/>
                    <a:pt x="65" y="27"/>
                  </a:cubicBezTo>
                  <a:cubicBezTo>
                    <a:pt x="66" y="28"/>
                    <a:pt x="67" y="29"/>
                    <a:pt x="69" y="29"/>
                  </a:cubicBezTo>
                  <a:cubicBezTo>
                    <a:pt x="70" y="29"/>
                    <a:pt x="70" y="28"/>
                    <a:pt x="71" y="27"/>
                  </a:cubicBezTo>
                  <a:cubicBezTo>
                    <a:pt x="72" y="27"/>
                    <a:pt x="71" y="26"/>
                    <a:pt x="71" y="26"/>
                  </a:cubicBezTo>
                  <a:cubicBezTo>
                    <a:pt x="72" y="25"/>
                    <a:pt x="71" y="25"/>
                    <a:pt x="71" y="24"/>
                  </a:cubicBezTo>
                  <a:cubicBezTo>
                    <a:pt x="71" y="24"/>
                    <a:pt x="72" y="24"/>
                    <a:pt x="72" y="24"/>
                  </a:cubicBezTo>
                  <a:cubicBezTo>
                    <a:pt x="73" y="24"/>
                    <a:pt x="78" y="29"/>
                    <a:pt x="79" y="30"/>
                  </a:cubicBezTo>
                  <a:cubicBezTo>
                    <a:pt x="83" y="32"/>
                    <a:pt x="87" y="35"/>
                    <a:pt x="90" y="37"/>
                  </a:cubicBezTo>
                  <a:cubicBezTo>
                    <a:pt x="93" y="39"/>
                    <a:pt x="93" y="39"/>
                    <a:pt x="92" y="43"/>
                  </a:cubicBezTo>
                  <a:cubicBezTo>
                    <a:pt x="91" y="46"/>
                    <a:pt x="91" y="47"/>
                    <a:pt x="93" y="50"/>
                  </a:cubicBezTo>
                  <a:cubicBezTo>
                    <a:pt x="96" y="56"/>
                    <a:pt x="99" y="61"/>
                    <a:pt x="101" y="68"/>
                  </a:cubicBezTo>
                  <a:cubicBezTo>
                    <a:pt x="103" y="72"/>
                    <a:pt x="105" y="76"/>
                    <a:pt x="107" y="80"/>
                  </a:cubicBezTo>
                  <a:cubicBezTo>
                    <a:pt x="107" y="81"/>
                    <a:pt x="107" y="83"/>
                    <a:pt x="108" y="84"/>
                  </a:cubicBezTo>
                  <a:cubicBezTo>
                    <a:pt x="108" y="85"/>
                    <a:pt x="112" y="85"/>
                    <a:pt x="112" y="86"/>
                  </a:cubicBezTo>
                  <a:cubicBezTo>
                    <a:pt x="113" y="87"/>
                    <a:pt x="112" y="92"/>
                    <a:pt x="113" y="93"/>
                  </a:cubicBezTo>
                  <a:cubicBezTo>
                    <a:pt x="119" y="99"/>
                    <a:pt x="124" y="104"/>
                    <a:pt x="130" y="110"/>
                  </a:cubicBezTo>
                  <a:cubicBezTo>
                    <a:pt x="133" y="113"/>
                    <a:pt x="139" y="120"/>
                    <a:pt x="144" y="120"/>
                  </a:cubicBezTo>
                  <a:cubicBezTo>
                    <a:pt x="146" y="120"/>
                    <a:pt x="147" y="120"/>
                    <a:pt x="149" y="120"/>
                  </a:cubicBezTo>
                  <a:cubicBezTo>
                    <a:pt x="153" y="121"/>
                    <a:pt x="150" y="121"/>
                    <a:pt x="150" y="122"/>
                  </a:cubicBezTo>
                  <a:cubicBezTo>
                    <a:pt x="150" y="122"/>
                    <a:pt x="150" y="122"/>
                    <a:pt x="150" y="122"/>
                  </a:cubicBezTo>
                  <a:cubicBezTo>
                    <a:pt x="150" y="122"/>
                    <a:pt x="150" y="122"/>
                    <a:pt x="150" y="122"/>
                  </a:cubicBezTo>
                  <a:cubicBezTo>
                    <a:pt x="149" y="123"/>
                    <a:pt x="149" y="123"/>
                    <a:pt x="149" y="123"/>
                  </a:cubicBezTo>
                  <a:cubicBezTo>
                    <a:pt x="149" y="123"/>
                    <a:pt x="149" y="123"/>
                    <a:pt x="149" y="123"/>
                  </a:cubicBezTo>
                  <a:cubicBezTo>
                    <a:pt x="147" y="130"/>
                    <a:pt x="153" y="137"/>
                    <a:pt x="159" y="139"/>
                  </a:cubicBezTo>
                  <a:cubicBezTo>
                    <a:pt x="161" y="139"/>
                    <a:pt x="162" y="139"/>
                    <a:pt x="164" y="140"/>
                  </a:cubicBezTo>
                  <a:cubicBezTo>
                    <a:pt x="165" y="140"/>
                    <a:pt x="166" y="144"/>
                    <a:pt x="166" y="145"/>
                  </a:cubicBezTo>
                  <a:cubicBezTo>
                    <a:pt x="167" y="147"/>
                    <a:pt x="171" y="147"/>
                    <a:pt x="173" y="148"/>
                  </a:cubicBezTo>
                  <a:cubicBezTo>
                    <a:pt x="178" y="150"/>
                    <a:pt x="183" y="156"/>
                    <a:pt x="184" y="162"/>
                  </a:cubicBezTo>
                  <a:cubicBezTo>
                    <a:pt x="184" y="161"/>
                    <a:pt x="183" y="160"/>
                    <a:pt x="183" y="159"/>
                  </a:cubicBezTo>
                  <a:cubicBezTo>
                    <a:pt x="182" y="161"/>
                    <a:pt x="180" y="161"/>
                    <a:pt x="179" y="163"/>
                  </a:cubicBezTo>
                  <a:cubicBezTo>
                    <a:pt x="179" y="165"/>
                    <a:pt x="177" y="168"/>
                    <a:pt x="177" y="170"/>
                  </a:cubicBezTo>
                  <a:cubicBezTo>
                    <a:pt x="177" y="173"/>
                    <a:pt x="177" y="173"/>
                    <a:pt x="177" y="175"/>
                  </a:cubicBezTo>
                  <a:cubicBezTo>
                    <a:pt x="177" y="174"/>
                    <a:pt x="178" y="173"/>
                    <a:pt x="178" y="173"/>
                  </a:cubicBezTo>
                  <a:cubicBezTo>
                    <a:pt x="179" y="173"/>
                    <a:pt x="180" y="175"/>
                    <a:pt x="180" y="176"/>
                  </a:cubicBezTo>
                  <a:cubicBezTo>
                    <a:pt x="180" y="176"/>
                    <a:pt x="179" y="176"/>
                    <a:pt x="179" y="176"/>
                  </a:cubicBezTo>
                  <a:cubicBezTo>
                    <a:pt x="179" y="176"/>
                    <a:pt x="179" y="176"/>
                    <a:pt x="180" y="176"/>
                  </a:cubicBezTo>
                  <a:cubicBezTo>
                    <a:pt x="180" y="176"/>
                    <a:pt x="181" y="176"/>
                    <a:pt x="181" y="176"/>
                  </a:cubicBezTo>
                  <a:cubicBezTo>
                    <a:pt x="181" y="175"/>
                    <a:pt x="181" y="175"/>
                    <a:pt x="181" y="175"/>
                  </a:cubicBezTo>
                  <a:cubicBezTo>
                    <a:pt x="181" y="175"/>
                    <a:pt x="181" y="175"/>
                    <a:pt x="182" y="175"/>
                  </a:cubicBezTo>
                  <a:cubicBezTo>
                    <a:pt x="183" y="176"/>
                    <a:pt x="183" y="177"/>
                    <a:pt x="184" y="177"/>
                  </a:cubicBezTo>
                  <a:cubicBezTo>
                    <a:pt x="184" y="177"/>
                    <a:pt x="184" y="177"/>
                    <a:pt x="184" y="177"/>
                  </a:cubicBezTo>
                  <a:cubicBezTo>
                    <a:pt x="185" y="177"/>
                    <a:pt x="186" y="177"/>
                    <a:pt x="187" y="177"/>
                  </a:cubicBezTo>
                  <a:cubicBezTo>
                    <a:pt x="187" y="177"/>
                    <a:pt x="188" y="177"/>
                    <a:pt x="189" y="177"/>
                  </a:cubicBezTo>
                  <a:cubicBezTo>
                    <a:pt x="189" y="177"/>
                    <a:pt x="189" y="177"/>
                    <a:pt x="189" y="177"/>
                  </a:cubicBezTo>
                  <a:cubicBezTo>
                    <a:pt x="188" y="178"/>
                    <a:pt x="187" y="179"/>
                    <a:pt x="186" y="181"/>
                  </a:cubicBezTo>
                  <a:cubicBezTo>
                    <a:pt x="193" y="182"/>
                    <a:pt x="200" y="184"/>
                    <a:pt x="205" y="188"/>
                  </a:cubicBezTo>
                  <a:cubicBezTo>
                    <a:pt x="206" y="190"/>
                    <a:pt x="208" y="191"/>
                    <a:pt x="210" y="193"/>
                  </a:cubicBezTo>
                  <a:cubicBezTo>
                    <a:pt x="210" y="193"/>
                    <a:pt x="210" y="196"/>
                    <a:pt x="210" y="197"/>
                  </a:cubicBezTo>
                  <a:cubicBezTo>
                    <a:pt x="211" y="199"/>
                    <a:pt x="211" y="202"/>
                    <a:pt x="214" y="204"/>
                  </a:cubicBezTo>
                  <a:cubicBezTo>
                    <a:pt x="213" y="203"/>
                    <a:pt x="213" y="203"/>
                    <a:pt x="212" y="202"/>
                  </a:cubicBezTo>
                  <a:cubicBezTo>
                    <a:pt x="214" y="203"/>
                    <a:pt x="215" y="204"/>
                    <a:pt x="217" y="205"/>
                  </a:cubicBezTo>
                  <a:cubicBezTo>
                    <a:pt x="218" y="205"/>
                    <a:pt x="218" y="205"/>
                    <a:pt x="219" y="205"/>
                  </a:cubicBezTo>
                  <a:cubicBezTo>
                    <a:pt x="219" y="205"/>
                    <a:pt x="219" y="205"/>
                    <a:pt x="219" y="205"/>
                  </a:cubicBezTo>
                  <a:cubicBezTo>
                    <a:pt x="219" y="205"/>
                    <a:pt x="220" y="205"/>
                    <a:pt x="220" y="205"/>
                  </a:cubicBezTo>
                  <a:cubicBezTo>
                    <a:pt x="220" y="204"/>
                    <a:pt x="220" y="204"/>
                    <a:pt x="221" y="204"/>
                  </a:cubicBezTo>
                  <a:cubicBezTo>
                    <a:pt x="221" y="204"/>
                    <a:pt x="221" y="204"/>
                    <a:pt x="221" y="204"/>
                  </a:cubicBezTo>
                  <a:cubicBezTo>
                    <a:pt x="223" y="205"/>
                    <a:pt x="221" y="207"/>
                    <a:pt x="219" y="207"/>
                  </a:cubicBezTo>
                  <a:cubicBezTo>
                    <a:pt x="219" y="207"/>
                    <a:pt x="219" y="207"/>
                    <a:pt x="219" y="207"/>
                  </a:cubicBezTo>
                  <a:cubicBezTo>
                    <a:pt x="227" y="213"/>
                    <a:pt x="233" y="219"/>
                    <a:pt x="239" y="227"/>
                  </a:cubicBezTo>
                  <a:cubicBezTo>
                    <a:pt x="246" y="236"/>
                    <a:pt x="253" y="243"/>
                    <a:pt x="261" y="251"/>
                  </a:cubicBezTo>
                  <a:cubicBezTo>
                    <a:pt x="264" y="254"/>
                    <a:pt x="265" y="260"/>
                    <a:pt x="264" y="264"/>
                  </a:cubicBezTo>
                  <a:cubicBezTo>
                    <a:pt x="264" y="269"/>
                    <a:pt x="269" y="274"/>
                    <a:pt x="272" y="277"/>
                  </a:cubicBezTo>
                  <a:cubicBezTo>
                    <a:pt x="274" y="280"/>
                    <a:pt x="275" y="280"/>
                    <a:pt x="274" y="282"/>
                  </a:cubicBezTo>
                  <a:cubicBezTo>
                    <a:pt x="272" y="285"/>
                    <a:pt x="271" y="289"/>
                    <a:pt x="270" y="292"/>
                  </a:cubicBezTo>
                  <a:cubicBezTo>
                    <a:pt x="270" y="293"/>
                    <a:pt x="268" y="294"/>
                    <a:pt x="267" y="295"/>
                  </a:cubicBezTo>
                  <a:cubicBezTo>
                    <a:pt x="268" y="296"/>
                    <a:pt x="270" y="296"/>
                    <a:pt x="271" y="296"/>
                  </a:cubicBezTo>
                  <a:cubicBezTo>
                    <a:pt x="272" y="297"/>
                    <a:pt x="273" y="297"/>
                    <a:pt x="273" y="297"/>
                  </a:cubicBezTo>
                  <a:cubicBezTo>
                    <a:pt x="273" y="299"/>
                    <a:pt x="275" y="300"/>
                    <a:pt x="273" y="300"/>
                  </a:cubicBezTo>
                  <a:cubicBezTo>
                    <a:pt x="271" y="301"/>
                    <a:pt x="266" y="302"/>
                    <a:pt x="265" y="303"/>
                  </a:cubicBezTo>
                  <a:cubicBezTo>
                    <a:pt x="262" y="307"/>
                    <a:pt x="271" y="318"/>
                    <a:pt x="273" y="321"/>
                  </a:cubicBezTo>
                  <a:cubicBezTo>
                    <a:pt x="276" y="327"/>
                    <a:pt x="282" y="331"/>
                    <a:pt x="288" y="334"/>
                  </a:cubicBezTo>
                  <a:cubicBezTo>
                    <a:pt x="293" y="337"/>
                    <a:pt x="299" y="339"/>
                    <a:pt x="304" y="342"/>
                  </a:cubicBezTo>
                  <a:cubicBezTo>
                    <a:pt x="308" y="345"/>
                    <a:pt x="310" y="349"/>
                    <a:pt x="314" y="353"/>
                  </a:cubicBezTo>
                  <a:cubicBezTo>
                    <a:pt x="316" y="355"/>
                    <a:pt x="319" y="356"/>
                    <a:pt x="322" y="357"/>
                  </a:cubicBezTo>
                  <a:cubicBezTo>
                    <a:pt x="329" y="360"/>
                    <a:pt x="336" y="362"/>
                    <a:pt x="343" y="364"/>
                  </a:cubicBezTo>
                  <a:cubicBezTo>
                    <a:pt x="344" y="364"/>
                    <a:pt x="344" y="364"/>
                    <a:pt x="344" y="364"/>
                  </a:cubicBezTo>
                  <a:cubicBezTo>
                    <a:pt x="345" y="364"/>
                    <a:pt x="346" y="363"/>
                    <a:pt x="347" y="363"/>
                  </a:cubicBezTo>
                  <a:cubicBezTo>
                    <a:pt x="347" y="363"/>
                    <a:pt x="348" y="363"/>
                    <a:pt x="349" y="363"/>
                  </a:cubicBezTo>
                  <a:cubicBezTo>
                    <a:pt x="349" y="363"/>
                    <a:pt x="350" y="363"/>
                    <a:pt x="351" y="363"/>
                  </a:cubicBezTo>
                  <a:cubicBezTo>
                    <a:pt x="356" y="367"/>
                    <a:pt x="360" y="371"/>
                    <a:pt x="366" y="375"/>
                  </a:cubicBezTo>
                  <a:cubicBezTo>
                    <a:pt x="377" y="382"/>
                    <a:pt x="390" y="385"/>
                    <a:pt x="401" y="391"/>
                  </a:cubicBezTo>
                  <a:cubicBezTo>
                    <a:pt x="407" y="394"/>
                    <a:pt x="413" y="395"/>
                    <a:pt x="420" y="396"/>
                  </a:cubicBezTo>
                  <a:cubicBezTo>
                    <a:pt x="423" y="397"/>
                    <a:pt x="424" y="397"/>
                    <a:pt x="427" y="400"/>
                  </a:cubicBezTo>
                  <a:cubicBezTo>
                    <a:pt x="429" y="403"/>
                    <a:pt x="432" y="403"/>
                    <a:pt x="435" y="404"/>
                  </a:cubicBezTo>
                  <a:cubicBezTo>
                    <a:pt x="438" y="405"/>
                    <a:pt x="441" y="406"/>
                    <a:pt x="443" y="408"/>
                  </a:cubicBezTo>
                  <a:cubicBezTo>
                    <a:pt x="447" y="410"/>
                    <a:pt x="448" y="410"/>
                    <a:pt x="453" y="411"/>
                  </a:cubicBezTo>
                  <a:cubicBezTo>
                    <a:pt x="455" y="411"/>
                    <a:pt x="458" y="411"/>
                    <a:pt x="461" y="412"/>
                  </a:cubicBezTo>
                  <a:cubicBezTo>
                    <a:pt x="463" y="413"/>
                    <a:pt x="465" y="415"/>
                    <a:pt x="468" y="416"/>
                  </a:cubicBezTo>
                  <a:cubicBezTo>
                    <a:pt x="472" y="417"/>
                    <a:pt x="474" y="417"/>
                    <a:pt x="477" y="417"/>
                  </a:cubicBezTo>
                  <a:cubicBezTo>
                    <a:pt x="479" y="417"/>
                    <a:pt x="482" y="417"/>
                    <a:pt x="485" y="416"/>
                  </a:cubicBezTo>
                  <a:cubicBezTo>
                    <a:pt x="490" y="415"/>
                    <a:pt x="494" y="412"/>
                    <a:pt x="500" y="411"/>
                  </a:cubicBezTo>
                  <a:cubicBezTo>
                    <a:pt x="502" y="410"/>
                    <a:pt x="504" y="407"/>
                    <a:pt x="506" y="406"/>
                  </a:cubicBezTo>
                  <a:cubicBezTo>
                    <a:pt x="508" y="406"/>
                    <a:pt x="510" y="405"/>
                    <a:pt x="512" y="405"/>
                  </a:cubicBezTo>
                  <a:cubicBezTo>
                    <a:pt x="513" y="405"/>
                    <a:pt x="514" y="405"/>
                    <a:pt x="515" y="405"/>
                  </a:cubicBezTo>
                  <a:cubicBezTo>
                    <a:pt x="515" y="405"/>
                    <a:pt x="515" y="405"/>
                    <a:pt x="515" y="405"/>
                  </a:cubicBezTo>
                  <a:cubicBezTo>
                    <a:pt x="513" y="404"/>
                    <a:pt x="512" y="404"/>
                    <a:pt x="510" y="403"/>
                  </a:cubicBezTo>
                  <a:cubicBezTo>
                    <a:pt x="512" y="402"/>
                    <a:pt x="514" y="401"/>
                    <a:pt x="516" y="400"/>
                  </a:cubicBezTo>
                  <a:cubicBezTo>
                    <a:pt x="516" y="402"/>
                    <a:pt x="516" y="403"/>
                    <a:pt x="517" y="403"/>
                  </a:cubicBezTo>
                  <a:cubicBezTo>
                    <a:pt x="517" y="403"/>
                    <a:pt x="518" y="403"/>
                    <a:pt x="520" y="402"/>
                  </a:cubicBezTo>
                  <a:cubicBezTo>
                    <a:pt x="520" y="403"/>
                    <a:pt x="519" y="404"/>
                    <a:pt x="518" y="405"/>
                  </a:cubicBezTo>
                  <a:cubicBezTo>
                    <a:pt x="520" y="406"/>
                    <a:pt x="523" y="406"/>
                    <a:pt x="525" y="406"/>
                  </a:cubicBezTo>
                  <a:cubicBezTo>
                    <a:pt x="528" y="406"/>
                    <a:pt x="531" y="408"/>
                    <a:pt x="533" y="409"/>
                  </a:cubicBezTo>
                  <a:cubicBezTo>
                    <a:pt x="532" y="406"/>
                    <a:pt x="527" y="406"/>
                    <a:pt x="525" y="404"/>
                  </a:cubicBezTo>
                  <a:cubicBezTo>
                    <a:pt x="525" y="404"/>
                    <a:pt x="526" y="403"/>
                    <a:pt x="527" y="403"/>
                  </a:cubicBezTo>
                  <a:cubicBezTo>
                    <a:pt x="530" y="403"/>
                    <a:pt x="536" y="408"/>
                    <a:pt x="538" y="410"/>
                  </a:cubicBezTo>
                  <a:cubicBezTo>
                    <a:pt x="543" y="414"/>
                    <a:pt x="548" y="418"/>
                    <a:pt x="553" y="422"/>
                  </a:cubicBezTo>
                  <a:cubicBezTo>
                    <a:pt x="555" y="423"/>
                    <a:pt x="556" y="426"/>
                    <a:pt x="558" y="427"/>
                  </a:cubicBezTo>
                  <a:cubicBezTo>
                    <a:pt x="560" y="428"/>
                    <a:pt x="563" y="429"/>
                    <a:pt x="564" y="430"/>
                  </a:cubicBezTo>
                  <a:cubicBezTo>
                    <a:pt x="567" y="435"/>
                    <a:pt x="570" y="439"/>
                    <a:pt x="573" y="442"/>
                  </a:cubicBezTo>
                  <a:cubicBezTo>
                    <a:pt x="574" y="441"/>
                    <a:pt x="574" y="441"/>
                    <a:pt x="574" y="441"/>
                  </a:cubicBezTo>
                  <a:cubicBezTo>
                    <a:pt x="574" y="441"/>
                    <a:pt x="574" y="441"/>
                    <a:pt x="574" y="441"/>
                  </a:cubicBezTo>
                  <a:cubicBezTo>
                    <a:pt x="574" y="440"/>
                    <a:pt x="574" y="440"/>
                    <a:pt x="574" y="440"/>
                  </a:cubicBezTo>
                  <a:cubicBezTo>
                    <a:pt x="574" y="439"/>
                    <a:pt x="574" y="439"/>
                    <a:pt x="574" y="439"/>
                  </a:cubicBezTo>
                  <a:cubicBezTo>
                    <a:pt x="574" y="438"/>
                    <a:pt x="574" y="437"/>
                    <a:pt x="575" y="435"/>
                  </a:cubicBezTo>
                  <a:cubicBezTo>
                    <a:pt x="575" y="435"/>
                    <a:pt x="575" y="435"/>
                    <a:pt x="575" y="435"/>
                  </a:cubicBezTo>
                  <a:cubicBezTo>
                    <a:pt x="575" y="435"/>
                    <a:pt x="575" y="433"/>
                    <a:pt x="575" y="432"/>
                  </a:cubicBezTo>
                  <a:cubicBezTo>
                    <a:pt x="576" y="432"/>
                    <a:pt x="576" y="432"/>
                    <a:pt x="576" y="432"/>
                  </a:cubicBezTo>
                  <a:cubicBezTo>
                    <a:pt x="574" y="430"/>
                    <a:pt x="574" y="428"/>
                    <a:pt x="574" y="426"/>
                  </a:cubicBezTo>
                  <a:cubicBezTo>
                    <a:pt x="575" y="425"/>
                    <a:pt x="575" y="425"/>
                    <a:pt x="575" y="425"/>
                  </a:cubicBezTo>
                  <a:cubicBezTo>
                    <a:pt x="575" y="425"/>
                    <a:pt x="575" y="425"/>
                    <a:pt x="575" y="425"/>
                  </a:cubicBezTo>
                  <a:cubicBezTo>
                    <a:pt x="575" y="424"/>
                    <a:pt x="575" y="424"/>
                    <a:pt x="575" y="424"/>
                  </a:cubicBezTo>
                  <a:cubicBezTo>
                    <a:pt x="575" y="423"/>
                    <a:pt x="575" y="423"/>
                    <a:pt x="575" y="423"/>
                  </a:cubicBezTo>
                  <a:cubicBezTo>
                    <a:pt x="576" y="420"/>
                    <a:pt x="579" y="416"/>
                    <a:pt x="581" y="413"/>
                  </a:cubicBezTo>
                  <a:cubicBezTo>
                    <a:pt x="582" y="411"/>
                    <a:pt x="582" y="411"/>
                    <a:pt x="582" y="411"/>
                  </a:cubicBezTo>
                  <a:cubicBezTo>
                    <a:pt x="583" y="410"/>
                    <a:pt x="584" y="409"/>
                    <a:pt x="586" y="408"/>
                  </a:cubicBezTo>
                  <a:cubicBezTo>
                    <a:pt x="586" y="408"/>
                    <a:pt x="587" y="407"/>
                    <a:pt x="587" y="407"/>
                  </a:cubicBezTo>
                  <a:cubicBezTo>
                    <a:pt x="589" y="406"/>
                    <a:pt x="591" y="406"/>
                    <a:pt x="592" y="406"/>
                  </a:cubicBezTo>
                  <a:cubicBezTo>
                    <a:pt x="594" y="405"/>
                    <a:pt x="597" y="405"/>
                    <a:pt x="599" y="405"/>
                  </a:cubicBezTo>
                  <a:cubicBezTo>
                    <a:pt x="600" y="405"/>
                    <a:pt x="601" y="405"/>
                    <a:pt x="602" y="405"/>
                  </a:cubicBezTo>
                  <a:cubicBezTo>
                    <a:pt x="603" y="405"/>
                    <a:pt x="604" y="405"/>
                    <a:pt x="605" y="405"/>
                  </a:cubicBezTo>
                  <a:cubicBezTo>
                    <a:pt x="615" y="405"/>
                    <a:pt x="615" y="405"/>
                    <a:pt x="615" y="405"/>
                  </a:cubicBezTo>
                  <a:cubicBezTo>
                    <a:pt x="615" y="404"/>
                    <a:pt x="615" y="404"/>
                    <a:pt x="615" y="404"/>
                  </a:cubicBezTo>
                  <a:cubicBezTo>
                    <a:pt x="615" y="404"/>
                    <a:pt x="615" y="404"/>
                    <a:pt x="615" y="404"/>
                  </a:cubicBezTo>
                  <a:cubicBezTo>
                    <a:pt x="615" y="403"/>
                    <a:pt x="615" y="403"/>
                    <a:pt x="616" y="402"/>
                  </a:cubicBezTo>
                  <a:cubicBezTo>
                    <a:pt x="615" y="402"/>
                    <a:pt x="615" y="402"/>
                    <a:pt x="615" y="402"/>
                  </a:cubicBezTo>
                  <a:cubicBezTo>
                    <a:pt x="615" y="402"/>
                    <a:pt x="615" y="402"/>
                    <a:pt x="615" y="402"/>
                  </a:cubicBezTo>
                  <a:cubicBezTo>
                    <a:pt x="615" y="401"/>
                    <a:pt x="614" y="401"/>
                    <a:pt x="613" y="401"/>
                  </a:cubicBezTo>
                  <a:cubicBezTo>
                    <a:pt x="610" y="399"/>
                    <a:pt x="608" y="397"/>
                    <a:pt x="606" y="394"/>
                  </a:cubicBezTo>
                  <a:cubicBezTo>
                    <a:pt x="606" y="394"/>
                    <a:pt x="606" y="394"/>
                    <a:pt x="606" y="394"/>
                  </a:cubicBezTo>
                  <a:cubicBezTo>
                    <a:pt x="605" y="394"/>
                    <a:pt x="605" y="394"/>
                    <a:pt x="605" y="394"/>
                  </a:cubicBezTo>
                  <a:cubicBezTo>
                    <a:pt x="605" y="393"/>
                    <a:pt x="604" y="392"/>
                    <a:pt x="603" y="391"/>
                  </a:cubicBezTo>
                  <a:cubicBezTo>
                    <a:pt x="602" y="391"/>
                    <a:pt x="601" y="390"/>
                    <a:pt x="601" y="389"/>
                  </a:cubicBezTo>
                  <a:cubicBezTo>
                    <a:pt x="598" y="387"/>
                    <a:pt x="598" y="387"/>
                    <a:pt x="598" y="387"/>
                  </a:cubicBezTo>
                  <a:cubicBezTo>
                    <a:pt x="596" y="385"/>
                    <a:pt x="594" y="383"/>
                    <a:pt x="592" y="382"/>
                  </a:cubicBezTo>
                  <a:cubicBezTo>
                    <a:pt x="586" y="377"/>
                    <a:pt x="586" y="377"/>
                    <a:pt x="586" y="377"/>
                  </a:cubicBezTo>
                  <a:cubicBezTo>
                    <a:pt x="602" y="377"/>
                    <a:pt x="602" y="377"/>
                    <a:pt x="602" y="377"/>
                  </a:cubicBezTo>
                  <a:cubicBezTo>
                    <a:pt x="602" y="377"/>
                    <a:pt x="602" y="377"/>
                    <a:pt x="602" y="377"/>
                  </a:cubicBezTo>
                  <a:cubicBezTo>
                    <a:pt x="601" y="370"/>
                    <a:pt x="601" y="366"/>
                    <a:pt x="603" y="365"/>
                  </a:cubicBezTo>
                  <a:cubicBezTo>
                    <a:pt x="603" y="363"/>
                    <a:pt x="605" y="363"/>
                    <a:pt x="607" y="363"/>
                  </a:cubicBezTo>
                  <a:cubicBezTo>
                    <a:pt x="609" y="363"/>
                    <a:pt x="610" y="363"/>
                    <a:pt x="612" y="363"/>
                  </a:cubicBezTo>
                  <a:cubicBezTo>
                    <a:pt x="614" y="363"/>
                    <a:pt x="614" y="363"/>
                    <a:pt x="614" y="363"/>
                  </a:cubicBezTo>
                  <a:cubicBezTo>
                    <a:pt x="614" y="364"/>
                    <a:pt x="614" y="364"/>
                    <a:pt x="615" y="364"/>
                  </a:cubicBezTo>
                  <a:cubicBezTo>
                    <a:pt x="629" y="364"/>
                    <a:pt x="629" y="364"/>
                    <a:pt x="629" y="364"/>
                  </a:cubicBezTo>
                  <a:cubicBezTo>
                    <a:pt x="634" y="364"/>
                    <a:pt x="639" y="364"/>
                    <a:pt x="644" y="364"/>
                  </a:cubicBezTo>
                  <a:cubicBezTo>
                    <a:pt x="645" y="363"/>
                    <a:pt x="645" y="363"/>
                    <a:pt x="645" y="363"/>
                  </a:cubicBezTo>
                  <a:cubicBezTo>
                    <a:pt x="645" y="363"/>
                    <a:pt x="645" y="363"/>
                    <a:pt x="645" y="363"/>
                  </a:cubicBezTo>
                  <a:cubicBezTo>
                    <a:pt x="646" y="363"/>
                    <a:pt x="646" y="363"/>
                    <a:pt x="646" y="363"/>
                  </a:cubicBezTo>
                  <a:cubicBezTo>
                    <a:pt x="646" y="362"/>
                    <a:pt x="646" y="362"/>
                    <a:pt x="646" y="362"/>
                  </a:cubicBezTo>
                  <a:cubicBezTo>
                    <a:pt x="647" y="361"/>
                    <a:pt x="647" y="361"/>
                    <a:pt x="647" y="361"/>
                  </a:cubicBezTo>
                  <a:cubicBezTo>
                    <a:pt x="647" y="361"/>
                    <a:pt x="648" y="361"/>
                    <a:pt x="648" y="361"/>
                  </a:cubicBezTo>
                  <a:cubicBezTo>
                    <a:pt x="649" y="360"/>
                    <a:pt x="650" y="360"/>
                    <a:pt x="650" y="360"/>
                  </a:cubicBezTo>
                  <a:cubicBezTo>
                    <a:pt x="650" y="360"/>
                    <a:pt x="650" y="360"/>
                    <a:pt x="651" y="360"/>
                  </a:cubicBezTo>
                  <a:cubicBezTo>
                    <a:pt x="652" y="360"/>
                    <a:pt x="652" y="361"/>
                    <a:pt x="653" y="361"/>
                  </a:cubicBezTo>
                  <a:cubicBezTo>
                    <a:pt x="653" y="361"/>
                    <a:pt x="653" y="361"/>
                    <a:pt x="653" y="361"/>
                  </a:cubicBezTo>
                  <a:cubicBezTo>
                    <a:pt x="653" y="361"/>
                    <a:pt x="654" y="361"/>
                    <a:pt x="655" y="359"/>
                  </a:cubicBezTo>
                  <a:cubicBezTo>
                    <a:pt x="656" y="358"/>
                    <a:pt x="656" y="357"/>
                    <a:pt x="657" y="356"/>
                  </a:cubicBezTo>
                  <a:cubicBezTo>
                    <a:pt x="657" y="355"/>
                    <a:pt x="657" y="355"/>
                    <a:pt x="657" y="355"/>
                  </a:cubicBezTo>
                  <a:cubicBezTo>
                    <a:pt x="658" y="355"/>
                    <a:pt x="658" y="355"/>
                    <a:pt x="658" y="355"/>
                  </a:cubicBezTo>
                  <a:cubicBezTo>
                    <a:pt x="658" y="353"/>
                    <a:pt x="658" y="353"/>
                    <a:pt x="658" y="353"/>
                  </a:cubicBezTo>
                  <a:cubicBezTo>
                    <a:pt x="660" y="349"/>
                    <a:pt x="662" y="348"/>
                    <a:pt x="664" y="348"/>
                  </a:cubicBezTo>
                  <a:cubicBezTo>
                    <a:pt x="664" y="348"/>
                    <a:pt x="665" y="348"/>
                    <a:pt x="665" y="348"/>
                  </a:cubicBezTo>
                  <a:cubicBezTo>
                    <a:pt x="666" y="348"/>
                    <a:pt x="666" y="348"/>
                    <a:pt x="667" y="348"/>
                  </a:cubicBezTo>
                  <a:cubicBezTo>
                    <a:pt x="668" y="348"/>
                    <a:pt x="668" y="348"/>
                    <a:pt x="668" y="348"/>
                  </a:cubicBezTo>
                  <a:cubicBezTo>
                    <a:pt x="669" y="348"/>
                    <a:pt x="669" y="348"/>
                    <a:pt x="669" y="348"/>
                  </a:cubicBezTo>
                  <a:cubicBezTo>
                    <a:pt x="669" y="347"/>
                    <a:pt x="670" y="345"/>
                    <a:pt x="669" y="344"/>
                  </a:cubicBezTo>
                  <a:cubicBezTo>
                    <a:pt x="671" y="344"/>
                    <a:pt x="671" y="343"/>
                    <a:pt x="672" y="342"/>
                  </a:cubicBezTo>
                  <a:cubicBezTo>
                    <a:pt x="673" y="344"/>
                    <a:pt x="672" y="348"/>
                    <a:pt x="672" y="350"/>
                  </a:cubicBezTo>
                  <a:cubicBezTo>
                    <a:pt x="672" y="353"/>
                    <a:pt x="676" y="356"/>
                    <a:pt x="677" y="358"/>
                  </a:cubicBezTo>
                  <a:cubicBezTo>
                    <a:pt x="680" y="349"/>
                    <a:pt x="681" y="338"/>
                    <a:pt x="686" y="331"/>
                  </a:cubicBezTo>
                  <a:cubicBezTo>
                    <a:pt x="686" y="331"/>
                    <a:pt x="685" y="330"/>
                    <a:pt x="685" y="330"/>
                  </a:cubicBezTo>
                  <a:cubicBezTo>
                    <a:pt x="683" y="330"/>
                    <a:pt x="684" y="332"/>
                    <a:pt x="683" y="333"/>
                  </a:cubicBezTo>
                  <a:cubicBezTo>
                    <a:pt x="682" y="333"/>
                    <a:pt x="682" y="333"/>
                    <a:pt x="682" y="333"/>
                  </a:cubicBezTo>
                  <a:cubicBezTo>
                    <a:pt x="680" y="333"/>
                    <a:pt x="684" y="329"/>
                    <a:pt x="685" y="328"/>
                  </a:cubicBezTo>
                  <a:cubicBezTo>
                    <a:pt x="685" y="328"/>
                    <a:pt x="685" y="328"/>
                    <a:pt x="685" y="328"/>
                  </a:cubicBezTo>
                  <a:cubicBezTo>
                    <a:pt x="686" y="328"/>
                    <a:pt x="687" y="326"/>
                    <a:pt x="687" y="324"/>
                  </a:cubicBezTo>
                  <a:cubicBezTo>
                    <a:pt x="686" y="325"/>
                    <a:pt x="684" y="325"/>
                    <a:pt x="683" y="325"/>
                  </a:cubicBezTo>
                  <a:cubicBezTo>
                    <a:pt x="681" y="325"/>
                    <a:pt x="679" y="325"/>
                    <a:pt x="680" y="322"/>
                  </a:cubicBezTo>
                  <a:cubicBezTo>
                    <a:pt x="680" y="320"/>
                    <a:pt x="685" y="320"/>
                    <a:pt x="686" y="319"/>
                  </a:cubicBezTo>
                  <a:cubicBezTo>
                    <a:pt x="687" y="318"/>
                    <a:pt x="686" y="315"/>
                    <a:pt x="686" y="314"/>
                  </a:cubicBezTo>
                  <a:cubicBezTo>
                    <a:pt x="686" y="313"/>
                    <a:pt x="686" y="311"/>
                    <a:pt x="687" y="310"/>
                  </a:cubicBezTo>
                  <a:cubicBezTo>
                    <a:pt x="688" y="305"/>
                    <a:pt x="695" y="301"/>
                    <a:pt x="698" y="296"/>
                  </a:cubicBezTo>
                  <a:cubicBezTo>
                    <a:pt x="699" y="293"/>
                    <a:pt x="701" y="290"/>
                    <a:pt x="703" y="287"/>
                  </a:cubicBezTo>
                  <a:cubicBezTo>
                    <a:pt x="703" y="286"/>
                    <a:pt x="702" y="283"/>
                    <a:pt x="701" y="282"/>
                  </a:cubicBezTo>
                  <a:cubicBezTo>
                    <a:pt x="701" y="280"/>
                    <a:pt x="699" y="278"/>
                    <a:pt x="697" y="277"/>
                  </a:cubicBezTo>
                  <a:cubicBezTo>
                    <a:pt x="697" y="276"/>
                    <a:pt x="696" y="276"/>
                    <a:pt x="696" y="276"/>
                  </a:cubicBezTo>
                  <a:cubicBezTo>
                    <a:pt x="694" y="276"/>
                    <a:pt x="693" y="277"/>
                    <a:pt x="692" y="277"/>
                  </a:cubicBezTo>
                  <a:cubicBezTo>
                    <a:pt x="692" y="277"/>
                    <a:pt x="689" y="276"/>
                    <a:pt x="689" y="276"/>
                  </a:cubicBezTo>
                  <a:cubicBezTo>
                    <a:pt x="689" y="276"/>
                    <a:pt x="689" y="276"/>
                    <a:pt x="689" y="276"/>
                  </a:cubicBezTo>
                  <a:cubicBezTo>
                    <a:pt x="688" y="276"/>
                    <a:pt x="687" y="277"/>
                    <a:pt x="686" y="278"/>
                  </a:cubicBezTo>
                  <a:cubicBezTo>
                    <a:pt x="682" y="277"/>
                    <a:pt x="677" y="276"/>
                    <a:pt x="673" y="276"/>
                  </a:cubicBezTo>
                  <a:cubicBezTo>
                    <a:pt x="672" y="276"/>
                    <a:pt x="671" y="276"/>
                    <a:pt x="670" y="276"/>
                  </a:cubicBezTo>
                  <a:cubicBezTo>
                    <a:pt x="664" y="276"/>
                    <a:pt x="660" y="278"/>
                    <a:pt x="654" y="280"/>
                  </a:cubicBezTo>
                  <a:cubicBezTo>
                    <a:pt x="649" y="282"/>
                    <a:pt x="642" y="282"/>
                    <a:pt x="636" y="283"/>
                  </a:cubicBezTo>
                  <a:cubicBezTo>
                    <a:pt x="633" y="283"/>
                    <a:pt x="630" y="283"/>
                    <a:pt x="627" y="285"/>
                  </a:cubicBezTo>
                  <a:cubicBezTo>
                    <a:pt x="625" y="287"/>
                    <a:pt x="620" y="290"/>
                    <a:pt x="619" y="293"/>
                  </a:cubicBezTo>
                  <a:cubicBezTo>
                    <a:pt x="618" y="296"/>
                    <a:pt x="617" y="300"/>
                    <a:pt x="617" y="303"/>
                  </a:cubicBezTo>
                  <a:cubicBezTo>
                    <a:pt x="616" y="306"/>
                    <a:pt x="617" y="310"/>
                    <a:pt x="616" y="312"/>
                  </a:cubicBezTo>
                  <a:cubicBezTo>
                    <a:pt x="615" y="315"/>
                    <a:pt x="612" y="317"/>
                    <a:pt x="612" y="320"/>
                  </a:cubicBezTo>
                  <a:cubicBezTo>
                    <a:pt x="611" y="322"/>
                    <a:pt x="611" y="325"/>
                    <a:pt x="611" y="327"/>
                  </a:cubicBezTo>
                  <a:cubicBezTo>
                    <a:pt x="611" y="329"/>
                    <a:pt x="610" y="330"/>
                    <a:pt x="609" y="331"/>
                  </a:cubicBezTo>
                  <a:cubicBezTo>
                    <a:pt x="608" y="332"/>
                    <a:pt x="597" y="340"/>
                    <a:pt x="595" y="341"/>
                  </a:cubicBezTo>
                  <a:cubicBezTo>
                    <a:pt x="596" y="340"/>
                    <a:pt x="598" y="340"/>
                    <a:pt x="599" y="339"/>
                  </a:cubicBezTo>
                  <a:cubicBezTo>
                    <a:pt x="598" y="341"/>
                    <a:pt x="597" y="342"/>
                    <a:pt x="596" y="344"/>
                  </a:cubicBezTo>
                  <a:cubicBezTo>
                    <a:pt x="596" y="344"/>
                    <a:pt x="596" y="344"/>
                    <a:pt x="596" y="344"/>
                  </a:cubicBezTo>
                  <a:cubicBezTo>
                    <a:pt x="597" y="344"/>
                    <a:pt x="597" y="343"/>
                    <a:pt x="597" y="343"/>
                  </a:cubicBezTo>
                  <a:cubicBezTo>
                    <a:pt x="598" y="343"/>
                    <a:pt x="598" y="346"/>
                    <a:pt x="597" y="347"/>
                  </a:cubicBezTo>
                  <a:cubicBezTo>
                    <a:pt x="598" y="347"/>
                    <a:pt x="599" y="347"/>
                    <a:pt x="600" y="346"/>
                  </a:cubicBezTo>
                  <a:cubicBezTo>
                    <a:pt x="596" y="349"/>
                    <a:pt x="591" y="350"/>
                    <a:pt x="586" y="352"/>
                  </a:cubicBezTo>
                  <a:cubicBezTo>
                    <a:pt x="586" y="353"/>
                    <a:pt x="586" y="353"/>
                    <a:pt x="586" y="353"/>
                  </a:cubicBezTo>
                  <a:cubicBezTo>
                    <a:pt x="584" y="353"/>
                    <a:pt x="584" y="348"/>
                    <a:pt x="581" y="347"/>
                  </a:cubicBezTo>
                  <a:cubicBezTo>
                    <a:pt x="582" y="347"/>
                    <a:pt x="582" y="347"/>
                    <a:pt x="583" y="347"/>
                  </a:cubicBezTo>
                  <a:cubicBezTo>
                    <a:pt x="583" y="347"/>
                    <a:pt x="584" y="347"/>
                    <a:pt x="584" y="347"/>
                  </a:cubicBezTo>
                  <a:cubicBezTo>
                    <a:pt x="584" y="347"/>
                    <a:pt x="583" y="345"/>
                    <a:pt x="582" y="345"/>
                  </a:cubicBezTo>
                  <a:cubicBezTo>
                    <a:pt x="582" y="345"/>
                    <a:pt x="581" y="345"/>
                    <a:pt x="580" y="345"/>
                  </a:cubicBezTo>
                  <a:cubicBezTo>
                    <a:pt x="577" y="345"/>
                    <a:pt x="574" y="346"/>
                    <a:pt x="571" y="346"/>
                  </a:cubicBezTo>
                  <a:cubicBezTo>
                    <a:pt x="569" y="347"/>
                    <a:pt x="567" y="349"/>
                    <a:pt x="566" y="351"/>
                  </a:cubicBezTo>
                  <a:cubicBezTo>
                    <a:pt x="565" y="349"/>
                    <a:pt x="565" y="348"/>
                    <a:pt x="564" y="348"/>
                  </a:cubicBezTo>
                  <a:cubicBezTo>
                    <a:pt x="564" y="348"/>
                    <a:pt x="564" y="348"/>
                    <a:pt x="563" y="348"/>
                  </a:cubicBezTo>
                  <a:cubicBezTo>
                    <a:pt x="561" y="348"/>
                    <a:pt x="557" y="351"/>
                    <a:pt x="554" y="351"/>
                  </a:cubicBezTo>
                  <a:cubicBezTo>
                    <a:pt x="548" y="352"/>
                    <a:pt x="546" y="352"/>
                    <a:pt x="541" y="354"/>
                  </a:cubicBezTo>
                  <a:cubicBezTo>
                    <a:pt x="537" y="357"/>
                    <a:pt x="534" y="357"/>
                    <a:pt x="529" y="358"/>
                  </a:cubicBezTo>
                  <a:cubicBezTo>
                    <a:pt x="528" y="358"/>
                    <a:pt x="527" y="358"/>
                    <a:pt x="526" y="358"/>
                  </a:cubicBezTo>
                  <a:cubicBezTo>
                    <a:pt x="523" y="358"/>
                    <a:pt x="521" y="357"/>
                    <a:pt x="519" y="354"/>
                  </a:cubicBezTo>
                  <a:cubicBezTo>
                    <a:pt x="517" y="352"/>
                    <a:pt x="516" y="350"/>
                    <a:pt x="515" y="349"/>
                  </a:cubicBezTo>
                  <a:cubicBezTo>
                    <a:pt x="514" y="349"/>
                    <a:pt x="511" y="348"/>
                    <a:pt x="510" y="348"/>
                  </a:cubicBezTo>
                  <a:cubicBezTo>
                    <a:pt x="508" y="347"/>
                    <a:pt x="506" y="345"/>
                    <a:pt x="504" y="345"/>
                  </a:cubicBezTo>
                  <a:cubicBezTo>
                    <a:pt x="504" y="345"/>
                    <a:pt x="504" y="345"/>
                    <a:pt x="504" y="345"/>
                  </a:cubicBezTo>
                  <a:cubicBezTo>
                    <a:pt x="503" y="345"/>
                    <a:pt x="502" y="345"/>
                    <a:pt x="501" y="345"/>
                  </a:cubicBezTo>
                  <a:cubicBezTo>
                    <a:pt x="500" y="345"/>
                    <a:pt x="500" y="345"/>
                    <a:pt x="499" y="345"/>
                  </a:cubicBezTo>
                  <a:cubicBezTo>
                    <a:pt x="497" y="345"/>
                    <a:pt x="496" y="345"/>
                    <a:pt x="495" y="345"/>
                  </a:cubicBezTo>
                  <a:cubicBezTo>
                    <a:pt x="493" y="345"/>
                    <a:pt x="491" y="345"/>
                    <a:pt x="491" y="349"/>
                  </a:cubicBezTo>
                  <a:cubicBezTo>
                    <a:pt x="490" y="349"/>
                    <a:pt x="489" y="350"/>
                    <a:pt x="487" y="351"/>
                  </a:cubicBezTo>
                  <a:cubicBezTo>
                    <a:pt x="488" y="349"/>
                    <a:pt x="489" y="348"/>
                    <a:pt x="490" y="346"/>
                  </a:cubicBezTo>
                  <a:cubicBezTo>
                    <a:pt x="491" y="343"/>
                    <a:pt x="490" y="344"/>
                    <a:pt x="489" y="342"/>
                  </a:cubicBezTo>
                  <a:cubicBezTo>
                    <a:pt x="490" y="342"/>
                    <a:pt x="492" y="343"/>
                    <a:pt x="493" y="343"/>
                  </a:cubicBezTo>
                  <a:cubicBezTo>
                    <a:pt x="493" y="343"/>
                    <a:pt x="493" y="343"/>
                    <a:pt x="493" y="343"/>
                  </a:cubicBezTo>
                  <a:cubicBezTo>
                    <a:pt x="490" y="338"/>
                    <a:pt x="483" y="334"/>
                    <a:pt x="481" y="328"/>
                  </a:cubicBezTo>
                  <a:cubicBezTo>
                    <a:pt x="480" y="325"/>
                    <a:pt x="480" y="320"/>
                    <a:pt x="478" y="317"/>
                  </a:cubicBezTo>
                  <a:cubicBezTo>
                    <a:pt x="476" y="314"/>
                    <a:pt x="473" y="311"/>
                    <a:pt x="471" y="309"/>
                  </a:cubicBezTo>
                  <a:cubicBezTo>
                    <a:pt x="468" y="306"/>
                    <a:pt x="465" y="303"/>
                    <a:pt x="463" y="300"/>
                  </a:cubicBezTo>
                  <a:cubicBezTo>
                    <a:pt x="460" y="297"/>
                    <a:pt x="459" y="293"/>
                    <a:pt x="457" y="289"/>
                  </a:cubicBezTo>
                  <a:cubicBezTo>
                    <a:pt x="454" y="282"/>
                    <a:pt x="451" y="276"/>
                    <a:pt x="449" y="268"/>
                  </a:cubicBezTo>
                  <a:cubicBezTo>
                    <a:pt x="451" y="271"/>
                    <a:pt x="453" y="273"/>
                    <a:pt x="455" y="276"/>
                  </a:cubicBezTo>
                  <a:cubicBezTo>
                    <a:pt x="456" y="278"/>
                    <a:pt x="456" y="277"/>
                    <a:pt x="455" y="280"/>
                  </a:cubicBezTo>
                  <a:cubicBezTo>
                    <a:pt x="455" y="281"/>
                    <a:pt x="455" y="282"/>
                    <a:pt x="455" y="283"/>
                  </a:cubicBezTo>
                  <a:cubicBezTo>
                    <a:pt x="456" y="282"/>
                    <a:pt x="458" y="279"/>
                    <a:pt x="458" y="278"/>
                  </a:cubicBezTo>
                  <a:cubicBezTo>
                    <a:pt x="458" y="272"/>
                    <a:pt x="449" y="267"/>
                    <a:pt x="447" y="262"/>
                  </a:cubicBezTo>
                  <a:cubicBezTo>
                    <a:pt x="446" y="258"/>
                    <a:pt x="446" y="253"/>
                    <a:pt x="446" y="249"/>
                  </a:cubicBezTo>
                  <a:cubicBezTo>
                    <a:pt x="445" y="245"/>
                    <a:pt x="446" y="241"/>
                    <a:pt x="447" y="237"/>
                  </a:cubicBezTo>
                  <a:cubicBezTo>
                    <a:pt x="448" y="229"/>
                    <a:pt x="448" y="221"/>
                    <a:pt x="449" y="214"/>
                  </a:cubicBezTo>
                  <a:cubicBezTo>
                    <a:pt x="449" y="216"/>
                    <a:pt x="448" y="219"/>
                    <a:pt x="448" y="221"/>
                  </a:cubicBezTo>
                  <a:cubicBezTo>
                    <a:pt x="447" y="215"/>
                    <a:pt x="444" y="208"/>
                    <a:pt x="447" y="202"/>
                  </a:cubicBezTo>
                  <a:cubicBezTo>
                    <a:pt x="448" y="200"/>
                    <a:pt x="451" y="195"/>
                    <a:pt x="449" y="193"/>
                  </a:cubicBezTo>
                  <a:cubicBezTo>
                    <a:pt x="447" y="191"/>
                    <a:pt x="448" y="186"/>
                    <a:pt x="448" y="183"/>
                  </a:cubicBezTo>
                  <a:cubicBezTo>
                    <a:pt x="449" y="183"/>
                    <a:pt x="451" y="185"/>
                    <a:pt x="453" y="185"/>
                  </a:cubicBezTo>
                  <a:cubicBezTo>
                    <a:pt x="453" y="185"/>
                    <a:pt x="453" y="185"/>
                    <a:pt x="453" y="185"/>
                  </a:cubicBezTo>
                  <a:cubicBezTo>
                    <a:pt x="454" y="184"/>
                    <a:pt x="452" y="183"/>
                    <a:pt x="454" y="183"/>
                  </a:cubicBezTo>
                  <a:cubicBezTo>
                    <a:pt x="453" y="183"/>
                    <a:pt x="453" y="181"/>
                    <a:pt x="453" y="181"/>
                  </a:cubicBezTo>
                  <a:cubicBezTo>
                    <a:pt x="454" y="181"/>
                    <a:pt x="455" y="181"/>
                    <a:pt x="455" y="182"/>
                  </a:cubicBezTo>
                  <a:cubicBezTo>
                    <a:pt x="455" y="186"/>
                    <a:pt x="453" y="190"/>
                    <a:pt x="452" y="195"/>
                  </a:cubicBezTo>
                  <a:cubicBezTo>
                    <a:pt x="454" y="187"/>
                    <a:pt x="457" y="179"/>
                    <a:pt x="460" y="172"/>
                  </a:cubicBezTo>
                  <a:cubicBezTo>
                    <a:pt x="460" y="171"/>
                    <a:pt x="460" y="171"/>
                    <a:pt x="460" y="171"/>
                  </a:cubicBezTo>
                  <a:cubicBezTo>
                    <a:pt x="460" y="171"/>
                    <a:pt x="460" y="171"/>
                    <a:pt x="460" y="171"/>
                  </a:cubicBezTo>
                  <a:cubicBezTo>
                    <a:pt x="459" y="172"/>
                    <a:pt x="458" y="172"/>
                    <a:pt x="457" y="172"/>
                  </a:cubicBezTo>
                  <a:cubicBezTo>
                    <a:pt x="456" y="172"/>
                    <a:pt x="455" y="172"/>
                    <a:pt x="454" y="172"/>
                  </a:cubicBezTo>
                  <a:cubicBezTo>
                    <a:pt x="454" y="172"/>
                    <a:pt x="454" y="172"/>
                    <a:pt x="454" y="172"/>
                  </a:cubicBezTo>
                  <a:cubicBezTo>
                    <a:pt x="452" y="172"/>
                    <a:pt x="451" y="172"/>
                    <a:pt x="450" y="171"/>
                  </a:cubicBezTo>
                  <a:cubicBezTo>
                    <a:pt x="449" y="170"/>
                    <a:pt x="446" y="169"/>
                    <a:pt x="444" y="169"/>
                  </a:cubicBezTo>
                  <a:cubicBezTo>
                    <a:pt x="441" y="169"/>
                    <a:pt x="436" y="167"/>
                    <a:pt x="433" y="166"/>
                  </a:cubicBezTo>
                  <a:cubicBezTo>
                    <a:pt x="433" y="166"/>
                    <a:pt x="432" y="166"/>
                    <a:pt x="431" y="165"/>
                  </a:cubicBezTo>
                  <a:cubicBezTo>
                    <a:pt x="429" y="164"/>
                    <a:pt x="427" y="163"/>
                    <a:pt x="422" y="162"/>
                  </a:cubicBezTo>
                  <a:cubicBezTo>
                    <a:pt x="416" y="160"/>
                    <a:pt x="414" y="159"/>
                    <a:pt x="413" y="156"/>
                  </a:cubicBezTo>
                  <a:cubicBezTo>
                    <a:pt x="404" y="135"/>
                    <a:pt x="404" y="134"/>
                    <a:pt x="404" y="133"/>
                  </a:cubicBezTo>
                  <a:cubicBezTo>
                    <a:pt x="405" y="129"/>
                    <a:pt x="404" y="129"/>
                    <a:pt x="404" y="129"/>
                  </a:cubicBezTo>
                  <a:cubicBezTo>
                    <a:pt x="401" y="127"/>
                    <a:pt x="397" y="126"/>
                    <a:pt x="397" y="123"/>
                  </a:cubicBezTo>
                  <a:cubicBezTo>
                    <a:pt x="396" y="122"/>
                    <a:pt x="394" y="119"/>
                    <a:pt x="393" y="117"/>
                  </a:cubicBezTo>
                  <a:cubicBezTo>
                    <a:pt x="388" y="110"/>
                    <a:pt x="384" y="104"/>
                    <a:pt x="379" y="94"/>
                  </a:cubicBezTo>
                  <a:cubicBezTo>
                    <a:pt x="375" y="86"/>
                    <a:pt x="371" y="84"/>
                    <a:pt x="369" y="81"/>
                  </a:cubicBezTo>
                  <a:cubicBezTo>
                    <a:pt x="368" y="81"/>
                    <a:pt x="367" y="80"/>
                    <a:pt x="366" y="79"/>
                  </a:cubicBezTo>
                  <a:cubicBezTo>
                    <a:pt x="362" y="75"/>
                    <a:pt x="360" y="75"/>
                    <a:pt x="360" y="75"/>
                  </a:cubicBezTo>
                  <a:cubicBezTo>
                    <a:pt x="359" y="75"/>
                    <a:pt x="359" y="75"/>
                    <a:pt x="359" y="75"/>
                  </a:cubicBezTo>
                  <a:cubicBezTo>
                    <a:pt x="359" y="75"/>
                    <a:pt x="358" y="75"/>
                    <a:pt x="357" y="75"/>
                  </a:cubicBezTo>
                  <a:cubicBezTo>
                    <a:pt x="354" y="75"/>
                    <a:pt x="351" y="74"/>
                    <a:pt x="348" y="73"/>
                  </a:cubicBezTo>
                  <a:cubicBezTo>
                    <a:pt x="348" y="73"/>
                    <a:pt x="348" y="73"/>
                    <a:pt x="348" y="73"/>
                  </a:cubicBezTo>
                  <a:cubicBezTo>
                    <a:pt x="347" y="73"/>
                    <a:pt x="346" y="73"/>
                    <a:pt x="345" y="73"/>
                  </a:cubicBezTo>
                  <a:cubicBezTo>
                    <a:pt x="345" y="73"/>
                    <a:pt x="344" y="73"/>
                    <a:pt x="344" y="73"/>
                  </a:cubicBezTo>
                  <a:cubicBezTo>
                    <a:pt x="343" y="73"/>
                    <a:pt x="343" y="73"/>
                    <a:pt x="343" y="73"/>
                  </a:cubicBezTo>
                  <a:cubicBezTo>
                    <a:pt x="342" y="75"/>
                    <a:pt x="339" y="75"/>
                    <a:pt x="338" y="75"/>
                  </a:cubicBezTo>
                  <a:cubicBezTo>
                    <a:pt x="336" y="75"/>
                    <a:pt x="334" y="78"/>
                    <a:pt x="332" y="83"/>
                  </a:cubicBezTo>
                  <a:cubicBezTo>
                    <a:pt x="331" y="85"/>
                    <a:pt x="330" y="87"/>
                    <a:pt x="329" y="89"/>
                  </a:cubicBezTo>
                  <a:cubicBezTo>
                    <a:pt x="328" y="91"/>
                    <a:pt x="326" y="93"/>
                    <a:pt x="323" y="94"/>
                  </a:cubicBezTo>
                  <a:cubicBezTo>
                    <a:pt x="322" y="94"/>
                    <a:pt x="322" y="94"/>
                    <a:pt x="322" y="94"/>
                  </a:cubicBezTo>
                  <a:cubicBezTo>
                    <a:pt x="322" y="94"/>
                    <a:pt x="321" y="94"/>
                    <a:pt x="321" y="94"/>
                  </a:cubicBezTo>
                  <a:cubicBezTo>
                    <a:pt x="316" y="94"/>
                    <a:pt x="311" y="91"/>
                    <a:pt x="307" y="89"/>
                  </a:cubicBezTo>
                  <a:cubicBezTo>
                    <a:pt x="307" y="89"/>
                    <a:pt x="307" y="89"/>
                    <a:pt x="307" y="89"/>
                  </a:cubicBezTo>
                  <a:cubicBezTo>
                    <a:pt x="307" y="89"/>
                    <a:pt x="306" y="89"/>
                    <a:pt x="306" y="88"/>
                  </a:cubicBezTo>
                  <a:cubicBezTo>
                    <a:pt x="305" y="88"/>
                    <a:pt x="305" y="88"/>
                    <a:pt x="305" y="88"/>
                  </a:cubicBezTo>
                  <a:cubicBezTo>
                    <a:pt x="299" y="85"/>
                    <a:pt x="286" y="78"/>
                    <a:pt x="284" y="68"/>
                  </a:cubicBezTo>
                  <a:cubicBezTo>
                    <a:pt x="283" y="58"/>
                    <a:pt x="277" y="51"/>
                    <a:pt x="277" y="51"/>
                  </a:cubicBezTo>
                  <a:cubicBezTo>
                    <a:pt x="267" y="44"/>
                    <a:pt x="256" y="35"/>
                    <a:pt x="255" y="34"/>
                  </a:cubicBezTo>
                  <a:cubicBezTo>
                    <a:pt x="253" y="33"/>
                    <a:pt x="249" y="32"/>
                    <a:pt x="248" y="28"/>
                  </a:cubicBezTo>
                  <a:cubicBezTo>
                    <a:pt x="247" y="28"/>
                    <a:pt x="247" y="28"/>
                    <a:pt x="247" y="28"/>
                  </a:cubicBezTo>
                  <a:cubicBezTo>
                    <a:pt x="247" y="25"/>
                    <a:pt x="246" y="24"/>
                    <a:pt x="244" y="24"/>
                  </a:cubicBezTo>
                  <a:cubicBezTo>
                    <a:pt x="242" y="24"/>
                    <a:pt x="237" y="24"/>
                    <a:pt x="231" y="24"/>
                  </a:cubicBezTo>
                  <a:cubicBezTo>
                    <a:pt x="223" y="24"/>
                    <a:pt x="212" y="24"/>
                    <a:pt x="208" y="24"/>
                  </a:cubicBezTo>
                  <a:cubicBezTo>
                    <a:pt x="208" y="25"/>
                    <a:pt x="208" y="25"/>
                    <a:pt x="208" y="25"/>
                  </a:cubicBezTo>
                  <a:cubicBezTo>
                    <a:pt x="208" y="26"/>
                    <a:pt x="208" y="26"/>
                    <a:pt x="208" y="26"/>
                  </a:cubicBezTo>
                  <a:cubicBezTo>
                    <a:pt x="208" y="26"/>
                    <a:pt x="208" y="27"/>
                    <a:pt x="208" y="27"/>
                  </a:cubicBezTo>
                  <a:cubicBezTo>
                    <a:pt x="208" y="29"/>
                    <a:pt x="207" y="31"/>
                    <a:pt x="205" y="34"/>
                  </a:cubicBezTo>
                  <a:cubicBezTo>
                    <a:pt x="205" y="36"/>
                    <a:pt x="205" y="36"/>
                    <a:pt x="205" y="36"/>
                  </a:cubicBezTo>
                  <a:cubicBezTo>
                    <a:pt x="177" y="36"/>
                    <a:pt x="177" y="36"/>
                    <a:pt x="177" y="36"/>
                  </a:cubicBezTo>
                  <a:cubicBezTo>
                    <a:pt x="150" y="36"/>
                    <a:pt x="144" y="35"/>
                    <a:pt x="115" y="27"/>
                  </a:cubicBezTo>
                  <a:cubicBezTo>
                    <a:pt x="105" y="25"/>
                    <a:pt x="64" y="10"/>
                    <a:pt x="51" y="6"/>
                  </a:cubicBezTo>
                  <a:cubicBezTo>
                    <a:pt x="48" y="5"/>
                    <a:pt x="48" y="5"/>
                    <a:pt x="48" y="5"/>
                  </a:cubicBezTo>
                  <a:cubicBezTo>
                    <a:pt x="49" y="2"/>
                    <a:pt x="49" y="2"/>
                    <a:pt x="49" y="2"/>
                  </a:cubicBezTo>
                  <a:cubicBezTo>
                    <a:pt x="49" y="2"/>
                    <a:pt x="49" y="1"/>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362"/>
            <p:cNvSpPr>
              <a:spLocks noChangeArrowheads="1"/>
            </p:cNvSpPr>
            <p:nvPr/>
          </p:nvSpPr>
          <p:spPr bwMode="auto">
            <a:xfrm>
              <a:off x="5932479" y="6187310"/>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363"/>
            <p:cNvSpPr/>
            <p:nvPr/>
          </p:nvSpPr>
          <p:spPr bwMode="auto">
            <a:xfrm flipH="1">
              <a:off x="5932479" y="6187310"/>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364"/>
            <p:cNvSpPr/>
            <p:nvPr/>
          </p:nvSpPr>
          <p:spPr bwMode="auto">
            <a:xfrm>
              <a:off x="9664691" y="7374760"/>
              <a:ext cx="303213" cy="209550"/>
            </a:xfrm>
            <a:custGeom>
              <a:gdLst>
                <a:gd name="T0" fmla="*/ 14 w 81"/>
                <a:gd name="T1" fmla="*/ 2 h 56"/>
                <a:gd name="T2" fmla="*/ 2 w 81"/>
                <a:gd name="T3" fmla="*/ 2 h 56"/>
                <a:gd name="T4" fmla="*/ 3 w 81"/>
                <a:gd name="T5" fmla="*/ 3 h 56"/>
                <a:gd name="T6" fmla="*/ 5 w 81"/>
                <a:gd name="T7" fmla="*/ 7 h 56"/>
                <a:gd name="T8" fmla="*/ 6 w 81"/>
                <a:gd name="T9" fmla="*/ 10 h 56"/>
                <a:gd name="T10" fmla="*/ 5 w 81"/>
                <a:gd name="T11" fmla="*/ 13 h 56"/>
                <a:gd name="T12" fmla="*/ 7 w 81"/>
                <a:gd name="T13" fmla="*/ 14 h 56"/>
                <a:gd name="T14" fmla="*/ 8 w 81"/>
                <a:gd name="T15" fmla="*/ 15 h 56"/>
                <a:gd name="T16" fmla="*/ 4 w 81"/>
                <a:gd name="T17" fmla="*/ 26 h 56"/>
                <a:gd name="T18" fmla="*/ 4 w 81"/>
                <a:gd name="T19" fmla="*/ 29 h 56"/>
                <a:gd name="T20" fmla="*/ 4 w 81"/>
                <a:gd name="T21" fmla="*/ 30 h 56"/>
                <a:gd name="T22" fmla="*/ 0 w 81"/>
                <a:gd name="T23" fmla="*/ 33 h 56"/>
                <a:gd name="T24" fmla="*/ 2 w 81"/>
                <a:gd name="T25" fmla="*/ 35 h 56"/>
                <a:gd name="T26" fmla="*/ 5 w 81"/>
                <a:gd name="T27" fmla="*/ 40 h 56"/>
                <a:gd name="T28" fmla="*/ 4 w 81"/>
                <a:gd name="T29" fmla="*/ 43 h 56"/>
                <a:gd name="T30" fmla="*/ 3 w 81"/>
                <a:gd name="T31" fmla="*/ 46 h 56"/>
                <a:gd name="T32" fmla="*/ 3 w 81"/>
                <a:gd name="T33" fmla="*/ 47 h 56"/>
                <a:gd name="T34" fmla="*/ 4 w 81"/>
                <a:gd name="T35" fmla="*/ 52 h 56"/>
                <a:gd name="T36" fmla="*/ 9 w 81"/>
                <a:gd name="T37" fmla="*/ 56 h 56"/>
                <a:gd name="T38" fmla="*/ 11 w 81"/>
                <a:gd name="T39" fmla="*/ 52 h 56"/>
                <a:gd name="T40" fmla="*/ 18 w 81"/>
                <a:gd name="T41" fmla="*/ 39 h 56"/>
                <a:gd name="T42" fmla="*/ 19 w 81"/>
                <a:gd name="T43" fmla="*/ 39 h 56"/>
                <a:gd name="T44" fmla="*/ 22 w 81"/>
                <a:gd name="T45" fmla="*/ 39 h 56"/>
                <a:gd name="T46" fmla="*/ 27 w 81"/>
                <a:gd name="T47" fmla="*/ 36 h 56"/>
                <a:gd name="T48" fmla="*/ 29 w 81"/>
                <a:gd name="T49" fmla="*/ 39 h 56"/>
                <a:gd name="T50" fmla="*/ 36 w 81"/>
                <a:gd name="T51" fmla="*/ 40 h 56"/>
                <a:gd name="T52" fmla="*/ 47 w 81"/>
                <a:gd name="T53" fmla="*/ 35 h 56"/>
                <a:gd name="T54" fmla="*/ 59 w 81"/>
                <a:gd name="T55" fmla="*/ 37 h 56"/>
                <a:gd name="T56" fmla="*/ 65 w 81"/>
                <a:gd name="T57" fmla="*/ 36 h 56"/>
                <a:gd name="T58" fmla="*/ 74 w 81"/>
                <a:gd name="T59" fmla="*/ 41 h 56"/>
                <a:gd name="T60" fmla="*/ 80 w 81"/>
                <a:gd name="T61" fmla="*/ 35 h 56"/>
                <a:gd name="T62" fmla="*/ 75 w 81"/>
                <a:gd name="T63" fmla="*/ 26 h 56"/>
                <a:gd name="T64" fmla="*/ 56 w 81"/>
                <a:gd name="T65" fmla="*/ 21 h 56"/>
                <a:gd name="T66" fmla="*/ 53 w 81"/>
                <a:gd name="T67" fmla="*/ 17 h 56"/>
                <a:gd name="T68" fmla="*/ 61 w 81"/>
                <a:gd name="T69" fmla="*/ 13 h 56"/>
                <a:gd name="T70" fmla="*/ 58 w 81"/>
                <a:gd name="T71" fmla="*/ 15 h 56"/>
                <a:gd name="T72" fmla="*/ 53 w 81"/>
                <a:gd name="T73" fmla="*/ 15 h 56"/>
                <a:gd name="T74" fmla="*/ 49 w 81"/>
                <a:gd name="T75" fmla="*/ 16 h 56"/>
                <a:gd name="T76" fmla="*/ 45 w 81"/>
                <a:gd name="T77" fmla="*/ 7 h 56"/>
                <a:gd name="T78" fmla="*/ 41 w 81"/>
                <a:gd name="T79" fmla="*/ 7 h 56"/>
                <a:gd name="T80" fmla="*/ 23 w 81"/>
                <a:gd name="T81" fmla="*/ 1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56">
                  <a:moveTo>
                    <a:pt x="19" y="0"/>
                  </a:moveTo>
                  <a:cubicBezTo>
                    <a:pt x="18" y="0"/>
                    <a:pt x="17" y="1"/>
                    <a:pt x="14" y="2"/>
                  </a:cubicBezTo>
                  <a:cubicBezTo>
                    <a:pt x="11" y="2"/>
                    <a:pt x="7" y="1"/>
                    <a:pt x="4" y="1"/>
                  </a:cubicBezTo>
                  <a:cubicBezTo>
                    <a:pt x="4" y="2"/>
                    <a:pt x="3" y="1"/>
                    <a:pt x="2" y="2"/>
                  </a:cubicBezTo>
                  <a:cubicBezTo>
                    <a:pt x="2" y="3"/>
                    <a:pt x="2" y="3"/>
                    <a:pt x="2" y="4"/>
                  </a:cubicBezTo>
                  <a:cubicBezTo>
                    <a:pt x="3" y="3"/>
                    <a:pt x="3" y="3"/>
                    <a:pt x="3" y="3"/>
                  </a:cubicBezTo>
                  <a:cubicBezTo>
                    <a:pt x="4" y="5"/>
                    <a:pt x="4" y="5"/>
                    <a:pt x="4" y="5"/>
                  </a:cubicBezTo>
                  <a:cubicBezTo>
                    <a:pt x="4" y="6"/>
                    <a:pt x="5" y="7"/>
                    <a:pt x="5" y="7"/>
                  </a:cubicBezTo>
                  <a:cubicBezTo>
                    <a:pt x="5" y="8"/>
                    <a:pt x="5" y="8"/>
                    <a:pt x="5" y="8"/>
                  </a:cubicBezTo>
                  <a:cubicBezTo>
                    <a:pt x="5" y="9"/>
                    <a:pt x="5" y="10"/>
                    <a:pt x="6" y="10"/>
                  </a:cubicBezTo>
                  <a:cubicBezTo>
                    <a:pt x="5" y="12"/>
                    <a:pt x="5" y="13"/>
                    <a:pt x="5" y="13"/>
                  </a:cubicBezTo>
                  <a:cubicBezTo>
                    <a:pt x="5" y="13"/>
                    <a:pt x="5" y="13"/>
                    <a:pt x="5" y="13"/>
                  </a:cubicBezTo>
                  <a:cubicBezTo>
                    <a:pt x="6" y="14"/>
                    <a:pt x="6" y="14"/>
                    <a:pt x="6" y="14"/>
                  </a:cubicBezTo>
                  <a:cubicBezTo>
                    <a:pt x="7" y="14"/>
                    <a:pt x="7" y="14"/>
                    <a:pt x="7" y="14"/>
                  </a:cubicBezTo>
                  <a:cubicBezTo>
                    <a:pt x="7" y="15"/>
                    <a:pt x="7" y="15"/>
                    <a:pt x="7" y="15"/>
                  </a:cubicBezTo>
                  <a:cubicBezTo>
                    <a:pt x="8" y="15"/>
                    <a:pt x="8" y="15"/>
                    <a:pt x="8" y="15"/>
                  </a:cubicBezTo>
                  <a:cubicBezTo>
                    <a:pt x="7" y="18"/>
                    <a:pt x="7" y="18"/>
                    <a:pt x="7" y="18"/>
                  </a:cubicBezTo>
                  <a:cubicBezTo>
                    <a:pt x="4" y="26"/>
                    <a:pt x="4" y="26"/>
                    <a:pt x="4" y="26"/>
                  </a:cubicBezTo>
                  <a:cubicBezTo>
                    <a:pt x="5" y="27"/>
                    <a:pt x="5" y="27"/>
                    <a:pt x="5" y="28"/>
                  </a:cubicBezTo>
                  <a:cubicBezTo>
                    <a:pt x="4" y="29"/>
                    <a:pt x="4" y="29"/>
                    <a:pt x="4" y="29"/>
                  </a:cubicBezTo>
                  <a:cubicBezTo>
                    <a:pt x="4" y="31"/>
                    <a:pt x="4" y="31"/>
                    <a:pt x="4" y="31"/>
                  </a:cubicBezTo>
                  <a:cubicBezTo>
                    <a:pt x="4" y="30"/>
                    <a:pt x="4" y="30"/>
                    <a:pt x="4" y="30"/>
                  </a:cubicBezTo>
                  <a:cubicBezTo>
                    <a:pt x="3" y="31"/>
                    <a:pt x="3" y="31"/>
                    <a:pt x="3" y="31"/>
                  </a:cubicBezTo>
                  <a:cubicBezTo>
                    <a:pt x="2" y="32"/>
                    <a:pt x="1" y="32"/>
                    <a:pt x="0" y="33"/>
                  </a:cubicBezTo>
                  <a:cubicBezTo>
                    <a:pt x="1" y="33"/>
                    <a:pt x="1" y="34"/>
                    <a:pt x="2" y="34"/>
                  </a:cubicBezTo>
                  <a:cubicBezTo>
                    <a:pt x="2" y="35"/>
                    <a:pt x="2" y="35"/>
                    <a:pt x="2" y="35"/>
                  </a:cubicBezTo>
                  <a:cubicBezTo>
                    <a:pt x="3" y="35"/>
                    <a:pt x="3" y="35"/>
                    <a:pt x="3" y="35"/>
                  </a:cubicBezTo>
                  <a:cubicBezTo>
                    <a:pt x="5" y="37"/>
                    <a:pt x="5" y="39"/>
                    <a:pt x="5" y="40"/>
                  </a:cubicBezTo>
                  <a:cubicBezTo>
                    <a:pt x="5" y="41"/>
                    <a:pt x="5" y="41"/>
                    <a:pt x="5" y="41"/>
                  </a:cubicBezTo>
                  <a:cubicBezTo>
                    <a:pt x="4" y="42"/>
                    <a:pt x="4" y="43"/>
                    <a:pt x="4" y="43"/>
                  </a:cubicBezTo>
                  <a:cubicBezTo>
                    <a:pt x="4" y="44"/>
                    <a:pt x="4" y="44"/>
                    <a:pt x="4" y="44"/>
                  </a:cubicBezTo>
                  <a:cubicBezTo>
                    <a:pt x="3" y="46"/>
                    <a:pt x="3" y="46"/>
                    <a:pt x="3" y="46"/>
                  </a:cubicBezTo>
                  <a:cubicBezTo>
                    <a:pt x="3" y="46"/>
                    <a:pt x="3" y="46"/>
                    <a:pt x="3" y="46"/>
                  </a:cubicBezTo>
                  <a:cubicBezTo>
                    <a:pt x="3" y="47"/>
                    <a:pt x="3" y="47"/>
                    <a:pt x="3" y="47"/>
                  </a:cubicBezTo>
                  <a:cubicBezTo>
                    <a:pt x="2" y="47"/>
                    <a:pt x="2" y="47"/>
                    <a:pt x="2" y="47"/>
                  </a:cubicBezTo>
                  <a:cubicBezTo>
                    <a:pt x="2" y="49"/>
                    <a:pt x="3" y="51"/>
                    <a:pt x="4" y="52"/>
                  </a:cubicBezTo>
                  <a:cubicBezTo>
                    <a:pt x="4" y="51"/>
                    <a:pt x="4" y="51"/>
                    <a:pt x="4" y="51"/>
                  </a:cubicBezTo>
                  <a:cubicBezTo>
                    <a:pt x="5" y="53"/>
                    <a:pt x="7" y="56"/>
                    <a:pt x="9" y="56"/>
                  </a:cubicBezTo>
                  <a:cubicBezTo>
                    <a:pt x="9" y="56"/>
                    <a:pt x="9" y="56"/>
                    <a:pt x="10" y="55"/>
                  </a:cubicBezTo>
                  <a:cubicBezTo>
                    <a:pt x="11" y="55"/>
                    <a:pt x="11" y="53"/>
                    <a:pt x="11" y="52"/>
                  </a:cubicBezTo>
                  <a:cubicBezTo>
                    <a:pt x="13" y="50"/>
                    <a:pt x="14" y="48"/>
                    <a:pt x="15" y="45"/>
                  </a:cubicBezTo>
                  <a:cubicBezTo>
                    <a:pt x="15" y="44"/>
                    <a:pt x="16" y="39"/>
                    <a:pt x="18" y="39"/>
                  </a:cubicBezTo>
                  <a:cubicBezTo>
                    <a:pt x="18" y="39"/>
                    <a:pt x="18" y="39"/>
                    <a:pt x="18" y="39"/>
                  </a:cubicBezTo>
                  <a:cubicBezTo>
                    <a:pt x="18" y="39"/>
                    <a:pt x="19" y="39"/>
                    <a:pt x="19" y="39"/>
                  </a:cubicBezTo>
                  <a:cubicBezTo>
                    <a:pt x="19" y="40"/>
                    <a:pt x="20" y="40"/>
                    <a:pt x="20" y="40"/>
                  </a:cubicBezTo>
                  <a:cubicBezTo>
                    <a:pt x="21" y="40"/>
                    <a:pt x="21" y="39"/>
                    <a:pt x="22" y="39"/>
                  </a:cubicBezTo>
                  <a:cubicBezTo>
                    <a:pt x="23" y="38"/>
                    <a:pt x="26" y="36"/>
                    <a:pt x="27" y="36"/>
                  </a:cubicBezTo>
                  <a:cubicBezTo>
                    <a:pt x="27" y="36"/>
                    <a:pt x="27" y="36"/>
                    <a:pt x="27" y="36"/>
                  </a:cubicBezTo>
                  <a:cubicBezTo>
                    <a:pt x="28" y="36"/>
                    <a:pt x="29" y="36"/>
                    <a:pt x="29" y="37"/>
                  </a:cubicBezTo>
                  <a:cubicBezTo>
                    <a:pt x="29" y="37"/>
                    <a:pt x="29" y="39"/>
                    <a:pt x="29" y="39"/>
                  </a:cubicBezTo>
                  <a:cubicBezTo>
                    <a:pt x="29" y="40"/>
                    <a:pt x="32" y="40"/>
                    <a:pt x="32" y="40"/>
                  </a:cubicBezTo>
                  <a:cubicBezTo>
                    <a:pt x="34" y="40"/>
                    <a:pt x="35" y="40"/>
                    <a:pt x="36" y="40"/>
                  </a:cubicBezTo>
                  <a:cubicBezTo>
                    <a:pt x="38" y="40"/>
                    <a:pt x="39" y="40"/>
                    <a:pt x="41" y="38"/>
                  </a:cubicBezTo>
                  <a:cubicBezTo>
                    <a:pt x="43" y="36"/>
                    <a:pt x="45" y="35"/>
                    <a:pt x="47" y="35"/>
                  </a:cubicBezTo>
                  <a:cubicBezTo>
                    <a:pt x="51" y="35"/>
                    <a:pt x="55" y="36"/>
                    <a:pt x="58" y="37"/>
                  </a:cubicBezTo>
                  <a:cubicBezTo>
                    <a:pt x="58" y="37"/>
                    <a:pt x="58" y="37"/>
                    <a:pt x="59" y="37"/>
                  </a:cubicBezTo>
                  <a:cubicBezTo>
                    <a:pt x="59" y="37"/>
                    <a:pt x="61" y="36"/>
                    <a:pt x="62" y="36"/>
                  </a:cubicBezTo>
                  <a:cubicBezTo>
                    <a:pt x="63" y="36"/>
                    <a:pt x="64" y="36"/>
                    <a:pt x="65" y="36"/>
                  </a:cubicBezTo>
                  <a:cubicBezTo>
                    <a:pt x="66" y="36"/>
                    <a:pt x="67" y="36"/>
                    <a:pt x="68" y="37"/>
                  </a:cubicBezTo>
                  <a:cubicBezTo>
                    <a:pt x="70" y="37"/>
                    <a:pt x="72" y="40"/>
                    <a:pt x="74" y="41"/>
                  </a:cubicBezTo>
                  <a:cubicBezTo>
                    <a:pt x="74" y="39"/>
                    <a:pt x="76" y="39"/>
                    <a:pt x="78" y="38"/>
                  </a:cubicBezTo>
                  <a:cubicBezTo>
                    <a:pt x="78" y="38"/>
                    <a:pt x="79" y="35"/>
                    <a:pt x="80" y="35"/>
                  </a:cubicBezTo>
                  <a:cubicBezTo>
                    <a:pt x="81" y="31"/>
                    <a:pt x="81" y="31"/>
                    <a:pt x="79" y="29"/>
                  </a:cubicBezTo>
                  <a:cubicBezTo>
                    <a:pt x="77" y="28"/>
                    <a:pt x="76" y="27"/>
                    <a:pt x="75" y="26"/>
                  </a:cubicBezTo>
                  <a:cubicBezTo>
                    <a:pt x="72" y="23"/>
                    <a:pt x="70" y="23"/>
                    <a:pt x="65" y="22"/>
                  </a:cubicBezTo>
                  <a:cubicBezTo>
                    <a:pt x="62" y="22"/>
                    <a:pt x="59" y="21"/>
                    <a:pt x="56" y="21"/>
                  </a:cubicBezTo>
                  <a:cubicBezTo>
                    <a:pt x="52" y="20"/>
                    <a:pt x="52" y="20"/>
                    <a:pt x="51" y="17"/>
                  </a:cubicBezTo>
                  <a:cubicBezTo>
                    <a:pt x="52" y="17"/>
                    <a:pt x="53" y="17"/>
                    <a:pt x="53" y="17"/>
                  </a:cubicBezTo>
                  <a:cubicBezTo>
                    <a:pt x="56" y="17"/>
                    <a:pt x="60" y="16"/>
                    <a:pt x="62" y="15"/>
                  </a:cubicBezTo>
                  <a:cubicBezTo>
                    <a:pt x="61" y="14"/>
                    <a:pt x="61" y="13"/>
                    <a:pt x="61" y="13"/>
                  </a:cubicBezTo>
                  <a:cubicBezTo>
                    <a:pt x="60" y="13"/>
                    <a:pt x="59" y="15"/>
                    <a:pt x="58" y="15"/>
                  </a:cubicBezTo>
                  <a:cubicBezTo>
                    <a:pt x="58" y="15"/>
                    <a:pt x="58" y="15"/>
                    <a:pt x="58" y="15"/>
                  </a:cubicBezTo>
                  <a:cubicBezTo>
                    <a:pt x="57" y="15"/>
                    <a:pt x="56" y="15"/>
                    <a:pt x="55" y="15"/>
                  </a:cubicBezTo>
                  <a:cubicBezTo>
                    <a:pt x="55" y="15"/>
                    <a:pt x="54" y="15"/>
                    <a:pt x="53" y="15"/>
                  </a:cubicBezTo>
                  <a:cubicBezTo>
                    <a:pt x="53" y="15"/>
                    <a:pt x="53" y="15"/>
                    <a:pt x="52" y="15"/>
                  </a:cubicBezTo>
                  <a:cubicBezTo>
                    <a:pt x="52" y="15"/>
                    <a:pt x="50" y="16"/>
                    <a:pt x="49" y="16"/>
                  </a:cubicBezTo>
                  <a:cubicBezTo>
                    <a:pt x="49" y="16"/>
                    <a:pt x="49" y="15"/>
                    <a:pt x="49" y="15"/>
                  </a:cubicBezTo>
                  <a:cubicBezTo>
                    <a:pt x="47" y="14"/>
                    <a:pt x="47" y="9"/>
                    <a:pt x="45" y="7"/>
                  </a:cubicBezTo>
                  <a:cubicBezTo>
                    <a:pt x="44" y="6"/>
                    <a:pt x="44" y="6"/>
                    <a:pt x="43" y="6"/>
                  </a:cubicBezTo>
                  <a:cubicBezTo>
                    <a:pt x="43" y="6"/>
                    <a:pt x="42" y="6"/>
                    <a:pt x="41" y="7"/>
                  </a:cubicBezTo>
                  <a:cubicBezTo>
                    <a:pt x="40" y="7"/>
                    <a:pt x="40" y="7"/>
                    <a:pt x="39" y="7"/>
                  </a:cubicBezTo>
                  <a:cubicBezTo>
                    <a:pt x="35" y="7"/>
                    <a:pt x="27" y="2"/>
                    <a:pt x="23" y="1"/>
                  </a:cubicBezTo>
                  <a:cubicBezTo>
                    <a:pt x="21" y="0"/>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365"/>
            <p:cNvSpPr/>
            <p:nvPr/>
          </p:nvSpPr>
          <p:spPr bwMode="auto">
            <a:xfrm>
              <a:off x="9431329" y="7369997"/>
              <a:ext cx="233363" cy="177800"/>
            </a:xfrm>
            <a:custGeom>
              <a:gdLst>
                <a:gd name="T0" fmla="*/ 31 w 62"/>
                <a:gd name="T1" fmla="*/ 2 h 47"/>
                <a:gd name="T2" fmla="*/ 31 w 62"/>
                <a:gd name="T3" fmla="*/ 8 h 47"/>
                <a:gd name="T4" fmla="*/ 31 w 62"/>
                <a:gd name="T5" fmla="*/ 8 h 47"/>
                <a:gd name="T6" fmla="*/ 38 w 62"/>
                <a:gd name="T7" fmla="*/ 10 h 47"/>
                <a:gd name="T8" fmla="*/ 39 w 62"/>
                <a:gd name="T9" fmla="*/ 11 h 47"/>
                <a:gd name="T10" fmla="*/ 40 w 62"/>
                <a:gd name="T11" fmla="*/ 13 h 47"/>
                <a:gd name="T12" fmla="*/ 41 w 62"/>
                <a:gd name="T13" fmla="*/ 13 h 47"/>
                <a:gd name="T14" fmla="*/ 40 w 62"/>
                <a:gd name="T15" fmla="*/ 17 h 47"/>
                <a:gd name="T16" fmla="*/ 42 w 62"/>
                <a:gd name="T17" fmla="*/ 22 h 47"/>
                <a:gd name="T18" fmla="*/ 50 w 62"/>
                <a:gd name="T19" fmla="*/ 31 h 47"/>
                <a:gd name="T20" fmla="*/ 49 w 62"/>
                <a:gd name="T21" fmla="*/ 34 h 47"/>
                <a:gd name="T22" fmla="*/ 49 w 62"/>
                <a:gd name="T23" fmla="*/ 34 h 47"/>
                <a:gd name="T24" fmla="*/ 45 w 62"/>
                <a:gd name="T25" fmla="*/ 34 h 47"/>
                <a:gd name="T26" fmla="*/ 45 w 62"/>
                <a:gd name="T27" fmla="*/ 34 h 47"/>
                <a:gd name="T28" fmla="*/ 40 w 62"/>
                <a:gd name="T29" fmla="*/ 37 h 47"/>
                <a:gd name="T30" fmla="*/ 26 w 62"/>
                <a:gd name="T31" fmla="*/ 35 h 47"/>
                <a:gd name="T32" fmla="*/ 24 w 62"/>
                <a:gd name="T33" fmla="*/ 35 h 47"/>
                <a:gd name="T34" fmla="*/ 8 w 62"/>
                <a:gd name="T35" fmla="*/ 32 h 47"/>
                <a:gd name="T36" fmla="*/ 7 w 62"/>
                <a:gd name="T37" fmla="*/ 31 h 47"/>
                <a:gd name="T38" fmla="*/ 5 w 62"/>
                <a:gd name="T39" fmla="*/ 31 h 47"/>
                <a:gd name="T40" fmla="*/ 3 w 62"/>
                <a:gd name="T41" fmla="*/ 39 h 47"/>
                <a:gd name="T42" fmla="*/ 5 w 62"/>
                <a:gd name="T43" fmla="*/ 40 h 47"/>
                <a:gd name="T44" fmla="*/ 23 w 62"/>
                <a:gd name="T45" fmla="*/ 41 h 47"/>
                <a:gd name="T46" fmla="*/ 41 w 62"/>
                <a:gd name="T47" fmla="*/ 44 h 47"/>
                <a:gd name="T48" fmla="*/ 53 w 62"/>
                <a:gd name="T49" fmla="*/ 42 h 47"/>
                <a:gd name="T50" fmla="*/ 55 w 62"/>
                <a:gd name="T51" fmla="*/ 42 h 47"/>
                <a:gd name="T52" fmla="*/ 60 w 62"/>
                <a:gd name="T53" fmla="*/ 44 h 47"/>
                <a:gd name="T54" fmla="*/ 61 w 62"/>
                <a:gd name="T55" fmla="*/ 41 h 47"/>
                <a:gd name="T56" fmla="*/ 60 w 62"/>
                <a:gd name="T57" fmla="*/ 40 h 47"/>
                <a:gd name="T58" fmla="*/ 56 w 62"/>
                <a:gd name="T59" fmla="*/ 31 h 47"/>
                <a:gd name="T60" fmla="*/ 58 w 62"/>
                <a:gd name="T61" fmla="*/ 29 h 47"/>
                <a:gd name="T62" fmla="*/ 60 w 62"/>
                <a:gd name="T63" fmla="*/ 28 h 47"/>
                <a:gd name="T64" fmla="*/ 57 w 62"/>
                <a:gd name="T65" fmla="*/ 24 h 47"/>
                <a:gd name="T66" fmla="*/ 59 w 62"/>
                <a:gd name="T67" fmla="*/ 22 h 47"/>
                <a:gd name="T68" fmla="*/ 60 w 62"/>
                <a:gd name="T69" fmla="*/ 20 h 47"/>
                <a:gd name="T70" fmla="*/ 62 w 62"/>
                <a:gd name="T71" fmla="*/ 19 h 47"/>
                <a:gd name="T72" fmla="*/ 61 w 62"/>
                <a:gd name="T73" fmla="*/ 14 h 47"/>
                <a:gd name="T74" fmla="*/ 62 w 62"/>
                <a:gd name="T75" fmla="*/ 12 h 47"/>
                <a:gd name="T76" fmla="*/ 60 w 62"/>
                <a:gd name="T77" fmla="*/ 7 h 47"/>
                <a:gd name="T78" fmla="*/ 60 w 62"/>
                <a:gd name="T79" fmla="*/ 6 h 47"/>
                <a:gd name="T80" fmla="*/ 53 w 62"/>
                <a:gd name="T81" fmla="*/ 5 h 47"/>
                <a:gd name="T82" fmla="*/ 52 w 62"/>
                <a:gd name="T83" fmla="*/ 5 h 47"/>
                <a:gd name="T84" fmla="*/ 43 w 62"/>
                <a:gd name="T85" fmla="*/ 1 h 47"/>
                <a:gd name="T86" fmla="*/ 39 w 62"/>
                <a:gd name="T87"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47">
                  <a:moveTo>
                    <a:pt x="39" y="0"/>
                  </a:moveTo>
                  <a:cubicBezTo>
                    <a:pt x="36" y="0"/>
                    <a:pt x="33" y="1"/>
                    <a:pt x="31" y="2"/>
                  </a:cubicBezTo>
                  <a:cubicBezTo>
                    <a:pt x="28" y="3"/>
                    <a:pt x="27" y="4"/>
                    <a:pt x="24" y="6"/>
                  </a:cubicBezTo>
                  <a:cubicBezTo>
                    <a:pt x="27" y="7"/>
                    <a:pt x="28" y="8"/>
                    <a:pt x="31" y="8"/>
                  </a:cubicBezTo>
                  <a:cubicBezTo>
                    <a:pt x="31" y="8"/>
                    <a:pt x="31" y="8"/>
                    <a:pt x="31" y="8"/>
                  </a:cubicBezTo>
                  <a:cubicBezTo>
                    <a:pt x="31" y="8"/>
                    <a:pt x="31" y="8"/>
                    <a:pt x="31" y="8"/>
                  </a:cubicBezTo>
                  <a:cubicBezTo>
                    <a:pt x="34" y="8"/>
                    <a:pt x="36" y="9"/>
                    <a:pt x="38" y="10"/>
                  </a:cubicBezTo>
                  <a:cubicBezTo>
                    <a:pt x="38" y="10"/>
                    <a:pt x="38" y="10"/>
                    <a:pt x="38" y="10"/>
                  </a:cubicBezTo>
                  <a:cubicBezTo>
                    <a:pt x="38" y="11"/>
                    <a:pt x="38" y="11"/>
                    <a:pt x="38" y="11"/>
                  </a:cubicBezTo>
                  <a:cubicBezTo>
                    <a:pt x="39" y="11"/>
                    <a:pt x="39" y="11"/>
                    <a:pt x="39" y="11"/>
                  </a:cubicBezTo>
                  <a:cubicBezTo>
                    <a:pt x="40" y="12"/>
                    <a:pt x="40" y="12"/>
                    <a:pt x="40" y="12"/>
                  </a:cubicBezTo>
                  <a:cubicBezTo>
                    <a:pt x="40" y="13"/>
                    <a:pt x="40" y="13"/>
                    <a:pt x="40" y="13"/>
                  </a:cubicBezTo>
                  <a:cubicBezTo>
                    <a:pt x="41" y="13"/>
                    <a:pt x="41" y="13"/>
                    <a:pt x="41" y="13"/>
                  </a:cubicBezTo>
                  <a:cubicBezTo>
                    <a:pt x="41" y="13"/>
                    <a:pt x="41" y="13"/>
                    <a:pt x="41" y="13"/>
                  </a:cubicBezTo>
                  <a:cubicBezTo>
                    <a:pt x="41" y="14"/>
                    <a:pt x="41" y="14"/>
                    <a:pt x="41" y="15"/>
                  </a:cubicBezTo>
                  <a:cubicBezTo>
                    <a:pt x="42" y="17"/>
                    <a:pt x="40" y="16"/>
                    <a:pt x="40" y="17"/>
                  </a:cubicBezTo>
                  <a:cubicBezTo>
                    <a:pt x="40" y="19"/>
                    <a:pt x="41" y="21"/>
                    <a:pt x="42" y="22"/>
                  </a:cubicBezTo>
                  <a:cubicBezTo>
                    <a:pt x="42" y="22"/>
                    <a:pt x="42" y="22"/>
                    <a:pt x="42" y="22"/>
                  </a:cubicBezTo>
                  <a:cubicBezTo>
                    <a:pt x="42" y="23"/>
                    <a:pt x="42" y="23"/>
                    <a:pt x="42" y="23"/>
                  </a:cubicBezTo>
                  <a:cubicBezTo>
                    <a:pt x="43" y="25"/>
                    <a:pt x="48" y="28"/>
                    <a:pt x="50" y="31"/>
                  </a:cubicBezTo>
                  <a:cubicBezTo>
                    <a:pt x="50" y="31"/>
                    <a:pt x="50" y="32"/>
                    <a:pt x="50" y="32"/>
                  </a:cubicBezTo>
                  <a:cubicBezTo>
                    <a:pt x="50" y="34"/>
                    <a:pt x="50" y="34"/>
                    <a:pt x="49" y="34"/>
                  </a:cubicBezTo>
                  <a:cubicBezTo>
                    <a:pt x="49" y="34"/>
                    <a:pt x="49" y="34"/>
                    <a:pt x="49" y="34"/>
                  </a:cubicBezTo>
                  <a:cubicBezTo>
                    <a:pt x="49" y="34"/>
                    <a:pt x="49" y="34"/>
                    <a:pt x="49" y="34"/>
                  </a:cubicBezTo>
                  <a:cubicBezTo>
                    <a:pt x="48" y="34"/>
                    <a:pt x="47" y="34"/>
                    <a:pt x="47" y="34"/>
                  </a:cubicBezTo>
                  <a:cubicBezTo>
                    <a:pt x="46" y="34"/>
                    <a:pt x="46" y="34"/>
                    <a:pt x="45" y="34"/>
                  </a:cubicBezTo>
                  <a:cubicBezTo>
                    <a:pt x="45" y="34"/>
                    <a:pt x="45" y="34"/>
                    <a:pt x="45" y="34"/>
                  </a:cubicBezTo>
                  <a:cubicBezTo>
                    <a:pt x="45" y="34"/>
                    <a:pt x="45" y="34"/>
                    <a:pt x="45" y="34"/>
                  </a:cubicBezTo>
                  <a:cubicBezTo>
                    <a:pt x="45" y="35"/>
                    <a:pt x="44" y="35"/>
                    <a:pt x="43" y="36"/>
                  </a:cubicBezTo>
                  <a:cubicBezTo>
                    <a:pt x="42" y="36"/>
                    <a:pt x="41" y="37"/>
                    <a:pt x="40" y="37"/>
                  </a:cubicBezTo>
                  <a:cubicBezTo>
                    <a:pt x="39" y="37"/>
                    <a:pt x="39" y="37"/>
                    <a:pt x="39" y="36"/>
                  </a:cubicBezTo>
                  <a:cubicBezTo>
                    <a:pt x="34" y="36"/>
                    <a:pt x="30" y="35"/>
                    <a:pt x="26" y="35"/>
                  </a:cubicBezTo>
                  <a:cubicBezTo>
                    <a:pt x="25" y="35"/>
                    <a:pt x="25" y="35"/>
                    <a:pt x="25" y="35"/>
                  </a:cubicBezTo>
                  <a:cubicBezTo>
                    <a:pt x="25" y="35"/>
                    <a:pt x="24" y="35"/>
                    <a:pt x="24" y="35"/>
                  </a:cubicBezTo>
                  <a:cubicBezTo>
                    <a:pt x="21" y="35"/>
                    <a:pt x="18" y="35"/>
                    <a:pt x="15" y="34"/>
                  </a:cubicBezTo>
                  <a:cubicBezTo>
                    <a:pt x="12" y="33"/>
                    <a:pt x="10" y="32"/>
                    <a:pt x="8" y="32"/>
                  </a:cubicBezTo>
                  <a:cubicBezTo>
                    <a:pt x="8" y="31"/>
                    <a:pt x="8" y="31"/>
                    <a:pt x="8" y="31"/>
                  </a:cubicBezTo>
                  <a:cubicBezTo>
                    <a:pt x="7" y="31"/>
                    <a:pt x="7" y="31"/>
                    <a:pt x="7" y="31"/>
                  </a:cubicBezTo>
                  <a:cubicBezTo>
                    <a:pt x="6" y="31"/>
                    <a:pt x="6" y="31"/>
                    <a:pt x="6" y="31"/>
                  </a:cubicBezTo>
                  <a:cubicBezTo>
                    <a:pt x="6" y="31"/>
                    <a:pt x="6" y="31"/>
                    <a:pt x="5" y="31"/>
                  </a:cubicBezTo>
                  <a:cubicBezTo>
                    <a:pt x="4" y="31"/>
                    <a:pt x="3" y="31"/>
                    <a:pt x="2" y="32"/>
                  </a:cubicBezTo>
                  <a:cubicBezTo>
                    <a:pt x="1" y="34"/>
                    <a:pt x="0" y="38"/>
                    <a:pt x="3" y="39"/>
                  </a:cubicBezTo>
                  <a:cubicBezTo>
                    <a:pt x="3" y="39"/>
                    <a:pt x="4" y="39"/>
                    <a:pt x="4" y="39"/>
                  </a:cubicBezTo>
                  <a:cubicBezTo>
                    <a:pt x="5" y="40"/>
                    <a:pt x="5" y="40"/>
                    <a:pt x="5" y="40"/>
                  </a:cubicBezTo>
                  <a:cubicBezTo>
                    <a:pt x="9" y="41"/>
                    <a:pt x="11" y="43"/>
                    <a:pt x="15" y="47"/>
                  </a:cubicBezTo>
                  <a:cubicBezTo>
                    <a:pt x="15" y="42"/>
                    <a:pt x="19" y="41"/>
                    <a:pt x="23" y="41"/>
                  </a:cubicBezTo>
                  <a:cubicBezTo>
                    <a:pt x="29" y="41"/>
                    <a:pt x="37" y="43"/>
                    <a:pt x="40" y="44"/>
                  </a:cubicBezTo>
                  <a:cubicBezTo>
                    <a:pt x="40" y="44"/>
                    <a:pt x="41" y="44"/>
                    <a:pt x="41" y="44"/>
                  </a:cubicBezTo>
                  <a:cubicBezTo>
                    <a:pt x="43" y="44"/>
                    <a:pt x="45" y="43"/>
                    <a:pt x="47" y="43"/>
                  </a:cubicBezTo>
                  <a:cubicBezTo>
                    <a:pt x="49" y="42"/>
                    <a:pt x="51" y="42"/>
                    <a:pt x="53" y="42"/>
                  </a:cubicBezTo>
                  <a:cubicBezTo>
                    <a:pt x="53" y="42"/>
                    <a:pt x="53" y="42"/>
                    <a:pt x="53" y="42"/>
                  </a:cubicBezTo>
                  <a:cubicBezTo>
                    <a:pt x="54" y="42"/>
                    <a:pt x="55" y="42"/>
                    <a:pt x="55" y="42"/>
                  </a:cubicBezTo>
                  <a:cubicBezTo>
                    <a:pt x="56" y="42"/>
                    <a:pt x="56" y="42"/>
                    <a:pt x="56" y="42"/>
                  </a:cubicBezTo>
                  <a:cubicBezTo>
                    <a:pt x="58" y="42"/>
                    <a:pt x="59" y="43"/>
                    <a:pt x="60" y="44"/>
                  </a:cubicBezTo>
                  <a:cubicBezTo>
                    <a:pt x="60" y="43"/>
                    <a:pt x="61" y="43"/>
                    <a:pt x="61" y="42"/>
                  </a:cubicBezTo>
                  <a:cubicBezTo>
                    <a:pt x="61" y="42"/>
                    <a:pt x="61" y="41"/>
                    <a:pt x="61" y="41"/>
                  </a:cubicBezTo>
                  <a:cubicBezTo>
                    <a:pt x="61" y="41"/>
                    <a:pt x="61" y="40"/>
                    <a:pt x="61" y="40"/>
                  </a:cubicBezTo>
                  <a:cubicBezTo>
                    <a:pt x="60" y="40"/>
                    <a:pt x="60" y="40"/>
                    <a:pt x="60" y="40"/>
                  </a:cubicBezTo>
                  <a:cubicBezTo>
                    <a:pt x="58" y="38"/>
                    <a:pt x="55" y="36"/>
                    <a:pt x="55" y="33"/>
                  </a:cubicBezTo>
                  <a:cubicBezTo>
                    <a:pt x="55" y="32"/>
                    <a:pt x="55" y="31"/>
                    <a:pt x="56" y="31"/>
                  </a:cubicBezTo>
                  <a:cubicBezTo>
                    <a:pt x="55" y="30"/>
                    <a:pt x="55" y="30"/>
                    <a:pt x="55" y="30"/>
                  </a:cubicBezTo>
                  <a:cubicBezTo>
                    <a:pt x="58" y="29"/>
                    <a:pt x="58" y="29"/>
                    <a:pt x="58" y="29"/>
                  </a:cubicBezTo>
                  <a:cubicBezTo>
                    <a:pt x="59" y="29"/>
                    <a:pt x="60" y="28"/>
                    <a:pt x="61" y="28"/>
                  </a:cubicBezTo>
                  <a:cubicBezTo>
                    <a:pt x="60" y="28"/>
                    <a:pt x="60" y="28"/>
                    <a:pt x="60" y="28"/>
                  </a:cubicBezTo>
                  <a:cubicBezTo>
                    <a:pt x="59" y="27"/>
                    <a:pt x="59" y="26"/>
                    <a:pt x="58" y="25"/>
                  </a:cubicBezTo>
                  <a:cubicBezTo>
                    <a:pt x="57" y="24"/>
                    <a:pt x="57" y="24"/>
                    <a:pt x="57" y="24"/>
                  </a:cubicBezTo>
                  <a:cubicBezTo>
                    <a:pt x="59" y="22"/>
                    <a:pt x="59" y="22"/>
                    <a:pt x="59" y="22"/>
                  </a:cubicBezTo>
                  <a:cubicBezTo>
                    <a:pt x="59" y="22"/>
                    <a:pt x="59" y="22"/>
                    <a:pt x="59" y="22"/>
                  </a:cubicBezTo>
                  <a:cubicBezTo>
                    <a:pt x="60" y="21"/>
                    <a:pt x="60" y="21"/>
                    <a:pt x="60" y="21"/>
                  </a:cubicBezTo>
                  <a:cubicBezTo>
                    <a:pt x="60" y="20"/>
                    <a:pt x="60" y="20"/>
                    <a:pt x="60" y="20"/>
                  </a:cubicBezTo>
                  <a:cubicBezTo>
                    <a:pt x="61" y="20"/>
                    <a:pt x="61" y="19"/>
                    <a:pt x="62" y="19"/>
                  </a:cubicBezTo>
                  <a:cubicBezTo>
                    <a:pt x="62" y="19"/>
                    <a:pt x="62" y="19"/>
                    <a:pt x="62" y="19"/>
                  </a:cubicBezTo>
                  <a:cubicBezTo>
                    <a:pt x="62" y="18"/>
                    <a:pt x="61" y="18"/>
                    <a:pt x="61" y="17"/>
                  </a:cubicBezTo>
                  <a:cubicBezTo>
                    <a:pt x="61" y="16"/>
                    <a:pt x="61" y="15"/>
                    <a:pt x="61" y="14"/>
                  </a:cubicBezTo>
                  <a:cubicBezTo>
                    <a:pt x="61" y="14"/>
                    <a:pt x="61" y="14"/>
                    <a:pt x="62" y="13"/>
                  </a:cubicBezTo>
                  <a:cubicBezTo>
                    <a:pt x="62" y="13"/>
                    <a:pt x="62" y="12"/>
                    <a:pt x="62" y="12"/>
                  </a:cubicBezTo>
                  <a:cubicBezTo>
                    <a:pt x="62" y="11"/>
                    <a:pt x="62" y="11"/>
                    <a:pt x="62" y="10"/>
                  </a:cubicBezTo>
                  <a:cubicBezTo>
                    <a:pt x="61" y="9"/>
                    <a:pt x="61" y="8"/>
                    <a:pt x="60" y="7"/>
                  </a:cubicBezTo>
                  <a:cubicBezTo>
                    <a:pt x="60" y="6"/>
                    <a:pt x="60" y="6"/>
                    <a:pt x="60" y="6"/>
                  </a:cubicBezTo>
                  <a:cubicBezTo>
                    <a:pt x="60" y="6"/>
                    <a:pt x="60" y="6"/>
                    <a:pt x="60" y="6"/>
                  </a:cubicBezTo>
                  <a:cubicBezTo>
                    <a:pt x="60" y="6"/>
                    <a:pt x="60" y="6"/>
                    <a:pt x="60" y="6"/>
                  </a:cubicBezTo>
                  <a:cubicBezTo>
                    <a:pt x="58" y="6"/>
                    <a:pt x="56" y="6"/>
                    <a:pt x="53" y="5"/>
                  </a:cubicBezTo>
                  <a:cubicBezTo>
                    <a:pt x="53" y="5"/>
                    <a:pt x="53" y="5"/>
                    <a:pt x="53" y="5"/>
                  </a:cubicBezTo>
                  <a:cubicBezTo>
                    <a:pt x="52" y="5"/>
                    <a:pt x="52" y="5"/>
                    <a:pt x="52" y="5"/>
                  </a:cubicBezTo>
                  <a:cubicBezTo>
                    <a:pt x="51" y="5"/>
                    <a:pt x="50" y="5"/>
                    <a:pt x="50" y="5"/>
                  </a:cubicBezTo>
                  <a:cubicBezTo>
                    <a:pt x="48" y="3"/>
                    <a:pt x="45" y="2"/>
                    <a:pt x="43" y="1"/>
                  </a:cubicBezTo>
                  <a:cubicBezTo>
                    <a:pt x="42" y="1"/>
                    <a:pt x="41" y="1"/>
                    <a:pt x="40" y="0"/>
                  </a:cubicBezTo>
                  <a:cubicBezTo>
                    <a:pt x="40" y="0"/>
                    <a:pt x="40"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366"/>
            <p:cNvSpPr>
              <a:spLocks noChangeArrowheads="1"/>
            </p:cNvSpPr>
            <p:nvPr/>
          </p:nvSpPr>
          <p:spPr bwMode="auto">
            <a:xfrm>
              <a:off x="9664691" y="7476360"/>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67"/>
            <p:cNvSpPr/>
            <p:nvPr/>
          </p:nvSpPr>
          <p:spPr bwMode="auto">
            <a:xfrm flipH="1">
              <a:off x="9664691" y="7476360"/>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68"/>
            <p:cNvSpPr/>
            <p:nvPr/>
          </p:nvSpPr>
          <p:spPr bwMode="auto">
            <a:xfrm>
              <a:off x="8158154" y="7512872"/>
              <a:ext cx="87313" cy="222250"/>
            </a:xfrm>
            <a:custGeom>
              <a:gdLst>
                <a:gd name="T0" fmla="*/ 23 w 23"/>
                <a:gd name="T1" fmla="*/ 0 h 59"/>
                <a:gd name="T2" fmla="*/ 22 w 23"/>
                <a:gd name="T3" fmla="*/ 1 h 59"/>
                <a:gd name="T4" fmla="*/ 21 w 23"/>
                <a:gd name="T5" fmla="*/ 1 h 59"/>
                <a:gd name="T6" fmla="*/ 20 w 23"/>
                <a:gd name="T7" fmla="*/ 1 h 59"/>
                <a:gd name="T8" fmla="*/ 20 w 23"/>
                <a:gd name="T9" fmla="*/ 1 h 59"/>
                <a:gd name="T10" fmla="*/ 20 w 23"/>
                <a:gd name="T11" fmla="*/ 1 h 59"/>
                <a:gd name="T12" fmla="*/ 20 w 23"/>
                <a:gd name="T13" fmla="*/ 1 h 59"/>
                <a:gd name="T14" fmla="*/ 19 w 23"/>
                <a:gd name="T15" fmla="*/ 1 h 59"/>
                <a:gd name="T16" fmla="*/ 18 w 23"/>
                <a:gd name="T17" fmla="*/ 1 h 59"/>
                <a:gd name="T18" fmla="*/ 18 w 23"/>
                <a:gd name="T19" fmla="*/ 0 h 59"/>
                <a:gd name="T20" fmla="*/ 17 w 23"/>
                <a:gd name="T21" fmla="*/ 0 h 59"/>
                <a:gd name="T22" fmla="*/ 15 w 23"/>
                <a:gd name="T23" fmla="*/ 2 h 59"/>
                <a:gd name="T24" fmla="*/ 14 w 23"/>
                <a:gd name="T25" fmla="*/ 5 h 59"/>
                <a:gd name="T26" fmla="*/ 12 w 23"/>
                <a:gd name="T27" fmla="*/ 9 h 59"/>
                <a:gd name="T28" fmla="*/ 8 w 23"/>
                <a:gd name="T29" fmla="*/ 13 h 59"/>
                <a:gd name="T30" fmla="*/ 5 w 23"/>
                <a:gd name="T31" fmla="*/ 14 h 59"/>
                <a:gd name="T32" fmla="*/ 5 w 23"/>
                <a:gd name="T33" fmla="*/ 14 h 59"/>
                <a:gd name="T34" fmla="*/ 5 w 23"/>
                <a:gd name="T35" fmla="*/ 14 h 59"/>
                <a:gd name="T36" fmla="*/ 3 w 23"/>
                <a:gd name="T37" fmla="*/ 13 h 59"/>
                <a:gd name="T38" fmla="*/ 2 w 23"/>
                <a:gd name="T39" fmla="*/ 13 h 59"/>
                <a:gd name="T40" fmla="*/ 2 w 23"/>
                <a:gd name="T41" fmla="*/ 13 h 59"/>
                <a:gd name="T42" fmla="*/ 2 w 23"/>
                <a:gd name="T43" fmla="*/ 14 h 59"/>
                <a:gd name="T44" fmla="*/ 2 w 23"/>
                <a:gd name="T45" fmla="*/ 14 h 59"/>
                <a:gd name="T46" fmla="*/ 2 w 23"/>
                <a:gd name="T47" fmla="*/ 15 h 59"/>
                <a:gd name="T48" fmla="*/ 2 w 23"/>
                <a:gd name="T49" fmla="*/ 18 h 59"/>
                <a:gd name="T50" fmla="*/ 2 w 23"/>
                <a:gd name="T51" fmla="*/ 22 h 59"/>
                <a:gd name="T52" fmla="*/ 2 w 23"/>
                <a:gd name="T53" fmla="*/ 29 h 59"/>
                <a:gd name="T54" fmla="*/ 0 w 23"/>
                <a:gd name="T55" fmla="*/ 57 h 59"/>
                <a:gd name="T56" fmla="*/ 1 w 23"/>
                <a:gd name="T57" fmla="*/ 57 h 59"/>
                <a:gd name="T58" fmla="*/ 4 w 23"/>
                <a:gd name="T59" fmla="*/ 56 h 59"/>
                <a:gd name="T60" fmla="*/ 5 w 23"/>
                <a:gd name="T61" fmla="*/ 56 h 59"/>
                <a:gd name="T62" fmla="*/ 5 w 23"/>
                <a:gd name="T63" fmla="*/ 59 h 59"/>
                <a:gd name="T64" fmla="*/ 5 w 23"/>
                <a:gd name="T65" fmla="*/ 58 h 59"/>
                <a:gd name="T66" fmla="*/ 14 w 23"/>
                <a:gd name="T67" fmla="*/ 49 h 59"/>
                <a:gd name="T68" fmla="*/ 17 w 23"/>
                <a:gd name="T69" fmla="*/ 43 h 59"/>
                <a:gd name="T70" fmla="*/ 21 w 23"/>
                <a:gd name="T71" fmla="*/ 34 h 59"/>
                <a:gd name="T72" fmla="*/ 19 w 23"/>
                <a:gd name="T73" fmla="*/ 29 h 59"/>
                <a:gd name="T74" fmla="*/ 21 w 23"/>
                <a:gd name="T75" fmla="*/ 16 h 59"/>
                <a:gd name="T76" fmla="*/ 23 w 23"/>
                <a:gd name="T77" fmla="*/ 0 h 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 h="59">
                  <a:moveTo>
                    <a:pt x="23" y="0"/>
                  </a:moveTo>
                  <a:cubicBezTo>
                    <a:pt x="23" y="1"/>
                    <a:pt x="22" y="1"/>
                    <a:pt x="22" y="1"/>
                  </a:cubicBezTo>
                  <a:cubicBezTo>
                    <a:pt x="22" y="1"/>
                    <a:pt x="22" y="1"/>
                    <a:pt x="21" y="1"/>
                  </a:cubicBezTo>
                  <a:cubicBezTo>
                    <a:pt x="21" y="1"/>
                    <a:pt x="21" y="1"/>
                    <a:pt x="20" y="1"/>
                  </a:cubicBezTo>
                  <a:cubicBezTo>
                    <a:pt x="20" y="1"/>
                    <a:pt x="20" y="1"/>
                    <a:pt x="20" y="1"/>
                  </a:cubicBezTo>
                  <a:cubicBezTo>
                    <a:pt x="20" y="1"/>
                    <a:pt x="20" y="1"/>
                    <a:pt x="20" y="1"/>
                  </a:cubicBezTo>
                  <a:cubicBezTo>
                    <a:pt x="20" y="1"/>
                    <a:pt x="20" y="1"/>
                    <a:pt x="20" y="1"/>
                  </a:cubicBezTo>
                  <a:cubicBezTo>
                    <a:pt x="19" y="1"/>
                    <a:pt x="19" y="1"/>
                    <a:pt x="19" y="1"/>
                  </a:cubicBezTo>
                  <a:cubicBezTo>
                    <a:pt x="18" y="1"/>
                    <a:pt x="18" y="1"/>
                    <a:pt x="18" y="1"/>
                  </a:cubicBezTo>
                  <a:cubicBezTo>
                    <a:pt x="18" y="0"/>
                    <a:pt x="18" y="0"/>
                    <a:pt x="18" y="0"/>
                  </a:cubicBezTo>
                  <a:cubicBezTo>
                    <a:pt x="17" y="0"/>
                    <a:pt x="17" y="0"/>
                    <a:pt x="17" y="0"/>
                  </a:cubicBezTo>
                  <a:cubicBezTo>
                    <a:pt x="16" y="1"/>
                    <a:pt x="16" y="1"/>
                    <a:pt x="15" y="2"/>
                  </a:cubicBezTo>
                  <a:cubicBezTo>
                    <a:pt x="14" y="5"/>
                    <a:pt x="14" y="5"/>
                    <a:pt x="14" y="5"/>
                  </a:cubicBezTo>
                  <a:cubicBezTo>
                    <a:pt x="13" y="7"/>
                    <a:pt x="12" y="8"/>
                    <a:pt x="12" y="9"/>
                  </a:cubicBezTo>
                  <a:cubicBezTo>
                    <a:pt x="11" y="11"/>
                    <a:pt x="9" y="13"/>
                    <a:pt x="8" y="13"/>
                  </a:cubicBezTo>
                  <a:cubicBezTo>
                    <a:pt x="7" y="14"/>
                    <a:pt x="6" y="14"/>
                    <a:pt x="5" y="14"/>
                  </a:cubicBezTo>
                  <a:cubicBezTo>
                    <a:pt x="5" y="14"/>
                    <a:pt x="5" y="14"/>
                    <a:pt x="5" y="14"/>
                  </a:cubicBezTo>
                  <a:cubicBezTo>
                    <a:pt x="5" y="14"/>
                    <a:pt x="5" y="14"/>
                    <a:pt x="5" y="14"/>
                  </a:cubicBezTo>
                  <a:cubicBezTo>
                    <a:pt x="4" y="14"/>
                    <a:pt x="3" y="14"/>
                    <a:pt x="3" y="13"/>
                  </a:cubicBezTo>
                  <a:cubicBezTo>
                    <a:pt x="2" y="13"/>
                    <a:pt x="2" y="13"/>
                    <a:pt x="2" y="13"/>
                  </a:cubicBezTo>
                  <a:cubicBezTo>
                    <a:pt x="2" y="13"/>
                    <a:pt x="2" y="13"/>
                    <a:pt x="2" y="13"/>
                  </a:cubicBezTo>
                  <a:cubicBezTo>
                    <a:pt x="2" y="13"/>
                    <a:pt x="2" y="14"/>
                    <a:pt x="2" y="14"/>
                  </a:cubicBezTo>
                  <a:cubicBezTo>
                    <a:pt x="2" y="14"/>
                    <a:pt x="2" y="14"/>
                    <a:pt x="2" y="14"/>
                  </a:cubicBezTo>
                  <a:cubicBezTo>
                    <a:pt x="2" y="15"/>
                    <a:pt x="2" y="15"/>
                    <a:pt x="2" y="15"/>
                  </a:cubicBezTo>
                  <a:cubicBezTo>
                    <a:pt x="2" y="16"/>
                    <a:pt x="2" y="17"/>
                    <a:pt x="2" y="18"/>
                  </a:cubicBezTo>
                  <a:cubicBezTo>
                    <a:pt x="2" y="22"/>
                    <a:pt x="2" y="22"/>
                    <a:pt x="2" y="22"/>
                  </a:cubicBezTo>
                  <a:cubicBezTo>
                    <a:pt x="2" y="24"/>
                    <a:pt x="2" y="26"/>
                    <a:pt x="2" y="29"/>
                  </a:cubicBezTo>
                  <a:cubicBezTo>
                    <a:pt x="2" y="38"/>
                    <a:pt x="1" y="48"/>
                    <a:pt x="0" y="57"/>
                  </a:cubicBezTo>
                  <a:cubicBezTo>
                    <a:pt x="1" y="57"/>
                    <a:pt x="1" y="57"/>
                    <a:pt x="1" y="57"/>
                  </a:cubicBezTo>
                  <a:cubicBezTo>
                    <a:pt x="2" y="57"/>
                    <a:pt x="3" y="57"/>
                    <a:pt x="4" y="56"/>
                  </a:cubicBezTo>
                  <a:cubicBezTo>
                    <a:pt x="5" y="56"/>
                    <a:pt x="5" y="56"/>
                    <a:pt x="5" y="56"/>
                  </a:cubicBezTo>
                  <a:cubicBezTo>
                    <a:pt x="5" y="59"/>
                    <a:pt x="5" y="59"/>
                    <a:pt x="5" y="59"/>
                  </a:cubicBezTo>
                  <a:cubicBezTo>
                    <a:pt x="5" y="58"/>
                    <a:pt x="5" y="58"/>
                    <a:pt x="5" y="58"/>
                  </a:cubicBezTo>
                  <a:cubicBezTo>
                    <a:pt x="8" y="55"/>
                    <a:pt x="11" y="52"/>
                    <a:pt x="14" y="49"/>
                  </a:cubicBezTo>
                  <a:cubicBezTo>
                    <a:pt x="15" y="47"/>
                    <a:pt x="17" y="45"/>
                    <a:pt x="17" y="43"/>
                  </a:cubicBezTo>
                  <a:cubicBezTo>
                    <a:pt x="18" y="40"/>
                    <a:pt x="21" y="36"/>
                    <a:pt x="21" y="34"/>
                  </a:cubicBezTo>
                  <a:cubicBezTo>
                    <a:pt x="21" y="32"/>
                    <a:pt x="19" y="31"/>
                    <a:pt x="19" y="29"/>
                  </a:cubicBezTo>
                  <a:cubicBezTo>
                    <a:pt x="20" y="24"/>
                    <a:pt x="20" y="20"/>
                    <a:pt x="21" y="16"/>
                  </a:cubicBezTo>
                  <a:cubicBezTo>
                    <a:pt x="22" y="11"/>
                    <a:pt x="23" y="6"/>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69"/>
            <p:cNvSpPr/>
            <p:nvPr/>
          </p:nvSpPr>
          <p:spPr bwMode="auto">
            <a:xfrm>
              <a:off x="10985491" y="1008884"/>
              <a:ext cx="3175" cy="3175"/>
            </a:xfrm>
            <a:custGeom>
              <a:gdLst>
                <a:gd name="T0" fmla="*/ 1 w 1"/>
                <a:gd name="T1" fmla="*/ 0 h 1"/>
                <a:gd name="T2" fmla="*/ 0 w 1"/>
                <a:gd name="T3" fmla="*/ 0 h 1"/>
                <a:gd name="T4" fmla="*/ 1 w 1"/>
                <a:gd name="T5" fmla="*/ 1 h 1"/>
                <a:gd name="T6" fmla="*/ 1 w 1"/>
                <a:gd name="T7" fmla="*/ 0 h 1"/>
              </a:gdLst>
              <a:cxnLst>
                <a:cxn ang="0">
                  <a:pos x="T0" y="T1"/>
                </a:cxn>
                <a:cxn ang="0">
                  <a:pos x="T2" y="T3"/>
                </a:cxn>
                <a:cxn ang="0">
                  <a:pos x="T4" y="T5"/>
                </a:cxn>
                <a:cxn ang="0">
                  <a:pos x="T6" y="T7"/>
                </a:cxn>
              </a:cxnLst>
              <a:rect l="0" t="0" r="r" b="b"/>
              <a:pathLst>
                <a:path w="1" h="1">
                  <a:moveTo>
                    <a:pt x="1" y="0"/>
                  </a:moveTo>
                  <a:cubicBezTo>
                    <a:pt x="1" y="0"/>
                    <a:pt x="0" y="0"/>
                    <a:pt x="0" y="0"/>
                  </a:cubicBezTo>
                  <a:cubicBezTo>
                    <a:pt x="0"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70"/>
            <p:cNvSpPr/>
            <p:nvPr/>
          </p:nvSpPr>
          <p:spPr bwMode="auto">
            <a:xfrm>
              <a:off x="10936279" y="1050159"/>
              <a:ext cx="52388" cy="19050"/>
            </a:xfrm>
            <a:custGeom>
              <a:gdLst>
                <a:gd name="T0" fmla="*/ 14 w 14"/>
                <a:gd name="T1" fmla="*/ 0 h 5"/>
                <a:gd name="T2" fmla="*/ 10 w 14"/>
                <a:gd name="T3" fmla="*/ 1 h 5"/>
                <a:gd name="T4" fmla="*/ 7 w 14"/>
                <a:gd name="T5" fmla="*/ 2 h 5"/>
                <a:gd name="T6" fmla="*/ 7 w 14"/>
                <a:gd name="T7" fmla="*/ 2 h 5"/>
                <a:gd name="T8" fmla="*/ 6 w 14"/>
                <a:gd name="T9" fmla="*/ 2 h 5"/>
                <a:gd name="T10" fmla="*/ 5 w 14"/>
                <a:gd name="T11" fmla="*/ 2 h 5"/>
                <a:gd name="T12" fmla="*/ 4 w 14"/>
                <a:gd name="T13" fmla="*/ 3 h 5"/>
                <a:gd name="T14" fmla="*/ 4 w 14"/>
                <a:gd name="T15" fmla="*/ 3 h 5"/>
                <a:gd name="T16" fmla="*/ 1 w 14"/>
                <a:gd name="T17" fmla="*/ 4 h 5"/>
                <a:gd name="T18" fmla="*/ 3 w 14"/>
                <a:gd name="T19" fmla="*/ 5 h 5"/>
                <a:gd name="T20" fmla="*/ 4 w 14"/>
                <a:gd name="T21" fmla="*/ 5 h 5"/>
                <a:gd name="T22" fmla="*/ 14 w 14"/>
                <a:gd name="T23" fmla="*/ 3 h 5"/>
                <a:gd name="T24" fmla="*/ 14 w 14"/>
                <a:gd name="T25"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5">
                  <a:moveTo>
                    <a:pt x="14" y="0"/>
                  </a:moveTo>
                  <a:cubicBezTo>
                    <a:pt x="13" y="1"/>
                    <a:pt x="12" y="0"/>
                    <a:pt x="10" y="1"/>
                  </a:cubicBezTo>
                  <a:cubicBezTo>
                    <a:pt x="9" y="1"/>
                    <a:pt x="8" y="2"/>
                    <a:pt x="7" y="2"/>
                  </a:cubicBezTo>
                  <a:cubicBezTo>
                    <a:pt x="7" y="2"/>
                    <a:pt x="7" y="2"/>
                    <a:pt x="7" y="2"/>
                  </a:cubicBezTo>
                  <a:cubicBezTo>
                    <a:pt x="6" y="2"/>
                    <a:pt x="6" y="2"/>
                    <a:pt x="6" y="2"/>
                  </a:cubicBezTo>
                  <a:cubicBezTo>
                    <a:pt x="6" y="2"/>
                    <a:pt x="5" y="2"/>
                    <a:pt x="5" y="2"/>
                  </a:cubicBezTo>
                  <a:cubicBezTo>
                    <a:pt x="4" y="2"/>
                    <a:pt x="4" y="2"/>
                    <a:pt x="4" y="3"/>
                  </a:cubicBezTo>
                  <a:cubicBezTo>
                    <a:pt x="4" y="3"/>
                    <a:pt x="4" y="3"/>
                    <a:pt x="4" y="3"/>
                  </a:cubicBezTo>
                  <a:cubicBezTo>
                    <a:pt x="4" y="3"/>
                    <a:pt x="2" y="3"/>
                    <a:pt x="1" y="4"/>
                  </a:cubicBezTo>
                  <a:cubicBezTo>
                    <a:pt x="0" y="5"/>
                    <a:pt x="0" y="5"/>
                    <a:pt x="3" y="5"/>
                  </a:cubicBezTo>
                  <a:cubicBezTo>
                    <a:pt x="3" y="5"/>
                    <a:pt x="4" y="5"/>
                    <a:pt x="4" y="5"/>
                  </a:cubicBezTo>
                  <a:cubicBezTo>
                    <a:pt x="7" y="5"/>
                    <a:pt x="11" y="4"/>
                    <a:pt x="14" y="3"/>
                  </a:cubicBez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71"/>
            <p:cNvSpPr>
              <a:spLocks noEditPoints="1"/>
            </p:cNvSpPr>
            <p:nvPr/>
          </p:nvSpPr>
          <p:spPr bwMode="auto">
            <a:xfrm>
              <a:off x="9832966" y="599309"/>
              <a:ext cx="1155700" cy="376238"/>
            </a:xfrm>
            <a:custGeom>
              <a:gdLst>
                <a:gd name="T0" fmla="*/ 125 w 308"/>
                <a:gd name="T1" fmla="*/ 30 h 100"/>
                <a:gd name="T2" fmla="*/ 308 w 308"/>
                <a:gd name="T3" fmla="*/ 0 h 100"/>
                <a:gd name="T4" fmla="*/ 13 w 308"/>
                <a:gd name="T5" fmla="*/ 3 h 100"/>
                <a:gd name="T6" fmla="*/ 29 w 308"/>
                <a:gd name="T7" fmla="*/ 5 h 100"/>
                <a:gd name="T8" fmla="*/ 43 w 308"/>
                <a:gd name="T9" fmla="*/ 5 h 100"/>
                <a:gd name="T10" fmla="*/ 47 w 308"/>
                <a:gd name="T11" fmla="*/ 5 h 100"/>
                <a:gd name="T12" fmla="*/ 38 w 308"/>
                <a:gd name="T13" fmla="*/ 10 h 100"/>
                <a:gd name="T14" fmla="*/ 33 w 308"/>
                <a:gd name="T15" fmla="*/ 9 h 100"/>
                <a:gd name="T16" fmla="*/ 15 w 308"/>
                <a:gd name="T17" fmla="*/ 16 h 100"/>
                <a:gd name="T18" fmla="*/ 11 w 308"/>
                <a:gd name="T19" fmla="*/ 20 h 100"/>
                <a:gd name="T20" fmla="*/ 29 w 308"/>
                <a:gd name="T21" fmla="*/ 30 h 100"/>
                <a:gd name="T22" fmla="*/ 46 w 308"/>
                <a:gd name="T23" fmla="*/ 34 h 100"/>
                <a:gd name="T24" fmla="*/ 69 w 308"/>
                <a:gd name="T25" fmla="*/ 34 h 100"/>
                <a:gd name="T26" fmla="*/ 68 w 308"/>
                <a:gd name="T27" fmla="*/ 29 h 100"/>
                <a:gd name="T28" fmla="*/ 71 w 308"/>
                <a:gd name="T29" fmla="*/ 24 h 100"/>
                <a:gd name="T30" fmla="*/ 76 w 308"/>
                <a:gd name="T31" fmla="*/ 28 h 100"/>
                <a:gd name="T32" fmla="*/ 84 w 308"/>
                <a:gd name="T33" fmla="*/ 32 h 100"/>
                <a:gd name="T34" fmla="*/ 89 w 308"/>
                <a:gd name="T35" fmla="*/ 24 h 100"/>
                <a:gd name="T36" fmla="*/ 103 w 308"/>
                <a:gd name="T37" fmla="*/ 26 h 100"/>
                <a:gd name="T38" fmla="*/ 100 w 308"/>
                <a:gd name="T39" fmla="*/ 28 h 100"/>
                <a:gd name="T40" fmla="*/ 108 w 308"/>
                <a:gd name="T41" fmla="*/ 35 h 100"/>
                <a:gd name="T42" fmla="*/ 123 w 308"/>
                <a:gd name="T43" fmla="*/ 31 h 100"/>
                <a:gd name="T44" fmla="*/ 125 w 308"/>
                <a:gd name="T45" fmla="*/ 30 h 100"/>
                <a:gd name="T46" fmla="*/ 125 w 308"/>
                <a:gd name="T47" fmla="*/ 29 h 100"/>
                <a:gd name="T48" fmla="*/ 125 w 308"/>
                <a:gd name="T49" fmla="*/ 29 h 100"/>
                <a:gd name="T50" fmla="*/ 126 w 308"/>
                <a:gd name="T51" fmla="*/ 28 h 100"/>
                <a:gd name="T52" fmla="*/ 128 w 308"/>
                <a:gd name="T53" fmla="*/ 26 h 100"/>
                <a:gd name="T54" fmla="*/ 134 w 308"/>
                <a:gd name="T55" fmla="*/ 24 h 100"/>
                <a:gd name="T56" fmla="*/ 140 w 308"/>
                <a:gd name="T57" fmla="*/ 31 h 100"/>
                <a:gd name="T58" fmla="*/ 147 w 308"/>
                <a:gd name="T59" fmla="*/ 27 h 100"/>
                <a:gd name="T60" fmla="*/ 197 w 308"/>
                <a:gd name="T61" fmla="*/ 29 h 100"/>
                <a:gd name="T62" fmla="*/ 202 w 308"/>
                <a:gd name="T63" fmla="*/ 29 h 100"/>
                <a:gd name="T64" fmla="*/ 212 w 308"/>
                <a:gd name="T65" fmla="*/ 30 h 100"/>
                <a:gd name="T66" fmla="*/ 223 w 308"/>
                <a:gd name="T67" fmla="*/ 34 h 100"/>
                <a:gd name="T68" fmla="*/ 268 w 308"/>
                <a:gd name="T69" fmla="*/ 51 h 100"/>
                <a:gd name="T70" fmla="*/ 271 w 308"/>
                <a:gd name="T71" fmla="*/ 54 h 100"/>
                <a:gd name="T72" fmla="*/ 274 w 308"/>
                <a:gd name="T73" fmla="*/ 61 h 100"/>
                <a:gd name="T74" fmla="*/ 271 w 308"/>
                <a:gd name="T75" fmla="*/ 64 h 100"/>
                <a:gd name="T76" fmla="*/ 264 w 308"/>
                <a:gd name="T77" fmla="*/ 68 h 100"/>
                <a:gd name="T78" fmla="*/ 270 w 308"/>
                <a:gd name="T79" fmla="*/ 67 h 100"/>
                <a:gd name="T80" fmla="*/ 271 w 308"/>
                <a:gd name="T81" fmla="*/ 68 h 100"/>
                <a:gd name="T82" fmla="*/ 270 w 308"/>
                <a:gd name="T83" fmla="*/ 69 h 100"/>
                <a:gd name="T84" fmla="*/ 270 w 308"/>
                <a:gd name="T85" fmla="*/ 69 h 100"/>
                <a:gd name="T86" fmla="*/ 269 w 308"/>
                <a:gd name="T87" fmla="*/ 69 h 100"/>
                <a:gd name="T88" fmla="*/ 278 w 308"/>
                <a:gd name="T89" fmla="*/ 74 h 100"/>
                <a:gd name="T90" fmla="*/ 296 w 308"/>
                <a:gd name="T91" fmla="*/ 88 h 100"/>
                <a:gd name="T92" fmla="*/ 298 w 308"/>
                <a:gd name="T93" fmla="*/ 88 h 100"/>
                <a:gd name="T94" fmla="*/ 299 w 308"/>
                <a:gd name="T95" fmla="*/ 88 h 100"/>
                <a:gd name="T96" fmla="*/ 303 w 308"/>
                <a:gd name="T97" fmla="*/ 94 h 100"/>
                <a:gd name="T98" fmla="*/ 300 w 308"/>
                <a:gd name="T99" fmla="*/ 94 h 100"/>
                <a:gd name="T100" fmla="*/ 299 w 308"/>
                <a:gd name="T101" fmla="*/ 96 h 100"/>
                <a:gd name="T102" fmla="*/ 308 w 308"/>
                <a:gd name="T103" fmla="*/ 100 h 100"/>
                <a:gd name="T104" fmla="*/ 308 w 308"/>
                <a:gd name="T105" fmla="*/ 0 h 1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8" h="100">
                  <a:moveTo>
                    <a:pt x="125" y="30"/>
                  </a:moveTo>
                  <a:cubicBezTo>
                    <a:pt x="125" y="30"/>
                    <a:pt x="125" y="30"/>
                    <a:pt x="125" y="30"/>
                  </a:cubicBezTo>
                  <a:cubicBezTo>
                    <a:pt x="125" y="30"/>
                    <a:pt x="125" y="30"/>
                    <a:pt x="125" y="30"/>
                  </a:cubicBezTo>
                  <a:moveTo>
                    <a:pt x="308" y="0"/>
                  </a:moveTo>
                  <a:cubicBezTo>
                    <a:pt x="0" y="0"/>
                    <a:pt x="0" y="0"/>
                    <a:pt x="0" y="0"/>
                  </a:cubicBezTo>
                  <a:cubicBezTo>
                    <a:pt x="2" y="2"/>
                    <a:pt x="11" y="3"/>
                    <a:pt x="13" y="3"/>
                  </a:cubicBezTo>
                  <a:cubicBezTo>
                    <a:pt x="17" y="4"/>
                    <a:pt x="21" y="5"/>
                    <a:pt x="25" y="5"/>
                  </a:cubicBezTo>
                  <a:cubicBezTo>
                    <a:pt x="26" y="5"/>
                    <a:pt x="28" y="5"/>
                    <a:pt x="29" y="5"/>
                  </a:cubicBezTo>
                  <a:cubicBezTo>
                    <a:pt x="31" y="5"/>
                    <a:pt x="34" y="5"/>
                    <a:pt x="36" y="5"/>
                  </a:cubicBezTo>
                  <a:cubicBezTo>
                    <a:pt x="38" y="5"/>
                    <a:pt x="41" y="5"/>
                    <a:pt x="43" y="5"/>
                  </a:cubicBezTo>
                  <a:cubicBezTo>
                    <a:pt x="44" y="5"/>
                    <a:pt x="45" y="5"/>
                    <a:pt x="45" y="5"/>
                  </a:cubicBezTo>
                  <a:cubicBezTo>
                    <a:pt x="46" y="5"/>
                    <a:pt x="46" y="5"/>
                    <a:pt x="47" y="5"/>
                  </a:cubicBezTo>
                  <a:cubicBezTo>
                    <a:pt x="45" y="8"/>
                    <a:pt x="49" y="9"/>
                    <a:pt x="43" y="9"/>
                  </a:cubicBezTo>
                  <a:cubicBezTo>
                    <a:pt x="42" y="9"/>
                    <a:pt x="40" y="10"/>
                    <a:pt x="38" y="10"/>
                  </a:cubicBezTo>
                  <a:cubicBezTo>
                    <a:pt x="37" y="10"/>
                    <a:pt x="36" y="10"/>
                    <a:pt x="35" y="9"/>
                  </a:cubicBezTo>
                  <a:cubicBezTo>
                    <a:pt x="34" y="9"/>
                    <a:pt x="34" y="9"/>
                    <a:pt x="33" y="9"/>
                  </a:cubicBezTo>
                  <a:cubicBezTo>
                    <a:pt x="28" y="9"/>
                    <a:pt x="27" y="12"/>
                    <a:pt x="22" y="14"/>
                  </a:cubicBezTo>
                  <a:cubicBezTo>
                    <a:pt x="19" y="15"/>
                    <a:pt x="17" y="15"/>
                    <a:pt x="15" y="16"/>
                  </a:cubicBezTo>
                  <a:cubicBezTo>
                    <a:pt x="13" y="16"/>
                    <a:pt x="12" y="16"/>
                    <a:pt x="11" y="17"/>
                  </a:cubicBezTo>
                  <a:cubicBezTo>
                    <a:pt x="8" y="19"/>
                    <a:pt x="10" y="19"/>
                    <a:pt x="11" y="20"/>
                  </a:cubicBezTo>
                  <a:cubicBezTo>
                    <a:pt x="13" y="22"/>
                    <a:pt x="15" y="22"/>
                    <a:pt x="18" y="23"/>
                  </a:cubicBezTo>
                  <a:cubicBezTo>
                    <a:pt x="22" y="24"/>
                    <a:pt x="25" y="28"/>
                    <a:pt x="29" y="30"/>
                  </a:cubicBezTo>
                  <a:cubicBezTo>
                    <a:pt x="33" y="31"/>
                    <a:pt x="35" y="33"/>
                    <a:pt x="39" y="33"/>
                  </a:cubicBezTo>
                  <a:cubicBezTo>
                    <a:pt x="42" y="33"/>
                    <a:pt x="44" y="34"/>
                    <a:pt x="46" y="34"/>
                  </a:cubicBezTo>
                  <a:cubicBezTo>
                    <a:pt x="59" y="36"/>
                    <a:pt x="70" y="39"/>
                    <a:pt x="82" y="41"/>
                  </a:cubicBezTo>
                  <a:cubicBezTo>
                    <a:pt x="82" y="36"/>
                    <a:pt x="71" y="37"/>
                    <a:pt x="69" y="34"/>
                  </a:cubicBezTo>
                  <a:cubicBezTo>
                    <a:pt x="69" y="33"/>
                    <a:pt x="70" y="32"/>
                    <a:pt x="69" y="32"/>
                  </a:cubicBezTo>
                  <a:cubicBezTo>
                    <a:pt x="69" y="31"/>
                    <a:pt x="69" y="30"/>
                    <a:pt x="68" y="29"/>
                  </a:cubicBezTo>
                  <a:cubicBezTo>
                    <a:pt x="67" y="27"/>
                    <a:pt x="67" y="25"/>
                    <a:pt x="70" y="24"/>
                  </a:cubicBezTo>
                  <a:cubicBezTo>
                    <a:pt x="70" y="24"/>
                    <a:pt x="70" y="24"/>
                    <a:pt x="71" y="24"/>
                  </a:cubicBezTo>
                  <a:cubicBezTo>
                    <a:pt x="73" y="24"/>
                    <a:pt x="75" y="27"/>
                    <a:pt x="77" y="27"/>
                  </a:cubicBezTo>
                  <a:cubicBezTo>
                    <a:pt x="77" y="27"/>
                    <a:pt x="76" y="28"/>
                    <a:pt x="76" y="28"/>
                  </a:cubicBezTo>
                  <a:cubicBezTo>
                    <a:pt x="77" y="29"/>
                    <a:pt x="81" y="32"/>
                    <a:pt x="84" y="32"/>
                  </a:cubicBezTo>
                  <a:cubicBezTo>
                    <a:pt x="84" y="32"/>
                    <a:pt x="84" y="32"/>
                    <a:pt x="84" y="32"/>
                  </a:cubicBezTo>
                  <a:cubicBezTo>
                    <a:pt x="85" y="32"/>
                    <a:pt x="85" y="30"/>
                    <a:pt x="85" y="29"/>
                  </a:cubicBezTo>
                  <a:cubicBezTo>
                    <a:pt x="86" y="28"/>
                    <a:pt x="87" y="25"/>
                    <a:pt x="89" y="24"/>
                  </a:cubicBezTo>
                  <a:cubicBezTo>
                    <a:pt x="90" y="24"/>
                    <a:pt x="92" y="23"/>
                    <a:pt x="94" y="23"/>
                  </a:cubicBezTo>
                  <a:cubicBezTo>
                    <a:pt x="97" y="23"/>
                    <a:pt x="102" y="24"/>
                    <a:pt x="103" y="26"/>
                  </a:cubicBezTo>
                  <a:cubicBezTo>
                    <a:pt x="102" y="26"/>
                    <a:pt x="100" y="26"/>
                    <a:pt x="99" y="27"/>
                  </a:cubicBezTo>
                  <a:cubicBezTo>
                    <a:pt x="99" y="27"/>
                    <a:pt x="100" y="28"/>
                    <a:pt x="100" y="28"/>
                  </a:cubicBezTo>
                  <a:cubicBezTo>
                    <a:pt x="95" y="30"/>
                    <a:pt x="103" y="34"/>
                    <a:pt x="106" y="35"/>
                  </a:cubicBezTo>
                  <a:cubicBezTo>
                    <a:pt x="106" y="35"/>
                    <a:pt x="107" y="35"/>
                    <a:pt x="108" y="35"/>
                  </a:cubicBezTo>
                  <a:cubicBezTo>
                    <a:pt x="109" y="35"/>
                    <a:pt x="110" y="35"/>
                    <a:pt x="113" y="34"/>
                  </a:cubicBezTo>
                  <a:cubicBezTo>
                    <a:pt x="116" y="33"/>
                    <a:pt x="120" y="33"/>
                    <a:pt x="123" y="31"/>
                  </a:cubicBezTo>
                  <a:cubicBezTo>
                    <a:pt x="125" y="31"/>
                    <a:pt x="125" y="30"/>
                    <a:pt x="125" y="30"/>
                  </a:cubicBezTo>
                  <a:cubicBezTo>
                    <a:pt x="125" y="30"/>
                    <a:pt x="125" y="30"/>
                    <a:pt x="125" y="30"/>
                  </a:cubicBezTo>
                  <a:cubicBezTo>
                    <a:pt x="125" y="30"/>
                    <a:pt x="125" y="30"/>
                    <a:pt x="125" y="30"/>
                  </a:cubicBezTo>
                  <a:cubicBezTo>
                    <a:pt x="125" y="29"/>
                    <a:pt x="125" y="29"/>
                    <a:pt x="125" y="29"/>
                  </a:cubicBezTo>
                  <a:cubicBezTo>
                    <a:pt x="125" y="29"/>
                    <a:pt x="125" y="29"/>
                    <a:pt x="125" y="29"/>
                  </a:cubicBezTo>
                  <a:cubicBezTo>
                    <a:pt x="125" y="29"/>
                    <a:pt x="125" y="29"/>
                    <a:pt x="125" y="29"/>
                  </a:cubicBezTo>
                  <a:cubicBezTo>
                    <a:pt x="125" y="29"/>
                    <a:pt x="126" y="29"/>
                    <a:pt x="126" y="29"/>
                  </a:cubicBezTo>
                  <a:cubicBezTo>
                    <a:pt x="126" y="28"/>
                    <a:pt x="126" y="28"/>
                    <a:pt x="126" y="28"/>
                  </a:cubicBezTo>
                  <a:cubicBezTo>
                    <a:pt x="126" y="28"/>
                    <a:pt x="126" y="28"/>
                    <a:pt x="126" y="28"/>
                  </a:cubicBezTo>
                  <a:cubicBezTo>
                    <a:pt x="126" y="27"/>
                    <a:pt x="127" y="27"/>
                    <a:pt x="128" y="26"/>
                  </a:cubicBezTo>
                  <a:cubicBezTo>
                    <a:pt x="129" y="25"/>
                    <a:pt x="131" y="24"/>
                    <a:pt x="133" y="22"/>
                  </a:cubicBezTo>
                  <a:cubicBezTo>
                    <a:pt x="133" y="23"/>
                    <a:pt x="133" y="23"/>
                    <a:pt x="134" y="24"/>
                  </a:cubicBezTo>
                  <a:cubicBezTo>
                    <a:pt x="135" y="25"/>
                    <a:pt x="137" y="30"/>
                    <a:pt x="140" y="30"/>
                  </a:cubicBezTo>
                  <a:cubicBezTo>
                    <a:pt x="140" y="30"/>
                    <a:pt x="140" y="31"/>
                    <a:pt x="140" y="31"/>
                  </a:cubicBezTo>
                  <a:cubicBezTo>
                    <a:pt x="141" y="31"/>
                    <a:pt x="142" y="30"/>
                    <a:pt x="143" y="30"/>
                  </a:cubicBezTo>
                  <a:cubicBezTo>
                    <a:pt x="146" y="29"/>
                    <a:pt x="145" y="27"/>
                    <a:pt x="147" y="27"/>
                  </a:cubicBezTo>
                  <a:cubicBezTo>
                    <a:pt x="147" y="27"/>
                    <a:pt x="147" y="27"/>
                    <a:pt x="147" y="27"/>
                  </a:cubicBezTo>
                  <a:cubicBezTo>
                    <a:pt x="164" y="28"/>
                    <a:pt x="181" y="28"/>
                    <a:pt x="197" y="29"/>
                  </a:cubicBezTo>
                  <a:cubicBezTo>
                    <a:pt x="198" y="29"/>
                    <a:pt x="198" y="29"/>
                    <a:pt x="199" y="29"/>
                  </a:cubicBezTo>
                  <a:cubicBezTo>
                    <a:pt x="200" y="29"/>
                    <a:pt x="201" y="29"/>
                    <a:pt x="202" y="29"/>
                  </a:cubicBezTo>
                  <a:cubicBezTo>
                    <a:pt x="203" y="29"/>
                    <a:pt x="204" y="29"/>
                    <a:pt x="205" y="29"/>
                  </a:cubicBezTo>
                  <a:cubicBezTo>
                    <a:pt x="208" y="29"/>
                    <a:pt x="210" y="29"/>
                    <a:pt x="212" y="30"/>
                  </a:cubicBezTo>
                  <a:cubicBezTo>
                    <a:pt x="213" y="30"/>
                    <a:pt x="212" y="31"/>
                    <a:pt x="214" y="32"/>
                  </a:cubicBezTo>
                  <a:cubicBezTo>
                    <a:pt x="216" y="34"/>
                    <a:pt x="220" y="34"/>
                    <a:pt x="223" y="34"/>
                  </a:cubicBezTo>
                  <a:cubicBezTo>
                    <a:pt x="236" y="37"/>
                    <a:pt x="248" y="42"/>
                    <a:pt x="261" y="47"/>
                  </a:cubicBezTo>
                  <a:cubicBezTo>
                    <a:pt x="262" y="48"/>
                    <a:pt x="272" y="51"/>
                    <a:pt x="268" y="51"/>
                  </a:cubicBezTo>
                  <a:cubicBezTo>
                    <a:pt x="268" y="51"/>
                    <a:pt x="267" y="51"/>
                    <a:pt x="267" y="51"/>
                  </a:cubicBezTo>
                  <a:cubicBezTo>
                    <a:pt x="268" y="52"/>
                    <a:pt x="271" y="53"/>
                    <a:pt x="271" y="54"/>
                  </a:cubicBezTo>
                  <a:cubicBezTo>
                    <a:pt x="271" y="55"/>
                    <a:pt x="269" y="55"/>
                    <a:pt x="269" y="56"/>
                  </a:cubicBezTo>
                  <a:cubicBezTo>
                    <a:pt x="270" y="59"/>
                    <a:pt x="275" y="58"/>
                    <a:pt x="274" y="61"/>
                  </a:cubicBezTo>
                  <a:cubicBezTo>
                    <a:pt x="274" y="63"/>
                    <a:pt x="273" y="64"/>
                    <a:pt x="272" y="64"/>
                  </a:cubicBezTo>
                  <a:cubicBezTo>
                    <a:pt x="271" y="64"/>
                    <a:pt x="271" y="64"/>
                    <a:pt x="271" y="64"/>
                  </a:cubicBezTo>
                  <a:cubicBezTo>
                    <a:pt x="271" y="64"/>
                    <a:pt x="271" y="64"/>
                    <a:pt x="271" y="64"/>
                  </a:cubicBezTo>
                  <a:cubicBezTo>
                    <a:pt x="269" y="64"/>
                    <a:pt x="265" y="67"/>
                    <a:pt x="264" y="68"/>
                  </a:cubicBezTo>
                  <a:cubicBezTo>
                    <a:pt x="267" y="68"/>
                    <a:pt x="270" y="66"/>
                    <a:pt x="273" y="65"/>
                  </a:cubicBezTo>
                  <a:cubicBezTo>
                    <a:pt x="272" y="66"/>
                    <a:pt x="271" y="67"/>
                    <a:pt x="270" y="67"/>
                  </a:cubicBezTo>
                  <a:cubicBezTo>
                    <a:pt x="270" y="68"/>
                    <a:pt x="271" y="68"/>
                    <a:pt x="271" y="68"/>
                  </a:cubicBezTo>
                  <a:cubicBezTo>
                    <a:pt x="271" y="68"/>
                    <a:pt x="271" y="68"/>
                    <a:pt x="271" y="68"/>
                  </a:cubicBezTo>
                  <a:cubicBezTo>
                    <a:pt x="271" y="68"/>
                    <a:pt x="271" y="68"/>
                    <a:pt x="271" y="69"/>
                  </a:cubicBezTo>
                  <a:cubicBezTo>
                    <a:pt x="271" y="69"/>
                    <a:pt x="270" y="69"/>
                    <a:pt x="270" y="69"/>
                  </a:cubicBezTo>
                  <a:cubicBezTo>
                    <a:pt x="270" y="69"/>
                    <a:pt x="270" y="69"/>
                    <a:pt x="270" y="69"/>
                  </a:cubicBezTo>
                  <a:cubicBezTo>
                    <a:pt x="270" y="69"/>
                    <a:pt x="270" y="69"/>
                    <a:pt x="270" y="69"/>
                  </a:cubicBezTo>
                  <a:cubicBezTo>
                    <a:pt x="270" y="69"/>
                    <a:pt x="269" y="69"/>
                    <a:pt x="269" y="69"/>
                  </a:cubicBezTo>
                  <a:cubicBezTo>
                    <a:pt x="269" y="69"/>
                    <a:pt x="269" y="69"/>
                    <a:pt x="269" y="69"/>
                  </a:cubicBezTo>
                  <a:cubicBezTo>
                    <a:pt x="269" y="69"/>
                    <a:pt x="269" y="70"/>
                    <a:pt x="270" y="71"/>
                  </a:cubicBezTo>
                  <a:cubicBezTo>
                    <a:pt x="271" y="73"/>
                    <a:pt x="275" y="73"/>
                    <a:pt x="278" y="74"/>
                  </a:cubicBezTo>
                  <a:cubicBezTo>
                    <a:pt x="283" y="77"/>
                    <a:pt x="286" y="83"/>
                    <a:pt x="292" y="86"/>
                  </a:cubicBezTo>
                  <a:cubicBezTo>
                    <a:pt x="293" y="86"/>
                    <a:pt x="294" y="88"/>
                    <a:pt x="296" y="88"/>
                  </a:cubicBezTo>
                  <a:cubicBezTo>
                    <a:pt x="296" y="88"/>
                    <a:pt x="296" y="88"/>
                    <a:pt x="297" y="88"/>
                  </a:cubicBezTo>
                  <a:cubicBezTo>
                    <a:pt x="297" y="88"/>
                    <a:pt x="297" y="88"/>
                    <a:pt x="298" y="88"/>
                  </a:cubicBezTo>
                  <a:cubicBezTo>
                    <a:pt x="298" y="88"/>
                    <a:pt x="298" y="88"/>
                    <a:pt x="299" y="88"/>
                  </a:cubicBezTo>
                  <a:cubicBezTo>
                    <a:pt x="299" y="88"/>
                    <a:pt x="299" y="88"/>
                    <a:pt x="299" y="88"/>
                  </a:cubicBezTo>
                  <a:cubicBezTo>
                    <a:pt x="302" y="88"/>
                    <a:pt x="302" y="91"/>
                    <a:pt x="305" y="91"/>
                  </a:cubicBezTo>
                  <a:cubicBezTo>
                    <a:pt x="307" y="92"/>
                    <a:pt x="304" y="94"/>
                    <a:pt x="303" y="94"/>
                  </a:cubicBezTo>
                  <a:cubicBezTo>
                    <a:pt x="303" y="95"/>
                    <a:pt x="302" y="95"/>
                    <a:pt x="302" y="95"/>
                  </a:cubicBezTo>
                  <a:cubicBezTo>
                    <a:pt x="301" y="95"/>
                    <a:pt x="301" y="94"/>
                    <a:pt x="300" y="94"/>
                  </a:cubicBezTo>
                  <a:cubicBezTo>
                    <a:pt x="300" y="94"/>
                    <a:pt x="299" y="94"/>
                    <a:pt x="299" y="94"/>
                  </a:cubicBezTo>
                  <a:cubicBezTo>
                    <a:pt x="298" y="94"/>
                    <a:pt x="297" y="94"/>
                    <a:pt x="299" y="96"/>
                  </a:cubicBezTo>
                  <a:cubicBezTo>
                    <a:pt x="301" y="97"/>
                    <a:pt x="303" y="97"/>
                    <a:pt x="305" y="98"/>
                  </a:cubicBezTo>
                  <a:cubicBezTo>
                    <a:pt x="306" y="98"/>
                    <a:pt x="307" y="99"/>
                    <a:pt x="308" y="100"/>
                  </a:cubicBezTo>
                  <a:cubicBezTo>
                    <a:pt x="308" y="100"/>
                    <a:pt x="308" y="100"/>
                    <a:pt x="308" y="100"/>
                  </a:cubicBezTo>
                  <a:cubicBezTo>
                    <a:pt x="308" y="0"/>
                    <a:pt x="308" y="0"/>
                    <a:pt x="3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72"/>
            <p:cNvSpPr/>
            <p:nvPr/>
          </p:nvSpPr>
          <p:spPr bwMode="auto">
            <a:xfrm>
              <a:off x="6810366" y="599309"/>
              <a:ext cx="139700" cy="38100"/>
            </a:xfrm>
            <a:custGeom>
              <a:gdLst>
                <a:gd name="T0" fmla="*/ 28 w 37"/>
                <a:gd name="T1" fmla="*/ 0 h 10"/>
                <a:gd name="T2" fmla="*/ 0 w 37"/>
                <a:gd name="T3" fmla="*/ 0 h 10"/>
                <a:gd name="T4" fmla="*/ 0 w 37"/>
                <a:gd name="T5" fmla="*/ 0 h 10"/>
                <a:gd name="T6" fmla="*/ 2 w 37"/>
                <a:gd name="T7" fmla="*/ 1 h 10"/>
                <a:gd name="T8" fmla="*/ 3 w 37"/>
                <a:gd name="T9" fmla="*/ 1 h 10"/>
                <a:gd name="T10" fmla="*/ 3 w 37"/>
                <a:gd name="T11" fmla="*/ 1 h 10"/>
                <a:gd name="T12" fmla="*/ 3 w 37"/>
                <a:gd name="T13" fmla="*/ 6 h 10"/>
                <a:gd name="T14" fmla="*/ 4 w 37"/>
                <a:gd name="T15" fmla="*/ 6 h 10"/>
                <a:gd name="T16" fmla="*/ 5 w 37"/>
                <a:gd name="T17" fmla="*/ 8 h 10"/>
                <a:gd name="T18" fmla="*/ 8 w 37"/>
                <a:gd name="T19" fmla="*/ 9 h 10"/>
                <a:gd name="T20" fmla="*/ 8 w 37"/>
                <a:gd name="T21" fmla="*/ 9 h 10"/>
                <a:gd name="T22" fmla="*/ 8 w 37"/>
                <a:gd name="T23" fmla="*/ 9 h 10"/>
                <a:gd name="T24" fmla="*/ 9 w 37"/>
                <a:gd name="T25" fmla="*/ 9 h 10"/>
                <a:gd name="T26" fmla="*/ 19 w 37"/>
                <a:gd name="T27" fmla="*/ 10 h 10"/>
                <a:gd name="T28" fmla="*/ 21 w 37"/>
                <a:gd name="T29" fmla="*/ 10 h 10"/>
                <a:gd name="T30" fmla="*/ 37 w 37"/>
                <a:gd name="T31" fmla="*/ 4 h 10"/>
                <a:gd name="T32" fmla="*/ 28 w 37"/>
                <a:gd name="T33"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10">
                  <a:moveTo>
                    <a:pt x="28" y="0"/>
                  </a:moveTo>
                  <a:cubicBezTo>
                    <a:pt x="0" y="0"/>
                    <a:pt x="0" y="0"/>
                    <a:pt x="0" y="0"/>
                  </a:cubicBezTo>
                  <a:cubicBezTo>
                    <a:pt x="0" y="0"/>
                    <a:pt x="0" y="0"/>
                    <a:pt x="0" y="0"/>
                  </a:cubicBezTo>
                  <a:cubicBezTo>
                    <a:pt x="1" y="1"/>
                    <a:pt x="1" y="1"/>
                    <a:pt x="2" y="1"/>
                  </a:cubicBezTo>
                  <a:cubicBezTo>
                    <a:pt x="3" y="1"/>
                    <a:pt x="3" y="1"/>
                    <a:pt x="3" y="1"/>
                  </a:cubicBezTo>
                  <a:cubicBezTo>
                    <a:pt x="3" y="1"/>
                    <a:pt x="3" y="1"/>
                    <a:pt x="3" y="1"/>
                  </a:cubicBezTo>
                  <a:cubicBezTo>
                    <a:pt x="6" y="1"/>
                    <a:pt x="5" y="5"/>
                    <a:pt x="3" y="6"/>
                  </a:cubicBezTo>
                  <a:cubicBezTo>
                    <a:pt x="3" y="6"/>
                    <a:pt x="4" y="6"/>
                    <a:pt x="4" y="6"/>
                  </a:cubicBezTo>
                  <a:cubicBezTo>
                    <a:pt x="7" y="6"/>
                    <a:pt x="4" y="8"/>
                    <a:pt x="5" y="8"/>
                  </a:cubicBezTo>
                  <a:cubicBezTo>
                    <a:pt x="5" y="9"/>
                    <a:pt x="6" y="9"/>
                    <a:pt x="8" y="9"/>
                  </a:cubicBezTo>
                  <a:cubicBezTo>
                    <a:pt x="8" y="9"/>
                    <a:pt x="8" y="9"/>
                    <a:pt x="8" y="9"/>
                  </a:cubicBezTo>
                  <a:cubicBezTo>
                    <a:pt x="8" y="9"/>
                    <a:pt x="8" y="9"/>
                    <a:pt x="8" y="9"/>
                  </a:cubicBezTo>
                  <a:cubicBezTo>
                    <a:pt x="8" y="9"/>
                    <a:pt x="9" y="9"/>
                    <a:pt x="9" y="9"/>
                  </a:cubicBezTo>
                  <a:cubicBezTo>
                    <a:pt x="12" y="9"/>
                    <a:pt x="15" y="10"/>
                    <a:pt x="19" y="10"/>
                  </a:cubicBezTo>
                  <a:cubicBezTo>
                    <a:pt x="19" y="10"/>
                    <a:pt x="20" y="10"/>
                    <a:pt x="21" y="10"/>
                  </a:cubicBezTo>
                  <a:cubicBezTo>
                    <a:pt x="26" y="10"/>
                    <a:pt x="34" y="8"/>
                    <a:pt x="37" y="4"/>
                  </a:cubicBezTo>
                  <a:cubicBezTo>
                    <a:pt x="34" y="3"/>
                    <a:pt x="31" y="1"/>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7"/>
            <p:cNvSpPr>
              <a:spLocks noEditPoints="1"/>
            </p:cNvSpPr>
            <p:nvPr/>
          </p:nvSpPr>
          <p:spPr bwMode="auto">
            <a:xfrm>
              <a:off x="4427529" y="1831209"/>
              <a:ext cx="3697288" cy="2200275"/>
            </a:xfrm>
            <a:custGeom>
              <a:gdLst>
                <a:gd name="T0" fmla="*/ 73 w 985"/>
                <a:gd name="T1" fmla="*/ 586 h 586"/>
                <a:gd name="T2" fmla="*/ 73 w 985"/>
                <a:gd name="T3" fmla="*/ 586 h 586"/>
                <a:gd name="T4" fmla="*/ 73 w 985"/>
                <a:gd name="T5" fmla="*/ 586 h 586"/>
                <a:gd name="T6" fmla="*/ 985 w 985"/>
                <a:gd name="T7" fmla="*/ 212 h 586"/>
                <a:gd name="T8" fmla="*/ 985 w 985"/>
                <a:gd name="T9" fmla="*/ 212 h 586"/>
                <a:gd name="T10" fmla="*/ 985 w 985"/>
                <a:gd name="T11" fmla="*/ 212 h 586"/>
                <a:gd name="T12" fmla="*/ 831 w 985"/>
                <a:gd name="T13" fmla="*/ 98 h 586"/>
                <a:gd name="T14" fmla="*/ 831 w 985"/>
                <a:gd name="T15" fmla="*/ 98 h 586"/>
                <a:gd name="T16" fmla="*/ 831 w 985"/>
                <a:gd name="T17" fmla="*/ 98 h 586"/>
                <a:gd name="T18" fmla="*/ 848 w 985"/>
                <a:gd name="T19" fmla="*/ 91 h 586"/>
                <a:gd name="T20" fmla="*/ 848 w 985"/>
                <a:gd name="T21" fmla="*/ 91 h 586"/>
                <a:gd name="T22" fmla="*/ 848 w 985"/>
                <a:gd name="T23" fmla="*/ 91 h 586"/>
                <a:gd name="T24" fmla="*/ 846 w 985"/>
                <a:gd name="T25" fmla="*/ 89 h 586"/>
                <a:gd name="T26" fmla="*/ 846 w 985"/>
                <a:gd name="T27" fmla="*/ 89 h 586"/>
                <a:gd name="T28" fmla="*/ 846 w 985"/>
                <a:gd name="T29" fmla="*/ 89 h 586"/>
                <a:gd name="T30" fmla="*/ 874 w 985"/>
                <a:gd name="T31" fmla="*/ 4 h 586"/>
                <a:gd name="T32" fmla="*/ 874 w 985"/>
                <a:gd name="T33" fmla="*/ 4 h 586"/>
                <a:gd name="T34" fmla="*/ 874 w 985"/>
                <a:gd name="T35" fmla="*/ 4 h 586"/>
                <a:gd name="T36" fmla="*/ 1 w 985"/>
                <a:gd name="T37" fmla="*/ 0 h 586"/>
                <a:gd name="T38" fmla="*/ 0 w 985"/>
                <a:gd name="T39" fmla="*/ 0 h 586"/>
                <a:gd name="T40" fmla="*/ 1 w 985"/>
                <a:gd name="T41" fmla="*/ 0 h 5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4" h="586">
                  <a:moveTo>
                    <a:pt x="73" y="586"/>
                  </a:moveTo>
                  <a:cubicBezTo>
                    <a:pt x="73" y="586"/>
                    <a:pt x="73" y="586"/>
                    <a:pt x="73" y="586"/>
                  </a:cubicBezTo>
                  <a:cubicBezTo>
                    <a:pt x="73" y="586"/>
                    <a:pt x="73" y="586"/>
                    <a:pt x="73" y="586"/>
                  </a:cubicBezTo>
                  <a:moveTo>
                    <a:pt x="985" y="212"/>
                  </a:moveTo>
                  <a:cubicBezTo>
                    <a:pt x="985" y="212"/>
                    <a:pt x="985" y="212"/>
                    <a:pt x="985" y="212"/>
                  </a:cubicBezTo>
                  <a:cubicBezTo>
                    <a:pt x="985" y="212"/>
                    <a:pt x="985" y="212"/>
                    <a:pt x="985" y="212"/>
                  </a:cubicBezTo>
                  <a:moveTo>
                    <a:pt x="831" y="98"/>
                  </a:moveTo>
                  <a:cubicBezTo>
                    <a:pt x="831" y="98"/>
                    <a:pt x="831" y="98"/>
                    <a:pt x="831" y="98"/>
                  </a:cubicBezTo>
                  <a:cubicBezTo>
                    <a:pt x="831" y="98"/>
                    <a:pt x="831" y="98"/>
                    <a:pt x="831" y="98"/>
                  </a:cubicBezTo>
                  <a:moveTo>
                    <a:pt x="848" y="91"/>
                  </a:moveTo>
                  <a:cubicBezTo>
                    <a:pt x="848" y="91"/>
                    <a:pt x="848" y="91"/>
                    <a:pt x="848" y="91"/>
                  </a:cubicBezTo>
                  <a:cubicBezTo>
                    <a:pt x="848" y="91"/>
                    <a:pt x="848" y="91"/>
                    <a:pt x="848" y="91"/>
                  </a:cubicBezTo>
                  <a:moveTo>
                    <a:pt x="846" y="89"/>
                  </a:moveTo>
                  <a:cubicBezTo>
                    <a:pt x="846" y="89"/>
                    <a:pt x="846" y="89"/>
                    <a:pt x="846" y="89"/>
                  </a:cubicBezTo>
                  <a:cubicBezTo>
                    <a:pt x="846" y="89"/>
                    <a:pt x="846" y="89"/>
                    <a:pt x="846" y="89"/>
                  </a:cubicBezTo>
                  <a:moveTo>
                    <a:pt x="874" y="4"/>
                  </a:moveTo>
                  <a:cubicBezTo>
                    <a:pt x="874" y="4"/>
                    <a:pt x="874" y="4"/>
                    <a:pt x="874" y="4"/>
                  </a:cubicBezTo>
                  <a:cubicBezTo>
                    <a:pt x="874" y="4"/>
                    <a:pt x="874" y="4"/>
                    <a:pt x="874" y="4"/>
                  </a:cubicBezTo>
                  <a:moveTo>
                    <a:pt x="1" y="0"/>
                  </a:move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8"/>
            <p:cNvSpPr/>
            <p:nvPr/>
          </p:nvSpPr>
          <p:spPr bwMode="auto">
            <a:xfrm>
              <a:off x="9145579" y="8043097"/>
              <a:ext cx="890588" cy="671513"/>
            </a:xfrm>
            <a:custGeom>
              <a:gdLst>
                <a:gd name="T0" fmla="*/ 132 w 237"/>
                <a:gd name="T1" fmla="*/ 5 h 179"/>
                <a:gd name="T2" fmla="*/ 106 w 237"/>
                <a:gd name="T3" fmla="*/ 26 h 179"/>
                <a:gd name="T4" fmla="*/ 87 w 237"/>
                <a:gd name="T5" fmla="*/ 26 h 179"/>
                <a:gd name="T6" fmla="*/ 78 w 237"/>
                <a:gd name="T7" fmla="*/ 40 h 179"/>
                <a:gd name="T8" fmla="*/ 76 w 237"/>
                <a:gd name="T9" fmla="*/ 35 h 179"/>
                <a:gd name="T10" fmla="*/ 79 w 237"/>
                <a:gd name="T11" fmla="*/ 35 h 179"/>
                <a:gd name="T12" fmla="*/ 78 w 237"/>
                <a:gd name="T13" fmla="*/ 34 h 179"/>
                <a:gd name="T14" fmla="*/ 67 w 237"/>
                <a:gd name="T15" fmla="*/ 31 h 179"/>
                <a:gd name="T16" fmla="*/ 58 w 237"/>
                <a:gd name="T17" fmla="*/ 41 h 179"/>
                <a:gd name="T18" fmla="*/ 52 w 237"/>
                <a:gd name="T19" fmla="*/ 52 h 179"/>
                <a:gd name="T20" fmla="*/ 47 w 237"/>
                <a:gd name="T21" fmla="*/ 71 h 179"/>
                <a:gd name="T22" fmla="*/ 41 w 237"/>
                <a:gd name="T23" fmla="*/ 72 h 179"/>
                <a:gd name="T24" fmla="*/ 21 w 237"/>
                <a:gd name="T25" fmla="*/ 90 h 179"/>
                <a:gd name="T26" fmla="*/ 24 w 237"/>
                <a:gd name="T27" fmla="*/ 106 h 179"/>
                <a:gd name="T28" fmla="*/ 11 w 237"/>
                <a:gd name="T29" fmla="*/ 91 h 179"/>
                <a:gd name="T30" fmla="*/ 17 w 237"/>
                <a:gd name="T31" fmla="*/ 104 h 179"/>
                <a:gd name="T32" fmla="*/ 10 w 237"/>
                <a:gd name="T33" fmla="*/ 113 h 179"/>
                <a:gd name="T34" fmla="*/ 3 w 237"/>
                <a:gd name="T35" fmla="*/ 118 h 179"/>
                <a:gd name="T36" fmla="*/ 1 w 237"/>
                <a:gd name="T37" fmla="*/ 125 h 179"/>
                <a:gd name="T38" fmla="*/ 10 w 237"/>
                <a:gd name="T39" fmla="*/ 137 h 179"/>
                <a:gd name="T40" fmla="*/ 12 w 237"/>
                <a:gd name="T41" fmla="*/ 156 h 179"/>
                <a:gd name="T42" fmla="*/ 10 w 237"/>
                <a:gd name="T43" fmla="*/ 179 h 179"/>
                <a:gd name="T44" fmla="*/ 228 w 237"/>
                <a:gd name="T45" fmla="*/ 168 h 179"/>
                <a:gd name="T46" fmla="*/ 232 w 237"/>
                <a:gd name="T47" fmla="*/ 158 h 179"/>
                <a:gd name="T48" fmla="*/ 236 w 237"/>
                <a:gd name="T49" fmla="*/ 152 h 179"/>
                <a:gd name="T50" fmla="*/ 230 w 237"/>
                <a:gd name="T51" fmla="*/ 147 h 179"/>
                <a:gd name="T52" fmla="*/ 211 w 237"/>
                <a:gd name="T53" fmla="*/ 149 h 179"/>
                <a:gd name="T54" fmla="*/ 202 w 237"/>
                <a:gd name="T55" fmla="*/ 150 h 179"/>
                <a:gd name="T56" fmla="*/ 183 w 237"/>
                <a:gd name="T57" fmla="*/ 140 h 179"/>
                <a:gd name="T58" fmla="*/ 179 w 237"/>
                <a:gd name="T59" fmla="*/ 134 h 179"/>
                <a:gd name="T60" fmla="*/ 161 w 237"/>
                <a:gd name="T61" fmla="*/ 129 h 179"/>
                <a:gd name="T62" fmla="*/ 148 w 237"/>
                <a:gd name="T63" fmla="*/ 130 h 179"/>
                <a:gd name="T64" fmla="*/ 138 w 237"/>
                <a:gd name="T65" fmla="*/ 130 h 179"/>
                <a:gd name="T66" fmla="*/ 129 w 237"/>
                <a:gd name="T67" fmla="*/ 124 h 179"/>
                <a:gd name="T68" fmla="*/ 127 w 237"/>
                <a:gd name="T69" fmla="*/ 121 h 179"/>
                <a:gd name="T70" fmla="*/ 122 w 237"/>
                <a:gd name="T71" fmla="*/ 103 h 179"/>
                <a:gd name="T72" fmla="*/ 120 w 237"/>
                <a:gd name="T73" fmla="*/ 94 h 179"/>
                <a:gd name="T74" fmla="*/ 112 w 237"/>
                <a:gd name="T75" fmla="*/ 81 h 179"/>
                <a:gd name="T76" fmla="*/ 109 w 237"/>
                <a:gd name="T77" fmla="*/ 78 h 179"/>
                <a:gd name="T78" fmla="*/ 100 w 237"/>
                <a:gd name="T79" fmla="*/ 79 h 179"/>
                <a:gd name="T80" fmla="*/ 102 w 237"/>
                <a:gd name="T81" fmla="*/ 71 h 179"/>
                <a:gd name="T82" fmla="*/ 109 w 237"/>
                <a:gd name="T83" fmla="*/ 58 h 179"/>
                <a:gd name="T84" fmla="*/ 114 w 237"/>
                <a:gd name="T85" fmla="*/ 40 h 179"/>
                <a:gd name="T86" fmla="*/ 116 w 237"/>
                <a:gd name="T87" fmla="*/ 36 h 179"/>
                <a:gd name="T88" fmla="*/ 125 w 237"/>
                <a:gd name="T89" fmla="*/ 28 h 179"/>
                <a:gd name="T90" fmla="*/ 128 w 237"/>
                <a:gd name="T91" fmla="*/ 23 h 179"/>
                <a:gd name="T92" fmla="*/ 141 w 237"/>
                <a:gd name="T93" fmla="*/ 14 h 179"/>
                <a:gd name="T94" fmla="*/ 151 w 237"/>
                <a:gd name="T95" fmla="*/ 12 h 179"/>
                <a:gd name="T96" fmla="*/ 154 w 237"/>
                <a:gd name="T97" fmla="*/ 7 h 1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6" h="179">
                  <a:moveTo>
                    <a:pt x="143" y="0"/>
                  </a:moveTo>
                  <a:cubicBezTo>
                    <a:pt x="143" y="0"/>
                    <a:pt x="143" y="0"/>
                    <a:pt x="142" y="0"/>
                  </a:cubicBezTo>
                  <a:cubicBezTo>
                    <a:pt x="139" y="0"/>
                    <a:pt x="134" y="3"/>
                    <a:pt x="132" y="5"/>
                  </a:cubicBezTo>
                  <a:cubicBezTo>
                    <a:pt x="129" y="6"/>
                    <a:pt x="128" y="11"/>
                    <a:pt x="126" y="14"/>
                  </a:cubicBezTo>
                  <a:cubicBezTo>
                    <a:pt x="122" y="16"/>
                    <a:pt x="118" y="18"/>
                    <a:pt x="114" y="20"/>
                  </a:cubicBezTo>
                  <a:cubicBezTo>
                    <a:pt x="111" y="22"/>
                    <a:pt x="109" y="25"/>
                    <a:pt x="106" y="26"/>
                  </a:cubicBezTo>
                  <a:cubicBezTo>
                    <a:pt x="103" y="27"/>
                    <a:pt x="100" y="28"/>
                    <a:pt x="97" y="28"/>
                  </a:cubicBezTo>
                  <a:cubicBezTo>
                    <a:pt x="94" y="28"/>
                    <a:pt x="92" y="27"/>
                    <a:pt x="89" y="27"/>
                  </a:cubicBezTo>
                  <a:cubicBezTo>
                    <a:pt x="88" y="26"/>
                    <a:pt x="87" y="26"/>
                    <a:pt x="87" y="26"/>
                  </a:cubicBezTo>
                  <a:cubicBezTo>
                    <a:pt x="86" y="26"/>
                    <a:pt x="86" y="26"/>
                    <a:pt x="85" y="26"/>
                  </a:cubicBezTo>
                  <a:cubicBezTo>
                    <a:pt x="83" y="28"/>
                    <a:pt x="82" y="33"/>
                    <a:pt x="81" y="36"/>
                  </a:cubicBezTo>
                  <a:cubicBezTo>
                    <a:pt x="80" y="38"/>
                    <a:pt x="79" y="40"/>
                    <a:pt x="78" y="40"/>
                  </a:cubicBezTo>
                  <a:cubicBezTo>
                    <a:pt x="77" y="40"/>
                    <a:pt x="76" y="39"/>
                    <a:pt x="74" y="38"/>
                  </a:cubicBezTo>
                  <a:cubicBezTo>
                    <a:pt x="74" y="39"/>
                    <a:pt x="74" y="39"/>
                    <a:pt x="74" y="39"/>
                  </a:cubicBezTo>
                  <a:cubicBezTo>
                    <a:pt x="74" y="38"/>
                    <a:pt x="75" y="36"/>
                    <a:pt x="76" y="35"/>
                  </a:cubicBezTo>
                  <a:cubicBezTo>
                    <a:pt x="76" y="34"/>
                    <a:pt x="77" y="34"/>
                    <a:pt x="77" y="34"/>
                  </a:cubicBezTo>
                  <a:cubicBezTo>
                    <a:pt x="78" y="34"/>
                    <a:pt x="78" y="34"/>
                    <a:pt x="78" y="35"/>
                  </a:cubicBezTo>
                  <a:cubicBezTo>
                    <a:pt x="79" y="35"/>
                    <a:pt x="79" y="35"/>
                    <a:pt x="79" y="35"/>
                  </a:cubicBezTo>
                  <a:cubicBezTo>
                    <a:pt x="80" y="35"/>
                    <a:pt x="80" y="35"/>
                    <a:pt x="80" y="35"/>
                  </a:cubicBezTo>
                  <a:cubicBezTo>
                    <a:pt x="80" y="35"/>
                    <a:pt x="81" y="34"/>
                    <a:pt x="81" y="34"/>
                  </a:cubicBezTo>
                  <a:cubicBezTo>
                    <a:pt x="80" y="34"/>
                    <a:pt x="79" y="34"/>
                    <a:pt x="78" y="34"/>
                  </a:cubicBezTo>
                  <a:cubicBezTo>
                    <a:pt x="77" y="34"/>
                    <a:pt x="76" y="34"/>
                    <a:pt x="75" y="34"/>
                  </a:cubicBezTo>
                  <a:cubicBezTo>
                    <a:pt x="74" y="33"/>
                    <a:pt x="70" y="31"/>
                    <a:pt x="68" y="31"/>
                  </a:cubicBezTo>
                  <a:cubicBezTo>
                    <a:pt x="68" y="31"/>
                    <a:pt x="67" y="31"/>
                    <a:pt x="67" y="31"/>
                  </a:cubicBezTo>
                  <a:cubicBezTo>
                    <a:pt x="66" y="33"/>
                    <a:pt x="64" y="36"/>
                    <a:pt x="62" y="37"/>
                  </a:cubicBezTo>
                  <a:cubicBezTo>
                    <a:pt x="61" y="37"/>
                    <a:pt x="59" y="38"/>
                    <a:pt x="59" y="39"/>
                  </a:cubicBezTo>
                  <a:cubicBezTo>
                    <a:pt x="59" y="40"/>
                    <a:pt x="59" y="40"/>
                    <a:pt x="58" y="41"/>
                  </a:cubicBezTo>
                  <a:cubicBezTo>
                    <a:pt x="57" y="42"/>
                    <a:pt x="54" y="42"/>
                    <a:pt x="52" y="44"/>
                  </a:cubicBezTo>
                  <a:cubicBezTo>
                    <a:pt x="50" y="47"/>
                    <a:pt x="51" y="51"/>
                    <a:pt x="48" y="54"/>
                  </a:cubicBezTo>
                  <a:cubicBezTo>
                    <a:pt x="49" y="53"/>
                    <a:pt x="51" y="52"/>
                    <a:pt x="52" y="52"/>
                  </a:cubicBezTo>
                  <a:cubicBezTo>
                    <a:pt x="52" y="55"/>
                    <a:pt x="50" y="59"/>
                    <a:pt x="49" y="63"/>
                  </a:cubicBezTo>
                  <a:cubicBezTo>
                    <a:pt x="47" y="65"/>
                    <a:pt x="51" y="65"/>
                    <a:pt x="50" y="67"/>
                  </a:cubicBezTo>
                  <a:cubicBezTo>
                    <a:pt x="49" y="68"/>
                    <a:pt x="49" y="71"/>
                    <a:pt x="47" y="71"/>
                  </a:cubicBezTo>
                  <a:cubicBezTo>
                    <a:pt x="47" y="71"/>
                    <a:pt x="47" y="71"/>
                    <a:pt x="47" y="71"/>
                  </a:cubicBezTo>
                  <a:cubicBezTo>
                    <a:pt x="46" y="71"/>
                    <a:pt x="46" y="71"/>
                    <a:pt x="46" y="71"/>
                  </a:cubicBezTo>
                  <a:cubicBezTo>
                    <a:pt x="44" y="71"/>
                    <a:pt x="43" y="71"/>
                    <a:pt x="41" y="72"/>
                  </a:cubicBezTo>
                  <a:cubicBezTo>
                    <a:pt x="37" y="74"/>
                    <a:pt x="36" y="79"/>
                    <a:pt x="34" y="82"/>
                  </a:cubicBezTo>
                  <a:cubicBezTo>
                    <a:pt x="32" y="85"/>
                    <a:pt x="26" y="88"/>
                    <a:pt x="23" y="89"/>
                  </a:cubicBezTo>
                  <a:cubicBezTo>
                    <a:pt x="23" y="89"/>
                    <a:pt x="21" y="89"/>
                    <a:pt x="21" y="90"/>
                  </a:cubicBezTo>
                  <a:cubicBezTo>
                    <a:pt x="18" y="92"/>
                    <a:pt x="21" y="94"/>
                    <a:pt x="23" y="97"/>
                  </a:cubicBezTo>
                  <a:cubicBezTo>
                    <a:pt x="23" y="98"/>
                    <a:pt x="24" y="102"/>
                    <a:pt x="24" y="103"/>
                  </a:cubicBezTo>
                  <a:cubicBezTo>
                    <a:pt x="24" y="104"/>
                    <a:pt x="24" y="106"/>
                    <a:pt x="24" y="106"/>
                  </a:cubicBezTo>
                  <a:cubicBezTo>
                    <a:pt x="24" y="106"/>
                    <a:pt x="23" y="106"/>
                    <a:pt x="23" y="106"/>
                  </a:cubicBezTo>
                  <a:cubicBezTo>
                    <a:pt x="22" y="106"/>
                    <a:pt x="22" y="105"/>
                    <a:pt x="21" y="104"/>
                  </a:cubicBezTo>
                  <a:cubicBezTo>
                    <a:pt x="19" y="99"/>
                    <a:pt x="15" y="95"/>
                    <a:pt x="11" y="91"/>
                  </a:cubicBezTo>
                  <a:cubicBezTo>
                    <a:pt x="11" y="91"/>
                    <a:pt x="11" y="92"/>
                    <a:pt x="11" y="92"/>
                  </a:cubicBezTo>
                  <a:cubicBezTo>
                    <a:pt x="12" y="93"/>
                    <a:pt x="12" y="95"/>
                    <a:pt x="13" y="97"/>
                  </a:cubicBezTo>
                  <a:cubicBezTo>
                    <a:pt x="14" y="98"/>
                    <a:pt x="15" y="101"/>
                    <a:pt x="17" y="104"/>
                  </a:cubicBezTo>
                  <a:cubicBezTo>
                    <a:pt x="18" y="107"/>
                    <a:pt x="18" y="107"/>
                    <a:pt x="18" y="107"/>
                  </a:cubicBezTo>
                  <a:cubicBezTo>
                    <a:pt x="16" y="108"/>
                    <a:pt x="16" y="108"/>
                    <a:pt x="16" y="108"/>
                  </a:cubicBezTo>
                  <a:cubicBezTo>
                    <a:pt x="13" y="110"/>
                    <a:pt x="12" y="111"/>
                    <a:pt x="10" y="113"/>
                  </a:cubicBezTo>
                  <a:cubicBezTo>
                    <a:pt x="8" y="116"/>
                    <a:pt x="7" y="118"/>
                    <a:pt x="5" y="118"/>
                  </a:cubicBezTo>
                  <a:cubicBezTo>
                    <a:pt x="5" y="118"/>
                    <a:pt x="5" y="118"/>
                    <a:pt x="5" y="118"/>
                  </a:cubicBezTo>
                  <a:cubicBezTo>
                    <a:pt x="3" y="118"/>
                    <a:pt x="3" y="118"/>
                    <a:pt x="3" y="118"/>
                  </a:cubicBezTo>
                  <a:cubicBezTo>
                    <a:pt x="3" y="119"/>
                    <a:pt x="2" y="120"/>
                    <a:pt x="1" y="121"/>
                  </a:cubicBezTo>
                  <a:cubicBezTo>
                    <a:pt x="1" y="122"/>
                    <a:pt x="1" y="122"/>
                    <a:pt x="1" y="122"/>
                  </a:cubicBezTo>
                  <a:cubicBezTo>
                    <a:pt x="1" y="125"/>
                    <a:pt x="1" y="125"/>
                    <a:pt x="1" y="125"/>
                  </a:cubicBezTo>
                  <a:cubicBezTo>
                    <a:pt x="0" y="125"/>
                    <a:pt x="0" y="125"/>
                    <a:pt x="0" y="125"/>
                  </a:cubicBezTo>
                  <a:cubicBezTo>
                    <a:pt x="2" y="128"/>
                    <a:pt x="4" y="130"/>
                    <a:pt x="6" y="133"/>
                  </a:cubicBezTo>
                  <a:cubicBezTo>
                    <a:pt x="7" y="134"/>
                    <a:pt x="9" y="136"/>
                    <a:pt x="10" y="137"/>
                  </a:cubicBezTo>
                  <a:cubicBezTo>
                    <a:pt x="10" y="140"/>
                    <a:pt x="7" y="142"/>
                    <a:pt x="7" y="145"/>
                  </a:cubicBezTo>
                  <a:cubicBezTo>
                    <a:pt x="7" y="148"/>
                    <a:pt x="10" y="151"/>
                    <a:pt x="11" y="154"/>
                  </a:cubicBezTo>
                  <a:cubicBezTo>
                    <a:pt x="11" y="154"/>
                    <a:pt x="12" y="155"/>
                    <a:pt x="12" y="156"/>
                  </a:cubicBezTo>
                  <a:cubicBezTo>
                    <a:pt x="12" y="159"/>
                    <a:pt x="6" y="160"/>
                    <a:pt x="6" y="162"/>
                  </a:cubicBezTo>
                  <a:cubicBezTo>
                    <a:pt x="8" y="164"/>
                    <a:pt x="10" y="167"/>
                    <a:pt x="10" y="169"/>
                  </a:cubicBezTo>
                  <a:cubicBezTo>
                    <a:pt x="10" y="172"/>
                    <a:pt x="10" y="175"/>
                    <a:pt x="10" y="179"/>
                  </a:cubicBezTo>
                  <a:cubicBezTo>
                    <a:pt x="227" y="179"/>
                    <a:pt x="227" y="179"/>
                    <a:pt x="227" y="179"/>
                  </a:cubicBezTo>
                  <a:cubicBezTo>
                    <a:pt x="227" y="178"/>
                    <a:pt x="227" y="177"/>
                    <a:pt x="227" y="176"/>
                  </a:cubicBezTo>
                  <a:cubicBezTo>
                    <a:pt x="227" y="174"/>
                    <a:pt x="228" y="171"/>
                    <a:pt x="228" y="168"/>
                  </a:cubicBezTo>
                  <a:cubicBezTo>
                    <a:pt x="228" y="167"/>
                    <a:pt x="228" y="167"/>
                    <a:pt x="228" y="167"/>
                  </a:cubicBezTo>
                  <a:cubicBezTo>
                    <a:pt x="228" y="164"/>
                    <a:pt x="230" y="162"/>
                    <a:pt x="231" y="160"/>
                  </a:cubicBezTo>
                  <a:cubicBezTo>
                    <a:pt x="232" y="159"/>
                    <a:pt x="232" y="159"/>
                    <a:pt x="232" y="158"/>
                  </a:cubicBezTo>
                  <a:cubicBezTo>
                    <a:pt x="233" y="158"/>
                    <a:pt x="233" y="157"/>
                    <a:pt x="234" y="157"/>
                  </a:cubicBezTo>
                  <a:cubicBezTo>
                    <a:pt x="234" y="156"/>
                    <a:pt x="234" y="156"/>
                    <a:pt x="234" y="156"/>
                  </a:cubicBezTo>
                  <a:cubicBezTo>
                    <a:pt x="235" y="155"/>
                    <a:pt x="236" y="154"/>
                    <a:pt x="236" y="152"/>
                  </a:cubicBezTo>
                  <a:cubicBezTo>
                    <a:pt x="237" y="151"/>
                    <a:pt x="237" y="150"/>
                    <a:pt x="237" y="149"/>
                  </a:cubicBezTo>
                  <a:cubicBezTo>
                    <a:pt x="237" y="147"/>
                    <a:pt x="233" y="147"/>
                    <a:pt x="232" y="147"/>
                  </a:cubicBezTo>
                  <a:cubicBezTo>
                    <a:pt x="231" y="147"/>
                    <a:pt x="230" y="147"/>
                    <a:pt x="230" y="147"/>
                  </a:cubicBezTo>
                  <a:cubicBezTo>
                    <a:pt x="227" y="147"/>
                    <a:pt x="223" y="147"/>
                    <a:pt x="220" y="148"/>
                  </a:cubicBezTo>
                  <a:cubicBezTo>
                    <a:pt x="218" y="148"/>
                    <a:pt x="216" y="148"/>
                    <a:pt x="214" y="149"/>
                  </a:cubicBezTo>
                  <a:cubicBezTo>
                    <a:pt x="211" y="149"/>
                    <a:pt x="211" y="149"/>
                    <a:pt x="211" y="149"/>
                  </a:cubicBezTo>
                  <a:cubicBezTo>
                    <a:pt x="209" y="149"/>
                    <a:pt x="207" y="149"/>
                    <a:pt x="204" y="150"/>
                  </a:cubicBezTo>
                  <a:cubicBezTo>
                    <a:pt x="204" y="150"/>
                    <a:pt x="204" y="150"/>
                    <a:pt x="204" y="150"/>
                  </a:cubicBezTo>
                  <a:cubicBezTo>
                    <a:pt x="204" y="150"/>
                    <a:pt x="203" y="150"/>
                    <a:pt x="202" y="150"/>
                  </a:cubicBezTo>
                  <a:cubicBezTo>
                    <a:pt x="199" y="151"/>
                    <a:pt x="197" y="151"/>
                    <a:pt x="195" y="151"/>
                  </a:cubicBezTo>
                  <a:cubicBezTo>
                    <a:pt x="194" y="151"/>
                    <a:pt x="193" y="151"/>
                    <a:pt x="192" y="150"/>
                  </a:cubicBezTo>
                  <a:cubicBezTo>
                    <a:pt x="189" y="149"/>
                    <a:pt x="186" y="145"/>
                    <a:pt x="183" y="140"/>
                  </a:cubicBezTo>
                  <a:cubicBezTo>
                    <a:pt x="183" y="139"/>
                    <a:pt x="182" y="139"/>
                    <a:pt x="182" y="138"/>
                  </a:cubicBezTo>
                  <a:cubicBezTo>
                    <a:pt x="181" y="137"/>
                    <a:pt x="181" y="137"/>
                    <a:pt x="181" y="137"/>
                  </a:cubicBezTo>
                  <a:cubicBezTo>
                    <a:pt x="180" y="136"/>
                    <a:pt x="179" y="135"/>
                    <a:pt x="179" y="134"/>
                  </a:cubicBezTo>
                  <a:cubicBezTo>
                    <a:pt x="176" y="131"/>
                    <a:pt x="176" y="131"/>
                    <a:pt x="172" y="130"/>
                  </a:cubicBezTo>
                  <a:cubicBezTo>
                    <a:pt x="170" y="129"/>
                    <a:pt x="167" y="129"/>
                    <a:pt x="165" y="128"/>
                  </a:cubicBezTo>
                  <a:cubicBezTo>
                    <a:pt x="164" y="128"/>
                    <a:pt x="162" y="129"/>
                    <a:pt x="161" y="129"/>
                  </a:cubicBezTo>
                  <a:cubicBezTo>
                    <a:pt x="159" y="130"/>
                    <a:pt x="158" y="130"/>
                    <a:pt x="156" y="130"/>
                  </a:cubicBezTo>
                  <a:cubicBezTo>
                    <a:pt x="155" y="131"/>
                    <a:pt x="154" y="131"/>
                    <a:pt x="153" y="131"/>
                  </a:cubicBezTo>
                  <a:cubicBezTo>
                    <a:pt x="151" y="131"/>
                    <a:pt x="150" y="130"/>
                    <a:pt x="148" y="130"/>
                  </a:cubicBezTo>
                  <a:cubicBezTo>
                    <a:pt x="147" y="130"/>
                    <a:pt x="146" y="130"/>
                    <a:pt x="145" y="130"/>
                  </a:cubicBezTo>
                  <a:cubicBezTo>
                    <a:pt x="144" y="130"/>
                    <a:pt x="143" y="130"/>
                    <a:pt x="142" y="130"/>
                  </a:cubicBezTo>
                  <a:cubicBezTo>
                    <a:pt x="141" y="130"/>
                    <a:pt x="140" y="130"/>
                    <a:pt x="138" y="130"/>
                  </a:cubicBezTo>
                  <a:cubicBezTo>
                    <a:pt x="137" y="130"/>
                    <a:pt x="137" y="130"/>
                    <a:pt x="136" y="130"/>
                  </a:cubicBezTo>
                  <a:cubicBezTo>
                    <a:pt x="135" y="130"/>
                    <a:pt x="134" y="130"/>
                    <a:pt x="133" y="129"/>
                  </a:cubicBezTo>
                  <a:cubicBezTo>
                    <a:pt x="131" y="128"/>
                    <a:pt x="130" y="126"/>
                    <a:pt x="129" y="124"/>
                  </a:cubicBezTo>
                  <a:cubicBezTo>
                    <a:pt x="129" y="124"/>
                    <a:pt x="129" y="123"/>
                    <a:pt x="129" y="123"/>
                  </a:cubicBezTo>
                  <a:cubicBezTo>
                    <a:pt x="129" y="122"/>
                    <a:pt x="128" y="122"/>
                    <a:pt x="128" y="122"/>
                  </a:cubicBezTo>
                  <a:cubicBezTo>
                    <a:pt x="128" y="121"/>
                    <a:pt x="128" y="121"/>
                    <a:pt x="127" y="121"/>
                  </a:cubicBezTo>
                  <a:cubicBezTo>
                    <a:pt x="126" y="121"/>
                    <a:pt x="126" y="121"/>
                    <a:pt x="125" y="120"/>
                  </a:cubicBezTo>
                  <a:cubicBezTo>
                    <a:pt x="122" y="120"/>
                    <a:pt x="121" y="118"/>
                    <a:pt x="121" y="115"/>
                  </a:cubicBezTo>
                  <a:cubicBezTo>
                    <a:pt x="120" y="110"/>
                    <a:pt x="120" y="106"/>
                    <a:pt x="122" y="103"/>
                  </a:cubicBezTo>
                  <a:cubicBezTo>
                    <a:pt x="122" y="103"/>
                    <a:pt x="123" y="102"/>
                    <a:pt x="123" y="102"/>
                  </a:cubicBezTo>
                  <a:cubicBezTo>
                    <a:pt x="122" y="99"/>
                    <a:pt x="122" y="97"/>
                    <a:pt x="121" y="95"/>
                  </a:cubicBezTo>
                  <a:cubicBezTo>
                    <a:pt x="120" y="94"/>
                    <a:pt x="120" y="94"/>
                    <a:pt x="120" y="94"/>
                  </a:cubicBezTo>
                  <a:cubicBezTo>
                    <a:pt x="116" y="86"/>
                    <a:pt x="116" y="86"/>
                    <a:pt x="116" y="86"/>
                  </a:cubicBezTo>
                  <a:cubicBezTo>
                    <a:pt x="116" y="84"/>
                    <a:pt x="115" y="82"/>
                    <a:pt x="114" y="81"/>
                  </a:cubicBezTo>
                  <a:cubicBezTo>
                    <a:pt x="114" y="81"/>
                    <a:pt x="113" y="81"/>
                    <a:pt x="112" y="81"/>
                  </a:cubicBezTo>
                  <a:cubicBezTo>
                    <a:pt x="111" y="81"/>
                    <a:pt x="110" y="80"/>
                    <a:pt x="110" y="80"/>
                  </a:cubicBezTo>
                  <a:cubicBezTo>
                    <a:pt x="109" y="79"/>
                    <a:pt x="109" y="79"/>
                    <a:pt x="109" y="79"/>
                  </a:cubicBezTo>
                  <a:cubicBezTo>
                    <a:pt x="109" y="79"/>
                    <a:pt x="109" y="78"/>
                    <a:pt x="109" y="78"/>
                  </a:cubicBezTo>
                  <a:cubicBezTo>
                    <a:pt x="107" y="79"/>
                    <a:pt x="105" y="79"/>
                    <a:pt x="104" y="80"/>
                  </a:cubicBezTo>
                  <a:cubicBezTo>
                    <a:pt x="102" y="80"/>
                    <a:pt x="102" y="80"/>
                    <a:pt x="102" y="80"/>
                  </a:cubicBezTo>
                  <a:cubicBezTo>
                    <a:pt x="100" y="79"/>
                    <a:pt x="100" y="79"/>
                    <a:pt x="100" y="79"/>
                  </a:cubicBezTo>
                  <a:cubicBezTo>
                    <a:pt x="99" y="77"/>
                    <a:pt x="100" y="74"/>
                    <a:pt x="101" y="73"/>
                  </a:cubicBezTo>
                  <a:cubicBezTo>
                    <a:pt x="101" y="72"/>
                    <a:pt x="101" y="72"/>
                    <a:pt x="101" y="72"/>
                  </a:cubicBezTo>
                  <a:cubicBezTo>
                    <a:pt x="102" y="72"/>
                    <a:pt x="102" y="71"/>
                    <a:pt x="102" y="71"/>
                  </a:cubicBezTo>
                  <a:cubicBezTo>
                    <a:pt x="102" y="71"/>
                    <a:pt x="102" y="71"/>
                    <a:pt x="102" y="71"/>
                  </a:cubicBezTo>
                  <a:cubicBezTo>
                    <a:pt x="105" y="67"/>
                    <a:pt x="107" y="64"/>
                    <a:pt x="108" y="60"/>
                  </a:cubicBezTo>
                  <a:cubicBezTo>
                    <a:pt x="108" y="59"/>
                    <a:pt x="108" y="59"/>
                    <a:pt x="109" y="58"/>
                  </a:cubicBezTo>
                  <a:cubicBezTo>
                    <a:pt x="109" y="56"/>
                    <a:pt x="109" y="55"/>
                    <a:pt x="109" y="53"/>
                  </a:cubicBezTo>
                  <a:cubicBezTo>
                    <a:pt x="109" y="51"/>
                    <a:pt x="110" y="49"/>
                    <a:pt x="110" y="47"/>
                  </a:cubicBezTo>
                  <a:cubicBezTo>
                    <a:pt x="111" y="44"/>
                    <a:pt x="112" y="42"/>
                    <a:pt x="114" y="40"/>
                  </a:cubicBezTo>
                  <a:cubicBezTo>
                    <a:pt x="114" y="40"/>
                    <a:pt x="114" y="40"/>
                    <a:pt x="114" y="40"/>
                  </a:cubicBezTo>
                  <a:cubicBezTo>
                    <a:pt x="114" y="39"/>
                    <a:pt x="115" y="38"/>
                    <a:pt x="115" y="37"/>
                  </a:cubicBezTo>
                  <a:cubicBezTo>
                    <a:pt x="116" y="36"/>
                    <a:pt x="116" y="36"/>
                    <a:pt x="116" y="36"/>
                  </a:cubicBezTo>
                  <a:cubicBezTo>
                    <a:pt x="116" y="36"/>
                    <a:pt x="116" y="36"/>
                    <a:pt x="116" y="36"/>
                  </a:cubicBezTo>
                  <a:cubicBezTo>
                    <a:pt x="117" y="34"/>
                    <a:pt x="118" y="31"/>
                    <a:pt x="121" y="30"/>
                  </a:cubicBezTo>
                  <a:cubicBezTo>
                    <a:pt x="122" y="29"/>
                    <a:pt x="124" y="28"/>
                    <a:pt x="125" y="28"/>
                  </a:cubicBezTo>
                  <a:cubicBezTo>
                    <a:pt x="126" y="28"/>
                    <a:pt x="126" y="27"/>
                    <a:pt x="127" y="27"/>
                  </a:cubicBezTo>
                  <a:cubicBezTo>
                    <a:pt x="127" y="26"/>
                    <a:pt x="127" y="26"/>
                    <a:pt x="127" y="26"/>
                  </a:cubicBezTo>
                  <a:cubicBezTo>
                    <a:pt x="127" y="25"/>
                    <a:pt x="128" y="24"/>
                    <a:pt x="128" y="23"/>
                  </a:cubicBezTo>
                  <a:cubicBezTo>
                    <a:pt x="130" y="20"/>
                    <a:pt x="131" y="17"/>
                    <a:pt x="133" y="16"/>
                  </a:cubicBezTo>
                  <a:cubicBezTo>
                    <a:pt x="134" y="15"/>
                    <a:pt x="137" y="14"/>
                    <a:pt x="139" y="14"/>
                  </a:cubicBezTo>
                  <a:cubicBezTo>
                    <a:pt x="140" y="14"/>
                    <a:pt x="140" y="14"/>
                    <a:pt x="141" y="14"/>
                  </a:cubicBezTo>
                  <a:cubicBezTo>
                    <a:pt x="144" y="13"/>
                    <a:pt x="144" y="13"/>
                    <a:pt x="144" y="13"/>
                  </a:cubicBezTo>
                  <a:cubicBezTo>
                    <a:pt x="145" y="12"/>
                    <a:pt x="147" y="12"/>
                    <a:pt x="149" y="12"/>
                  </a:cubicBezTo>
                  <a:cubicBezTo>
                    <a:pt x="151" y="12"/>
                    <a:pt x="151" y="12"/>
                    <a:pt x="151" y="12"/>
                  </a:cubicBezTo>
                  <a:cubicBezTo>
                    <a:pt x="151" y="13"/>
                    <a:pt x="151" y="13"/>
                    <a:pt x="151" y="13"/>
                  </a:cubicBezTo>
                  <a:cubicBezTo>
                    <a:pt x="151" y="12"/>
                    <a:pt x="152" y="12"/>
                    <a:pt x="152" y="11"/>
                  </a:cubicBezTo>
                  <a:cubicBezTo>
                    <a:pt x="154" y="9"/>
                    <a:pt x="155" y="10"/>
                    <a:pt x="154" y="7"/>
                  </a:cubicBezTo>
                  <a:cubicBezTo>
                    <a:pt x="153" y="5"/>
                    <a:pt x="152" y="3"/>
                    <a:pt x="150" y="2"/>
                  </a:cubicBezTo>
                  <a:cubicBezTo>
                    <a:pt x="148" y="1"/>
                    <a:pt x="145" y="0"/>
                    <a:pt x="1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9"/>
            <p:cNvSpPr>
              <a:spLocks noEditPoints="1"/>
            </p:cNvSpPr>
            <p:nvPr/>
          </p:nvSpPr>
          <p:spPr bwMode="auto">
            <a:xfrm>
              <a:off x="9555154" y="8065322"/>
              <a:ext cx="1141413" cy="649288"/>
            </a:xfrm>
            <a:custGeom>
              <a:gdLst>
                <a:gd name="T0" fmla="*/ 256 w 304"/>
                <a:gd name="T1" fmla="*/ 54 h 173"/>
                <a:gd name="T2" fmla="*/ 256 w 304"/>
                <a:gd name="T3" fmla="*/ 54 h 173"/>
                <a:gd name="T4" fmla="*/ 66 w 304"/>
                <a:gd name="T5" fmla="*/ 4 h 173"/>
                <a:gd name="T6" fmla="*/ 71 w 304"/>
                <a:gd name="T7" fmla="*/ 13 h 173"/>
                <a:gd name="T8" fmla="*/ 71 w 304"/>
                <a:gd name="T9" fmla="*/ 16 h 173"/>
                <a:gd name="T10" fmla="*/ 40 w 304"/>
                <a:gd name="T11" fmla="*/ 28 h 173"/>
                <a:gd name="T12" fmla="*/ 36 w 304"/>
                <a:gd name="T13" fmla="*/ 74 h 173"/>
                <a:gd name="T14" fmla="*/ 23 w 304"/>
                <a:gd name="T15" fmla="*/ 57 h 173"/>
                <a:gd name="T16" fmla="*/ 32 w 304"/>
                <a:gd name="T17" fmla="*/ 28 h 173"/>
                <a:gd name="T18" fmla="*/ 23 w 304"/>
                <a:gd name="T19" fmla="*/ 23 h 173"/>
                <a:gd name="T20" fmla="*/ 11 w 304"/>
                <a:gd name="T21" fmla="*/ 34 h 173"/>
                <a:gd name="T22" fmla="*/ 7 w 304"/>
                <a:gd name="T23" fmla="*/ 42 h 173"/>
                <a:gd name="T24" fmla="*/ 0 w 304"/>
                <a:gd name="T25" fmla="*/ 66 h 173"/>
                <a:gd name="T26" fmla="*/ 5 w 304"/>
                <a:gd name="T27" fmla="*/ 69 h 173"/>
                <a:gd name="T28" fmla="*/ 10 w 304"/>
                <a:gd name="T29" fmla="*/ 72 h 173"/>
                <a:gd name="T30" fmla="*/ 19 w 304"/>
                <a:gd name="T31" fmla="*/ 97 h 173"/>
                <a:gd name="T32" fmla="*/ 24 w 304"/>
                <a:gd name="T33" fmla="*/ 113 h 173"/>
                <a:gd name="T34" fmla="*/ 27 w 304"/>
                <a:gd name="T35" fmla="*/ 118 h 173"/>
                <a:gd name="T36" fmla="*/ 37 w 304"/>
                <a:gd name="T37" fmla="*/ 118 h 173"/>
                <a:gd name="T38" fmla="*/ 46 w 304"/>
                <a:gd name="T39" fmla="*/ 119 h 173"/>
                <a:gd name="T40" fmla="*/ 74 w 304"/>
                <a:gd name="T41" fmla="*/ 124 h 173"/>
                <a:gd name="T42" fmla="*/ 86 w 304"/>
                <a:gd name="T43" fmla="*/ 139 h 173"/>
                <a:gd name="T44" fmla="*/ 102 w 304"/>
                <a:gd name="T45" fmla="*/ 137 h 173"/>
                <a:gd name="T46" fmla="*/ 123 w 304"/>
                <a:gd name="T47" fmla="*/ 135 h 173"/>
                <a:gd name="T48" fmla="*/ 128 w 304"/>
                <a:gd name="T49" fmla="*/ 155 h 173"/>
                <a:gd name="T50" fmla="*/ 124 w 304"/>
                <a:gd name="T51" fmla="*/ 170 h 173"/>
                <a:gd name="T52" fmla="*/ 281 w 304"/>
                <a:gd name="T53" fmla="*/ 167 h 173"/>
                <a:gd name="T54" fmla="*/ 286 w 304"/>
                <a:gd name="T55" fmla="*/ 167 h 173"/>
                <a:gd name="T56" fmla="*/ 280 w 304"/>
                <a:gd name="T57" fmla="*/ 161 h 173"/>
                <a:gd name="T58" fmla="*/ 273 w 304"/>
                <a:gd name="T59" fmla="*/ 141 h 173"/>
                <a:gd name="T60" fmla="*/ 274 w 304"/>
                <a:gd name="T61" fmla="*/ 134 h 173"/>
                <a:gd name="T62" fmla="*/ 279 w 304"/>
                <a:gd name="T63" fmla="*/ 125 h 173"/>
                <a:gd name="T64" fmla="*/ 286 w 304"/>
                <a:gd name="T65" fmla="*/ 124 h 173"/>
                <a:gd name="T66" fmla="*/ 293 w 304"/>
                <a:gd name="T67" fmla="*/ 121 h 173"/>
                <a:gd name="T68" fmla="*/ 289 w 304"/>
                <a:gd name="T69" fmla="*/ 120 h 173"/>
                <a:gd name="T70" fmla="*/ 286 w 304"/>
                <a:gd name="T71" fmla="*/ 116 h 173"/>
                <a:gd name="T72" fmla="*/ 287 w 304"/>
                <a:gd name="T73" fmla="*/ 104 h 173"/>
                <a:gd name="T74" fmla="*/ 304 w 304"/>
                <a:gd name="T75" fmla="*/ 91 h 173"/>
                <a:gd name="T76" fmla="*/ 300 w 304"/>
                <a:gd name="T77" fmla="*/ 84 h 173"/>
                <a:gd name="T78" fmla="*/ 274 w 304"/>
                <a:gd name="T79" fmla="*/ 89 h 173"/>
                <a:gd name="T80" fmla="*/ 269 w 304"/>
                <a:gd name="T81" fmla="*/ 84 h 173"/>
                <a:gd name="T82" fmla="*/ 274 w 304"/>
                <a:gd name="T83" fmla="*/ 85 h 173"/>
                <a:gd name="T84" fmla="*/ 266 w 304"/>
                <a:gd name="T85" fmla="*/ 54 h 173"/>
                <a:gd name="T86" fmla="*/ 253 w 304"/>
                <a:gd name="T87" fmla="*/ 59 h 173"/>
                <a:gd name="T88" fmla="*/ 244 w 304"/>
                <a:gd name="T89" fmla="*/ 48 h 173"/>
                <a:gd name="T90" fmla="*/ 238 w 304"/>
                <a:gd name="T91" fmla="*/ 50 h 173"/>
                <a:gd name="T92" fmla="*/ 241 w 304"/>
                <a:gd name="T93" fmla="*/ 50 h 173"/>
                <a:gd name="T94" fmla="*/ 234 w 304"/>
                <a:gd name="T95" fmla="*/ 40 h 173"/>
                <a:gd name="T96" fmla="*/ 260 w 304"/>
                <a:gd name="T97" fmla="*/ 34 h 173"/>
                <a:gd name="T98" fmla="*/ 208 w 304"/>
                <a:gd name="T99" fmla="*/ 37 h 173"/>
                <a:gd name="T100" fmla="*/ 214 w 304"/>
                <a:gd name="T101" fmla="*/ 39 h 173"/>
                <a:gd name="T102" fmla="*/ 182 w 304"/>
                <a:gd name="T103" fmla="*/ 49 h 173"/>
                <a:gd name="T104" fmla="*/ 149 w 304"/>
                <a:gd name="T105" fmla="*/ 40 h 173"/>
                <a:gd name="T106" fmla="*/ 122 w 304"/>
                <a:gd name="T107" fmla="*/ 40 h 173"/>
                <a:gd name="T108" fmla="*/ 88 w 304"/>
                <a:gd name="T109" fmla="*/ 17 h 1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4" h="173">
                  <a:moveTo>
                    <a:pt x="205" y="36"/>
                  </a:moveTo>
                  <a:cubicBezTo>
                    <a:pt x="205" y="36"/>
                    <a:pt x="205" y="36"/>
                    <a:pt x="205" y="36"/>
                  </a:cubicBezTo>
                  <a:cubicBezTo>
                    <a:pt x="205" y="36"/>
                    <a:pt x="205" y="36"/>
                    <a:pt x="205" y="36"/>
                  </a:cubicBezTo>
                  <a:moveTo>
                    <a:pt x="256" y="54"/>
                  </a:move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moveTo>
                    <a:pt x="71" y="0"/>
                  </a:moveTo>
                  <a:cubicBezTo>
                    <a:pt x="69" y="0"/>
                    <a:pt x="67" y="1"/>
                    <a:pt x="66" y="4"/>
                  </a:cubicBezTo>
                  <a:cubicBezTo>
                    <a:pt x="65" y="6"/>
                    <a:pt x="65" y="7"/>
                    <a:pt x="66" y="9"/>
                  </a:cubicBezTo>
                  <a:cubicBezTo>
                    <a:pt x="67" y="11"/>
                    <a:pt x="67" y="13"/>
                    <a:pt x="69" y="13"/>
                  </a:cubicBezTo>
                  <a:cubicBezTo>
                    <a:pt x="69" y="13"/>
                    <a:pt x="69" y="13"/>
                    <a:pt x="69" y="13"/>
                  </a:cubicBezTo>
                  <a:cubicBezTo>
                    <a:pt x="70" y="13"/>
                    <a:pt x="70" y="13"/>
                    <a:pt x="70" y="13"/>
                  </a:cubicBezTo>
                  <a:cubicBezTo>
                    <a:pt x="71" y="13"/>
                    <a:pt x="71" y="13"/>
                    <a:pt x="71" y="13"/>
                  </a:cubicBezTo>
                  <a:cubicBezTo>
                    <a:pt x="73" y="13"/>
                    <a:pt x="74" y="12"/>
                    <a:pt x="76" y="12"/>
                  </a:cubicBezTo>
                  <a:cubicBezTo>
                    <a:pt x="77" y="13"/>
                    <a:pt x="77" y="15"/>
                    <a:pt x="77" y="16"/>
                  </a:cubicBezTo>
                  <a:cubicBezTo>
                    <a:pt x="77" y="16"/>
                    <a:pt x="76" y="16"/>
                    <a:pt x="75" y="16"/>
                  </a:cubicBezTo>
                  <a:cubicBezTo>
                    <a:pt x="72" y="16"/>
                    <a:pt x="70" y="16"/>
                    <a:pt x="69" y="15"/>
                  </a:cubicBezTo>
                  <a:cubicBezTo>
                    <a:pt x="69" y="15"/>
                    <a:pt x="70" y="16"/>
                    <a:pt x="71" y="16"/>
                  </a:cubicBezTo>
                  <a:cubicBezTo>
                    <a:pt x="70" y="18"/>
                    <a:pt x="68" y="19"/>
                    <a:pt x="67" y="19"/>
                  </a:cubicBezTo>
                  <a:cubicBezTo>
                    <a:pt x="61" y="20"/>
                    <a:pt x="55" y="23"/>
                    <a:pt x="50" y="24"/>
                  </a:cubicBezTo>
                  <a:cubicBezTo>
                    <a:pt x="47" y="25"/>
                    <a:pt x="44" y="27"/>
                    <a:pt x="42" y="28"/>
                  </a:cubicBezTo>
                  <a:cubicBezTo>
                    <a:pt x="42" y="28"/>
                    <a:pt x="41" y="28"/>
                    <a:pt x="41" y="28"/>
                  </a:cubicBezTo>
                  <a:cubicBezTo>
                    <a:pt x="41" y="28"/>
                    <a:pt x="40" y="28"/>
                    <a:pt x="40" y="28"/>
                  </a:cubicBezTo>
                  <a:cubicBezTo>
                    <a:pt x="40" y="28"/>
                    <a:pt x="39" y="28"/>
                    <a:pt x="39" y="28"/>
                  </a:cubicBezTo>
                  <a:cubicBezTo>
                    <a:pt x="39" y="28"/>
                    <a:pt x="38" y="28"/>
                    <a:pt x="38" y="29"/>
                  </a:cubicBezTo>
                  <a:cubicBezTo>
                    <a:pt x="32" y="32"/>
                    <a:pt x="43" y="52"/>
                    <a:pt x="45" y="56"/>
                  </a:cubicBezTo>
                  <a:cubicBezTo>
                    <a:pt x="48" y="62"/>
                    <a:pt x="48" y="67"/>
                    <a:pt x="43" y="71"/>
                  </a:cubicBezTo>
                  <a:cubicBezTo>
                    <a:pt x="41" y="72"/>
                    <a:pt x="39" y="73"/>
                    <a:pt x="36" y="74"/>
                  </a:cubicBezTo>
                  <a:cubicBezTo>
                    <a:pt x="36" y="74"/>
                    <a:pt x="35" y="74"/>
                    <a:pt x="34" y="74"/>
                  </a:cubicBezTo>
                  <a:cubicBezTo>
                    <a:pt x="34" y="74"/>
                    <a:pt x="33" y="74"/>
                    <a:pt x="33" y="73"/>
                  </a:cubicBezTo>
                  <a:cubicBezTo>
                    <a:pt x="31" y="73"/>
                    <a:pt x="32" y="70"/>
                    <a:pt x="31" y="68"/>
                  </a:cubicBezTo>
                  <a:cubicBezTo>
                    <a:pt x="31" y="66"/>
                    <a:pt x="30" y="65"/>
                    <a:pt x="28" y="64"/>
                  </a:cubicBezTo>
                  <a:cubicBezTo>
                    <a:pt x="27" y="63"/>
                    <a:pt x="24" y="59"/>
                    <a:pt x="23" y="57"/>
                  </a:cubicBezTo>
                  <a:cubicBezTo>
                    <a:pt x="22" y="55"/>
                    <a:pt x="24" y="53"/>
                    <a:pt x="26" y="50"/>
                  </a:cubicBezTo>
                  <a:cubicBezTo>
                    <a:pt x="27" y="47"/>
                    <a:pt x="30" y="45"/>
                    <a:pt x="32" y="42"/>
                  </a:cubicBezTo>
                  <a:cubicBezTo>
                    <a:pt x="34" y="39"/>
                    <a:pt x="33" y="37"/>
                    <a:pt x="33" y="33"/>
                  </a:cubicBezTo>
                  <a:cubicBezTo>
                    <a:pt x="33" y="32"/>
                    <a:pt x="32" y="29"/>
                    <a:pt x="31" y="28"/>
                  </a:cubicBezTo>
                  <a:cubicBezTo>
                    <a:pt x="31" y="28"/>
                    <a:pt x="32" y="28"/>
                    <a:pt x="32" y="28"/>
                  </a:cubicBezTo>
                  <a:cubicBezTo>
                    <a:pt x="33" y="28"/>
                    <a:pt x="33" y="28"/>
                    <a:pt x="34" y="28"/>
                  </a:cubicBezTo>
                  <a:cubicBezTo>
                    <a:pt x="31" y="26"/>
                    <a:pt x="29" y="24"/>
                    <a:pt x="27" y="21"/>
                  </a:cubicBezTo>
                  <a:cubicBezTo>
                    <a:pt x="27" y="20"/>
                    <a:pt x="26" y="18"/>
                    <a:pt x="26" y="17"/>
                  </a:cubicBezTo>
                  <a:cubicBezTo>
                    <a:pt x="26" y="17"/>
                    <a:pt x="25" y="18"/>
                    <a:pt x="25" y="20"/>
                  </a:cubicBezTo>
                  <a:cubicBezTo>
                    <a:pt x="24" y="21"/>
                    <a:pt x="24" y="22"/>
                    <a:pt x="23" y="23"/>
                  </a:cubicBezTo>
                  <a:cubicBezTo>
                    <a:pt x="23" y="24"/>
                    <a:pt x="22" y="24"/>
                    <a:pt x="22" y="24"/>
                  </a:cubicBezTo>
                  <a:cubicBezTo>
                    <a:pt x="21" y="26"/>
                    <a:pt x="19" y="27"/>
                    <a:pt x="17" y="27"/>
                  </a:cubicBezTo>
                  <a:cubicBezTo>
                    <a:pt x="16" y="28"/>
                    <a:pt x="16" y="28"/>
                    <a:pt x="15" y="28"/>
                  </a:cubicBezTo>
                  <a:cubicBezTo>
                    <a:pt x="14" y="29"/>
                    <a:pt x="13" y="31"/>
                    <a:pt x="12" y="33"/>
                  </a:cubicBezTo>
                  <a:cubicBezTo>
                    <a:pt x="11" y="34"/>
                    <a:pt x="11" y="34"/>
                    <a:pt x="11" y="34"/>
                  </a:cubicBezTo>
                  <a:cubicBezTo>
                    <a:pt x="11" y="35"/>
                    <a:pt x="10" y="36"/>
                    <a:pt x="9" y="37"/>
                  </a:cubicBezTo>
                  <a:cubicBezTo>
                    <a:pt x="8" y="37"/>
                    <a:pt x="8" y="37"/>
                    <a:pt x="8" y="37"/>
                  </a:cubicBezTo>
                  <a:cubicBezTo>
                    <a:pt x="8" y="37"/>
                    <a:pt x="8" y="37"/>
                    <a:pt x="8" y="37"/>
                  </a:cubicBezTo>
                  <a:cubicBezTo>
                    <a:pt x="9" y="38"/>
                    <a:pt x="9" y="38"/>
                    <a:pt x="9" y="38"/>
                  </a:cubicBezTo>
                  <a:cubicBezTo>
                    <a:pt x="8" y="39"/>
                    <a:pt x="7" y="41"/>
                    <a:pt x="7" y="42"/>
                  </a:cubicBezTo>
                  <a:cubicBezTo>
                    <a:pt x="6" y="44"/>
                    <a:pt x="6" y="46"/>
                    <a:pt x="6" y="48"/>
                  </a:cubicBezTo>
                  <a:cubicBezTo>
                    <a:pt x="6" y="48"/>
                    <a:pt x="6" y="48"/>
                    <a:pt x="6" y="48"/>
                  </a:cubicBezTo>
                  <a:cubicBezTo>
                    <a:pt x="6" y="50"/>
                    <a:pt x="5" y="51"/>
                    <a:pt x="5" y="53"/>
                  </a:cubicBezTo>
                  <a:cubicBezTo>
                    <a:pt x="5" y="54"/>
                    <a:pt x="5" y="55"/>
                    <a:pt x="4" y="56"/>
                  </a:cubicBezTo>
                  <a:cubicBezTo>
                    <a:pt x="3" y="60"/>
                    <a:pt x="2" y="63"/>
                    <a:pt x="0" y="66"/>
                  </a:cubicBezTo>
                  <a:cubicBezTo>
                    <a:pt x="0" y="66"/>
                    <a:pt x="1" y="65"/>
                    <a:pt x="1" y="65"/>
                  </a:cubicBezTo>
                  <a:cubicBezTo>
                    <a:pt x="4" y="64"/>
                    <a:pt x="4" y="64"/>
                    <a:pt x="4" y="64"/>
                  </a:cubicBezTo>
                  <a:cubicBezTo>
                    <a:pt x="5" y="67"/>
                    <a:pt x="5" y="67"/>
                    <a:pt x="5" y="67"/>
                  </a:cubicBezTo>
                  <a:cubicBezTo>
                    <a:pt x="5" y="68"/>
                    <a:pt x="5" y="68"/>
                    <a:pt x="5" y="69"/>
                  </a:cubicBezTo>
                  <a:cubicBezTo>
                    <a:pt x="5" y="69"/>
                    <a:pt x="5" y="69"/>
                    <a:pt x="5" y="69"/>
                  </a:cubicBezTo>
                  <a:cubicBezTo>
                    <a:pt x="5" y="69"/>
                    <a:pt x="5" y="69"/>
                    <a:pt x="5" y="69"/>
                  </a:cubicBezTo>
                  <a:cubicBezTo>
                    <a:pt x="6" y="69"/>
                    <a:pt x="6" y="69"/>
                    <a:pt x="6" y="69"/>
                  </a:cubicBezTo>
                  <a:cubicBezTo>
                    <a:pt x="6" y="69"/>
                    <a:pt x="6" y="69"/>
                    <a:pt x="6" y="69"/>
                  </a:cubicBezTo>
                  <a:cubicBezTo>
                    <a:pt x="7" y="69"/>
                    <a:pt x="7" y="69"/>
                    <a:pt x="7" y="69"/>
                  </a:cubicBezTo>
                  <a:cubicBezTo>
                    <a:pt x="9" y="70"/>
                    <a:pt x="9" y="71"/>
                    <a:pt x="10" y="72"/>
                  </a:cubicBezTo>
                  <a:cubicBezTo>
                    <a:pt x="11" y="74"/>
                    <a:pt x="12" y="76"/>
                    <a:pt x="13" y="79"/>
                  </a:cubicBezTo>
                  <a:cubicBezTo>
                    <a:pt x="17" y="86"/>
                    <a:pt x="17" y="86"/>
                    <a:pt x="17" y="86"/>
                  </a:cubicBezTo>
                  <a:cubicBezTo>
                    <a:pt x="18" y="89"/>
                    <a:pt x="19" y="92"/>
                    <a:pt x="19" y="96"/>
                  </a:cubicBezTo>
                  <a:cubicBezTo>
                    <a:pt x="19" y="96"/>
                    <a:pt x="19" y="96"/>
                    <a:pt x="19" y="96"/>
                  </a:cubicBezTo>
                  <a:cubicBezTo>
                    <a:pt x="19" y="97"/>
                    <a:pt x="19" y="97"/>
                    <a:pt x="19" y="97"/>
                  </a:cubicBezTo>
                  <a:cubicBezTo>
                    <a:pt x="19" y="98"/>
                    <a:pt x="19" y="99"/>
                    <a:pt x="18" y="100"/>
                  </a:cubicBezTo>
                  <a:cubicBezTo>
                    <a:pt x="17" y="102"/>
                    <a:pt x="17" y="105"/>
                    <a:pt x="17" y="108"/>
                  </a:cubicBezTo>
                  <a:cubicBezTo>
                    <a:pt x="17" y="108"/>
                    <a:pt x="18" y="109"/>
                    <a:pt x="18" y="109"/>
                  </a:cubicBezTo>
                  <a:cubicBezTo>
                    <a:pt x="18" y="109"/>
                    <a:pt x="18" y="109"/>
                    <a:pt x="19" y="109"/>
                  </a:cubicBezTo>
                  <a:cubicBezTo>
                    <a:pt x="20" y="110"/>
                    <a:pt x="23" y="110"/>
                    <a:pt x="24" y="113"/>
                  </a:cubicBezTo>
                  <a:cubicBezTo>
                    <a:pt x="24" y="113"/>
                    <a:pt x="24" y="113"/>
                    <a:pt x="24" y="113"/>
                  </a:cubicBezTo>
                  <a:cubicBezTo>
                    <a:pt x="25" y="114"/>
                    <a:pt x="25" y="114"/>
                    <a:pt x="25" y="114"/>
                  </a:cubicBezTo>
                  <a:cubicBezTo>
                    <a:pt x="25" y="115"/>
                    <a:pt x="25" y="115"/>
                    <a:pt x="26" y="116"/>
                  </a:cubicBezTo>
                  <a:cubicBezTo>
                    <a:pt x="26" y="117"/>
                    <a:pt x="27" y="118"/>
                    <a:pt x="27" y="118"/>
                  </a:cubicBezTo>
                  <a:cubicBezTo>
                    <a:pt x="27" y="118"/>
                    <a:pt x="27" y="118"/>
                    <a:pt x="27" y="118"/>
                  </a:cubicBezTo>
                  <a:cubicBezTo>
                    <a:pt x="27" y="118"/>
                    <a:pt x="27" y="118"/>
                    <a:pt x="27" y="118"/>
                  </a:cubicBezTo>
                  <a:cubicBezTo>
                    <a:pt x="27" y="118"/>
                    <a:pt x="27" y="118"/>
                    <a:pt x="27" y="118"/>
                  </a:cubicBezTo>
                  <a:cubicBezTo>
                    <a:pt x="27" y="118"/>
                    <a:pt x="27" y="118"/>
                    <a:pt x="28" y="118"/>
                  </a:cubicBezTo>
                  <a:cubicBezTo>
                    <a:pt x="30" y="118"/>
                    <a:pt x="32" y="118"/>
                    <a:pt x="33" y="118"/>
                  </a:cubicBezTo>
                  <a:cubicBezTo>
                    <a:pt x="35" y="118"/>
                    <a:pt x="36" y="118"/>
                    <a:pt x="37" y="118"/>
                  </a:cubicBezTo>
                  <a:cubicBezTo>
                    <a:pt x="38" y="118"/>
                    <a:pt x="39" y="118"/>
                    <a:pt x="39" y="118"/>
                  </a:cubicBezTo>
                  <a:cubicBezTo>
                    <a:pt x="40" y="118"/>
                    <a:pt x="40" y="118"/>
                    <a:pt x="40" y="118"/>
                  </a:cubicBezTo>
                  <a:cubicBezTo>
                    <a:pt x="41" y="119"/>
                    <a:pt x="43" y="119"/>
                    <a:pt x="44" y="119"/>
                  </a:cubicBezTo>
                  <a:cubicBezTo>
                    <a:pt x="45" y="119"/>
                    <a:pt x="45" y="119"/>
                    <a:pt x="46" y="119"/>
                  </a:cubicBezTo>
                  <a:cubicBezTo>
                    <a:pt x="46" y="119"/>
                    <a:pt x="46" y="119"/>
                    <a:pt x="46" y="119"/>
                  </a:cubicBezTo>
                  <a:cubicBezTo>
                    <a:pt x="47" y="119"/>
                    <a:pt x="49" y="118"/>
                    <a:pt x="50" y="118"/>
                  </a:cubicBezTo>
                  <a:cubicBezTo>
                    <a:pt x="52" y="117"/>
                    <a:pt x="54" y="117"/>
                    <a:pt x="56" y="117"/>
                  </a:cubicBezTo>
                  <a:cubicBezTo>
                    <a:pt x="56" y="117"/>
                    <a:pt x="56" y="117"/>
                    <a:pt x="56" y="117"/>
                  </a:cubicBezTo>
                  <a:cubicBezTo>
                    <a:pt x="59" y="117"/>
                    <a:pt x="62" y="118"/>
                    <a:pt x="65" y="118"/>
                  </a:cubicBezTo>
                  <a:cubicBezTo>
                    <a:pt x="70" y="119"/>
                    <a:pt x="71" y="121"/>
                    <a:pt x="74" y="124"/>
                  </a:cubicBezTo>
                  <a:cubicBezTo>
                    <a:pt x="75" y="125"/>
                    <a:pt x="76" y="126"/>
                    <a:pt x="76" y="127"/>
                  </a:cubicBezTo>
                  <a:cubicBezTo>
                    <a:pt x="77" y="128"/>
                    <a:pt x="77" y="128"/>
                    <a:pt x="77" y="128"/>
                  </a:cubicBezTo>
                  <a:cubicBezTo>
                    <a:pt x="78" y="129"/>
                    <a:pt x="78" y="130"/>
                    <a:pt x="79" y="131"/>
                  </a:cubicBezTo>
                  <a:cubicBezTo>
                    <a:pt x="82" y="136"/>
                    <a:pt x="85" y="139"/>
                    <a:pt x="86" y="139"/>
                  </a:cubicBezTo>
                  <a:cubicBezTo>
                    <a:pt x="86" y="139"/>
                    <a:pt x="86" y="139"/>
                    <a:pt x="86" y="139"/>
                  </a:cubicBezTo>
                  <a:cubicBezTo>
                    <a:pt x="86" y="139"/>
                    <a:pt x="86" y="139"/>
                    <a:pt x="86" y="139"/>
                  </a:cubicBezTo>
                  <a:cubicBezTo>
                    <a:pt x="87" y="139"/>
                    <a:pt x="91" y="139"/>
                    <a:pt x="92" y="139"/>
                  </a:cubicBezTo>
                  <a:cubicBezTo>
                    <a:pt x="92" y="138"/>
                    <a:pt x="92" y="138"/>
                    <a:pt x="92" y="138"/>
                  </a:cubicBezTo>
                  <a:cubicBezTo>
                    <a:pt x="93" y="138"/>
                    <a:pt x="94" y="138"/>
                    <a:pt x="94" y="138"/>
                  </a:cubicBezTo>
                  <a:cubicBezTo>
                    <a:pt x="97" y="138"/>
                    <a:pt x="99" y="137"/>
                    <a:pt x="102" y="137"/>
                  </a:cubicBezTo>
                  <a:cubicBezTo>
                    <a:pt x="105" y="137"/>
                    <a:pt x="105" y="137"/>
                    <a:pt x="105" y="137"/>
                  </a:cubicBezTo>
                  <a:cubicBezTo>
                    <a:pt x="106" y="137"/>
                    <a:pt x="107" y="136"/>
                    <a:pt x="109" y="136"/>
                  </a:cubicBezTo>
                  <a:cubicBezTo>
                    <a:pt x="110" y="136"/>
                    <a:pt x="110" y="136"/>
                    <a:pt x="110" y="136"/>
                  </a:cubicBezTo>
                  <a:cubicBezTo>
                    <a:pt x="113" y="135"/>
                    <a:pt x="117" y="135"/>
                    <a:pt x="121" y="135"/>
                  </a:cubicBezTo>
                  <a:cubicBezTo>
                    <a:pt x="122" y="135"/>
                    <a:pt x="122" y="135"/>
                    <a:pt x="123" y="135"/>
                  </a:cubicBezTo>
                  <a:cubicBezTo>
                    <a:pt x="131" y="136"/>
                    <a:pt x="133" y="139"/>
                    <a:pt x="134" y="142"/>
                  </a:cubicBezTo>
                  <a:cubicBezTo>
                    <a:pt x="134" y="144"/>
                    <a:pt x="134" y="146"/>
                    <a:pt x="133" y="149"/>
                  </a:cubicBezTo>
                  <a:cubicBezTo>
                    <a:pt x="132" y="151"/>
                    <a:pt x="130" y="153"/>
                    <a:pt x="130" y="154"/>
                  </a:cubicBezTo>
                  <a:cubicBezTo>
                    <a:pt x="129" y="154"/>
                    <a:pt x="129" y="154"/>
                    <a:pt x="129" y="154"/>
                  </a:cubicBezTo>
                  <a:cubicBezTo>
                    <a:pt x="129" y="155"/>
                    <a:pt x="129" y="155"/>
                    <a:pt x="128" y="155"/>
                  </a:cubicBezTo>
                  <a:cubicBezTo>
                    <a:pt x="128" y="156"/>
                    <a:pt x="128" y="156"/>
                    <a:pt x="127" y="157"/>
                  </a:cubicBezTo>
                  <a:cubicBezTo>
                    <a:pt x="127" y="157"/>
                    <a:pt x="127" y="157"/>
                    <a:pt x="127" y="157"/>
                  </a:cubicBezTo>
                  <a:cubicBezTo>
                    <a:pt x="126" y="159"/>
                    <a:pt x="125" y="160"/>
                    <a:pt x="125" y="161"/>
                  </a:cubicBezTo>
                  <a:cubicBezTo>
                    <a:pt x="125" y="163"/>
                    <a:pt x="125" y="163"/>
                    <a:pt x="125" y="163"/>
                  </a:cubicBezTo>
                  <a:cubicBezTo>
                    <a:pt x="124" y="166"/>
                    <a:pt x="124" y="168"/>
                    <a:pt x="124" y="170"/>
                  </a:cubicBezTo>
                  <a:cubicBezTo>
                    <a:pt x="124" y="171"/>
                    <a:pt x="124" y="171"/>
                    <a:pt x="124" y="171"/>
                  </a:cubicBezTo>
                  <a:cubicBezTo>
                    <a:pt x="124" y="171"/>
                    <a:pt x="124" y="172"/>
                    <a:pt x="124" y="173"/>
                  </a:cubicBezTo>
                  <a:cubicBezTo>
                    <a:pt x="282" y="173"/>
                    <a:pt x="282" y="173"/>
                    <a:pt x="282" y="173"/>
                  </a:cubicBezTo>
                  <a:cubicBezTo>
                    <a:pt x="283" y="172"/>
                    <a:pt x="284" y="171"/>
                    <a:pt x="285" y="170"/>
                  </a:cubicBezTo>
                  <a:cubicBezTo>
                    <a:pt x="281" y="167"/>
                    <a:pt x="281" y="167"/>
                    <a:pt x="281" y="167"/>
                  </a:cubicBezTo>
                  <a:cubicBezTo>
                    <a:pt x="286" y="169"/>
                    <a:pt x="286" y="169"/>
                    <a:pt x="286" y="169"/>
                  </a:cubicBezTo>
                  <a:cubicBezTo>
                    <a:pt x="286" y="169"/>
                    <a:pt x="286" y="169"/>
                    <a:pt x="286" y="169"/>
                  </a:cubicBezTo>
                  <a:cubicBezTo>
                    <a:pt x="286" y="168"/>
                    <a:pt x="286" y="168"/>
                    <a:pt x="286" y="168"/>
                  </a:cubicBezTo>
                  <a:cubicBezTo>
                    <a:pt x="286" y="168"/>
                    <a:pt x="286" y="168"/>
                    <a:pt x="286" y="168"/>
                  </a:cubicBezTo>
                  <a:cubicBezTo>
                    <a:pt x="286" y="167"/>
                    <a:pt x="286" y="167"/>
                    <a:pt x="286" y="167"/>
                  </a:cubicBezTo>
                  <a:cubicBezTo>
                    <a:pt x="286" y="166"/>
                    <a:pt x="286" y="166"/>
                    <a:pt x="286" y="166"/>
                  </a:cubicBezTo>
                  <a:cubicBezTo>
                    <a:pt x="285" y="166"/>
                    <a:pt x="285" y="166"/>
                    <a:pt x="285" y="166"/>
                  </a:cubicBezTo>
                  <a:cubicBezTo>
                    <a:pt x="284" y="165"/>
                    <a:pt x="284" y="165"/>
                    <a:pt x="284" y="165"/>
                  </a:cubicBezTo>
                  <a:cubicBezTo>
                    <a:pt x="283" y="164"/>
                    <a:pt x="282" y="162"/>
                    <a:pt x="281" y="161"/>
                  </a:cubicBezTo>
                  <a:cubicBezTo>
                    <a:pt x="280" y="161"/>
                    <a:pt x="280" y="161"/>
                    <a:pt x="280" y="161"/>
                  </a:cubicBezTo>
                  <a:cubicBezTo>
                    <a:pt x="280" y="160"/>
                    <a:pt x="280" y="160"/>
                    <a:pt x="279" y="159"/>
                  </a:cubicBezTo>
                  <a:cubicBezTo>
                    <a:pt x="270" y="149"/>
                    <a:pt x="270" y="149"/>
                    <a:pt x="270" y="149"/>
                  </a:cubicBezTo>
                  <a:cubicBezTo>
                    <a:pt x="269" y="148"/>
                    <a:pt x="269" y="146"/>
                    <a:pt x="269" y="144"/>
                  </a:cubicBezTo>
                  <a:cubicBezTo>
                    <a:pt x="270" y="144"/>
                    <a:pt x="270" y="144"/>
                    <a:pt x="270" y="144"/>
                  </a:cubicBezTo>
                  <a:cubicBezTo>
                    <a:pt x="271" y="143"/>
                    <a:pt x="272" y="142"/>
                    <a:pt x="273" y="141"/>
                  </a:cubicBezTo>
                  <a:cubicBezTo>
                    <a:pt x="273" y="140"/>
                    <a:pt x="274" y="140"/>
                    <a:pt x="275" y="139"/>
                  </a:cubicBezTo>
                  <a:cubicBezTo>
                    <a:pt x="275" y="139"/>
                    <a:pt x="275" y="139"/>
                    <a:pt x="275" y="139"/>
                  </a:cubicBezTo>
                  <a:cubicBezTo>
                    <a:pt x="275" y="138"/>
                    <a:pt x="275" y="138"/>
                    <a:pt x="275" y="138"/>
                  </a:cubicBezTo>
                  <a:cubicBezTo>
                    <a:pt x="274" y="137"/>
                    <a:pt x="274" y="136"/>
                    <a:pt x="274" y="134"/>
                  </a:cubicBezTo>
                  <a:cubicBezTo>
                    <a:pt x="274" y="134"/>
                    <a:pt x="274" y="134"/>
                    <a:pt x="274" y="134"/>
                  </a:cubicBezTo>
                  <a:cubicBezTo>
                    <a:pt x="274" y="133"/>
                    <a:pt x="274" y="133"/>
                    <a:pt x="274" y="133"/>
                  </a:cubicBezTo>
                  <a:cubicBezTo>
                    <a:pt x="274" y="131"/>
                    <a:pt x="274" y="128"/>
                    <a:pt x="276" y="126"/>
                  </a:cubicBezTo>
                  <a:cubicBezTo>
                    <a:pt x="276" y="125"/>
                    <a:pt x="276" y="125"/>
                    <a:pt x="276" y="125"/>
                  </a:cubicBezTo>
                  <a:cubicBezTo>
                    <a:pt x="279" y="125"/>
                    <a:pt x="279" y="125"/>
                    <a:pt x="279" y="125"/>
                  </a:cubicBezTo>
                  <a:cubicBezTo>
                    <a:pt x="279" y="125"/>
                    <a:pt x="279" y="125"/>
                    <a:pt x="279" y="125"/>
                  </a:cubicBezTo>
                  <a:cubicBezTo>
                    <a:pt x="279" y="125"/>
                    <a:pt x="279" y="125"/>
                    <a:pt x="279" y="125"/>
                  </a:cubicBezTo>
                  <a:cubicBezTo>
                    <a:pt x="280" y="124"/>
                    <a:pt x="281" y="124"/>
                    <a:pt x="283" y="123"/>
                  </a:cubicBezTo>
                  <a:cubicBezTo>
                    <a:pt x="283" y="123"/>
                    <a:pt x="283" y="123"/>
                    <a:pt x="283" y="123"/>
                  </a:cubicBezTo>
                  <a:cubicBezTo>
                    <a:pt x="284" y="123"/>
                    <a:pt x="284" y="123"/>
                    <a:pt x="285" y="124"/>
                  </a:cubicBezTo>
                  <a:cubicBezTo>
                    <a:pt x="286" y="124"/>
                    <a:pt x="286" y="124"/>
                    <a:pt x="286" y="124"/>
                  </a:cubicBezTo>
                  <a:cubicBezTo>
                    <a:pt x="286" y="124"/>
                    <a:pt x="286" y="124"/>
                    <a:pt x="286" y="124"/>
                  </a:cubicBezTo>
                  <a:cubicBezTo>
                    <a:pt x="286" y="124"/>
                    <a:pt x="286" y="124"/>
                    <a:pt x="286" y="124"/>
                  </a:cubicBezTo>
                  <a:cubicBezTo>
                    <a:pt x="287" y="123"/>
                    <a:pt x="288" y="123"/>
                    <a:pt x="289" y="123"/>
                  </a:cubicBezTo>
                  <a:cubicBezTo>
                    <a:pt x="291" y="122"/>
                    <a:pt x="291" y="122"/>
                    <a:pt x="291" y="122"/>
                  </a:cubicBezTo>
                  <a:cubicBezTo>
                    <a:pt x="292" y="121"/>
                    <a:pt x="292" y="121"/>
                    <a:pt x="293" y="121"/>
                  </a:cubicBezTo>
                  <a:cubicBezTo>
                    <a:pt x="293" y="121"/>
                    <a:pt x="293" y="121"/>
                    <a:pt x="293" y="121"/>
                  </a:cubicBezTo>
                  <a:cubicBezTo>
                    <a:pt x="293" y="120"/>
                    <a:pt x="293" y="120"/>
                    <a:pt x="293" y="120"/>
                  </a:cubicBezTo>
                  <a:cubicBezTo>
                    <a:pt x="293" y="120"/>
                    <a:pt x="293" y="120"/>
                    <a:pt x="293" y="120"/>
                  </a:cubicBezTo>
                  <a:cubicBezTo>
                    <a:pt x="292" y="120"/>
                    <a:pt x="292" y="120"/>
                    <a:pt x="292" y="120"/>
                  </a:cubicBezTo>
                  <a:cubicBezTo>
                    <a:pt x="291" y="120"/>
                    <a:pt x="290" y="120"/>
                    <a:pt x="289" y="120"/>
                  </a:cubicBezTo>
                  <a:cubicBezTo>
                    <a:pt x="289" y="120"/>
                    <a:pt x="289" y="120"/>
                    <a:pt x="289" y="120"/>
                  </a:cubicBezTo>
                  <a:cubicBezTo>
                    <a:pt x="288" y="119"/>
                    <a:pt x="288" y="119"/>
                    <a:pt x="288" y="119"/>
                  </a:cubicBezTo>
                  <a:cubicBezTo>
                    <a:pt x="287" y="119"/>
                    <a:pt x="287" y="118"/>
                    <a:pt x="286" y="117"/>
                  </a:cubicBezTo>
                  <a:cubicBezTo>
                    <a:pt x="286" y="116"/>
                    <a:pt x="286" y="116"/>
                    <a:pt x="286" y="116"/>
                  </a:cubicBezTo>
                  <a:cubicBezTo>
                    <a:pt x="286" y="116"/>
                    <a:pt x="286" y="116"/>
                    <a:pt x="286" y="116"/>
                  </a:cubicBezTo>
                  <a:cubicBezTo>
                    <a:pt x="286" y="115"/>
                    <a:pt x="285" y="113"/>
                    <a:pt x="285" y="112"/>
                  </a:cubicBezTo>
                  <a:cubicBezTo>
                    <a:pt x="285" y="112"/>
                    <a:pt x="285" y="112"/>
                    <a:pt x="285" y="112"/>
                  </a:cubicBezTo>
                  <a:cubicBezTo>
                    <a:pt x="285" y="111"/>
                    <a:pt x="285" y="111"/>
                    <a:pt x="285" y="111"/>
                  </a:cubicBezTo>
                  <a:cubicBezTo>
                    <a:pt x="284" y="109"/>
                    <a:pt x="284" y="107"/>
                    <a:pt x="286" y="106"/>
                  </a:cubicBezTo>
                  <a:cubicBezTo>
                    <a:pt x="287" y="105"/>
                    <a:pt x="287" y="105"/>
                    <a:pt x="287" y="104"/>
                  </a:cubicBezTo>
                  <a:cubicBezTo>
                    <a:pt x="288" y="103"/>
                    <a:pt x="289" y="102"/>
                    <a:pt x="291" y="100"/>
                  </a:cubicBezTo>
                  <a:cubicBezTo>
                    <a:pt x="292" y="100"/>
                    <a:pt x="292" y="100"/>
                    <a:pt x="292" y="100"/>
                  </a:cubicBezTo>
                  <a:cubicBezTo>
                    <a:pt x="294" y="99"/>
                    <a:pt x="296" y="97"/>
                    <a:pt x="299" y="95"/>
                  </a:cubicBezTo>
                  <a:cubicBezTo>
                    <a:pt x="300" y="94"/>
                    <a:pt x="301" y="94"/>
                    <a:pt x="301" y="93"/>
                  </a:cubicBezTo>
                  <a:cubicBezTo>
                    <a:pt x="302" y="93"/>
                    <a:pt x="304" y="92"/>
                    <a:pt x="304" y="91"/>
                  </a:cubicBezTo>
                  <a:cubicBezTo>
                    <a:pt x="304" y="91"/>
                    <a:pt x="303" y="89"/>
                    <a:pt x="301" y="87"/>
                  </a:cubicBezTo>
                  <a:cubicBezTo>
                    <a:pt x="300" y="86"/>
                    <a:pt x="300" y="86"/>
                    <a:pt x="300" y="86"/>
                  </a:cubicBezTo>
                  <a:cubicBezTo>
                    <a:pt x="301" y="85"/>
                    <a:pt x="301" y="85"/>
                    <a:pt x="301" y="85"/>
                  </a:cubicBezTo>
                  <a:cubicBezTo>
                    <a:pt x="300" y="84"/>
                    <a:pt x="300" y="84"/>
                    <a:pt x="300" y="84"/>
                  </a:cubicBezTo>
                  <a:cubicBezTo>
                    <a:pt x="300" y="84"/>
                    <a:pt x="300" y="84"/>
                    <a:pt x="300" y="84"/>
                  </a:cubicBezTo>
                  <a:cubicBezTo>
                    <a:pt x="299" y="84"/>
                    <a:pt x="298" y="83"/>
                    <a:pt x="296" y="83"/>
                  </a:cubicBezTo>
                  <a:cubicBezTo>
                    <a:pt x="296" y="83"/>
                    <a:pt x="295" y="83"/>
                    <a:pt x="295" y="83"/>
                  </a:cubicBezTo>
                  <a:cubicBezTo>
                    <a:pt x="290" y="83"/>
                    <a:pt x="284" y="86"/>
                    <a:pt x="279" y="87"/>
                  </a:cubicBezTo>
                  <a:cubicBezTo>
                    <a:pt x="280" y="87"/>
                    <a:pt x="280" y="87"/>
                    <a:pt x="280" y="87"/>
                  </a:cubicBezTo>
                  <a:cubicBezTo>
                    <a:pt x="278" y="87"/>
                    <a:pt x="276" y="89"/>
                    <a:pt x="274" y="89"/>
                  </a:cubicBezTo>
                  <a:cubicBezTo>
                    <a:pt x="274" y="89"/>
                    <a:pt x="273" y="89"/>
                    <a:pt x="273" y="89"/>
                  </a:cubicBezTo>
                  <a:cubicBezTo>
                    <a:pt x="271" y="88"/>
                    <a:pt x="267" y="86"/>
                    <a:pt x="265" y="85"/>
                  </a:cubicBezTo>
                  <a:cubicBezTo>
                    <a:pt x="265" y="84"/>
                    <a:pt x="265" y="84"/>
                    <a:pt x="266" y="84"/>
                  </a:cubicBezTo>
                  <a:cubicBezTo>
                    <a:pt x="267" y="84"/>
                    <a:pt x="268" y="84"/>
                    <a:pt x="269" y="84"/>
                  </a:cubicBezTo>
                  <a:cubicBezTo>
                    <a:pt x="269" y="84"/>
                    <a:pt x="269" y="84"/>
                    <a:pt x="269" y="84"/>
                  </a:cubicBezTo>
                  <a:cubicBezTo>
                    <a:pt x="269" y="84"/>
                    <a:pt x="269" y="84"/>
                    <a:pt x="270" y="84"/>
                  </a:cubicBezTo>
                  <a:cubicBezTo>
                    <a:pt x="270" y="84"/>
                    <a:pt x="270" y="84"/>
                    <a:pt x="271" y="84"/>
                  </a:cubicBezTo>
                  <a:cubicBezTo>
                    <a:pt x="271" y="84"/>
                    <a:pt x="271" y="84"/>
                    <a:pt x="271" y="84"/>
                  </a:cubicBezTo>
                  <a:cubicBezTo>
                    <a:pt x="271" y="84"/>
                    <a:pt x="273" y="85"/>
                    <a:pt x="274" y="85"/>
                  </a:cubicBezTo>
                  <a:cubicBezTo>
                    <a:pt x="274" y="85"/>
                    <a:pt x="274" y="85"/>
                    <a:pt x="274" y="85"/>
                  </a:cubicBezTo>
                  <a:cubicBezTo>
                    <a:pt x="277" y="84"/>
                    <a:pt x="279" y="75"/>
                    <a:pt x="280" y="72"/>
                  </a:cubicBezTo>
                  <a:cubicBezTo>
                    <a:pt x="279" y="73"/>
                    <a:pt x="278" y="73"/>
                    <a:pt x="278" y="74"/>
                  </a:cubicBezTo>
                  <a:cubicBezTo>
                    <a:pt x="278" y="71"/>
                    <a:pt x="283" y="68"/>
                    <a:pt x="285" y="67"/>
                  </a:cubicBezTo>
                  <a:cubicBezTo>
                    <a:pt x="280" y="63"/>
                    <a:pt x="274" y="60"/>
                    <a:pt x="270" y="56"/>
                  </a:cubicBezTo>
                  <a:cubicBezTo>
                    <a:pt x="269" y="55"/>
                    <a:pt x="268" y="54"/>
                    <a:pt x="266" y="54"/>
                  </a:cubicBezTo>
                  <a:cubicBezTo>
                    <a:pt x="268" y="58"/>
                    <a:pt x="263" y="57"/>
                    <a:pt x="263" y="61"/>
                  </a:cubicBezTo>
                  <a:cubicBezTo>
                    <a:pt x="260" y="56"/>
                    <a:pt x="258" y="53"/>
                    <a:pt x="253" y="51"/>
                  </a:cubicBezTo>
                  <a:cubicBezTo>
                    <a:pt x="253" y="52"/>
                    <a:pt x="254" y="53"/>
                    <a:pt x="255" y="54"/>
                  </a:cubicBezTo>
                  <a:cubicBezTo>
                    <a:pt x="254" y="53"/>
                    <a:pt x="254" y="53"/>
                    <a:pt x="253" y="53"/>
                  </a:cubicBezTo>
                  <a:cubicBezTo>
                    <a:pt x="253" y="55"/>
                    <a:pt x="254" y="57"/>
                    <a:pt x="253" y="59"/>
                  </a:cubicBezTo>
                  <a:cubicBezTo>
                    <a:pt x="253" y="56"/>
                    <a:pt x="253" y="55"/>
                    <a:pt x="251" y="52"/>
                  </a:cubicBezTo>
                  <a:cubicBezTo>
                    <a:pt x="251" y="54"/>
                    <a:pt x="250" y="56"/>
                    <a:pt x="250" y="58"/>
                  </a:cubicBezTo>
                  <a:cubicBezTo>
                    <a:pt x="248" y="55"/>
                    <a:pt x="248" y="52"/>
                    <a:pt x="246" y="49"/>
                  </a:cubicBezTo>
                  <a:cubicBezTo>
                    <a:pt x="246" y="48"/>
                    <a:pt x="245" y="47"/>
                    <a:pt x="245" y="47"/>
                  </a:cubicBezTo>
                  <a:cubicBezTo>
                    <a:pt x="245" y="47"/>
                    <a:pt x="244" y="47"/>
                    <a:pt x="244" y="48"/>
                  </a:cubicBezTo>
                  <a:cubicBezTo>
                    <a:pt x="242" y="50"/>
                    <a:pt x="240" y="51"/>
                    <a:pt x="239" y="51"/>
                  </a:cubicBezTo>
                  <a:cubicBezTo>
                    <a:pt x="238" y="51"/>
                    <a:pt x="236" y="50"/>
                    <a:pt x="233" y="49"/>
                  </a:cubicBezTo>
                  <a:cubicBezTo>
                    <a:pt x="234" y="49"/>
                    <a:pt x="234" y="49"/>
                    <a:pt x="235" y="49"/>
                  </a:cubicBezTo>
                  <a:cubicBezTo>
                    <a:pt x="236" y="49"/>
                    <a:pt x="237" y="50"/>
                    <a:pt x="238" y="50"/>
                  </a:cubicBezTo>
                  <a:cubicBezTo>
                    <a:pt x="238" y="50"/>
                    <a:pt x="238" y="50"/>
                    <a:pt x="238" y="50"/>
                  </a:cubicBezTo>
                  <a:cubicBezTo>
                    <a:pt x="238" y="50"/>
                    <a:pt x="238" y="50"/>
                    <a:pt x="238" y="50"/>
                  </a:cubicBezTo>
                  <a:cubicBezTo>
                    <a:pt x="239" y="50"/>
                    <a:pt x="239" y="49"/>
                    <a:pt x="239" y="49"/>
                  </a:cubicBezTo>
                  <a:cubicBezTo>
                    <a:pt x="239" y="49"/>
                    <a:pt x="239" y="49"/>
                    <a:pt x="239" y="49"/>
                  </a:cubicBezTo>
                  <a:cubicBezTo>
                    <a:pt x="240" y="49"/>
                    <a:pt x="240" y="49"/>
                    <a:pt x="240" y="50"/>
                  </a:cubicBezTo>
                  <a:cubicBezTo>
                    <a:pt x="241" y="50"/>
                    <a:pt x="241" y="50"/>
                    <a:pt x="241" y="50"/>
                  </a:cubicBezTo>
                  <a:cubicBezTo>
                    <a:pt x="241" y="50"/>
                    <a:pt x="242" y="50"/>
                    <a:pt x="242" y="49"/>
                  </a:cubicBezTo>
                  <a:cubicBezTo>
                    <a:pt x="244" y="47"/>
                    <a:pt x="239" y="43"/>
                    <a:pt x="236" y="43"/>
                  </a:cubicBezTo>
                  <a:cubicBezTo>
                    <a:pt x="236" y="43"/>
                    <a:pt x="236" y="43"/>
                    <a:pt x="235" y="43"/>
                  </a:cubicBezTo>
                  <a:cubicBezTo>
                    <a:pt x="236" y="43"/>
                    <a:pt x="237" y="42"/>
                    <a:pt x="238" y="42"/>
                  </a:cubicBezTo>
                  <a:cubicBezTo>
                    <a:pt x="237" y="41"/>
                    <a:pt x="236" y="41"/>
                    <a:pt x="234" y="40"/>
                  </a:cubicBezTo>
                  <a:cubicBezTo>
                    <a:pt x="236" y="39"/>
                    <a:pt x="237" y="39"/>
                    <a:pt x="239" y="39"/>
                  </a:cubicBezTo>
                  <a:cubicBezTo>
                    <a:pt x="240" y="39"/>
                    <a:pt x="241" y="39"/>
                    <a:pt x="242" y="39"/>
                  </a:cubicBezTo>
                  <a:cubicBezTo>
                    <a:pt x="243" y="39"/>
                    <a:pt x="244" y="39"/>
                    <a:pt x="245" y="39"/>
                  </a:cubicBezTo>
                  <a:cubicBezTo>
                    <a:pt x="246" y="39"/>
                    <a:pt x="246" y="39"/>
                    <a:pt x="247" y="39"/>
                  </a:cubicBezTo>
                  <a:cubicBezTo>
                    <a:pt x="251" y="37"/>
                    <a:pt x="256" y="36"/>
                    <a:pt x="260" y="34"/>
                  </a:cubicBezTo>
                  <a:cubicBezTo>
                    <a:pt x="250" y="35"/>
                    <a:pt x="240" y="35"/>
                    <a:pt x="230" y="35"/>
                  </a:cubicBezTo>
                  <a:cubicBezTo>
                    <a:pt x="228" y="35"/>
                    <a:pt x="223" y="37"/>
                    <a:pt x="220" y="37"/>
                  </a:cubicBezTo>
                  <a:cubicBezTo>
                    <a:pt x="218" y="37"/>
                    <a:pt x="216" y="36"/>
                    <a:pt x="215" y="35"/>
                  </a:cubicBezTo>
                  <a:cubicBezTo>
                    <a:pt x="215" y="36"/>
                    <a:pt x="212" y="37"/>
                    <a:pt x="211" y="37"/>
                  </a:cubicBezTo>
                  <a:cubicBezTo>
                    <a:pt x="210" y="37"/>
                    <a:pt x="209" y="37"/>
                    <a:pt x="208" y="37"/>
                  </a:cubicBezTo>
                  <a:cubicBezTo>
                    <a:pt x="208" y="37"/>
                    <a:pt x="205" y="36"/>
                    <a:pt x="205" y="36"/>
                  </a:cubicBezTo>
                  <a:cubicBezTo>
                    <a:pt x="203" y="37"/>
                    <a:pt x="206" y="39"/>
                    <a:pt x="207" y="39"/>
                  </a:cubicBezTo>
                  <a:cubicBezTo>
                    <a:pt x="208" y="39"/>
                    <a:pt x="209" y="40"/>
                    <a:pt x="210" y="40"/>
                  </a:cubicBezTo>
                  <a:cubicBezTo>
                    <a:pt x="211" y="40"/>
                    <a:pt x="211" y="39"/>
                    <a:pt x="212" y="39"/>
                  </a:cubicBezTo>
                  <a:cubicBezTo>
                    <a:pt x="213" y="39"/>
                    <a:pt x="213" y="39"/>
                    <a:pt x="214" y="39"/>
                  </a:cubicBezTo>
                  <a:cubicBezTo>
                    <a:pt x="215" y="39"/>
                    <a:pt x="217" y="40"/>
                    <a:pt x="218" y="40"/>
                  </a:cubicBezTo>
                  <a:cubicBezTo>
                    <a:pt x="211" y="41"/>
                    <a:pt x="205" y="43"/>
                    <a:pt x="199" y="45"/>
                  </a:cubicBezTo>
                  <a:cubicBezTo>
                    <a:pt x="196" y="46"/>
                    <a:pt x="193" y="48"/>
                    <a:pt x="190" y="49"/>
                  </a:cubicBezTo>
                  <a:cubicBezTo>
                    <a:pt x="190" y="50"/>
                    <a:pt x="189" y="50"/>
                    <a:pt x="189" y="50"/>
                  </a:cubicBezTo>
                  <a:cubicBezTo>
                    <a:pt x="186" y="50"/>
                    <a:pt x="183" y="49"/>
                    <a:pt x="182" y="49"/>
                  </a:cubicBezTo>
                  <a:cubicBezTo>
                    <a:pt x="177" y="48"/>
                    <a:pt x="172" y="48"/>
                    <a:pt x="168" y="46"/>
                  </a:cubicBezTo>
                  <a:cubicBezTo>
                    <a:pt x="166" y="45"/>
                    <a:pt x="162" y="41"/>
                    <a:pt x="163" y="38"/>
                  </a:cubicBezTo>
                  <a:cubicBezTo>
                    <a:pt x="161" y="37"/>
                    <a:pt x="158" y="37"/>
                    <a:pt x="156" y="37"/>
                  </a:cubicBezTo>
                  <a:cubicBezTo>
                    <a:pt x="154" y="37"/>
                    <a:pt x="151" y="37"/>
                    <a:pt x="149" y="37"/>
                  </a:cubicBezTo>
                  <a:cubicBezTo>
                    <a:pt x="149" y="38"/>
                    <a:pt x="149" y="39"/>
                    <a:pt x="149" y="40"/>
                  </a:cubicBezTo>
                  <a:cubicBezTo>
                    <a:pt x="149" y="43"/>
                    <a:pt x="146" y="46"/>
                    <a:pt x="143" y="46"/>
                  </a:cubicBezTo>
                  <a:cubicBezTo>
                    <a:pt x="140" y="46"/>
                    <a:pt x="137" y="43"/>
                    <a:pt x="137" y="40"/>
                  </a:cubicBezTo>
                  <a:cubicBezTo>
                    <a:pt x="137" y="39"/>
                    <a:pt x="137" y="39"/>
                    <a:pt x="137" y="38"/>
                  </a:cubicBezTo>
                  <a:cubicBezTo>
                    <a:pt x="134" y="38"/>
                    <a:pt x="130" y="39"/>
                    <a:pt x="127" y="39"/>
                  </a:cubicBezTo>
                  <a:cubicBezTo>
                    <a:pt x="125" y="40"/>
                    <a:pt x="123" y="40"/>
                    <a:pt x="122" y="40"/>
                  </a:cubicBezTo>
                  <a:cubicBezTo>
                    <a:pt x="120" y="40"/>
                    <a:pt x="119" y="40"/>
                    <a:pt x="118" y="39"/>
                  </a:cubicBezTo>
                  <a:cubicBezTo>
                    <a:pt x="113" y="38"/>
                    <a:pt x="112" y="38"/>
                    <a:pt x="111" y="34"/>
                  </a:cubicBezTo>
                  <a:cubicBezTo>
                    <a:pt x="111" y="31"/>
                    <a:pt x="111" y="27"/>
                    <a:pt x="109" y="25"/>
                  </a:cubicBezTo>
                  <a:cubicBezTo>
                    <a:pt x="107" y="24"/>
                    <a:pt x="104" y="20"/>
                    <a:pt x="101" y="20"/>
                  </a:cubicBezTo>
                  <a:cubicBezTo>
                    <a:pt x="97" y="19"/>
                    <a:pt x="93" y="18"/>
                    <a:pt x="88" y="17"/>
                  </a:cubicBezTo>
                  <a:cubicBezTo>
                    <a:pt x="86" y="17"/>
                    <a:pt x="83" y="17"/>
                    <a:pt x="81" y="16"/>
                  </a:cubicBezTo>
                  <a:cubicBezTo>
                    <a:pt x="78" y="15"/>
                    <a:pt x="78" y="15"/>
                    <a:pt x="77" y="12"/>
                  </a:cubicBezTo>
                  <a:cubicBezTo>
                    <a:pt x="76" y="10"/>
                    <a:pt x="76" y="8"/>
                    <a:pt x="76" y="6"/>
                  </a:cubicBezTo>
                  <a:cubicBezTo>
                    <a:pt x="75" y="3"/>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0"/>
            <p:cNvSpPr/>
            <p:nvPr/>
          </p:nvSpPr>
          <p:spPr bwMode="auto">
            <a:xfrm>
              <a:off x="10587029" y="8403460"/>
              <a:ext cx="354013" cy="311150"/>
            </a:xfrm>
            <a:custGeom>
              <a:gdLst>
                <a:gd name="T0" fmla="*/ 34 w 94"/>
                <a:gd name="T1" fmla="*/ 4 h 83"/>
                <a:gd name="T2" fmla="*/ 28 w 94"/>
                <a:gd name="T3" fmla="*/ 10 h 83"/>
                <a:gd name="T4" fmla="*/ 19 w 94"/>
                <a:gd name="T5" fmla="*/ 15 h 83"/>
                <a:gd name="T6" fmla="*/ 16 w 94"/>
                <a:gd name="T7" fmla="*/ 19 h 83"/>
                <a:gd name="T8" fmla="*/ 15 w 94"/>
                <a:gd name="T9" fmla="*/ 21 h 83"/>
                <a:gd name="T10" fmla="*/ 17 w 94"/>
                <a:gd name="T11" fmla="*/ 24 h 83"/>
                <a:gd name="T12" fmla="*/ 24 w 94"/>
                <a:gd name="T13" fmla="*/ 28 h 83"/>
                <a:gd name="T14" fmla="*/ 24 w 94"/>
                <a:gd name="T15" fmla="*/ 30 h 83"/>
                <a:gd name="T16" fmla="*/ 21 w 94"/>
                <a:gd name="T17" fmla="*/ 35 h 83"/>
                <a:gd name="T18" fmla="*/ 17 w 94"/>
                <a:gd name="T19" fmla="*/ 38 h 83"/>
                <a:gd name="T20" fmla="*/ 12 w 94"/>
                <a:gd name="T21" fmla="*/ 40 h 83"/>
                <a:gd name="T22" fmla="*/ 9 w 94"/>
                <a:gd name="T23" fmla="*/ 39 h 83"/>
                <a:gd name="T24" fmla="*/ 7 w 94"/>
                <a:gd name="T25" fmla="*/ 40 h 83"/>
                <a:gd name="T26" fmla="*/ 5 w 94"/>
                <a:gd name="T27" fmla="*/ 41 h 83"/>
                <a:gd name="T28" fmla="*/ 5 w 94"/>
                <a:gd name="T29" fmla="*/ 43 h 83"/>
                <a:gd name="T30" fmla="*/ 5 w 94"/>
                <a:gd name="T31" fmla="*/ 47 h 83"/>
                <a:gd name="T32" fmla="*/ 5 w 94"/>
                <a:gd name="T33" fmla="*/ 52 h 83"/>
                <a:gd name="T34" fmla="*/ 1 w 94"/>
                <a:gd name="T35" fmla="*/ 56 h 83"/>
                <a:gd name="T36" fmla="*/ 8 w 94"/>
                <a:gd name="T37" fmla="*/ 66 h 83"/>
                <a:gd name="T38" fmla="*/ 10 w 94"/>
                <a:gd name="T39" fmla="*/ 67 h 83"/>
                <a:gd name="T40" fmla="*/ 13 w 94"/>
                <a:gd name="T41" fmla="*/ 70 h 83"/>
                <a:gd name="T42" fmla="*/ 14 w 94"/>
                <a:gd name="T43" fmla="*/ 70 h 83"/>
                <a:gd name="T44" fmla="*/ 16 w 94"/>
                <a:gd name="T45" fmla="*/ 70 h 83"/>
                <a:gd name="T46" fmla="*/ 19 w 94"/>
                <a:gd name="T47" fmla="*/ 70 h 83"/>
                <a:gd name="T48" fmla="*/ 21 w 94"/>
                <a:gd name="T49" fmla="*/ 69 h 83"/>
                <a:gd name="T50" fmla="*/ 21 w 94"/>
                <a:gd name="T51" fmla="*/ 70 h 83"/>
                <a:gd name="T52" fmla="*/ 24 w 94"/>
                <a:gd name="T53" fmla="*/ 70 h 83"/>
                <a:gd name="T54" fmla="*/ 25 w 94"/>
                <a:gd name="T55" fmla="*/ 70 h 83"/>
                <a:gd name="T56" fmla="*/ 27 w 94"/>
                <a:gd name="T57" fmla="*/ 71 h 83"/>
                <a:gd name="T58" fmla="*/ 29 w 94"/>
                <a:gd name="T59" fmla="*/ 73 h 83"/>
                <a:gd name="T60" fmla="*/ 76 w 94"/>
                <a:gd name="T61" fmla="*/ 83 h 83"/>
                <a:gd name="T62" fmla="*/ 76 w 94"/>
                <a:gd name="T63" fmla="*/ 79 h 83"/>
                <a:gd name="T64" fmla="*/ 84 w 94"/>
                <a:gd name="T65" fmla="*/ 75 h 83"/>
                <a:gd name="T66" fmla="*/ 88 w 94"/>
                <a:gd name="T67" fmla="*/ 75 h 83"/>
                <a:gd name="T68" fmla="*/ 89 w 94"/>
                <a:gd name="T69" fmla="*/ 74 h 83"/>
                <a:gd name="T70" fmla="*/ 90 w 94"/>
                <a:gd name="T71" fmla="*/ 69 h 83"/>
                <a:gd name="T72" fmla="*/ 91 w 94"/>
                <a:gd name="T73" fmla="*/ 61 h 83"/>
                <a:gd name="T74" fmla="*/ 92 w 94"/>
                <a:gd name="T75" fmla="*/ 58 h 83"/>
                <a:gd name="T76" fmla="*/ 93 w 94"/>
                <a:gd name="T77" fmla="*/ 57 h 83"/>
                <a:gd name="T78" fmla="*/ 94 w 94"/>
                <a:gd name="T79" fmla="*/ 56 h 83"/>
                <a:gd name="T80" fmla="*/ 86 w 94"/>
                <a:gd name="T81" fmla="*/ 49 h 83"/>
                <a:gd name="T82" fmla="*/ 77 w 94"/>
                <a:gd name="T83" fmla="*/ 38 h 83"/>
                <a:gd name="T84" fmla="*/ 67 w 94"/>
                <a:gd name="T85" fmla="*/ 34 h 83"/>
                <a:gd name="T86" fmla="*/ 64 w 94"/>
                <a:gd name="T87" fmla="*/ 29 h 83"/>
                <a:gd name="T88" fmla="*/ 45 w 94"/>
                <a:gd name="T89" fmla="*/ 5 h 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83">
                  <a:moveTo>
                    <a:pt x="35" y="0"/>
                  </a:moveTo>
                  <a:cubicBezTo>
                    <a:pt x="35" y="2"/>
                    <a:pt x="35" y="3"/>
                    <a:pt x="34" y="4"/>
                  </a:cubicBezTo>
                  <a:cubicBezTo>
                    <a:pt x="34" y="6"/>
                    <a:pt x="32" y="7"/>
                    <a:pt x="30" y="8"/>
                  </a:cubicBezTo>
                  <a:cubicBezTo>
                    <a:pt x="29" y="9"/>
                    <a:pt x="28" y="9"/>
                    <a:pt x="28" y="10"/>
                  </a:cubicBezTo>
                  <a:cubicBezTo>
                    <a:pt x="25" y="11"/>
                    <a:pt x="23" y="13"/>
                    <a:pt x="20" y="15"/>
                  </a:cubicBezTo>
                  <a:cubicBezTo>
                    <a:pt x="19" y="15"/>
                    <a:pt x="19" y="15"/>
                    <a:pt x="19" y="15"/>
                  </a:cubicBezTo>
                  <a:cubicBezTo>
                    <a:pt x="18" y="16"/>
                    <a:pt x="18" y="16"/>
                    <a:pt x="17" y="17"/>
                  </a:cubicBezTo>
                  <a:cubicBezTo>
                    <a:pt x="17" y="18"/>
                    <a:pt x="17" y="18"/>
                    <a:pt x="16" y="19"/>
                  </a:cubicBezTo>
                  <a:cubicBezTo>
                    <a:pt x="16" y="19"/>
                    <a:pt x="16" y="20"/>
                    <a:pt x="15" y="20"/>
                  </a:cubicBezTo>
                  <a:cubicBezTo>
                    <a:pt x="15" y="21"/>
                    <a:pt x="15" y="21"/>
                    <a:pt x="15" y="21"/>
                  </a:cubicBezTo>
                  <a:cubicBezTo>
                    <a:pt x="16" y="22"/>
                    <a:pt x="16" y="23"/>
                    <a:pt x="16" y="24"/>
                  </a:cubicBezTo>
                  <a:cubicBezTo>
                    <a:pt x="17" y="24"/>
                    <a:pt x="17" y="24"/>
                    <a:pt x="17" y="24"/>
                  </a:cubicBezTo>
                  <a:cubicBezTo>
                    <a:pt x="18" y="24"/>
                    <a:pt x="18" y="24"/>
                    <a:pt x="18" y="24"/>
                  </a:cubicBezTo>
                  <a:cubicBezTo>
                    <a:pt x="20" y="25"/>
                    <a:pt x="23" y="25"/>
                    <a:pt x="24" y="28"/>
                  </a:cubicBezTo>
                  <a:cubicBezTo>
                    <a:pt x="24" y="28"/>
                    <a:pt x="24" y="28"/>
                    <a:pt x="24" y="29"/>
                  </a:cubicBezTo>
                  <a:cubicBezTo>
                    <a:pt x="24" y="30"/>
                    <a:pt x="24" y="30"/>
                    <a:pt x="24" y="30"/>
                  </a:cubicBezTo>
                  <a:cubicBezTo>
                    <a:pt x="24" y="31"/>
                    <a:pt x="24" y="33"/>
                    <a:pt x="22" y="34"/>
                  </a:cubicBezTo>
                  <a:cubicBezTo>
                    <a:pt x="22" y="35"/>
                    <a:pt x="22" y="35"/>
                    <a:pt x="21" y="35"/>
                  </a:cubicBezTo>
                  <a:cubicBezTo>
                    <a:pt x="20" y="36"/>
                    <a:pt x="19" y="37"/>
                    <a:pt x="17" y="37"/>
                  </a:cubicBezTo>
                  <a:cubicBezTo>
                    <a:pt x="17" y="38"/>
                    <a:pt x="17" y="38"/>
                    <a:pt x="17" y="38"/>
                  </a:cubicBezTo>
                  <a:cubicBezTo>
                    <a:pt x="16" y="38"/>
                    <a:pt x="15" y="39"/>
                    <a:pt x="14" y="39"/>
                  </a:cubicBezTo>
                  <a:cubicBezTo>
                    <a:pt x="13" y="39"/>
                    <a:pt x="13" y="40"/>
                    <a:pt x="12" y="40"/>
                  </a:cubicBezTo>
                  <a:cubicBezTo>
                    <a:pt x="12" y="40"/>
                    <a:pt x="12" y="40"/>
                    <a:pt x="11" y="40"/>
                  </a:cubicBezTo>
                  <a:cubicBezTo>
                    <a:pt x="10" y="40"/>
                    <a:pt x="10" y="40"/>
                    <a:pt x="9" y="39"/>
                  </a:cubicBezTo>
                  <a:cubicBezTo>
                    <a:pt x="8" y="39"/>
                    <a:pt x="8" y="39"/>
                    <a:pt x="8" y="39"/>
                  </a:cubicBezTo>
                  <a:cubicBezTo>
                    <a:pt x="7" y="40"/>
                    <a:pt x="7" y="40"/>
                    <a:pt x="7" y="40"/>
                  </a:cubicBezTo>
                  <a:cubicBezTo>
                    <a:pt x="7" y="40"/>
                    <a:pt x="6" y="40"/>
                    <a:pt x="6" y="41"/>
                  </a:cubicBezTo>
                  <a:cubicBezTo>
                    <a:pt x="6" y="41"/>
                    <a:pt x="5" y="41"/>
                    <a:pt x="5" y="41"/>
                  </a:cubicBezTo>
                  <a:cubicBezTo>
                    <a:pt x="5" y="42"/>
                    <a:pt x="5" y="42"/>
                    <a:pt x="5" y="43"/>
                  </a:cubicBezTo>
                  <a:cubicBezTo>
                    <a:pt x="5" y="43"/>
                    <a:pt x="5" y="43"/>
                    <a:pt x="5" y="43"/>
                  </a:cubicBezTo>
                  <a:cubicBezTo>
                    <a:pt x="5" y="44"/>
                    <a:pt x="5" y="44"/>
                    <a:pt x="5" y="45"/>
                  </a:cubicBezTo>
                  <a:cubicBezTo>
                    <a:pt x="5" y="46"/>
                    <a:pt x="5" y="46"/>
                    <a:pt x="5" y="47"/>
                  </a:cubicBezTo>
                  <a:cubicBezTo>
                    <a:pt x="5" y="47"/>
                    <a:pt x="5" y="48"/>
                    <a:pt x="5" y="48"/>
                  </a:cubicBezTo>
                  <a:cubicBezTo>
                    <a:pt x="6" y="49"/>
                    <a:pt x="6" y="50"/>
                    <a:pt x="5" y="52"/>
                  </a:cubicBezTo>
                  <a:cubicBezTo>
                    <a:pt x="4" y="53"/>
                    <a:pt x="3" y="54"/>
                    <a:pt x="1" y="55"/>
                  </a:cubicBezTo>
                  <a:cubicBezTo>
                    <a:pt x="1" y="56"/>
                    <a:pt x="1" y="56"/>
                    <a:pt x="1" y="56"/>
                  </a:cubicBezTo>
                  <a:cubicBezTo>
                    <a:pt x="0" y="56"/>
                    <a:pt x="0" y="56"/>
                    <a:pt x="0" y="56"/>
                  </a:cubicBezTo>
                  <a:cubicBezTo>
                    <a:pt x="8" y="66"/>
                    <a:pt x="8" y="66"/>
                    <a:pt x="8" y="66"/>
                  </a:cubicBezTo>
                  <a:cubicBezTo>
                    <a:pt x="9" y="67"/>
                    <a:pt x="9" y="67"/>
                    <a:pt x="9" y="67"/>
                  </a:cubicBezTo>
                  <a:cubicBezTo>
                    <a:pt x="10" y="67"/>
                    <a:pt x="10" y="67"/>
                    <a:pt x="10" y="67"/>
                  </a:cubicBezTo>
                  <a:cubicBezTo>
                    <a:pt x="11" y="68"/>
                    <a:pt x="12" y="69"/>
                    <a:pt x="13" y="70"/>
                  </a:cubicBezTo>
                  <a:cubicBezTo>
                    <a:pt x="13" y="70"/>
                    <a:pt x="13" y="70"/>
                    <a:pt x="13" y="70"/>
                  </a:cubicBezTo>
                  <a:cubicBezTo>
                    <a:pt x="14" y="70"/>
                    <a:pt x="14" y="70"/>
                    <a:pt x="14" y="70"/>
                  </a:cubicBezTo>
                  <a:cubicBezTo>
                    <a:pt x="14" y="70"/>
                    <a:pt x="14" y="70"/>
                    <a:pt x="14" y="70"/>
                  </a:cubicBezTo>
                  <a:cubicBezTo>
                    <a:pt x="15" y="70"/>
                    <a:pt x="15" y="70"/>
                    <a:pt x="15" y="70"/>
                  </a:cubicBezTo>
                  <a:cubicBezTo>
                    <a:pt x="16" y="70"/>
                    <a:pt x="16" y="70"/>
                    <a:pt x="16" y="70"/>
                  </a:cubicBezTo>
                  <a:cubicBezTo>
                    <a:pt x="17" y="70"/>
                    <a:pt x="17" y="70"/>
                    <a:pt x="18" y="70"/>
                  </a:cubicBezTo>
                  <a:cubicBezTo>
                    <a:pt x="19" y="70"/>
                    <a:pt x="19" y="70"/>
                    <a:pt x="19" y="70"/>
                  </a:cubicBezTo>
                  <a:cubicBezTo>
                    <a:pt x="19" y="69"/>
                    <a:pt x="20" y="69"/>
                    <a:pt x="20" y="69"/>
                  </a:cubicBezTo>
                  <a:cubicBezTo>
                    <a:pt x="21" y="69"/>
                    <a:pt x="21" y="69"/>
                    <a:pt x="21" y="69"/>
                  </a:cubicBezTo>
                  <a:cubicBezTo>
                    <a:pt x="21" y="70"/>
                    <a:pt x="21" y="70"/>
                    <a:pt x="21" y="70"/>
                  </a:cubicBezTo>
                  <a:cubicBezTo>
                    <a:pt x="21" y="70"/>
                    <a:pt x="21" y="70"/>
                    <a:pt x="21" y="70"/>
                  </a:cubicBezTo>
                  <a:cubicBezTo>
                    <a:pt x="22" y="70"/>
                    <a:pt x="22" y="70"/>
                    <a:pt x="22" y="70"/>
                  </a:cubicBezTo>
                  <a:cubicBezTo>
                    <a:pt x="23" y="70"/>
                    <a:pt x="23" y="70"/>
                    <a:pt x="24" y="70"/>
                  </a:cubicBezTo>
                  <a:cubicBezTo>
                    <a:pt x="24" y="70"/>
                    <a:pt x="24" y="70"/>
                    <a:pt x="24" y="70"/>
                  </a:cubicBezTo>
                  <a:cubicBezTo>
                    <a:pt x="25" y="70"/>
                    <a:pt x="25" y="70"/>
                    <a:pt x="25" y="70"/>
                  </a:cubicBezTo>
                  <a:cubicBezTo>
                    <a:pt x="26" y="70"/>
                    <a:pt x="26" y="70"/>
                    <a:pt x="27" y="71"/>
                  </a:cubicBezTo>
                  <a:cubicBezTo>
                    <a:pt x="27" y="71"/>
                    <a:pt x="27" y="71"/>
                    <a:pt x="27" y="71"/>
                  </a:cubicBezTo>
                  <a:cubicBezTo>
                    <a:pt x="27" y="71"/>
                    <a:pt x="27" y="71"/>
                    <a:pt x="27" y="71"/>
                  </a:cubicBezTo>
                  <a:cubicBezTo>
                    <a:pt x="28" y="72"/>
                    <a:pt x="29" y="72"/>
                    <a:pt x="29" y="73"/>
                  </a:cubicBezTo>
                  <a:cubicBezTo>
                    <a:pt x="31" y="75"/>
                    <a:pt x="32" y="78"/>
                    <a:pt x="31" y="83"/>
                  </a:cubicBezTo>
                  <a:cubicBezTo>
                    <a:pt x="76" y="83"/>
                    <a:pt x="76" y="83"/>
                    <a:pt x="76" y="83"/>
                  </a:cubicBezTo>
                  <a:cubicBezTo>
                    <a:pt x="76" y="81"/>
                    <a:pt x="76" y="81"/>
                    <a:pt x="76" y="81"/>
                  </a:cubicBezTo>
                  <a:cubicBezTo>
                    <a:pt x="76" y="81"/>
                    <a:pt x="76" y="80"/>
                    <a:pt x="76" y="79"/>
                  </a:cubicBezTo>
                  <a:cubicBezTo>
                    <a:pt x="77" y="78"/>
                    <a:pt x="79" y="76"/>
                    <a:pt x="81" y="75"/>
                  </a:cubicBezTo>
                  <a:cubicBezTo>
                    <a:pt x="82" y="75"/>
                    <a:pt x="83" y="75"/>
                    <a:pt x="84" y="75"/>
                  </a:cubicBezTo>
                  <a:cubicBezTo>
                    <a:pt x="85" y="75"/>
                    <a:pt x="86" y="75"/>
                    <a:pt x="86" y="75"/>
                  </a:cubicBezTo>
                  <a:cubicBezTo>
                    <a:pt x="87" y="75"/>
                    <a:pt x="88" y="75"/>
                    <a:pt x="88" y="75"/>
                  </a:cubicBezTo>
                  <a:cubicBezTo>
                    <a:pt x="89" y="75"/>
                    <a:pt x="89" y="75"/>
                    <a:pt x="89" y="75"/>
                  </a:cubicBezTo>
                  <a:cubicBezTo>
                    <a:pt x="89" y="75"/>
                    <a:pt x="89" y="74"/>
                    <a:pt x="89" y="74"/>
                  </a:cubicBezTo>
                  <a:cubicBezTo>
                    <a:pt x="89" y="73"/>
                    <a:pt x="89" y="73"/>
                    <a:pt x="89" y="73"/>
                  </a:cubicBezTo>
                  <a:cubicBezTo>
                    <a:pt x="89" y="72"/>
                    <a:pt x="90" y="70"/>
                    <a:pt x="90" y="69"/>
                  </a:cubicBezTo>
                  <a:cubicBezTo>
                    <a:pt x="89" y="68"/>
                    <a:pt x="89" y="68"/>
                    <a:pt x="89" y="68"/>
                  </a:cubicBezTo>
                  <a:cubicBezTo>
                    <a:pt x="89" y="66"/>
                    <a:pt x="90" y="63"/>
                    <a:pt x="91" y="61"/>
                  </a:cubicBezTo>
                  <a:cubicBezTo>
                    <a:pt x="91" y="60"/>
                    <a:pt x="91" y="59"/>
                    <a:pt x="91" y="59"/>
                  </a:cubicBezTo>
                  <a:cubicBezTo>
                    <a:pt x="92" y="58"/>
                    <a:pt x="92" y="58"/>
                    <a:pt x="92" y="58"/>
                  </a:cubicBezTo>
                  <a:cubicBezTo>
                    <a:pt x="93" y="57"/>
                    <a:pt x="93" y="57"/>
                    <a:pt x="93" y="57"/>
                  </a:cubicBezTo>
                  <a:cubicBezTo>
                    <a:pt x="93" y="57"/>
                    <a:pt x="93" y="57"/>
                    <a:pt x="93" y="57"/>
                  </a:cubicBezTo>
                  <a:cubicBezTo>
                    <a:pt x="93" y="56"/>
                    <a:pt x="93" y="56"/>
                    <a:pt x="93" y="56"/>
                  </a:cubicBezTo>
                  <a:cubicBezTo>
                    <a:pt x="94" y="56"/>
                    <a:pt x="94" y="56"/>
                    <a:pt x="94" y="56"/>
                  </a:cubicBezTo>
                  <a:cubicBezTo>
                    <a:pt x="94" y="53"/>
                    <a:pt x="93" y="51"/>
                    <a:pt x="92" y="50"/>
                  </a:cubicBezTo>
                  <a:cubicBezTo>
                    <a:pt x="91" y="49"/>
                    <a:pt x="88" y="49"/>
                    <a:pt x="86" y="49"/>
                  </a:cubicBezTo>
                  <a:cubicBezTo>
                    <a:pt x="85" y="48"/>
                    <a:pt x="84" y="47"/>
                    <a:pt x="84" y="46"/>
                  </a:cubicBezTo>
                  <a:cubicBezTo>
                    <a:pt x="82" y="43"/>
                    <a:pt x="80" y="41"/>
                    <a:pt x="77" y="38"/>
                  </a:cubicBezTo>
                  <a:cubicBezTo>
                    <a:pt x="74" y="36"/>
                    <a:pt x="72" y="36"/>
                    <a:pt x="69" y="34"/>
                  </a:cubicBezTo>
                  <a:cubicBezTo>
                    <a:pt x="68" y="34"/>
                    <a:pt x="67" y="34"/>
                    <a:pt x="67" y="34"/>
                  </a:cubicBezTo>
                  <a:cubicBezTo>
                    <a:pt x="63" y="34"/>
                    <a:pt x="62" y="43"/>
                    <a:pt x="61" y="45"/>
                  </a:cubicBezTo>
                  <a:cubicBezTo>
                    <a:pt x="59" y="40"/>
                    <a:pt x="64" y="34"/>
                    <a:pt x="64" y="29"/>
                  </a:cubicBezTo>
                  <a:cubicBezTo>
                    <a:pt x="64" y="22"/>
                    <a:pt x="59" y="18"/>
                    <a:pt x="55" y="14"/>
                  </a:cubicBezTo>
                  <a:cubicBezTo>
                    <a:pt x="52" y="10"/>
                    <a:pt x="49" y="8"/>
                    <a:pt x="45" y="5"/>
                  </a:cubicBezTo>
                  <a:cubicBezTo>
                    <a:pt x="41" y="4"/>
                    <a:pt x="38" y="2"/>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81"/>
            <p:cNvSpPr/>
            <p:nvPr/>
          </p:nvSpPr>
          <p:spPr bwMode="auto">
            <a:xfrm>
              <a:off x="10891829" y="8613010"/>
              <a:ext cx="96838" cy="101600"/>
            </a:xfrm>
            <a:custGeom>
              <a:gdLst>
                <a:gd name="T0" fmla="*/ 18 w 26"/>
                <a:gd name="T1" fmla="*/ 0 h 27"/>
                <a:gd name="T2" fmla="*/ 15 w 26"/>
                <a:gd name="T3" fmla="*/ 0 h 27"/>
                <a:gd name="T4" fmla="*/ 15 w 26"/>
                <a:gd name="T5" fmla="*/ 1 h 27"/>
                <a:gd name="T6" fmla="*/ 17 w 26"/>
                <a:gd name="T7" fmla="*/ 1 h 27"/>
                <a:gd name="T8" fmla="*/ 17 w 26"/>
                <a:gd name="T9" fmla="*/ 2 h 27"/>
                <a:gd name="T10" fmla="*/ 16 w 26"/>
                <a:gd name="T11" fmla="*/ 5 h 27"/>
                <a:gd name="T12" fmla="*/ 16 w 26"/>
                <a:gd name="T13" fmla="*/ 5 h 27"/>
                <a:gd name="T14" fmla="*/ 15 w 26"/>
                <a:gd name="T15" fmla="*/ 6 h 27"/>
                <a:gd name="T16" fmla="*/ 14 w 26"/>
                <a:gd name="T17" fmla="*/ 12 h 27"/>
                <a:gd name="T18" fmla="*/ 14 w 26"/>
                <a:gd name="T19" fmla="*/ 13 h 27"/>
                <a:gd name="T20" fmla="*/ 14 w 26"/>
                <a:gd name="T21" fmla="*/ 13 h 27"/>
                <a:gd name="T22" fmla="*/ 14 w 26"/>
                <a:gd name="T23" fmla="*/ 18 h 27"/>
                <a:gd name="T24" fmla="*/ 14 w 26"/>
                <a:gd name="T25" fmla="*/ 19 h 27"/>
                <a:gd name="T26" fmla="*/ 13 w 26"/>
                <a:gd name="T27" fmla="*/ 21 h 27"/>
                <a:gd name="T28" fmla="*/ 13 w 26"/>
                <a:gd name="T29" fmla="*/ 22 h 27"/>
                <a:gd name="T30" fmla="*/ 12 w 26"/>
                <a:gd name="T31" fmla="*/ 23 h 27"/>
                <a:gd name="T32" fmla="*/ 9 w 26"/>
                <a:gd name="T33" fmla="*/ 25 h 27"/>
                <a:gd name="T34" fmla="*/ 7 w 26"/>
                <a:gd name="T35" fmla="*/ 25 h 27"/>
                <a:gd name="T36" fmla="*/ 5 w 26"/>
                <a:gd name="T37" fmla="*/ 25 h 27"/>
                <a:gd name="T38" fmla="*/ 3 w 26"/>
                <a:gd name="T39" fmla="*/ 24 h 27"/>
                <a:gd name="T40" fmla="*/ 2 w 26"/>
                <a:gd name="T41" fmla="*/ 25 h 27"/>
                <a:gd name="T42" fmla="*/ 0 w 26"/>
                <a:gd name="T43" fmla="*/ 26 h 27"/>
                <a:gd name="T44" fmla="*/ 0 w 26"/>
                <a:gd name="T45" fmla="*/ 27 h 27"/>
                <a:gd name="T46" fmla="*/ 26 w 26"/>
                <a:gd name="T47" fmla="*/ 27 h 27"/>
                <a:gd name="T48" fmla="*/ 26 w 26"/>
                <a:gd name="T49" fmla="*/ 0 h 27"/>
                <a:gd name="T50" fmla="*/ 24 w 26"/>
                <a:gd name="T51" fmla="*/ 0 h 27"/>
                <a:gd name="T52" fmla="*/ 18 w 26"/>
                <a:gd name="T53"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27">
                  <a:moveTo>
                    <a:pt x="18" y="0"/>
                  </a:moveTo>
                  <a:cubicBezTo>
                    <a:pt x="17" y="0"/>
                    <a:pt x="16" y="0"/>
                    <a:pt x="15" y="0"/>
                  </a:cubicBezTo>
                  <a:cubicBezTo>
                    <a:pt x="15" y="1"/>
                    <a:pt x="15" y="1"/>
                    <a:pt x="15" y="1"/>
                  </a:cubicBezTo>
                  <a:cubicBezTo>
                    <a:pt x="17" y="1"/>
                    <a:pt x="17" y="1"/>
                    <a:pt x="17" y="1"/>
                  </a:cubicBezTo>
                  <a:cubicBezTo>
                    <a:pt x="17" y="2"/>
                    <a:pt x="17" y="2"/>
                    <a:pt x="17" y="2"/>
                  </a:cubicBezTo>
                  <a:cubicBezTo>
                    <a:pt x="17" y="3"/>
                    <a:pt x="16" y="4"/>
                    <a:pt x="16" y="5"/>
                  </a:cubicBezTo>
                  <a:cubicBezTo>
                    <a:pt x="16" y="5"/>
                    <a:pt x="16" y="5"/>
                    <a:pt x="16" y="5"/>
                  </a:cubicBezTo>
                  <a:cubicBezTo>
                    <a:pt x="16" y="6"/>
                    <a:pt x="15" y="6"/>
                    <a:pt x="15" y="6"/>
                  </a:cubicBezTo>
                  <a:cubicBezTo>
                    <a:pt x="15" y="8"/>
                    <a:pt x="14" y="10"/>
                    <a:pt x="14" y="12"/>
                  </a:cubicBezTo>
                  <a:cubicBezTo>
                    <a:pt x="14" y="13"/>
                    <a:pt x="14" y="13"/>
                    <a:pt x="14" y="13"/>
                  </a:cubicBezTo>
                  <a:cubicBezTo>
                    <a:pt x="14" y="13"/>
                    <a:pt x="14" y="13"/>
                    <a:pt x="14" y="13"/>
                  </a:cubicBezTo>
                  <a:cubicBezTo>
                    <a:pt x="14" y="15"/>
                    <a:pt x="14" y="17"/>
                    <a:pt x="14" y="18"/>
                  </a:cubicBezTo>
                  <a:cubicBezTo>
                    <a:pt x="14" y="19"/>
                    <a:pt x="14" y="19"/>
                    <a:pt x="14" y="19"/>
                  </a:cubicBezTo>
                  <a:cubicBezTo>
                    <a:pt x="14" y="19"/>
                    <a:pt x="13" y="20"/>
                    <a:pt x="13" y="21"/>
                  </a:cubicBezTo>
                  <a:cubicBezTo>
                    <a:pt x="13" y="22"/>
                    <a:pt x="13" y="22"/>
                    <a:pt x="13" y="22"/>
                  </a:cubicBezTo>
                  <a:cubicBezTo>
                    <a:pt x="12" y="23"/>
                    <a:pt x="12" y="23"/>
                    <a:pt x="12" y="23"/>
                  </a:cubicBezTo>
                  <a:cubicBezTo>
                    <a:pt x="12" y="24"/>
                    <a:pt x="10" y="25"/>
                    <a:pt x="9" y="25"/>
                  </a:cubicBezTo>
                  <a:cubicBezTo>
                    <a:pt x="8" y="25"/>
                    <a:pt x="8" y="25"/>
                    <a:pt x="7" y="25"/>
                  </a:cubicBezTo>
                  <a:cubicBezTo>
                    <a:pt x="6" y="25"/>
                    <a:pt x="5" y="25"/>
                    <a:pt x="5" y="25"/>
                  </a:cubicBezTo>
                  <a:cubicBezTo>
                    <a:pt x="4" y="25"/>
                    <a:pt x="3" y="25"/>
                    <a:pt x="3" y="24"/>
                  </a:cubicBezTo>
                  <a:cubicBezTo>
                    <a:pt x="2" y="25"/>
                    <a:pt x="2" y="25"/>
                    <a:pt x="2" y="25"/>
                  </a:cubicBezTo>
                  <a:cubicBezTo>
                    <a:pt x="1" y="25"/>
                    <a:pt x="1" y="25"/>
                    <a:pt x="0" y="26"/>
                  </a:cubicBezTo>
                  <a:cubicBezTo>
                    <a:pt x="0" y="27"/>
                    <a:pt x="0" y="27"/>
                    <a:pt x="0" y="27"/>
                  </a:cubicBezTo>
                  <a:cubicBezTo>
                    <a:pt x="26" y="27"/>
                    <a:pt x="26" y="27"/>
                    <a:pt x="26" y="27"/>
                  </a:cubicBezTo>
                  <a:cubicBezTo>
                    <a:pt x="26" y="0"/>
                    <a:pt x="26" y="0"/>
                    <a:pt x="26" y="0"/>
                  </a:cubicBezTo>
                  <a:cubicBezTo>
                    <a:pt x="26" y="0"/>
                    <a:pt x="25" y="0"/>
                    <a:pt x="24" y="0"/>
                  </a:cubicBezTo>
                  <a:cubicBezTo>
                    <a:pt x="23"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5"/>
            <p:cNvSpPr>
              <a:spLocks noEditPoints="1"/>
            </p:cNvSpPr>
            <p:nvPr/>
          </p:nvSpPr>
          <p:spPr bwMode="auto">
            <a:xfrm>
              <a:off x="3648399" y="1406918"/>
              <a:ext cx="7340600" cy="3843338"/>
            </a:xfrm>
            <a:custGeom>
              <a:gdLst>
                <a:gd name="T0" fmla="*/ 1866 w 1955"/>
                <a:gd name="T1" fmla="*/ 627 h 1022"/>
                <a:gd name="T2" fmla="*/ 1798 w 1955"/>
                <a:gd name="T3" fmla="*/ 492 h 1022"/>
                <a:gd name="T4" fmla="*/ 1752 w 1955"/>
                <a:gd name="T5" fmla="*/ 470 h 1022"/>
                <a:gd name="T6" fmla="*/ 1748 w 1955"/>
                <a:gd name="T7" fmla="*/ 488 h 1022"/>
                <a:gd name="T8" fmla="*/ 1736 w 1955"/>
                <a:gd name="T9" fmla="*/ 508 h 1022"/>
                <a:gd name="T10" fmla="*/ 1731 w 1955"/>
                <a:gd name="T11" fmla="*/ 505 h 1022"/>
                <a:gd name="T12" fmla="*/ 1694 w 1955"/>
                <a:gd name="T13" fmla="*/ 524 h 1022"/>
                <a:gd name="T14" fmla="*/ 1670 w 1955"/>
                <a:gd name="T15" fmla="*/ 534 h 1022"/>
                <a:gd name="T16" fmla="*/ 1681 w 1955"/>
                <a:gd name="T17" fmla="*/ 505 h 1022"/>
                <a:gd name="T18" fmla="*/ 1647 w 1955"/>
                <a:gd name="T19" fmla="*/ 503 h 1022"/>
                <a:gd name="T20" fmla="*/ 1662 w 1955"/>
                <a:gd name="T21" fmla="*/ 490 h 1022"/>
                <a:gd name="T22" fmla="*/ 1657 w 1955"/>
                <a:gd name="T23" fmla="*/ 431 h 1022"/>
                <a:gd name="T24" fmla="*/ 1456 w 1955"/>
                <a:gd name="T25" fmla="*/ 383 h 1022"/>
                <a:gd name="T26" fmla="*/ 1466 w 1955"/>
                <a:gd name="T27" fmla="*/ 475 h 1022"/>
                <a:gd name="T28" fmla="*/ 1449 w 1955"/>
                <a:gd name="T29" fmla="*/ 500 h 1022"/>
                <a:gd name="T30" fmla="*/ 1473 w 1955"/>
                <a:gd name="T31" fmla="*/ 528 h 1022"/>
                <a:gd name="T32" fmla="*/ 1492 w 1955"/>
                <a:gd name="T33" fmla="*/ 590 h 1022"/>
                <a:gd name="T34" fmla="*/ 1434 w 1955"/>
                <a:gd name="T35" fmla="*/ 658 h 1022"/>
                <a:gd name="T36" fmla="*/ 1438 w 1955"/>
                <a:gd name="T37" fmla="*/ 695 h 1022"/>
                <a:gd name="T38" fmla="*/ 1438 w 1955"/>
                <a:gd name="T39" fmla="*/ 748 h 1022"/>
                <a:gd name="T40" fmla="*/ 1394 w 1955"/>
                <a:gd name="T41" fmla="*/ 753 h 1022"/>
                <a:gd name="T42" fmla="*/ 1384 w 1955"/>
                <a:gd name="T43" fmla="*/ 724 h 1022"/>
                <a:gd name="T44" fmla="*/ 1359 w 1955"/>
                <a:gd name="T45" fmla="*/ 660 h 1022"/>
                <a:gd name="T46" fmla="*/ 1298 w 1955"/>
                <a:gd name="T47" fmla="*/ 622 h 1022"/>
                <a:gd name="T48" fmla="*/ 1228 w 1955"/>
                <a:gd name="T49" fmla="*/ 585 h 1022"/>
                <a:gd name="T50" fmla="*/ 1124 w 1955"/>
                <a:gd name="T51" fmla="*/ 328 h 1022"/>
                <a:gd name="T52" fmla="*/ 1303 w 1955"/>
                <a:gd name="T53" fmla="*/ 250 h 1022"/>
                <a:gd name="T54" fmla="*/ 1286 w 1955"/>
                <a:gd name="T55" fmla="*/ 109 h 1022"/>
                <a:gd name="T56" fmla="*/ 1135 w 1955"/>
                <a:gd name="T57" fmla="*/ 84 h 1022"/>
                <a:gd name="T58" fmla="*/ 1081 w 1955"/>
                <a:gd name="T59" fmla="*/ 122 h 1022"/>
                <a:gd name="T60" fmla="*/ 950 w 1955"/>
                <a:gd name="T61" fmla="*/ 175 h 1022"/>
                <a:gd name="T62" fmla="*/ 740 w 1955"/>
                <a:gd name="T63" fmla="*/ 184 h 1022"/>
                <a:gd name="T64" fmla="*/ 268 w 1955"/>
                <a:gd name="T65" fmla="*/ 93 h 1022"/>
                <a:gd name="T66" fmla="*/ 138 w 1955"/>
                <a:gd name="T67" fmla="*/ 95 h 1022"/>
                <a:gd name="T68" fmla="*/ 131 w 1955"/>
                <a:gd name="T69" fmla="*/ 475 h 1022"/>
                <a:gd name="T70" fmla="*/ 246 w 1955"/>
                <a:gd name="T71" fmla="*/ 655 h 1022"/>
                <a:gd name="T72" fmla="*/ 288 w 1955"/>
                <a:gd name="T73" fmla="*/ 701 h 1022"/>
                <a:gd name="T74" fmla="*/ 312 w 1955"/>
                <a:gd name="T75" fmla="*/ 737 h 1022"/>
                <a:gd name="T76" fmla="*/ 383 w 1955"/>
                <a:gd name="T77" fmla="*/ 772 h 1022"/>
                <a:gd name="T78" fmla="*/ 1140 w 1955"/>
                <a:gd name="T79" fmla="*/ 838 h 1022"/>
                <a:gd name="T80" fmla="*/ 1207 w 1955"/>
                <a:gd name="T81" fmla="*/ 831 h 1022"/>
                <a:gd name="T82" fmla="*/ 1218 w 1955"/>
                <a:gd name="T83" fmla="*/ 823 h 1022"/>
                <a:gd name="T84" fmla="*/ 1224 w 1955"/>
                <a:gd name="T85" fmla="*/ 818 h 1022"/>
                <a:gd name="T86" fmla="*/ 1271 w 1955"/>
                <a:gd name="T87" fmla="*/ 841 h 1022"/>
                <a:gd name="T88" fmla="*/ 1306 w 1955"/>
                <a:gd name="T89" fmla="*/ 867 h 1022"/>
                <a:gd name="T90" fmla="*/ 1318 w 1955"/>
                <a:gd name="T91" fmla="*/ 896 h 1022"/>
                <a:gd name="T92" fmla="*/ 1382 w 1955"/>
                <a:gd name="T93" fmla="*/ 907 h 1022"/>
                <a:gd name="T94" fmla="*/ 1400 w 1955"/>
                <a:gd name="T95" fmla="*/ 946 h 1022"/>
                <a:gd name="T96" fmla="*/ 1379 w 1955"/>
                <a:gd name="T97" fmla="*/ 933 h 1022"/>
                <a:gd name="T98" fmla="*/ 1356 w 1955"/>
                <a:gd name="T99" fmla="*/ 992 h 1022"/>
                <a:gd name="T100" fmla="*/ 1421 w 1955"/>
                <a:gd name="T101" fmla="*/ 977 h 1022"/>
                <a:gd name="T102" fmla="*/ 1667 w 1955"/>
                <a:gd name="T103" fmla="*/ 861 h 1022"/>
                <a:gd name="T104" fmla="*/ 1765 w 1955"/>
                <a:gd name="T105" fmla="*/ 875 h 1022"/>
                <a:gd name="T106" fmla="*/ 1779 w 1955"/>
                <a:gd name="T107" fmla="*/ 832 h 1022"/>
                <a:gd name="T108" fmla="*/ 1707 w 1955"/>
                <a:gd name="T109" fmla="*/ 820 h 1022"/>
                <a:gd name="T110" fmla="*/ 1642 w 1955"/>
                <a:gd name="T111" fmla="*/ 857 h 1022"/>
                <a:gd name="T112" fmla="*/ 1620 w 1955"/>
                <a:gd name="T113" fmla="*/ 834 h 1022"/>
                <a:gd name="T114" fmla="*/ 1672 w 1955"/>
                <a:gd name="T115" fmla="*/ 821 h 1022"/>
                <a:gd name="T116" fmla="*/ 1735 w 1955"/>
                <a:gd name="T117" fmla="*/ 782 h 1022"/>
                <a:gd name="T118" fmla="*/ 1912 w 1955"/>
                <a:gd name="T119" fmla="*/ 804 h 1022"/>
                <a:gd name="T120" fmla="*/ 466 w 1955"/>
                <a:gd name="T121" fmla="*/ 277 h 1022"/>
                <a:gd name="T122" fmla="*/ 707 w 1955"/>
                <a:gd name="T123" fmla="*/ 374 h 1022"/>
                <a:gd name="T124" fmla="*/ 1034 w 1955"/>
                <a:gd name="T125" fmla="*/ 768 h 10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54" h="1022">
                  <a:moveTo>
                    <a:pt x="1952" y="846"/>
                  </a:moveTo>
                  <a:cubicBezTo>
                    <a:pt x="1953" y="846"/>
                    <a:pt x="1954" y="846"/>
                    <a:pt x="1955" y="846"/>
                  </a:cubicBezTo>
                  <a:cubicBezTo>
                    <a:pt x="1955" y="781"/>
                    <a:pt x="1955" y="781"/>
                    <a:pt x="1955" y="781"/>
                  </a:cubicBezTo>
                  <a:cubicBezTo>
                    <a:pt x="1953" y="783"/>
                    <a:pt x="1951" y="788"/>
                    <a:pt x="1950" y="789"/>
                  </a:cubicBezTo>
                  <a:cubicBezTo>
                    <a:pt x="1950" y="787"/>
                    <a:pt x="1950" y="786"/>
                    <a:pt x="1950" y="784"/>
                  </a:cubicBezTo>
                  <a:cubicBezTo>
                    <a:pt x="1950" y="784"/>
                    <a:pt x="1949" y="783"/>
                    <a:pt x="1948" y="783"/>
                  </a:cubicBezTo>
                  <a:cubicBezTo>
                    <a:pt x="1949" y="781"/>
                    <a:pt x="1950" y="778"/>
                    <a:pt x="1951" y="776"/>
                  </a:cubicBezTo>
                  <a:cubicBezTo>
                    <a:pt x="1952" y="774"/>
                    <a:pt x="1952" y="773"/>
                    <a:pt x="1953" y="772"/>
                  </a:cubicBezTo>
                  <a:cubicBezTo>
                    <a:pt x="1954" y="771"/>
                    <a:pt x="1955" y="769"/>
                    <a:pt x="1955" y="768"/>
                  </a:cubicBezTo>
                  <a:cubicBezTo>
                    <a:pt x="1955" y="674"/>
                    <a:pt x="1955" y="674"/>
                    <a:pt x="1955" y="674"/>
                  </a:cubicBezTo>
                  <a:cubicBezTo>
                    <a:pt x="1955" y="674"/>
                    <a:pt x="1954" y="674"/>
                    <a:pt x="1953" y="674"/>
                  </a:cubicBezTo>
                  <a:cubicBezTo>
                    <a:pt x="1953" y="674"/>
                    <a:pt x="1954" y="674"/>
                    <a:pt x="1955" y="673"/>
                  </a:cubicBezTo>
                  <a:cubicBezTo>
                    <a:pt x="1955" y="671"/>
                    <a:pt x="1955" y="671"/>
                    <a:pt x="1955" y="671"/>
                  </a:cubicBezTo>
                  <a:cubicBezTo>
                    <a:pt x="1955" y="671"/>
                    <a:pt x="1955" y="671"/>
                    <a:pt x="1955" y="671"/>
                  </a:cubicBezTo>
                  <a:cubicBezTo>
                    <a:pt x="1955" y="672"/>
                    <a:pt x="1955" y="672"/>
                    <a:pt x="1955" y="673"/>
                  </a:cubicBezTo>
                  <a:cubicBezTo>
                    <a:pt x="1952" y="672"/>
                    <a:pt x="1948" y="671"/>
                    <a:pt x="1945" y="674"/>
                  </a:cubicBezTo>
                  <a:cubicBezTo>
                    <a:pt x="1943" y="675"/>
                    <a:pt x="1943" y="677"/>
                    <a:pt x="1942" y="678"/>
                  </a:cubicBezTo>
                  <a:cubicBezTo>
                    <a:pt x="1941" y="680"/>
                    <a:pt x="1939" y="682"/>
                    <a:pt x="1938" y="681"/>
                  </a:cubicBezTo>
                  <a:cubicBezTo>
                    <a:pt x="1939" y="678"/>
                    <a:pt x="1939" y="674"/>
                    <a:pt x="1934" y="677"/>
                  </a:cubicBezTo>
                  <a:cubicBezTo>
                    <a:pt x="1935" y="675"/>
                    <a:pt x="1938" y="674"/>
                    <a:pt x="1940" y="673"/>
                  </a:cubicBezTo>
                  <a:cubicBezTo>
                    <a:pt x="1941" y="673"/>
                    <a:pt x="1943" y="672"/>
                    <a:pt x="1943" y="672"/>
                  </a:cubicBezTo>
                  <a:cubicBezTo>
                    <a:pt x="1944" y="671"/>
                    <a:pt x="1943" y="670"/>
                    <a:pt x="1944" y="669"/>
                  </a:cubicBezTo>
                  <a:cubicBezTo>
                    <a:pt x="1944" y="668"/>
                    <a:pt x="1943" y="667"/>
                    <a:pt x="1942" y="666"/>
                  </a:cubicBezTo>
                  <a:cubicBezTo>
                    <a:pt x="1942" y="665"/>
                    <a:pt x="1943" y="666"/>
                    <a:pt x="1943" y="665"/>
                  </a:cubicBezTo>
                  <a:cubicBezTo>
                    <a:pt x="1939" y="662"/>
                    <a:pt x="1934" y="658"/>
                    <a:pt x="1929" y="657"/>
                  </a:cubicBezTo>
                  <a:cubicBezTo>
                    <a:pt x="1927" y="657"/>
                    <a:pt x="1926" y="657"/>
                    <a:pt x="1923" y="656"/>
                  </a:cubicBezTo>
                  <a:cubicBezTo>
                    <a:pt x="1921" y="656"/>
                    <a:pt x="1914" y="655"/>
                    <a:pt x="1913" y="659"/>
                  </a:cubicBezTo>
                  <a:cubicBezTo>
                    <a:pt x="1918" y="661"/>
                    <a:pt x="1923" y="658"/>
                    <a:pt x="1927" y="661"/>
                  </a:cubicBezTo>
                  <a:cubicBezTo>
                    <a:pt x="1925" y="661"/>
                    <a:pt x="1923" y="661"/>
                    <a:pt x="1921" y="661"/>
                  </a:cubicBezTo>
                  <a:cubicBezTo>
                    <a:pt x="1919" y="661"/>
                    <a:pt x="1919" y="661"/>
                    <a:pt x="1917" y="661"/>
                  </a:cubicBezTo>
                  <a:cubicBezTo>
                    <a:pt x="1915" y="662"/>
                    <a:pt x="1912" y="663"/>
                    <a:pt x="1910" y="663"/>
                  </a:cubicBezTo>
                  <a:cubicBezTo>
                    <a:pt x="1908" y="664"/>
                    <a:pt x="1905" y="665"/>
                    <a:pt x="1903" y="666"/>
                  </a:cubicBezTo>
                  <a:cubicBezTo>
                    <a:pt x="1902" y="666"/>
                    <a:pt x="1901" y="668"/>
                    <a:pt x="1900" y="669"/>
                  </a:cubicBezTo>
                  <a:cubicBezTo>
                    <a:pt x="1900" y="669"/>
                    <a:pt x="1899" y="669"/>
                    <a:pt x="1898" y="670"/>
                  </a:cubicBezTo>
                  <a:cubicBezTo>
                    <a:pt x="1898" y="670"/>
                    <a:pt x="1899" y="671"/>
                    <a:pt x="1899" y="672"/>
                  </a:cubicBezTo>
                  <a:cubicBezTo>
                    <a:pt x="1899" y="674"/>
                    <a:pt x="1896" y="673"/>
                    <a:pt x="1895" y="673"/>
                  </a:cubicBezTo>
                  <a:cubicBezTo>
                    <a:pt x="1892" y="674"/>
                    <a:pt x="1891" y="675"/>
                    <a:pt x="1889" y="676"/>
                  </a:cubicBezTo>
                  <a:cubicBezTo>
                    <a:pt x="1887" y="678"/>
                    <a:pt x="1886" y="679"/>
                    <a:pt x="1883" y="679"/>
                  </a:cubicBezTo>
                  <a:cubicBezTo>
                    <a:pt x="1879" y="679"/>
                    <a:pt x="1879" y="678"/>
                    <a:pt x="1879" y="681"/>
                  </a:cubicBezTo>
                  <a:cubicBezTo>
                    <a:pt x="1878" y="681"/>
                    <a:pt x="1877" y="683"/>
                    <a:pt x="1876" y="684"/>
                  </a:cubicBezTo>
                  <a:cubicBezTo>
                    <a:pt x="1875" y="685"/>
                    <a:pt x="1872" y="684"/>
                    <a:pt x="1874" y="686"/>
                  </a:cubicBezTo>
                  <a:cubicBezTo>
                    <a:pt x="1873" y="685"/>
                    <a:pt x="1869" y="687"/>
                    <a:pt x="1867" y="687"/>
                  </a:cubicBezTo>
                  <a:cubicBezTo>
                    <a:pt x="1869" y="686"/>
                    <a:pt x="1871" y="686"/>
                    <a:pt x="1872" y="684"/>
                  </a:cubicBezTo>
                  <a:cubicBezTo>
                    <a:pt x="1871" y="684"/>
                    <a:pt x="1869" y="684"/>
                    <a:pt x="1867" y="685"/>
                  </a:cubicBezTo>
                  <a:cubicBezTo>
                    <a:pt x="1868" y="683"/>
                    <a:pt x="1873" y="680"/>
                    <a:pt x="1876" y="681"/>
                  </a:cubicBezTo>
                  <a:cubicBezTo>
                    <a:pt x="1876" y="679"/>
                    <a:pt x="1868" y="676"/>
                    <a:pt x="1866" y="675"/>
                  </a:cubicBezTo>
                  <a:cubicBezTo>
                    <a:pt x="1863" y="673"/>
                    <a:pt x="1859" y="672"/>
                    <a:pt x="1855" y="673"/>
                  </a:cubicBezTo>
                  <a:cubicBezTo>
                    <a:pt x="1856" y="671"/>
                    <a:pt x="1856" y="670"/>
                    <a:pt x="1856" y="669"/>
                  </a:cubicBezTo>
                  <a:cubicBezTo>
                    <a:pt x="1859" y="673"/>
                    <a:pt x="1864" y="672"/>
                    <a:pt x="1868" y="674"/>
                  </a:cubicBezTo>
                  <a:cubicBezTo>
                    <a:pt x="1869" y="675"/>
                    <a:pt x="1872" y="678"/>
                    <a:pt x="1873" y="678"/>
                  </a:cubicBezTo>
                  <a:cubicBezTo>
                    <a:pt x="1877" y="678"/>
                    <a:pt x="1872" y="672"/>
                    <a:pt x="1876" y="673"/>
                  </a:cubicBezTo>
                  <a:cubicBezTo>
                    <a:pt x="1875" y="670"/>
                    <a:pt x="1877" y="671"/>
                    <a:pt x="1879" y="670"/>
                  </a:cubicBezTo>
                  <a:cubicBezTo>
                    <a:pt x="1879" y="670"/>
                    <a:pt x="1881" y="669"/>
                    <a:pt x="1881" y="669"/>
                  </a:cubicBezTo>
                  <a:cubicBezTo>
                    <a:pt x="1881" y="669"/>
                    <a:pt x="1881" y="669"/>
                    <a:pt x="1882" y="669"/>
                  </a:cubicBezTo>
                  <a:cubicBezTo>
                    <a:pt x="1882" y="668"/>
                    <a:pt x="1882" y="669"/>
                    <a:pt x="1883" y="669"/>
                  </a:cubicBezTo>
                  <a:cubicBezTo>
                    <a:pt x="1886" y="668"/>
                    <a:pt x="1888" y="669"/>
                    <a:pt x="1891" y="667"/>
                  </a:cubicBezTo>
                  <a:cubicBezTo>
                    <a:pt x="1894" y="666"/>
                    <a:pt x="1898" y="666"/>
                    <a:pt x="1900" y="665"/>
                  </a:cubicBezTo>
                  <a:cubicBezTo>
                    <a:pt x="1901" y="664"/>
                    <a:pt x="1901" y="662"/>
                    <a:pt x="1902" y="662"/>
                  </a:cubicBezTo>
                  <a:cubicBezTo>
                    <a:pt x="1904" y="661"/>
                    <a:pt x="1906" y="663"/>
                    <a:pt x="1907" y="662"/>
                  </a:cubicBezTo>
                  <a:cubicBezTo>
                    <a:pt x="1910" y="662"/>
                    <a:pt x="1912" y="658"/>
                    <a:pt x="1914" y="656"/>
                  </a:cubicBezTo>
                  <a:cubicBezTo>
                    <a:pt x="1909" y="658"/>
                    <a:pt x="1906" y="660"/>
                    <a:pt x="1901" y="661"/>
                  </a:cubicBezTo>
                  <a:cubicBezTo>
                    <a:pt x="1898" y="662"/>
                    <a:pt x="1889" y="665"/>
                    <a:pt x="1886" y="662"/>
                  </a:cubicBezTo>
                  <a:cubicBezTo>
                    <a:pt x="1889" y="661"/>
                    <a:pt x="1893" y="661"/>
                    <a:pt x="1897" y="660"/>
                  </a:cubicBezTo>
                  <a:cubicBezTo>
                    <a:pt x="1899" y="660"/>
                    <a:pt x="1902" y="659"/>
                    <a:pt x="1905" y="659"/>
                  </a:cubicBezTo>
                  <a:cubicBezTo>
                    <a:pt x="1908" y="659"/>
                    <a:pt x="1909" y="657"/>
                    <a:pt x="1912" y="656"/>
                  </a:cubicBezTo>
                  <a:cubicBezTo>
                    <a:pt x="1914" y="656"/>
                    <a:pt x="1915" y="656"/>
                    <a:pt x="1916" y="655"/>
                  </a:cubicBezTo>
                  <a:cubicBezTo>
                    <a:pt x="1917" y="655"/>
                    <a:pt x="1920" y="654"/>
                    <a:pt x="1920" y="653"/>
                  </a:cubicBezTo>
                  <a:cubicBezTo>
                    <a:pt x="1920" y="653"/>
                    <a:pt x="1920" y="653"/>
                    <a:pt x="1920" y="653"/>
                  </a:cubicBezTo>
                  <a:cubicBezTo>
                    <a:pt x="1919" y="653"/>
                    <a:pt x="1918" y="653"/>
                    <a:pt x="1917" y="654"/>
                  </a:cubicBezTo>
                  <a:cubicBezTo>
                    <a:pt x="1921" y="649"/>
                    <a:pt x="1932" y="654"/>
                    <a:pt x="1935" y="649"/>
                  </a:cubicBezTo>
                  <a:cubicBezTo>
                    <a:pt x="1933" y="649"/>
                    <a:pt x="1932" y="648"/>
                    <a:pt x="1930" y="649"/>
                  </a:cubicBezTo>
                  <a:cubicBezTo>
                    <a:pt x="1934" y="647"/>
                    <a:pt x="1936" y="649"/>
                    <a:pt x="1938" y="645"/>
                  </a:cubicBezTo>
                  <a:cubicBezTo>
                    <a:pt x="1935" y="644"/>
                    <a:pt x="1933" y="644"/>
                    <a:pt x="1931" y="643"/>
                  </a:cubicBezTo>
                  <a:cubicBezTo>
                    <a:pt x="1929" y="643"/>
                    <a:pt x="1927" y="640"/>
                    <a:pt x="1925" y="640"/>
                  </a:cubicBezTo>
                  <a:cubicBezTo>
                    <a:pt x="1924" y="639"/>
                    <a:pt x="1923" y="640"/>
                    <a:pt x="1922" y="640"/>
                  </a:cubicBezTo>
                  <a:cubicBezTo>
                    <a:pt x="1920" y="640"/>
                    <a:pt x="1919" y="639"/>
                    <a:pt x="1917" y="638"/>
                  </a:cubicBezTo>
                  <a:cubicBezTo>
                    <a:pt x="1916" y="638"/>
                    <a:pt x="1915" y="638"/>
                    <a:pt x="1914" y="638"/>
                  </a:cubicBezTo>
                  <a:cubicBezTo>
                    <a:pt x="1913" y="638"/>
                    <a:pt x="1914" y="641"/>
                    <a:pt x="1912" y="639"/>
                  </a:cubicBezTo>
                  <a:cubicBezTo>
                    <a:pt x="1911" y="638"/>
                    <a:pt x="1911" y="639"/>
                    <a:pt x="1910" y="639"/>
                  </a:cubicBezTo>
                  <a:cubicBezTo>
                    <a:pt x="1910" y="639"/>
                    <a:pt x="1909" y="638"/>
                    <a:pt x="1908" y="637"/>
                  </a:cubicBezTo>
                  <a:cubicBezTo>
                    <a:pt x="1907" y="637"/>
                    <a:pt x="1906" y="636"/>
                    <a:pt x="1905" y="638"/>
                  </a:cubicBezTo>
                  <a:cubicBezTo>
                    <a:pt x="1904" y="637"/>
                    <a:pt x="1901" y="635"/>
                    <a:pt x="1900" y="635"/>
                  </a:cubicBezTo>
                  <a:cubicBezTo>
                    <a:pt x="1903" y="632"/>
                    <a:pt x="1901" y="634"/>
                    <a:pt x="1901" y="630"/>
                  </a:cubicBezTo>
                  <a:cubicBezTo>
                    <a:pt x="1900" y="629"/>
                    <a:pt x="1900" y="628"/>
                    <a:pt x="1901" y="627"/>
                  </a:cubicBezTo>
                  <a:cubicBezTo>
                    <a:pt x="1899" y="627"/>
                    <a:pt x="1898" y="629"/>
                    <a:pt x="1896" y="628"/>
                  </a:cubicBezTo>
                  <a:cubicBezTo>
                    <a:pt x="1896" y="629"/>
                    <a:pt x="1896" y="629"/>
                    <a:pt x="1896" y="629"/>
                  </a:cubicBezTo>
                  <a:cubicBezTo>
                    <a:pt x="1895" y="629"/>
                    <a:pt x="1894" y="630"/>
                    <a:pt x="1894" y="630"/>
                  </a:cubicBezTo>
                  <a:cubicBezTo>
                    <a:pt x="1893" y="630"/>
                    <a:pt x="1891" y="631"/>
                    <a:pt x="1891" y="632"/>
                  </a:cubicBezTo>
                  <a:cubicBezTo>
                    <a:pt x="1892" y="631"/>
                    <a:pt x="1897" y="626"/>
                    <a:pt x="1897" y="625"/>
                  </a:cubicBezTo>
                  <a:cubicBezTo>
                    <a:pt x="1896" y="622"/>
                    <a:pt x="1893" y="626"/>
                    <a:pt x="1892" y="627"/>
                  </a:cubicBezTo>
                  <a:cubicBezTo>
                    <a:pt x="1891" y="628"/>
                    <a:pt x="1890" y="631"/>
                    <a:pt x="1890" y="630"/>
                  </a:cubicBezTo>
                  <a:cubicBezTo>
                    <a:pt x="1889" y="630"/>
                    <a:pt x="1884" y="634"/>
                    <a:pt x="1883" y="634"/>
                  </a:cubicBezTo>
                  <a:cubicBezTo>
                    <a:pt x="1881" y="636"/>
                    <a:pt x="1882" y="640"/>
                    <a:pt x="1878" y="640"/>
                  </a:cubicBezTo>
                  <a:cubicBezTo>
                    <a:pt x="1880" y="637"/>
                    <a:pt x="1881" y="634"/>
                    <a:pt x="1883" y="632"/>
                  </a:cubicBezTo>
                  <a:cubicBezTo>
                    <a:pt x="1884" y="631"/>
                    <a:pt x="1886" y="631"/>
                    <a:pt x="1887" y="630"/>
                  </a:cubicBezTo>
                  <a:cubicBezTo>
                    <a:pt x="1888" y="630"/>
                    <a:pt x="1890" y="627"/>
                    <a:pt x="1890" y="627"/>
                  </a:cubicBezTo>
                  <a:cubicBezTo>
                    <a:pt x="1889" y="625"/>
                    <a:pt x="1886" y="627"/>
                    <a:pt x="1885" y="627"/>
                  </a:cubicBezTo>
                  <a:cubicBezTo>
                    <a:pt x="1883" y="627"/>
                    <a:pt x="1879" y="627"/>
                    <a:pt x="1878" y="628"/>
                  </a:cubicBezTo>
                  <a:cubicBezTo>
                    <a:pt x="1879" y="626"/>
                    <a:pt x="1882" y="626"/>
                    <a:pt x="1883" y="625"/>
                  </a:cubicBezTo>
                  <a:cubicBezTo>
                    <a:pt x="1882" y="625"/>
                    <a:pt x="1883" y="622"/>
                    <a:pt x="1883" y="623"/>
                  </a:cubicBezTo>
                  <a:cubicBezTo>
                    <a:pt x="1882" y="621"/>
                    <a:pt x="1880" y="623"/>
                    <a:pt x="1878" y="623"/>
                  </a:cubicBezTo>
                  <a:cubicBezTo>
                    <a:pt x="1879" y="623"/>
                    <a:pt x="1876" y="624"/>
                    <a:pt x="1876" y="624"/>
                  </a:cubicBezTo>
                  <a:cubicBezTo>
                    <a:pt x="1876" y="624"/>
                    <a:pt x="1875" y="625"/>
                    <a:pt x="1875" y="626"/>
                  </a:cubicBezTo>
                  <a:cubicBezTo>
                    <a:pt x="1873" y="628"/>
                    <a:pt x="1871" y="629"/>
                    <a:pt x="1870" y="631"/>
                  </a:cubicBezTo>
                  <a:cubicBezTo>
                    <a:pt x="1871" y="629"/>
                    <a:pt x="1874" y="625"/>
                    <a:pt x="1876" y="623"/>
                  </a:cubicBezTo>
                  <a:cubicBezTo>
                    <a:pt x="1874" y="623"/>
                    <a:pt x="1873" y="624"/>
                    <a:pt x="1872" y="625"/>
                  </a:cubicBezTo>
                  <a:cubicBezTo>
                    <a:pt x="1872" y="625"/>
                    <a:pt x="1872" y="624"/>
                    <a:pt x="1872" y="623"/>
                  </a:cubicBezTo>
                  <a:cubicBezTo>
                    <a:pt x="1870" y="623"/>
                    <a:pt x="1870" y="624"/>
                    <a:pt x="1869" y="625"/>
                  </a:cubicBezTo>
                  <a:cubicBezTo>
                    <a:pt x="1867" y="626"/>
                    <a:pt x="1867" y="626"/>
                    <a:pt x="1866" y="627"/>
                  </a:cubicBezTo>
                  <a:cubicBezTo>
                    <a:pt x="1864" y="628"/>
                    <a:pt x="1863" y="630"/>
                    <a:pt x="1861" y="631"/>
                  </a:cubicBezTo>
                  <a:cubicBezTo>
                    <a:pt x="1862" y="628"/>
                    <a:pt x="1866" y="626"/>
                    <a:pt x="1868" y="623"/>
                  </a:cubicBezTo>
                  <a:cubicBezTo>
                    <a:pt x="1865" y="623"/>
                    <a:pt x="1865" y="625"/>
                    <a:pt x="1863" y="626"/>
                  </a:cubicBezTo>
                  <a:cubicBezTo>
                    <a:pt x="1863" y="625"/>
                    <a:pt x="1865" y="623"/>
                    <a:pt x="1866" y="622"/>
                  </a:cubicBezTo>
                  <a:cubicBezTo>
                    <a:pt x="1866" y="622"/>
                    <a:pt x="1866" y="623"/>
                    <a:pt x="1867" y="622"/>
                  </a:cubicBezTo>
                  <a:cubicBezTo>
                    <a:pt x="1867" y="622"/>
                    <a:pt x="1867" y="621"/>
                    <a:pt x="1868" y="620"/>
                  </a:cubicBezTo>
                  <a:cubicBezTo>
                    <a:pt x="1869" y="619"/>
                    <a:pt x="1869" y="619"/>
                    <a:pt x="1870" y="618"/>
                  </a:cubicBezTo>
                  <a:cubicBezTo>
                    <a:pt x="1871" y="617"/>
                    <a:pt x="1873" y="618"/>
                    <a:pt x="1872" y="616"/>
                  </a:cubicBezTo>
                  <a:cubicBezTo>
                    <a:pt x="1870" y="617"/>
                    <a:pt x="1868" y="617"/>
                    <a:pt x="1867" y="617"/>
                  </a:cubicBezTo>
                  <a:cubicBezTo>
                    <a:pt x="1866" y="618"/>
                    <a:pt x="1867" y="619"/>
                    <a:pt x="1866" y="620"/>
                  </a:cubicBezTo>
                  <a:cubicBezTo>
                    <a:pt x="1866" y="617"/>
                    <a:pt x="1870" y="615"/>
                    <a:pt x="1869" y="613"/>
                  </a:cubicBezTo>
                  <a:cubicBezTo>
                    <a:pt x="1868" y="614"/>
                    <a:pt x="1867" y="614"/>
                    <a:pt x="1866" y="615"/>
                  </a:cubicBezTo>
                  <a:cubicBezTo>
                    <a:pt x="1868" y="612"/>
                    <a:pt x="1867" y="613"/>
                    <a:pt x="1865" y="612"/>
                  </a:cubicBezTo>
                  <a:cubicBezTo>
                    <a:pt x="1863" y="611"/>
                    <a:pt x="1867" y="610"/>
                    <a:pt x="1867" y="610"/>
                  </a:cubicBezTo>
                  <a:cubicBezTo>
                    <a:pt x="1868" y="608"/>
                    <a:pt x="1870" y="606"/>
                    <a:pt x="1867" y="606"/>
                  </a:cubicBezTo>
                  <a:cubicBezTo>
                    <a:pt x="1864" y="605"/>
                    <a:pt x="1863" y="611"/>
                    <a:pt x="1861" y="613"/>
                  </a:cubicBezTo>
                  <a:cubicBezTo>
                    <a:pt x="1861" y="611"/>
                    <a:pt x="1862" y="610"/>
                    <a:pt x="1863" y="608"/>
                  </a:cubicBezTo>
                  <a:cubicBezTo>
                    <a:pt x="1863" y="607"/>
                    <a:pt x="1862" y="606"/>
                    <a:pt x="1863" y="605"/>
                  </a:cubicBezTo>
                  <a:cubicBezTo>
                    <a:pt x="1861" y="606"/>
                    <a:pt x="1860" y="607"/>
                    <a:pt x="1858" y="607"/>
                  </a:cubicBezTo>
                  <a:cubicBezTo>
                    <a:pt x="1857" y="608"/>
                    <a:pt x="1855" y="608"/>
                    <a:pt x="1854" y="608"/>
                  </a:cubicBezTo>
                  <a:cubicBezTo>
                    <a:pt x="1856" y="606"/>
                    <a:pt x="1864" y="605"/>
                    <a:pt x="1856" y="604"/>
                  </a:cubicBezTo>
                  <a:cubicBezTo>
                    <a:pt x="1854" y="603"/>
                    <a:pt x="1851" y="605"/>
                    <a:pt x="1849" y="603"/>
                  </a:cubicBezTo>
                  <a:cubicBezTo>
                    <a:pt x="1856" y="602"/>
                    <a:pt x="1843" y="600"/>
                    <a:pt x="1842" y="599"/>
                  </a:cubicBezTo>
                  <a:cubicBezTo>
                    <a:pt x="1844" y="598"/>
                    <a:pt x="1846" y="599"/>
                    <a:pt x="1847" y="598"/>
                  </a:cubicBezTo>
                  <a:cubicBezTo>
                    <a:pt x="1846" y="597"/>
                    <a:pt x="1844" y="598"/>
                    <a:pt x="1843" y="597"/>
                  </a:cubicBezTo>
                  <a:cubicBezTo>
                    <a:pt x="1846" y="595"/>
                    <a:pt x="1847" y="592"/>
                    <a:pt x="1843" y="592"/>
                  </a:cubicBezTo>
                  <a:cubicBezTo>
                    <a:pt x="1841" y="592"/>
                    <a:pt x="1840" y="592"/>
                    <a:pt x="1838" y="592"/>
                  </a:cubicBezTo>
                  <a:cubicBezTo>
                    <a:pt x="1835" y="591"/>
                    <a:pt x="1831" y="593"/>
                    <a:pt x="1829" y="590"/>
                  </a:cubicBezTo>
                  <a:cubicBezTo>
                    <a:pt x="1830" y="590"/>
                    <a:pt x="1832" y="589"/>
                    <a:pt x="1834" y="589"/>
                  </a:cubicBezTo>
                  <a:cubicBezTo>
                    <a:pt x="1835" y="589"/>
                    <a:pt x="1836" y="591"/>
                    <a:pt x="1838" y="590"/>
                  </a:cubicBezTo>
                  <a:cubicBezTo>
                    <a:pt x="1837" y="590"/>
                    <a:pt x="1836" y="589"/>
                    <a:pt x="1835" y="589"/>
                  </a:cubicBezTo>
                  <a:cubicBezTo>
                    <a:pt x="1837" y="589"/>
                    <a:pt x="1838" y="589"/>
                    <a:pt x="1840" y="590"/>
                  </a:cubicBezTo>
                  <a:cubicBezTo>
                    <a:pt x="1838" y="589"/>
                    <a:pt x="1836" y="588"/>
                    <a:pt x="1835" y="587"/>
                  </a:cubicBezTo>
                  <a:cubicBezTo>
                    <a:pt x="1834" y="587"/>
                    <a:pt x="1833" y="585"/>
                    <a:pt x="1832" y="585"/>
                  </a:cubicBezTo>
                  <a:cubicBezTo>
                    <a:pt x="1831" y="584"/>
                    <a:pt x="1829" y="586"/>
                    <a:pt x="1827" y="584"/>
                  </a:cubicBezTo>
                  <a:cubicBezTo>
                    <a:pt x="1828" y="584"/>
                    <a:pt x="1830" y="584"/>
                    <a:pt x="1831" y="584"/>
                  </a:cubicBezTo>
                  <a:cubicBezTo>
                    <a:pt x="1830" y="584"/>
                    <a:pt x="1830" y="583"/>
                    <a:pt x="1829" y="583"/>
                  </a:cubicBezTo>
                  <a:cubicBezTo>
                    <a:pt x="1830" y="582"/>
                    <a:pt x="1842" y="583"/>
                    <a:pt x="1836" y="581"/>
                  </a:cubicBezTo>
                  <a:cubicBezTo>
                    <a:pt x="1832" y="579"/>
                    <a:pt x="1829" y="580"/>
                    <a:pt x="1825" y="579"/>
                  </a:cubicBezTo>
                  <a:cubicBezTo>
                    <a:pt x="1827" y="578"/>
                    <a:pt x="1830" y="579"/>
                    <a:pt x="1832" y="579"/>
                  </a:cubicBezTo>
                  <a:cubicBezTo>
                    <a:pt x="1827" y="577"/>
                    <a:pt x="1821" y="576"/>
                    <a:pt x="1817" y="573"/>
                  </a:cubicBezTo>
                  <a:cubicBezTo>
                    <a:pt x="1818" y="570"/>
                    <a:pt x="1826" y="571"/>
                    <a:pt x="1829" y="571"/>
                  </a:cubicBezTo>
                  <a:cubicBezTo>
                    <a:pt x="1826" y="573"/>
                    <a:pt x="1822" y="572"/>
                    <a:pt x="1818" y="573"/>
                  </a:cubicBezTo>
                  <a:cubicBezTo>
                    <a:pt x="1821" y="575"/>
                    <a:pt x="1826" y="576"/>
                    <a:pt x="1830" y="577"/>
                  </a:cubicBezTo>
                  <a:cubicBezTo>
                    <a:pt x="1830" y="577"/>
                    <a:pt x="1831" y="577"/>
                    <a:pt x="1831" y="577"/>
                  </a:cubicBezTo>
                  <a:cubicBezTo>
                    <a:pt x="1831" y="577"/>
                    <a:pt x="1832" y="576"/>
                    <a:pt x="1832" y="577"/>
                  </a:cubicBezTo>
                  <a:cubicBezTo>
                    <a:pt x="1833" y="577"/>
                    <a:pt x="1833" y="578"/>
                    <a:pt x="1833" y="578"/>
                  </a:cubicBezTo>
                  <a:cubicBezTo>
                    <a:pt x="1835" y="578"/>
                    <a:pt x="1837" y="579"/>
                    <a:pt x="1838" y="578"/>
                  </a:cubicBezTo>
                  <a:cubicBezTo>
                    <a:pt x="1837" y="577"/>
                    <a:pt x="1836" y="577"/>
                    <a:pt x="1835" y="576"/>
                  </a:cubicBezTo>
                  <a:cubicBezTo>
                    <a:pt x="1836" y="576"/>
                    <a:pt x="1836" y="575"/>
                    <a:pt x="1836" y="575"/>
                  </a:cubicBezTo>
                  <a:cubicBezTo>
                    <a:pt x="1835" y="574"/>
                    <a:pt x="1833" y="574"/>
                    <a:pt x="1833" y="576"/>
                  </a:cubicBezTo>
                  <a:cubicBezTo>
                    <a:pt x="1833" y="573"/>
                    <a:pt x="1835" y="574"/>
                    <a:pt x="1836" y="572"/>
                  </a:cubicBezTo>
                  <a:cubicBezTo>
                    <a:pt x="1838" y="571"/>
                    <a:pt x="1837" y="572"/>
                    <a:pt x="1839" y="570"/>
                  </a:cubicBezTo>
                  <a:cubicBezTo>
                    <a:pt x="1840" y="568"/>
                    <a:pt x="1844" y="565"/>
                    <a:pt x="1845" y="568"/>
                  </a:cubicBezTo>
                  <a:cubicBezTo>
                    <a:pt x="1845" y="564"/>
                    <a:pt x="1845" y="563"/>
                    <a:pt x="1841" y="562"/>
                  </a:cubicBezTo>
                  <a:cubicBezTo>
                    <a:pt x="1840" y="561"/>
                    <a:pt x="1836" y="562"/>
                    <a:pt x="1838" y="559"/>
                  </a:cubicBezTo>
                  <a:cubicBezTo>
                    <a:pt x="1835" y="560"/>
                    <a:pt x="1836" y="561"/>
                    <a:pt x="1834" y="560"/>
                  </a:cubicBezTo>
                  <a:cubicBezTo>
                    <a:pt x="1833" y="560"/>
                    <a:pt x="1832" y="559"/>
                    <a:pt x="1830" y="558"/>
                  </a:cubicBezTo>
                  <a:cubicBezTo>
                    <a:pt x="1831" y="557"/>
                    <a:pt x="1832" y="557"/>
                    <a:pt x="1833" y="556"/>
                  </a:cubicBezTo>
                  <a:cubicBezTo>
                    <a:pt x="1834" y="555"/>
                    <a:pt x="1832" y="554"/>
                    <a:pt x="1835" y="554"/>
                  </a:cubicBezTo>
                  <a:cubicBezTo>
                    <a:pt x="1831" y="551"/>
                    <a:pt x="1828" y="550"/>
                    <a:pt x="1824" y="551"/>
                  </a:cubicBezTo>
                  <a:cubicBezTo>
                    <a:pt x="1821" y="552"/>
                    <a:pt x="1820" y="552"/>
                    <a:pt x="1817" y="549"/>
                  </a:cubicBezTo>
                  <a:cubicBezTo>
                    <a:pt x="1818" y="550"/>
                    <a:pt x="1821" y="551"/>
                    <a:pt x="1822" y="551"/>
                  </a:cubicBezTo>
                  <a:cubicBezTo>
                    <a:pt x="1823" y="550"/>
                    <a:pt x="1823" y="549"/>
                    <a:pt x="1823" y="549"/>
                  </a:cubicBezTo>
                  <a:cubicBezTo>
                    <a:pt x="1825" y="548"/>
                    <a:pt x="1827" y="548"/>
                    <a:pt x="1828" y="547"/>
                  </a:cubicBezTo>
                  <a:cubicBezTo>
                    <a:pt x="1828" y="547"/>
                    <a:pt x="1833" y="545"/>
                    <a:pt x="1833" y="545"/>
                  </a:cubicBezTo>
                  <a:cubicBezTo>
                    <a:pt x="1834" y="542"/>
                    <a:pt x="1823" y="536"/>
                    <a:pt x="1821" y="535"/>
                  </a:cubicBezTo>
                  <a:cubicBezTo>
                    <a:pt x="1822" y="540"/>
                    <a:pt x="1819" y="534"/>
                    <a:pt x="1818" y="534"/>
                  </a:cubicBezTo>
                  <a:cubicBezTo>
                    <a:pt x="1817" y="533"/>
                    <a:pt x="1816" y="534"/>
                    <a:pt x="1815" y="535"/>
                  </a:cubicBezTo>
                  <a:cubicBezTo>
                    <a:pt x="1817" y="533"/>
                    <a:pt x="1817" y="533"/>
                    <a:pt x="1819" y="532"/>
                  </a:cubicBezTo>
                  <a:cubicBezTo>
                    <a:pt x="1821" y="532"/>
                    <a:pt x="1822" y="533"/>
                    <a:pt x="1823" y="531"/>
                  </a:cubicBezTo>
                  <a:cubicBezTo>
                    <a:pt x="1822" y="531"/>
                    <a:pt x="1820" y="530"/>
                    <a:pt x="1818" y="531"/>
                  </a:cubicBezTo>
                  <a:cubicBezTo>
                    <a:pt x="1819" y="529"/>
                    <a:pt x="1819" y="528"/>
                    <a:pt x="1820" y="527"/>
                  </a:cubicBezTo>
                  <a:cubicBezTo>
                    <a:pt x="1816" y="530"/>
                    <a:pt x="1812" y="527"/>
                    <a:pt x="1808" y="528"/>
                  </a:cubicBezTo>
                  <a:cubicBezTo>
                    <a:pt x="1807" y="529"/>
                    <a:pt x="1805" y="531"/>
                    <a:pt x="1805" y="532"/>
                  </a:cubicBezTo>
                  <a:cubicBezTo>
                    <a:pt x="1803" y="533"/>
                    <a:pt x="1801" y="533"/>
                    <a:pt x="1799" y="533"/>
                  </a:cubicBezTo>
                  <a:cubicBezTo>
                    <a:pt x="1800" y="533"/>
                    <a:pt x="1802" y="533"/>
                    <a:pt x="1803" y="532"/>
                  </a:cubicBezTo>
                  <a:cubicBezTo>
                    <a:pt x="1803" y="531"/>
                    <a:pt x="1803" y="530"/>
                    <a:pt x="1804" y="530"/>
                  </a:cubicBezTo>
                  <a:cubicBezTo>
                    <a:pt x="1805" y="529"/>
                    <a:pt x="1807" y="528"/>
                    <a:pt x="1808" y="527"/>
                  </a:cubicBezTo>
                  <a:cubicBezTo>
                    <a:pt x="1811" y="526"/>
                    <a:pt x="1814" y="528"/>
                    <a:pt x="1817" y="525"/>
                  </a:cubicBezTo>
                  <a:cubicBezTo>
                    <a:pt x="1814" y="524"/>
                    <a:pt x="1811" y="523"/>
                    <a:pt x="1809" y="526"/>
                  </a:cubicBezTo>
                  <a:cubicBezTo>
                    <a:pt x="1811" y="523"/>
                    <a:pt x="1814" y="524"/>
                    <a:pt x="1815" y="523"/>
                  </a:cubicBezTo>
                  <a:cubicBezTo>
                    <a:pt x="1817" y="521"/>
                    <a:pt x="1815" y="518"/>
                    <a:pt x="1817" y="517"/>
                  </a:cubicBezTo>
                  <a:cubicBezTo>
                    <a:pt x="1816" y="516"/>
                    <a:pt x="1814" y="516"/>
                    <a:pt x="1813" y="516"/>
                  </a:cubicBezTo>
                  <a:cubicBezTo>
                    <a:pt x="1812" y="516"/>
                    <a:pt x="1812" y="517"/>
                    <a:pt x="1812" y="517"/>
                  </a:cubicBezTo>
                  <a:cubicBezTo>
                    <a:pt x="1811" y="517"/>
                    <a:pt x="1810" y="517"/>
                    <a:pt x="1809" y="517"/>
                  </a:cubicBezTo>
                  <a:cubicBezTo>
                    <a:pt x="1806" y="517"/>
                    <a:pt x="1805" y="518"/>
                    <a:pt x="1803" y="520"/>
                  </a:cubicBezTo>
                  <a:cubicBezTo>
                    <a:pt x="1807" y="516"/>
                    <a:pt x="1801" y="517"/>
                    <a:pt x="1799" y="519"/>
                  </a:cubicBezTo>
                  <a:cubicBezTo>
                    <a:pt x="1797" y="520"/>
                    <a:pt x="1795" y="522"/>
                    <a:pt x="1793" y="522"/>
                  </a:cubicBezTo>
                  <a:cubicBezTo>
                    <a:pt x="1795" y="520"/>
                    <a:pt x="1797" y="519"/>
                    <a:pt x="1799" y="517"/>
                  </a:cubicBezTo>
                  <a:cubicBezTo>
                    <a:pt x="1798" y="516"/>
                    <a:pt x="1796" y="516"/>
                    <a:pt x="1795" y="517"/>
                  </a:cubicBezTo>
                  <a:cubicBezTo>
                    <a:pt x="1796" y="515"/>
                    <a:pt x="1799" y="516"/>
                    <a:pt x="1800" y="516"/>
                  </a:cubicBezTo>
                  <a:cubicBezTo>
                    <a:pt x="1802" y="515"/>
                    <a:pt x="1803" y="515"/>
                    <a:pt x="1804" y="514"/>
                  </a:cubicBezTo>
                  <a:cubicBezTo>
                    <a:pt x="1806" y="514"/>
                    <a:pt x="1808" y="513"/>
                    <a:pt x="1809" y="512"/>
                  </a:cubicBezTo>
                  <a:cubicBezTo>
                    <a:pt x="1812" y="509"/>
                    <a:pt x="1809" y="510"/>
                    <a:pt x="1806" y="509"/>
                  </a:cubicBezTo>
                  <a:cubicBezTo>
                    <a:pt x="1811" y="507"/>
                    <a:pt x="1809" y="504"/>
                    <a:pt x="1804" y="504"/>
                  </a:cubicBezTo>
                  <a:cubicBezTo>
                    <a:pt x="1804" y="504"/>
                    <a:pt x="1804" y="505"/>
                    <a:pt x="1803" y="505"/>
                  </a:cubicBezTo>
                  <a:cubicBezTo>
                    <a:pt x="1803" y="504"/>
                    <a:pt x="1802" y="504"/>
                    <a:pt x="1802" y="504"/>
                  </a:cubicBezTo>
                  <a:cubicBezTo>
                    <a:pt x="1801" y="504"/>
                    <a:pt x="1800" y="503"/>
                    <a:pt x="1799" y="504"/>
                  </a:cubicBezTo>
                  <a:cubicBezTo>
                    <a:pt x="1801" y="503"/>
                    <a:pt x="1803" y="502"/>
                    <a:pt x="1803" y="500"/>
                  </a:cubicBezTo>
                  <a:cubicBezTo>
                    <a:pt x="1802" y="500"/>
                    <a:pt x="1801" y="500"/>
                    <a:pt x="1800" y="501"/>
                  </a:cubicBezTo>
                  <a:cubicBezTo>
                    <a:pt x="1801" y="498"/>
                    <a:pt x="1802" y="498"/>
                    <a:pt x="1804" y="497"/>
                  </a:cubicBezTo>
                  <a:cubicBezTo>
                    <a:pt x="1798" y="493"/>
                    <a:pt x="1796" y="498"/>
                    <a:pt x="1791" y="498"/>
                  </a:cubicBezTo>
                  <a:cubicBezTo>
                    <a:pt x="1791" y="498"/>
                    <a:pt x="1788" y="498"/>
                    <a:pt x="1788" y="497"/>
                  </a:cubicBezTo>
                  <a:cubicBezTo>
                    <a:pt x="1787" y="498"/>
                    <a:pt x="1787" y="498"/>
                    <a:pt x="1787" y="499"/>
                  </a:cubicBezTo>
                  <a:cubicBezTo>
                    <a:pt x="1786" y="499"/>
                    <a:pt x="1788" y="500"/>
                    <a:pt x="1786" y="500"/>
                  </a:cubicBezTo>
                  <a:cubicBezTo>
                    <a:pt x="1785" y="500"/>
                    <a:pt x="1785" y="497"/>
                    <a:pt x="1783" y="498"/>
                  </a:cubicBezTo>
                  <a:cubicBezTo>
                    <a:pt x="1785" y="494"/>
                    <a:pt x="1789" y="497"/>
                    <a:pt x="1793" y="496"/>
                  </a:cubicBezTo>
                  <a:cubicBezTo>
                    <a:pt x="1795" y="496"/>
                    <a:pt x="1797" y="494"/>
                    <a:pt x="1798" y="492"/>
                  </a:cubicBezTo>
                  <a:cubicBezTo>
                    <a:pt x="1796" y="491"/>
                    <a:pt x="1794" y="491"/>
                    <a:pt x="1792" y="491"/>
                  </a:cubicBezTo>
                  <a:cubicBezTo>
                    <a:pt x="1794" y="490"/>
                    <a:pt x="1797" y="485"/>
                    <a:pt x="1791" y="487"/>
                  </a:cubicBezTo>
                  <a:cubicBezTo>
                    <a:pt x="1790" y="488"/>
                    <a:pt x="1791" y="490"/>
                    <a:pt x="1788" y="490"/>
                  </a:cubicBezTo>
                  <a:cubicBezTo>
                    <a:pt x="1790" y="487"/>
                    <a:pt x="1792" y="487"/>
                    <a:pt x="1787" y="486"/>
                  </a:cubicBezTo>
                  <a:cubicBezTo>
                    <a:pt x="1786" y="485"/>
                    <a:pt x="1784" y="485"/>
                    <a:pt x="1783" y="486"/>
                  </a:cubicBezTo>
                  <a:cubicBezTo>
                    <a:pt x="1785" y="483"/>
                    <a:pt x="1788" y="486"/>
                    <a:pt x="1789" y="483"/>
                  </a:cubicBezTo>
                  <a:cubicBezTo>
                    <a:pt x="1791" y="480"/>
                    <a:pt x="1786" y="479"/>
                    <a:pt x="1784" y="481"/>
                  </a:cubicBezTo>
                  <a:cubicBezTo>
                    <a:pt x="1785" y="481"/>
                    <a:pt x="1787" y="479"/>
                    <a:pt x="1787" y="479"/>
                  </a:cubicBezTo>
                  <a:cubicBezTo>
                    <a:pt x="1787" y="477"/>
                    <a:pt x="1784" y="477"/>
                    <a:pt x="1783" y="478"/>
                  </a:cubicBezTo>
                  <a:cubicBezTo>
                    <a:pt x="1782" y="478"/>
                    <a:pt x="1783" y="480"/>
                    <a:pt x="1781" y="481"/>
                  </a:cubicBezTo>
                  <a:cubicBezTo>
                    <a:pt x="1782" y="478"/>
                    <a:pt x="1782" y="476"/>
                    <a:pt x="1785" y="476"/>
                  </a:cubicBezTo>
                  <a:cubicBezTo>
                    <a:pt x="1783" y="475"/>
                    <a:pt x="1780" y="476"/>
                    <a:pt x="1779" y="474"/>
                  </a:cubicBezTo>
                  <a:cubicBezTo>
                    <a:pt x="1777" y="472"/>
                    <a:pt x="1780" y="470"/>
                    <a:pt x="1781" y="468"/>
                  </a:cubicBezTo>
                  <a:cubicBezTo>
                    <a:pt x="1780" y="468"/>
                    <a:pt x="1779" y="468"/>
                    <a:pt x="1778" y="469"/>
                  </a:cubicBezTo>
                  <a:cubicBezTo>
                    <a:pt x="1778" y="467"/>
                    <a:pt x="1779" y="466"/>
                    <a:pt x="1780" y="465"/>
                  </a:cubicBezTo>
                  <a:cubicBezTo>
                    <a:pt x="1779" y="464"/>
                    <a:pt x="1777" y="464"/>
                    <a:pt x="1776" y="463"/>
                  </a:cubicBezTo>
                  <a:cubicBezTo>
                    <a:pt x="1777" y="465"/>
                    <a:pt x="1775" y="467"/>
                    <a:pt x="1774" y="467"/>
                  </a:cubicBezTo>
                  <a:cubicBezTo>
                    <a:pt x="1772" y="468"/>
                    <a:pt x="1772" y="469"/>
                    <a:pt x="1771" y="466"/>
                  </a:cubicBezTo>
                  <a:cubicBezTo>
                    <a:pt x="1769" y="463"/>
                    <a:pt x="1773" y="466"/>
                    <a:pt x="1774" y="464"/>
                  </a:cubicBezTo>
                  <a:cubicBezTo>
                    <a:pt x="1776" y="462"/>
                    <a:pt x="1771" y="462"/>
                    <a:pt x="1769" y="463"/>
                  </a:cubicBezTo>
                  <a:cubicBezTo>
                    <a:pt x="1768" y="463"/>
                    <a:pt x="1766" y="464"/>
                    <a:pt x="1765" y="465"/>
                  </a:cubicBezTo>
                  <a:cubicBezTo>
                    <a:pt x="1765" y="465"/>
                    <a:pt x="1765" y="465"/>
                    <a:pt x="1765" y="465"/>
                  </a:cubicBezTo>
                  <a:cubicBezTo>
                    <a:pt x="1765" y="465"/>
                    <a:pt x="1765" y="465"/>
                    <a:pt x="1765" y="465"/>
                  </a:cubicBezTo>
                  <a:cubicBezTo>
                    <a:pt x="1765" y="465"/>
                    <a:pt x="1765" y="465"/>
                    <a:pt x="1765" y="465"/>
                  </a:cubicBezTo>
                  <a:cubicBezTo>
                    <a:pt x="1765" y="464"/>
                    <a:pt x="1767" y="461"/>
                    <a:pt x="1767" y="461"/>
                  </a:cubicBezTo>
                  <a:cubicBezTo>
                    <a:pt x="1767" y="461"/>
                    <a:pt x="1767" y="461"/>
                    <a:pt x="1767" y="461"/>
                  </a:cubicBezTo>
                  <a:cubicBezTo>
                    <a:pt x="1767" y="461"/>
                    <a:pt x="1767" y="461"/>
                    <a:pt x="1767" y="461"/>
                  </a:cubicBezTo>
                  <a:cubicBezTo>
                    <a:pt x="1769" y="458"/>
                    <a:pt x="1769" y="458"/>
                    <a:pt x="1769" y="458"/>
                  </a:cubicBezTo>
                  <a:cubicBezTo>
                    <a:pt x="1769" y="458"/>
                    <a:pt x="1769" y="458"/>
                    <a:pt x="1769" y="458"/>
                  </a:cubicBezTo>
                  <a:cubicBezTo>
                    <a:pt x="1768" y="458"/>
                    <a:pt x="1768" y="458"/>
                    <a:pt x="1768" y="458"/>
                  </a:cubicBezTo>
                  <a:cubicBezTo>
                    <a:pt x="1768" y="458"/>
                    <a:pt x="1768" y="458"/>
                    <a:pt x="1768" y="458"/>
                  </a:cubicBezTo>
                  <a:cubicBezTo>
                    <a:pt x="1768" y="458"/>
                    <a:pt x="1768" y="458"/>
                    <a:pt x="1768" y="458"/>
                  </a:cubicBezTo>
                  <a:cubicBezTo>
                    <a:pt x="1768" y="458"/>
                    <a:pt x="1768" y="458"/>
                    <a:pt x="1768" y="458"/>
                  </a:cubicBezTo>
                  <a:cubicBezTo>
                    <a:pt x="1769" y="458"/>
                    <a:pt x="1770" y="457"/>
                    <a:pt x="1770" y="455"/>
                  </a:cubicBezTo>
                  <a:cubicBezTo>
                    <a:pt x="1772" y="456"/>
                    <a:pt x="1773" y="456"/>
                    <a:pt x="1775" y="456"/>
                  </a:cubicBezTo>
                  <a:cubicBezTo>
                    <a:pt x="1773" y="455"/>
                    <a:pt x="1772" y="454"/>
                    <a:pt x="1770" y="454"/>
                  </a:cubicBezTo>
                  <a:cubicBezTo>
                    <a:pt x="1771" y="454"/>
                    <a:pt x="1771" y="454"/>
                    <a:pt x="1771" y="454"/>
                  </a:cubicBezTo>
                  <a:cubicBezTo>
                    <a:pt x="1769" y="452"/>
                    <a:pt x="1769" y="452"/>
                    <a:pt x="1769" y="452"/>
                  </a:cubicBezTo>
                  <a:cubicBezTo>
                    <a:pt x="1769" y="452"/>
                    <a:pt x="1769" y="452"/>
                    <a:pt x="1769" y="452"/>
                  </a:cubicBezTo>
                  <a:cubicBezTo>
                    <a:pt x="1767" y="452"/>
                    <a:pt x="1768" y="453"/>
                    <a:pt x="1766" y="452"/>
                  </a:cubicBezTo>
                  <a:cubicBezTo>
                    <a:pt x="1766" y="452"/>
                    <a:pt x="1766" y="452"/>
                    <a:pt x="1766" y="452"/>
                  </a:cubicBezTo>
                  <a:cubicBezTo>
                    <a:pt x="1766" y="452"/>
                    <a:pt x="1766" y="452"/>
                    <a:pt x="1766" y="452"/>
                  </a:cubicBezTo>
                  <a:cubicBezTo>
                    <a:pt x="1766" y="452"/>
                    <a:pt x="1766" y="452"/>
                    <a:pt x="1766" y="452"/>
                  </a:cubicBezTo>
                  <a:cubicBezTo>
                    <a:pt x="1766" y="452"/>
                    <a:pt x="1766" y="452"/>
                    <a:pt x="1766"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4" y="452"/>
                    <a:pt x="1764" y="452"/>
                    <a:pt x="1764" y="452"/>
                  </a:cubicBezTo>
                  <a:cubicBezTo>
                    <a:pt x="1764" y="452"/>
                    <a:pt x="1764" y="452"/>
                    <a:pt x="1764" y="452"/>
                  </a:cubicBezTo>
                  <a:cubicBezTo>
                    <a:pt x="1764" y="452"/>
                    <a:pt x="1764" y="452"/>
                    <a:pt x="1764" y="452"/>
                  </a:cubicBezTo>
                  <a:cubicBezTo>
                    <a:pt x="1764" y="452"/>
                    <a:pt x="1764" y="452"/>
                    <a:pt x="1764" y="452"/>
                  </a:cubicBezTo>
                  <a:cubicBezTo>
                    <a:pt x="1764" y="453"/>
                    <a:pt x="1764" y="453"/>
                    <a:pt x="1764" y="453"/>
                  </a:cubicBezTo>
                  <a:cubicBezTo>
                    <a:pt x="1763" y="456"/>
                    <a:pt x="1763" y="456"/>
                    <a:pt x="1763" y="456"/>
                  </a:cubicBezTo>
                  <a:cubicBezTo>
                    <a:pt x="1763" y="457"/>
                    <a:pt x="1763" y="457"/>
                    <a:pt x="1763" y="457"/>
                  </a:cubicBezTo>
                  <a:cubicBezTo>
                    <a:pt x="1763" y="457"/>
                    <a:pt x="1763" y="457"/>
                    <a:pt x="1763" y="457"/>
                  </a:cubicBezTo>
                  <a:cubicBezTo>
                    <a:pt x="1763" y="458"/>
                    <a:pt x="1763" y="458"/>
                    <a:pt x="1763" y="458"/>
                  </a:cubicBezTo>
                  <a:cubicBezTo>
                    <a:pt x="1762" y="458"/>
                    <a:pt x="1762" y="458"/>
                    <a:pt x="1762" y="458"/>
                  </a:cubicBezTo>
                  <a:cubicBezTo>
                    <a:pt x="1761" y="460"/>
                    <a:pt x="1761" y="460"/>
                    <a:pt x="1761" y="460"/>
                  </a:cubicBezTo>
                  <a:cubicBezTo>
                    <a:pt x="1760" y="462"/>
                    <a:pt x="1759" y="463"/>
                    <a:pt x="1758" y="464"/>
                  </a:cubicBezTo>
                  <a:cubicBezTo>
                    <a:pt x="1758" y="464"/>
                    <a:pt x="1758" y="464"/>
                    <a:pt x="1758" y="464"/>
                  </a:cubicBezTo>
                  <a:cubicBezTo>
                    <a:pt x="1758" y="464"/>
                    <a:pt x="1758" y="464"/>
                    <a:pt x="1758" y="464"/>
                  </a:cubicBezTo>
                  <a:cubicBezTo>
                    <a:pt x="1758" y="464"/>
                    <a:pt x="1758" y="464"/>
                    <a:pt x="1758" y="464"/>
                  </a:cubicBezTo>
                  <a:cubicBezTo>
                    <a:pt x="1758" y="464"/>
                    <a:pt x="1758" y="464"/>
                    <a:pt x="1758" y="464"/>
                  </a:cubicBezTo>
                  <a:cubicBezTo>
                    <a:pt x="1759" y="465"/>
                    <a:pt x="1759" y="465"/>
                    <a:pt x="1759" y="465"/>
                  </a:cubicBezTo>
                  <a:cubicBezTo>
                    <a:pt x="1759" y="465"/>
                    <a:pt x="1759" y="465"/>
                    <a:pt x="1759" y="466"/>
                  </a:cubicBezTo>
                  <a:cubicBezTo>
                    <a:pt x="1759" y="466"/>
                    <a:pt x="1759" y="466"/>
                    <a:pt x="1759" y="466"/>
                  </a:cubicBezTo>
                  <a:cubicBezTo>
                    <a:pt x="1759" y="466"/>
                    <a:pt x="1759" y="466"/>
                    <a:pt x="1759" y="466"/>
                  </a:cubicBezTo>
                  <a:cubicBezTo>
                    <a:pt x="1759" y="466"/>
                    <a:pt x="1759" y="466"/>
                    <a:pt x="1759" y="466"/>
                  </a:cubicBezTo>
                  <a:cubicBezTo>
                    <a:pt x="1759" y="467"/>
                    <a:pt x="1759" y="467"/>
                    <a:pt x="1759" y="467"/>
                  </a:cubicBezTo>
                  <a:cubicBezTo>
                    <a:pt x="1758" y="467"/>
                    <a:pt x="1758" y="467"/>
                    <a:pt x="1758" y="467"/>
                  </a:cubicBezTo>
                  <a:cubicBezTo>
                    <a:pt x="1758" y="468"/>
                    <a:pt x="1758" y="468"/>
                    <a:pt x="1758" y="468"/>
                  </a:cubicBezTo>
                  <a:cubicBezTo>
                    <a:pt x="1758" y="468"/>
                    <a:pt x="1758" y="468"/>
                    <a:pt x="1758" y="468"/>
                  </a:cubicBezTo>
                  <a:cubicBezTo>
                    <a:pt x="1757" y="469"/>
                    <a:pt x="1757" y="469"/>
                    <a:pt x="1757" y="469"/>
                  </a:cubicBezTo>
                  <a:cubicBezTo>
                    <a:pt x="1757" y="469"/>
                    <a:pt x="1757" y="469"/>
                    <a:pt x="1757" y="469"/>
                  </a:cubicBezTo>
                  <a:cubicBezTo>
                    <a:pt x="1757" y="470"/>
                    <a:pt x="1757" y="470"/>
                    <a:pt x="1757" y="470"/>
                  </a:cubicBezTo>
                  <a:cubicBezTo>
                    <a:pt x="1757" y="470"/>
                    <a:pt x="1757" y="470"/>
                    <a:pt x="1757" y="470"/>
                  </a:cubicBezTo>
                  <a:cubicBezTo>
                    <a:pt x="1757" y="471"/>
                    <a:pt x="1757" y="471"/>
                    <a:pt x="1757" y="471"/>
                  </a:cubicBezTo>
                  <a:cubicBezTo>
                    <a:pt x="1757" y="471"/>
                    <a:pt x="1757" y="471"/>
                    <a:pt x="1757" y="471"/>
                  </a:cubicBezTo>
                  <a:cubicBezTo>
                    <a:pt x="1757" y="471"/>
                    <a:pt x="1757" y="471"/>
                    <a:pt x="1757" y="471"/>
                  </a:cubicBezTo>
                  <a:cubicBezTo>
                    <a:pt x="1757" y="471"/>
                    <a:pt x="1758" y="471"/>
                    <a:pt x="1758" y="471"/>
                  </a:cubicBezTo>
                  <a:cubicBezTo>
                    <a:pt x="1759" y="471"/>
                    <a:pt x="1759" y="471"/>
                    <a:pt x="1759" y="471"/>
                  </a:cubicBezTo>
                  <a:cubicBezTo>
                    <a:pt x="1759" y="472"/>
                    <a:pt x="1759" y="472"/>
                    <a:pt x="1759" y="472"/>
                  </a:cubicBezTo>
                  <a:cubicBezTo>
                    <a:pt x="1759" y="472"/>
                    <a:pt x="1760" y="472"/>
                    <a:pt x="1760" y="472"/>
                  </a:cubicBezTo>
                  <a:cubicBezTo>
                    <a:pt x="1760" y="472"/>
                    <a:pt x="1760" y="472"/>
                    <a:pt x="1760" y="472"/>
                  </a:cubicBezTo>
                  <a:cubicBezTo>
                    <a:pt x="1761" y="472"/>
                    <a:pt x="1761" y="472"/>
                    <a:pt x="1761" y="472"/>
                  </a:cubicBezTo>
                  <a:cubicBezTo>
                    <a:pt x="1761" y="472"/>
                    <a:pt x="1761" y="472"/>
                    <a:pt x="1761" y="472"/>
                  </a:cubicBezTo>
                  <a:cubicBezTo>
                    <a:pt x="1760" y="472"/>
                    <a:pt x="1760" y="472"/>
                    <a:pt x="1760" y="472"/>
                  </a:cubicBezTo>
                  <a:cubicBezTo>
                    <a:pt x="1760" y="472"/>
                    <a:pt x="1760" y="472"/>
                    <a:pt x="1760" y="472"/>
                  </a:cubicBezTo>
                  <a:cubicBezTo>
                    <a:pt x="1758" y="472"/>
                    <a:pt x="1758" y="472"/>
                    <a:pt x="1758" y="472"/>
                  </a:cubicBezTo>
                  <a:cubicBezTo>
                    <a:pt x="1757" y="472"/>
                    <a:pt x="1757" y="472"/>
                    <a:pt x="1757" y="472"/>
                  </a:cubicBezTo>
                  <a:cubicBezTo>
                    <a:pt x="1757" y="472"/>
                    <a:pt x="1757" y="472"/>
                    <a:pt x="1757" y="472"/>
                  </a:cubicBezTo>
                  <a:cubicBezTo>
                    <a:pt x="1757" y="472"/>
                    <a:pt x="1757" y="472"/>
                    <a:pt x="1757" y="472"/>
                  </a:cubicBezTo>
                  <a:cubicBezTo>
                    <a:pt x="1756" y="471"/>
                    <a:pt x="1756" y="471"/>
                    <a:pt x="1756" y="471"/>
                  </a:cubicBezTo>
                  <a:cubicBezTo>
                    <a:pt x="1756" y="471"/>
                    <a:pt x="1756" y="471"/>
                    <a:pt x="1756" y="471"/>
                  </a:cubicBezTo>
                  <a:cubicBezTo>
                    <a:pt x="1756" y="471"/>
                    <a:pt x="1756" y="471"/>
                    <a:pt x="1756" y="471"/>
                  </a:cubicBezTo>
                  <a:cubicBezTo>
                    <a:pt x="1756" y="471"/>
                    <a:pt x="1756" y="471"/>
                    <a:pt x="1756" y="471"/>
                  </a:cubicBezTo>
                  <a:cubicBezTo>
                    <a:pt x="1756" y="471"/>
                    <a:pt x="1756" y="471"/>
                    <a:pt x="1756" y="471"/>
                  </a:cubicBezTo>
                  <a:cubicBezTo>
                    <a:pt x="1756" y="471"/>
                    <a:pt x="1755" y="470"/>
                    <a:pt x="1755" y="470"/>
                  </a:cubicBezTo>
                  <a:cubicBezTo>
                    <a:pt x="1754" y="470"/>
                    <a:pt x="1754" y="470"/>
                    <a:pt x="1754" y="470"/>
                  </a:cubicBezTo>
                  <a:cubicBezTo>
                    <a:pt x="1754" y="470"/>
                    <a:pt x="1754" y="470"/>
                    <a:pt x="1754" y="470"/>
                  </a:cubicBezTo>
                  <a:cubicBezTo>
                    <a:pt x="1754" y="470"/>
                    <a:pt x="1754" y="470"/>
                    <a:pt x="1754" y="470"/>
                  </a:cubicBezTo>
                  <a:cubicBezTo>
                    <a:pt x="1754" y="470"/>
                    <a:pt x="1754" y="470"/>
                    <a:pt x="1754" y="470"/>
                  </a:cubicBezTo>
                  <a:cubicBezTo>
                    <a:pt x="1753" y="470"/>
                    <a:pt x="1753" y="469"/>
                    <a:pt x="1752" y="470"/>
                  </a:cubicBezTo>
                  <a:cubicBezTo>
                    <a:pt x="1752" y="470"/>
                    <a:pt x="1752" y="470"/>
                    <a:pt x="1752" y="470"/>
                  </a:cubicBezTo>
                  <a:cubicBezTo>
                    <a:pt x="1752" y="470"/>
                    <a:pt x="1752" y="470"/>
                    <a:pt x="1752" y="470"/>
                  </a:cubicBezTo>
                  <a:cubicBezTo>
                    <a:pt x="1751" y="471"/>
                    <a:pt x="1751" y="471"/>
                    <a:pt x="1751" y="471"/>
                  </a:cubicBezTo>
                  <a:cubicBezTo>
                    <a:pt x="1751" y="471"/>
                    <a:pt x="1751" y="471"/>
                    <a:pt x="1751" y="471"/>
                  </a:cubicBezTo>
                  <a:cubicBezTo>
                    <a:pt x="1751" y="471"/>
                    <a:pt x="1751" y="471"/>
                    <a:pt x="1751" y="471"/>
                  </a:cubicBezTo>
                  <a:cubicBezTo>
                    <a:pt x="1751" y="471"/>
                    <a:pt x="1751" y="471"/>
                    <a:pt x="1751" y="471"/>
                  </a:cubicBezTo>
                  <a:cubicBezTo>
                    <a:pt x="1750" y="471"/>
                    <a:pt x="1750" y="471"/>
                    <a:pt x="1750" y="471"/>
                  </a:cubicBezTo>
                  <a:cubicBezTo>
                    <a:pt x="1750" y="471"/>
                    <a:pt x="1750" y="471"/>
                    <a:pt x="1750" y="471"/>
                  </a:cubicBezTo>
                  <a:cubicBezTo>
                    <a:pt x="1750" y="471"/>
                    <a:pt x="1750" y="471"/>
                    <a:pt x="1750" y="471"/>
                  </a:cubicBezTo>
                  <a:cubicBezTo>
                    <a:pt x="1749" y="471"/>
                    <a:pt x="1749" y="471"/>
                    <a:pt x="1749" y="471"/>
                  </a:cubicBezTo>
                  <a:cubicBezTo>
                    <a:pt x="1749" y="471"/>
                    <a:pt x="1749" y="471"/>
                    <a:pt x="1749" y="471"/>
                  </a:cubicBezTo>
                  <a:cubicBezTo>
                    <a:pt x="1749" y="471"/>
                    <a:pt x="1749" y="471"/>
                    <a:pt x="1749" y="471"/>
                  </a:cubicBezTo>
                  <a:cubicBezTo>
                    <a:pt x="1749" y="472"/>
                    <a:pt x="1749" y="472"/>
                    <a:pt x="1749" y="472"/>
                  </a:cubicBezTo>
                  <a:cubicBezTo>
                    <a:pt x="1749" y="473"/>
                    <a:pt x="1749" y="473"/>
                    <a:pt x="1749" y="473"/>
                  </a:cubicBezTo>
                  <a:cubicBezTo>
                    <a:pt x="1749" y="475"/>
                    <a:pt x="1749" y="475"/>
                    <a:pt x="1749" y="475"/>
                  </a:cubicBezTo>
                  <a:cubicBezTo>
                    <a:pt x="1749" y="476"/>
                    <a:pt x="1749" y="476"/>
                    <a:pt x="1749" y="476"/>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8"/>
                    <a:pt x="1749" y="478"/>
                    <a:pt x="1749" y="478"/>
                  </a:cubicBezTo>
                  <a:cubicBezTo>
                    <a:pt x="1749" y="478"/>
                    <a:pt x="1749" y="478"/>
                    <a:pt x="1749" y="478"/>
                  </a:cubicBezTo>
                  <a:cubicBezTo>
                    <a:pt x="1749" y="478"/>
                    <a:pt x="1749" y="478"/>
                    <a:pt x="1749" y="478"/>
                  </a:cubicBezTo>
                  <a:cubicBezTo>
                    <a:pt x="1750" y="478"/>
                    <a:pt x="1750" y="479"/>
                    <a:pt x="1750" y="479"/>
                  </a:cubicBezTo>
                  <a:cubicBezTo>
                    <a:pt x="1750" y="479"/>
                    <a:pt x="1750" y="479"/>
                    <a:pt x="1750" y="479"/>
                  </a:cubicBezTo>
                  <a:cubicBezTo>
                    <a:pt x="1750" y="480"/>
                    <a:pt x="1750" y="480"/>
                    <a:pt x="1750" y="480"/>
                  </a:cubicBezTo>
                  <a:cubicBezTo>
                    <a:pt x="1750" y="480"/>
                    <a:pt x="1750" y="480"/>
                    <a:pt x="1750" y="480"/>
                  </a:cubicBezTo>
                  <a:cubicBezTo>
                    <a:pt x="1751" y="482"/>
                    <a:pt x="1751" y="481"/>
                    <a:pt x="1753" y="481"/>
                  </a:cubicBezTo>
                  <a:cubicBezTo>
                    <a:pt x="1753" y="481"/>
                    <a:pt x="1753" y="481"/>
                    <a:pt x="1753" y="481"/>
                  </a:cubicBezTo>
                  <a:cubicBezTo>
                    <a:pt x="1754" y="481"/>
                    <a:pt x="1754" y="481"/>
                    <a:pt x="1754" y="481"/>
                  </a:cubicBezTo>
                  <a:cubicBezTo>
                    <a:pt x="1754" y="481"/>
                    <a:pt x="1754" y="481"/>
                    <a:pt x="1754" y="481"/>
                  </a:cubicBezTo>
                  <a:cubicBezTo>
                    <a:pt x="1754" y="481"/>
                    <a:pt x="1754" y="481"/>
                    <a:pt x="1754" y="481"/>
                  </a:cubicBezTo>
                  <a:cubicBezTo>
                    <a:pt x="1754" y="481"/>
                    <a:pt x="1754" y="481"/>
                    <a:pt x="1754" y="481"/>
                  </a:cubicBezTo>
                  <a:cubicBezTo>
                    <a:pt x="1754" y="482"/>
                    <a:pt x="1754" y="482"/>
                    <a:pt x="1755" y="482"/>
                  </a:cubicBezTo>
                  <a:cubicBezTo>
                    <a:pt x="1755" y="482"/>
                    <a:pt x="1755" y="482"/>
                    <a:pt x="1755" y="482"/>
                  </a:cubicBezTo>
                  <a:cubicBezTo>
                    <a:pt x="1755" y="482"/>
                    <a:pt x="1755" y="482"/>
                    <a:pt x="1755" y="482"/>
                  </a:cubicBezTo>
                  <a:cubicBezTo>
                    <a:pt x="1755" y="482"/>
                    <a:pt x="1755" y="482"/>
                    <a:pt x="1755" y="482"/>
                  </a:cubicBezTo>
                  <a:cubicBezTo>
                    <a:pt x="1755" y="482"/>
                    <a:pt x="1755" y="482"/>
                    <a:pt x="1755"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3"/>
                    <a:pt x="1756" y="483"/>
                    <a:pt x="1756" y="483"/>
                  </a:cubicBezTo>
                  <a:cubicBezTo>
                    <a:pt x="1757" y="483"/>
                    <a:pt x="1757" y="483"/>
                    <a:pt x="1757" y="483"/>
                  </a:cubicBezTo>
                  <a:cubicBezTo>
                    <a:pt x="1757" y="483"/>
                    <a:pt x="1757" y="483"/>
                    <a:pt x="1757" y="483"/>
                  </a:cubicBezTo>
                  <a:cubicBezTo>
                    <a:pt x="1757" y="483"/>
                    <a:pt x="1757" y="483"/>
                    <a:pt x="1757" y="483"/>
                  </a:cubicBezTo>
                  <a:cubicBezTo>
                    <a:pt x="1757" y="483"/>
                    <a:pt x="1757" y="483"/>
                    <a:pt x="1757" y="483"/>
                  </a:cubicBezTo>
                  <a:cubicBezTo>
                    <a:pt x="1757" y="484"/>
                    <a:pt x="1757" y="484"/>
                    <a:pt x="1758" y="484"/>
                  </a:cubicBezTo>
                  <a:cubicBezTo>
                    <a:pt x="1758" y="484"/>
                    <a:pt x="1758" y="484"/>
                    <a:pt x="1758" y="484"/>
                  </a:cubicBezTo>
                  <a:cubicBezTo>
                    <a:pt x="1758" y="484"/>
                    <a:pt x="1758" y="484"/>
                    <a:pt x="1758" y="484"/>
                  </a:cubicBezTo>
                  <a:cubicBezTo>
                    <a:pt x="1759" y="485"/>
                    <a:pt x="1759" y="485"/>
                    <a:pt x="1760" y="485"/>
                  </a:cubicBezTo>
                  <a:cubicBezTo>
                    <a:pt x="1760" y="485"/>
                    <a:pt x="1760" y="485"/>
                    <a:pt x="1760" y="485"/>
                  </a:cubicBezTo>
                  <a:cubicBezTo>
                    <a:pt x="1760" y="485"/>
                    <a:pt x="1760" y="485"/>
                    <a:pt x="1760" y="485"/>
                  </a:cubicBezTo>
                  <a:cubicBezTo>
                    <a:pt x="1760" y="486"/>
                    <a:pt x="1760" y="486"/>
                    <a:pt x="1760" y="486"/>
                  </a:cubicBezTo>
                  <a:cubicBezTo>
                    <a:pt x="1761" y="486"/>
                    <a:pt x="1761" y="486"/>
                    <a:pt x="1761" y="486"/>
                  </a:cubicBezTo>
                  <a:cubicBezTo>
                    <a:pt x="1760" y="486"/>
                    <a:pt x="1760" y="486"/>
                    <a:pt x="1760" y="486"/>
                  </a:cubicBezTo>
                  <a:cubicBezTo>
                    <a:pt x="1760" y="485"/>
                    <a:pt x="1760" y="485"/>
                    <a:pt x="1760" y="485"/>
                  </a:cubicBezTo>
                  <a:cubicBezTo>
                    <a:pt x="1758" y="485"/>
                    <a:pt x="1758" y="485"/>
                    <a:pt x="1758" y="485"/>
                  </a:cubicBezTo>
                  <a:cubicBezTo>
                    <a:pt x="1757" y="484"/>
                    <a:pt x="1756" y="484"/>
                    <a:pt x="1756" y="483"/>
                  </a:cubicBezTo>
                  <a:cubicBezTo>
                    <a:pt x="1756" y="483"/>
                    <a:pt x="1756" y="483"/>
                    <a:pt x="1756" y="483"/>
                  </a:cubicBezTo>
                  <a:cubicBezTo>
                    <a:pt x="1756" y="483"/>
                    <a:pt x="1756" y="483"/>
                    <a:pt x="1756" y="483"/>
                  </a:cubicBezTo>
                  <a:cubicBezTo>
                    <a:pt x="1755" y="483"/>
                    <a:pt x="1754" y="483"/>
                    <a:pt x="1753" y="482"/>
                  </a:cubicBezTo>
                  <a:cubicBezTo>
                    <a:pt x="1753" y="482"/>
                    <a:pt x="1753" y="482"/>
                    <a:pt x="1753" y="482"/>
                  </a:cubicBezTo>
                  <a:cubicBezTo>
                    <a:pt x="1753" y="482"/>
                    <a:pt x="1753" y="482"/>
                    <a:pt x="1753" y="482"/>
                  </a:cubicBezTo>
                  <a:cubicBezTo>
                    <a:pt x="1753" y="482"/>
                    <a:pt x="1753" y="482"/>
                    <a:pt x="1753" y="482"/>
                  </a:cubicBezTo>
                  <a:cubicBezTo>
                    <a:pt x="1753" y="482"/>
                    <a:pt x="1753" y="482"/>
                    <a:pt x="1753" y="482"/>
                  </a:cubicBezTo>
                  <a:cubicBezTo>
                    <a:pt x="1751" y="482"/>
                    <a:pt x="1751" y="483"/>
                    <a:pt x="1750" y="483"/>
                  </a:cubicBezTo>
                  <a:cubicBezTo>
                    <a:pt x="1750" y="483"/>
                    <a:pt x="1750" y="483"/>
                    <a:pt x="1750" y="483"/>
                  </a:cubicBezTo>
                  <a:cubicBezTo>
                    <a:pt x="1750" y="482"/>
                    <a:pt x="1750" y="482"/>
                    <a:pt x="1750" y="482"/>
                  </a:cubicBezTo>
                  <a:cubicBezTo>
                    <a:pt x="1749" y="482"/>
                    <a:pt x="1749" y="483"/>
                    <a:pt x="1748" y="482"/>
                  </a:cubicBezTo>
                  <a:cubicBezTo>
                    <a:pt x="1748" y="482"/>
                    <a:pt x="1748" y="482"/>
                    <a:pt x="1748" y="482"/>
                  </a:cubicBezTo>
                  <a:cubicBezTo>
                    <a:pt x="1748" y="482"/>
                    <a:pt x="1748" y="482"/>
                    <a:pt x="1748" y="482"/>
                  </a:cubicBezTo>
                  <a:cubicBezTo>
                    <a:pt x="1748" y="482"/>
                    <a:pt x="1748" y="482"/>
                    <a:pt x="1748" y="482"/>
                  </a:cubicBezTo>
                  <a:cubicBezTo>
                    <a:pt x="1748" y="482"/>
                    <a:pt x="1748" y="482"/>
                    <a:pt x="1748" y="482"/>
                  </a:cubicBezTo>
                  <a:cubicBezTo>
                    <a:pt x="1749" y="483"/>
                    <a:pt x="1750" y="484"/>
                    <a:pt x="1751" y="485"/>
                  </a:cubicBezTo>
                  <a:cubicBezTo>
                    <a:pt x="1751" y="485"/>
                    <a:pt x="1751" y="485"/>
                    <a:pt x="1751" y="485"/>
                  </a:cubicBezTo>
                  <a:cubicBezTo>
                    <a:pt x="1751" y="485"/>
                    <a:pt x="1751" y="485"/>
                    <a:pt x="1751" y="485"/>
                  </a:cubicBezTo>
                  <a:cubicBezTo>
                    <a:pt x="1751" y="485"/>
                    <a:pt x="1751" y="485"/>
                    <a:pt x="1751" y="485"/>
                  </a:cubicBezTo>
                  <a:cubicBezTo>
                    <a:pt x="1751" y="486"/>
                    <a:pt x="1751" y="486"/>
                    <a:pt x="1751" y="486"/>
                  </a:cubicBezTo>
                  <a:cubicBezTo>
                    <a:pt x="1750" y="487"/>
                    <a:pt x="1750" y="487"/>
                    <a:pt x="1750" y="487"/>
                  </a:cubicBezTo>
                  <a:cubicBezTo>
                    <a:pt x="1750" y="487"/>
                    <a:pt x="1750" y="487"/>
                    <a:pt x="1750" y="487"/>
                  </a:cubicBezTo>
                  <a:cubicBezTo>
                    <a:pt x="1750" y="487"/>
                    <a:pt x="1750" y="487"/>
                    <a:pt x="1750" y="487"/>
                  </a:cubicBezTo>
                  <a:cubicBezTo>
                    <a:pt x="1750" y="487"/>
                    <a:pt x="1750" y="487"/>
                    <a:pt x="1750" y="487"/>
                  </a:cubicBezTo>
                  <a:cubicBezTo>
                    <a:pt x="1751" y="487"/>
                    <a:pt x="1751" y="487"/>
                    <a:pt x="1751" y="488"/>
                  </a:cubicBezTo>
                  <a:cubicBezTo>
                    <a:pt x="1751" y="488"/>
                    <a:pt x="1751" y="488"/>
                    <a:pt x="1751" y="488"/>
                  </a:cubicBezTo>
                  <a:cubicBezTo>
                    <a:pt x="1751" y="488"/>
                    <a:pt x="1751" y="488"/>
                    <a:pt x="1751" y="488"/>
                  </a:cubicBezTo>
                  <a:cubicBezTo>
                    <a:pt x="1752" y="488"/>
                    <a:pt x="1752" y="488"/>
                    <a:pt x="1752" y="489"/>
                  </a:cubicBezTo>
                  <a:cubicBezTo>
                    <a:pt x="1752" y="489"/>
                    <a:pt x="1752" y="489"/>
                    <a:pt x="1752" y="489"/>
                  </a:cubicBezTo>
                  <a:cubicBezTo>
                    <a:pt x="1752" y="489"/>
                    <a:pt x="1752" y="489"/>
                    <a:pt x="1752" y="489"/>
                  </a:cubicBezTo>
                  <a:cubicBezTo>
                    <a:pt x="1752" y="489"/>
                    <a:pt x="1752" y="489"/>
                    <a:pt x="1752" y="489"/>
                  </a:cubicBezTo>
                  <a:cubicBezTo>
                    <a:pt x="1751" y="489"/>
                    <a:pt x="1751" y="489"/>
                    <a:pt x="1751" y="489"/>
                  </a:cubicBezTo>
                  <a:cubicBezTo>
                    <a:pt x="1750" y="488"/>
                    <a:pt x="1750" y="488"/>
                    <a:pt x="1750" y="488"/>
                  </a:cubicBezTo>
                  <a:cubicBezTo>
                    <a:pt x="1750" y="487"/>
                    <a:pt x="1750" y="487"/>
                    <a:pt x="1750"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8" y="486"/>
                    <a:pt x="1748" y="486"/>
                    <a:pt x="1748" y="486"/>
                  </a:cubicBezTo>
                  <a:cubicBezTo>
                    <a:pt x="1748" y="486"/>
                    <a:pt x="1748" y="486"/>
                    <a:pt x="1747" y="486"/>
                  </a:cubicBezTo>
                  <a:cubicBezTo>
                    <a:pt x="1747" y="486"/>
                    <a:pt x="1747" y="486"/>
                    <a:pt x="1747" y="486"/>
                  </a:cubicBezTo>
                  <a:cubicBezTo>
                    <a:pt x="1747" y="486"/>
                    <a:pt x="1747" y="486"/>
                    <a:pt x="1747" y="486"/>
                  </a:cubicBezTo>
                  <a:cubicBezTo>
                    <a:pt x="1747" y="486"/>
                    <a:pt x="1747" y="486"/>
                    <a:pt x="1747" y="486"/>
                  </a:cubicBezTo>
                  <a:cubicBezTo>
                    <a:pt x="1747" y="487"/>
                    <a:pt x="1747" y="487"/>
                    <a:pt x="1747" y="487"/>
                  </a:cubicBezTo>
                  <a:cubicBezTo>
                    <a:pt x="1748" y="488"/>
                    <a:pt x="1748" y="488"/>
                    <a:pt x="1748" y="488"/>
                  </a:cubicBezTo>
                  <a:cubicBezTo>
                    <a:pt x="1748" y="489"/>
                    <a:pt x="1748" y="489"/>
                    <a:pt x="1748" y="489"/>
                  </a:cubicBezTo>
                  <a:cubicBezTo>
                    <a:pt x="1748" y="489"/>
                    <a:pt x="1748" y="489"/>
                    <a:pt x="1748" y="489"/>
                  </a:cubicBezTo>
                  <a:cubicBezTo>
                    <a:pt x="1748" y="489"/>
                    <a:pt x="1748" y="489"/>
                    <a:pt x="1748" y="489"/>
                  </a:cubicBezTo>
                  <a:cubicBezTo>
                    <a:pt x="1749" y="489"/>
                    <a:pt x="1749" y="489"/>
                    <a:pt x="1749" y="489"/>
                  </a:cubicBezTo>
                  <a:cubicBezTo>
                    <a:pt x="1749" y="490"/>
                    <a:pt x="1749" y="490"/>
                    <a:pt x="1749" y="490"/>
                  </a:cubicBezTo>
                  <a:cubicBezTo>
                    <a:pt x="1749" y="490"/>
                    <a:pt x="1749" y="490"/>
                    <a:pt x="1749" y="490"/>
                  </a:cubicBezTo>
                  <a:cubicBezTo>
                    <a:pt x="1749" y="490"/>
                    <a:pt x="1749" y="490"/>
                    <a:pt x="1749" y="490"/>
                  </a:cubicBezTo>
                  <a:cubicBezTo>
                    <a:pt x="1749" y="490"/>
                    <a:pt x="1749" y="490"/>
                    <a:pt x="1749" y="490"/>
                  </a:cubicBezTo>
                  <a:cubicBezTo>
                    <a:pt x="1749" y="490"/>
                    <a:pt x="1749" y="490"/>
                    <a:pt x="1749" y="490"/>
                  </a:cubicBezTo>
                  <a:cubicBezTo>
                    <a:pt x="1748" y="491"/>
                    <a:pt x="1748" y="491"/>
                    <a:pt x="1748" y="491"/>
                  </a:cubicBezTo>
                  <a:cubicBezTo>
                    <a:pt x="1747" y="491"/>
                    <a:pt x="1747" y="491"/>
                    <a:pt x="1747" y="491"/>
                  </a:cubicBezTo>
                  <a:cubicBezTo>
                    <a:pt x="1747" y="492"/>
                    <a:pt x="1747" y="492"/>
                    <a:pt x="1747" y="492"/>
                  </a:cubicBezTo>
                  <a:cubicBezTo>
                    <a:pt x="1747" y="492"/>
                    <a:pt x="1747" y="492"/>
                    <a:pt x="1747" y="492"/>
                  </a:cubicBezTo>
                  <a:cubicBezTo>
                    <a:pt x="1746" y="492"/>
                    <a:pt x="1746" y="492"/>
                    <a:pt x="1746" y="492"/>
                  </a:cubicBezTo>
                  <a:cubicBezTo>
                    <a:pt x="1745" y="490"/>
                    <a:pt x="1745" y="490"/>
                    <a:pt x="1745" y="490"/>
                  </a:cubicBezTo>
                  <a:cubicBezTo>
                    <a:pt x="1745" y="490"/>
                    <a:pt x="1745" y="490"/>
                    <a:pt x="1745" y="490"/>
                  </a:cubicBezTo>
                  <a:cubicBezTo>
                    <a:pt x="1744" y="490"/>
                    <a:pt x="1744" y="490"/>
                    <a:pt x="1744" y="490"/>
                  </a:cubicBezTo>
                  <a:cubicBezTo>
                    <a:pt x="1744" y="490"/>
                    <a:pt x="1744" y="490"/>
                    <a:pt x="1744" y="490"/>
                  </a:cubicBezTo>
                  <a:cubicBezTo>
                    <a:pt x="1744" y="489"/>
                    <a:pt x="1744" y="489"/>
                    <a:pt x="1744" y="489"/>
                  </a:cubicBezTo>
                  <a:cubicBezTo>
                    <a:pt x="1744" y="489"/>
                    <a:pt x="1744" y="489"/>
                    <a:pt x="1744" y="489"/>
                  </a:cubicBezTo>
                  <a:cubicBezTo>
                    <a:pt x="1744" y="489"/>
                    <a:pt x="1744" y="489"/>
                    <a:pt x="1744" y="489"/>
                  </a:cubicBezTo>
                  <a:cubicBezTo>
                    <a:pt x="1743" y="489"/>
                    <a:pt x="1743" y="489"/>
                    <a:pt x="1743" y="489"/>
                  </a:cubicBezTo>
                  <a:cubicBezTo>
                    <a:pt x="1743" y="489"/>
                    <a:pt x="1743" y="489"/>
                    <a:pt x="1743" y="489"/>
                  </a:cubicBezTo>
                  <a:cubicBezTo>
                    <a:pt x="1743" y="490"/>
                    <a:pt x="1743" y="490"/>
                    <a:pt x="1743" y="490"/>
                  </a:cubicBezTo>
                  <a:cubicBezTo>
                    <a:pt x="1743" y="491"/>
                    <a:pt x="1743" y="491"/>
                    <a:pt x="1743" y="491"/>
                  </a:cubicBezTo>
                  <a:cubicBezTo>
                    <a:pt x="1744" y="492"/>
                    <a:pt x="1744" y="492"/>
                    <a:pt x="1744" y="492"/>
                  </a:cubicBezTo>
                  <a:cubicBezTo>
                    <a:pt x="1744" y="494"/>
                    <a:pt x="1744" y="493"/>
                    <a:pt x="1745" y="495"/>
                  </a:cubicBezTo>
                  <a:cubicBezTo>
                    <a:pt x="1745" y="495"/>
                    <a:pt x="1745" y="495"/>
                    <a:pt x="1745" y="495"/>
                  </a:cubicBezTo>
                  <a:cubicBezTo>
                    <a:pt x="1745" y="495"/>
                    <a:pt x="1745" y="495"/>
                    <a:pt x="1745" y="495"/>
                  </a:cubicBezTo>
                  <a:cubicBezTo>
                    <a:pt x="1745" y="495"/>
                    <a:pt x="1745" y="495"/>
                    <a:pt x="1745" y="495"/>
                  </a:cubicBezTo>
                  <a:cubicBezTo>
                    <a:pt x="1745" y="495"/>
                    <a:pt x="1745" y="495"/>
                    <a:pt x="1745" y="495"/>
                  </a:cubicBezTo>
                  <a:cubicBezTo>
                    <a:pt x="1745" y="495"/>
                    <a:pt x="1745" y="495"/>
                    <a:pt x="1745" y="495"/>
                  </a:cubicBezTo>
                  <a:cubicBezTo>
                    <a:pt x="1745" y="496"/>
                    <a:pt x="1745" y="496"/>
                    <a:pt x="1745" y="496"/>
                  </a:cubicBezTo>
                  <a:cubicBezTo>
                    <a:pt x="1745" y="496"/>
                    <a:pt x="1745" y="496"/>
                    <a:pt x="1745" y="496"/>
                  </a:cubicBezTo>
                  <a:cubicBezTo>
                    <a:pt x="1745" y="496"/>
                    <a:pt x="1745" y="496"/>
                    <a:pt x="1745" y="496"/>
                  </a:cubicBezTo>
                  <a:cubicBezTo>
                    <a:pt x="1745" y="496"/>
                    <a:pt x="1745" y="496"/>
                    <a:pt x="1745" y="496"/>
                  </a:cubicBezTo>
                  <a:cubicBezTo>
                    <a:pt x="1745" y="496"/>
                    <a:pt x="1745" y="496"/>
                    <a:pt x="1746" y="496"/>
                  </a:cubicBezTo>
                  <a:cubicBezTo>
                    <a:pt x="1746" y="496"/>
                    <a:pt x="1746" y="496"/>
                    <a:pt x="1746" y="496"/>
                  </a:cubicBezTo>
                  <a:cubicBezTo>
                    <a:pt x="1746" y="496"/>
                    <a:pt x="1746" y="496"/>
                    <a:pt x="1746" y="496"/>
                  </a:cubicBezTo>
                  <a:cubicBezTo>
                    <a:pt x="1746" y="496"/>
                    <a:pt x="1746" y="496"/>
                    <a:pt x="1746" y="496"/>
                  </a:cubicBezTo>
                  <a:cubicBezTo>
                    <a:pt x="1746" y="496"/>
                    <a:pt x="1746" y="496"/>
                    <a:pt x="1746" y="496"/>
                  </a:cubicBezTo>
                  <a:cubicBezTo>
                    <a:pt x="1748" y="496"/>
                    <a:pt x="1747" y="495"/>
                    <a:pt x="1750" y="496"/>
                  </a:cubicBezTo>
                  <a:cubicBezTo>
                    <a:pt x="1750" y="496"/>
                    <a:pt x="1750" y="496"/>
                    <a:pt x="1750" y="496"/>
                  </a:cubicBezTo>
                  <a:cubicBezTo>
                    <a:pt x="1750" y="496"/>
                    <a:pt x="1750" y="496"/>
                    <a:pt x="1750" y="496"/>
                  </a:cubicBezTo>
                  <a:cubicBezTo>
                    <a:pt x="1752" y="497"/>
                    <a:pt x="1752" y="496"/>
                    <a:pt x="1753" y="497"/>
                  </a:cubicBezTo>
                  <a:cubicBezTo>
                    <a:pt x="1753" y="497"/>
                    <a:pt x="1753" y="497"/>
                    <a:pt x="1753" y="497"/>
                  </a:cubicBezTo>
                  <a:cubicBezTo>
                    <a:pt x="1753" y="497"/>
                    <a:pt x="1753" y="497"/>
                    <a:pt x="1753" y="497"/>
                  </a:cubicBezTo>
                  <a:cubicBezTo>
                    <a:pt x="1753" y="497"/>
                    <a:pt x="1753" y="497"/>
                    <a:pt x="1753" y="497"/>
                  </a:cubicBezTo>
                  <a:cubicBezTo>
                    <a:pt x="1752" y="497"/>
                    <a:pt x="1752" y="497"/>
                    <a:pt x="1752" y="497"/>
                  </a:cubicBezTo>
                  <a:cubicBezTo>
                    <a:pt x="1751" y="497"/>
                    <a:pt x="1751" y="497"/>
                    <a:pt x="1751" y="497"/>
                  </a:cubicBezTo>
                  <a:cubicBezTo>
                    <a:pt x="1748" y="497"/>
                    <a:pt x="1748" y="497"/>
                    <a:pt x="1748" y="497"/>
                  </a:cubicBezTo>
                  <a:cubicBezTo>
                    <a:pt x="1746" y="497"/>
                    <a:pt x="1746" y="497"/>
                    <a:pt x="1746"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4" y="497"/>
                    <a:pt x="1744" y="497"/>
                    <a:pt x="1743" y="498"/>
                  </a:cubicBezTo>
                  <a:cubicBezTo>
                    <a:pt x="1743" y="498"/>
                    <a:pt x="1743" y="498"/>
                    <a:pt x="1743" y="498"/>
                  </a:cubicBezTo>
                  <a:cubicBezTo>
                    <a:pt x="1743" y="498"/>
                    <a:pt x="1743" y="498"/>
                    <a:pt x="1743" y="498"/>
                  </a:cubicBezTo>
                  <a:cubicBezTo>
                    <a:pt x="1743" y="498"/>
                    <a:pt x="1743" y="498"/>
                    <a:pt x="1743" y="498"/>
                  </a:cubicBezTo>
                  <a:cubicBezTo>
                    <a:pt x="1743" y="498"/>
                    <a:pt x="1743" y="498"/>
                    <a:pt x="1743" y="498"/>
                  </a:cubicBezTo>
                  <a:cubicBezTo>
                    <a:pt x="1744" y="499"/>
                    <a:pt x="1744" y="499"/>
                    <a:pt x="1744" y="499"/>
                  </a:cubicBezTo>
                  <a:cubicBezTo>
                    <a:pt x="1745" y="500"/>
                    <a:pt x="1745" y="500"/>
                    <a:pt x="1745" y="500"/>
                  </a:cubicBezTo>
                  <a:cubicBezTo>
                    <a:pt x="1745" y="500"/>
                    <a:pt x="1745" y="500"/>
                    <a:pt x="1745" y="500"/>
                  </a:cubicBezTo>
                  <a:cubicBezTo>
                    <a:pt x="1745" y="500"/>
                    <a:pt x="1745" y="500"/>
                    <a:pt x="1745" y="500"/>
                  </a:cubicBezTo>
                  <a:cubicBezTo>
                    <a:pt x="1745" y="500"/>
                    <a:pt x="1745" y="500"/>
                    <a:pt x="1745" y="500"/>
                  </a:cubicBezTo>
                  <a:cubicBezTo>
                    <a:pt x="1745" y="501"/>
                    <a:pt x="1745" y="501"/>
                    <a:pt x="1745" y="501"/>
                  </a:cubicBezTo>
                  <a:cubicBezTo>
                    <a:pt x="1745" y="501"/>
                    <a:pt x="1745" y="501"/>
                    <a:pt x="1745" y="501"/>
                  </a:cubicBezTo>
                  <a:cubicBezTo>
                    <a:pt x="1745" y="501"/>
                    <a:pt x="1745" y="501"/>
                    <a:pt x="1745" y="501"/>
                  </a:cubicBezTo>
                  <a:cubicBezTo>
                    <a:pt x="1744" y="501"/>
                    <a:pt x="1744" y="501"/>
                    <a:pt x="1744" y="501"/>
                  </a:cubicBezTo>
                  <a:cubicBezTo>
                    <a:pt x="1744" y="501"/>
                    <a:pt x="1744" y="501"/>
                    <a:pt x="1744" y="501"/>
                  </a:cubicBezTo>
                  <a:cubicBezTo>
                    <a:pt x="1742" y="500"/>
                    <a:pt x="1742" y="500"/>
                    <a:pt x="1742" y="500"/>
                  </a:cubicBezTo>
                  <a:cubicBezTo>
                    <a:pt x="1742" y="499"/>
                    <a:pt x="1742" y="499"/>
                    <a:pt x="1742"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0" y="498"/>
                    <a:pt x="1740" y="498"/>
                    <a:pt x="1740" y="498"/>
                  </a:cubicBezTo>
                  <a:cubicBezTo>
                    <a:pt x="1740" y="498"/>
                    <a:pt x="1740" y="498"/>
                    <a:pt x="1740" y="498"/>
                  </a:cubicBezTo>
                  <a:cubicBezTo>
                    <a:pt x="1740" y="499"/>
                    <a:pt x="1740" y="499"/>
                    <a:pt x="1740" y="499"/>
                  </a:cubicBezTo>
                  <a:cubicBezTo>
                    <a:pt x="1740" y="499"/>
                    <a:pt x="1740" y="499"/>
                    <a:pt x="1740" y="499"/>
                  </a:cubicBezTo>
                  <a:cubicBezTo>
                    <a:pt x="1739" y="502"/>
                    <a:pt x="1739" y="502"/>
                    <a:pt x="1739" y="502"/>
                  </a:cubicBezTo>
                  <a:cubicBezTo>
                    <a:pt x="1739" y="502"/>
                    <a:pt x="1739" y="502"/>
                    <a:pt x="1739" y="502"/>
                  </a:cubicBezTo>
                  <a:cubicBezTo>
                    <a:pt x="1739" y="503"/>
                    <a:pt x="1739" y="503"/>
                    <a:pt x="1739" y="503"/>
                  </a:cubicBezTo>
                  <a:cubicBezTo>
                    <a:pt x="1739" y="503"/>
                    <a:pt x="1739" y="503"/>
                    <a:pt x="1739"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1" y="503"/>
                    <a:pt x="1741" y="503"/>
                    <a:pt x="1741" y="503"/>
                  </a:cubicBezTo>
                  <a:cubicBezTo>
                    <a:pt x="1741" y="503"/>
                    <a:pt x="1741" y="503"/>
                    <a:pt x="1741" y="503"/>
                  </a:cubicBezTo>
                  <a:cubicBezTo>
                    <a:pt x="1741" y="503"/>
                    <a:pt x="1741" y="503"/>
                    <a:pt x="1741" y="503"/>
                  </a:cubicBezTo>
                  <a:cubicBezTo>
                    <a:pt x="1741" y="503"/>
                    <a:pt x="1741" y="503"/>
                    <a:pt x="1741" y="503"/>
                  </a:cubicBezTo>
                  <a:cubicBezTo>
                    <a:pt x="1742" y="503"/>
                    <a:pt x="1742" y="503"/>
                    <a:pt x="1742" y="503"/>
                  </a:cubicBezTo>
                  <a:cubicBezTo>
                    <a:pt x="1742" y="503"/>
                    <a:pt x="1742" y="503"/>
                    <a:pt x="1742" y="503"/>
                  </a:cubicBezTo>
                  <a:cubicBezTo>
                    <a:pt x="1742" y="503"/>
                    <a:pt x="1742" y="503"/>
                    <a:pt x="1742" y="503"/>
                  </a:cubicBezTo>
                  <a:cubicBezTo>
                    <a:pt x="1742" y="503"/>
                    <a:pt x="1742" y="503"/>
                    <a:pt x="1742" y="503"/>
                  </a:cubicBezTo>
                  <a:cubicBezTo>
                    <a:pt x="1742" y="503"/>
                    <a:pt x="1742" y="503"/>
                    <a:pt x="1742" y="503"/>
                  </a:cubicBezTo>
                  <a:cubicBezTo>
                    <a:pt x="1742" y="504"/>
                    <a:pt x="1742" y="504"/>
                    <a:pt x="1742" y="504"/>
                  </a:cubicBezTo>
                  <a:cubicBezTo>
                    <a:pt x="1742" y="504"/>
                    <a:pt x="1742" y="504"/>
                    <a:pt x="1742" y="504"/>
                  </a:cubicBezTo>
                  <a:cubicBezTo>
                    <a:pt x="1742" y="504"/>
                    <a:pt x="1742" y="504"/>
                    <a:pt x="1742" y="504"/>
                  </a:cubicBezTo>
                  <a:cubicBezTo>
                    <a:pt x="1740" y="505"/>
                    <a:pt x="1738" y="506"/>
                    <a:pt x="1736" y="508"/>
                  </a:cubicBezTo>
                  <a:cubicBezTo>
                    <a:pt x="1736" y="508"/>
                    <a:pt x="1736" y="508"/>
                    <a:pt x="1736" y="508"/>
                  </a:cubicBezTo>
                  <a:cubicBezTo>
                    <a:pt x="1736" y="508"/>
                    <a:pt x="1736" y="508"/>
                    <a:pt x="1736" y="508"/>
                  </a:cubicBezTo>
                  <a:cubicBezTo>
                    <a:pt x="1737" y="509"/>
                    <a:pt x="1737" y="509"/>
                    <a:pt x="1737" y="509"/>
                  </a:cubicBezTo>
                  <a:cubicBezTo>
                    <a:pt x="1736" y="509"/>
                    <a:pt x="1736" y="509"/>
                    <a:pt x="1736" y="509"/>
                  </a:cubicBezTo>
                  <a:cubicBezTo>
                    <a:pt x="1736" y="509"/>
                    <a:pt x="1736" y="509"/>
                    <a:pt x="1736" y="509"/>
                  </a:cubicBezTo>
                  <a:cubicBezTo>
                    <a:pt x="1736" y="509"/>
                    <a:pt x="1736" y="509"/>
                    <a:pt x="1736"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9" y="509"/>
                    <a:pt x="1738" y="510"/>
                    <a:pt x="1739" y="511"/>
                  </a:cubicBezTo>
                  <a:cubicBezTo>
                    <a:pt x="1739" y="511"/>
                    <a:pt x="1739" y="511"/>
                    <a:pt x="1739" y="511"/>
                  </a:cubicBezTo>
                  <a:cubicBezTo>
                    <a:pt x="1739" y="511"/>
                    <a:pt x="1739" y="511"/>
                    <a:pt x="1739" y="511"/>
                  </a:cubicBezTo>
                  <a:cubicBezTo>
                    <a:pt x="1739" y="511"/>
                    <a:pt x="1739" y="511"/>
                    <a:pt x="1739" y="511"/>
                  </a:cubicBezTo>
                  <a:cubicBezTo>
                    <a:pt x="1739" y="511"/>
                    <a:pt x="1739" y="511"/>
                    <a:pt x="1739" y="511"/>
                  </a:cubicBezTo>
                  <a:cubicBezTo>
                    <a:pt x="1740" y="511"/>
                    <a:pt x="1740" y="511"/>
                    <a:pt x="1740" y="511"/>
                  </a:cubicBezTo>
                  <a:cubicBezTo>
                    <a:pt x="1740" y="511"/>
                    <a:pt x="1740" y="511"/>
                    <a:pt x="1740" y="511"/>
                  </a:cubicBezTo>
                  <a:cubicBezTo>
                    <a:pt x="1740" y="511"/>
                    <a:pt x="1740" y="511"/>
                    <a:pt x="1740" y="511"/>
                  </a:cubicBezTo>
                  <a:cubicBezTo>
                    <a:pt x="1740" y="511"/>
                    <a:pt x="1740" y="511"/>
                    <a:pt x="1740" y="511"/>
                  </a:cubicBezTo>
                  <a:cubicBezTo>
                    <a:pt x="1740" y="512"/>
                    <a:pt x="1740" y="512"/>
                    <a:pt x="1740" y="512"/>
                  </a:cubicBezTo>
                  <a:cubicBezTo>
                    <a:pt x="1740" y="512"/>
                    <a:pt x="1740" y="512"/>
                    <a:pt x="1740" y="512"/>
                  </a:cubicBezTo>
                  <a:cubicBezTo>
                    <a:pt x="1740" y="512"/>
                    <a:pt x="1740" y="512"/>
                    <a:pt x="1741" y="513"/>
                  </a:cubicBezTo>
                  <a:cubicBezTo>
                    <a:pt x="1741" y="513"/>
                    <a:pt x="1741" y="513"/>
                    <a:pt x="1741" y="513"/>
                  </a:cubicBezTo>
                  <a:cubicBezTo>
                    <a:pt x="1741" y="513"/>
                    <a:pt x="1741" y="513"/>
                    <a:pt x="1741" y="513"/>
                  </a:cubicBezTo>
                  <a:cubicBezTo>
                    <a:pt x="1741" y="513"/>
                    <a:pt x="1741" y="513"/>
                    <a:pt x="1741" y="513"/>
                  </a:cubicBezTo>
                  <a:cubicBezTo>
                    <a:pt x="1741" y="513"/>
                    <a:pt x="1741" y="513"/>
                    <a:pt x="1741" y="513"/>
                  </a:cubicBezTo>
                  <a:cubicBezTo>
                    <a:pt x="1741" y="513"/>
                    <a:pt x="1741" y="513"/>
                    <a:pt x="1741" y="513"/>
                  </a:cubicBezTo>
                  <a:cubicBezTo>
                    <a:pt x="1740" y="514"/>
                    <a:pt x="1740" y="514"/>
                    <a:pt x="1740" y="514"/>
                  </a:cubicBezTo>
                  <a:cubicBezTo>
                    <a:pt x="1739" y="516"/>
                    <a:pt x="1739" y="516"/>
                    <a:pt x="1739" y="516"/>
                  </a:cubicBezTo>
                  <a:cubicBezTo>
                    <a:pt x="1739" y="517"/>
                    <a:pt x="1739" y="517"/>
                    <a:pt x="1739" y="517"/>
                  </a:cubicBezTo>
                  <a:cubicBezTo>
                    <a:pt x="1738" y="517"/>
                    <a:pt x="1738" y="517"/>
                    <a:pt x="1738"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8"/>
                    <a:pt x="1739" y="518"/>
                    <a:pt x="1739" y="518"/>
                  </a:cubicBezTo>
                  <a:cubicBezTo>
                    <a:pt x="1739" y="518"/>
                    <a:pt x="1739" y="518"/>
                    <a:pt x="1739" y="518"/>
                  </a:cubicBezTo>
                  <a:cubicBezTo>
                    <a:pt x="1738" y="518"/>
                    <a:pt x="1738" y="518"/>
                    <a:pt x="1738" y="518"/>
                  </a:cubicBezTo>
                  <a:cubicBezTo>
                    <a:pt x="1738" y="519"/>
                    <a:pt x="1739" y="519"/>
                    <a:pt x="1738" y="520"/>
                  </a:cubicBezTo>
                  <a:cubicBezTo>
                    <a:pt x="1737" y="521"/>
                    <a:pt x="1737" y="521"/>
                    <a:pt x="1737" y="521"/>
                  </a:cubicBezTo>
                  <a:cubicBezTo>
                    <a:pt x="1736" y="521"/>
                    <a:pt x="1736" y="521"/>
                    <a:pt x="1736" y="521"/>
                  </a:cubicBezTo>
                  <a:cubicBezTo>
                    <a:pt x="1736" y="521"/>
                    <a:pt x="1736" y="521"/>
                    <a:pt x="1736" y="521"/>
                  </a:cubicBezTo>
                  <a:cubicBezTo>
                    <a:pt x="1736" y="521"/>
                    <a:pt x="1736" y="521"/>
                    <a:pt x="1736" y="521"/>
                  </a:cubicBezTo>
                  <a:cubicBezTo>
                    <a:pt x="1737" y="519"/>
                    <a:pt x="1737" y="519"/>
                    <a:pt x="1737" y="519"/>
                  </a:cubicBezTo>
                  <a:cubicBezTo>
                    <a:pt x="1737" y="518"/>
                    <a:pt x="1737" y="518"/>
                    <a:pt x="1737" y="518"/>
                  </a:cubicBezTo>
                  <a:cubicBezTo>
                    <a:pt x="1738" y="517"/>
                    <a:pt x="1736" y="517"/>
                    <a:pt x="1737" y="515"/>
                  </a:cubicBezTo>
                  <a:cubicBezTo>
                    <a:pt x="1737" y="515"/>
                    <a:pt x="1737" y="515"/>
                    <a:pt x="1737" y="515"/>
                  </a:cubicBezTo>
                  <a:cubicBezTo>
                    <a:pt x="1738" y="514"/>
                    <a:pt x="1738" y="514"/>
                    <a:pt x="1738" y="514"/>
                  </a:cubicBezTo>
                  <a:cubicBezTo>
                    <a:pt x="1738" y="514"/>
                    <a:pt x="1738" y="514"/>
                    <a:pt x="1738" y="514"/>
                  </a:cubicBezTo>
                  <a:cubicBezTo>
                    <a:pt x="1738" y="513"/>
                    <a:pt x="1738" y="514"/>
                    <a:pt x="1739" y="512"/>
                  </a:cubicBezTo>
                  <a:cubicBezTo>
                    <a:pt x="1739" y="512"/>
                    <a:pt x="1739" y="512"/>
                    <a:pt x="1739" y="512"/>
                  </a:cubicBezTo>
                  <a:cubicBezTo>
                    <a:pt x="1739" y="512"/>
                    <a:pt x="1739" y="512"/>
                    <a:pt x="1739" y="512"/>
                  </a:cubicBezTo>
                  <a:cubicBezTo>
                    <a:pt x="1739" y="512"/>
                    <a:pt x="1739" y="512"/>
                    <a:pt x="1739" y="512"/>
                  </a:cubicBezTo>
                  <a:cubicBezTo>
                    <a:pt x="1739" y="512"/>
                    <a:pt x="1739" y="512"/>
                    <a:pt x="1739" y="512"/>
                  </a:cubicBezTo>
                  <a:cubicBezTo>
                    <a:pt x="1739" y="512"/>
                    <a:pt x="1739" y="512"/>
                    <a:pt x="1739" y="512"/>
                  </a:cubicBezTo>
                  <a:cubicBezTo>
                    <a:pt x="1738" y="512"/>
                    <a:pt x="1738" y="512"/>
                    <a:pt x="1738" y="512"/>
                  </a:cubicBezTo>
                  <a:cubicBezTo>
                    <a:pt x="1738" y="512"/>
                    <a:pt x="1738" y="512"/>
                    <a:pt x="1738" y="512"/>
                  </a:cubicBezTo>
                  <a:cubicBezTo>
                    <a:pt x="1738" y="512"/>
                    <a:pt x="1738" y="512"/>
                    <a:pt x="1738" y="512"/>
                  </a:cubicBezTo>
                  <a:cubicBezTo>
                    <a:pt x="1738" y="512"/>
                    <a:pt x="1738" y="512"/>
                    <a:pt x="1738" y="512"/>
                  </a:cubicBezTo>
                  <a:cubicBezTo>
                    <a:pt x="1738" y="512"/>
                    <a:pt x="1738" y="512"/>
                    <a:pt x="1738" y="512"/>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0"/>
                    <a:pt x="1737" y="510"/>
                    <a:pt x="1737" y="510"/>
                  </a:cubicBezTo>
                  <a:cubicBezTo>
                    <a:pt x="1737" y="510"/>
                    <a:pt x="1737" y="510"/>
                    <a:pt x="1737" y="510"/>
                  </a:cubicBezTo>
                  <a:cubicBezTo>
                    <a:pt x="1737" y="510"/>
                    <a:pt x="1737" y="510"/>
                    <a:pt x="1737" y="510"/>
                  </a:cubicBezTo>
                  <a:cubicBezTo>
                    <a:pt x="1737" y="510"/>
                    <a:pt x="1737" y="510"/>
                    <a:pt x="1737" y="510"/>
                  </a:cubicBezTo>
                  <a:cubicBezTo>
                    <a:pt x="1736" y="510"/>
                    <a:pt x="1736" y="510"/>
                    <a:pt x="1736" y="510"/>
                  </a:cubicBezTo>
                  <a:cubicBezTo>
                    <a:pt x="1735" y="510"/>
                    <a:pt x="1735" y="510"/>
                    <a:pt x="1735" y="510"/>
                  </a:cubicBezTo>
                  <a:cubicBezTo>
                    <a:pt x="1735" y="510"/>
                    <a:pt x="1735" y="510"/>
                    <a:pt x="1735" y="510"/>
                  </a:cubicBezTo>
                  <a:cubicBezTo>
                    <a:pt x="1735" y="510"/>
                    <a:pt x="1735" y="510"/>
                    <a:pt x="1735" y="510"/>
                  </a:cubicBezTo>
                  <a:cubicBezTo>
                    <a:pt x="1735" y="510"/>
                    <a:pt x="1735" y="510"/>
                    <a:pt x="1735" y="510"/>
                  </a:cubicBezTo>
                  <a:cubicBezTo>
                    <a:pt x="1735" y="510"/>
                    <a:pt x="1735" y="510"/>
                    <a:pt x="1735" y="510"/>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8"/>
                    <a:pt x="1735" y="508"/>
                    <a:pt x="1735" y="508"/>
                  </a:cubicBezTo>
                  <a:cubicBezTo>
                    <a:pt x="1735" y="508"/>
                    <a:pt x="1735" y="508"/>
                    <a:pt x="1735" y="508"/>
                  </a:cubicBezTo>
                  <a:cubicBezTo>
                    <a:pt x="1735" y="508"/>
                    <a:pt x="1735" y="508"/>
                    <a:pt x="1735" y="508"/>
                  </a:cubicBezTo>
                  <a:cubicBezTo>
                    <a:pt x="1734" y="508"/>
                    <a:pt x="1734" y="508"/>
                    <a:pt x="1734" y="508"/>
                  </a:cubicBezTo>
                  <a:cubicBezTo>
                    <a:pt x="1734" y="508"/>
                    <a:pt x="1734" y="508"/>
                    <a:pt x="1734" y="508"/>
                  </a:cubicBezTo>
                  <a:cubicBezTo>
                    <a:pt x="1734" y="508"/>
                    <a:pt x="1734" y="508"/>
                    <a:pt x="1734" y="508"/>
                  </a:cubicBezTo>
                  <a:cubicBezTo>
                    <a:pt x="1734" y="508"/>
                    <a:pt x="1734" y="508"/>
                    <a:pt x="1734" y="508"/>
                  </a:cubicBezTo>
                  <a:cubicBezTo>
                    <a:pt x="1734" y="508"/>
                    <a:pt x="1734" y="508"/>
                    <a:pt x="1734" y="508"/>
                  </a:cubicBezTo>
                  <a:cubicBezTo>
                    <a:pt x="1733" y="508"/>
                    <a:pt x="1733" y="508"/>
                    <a:pt x="1733" y="508"/>
                  </a:cubicBezTo>
                  <a:cubicBezTo>
                    <a:pt x="1733" y="507"/>
                    <a:pt x="1733" y="507"/>
                    <a:pt x="1733" y="507"/>
                  </a:cubicBezTo>
                  <a:cubicBezTo>
                    <a:pt x="1733" y="507"/>
                    <a:pt x="1733" y="507"/>
                    <a:pt x="1733" y="507"/>
                  </a:cubicBezTo>
                  <a:cubicBezTo>
                    <a:pt x="1733" y="507"/>
                    <a:pt x="1733" y="507"/>
                    <a:pt x="1733" y="507"/>
                  </a:cubicBezTo>
                  <a:cubicBezTo>
                    <a:pt x="1732" y="507"/>
                    <a:pt x="1732" y="506"/>
                    <a:pt x="1731" y="506"/>
                  </a:cubicBezTo>
                  <a:cubicBezTo>
                    <a:pt x="1731" y="506"/>
                    <a:pt x="1731" y="506"/>
                    <a:pt x="1731" y="506"/>
                  </a:cubicBezTo>
                  <a:cubicBezTo>
                    <a:pt x="1731" y="506"/>
                    <a:pt x="1731" y="506"/>
                    <a:pt x="1731" y="506"/>
                  </a:cubicBezTo>
                  <a:cubicBezTo>
                    <a:pt x="1731" y="506"/>
                    <a:pt x="1731" y="506"/>
                    <a:pt x="1731" y="506"/>
                  </a:cubicBezTo>
                  <a:cubicBezTo>
                    <a:pt x="1731" y="505"/>
                    <a:pt x="1731" y="505"/>
                    <a:pt x="1731"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29" y="505"/>
                    <a:pt x="1729" y="505"/>
                    <a:pt x="1729" y="505"/>
                  </a:cubicBezTo>
                  <a:cubicBezTo>
                    <a:pt x="1729" y="505"/>
                    <a:pt x="1729" y="505"/>
                    <a:pt x="1729" y="505"/>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8" y="504"/>
                    <a:pt x="1728" y="504"/>
                    <a:pt x="1728" y="504"/>
                  </a:cubicBezTo>
                  <a:cubicBezTo>
                    <a:pt x="1727" y="506"/>
                    <a:pt x="1727" y="506"/>
                    <a:pt x="1727" y="506"/>
                  </a:cubicBezTo>
                  <a:cubicBezTo>
                    <a:pt x="1725" y="509"/>
                    <a:pt x="1725" y="509"/>
                    <a:pt x="1725" y="509"/>
                  </a:cubicBezTo>
                  <a:cubicBezTo>
                    <a:pt x="1724" y="511"/>
                    <a:pt x="1724" y="511"/>
                    <a:pt x="1724" y="511"/>
                  </a:cubicBezTo>
                  <a:cubicBezTo>
                    <a:pt x="1724" y="512"/>
                    <a:pt x="1724" y="512"/>
                    <a:pt x="1724" y="512"/>
                  </a:cubicBezTo>
                  <a:cubicBezTo>
                    <a:pt x="1723" y="512"/>
                    <a:pt x="1723" y="512"/>
                    <a:pt x="1723" y="512"/>
                  </a:cubicBezTo>
                  <a:cubicBezTo>
                    <a:pt x="1723" y="512"/>
                    <a:pt x="1723" y="512"/>
                    <a:pt x="1723" y="512"/>
                  </a:cubicBezTo>
                  <a:cubicBezTo>
                    <a:pt x="1723" y="512"/>
                    <a:pt x="1723" y="512"/>
                    <a:pt x="1723" y="512"/>
                  </a:cubicBezTo>
                  <a:cubicBezTo>
                    <a:pt x="1723" y="513"/>
                    <a:pt x="1723" y="513"/>
                    <a:pt x="1723" y="513"/>
                  </a:cubicBezTo>
                  <a:cubicBezTo>
                    <a:pt x="1723" y="513"/>
                    <a:pt x="1723" y="513"/>
                    <a:pt x="1723" y="513"/>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2" y="515"/>
                    <a:pt x="1722" y="515"/>
                    <a:pt x="1722" y="515"/>
                  </a:cubicBezTo>
                  <a:cubicBezTo>
                    <a:pt x="1722" y="515"/>
                    <a:pt x="1722" y="515"/>
                    <a:pt x="1722" y="515"/>
                  </a:cubicBezTo>
                  <a:cubicBezTo>
                    <a:pt x="1722" y="515"/>
                    <a:pt x="1722" y="515"/>
                    <a:pt x="1722" y="515"/>
                  </a:cubicBezTo>
                  <a:cubicBezTo>
                    <a:pt x="1722" y="515"/>
                    <a:pt x="1722" y="515"/>
                    <a:pt x="1722" y="515"/>
                  </a:cubicBezTo>
                  <a:cubicBezTo>
                    <a:pt x="1722" y="515"/>
                    <a:pt x="1723" y="515"/>
                    <a:pt x="1723" y="516"/>
                  </a:cubicBezTo>
                  <a:cubicBezTo>
                    <a:pt x="1723" y="516"/>
                    <a:pt x="1723" y="516"/>
                    <a:pt x="1723" y="516"/>
                  </a:cubicBezTo>
                  <a:cubicBezTo>
                    <a:pt x="1723" y="516"/>
                    <a:pt x="1723" y="516"/>
                    <a:pt x="1723" y="516"/>
                  </a:cubicBezTo>
                  <a:cubicBezTo>
                    <a:pt x="1723" y="516"/>
                    <a:pt x="1723" y="516"/>
                    <a:pt x="1723" y="516"/>
                  </a:cubicBezTo>
                  <a:cubicBezTo>
                    <a:pt x="1721" y="517"/>
                    <a:pt x="1721" y="517"/>
                    <a:pt x="1721" y="517"/>
                  </a:cubicBezTo>
                  <a:cubicBezTo>
                    <a:pt x="1719" y="517"/>
                    <a:pt x="1719" y="517"/>
                    <a:pt x="1719" y="517"/>
                  </a:cubicBezTo>
                  <a:cubicBezTo>
                    <a:pt x="1702" y="524"/>
                    <a:pt x="1702" y="524"/>
                    <a:pt x="1702" y="524"/>
                  </a:cubicBezTo>
                  <a:cubicBezTo>
                    <a:pt x="1701" y="525"/>
                    <a:pt x="1700" y="526"/>
                    <a:pt x="1700" y="527"/>
                  </a:cubicBezTo>
                  <a:cubicBezTo>
                    <a:pt x="1699" y="528"/>
                    <a:pt x="1699" y="528"/>
                    <a:pt x="1699" y="528"/>
                  </a:cubicBezTo>
                  <a:cubicBezTo>
                    <a:pt x="1699" y="528"/>
                    <a:pt x="1699" y="528"/>
                    <a:pt x="1699" y="528"/>
                  </a:cubicBezTo>
                  <a:cubicBezTo>
                    <a:pt x="1699" y="528"/>
                    <a:pt x="1699" y="529"/>
                    <a:pt x="1699" y="530"/>
                  </a:cubicBezTo>
                  <a:cubicBezTo>
                    <a:pt x="1699" y="530"/>
                    <a:pt x="1699" y="530"/>
                    <a:pt x="1699" y="530"/>
                  </a:cubicBezTo>
                  <a:cubicBezTo>
                    <a:pt x="1699" y="530"/>
                    <a:pt x="1699" y="530"/>
                    <a:pt x="1699" y="530"/>
                  </a:cubicBezTo>
                  <a:cubicBezTo>
                    <a:pt x="1699" y="530"/>
                    <a:pt x="1699" y="530"/>
                    <a:pt x="1699" y="530"/>
                  </a:cubicBezTo>
                  <a:cubicBezTo>
                    <a:pt x="1699" y="530"/>
                    <a:pt x="1699" y="530"/>
                    <a:pt x="1699" y="530"/>
                  </a:cubicBezTo>
                  <a:cubicBezTo>
                    <a:pt x="1700" y="531"/>
                    <a:pt x="1699" y="531"/>
                    <a:pt x="1699" y="532"/>
                  </a:cubicBezTo>
                  <a:cubicBezTo>
                    <a:pt x="1698" y="532"/>
                    <a:pt x="1698" y="532"/>
                    <a:pt x="1698" y="532"/>
                  </a:cubicBezTo>
                  <a:cubicBezTo>
                    <a:pt x="1698" y="532"/>
                    <a:pt x="1698" y="532"/>
                    <a:pt x="1698" y="532"/>
                  </a:cubicBezTo>
                  <a:cubicBezTo>
                    <a:pt x="1698" y="532"/>
                    <a:pt x="1698" y="532"/>
                    <a:pt x="1698" y="532"/>
                  </a:cubicBezTo>
                  <a:cubicBezTo>
                    <a:pt x="1698" y="532"/>
                    <a:pt x="1698" y="532"/>
                    <a:pt x="1698" y="532"/>
                  </a:cubicBezTo>
                  <a:cubicBezTo>
                    <a:pt x="1698" y="532"/>
                    <a:pt x="1698" y="532"/>
                    <a:pt x="1698" y="532"/>
                  </a:cubicBezTo>
                  <a:cubicBezTo>
                    <a:pt x="1698" y="533"/>
                    <a:pt x="1698" y="533"/>
                    <a:pt x="1698" y="533"/>
                  </a:cubicBezTo>
                  <a:cubicBezTo>
                    <a:pt x="1698" y="533"/>
                    <a:pt x="1698" y="533"/>
                    <a:pt x="1698" y="533"/>
                  </a:cubicBezTo>
                  <a:cubicBezTo>
                    <a:pt x="1698" y="534"/>
                    <a:pt x="1698" y="534"/>
                    <a:pt x="1698" y="534"/>
                  </a:cubicBezTo>
                  <a:cubicBezTo>
                    <a:pt x="1697" y="533"/>
                    <a:pt x="1698" y="533"/>
                    <a:pt x="1698" y="532"/>
                  </a:cubicBezTo>
                  <a:cubicBezTo>
                    <a:pt x="1698" y="532"/>
                    <a:pt x="1698" y="532"/>
                    <a:pt x="1698" y="532"/>
                  </a:cubicBezTo>
                  <a:cubicBezTo>
                    <a:pt x="1698" y="531"/>
                    <a:pt x="1698" y="531"/>
                    <a:pt x="1698" y="531"/>
                  </a:cubicBezTo>
                  <a:cubicBezTo>
                    <a:pt x="1699" y="530"/>
                    <a:pt x="1698" y="530"/>
                    <a:pt x="1698" y="529"/>
                  </a:cubicBezTo>
                  <a:cubicBezTo>
                    <a:pt x="1698" y="529"/>
                    <a:pt x="1698" y="529"/>
                    <a:pt x="1698" y="529"/>
                  </a:cubicBezTo>
                  <a:cubicBezTo>
                    <a:pt x="1698" y="529"/>
                    <a:pt x="1698" y="529"/>
                    <a:pt x="1698" y="529"/>
                  </a:cubicBezTo>
                  <a:cubicBezTo>
                    <a:pt x="1698" y="529"/>
                    <a:pt x="1698" y="529"/>
                    <a:pt x="1698" y="529"/>
                  </a:cubicBezTo>
                  <a:cubicBezTo>
                    <a:pt x="1698" y="528"/>
                    <a:pt x="1698" y="528"/>
                    <a:pt x="1698" y="528"/>
                  </a:cubicBezTo>
                  <a:cubicBezTo>
                    <a:pt x="1698" y="528"/>
                    <a:pt x="1698" y="527"/>
                    <a:pt x="1698" y="526"/>
                  </a:cubicBezTo>
                  <a:cubicBezTo>
                    <a:pt x="1698" y="526"/>
                    <a:pt x="1698" y="526"/>
                    <a:pt x="1698" y="526"/>
                  </a:cubicBezTo>
                  <a:cubicBezTo>
                    <a:pt x="1698" y="526"/>
                    <a:pt x="1698" y="526"/>
                    <a:pt x="1698" y="526"/>
                  </a:cubicBezTo>
                  <a:cubicBezTo>
                    <a:pt x="1698" y="526"/>
                    <a:pt x="1698" y="526"/>
                    <a:pt x="1698" y="526"/>
                  </a:cubicBezTo>
                  <a:cubicBezTo>
                    <a:pt x="1699" y="526"/>
                    <a:pt x="1699" y="526"/>
                    <a:pt x="1699" y="526"/>
                  </a:cubicBezTo>
                  <a:cubicBezTo>
                    <a:pt x="1699" y="526"/>
                    <a:pt x="1699" y="526"/>
                    <a:pt x="1699" y="526"/>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4"/>
                    <a:pt x="1699" y="524"/>
                    <a:pt x="1699" y="524"/>
                  </a:cubicBezTo>
                  <a:cubicBezTo>
                    <a:pt x="1699" y="524"/>
                    <a:pt x="1699" y="524"/>
                    <a:pt x="1699" y="524"/>
                  </a:cubicBezTo>
                  <a:cubicBezTo>
                    <a:pt x="1699" y="524"/>
                    <a:pt x="1699" y="524"/>
                    <a:pt x="1699" y="524"/>
                  </a:cubicBezTo>
                  <a:cubicBezTo>
                    <a:pt x="1698" y="523"/>
                    <a:pt x="1698" y="523"/>
                    <a:pt x="1698" y="523"/>
                  </a:cubicBezTo>
                  <a:cubicBezTo>
                    <a:pt x="1697" y="522"/>
                    <a:pt x="1697" y="522"/>
                    <a:pt x="1697" y="522"/>
                  </a:cubicBezTo>
                  <a:cubicBezTo>
                    <a:pt x="1697" y="522"/>
                    <a:pt x="1697" y="522"/>
                    <a:pt x="1697" y="522"/>
                  </a:cubicBezTo>
                  <a:cubicBezTo>
                    <a:pt x="1697" y="521"/>
                    <a:pt x="1697" y="521"/>
                    <a:pt x="1697" y="521"/>
                  </a:cubicBezTo>
                  <a:cubicBezTo>
                    <a:pt x="1697" y="521"/>
                    <a:pt x="1697" y="521"/>
                    <a:pt x="1697" y="521"/>
                  </a:cubicBezTo>
                  <a:cubicBezTo>
                    <a:pt x="1699" y="520"/>
                    <a:pt x="1697" y="521"/>
                    <a:pt x="1698" y="518"/>
                  </a:cubicBezTo>
                  <a:cubicBezTo>
                    <a:pt x="1698" y="518"/>
                    <a:pt x="1698" y="518"/>
                    <a:pt x="1698" y="518"/>
                  </a:cubicBezTo>
                  <a:cubicBezTo>
                    <a:pt x="1698" y="518"/>
                    <a:pt x="1698" y="518"/>
                    <a:pt x="1698" y="518"/>
                  </a:cubicBezTo>
                  <a:cubicBezTo>
                    <a:pt x="1698" y="518"/>
                    <a:pt x="1698" y="518"/>
                    <a:pt x="1698" y="518"/>
                  </a:cubicBezTo>
                  <a:cubicBezTo>
                    <a:pt x="1696" y="519"/>
                    <a:pt x="1696" y="519"/>
                    <a:pt x="1696" y="519"/>
                  </a:cubicBezTo>
                  <a:cubicBezTo>
                    <a:pt x="1695" y="519"/>
                    <a:pt x="1695" y="519"/>
                    <a:pt x="1695" y="519"/>
                  </a:cubicBezTo>
                  <a:cubicBezTo>
                    <a:pt x="1695" y="520"/>
                    <a:pt x="1695" y="520"/>
                    <a:pt x="1695" y="520"/>
                  </a:cubicBezTo>
                  <a:cubicBezTo>
                    <a:pt x="1695" y="520"/>
                    <a:pt x="1695" y="520"/>
                    <a:pt x="1695" y="520"/>
                  </a:cubicBezTo>
                  <a:cubicBezTo>
                    <a:pt x="1695" y="520"/>
                    <a:pt x="1695" y="520"/>
                    <a:pt x="1695" y="520"/>
                  </a:cubicBezTo>
                  <a:cubicBezTo>
                    <a:pt x="1695" y="520"/>
                    <a:pt x="1695" y="520"/>
                    <a:pt x="1695" y="520"/>
                  </a:cubicBezTo>
                  <a:cubicBezTo>
                    <a:pt x="1695" y="521"/>
                    <a:pt x="1695" y="521"/>
                    <a:pt x="1695" y="521"/>
                  </a:cubicBezTo>
                  <a:cubicBezTo>
                    <a:pt x="1695" y="521"/>
                    <a:pt x="1695" y="521"/>
                    <a:pt x="1695" y="521"/>
                  </a:cubicBezTo>
                  <a:cubicBezTo>
                    <a:pt x="1695" y="521"/>
                    <a:pt x="1695" y="521"/>
                    <a:pt x="1695" y="521"/>
                  </a:cubicBezTo>
                  <a:cubicBezTo>
                    <a:pt x="1695" y="521"/>
                    <a:pt x="1695" y="521"/>
                    <a:pt x="1695" y="521"/>
                  </a:cubicBezTo>
                  <a:cubicBezTo>
                    <a:pt x="1695" y="522"/>
                    <a:pt x="1695" y="522"/>
                    <a:pt x="1695" y="522"/>
                  </a:cubicBezTo>
                  <a:cubicBezTo>
                    <a:pt x="1695" y="522"/>
                    <a:pt x="1695" y="522"/>
                    <a:pt x="1695" y="522"/>
                  </a:cubicBezTo>
                  <a:cubicBezTo>
                    <a:pt x="1695" y="523"/>
                    <a:pt x="1695" y="523"/>
                    <a:pt x="1695" y="523"/>
                  </a:cubicBezTo>
                  <a:cubicBezTo>
                    <a:pt x="1695" y="523"/>
                    <a:pt x="1695" y="523"/>
                    <a:pt x="1695" y="523"/>
                  </a:cubicBezTo>
                  <a:cubicBezTo>
                    <a:pt x="1695" y="523"/>
                    <a:pt x="1695" y="523"/>
                    <a:pt x="1695" y="523"/>
                  </a:cubicBezTo>
                  <a:cubicBezTo>
                    <a:pt x="1695" y="523"/>
                    <a:pt x="1695" y="523"/>
                    <a:pt x="1694" y="524"/>
                  </a:cubicBezTo>
                  <a:cubicBezTo>
                    <a:pt x="1694" y="524"/>
                    <a:pt x="1694" y="524"/>
                    <a:pt x="1694" y="524"/>
                  </a:cubicBezTo>
                  <a:cubicBezTo>
                    <a:pt x="1694" y="524"/>
                    <a:pt x="1694" y="524"/>
                    <a:pt x="1694" y="524"/>
                  </a:cubicBezTo>
                  <a:cubicBezTo>
                    <a:pt x="1694" y="524"/>
                    <a:pt x="1694" y="524"/>
                    <a:pt x="1694" y="524"/>
                  </a:cubicBezTo>
                  <a:cubicBezTo>
                    <a:pt x="1694" y="524"/>
                    <a:pt x="1694" y="524"/>
                    <a:pt x="1694" y="524"/>
                  </a:cubicBezTo>
                  <a:cubicBezTo>
                    <a:pt x="1694" y="524"/>
                    <a:pt x="1694" y="524"/>
                    <a:pt x="1694" y="524"/>
                  </a:cubicBezTo>
                  <a:cubicBezTo>
                    <a:pt x="1694" y="525"/>
                    <a:pt x="1694" y="525"/>
                    <a:pt x="1694" y="525"/>
                  </a:cubicBezTo>
                  <a:cubicBezTo>
                    <a:pt x="1694" y="525"/>
                    <a:pt x="1694" y="525"/>
                    <a:pt x="1694" y="525"/>
                  </a:cubicBezTo>
                  <a:cubicBezTo>
                    <a:pt x="1694" y="525"/>
                    <a:pt x="1694" y="525"/>
                    <a:pt x="1694" y="525"/>
                  </a:cubicBezTo>
                  <a:cubicBezTo>
                    <a:pt x="1694" y="525"/>
                    <a:pt x="1694" y="525"/>
                    <a:pt x="1694" y="525"/>
                  </a:cubicBezTo>
                  <a:cubicBezTo>
                    <a:pt x="1694" y="525"/>
                    <a:pt x="1694" y="525"/>
                    <a:pt x="1694" y="525"/>
                  </a:cubicBezTo>
                  <a:cubicBezTo>
                    <a:pt x="1693" y="525"/>
                    <a:pt x="1693" y="525"/>
                    <a:pt x="1693" y="525"/>
                  </a:cubicBezTo>
                  <a:cubicBezTo>
                    <a:pt x="1693" y="525"/>
                    <a:pt x="1693" y="525"/>
                    <a:pt x="1693" y="525"/>
                  </a:cubicBezTo>
                  <a:cubicBezTo>
                    <a:pt x="1693" y="525"/>
                    <a:pt x="1693" y="525"/>
                    <a:pt x="1693" y="525"/>
                  </a:cubicBezTo>
                  <a:cubicBezTo>
                    <a:pt x="1693" y="525"/>
                    <a:pt x="1693" y="525"/>
                    <a:pt x="1693" y="525"/>
                  </a:cubicBezTo>
                  <a:cubicBezTo>
                    <a:pt x="1693" y="525"/>
                    <a:pt x="1693" y="525"/>
                    <a:pt x="1693" y="525"/>
                  </a:cubicBezTo>
                  <a:cubicBezTo>
                    <a:pt x="1693" y="525"/>
                    <a:pt x="1692" y="525"/>
                    <a:pt x="1692" y="525"/>
                  </a:cubicBezTo>
                  <a:cubicBezTo>
                    <a:pt x="1692" y="526"/>
                    <a:pt x="1692" y="526"/>
                    <a:pt x="1692" y="526"/>
                  </a:cubicBezTo>
                  <a:cubicBezTo>
                    <a:pt x="1692" y="526"/>
                    <a:pt x="1692" y="526"/>
                    <a:pt x="1692" y="526"/>
                  </a:cubicBezTo>
                  <a:cubicBezTo>
                    <a:pt x="1691" y="526"/>
                    <a:pt x="1692" y="527"/>
                    <a:pt x="1691" y="527"/>
                  </a:cubicBezTo>
                  <a:cubicBezTo>
                    <a:pt x="1691" y="527"/>
                    <a:pt x="1691" y="527"/>
                    <a:pt x="1691" y="527"/>
                  </a:cubicBezTo>
                  <a:cubicBezTo>
                    <a:pt x="1691" y="527"/>
                    <a:pt x="1691" y="527"/>
                    <a:pt x="1691" y="527"/>
                  </a:cubicBezTo>
                  <a:cubicBezTo>
                    <a:pt x="1691" y="528"/>
                    <a:pt x="1691" y="528"/>
                    <a:pt x="1691" y="528"/>
                  </a:cubicBezTo>
                  <a:cubicBezTo>
                    <a:pt x="1691" y="528"/>
                    <a:pt x="1691" y="528"/>
                    <a:pt x="1691" y="528"/>
                  </a:cubicBezTo>
                  <a:cubicBezTo>
                    <a:pt x="1691" y="528"/>
                    <a:pt x="1690" y="528"/>
                    <a:pt x="1690" y="529"/>
                  </a:cubicBezTo>
                  <a:cubicBezTo>
                    <a:pt x="1690" y="529"/>
                    <a:pt x="1690" y="529"/>
                    <a:pt x="1690" y="529"/>
                  </a:cubicBezTo>
                  <a:cubicBezTo>
                    <a:pt x="1690" y="529"/>
                    <a:pt x="1690" y="529"/>
                    <a:pt x="1690" y="529"/>
                  </a:cubicBezTo>
                  <a:cubicBezTo>
                    <a:pt x="1689" y="529"/>
                    <a:pt x="1689" y="529"/>
                    <a:pt x="1689" y="530"/>
                  </a:cubicBezTo>
                  <a:cubicBezTo>
                    <a:pt x="1689" y="530"/>
                    <a:pt x="1689" y="530"/>
                    <a:pt x="1689" y="530"/>
                  </a:cubicBezTo>
                  <a:cubicBezTo>
                    <a:pt x="1689" y="530"/>
                    <a:pt x="1689" y="530"/>
                    <a:pt x="1689" y="530"/>
                  </a:cubicBezTo>
                  <a:cubicBezTo>
                    <a:pt x="1688" y="530"/>
                    <a:pt x="1688" y="530"/>
                    <a:pt x="1688" y="530"/>
                  </a:cubicBezTo>
                  <a:cubicBezTo>
                    <a:pt x="1688" y="530"/>
                    <a:pt x="1688" y="530"/>
                    <a:pt x="1688" y="530"/>
                  </a:cubicBezTo>
                  <a:cubicBezTo>
                    <a:pt x="1688" y="530"/>
                    <a:pt x="1688" y="530"/>
                    <a:pt x="1688" y="530"/>
                  </a:cubicBezTo>
                  <a:cubicBezTo>
                    <a:pt x="1688" y="529"/>
                    <a:pt x="1688" y="529"/>
                    <a:pt x="1688" y="529"/>
                  </a:cubicBezTo>
                  <a:cubicBezTo>
                    <a:pt x="1689" y="528"/>
                    <a:pt x="1689" y="528"/>
                    <a:pt x="1689" y="528"/>
                  </a:cubicBezTo>
                  <a:cubicBezTo>
                    <a:pt x="1689" y="527"/>
                    <a:pt x="1689" y="527"/>
                    <a:pt x="1689" y="527"/>
                  </a:cubicBezTo>
                  <a:cubicBezTo>
                    <a:pt x="1690" y="527"/>
                    <a:pt x="1690" y="527"/>
                    <a:pt x="1690" y="527"/>
                  </a:cubicBezTo>
                  <a:cubicBezTo>
                    <a:pt x="1690" y="526"/>
                    <a:pt x="1691" y="526"/>
                    <a:pt x="1692" y="525"/>
                  </a:cubicBezTo>
                  <a:cubicBezTo>
                    <a:pt x="1692" y="525"/>
                    <a:pt x="1692" y="525"/>
                    <a:pt x="1692" y="525"/>
                  </a:cubicBezTo>
                  <a:cubicBezTo>
                    <a:pt x="1692" y="525"/>
                    <a:pt x="1692" y="525"/>
                    <a:pt x="1692" y="525"/>
                  </a:cubicBezTo>
                  <a:cubicBezTo>
                    <a:pt x="1693" y="524"/>
                    <a:pt x="1694" y="523"/>
                    <a:pt x="1694" y="522"/>
                  </a:cubicBezTo>
                  <a:cubicBezTo>
                    <a:pt x="1694" y="522"/>
                    <a:pt x="1694" y="522"/>
                    <a:pt x="1694" y="522"/>
                  </a:cubicBezTo>
                  <a:cubicBezTo>
                    <a:pt x="1694" y="522"/>
                    <a:pt x="1694" y="522"/>
                    <a:pt x="1694" y="522"/>
                  </a:cubicBezTo>
                  <a:cubicBezTo>
                    <a:pt x="1694" y="521"/>
                    <a:pt x="1694" y="521"/>
                    <a:pt x="1694" y="521"/>
                  </a:cubicBezTo>
                  <a:cubicBezTo>
                    <a:pt x="1694" y="521"/>
                    <a:pt x="1694" y="521"/>
                    <a:pt x="1694" y="521"/>
                  </a:cubicBezTo>
                  <a:cubicBezTo>
                    <a:pt x="1693" y="520"/>
                    <a:pt x="1693" y="520"/>
                    <a:pt x="1693" y="520"/>
                  </a:cubicBezTo>
                  <a:cubicBezTo>
                    <a:pt x="1693" y="520"/>
                    <a:pt x="1693" y="520"/>
                    <a:pt x="1693" y="519"/>
                  </a:cubicBezTo>
                  <a:cubicBezTo>
                    <a:pt x="1693" y="519"/>
                    <a:pt x="1693" y="519"/>
                    <a:pt x="1693" y="519"/>
                  </a:cubicBezTo>
                  <a:cubicBezTo>
                    <a:pt x="1693" y="519"/>
                    <a:pt x="1693" y="519"/>
                    <a:pt x="1693" y="519"/>
                  </a:cubicBezTo>
                  <a:cubicBezTo>
                    <a:pt x="1693" y="518"/>
                    <a:pt x="1693" y="518"/>
                    <a:pt x="1693" y="518"/>
                  </a:cubicBezTo>
                  <a:cubicBezTo>
                    <a:pt x="1693" y="517"/>
                    <a:pt x="1693" y="517"/>
                    <a:pt x="1693" y="517"/>
                  </a:cubicBezTo>
                  <a:cubicBezTo>
                    <a:pt x="1693" y="517"/>
                    <a:pt x="1693" y="517"/>
                    <a:pt x="1693" y="517"/>
                  </a:cubicBezTo>
                  <a:cubicBezTo>
                    <a:pt x="1693" y="517"/>
                    <a:pt x="1693" y="517"/>
                    <a:pt x="1693" y="517"/>
                  </a:cubicBezTo>
                  <a:cubicBezTo>
                    <a:pt x="1693" y="517"/>
                    <a:pt x="1693" y="517"/>
                    <a:pt x="1693" y="517"/>
                  </a:cubicBezTo>
                  <a:cubicBezTo>
                    <a:pt x="1693" y="517"/>
                    <a:pt x="1693" y="516"/>
                    <a:pt x="1693" y="516"/>
                  </a:cubicBezTo>
                  <a:cubicBezTo>
                    <a:pt x="1693" y="516"/>
                    <a:pt x="1693" y="516"/>
                    <a:pt x="1693" y="516"/>
                  </a:cubicBezTo>
                  <a:cubicBezTo>
                    <a:pt x="1693" y="516"/>
                    <a:pt x="1693" y="516"/>
                    <a:pt x="1693" y="516"/>
                  </a:cubicBezTo>
                  <a:cubicBezTo>
                    <a:pt x="1691" y="514"/>
                    <a:pt x="1692" y="513"/>
                    <a:pt x="1689"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7" y="516"/>
                    <a:pt x="1687" y="516"/>
                    <a:pt x="1687" y="517"/>
                  </a:cubicBezTo>
                  <a:cubicBezTo>
                    <a:pt x="1687" y="518"/>
                    <a:pt x="1687" y="518"/>
                    <a:pt x="1687" y="518"/>
                  </a:cubicBezTo>
                  <a:cubicBezTo>
                    <a:pt x="1687" y="518"/>
                    <a:pt x="1687" y="518"/>
                    <a:pt x="1687" y="518"/>
                  </a:cubicBezTo>
                  <a:cubicBezTo>
                    <a:pt x="1687" y="518"/>
                    <a:pt x="1687" y="518"/>
                    <a:pt x="1687" y="518"/>
                  </a:cubicBezTo>
                  <a:cubicBezTo>
                    <a:pt x="1687" y="518"/>
                    <a:pt x="1687" y="519"/>
                    <a:pt x="1687" y="519"/>
                  </a:cubicBezTo>
                  <a:cubicBezTo>
                    <a:pt x="1687" y="519"/>
                    <a:pt x="1687" y="519"/>
                    <a:pt x="1687" y="519"/>
                  </a:cubicBezTo>
                  <a:cubicBezTo>
                    <a:pt x="1687" y="519"/>
                    <a:pt x="1687" y="519"/>
                    <a:pt x="1687" y="519"/>
                  </a:cubicBezTo>
                  <a:cubicBezTo>
                    <a:pt x="1686" y="520"/>
                    <a:pt x="1687" y="520"/>
                    <a:pt x="1686" y="521"/>
                  </a:cubicBezTo>
                  <a:cubicBezTo>
                    <a:pt x="1686" y="521"/>
                    <a:pt x="1686" y="521"/>
                    <a:pt x="1686" y="521"/>
                  </a:cubicBezTo>
                  <a:cubicBezTo>
                    <a:pt x="1686" y="521"/>
                    <a:pt x="1686" y="521"/>
                    <a:pt x="1686" y="521"/>
                  </a:cubicBezTo>
                  <a:cubicBezTo>
                    <a:pt x="1686" y="521"/>
                    <a:pt x="1686" y="521"/>
                    <a:pt x="1686" y="521"/>
                  </a:cubicBezTo>
                  <a:cubicBezTo>
                    <a:pt x="1686" y="521"/>
                    <a:pt x="1686" y="521"/>
                    <a:pt x="1686" y="521"/>
                  </a:cubicBezTo>
                  <a:cubicBezTo>
                    <a:pt x="1686" y="521"/>
                    <a:pt x="1686" y="521"/>
                    <a:pt x="1686" y="521"/>
                  </a:cubicBezTo>
                  <a:cubicBezTo>
                    <a:pt x="1685" y="523"/>
                    <a:pt x="1686" y="523"/>
                    <a:pt x="1685" y="524"/>
                  </a:cubicBezTo>
                  <a:cubicBezTo>
                    <a:pt x="1685" y="524"/>
                    <a:pt x="1685" y="524"/>
                    <a:pt x="1685" y="524"/>
                  </a:cubicBezTo>
                  <a:cubicBezTo>
                    <a:pt x="1685" y="524"/>
                    <a:pt x="1685" y="524"/>
                    <a:pt x="1685" y="524"/>
                  </a:cubicBezTo>
                  <a:cubicBezTo>
                    <a:pt x="1684" y="525"/>
                    <a:pt x="1684" y="525"/>
                    <a:pt x="1684" y="527"/>
                  </a:cubicBezTo>
                  <a:cubicBezTo>
                    <a:pt x="1684" y="527"/>
                    <a:pt x="1684" y="527"/>
                    <a:pt x="1684" y="527"/>
                  </a:cubicBezTo>
                  <a:cubicBezTo>
                    <a:pt x="1684" y="527"/>
                    <a:pt x="1684" y="527"/>
                    <a:pt x="1684" y="527"/>
                  </a:cubicBezTo>
                  <a:cubicBezTo>
                    <a:pt x="1684" y="527"/>
                    <a:pt x="1684" y="527"/>
                    <a:pt x="1684" y="527"/>
                  </a:cubicBezTo>
                  <a:cubicBezTo>
                    <a:pt x="1684" y="527"/>
                    <a:pt x="1684" y="527"/>
                    <a:pt x="1684" y="527"/>
                  </a:cubicBezTo>
                  <a:cubicBezTo>
                    <a:pt x="1684" y="527"/>
                    <a:pt x="1684" y="527"/>
                    <a:pt x="1684" y="527"/>
                  </a:cubicBezTo>
                  <a:cubicBezTo>
                    <a:pt x="1684" y="528"/>
                    <a:pt x="1684" y="528"/>
                    <a:pt x="1684" y="528"/>
                  </a:cubicBezTo>
                  <a:cubicBezTo>
                    <a:pt x="1684" y="528"/>
                    <a:pt x="1684" y="528"/>
                    <a:pt x="1684" y="528"/>
                  </a:cubicBezTo>
                  <a:cubicBezTo>
                    <a:pt x="1684" y="528"/>
                    <a:pt x="1684" y="528"/>
                    <a:pt x="1684" y="528"/>
                  </a:cubicBezTo>
                  <a:cubicBezTo>
                    <a:pt x="1684" y="529"/>
                    <a:pt x="1683" y="530"/>
                    <a:pt x="1682" y="530"/>
                  </a:cubicBezTo>
                  <a:cubicBezTo>
                    <a:pt x="1682" y="530"/>
                    <a:pt x="1682" y="530"/>
                    <a:pt x="1682" y="530"/>
                  </a:cubicBezTo>
                  <a:cubicBezTo>
                    <a:pt x="1682" y="530"/>
                    <a:pt x="1682" y="530"/>
                    <a:pt x="1682" y="530"/>
                  </a:cubicBezTo>
                  <a:cubicBezTo>
                    <a:pt x="1682" y="530"/>
                    <a:pt x="1682" y="530"/>
                    <a:pt x="1682" y="530"/>
                  </a:cubicBezTo>
                  <a:cubicBezTo>
                    <a:pt x="1682" y="531"/>
                    <a:pt x="1682" y="531"/>
                    <a:pt x="1682" y="531"/>
                  </a:cubicBezTo>
                  <a:cubicBezTo>
                    <a:pt x="1681" y="531"/>
                    <a:pt x="1681" y="531"/>
                    <a:pt x="1681" y="531"/>
                  </a:cubicBezTo>
                  <a:cubicBezTo>
                    <a:pt x="1681" y="531"/>
                    <a:pt x="1681" y="531"/>
                    <a:pt x="1681" y="531"/>
                  </a:cubicBezTo>
                  <a:cubicBezTo>
                    <a:pt x="1681" y="531"/>
                    <a:pt x="1681" y="532"/>
                    <a:pt x="1680" y="532"/>
                  </a:cubicBezTo>
                  <a:cubicBezTo>
                    <a:pt x="1680" y="532"/>
                    <a:pt x="1680" y="532"/>
                    <a:pt x="1680" y="532"/>
                  </a:cubicBezTo>
                  <a:cubicBezTo>
                    <a:pt x="1680" y="532"/>
                    <a:pt x="1680" y="532"/>
                    <a:pt x="1680" y="532"/>
                  </a:cubicBezTo>
                  <a:cubicBezTo>
                    <a:pt x="1680" y="532"/>
                    <a:pt x="1680" y="532"/>
                    <a:pt x="1680" y="532"/>
                  </a:cubicBezTo>
                  <a:cubicBezTo>
                    <a:pt x="1679" y="532"/>
                    <a:pt x="1679" y="532"/>
                    <a:pt x="1679" y="532"/>
                  </a:cubicBezTo>
                  <a:cubicBezTo>
                    <a:pt x="1677" y="533"/>
                    <a:pt x="1676" y="532"/>
                    <a:pt x="1672" y="534"/>
                  </a:cubicBezTo>
                  <a:cubicBezTo>
                    <a:pt x="1672" y="534"/>
                    <a:pt x="1672" y="534"/>
                    <a:pt x="1672"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69" y="534"/>
                    <a:pt x="1669" y="534"/>
                    <a:pt x="1669" y="534"/>
                  </a:cubicBezTo>
                  <a:cubicBezTo>
                    <a:pt x="1669" y="535"/>
                    <a:pt x="1669" y="535"/>
                    <a:pt x="1668" y="535"/>
                  </a:cubicBezTo>
                  <a:cubicBezTo>
                    <a:pt x="1668" y="535"/>
                    <a:pt x="1668" y="535"/>
                    <a:pt x="1668" y="535"/>
                  </a:cubicBezTo>
                  <a:cubicBezTo>
                    <a:pt x="1668" y="535"/>
                    <a:pt x="1668" y="535"/>
                    <a:pt x="1668" y="535"/>
                  </a:cubicBezTo>
                  <a:cubicBezTo>
                    <a:pt x="1668" y="535"/>
                    <a:pt x="1668" y="535"/>
                    <a:pt x="1668" y="535"/>
                  </a:cubicBezTo>
                  <a:cubicBezTo>
                    <a:pt x="1667" y="536"/>
                    <a:pt x="1667" y="536"/>
                    <a:pt x="1665" y="536"/>
                  </a:cubicBezTo>
                  <a:cubicBezTo>
                    <a:pt x="1665" y="536"/>
                    <a:pt x="1665" y="536"/>
                    <a:pt x="1665" y="536"/>
                  </a:cubicBezTo>
                  <a:cubicBezTo>
                    <a:pt x="1665" y="536"/>
                    <a:pt x="1665" y="536"/>
                    <a:pt x="1665" y="536"/>
                  </a:cubicBezTo>
                  <a:cubicBezTo>
                    <a:pt x="1665" y="536"/>
                    <a:pt x="1665" y="536"/>
                    <a:pt x="1665" y="536"/>
                  </a:cubicBezTo>
                  <a:cubicBezTo>
                    <a:pt x="1665" y="536"/>
                    <a:pt x="1665" y="536"/>
                    <a:pt x="1665" y="536"/>
                  </a:cubicBezTo>
                  <a:cubicBezTo>
                    <a:pt x="1664" y="537"/>
                    <a:pt x="1664" y="538"/>
                    <a:pt x="1663" y="538"/>
                  </a:cubicBezTo>
                  <a:cubicBezTo>
                    <a:pt x="1663" y="538"/>
                    <a:pt x="1663" y="538"/>
                    <a:pt x="1663" y="538"/>
                  </a:cubicBezTo>
                  <a:cubicBezTo>
                    <a:pt x="1662" y="538"/>
                    <a:pt x="1662" y="538"/>
                    <a:pt x="1662" y="538"/>
                  </a:cubicBezTo>
                  <a:cubicBezTo>
                    <a:pt x="1662" y="539"/>
                    <a:pt x="1661" y="540"/>
                    <a:pt x="1660" y="540"/>
                  </a:cubicBezTo>
                  <a:cubicBezTo>
                    <a:pt x="1660" y="540"/>
                    <a:pt x="1660" y="540"/>
                    <a:pt x="1660" y="540"/>
                  </a:cubicBezTo>
                  <a:cubicBezTo>
                    <a:pt x="1660" y="540"/>
                    <a:pt x="1660" y="540"/>
                    <a:pt x="1660" y="540"/>
                  </a:cubicBezTo>
                  <a:cubicBezTo>
                    <a:pt x="1659" y="540"/>
                    <a:pt x="1659" y="540"/>
                    <a:pt x="1659" y="540"/>
                  </a:cubicBezTo>
                  <a:cubicBezTo>
                    <a:pt x="1659" y="540"/>
                    <a:pt x="1659" y="540"/>
                    <a:pt x="1659" y="540"/>
                  </a:cubicBezTo>
                  <a:cubicBezTo>
                    <a:pt x="1659" y="540"/>
                    <a:pt x="1659" y="540"/>
                    <a:pt x="1659" y="540"/>
                  </a:cubicBezTo>
                  <a:cubicBezTo>
                    <a:pt x="1659" y="540"/>
                    <a:pt x="1659" y="540"/>
                    <a:pt x="1659" y="540"/>
                  </a:cubicBezTo>
                  <a:cubicBezTo>
                    <a:pt x="1660" y="540"/>
                    <a:pt x="1660" y="540"/>
                    <a:pt x="1660" y="540"/>
                  </a:cubicBezTo>
                  <a:cubicBezTo>
                    <a:pt x="1661" y="539"/>
                    <a:pt x="1661" y="539"/>
                    <a:pt x="1661" y="539"/>
                  </a:cubicBezTo>
                  <a:cubicBezTo>
                    <a:pt x="1661" y="539"/>
                    <a:pt x="1661" y="539"/>
                    <a:pt x="1661" y="539"/>
                  </a:cubicBezTo>
                  <a:cubicBezTo>
                    <a:pt x="1665" y="535"/>
                    <a:pt x="1666" y="537"/>
                    <a:pt x="1668" y="534"/>
                  </a:cubicBezTo>
                  <a:cubicBezTo>
                    <a:pt x="1668" y="534"/>
                    <a:pt x="1668" y="534"/>
                    <a:pt x="1668" y="534"/>
                  </a:cubicBezTo>
                  <a:cubicBezTo>
                    <a:pt x="1668" y="534"/>
                    <a:pt x="1668" y="534"/>
                    <a:pt x="1668" y="534"/>
                  </a:cubicBezTo>
                  <a:cubicBezTo>
                    <a:pt x="1668" y="534"/>
                    <a:pt x="1668" y="534"/>
                    <a:pt x="1668" y="534"/>
                  </a:cubicBezTo>
                  <a:cubicBezTo>
                    <a:pt x="1669" y="534"/>
                    <a:pt x="1669" y="534"/>
                    <a:pt x="1669" y="534"/>
                  </a:cubicBezTo>
                  <a:cubicBezTo>
                    <a:pt x="1669" y="534"/>
                    <a:pt x="1670" y="534"/>
                    <a:pt x="1670" y="534"/>
                  </a:cubicBezTo>
                  <a:cubicBezTo>
                    <a:pt x="1670" y="534"/>
                    <a:pt x="1670" y="534"/>
                    <a:pt x="1670" y="534"/>
                  </a:cubicBezTo>
                  <a:cubicBezTo>
                    <a:pt x="1670" y="534"/>
                    <a:pt x="1670" y="534"/>
                    <a:pt x="1670" y="534"/>
                  </a:cubicBezTo>
                  <a:cubicBezTo>
                    <a:pt x="1671" y="533"/>
                    <a:pt x="1671" y="533"/>
                    <a:pt x="1672" y="533"/>
                  </a:cubicBezTo>
                  <a:cubicBezTo>
                    <a:pt x="1672" y="533"/>
                    <a:pt x="1672" y="533"/>
                    <a:pt x="1672" y="533"/>
                  </a:cubicBezTo>
                  <a:cubicBezTo>
                    <a:pt x="1672" y="533"/>
                    <a:pt x="1672" y="533"/>
                    <a:pt x="1672" y="533"/>
                  </a:cubicBezTo>
                  <a:cubicBezTo>
                    <a:pt x="1672" y="533"/>
                    <a:pt x="1672" y="533"/>
                    <a:pt x="1672" y="533"/>
                  </a:cubicBezTo>
                  <a:cubicBezTo>
                    <a:pt x="1674" y="532"/>
                    <a:pt x="1674" y="532"/>
                    <a:pt x="1676" y="532"/>
                  </a:cubicBezTo>
                  <a:cubicBezTo>
                    <a:pt x="1676" y="532"/>
                    <a:pt x="1676" y="532"/>
                    <a:pt x="1676" y="532"/>
                  </a:cubicBezTo>
                  <a:cubicBezTo>
                    <a:pt x="1676" y="532"/>
                    <a:pt x="1676" y="532"/>
                    <a:pt x="1676" y="532"/>
                  </a:cubicBezTo>
                  <a:cubicBezTo>
                    <a:pt x="1676" y="532"/>
                    <a:pt x="1676" y="532"/>
                    <a:pt x="1676" y="532"/>
                  </a:cubicBezTo>
                  <a:cubicBezTo>
                    <a:pt x="1677" y="532"/>
                    <a:pt x="1677" y="532"/>
                    <a:pt x="1677" y="532"/>
                  </a:cubicBezTo>
                  <a:cubicBezTo>
                    <a:pt x="1677" y="532"/>
                    <a:pt x="1677" y="532"/>
                    <a:pt x="1677" y="532"/>
                  </a:cubicBezTo>
                  <a:cubicBezTo>
                    <a:pt x="1677" y="532"/>
                    <a:pt x="1677" y="532"/>
                    <a:pt x="1677" y="532"/>
                  </a:cubicBezTo>
                  <a:cubicBezTo>
                    <a:pt x="1679" y="531"/>
                    <a:pt x="1679" y="532"/>
                    <a:pt x="1681" y="530"/>
                  </a:cubicBezTo>
                  <a:cubicBezTo>
                    <a:pt x="1681" y="530"/>
                    <a:pt x="1681" y="530"/>
                    <a:pt x="1681" y="530"/>
                  </a:cubicBezTo>
                  <a:cubicBezTo>
                    <a:pt x="1681" y="530"/>
                    <a:pt x="1681" y="530"/>
                    <a:pt x="1681" y="530"/>
                  </a:cubicBezTo>
                  <a:cubicBezTo>
                    <a:pt x="1681" y="530"/>
                    <a:pt x="1681" y="530"/>
                    <a:pt x="1681" y="530"/>
                  </a:cubicBezTo>
                  <a:cubicBezTo>
                    <a:pt x="1681" y="530"/>
                    <a:pt x="1681" y="529"/>
                    <a:pt x="1682" y="529"/>
                  </a:cubicBezTo>
                  <a:cubicBezTo>
                    <a:pt x="1682" y="529"/>
                    <a:pt x="1682" y="529"/>
                    <a:pt x="1682" y="529"/>
                  </a:cubicBezTo>
                  <a:cubicBezTo>
                    <a:pt x="1682" y="529"/>
                    <a:pt x="1682" y="529"/>
                    <a:pt x="1682" y="529"/>
                  </a:cubicBezTo>
                  <a:cubicBezTo>
                    <a:pt x="1682" y="529"/>
                    <a:pt x="1683" y="529"/>
                    <a:pt x="1683" y="528"/>
                  </a:cubicBezTo>
                  <a:cubicBezTo>
                    <a:pt x="1683" y="528"/>
                    <a:pt x="1683" y="528"/>
                    <a:pt x="1683" y="528"/>
                  </a:cubicBezTo>
                  <a:cubicBezTo>
                    <a:pt x="1683" y="528"/>
                    <a:pt x="1683" y="528"/>
                    <a:pt x="1683" y="528"/>
                  </a:cubicBezTo>
                  <a:cubicBezTo>
                    <a:pt x="1683" y="527"/>
                    <a:pt x="1683" y="527"/>
                    <a:pt x="1683" y="527"/>
                  </a:cubicBezTo>
                  <a:cubicBezTo>
                    <a:pt x="1683" y="527"/>
                    <a:pt x="1683" y="527"/>
                    <a:pt x="1683" y="527"/>
                  </a:cubicBezTo>
                  <a:cubicBezTo>
                    <a:pt x="1683" y="527"/>
                    <a:pt x="1683" y="527"/>
                    <a:pt x="1683" y="527"/>
                  </a:cubicBezTo>
                  <a:cubicBezTo>
                    <a:pt x="1683" y="527"/>
                    <a:pt x="1683" y="527"/>
                    <a:pt x="1683" y="527"/>
                  </a:cubicBezTo>
                  <a:cubicBezTo>
                    <a:pt x="1683" y="526"/>
                    <a:pt x="1683" y="526"/>
                    <a:pt x="1683" y="525"/>
                  </a:cubicBezTo>
                  <a:cubicBezTo>
                    <a:pt x="1683" y="525"/>
                    <a:pt x="1683" y="525"/>
                    <a:pt x="1683" y="525"/>
                  </a:cubicBezTo>
                  <a:cubicBezTo>
                    <a:pt x="1683" y="525"/>
                    <a:pt x="1683" y="525"/>
                    <a:pt x="1683" y="525"/>
                  </a:cubicBezTo>
                  <a:cubicBezTo>
                    <a:pt x="1684" y="524"/>
                    <a:pt x="1684" y="524"/>
                    <a:pt x="1684" y="524"/>
                  </a:cubicBezTo>
                  <a:cubicBezTo>
                    <a:pt x="1684" y="523"/>
                    <a:pt x="1684" y="523"/>
                    <a:pt x="1684" y="523"/>
                  </a:cubicBezTo>
                  <a:cubicBezTo>
                    <a:pt x="1684" y="523"/>
                    <a:pt x="1684" y="523"/>
                    <a:pt x="1684" y="523"/>
                  </a:cubicBezTo>
                  <a:cubicBezTo>
                    <a:pt x="1684" y="523"/>
                    <a:pt x="1684" y="523"/>
                    <a:pt x="1684" y="523"/>
                  </a:cubicBezTo>
                  <a:cubicBezTo>
                    <a:pt x="1684" y="523"/>
                    <a:pt x="1684" y="523"/>
                    <a:pt x="1684" y="523"/>
                  </a:cubicBezTo>
                  <a:cubicBezTo>
                    <a:pt x="1684" y="523"/>
                    <a:pt x="1685" y="522"/>
                    <a:pt x="1685" y="522"/>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0"/>
                    <a:pt x="1685" y="520"/>
                    <a:pt x="1685" y="520"/>
                  </a:cubicBezTo>
                  <a:cubicBezTo>
                    <a:pt x="1685" y="520"/>
                    <a:pt x="1685" y="520"/>
                    <a:pt x="1685" y="520"/>
                  </a:cubicBezTo>
                  <a:cubicBezTo>
                    <a:pt x="1685" y="520"/>
                    <a:pt x="1685" y="520"/>
                    <a:pt x="1685" y="520"/>
                  </a:cubicBezTo>
                  <a:cubicBezTo>
                    <a:pt x="1686" y="520"/>
                    <a:pt x="1686" y="520"/>
                    <a:pt x="1686" y="520"/>
                  </a:cubicBezTo>
                  <a:cubicBezTo>
                    <a:pt x="1686" y="520"/>
                    <a:pt x="1686" y="520"/>
                    <a:pt x="1686" y="520"/>
                  </a:cubicBezTo>
                  <a:cubicBezTo>
                    <a:pt x="1686" y="520"/>
                    <a:pt x="1686" y="520"/>
                    <a:pt x="1686" y="520"/>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8"/>
                    <a:pt x="1686" y="518"/>
                    <a:pt x="1686" y="517"/>
                  </a:cubicBezTo>
                  <a:cubicBezTo>
                    <a:pt x="1686" y="517"/>
                    <a:pt x="1686" y="517"/>
                    <a:pt x="1686" y="517"/>
                  </a:cubicBezTo>
                  <a:cubicBezTo>
                    <a:pt x="1686" y="517"/>
                    <a:pt x="1686" y="517"/>
                    <a:pt x="1686" y="517"/>
                  </a:cubicBezTo>
                  <a:cubicBezTo>
                    <a:pt x="1686" y="516"/>
                    <a:pt x="1686" y="516"/>
                    <a:pt x="1686" y="515"/>
                  </a:cubicBezTo>
                  <a:cubicBezTo>
                    <a:pt x="1686" y="515"/>
                    <a:pt x="1686" y="515"/>
                    <a:pt x="1686" y="515"/>
                  </a:cubicBezTo>
                  <a:cubicBezTo>
                    <a:pt x="1686" y="515"/>
                    <a:pt x="1686" y="515"/>
                    <a:pt x="1686" y="515"/>
                  </a:cubicBezTo>
                  <a:cubicBezTo>
                    <a:pt x="1686" y="515"/>
                    <a:pt x="1686" y="515"/>
                    <a:pt x="1686" y="515"/>
                  </a:cubicBezTo>
                  <a:cubicBezTo>
                    <a:pt x="1686" y="514"/>
                    <a:pt x="1686" y="514"/>
                    <a:pt x="1686" y="514"/>
                  </a:cubicBezTo>
                  <a:cubicBezTo>
                    <a:pt x="1685" y="512"/>
                    <a:pt x="1685" y="512"/>
                    <a:pt x="1685" y="512"/>
                  </a:cubicBezTo>
                  <a:cubicBezTo>
                    <a:pt x="1684" y="509"/>
                    <a:pt x="1684" y="509"/>
                    <a:pt x="1684" y="509"/>
                  </a:cubicBezTo>
                  <a:cubicBezTo>
                    <a:pt x="1683" y="507"/>
                    <a:pt x="1683" y="507"/>
                    <a:pt x="1683" y="507"/>
                  </a:cubicBezTo>
                  <a:cubicBezTo>
                    <a:pt x="1683" y="507"/>
                    <a:pt x="1683" y="507"/>
                    <a:pt x="1683" y="507"/>
                  </a:cubicBezTo>
                  <a:cubicBezTo>
                    <a:pt x="1683" y="506"/>
                    <a:pt x="1683" y="506"/>
                    <a:pt x="1683" y="506"/>
                  </a:cubicBezTo>
                  <a:cubicBezTo>
                    <a:pt x="1682" y="506"/>
                    <a:pt x="1682" y="506"/>
                    <a:pt x="1682" y="506"/>
                  </a:cubicBezTo>
                  <a:cubicBezTo>
                    <a:pt x="1682" y="506"/>
                    <a:pt x="1682" y="506"/>
                    <a:pt x="1682" y="506"/>
                  </a:cubicBezTo>
                  <a:cubicBezTo>
                    <a:pt x="1682" y="506"/>
                    <a:pt x="1682" y="506"/>
                    <a:pt x="1682" y="506"/>
                  </a:cubicBezTo>
                  <a:cubicBezTo>
                    <a:pt x="1682" y="505"/>
                    <a:pt x="1682" y="505"/>
                    <a:pt x="1682" y="505"/>
                  </a:cubicBezTo>
                  <a:cubicBezTo>
                    <a:pt x="1682" y="505"/>
                    <a:pt x="1682" y="505"/>
                    <a:pt x="1682" y="505"/>
                  </a:cubicBezTo>
                  <a:cubicBezTo>
                    <a:pt x="1681" y="505"/>
                    <a:pt x="1681" y="505"/>
                    <a:pt x="1681" y="505"/>
                  </a:cubicBezTo>
                  <a:cubicBezTo>
                    <a:pt x="1679" y="504"/>
                    <a:pt x="1679" y="504"/>
                    <a:pt x="1679" y="504"/>
                  </a:cubicBezTo>
                  <a:cubicBezTo>
                    <a:pt x="1675" y="503"/>
                    <a:pt x="1675" y="503"/>
                    <a:pt x="1675" y="503"/>
                  </a:cubicBezTo>
                  <a:cubicBezTo>
                    <a:pt x="1673" y="502"/>
                    <a:pt x="1673" y="502"/>
                    <a:pt x="1673" y="502"/>
                  </a:cubicBezTo>
                  <a:cubicBezTo>
                    <a:pt x="1672" y="502"/>
                    <a:pt x="1672" y="502"/>
                    <a:pt x="1672" y="502"/>
                  </a:cubicBezTo>
                  <a:cubicBezTo>
                    <a:pt x="1672" y="502"/>
                    <a:pt x="1672" y="502"/>
                    <a:pt x="1672" y="502"/>
                  </a:cubicBezTo>
                  <a:cubicBezTo>
                    <a:pt x="1672" y="502"/>
                    <a:pt x="1672" y="502"/>
                    <a:pt x="1672" y="502"/>
                  </a:cubicBezTo>
                  <a:cubicBezTo>
                    <a:pt x="1671" y="502"/>
                    <a:pt x="1671" y="502"/>
                    <a:pt x="1671" y="502"/>
                  </a:cubicBezTo>
                  <a:cubicBezTo>
                    <a:pt x="1671" y="502"/>
                    <a:pt x="1671" y="502"/>
                    <a:pt x="1671" y="502"/>
                  </a:cubicBezTo>
                  <a:cubicBezTo>
                    <a:pt x="1671" y="502"/>
                    <a:pt x="1671" y="502"/>
                    <a:pt x="1671" y="502"/>
                  </a:cubicBezTo>
                  <a:cubicBezTo>
                    <a:pt x="1671" y="503"/>
                    <a:pt x="1671" y="503"/>
                    <a:pt x="1671" y="503"/>
                  </a:cubicBezTo>
                  <a:cubicBezTo>
                    <a:pt x="1671" y="503"/>
                    <a:pt x="1671" y="503"/>
                    <a:pt x="1671" y="503"/>
                  </a:cubicBezTo>
                  <a:cubicBezTo>
                    <a:pt x="1671" y="503"/>
                    <a:pt x="1671" y="503"/>
                    <a:pt x="1671" y="503"/>
                  </a:cubicBezTo>
                  <a:cubicBezTo>
                    <a:pt x="1670" y="503"/>
                    <a:pt x="1670" y="503"/>
                    <a:pt x="1670" y="503"/>
                  </a:cubicBezTo>
                  <a:cubicBezTo>
                    <a:pt x="1668" y="503"/>
                    <a:pt x="1668" y="502"/>
                    <a:pt x="1665" y="502"/>
                  </a:cubicBezTo>
                  <a:cubicBezTo>
                    <a:pt x="1665" y="502"/>
                    <a:pt x="1665" y="502"/>
                    <a:pt x="1665" y="502"/>
                  </a:cubicBezTo>
                  <a:cubicBezTo>
                    <a:pt x="1665" y="502"/>
                    <a:pt x="1665" y="502"/>
                    <a:pt x="1665" y="502"/>
                  </a:cubicBezTo>
                  <a:cubicBezTo>
                    <a:pt x="1665" y="502"/>
                    <a:pt x="1665" y="502"/>
                    <a:pt x="1665" y="502"/>
                  </a:cubicBezTo>
                  <a:cubicBezTo>
                    <a:pt x="1664" y="502"/>
                    <a:pt x="1664" y="502"/>
                    <a:pt x="1663" y="502"/>
                  </a:cubicBezTo>
                  <a:cubicBezTo>
                    <a:pt x="1663" y="502"/>
                    <a:pt x="1663" y="502"/>
                    <a:pt x="1663" y="502"/>
                  </a:cubicBezTo>
                  <a:cubicBezTo>
                    <a:pt x="1663" y="502"/>
                    <a:pt x="1663" y="502"/>
                    <a:pt x="1663" y="502"/>
                  </a:cubicBezTo>
                  <a:cubicBezTo>
                    <a:pt x="1662" y="503"/>
                    <a:pt x="1662" y="502"/>
                    <a:pt x="1661" y="502"/>
                  </a:cubicBezTo>
                  <a:cubicBezTo>
                    <a:pt x="1661" y="502"/>
                    <a:pt x="1661" y="502"/>
                    <a:pt x="1661" y="502"/>
                  </a:cubicBezTo>
                  <a:cubicBezTo>
                    <a:pt x="1661" y="502"/>
                    <a:pt x="1661" y="502"/>
                    <a:pt x="1661" y="502"/>
                  </a:cubicBezTo>
                  <a:cubicBezTo>
                    <a:pt x="1661" y="503"/>
                    <a:pt x="1661" y="503"/>
                    <a:pt x="1661" y="503"/>
                  </a:cubicBezTo>
                  <a:cubicBezTo>
                    <a:pt x="1661" y="503"/>
                    <a:pt x="1661" y="503"/>
                    <a:pt x="1661" y="503"/>
                  </a:cubicBezTo>
                  <a:cubicBezTo>
                    <a:pt x="1661" y="503"/>
                    <a:pt x="1661" y="503"/>
                    <a:pt x="1661" y="503"/>
                  </a:cubicBezTo>
                  <a:cubicBezTo>
                    <a:pt x="1661" y="503"/>
                    <a:pt x="1661" y="503"/>
                    <a:pt x="1661" y="503"/>
                  </a:cubicBezTo>
                  <a:cubicBezTo>
                    <a:pt x="1660" y="503"/>
                    <a:pt x="1660" y="503"/>
                    <a:pt x="1660" y="503"/>
                  </a:cubicBezTo>
                  <a:cubicBezTo>
                    <a:pt x="1660" y="503"/>
                    <a:pt x="1660" y="503"/>
                    <a:pt x="1660" y="503"/>
                  </a:cubicBezTo>
                  <a:cubicBezTo>
                    <a:pt x="1660" y="503"/>
                    <a:pt x="1659" y="503"/>
                    <a:pt x="1659" y="503"/>
                  </a:cubicBezTo>
                  <a:cubicBezTo>
                    <a:pt x="1659" y="503"/>
                    <a:pt x="1659" y="503"/>
                    <a:pt x="1659" y="503"/>
                  </a:cubicBezTo>
                  <a:cubicBezTo>
                    <a:pt x="1659" y="504"/>
                    <a:pt x="1659" y="504"/>
                    <a:pt x="1659" y="504"/>
                  </a:cubicBezTo>
                  <a:cubicBezTo>
                    <a:pt x="1658" y="504"/>
                    <a:pt x="1658" y="504"/>
                    <a:pt x="1658" y="505"/>
                  </a:cubicBezTo>
                  <a:cubicBezTo>
                    <a:pt x="1658" y="505"/>
                    <a:pt x="1658" y="505"/>
                    <a:pt x="1658" y="505"/>
                  </a:cubicBezTo>
                  <a:cubicBezTo>
                    <a:pt x="1658" y="505"/>
                    <a:pt x="1658" y="505"/>
                    <a:pt x="1658" y="505"/>
                  </a:cubicBezTo>
                  <a:cubicBezTo>
                    <a:pt x="1658" y="505"/>
                    <a:pt x="1658" y="505"/>
                    <a:pt x="1658" y="505"/>
                  </a:cubicBezTo>
                  <a:cubicBezTo>
                    <a:pt x="1658" y="505"/>
                    <a:pt x="1658" y="505"/>
                    <a:pt x="1658" y="505"/>
                  </a:cubicBezTo>
                  <a:cubicBezTo>
                    <a:pt x="1657" y="505"/>
                    <a:pt x="1657" y="505"/>
                    <a:pt x="1657" y="506"/>
                  </a:cubicBezTo>
                  <a:cubicBezTo>
                    <a:pt x="1656" y="506"/>
                    <a:pt x="1656" y="506"/>
                    <a:pt x="1656" y="506"/>
                  </a:cubicBezTo>
                  <a:cubicBezTo>
                    <a:pt x="1656" y="506"/>
                    <a:pt x="1656" y="506"/>
                    <a:pt x="1656" y="506"/>
                  </a:cubicBezTo>
                  <a:cubicBezTo>
                    <a:pt x="1656" y="507"/>
                    <a:pt x="1656" y="506"/>
                    <a:pt x="1655" y="506"/>
                  </a:cubicBezTo>
                  <a:cubicBezTo>
                    <a:pt x="1655" y="506"/>
                    <a:pt x="1655" y="506"/>
                    <a:pt x="1655" y="506"/>
                  </a:cubicBezTo>
                  <a:cubicBezTo>
                    <a:pt x="1654" y="507"/>
                    <a:pt x="1654" y="507"/>
                    <a:pt x="1654" y="507"/>
                  </a:cubicBezTo>
                  <a:cubicBezTo>
                    <a:pt x="1654" y="507"/>
                    <a:pt x="1654" y="507"/>
                    <a:pt x="1654" y="507"/>
                  </a:cubicBezTo>
                  <a:cubicBezTo>
                    <a:pt x="1654" y="507"/>
                    <a:pt x="1654" y="507"/>
                    <a:pt x="1654" y="507"/>
                  </a:cubicBezTo>
                  <a:cubicBezTo>
                    <a:pt x="1654" y="507"/>
                    <a:pt x="1654" y="507"/>
                    <a:pt x="1654" y="507"/>
                  </a:cubicBezTo>
                  <a:cubicBezTo>
                    <a:pt x="1652" y="508"/>
                    <a:pt x="1653" y="509"/>
                    <a:pt x="1652" y="509"/>
                  </a:cubicBezTo>
                  <a:cubicBezTo>
                    <a:pt x="1652" y="509"/>
                    <a:pt x="1652" y="509"/>
                    <a:pt x="1652" y="509"/>
                  </a:cubicBezTo>
                  <a:cubicBezTo>
                    <a:pt x="1652" y="509"/>
                    <a:pt x="1652" y="509"/>
                    <a:pt x="1652" y="509"/>
                  </a:cubicBezTo>
                  <a:cubicBezTo>
                    <a:pt x="1652" y="509"/>
                    <a:pt x="1652" y="509"/>
                    <a:pt x="1652" y="509"/>
                  </a:cubicBezTo>
                  <a:cubicBezTo>
                    <a:pt x="1651" y="509"/>
                    <a:pt x="1651" y="509"/>
                    <a:pt x="1651" y="509"/>
                  </a:cubicBezTo>
                  <a:cubicBezTo>
                    <a:pt x="1651" y="509"/>
                    <a:pt x="1651" y="509"/>
                    <a:pt x="1651" y="509"/>
                  </a:cubicBezTo>
                  <a:cubicBezTo>
                    <a:pt x="1651" y="509"/>
                    <a:pt x="1651" y="509"/>
                    <a:pt x="1651" y="509"/>
                  </a:cubicBezTo>
                  <a:cubicBezTo>
                    <a:pt x="1651" y="509"/>
                    <a:pt x="1651" y="509"/>
                    <a:pt x="1651" y="509"/>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0" y="511"/>
                    <a:pt x="1650" y="511"/>
                    <a:pt x="1649" y="512"/>
                  </a:cubicBezTo>
                  <a:cubicBezTo>
                    <a:pt x="1649" y="512"/>
                    <a:pt x="1649" y="512"/>
                    <a:pt x="1649" y="512"/>
                  </a:cubicBezTo>
                  <a:cubicBezTo>
                    <a:pt x="1649" y="512"/>
                    <a:pt x="1649" y="512"/>
                    <a:pt x="1649" y="512"/>
                  </a:cubicBezTo>
                  <a:cubicBezTo>
                    <a:pt x="1649" y="512"/>
                    <a:pt x="1649" y="512"/>
                    <a:pt x="1649" y="512"/>
                  </a:cubicBezTo>
                  <a:cubicBezTo>
                    <a:pt x="1649" y="512"/>
                    <a:pt x="1649" y="512"/>
                    <a:pt x="1649" y="512"/>
                  </a:cubicBezTo>
                  <a:cubicBezTo>
                    <a:pt x="1649" y="512"/>
                    <a:pt x="1649" y="512"/>
                    <a:pt x="1649" y="512"/>
                  </a:cubicBezTo>
                  <a:cubicBezTo>
                    <a:pt x="1649" y="513"/>
                    <a:pt x="1649" y="513"/>
                    <a:pt x="1649" y="513"/>
                  </a:cubicBezTo>
                  <a:cubicBezTo>
                    <a:pt x="1648" y="512"/>
                    <a:pt x="1648" y="512"/>
                    <a:pt x="1648" y="512"/>
                  </a:cubicBezTo>
                  <a:cubicBezTo>
                    <a:pt x="1647" y="511"/>
                    <a:pt x="1647" y="511"/>
                    <a:pt x="1647" y="511"/>
                  </a:cubicBezTo>
                  <a:cubicBezTo>
                    <a:pt x="1645" y="509"/>
                    <a:pt x="1645" y="509"/>
                    <a:pt x="1645" y="509"/>
                  </a:cubicBezTo>
                  <a:cubicBezTo>
                    <a:pt x="1644" y="508"/>
                    <a:pt x="1644" y="508"/>
                    <a:pt x="1644" y="508"/>
                  </a:cubicBezTo>
                  <a:cubicBezTo>
                    <a:pt x="1643" y="508"/>
                    <a:pt x="1643" y="508"/>
                    <a:pt x="1643" y="508"/>
                  </a:cubicBezTo>
                  <a:cubicBezTo>
                    <a:pt x="1643" y="507"/>
                    <a:pt x="1643" y="507"/>
                    <a:pt x="1643" y="507"/>
                  </a:cubicBezTo>
                  <a:cubicBezTo>
                    <a:pt x="1643" y="507"/>
                    <a:pt x="1643" y="507"/>
                    <a:pt x="1643" y="507"/>
                  </a:cubicBezTo>
                  <a:cubicBezTo>
                    <a:pt x="1643" y="507"/>
                    <a:pt x="1643" y="507"/>
                    <a:pt x="1643" y="507"/>
                  </a:cubicBezTo>
                  <a:cubicBezTo>
                    <a:pt x="1643" y="507"/>
                    <a:pt x="1643" y="507"/>
                    <a:pt x="1643" y="507"/>
                  </a:cubicBezTo>
                  <a:cubicBezTo>
                    <a:pt x="1643" y="507"/>
                    <a:pt x="1643" y="507"/>
                    <a:pt x="1643" y="507"/>
                  </a:cubicBezTo>
                  <a:cubicBezTo>
                    <a:pt x="1642" y="507"/>
                    <a:pt x="1642" y="507"/>
                    <a:pt x="1642" y="507"/>
                  </a:cubicBezTo>
                  <a:cubicBezTo>
                    <a:pt x="1642" y="507"/>
                    <a:pt x="1642" y="507"/>
                    <a:pt x="1642" y="507"/>
                  </a:cubicBezTo>
                  <a:cubicBezTo>
                    <a:pt x="1642" y="507"/>
                    <a:pt x="1642" y="507"/>
                    <a:pt x="1642" y="507"/>
                  </a:cubicBezTo>
                  <a:cubicBezTo>
                    <a:pt x="1641" y="507"/>
                    <a:pt x="1641" y="507"/>
                    <a:pt x="1641" y="507"/>
                  </a:cubicBezTo>
                  <a:cubicBezTo>
                    <a:pt x="1641" y="507"/>
                    <a:pt x="1641" y="507"/>
                    <a:pt x="1641" y="507"/>
                  </a:cubicBezTo>
                  <a:cubicBezTo>
                    <a:pt x="1641" y="507"/>
                    <a:pt x="1641" y="507"/>
                    <a:pt x="1641" y="507"/>
                  </a:cubicBezTo>
                  <a:cubicBezTo>
                    <a:pt x="1641" y="507"/>
                    <a:pt x="1641" y="507"/>
                    <a:pt x="1641" y="507"/>
                  </a:cubicBezTo>
                  <a:cubicBezTo>
                    <a:pt x="1640" y="506"/>
                    <a:pt x="1640" y="506"/>
                    <a:pt x="1640" y="506"/>
                  </a:cubicBezTo>
                  <a:cubicBezTo>
                    <a:pt x="1640" y="506"/>
                    <a:pt x="1640" y="506"/>
                    <a:pt x="1640" y="506"/>
                  </a:cubicBezTo>
                  <a:cubicBezTo>
                    <a:pt x="1640" y="506"/>
                    <a:pt x="1640" y="506"/>
                    <a:pt x="1640" y="506"/>
                  </a:cubicBezTo>
                  <a:cubicBezTo>
                    <a:pt x="1639" y="506"/>
                    <a:pt x="1639" y="506"/>
                    <a:pt x="1639" y="506"/>
                  </a:cubicBezTo>
                  <a:cubicBezTo>
                    <a:pt x="1639" y="506"/>
                    <a:pt x="1639" y="506"/>
                    <a:pt x="1639" y="506"/>
                  </a:cubicBezTo>
                  <a:cubicBezTo>
                    <a:pt x="1639" y="506"/>
                    <a:pt x="1639" y="506"/>
                    <a:pt x="1639" y="506"/>
                  </a:cubicBezTo>
                  <a:cubicBezTo>
                    <a:pt x="1640" y="506"/>
                    <a:pt x="1640" y="506"/>
                    <a:pt x="1640" y="506"/>
                  </a:cubicBezTo>
                  <a:cubicBezTo>
                    <a:pt x="1641" y="506"/>
                    <a:pt x="1643" y="506"/>
                    <a:pt x="1643" y="505"/>
                  </a:cubicBezTo>
                  <a:cubicBezTo>
                    <a:pt x="1644" y="505"/>
                    <a:pt x="1644" y="505"/>
                    <a:pt x="1644" y="505"/>
                  </a:cubicBezTo>
                  <a:cubicBezTo>
                    <a:pt x="1644" y="505"/>
                    <a:pt x="1644" y="505"/>
                    <a:pt x="1644" y="505"/>
                  </a:cubicBezTo>
                  <a:cubicBezTo>
                    <a:pt x="1644" y="505"/>
                    <a:pt x="1644" y="505"/>
                    <a:pt x="1644" y="505"/>
                  </a:cubicBezTo>
                  <a:cubicBezTo>
                    <a:pt x="1644" y="505"/>
                    <a:pt x="1644" y="505"/>
                    <a:pt x="1645" y="505"/>
                  </a:cubicBezTo>
                  <a:cubicBezTo>
                    <a:pt x="1645" y="505"/>
                    <a:pt x="1645" y="505"/>
                    <a:pt x="1645" y="505"/>
                  </a:cubicBezTo>
                  <a:cubicBezTo>
                    <a:pt x="1645" y="505"/>
                    <a:pt x="1645" y="505"/>
                    <a:pt x="1645" y="505"/>
                  </a:cubicBezTo>
                  <a:cubicBezTo>
                    <a:pt x="1646" y="505"/>
                    <a:pt x="1646" y="505"/>
                    <a:pt x="1646" y="505"/>
                  </a:cubicBezTo>
                  <a:cubicBezTo>
                    <a:pt x="1647" y="505"/>
                    <a:pt x="1647" y="505"/>
                    <a:pt x="1647" y="505"/>
                  </a:cubicBezTo>
                  <a:cubicBezTo>
                    <a:pt x="1647" y="505"/>
                    <a:pt x="1647" y="505"/>
                    <a:pt x="1647" y="505"/>
                  </a:cubicBezTo>
                  <a:cubicBezTo>
                    <a:pt x="1647" y="504"/>
                    <a:pt x="1647" y="504"/>
                    <a:pt x="1647" y="504"/>
                  </a:cubicBezTo>
                  <a:cubicBezTo>
                    <a:pt x="1647" y="504"/>
                    <a:pt x="1647" y="504"/>
                    <a:pt x="1647" y="504"/>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8" y="503"/>
                    <a:pt x="1648" y="503"/>
                    <a:pt x="1648" y="503"/>
                  </a:cubicBezTo>
                  <a:cubicBezTo>
                    <a:pt x="1648" y="504"/>
                    <a:pt x="1648" y="504"/>
                    <a:pt x="1648" y="504"/>
                  </a:cubicBezTo>
                  <a:cubicBezTo>
                    <a:pt x="1648" y="504"/>
                    <a:pt x="1648" y="504"/>
                    <a:pt x="1648" y="504"/>
                  </a:cubicBezTo>
                  <a:cubicBezTo>
                    <a:pt x="1648" y="504"/>
                    <a:pt x="1648" y="504"/>
                    <a:pt x="1648" y="504"/>
                  </a:cubicBezTo>
                  <a:cubicBezTo>
                    <a:pt x="1648" y="504"/>
                    <a:pt x="1648" y="504"/>
                    <a:pt x="1648" y="505"/>
                  </a:cubicBezTo>
                  <a:cubicBezTo>
                    <a:pt x="1649" y="505"/>
                    <a:pt x="1649" y="505"/>
                    <a:pt x="1649" y="505"/>
                  </a:cubicBezTo>
                  <a:cubicBezTo>
                    <a:pt x="1649" y="505"/>
                    <a:pt x="1649" y="505"/>
                    <a:pt x="1649" y="505"/>
                  </a:cubicBezTo>
                  <a:cubicBezTo>
                    <a:pt x="1649" y="505"/>
                    <a:pt x="1649" y="505"/>
                    <a:pt x="1649" y="505"/>
                  </a:cubicBezTo>
                  <a:cubicBezTo>
                    <a:pt x="1649" y="505"/>
                    <a:pt x="1649" y="505"/>
                    <a:pt x="1649" y="505"/>
                  </a:cubicBezTo>
                  <a:cubicBezTo>
                    <a:pt x="1649" y="505"/>
                    <a:pt x="1649" y="505"/>
                    <a:pt x="1649" y="505"/>
                  </a:cubicBezTo>
                  <a:cubicBezTo>
                    <a:pt x="1649" y="504"/>
                    <a:pt x="1649" y="504"/>
                    <a:pt x="1649" y="504"/>
                  </a:cubicBezTo>
                  <a:cubicBezTo>
                    <a:pt x="1649" y="504"/>
                    <a:pt x="1649" y="504"/>
                    <a:pt x="1649" y="504"/>
                  </a:cubicBezTo>
                  <a:cubicBezTo>
                    <a:pt x="1649" y="504"/>
                    <a:pt x="1649" y="504"/>
                    <a:pt x="1649" y="504"/>
                  </a:cubicBezTo>
                  <a:cubicBezTo>
                    <a:pt x="1649" y="503"/>
                    <a:pt x="1649" y="503"/>
                    <a:pt x="1649" y="503"/>
                  </a:cubicBezTo>
                  <a:cubicBezTo>
                    <a:pt x="1649" y="503"/>
                    <a:pt x="1649" y="503"/>
                    <a:pt x="1649" y="503"/>
                  </a:cubicBezTo>
                  <a:cubicBezTo>
                    <a:pt x="1649" y="502"/>
                    <a:pt x="1649" y="502"/>
                    <a:pt x="1649" y="502"/>
                  </a:cubicBezTo>
                  <a:cubicBezTo>
                    <a:pt x="1649" y="502"/>
                    <a:pt x="1649" y="502"/>
                    <a:pt x="1649" y="502"/>
                  </a:cubicBezTo>
                  <a:cubicBezTo>
                    <a:pt x="1649" y="502"/>
                    <a:pt x="1649" y="501"/>
                    <a:pt x="1649" y="501"/>
                  </a:cubicBezTo>
                  <a:cubicBezTo>
                    <a:pt x="1649" y="500"/>
                    <a:pt x="1649" y="500"/>
                    <a:pt x="1649" y="500"/>
                  </a:cubicBezTo>
                  <a:cubicBezTo>
                    <a:pt x="1648" y="498"/>
                    <a:pt x="1648" y="498"/>
                    <a:pt x="1648" y="498"/>
                  </a:cubicBezTo>
                  <a:cubicBezTo>
                    <a:pt x="1648" y="498"/>
                    <a:pt x="1648" y="498"/>
                    <a:pt x="1648" y="498"/>
                  </a:cubicBezTo>
                  <a:cubicBezTo>
                    <a:pt x="1648" y="498"/>
                    <a:pt x="1648" y="498"/>
                    <a:pt x="1648" y="498"/>
                  </a:cubicBezTo>
                  <a:cubicBezTo>
                    <a:pt x="1648" y="498"/>
                    <a:pt x="1648" y="498"/>
                    <a:pt x="1648" y="498"/>
                  </a:cubicBezTo>
                  <a:cubicBezTo>
                    <a:pt x="1649" y="498"/>
                    <a:pt x="1649" y="498"/>
                    <a:pt x="1649" y="498"/>
                  </a:cubicBezTo>
                  <a:cubicBezTo>
                    <a:pt x="1649" y="499"/>
                    <a:pt x="1649" y="499"/>
                    <a:pt x="1649" y="499"/>
                  </a:cubicBezTo>
                  <a:cubicBezTo>
                    <a:pt x="1649" y="499"/>
                    <a:pt x="1649" y="499"/>
                    <a:pt x="1649" y="499"/>
                  </a:cubicBezTo>
                  <a:cubicBezTo>
                    <a:pt x="1649" y="499"/>
                    <a:pt x="1649" y="499"/>
                    <a:pt x="1649" y="499"/>
                  </a:cubicBezTo>
                  <a:cubicBezTo>
                    <a:pt x="1649" y="500"/>
                    <a:pt x="1649" y="500"/>
                    <a:pt x="1649" y="500"/>
                  </a:cubicBezTo>
                  <a:cubicBezTo>
                    <a:pt x="1649" y="500"/>
                    <a:pt x="1649" y="500"/>
                    <a:pt x="1649" y="500"/>
                  </a:cubicBezTo>
                  <a:cubicBezTo>
                    <a:pt x="1649" y="500"/>
                    <a:pt x="1649" y="500"/>
                    <a:pt x="1649" y="500"/>
                  </a:cubicBezTo>
                  <a:cubicBezTo>
                    <a:pt x="1650" y="500"/>
                    <a:pt x="1650" y="500"/>
                    <a:pt x="1650" y="500"/>
                  </a:cubicBezTo>
                  <a:cubicBezTo>
                    <a:pt x="1650" y="500"/>
                    <a:pt x="1650" y="500"/>
                    <a:pt x="1650" y="500"/>
                  </a:cubicBezTo>
                  <a:cubicBezTo>
                    <a:pt x="1650" y="500"/>
                    <a:pt x="1650" y="500"/>
                    <a:pt x="1650" y="500"/>
                  </a:cubicBezTo>
                  <a:cubicBezTo>
                    <a:pt x="1650" y="500"/>
                    <a:pt x="1650" y="500"/>
                    <a:pt x="1650" y="500"/>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1" y="499"/>
                    <a:pt x="1651" y="499"/>
                    <a:pt x="1651" y="499"/>
                  </a:cubicBezTo>
                  <a:cubicBezTo>
                    <a:pt x="1651" y="499"/>
                    <a:pt x="1651" y="499"/>
                    <a:pt x="1651" y="499"/>
                  </a:cubicBezTo>
                  <a:cubicBezTo>
                    <a:pt x="1651" y="500"/>
                    <a:pt x="1651" y="500"/>
                    <a:pt x="1651" y="500"/>
                  </a:cubicBezTo>
                  <a:cubicBezTo>
                    <a:pt x="1651" y="500"/>
                    <a:pt x="1651" y="500"/>
                    <a:pt x="1651" y="500"/>
                  </a:cubicBezTo>
                  <a:cubicBezTo>
                    <a:pt x="1652" y="502"/>
                    <a:pt x="1652" y="500"/>
                    <a:pt x="1653" y="502"/>
                  </a:cubicBezTo>
                  <a:cubicBezTo>
                    <a:pt x="1653" y="505"/>
                    <a:pt x="1653" y="505"/>
                    <a:pt x="1653" y="505"/>
                  </a:cubicBezTo>
                  <a:cubicBezTo>
                    <a:pt x="1654" y="505"/>
                    <a:pt x="1654" y="505"/>
                    <a:pt x="1654" y="505"/>
                  </a:cubicBezTo>
                  <a:cubicBezTo>
                    <a:pt x="1654" y="506"/>
                    <a:pt x="1654" y="506"/>
                    <a:pt x="1654" y="506"/>
                  </a:cubicBezTo>
                  <a:cubicBezTo>
                    <a:pt x="1654" y="506"/>
                    <a:pt x="1654" y="506"/>
                    <a:pt x="1654" y="506"/>
                  </a:cubicBezTo>
                  <a:cubicBezTo>
                    <a:pt x="1654" y="506"/>
                    <a:pt x="1654" y="506"/>
                    <a:pt x="1654" y="506"/>
                  </a:cubicBezTo>
                  <a:cubicBezTo>
                    <a:pt x="1654" y="505"/>
                    <a:pt x="1654" y="505"/>
                    <a:pt x="1654" y="505"/>
                  </a:cubicBezTo>
                  <a:cubicBezTo>
                    <a:pt x="1655" y="505"/>
                    <a:pt x="1655" y="505"/>
                    <a:pt x="1655" y="504"/>
                  </a:cubicBezTo>
                  <a:cubicBezTo>
                    <a:pt x="1655" y="504"/>
                    <a:pt x="1655" y="504"/>
                    <a:pt x="1655" y="504"/>
                  </a:cubicBezTo>
                  <a:cubicBezTo>
                    <a:pt x="1655" y="504"/>
                    <a:pt x="1655" y="504"/>
                    <a:pt x="1655" y="504"/>
                  </a:cubicBezTo>
                  <a:cubicBezTo>
                    <a:pt x="1655" y="504"/>
                    <a:pt x="1655" y="504"/>
                    <a:pt x="1655" y="504"/>
                  </a:cubicBezTo>
                  <a:cubicBezTo>
                    <a:pt x="1655" y="504"/>
                    <a:pt x="1655" y="504"/>
                    <a:pt x="1655" y="504"/>
                  </a:cubicBezTo>
                  <a:cubicBezTo>
                    <a:pt x="1655" y="503"/>
                    <a:pt x="1655" y="503"/>
                    <a:pt x="1655" y="503"/>
                  </a:cubicBezTo>
                  <a:cubicBezTo>
                    <a:pt x="1655" y="503"/>
                    <a:pt x="1655" y="503"/>
                    <a:pt x="1655" y="503"/>
                  </a:cubicBezTo>
                  <a:cubicBezTo>
                    <a:pt x="1655" y="503"/>
                    <a:pt x="1655" y="503"/>
                    <a:pt x="1655" y="503"/>
                  </a:cubicBezTo>
                  <a:cubicBezTo>
                    <a:pt x="1655" y="503"/>
                    <a:pt x="1655" y="503"/>
                    <a:pt x="1655"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7" y="503"/>
                    <a:pt x="1657" y="503"/>
                    <a:pt x="1657" y="502"/>
                  </a:cubicBezTo>
                  <a:cubicBezTo>
                    <a:pt x="1657" y="502"/>
                    <a:pt x="1657" y="502"/>
                    <a:pt x="1657" y="502"/>
                  </a:cubicBezTo>
                  <a:cubicBezTo>
                    <a:pt x="1657" y="502"/>
                    <a:pt x="1657" y="502"/>
                    <a:pt x="1657" y="502"/>
                  </a:cubicBezTo>
                  <a:cubicBezTo>
                    <a:pt x="1657" y="500"/>
                    <a:pt x="1656" y="499"/>
                    <a:pt x="1656" y="497"/>
                  </a:cubicBezTo>
                  <a:cubicBezTo>
                    <a:pt x="1656" y="497"/>
                    <a:pt x="1656" y="497"/>
                    <a:pt x="1656" y="497"/>
                  </a:cubicBezTo>
                  <a:cubicBezTo>
                    <a:pt x="1656" y="496"/>
                    <a:pt x="1656" y="496"/>
                    <a:pt x="1656" y="496"/>
                  </a:cubicBezTo>
                  <a:cubicBezTo>
                    <a:pt x="1656" y="496"/>
                    <a:pt x="1656" y="496"/>
                    <a:pt x="1656" y="496"/>
                  </a:cubicBezTo>
                  <a:cubicBezTo>
                    <a:pt x="1656" y="496"/>
                    <a:pt x="1656" y="496"/>
                    <a:pt x="1656" y="496"/>
                  </a:cubicBezTo>
                  <a:cubicBezTo>
                    <a:pt x="1656" y="496"/>
                    <a:pt x="1656" y="496"/>
                    <a:pt x="1656" y="496"/>
                  </a:cubicBezTo>
                  <a:cubicBezTo>
                    <a:pt x="1657" y="497"/>
                    <a:pt x="1657" y="499"/>
                    <a:pt x="1658" y="497"/>
                  </a:cubicBezTo>
                  <a:cubicBezTo>
                    <a:pt x="1658" y="497"/>
                    <a:pt x="1658" y="497"/>
                    <a:pt x="1658" y="497"/>
                  </a:cubicBezTo>
                  <a:cubicBezTo>
                    <a:pt x="1658" y="497"/>
                    <a:pt x="1658" y="497"/>
                    <a:pt x="1658" y="497"/>
                  </a:cubicBezTo>
                  <a:cubicBezTo>
                    <a:pt x="1658" y="497"/>
                    <a:pt x="1658" y="497"/>
                    <a:pt x="1658" y="497"/>
                  </a:cubicBezTo>
                  <a:cubicBezTo>
                    <a:pt x="1658" y="496"/>
                    <a:pt x="1659" y="496"/>
                    <a:pt x="1659" y="496"/>
                  </a:cubicBezTo>
                  <a:cubicBezTo>
                    <a:pt x="1659" y="496"/>
                    <a:pt x="1659" y="496"/>
                    <a:pt x="1659" y="496"/>
                  </a:cubicBezTo>
                  <a:cubicBezTo>
                    <a:pt x="1659" y="496"/>
                    <a:pt x="1659" y="496"/>
                    <a:pt x="1659" y="496"/>
                  </a:cubicBezTo>
                  <a:cubicBezTo>
                    <a:pt x="1660" y="495"/>
                    <a:pt x="1659" y="493"/>
                    <a:pt x="1659" y="492"/>
                  </a:cubicBezTo>
                  <a:cubicBezTo>
                    <a:pt x="1659" y="491"/>
                    <a:pt x="1659" y="491"/>
                    <a:pt x="1659" y="491"/>
                  </a:cubicBezTo>
                  <a:cubicBezTo>
                    <a:pt x="1659" y="491"/>
                    <a:pt x="1659" y="491"/>
                    <a:pt x="1659" y="491"/>
                  </a:cubicBezTo>
                  <a:cubicBezTo>
                    <a:pt x="1659" y="490"/>
                    <a:pt x="1659" y="490"/>
                    <a:pt x="1659" y="490"/>
                  </a:cubicBezTo>
                  <a:cubicBezTo>
                    <a:pt x="1660" y="490"/>
                    <a:pt x="1660" y="490"/>
                    <a:pt x="1660" y="490"/>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1" y="491"/>
                    <a:pt x="1661" y="491"/>
                    <a:pt x="1661" y="491"/>
                  </a:cubicBezTo>
                  <a:cubicBezTo>
                    <a:pt x="1661" y="492"/>
                    <a:pt x="1661" y="492"/>
                    <a:pt x="1661" y="491"/>
                  </a:cubicBezTo>
                  <a:cubicBezTo>
                    <a:pt x="1661" y="491"/>
                    <a:pt x="1661" y="491"/>
                    <a:pt x="1661"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0"/>
                    <a:pt x="1662" y="490"/>
                    <a:pt x="1662" y="490"/>
                  </a:cubicBezTo>
                  <a:cubicBezTo>
                    <a:pt x="1662" y="490"/>
                    <a:pt x="1662" y="490"/>
                    <a:pt x="1662" y="490"/>
                  </a:cubicBezTo>
                  <a:cubicBezTo>
                    <a:pt x="1662" y="490"/>
                    <a:pt x="1662" y="489"/>
                    <a:pt x="1662" y="488"/>
                  </a:cubicBezTo>
                  <a:cubicBezTo>
                    <a:pt x="1662" y="488"/>
                    <a:pt x="1662" y="488"/>
                    <a:pt x="1662" y="488"/>
                  </a:cubicBezTo>
                  <a:cubicBezTo>
                    <a:pt x="1662" y="488"/>
                    <a:pt x="1662" y="488"/>
                    <a:pt x="1662" y="488"/>
                  </a:cubicBezTo>
                  <a:cubicBezTo>
                    <a:pt x="1662" y="488"/>
                    <a:pt x="1662" y="488"/>
                    <a:pt x="1662" y="488"/>
                  </a:cubicBezTo>
                  <a:cubicBezTo>
                    <a:pt x="1661" y="488"/>
                    <a:pt x="1661" y="488"/>
                    <a:pt x="1661" y="488"/>
                  </a:cubicBezTo>
                  <a:cubicBezTo>
                    <a:pt x="1660" y="488"/>
                    <a:pt x="1660" y="488"/>
                    <a:pt x="1660" y="488"/>
                  </a:cubicBezTo>
                  <a:cubicBezTo>
                    <a:pt x="1657" y="487"/>
                    <a:pt x="1657" y="487"/>
                    <a:pt x="1657" y="487"/>
                  </a:cubicBezTo>
                  <a:cubicBezTo>
                    <a:pt x="1656" y="487"/>
                    <a:pt x="1656" y="487"/>
                    <a:pt x="1655" y="487"/>
                  </a:cubicBezTo>
                  <a:cubicBezTo>
                    <a:pt x="1654" y="487"/>
                    <a:pt x="1654" y="487"/>
                    <a:pt x="1654" y="487"/>
                  </a:cubicBezTo>
                  <a:cubicBezTo>
                    <a:pt x="1654" y="487"/>
                    <a:pt x="1654" y="487"/>
                    <a:pt x="1654" y="487"/>
                  </a:cubicBezTo>
                  <a:cubicBezTo>
                    <a:pt x="1654" y="488"/>
                    <a:pt x="1654" y="488"/>
                    <a:pt x="1654" y="488"/>
                  </a:cubicBezTo>
                  <a:cubicBezTo>
                    <a:pt x="1654" y="488"/>
                    <a:pt x="1654" y="488"/>
                    <a:pt x="1654" y="488"/>
                  </a:cubicBezTo>
                  <a:cubicBezTo>
                    <a:pt x="1654" y="488"/>
                    <a:pt x="1654" y="488"/>
                    <a:pt x="1654" y="488"/>
                  </a:cubicBezTo>
                  <a:cubicBezTo>
                    <a:pt x="1653" y="488"/>
                    <a:pt x="1653" y="488"/>
                    <a:pt x="1653" y="488"/>
                  </a:cubicBezTo>
                  <a:cubicBezTo>
                    <a:pt x="1653" y="489"/>
                    <a:pt x="1652" y="488"/>
                    <a:pt x="1651" y="488"/>
                  </a:cubicBezTo>
                  <a:cubicBezTo>
                    <a:pt x="1651" y="488"/>
                    <a:pt x="1651" y="488"/>
                    <a:pt x="1651" y="488"/>
                  </a:cubicBezTo>
                  <a:cubicBezTo>
                    <a:pt x="1651" y="488"/>
                    <a:pt x="1651" y="488"/>
                    <a:pt x="1651" y="488"/>
                  </a:cubicBezTo>
                  <a:cubicBezTo>
                    <a:pt x="1651" y="488"/>
                    <a:pt x="1651" y="488"/>
                    <a:pt x="1651" y="488"/>
                  </a:cubicBezTo>
                  <a:cubicBezTo>
                    <a:pt x="1651" y="488"/>
                    <a:pt x="1651" y="488"/>
                    <a:pt x="1651" y="488"/>
                  </a:cubicBezTo>
                  <a:cubicBezTo>
                    <a:pt x="1652" y="487"/>
                    <a:pt x="1652" y="487"/>
                    <a:pt x="1652" y="487"/>
                  </a:cubicBezTo>
                  <a:cubicBezTo>
                    <a:pt x="1653" y="486"/>
                    <a:pt x="1653" y="486"/>
                    <a:pt x="1653" y="486"/>
                  </a:cubicBezTo>
                  <a:cubicBezTo>
                    <a:pt x="1653" y="486"/>
                    <a:pt x="1653" y="486"/>
                    <a:pt x="1653" y="485"/>
                  </a:cubicBezTo>
                  <a:cubicBezTo>
                    <a:pt x="1653" y="485"/>
                    <a:pt x="1653" y="485"/>
                    <a:pt x="1653" y="485"/>
                  </a:cubicBezTo>
                  <a:cubicBezTo>
                    <a:pt x="1653" y="485"/>
                    <a:pt x="1653" y="485"/>
                    <a:pt x="1653" y="485"/>
                  </a:cubicBezTo>
                  <a:cubicBezTo>
                    <a:pt x="1653" y="484"/>
                    <a:pt x="1653" y="484"/>
                    <a:pt x="1652" y="484"/>
                  </a:cubicBezTo>
                  <a:cubicBezTo>
                    <a:pt x="1652" y="484"/>
                    <a:pt x="1652" y="484"/>
                    <a:pt x="1652" y="484"/>
                  </a:cubicBezTo>
                  <a:cubicBezTo>
                    <a:pt x="1652" y="484"/>
                    <a:pt x="1652" y="484"/>
                    <a:pt x="1652" y="484"/>
                  </a:cubicBezTo>
                  <a:cubicBezTo>
                    <a:pt x="1652" y="483"/>
                    <a:pt x="1652" y="483"/>
                    <a:pt x="1652" y="483"/>
                  </a:cubicBezTo>
                  <a:cubicBezTo>
                    <a:pt x="1652" y="483"/>
                    <a:pt x="1652" y="483"/>
                    <a:pt x="1652" y="483"/>
                  </a:cubicBezTo>
                  <a:cubicBezTo>
                    <a:pt x="1652" y="482"/>
                    <a:pt x="1651" y="482"/>
                    <a:pt x="1651" y="481"/>
                  </a:cubicBezTo>
                  <a:cubicBezTo>
                    <a:pt x="1651" y="480"/>
                    <a:pt x="1651" y="480"/>
                    <a:pt x="1651" y="480"/>
                  </a:cubicBezTo>
                  <a:cubicBezTo>
                    <a:pt x="1651" y="480"/>
                    <a:pt x="1651" y="480"/>
                    <a:pt x="1651" y="480"/>
                  </a:cubicBezTo>
                  <a:cubicBezTo>
                    <a:pt x="1651" y="480"/>
                    <a:pt x="1651" y="480"/>
                    <a:pt x="1651" y="480"/>
                  </a:cubicBezTo>
                  <a:cubicBezTo>
                    <a:pt x="1652" y="480"/>
                    <a:pt x="1652" y="480"/>
                    <a:pt x="1652" y="480"/>
                  </a:cubicBezTo>
                  <a:cubicBezTo>
                    <a:pt x="1652" y="479"/>
                    <a:pt x="1652" y="479"/>
                    <a:pt x="1652" y="479"/>
                  </a:cubicBezTo>
                  <a:cubicBezTo>
                    <a:pt x="1652" y="479"/>
                    <a:pt x="1652" y="479"/>
                    <a:pt x="1652" y="479"/>
                  </a:cubicBezTo>
                  <a:cubicBezTo>
                    <a:pt x="1652" y="479"/>
                    <a:pt x="1652" y="479"/>
                    <a:pt x="1652" y="479"/>
                  </a:cubicBezTo>
                  <a:cubicBezTo>
                    <a:pt x="1652" y="479"/>
                    <a:pt x="1652" y="479"/>
                    <a:pt x="1652" y="479"/>
                  </a:cubicBezTo>
                  <a:cubicBezTo>
                    <a:pt x="1654" y="478"/>
                    <a:pt x="1654" y="479"/>
                    <a:pt x="1655" y="478"/>
                  </a:cubicBezTo>
                  <a:cubicBezTo>
                    <a:pt x="1655" y="478"/>
                    <a:pt x="1655" y="478"/>
                    <a:pt x="1655" y="478"/>
                  </a:cubicBezTo>
                  <a:cubicBezTo>
                    <a:pt x="1655" y="478"/>
                    <a:pt x="1655" y="478"/>
                    <a:pt x="1655" y="478"/>
                  </a:cubicBezTo>
                  <a:cubicBezTo>
                    <a:pt x="1655" y="478"/>
                    <a:pt x="1655" y="478"/>
                    <a:pt x="1655" y="478"/>
                  </a:cubicBezTo>
                  <a:cubicBezTo>
                    <a:pt x="1655" y="478"/>
                    <a:pt x="1655" y="477"/>
                    <a:pt x="1655" y="477"/>
                  </a:cubicBezTo>
                  <a:cubicBezTo>
                    <a:pt x="1655" y="477"/>
                    <a:pt x="1655" y="477"/>
                    <a:pt x="1655" y="477"/>
                  </a:cubicBezTo>
                  <a:cubicBezTo>
                    <a:pt x="1655" y="477"/>
                    <a:pt x="1655" y="477"/>
                    <a:pt x="1655" y="477"/>
                  </a:cubicBezTo>
                  <a:cubicBezTo>
                    <a:pt x="1655" y="477"/>
                    <a:pt x="1655" y="477"/>
                    <a:pt x="1655" y="477"/>
                  </a:cubicBezTo>
                  <a:cubicBezTo>
                    <a:pt x="1656" y="476"/>
                    <a:pt x="1656" y="476"/>
                    <a:pt x="1656" y="476"/>
                  </a:cubicBezTo>
                  <a:cubicBezTo>
                    <a:pt x="1656" y="476"/>
                    <a:pt x="1656" y="476"/>
                    <a:pt x="1656" y="476"/>
                  </a:cubicBezTo>
                  <a:cubicBezTo>
                    <a:pt x="1656" y="476"/>
                    <a:pt x="1656" y="476"/>
                    <a:pt x="1656" y="476"/>
                  </a:cubicBezTo>
                  <a:cubicBezTo>
                    <a:pt x="1656" y="476"/>
                    <a:pt x="1656" y="476"/>
                    <a:pt x="1656" y="476"/>
                  </a:cubicBezTo>
                  <a:cubicBezTo>
                    <a:pt x="1655" y="476"/>
                    <a:pt x="1655" y="476"/>
                    <a:pt x="1655" y="476"/>
                  </a:cubicBezTo>
                  <a:cubicBezTo>
                    <a:pt x="1655" y="475"/>
                    <a:pt x="1655" y="475"/>
                    <a:pt x="1655" y="475"/>
                  </a:cubicBezTo>
                  <a:cubicBezTo>
                    <a:pt x="1654" y="474"/>
                    <a:pt x="1654" y="474"/>
                    <a:pt x="1654" y="474"/>
                  </a:cubicBezTo>
                  <a:cubicBezTo>
                    <a:pt x="1654" y="474"/>
                    <a:pt x="1654" y="474"/>
                    <a:pt x="1654" y="474"/>
                  </a:cubicBezTo>
                  <a:cubicBezTo>
                    <a:pt x="1654" y="474"/>
                    <a:pt x="1654" y="474"/>
                    <a:pt x="1654" y="474"/>
                  </a:cubicBezTo>
                  <a:cubicBezTo>
                    <a:pt x="1654" y="474"/>
                    <a:pt x="1654" y="474"/>
                    <a:pt x="1654" y="474"/>
                  </a:cubicBezTo>
                  <a:cubicBezTo>
                    <a:pt x="1655" y="473"/>
                    <a:pt x="1654" y="473"/>
                    <a:pt x="1655" y="473"/>
                  </a:cubicBezTo>
                  <a:cubicBezTo>
                    <a:pt x="1655" y="473"/>
                    <a:pt x="1655" y="473"/>
                    <a:pt x="1655" y="473"/>
                  </a:cubicBezTo>
                  <a:cubicBezTo>
                    <a:pt x="1655" y="472"/>
                    <a:pt x="1655" y="472"/>
                    <a:pt x="1655" y="472"/>
                  </a:cubicBezTo>
                  <a:cubicBezTo>
                    <a:pt x="1655" y="472"/>
                    <a:pt x="1655" y="472"/>
                    <a:pt x="1655" y="472"/>
                  </a:cubicBezTo>
                  <a:cubicBezTo>
                    <a:pt x="1653" y="471"/>
                    <a:pt x="1654" y="471"/>
                    <a:pt x="1654" y="471"/>
                  </a:cubicBezTo>
                  <a:cubicBezTo>
                    <a:pt x="1654" y="470"/>
                    <a:pt x="1654" y="470"/>
                    <a:pt x="1654" y="470"/>
                  </a:cubicBezTo>
                  <a:cubicBezTo>
                    <a:pt x="1654" y="470"/>
                    <a:pt x="1654" y="470"/>
                    <a:pt x="1654" y="470"/>
                  </a:cubicBezTo>
                  <a:cubicBezTo>
                    <a:pt x="1654" y="470"/>
                    <a:pt x="1654" y="470"/>
                    <a:pt x="1655" y="469"/>
                  </a:cubicBezTo>
                  <a:cubicBezTo>
                    <a:pt x="1655" y="469"/>
                    <a:pt x="1655" y="469"/>
                    <a:pt x="1655" y="469"/>
                  </a:cubicBezTo>
                  <a:cubicBezTo>
                    <a:pt x="1655" y="469"/>
                    <a:pt x="1655" y="469"/>
                    <a:pt x="1655" y="469"/>
                  </a:cubicBezTo>
                  <a:cubicBezTo>
                    <a:pt x="1654" y="469"/>
                    <a:pt x="1654" y="469"/>
                    <a:pt x="1654" y="469"/>
                  </a:cubicBezTo>
                  <a:cubicBezTo>
                    <a:pt x="1654" y="468"/>
                    <a:pt x="1654" y="468"/>
                    <a:pt x="1654" y="468"/>
                  </a:cubicBezTo>
                  <a:cubicBezTo>
                    <a:pt x="1652" y="467"/>
                    <a:pt x="1652" y="467"/>
                    <a:pt x="1652" y="467"/>
                  </a:cubicBezTo>
                  <a:cubicBezTo>
                    <a:pt x="1651" y="466"/>
                    <a:pt x="1651" y="466"/>
                    <a:pt x="1651" y="466"/>
                  </a:cubicBezTo>
                  <a:cubicBezTo>
                    <a:pt x="1651" y="466"/>
                    <a:pt x="1651" y="466"/>
                    <a:pt x="1651" y="466"/>
                  </a:cubicBezTo>
                  <a:cubicBezTo>
                    <a:pt x="1651" y="466"/>
                    <a:pt x="1651" y="466"/>
                    <a:pt x="1651" y="466"/>
                  </a:cubicBezTo>
                  <a:cubicBezTo>
                    <a:pt x="1651" y="466"/>
                    <a:pt x="1651" y="466"/>
                    <a:pt x="1651" y="466"/>
                  </a:cubicBezTo>
                  <a:cubicBezTo>
                    <a:pt x="1647" y="465"/>
                    <a:pt x="1647" y="465"/>
                    <a:pt x="1647" y="465"/>
                  </a:cubicBezTo>
                  <a:cubicBezTo>
                    <a:pt x="1631" y="464"/>
                    <a:pt x="1631" y="464"/>
                    <a:pt x="1631" y="464"/>
                  </a:cubicBezTo>
                  <a:cubicBezTo>
                    <a:pt x="1633" y="464"/>
                    <a:pt x="1634" y="464"/>
                    <a:pt x="1635" y="464"/>
                  </a:cubicBezTo>
                  <a:cubicBezTo>
                    <a:pt x="1636" y="464"/>
                    <a:pt x="1637" y="464"/>
                    <a:pt x="1637" y="464"/>
                  </a:cubicBezTo>
                  <a:cubicBezTo>
                    <a:pt x="1637" y="464"/>
                    <a:pt x="1637" y="464"/>
                    <a:pt x="1637" y="463"/>
                  </a:cubicBezTo>
                  <a:cubicBezTo>
                    <a:pt x="1639" y="464"/>
                    <a:pt x="1640" y="464"/>
                    <a:pt x="1642" y="464"/>
                  </a:cubicBezTo>
                  <a:cubicBezTo>
                    <a:pt x="1644" y="464"/>
                    <a:pt x="1646" y="465"/>
                    <a:pt x="1648" y="465"/>
                  </a:cubicBezTo>
                  <a:cubicBezTo>
                    <a:pt x="1649" y="465"/>
                    <a:pt x="1649" y="465"/>
                    <a:pt x="1650" y="464"/>
                  </a:cubicBezTo>
                  <a:cubicBezTo>
                    <a:pt x="1650" y="463"/>
                    <a:pt x="1647" y="463"/>
                    <a:pt x="1649" y="462"/>
                  </a:cubicBezTo>
                  <a:cubicBezTo>
                    <a:pt x="1649" y="462"/>
                    <a:pt x="1650" y="462"/>
                    <a:pt x="1650" y="462"/>
                  </a:cubicBezTo>
                  <a:cubicBezTo>
                    <a:pt x="1651" y="462"/>
                    <a:pt x="1653" y="462"/>
                    <a:pt x="1653" y="462"/>
                  </a:cubicBezTo>
                  <a:cubicBezTo>
                    <a:pt x="1653" y="461"/>
                    <a:pt x="1654" y="458"/>
                    <a:pt x="1654" y="458"/>
                  </a:cubicBezTo>
                  <a:cubicBezTo>
                    <a:pt x="1654" y="458"/>
                    <a:pt x="1653" y="458"/>
                    <a:pt x="1653" y="458"/>
                  </a:cubicBezTo>
                  <a:cubicBezTo>
                    <a:pt x="1653" y="457"/>
                    <a:pt x="1653" y="457"/>
                    <a:pt x="1653" y="457"/>
                  </a:cubicBezTo>
                  <a:cubicBezTo>
                    <a:pt x="1653" y="457"/>
                    <a:pt x="1653" y="456"/>
                    <a:pt x="1653" y="456"/>
                  </a:cubicBezTo>
                  <a:cubicBezTo>
                    <a:pt x="1653" y="456"/>
                    <a:pt x="1652" y="456"/>
                    <a:pt x="1652" y="455"/>
                  </a:cubicBezTo>
                  <a:cubicBezTo>
                    <a:pt x="1652" y="455"/>
                    <a:pt x="1651" y="454"/>
                    <a:pt x="1651" y="454"/>
                  </a:cubicBezTo>
                  <a:cubicBezTo>
                    <a:pt x="1650" y="454"/>
                    <a:pt x="1650" y="453"/>
                    <a:pt x="1650" y="453"/>
                  </a:cubicBezTo>
                  <a:cubicBezTo>
                    <a:pt x="1650" y="452"/>
                    <a:pt x="1651" y="452"/>
                    <a:pt x="1651" y="451"/>
                  </a:cubicBezTo>
                  <a:cubicBezTo>
                    <a:pt x="1651" y="451"/>
                    <a:pt x="1651" y="451"/>
                    <a:pt x="1651" y="451"/>
                  </a:cubicBezTo>
                  <a:cubicBezTo>
                    <a:pt x="1651" y="451"/>
                    <a:pt x="1651" y="451"/>
                    <a:pt x="1651" y="451"/>
                  </a:cubicBezTo>
                  <a:cubicBezTo>
                    <a:pt x="1651" y="450"/>
                    <a:pt x="1650" y="449"/>
                    <a:pt x="1650" y="449"/>
                  </a:cubicBezTo>
                  <a:cubicBezTo>
                    <a:pt x="1649" y="447"/>
                    <a:pt x="1649" y="447"/>
                    <a:pt x="1650" y="446"/>
                  </a:cubicBezTo>
                  <a:cubicBezTo>
                    <a:pt x="1650" y="446"/>
                    <a:pt x="1650" y="445"/>
                    <a:pt x="1650" y="445"/>
                  </a:cubicBezTo>
                  <a:cubicBezTo>
                    <a:pt x="1650" y="445"/>
                    <a:pt x="1650" y="445"/>
                    <a:pt x="1651" y="445"/>
                  </a:cubicBezTo>
                  <a:cubicBezTo>
                    <a:pt x="1651" y="445"/>
                    <a:pt x="1651" y="445"/>
                    <a:pt x="1652" y="445"/>
                  </a:cubicBezTo>
                  <a:cubicBezTo>
                    <a:pt x="1652" y="445"/>
                    <a:pt x="1653" y="444"/>
                    <a:pt x="1652" y="443"/>
                  </a:cubicBezTo>
                  <a:cubicBezTo>
                    <a:pt x="1652" y="443"/>
                    <a:pt x="1652" y="443"/>
                    <a:pt x="1652" y="443"/>
                  </a:cubicBezTo>
                  <a:cubicBezTo>
                    <a:pt x="1652" y="443"/>
                    <a:pt x="1652" y="443"/>
                    <a:pt x="1652" y="443"/>
                  </a:cubicBezTo>
                  <a:cubicBezTo>
                    <a:pt x="1652" y="442"/>
                    <a:pt x="1652" y="441"/>
                    <a:pt x="1652" y="441"/>
                  </a:cubicBezTo>
                  <a:cubicBezTo>
                    <a:pt x="1652" y="440"/>
                    <a:pt x="1652" y="440"/>
                    <a:pt x="1653" y="440"/>
                  </a:cubicBezTo>
                  <a:cubicBezTo>
                    <a:pt x="1653" y="439"/>
                    <a:pt x="1653" y="439"/>
                    <a:pt x="1654" y="439"/>
                  </a:cubicBezTo>
                  <a:cubicBezTo>
                    <a:pt x="1655" y="438"/>
                    <a:pt x="1657" y="438"/>
                    <a:pt x="1658" y="437"/>
                  </a:cubicBezTo>
                  <a:cubicBezTo>
                    <a:pt x="1660" y="436"/>
                    <a:pt x="1659" y="434"/>
                    <a:pt x="1658" y="432"/>
                  </a:cubicBezTo>
                  <a:cubicBezTo>
                    <a:pt x="1658" y="432"/>
                    <a:pt x="1658" y="431"/>
                    <a:pt x="1657" y="431"/>
                  </a:cubicBezTo>
                  <a:cubicBezTo>
                    <a:pt x="1657" y="430"/>
                    <a:pt x="1657" y="430"/>
                    <a:pt x="1657" y="430"/>
                  </a:cubicBezTo>
                  <a:cubicBezTo>
                    <a:pt x="1657" y="430"/>
                    <a:pt x="1657" y="429"/>
                    <a:pt x="1656" y="428"/>
                  </a:cubicBezTo>
                  <a:cubicBezTo>
                    <a:pt x="1656" y="428"/>
                    <a:pt x="1656" y="428"/>
                    <a:pt x="1656" y="428"/>
                  </a:cubicBezTo>
                  <a:cubicBezTo>
                    <a:pt x="1656" y="427"/>
                    <a:pt x="1656" y="427"/>
                    <a:pt x="1655" y="427"/>
                  </a:cubicBezTo>
                  <a:cubicBezTo>
                    <a:pt x="1655" y="427"/>
                    <a:pt x="1655" y="427"/>
                    <a:pt x="1654" y="428"/>
                  </a:cubicBezTo>
                  <a:cubicBezTo>
                    <a:pt x="1652" y="428"/>
                    <a:pt x="1652" y="429"/>
                    <a:pt x="1652" y="430"/>
                  </a:cubicBezTo>
                  <a:cubicBezTo>
                    <a:pt x="1652" y="430"/>
                    <a:pt x="1652" y="430"/>
                    <a:pt x="1652" y="430"/>
                  </a:cubicBezTo>
                  <a:cubicBezTo>
                    <a:pt x="1652" y="431"/>
                    <a:pt x="1653" y="432"/>
                    <a:pt x="1653" y="432"/>
                  </a:cubicBezTo>
                  <a:cubicBezTo>
                    <a:pt x="1652" y="435"/>
                    <a:pt x="1650" y="433"/>
                    <a:pt x="1648" y="434"/>
                  </a:cubicBezTo>
                  <a:cubicBezTo>
                    <a:pt x="1647" y="434"/>
                    <a:pt x="1647" y="434"/>
                    <a:pt x="1647" y="434"/>
                  </a:cubicBezTo>
                  <a:cubicBezTo>
                    <a:pt x="1647" y="434"/>
                    <a:pt x="1647" y="434"/>
                    <a:pt x="1647" y="434"/>
                  </a:cubicBezTo>
                  <a:cubicBezTo>
                    <a:pt x="1647" y="434"/>
                    <a:pt x="1647" y="434"/>
                    <a:pt x="1647" y="435"/>
                  </a:cubicBezTo>
                  <a:cubicBezTo>
                    <a:pt x="1646" y="435"/>
                    <a:pt x="1646" y="435"/>
                    <a:pt x="1646" y="435"/>
                  </a:cubicBezTo>
                  <a:cubicBezTo>
                    <a:pt x="1645" y="435"/>
                    <a:pt x="1644" y="434"/>
                    <a:pt x="1643" y="433"/>
                  </a:cubicBezTo>
                  <a:cubicBezTo>
                    <a:pt x="1642" y="431"/>
                    <a:pt x="1642" y="429"/>
                    <a:pt x="1642" y="428"/>
                  </a:cubicBezTo>
                  <a:cubicBezTo>
                    <a:pt x="1642" y="428"/>
                    <a:pt x="1642" y="428"/>
                    <a:pt x="1642" y="427"/>
                  </a:cubicBezTo>
                  <a:cubicBezTo>
                    <a:pt x="1642" y="427"/>
                    <a:pt x="1642" y="427"/>
                    <a:pt x="1642" y="427"/>
                  </a:cubicBezTo>
                  <a:cubicBezTo>
                    <a:pt x="1642" y="427"/>
                    <a:pt x="1642" y="427"/>
                    <a:pt x="1642" y="427"/>
                  </a:cubicBezTo>
                  <a:cubicBezTo>
                    <a:pt x="1642" y="427"/>
                    <a:pt x="1642" y="427"/>
                    <a:pt x="1642" y="427"/>
                  </a:cubicBezTo>
                  <a:cubicBezTo>
                    <a:pt x="1642" y="427"/>
                    <a:pt x="1642" y="427"/>
                    <a:pt x="1641" y="427"/>
                  </a:cubicBezTo>
                  <a:cubicBezTo>
                    <a:pt x="1641" y="426"/>
                    <a:pt x="1641" y="427"/>
                    <a:pt x="1640" y="427"/>
                  </a:cubicBezTo>
                  <a:cubicBezTo>
                    <a:pt x="1637" y="427"/>
                    <a:pt x="1633" y="428"/>
                    <a:pt x="1631" y="428"/>
                  </a:cubicBezTo>
                  <a:cubicBezTo>
                    <a:pt x="1632" y="428"/>
                    <a:pt x="1632" y="429"/>
                    <a:pt x="1632" y="429"/>
                  </a:cubicBezTo>
                  <a:cubicBezTo>
                    <a:pt x="1632" y="429"/>
                    <a:pt x="1632" y="429"/>
                    <a:pt x="1632" y="429"/>
                  </a:cubicBezTo>
                  <a:cubicBezTo>
                    <a:pt x="1630" y="429"/>
                    <a:pt x="1628" y="429"/>
                    <a:pt x="1626" y="428"/>
                  </a:cubicBezTo>
                  <a:cubicBezTo>
                    <a:pt x="1626" y="428"/>
                    <a:pt x="1625" y="428"/>
                    <a:pt x="1625" y="428"/>
                  </a:cubicBezTo>
                  <a:cubicBezTo>
                    <a:pt x="1619" y="427"/>
                    <a:pt x="1613" y="425"/>
                    <a:pt x="1609" y="422"/>
                  </a:cubicBezTo>
                  <a:cubicBezTo>
                    <a:pt x="1607" y="421"/>
                    <a:pt x="1606" y="420"/>
                    <a:pt x="1605" y="420"/>
                  </a:cubicBezTo>
                  <a:cubicBezTo>
                    <a:pt x="1605" y="420"/>
                    <a:pt x="1605" y="420"/>
                    <a:pt x="1605" y="420"/>
                  </a:cubicBezTo>
                  <a:cubicBezTo>
                    <a:pt x="1605" y="419"/>
                    <a:pt x="1605" y="419"/>
                    <a:pt x="1605" y="419"/>
                  </a:cubicBezTo>
                  <a:cubicBezTo>
                    <a:pt x="1605" y="419"/>
                    <a:pt x="1605" y="419"/>
                    <a:pt x="1605" y="419"/>
                  </a:cubicBezTo>
                  <a:cubicBezTo>
                    <a:pt x="1605" y="419"/>
                    <a:pt x="1605" y="418"/>
                    <a:pt x="1606" y="418"/>
                  </a:cubicBezTo>
                  <a:cubicBezTo>
                    <a:pt x="1606" y="418"/>
                    <a:pt x="1606" y="418"/>
                    <a:pt x="1606" y="418"/>
                  </a:cubicBezTo>
                  <a:cubicBezTo>
                    <a:pt x="1605" y="417"/>
                    <a:pt x="1603" y="417"/>
                    <a:pt x="1602" y="416"/>
                  </a:cubicBezTo>
                  <a:cubicBezTo>
                    <a:pt x="1605" y="416"/>
                    <a:pt x="1605" y="416"/>
                    <a:pt x="1608" y="415"/>
                  </a:cubicBezTo>
                  <a:cubicBezTo>
                    <a:pt x="1606" y="414"/>
                    <a:pt x="1604" y="414"/>
                    <a:pt x="1603" y="413"/>
                  </a:cubicBezTo>
                  <a:cubicBezTo>
                    <a:pt x="1603" y="413"/>
                    <a:pt x="1604" y="413"/>
                    <a:pt x="1604" y="413"/>
                  </a:cubicBezTo>
                  <a:cubicBezTo>
                    <a:pt x="1603" y="412"/>
                    <a:pt x="1603" y="411"/>
                    <a:pt x="1602" y="410"/>
                  </a:cubicBezTo>
                  <a:cubicBezTo>
                    <a:pt x="1604" y="410"/>
                    <a:pt x="1610" y="410"/>
                    <a:pt x="1608" y="408"/>
                  </a:cubicBezTo>
                  <a:cubicBezTo>
                    <a:pt x="1608" y="408"/>
                    <a:pt x="1607" y="407"/>
                    <a:pt x="1606" y="407"/>
                  </a:cubicBezTo>
                  <a:cubicBezTo>
                    <a:pt x="1605" y="406"/>
                    <a:pt x="1604" y="405"/>
                    <a:pt x="1604" y="405"/>
                  </a:cubicBezTo>
                  <a:cubicBezTo>
                    <a:pt x="1603" y="405"/>
                    <a:pt x="1603" y="405"/>
                    <a:pt x="1602" y="406"/>
                  </a:cubicBezTo>
                  <a:cubicBezTo>
                    <a:pt x="1602" y="406"/>
                    <a:pt x="1602" y="406"/>
                    <a:pt x="1602" y="406"/>
                  </a:cubicBezTo>
                  <a:cubicBezTo>
                    <a:pt x="1602" y="406"/>
                    <a:pt x="1602" y="406"/>
                    <a:pt x="1602" y="406"/>
                  </a:cubicBezTo>
                  <a:cubicBezTo>
                    <a:pt x="1601" y="406"/>
                    <a:pt x="1600" y="406"/>
                    <a:pt x="1600" y="407"/>
                  </a:cubicBezTo>
                  <a:cubicBezTo>
                    <a:pt x="1599" y="407"/>
                    <a:pt x="1598" y="408"/>
                    <a:pt x="1597" y="408"/>
                  </a:cubicBezTo>
                  <a:cubicBezTo>
                    <a:pt x="1596" y="409"/>
                    <a:pt x="1595" y="409"/>
                    <a:pt x="1593" y="408"/>
                  </a:cubicBezTo>
                  <a:cubicBezTo>
                    <a:pt x="1595" y="408"/>
                    <a:pt x="1598" y="407"/>
                    <a:pt x="1598" y="405"/>
                  </a:cubicBezTo>
                  <a:cubicBezTo>
                    <a:pt x="1598" y="404"/>
                    <a:pt x="1595" y="403"/>
                    <a:pt x="1594" y="402"/>
                  </a:cubicBezTo>
                  <a:cubicBezTo>
                    <a:pt x="1594" y="402"/>
                    <a:pt x="1594" y="402"/>
                    <a:pt x="1593" y="401"/>
                  </a:cubicBezTo>
                  <a:cubicBezTo>
                    <a:pt x="1594" y="401"/>
                    <a:pt x="1595" y="401"/>
                    <a:pt x="1595" y="401"/>
                  </a:cubicBezTo>
                  <a:cubicBezTo>
                    <a:pt x="1594" y="400"/>
                    <a:pt x="1594" y="399"/>
                    <a:pt x="1593" y="398"/>
                  </a:cubicBezTo>
                  <a:cubicBezTo>
                    <a:pt x="1591" y="397"/>
                    <a:pt x="1587" y="397"/>
                    <a:pt x="1585" y="396"/>
                  </a:cubicBezTo>
                  <a:cubicBezTo>
                    <a:pt x="1584" y="398"/>
                    <a:pt x="1584" y="399"/>
                    <a:pt x="1584" y="401"/>
                  </a:cubicBezTo>
                  <a:cubicBezTo>
                    <a:pt x="1584" y="400"/>
                    <a:pt x="1582" y="397"/>
                    <a:pt x="1582" y="396"/>
                  </a:cubicBezTo>
                  <a:cubicBezTo>
                    <a:pt x="1582" y="395"/>
                    <a:pt x="1584" y="396"/>
                    <a:pt x="1584" y="395"/>
                  </a:cubicBezTo>
                  <a:cubicBezTo>
                    <a:pt x="1584" y="395"/>
                    <a:pt x="1584" y="395"/>
                    <a:pt x="1584" y="395"/>
                  </a:cubicBezTo>
                  <a:cubicBezTo>
                    <a:pt x="1584" y="395"/>
                    <a:pt x="1584" y="395"/>
                    <a:pt x="1584" y="395"/>
                  </a:cubicBezTo>
                  <a:cubicBezTo>
                    <a:pt x="1584" y="394"/>
                    <a:pt x="1584" y="393"/>
                    <a:pt x="1584" y="393"/>
                  </a:cubicBezTo>
                  <a:cubicBezTo>
                    <a:pt x="1584" y="392"/>
                    <a:pt x="1584" y="392"/>
                    <a:pt x="1584" y="392"/>
                  </a:cubicBezTo>
                  <a:cubicBezTo>
                    <a:pt x="1583" y="390"/>
                    <a:pt x="1584" y="390"/>
                    <a:pt x="1582" y="389"/>
                  </a:cubicBezTo>
                  <a:cubicBezTo>
                    <a:pt x="1582" y="389"/>
                    <a:pt x="1582" y="389"/>
                    <a:pt x="1581" y="389"/>
                  </a:cubicBezTo>
                  <a:cubicBezTo>
                    <a:pt x="1581" y="389"/>
                    <a:pt x="1581" y="389"/>
                    <a:pt x="1581" y="389"/>
                  </a:cubicBezTo>
                  <a:cubicBezTo>
                    <a:pt x="1578" y="388"/>
                    <a:pt x="1575" y="387"/>
                    <a:pt x="1573" y="386"/>
                  </a:cubicBezTo>
                  <a:cubicBezTo>
                    <a:pt x="1572" y="385"/>
                    <a:pt x="1571" y="385"/>
                    <a:pt x="1571" y="384"/>
                  </a:cubicBezTo>
                  <a:cubicBezTo>
                    <a:pt x="1570" y="384"/>
                    <a:pt x="1570" y="384"/>
                    <a:pt x="1570" y="384"/>
                  </a:cubicBezTo>
                  <a:cubicBezTo>
                    <a:pt x="1570" y="383"/>
                    <a:pt x="1570" y="383"/>
                    <a:pt x="1569" y="383"/>
                  </a:cubicBezTo>
                  <a:cubicBezTo>
                    <a:pt x="1569" y="382"/>
                    <a:pt x="1568" y="382"/>
                    <a:pt x="1567" y="381"/>
                  </a:cubicBezTo>
                  <a:cubicBezTo>
                    <a:pt x="1566" y="381"/>
                    <a:pt x="1565" y="380"/>
                    <a:pt x="1563" y="379"/>
                  </a:cubicBezTo>
                  <a:cubicBezTo>
                    <a:pt x="1562" y="378"/>
                    <a:pt x="1561" y="377"/>
                    <a:pt x="1560" y="377"/>
                  </a:cubicBezTo>
                  <a:cubicBezTo>
                    <a:pt x="1558" y="377"/>
                    <a:pt x="1556" y="379"/>
                    <a:pt x="1554" y="380"/>
                  </a:cubicBezTo>
                  <a:cubicBezTo>
                    <a:pt x="1553" y="380"/>
                    <a:pt x="1552" y="381"/>
                    <a:pt x="1551" y="381"/>
                  </a:cubicBezTo>
                  <a:cubicBezTo>
                    <a:pt x="1550" y="381"/>
                    <a:pt x="1550" y="381"/>
                    <a:pt x="1549" y="382"/>
                  </a:cubicBezTo>
                  <a:cubicBezTo>
                    <a:pt x="1548" y="382"/>
                    <a:pt x="1547" y="382"/>
                    <a:pt x="1546" y="383"/>
                  </a:cubicBezTo>
                  <a:cubicBezTo>
                    <a:pt x="1545" y="383"/>
                    <a:pt x="1545" y="383"/>
                    <a:pt x="1545" y="383"/>
                  </a:cubicBezTo>
                  <a:cubicBezTo>
                    <a:pt x="1543" y="384"/>
                    <a:pt x="1542" y="385"/>
                    <a:pt x="1540" y="385"/>
                  </a:cubicBezTo>
                  <a:cubicBezTo>
                    <a:pt x="1540" y="385"/>
                    <a:pt x="1540" y="385"/>
                    <a:pt x="1540" y="385"/>
                  </a:cubicBezTo>
                  <a:cubicBezTo>
                    <a:pt x="1538" y="385"/>
                    <a:pt x="1536" y="385"/>
                    <a:pt x="1535" y="386"/>
                  </a:cubicBezTo>
                  <a:cubicBezTo>
                    <a:pt x="1535" y="386"/>
                    <a:pt x="1535" y="386"/>
                    <a:pt x="1535" y="386"/>
                  </a:cubicBezTo>
                  <a:cubicBezTo>
                    <a:pt x="1535" y="386"/>
                    <a:pt x="1535" y="386"/>
                    <a:pt x="1535" y="386"/>
                  </a:cubicBezTo>
                  <a:cubicBezTo>
                    <a:pt x="1535" y="386"/>
                    <a:pt x="1535" y="386"/>
                    <a:pt x="1535" y="386"/>
                  </a:cubicBezTo>
                  <a:cubicBezTo>
                    <a:pt x="1535" y="386"/>
                    <a:pt x="1534" y="386"/>
                    <a:pt x="1535" y="387"/>
                  </a:cubicBezTo>
                  <a:cubicBezTo>
                    <a:pt x="1535" y="387"/>
                    <a:pt x="1535" y="387"/>
                    <a:pt x="1535" y="387"/>
                  </a:cubicBezTo>
                  <a:cubicBezTo>
                    <a:pt x="1535" y="387"/>
                    <a:pt x="1535" y="387"/>
                    <a:pt x="1535" y="387"/>
                  </a:cubicBezTo>
                  <a:cubicBezTo>
                    <a:pt x="1535" y="388"/>
                    <a:pt x="1538" y="389"/>
                    <a:pt x="1539" y="390"/>
                  </a:cubicBezTo>
                  <a:cubicBezTo>
                    <a:pt x="1539" y="390"/>
                    <a:pt x="1539" y="390"/>
                    <a:pt x="1539" y="390"/>
                  </a:cubicBezTo>
                  <a:cubicBezTo>
                    <a:pt x="1536" y="389"/>
                    <a:pt x="1534" y="388"/>
                    <a:pt x="1533" y="387"/>
                  </a:cubicBezTo>
                  <a:cubicBezTo>
                    <a:pt x="1530" y="385"/>
                    <a:pt x="1528" y="384"/>
                    <a:pt x="1524" y="383"/>
                  </a:cubicBezTo>
                  <a:cubicBezTo>
                    <a:pt x="1519" y="382"/>
                    <a:pt x="1513" y="385"/>
                    <a:pt x="1509" y="388"/>
                  </a:cubicBezTo>
                  <a:cubicBezTo>
                    <a:pt x="1509" y="388"/>
                    <a:pt x="1509" y="388"/>
                    <a:pt x="1510" y="387"/>
                  </a:cubicBezTo>
                  <a:cubicBezTo>
                    <a:pt x="1510" y="387"/>
                    <a:pt x="1510" y="387"/>
                    <a:pt x="1511" y="386"/>
                  </a:cubicBezTo>
                  <a:cubicBezTo>
                    <a:pt x="1512" y="386"/>
                    <a:pt x="1514" y="385"/>
                    <a:pt x="1514" y="384"/>
                  </a:cubicBezTo>
                  <a:cubicBezTo>
                    <a:pt x="1514" y="384"/>
                    <a:pt x="1514" y="384"/>
                    <a:pt x="1514" y="384"/>
                  </a:cubicBezTo>
                  <a:cubicBezTo>
                    <a:pt x="1514" y="384"/>
                    <a:pt x="1514" y="384"/>
                    <a:pt x="1514" y="384"/>
                  </a:cubicBezTo>
                  <a:cubicBezTo>
                    <a:pt x="1514" y="384"/>
                    <a:pt x="1514" y="384"/>
                    <a:pt x="1514" y="384"/>
                  </a:cubicBezTo>
                  <a:cubicBezTo>
                    <a:pt x="1514" y="383"/>
                    <a:pt x="1513" y="383"/>
                    <a:pt x="1513" y="383"/>
                  </a:cubicBezTo>
                  <a:cubicBezTo>
                    <a:pt x="1513" y="383"/>
                    <a:pt x="1513" y="383"/>
                    <a:pt x="1513" y="383"/>
                  </a:cubicBezTo>
                  <a:cubicBezTo>
                    <a:pt x="1511" y="383"/>
                    <a:pt x="1508" y="382"/>
                    <a:pt x="1507" y="382"/>
                  </a:cubicBezTo>
                  <a:cubicBezTo>
                    <a:pt x="1504" y="381"/>
                    <a:pt x="1501" y="380"/>
                    <a:pt x="1498" y="379"/>
                  </a:cubicBezTo>
                  <a:cubicBezTo>
                    <a:pt x="1497" y="379"/>
                    <a:pt x="1496" y="379"/>
                    <a:pt x="1496" y="378"/>
                  </a:cubicBezTo>
                  <a:cubicBezTo>
                    <a:pt x="1493" y="378"/>
                    <a:pt x="1490" y="377"/>
                    <a:pt x="1487" y="376"/>
                  </a:cubicBezTo>
                  <a:cubicBezTo>
                    <a:pt x="1487" y="376"/>
                    <a:pt x="1487" y="375"/>
                    <a:pt x="1486" y="375"/>
                  </a:cubicBezTo>
                  <a:cubicBezTo>
                    <a:pt x="1486" y="375"/>
                    <a:pt x="1486" y="375"/>
                    <a:pt x="1486" y="375"/>
                  </a:cubicBezTo>
                  <a:cubicBezTo>
                    <a:pt x="1485" y="375"/>
                    <a:pt x="1483" y="375"/>
                    <a:pt x="1482" y="375"/>
                  </a:cubicBezTo>
                  <a:cubicBezTo>
                    <a:pt x="1479" y="374"/>
                    <a:pt x="1475" y="373"/>
                    <a:pt x="1473" y="373"/>
                  </a:cubicBezTo>
                  <a:cubicBezTo>
                    <a:pt x="1472" y="373"/>
                    <a:pt x="1472" y="373"/>
                    <a:pt x="1470" y="374"/>
                  </a:cubicBezTo>
                  <a:cubicBezTo>
                    <a:pt x="1470" y="374"/>
                    <a:pt x="1470" y="374"/>
                    <a:pt x="1470" y="374"/>
                  </a:cubicBezTo>
                  <a:cubicBezTo>
                    <a:pt x="1466" y="375"/>
                    <a:pt x="1462" y="378"/>
                    <a:pt x="1459" y="381"/>
                  </a:cubicBezTo>
                  <a:cubicBezTo>
                    <a:pt x="1458" y="382"/>
                    <a:pt x="1457" y="382"/>
                    <a:pt x="1456" y="383"/>
                  </a:cubicBezTo>
                  <a:cubicBezTo>
                    <a:pt x="1456" y="383"/>
                    <a:pt x="1456" y="383"/>
                    <a:pt x="1455" y="384"/>
                  </a:cubicBezTo>
                  <a:cubicBezTo>
                    <a:pt x="1458" y="390"/>
                    <a:pt x="1460" y="398"/>
                    <a:pt x="1463" y="404"/>
                  </a:cubicBezTo>
                  <a:cubicBezTo>
                    <a:pt x="1464" y="405"/>
                    <a:pt x="1464" y="406"/>
                    <a:pt x="1465" y="407"/>
                  </a:cubicBezTo>
                  <a:cubicBezTo>
                    <a:pt x="1466" y="408"/>
                    <a:pt x="1466" y="408"/>
                    <a:pt x="1467" y="408"/>
                  </a:cubicBezTo>
                  <a:cubicBezTo>
                    <a:pt x="1467" y="408"/>
                    <a:pt x="1467" y="408"/>
                    <a:pt x="1467" y="408"/>
                  </a:cubicBezTo>
                  <a:cubicBezTo>
                    <a:pt x="1468" y="408"/>
                    <a:pt x="1470" y="409"/>
                    <a:pt x="1471" y="410"/>
                  </a:cubicBezTo>
                  <a:cubicBezTo>
                    <a:pt x="1470" y="410"/>
                    <a:pt x="1468" y="409"/>
                    <a:pt x="1467" y="410"/>
                  </a:cubicBezTo>
                  <a:cubicBezTo>
                    <a:pt x="1466" y="411"/>
                    <a:pt x="1468" y="411"/>
                    <a:pt x="1468" y="412"/>
                  </a:cubicBezTo>
                  <a:cubicBezTo>
                    <a:pt x="1468" y="412"/>
                    <a:pt x="1468" y="412"/>
                    <a:pt x="1469" y="412"/>
                  </a:cubicBezTo>
                  <a:cubicBezTo>
                    <a:pt x="1469" y="412"/>
                    <a:pt x="1469" y="412"/>
                    <a:pt x="1469" y="412"/>
                  </a:cubicBezTo>
                  <a:cubicBezTo>
                    <a:pt x="1469" y="412"/>
                    <a:pt x="1468" y="412"/>
                    <a:pt x="1468" y="413"/>
                  </a:cubicBezTo>
                  <a:cubicBezTo>
                    <a:pt x="1467" y="413"/>
                    <a:pt x="1467" y="414"/>
                    <a:pt x="1466" y="414"/>
                  </a:cubicBezTo>
                  <a:cubicBezTo>
                    <a:pt x="1466" y="414"/>
                    <a:pt x="1465" y="414"/>
                    <a:pt x="1465" y="413"/>
                  </a:cubicBezTo>
                  <a:cubicBezTo>
                    <a:pt x="1465" y="413"/>
                    <a:pt x="1464" y="413"/>
                    <a:pt x="1464" y="413"/>
                  </a:cubicBezTo>
                  <a:cubicBezTo>
                    <a:pt x="1463" y="414"/>
                    <a:pt x="1463" y="418"/>
                    <a:pt x="1464" y="421"/>
                  </a:cubicBezTo>
                  <a:cubicBezTo>
                    <a:pt x="1464" y="422"/>
                    <a:pt x="1464" y="424"/>
                    <a:pt x="1464" y="425"/>
                  </a:cubicBezTo>
                  <a:cubicBezTo>
                    <a:pt x="1464" y="425"/>
                    <a:pt x="1463" y="425"/>
                    <a:pt x="1463" y="426"/>
                  </a:cubicBezTo>
                  <a:cubicBezTo>
                    <a:pt x="1463" y="426"/>
                    <a:pt x="1463" y="427"/>
                    <a:pt x="1462" y="427"/>
                  </a:cubicBezTo>
                  <a:cubicBezTo>
                    <a:pt x="1462" y="428"/>
                    <a:pt x="1462" y="428"/>
                    <a:pt x="1461" y="428"/>
                  </a:cubicBezTo>
                  <a:cubicBezTo>
                    <a:pt x="1460" y="430"/>
                    <a:pt x="1457" y="432"/>
                    <a:pt x="1456" y="433"/>
                  </a:cubicBezTo>
                  <a:cubicBezTo>
                    <a:pt x="1455" y="434"/>
                    <a:pt x="1455" y="434"/>
                    <a:pt x="1455" y="434"/>
                  </a:cubicBezTo>
                  <a:cubicBezTo>
                    <a:pt x="1455" y="434"/>
                    <a:pt x="1455" y="434"/>
                    <a:pt x="1455" y="434"/>
                  </a:cubicBezTo>
                  <a:cubicBezTo>
                    <a:pt x="1455" y="434"/>
                    <a:pt x="1455" y="434"/>
                    <a:pt x="1455" y="434"/>
                  </a:cubicBezTo>
                  <a:cubicBezTo>
                    <a:pt x="1455" y="435"/>
                    <a:pt x="1455" y="435"/>
                    <a:pt x="1455" y="435"/>
                  </a:cubicBezTo>
                  <a:cubicBezTo>
                    <a:pt x="1455" y="436"/>
                    <a:pt x="1455" y="436"/>
                    <a:pt x="1455" y="436"/>
                  </a:cubicBezTo>
                  <a:cubicBezTo>
                    <a:pt x="1455" y="436"/>
                    <a:pt x="1455" y="436"/>
                    <a:pt x="1456" y="436"/>
                  </a:cubicBezTo>
                  <a:cubicBezTo>
                    <a:pt x="1457" y="436"/>
                    <a:pt x="1457" y="436"/>
                    <a:pt x="1458" y="436"/>
                  </a:cubicBezTo>
                  <a:cubicBezTo>
                    <a:pt x="1458" y="436"/>
                    <a:pt x="1459" y="436"/>
                    <a:pt x="1459" y="436"/>
                  </a:cubicBezTo>
                  <a:cubicBezTo>
                    <a:pt x="1461" y="436"/>
                    <a:pt x="1462" y="436"/>
                    <a:pt x="1463" y="436"/>
                  </a:cubicBezTo>
                  <a:cubicBezTo>
                    <a:pt x="1463" y="437"/>
                    <a:pt x="1463" y="437"/>
                    <a:pt x="1464" y="437"/>
                  </a:cubicBezTo>
                  <a:cubicBezTo>
                    <a:pt x="1466" y="437"/>
                    <a:pt x="1468" y="436"/>
                    <a:pt x="1470" y="435"/>
                  </a:cubicBezTo>
                  <a:cubicBezTo>
                    <a:pt x="1468" y="436"/>
                    <a:pt x="1467" y="437"/>
                    <a:pt x="1465" y="437"/>
                  </a:cubicBezTo>
                  <a:cubicBezTo>
                    <a:pt x="1470" y="437"/>
                    <a:pt x="1464" y="441"/>
                    <a:pt x="1463" y="442"/>
                  </a:cubicBezTo>
                  <a:cubicBezTo>
                    <a:pt x="1466" y="445"/>
                    <a:pt x="1469" y="443"/>
                    <a:pt x="1472" y="445"/>
                  </a:cubicBezTo>
                  <a:cubicBezTo>
                    <a:pt x="1471" y="445"/>
                    <a:pt x="1470" y="445"/>
                    <a:pt x="1470" y="446"/>
                  </a:cubicBezTo>
                  <a:cubicBezTo>
                    <a:pt x="1469" y="446"/>
                    <a:pt x="1469" y="446"/>
                    <a:pt x="1469" y="446"/>
                  </a:cubicBezTo>
                  <a:cubicBezTo>
                    <a:pt x="1468" y="446"/>
                    <a:pt x="1467" y="447"/>
                    <a:pt x="1467" y="447"/>
                  </a:cubicBezTo>
                  <a:cubicBezTo>
                    <a:pt x="1466" y="448"/>
                    <a:pt x="1466" y="448"/>
                    <a:pt x="1466" y="448"/>
                  </a:cubicBezTo>
                  <a:cubicBezTo>
                    <a:pt x="1466" y="448"/>
                    <a:pt x="1466" y="448"/>
                    <a:pt x="1465" y="449"/>
                  </a:cubicBezTo>
                  <a:cubicBezTo>
                    <a:pt x="1465" y="449"/>
                    <a:pt x="1465" y="449"/>
                    <a:pt x="1465" y="449"/>
                  </a:cubicBezTo>
                  <a:cubicBezTo>
                    <a:pt x="1465" y="449"/>
                    <a:pt x="1465" y="449"/>
                    <a:pt x="1465" y="449"/>
                  </a:cubicBezTo>
                  <a:cubicBezTo>
                    <a:pt x="1465" y="449"/>
                    <a:pt x="1465" y="449"/>
                    <a:pt x="1465" y="450"/>
                  </a:cubicBezTo>
                  <a:cubicBezTo>
                    <a:pt x="1465" y="450"/>
                    <a:pt x="1465" y="450"/>
                    <a:pt x="1465" y="450"/>
                  </a:cubicBezTo>
                  <a:cubicBezTo>
                    <a:pt x="1465" y="451"/>
                    <a:pt x="1465" y="451"/>
                    <a:pt x="1465" y="451"/>
                  </a:cubicBezTo>
                  <a:cubicBezTo>
                    <a:pt x="1466" y="453"/>
                    <a:pt x="1467" y="455"/>
                    <a:pt x="1468" y="457"/>
                  </a:cubicBezTo>
                  <a:cubicBezTo>
                    <a:pt x="1468" y="457"/>
                    <a:pt x="1468" y="457"/>
                    <a:pt x="1468" y="458"/>
                  </a:cubicBezTo>
                  <a:cubicBezTo>
                    <a:pt x="1468" y="458"/>
                    <a:pt x="1468" y="458"/>
                    <a:pt x="1468" y="458"/>
                  </a:cubicBezTo>
                  <a:cubicBezTo>
                    <a:pt x="1468" y="458"/>
                    <a:pt x="1468" y="459"/>
                    <a:pt x="1469" y="459"/>
                  </a:cubicBezTo>
                  <a:cubicBezTo>
                    <a:pt x="1469" y="459"/>
                    <a:pt x="1469" y="459"/>
                    <a:pt x="1469" y="459"/>
                  </a:cubicBezTo>
                  <a:cubicBezTo>
                    <a:pt x="1469" y="460"/>
                    <a:pt x="1469" y="460"/>
                    <a:pt x="1469" y="461"/>
                  </a:cubicBezTo>
                  <a:cubicBezTo>
                    <a:pt x="1468" y="461"/>
                    <a:pt x="1468" y="461"/>
                    <a:pt x="1468" y="462"/>
                  </a:cubicBezTo>
                  <a:cubicBezTo>
                    <a:pt x="1470" y="463"/>
                    <a:pt x="1473" y="464"/>
                    <a:pt x="1475" y="464"/>
                  </a:cubicBezTo>
                  <a:cubicBezTo>
                    <a:pt x="1475" y="464"/>
                    <a:pt x="1476" y="464"/>
                    <a:pt x="1476" y="464"/>
                  </a:cubicBezTo>
                  <a:cubicBezTo>
                    <a:pt x="1476" y="464"/>
                    <a:pt x="1477" y="464"/>
                    <a:pt x="1477" y="464"/>
                  </a:cubicBezTo>
                  <a:cubicBezTo>
                    <a:pt x="1477" y="464"/>
                    <a:pt x="1477" y="464"/>
                    <a:pt x="1477" y="464"/>
                  </a:cubicBezTo>
                  <a:cubicBezTo>
                    <a:pt x="1474" y="466"/>
                    <a:pt x="1474" y="466"/>
                    <a:pt x="1474" y="466"/>
                  </a:cubicBezTo>
                  <a:cubicBezTo>
                    <a:pt x="1473" y="466"/>
                    <a:pt x="1473" y="466"/>
                    <a:pt x="1473" y="466"/>
                  </a:cubicBezTo>
                  <a:cubicBezTo>
                    <a:pt x="1473" y="466"/>
                    <a:pt x="1473" y="466"/>
                    <a:pt x="1473" y="466"/>
                  </a:cubicBezTo>
                  <a:cubicBezTo>
                    <a:pt x="1473" y="467"/>
                    <a:pt x="1473" y="467"/>
                    <a:pt x="1473" y="467"/>
                  </a:cubicBezTo>
                  <a:cubicBezTo>
                    <a:pt x="1472" y="467"/>
                    <a:pt x="1472" y="467"/>
                    <a:pt x="1472" y="467"/>
                  </a:cubicBezTo>
                  <a:cubicBezTo>
                    <a:pt x="1472" y="467"/>
                    <a:pt x="1472" y="467"/>
                    <a:pt x="1472" y="467"/>
                  </a:cubicBezTo>
                  <a:cubicBezTo>
                    <a:pt x="1472" y="467"/>
                    <a:pt x="1472" y="467"/>
                    <a:pt x="1472" y="467"/>
                  </a:cubicBezTo>
                  <a:cubicBezTo>
                    <a:pt x="1474" y="469"/>
                    <a:pt x="1474" y="469"/>
                    <a:pt x="1475" y="471"/>
                  </a:cubicBezTo>
                  <a:cubicBezTo>
                    <a:pt x="1475" y="471"/>
                    <a:pt x="1475" y="471"/>
                    <a:pt x="1475" y="471"/>
                  </a:cubicBezTo>
                  <a:cubicBezTo>
                    <a:pt x="1475" y="471"/>
                    <a:pt x="1475" y="471"/>
                    <a:pt x="1475" y="471"/>
                  </a:cubicBezTo>
                  <a:cubicBezTo>
                    <a:pt x="1474" y="471"/>
                    <a:pt x="1474" y="471"/>
                    <a:pt x="1474" y="471"/>
                  </a:cubicBezTo>
                  <a:cubicBezTo>
                    <a:pt x="1473" y="472"/>
                    <a:pt x="1473" y="472"/>
                    <a:pt x="1473" y="472"/>
                  </a:cubicBezTo>
                  <a:cubicBezTo>
                    <a:pt x="1472" y="472"/>
                    <a:pt x="1472" y="472"/>
                    <a:pt x="1472" y="472"/>
                  </a:cubicBezTo>
                  <a:cubicBezTo>
                    <a:pt x="1472" y="472"/>
                    <a:pt x="1472" y="472"/>
                    <a:pt x="1472" y="472"/>
                  </a:cubicBezTo>
                  <a:cubicBezTo>
                    <a:pt x="1472" y="472"/>
                    <a:pt x="1472" y="472"/>
                    <a:pt x="1472" y="472"/>
                  </a:cubicBezTo>
                  <a:cubicBezTo>
                    <a:pt x="1472" y="472"/>
                    <a:pt x="1472" y="472"/>
                    <a:pt x="1472" y="472"/>
                  </a:cubicBezTo>
                  <a:cubicBezTo>
                    <a:pt x="1472" y="472"/>
                    <a:pt x="1472" y="472"/>
                    <a:pt x="1472" y="472"/>
                  </a:cubicBezTo>
                  <a:cubicBezTo>
                    <a:pt x="1471" y="472"/>
                    <a:pt x="1471" y="472"/>
                    <a:pt x="1471" y="472"/>
                  </a:cubicBezTo>
                  <a:cubicBezTo>
                    <a:pt x="1471" y="473"/>
                    <a:pt x="1471" y="473"/>
                    <a:pt x="1471" y="473"/>
                  </a:cubicBezTo>
                  <a:cubicBezTo>
                    <a:pt x="1471" y="474"/>
                    <a:pt x="1470" y="473"/>
                    <a:pt x="1470" y="473"/>
                  </a:cubicBezTo>
                  <a:cubicBezTo>
                    <a:pt x="1470" y="473"/>
                    <a:pt x="1470" y="473"/>
                    <a:pt x="1470" y="473"/>
                  </a:cubicBezTo>
                  <a:cubicBezTo>
                    <a:pt x="1470" y="473"/>
                    <a:pt x="1470" y="473"/>
                    <a:pt x="1470" y="473"/>
                  </a:cubicBezTo>
                  <a:cubicBezTo>
                    <a:pt x="1470" y="473"/>
                    <a:pt x="1470" y="473"/>
                    <a:pt x="1470" y="473"/>
                  </a:cubicBezTo>
                  <a:cubicBezTo>
                    <a:pt x="1470" y="474"/>
                    <a:pt x="1470" y="474"/>
                    <a:pt x="1470" y="474"/>
                  </a:cubicBezTo>
                  <a:cubicBezTo>
                    <a:pt x="1471" y="476"/>
                    <a:pt x="1472" y="476"/>
                    <a:pt x="1472" y="478"/>
                  </a:cubicBezTo>
                  <a:cubicBezTo>
                    <a:pt x="1472" y="478"/>
                    <a:pt x="1472" y="478"/>
                    <a:pt x="1472" y="478"/>
                  </a:cubicBezTo>
                  <a:cubicBezTo>
                    <a:pt x="1472" y="478"/>
                    <a:pt x="1472" y="478"/>
                    <a:pt x="1472" y="478"/>
                  </a:cubicBezTo>
                  <a:cubicBezTo>
                    <a:pt x="1472" y="479"/>
                    <a:pt x="1474" y="479"/>
                    <a:pt x="1475" y="479"/>
                  </a:cubicBezTo>
                  <a:cubicBezTo>
                    <a:pt x="1475" y="479"/>
                    <a:pt x="1475" y="479"/>
                    <a:pt x="1475" y="479"/>
                  </a:cubicBezTo>
                  <a:cubicBezTo>
                    <a:pt x="1475" y="479"/>
                    <a:pt x="1475" y="479"/>
                    <a:pt x="1475" y="479"/>
                  </a:cubicBezTo>
                  <a:cubicBezTo>
                    <a:pt x="1475" y="479"/>
                    <a:pt x="1475" y="479"/>
                    <a:pt x="1475" y="479"/>
                  </a:cubicBezTo>
                  <a:cubicBezTo>
                    <a:pt x="1474" y="479"/>
                    <a:pt x="1474" y="479"/>
                    <a:pt x="1474" y="479"/>
                  </a:cubicBezTo>
                  <a:cubicBezTo>
                    <a:pt x="1473" y="479"/>
                    <a:pt x="1473" y="479"/>
                    <a:pt x="1473" y="479"/>
                  </a:cubicBezTo>
                  <a:cubicBezTo>
                    <a:pt x="1470" y="479"/>
                    <a:pt x="1473" y="477"/>
                    <a:pt x="1470" y="476"/>
                  </a:cubicBezTo>
                  <a:cubicBezTo>
                    <a:pt x="1469" y="476"/>
                    <a:pt x="1469" y="476"/>
                    <a:pt x="1469" y="476"/>
                  </a:cubicBezTo>
                  <a:cubicBezTo>
                    <a:pt x="1469" y="476"/>
                    <a:pt x="1469" y="476"/>
                    <a:pt x="1469" y="476"/>
                  </a:cubicBezTo>
                  <a:cubicBezTo>
                    <a:pt x="1469" y="476"/>
                    <a:pt x="1469" y="476"/>
                    <a:pt x="1469" y="476"/>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8" y="475"/>
                    <a:pt x="1468" y="475"/>
                    <a:pt x="1468" y="475"/>
                  </a:cubicBezTo>
                  <a:cubicBezTo>
                    <a:pt x="1468" y="475"/>
                    <a:pt x="1468" y="475"/>
                    <a:pt x="1468" y="475"/>
                  </a:cubicBezTo>
                  <a:cubicBezTo>
                    <a:pt x="1468" y="475"/>
                    <a:pt x="1468" y="475"/>
                    <a:pt x="1468" y="475"/>
                  </a:cubicBezTo>
                  <a:cubicBezTo>
                    <a:pt x="1468" y="475"/>
                    <a:pt x="1468" y="475"/>
                    <a:pt x="1468" y="475"/>
                  </a:cubicBezTo>
                  <a:cubicBezTo>
                    <a:pt x="1468" y="475"/>
                    <a:pt x="1468" y="475"/>
                    <a:pt x="1468" y="475"/>
                  </a:cubicBezTo>
                  <a:cubicBezTo>
                    <a:pt x="1467" y="475"/>
                    <a:pt x="1466" y="476"/>
                    <a:pt x="1466" y="475"/>
                  </a:cubicBezTo>
                  <a:cubicBezTo>
                    <a:pt x="1466" y="475"/>
                    <a:pt x="1466" y="475"/>
                    <a:pt x="1466" y="475"/>
                  </a:cubicBezTo>
                  <a:cubicBezTo>
                    <a:pt x="1466" y="475"/>
                    <a:pt x="1466" y="475"/>
                    <a:pt x="1466" y="475"/>
                  </a:cubicBezTo>
                  <a:cubicBezTo>
                    <a:pt x="1466" y="475"/>
                    <a:pt x="1466" y="475"/>
                    <a:pt x="1466" y="475"/>
                  </a:cubicBezTo>
                  <a:cubicBezTo>
                    <a:pt x="1466" y="475"/>
                    <a:pt x="1466" y="475"/>
                    <a:pt x="1466" y="475"/>
                  </a:cubicBezTo>
                  <a:cubicBezTo>
                    <a:pt x="1466" y="475"/>
                    <a:pt x="1466" y="475"/>
                    <a:pt x="1466" y="475"/>
                  </a:cubicBezTo>
                  <a:cubicBezTo>
                    <a:pt x="1466" y="474"/>
                    <a:pt x="1466" y="474"/>
                    <a:pt x="1466" y="474"/>
                  </a:cubicBezTo>
                  <a:cubicBezTo>
                    <a:pt x="1465" y="474"/>
                    <a:pt x="1465" y="474"/>
                    <a:pt x="1465" y="474"/>
                  </a:cubicBezTo>
                  <a:cubicBezTo>
                    <a:pt x="1465" y="474"/>
                    <a:pt x="1465" y="474"/>
                    <a:pt x="1465" y="474"/>
                  </a:cubicBezTo>
                  <a:cubicBezTo>
                    <a:pt x="1465" y="474"/>
                    <a:pt x="1465" y="474"/>
                    <a:pt x="1465" y="474"/>
                  </a:cubicBezTo>
                  <a:cubicBezTo>
                    <a:pt x="1465" y="474"/>
                    <a:pt x="1465" y="474"/>
                    <a:pt x="1465" y="474"/>
                  </a:cubicBezTo>
                  <a:cubicBezTo>
                    <a:pt x="1464" y="474"/>
                    <a:pt x="1464" y="474"/>
                    <a:pt x="1464" y="474"/>
                  </a:cubicBezTo>
                  <a:cubicBezTo>
                    <a:pt x="1464" y="475"/>
                    <a:pt x="1464" y="475"/>
                    <a:pt x="1464" y="475"/>
                  </a:cubicBezTo>
                  <a:cubicBezTo>
                    <a:pt x="1464" y="475"/>
                    <a:pt x="1464" y="475"/>
                    <a:pt x="1464" y="475"/>
                  </a:cubicBezTo>
                  <a:cubicBezTo>
                    <a:pt x="1464" y="475"/>
                    <a:pt x="1464" y="475"/>
                    <a:pt x="1464" y="475"/>
                  </a:cubicBezTo>
                  <a:cubicBezTo>
                    <a:pt x="1464" y="476"/>
                    <a:pt x="1464" y="476"/>
                    <a:pt x="1464" y="476"/>
                  </a:cubicBezTo>
                  <a:cubicBezTo>
                    <a:pt x="1465" y="477"/>
                    <a:pt x="1465" y="477"/>
                    <a:pt x="1465" y="477"/>
                  </a:cubicBezTo>
                  <a:cubicBezTo>
                    <a:pt x="1465" y="478"/>
                    <a:pt x="1465" y="478"/>
                    <a:pt x="1465" y="478"/>
                  </a:cubicBezTo>
                  <a:cubicBezTo>
                    <a:pt x="1465" y="478"/>
                    <a:pt x="1465" y="478"/>
                    <a:pt x="1465" y="478"/>
                  </a:cubicBezTo>
                  <a:cubicBezTo>
                    <a:pt x="1465" y="479"/>
                    <a:pt x="1465" y="479"/>
                    <a:pt x="1465" y="479"/>
                  </a:cubicBezTo>
                  <a:cubicBezTo>
                    <a:pt x="1465" y="479"/>
                    <a:pt x="1465" y="479"/>
                    <a:pt x="1465" y="479"/>
                  </a:cubicBezTo>
                  <a:cubicBezTo>
                    <a:pt x="1465" y="480"/>
                    <a:pt x="1465" y="480"/>
                    <a:pt x="1465" y="480"/>
                  </a:cubicBezTo>
                  <a:cubicBezTo>
                    <a:pt x="1465" y="480"/>
                    <a:pt x="1465" y="480"/>
                    <a:pt x="1465" y="480"/>
                  </a:cubicBezTo>
                  <a:cubicBezTo>
                    <a:pt x="1465" y="480"/>
                    <a:pt x="1465" y="480"/>
                    <a:pt x="1465" y="480"/>
                  </a:cubicBezTo>
                  <a:cubicBezTo>
                    <a:pt x="1465" y="480"/>
                    <a:pt x="1465" y="480"/>
                    <a:pt x="1465" y="480"/>
                  </a:cubicBezTo>
                  <a:cubicBezTo>
                    <a:pt x="1463" y="481"/>
                    <a:pt x="1463" y="481"/>
                    <a:pt x="1463" y="481"/>
                  </a:cubicBezTo>
                  <a:cubicBezTo>
                    <a:pt x="1462" y="481"/>
                    <a:pt x="1462" y="481"/>
                    <a:pt x="1462" y="481"/>
                  </a:cubicBezTo>
                  <a:cubicBezTo>
                    <a:pt x="1462" y="481"/>
                    <a:pt x="1462" y="481"/>
                    <a:pt x="1462" y="481"/>
                  </a:cubicBezTo>
                  <a:cubicBezTo>
                    <a:pt x="1462" y="481"/>
                    <a:pt x="1462" y="481"/>
                    <a:pt x="1462" y="481"/>
                  </a:cubicBezTo>
                  <a:cubicBezTo>
                    <a:pt x="1462" y="482"/>
                    <a:pt x="1462" y="482"/>
                    <a:pt x="1462" y="482"/>
                  </a:cubicBezTo>
                  <a:cubicBezTo>
                    <a:pt x="1462" y="482"/>
                    <a:pt x="1462" y="482"/>
                    <a:pt x="1462" y="482"/>
                  </a:cubicBezTo>
                  <a:cubicBezTo>
                    <a:pt x="1462" y="482"/>
                    <a:pt x="1462" y="482"/>
                    <a:pt x="1462" y="482"/>
                  </a:cubicBezTo>
                  <a:cubicBezTo>
                    <a:pt x="1462" y="482"/>
                    <a:pt x="1462" y="482"/>
                    <a:pt x="1462" y="482"/>
                  </a:cubicBezTo>
                  <a:cubicBezTo>
                    <a:pt x="1461" y="483"/>
                    <a:pt x="1461" y="483"/>
                    <a:pt x="1461" y="483"/>
                  </a:cubicBezTo>
                  <a:cubicBezTo>
                    <a:pt x="1461" y="484"/>
                    <a:pt x="1461" y="484"/>
                    <a:pt x="1461" y="484"/>
                  </a:cubicBezTo>
                  <a:cubicBezTo>
                    <a:pt x="1462" y="484"/>
                    <a:pt x="1462" y="484"/>
                    <a:pt x="1462" y="484"/>
                  </a:cubicBezTo>
                  <a:cubicBezTo>
                    <a:pt x="1463" y="484"/>
                    <a:pt x="1463" y="484"/>
                    <a:pt x="1463" y="484"/>
                  </a:cubicBezTo>
                  <a:cubicBezTo>
                    <a:pt x="1464" y="484"/>
                    <a:pt x="1464" y="484"/>
                    <a:pt x="1464" y="484"/>
                  </a:cubicBezTo>
                  <a:cubicBezTo>
                    <a:pt x="1464" y="484"/>
                    <a:pt x="1464" y="484"/>
                    <a:pt x="1464" y="484"/>
                  </a:cubicBezTo>
                  <a:cubicBezTo>
                    <a:pt x="1464" y="484"/>
                    <a:pt x="1464" y="484"/>
                    <a:pt x="1464" y="484"/>
                  </a:cubicBezTo>
                  <a:cubicBezTo>
                    <a:pt x="1464" y="484"/>
                    <a:pt x="1464" y="484"/>
                    <a:pt x="1464" y="484"/>
                  </a:cubicBezTo>
                  <a:cubicBezTo>
                    <a:pt x="1464" y="484"/>
                    <a:pt x="1464" y="484"/>
                    <a:pt x="1464" y="484"/>
                  </a:cubicBezTo>
                  <a:cubicBezTo>
                    <a:pt x="1464" y="485"/>
                    <a:pt x="1464" y="485"/>
                    <a:pt x="1464" y="485"/>
                  </a:cubicBezTo>
                  <a:cubicBezTo>
                    <a:pt x="1464" y="485"/>
                    <a:pt x="1464" y="485"/>
                    <a:pt x="1464" y="485"/>
                  </a:cubicBezTo>
                  <a:cubicBezTo>
                    <a:pt x="1464" y="485"/>
                    <a:pt x="1464" y="485"/>
                    <a:pt x="1464" y="485"/>
                  </a:cubicBezTo>
                  <a:cubicBezTo>
                    <a:pt x="1464" y="485"/>
                    <a:pt x="1464" y="485"/>
                    <a:pt x="1464"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4" y="486"/>
                    <a:pt x="1464" y="486"/>
                    <a:pt x="1464" y="486"/>
                  </a:cubicBezTo>
                  <a:cubicBezTo>
                    <a:pt x="1462" y="489"/>
                    <a:pt x="1462" y="487"/>
                    <a:pt x="1461" y="488"/>
                  </a:cubicBezTo>
                  <a:cubicBezTo>
                    <a:pt x="1461" y="489"/>
                    <a:pt x="1461" y="489"/>
                    <a:pt x="1461" y="489"/>
                  </a:cubicBezTo>
                  <a:cubicBezTo>
                    <a:pt x="1461" y="489"/>
                    <a:pt x="1461" y="489"/>
                    <a:pt x="1461" y="489"/>
                  </a:cubicBezTo>
                  <a:cubicBezTo>
                    <a:pt x="1460" y="490"/>
                    <a:pt x="1460" y="490"/>
                    <a:pt x="1459" y="490"/>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8" y="491"/>
                    <a:pt x="1458" y="491"/>
                    <a:pt x="1458" y="491"/>
                  </a:cubicBezTo>
                  <a:cubicBezTo>
                    <a:pt x="1458" y="491"/>
                    <a:pt x="1458" y="491"/>
                    <a:pt x="1458" y="491"/>
                  </a:cubicBezTo>
                  <a:cubicBezTo>
                    <a:pt x="1458" y="491"/>
                    <a:pt x="1458" y="491"/>
                    <a:pt x="1458" y="491"/>
                  </a:cubicBezTo>
                  <a:cubicBezTo>
                    <a:pt x="1458" y="491"/>
                    <a:pt x="1458" y="491"/>
                    <a:pt x="1458" y="491"/>
                  </a:cubicBezTo>
                  <a:cubicBezTo>
                    <a:pt x="1458" y="491"/>
                    <a:pt x="1458" y="491"/>
                    <a:pt x="1458"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6" y="492"/>
                    <a:pt x="1456" y="492"/>
                    <a:pt x="1456" y="492"/>
                  </a:cubicBezTo>
                  <a:cubicBezTo>
                    <a:pt x="1456" y="492"/>
                    <a:pt x="1456" y="492"/>
                    <a:pt x="1456" y="492"/>
                  </a:cubicBezTo>
                  <a:cubicBezTo>
                    <a:pt x="1456" y="493"/>
                    <a:pt x="1456" y="493"/>
                    <a:pt x="1456" y="493"/>
                  </a:cubicBezTo>
                  <a:cubicBezTo>
                    <a:pt x="1456" y="493"/>
                    <a:pt x="1456" y="493"/>
                    <a:pt x="1456" y="493"/>
                  </a:cubicBezTo>
                  <a:cubicBezTo>
                    <a:pt x="1455" y="494"/>
                    <a:pt x="1455" y="494"/>
                    <a:pt x="1455" y="494"/>
                  </a:cubicBezTo>
                  <a:cubicBezTo>
                    <a:pt x="1455" y="494"/>
                    <a:pt x="1455" y="494"/>
                    <a:pt x="1455" y="494"/>
                  </a:cubicBezTo>
                  <a:cubicBezTo>
                    <a:pt x="1455" y="495"/>
                    <a:pt x="1455" y="495"/>
                    <a:pt x="1455" y="495"/>
                  </a:cubicBezTo>
                  <a:cubicBezTo>
                    <a:pt x="1455" y="495"/>
                    <a:pt x="1455" y="495"/>
                    <a:pt x="1455"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3" y="496"/>
                    <a:pt x="1453" y="496"/>
                    <a:pt x="1453" y="496"/>
                  </a:cubicBezTo>
                  <a:cubicBezTo>
                    <a:pt x="1453" y="496"/>
                    <a:pt x="1453" y="496"/>
                    <a:pt x="1453" y="496"/>
                  </a:cubicBezTo>
                  <a:cubicBezTo>
                    <a:pt x="1453" y="496"/>
                    <a:pt x="1453" y="496"/>
                    <a:pt x="1453" y="496"/>
                  </a:cubicBezTo>
                  <a:cubicBezTo>
                    <a:pt x="1453" y="496"/>
                    <a:pt x="1453" y="496"/>
                    <a:pt x="1453" y="496"/>
                  </a:cubicBezTo>
                  <a:cubicBezTo>
                    <a:pt x="1453" y="497"/>
                    <a:pt x="1453" y="497"/>
                    <a:pt x="1453" y="497"/>
                  </a:cubicBezTo>
                  <a:cubicBezTo>
                    <a:pt x="1453" y="497"/>
                    <a:pt x="1453" y="497"/>
                    <a:pt x="1453" y="497"/>
                  </a:cubicBezTo>
                  <a:cubicBezTo>
                    <a:pt x="1452" y="498"/>
                    <a:pt x="1452" y="500"/>
                    <a:pt x="1451" y="501"/>
                  </a:cubicBezTo>
                  <a:cubicBezTo>
                    <a:pt x="1451" y="501"/>
                    <a:pt x="1451" y="501"/>
                    <a:pt x="1451" y="501"/>
                  </a:cubicBezTo>
                  <a:cubicBezTo>
                    <a:pt x="1450" y="501"/>
                    <a:pt x="1450" y="501"/>
                    <a:pt x="1450" y="501"/>
                  </a:cubicBezTo>
                  <a:cubicBezTo>
                    <a:pt x="1450" y="501"/>
                    <a:pt x="1450" y="501"/>
                    <a:pt x="1450" y="501"/>
                  </a:cubicBezTo>
                  <a:cubicBezTo>
                    <a:pt x="1451" y="500"/>
                    <a:pt x="1451" y="500"/>
                    <a:pt x="1451" y="500"/>
                  </a:cubicBezTo>
                  <a:cubicBezTo>
                    <a:pt x="1450" y="500"/>
                    <a:pt x="1450" y="500"/>
                    <a:pt x="1450" y="500"/>
                  </a:cubicBezTo>
                  <a:cubicBezTo>
                    <a:pt x="1450" y="500"/>
                    <a:pt x="1450" y="500"/>
                    <a:pt x="1450" y="500"/>
                  </a:cubicBezTo>
                  <a:cubicBezTo>
                    <a:pt x="1450" y="500"/>
                    <a:pt x="1450" y="500"/>
                    <a:pt x="1450" y="500"/>
                  </a:cubicBezTo>
                  <a:cubicBezTo>
                    <a:pt x="1450" y="500"/>
                    <a:pt x="1450" y="500"/>
                    <a:pt x="1450" y="500"/>
                  </a:cubicBezTo>
                  <a:cubicBezTo>
                    <a:pt x="1450" y="500"/>
                    <a:pt x="1450" y="500"/>
                    <a:pt x="1450" y="500"/>
                  </a:cubicBezTo>
                  <a:cubicBezTo>
                    <a:pt x="1449" y="500"/>
                    <a:pt x="1449" y="500"/>
                    <a:pt x="1449" y="500"/>
                  </a:cubicBezTo>
                  <a:cubicBezTo>
                    <a:pt x="1449" y="500"/>
                    <a:pt x="1449" y="500"/>
                    <a:pt x="1449" y="500"/>
                  </a:cubicBezTo>
                  <a:cubicBezTo>
                    <a:pt x="1449" y="500"/>
                    <a:pt x="1449" y="500"/>
                    <a:pt x="1449" y="500"/>
                  </a:cubicBezTo>
                  <a:cubicBezTo>
                    <a:pt x="1449" y="500"/>
                    <a:pt x="1449"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7" y="501"/>
                    <a:pt x="1447" y="501"/>
                    <a:pt x="1447" y="501"/>
                  </a:cubicBezTo>
                  <a:cubicBezTo>
                    <a:pt x="1447" y="501"/>
                    <a:pt x="1447" y="501"/>
                    <a:pt x="1447" y="501"/>
                  </a:cubicBezTo>
                  <a:cubicBezTo>
                    <a:pt x="1447" y="500"/>
                    <a:pt x="1447" y="500"/>
                    <a:pt x="1447" y="500"/>
                  </a:cubicBezTo>
                  <a:cubicBezTo>
                    <a:pt x="1447" y="500"/>
                    <a:pt x="1447" y="500"/>
                    <a:pt x="1447" y="500"/>
                  </a:cubicBezTo>
                  <a:cubicBezTo>
                    <a:pt x="1447" y="500"/>
                    <a:pt x="1446" y="500"/>
                    <a:pt x="1446" y="500"/>
                  </a:cubicBezTo>
                  <a:cubicBezTo>
                    <a:pt x="1446" y="500"/>
                    <a:pt x="1446" y="500"/>
                    <a:pt x="1446" y="500"/>
                  </a:cubicBezTo>
                  <a:cubicBezTo>
                    <a:pt x="1446" y="500"/>
                    <a:pt x="1446" y="500"/>
                    <a:pt x="1446" y="500"/>
                  </a:cubicBezTo>
                  <a:cubicBezTo>
                    <a:pt x="1446" y="500"/>
                    <a:pt x="1446" y="500"/>
                    <a:pt x="1446" y="500"/>
                  </a:cubicBezTo>
                  <a:cubicBezTo>
                    <a:pt x="1446" y="501"/>
                    <a:pt x="1446" y="501"/>
                    <a:pt x="1446" y="501"/>
                  </a:cubicBezTo>
                  <a:cubicBezTo>
                    <a:pt x="1447" y="503"/>
                    <a:pt x="1447" y="503"/>
                    <a:pt x="1447" y="503"/>
                  </a:cubicBezTo>
                  <a:cubicBezTo>
                    <a:pt x="1448" y="505"/>
                    <a:pt x="1448" y="504"/>
                    <a:pt x="1448" y="506"/>
                  </a:cubicBezTo>
                  <a:cubicBezTo>
                    <a:pt x="1447" y="506"/>
                    <a:pt x="1447" y="506"/>
                    <a:pt x="1447" y="506"/>
                  </a:cubicBezTo>
                  <a:cubicBezTo>
                    <a:pt x="1447" y="507"/>
                    <a:pt x="1447" y="507"/>
                    <a:pt x="1447" y="507"/>
                  </a:cubicBezTo>
                  <a:cubicBezTo>
                    <a:pt x="1448" y="509"/>
                    <a:pt x="1448" y="508"/>
                    <a:pt x="1448" y="510"/>
                  </a:cubicBezTo>
                  <a:cubicBezTo>
                    <a:pt x="1448" y="511"/>
                    <a:pt x="1448" y="511"/>
                    <a:pt x="1448" y="511"/>
                  </a:cubicBezTo>
                  <a:cubicBezTo>
                    <a:pt x="1448" y="512"/>
                    <a:pt x="1448" y="512"/>
                    <a:pt x="1448" y="512"/>
                  </a:cubicBezTo>
                  <a:cubicBezTo>
                    <a:pt x="1448" y="512"/>
                    <a:pt x="1448" y="512"/>
                    <a:pt x="1448" y="512"/>
                  </a:cubicBezTo>
                  <a:cubicBezTo>
                    <a:pt x="1448" y="512"/>
                    <a:pt x="1448" y="512"/>
                    <a:pt x="1448" y="512"/>
                  </a:cubicBezTo>
                  <a:cubicBezTo>
                    <a:pt x="1449" y="512"/>
                    <a:pt x="1448" y="513"/>
                    <a:pt x="1449" y="513"/>
                  </a:cubicBezTo>
                  <a:cubicBezTo>
                    <a:pt x="1449" y="513"/>
                    <a:pt x="1449" y="513"/>
                    <a:pt x="1449" y="513"/>
                  </a:cubicBezTo>
                  <a:cubicBezTo>
                    <a:pt x="1449" y="513"/>
                    <a:pt x="1449" y="513"/>
                    <a:pt x="1449" y="513"/>
                  </a:cubicBezTo>
                  <a:cubicBezTo>
                    <a:pt x="1450" y="514"/>
                    <a:pt x="1450" y="514"/>
                    <a:pt x="1450" y="514"/>
                  </a:cubicBezTo>
                  <a:cubicBezTo>
                    <a:pt x="1451" y="514"/>
                    <a:pt x="1451" y="514"/>
                    <a:pt x="1451" y="514"/>
                  </a:cubicBezTo>
                  <a:cubicBezTo>
                    <a:pt x="1451" y="514"/>
                    <a:pt x="1451" y="514"/>
                    <a:pt x="1451" y="514"/>
                  </a:cubicBezTo>
                  <a:cubicBezTo>
                    <a:pt x="1451" y="514"/>
                    <a:pt x="1451" y="514"/>
                    <a:pt x="1451" y="514"/>
                  </a:cubicBezTo>
                  <a:cubicBezTo>
                    <a:pt x="1451" y="514"/>
                    <a:pt x="1451" y="514"/>
                    <a:pt x="1451" y="514"/>
                  </a:cubicBezTo>
                  <a:cubicBezTo>
                    <a:pt x="1451" y="513"/>
                    <a:pt x="1450" y="513"/>
                    <a:pt x="1449" y="512"/>
                  </a:cubicBezTo>
                  <a:cubicBezTo>
                    <a:pt x="1449" y="512"/>
                    <a:pt x="1449" y="512"/>
                    <a:pt x="1449" y="512"/>
                  </a:cubicBezTo>
                  <a:cubicBezTo>
                    <a:pt x="1449" y="512"/>
                    <a:pt x="1449" y="512"/>
                    <a:pt x="1449" y="512"/>
                  </a:cubicBezTo>
                  <a:cubicBezTo>
                    <a:pt x="1450" y="512"/>
                    <a:pt x="1450" y="512"/>
                    <a:pt x="1450" y="512"/>
                  </a:cubicBezTo>
                  <a:cubicBezTo>
                    <a:pt x="1451" y="512"/>
                    <a:pt x="1451" y="512"/>
                    <a:pt x="1451" y="512"/>
                  </a:cubicBezTo>
                  <a:cubicBezTo>
                    <a:pt x="1451" y="513"/>
                    <a:pt x="1451" y="513"/>
                    <a:pt x="1451" y="513"/>
                  </a:cubicBezTo>
                  <a:cubicBezTo>
                    <a:pt x="1451" y="513"/>
                    <a:pt x="1451" y="513"/>
                    <a:pt x="1451" y="513"/>
                  </a:cubicBezTo>
                  <a:cubicBezTo>
                    <a:pt x="1451" y="513"/>
                    <a:pt x="1451" y="513"/>
                    <a:pt x="1451" y="513"/>
                  </a:cubicBezTo>
                  <a:cubicBezTo>
                    <a:pt x="1453" y="514"/>
                    <a:pt x="1452" y="515"/>
                    <a:pt x="1454" y="515"/>
                  </a:cubicBezTo>
                  <a:cubicBezTo>
                    <a:pt x="1454" y="516"/>
                    <a:pt x="1454" y="516"/>
                    <a:pt x="1454" y="516"/>
                  </a:cubicBezTo>
                  <a:cubicBezTo>
                    <a:pt x="1454" y="516"/>
                    <a:pt x="1454" y="516"/>
                    <a:pt x="1454" y="516"/>
                  </a:cubicBezTo>
                  <a:cubicBezTo>
                    <a:pt x="1454" y="516"/>
                    <a:pt x="1454" y="516"/>
                    <a:pt x="1454" y="516"/>
                  </a:cubicBezTo>
                  <a:cubicBezTo>
                    <a:pt x="1454" y="516"/>
                    <a:pt x="1455" y="516"/>
                    <a:pt x="1455" y="516"/>
                  </a:cubicBezTo>
                  <a:cubicBezTo>
                    <a:pt x="1455" y="516"/>
                    <a:pt x="1455" y="516"/>
                    <a:pt x="1455" y="516"/>
                  </a:cubicBezTo>
                  <a:cubicBezTo>
                    <a:pt x="1455" y="517"/>
                    <a:pt x="1455" y="517"/>
                    <a:pt x="1455"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8"/>
                  </a:cubicBezTo>
                  <a:cubicBezTo>
                    <a:pt x="1457" y="518"/>
                    <a:pt x="1457" y="518"/>
                    <a:pt x="1457" y="518"/>
                  </a:cubicBezTo>
                  <a:cubicBezTo>
                    <a:pt x="1457" y="518"/>
                    <a:pt x="1457" y="518"/>
                    <a:pt x="1457" y="518"/>
                  </a:cubicBezTo>
                  <a:cubicBezTo>
                    <a:pt x="1458" y="518"/>
                    <a:pt x="1458" y="518"/>
                    <a:pt x="1458" y="518"/>
                  </a:cubicBezTo>
                  <a:cubicBezTo>
                    <a:pt x="1458" y="518"/>
                    <a:pt x="1458" y="518"/>
                    <a:pt x="1458" y="518"/>
                  </a:cubicBezTo>
                  <a:cubicBezTo>
                    <a:pt x="1459" y="519"/>
                    <a:pt x="1459" y="519"/>
                    <a:pt x="1459" y="519"/>
                  </a:cubicBezTo>
                  <a:cubicBezTo>
                    <a:pt x="1459" y="519"/>
                    <a:pt x="1459" y="519"/>
                    <a:pt x="1459" y="519"/>
                  </a:cubicBezTo>
                  <a:cubicBezTo>
                    <a:pt x="1459" y="519"/>
                    <a:pt x="1459" y="519"/>
                    <a:pt x="1459" y="519"/>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60" y="520"/>
                    <a:pt x="1460" y="520"/>
                    <a:pt x="1460" y="520"/>
                  </a:cubicBezTo>
                  <a:cubicBezTo>
                    <a:pt x="1460" y="520"/>
                    <a:pt x="1460" y="520"/>
                    <a:pt x="1460" y="520"/>
                  </a:cubicBezTo>
                  <a:cubicBezTo>
                    <a:pt x="1460" y="520"/>
                    <a:pt x="1460" y="520"/>
                    <a:pt x="1460" y="520"/>
                  </a:cubicBezTo>
                  <a:cubicBezTo>
                    <a:pt x="1460" y="521"/>
                    <a:pt x="1461" y="521"/>
                    <a:pt x="1461" y="521"/>
                  </a:cubicBezTo>
                  <a:cubicBezTo>
                    <a:pt x="1461" y="521"/>
                    <a:pt x="1461" y="521"/>
                    <a:pt x="1461" y="521"/>
                  </a:cubicBezTo>
                  <a:cubicBezTo>
                    <a:pt x="1462" y="521"/>
                    <a:pt x="1462" y="521"/>
                    <a:pt x="1462" y="521"/>
                  </a:cubicBezTo>
                  <a:cubicBezTo>
                    <a:pt x="1462" y="521"/>
                    <a:pt x="1462" y="521"/>
                    <a:pt x="1462" y="521"/>
                  </a:cubicBezTo>
                  <a:cubicBezTo>
                    <a:pt x="1462" y="521"/>
                    <a:pt x="1462" y="521"/>
                    <a:pt x="1462" y="521"/>
                  </a:cubicBezTo>
                  <a:cubicBezTo>
                    <a:pt x="1462" y="521"/>
                    <a:pt x="1462" y="521"/>
                    <a:pt x="1462" y="521"/>
                  </a:cubicBezTo>
                  <a:cubicBezTo>
                    <a:pt x="1462" y="521"/>
                    <a:pt x="1462" y="521"/>
                    <a:pt x="1462" y="521"/>
                  </a:cubicBezTo>
                  <a:cubicBezTo>
                    <a:pt x="1463" y="521"/>
                    <a:pt x="1463" y="521"/>
                    <a:pt x="1463" y="521"/>
                  </a:cubicBezTo>
                  <a:cubicBezTo>
                    <a:pt x="1464" y="522"/>
                    <a:pt x="1465" y="523"/>
                    <a:pt x="1466" y="523"/>
                  </a:cubicBezTo>
                  <a:cubicBezTo>
                    <a:pt x="1467" y="523"/>
                    <a:pt x="1467" y="523"/>
                    <a:pt x="1467" y="523"/>
                  </a:cubicBezTo>
                  <a:cubicBezTo>
                    <a:pt x="1467" y="523"/>
                    <a:pt x="1467" y="523"/>
                    <a:pt x="1467" y="523"/>
                  </a:cubicBezTo>
                  <a:cubicBezTo>
                    <a:pt x="1469" y="523"/>
                    <a:pt x="1469" y="525"/>
                    <a:pt x="1470" y="525"/>
                  </a:cubicBezTo>
                  <a:cubicBezTo>
                    <a:pt x="1470" y="525"/>
                    <a:pt x="1470" y="525"/>
                    <a:pt x="1470" y="525"/>
                  </a:cubicBezTo>
                  <a:cubicBezTo>
                    <a:pt x="1470" y="525"/>
                    <a:pt x="1470" y="525"/>
                    <a:pt x="1470" y="525"/>
                  </a:cubicBezTo>
                  <a:cubicBezTo>
                    <a:pt x="1471" y="525"/>
                    <a:pt x="1471" y="525"/>
                    <a:pt x="1471" y="525"/>
                  </a:cubicBezTo>
                  <a:cubicBezTo>
                    <a:pt x="1471" y="525"/>
                    <a:pt x="1471" y="525"/>
                    <a:pt x="1471" y="525"/>
                  </a:cubicBezTo>
                  <a:cubicBezTo>
                    <a:pt x="1471" y="525"/>
                    <a:pt x="1471" y="525"/>
                    <a:pt x="1471" y="525"/>
                  </a:cubicBezTo>
                  <a:cubicBezTo>
                    <a:pt x="1471" y="526"/>
                    <a:pt x="1472" y="526"/>
                    <a:pt x="1472" y="527"/>
                  </a:cubicBezTo>
                  <a:cubicBezTo>
                    <a:pt x="1472" y="527"/>
                    <a:pt x="1472" y="527"/>
                    <a:pt x="1472" y="527"/>
                  </a:cubicBezTo>
                  <a:cubicBezTo>
                    <a:pt x="1472" y="527"/>
                    <a:pt x="1472" y="527"/>
                    <a:pt x="1472" y="527"/>
                  </a:cubicBezTo>
                  <a:cubicBezTo>
                    <a:pt x="1472" y="528"/>
                    <a:pt x="1472" y="528"/>
                    <a:pt x="1472" y="528"/>
                  </a:cubicBezTo>
                  <a:cubicBezTo>
                    <a:pt x="1472" y="528"/>
                    <a:pt x="1472" y="528"/>
                    <a:pt x="1472" y="528"/>
                  </a:cubicBezTo>
                  <a:cubicBezTo>
                    <a:pt x="1472" y="528"/>
                    <a:pt x="1472" y="528"/>
                    <a:pt x="1472"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4" y="529"/>
                    <a:pt x="1474" y="529"/>
                    <a:pt x="1474" y="529"/>
                  </a:cubicBezTo>
                  <a:cubicBezTo>
                    <a:pt x="1475" y="529"/>
                    <a:pt x="1475" y="529"/>
                    <a:pt x="1475" y="529"/>
                  </a:cubicBezTo>
                  <a:cubicBezTo>
                    <a:pt x="1475" y="529"/>
                    <a:pt x="1475" y="529"/>
                    <a:pt x="1475" y="529"/>
                  </a:cubicBezTo>
                  <a:cubicBezTo>
                    <a:pt x="1475" y="530"/>
                    <a:pt x="1476" y="530"/>
                    <a:pt x="1476" y="530"/>
                  </a:cubicBezTo>
                  <a:cubicBezTo>
                    <a:pt x="1476" y="530"/>
                    <a:pt x="1476" y="530"/>
                    <a:pt x="1476" y="530"/>
                  </a:cubicBezTo>
                  <a:cubicBezTo>
                    <a:pt x="1477" y="530"/>
                    <a:pt x="1477" y="530"/>
                    <a:pt x="1477" y="530"/>
                  </a:cubicBezTo>
                  <a:cubicBezTo>
                    <a:pt x="1477" y="530"/>
                    <a:pt x="1477" y="530"/>
                    <a:pt x="1477" y="530"/>
                  </a:cubicBezTo>
                  <a:cubicBezTo>
                    <a:pt x="1477" y="531"/>
                    <a:pt x="1477" y="531"/>
                    <a:pt x="1477" y="531"/>
                  </a:cubicBezTo>
                  <a:cubicBezTo>
                    <a:pt x="1477" y="531"/>
                    <a:pt x="1477" y="531"/>
                    <a:pt x="1477" y="531"/>
                  </a:cubicBezTo>
                  <a:cubicBezTo>
                    <a:pt x="1477" y="531"/>
                    <a:pt x="1477" y="531"/>
                    <a:pt x="1477" y="531"/>
                  </a:cubicBezTo>
                  <a:cubicBezTo>
                    <a:pt x="1477" y="531"/>
                    <a:pt x="1477" y="531"/>
                    <a:pt x="1477" y="531"/>
                  </a:cubicBezTo>
                  <a:cubicBezTo>
                    <a:pt x="1478" y="531"/>
                    <a:pt x="1478" y="531"/>
                    <a:pt x="1478" y="531"/>
                  </a:cubicBezTo>
                  <a:cubicBezTo>
                    <a:pt x="1478" y="531"/>
                    <a:pt x="1478" y="531"/>
                    <a:pt x="1478" y="531"/>
                  </a:cubicBezTo>
                  <a:cubicBezTo>
                    <a:pt x="1478" y="531"/>
                    <a:pt x="1478" y="531"/>
                    <a:pt x="1478" y="531"/>
                  </a:cubicBezTo>
                  <a:cubicBezTo>
                    <a:pt x="1478" y="531"/>
                    <a:pt x="1478" y="531"/>
                    <a:pt x="1478" y="531"/>
                  </a:cubicBezTo>
                  <a:cubicBezTo>
                    <a:pt x="1478" y="531"/>
                    <a:pt x="1478" y="531"/>
                    <a:pt x="1478" y="531"/>
                  </a:cubicBezTo>
                  <a:cubicBezTo>
                    <a:pt x="1478" y="532"/>
                    <a:pt x="1478" y="532"/>
                    <a:pt x="1478" y="532"/>
                  </a:cubicBezTo>
                  <a:cubicBezTo>
                    <a:pt x="1478" y="532"/>
                    <a:pt x="1478" y="532"/>
                    <a:pt x="1478" y="532"/>
                  </a:cubicBezTo>
                  <a:cubicBezTo>
                    <a:pt x="1479" y="532"/>
                    <a:pt x="1479" y="532"/>
                    <a:pt x="1479" y="532"/>
                  </a:cubicBezTo>
                  <a:cubicBezTo>
                    <a:pt x="1479" y="532"/>
                    <a:pt x="1479" y="532"/>
                    <a:pt x="1479" y="532"/>
                  </a:cubicBezTo>
                  <a:cubicBezTo>
                    <a:pt x="1479" y="532"/>
                    <a:pt x="1479" y="532"/>
                    <a:pt x="1479" y="532"/>
                  </a:cubicBezTo>
                  <a:cubicBezTo>
                    <a:pt x="1479" y="532"/>
                    <a:pt x="1479" y="532"/>
                    <a:pt x="1479" y="532"/>
                  </a:cubicBezTo>
                  <a:cubicBezTo>
                    <a:pt x="1479" y="532"/>
                    <a:pt x="1479" y="532"/>
                    <a:pt x="1479" y="532"/>
                  </a:cubicBezTo>
                  <a:cubicBezTo>
                    <a:pt x="1479" y="533"/>
                    <a:pt x="1479" y="533"/>
                    <a:pt x="1479" y="533"/>
                  </a:cubicBezTo>
                  <a:cubicBezTo>
                    <a:pt x="1479" y="533"/>
                    <a:pt x="1479" y="533"/>
                    <a:pt x="1479" y="533"/>
                  </a:cubicBezTo>
                  <a:cubicBezTo>
                    <a:pt x="1479" y="534"/>
                    <a:pt x="1479" y="534"/>
                    <a:pt x="1479" y="534"/>
                  </a:cubicBezTo>
                  <a:cubicBezTo>
                    <a:pt x="1479" y="534"/>
                    <a:pt x="1479" y="534"/>
                    <a:pt x="1479" y="534"/>
                  </a:cubicBezTo>
                  <a:cubicBezTo>
                    <a:pt x="1480" y="534"/>
                    <a:pt x="1480" y="534"/>
                    <a:pt x="1480" y="534"/>
                  </a:cubicBezTo>
                  <a:cubicBezTo>
                    <a:pt x="1480" y="534"/>
                    <a:pt x="1480" y="534"/>
                    <a:pt x="1480" y="534"/>
                  </a:cubicBezTo>
                  <a:cubicBezTo>
                    <a:pt x="1481" y="535"/>
                    <a:pt x="1481" y="535"/>
                    <a:pt x="1481" y="535"/>
                  </a:cubicBezTo>
                  <a:cubicBezTo>
                    <a:pt x="1481" y="535"/>
                    <a:pt x="1481" y="535"/>
                    <a:pt x="1481" y="535"/>
                  </a:cubicBezTo>
                  <a:cubicBezTo>
                    <a:pt x="1481" y="535"/>
                    <a:pt x="1481" y="535"/>
                    <a:pt x="1481" y="536"/>
                  </a:cubicBezTo>
                  <a:cubicBezTo>
                    <a:pt x="1481" y="536"/>
                    <a:pt x="1481" y="536"/>
                    <a:pt x="1481" y="536"/>
                  </a:cubicBezTo>
                  <a:cubicBezTo>
                    <a:pt x="1481" y="536"/>
                    <a:pt x="1481" y="536"/>
                    <a:pt x="1481" y="536"/>
                  </a:cubicBezTo>
                  <a:cubicBezTo>
                    <a:pt x="1481" y="536"/>
                    <a:pt x="1481" y="536"/>
                    <a:pt x="1481" y="536"/>
                  </a:cubicBezTo>
                  <a:cubicBezTo>
                    <a:pt x="1482" y="536"/>
                    <a:pt x="1482" y="536"/>
                    <a:pt x="1482" y="536"/>
                  </a:cubicBezTo>
                  <a:cubicBezTo>
                    <a:pt x="1482" y="537"/>
                    <a:pt x="1482" y="537"/>
                    <a:pt x="1482" y="537"/>
                  </a:cubicBezTo>
                  <a:cubicBezTo>
                    <a:pt x="1482" y="538"/>
                    <a:pt x="1483" y="538"/>
                    <a:pt x="1483" y="539"/>
                  </a:cubicBezTo>
                  <a:cubicBezTo>
                    <a:pt x="1483" y="539"/>
                    <a:pt x="1483" y="539"/>
                    <a:pt x="1483" y="539"/>
                  </a:cubicBezTo>
                  <a:cubicBezTo>
                    <a:pt x="1483" y="539"/>
                    <a:pt x="1483" y="539"/>
                    <a:pt x="1483" y="539"/>
                  </a:cubicBezTo>
                  <a:cubicBezTo>
                    <a:pt x="1484" y="540"/>
                    <a:pt x="1485" y="541"/>
                    <a:pt x="1485" y="542"/>
                  </a:cubicBezTo>
                  <a:cubicBezTo>
                    <a:pt x="1485" y="542"/>
                    <a:pt x="1485" y="542"/>
                    <a:pt x="1485" y="542"/>
                  </a:cubicBezTo>
                  <a:cubicBezTo>
                    <a:pt x="1486" y="542"/>
                    <a:pt x="1486" y="542"/>
                    <a:pt x="1486" y="542"/>
                  </a:cubicBezTo>
                  <a:cubicBezTo>
                    <a:pt x="1486" y="542"/>
                    <a:pt x="1486" y="542"/>
                    <a:pt x="1486" y="542"/>
                  </a:cubicBezTo>
                  <a:cubicBezTo>
                    <a:pt x="1486" y="542"/>
                    <a:pt x="1486" y="542"/>
                    <a:pt x="1486" y="542"/>
                  </a:cubicBezTo>
                  <a:cubicBezTo>
                    <a:pt x="1486" y="543"/>
                    <a:pt x="1486" y="543"/>
                    <a:pt x="1486" y="543"/>
                  </a:cubicBezTo>
                  <a:cubicBezTo>
                    <a:pt x="1486" y="543"/>
                    <a:pt x="1486" y="543"/>
                    <a:pt x="1486" y="543"/>
                  </a:cubicBezTo>
                  <a:cubicBezTo>
                    <a:pt x="1487" y="545"/>
                    <a:pt x="1486" y="544"/>
                    <a:pt x="1487" y="546"/>
                  </a:cubicBezTo>
                  <a:cubicBezTo>
                    <a:pt x="1487" y="547"/>
                    <a:pt x="1487" y="547"/>
                    <a:pt x="1487" y="547"/>
                  </a:cubicBezTo>
                  <a:cubicBezTo>
                    <a:pt x="1487" y="547"/>
                    <a:pt x="1487" y="547"/>
                    <a:pt x="1487" y="547"/>
                  </a:cubicBezTo>
                  <a:cubicBezTo>
                    <a:pt x="1488" y="548"/>
                    <a:pt x="1488" y="548"/>
                    <a:pt x="1488" y="550"/>
                  </a:cubicBezTo>
                  <a:cubicBezTo>
                    <a:pt x="1488" y="550"/>
                    <a:pt x="1488" y="550"/>
                    <a:pt x="1488" y="550"/>
                  </a:cubicBezTo>
                  <a:cubicBezTo>
                    <a:pt x="1488" y="550"/>
                    <a:pt x="1488" y="550"/>
                    <a:pt x="1488" y="550"/>
                  </a:cubicBezTo>
                  <a:cubicBezTo>
                    <a:pt x="1488" y="550"/>
                    <a:pt x="1488" y="550"/>
                    <a:pt x="1488" y="550"/>
                  </a:cubicBezTo>
                  <a:cubicBezTo>
                    <a:pt x="1489" y="550"/>
                    <a:pt x="1489" y="550"/>
                    <a:pt x="1489" y="550"/>
                  </a:cubicBezTo>
                  <a:cubicBezTo>
                    <a:pt x="1489" y="550"/>
                    <a:pt x="1489" y="550"/>
                    <a:pt x="1489" y="550"/>
                  </a:cubicBezTo>
                  <a:cubicBezTo>
                    <a:pt x="1489" y="551"/>
                    <a:pt x="1489" y="550"/>
                    <a:pt x="1489" y="551"/>
                  </a:cubicBezTo>
                  <a:cubicBezTo>
                    <a:pt x="1489" y="551"/>
                    <a:pt x="1489" y="551"/>
                    <a:pt x="1489" y="551"/>
                  </a:cubicBezTo>
                  <a:cubicBezTo>
                    <a:pt x="1489" y="551"/>
                    <a:pt x="1489" y="551"/>
                    <a:pt x="1489" y="551"/>
                  </a:cubicBezTo>
                  <a:cubicBezTo>
                    <a:pt x="1489" y="552"/>
                    <a:pt x="1490" y="552"/>
                    <a:pt x="1490" y="553"/>
                  </a:cubicBezTo>
                  <a:cubicBezTo>
                    <a:pt x="1490" y="553"/>
                    <a:pt x="1490" y="553"/>
                    <a:pt x="1490" y="553"/>
                  </a:cubicBezTo>
                  <a:cubicBezTo>
                    <a:pt x="1490" y="553"/>
                    <a:pt x="1490" y="553"/>
                    <a:pt x="1490" y="553"/>
                  </a:cubicBezTo>
                  <a:cubicBezTo>
                    <a:pt x="1490" y="553"/>
                    <a:pt x="1490" y="553"/>
                    <a:pt x="1490" y="553"/>
                  </a:cubicBezTo>
                  <a:cubicBezTo>
                    <a:pt x="1490" y="553"/>
                    <a:pt x="1490" y="553"/>
                    <a:pt x="1490" y="553"/>
                  </a:cubicBezTo>
                  <a:cubicBezTo>
                    <a:pt x="1490" y="554"/>
                    <a:pt x="1491" y="554"/>
                    <a:pt x="1491" y="554"/>
                  </a:cubicBezTo>
                  <a:cubicBezTo>
                    <a:pt x="1491" y="555"/>
                    <a:pt x="1491" y="555"/>
                    <a:pt x="1491" y="555"/>
                  </a:cubicBezTo>
                  <a:cubicBezTo>
                    <a:pt x="1491" y="555"/>
                    <a:pt x="1491" y="555"/>
                    <a:pt x="1491" y="555"/>
                  </a:cubicBezTo>
                  <a:cubicBezTo>
                    <a:pt x="1491" y="555"/>
                    <a:pt x="1491" y="555"/>
                    <a:pt x="1491" y="556"/>
                  </a:cubicBezTo>
                  <a:cubicBezTo>
                    <a:pt x="1491" y="556"/>
                    <a:pt x="1491" y="556"/>
                    <a:pt x="1491" y="556"/>
                  </a:cubicBezTo>
                  <a:cubicBezTo>
                    <a:pt x="1491" y="556"/>
                    <a:pt x="1491" y="556"/>
                    <a:pt x="1491" y="556"/>
                  </a:cubicBezTo>
                  <a:cubicBezTo>
                    <a:pt x="1491" y="556"/>
                    <a:pt x="1491" y="556"/>
                    <a:pt x="1491" y="556"/>
                  </a:cubicBezTo>
                  <a:cubicBezTo>
                    <a:pt x="1491" y="556"/>
                    <a:pt x="1491" y="556"/>
                    <a:pt x="1491" y="556"/>
                  </a:cubicBezTo>
                  <a:cubicBezTo>
                    <a:pt x="1491" y="556"/>
                    <a:pt x="1491" y="556"/>
                    <a:pt x="1491" y="556"/>
                  </a:cubicBezTo>
                  <a:cubicBezTo>
                    <a:pt x="1491" y="557"/>
                    <a:pt x="1491" y="557"/>
                    <a:pt x="1491" y="557"/>
                  </a:cubicBezTo>
                  <a:cubicBezTo>
                    <a:pt x="1491" y="557"/>
                    <a:pt x="1491" y="557"/>
                    <a:pt x="1491" y="557"/>
                  </a:cubicBezTo>
                  <a:cubicBezTo>
                    <a:pt x="1492" y="557"/>
                    <a:pt x="1492" y="557"/>
                    <a:pt x="1492" y="557"/>
                  </a:cubicBezTo>
                  <a:cubicBezTo>
                    <a:pt x="1492" y="557"/>
                    <a:pt x="1492" y="557"/>
                    <a:pt x="1492" y="557"/>
                  </a:cubicBezTo>
                  <a:cubicBezTo>
                    <a:pt x="1492" y="557"/>
                    <a:pt x="1492" y="557"/>
                    <a:pt x="1492" y="557"/>
                  </a:cubicBezTo>
                  <a:cubicBezTo>
                    <a:pt x="1492" y="557"/>
                    <a:pt x="1492" y="557"/>
                    <a:pt x="1492" y="557"/>
                  </a:cubicBezTo>
                  <a:cubicBezTo>
                    <a:pt x="1492" y="559"/>
                    <a:pt x="1493" y="559"/>
                    <a:pt x="1492" y="560"/>
                  </a:cubicBezTo>
                  <a:cubicBezTo>
                    <a:pt x="1492" y="561"/>
                    <a:pt x="1492" y="561"/>
                    <a:pt x="1492" y="561"/>
                  </a:cubicBezTo>
                  <a:cubicBezTo>
                    <a:pt x="1492" y="561"/>
                    <a:pt x="1492" y="561"/>
                    <a:pt x="1492" y="561"/>
                  </a:cubicBezTo>
                  <a:cubicBezTo>
                    <a:pt x="1492" y="561"/>
                    <a:pt x="1492" y="561"/>
                    <a:pt x="1492" y="561"/>
                  </a:cubicBezTo>
                  <a:cubicBezTo>
                    <a:pt x="1492" y="561"/>
                    <a:pt x="1493" y="562"/>
                    <a:pt x="1493" y="562"/>
                  </a:cubicBezTo>
                  <a:cubicBezTo>
                    <a:pt x="1493" y="562"/>
                    <a:pt x="1493" y="562"/>
                    <a:pt x="1493" y="562"/>
                  </a:cubicBezTo>
                  <a:cubicBezTo>
                    <a:pt x="1493" y="562"/>
                    <a:pt x="1493" y="562"/>
                    <a:pt x="1493" y="562"/>
                  </a:cubicBezTo>
                  <a:cubicBezTo>
                    <a:pt x="1493" y="563"/>
                    <a:pt x="1493" y="564"/>
                    <a:pt x="1493" y="565"/>
                  </a:cubicBezTo>
                  <a:cubicBezTo>
                    <a:pt x="1492" y="565"/>
                    <a:pt x="1492" y="565"/>
                    <a:pt x="1492" y="565"/>
                  </a:cubicBezTo>
                  <a:cubicBezTo>
                    <a:pt x="1492" y="565"/>
                    <a:pt x="1492" y="565"/>
                    <a:pt x="1492" y="565"/>
                  </a:cubicBezTo>
                  <a:cubicBezTo>
                    <a:pt x="1492" y="566"/>
                    <a:pt x="1492" y="566"/>
                    <a:pt x="1492" y="566"/>
                  </a:cubicBezTo>
                  <a:cubicBezTo>
                    <a:pt x="1493" y="568"/>
                    <a:pt x="1493" y="570"/>
                    <a:pt x="1493" y="572"/>
                  </a:cubicBezTo>
                  <a:cubicBezTo>
                    <a:pt x="1493" y="572"/>
                    <a:pt x="1493" y="572"/>
                    <a:pt x="1493" y="572"/>
                  </a:cubicBezTo>
                  <a:cubicBezTo>
                    <a:pt x="1493" y="572"/>
                    <a:pt x="1493" y="572"/>
                    <a:pt x="1493" y="572"/>
                  </a:cubicBezTo>
                  <a:cubicBezTo>
                    <a:pt x="1493" y="572"/>
                    <a:pt x="1493" y="572"/>
                    <a:pt x="1493" y="572"/>
                  </a:cubicBezTo>
                  <a:cubicBezTo>
                    <a:pt x="1494" y="572"/>
                    <a:pt x="1494" y="572"/>
                    <a:pt x="1494" y="572"/>
                  </a:cubicBezTo>
                  <a:cubicBezTo>
                    <a:pt x="1494" y="575"/>
                    <a:pt x="1493" y="577"/>
                    <a:pt x="1493" y="580"/>
                  </a:cubicBezTo>
                  <a:cubicBezTo>
                    <a:pt x="1493" y="580"/>
                    <a:pt x="1493" y="580"/>
                    <a:pt x="1493" y="580"/>
                  </a:cubicBezTo>
                  <a:cubicBezTo>
                    <a:pt x="1493" y="580"/>
                    <a:pt x="1493" y="580"/>
                    <a:pt x="1493" y="580"/>
                  </a:cubicBezTo>
                  <a:cubicBezTo>
                    <a:pt x="1493" y="580"/>
                    <a:pt x="1493" y="580"/>
                    <a:pt x="1493" y="580"/>
                  </a:cubicBezTo>
                  <a:cubicBezTo>
                    <a:pt x="1493" y="582"/>
                    <a:pt x="1493" y="582"/>
                    <a:pt x="1493" y="584"/>
                  </a:cubicBezTo>
                  <a:cubicBezTo>
                    <a:pt x="1493" y="584"/>
                    <a:pt x="1493" y="584"/>
                    <a:pt x="1493" y="584"/>
                  </a:cubicBezTo>
                  <a:cubicBezTo>
                    <a:pt x="1493" y="584"/>
                    <a:pt x="1493" y="584"/>
                    <a:pt x="1493" y="584"/>
                  </a:cubicBezTo>
                  <a:cubicBezTo>
                    <a:pt x="1493" y="586"/>
                    <a:pt x="1493" y="587"/>
                    <a:pt x="1493" y="589"/>
                  </a:cubicBezTo>
                  <a:cubicBezTo>
                    <a:pt x="1493" y="589"/>
                    <a:pt x="1493" y="589"/>
                    <a:pt x="1493" y="589"/>
                  </a:cubicBezTo>
                  <a:cubicBezTo>
                    <a:pt x="1492" y="590"/>
                    <a:pt x="1492" y="590"/>
                    <a:pt x="1492" y="590"/>
                  </a:cubicBezTo>
                  <a:cubicBezTo>
                    <a:pt x="1491" y="593"/>
                    <a:pt x="1491" y="593"/>
                    <a:pt x="1491" y="593"/>
                  </a:cubicBezTo>
                  <a:cubicBezTo>
                    <a:pt x="1491" y="594"/>
                    <a:pt x="1491" y="594"/>
                    <a:pt x="1491" y="594"/>
                  </a:cubicBezTo>
                  <a:cubicBezTo>
                    <a:pt x="1491" y="595"/>
                    <a:pt x="1491" y="595"/>
                    <a:pt x="1491" y="595"/>
                  </a:cubicBezTo>
                  <a:cubicBezTo>
                    <a:pt x="1491" y="595"/>
                    <a:pt x="1491" y="595"/>
                    <a:pt x="1491" y="595"/>
                  </a:cubicBezTo>
                  <a:cubicBezTo>
                    <a:pt x="1491" y="595"/>
                    <a:pt x="1491" y="595"/>
                    <a:pt x="1491" y="595"/>
                  </a:cubicBezTo>
                  <a:cubicBezTo>
                    <a:pt x="1491" y="595"/>
                    <a:pt x="1491" y="595"/>
                    <a:pt x="1491" y="595"/>
                  </a:cubicBezTo>
                  <a:cubicBezTo>
                    <a:pt x="1491" y="595"/>
                    <a:pt x="1491" y="595"/>
                    <a:pt x="1491" y="595"/>
                  </a:cubicBezTo>
                  <a:cubicBezTo>
                    <a:pt x="1491" y="595"/>
                    <a:pt x="1490" y="596"/>
                    <a:pt x="1490" y="596"/>
                  </a:cubicBezTo>
                  <a:cubicBezTo>
                    <a:pt x="1490" y="596"/>
                    <a:pt x="1490" y="596"/>
                    <a:pt x="1490" y="596"/>
                  </a:cubicBezTo>
                  <a:cubicBezTo>
                    <a:pt x="1490" y="596"/>
                    <a:pt x="1490" y="596"/>
                    <a:pt x="1490" y="596"/>
                  </a:cubicBezTo>
                  <a:cubicBezTo>
                    <a:pt x="1490" y="597"/>
                    <a:pt x="1490" y="597"/>
                    <a:pt x="1490" y="598"/>
                  </a:cubicBezTo>
                  <a:cubicBezTo>
                    <a:pt x="1490" y="598"/>
                    <a:pt x="1490" y="598"/>
                    <a:pt x="1490" y="598"/>
                  </a:cubicBezTo>
                  <a:cubicBezTo>
                    <a:pt x="1489" y="598"/>
                    <a:pt x="1489" y="598"/>
                    <a:pt x="1489" y="598"/>
                  </a:cubicBezTo>
                  <a:cubicBezTo>
                    <a:pt x="1489" y="598"/>
                    <a:pt x="1489" y="598"/>
                    <a:pt x="1489" y="598"/>
                  </a:cubicBezTo>
                  <a:cubicBezTo>
                    <a:pt x="1489" y="598"/>
                    <a:pt x="1489" y="598"/>
                    <a:pt x="1489" y="598"/>
                  </a:cubicBezTo>
                  <a:cubicBezTo>
                    <a:pt x="1489" y="599"/>
                    <a:pt x="1488" y="599"/>
                    <a:pt x="1487" y="600"/>
                  </a:cubicBezTo>
                  <a:cubicBezTo>
                    <a:pt x="1486" y="600"/>
                    <a:pt x="1486" y="600"/>
                    <a:pt x="1486" y="600"/>
                  </a:cubicBezTo>
                  <a:cubicBezTo>
                    <a:pt x="1486" y="601"/>
                    <a:pt x="1486" y="601"/>
                    <a:pt x="1486" y="601"/>
                  </a:cubicBezTo>
                  <a:cubicBezTo>
                    <a:pt x="1486" y="601"/>
                    <a:pt x="1485" y="602"/>
                    <a:pt x="1485" y="602"/>
                  </a:cubicBezTo>
                  <a:cubicBezTo>
                    <a:pt x="1485" y="602"/>
                    <a:pt x="1485" y="602"/>
                    <a:pt x="1485" y="602"/>
                  </a:cubicBezTo>
                  <a:cubicBezTo>
                    <a:pt x="1484" y="602"/>
                    <a:pt x="1484" y="602"/>
                    <a:pt x="1484" y="602"/>
                  </a:cubicBezTo>
                  <a:cubicBezTo>
                    <a:pt x="1484" y="603"/>
                    <a:pt x="1484" y="603"/>
                    <a:pt x="1484" y="603"/>
                  </a:cubicBezTo>
                  <a:cubicBezTo>
                    <a:pt x="1484" y="603"/>
                    <a:pt x="1484" y="603"/>
                    <a:pt x="1484" y="603"/>
                  </a:cubicBezTo>
                  <a:cubicBezTo>
                    <a:pt x="1482" y="604"/>
                    <a:pt x="1481" y="607"/>
                    <a:pt x="1479" y="608"/>
                  </a:cubicBezTo>
                  <a:cubicBezTo>
                    <a:pt x="1478" y="609"/>
                    <a:pt x="1478" y="609"/>
                    <a:pt x="1478" y="609"/>
                  </a:cubicBezTo>
                  <a:cubicBezTo>
                    <a:pt x="1478" y="609"/>
                    <a:pt x="1478" y="609"/>
                    <a:pt x="1478" y="609"/>
                  </a:cubicBezTo>
                  <a:cubicBezTo>
                    <a:pt x="1478" y="609"/>
                    <a:pt x="1478" y="609"/>
                    <a:pt x="1478" y="609"/>
                  </a:cubicBezTo>
                  <a:cubicBezTo>
                    <a:pt x="1478" y="609"/>
                    <a:pt x="1478" y="609"/>
                    <a:pt x="1478" y="609"/>
                  </a:cubicBezTo>
                  <a:cubicBezTo>
                    <a:pt x="1478" y="609"/>
                    <a:pt x="1478" y="609"/>
                    <a:pt x="1478" y="609"/>
                  </a:cubicBezTo>
                  <a:cubicBezTo>
                    <a:pt x="1478" y="610"/>
                    <a:pt x="1481" y="607"/>
                    <a:pt x="1480" y="609"/>
                  </a:cubicBezTo>
                  <a:cubicBezTo>
                    <a:pt x="1480" y="609"/>
                    <a:pt x="1480" y="609"/>
                    <a:pt x="1480" y="609"/>
                  </a:cubicBezTo>
                  <a:cubicBezTo>
                    <a:pt x="1480" y="609"/>
                    <a:pt x="1480" y="609"/>
                    <a:pt x="1480" y="609"/>
                  </a:cubicBezTo>
                  <a:cubicBezTo>
                    <a:pt x="1479" y="610"/>
                    <a:pt x="1478" y="610"/>
                    <a:pt x="1478" y="611"/>
                  </a:cubicBezTo>
                  <a:cubicBezTo>
                    <a:pt x="1477" y="612"/>
                    <a:pt x="1477" y="612"/>
                    <a:pt x="1477" y="612"/>
                  </a:cubicBezTo>
                  <a:cubicBezTo>
                    <a:pt x="1477" y="612"/>
                    <a:pt x="1477" y="612"/>
                    <a:pt x="1477" y="612"/>
                  </a:cubicBezTo>
                  <a:cubicBezTo>
                    <a:pt x="1477" y="612"/>
                    <a:pt x="1477" y="612"/>
                    <a:pt x="1477" y="612"/>
                  </a:cubicBezTo>
                  <a:cubicBezTo>
                    <a:pt x="1477" y="612"/>
                    <a:pt x="1477" y="612"/>
                    <a:pt x="1477" y="612"/>
                  </a:cubicBezTo>
                  <a:cubicBezTo>
                    <a:pt x="1477" y="612"/>
                    <a:pt x="1477" y="612"/>
                    <a:pt x="1477" y="612"/>
                  </a:cubicBezTo>
                  <a:cubicBezTo>
                    <a:pt x="1476" y="613"/>
                    <a:pt x="1475" y="614"/>
                    <a:pt x="1474" y="615"/>
                  </a:cubicBezTo>
                  <a:cubicBezTo>
                    <a:pt x="1473" y="615"/>
                    <a:pt x="1473" y="615"/>
                    <a:pt x="1473" y="615"/>
                  </a:cubicBezTo>
                  <a:cubicBezTo>
                    <a:pt x="1473" y="615"/>
                    <a:pt x="1473" y="615"/>
                    <a:pt x="1473" y="615"/>
                  </a:cubicBezTo>
                  <a:cubicBezTo>
                    <a:pt x="1473" y="615"/>
                    <a:pt x="1472" y="616"/>
                    <a:pt x="1472" y="616"/>
                  </a:cubicBezTo>
                  <a:cubicBezTo>
                    <a:pt x="1472" y="616"/>
                    <a:pt x="1472" y="616"/>
                    <a:pt x="1472" y="616"/>
                  </a:cubicBezTo>
                  <a:cubicBezTo>
                    <a:pt x="1472" y="616"/>
                    <a:pt x="1472" y="616"/>
                    <a:pt x="1472" y="616"/>
                  </a:cubicBezTo>
                  <a:cubicBezTo>
                    <a:pt x="1472" y="616"/>
                    <a:pt x="1472" y="616"/>
                    <a:pt x="1472" y="616"/>
                  </a:cubicBezTo>
                  <a:cubicBezTo>
                    <a:pt x="1470" y="618"/>
                    <a:pt x="1465" y="621"/>
                    <a:pt x="1464" y="622"/>
                  </a:cubicBezTo>
                  <a:cubicBezTo>
                    <a:pt x="1464" y="622"/>
                    <a:pt x="1464" y="622"/>
                    <a:pt x="1464" y="622"/>
                  </a:cubicBezTo>
                  <a:cubicBezTo>
                    <a:pt x="1464" y="622"/>
                    <a:pt x="1464" y="622"/>
                    <a:pt x="1464" y="622"/>
                  </a:cubicBezTo>
                  <a:cubicBezTo>
                    <a:pt x="1464" y="622"/>
                    <a:pt x="1464" y="622"/>
                    <a:pt x="1464" y="622"/>
                  </a:cubicBezTo>
                  <a:cubicBezTo>
                    <a:pt x="1464" y="623"/>
                    <a:pt x="1464" y="623"/>
                    <a:pt x="1464" y="623"/>
                  </a:cubicBezTo>
                  <a:cubicBezTo>
                    <a:pt x="1464" y="623"/>
                    <a:pt x="1464" y="623"/>
                    <a:pt x="1464" y="623"/>
                  </a:cubicBezTo>
                  <a:cubicBezTo>
                    <a:pt x="1418" y="642"/>
                    <a:pt x="1418" y="642"/>
                    <a:pt x="1418" y="642"/>
                  </a:cubicBezTo>
                  <a:cubicBezTo>
                    <a:pt x="1420" y="642"/>
                    <a:pt x="1420" y="642"/>
                    <a:pt x="1420" y="642"/>
                  </a:cubicBezTo>
                  <a:cubicBezTo>
                    <a:pt x="1420" y="642"/>
                    <a:pt x="1420" y="642"/>
                    <a:pt x="1420" y="642"/>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2" y="643"/>
                    <a:pt x="1422" y="643"/>
                    <a:pt x="1422" y="643"/>
                  </a:cubicBezTo>
                  <a:cubicBezTo>
                    <a:pt x="1422" y="643"/>
                    <a:pt x="1422" y="643"/>
                    <a:pt x="1422" y="643"/>
                  </a:cubicBezTo>
                  <a:cubicBezTo>
                    <a:pt x="1422" y="643"/>
                    <a:pt x="1422" y="643"/>
                    <a:pt x="1422" y="643"/>
                  </a:cubicBezTo>
                  <a:cubicBezTo>
                    <a:pt x="1422" y="643"/>
                    <a:pt x="1422" y="643"/>
                    <a:pt x="1422" y="643"/>
                  </a:cubicBezTo>
                  <a:cubicBezTo>
                    <a:pt x="1422" y="643"/>
                    <a:pt x="1422" y="643"/>
                    <a:pt x="1422" y="643"/>
                  </a:cubicBezTo>
                  <a:cubicBezTo>
                    <a:pt x="1422" y="644"/>
                    <a:pt x="1422" y="644"/>
                    <a:pt x="1422" y="644"/>
                  </a:cubicBezTo>
                  <a:cubicBezTo>
                    <a:pt x="1422" y="644"/>
                    <a:pt x="1422" y="644"/>
                    <a:pt x="1422" y="644"/>
                  </a:cubicBezTo>
                  <a:cubicBezTo>
                    <a:pt x="1422" y="644"/>
                    <a:pt x="1422" y="644"/>
                    <a:pt x="1422" y="644"/>
                  </a:cubicBezTo>
                  <a:cubicBezTo>
                    <a:pt x="1422" y="644"/>
                    <a:pt x="1422" y="644"/>
                    <a:pt x="1422"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5"/>
                    <a:pt x="1423" y="645"/>
                    <a:pt x="1423" y="645"/>
                  </a:cubicBezTo>
                  <a:cubicBezTo>
                    <a:pt x="1424" y="645"/>
                    <a:pt x="1424" y="645"/>
                    <a:pt x="1424" y="645"/>
                  </a:cubicBezTo>
                  <a:cubicBezTo>
                    <a:pt x="1424" y="647"/>
                    <a:pt x="1424" y="647"/>
                    <a:pt x="1424" y="647"/>
                  </a:cubicBezTo>
                  <a:cubicBezTo>
                    <a:pt x="1424" y="648"/>
                    <a:pt x="1424" y="648"/>
                    <a:pt x="1424" y="648"/>
                  </a:cubicBezTo>
                  <a:cubicBezTo>
                    <a:pt x="1424" y="648"/>
                    <a:pt x="1424" y="648"/>
                    <a:pt x="1424" y="648"/>
                  </a:cubicBezTo>
                  <a:cubicBezTo>
                    <a:pt x="1425" y="649"/>
                    <a:pt x="1424" y="649"/>
                    <a:pt x="1425" y="650"/>
                  </a:cubicBezTo>
                  <a:cubicBezTo>
                    <a:pt x="1425" y="651"/>
                    <a:pt x="1425" y="651"/>
                    <a:pt x="1425" y="651"/>
                  </a:cubicBezTo>
                  <a:cubicBezTo>
                    <a:pt x="1426" y="653"/>
                    <a:pt x="1426" y="653"/>
                    <a:pt x="1426" y="653"/>
                  </a:cubicBezTo>
                  <a:cubicBezTo>
                    <a:pt x="1426" y="653"/>
                    <a:pt x="1426" y="653"/>
                    <a:pt x="1426" y="653"/>
                  </a:cubicBezTo>
                  <a:cubicBezTo>
                    <a:pt x="1426" y="654"/>
                    <a:pt x="1426" y="654"/>
                    <a:pt x="1426" y="654"/>
                  </a:cubicBezTo>
                  <a:cubicBezTo>
                    <a:pt x="1426" y="655"/>
                    <a:pt x="1426" y="655"/>
                    <a:pt x="1427" y="655"/>
                  </a:cubicBezTo>
                  <a:cubicBezTo>
                    <a:pt x="1427" y="655"/>
                    <a:pt x="1427" y="655"/>
                    <a:pt x="1427" y="655"/>
                  </a:cubicBezTo>
                  <a:cubicBezTo>
                    <a:pt x="1427" y="655"/>
                    <a:pt x="1427" y="655"/>
                    <a:pt x="1427" y="655"/>
                  </a:cubicBezTo>
                  <a:cubicBezTo>
                    <a:pt x="1429" y="655"/>
                    <a:pt x="1429" y="655"/>
                    <a:pt x="1429" y="656"/>
                  </a:cubicBezTo>
                  <a:cubicBezTo>
                    <a:pt x="1429" y="657"/>
                    <a:pt x="1429" y="657"/>
                    <a:pt x="1429" y="657"/>
                  </a:cubicBezTo>
                  <a:cubicBezTo>
                    <a:pt x="1429" y="658"/>
                    <a:pt x="1429" y="658"/>
                    <a:pt x="1429"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2" y="658"/>
                    <a:pt x="1432" y="658"/>
                    <a:pt x="1432" y="658"/>
                  </a:cubicBezTo>
                  <a:cubicBezTo>
                    <a:pt x="1432" y="658"/>
                    <a:pt x="1432" y="658"/>
                    <a:pt x="1432" y="658"/>
                  </a:cubicBezTo>
                  <a:cubicBezTo>
                    <a:pt x="1432" y="658"/>
                    <a:pt x="1433" y="658"/>
                    <a:pt x="1434" y="658"/>
                  </a:cubicBezTo>
                  <a:cubicBezTo>
                    <a:pt x="1434" y="658"/>
                    <a:pt x="1434" y="658"/>
                    <a:pt x="1434" y="658"/>
                  </a:cubicBezTo>
                  <a:cubicBezTo>
                    <a:pt x="1434" y="658"/>
                    <a:pt x="1434" y="658"/>
                    <a:pt x="1434" y="658"/>
                  </a:cubicBezTo>
                  <a:cubicBezTo>
                    <a:pt x="1434" y="658"/>
                    <a:pt x="1434" y="658"/>
                    <a:pt x="1434" y="658"/>
                  </a:cubicBezTo>
                  <a:cubicBezTo>
                    <a:pt x="1434" y="658"/>
                    <a:pt x="1434" y="658"/>
                    <a:pt x="1434" y="658"/>
                  </a:cubicBezTo>
                  <a:cubicBezTo>
                    <a:pt x="1432" y="659"/>
                    <a:pt x="1432" y="659"/>
                    <a:pt x="1432" y="659"/>
                  </a:cubicBezTo>
                  <a:cubicBezTo>
                    <a:pt x="1432" y="660"/>
                    <a:pt x="1432" y="660"/>
                    <a:pt x="1432" y="660"/>
                  </a:cubicBezTo>
                  <a:cubicBezTo>
                    <a:pt x="1431" y="660"/>
                    <a:pt x="1431" y="660"/>
                    <a:pt x="1431" y="660"/>
                  </a:cubicBezTo>
                  <a:cubicBezTo>
                    <a:pt x="1431" y="660"/>
                    <a:pt x="1431" y="660"/>
                    <a:pt x="1431" y="660"/>
                  </a:cubicBezTo>
                  <a:cubicBezTo>
                    <a:pt x="1431" y="661"/>
                    <a:pt x="1431" y="661"/>
                    <a:pt x="1431" y="661"/>
                  </a:cubicBezTo>
                  <a:cubicBezTo>
                    <a:pt x="1431" y="661"/>
                    <a:pt x="1431" y="661"/>
                    <a:pt x="1431" y="661"/>
                  </a:cubicBezTo>
                  <a:cubicBezTo>
                    <a:pt x="1430" y="661"/>
                    <a:pt x="1430" y="660"/>
                    <a:pt x="1430" y="660"/>
                  </a:cubicBezTo>
                  <a:cubicBezTo>
                    <a:pt x="1429" y="660"/>
                    <a:pt x="1429" y="660"/>
                    <a:pt x="1429" y="660"/>
                  </a:cubicBezTo>
                  <a:cubicBezTo>
                    <a:pt x="1429" y="660"/>
                    <a:pt x="1429" y="660"/>
                    <a:pt x="1429" y="660"/>
                  </a:cubicBezTo>
                  <a:cubicBezTo>
                    <a:pt x="1429" y="661"/>
                    <a:pt x="1429" y="661"/>
                    <a:pt x="1429" y="661"/>
                  </a:cubicBezTo>
                  <a:cubicBezTo>
                    <a:pt x="1430" y="661"/>
                    <a:pt x="1430" y="661"/>
                    <a:pt x="1430" y="661"/>
                  </a:cubicBezTo>
                  <a:cubicBezTo>
                    <a:pt x="1431" y="661"/>
                    <a:pt x="1431" y="661"/>
                    <a:pt x="1431" y="661"/>
                  </a:cubicBezTo>
                  <a:cubicBezTo>
                    <a:pt x="1431" y="661"/>
                    <a:pt x="1431" y="661"/>
                    <a:pt x="1431" y="661"/>
                  </a:cubicBezTo>
                  <a:cubicBezTo>
                    <a:pt x="1432" y="661"/>
                    <a:pt x="1432" y="661"/>
                    <a:pt x="1432" y="661"/>
                  </a:cubicBezTo>
                  <a:cubicBezTo>
                    <a:pt x="1432" y="661"/>
                    <a:pt x="1432" y="661"/>
                    <a:pt x="1432" y="661"/>
                  </a:cubicBezTo>
                  <a:cubicBezTo>
                    <a:pt x="1432" y="661"/>
                    <a:pt x="1432" y="661"/>
                    <a:pt x="1432" y="661"/>
                  </a:cubicBezTo>
                  <a:cubicBezTo>
                    <a:pt x="1432" y="661"/>
                    <a:pt x="1432" y="661"/>
                    <a:pt x="1432" y="661"/>
                  </a:cubicBezTo>
                  <a:cubicBezTo>
                    <a:pt x="1433" y="661"/>
                    <a:pt x="1433" y="661"/>
                    <a:pt x="1433" y="661"/>
                  </a:cubicBezTo>
                  <a:cubicBezTo>
                    <a:pt x="1433" y="661"/>
                    <a:pt x="1433" y="661"/>
                    <a:pt x="1433" y="661"/>
                  </a:cubicBezTo>
                  <a:cubicBezTo>
                    <a:pt x="1433" y="661"/>
                    <a:pt x="1433" y="661"/>
                    <a:pt x="1433" y="661"/>
                  </a:cubicBezTo>
                  <a:cubicBezTo>
                    <a:pt x="1433" y="661"/>
                    <a:pt x="1434" y="661"/>
                    <a:pt x="1434" y="662"/>
                  </a:cubicBezTo>
                  <a:cubicBezTo>
                    <a:pt x="1434" y="662"/>
                    <a:pt x="1434" y="662"/>
                    <a:pt x="1434" y="662"/>
                  </a:cubicBezTo>
                  <a:cubicBezTo>
                    <a:pt x="1434" y="662"/>
                    <a:pt x="1434" y="662"/>
                    <a:pt x="1434" y="662"/>
                  </a:cubicBezTo>
                  <a:cubicBezTo>
                    <a:pt x="1434" y="662"/>
                    <a:pt x="1434" y="662"/>
                    <a:pt x="1434" y="662"/>
                  </a:cubicBezTo>
                  <a:cubicBezTo>
                    <a:pt x="1434" y="662"/>
                    <a:pt x="1434" y="662"/>
                    <a:pt x="1434" y="662"/>
                  </a:cubicBezTo>
                  <a:cubicBezTo>
                    <a:pt x="1435" y="662"/>
                    <a:pt x="1435" y="662"/>
                    <a:pt x="1435" y="662"/>
                  </a:cubicBezTo>
                  <a:cubicBezTo>
                    <a:pt x="1435" y="662"/>
                    <a:pt x="1435" y="662"/>
                    <a:pt x="1435" y="662"/>
                  </a:cubicBezTo>
                  <a:cubicBezTo>
                    <a:pt x="1435" y="662"/>
                    <a:pt x="1435" y="662"/>
                    <a:pt x="1435" y="662"/>
                  </a:cubicBezTo>
                  <a:cubicBezTo>
                    <a:pt x="1435" y="663"/>
                    <a:pt x="1436" y="663"/>
                    <a:pt x="1436" y="663"/>
                  </a:cubicBezTo>
                  <a:cubicBezTo>
                    <a:pt x="1436" y="663"/>
                    <a:pt x="1436" y="663"/>
                    <a:pt x="1436" y="663"/>
                  </a:cubicBezTo>
                  <a:cubicBezTo>
                    <a:pt x="1436" y="663"/>
                    <a:pt x="1436" y="663"/>
                    <a:pt x="1436" y="663"/>
                  </a:cubicBezTo>
                  <a:cubicBezTo>
                    <a:pt x="1436" y="663"/>
                    <a:pt x="1436" y="663"/>
                    <a:pt x="1436" y="663"/>
                  </a:cubicBezTo>
                  <a:cubicBezTo>
                    <a:pt x="1436" y="663"/>
                    <a:pt x="1436" y="663"/>
                    <a:pt x="1436" y="663"/>
                  </a:cubicBezTo>
                  <a:cubicBezTo>
                    <a:pt x="1436" y="663"/>
                    <a:pt x="1436" y="663"/>
                    <a:pt x="1436" y="663"/>
                  </a:cubicBezTo>
                  <a:cubicBezTo>
                    <a:pt x="1435" y="663"/>
                    <a:pt x="1435" y="663"/>
                    <a:pt x="1435" y="663"/>
                  </a:cubicBezTo>
                  <a:cubicBezTo>
                    <a:pt x="1434" y="663"/>
                    <a:pt x="1434" y="663"/>
                    <a:pt x="1434" y="663"/>
                  </a:cubicBezTo>
                  <a:cubicBezTo>
                    <a:pt x="1434" y="663"/>
                    <a:pt x="1434" y="663"/>
                    <a:pt x="1434" y="663"/>
                  </a:cubicBezTo>
                  <a:cubicBezTo>
                    <a:pt x="1434" y="664"/>
                    <a:pt x="1434" y="664"/>
                    <a:pt x="1434" y="664"/>
                  </a:cubicBezTo>
                  <a:cubicBezTo>
                    <a:pt x="1434" y="664"/>
                    <a:pt x="1434" y="664"/>
                    <a:pt x="1434" y="664"/>
                  </a:cubicBezTo>
                  <a:cubicBezTo>
                    <a:pt x="1434" y="664"/>
                    <a:pt x="1434" y="664"/>
                    <a:pt x="1434" y="664"/>
                  </a:cubicBezTo>
                  <a:cubicBezTo>
                    <a:pt x="1433" y="664"/>
                    <a:pt x="1433" y="664"/>
                    <a:pt x="1433" y="664"/>
                  </a:cubicBezTo>
                  <a:cubicBezTo>
                    <a:pt x="1433" y="665"/>
                    <a:pt x="1433" y="665"/>
                    <a:pt x="1433" y="665"/>
                  </a:cubicBezTo>
                  <a:cubicBezTo>
                    <a:pt x="1433" y="665"/>
                    <a:pt x="1433" y="665"/>
                    <a:pt x="1433" y="665"/>
                  </a:cubicBezTo>
                  <a:cubicBezTo>
                    <a:pt x="1433" y="665"/>
                    <a:pt x="1433" y="665"/>
                    <a:pt x="1433" y="665"/>
                  </a:cubicBezTo>
                  <a:cubicBezTo>
                    <a:pt x="1433" y="665"/>
                    <a:pt x="1433" y="665"/>
                    <a:pt x="1433" y="665"/>
                  </a:cubicBezTo>
                  <a:cubicBezTo>
                    <a:pt x="1434" y="665"/>
                    <a:pt x="1435" y="665"/>
                    <a:pt x="1436" y="666"/>
                  </a:cubicBezTo>
                  <a:cubicBezTo>
                    <a:pt x="1436" y="666"/>
                    <a:pt x="1436" y="666"/>
                    <a:pt x="1436" y="666"/>
                  </a:cubicBezTo>
                  <a:cubicBezTo>
                    <a:pt x="1435" y="666"/>
                    <a:pt x="1435" y="666"/>
                    <a:pt x="1435" y="666"/>
                  </a:cubicBezTo>
                  <a:cubicBezTo>
                    <a:pt x="1435" y="666"/>
                    <a:pt x="1435" y="666"/>
                    <a:pt x="1435" y="666"/>
                  </a:cubicBezTo>
                  <a:cubicBezTo>
                    <a:pt x="1434" y="666"/>
                    <a:pt x="1434" y="666"/>
                    <a:pt x="1434" y="666"/>
                  </a:cubicBezTo>
                  <a:cubicBezTo>
                    <a:pt x="1434" y="667"/>
                    <a:pt x="1434" y="667"/>
                    <a:pt x="1434" y="667"/>
                  </a:cubicBezTo>
                  <a:cubicBezTo>
                    <a:pt x="1435" y="668"/>
                    <a:pt x="1435" y="668"/>
                    <a:pt x="1435" y="668"/>
                  </a:cubicBezTo>
                  <a:cubicBezTo>
                    <a:pt x="1436" y="668"/>
                    <a:pt x="1437" y="668"/>
                    <a:pt x="1438" y="669"/>
                  </a:cubicBezTo>
                  <a:cubicBezTo>
                    <a:pt x="1438" y="669"/>
                    <a:pt x="1438" y="669"/>
                    <a:pt x="1438" y="669"/>
                  </a:cubicBezTo>
                  <a:cubicBezTo>
                    <a:pt x="1438" y="669"/>
                    <a:pt x="1438" y="669"/>
                    <a:pt x="1438" y="669"/>
                  </a:cubicBezTo>
                  <a:cubicBezTo>
                    <a:pt x="1437" y="669"/>
                    <a:pt x="1437" y="669"/>
                    <a:pt x="1437" y="669"/>
                  </a:cubicBezTo>
                  <a:cubicBezTo>
                    <a:pt x="1436" y="669"/>
                    <a:pt x="1436" y="668"/>
                    <a:pt x="1435" y="669"/>
                  </a:cubicBezTo>
                  <a:cubicBezTo>
                    <a:pt x="1435" y="669"/>
                    <a:pt x="1435" y="669"/>
                    <a:pt x="1435" y="669"/>
                  </a:cubicBezTo>
                  <a:cubicBezTo>
                    <a:pt x="1434" y="669"/>
                    <a:pt x="1434" y="669"/>
                    <a:pt x="1434" y="669"/>
                  </a:cubicBezTo>
                  <a:cubicBezTo>
                    <a:pt x="1434" y="670"/>
                    <a:pt x="1434" y="671"/>
                    <a:pt x="1433" y="672"/>
                  </a:cubicBezTo>
                  <a:cubicBezTo>
                    <a:pt x="1433" y="672"/>
                    <a:pt x="1433" y="672"/>
                    <a:pt x="1433" y="672"/>
                  </a:cubicBezTo>
                  <a:cubicBezTo>
                    <a:pt x="1432" y="672"/>
                    <a:pt x="1432" y="672"/>
                    <a:pt x="1432" y="672"/>
                  </a:cubicBezTo>
                  <a:cubicBezTo>
                    <a:pt x="1433" y="673"/>
                    <a:pt x="1433" y="673"/>
                    <a:pt x="1433" y="673"/>
                  </a:cubicBezTo>
                  <a:cubicBezTo>
                    <a:pt x="1435" y="674"/>
                    <a:pt x="1436" y="672"/>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7" y="676"/>
                    <a:pt x="1437" y="676"/>
                    <a:pt x="1437" y="676"/>
                  </a:cubicBezTo>
                  <a:cubicBezTo>
                    <a:pt x="1437" y="676"/>
                    <a:pt x="1437" y="676"/>
                    <a:pt x="1437" y="676"/>
                  </a:cubicBezTo>
                  <a:cubicBezTo>
                    <a:pt x="1437" y="676"/>
                    <a:pt x="1437" y="676"/>
                    <a:pt x="1437" y="676"/>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6" y="677"/>
                    <a:pt x="1436" y="677"/>
                    <a:pt x="1436" y="677"/>
                  </a:cubicBezTo>
                  <a:cubicBezTo>
                    <a:pt x="1435" y="678"/>
                    <a:pt x="1435" y="678"/>
                    <a:pt x="1435" y="678"/>
                  </a:cubicBezTo>
                  <a:cubicBezTo>
                    <a:pt x="1435" y="678"/>
                    <a:pt x="1435" y="678"/>
                    <a:pt x="1435" y="678"/>
                  </a:cubicBezTo>
                  <a:cubicBezTo>
                    <a:pt x="1435" y="678"/>
                    <a:pt x="1435" y="678"/>
                    <a:pt x="1435" y="678"/>
                  </a:cubicBezTo>
                  <a:cubicBezTo>
                    <a:pt x="1434" y="678"/>
                    <a:pt x="1434" y="678"/>
                    <a:pt x="1434" y="678"/>
                  </a:cubicBezTo>
                  <a:cubicBezTo>
                    <a:pt x="1434" y="678"/>
                    <a:pt x="1434" y="678"/>
                    <a:pt x="1434" y="678"/>
                  </a:cubicBezTo>
                  <a:cubicBezTo>
                    <a:pt x="1434" y="678"/>
                    <a:pt x="1434" y="678"/>
                    <a:pt x="1434" y="678"/>
                  </a:cubicBezTo>
                  <a:cubicBezTo>
                    <a:pt x="1434" y="678"/>
                    <a:pt x="1434" y="678"/>
                    <a:pt x="1434" y="678"/>
                  </a:cubicBezTo>
                  <a:cubicBezTo>
                    <a:pt x="1434" y="679"/>
                    <a:pt x="1434" y="679"/>
                    <a:pt x="1434" y="679"/>
                  </a:cubicBezTo>
                  <a:cubicBezTo>
                    <a:pt x="1434" y="679"/>
                    <a:pt x="1434" y="679"/>
                    <a:pt x="1434" y="679"/>
                  </a:cubicBezTo>
                  <a:cubicBezTo>
                    <a:pt x="1433" y="679"/>
                    <a:pt x="1433" y="679"/>
                    <a:pt x="1433" y="679"/>
                  </a:cubicBezTo>
                  <a:cubicBezTo>
                    <a:pt x="1433" y="679"/>
                    <a:pt x="1433" y="679"/>
                    <a:pt x="1433" y="679"/>
                  </a:cubicBezTo>
                  <a:cubicBezTo>
                    <a:pt x="1433" y="679"/>
                    <a:pt x="1433" y="679"/>
                    <a:pt x="1433" y="679"/>
                  </a:cubicBezTo>
                  <a:cubicBezTo>
                    <a:pt x="1434" y="680"/>
                    <a:pt x="1434" y="680"/>
                    <a:pt x="1434" y="680"/>
                  </a:cubicBezTo>
                  <a:cubicBezTo>
                    <a:pt x="1435" y="680"/>
                    <a:pt x="1435" y="680"/>
                    <a:pt x="1435" y="680"/>
                  </a:cubicBezTo>
                  <a:cubicBezTo>
                    <a:pt x="1436" y="681"/>
                    <a:pt x="1436" y="681"/>
                    <a:pt x="1436" y="682"/>
                  </a:cubicBezTo>
                  <a:cubicBezTo>
                    <a:pt x="1437" y="682"/>
                    <a:pt x="1437" y="682"/>
                    <a:pt x="1437" y="682"/>
                  </a:cubicBezTo>
                  <a:cubicBezTo>
                    <a:pt x="1437" y="682"/>
                    <a:pt x="1437" y="682"/>
                    <a:pt x="1437" y="682"/>
                  </a:cubicBezTo>
                  <a:cubicBezTo>
                    <a:pt x="1437" y="683"/>
                    <a:pt x="1437" y="685"/>
                    <a:pt x="1437" y="686"/>
                  </a:cubicBezTo>
                  <a:cubicBezTo>
                    <a:pt x="1437" y="686"/>
                    <a:pt x="1437" y="686"/>
                    <a:pt x="1437" y="686"/>
                  </a:cubicBezTo>
                  <a:cubicBezTo>
                    <a:pt x="1438" y="686"/>
                    <a:pt x="1438" y="686"/>
                    <a:pt x="1438" y="686"/>
                  </a:cubicBezTo>
                  <a:cubicBezTo>
                    <a:pt x="1438" y="687"/>
                    <a:pt x="1438" y="687"/>
                    <a:pt x="1438" y="687"/>
                  </a:cubicBezTo>
                  <a:cubicBezTo>
                    <a:pt x="1438" y="687"/>
                    <a:pt x="1438" y="687"/>
                    <a:pt x="1438" y="687"/>
                  </a:cubicBezTo>
                  <a:cubicBezTo>
                    <a:pt x="1439" y="687"/>
                    <a:pt x="1437" y="695"/>
                    <a:pt x="1438" y="695"/>
                  </a:cubicBezTo>
                  <a:cubicBezTo>
                    <a:pt x="1438" y="695"/>
                    <a:pt x="1438" y="695"/>
                    <a:pt x="1438" y="695"/>
                  </a:cubicBezTo>
                  <a:cubicBezTo>
                    <a:pt x="1438" y="695"/>
                    <a:pt x="1438" y="695"/>
                    <a:pt x="1438" y="695"/>
                  </a:cubicBezTo>
                  <a:cubicBezTo>
                    <a:pt x="1438" y="695"/>
                    <a:pt x="1438" y="695"/>
                    <a:pt x="1438"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40" y="696"/>
                    <a:pt x="1440" y="696"/>
                    <a:pt x="1440" y="696"/>
                  </a:cubicBezTo>
                  <a:cubicBezTo>
                    <a:pt x="1440" y="696"/>
                    <a:pt x="1440" y="696"/>
                    <a:pt x="1440" y="696"/>
                  </a:cubicBezTo>
                  <a:cubicBezTo>
                    <a:pt x="1440" y="696"/>
                    <a:pt x="1440" y="696"/>
                    <a:pt x="1440" y="696"/>
                  </a:cubicBezTo>
                  <a:cubicBezTo>
                    <a:pt x="1440" y="696"/>
                    <a:pt x="1440" y="696"/>
                    <a:pt x="1440" y="696"/>
                  </a:cubicBezTo>
                  <a:cubicBezTo>
                    <a:pt x="1441" y="696"/>
                    <a:pt x="1441" y="696"/>
                    <a:pt x="1441" y="696"/>
                  </a:cubicBezTo>
                  <a:cubicBezTo>
                    <a:pt x="1441" y="697"/>
                    <a:pt x="1441" y="697"/>
                    <a:pt x="1441" y="697"/>
                  </a:cubicBezTo>
                  <a:cubicBezTo>
                    <a:pt x="1441" y="698"/>
                    <a:pt x="1441" y="698"/>
                    <a:pt x="1441" y="698"/>
                  </a:cubicBezTo>
                  <a:cubicBezTo>
                    <a:pt x="1441" y="699"/>
                    <a:pt x="1441" y="699"/>
                    <a:pt x="1441" y="699"/>
                  </a:cubicBezTo>
                  <a:cubicBezTo>
                    <a:pt x="1441" y="699"/>
                    <a:pt x="1441" y="699"/>
                    <a:pt x="1441" y="699"/>
                  </a:cubicBezTo>
                  <a:cubicBezTo>
                    <a:pt x="1442" y="699"/>
                    <a:pt x="1442" y="699"/>
                    <a:pt x="1442" y="699"/>
                  </a:cubicBezTo>
                  <a:cubicBezTo>
                    <a:pt x="1442" y="699"/>
                    <a:pt x="1442" y="699"/>
                    <a:pt x="1442" y="699"/>
                  </a:cubicBezTo>
                  <a:cubicBezTo>
                    <a:pt x="1443" y="699"/>
                    <a:pt x="1443" y="699"/>
                    <a:pt x="1443" y="699"/>
                  </a:cubicBezTo>
                  <a:cubicBezTo>
                    <a:pt x="1443" y="699"/>
                    <a:pt x="1443" y="699"/>
                    <a:pt x="1443" y="699"/>
                  </a:cubicBezTo>
                  <a:cubicBezTo>
                    <a:pt x="1443" y="701"/>
                    <a:pt x="1443" y="701"/>
                    <a:pt x="1443" y="701"/>
                  </a:cubicBezTo>
                  <a:cubicBezTo>
                    <a:pt x="1442" y="705"/>
                    <a:pt x="1442" y="705"/>
                    <a:pt x="1442" y="705"/>
                  </a:cubicBezTo>
                  <a:cubicBezTo>
                    <a:pt x="1442" y="706"/>
                    <a:pt x="1442" y="706"/>
                    <a:pt x="1442" y="706"/>
                  </a:cubicBezTo>
                  <a:cubicBezTo>
                    <a:pt x="1442" y="707"/>
                    <a:pt x="1442" y="707"/>
                    <a:pt x="1442" y="707"/>
                  </a:cubicBezTo>
                  <a:cubicBezTo>
                    <a:pt x="1442" y="707"/>
                    <a:pt x="1442" y="707"/>
                    <a:pt x="1442" y="707"/>
                  </a:cubicBezTo>
                  <a:cubicBezTo>
                    <a:pt x="1442" y="707"/>
                    <a:pt x="1442" y="707"/>
                    <a:pt x="1442" y="707"/>
                  </a:cubicBezTo>
                  <a:cubicBezTo>
                    <a:pt x="1443" y="707"/>
                    <a:pt x="1443" y="707"/>
                    <a:pt x="1443" y="707"/>
                  </a:cubicBezTo>
                  <a:cubicBezTo>
                    <a:pt x="1443" y="708"/>
                    <a:pt x="1443" y="708"/>
                    <a:pt x="1443" y="708"/>
                  </a:cubicBezTo>
                  <a:cubicBezTo>
                    <a:pt x="1443" y="708"/>
                    <a:pt x="1443" y="708"/>
                    <a:pt x="1443" y="708"/>
                  </a:cubicBezTo>
                  <a:cubicBezTo>
                    <a:pt x="1442" y="709"/>
                    <a:pt x="1442" y="709"/>
                    <a:pt x="1442" y="709"/>
                  </a:cubicBezTo>
                  <a:cubicBezTo>
                    <a:pt x="1442" y="709"/>
                    <a:pt x="1442" y="709"/>
                    <a:pt x="1442" y="709"/>
                  </a:cubicBezTo>
                  <a:cubicBezTo>
                    <a:pt x="1442" y="709"/>
                    <a:pt x="1442" y="709"/>
                    <a:pt x="1442" y="709"/>
                  </a:cubicBezTo>
                  <a:cubicBezTo>
                    <a:pt x="1442" y="709"/>
                    <a:pt x="1442" y="709"/>
                    <a:pt x="1442"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4" y="709"/>
                    <a:pt x="1444" y="709"/>
                    <a:pt x="1444" y="709"/>
                  </a:cubicBezTo>
                  <a:cubicBezTo>
                    <a:pt x="1444" y="709"/>
                    <a:pt x="1444" y="709"/>
                    <a:pt x="1444" y="709"/>
                  </a:cubicBezTo>
                  <a:cubicBezTo>
                    <a:pt x="1444" y="710"/>
                    <a:pt x="1444" y="710"/>
                    <a:pt x="1444" y="710"/>
                  </a:cubicBezTo>
                  <a:cubicBezTo>
                    <a:pt x="1444" y="710"/>
                    <a:pt x="1444" y="710"/>
                    <a:pt x="1444" y="710"/>
                  </a:cubicBezTo>
                  <a:cubicBezTo>
                    <a:pt x="1444" y="710"/>
                    <a:pt x="1444" y="710"/>
                    <a:pt x="1444" y="710"/>
                  </a:cubicBezTo>
                  <a:cubicBezTo>
                    <a:pt x="1444" y="710"/>
                    <a:pt x="1444" y="710"/>
                    <a:pt x="1444" y="710"/>
                  </a:cubicBezTo>
                  <a:cubicBezTo>
                    <a:pt x="1445" y="710"/>
                    <a:pt x="1445" y="710"/>
                    <a:pt x="1445" y="710"/>
                  </a:cubicBezTo>
                  <a:cubicBezTo>
                    <a:pt x="1445" y="709"/>
                    <a:pt x="1446" y="709"/>
                    <a:pt x="1446" y="710"/>
                  </a:cubicBezTo>
                  <a:cubicBezTo>
                    <a:pt x="1446" y="710"/>
                    <a:pt x="1446" y="710"/>
                    <a:pt x="1446" y="710"/>
                  </a:cubicBezTo>
                  <a:cubicBezTo>
                    <a:pt x="1446" y="710"/>
                    <a:pt x="1446" y="710"/>
                    <a:pt x="1446" y="710"/>
                  </a:cubicBezTo>
                  <a:cubicBezTo>
                    <a:pt x="1446" y="710"/>
                    <a:pt x="1446" y="710"/>
                    <a:pt x="1446" y="710"/>
                  </a:cubicBezTo>
                  <a:cubicBezTo>
                    <a:pt x="1446" y="711"/>
                    <a:pt x="1446" y="711"/>
                    <a:pt x="1446" y="711"/>
                  </a:cubicBezTo>
                  <a:cubicBezTo>
                    <a:pt x="1446" y="711"/>
                    <a:pt x="1446" y="711"/>
                    <a:pt x="1446" y="711"/>
                  </a:cubicBezTo>
                  <a:cubicBezTo>
                    <a:pt x="1447" y="711"/>
                    <a:pt x="1447" y="711"/>
                    <a:pt x="1447" y="711"/>
                  </a:cubicBezTo>
                  <a:cubicBezTo>
                    <a:pt x="1447" y="711"/>
                    <a:pt x="1447" y="711"/>
                    <a:pt x="1447" y="711"/>
                  </a:cubicBezTo>
                  <a:cubicBezTo>
                    <a:pt x="1447" y="711"/>
                    <a:pt x="1447" y="711"/>
                    <a:pt x="1447" y="711"/>
                  </a:cubicBezTo>
                  <a:cubicBezTo>
                    <a:pt x="1447" y="712"/>
                    <a:pt x="1447" y="712"/>
                    <a:pt x="1447" y="712"/>
                  </a:cubicBezTo>
                  <a:cubicBezTo>
                    <a:pt x="1447" y="712"/>
                    <a:pt x="1447" y="712"/>
                    <a:pt x="1447" y="712"/>
                  </a:cubicBezTo>
                  <a:cubicBezTo>
                    <a:pt x="1447" y="713"/>
                    <a:pt x="1447" y="713"/>
                    <a:pt x="1447" y="713"/>
                  </a:cubicBezTo>
                  <a:cubicBezTo>
                    <a:pt x="1447" y="714"/>
                    <a:pt x="1447" y="714"/>
                    <a:pt x="1447" y="714"/>
                  </a:cubicBezTo>
                  <a:cubicBezTo>
                    <a:pt x="1447" y="715"/>
                    <a:pt x="1447" y="715"/>
                    <a:pt x="1447" y="715"/>
                  </a:cubicBezTo>
                  <a:cubicBezTo>
                    <a:pt x="1447" y="716"/>
                    <a:pt x="1447" y="716"/>
                    <a:pt x="1447" y="716"/>
                  </a:cubicBezTo>
                  <a:cubicBezTo>
                    <a:pt x="1448" y="717"/>
                    <a:pt x="1448" y="717"/>
                    <a:pt x="1448" y="717"/>
                  </a:cubicBezTo>
                  <a:cubicBezTo>
                    <a:pt x="1448" y="718"/>
                    <a:pt x="1448" y="717"/>
                    <a:pt x="1449" y="718"/>
                  </a:cubicBezTo>
                  <a:cubicBezTo>
                    <a:pt x="1449" y="718"/>
                    <a:pt x="1449" y="718"/>
                    <a:pt x="1449" y="718"/>
                  </a:cubicBezTo>
                  <a:cubicBezTo>
                    <a:pt x="1449" y="719"/>
                    <a:pt x="1449" y="719"/>
                    <a:pt x="1449" y="719"/>
                  </a:cubicBezTo>
                  <a:cubicBezTo>
                    <a:pt x="1449" y="719"/>
                    <a:pt x="1449" y="719"/>
                    <a:pt x="1449" y="719"/>
                  </a:cubicBezTo>
                  <a:cubicBezTo>
                    <a:pt x="1448" y="720"/>
                    <a:pt x="1448" y="720"/>
                    <a:pt x="1448" y="720"/>
                  </a:cubicBezTo>
                  <a:cubicBezTo>
                    <a:pt x="1446" y="723"/>
                    <a:pt x="1446" y="723"/>
                    <a:pt x="1446" y="723"/>
                  </a:cubicBezTo>
                  <a:cubicBezTo>
                    <a:pt x="1440" y="731"/>
                    <a:pt x="1440" y="731"/>
                    <a:pt x="1440" y="731"/>
                  </a:cubicBezTo>
                  <a:cubicBezTo>
                    <a:pt x="1437" y="733"/>
                    <a:pt x="1437" y="733"/>
                    <a:pt x="1437" y="733"/>
                  </a:cubicBezTo>
                  <a:cubicBezTo>
                    <a:pt x="1436" y="735"/>
                    <a:pt x="1436" y="735"/>
                    <a:pt x="1436" y="735"/>
                  </a:cubicBezTo>
                  <a:cubicBezTo>
                    <a:pt x="1436" y="735"/>
                    <a:pt x="1436" y="735"/>
                    <a:pt x="1436" y="735"/>
                  </a:cubicBezTo>
                  <a:cubicBezTo>
                    <a:pt x="1437" y="735"/>
                    <a:pt x="1437" y="735"/>
                    <a:pt x="1437" y="735"/>
                  </a:cubicBezTo>
                  <a:cubicBezTo>
                    <a:pt x="1438" y="736"/>
                    <a:pt x="1436" y="737"/>
                    <a:pt x="1438" y="737"/>
                  </a:cubicBezTo>
                  <a:cubicBezTo>
                    <a:pt x="1437" y="738"/>
                    <a:pt x="1438" y="738"/>
                    <a:pt x="1439" y="739"/>
                  </a:cubicBezTo>
                  <a:cubicBezTo>
                    <a:pt x="1439" y="739"/>
                    <a:pt x="1439" y="739"/>
                    <a:pt x="1439" y="739"/>
                  </a:cubicBezTo>
                  <a:cubicBezTo>
                    <a:pt x="1439" y="739"/>
                    <a:pt x="1439" y="739"/>
                    <a:pt x="1439" y="739"/>
                  </a:cubicBezTo>
                  <a:cubicBezTo>
                    <a:pt x="1439" y="739"/>
                    <a:pt x="1439" y="739"/>
                    <a:pt x="1439" y="739"/>
                  </a:cubicBezTo>
                  <a:cubicBezTo>
                    <a:pt x="1439" y="739"/>
                    <a:pt x="1439" y="739"/>
                    <a:pt x="1439" y="739"/>
                  </a:cubicBezTo>
                  <a:cubicBezTo>
                    <a:pt x="1439" y="738"/>
                    <a:pt x="1439" y="738"/>
                    <a:pt x="1439" y="738"/>
                  </a:cubicBezTo>
                  <a:cubicBezTo>
                    <a:pt x="1438" y="737"/>
                    <a:pt x="1438" y="737"/>
                    <a:pt x="1438" y="737"/>
                  </a:cubicBezTo>
                  <a:cubicBezTo>
                    <a:pt x="1438" y="737"/>
                    <a:pt x="1438" y="737"/>
                    <a:pt x="1438" y="737"/>
                  </a:cubicBezTo>
                  <a:cubicBezTo>
                    <a:pt x="1439" y="737"/>
                    <a:pt x="1439" y="738"/>
                    <a:pt x="1440" y="738"/>
                  </a:cubicBezTo>
                  <a:cubicBezTo>
                    <a:pt x="1440" y="738"/>
                    <a:pt x="1440" y="738"/>
                    <a:pt x="1440" y="738"/>
                  </a:cubicBezTo>
                  <a:cubicBezTo>
                    <a:pt x="1440" y="739"/>
                    <a:pt x="1440" y="739"/>
                    <a:pt x="1440" y="739"/>
                  </a:cubicBezTo>
                  <a:cubicBezTo>
                    <a:pt x="1440" y="739"/>
                    <a:pt x="1440" y="739"/>
                    <a:pt x="1440" y="739"/>
                  </a:cubicBezTo>
                  <a:cubicBezTo>
                    <a:pt x="1440" y="739"/>
                    <a:pt x="1440" y="739"/>
                    <a:pt x="1440" y="739"/>
                  </a:cubicBezTo>
                  <a:cubicBezTo>
                    <a:pt x="1440" y="740"/>
                    <a:pt x="1439" y="741"/>
                    <a:pt x="1440" y="742"/>
                  </a:cubicBezTo>
                  <a:cubicBezTo>
                    <a:pt x="1440" y="742"/>
                    <a:pt x="1440" y="742"/>
                    <a:pt x="1440" y="742"/>
                  </a:cubicBezTo>
                  <a:cubicBezTo>
                    <a:pt x="1441" y="742"/>
                    <a:pt x="1441" y="742"/>
                    <a:pt x="1441" y="742"/>
                  </a:cubicBezTo>
                  <a:cubicBezTo>
                    <a:pt x="1441" y="742"/>
                    <a:pt x="1442" y="741"/>
                    <a:pt x="1443" y="742"/>
                  </a:cubicBezTo>
                  <a:cubicBezTo>
                    <a:pt x="1443" y="742"/>
                    <a:pt x="1443" y="742"/>
                    <a:pt x="1443" y="742"/>
                  </a:cubicBezTo>
                  <a:cubicBezTo>
                    <a:pt x="1443" y="742"/>
                    <a:pt x="1443" y="742"/>
                    <a:pt x="1443" y="742"/>
                  </a:cubicBezTo>
                  <a:cubicBezTo>
                    <a:pt x="1442" y="742"/>
                    <a:pt x="1442" y="742"/>
                    <a:pt x="1442" y="742"/>
                  </a:cubicBezTo>
                  <a:cubicBezTo>
                    <a:pt x="1442" y="743"/>
                    <a:pt x="1442" y="743"/>
                    <a:pt x="1442" y="743"/>
                  </a:cubicBezTo>
                  <a:cubicBezTo>
                    <a:pt x="1440" y="745"/>
                    <a:pt x="1440" y="745"/>
                    <a:pt x="1440" y="745"/>
                  </a:cubicBezTo>
                  <a:cubicBezTo>
                    <a:pt x="1439" y="745"/>
                    <a:pt x="1439" y="745"/>
                    <a:pt x="1439" y="745"/>
                  </a:cubicBezTo>
                  <a:cubicBezTo>
                    <a:pt x="1439" y="746"/>
                    <a:pt x="1439" y="746"/>
                    <a:pt x="1439" y="746"/>
                  </a:cubicBezTo>
                  <a:cubicBezTo>
                    <a:pt x="1439" y="746"/>
                    <a:pt x="1439" y="746"/>
                    <a:pt x="1439" y="746"/>
                  </a:cubicBezTo>
                  <a:cubicBezTo>
                    <a:pt x="1439" y="746"/>
                    <a:pt x="1439" y="746"/>
                    <a:pt x="1439" y="746"/>
                  </a:cubicBezTo>
                  <a:cubicBezTo>
                    <a:pt x="1439" y="746"/>
                    <a:pt x="1439" y="746"/>
                    <a:pt x="1439" y="746"/>
                  </a:cubicBezTo>
                  <a:cubicBezTo>
                    <a:pt x="1439" y="746"/>
                    <a:pt x="1439" y="746"/>
                    <a:pt x="1439" y="746"/>
                  </a:cubicBezTo>
                  <a:cubicBezTo>
                    <a:pt x="1440" y="746"/>
                    <a:pt x="1440" y="746"/>
                    <a:pt x="1440" y="746"/>
                  </a:cubicBezTo>
                  <a:cubicBezTo>
                    <a:pt x="1439" y="746"/>
                    <a:pt x="1439" y="746"/>
                    <a:pt x="1439" y="746"/>
                  </a:cubicBezTo>
                  <a:cubicBezTo>
                    <a:pt x="1439" y="747"/>
                    <a:pt x="1439" y="747"/>
                    <a:pt x="1439" y="747"/>
                  </a:cubicBezTo>
                  <a:cubicBezTo>
                    <a:pt x="1438" y="748"/>
                    <a:pt x="1438" y="748"/>
                    <a:pt x="1438" y="748"/>
                  </a:cubicBezTo>
                  <a:cubicBezTo>
                    <a:pt x="1438" y="748"/>
                    <a:pt x="1438" y="748"/>
                    <a:pt x="1438" y="748"/>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7" y="748"/>
                    <a:pt x="1437" y="747"/>
                    <a:pt x="1437" y="747"/>
                  </a:cubicBezTo>
                  <a:cubicBezTo>
                    <a:pt x="1437" y="746"/>
                    <a:pt x="1437" y="746"/>
                    <a:pt x="1437" y="746"/>
                  </a:cubicBezTo>
                  <a:cubicBezTo>
                    <a:pt x="1437" y="746"/>
                    <a:pt x="1437" y="746"/>
                    <a:pt x="1437" y="746"/>
                  </a:cubicBezTo>
                  <a:cubicBezTo>
                    <a:pt x="1436" y="746"/>
                    <a:pt x="1436" y="746"/>
                    <a:pt x="1436" y="745"/>
                  </a:cubicBezTo>
                  <a:cubicBezTo>
                    <a:pt x="1436" y="745"/>
                    <a:pt x="1436" y="745"/>
                    <a:pt x="1436" y="745"/>
                  </a:cubicBezTo>
                  <a:cubicBezTo>
                    <a:pt x="1436" y="745"/>
                    <a:pt x="1436" y="745"/>
                    <a:pt x="1436" y="745"/>
                  </a:cubicBezTo>
                  <a:cubicBezTo>
                    <a:pt x="1436" y="745"/>
                    <a:pt x="1436" y="745"/>
                    <a:pt x="1436" y="745"/>
                  </a:cubicBezTo>
                  <a:cubicBezTo>
                    <a:pt x="1436" y="745"/>
                    <a:pt x="1436" y="745"/>
                    <a:pt x="1436" y="745"/>
                  </a:cubicBezTo>
                  <a:cubicBezTo>
                    <a:pt x="1436" y="745"/>
                    <a:pt x="1436" y="745"/>
                    <a:pt x="1436" y="745"/>
                  </a:cubicBezTo>
                  <a:cubicBezTo>
                    <a:pt x="1435" y="744"/>
                    <a:pt x="1436" y="743"/>
                    <a:pt x="1435" y="742"/>
                  </a:cubicBezTo>
                  <a:cubicBezTo>
                    <a:pt x="1435" y="742"/>
                    <a:pt x="1435" y="742"/>
                    <a:pt x="1435" y="742"/>
                  </a:cubicBezTo>
                  <a:cubicBezTo>
                    <a:pt x="1435" y="742"/>
                    <a:pt x="1435" y="742"/>
                    <a:pt x="1435" y="742"/>
                  </a:cubicBezTo>
                  <a:cubicBezTo>
                    <a:pt x="1434" y="742"/>
                    <a:pt x="1433" y="741"/>
                    <a:pt x="1432" y="740"/>
                  </a:cubicBezTo>
                  <a:cubicBezTo>
                    <a:pt x="1431" y="739"/>
                    <a:pt x="1431" y="739"/>
                    <a:pt x="1431" y="739"/>
                  </a:cubicBezTo>
                  <a:cubicBezTo>
                    <a:pt x="1430" y="739"/>
                    <a:pt x="1430" y="739"/>
                    <a:pt x="1430" y="739"/>
                  </a:cubicBezTo>
                  <a:cubicBezTo>
                    <a:pt x="1430" y="738"/>
                    <a:pt x="1430" y="738"/>
                    <a:pt x="1430" y="738"/>
                  </a:cubicBezTo>
                  <a:cubicBezTo>
                    <a:pt x="1430" y="738"/>
                    <a:pt x="1430" y="738"/>
                    <a:pt x="1430" y="738"/>
                  </a:cubicBezTo>
                  <a:cubicBezTo>
                    <a:pt x="1430" y="738"/>
                    <a:pt x="1430" y="738"/>
                    <a:pt x="1430" y="738"/>
                  </a:cubicBezTo>
                  <a:cubicBezTo>
                    <a:pt x="1430" y="738"/>
                    <a:pt x="1430" y="738"/>
                    <a:pt x="1430" y="738"/>
                  </a:cubicBezTo>
                  <a:cubicBezTo>
                    <a:pt x="1430" y="738"/>
                    <a:pt x="1430" y="738"/>
                    <a:pt x="1430" y="738"/>
                  </a:cubicBezTo>
                  <a:cubicBezTo>
                    <a:pt x="1429" y="738"/>
                    <a:pt x="1429" y="738"/>
                    <a:pt x="1429" y="738"/>
                  </a:cubicBezTo>
                  <a:cubicBezTo>
                    <a:pt x="1429" y="738"/>
                    <a:pt x="1429" y="738"/>
                    <a:pt x="1429" y="738"/>
                  </a:cubicBezTo>
                  <a:cubicBezTo>
                    <a:pt x="1423" y="743"/>
                    <a:pt x="1423" y="743"/>
                    <a:pt x="1423" y="743"/>
                  </a:cubicBezTo>
                  <a:cubicBezTo>
                    <a:pt x="1421" y="744"/>
                    <a:pt x="1421" y="744"/>
                    <a:pt x="1421" y="744"/>
                  </a:cubicBezTo>
                  <a:cubicBezTo>
                    <a:pt x="1421" y="744"/>
                    <a:pt x="1421" y="744"/>
                    <a:pt x="1421" y="744"/>
                  </a:cubicBezTo>
                  <a:cubicBezTo>
                    <a:pt x="1420" y="745"/>
                    <a:pt x="1420" y="745"/>
                    <a:pt x="1420" y="745"/>
                  </a:cubicBezTo>
                  <a:cubicBezTo>
                    <a:pt x="1420" y="745"/>
                    <a:pt x="1420" y="745"/>
                    <a:pt x="1420" y="745"/>
                  </a:cubicBezTo>
                  <a:cubicBezTo>
                    <a:pt x="1420" y="745"/>
                    <a:pt x="1420" y="745"/>
                    <a:pt x="1420" y="745"/>
                  </a:cubicBezTo>
                  <a:cubicBezTo>
                    <a:pt x="1420" y="745"/>
                    <a:pt x="1420" y="745"/>
                    <a:pt x="1420" y="745"/>
                  </a:cubicBezTo>
                  <a:cubicBezTo>
                    <a:pt x="1420" y="745"/>
                    <a:pt x="1420" y="745"/>
                    <a:pt x="1420" y="745"/>
                  </a:cubicBezTo>
                  <a:cubicBezTo>
                    <a:pt x="1419" y="745"/>
                    <a:pt x="1419" y="745"/>
                    <a:pt x="1419" y="745"/>
                  </a:cubicBezTo>
                  <a:cubicBezTo>
                    <a:pt x="1419" y="745"/>
                    <a:pt x="1419" y="745"/>
                    <a:pt x="1419" y="745"/>
                  </a:cubicBezTo>
                  <a:cubicBezTo>
                    <a:pt x="1419" y="746"/>
                    <a:pt x="1419" y="746"/>
                    <a:pt x="1419" y="746"/>
                  </a:cubicBezTo>
                  <a:cubicBezTo>
                    <a:pt x="1419" y="748"/>
                    <a:pt x="1419" y="748"/>
                    <a:pt x="1419" y="748"/>
                  </a:cubicBezTo>
                  <a:cubicBezTo>
                    <a:pt x="1419" y="749"/>
                    <a:pt x="1419" y="749"/>
                    <a:pt x="1419" y="749"/>
                  </a:cubicBezTo>
                  <a:cubicBezTo>
                    <a:pt x="1419" y="749"/>
                    <a:pt x="1419" y="749"/>
                    <a:pt x="1419" y="749"/>
                  </a:cubicBezTo>
                  <a:cubicBezTo>
                    <a:pt x="1419" y="750"/>
                    <a:pt x="1419" y="750"/>
                    <a:pt x="1418" y="751"/>
                  </a:cubicBezTo>
                  <a:cubicBezTo>
                    <a:pt x="1419" y="752"/>
                    <a:pt x="1419" y="752"/>
                    <a:pt x="1419" y="752"/>
                  </a:cubicBezTo>
                  <a:cubicBezTo>
                    <a:pt x="1419" y="752"/>
                    <a:pt x="1419" y="752"/>
                    <a:pt x="1419" y="752"/>
                  </a:cubicBezTo>
                  <a:cubicBezTo>
                    <a:pt x="1423" y="758"/>
                    <a:pt x="1423" y="758"/>
                    <a:pt x="1423" y="758"/>
                  </a:cubicBezTo>
                  <a:cubicBezTo>
                    <a:pt x="1425" y="760"/>
                    <a:pt x="1425" y="760"/>
                    <a:pt x="1425" y="760"/>
                  </a:cubicBezTo>
                  <a:cubicBezTo>
                    <a:pt x="1426" y="761"/>
                    <a:pt x="1426" y="761"/>
                    <a:pt x="1427" y="762"/>
                  </a:cubicBezTo>
                  <a:cubicBezTo>
                    <a:pt x="1427" y="762"/>
                    <a:pt x="1427" y="762"/>
                    <a:pt x="1427" y="762"/>
                  </a:cubicBezTo>
                  <a:cubicBezTo>
                    <a:pt x="1427" y="762"/>
                    <a:pt x="1427" y="762"/>
                    <a:pt x="1427" y="762"/>
                  </a:cubicBezTo>
                  <a:cubicBezTo>
                    <a:pt x="1427" y="763"/>
                    <a:pt x="1427" y="763"/>
                    <a:pt x="1428" y="764"/>
                  </a:cubicBezTo>
                  <a:cubicBezTo>
                    <a:pt x="1428" y="764"/>
                    <a:pt x="1428" y="764"/>
                    <a:pt x="1428" y="764"/>
                  </a:cubicBezTo>
                  <a:cubicBezTo>
                    <a:pt x="1428" y="764"/>
                    <a:pt x="1428" y="764"/>
                    <a:pt x="1428" y="764"/>
                  </a:cubicBezTo>
                  <a:cubicBezTo>
                    <a:pt x="1428" y="764"/>
                    <a:pt x="1428" y="764"/>
                    <a:pt x="1428" y="764"/>
                  </a:cubicBezTo>
                  <a:cubicBezTo>
                    <a:pt x="1428" y="764"/>
                    <a:pt x="1428" y="764"/>
                    <a:pt x="1428" y="764"/>
                  </a:cubicBezTo>
                  <a:cubicBezTo>
                    <a:pt x="1427" y="763"/>
                    <a:pt x="1427" y="763"/>
                    <a:pt x="1427" y="763"/>
                  </a:cubicBezTo>
                  <a:cubicBezTo>
                    <a:pt x="1423" y="758"/>
                    <a:pt x="1423" y="758"/>
                    <a:pt x="1423" y="758"/>
                  </a:cubicBezTo>
                  <a:cubicBezTo>
                    <a:pt x="1419" y="754"/>
                    <a:pt x="1419" y="754"/>
                    <a:pt x="1419" y="754"/>
                  </a:cubicBezTo>
                  <a:cubicBezTo>
                    <a:pt x="1418" y="753"/>
                    <a:pt x="1418" y="753"/>
                    <a:pt x="1418" y="753"/>
                  </a:cubicBezTo>
                  <a:cubicBezTo>
                    <a:pt x="1418" y="753"/>
                    <a:pt x="1417" y="752"/>
                    <a:pt x="1417" y="752"/>
                  </a:cubicBezTo>
                  <a:cubicBezTo>
                    <a:pt x="1416" y="752"/>
                    <a:pt x="1416" y="752"/>
                    <a:pt x="1416" y="752"/>
                  </a:cubicBezTo>
                  <a:cubicBezTo>
                    <a:pt x="1416" y="752"/>
                    <a:pt x="1416" y="752"/>
                    <a:pt x="1416" y="752"/>
                  </a:cubicBezTo>
                  <a:cubicBezTo>
                    <a:pt x="1416" y="752"/>
                    <a:pt x="1415" y="752"/>
                    <a:pt x="1415" y="751"/>
                  </a:cubicBezTo>
                  <a:cubicBezTo>
                    <a:pt x="1415" y="751"/>
                    <a:pt x="1415" y="751"/>
                    <a:pt x="1415" y="751"/>
                  </a:cubicBezTo>
                  <a:cubicBezTo>
                    <a:pt x="1415" y="751"/>
                    <a:pt x="1415" y="751"/>
                    <a:pt x="1415" y="751"/>
                  </a:cubicBezTo>
                  <a:cubicBezTo>
                    <a:pt x="1414" y="751"/>
                    <a:pt x="1414" y="751"/>
                    <a:pt x="1414" y="751"/>
                  </a:cubicBezTo>
                  <a:cubicBezTo>
                    <a:pt x="1414" y="750"/>
                    <a:pt x="1413" y="749"/>
                    <a:pt x="1412" y="749"/>
                  </a:cubicBezTo>
                  <a:cubicBezTo>
                    <a:pt x="1412" y="749"/>
                    <a:pt x="1412" y="749"/>
                    <a:pt x="1412" y="749"/>
                  </a:cubicBezTo>
                  <a:cubicBezTo>
                    <a:pt x="1411" y="749"/>
                    <a:pt x="1411" y="749"/>
                    <a:pt x="1411" y="749"/>
                  </a:cubicBezTo>
                  <a:cubicBezTo>
                    <a:pt x="1411" y="749"/>
                    <a:pt x="1411" y="749"/>
                    <a:pt x="1411" y="749"/>
                  </a:cubicBezTo>
                  <a:cubicBezTo>
                    <a:pt x="1411" y="749"/>
                    <a:pt x="1411" y="749"/>
                    <a:pt x="1411" y="749"/>
                  </a:cubicBezTo>
                  <a:cubicBezTo>
                    <a:pt x="1411" y="749"/>
                    <a:pt x="1411" y="749"/>
                    <a:pt x="1411" y="749"/>
                  </a:cubicBezTo>
                  <a:cubicBezTo>
                    <a:pt x="1410" y="749"/>
                    <a:pt x="1410" y="748"/>
                    <a:pt x="1410" y="748"/>
                  </a:cubicBezTo>
                  <a:cubicBezTo>
                    <a:pt x="1409" y="748"/>
                    <a:pt x="1409" y="748"/>
                    <a:pt x="1409" y="748"/>
                  </a:cubicBezTo>
                  <a:cubicBezTo>
                    <a:pt x="1409" y="748"/>
                    <a:pt x="1409" y="748"/>
                    <a:pt x="1409" y="748"/>
                  </a:cubicBezTo>
                  <a:cubicBezTo>
                    <a:pt x="1408" y="748"/>
                    <a:pt x="1408" y="748"/>
                    <a:pt x="1407" y="748"/>
                  </a:cubicBezTo>
                  <a:cubicBezTo>
                    <a:pt x="1407" y="748"/>
                    <a:pt x="1407" y="748"/>
                    <a:pt x="1407" y="748"/>
                  </a:cubicBezTo>
                  <a:cubicBezTo>
                    <a:pt x="1407" y="748"/>
                    <a:pt x="1407" y="748"/>
                    <a:pt x="1407" y="748"/>
                  </a:cubicBezTo>
                  <a:cubicBezTo>
                    <a:pt x="1407" y="748"/>
                    <a:pt x="1407" y="748"/>
                    <a:pt x="1407" y="748"/>
                  </a:cubicBezTo>
                  <a:cubicBezTo>
                    <a:pt x="1406" y="747"/>
                    <a:pt x="1406" y="747"/>
                    <a:pt x="1406" y="747"/>
                  </a:cubicBezTo>
                  <a:cubicBezTo>
                    <a:pt x="1406" y="747"/>
                    <a:pt x="1405" y="747"/>
                    <a:pt x="1405" y="747"/>
                  </a:cubicBezTo>
                  <a:cubicBezTo>
                    <a:pt x="1405" y="747"/>
                    <a:pt x="1405" y="747"/>
                    <a:pt x="1405" y="747"/>
                  </a:cubicBezTo>
                  <a:cubicBezTo>
                    <a:pt x="1404" y="747"/>
                    <a:pt x="1404" y="747"/>
                    <a:pt x="1404" y="747"/>
                  </a:cubicBezTo>
                  <a:cubicBezTo>
                    <a:pt x="1404" y="747"/>
                    <a:pt x="1403" y="747"/>
                    <a:pt x="1403" y="747"/>
                  </a:cubicBezTo>
                  <a:cubicBezTo>
                    <a:pt x="1403" y="747"/>
                    <a:pt x="1403" y="747"/>
                    <a:pt x="1403" y="747"/>
                  </a:cubicBezTo>
                  <a:cubicBezTo>
                    <a:pt x="1402" y="747"/>
                    <a:pt x="1402" y="747"/>
                    <a:pt x="1402" y="747"/>
                  </a:cubicBezTo>
                  <a:cubicBezTo>
                    <a:pt x="1402" y="747"/>
                    <a:pt x="1402" y="747"/>
                    <a:pt x="1402" y="747"/>
                  </a:cubicBezTo>
                  <a:cubicBezTo>
                    <a:pt x="1402" y="747"/>
                    <a:pt x="1402" y="747"/>
                    <a:pt x="1402" y="747"/>
                  </a:cubicBezTo>
                  <a:cubicBezTo>
                    <a:pt x="1402" y="747"/>
                    <a:pt x="1402" y="747"/>
                    <a:pt x="1402" y="747"/>
                  </a:cubicBezTo>
                  <a:cubicBezTo>
                    <a:pt x="1402" y="747"/>
                    <a:pt x="1402" y="747"/>
                    <a:pt x="1402" y="747"/>
                  </a:cubicBezTo>
                  <a:cubicBezTo>
                    <a:pt x="1402" y="748"/>
                    <a:pt x="1402" y="748"/>
                    <a:pt x="1402" y="748"/>
                  </a:cubicBezTo>
                  <a:cubicBezTo>
                    <a:pt x="1401" y="748"/>
                    <a:pt x="1400" y="749"/>
                    <a:pt x="1399" y="749"/>
                  </a:cubicBezTo>
                  <a:cubicBezTo>
                    <a:pt x="1399" y="750"/>
                    <a:pt x="1399" y="750"/>
                    <a:pt x="1399" y="750"/>
                  </a:cubicBezTo>
                  <a:cubicBezTo>
                    <a:pt x="1399" y="750"/>
                    <a:pt x="1399" y="750"/>
                    <a:pt x="1399" y="750"/>
                  </a:cubicBezTo>
                  <a:cubicBezTo>
                    <a:pt x="1399" y="750"/>
                    <a:pt x="1399" y="750"/>
                    <a:pt x="1399" y="750"/>
                  </a:cubicBezTo>
                  <a:cubicBezTo>
                    <a:pt x="1398" y="750"/>
                    <a:pt x="1398" y="750"/>
                    <a:pt x="1398" y="751"/>
                  </a:cubicBezTo>
                  <a:cubicBezTo>
                    <a:pt x="1398" y="751"/>
                    <a:pt x="1398" y="751"/>
                    <a:pt x="1398" y="751"/>
                  </a:cubicBezTo>
                  <a:cubicBezTo>
                    <a:pt x="1398" y="751"/>
                    <a:pt x="1398" y="751"/>
                    <a:pt x="1398" y="751"/>
                  </a:cubicBezTo>
                  <a:cubicBezTo>
                    <a:pt x="1397" y="751"/>
                    <a:pt x="1397" y="752"/>
                    <a:pt x="1397" y="752"/>
                  </a:cubicBezTo>
                  <a:cubicBezTo>
                    <a:pt x="1396" y="752"/>
                    <a:pt x="1396" y="752"/>
                    <a:pt x="1396" y="752"/>
                  </a:cubicBezTo>
                  <a:cubicBezTo>
                    <a:pt x="1396" y="752"/>
                    <a:pt x="1396" y="752"/>
                    <a:pt x="1396" y="752"/>
                  </a:cubicBezTo>
                  <a:cubicBezTo>
                    <a:pt x="1396" y="752"/>
                    <a:pt x="1396" y="752"/>
                    <a:pt x="1396" y="752"/>
                  </a:cubicBezTo>
                  <a:cubicBezTo>
                    <a:pt x="1396" y="752"/>
                    <a:pt x="1396" y="752"/>
                    <a:pt x="1396" y="752"/>
                  </a:cubicBezTo>
                  <a:cubicBezTo>
                    <a:pt x="1396" y="752"/>
                    <a:pt x="1396" y="752"/>
                    <a:pt x="1396" y="752"/>
                  </a:cubicBezTo>
                  <a:cubicBezTo>
                    <a:pt x="1396" y="753"/>
                    <a:pt x="1396" y="753"/>
                    <a:pt x="1396" y="753"/>
                  </a:cubicBezTo>
                  <a:cubicBezTo>
                    <a:pt x="1395" y="753"/>
                    <a:pt x="1395" y="753"/>
                    <a:pt x="1394" y="753"/>
                  </a:cubicBezTo>
                  <a:cubicBezTo>
                    <a:pt x="1394" y="753"/>
                    <a:pt x="1394" y="753"/>
                    <a:pt x="1394" y="753"/>
                  </a:cubicBezTo>
                  <a:cubicBezTo>
                    <a:pt x="1394" y="753"/>
                    <a:pt x="1394" y="753"/>
                    <a:pt x="1394" y="753"/>
                  </a:cubicBezTo>
                  <a:cubicBezTo>
                    <a:pt x="1393" y="753"/>
                    <a:pt x="1393" y="753"/>
                    <a:pt x="1392" y="754"/>
                  </a:cubicBezTo>
                  <a:cubicBezTo>
                    <a:pt x="1392" y="754"/>
                    <a:pt x="1392" y="754"/>
                    <a:pt x="1392" y="754"/>
                  </a:cubicBezTo>
                  <a:cubicBezTo>
                    <a:pt x="1392" y="754"/>
                    <a:pt x="1392" y="754"/>
                    <a:pt x="1392" y="754"/>
                  </a:cubicBezTo>
                  <a:cubicBezTo>
                    <a:pt x="1392" y="754"/>
                    <a:pt x="1392" y="754"/>
                    <a:pt x="1392" y="754"/>
                  </a:cubicBezTo>
                  <a:cubicBezTo>
                    <a:pt x="1392" y="754"/>
                    <a:pt x="1392" y="754"/>
                    <a:pt x="1392" y="754"/>
                  </a:cubicBezTo>
                  <a:cubicBezTo>
                    <a:pt x="1392" y="755"/>
                    <a:pt x="1392" y="755"/>
                    <a:pt x="1392" y="756"/>
                  </a:cubicBezTo>
                  <a:cubicBezTo>
                    <a:pt x="1392" y="756"/>
                    <a:pt x="1392" y="756"/>
                    <a:pt x="1392" y="756"/>
                  </a:cubicBezTo>
                  <a:cubicBezTo>
                    <a:pt x="1391" y="756"/>
                    <a:pt x="1391" y="756"/>
                    <a:pt x="1391" y="756"/>
                  </a:cubicBezTo>
                  <a:cubicBezTo>
                    <a:pt x="1391" y="756"/>
                    <a:pt x="1391" y="756"/>
                    <a:pt x="1391" y="756"/>
                  </a:cubicBezTo>
                  <a:cubicBezTo>
                    <a:pt x="1391" y="756"/>
                    <a:pt x="1391" y="756"/>
                    <a:pt x="1391" y="756"/>
                  </a:cubicBezTo>
                  <a:cubicBezTo>
                    <a:pt x="1391" y="756"/>
                    <a:pt x="1391" y="756"/>
                    <a:pt x="1391" y="756"/>
                  </a:cubicBezTo>
                  <a:cubicBezTo>
                    <a:pt x="1391" y="756"/>
                    <a:pt x="1391" y="756"/>
                    <a:pt x="1391" y="756"/>
                  </a:cubicBezTo>
                  <a:cubicBezTo>
                    <a:pt x="1391" y="757"/>
                    <a:pt x="1391" y="757"/>
                    <a:pt x="1391" y="757"/>
                  </a:cubicBezTo>
                  <a:cubicBezTo>
                    <a:pt x="1391" y="757"/>
                    <a:pt x="1391" y="757"/>
                    <a:pt x="1391" y="757"/>
                  </a:cubicBezTo>
                  <a:cubicBezTo>
                    <a:pt x="1391" y="757"/>
                    <a:pt x="1391" y="757"/>
                    <a:pt x="1391" y="757"/>
                  </a:cubicBezTo>
                  <a:cubicBezTo>
                    <a:pt x="1391" y="757"/>
                    <a:pt x="1391" y="757"/>
                    <a:pt x="1391" y="757"/>
                  </a:cubicBezTo>
                  <a:cubicBezTo>
                    <a:pt x="1390" y="757"/>
                    <a:pt x="1390" y="757"/>
                    <a:pt x="1390" y="757"/>
                  </a:cubicBezTo>
                  <a:cubicBezTo>
                    <a:pt x="1390" y="756"/>
                    <a:pt x="1390" y="756"/>
                    <a:pt x="1390" y="756"/>
                  </a:cubicBezTo>
                  <a:cubicBezTo>
                    <a:pt x="1390" y="756"/>
                    <a:pt x="1390" y="756"/>
                    <a:pt x="1390" y="756"/>
                  </a:cubicBezTo>
                  <a:cubicBezTo>
                    <a:pt x="1389" y="756"/>
                    <a:pt x="1389" y="756"/>
                    <a:pt x="1389" y="756"/>
                  </a:cubicBezTo>
                  <a:cubicBezTo>
                    <a:pt x="1389" y="756"/>
                    <a:pt x="1389" y="756"/>
                    <a:pt x="1389" y="756"/>
                  </a:cubicBezTo>
                  <a:cubicBezTo>
                    <a:pt x="1389" y="756"/>
                    <a:pt x="1389" y="756"/>
                    <a:pt x="1389" y="756"/>
                  </a:cubicBezTo>
                  <a:cubicBezTo>
                    <a:pt x="1389" y="756"/>
                    <a:pt x="1389" y="756"/>
                    <a:pt x="1389" y="756"/>
                  </a:cubicBezTo>
                  <a:cubicBezTo>
                    <a:pt x="1390" y="756"/>
                    <a:pt x="1390" y="756"/>
                    <a:pt x="1390" y="756"/>
                  </a:cubicBezTo>
                  <a:cubicBezTo>
                    <a:pt x="1391" y="755"/>
                    <a:pt x="1391" y="755"/>
                    <a:pt x="1391" y="755"/>
                  </a:cubicBezTo>
                  <a:cubicBezTo>
                    <a:pt x="1391" y="755"/>
                    <a:pt x="1391" y="755"/>
                    <a:pt x="1391" y="755"/>
                  </a:cubicBezTo>
                  <a:cubicBezTo>
                    <a:pt x="1391" y="754"/>
                    <a:pt x="1391" y="754"/>
                    <a:pt x="1391" y="754"/>
                  </a:cubicBezTo>
                  <a:cubicBezTo>
                    <a:pt x="1392" y="754"/>
                    <a:pt x="1392" y="753"/>
                    <a:pt x="1393" y="753"/>
                  </a:cubicBezTo>
                  <a:cubicBezTo>
                    <a:pt x="1393" y="753"/>
                    <a:pt x="1393" y="753"/>
                    <a:pt x="1393" y="753"/>
                  </a:cubicBezTo>
                  <a:cubicBezTo>
                    <a:pt x="1393" y="752"/>
                    <a:pt x="1393" y="752"/>
                    <a:pt x="1393" y="752"/>
                  </a:cubicBezTo>
                  <a:cubicBezTo>
                    <a:pt x="1394" y="752"/>
                    <a:pt x="1394" y="752"/>
                    <a:pt x="1395" y="752"/>
                  </a:cubicBezTo>
                  <a:cubicBezTo>
                    <a:pt x="1395" y="751"/>
                    <a:pt x="1395" y="751"/>
                    <a:pt x="1395" y="751"/>
                  </a:cubicBezTo>
                  <a:cubicBezTo>
                    <a:pt x="1395" y="751"/>
                    <a:pt x="1395" y="751"/>
                    <a:pt x="1395" y="751"/>
                  </a:cubicBezTo>
                  <a:cubicBezTo>
                    <a:pt x="1395" y="751"/>
                    <a:pt x="1395" y="751"/>
                    <a:pt x="1395" y="751"/>
                  </a:cubicBezTo>
                  <a:cubicBezTo>
                    <a:pt x="1396" y="749"/>
                    <a:pt x="1397" y="749"/>
                    <a:pt x="1399" y="748"/>
                  </a:cubicBezTo>
                  <a:cubicBezTo>
                    <a:pt x="1399" y="747"/>
                    <a:pt x="1399" y="747"/>
                    <a:pt x="1399" y="747"/>
                  </a:cubicBezTo>
                  <a:cubicBezTo>
                    <a:pt x="1399" y="747"/>
                    <a:pt x="1399" y="747"/>
                    <a:pt x="1399" y="747"/>
                  </a:cubicBezTo>
                  <a:cubicBezTo>
                    <a:pt x="1400" y="747"/>
                    <a:pt x="1400" y="747"/>
                    <a:pt x="1400" y="747"/>
                  </a:cubicBezTo>
                  <a:cubicBezTo>
                    <a:pt x="1400" y="747"/>
                    <a:pt x="1400" y="747"/>
                    <a:pt x="1400" y="747"/>
                  </a:cubicBezTo>
                  <a:cubicBezTo>
                    <a:pt x="1401" y="747"/>
                    <a:pt x="1401" y="747"/>
                    <a:pt x="1402" y="746"/>
                  </a:cubicBezTo>
                  <a:cubicBezTo>
                    <a:pt x="1402" y="746"/>
                    <a:pt x="1402" y="746"/>
                    <a:pt x="1402" y="746"/>
                  </a:cubicBezTo>
                  <a:cubicBezTo>
                    <a:pt x="1402" y="746"/>
                    <a:pt x="1402" y="746"/>
                    <a:pt x="1402" y="746"/>
                  </a:cubicBezTo>
                  <a:cubicBezTo>
                    <a:pt x="1402" y="746"/>
                    <a:pt x="1402" y="746"/>
                    <a:pt x="1402" y="746"/>
                  </a:cubicBezTo>
                  <a:cubicBezTo>
                    <a:pt x="1403" y="746"/>
                    <a:pt x="1403" y="746"/>
                    <a:pt x="1403" y="746"/>
                  </a:cubicBezTo>
                  <a:cubicBezTo>
                    <a:pt x="1403" y="746"/>
                    <a:pt x="1403" y="746"/>
                    <a:pt x="1403" y="746"/>
                  </a:cubicBezTo>
                  <a:cubicBezTo>
                    <a:pt x="1403" y="746"/>
                    <a:pt x="1403" y="746"/>
                    <a:pt x="1403" y="746"/>
                  </a:cubicBezTo>
                  <a:cubicBezTo>
                    <a:pt x="1403" y="745"/>
                    <a:pt x="1403" y="745"/>
                    <a:pt x="1403" y="745"/>
                  </a:cubicBezTo>
                  <a:cubicBezTo>
                    <a:pt x="1402" y="745"/>
                    <a:pt x="1402" y="745"/>
                    <a:pt x="1402" y="745"/>
                  </a:cubicBezTo>
                  <a:cubicBezTo>
                    <a:pt x="1402" y="744"/>
                    <a:pt x="1402" y="744"/>
                    <a:pt x="1402" y="744"/>
                  </a:cubicBezTo>
                  <a:cubicBezTo>
                    <a:pt x="1402" y="744"/>
                    <a:pt x="1402" y="744"/>
                    <a:pt x="1402" y="743"/>
                  </a:cubicBezTo>
                  <a:cubicBezTo>
                    <a:pt x="1402" y="743"/>
                    <a:pt x="1402" y="743"/>
                    <a:pt x="1402" y="743"/>
                  </a:cubicBezTo>
                  <a:cubicBezTo>
                    <a:pt x="1402" y="742"/>
                    <a:pt x="1402" y="742"/>
                    <a:pt x="1402" y="742"/>
                  </a:cubicBezTo>
                  <a:cubicBezTo>
                    <a:pt x="1401" y="740"/>
                    <a:pt x="1401" y="740"/>
                    <a:pt x="1401" y="740"/>
                  </a:cubicBezTo>
                  <a:cubicBezTo>
                    <a:pt x="1397" y="735"/>
                    <a:pt x="1397" y="735"/>
                    <a:pt x="1397" y="735"/>
                  </a:cubicBezTo>
                  <a:cubicBezTo>
                    <a:pt x="1396" y="733"/>
                    <a:pt x="1396" y="733"/>
                    <a:pt x="1396" y="733"/>
                  </a:cubicBezTo>
                  <a:cubicBezTo>
                    <a:pt x="1395" y="732"/>
                    <a:pt x="1395" y="732"/>
                    <a:pt x="1395" y="732"/>
                  </a:cubicBezTo>
                  <a:cubicBezTo>
                    <a:pt x="1395" y="732"/>
                    <a:pt x="1395" y="732"/>
                    <a:pt x="1395" y="732"/>
                  </a:cubicBezTo>
                  <a:cubicBezTo>
                    <a:pt x="1395" y="732"/>
                    <a:pt x="1395" y="732"/>
                    <a:pt x="1395" y="732"/>
                  </a:cubicBezTo>
                  <a:cubicBezTo>
                    <a:pt x="1395" y="732"/>
                    <a:pt x="1395" y="732"/>
                    <a:pt x="1395" y="732"/>
                  </a:cubicBezTo>
                  <a:cubicBezTo>
                    <a:pt x="1395" y="731"/>
                    <a:pt x="1395" y="731"/>
                    <a:pt x="1395" y="731"/>
                  </a:cubicBezTo>
                  <a:cubicBezTo>
                    <a:pt x="1395" y="731"/>
                    <a:pt x="1395" y="731"/>
                    <a:pt x="1395" y="731"/>
                  </a:cubicBezTo>
                  <a:cubicBezTo>
                    <a:pt x="1395" y="731"/>
                    <a:pt x="1395" y="731"/>
                    <a:pt x="1395" y="731"/>
                  </a:cubicBezTo>
                  <a:cubicBezTo>
                    <a:pt x="1394" y="731"/>
                    <a:pt x="1394" y="731"/>
                    <a:pt x="1394" y="731"/>
                  </a:cubicBezTo>
                  <a:cubicBezTo>
                    <a:pt x="1394" y="731"/>
                    <a:pt x="1394" y="731"/>
                    <a:pt x="1394" y="731"/>
                  </a:cubicBezTo>
                  <a:cubicBezTo>
                    <a:pt x="1394" y="731"/>
                    <a:pt x="1394" y="731"/>
                    <a:pt x="1394" y="731"/>
                  </a:cubicBezTo>
                  <a:cubicBezTo>
                    <a:pt x="1394" y="731"/>
                    <a:pt x="1394" y="731"/>
                    <a:pt x="1394" y="731"/>
                  </a:cubicBezTo>
                  <a:cubicBezTo>
                    <a:pt x="1394" y="731"/>
                    <a:pt x="1394" y="731"/>
                    <a:pt x="1394" y="731"/>
                  </a:cubicBezTo>
                  <a:cubicBezTo>
                    <a:pt x="1394" y="730"/>
                    <a:pt x="1394" y="730"/>
                    <a:pt x="1394" y="730"/>
                  </a:cubicBezTo>
                  <a:cubicBezTo>
                    <a:pt x="1393" y="730"/>
                    <a:pt x="1393" y="730"/>
                    <a:pt x="1393" y="730"/>
                  </a:cubicBezTo>
                  <a:cubicBezTo>
                    <a:pt x="1393" y="730"/>
                    <a:pt x="1393" y="730"/>
                    <a:pt x="1393" y="730"/>
                  </a:cubicBezTo>
                  <a:cubicBezTo>
                    <a:pt x="1392" y="730"/>
                    <a:pt x="1392" y="730"/>
                    <a:pt x="1391" y="729"/>
                  </a:cubicBezTo>
                  <a:cubicBezTo>
                    <a:pt x="1391" y="729"/>
                    <a:pt x="1391" y="729"/>
                    <a:pt x="1391" y="729"/>
                  </a:cubicBezTo>
                  <a:cubicBezTo>
                    <a:pt x="1391" y="729"/>
                    <a:pt x="1391" y="729"/>
                    <a:pt x="1391" y="729"/>
                  </a:cubicBezTo>
                  <a:cubicBezTo>
                    <a:pt x="1391" y="728"/>
                    <a:pt x="1391" y="728"/>
                    <a:pt x="1391" y="728"/>
                  </a:cubicBezTo>
                  <a:cubicBezTo>
                    <a:pt x="1391" y="728"/>
                    <a:pt x="1391" y="728"/>
                    <a:pt x="1391" y="728"/>
                  </a:cubicBezTo>
                  <a:cubicBezTo>
                    <a:pt x="1391" y="728"/>
                    <a:pt x="1391" y="728"/>
                    <a:pt x="1391" y="728"/>
                  </a:cubicBezTo>
                  <a:cubicBezTo>
                    <a:pt x="1391" y="728"/>
                    <a:pt x="1391" y="728"/>
                    <a:pt x="1391" y="728"/>
                  </a:cubicBezTo>
                  <a:cubicBezTo>
                    <a:pt x="1390" y="728"/>
                    <a:pt x="1390" y="728"/>
                    <a:pt x="1390" y="728"/>
                  </a:cubicBezTo>
                  <a:cubicBezTo>
                    <a:pt x="1390" y="728"/>
                    <a:pt x="1390" y="728"/>
                    <a:pt x="1390" y="728"/>
                  </a:cubicBezTo>
                  <a:cubicBezTo>
                    <a:pt x="1390" y="727"/>
                    <a:pt x="1390" y="727"/>
                    <a:pt x="1390" y="727"/>
                  </a:cubicBezTo>
                  <a:cubicBezTo>
                    <a:pt x="1390" y="727"/>
                    <a:pt x="1390" y="727"/>
                    <a:pt x="1390" y="727"/>
                  </a:cubicBezTo>
                  <a:cubicBezTo>
                    <a:pt x="1390" y="727"/>
                    <a:pt x="1390" y="727"/>
                    <a:pt x="1390" y="727"/>
                  </a:cubicBezTo>
                  <a:cubicBezTo>
                    <a:pt x="1390" y="727"/>
                    <a:pt x="1390" y="727"/>
                    <a:pt x="1390" y="727"/>
                  </a:cubicBezTo>
                  <a:cubicBezTo>
                    <a:pt x="1390" y="727"/>
                    <a:pt x="1390" y="727"/>
                    <a:pt x="1390" y="727"/>
                  </a:cubicBezTo>
                  <a:cubicBezTo>
                    <a:pt x="1390" y="726"/>
                    <a:pt x="1390" y="726"/>
                    <a:pt x="1390"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8" y="726"/>
                    <a:pt x="1388" y="726"/>
                    <a:pt x="1388" y="726"/>
                  </a:cubicBezTo>
                  <a:cubicBezTo>
                    <a:pt x="1388" y="725"/>
                    <a:pt x="1388" y="725"/>
                    <a:pt x="1388" y="725"/>
                  </a:cubicBezTo>
                  <a:cubicBezTo>
                    <a:pt x="1388" y="725"/>
                    <a:pt x="1388" y="725"/>
                    <a:pt x="1388" y="725"/>
                  </a:cubicBezTo>
                  <a:cubicBezTo>
                    <a:pt x="1388" y="725"/>
                    <a:pt x="1388" y="725"/>
                    <a:pt x="1388" y="725"/>
                  </a:cubicBezTo>
                  <a:cubicBezTo>
                    <a:pt x="1388" y="725"/>
                    <a:pt x="1388" y="725"/>
                    <a:pt x="1388" y="725"/>
                  </a:cubicBezTo>
                  <a:cubicBezTo>
                    <a:pt x="1388" y="725"/>
                    <a:pt x="1388" y="725"/>
                    <a:pt x="1388" y="725"/>
                  </a:cubicBezTo>
                  <a:cubicBezTo>
                    <a:pt x="1387" y="725"/>
                    <a:pt x="1387" y="725"/>
                    <a:pt x="1387" y="725"/>
                  </a:cubicBezTo>
                  <a:cubicBezTo>
                    <a:pt x="1387" y="725"/>
                    <a:pt x="1387" y="725"/>
                    <a:pt x="1387" y="725"/>
                  </a:cubicBezTo>
                  <a:cubicBezTo>
                    <a:pt x="1387" y="725"/>
                    <a:pt x="1387" y="725"/>
                    <a:pt x="1387" y="725"/>
                  </a:cubicBezTo>
                  <a:cubicBezTo>
                    <a:pt x="1387" y="725"/>
                    <a:pt x="1387" y="725"/>
                    <a:pt x="1387" y="725"/>
                  </a:cubicBezTo>
                  <a:cubicBezTo>
                    <a:pt x="1387" y="724"/>
                    <a:pt x="1387" y="725"/>
                    <a:pt x="1387" y="725"/>
                  </a:cubicBezTo>
                  <a:cubicBezTo>
                    <a:pt x="1386" y="725"/>
                    <a:pt x="1386" y="725"/>
                    <a:pt x="1386" y="725"/>
                  </a:cubicBezTo>
                  <a:cubicBezTo>
                    <a:pt x="1386" y="725"/>
                    <a:pt x="1386" y="725"/>
                    <a:pt x="1386" y="725"/>
                  </a:cubicBezTo>
                  <a:cubicBezTo>
                    <a:pt x="1386" y="725"/>
                    <a:pt x="1386" y="725"/>
                    <a:pt x="1386" y="725"/>
                  </a:cubicBezTo>
                  <a:cubicBezTo>
                    <a:pt x="1386" y="725"/>
                    <a:pt x="1386" y="725"/>
                    <a:pt x="1386" y="725"/>
                  </a:cubicBezTo>
                  <a:cubicBezTo>
                    <a:pt x="1386" y="725"/>
                    <a:pt x="1386" y="725"/>
                    <a:pt x="1386" y="725"/>
                  </a:cubicBezTo>
                  <a:cubicBezTo>
                    <a:pt x="1385" y="725"/>
                    <a:pt x="1384" y="724"/>
                    <a:pt x="1384" y="724"/>
                  </a:cubicBezTo>
                  <a:cubicBezTo>
                    <a:pt x="1383" y="724"/>
                    <a:pt x="1383" y="724"/>
                    <a:pt x="1383" y="724"/>
                  </a:cubicBezTo>
                  <a:cubicBezTo>
                    <a:pt x="1383" y="724"/>
                    <a:pt x="1383" y="724"/>
                    <a:pt x="1383" y="724"/>
                  </a:cubicBezTo>
                  <a:cubicBezTo>
                    <a:pt x="1382" y="723"/>
                    <a:pt x="1381" y="723"/>
                    <a:pt x="1381" y="723"/>
                  </a:cubicBezTo>
                  <a:cubicBezTo>
                    <a:pt x="1381" y="723"/>
                    <a:pt x="1381" y="723"/>
                    <a:pt x="1381" y="723"/>
                  </a:cubicBezTo>
                  <a:cubicBezTo>
                    <a:pt x="1380" y="723"/>
                    <a:pt x="1380" y="723"/>
                    <a:pt x="1380" y="723"/>
                  </a:cubicBezTo>
                  <a:cubicBezTo>
                    <a:pt x="1380" y="722"/>
                    <a:pt x="1380" y="722"/>
                    <a:pt x="1380" y="722"/>
                  </a:cubicBezTo>
                  <a:cubicBezTo>
                    <a:pt x="1380" y="722"/>
                    <a:pt x="1380" y="722"/>
                    <a:pt x="1380" y="722"/>
                  </a:cubicBezTo>
                  <a:cubicBezTo>
                    <a:pt x="1380" y="722"/>
                    <a:pt x="1380" y="722"/>
                    <a:pt x="1380" y="722"/>
                  </a:cubicBezTo>
                  <a:cubicBezTo>
                    <a:pt x="1378" y="721"/>
                    <a:pt x="1379" y="719"/>
                    <a:pt x="1376" y="719"/>
                  </a:cubicBezTo>
                  <a:cubicBezTo>
                    <a:pt x="1376" y="719"/>
                    <a:pt x="1376" y="719"/>
                    <a:pt x="1376" y="719"/>
                  </a:cubicBezTo>
                  <a:cubicBezTo>
                    <a:pt x="1375" y="719"/>
                    <a:pt x="1375" y="719"/>
                    <a:pt x="1375" y="719"/>
                  </a:cubicBezTo>
                  <a:cubicBezTo>
                    <a:pt x="1375" y="719"/>
                    <a:pt x="1375" y="719"/>
                    <a:pt x="1375" y="719"/>
                  </a:cubicBezTo>
                  <a:cubicBezTo>
                    <a:pt x="1374" y="719"/>
                    <a:pt x="1374" y="719"/>
                    <a:pt x="1372" y="719"/>
                  </a:cubicBezTo>
                  <a:cubicBezTo>
                    <a:pt x="1372" y="719"/>
                    <a:pt x="1372" y="719"/>
                    <a:pt x="1372" y="719"/>
                  </a:cubicBezTo>
                  <a:cubicBezTo>
                    <a:pt x="1372" y="719"/>
                    <a:pt x="1372" y="719"/>
                    <a:pt x="1372" y="719"/>
                  </a:cubicBezTo>
                  <a:cubicBezTo>
                    <a:pt x="1371" y="719"/>
                    <a:pt x="1371" y="720"/>
                    <a:pt x="1370" y="720"/>
                  </a:cubicBezTo>
                  <a:cubicBezTo>
                    <a:pt x="1370" y="720"/>
                    <a:pt x="1370" y="720"/>
                    <a:pt x="1370" y="720"/>
                  </a:cubicBezTo>
                  <a:cubicBezTo>
                    <a:pt x="1370" y="720"/>
                    <a:pt x="1370" y="720"/>
                    <a:pt x="1370" y="720"/>
                  </a:cubicBezTo>
                  <a:cubicBezTo>
                    <a:pt x="1369" y="720"/>
                    <a:pt x="1369" y="720"/>
                    <a:pt x="1369" y="720"/>
                  </a:cubicBezTo>
                  <a:cubicBezTo>
                    <a:pt x="1369" y="720"/>
                    <a:pt x="1369" y="720"/>
                    <a:pt x="1369" y="720"/>
                  </a:cubicBezTo>
                  <a:cubicBezTo>
                    <a:pt x="1369" y="720"/>
                    <a:pt x="1369" y="720"/>
                    <a:pt x="1369" y="720"/>
                  </a:cubicBezTo>
                  <a:cubicBezTo>
                    <a:pt x="1369" y="720"/>
                    <a:pt x="1369" y="720"/>
                    <a:pt x="1369" y="720"/>
                  </a:cubicBezTo>
                  <a:cubicBezTo>
                    <a:pt x="1369" y="720"/>
                    <a:pt x="1369" y="720"/>
                    <a:pt x="1369" y="720"/>
                  </a:cubicBezTo>
                  <a:cubicBezTo>
                    <a:pt x="1370" y="719"/>
                    <a:pt x="1370" y="719"/>
                    <a:pt x="1370" y="719"/>
                  </a:cubicBezTo>
                  <a:cubicBezTo>
                    <a:pt x="1371" y="718"/>
                    <a:pt x="1371" y="718"/>
                    <a:pt x="1371" y="718"/>
                  </a:cubicBezTo>
                  <a:cubicBezTo>
                    <a:pt x="1371" y="718"/>
                    <a:pt x="1371" y="718"/>
                    <a:pt x="1371" y="718"/>
                  </a:cubicBezTo>
                  <a:cubicBezTo>
                    <a:pt x="1371" y="718"/>
                    <a:pt x="1371" y="718"/>
                    <a:pt x="1371" y="718"/>
                  </a:cubicBezTo>
                  <a:cubicBezTo>
                    <a:pt x="1372" y="718"/>
                    <a:pt x="1372" y="718"/>
                    <a:pt x="1372" y="718"/>
                  </a:cubicBezTo>
                  <a:cubicBezTo>
                    <a:pt x="1372" y="718"/>
                    <a:pt x="1372" y="718"/>
                    <a:pt x="1372" y="718"/>
                  </a:cubicBezTo>
                  <a:cubicBezTo>
                    <a:pt x="1372" y="718"/>
                    <a:pt x="1372" y="718"/>
                    <a:pt x="1373" y="718"/>
                  </a:cubicBezTo>
                  <a:cubicBezTo>
                    <a:pt x="1373" y="718"/>
                    <a:pt x="1373" y="718"/>
                    <a:pt x="1373" y="718"/>
                  </a:cubicBezTo>
                  <a:cubicBezTo>
                    <a:pt x="1373" y="718"/>
                    <a:pt x="1373" y="718"/>
                    <a:pt x="1373" y="718"/>
                  </a:cubicBezTo>
                  <a:cubicBezTo>
                    <a:pt x="1373" y="717"/>
                    <a:pt x="1374" y="717"/>
                    <a:pt x="1374" y="717"/>
                  </a:cubicBezTo>
                  <a:cubicBezTo>
                    <a:pt x="1374" y="717"/>
                    <a:pt x="1374" y="717"/>
                    <a:pt x="1374" y="717"/>
                  </a:cubicBezTo>
                  <a:cubicBezTo>
                    <a:pt x="1374" y="717"/>
                    <a:pt x="1374" y="717"/>
                    <a:pt x="1374" y="717"/>
                  </a:cubicBezTo>
                  <a:cubicBezTo>
                    <a:pt x="1374" y="717"/>
                    <a:pt x="1374" y="717"/>
                    <a:pt x="1374" y="717"/>
                  </a:cubicBezTo>
                  <a:cubicBezTo>
                    <a:pt x="1377" y="717"/>
                    <a:pt x="1376" y="716"/>
                    <a:pt x="1377" y="717"/>
                  </a:cubicBezTo>
                  <a:cubicBezTo>
                    <a:pt x="1378" y="717"/>
                    <a:pt x="1378" y="717"/>
                    <a:pt x="1378" y="717"/>
                  </a:cubicBezTo>
                  <a:cubicBezTo>
                    <a:pt x="1378" y="717"/>
                    <a:pt x="1378" y="717"/>
                    <a:pt x="1378" y="717"/>
                  </a:cubicBezTo>
                  <a:cubicBezTo>
                    <a:pt x="1378" y="716"/>
                    <a:pt x="1378" y="716"/>
                    <a:pt x="1378" y="716"/>
                  </a:cubicBezTo>
                  <a:cubicBezTo>
                    <a:pt x="1377" y="715"/>
                    <a:pt x="1377" y="715"/>
                    <a:pt x="1377" y="715"/>
                  </a:cubicBezTo>
                  <a:cubicBezTo>
                    <a:pt x="1375" y="713"/>
                    <a:pt x="1375" y="713"/>
                    <a:pt x="1375" y="713"/>
                  </a:cubicBezTo>
                  <a:cubicBezTo>
                    <a:pt x="1375" y="711"/>
                    <a:pt x="1375" y="711"/>
                    <a:pt x="1375" y="711"/>
                  </a:cubicBezTo>
                  <a:cubicBezTo>
                    <a:pt x="1374" y="711"/>
                    <a:pt x="1374" y="710"/>
                    <a:pt x="1373" y="710"/>
                  </a:cubicBezTo>
                  <a:cubicBezTo>
                    <a:pt x="1373" y="710"/>
                    <a:pt x="1373" y="710"/>
                    <a:pt x="1373" y="710"/>
                  </a:cubicBezTo>
                  <a:cubicBezTo>
                    <a:pt x="1373" y="710"/>
                    <a:pt x="1373" y="710"/>
                    <a:pt x="1373" y="710"/>
                  </a:cubicBezTo>
                  <a:cubicBezTo>
                    <a:pt x="1373" y="709"/>
                    <a:pt x="1372" y="709"/>
                    <a:pt x="1372" y="708"/>
                  </a:cubicBezTo>
                  <a:cubicBezTo>
                    <a:pt x="1372" y="708"/>
                    <a:pt x="1372" y="708"/>
                    <a:pt x="1372" y="708"/>
                  </a:cubicBezTo>
                  <a:cubicBezTo>
                    <a:pt x="1372" y="708"/>
                    <a:pt x="1372" y="708"/>
                    <a:pt x="1372" y="708"/>
                  </a:cubicBezTo>
                  <a:cubicBezTo>
                    <a:pt x="1372" y="708"/>
                    <a:pt x="1372" y="708"/>
                    <a:pt x="1372" y="708"/>
                  </a:cubicBezTo>
                  <a:cubicBezTo>
                    <a:pt x="1371" y="708"/>
                    <a:pt x="1371" y="708"/>
                    <a:pt x="1371" y="708"/>
                  </a:cubicBezTo>
                  <a:cubicBezTo>
                    <a:pt x="1371" y="707"/>
                    <a:pt x="1371" y="707"/>
                    <a:pt x="1370" y="707"/>
                  </a:cubicBezTo>
                  <a:cubicBezTo>
                    <a:pt x="1370" y="706"/>
                    <a:pt x="1370" y="706"/>
                    <a:pt x="1370" y="706"/>
                  </a:cubicBezTo>
                  <a:cubicBezTo>
                    <a:pt x="1370" y="706"/>
                    <a:pt x="1370" y="706"/>
                    <a:pt x="1370" y="706"/>
                  </a:cubicBezTo>
                  <a:cubicBezTo>
                    <a:pt x="1369" y="706"/>
                    <a:pt x="1369" y="706"/>
                    <a:pt x="1368" y="705"/>
                  </a:cubicBezTo>
                  <a:cubicBezTo>
                    <a:pt x="1368" y="705"/>
                    <a:pt x="1368" y="705"/>
                    <a:pt x="1368" y="705"/>
                  </a:cubicBezTo>
                  <a:cubicBezTo>
                    <a:pt x="1368" y="705"/>
                    <a:pt x="1368" y="705"/>
                    <a:pt x="1368" y="705"/>
                  </a:cubicBezTo>
                  <a:cubicBezTo>
                    <a:pt x="1368" y="705"/>
                    <a:pt x="1368" y="705"/>
                    <a:pt x="1368" y="705"/>
                  </a:cubicBezTo>
                  <a:cubicBezTo>
                    <a:pt x="1368" y="705"/>
                    <a:pt x="1368" y="705"/>
                    <a:pt x="1368" y="705"/>
                  </a:cubicBezTo>
                  <a:cubicBezTo>
                    <a:pt x="1368" y="705"/>
                    <a:pt x="1368" y="705"/>
                    <a:pt x="1368" y="705"/>
                  </a:cubicBezTo>
                  <a:cubicBezTo>
                    <a:pt x="1368" y="704"/>
                    <a:pt x="1368" y="704"/>
                    <a:pt x="1368" y="704"/>
                  </a:cubicBezTo>
                  <a:cubicBezTo>
                    <a:pt x="1367" y="703"/>
                    <a:pt x="1367" y="703"/>
                    <a:pt x="1367" y="702"/>
                  </a:cubicBezTo>
                  <a:cubicBezTo>
                    <a:pt x="1366" y="702"/>
                    <a:pt x="1366" y="702"/>
                    <a:pt x="1366" y="702"/>
                  </a:cubicBezTo>
                  <a:cubicBezTo>
                    <a:pt x="1366" y="701"/>
                    <a:pt x="1366" y="701"/>
                    <a:pt x="1366" y="701"/>
                  </a:cubicBezTo>
                  <a:cubicBezTo>
                    <a:pt x="1366" y="701"/>
                    <a:pt x="1366" y="701"/>
                    <a:pt x="1366" y="701"/>
                  </a:cubicBezTo>
                  <a:cubicBezTo>
                    <a:pt x="1366" y="701"/>
                    <a:pt x="1366" y="701"/>
                    <a:pt x="1366" y="701"/>
                  </a:cubicBezTo>
                  <a:cubicBezTo>
                    <a:pt x="1366" y="701"/>
                    <a:pt x="1366" y="701"/>
                    <a:pt x="1366" y="701"/>
                  </a:cubicBezTo>
                  <a:cubicBezTo>
                    <a:pt x="1366" y="701"/>
                    <a:pt x="1366" y="701"/>
                    <a:pt x="1366" y="701"/>
                  </a:cubicBezTo>
                  <a:cubicBezTo>
                    <a:pt x="1365" y="701"/>
                    <a:pt x="1365" y="701"/>
                    <a:pt x="1365" y="701"/>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4" y="700"/>
                    <a:pt x="1364" y="700"/>
                    <a:pt x="1364" y="700"/>
                  </a:cubicBezTo>
                  <a:cubicBezTo>
                    <a:pt x="1364" y="699"/>
                    <a:pt x="1364" y="699"/>
                    <a:pt x="1364" y="699"/>
                  </a:cubicBezTo>
                  <a:cubicBezTo>
                    <a:pt x="1364" y="699"/>
                    <a:pt x="1364" y="699"/>
                    <a:pt x="1364" y="699"/>
                  </a:cubicBezTo>
                  <a:cubicBezTo>
                    <a:pt x="1364" y="699"/>
                    <a:pt x="1363" y="698"/>
                    <a:pt x="1362" y="698"/>
                  </a:cubicBezTo>
                  <a:cubicBezTo>
                    <a:pt x="1362" y="698"/>
                    <a:pt x="1362" y="698"/>
                    <a:pt x="1362" y="698"/>
                  </a:cubicBezTo>
                  <a:cubicBezTo>
                    <a:pt x="1362" y="698"/>
                    <a:pt x="1362" y="698"/>
                    <a:pt x="1362" y="698"/>
                  </a:cubicBezTo>
                  <a:cubicBezTo>
                    <a:pt x="1362" y="698"/>
                    <a:pt x="1361" y="698"/>
                    <a:pt x="1360" y="697"/>
                  </a:cubicBezTo>
                  <a:cubicBezTo>
                    <a:pt x="1360" y="697"/>
                    <a:pt x="1360" y="697"/>
                    <a:pt x="1360" y="697"/>
                  </a:cubicBezTo>
                  <a:cubicBezTo>
                    <a:pt x="1360" y="697"/>
                    <a:pt x="1360" y="697"/>
                    <a:pt x="1360" y="697"/>
                  </a:cubicBezTo>
                  <a:cubicBezTo>
                    <a:pt x="1360" y="696"/>
                    <a:pt x="1360" y="696"/>
                    <a:pt x="1360" y="696"/>
                  </a:cubicBezTo>
                  <a:cubicBezTo>
                    <a:pt x="1360" y="696"/>
                    <a:pt x="1360" y="696"/>
                    <a:pt x="1360" y="696"/>
                  </a:cubicBezTo>
                  <a:cubicBezTo>
                    <a:pt x="1360" y="695"/>
                    <a:pt x="1360" y="695"/>
                    <a:pt x="1360" y="695"/>
                  </a:cubicBezTo>
                  <a:cubicBezTo>
                    <a:pt x="1360" y="694"/>
                    <a:pt x="1360" y="694"/>
                    <a:pt x="1360" y="694"/>
                  </a:cubicBezTo>
                  <a:cubicBezTo>
                    <a:pt x="1361" y="690"/>
                    <a:pt x="1361" y="690"/>
                    <a:pt x="1361" y="690"/>
                  </a:cubicBezTo>
                  <a:cubicBezTo>
                    <a:pt x="1362" y="688"/>
                    <a:pt x="1362" y="688"/>
                    <a:pt x="1362" y="688"/>
                  </a:cubicBezTo>
                  <a:cubicBezTo>
                    <a:pt x="1362" y="688"/>
                    <a:pt x="1362" y="688"/>
                    <a:pt x="1362" y="688"/>
                  </a:cubicBezTo>
                  <a:cubicBezTo>
                    <a:pt x="1362" y="687"/>
                    <a:pt x="1362" y="687"/>
                    <a:pt x="1362" y="687"/>
                  </a:cubicBezTo>
                  <a:cubicBezTo>
                    <a:pt x="1362" y="687"/>
                    <a:pt x="1362" y="687"/>
                    <a:pt x="1362" y="687"/>
                  </a:cubicBezTo>
                  <a:cubicBezTo>
                    <a:pt x="1362" y="687"/>
                    <a:pt x="1362" y="687"/>
                    <a:pt x="1362" y="687"/>
                  </a:cubicBezTo>
                  <a:cubicBezTo>
                    <a:pt x="1362" y="687"/>
                    <a:pt x="1362" y="687"/>
                    <a:pt x="1362"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4"/>
                    <a:pt x="1363" y="684"/>
                    <a:pt x="1363" y="684"/>
                  </a:cubicBezTo>
                  <a:cubicBezTo>
                    <a:pt x="1362" y="679"/>
                    <a:pt x="1362" y="679"/>
                    <a:pt x="1362" y="679"/>
                  </a:cubicBezTo>
                  <a:cubicBezTo>
                    <a:pt x="1361" y="667"/>
                    <a:pt x="1361" y="667"/>
                    <a:pt x="1361" y="667"/>
                  </a:cubicBezTo>
                  <a:cubicBezTo>
                    <a:pt x="1360" y="663"/>
                    <a:pt x="1360" y="663"/>
                    <a:pt x="1360" y="663"/>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8" y="659"/>
                    <a:pt x="1357" y="661"/>
                    <a:pt x="1357" y="659"/>
                  </a:cubicBezTo>
                  <a:cubicBezTo>
                    <a:pt x="1357" y="658"/>
                    <a:pt x="1357" y="658"/>
                    <a:pt x="1357" y="658"/>
                  </a:cubicBezTo>
                  <a:cubicBezTo>
                    <a:pt x="1357" y="658"/>
                    <a:pt x="1357" y="658"/>
                    <a:pt x="1357" y="658"/>
                  </a:cubicBezTo>
                  <a:cubicBezTo>
                    <a:pt x="1357" y="658"/>
                    <a:pt x="1357" y="658"/>
                    <a:pt x="1357" y="658"/>
                  </a:cubicBezTo>
                  <a:cubicBezTo>
                    <a:pt x="1357" y="658"/>
                    <a:pt x="1357" y="658"/>
                    <a:pt x="1357" y="658"/>
                  </a:cubicBezTo>
                  <a:cubicBezTo>
                    <a:pt x="1357" y="658"/>
                    <a:pt x="1357" y="658"/>
                    <a:pt x="1357" y="658"/>
                  </a:cubicBezTo>
                  <a:cubicBezTo>
                    <a:pt x="1357" y="657"/>
                    <a:pt x="1357" y="657"/>
                    <a:pt x="1357" y="657"/>
                  </a:cubicBezTo>
                  <a:cubicBezTo>
                    <a:pt x="1356" y="657"/>
                    <a:pt x="1356" y="657"/>
                    <a:pt x="1356" y="657"/>
                  </a:cubicBezTo>
                  <a:cubicBezTo>
                    <a:pt x="1356" y="657"/>
                    <a:pt x="1356" y="657"/>
                    <a:pt x="1356" y="657"/>
                  </a:cubicBezTo>
                  <a:cubicBezTo>
                    <a:pt x="1356" y="657"/>
                    <a:pt x="1356" y="657"/>
                    <a:pt x="1356" y="657"/>
                  </a:cubicBezTo>
                  <a:cubicBezTo>
                    <a:pt x="1357" y="655"/>
                    <a:pt x="1357" y="655"/>
                    <a:pt x="1357" y="655"/>
                  </a:cubicBezTo>
                  <a:cubicBezTo>
                    <a:pt x="1357" y="651"/>
                    <a:pt x="1357" y="651"/>
                    <a:pt x="1357" y="651"/>
                  </a:cubicBezTo>
                  <a:cubicBezTo>
                    <a:pt x="1360" y="641"/>
                    <a:pt x="1360" y="641"/>
                    <a:pt x="1360" y="641"/>
                  </a:cubicBezTo>
                  <a:cubicBezTo>
                    <a:pt x="1361" y="637"/>
                    <a:pt x="1361" y="637"/>
                    <a:pt x="1361" y="637"/>
                  </a:cubicBezTo>
                  <a:cubicBezTo>
                    <a:pt x="1360" y="628"/>
                    <a:pt x="1360" y="628"/>
                    <a:pt x="1360" y="628"/>
                  </a:cubicBezTo>
                  <a:cubicBezTo>
                    <a:pt x="1349" y="627"/>
                    <a:pt x="1349" y="627"/>
                    <a:pt x="1349" y="627"/>
                  </a:cubicBezTo>
                  <a:cubicBezTo>
                    <a:pt x="1348" y="627"/>
                    <a:pt x="1348" y="627"/>
                    <a:pt x="1348" y="627"/>
                  </a:cubicBezTo>
                  <a:cubicBezTo>
                    <a:pt x="1347" y="627"/>
                    <a:pt x="1347" y="627"/>
                    <a:pt x="1347" y="627"/>
                  </a:cubicBezTo>
                  <a:cubicBezTo>
                    <a:pt x="1347" y="627"/>
                    <a:pt x="1347" y="627"/>
                    <a:pt x="1347" y="627"/>
                  </a:cubicBezTo>
                  <a:cubicBezTo>
                    <a:pt x="1346" y="627"/>
                    <a:pt x="1346" y="627"/>
                    <a:pt x="1346" y="627"/>
                  </a:cubicBezTo>
                  <a:cubicBezTo>
                    <a:pt x="1346" y="626"/>
                    <a:pt x="1346" y="626"/>
                    <a:pt x="1346" y="626"/>
                  </a:cubicBezTo>
                  <a:cubicBezTo>
                    <a:pt x="1346" y="626"/>
                    <a:pt x="1346" y="626"/>
                    <a:pt x="1346" y="626"/>
                  </a:cubicBezTo>
                  <a:cubicBezTo>
                    <a:pt x="1345" y="626"/>
                    <a:pt x="1345" y="626"/>
                    <a:pt x="1345" y="626"/>
                  </a:cubicBezTo>
                  <a:cubicBezTo>
                    <a:pt x="1345" y="627"/>
                    <a:pt x="1345" y="627"/>
                    <a:pt x="1345" y="627"/>
                  </a:cubicBezTo>
                  <a:cubicBezTo>
                    <a:pt x="1345" y="627"/>
                    <a:pt x="1345" y="627"/>
                    <a:pt x="1345" y="627"/>
                  </a:cubicBezTo>
                  <a:cubicBezTo>
                    <a:pt x="1345" y="628"/>
                    <a:pt x="1345" y="628"/>
                    <a:pt x="1345" y="628"/>
                  </a:cubicBezTo>
                  <a:cubicBezTo>
                    <a:pt x="1344" y="628"/>
                    <a:pt x="1344" y="628"/>
                    <a:pt x="1344" y="628"/>
                  </a:cubicBezTo>
                  <a:cubicBezTo>
                    <a:pt x="1344" y="628"/>
                    <a:pt x="1344" y="628"/>
                    <a:pt x="1344" y="628"/>
                  </a:cubicBezTo>
                  <a:cubicBezTo>
                    <a:pt x="1344" y="627"/>
                    <a:pt x="1344" y="627"/>
                    <a:pt x="1344" y="627"/>
                  </a:cubicBezTo>
                  <a:cubicBezTo>
                    <a:pt x="1345" y="626"/>
                    <a:pt x="1345" y="626"/>
                    <a:pt x="1345" y="626"/>
                  </a:cubicBezTo>
                  <a:cubicBezTo>
                    <a:pt x="1345" y="625"/>
                    <a:pt x="1345" y="625"/>
                    <a:pt x="1345" y="625"/>
                  </a:cubicBezTo>
                  <a:cubicBezTo>
                    <a:pt x="1345" y="625"/>
                    <a:pt x="1345" y="625"/>
                    <a:pt x="1345" y="625"/>
                  </a:cubicBezTo>
                  <a:cubicBezTo>
                    <a:pt x="1345" y="624"/>
                    <a:pt x="1345" y="624"/>
                    <a:pt x="1345" y="624"/>
                  </a:cubicBezTo>
                  <a:cubicBezTo>
                    <a:pt x="1344" y="624"/>
                    <a:pt x="1344" y="624"/>
                    <a:pt x="1344" y="624"/>
                  </a:cubicBezTo>
                  <a:cubicBezTo>
                    <a:pt x="1344" y="624"/>
                    <a:pt x="1344" y="624"/>
                    <a:pt x="1344" y="624"/>
                  </a:cubicBezTo>
                  <a:cubicBezTo>
                    <a:pt x="1344" y="624"/>
                    <a:pt x="1344" y="624"/>
                    <a:pt x="1344" y="624"/>
                  </a:cubicBezTo>
                  <a:cubicBezTo>
                    <a:pt x="1343" y="624"/>
                    <a:pt x="1343" y="624"/>
                    <a:pt x="1343" y="624"/>
                  </a:cubicBezTo>
                  <a:cubicBezTo>
                    <a:pt x="1342" y="624"/>
                    <a:pt x="1342" y="624"/>
                    <a:pt x="1342" y="624"/>
                  </a:cubicBezTo>
                  <a:cubicBezTo>
                    <a:pt x="1338" y="624"/>
                    <a:pt x="1338" y="624"/>
                    <a:pt x="1338" y="624"/>
                  </a:cubicBezTo>
                  <a:cubicBezTo>
                    <a:pt x="1336" y="624"/>
                    <a:pt x="1336" y="624"/>
                    <a:pt x="1336" y="624"/>
                  </a:cubicBezTo>
                  <a:cubicBezTo>
                    <a:pt x="1335" y="624"/>
                    <a:pt x="1335" y="624"/>
                    <a:pt x="1335" y="624"/>
                  </a:cubicBezTo>
                  <a:cubicBezTo>
                    <a:pt x="1335" y="624"/>
                    <a:pt x="1335" y="624"/>
                    <a:pt x="1335" y="624"/>
                  </a:cubicBezTo>
                  <a:cubicBezTo>
                    <a:pt x="1334" y="624"/>
                    <a:pt x="1334" y="624"/>
                    <a:pt x="1334" y="624"/>
                  </a:cubicBezTo>
                  <a:cubicBezTo>
                    <a:pt x="1334" y="624"/>
                    <a:pt x="1334" y="624"/>
                    <a:pt x="1334" y="624"/>
                  </a:cubicBezTo>
                  <a:cubicBezTo>
                    <a:pt x="1333" y="624"/>
                    <a:pt x="1333" y="624"/>
                    <a:pt x="1333" y="624"/>
                  </a:cubicBezTo>
                  <a:cubicBezTo>
                    <a:pt x="1333" y="624"/>
                    <a:pt x="1333" y="624"/>
                    <a:pt x="1333" y="624"/>
                  </a:cubicBezTo>
                  <a:cubicBezTo>
                    <a:pt x="1332" y="624"/>
                    <a:pt x="1332" y="624"/>
                    <a:pt x="1332" y="624"/>
                  </a:cubicBezTo>
                  <a:cubicBezTo>
                    <a:pt x="1332" y="624"/>
                    <a:pt x="1332" y="624"/>
                    <a:pt x="1332" y="624"/>
                  </a:cubicBezTo>
                  <a:cubicBezTo>
                    <a:pt x="1332" y="624"/>
                    <a:pt x="1332" y="624"/>
                    <a:pt x="1332" y="624"/>
                  </a:cubicBezTo>
                  <a:cubicBezTo>
                    <a:pt x="1332" y="624"/>
                    <a:pt x="1332" y="624"/>
                    <a:pt x="1332" y="624"/>
                  </a:cubicBezTo>
                  <a:cubicBezTo>
                    <a:pt x="1331" y="624"/>
                    <a:pt x="1331" y="624"/>
                    <a:pt x="1331" y="624"/>
                  </a:cubicBezTo>
                  <a:cubicBezTo>
                    <a:pt x="1330" y="623"/>
                    <a:pt x="1330" y="623"/>
                    <a:pt x="1330" y="623"/>
                  </a:cubicBezTo>
                  <a:cubicBezTo>
                    <a:pt x="1329" y="623"/>
                    <a:pt x="1329" y="623"/>
                    <a:pt x="1329" y="623"/>
                  </a:cubicBezTo>
                  <a:cubicBezTo>
                    <a:pt x="1328" y="623"/>
                    <a:pt x="1328" y="623"/>
                    <a:pt x="1328" y="623"/>
                  </a:cubicBezTo>
                  <a:cubicBezTo>
                    <a:pt x="1327" y="622"/>
                    <a:pt x="1327" y="622"/>
                    <a:pt x="1327" y="622"/>
                  </a:cubicBezTo>
                  <a:cubicBezTo>
                    <a:pt x="1327" y="622"/>
                    <a:pt x="1327" y="622"/>
                    <a:pt x="1327" y="622"/>
                  </a:cubicBezTo>
                  <a:cubicBezTo>
                    <a:pt x="1327" y="622"/>
                    <a:pt x="1327" y="622"/>
                    <a:pt x="1327" y="622"/>
                  </a:cubicBezTo>
                  <a:cubicBezTo>
                    <a:pt x="1326" y="622"/>
                    <a:pt x="1326" y="622"/>
                    <a:pt x="1326" y="622"/>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8" y="623"/>
                    <a:pt x="1328" y="623"/>
                    <a:pt x="1328" y="623"/>
                  </a:cubicBezTo>
                  <a:cubicBezTo>
                    <a:pt x="1328" y="624"/>
                    <a:pt x="1328" y="624"/>
                    <a:pt x="1328" y="624"/>
                  </a:cubicBezTo>
                  <a:cubicBezTo>
                    <a:pt x="1329" y="624"/>
                    <a:pt x="1329" y="624"/>
                    <a:pt x="1329" y="624"/>
                  </a:cubicBezTo>
                  <a:cubicBezTo>
                    <a:pt x="1329" y="624"/>
                    <a:pt x="1329" y="624"/>
                    <a:pt x="1329" y="624"/>
                  </a:cubicBezTo>
                  <a:cubicBezTo>
                    <a:pt x="1329" y="624"/>
                    <a:pt x="1329" y="624"/>
                    <a:pt x="1329" y="624"/>
                  </a:cubicBezTo>
                  <a:cubicBezTo>
                    <a:pt x="1329" y="625"/>
                    <a:pt x="1329" y="625"/>
                    <a:pt x="1329" y="625"/>
                  </a:cubicBezTo>
                  <a:cubicBezTo>
                    <a:pt x="1330" y="625"/>
                    <a:pt x="1330" y="625"/>
                    <a:pt x="1330" y="625"/>
                  </a:cubicBezTo>
                  <a:cubicBezTo>
                    <a:pt x="1330" y="625"/>
                    <a:pt x="1330" y="625"/>
                    <a:pt x="1330" y="625"/>
                  </a:cubicBezTo>
                  <a:cubicBezTo>
                    <a:pt x="1330" y="625"/>
                    <a:pt x="1330" y="625"/>
                    <a:pt x="1330" y="625"/>
                  </a:cubicBezTo>
                  <a:cubicBezTo>
                    <a:pt x="1330" y="625"/>
                    <a:pt x="1330" y="625"/>
                    <a:pt x="1330" y="625"/>
                  </a:cubicBezTo>
                  <a:cubicBezTo>
                    <a:pt x="1330" y="625"/>
                    <a:pt x="1330" y="625"/>
                    <a:pt x="1330" y="625"/>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7"/>
                    <a:pt x="1330" y="627"/>
                    <a:pt x="1330" y="627"/>
                  </a:cubicBezTo>
                  <a:cubicBezTo>
                    <a:pt x="1330" y="627"/>
                    <a:pt x="1330" y="627"/>
                    <a:pt x="1330" y="627"/>
                  </a:cubicBezTo>
                  <a:cubicBezTo>
                    <a:pt x="1330" y="627"/>
                    <a:pt x="1330" y="627"/>
                    <a:pt x="1330" y="627"/>
                  </a:cubicBezTo>
                  <a:cubicBezTo>
                    <a:pt x="1329" y="627"/>
                    <a:pt x="1329" y="627"/>
                    <a:pt x="1329" y="627"/>
                  </a:cubicBezTo>
                  <a:cubicBezTo>
                    <a:pt x="1326" y="626"/>
                    <a:pt x="1326" y="626"/>
                    <a:pt x="1326" y="626"/>
                  </a:cubicBezTo>
                  <a:cubicBezTo>
                    <a:pt x="1320" y="624"/>
                    <a:pt x="1320" y="624"/>
                    <a:pt x="1320" y="624"/>
                  </a:cubicBezTo>
                  <a:cubicBezTo>
                    <a:pt x="1318" y="623"/>
                    <a:pt x="1318" y="623"/>
                    <a:pt x="1318" y="623"/>
                  </a:cubicBezTo>
                  <a:cubicBezTo>
                    <a:pt x="1317" y="623"/>
                    <a:pt x="1317" y="623"/>
                    <a:pt x="1317" y="623"/>
                  </a:cubicBezTo>
                  <a:cubicBezTo>
                    <a:pt x="1316" y="622"/>
                    <a:pt x="1315" y="622"/>
                    <a:pt x="1314" y="622"/>
                  </a:cubicBezTo>
                  <a:cubicBezTo>
                    <a:pt x="1314" y="622"/>
                    <a:pt x="1314" y="622"/>
                    <a:pt x="1314" y="622"/>
                  </a:cubicBezTo>
                  <a:cubicBezTo>
                    <a:pt x="1314" y="622"/>
                    <a:pt x="1314" y="622"/>
                    <a:pt x="1314" y="622"/>
                  </a:cubicBezTo>
                  <a:cubicBezTo>
                    <a:pt x="1313" y="622"/>
                    <a:pt x="1313" y="622"/>
                    <a:pt x="1312" y="622"/>
                  </a:cubicBezTo>
                  <a:cubicBezTo>
                    <a:pt x="1312" y="622"/>
                    <a:pt x="1312" y="622"/>
                    <a:pt x="1312" y="622"/>
                  </a:cubicBezTo>
                  <a:cubicBezTo>
                    <a:pt x="1312" y="622"/>
                    <a:pt x="1312" y="622"/>
                    <a:pt x="1312" y="622"/>
                  </a:cubicBezTo>
                  <a:cubicBezTo>
                    <a:pt x="1312" y="622"/>
                    <a:pt x="1312" y="622"/>
                    <a:pt x="1312" y="622"/>
                  </a:cubicBezTo>
                  <a:cubicBezTo>
                    <a:pt x="1310" y="622"/>
                    <a:pt x="1311" y="622"/>
                    <a:pt x="1309" y="623"/>
                  </a:cubicBezTo>
                  <a:cubicBezTo>
                    <a:pt x="1309" y="623"/>
                    <a:pt x="1309" y="623"/>
                    <a:pt x="1309" y="623"/>
                  </a:cubicBezTo>
                  <a:cubicBezTo>
                    <a:pt x="1308" y="623"/>
                    <a:pt x="1308" y="623"/>
                    <a:pt x="1308" y="623"/>
                  </a:cubicBezTo>
                  <a:cubicBezTo>
                    <a:pt x="1308" y="623"/>
                    <a:pt x="1308" y="623"/>
                    <a:pt x="1308" y="623"/>
                  </a:cubicBezTo>
                  <a:cubicBezTo>
                    <a:pt x="1304" y="624"/>
                    <a:pt x="1302" y="623"/>
                    <a:pt x="1298" y="622"/>
                  </a:cubicBezTo>
                  <a:cubicBezTo>
                    <a:pt x="1298" y="622"/>
                    <a:pt x="1298" y="622"/>
                    <a:pt x="1298" y="622"/>
                  </a:cubicBezTo>
                  <a:cubicBezTo>
                    <a:pt x="1298" y="622"/>
                    <a:pt x="1298" y="622"/>
                    <a:pt x="1298" y="622"/>
                  </a:cubicBezTo>
                  <a:cubicBezTo>
                    <a:pt x="1298" y="622"/>
                    <a:pt x="1298" y="622"/>
                    <a:pt x="1298" y="622"/>
                  </a:cubicBezTo>
                  <a:cubicBezTo>
                    <a:pt x="1298" y="622"/>
                    <a:pt x="1298" y="622"/>
                    <a:pt x="1298" y="622"/>
                  </a:cubicBezTo>
                  <a:cubicBezTo>
                    <a:pt x="1296" y="621"/>
                    <a:pt x="1292" y="623"/>
                    <a:pt x="1291" y="625"/>
                  </a:cubicBezTo>
                  <a:cubicBezTo>
                    <a:pt x="1291" y="625"/>
                    <a:pt x="1291" y="625"/>
                    <a:pt x="1291" y="625"/>
                  </a:cubicBezTo>
                  <a:cubicBezTo>
                    <a:pt x="1291" y="625"/>
                    <a:pt x="1291" y="625"/>
                    <a:pt x="1291" y="625"/>
                  </a:cubicBezTo>
                  <a:cubicBezTo>
                    <a:pt x="1291" y="625"/>
                    <a:pt x="1291" y="625"/>
                    <a:pt x="1291" y="625"/>
                  </a:cubicBezTo>
                  <a:cubicBezTo>
                    <a:pt x="1290" y="627"/>
                    <a:pt x="1289" y="627"/>
                    <a:pt x="1289" y="628"/>
                  </a:cubicBezTo>
                  <a:cubicBezTo>
                    <a:pt x="1289" y="628"/>
                    <a:pt x="1289" y="628"/>
                    <a:pt x="1289" y="628"/>
                  </a:cubicBezTo>
                  <a:cubicBezTo>
                    <a:pt x="1288" y="629"/>
                    <a:pt x="1288" y="629"/>
                    <a:pt x="1288" y="629"/>
                  </a:cubicBezTo>
                  <a:cubicBezTo>
                    <a:pt x="1288" y="630"/>
                    <a:pt x="1288" y="630"/>
                    <a:pt x="1287" y="631"/>
                  </a:cubicBezTo>
                  <a:cubicBezTo>
                    <a:pt x="1287" y="631"/>
                    <a:pt x="1287" y="631"/>
                    <a:pt x="1287" y="631"/>
                  </a:cubicBezTo>
                  <a:cubicBezTo>
                    <a:pt x="1287" y="631"/>
                    <a:pt x="1287" y="631"/>
                    <a:pt x="1287" y="631"/>
                  </a:cubicBezTo>
                  <a:cubicBezTo>
                    <a:pt x="1287" y="631"/>
                    <a:pt x="1287" y="631"/>
                    <a:pt x="1287" y="631"/>
                  </a:cubicBezTo>
                  <a:cubicBezTo>
                    <a:pt x="1287" y="632"/>
                    <a:pt x="1287" y="632"/>
                    <a:pt x="1287" y="632"/>
                  </a:cubicBezTo>
                  <a:cubicBezTo>
                    <a:pt x="1287" y="631"/>
                    <a:pt x="1287" y="631"/>
                    <a:pt x="1287" y="631"/>
                  </a:cubicBezTo>
                  <a:cubicBezTo>
                    <a:pt x="1287" y="631"/>
                    <a:pt x="1287" y="631"/>
                    <a:pt x="1287" y="631"/>
                  </a:cubicBezTo>
                  <a:cubicBezTo>
                    <a:pt x="1287" y="629"/>
                    <a:pt x="1287" y="629"/>
                    <a:pt x="1287" y="629"/>
                  </a:cubicBezTo>
                  <a:cubicBezTo>
                    <a:pt x="1287" y="629"/>
                    <a:pt x="1287" y="629"/>
                    <a:pt x="1287" y="629"/>
                  </a:cubicBezTo>
                  <a:cubicBezTo>
                    <a:pt x="1287" y="628"/>
                    <a:pt x="1287" y="628"/>
                    <a:pt x="1287" y="628"/>
                  </a:cubicBezTo>
                  <a:cubicBezTo>
                    <a:pt x="1287" y="628"/>
                    <a:pt x="1287" y="628"/>
                    <a:pt x="1287" y="628"/>
                  </a:cubicBezTo>
                  <a:cubicBezTo>
                    <a:pt x="1288" y="628"/>
                    <a:pt x="1288" y="628"/>
                    <a:pt x="1288" y="628"/>
                  </a:cubicBezTo>
                  <a:cubicBezTo>
                    <a:pt x="1288" y="628"/>
                    <a:pt x="1288" y="628"/>
                    <a:pt x="1288" y="628"/>
                  </a:cubicBezTo>
                  <a:cubicBezTo>
                    <a:pt x="1288" y="628"/>
                    <a:pt x="1288" y="628"/>
                    <a:pt x="1288" y="628"/>
                  </a:cubicBezTo>
                  <a:cubicBezTo>
                    <a:pt x="1288" y="627"/>
                    <a:pt x="1288" y="627"/>
                    <a:pt x="1288" y="627"/>
                  </a:cubicBezTo>
                  <a:cubicBezTo>
                    <a:pt x="1288" y="627"/>
                    <a:pt x="1288" y="627"/>
                    <a:pt x="1288" y="627"/>
                  </a:cubicBezTo>
                  <a:cubicBezTo>
                    <a:pt x="1288" y="627"/>
                    <a:pt x="1288" y="627"/>
                    <a:pt x="1288" y="627"/>
                  </a:cubicBezTo>
                  <a:cubicBezTo>
                    <a:pt x="1289" y="627"/>
                    <a:pt x="1289" y="627"/>
                    <a:pt x="1289" y="627"/>
                  </a:cubicBezTo>
                  <a:cubicBezTo>
                    <a:pt x="1289" y="627"/>
                    <a:pt x="1289" y="627"/>
                    <a:pt x="1289" y="627"/>
                  </a:cubicBezTo>
                  <a:cubicBezTo>
                    <a:pt x="1289" y="627"/>
                    <a:pt x="1289" y="627"/>
                    <a:pt x="1289" y="627"/>
                  </a:cubicBezTo>
                  <a:cubicBezTo>
                    <a:pt x="1289" y="627"/>
                    <a:pt x="1289" y="627"/>
                    <a:pt x="1289" y="627"/>
                  </a:cubicBezTo>
                  <a:cubicBezTo>
                    <a:pt x="1289" y="626"/>
                    <a:pt x="1289" y="626"/>
                    <a:pt x="1289" y="626"/>
                  </a:cubicBezTo>
                  <a:cubicBezTo>
                    <a:pt x="1290" y="626"/>
                    <a:pt x="1289" y="625"/>
                    <a:pt x="1290" y="625"/>
                  </a:cubicBezTo>
                  <a:cubicBezTo>
                    <a:pt x="1290" y="624"/>
                    <a:pt x="1290" y="624"/>
                    <a:pt x="1290" y="624"/>
                  </a:cubicBezTo>
                  <a:cubicBezTo>
                    <a:pt x="1290" y="624"/>
                    <a:pt x="1290" y="624"/>
                    <a:pt x="1290" y="624"/>
                  </a:cubicBezTo>
                  <a:cubicBezTo>
                    <a:pt x="1290" y="624"/>
                    <a:pt x="1290" y="624"/>
                    <a:pt x="1290" y="624"/>
                  </a:cubicBezTo>
                  <a:cubicBezTo>
                    <a:pt x="1290" y="624"/>
                    <a:pt x="1290" y="624"/>
                    <a:pt x="1290" y="624"/>
                  </a:cubicBezTo>
                  <a:cubicBezTo>
                    <a:pt x="1291" y="624"/>
                    <a:pt x="1291" y="624"/>
                    <a:pt x="1291" y="624"/>
                  </a:cubicBezTo>
                  <a:cubicBezTo>
                    <a:pt x="1291" y="624"/>
                    <a:pt x="1291" y="624"/>
                    <a:pt x="1291" y="624"/>
                  </a:cubicBezTo>
                  <a:cubicBezTo>
                    <a:pt x="1291" y="624"/>
                    <a:pt x="1291" y="624"/>
                    <a:pt x="1291" y="624"/>
                  </a:cubicBezTo>
                  <a:cubicBezTo>
                    <a:pt x="1291" y="623"/>
                    <a:pt x="1291" y="623"/>
                    <a:pt x="1291" y="623"/>
                  </a:cubicBezTo>
                  <a:cubicBezTo>
                    <a:pt x="1291" y="623"/>
                    <a:pt x="1291" y="623"/>
                    <a:pt x="1291" y="623"/>
                  </a:cubicBezTo>
                  <a:cubicBezTo>
                    <a:pt x="1291" y="623"/>
                    <a:pt x="1291" y="623"/>
                    <a:pt x="1291" y="623"/>
                  </a:cubicBezTo>
                  <a:cubicBezTo>
                    <a:pt x="1292" y="623"/>
                    <a:pt x="1292" y="623"/>
                    <a:pt x="1292" y="623"/>
                  </a:cubicBezTo>
                  <a:cubicBezTo>
                    <a:pt x="1292" y="623"/>
                    <a:pt x="1292" y="623"/>
                    <a:pt x="1292" y="623"/>
                  </a:cubicBezTo>
                  <a:cubicBezTo>
                    <a:pt x="1292" y="623"/>
                    <a:pt x="1292" y="623"/>
                    <a:pt x="1292" y="623"/>
                  </a:cubicBezTo>
                  <a:cubicBezTo>
                    <a:pt x="1292" y="623"/>
                    <a:pt x="1292" y="623"/>
                    <a:pt x="1292" y="623"/>
                  </a:cubicBezTo>
                  <a:cubicBezTo>
                    <a:pt x="1292" y="622"/>
                    <a:pt x="1292" y="622"/>
                    <a:pt x="1292" y="622"/>
                  </a:cubicBezTo>
                  <a:cubicBezTo>
                    <a:pt x="1292" y="622"/>
                    <a:pt x="1292" y="622"/>
                    <a:pt x="1292" y="622"/>
                  </a:cubicBezTo>
                  <a:cubicBezTo>
                    <a:pt x="1292" y="622"/>
                    <a:pt x="1292" y="622"/>
                    <a:pt x="1292" y="622"/>
                  </a:cubicBezTo>
                  <a:cubicBezTo>
                    <a:pt x="1292" y="622"/>
                    <a:pt x="1292" y="622"/>
                    <a:pt x="1292" y="622"/>
                  </a:cubicBezTo>
                  <a:cubicBezTo>
                    <a:pt x="1293" y="622"/>
                    <a:pt x="1294" y="622"/>
                    <a:pt x="1294" y="621"/>
                  </a:cubicBezTo>
                  <a:cubicBezTo>
                    <a:pt x="1294" y="621"/>
                    <a:pt x="1294" y="621"/>
                    <a:pt x="1294" y="621"/>
                  </a:cubicBezTo>
                  <a:cubicBezTo>
                    <a:pt x="1294" y="621"/>
                    <a:pt x="1294" y="621"/>
                    <a:pt x="1294" y="621"/>
                  </a:cubicBezTo>
                  <a:cubicBezTo>
                    <a:pt x="1294" y="620"/>
                    <a:pt x="1294" y="620"/>
                    <a:pt x="1294" y="620"/>
                  </a:cubicBezTo>
                  <a:cubicBezTo>
                    <a:pt x="1294" y="620"/>
                    <a:pt x="1294" y="620"/>
                    <a:pt x="1294" y="620"/>
                  </a:cubicBezTo>
                  <a:cubicBezTo>
                    <a:pt x="1293" y="620"/>
                    <a:pt x="1293" y="620"/>
                    <a:pt x="1293" y="620"/>
                  </a:cubicBezTo>
                  <a:cubicBezTo>
                    <a:pt x="1255" y="603"/>
                    <a:pt x="1255" y="603"/>
                    <a:pt x="1255" y="603"/>
                  </a:cubicBezTo>
                  <a:cubicBezTo>
                    <a:pt x="1254" y="603"/>
                    <a:pt x="1253" y="602"/>
                    <a:pt x="1252" y="602"/>
                  </a:cubicBezTo>
                  <a:cubicBezTo>
                    <a:pt x="1252" y="602"/>
                    <a:pt x="1252" y="602"/>
                    <a:pt x="1252" y="602"/>
                  </a:cubicBezTo>
                  <a:cubicBezTo>
                    <a:pt x="1251" y="602"/>
                    <a:pt x="1251" y="602"/>
                    <a:pt x="1251" y="602"/>
                  </a:cubicBezTo>
                  <a:cubicBezTo>
                    <a:pt x="1251" y="602"/>
                    <a:pt x="1251" y="602"/>
                    <a:pt x="1251" y="602"/>
                  </a:cubicBezTo>
                  <a:cubicBezTo>
                    <a:pt x="1251" y="602"/>
                    <a:pt x="1251" y="602"/>
                    <a:pt x="1251" y="602"/>
                  </a:cubicBezTo>
                  <a:cubicBezTo>
                    <a:pt x="1251" y="602"/>
                    <a:pt x="1251" y="602"/>
                    <a:pt x="1251" y="602"/>
                  </a:cubicBezTo>
                  <a:cubicBezTo>
                    <a:pt x="1250" y="601"/>
                    <a:pt x="1250" y="601"/>
                    <a:pt x="1250" y="601"/>
                  </a:cubicBezTo>
                  <a:cubicBezTo>
                    <a:pt x="1249" y="601"/>
                    <a:pt x="1249" y="601"/>
                    <a:pt x="1249" y="601"/>
                  </a:cubicBezTo>
                  <a:cubicBezTo>
                    <a:pt x="1249" y="601"/>
                    <a:pt x="1249" y="601"/>
                    <a:pt x="1249" y="601"/>
                  </a:cubicBezTo>
                  <a:cubicBezTo>
                    <a:pt x="1249" y="601"/>
                    <a:pt x="1249" y="601"/>
                    <a:pt x="1249" y="601"/>
                  </a:cubicBezTo>
                  <a:cubicBezTo>
                    <a:pt x="1249" y="601"/>
                    <a:pt x="1249" y="601"/>
                    <a:pt x="1249" y="601"/>
                  </a:cubicBezTo>
                  <a:cubicBezTo>
                    <a:pt x="1248" y="601"/>
                    <a:pt x="1248" y="601"/>
                    <a:pt x="1248" y="601"/>
                  </a:cubicBezTo>
                  <a:cubicBezTo>
                    <a:pt x="1248" y="601"/>
                    <a:pt x="1248" y="601"/>
                    <a:pt x="1248" y="601"/>
                  </a:cubicBezTo>
                  <a:cubicBezTo>
                    <a:pt x="1248" y="601"/>
                    <a:pt x="1248" y="601"/>
                    <a:pt x="1248" y="601"/>
                  </a:cubicBezTo>
                  <a:cubicBezTo>
                    <a:pt x="1248" y="601"/>
                    <a:pt x="1248" y="601"/>
                    <a:pt x="1248" y="601"/>
                  </a:cubicBezTo>
                  <a:cubicBezTo>
                    <a:pt x="1248" y="601"/>
                    <a:pt x="1248" y="601"/>
                    <a:pt x="1248" y="601"/>
                  </a:cubicBezTo>
                  <a:cubicBezTo>
                    <a:pt x="1247" y="601"/>
                    <a:pt x="1247" y="601"/>
                    <a:pt x="1247" y="601"/>
                  </a:cubicBezTo>
                  <a:cubicBezTo>
                    <a:pt x="1247" y="601"/>
                    <a:pt x="1247" y="601"/>
                    <a:pt x="1247" y="601"/>
                  </a:cubicBezTo>
                  <a:cubicBezTo>
                    <a:pt x="1246" y="601"/>
                    <a:pt x="1246" y="601"/>
                    <a:pt x="1245" y="601"/>
                  </a:cubicBezTo>
                  <a:cubicBezTo>
                    <a:pt x="1244" y="601"/>
                    <a:pt x="1244" y="601"/>
                    <a:pt x="1244" y="601"/>
                  </a:cubicBezTo>
                  <a:cubicBezTo>
                    <a:pt x="1244" y="601"/>
                    <a:pt x="1244" y="601"/>
                    <a:pt x="1244" y="601"/>
                  </a:cubicBezTo>
                  <a:cubicBezTo>
                    <a:pt x="1242" y="600"/>
                    <a:pt x="1243" y="601"/>
                    <a:pt x="1241" y="600"/>
                  </a:cubicBezTo>
                  <a:cubicBezTo>
                    <a:pt x="1240" y="600"/>
                    <a:pt x="1240" y="600"/>
                    <a:pt x="1240" y="600"/>
                  </a:cubicBezTo>
                  <a:cubicBezTo>
                    <a:pt x="1238" y="599"/>
                    <a:pt x="1238" y="599"/>
                    <a:pt x="1238" y="599"/>
                  </a:cubicBezTo>
                  <a:cubicBezTo>
                    <a:pt x="1237" y="598"/>
                    <a:pt x="1237" y="598"/>
                    <a:pt x="1237" y="598"/>
                  </a:cubicBezTo>
                  <a:cubicBezTo>
                    <a:pt x="1236" y="598"/>
                    <a:pt x="1236" y="598"/>
                    <a:pt x="1236" y="598"/>
                  </a:cubicBezTo>
                  <a:cubicBezTo>
                    <a:pt x="1236" y="598"/>
                    <a:pt x="1236" y="598"/>
                    <a:pt x="1236" y="598"/>
                  </a:cubicBezTo>
                  <a:cubicBezTo>
                    <a:pt x="1236" y="598"/>
                    <a:pt x="1236" y="598"/>
                    <a:pt x="1236" y="598"/>
                  </a:cubicBezTo>
                  <a:cubicBezTo>
                    <a:pt x="1236" y="599"/>
                    <a:pt x="1236" y="599"/>
                    <a:pt x="1236" y="599"/>
                  </a:cubicBezTo>
                  <a:cubicBezTo>
                    <a:pt x="1236" y="599"/>
                    <a:pt x="1236" y="599"/>
                    <a:pt x="1236" y="599"/>
                  </a:cubicBezTo>
                  <a:cubicBezTo>
                    <a:pt x="1236" y="599"/>
                    <a:pt x="1236" y="599"/>
                    <a:pt x="1236" y="599"/>
                  </a:cubicBezTo>
                  <a:cubicBezTo>
                    <a:pt x="1236" y="599"/>
                    <a:pt x="1236" y="599"/>
                    <a:pt x="1236" y="599"/>
                  </a:cubicBezTo>
                  <a:cubicBezTo>
                    <a:pt x="1236" y="599"/>
                    <a:pt x="1236" y="599"/>
                    <a:pt x="1236" y="599"/>
                  </a:cubicBezTo>
                  <a:cubicBezTo>
                    <a:pt x="1236" y="598"/>
                    <a:pt x="1236" y="598"/>
                    <a:pt x="1236" y="598"/>
                  </a:cubicBezTo>
                  <a:cubicBezTo>
                    <a:pt x="1235" y="597"/>
                    <a:pt x="1235" y="597"/>
                    <a:pt x="1235" y="597"/>
                  </a:cubicBezTo>
                  <a:cubicBezTo>
                    <a:pt x="1233" y="592"/>
                    <a:pt x="1234" y="593"/>
                    <a:pt x="1232" y="590"/>
                  </a:cubicBezTo>
                  <a:cubicBezTo>
                    <a:pt x="1231" y="590"/>
                    <a:pt x="1231" y="590"/>
                    <a:pt x="1231" y="590"/>
                  </a:cubicBezTo>
                  <a:cubicBezTo>
                    <a:pt x="1231" y="590"/>
                    <a:pt x="1231" y="590"/>
                    <a:pt x="1231" y="590"/>
                  </a:cubicBezTo>
                  <a:cubicBezTo>
                    <a:pt x="1231" y="589"/>
                    <a:pt x="1231" y="589"/>
                    <a:pt x="1231" y="589"/>
                  </a:cubicBezTo>
                  <a:cubicBezTo>
                    <a:pt x="1231" y="589"/>
                    <a:pt x="1231" y="589"/>
                    <a:pt x="1230" y="588"/>
                  </a:cubicBezTo>
                  <a:cubicBezTo>
                    <a:pt x="1230" y="588"/>
                    <a:pt x="1230" y="588"/>
                    <a:pt x="1230" y="588"/>
                  </a:cubicBezTo>
                  <a:cubicBezTo>
                    <a:pt x="1230" y="588"/>
                    <a:pt x="1230" y="588"/>
                    <a:pt x="1230" y="588"/>
                  </a:cubicBezTo>
                  <a:cubicBezTo>
                    <a:pt x="1229" y="587"/>
                    <a:pt x="1229" y="587"/>
                    <a:pt x="1229" y="587"/>
                  </a:cubicBezTo>
                  <a:cubicBezTo>
                    <a:pt x="1228" y="586"/>
                    <a:pt x="1228" y="586"/>
                    <a:pt x="1228" y="586"/>
                  </a:cubicBezTo>
                  <a:cubicBezTo>
                    <a:pt x="1228" y="586"/>
                    <a:pt x="1228" y="586"/>
                    <a:pt x="1228" y="586"/>
                  </a:cubicBezTo>
                  <a:cubicBezTo>
                    <a:pt x="1228" y="586"/>
                    <a:pt x="1228" y="586"/>
                    <a:pt x="1228" y="586"/>
                  </a:cubicBezTo>
                  <a:cubicBezTo>
                    <a:pt x="1228" y="586"/>
                    <a:pt x="1228" y="586"/>
                    <a:pt x="1228" y="586"/>
                  </a:cubicBezTo>
                  <a:cubicBezTo>
                    <a:pt x="1228" y="585"/>
                    <a:pt x="1228" y="585"/>
                    <a:pt x="1228" y="585"/>
                  </a:cubicBezTo>
                  <a:cubicBezTo>
                    <a:pt x="1228" y="585"/>
                    <a:pt x="1228" y="585"/>
                    <a:pt x="1228" y="585"/>
                  </a:cubicBezTo>
                  <a:cubicBezTo>
                    <a:pt x="1228" y="585"/>
                    <a:pt x="1228" y="585"/>
                    <a:pt x="1228" y="585"/>
                  </a:cubicBezTo>
                  <a:cubicBezTo>
                    <a:pt x="1228" y="585"/>
                    <a:pt x="1228" y="585"/>
                    <a:pt x="1228" y="585"/>
                  </a:cubicBezTo>
                  <a:cubicBezTo>
                    <a:pt x="1227" y="585"/>
                    <a:pt x="1227" y="585"/>
                    <a:pt x="1227" y="585"/>
                  </a:cubicBezTo>
                  <a:cubicBezTo>
                    <a:pt x="1227" y="585"/>
                    <a:pt x="1227" y="585"/>
                    <a:pt x="1227" y="585"/>
                  </a:cubicBezTo>
                  <a:cubicBezTo>
                    <a:pt x="1227" y="585"/>
                    <a:pt x="1227" y="585"/>
                    <a:pt x="1227" y="585"/>
                  </a:cubicBezTo>
                  <a:cubicBezTo>
                    <a:pt x="1204" y="571"/>
                    <a:pt x="1204" y="571"/>
                    <a:pt x="1204" y="571"/>
                  </a:cubicBezTo>
                  <a:cubicBezTo>
                    <a:pt x="1202" y="571"/>
                    <a:pt x="1202" y="571"/>
                    <a:pt x="1202" y="571"/>
                  </a:cubicBezTo>
                  <a:cubicBezTo>
                    <a:pt x="1195" y="569"/>
                    <a:pt x="1188" y="567"/>
                    <a:pt x="1180" y="565"/>
                  </a:cubicBezTo>
                  <a:cubicBezTo>
                    <a:pt x="1180" y="566"/>
                    <a:pt x="1180" y="567"/>
                    <a:pt x="1180" y="567"/>
                  </a:cubicBezTo>
                  <a:cubicBezTo>
                    <a:pt x="1180" y="565"/>
                    <a:pt x="1180" y="565"/>
                    <a:pt x="1177" y="564"/>
                  </a:cubicBezTo>
                  <a:cubicBezTo>
                    <a:pt x="1170" y="562"/>
                    <a:pt x="1161" y="556"/>
                    <a:pt x="1154" y="558"/>
                  </a:cubicBezTo>
                  <a:cubicBezTo>
                    <a:pt x="1151" y="559"/>
                    <a:pt x="1148" y="560"/>
                    <a:pt x="1146" y="561"/>
                  </a:cubicBezTo>
                  <a:cubicBezTo>
                    <a:pt x="1138" y="563"/>
                    <a:pt x="1131" y="566"/>
                    <a:pt x="1123" y="568"/>
                  </a:cubicBezTo>
                  <a:cubicBezTo>
                    <a:pt x="1125" y="567"/>
                    <a:pt x="1127" y="566"/>
                    <a:pt x="1128" y="564"/>
                  </a:cubicBezTo>
                  <a:cubicBezTo>
                    <a:pt x="1123" y="564"/>
                    <a:pt x="1118" y="567"/>
                    <a:pt x="1114" y="569"/>
                  </a:cubicBezTo>
                  <a:cubicBezTo>
                    <a:pt x="1120" y="566"/>
                    <a:pt x="1126" y="560"/>
                    <a:pt x="1124" y="553"/>
                  </a:cubicBezTo>
                  <a:cubicBezTo>
                    <a:pt x="1123" y="550"/>
                    <a:pt x="1121" y="547"/>
                    <a:pt x="1120" y="544"/>
                  </a:cubicBezTo>
                  <a:cubicBezTo>
                    <a:pt x="1120" y="543"/>
                    <a:pt x="1119" y="542"/>
                    <a:pt x="1118" y="541"/>
                  </a:cubicBezTo>
                  <a:cubicBezTo>
                    <a:pt x="1118" y="540"/>
                    <a:pt x="1117" y="539"/>
                    <a:pt x="1116" y="539"/>
                  </a:cubicBezTo>
                  <a:cubicBezTo>
                    <a:pt x="1116" y="538"/>
                    <a:pt x="1117" y="537"/>
                    <a:pt x="1117" y="536"/>
                  </a:cubicBezTo>
                  <a:cubicBezTo>
                    <a:pt x="1116" y="534"/>
                    <a:pt x="1116" y="531"/>
                    <a:pt x="1115" y="529"/>
                  </a:cubicBezTo>
                  <a:cubicBezTo>
                    <a:pt x="1113" y="526"/>
                    <a:pt x="1112" y="524"/>
                    <a:pt x="1110" y="521"/>
                  </a:cubicBezTo>
                  <a:cubicBezTo>
                    <a:pt x="1109" y="518"/>
                    <a:pt x="1109" y="516"/>
                    <a:pt x="1108" y="513"/>
                  </a:cubicBezTo>
                  <a:cubicBezTo>
                    <a:pt x="1108" y="512"/>
                    <a:pt x="1107" y="509"/>
                    <a:pt x="1106" y="508"/>
                  </a:cubicBezTo>
                  <a:cubicBezTo>
                    <a:pt x="1105" y="506"/>
                    <a:pt x="1105" y="507"/>
                    <a:pt x="1103" y="507"/>
                  </a:cubicBezTo>
                  <a:cubicBezTo>
                    <a:pt x="1102" y="507"/>
                    <a:pt x="1098" y="506"/>
                    <a:pt x="1096" y="506"/>
                  </a:cubicBezTo>
                  <a:cubicBezTo>
                    <a:pt x="1092" y="506"/>
                    <a:pt x="1088" y="507"/>
                    <a:pt x="1084" y="507"/>
                  </a:cubicBezTo>
                  <a:cubicBezTo>
                    <a:pt x="1085" y="508"/>
                    <a:pt x="1084" y="509"/>
                    <a:pt x="1083" y="511"/>
                  </a:cubicBezTo>
                  <a:cubicBezTo>
                    <a:pt x="1082" y="513"/>
                    <a:pt x="1082" y="513"/>
                    <a:pt x="1082" y="515"/>
                  </a:cubicBezTo>
                  <a:cubicBezTo>
                    <a:pt x="1082" y="519"/>
                    <a:pt x="1082" y="521"/>
                    <a:pt x="1079" y="525"/>
                  </a:cubicBezTo>
                  <a:cubicBezTo>
                    <a:pt x="1080" y="522"/>
                    <a:pt x="1081" y="519"/>
                    <a:pt x="1081" y="517"/>
                  </a:cubicBezTo>
                  <a:cubicBezTo>
                    <a:pt x="1081" y="515"/>
                    <a:pt x="1080" y="514"/>
                    <a:pt x="1081" y="513"/>
                  </a:cubicBezTo>
                  <a:cubicBezTo>
                    <a:pt x="1081" y="510"/>
                    <a:pt x="1083" y="510"/>
                    <a:pt x="1083" y="507"/>
                  </a:cubicBezTo>
                  <a:cubicBezTo>
                    <a:pt x="1083" y="504"/>
                    <a:pt x="1082" y="506"/>
                    <a:pt x="1081" y="506"/>
                  </a:cubicBezTo>
                  <a:cubicBezTo>
                    <a:pt x="1078" y="506"/>
                    <a:pt x="1076" y="506"/>
                    <a:pt x="1073" y="505"/>
                  </a:cubicBezTo>
                  <a:cubicBezTo>
                    <a:pt x="1071" y="504"/>
                    <a:pt x="1064" y="498"/>
                    <a:pt x="1065" y="496"/>
                  </a:cubicBezTo>
                  <a:cubicBezTo>
                    <a:pt x="1065" y="495"/>
                    <a:pt x="1069" y="496"/>
                    <a:pt x="1069" y="495"/>
                  </a:cubicBezTo>
                  <a:cubicBezTo>
                    <a:pt x="1070" y="494"/>
                    <a:pt x="1069" y="492"/>
                    <a:pt x="1070" y="491"/>
                  </a:cubicBezTo>
                  <a:cubicBezTo>
                    <a:pt x="1070" y="488"/>
                    <a:pt x="1071" y="488"/>
                    <a:pt x="1071" y="485"/>
                  </a:cubicBezTo>
                  <a:cubicBezTo>
                    <a:pt x="1070" y="483"/>
                    <a:pt x="1069" y="481"/>
                    <a:pt x="1069" y="478"/>
                  </a:cubicBezTo>
                  <a:cubicBezTo>
                    <a:pt x="1069" y="477"/>
                    <a:pt x="1069" y="475"/>
                    <a:pt x="1069" y="473"/>
                  </a:cubicBezTo>
                  <a:cubicBezTo>
                    <a:pt x="1070" y="470"/>
                    <a:pt x="1069" y="468"/>
                    <a:pt x="1069" y="464"/>
                  </a:cubicBezTo>
                  <a:cubicBezTo>
                    <a:pt x="1069" y="464"/>
                    <a:pt x="1069" y="464"/>
                    <a:pt x="1068" y="464"/>
                  </a:cubicBezTo>
                  <a:cubicBezTo>
                    <a:pt x="1071" y="464"/>
                    <a:pt x="1072" y="454"/>
                    <a:pt x="1073" y="451"/>
                  </a:cubicBezTo>
                  <a:cubicBezTo>
                    <a:pt x="1074" y="449"/>
                    <a:pt x="1071" y="447"/>
                    <a:pt x="1069" y="447"/>
                  </a:cubicBezTo>
                  <a:cubicBezTo>
                    <a:pt x="1071" y="445"/>
                    <a:pt x="1072" y="446"/>
                    <a:pt x="1073" y="446"/>
                  </a:cubicBezTo>
                  <a:cubicBezTo>
                    <a:pt x="1076" y="444"/>
                    <a:pt x="1077" y="438"/>
                    <a:pt x="1079" y="435"/>
                  </a:cubicBezTo>
                  <a:cubicBezTo>
                    <a:pt x="1080" y="434"/>
                    <a:pt x="1081" y="433"/>
                    <a:pt x="1082" y="431"/>
                  </a:cubicBezTo>
                  <a:cubicBezTo>
                    <a:pt x="1084" y="428"/>
                    <a:pt x="1085" y="428"/>
                    <a:pt x="1088" y="426"/>
                  </a:cubicBezTo>
                  <a:cubicBezTo>
                    <a:pt x="1088" y="426"/>
                    <a:pt x="1087" y="426"/>
                    <a:pt x="1087" y="426"/>
                  </a:cubicBezTo>
                  <a:cubicBezTo>
                    <a:pt x="1087" y="422"/>
                    <a:pt x="1088" y="421"/>
                    <a:pt x="1085" y="418"/>
                  </a:cubicBezTo>
                  <a:cubicBezTo>
                    <a:pt x="1087" y="419"/>
                    <a:pt x="1088" y="419"/>
                    <a:pt x="1089" y="418"/>
                  </a:cubicBezTo>
                  <a:cubicBezTo>
                    <a:pt x="1092" y="418"/>
                    <a:pt x="1092" y="417"/>
                    <a:pt x="1091" y="416"/>
                  </a:cubicBezTo>
                  <a:cubicBezTo>
                    <a:pt x="1090" y="415"/>
                    <a:pt x="1088" y="415"/>
                    <a:pt x="1089" y="413"/>
                  </a:cubicBezTo>
                  <a:cubicBezTo>
                    <a:pt x="1089" y="412"/>
                    <a:pt x="1091" y="410"/>
                    <a:pt x="1091" y="410"/>
                  </a:cubicBezTo>
                  <a:cubicBezTo>
                    <a:pt x="1092" y="409"/>
                    <a:pt x="1092" y="410"/>
                    <a:pt x="1093" y="410"/>
                  </a:cubicBezTo>
                  <a:cubicBezTo>
                    <a:pt x="1094" y="409"/>
                    <a:pt x="1094" y="408"/>
                    <a:pt x="1095" y="407"/>
                  </a:cubicBezTo>
                  <a:cubicBezTo>
                    <a:pt x="1098" y="406"/>
                    <a:pt x="1101" y="405"/>
                    <a:pt x="1103" y="403"/>
                  </a:cubicBezTo>
                  <a:cubicBezTo>
                    <a:pt x="1102" y="404"/>
                    <a:pt x="1101" y="403"/>
                    <a:pt x="1100" y="402"/>
                  </a:cubicBezTo>
                  <a:cubicBezTo>
                    <a:pt x="1101" y="402"/>
                    <a:pt x="1105" y="403"/>
                    <a:pt x="1105" y="402"/>
                  </a:cubicBezTo>
                  <a:cubicBezTo>
                    <a:pt x="1105" y="401"/>
                    <a:pt x="1103" y="402"/>
                    <a:pt x="1103" y="401"/>
                  </a:cubicBezTo>
                  <a:cubicBezTo>
                    <a:pt x="1103" y="400"/>
                    <a:pt x="1100" y="400"/>
                    <a:pt x="1099" y="399"/>
                  </a:cubicBezTo>
                  <a:cubicBezTo>
                    <a:pt x="1099" y="399"/>
                    <a:pt x="1099" y="398"/>
                    <a:pt x="1099" y="397"/>
                  </a:cubicBezTo>
                  <a:cubicBezTo>
                    <a:pt x="1099" y="397"/>
                    <a:pt x="1097" y="396"/>
                    <a:pt x="1097" y="395"/>
                  </a:cubicBezTo>
                  <a:cubicBezTo>
                    <a:pt x="1099" y="396"/>
                    <a:pt x="1101" y="397"/>
                    <a:pt x="1104" y="398"/>
                  </a:cubicBezTo>
                  <a:cubicBezTo>
                    <a:pt x="1104" y="397"/>
                    <a:pt x="1103" y="396"/>
                    <a:pt x="1102" y="396"/>
                  </a:cubicBezTo>
                  <a:cubicBezTo>
                    <a:pt x="1103" y="395"/>
                    <a:pt x="1105" y="396"/>
                    <a:pt x="1106" y="395"/>
                  </a:cubicBezTo>
                  <a:cubicBezTo>
                    <a:pt x="1104" y="395"/>
                    <a:pt x="1103" y="394"/>
                    <a:pt x="1102" y="393"/>
                  </a:cubicBezTo>
                  <a:cubicBezTo>
                    <a:pt x="1103" y="392"/>
                    <a:pt x="1105" y="392"/>
                    <a:pt x="1106" y="394"/>
                  </a:cubicBezTo>
                  <a:cubicBezTo>
                    <a:pt x="1107" y="391"/>
                    <a:pt x="1110" y="391"/>
                    <a:pt x="1112" y="390"/>
                  </a:cubicBezTo>
                  <a:cubicBezTo>
                    <a:pt x="1110" y="389"/>
                    <a:pt x="1107" y="388"/>
                    <a:pt x="1111" y="387"/>
                  </a:cubicBezTo>
                  <a:cubicBezTo>
                    <a:pt x="1113" y="386"/>
                    <a:pt x="1118" y="388"/>
                    <a:pt x="1115" y="385"/>
                  </a:cubicBezTo>
                  <a:cubicBezTo>
                    <a:pt x="1113" y="383"/>
                    <a:pt x="1108" y="383"/>
                    <a:pt x="1105" y="381"/>
                  </a:cubicBezTo>
                  <a:cubicBezTo>
                    <a:pt x="1109" y="382"/>
                    <a:pt x="1113" y="382"/>
                    <a:pt x="1116" y="384"/>
                  </a:cubicBezTo>
                  <a:cubicBezTo>
                    <a:pt x="1119" y="385"/>
                    <a:pt x="1120" y="389"/>
                    <a:pt x="1123" y="388"/>
                  </a:cubicBezTo>
                  <a:cubicBezTo>
                    <a:pt x="1120" y="387"/>
                    <a:pt x="1121" y="384"/>
                    <a:pt x="1120" y="382"/>
                  </a:cubicBezTo>
                  <a:cubicBezTo>
                    <a:pt x="1119" y="381"/>
                    <a:pt x="1114" y="380"/>
                    <a:pt x="1118" y="377"/>
                  </a:cubicBezTo>
                  <a:cubicBezTo>
                    <a:pt x="1119" y="376"/>
                    <a:pt x="1123" y="379"/>
                    <a:pt x="1122" y="375"/>
                  </a:cubicBezTo>
                  <a:cubicBezTo>
                    <a:pt x="1121" y="376"/>
                    <a:pt x="1121" y="373"/>
                    <a:pt x="1120" y="371"/>
                  </a:cubicBezTo>
                  <a:cubicBezTo>
                    <a:pt x="1121" y="372"/>
                    <a:pt x="1122" y="373"/>
                    <a:pt x="1122" y="373"/>
                  </a:cubicBezTo>
                  <a:cubicBezTo>
                    <a:pt x="1124" y="372"/>
                    <a:pt x="1122" y="374"/>
                    <a:pt x="1123" y="374"/>
                  </a:cubicBezTo>
                  <a:cubicBezTo>
                    <a:pt x="1126" y="375"/>
                    <a:pt x="1128" y="371"/>
                    <a:pt x="1130" y="372"/>
                  </a:cubicBezTo>
                  <a:cubicBezTo>
                    <a:pt x="1130" y="372"/>
                    <a:pt x="1130" y="374"/>
                    <a:pt x="1131" y="374"/>
                  </a:cubicBezTo>
                  <a:cubicBezTo>
                    <a:pt x="1132" y="375"/>
                    <a:pt x="1137" y="373"/>
                    <a:pt x="1137" y="372"/>
                  </a:cubicBezTo>
                  <a:cubicBezTo>
                    <a:pt x="1137" y="370"/>
                    <a:pt x="1133" y="370"/>
                    <a:pt x="1132" y="370"/>
                  </a:cubicBezTo>
                  <a:cubicBezTo>
                    <a:pt x="1129" y="370"/>
                    <a:pt x="1120" y="364"/>
                    <a:pt x="1127" y="364"/>
                  </a:cubicBezTo>
                  <a:cubicBezTo>
                    <a:pt x="1129" y="363"/>
                    <a:pt x="1131" y="363"/>
                    <a:pt x="1134" y="363"/>
                  </a:cubicBezTo>
                  <a:cubicBezTo>
                    <a:pt x="1136" y="363"/>
                    <a:pt x="1138" y="364"/>
                    <a:pt x="1140" y="364"/>
                  </a:cubicBezTo>
                  <a:cubicBezTo>
                    <a:pt x="1144" y="365"/>
                    <a:pt x="1146" y="366"/>
                    <a:pt x="1149" y="364"/>
                  </a:cubicBezTo>
                  <a:cubicBezTo>
                    <a:pt x="1151" y="363"/>
                    <a:pt x="1152" y="362"/>
                    <a:pt x="1154" y="361"/>
                  </a:cubicBezTo>
                  <a:cubicBezTo>
                    <a:pt x="1155" y="360"/>
                    <a:pt x="1157" y="360"/>
                    <a:pt x="1158" y="360"/>
                  </a:cubicBezTo>
                  <a:cubicBezTo>
                    <a:pt x="1161" y="358"/>
                    <a:pt x="1165" y="357"/>
                    <a:pt x="1165" y="354"/>
                  </a:cubicBezTo>
                  <a:cubicBezTo>
                    <a:pt x="1165" y="353"/>
                    <a:pt x="1165" y="351"/>
                    <a:pt x="1164" y="349"/>
                  </a:cubicBezTo>
                  <a:cubicBezTo>
                    <a:pt x="1164" y="346"/>
                    <a:pt x="1165" y="346"/>
                    <a:pt x="1163" y="345"/>
                  </a:cubicBezTo>
                  <a:cubicBezTo>
                    <a:pt x="1162" y="344"/>
                    <a:pt x="1160" y="344"/>
                    <a:pt x="1158" y="342"/>
                  </a:cubicBezTo>
                  <a:cubicBezTo>
                    <a:pt x="1159" y="343"/>
                    <a:pt x="1161" y="343"/>
                    <a:pt x="1162" y="343"/>
                  </a:cubicBezTo>
                  <a:cubicBezTo>
                    <a:pt x="1158" y="342"/>
                    <a:pt x="1155" y="340"/>
                    <a:pt x="1151" y="340"/>
                  </a:cubicBezTo>
                  <a:cubicBezTo>
                    <a:pt x="1150" y="339"/>
                    <a:pt x="1149" y="340"/>
                    <a:pt x="1149" y="340"/>
                  </a:cubicBezTo>
                  <a:cubicBezTo>
                    <a:pt x="1149" y="340"/>
                    <a:pt x="1147" y="338"/>
                    <a:pt x="1146" y="338"/>
                  </a:cubicBezTo>
                  <a:cubicBezTo>
                    <a:pt x="1146" y="338"/>
                    <a:pt x="1144" y="337"/>
                    <a:pt x="1144" y="337"/>
                  </a:cubicBezTo>
                  <a:cubicBezTo>
                    <a:pt x="1143" y="336"/>
                    <a:pt x="1144" y="335"/>
                    <a:pt x="1143" y="334"/>
                  </a:cubicBezTo>
                  <a:cubicBezTo>
                    <a:pt x="1140" y="330"/>
                    <a:pt x="1136" y="333"/>
                    <a:pt x="1133" y="334"/>
                  </a:cubicBezTo>
                  <a:cubicBezTo>
                    <a:pt x="1132" y="335"/>
                    <a:pt x="1131" y="335"/>
                    <a:pt x="1130" y="335"/>
                  </a:cubicBezTo>
                  <a:cubicBezTo>
                    <a:pt x="1129" y="337"/>
                    <a:pt x="1129" y="337"/>
                    <a:pt x="1128" y="338"/>
                  </a:cubicBezTo>
                  <a:cubicBezTo>
                    <a:pt x="1129" y="337"/>
                    <a:pt x="1125" y="338"/>
                    <a:pt x="1126" y="338"/>
                  </a:cubicBezTo>
                  <a:cubicBezTo>
                    <a:pt x="1124" y="338"/>
                    <a:pt x="1123" y="338"/>
                    <a:pt x="1122" y="337"/>
                  </a:cubicBezTo>
                  <a:cubicBezTo>
                    <a:pt x="1123" y="337"/>
                    <a:pt x="1125" y="337"/>
                    <a:pt x="1126" y="335"/>
                  </a:cubicBezTo>
                  <a:cubicBezTo>
                    <a:pt x="1127" y="333"/>
                    <a:pt x="1130" y="335"/>
                    <a:pt x="1131" y="332"/>
                  </a:cubicBezTo>
                  <a:cubicBezTo>
                    <a:pt x="1130" y="331"/>
                    <a:pt x="1128" y="331"/>
                    <a:pt x="1126" y="331"/>
                  </a:cubicBezTo>
                  <a:cubicBezTo>
                    <a:pt x="1126" y="330"/>
                    <a:pt x="1125" y="331"/>
                    <a:pt x="1124" y="330"/>
                  </a:cubicBezTo>
                  <a:cubicBezTo>
                    <a:pt x="1124" y="330"/>
                    <a:pt x="1124" y="329"/>
                    <a:pt x="1124" y="328"/>
                  </a:cubicBezTo>
                  <a:cubicBezTo>
                    <a:pt x="1121" y="327"/>
                    <a:pt x="1121" y="329"/>
                    <a:pt x="1119" y="329"/>
                  </a:cubicBezTo>
                  <a:cubicBezTo>
                    <a:pt x="1118" y="329"/>
                    <a:pt x="1115" y="327"/>
                    <a:pt x="1114" y="327"/>
                  </a:cubicBezTo>
                  <a:cubicBezTo>
                    <a:pt x="1111" y="326"/>
                    <a:pt x="1108" y="325"/>
                    <a:pt x="1104" y="324"/>
                  </a:cubicBezTo>
                  <a:cubicBezTo>
                    <a:pt x="1098" y="321"/>
                    <a:pt x="1102" y="326"/>
                    <a:pt x="1106" y="327"/>
                  </a:cubicBezTo>
                  <a:cubicBezTo>
                    <a:pt x="1103" y="327"/>
                    <a:pt x="1101" y="328"/>
                    <a:pt x="1099" y="327"/>
                  </a:cubicBezTo>
                  <a:cubicBezTo>
                    <a:pt x="1096" y="326"/>
                    <a:pt x="1094" y="324"/>
                    <a:pt x="1094" y="321"/>
                  </a:cubicBezTo>
                  <a:cubicBezTo>
                    <a:pt x="1095" y="321"/>
                    <a:pt x="1096" y="321"/>
                    <a:pt x="1098" y="321"/>
                  </a:cubicBezTo>
                  <a:cubicBezTo>
                    <a:pt x="1099" y="321"/>
                    <a:pt x="1097" y="319"/>
                    <a:pt x="1097" y="319"/>
                  </a:cubicBezTo>
                  <a:cubicBezTo>
                    <a:pt x="1096" y="317"/>
                    <a:pt x="1094" y="316"/>
                    <a:pt x="1093" y="314"/>
                  </a:cubicBezTo>
                  <a:cubicBezTo>
                    <a:pt x="1094" y="315"/>
                    <a:pt x="1095" y="315"/>
                    <a:pt x="1095" y="315"/>
                  </a:cubicBezTo>
                  <a:cubicBezTo>
                    <a:pt x="1096" y="315"/>
                    <a:pt x="1096" y="315"/>
                    <a:pt x="1097" y="315"/>
                  </a:cubicBezTo>
                  <a:cubicBezTo>
                    <a:pt x="1097" y="316"/>
                    <a:pt x="1096" y="316"/>
                    <a:pt x="1096" y="317"/>
                  </a:cubicBezTo>
                  <a:cubicBezTo>
                    <a:pt x="1097" y="318"/>
                    <a:pt x="1099" y="319"/>
                    <a:pt x="1100" y="320"/>
                  </a:cubicBezTo>
                  <a:cubicBezTo>
                    <a:pt x="1104" y="322"/>
                    <a:pt x="1108" y="323"/>
                    <a:pt x="1112" y="324"/>
                  </a:cubicBezTo>
                  <a:cubicBezTo>
                    <a:pt x="1112" y="324"/>
                    <a:pt x="1114" y="325"/>
                    <a:pt x="1114" y="325"/>
                  </a:cubicBezTo>
                  <a:cubicBezTo>
                    <a:pt x="1115" y="325"/>
                    <a:pt x="1116" y="325"/>
                    <a:pt x="1117" y="326"/>
                  </a:cubicBezTo>
                  <a:cubicBezTo>
                    <a:pt x="1117" y="326"/>
                    <a:pt x="1118" y="327"/>
                    <a:pt x="1119" y="327"/>
                  </a:cubicBezTo>
                  <a:cubicBezTo>
                    <a:pt x="1120" y="327"/>
                    <a:pt x="1121" y="327"/>
                    <a:pt x="1122" y="327"/>
                  </a:cubicBezTo>
                  <a:cubicBezTo>
                    <a:pt x="1123" y="328"/>
                    <a:pt x="1124" y="329"/>
                    <a:pt x="1125" y="329"/>
                  </a:cubicBezTo>
                  <a:cubicBezTo>
                    <a:pt x="1126" y="329"/>
                    <a:pt x="1127" y="329"/>
                    <a:pt x="1128" y="329"/>
                  </a:cubicBezTo>
                  <a:cubicBezTo>
                    <a:pt x="1132" y="330"/>
                    <a:pt x="1131" y="330"/>
                    <a:pt x="1135" y="328"/>
                  </a:cubicBezTo>
                  <a:cubicBezTo>
                    <a:pt x="1134" y="331"/>
                    <a:pt x="1137" y="331"/>
                    <a:pt x="1139" y="331"/>
                  </a:cubicBezTo>
                  <a:cubicBezTo>
                    <a:pt x="1141" y="330"/>
                    <a:pt x="1141" y="330"/>
                    <a:pt x="1142" y="330"/>
                  </a:cubicBezTo>
                  <a:cubicBezTo>
                    <a:pt x="1142" y="330"/>
                    <a:pt x="1141" y="331"/>
                    <a:pt x="1142" y="331"/>
                  </a:cubicBezTo>
                  <a:cubicBezTo>
                    <a:pt x="1142" y="332"/>
                    <a:pt x="1143" y="331"/>
                    <a:pt x="1144" y="332"/>
                  </a:cubicBezTo>
                  <a:cubicBezTo>
                    <a:pt x="1144" y="332"/>
                    <a:pt x="1146" y="331"/>
                    <a:pt x="1147" y="332"/>
                  </a:cubicBezTo>
                  <a:cubicBezTo>
                    <a:pt x="1148" y="332"/>
                    <a:pt x="1148" y="333"/>
                    <a:pt x="1149" y="334"/>
                  </a:cubicBezTo>
                  <a:cubicBezTo>
                    <a:pt x="1151" y="335"/>
                    <a:pt x="1153" y="335"/>
                    <a:pt x="1155" y="335"/>
                  </a:cubicBezTo>
                  <a:cubicBezTo>
                    <a:pt x="1156" y="336"/>
                    <a:pt x="1158" y="337"/>
                    <a:pt x="1160" y="337"/>
                  </a:cubicBezTo>
                  <a:cubicBezTo>
                    <a:pt x="1162" y="337"/>
                    <a:pt x="1168" y="336"/>
                    <a:pt x="1168" y="335"/>
                  </a:cubicBezTo>
                  <a:cubicBezTo>
                    <a:pt x="1167" y="334"/>
                    <a:pt x="1164" y="334"/>
                    <a:pt x="1165" y="332"/>
                  </a:cubicBezTo>
                  <a:cubicBezTo>
                    <a:pt x="1167" y="331"/>
                    <a:pt x="1168" y="333"/>
                    <a:pt x="1168" y="334"/>
                  </a:cubicBezTo>
                  <a:cubicBezTo>
                    <a:pt x="1170" y="335"/>
                    <a:pt x="1171" y="336"/>
                    <a:pt x="1174" y="334"/>
                  </a:cubicBezTo>
                  <a:cubicBezTo>
                    <a:pt x="1175" y="333"/>
                    <a:pt x="1181" y="330"/>
                    <a:pt x="1181" y="329"/>
                  </a:cubicBezTo>
                  <a:cubicBezTo>
                    <a:pt x="1182" y="327"/>
                    <a:pt x="1180" y="327"/>
                    <a:pt x="1179" y="326"/>
                  </a:cubicBezTo>
                  <a:cubicBezTo>
                    <a:pt x="1179" y="326"/>
                    <a:pt x="1178" y="324"/>
                    <a:pt x="1178" y="324"/>
                  </a:cubicBezTo>
                  <a:cubicBezTo>
                    <a:pt x="1177" y="323"/>
                    <a:pt x="1175" y="322"/>
                    <a:pt x="1174" y="321"/>
                  </a:cubicBezTo>
                  <a:cubicBezTo>
                    <a:pt x="1176" y="320"/>
                    <a:pt x="1177" y="322"/>
                    <a:pt x="1178" y="322"/>
                  </a:cubicBezTo>
                  <a:cubicBezTo>
                    <a:pt x="1179" y="322"/>
                    <a:pt x="1180" y="322"/>
                    <a:pt x="1181" y="322"/>
                  </a:cubicBezTo>
                  <a:cubicBezTo>
                    <a:pt x="1180" y="322"/>
                    <a:pt x="1183" y="326"/>
                    <a:pt x="1185" y="323"/>
                  </a:cubicBezTo>
                  <a:cubicBezTo>
                    <a:pt x="1186" y="322"/>
                    <a:pt x="1183" y="320"/>
                    <a:pt x="1182" y="319"/>
                  </a:cubicBezTo>
                  <a:cubicBezTo>
                    <a:pt x="1181" y="318"/>
                    <a:pt x="1181" y="316"/>
                    <a:pt x="1181" y="315"/>
                  </a:cubicBezTo>
                  <a:cubicBezTo>
                    <a:pt x="1182" y="314"/>
                    <a:pt x="1184" y="313"/>
                    <a:pt x="1185" y="313"/>
                  </a:cubicBezTo>
                  <a:cubicBezTo>
                    <a:pt x="1187" y="312"/>
                    <a:pt x="1186" y="313"/>
                    <a:pt x="1186" y="315"/>
                  </a:cubicBezTo>
                  <a:cubicBezTo>
                    <a:pt x="1188" y="317"/>
                    <a:pt x="1190" y="320"/>
                    <a:pt x="1192" y="323"/>
                  </a:cubicBezTo>
                  <a:cubicBezTo>
                    <a:pt x="1192" y="323"/>
                    <a:pt x="1192" y="322"/>
                    <a:pt x="1191" y="321"/>
                  </a:cubicBezTo>
                  <a:cubicBezTo>
                    <a:pt x="1198" y="321"/>
                    <a:pt x="1205" y="321"/>
                    <a:pt x="1211" y="322"/>
                  </a:cubicBezTo>
                  <a:cubicBezTo>
                    <a:pt x="1214" y="322"/>
                    <a:pt x="1218" y="318"/>
                    <a:pt x="1220" y="317"/>
                  </a:cubicBezTo>
                  <a:cubicBezTo>
                    <a:pt x="1222" y="316"/>
                    <a:pt x="1226" y="315"/>
                    <a:pt x="1227" y="314"/>
                  </a:cubicBezTo>
                  <a:cubicBezTo>
                    <a:pt x="1227" y="313"/>
                    <a:pt x="1226" y="313"/>
                    <a:pt x="1226" y="312"/>
                  </a:cubicBezTo>
                  <a:cubicBezTo>
                    <a:pt x="1227" y="311"/>
                    <a:pt x="1228" y="311"/>
                    <a:pt x="1228" y="310"/>
                  </a:cubicBezTo>
                  <a:cubicBezTo>
                    <a:pt x="1229" y="309"/>
                    <a:pt x="1230" y="307"/>
                    <a:pt x="1231" y="306"/>
                  </a:cubicBezTo>
                  <a:cubicBezTo>
                    <a:pt x="1235" y="302"/>
                    <a:pt x="1239" y="298"/>
                    <a:pt x="1242" y="293"/>
                  </a:cubicBezTo>
                  <a:cubicBezTo>
                    <a:pt x="1244" y="291"/>
                    <a:pt x="1245" y="289"/>
                    <a:pt x="1246" y="287"/>
                  </a:cubicBezTo>
                  <a:cubicBezTo>
                    <a:pt x="1247" y="285"/>
                    <a:pt x="1252" y="280"/>
                    <a:pt x="1251" y="278"/>
                  </a:cubicBezTo>
                  <a:cubicBezTo>
                    <a:pt x="1251" y="275"/>
                    <a:pt x="1247" y="274"/>
                    <a:pt x="1245" y="274"/>
                  </a:cubicBezTo>
                  <a:cubicBezTo>
                    <a:pt x="1243" y="274"/>
                    <a:pt x="1241" y="274"/>
                    <a:pt x="1239" y="273"/>
                  </a:cubicBezTo>
                  <a:cubicBezTo>
                    <a:pt x="1238" y="273"/>
                    <a:pt x="1236" y="273"/>
                    <a:pt x="1236" y="273"/>
                  </a:cubicBezTo>
                  <a:cubicBezTo>
                    <a:pt x="1234" y="273"/>
                    <a:pt x="1233" y="274"/>
                    <a:pt x="1233" y="274"/>
                  </a:cubicBezTo>
                  <a:cubicBezTo>
                    <a:pt x="1231" y="274"/>
                    <a:pt x="1228" y="273"/>
                    <a:pt x="1226" y="273"/>
                  </a:cubicBezTo>
                  <a:cubicBezTo>
                    <a:pt x="1224" y="274"/>
                    <a:pt x="1222" y="273"/>
                    <a:pt x="1220" y="273"/>
                  </a:cubicBezTo>
                  <a:cubicBezTo>
                    <a:pt x="1215" y="273"/>
                    <a:pt x="1211" y="272"/>
                    <a:pt x="1206" y="272"/>
                  </a:cubicBezTo>
                  <a:cubicBezTo>
                    <a:pt x="1204" y="271"/>
                    <a:pt x="1203" y="271"/>
                    <a:pt x="1201" y="270"/>
                  </a:cubicBezTo>
                  <a:cubicBezTo>
                    <a:pt x="1200" y="269"/>
                    <a:pt x="1200" y="268"/>
                    <a:pt x="1199" y="267"/>
                  </a:cubicBezTo>
                  <a:cubicBezTo>
                    <a:pt x="1198" y="266"/>
                    <a:pt x="1196" y="266"/>
                    <a:pt x="1195" y="265"/>
                  </a:cubicBezTo>
                  <a:cubicBezTo>
                    <a:pt x="1194" y="264"/>
                    <a:pt x="1194" y="262"/>
                    <a:pt x="1192" y="260"/>
                  </a:cubicBezTo>
                  <a:cubicBezTo>
                    <a:pt x="1191" y="260"/>
                    <a:pt x="1190" y="259"/>
                    <a:pt x="1189" y="259"/>
                  </a:cubicBezTo>
                  <a:cubicBezTo>
                    <a:pt x="1187" y="257"/>
                    <a:pt x="1186" y="256"/>
                    <a:pt x="1183" y="255"/>
                  </a:cubicBezTo>
                  <a:cubicBezTo>
                    <a:pt x="1182" y="254"/>
                    <a:pt x="1181" y="254"/>
                    <a:pt x="1180" y="253"/>
                  </a:cubicBezTo>
                  <a:cubicBezTo>
                    <a:pt x="1180" y="253"/>
                    <a:pt x="1180" y="254"/>
                    <a:pt x="1180" y="254"/>
                  </a:cubicBezTo>
                  <a:cubicBezTo>
                    <a:pt x="1180" y="254"/>
                    <a:pt x="1180" y="253"/>
                    <a:pt x="1180" y="253"/>
                  </a:cubicBezTo>
                  <a:cubicBezTo>
                    <a:pt x="1177" y="253"/>
                    <a:pt x="1173" y="252"/>
                    <a:pt x="1170" y="252"/>
                  </a:cubicBezTo>
                  <a:cubicBezTo>
                    <a:pt x="1162" y="250"/>
                    <a:pt x="1154" y="249"/>
                    <a:pt x="1146" y="248"/>
                  </a:cubicBezTo>
                  <a:cubicBezTo>
                    <a:pt x="1146" y="248"/>
                    <a:pt x="1146" y="248"/>
                    <a:pt x="1146" y="248"/>
                  </a:cubicBezTo>
                  <a:cubicBezTo>
                    <a:pt x="1149" y="247"/>
                    <a:pt x="1151" y="247"/>
                    <a:pt x="1154" y="248"/>
                  </a:cubicBezTo>
                  <a:cubicBezTo>
                    <a:pt x="1157" y="248"/>
                    <a:pt x="1160" y="249"/>
                    <a:pt x="1163" y="249"/>
                  </a:cubicBezTo>
                  <a:cubicBezTo>
                    <a:pt x="1164" y="249"/>
                    <a:pt x="1166" y="250"/>
                    <a:pt x="1167" y="250"/>
                  </a:cubicBezTo>
                  <a:cubicBezTo>
                    <a:pt x="1169" y="250"/>
                    <a:pt x="1169" y="250"/>
                    <a:pt x="1171" y="250"/>
                  </a:cubicBezTo>
                  <a:cubicBezTo>
                    <a:pt x="1174" y="251"/>
                    <a:pt x="1177" y="250"/>
                    <a:pt x="1180" y="250"/>
                  </a:cubicBezTo>
                  <a:cubicBezTo>
                    <a:pt x="1183" y="250"/>
                    <a:pt x="1185" y="249"/>
                    <a:pt x="1187" y="248"/>
                  </a:cubicBezTo>
                  <a:cubicBezTo>
                    <a:pt x="1190" y="248"/>
                    <a:pt x="1195" y="251"/>
                    <a:pt x="1198" y="252"/>
                  </a:cubicBezTo>
                  <a:cubicBezTo>
                    <a:pt x="1204" y="255"/>
                    <a:pt x="1212" y="256"/>
                    <a:pt x="1217" y="260"/>
                  </a:cubicBezTo>
                  <a:cubicBezTo>
                    <a:pt x="1216" y="260"/>
                    <a:pt x="1212" y="260"/>
                    <a:pt x="1210" y="259"/>
                  </a:cubicBezTo>
                  <a:cubicBezTo>
                    <a:pt x="1215" y="263"/>
                    <a:pt x="1220" y="267"/>
                    <a:pt x="1226" y="270"/>
                  </a:cubicBezTo>
                  <a:cubicBezTo>
                    <a:pt x="1230" y="273"/>
                    <a:pt x="1236" y="271"/>
                    <a:pt x="1240" y="271"/>
                  </a:cubicBezTo>
                  <a:cubicBezTo>
                    <a:pt x="1242" y="271"/>
                    <a:pt x="1248" y="270"/>
                    <a:pt x="1249" y="268"/>
                  </a:cubicBezTo>
                  <a:cubicBezTo>
                    <a:pt x="1249" y="267"/>
                    <a:pt x="1246" y="267"/>
                    <a:pt x="1248" y="266"/>
                  </a:cubicBezTo>
                  <a:cubicBezTo>
                    <a:pt x="1249" y="266"/>
                    <a:pt x="1250" y="265"/>
                    <a:pt x="1251" y="264"/>
                  </a:cubicBezTo>
                  <a:cubicBezTo>
                    <a:pt x="1253" y="263"/>
                    <a:pt x="1255" y="261"/>
                    <a:pt x="1257" y="260"/>
                  </a:cubicBezTo>
                  <a:cubicBezTo>
                    <a:pt x="1258" y="259"/>
                    <a:pt x="1262" y="258"/>
                    <a:pt x="1263" y="256"/>
                  </a:cubicBezTo>
                  <a:cubicBezTo>
                    <a:pt x="1263" y="253"/>
                    <a:pt x="1261" y="253"/>
                    <a:pt x="1263" y="251"/>
                  </a:cubicBezTo>
                  <a:cubicBezTo>
                    <a:pt x="1264" y="249"/>
                    <a:pt x="1268" y="248"/>
                    <a:pt x="1270" y="246"/>
                  </a:cubicBezTo>
                  <a:cubicBezTo>
                    <a:pt x="1272" y="245"/>
                    <a:pt x="1273" y="245"/>
                    <a:pt x="1274" y="243"/>
                  </a:cubicBezTo>
                  <a:cubicBezTo>
                    <a:pt x="1274" y="242"/>
                    <a:pt x="1273" y="242"/>
                    <a:pt x="1273" y="241"/>
                  </a:cubicBezTo>
                  <a:cubicBezTo>
                    <a:pt x="1274" y="241"/>
                    <a:pt x="1276" y="240"/>
                    <a:pt x="1276" y="239"/>
                  </a:cubicBezTo>
                  <a:cubicBezTo>
                    <a:pt x="1275" y="237"/>
                    <a:pt x="1264" y="234"/>
                    <a:pt x="1262" y="234"/>
                  </a:cubicBezTo>
                  <a:cubicBezTo>
                    <a:pt x="1260" y="234"/>
                    <a:pt x="1257" y="233"/>
                    <a:pt x="1256" y="231"/>
                  </a:cubicBezTo>
                  <a:cubicBezTo>
                    <a:pt x="1256" y="229"/>
                    <a:pt x="1258" y="229"/>
                    <a:pt x="1259" y="228"/>
                  </a:cubicBezTo>
                  <a:cubicBezTo>
                    <a:pt x="1261" y="225"/>
                    <a:pt x="1260" y="225"/>
                    <a:pt x="1262" y="225"/>
                  </a:cubicBezTo>
                  <a:cubicBezTo>
                    <a:pt x="1262" y="222"/>
                    <a:pt x="1265" y="219"/>
                    <a:pt x="1268" y="219"/>
                  </a:cubicBezTo>
                  <a:cubicBezTo>
                    <a:pt x="1271" y="219"/>
                    <a:pt x="1273" y="221"/>
                    <a:pt x="1274" y="224"/>
                  </a:cubicBezTo>
                  <a:cubicBezTo>
                    <a:pt x="1277" y="224"/>
                    <a:pt x="1280" y="224"/>
                    <a:pt x="1283" y="223"/>
                  </a:cubicBezTo>
                  <a:cubicBezTo>
                    <a:pt x="1285" y="223"/>
                    <a:pt x="1288" y="225"/>
                    <a:pt x="1289" y="227"/>
                  </a:cubicBezTo>
                  <a:cubicBezTo>
                    <a:pt x="1289" y="228"/>
                    <a:pt x="1290" y="232"/>
                    <a:pt x="1289" y="233"/>
                  </a:cubicBezTo>
                  <a:cubicBezTo>
                    <a:pt x="1290" y="233"/>
                    <a:pt x="1291" y="233"/>
                    <a:pt x="1292" y="233"/>
                  </a:cubicBezTo>
                  <a:cubicBezTo>
                    <a:pt x="1292" y="234"/>
                    <a:pt x="1292" y="234"/>
                    <a:pt x="1292" y="235"/>
                  </a:cubicBezTo>
                  <a:cubicBezTo>
                    <a:pt x="1293" y="240"/>
                    <a:pt x="1293" y="242"/>
                    <a:pt x="1297" y="245"/>
                  </a:cubicBezTo>
                  <a:cubicBezTo>
                    <a:pt x="1299" y="246"/>
                    <a:pt x="1299" y="246"/>
                    <a:pt x="1300" y="248"/>
                  </a:cubicBezTo>
                  <a:cubicBezTo>
                    <a:pt x="1301" y="249"/>
                    <a:pt x="1301" y="251"/>
                    <a:pt x="1303" y="250"/>
                  </a:cubicBezTo>
                  <a:cubicBezTo>
                    <a:pt x="1310" y="250"/>
                    <a:pt x="1304" y="240"/>
                    <a:pt x="1300" y="236"/>
                  </a:cubicBezTo>
                  <a:cubicBezTo>
                    <a:pt x="1304" y="237"/>
                    <a:pt x="1307" y="239"/>
                    <a:pt x="1311" y="239"/>
                  </a:cubicBezTo>
                  <a:cubicBezTo>
                    <a:pt x="1310" y="235"/>
                    <a:pt x="1305" y="236"/>
                    <a:pt x="1308" y="230"/>
                  </a:cubicBezTo>
                  <a:cubicBezTo>
                    <a:pt x="1308" y="231"/>
                    <a:pt x="1309" y="232"/>
                    <a:pt x="1310" y="232"/>
                  </a:cubicBezTo>
                  <a:cubicBezTo>
                    <a:pt x="1310" y="232"/>
                    <a:pt x="1310" y="233"/>
                    <a:pt x="1310" y="233"/>
                  </a:cubicBezTo>
                  <a:cubicBezTo>
                    <a:pt x="1311" y="233"/>
                    <a:pt x="1311" y="233"/>
                    <a:pt x="1312" y="233"/>
                  </a:cubicBezTo>
                  <a:cubicBezTo>
                    <a:pt x="1314" y="235"/>
                    <a:pt x="1317" y="236"/>
                    <a:pt x="1317" y="240"/>
                  </a:cubicBezTo>
                  <a:cubicBezTo>
                    <a:pt x="1317" y="242"/>
                    <a:pt x="1315" y="242"/>
                    <a:pt x="1318" y="243"/>
                  </a:cubicBezTo>
                  <a:cubicBezTo>
                    <a:pt x="1320" y="243"/>
                    <a:pt x="1320" y="243"/>
                    <a:pt x="1322" y="242"/>
                  </a:cubicBezTo>
                  <a:cubicBezTo>
                    <a:pt x="1323" y="242"/>
                    <a:pt x="1323" y="241"/>
                    <a:pt x="1325" y="241"/>
                  </a:cubicBezTo>
                  <a:cubicBezTo>
                    <a:pt x="1325" y="241"/>
                    <a:pt x="1326" y="243"/>
                    <a:pt x="1327" y="243"/>
                  </a:cubicBezTo>
                  <a:cubicBezTo>
                    <a:pt x="1326" y="243"/>
                    <a:pt x="1323" y="245"/>
                    <a:pt x="1323" y="246"/>
                  </a:cubicBezTo>
                  <a:cubicBezTo>
                    <a:pt x="1323" y="246"/>
                    <a:pt x="1327" y="247"/>
                    <a:pt x="1328" y="247"/>
                  </a:cubicBezTo>
                  <a:cubicBezTo>
                    <a:pt x="1328" y="246"/>
                    <a:pt x="1329" y="245"/>
                    <a:pt x="1329" y="245"/>
                  </a:cubicBezTo>
                  <a:cubicBezTo>
                    <a:pt x="1330" y="245"/>
                    <a:pt x="1329" y="246"/>
                    <a:pt x="1330" y="246"/>
                  </a:cubicBezTo>
                  <a:cubicBezTo>
                    <a:pt x="1331" y="246"/>
                    <a:pt x="1334" y="248"/>
                    <a:pt x="1334" y="248"/>
                  </a:cubicBezTo>
                  <a:cubicBezTo>
                    <a:pt x="1336" y="248"/>
                    <a:pt x="1338" y="247"/>
                    <a:pt x="1337" y="245"/>
                  </a:cubicBezTo>
                  <a:cubicBezTo>
                    <a:pt x="1336" y="244"/>
                    <a:pt x="1333" y="244"/>
                    <a:pt x="1332" y="244"/>
                  </a:cubicBezTo>
                  <a:cubicBezTo>
                    <a:pt x="1330" y="244"/>
                    <a:pt x="1329" y="243"/>
                    <a:pt x="1327" y="242"/>
                  </a:cubicBezTo>
                  <a:cubicBezTo>
                    <a:pt x="1323" y="239"/>
                    <a:pt x="1326" y="241"/>
                    <a:pt x="1327" y="238"/>
                  </a:cubicBezTo>
                  <a:cubicBezTo>
                    <a:pt x="1327" y="238"/>
                    <a:pt x="1327" y="238"/>
                    <a:pt x="1327" y="238"/>
                  </a:cubicBezTo>
                  <a:cubicBezTo>
                    <a:pt x="1327" y="236"/>
                    <a:pt x="1326" y="235"/>
                    <a:pt x="1325" y="235"/>
                  </a:cubicBezTo>
                  <a:cubicBezTo>
                    <a:pt x="1324" y="234"/>
                    <a:pt x="1323" y="233"/>
                    <a:pt x="1323" y="232"/>
                  </a:cubicBezTo>
                  <a:cubicBezTo>
                    <a:pt x="1322" y="231"/>
                    <a:pt x="1323" y="230"/>
                    <a:pt x="1321" y="228"/>
                  </a:cubicBezTo>
                  <a:cubicBezTo>
                    <a:pt x="1320" y="226"/>
                    <a:pt x="1317" y="225"/>
                    <a:pt x="1316" y="224"/>
                  </a:cubicBezTo>
                  <a:cubicBezTo>
                    <a:pt x="1315" y="222"/>
                    <a:pt x="1316" y="224"/>
                    <a:pt x="1316" y="222"/>
                  </a:cubicBezTo>
                  <a:cubicBezTo>
                    <a:pt x="1316" y="221"/>
                    <a:pt x="1317" y="220"/>
                    <a:pt x="1316" y="219"/>
                  </a:cubicBezTo>
                  <a:cubicBezTo>
                    <a:pt x="1315" y="218"/>
                    <a:pt x="1311" y="220"/>
                    <a:pt x="1310" y="218"/>
                  </a:cubicBezTo>
                  <a:cubicBezTo>
                    <a:pt x="1309" y="217"/>
                    <a:pt x="1311" y="217"/>
                    <a:pt x="1312" y="216"/>
                  </a:cubicBezTo>
                  <a:cubicBezTo>
                    <a:pt x="1310" y="215"/>
                    <a:pt x="1309" y="215"/>
                    <a:pt x="1307" y="214"/>
                  </a:cubicBezTo>
                  <a:cubicBezTo>
                    <a:pt x="1308" y="213"/>
                    <a:pt x="1306" y="213"/>
                    <a:pt x="1305" y="212"/>
                  </a:cubicBezTo>
                  <a:cubicBezTo>
                    <a:pt x="1305" y="211"/>
                    <a:pt x="1306" y="211"/>
                    <a:pt x="1306" y="210"/>
                  </a:cubicBezTo>
                  <a:cubicBezTo>
                    <a:pt x="1303" y="210"/>
                    <a:pt x="1300" y="211"/>
                    <a:pt x="1298" y="212"/>
                  </a:cubicBezTo>
                  <a:cubicBezTo>
                    <a:pt x="1297" y="213"/>
                    <a:pt x="1297" y="213"/>
                    <a:pt x="1296" y="214"/>
                  </a:cubicBezTo>
                  <a:cubicBezTo>
                    <a:pt x="1296" y="213"/>
                    <a:pt x="1296" y="213"/>
                    <a:pt x="1296" y="213"/>
                  </a:cubicBezTo>
                  <a:cubicBezTo>
                    <a:pt x="1295" y="213"/>
                    <a:pt x="1294" y="213"/>
                    <a:pt x="1293" y="213"/>
                  </a:cubicBezTo>
                  <a:cubicBezTo>
                    <a:pt x="1294" y="212"/>
                    <a:pt x="1296" y="212"/>
                    <a:pt x="1296" y="211"/>
                  </a:cubicBezTo>
                  <a:cubicBezTo>
                    <a:pt x="1296" y="211"/>
                    <a:pt x="1296" y="211"/>
                    <a:pt x="1296" y="211"/>
                  </a:cubicBezTo>
                  <a:cubicBezTo>
                    <a:pt x="1298" y="211"/>
                    <a:pt x="1300" y="210"/>
                    <a:pt x="1302" y="209"/>
                  </a:cubicBezTo>
                  <a:cubicBezTo>
                    <a:pt x="1303" y="209"/>
                    <a:pt x="1303" y="208"/>
                    <a:pt x="1304" y="207"/>
                  </a:cubicBezTo>
                  <a:cubicBezTo>
                    <a:pt x="1303" y="207"/>
                    <a:pt x="1300" y="206"/>
                    <a:pt x="1299" y="205"/>
                  </a:cubicBezTo>
                  <a:cubicBezTo>
                    <a:pt x="1301" y="206"/>
                    <a:pt x="1305" y="207"/>
                    <a:pt x="1308" y="207"/>
                  </a:cubicBezTo>
                  <a:cubicBezTo>
                    <a:pt x="1308" y="207"/>
                    <a:pt x="1307" y="208"/>
                    <a:pt x="1307" y="208"/>
                  </a:cubicBezTo>
                  <a:cubicBezTo>
                    <a:pt x="1308" y="209"/>
                    <a:pt x="1309" y="209"/>
                    <a:pt x="1311" y="210"/>
                  </a:cubicBezTo>
                  <a:cubicBezTo>
                    <a:pt x="1311" y="210"/>
                    <a:pt x="1310" y="212"/>
                    <a:pt x="1312" y="213"/>
                  </a:cubicBezTo>
                  <a:cubicBezTo>
                    <a:pt x="1309" y="213"/>
                    <a:pt x="1310" y="214"/>
                    <a:pt x="1312" y="215"/>
                  </a:cubicBezTo>
                  <a:cubicBezTo>
                    <a:pt x="1313" y="216"/>
                    <a:pt x="1316" y="218"/>
                    <a:pt x="1317" y="218"/>
                  </a:cubicBezTo>
                  <a:cubicBezTo>
                    <a:pt x="1318" y="216"/>
                    <a:pt x="1320" y="213"/>
                    <a:pt x="1322" y="212"/>
                  </a:cubicBezTo>
                  <a:cubicBezTo>
                    <a:pt x="1323" y="215"/>
                    <a:pt x="1319" y="216"/>
                    <a:pt x="1321" y="218"/>
                  </a:cubicBezTo>
                  <a:cubicBezTo>
                    <a:pt x="1317" y="218"/>
                    <a:pt x="1321" y="223"/>
                    <a:pt x="1322" y="224"/>
                  </a:cubicBezTo>
                  <a:cubicBezTo>
                    <a:pt x="1323" y="224"/>
                    <a:pt x="1326" y="224"/>
                    <a:pt x="1327" y="225"/>
                  </a:cubicBezTo>
                  <a:cubicBezTo>
                    <a:pt x="1328" y="226"/>
                    <a:pt x="1328" y="229"/>
                    <a:pt x="1329" y="229"/>
                  </a:cubicBezTo>
                  <a:cubicBezTo>
                    <a:pt x="1332" y="231"/>
                    <a:pt x="1334" y="232"/>
                    <a:pt x="1337" y="230"/>
                  </a:cubicBezTo>
                  <a:cubicBezTo>
                    <a:pt x="1340" y="229"/>
                    <a:pt x="1341" y="228"/>
                    <a:pt x="1344" y="227"/>
                  </a:cubicBezTo>
                  <a:cubicBezTo>
                    <a:pt x="1346" y="226"/>
                    <a:pt x="1350" y="225"/>
                    <a:pt x="1351" y="224"/>
                  </a:cubicBezTo>
                  <a:cubicBezTo>
                    <a:pt x="1352" y="223"/>
                    <a:pt x="1352" y="223"/>
                    <a:pt x="1353" y="222"/>
                  </a:cubicBezTo>
                  <a:cubicBezTo>
                    <a:pt x="1356" y="220"/>
                    <a:pt x="1359" y="220"/>
                    <a:pt x="1362" y="218"/>
                  </a:cubicBezTo>
                  <a:cubicBezTo>
                    <a:pt x="1361" y="216"/>
                    <a:pt x="1363" y="214"/>
                    <a:pt x="1364" y="213"/>
                  </a:cubicBezTo>
                  <a:cubicBezTo>
                    <a:pt x="1365" y="212"/>
                    <a:pt x="1365" y="212"/>
                    <a:pt x="1367" y="211"/>
                  </a:cubicBezTo>
                  <a:cubicBezTo>
                    <a:pt x="1370" y="209"/>
                    <a:pt x="1373" y="209"/>
                    <a:pt x="1376" y="208"/>
                  </a:cubicBezTo>
                  <a:cubicBezTo>
                    <a:pt x="1379" y="206"/>
                    <a:pt x="1380" y="202"/>
                    <a:pt x="1381" y="199"/>
                  </a:cubicBezTo>
                  <a:cubicBezTo>
                    <a:pt x="1381" y="196"/>
                    <a:pt x="1382" y="195"/>
                    <a:pt x="1382" y="193"/>
                  </a:cubicBezTo>
                  <a:cubicBezTo>
                    <a:pt x="1384" y="189"/>
                    <a:pt x="1384" y="188"/>
                    <a:pt x="1381" y="185"/>
                  </a:cubicBezTo>
                  <a:cubicBezTo>
                    <a:pt x="1378" y="182"/>
                    <a:pt x="1374" y="179"/>
                    <a:pt x="1370" y="177"/>
                  </a:cubicBezTo>
                  <a:cubicBezTo>
                    <a:pt x="1370" y="176"/>
                    <a:pt x="1371" y="176"/>
                    <a:pt x="1370" y="176"/>
                  </a:cubicBezTo>
                  <a:cubicBezTo>
                    <a:pt x="1370" y="175"/>
                    <a:pt x="1369" y="175"/>
                    <a:pt x="1369" y="175"/>
                  </a:cubicBezTo>
                  <a:cubicBezTo>
                    <a:pt x="1368" y="175"/>
                    <a:pt x="1367" y="173"/>
                    <a:pt x="1367" y="173"/>
                  </a:cubicBezTo>
                  <a:cubicBezTo>
                    <a:pt x="1365" y="172"/>
                    <a:pt x="1364" y="172"/>
                    <a:pt x="1363" y="169"/>
                  </a:cubicBezTo>
                  <a:cubicBezTo>
                    <a:pt x="1361" y="165"/>
                    <a:pt x="1365" y="165"/>
                    <a:pt x="1366" y="161"/>
                  </a:cubicBezTo>
                  <a:cubicBezTo>
                    <a:pt x="1364" y="162"/>
                    <a:pt x="1358" y="164"/>
                    <a:pt x="1358" y="160"/>
                  </a:cubicBezTo>
                  <a:cubicBezTo>
                    <a:pt x="1358" y="159"/>
                    <a:pt x="1362" y="158"/>
                    <a:pt x="1359" y="156"/>
                  </a:cubicBezTo>
                  <a:cubicBezTo>
                    <a:pt x="1359" y="156"/>
                    <a:pt x="1355" y="158"/>
                    <a:pt x="1356" y="156"/>
                  </a:cubicBezTo>
                  <a:cubicBezTo>
                    <a:pt x="1357" y="154"/>
                    <a:pt x="1358" y="155"/>
                    <a:pt x="1357" y="153"/>
                  </a:cubicBezTo>
                  <a:cubicBezTo>
                    <a:pt x="1355" y="151"/>
                    <a:pt x="1350" y="152"/>
                    <a:pt x="1352" y="148"/>
                  </a:cubicBezTo>
                  <a:cubicBezTo>
                    <a:pt x="1353" y="145"/>
                    <a:pt x="1353" y="147"/>
                    <a:pt x="1354" y="147"/>
                  </a:cubicBezTo>
                  <a:cubicBezTo>
                    <a:pt x="1356" y="147"/>
                    <a:pt x="1358" y="147"/>
                    <a:pt x="1360" y="146"/>
                  </a:cubicBezTo>
                  <a:cubicBezTo>
                    <a:pt x="1361" y="146"/>
                    <a:pt x="1363" y="147"/>
                    <a:pt x="1364" y="147"/>
                  </a:cubicBezTo>
                  <a:cubicBezTo>
                    <a:pt x="1367" y="148"/>
                    <a:pt x="1369" y="147"/>
                    <a:pt x="1372" y="147"/>
                  </a:cubicBezTo>
                  <a:cubicBezTo>
                    <a:pt x="1377" y="146"/>
                    <a:pt x="1383" y="144"/>
                    <a:pt x="1384" y="139"/>
                  </a:cubicBezTo>
                  <a:cubicBezTo>
                    <a:pt x="1384" y="137"/>
                    <a:pt x="1383" y="133"/>
                    <a:pt x="1381" y="133"/>
                  </a:cubicBezTo>
                  <a:cubicBezTo>
                    <a:pt x="1378" y="132"/>
                    <a:pt x="1373" y="136"/>
                    <a:pt x="1377" y="131"/>
                  </a:cubicBezTo>
                  <a:cubicBezTo>
                    <a:pt x="1379" y="128"/>
                    <a:pt x="1384" y="124"/>
                    <a:pt x="1382" y="121"/>
                  </a:cubicBezTo>
                  <a:cubicBezTo>
                    <a:pt x="1380" y="118"/>
                    <a:pt x="1378" y="119"/>
                    <a:pt x="1375" y="118"/>
                  </a:cubicBezTo>
                  <a:cubicBezTo>
                    <a:pt x="1373" y="117"/>
                    <a:pt x="1370" y="116"/>
                    <a:pt x="1367" y="116"/>
                  </a:cubicBezTo>
                  <a:cubicBezTo>
                    <a:pt x="1364" y="117"/>
                    <a:pt x="1364" y="118"/>
                    <a:pt x="1362" y="114"/>
                  </a:cubicBezTo>
                  <a:cubicBezTo>
                    <a:pt x="1361" y="111"/>
                    <a:pt x="1360" y="110"/>
                    <a:pt x="1356" y="109"/>
                  </a:cubicBezTo>
                  <a:cubicBezTo>
                    <a:pt x="1351" y="108"/>
                    <a:pt x="1345" y="108"/>
                    <a:pt x="1340" y="106"/>
                  </a:cubicBezTo>
                  <a:cubicBezTo>
                    <a:pt x="1339" y="105"/>
                    <a:pt x="1338" y="105"/>
                    <a:pt x="1337" y="104"/>
                  </a:cubicBezTo>
                  <a:cubicBezTo>
                    <a:pt x="1343" y="105"/>
                    <a:pt x="1349" y="108"/>
                    <a:pt x="1355" y="106"/>
                  </a:cubicBezTo>
                  <a:cubicBezTo>
                    <a:pt x="1353" y="105"/>
                    <a:pt x="1351" y="103"/>
                    <a:pt x="1352" y="101"/>
                  </a:cubicBezTo>
                  <a:cubicBezTo>
                    <a:pt x="1352" y="100"/>
                    <a:pt x="1359" y="101"/>
                    <a:pt x="1360" y="101"/>
                  </a:cubicBezTo>
                  <a:cubicBezTo>
                    <a:pt x="1358" y="101"/>
                    <a:pt x="1357" y="101"/>
                    <a:pt x="1356" y="101"/>
                  </a:cubicBezTo>
                  <a:cubicBezTo>
                    <a:pt x="1354" y="100"/>
                    <a:pt x="1353" y="99"/>
                    <a:pt x="1352" y="99"/>
                  </a:cubicBezTo>
                  <a:cubicBezTo>
                    <a:pt x="1351" y="99"/>
                    <a:pt x="1349" y="99"/>
                    <a:pt x="1348" y="99"/>
                  </a:cubicBezTo>
                  <a:cubicBezTo>
                    <a:pt x="1347" y="99"/>
                    <a:pt x="1345" y="99"/>
                    <a:pt x="1344" y="99"/>
                  </a:cubicBezTo>
                  <a:cubicBezTo>
                    <a:pt x="1341" y="99"/>
                    <a:pt x="1339" y="98"/>
                    <a:pt x="1336" y="99"/>
                  </a:cubicBezTo>
                  <a:cubicBezTo>
                    <a:pt x="1335" y="99"/>
                    <a:pt x="1334" y="99"/>
                    <a:pt x="1332" y="99"/>
                  </a:cubicBezTo>
                  <a:cubicBezTo>
                    <a:pt x="1331" y="99"/>
                    <a:pt x="1330" y="99"/>
                    <a:pt x="1328" y="99"/>
                  </a:cubicBezTo>
                  <a:cubicBezTo>
                    <a:pt x="1322" y="98"/>
                    <a:pt x="1318" y="94"/>
                    <a:pt x="1313" y="93"/>
                  </a:cubicBezTo>
                  <a:cubicBezTo>
                    <a:pt x="1310" y="92"/>
                    <a:pt x="1308" y="92"/>
                    <a:pt x="1305" y="92"/>
                  </a:cubicBezTo>
                  <a:cubicBezTo>
                    <a:pt x="1303" y="93"/>
                    <a:pt x="1298" y="93"/>
                    <a:pt x="1297" y="94"/>
                  </a:cubicBezTo>
                  <a:cubicBezTo>
                    <a:pt x="1297" y="94"/>
                    <a:pt x="1297" y="95"/>
                    <a:pt x="1296" y="95"/>
                  </a:cubicBezTo>
                  <a:cubicBezTo>
                    <a:pt x="1296" y="95"/>
                    <a:pt x="1296" y="95"/>
                    <a:pt x="1296" y="94"/>
                  </a:cubicBezTo>
                  <a:cubicBezTo>
                    <a:pt x="1294" y="98"/>
                    <a:pt x="1288" y="91"/>
                    <a:pt x="1284" y="92"/>
                  </a:cubicBezTo>
                  <a:cubicBezTo>
                    <a:pt x="1281" y="93"/>
                    <a:pt x="1285" y="93"/>
                    <a:pt x="1286" y="93"/>
                  </a:cubicBezTo>
                  <a:cubicBezTo>
                    <a:pt x="1290" y="95"/>
                    <a:pt x="1287" y="96"/>
                    <a:pt x="1285" y="96"/>
                  </a:cubicBezTo>
                  <a:cubicBezTo>
                    <a:pt x="1288" y="97"/>
                    <a:pt x="1284" y="98"/>
                    <a:pt x="1284" y="100"/>
                  </a:cubicBezTo>
                  <a:cubicBezTo>
                    <a:pt x="1284" y="102"/>
                    <a:pt x="1286" y="102"/>
                    <a:pt x="1286" y="103"/>
                  </a:cubicBezTo>
                  <a:cubicBezTo>
                    <a:pt x="1286" y="104"/>
                    <a:pt x="1282" y="112"/>
                    <a:pt x="1286" y="109"/>
                  </a:cubicBezTo>
                  <a:cubicBezTo>
                    <a:pt x="1284" y="111"/>
                    <a:pt x="1286" y="111"/>
                    <a:pt x="1287" y="114"/>
                  </a:cubicBezTo>
                  <a:cubicBezTo>
                    <a:pt x="1282" y="114"/>
                    <a:pt x="1288" y="118"/>
                    <a:pt x="1289" y="119"/>
                  </a:cubicBezTo>
                  <a:cubicBezTo>
                    <a:pt x="1289" y="120"/>
                    <a:pt x="1291" y="119"/>
                    <a:pt x="1290" y="120"/>
                  </a:cubicBezTo>
                  <a:cubicBezTo>
                    <a:pt x="1289" y="121"/>
                    <a:pt x="1289" y="121"/>
                    <a:pt x="1290" y="122"/>
                  </a:cubicBezTo>
                  <a:cubicBezTo>
                    <a:pt x="1292" y="122"/>
                    <a:pt x="1293" y="120"/>
                    <a:pt x="1295" y="120"/>
                  </a:cubicBezTo>
                  <a:cubicBezTo>
                    <a:pt x="1292" y="123"/>
                    <a:pt x="1295" y="122"/>
                    <a:pt x="1296" y="121"/>
                  </a:cubicBezTo>
                  <a:cubicBezTo>
                    <a:pt x="1296" y="122"/>
                    <a:pt x="1296" y="122"/>
                    <a:pt x="1296" y="123"/>
                  </a:cubicBezTo>
                  <a:cubicBezTo>
                    <a:pt x="1297" y="123"/>
                    <a:pt x="1297" y="124"/>
                    <a:pt x="1298" y="124"/>
                  </a:cubicBezTo>
                  <a:cubicBezTo>
                    <a:pt x="1299" y="124"/>
                    <a:pt x="1300" y="123"/>
                    <a:pt x="1301" y="124"/>
                  </a:cubicBezTo>
                  <a:cubicBezTo>
                    <a:pt x="1302" y="124"/>
                    <a:pt x="1302" y="125"/>
                    <a:pt x="1302" y="126"/>
                  </a:cubicBezTo>
                  <a:cubicBezTo>
                    <a:pt x="1304" y="126"/>
                    <a:pt x="1306" y="126"/>
                    <a:pt x="1307" y="127"/>
                  </a:cubicBezTo>
                  <a:cubicBezTo>
                    <a:pt x="1305" y="128"/>
                    <a:pt x="1300" y="127"/>
                    <a:pt x="1297" y="127"/>
                  </a:cubicBezTo>
                  <a:cubicBezTo>
                    <a:pt x="1298" y="128"/>
                    <a:pt x="1300" y="129"/>
                    <a:pt x="1301" y="130"/>
                  </a:cubicBezTo>
                  <a:cubicBezTo>
                    <a:pt x="1299" y="130"/>
                    <a:pt x="1298" y="130"/>
                    <a:pt x="1296" y="129"/>
                  </a:cubicBezTo>
                  <a:cubicBezTo>
                    <a:pt x="1296" y="130"/>
                    <a:pt x="1296" y="130"/>
                    <a:pt x="1296" y="130"/>
                  </a:cubicBezTo>
                  <a:cubicBezTo>
                    <a:pt x="1296" y="129"/>
                    <a:pt x="1296" y="129"/>
                    <a:pt x="1294" y="129"/>
                  </a:cubicBezTo>
                  <a:cubicBezTo>
                    <a:pt x="1294" y="129"/>
                    <a:pt x="1294" y="129"/>
                    <a:pt x="1293" y="130"/>
                  </a:cubicBezTo>
                  <a:cubicBezTo>
                    <a:pt x="1294" y="131"/>
                    <a:pt x="1292" y="132"/>
                    <a:pt x="1293" y="134"/>
                  </a:cubicBezTo>
                  <a:cubicBezTo>
                    <a:pt x="1293" y="135"/>
                    <a:pt x="1295" y="135"/>
                    <a:pt x="1296" y="135"/>
                  </a:cubicBezTo>
                  <a:cubicBezTo>
                    <a:pt x="1296" y="135"/>
                    <a:pt x="1296" y="135"/>
                    <a:pt x="1296" y="135"/>
                  </a:cubicBezTo>
                  <a:cubicBezTo>
                    <a:pt x="1300" y="134"/>
                    <a:pt x="1305" y="138"/>
                    <a:pt x="1299" y="138"/>
                  </a:cubicBezTo>
                  <a:cubicBezTo>
                    <a:pt x="1298" y="138"/>
                    <a:pt x="1296" y="136"/>
                    <a:pt x="1296" y="138"/>
                  </a:cubicBezTo>
                  <a:cubicBezTo>
                    <a:pt x="1296" y="138"/>
                    <a:pt x="1296" y="137"/>
                    <a:pt x="1296" y="137"/>
                  </a:cubicBezTo>
                  <a:cubicBezTo>
                    <a:pt x="1295" y="137"/>
                    <a:pt x="1294" y="137"/>
                    <a:pt x="1293" y="137"/>
                  </a:cubicBezTo>
                  <a:cubicBezTo>
                    <a:pt x="1293" y="137"/>
                    <a:pt x="1292" y="137"/>
                    <a:pt x="1292" y="137"/>
                  </a:cubicBezTo>
                  <a:cubicBezTo>
                    <a:pt x="1291" y="138"/>
                    <a:pt x="1292" y="139"/>
                    <a:pt x="1291" y="139"/>
                  </a:cubicBezTo>
                  <a:cubicBezTo>
                    <a:pt x="1289" y="139"/>
                    <a:pt x="1289" y="137"/>
                    <a:pt x="1288" y="137"/>
                  </a:cubicBezTo>
                  <a:cubicBezTo>
                    <a:pt x="1286" y="137"/>
                    <a:pt x="1287" y="138"/>
                    <a:pt x="1285" y="138"/>
                  </a:cubicBezTo>
                  <a:cubicBezTo>
                    <a:pt x="1282" y="138"/>
                    <a:pt x="1282" y="137"/>
                    <a:pt x="1281" y="140"/>
                  </a:cubicBezTo>
                  <a:cubicBezTo>
                    <a:pt x="1280" y="142"/>
                    <a:pt x="1279" y="143"/>
                    <a:pt x="1279" y="145"/>
                  </a:cubicBezTo>
                  <a:cubicBezTo>
                    <a:pt x="1280" y="148"/>
                    <a:pt x="1281" y="149"/>
                    <a:pt x="1279" y="152"/>
                  </a:cubicBezTo>
                  <a:cubicBezTo>
                    <a:pt x="1279" y="153"/>
                    <a:pt x="1277" y="154"/>
                    <a:pt x="1277" y="155"/>
                  </a:cubicBezTo>
                  <a:cubicBezTo>
                    <a:pt x="1277" y="157"/>
                    <a:pt x="1278" y="158"/>
                    <a:pt x="1277" y="160"/>
                  </a:cubicBezTo>
                  <a:cubicBezTo>
                    <a:pt x="1277" y="161"/>
                    <a:pt x="1276" y="165"/>
                    <a:pt x="1275" y="166"/>
                  </a:cubicBezTo>
                  <a:cubicBezTo>
                    <a:pt x="1274" y="167"/>
                    <a:pt x="1271" y="169"/>
                    <a:pt x="1271" y="167"/>
                  </a:cubicBezTo>
                  <a:cubicBezTo>
                    <a:pt x="1270" y="172"/>
                    <a:pt x="1264" y="174"/>
                    <a:pt x="1262" y="178"/>
                  </a:cubicBezTo>
                  <a:cubicBezTo>
                    <a:pt x="1261" y="181"/>
                    <a:pt x="1263" y="185"/>
                    <a:pt x="1262" y="189"/>
                  </a:cubicBezTo>
                  <a:cubicBezTo>
                    <a:pt x="1262" y="190"/>
                    <a:pt x="1262" y="192"/>
                    <a:pt x="1261" y="193"/>
                  </a:cubicBezTo>
                  <a:cubicBezTo>
                    <a:pt x="1260" y="194"/>
                    <a:pt x="1259" y="193"/>
                    <a:pt x="1259" y="191"/>
                  </a:cubicBezTo>
                  <a:cubicBezTo>
                    <a:pt x="1258" y="194"/>
                    <a:pt x="1256" y="190"/>
                    <a:pt x="1254" y="191"/>
                  </a:cubicBezTo>
                  <a:cubicBezTo>
                    <a:pt x="1252" y="191"/>
                    <a:pt x="1250" y="193"/>
                    <a:pt x="1249" y="193"/>
                  </a:cubicBezTo>
                  <a:cubicBezTo>
                    <a:pt x="1247" y="194"/>
                    <a:pt x="1250" y="196"/>
                    <a:pt x="1251" y="197"/>
                  </a:cubicBezTo>
                  <a:cubicBezTo>
                    <a:pt x="1249" y="197"/>
                    <a:pt x="1248" y="198"/>
                    <a:pt x="1248" y="200"/>
                  </a:cubicBezTo>
                  <a:cubicBezTo>
                    <a:pt x="1247" y="196"/>
                    <a:pt x="1245" y="199"/>
                    <a:pt x="1244" y="200"/>
                  </a:cubicBezTo>
                  <a:cubicBezTo>
                    <a:pt x="1243" y="203"/>
                    <a:pt x="1243" y="204"/>
                    <a:pt x="1242" y="200"/>
                  </a:cubicBezTo>
                  <a:cubicBezTo>
                    <a:pt x="1242" y="199"/>
                    <a:pt x="1241" y="197"/>
                    <a:pt x="1241" y="196"/>
                  </a:cubicBezTo>
                  <a:cubicBezTo>
                    <a:pt x="1241" y="196"/>
                    <a:pt x="1240" y="196"/>
                    <a:pt x="1240" y="196"/>
                  </a:cubicBezTo>
                  <a:cubicBezTo>
                    <a:pt x="1240" y="196"/>
                    <a:pt x="1240" y="195"/>
                    <a:pt x="1240" y="194"/>
                  </a:cubicBezTo>
                  <a:cubicBezTo>
                    <a:pt x="1238" y="193"/>
                    <a:pt x="1237" y="191"/>
                    <a:pt x="1235" y="190"/>
                  </a:cubicBezTo>
                  <a:cubicBezTo>
                    <a:pt x="1233" y="188"/>
                    <a:pt x="1232" y="187"/>
                    <a:pt x="1230" y="185"/>
                  </a:cubicBezTo>
                  <a:cubicBezTo>
                    <a:pt x="1229" y="184"/>
                    <a:pt x="1227" y="183"/>
                    <a:pt x="1225" y="182"/>
                  </a:cubicBezTo>
                  <a:cubicBezTo>
                    <a:pt x="1223" y="180"/>
                    <a:pt x="1223" y="179"/>
                    <a:pt x="1222" y="177"/>
                  </a:cubicBezTo>
                  <a:cubicBezTo>
                    <a:pt x="1221" y="175"/>
                    <a:pt x="1220" y="174"/>
                    <a:pt x="1219" y="172"/>
                  </a:cubicBezTo>
                  <a:cubicBezTo>
                    <a:pt x="1218" y="169"/>
                    <a:pt x="1219" y="168"/>
                    <a:pt x="1220" y="165"/>
                  </a:cubicBezTo>
                  <a:cubicBezTo>
                    <a:pt x="1220" y="162"/>
                    <a:pt x="1220" y="160"/>
                    <a:pt x="1218" y="157"/>
                  </a:cubicBezTo>
                  <a:cubicBezTo>
                    <a:pt x="1217" y="155"/>
                    <a:pt x="1219" y="156"/>
                    <a:pt x="1219" y="155"/>
                  </a:cubicBezTo>
                  <a:cubicBezTo>
                    <a:pt x="1220" y="155"/>
                    <a:pt x="1222" y="153"/>
                    <a:pt x="1222" y="153"/>
                  </a:cubicBezTo>
                  <a:cubicBezTo>
                    <a:pt x="1224" y="152"/>
                    <a:pt x="1222" y="156"/>
                    <a:pt x="1223" y="157"/>
                  </a:cubicBezTo>
                  <a:cubicBezTo>
                    <a:pt x="1223" y="158"/>
                    <a:pt x="1226" y="158"/>
                    <a:pt x="1227" y="157"/>
                  </a:cubicBezTo>
                  <a:cubicBezTo>
                    <a:pt x="1232" y="155"/>
                    <a:pt x="1232" y="153"/>
                    <a:pt x="1231" y="149"/>
                  </a:cubicBezTo>
                  <a:cubicBezTo>
                    <a:pt x="1230" y="148"/>
                    <a:pt x="1229" y="146"/>
                    <a:pt x="1229" y="145"/>
                  </a:cubicBezTo>
                  <a:cubicBezTo>
                    <a:pt x="1228" y="142"/>
                    <a:pt x="1229" y="140"/>
                    <a:pt x="1228" y="138"/>
                  </a:cubicBezTo>
                  <a:cubicBezTo>
                    <a:pt x="1224" y="129"/>
                    <a:pt x="1215" y="128"/>
                    <a:pt x="1208" y="123"/>
                  </a:cubicBezTo>
                  <a:cubicBezTo>
                    <a:pt x="1205" y="120"/>
                    <a:pt x="1205" y="115"/>
                    <a:pt x="1199" y="116"/>
                  </a:cubicBezTo>
                  <a:cubicBezTo>
                    <a:pt x="1196" y="117"/>
                    <a:pt x="1195" y="118"/>
                    <a:pt x="1194" y="121"/>
                  </a:cubicBezTo>
                  <a:cubicBezTo>
                    <a:pt x="1192" y="123"/>
                    <a:pt x="1190" y="124"/>
                    <a:pt x="1188" y="126"/>
                  </a:cubicBezTo>
                  <a:cubicBezTo>
                    <a:pt x="1188" y="129"/>
                    <a:pt x="1189" y="140"/>
                    <a:pt x="1186" y="142"/>
                  </a:cubicBezTo>
                  <a:cubicBezTo>
                    <a:pt x="1187" y="141"/>
                    <a:pt x="1186" y="140"/>
                    <a:pt x="1186" y="140"/>
                  </a:cubicBezTo>
                  <a:cubicBezTo>
                    <a:pt x="1182" y="140"/>
                    <a:pt x="1182" y="146"/>
                    <a:pt x="1183" y="147"/>
                  </a:cubicBezTo>
                  <a:cubicBezTo>
                    <a:pt x="1183" y="148"/>
                    <a:pt x="1183" y="149"/>
                    <a:pt x="1183" y="150"/>
                  </a:cubicBezTo>
                  <a:cubicBezTo>
                    <a:pt x="1183" y="150"/>
                    <a:pt x="1183" y="149"/>
                    <a:pt x="1183" y="149"/>
                  </a:cubicBezTo>
                  <a:cubicBezTo>
                    <a:pt x="1181" y="151"/>
                    <a:pt x="1181" y="153"/>
                    <a:pt x="1180" y="155"/>
                  </a:cubicBezTo>
                  <a:cubicBezTo>
                    <a:pt x="1180" y="154"/>
                    <a:pt x="1180" y="153"/>
                    <a:pt x="1180" y="152"/>
                  </a:cubicBezTo>
                  <a:cubicBezTo>
                    <a:pt x="1180" y="153"/>
                    <a:pt x="1176" y="158"/>
                    <a:pt x="1175" y="158"/>
                  </a:cubicBezTo>
                  <a:cubicBezTo>
                    <a:pt x="1174" y="158"/>
                    <a:pt x="1174" y="156"/>
                    <a:pt x="1173" y="156"/>
                  </a:cubicBezTo>
                  <a:cubicBezTo>
                    <a:pt x="1171" y="154"/>
                    <a:pt x="1169" y="152"/>
                    <a:pt x="1167" y="150"/>
                  </a:cubicBezTo>
                  <a:cubicBezTo>
                    <a:pt x="1166" y="149"/>
                    <a:pt x="1169" y="148"/>
                    <a:pt x="1169" y="147"/>
                  </a:cubicBezTo>
                  <a:cubicBezTo>
                    <a:pt x="1169" y="146"/>
                    <a:pt x="1168" y="144"/>
                    <a:pt x="1168" y="143"/>
                  </a:cubicBezTo>
                  <a:cubicBezTo>
                    <a:pt x="1168" y="142"/>
                    <a:pt x="1169" y="141"/>
                    <a:pt x="1169" y="141"/>
                  </a:cubicBezTo>
                  <a:cubicBezTo>
                    <a:pt x="1169" y="140"/>
                    <a:pt x="1168" y="138"/>
                    <a:pt x="1168" y="137"/>
                  </a:cubicBezTo>
                  <a:cubicBezTo>
                    <a:pt x="1170" y="135"/>
                    <a:pt x="1170" y="134"/>
                    <a:pt x="1167" y="135"/>
                  </a:cubicBezTo>
                  <a:cubicBezTo>
                    <a:pt x="1168" y="134"/>
                    <a:pt x="1169" y="134"/>
                    <a:pt x="1170" y="133"/>
                  </a:cubicBezTo>
                  <a:cubicBezTo>
                    <a:pt x="1167" y="128"/>
                    <a:pt x="1165" y="124"/>
                    <a:pt x="1160" y="121"/>
                  </a:cubicBezTo>
                  <a:cubicBezTo>
                    <a:pt x="1156" y="118"/>
                    <a:pt x="1152" y="116"/>
                    <a:pt x="1147" y="113"/>
                  </a:cubicBezTo>
                  <a:cubicBezTo>
                    <a:pt x="1153" y="115"/>
                    <a:pt x="1153" y="116"/>
                    <a:pt x="1158" y="113"/>
                  </a:cubicBezTo>
                  <a:cubicBezTo>
                    <a:pt x="1158" y="113"/>
                    <a:pt x="1155" y="115"/>
                    <a:pt x="1155" y="116"/>
                  </a:cubicBezTo>
                  <a:cubicBezTo>
                    <a:pt x="1155" y="117"/>
                    <a:pt x="1157" y="116"/>
                    <a:pt x="1158" y="116"/>
                  </a:cubicBezTo>
                  <a:cubicBezTo>
                    <a:pt x="1158" y="116"/>
                    <a:pt x="1159" y="118"/>
                    <a:pt x="1160" y="117"/>
                  </a:cubicBezTo>
                  <a:cubicBezTo>
                    <a:pt x="1161" y="116"/>
                    <a:pt x="1162" y="114"/>
                    <a:pt x="1162" y="112"/>
                  </a:cubicBezTo>
                  <a:cubicBezTo>
                    <a:pt x="1163" y="111"/>
                    <a:pt x="1164" y="111"/>
                    <a:pt x="1164" y="109"/>
                  </a:cubicBezTo>
                  <a:cubicBezTo>
                    <a:pt x="1164" y="108"/>
                    <a:pt x="1166" y="110"/>
                    <a:pt x="1167" y="110"/>
                  </a:cubicBezTo>
                  <a:cubicBezTo>
                    <a:pt x="1168" y="110"/>
                    <a:pt x="1171" y="110"/>
                    <a:pt x="1173" y="109"/>
                  </a:cubicBezTo>
                  <a:cubicBezTo>
                    <a:pt x="1170" y="107"/>
                    <a:pt x="1168" y="107"/>
                    <a:pt x="1166" y="106"/>
                  </a:cubicBezTo>
                  <a:cubicBezTo>
                    <a:pt x="1162" y="104"/>
                    <a:pt x="1165" y="109"/>
                    <a:pt x="1160" y="106"/>
                  </a:cubicBezTo>
                  <a:cubicBezTo>
                    <a:pt x="1160" y="105"/>
                    <a:pt x="1158" y="106"/>
                    <a:pt x="1157" y="106"/>
                  </a:cubicBezTo>
                  <a:cubicBezTo>
                    <a:pt x="1155" y="106"/>
                    <a:pt x="1155" y="105"/>
                    <a:pt x="1153" y="104"/>
                  </a:cubicBezTo>
                  <a:cubicBezTo>
                    <a:pt x="1152" y="104"/>
                    <a:pt x="1150" y="106"/>
                    <a:pt x="1149" y="106"/>
                  </a:cubicBezTo>
                  <a:cubicBezTo>
                    <a:pt x="1148" y="106"/>
                    <a:pt x="1146" y="106"/>
                    <a:pt x="1144" y="106"/>
                  </a:cubicBezTo>
                  <a:cubicBezTo>
                    <a:pt x="1146" y="105"/>
                    <a:pt x="1148" y="105"/>
                    <a:pt x="1150" y="104"/>
                  </a:cubicBezTo>
                  <a:cubicBezTo>
                    <a:pt x="1152" y="103"/>
                    <a:pt x="1152" y="102"/>
                    <a:pt x="1155" y="101"/>
                  </a:cubicBezTo>
                  <a:cubicBezTo>
                    <a:pt x="1153" y="100"/>
                    <a:pt x="1150" y="100"/>
                    <a:pt x="1148" y="100"/>
                  </a:cubicBezTo>
                  <a:cubicBezTo>
                    <a:pt x="1145" y="100"/>
                    <a:pt x="1145" y="102"/>
                    <a:pt x="1144" y="103"/>
                  </a:cubicBezTo>
                  <a:cubicBezTo>
                    <a:pt x="1143" y="104"/>
                    <a:pt x="1140" y="106"/>
                    <a:pt x="1139" y="106"/>
                  </a:cubicBezTo>
                  <a:cubicBezTo>
                    <a:pt x="1134" y="104"/>
                    <a:pt x="1128" y="101"/>
                    <a:pt x="1123" y="99"/>
                  </a:cubicBezTo>
                  <a:cubicBezTo>
                    <a:pt x="1120" y="99"/>
                    <a:pt x="1116" y="100"/>
                    <a:pt x="1113" y="99"/>
                  </a:cubicBezTo>
                  <a:cubicBezTo>
                    <a:pt x="1114" y="99"/>
                    <a:pt x="1115" y="98"/>
                    <a:pt x="1116" y="98"/>
                  </a:cubicBezTo>
                  <a:cubicBezTo>
                    <a:pt x="1118" y="96"/>
                    <a:pt x="1119" y="95"/>
                    <a:pt x="1121" y="94"/>
                  </a:cubicBezTo>
                  <a:cubicBezTo>
                    <a:pt x="1121" y="94"/>
                    <a:pt x="1121" y="94"/>
                    <a:pt x="1121" y="94"/>
                  </a:cubicBezTo>
                  <a:cubicBezTo>
                    <a:pt x="1122" y="95"/>
                    <a:pt x="1135" y="86"/>
                    <a:pt x="1135" y="84"/>
                  </a:cubicBezTo>
                  <a:cubicBezTo>
                    <a:pt x="1133" y="79"/>
                    <a:pt x="1123" y="85"/>
                    <a:pt x="1121" y="83"/>
                  </a:cubicBezTo>
                  <a:cubicBezTo>
                    <a:pt x="1121" y="83"/>
                    <a:pt x="1122" y="82"/>
                    <a:pt x="1122" y="82"/>
                  </a:cubicBezTo>
                  <a:cubicBezTo>
                    <a:pt x="1122" y="81"/>
                    <a:pt x="1124" y="81"/>
                    <a:pt x="1123" y="80"/>
                  </a:cubicBezTo>
                  <a:cubicBezTo>
                    <a:pt x="1123" y="80"/>
                    <a:pt x="1123" y="79"/>
                    <a:pt x="1123" y="79"/>
                  </a:cubicBezTo>
                  <a:cubicBezTo>
                    <a:pt x="1124" y="78"/>
                    <a:pt x="1130" y="79"/>
                    <a:pt x="1126" y="76"/>
                  </a:cubicBezTo>
                  <a:cubicBezTo>
                    <a:pt x="1128" y="75"/>
                    <a:pt x="1128" y="77"/>
                    <a:pt x="1129" y="78"/>
                  </a:cubicBezTo>
                  <a:cubicBezTo>
                    <a:pt x="1130" y="79"/>
                    <a:pt x="1133" y="81"/>
                    <a:pt x="1134" y="81"/>
                  </a:cubicBezTo>
                  <a:cubicBezTo>
                    <a:pt x="1136" y="82"/>
                    <a:pt x="1145" y="81"/>
                    <a:pt x="1145" y="80"/>
                  </a:cubicBezTo>
                  <a:cubicBezTo>
                    <a:pt x="1146" y="78"/>
                    <a:pt x="1142" y="77"/>
                    <a:pt x="1141" y="78"/>
                  </a:cubicBezTo>
                  <a:cubicBezTo>
                    <a:pt x="1141" y="77"/>
                    <a:pt x="1141" y="75"/>
                    <a:pt x="1141" y="74"/>
                  </a:cubicBezTo>
                  <a:cubicBezTo>
                    <a:pt x="1141" y="71"/>
                    <a:pt x="1140" y="72"/>
                    <a:pt x="1139" y="72"/>
                  </a:cubicBezTo>
                  <a:cubicBezTo>
                    <a:pt x="1138" y="72"/>
                    <a:pt x="1138" y="72"/>
                    <a:pt x="1138" y="72"/>
                  </a:cubicBezTo>
                  <a:cubicBezTo>
                    <a:pt x="1138" y="72"/>
                    <a:pt x="1138" y="72"/>
                    <a:pt x="1137" y="73"/>
                  </a:cubicBezTo>
                  <a:cubicBezTo>
                    <a:pt x="1137" y="74"/>
                    <a:pt x="1136" y="74"/>
                    <a:pt x="1135" y="75"/>
                  </a:cubicBezTo>
                  <a:cubicBezTo>
                    <a:pt x="1135" y="74"/>
                    <a:pt x="1135" y="72"/>
                    <a:pt x="1134" y="70"/>
                  </a:cubicBezTo>
                  <a:cubicBezTo>
                    <a:pt x="1134" y="69"/>
                    <a:pt x="1132" y="68"/>
                    <a:pt x="1132" y="67"/>
                  </a:cubicBezTo>
                  <a:cubicBezTo>
                    <a:pt x="1131" y="67"/>
                    <a:pt x="1128" y="57"/>
                    <a:pt x="1128" y="62"/>
                  </a:cubicBezTo>
                  <a:cubicBezTo>
                    <a:pt x="1127" y="57"/>
                    <a:pt x="1122" y="59"/>
                    <a:pt x="1120" y="57"/>
                  </a:cubicBezTo>
                  <a:cubicBezTo>
                    <a:pt x="1118" y="55"/>
                    <a:pt x="1119" y="54"/>
                    <a:pt x="1116" y="53"/>
                  </a:cubicBezTo>
                  <a:cubicBezTo>
                    <a:pt x="1114" y="52"/>
                    <a:pt x="1112" y="51"/>
                    <a:pt x="1110" y="49"/>
                  </a:cubicBezTo>
                  <a:cubicBezTo>
                    <a:pt x="1111" y="50"/>
                    <a:pt x="1111" y="50"/>
                    <a:pt x="1112" y="51"/>
                  </a:cubicBezTo>
                  <a:cubicBezTo>
                    <a:pt x="1112" y="46"/>
                    <a:pt x="1112" y="40"/>
                    <a:pt x="1111" y="35"/>
                  </a:cubicBezTo>
                  <a:cubicBezTo>
                    <a:pt x="1111" y="34"/>
                    <a:pt x="1112" y="31"/>
                    <a:pt x="1111" y="29"/>
                  </a:cubicBezTo>
                  <a:cubicBezTo>
                    <a:pt x="1110" y="28"/>
                    <a:pt x="1108" y="27"/>
                    <a:pt x="1107" y="26"/>
                  </a:cubicBezTo>
                  <a:cubicBezTo>
                    <a:pt x="1104" y="22"/>
                    <a:pt x="1099" y="22"/>
                    <a:pt x="1095" y="19"/>
                  </a:cubicBezTo>
                  <a:cubicBezTo>
                    <a:pt x="1093" y="17"/>
                    <a:pt x="1092" y="17"/>
                    <a:pt x="1093" y="15"/>
                  </a:cubicBezTo>
                  <a:cubicBezTo>
                    <a:pt x="1093" y="14"/>
                    <a:pt x="1095" y="12"/>
                    <a:pt x="1093" y="11"/>
                  </a:cubicBezTo>
                  <a:cubicBezTo>
                    <a:pt x="1092" y="11"/>
                    <a:pt x="1091" y="12"/>
                    <a:pt x="1090" y="12"/>
                  </a:cubicBezTo>
                  <a:cubicBezTo>
                    <a:pt x="1088" y="13"/>
                    <a:pt x="1088" y="11"/>
                    <a:pt x="1087" y="11"/>
                  </a:cubicBezTo>
                  <a:cubicBezTo>
                    <a:pt x="1086" y="11"/>
                    <a:pt x="1086" y="12"/>
                    <a:pt x="1085" y="12"/>
                  </a:cubicBezTo>
                  <a:cubicBezTo>
                    <a:pt x="1084" y="12"/>
                    <a:pt x="1084" y="10"/>
                    <a:pt x="1083" y="11"/>
                  </a:cubicBezTo>
                  <a:cubicBezTo>
                    <a:pt x="1082" y="11"/>
                    <a:pt x="1082" y="12"/>
                    <a:pt x="1081" y="13"/>
                  </a:cubicBezTo>
                  <a:cubicBezTo>
                    <a:pt x="1081" y="14"/>
                    <a:pt x="1079" y="15"/>
                    <a:pt x="1078" y="15"/>
                  </a:cubicBezTo>
                  <a:cubicBezTo>
                    <a:pt x="1079" y="14"/>
                    <a:pt x="1079" y="12"/>
                    <a:pt x="1079" y="11"/>
                  </a:cubicBezTo>
                  <a:cubicBezTo>
                    <a:pt x="1079" y="9"/>
                    <a:pt x="1078" y="10"/>
                    <a:pt x="1078" y="10"/>
                  </a:cubicBezTo>
                  <a:cubicBezTo>
                    <a:pt x="1076" y="10"/>
                    <a:pt x="1077" y="9"/>
                    <a:pt x="1076" y="10"/>
                  </a:cubicBezTo>
                  <a:cubicBezTo>
                    <a:pt x="1075" y="10"/>
                    <a:pt x="1074" y="11"/>
                    <a:pt x="1073" y="12"/>
                  </a:cubicBezTo>
                  <a:cubicBezTo>
                    <a:pt x="1072" y="9"/>
                    <a:pt x="1074" y="9"/>
                    <a:pt x="1075" y="8"/>
                  </a:cubicBezTo>
                  <a:cubicBezTo>
                    <a:pt x="1076" y="8"/>
                    <a:pt x="1076" y="8"/>
                    <a:pt x="1077" y="7"/>
                  </a:cubicBezTo>
                  <a:cubicBezTo>
                    <a:pt x="1077" y="7"/>
                    <a:pt x="1077" y="6"/>
                    <a:pt x="1077" y="5"/>
                  </a:cubicBezTo>
                  <a:cubicBezTo>
                    <a:pt x="1079" y="4"/>
                    <a:pt x="1078" y="3"/>
                    <a:pt x="1076" y="2"/>
                  </a:cubicBezTo>
                  <a:cubicBezTo>
                    <a:pt x="1074" y="0"/>
                    <a:pt x="1067" y="2"/>
                    <a:pt x="1065" y="3"/>
                  </a:cubicBezTo>
                  <a:cubicBezTo>
                    <a:pt x="1062" y="3"/>
                    <a:pt x="1060" y="3"/>
                    <a:pt x="1059" y="5"/>
                  </a:cubicBezTo>
                  <a:cubicBezTo>
                    <a:pt x="1059" y="6"/>
                    <a:pt x="1058" y="8"/>
                    <a:pt x="1060" y="8"/>
                  </a:cubicBezTo>
                  <a:cubicBezTo>
                    <a:pt x="1061" y="9"/>
                    <a:pt x="1065" y="8"/>
                    <a:pt x="1066" y="8"/>
                  </a:cubicBezTo>
                  <a:cubicBezTo>
                    <a:pt x="1069" y="8"/>
                    <a:pt x="1071" y="8"/>
                    <a:pt x="1073" y="7"/>
                  </a:cubicBezTo>
                  <a:cubicBezTo>
                    <a:pt x="1070" y="10"/>
                    <a:pt x="1064" y="7"/>
                    <a:pt x="1060" y="9"/>
                  </a:cubicBezTo>
                  <a:cubicBezTo>
                    <a:pt x="1058" y="10"/>
                    <a:pt x="1059" y="13"/>
                    <a:pt x="1058" y="13"/>
                  </a:cubicBezTo>
                  <a:cubicBezTo>
                    <a:pt x="1057" y="14"/>
                    <a:pt x="1053" y="14"/>
                    <a:pt x="1051" y="14"/>
                  </a:cubicBezTo>
                  <a:cubicBezTo>
                    <a:pt x="1049" y="15"/>
                    <a:pt x="1048" y="17"/>
                    <a:pt x="1046" y="17"/>
                  </a:cubicBezTo>
                  <a:cubicBezTo>
                    <a:pt x="1045" y="18"/>
                    <a:pt x="1042" y="19"/>
                    <a:pt x="1043" y="21"/>
                  </a:cubicBezTo>
                  <a:cubicBezTo>
                    <a:pt x="1043" y="22"/>
                    <a:pt x="1047" y="23"/>
                    <a:pt x="1048" y="23"/>
                  </a:cubicBezTo>
                  <a:cubicBezTo>
                    <a:pt x="1051" y="23"/>
                    <a:pt x="1053" y="23"/>
                    <a:pt x="1055" y="23"/>
                  </a:cubicBezTo>
                  <a:cubicBezTo>
                    <a:pt x="1052" y="24"/>
                    <a:pt x="1052" y="26"/>
                    <a:pt x="1054" y="28"/>
                  </a:cubicBezTo>
                  <a:cubicBezTo>
                    <a:pt x="1053" y="29"/>
                    <a:pt x="1052" y="29"/>
                    <a:pt x="1051" y="29"/>
                  </a:cubicBezTo>
                  <a:cubicBezTo>
                    <a:pt x="1053" y="30"/>
                    <a:pt x="1052" y="31"/>
                    <a:pt x="1051" y="32"/>
                  </a:cubicBezTo>
                  <a:cubicBezTo>
                    <a:pt x="1049" y="33"/>
                    <a:pt x="1043" y="29"/>
                    <a:pt x="1041" y="28"/>
                  </a:cubicBezTo>
                  <a:cubicBezTo>
                    <a:pt x="1037" y="27"/>
                    <a:pt x="1038" y="28"/>
                    <a:pt x="1035" y="30"/>
                  </a:cubicBezTo>
                  <a:cubicBezTo>
                    <a:pt x="1034" y="31"/>
                    <a:pt x="1031" y="31"/>
                    <a:pt x="1030" y="32"/>
                  </a:cubicBezTo>
                  <a:cubicBezTo>
                    <a:pt x="1032" y="33"/>
                    <a:pt x="1031" y="34"/>
                    <a:pt x="1031" y="36"/>
                  </a:cubicBezTo>
                  <a:cubicBezTo>
                    <a:pt x="1031" y="36"/>
                    <a:pt x="1031" y="36"/>
                    <a:pt x="1031" y="36"/>
                  </a:cubicBezTo>
                  <a:cubicBezTo>
                    <a:pt x="1031" y="37"/>
                    <a:pt x="1029" y="37"/>
                    <a:pt x="1029" y="38"/>
                  </a:cubicBezTo>
                  <a:cubicBezTo>
                    <a:pt x="1029" y="40"/>
                    <a:pt x="1028" y="39"/>
                    <a:pt x="1030" y="40"/>
                  </a:cubicBezTo>
                  <a:cubicBezTo>
                    <a:pt x="1031" y="40"/>
                    <a:pt x="1032" y="39"/>
                    <a:pt x="1033" y="40"/>
                  </a:cubicBezTo>
                  <a:cubicBezTo>
                    <a:pt x="1033" y="41"/>
                    <a:pt x="1031" y="42"/>
                    <a:pt x="1030" y="42"/>
                  </a:cubicBezTo>
                  <a:cubicBezTo>
                    <a:pt x="1029" y="43"/>
                    <a:pt x="1030" y="45"/>
                    <a:pt x="1029" y="47"/>
                  </a:cubicBezTo>
                  <a:cubicBezTo>
                    <a:pt x="1029" y="48"/>
                    <a:pt x="1027" y="50"/>
                    <a:pt x="1027" y="52"/>
                  </a:cubicBezTo>
                  <a:cubicBezTo>
                    <a:pt x="1027" y="54"/>
                    <a:pt x="1030" y="54"/>
                    <a:pt x="1031" y="56"/>
                  </a:cubicBezTo>
                  <a:cubicBezTo>
                    <a:pt x="1033" y="57"/>
                    <a:pt x="1033" y="59"/>
                    <a:pt x="1036" y="59"/>
                  </a:cubicBezTo>
                  <a:cubicBezTo>
                    <a:pt x="1039" y="60"/>
                    <a:pt x="1042" y="57"/>
                    <a:pt x="1044" y="57"/>
                  </a:cubicBezTo>
                  <a:cubicBezTo>
                    <a:pt x="1041" y="58"/>
                    <a:pt x="1038" y="60"/>
                    <a:pt x="1036" y="63"/>
                  </a:cubicBezTo>
                  <a:cubicBezTo>
                    <a:pt x="1034" y="64"/>
                    <a:pt x="1034" y="66"/>
                    <a:pt x="1033" y="68"/>
                  </a:cubicBezTo>
                  <a:cubicBezTo>
                    <a:pt x="1031" y="70"/>
                    <a:pt x="1029" y="71"/>
                    <a:pt x="1028" y="73"/>
                  </a:cubicBezTo>
                  <a:cubicBezTo>
                    <a:pt x="1028" y="75"/>
                    <a:pt x="1028" y="77"/>
                    <a:pt x="1029" y="79"/>
                  </a:cubicBezTo>
                  <a:cubicBezTo>
                    <a:pt x="1030" y="81"/>
                    <a:pt x="1030" y="83"/>
                    <a:pt x="1032" y="84"/>
                  </a:cubicBezTo>
                  <a:cubicBezTo>
                    <a:pt x="1033" y="85"/>
                    <a:pt x="1033" y="86"/>
                    <a:pt x="1034" y="87"/>
                  </a:cubicBezTo>
                  <a:cubicBezTo>
                    <a:pt x="1035" y="87"/>
                    <a:pt x="1037" y="87"/>
                    <a:pt x="1037" y="88"/>
                  </a:cubicBezTo>
                  <a:cubicBezTo>
                    <a:pt x="1039" y="88"/>
                    <a:pt x="1038" y="88"/>
                    <a:pt x="1039" y="89"/>
                  </a:cubicBezTo>
                  <a:cubicBezTo>
                    <a:pt x="1039" y="90"/>
                    <a:pt x="1038" y="90"/>
                    <a:pt x="1038" y="91"/>
                  </a:cubicBezTo>
                  <a:cubicBezTo>
                    <a:pt x="1038" y="92"/>
                    <a:pt x="1037" y="92"/>
                    <a:pt x="1037" y="92"/>
                  </a:cubicBezTo>
                  <a:cubicBezTo>
                    <a:pt x="1038" y="92"/>
                    <a:pt x="1038" y="92"/>
                    <a:pt x="1039" y="92"/>
                  </a:cubicBezTo>
                  <a:cubicBezTo>
                    <a:pt x="1039" y="93"/>
                    <a:pt x="1040" y="94"/>
                    <a:pt x="1041" y="94"/>
                  </a:cubicBezTo>
                  <a:cubicBezTo>
                    <a:pt x="1041" y="94"/>
                    <a:pt x="1041" y="94"/>
                    <a:pt x="1042" y="94"/>
                  </a:cubicBezTo>
                  <a:cubicBezTo>
                    <a:pt x="1041" y="96"/>
                    <a:pt x="1041" y="98"/>
                    <a:pt x="1041" y="99"/>
                  </a:cubicBezTo>
                  <a:cubicBezTo>
                    <a:pt x="1042" y="99"/>
                    <a:pt x="1042" y="99"/>
                    <a:pt x="1043" y="98"/>
                  </a:cubicBezTo>
                  <a:cubicBezTo>
                    <a:pt x="1043" y="97"/>
                    <a:pt x="1044" y="96"/>
                    <a:pt x="1044" y="95"/>
                  </a:cubicBezTo>
                  <a:cubicBezTo>
                    <a:pt x="1045" y="95"/>
                    <a:pt x="1046" y="95"/>
                    <a:pt x="1046" y="95"/>
                  </a:cubicBezTo>
                  <a:cubicBezTo>
                    <a:pt x="1046" y="95"/>
                    <a:pt x="1047" y="95"/>
                    <a:pt x="1048" y="95"/>
                  </a:cubicBezTo>
                  <a:cubicBezTo>
                    <a:pt x="1049" y="96"/>
                    <a:pt x="1049" y="97"/>
                    <a:pt x="1049" y="98"/>
                  </a:cubicBezTo>
                  <a:cubicBezTo>
                    <a:pt x="1049" y="99"/>
                    <a:pt x="1048" y="99"/>
                    <a:pt x="1048" y="100"/>
                  </a:cubicBezTo>
                  <a:cubicBezTo>
                    <a:pt x="1047" y="100"/>
                    <a:pt x="1047" y="101"/>
                    <a:pt x="1048" y="101"/>
                  </a:cubicBezTo>
                  <a:cubicBezTo>
                    <a:pt x="1048" y="101"/>
                    <a:pt x="1048" y="101"/>
                    <a:pt x="1048" y="101"/>
                  </a:cubicBezTo>
                  <a:cubicBezTo>
                    <a:pt x="1048" y="101"/>
                    <a:pt x="1048" y="101"/>
                    <a:pt x="1048" y="101"/>
                  </a:cubicBezTo>
                  <a:cubicBezTo>
                    <a:pt x="1048" y="102"/>
                    <a:pt x="1049" y="102"/>
                    <a:pt x="1050" y="102"/>
                  </a:cubicBezTo>
                  <a:cubicBezTo>
                    <a:pt x="1052" y="102"/>
                    <a:pt x="1054" y="100"/>
                    <a:pt x="1055" y="99"/>
                  </a:cubicBezTo>
                  <a:cubicBezTo>
                    <a:pt x="1056" y="99"/>
                    <a:pt x="1056" y="100"/>
                    <a:pt x="1057" y="100"/>
                  </a:cubicBezTo>
                  <a:cubicBezTo>
                    <a:pt x="1060" y="101"/>
                    <a:pt x="1061" y="102"/>
                    <a:pt x="1064" y="102"/>
                  </a:cubicBezTo>
                  <a:cubicBezTo>
                    <a:pt x="1067" y="102"/>
                    <a:pt x="1070" y="100"/>
                    <a:pt x="1073" y="99"/>
                  </a:cubicBezTo>
                  <a:cubicBezTo>
                    <a:pt x="1073" y="100"/>
                    <a:pt x="1077" y="107"/>
                    <a:pt x="1079" y="108"/>
                  </a:cubicBezTo>
                  <a:cubicBezTo>
                    <a:pt x="1083" y="110"/>
                    <a:pt x="1091" y="107"/>
                    <a:pt x="1095" y="106"/>
                  </a:cubicBezTo>
                  <a:cubicBezTo>
                    <a:pt x="1097" y="106"/>
                    <a:pt x="1097" y="105"/>
                    <a:pt x="1098" y="104"/>
                  </a:cubicBezTo>
                  <a:cubicBezTo>
                    <a:pt x="1098" y="105"/>
                    <a:pt x="1098" y="106"/>
                    <a:pt x="1098" y="106"/>
                  </a:cubicBezTo>
                  <a:cubicBezTo>
                    <a:pt x="1101" y="108"/>
                    <a:pt x="1099" y="109"/>
                    <a:pt x="1098" y="112"/>
                  </a:cubicBezTo>
                  <a:cubicBezTo>
                    <a:pt x="1100" y="112"/>
                    <a:pt x="1102" y="112"/>
                    <a:pt x="1105" y="112"/>
                  </a:cubicBezTo>
                  <a:cubicBezTo>
                    <a:pt x="1103" y="112"/>
                    <a:pt x="1102" y="113"/>
                    <a:pt x="1100" y="114"/>
                  </a:cubicBezTo>
                  <a:cubicBezTo>
                    <a:pt x="1097" y="116"/>
                    <a:pt x="1094" y="118"/>
                    <a:pt x="1091" y="120"/>
                  </a:cubicBezTo>
                  <a:cubicBezTo>
                    <a:pt x="1093" y="117"/>
                    <a:pt x="1083" y="113"/>
                    <a:pt x="1081" y="115"/>
                  </a:cubicBezTo>
                  <a:cubicBezTo>
                    <a:pt x="1081" y="114"/>
                    <a:pt x="1081" y="118"/>
                    <a:pt x="1081" y="118"/>
                  </a:cubicBezTo>
                  <a:cubicBezTo>
                    <a:pt x="1081" y="119"/>
                    <a:pt x="1079" y="121"/>
                    <a:pt x="1081" y="122"/>
                  </a:cubicBezTo>
                  <a:cubicBezTo>
                    <a:pt x="1079" y="125"/>
                    <a:pt x="1075" y="127"/>
                    <a:pt x="1074" y="129"/>
                  </a:cubicBezTo>
                  <a:cubicBezTo>
                    <a:pt x="1074" y="131"/>
                    <a:pt x="1073" y="135"/>
                    <a:pt x="1073" y="137"/>
                  </a:cubicBezTo>
                  <a:cubicBezTo>
                    <a:pt x="1075" y="136"/>
                    <a:pt x="1075" y="138"/>
                    <a:pt x="1076" y="138"/>
                  </a:cubicBezTo>
                  <a:cubicBezTo>
                    <a:pt x="1078" y="139"/>
                    <a:pt x="1079" y="138"/>
                    <a:pt x="1080" y="138"/>
                  </a:cubicBezTo>
                  <a:cubicBezTo>
                    <a:pt x="1085" y="137"/>
                    <a:pt x="1088" y="135"/>
                    <a:pt x="1092" y="132"/>
                  </a:cubicBezTo>
                  <a:cubicBezTo>
                    <a:pt x="1090" y="133"/>
                    <a:pt x="1085" y="134"/>
                    <a:pt x="1087" y="131"/>
                  </a:cubicBezTo>
                  <a:cubicBezTo>
                    <a:pt x="1087" y="130"/>
                    <a:pt x="1088" y="129"/>
                    <a:pt x="1089" y="129"/>
                  </a:cubicBezTo>
                  <a:cubicBezTo>
                    <a:pt x="1089" y="128"/>
                    <a:pt x="1089" y="127"/>
                    <a:pt x="1090" y="126"/>
                  </a:cubicBezTo>
                  <a:cubicBezTo>
                    <a:pt x="1090" y="127"/>
                    <a:pt x="1090" y="127"/>
                    <a:pt x="1090" y="127"/>
                  </a:cubicBezTo>
                  <a:cubicBezTo>
                    <a:pt x="1090" y="130"/>
                    <a:pt x="1092" y="127"/>
                    <a:pt x="1094" y="128"/>
                  </a:cubicBezTo>
                  <a:cubicBezTo>
                    <a:pt x="1096" y="130"/>
                    <a:pt x="1094" y="140"/>
                    <a:pt x="1094" y="143"/>
                  </a:cubicBezTo>
                  <a:cubicBezTo>
                    <a:pt x="1096" y="142"/>
                    <a:pt x="1100" y="142"/>
                    <a:pt x="1102" y="142"/>
                  </a:cubicBezTo>
                  <a:cubicBezTo>
                    <a:pt x="1098" y="144"/>
                    <a:pt x="1095" y="146"/>
                    <a:pt x="1092" y="148"/>
                  </a:cubicBezTo>
                  <a:cubicBezTo>
                    <a:pt x="1088" y="150"/>
                    <a:pt x="1086" y="154"/>
                    <a:pt x="1083" y="156"/>
                  </a:cubicBezTo>
                  <a:cubicBezTo>
                    <a:pt x="1082" y="157"/>
                    <a:pt x="1080" y="158"/>
                    <a:pt x="1078" y="159"/>
                  </a:cubicBezTo>
                  <a:cubicBezTo>
                    <a:pt x="1074" y="162"/>
                    <a:pt x="1072" y="166"/>
                    <a:pt x="1067" y="166"/>
                  </a:cubicBezTo>
                  <a:cubicBezTo>
                    <a:pt x="1066" y="166"/>
                    <a:pt x="1064" y="165"/>
                    <a:pt x="1063" y="165"/>
                  </a:cubicBezTo>
                  <a:cubicBezTo>
                    <a:pt x="1061" y="165"/>
                    <a:pt x="1061" y="165"/>
                    <a:pt x="1059" y="166"/>
                  </a:cubicBezTo>
                  <a:cubicBezTo>
                    <a:pt x="1060" y="164"/>
                    <a:pt x="1059" y="165"/>
                    <a:pt x="1057" y="164"/>
                  </a:cubicBezTo>
                  <a:cubicBezTo>
                    <a:pt x="1054" y="164"/>
                    <a:pt x="1053" y="167"/>
                    <a:pt x="1052" y="169"/>
                  </a:cubicBezTo>
                  <a:cubicBezTo>
                    <a:pt x="1051" y="171"/>
                    <a:pt x="1048" y="175"/>
                    <a:pt x="1048" y="177"/>
                  </a:cubicBezTo>
                  <a:cubicBezTo>
                    <a:pt x="1048" y="180"/>
                    <a:pt x="1049" y="179"/>
                    <a:pt x="1050" y="180"/>
                  </a:cubicBezTo>
                  <a:cubicBezTo>
                    <a:pt x="1052" y="181"/>
                    <a:pt x="1054" y="182"/>
                    <a:pt x="1055" y="184"/>
                  </a:cubicBezTo>
                  <a:cubicBezTo>
                    <a:pt x="1056" y="186"/>
                    <a:pt x="1055" y="188"/>
                    <a:pt x="1056" y="191"/>
                  </a:cubicBezTo>
                  <a:cubicBezTo>
                    <a:pt x="1056" y="192"/>
                    <a:pt x="1058" y="195"/>
                    <a:pt x="1058" y="196"/>
                  </a:cubicBezTo>
                  <a:cubicBezTo>
                    <a:pt x="1058" y="200"/>
                    <a:pt x="1057" y="201"/>
                    <a:pt x="1057" y="205"/>
                  </a:cubicBezTo>
                  <a:cubicBezTo>
                    <a:pt x="1058" y="206"/>
                    <a:pt x="1059" y="210"/>
                    <a:pt x="1058" y="211"/>
                  </a:cubicBezTo>
                  <a:cubicBezTo>
                    <a:pt x="1056" y="212"/>
                    <a:pt x="1056" y="210"/>
                    <a:pt x="1055" y="210"/>
                  </a:cubicBezTo>
                  <a:cubicBezTo>
                    <a:pt x="1053" y="210"/>
                    <a:pt x="1051" y="211"/>
                    <a:pt x="1048" y="210"/>
                  </a:cubicBezTo>
                  <a:cubicBezTo>
                    <a:pt x="1046" y="210"/>
                    <a:pt x="1043" y="209"/>
                    <a:pt x="1039" y="210"/>
                  </a:cubicBezTo>
                  <a:cubicBezTo>
                    <a:pt x="1042" y="213"/>
                    <a:pt x="1049" y="219"/>
                    <a:pt x="1046" y="223"/>
                  </a:cubicBezTo>
                  <a:cubicBezTo>
                    <a:pt x="1045" y="221"/>
                    <a:pt x="1046" y="218"/>
                    <a:pt x="1045" y="216"/>
                  </a:cubicBezTo>
                  <a:cubicBezTo>
                    <a:pt x="1043" y="215"/>
                    <a:pt x="1041" y="215"/>
                    <a:pt x="1039" y="214"/>
                  </a:cubicBezTo>
                  <a:cubicBezTo>
                    <a:pt x="1039" y="213"/>
                    <a:pt x="1038" y="212"/>
                    <a:pt x="1037" y="211"/>
                  </a:cubicBezTo>
                  <a:cubicBezTo>
                    <a:pt x="1036" y="210"/>
                    <a:pt x="1035" y="209"/>
                    <a:pt x="1034" y="208"/>
                  </a:cubicBezTo>
                  <a:cubicBezTo>
                    <a:pt x="1032" y="206"/>
                    <a:pt x="1029" y="204"/>
                    <a:pt x="1033" y="204"/>
                  </a:cubicBezTo>
                  <a:cubicBezTo>
                    <a:pt x="1036" y="203"/>
                    <a:pt x="1034" y="206"/>
                    <a:pt x="1035" y="207"/>
                  </a:cubicBezTo>
                  <a:cubicBezTo>
                    <a:pt x="1035" y="207"/>
                    <a:pt x="1039" y="208"/>
                    <a:pt x="1038" y="209"/>
                  </a:cubicBezTo>
                  <a:cubicBezTo>
                    <a:pt x="1040" y="208"/>
                    <a:pt x="1041" y="205"/>
                    <a:pt x="1042" y="204"/>
                  </a:cubicBezTo>
                  <a:cubicBezTo>
                    <a:pt x="1040" y="207"/>
                    <a:pt x="1044" y="209"/>
                    <a:pt x="1047" y="209"/>
                  </a:cubicBezTo>
                  <a:cubicBezTo>
                    <a:pt x="1047" y="208"/>
                    <a:pt x="1048" y="208"/>
                    <a:pt x="1049" y="208"/>
                  </a:cubicBezTo>
                  <a:cubicBezTo>
                    <a:pt x="1050" y="208"/>
                    <a:pt x="1049" y="209"/>
                    <a:pt x="1050" y="209"/>
                  </a:cubicBezTo>
                  <a:cubicBezTo>
                    <a:pt x="1052" y="209"/>
                    <a:pt x="1056" y="209"/>
                    <a:pt x="1057" y="207"/>
                  </a:cubicBezTo>
                  <a:cubicBezTo>
                    <a:pt x="1057" y="206"/>
                    <a:pt x="1056" y="206"/>
                    <a:pt x="1056" y="205"/>
                  </a:cubicBezTo>
                  <a:cubicBezTo>
                    <a:pt x="1055" y="204"/>
                    <a:pt x="1055" y="203"/>
                    <a:pt x="1055" y="202"/>
                  </a:cubicBezTo>
                  <a:cubicBezTo>
                    <a:pt x="1055" y="203"/>
                    <a:pt x="1053" y="200"/>
                    <a:pt x="1053" y="200"/>
                  </a:cubicBezTo>
                  <a:cubicBezTo>
                    <a:pt x="1053" y="200"/>
                    <a:pt x="1053" y="199"/>
                    <a:pt x="1053" y="199"/>
                  </a:cubicBezTo>
                  <a:cubicBezTo>
                    <a:pt x="1051" y="198"/>
                    <a:pt x="1047" y="200"/>
                    <a:pt x="1045" y="200"/>
                  </a:cubicBezTo>
                  <a:cubicBezTo>
                    <a:pt x="1046" y="199"/>
                    <a:pt x="1048" y="197"/>
                    <a:pt x="1050" y="196"/>
                  </a:cubicBezTo>
                  <a:cubicBezTo>
                    <a:pt x="1051" y="195"/>
                    <a:pt x="1053" y="191"/>
                    <a:pt x="1050" y="193"/>
                  </a:cubicBezTo>
                  <a:cubicBezTo>
                    <a:pt x="1048" y="195"/>
                    <a:pt x="1049" y="192"/>
                    <a:pt x="1048" y="192"/>
                  </a:cubicBezTo>
                  <a:cubicBezTo>
                    <a:pt x="1045" y="193"/>
                    <a:pt x="1041" y="197"/>
                    <a:pt x="1038" y="198"/>
                  </a:cubicBezTo>
                  <a:cubicBezTo>
                    <a:pt x="1038" y="196"/>
                    <a:pt x="1035" y="198"/>
                    <a:pt x="1036" y="195"/>
                  </a:cubicBezTo>
                  <a:cubicBezTo>
                    <a:pt x="1037" y="193"/>
                    <a:pt x="1039" y="192"/>
                    <a:pt x="1039" y="190"/>
                  </a:cubicBezTo>
                  <a:cubicBezTo>
                    <a:pt x="1037" y="191"/>
                    <a:pt x="1034" y="190"/>
                    <a:pt x="1033" y="189"/>
                  </a:cubicBezTo>
                  <a:cubicBezTo>
                    <a:pt x="1030" y="187"/>
                    <a:pt x="1032" y="187"/>
                    <a:pt x="1031" y="185"/>
                  </a:cubicBezTo>
                  <a:cubicBezTo>
                    <a:pt x="1034" y="184"/>
                    <a:pt x="1033" y="182"/>
                    <a:pt x="1034" y="180"/>
                  </a:cubicBezTo>
                  <a:cubicBezTo>
                    <a:pt x="1035" y="181"/>
                    <a:pt x="1036" y="183"/>
                    <a:pt x="1037" y="181"/>
                  </a:cubicBezTo>
                  <a:cubicBezTo>
                    <a:pt x="1038" y="180"/>
                    <a:pt x="1036" y="180"/>
                    <a:pt x="1036" y="180"/>
                  </a:cubicBezTo>
                  <a:cubicBezTo>
                    <a:pt x="1036" y="179"/>
                    <a:pt x="1037" y="179"/>
                    <a:pt x="1037" y="178"/>
                  </a:cubicBezTo>
                  <a:cubicBezTo>
                    <a:pt x="1036" y="175"/>
                    <a:pt x="1036" y="174"/>
                    <a:pt x="1038" y="172"/>
                  </a:cubicBezTo>
                  <a:cubicBezTo>
                    <a:pt x="1038" y="169"/>
                    <a:pt x="1039" y="167"/>
                    <a:pt x="1040" y="165"/>
                  </a:cubicBezTo>
                  <a:cubicBezTo>
                    <a:pt x="1040" y="165"/>
                    <a:pt x="1041" y="164"/>
                    <a:pt x="1041" y="164"/>
                  </a:cubicBezTo>
                  <a:cubicBezTo>
                    <a:pt x="1041" y="163"/>
                    <a:pt x="1040" y="162"/>
                    <a:pt x="1040" y="162"/>
                  </a:cubicBezTo>
                  <a:cubicBezTo>
                    <a:pt x="1040" y="163"/>
                    <a:pt x="1040" y="160"/>
                    <a:pt x="1040" y="161"/>
                  </a:cubicBezTo>
                  <a:cubicBezTo>
                    <a:pt x="1040" y="160"/>
                    <a:pt x="1041" y="159"/>
                    <a:pt x="1041" y="159"/>
                  </a:cubicBezTo>
                  <a:cubicBezTo>
                    <a:pt x="1039" y="159"/>
                    <a:pt x="1037" y="160"/>
                    <a:pt x="1036" y="161"/>
                  </a:cubicBezTo>
                  <a:cubicBezTo>
                    <a:pt x="1033" y="162"/>
                    <a:pt x="1033" y="164"/>
                    <a:pt x="1030" y="165"/>
                  </a:cubicBezTo>
                  <a:cubicBezTo>
                    <a:pt x="1029" y="166"/>
                    <a:pt x="1025" y="168"/>
                    <a:pt x="1023" y="167"/>
                  </a:cubicBezTo>
                  <a:cubicBezTo>
                    <a:pt x="1021" y="165"/>
                    <a:pt x="1025" y="164"/>
                    <a:pt x="1026" y="163"/>
                  </a:cubicBezTo>
                  <a:cubicBezTo>
                    <a:pt x="1027" y="162"/>
                    <a:pt x="1028" y="161"/>
                    <a:pt x="1029" y="160"/>
                  </a:cubicBezTo>
                  <a:cubicBezTo>
                    <a:pt x="1027" y="161"/>
                    <a:pt x="1024" y="159"/>
                    <a:pt x="1027" y="157"/>
                  </a:cubicBezTo>
                  <a:cubicBezTo>
                    <a:pt x="1025" y="156"/>
                    <a:pt x="1024" y="157"/>
                    <a:pt x="1022" y="157"/>
                  </a:cubicBezTo>
                  <a:cubicBezTo>
                    <a:pt x="1019" y="158"/>
                    <a:pt x="1018" y="157"/>
                    <a:pt x="1016" y="157"/>
                  </a:cubicBezTo>
                  <a:cubicBezTo>
                    <a:pt x="1018" y="156"/>
                    <a:pt x="1019" y="155"/>
                    <a:pt x="1018" y="153"/>
                  </a:cubicBezTo>
                  <a:cubicBezTo>
                    <a:pt x="1017" y="153"/>
                    <a:pt x="1014" y="153"/>
                    <a:pt x="1015" y="152"/>
                  </a:cubicBezTo>
                  <a:cubicBezTo>
                    <a:pt x="1016" y="152"/>
                    <a:pt x="1014" y="151"/>
                    <a:pt x="1013" y="151"/>
                  </a:cubicBezTo>
                  <a:cubicBezTo>
                    <a:pt x="1010" y="149"/>
                    <a:pt x="1008" y="151"/>
                    <a:pt x="1005" y="150"/>
                  </a:cubicBezTo>
                  <a:cubicBezTo>
                    <a:pt x="1004" y="150"/>
                    <a:pt x="1004" y="149"/>
                    <a:pt x="1003" y="149"/>
                  </a:cubicBezTo>
                  <a:cubicBezTo>
                    <a:pt x="1002" y="148"/>
                    <a:pt x="1001" y="147"/>
                    <a:pt x="998" y="147"/>
                  </a:cubicBezTo>
                  <a:cubicBezTo>
                    <a:pt x="988" y="144"/>
                    <a:pt x="1003" y="152"/>
                    <a:pt x="997" y="154"/>
                  </a:cubicBezTo>
                  <a:cubicBezTo>
                    <a:pt x="995" y="154"/>
                    <a:pt x="992" y="155"/>
                    <a:pt x="989" y="155"/>
                  </a:cubicBezTo>
                  <a:cubicBezTo>
                    <a:pt x="986" y="154"/>
                    <a:pt x="982" y="152"/>
                    <a:pt x="978" y="153"/>
                  </a:cubicBezTo>
                  <a:cubicBezTo>
                    <a:pt x="979" y="154"/>
                    <a:pt x="980" y="155"/>
                    <a:pt x="980" y="155"/>
                  </a:cubicBezTo>
                  <a:cubicBezTo>
                    <a:pt x="981" y="156"/>
                    <a:pt x="982" y="156"/>
                    <a:pt x="982" y="157"/>
                  </a:cubicBezTo>
                  <a:cubicBezTo>
                    <a:pt x="982" y="157"/>
                    <a:pt x="982" y="158"/>
                    <a:pt x="983" y="158"/>
                  </a:cubicBezTo>
                  <a:cubicBezTo>
                    <a:pt x="984" y="160"/>
                    <a:pt x="986" y="159"/>
                    <a:pt x="986" y="162"/>
                  </a:cubicBezTo>
                  <a:cubicBezTo>
                    <a:pt x="986" y="166"/>
                    <a:pt x="984" y="163"/>
                    <a:pt x="981" y="162"/>
                  </a:cubicBezTo>
                  <a:cubicBezTo>
                    <a:pt x="983" y="163"/>
                    <a:pt x="984" y="165"/>
                    <a:pt x="985" y="166"/>
                  </a:cubicBezTo>
                  <a:cubicBezTo>
                    <a:pt x="986" y="167"/>
                    <a:pt x="988" y="168"/>
                    <a:pt x="989" y="170"/>
                  </a:cubicBezTo>
                  <a:cubicBezTo>
                    <a:pt x="991" y="172"/>
                    <a:pt x="992" y="174"/>
                    <a:pt x="995" y="170"/>
                  </a:cubicBezTo>
                  <a:cubicBezTo>
                    <a:pt x="995" y="170"/>
                    <a:pt x="1001" y="167"/>
                    <a:pt x="1002" y="167"/>
                  </a:cubicBezTo>
                  <a:cubicBezTo>
                    <a:pt x="1003" y="167"/>
                    <a:pt x="1006" y="169"/>
                    <a:pt x="1007" y="170"/>
                  </a:cubicBezTo>
                  <a:cubicBezTo>
                    <a:pt x="1007" y="170"/>
                    <a:pt x="1008" y="172"/>
                    <a:pt x="1008" y="172"/>
                  </a:cubicBezTo>
                  <a:cubicBezTo>
                    <a:pt x="1010" y="172"/>
                    <a:pt x="1011" y="170"/>
                    <a:pt x="1013" y="171"/>
                  </a:cubicBezTo>
                  <a:cubicBezTo>
                    <a:pt x="1013" y="171"/>
                    <a:pt x="1015" y="175"/>
                    <a:pt x="1015" y="175"/>
                  </a:cubicBezTo>
                  <a:cubicBezTo>
                    <a:pt x="1015" y="177"/>
                    <a:pt x="1014" y="177"/>
                    <a:pt x="1014" y="178"/>
                  </a:cubicBezTo>
                  <a:cubicBezTo>
                    <a:pt x="1014" y="180"/>
                    <a:pt x="1016" y="180"/>
                    <a:pt x="1014" y="182"/>
                  </a:cubicBezTo>
                  <a:cubicBezTo>
                    <a:pt x="1012" y="183"/>
                    <a:pt x="1008" y="184"/>
                    <a:pt x="1006" y="183"/>
                  </a:cubicBezTo>
                  <a:cubicBezTo>
                    <a:pt x="1004" y="183"/>
                    <a:pt x="1004" y="183"/>
                    <a:pt x="1003" y="182"/>
                  </a:cubicBezTo>
                  <a:cubicBezTo>
                    <a:pt x="1001" y="181"/>
                    <a:pt x="999" y="181"/>
                    <a:pt x="998" y="180"/>
                  </a:cubicBezTo>
                  <a:cubicBezTo>
                    <a:pt x="995" y="178"/>
                    <a:pt x="993" y="177"/>
                    <a:pt x="991" y="173"/>
                  </a:cubicBezTo>
                  <a:cubicBezTo>
                    <a:pt x="989" y="171"/>
                    <a:pt x="986" y="167"/>
                    <a:pt x="983" y="166"/>
                  </a:cubicBezTo>
                  <a:cubicBezTo>
                    <a:pt x="980" y="165"/>
                    <a:pt x="977" y="164"/>
                    <a:pt x="978" y="167"/>
                  </a:cubicBezTo>
                  <a:cubicBezTo>
                    <a:pt x="978" y="169"/>
                    <a:pt x="979" y="170"/>
                    <a:pt x="981" y="171"/>
                  </a:cubicBezTo>
                  <a:cubicBezTo>
                    <a:pt x="979" y="173"/>
                    <a:pt x="977" y="175"/>
                    <a:pt x="975" y="177"/>
                  </a:cubicBezTo>
                  <a:cubicBezTo>
                    <a:pt x="973" y="179"/>
                    <a:pt x="973" y="179"/>
                    <a:pt x="970" y="179"/>
                  </a:cubicBezTo>
                  <a:cubicBezTo>
                    <a:pt x="967" y="179"/>
                    <a:pt x="965" y="178"/>
                    <a:pt x="963" y="177"/>
                  </a:cubicBezTo>
                  <a:cubicBezTo>
                    <a:pt x="959" y="175"/>
                    <a:pt x="955" y="175"/>
                    <a:pt x="950" y="175"/>
                  </a:cubicBezTo>
                  <a:cubicBezTo>
                    <a:pt x="948" y="175"/>
                    <a:pt x="946" y="174"/>
                    <a:pt x="944" y="174"/>
                  </a:cubicBezTo>
                  <a:cubicBezTo>
                    <a:pt x="939" y="173"/>
                    <a:pt x="932" y="176"/>
                    <a:pt x="926" y="177"/>
                  </a:cubicBezTo>
                  <a:cubicBezTo>
                    <a:pt x="922" y="178"/>
                    <a:pt x="916" y="181"/>
                    <a:pt x="911" y="180"/>
                  </a:cubicBezTo>
                  <a:cubicBezTo>
                    <a:pt x="909" y="179"/>
                    <a:pt x="903" y="178"/>
                    <a:pt x="902" y="180"/>
                  </a:cubicBezTo>
                  <a:cubicBezTo>
                    <a:pt x="902" y="180"/>
                    <a:pt x="902" y="180"/>
                    <a:pt x="902" y="179"/>
                  </a:cubicBezTo>
                  <a:cubicBezTo>
                    <a:pt x="897" y="180"/>
                    <a:pt x="896" y="179"/>
                    <a:pt x="892" y="176"/>
                  </a:cubicBezTo>
                  <a:cubicBezTo>
                    <a:pt x="889" y="175"/>
                    <a:pt x="885" y="176"/>
                    <a:pt x="882" y="174"/>
                  </a:cubicBezTo>
                  <a:cubicBezTo>
                    <a:pt x="882" y="173"/>
                    <a:pt x="881" y="172"/>
                    <a:pt x="880" y="171"/>
                  </a:cubicBezTo>
                  <a:cubicBezTo>
                    <a:pt x="879" y="171"/>
                    <a:pt x="877" y="170"/>
                    <a:pt x="876" y="170"/>
                  </a:cubicBezTo>
                  <a:cubicBezTo>
                    <a:pt x="875" y="169"/>
                    <a:pt x="871" y="168"/>
                    <a:pt x="870" y="166"/>
                  </a:cubicBezTo>
                  <a:cubicBezTo>
                    <a:pt x="865" y="165"/>
                    <a:pt x="859" y="167"/>
                    <a:pt x="853" y="167"/>
                  </a:cubicBezTo>
                  <a:cubicBezTo>
                    <a:pt x="851" y="167"/>
                    <a:pt x="849" y="166"/>
                    <a:pt x="847" y="166"/>
                  </a:cubicBezTo>
                  <a:cubicBezTo>
                    <a:pt x="846" y="166"/>
                    <a:pt x="845" y="166"/>
                    <a:pt x="844" y="166"/>
                  </a:cubicBezTo>
                  <a:cubicBezTo>
                    <a:pt x="843" y="166"/>
                    <a:pt x="844" y="165"/>
                    <a:pt x="844" y="165"/>
                  </a:cubicBezTo>
                  <a:cubicBezTo>
                    <a:pt x="842" y="164"/>
                    <a:pt x="843" y="164"/>
                    <a:pt x="842" y="163"/>
                  </a:cubicBezTo>
                  <a:cubicBezTo>
                    <a:pt x="842" y="162"/>
                    <a:pt x="840" y="162"/>
                    <a:pt x="840" y="162"/>
                  </a:cubicBezTo>
                  <a:cubicBezTo>
                    <a:pt x="840" y="161"/>
                    <a:pt x="841" y="161"/>
                    <a:pt x="841" y="160"/>
                  </a:cubicBezTo>
                  <a:cubicBezTo>
                    <a:pt x="841" y="158"/>
                    <a:pt x="843" y="158"/>
                    <a:pt x="838" y="158"/>
                  </a:cubicBezTo>
                  <a:cubicBezTo>
                    <a:pt x="837" y="158"/>
                    <a:pt x="833" y="159"/>
                    <a:pt x="834" y="157"/>
                  </a:cubicBezTo>
                  <a:cubicBezTo>
                    <a:pt x="831" y="157"/>
                    <a:pt x="829" y="156"/>
                    <a:pt x="827" y="155"/>
                  </a:cubicBezTo>
                  <a:cubicBezTo>
                    <a:pt x="826" y="154"/>
                    <a:pt x="825" y="153"/>
                    <a:pt x="825" y="153"/>
                  </a:cubicBezTo>
                  <a:cubicBezTo>
                    <a:pt x="824" y="152"/>
                    <a:pt x="825" y="152"/>
                    <a:pt x="825" y="151"/>
                  </a:cubicBezTo>
                  <a:cubicBezTo>
                    <a:pt x="824" y="151"/>
                    <a:pt x="822" y="152"/>
                    <a:pt x="821" y="151"/>
                  </a:cubicBezTo>
                  <a:cubicBezTo>
                    <a:pt x="817" y="149"/>
                    <a:pt x="825" y="150"/>
                    <a:pt x="825" y="148"/>
                  </a:cubicBezTo>
                  <a:cubicBezTo>
                    <a:pt x="825" y="148"/>
                    <a:pt x="822" y="145"/>
                    <a:pt x="822" y="144"/>
                  </a:cubicBezTo>
                  <a:cubicBezTo>
                    <a:pt x="821" y="143"/>
                    <a:pt x="820" y="142"/>
                    <a:pt x="820" y="142"/>
                  </a:cubicBezTo>
                  <a:cubicBezTo>
                    <a:pt x="820" y="140"/>
                    <a:pt x="822" y="140"/>
                    <a:pt x="821" y="139"/>
                  </a:cubicBezTo>
                  <a:cubicBezTo>
                    <a:pt x="821" y="138"/>
                    <a:pt x="819" y="136"/>
                    <a:pt x="817" y="135"/>
                  </a:cubicBezTo>
                  <a:cubicBezTo>
                    <a:pt x="814" y="133"/>
                    <a:pt x="809" y="130"/>
                    <a:pt x="805" y="130"/>
                  </a:cubicBezTo>
                  <a:cubicBezTo>
                    <a:pt x="803" y="130"/>
                    <a:pt x="800" y="132"/>
                    <a:pt x="798" y="133"/>
                  </a:cubicBezTo>
                  <a:cubicBezTo>
                    <a:pt x="793" y="135"/>
                    <a:pt x="788" y="136"/>
                    <a:pt x="783" y="137"/>
                  </a:cubicBezTo>
                  <a:cubicBezTo>
                    <a:pt x="775" y="139"/>
                    <a:pt x="767" y="140"/>
                    <a:pt x="759" y="142"/>
                  </a:cubicBezTo>
                  <a:cubicBezTo>
                    <a:pt x="756" y="143"/>
                    <a:pt x="755" y="143"/>
                    <a:pt x="753" y="146"/>
                  </a:cubicBezTo>
                  <a:cubicBezTo>
                    <a:pt x="752" y="147"/>
                    <a:pt x="751" y="149"/>
                    <a:pt x="750" y="151"/>
                  </a:cubicBezTo>
                  <a:cubicBezTo>
                    <a:pt x="748" y="152"/>
                    <a:pt x="747" y="153"/>
                    <a:pt x="745" y="155"/>
                  </a:cubicBezTo>
                  <a:cubicBezTo>
                    <a:pt x="740" y="161"/>
                    <a:pt x="757" y="151"/>
                    <a:pt x="753" y="158"/>
                  </a:cubicBezTo>
                  <a:cubicBezTo>
                    <a:pt x="759" y="158"/>
                    <a:pt x="766" y="161"/>
                    <a:pt x="772" y="161"/>
                  </a:cubicBezTo>
                  <a:cubicBezTo>
                    <a:pt x="770" y="159"/>
                    <a:pt x="767" y="159"/>
                    <a:pt x="767" y="155"/>
                  </a:cubicBezTo>
                  <a:cubicBezTo>
                    <a:pt x="767" y="153"/>
                    <a:pt x="772" y="153"/>
                    <a:pt x="774" y="154"/>
                  </a:cubicBezTo>
                  <a:cubicBezTo>
                    <a:pt x="776" y="154"/>
                    <a:pt x="777" y="156"/>
                    <a:pt x="779" y="156"/>
                  </a:cubicBezTo>
                  <a:cubicBezTo>
                    <a:pt x="783" y="157"/>
                    <a:pt x="784" y="156"/>
                    <a:pt x="786" y="154"/>
                  </a:cubicBezTo>
                  <a:cubicBezTo>
                    <a:pt x="788" y="153"/>
                    <a:pt x="790" y="151"/>
                    <a:pt x="792" y="152"/>
                  </a:cubicBezTo>
                  <a:cubicBezTo>
                    <a:pt x="794" y="152"/>
                    <a:pt x="795" y="155"/>
                    <a:pt x="797" y="156"/>
                  </a:cubicBezTo>
                  <a:cubicBezTo>
                    <a:pt x="795" y="154"/>
                    <a:pt x="798" y="153"/>
                    <a:pt x="798" y="152"/>
                  </a:cubicBezTo>
                  <a:cubicBezTo>
                    <a:pt x="798" y="151"/>
                    <a:pt x="796" y="149"/>
                    <a:pt x="797" y="148"/>
                  </a:cubicBezTo>
                  <a:cubicBezTo>
                    <a:pt x="797" y="146"/>
                    <a:pt x="799" y="146"/>
                    <a:pt x="801" y="145"/>
                  </a:cubicBezTo>
                  <a:cubicBezTo>
                    <a:pt x="806" y="144"/>
                    <a:pt x="812" y="141"/>
                    <a:pt x="817" y="142"/>
                  </a:cubicBezTo>
                  <a:cubicBezTo>
                    <a:pt x="817" y="142"/>
                    <a:pt x="815" y="145"/>
                    <a:pt x="815" y="145"/>
                  </a:cubicBezTo>
                  <a:cubicBezTo>
                    <a:pt x="815" y="146"/>
                    <a:pt x="816" y="147"/>
                    <a:pt x="816" y="148"/>
                  </a:cubicBezTo>
                  <a:cubicBezTo>
                    <a:pt x="816" y="151"/>
                    <a:pt x="805" y="152"/>
                    <a:pt x="803" y="152"/>
                  </a:cubicBezTo>
                  <a:cubicBezTo>
                    <a:pt x="799" y="154"/>
                    <a:pt x="799" y="154"/>
                    <a:pt x="799" y="158"/>
                  </a:cubicBezTo>
                  <a:cubicBezTo>
                    <a:pt x="798" y="163"/>
                    <a:pt x="798" y="158"/>
                    <a:pt x="794" y="158"/>
                  </a:cubicBezTo>
                  <a:cubicBezTo>
                    <a:pt x="793" y="158"/>
                    <a:pt x="790" y="158"/>
                    <a:pt x="791" y="160"/>
                  </a:cubicBezTo>
                  <a:cubicBezTo>
                    <a:pt x="785" y="162"/>
                    <a:pt x="778" y="164"/>
                    <a:pt x="772" y="167"/>
                  </a:cubicBezTo>
                  <a:cubicBezTo>
                    <a:pt x="766" y="169"/>
                    <a:pt x="768" y="168"/>
                    <a:pt x="766" y="164"/>
                  </a:cubicBezTo>
                  <a:cubicBezTo>
                    <a:pt x="766" y="164"/>
                    <a:pt x="765" y="166"/>
                    <a:pt x="765" y="166"/>
                  </a:cubicBezTo>
                  <a:cubicBezTo>
                    <a:pt x="765" y="167"/>
                    <a:pt x="765" y="167"/>
                    <a:pt x="765" y="167"/>
                  </a:cubicBezTo>
                  <a:cubicBezTo>
                    <a:pt x="765" y="167"/>
                    <a:pt x="766" y="168"/>
                    <a:pt x="766" y="168"/>
                  </a:cubicBezTo>
                  <a:cubicBezTo>
                    <a:pt x="768" y="169"/>
                    <a:pt x="772" y="169"/>
                    <a:pt x="770" y="171"/>
                  </a:cubicBezTo>
                  <a:cubicBezTo>
                    <a:pt x="768" y="174"/>
                    <a:pt x="763" y="173"/>
                    <a:pt x="763" y="177"/>
                  </a:cubicBezTo>
                  <a:cubicBezTo>
                    <a:pt x="762" y="177"/>
                    <a:pt x="762" y="177"/>
                    <a:pt x="761" y="178"/>
                  </a:cubicBezTo>
                  <a:cubicBezTo>
                    <a:pt x="761" y="178"/>
                    <a:pt x="760" y="178"/>
                    <a:pt x="760" y="178"/>
                  </a:cubicBezTo>
                  <a:cubicBezTo>
                    <a:pt x="760" y="179"/>
                    <a:pt x="762" y="181"/>
                    <a:pt x="763" y="182"/>
                  </a:cubicBezTo>
                  <a:cubicBezTo>
                    <a:pt x="763" y="182"/>
                    <a:pt x="764" y="182"/>
                    <a:pt x="764" y="182"/>
                  </a:cubicBezTo>
                  <a:cubicBezTo>
                    <a:pt x="764" y="182"/>
                    <a:pt x="765" y="182"/>
                    <a:pt x="765" y="181"/>
                  </a:cubicBezTo>
                  <a:cubicBezTo>
                    <a:pt x="765" y="181"/>
                    <a:pt x="765" y="181"/>
                    <a:pt x="765" y="181"/>
                  </a:cubicBezTo>
                  <a:cubicBezTo>
                    <a:pt x="767" y="183"/>
                    <a:pt x="769" y="184"/>
                    <a:pt x="770" y="185"/>
                  </a:cubicBezTo>
                  <a:cubicBezTo>
                    <a:pt x="773" y="188"/>
                    <a:pt x="773" y="187"/>
                    <a:pt x="771" y="189"/>
                  </a:cubicBezTo>
                  <a:cubicBezTo>
                    <a:pt x="770" y="192"/>
                    <a:pt x="769" y="189"/>
                    <a:pt x="770" y="192"/>
                  </a:cubicBezTo>
                  <a:cubicBezTo>
                    <a:pt x="770" y="192"/>
                    <a:pt x="771" y="193"/>
                    <a:pt x="772" y="194"/>
                  </a:cubicBezTo>
                  <a:cubicBezTo>
                    <a:pt x="773" y="195"/>
                    <a:pt x="773" y="197"/>
                    <a:pt x="774" y="199"/>
                  </a:cubicBezTo>
                  <a:cubicBezTo>
                    <a:pt x="775" y="201"/>
                    <a:pt x="779" y="202"/>
                    <a:pt x="781" y="202"/>
                  </a:cubicBezTo>
                  <a:cubicBezTo>
                    <a:pt x="780" y="203"/>
                    <a:pt x="778" y="204"/>
                    <a:pt x="777" y="205"/>
                  </a:cubicBezTo>
                  <a:cubicBezTo>
                    <a:pt x="777" y="206"/>
                    <a:pt x="778" y="206"/>
                    <a:pt x="779" y="207"/>
                  </a:cubicBezTo>
                  <a:cubicBezTo>
                    <a:pt x="781" y="208"/>
                    <a:pt x="783" y="211"/>
                    <a:pt x="783" y="214"/>
                  </a:cubicBezTo>
                  <a:cubicBezTo>
                    <a:pt x="781" y="211"/>
                    <a:pt x="779" y="209"/>
                    <a:pt x="776" y="208"/>
                  </a:cubicBezTo>
                  <a:cubicBezTo>
                    <a:pt x="777" y="210"/>
                    <a:pt x="777" y="213"/>
                    <a:pt x="776" y="214"/>
                  </a:cubicBezTo>
                  <a:cubicBezTo>
                    <a:pt x="775" y="214"/>
                    <a:pt x="774" y="214"/>
                    <a:pt x="773" y="213"/>
                  </a:cubicBezTo>
                  <a:cubicBezTo>
                    <a:pt x="773" y="213"/>
                    <a:pt x="774" y="212"/>
                    <a:pt x="772" y="211"/>
                  </a:cubicBezTo>
                  <a:cubicBezTo>
                    <a:pt x="773" y="210"/>
                    <a:pt x="775" y="211"/>
                    <a:pt x="774" y="209"/>
                  </a:cubicBezTo>
                  <a:cubicBezTo>
                    <a:pt x="774" y="207"/>
                    <a:pt x="772" y="205"/>
                    <a:pt x="771" y="204"/>
                  </a:cubicBezTo>
                  <a:cubicBezTo>
                    <a:pt x="771" y="206"/>
                    <a:pt x="769" y="206"/>
                    <a:pt x="768" y="208"/>
                  </a:cubicBezTo>
                  <a:cubicBezTo>
                    <a:pt x="768" y="209"/>
                    <a:pt x="769" y="210"/>
                    <a:pt x="769" y="211"/>
                  </a:cubicBezTo>
                  <a:cubicBezTo>
                    <a:pt x="769" y="212"/>
                    <a:pt x="770" y="214"/>
                    <a:pt x="769" y="215"/>
                  </a:cubicBezTo>
                  <a:cubicBezTo>
                    <a:pt x="767" y="217"/>
                    <a:pt x="768" y="216"/>
                    <a:pt x="770" y="218"/>
                  </a:cubicBezTo>
                  <a:cubicBezTo>
                    <a:pt x="771" y="219"/>
                    <a:pt x="772" y="220"/>
                    <a:pt x="772" y="221"/>
                  </a:cubicBezTo>
                  <a:cubicBezTo>
                    <a:pt x="773" y="222"/>
                    <a:pt x="774" y="223"/>
                    <a:pt x="775" y="224"/>
                  </a:cubicBezTo>
                  <a:cubicBezTo>
                    <a:pt x="777" y="226"/>
                    <a:pt x="780" y="229"/>
                    <a:pt x="780" y="232"/>
                  </a:cubicBezTo>
                  <a:cubicBezTo>
                    <a:pt x="778" y="231"/>
                    <a:pt x="777" y="228"/>
                    <a:pt x="775" y="227"/>
                  </a:cubicBezTo>
                  <a:cubicBezTo>
                    <a:pt x="773" y="225"/>
                    <a:pt x="771" y="224"/>
                    <a:pt x="770" y="222"/>
                  </a:cubicBezTo>
                  <a:cubicBezTo>
                    <a:pt x="769" y="221"/>
                    <a:pt x="770" y="220"/>
                    <a:pt x="767" y="220"/>
                  </a:cubicBezTo>
                  <a:cubicBezTo>
                    <a:pt x="766" y="220"/>
                    <a:pt x="765" y="219"/>
                    <a:pt x="764" y="218"/>
                  </a:cubicBezTo>
                  <a:cubicBezTo>
                    <a:pt x="764" y="216"/>
                    <a:pt x="765" y="216"/>
                    <a:pt x="763" y="214"/>
                  </a:cubicBezTo>
                  <a:cubicBezTo>
                    <a:pt x="762" y="213"/>
                    <a:pt x="759" y="214"/>
                    <a:pt x="758" y="213"/>
                  </a:cubicBezTo>
                  <a:cubicBezTo>
                    <a:pt x="763" y="212"/>
                    <a:pt x="759" y="209"/>
                    <a:pt x="757" y="208"/>
                  </a:cubicBezTo>
                  <a:cubicBezTo>
                    <a:pt x="756" y="207"/>
                    <a:pt x="755" y="206"/>
                    <a:pt x="753" y="206"/>
                  </a:cubicBezTo>
                  <a:cubicBezTo>
                    <a:pt x="752" y="205"/>
                    <a:pt x="751" y="206"/>
                    <a:pt x="750" y="205"/>
                  </a:cubicBezTo>
                  <a:cubicBezTo>
                    <a:pt x="750" y="204"/>
                    <a:pt x="749" y="202"/>
                    <a:pt x="749" y="201"/>
                  </a:cubicBezTo>
                  <a:cubicBezTo>
                    <a:pt x="752" y="203"/>
                    <a:pt x="754" y="205"/>
                    <a:pt x="757" y="206"/>
                  </a:cubicBezTo>
                  <a:cubicBezTo>
                    <a:pt x="759" y="206"/>
                    <a:pt x="761" y="205"/>
                    <a:pt x="763" y="205"/>
                  </a:cubicBezTo>
                  <a:cubicBezTo>
                    <a:pt x="766" y="205"/>
                    <a:pt x="765" y="205"/>
                    <a:pt x="765" y="203"/>
                  </a:cubicBezTo>
                  <a:cubicBezTo>
                    <a:pt x="766" y="200"/>
                    <a:pt x="764" y="196"/>
                    <a:pt x="761" y="195"/>
                  </a:cubicBezTo>
                  <a:cubicBezTo>
                    <a:pt x="758" y="193"/>
                    <a:pt x="753" y="194"/>
                    <a:pt x="751" y="192"/>
                  </a:cubicBezTo>
                  <a:cubicBezTo>
                    <a:pt x="750" y="190"/>
                    <a:pt x="751" y="188"/>
                    <a:pt x="750" y="187"/>
                  </a:cubicBezTo>
                  <a:cubicBezTo>
                    <a:pt x="749" y="184"/>
                    <a:pt x="747" y="181"/>
                    <a:pt x="746" y="185"/>
                  </a:cubicBezTo>
                  <a:cubicBezTo>
                    <a:pt x="745" y="188"/>
                    <a:pt x="746" y="190"/>
                    <a:pt x="744" y="193"/>
                  </a:cubicBezTo>
                  <a:cubicBezTo>
                    <a:pt x="743" y="190"/>
                    <a:pt x="739" y="191"/>
                    <a:pt x="739" y="189"/>
                  </a:cubicBezTo>
                  <a:cubicBezTo>
                    <a:pt x="739" y="187"/>
                    <a:pt x="741" y="188"/>
                    <a:pt x="741" y="186"/>
                  </a:cubicBezTo>
                  <a:cubicBezTo>
                    <a:pt x="741" y="185"/>
                    <a:pt x="740" y="185"/>
                    <a:pt x="740" y="184"/>
                  </a:cubicBezTo>
                  <a:cubicBezTo>
                    <a:pt x="740" y="182"/>
                    <a:pt x="740" y="180"/>
                    <a:pt x="738" y="179"/>
                  </a:cubicBezTo>
                  <a:cubicBezTo>
                    <a:pt x="736" y="178"/>
                    <a:pt x="731" y="179"/>
                    <a:pt x="728" y="180"/>
                  </a:cubicBezTo>
                  <a:cubicBezTo>
                    <a:pt x="726" y="180"/>
                    <a:pt x="725" y="179"/>
                    <a:pt x="723" y="179"/>
                  </a:cubicBezTo>
                  <a:cubicBezTo>
                    <a:pt x="724" y="179"/>
                    <a:pt x="724" y="178"/>
                    <a:pt x="725" y="178"/>
                  </a:cubicBezTo>
                  <a:cubicBezTo>
                    <a:pt x="722" y="176"/>
                    <a:pt x="724" y="176"/>
                    <a:pt x="722" y="174"/>
                  </a:cubicBezTo>
                  <a:cubicBezTo>
                    <a:pt x="720" y="173"/>
                    <a:pt x="714" y="174"/>
                    <a:pt x="712" y="175"/>
                  </a:cubicBezTo>
                  <a:cubicBezTo>
                    <a:pt x="693" y="176"/>
                    <a:pt x="675" y="178"/>
                    <a:pt x="657" y="180"/>
                  </a:cubicBezTo>
                  <a:cubicBezTo>
                    <a:pt x="647" y="181"/>
                    <a:pt x="638" y="180"/>
                    <a:pt x="628" y="180"/>
                  </a:cubicBezTo>
                  <a:cubicBezTo>
                    <a:pt x="621" y="180"/>
                    <a:pt x="615" y="177"/>
                    <a:pt x="608" y="176"/>
                  </a:cubicBezTo>
                  <a:cubicBezTo>
                    <a:pt x="604" y="176"/>
                    <a:pt x="600" y="176"/>
                    <a:pt x="596" y="175"/>
                  </a:cubicBezTo>
                  <a:cubicBezTo>
                    <a:pt x="596" y="174"/>
                    <a:pt x="595" y="173"/>
                    <a:pt x="594" y="173"/>
                  </a:cubicBezTo>
                  <a:cubicBezTo>
                    <a:pt x="593" y="172"/>
                    <a:pt x="591" y="173"/>
                    <a:pt x="589" y="172"/>
                  </a:cubicBezTo>
                  <a:cubicBezTo>
                    <a:pt x="586" y="170"/>
                    <a:pt x="590" y="170"/>
                    <a:pt x="592" y="169"/>
                  </a:cubicBezTo>
                  <a:cubicBezTo>
                    <a:pt x="594" y="169"/>
                    <a:pt x="596" y="168"/>
                    <a:pt x="598" y="167"/>
                  </a:cubicBezTo>
                  <a:cubicBezTo>
                    <a:pt x="596" y="166"/>
                    <a:pt x="594" y="165"/>
                    <a:pt x="596" y="163"/>
                  </a:cubicBezTo>
                  <a:cubicBezTo>
                    <a:pt x="597" y="161"/>
                    <a:pt x="600" y="162"/>
                    <a:pt x="602" y="162"/>
                  </a:cubicBezTo>
                  <a:cubicBezTo>
                    <a:pt x="604" y="161"/>
                    <a:pt x="604" y="160"/>
                    <a:pt x="606" y="160"/>
                  </a:cubicBezTo>
                  <a:cubicBezTo>
                    <a:pt x="606" y="160"/>
                    <a:pt x="605" y="159"/>
                    <a:pt x="605" y="159"/>
                  </a:cubicBezTo>
                  <a:cubicBezTo>
                    <a:pt x="610" y="158"/>
                    <a:pt x="615" y="158"/>
                    <a:pt x="621" y="158"/>
                  </a:cubicBezTo>
                  <a:cubicBezTo>
                    <a:pt x="624" y="158"/>
                    <a:pt x="622" y="157"/>
                    <a:pt x="623" y="154"/>
                  </a:cubicBezTo>
                  <a:cubicBezTo>
                    <a:pt x="623" y="154"/>
                    <a:pt x="625" y="153"/>
                    <a:pt x="625" y="152"/>
                  </a:cubicBezTo>
                  <a:cubicBezTo>
                    <a:pt x="625" y="151"/>
                    <a:pt x="622" y="152"/>
                    <a:pt x="621" y="151"/>
                  </a:cubicBezTo>
                  <a:cubicBezTo>
                    <a:pt x="621" y="150"/>
                    <a:pt x="622" y="150"/>
                    <a:pt x="622" y="149"/>
                  </a:cubicBezTo>
                  <a:cubicBezTo>
                    <a:pt x="622" y="147"/>
                    <a:pt x="621" y="147"/>
                    <a:pt x="620" y="146"/>
                  </a:cubicBezTo>
                  <a:cubicBezTo>
                    <a:pt x="619" y="145"/>
                    <a:pt x="619" y="145"/>
                    <a:pt x="618" y="144"/>
                  </a:cubicBezTo>
                  <a:cubicBezTo>
                    <a:pt x="617" y="144"/>
                    <a:pt x="615" y="144"/>
                    <a:pt x="615" y="143"/>
                  </a:cubicBezTo>
                  <a:cubicBezTo>
                    <a:pt x="613" y="141"/>
                    <a:pt x="614" y="140"/>
                    <a:pt x="611" y="139"/>
                  </a:cubicBezTo>
                  <a:cubicBezTo>
                    <a:pt x="610" y="138"/>
                    <a:pt x="609" y="138"/>
                    <a:pt x="608" y="138"/>
                  </a:cubicBezTo>
                  <a:cubicBezTo>
                    <a:pt x="606" y="137"/>
                    <a:pt x="606" y="136"/>
                    <a:pt x="605" y="136"/>
                  </a:cubicBezTo>
                  <a:cubicBezTo>
                    <a:pt x="603" y="134"/>
                    <a:pt x="601" y="134"/>
                    <a:pt x="598" y="133"/>
                  </a:cubicBezTo>
                  <a:cubicBezTo>
                    <a:pt x="592" y="131"/>
                    <a:pt x="585" y="127"/>
                    <a:pt x="578" y="127"/>
                  </a:cubicBezTo>
                  <a:cubicBezTo>
                    <a:pt x="576" y="127"/>
                    <a:pt x="569" y="127"/>
                    <a:pt x="570" y="130"/>
                  </a:cubicBezTo>
                  <a:cubicBezTo>
                    <a:pt x="571" y="130"/>
                    <a:pt x="573" y="131"/>
                    <a:pt x="573" y="131"/>
                  </a:cubicBezTo>
                  <a:cubicBezTo>
                    <a:pt x="575" y="132"/>
                    <a:pt x="577" y="133"/>
                    <a:pt x="578" y="135"/>
                  </a:cubicBezTo>
                  <a:cubicBezTo>
                    <a:pt x="572" y="134"/>
                    <a:pt x="566" y="133"/>
                    <a:pt x="560" y="132"/>
                  </a:cubicBezTo>
                  <a:cubicBezTo>
                    <a:pt x="556" y="132"/>
                    <a:pt x="552" y="132"/>
                    <a:pt x="548" y="131"/>
                  </a:cubicBezTo>
                  <a:cubicBezTo>
                    <a:pt x="545" y="129"/>
                    <a:pt x="543" y="129"/>
                    <a:pt x="541" y="128"/>
                  </a:cubicBezTo>
                  <a:cubicBezTo>
                    <a:pt x="535" y="128"/>
                    <a:pt x="532" y="127"/>
                    <a:pt x="527" y="125"/>
                  </a:cubicBezTo>
                  <a:cubicBezTo>
                    <a:pt x="525" y="124"/>
                    <a:pt x="522" y="123"/>
                    <a:pt x="520" y="122"/>
                  </a:cubicBezTo>
                  <a:cubicBezTo>
                    <a:pt x="518" y="121"/>
                    <a:pt x="517" y="119"/>
                    <a:pt x="515" y="118"/>
                  </a:cubicBezTo>
                  <a:cubicBezTo>
                    <a:pt x="512" y="116"/>
                    <a:pt x="507" y="116"/>
                    <a:pt x="504" y="116"/>
                  </a:cubicBezTo>
                  <a:cubicBezTo>
                    <a:pt x="497" y="115"/>
                    <a:pt x="491" y="114"/>
                    <a:pt x="484" y="113"/>
                  </a:cubicBezTo>
                  <a:cubicBezTo>
                    <a:pt x="484" y="113"/>
                    <a:pt x="484" y="113"/>
                    <a:pt x="484" y="114"/>
                  </a:cubicBezTo>
                  <a:cubicBezTo>
                    <a:pt x="485" y="116"/>
                    <a:pt x="484" y="121"/>
                    <a:pt x="484" y="122"/>
                  </a:cubicBezTo>
                  <a:cubicBezTo>
                    <a:pt x="484" y="119"/>
                    <a:pt x="484" y="117"/>
                    <a:pt x="484" y="114"/>
                  </a:cubicBezTo>
                  <a:cubicBezTo>
                    <a:pt x="484" y="113"/>
                    <a:pt x="484" y="113"/>
                    <a:pt x="484" y="113"/>
                  </a:cubicBezTo>
                  <a:cubicBezTo>
                    <a:pt x="478" y="109"/>
                    <a:pt x="472" y="106"/>
                    <a:pt x="465" y="103"/>
                  </a:cubicBezTo>
                  <a:cubicBezTo>
                    <a:pt x="459" y="100"/>
                    <a:pt x="453" y="96"/>
                    <a:pt x="447" y="95"/>
                  </a:cubicBezTo>
                  <a:cubicBezTo>
                    <a:pt x="443" y="94"/>
                    <a:pt x="439" y="94"/>
                    <a:pt x="434" y="94"/>
                  </a:cubicBezTo>
                  <a:cubicBezTo>
                    <a:pt x="429" y="94"/>
                    <a:pt x="420" y="91"/>
                    <a:pt x="415" y="94"/>
                  </a:cubicBezTo>
                  <a:cubicBezTo>
                    <a:pt x="414" y="94"/>
                    <a:pt x="412" y="95"/>
                    <a:pt x="412" y="95"/>
                  </a:cubicBezTo>
                  <a:cubicBezTo>
                    <a:pt x="412" y="96"/>
                    <a:pt x="412" y="97"/>
                    <a:pt x="412" y="98"/>
                  </a:cubicBezTo>
                  <a:cubicBezTo>
                    <a:pt x="412" y="99"/>
                    <a:pt x="412" y="100"/>
                    <a:pt x="412" y="100"/>
                  </a:cubicBezTo>
                  <a:cubicBezTo>
                    <a:pt x="412" y="101"/>
                    <a:pt x="411" y="101"/>
                    <a:pt x="411" y="102"/>
                  </a:cubicBezTo>
                  <a:cubicBezTo>
                    <a:pt x="411" y="102"/>
                    <a:pt x="412" y="103"/>
                    <a:pt x="412" y="103"/>
                  </a:cubicBezTo>
                  <a:cubicBezTo>
                    <a:pt x="411" y="107"/>
                    <a:pt x="408" y="107"/>
                    <a:pt x="403" y="108"/>
                  </a:cubicBezTo>
                  <a:cubicBezTo>
                    <a:pt x="397" y="110"/>
                    <a:pt x="388" y="114"/>
                    <a:pt x="382" y="112"/>
                  </a:cubicBezTo>
                  <a:cubicBezTo>
                    <a:pt x="381" y="112"/>
                    <a:pt x="380" y="112"/>
                    <a:pt x="380" y="111"/>
                  </a:cubicBezTo>
                  <a:cubicBezTo>
                    <a:pt x="380" y="110"/>
                    <a:pt x="381" y="111"/>
                    <a:pt x="381" y="110"/>
                  </a:cubicBezTo>
                  <a:cubicBezTo>
                    <a:pt x="381" y="111"/>
                    <a:pt x="382" y="109"/>
                    <a:pt x="382" y="109"/>
                  </a:cubicBezTo>
                  <a:cubicBezTo>
                    <a:pt x="382" y="109"/>
                    <a:pt x="382" y="107"/>
                    <a:pt x="383" y="107"/>
                  </a:cubicBezTo>
                  <a:cubicBezTo>
                    <a:pt x="384" y="106"/>
                    <a:pt x="385" y="106"/>
                    <a:pt x="386" y="105"/>
                  </a:cubicBezTo>
                  <a:cubicBezTo>
                    <a:pt x="388" y="103"/>
                    <a:pt x="387" y="101"/>
                    <a:pt x="389" y="100"/>
                  </a:cubicBezTo>
                  <a:cubicBezTo>
                    <a:pt x="387" y="99"/>
                    <a:pt x="381" y="99"/>
                    <a:pt x="380" y="96"/>
                  </a:cubicBezTo>
                  <a:cubicBezTo>
                    <a:pt x="380" y="95"/>
                    <a:pt x="381" y="94"/>
                    <a:pt x="382" y="92"/>
                  </a:cubicBezTo>
                  <a:cubicBezTo>
                    <a:pt x="379" y="89"/>
                    <a:pt x="381" y="89"/>
                    <a:pt x="382" y="85"/>
                  </a:cubicBezTo>
                  <a:cubicBezTo>
                    <a:pt x="382" y="83"/>
                    <a:pt x="383" y="81"/>
                    <a:pt x="382" y="80"/>
                  </a:cubicBezTo>
                  <a:cubicBezTo>
                    <a:pt x="381" y="79"/>
                    <a:pt x="378" y="80"/>
                    <a:pt x="376" y="79"/>
                  </a:cubicBezTo>
                  <a:cubicBezTo>
                    <a:pt x="377" y="79"/>
                    <a:pt x="378" y="78"/>
                    <a:pt x="379" y="78"/>
                  </a:cubicBezTo>
                  <a:cubicBezTo>
                    <a:pt x="378" y="78"/>
                    <a:pt x="375" y="77"/>
                    <a:pt x="375" y="78"/>
                  </a:cubicBezTo>
                  <a:cubicBezTo>
                    <a:pt x="373" y="79"/>
                    <a:pt x="375" y="78"/>
                    <a:pt x="375" y="79"/>
                  </a:cubicBezTo>
                  <a:cubicBezTo>
                    <a:pt x="375" y="80"/>
                    <a:pt x="374" y="81"/>
                    <a:pt x="375" y="81"/>
                  </a:cubicBezTo>
                  <a:cubicBezTo>
                    <a:pt x="376" y="82"/>
                    <a:pt x="377" y="81"/>
                    <a:pt x="379" y="82"/>
                  </a:cubicBezTo>
                  <a:cubicBezTo>
                    <a:pt x="375" y="83"/>
                    <a:pt x="371" y="84"/>
                    <a:pt x="368" y="85"/>
                  </a:cubicBezTo>
                  <a:cubicBezTo>
                    <a:pt x="366" y="85"/>
                    <a:pt x="365" y="86"/>
                    <a:pt x="364" y="87"/>
                  </a:cubicBezTo>
                  <a:cubicBezTo>
                    <a:pt x="364" y="87"/>
                    <a:pt x="364" y="89"/>
                    <a:pt x="364" y="89"/>
                  </a:cubicBezTo>
                  <a:cubicBezTo>
                    <a:pt x="364" y="89"/>
                    <a:pt x="367" y="87"/>
                    <a:pt x="368" y="86"/>
                  </a:cubicBezTo>
                  <a:cubicBezTo>
                    <a:pt x="369" y="86"/>
                    <a:pt x="370" y="86"/>
                    <a:pt x="372" y="86"/>
                  </a:cubicBezTo>
                  <a:cubicBezTo>
                    <a:pt x="370" y="88"/>
                    <a:pt x="360" y="94"/>
                    <a:pt x="364" y="96"/>
                  </a:cubicBezTo>
                  <a:cubicBezTo>
                    <a:pt x="364" y="96"/>
                    <a:pt x="367" y="96"/>
                    <a:pt x="368" y="96"/>
                  </a:cubicBezTo>
                  <a:cubicBezTo>
                    <a:pt x="370" y="97"/>
                    <a:pt x="370" y="99"/>
                    <a:pt x="370" y="101"/>
                  </a:cubicBezTo>
                  <a:cubicBezTo>
                    <a:pt x="370" y="96"/>
                    <a:pt x="358" y="98"/>
                    <a:pt x="359" y="102"/>
                  </a:cubicBezTo>
                  <a:cubicBezTo>
                    <a:pt x="359" y="103"/>
                    <a:pt x="363" y="103"/>
                    <a:pt x="362" y="104"/>
                  </a:cubicBezTo>
                  <a:cubicBezTo>
                    <a:pt x="361" y="106"/>
                    <a:pt x="364" y="106"/>
                    <a:pt x="365" y="107"/>
                  </a:cubicBezTo>
                  <a:cubicBezTo>
                    <a:pt x="362" y="106"/>
                    <a:pt x="355" y="107"/>
                    <a:pt x="354" y="110"/>
                  </a:cubicBezTo>
                  <a:cubicBezTo>
                    <a:pt x="356" y="109"/>
                    <a:pt x="359" y="108"/>
                    <a:pt x="361" y="108"/>
                  </a:cubicBezTo>
                  <a:cubicBezTo>
                    <a:pt x="366" y="109"/>
                    <a:pt x="361" y="115"/>
                    <a:pt x="357" y="114"/>
                  </a:cubicBezTo>
                  <a:cubicBezTo>
                    <a:pt x="352" y="112"/>
                    <a:pt x="347" y="110"/>
                    <a:pt x="342" y="107"/>
                  </a:cubicBezTo>
                  <a:cubicBezTo>
                    <a:pt x="337" y="104"/>
                    <a:pt x="327" y="96"/>
                    <a:pt x="327" y="90"/>
                  </a:cubicBezTo>
                  <a:cubicBezTo>
                    <a:pt x="326" y="89"/>
                    <a:pt x="327" y="89"/>
                    <a:pt x="327" y="87"/>
                  </a:cubicBezTo>
                  <a:cubicBezTo>
                    <a:pt x="327" y="87"/>
                    <a:pt x="325" y="87"/>
                    <a:pt x="325" y="86"/>
                  </a:cubicBezTo>
                  <a:cubicBezTo>
                    <a:pt x="324" y="84"/>
                    <a:pt x="322" y="82"/>
                    <a:pt x="322" y="81"/>
                  </a:cubicBezTo>
                  <a:cubicBezTo>
                    <a:pt x="316" y="72"/>
                    <a:pt x="308" y="67"/>
                    <a:pt x="299" y="62"/>
                  </a:cubicBezTo>
                  <a:cubicBezTo>
                    <a:pt x="298" y="63"/>
                    <a:pt x="294" y="69"/>
                    <a:pt x="295" y="70"/>
                  </a:cubicBezTo>
                  <a:cubicBezTo>
                    <a:pt x="296" y="71"/>
                    <a:pt x="300" y="70"/>
                    <a:pt x="301" y="70"/>
                  </a:cubicBezTo>
                  <a:cubicBezTo>
                    <a:pt x="300" y="73"/>
                    <a:pt x="296" y="73"/>
                    <a:pt x="300" y="75"/>
                  </a:cubicBezTo>
                  <a:cubicBezTo>
                    <a:pt x="303" y="76"/>
                    <a:pt x="306" y="76"/>
                    <a:pt x="309" y="77"/>
                  </a:cubicBezTo>
                  <a:cubicBezTo>
                    <a:pt x="308" y="76"/>
                    <a:pt x="304" y="77"/>
                    <a:pt x="303" y="78"/>
                  </a:cubicBezTo>
                  <a:cubicBezTo>
                    <a:pt x="301" y="78"/>
                    <a:pt x="298" y="78"/>
                    <a:pt x="296" y="79"/>
                  </a:cubicBezTo>
                  <a:cubicBezTo>
                    <a:pt x="294" y="79"/>
                    <a:pt x="290" y="81"/>
                    <a:pt x="291" y="84"/>
                  </a:cubicBezTo>
                  <a:cubicBezTo>
                    <a:pt x="291" y="88"/>
                    <a:pt x="291" y="88"/>
                    <a:pt x="288" y="90"/>
                  </a:cubicBezTo>
                  <a:cubicBezTo>
                    <a:pt x="285" y="92"/>
                    <a:pt x="282" y="94"/>
                    <a:pt x="280" y="97"/>
                  </a:cubicBezTo>
                  <a:cubicBezTo>
                    <a:pt x="278" y="98"/>
                    <a:pt x="277" y="99"/>
                    <a:pt x="276" y="99"/>
                  </a:cubicBezTo>
                  <a:cubicBezTo>
                    <a:pt x="276" y="99"/>
                    <a:pt x="272" y="99"/>
                    <a:pt x="272" y="99"/>
                  </a:cubicBezTo>
                  <a:cubicBezTo>
                    <a:pt x="272" y="98"/>
                    <a:pt x="272" y="93"/>
                    <a:pt x="273" y="93"/>
                  </a:cubicBezTo>
                  <a:cubicBezTo>
                    <a:pt x="274" y="92"/>
                    <a:pt x="276" y="93"/>
                    <a:pt x="277" y="92"/>
                  </a:cubicBezTo>
                  <a:cubicBezTo>
                    <a:pt x="277" y="92"/>
                    <a:pt x="277" y="90"/>
                    <a:pt x="278" y="89"/>
                  </a:cubicBezTo>
                  <a:cubicBezTo>
                    <a:pt x="276" y="90"/>
                    <a:pt x="274" y="92"/>
                    <a:pt x="272" y="92"/>
                  </a:cubicBezTo>
                  <a:cubicBezTo>
                    <a:pt x="271" y="93"/>
                    <a:pt x="269" y="92"/>
                    <a:pt x="268" y="93"/>
                  </a:cubicBezTo>
                  <a:cubicBezTo>
                    <a:pt x="264" y="93"/>
                    <a:pt x="262" y="94"/>
                    <a:pt x="259" y="95"/>
                  </a:cubicBezTo>
                  <a:cubicBezTo>
                    <a:pt x="254" y="97"/>
                    <a:pt x="249" y="97"/>
                    <a:pt x="245" y="99"/>
                  </a:cubicBezTo>
                  <a:cubicBezTo>
                    <a:pt x="244" y="100"/>
                    <a:pt x="243" y="101"/>
                    <a:pt x="242" y="102"/>
                  </a:cubicBezTo>
                  <a:cubicBezTo>
                    <a:pt x="240" y="104"/>
                    <a:pt x="237" y="106"/>
                    <a:pt x="235" y="109"/>
                  </a:cubicBezTo>
                  <a:cubicBezTo>
                    <a:pt x="236" y="109"/>
                    <a:pt x="236" y="109"/>
                    <a:pt x="236" y="109"/>
                  </a:cubicBezTo>
                  <a:cubicBezTo>
                    <a:pt x="235" y="111"/>
                    <a:pt x="233" y="113"/>
                    <a:pt x="231" y="115"/>
                  </a:cubicBezTo>
                  <a:cubicBezTo>
                    <a:pt x="231" y="117"/>
                    <a:pt x="231" y="121"/>
                    <a:pt x="230" y="122"/>
                  </a:cubicBezTo>
                  <a:cubicBezTo>
                    <a:pt x="227" y="122"/>
                    <a:pt x="231" y="115"/>
                    <a:pt x="231" y="114"/>
                  </a:cubicBezTo>
                  <a:cubicBezTo>
                    <a:pt x="228" y="114"/>
                    <a:pt x="228" y="115"/>
                    <a:pt x="230" y="112"/>
                  </a:cubicBezTo>
                  <a:cubicBezTo>
                    <a:pt x="231" y="109"/>
                    <a:pt x="232" y="108"/>
                    <a:pt x="230" y="105"/>
                  </a:cubicBezTo>
                  <a:cubicBezTo>
                    <a:pt x="230" y="108"/>
                    <a:pt x="228" y="111"/>
                    <a:pt x="227" y="114"/>
                  </a:cubicBezTo>
                  <a:cubicBezTo>
                    <a:pt x="229" y="110"/>
                    <a:pt x="230" y="105"/>
                    <a:pt x="225" y="103"/>
                  </a:cubicBezTo>
                  <a:cubicBezTo>
                    <a:pt x="225" y="104"/>
                    <a:pt x="227" y="104"/>
                    <a:pt x="227" y="106"/>
                  </a:cubicBezTo>
                  <a:cubicBezTo>
                    <a:pt x="228" y="107"/>
                    <a:pt x="227" y="110"/>
                    <a:pt x="226" y="112"/>
                  </a:cubicBezTo>
                  <a:cubicBezTo>
                    <a:pt x="227" y="109"/>
                    <a:pt x="227" y="105"/>
                    <a:pt x="223" y="104"/>
                  </a:cubicBezTo>
                  <a:cubicBezTo>
                    <a:pt x="225" y="107"/>
                    <a:pt x="226" y="107"/>
                    <a:pt x="223" y="111"/>
                  </a:cubicBezTo>
                  <a:cubicBezTo>
                    <a:pt x="221" y="112"/>
                    <a:pt x="219" y="113"/>
                    <a:pt x="217" y="114"/>
                  </a:cubicBezTo>
                  <a:cubicBezTo>
                    <a:pt x="217" y="114"/>
                    <a:pt x="219" y="109"/>
                    <a:pt x="219" y="110"/>
                  </a:cubicBezTo>
                  <a:cubicBezTo>
                    <a:pt x="219" y="108"/>
                    <a:pt x="209" y="110"/>
                    <a:pt x="207" y="111"/>
                  </a:cubicBezTo>
                  <a:cubicBezTo>
                    <a:pt x="213" y="109"/>
                    <a:pt x="204" y="118"/>
                    <a:pt x="203" y="119"/>
                  </a:cubicBezTo>
                  <a:cubicBezTo>
                    <a:pt x="199" y="123"/>
                    <a:pt x="191" y="123"/>
                    <a:pt x="186" y="125"/>
                  </a:cubicBezTo>
                  <a:cubicBezTo>
                    <a:pt x="187" y="126"/>
                    <a:pt x="186" y="126"/>
                    <a:pt x="186" y="127"/>
                  </a:cubicBezTo>
                  <a:cubicBezTo>
                    <a:pt x="186" y="128"/>
                    <a:pt x="187" y="128"/>
                    <a:pt x="188" y="128"/>
                  </a:cubicBezTo>
                  <a:cubicBezTo>
                    <a:pt x="188" y="129"/>
                    <a:pt x="187" y="130"/>
                    <a:pt x="187" y="131"/>
                  </a:cubicBezTo>
                  <a:cubicBezTo>
                    <a:pt x="187" y="132"/>
                    <a:pt x="189" y="131"/>
                    <a:pt x="188" y="133"/>
                  </a:cubicBezTo>
                  <a:cubicBezTo>
                    <a:pt x="189" y="133"/>
                    <a:pt x="197" y="128"/>
                    <a:pt x="195" y="134"/>
                  </a:cubicBezTo>
                  <a:cubicBezTo>
                    <a:pt x="194" y="136"/>
                    <a:pt x="191" y="135"/>
                    <a:pt x="189" y="135"/>
                  </a:cubicBezTo>
                  <a:cubicBezTo>
                    <a:pt x="188" y="135"/>
                    <a:pt x="187" y="135"/>
                    <a:pt x="186" y="135"/>
                  </a:cubicBezTo>
                  <a:cubicBezTo>
                    <a:pt x="185" y="134"/>
                    <a:pt x="184" y="135"/>
                    <a:pt x="182" y="135"/>
                  </a:cubicBezTo>
                  <a:cubicBezTo>
                    <a:pt x="180" y="135"/>
                    <a:pt x="177" y="134"/>
                    <a:pt x="174" y="134"/>
                  </a:cubicBezTo>
                  <a:cubicBezTo>
                    <a:pt x="174" y="135"/>
                    <a:pt x="175" y="136"/>
                    <a:pt x="177" y="136"/>
                  </a:cubicBezTo>
                  <a:cubicBezTo>
                    <a:pt x="176" y="138"/>
                    <a:pt x="183" y="139"/>
                    <a:pt x="184" y="139"/>
                  </a:cubicBezTo>
                  <a:cubicBezTo>
                    <a:pt x="182" y="140"/>
                    <a:pt x="171" y="137"/>
                    <a:pt x="172" y="134"/>
                  </a:cubicBezTo>
                  <a:cubicBezTo>
                    <a:pt x="172" y="133"/>
                    <a:pt x="175" y="132"/>
                    <a:pt x="176" y="131"/>
                  </a:cubicBezTo>
                  <a:cubicBezTo>
                    <a:pt x="178" y="130"/>
                    <a:pt x="177" y="129"/>
                    <a:pt x="179" y="127"/>
                  </a:cubicBezTo>
                  <a:cubicBezTo>
                    <a:pt x="180" y="123"/>
                    <a:pt x="185" y="124"/>
                    <a:pt x="186" y="128"/>
                  </a:cubicBezTo>
                  <a:cubicBezTo>
                    <a:pt x="185" y="126"/>
                    <a:pt x="185" y="124"/>
                    <a:pt x="187" y="123"/>
                  </a:cubicBezTo>
                  <a:cubicBezTo>
                    <a:pt x="186" y="123"/>
                    <a:pt x="186" y="123"/>
                    <a:pt x="186" y="123"/>
                  </a:cubicBezTo>
                  <a:cubicBezTo>
                    <a:pt x="186" y="120"/>
                    <a:pt x="189" y="116"/>
                    <a:pt x="191" y="116"/>
                  </a:cubicBezTo>
                  <a:cubicBezTo>
                    <a:pt x="195" y="115"/>
                    <a:pt x="194" y="118"/>
                    <a:pt x="195" y="120"/>
                  </a:cubicBezTo>
                  <a:cubicBezTo>
                    <a:pt x="195" y="119"/>
                    <a:pt x="196" y="118"/>
                    <a:pt x="197" y="118"/>
                  </a:cubicBezTo>
                  <a:cubicBezTo>
                    <a:pt x="199" y="117"/>
                    <a:pt x="198" y="116"/>
                    <a:pt x="199" y="115"/>
                  </a:cubicBezTo>
                  <a:cubicBezTo>
                    <a:pt x="201" y="114"/>
                    <a:pt x="203" y="113"/>
                    <a:pt x="204" y="111"/>
                  </a:cubicBezTo>
                  <a:cubicBezTo>
                    <a:pt x="205" y="109"/>
                    <a:pt x="205" y="107"/>
                    <a:pt x="207" y="105"/>
                  </a:cubicBezTo>
                  <a:cubicBezTo>
                    <a:pt x="211" y="103"/>
                    <a:pt x="218" y="104"/>
                    <a:pt x="222" y="103"/>
                  </a:cubicBezTo>
                  <a:cubicBezTo>
                    <a:pt x="225" y="102"/>
                    <a:pt x="228" y="100"/>
                    <a:pt x="230" y="103"/>
                  </a:cubicBezTo>
                  <a:cubicBezTo>
                    <a:pt x="232" y="105"/>
                    <a:pt x="234" y="100"/>
                    <a:pt x="236" y="100"/>
                  </a:cubicBezTo>
                  <a:cubicBezTo>
                    <a:pt x="239" y="98"/>
                    <a:pt x="239" y="96"/>
                    <a:pt x="243" y="95"/>
                  </a:cubicBezTo>
                  <a:cubicBezTo>
                    <a:pt x="246" y="93"/>
                    <a:pt x="250" y="92"/>
                    <a:pt x="253" y="90"/>
                  </a:cubicBezTo>
                  <a:cubicBezTo>
                    <a:pt x="256" y="89"/>
                    <a:pt x="260" y="88"/>
                    <a:pt x="263" y="86"/>
                  </a:cubicBezTo>
                  <a:cubicBezTo>
                    <a:pt x="263" y="86"/>
                    <a:pt x="266" y="84"/>
                    <a:pt x="266" y="83"/>
                  </a:cubicBezTo>
                  <a:cubicBezTo>
                    <a:pt x="266" y="82"/>
                    <a:pt x="263" y="82"/>
                    <a:pt x="265" y="80"/>
                  </a:cubicBezTo>
                  <a:cubicBezTo>
                    <a:pt x="264" y="80"/>
                    <a:pt x="263" y="80"/>
                    <a:pt x="263" y="79"/>
                  </a:cubicBezTo>
                  <a:cubicBezTo>
                    <a:pt x="261" y="78"/>
                    <a:pt x="262" y="79"/>
                    <a:pt x="260" y="77"/>
                  </a:cubicBezTo>
                  <a:cubicBezTo>
                    <a:pt x="258" y="73"/>
                    <a:pt x="255" y="83"/>
                    <a:pt x="253" y="83"/>
                  </a:cubicBezTo>
                  <a:cubicBezTo>
                    <a:pt x="253" y="83"/>
                    <a:pt x="253" y="83"/>
                    <a:pt x="254" y="82"/>
                  </a:cubicBezTo>
                  <a:cubicBezTo>
                    <a:pt x="252" y="83"/>
                    <a:pt x="250" y="84"/>
                    <a:pt x="248" y="84"/>
                  </a:cubicBezTo>
                  <a:cubicBezTo>
                    <a:pt x="248" y="82"/>
                    <a:pt x="242" y="82"/>
                    <a:pt x="241" y="82"/>
                  </a:cubicBezTo>
                  <a:cubicBezTo>
                    <a:pt x="236" y="82"/>
                    <a:pt x="232" y="81"/>
                    <a:pt x="229" y="85"/>
                  </a:cubicBezTo>
                  <a:cubicBezTo>
                    <a:pt x="229" y="85"/>
                    <a:pt x="230" y="85"/>
                    <a:pt x="231" y="85"/>
                  </a:cubicBezTo>
                  <a:cubicBezTo>
                    <a:pt x="228" y="86"/>
                    <a:pt x="227" y="91"/>
                    <a:pt x="225" y="93"/>
                  </a:cubicBezTo>
                  <a:cubicBezTo>
                    <a:pt x="224" y="84"/>
                    <a:pt x="211" y="94"/>
                    <a:pt x="208" y="96"/>
                  </a:cubicBezTo>
                  <a:cubicBezTo>
                    <a:pt x="204" y="99"/>
                    <a:pt x="202" y="99"/>
                    <a:pt x="198" y="98"/>
                  </a:cubicBezTo>
                  <a:cubicBezTo>
                    <a:pt x="193" y="97"/>
                    <a:pt x="192" y="97"/>
                    <a:pt x="196" y="101"/>
                  </a:cubicBezTo>
                  <a:cubicBezTo>
                    <a:pt x="192" y="102"/>
                    <a:pt x="188" y="100"/>
                    <a:pt x="184" y="102"/>
                  </a:cubicBezTo>
                  <a:cubicBezTo>
                    <a:pt x="178" y="105"/>
                    <a:pt x="171" y="109"/>
                    <a:pt x="165" y="112"/>
                  </a:cubicBezTo>
                  <a:cubicBezTo>
                    <a:pt x="161" y="114"/>
                    <a:pt x="157" y="116"/>
                    <a:pt x="155" y="118"/>
                  </a:cubicBezTo>
                  <a:cubicBezTo>
                    <a:pt x="154" y="119"/>
                    <a:pt x="153" y="119"/>
                    <a:pt x="153" y="120"/>
                  </a:cubicBezTo>
                  <a:cubicBezTo>
                    <a:pt x="153" y="120"/>
                    <a:pt x="153" y="120"/>
                    <a:pt x="153" y="120"/>
                  </a:cubicBezTo>
                  <a:cubicBezTo>
                    <a:pt x="152" y="121"/>
                    <a:pt x="151" y="122"/>
                    <a:pt x="150" y="122"/>
                  </a:cubicBezTo>
                  <a:cubicBezTo>
                    <a:pt x="149" y="122"/>
                    <a:pt x="149" y="122"/>
                    <a:pt x="149" y="122"/>
                  </a:cubicBezTo>
                  <a:cubicBezTo>
                    <a:pt x="149" y="121"/>
                    <a:pt x="148" y="120"/>
                    <a:pt x="148" y="120"/>
                  </a:cubicBezTo>
                  <a:cubicBezTo>
                    <a:pt x="147" y="119"/>
                    <a:pt x="147" y="119"/>
                    <a:pt x="147" y="118"/>
                  </a:cubicBezTo>
                  <a:cubicBezTo>
                    <a:pt x="147" y="118"/>
                    <a:pt x="147" y="118"/>
                    <a:pt x="146" y="118"/>
                  </a:cubicBezTo>
                  <a:cubicBezTo>
                    <a:pt x="145" y="117"/>
                    <a:pt x="144" y="117"/>
                    <a:pt x="144" y="116"/>
                  </a:cubicBezTo>
                  <a:cubicBezTo>
                    <a:pt x="144" y="115"/>
                    <a:pt x="144" y="115"/>
                    <a:pt x="144" y="114"/>
                  </a:cubicBezTo>
                  <a:cubicBezTo>
                    <a:pt x="144" y="114"/>
                    <a:pt x="144" y="114"/>
                    <a:pt x="145" y="113"/>
                  </a:cubicBezTo>
                  <a:cubicBezTo>
                    <a:pt x="145" y="112"/>
                    <a:pt x="146" y="111"/>
                    <a:pt x="146" y="111"/>
                  </a:cubicBezTo>
                  <a:cubicBezTo>
                    <a:pt x="147" y="110"/>
                    <a:pt x="148" y="110"/>
                    <a:pt x="149" y="110"/>
                  </a:cubicBezTo>
                  <a:cubicBezTo>
                    <a:pt x="150" y="109"/>
                    <a:pt x="150" y="109"/>
                    <a:pt x="151" y="108"/>
                  </a:cubicBezTo>
                  <a:cubicBezTo>
                    <a:pt x="152" y="108"/>
                    <a:pt x="152" y="107"/>
                    <a:pt x="153" y="107"/>
                  </a:cubicBezTo>
                  <a:cubicBezTo>
                    <a:pt x="153" y="106"/>
                    <a:pt x="153" y="106"/>
                    <a:pt x="153" y="106"/>
                  </a:cubicBezTo>
                  <a:cubicBezTo>
                    <a:pt x="153" y="105"/>
                    <a:pt x="154" y="105"/>
                    <a:pt x="154" y="105"/>
                  </a:cubicBezTo>
                  <a:cubicBezTo>
                    <a:pt x="154" y="105"/>
                    <a:pt x="154" y="104"/>
                    <a:pt x="155" y="104"/>
                  </a:cubicBezTo>
                  <a:cubicBezTo>
                    <a:pt x="155" y="103"/>
                    <a:pt x="156" y="103"/>
                    <a:pt x="157" y="103"/>
                  </a:cubicBezTo>
                  <a:cubicBezTo>
                    <a:pt x="157" y="103"/>
                    <a:pt x="157" y="102"/>
                    <a:pt x="157" y="102"/>
                  </a:cubicBezTo>
                  <a:cubicBezTo>
                    <a:pt x="158" y="102"/>
                    <a:pt x="158" y="101"/>
                    <a:pt x="159" y="100"/>
                  </a:cubicBezTo>
                  <a:cubicBezTo>
                    <a:pt x="159" y="100"/>
                    <a:pt x="160" y="99"/>
                    <a:pt x="160" y="98"/>
                  </a:cubicBezTo>
                  <a:cubicBezTo>
                    <a:pt x="161" y="98"/>
                    <a:pt x="163" y="97"/>
                    <a:pt x="164" y="96"/>
                  </a:cubicBezTo>
                  <a:cubicBezTo>
                    <a:pt x="165" y="94"/>
                    <a:pt x="165" y="93"/>
                    <a:pt x="165" y="91"/>
                  </a:cubicBezTo>
                  <a:cubicBezTo>
                    <a:pt x="164" y="92"/>
                    <a:pt x="164" y="92"/>
                    <a:pt x="164" y="93"/>
                  </a:cubicBezTo>
                  <a:cubicBezTo>
                    <a:pt x="164" y="93"/>
                    <a:pt x="163" y="93"/>
                    <a:pt x="163" y="93"/>
                  </a:cubicBezTo>
                  <a:cubicBezTo>
                    <a:pt x="163" y="93"/>
                    <a:pt x="162" y="94"/>
                    <a:pt x="160" y="93"/>
                  </a:cubicBezTo>
                  <a:cubicBezTo>
                    <a:pt x="160" y="93"/>
                    <a:pt x="160" y="93"/>
                    <a:pt x="160" y="93"/>
                  </a:cubicBezTo>
                  <a:cubicBezTo>
                    <a:pt x="160" y="93"/>
                    <a:pt x="160" y="93"/>
                    <a:pt x="160" y="93"/>
                  </a:cubicBezTo>
                  <a:cubicBezTo>
                    <a:pt x="160" y="93"/>
                    <a:pt x="160" y="93"/>
                    <a:pt x="160" y="93"/>
                  </a:cubicBezTo>
                  <a:cubicBezTo>
                    <a:pt x="159" y="93"/>
                    <a:pt x="159" y="92"/>
                    <a:pt x="159" y="92"/>
                  </a:cubicBezTo>
                  <a:cubicBezTo>
                    <a:pt x="158" y="92"/>
                    <a:pt x="158" y="92"/>
                    <a:pt x="158" y="92"/>
                  </a:cubicBezTo>
                  <a:cubicBezTo>
                    <a:pt x="157" y="92"/>
                    <a:pt x="157" y="92"/>
                    <a:pt x="157" y="92"/>
                  </a:cubicBezTo>
                  <a:cubicBezTo>
                    <a:pt x="157" y="92"/>
                    <a:pt x="157" y="92"/>
                    <a:pt x="157" y="92"/>
                  </a:cubicBezTo>
                  <a:cubicBezTo>
                    <a:pt x="156" y="91"/>
                    <a:pt x="156" y="89"/>
                    <a:pt x="155" y="88"/>
                  </a:cubicBezTo>
                  <a:cubicBezTo>
                    <a:pt x="155" y="87"/>
                    <a:pt x="154" y="87"/>
                    <a:pt x="153" y="87"/>
                  </a:cubicBezTo>
                  <a:cubicBezTo>
                    <a:pt x="152" y="86"/>
                    <a:pt x="151" y="85"/>
                    <a:pt x="151" y="85"/>
                  </a:cubicBezTo>
                  <a:cubicBezTo>
                    <a:pt x="151" y="86"/>
                    <a:pt x="150" y="86"/>
                    <a:pt x="150" y="87"/>
                  </a:cubicBezTo>
                  <a:cubicBezTo>
                    <a:pt x="150" y="87"/>
                    <a:pt x="150" y="87"/>
                    <a:pt x="150" y="88"/>
                  </a:cubicBezTo>
                  <a:cubicBezTo>
                    <a:pt x="150" y="90"/>
                    <a:pt x="150" y="92"/>
                    <a:pt x="150" y="94"/>
                  </a:cubicBezTo>
                  <a:cubicBezTo>
                    <a:pt x="150" y="97"/>
                    <a:pt x="148" y="96"/>
                    <a:pt x="146" y="96"/>
                  </a:cubicBezTo>
                  <a:cubicBezTo>
                    <a:pt x="144" y="95"/>
                    <a:pt x="142" y="95"/>
                    <a:pt x="140" y="95"/>
                  </a:cubicBezTo>
                  <a:cubicBezTo>
                    <a:pt x="140" y="95"/>
                    <a:pt x="139" y="95"/>
                    <a:pt x="138" y="95"/>
                  </a:cubicBezTo>
                  <a:cubicBezTo>
                    <a:pt x="138" y="95"/>
                    <a:pt x="137" y="95"/>
                    <a:pt x="136" y="95"/>
                  </a:cubicBezTo>
                  <a:cubicBezTo>
                    <a:pt x="135" y="95"/>
                    <a:pt x="135" y="95"/>
                    <a:pt x="135" y="95"/>
                  </a:cubicBezTo>
                  <a:cubicBezTo>
                    <a:pt x="132" y="96"/>
                    <a:pt x="130" y="97"/>
                    <a:pt x="130" y="99"/>
                  </a:cubicBezTo>
                  <a:cubicBezTo>
                    <a:pt x="131" y="100"/>
                    <a:pt x="132" y="102"/>
                    <a:pt x="132" y="104"/>
                  </a:cubicBezTo>
                  <a:cubicBezTo>
                    <a:pt x="128" y="103"/>
                    <a:pt x="122" y="99"/>
                    <a:pt x="123" y="105"/>
                  </a:cubicBezTo>
                  <a:cubicBezTo>
                    <a:pt x="122" y="104"/>
                    <a:pt x="119" y="103"/>
                    <a:pt x="117" y="103"/>
                  </a:cubicBezTo>
                  <a:cubicBezTo>
                    <a:pt x="117" y="107"/>
                    <a:pt x="124" y="109"/>
                    <a:pt x="126" y="110"/>
                  </a:cubicBezTo>
                  <a:cubicBezTo>
                    <a:pt x="125" y="110"/>
                    <a:pt x="123" y="109"/>
                    <a:pt x="121" y="109"/>
                  </a:cubicBezTo>
                  <a:cubicBezTo>
                    <a:pt x="121" y="109"/>
                    <a:pt x="121" y="108"/>
                    <a:pt x="121" y="108"/>
                  </a:cubicBezTo>
                  <a:cubicBezTo>
                    <a:pt x="120" y="108"/>
                    <a:pt x="120" y="108"/>
                    <a:pt x="120" y="108"/>
                  </a:cubicBezTo>
                  <a:cubicBezTo>
                    <a:pt x="120" y="108"/>
                    <a:pt x="120" y="108"/>
                    <a:pt x="120" y="108"/>
                  </a:cubicBezTo>
                  <a:cubicBezTo>
                    <a:pt x="120" y="108"/>
                    <a:pt x="120" y="108"/>
                    <a:pt x="120" y="108"/>
                  </a:cubicBezTo>
                  <a:cubicBezTo>
                    <a:pt x="118" y="107"/>
                    <a:pt x="116" y="105"/>
                    <a:pt x="115" y="105"/>
                  </a:cubicBezTo>
                  <a:cubicBezTo>
                    <a:pt x="115" y="105"/>
                    <a:pt x="115" y="105"/>
                    <a:pt x="115" y="105"/>
                  </a:cubicBezTo>
                  <a:cubicBezTo>
                    <a:pt x="115" y="105"/>
                    <a:pt x="114" y="106"/>
                    <a:pt x="114" y="107"/>
                  </a:cubicBezTo>
                  <a:cubicBezTo>
                    <a:pt x="114" y="108"/>
                    <a:pt x="114" y="109"/>
                    <a:pt x="114" y="109"/>
                  </a:cubicBezTo>
                  <a:cubicBezTo>
                    <a:pt x="114" y="109"/>
                    <a:pt x="115" y="109"/>
                    <a:pt x="115" y="110"/>
                  </a:cubicBezTo>
                  <a:cubicBezTo>
                    <a:pt x="115" y="110"/>
                    <a:pt x="115" y="110"/>
                    <a:pt x="115" y="110"/>
                  </a:cubicBezTo>
                  <a:cubicBezTo>
                    <a:pt x="115" y="111"/>
                    <a:pt x="116" y="111"/>
                    <a:pt x="117" y="111"/>
                  </a:cubicBezTo>
                  <a:cubicBezTo>
                    <a:pt x="117" y="111"/>
                    <a:pt x="117" y="112"/>
                    <a:pt x="117" y="112"/>
                  </a:cubicBezTo>
                  <a:cubicBezTo>
                    <a:pt x="119" y="113"/>
                    <a:pt x="120" y="113"/>
                    <a:pt x="121" y="114"/>
                  </a:cubicBezTo>
                  <a:cubicBezTo>
                    <a:pt x="122" y="114"/>
                    <a:pt x="123" y="114"/>
                    <a:pt x="124" y="114"/>
                  </a:cubicBezTo>
                  <a:cubicBezTo>
                    <a:pt x="121" y="116"/>
                    <a:pt x="117" y="115"/>
                    <a:pt x="113" y="117"/>
                  </a:cubicBezTo>
                  <a:cubicBezTo>
                    <a:pt x="114" y="118"/>
                    <a:pt x="116" y="118"/>
                    <a:pt x="117" y="118"/>
                  </a:cubicBezTo>
                  <a:cubicBezTo>
                    <a:pt x="118" y="119"/>
                    <a:pt x="118" y="119"/>
                    <a:pt x="119" y="119"/>
                  </a:cubicBezTo>
                  <a:cubicBezTo>
                    <a:pt x="120" y="118"/>
                    <a:pt x="121" y="119"/>
                    <a:pt x="122" y="118"/>
                  </a:cubicBezTo>
                  <a:cubicBezTo>
                    <a:pt x="123" y="118"/>
                    <a:pt x="124" y="118"/>
                    <a:pt x="124" y="118"/>
                  </a:cubicBezTo>
                  <a:cubicBezTo>
                    <a:pt x="124" y="118"/>
                    <a:pt x="124" y="118"/>
                    <a:pt x="124" y="118"/>
                  </a:cubicBezTo>
                  <a:cubicBezTo>
                    <a:pt x="124" y="118"/>
                    <a:pt x="124" y="117"/>
                    <a:pt x="124" y="117"/>
                  </a:cubicBezTo>
                  <a:cubicBezTo>
                    <a:pt x="124" y="117"/>
                    <a:pt x="124" y="116"/>
                    <a:pt x="125" y="116"/>
                  </a:cubicBezTo>
                  <a:cubicBezTo>
                    <a:pt x="125" y="116"/>
                    <a:pt x="127" y="117"/>
                    <a:pt x="127" y="118"/>
                  </a:cubicBezTo>
                  <a:cubicBezTo>
                    <a:pt x="128" y="118"/>
                    <a:pt x="130" y="117"/>
                    <a:pt x="131" y="117"/>
                  </a:cubicBezTo>
                  <a:cubicBezTo>
                    <a:pt x="133" y="118"/>
                    <a:pt x="134" y="119"/>
                    <a:pt x="135" y="119"/>
                  </a:cubicBezTo>
                  <a:cubicBezTo>
                    <a:pt x="136" y="119"/>
                    <a:pt x="136" y="119"/>
                    <a:pt x="137" y="118"/>
                  </a:cubicBezTo>
                  <a:cubicBezTo>
                    <a:pt x="137" y="118"/>
                    <a:pt x="138" y="118"/>
                    <a:pt x="138" y="118"/>
                  </a:cubicBezTo>
                  <a:cubicBezTo>
                    <a:pt x="138" y="116"/>
                    <a:pt x="139" y="116"/>
                    <a:pt x="139" y="116"/>
                  </a:cubicBezTo>
                  <a:cubicBezTo>
                    <a:pt x="140" y="115"/>
                    <a:pt x="140" y="115"/>
                    <a:pt x="142" y="116"/>
                  </a:cubicBezTo>
                  <a:cubicBezTo>
                    <a:pt x="142" y="117"/>
                    <a:pt x="142" y="117"/>
                    <a:pt x="143" y="117"/>
                  </a:cubicBezTo>
                  <a:cubicBezTo>
                    <a:pt x="143" y="117"/>
                    <a:pt x="143" y="118"/>
                    <a:pt x="143" y="118"/>
                  </a:cubicBezTo>
                  <a:cubicBezTo>
                    <a:pt x="144" y="119"/>
                    <a:pt x="146" y="122"/>
                    <a:pt x="148" y="123"/>
                  </a:cubicBezTo>
                  <a:cubicBezTo>
                    <a:pt x="145" y="126"/>
                    <a:pt x="145" y="128"/>
                    <a:pt x="148" y="131"/>
                  </a:cubicBezTo>
                  <a:cubicBezTo>
                    <a:pt x="149" y="133"/>
                    <a:pt x="150" y="134"/>
                    <a:pt x="151" y="136"/>
                  </a:cubicBezTo>
                  <a:cubicBezTo>
                    <a:pt x="152" y="137"/>
                    <a:pt x="154" y="138"/>
                    <a:pt x="154" y="140"/>
                  </a:cubicBezTo>
                  <a:cubicBezTo>
                    <a:pt x="151" y="139"/>
                    <a:pt x="150" y="139"/>
                    <a:pt x="147" y="136"/>
                  </a:cubicBezTo>
                  <a:cubicBezTo>
                    <a:pt x="146" y="135"/>
                    <a:pt x="145" y="133"/>
                    <a:pt x="143" y="132"/>
                  </a:cubicBezTo>
                  <a:cubicBezTo>
                    <a:pt x="142" y="131"/>
                    <a:pt x="140" y="131"/>
                    <a:pt x="138" y="131"/>
                  </a:cubicBezTo>
                  <a:cubicBezTo>
                    <a:pt x="138" y="131"/>
                    <a:pt x="138" y="131"/>
                    <a:pt x="138" y="131"/>
                  </a:cubicBezTo>
                  <a:cubicBezTo>
                    <a:pt x="137" y="131"/>
                    <a:pt x="136" y="131"/>
                    <a:pt x="136" y="131"/>
                  </a:cubicBezTo>
                  <a:cubicBezTo>
                    <a:pt x="135" y="131"/>
                    <a:pt x="135" y="131"/>
                    <a:pt x="135" y="131"/>
                  </a:cubicBezTo>
                  <a:cubicBezTo>
                    <a:pt x="131" y="132"/>
                    <a:pt x="128" y="134"/>
                    <a:pt x="125" y="135"/>
                  </a:cubicBezTo>
                  <a:cubicBezTo>
                    <a:pt x="128" y="137"/>
                    <a:pt x="131" y="139"/>
                    <a:pt x="133" y="141"/>
                  </a:cubicBezTo>
                  <a:cubicBezTo>
                    <a:pt x="129" y="141"/>
                    <a:pt x="123" y="138"/>
                    <a:pt x="119" y="137"/>
                  </a:cubicBezTo>
                  <a:cubicBezTo>
                    <a:pt x="114" y="135"/>
                    <a:pt x="109" y="133"/>
                    <a:pt x="104" y="131"/>
                  </a:cubicBezTo>
                  <a:cubicBezTo>
                    <a:pt x="104" y="132"/>
                    <a:pt x="103" y="132"/>
                    <a:pt x="103" y="132"/>
                  </a:cubicBezTo>
                  <a:cubicBezTo>
                    <a:pt x="103" y="132"/>
                    <a:pt x="103" y="131"/>
                    <a:pt x="101" y="130"/>
                  </a:cubicBezTo>
                  <a:cubicBezTo>
                    <a:pt x="85" y="125"/>
                    <a:pt x="69" y="119"/>
                    <a:pt x="53" y="113"/>
                  </a:cubicBezTo>
                  <a:cubicBezTo>
                    <a:pt x="50" y="112"/>
                    <a:pt x="46" y="112"/>
                    <a:pt x="43" y="110"/>
                  </a:cubicBezTo>
                  <a:cubicBezTo>
                    <a:pt x="42" y="108"/>
                    <a:pt x="41" y="106"/>
                    <a:pt x="39" y="106"/>
                  </a:cubicBezTo>
                  <a:cubicBezTo>
                    <a:pt x="26" y="105"/>
                    <a:pt x="13" y="103"/>
                    <a:pt x="0" y="101"/>
                  </a:cubicBezTo>
                  <a:cubicBezTo>
                    <a:pt x="0" y="142"/>
                    <a:pt x="0" y="142"/>
                    <a:pt x="0" y="142"/>
                  </a:cubicBezTo>
                  <a:cubicBezTo>
                    <a:pt x="0" y="177"/>
                    <a:pt x="0" y="212"/>
                    <a:pt x="0" y="239"/>
                  </a:cubicBezTo>
                  <a:cubicBezTo>
                    <a:pt x="0" y="240"/>
                    <a:pt x="0" y="240"/>
                    <a:pt x="0" y="240"/>
                  </a:cubicBezTo>
                  <a:cubicBezTo>
                    <a:pt x="0" y="264"/>
                    <a:pt x="0" y="289"/>
                    <a:pt x="0" y="313"/>
                  </a:cubicBezTo>
                  <a:cubicBezTo>
                    <a:pt x="0" y="378"/>
                    <a:pt x="0" y="378"/>
                    <a:pt x="0" y="378"/>
                  </a:cubicBezTo>
                  <a:cubicBezTo>
                    <a:pt x="0" y="388"/>
                    <a:pt x="0" y="398"/>
                    <a:pt x="0" y="409"/>
                  </a:cubicBezTo>
                  <a:cubicBezTo>
                    <a:pt x="0" y="416"/>
                    <a:pt x="0" y="424"/>
                    <a:pt x="0" y="431"/>
                  </a:cubicBezTo>
                  <a:cubicBezTo>
                    <a:pt x="0" y="443"/>
                    <a:pt x="0" y="443"/>
                    <a:pt x="0" y="443"/>
                  </a:cubicBezTo>
                  <a:cubicBezTo>
                    <a:pt x="0" y="445"/>
                    <a:pt x="0" y="448"/>
                    <a:pt x="0" y="450"/>
                  </a:cubicBezTo>
                  <a:cubicBezTo>
                    <a:pt x="0" y="450"/>
                    <a:pt x="0" y="451"/>
                    <a:pt x="0" y="451"/>
                  </a:cubicBezTo>
                  <a:cubicBezTo>
                    <a:pt x="20" y="455"/>
                    <a:pt x="20" y="455"/>
                    <a:pt x="20" y="455"/>
                  </a:cubicBezTo>
                  <a:cubicBezTo>
                    <a:pt x="20" y="455"/>
                    <a:pt x="21" y="454"/>
                    <a:pt x="23" y="453"/>
                  </a:cubicBezTo>
                  <a:cubicBezTo>
                    <a:pt x="24" y="452"/>
                    <a:pt x="25" y="450"/>
                    <a:pt x="27" y="450"/>
                  </a:cubicBezTo>
                  <a:cubicBezTo>
                    <a:pt x="30" y="449"/>
                    <a:pt x="32" y="449"/>
                    <a:pt x="34" y="449"/>
                  </a:cubicBezTo>
                  <a:cubicBezTo>
                    <a:pt x="34" y="449"/>
                    <a:pt x="34" y="449"/>
                    <a:pt x="34" y="449"/>
                  </a:cubicBezTo>
                  <a:cubicBezTo>
                    <a:pt x="35" y="449"/>
                    <a:pt x="35" y="449"/>
                    <a:pt x="35" y="449"/>
                  </a:cubicBezTo>
                  <a:cubicBezTo>
                    <a:pt x="39" y="449"/>
                    <a:pt x="42" y="449"/>
                    <a:pt x="43" y="450"/>
                  </a:cubicBezTo>
                  <a:cubicBezTo>
                    <a:pt x="45" y="452"/>
                    <a:pt x="44" y="456"/>
                    <a:pt x="43" y="459"/>
                  </a:cubicBezTo>
                  <a:cubicBezTo>
                    <a:pt x="43" y="460"/>
                    <a:pt x="43" y="461"/>
                    <a:pt x="44" y="462"/>
                  </a:cubicBezTo>
                  <a:cubicBezTo>
                    <a:pt x="44" y="462"/>
                    <a:pt x="44" y="462"/>
                    <a:pt x="44" y="462"/>
                  </a:cubicBezTo>
                  <a:cubicBezTo>
                    <a:pt x="47" y="464"/>
                    <a:pt x="51" y="467"/>
                    <a:pt x="54" y="469"/>
                  </a:cubicBezTo>
                  <a:cubicBezTo>
                    <a:pt x="68" y="480"/>
                    <a:pt x="68" y="480"/>
                    <a:pt x="68" y="480"/>
                  </a:cubicBezTo>
                  <a:cubicBezTo>
                    <a:pt x="68" y="481"/>
                    <a:pt x="69" y="481"/>
                    <a:pt x="70" y="482"/>
                  </a:cubicBezTo>
                  <a:cubicBezTo>
                    <a:pt x="73" y="484"/>
                    <a:pt x="76" y="486"/>
                    <a:pt x="78" y="488"/>
                  </a:cubicBezTo>
                  <a:cubicBezTo>
                    <a:pt x="79" y="489"/>
                    <a:pt x="80" y="492"/>
                    <a:pt x="80" y="494"/>
                  </a:cubicBezTo>
                  <a:cubicBezTo>
                    <a:pt x="81" y="497"/>
                    <a:pt x="81" y="497"/>
                    <a:pt x="81" y="497"/>
                  </a:cubicBezTo>
                  <a:cubicBezTo>
                    <a:pt x="82" y="496"/>
                    <a:pt x="83" y="496"/>
                    <a:pt x="83" y="496"/>
                  </a:cubicBezTo>
                  <a:cubicBezTo>
                    <a:pt x="85" y="495"/>
                    <a:pt x="86" y="494"/>
                    <a:pt x="88" y="493"/>
                  </a:cubicBezTo>
                  <a:cubicBezTo>
                    <a:pt x="89" y="493"/>
                    <a:pt x="89" y="493"/>
                    <a:pt x="89" y="493"/>
                  </a:cubicBezTo>
                  <a:cubicBezTo>
                    <a:pt x="91" y="492"/>
                    <a:pt x="92" y="491"/>
                    <a:pt x="94" y="490"/>
                  </a:cubicBezTo>
                  <a:cubicBezTo>
                    <a:pt x="94" y="490"/>
                    <a:pt x="94" y="490"/>
                    <a:pt x="94" y="490"/>
                  </a:cubicBezTo>
                  <a:cubicBezTo>
                    <a:pt x="94" y="490"/>
                    <a:pt x="95" y="490"/>
                    <a:pt x="96" y="490"/>
                  </a:cubicBezTo>
                  <a:cubicBezTo>
                    <a:pt x="97" y="490"/>
                    <a:pt x="97" y="490"/>
                    <a:pt x="97" y="490"/>
                  </a:cubicBezTo>
                  <a:cubicBezTo>
                    <a:pt x="97" y="490"/>
                    <a:pt x="98" y="490"/>
                    <a:pt x="98" y="490"/>
                  </a:cubicBezTo>
                  <a:cubicBezTo>
                    <a:pt x="98" y="490"/>
                    <a:pt x="98" y="490"/>
                    <a:pt x="99" y="490"/>
                  </a:cubicBezTo>
                  <a:cubicBezTo>
                    <a:pt x="99" y="489"/>
                    <a:pt x="100" y="488"/>
                    <a:pt x="100" y="487"/>
                  </a:cubicBezTo>
                  <a:cubicBezTo>
                    <a:pt x="100" y="487"/>
                    <a:pt x="100" y="487"/>
                    <a:pt x="100" y="487"/>
                  </a:cubicBezTo>
                  <a:cubicBezTo>
                    <a:pt x="100" y="487"/>
                    <a:pt x="100" y="487"/>
                    <a:pt x="100" y="487"/>
                  </a:cubicBezTo>
                  <a:cubicBezTo>
                    <a:pt x="100" y="486"/>
                    <a:pt x="99" y="485"/>
                    <a:pt x="100" y="484"/>
                  </a:cubicBezTo>
                  <a:cubicBezTo>
                    <a:pt x="100" y="483"/>
                    <a:pt x="100" y="480"/>
                    <a:pt x="103" y="480"/>
                  </a:cubicBezTo>
                  <a:cubicBezTo>
                    <a:pt x="99" y="478"/>
                    <a:pt x="99" y="478"/>
                    <a:pt x="99" y="478"/>
                  </a:cubicBezTo>
                  <a:cubicBezTo>
                    <a:pt x="105" y="475"/>
                    <a:pt x="105" y="475"/>
                    <a:pt x="105" y="475"/>
                  </a:cubicBezTo>
                  <a:cubicBezTo>
                    <a:pt x="106" y="474"/>
                    <a:pt x="109" y="474"/>
                    <a:pt x="110" y="473"/>
                  </a:cubicBezTo>
                  <a:cubicBezTo>
                    <a:pt x="112" y="473"/>
                    <a:pt x="112" y="473"/>
                    <a:pt x="112" y="473"/>
                  </a:cubicBezTo>
                  <a:cubicBezTo>
                    <a:pt x="113" y="473"/>
                    <a:pt x="114" y="473"/>
                    <a:pt x="115" y="472"/>
                  </a:cubicBezTo>
                  <a:cubicBezTo>
                    <a:pt x="115" y="472"/>
                    <a:pt x="116" y="472"/>
                    <a:pt x="117" y="472"/>
                  </a:cubicBezTo>
                  <a:cubicBezTo>
                    <a:pt x="118" y="471"/>
                    <a:pt x="118" y="471"/>
                    <a:pt x="118" y="471"/>
                  </a:cubicBezTo>
                  <a:cubicBezTo>
                    <a:pt x="119" y="471"/>
                    <a:pt x="119" y="470"/>
                    <a:pt x="120" y="470"/>
                  </a:cubicBezTo>
                  <a:cubicBezTo>
                    <a:pt x="121" y="469"/>
                    <a:pt x="123" y="469"/>
                    <a:pt x="124" y="469"/>
                  </a:cubicBezTo>
                  <a:cubicBezTo>
                    <a:pt x="127" y="469"/>
                    <a:pt x="129" y="472"/>
                    <a:pt x="131" y="475"/>
                  </a:cubicBezTo>
                  <a:cubicBezTo>
                    <a:pt x="134" y="478"/>
                    <a:pt x="136" y="481"/>
                    <a:pt x="138" y="485"/>
                  </a:cubicBezTo>
                  <a:cubicBezTo>
                    <a:pt x="139" y="486"/>
                    <a:pt x="141" y="487"/>
                    <a:pt x="142" y="488"/>
                  </a:cubicBezTo>
                  <a:cubicBezTo>
                    <a:pt x="143" y="488"/>
                    <a:pt x="144" y="489"/>
                    <a:pt x="144" y="489"/>
                  </a:cubicBezTo>
                  <a:cubicBezTo>
                    <a:pt x="145" y="489"/>
                    <a:pt x="146" y="490"/>
                    <a:pt x="146" y="490"/>
                  </a:cubicBezTo>
                  <a:cubicBezTo>
                    <a:pt x="149" y="491"/>
                    <a:pt x="152" y="494"/>
                    <a:pt x="154" y="497"/>
                  </a:cubicBezTo>
                  <a:cubicBezTo>
                    <a:pt x="156" y="501"/>
                    <a:pt x="159" y="504"/>
                    <a:pt x="163" y="507"/>
                  </a:cubicBezTo>
                  <a:cubicBezTo>
                    <a:pt x="174" y="516"/>
                    <a:pt x="174" y="516"/>
                    <a:pt x="174" y="516"/>
                  </a:cubicBezTo>
                  <a:cubicBezTo>
                    <a:pt x="177" y="517"/>
                    <a:pt x="178" y="520"/>
                    <a:pt x="179" y="522"/>
                  </a:cubicBezTo>
                  <a:cubicBezTo>
                    <a:pt x="180" y="523"/>
                    <a:pt x="180" y="523"/>
                    <a:pt x="180" y="523"/>
                  </a:cubicBezTo>
                  <a:cubicBezTo>
                    <a:pt x="180" y="524"/>
                    <a:pt x="181" y="526"/>
                    <a:pt x="182" y="528"/>
                  </a:cubicBezTo>
                  <a:cubicBezTo>
                    <a:pt x="184" y="530"/>
                    <a:pt x="184" y="531"/>
                    <a:pt x="186" y="533"/>
                  </a:cubicBezTo>
                  <a:cubicBezTo>
                    <a:pt x="188" y="535"/>
                    <a:pt x="189" y="538"/>
                    <a:pt x="191" y="540"/>
                  </a:cubicBezTo>
                  <a:cubicBezTo>
                    <a:pt x="192" y="541"/>
                    <a:pt x="192" y="541"/>
                    <a:pt x="192" y="541"/>
                  </a:cubicBezTo>
                  <a:cubicBezTo>
                    <a:pt x="195" y="545"/>
                    <a:pt x="198" y="549"/>
                    <a:pt x="200" y="553"/>
                  </a:cubicBezTo>
                  <a:cubicBezTo>
                    <a:pt x="201" y="554"/>
                    <a:pt x="202" y="555"/>
                    <a:pt x="203" y="557"/>
                  </a:cubicBezTo>
                  <a:cubicBezTo>
                    <a:pt x="203" y="557"/>
                    <a:pt x="204" y="558"/>
                    <a:pt x="203" y="560"/>
                  </a:cubicBezTo>
                  <a:cubicBezTo>
                    <a:pt x="203" y="561"/>
                    <a:pt x="203" y="562"/>
                    <a:pt x="202" y="562"/>
                  </a:cubicBezTo>
                  <a:cubicBezTo>
                    <a:pt x="202" y="562"/>
                    <a:pt x="202" y="563"/>
                    <a:pt x="202" y="563"/>
                  </a:cubicBezTo>
                  <a:cubicBezTo>
                    <a:pt x="202" y="563"/>
                    <a:pt x="202" y="563"/>
                    <a:pt x="202" y="563"/>
                  </a:cubicBezTo>
                  <a:cubicBezTo>
                    <a:pt x="202" y="563"/>
                    <a:pt x="202" y="563"/>
                    <a:pt x="202" y="563"/>
                  </a:cubicBezTo>
                  <a:cubicBezTo>
                    <a:pt x="203" y="564"/>
                    <a:pt x="204" y="565"/>
                    <a:pt x="204" y="566"/>
                  </a:cubicBezTo>
                  <a:cubicBezTo>
                    <a:pt x="205" y="567"/>
                    <a:pt x="205" y="567"/>
                    <a:pt x="205" y="567"/>
                  </a:cubicBezTo>
                  <a:cubicBezTo>
                    <a:pt x="205" y="567"/>
                    <a:pt x="206" y="568"/>
                    <a:pt x="206" y="568"/>
                  </a:cubicBezTo>
                  <a:cubicBezTo>
                    <a:pt x="207" y="570"/>
                    <a:pt x="208" y="571"/>
                    <a:pt x="210" y="572"/>
                  </a:cubicBezTo>
                  <a:cubicBezTo>
                    <a:pt x="210" y="573"/>
                    <a:pt x="210" y="573"/>
                    <a:pt x="210" y="573"/>
                  </a:cubicBezTo>
                  <a:cubicBezTo>
                    <a:pt x="211" y="574"/>
                    <a:pt x="211" y="574"/>
                    <a:pt x="211" y="575"/>
                  </a:cubicBezTo>
                  <a:cubicBezTo>
                    <a:pt x="212" y="575"/>
                    <a:pt x="212" y="576"/>
                    <a:pt x="212" y="576"/>
                  </a:cubicBezTo>
                  <a:cubicBezTo>
                    <a:pt x="213" y="576"/>
                    <a:pt x="213" y="577"/>
                    <a:pt x="214" y="577"/>
                  </a:cubicBezTo>
                  <a:cubicBezTo>
                    <a:pt x="216" y="577"/>
                    <a:pt x="218" y="577"/>
                    <a:pt x="220" y="578"/>
                  </a:cubicBezTo>
                  <a:cubicBezTo>
                    <a:pt x="220" y="578"/>
                    <a:pt x="220" y="578"/>
                    <a:pt x="220" y="578"/>
                  </a:cubicBezTo>
                  <a:cubicBezTo>
                    <a:pt x="222" y="579"/>
                    <a:pt x="224" y="580"/>
                    <a:pt x="226" y="581"/>
                  </a:cubicBezTo>
                  <a:cubicBezTo>
                    <a:pt x="227" y="581"/>
                    <a:pt x="228" y="582"/>
                    <a:pt x="230" y="582"/>
                  </a:cubicBezTo>
                  <a:cubicBezTo>
                    <a:pt x="230" y="584"/>
                    <a:pt x="230" y="584"/>
                    <a:pt x="230" y="584"/>
                  </a:cubicBezTo>
                  <a:cubicBezTo>
                    <a:pt x="230" y="583"/>
                    <a:pt x="230" y="583"/>
                    <a:pt x="230" y="583"/>
                  </a:cubicBezTo>
                  <a:cubicBezTo>
                    <a:pt x="232" y="583"/>
                    <a:pt x="234" y="584"/>
                    <a:pt x="236" y="585"/>
                  </a:cubicBezTo>
                  <a:cubicBezTo>
                    <a:pt x="236" y="585"/>
                    <a:pt x="237" y="585"/>
                    <a:pt x="238" y="585"/>
                  </a:cubicBezTo>
                  <a:cubicBezTo>
                    <a:pt x="238" y="586"/>
                    <a:pt x="238" y="586"/>
                    <a:pt x="238" y="586"/>
                  </a:cubicBezTo>
                  <a:cubicBezTo>
                    <a:pt x="245" y="588"/>
                    <a:pt x="251" y="591"/>
                    <a:pt x="253" y="595"/>
                  </a:cubicBezTo>
                  <a:cubicBezTo>
                    <a:pt x="256" y="598"/>
                    <a:pt x="255" y="601"/>
                    <a:pt x="255" y="603"/>
                  </a:cubicBezTo>
                  <a:cubicBezTo>
                    <a:pt x="254" y="606"/>
                    <a:pt x="253" y="607"/>
                    <a:pt x="253" y="609"/>
                  </a:cubicBezTo>
                  <a:cubicBezTo>
                    <a:pt x="253" y="609"/>
                    <a:pt x="253" y="609"/>
                    <a:pt x="253" y="609"/>
                  </a:cubicBezTo>
                  <a:cubicBezTo>
                    <a:pt x="254" y="610"/>
                    <a:pt x="253" y="612"/>
                    <a:pt x="253" y="612"/>
                  </a:cubicBezTo>
                  <a:cubicBezTo>
                    <a:pt x="253" y="612"/>
                    <a:pt x="253" y="612"/>
                    <a:pt x="253" y="612"/>
                  </a:cubicBezTo>
                  <a:cubicBezTo>
                    <a:pt x="253" y="613"/>
                    <a:pt x="254" y="614"/>
                    <a:pt x="254" y="615"/>
                  </a:cubicBezTo>
                  <a:cubicBezTo>
                    <a:pt x="255" y="618"/>
                    <a:pt x="256" y="620"/>
                    <a:pt x="256" y="622"/>
                  </a:cubicBezTo>
                  <a:cubicBezTo>
                    <a:pt x="256" y="622"/>
                    <a:pt x="256" y="622"/>
                    <a:pt x="257" y="621"/>
                  </a:cubicBezTo>
                  <a:cubicBezTo>
                    <a:pt x="258" y="618"/>
                    <a:pt x="257" y="615"/>
                    <a:pt x="257" y="611"/>
                  </a:cubicBezTo>
                  <a:cubicBezTo>
                    <a:pt x="257" y="611"/>
                    <a:pt x="257" y="612"/>
                    <a:pt x="258" y="612"/>
                  </a:cubicBezTo>
                  <a:cubicBezTo>
                    <a:pt x="259" y="614"/>
                    <a:pt x="260" y="616"/>
                    <a:pt x="262" y="616"/>
                  </a:cubicBezTo>
                  <a:cubicBezTo>
                    <a:pt x="263" y="617"/>
                    <a:pt x="263" y="617"/>
                    <a:pt x="263" y="617"/>
                  </a:cubicBezTo>
                  <a:cubicBezTo>
                    <a:pt x="264" y="616"/>
                    <a:pt x="264" y="616"/>
                    <a:pt x="264" y="616"/>
                  </a:cubicBezTo>
                  <a:cubicBezTo>
                    <a:pt x="264" y="616"/>
                    <a:pt x="264" y="616"/>
                    <a:pt x="264" y="616"/>
                  </a:cubicBezTo>
                  <a:cubicBezTo>
                    <a:pt x="262" y="618"/>
                    <a:pt x="261" y="618"/>
                    <a:pt x="259" y="620"/>
                  </a:cubicBezTo>
                  <a:cubicBezTo>
                    <a:pt x="258" y="622"/>
                    <a:pt x="257" y="623"/>
                    <a:pt x="256" y="625"/>
                  </a:cubicBezTo>
                  <a:cubicBezTo>
                    <a:pt x="256" y="625"/>
                    <a:pt x="256" y="625"/>
                    <a:pt x="256" y="625"/>
                  </a:cubicBezTo>
                  <a:cubicBezTo>
                    <a:pt x="256" y="626"/>
                    <a:pt x="256" y="626"/>
                    <a:pt x="255" y="626"/>
                  </a:cubicBezTo>
                  <a:cubicBezTo>
                    <a:pt x="255" y="626"/>
                    <a:pt x="255" y="627"/>
                    <a:pt x="255" y="627"/>
                  </a:cubicBezTo>
                  <a:cubicBezTo>
                    <a:pt x="254" y="628"/>
                    <a:pt x="254" y="630"/>
                    <a:pt x="253" y="631"/>
                  </a:cubicBezTo>
                  <a:cubicBezTo>
                    <a:pt x="253" y="631"/>
                    <a:pt x="253" y="631"/>
                    <a:pt x="253" y="631"/>
                  </a:cubicBezTo>
                  <a:cubicBezTo>
                    <a:pt x="253" y="631"/>
                    <a:pt x="253" y="631"/>
                    <a:pt x="253" y="631"/>
                  </a:cubicBezTo>
                  <a:cubicBezTo>
                    <a:pt x="253" y="631"/>
                    <a:pt x="253" y="631"/>
                    <a:pt x="253" y="631"/>
                  </a:cubicBezTo>
                  <a:cubicBezTo>
                    <a:pt x="253" y="631"/>
                    <a:pt x="253" y="631"/>
                    <a:pt x="253" y="631"/>
                  </a:cubicBezTo>
                  <a:cubicBezTo>
                    <a:pt x="253" y="631"/>
                    <a:pt x="253" y="631"/>
                    <a:pt x="254" y="631"/>
                  </a:cubicBezTo>
                  <a:cubicBezTo>
                    <a:pt x="254" y="631"/>
                    <a:pt x="254" y="631"/>
                    <a:pt x="254" y="631"/>
                  </a:cubicBezTo>
                  <a:cubicBezTo>
                    <a:pt x="254" y="631"/>
                    <a:pt x="255" y="631"/>
                    <a:pt x="256" y="631"/>
                  </a:cubicBezTo>
                  <a:cubicBezTo>
                    <a:pt x="257" y="632"/>
                    <a:pt x="259" y="632"/>
                    <a:pt x="260" y="631"/>
                  </a:cubicBezTo>
                  <a:cubicBezTo>
                    <a:pt x="260" y="631"/>
                    <a:pt x="261" y="631"/>
                    <a:pt x="261" y="631"/>
                  </a:cubicBezTo>
                  <a:cubicBezTo>
                    <a:pt x="259" y="632"/>
                    <a:pt x="258" y="631"/>
                    <a:pt x="256" y="632"/>
                  </a:cubicBezTo>
                  <a:cubicBezTo>
                    <a:pt x="255" y="632"/>
                    <a:pt x="255" y="633"/>
                    <a:pt x="254" y="634"/>
                  </a:cubicBezTo>
                  <a:cubicBezTo>
                    <a:pt x="253" y="634"/>
                    <a:pt x="252" y="634"/>
                    <a:pt x="252" y="634"/>
                  </a:cubicBezTo>
                  <a:cubicBezTo>
                    <a:pt x="252" y="634"/>
                    <a:pt x="252" y="634"/>
                    <a:pt x="252" y="634"/>
                  </a:cubicBezTo>
                  <a:cubicBezTo>
                    <a:pt x="251" y="634"/>
                    <a:pt x="251" y="634"/>
                    <a:pt x="251" y="634"/>
                  </a:cubicBezTo>
                  <a:cubicBezTo>
                    <a:pt x="251" y="634"/>
                    <a:pt x="251" y="633"/>
                    <a:pt x="251" y="634"/>
                  </a:cubicBezTo>
                  <a:cubicBezTo>
                    <a:pt x="250" y="634"/>
                    <a:pt x="249" y="635"/>
                    <a:pt x="249" y="636"/>
                  </a:cubicBezTo>
                  <a:cubicBezTo>
                    <a:pt x="249" y="636"/>
                    <a:pt x="250" y="635"/>
                    <a:pt x="251" y="635"/>
                  </a:cubicBezTo>
                  <a:cubicBezTo>
                    <a:pt x="250" y="636"/>
                    <a:pt x="248" y="638"/>
                    <a:pt x="248" y="639"/>
                  </a:cubicBezTo>
                  <a:cubicBezTo>
                    <a:pt x="248" y="641"/>
                    <a:pt x="253" y="643"/>
                    <a:pt x="255" y="643"/>
                  </a:cubicBezTo>
                  <a:cubicBezTo>
                    <a:pt x="254" y="643"/>
                    <a:pt x="254" y="643"/>
                    <a:pt x="253" y="643"/>
                  </a:cubicBezTo>
                  <a:cubicBezTo>
                    <a:pt x="253" y="643"/>
                    <a:pt x="253" y="643"/>
                    <a:pt x="253" y="643"/>
                  </a:cubicBezTo>
                  <a:cubicBezTo>
                    <a:pt x="252" y="643"/>
                    <a:pt x="251" y="642"/>
                    <a:pt x="250" y="642"/>
                  </a:cubicBezTo>
                  <a:cubicBezTo>
                    <a:pt x="249" y="641"/>
                    <a:pt x="248" y="641"/>
                    <a:pt x="247" y="641"/>
                  </a:cubicBezTo>
                  <a:cubicBezTo>
                    <a:pt x="247" y="641"/>
                    <a:pt x="247" y="641"/>
                    <a:pt x="247" y="641"/>
                  </a:cubicBezTo>
                  <a:cubicBezTo>
                    <a:pt x="247" y="641"/>
                    <a:pt x="246" y="641"/>
                    <a:pt x="246" y="641"/>
                  </a:cubicBezTo>
                  <a:cubicBezTo>
                    <a:pt x="246" y="641"/>
                    <a:pt x="246" y="641"/>
                    <a:pt x="246" y="641"/>
                  </a:cubicBezTo>
                  <a:cubicBezTo>
                    <a:pt x="246" y="641"/>
                    <a:pt x="246" y="641"/>
                    <a:pt x="246" y="641"/>
                  </a:cubicBezTo>
                  <a:cubicBezTo>
                    <a:pt x="246" y="641"/>
                    <a:pt x="245" y="641"/>
                    <a:pt x="245" y="641"/>
                  </a:cubicBezTo>
                  <a:cubicBezTo>
                    <a:pt x="245" y="641"/>
                    <a:pt x="245" y="641"/>
                    <a:pt x="245" y="642"/>
                  </a:cubicBezTo>
                  <a:cubicBezTo>
                    <a:pt x="244" y="642"/>
                    <a:pt x="244" y="642"/>
                    <a:pt x="244" y="643"/>
                  </a:cubicBezTo>
                  <a:cubicBezTo>
                    <a:pt x="245" y="645"/>
                    <a:pt x="249" y="647"/>
                    <a:pt x="251" y="647"/>
                  </a:cubicBezTo>
                  <a:cubicBezTo>
                    <a:pt x="252" y="647"/>
                    <a:pt x="252" y="647"/>
                    <a:pt x="252" y="647"/>
                  </a:cubicBezTo>
                  <a:cubicBezTo>
                    <a:pt x="252" y="647"/>
                    <a:pt x="252" y="647"/>
                    <a:pt x="252" y="647"/>
                  </a:cubicBezTo>
                  <a:cubicBezTo>
                    <a:pt x="252" y="647"/>
                    <a:pt x="252" y="647"/>
                    <a:pt x="252" y="647"/>
                  </a:cubicBezTo>
                  <a:cubicBezTo>
                    <a:pt x="252" y="647"/>
                    <a:pt x="253" y="647"/>
                    <a:pt x="253" y="647"/>
                  </a:cubicBezTo>
                  <a:cubicBezTo>
                    <a:pt x="250" y="649"/>
                    <a:pt x="250" y="650"/>
                    <a:pt x="252" y="653"/>
                  </a:cubicBezTo>
                  <a:cubicBezTo>
                    <a:pt x="250" y="652"/>
                    <a:pt x="248" y="649"/>
                    <a:pt x="247" y="647"/>
                  </a:cubicBezTo>
                  <a:cubicBezTo>
                    <a:pt x="246" y="647"/>
                    <a:pt x="246" y="647"/>
                    <a:pt x="246" y="646"/>
                  </a:cubicBezTo>
                  <a:cubicBezTo>
                    <a:pt x="245" y="646"/>
                    <a:pt x="245" y="645"/>
                    <a:pt x="245" y="645"/>
                  </a:cubicBezTo>
                  <a:cubicBezTo>
                    <a:pt x="244" y="645"/>
                    <a:pt x="244" y="644"/>
                    <a:pt x="244" y="644"/>
                  </a:cubicBezTo>
                  <a:cubicBezTo>
                    <a:pt x="244" y="644"/>
                    <a:pt x="244" y="644"/>
                    <a:pt x="244" y="644"/>
                  </a:cubicBezTo>
                  <a:cubicBezTo>
                    <a:pt x="243" y="643"/>
                    <a:pt x="242" y="643"/>
                    <a:pt x="242" y="646"/>
                  </a:cubicBezTo>
                  <a:cubicBezTo>
                    <a:pt x="242" y="647"/>
                    <a:pt x="242" y="647"/>
                    <a:pt x="243" y="648"/>
                  </a:cubicBezTo>
                  <a:cubicBezTo>
                    <a:pt x="243" y="648"/>
                    <a:pt x="243" y="648"/>
                    <a:pt x="243" y="648"/>
                  </a:cubicBezTo>
                  <a:cubicBezTo>
                    <a:pt x="243" y="649"/>
                    <a:pt x="242" y="649"/>
                    <a:pt x="242" y="649"/>
                  </a:cubicBezTo>
                  <a:cubicBezTo>
                    <a:pt x="239" y="649"/>
                    <a:pt x="235" y="651"/>
                    <a:pt x="236" y="654"/>
                  </a:cubicBezTo>
                  <a:cubicBezTo>
                    <a:pt x="236" y="656"/>
                    <a:pt x="241" y="656"/>
                    <a:pt x="243" y="656"/>
                  </a:cubicBezTo>
                  <a:cubicBezTo>
                    <a:pt x="244" y="656"/>
                    <a:pt x="244" y="656"/>
                    <a:pt x="246" y="654"/>
                  </a:cubicBezTo>
                  <a:cubicBezTo>
                    <a:pt x="246" y="653"/>
                    <a:pt x="247" y="653"/>
                    <a:pt x="247" y="653"/>
                  </a:cubicBezTo>
                  <a:cubicBezTo>
                    <a:pt x="247" y="654"/>
                    <a:pt x="246" y="654"/>
                    <a:pt x="246" y="655"/>
                  </a:cubicBezTo>
                  <a:cubicBezTo>
                    <a:pt x="246" y="655"/>
                    <a:pt x="246" y="655"/>
                    <a:pt x="246" y="655"/>
                  </a:cubicBezTo>
                  <a:cubicBezTo>
                    <a:pt x="246" y="655"/>
                    <a:pt x="246" y="655"/>
                    <a:pt x="246" y="655"/>
                  </a:cubicBezTo>
                  <a:cubicBezTo>
                    <a:pt x="246" y="656"/>
                    <a:pt x="246" y="656"/>
                    <a:pt x="246" y="656"/>
                  </a:cubicBezTo>
                  <a:cubicBezTo>
                    <a:pt x="246" y="656"/>
                    <a:pt x="246" y="656"/>
                    <a:pt x="246" y="656"/>
                  </a:cubicBezTo>
                  <a:cubicBezTo>
                    <a:pt x="246" y="656"/>
                    <a:pt x="246" y="656"/>
                    <a:pt x="246" y="656"/>
                  </a:cubicBezTo>
                  <a:cubicBezTo>
                    <a:pt x="246" y="656"/>
                    <a:pt x="246" y="656"/>
                    <a:pt x="246" y="656"/>
                  </a:cubicBezTo>
                  <a:cubicBezTo>
                    <a:pt x="246" y="656"/>
                    <a:pt x="246" y="656"/>
                    <a:pt x="247" y="656"/>
                  </a:cubicBezTo>
                  <a:cubicBezTo>
                    <a:pt x="247" y="657"/>
                    <a:pt x="247" y="657"/>
                    <a:pt x="247" y="657"/>
                  </a:cubicBezTo>
                  <a:cubicBezTo>
                    <a:pt x="247" y="657"/>
                    <a:pt x="248" y="659"/>
                    <a:pt x="248" y="660"/>
                  </a:cubicBezTo>
                  <a:cubicBezTo>
                    <a:pt x="248" y="660"/>
                    <a:pt x="249" y="660"/>
                    <a:pt x="250" y="660"/>
                  </a:cubicBezTo>
                  <a:cubicBezTo>
                    <a:pt x="250" y="660"/>
                    <a:pt x="250" y="661"/>
                    <a:pt x="250" y="661"/>
                  </a:cubicBezTo>
                  <a:cubicBezTo>
                    <a:pt x="250" y="662"/>
                    <a:pt x="250" y="662"/>
                    <a:pt x="250" y="662"/>
                  </a:cubicBezTo>
                  <a:cubicBezTo>
                    <a:pt x="250" y="662"/>
                    <a:pt x="250" y="662"/>
                    <a:pt x="251" y="662"/>
                  </a:cubicBezTo>
                  <a:cubicBezTo>
                    <a:pt x="251" y="662"/>
                    <a:pt x="251" y="663"/>
                    <a:pt x="251" y="663"/>
                  </a:cubicBezTo>
                  <a:cubicBezTo>
                    <a:pt x="251" y="663"/>
                    <a:pt x="251" y="663"/>
                    <a:pt x="251" y="663"/>
                  </a:cubicBezTo>
                  <a:cubicBezTo>
                    <a:pt x="251" y="663"/>
                    <a:pt x="251" y="664"/>
                    <a:pt x="251" y="664"/>
                  </a:cubicBezTo>
                  <a:cubicBezTo>
                    <a:pt x="251" y="664"/>
                    <a:pt x="251" y="663"/>
                    <a:pt x="251" y="663"/>
                  </a:cubicBezTo>
                  <a:cubicBezTo>
                    <a:pt x="251" y="663"/>
                    <a:pt x="251" y="664"/>
                    <a:pt x="251" y="664"/>
                  </a:cubicBezTo>
                  <a:cubicBezTo>
                    <a:pt x="251" y="665"/>
                    <a:pt x="251" y="666"/>
                    <a:pt x="252" y="667"/>
                  </a:cubicBezTo>
                  <a:cubicBezTo>
                    <a:pt x="252" y="667"/>
                    <a:pt x="252" y="667"/>
                    <a:pt x="252" y="667"/>
                  </a:cubicBezTo>
                  <a:cubicBezTo>
                    <a:pt x="252" y="667"/>
                    <a:pt x="252" y="668"/>
                    <a:pt x="253" y="668"/>
                  </a:cubicBezTo>
                  <a:cubicBezTo>
                    <a:pt x="253" y="668"/>
                    <a:pt x="253" y="668"/>
                    <a:pt x="254" y="669"/>
                  </a:cubicBezTo>
                  <a:cubicBezTo>
                    <a:pt x="254" y="669"/>
                    <a:pt x="254" y="669"/>
                    <a:pt x="254" y="669"/>
                  </a:cubicBezTo>
                  <a:cubicBezTo>
                    <a:pt x="257" y="671"/>
                    <a:pt x="259" y="673"/>
                    <a:pt x="262" y="675"/>
                  </a:cubicBezTo>
                  <a:cubicBezTo>
                    <a:pt x="262" y="675"/>
                    <a:pt x="262" y="676"/>
                    <a:pt x="263" y="676"/>
                  </a:cubicBezTo>
                  <a:cubicBezTo>
                    <a:pt x="263" y="676"/>
                    <a:pt x="263" y="676"/>
                    <a:pt x="263" y="676"/>
                  </a:cubicBezTo>
                  <a:cubicBezTo>
                    <a:pt x="265" y="677"/>
                    <a:pt x="268" y="679"/>
                    <a:pt x="270" y="681"/>
                  </a:cubicBezTo>
                  <a:cubicBezTo>
                    <a:pt x="270" y="681"/>
                    <a:pt x="270" y="680"/>
                    <a:pt x="270" y="680"/>
                  </a:cubicBezTo>
                  <a:cubicBezTo>
                    <a:pt x="270" y="677"/>
                    <a:pt x="270" y="675"/>
                    <a:pt x="273" y="673"/>
                  </a:cubicBezTo>
                  <a:cubicBezTo>
                    <a:pt x="273" y="672"/>
                    <a:pt x="274" y="672"/>
                    <a:pt x="275" y="672"/>
                  </a:cubicBezTo>
                  <a:cubicBezTo>
                    <a:pt x="275" y="672"/>
                    <a:pt x="275" y="672"/>
                    <a:pt x="275" y="672"/>
                  </a:cubicBezTo>
                  <a:cubicBezTo>
                    <a:pt x="275" y="671"/>
                    <a:pt x="275" y="671"/>
                    <a:pt x="275" y="671"/>
                  </a:cubicBezTo>
                  <a:cubicBezTo>
                    <a:pt x="275" y="671"/>
                    <a:pt x="275" y="671"/>
                    <a:pt x="275" y="671"/>
                  </a:cubicBezTo>
                  <a:cubicBezTo>
                    <a:pt x="275" y="671"/>
                    <a:pt x="274" y="670"/>
                    <a:pt x="275" y="670"/>
                  </a:cubicBezTo>
                  <a:cubicBezTo>
                    <a:pt x="275" y="670"/>
                    <a:pt x="275" y="670"/>
                    <a:pt x="275" y="670"/>
                  </a:cubicBezTo>
                  <a:cubicBezTo>
                    <a:pt x="277" y="671"/>
                    <a:pt x="277" y="669"/>
                    <a:pt x="276" y="668"/>
                  </a:cubicBezTo>
                  <a:cubicBezTo>
                    <a:pt x="276" y="668"/>
                    <a:pt x="276" y="668"/>
                    <a:pt x="276" y="668"/>
                  </a:cubicBezTo>
                  <a:cubicBezTo>
                    <a:pt x="276" y="667"/>
                    <a:pt x="276" y="667"/>
                    <a:pt x="276" y="667"/>
                  </a:cubicBezTo>
                  <a:cubicBezTo>
                    <a:pt x="277" y="667"/>
                    <a:pt x="277" y="668"/>
                    <a:pt x="278" y="668"/>
                  </a:cubicBezTo>
                  <a:cubicBezTo>
                    <a:pt x="278" y="668"/>
                    <a:pt x="278" y="668"/>
                    <a:pt x="278" y="668"/>
                  </a:cubicBezTo>
                  <a:cubicBezTo>
                    <a:pt x="278" y="668"/>
                    <a:pt x="279" y="668"/>
                    <a:pt x="279" y="668"/>
                  </a:cubicBezTo>
                  <a:cubicBezTo>
                    <a:pt x="280" y="668"/>
                    <a:pt x="281" y="666"/>
                    <a:pt x="281" y="666"/>
                  </a:cubicBezTo>
                  <a:cubicBezTo>
                    <a:pt x="282" y="665"/>
                    <a:pt x="283" y="663"/>
                    <a:pt x="285" y="662"/>
                  </a:cubicBezTo>
                  <a:cubicBezTo>
                    <a:pt x="284" y="664"/>
                    <a:pt x="284" y="665"/>
                    <a:pt x="283" y="667"/>
                  </a:cubicBezTo>
                  <a:cubicBezTo>
                    <a:pt x="284" y="667"/>
                    <a:pt x="285" y="667"/>
                    <a:pt x="286" y="668"/>
                  </a:cubicBezTo>
                  <a:cubicBezTo>
                    <a:pt x="284" y="668"/>
                    <a:pt x="281" y="669"/>
                    <a:pt x="280" y="671"/>
                  </a:cubicBezTo>
                  <a:cubicBezTo>
                    <a:pt x="280" y="671"/>
                    <a:pt x="281" y="671"/>
                    <a:pt x="281" y="671"/>
                  </a:cubicBezTo>
                  <a:cubicBezTo>
                    <a:pt x="281" y="672"/>
                    <a:pt x="281" y="673"/>
                    <a:pt x="281" y="673"/>
                  </a:cubicBezTo>
                  <a:cubicBezTo>
                    <a:pt x="281" y="674"/>
                    <a:pt x="281" y="674"/>
                    <a:pt x="281" y="674"/>
                  </a:cubicBezTo>
                  <a:cubicBezTo>
                    <a:pt x="280" y="675"/>
                    <a:pt x="280" y="675"/>
                    <a:pt x="280" y="675"/>
                  </a:cubicBezTo>
                  <a:cubicBezTo>
                    <a:pt x="279" y="675"/>
                    <a:pt x="279" y="674"/>
                    <a:pt x="278" y="673"/>
                  </a:cubicBezTo>
                  <a:cubicBezTo>
                    <a:pt x="277" y="673"/>
                    <a:pt x="276" y="673"/>
                    <a:pt x="275" y="673"/>
                  </a:cubicBezTo>
                  <a:cubicBezTo>
                    <a:pt x="275" y="673"/>
                    <a:pt x="275" y="673"/>
                    <a:pt x="274" y="673"/>
                  </a:cubicBezTo>
                  <a:cubicBezTo>
                    <a:pt x="274" y="673"/>
                    <a:pt x="274" y="673"/>
                    <a:pt x="274" y="673"/>
                  </a:cubicBezTo>
                  <a:cubicBezTo>
                    <a:pt x="274" y="673"/>
                    <a:pt x="274" y="673"/>
                    <a:pt x="274" y="673"/>
                  </a:cubicBezTo>
                  <a:cubicBezTo>
                    <a:pt x="274" y="674"/>
                    <a:pt x="274" y="674"/>
                    <a:pt x="274" y="674"/>
                  </a:cubicBezTo>
                  <a:cubicBezTo>
                    <a:pt x="274" y="675"/>
                    <a:pt x="274" y="676"/>
                    <a:pt x="274" y="677"/>
                  </a:cubicBezTo>
                  <a:cubicBezTo>
                    <a:pt x="274" y="677"/>
                    <a:pt x="274" y="678"/>
                    <a:pt x="274" y="678"/>
                  </a:cubicBezTo>
                  <a:cubicBezTo>
                    <a:pt x="274" y="679"/>
                    <a:pt x="274" y="679"/>
                    <a:pt x="274" y="679"/>
                  </a:cubicBezTo>
                  <a:cubicBezTo>
                    <a:pt x="273" y="680"/>
                    <a:pt x="273" y="680"/>
                    <a:pt x="272" y="680"/>
                  </a:cubicBezTo>
                  <a:cubicBezTo>
                    <a:pt x="272" y="681"/>
                    <a:pt x="272" y="681"/>
                    <a:pt x="272" y="681"/>
                  </a:cubicBezTo>
                  <a:cubicBezTo>
                    <a:pt x="272" y="681"/>
                    <a:pt x="272" y="681"/>
                    <a:pt x="272" y="682"/>
                  </a:cubicBezTo>
                  <a:cubicBezTo>
                    <a:pt x="272" y="682"/>
                    <a:pt x="272" y="682"/>
                    <a:pt x="272" y="683"/>
                  </a:cubicBezTo>
                  <a:cubicBezTo>
                    <a:pt x="271" y="684"/>
                    <a:pt x="271" y="684"/>
                    <a:pt x="272" y="685"/>
                  </a:cubicBezTo>
                  <a:cubicBezTo>
                    <a:pt x="272" y="685"/>
                    <a:pt x="273" y="685"/>
                    <a:pt x="273" y="685"/>
                  </a:cubicBezTo>
                  <a:cubicBezTo>
                    <a:pt x="273" y="685"/>
                    <a:pt x="273" y="685"/>
                    <a:pt x="273" y="685"/>
                  </a:cubicBezTo>
                  <a:cubicBezTo>
                    <a:pt x="274" y="686"/>
                    <a:pt x="275" y="685"/>
                    <a:pt x="275" y="684"/>
                  </a:cubicBezTo>
                  <a:cubicBezTo>
                    <a:pt x="275" y="684"/>
                    <a:pt x="275" y="684"/>
                    <a:pt x="276" y="684"/>
                  </a:cubicBezTo>
                  <a:cubicBezTo>
                    <a:pt x="276" y="684"/>
                    <a:pt x="277" y="683"/>
                    <a:pt x="278" y="682"/>
                  </a:cubicBezTo>
                  <a:cubicBezTo>
                    <a:pt x="278" y="682"/>
                    <a:pt x="278" y="682"/>
                    <a:pt x="278" y="682"/>
                  </a:cubicBezTo>
                  <a:cubicBezTo>
                    <a:pt x="277" y="683"/>
                    <a:pt x="276" y="684"/>
                    <a:pt x="276" y="684"/>
                  </a:cubicBezTo>
                  <a:cubicBezTo>
                    <a:pt x="275" y="685"/>
                    <a:pt x="274" y="685"/>
                    <a:pt x="274" y="686"/>
                  </a:cubicBezTo>
                  <a:cubicBezTo>
                    <a:pt x="274" y="686"/>
                    <a:pt x="274" y="686"/>
                    <a:pt x="274" y="687"/>
                  </a:cubicBezTo>
                  <a:cubicBezTo>
                    <a:pt x="273" y="687"/>
                    <a:pt x="273" y="687"/>
                    <a:pt x="273" y="687"/>
                  </a:cubicBezTo>
                  <a:cubicBezTo>
                    <a:pt x="273" y="687"/>
                    <a:pt x="273" y="687"/>
                    <a:pt x="273" y="688"/>
                  </a:cubicBezTo>
                  <a:cubicBezTo>
                    <a:pt x="273" y="688"/>
                    <a:pt x="273" y="688"/>
                    <a:pt x="273" y="689"/>
                  </a:cubicBezTo>
                  <a:cubicBezTo>
                    <a:pt x="273" y="689"/>
                    <a:pt x="274" y="690"/>
                    <a:pt x="274" y="691"/>
                  </a:cubicBezTo>
                  <a:cubicBezTo>
                    <a:pt x="275" y="691"/>
                    <a:pt x="275" y="691"/>
                    <a:pt x="275" y="691"/>
                  </a:cubicBezTo>
                  <a:cubicBezTo>
                    <a:pt x="276" y="692"/>
                    <a:pt x="277" y="693"/>
                    <a:pt x="278" y="693"/>
                  </a:cubicBezTo>
                  <a:cubicBezTo>
                    <a:pt x="279" y="693"/>
                    <a:pt x="280" y="693"/>
                    <a:pt x="281" y="693"/>
                  </a:cubicBezTo>
                  <a:cubicBezTo>
                    <a:pt x="281" y="693"/>
                    <a:pt x="281" y="693"/>
                    <a:pt x="281" y="693"/>
                  </a:cubicBezTo>
                  <a:cubicBezTo>
                    <a:pt x="281" y="693"/>
                    <a:pt x="281" y="692"/>
                    <a:pt x="281" y="692"/>
                  </a:cubicBezTo>
                  <a:cubicBezTo>
                    <a:pt x="281" y="692"/>
                    <a:pt x="281" y="692"/>
                    <a:pt x="282" y="692"/>
                  </a:cubicBezTo>
                  <a:cubicBezTo>
                    <a:pt x="282" y="691"/>
                    <a:pt x="282" y="691"/>
                    <a:pt x="282" y="691"/>
                  </a:cubicBezTo>
                  <a:cubicBezTo>
                    <a:pt x="282" y="691"/>
                    <a:pt x="283" y="692"/>
                    <a:pt x="283" y="693"/>
                  </a:cubicBezTo>
                  <a:cubicBezTo>
                    <a:pt x="284" y="693"/>
                    <a:pt x="284" y="694"/>
                    <a:pt x="285" y="694"/>
                  </a:cubicBezTo>
                  <a:cubicBezTo>
                    <a:pt x="284" y="695"/>
                    <a:pt x="283" y="695"/>
                    <a:pt x="283" y="695"/>
                  </a:cubicBezTo>
                  <a:cubicBezTo>
                    <a:pt x="282" y="695"/>
                    <a:pt x="282" y="696"/>
                    <a:pt x="282" y="696"/>
                  </a:cubicBezTo>
                  <a:cubicBezTo>
                    <a:pt x="282" y="696"/>
                    <a:pt x="282" y="696"/>
                    <a:pt x="282" y="696"/>
                  </a:cubicBezTo>
                  <a:cubicBezTo>
                    <a:pt x="282" y="696"/>
                    <a:pt x="282" y="696"/>
                    <a:pt x="282" y="697"/>
                  </a:cubicBezTo>
                  <a:cubicBezTo>
                    <a:pt x="282" y="697"/>
                    <a:pt x="282" y="697"/>
                    <a:pt x="282" y="698"/>
                  </a:cubicBezTo>
                  <a:cubicBezTo>
                    <a:pt x="282" y="698"/>
                    <a:pt x="282" y="698"/>
                    <a:pt x="282" y="698"/>
                  </a:cubicBezTo>
                  <a:cubicBezTo>
                    <a:pt x="281" y="697"/>
                    <a:pt x="280" y="697"/>
                    <a:pt x="280" y="697"/>
                  </a:cubicBezTo>
                  <a:cubicBezTo>
                    <a:pt x="280" y="697"/>
                    <a:pt x="280" y="697"/>
                    <a:pt x="280" y="697"/>
                  </a:cubicBezTo>
                  <a:cubicBezTo>
                    <a:pt x="280" y="697"/>
                    <a:pt x="280" y="697"/>
                    <a:pt x="280" y="697"/>
                  </a:cubicBezTo>
                  <a:cubicBezTo>
                    <a:pt x="281" y="698"/>
                    <a:pt x="283" y="698"/>
                    <a:pt x="284" y="699"/>
                  </a:cubicBezTo>
                  <a:cubicBezTo>
                    <a:pt x="285" y="699"/>
                    <a:pt x="285" y="699"/>
                    <a:pt x="285" y="699"/>
                  </a:cubicBezTo>
                  <a:cubicBezTo>
                    <a:pt x="285" y="700"/>
                    <a:pt x="286" y="700"/>
                    <a:pt x="286" y="700"/>
                  </a:cubicBezTo>
                  <a:cubicBezTo>
                    <a:pt x="286" y="700"/>
                    <a:pt x="287" y="700"/>
                    <a:pt x="287" y="700"/>
                  </a:cubicBezTo>
                  <a:cubicBezTo>
                    <a:pt x="287" y="700"/>
                    <a:pt x="287" y="700"/>
                    <a:pt x="287" y="700"/>
                  </a:cubicBezTo>
                  <a:cubicBezTo>
                    <a:pt x="287" y="700"/>
                    <a:pt x="287" y="700"/>
                    <a:pt x="287" y="700"/>
                  </a:cubicBezTo>
                  <a:cubicBezTo>
                    <a:pt x="287" y="700"/>
                    <a:pt x="287" y="700"/>
                    <a:pt x="287" y="700"/>
                  </a:cubicBezTo>
                  <a:cubicBezTo>
                    <a:pt x="287" y="700"/>
                    <a:pt x="287" y="700"/>
                    <a:pt x="287" y="700"/>
                  </a:cubicBezTo>
                  <a:cubicBezTo>
                    <a:pt x="287" y="699"/>
                    <a:pt x="287" y="699"/>
                    <a:pt x="287" y="699"/>
                  </a:cubicBezTo>
                  <a:cubicBezTo>
                    <a:pt x="287" y="699"/>
                    <a:pt x="287" y="698"/>
                    <a:pt x="287" y="698"/>
                  </a:cubicBezTo>
                  <a:cubicBezTo>
                    <a:pt x="287" y="698"/>
                    <a:pt x="287" y="698"/>
                    <a:pt x="287" y="698"/>
                  </a:cubicBezTo>
                  <a:cubicBezTo>
                    <a:pt x="288" y="699"/>
                    <a:pt x="288" y="700"/>
                    <a:pt x="289" y="700"/>
                  </a:cubicBezTo>
                  <a:cubicBezTo>
                    <a:pt x="289" y="700"/>
                    <a:pt x="289" y="700"/>
                    <a:pt x="289" y="700"/>
                  </a:cubicBezTo>
                  <a:cubicBezTo>
                    <a:pt x="289" y="701"/>
                    <a:pt x="289" y="701"/>
                    <a:pt x="289" y="701"/>
                  </a:cubicBezTo>
                  <a:cubicBezTo>
                    <a:pt x="289" y="701"/>
                    <a:pt x="288" y="701"/>
                    <a:pt x="288" y="701"/>
                  </a:cubicBezTo>
                  <a:cubicBezTo>
                    <a:pt x="288" y="701"/>
                    <a:pt x="288" y="701"/>
                    <a:pt x="288" y="701"/>
                  </a:cubicBezTo>
                  <a:cubicBezTo>
                    <a:pt x="288" y="701"/>
                    <a:pt x="288" y="701"/>
                    <a:pt x="288" y="701"/>
                  </a:cubicBezTo>
                  <a:cubicBezTo>
                    <a:pt x="288" y="701"/>
                    <a:pt x="288" y="702"/>
                    <a:pt x="288" y="702"/>
                  </a:cubicBezTo>
                  <a:cubicBezTo>
                    <a:pt x="288" y="702"/>
                    <a:pt x="289" y="702"/>
                    <a:pt x="289" y="702"/>
                  </a:cubicBezTo>
                  <a:cubicBezTo>
                    <a:pt x="290" y="702"/>
                    <a:pt x="290" y="702"/>
                    <a:pt x="291" y="701"/>
                  </a:cubicBezTo>
                  <a:cubicBezTo>
                    <a:pt x="292" y="701"/>
                    <a:pt x="292" y="701"/>
                    <a:pt x="293" y="701"/>
                  </a:cubicBezTo>
                  <a:cubicBezTo>
                    <a:pt x="293" y="701"/>
                    <a:pt x="293" y="701"/>
                    <a:pt x="293" y="701"/>
                  </a:cubicBezTo>
                  <a:cubicBezTo>
                    <a:pt x="293" y="701"/>
                    <a:pt x="293" y="701"/>
                    <a:pt x="293" y="701"/>
                  </a:cubicBezTo>
                  <a:cubicBezTo>
                    <a:pt x="294" y="700"/>
                    <a:pt x="294" y="700"/>
                    <a:pt x="294" y="700"/>
                  </a:cubicBezTo>
                  <a:cubicBezTo>
                    <a:pt x="294" y="700"/>
                    <a:pt x="294" y="700"/>
                    <a:pt x="294" y="700"/>
                  </a:cubicBezTo>
                  <a:cubicBezTo>
                    <a:pt x="295" y="700"/>
                    <a:pt x="295" y="699"/>
                    <a:pt x="295" y="699"/>
                  </a:cubicBezTo>
                  <a:cubicBezTo>
                    <a:pt x="295" y="699"/>
                    <a:pt x="296" y="698"/>
                    <a:pt x="296" y="697"/>
                  </a:cubicBezTo>
                  <a:cubicBezTo>
                    <a:pt x="296" y="698"/>
                    <a:pt x="297" y="698"/>
                    <a:pt x="298" y="698"/>
                  </a:cubicBezTo>
                  <a:cubicBezTo>
                    <a:pt x="296" y="699"/>
                    <a:pt x="296" y="699"/>
                    <a:pt x="296" y="700"/>
                  </a:cubicBezTo>
                  <a:cubicBezTo>
                    <a:pt x="296" y="701"/>
                    <a:pt x="296" y="702"/>
                    <a:pt x="296" y="703"/>
                  </a:cubicBezTo>
                  <a:cubicBezTo>
                    <a:pt x="295" y="705"/>
                    <a:pt x="294" y="706"/>
                    <a:pt x="294" y="708"/>
                  </a:cubicBezTo>
                  <a:cubicBezTo>
                    <a:pt x="294" y="708"/>
                    <a:pt x="294" y="708"/>
                    <a:pt x="294" y="708"/>
                  </a:cubicBezTo>
                  <a:cubicBezTo>
                    <a:pt x="293" y="709"/>
                    <a:pt x="293" y="709"/>
                    <a:pt x="292" y="710"/>
                  </a:cubicBezTo>
                  <a:cubicBezTo>
                    <a:pt x="292" y="711"/>
                    <a:pt x="292" y="712"/>
                    <a:pt x="293" y="712"/>
                  </a:cubicBezTo>
                  <a:cubicBezTo>
                    <a:pt x="293" y="712"/>
                    <a:pt x="293" y="713"/>
                    <a:pt x="293" y="713"/>
                  </a:cubicBezTo>
                  <a:cubicBezTo>
                    <a:pt x="293" y="713"/>
                    <a:pt x="293" y="713"/>
                    <a:pt x="293" y="712"/>
                  </a:cubicBezTo>
                  <a:cubicBezTo>
                    <a:pt x="293" y="712"/>
                    <a:pt x="293" y="712"/>
                    <a:pt x="293" y="712"/>
                  </a:cubicBezTo>
                  <a:cubicBezTo>
                    <a:pt x="293" y="712"/>
                    <a:pt x="293" y="712"/>
                    <a:pt x="293" y="712"/>
                  </a:cubicBezTo>
                  <a:cubicBezTo>
                    <a:pt x="293" y="712"/>
                    <a:pt x="293" y="713"/>
                    <a:pt x="293" y="713"/>
                  </a:cubicBezTo>
                  <a:cubicBezTo>
                    <a:pt x="293" y="714"/>
                    <a:pt x="292" y="714"/>
                    <a:pt x="291" y="715"/>
                  </a:cubicBezTo>
                  <a:cubicBezTo>
                    <a:pt x="291" y="715"/>
                    <a:pt x="291" y="715"/>
                    <a:pt x="291" y="716"/>
                  </a:cubicBezTo>
                  <a:cubicBezTo>
                    <a:pt x="291" y="716"/>
                    <a:pt x="291" y="716"/>
                    <a:pt x="291" y="716"/>
                  </a:cubicBezTo>
                  <a:cubicBezTo>
                    <a:pt x="291" y="716"/>
                    <a:pt x="291" y="716"/>
                    <a:pt x="291" y="716"/>
                  </a:cubicBezTo>
                  <a:cubicBezTo>
                    <a:pt x="291" y="716"/>
                    <a:pt x="291" y="716"/>
                    <a:pt x="291" y="716"/>
                  </a:cubicBezTo>
                  <a:cubicBezTo>
                    <a:pt x="290" y="717"/>
                    <a:pt x="290" y="717"/>
                    <a:pt x="290" y="717"/>
                  </a:cubicBezTo>
                  <a:cubicBezTo>
                    <a:pt x="292" y="717"/>
                    <a:pt x="293" y="716"/>
                    <a:pt x="294" y="715"/>
                  </a:cubicBezTo>
                  <a:cubicBezTo>
                    <a:pt x="294" y="715"/>
                    <a:pt x="294" y="715"/>
                    <a:pt x="294" y="716"/>
                  </a:cubicBezTo>
                  <a:cubicBezTo>
                    <a:pt x="294" y="716"/>
                    <a:pt x="294" y="716"/>
                    <a:pt x="294" y="716"/>
                  </a:cubicBezTo>
                  <a:cubicBezTo>
                    <a:pt x="293" y="716"/>
                    <a:pt x="293" y="717"/>
                    <a:pt x="293" y="717"/>
                  </a:cubicBezTo>
                  <a:cubicBezTo>
                    <a:pt x="294" y="718"/>
                    <a:pt x="295" y="719"/>
                    <a:pt x="296" y="720"/>
                  </a:cubicBezTo>
                  <a:cubicBezTo>
                    <a:pt x="296" y="720"/>
                    <a:pt x="296" y="721"/>
                    <a:pt x="296" y="721"/>
                  </a:cubicBezTo>
                  <a:cubicBezTo>
                    <a:pt x="296" y="721"/>
                    <a:pt x="296" y="721"/>
                    <a:pt x="296" y="722"/>
                  </a:cubicBezTo>
                  <a:cubicBezTo>
                    <a:pt x="297" y="722"/>
                    <a:pt x="298" y="722"/>
                    <a:pt x="298" y="720"/>
                  </a:cubicBezTo>
                  <a:cubicBezTo>
                    <a:pt x="299" y="719"/>
                    <a:pt x="299" y="717"/>
                    <a:pt x="300" y="715"/>
                  </a:cubicBezTo>
                  <a:cubicBezTo>
                    <a:pt x="300" y="715"/>
                    <a:pt x="300" y="715"/>
                    <a:pt x="301" y="715"/>
                  </a:cubicBezTo>
                  <a:cubicBezTo>
                    <a:pt x="302" y="713"/>
                    <a:pt x="300" y="714"/>
                    <a:pt x="301" y="713"/>
                  </a:cubicBezTo>
                  <a:cubicBezTo>
                    <a:pt x="301" y="712"/>
                    <a:pt x="301" y="711"/>
                    <a:pt x="301" y="710"/>
                  </a:cubicBezTo>
                  <a:cubicBezTo>
                    <a:pt x="302" y="711"/>
                    <a:pt x="302" y="711"/>
                    <a:pt x="302" y="711"/>
                  </a:cubicBezTo>
                  <a:cubicBezTo>
                    <a:pt x="302" y="712"/>
                    <a:pt x="302" y="712"/>
                    <a:pt x="302" y="712"/>
                  </a:cubicBezTo>
                  <a:cubicBezTo>
                    <a:pt x="301" y="713"/>
                    <a:pt x="301" y="714"/>
                    <a:pt x="301" y="714"/>
                  </a:cubicBezTo>
                  <a:cubicBezTo>
                    <a:pt x="302" y="715"/>
                    <a:pt x="302" y="715"/>
                    <a:pt x="302" y="715"/>
                  </a:cubicBezTo>
                  <a:cubicBezTo>
                    <a:pt x="301" y="715"/>
                    <a:pt x="301" y="715"/>
                    <a:pt x="301" y="716"/>
                  </a:cubicBezTo>
                  <a:cubicBezTo>
                    <a:pt x="301" y="717"/>
                    <a:pt x="301" y="718"/>
                    <a:pt x="302" y="719"/>
                  </a:cubicBezTo>
                  <a:cubicBezTo>
                    <a:pt x="306" y="717"/>
                    <a:pt x="303" y="714"/>
                    <a:pt x="308" y="717"/>
                  </a:cubicBezTo>
                  <a:cubicBezTo>
                    <a:pt x="308" y="717"/>
                    <a:pt x="308" y="716"/>
                    <a:pt x="309" y="716"/>
                  </a:cubicBezTo>
                  <a:cubicBezTo>
                    <a:pt x="309" y="716"/>
                    <a:pt x="309" y="716"/>
                    <a:pt x="309" y="716"/>
                  </a:cubicBezTo>
                  <a:cubicBezTo>
                    <a:pt x="310" y="715"/>
                    <a:pt x="312" y="714"/>
                    <a:pt x="313" y="713"/>
                  </a:cubicBezTo>
                  <a:cubicBezTo>
                    <a:pt x="313" y="713"/>
                    <a:pt x="314" y="713"/>
                    <a:pt x="314" y="713"/>
                  </a:cubicBezTo>
                  <a:cubicBezTo>
                    <a:pt x="315" y="712"/>
                    <a:pt x="315" y="712"/>
                    <a:pt x="316" y="711"/>
                  </a:cubicBezTo>
                  <a:cubicBezTo>
                    <a:pt x="316" y="711"/>
                    <a:pt x="316" y="709"/>
                    <a:pt x="317" y="709"/>
                  </a:cubicBezTo>
                  <a:cubicBezTo>
                    <a:pt x="318" y="707"/>
                    <a:pt x="320" y="707"/>
                    <a:pt x="321" y="706"/>
                  </a:cubicBezTo>
                  <a:cubicBezTo>
                    <a:pt x="322" y="705"/>
                    <a:pt x="322" y="705"/>
                    <a:pt x="322" y="705"/>
                  </a:cubicBezTo>
                  <a:cubicBezTo>
                    <a:pt x="322" y="705"/>
                    <a:pt x="322" y="704"/>
                    <a:pt x="322" y="704"/>
                  </a:cubicBezTo>
                  <a:cubicBezTo>
                    <a:pt x="322" y="704"/>
                    <a:pt x="322" y="704"/>
                    <a:pt x="322" y="704"/>
                  </a:cubicBezTo>
                  <a:cubicBezTo>
                    <a:pt x="322" y="704"/>
                    <a:pt x="322" y="704"/>
                    <a:pt x="322" y="704"/>
                  </a:cubicBezTo>
                  <a:cubicBezTo>
                    <a:pt x="323" y="702"/>
                    <a:pt x="321" y="700"/>
                    <a:pt x="320" y="699"/>
                  </a:cubicBezTo>
                  <a:cubicBezTo>
                    <a:pt x="321" y="699"/>
                    <a:pt x="321" y="699"/>
                    <a:pt x="322" y="700"/>
                  </a:cubicBezTo>
                  <a:cubicBezTo>
                    <a:pt x="322" y="700"/>
                    <a:pt x="322" y="700"/>
                    <a:pt x="322" y="700"/>
                  </a:cubicBezTo>
                  <a:cubicBezTo>
                    <a:pt x="323" y="702"/>
                    <a:pt x="323" y="703"/>
                    <a:pt x="323" y="705"/>
                  </a:cubicBezTo>
                  <a:cubicBezTo>
                    <a:pt x="322" y="707"/>
                    <a:pt x="322" y="706"/>
                    <a:pt x="321" y="707"/>
                  </a:cubicBezTo>
                  <a:cubicBezTo>
                    <a:pt x="320" y="708"/>
                    <a:pt x="318" y="708"/>
                    <a:pt x="317" y="710"/>
                  </a:cubicBezTo>
                  <a:cubicBezTo>
                    <a:pt x="317" y="710"/>
                    <a:pt x="317" y="711"/>
                    <a:pt x="317" y="711"/>
                  </a:cubicBezTo>
                  <a:cubicBezTo>
                    <a:pt x="316" y="714"/>
                    <a:pt x="320" y="716"/>
                    <a:pt x="322" y="715"/>
                  </a:cubicBezTo>
                  <a:cubicBezTo>
                    <a:pt x="324" y="715"/>
                    <a:pt x="325" y="714"/>
                    <a:pt x="326" y="714"/>
                  </a:cubicBezTo>
                  <a:cubicBezTo>
                    <a:pt x="327" y="714"/>
                    <a:pt x="327" y="714"/>
                    <a:pt x="328" y="714"/>
                  </a:cubicBezTo>
                  <a:cubicBezTo>
                    <a:pt x="327" y="715"/>
                    <a:pt x="326" y="715"/>
                    <a:pt x="325" y="715"/>
                  </a:cubicBezTo>
                  <a:cubicBezTo>
                    <a:pt x="325" y="715"/>
                    <a:pt x="325" y="715"/>
                    <a:pt x="325" y="715"/>
                  </a:cubicBezTo>
                  <a:cubicBezTo>
                    <a:pt x="324" y="716"/>
                    <a:pt x="324" y="716"/>
                    <a:pt x="324" y="717"/>
                  </a:cubicBezTo>
                  <a:cubicBezTo>
                    <a:pt x="323" y="718"/>
                    <a:pt x="324" y="719"/>
                    <a:pt x="325" y="721"/>
                  </a:cubicBezTo>
                  <a:cubicBezTo>
                    <a:pt x="325" y="721"/>
                    <a:pt x="325" y="721"/>
                    <a:pt x="325" y="721"/>
                  </a:cubicBezTo>
                  <a:cubicBezTo>
                    <a:pt x="324" y="719"/>
                    <a:pt x="322" y="717"/>
                    <a:pt x="320" y="717"/>
                  </a:cubicBezTo>
                  <a:cubicBezTo>
                    <a:pt x="318" y="716"/>
                    <a:pt x="317" y="718"/>
                    <a:pt x="315" y="719"/>
                  </a:cubicBezTo>
                  <a:cubicBezTo>
                    <a:pt x="314" y="720"/>
                    <a:pt x="313" y="719"/>
                    <a:pt x="312" y="720"/>
                  </a:cubicBezTo>
                  <a:cubicBezTo>
                    <a:pt x="312" y="721"/>
                    <a:pt x="312" y="721"/>
                    <a:pt x="312" y="721"/>
                  </a:cubicBezTo>
                  <a:cubicBezTo>
                    <a:pt x="312" y="721"/>
                    <a:pt x="312" y="721"/>
                    <a:pt x="312" y="721"/>
                  </a:cubicBezTo>
                  <a:cubicBezTo>
                    <a:pt x="312" y="722"/>
                    <a:pt x="312" y="722"/>
                    <a:pt x="313" y="723"/>
                  </a:cubicBezTo>
                  <a:cubicBezTo>
                    <a:pt x="313" y="723"/>
                    <a:pt x="313" y="723"/>
                    <a:pt x="312" y="723"/>
                  </a:cubicBezTo>
                  <a:cubicBezTo>
                    <a:pt x="312" y="724"/>
                    <a:pt x="309" y="723"/>
                    <a:pt x="308" y="725"/>
                  </a:cubicBezTo>
                  <a:cubicBezTo>
                    <a:pt x="308" y="724"/>
                    <a:pt x="315" y="720"/>
                    <a:pt x="309" y="723"/>
                  </a:cubicBezTo>
                  <a:cubicBezTo>
                    <a:pt x="307" y="723"/>
                    <a:pt x="308" y="725"/>
                    <a:pt x="307" y="726"/>
                  </a:cubicBezTo>
                  <a:cubicBezTo>
                    <a:pt x="306" y="728"/>
                    <a:pt x="306" y="727"/>
                    <a:pt x="304" y="728"/>
                  </a:cubicBezTo>
                  <a:cubicBezTo>
                    <a:pt x="302" y="729"/>
                    <a:pt x="302" y="730"/>
                    <a:pt x="302" y="731"/>
                  </a:cubicBezTo>
                  <a:cubicBezTo>
                    <a:pt x="301" y="734"/>
                    <a:pt x="302" y="740"/>
                    <a:pt x="304" y="741"/>
                  </a:cubicBezTo>
                  <a:cubicBezTo>
                    <a:pt x="304" y="742"/>
                    <a:pt x="305" y="742"/>
                    <a:pt x="306" y="742"/>
                  </a:cubicBezTo>
                  <a:cubicBezTo>
                    <a:pt x="307" y="742"/>
                    <a:pt x="308" y="742"/>
                    <a:pt x="309" y="741"/>
                  </a:cubicBezTo>
                  <a:cubicBezTo>
                    <a:pt x="309" y="741"/>
                    <a:pt x="309" y="741"/>
                    <a:pt x="309" y="741"/>
                  </a:cubicBezTo>
                  <a:cubicBezTo>
                    <a:pt x="309" y="740"/>
                    <a:pt x="309" y="740"/>
                    <a:pt x="309" y="740"/>
                  </a:cubicBezTo>
                  <a:cubicBezTo>
                    <a:pt x="309" y="740"/>
                    <a:pt x="308" y="740"/>
                    <a:pt x="309" y="740"/>
                  </a:cubicBezTo>
                  <a:cubicBezTo>
                    <a:pt x="309" y="739"/>
                    <a:pt x="309" y="739"/>
                    <a:pt x="309" y="738"/>
                  </a:cubicBezTo>
                  <a:cubicBezTo>
                    <a:pt x="310" y="737"/>
                    <a:pt x="311" y="738"/>
                    <a:pt x="311" y="737"/>
                  </a:cubicBezTo>
                  <a:cubicBezTo>
                    <a:pt x="311" y="736"/>
                    <a:pt x="311" y="735"/>
                    <a:pt x="311" y="734"/>
                  </a:cubicBezTo>
                  <a:cubicBezTo>
                    <a:pt x="312" y="733"/>
                    <a:pt x="313" y="733"/>
                    <a:pt x="313" y="733"/>
                  </a:cubicBezTo>
                  <a:cubicBezTo>
                    <a:pt x="313" y="732"/>
                    <a:pt x="314" y="731"/>
                    <a:pt x="314" y="731"/>
                  </a:cubicBezTo>
                  <a:cubicBezTo>
                    <a:pt x="314" y="733"/>
                    <a:pt x="312" y="734"/>
                    <a:pt x="312" y="736"/>
                  </a:cubicBezTo>
                  <a:cubicBezTo>
                    <a:pt x="313" y="736"/>
                    <a:pt x="314" y="736"/>
                    <a:pt x="315" y="736"/>
                  </a:cubicBezTo>
                  <a:cubicBezTo>
                    <a:pt x="315" y="736"/>
                    <a:pt x="316" y="736"/>
                    <a:pt x="317" y="736"/>
                  </a:cubicBezTo>
                  <a:cubicBezTo>
                    <a:pt x="317" y="736"/>
                    <a:pt x="318" y="736"/>
                    <a:pt x="319" y="736"/>
                  </a:cubicBezTo>
                  <a:cubicBezTo>
                    <a:pt x="319" y="736"/>
                    <a:pt x="319" y="736"/>
                    <a:pt x="320" y="736"/>
                  </a:cubicBezTo>
                  <a:cubicBezTo>
                    <a:pt x="321" y="736"/>
                    <a:pt x="322" y="736"/>
                    <a:pt x="323" y="736"/>
                  </a:cubicBezTo>
                  <a:cubicBezTo>
                    <a:pt x="324" y="736"/>
                    <a:pt x="326" y="737"/>
                    <a:pt x="327" y="736"/>
                  </a:cubicBezTo>
                  <a:cubicBezTo>
                    <a:pt x="328" y="736"/>
                    <a:pt x="329" y="736"/>
                    <a:pt x="330" y="736"/>
                  </a:cubicBezTo>
                  <a:cubicBezTo>
                    <a:pt x="329" y="737"/>
                    <a:pt x="328" y="737"/>
                    <a:pt x="325" y="737"/>
                  </a:cubicBezTo>
                  <a:cubicBezTo>
                    <a:pt x="323" y="737"/>
                    <a:pt x="322" y="737"/>
                    <a:pt x="321" y="737"/>
                  </a:cubicBezTo>
                  <a:cubicBezTo>
                    <a:pt x="319" y="737"/>
                    <a:pt x="315" y="736"/>
                    <a:pt x="312" y="737"/>
                  </a:cubicBezTo>
                  <a:cubicBezTo>
                    <a:pt x="312" y="738"/>
                    <a:pt x="311" y="738"/>
                    <a:pt x="311" y="738"/>
                  </a:cubicBezTo>
                  <a:cubicBezTo>
                    <a:pt x="311" y="738"/>
                    <a:pt x="310" y="739"/>
                    <a:pt x="310" y="739"/>
                  </a:cubicBezTo>
                  <a:cubicBezTo>
                    <a:pt x="309" y="741"/>
                    <a:pt x="309" y="742"/>
                    <a:pt x="307" y="744"/>
                  </a:cubicBezTo>
                  <a:cubicBezTo>
                    <a:pt x="307" y="744"/>
                    <a:pt x="306" y="745"/>
                    <a:pt x="306" y="745"/>
                  </a:cubicBezTo>
                  <a:cubicBezTo>
                    <a:pt x="305" y="745"/>
                    <a:pt x="304" y="746"/>
                    <a:pt x="304" y="746"/>
                  </a:cubicBezTo>
                  <a:cubicBezTo>
                    <a:pt x="304" y="746"/>
                    <a:pt x="304" y="747"/>
                    <a:pt x="304" y="747"/>
                  </a:cubicBezTo>
                  <a:cubicBezTo>
                    <a:pt x="305" y="747"/>
                    <a:pt x="305" y="747"/>
                    <a:pt x="305" y="747"/>
                  </a:cubicBezTo>
                  <a:cubicBezTo>
                    <a:pt x="306" y="747"/>
                    <a:pt x="308" y="747"/>
                    <a:pt x="309" y="747"/>
                  </a:cubicBezTo>
                  <a:cubicBezTo>
                    <a:pt x="310" y="747"/>
                    <a:pt x="310" y="747"/>
                    <a:pt x="311" y="747"/>
                  </a:cubicBezTo>
                  <a:cubicBezTo>
                    <a:pt x="311" y="747"/>
                    <a:pt x="312" y="747"/>
                    <a:pt x="312" y="747"/>
                  </a:cubicBezTo>
                  <a:cubicBezTo>
                    <a:pt x="313" y="747"/>
                    <a:pt x="313" y="747"/>
                    <a:pt x="314" y="748"/>
                  </a:cubicBezTo>
                  <a:cubicBezTo>
                    <a:pt x="315" y="748"/>
                    <a:pt x="317" y="748"/>
                    <a:pt x="318" y="747"/>
                  </a:cubicBezTo>
                  <a:cubicBezTo>
                    <a:pt x="318" y="746"/>
                    <a:pt x="319" y="746"/>
                    <a:pt x="319" y="745"/>
                  </a:cubicBezTo>
                  <a:cubicBezTo>
                    <a:pt x="319" y="746"/>
                    <a:pt x="319" y="746"/>
                    <a:pt x="319" y="747"/>
                  </a:cubicBezTo>
                  <a:cubicBezTo>
                    <a:pt x="319" y="747"/>
                    <a:pt x="318" y="747"/>
                    <a:pt x="318" y="747"/>
                  </a:cubicBezTo>
                  <a:cubicBezTo>
                    <a:pt x="318" y="747"/>
                    <a:pt x="318" y="747"/>
                    <a:pt x="318" y="748"/>
                  </a:cubicBezTo>
                  <a:cubicBezTo>
                    <a:pt x="318" y="748"/>
                    <a:pt x="318" y="748"/>
                    <a:pt x="317" y="748"/>
                  </a:cubicBezTo>
                  <a:cubicBezTo>
                    <a:pt x="317" y="748"/>
                    <a:pt x="317" y="748"/>
                    <a:pt x="316" y="748"/>
                  </a:cubicBezTo>
                  <a:cubicBezTo>
                    <a:pt x="314" y="749"/>
                    <a:pt x="312" y="748"/>
                    <a:pt x="310" y="748"/>
                  </a:cubicBezTo>
                  <a:cubicBezTo>
                    <a:pt x="310" y="748"/>
                    <a:pt x="309" y="748"/>
                    <a:pt x="309" y="748"/>
                  </a:cubicBezTo>
                  <a:cubicBezTo>
                    <a:pt x="308" y="748"/>
                    <a:pt x="307" y="748"/>
                    <a:pt x="306" y="749"/>
                  </a:cubicBezTo>
                  <a:cubicBezTo>
                    <a:pt x="305" y="749"/>
                    <a:pt x="305" y="749"/>
                    <a:pt x="305" y="749"/>
                  </a:cubicBezTo>
                  <a:cubicBezTo>
                    <a:pt x="303" y="749"/>
                    <a:pt x="301" y="749"/>
                    <a:pt x="301" y="748"/>
                  </a:cubicBezTo>
                  <a:cubicBezTo>
                    <a:pt x="298" y="748"/>
                    <a:pt x="292" y="750"/>
                    <a:pt x="289" y="751"/>
                  </a:cubicBezTo>
                  <a:cubicBezTo>
                    <a:pt x="290" y="754"/>
                    <a:pt x="292" y="758"/>
                    <a:pt x="295" y="760"/>
                  </a:cubicBezTo>
                  <a:cubicBezTo>
                    <a:pt x="297" y="761"/>
                    <a:pt x="300" y="760"/>
                    <a:pt x="302" y="760"/>
                  </a:cubicBezTo>
                  <a:cubicBezTo>
                    <a:pt x="304" y="759"/>
                    <a:pt x="311" y="759"/>
                    <a:pt x="307" y="757"/>
                  </a:cubicBezTo>
                  <a:cubicBezTo>
                    <a:pt x="308" y="757"/>
                    <a:pt x="309" y="757"/>
                    <a:pt x="311" y="757"/>
                  </a:cubicBezTo>
                  <a:cubicBezTo>
                    <a:pt x="311" y="757"/>
                    <a:pt x="311" y="757"/>
                    <a:pt x="311" y="757"/>
                  </a:cubicBezTo>
                  <a:cubicBezTo>
                    <a:pt x="310" y="759"/>
                    <a:pt x="309" y="758"/>
                    <a:pt x="310" y="760"/>
                  </a:cubicBezTo>
                  <a:cubicBezTo>
                    <a:pt x="310" y="761"/>
                    <a:pt x="311" y="763"/>
                    <a:pt x="312" y="764"/>
                  </a:cubicBezTo>
                  <a:cubicBezTo>
                    <a:pt x="308" y="762"/>
                    <a:pt x="307" y="760"/>
                    <a:pt x="304" y="761"/>
                  </a:cubicBezTo>
                  <a:cubicBezTo>
                    <a:pt x="302" y="761"/>
                    <a:pt x="301" y="761"/>
                    <a:pt x="301" y="762"/>
                  </a:cubicBezTo>
                  <a:cubicBezTo>
                    <a:pt x="298" y="765"/>
                    <a:pt x="301" y="765"/>
                    <a:pt x="303" y="768"/>
                  </a:cubicBezTo>
                  <a:cubicBezTo>
                    <a:pt x="304" y="769"/>
                    <a:pt x="302" y="771"/>
                    <a:pt x="301" y="771"/>
                  </a:cubicBezTo>
                  <a:cubicBezTo>
                    <a:pt x="303" y="771"/>
                    <a:pt x="305" y="770"/>
                    <a:pt x="307" y="770"/>
                  </a:cubicBezTo>
                  <a:cubicBezTo>
                    <a:pt x="307" y="770"/>
                    <a:pt x="311" y="770"/>
                    <a:pt x="311" y="770"/>
                  </a:cubicBezTo>
                  <a:cubicBezTo>
                    <a:pt x="312" y="771"/>
                    <a:pt x="310" y="773"/>
                    <a:pt x="312" y="773"/>
                  </a:cubicBezTo>
                  <a:cubicBezTo>
                    <a:pt x="314" y="774"/>
                    <a:pt x="316" y="772"/>
                    <a:pt x="315" y="771"/>
                  </a:cubicBezTo>
                  <a:cubicBezTo>
                    <a:pt x="317" y="771"/>
                    <a:pt x="318" y="772"/>
                    <a:pt x="319" y="772"/>
                  </a:cubicBezTo>
                  <a:cubicBezTo>
                    <a:pt x="318" y="773"/>
                    <a:pt x="317" y="776"/>
                    <a:pt x="317" y="777"/>
                  </a:cubicBezTo>
                  <a:cubicBezTo>
                    <a:pt x="318" y="780"/>
                    <a:pt x="324" y="780"/>
                    <a:pt x="324" y="776"/>
                  </a:cubicBezTo>
                  <a:cubicBezTo>
                    <a:pt x="325" y="777"/>
                    <a:pt x="326" y="777"/>
                    <a:pt x="327" y="777"/>
                  </a:cubicBezTo>
                  <a:cubicBezTo>
                    <a:pt x="326" y="777"/>
                    <a:pt x="326" y="776"/>
                    <a:pt x="326" y="776"/>
                  </a:cubicBezTo>
                  <a:cubicBezTo>
                    <a:pt x="329" y="777"/>
                    <a:pt x="330" y="779"/>
                    <a:pt x="331" y="782"/>
                  </a:cubicBezTo>
                  <a:cubicBezTo>
                    <a:pt x="332" y="785"/>
                    <a:pt x="333" y="782"/>
                    <a:pt x="334" y="782"/>
                  </a:cubicBezTo>
                  <a:cubicBezTo>
                    <a:pt x="335" y="782"/>
                    <a:pt x="336" y="781"/>
                    <a:pt x="335" y="782"/>
                  </a:cubicBezTo>
                  <a:cubicBezTo>
                    <a:pt x="334" y="785"/>
                    <a:pt x="334" y="784"/>
                    <a:pt x="336" y="785"/>
                  </a:cubicBezTo>
                  <a:cubicBezTo>
                    <a:pt x="338" y="785"/>
                    <a:pt x="341" y="785"/>
                    <a:pt x="343" y="785"/>
                  </a:cubicBezTo>
                  <a:cubicBezTo>
                    <a:pt x="340" y="786"/>
                    <a:pt x="334" y="785"/>
                    <a:pt x="332" y="788"/>
                  </a:cubicBezTo>
                  <a:cubicBezTo>
                    <a:pt x="332" y="789"/>
                    <a:pt x="332" y="793"/>
                    <a:pt x="333" y="794"/>
                  </a:cubicBezTo>
                  <a:cubicBezTo>
                    <a:pt x="336" y="791"/>
                    <a:pt x="335" y="792"/>
                    <a:pt x="339" y="792"/>
                  </a:cubicBezTo>
                  <a:cubicBezTo>
                    <a:pt x="339" y="791"/>
                    <a:pt x="346" y="793"/>
                    <a:pt x="347" y="792"/>
                  </a:cubicBezTo>
                  <a:cubicBezTo>
                    <a:pt x="347" y="793"/>
                    <a:pt x="345" y="797"/>
                    <a:pt x="345" y="797"/>
                  </a:cubicBezTo>
                  <a:cubicBezTo>
                    <a:pt x="346" y="800"/>
                    <a:pt x="350" y="796"/>
                    <a:pt x="350" y="794"/>
                  </a:cubicBezTo>
                  <a:cubicBezTo>
                    <a:pt x="350" y="796"/>
                    <a:pt x="349" y="797"/>
                    <a:pt x="350" y="798"/>
                  </a:cubicBezTo>
                  <a:cubicBezTo>
                    <a:pt x="351" y="799"/>
                    <a:pt x="351" y="800"/>
                    <a:pt x="351" y="800"/>
                  </a:cubicBezTo>
                  <a:cubicBezTo>
                    <a:pt x="352" y="800"/>
                    <a:pt x="353" y="799"/>
                    <a:pt x="354" y="799"/>
                  </a:cubicBezTo>
                  <a:cubicBezTo>
                    <a:pt x="353" y="800"/>
                    <a:pt x="352" y="802"/>
                    <a:pt x="351" y="802"/>
                  </a:cubicBezTo>
                  <a:cubicBezTo>
                    <a:pt x="350" y="802"/>
                    <a:pt x="347" y="801"/>
                    <a:pt x="349" y="803"/>
                  </a:cubicBezTo>
                  <a:cubicBezTo>
                    <a:pt x="350" y="805"/>
                    <a:pt x="358" y="804"/>
                    <a:pt x="360" y="804"/>
                  </a:cubicBezTo>
                  <a:cubicBezTo>
                    <a:pt x="362" y="805"/>
                    <a:pt x="364" y="805"/>
                    <a:pt x="366" y="805"/>
                  </a:cubicBezTo>
                  <a:cubicBezTo>
                    <a:pt x="371" y="806"/>
                    <a:pt x="372" y="803"/>
                    <a:pt x="373" y="798"/>
                  </a:cubicBezTo>
                  <a:cubicBezTo>
                    <a:pt x="373" y="801"/>
                    <a:pt x="373" y="803"/>
                    <a:pt x="371" y="805"/>
                  </a:cubicBezTo>
                  <a:cubicBezTo>
                    <a:pt x="369" y="807"/>
                    <a:pt x="368" y="808"/>
                    <a:pt x="366" y="810"/>
                  </a:cubicBezTo>
                  <a:cubicBezTo>
                    <a:pt x="365" y="811"/>
                    <a:pt x="363" y="812"/>
                    <a:pt x="366" y="813"/>
                  </a:cubicBezTo>
                  <a:cubicBezTo>
                    <a:pt x="374" y="816"/>
                    <a:pt x="382" y="819"/>
                    <a:pt x="389" y="822"/>
                  </a:cubicBezTo>
                  <a:cubicBezTo>
                    <a:pt x="393" y="823"/>
                    <a:pt x="397" y="824"/>
                    <a:pt x="400" y="826"/>
                  </a:cubicBezTo>
                  <a:cubicBezTo>
                    <a:pt x="401" y="826"/>
                    <a:pt x="402" y="826"/>
                    <a:pt x="402" y="825"/>
                  </a:cubicBezTo>
                  <a:cubicBezTo>
                    <a:pt x="402" y="825"/>
                    <a:pt x="403" y="826"/>
                    <a:pt x="403" y="826"/>
                  </a:cubicBezTo>
                  <a:cubicBezTo>
                    <a:pt x="404" y="827"/>
                    <a:pt x="404" y="826"/>
                    <a:pt x="405" y="826"/>
                  </a:cubicBezTo>
                  <a:cubicBezTo>
                    <a:pt x="406" y="825"/>
                    <a:pt x="405" y="824"/>
                    <a:pt x="404" y="822"/>
                  </a:cubicBezTo>
                  <a:cubicBezTo>
                    <a:pt x="404" y="822"/>
                    <a:pt x="405" y="822"/>
                    <a:pt x="405" y="822"/>
                  </a:cubicBezTo>
                  <a:cubicBezTo>
                    <a:pt x="405" y="822"/>
                    <a:pt x="406" y="823"/>
                    <a:pt x="407" y="823"/>
                  </a:cubicBezTo>
                  <a:cubicBezTo>
                    <a:pt x="410" y="822"/>
                    <a:pt x="408" y="820"/>
                    <a:pt x="407" y="818"/>
                  </a:cubicBezTo>
                  <a:cubicBezTo>
                    <a:pt x="405" y="815"/>
                    <a:pt x="406" y="815"/>
                    <a:pt x="402" y="816"/>
                  </a:cubicBezTo>
                  <a:cubicBezTo>
                    <a:pt x="403" y="813"/>
                    <a:pt x="401" y="814"/>
                    <a:pt x="400" y="813"/>
                  </a:cubicBezTo>
                  <a:cubicBezTo>
                    <a:pt x="400" y="812"/>
                    <a:pt x="402" y="812"/>
                    <a:pt x="401" y="810"/>
                  </a:cubicBezTo>
                  <a:cubicBezTo>
                    <a:pt x="400" y="808"/>
                    <a:pt x="396" y="807"/>
                    <a:pt x="396" y="805"/>
                  </a:cubicBezTo>
                  <a:cubicBezTo>
                    <a:pt x="395" y="804"/>
                    <a:pt x="398" y="804"/>
                    <a:pt x="396" y="802"/>
                  </a:cubicBezTo>
                  <a:cubicBezTo>
                    <a:pt x="395" y="801"/>
                    <a:pt x="394" y="801"/>
                    <a:pt x="393" y="800"/>
                  </a:cubicBezTo>
                  <a:cubicBezTo>
                    <a:pt x="392" y="799"/>
                    <a:pt x="393" y="799"/>
                    <a:pt x="392" y="798"/>
                  </a:cubicBezTo>
                  <a:cubicBezTo>
                    <a:pt x="391" y="798"/>
                    <a:pt x="389" y="797"/>
                    <a:pt x="388" y="797"/>
                  </a:cubicBezTo>
                  <a:cubicBezTo>
                    <a:pt x="389" y="796"/>
                    <a:pt x="384" y="795"/>
                    <a:pt x="382" y="794"/>
                  </a:cubicBezTo>
                  <a:cubicBezTo>
                    <a:pt x="379" y="794"/>
                    <a:pt x="378" y="793"/>
                    <a:pt x="375" y="792"/>
                  </a:cubicBezTo>
                  <a:cubicBezTo>
                    <a:pt x="374" y="791"/>
                    <a:pt x="374" y="791"/>
                    <a:pt x="372" y="790"/>
                  </a:cubicBezTo>
                  <a:cubicBezTo>
                    <a:pt x="372" y="789"/>
                    <a:pt x="371" y="788"/>
                    <a:pt x="371" y="787"/>
                  </a:cubicBezTo>
                  <a:cubicBezTo>
                    <a:pt x="370" y="786"/>
                    <a:pt x="369" y="786"/>
                    <a:pt x="369" y="785"/>
                  </a:cubicBezTo>
                  <a:cubicBezTo>
                    <a:pt x="369" y="784"/>
                    <a:pt x="370" y="784"/>
                    <a:pt x="370" y="783"/>
                  </a:cubicBezTo>
                  <a:cubicBezTo>
                    <a:pt x="370" y="782"/>
                    <a:pt x="368" y="781"/>
                    <a:pt x="367" y="780"/>
                  </a:cubicBezTo>
                  <a:cubicBezTo>
                    <a:pt x="365" y="778"/>
                    <a:pt x="364" y="776"/>
                    <a:pt x="363" y="774"/>
                  </a:cubicBezTo>
                  <a:cubicBezTo>
                    <a:pt x="362" y="773"/>
                    <a:pt x="361" y="772"/>
                    <a:pt x="360" y="772"/>
                  </a:cubicBezTo>
                  <a:cubicBezTo>
                    <a:pt x="361" y="772"/>
                    <a:pt x="363" y="772"/>
                    <a:pt x="364" y="773"/>
                  </a:cubicBezTo>
                  <a:cubicBezTo>
                    <a:pt x="364" y="773"/>
                    <a:pt x="364" y="773"/>
                    <a:pt x="364" y="773"/>
                  </a:cubicBezTo>
                  <a:cubicBezTo>
                    <a:pt x="364" y="774"/>
                    <a:pt x="365" y="774"/>
                    <a:pt x="365" y="775"/>
                  </a:cubicBezTo>
                  <a:cubicBezTo>
                    <a:pt x="365" y="774"/>
                    <a:pt x="365" y="774"/>
                    <a:pt x="364" y="773"/>
                  </a:cubicBezTo>
                  <a:cubicBezTo>
                    <a:pt x="365" y="774"/>
                    <a:pt x="365" y="774"/>
                    <a:pt x="366" y="774"/>
                  </a:cubicBezTo>
                  <a:cubicBezTo>
                    <a:pt x="366" y="773"/>
                    <a:pt x="366" y="772"/>
                    <a:pt x="367" y="771"/>
                  </a:cubicBezTo>
                  <a:cubicBezTo>
                    <a:pt x="368" y="771"/>
                    <a:pt x="368" y="771"/>
                    <a:pt x="369" y="771"/>
                  </a:cubicBezTo>
                  <a:cubicBezTo>
                    <a:pt x="368" y="771"/>
                    <a:pt x="368" y="772"/>
                    <a:pt x="368" y="772"/>
                  </a:cubicBezTo>
                  <a:cubicBezTo>
                    <a:pt x="368" y="772"/>
                    <a:pt x="368" y="773"/>
                    <a:pt x="368" y="773"/>
                  </a:cubicBezTo>
                  <a:cubicBezTo>
                    <a:pt x="367" y="773"/>
                    <a:pt x="367" y="773"/>
                    <a:pt x="367" y="773"/>
                  </a:cubicBezTo>
                  <a:cubicBezTo>
                    <a:pt x="367" y="773"/>
                    <a:pt x="367" y="774"/>
                    <a:pt x="367" y="774"/>
                  </a:cubicBezTo>
                  <a:cubicBezTo>
                    <a:pt x="367" y="775"/>
                    <a:pt x="367" y="777"/>
                    <a:pt x="367" y="777"/>
                  </a:cubicBezTo>
                  <a:cubicBezTo>
                    <a:pt x="368" y="777"/>
                    <a:pt x="369" y="776"/>
                    <a:pt x="368" y="775"/>
                  </a:cubicBezTo>
                  <a:cubicBezTo>
                    <a:pt x="371" y="775"/>
                    <a:pt x="372" y="778"/>
                    <a:pt x="374" y="777"/>
                  </a:cubicBezTo>
                  <a:cubicBezTo>
                    <a:pt x="375" y="777"/>
                    <a:pt x="375" y="775"/>
                    <a:pt x="376" y="775"/>
                  </a:cubicBezTo>
                  <a:cubicBezTo>
                    <a:pt x="377" y="774"/>
                    <a:pt x="379" y="775"/>
                    <a:pt x="380" y="774"/>
                  </a:cubicBezTo>
                  <a:cubicBezTo>
                    <a:pt x="381" y="774"/>
                    <a:pt x="382" y="773"/>
                    <a:pt x="383" y="772"/>
                  </a:cubicBezTo>
                  <a:cubicBezTo>
                    <a:pt x="383" y="773"/>
                    <a:pt x="381" y="774"/>
                    <a:pt x="379" y="775"/>
                  </a:cubicBezTo>
                  <a:cubicBezTo>
                    <a:pt x="377" y="775"/>
                    <a:pt x="375" y="776"/>
                    <a:pt x="375" y="777"/>
                  </a:cubicBezTo>
                  <a:cubicBezTo>
                    <a:pt x="375" y="778"/>
                    <a:pt x="375" y="778"/>
                    <a:pt x="376" y="779"/>
                  </a:cubicBezTo>
                  <a:cubicBezTo>
                    <a:pt x="376" y="780"/>
                    <a:pt x="376" y="781"/>
                    <a:pt x="377" y="782"/>
                  </a:cubicBezTo>
                  <a:cubicBezTo>
                    <a:pt x="377" y="782"/>
                    <a:pt x="377" y="782"/>
                    <a:pt x="377" y="782"/>
                  </a:cubicBezTo>
                  <a:cubicBezTo>
                    <a:pt x="376" y="782"/>
                    <a:pt x="376" y="782"/>
                    <a:pt x="377" y="783"/>
                  </a:cubicBezTo>
                  <a:cubicBezTo>
                    <a:pt x="376" y="783"/>
                    <a:pt x="376" y="783"/>
                    <a:pt x="376" y="784"/>
                  </a:cubicBezTo>
                  <a:cubicBezTo>
                    <a:pt x="376" y="784"/>
                    <a:pt x="376" y="784"/>
                    <a:pt x="376" y="784"/>
                  </a:cubicBezTo>
                  <a:cubicBezTo>
                    <a:pt x="376" y="785"/>
                    <a:pt x="375" y="786"/>
                    <a:pt x="376" y="788"/>
                  </a:cubicBezTo>
                  <a:cubicBezTo>
                    <a:pt x="375" y="787"/>
                    <a:pt x="374" y="786"/>
                    <a:pt x="372" y="786"/>
                  </a:cubicBezTo>
                  <a:cubicBezTo>
                    <a:pt x="373" y="786"/>
                    <a:pt x="373" y="786"/>
                    <a:pt x="373" y="787"/>
                  </a:cubicBezTo>
                  <a:cubicBezTo>
                    <a:pt x="375" y="789"/>
                    <a:pt x="380" y="791"/>
                    <a:pt x="384" y="793"/>
                  </a:cubicBezTo>
                  <a:cubicBezTo>
                    <a:pt x="384" y="793"/>
                    <a:pt x="385" y="793"/>
                    <a:pt x="385" y="793"/>
                  </a:cubicBezTo>
                  <a:cubicBezTo>
                    <a:pt x="385" y="793"/>
                    <a:pt x="385" y="793"/>
                    <a:pt x="385" y="793"/>
                  </a:cubicBezTo>
                  <a:cubicBezTo>
                    <a:pt x="387" y="794"/>
                    <a:pt x="388" y="794"/>
                    <a:pt x="389" y="794"/>
                  </a:cubicBezTo>
                  <a:cubicBezTo>
                    <a:pt x="389" y="794"/>
                    <a:pt x="389" y="794"/>
                    <a:pt x="389" y="794"/>
                  </a:cubicBezTo>
                  <a:cubicBezTo>
                    <a:pt x="390" y="793"/>
                    <a:pt x="390" y="793"/>
                    <a:pt x="390" y="793"/>
                  </a:cubicBezTo>
                  <a:cubicBezTo>
                    <a:pt x="390" y="793"/>
                    <a:pt x="390" y="793"/>
                    <a:pt x="390" y="792"/>
                  </a:cubicBezTo>
                  <a:cubicBezTo>
                    <a:pt x="390" y="792"/>
                    <a:pt x="390" y="792"/>
                    <a:pt x="390" y="792"/>
                  </a:cubicBezTo>
                  <a:cubicBezTo>
                    <a:pt x="390" y="792"/>
                    <a:pt x="390" y="792"/>
                    <a:pt x="390" y="791"/>
                  </a:cubicBezTo>
                  <a:cubicBezTo>
                    <a:pt x="390" y="791"/>
                    <a:pt x="390" y="790"/>
                    <a:pt x="391" y="790"/>
                  </a:cubicBezTo>
                  <a:cubicBezTo>
                    <a:pt x="392" y="790"/>
                    <a:pt x="392" y="791"/>
                    <a:pt x="393" y="791"/>
                  </a:cubicBezTo>
                  <a:cubicBezTo>
                    <a:pt x="393" y="791"/>
                    <a:pt x="393" y="791"/>
                    <a:pt x="393" y="791"/>
                  </a:cubicBezTo>
                  <a:cubicBezTo>
                    <a:pt x="392" y="790"/>
                    <a:pt x="391" y="789"/>
                    <a:pt x="392" y="788"/>
                  </a:cubicBezTo>
                  <a:cubicBezTo>
                    <a:pt x="392" y="788"/>
                    <a:pt x="392" y="787"/>
                    <a:pt x="392" y="787"/>
                  </a:cubicBezTo>
                  <a:cubicBezTo>
                    <a:pt x="393" y="787"/>
                    <a:pt x="393" y="786"/>
                    <a:pt x="394" y="786"/>
                  </a:cubicBezTo>
                  <a:cubicBezTo>
                    <a:pt x="394" y="786"/>
                    <a:pt x="395" y="786"/>
                    <a:pt x="395" y="786"/>
                  </a:cubicBezTo>
                  <a:cubicBezTo>
                    <a:pt x="395" y="786"/>
                    <a:pt x="395" y="786"/>
                    <a:pt x="395" y="786"/>
                  </a:cubicBezTo>
                  <a:cubicBezTo>
                    <a:pt x="395" y="786"/>
                    <a:pt x="395" y="786"/>
                    <a:pt x="395" y="786"/>
                  </a:cubicBezTo>
                  <a:cubicBezTo>
                    <a:pt x="395" y="785"/>
                    <a:pt x="395" y="785"/>
                    <a:pt x="395" y="785"/>
                  </a:cubicBezTo>
                  <a:cubicBezTo>
                    <a:pt x="395" y="785"/>
                    <a:pt x="395" y="785"/>
                    <a:pt x="395" y="784"/>
                  </a:cubicBezTo>
                  <a:cubicBezTo>
                    <a:pt x="395" y="784"/>
                    <a:pt x="395" y="784"/>
                    <a:pt x="395" y="784"/>
                  </a:cubicBezTo>
                  <a:cubicBezTo>
                    <a:pt x="394" y="783"/>
                    <a:pt x="393" y="782"/>
                    <a:pt x="392" y="781"/>
                  </a:cubicBezTo>
                  <a:cubicBezTo>
                    <a:pt x="393" y="782"/>
                    <a:pt x="395" y="782"/>
                    <a:pt x="395" y="783"/>
                  </a:cubicBezTo>
                  <a:cubicBezTo>
                    <a:pt x="395" y="783"/>
                    <a:pt x="396" y="783"/>
                    <a:pt x="396" y="783"/>
                  </a:cubicBezTo>
                  <a:cubicBezTo>
                    <a:pt x="396" y="783"/>
                    <a:pt x="396" y="783"/>
                    <a:pt x="396" y="783"/>
                  </a:cubicBezTo>
                  <a:cubicBezTo>
                    <a:pt x="396" y="784"/>
                    <a:pt x="396" y="784"/>
                    <a:pt x="396" y="785"/>
                  </a:cubicBezTo>
                  <a:cubicBezTo>
                    <a:pt x="396" y="785"/>
                    <a:pt x="396" y="785"/>
                    <a:pt x="396" y="785"/>
                  </a:cubicBezTo>
                  <a:cubicBezTo>
                    <a:pt x="396" y="785"/>
                    <a:pt x="396" y="785"/>
                    <a:pt x="396" y="785"/>
                  </a:cubicBezTo>
                  <a:cubicBezTo>
                    <a:pt x="396" y="786"/>
                    <a:pt x="395" y="786"/>
                    <a:pt x="394" y="787"/>
                  </a:cubicBezTo>
                  <a:cubicBezTo>
                    <a:pt x="394" y="787"/>
                    <a:pt x="393" y="787"/>
                    <a:pt x="393" y="787"/>
                  </a:cubicBezTo>
                  <a:cubicBezTo>
                    <a:pt x="393" y="788"/>
                    <a:pt x="393" y="788"/>
                    <a:pt x="393" y="788"/>
                  </a:cubicBezTo>
                  <a:cubicBezTo>
                    <a:pt x="392" y="789"/>
                    <a:pt x="394" y="791"/>
                    <a:pt x="394" y="793"/>
                  </a:cubicBezTo>
                  <a:cubicBezTo>
                    <a:pt x="394" y="793"/>
                    <a:pt x="394" y="793"/>
                    <a:pt x="394" y="794"/>
                  </a:cubicBezTo>
                  <a:cubicBezTo>
                    <a:pt x="394" y="794"/>
                    <a:pt x="394" y="794"/>
                    <a:pt x="394" y="794"/>
                  </a:cubicBezTo>
                  <a:cubicBezTo>
                    <a:pt x="394" y="794"/>
                    <a:pt x="394" y="794"/>
                    <a:pt x="394" y="795"/>
                  </a:cubicBezTo>
                  <a:cubicBezTo>
                    <a:pt x="394" y="796"/>
                    <a:pt x="397" y="797"/>
                    <a:pt x="398" y="797"/>
                  </a:cubicBezTo>
                  <a:cubicBezTo>
                    <a:pt x="400" y="798"/>
                    <a:pt x="401" y="797"/>
                    <a:pt x="402" y="797"/>
                  </a:cubicBezTo>
                  <a:cubicBezTo>
                    <a:pt x="402" y="797"/>
                    <a:pt x="402" y="797"/>
                    <a:pt x="401" y="798"/>
                  </a:cubicBezTo>
                  <a:cubicBezTo>
                    <a:pt x="401" y="798"/>
                    <a:pt x="401" y="798"/>
                    <a:pt x="401" y="798"/>
                  </a:cubicBezTo>
                  <a:cubicBezTo>
                    <a:pt x="400" y="798"/>
                    <a:pt x="399" y="798"/>
                    <a:pt x="398" y="799"/>
                  </a:cubicBezTo>
                  <a:cubicBezTo>
                    <a:pt x="397" y="800"/>
                    <a:pt x="397" y="801"/>
                    <a:pt x="397" y="802"/>
                  </a:cubicBezTo>
                  <a:cubicBezTo>
                    <a:pt x="398" y="803"/>
                    <a:pt x="399" y="804"/>
                    <a:pt x="401" y="805"/>
                  </a:cubicBezTo>
                  <a:cubicBezTo>
                    <a:pt x="402" y="805"/>
                    <a:pt x="403" y="806"/>
                    <a:pt x="404" y="805"/>
                  </a:cubicBezTo>
                  <a:cubicBezTo>
                    <a:pt x="404" y="805"/>
                    <a:pt x="404" y="805"/>
                    <a:pt x="404" y="805"/>
                  </a:cubicBezTo>
                  <a:cubicBezTo>
                    <a:pt x="404" y="805"/>
                    <a:pt x="404" y="805"/>
                    <a:pt x="404" y="805"/>
                  </a:cubicBezTo>
                  <a:cubicBezTo>
                    <a:pt x="404" y="805"/>
                    <a:pt x="404" y="805"/>
                    <a:pt x="404" y="805"/>
                  </a:cubicBezTo>
                  <a:cubicBezTo>
                    <a:pt x="404" y="805"/>
                    <a:pt x="404" y="805"/>
                    <a:pt x="404" y="805"/>
                  </a:cubicBezTo>
                  <a:cubicBezTo>
                    <a:pt x="404" y="804"/>
                    <a:pt x="404" y="804"/>
                    <a:pt x="404" y="804"/>
                  </a:cubicBezTo>
                  <a:cubicBezTo>
                    <a:pt x="403" y="804"/>
                    <a:pt x="403" y="803"/>
                    <a:pt x="403" y="803"/>
                  </a:cubicBezTo>
                  <a:cubicBezTo>
                    <a:pt x="404" y="803"/>
                    <a:pt x="404" y="802"/>
                    <a:pt x="405" y="802"/>
                  </a:cubicBezTo>
                  <a:cubicBezTo>
                    <a:pt x="405" y="802"/>
                    <a:pt x="405" y="802"/>
                    <a:pt x="405" y="802"/>
                  </a:cubicBezTo>
                  <a:cubicBezTo>
                    <a:pt x="405" y="801"/>
                    <a:pt x="405" y="801"/>
                    <a:pt x="406" y="801"/>
                  </a:cubicBezTo>
                  <a:cubicBezTo>
                    <a:pt x="407" y="801"/>
                    <a:pt x="408" y="800"/>
                    <a:pt x="409" y="800"/>
                  </a:cubicBezTo>
                  <a:cubicBezTo>
                    <a:pt x="409" y="799"/>
                    <a:pt x="410" y="799"/>
                    <a:pt x="410" y="798"/>
                  </a:cubicBezTo>
                  <a:cubicBezTo>
                    <a:pt x="410" y="798"/>
                    <a:pt x="410" y="798"/>
                    <a:pt x="410" y="798"/>
                  </a:cubicBezTo>
                  <a:cubicBezTo>
                    <a:pt x="410" y="798"/>
                    <a:pt x="410" y="798"/>
                    <a:pt x="410" y="798"/>
                  </a:cubicBezTo>
                  <a:cubicBezTo>
                    <a:pt x="410" y="798"/>
                    <a:pt x="410" y="798"/>
                    <a:pt x="410" y="797"/>
                  </a:cubicBezTo>
                  <a:cubicBezTo>
                    <a:pt x="410" y="797"/>
                    <a:pt x="411" y="797"/>
                    <a:pt x="411" y="797"/>
                  </a:cubicBezTo>
                  <a:cubicBezTo>
                    <a:pt x="411" y="798"/>
                    <a:pt x="410" y="802"/>
                    <a:pt x="409" y="805"/>
                  </a:cubicBezTo>
                  <a:cubicBezTo>
                    <a:pt x="410" y="804"/>
                    <a:pt x="411" y="804"/>
                    <a:pt x="412" y="804"/>
                  </a:cubicBezTo>
                  <a:cubicBezTo>
                    <a:pt x="414" y="804"/>
                    <a:pt x="415" y="805"/>
                    <a:pt x="417" y="806"/>
                  </a:cubicBezTo>
                  <a:cubicBezTo>
                    <a:pt x="417" y="806"/>
                    <a:pt x="417" y="805"/>
                    <a:pt x="418" y="805"/>
                  </a:cubicBezTo>
                  <a:cubicBezTo>
                    <a:pt x="418" y="805"/>
                    <a:pt x="418" y="805"/>
                    <a:pt x="418" y="804"/>
                  </a:cubicBezTo>
                  <a:cubicBezTo>
                    <a:pt x="418" y="804"/>
                    <a:pt x="418" y="804"/>
                    <a:pt x="418" y="804"/>
                  </a:cubicBezTo>
                  <a:cubicBezTo>
                    <a:pt x="418" y="804"/>
                    <a:pt x="418" y="804"/>
                    <a:pt x="418" y="804"/>
                  </a:cubicBezTo>
                  <a:cubicBezTo>
                    <a:pt x="418" y="804"/>
                    <a:pt x="418" y="804"/>
                    <a:pt x="418" y="804"/>
                  </a:cubicBezTo>
                  <a:cubicBezTo>
                    <a:pt x="418" y="804"/>
                    <a:pt x="418" y="804"/>
                    <a:pt x="418" y="804"/>
                  </a:cubicBezTo>
                  <a:cubicBezTo>
                    <a:pt x="418" y="804"/>
                    <a:pt x="418" y="805"/>
                    <a:pt x="418" y="805"/>
                  </a:cubicBezTo>
                  <a:cubicBezTo>
                    <a:pt x="418" y="806"/>
                    <a:pt x="418" y="806"/>
                    <a:pt x="417" y="807"/>
                  </a:cubicBezTo>
                  <a:cubicBezTo>
                    <a:pt x="418" y="808"/>
                    <a:pt x="418" y="809"/>
                    <a:pt x="418" y="810"/>
                  </a:cubicBezTo>
                  <a:cubicBezTo>
                    <a:pt x="418" y="813"/>
                    <a:pt x="416" y="815"/>
                    <a:pt x="413" y="816"/>
                  </a:cubicBezTo>
                  <a:cubicBezTo>
                    <a:pt x="413" y="817"/>
                    <a:pt x="413" y="817"/>
                    <a:pt x="413" y="818"/>
                  </a:cubicBezTo>
                  <a:cubicBezTo>
                    <a:pt x="414" y="818"/>
                    <a:pt x="416" y="818"/>
                    <a:pt x="417" y="818"/>
                  </a:cubicBezTo>
                  <a:cubicBezTo>
                    <a:pt x="417" y="817"/>
                    <a:pt x="417" y="817"/>
                    <a:pt x="417" y="817"/>
                  </a:cubicBezTo>
                  <a:cubicBezTo>
                    <a:pt x="420" y="815"/>
                    <a:pt x="420" y="815"/>
                    <a:pt x="420" y="815"/>
                  </a:cubicBezTo>
                  <a:cubicBezTo>
                    <a:pt x="420" y="815"/>
                    <a:pt x="420" y="815"/>
                    <a:pt x="420" y="815"/>
                  </a:cubicBezTo>
                  <a:cubicBezTo>
                    <a:pt x="483" y="815"/>
                    <a:pt x="483" y="815"/>
                    <a:pt x="483" y="815"/>
                  </a:cubicBezTo>
                  <a:cubicBezTo>
                    <a:pt x="744" y="815"/>
                    <a:pt x="744" y="815"/>
                    <a:pt x="744" y="815"/>
                  </a:cubicBezTo>
                  <a:cubicBezTo>
                    <a:pt x="750" y="815"/>
                    <a:pt x="835" y="815"/>
                    <a:pt x="835" y="815"/>
                  </a:cubicBezTo>
                  <a:cubicBezTo>
                    <a:pt x="839" y="815"/>
                    <a:pt x="844" y="815"/>
                    <a:pt x="844" y="815"/>
                  </a:cubicBezTo>
                  <a:cubicBezTo>
                    <a:pt x="846" y="815"/>
                    <a:pt x="853" y="815"/>
                    <a:pt x="854" y="815"/>
                  </a:cubicBezTo>
                  <a:cubicBezTo>
                    <a:pt x="856" y="815"/>
                    <a:pt x="954" y="815"/>
                    <a:pt x="1007" y="815"/>
                  </a:cubicBezTo>
                  <a:cubicBezTo>
                    <a:pt x="1047" y="815"/>
                    <a:pt x="1047" y="815"/>
                    <a:pt x="1047" y="815"/>
                  </a:cubicBezTo>
                  <a:cubicBezTo>
                    <a:pt x="1055" y="816"/>
                    <a:pt x="1058" y="816"/>
                    <a:pt x="1060" y="815"/>
                  </a:cubicBezTo>
                  <a:cubicBezTo>
                    <a:pt x="1060" y="813"/>
                    <a:pt x="1060" y="809"/>
                    <a:pt x="1060" y="808"/>
                  </a:cubicBezTo>
                  <a:cubicBezTo>
                    <a:pt x="1057" y="803"/>
                    <a:pt x="1057" y="803"/>
                    <a:pt x="1057" y="803"/>
                  </a:cubicBezTo>
                  <a:cubicBezTo>
                    <a:pt x="1063" y="804"/>
                    <a:pt x="1063" y="804"/>
                    <a:pt x="1063" y="804"/>
                  </a:cubicBezTo>
                  <a:cubicBezTo>
                    <a:pt x="1066" y="804"/>
                    <a:pt x="1073" y="805"/>
                    <a:pt x="1073" y="812"/>
                  </a:cubicBezTo>
                  <a:cubicBezTo>
                    <a:pt x="1073" y="814"/>
                    <a:pt x="1076" y="822"/>
                    <a:pt x="1077" y="823"/>
                  </a:cubicBezTo>
                  <a:cubicBezTo>
                    <a:pt x="1078" y="824"/>
                    <a:pt x="1078" y="824"/>
                    <a:pt x="1078" y="824"/>
                  </a:cubicBezTo>
                  <a:cubicBezTo>
                    <a:pt x="1081" y="823"/>
                    <a:pt x="1085" y="825"/>
                    <a:pt x="1086" y="826"/>
                  </a:cubicBezTo>
                  <a:cubicBezTo>
                    <a:pt x="1087" y="827"/>
                    <a:pt x="1097" y="831"/>
                    <a:pt x="1100" y="828"/>
                  </a:cubicBezTo>
                  <a:cubicBezTo>
                    <a:pt x="1104" y="825"/>
                    <a:pt x="1109" y="826"/>
                    <a:pt x="1113" y="827"/>
                  </a:cubicBezTo>
                  <a:cubicBezTo>
                    <a:pt x="1114" y="827"/>
                    <a:pt x="1114" y="827"/>
                    <a:pt x="1115" y="828"/>
                  </a:cubicBezTo>
                  <a:cubicBezTo>
                    <a:pt x="1120" y="828"/>
                    <a:pt x="1126" y="831"/>
                    <a:pt x="1128" y="836"/>
                  </a:cubicBezTo>
                  <a:cubicBezTo>
                    <a:pt x="1128" y="836"/>
                    <a:pt x="1128" y="836"/>
                    <a:pt x="1128" y="836"/>
                  </a:cubicBezTo>
                  <a:cubicBezTo>
                    <a:pt x="1131" y="834"/>
                    <a:pt x="1135" y="834"/>
                    <a:pt x="1138" y="836"/>
                  </a:cubicBezTo>
                  <a:cubicBezTo>
                    <a:pt x="1138" y="837"/>
                    <a:pt x="1139" y="837"/>
                    <a:pt x="1140" y="838"/>
                  </a:cubicBezTo>
                  <a:cubicBezTo>
                    <a:pt x="1145" y="843"/>
                    <a:pt x="1148" y="845"/>
                    <a:pt x="1152" y="842"/>
                  </a:cubicBezTo>
                  <a:cubicBezTo>
                    <a:pt x="1157" y="838"/>
                    <a:pt x="1161" y="837"/>
                    <a:pt x="1163" y="838"/>
                  </a:cubicBezTo>
                  <a:cubicBezTo>
                    <a:pt x="1164" y="839"/>
                    <a:pt x="1165" y="840"/>
                    <a:pt x="1165" y="841"/>
                  </a:cubicBezTo>
                  <a:cubicBezTo>
                    <a:pt x="1166" y="841"/>
                    <a:pt x="1166" y="841"/>
                    <a:pt x="1166" y="841"/>
                  </a:cubicBezTo>
                  <a:cubicBezTo>
                    <a:pt x="1166" y="842"/>
                    <a:pt x="1166" y="842"/>
                    <a:pt x="1166" y="842"/>
                  </a:cubicBezTo>
                  <a:cubicBezTo>
                    <a:pt x="1169" y="842"/>
                    <a:pt x="1179" y="844"/>
                    <a:pt x="1182" y="844"/>
                  </a:cubicBezTo>
                  <a:cubicBezTo>
                    <a:pt x="1183" y="844"/>
                    <a:pt x="1185" y="845"/>
                    <a:pt x="1192" y="845"/>
                  </a:cubicBezTo>
                  <a:cubicBezTo>
                    <a:pt x="1193" y="845"/>
                    <a:pt x="1193" y="845"/>
                    <a:pt x="1193" y="845"/>
                  </a:cubicBezTo>
                  <a:cubicBezTo>
                    <a:pt x="1193" y="846"/>
                    <a:pt x="1193" y="846"/>
                    <a:pt x="1193" y="846"/>
                  </a:cubicBezTo>
                  <a:cubicBezTo>
                    <a:pt x="1193" y="846"/>
                    <a:pt x="1193" y="846"/>
                    <a:pt x="1193" y="846"/>
                  </a:cubicBezTo>
                  <a:cubicBezTo>
                    <a:pt x="1193" y="846"/>
                    <a:pt x="1193" y="846"/>
                    <a:pt x="1193" y="846"/>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5" y="844"/>
                    <a:pt x="1195" y="844"/>
                    <a:pt x="1195" y="844"/>
                  </a:cubicBezTo>
                  <a:cubicBezTo>
                    <a:pt x="1195" y="844"/>
                    <a:pt x="1195" y="844"/>
                    <a:pt x="1195" y="844"/>
                  </a:cubicBezTo>
                  <a:cubicBezTo>
                    <a:pt x="1195" y="844"/>
                    <a:pt x="1195" y="844"/>
                    <a:pt x="1195" y="844"/>
                  </a:cubicBezTo>
                  <a:cubicBezTo>
                    <a:pt x="1195" y="844"/>
                    <a:pt x="1195" y="844"/>
                    <a:pt x="1195" y="844"/>
                  </a:cubicBezTo>
                  <a:cubicBezTo>
                    <a:pt x="1195" y="844"/>
                    <a:pt x="1195" y="844"/>
                    <a:pt x="1195" y="844"/>
                  </a:cubicBezTo>
                  <a:cubicBezTo>
                    <a:pt x="1195" y="844"/>
                    <a:pt x="1196" y="844"/>
                    <a:pt x="1196" y="844"/>
                  </a:cubicBezTo>
                  <a:cubicBezTo>
                    <a:pt x="1196" y="844"/>
                    <a:pt x="1196" y="844"/>
                    <a:pt x="1196" y="844"/>
                  </a:cubicBezTo>
                  <a:cubicBezTo>
                    <a:pt x="1196" y="844"/>
                    <a:pt x="1196" y="844"/>
                    <a:pt x="1196" y="844"/>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7" y="843"/>
                    <a:pt x="1197" y="843"/>
                    <a:pt x="1197" y="843"/>
                  </a:cubicBezTo>
                  <a:cubicBezTo>
                    <a:pt x="1197" y="842"/>
                    <a:pt x="1197" y="842"/>
                    <a:pt x="1197" y="842"/>
                  </a:cubicBezTo>
                  <a:cubicBezTo>
                    <a:pt x="1197" y="842"/>
                    <a:pt x="1197" y="842"/>
                    <a:pt x="1197" y="842"/>
                  </a:cubicBezTo>
                  <a:cubicBezTo>
                    <a:pt x="1197" y="842"/>
                    <a:pt x="1197" y="842"/>
                    <a:pt x="1197" y="842"/>
                  </a:cubicBezTo>
                  <a:cubicBezTo>
                    <a:pt x="1197" y="841"/>
                    <a:pt x="1197" y="841"/>
                    <a:pt x="1197" y="841"/>
                  </a:cubicBezTo>
                  <a:cubicBezTo>
                    <a:pt x="1197" y="841"/>
                    <a:pt x="1197" y="841"/>
                    <a:pt x="1197" y="841"/>
                  </a:cubicBezTo>
                  <a:cubicBezTo>
                    <a:pt x="1197" y="841"/>
                    <a:pt x="1197" y="841"/>
                    <a:pt x="1197" y="841"/>
                  </a:cubicBezTo>
                  <a:cubicBezTo>
                    <a:pt x="1197" y="841"/>
                    <a:pt x="1197" y="841"/>
                    <a:pt x="1197" y="841"/>
                  </a:cubicBezTo>
                  <a:cubicBezTo>
                    <a:pt x="1197" y="841"/>
                    <a:pt x="1197" y="841"/>
                    <a:pt x="1197" y="841"/>
                  </a:cubicBezTo>
                  <a:cubicBezTo>
                    <a:pt x="1198" y="841"/>
                    <a:pt x="1197" y="840"/>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8"/>
                    <a:pt x="1198" y="838"/>
                    <a:pt x="1198" y="838"/>
                  </a:cubicBezTo>
                  <a:cubicBezTo>
                    <a:pt x="1198" y="838"/>
                    <a:pt x="1198" y="838"/>
                    <a:pt x="1198" y="838"/>
                  </a:cubicBezTo>
                  <a:cubicBezTo>
                    <a:pt x="1198" y="838"/>
                    <a:pt x="1198" y="838"/>
                    <a:pt x="1198" y="838"/>
                  </a:cubicBezTo>
                  <a:cubicBezTo>
                    <a:pt x="1198" y="838"/>
                    <a:pt x="1198" y="838"/>
                    <a:pt x="1198" y="838"/>
                  </a:cubicBezTo>
                  <a:cubicBezTo>
                    <a:pt x="1199" y="838"/>
                    <a:pt x="1199" y="838"/>
                    <a:pt x="1199" y="838"/>
                  </a:cubicBezTo>
                  <a:cubicBezTo>
                    <a:pt x="1199" y="838"/>
                    <a:pt x="1199" y="838"/>
                    <a:pt x="1199" y="838"/>
                  </a:cubicBezTo>
                  <a:cubicBezTo>
                    <a:pt x="1199" y="838"/>
                    <a:pt x="1199" y="838"/>
                    <a:pt x="1199" y="838"/>
                  </a:cubicBezTo>
                  <a:cubicBezTo>
                    <a:pt x="1199" y="838"/>
                    <a:pt x="1199" y="838"/>
                    <a:pt x="1199" y="838"/>
                  </a:cubicBezTo>
                  <a:cubicBezTo>
                    <a:pt x="1199" y="838"/>
                    <a:pt x="1199" y="838"/>
                    <a:pt x="1199" y="838"/>
                  </a:cubicBezTo>
                  <a:cubicBezTo>
                    <a:pt x="1199" y="837"/>
                    <a:pt x="1199" y="837"/>
                    <a:pt x="1199" y="837"/>
                  </a:cubicBezTo>
                  <a:cubicBezTo>
                    <a:pt x="1199" y="837"/>
                    <a:pt x="1199" y="837"/>
                    <a:pt x="1199" y="837"/>
                  </a:cubicBezTo>
                  <a:cubicBezTo>
                    <a:pt x="1199" y="837"/>
                    <a:pt x="1199" y="837"/>
                    <a:pt x="1199" y="837"/>
                  </a:cubicBezTo>
                  <a:cubicBezTo>
                    <a:pt x="1199" y="836"/>
                    <a:pt x="1197" y="837"/>
                    <a:pt x="1198" y="835"/>
                  </a:cubicBezTo>
                  <a:cubicBezTo>
                    <a:pt x="1198" y="835"/>
                    <a:pt x="1198" y="835"/>
                    <a:pt x="1198" y="835"/>
                  </a:cubicBezTo>
                  <a:cubicBezTo>
                    <a:pt x="1198" y="835"/>
                    <a:pt x="1198" y="835"/>
                    <a:pt x="1198" y="835"/>
                  </a:cubicBezTo>
                  <a:cubicBezTo>
                    <a:pt x="1198" y="835"/>
                    <a:pt x="1198" y="835"/>
                    <a:pt x="1198" y="835"/>
                  </a:cubicBezTo>
                  <a:cubicBezTo>
                    <a:pt x="1199" y="835"/>
                    <a:pt x="1199" y="835"/>
                    <a:pt x="1199" y="835"/>
                  </a:cubicBezTo>
                  <a:cubicBezTo>
                    <a:pt x="1199" y="835"/>
                    <a:pt x="1199" y="835"/>
                    <a:pt x="1199" y="835"/>
                  </a:cubicBezTo>
                  <a:cubicBezTo>
                    <a:pt x="1199" y="835"/>
                    <a:pt x="1199" y="835"/>
                    <a:pt x="1199" y="835"/>
                  </a:cubicBezTo>
                  <a:cubicBezTo>
                    <a:pt x="1199" y="835"/>
                    <a:pt x="1199" y="835"/>
                    <a:pt x="1199" y="835"/>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200" y="834"/>
                    <a:pt x="1200" y="834"/>
                    <a:pt x="1200" y="834"/>
                  </a:cubicBezTo>
                  <a:cubicBezTo>
                    <a:pt x="1200" y="834"/>
                    <a:pt x="1200" y="834"/>
                    <a:pt x="1200" y="834"/>
                  </a:cubicBezTo>
                  <a:cubicBezTo>
                    <a:pt x="1200" y="834"/>
                    <a:pt x="1200" y="834"/>
                    <a:pt x="1200" y="834"/>
                  </a:cubicBezTo>
                  <a:cubicBezTo>
                    <a:pt x="1200" y="833"/>
                    <a:pt x="1200" y="833"/>
                    <a:pt x="1200" y="833"/>
                  </a:cubicBezTo>
                  <a:cubicBezTo>
                    <a:pt x="1200" y="833"/>
                    <a:pt x="1200" y="833"/>
                    <a:pt x="1200" y="833"/>
                  </a:cubicBezTo>
                  <a:cubicBezTo>
                    <a:pt x="1201" y="833"/>
                    <a:pt x="1201" y="833"/>
                    <a:pt x="1202" y="833"/>
                  </a:cubicBezTo>
                  <a:cubicBezTo>
                    <a:pt x="1202" y="833"/>
                    <a:pt x="1202" y="833"/>
                    <a:pt x="1202" y="833"/>
                  </a:cubicBezTo>
                  <a:cubicBezTo>
                    <a:pt x="1202" y="833"/>
                    <a:pt x="1202" y="833"/>
                    <a:pt x="1202" y="833"/>
                  </a:cubicBezTo>
                  <a:cubicBezTo>
                    <a:pt x="1203" y="832"/>
                    <a:pt x="1203" y="832"/>
                    <a:pt x="1204" y="832"/>
                  </a:cubicBezTo>
                  <a:cubicBezTo>
                    <a:pt x="1204" y="832"/>
                    <a:pt x="1204" y="832"/>
                    <a:pt x="1204" y="832"/>
                  </a:cubicBezTo>
                  <a:cubicBezTo>
                    <a:pt x="1204" y="832"/>
                    <a:pt x="1204" y="832"/>
                    <a:pt x="1204" y="832"/>
                  </a:cubicBezTo>
                  <a:cubicBezTo>
                    <a:pt x="1204" y="832"/>
                    <a:pt x="1204" y="832"/>
                    <a:pt x="1204" y="832"/>
                  </a:cubicBezTo>
                  <a:cubicBezTo>
                    <a:pt x="1204" y="832"/>
                    <a:pt x="1204" y="832"/>
                    <a:pt x="1204" y="832"/>
                  </a:cubicBezTo>
                  <a:cubicBezTo>
                    <a:pt x="1204" y="832"/>
                    <a:pt x="1204" y="832"/>
                    <a:pt x="1204" y="832"/>
                  </a:cubicBezTo>
                  <a:cubicBezTo>
                    <a:pt x="1205" y="832"/>
                    <a:pt x="1205" y="832"/>
                    <a:pt x="1205" y="832"/>
                  </a:cubicBezTo>
                  <a:cubicBezTo>
                    <a:pt x="1205" y="832"/>
                    <a:pt x="1205" y="832"/>
                    <a:pt x="1205" y="832"/>
                  </a:cubicBezTo>
                  <a:cubicBezTo>
                    <a:pt x="1205" y="832"/>
                    <a:pt x="1205" y="832"/>
                    <a:pt x="1205" y="832"/>
                  </a:cubicBezTo>
                  <a:cubicBezTo>
                    <a:pt x="1205" y="832"/>
                    <a:pt x="1205" y="832"/>
                    <a:pt x="1205" y="832"/>
                  </a:cubicBezTo>
                  <a:cubicBezTo>
                    <a:pt x="1205" y="832"/>
                    <a:pt x="1205" y="832"/>
                    <a:pt x="1205" y="832"/>
                  </a:cubicBezTo>
                  <a:cubicBezTo>
                    <a:pt x="1205" y="831"/>
                    <a:pt x="1205" y="831"/>
                    <a:pt x="1205" y="831"/>
                  </a:cubicBezTo>
                  <a:cubicBezTo>
                    <a:pt x="1205" y="831"/>
                    <a:pt x="1205" y="831"/>
                    <a:pt x="1205" y="831"/>
                  </a:cubicBezTo>
                  <a:cubicBezTo>
                    <a:pt x="1206" y="831"/>
                    <a:pt x="1206" y="831"/>
                    <a:pt x="1206" y="831"/>
                  </a:cubicBezTo>
                  <a:cubicBezTo>
                    <a:pt x="1206" y="831"/>
                    <a:pt x="1206" y="831"/>
                    <a:pt x="1206" y="831"/>
                  </a:cubicBezTo>
                  <a:cubicBezTo>
                    <a:pt x="1206" y="831"/>
                    <a:pt x="1206" y="831"/>
                    <a:pt x="1206" y="831"/>
                  </a:cubicBezTo>
                  <a:cubicBezTo>
                    <a:pt x="1206" y="831"/>
                    <a:pt x="1206" y="831"/>
                    <a:pt x="1206" y="831"/>
                  </a:cubicBezTo>
                  <a:cubicBezTo>
                    <a:pt x="1206" y="831"/>
                    <a:pt x="1206" y="831"/>
                    <a:pt x="1206"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8" y="831"/>
                    <a:pt x="1208" y="831"/>
                    <a:pt x="1208" y="831"/>
                  </a:cubicBezTo>
                  <a:cubicBezTo>
                    <a:pt x="1208" y="831"/>
                    <a:pt x="1208" y="831"/>
                    <a:pt x="1208" y="831"/>
                  </a:cubicBezTo>
                  <a:cubicBezTo>
                    <a:pt x="1208" y="831"/>
                    <a:pt x="1208" y="831"/>
                    <a:pt x="1208" y="831"/>
                  </a:cubicBezTo>
                  <a:cubicBezTo>
                    <a:pt x="1208" y="830"/>
                    <a:pt x="1208" y="830"/>
                    <a:pt x="1208" y="830"/>
                  </a:cubicBezTo>
                  <a:cubicBezTo>
                    <a:pt x="1208" y="830"/>
                    <a:pt x="1208" y="830"/>
                    <a:pt x="1208" y="830"/>
                  </a:cubicBezTo>
                  <a:cubicBezTo>
                    <a:pt x="1208" y="830"/>
                    <a:pt x="1208" y="830"/>
                    <a:pt x="1208" y="830"/>
                  </a:cubicBezTo>
                  <a:cubicBezTo>
                    <a:pt x="1209" y="830"/>
                    <a:pt x="1209" y="830"/>
                    <a:pt x="1209" y="830"/>
                  </a:cubicBezTo>
                  <a:cubicBezTo>
                    <a:pt x="1209" y="830"/>
                    <a:pt x="1209" y="830"/>
                    <a:pt x="1209" y="830"/>
                  </a:cubicBezTo>
                  <a:cubicBezTo>
                    <a:pt x="1209" y="830"/>
                    <a:pt x="1209" y="830"/>
                    <a:pt x="1209" y="830"/>
                  </a:cubicBezTo>
                  <a:cubicBezTo>
                    <a:pt x="1209" y="830"/>
                    <a:pt x="1209" y="830"/>
                    <a:pt x="1209" y="830"/>
                  </a:cubicBezTo>
                  <a:cubicBezTo>
                    <a:pt x="1209" y="830"/>
                    <a:pt x="1209" y="830"/>
                    <a:pt x="1209" y="830"/>
                  </a:cubicBezTo>
                  <a:cubicBezTo>
                    <a:pt x="1209" y="831"/>
                    <a:pt x="1209" y="831"/>
                    <a:pt x="1209" y="831"/>
                  </a:cubicBezTo>
                  <a:cubicBezTo>
                    <a:pt x="1208" y="832"/>
                    <a:pt x="1208" y="832"/>
                    <a:pt x="1208" y="832"/>
                  </a:cubicBezTo>
                  <a:cubicBezTo>
                    <a:pt x="1208" y="833"/>
                    <a:pt x="1207" y="833"/>
                    <a:pt x="1207" y="834"/>
                  </a:cubicBezTo>
                  <a:cubicBezTo>
                    <a:pt x="1207" y="834"/>
                    <a:pt x="1207" y="834"/>
                    <a:pt x="1207" y="834"/>
                  </a:cubicBezTo>
                  <a:cubicBezTo>
                    <a:pt x="1207" y="834"/>
                    <a:pt x="1207" y="834"/>
                    <a:pt x="1207" y="834"/>
                  </a:cubicBezTo>
                  <a:cubicBezTo>
                    <a:pt x="1207" y="834"/>
                    <a:pt x="1207" y="834"/>
                    <a:pt x="1207" y="834"/>
                  </a:cubicBezTo>
                  <a:cubicBezTo>
                    <a:pt x="1207" y="834"/>
                    <a:pt x="1207" y="834"/>
                    <a:pt x="1207" y="834"/>
                  </a:cubicBezTo>
                  <a:cubicBezTo>
                    <a:pt x="1207" y="834"/>
                    <a:pt x="1207" y="834"/>
                    <a:pt x="1207" y="834"/>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6" y="836"/>
                    <a:pt x="1206" y="836"/>
                    <a:pt x="1206" y="836"/>
                  </a:cubicBezTo>
                  <a:cubicBezTo>
                    <a:pt x="1206" y="836"/>
                    <a:pt x="1206" y="836"/>
                    <a:pt x="1206" y="836"/>
                  </a:cubicBezTo>
                  <a:cubicBezTo>
                    <a:pt x="1206" y="836"/>
                    <a:pt x="1206" y="836"/>
                    <a:pt x="1206" y="836"/>
                  </a:cubicBezTo>
                  <a:cubicBezTo>
                    <a:pt x="1206" y="836"/>
                    <a:pt x="1206" y="836"/>
                    <a:pt x="1206" y="836"/>
                  </a:cubicBezTo>
                  <a:cubicBezTo>
                    <a:pt x="1206" y="837"/>
                    <a:pt x="1206" y="837"/>
                    <a:pt x="1205" y="837"/>
                  </a:cubicBezTo>
                  <a:cubicBezTo>
                    <a:pt x="1205" y="838"/>
                    <a:pt x="1205" y="838"/>
                    <a:pt x="1205" y="838"/>
                  </a:cubicBezTo>
                  <a:cubicBezTo>
                    <a:pt x="1205" y="838"/>
                    <a:pt x="1205" y="838"/>
                    <a:pt x="1205" y="838"/>
                  </a:cubicBezTo>
                  <a:cubicBezTo>
                    <a:pt x="1205" y="838"/>
                    <a:pt x="1205" y="838"/>
                    <a:pt x="1205" y="838"/>
                  </a:cubicBezTo>
                  <a:cubicBezTo>
                    <a:pt x="1206" y="838"/>
                    <a:pt x="1206" y="838"/>
                    <a:pt x="1206" y="838"/>
                  </a:cubicBezTo>
                  <a:cubicBezTo>
                    <a:pt x="1206" y="838"/>
                    <a:pt x="1206" y="838"/>
                    <a:pt x="1206" y="838"/>
                  </a:cubicBezTo>
                  <a:cubicBezTo>
                    <a:pt x="1208" y="837"/>
                    <a:pt x="1208" y="837"/>
                    <a:pt x="1208" y="837"/>
                  </a:cubicBezTo>
                  <a:cubicBezTo>
                    <a:pt x="1210" y="837"/>
                    <a:pt x="1210" y="836"/>
                    <a:pt x="1211" y="834"/>
                  </a:cubicBezTo>
                  <a:cubicBezTo>
                    <a:pt x="1211" y="834"/>
                    <a:pt x="1211" y="834"/>
                    <a:pt x="1211" y="834"/>
                  </a:cubicBezTo>
                  <a:cubicBezTo>
                    <a:pt x="1211" y="833"/>
                    <a:pt x="1211" y="833"/>
                    <a:pt x="1211" y="833"/>
                  </a:cubicBezTo>
                  <a:cubicBezTo>
                    <a:pt x="1211" y="833"/>
                    <a:pt x="1211" y="833"/>
                    <a:pt x="1211" y="833"/>
                  </a:cubicBezTo>
                  <a:cubicBezTo>
                    <a:pt x="1211" y="833"/>
                    <a:pt x="1211" y="833"/>
                    <a:pt x="1211" y="832"/>
                  </a:cubicBezTo>
                  <a:cubicBezTo>
                    <a:pt x="1211" y="832"/>
                    <a:pt x="1211" y="832"/>
                    <a:pt x="1211" y="832"/>
                  </a:cubicBezTo>
                  <a:cubicBezTo>
                    <a:pt x="1211" y="832"/>
                    <a:pt x="1211" y="832"/>
                    <a:pt x="1211" y="832"/>
                  </a:cubicBezTo>
                  <a:cubicBezTo>
                    <a:pt x="1211" y="832"/>
                    <a:pt x="1212" y="832"/>
                    <a:pt x="1212" y="832"/>
                  </a:cubicBezTo>
                  <a:cubicBezTo>
                    <a:pt x="1212" y="832"/>
                    <a:pt x="1212" y="832"/>
                    <a:pt x="1212" y="832"/>
                  </a:cubicBezTo>
                  <a:cubicBezTo>
                    <a:pt x="1212" y="832"/>
                    <a:pt x="1212" y="832"/>
                    <a:pt x="1212" y="832"/>
                  </a:cubicBezTo>
                  <a:cubicBezTo>
                    <a:pt x="1212" y="831"/>
                    <a:pt x="1212" y="831"/>
                    <a:pt x="1212" y="831"/>
                  </a:cubicBezTo>
                  <a:cubicBezTo>
                    <a:pt x="1212" y="831"/>
                    <a:pt x="1212" y="831"/>
                    <a:pt x="1212" y="831"/>
                  </a:cubicBezTo>
                  <a:cubicBezTo>
                    <a:pt x="1212" y="831"/>
                    <a:pt x="1212" y="831"/>
                    <a:pt x="1212" y="831"/>
                  </a:cubicBezTo>
                  <a:cubicBezTo>
                    <a:pt x="1212" y="831"/>
                    <a:pt x="1212" y="831"/>
                    <a:pt x="1212" y="831"/>
                  </a:cubicBezTo>
                  <a:cubicBezTo>
                    <a:pt x="1212" y="831"/>
                    <a:pt x="1212" y="830"/>
                    <a:pt x="1212" y="830"/>
                  </a:cubicBezTo>
                  <a:cubicBezTo>
                    <a:pt x="1212" y="830"/>
                    <a:pt x="1212" y="830"/>
                    <a:pt x="1212" y="830"/>
                  </a:cubicBezTo>
                  <a:cubicBezTo>
                    <a:pt x="1212" y="830"/>
                    <a:pt x="1212" y="830"/>
                    <a:pt x="1212" y="830"/>
                  </a:cubicBezTo>
                  <a:cubicBezTo>
                    <a:pt x="1212" y="829"/>
                    <a:pt x="1212" y="829"/>
                    <a:pt x="1213" y="829"/>
                  </a:cubicBezTo>
                  <a:cubicBezTo>
                    <a:pt x="1213" y="829"/>
                    <a:pt x="1213" y="829"/>
                    <a:pt x="1213" y="829"/>
                  </a:cubicBezTo>
                  <a:cubicBezTo>
                    <a:pt x="1213" y="829"/>
                    <a:pt x="1213" y="829"/>
                    <a:pt x="1213" y="829"/>
                  </a:cubicBezTo>
                  <a:cubicBezTo>
                    <a:pt x="1214" y="829"/>
                    <a:pt x="1214" y="829"/>
                    <a:pt x="1214" y="829"/>
                  </a:cubicBezTo>
                  <a:cubicBezTo>
                    <a:pt x="1214" y="829"/>
                    <a:pt x="1214" y="829"/>
                    <a:pt x="1214" y="829"/>
                  </a:cubicBezTo>
                  <a:cubicBezTo>
                    <a:pt x="1215" y="828"/>
                    <a:pt x="1214" y="828"/>
                    <a:pt x="1214" y="828"/>
                  </a:cubicBezTo>
                  <a:cubicBezTo>
                    <a:pt x="1214" y="827"/>
                    <a:pt x="1214" y="827"/>
                    <a:pt x="1214" y="827"/>
                  </a:cubicBezTo>
                  <a:cubicBezTo>
                    <a:pt x="1214" y="827"/>
                    <a:pt x="1214" y="827"/>
                    <a:pt x="1214" y="827"/>
                  </a:cubicBezTo>
                  <a:cubicBezTo>
                    <a:pt x="1214" y="827"/>
                    <a:pt x="1214" y="827"/>
                    <a:pt x="1214"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4" y="826"/>
                    <a:pt x="1214" y="826"/>
                    <a:pt x="1214" y="826"/>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4"/>
                    <a:pt x="1214" y="824"/>
                    <a:pt x="1214" y="824"/>
                  </a:cubicBezTo>
                  <a:cubicBezTo>
                    <a:pt x="1214" y="824"/>
                    <a:pt x="1214" y="824"/>
                    <a:pt x="1214" y="824"/>
                  </a:cubicBezTo>
                  <a:cubicBezTo>
                    <a:pt x="1214" y="824"/>
                    <a:pt x="1214" y="824"/>
                    <a:pt x="1214" y="824"/>
                  </a:cubicBezTo>
                  <a:cubicBezTo>
                    <a:pt x="1215" y="824"/>
                    <a:pt x="1215" y="824"/>
                    <a:pt x="1215" y="824"/>
                  </a:cubicBezTo>
                  <a:cubicBezTo>
                    <a:pt x="1215" y="824"/>
                    <a:pt x="1215" y="824"/>
                    <a:pt x="1215" y="824"/>
                  </a:cubicBezTo>
                  <a:cubicBezTo>
                    <a:pt x="1215" y="824"/>
                    <a:pt x="1215" y="824"/>
                    <a:pt x="1215" y="824"/>
                  </a:cubicBezTo>
                  <a:cubicBezTo>
                    <a:pt x="1215" y="823"/>
                    <a:pt x="1216" y="823"/>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7" y="822"/>
                    <a:pt x="1217" y="822"/>
                    <a:pt x="1217" y="822"/>
                  </a:cubicBezTo>
                  <a:cubicBezTo>
                    <a:pt x="1217" y="822"/>
                    <a:pt x="1217" y="822"/>
                    <a:pt x="1217" y="822"/>
                  </a:cubicBezTo>
                  <a:cubicBezTo>
                    <a:pt x="1217" y="822"/>
                    <a:pt x="1217" y="822"/>
                    <a:pt x="1217" y="822"/>
                  </a:cubicBezTo>
                  <a:cubicBezTo>
                    <a:pt x="1217" y="822"/>
                    <a:pt x="1217" y="822"/>
                    <a:pt x="1217" y="822"/>
                  </a:cubicBezTo>
                  <a:cubicBezTo>
                    <a:pt x="1217" y="822"/>
                    <a:pt x="1217" y="822"/>
                    <a:pt x="1217" y="822"/>
                  </a:cubicBezTo>
                  <a:cubicBezTo>
                    <a:pt x="1218" y="822"/>
                    <a:pt x="1218" y="822"/>
                    <a:pt x="1218" y="822"/>
                  </a:cubicBezTo>
                  <a:cubicBezTo>
                    <a:pt x="1218" y="822"/>
                    <a:pt x="1218" y="822"/>
                    <a:pt x="1218" y="822"/>
                  </a:cubicBezTo>
                  <a:cubicBezTo>
                    <a:pt x="1218" y="823"/>
                    <a:pt x="1218" y="823"/>
                    <a:pt x="1218" y="823"/>
                  </a:cubicBezTo>
                  <a:cubicBezTo>
                    <a:pt x="1218" y="823"/>
                    <a:pt x="1218" y="823"/>
                    <a:pt x="1218" y="823"/>
                  </a:cubicBezTo>
                  <a:cubicBezTo>
                    <a:pt x="1219" y="825"/>
                    <a:pt x="1219" y="825"/>
                    <a:pt x="1219" y="825"/>
                  </a:cubicBezTo>
                  <a:cubicBezTo>
                    <a:pt x="1219" y="826"/>
                    <a:pt x="1219" y="826"/>
                    <a:pt x="1219" y="826"/>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8" y="827"/>
                    <a:pt x="1218" y="827"/>
                    <a:pt x="1218" y="827"/>
                  </a:cubicBezTo>
                  <a:cubicBezTo>
                    <a:pt x="1218" y="827"/>
                    <a:pt x="1218" y="827"/>
                    <a:pt x="1218" y="827"/>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7" y="829"/>
                    <a:pt x="1217" y="829"/>
                    <a:pt x="1216" y="829"/>
                  </a:cubicBezTo>
                  <a:cubicBezTo>
                    <a:pt x="1216" y="829"/>
                    <a:pt x="1216" y="829"/>
                    <a:pt x="1216" y="829"/>
                  </a:cubicBezTo>
                  <a:cubicBezTo>
                    <a:pt x="1216" y="830"/>
                    <a:pt x="1216" y="830"/>
                    <a:pt x="1216" y="830"/>
                  </a:cubicBezTo>
                  <a:cubicBezTo>
                    <a:pt x="1216" y="830"/>
                    <a:pt x="1215" y="830"/>
                    <a:pt x="1215" y="831"/>
                  </a:cubicBezTo>
                  <a:cubicBezTo>
                    <a:pt x="1215" y="831"/>
                    <a:pt x="1215" y="831"/>
                    <a:pt x="1215" y="831"/>
                  </a:cubicBezTo>
                  <a:cubicBezTo>
                    <a:pt x="1215" y="831"/>
                    <a:pt x="1215" y="831"/>
                    <a:pt x="1215" y="831"/>
                  </a:cubicBezTo>
                  <a:cubicBezTo>
                    <a:pt x="1215" y="831"/>
                    <a:pt x="1215" y="831"/>
                    <a:pt x="1215" y="831"/>
                  </a:cubicBezTo>
                  <a:cubicBezTo>
                    <a:pt x="1215" y="831"/>
                    <a:pt x="1215" y="831"/>
                    <a:pt x="1215" y="831"/>
                  </a:cubicBezTo>
                  <a:cubicBezTo>
                    <a:pt x="1214" y="831"/>
                    <a:pt x="1214" y="831"/>
                    <a:pt x="1214" y="832"/>
                  </a:cubicBezTo>
                  <a:cubicBezTo>
                    <a:pt x="1214" y="832"/>
                    <a:pt x="1214" y="832"/>
                    <a:pt x="1214" y="832"/>
                  </a:cubicBezTo>
                  <a:cubicBezTo>
                    <a:pt x="1213" y="832"/>
                    <a:pt x="1213" y="832"/>
                    <a:pt x="1213" y="832"/>
                  </a:cubicBezTo>
                  <a:cubicBezTo>
                    <a:pt x="1213" y="833"/>
                    <a:pt x="1213" y="833"/>
                    <a:pt x="1213" y="833"/>
                  </a:cubicBezTo>
                  <a:cubicBezTo>
                    <a:pt x="1213" y="833"/>
                    <a:pt x="1213" y="833"/>
                    <a:pt x="1213" y="833"/>
                  </a:cubicBezTo>
                  <a:cubicBezTo>
                    <a:pt x="1213" y="833"/>
                    <a:pt x="1213" y="833"/>
                    <a:pt x="1213" y="833"/>
                  </a:cubicBezTo>
                  <a:cubicBezTo>
                    <a:pt x="1213" y="833"/>
                    <a:pt x="1213" y="833"/>
                    <a:pt x="1213" y="833"/>
                  </a:cubicBezTo>
                  <a:cubicBezTo>
                    <a:pt x="1213" y="833"/>
                    <a:pt x="1213" y="833"/>
                    <a:pt x="1213" y="833"/>
                  </a:cubicBezTo>
                  <a:cubicBezTo>
                    <a:pt x="1214" y="833"/>
                    <a:pt x="1214" y="833"/>
                    <a:pt x="1214" y="833"/>
                  </a:cubicBezTo>
                  <a:cubicBezTo>
                    <a:pt x="1214" y="833"/>
                    <a:pt x="1214" y="833"/>
                    <a:pt x="1214" y="833"/>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5" y="833"/>
                    <a:pt x="1215" y="833"/>
                    <a:pt x="1215" y="833"/>
                  </a:cubicBezTo>
                  <a:cubicBezTo>
                    <a:pt x="1216" y="832"/>
                    <a:pt x="1216" y="832"/>
                    <a:pt x="1216" y="832"/>
                  </a:cubicBezTo>
                  <a:cubicBezTo>
                    <a:pt x="1216" y="831"/>
                    <a:pt x="1216" y="831"/>
                    <a:pt x="1216" y="831"/>
                  </a:cubicBezTo>
                  <a:cubicBezTo>
                    <a:pt x="1216" y="831"/>
                    <a:pt x="1216" y="831"/>
                    <a:pt x="1216" y="831"/>
                  </a:cubicBezTo>
                  <a:cubicBezTo>
                    <a:pt x="1217" y="831"/>
                    <a:pt x="1217" y="830"/>
                    <a:pt x="1218" y="831"/>
                  </a:cubicBezTo>
                  <a:cubicBezTo>
                    <a:pt x="1218" y="831"/>
                    <a:pt x="1218" y="831"/>
                    <a:pt x="1218" y="831"/>
                  </a:cubicBezTo>
                  <a:cubicBezTo>
                    <a:pt x="1218" y="831"/>
                    <a:pt x="1218" y="831"/>
                    <a:pt x="1218" y="831"/>
                  </a:cubicBezTo>
                  <a:cubicBezTo>
                    <a:pt x="1218" y="830"/>
                    <a:pt x="1218" y="830"/>
                    <a:pt x="1218" y="830"/>
                  </a:cubicBezTo>
                  <a:cubicBezTo>
                    <a:pt x="1219" y="830"/>
                    <a:pt x="1219" y="830"/>
                    <a:pt x="1219" y="830"/>
                  </a:cubicBezTo>
                  <a:cubicBezTo>
                    <a:pt x="1219" y="830"/>
                    <a:pt x="1219" y="830"/>
                    <a:pt x="1220" y="830"/>
                  </a:cubicBezTo>
                  <a:cubicBezTo>
                    <a:pt x="1220" y="830"/>
                    <a:pt x="1220" y="830"/>
                    <a:pt x="1220" y="830"/>
                  </a:cubicBezTo>
                  <a:cubicBezTo>
                    <a:pt x="1220" y="830"/>
                    <a:pt x="1220" y="830"/>
                    <a:pt x="1220" y="830"/>
                  </a:cubicBezTo>
                  <a:cubicBezTo>
                    <a:pt x="1219" y="829"/>
                    <a:pt x="1219" y="829"/>
                    <a:pt x="1219" y="828"/>
                  </a:cubicBezTo>
                  <a:cubicBezTo>
                    <a:pt x="1219" y="828"/>
                    <a:pt x="1219" y="828"/>
                    <a:pt x="1219" y="828"/>
                  </a:cubicBezTo>
                  <a:cubicBezTo>
                    <a:pt x="1219" y="828"/>
                    <a:pt x="1219" y="828"/>
                    <a:pt x="1219" y="828"/>
                  </a:cubicBezTo>
                  <a:cubicBezTo>
                    <a:pt x="1219" y="828"/>
                    <a:pt x="1219" y="828"/>
                    <a:pt x="1219" y="828"/>
                  </a:cubicBezTo>
                  <a:cubicBezTo>
                    <a:pt x="1219" y="828"/>
                    <a:pt x="1219" y="828"/>
                    <a:pt x="1219" y="828"/>
                  </a:cubicBezTo>
                  <a:cubicBezTo>
                    <a:pt x="1220" y="828"/>
                    <a:pt x="1220" y="828"/>
                    <a:pt x="1220" y="828"/>
                  </a:cubicBezTo>
                  <a:cubicBezTo>
                    <a:pt x="1221" y="828"/>
                    <a:pt x="1221" y="828"/>
                    <a:pt x="1221" y="828"/>
                  </a:cubicBezTo>
                  <a:cubicBezTo>
                    <a:pt x="1221" y="829"/>
                    <a:pt x="1221" y="829"/>
                    <a:pt x="1221" y="829"/>
                  </a:cubicBezTo>
                  <a:cubicBezTo>
                    <a:pt x="1222" y="829"/>
                    <a:pt x="1222" y="829"/>
                    <a:pt x="1223" y="828"/>
                  </a:cubicBezTo>
                  <a:cubicBezTo>
                    <a:pt x="1223" y="828"/>
                    <a:pt x="1223" y="828"/>
                    <a:pt x="1223" y="828"/>
                  </a:cubicBezTo>
                  <a:cubicBezTo>
                    <a:pt x="1223" y="828"/>
                    <a:pt x="1223" y="828"/>
                    <a:pt x="1223" y="828"/>
                  </a:cubicBezTo>
                  <a:cubicBezTo>
                    <a:pt x="1224" y="827"/>
                    <a:pt x="1224" y="827"/>
                    <a:pt x="1224" y="827"/>
                  </a:cubicBezTo>
                  <a:cubicBezTo>
                    <a:pt x="1224" y="826"/>
                    <a:pt x="1224" y="826"/>
                    <a:pt x="1224" y="826"/>
                  </a:cubicBezTo>
                  <a:cubicBezTo>
                    <a:pt x="1224" y="826"/>
                    <a:pt x="1224" y="826"/>
                    <a:pt x="1224" y="826"/>
                  </a:cubicBezTo>
                  <a:cubicBezTo>
                    <a:pt x="1224" y="826"/>
                    <a:pt x="1224" y="826"/>
                    <a:pt x="1224" y="826"/>
                  </a:cubicBezTo>
                  <a:cubicBezTo>
                    <a:pt x="1224" y="826"/>
                    <a:pt x="1224" y="826"/>
                    <a:pt x="1224" y="826"/>
                  </a:cubicBezTo>
                  <a:cubicBezTo>
                    <a:pt x="1224" y="825"/>
                    <a:pt x="1224" y="825"/>
                    <a:pt x="1224" y="825"/>
                  </a:cubicBezTo>
                  <a:cubicBezTo>
                    <a:pt x="1224" y="824"/>
                    <a:pt x="1224" y="824"/>
                    <a:pt x="1224" y="824"/>
                  </a:cubicBezTo>
                  <a:cubicBezTo>
                    <a:pt x="1224" y="824"/>
                    <a:pt x="1224" y="824"/>
                    <a:pt x="1224" y="824"/>
                  </a:cubicBezTo>
                  <a:cubicBezTo>
                    <a:pt x="1224" y="824"/>
                    <a:pt x="1224" y="824"/>
                    <a:pt x="1224" y="824"/>
                  </a:cubicBezTo>
                  <a:cubicBezTo>
                    <a:pt x="1224" y="824"/>
                    <a:pt x="1224" y="824"/>
                    <a:pt x="1224" y="824"/>
                  </a:cubicBezTo>
                  <a:cubicBezTo>
                    <a:pt x="1224" y="824"/>
                    <a:pt x="1224" y="824"/>
                    <a:pt x="1224" y="824"/>
                  </a:cubicBezTo>
                  <a:cubicBezTo>
                    <a:pt x="1224" y="823"/>
                    <a:pt x="1224" y="823"/>
                    <a:pt x="1224" y="823"/>
                  </a:cubicBezTo>
                  <a:cubicBezTo>
                    <a:pt x="1224" y="823"/>
                    <a:pt x="1224" y="823"/>
                    <a:pt x="1224" y="823"/>
                  </a:cubicBezTo>
                  <a:cubicBezTo>
                    <a:pt x="1223" y="823"/>
                    <a:pt x="1223" y="823"/>
                    <a:pt x="1223" y="823"/>
                  </a:cubicBezTo>
                  <a:cubicBezTo>
                    <a:pt x="1223" y="823"/>
                    <a:pt x="1223" y="823"/>
                    <a:pt x="1223" y="823"/>
                  </a:cubicBezTo>
                  <a:cubicBezTo>
                    <a:pt x="1223" y="823"/>
                    <a:pt x="1223" y="823"/>
                    <a:pt x="1223" y="823"/>
                  </a:cubicBezTo>
                  <a:cubicBezTo>
                    <a:pt x="1223" y="823"/>
                    <a:pt x="1223" y="823"/>
                    <a:pt x="1223" y="823"/>
                  </a:cubicBezTo>
                  <a:cubicBezTo>
                    <a:pt x="1223" y="822"/>
                    <a:pt x="1223" y="822"/>
                    <a:pt x="1223" y="822"/>
                  </a:cubicBezTo>
                  <a:cubicBezTo>
                    <a:pt x="1222" y="822"/>
                    <a:pt x="1222" y="822"/>
                    <a:pt x="1222" y="822"/>
                  </a:cubicBezTo>
                  <a:cubicBezTo>
                    <a:pt x="1221" y="822"/>
                    <a:pt x="1221" y="822"/>
                    <a:pt x="1221" y="822"/>
                  </a:cubicBezTo>
                  <a:cubicBezTo>
                    <a:pt x="1221" y="822"/>
                    <a:pt x="1221" y="822"/>
                    <a:pt x="1221" y="822"/>
                  </a:cubicBezTo>
                  <a:cubicBezTo>
                    <a:pt x="1221" y="822"/>
                    <a:pt x="1221" y="822"/>
                    <a:pt x="1221" y="822"/>
                  </a:cubicBezTo>
                  <a:cubicBezTo>
                    <a:pt x="1221" y="821"/>
                    <a:pt x="1221" y="821"/>
                    <a:pt x="1221" y="821"/>
                  </a:cubicBezTo>
                  <a:cubicBezTo>
                    <a:pt x="1221" y="821"/>
                    <a:pt x="1221" y="821"/>
                    <a:pt x="1221" y="821"/>
                  </a:cubicBezTo>
                  <a:cubicBezTo>
                    <a:pt x="1221" y="821"/>
                    <a:pt x="1221" y="820"/>
                    <a:pt x="1221" y="820"/>
                  </a:cubicBezTo>
                  <a:cubicBezTo>
                    <a:pt x="1221" y="820"/>
                    <a:pt x="1221" y="820"/>
                    <a:pt x="1221" y="820"/>
                  </a:cubicBezTo>
                  <a:cubicBezTo>
                    <a:pt x="1221" y="820"/>
                    <a:pt x="1221" y="820"/>
                    <a:pt x="1221" y="820"/>
                  </a:cubicBezTo>
                  <a:cubicBezTo>
                    <a:pt x="1221" y="819"/>
                    <a:pt x="1221" y="819"/>
                    <a:pt x="1221" y="818"/>
                  </a:cubicBezTo>
                  <a:cubicBezTo>
                    <a:pt x="1221" y="818"/>
                    <a:pt x="1221" y="818"/>
                    <a:pt x="1221" y="818"/>
                  </a:cubicBezTo>
                  <a:cubicBezTo>
                    <a:pt x="1221" y="818"/>
                    <a:pt x="1221" y="818"/>
                    <a:pt x="1221" y="818"/>
                  </a:cubicBezTo>
                  <a:cubicBezTo>
                    <a:pt x="1221" y="818"/>
                    <a:pt x="1221" y="818"/>
                    <a:pt x="1221" y="818"/>
                  </a:cubicBezTo>
                  <a:cubicBezTo>
                    <a:pt x="1221" y="818"/>
                    <a:pt x="1221" y="818"/>
                    <a:pt x="1221" y="818"/>
                  </a:cubicBezTo>
                  <a:cubicBezTo>
                    <a:pt x="1222" y="818"/>
                    <a:pt x="1222" y="818"/>
                    <a:pt x="1222" y="818"/>
                  </a:cubicBezTo>
                  <a:cubicBezTo>
                    <a:pt x="1223" y="818"/>
                    <a:pt x="1223" y="818"/>
                    <a:pt x="1223" y="818"/>
                  </a:cubicBezTo>
                  <a:cubicBezTo>
                    <a:pt x="1223" y="818"/>
                    <a:pt x="1223" y="818"/>
                    <a:pt x="1223" y="818"/>
                  </a:cubicBezTo>
                  <a:cubicBezTo>
                    <a:pt x="1223" y="818"/>
                    <a:pt x="1223" y="818"/>
                    <a:pt x="1223"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7"/>
                    <a:pt x="1225" y="817"/>
                    <a:pt x="1225" y="817"/>
                  </a:cubicBezTo>
                  <a:cubicBezTo>
                    <a:pt x="1225" y="817"/>
                    <a:pt x="1225" y="817"/>
                    <a:pt x="1225" y="817"/>
                  </a:cubicBezTo>
                  <a:cubicBezTo>
                    <a:pt x="1226" y="817"/>
                    <a:pt x="1226" y="817"/>
                    <a:pt x="1226" y="817"/>
                  </a:cubicBezTo>
                  <a:cubicBezTo>
                    <a:pt x="1226" y="817"/>
                    <a:pt x="1226" y="817"/>
                    <a:pt x="1226" y="817"/>
                  </a:cubicBezTo>
                  <a:cubicBezTo>
                    <a:pt x="1227" y="818"/>
                    <a:pt x="1227" y="818"/>
                    <a:pt x="1227" y="818"/>
                  </a:cubicBezTo>
                  <a:cubicBezTo>
                    <a:pt x="1230" y="819"/>
                    <a:pt x="1230" y="819"/>
                    <a:pt x="1230" y="819"/>
                  </a:cubicBezTo>
                  <a:cubicBezTo>
                    <a:pt x="1238" y="822"/>
                    <a:pt x="1238" y="822"/>
                    <a:pt x="1238" y="822"/>
                  </a:cubicBezTo>
                  <a:cubicBezTo>
                    <a:pt x="1241" y="823"/>
                    <a:pt x="1241" y="823"/>
                    <a:pt x="1241" y="823"/>
                  </a:cubicBezTo>
                  <a:cubicBezTo>
                    <a:pt x="1242" y="823"/>
                    <a:pt x="1244" y="824"/>
                    <a:pt x="1245" y="825"/>
                  </a:cubicBezTo>
                  <a:cubicBezTo>
                    <a:pt x="1245" y="825"/>
                    <a:pt x="1245" y="825"/>
                    <a:pt x="1245" y="825"/>
                  </a:cubicBezTo>
                  <a:cubicBezTo>
                    <a:pt x="1245" y="825"/>
                    <a:pt x="1245" y="825"/>
                    <a:pt x="1245" y="825"/>
                  </a:cubicBezTo>
                  <a:cubicBezTo>
                    <a:pt x="1246" y="824"/>
                    <a:pt x="1246" y="824"/>
                    <a:pt x="1247" y="824"/>
                  </a:cubicBezTo>
                  <a:cubicBezTo>
                    <a:pt x="1247" y="824"/>
                    <a:pt x="1247" y="824"/>
                    <a:pt x="1247" y="824"/>
                  </a:cubicBezTo>
                  <a:cubicBezTo>
                    <a:pt x="1248" y="824"/>
                    <a:pt x="1248" y="824"/>
                    <a:pt x="1248" y="824"/>
                  </a:cubicBezTo>
                  <a:cubicBezTo>
                    <a:pt x="1248" y="824"/>
                    <a:pt x="1248" y="824"/>
                    <a:pt x="1248" y="824"/>
                  </a:cubicBezTo>
                  <a:cubicBezTo>
                    <a:pt x="1248" y="824"/>
                    <a:pt x="1248" y="824"/>
                    <a:pt x="1248" y="824"/>
                  </a:cubicBezTo>
                  <a:cubicBezTo>
                    <a:pt x="1248" y="824"/>
                    <a:pt x="1249" y="824"/>
                    <a:pt x="1249" y="824"/>
                  </a:cubicBezTo>
                  <a:cubicBezTo>
                    <a:pt x="1249" y="824"/>
                    <a:pt x="1249" y="824"/>
                    <a:pt x="1249" y="824"/>
                  </a:cubicBezTo>
                  <a:cubicBezTo>
                    <a:pt x="1249" y="824"/>
                    <a:pt x="1249" y="824"/>
                    <a:pt x="1249" y="824"/>
                  </a:cubicBezTo>
                  <a:cubicBezTo>
                    <a:pt x="1250" y="824"/>
                    <a:pt x="1250" y="824"/>
                    <a:pt x="1250" y="824"/>
                  </a:cubicBezTo>
                  <a:cubicBezTo>
                    <a:pt x="1250" y="824"/>
                    <a:pt x="1250" y="824"/>
                    <a:pt x="1250" y="824"/>
                  </a:cubicBezTo>
                  <a:cubicBezTo>
                    <a:pt x="1250" y="823"/>
                    <a:pt x="1250" y="823"/>
                    <a:pt x="1250" y="823"/>
                  </a:cubicBezTo>
                  <a:cubicBezTo>
                    <a:pt x="1250" y="823"/>
                    <a:pt x="1250" y="823"/>
                    <a:pt x="1250" y="823"/>
                  </a:cubicBezTo>
                  <a:cubicBezTo>
                    <a:pt x="1250" y="823"/>
                    <a:pt x="1250" y="823"/>
                    <a:pt x="1250" y="823"/>
                  </a:cubicBezTo>
                  <a:cubicBezTo>
                    <a:pt x="1250" y="823"/>
                    <a:pt x="1250" y="823"/>
                    <a:pt x="1250" y="823"/>
                  </a:cubicBezTo>
                  <a:cubicBezTo>
                    <a:pt x="1251" y="823"/>
                    <a:pt x="1251" y="823"/>
                    <a:pt x="1251" y="823"/>
                  </a:cubicBezTo>
                  <a:cubicBezTo>
                    <a:pt x="1251" y="823"/>
                    <a:pt x="1251" y="823"/>
                    <a:pt x="1251" y="823"/>
                  </a:cubicBezTo>
                  <a:cubicBezTo>
                    <a:pt x="1252" y="824"/>
                    <a:pt x="1252" y="824"/>
                    <a:pt x="1252" y="824"/>
                  </a:cubicBezTo>
                  <a:cubicBezTo>
                    <a:pt x="1253" y="824"/>
                    <a:pt x="1253" y="824"/>
                    <a:pt x="1253" y="824"/>
                  </a:cubicBezTo>
                  <a:cubicBezTo>
                    <a:pt x="1254" y="824"/>
                    <a:pt x="1254" y="824"/>
                    <a:pt x="1254" y="824"/>
                  </a:cubicBezTo>
                  <a:cubicBezTo>
                    <a:pt x="1255" y="824"/>
                    <a:pt x="1255" y="824"/>
                    <a:pt x="1255" y="824"/>
                  </a:cubicBezTo>
                  <a:cubicBezTo>
                    <a:pt x="1255" y="824"/>
                    <a:pt x="1255" y="824"/>
                    <a:pt x="1255" y="824"/>
                  </a:cubicBezTo>
                  <a:cubicBezTo>
                    <a:pt x="1255" y="824"/>
                    <a:pt x="1255" y="824"/>
                    <a:pt x="1255" y="824"/>
                  </a:cubicBezTo>
                  <a:cubicBezTo>
                    <a:pt x="1255" y="824"/>
                    <a:pt x="1255" y="824"/>
                    <a:pt x="1255" y="824"/>
                  </a:cubicBezTo>
                  <a:cubicBezTo>
                    <a:pt x="1255" y="824"/>
                    <a:pt x="1256" y="824"/>
                    <a:pt x="1256" y="824"/>
                  </a:cubicBezTo>
                  <a:cubicBezTo>
                    <a:pt x="1256" y="824"/>
                    <a:pt x="1256" y="824"/>
                    <a:pt x="1256" y="824"/>
                  </a:cubicBezTo>
                  <a:cubicBezTo>
                    <a:pt x="1256" y="824"/>
                    <a:pt x="1256" y="824"/>
                    <a:pt x="1256" y="824"/>
                  </a:cubicBezTo>
                  <a:cubicBezTo>
                    <a:pt x="1256" y="824"/>
                    <a:pt x="1256" y="824"/>
                    <a:pt x="1256" y="824"/>
                  </a:cubicBezTo>
                  <a:cubicBezTo>
                    <a:pt x="1256" y="824"/>
                    <a:pt x="1256" y="824"/>
                    <a:pt x="1256" y="824"/>
                  </a:cubicBezTo>
                  <a:cubicBezTo>
                    <a:pt x="1256" y="823"/>
                    <a:pt x="1256" y="823"/>
                    <a:pt x="1256" y="823"/>
                  </a:cubicBezTo>
                  <a:cubicBezTo>
                    <a:pt x="1257" y="823"/>
                    <a:pt x="1257" y="823"/>
                    <a:pt x="1257" y="823"/>
                  </a:cubicBezTo>
                  <a:cubicBezTo>
                    <a:pt x="1257" y="823"/>
                    <a:pt x="1257" y="823"/>
                    <a:pt x="1257" y="823"/>
                  </a:cubicBezTo>
                  <a:cubicBezTo>
                    <a:pt x="1257" y="823"/>
                    <a:pt x="1257" y="823"/>
                    <a:pt x="1257" y="823"/>
                  </a:cubicBezTo>
                  <a:cubicBezTo>
                    <a:pt x="1258" y="824"/>
                    <a:pt x="1258" y="824"/>
                    <a:pt x="1258" y="824"/>
                  </a:cubicBezTo>
                  <a:cubicBezTo>
                    <a:pt x="1259" y="824"/>
                    <a:pt x="1259" y="824"/>
                    <a:pt x="1259" y="824"/>
                  </a:cubicBezTo>
                  <a:cubicBezTo>
                    <a:pt x="1259" y="824"/>
                    <a:pt x="1259" y="824"/>
                    <a:pt x="1259" y="824"/>
                  </a:cubicBezTo>
                  <a:cubicBezTo>
                    <a:pt x="1261" y="825"/>
                    <a:pt x="1261" y="825"/>
                    <a:pt x="1261" y="825"/>
                  </a:cubicBezTo>
                  <a:cubicBezTo>
                    <a:pt x="1261" y="825"/>
                    <a:pt x="1261" y="825"/>
                    <a:pt x="1261"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3" y="825"/>
                    <a:pt x="1263" y="825"/>
                    <a:pt x="1263" y="825"/>
                  </a:cubicBezTo>
                  <a:cubicBezTo>
                    <a:pt x="1263" y="824"/>
                    <a:pt x="1263" y="824"/>
                    <a:pt x="1263" y="824"/>
                  </a:cubicBezTo>
                  <a:cubicBezTo>
                    <a:pt x="1263" y="824"/>
                    <a:pt x="1263" y="824"/>
                    <a:pt x="1263" y="824"/>
                  </a:cubicBezTo>
                  <a:cubicBezTo>
                    <a:pt x="1263" y="825"/>
                    <a:pt x="1263" y="825"/>
                    <a:pt x="1263" y="825"/>
                  </a:cubicBezTo>
                  <a:cubicBezTo>
                    <a:pt x="1264" y="826"/>
                    <a:pt x="1264" y="826"/>
                    <a:pt x="1264" y="826"/>
                  </a:cubicBezTo>
                  <a:cubicBezTo>
                    <a:pt x="1266" y="829"/>
                    <a:pt x="1266" y="829"/>
                    <a:pt x="1266" y="829"/>
                  </a:cubicBezTo>
                  <a:cubicBezTo>
                    <a:pt x="1267" y="830"/>
                    <a:pt x="1267" y="830"/>
                    <a:pt x="1267" y="830"/>
                  </a:cubicBezTo>
                  <a:cubicBezTo>
                    <a:pt x="1267" y="831"/>
                    <a:pt x="1267" y="831"/>
                    <a:pt x="1267" y="831"/>
                  </a:cubicBezTo>
                  <a:cubicBezTo>
                    <a:pt x="1267" y="831"/>
                    <a:pt x="1268" y="832"/>
                    <a:pt x="1268" y="832"/>
                  </a:cubicBezTo>
                  <a:cubicBezTo>
                    <a:pt x="1268" y="832"/>
                    <a:pt x="1268" y="832"/>
                    <a:pt x="1268" y="832"/>
                  </a:cubicBezTo>
                  <a:cubicBezTo>
                    <a:pt x="1268" y="832"/>
                    <a:pt x="1268" y="832"/>
                    <a:pt x="1268" y="832"/>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4"/>
                    <a:pt x="1268" y="834"/>
                    <a:pt x="1268" y="834"/>
                  </a:cubicBezTo>
                  <a:cubicBezTo>
                    <a:pt x="1268" y="834"/>
                    <a:pt x="1268" y="834"/>
                    <a:pt x="1268" y="834"/>
                  </a:cubicBezTo>
                  <a:cubicBezTo>
                    <a:pt x="1268" y="834"/>
                    <a:pt x="1268" y="834"/>
                    <a:pt x="1268" y="834"/>
                  </a:cubicBezTo>
                  <a:cubicBezTo>
                    <a:pt x="1268" y="834"/>
                    <a:pt x="1268" y="834"/>
                    <a:pt x="1268" y="834"/>
                  </a:cubicBezTo>
                  <a:cubicBezTo>
                    <a:pt x="1268" y="835"/>
                    <a:pt x="1268" y="834"/>
                    <a:pt x="1268" y="835"/>
                  </a:cubicBezTo>
                  <a:cubicBezTo>
                    <a:pt x="1269" y="835"/>
                    <a:pt x="1269" y="835"/>
                    <a:pt x="1269" y="835"/>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8"/>
                    <a:pt x="1269" y="838"/>
                    <a:pt x="1269" y="838"/>
                  </a:cubicBezTo>
                  <a:cubicBezTo>
                    <a:pt x="1269" y="838"/>
                    <a:pt x="1269" y="838"/>
                    <a:pt x="1269" y="838"/>
                  </a:cubicBezTo>
                  <a:cubicBezTo>
                    <a:pt x="1269" y="838"/>
                    <a:pt x="1269" y="838"/>
                    <a:pt x="1269" y="838"/>
                  </a:cubicBezTo>
                  <a:cubicBezTo>
                    <a:pt x="1270" y="838"/>
                    <a:pt x="1270" y="839"/>
                    <a:pt x="1270" y="839"/>
                  </a:cubicBezTo>
                  <a:cubicBezTo>
                    <a:pt x="1270" y="839"/>
                    <a:pt x="1270" y="839"/>
                    <a:pt x="1270" y="839"/>
                  </a:cubicBezTo>
                  <a:cubicBezTo>
                    <a:pt x="1270" y="839"/>
                    <a:pt x="1270" y="839"/>
                    <a:pt x="1270" y="839"/>
                  </a:cubicBezTo>
                  <a:cubicBezTo>
                    <a:pt x="1270" y="840"/>
                    <a:pt x="1270" y="840"/>
                    <a:pt x="1270" y="840"/>
                  </a:cubicBezTo>
                  <a:cubicBezTo>
                    <a:pt x="1271" y="841"/>
                    <a:pt x="1271" y="841"/>
                    <a:pt x="1271" y="841"/>
                  </a:cubicBezTo>
                  <a:cubicBezTo>
                    <a:pt x="1271" y="841"/>
                    <a:pt x="1271" y="841"/>
                    <a:pt x="1271" y="841"/>
                  </a:cubicBezTo>
                  <a:cubicBezTo>
                    <a:pt x="1271" y="841"/>
                    <a:pt x="1271" y="841"/>
                    <a:pt x="1271" y="841"/>
                  </a:cubicBezTo>
                  <a:cubicBezTo>
                    <a:pt x="1271" y="841"/>
                    <a:pt x="1271" y="841"/>
                    <a:pt x="1271" y="841"/>
                  </a:cubicBezTo>
                  <a:cubicBezTo>
                    <a:pt x="1271" y="842"/>
                    <a:pt x="1271" y="842"/>
                    <a:pt x="1272" y="842"/>
                  </a:cubicBezTo>
                  <a:cubicBezTo>
                    <a:pt x="1272" y="843"/>
                    <a:pt x="1272" y="843"/>
                    <a:pt x="1272" y="843"/>
                  </a:cubicBezTo>
                  <a:cubicBezTo>
                    <a:pt x="1272" y="843"/>
                    <a:pt x="1272" y="843"/>
                    <a:pt x="1272" y="843"/>
                  </a:cubicBezTo>
                  <a:cubicBezTo>
                    <a:pt x="1272" y="843"/>
                    <a:pt x="1272" y="843"/>
                    <a:pt x="1273" y="844"/>
                  </a:cubicBezTo>
                  <a:cubicBezTo>
                    <a:pt x="1273" y="844"/>
                    <a:pt x="1273" y="844"/>
                    <a:pt x="1273" y="844"/>
                  </a:cubicBezTo>
                  <a:cubicBezTo>
                    <a:pt x="1273" y="844"/>
                    <a:pt x="1273" y="844"/>
                    <a:pt x="1273" y="844"/>
                  </a:cubicBezTo>
                  <a:cubicBezTo>
                    <a:pt x="1273" y="844"/>
                    <a:pt x="1273" y="844"/>
                    <a:pt x="1273" y="844"/>
                  </a:cubicBezTo>
                  <a:cubicBezTo>
                    <a:pt x="1273" y="844"/>
                    <a:pt x="1273" y="844"/>
                    <a:pt x="1273" y="844"/>
                  </a:cubicBezTo>
                  <a:cubicBezTo>
                    <a:pt x="1273" y="844"/>
                    <a:pt x="1273" y="844"/>
                    <a:pt x="1273" y="844"/>
                  </a:cubicBezTo>
                  <a:cubicBezTo>
                    <a:pt x="1273" y="845"/>
                    <a:pt x="1273" y="845"/>
                    <a:pt x="1273" y="845"/>
                  </a:cubicBezTo>
                  <a:cubicBezTo>
                    <a:pt x="1273" y="845"/>
                    <a:pt x="1273" y="845"/>
                    <a:pt x="1273" y="845"/>
                  </a:cubicBezTo>
                  <a:cubicBezTo>
                    <a:pt x="1274" y="845"/>
                    <a:pt x="1274" y="845"/>
                    <a:pt x="1274" y="845"/>
                  </a:cubicBezTo>
                  <a:cubicBezTo>
                    <a:pt x="1274" y="846"/>
                    <a:pt x="1275" y="847"/>
                    <a:pt x="1276" y="847"/>
                  </a:cubicBezTo>
                  <a:cubicBezTo>
                    <a:pt x="1276" y="847"/>
                    <a:pt x="1276" y="847"/>
                    <a:pt x="1276" y="847"/>
                  </a:cubicBezTo>
                  <a:cubicBezTo>
                    <a:pt x="1276" y="848"/>
                    <a:pt x="1276" y="848"/>
                    <a:pt x="1276" y="848"/>
                  </a:cubicBezTo>
                  <a:cubicBezTo>
                    <a:pt x="1276" y="848"/>
                    <a:pt x="1276" y="848"/>
                    <a:pt x="1276" y="848"/>
                  </a:cubicBezTo>
                  <a:cubicBezTo>
                    <a:pt x="1277" y="848"/>
                    <a:pt x="1277" y="848"/>
                    <a:pt x="1277" y="848"/>
                  </a:cubicBezTo>
                  <a:cubicBezTo>
                    <a:pt x="1279" y="848"/>
                    <a:pt x="1279" y="848"/>
                    <a:pt x="1279" y="848"/>
                  </a:cubicBezTo>
                  <a:cubicBezTo>
                    <a:pt x="1283" y="849"/>
                    <a:pt x="1283" y="849"/>
                    <a:pt x="1283" y="849"/>
                  </a:cubicBezTo>
                  <a:cubicBezTo>
                    <a:pt x="1284" y="849"/>
                    <a:pt x="1284" y="849"/>
                    <a:pt x="1284" y="849"/>
                  </a:cubicBezTo>
                  <a:cubicBezTo>
                    <a:pt x="1285" y="850"/>
                    <a:pt x="1285" y="850"/>
                    <a:pt x="1285" y="850"/>
                  </a:cubicBezTo>
                  <a:cubicBezTo>
                    <a:pt x="1285" y="850"/>
                    <a:pt x="1285" y="850"/>
                    <a:pt x="1285" y="850"/>
                  </a:cubicBezTo>
                  <a:cubicBezTo>
                    <a:pt x="1285" y="850"/>
                    <a:pt x="1285" y="850"/>
                    <a:pt x="1285" y="850"/>
                  </a:cubicBezTo>
                  <a:cubicBezTo>
                    <a:pt x="1286" y="850"/>
                    <a:pt x="1286" y="850"/>
                    <a:pt x="1286" y="850"/>
                  </a:cubicBezTo>
                  <a:cubicBezTo>
                    <a:pt x="1286" y="850"/>
                    <a:pt x="1286" y="850"/>
                    <a:pt x="1286" y="850"/>
                  </a:cubicBezTo>
                  <a:cubicBezTo>
                    <a:pt x="1286" y="850"/>
                    <a:pt x="1286" y="850"/>
                    <a:pt x="1286" y="850"/>
                  </a:cubicBezTo>
                  <a:cubicBezTo>
                    <a:pt x="1288" y="850"/>
                    <a:pt x="1288" y="849"/>
                    <a:pt x="1289" y="849"/>
                  </a:cubicBezTo>
                  <a:cubicBezTo>
                    <a:pt x="1290" y="849"/>
                    <a:pt x="1290" y="849"/>
                    <a:pt x="1290" y="849"/>
                  </a:cubicBezTo>
                  <a:cubicBezTo>
                    <a:pt x="1290" y="849"/>
                    <a:pt x="1290" y="849"/>
                    <a:pt x="1290" y="849"/>
                  </a:cubicBezTo>
                  <a:cubicBezTo>
                    <a:pt x="1290" y="849"/>
                    <a:pt x="1290" y="849"/>
                    <a:pt x="1290" y="849"/>
                  </a:cubicBezTo>
                  <a:cubicBezTo>
                    <a:pt x="1290" y="849"/>
                    <a:pt x="1290" y="849"/>
                    <a:pt x="1290" y="849"/>
                  </a:cubicBezTo>
                  <a:cubicBezTo>
                    <a:pt x="1291" y="849"/>
                    <a:pt x="1293" y="848"/>
                    <a:pt x="1294" y="848"/>
                  </a:cubicBezTo>
                  <a:cubicBezTo>
                    <a:pt x="1295" y="848"/>
                    <a:pt x="1295" y="848"/>
                    <a:pt x="1295" y="848"/>
                  </a:cubicBezTo>
                  <a:cubicBezTo>
                    <a:pt x="1296" y="848"/>
                    <a:pt x="1297" y="848"/>
                    <a:pt x="1299" y="849"/>
                  </a:cubicBezTo>
                  <a:cubicBezTo>
                    <a:pt x="1299" y="849"/>
                    <a:pt x="1299" y="849"/>
                    <a:pt x="1299" y="849"/>
                  </a:cubicBezTo>
                  <a:cubicBezTo>
                    <a:pt x="1299" y="849"/>
                    <a:pt x="1299" y="849"/>
                    <a:pt x="1299" y="849"/>
                  </a:cubicBezTo>
                  <a:cubicBezTo>
                    <a:pt x="1299" y="849"/>
                    <a:pt x="1299" y="849"/>
                    <a:pt x="1299" y="849"/>
                  </a:cubicBezTo>
                  <a:cubicBezTo>
                    <a:pt x="1299" y="849"/>
                    <a:pt x="1299" y="849"/>
                    <a:pt x="1299" y="849"/>
                  </a:cubicBezTo>
                  <a:cubicBezTo>
                    <a:pt x="1300" y="849"/>
                    <a:pt x="1300" y="849"/>
                    <a:pt x="1300" y="849"/>
                  </a:cubicBezTo>
                  <a:cubicBezTo>
                    <a:pt x="1299" y="849"/>
                    <a:pt x="1299" y="849"/>
                    <a:pt x="1299" y="849"/>
                  </a:cubicBezTo>
                  <a:cubicBezTo>
                    <a:pt x="1299" y="851"/>
                    <a:pt x="1299" y="851"/>
                    <a:pt x="1299" y="851"/>
                  </a:cubicBezTo>
                  <a:cubicBezTo>
                    <a:pt x="1299" y="851"/>
                    <a:pt x="1299" y="851"/>
                    <a:pt x="1299" y="851"/>
                  </a:cubicBezTo>
                  <a:cubicBezTo>
                    <a:pt x="1299" y="852"/>
                    <a:pt x="1299" y="852"/>
                    <a:pt x="1299"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3"/>
                    <a:pt x="1298" y="853"/>
                    <a:pt x="1298" y="853"/>
                  </a:cubicBezTo>
                  <a:cubicBezTo>
                    <a:pt x="1298" y="853"/>
                    <a:pt x="1298" y="853"/>
                    <a:pt x="1298" y="853"/>
                  </a:cubicBezTo>
                  <a:cubicBezTo>
                    <a:pt x="1298" y="853"/>
                    <a:pt x="1298" y="853"/>
                    <a:pt x="1298" y="853"/>
                  </a:cubicBezTo>
                  <a:cubicBezTo>
                    <a:pt x="1298" y="853"/>
                    <a:pt x="1298" y="853"/>
                    <a:pt x="1298" y="853"/>
                  </a:cubicBezTo>
                  <a:cubicBezTo>
                    <a:pt x="1299" y="853"/>
                    <a:pt x="1299" y="853"/>
                    <a:pt x="1299" y="853"/>
                  </a:cubicBezTo>
                  <a:cubicBezTo>
                    <a:pt x="1299" y="853"/>
                    <a:pt x="1299" y="853"/>
                    <a:pt x="1299" y="853"/>
                  </a:cubicBezTo>
                  <a:cubicBezTo>
                    <a:pt x="1299" y="854"/>
                    <a:pt x="1299" y="854"/>
                    <a:pt x="1299" y="854"/>
                  </a:cubicBezTo>
                  <a:cubicBezTo>
                    <a:pt x="1299" y="854"/>
                    <a:pt x="1299" y="854"/>
                    <a:pt x="1299" y="854"/>
                  </a:cubicBezTo>
                  <a:cubicBezTo>
                    <a:pt x="1299" y="854"/>
                    <a:pt x="1299" y="854"/>
                    <a:pt x="1299" y="854"/>
                  </a:cubicBezTo>
                  <a:cubicBezTo>
                    <a:pt x="1299" y="854"/>
                    <a:pt x="1299" y="854"/>
                    <a:pt x="1299" y="854"/>
                  </a:cubicBezTo>
                  <a:cubicBezTo>
                    <a:pt x="1299" y="854"/>
                    <a:pt x="1299" y="854"/>
                    <a:pt x="1299" y="854"/>
                  </a:cubicBezTo>
                  <a:cubicBezTo>
                    <a:pt x="1298" y="854"/>
                    <a:pt x="1298" y="854"/>
                    <a:pt x="1298" y="854"/>
                  </a:cubicBezTo>
                  <a:cubicBezTo>
                    <a:pt x="1298" y="854"/>
                    <a:pt x="1298" y="855"/>
                    <a:pt x="1298" y="855"/>
                  </a:cubicBezTo>
                  <a:cubicBezTo>
                    <a:pt x="1298" y="855"/>
                    <a:pt x="1298" y="855"/>
                    <a:pt x="1298" y="855"/>
                  </a:cubicBezTo>
                  <a:cubicBezTo>
                    <a:pt x="1298" y="855"/>
                    <a:pt x="1298" y="855"/>
                    <a:pt x="1298" y="855"/>
                  </a:cubicBezTo>
                  <a:cubicBezTo>
                    <a:pt x="1298" y="855"/>
                    <a:pt x="1298" y="855"/>
                    <a:pt x="1298" y="855"/>
                  </a:cubicBezTo>
                  <a:cubicBezTo>
                    <a:pt x="1297" y="855"/>
                    <a:pt x="1297" y="855"/>
                    <a:pt x="1297" y="855"/>
                  </a:cubicBezTo>
                  <a:cubicBezTo>
                    <a:pt x="1297" y="855"/>
                    <a:pt x="1297" y="855"/>
                    <a:pt x="1297" y="855"/>
                  </a:cubicBezTo>
                  <a:cubicBezTo>
                    <a:pt x="1297" y="855"/>
                    <a:pt x="1297" y="855"/>
                    <a:pt x="1297" y="855"/>
                  </a:cubicBezTo>
                  <a:cubicBezTo>
                    <a:pt x="1297" y="855"/>
                    <a:pt x="1297" y="855"/>
                    <a:pt x="1297" y="855"/>
                  </a:cubicBezTo>
                  <a:cubicBezTo>
                    <a:pt x="1297" y="856"/>
                    <a:pt x="1297" y="856"/>
                    <a:pt x="1297" y="856"/>
                  </a:cubicBezTo>
                  <a:cubicBezTo>
                    <a:pt x="1297" y="856"/>
                    <a:pt x="1297" y="856"/>
                    <a:pt x="1297" y="856"/>
                  </a:cubicBezTo>
                  <a:cubicBezTo>
                    <a:pt x="1297" y="856"/>
                    <a:pt x="1297" y="856"/>
                    <a:pt x="1297" y="856"/>
                  </a:cubicBezTo>
                  <a:cubicBezTo>
                    <a:pt x="1297" y="856"/>
                    <a:pt x="1297" y="856"/>
                    <a:pt x="1297" y="856"/>
                  </a:cubicBezTo>
                  <a:cubicBezTo>
                    <a:pt x="1297" y="856"/>
                    <a:pt x="1297" y="856"/>
                    <a:pt x="1297" y="856"/>
                  </a:cubicBezTo>
                  <a:cubicBezTo>
                    <a:pt x="1297" y="856"/>
                    <a:pt x="1297" y="856"/>
                    <a:pt x="1297" y="857"/>
                  </a:cubicBezTo>
                  <a:cubicBezTo>
                    <a:pt x="1297" y="857"/>
                    <a:pt x="1297" y="857"/>
                    <a:pt x="1297" y="857"/>
                  </a:cubicBezTo>
                  <a:cubicBezTo>
                    <a:pt x="1297" y="857"/>
                    <a:pt x="1297" y="857"/>
                    <a:pt x="1297" y="857"/>
                  </a:cubicBezTo>
                  <a:cubicBezTo>
                    <a:pt x="1297" y="857"/>
                    <a:pt x="1297" y="857"/>
                    <a:pt x="1297" y="857"/>
                  </a:cubicBezTo>
                  <a:cubicBezTo>
                    <a:pt x="1296" y="858"/>
                    <a:pt x="1296" y="858"/>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7" y="860"/>
                    <a:pt x="1297" y="860"/>
                    <a:pt x="1297" y="860"/>
                  </a:cubicBezTo>
                  <a:cubicBezTo>
                    <a:pt x="1297" y="860"/>
                    <a:pt x="1297" y="860"/>
                    <a:pt x="1297" y="860"/>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9" y="862"/>
                    <a:pt x="1299" y="862"/>
                    <a:pt x="1299" y="862"/>
                  </a:cubicBezTo>
                  <a:cubicBezTo>
                    <a:pt x="1300" y="863"/>
                    <a:pt x="1300" y="863"/>
                    <a:pt x="1300" y="863"/>
                  </a:cubicBezTo>
                  <a:cubicBezTo>
                    <a:pt x="1302" y="865"/>
                    <a:pt x="1302" y="865"/>
                    <a:pt x="1302" y="865"/>
                  </a:cubicBezTo>
                  <a:cubicBezTo>
                    <a:pt x="1303" y="865"/>
                    <a:pt x="1303" y="865"/>
                    <a:pt x="1303" y="865"/>
                  </a:cubicBezTo>
                  <a:cubicBezTo>
                    <a:pt x="1304" y="866"/>
                    <a:pt x="1304" y="866"/>
                    <a:pt x="1304" y="866"/>
                  </a:cubicBezTo>
                  <a:cubicBezTo>
                    <a:pt x="1304" y="866"/>
                    <a:pt x="1304" y="866"/>
                    <a:pt x="1304" y="866"/>
                  </a:cubicBezTo>
                  <a:cubicBezTo>
                    <a:pt x="1304" y="866"/>
                    <a:pt x="1304" y="866"/>
                    <a:pt x="1304" y="866"/>
                  </a:cubicBezTo>
                  <a:cubicBezTo>
                    <a:pt x="1304" y="866"/>
                    <a:pt x="1304" y="866"/>
                    <a:pt x="1304" y="866"/>
                  </a:cubicBezTo>
                  <a:cubicBezTo>
                    <a:pt x="1305" y="867"/>
                    <a:pt x="1305" y="867"/>
                    <a:pt x="1305" y="867"/>
                  </a:cubicBezTo>
                  <a:cubicBezTo>
                    <a:pt x="1306" y="867"/>
                    <a:pt x="1306" y="867"/>
                    <a:pt x="1306" y="867"/>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9"/>
                    <a:pt x="1306" y="869"/>
                    <a:pt x="1305" y="869"/>
                  </a:cubicBezTo>
                  <a:cubicBezTo>
                    <a:pt x="1305" y="869"/>
                    <a:pt x="1305" y="869"/>
                    <a:pt x="1305" y="869"/>
                  </a:cubicBezTo>
                  <a:cubicBezTo>
                    <a:pt x="1305" y="869"/>
                    <a:pt x="1305" y="869"/>
                    <a:pt x="1305" y="869"/>
                  </a:cubicBezTo>
                  <a:cubicBezTo>
                    <a:pt x="1305" y="870"/>
                    <a:pt x="1304" y="871"/>
                    <a:pt x="1304" y="871"/>
                  </a:cubicBezTo>
                  <a:cubicBezTo>
                    <a:pt x="1304" y="871"/>
                    <a:pt x="1304" y="871"/>
                    <a:pt x="1304" y="871"/>
                  </a:cubicBezTo>
                  <a:cubicBezTo>
                    <a:pt x="1304" y="871"/>
                    <a:pt x="1304" y="871"/>
                    <a:pt x="1304" y="871"/>
                  </a:cubicBezTo>
                  <a:cubicBezTo>
                    <a:pt x="1304" y="871"/>
                    <a:pt x="1304" y="871"/>
                    <a:pt x="1304" y="871"/>
                  </a:cubicBezTo>
                  <a:cubicBezTo>
                    <a:pt x="1304" y="871"/>
                    <a:pt x="1304" y="871"/>
                    <a:pt x="1304" y="871"/>
                  </a:cubicBezTo>
                  <a:cubicBezTo>
                    <a:pt x="1304" y="871"/>
                    <a:pt x="1304" y="871"/>
                    <a:pt x="1304" y="871"/>
                  </a:cubicBezTo>
                  <a:cubicBezTo>
                    <a:pt x="1304" y="872"/>
                    <a:pt x="1304" y="872"/>
                    <a:pt x="1304" y="872"/>
                  </a:cubicBezTo>
                  <a:cubicBezTo>
                    <a:pt x="1304" y="872"/>
                    <a:pt x="1304" y="872"/>
                    <a:pt x="1304" y="872"/>
                  </a:cubicBezTo>
                  <a:cubicBezTo>
                    <a:pt x="1304" y="872"/>
                    <a:pt x="1304" y="872"/>
                    <a:pt x="1304" y="872"/>
                  </a:cubicBezTo>
                  <a:cubicBezTo>
                    <a:pt x="1304" y="872"/>
                    <a:pt x="1304" y="872"/>
                    <a:pt x="1304" y="872"/>
                  </a:cubicBezTo>
                  <a:cubicBezTo>
                    <a:pt x="1303" y="872"/>
                    <a:pt x="1303" y="872"/>
                    <a:pt x="1303" y="872"/>
                  </a:cubicBezTo>
                  <a:cubicBezTo>
                    <a:pt x="1303" y="872"/>
                    <a:pt x="1303" y="872"/>
                    <a:pt x="1303" y="872"/>
                  </a:cubicBezTo>
                  <a:cubicBezTo>
                    <a:pt x="1303" y="872"/>
                    <a:pt x="1303" y="872"/>
                    <a:pt x="1303" y="872"/>
                  </a:cubicBezTo>
                  <a:cubicBezTo>
                    <a:pt x="1303" y="872"/>
                    <a:pt x="1303" y="872"/>
                    <a:pt x="1303" y="872"/>
                  </a:cubicBezTo>
                  <a:cubicBezTo>
                    <a:pt x="1303" y="872"/>
                    <a:pt x="1303" y="872"/>
                    <a:pt x="1303" y="872"/>
                  </a:cubicBezTo>
                  <a:cubicBezTo>
                    <a:pt x="1303" y="873"/>
                    <a:pt x="1303" y="873"/>
                    <a:pt x="1303" y="873"/>
                  </a:cubicBezTo>
                  <a:cubicBezTo>
                    <a:pt x="1303" y="873"/>
                    <a:pt x="1303" y="873"/>
                    <a:pt x="1303" y="873"/>
                  </a:cubicBezTo>
                  <a:cubicBezTo>
                    <a:pt x="1303" y="873"/>
                    <a:pt x="1303" y="873"/>
                    <a:pt x="1303" y="873"/>
                  </a:cubicBezTo>
                  <a:cubicBezTo>
                    <a:pt x="1303" y="873"/>
                    <a:pt x="1303" y="873"/>
                    <a:pt x="1303" y="873"/>
                  </a:cubicBezTo>
                  <a:cubicBezTo>
                    <a:pt x="1303" y="874"/>
                    <a:pt x="1304" y="874"/>
                    <a:pt x="1303" y="874"/>
                  </a:cubicBezTo>
                  <a:cubicBezTo>
                    <a:pt x="1303" y="875"/>
                    <a:pt x="1303" y="875"/>
                    <a:pt x="1303" y="875"/>
                  </a:cubicBezTo>
                  <a:cubicBezTo>
                    <a:pt x="1303" y="875"/>
                    <a:pt x="1303" y="875"/>
                    <a:pt x="1303" y="875"/>
                  </a:cubicBezTo>
                  <a:cubicBezTo>
                    <a:pt x="1302" y="875"/>
                    <a:pt x="1302" y="875"/>
                    <a:pt x="1302" y="875"/>
                  </a:cubicBezTo>
                  <a:cubicBezTo>
                    <a:pt x="1302" y="875"/>
                    <a:pt x="1302" y="875"/>
                    <a:pt x="1302" y="875"/>
                  </a:cubicBezTo>
                  <a:cubicBezTo>
                    <a:pt x="1302" y="875"/>
                    <a:pt x="1302" y="875"/>
                    <a:pt x="1302" y="876"/>
                  </a:cubicBezTo>
                  <a:cubicBezTo>
                    <a:pt x="1302" y="876"/>
                    <a:pt x="1302" y="876"/>
                    <a:pt x="1302" y="876"/>
                  </a:cubicBezTo>
                  <a:cubicBezTo>
                    <a:pt x="1302" y="876"/>
                    <a:pt x="1302" y="876"/>
                    <a:pt x="1302" y="876"/>
                  </a:cubicBezTo>
                  <a:cubicBezTo>
                    <a:pt x="1302" y="877"/>
                    <a:pt x="1302" y="877"/>
                    <a:pt x="1302" y="877"/>
                  </a:cubicBezTo>
                  <a:cubicBezTo>
                    <a:pt x="1302" y="877"/>
                    <a:pt x="1302" y="877"/>
                    <a:pt x="1302" y="877"/>
                  </a:cubicBezTo>
                  <a:cubicBezTo>
                    <a:pt x="1301" y="877"/>
                    <a:pt x="1301" y="877"/>
                    <a:pt x="1301" y="877"/>
                  </a:cubicBezTo>
                  <a:cubicBezTo>
                    <a:pt x="1301" y="877"/>
                    <a:pt x="1301" y="877"/>
                    <a:pt x="1301" y="877"/>
                  </a:cubicBezTo>
                  <a:cubicBezTo>
                    <a:pt x="1301" y="877"/>
                    <a:pt x="1301" y="877"/>
                    <a:pt x="1301" y="877"/>
                  </a:cubicBezTo>
                  <a:cubicBezTo>
                    <a:pt x="1301" y="877"/>
                    <a:pt x="1301" y="877"/>
                    <a:pt x="1301" y="877"/>
                  </a:cubicBezTo>
                  <a:cubicBezTo>
                    <a:pt x="1301" y="877"/>
                    <a:pt x="1301" y="877"/>
                    <a:pt x="1301" y="877"/>
                  </a:cubicBezTo>
                  <a:cubicBezTo>
                    <a:pt x="1302" y="877"/>
                    <a:pt x="1302" y="877"/>
                    <a:pt x="1302" y="877"/>
                  </a:cubicBezTo>
                  <a:cubicBezTo>
                    <a:pt x="1302" y="877"/>
                    <a:pt x="1302" y="877"/>
                    <a:pt x="1302" y="877"/>
                  </a:cubicBezTo>
                  <a:cubicBezTo>
                    <a:pt x="1302" y="878"/>
                    <a:pt x="1302" y="878"/>
                    <a:pt x="1302" y="878"/>
                  </a:cubicBezTo>
                  <a:cubicBezTo>
                    <a:pt x="1303" y="879"/>
                    <a:pt x="1303" y="879"/>
                    <a:pt x="1303" y="879"/>
                  </a:cubicBezTo>
                  <a:cubicBezTo>
                    <a:pt x="1306" y="881"/>
                    <a:pt x="1306" y="881"/>
                    <a:pt x="1306" y="881"/>
                  </a:cubicBezTo>
                  <a:cubicBezTo>
                    <a:pt x="1307" y="881"/>
                    <a:pt x="1307" y="881"/>
                    <a:pt x="1307" y="881"/>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3"/>
                    <a:pt x="1307" y="883"/>
                    <a:pt x="1307" y="883"/>
                  </a:cubicBezTo>
                  <a:cubicBezTo>
                    <a:pt x="1307" y="883"/>
                    <a:pt x="1307" y="883"/>
                    <a:pt x="1307" y="883"/>
                  </a:cubicBezTo>
                  <a:cubicBezTo>
                    <a:pt x="1307" y="883"/>
                    <a:pt x="1307" y="883"/>
                    <a:pt x="1307" y="883"/>
                  </a:cubicBezTo>
                  <a:cubicBezTo>
                    <a:pt x="1307" y="883"/>
                    <a:pt x="1307" y="883"/>
                    <a:pt x="1307" y="883"/>
                  </a:cubicBezTo>
                  <a:cubicBezTo>
                    <a:pt x="1307" y="883"/>
                    <a:pt x="1307" y="884"/>
                    <a:pt x="1307" y="884"/>
                  </a:cubicBezTo>
                  <a:cubicBezTo>
                    <a:pt x="1307" y="884"/>
                    <a:pt x="1307" y="884"/>
                    <a:pt x="1307" y="884"/>
                  </a:cubicBezTo>
                  <a:cubicBezTo>
                    <a:pt x="1307" y="884"/>
                    <a:pt x="1307" y="884"/>
                    <a:pt x="1307" y="884"/>
                  </a:cubicBezTo>
                  <a:cubicBezTo>
                    <a:pt x="1307" y="884"/>
                    <a:pt x="1307" y="884"/>
                    <a:pt x="1307" y="884"/>
                  </a:cubicBezTo>
                  <a:cubicBezTo>
                    <a:pt x="1306" y="885"/>
                    <a:pt x="1308" y="886"/>
                    <a:pt x="1308" y="887"/>
                  </a:cubicBezTo>
                  <a:cubicBezTo>
                    <a:pt x="1308" y="887"/>
                    <a:pt x="1308" y="887"/>
                    <a:pt x="1308" y="887"/>
                  </a:cubicBezTo>
                  <a:cubicBezTo>
                    <a:pt x="1308" y="887"/>
                    <a:pt x="1308" y="887"/>
                    <a:pt x="1308" y="887"/>
                  </a:cubicBezTo>
                  <a:cubicBezTo>
                    <a:pt x="1308" y="887"/>
                    <a:pt x="1308" y="887"/>
                    <a:pt x="1308" y="887"/>
                  </a:cubicBezTo>
                  <a:cubicBezTo>
                    <a:pt x="1308" y="887"/>
                    <a:pt x="1308" y="887"/>
                    <a:pt x="1308" y="887"/>
                  </a:cubicBezTo>
                  <a:cubicBezTo>
                    <a:pt x="1308" y="887"/>
                    <a:pt x="1308" y="887"/>
                    <a:pt x="1308" y="887"/>
                  </a:cubicBezTo>
                  <a:cubicBezTo>
                    <a:pt x="1308" y="888"/>
                    <a:pt x="1308" y="888"/>
                    <a:pt x="1308" y="888"/>
                  </a:cubicBezTo>
                  <a:cubicBezTo>
                    <a:pt x="1308" y="888"/>
                    <a:pt x="1308" y="888"/>
                    <a:pt x="1308" y="888"/>
                  </a:cubicBezTo>
                  <a:cubicBezTo>
                    <a:pt x="1307" y="888"/>
                    <a:pt x="1307" y="888"/>
                    <a:pt x="1307" y="889"/>
                  </a:cubicBezTo>
                  <a:cubicBezTo>
                    <a:pt x="1307" y="889"/>
                    <a:pt x="1307" y="889"/>
                    <a:pt x="1307" y="889"/>
                  </a:cubicBezTo>
                  <a:cubicBezTo>
                    <a:pt x="1306" y="889"/>
                    <a:pt x="1306" y="889"/>
                    <a:pt x="1306" y="889"/>
                  </a:cubicBezTo>
                  <a:cubicBezTo>
                    <a:pt x="1306" y="889"/>
                    <a:pt x="1306" y="890"/>
                    <a:pt x="1306" y="890"/>
                  </a:cubicBezTo>
                  <a:cubicBezTo>
                    <a:pt x="1307" y="890"/>
                    <a:pt x="1307" y="890"/>
                    <a:pt x="1307" y="890"/>
                  </a:cubicBezTo>
                  <a:cubicBezTo>
                    <a:pt x="1307" y="891"/>
                    <a:pt x="1306" y="891"/>
                    <a:pt x="1306" y="891"/>
                  </a:cubicBezTo>
                  <a:cubicBezTo>
                    <a:pt x="1306" y="890"/>
                    <a:pt x="1306" y="890"/>
                    <a:pt x="1306" y="890"/>
                  </a:cubicBezTo>
                  <a:cubicBezTo>
                    <a:pt x="1306" y="890"/>
                    <a:pt x="1306" y="890"/>
                    <a:pt x="1306" y="890"/>
                  </a:cubicBezTo>
                  <a:cubicBezTo>
                    <a:pt x="1306" y="891"/>
                    <a:pt x="1307" y="891"/>
                    <a:pt x="1308" y="892"/>
                  </a:cubicBezTo>
                  <a:cubicBezTo>
                    <a:pt x="1309" y="892"/>
                    <a:pt x="1310" y="892"/>
                    <a:pt x="1311" y="891"/>
                  </a:cubicBezTo>
                  <a:cubicBezTo>
                    <a:pt x="1312" y="891"/>
                    <a:pt x="1312" y="891"/>
                    <a:pt x="1312" y="891"/>
                  </a:cubicBezTo>
                  <a:cubicBezTo>
                    <a:pt x="1313" y="891"/>
                    <a:pt x="1313" y="891"/>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6" y="890"/>
                    <a:pt x="1316" y="890"/>
                    <a:pt x="1316" y="890"/>
                  </a:cubicBezTo>
                  <a:cubicBezTo>
                    <a:pt x="1316" y="890"/>
                    <a:pt x="1316" y="890"/>
                    <a:pt x="1316" y="890"/>
                  </a:cubicBezTo>
                  <a:cubicBezTo>
                    <a:pt x="1316" y="890"/>
                    <a:pt x="1316" y="890"/>
                    <a:pt x="1316" y="890"/>
                  </a:cubicBezTo>
                  <a:cubicBezTo>
                    <a:pt x="1316" y="890"/>
                    <a:pt x="1316" y="890"/>
                    <a:pt x="1316" y="890"/>
                  </a:cubicBezTo>
                  <a:cubicBezTo>
                    <a:pt x="1317" y="890"/>
                    <a:pt x="1317" y="890"/>
                    <a:pt x="1317" y="890"/>
                  </a:cubicBezTo>
                  <a:cubicBezTo>
                    <a:pt x="1317" y="891"/>
                    <a:pt x="1317" y="891"/>
                    <a:pt x="1317" y="891"/>
                  </a:cubicBezTo>
                  <a:cubicBezTo>
                    <a:pt x="1317" y="893"/>
                    <a:pt x="1317" y="893"/>
                    <a:pt x="1317" y="893"/>
                  </a:cubicBezTo>
                  <a:cubicBezTo>
                    <a:pt x="1317" y="893"/>
                    <a:pt x="1317" y="893"/>
                    <a:pt x="1317" y="893"/>
                  </a:cubicBezTo>
                  <a:cubicBezTo>
                    <a:pt x="1317" y="894"/>
                    <a:pt x="1317" y="894"/>
                    <a:pt x="1317" y="894"/>
                  </a:cubicBezTo>
                  <a:cubicBezTo>
                    <a:pt x="1317" y="894"/>
                    <a:pt x="1317" y="894"/>
                    <a:pt x="1317" y="894"/>
                  </a:cubicBezTo>
                  <a:cubicBezTo>
                    <a:pt x="1317" y="894"/>
                    <a:pt x="1317" y="894"/>
                    <a:pt x="1317" y="894"/>
                  </a:cubicBezTo>
                  <a:cubicBezTo>
                    <a:pt x="1317" y="894"/>
                    <a:pt x="1317" y="895"/>
                    <a:pt x="1317" y="895"/>
                  </a:cubicBezTo>
                  <a:cubicBezTo>
                    <a:pt x="1317" y="896"/>
                    <a:pt x="1317" y="896"/>
                    <a:pt x="1317" y="896"/>
                  </a:cubicBezTo>
                  <a:cubicBezTo>
                    <a:pt x="1317" y="896"/>
                    <a:pt x="1317" y="896"/>
                    <a:pt x="1317" y="896"/>
                  </a:cubicBezTo>
                  <a:cubicBezTo>
                    <a:pt x="1317" y="896"/>
                    <a:pt x="1317" y="896"/>
                    <a:pt x="1317" y="896"/>
                  </a:cubicBezTo>
                  <a:cubicBezTo>
                    <a:pt x="1318" y="896"/>
                    <a:pt x="1318" y="896"/>
                    <a:pt x="1318" y="896"/>
                  </a:cubicBezTo>
                  <a:cubicBezTo>
                    <a:pt x="1318" y="896"/>
                    <a:pt x="1318" y="896"/>
                    <a:pt x="1318" y="896"/>
                  </a:cubicBezTo>
                  <a:cubicBezTo>
                    <a:pt x="1318" y="896"/>
                    <a:pt x="1318" y="896"/>
                    <a:pt x="1318" y="896"/>
                  </a:cubicBezTo>
                  <a:cubicBezTo>
                    <a:pt x="1318" y="896"/>
                    <a:pt x="1318" y="896"/>
                    <a:pt x="1318" y="896"/>
                  </a:cubicBezTo>
                  <a:cubicBezTo>
                    <a:pt x="1320" y="897"/>
                    <a:pt x="1320" y="897"/>
                    <a:pt x="1320" y="897"/>
                  </a:cubicBezTo>
                  <a:cubicBezTo>
                    <a:pt x="1323" y="897"/>
                    <a:pt x="1323" y="897"/>
                    <a:pt x="1323" y="897"/>
                  </a:cubicBezTo>
                  <a:cubicBezTo>
                    <a:pt x="1331" y="899"/>
                    <a:pt x="1331" y="899"/>
                    <a:pt x="1331" y="899"/>
                  </a:cubicBezTo>
                  <a:cubicBezTo>
                    <a:pt x="1334" y="899"/>
                    <a:pt x="1334" y="899"/>
                    <a:pt x="1334" y="899"/>
                  </a:cubicBezTo>
                  <a:cubicBezTo>
                    <a:pt x="1336" y="900"/>
                    <a:pt x="1336" y="900"/>
                    <a:pt x="1336" y="900"/>
                  </a:cubicBezTo>
                  <a:cubicBezTo>
                    <a:pt x="1336" y="900"/>
                    <a:pt x="1336" y="900"/>
                    <a:pt x="1336" y="900"/>
                  </a:cubicBezTo>
                  <a:cubicBezTo>
                    <a:pt x="1336" y="900"/>
                    <a:pt x="1336" y="900"/>
                    <a:pt x="1336" y="900"/>
                  </a:cubicBezTo>
                  <a:cubicBezTo>
                    <a:pt x="1336" y="900"/>
                    <a:pt x="1336" y="900"/>
                    <a:pt x="1336" y="900"/>
                  </a:cubicBezTo>
                  <a:cubicBezTo>
                    <a:pt x="1337" y="900"/>
                    <a:pt x="1338" y="900"/>
                    <a:pt x="1338" y="900"/>
                  </a:cubicBezTo>
                  <a:cubicBezTo>
                    <a:pt x="1339" y="900"/>
                    <a:pt x="1339" y="900"/>
                    <a:pt x="1339" y="900"/>
                  </a:cubicBezTo>
                  <a:cubicBezTo>
                    <a:pt x="1339" y="900"/>
                    <a:pt x="1339" y="900"/>
                    <a:pt x="1339" y="900"/>
                  </a:cubicBezTo>
                  <a:cubicBezTo>
                    <a:pt x="1341" y="900"/>
                    <a:pt x="1341" y="900"/>
                    <a:pt x="1343" y="901"/>
                  </a:cubicBezTo>
                  <a:cubicBezTo>
                    <a:pt x="1343" y="901"/>
                    <a:pt x="1343" y="901"/>
                    <a:pt x="1343" y="901"/>
                  </a:cubicBezTo>
                  <a:cubicBezTo>
                    <a:pt x="1343" y="901"/>
                    <a:pt x="1343" y="901"/>
                    <a:pt x="1343" y="901"/>
                  </a:cubicBezTo>
                  <a:cubicBezTo>
                    <a:pt x="1343" y="901"/>
                    <a:pt x="1343" y="901"/>
                    <a:pt x="1343" y="901"/>
                  </a:cubicBezTo>
                  <a:cubicBezTo>
                    <a:pt x="1343" y="901"/>
                    <a:pt x="1343" y="901"/>
                    <a:pt x="1343" y="901"/>
                  </a:cubicBezTo>
                  <a:cubicBezTo>
                    <a:pt x="1344" y="901"/>
                    <a:pt x="1344" y="901"/>
                    <a:pt x="1344" y="901"/>
                  </a:cubicBezTo>
                  <a:cubicBezTo>
                    <a:pt x="1344" y="901"/>
                    <a:pt x="1344" y="901"/>
                    <a:pt x="1344" y="901"/>
                  </a:cubicBezTo>
                  <a:cubicBezTo>
                    <a:pt x="1344" y="901"/>
                    <a:pt x="1344" y="901"/>
                    <a:pt x="1344" y="901"/>
                  </a:cubicBezTo>
                  <a:cubicBezTo>
                    <a:pt x="1344" y="901"/>
                    <a:pt x="1344" y="901"/>
                    <a:pt x="1344" y="901"/>
                  </a:cubicBezTo>
                  <a:cubicBezTo>
                    <a:pt x="1344" y="900"/>
                    <a:pt x="1345" y="901"/>
                    <a:pt x="1346" y="901"/>
                  </a:cubicBezTo>
                  <a:cubicBezTo>
                    <a:pt x="1346" y="901"/>
                    <a:pt x="1346" y="901"/>
                    <a:pt x="1346" y="901"/>
                  </a:cubicBezTo>
                  <a:cubicBezTo>
                    <a:pt x="1346" y="901"/>
                    <a:pt x="1346" y="901"/>
                    <a:pt x="1346" y="901"/>
                  </a:cubicBezTo>
                  <a:cubicBezTo>
                    <a:pt x="1347" y="901"/>
                    <a:pt x="1347" y="901"/>
                    <a:pt x="1348" y="900"/>
                  </a:cubicBezTo>
                  <a:cubicBezTo>
                    <a:pt x="1348" y="900"/>
                    <a:pt x="1348" y="900"/>
                    <a:pt x="1348" y="900"/>
                  </a:cubicBezTo>
                  <a:cubicBezTo>
                    <a:pt x="1348" y="900"/>
                    <a:pt x="1348" y="900"/>
                    <a:pt x="1348" y="900"/>
                  </a:cubicBezTo>
                  <a:cubicBezTo>
                    <a:pt x="1348" y="900"/>
                    <a:pt x="1348" y="900"/>
                    <a:pt x="1348" y="900"/>
                  </a:cubicBezTo>
                  <a:cubicBezTo>
                    <a:pt x="1349" y="900"/>
                    <a:pt x="1349" y="900"/>
                    <a:pt x="1349" y="900"/>
                  </a:cubicBezTo>
                  <a:cubicBezTo>
                    <a:pt x="1349" y="900"/>
                    <a:pt x="1350" y="900"/>
                    <a:pt x="1350" y="900"/>
                  </a:cubicBezTo>
                  <a:cubicBezTo>
                    <a:pt x="1350" y="900"/>
                    <a:pt x="1350" y="900"/>
                    <a:pt x="1350" y="900"/>
                  </a:cubicBezTo>
                  <a:cubicBezTo>
                    <a:pt x="1350" y="900"/>
                    <a:pt x="1350" y="900"/>
                    <a:pt x="1350" y="900"/>
                  </a:cubicBezTo>
                  <a:cubicBezTo>
                    <a:pt x="1351" y="900"/>
                    <a:pt x="1351" y="900"/>
                    <a:pt x="1351" y="900"/>
                  </a:cubicBezTo>
                  <a:cubicBezTo>
                    <a:pt x="1351" y="900"/>
                    <a:pt x="1351" y="900"/>
                    <a:pt x="1351" y="900"/>
                  </a:cubicBezTo>
                  <a:cubicBezTo>
                    <a:pt x="1351" y="900"/>
                    <a:pt x="1351" y="900"/>
                    <a:pt x="1351" y="900"/>
                  </a:cubicBezTo>
                  <a:cubicBezTo>
                    <a:pt x="1351" y="900"/>
                    <a:pt x="1351" y="900"/>
                    <a:pt x="1351" y="900"/>
                  </a:cubicBezTo>
                  <a:cubicBezTo>
                    <a:pt x="1351" y="900"/>
                    <a:pt x="1351" y="900"/>
                    <a:pt x="1351" y="900"/>
                  </a:cubicBezTo>
                  <a:cubicBezTo>
                    <a:pt x="1352" y="900"/>
                    <a:pt x="1352" y="900"/>
                    <a:pt x="1352" y="900"/>
                  </a:cubicBezTo>
                  <a:cubicBezTo>
                    <a:pt x="1352" y="900"/>
                    <a:pt x="1352" y="900"/>
                    <a:pt x="1352" y="900"/>
                  </a:cubicBezTo>
                  <a:cubicBezTo>
                    <a:pt x="1354" y="900"/>
                    <a:pt x="1354" y="900"/>
                    <a:pt x="1354" y="900"/>
                  </a:cubicBezTo>
                  <a:cubicBezTo>
                    <a:pt x="1354" y="901"/>
                    <a:pt x="1354" y="901"/>
                    <a:pt x="1354" y="901"/>
                  </a:cubicBezTo>
                  <a:cubicBezTo>
                    <a:pt x="1355" y="901"/>
                    <a:pt x="1355" y="901"/>
                    <a:pt x="1355" y="901"/>
                  </a:cubicBezTo>
                  <a:cubicBezTo>
                    <a:pt x="1355" y="901"/>
                    <a:pt x="1355" y="901"/>
                    <a:pt x="1355" y="901"/>
                  </a:cubicBezTo>
                  <a:cubicBezTo>
                    <a:pt x="1355" y="900"/>
                    <a:pt x="1355" y="900"/>
                    <a:pt x="1355" y="900"/>
                  </a:cubicBezTo>
                  <a:cubicBezTo>
                    <a:pt x="1355" y="900"/>
                    <a:pt x="1355" y="900"/>
                    <a:pt x="1355" y="900"/>
                  </a:cubicBezTo>
                  <a:cubicBezTo>
                    <a:pt x="1355" y="900"/>
                    <a:pt x="1355" y="900"/>
                    <a:pt x="1355" y="900"/>
                  </a:cubicBezTo>
                  <a:cubicBezTo>
                    <a:pt x="1355" y="900"/>
                    <a:pt x="1355" y="900"/>
                    <a:pt x="1355" y="900"/>
                  </a:cubicBezTo>
                  <a:cubicBezTo>
                    <a:pt x="1355" y="900"/>
                    <a:pt x="1355" y="900"/>
                    <a:pt x="1355" y="900"/>
                  </a:cubicBezTo>
                  <a:cubicBezTo>
                    <a:pt x="1356" y="900"/>
                    <a:pt x="1357" y="901"/>
                    <a:pt x="1358" y="900"/>
                  </a:cubicBezTo>
                  <a:cubicBezTo>
                    <a:pt x="1358" y="900"/>
                    <a:pt x="1358" y="900"/>
                    <a:pt x="1358" y="900"/>
                  </a:cubicBezTo>
                  <a:cubicBezTo>
                    <a:pt x="1361" y="901"/>
                    <a:pt x="1363" y="902"/>
                    <a:pt x="1366" y="903"/>
                  </a:cubicBezTo>
                  <a:cubicBezTo>
                    <a:pt x="1367" y="903"/>
                    <a:pt x="1367" y="903"/>
                    <a:pt x="1367" y="903"/>
                  </a:cubicBezTo>
                  <a:cubicBezTo>
                    <a:pt x="1367" y="903"/>
                    <a:pt x="1367" y="903"/>
                    <a:pt x="1367" y="903"/>
                  </a:cubicBezTo>
                  <a:cubicBezTo>
                    <a:pt x="1367" y="903"/>
                    <a:pt x="1367" y="903"/>
                    <a:pt x="1367" y="903"/>
                  </a:cubicBezTo>
                  <a:cubicBezTo>
                    <a:pt x="1367" y="903"/>
                    <a:pt x="1367" y="903"/>
                    <a:pt x="1367" y="903"/>
                  </a:cubicBezTo>
                  <a:cubicBezTo>
                    <a:pt x="1368" y="903"/>
                    <a:pt x="1368" y="903"/>
                    <a:pt x="1369" y="903"/>
                  </a:cubicBezTo>
                  <a:cubicBezTo>
                    <a:pt x="1369" y="903"/>
                    <a:pt x="1369" y="903"/>
                    <a:pt x="1369" y="903"/>
                  </a:cubicBezTo>
                  <a:cubicBezTo>
                    <a:pt x="1369" y="903"/>
                    <a:pt x="1369" y="903"/>
                    <a:pt x="1369" y="903"/>
                  </a:cubicBezTo>
                  <a:cubicBezTo>
                    <a:pt x="1370" y="903"/>
                    <a:pt x="1370" y="903"/>
                    <a:pt x="1371" y="903"/>
                  </a:cubicBezTo>
                  <a:cubicBezTo>
                    <a:pt x="1369" y="903"/>
                    <a:pt x="1368" y="904"/>
                    <a:pt x="1367" y="905"/>
                  </a:cubicBezTo>
                  <a:cubicBezTo>
                    <a:pt x="1367" y="905"/>
                    <a:pt x="1367" y="905"/>
                    <a:pt x="1367" y="905"/>
                  </a:cubicBezTo>
                  <a:cubicBezTo>
                    <a:pt x="1368" y="904"/>
                    <a:pt x="1370" y="903"/>
                    <a:pt x="1371" y="903"/>
                  </a:cubicBezTo>
                  <a:cubicBezTo>
                    <a:pt x="1371" y="903"/>
                    <a:pt x="1371" y="903"/>
                    <a:pt x="1371" y="903"/>
                  </a:cubicBezTo>
                  <a:cubicBezTo>
                    <a:pt x="1371" y="903"/>
                    <a:pt x="1371" y="903"/>
                    <a:pt x="1371" y="903"/>
                  </a:cubicBezTo>
                  <a:cubicBezTo>
                    <a:pt x="1372" y="903"/>
                    <a:pt x="1372" y="903"/>
                    <a:pt x="1372" y="903"/>
                  </a:cubicBezTo>
                  <a:cubicBezTo>
                    <a:pt x="1372" y="903"/>
                    <a:pt x="1372" y="903"/>
                    <a:pt x="1372" y="903"/>
                  </a:cubicBezTo>
                  <a:cubicBezTo>
                    <a:pt x="1372" y="903"/>
                    <a:pt x="1372" y="903"/>
                    <a:pt x="1372" y="903"/>
                  </a:cubicBezTo>
                  <a:cubicBezTo>
                    <a:pt x="1372" y="903"/>
                    <a:pt x="1372" y="903"/>
                    <a:pt x="1372" y="903"/>
                  </a:cubicBezTo>
                  <a:cubicBezTo>
                    <a:pt x="1372" y="903"/>
                    <a:pt x="1372" y="903"/>
                    <a:pt x="1372" y="903"/>
                  </a:cubicBezTo>
                  <a:cubicBezTo>
                    <a:pt x="1372" y="904"/>
                    <a:pt x="1372" y="904"/>
                    <a:pt x="1372" y="904"/>
                  </a:cubicBezTo>
                  <a:cubicBezTo>
                    <a:pt x="1372" y="905"/>
                    <a:pt x="1372" y="905"/>
                    <a:pt x="1372" y="905"/>
                  </a:cubicBezTo>
                  <a:cubicBezTo>
                    <a:pt x="1372" y="905"/>
                    <a:pt x="1372" y="905"/>
                    <a:pt x="1372" y="905"/>
                  </a:cubicBezTo>
                  <a:cubicBezTo>
                    <a:pt x="1373" y="904"/>
                    <a:pt x="1373" y="904"/>
                    <a:pt x="1373" y="904"/>
                  </a:cubicBezTo>
                  <a:cubicBezTo>
                    <a:pt x="1374" y="903"/>
                    <a:pt x="1374" y="903"/>
                    <a:pt x="1374" y="903"/>
                  </a:cubicBezTo>
                  <a:cubicBezTo>
                    <a:pt x="1374" y="902"/>
                    <a:pt x="1374" y="902"/>
                    <a:pt x="1374" y="902"/>
                  </a:cubicBezTo>
                  <a:cubicBezTo>
                    <a:pt x="1375" y="903"/>
                    <a:pt x="1375" y="903"/>
                    <a:pt x="1375" y="903"/>
                  </a:cubicBezTo>
                  <a:cubicBezTo>
                    <a:pt x="1374" y="903"/>
                    <a:pt x="1374" y="903"/>
                    <a:pt x="1374" y="903"/>
                  </a:cubicBezTo>
                  <a:cubicBezTo>
                    <a:pt x="1374" y="904"/>
                    <a:pt x="1374" y="904"/>
                    <a:pt x="1374" y="904"/>
                  </a:cubicBezTo>
                  <a:cubicBezTo>
                    <a:pt x="1374" y="905"/>
                    <a:pt x="1374" y="905"/>
                    <a:pt x="1374" y="905"/>
                  </a:cubicBezTo>
                  <a:cubicBezTo>
                    <a:pt x="1374" y="905"/>
                    <a:pt x="1374" y="905"/>
                    <a:pt x="1374" y="905"/>
                  </a:cubicBezTo>
                  <a:cubicBezTo>
                    <a:pt x="1373" y="905"/>
                    <a:pt x="1373" y="905"/>
                    <a:pt x="1373" y="905"/>
                  </a:cubicBezTo>
                  <a:cubicBezTo>
                    <a:pt x="1373" y="905"/>
                    <a:pt x="1373" y="905"/>
                    <a:pt x="1373" y="905"/>
                  </a:cubicBezTo>
                  <a:cubicBezTo>
                    <a:pt x="1373" y="905"/>
                    <a:pt x="1373" y="905"/>
                    <a:pt x="1373" y="905"/>
                  </a:cubicBezTo>
                  <a:cubicBezTo>
                    <a:pt x="1373" y="905"/>
                    <a:pt x="1373" y="905"/>
                    <a:pt x="1373" y="905"/>
                  </a:cubicBezTo>
                  <a:cubicBezTo>
                    <a:pt x="1374" y="905"/>
                    <a:pt x="1374" y="905"/>
                    <a:pt x="1374" y="905"/>
                  </a:cubicBezTo>
                  <a:cubicBezTo>
                    <a:pt x="1376" y="905"/>
                    <a:pt x="1376" y="905"/>
                    <a:pt x="1376" y="905"/>
                  </a:cubicBezTo>
                  <a:cubicBezTo>
                    <a:pt x="1377" y="905"/>
                    <a:pt x="1377" y="905"/>
                    <a:pt x="1377" y="905"/>
                  </a:cubicBezTo>
                  <a:cubicBezTo>
                    <a:pt x="1377" y="905"/>
                    <a:pt x="1377" y="905"/>
                    <a:pt x="1377" y="905"/>
                  </a:cubicBezTo>
                  <a:cubicBezTo>
                    <a:pt x="1377" y="905"/>
                    <a:pt x="1377" y="905"/>
                    <a:pt x="1377" y="905"/>
                  </a:cubicBezTo>
                  <a:cubicBezTo>
                    <a:pt x="1376" y="906"/>
                    <a:pt x="1375" y="907"/>
                    <a:pt x="1374" y="907"/>
                  </a:cubicBezTo>
                  <a:cubicBezTo>
                    <a:pt x="1374" y="907"/>
                    <a:pt x="1374" y="907"/>
                    <a:pt x="1374" y="907"/>
                  </a:cubicBezTo>
                  <a:cubicBezTo>
                    <a:pt x="1374" y="907"/>
                    <a:pt x="1374" y="907"/>
                    <a:pt x="1374" y="907"/>
                  </a:cubicBezTo>
                  <a:cubicBezTo>
                    <a:pt x="1375" y="907"/>
                    <a:pt x="1375" y="907"/>
                    <a:pt x="1375" y="907"/>
                  </a:cubicBezTo>
                  <a:cubicBezTo>
                    <a:pt x="1376" y="906"/>
                    <a:pt x="1376" y="906"/>
                    <a:pt x="1376"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8" y="905"/>
                    <a:pt x="1378" y="905"/>
                    <a:pt x="1378" y="905"/>
                  </a:cubicBezTo>
                  <a:cubicBezTo>
                    <a:pt x="1378" y="905"/>
                    <a:pt x="1378" y="905"/>
                    <a:pt x="1378" y="905"/>
                  </a:cubicBezTo>
                  <a:cubicBezTo>
                    <a:pt x="1378" y="905"/>
                    <a:pt x="1378" y="905"/>
                    <a:pt x="1378" y="905"/>
                  </a:cubicBezTo>
                  <a:cubicBezTo>
                    <a:pt x="1378" y="906"/>
                    <a:pt x="1378" y="906"/>
                    <a:pt x="1378" y="906"/>
                  </a:cubicBezTo>
                  <a:cubicBezTo>
                    <a:pt x="1379" y="906"/>
                    <a:pt x="1379" y="906"/>
                    <a:pt x="1379" y="906"/>
                  </a:cubicBezTo>
                  <a:cubicBezTo>
                    <a:pt x="1380" y="906"/>
                    <a:pt x="1381" y="907"/>
                    <a:pt x="1382" y="907"/>
                  </a:cubicBezTo>
                  <a:cubicBezTo>
                    <a:pt x="1382" y="907"/>
                    <a:pt x="1382" y="907"/>
                    <a:pt x="1382" y="907"/>
                  </a:cubicBezTo>
                  <a:cubicBezTo>
                    <a:pt x="1382" y="907"/>
                    <a:pt x="1382" y="907"/>
                    <a:pt x="1382" y="907"/>
                  </a:cubicBezTo>
                  <a:cubicBezTo>
                    <a:pt x="1382" y="907"/>
                    <a:pt x="1382" y="907"/>
                    <a:pt x="1382" y="907"/>
                  </a:cubicBezTo>
                  <a:cubicBezTo>
                    <a:pt x="1383" y="907"/>
                    <a:pt x="1383" y="907"/>
                    <a:pt x="1383" y="907"/>
                  </a:cubicBezTo>
                  <a:cubicBezTo>
                    <a:pt x="1384" y="908"/>
                    <a:pt x="1384" y="907"/>
                    <a:pt x="1384" y="907"/>
                  </a:cubicBezTo>
                  <a:cubicBezTo>
                    <a:pt x="1385" y="907"/>
                    <a:pt x="1385" y="907"/>
                    <a:pt x="1385" y="907"/>
                  </a:cubicBezTo>
                  <a:cubicBezTo>
                    <a:pt x="1385" y="907"/>
                    <a:pt x="1385" y="907"/>
                    <a:pt x="1385" y="907"/>
                  </a:cubicBezTo>
                  <a:cubicBezTo>
                    <a:pt x="1385" y="907"/>
                    <a:pt x="1385" y="907"/>
                    <a:pt x="1385" y="907"/>
                  </a:cubicBezTo>
                  <a:cubicBezTo>
                    <a:pt x="1385" y="907"/>
                    <a:pt x="1385" y="907"/>
                    <a:pt x="1385" y="907"/>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5"/>
                    <a:pt x="1385" y="905"/>
                    <a:pt x="1385" y="905"/>
                  </a:cubicBezTo>
                  <a:cubicBezTo>
                    <a:pt x="1385" y="905"/>
                    <a:pt x="1385" y="905"/>
                    <a:pt x="1385" y="905"/>
                  </a:cubicBezTo>
                  <a:cubicBezTo>
                    <a:pt x="1386" y="906"/>
                    <a:pt x="1386" y="906"/>
                    <a:pt x="1386" y="906"/>
                  </a:cubicBezTo>
                  <a:cubicBezTo>
                    <a:pt x="1387" y="906"/>
                    <a:pt x="1387" y="906"/>
                    <a:pt x="1387" y="906"/>
                  </a:cubicBezTo>
                  <a:cubicBezTo>
                    <a:pt x="1390" y="907"/>
                    <a:pt x="1390" y="907"/>
                    <a:pt x="1390" y="907"/>
                  </a:cubicBezTo>
                  <a:cubicBezTo>
                    <a:pt x="1391" y="907"/>
                    <a:pt x="1391" y="907"/>
                    <a:pt x="1391" y="907"/>
                  </a:cubicBezTo>
                  <a:cubicBezTo>
                    <a:pt x="1392" y="907"/>
                    <a:pt x="1392" y="907"/>
                    <a:pt x="1392" y="907"/>
                  </a:cubicBezTo>
                  <a:cubicBezTo>
                    <a:pt x="1392" y="907"/>
                    <a:pt x="1392" y="907"/>
                    <a:pt x="1392" y="907"/>
                  </a:cubicBezTo>
                  <a:cubicBezTo>
                    <a:pt x="1393" y="908"/>
                    <a:pt x="1393" y="908"/>
                    <a:pt x="1393" y="908"/>
                  </a:cubicBezTo>
                  <a:cubicBezTo>
                    <a:pt x="1393" y="908"/>
                    <a:pt x="1393" y="908"/>
                    <a:pt x="1393" y="908"/>
                  </a:cubicBezTo>
                  <a:cubicBezTo>
                    <a:pt x="1394" y="908"/>
                    <a:pt x="1394" y="908"/>
                    <a:pt x="1394" y="908"/>
                  </a:cubicBezTo>
                  <a:cubicBezTo>
                    <a:pt x="1395" y="909"/>
                    <a:pt x="1395" y="909"/>
                    <a:pt x="1395" y="909"/>
                  </a:cubicBezTo>
                  <a:cubicBezTo>
                    <a:pt x="1398" y="912"/>
                    <a:pt x="1398" y="912"/>
                    <a:pt x="1398" y="912"/>
                  </a:cubicBezTo>
                  <a:cubicBezTo>
                    <a:pt x="1406" y="919"/>
                    <a:pt x="1406" y="919"/>
                    <a:pt x="1406" y="919"/>
                  </a:cubicBezTo>
                  <a:cubicBezTo>
                    <a:pt x="1409" y="922"/>
                    <a:pt x="1409" y="922"/>
                    <a:pt x="1409" y="922"/>
                  </a:cubicBezTo>
                  <a:cubicBezTo>
                    <a:pt x="1410" y="923"/>
                    <a:pt x="1410" y="923"/>
                    <a:pt x="1410" y="923"/>
                  </a:cubicBezTo>
                  <a:cubicBezTo>
                    <a:pt x="1411" y="923"/>
                    <a:pt x="1411" y="923"/>
                    <a:pt x="1411" y="923"/>
                  </a:cubicBezTo>
                  <a:cubicBezTo>
                    <a:pt x="1411" y="923"/>
                    <a:pt x="1411" y="923"/>
                    <a:pt x="1411" y="923"/>
                  </a:cubicBezTo>
                  <a:cubicBezTo>
                    <a:pt x="1411" y="924"/>
                    <a:pt x="1411" y="924"/>
                    <a:pt x="1411" y="924"/>
                  </a:cubicBezTo>
                  <a:cubicBezTo>
                    <a:pt x="1411" y="924"/>
                    <a:pt x="1411" y="924"/>
                    <a:pt x="1411" y="924"/>
                  </a:cubicBezTo>
                  <a:cubicBezTo>
                    <a:pt x="1411" y="925"/>
                    <a:pt x="1411" y="925"/>
                    <a:pt x="1411" y="925"/>
                  </a:cubicBezTo>
                  <a:cubicBezTo>
                    <a:pt x="1410" y="927"/>
                    <a:pt x="1410" y="927"/>
                    <a:pt x="1410" y="927"/>
                  </a:cubicBezTo>
                  <a:cubicBezTo>
                    <a:pt x="1410" y="928"/>
                    <a:pt x="1410" y="928"/>
                    <a:pt x="1410" y="928"/>
                  </a:cubicBezTo>
                  <a:cubicBezTo>
                    <a:pt x="1412" y="930"/>
                    <a:pt x="1412" y="930"/>
                    <a:pt x="1412" y="930"/>
                  </a:cubicBezTo>
                  <a:cubicBezTo>
                    <a:pt x="1412" y="933"/>
                    <a:pt x="1412" y="933"/>
                    <a:pt x="1412" y="933"/>
                  </a:cubicBezTo>
                  <a:cubicBezTo>
                    <a:pt x="1413" y="935"/>
                    <a:pt x="1413" y="935"/>
                    <a:pt x="1413" y="935"/>
                  </a:cubicBezTo>
                  <a:cubicBezTo>
                    <a:pt x="1418" y="939"/>
                    <a:pt x="1418" y="939"/>
                    <a:pt x="1418" y="939"/>
                  </a:cubicBezTo>
                  <a:cubicBezTo>
                    <a:pt x="1419" y="941"/>
                    <a:pt x="1419" y="941"/>
                    <a:pt x="1419" y="941"/>
                  </a:cubicBezTo>
                  <a:cubicBezTo>
                    <a:pt x="1420" y="942"/>
                    <a:pt x="1420" y="942"/>
                    <a:pt x="1420" y="942"/>
                  </a:cubicBezTo>
                  <a:cubicBezTo>
                    <a:pt x="1420" y="942"/>
                    <a:pt x="1420" y="942"/>
                    <a:pt x="1420" y="942"/>
                  </a:cubicBezTo>
                  <a:cubicBezTo>
                    <a:pt x="1420" y="942"/>
                    <a:pt x="1420" y="942"/>
                    <a:pt x="1420" y="942"/>
                  </a:cubicBezTo>
                  <a:cubicBezTo>
                    <a:pt x="1419" y="942"/>
                    <a:pt x="1419" y="942"/>
                    <a:pt x="1419" y="942"/>
                  </a:cubicBezTo>
                  <a:cubicBezTo>
                    <a:pt x="1419" y="942"/>
                    <a:pt x="1419" y="942"/>
                    <a:pt x="1418" y="942"/>
                  </a:cubicBezTo>
                  <a:cubicBezTo>
                    <a:pt x="1418" y="942"/>
                    <a:pt x="1418" y="942"/>
                    <a:pt x="1418" y="942"/>
                  </a:cubicBezTo>
                  <a:cubicBezTo>
                    <a:pt x="1418" y="942"/>
                    <a:pt x="1418" y="942"/>
                    <a:pt x="1418" y="942"/>
                  </a:cubicBezTo>
                  <a:cubicBezTo>
                    <a:pt x="1418" y="942"/>
                    <a:pt x="1418" y="942"/>
                    <a:pt x="1418" y="942"/>
                  </a:cubicBezTo>
                  <a:cubicBezTo>
                    <a:pt x="1418" y="942"/>
                    <a:pt x="1418" y="942"/>
                    <a:pt x="1418" y="942"/>
                  </a:cubicBezTo>
                  <a:cubicBezTo>
                    <a:pt x="1418" y="942"/>
                    <a:pt x="1418" y="942"/>
                    <a:pt x="1418" y="942"/>
                  </a:cubicBezTo>
                  <a:cubicBezTo>
                    <a:pt x="1417" y="942"/>
                    <a:pt x="1417" y="942"/>
                    <a:pt x="1417" y="942"/>
                  </a:cubicBezTo>
                  <a:cubicBezTo>
                    <a:pt x="1417" y="942"/>
                    <a:pt x="1417" y="942"/>
                    <a:pt x="1417" y="942"/>
                  </a:cubicBezTo>
                  <a:cubicBezTo>
                    <a:pt x="1417" y="942"/>
                    <a:pt x="1417" y="942"/>
                    <a:pt x="1417" y="942"/>
                  </a:cubicBezTo>
                  <a:cubicBezTo>
                    <a:pt x="1417" y="942"/>
                    <a:pt x="1417" y="942"/>
                    <a:pt x="1417" y="942"/>
                  </a:cubicBezTo>
                  <a:cubicBezTo>
                    <a:pt x="1417" y="941"/>
                    <a:pt x="1417" y="941"/>
                    <a:pt x="1417" y="941"/>
                  </a:cubicBezTo>
                  <a:cubicBezTo>
                    <a:pt x="1417" y="941"/>
                    <a:pt x="1417" y="941"/>
                    <a:pt x="1417" y="941"/>
                  </a:cubicBezTo>
                  <a:cubicBezTo>
                    <a:pt x="1417" y="941"/>
                    <a:pt x="1417" y="941"/>
                    <a:pt x="1417"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5" y="941"/>
                    <a:pt x="1415" y="941"/>
                    <a:pt x="1415" y="941"/>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4" y="940"/>
                    <a:pt x="1414" y="940"/>
                    <a:pt x="1414" y="940"/>
                  </a:cubicBezTo>
                  <a:cubicBezTo>
                    <a:pt x="1414" y="940"/>
                    <a:pt x="1414" y="940"/>
                    <a:pt x="1414" y="940"/>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3" y="939"/>
                    <a:pt x="1413" y="939"/>
                    <a:pt x="1413" y="939"/>
                  </a:cubicBezTo>
                  <a:cubicBezTo>
                    <a:pt x="1413" y="939"/>
                    <a:pt x="1413" y="939"/>
                    <a:pt x="1413" y="939"/>
                  </a:cubicBezTo>
                  <a:cubicBezTo>
                    <a:pt x="1412" y="939"/>
                    <a:pt x="1412" y="939"/>
                    <a:pt x="1412" y="939"/>
                  </a:cubicBezTo>
                  <a:cubicBezTo>
                    <a:pt x="1411" y="941"/>
                    <a:pt x="1411" y="941"/>
                    <a:pt x="1411" y="941"/>
                  </a:cubicBezTo>
                  <a:cubicBezTo>
                    <a:pt x="1410" y="941"/>
                    <a:pt x="1410" y="941"/>
                    <a:pt x="1410" y="941"/>
                  </a:cubicBezTo>
                  <a:cubicBezTo>
                    <a:pt x="1410" y="942"/>
                    <a:pt x="1410" y="942"/>
                    <a:pt x="1410" y="942"/>
                  </a:cubicBezTo>
                  <a:cubicBezTo>
                    <a:pt x="1410" y="942"/>
                    <a:pt x="1410" y="942"/>
                    <a:pt x="1410" y="942"/>
                  </a:cubicBezTo>
                  <a:cubicBezTo>
                    <a:pt x="1410" y="942"/>
                    <a:pt x="1410" y="942"/>
                    <a:pt x="1410" y="942"/>
                  </a:cubicBezTo>
                  <a:cubicBezTo>
                    <a:pt x="1410" y="943"/>
                    <a:pt x="1410" y="943"/>
                    <a:pt x="1410" y="943"/>
                  </a:cubicBezTo>
                  <a:cubicBezTo>
                    <a:pt x="1412" y="946"/>
                    <a:pt x="1412" y="946"/>
                    <a:pt x="1412" y="946"/>
                  </a:cubicBezTo>
                  <a:cubicBezTo>
                    <a:pt x="1411" y="949"/>
                    <a:pt x="1411" y="949"/>
                    <a:pt x="1411" y="949"/>
                  </a:cubicBezTo>
                  <a:cubicBezTo>
                    <a:pt x="1410" y="950"/>
                    <a:pt x="1410" y="950"/>
                    <a:pt x="1410" y="950"/>
                  </a:cubicBezTo>
                  <a:cubicBezTo>
                    <a:pt x="1410" y="950"/>
                    <a:pt x="1410" y="950"/>
                    <a:pt x="1410" y="950"/>
                  </a:cubicBezTo>
                  <a:cubicBezTo>
                    <a:pt x="1410" y="950"/>
                    <a:pt x="1410" y="950"/>
                    <a:pt x="1410" y="950"/>
                  </a:cubicBezTo>
                  <a:cubicBezTo>
                    <a:pt x="1409" y="950"/>
                    <a:pt x="1409" y="950"/>
                    <a:pt x="1409" y="950"/>
                  </a:cubicBezTo>
                  <a:cubicBezTo>
                    <a:pt x="1407" y="948"/>
                    <a:pt x="1404" y="948"/>
                    <a:pt x="1402" y="947"/>
                  </a:cubicBezTo>
                  <a:cubicBezTo>
                    <a:pt x="1402" y="947"/>
                    <a:pt x="1402" y="947"/>
                    <a:pt x="1402" y="947"/>
                  </a:cubicBezTo>
                  <a:cubicBezTo>
                    <a:pt x="1402" y="947"/>
                    <a:pt x="1402" y="947"/>
                    <a:pt x="1402" y="947"/>
                  </a:cubicBezTo>
                  <a:cubicBezTo>
                    <a:pt x="1402" y="947"/>
                    <a:pt x="1402" y="947"/>
                    <a:pt x="1402" y="947"/>
                  </a:cubicBezTo>
                  <a:cubicBezTo>
                    <a:pt x="1401" y="947"/>
                    <a:pt x="1401" y="947"/>
                    <a:pt x="1401" y="947"/>
                  </a:cubicBezTo>
                  <a:cubicBezTo>
                    <a:pt x="1401" y="947"/>
                    <a:pt x="1401" y="947"/>
                    <a:pt x="1401" y="947"/>
                  </a:cubicBezTo>
                  <a:cubicBezTo>
                    <a:pt x="1401" y="946"/>
                    <a:pt x="1401" y="946"/>
                    <a:pt x="1401" y="946"/>
                  </a:cubicBezTo>
                  <a:cubicBezTo>
                    <a:pt x="1400" y="946"/>
                    <a:pt x="1400" y="946"/>
                    <a:pt x="1400" y="946"/>
                  </a:cubicBezTo>
                  <a:cubicBezTo>
                    <a:pt x="1399" y="945"/>
                    <a:pt x="1399" y="945"/>
                    <a:pt x="1399" y="945"/>
                  </a:cubicBezTo>
                  <a:cubicBezTo>
                    <a:pt x="1397" y="944"/>
                    <a:pt x="1397" y="944"/>
                    <a:pt x="1397" y="944"/>
                  </a:cubicBezTo>
                  <a:cubicBezTo>
                    <a:pt x="1397" y="943"/>
                    <a:pt x="1397" y="943"/>
                    <a:pt x="1397" y="943"/>
                  </a:cubicBezTo>
                  <a:cubicBezTo>
                    <a:pt x="1396" y="943"/>
                    <a:pt x="1396" y="943"/>
                    <a:pt x="1396" y="943"/>
                  </a:cubicBezTo>
                  <a:cubicBezTo>
                    <a:pt x="1396" y="943"/>
                    <a:pt x="1396" y="943"/>
                    <a:pt x="1396" y="943"/>
                  </a:cubicBezTo>
                  <a:cubicBezTo>
                    <a:pt x="1395" y="943"/>
                    <a:pt x="1395" y="943"/>
                    <a:pt x="1395" y="943"/>
                  </a:cubicBezTo>
                  <a:cubicBezTo>
                    <a:pt x="1395" y="943"/>
                    <a:pt x="1395" y="943"/>
                    <a:pt x="1395" y="943"/>
                  </a:cubicBezTo>
                  <a:cubicBezTo>
                    <a:pt x="1395" y="943"/>
                    <a:pt x="1395" y="943"/>
                    <a:pt x="1395" y="943"/>
                  </a:cubicBezTo>
                  <a:cubicBezTo>
                    <a:pt x="1394" y="943"/>
                    <a:pt x="1394" y="943"/>
                    <a:pt x="1393" y="944"/>
                  </a:cubicBezTo>
                  <a:cubicBezTo>
                    <a:pt x="1391" y="946"/>
                    <a:pt x="1391" y="946"/>
                    <a:pt x="1391" y="946"/>
                  </a:cubicBezTo>
                  <a:cubicBezTo>
                    <a:pt x="1391" y="946"/>
                    <a:pt x="1391" y="946"/>
                    <a:pt x="1391" y="946"/>
                  </a:cubicBezTo>
                  <a:cubicBezTo>
                    <a:pt x="1391" y="946"/>
                    <a:pt x="1391" y="946"/>
                    <a:pt x="1391" y="946"/>
                  </a:cubicBezTo>
                  <a:cubicBezTo>
                    <a:pt x="1391" y="946"/>
                    <a:pt x="1391" y="946"/>
                    <a:pt x="1391" y="946"/>
                  </a:cubicBezTo>
                  <a:cubicBezTo>
                    <a:pt x="1391" y="946"/>
                    <a:pt x="1391" y="945"/>
                    <a:pt x="1391" y="945"/>
                  </a:cubicBezTo>
                  <a:cubicBezTo>
                    <a:pt x="1391" y="945"/>
                    <a:pt x="1391" y="945"/>
                    <a:pt x="1391" y="945"/>
                  </a:cubicBezTo>
                  <a:cubicBezTo>
                    <a:pt x="1391" y="944"/>
                    <a:pt x="1391" y="944"/>
                    <a:pt x="1391" y="944"/>
                  </a:cubicBezTo>
                  <a:cubicBezTo>
                    <a:pt x="1390" y="944"/>
                    <a:pt x="1390" y="944"/>
                    <a:pt x="1390" y="944"/>
                  </a:cubicBezTo>
                  <a:cubicBezTo>
                    <a:pt x="1388" y="942"/>
                    <a:pt x="1388" y="942"/>
                    <a:pt x="1388" y="942"/>
                  </a:cubicBezTo>
                  <a:cubicBezTo>
                    <a:pt x="1387" y="942"/>
                    <a:pt x="1387" y="942"/>
                    <a:pt x="1387" y="942"/>
                  </a:cubicBezTo>
                  <a:cubicBezTo>
                    <a:pt x="1386" y="942"/>
                    <a:pt x="1386" y="942"/>
                    <a:pt x="1386" y="942"/>
                  </a:cubicBezTo>
                  <a:cubicBezTo>
                    <a:pt x="1386" y="941"/>
                    <a:pt x="1386" y="941"/>
                    <a:pt x="1386" y="941"/>
                  </a:cubicBezTo>
                  <a:cubicBezTo>
                    <a:pt x="1387" y="939"/>
                    <a:pt x="1389" y="941"/>
                    <a:pt x="1390" y="936"/>
                  </a:cubicBezTo>
                  <a:cubicBezTo>
                    <a:pt x="1390" y="936"/>
                    <a:pt x="1390" y="936"/>
                    <a:pt x="1390" y="936"/>
                  </a:cubicBezTo>
                  <a:cubicBezTo>
                    <a:pt x="1390" y="936"/>
                    <a:pt x="1390" y="936"/>
                    <a:pt x="1390" y="936"/>
                  </a:cubicBezTo>
                  <a:cubicBezTo>
                    <a:pt x="1389" y="936"/>
                    <a:pt x="1389" y="936"/>
                    <a:pt x="1389" y="936"/>
                  </a:cubicBezTo>
                  <a:cubicBezTo>
                    <a:pt x="1387" y="937"/>
                    <a:pt x="1387" y="937"/>
                    <a:pt x="1387" y="937"/>
                  </a:cubicBezTo>
                  <a:cubicBezTo>
                    <a:pt x="1386" y="937"/>
                    <a:pt x="1386" y="937"/>
                    <a:pt x="1386" y="937"/>
                  </a:cubicBezTo>
                  <a:cubicBezTo>
                    <a:pt x="1386" y="937"/>
                    <a:pt x="1386" y="937"/>
                    <a:pt x="1386" y="937"/>
                  </a:cubicBezTo>
                  <a:cubicBezTo>
                    <a:pt x="1386" y="937"/>
                    <a:pt x="1386" y="937"/>
                    <a:pt x="1386" y="937"/>
                  </a:cubicBezTo>
                  <a:cubicBezTo>
                    <a:pt x="1386" y="937"/>
                    <a:pt x="1386" y="937"/>
                    <a:pt x="1386" y="937"/>
                  </a:cubicBezTo>
                  <a:cubicBezTo>
                    <a:pt x="1386" y="936"/>
                    <a:pt x="1386" y="936"/>
                    <a:pt x="1386" y="936"/>
                  </a:cubicBezTo>
                  <a:cubicBezTo>
                    <a:pt x="1385" y="936"/>
                    <a:pt x="1385" y="936"/>
                    <a:pt x="1385" y="936"/>
                  </a:cubicBezTo>
                  <a:cubicBezTo>
                    <a:pt x="1384" y="935"/>
                    <a:pt x="1384" y="935"/>
                    <a:pt x="1384" y="935"/>
                  </a:cubicBezTo>
                  <a:cubicBezTo>
                    <a:pt x="1384" y="935"/>
                    <a:pt x="1384" y="935"/>
                    <a:pt x="1384"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4"/>
                    <a:pt x="1383" y="934"/>
                    <a:pt x="1383" y="934"/>
                  </a:cubicBezTo>
                  <a:cubicBezTo>
                    <a:pt x="1383" y="934"/>
                    <a:pt x="1383" y="934"/>
                    <a:pt x="1383" y="933"/>
                  </a:cubicBezTo>
                  <a:cubicBezTo>
                    <a:pt x="1383" y="933"/>
                    <a:pt x="1383" y="933"/>
                    <a:pt x="1383" y="933"/>
                  </a:cubicBezTo>
                  <a:cubicBezTo>
                    <a:pt x="1383" y="933"/>
                    <a:pt x="1383" y="933"/>
                    <a:pt x="1383" y="933"/>
                  </a:cubicBezTo>
                  <a:cubicBezTo>
                    <a:pt x="1383" y="933"/>
                    <a:pt x="1383" y="933"/>
                    <a:pt x="1383" y="933"/>
                  </a:cubicBezTo>
                  <a:cubicBezTo>
                    <a:pt x="1383" y="933"/>
                    <a:pt x="1383" y="933"/>
                    <a:pt x="1383" y="933"/>
                  </a:cubicBezTo>
                  <a:cubicBezTo>
                    <a:pt x="1383" y="932"/>
                    <a:pt x="1383" y="932"/>
                    <a:pt x="1383" y="932"/>
                  </a:cubicBezTo>
                  <a:cubicBezTo>
                    <a:pt x="1383" y="931"/>
                    <a:pt x="1383" y="931"/>
                    <a:pt x="1383" y="931"/>
                  </a:cubicBezTo>
                  <a:cubicBezTo>
                    <a:pt x="1382" y="931"/>
                    <a:pt x="1382" y="931"/>
                    <a:pt x="1382" y="931"/>
                  </a:cubicBezTo>
                  <a:cubicBezTo>
                    <a:pt x="1382" y="931"/>
                    <a:pt x="1382" y="931"/>
                    <a:pt x="1382" y="930"/>
                  </a:cubicBezTo>
                  <a:cubicBezTo>
                    <a:pt x="1382" y="928"/>
                    <a:pt x="1382" y="928"/>
                    <a:pt x="1382" y="928"/>
                  </a:cubicBezTo>
                  <a:cubicBezTo>
                    <a:pt x="1382" y="928"/>
                    <a:pt x="1382" y="928"/>
                    <a:pt x="1382" y="928"/>
                  </a:cubicBezTo>
                  <a:cubicBezTo>
                    <a:pt x="1382" y="928"/>
                    <a:pt x="1382" y="928"/>
                    <a:pt x="1382" y="928"/>
                  </a:cubicBezTo>
                  <a:cubicBezTo>
                    <a:pt x="1382" y="928"/>
                    <a:pt x="1382" y="928"/>
                    <a:pt x="1382" y="928"/>
                  </a:cubicBezTo>
                  <a:cubicBezTo>
                    <a:pt x="1380" y="928"/>
                    <a:pt x="1377" y="927"/>
                    <a:pt x="1374" y="927"/>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6" y="929"/>
                    <a:pt x="1376" y="929"/>
                    <a:pt x="1376" y="929"/>
                  </a:cubicBezTo>
                  <a:cubicBezTo>
                    <a:pt x="1376" y="929"/>
                    <a:pt x="1376" y="929"/>
                    <a:pt x="1376" y="929"/>
                  </a:cubicBezTo>
                  <a:cubicBezTo>
                    <a:pt x="1376" y="929"/>
                    <a:pt x="1376" y="929"/>
                    <a:pt x="1376" y="929"/>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7" y="931"/>
                    <a:pt x="1377" y="931"/>
                    <a:pt x="1377" y="931"/>
                  </a:cubicBezTo>
                  <a:cubicBezTo>
                    <a:pt x="1377" y="931"/>
                    <a:pt x="1377" y="931"/>
                    <a:pt x="1377" y="931"/>
                  </a:cubicBezTo>
                  <a:cubicBezTo>
                    <a:pt x="1378" y="932"/>
                    <a:pt x="1377" y="932"/>
                    <a:pt x="1378" y="933"/>
                  </a:cubicBezTo>
                  <a:cubicBezTo>
                    <a:pt x="1378" y="933"/>
                    <a:pt x="1378" y="933"/>
                    <a:pt x="1378" y="933"/>
                  </a:cubicBezTo>
                  <a:cubicBezTo>
                    <a:pt x="1378" y="933"/>
                    <a:pt x="1378" y="933"/>
                    <a:pt x="1378" y="933"/>
                  </a:cubicBezTo>
                  <a:cubicBezTo>
                    <a:pt x="1378" y="933"/>
                    <a:pt x="1378" y="933"/>
                    <a:pt x="1378" y="933"/>
                  </a:cubicBezTo>
                  <a:cubicBezTo>
                    <a:pt x="1378" y="933"/>
                    <a:pt x="1378" y="933"/>
                    <a:pt x="1378" y="933"/>
                  </a:cubicBezTo>
                  <a:cubicBezTo>
                    <a:pt x="1378" y="933"/>
                    <a:pt x="1378" y="933"/>
                    <a:pt x="1378" y="933"/>
                  </a:cubicBezTo>
                  <a:cubicBezTo>
                    <a:pt x="1379" y="933"/>
                    <a:pt x="1379" y="933"/>
                    <a:pt x="1379" y="933"/>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80" y="935"/>
                    <a:pt x="1380" y="935"/>
                    <a:pt x="1380" y="935"/>
                  </a:cubicBezTo>
                  <a:cubicBezTo>
                    <a:pt x="1380" y="935"/>
                    <a:pt x="1380" y="935"/>
                    <a:pt x="1380" y="935"/>
                  </a:cubicBezTo>
                  <a:cubicBezTo>
                    <a:pt x="1380" y="935"/>
                    <a:pt x="1380" y="935"/>
                    <a:pt x="1380" y="935"/>
                  </a:cubicBezTo>
                  <a:cubicBezTo>
                    <a:pt x="1380" y="935"/>
                    <a:pt x="1380" y="935"/>
                    <a:pt x="1380" y="935"/>
                  </a:cubicBezTo>
                  <a:cubicBezTo>
                    <a:pt x="1380" y="935"/>
                    <a:pt x="1380" y="935"/>
                    <a:pt x="1380"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6"/>
                    <a:pt x="1381" y="936"/>
                    <a:pt x="1381" y="936"/>
                  </a:cubicBezTo>
                  <a:cubicBezTo>
                    <a:pt x="1381" y="936"/>
                    <a:pt x="1381" y="936"/>
                    <a:pt x="1381" y="936"/>
                  </a:cubicBezTo>
                  <a:cubicBezTo>
                    <a:pt x="1381" y="936"/>
                    <a:pt x="1381" y="936"/>
                    <a:pt x="1381" y="936"/>
                  </a:cubicBezTo>
                  <a:cubicBezTo>
                    <a:pt x="1381" y="936"/>
                    <a:pt x="1381" y="936"/>
                    <a:pt x="1381" y="936"/>
                  </a:cubicBezTo>
                  <a:cubicBezTo>
                    <a:pt x="1381" y="936"/>
                    <a:pt x="1381" y="936"/>
                    <a:pt x="1381" y="936"/>
                  </a:cubicBezTo>
                  <a:cubicBezTo>
                    <a:pt x="1381" y="937"/>
                    <a:pt x="1381" y="937"/>
                    <a:pt x="1381" y="938"/>
                  </a:cubicBezTo>
                  <a:cubicBezTo>
                    <a:pt x="1381" y="938"/>
                    <a:pt x="1381" y="938"/>
                    <a:pt x="1381" y="938"/>
                  </a:cubicBezTo>
                  <a:cubicBezTo>
                    <a:pt x="1381" y="938"/>
                    <a:pt x="1381" y="938"/>
                    <a:pt x="1381" y="938"/>
                  </a:cubicBezTo>
                  <a:cubicBezTo>
                    <a:pt x="1381" y="939"/>
                    <a:pt x="1382" y="938"/>
                    <a:pt x="1382" y="939"/>
                  </a:cubicBezTo>
                  <a:cubicBezTo>
                    <a:pt x="1382" y="939"/>
                    <a:pt x="1382" y="939"/>
                    <a:pt x="1382" y="939"/>
                  </a:cubicBezTo>
                  <a:cubicBezTo>
                    <a:pt x="1382" y="940"/>
                    <a:pt x="1382" y="940"/>
                    <a:pt x="1382" y="940"/>
                  </a:cubicBezTo>
                  <a:cubicBezTo>
                    <a:pt x="1382" y="940"/>
                    <a:pt x="1382" y="940"/>
                    <a:pt x="1382" y="940"/>
                  </a:cubicBezTo>
                  <a:cubicBezTo>
                    <a:pt x="1382" y="940"/>
                    <a:pt x="1382" y="940"/>
                    <a:pt x="1382" y="940"/>
                  </a:cubicBezTo>
                  <a:cubicBezTo>
                    <a:pt x="1383" y="940"/>
                    <a:pt x="1382" y="941"/>
                    <a:pt x="1383" y="941"/>
                  </a:cubicBezTo>
                  <a:cubicBezTo>
                    <a:pt x="1383" y="941"/>
                    <a:pt x="1383" y="941"/>
                    <a:pt x="1383" y="941"/>
                  </a:cubicBezTo>
                  <a:cubicBezTo>
                    <a:pt x="1383" y="941"/>
                    <a:pt x="1383" y="941"/>
                    <a:pt x="1383" y="941"/>
                  </a:cubicBezTo>
                  <a:cubicBezTo>
                    <a:pt x="1383" y="941"/>
                    <a:pt x="1383" y="941"/>
                    <a:pt x="1383" y="941"/>
                  </a:cubicBezTo>
                  <a:cubicBezTo>
                    <a:pt x="1383" y="941"/>
                    <a:pt x="1383" y="941"/>
                    <a:pt x="1383" y="941"/>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3"/>
                    <a:pt x="1383" y="943"/>
                    <a:pt x="1383" y="943"/>
                  </a:cubicBezTo>
                  <a:cubicBezTo>
                    <a:pt x="1383" y="943"/>
                    <a:pt x="1383" y="943"/>
                    <a:pt x="1383" y="943"/>
                  </a:cubicBezTo>
                  <a:cubicBezTo>
                    <a:pt x="1383" y="943"/>
                    <a:pt x="1383" y="943"/>
                    <a:pt x="1383" y="943"/>
                  </a:cubicBezTo>
                  <a:cubicBezTo>
                    <a:pt x="1383" y="943"/>
                    <a:pt x="1383" y="943"/>
                    <a:pt x="1383" y="943"/>
                  </a:cubicBezTo>
                  <a:cubicBezTo>
                    <a:pt x="1382" y="943"/>
                    <a:pt x="1382" y="943"/>
                    <a:pt x="1382" y="943"/>
                  </a:cubicBezTo>
                  <a:cubicBezTo>
                    <a:pt x="1382" y="944"/>
                    <a:pt x="1382" y="944"/>
                    <a:pt x="1382" y="944"/>
                  </a:cubicBezTo>
                  <a:cubicBezTo>
                    <a:pt x="1383" y="944"/>
                    <a:pt x="1383" y="944"/>
                    <a:pt x="1383" y="944"/>
                  </a:cubicBezTo>
                  <a:cubicBezTo>
                    <a:pt x="1383" y="944"/>
                    <a:pt x="1383" y="944"/>
                    <a:pt x="1383" y="944"/>
                  </a:cubicBezTo>
                  <a:cubicBezTo>
                    <a:pt x="1383" y="944"/>
                    <a:pt x="1383" y="944"/>
                    <a:pt x="1383" y="944"/>
                  </a:cubicBezTo>
                  <a:cubicBezTo>
                    <a:pt x="1384" y="946"/>
                    <a:pt x="1382" y="946"/>
                    <a:pt x="1381" y="948"/>
                  </a:cubicBezTo>
                  <a:cubicBezTo>
                    <a:pt x="1381" y="948"/>
                    <a:pt x="1381" y="948"/>
                    <a:pt x="1381" y="948"/>
                  </a:cubicBezTo>
                  <a:cubicBezTo>
                    <a:pt x="1381" y="948"/>
                    <a:pt x="1381" y="948"/>
                    <a:pt x="1381" y="948"/>
                  </a:cubicBezTo>
                  <a:cubicBezTo>
                    <a:pt x="1381" y="948"/>
                    <a:pt x="1381" y="948"/>
                    <a:pt x="1381" y="948"/>
                  </a:cubicBezTo>
                  <a:cubicBezTo>
                    <a:pt x="1381" y="948"/>
                    <a:pt x="1380" y="949"/>
                    <a:pt x="1380" y="949"/>
                  </a:cubicBezTo>
                  <a:cubicBezTo>
                    <a:pt x="1380" y="949"/>
                    <a:pt x="1380" y="949"/>
                    <a:pt x="1380" y="949"/>
                  </a:cubicBezTo>
                  <a:cubicBezTo>
                    <a:pt x="1380" y="950"/>
                    <a:pt x="1380" y="950"/>
                    <a:pt x="1380" y="950"/>
                  </a:cubicBezTo>
                  <a:cubicBezTo>
                    <a:pt x="1378" y="951"/>
                    <a:pt x="1378" y="951"/>
                    <a:pt x="1378" y="951"/>
                  </a:cubicBezTo>
                  <a:cubicBezTo>
                    <a:pt x="1378" y="951"/>
                    <a:pt x="1378" y="951"/>
                    <a:pt x="1378" y="951"/>
                  </a:cubicBezTo>
                  <a:cubicBezTo>
                    <a:pt x="1378" y="952"/>
                    <a:pt x="1378" y="952"/>
                    <a:pt x="1378" y="952"/>
                  </a:cubicBezTo>
                  <a:cubicBezTo>
                    <a:pt x="1378" y="952"/>
                    <a:pt x="1378" y="952"/>
                    <a:pt x="1378" y="952"/>
                  </a:cubicBezTo>
                  <a:cubicBezTo>
                    <a:pt x="1378" y="952"/>
                    <a:pt x="1378" y="952"/>
                    <a:pt x="1378" y="952"/>
                  </a:cubicBezTo>
                  <a:cubicBezTo>
                    <a:pt x="1377" y="952"/>
                    <a:pt x="1377" y="952"/>
                    <a:pt x="1377" y="952"/>
                  </a:cubicBezTo>
                  <a:cubicBezTo>
                    <a:pt x="1377" y="952"/>
                    <a:pt x="1377" y="952"/>
                    <a:pt x="1377" y="952"/>
                  </a:cubicBezTo>
                  <a:cubicBezTo>
                    <a:pt x="1376" y="953"/>
                    <a:pt x="1376" y="953"/>
                    <a:pt x="1376" y="953"/>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5" y="956"/>
                    <a:pt x="1375" y="957"/>
                    <a:pt x="1375" y="957"/>
                  </a:cubicBezTo>
                  <a:cubicBezTo>
                    <a:pt x="1375" y="957"/>
                    <a:pt x="1375" y="957"/>
                    <a:pt x="1375" y="957"/>
                  </a:cubicBezTo>
                  <a:cubicBezTo>
                    <a:pt x="1375" y="958"/>
                    <a:pt x="1375" y="958"/>
                    <a:pt x="1375" y="958"/>
                  </a:cubicBezTo>
                  <a:cubicBezTo>
                    <a:pt x="1374" y="959"/>
                    <a:pt x="1374" y="959"/>
                    <a:pt x="1372" y="960"/>
                  </a:cubicBezTo>
                  <a:cubicBezTo>
                    <a:pt x="1372" y="960"/>
                    <a:pt x="1372" y="960"/>
                    <a:pt x="1372" y="960"/>
                  </a:cubicBezTo>
                  <a:cubicBezTo>
                    <a:pt x="1372" y="961"/>
                    <a:pt x="1372" y="961"/>
                    <a:pt x="1372" y="961"/>
                  </a:cubicBezTo>
                  <a:cubicBezTo>
                    <a:pt x="1372" y="961"/>
                    <a:pt x="1372" y="961"/>
                    <a:pt x="1372" y="961"/>
                  </a:cubicBezTo>
                  <a:cubicBezTo>
                    <a:pt x="1372" y="961"/>
                    <a:pt x="1372" y="961"/>
                    <a:pt x="1372" y="961"/>
                  </a:cubicBezTo>
                  <a:cubicBezTo>
                    <a:pt x="1372" y="962"/>
                    <a:pt x="1372" y="962"/>
                    <a:pt x="1372" y="963"/>
                  </a:cubicBezTo>
                  <a:cubicBezTo>
                    <a:pt x="1372" y="963"/>
                    <a:pt x="1372" y="963"/>
                    <a:pt x="1372" y="963"/>
                  </a:cubicBezTo>
                  <a:cubicBezTo>
                    <a:pt x="1372" y="963"/>
                    <a:pt x="1372" y="963"/>
                    <a:pt x="1372" y="963"/>
                  </a:cubicBezTo>
                  <a:cubicBezTo>
                    <a:pt x="1372" y="963"/>
                    <a:pt x="1372" y="964"/>
                    <a:pt x="1373" y="964"/>
                  </a:cubicBezTo>
                  <a:cubicBezTo>
                    <a:pt x="1373" y="964"/>
                    <a:pt x="1373" y="964"/>
                    <a:pt x="1373" y="964"/>
                  </a:cubicBezTo>
                  <a:cubicBezTo>
                    <a:pt x="1373" y="965"/>
                    <a:pt x="1373" y="965"/>
                    <a:pt x="1373" y="965"/>
                  </a:cubicBezTo>
                  <a:cubicBezTo>
                    <a:pt x="1373" y="965"/>
                    <a:pt x="1373" y="965"/>
                    <a:pt x="1373" y="965"/>
                  </a:cubicBezTo>
                  <a:cubicBezTo>
                    <a:pt x="1373" y="965"/>
                    <a:pt x="1373" y="965"/>
                    <a:pt x="1373" y="965"/>
                  </a:cubicBezTo>
                  <a:cubicBezTo>
                    <a:pt x="1373" y="968"/>
                    <a:pt x="1372" y="972"/>
                    <a:pt x="1373" y="974"/>
                  </a:cubicBezTo>
                  <a:cubicBezTo>
                    <a:pt x="1371" y="976"/>
                    <a:pt x="1371" y="976"/>
                    <a:pt x="1371" y="976"/>
                  </a:cubicBezTo>
                  <a:cubicBezTo>
                    <a:pt x="1370" y="978"/>
                    <a:pt x="1370" y="978"/>
                    <a:pt x="1370" y="978"/>
                  </a:cubicBezTo>
                  <a:cubicBezTo>
                    <a:pt x="1356" y="991"/>
                    <a:pt x="1356" y="991"/>
                    <a:pt x="1356" y="991"/>
                  </a:cubicBezTo>
                  <a:cubicBezTo>
                    <a:pt x="1356" y="992"/>
                    <a:pt x="1356" y="992"/>
                    <a:pt x="1356" y="992"/>
                  </a:cubicBezTo>
                  <a:cubicBezTo>
                    <a:pt x="1356" y="994"/>
                    <a:pt x="1355" y="995"/>
                    <a:pt x="1354" y="997"/>
                  </a:cubicBezTo>
                  <a:cubicBezTo>
                    <a:pt x="1351" y="1004"/>
                    <a:pt x="1351" y="1004"/>
                    <a:pt x="1351" y="1004"/>
                  </a:cubicBezTo>
                  <a:cubicBezTo>
                    <a:pt x="1351" y="1004"/>
                    <a:pt x="1351" y="1004"/>
                    <a:pt x="1351" y="1004"/>
                  </a:cubicBezTo>
                  <a:cubicBezTo>
                    <a:pt x="1351" y="1004"/>
                    <a:pt x="1351" y="1004"/>
                    <a:pt x="1351" y="1004"/>
                  </a:cubicBezTo>
                  <a:cubicBezTo>
                    <a:pt x="1353" y="1005"/>
                    <a:pt x="1354" y="1005"/>
                    <a:pt x="1355" y="1006"/>
                  </a:cubicBezTo>
                  <a:cubicBezTo>
                    <a:pt x="1355" y="1006"/>
                    <a:pt x="1355" y="1006"/>
                    <a:pt x="1355" y="1006"/>
                  </a:cubicBezTo>
                  <a:cubicBezTo>
                    <a:pt x="1356" y="1006"/>
                    <a:pt x="1356" y="1006"/>
                    <a:pt x="1356" y="1006"/>
                  </a:cubicBezTo>
                  <a:cubicBezTo>
                    <a:pt x="1356" y="1007"/>
                    <a:pt x="1356" y="1007"/>
                    <a:pt x="1356" y="1007"/>
                  </a:cubicBezTo>
                  <a:cubicBezTo>
                    <a:pt x="1356" y="1007"/>
                    <a:pt x="1356" y="1007"/>
                    <a:pt x="1356" y="1007"/>
                  </a:cubicBezTo>
                  <a:cubicBezTo>
                    <a:pt x="1356" y="1007"/>
                    <a:pt x="1356" y="1007"/>
                    <a:pt x="1356" y="1007"/>
                  </a:cubicBezTo>
                  <a:cubicBezTo>
                    <a:pt x="1356" y="1007"/>
                    <a:pt x="1356" y="1007"/>
                    <a:pt x="1356" y="1008"/>
                  </a:cubicBezTo>
                  <a:cubicBezTo>
                    <a:pt x="1357" y="1008"/>
                    <a:pt x="1357" y="1009"/>
                    <a:pt x="1356" y="1009"/>
                  </a:cubicBezTo>
                  <a:cubicBezTo>
                    <a:pt x="1356" y="1009"/>
                    <a:pt x="1356" y="1009"/>
                    <a:pt x="1356" y="1009"/>
                  </a:cubicBezTo>
                  <a:cubicBezTo>
                    <a:pt x="1356" y="1010"/>
                    <a:pt x="1356" y="1010"/>
                    <a:pt x="1355" y="1011"/>
                  </a:cubicBezTo>
                  <a:cubicBezTo>
                    <a:pt x="1355" y="1011"/>
                    <a:pt x="1355" y="1011"/>
                    <a:pt x="1355" y="1011"/>
                  </a:cubicBezTo>
                  <a:cubicBezTo>
                    <a:pt x="1355" y="1011"/>
                    <a:pt x="1355" y="1011"/>
                    <a:pt x="1355" y="1011"/>
                  </a:cubicBezTo>
                  <a:cubicBezTo>
                    <a:pt x="1355" y="1011"/>
                    <a:pt x="1355" y="1011"/>
                    <a:pt x="1355" y="1011"/>
                  </a:cubicBezTo>
                  <a:cubicBezTo>
                    <a:pt x="1355" y="1011"/>
                    <a:pt x="1355" y="1011"/>
                    <a:pt x="1355" y="1011"/>
                  </a:cubicBezTo>
                  <a:cubicBezTo>
                    <a:pt x="1352" y="1012"/>
                    <a:pt x="1346" y="1010"/>
                    <a:pt x="1343" y="1011"/>
                  </a:cubicBezTo>
                  <a:cubicBezTo>
                    <a:pt x="1341" y="1012"/>
                    <a:pt x="1341" y="1012"/>
                    <a:pt x="1341" y="1012"/>
                  </a:cubicBezTo>
                  <a:cubicBezTo>
                    <a:pt x="1341" y="1012"/>
                    <a:pt x="1341" y="1012"/>
                    <a:pt x="1341" y="1012"/>
                  </a:cubicBezTo>
                  <a:cubicBezTo>
                    <a:pt x="1341" y="1013"/>
                    <a:pt x="1341" y="1013"/>
                    <a:pt x="1341" y="1014"/>
                  </a:cubicBezTo>
                  <a:cubicBezTo>
                    <a:pt x="1340" y="1014"/>
                    <a:pt x="1340" y="1015"/>
                    <a:pt x="1340" y="1015"/>
                  </a:cubicBezTo>
                  <a:cubicBezTo>
                    <a:pt x="1340" y="1015"/>
                    <a:pt x="1340" y="1015"/>
                    <a:pt x="1340" y="1015"/>
                  </a:cubicBezTo>
                  <a:cubicBezTo>
                    <a:pt x="1340" y="1015"/>
                    <a:pt x="1340" y="1015"/>
                    <a:pt x="1340" y="1015"/>
                  </a:cubicBezTo>
                  <a:cubicBezTo>
                    <a:pt x="1340" y="1016"/>
                    <a:pt x="1340" y="1016"/>
                    <a:pt x="1340" y="1016"/>
                  </a:cubicBezTo>
                  <a:cubicBezTo>
                    <a:pt x="1340" y="1017"/>
                    <a:pt x="1341" y="1018"/>
                    <a:pt x="1341" y="1018"/>
                  </a:cubicBezTo>
                  <a:cubicBezTo>
                    <a:pt x="1341" y="1018"/>
                    <a:pt x="1342" y="1019"/>
                    <a:pt x="1342" y="1019"/>
                  </a:cubicBezTo>
                  <a:cubicBezTo>
                    <a:pt x="1342" y="1019"/>
                    <a:pt x="1342" y="1019"/>
                    <a:pt x="1342" y="1019"/>
                  </a:cubicBezTo>
                  <a:cubicBezTo>
                    <a:pt x="1342" y="1019"/>
                    <a:pt x="1342" y="1019"/>
                    <a:pt x="1342" y="1019"/>
                  </a:cubicBezTo>
                  <a:cubicBezTo>
                    <a:pt x="1343" y="1019"/>
                    <a:pt x="1343" y="1019"/>
                    <a:pt x="1343" y="1019"/>
                  </a:cubicBezTo>
                  <a:cubicBezTo>
                    <a:pt x="1343" y="1019"/>
                    <a:pt x="1343" y="1019"/>
                    <a:pt x="1344" y="1019"/>
                  </a:cubicBezTo>
                  <a:cubicBezTo>
                    <a:pt x="1346" y="1020"/>
                    <a:pt x="1350" y="1019"/>
                    <a:pt x="1352" y="1020"/>
                  </a:cubicBezTo>
                  <a:cubicBezTo>
                    <a:pt x="1352" y="1020"/>
                    <a:pt x="1352" y="1020"/>
                    <a:pt x="1352" y="1020"/>
                  </a:cubicBezTo>
                  <a:cubicBezTo>
                    <a:pt x="1353" y="1020"/>
                    <a:pt x="1353" y="1020"/>
                    <a:pt x="1353" y="1020"/>
                  </a:cubicBezTo>
                  <a:cubicBezTo>
                    <a:pt x="1353" y="1020"/>
                    <a:pt x="1353" y="1020"/>
                    <a:pt x="1353" y="1020"/>
                  </a:cubicBezTo>
                  <a:cubicBezTo>
                    <a:pt x="1353" y="1020"/>
                    <a:pt x="1354" y="1020"/>
                    <a:pt x="1354" y="1021"/>
                  </a:cubicBezTo>
                  <a:cubicBezTo>
                    <a:pt x="1354" y="1021"/>
                    <a:pt x="1354" y="1021"/>
                    <a:pt x="1354" y="1022"/>
                  </a:cubicBezTo>
                  <a:cubicBezTo>
                    <a:pt x="1354" y="1022"/>
                    <a:pt x="1354" y="1022"/>
                    <a:pt x="1354" y="1022"/>
                  </a:cubicBezTo>
                  <a:cubicBezTo>
                    <a:pt x="1354" y="1022"/>
                    <a:pt x="1354" y="1022"/>
                    <a:pt x="1354" y="1022"/>
                  </a:cubicBezTo>
                  <a:cubicBezTo>
                    <a:pt x="1354" y="1022"/>
                    <a:pt x="1354" y="1021"/>
                    <a:pt x="1354" y="1021"/>
                  </a:cubicBezTo>
                  <a:cubicBezTo>
                    <a:pt x="1354" y="1021"/>
                    <a:pt x="1354" y="1021"/>
                    <a:pt x="1354" y="1021"/>
                  </a:cubicBezTo>
                  <a:cubicBezTo>
                    <a:pt x="1355" y="1019"/>
                    <a:pt x="1355" y="1019"/>
                    <a:pt x="1355" y="1019"/>
                  </a:cubicBezTo>
                  <a:cubicBezTo>
                    <a:pt x="1355" y="1017"/>
                    <a:pt x="1358" y="1016"/>
                    <a:pt x="1360" y="1015"/>
                  </a:cubicBezTo>
                  <a:cubicBezTo>
                    <a:pt x="1361" y="1014"/>
                    <a:pt x="1361" y="1014"/>
                    <a:pt x="1362" y="1014"/>
                  </a:cubicBezTo>
                  <a:cubicBezTo>
                    <a:pt x="1362" y="1014"/>
                    <a:pt x="1363" y="1013"/>
                    <a:pt x="1363" y="1013"/>
                  </a:cubicBezTo>
                  <a:cubicBezTo>
                    <a:pt x="1363" y="1013"/>
                    <a:pt x="1363" y="1013"/>
                    <a:pt x="1363" y="1013"/>
                  </a:cubicBezTo>
                  <a:cubicBezTo>
                    <a:pt x="1364" y="1013"/>
                    <a:pt x="1364" y="1013"/>
                    <a:pt x="1364" y="1013"/>
                  </a:cubicBezTo>
                  <a:cubicBezTo>
                    <a:pt x="1365" y="1012"/>
                    <a:pt x="1365" y="1012"/>
                    <a:pt x="1365" y="1012"/>
                  </a:cubicBezTo>
                  <a:cubicBezTo>
                    <a:pt x="1366" y="1012"/>
                    <a:pt x="1366" y="1012"/>
                    <a:pt x="1366" y="1012"/>
                  </a:cubicBezTo>
                  <a:cubicBezTo>
                    <a:pt x="1368" y="1011"/>
                    <a:pt x="1370" y="1009"/>
                    <a:pt x="1372" y="1008"/>
                  </a:cubicBezTo>
                  <a:cubicBezTo>
                    <a:pt x="1373" y="1007"/>
                    <a:pt x="1374" y="1006"/>
                    <a:pt x="1375" y="1005"/>
                  </a:cubicBezTo>
                  <a:cubicBezTo>
                    <a:pt x="1375" y="1005"/>
                    <a:pt x="1375" y="1005"/>
                    <a:pt x="1375" y="1005"/>
                  </a:cubicBezTo>
                  <a:cubicBezTo>
                    <a:pt x="1376" y="1005"/>
                    <a:pt x="1376" y="1005"/>
                    <a:pt x="1376" y="1005"/>
                  </a:cubicBezTo>
                  <a:cubicBezTo>
                    <a:pt x="1377" y="1004"/>
                    <a:pt x="1378" y="1003"/>
                    <a:pt x="1379" y="1002"/>
                  </a:cubicBezTo>
                  <a:cubicBezTo>
                    <a:pt x="1380" y="1002"/>
                    <a:pt x="1380" y="1002"/>
                    <a:pt x="1380" y="1002"/>
                  </a:cubicBezTo>
                  <a:cubicBezTo>
                    <a:pt x="1382" y="1002"/>
                    <a:pt x="1382" y="1002"/>
                    <a:pt x="1382" y="1002"/>
                  </a:cubicBezTo>
                  <a:cubicBezTo>
                    <a:pt x="1385" y="1001"/>
                    <a:pt x="1388" y="1002"/>
                    <a:pt x="1391" y="1002"/>
                  </a:cubicBezTo>
                  <a:cubicBezTo>
                    <a:pt x="1394" y="1002"/>
                    <a:pt x="1397" y="1002"/>
                    <a:pt x="1399" y="1003"/>
                  </a:cubicBezTo>
                  <a:cubicBezTo>
                    <a:pt x="1400" y="1003"/>
                    <a:pt x="1400" y="1003"/>
                    <a:pt x="1400" y="1003"/>
                  </a:cubicBezTo>
                  <a:cubicBezTo>
                    <a:pt x="1400" y="1003"/>
                    <a:pt x="1400" y="1003"/>
                    <a:pt x="1400" y="1003"/>
                  </a:cubicBezTo>
                  <a:cubicBezTo>
                    <a:pt x="1400" y="1003"/>
                    <a:pt x="1400" y="1003"/>
                    <a:pt x="1400" y="1003"/>
                  </a:cubicBezTo>
                  <a:cubicBezTo>
                    <a:pt x="1400" y="1004"/>
                    <a:pt x="1400" y="1004"/>
                    <a:pt x="1400" y="1004"/>
                  </a:cubicBezTo>
                  <a:cubicBezTo>
                    <a:pt x="1401" y="1004"/>
                    <a:pt x="1403" y="1003"/>
                    <a:pt x="1404" y="1004"/>
                  </a:cubicBezTo>
                  <a:cubicBezTo>
                    <a:pt x="1405" y="1004"/>
                    <a:pt x="1405" y="1004"/>
                    <a:pt x="1405" y="1004"/>
                  </a:cubicBezTo>
                  <a:cubicBezTo>
                    <a:pt x="1405" y="1004"/>
                    <a:pt x="1405" y="1004"/>
                    <a:pt x="1405" y="1004"/>
                  </a:cubicBezTo>
                  <a:cubicBezTo>
                    <a:pt x="1405" y="1004"/>
                    <a:pt x="1405" y="1004"/>
                    <a:pt x="1405" y="1004"/>
                  </a:cubicBezTo>
                  <a:cubicBezTo>
                    <a:pt x="1407" y="1004"/>
                    <a:pt x="1408" y="1004"/>
                    <a:pt x="1410" y="1004"/>
                  </a:cubicBezTo>
                  <a:cubicBezTo>
                    <a:pt x="1409" y="1004"/>
                    <a:pt x="1409" y="1004"/>
                    <a:pt x="1409" y="1004"/>
                  </a:cubicBezTo>
                  <a:cubicBezTo>
                    <a:pt x="1407" y="1004"/>
                    <a:pt x="1406" y="1004"/>
                    <a:pt x="1405" y="1003"/>
                  </a:cubicBezTo>
                  <a:cubicBezTo>
                    <a:pt x="1405" y="1003"/>
                    <a:pt x="1405" y="1003"/>
                    <a:pt x="1405" y="1003"/>
                  </a:cubicBezTo>
                  <a:cubicBezTo>
                    <a:pt x="1405" y="1003"/>
                    <a:pt x="1405" y="1003"/>
                    <a:pt x="1405" y="1003"/>
                  </a:cubicBezTo>
                  <a:cubicBezTo>
                    <a:pt x="1404" y="1003"/>
                    <a:pt x="1404" y="1003"/>
                    <a:pt x="1404" y="1003"/>
                  </a:cubicBezTo>
                  <a:cubicBezTo>
                    <a:pt x="1404" y="1003"/>
                    <a:pt x="1404" y="1003"/>
                    <a:pt x="1404" y="1003"/>
                  </a:cubicBezTo>
                  <a:cubicBezTo>
                    <a:pt x="1404" y="1003"/>
                    <a:pt x="1404" y="1003"/>
                    <a:pt x="1404" y="1003"/>
                  </a:cubicBezTo>
                  <a:cubicBezTo>
                    <a:pt x="1403" y="1003"/>
                    <a:pt x="1403" y="1003"/>
                    <a:pt x="1403" y="1003"/>
                  </a:cubicBezTo>
                  <a:cubicBezTo>
                    <a:pt x="1403" y="1003"/>
                    <a:pt x="1403" y="1003"/>
                    <a:pt x="1402" y="1003"/>
                  </a:cubicBezTo>
                  <a:cubicBezTo>
                    <a:pt x="1402" y="1003"/>
                    <a:pt x="1402" y="1003"/>
                    <a:pt x="1402" y="1003"/>
                  </a:cubicBezTo>
                  <a:cubicBezTo>
                    <a:pt x="1402" y="1003"/>
                    <a:pt x="1402" y="1003"/>
                    <a:pt x="1402" y="1003"/>
                  </a:cubicBezTo>
                  <a:cubicBezTo>
                    <a:pt x="1402" y="1002"/>
                    <a:pt x="1402" y="1002"/>
                    <a:pt x="1402" y="1002"/>
                  </a:cubicBezTo>
                  <a:cubicBezTo>
                    <a:pt x="1403" y="1002"/>
                    <a:pt x="1403" y="1002"/>
                    <a:pt x="1403" y="1002"/>
                  </a:cubicBezTo>
                  <a:cubicBezTo>
                    <a:pt x="1404" y="1001"/>
                    <a:pt x="1404" y="1001"/>
                    <a:pt x="1404" y="1001"/>
                  </a:cubicBezTo>
                  <a:cubicBezTo>
                    <a:pt x="1405" y="1001"/>
                    <a:pt x="1405" y="1001"/>
                    <a:pt x="1405" y="1001"/>
                  </a:cubicBezTo>
                  <a:cubicBezTo>
                    <a:pt x="1406" y="1000"/>
                    <a:pt x="1407" y="1000"/>
                    <a:pt x="1408" y="999"/>
                  </a:cubicBezTo>
                  <a:cubicBezTo>
                    <a:pt x="1412" y="997"/>
                    <a:pt x="1412" y="997"/>
                    <a:pt x="1412" y="997"/>
                  </a:cubicBezTo>
                  <a:cubicBezTo>
                    <a:pt x="1418" y="996"/>
                    <a:pt x="1418" y="996"/>
                    <a:pt x="1418" y="996"/>
                  </a:cubicBezTo>
                  <a:cubicBezTo>
                    <a:pt x="1424" y="995"/>
                    <a:pt x="1430" y="995"/>
                    <a:pt x="1436" y="994"/>
                  </a:cubicBezTo>
                  <a:cubicBezTo>
                    <a:pt x="1435" y="992"/>
                    <a:pt x="1435" y="991"/>
                    <a:pt x="1434" y="989"/>
                  </a:cubicBezTo>
                  <a:cubicBezTo>
                    <a:pt x="1434" y="989"/>
                    <a:pt x="1434" y="989"/>
                    <a:pt x="1434" y="989"/>
                  </a:cubicBezTo>
                  <a:cubicBezTo>
                    <a:pt x="1434" y="987"/>
                    <a:pt x="1434" y="987"/>
                    <a:pt x="1434" y="987"/>
                  </a:cubicBezTo>
                  <a:cubicBezTo>
                    <a:pt x="1434" y="986"/>
                    <a:pt x="1434" y="986"/>
                    <a:pt x="1434" y="986"/>
                  </a:cubicBezTo>
                  <a:cubicBezTo>
                    <a:pt x="1434" y="985"/>
                    <a:pt x="1434" y="985"/>
                    <a:pt x="1434" y="984"/>
                  </a:cubicBezTo>
                  <a:cubicBezTo>
                    <a:pt x="1425" y="986"/>
                    <a:pt x="1425" y="986"/>
                    <a:pt x="1425" y="986"/>
                  </a:cubicBezTo>
                  <a:cubicBezTo>
                    <a:pt x="1424" y="986"/>
                    <a:pt x="1424" y="986"/>
                    <a:pt x="1424" y="986"/>
                  </a:cubicBezTo>
                  <a:cubicBezTo>
                    <a:pt x="1423" y="986"/>
                    <a:pt x="1423" y="986"/>
                    <a:pt x="1423" y="986"/>
                  </a:cubicBezTo>
                  <a:cubicBezTo>
                    <a:pt x="1423" y="986"/>
                    <a:pt x="1423" y="986"/>
                    <a:pt x="1423" y="986"/>
                  </a:cubicBezTo>
                  <a:cubicBezTo>
                    <a:pt x="1422" y="986"/>
                    <a:pt x="1420" y="985"/>
                    <a:pt x="1419" y="985"/>
                  </a:cubicBezTo>
                  <a:cubicBezTo>
                    <a:pt x="1419" y="985"/>
                    <a:pt x="1419" y="985"/>
                    <a:pt x="1419" y="985"/>
                  </a:cubicBezTo>
                  <a:cubicBezTo>
                    <a:pt x="1419" y="984"/>
                    <a:pt x="1419" y="984"/>
                    <a:pt x="1419" y="984"/>
                  </a:cubicBezTo>
                  <a:cubicBezTo>
                    <a:pt x="1418" y="984"/>
                    <a:pt x="1418" y="983"/>
                    <a:pt x="1418" y="983"/>
                  </a:cubicBezTo>
                  <a:cubicBezTo>
                    <a:pt x="1418" y="982"/>
                    <a:pt x="1418" y="982"/>
                    <a:pt x="1418" y="982"/>
                  </a:cubicBezTo>
                  <a:cubicBezTo>
                    <a:pt x="1418" y="982"/>
                    <a:pt x="1418" y="982"/>
                    <a:pt x="1418" y="982"/>
                  </a:cubicBezTo>
                  <a:cubicBezTo>
                    <a:pt x="1418" y="982"/>
                    <a:pt x="1418" y="982"/>
                    <a:pt x="1418" y="982"/>
                  </a:cubicBezTo>
                  <a:cubicBezTo>
                    <a:pt x="1418" y="982"/>
                    <a:pt x="1418" y="982"/>
                    <a:pt x="1418" y="982"/>
                  </a:cubicBezTo>
                  <a:cubicBezTo>
                    <a:pt x="1418" y="982"/>
                    <a:pt x="1418" y="982"/>
                    <a:pt x="1418" y="982"/>
                  </a:cubicBezTo>
                  <a:cubicBezTo>
                    <a:pt x="1419" y="981"/>
                    <a:pt x="1420" y="980"/>
                    <a:pt x="1420" y="979"/>
                  </a:cubicBezTo>
                  <a:cubicBezTo>
                    <a:pt x="1420" y="979"/>
                    <a:pt x="1420" y="979"/>
                    <a:pt x="1420" y="979"/>
                  </a:cubicBezTo>
                  <a:cubicBezTo>
                    <a:pt x="1421" y="979"/>
                    <a:pt x="1421" y="979"/>
                    <a:pt x="1421" y="979"/>
                  </a:cubicBezTo>
                  <a:cubicBezTo>
                    <a:pt x="1421" y="978"/>
                    <a:pt x="1421" y="978"/>
                    <a:pt x="1421" y="977"/>
                  </a:cubicBezTo>
                  <a:cubicBezTo>
                    <a:pt x="1420" y="976"/>
                    <a:pt x="1420" y="974"/>
                    <a:pt x="1420" y="973"/>
                  </a:cubicBezTo>
                  <a:cubicBezTo>
                    <a:pt x="1420" y="969"/>
                    <a:pt x="1423" y="966"/>
                    <a:pt x="1426" y="966"/>
                  </a:cubicBezTo>
                  <a:cubicBezTo>
                    <a:pt x="1428" y="966"/>
                    <a:pt x="1431" y="968"/>
                    <a:pt x="1432" y="970"/>
                  </a:cubicBezTo>
                  <a:cubicBezTo>
                    <a:pt x="1432" y="970"/>
                    <a:pt x="1432" y="970"/>
                    <a:pt x="1432" y="970"/>
                  </a:cubicBezTo>
                  <a:cubicBezTo>
                    <a:pt x="1432" y="970"/>
                    <a:pt x="1432" y="970"/>
                    <a:pt x="1432" y="970"/>
                  </a:cubicBezTo>
                  <a:cubicBezTo>
                    <a:pt x="1432" y="970"/>
                    <a:pt x="1432" y="970"/>
                    <a:pt x="1432" y="970"/>
                  </a:cubicBezTo>
                  <a:cubicBezTo>
                    <a:pt x="1433" y="969"/>
                    <a:pt x="1433" y="969"/>
                    <a:pt x="1433" y="968"/>
                  </a:cubicBezTo>
                  <a:cubicBezTo>
                    <a:pt x="1433" y="968"/>
                    <a:pt x="1433" y="968"/>
                    <a:pt x="1433" y="968"/>
                  </a:cubicBezTo>
                  <a:cubicBezTo>
                    <a:pt x="1434" y="968"/>
                    <a:pt x="1434" y="968"/>
                    <a:pt x="1434" y="968"/>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7" y="963"/>
                    <a:pt x="1467" y="963"/>
                    <a:pt x="1467" y="963"/>
                  </a:cubicBezTo>
                  <a:cubicBezTo>
                    <a:pt x="1468" y="963"/>
                    <a:pt x="1468" y="963"/>
                    <a:pt x="1468" y="963"/>
                  </a:cubicBezTo>
                  <a:cubicBezTo>
                    <a:pt x="1468" y="962"/>
                    <a:pt x="1468" y="962"/>
                    <a:pt x="1468" y="962"/>
                  </a:cubicBezTo>
                  <a:cubicBezTo>
                    <a:pt x="1469" y="961"/>
                    <a:pt x="1469" y="961"/>
                    <a:pt x="1469" y="961"/>
                  </a:cubicBezTo>
                  <a:cubicBezTo>
                    <a:pt x="1469" y="961"/>
                    <a:pt x="1469" y="961"/>
                    <a:pt x="1469" y="961"/>
                  </a:cubicBezTo>
                  <a:cubicBezTo>
                    <a:pt x="1469" y="961"/>
                    <a:pt x="1469" y="961"/>
                    <a:pt x="1469" y="961"/>
                  </a:cubicBezTo>
                  <a:cubicBezTo>
                    <a:pt x="1468" y="961"/>
                    <a:pt x="1468" y="961"/>
                    <a:pt x="1468" y="961"/>
                  </a:cubicBezTo>
                  <a:cubicBezTo>
                    <a:pt x="1468" y="961"/>
                    <a:pt x="1468" y="961"/>
                    <a:pt x="1468" y="961"/>
                  </a:cubicBezTo>
                  <a:cubicBezTo>
                    <a:pt x="1469" y="961"/>
                    <a:pt x="1469" y="961"/>
                    <a:pt x="1469" y="961"/>
                  </a:cubicBezTo>
                  <a:cubicBezTo>
                    <a:pt x="1469" y="960"/>
                    <a:pt x="1469" y="960"/>
                    <a:pt x="1469" y="960"/>
                  </a:cubicBezTo>
                  <a:cubicBezTo>
                    <a:pt x="1470" y="960"/>
                    <a:pt x="1470" y="960"/>
                    <a:pt x="1470" y="960"/>
                  </a:cubicBezTo>
                  <a:cubicBezTo>
                    <a:pt x="1471" y="960"/>
                    <a:pt x="1471" y="960"/>
                    <a:pt x="1471" y="960"/>
                  </a:cubicBezTo>
                  <a:cubicBezTo>
                    <a:pt x="1472" y="960"/>
                    <a:pt x="1473" y="959"/>
                    <a:pt x="1474" y="959"/>
                  </a:cubicBezTo>
                  <a:cubicBezTo>
                    <a:pt x="1474" y="959"/>
                    <a:pt x="1474" y="959"/>
                    <a:pt x="1474" y="959"/>
                  </a:cubicBezTo>
                  <a:cubicBezTo>
                    <a:pt x="1475" y="959"/>
                    <a:pt x="1475" y="959"/>
                    <a:pt x="1475" y="959"/>
                  </a:cubicBezTo>
                  <a:cubicBezTo>
                    <a:pt x="1475" y="959"/>
                    <a:pt x="1475" y="959"/>
                    <a:pt x="1475" y="959"/>
                  </a:cubicBezTo>
                  <a:cubicBezTo>
                    <a:pt x="1475" y="959"/>
                    <a:pt x="1475" y="959"/>
                    <a:pt x="1475" y="959"/>
                  </a:cubicBezTo>
                  <a:cubicBezTo>
                    <a:pt x="1475" y="959"/>
                    <a:pt x="1475" y="959"/>
                    <a:pt x="1475" y="959"/>
                  </a:cubicBezTo>
                  <a:cubicBezTo>
                    <a:pt x="1475" y="959"/>
                    <a:pt x="1475" y="959"/>
                    <a:pt x="1475" y="959"/>
                  </a:cubicBezTo>
                  <a:cubicBezTo>
                    <a:pt x="1474" y="960"/>
                    <a:pt x="1474" y="960"/>
                    <a:pt x="1474" y="960"/>
                  </a:cubicBezTo>
                  <a:cubicBezTo>
                    <a:pt x="1475" y="960"/>
                    <a:pt x="1475" y="960"/>
                    <a:pt x="1475" y="960"/>
                  </a:cubicBezTo>
                  <a:cubicBezTo>
                    <a:pt x="1475" y="960"/>
                    <a:pt x="1475" y="960"/>
                    <a:pt x="1475" y="960"/>
                  </a:cubicBezTo>
                  <a:cubicBezTo>
                    <a:pt x="1475" y="960"/>
                    <a:pt x="1475" y="960"/>
                    <a:pt x="1475" y="960"/>
                  </a:cubicBezTo>
                  <a:cubicBezTo>
                    <a:pt x="1476" y="960"/>
                    <a:pt x="1476" y="959"/>
                    <a:pt x="1477" y="959"/>
                  </a:cubicBezTo>
                  <a:cubicBezTo>
                    <a:pt x="1477" y="959"/>
                    <a:pt x="1477" y="959"/>
                    <a:pt x="1477" y="959"/>
                  </a:cubicBezTo>
                  <a:cubicBezTo>
                    <a:pt x="1477" y="959"/>
                    <a:pt x="1477" y="959"/>
                    <a:pt x="1477" y="959"/>
                  </a:cubicBezTo>
                  <a:cubicBezTo>
                    <a:pt x="1478" y="959"/>
                    <a:pt x="1478" y="959"/>
                    <a:pt x="1479" y="959"/>
                  </a:cubicBezTo>
                  <a:cubicBezTo>
                    <a:pt x="1479" y="959"/>
                    <a:pt x="1479" y="959"/>
                    <a:pt x="1479" y="959"/>
                  </a:cubicBezTo>
                  <a:cubicBezTo>
                    <a:pt x="1479" y="959"/>
                    <a:pt x="1479" y="959"/>
                    <a:pt x="1479" y="959"/>
                  </a:cubicBezTo>
                  <a:cubicBezTo>
                    <a:pt x="1479" y="959"/>
                    <a:pt x="1479" y="959"/>
                    <a:pt x="1479" y="959"/>
                  </a:cubicBezTo>
                  <a:cubicBezTo>
                    <a:pt x="1479" y="959"/>
                    <a:pt x="1479" y="959"/>
                    <a:pt x="1479" y="959"/>
                  </a:cubicBezTo>
                  <a:cubicBezTo>
                    <a:pt x="1479" y="959"/>
                    <a:pt x="1480" y="958"/>
                    <a:pt x="1480" y="958"/>
                  </a:cubicBezTo>
                  <a:cubicBezTo>
                    <a:pt x="1480" y="958"/>
                    <a:pt x="1480" y="958"/>
                    <a:pt x="1480" y="958"/>
                  </a:cubicBezTo>
                  <a:cubicBezTo>
                    <a:pt x="1480" y="958"/>
                    <a:pt x="1480" y="958"/>
                    <a:pt x="1480" y="958"/>
                  </a:cubicBezTo>
                  <a:cubicBezTo>
                    <a:pt x="1480" y="958"/>
                    <a:pt x="1480" y="958"/>
                    <a:pt x="1480" y="958"/>
                  </a:cubicBezTo>
                  <a:cubicBezTo>
                    <a:pt x="1480" y="958"/>
                    <a:pt x="1480" y="958"/>
                    <a:pt x="1480" y="958"/>
                  </a:cubicBezTo>
                  <a:cubicBezTo>
                    <a:pt x="1480" y="959"/>
                    <a:pt x="1480" y="959"/>
                    <a:pt x="1480" y="959"/>
                  </a:cubicBezTo>
                  <a:cubicBezTo>
                    <a:pt x="1480" y="959"/>
                    <a:pt x="1480" y="959"/>
                    <a:pt x="1480" y="959"/>
                  </a:cubicBezTo>
                  <a:cubicBezTo>
                    <a:pt x="1480" y="959"/>
                    <a:pt x="1480" y="959"/>
                    <a:pt x="1480" y="959"/>
                  </a:cubicBezTo>
                  <a:cubicBezTo>
                    <a:pt x="1480" y="959"/>
                    <a:pt x="1480" y="959"/>
                    <a:pt x="1480" y="959"/>
                  </a:cubicBezTo>
                  <a:cubicBezTo>
                    <a:pt x="1480" y="960"/>
                    <a:pt x="1480" y="960"/>
                    <a:pt x="1480" y="960"/>
                  </a:cubicBezTo>
                  <a:cubicBezTo>
                    <a:pt x="1480" y="960"/>
                    <a:pt x="1480" y="960"/>
                    <a:pt x="1480" y="960"/>
                  </a:cubicBezTo>
                  <a:cubicBezTo>
                    <a:pt x="1482" y="960"/>
                    <a:pt x="1482" y="960"/>
                    <a:pt x="1482" y="960"/>
                  </a:cubicBezTo>
                  <a:cubicBezTo>
                    <a:pt x="1482" y="960"/>
                    <a:pt x="1482" y="960"/>
                    <a:pt x="1482" y="960"/>
                  </a:cubicBezTo>
                  <a:cubicBezTo>
                    <a:pt x="1482" y="960"/>
                    <a:pt x="1482" y="960"/>
                    <a:pt x="1482" y="960"/>
                  </a:cubicBezTo>
                  <a:cubicBezTo>
                    <a:pt x="1481" y="960"/>
                    <a:pt x="1481" y="960"/>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2"/>
                    <a:pt x="1481" y="962"/>
                    <a:pt x="1481" y="962"/>
                  </a:cubicBezTo>
                  <a:cubicBezTo>
                    <a:pt x="1481" y="962"/>
                    <a:pt x="1481" y="962"/>
                    <a:pt x="1481" y="962"/>
                  </a:cubicBezTo>
                  <a:cubicBezTo>
                    <a:pt x="1482" y="961"/>
                    <a:pt x="1482" y="961"/>
                    <a:pt x="1482" y="961"/>
                  </a:cubicBezTo>
                  <a:cubicBezTo>
                    <a:pt x="1482" y="961"/>
                    <a:pt x="1482" y="961"/>
                    <a:pt x="1482" y="961"/>
                  </a:cubicBezTo>
                  <a:cubicBezTo>
                    <a:pt x="1485" y="960"/>
                    <a:pt x="1485" y="960"/>
                    <a:pt x="1485" y="960"/>
                  </a:cubicBezTo>
                  <a:cubicBezTo>
                    <a:pt x="1485" y="960"/>
                    <a:pt x="1485" y="960"/>
                    <a:pt x="1485" y="960"/>
                  </a:cubicBezTo>
                  <a:cubicBezTo>
                    <a:pt x="1485" y="960"/>
                    <a:pt x="1485" y="960"/>
                    <a:pt x="1485" y="960"/>
                  </a:cubicBezTo>
                  <a:cubicBezTo>
                    <a:pt x="1485" y="960"/>
                    <a:pt x="1485" y="960"/>
                    <a:pt x="1485" y="960"/>
                  </a:cubicBezTo>
                  <a:cubicBezTo>
                    <a:pt x="1504" y="952"/>
                    <a:pt x="1504" y="952"/>
                    <a:pt x="1504" y="952"/>
                  </a:cubicBezTo>
                  <a:cubicBezTo>
                    <a:pt x="1503" y="951"/>
                    <a:pt x="1503" y="951"/>
                    <a:pt x="1503" y="951"/>
                  </a:cubicBezTo>
                  <a:cubicBezTo>
                    <a:pt x="1504" y="951"/>
                    <a:pt x="1504" y="951"/>
                    <a:pt x="1504" y="951"/>
                  </a:cubicBezTo>
                  <a:cubicBezTo>
                    <a:pt x="1507" y="949"/>
                    <a:pt x="1509" y="948"/>
                    <a:pt x="1510" y="947"/>
                  </a:cubicBezTo>
                  <a:cubicBezTo>
                    <a:pt x="1511" y="945"/>
                    <a:pt x="1513" y="944"/>
                    <a:pt x="1515" y="942"/>
                  </a:cubicBezTo>
                  <a:cubicBezTo>
                    <a:pt x="1516" y="942"/>
                    <a:pt x="1516" y="942"/>
                    <a:pt x="1516" y="942"/>
                  </a:cubicBezTo>
                  <a:cubicBezTo>
                    <a:pt x="1517" y="940"/>
                    <a:pt x="1519" y="939"/>
                    <a:pt x="1520" y="938"/>
                  </a:cubicBezTo>
                  <a:cubicBezTo>
                    <a:pt x="1524" y="934"/>
                    <a:pt x="1531" y="932"/>
                    <a:pt x="1540" y="932"/>
                  </a:cubicBezTo>
                  <a:cubicBezTo>
                    <a:pt x="1550" y="932"/>
                    <a:pt x="1598" y="932"/>
                    <a:pt x="1608" y="932"/>
                  </a:cubicBezTo>
                  <a:cubicBezTo>
                    <a:pt x="1610" y="928"/>
                    <a:pt x="1611" y="925"/>
                    <a:pt x="1614" y="924"/>
                  </a:cubicBezTo>
                  <a:cubicBezTo>
                    <a:pt x="1616" y="923"/>
                    <a:pt x="1619" y="923"/>
                    <a:pt x="1622" y="924"/>
                  </a:cubicBezTo>
                  <a:cubicBezTo>
                    <a:pt x="1625" y="925"/>
                    <a:pt x="1626" y="925"/>
                    <a:pt x="1628" y="921"/>
                  </a:cubicBezTo>
                  <a:cubicBezTo>
                    <a:pt x="1631" y="917"/>
                    <a:pt x="1635" y="911"/>
                    <a:pt x="1637" y="908"/>
                  </a:cubicBezTo>
                  <a:cubicBezTo>
                    <a:pt x="1637" y="908"/>
                    <a:pt x="1637" y="908"/>
                    <a:pt x="1637" y="908"/>
                  </a:cubicBezTo>
                  <a:cubicBezTo>
                    <a:pt x="1635" y="906"/>
                    <a:pt x="1637" y="902"/>
                    <a:pt x="1644" y="890"/>
                  </a:cubicBezTo>
                  <a:cubicBezTo>
                    <a:pt x="1644" y="889"/>
                    <a:pt x="1644" y="889"/>
                    <a:pt x="1644" y="889"/>
                  </a:cubicBezTo>
                  <a:cubicBezTo>
                    <a:pt x="1648" y="883"/>
                    <a:pt x="1659" y="865"/>
                    <a:pt x="1659" y="865"/>
                  </a:cubicBezTo>
                  <a:cubicBezTo>
                    <a:pt x="1659" y="864"/>
                    <a:pt x="1660" y="862"/>
                    <a:pt x="1662" y="861"/>
                  </a:cubicBezTo>
                  <a:cubicBezTo>
                    <a:pt x="1664" y="860"/>
                    <a:pt x="1665" y="860"/>
                    <a:pt x="1667" y="861"/>
                  </a:cubicBezTo>
                  <a:cubicBezTo>
                    <a:pt x="1671" y="863"/>
                    <a:pt x="1671" y="866"/>
                    <a:pt x="1670" y="867"/>
                  </a:cubicBezTo>
                  <a:cubicBezTo>
                    <a:pt x="1672" y="869"/>
                    <a:pt x="1672" y="869"/>
                    <a:pt x="1673" y="868"/>
                  </a:cubicBezTo>
                  <a:cubicBezTo>
                    <a:pt x="1673" y="868"/>
                    <a:pt x="1674" y="868"/>
                    <a:pt x="1674" y="868"/>
                  </a:cubicBezTo>
                  <a:cubicBezTo>
                    <a:pt x="1675" y="867"/>
                    <a:pt x="1675" y="867"/>
                    <a:pt x="1675" y="867"/>
                  </a:cubicBezTo>
                  <a:cubicBezTo>
                    <a:pt x="1680" y="865"/>
                    <a:pt x="1686" y="862"/>
                    <a:pt x="1689" y="865"/>
                  </a:cubicBezTo>
                  <a:cubicBezTo>
                    <a:pt x="1691" y="866"/>
                    <a:pt x="1692" y="867"/>
                    <a:pt x="1694" y="868"/>
                  </a:cubicBezTo>
                  <a:cubicBezTo>
                    <a:pt x="1694" y="869"/>
                    <a:pt x="1694" y="869"/>
                    <a:pt x="1694" y="869"/>
                  </a:cubicBezTo>
                  <a:cubicBezTo>
                    <a:pt x="1695" y="869"/>
                    <a:pt x="1695" y="870"/>
                    <a:pt x="1696" y="870"/>
                  </a:cubicBezTo>
                  <a:cubicBezTo>
                    <a:pt x="1698" y="872"/>
                    <a:pt x="1700" y="874"/>
                    <a:pt x="1700" y="883"/>
                  </a:cubicBezTo>
                  <a:cubicBezTo>
                    <a:pt x="1700" y="892"/>
                    <a:pt x="1700" y="910"/>
                    <a:pt x="1700" y="910"/>
                  </a:cubicBezTo>
                  <a:cubicBezTo>
                    <a:pt x="1700" y="910"/>
                    <a:pt x="1700" y="910"/>
                    <a:pt x="1700" y="910"/>
                  </a:cubicBezTo>
                  <a:cubicBezTo>
                    <a:pt x="1700" y="911"/>
                    <a:pt x="1700" y="911"/>
                    <a:pt x="1700" y="911"/>
                  </a:cubicBezTo>
                  <a:cubicBezTo>
                    <a:pt x="1700" y="911"/>
                    <a:pt x="1700" y="912"/>
                    <a:pt x="1700" y="913"/>
                  </a:cubicBezTo>
                  <a:cubicBezTo>
                    <a:pt x="1701" y="914"/>
                    <a:pt x="1702" y="915"/>
                    <a:pt x="1704" y="915"/>
                  </a:cubicBezTo>
                  <a:cubicBezTo>
                    <a:pt x="1704" y="915"/>
                    <a:pt x="1704" y="915"/>
                    <a:pt x="1704" y="915"/>
                  </a:cubicBezTo>
                  <a:cubicBezTo>
                    <a:pt x="1706" y="915"/>
                    <a:pt x="1707" y="915"/>
                    <a:pt x="1708" y="916"/>
                  </a:cubicBezTo>
                  <a:cubicBezTo>
                    <a:pt x="1709" y="918"/>
                    <a:pt x="1709" y="922"/>
                    <a:pt x="1708" y="925"/>
                  </a:cubicBezTo>
                  <a:cubicBezTo>
                    <a:pt x="1708" y="925"/>
                    <a:pt x="1708" y="925"/>
                    <a:pt x="1708" y="925"/>
                  </a:cubicBezTo>
                  <a:cubicBezTo>
                    <a:pt x="1708" y="926"/>
                    <a:pt x="1708" y="927"/>
                    <a:pt x="1708" y="927"/>
                  </a:cubicBezTo>
                  <a:cubicBezTo>
                    <a:pt x="1710" y="927"/>
                    <a:pt x="1713" y="927"/>
                    <a:pt x="1715" y="929"/>
                  </a:cubicBezTo>
                  <a:cubicBezTo>
                    <a:pt x="1716" y="930"/>
                    <a:pt x="1716" y="930"/>
                    <a:pt x="1716" y="930"/>
                  </a:cubicBezTo>
                  <a:cubicBezTo>
                    <a:pt x="1715" y="931"/>
                    <a:pt x="1715" y="931"/>
                    <a:pt x="1715" y="931"/>
                  </a:cubicBezTo>
                  <a:cubicBezTo>
                    <a:pt x="1715" y="931"/>
                    <a:pt x="1716" y="932"/>
                    <a:pt x="1717" y="932"/>
                  </a:cubicBezTo>
                  <a:cubicBezTo>
                    <a:pt x="1717" y="932"/>
                    <a:pt x="1717" y="932"/>
                    <a:pt x="1717" y="932"/>
                  </a:cubicBezTo>
                  <a:cubicBezTo>
                    <a:pt x="1717" y="932"/>
                    <a:pt x="1717" y="932"/>
                    <a:pt x="1717" y="932"/>
                  </a:cubicBezTo>
                  <a:cubicBezTo>
                    <a:pt x="1717" y="933"/>
                    <a:pt x="1716" y="933"/>
                    <a:pt x="1716" y="933"/>
                  </a:cubicBezTo>
                  <a:cubicBezTo>
                    <a:pt x="1716" y="933"/>
                    <a:pt x="1717" y="933"/>
                    <a:pt x="1717" y="932"/>
                  </a:cubicBezTo>
                  <a:cubicBezTo>
                    <a:pt x="1718" y="934"/>
                    <a:pt x="1726" y="932"/>
                    <a:pt x="1727" y="932"/>
                  </a:cubicBezTo>
                  <a:cubicBezTo>
                    <a:pt x="1727" y="932"/>
                    <a:pt x="1727" y="932"/>
                    <a:pt x="1727" y="933"/>
                  </a:cubicBezTo>
                  <a:cubicBezTo>
                    <a:pt x="1729" y="931"/>
                    <a:pt x="1731" y="929"/>
                    <a:pt x="1733" y="928"/>
                  </a:cubicBezTo>
                  <a:cubicBezTo>
                    <a:pt x="1734" y="926"/>
                    <a:pt x="1733" y="926"/>
                    <a:pt x="1733" y="925"/>
                  </a:cubicBezTo>
                  <a:cubicBezTo>
                    <a:pt x="1734" y="924"/>
                    <a:pt x="1736" y="923"/>
                    <a:pt x="1737" y="922"/>
                  </a:cubicBezTo>
                  <a:cubicBezTo>
                    <a:pt x="1736" y="924"/>
                    <a:pt x="1734" y="925"/>
                    <a:pt x="1735" y="926"/>
                  </a:cubicBezTo>
                  <a:cubicBezTo>
                    <a:pt x="1735" y="926"/>
                    <a:pt x="1737" y="928"/>
                    <a:pt x="1737" y="928"/>
                  </a:cubicBezTo>
                  <a:cubicBezTo>
                    <a:pt x="1738" y="928"/>
                    <a:pt x="1738" y="929"/>
                    <a:pt x="1739" y="929"/>
                  </a:cubicBezTo>
                  <a:cubicBezTo>
                    <a:pt x="1743" y="929"/>
                    <a:pt x="1749" y="924"/>
                    <a:pt x="1751" y="922"/>
                  </a:cubicBezTo>
                  <a:cubicBezTo>
                    <a:pt x="1757" y="919"/>
                    <a:pt x="1763" y="915"/>
                    <a:pt x="1769" y="912"/>
                  </a:cubicBezTo>
                  <a:cubicBezTo>
                    <a:pt x="1771" y="911"/>
                    <a:pt x="1770" y="911"/>
                    <a:pt x="1770" y="909"/>
                  </a:cubicBezTo>
                  <a:cubicBezTo>
                    <a:pt x="1769" y="908"/>
                    <a:pt x="1767" y="904"/>
                    <a:pt x="1766" y="904"/>
                  </a:cubicBezTo>
                  <a:cubicBezTo>
                    <a:pt x="1768" y="906"/>
                    <a:pt x="1774" y="911"/>
                    <a:pt x="1771" y="914"/>
                  </a:cubicBezTo>
                  <a:cubicBezTo>
                    <a:pt x="1773" y="913"/>
                    <a:pt x="1775" y="912"/>
                    <a:pt x="1777" y="911"/>
                  </a:cubicBezTo>
                  <a:cubicBezTo>
                    <a:pt x="1775" y="914"/>
                    <a:pt x="1773" y="916"/>
                    <a:pt x="1771" y="919"/>
                  </a:cubicBezTo>
                  <a:cubicBezTo>
                    <a:pt x="1770" y="920"/>
                    <a:pt x="1766" y="924"/>
                    <a:pt x="1766" y="925"/>
                  </a:cubicBezTo>
                  <a:cubicBezTo>
                    <a:pt x="1766" y="927"/>
                    <a:pt x="1770" y="923"/>
                    <a:pt x="1771" y="923"/>
                  </a:cubicBezTo>
                  <a:cubicBezTo>
                    <a:pt x="1773" y="923"/>
                    <a:pt x="1774" y="924"/>
                    <a:pt x="1776" y="924"/>
                  </a:cubicBezTo>
                  <a:cubicBezTo>
                    <a:pt x="1777" y="924"/>
                    <a:pt x="1779" y="923"/>
                    <a:pt x="1780" y="923"/>
                  </a:cubicBezTo>
                  <a:cubicBezTo>
                    <a:pt x="1782" y="923"/>
                    <a:pt x="1783" y="923"/>
                    <a:pt x="1784" y="924"/>
                  </a:cubicBezTo>
                  <a:cubicBezTo>
                    <a:pt x="1786" y="924"/>
                    <a:pt x="1786" y="924"/>
                    <a:pt x="1789" y="923"/>
                  </a:cubicBezTo>
                  <a:cubicBezTo>
                    <a:pt x="1790" y="923"/>
                    <a:pt x="1796" y="923"/>
                    <a:pt x="1797" y="924"/>
                  </a:cubicBezTo>
                  <a:cubicBezTo>
                    <a:pt x="1797" y="925"/>
                    <a:pt x="1798" y="924"/>
                    <a:pt x="1798" y="924"/>
                  </a:cubicBezTo>
                  <a:cubicBezTo>
                    <a:pt x="1793" y="928"/>
                    <a:pt x="1786" y="931"/>
                    <a:pt x="1781" y="935"/>
                  </a:cubicBezTo>
                  <a:cubicBezTo>
                    <a:pt x="1780" y="933"/>
                    <a:pt x="1779" y="932"/>
                    <a:pt x="1777" y="931"/>
                  </a:cubicBezTo>
                  <a:cubicBezTo>
                    <a:pt x="1775" y="930"/>
                    <a:pt x="1775" y="932"/>
                    <a:pt x="1775" y="929"/>
                  </a:cubicBezTo>
                  <a:cubicBezTo>
                    <a:pt x="1775" y="927"/>
                    <a:pt x="1777" y="927"/>
                    <a:pt x="1775" y="926"/>
                  </a:cubicBezTo>
                  <a:cubicBezTo>
                    <a:pt x="1774" y="924"/>
                    <a:pt x="1771" y="926"/>
                    <a:pt x="1769" y="927"/>
                  </a:cubicBezTo>
                  <a:cubicBezTo>
                    <a:pt x="1762" y="932"/>
                    <a:pt x="1754" y="937"/>
                    <a:pt x="1747" y="942"/>
                  </a:cubicBezTo>
                  <a:cubicBezTo>
                    <a:pt x="1743" y="945"/>
                    <a:pt x="1740" y="947"/>
                    <a:pt x="1737" y="950"/>
                  </a:cubicBezTo>
                  <a:cubicBezTo>
                    <a:pt x="1735" y="953"/>
                    <a:pt x="1735" y="954"/>
                    <a:pt x="1734" y="957"/>
                  </a:cubicBezTo>
                  <a:cubicBezTo>
                    <a:pt x="1734" y="958"/>
                    <a:pt x="1732" y="959"/>
                    <a:pt x="1732" y="961"/>
                  </a:cubicBezTo>
                  <a:cubicBezTo>
                    <a:pt x="1732" y="962"/>
                    <a:pt x="1733" y="963"/>
                    <a:pt x="1733" y="964"/>
                  </a:cubicBezTo>
                  <a:cubicBezTo>
                    <a:pt x="1734" y="966"/>
                    <a:pt x="1734" y="967"/>
                    <a:pt x="1734" y="968"/>
                  </a:cubicBezTo>
                  <a:cubicBezTo>
                    <a:pt x="1735" y="970"/>
                    <a:pt x="1735" y="970"/>
                    <a:pt x="1737" y="972"/>
                  </a:cubicBezTo>
                  <a:cubicBezTo>
                    <a:pt x="1737" y="971"/>
                    <a:pt x="1737" y="969"/>
                    <a:pt x="1737" y="968"/>
                  </a:cubicBezTo>
                  <a:cubicBezTo>
                    <a:pt x="1741" y="970"/>
                    <a:pt x="1741" y="972"/>
                    <a:pt x="1742" y="975"/>
                  </a:cubicBezTo>
                  <a:cubicBezTo>
                    <a:pt x="1743" y="976"/>
                    <a:pt x="1743" y="977"/>
                    <a:pt x="1744" y="978"/>
                  </a:cubicBezTo>
                  <a:cubicBezTo>
                    <a:pt x="1746" y="978"/>
                    <a:pt x="1749" y="976"/>
                    <a:pt x="1749" y="978"/>
                  </a:cubicBezTo>
                  <a:cubicBezTo>
                    <a:pt x="1750" y="976"/>
                    <a:pt x="1751" y="974"/>
                    <a:pt x="1753" y="972"/>
                  </a:cubicBezTo>
                  <a:cubicBezTo>
                    <a:pt x="1753" y="972"/>
                    <a:pt x="1752" y="968"/>
                    <a:pt x="1754" y="973"/>
                  </a:cubicBezTo>
                  <a:cubicBezTo>
                    <a:pt x="1754" y="972"/>
                    <a:pt x="1755" y="970"/>
                    <a:pt x="1755" y="969"/>
                  </a:cubicBezTo>
                  <a:cubicBezTo>
                    <a:pt x="1756" y="971"/>
                    <a:pt x="1757" y="972"/>
                    <a:pt x="1757" y="973"/>
                  </a:cubicBezTo>
                  <a:cubicBezTo>
                    <a:pt x="1760" y="969"/>
                    <a:pt x="1761" y="968"/>
                    <a:pt x="1764" y="965"/>
                  </a:cubicBezTo>
                  <a:cubicBezTo>
                    <a:pt x="1765" y="965"/>
                    <a:pt x="1770" y="963"/>
                    <a:pt x="1767" y="962"/>
                  </a:cubicBezTo>
                  <a:cubicBezTo>
                    <a:pt x="1768" y="961"/>
                    <a:pt x="1770" y="961"/>
                    <a:pt x="1771" y="960"/>
                  </a:cubicBezTo>
                  <a:cubicBezTo>
                    <a:pt x="1770" y="960"/>
                    <a:pt x="1770" y="960"/>
                    <a:pt x="1769" y="960"/>
                  </a:cubicBezTo>
                  <a:cubicBezTo>
                    <a:pt x="1770" y="958"/>
                    <a:pt x="1776" y="956"/>
                    <a:pt x="1775" y="955"/>
                  </a:cubicBezTo>
                  <a:cubicBezTo>
                    <a:pt x="1776" y="955"/>
                    <a:pt x="1776" y="956"/>
                    <a:pt x="1777" y="956"/>
                  </a:cubicBezTo>
                  <a:cubicBezTo>
                    <a:pt x="1776" y="954"/>
                    <a:pt x="1775" y="953"/>
                    <a:pt x="1777" y="952"/>
                  </a:cubicBezTo>
                  <a:cubicBezTo>
                    <a:pt x="1774" y="952"/>
                    <a:pt x="1777" y="949"/>
                    <a:pt x="1777" y="948"/>
                  </a:cubicBezTo>
                  <a:cubicBezTo>
                    <a:pt x="1778" y="948"/>
                    <a:pt x="1781" y="949"/>
                    <a:pt x="1781" y="950"/>
                  </a:cubicBezTo>
                  <a:cubicBezTo>
                    <a:pt x="1782" y="949"/>
                    <a:pt x="1782" y="947"/>
                    <a:pt x="1782" y="946"/>
                  </a:cubicBezTo>
                  <a:cubicBezTo>
                    <a:pt x="1783" y="945"/>
                    <a:pt x="1783" y="945"/>
                    <a:pt x="1784" y="945"/>
                  </a:cubicBezTo>
                  <a:cubicBezTo>
                    <a:pt x="1786" y="944"/>
                    <a:pt x="1785" y="944"/>
                    <a:pt x="1785" y="946"/>
                  </a:cubicBezTo>
                  <a:cubicBezTo>
                    <a:pt x="1786" y="948"/>
                    <a:pt x="1784" y="951"/>
                    <a:pt x="1788" y="949"/>
                  </a:cubicBezTo>
                  <a:cubicBezTo>
                    <a:pt x="1789" y="951"/>
                    <a:pt x="1791" y="950"/>
                    <a:pt x="1792" y="951"/>
                  </a:cubicBezTo>
                  <a:cubicBezTo>
                    <a:pt x="1796" y="946"/>
                    <a:pt x="1794" y="946"/>
                    <a:pt x="1792" y="943"/>
                  </a:cubicBezTo>
                  <a:cubicBezTo>
                    <a:pt x="1795" y="945"/>
                    <a:pt x="1795" y="947"/>
                    <a:pt x="1799" y="946"/>
                  </a:cubicBezTo>
                  <a:cubicBezTo>
                    <a:pt x="1803" y="945"/>
                    <a:pt x="1808" y="944"/>
                    <a:pt x="1812" y="942"/>
                  </a:cubicBezTo>
                  <a:cubicBezTo>
                    <a:pt x="1826" y="937"/>
                    <a:pt x="1840" y="931"/>
                    <a:pt x="1854" y="926"/>
                  </a:cubicBezTo>
                  <a:cubicBezTo>
                    <a:pt x="1851" y="923"/>
                    <a:pt x="1847" y="921"/>
                    <a:pt x="1845" y="918"/>
                  </a:cubicBezTo>
                  <a:cubicBezTo>
                    <a:pt x="1844" y="917"/>
                    <a:pt x="1844" y="916"/>
                    <a:pt x="1843" y="916"/>
                  </a:cubicBezTo>
                  <a:cubicBezTo>
                    <a:pt x="1841" y="914"/>
                    <a:pt x="1835" y="916"/>
                    <a:pt x="1832" y="917"/>
                  </a:cubicBezTo>
                  <a:cubicBezTo>
                    <a:pt x="1832" y="915"/>
                    <a:pt x="1832" y="911"/>
                    <a:pt x="1832" y="909"/>
                  </a:cubicBezTo>
                  <a:cubicBezTo>
                    <a:pt x="1830" y="911"/>
                    <a:pt x="1827" y="913"/>
                    <a:pt x="1825" y="914"/>
                  </a:cubicBezTo>
                  <a:cubicBezTo>
                    <a:pt x="1823" y="915"/>
                    <a:pt x="1820" y="915"/>
                    <a:pt x="1821" y="916"/>
                  </a:cubicBezTo>
                  <a:cubicBezTo>
                    <a:pt x="1819" y="918"/>
                    <a:pt x="1816" y="918"/>
                    <a:pt x="1814" y="917"/>
                  </a:cubicBezTo>
                  <a:cubicBezTo>
                    <a:pt x="1813" y="916"/>
                    <a:pt x="1817" y="914"/>
                    <a:pt x="1813" y="913"/>
                  </a:cubicBezTo>
                  <a:cubicBezTo>
                    <a:pt x="1814" y="913"/>
                    <a:pt x="1814" y="913"/>
                    <a:pt x="1814" y="913"/>
                  </a:cubicBezTo>
                  <a:cubicBezTo>
                    <a:pt x="1810" y="913"/>
                    <a:pt x="1805" y="913"/>
                    <a:pt x="1800" y="914"/>
                  </a:cubicBezTo>
                  <a:cubicBezTo>
                    <a:pt x="1800" y="909"/>
                    <a:pt x="1786" y="907"/>
                    <a:pt x="1783" y="906"/>
                  </a:cubicBezTo>
                  <a:cubicBezTo>
                    <a:pt x="1784" y="904"/>
                    <a:pt x="1787" y="904"/>
                    <a:pt x="1789" y="903"/>
                  </a:cubicBezTo>
                  <a:cubicBezTo>
                    <a:pt x="1786" y="902"/>
                    <a:pt x="1783" y="902"/>
                    <a:pt x="1781" y="901"/>
                  </a:cubicBezTo>
                  <a:cubicBezTo>
                    <a:pt x="1779" y="901"/>
                    <a:pt x="1778" y="900"/>
                    <a:pt x="1776" y="899"/>
                  </a:cubicBezTo>
                  <a:cubicBezTo>
                    <a:pt x="1775" y="899"/>
                    <a:pt x="1772" y="899"/>
                    <a:pt x="1771" y="899"/>
                  </a:cubicBezTo>
                  <a:cubicBezTo>
                    <a:pt x="1771" y="896"/>
                    <a:pt x="1772" y="895"/>
                    <a:pt x="1768" y="897"/>
                  </a:cubicBezTo>
                  <a:cubicBezTo>
                    <a:pt x="1770" y="894"/>
                    <a:pt x="1769" y="893"/>
                    <a:pt x="1768" y="891"/>
                  </a:cubicBezTo>
                  <a:cubicBezTo>
                    <a:pt x="1767" y="890"/>
                    <a:pt x="1768" y="887"/>
                    <a:pt x="1767" y="886"/>
                  </a:cubicBezTo>
                  <a:cubicBezTo>
                    <a:pt x="1764" y="883"/>
                    <a:pt x="1762" y="882"/>
                    <a:pt x="1763" y="879"/>
                  </a:cubicBezTo>
                  <a:cubicBezTo>
                    <a:pt x="1764" y="878"/>
                    <a:pt x="1765" y="878"/>
                    <a:pt x="1765" y="877"/>
                  </a:cubicBezTo>
                  <a:cubicBezTo>
                    <a:pt x="1765" y="876"/>
                    <a:pt x="1765" y="875"/>
                    <a:pt x="1765" y="875"/>
                  </a:cubicBezTo>
                  <a:cubicBezTo>
                    <a:pt x="1760" y="874"/>
                    <a:pt x="1757" y="876"/>
                    <a:pt x="1752" y="874"/>
                  </a:cubicBezTo>
                  <a:cubicBezTo>
                    <a:pt x="1756" y="872"/>
                    <a:pt x="1761" y="869"/>
                    <a:pt x="1763" y="865"/>
                  </a:cubicBezTo>
                  <a:cubicBezTo>
                    <a:pt x="1763" y="863"/>
                    <a:pt x="1763" y="861"/>
                    <a:pt x="1764" y="860"/>
                  </a:cubicBezTo>
                  <a:cubicBezTo>
                    <a:pt x="1765" y="857"/>
                    <a:pt x="1766" y="857"/>
                    <a:pt x="1768" y="856"/>
                  </a:cubicBezTo>
                  <a:cubicBezTo>
                    <a:pt x="1762" y="855"/>
                    <a:pt x="1755" y="855"/>
                    <a:pt x="1750" y="856"/>
                  </a:cubicBezTo>
                  <a:cubicBezTo>
                    <a:pt x="1749" y="857"/>
                    <a:pt x="1746" y="857"/>
                    <a:pt x="1746" y="858"/>
                  </a:cubicBezTo>
                  <a:cubicBezTo>
                    <a:pt x="1744" y="856"/>
                    <a:pt x="1745" y="854"/>
                    <a:pt x="1743" y="852"/>
                  </a:cubicBezTo>
                  <a:cubicBezTo>
                    <a:pt x="1741" y="849"/>
                    <a:pt x="1734" y="848"/>
                    <a:pt x="1731" y="846"/>
                  </a:cubicBezTo>
                  <a:cubicBezTo>
                    <a:pt x="1733" y="845"/>
                    <a:pt x="1733" y="845"/>
                    <a:pt x="1733" y="845"/>
                  </a:cubicBezTo>
                  <a:cubicBezTo>
                    <a:pt x="1735" y="845"/>
                    <a:pt x="1735" y="845"/>
                    <a:pt x="1735" y="845"/>
                  </a:cubicBezTo>
                  <a:cubicBezTo>
                    <a:pt x="1735" y="845"/>
                    <a:pt x="1735" y="845"/>
                    <a:pt x="1735" y="845"/>
                  </a:cubicBezTo>
                  <a:cubicBezTo>
                    <a:pt x="1736" y="844"/>
                    <a:pt x="1736" y="844"/>
                    <a:pt x="1736" y="844"/>
                  </a:cubicBezTo>
                  <a:cubicBezTo>
                    <a:pt x="1737" y="844"/>
                    <a:pt x="1737" y="844"/>
                    <a:pt x="1737" y="844"/>
                  </a:cubicBezTo>
                  <a:cubicBezTo>
                    <a:pt x="1739" y="843"/>
                    <a:pt x="1739" y="843"/>
                    <a:pt x="1739" y="843"/>
                  </a:cubicBezTo>
                  <a:cubicBezTo>
                    <a:pt x="1740" y="843"/>
                    <a:pt x="1740" y="843"/>
                    <a:pt x="1740" y="843"/>
                  </a:cubicBezTo>
                  <a:cubicBezTo>
                    <a:pt x="1741" y="843"/>
                    <a:pt x="1741" y="843"/>
                    <a:pt x="1741" y="843"/>
                  </a:cubicBezTo>
                  <a:cubicBezTo>
                    <a:pt x="1741" y="843"/>
                    <a:pt x="1741" y="843"/>
                    <a:pt x="1741" y="843"/>
                  </a:cubicBezTo>
                  <a:cubicBezTo>
                    <a:pt x="1741" y="843"/>
                    <a:pt x="1741" y="843"/>
                    <a:pt x="1741" y="843"/>
                  </a:cubicBezTo>
                  <a:cubicBezTo>
                    <a:pt x="1741" y="843"/>
                    <a:pt x="1741" y="843"/>
                    <a:pt x="1741" y="843"/>
                  </a:cubicBezTo>
                  <a:cubicBezTo>
                    <a:pt x="1741" y="843"/>
                    <a:pt x="1741" y="843"/>
                    <a:pt x="1741" y="843"/>
                  </a:cubicBezTo>
                  <a:cubicBezTo>
                    <a:pt x="1741" y="844"/>
                    <a:pt x="1741" y="844"/>
                    <a:pt x="1741" y="844"/>
                  </a:cubicBezTo>
                  <a:cubicBezTo>
                    <a:pt x="1741" y="844"/>
                    <a:pt x="1741" y="844"/>
                    <a:pt x="1741" y="844"/>
                  </a:cubicBezTo>
                  <a:cubicBezTo>
                    <a:pt x="1741" y="844"/>
                    <a:pt x="1741" y="844"/>
                    <a:pt x="1741" y="844"/>
                  </a:cubicBezTo>
                  <a:cubicBezTo>
                    <a:pt x="1742" y="844"/>
                    <a:pt x="1742" y="844"/>
                    <a:pt x="1742" y="844"/>
                  </a:cubicBezTo>
                  <a:cubicBezTo>
                    <a:pt x="1742" y="844"/>
                    <a:pt x="1742" y="844"/>
                    <a:pt x="1742" y="844"/>
                  </a:cubicBezTo>
                  <a:cubicBezTo>
                    <a:pt x="1742" y="844"/>
                    <a:pt x="1742" y="844"/>
                    <a:pt x="1742" y="844"/>
                  </a:cubicBezTo>
                  <a:cubicBezTo>
                    <a:pt x="1742" y="844"/>
                    <a:pt x="1742" y="844"/>
                    <a:pt x="1742" y="844"/>
                  </a:cubicBezTo>
                  <a:cubicBezTo>
                    <a:pt x="1742" y="844"/>
                    <a:pt x="1742" y="844"/>
                    <a:pt x="1742" y="844"/>
                  </a:cubicBezTo>
                  <a:cubicBezTo>
                    <a:pt x="1743" y="844"/>
                    <a:pt x="1743" y="844"/>
                    <a:pt x="1743" y="844"/>
                  </a:cubicBezTo>
                  <a:cubicBezTo>
                    <a:pt x="1743" y="844"/>
                    <a:pt x="1743" y="844"/>
                    <a:pt x="1743" y="844"/>
                  </a:cubicBezTo>
                  <a:cubicBezTo>
                    <a:pt x="1743" y="844"/>
                    <a:pt x="1743" y="844"/>
                    <a:pt x="1743" y="844"/>
                  </a:cubicBezTo>
                  <a:cubicBezTo>
                    <a:pt x="1743" y="844"/>
                    <a:pt x="1743" y="844"/>
                    <a:pt x="1743" y="844"/>
                  </a:cubicBezTo>
                  <a:cubicBezTo>
                    <a:pt x="1743" y="844"/>
                    <a:pt x="1743" y="844"/>
                    <a:pt x="1743" y="844"/>
                  </a:cubicBezTo>
                  <a:cubicBezTo>
                    <a:pt x="1744" y="844"/>
                    <a:pt x="1744" y="844"/>
                    <a:pt x="1744" y="844"/>
                  </a:cubicBezTo>
                  <a:cubicBezTo>
                    <a:pt x="1744" y="844"/>
                    <a:pt x="1744" y="844"/>
                    <a:pt x="1744" y="844"/>
                  </a:cubicBezTo>
                  <a:cubicBezTo>
                    <a:pt x="1744" y="844"/>
                    <a:pt x="1744" y="844"/>
                    <a:pt x="1744" y="844"/>
                  </a:cubicBezTo>
                  <a:cubicBezTo>
                    <a:pt x="1744" y="845"/>
                    <a:pt x="1744" y="845"/>
                    <a:pt x="1744" y="845"/>
                  </a:cubicBezTo>
                  <a:cubicBezTo>
                    <a:pt x="1744" y="845"/>
                    <a:pt x="1744" y="845"/>
                    <a:pt x="1744" y="845"/>
                  </a:cubicBezTo>
                  <a:cubicBezTo>
                    <a:pt x="1745" y="845"/>
                    <a:pt x="1746" y="845"/>
                    <a:pt x="1747" y="845"/>
                  </a:cubicBezTo>
                  <a:cubicBezTo>
                    <a:pt x="1747" y="845"/>
                    <a:pt x="1747" y="845"/>
                    <a:pt x="1747" y="845"/>
                  </a:cubicBezTo>
                  <a:cubicBezTo>
                    <a:pt x="1747" y="846"/>
                    <a:pt x="1747" y="846"/>
                    <a:pt x="1747" y="846"/>
                  </a:cubicBezTo>
                  <a:cubicBezTo>
                    <a:pt x="1747" y="846"/>
                    <a:pt x="1747" y="846"/>
                    <a:pt x="1747" y="846"/>
                  </a:cubicBezTo>
                  <a:cubicBezTo>
                    <a:pt x="1747" y="846"/>
                    <a:pt x="1747" y="846"/>
                    <a:pt x="1747" y="846"/>
                  </a:cubicBezTo>
                  <a:cubicBezTo>
                    <a:pt x="1748" y="846"/>
                    <a:pt x="1748" y="846"/>
                    <a:pt x="1748" y="846"/>
                  </a:cubicBezTo>
                  <a:cubicBezTo>
                    <a:pt x="1748" y="846"/>
                    <a:pt x="1748" y="846"/>
                    <a:pt x="1748" y="846"/>
                  </a:cubicBezTo>
                  <a:cubicBezTo>
                    <a:pt x="1748" y="846"/>
                    <a:pt x="1748" y="846"/>
                    <a:pt x="1748" y="846"/>
                  </a:cubicBezTo>
                  <a:cubicBezTo>
                    <a:pt x="1748" y="846"/>
                    <a:pt x="1748" y="846"/>
                    <a:pt x="1748"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7"/>
                    <a:pt x="1749" y="847"/>
                    <a:pt x="1749" y="847"/>
                  </a:cubicBezTo>
                  <a:cubicBezTo>
                    <a:pt x="1749" y="847"/>
                    <a:pt x="1749" y="847"/>
                    <a:pt x="1749" y="847"/>
                  </a:cubicBezTo>
                  <a:cubicBezTo>
                    <a:pt x="1749" y="847"/>
                    <a:pt x="1749" y="847"/>
                    <a:pt x="1749" y="847"/>
                  </a:cubicBezTo>
                  <a:cubicBezTo>
                    <a:pt x="1749" y="847"/>
                    <a:pt x="1749" y="847"/>
                    <a:pt x="1749" y="847"/>
                  </a:cubicBezTo>
                  <a:cubicBezTo>
                    <a:pt x="1750" y="847"/>
                    <a:pt x="1750" y="847"/>
                    <a:pt x="1750" y="847"/>
                  </a:cubicBezTo>
                  <a:cubicBezTo>
                    <a:pt x="1750" y="848"/>
                    <a:pt x="1750" y="847"/>
                    <a:pt x="1750" y="847"/>
                  </a:cubicBezTo>
                  <a:cubicBezTo>
                    <a:pt x="1751" y="847"/>
                    <a:pt x="1751" y="847"/>
                    <a:pt x="1751" y="847"/>
                  </a:cubicBezTo>
                  <a:cubicBezTo>
                    <a:pt x="1751" y="847"/>
                    <a:pt x="1751" y="847"/>
                    <a:pt x="1751" y="847"/>
                  </a:cubicBezTo>
                  <a:cubicBezTo>
                    <a:pt x="1752" y="847"/>
                    <a:pt x="1752" y="847"/>
                    <a:pt x="1753" y="847"/>
                  </a:cubicBezTo>
                  <a:cubicBezTo>
                    <a:pt x="1753" y="847"/>
                    <a:pt x="1753" y="847"/>
                    <a:pt x="1753" y="847"/>
                  </a:cubicBezTo>
                  <a:cubicBezTo>
                    <a:pt x="1753" y="847"/>
                    <a:pt x="1753" y="847"/>
                    <a:pt x="1753" y="847"/>
                  </a:cubicBezTo>
                  <a:cubicBezTo>
                    <a:pt x="1753" y="847"/>
                    <a:pt x="1753" y="847"/>
                    <a:pt x="1753" y="847"/>
                  </a:cubicBezTo>
                  <a:cubicBezTo>
                    <a:pt x="1754" y="847"/>
                    <a:pt x="1754" y="847"/>
                    <a:pt x="1754" y="847"/>
                  </a:cubicBezTo>
                  <a:cubicBezTo>
                    <a:pt x="1754" y="847"/>
                    <a:pt x="1754" y="847"/>
                    <a:pt x="1754" y="847"/>
                  </a:cubicBezTo>
                  <a:cubicBezTo>
                    <a:pt x="1754" y="847"/>
                    <a:pt x="1754" y="847"/>
                    <a:pt x="1754" y="847"/>
                  </a:cubicBezTo>
                  <a:cubicBezTo>
                    <a:pt x="1755" y="847"/>
                    <a:pt x="1755" y="847"/>
                    <a:pt x="1755" y="847"/>
                  </a:cubicBezTo>
                  <a:cubicBezTo>
                    <a:pt x="1756" y="846"/>
                    <a:pt x="1756" y="846"/>
                    <a:pt x="1756" y="846"/>
                  </a:cubicBezTo>
                  <a:cubicBezTo>
                    <a:pt x="1760" y="843"/>
                    <a:pt x="1760" y="843"/>
                    <a:pt x="1760" y="843"/>
                  </a:cubicBezTo>
                  <a:cubicBezTo>
                    <a:pt x="1762" y="842"/>
                    <a:pt x="1762" y="842"/>
                    <a:pt x="1762" y="842"/>
                  </a:cubicBezTo>
                  <a:cubicBezTo>
                    <a:pt x="1765" y="841"/>
                    <a:pt x="1765" y="841"/>
                    <a:pt x="1765" y="841"/>
                  </a:cubicBezTo>
                  <a:cubicBezTo>
                    <a:pt x="1766" y="840"/>
                    <a:pt x="1766" y="840"/>
                    <a:pt x="1766" y="840"/>
                  </a:cubicBezTo>
                  <a:cubicBezTo>
                    <a:pt x="1766" y="840"/>
                    <a:pt x="1766" y="840"/>
                    <a:pt x="1766" y="840"/>
                  </a:cubicBezTo>
                  <a:cubicBezTo>
                    <a:pt x="1766" y="840"/>
                    <a:pt x="1766" y="840"/>
                    <a:pt x="1766" y="840"/>
                  </a:cubicBezTo>
                  <a:cubicBezTo>
                    <a:pt x="1766" y="840"/>
                    <a:pt x="1766" y="840"/>
                    <a:pt x="1766" y="840"/>
                  </a:cubicBezTo>
                  <a:cubicBezTo>
                    <a:pt x="1767" y="840"/>
                    <a:pt x="1767" y="840"/>
                    <a:pt x="1767" y="840"/>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8"/>
                    <a:pt x="1767" y="838"/>
                    <a:pt x="1767" y="838"/>
                  </a:cubicBezTo>
                  <a:cubicBezTo>
                    <a:pt x="1767" y="838"/>
                    <a:pt x="1767" y="838"/>
                    <a:pt x="1767" y="838"/>
                  </a:cubicBezTo>
                  <a:cubicBezTo>
                    <a:pt x="1768" y="838"/>
                    <a:pt x="1768" y="838"/>
                    <a:pt x="1768" y="838"/>
                  </a:cubicBezTo>
                  <a:cubicBezTo>
                    <a:pt x="1768" y="838"/>
                    <a:pt x="1768" y="838"/>
                    <a:pt x="1768" y="838"/>
                  </a:cubicBezTo>
                  <a:cubicBezTo>
                    <a:pt x="1767" y="838"/>
                    <a:pt x="1767" y="838"/>
                    <a:pt x="1767" y="838"/>
                  </a:cubicBezTo>
                  <a:cubicBezTo>
                    <a:pt x="1767" y="838"/>
                    <a:pt x="1767" y="838"/>
                    <a:pt x="1767" y="838"/>
                  </a:cubicBezTo>
                  <a:cubicBezTo>
                    <a:pt x="1767" y="838"/>
                    <a:pt x="1767" y="838"/>
                    <a:pt x="1767" y="838"/>
                  </a:cubicBezTo>
                  <a:cubicBezTo>
                    <a:pt x="1767" y="838"/>
                    <a:pt x="1767" y="838"/>
                    <a:pt x="1767" y="838"/>
                  </a:cubicBezTo>
                  <a:cubicBezTo>
                    <a:pt x="1767" y="838"/>
                    <a:pt x="1767" y="838"/>
                    <a:pt x="1767" y="838"/>
                  </a:cubicBezTo>
                  <a:cubicBezTo>
                    <a:pt x="1767" y="837"/>
                    <a:pt x="1767" y="837"/>
                    <a:pt x="1767" y="837"/>
                  </a:cubicBezTo>
                  <a:cubicBezTo>
                    <a:pt x="1768" y="837"/>
                    <a:pt x="1768" y="837"/>
                    <a:pt x="1768" y="837"/>
                  </a:cubicBezTo>
                  <a:cubicBezTo>
                    <a:pt x="1769" y="837"/>
                    <a:pt x="1769" y="837"/>
                    <a:pt x="1769" y="837"/>
                  </a:cubicBezTo>
                  <a:cubicBezTo>
                    <a:pt x="1770" y="837"/>
                    <a:pt x="1770" y="836"/>
                    <a:pt x="1771" y="836"/>
                  </a:cubicBezTo>
                  <a:cubicBezTo>
                    <a:pt x="1771" y="836"/>
                    <a:pt x="1771" y="836"/>
                    <a:pt x="1771" y="836"/>
                  </a:cubicBezTo>
                  <a:cubicBezTo>
                    <a:pt x="1771" y="836"/>
                    <a:pt x="1771" y="836"/>
                    <a:pt x="1771" y="836"/>
                  </a:cubicBezTo>
                  <a:cubicBezTo>
                    <a:pt x="1773" y="835"/>
                    <a:pt x="1775" y="835"/>
                    <a:pt x="1776" y="834"/>
                  </a:cubicBezTo>
                  <a:cubicBezTo>
                    <a:pt x="1776" y="834"/>
                    <a:pt x="1776" y="834"/>
                    <a:pt x="1776" y="834"/>
                  </a:cubicBezTo>
                  <a:cubicBezTo>
                    <a:pt x="1776" y="834"/>
                    <a:pt x="1776" y="834"/>
                    <a:pt x="1776" y="834"/>
                  </a:cubicBezTo>
                  <a:cubicBezTo>
                    <a:pt x="1776" y="834"/>
                    <a:pt x="1776" y="834"/>
                    <a:pt x="1776" y="834"/>
                  </a:cubicBezTo>
                  <a:cubicBezTo>
                    <a:pt x="1777" y="834"/>
                    <a:pt x="1777" y="834"/>
                    <a:pt x="1777" y="834"/>
                  </a:cubicBezTo>
                  <a:cubicBezTo>
                    <a:pt x="1777" y="833"/>
                    <a:pt x="1777" y="833"/>
                    <a:pt x="1777" y="833"/>
                  </a:cubicBezTo>
                  <a:cubicBezTo>
                    <a:pt x="1778" y="833"/>
                    <a:pt x="1778" y="833"/>
                    <a:pt x="1778" y="833"/>
                  </a:cubicBezTo>
                  <a:cubicBezTo>
                    <a:pt x="1778" y="833"/>
                    <a:pt x="1778" y="833"/>
                    <a:pt x="1778" y="833"/>
                  </a:cubicBezTo>
                  <a:cubicBezTo>
                    <a:pt x="1779" y="833"/>
                    <a:pt x="1779" y="833"/>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8" y="832"/>
                    <a:pt x="1778" y="832"/>
                    <a:pt x="1778" y="832"/>
                  </a:cubicBezTo>
                  <a:cubicBezTo>
                    <a:pt x="1778" y="832"/>
                    <a:pt x="1778" y="832"/>
                    <a:pt x="1778" y="832"/>
                  </a:cubicBezTo>
                  <a:cubicBezTo>
                    <a:pt x="1778" y="831"/>
                    <a:pt x="1778" y="831"/>
                    <a:pt x="1778" y="831"/>
                  </a:cubicBezTo>
                  <a:cubicBezTo>
                    <a:pt x="1778" y="831"/>
                    <a:pt x="1778" y="831"/>
                    <a:pt x="1778" y="831"/>
                  </a:cubicBezTo>
                  <a:cubicBezTo>
                    <a:pt x="1778" y="831"/>
                    <a:pt x="1778" y="831"/>
                    <a:pt x="1778" y="831"/>
                  </a:cubicBezTo>
                  <a:cubicBezTo>
                    <a:pt x="1778" y="831"/>
                    <a:pt x="1778" y="831"/>
                    <a:pt x="1778" y="831"/>
                  </a:cubicBezTo>
                  <a:cubicBezTo>
                    <a:pt x="1778" y="831"/>
                    <a:pt x="1778" y="831"/>
                    <a:pt x="1778" y="831"/>
                  </a:cubicBezTo>
                  <a:cubicBezTo>
                    <a:pt x="1777" y="831"/>
                    <a:pt x="1777" y="831"/>
                    <a:pt x="1777" y="831"/>
                  </a:cubicBezTo>
                  <a:cubicBezTo>
                    <a:pt x="1777" y="831"/>
                    <a:pt x="1777" y="831"/>
                    <a:pt x="1777" y="831"/>
                  </a:cubicBezTo>
                  <a:cubicBezTo>
                    <a:pt x="1777" y="831"/>
                    <a:pt x="1777" y="831"/>
                    <a:pt x="1777" y="831"/>
                  </a:cubicBezTo>
                  <a:cubicBezTo>
                    <a:pt x="1777" y="831"/>
                    <a:pt x="1777" y="831"/>
                    <a:pt x="1777" y="831"/>
                  </a:cubicBezTo>
                  <a:cubicBezTo>
                    <a:pt x="1777" y="829"/>
                    <a:pt x="1777" y="829"/>
                    <a:pt x="1779" y="829"/>
                  </a:cubicBezTo>
                  <a:cubicBezTo>
                    <a:pt x="1779" y="828"/>
                    <a:pt x="1779" y="828"/>
                    <a:pt x="1779" y="828"/>
                  </a:cubicBezTo>
                  <a:cubicBezTo>
                    <a:pt x="1779" y="828"/>
                    <a:pt x="1779" y="828"/>
                    <a:pt x="1779" y="828"/>
                  </a:cubicBezTo>
                  <a:cubicBezTo>
                    <a:pt x="1779" y="828"/>
                    <a:pt x="1779" y="828"/>
                    <a:pt x="1779" y="828"/>
                  </a:cubicBezTo>
                  <a:cubicBezTo>
                    <a:pt x="1779" y="828"/>
                    <a:pt x="1779" y="828"/>
                    <a:pt x="1779" y="828"/>
                  </a:cubicBezTo>
                  <a:cubicBezTo>
                    <a:pt x="1779" y="828"/>
                    <a:pt x="1779" y="828"/>
                    <a:pt x="1779" y="828"/>
                  </a:cubicBezTo>
                  <a:cubicBezTo>
                    <a:pt x="1778" y="828"/>
                    <a:pt x="1779" y="828"/>
                    <a:pt x="1778" y="827"/>
                  </a:cubicBezTo>
                  <a:cubicBezTo>
                    <a:pt x="1778" y="827"/>
                    <a:pt x="1778" y="827"/>
                    <a:pt x="1778" y="827"/>
                  </a:cubicBezTo>
                  <a:cubicBezTo>
                    <a:pt x="1778" y="827"/>
                    <a:pt x="1778" y="827"/>
                    <a:pt x="1778" y="827"/>
                  </a:cubicBezTo>
                  <a:cubicBezTo>
                    <a:pt x="1778" y="826"/>
                    <a:pt x="1778" y="826"/>
                    <a:pt x="1777" y="826"/>
                  </a:cubicBezTo>
                  <a:cubicBezTo>
                    <a:pt x="1777" y="826"/>
                    <a:pt x="1777" y="826"/>
                    <a:pt x="1777" y="826"/>
                  </a:cubicBezTo>
                  <a:cubicBezTo>
                    <a:pt x="1777" y="826"/>
                    <a:pt x="1777" y="826"/>
                    <a:pt x="1777" y="826"/>
                  </a:cubicBezTo>
                  <a:cubicBezTo>
                    <a:pt x="1777" y="826"/>
                    <a:pt x="1777" y="826"/>
                    <a:pt x="1777" y="826"/>
                  </a:cubicBezTo>
                  <a:cubicBezTo>
                    <a:pt x="1777" y="826"/>
                    <a:pt x="1777" y="826"/>
                    <a:pt x="1777" y="826"/>
                  </a:cubicBezTo>
                  <a:cubicBezTo>
                    <a:pt x="1776" y="825"/>
                    <a:pt x="1776" y="825"/>
                    <a:pt x="1776" y="825"/>
                  </a:cubicBezTo>
                  <a:cubicBezTo>
                    <a:pt x="1776" y="825"/>
                    <a:pt x="1776" y="825"/>
                    <a:pt x="1776" y="825"/>
                  </a:cubicBezTo>
                  <a:cubicBezTo>
                    <a:pt x="1775" y="825"/>
                    <a:pt x="1775" y="825"/>
                    <a:pt x="1775" y="825"/>
                  </a:cubicBezTo>
                  <a:cubicBezTo>
                    <a:pt x="1775" y="824"/>
                    <a:pt x="1775" y="824"/>
                    <a:pt x="1774" y="824"/>
                  </a:cubicBezTo>
                  <a:cubicBezTo>
                    <a:pt x="1774" y="824"/>
                    <a:pt x="1774" y="824"/>
                    <a:pt x="1774" y="824"/>
                  </a:cubicBezTo>
                  <a:cubicBezTo>
                    <a:pt x="1774" y="824"/>
                    <a:pt x="1774" y="824"/>
                    <a:pt x="1774" y="824"/>
                  </a:cubicBezTo>
                  <a:cubicBezTo>
                    <a:pt x="1774" y="824"/>
                    <a:pt x="1774" y="824"/>
                    <a:pt x="1774" y="824"/>
                  </a:cubicBezTo>
                  <a:cubicBezTo>
                    <a:pt x="1774" y="824"/>
                    <a:pt x="1774" y="824"/>
                    <a:pt x="1774" y="824"/>
                  </a:cubicBezTo>
                  <a:cubicBezTo>
                    <a:pt x="1774" y="824"/>
                    <a:pt x="1774" y="824"/>
                    <a:pt x="1774" y="824"/>
                  </a:cubicBezTo>
                  <a:cubicBezTo>
                    <a:pt x="1775" y="824"/>
                    <a:pt x="1775" y="823"/>
                    <a:pt x="1774" y="823"/>
                  </a:cubicBezTo>
                  <a:cubicBezTo>
                    <a:pt x="1774" y="823"/>
                    <a:pt x="1774" y="823"/>
                    <a:pt x="1774" y="823"/>
                  </a:cubicBezTo>
                  <a:cubicBezTo>
                    <a:pt x="1774" y="823"/>
                    <a:pt x="1774" y="823"/>
                    <a:pt x="1774" y="823"/>
                  </a:cubicBezTo>
                  <a:cubicBezTo>
                    <a:pt x="1773" y="823"/>
                    <a:pt x="1772" y="823"/>
                    <a:pt x="1771" y="823"/>
                  </a:cubicBezTo>
                  <a:cubicBezTo>
                    <a:pt x="1771" y="823"/>
                    <a:pt x="1771" y="823"/>
                    <a:pt x="1771" y="823"/>
                  </a:cubicBezTo>
                  <a:cubicBezTo>
                    <a:pt x="1771" y="823"/>
                    <a:pt x="1771" y="823"/>
                    <a:pt x="1771" y="823"/>
                  </a:cubicBezTo>
                  <a:cubicBezTo>
                    <a:pt x="1771" y="823"/>
                    <a:pt x="1771" y="823"/>
                    <a:pt x="1771" y="823"/>
                  </a:cubicBezTo>
                  <a:cubicBezTo>
                    <a:pt x="1773" y="822"/>
                    <a:pt x="1772" y="822"/>
                    <a:pt x="1771" y="822"/>
                  </a:cubicBezTo>
                  <a:cubicBezTo>
                    <a:pt x="1771" y="821"/>
                    <a:pt x="1771" y="821"/>
                    <a:pt x="1771" y="821"/>
                  </a:cubicBezTo>
                  <a:cubicBezTo>
                    <a:pt x="1771" y="821"/>
                    <a:pt x="1771" y="821"/>
                    <a:pt x="1771" y="821"/>
                  </a:cubicBezTo>
                  <a:cubicBezTo>
                    <a:pt x="1774" y="822"/>
                    <a:pt x="1777" y="823"/>
                    <a:pt x="1780" y="825"/>
                  </a:cubicBezTo>
                  <a:cubicBezTo>
                    <a:pt x="1780" y="825"/>
                    <a:pt x="1780" y="825"/>
                    <a:pt x="1780" y="825"/>
                  </a:cubicBezTo>
                  <a:cubicBezTo>
                    <a:pt x="1780" y="825"/>
                    <a:pt x="1780" y="825"/>
                    <a:pt x="1780" y="825"/>
                  </a:cubicBezTo>
                  <a:cubicBezTo>
                    <a:pt x="1780" y="824"/>
                    <a:pt x="1780" y="824"/>
                    <a:pt x="1780" y="824"/>
                  </a:cubicBezTo>
                  <a:cubicBezTo>
                    <a:pt x="1779" y="823"/>
                    <a:pt x="1779" y="823"/>
                    <a:pt x="1779" y="823"/>
                  </a:cubicBezTo>
                  <a:cubicBezTo>
                    <a:pt x="1779" y="822"/>
                    <a:pt x="1779" y="822"/>
                    <a:pt x="1779" y="822"/>
                  </a:cubicBezTo>
                  <a:cubicBezTo>
                    <a:pt x="1779" y="822"/>
                    <a:pt x="1779" y="822"/>
                    <a:pt x="1779" y="822"/>
                  </a:cubicBezTo>
                  <a:cubicBezTo>
                    <a:pt x="1779" y="822"/>
                    <a:pt x="1779" y="822"/>
                    <a:pt x="1779" y="822"/>
                  </a:cubicBezTo>
                  <a:cubicBezTo>
                    <a:pt x="1779" y="821"/>
                    <a:pt x="1779" y="821"/>
                    <a:pt x="1778" y="820"/>
                  </a:cubicBezTo>
                  <a:cubicBezTo>
                    <a:pt x="1778" y="820"/>
                    <a:pt x="1778" y="820"/>
                    <a:pt x="1778" y="820"/>
                  </a:cubicBezTo>
                  <a:cubicBezTo>
                    <a:pt x="1778" y="820"/>
                    <a:pt x="1778" y="820"/>
                    <a:pt x="1778" y="820"/>
                  </a:cubicBezTo>
                  <a:cubicBezTo>
                    <a:pt x="1777" y="820"/>
                    <a:pt x="1777" y="819"/>
                    <a:pt x="1776" y="819"/>
                  </a:cubicBezTo>
                  <a:cubicBezTo>
                    <a:pt x="1776" y="819"/>
                    <a:pt x="1776" y="819"/>
                    <a:pt x="1776" y="819"/>
                  </a:cubicBezTo>
                  <a:cubicBezTo>
                    <a:pt x="1776" y="819"/>
                    <a:pt x="1776" y="819"/>
                    <a:pt x="1776" y="819"/>
                  </a:cubicBezTo>
                  <a:cubicBezTo>
                    <a:pt x="1776" y="819"/>
                    <a:pt x="1776" y="819"/>
                    <a:pt x="1776" y="819"/>
                  </a:cubicBezTo>
                  <a:cubicBezTo>
                    <a:pt x="1776" y="818"/>
                    <a:pt x="1776" y="818"/>
                    <a:pt x="1776" y="818"/>
                  </a:cubicBezTo>
                  <a:cubicBezTo>
                    <a:pt x="1775" y="818"/>
                    <a:pt x="1775" y="818"/>
                    <a:pt x="1775" y="818"/>
                  </a:cubicBezTo>
                  <a:cubicBezTo>
                    <a:pt x="1775" y="817"/>
                    <a:pt x="1775" y="817"/>
                    <a:pt x="1775" y="817"/>
                  </a:cubicBezTo>
                  <a:cubicBezTo>
                    <a:pt x="1775" y="817"/>
                    <a:pt x="1775" y="817"/>
                    <a:pt x="1775" y="817"/>
                  </a:cubicBezTo>
                  <a:cubicBezTo>
                    <a:pt x="1774" y="817"/>
                    <a:pt x="1774" y="817"/>
                    <a:pt x="1773" y="816"/>
                  </a:cubicBezTo>
                  <a:cubicBezTo>
                    <a:pt x="1773" y="816"/>
                    <a:pt x="1773" y="816"/>
                    <a:pt x="1773" y="816"/>
                  </a:cubicBezTo>
                  <a:cubicBezTo>
                    <a:pt x="1773" y="816"/>
                    <a:pt x="1773" y="816"/>
                    <a:pt x="1773" y="816"/>
                  </a:cubicBezTo>
                  <a:cubicBezTo>
                    <a:pt x="1772" y="816"/>
                    <a:pt x="1772" y="816"/>
                    <a:pt x="1772" y="816"/>
                  </a:cubicBezTo>
                  <a:cubicBezTo>
                    <a:pt x="1772" y="816"/>
                    <a:pt x="1772" y="816"/>
                    <a:pt x="1772" y="816"/>
                  </a:cubicBezTo>
                  <a:cubicBezTo>
                    <a:pt x="1772" y="816"/>
                    <a:pt x="1772" y="816"/>
                    <a:pt x="1772" y="816"/>
                  </a:cubicBezTo>
                  <a:cubicBezTo>
                    <a:pt x="1769" y="813"/>
                    <a:pt x="1771" y="815"/>
                    <a:pt x="1767" y="814"/>
                  </a:cubicBezTo>
                  <a:cubicBezTo>
                    <a:pt x="1767" y="813"/>
                    <a:pt x="1767" y="813"/>
                    <a:pt x="1767" y="813"/>
                  </a:cubicBezTo>
                  <a:cubicBezTo>
                    <a:pt x="1767" y="813"/>
                    <a:pt x="1767" y="813"/>
                    <a:pt x="1767" y="813"/>
                  </a:cubicBezTo>
                  <a:cubicBezTo>
                    <a:pt x="1767" y="813"/>
                    <a:pt x="1767" y="813"/>
                    <a:pt x="1767" y="813"/>
                  </a:cubicBezTo>
                  <a:cubicBezTo>
                    <a:pt x="1766" y="813"/>
                    <a:pt x="1766" y="813"/>
                    <a:pt x="1765" y="812"/>
                  </a:cubicBezTo>
                  <a:cubicBezTo>
                    <a:pt x="1765" y="812"/>
                    <a:pt x="1765" y="812"/>
                    <a:pt x="1765" y="812"/>
                  </a:cubicBezTo>
                  <a:cubicBezTo>
                    <a:pt x="1765" y="812"/>
                    <a:pt x="1765" y="812"/>
                    <a:pt x="1765" y="812"/>
                  </a:cubicBezTo>
                  <a:cubicBezTo>
                    <a:pt x="1764" y="812"/>
                    <a:pt x="1763" y="812"/>
                    <a:pt x="1762" y="811"/>
                  </a:cubicBezTo>
                  <a:cubicBezTo>
                    <a:pt x="1762" y="811"/>
                    <a:pt x="1762" y="811"/>
                    <a:pt x="1762" y="811"/>
                  </a:cubicBezTo>
                  <a:cubicBezTo>
                    <a:pt x="1762" y="811"/>
                    <a:pt x="1762" y="811"/>
                    <a:pt x="1762" y="811"/>
                  </a:cubicBezTo>
                  <a:cubicBezTo>
                    <a:pt x="1762" y="811"/>
                    <a:pt x="1762" y="811"/>
                    <a:pt x="1762" y="811"/>
                  </a:cubicBezTo>
                  <a:cubicBezTo>
                    <a:pt x="1761" y="811"/>
                    <a:pt x="1761" y="811"/>
                    <a:pt x="1761" y="811"/>
                  </a:cubicBezTo>
                  <a:cubicBezTo>
                    <a:pt x="1761" y="811"/>
                    <a:pt x="1761" y="811"/>
                    <a:pt x="1761" y="811"/>
                  </a:cubicBezTo>
                  <a:cubicBezTo>
                    <a:pt x="1761" y="811"/>
                    <a:pt x="1761" y="811"/>
                    <a:pt x="1761" y="811"/>
                  </a:cubicBezTo>
                  <a:cubicBezTo>
                    <a:pt x="1761" y="811"/>
                    <a:pt x="1761" y="811"/>
                    <a:pt x="1761" y="811"/>
                  </a:cubicBezTo>
                  <a:cubicBezTo>
                    <a:pt x="1759" y="811"/>
                    <a:pt x="1758" y="810"/>
                    <a:pt x="1756" y="811"/>
                  </a:cubicBezTo>
                  <a:cubicBezTo>
                    <a:pt x="1755" y="811"/>
                    <a:pt x="1755" y="811"/>
                    <a:pt x="1755" y="811"/>
                  </a:cubicBezTo>
                  <a:cubicBezTo>
                    <a:pt x="1755" y="811"/>
                    <a:pt x="1755" y="811"/>
                    <a:pt x="1755" y="811"/>
                  </a:cubicBezTo>
                  <a:cubicBezTo>
                    <a:pt x="1753" y="810"/>
                    <a:pt x="1752" y="810"/>
                    <a:pt x="1750" y="810"/>
                  </a:cubicBezTo>
                  <a:cubicBezTo>
                    <a:pt x="1749" y="810"/>
                    <a:pt x="1749" y="810"/>
                    <a:pt x="1749" y="810"/>
                  </a:cubicBezTo>
                  <a:cubicBezTo>
                    <a:pt x="1749" y="810"/>
                    <a:pt x="1749" y="810"/>
                    <a:pt x="1749" y="810"/>
                  </a:cubicBezTo>
                  <a:cubicBezTo>
                    <a:pt x="1749" y="810"/>
                    <a:pt x="1749" y="810"/>
                    <a:pt x="1749" y="810"/>
                  </a:cubicBezTo>
                  <a:cubicBezTo>
                    <a:pt x="1746" y="810"/>
                    <a:pt x="1744" y="811"/>
                    <a:pt x="1741" y="811"/>
                  </a:cubicBezTo>
                  <a:cubicBezTo>
                    <a:pt x="1741" y="811"/>
                    <a:pt x="1741" y="811"/>
                    <a:pt x="1741" y="811"/>
                  </a:cubicBezTo>
                  <a:cubicBezTo>
                    <a:pt x="1740" y="811"/>
                    <a:pt x="1740" y="811"/>
                    <a:pt x="1740" y="811"/>
                  </a:cubicBezTo>
                  <a:cubicBezTo>
                    <a:pt x="1739" y="811"/>
                    <a:pt x="1737" y="811"/>
                    <a:pt x="1735" y="811"/>
                  </a:cubicBezTo>
                  <a:cubicBezTo>
                    <a:pt x="1735" y="811"/>
                    <a:pt x="1735" y="811"/>
                    <a:pt x="1735" y="811"/>
                  </a:cubicBezTo>
                  <a:cubicBezTo>
                    <a:pt x="1735" y="811"/>
                    <a:pt x="1735" y="811"/>
                    <a:pt x="1735" y="811"/>
                  </a:cubicBezTo>
                  <a:cubicBezTo>
                    <a:pt x="1735" y="811"/>
                    <a:pt x="1735" y="811"/>
                    <a:pt x="1735" y="811"/>
                  </a:cubicBezTo>
                  <a:cubicBezTo>
                    <a:pt x="1735" y="811"/>
                    <a:pt x="1735" y="811"/>
                    <a:pt x="1735" y="811"/>
                  </a:cubicBezTo>
                  <a:cubicBezTo>
                    <a:pt x="1734" y="811"/>
                    <a:pt x="1734" y="811"/>
                    <a:pt x="1734" y="811"/>
                  </a:cubicBezTo>
                  <a:cubicBezTo>
                    <a:pt x="1734" y="811"/>
                    <a:pt x="1734" y="811"/>
                    <a:pt x="1734" y="811"/>
                  </a:cubicBezTo>
                  <a:cubicBezTo>
                    <a:pt x="1734" y="811"/>
                    <a:pt x="1734" y="811"/>
                    <a:pt x="1734" y="811"/>
                  </a:cubicBezTo>
                  <a:cubicBezTo>
                    <a:pt x="1724" y="813"/>
                    <a:pt x="1716" y="817"/>
                    <a:pt x="1707" y="820"/>
                  </a:cubicBezTo>
                  <a:cubicBezTo>
                    <a:pt x="1707" y="820"/>
                    <a:pt x="1707" y="820"/>
                    <a:pt x="1707" y="820"/>
                  </a:cubicBezTo>
                  <a:cubicBezTo>
                    <a:pt x="1706" y="820"/>
                    <a:pt x="1706" y="820"/>
                    <a:pt x="1706" y="820"/>
                  </a:cubicBezTo>
                  <a:cubicBezTo>
                    <a:pt x="1706" y="820"/>
                    <a:pt x="1706" y="820"/>
                    <a:pt x="1706" y="820"/>
                  </a:cubicBezTo>
                  <a:cubicBezTo>
                    <a:pt x="1706" y="820"/>
                    <a:pt x="1706" y="820"/>
                    <a:pt x="1706" y="820"/>
                  </a:cubicBezTo>
                  <a:cubicBezTo>
                    <a:pt x="1705" y="821"/>
                    <a:pt x="1704" y="822"/>
                    <a:pt x="1703" y="822"/>
                  </a:cubicBezTo>
                  <a:cubicBezTo>
                    <a:pt x="1703" y="822"/>
                    <a:pt x="1703" y="822"/>
                    <a:pt x="1703" y="822"/>
                  </a:cubicBezTo>
                  <a:cubicBezTo>
                    <a:pt x="1703" y="822"/>
                    <a:pt x="1703" y="822"/>
                    <a:pt x="1703" y="822"/>
                  </a:cubicBezTo>
                  <a:cubicBezTo>
                    <a:pt x="1701" y="822"/>
                    <a:pt x="1701" y="822"/>
                    <a:pt x="1700" y="823"/>
                  </a:cubicBezTo>
                  <a:cubicBezTo>
                    <a:pt x="1699" y="823"/>
                    <a:pt x="1699" y="823"/>
                    <a:pt x="1699" y="823"/>
                  </a:cubicBezTo>
                  <a:cubicBezTo>
                    <a:pt x="1699" y="823"/>
                    <a:pt x="1699" y="823"/>
                    <a:pt x="1699" y="823"/>
                  </a:cubicBezTo>
                  <a:cubicBezTo>
                    <a:pt x="1699" y="823"/>
                    <a:pt x="1699" y="823"/>
                    <a:pt x="1699" y="823"/>
                  </a:cubicBezTo>
                  <a:cubicBezTo>
                    <a:pt x="1698" y="824"/>
                    <a:pt x="1696" y="825"/>
                    <a:pt x="1694" y="825"/>
                  </a:cubicBezTo>
                  <a:cubicBezTo>
                    <a:pt x="1694" y="825"/>
                    <a:pt x="1694" y="825"/>
                    <a:pt x="1694" y="825"/>
                  </a:cubicBezTo>
                  <a:cubicBezTo>
                    <a:pt x="1694" y="825"/>
                    <a:pt x="1694" y="825"/>
                    <a:pt x="1694" y="825"/>
                  </a:cubicBezTo>
                  <a:cubicBezTo>
                    <a:pt x="1694" y="826"/>
                    <a:pt x="1694" y="826"/>
                    <a:pt x="1694" y="826"/>
                  </a:cubicBezTo>
                  <a:cubicBezTo>
                    <a:pt x="1694" y="826"/>
                    <a:pt x="1694" y="826"/>
                    <a:pt x="1694" y="826"/>
                  </a:cubicBezTo>
                  <a:cubicBezTo>
                    <a:pt x="1694" y="826"/>
                    <a:pt x="1694" y="826"/>
                    <a:pt x="1694" y="826"/>
                  </a:cubicBezTo>
                  <a:cubicBezTo>
                    <a:pt x="1694" y="826"/>
                    <a:pt x="1694" y="826"/>
                    <a:pt x="1694" y="826"/>
                  </a:cubicBezTo>
                  <a:cubicBezTo>
                    <a:pt x="1690" y="828"/>
                    <a:pt x="1691" y="826"/>
                    <a:pt x="1689" y="827"/>
                  </a:cubicBezTo>
                  <a:cubicBezTo>
                    <a:pt x="1688" y="828"/>
                    <a:pt x="1688" y="828"/>
                    <a:pt x="1688" y="828"/>
                  </a:cubicBezTo>
                  <a:cubicBezTo>
                    <a:pt x="1687" y="828"/>
                    <a:pt x="1687" y="828"/>
                    <a:pt x="1687" y="828"/>
                  </a:cubicBezTo>
                  <a:cubicBezTo>
                    <a:pt x="1687" y="828"/>
                    <a:pt x="1687" y="828"/>
                    <a:pt x="1687" y="828"/>
                  </a:cubicBezTo>
                  <a:cubicBezTo>
                    <a:pt x="1686" y="828"/>
                    <a:pt x="1685" y="829"/>
                    <a:pt x="1684" y="829"/>
                  </a:cubicBezTo>
                  <a:cubicBezTo>
                    <a:pt x="1683" y="831"/>
                    <a:pt x="1683" y="831"/>
                    <a:pt x="1683" y="831"/>
                  </a:cubicBezTo>
                  <a:cubicBezTo>
                    <a:pt x="1682" y="831"/>
                    <a:pt x="1682" y="831"/>
                    <a:pt x="1682" y="831"/>
                  </a:cubicBezTo>
                  <a:cubicBezTo>
                    <a:pt x="1681" y="831"/>
                    <a:pt x="1681" y="831"/>
                    <a:pt x="1681" y="831"/>
                  </a:cubicBezTo>
                  <a:cubicBezTo>
                    <a:pt x="1681" y="831"/>
                    <a:pt x="1681" y="831"/>
                    <a:pt x="1681" y="831"/>
                  </a:cubicBezTo>
                  <a:cubicBezTo>
                    <a:pt x="1681" y="831"/>
                    <a:pt x="1681" y="831"/>
                    <a:pt x="1681" y="831"/>
                  </a:cubicBezTo>
                  <a:cubicBezTo>
                    <a:pt x="1681" y="831"/>
                    <a:pt x="1681" y="831"/>
                    <a:pt x="1681" y="831"/>
                  </a:cubicBezTo>
                  <a:cubicBezTo>
                    <a:pt x="1681" y="831"/>
                    <a:pt x="1681" y="831"/>
                    <a:pt x="1681" y="831"/>
                  </a:cubicBezTo>
                  <a:cubicBezTo>
                    <a:pt x="1680" y="832"/>
                    <a:pt x="1680" y="832"/>
                    <a:pt x="1680" y="832"/>
                  </a:cubicBezTo>
                  <a:cubicBezTo>
                    <a:pt x="1678" y="833"/>
                    <a:pt x="1678" y="833"/>
                    <a:pt x="1678" y="833"/>
                  </a:cubicBezTo>
                  <a:cubicBezTo>
                    <a:pt x="1675" y="835"/>
                    <a:pt x="1675" y="835"/>
                    <a:pt x="1675" y="835"/>
                  </a:cubicBezTo>
                  <a:cubicBezTo>
                    <a:pt x="1673" y="836"/>
                    <a:pt x="1673" y="836"/>
                    <a:pt x="1673" y="836"/>
                  </a:cubicBezTo>
                  <a:cubicBezTo>
                    <a:pt x="1672" y="837"/>
                    <a:pt x="1672" y="837"/>
                    <a:pt x="1672" y="837"/>
                  </a:cubicBezTo>
                  <a:cubicBezTo>
                    <a:pt x="1672" y="837"/>
                    <a:pt x="1672" y="837"/>
                    <a:pt x="1672" y="837"/>
                  </a:cubicBezTo>
                  <a:cubicBezTo>
                    <a:pt x="1672" y="837"/>
                    <a:pt x="1672" y="837"/>
                    <a:pt x="1672" y="837"/>
                  </a:cubicBezTo>
                  <a:cubicBezTo>
                    <a:pt x="1644" y="864"/>
                    <a:pt x="1644" y="864"/>
                    <a:pt x="1644" y="864"/>
                  </a:cubicBezTo>
                  <a:cubicBezTo>
                    <a:pt x="1643" y="864"/>
                    <a:pt x="1643" y="864"/>
                    <a:pt x="1643" y="864"/>
                  </a:cubicBezTo>
                  <a:cubicBezTo>
                    <a:pt x="1643" y="864"/>
                    <a:pt x="1643" y="864"/>
                    <a:pt x="1643" y="864"/>
                  </a:cubicBezTo>
                  <a:cubicBezTo>
                    <a:pt x="1643" y="864"/>
                    <a:pt x="1643" y="864"/>
                    <a:pt x="1643" y="864"/>
                  </a:cubicBezTo>
                  <a:cubicBezTo>
                    <a:pt x="1643" y="865"/>
                    <a:pt x="1643" y="865"/>
                    <a:pt x="1643" y="865"/>
                  </a:cubicBezTo>
                  <a:cubicBezTo>
                    <a:pt x="1643" y="865"/>
                    <a:pt x="1643" y="865"/>
                    <a:pt x="1643" y="865"/>
                  </a:cubicBezTo>
                  <a:cubicBezTo>
                    <a:pt x="1644" y="865"/>
                    <a:pt x="1644" y="865"/>
                    <a:pt x="1644" y="865"/>
                  </a:cubicBezTo>
                  <a:cubicBezTo>
                    <a:pt x="1644" y="865"/>
                    <a:pt x="1644" y="865"/>
                    <a:pt x="1644" y="865"/>
                  </a:cubicBezTo>
                  <a:cubicBezTo>
                    <a:pt x="1643" y="865"/>
                    <a:pt x="1643" y="865"/>
                    <a:pt x="1643" y="865"/>
                  </a:cubicBezTo>
                  <a:cubicBezTo>
                    <a:pt x="1643" y="865"/>
                    <a:pt x="1643" y="865"/>
                    <a:pt x="1643" y="865"/>
                  </a:cubicBezTo>
                  <a:cubicBezTo>
                    <a:pt x="1643" y="866"/>
                    <a:pt x="1643" y="866"/>
                    <a:pt x="1643" y="866"/>
                  </a:cubicBezTo>
                  <a:cubicBezTo>
                    <a:pt x="1643" y="866"/>
                    <a:pt x="1643" y="866"/>
                    <a:pt x="1643" y="866"/>
                  </a:cubicBezTo>
                  <a:cubicBezTo>
                    <a:pt x="1643" y="866"/>
                    <a:pt x="1643" y="866"/>
                    <a:pt x="1643" y="866"/>
                  </a:cubicBezTo>
                  <a:cubicBezTo>
                    <a:pt x="1643" y="866"/>
                    <a:pt x="1643" y="866"/>
                    <a:pt x="1643" y="866"/>
                  </a:cubicBezTo>
                  <a:cubicBezTo>
                    <a:pt x="1642" y="866"/>
                    <a:pt x="1642" y="866"/>
                    <a:pt x="1642" y="866"/>
                  </a:cubicBezTo>
                  <a:cubicBezTo>
                    <a:pt x="1642" y="867"/>
                    <a:pt x="1642" y="867"/>
                    <a:pt x="1642" y="867"/>
                  </a:cubicBezTo>
                  <a:cubicBezTo>
                    <a:pt x="1640" y="869"/>
                    <a:pt x="1640" y="869"/>
                    <a:pt x="1640" y="869"/>
                  </a:cubicBezTo>
                  <a:cubicBezTo>
                    <a:pt x="1639" y="869"/>
                    <a:pt x="1639" y="869"/>
                    <a:pt x="1639" y="869"/>
                  </a:cubicBezTo>
                  <a:cubicBezTo>
                    <a:pt x="1639" y="870"/>
                    <a:pt x="1639" y="870"/>
                    <a:pt x="1639" y="870"/>
                  </a:cubicBezTo>
                  <a:cubicBezTo>
                    <a:pt x="1638" y="870"/>
                    <a:pt x="1638" y="871"/>
                    <a:pt x="1637" y="872"/>
                  </a:cubicBezTo>
                  <a:cubicBezTo>
                    <a:pt x="1637" y="872"/>
                    <a:pt x="1637" y="872"/>
                    <a:pt x="1637" y="872"/>
                  </a:cubicBezTo>
                  <a:cubicBezTo>
                    <a:pt x="1637" y="872"/>
                    <a:pt x="1637" y="872"/>
                    <a:pt x="1637" y="872"/>
                  </a:cubicBezTo>
                  <a:cubicBezTo>
                    <a:pt x="1637" y="872"/>
                    <a:pt x="1637" y="872"/>
                    <a:pt x="1637" y="872"/>
                  </a:cubicBezTo>
                  <a:cubicBezTo>
                    <a:pt x="1636" y="873"/>
                    <a:pt x="1635" y="874"/>
                    <a:pt x="1634" y="875"/>
                  </a:cubicBezTo>
                  <a:cubicBezTo>
                    <a:pt x="1634" y="875"/>
                    <a:pt x="1634" y="875"/>
                    <a:pt x="1634" y="875"/>
                  </a:cubicBezTo>
                  <a:cubicBezTo>
                    <a:pt x="1633" y="876"/>
                    <a:pt x="1633" y="876"/>
                    <a:pt x="1633" y="876"/>
                  </a:cubicBezTo>
                  <a:cubicBezTo>
                    <a:pt x="1632" y="877"/>
                    <a:pt x="1632" y="877"/>
                    <a:pt x="1632" y="877"/>
                  </a:cubicBezTo>
                  <a:cubicBezTo>
                    <a:pt x="1630" y="877"/>
                    <a:pt x="1630" y="877"/>
                    <a:pt x="1630" y="877"/>
                  </a:cubicBezTo>
                  <a:cubicBezTo>
                    <a:pt x="1621" y="881"/>
                    <a:pt x="1621" y="881"/>
                    <a:pt x="1621" y="881"/>
                  </a:cubicBezTo>
                  <a:cubicBezTo>
                    <a:pt x="1622" y="882"/>
                    <a:pt x="1618" y="881"/>
                    <a:pt x="1618" y="882"/>
                  </a:cubicBezTo>
                  <a:cubicBezTo>
                    <a:pt x="1619" y="880"/>
                    <a:pt x="1619" y="880"/>
                    <a:pt x="1619" y="880"/>
                  </a:cubicBezTo>
                  <a:cubicBezTo>
                    <a:pt x="1620" y="878"/>
                    <a:pt x="1620" y="878"/>
                    <a:pt x="1620" y="878"/>
                  </a:cubicBezTo>
                  <a:cubicBezTo>
                    <a:pt x="1621" y="878"/>
                    <a:pt x="1622" y="877"/>
                    <a:pt x="1622" y="876"/>
                  </a:cubicBezTo>
                  <a:cubicBezTo>
                    <a:pt x="1623" y="876"/>
                    <a:pt x="1623" y="876"/>
                    <a:pt x="1623" y="876"/>
                  </a:cubicBezTo>
                  <a:cubicBezTo>
                    <a:pt x="1623" y="876"/>
                    <a:pt x="1623" y="876"/>
                    <a:pt x="1623" y="876"/>
                  </a:cubicBezTo>
                  <a:cubicBezTo>
                    <a:pt x="1625" y="874"/>
                    <a:pt x="1628" y="875"/>
                    <a:pt x="1629" y="872"/>
                  </a:cubicBezTo>
                  <a:cubicBezTo>
                    <a:pt x="1629" y="872"/>
                    <a:pt x="1629" y="872"/>
                    <a:pt x="1629" y="872"/>
                  </a:cubicBezTo>
                  <a:cubicBezTo>
                    <a:pt x="1629" y="872"/>
                    <a:pt x="1629" y="872"/>
                    <a:pt x="1629" y="872"/>
                  </a:cubicBezTo>
                  <a:cubicBezTo>
                    <a:pt x="1629" y="872"/>
                    <a:pt x="1629" y="872"/>
                    <a:pt x="1629" y="872"/>
                  </a:cubicBezTo>
                  <a:cubicBezTo>
                    <a:pt x="1629" y="871"/>
                    <a:pt x="1629" y="871"/>
                    <a:pt x="1629" y="871"/>
                  </a:cubicBezTo>
                  <a:cubicBezTo>
                    <a:pt x="1629" y="871"/>
                    <a:pt x="1629" y="871"/>
                    <a:pt x="1629" y="871"/>
                  </a:cubicBezTo>
                  <a:cubicBezTo>
                    <a:pt x="1630" y="871"/>
                    <a:pt x="1630" y="870"/>
                    <a:pt x="1630" y="870"/>
                  </a:cubicBezTo>
                  <a:cubicBezTo>
                    <a:pt x="1630" y="870"/>
                    <a:pt x="1630" y="870"/>
                    <a:pt x="1630" y="870"/>
                  </a:cubicBezTo>
                  <a:cubicBezTo>
                    <a:pt x="1630" y="870"/>
                    <a:pt x="1630" y="870"/>
                    <a:pt x="1630" y="870"/>
                  </a:cubicBezTo>
                  <a:cubicBezTo>
                    <a:pt x="1631" y="869"/>
                    <a:pt x="1631" y="869"/>
                    <a:pt x="1631" y="869"/>
                  </a:cubicBezTo>
                  <a:cubicBezTo>
                    <a:pt x="1631" y="868"/>
                    <a:pt x="1631" y="868"/>
                    <a:pt x="1631" y="868"/>
                  </a:cubicBezTo>
                  <a:cubicBezTo>
                    <a:pt x="1631" y="868"/>
                    <a:pt x="1631" y="868"/>
                    <a:pt x="1631" y="868"/>
                  </a:cubicBezTo>
                  <a:cubicBezTo>
                    <a:pt x="1631" y="868"/>
                    <a:pt x="1631" y="868"/>
                    <a:pt x="1631" y="868"/>
                  </a:cubicBezTo>
                  <a:cubicBezTo>
                    <a:pt x="1631" y="867"/>
                    <a:pt x="1633" y="866"/>
                    <a:pt x="1633" y="865"/>
                  </a:cubicBezTo>
                  <a:cubicBezTo>
                    <a:pt x="1633" y="865"/>
                    <a:pt x="1633" y="865"/>
                    <a:pt x="1633" y="865"/>
                  </a:cubicBezTo>
                  <a:cubicBezTo>
                    <a:pt x="1633" y="865"/>
                    <a:pt x="1633" y="865"/>
                    <a:pt x="1633" y="865"/>
                  </a:cubicBezTo>
                  <a:cubicBezTo>
                    <a:pt x="1633" y="864"/>
                    <a:pt x="1633" y="864"/>
                    <a:pt x="1633" y="864"/>
                  </a:cubicBezTo>
                  <a:cubicBezTo>
                    <a:pt x="1633" y="864"/>
                    <a:pt x="1633" y="864"/>
                    <a:pt x="1633" y="864"/>
                  </a:cubicBezTo>
                  <a:cubicBezTo>
                    <a:pt x="1635" y="863"/>
                    <a:pt x="1635" y="863"/>
                    <a:pt x="1635" y="863"/>
                  </a:cubicBezTo>
                  <a:cubicBezTo>
                    <a:pt x="1638" y="862"/>
                    <a:pt x="1638" y="862"/>
                    <a:pt x="1638" y="862"/>
                  </a:cubicBezTo>
                  <a:cubicBezTo>
                    <a:pt x="1639" y="861"/>
                    <a:pt x="1639" y="861"/>
                    <a:pt x="1639" y="861"/>
                  </a:cubicBezTo>
                  <a:cubicBezTo>
                    <a:pt x="1640" y="861"/>
                    <a:pt x="1640" y="861"/>
                    <a:pt x="1640" y="861"/>
                  </a:cubicBezTo>
                  <a:cubicBezTo>
                    <a:pt x="1640" y="861"/>
                    <a:pt x="1640" y="861"/>
                    <a:pt x="1640" y="861"/>
                  </a:cubicBezTo>
                  <a:cubicBezTo>
                    <a:pt x="1640" y="861"/>
                    <a:pt x="1640" y="861"/>
                    <a:pt x="1640" y="861"/>
                  </a:cubicBezTo>
                  <a:cubicBezTo>
                    <a:pt x="1640" y="860"/>
                    <a:pt x="1640" y="860"/>
                    <a:pt x="1640" y="860"/>
                  </a:cubicBezTo>
                  <a:cubicBezTo>
                    <a:pt x="1640" y="860"/>
                    <a:pt x="1640" y="860"/>
                    <a:pt x="1640" y="860"/>
                  </a:cubicBezTo>
                  <a:cubicBezTo>
                    <a:pt x="1640" y="860"/>
                    <a:pt x="1640" y="860"/>
                    <a:pt x="1640" y="860"/>
                  </a:cubicBezTo>
                  <a:cubicBezTo>
                    <a:pt x="1640" y="859"/>
                    <a:pt x="1640" y="859"/>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2" y="857"/>
                    <a:pt x="1642" y="857"/>
                    <a:pt x="1642" y="857"/>
                  </a:cubicBezTo>
                  <a:cubicBezTo>
                    <a:pt x="1642" y="857"/>
                    <a:pt x="1644" y="857"/>
                    <a:pt x="1644" y="856"/>
                  </a:cubicBezTo>
                  <a:cubicBezTo>
                    <a:pt x="1644" y="856"/>
                    <a:pt x="1644" y="856"/>
                    <a:pt x="1644" y="856"/>
                  </a:cubicBezTo>
                  <a:cubicBezTo>
                    <a:pt x="1644" y="856"/>
                    <a:pt x="1644" y="856"/>
                    <a:pt x="1644" y="856"/>
                  </a:cubicBezTo>
                  <a:cubicBezTo>
                    <a:pt x="1645" y="856"/>
                    <a:pt x="1645" y="856"/>
                    <a:pt x="1645" y="856"/>
                  </a:cubicBezTo>
                  <a:cubicBezTo>
                    <a:pt x="1645" y="856"/>
                    <a:pt x="1645" y="856"/>
                    <a:pt x="1645" y="856"/>
                  </a:cubicBezTo>
                  <a:cubicBezTo>
                    <a:pt x="1645" y="855"/>
                    <a:pt x="1645" y="855"/>
                    <a:pt x="1645" y="855"/>
                  </a:cubicBezTo>
                  <a:cubicBezTo>
                    <a:pt x="1645" y="854"/>
                    <a:pt x="1646" y="855"/>
                    <a:pt x="1646" y="854"/>
                  </a:cubicBezTo>
                  <a:cubicBezTo>
                    <a:pt x="1646" y="854"/>
                    <a:pt x="1646" y="854"/>
                    <a:pt x="1646" y="854"/>
                  </a:cubicBezTo>
                  <a:cubicBezTo>
                    <a:pt x="1646" y="853"/>
                    <a:pt x="1646" y="853"/>
                    <a:pt x="1646" y="853"/>
                  </a:cubicBezTo>
                  <a:cubicBezTo>
                    <a:pt x="1647" y="853"/>
                    <a:pt x="1647" y="852"/>
                    <a:pt x="1647" y="851"/>
                  </a:cubicBezTo>
                  <a:cubicBezTo>
                    <a:pt x="1647" y="851"/>
                    <a:pt x="1647" y="851"/>
                    <a:pt x="1647" y="851"/>
                  </a:cubicBezTo>
                  <a:cubicBezTo>
                    <a:pt x="1648" y="851"/>
                    <a:pt x="1648" y="851"/>
                    <a:pt x="1648" y="851"/>
                  </a:cubicBezTo>
                  <a:cubicBezTo>
                    <a:pt x="1648" y="851"/>
                    <a:pt x="1648" y="851"/>
                    <a:pt x="1648" y="851"/>
                  </a:cubicBezTo>
                  <a:cubicBezTo>
                    <a:pt x="1648" y="851"/>
                    <a:pt x="1648" y="851"/>
                    <a:pt x="1648" y="851"/>
                  </a:cubicBezTo>
                  <a:cubicBezTo>
                    <a:pt x="1648" y="851"/>
                    <a:pt x="1648" y="851"/>
                    <a:pt x="1648" y="851"/>
                  </a:cubicBezTo>
                  <a:cubicBezTo>
                    <a:pt x="1648" y="850"/>
                    <a:pt x="1648" y="850"/>
                    <a:pt x="1648" y="850"/>
                  </a:cubicBezTo>
                  <a:cubicBezTo>
                    <a:pt x="1648" y="850"/>
                    <a:pt x="1648" y="849"/>
                    <a:pt x="1649" y="848"/>
                  </a:cubicBezTo>
                  <a:cubicBezTo>
                    <a:pt x="1649" y="848"/>
                    <a:pt x="1649" y="848"/>
                    <a:pt x="1649" y="848"/>
                  </a:cubicBezTo>
                  <a:cubicBezTo>
                    <a:pt x="1649" y="848"/>
                    <a:pt x="1649" y="848"/>
                    <a:pt x="1649" y="848"/>
                  </a:cubicBezTo>
                  <a:cubicBezTo>
                    <a:pt x="1649" y="848"/>
                    <a:pt x="1649" y="847"/>
                    <a:pt x="1649" y="847"/>
                  </a:cubicBezTo>
                  <a:cubicBezTo>
                    <a:pt x="1650" y="846"/>
                    <a:pt x="1650" y="846"/>
                    <a:pt x="1650" y="846"/>
                  </a:cubicBezTo>
                  <a:cubicBezTo>
                    <a:pt x="1650" y="846"/>
                    <a:pt x="1650" y="846"/>
                    <a:pt x="1650" y="846"/>
                  </a:cubicBezTo>
                  <a:cubicBezTo>
                    <a:pt x="1650" y="846"/>
                    <a:pt x="1650" y="846"/>
                    <a:pt x="1650" y="846"/>
                  </a:cubicBezTo>
                  <a:cubicBezTo>
                    <a:pt x="1650" y="845"/>
                    <a:pt x="1650" y="845"/>
                    <a:pt x="1651" y="844"/>
                  </a:cubicBezTo>
                  <a:cubicBezTo>
                    <a:pt x="1651" y="844"/>
                    <a:pt x="1651" y="844"/>
                    <a:pt x="1651" y="844"/>
                  </a:cubicBezTo>
                  <a:cubicBezTo>
                    <a:pt x="1650" y="844"/>
                    <a:pt x="1650" y="844"/>
                    <a:pt x="1650" y="844"/>
                  </a:cubicBezTo>
                  <a:cubicBezTo>
                    <a:pt x="1650" y="844"/>
                    <a:pt x="1649" y="844"/>
                    <a:pt x="1648" y="843"/>
                  </a:cubicBezTo>
                  <a:cubicBezTo>
                    <a:pt x="1648" y="843"/>
                    <a:pt x="1648" y="843"/>
                    <a:pt x="1648" y="843"/>
                  </a:cubicBezTo>
                  <a:cubicBezTo>
                    <a:pt x="1648" y="843"/>
                    <a:pt x="1648" y="843"/>
                    <a:pt x="1648" y="843"/>
                  </a:cubicBezTo>
                  <a:cubicBezTo>
                    <a:pt x="1648" y="843"/>
                    <a:pt x="1648" y="843"/>
                    <a:pt x="1648" y="843"/>
                  </a:cubicBezTo>
                  <a:cubicBezTo>
                    <a:pt x="1648" y="843"/>
                    <a:pt x="1648" y="843"/>
                    <a:pt x="1648" y="843"/>
                  </a:cubicBezTo>
                  <a:cubicBezTo>
                    <a:pt x="1647" y="843"/>
                    <a:pt x="1647" y="843"/>
                    <a:pt x="1647" y="843"/>
                  </a:cubicBezTo>
                  <a:cubicBezTo>
                    <a:pt x="1647" y="843"/>
                    <a:pt x="1647" y="843"/>
                    <a:pt x="1647" y="843"/>
                  </a:cubicBezTo>
                  <a:cubicBezTo>
                    <a:pt x="1647" y="843"/>
                    <a:pt x="1647" y="843"/>
                    <a:pt x="1647" y="843"/>
                  </a:cubicBezTo>
                  <a:cubicBezTo>
                    <a:pt x="1647" y="842"/>
                    <a:pt x="1647" y="842"/>
                    <a:pt x="1647" y="842"/>
                  </a:cubicBezTo>
                  <a:cubicBezTo>
                    <a:pt x="1647" y="842"/>
                    <a:pt x="1647" y="841"/>
                    <a:pt x="1646" y="841"/>
                  </a:cubicBezTo>
                  <a:cubicBezTo>
                    <a:pt x="1646" y="841"/>
                    <a:pt x="1646" y="841"/>
                    <a:pt x="1646" y="841"/>
                  </a:cubicBezTo>
                  <a:cubicBezTo>
                    <a:pt x="1646" y="841"/>
                    <a:pt x="1646" y="841"/>
                    <a:pt x="1646" y="841"/>
                  </a:cubicBezTo>
                  <a:cubicBezTo>
                    <a:pt x="1645" y="841"/>
                    <a:pt x="1644" y="840"/>
                    <a:pt x="1644" y="840"/>
                  </a:cubicBezTo>
                  <a:cubicBezTo>
                    <a:pt x="1643" y="840"/>
                    <a:pt x="1643" y="840"/>
                    <a:pt x="1643" y="840"/>
                  </a:cubicBezTo>
                  <a:cubicBezTo>
                    <a:pt x="1643" y="840"/>
                    <a:pt x="1643" y="840"/>
                    <a:pt x="1643" y="840"/>
                  </a:cubicBezTo>
                  <a:cubicBezTo>
                    <a:pt x="1643" y="840"/>
                    <a:pt x="1643" y="840"/>
                    <a:pt x="1643" y="840"/>
                  </a:cubicBezTo>
                  <a:cubicBezTo>
                    <a:pt x="1643" y="840"/>
                    <a:pt x="1643" y="840"/>
                    <a:pt x="1643" y="840"/>
                  </a:cubicBezTo>
                  <a:cubicBezTo>
                    <a:pt x="1642" y="840"/>
                    <a:pt x="1642" y="840"/>
                    <a:pt x="1642" y="840"/>
                  </a:cubicBezTo>
                  <a:cubicBezTo>
                    <a:pt x="1642" y="841"/>
                    <a:pt x="1642" y="841"/>
                    <a:pt x="1642" y="841"/>
                  </a:cubicBezTo>
                  <a:cubicBezTo>
                    <a:pt x="1642" y="841"/>
                    <a:pt x="1642" y="841"/>
                    <a:pt x="1642" y="841"/>
                  </a:cubicBezTo>
                  <a:cubicBezTo>
                    <a:pt x="1642" y="840"/>
                    <a:pt x="1642" y="840"/>
                    <a:pt x="1642" y="840"/>
                  </a:cubicBezTo>
                  <a:cubicBezTo>
                    <a:pt x="1641" y="840"/>
                    <a:pt x="1641" y="840"/>
                    <a:pt x="1641" y="840"/>
                  </a:cubicBezTo>
                  <a:cubicBezTo>
                    <a:pt x="1641" y="840"/>
                    <a:pt x="1641" y="840"/>
                    <a:pt x="1641" y="840"/>
                  </a:cubicBezTo>
                  <a:cubicBezTo>
                    <a:pt x="1641" y="840"/>
                    <a:pt x="1641" y="840"/>
                    <a:pt x="1641" y="840"/>
                  </a:cubicBezTo>
                  <a:cubicBezTo>
                    <a:pt x="1641" y="840"/>
                    <a:pt x="1641" y="840"/>
                    <a:pt x="1641" y="840"/>
                  </a:cubicBezTo>
                  <a:cubicBezTo>
                    <a:pt x="1640" y="840"/>
                    <a:pt x="1640" y="840"/>
                    <a:pt x="1640" y="840"/>
                  </a:cubicBezTo>
                  <a:cubicBezTo>
                    <a:pt x="1640" y="840"/>
                    <a:pt x="1640" y="840"/>
                    <a:pt x="1640" y="840"/>
                  </a:cubicBezTo>
                  <a:cubicBezTo>
                    <a:pt x="1640" y="840"/>
                    <a:pt x="1640" y="840"/>
                    <a:pt x="1640" y="840"/>
                  </a:cubicBezTo>
                  <a:cubicBezTo>
                    <a:pt x="1640" y="840"/>
                    <a:pt x="1640" y="840"/>
                    <a:pt x="1640" y="840"/>
                  </a:cubicBezTo>
                  <a:cubicBezTo>
                    <a:pt x="1640" y="840"/>
                    <a:pt x="1640" y="840"/>
                    <a:pt x="1640" y="840"/>
                  </a:cubicBezTo>
                  <a:cubicBezTo>
                    <a:pt x="1640" y="839"/>
                    <a:pt x="1639" y="839"/>
                    <a:pt x="1638" y="839"/>
                  </a:cubicBezTo>
                  <a:cubicBezTo>
                    <a:pt x="1638" y="839"/>
                    <a:pt x="1638" y="839"/>
                    <a:pt x="1638" y="839"/>
                  </a:cubicBezTo>
                  <a:cubicBezTo>
                    <a:pt x="1638" y="839"/>
                    <a:pt x="1638" y="839"/>
                    <a:pt x="1638" y="839"/>
                  </a:cubicBezTo>
                  <a:cubicBezTo>
                    <a:pt x="1638" y="839"/>
                    <a:pt x="1638" y="839"/>
                    <a:pt x="1638" y="839"/>
                  </a:cubicBezTo>
                  <a:cubicBezTo>
                    <a:pt x="1637" y="839"/>
                    <a:pt x="1637" y="839"/>
                    <a:pt x="1637" y="839"/>
                  </a:cubicBezTo>
                  <a:cubicBezTo>
                    <a:pt x="1637" y="839"/>
                    <a:pt x="1637" y="839"/>
                    <a:pt x="1637" y="839"/>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6" y="838"/>
                    <a:pt x="1636" y="838"/>
                    <a:pt x="1636" y="838"/>
                  </a:cubicBezTo>
                  <a:cubicBezTo>
                    <a:pt x="1636" y="838"/>
                    <a:pt x="1636" y="838"/>
                    <a:pt x="1636" y="838"/>
                  </a:cubicBezTo>
                  <a:cubicBezTo>
                    <a:pt x="1636" y="838"/>
                    <a:pt x="1636" y="838"/>
                    <a:pt x="1636" y="838"/>
                  </a:cubicBezTo>
                  <a:cubicBezTo>
                    <a:pt x="1636" y="838"/>
                    <a:pt x="1636" y="838"/>
                    <a:pt x="1636" y="838"/>
                  </a:cubicBezTo>
                  <a:cubicBezTo>
                    <a:pt x="1636" y="838"/>
                    <a:pt x="1636" y="838"/>
                    <a:pt x="1636" y="838"/>
                  </a:cubicBezTo>
                  <a:cubicBezTo>
                    <a:pt x="1635" y="838"/>
                    <a:pt x="1635" y="838"/>
                    <a:pt x="1635" y="838"/>
                  </a:cubicBezTo>
                  <a:cubicBezTo>
                    <a:pt x="1635" y="838"/>
                    <a:pt x="1635" y="838"/>
                    <a:pt x="1635" y="838"/>
                  </a:cubicBezTo>
                  <a:cubicBezTo>
                    <a:pt x="1635" y="837"/>
                    <a:pt x="1635" y="837"/>
                    <a:pt x="1635" y="837"/>
                  </a:cubicBezTo>
                  <a:cubicBezTo>
                    <a:pt x="1635" y="837"/>
                    <a:pt x="1635" y="837"/>
                    <a:pt x="1635" y="837"/>
                  </a:cubicBezTo>
                  <a:cubicBezTo>
                    <a:pt x="1634" y="837"/>
                    <a:pt x="1633" y="837"/>
                    <a:pt x="1632" y="837"/>
                  </a:cubicBezTo>
                  <a:cubicBezTo>
                    <a:pt x="1632" y="837"/>
                    <a:pt x="1632" y="837"/>
                    <a:pt x="1632" y="837"/>
                  </a:cubicBezTo>
                  <a:cubicBezTo>
                    <a:pt x="1632" y="837"/>
                    <a:pt x="1632" y="837"/>
                    <a:pt x="1632" y="837"/>
                  </a:cubicBezTo>
                  <a:cubicBezTo>
                    <a:pt x="1632" y="837"/>
                    <a:pt x="1632" y="837"/>
                    <a:pt x="1632" y="837"/>
                  </a:cubicBezTo>
                  <a:cubicBezTo>
                    <a:pt x="1632" y="837"/>
                    <a:pt x="1632" y="837"/>
                    <a:pt x="1632" y="837"/>
                  </a:cubicBezTo>
                  <a:cubicBezTo>
                    <a:pt x="1631" y="837"/>
                    <a:pt x="1630" y="837"/>
                    <a:pt x="1629" y="837"/>
                  </a:cubicBezTo>
                  <a:cubicBezTo>
                    <a:pt x="1629" y="837"/>
                    <a:pt x="1629" y="837"/>
                    <a:pt x="1629" y="837"/>
                  </a:cubicBezTo>
                  <a:cubicBezTo>
                    <a:pt x="1629" y="837"/>
                    <a:pt x="1629" y="837"/>
                    <a:pt x="1629" y="837"/>
                  </a:cubicBezTo>
                  <a:cubicBezTo>
                    <a:pt x="1628" y="837"/>
                    <a:pt x="1627" y="837"/>
                    <a:pt x="1626" y="837"/>
                  </a:cubicBezTo>
                  <a:cubicBezTo>
                    <a:pt x="1626" y="837"/>
                    <a:pt x="1626" y="837"/>
                    <a:pt x="1626" y="837"/>
                  </a:cubicBezTo>
                  <a:cubicBezTo>
                    <a:pt x="1625" y="838"/>
                    <a:pt x="1625" y="838"/>
                    <a:pt x="1625" y="838"/>
                  </a:cubicBezTo>
                  <a:cubicBezTo>
                    <a:pt x="1624" y="838"/>
                    <a:pt x="1624" y="838"/>
                    <a:pt x="1624" y="838"/>
                  </a:cubicBezTo>
                  <a:cubicBezTo>
                    <a:pt x="1624" y="838"/>
                    <a:pt x="1624" y="838"/>
                    <a:pt x="1624" y="838"/>
                  </a:cubicBezTo>
                  <a:cubicBezTo>
                    <a:pt x="1624" y="837"/>
                    <a:pt x="1624" y="837"/>
                    <a:pt x="1624" y="837"/>
                  </a:cubicBezTo>
                  <a:cubicBezTo>
                    <a:pt x="1624" y="837"/>
                    <a:pt x="1624" y="837"/>
                    <a:pt x="1624" y="837"/>
                  </a:cubicBezTo>
                  <a:cubicBezTo>
                    <a:pt x="1624" y="837"/>
                    <a:pt x="1624" y="837"/>
                    <a:pt x="1624" y="837"/>
                  </a:cubicBezTo>
                  <a:cubicBezTo>
                    <a:pt x="1624" y="837"/>
                    <a:pt x="1624" y="837"/>
                    <a:pt x="1624" y="837"/>
                  </a:cubicBezTo>
                  <a:cubicBezTo>
                    <a:pt x="1624" y="837"/>
                    <a:pt x="1624" y="837"/>
                    <a:pt x="1624" y="837"/>
                  </a:cubicBezTo>
                  <a:cubicBezTo>
                    <a:pt x="1625" y="837"/>
                    <a:pt x="1625" y="837"/>
                    <a:pt x="1625" y="837"/>
                  </a:cubicBezTo>
                  <a:cubicBezTo>
                    <a:pt x="1626" y="836"/>
                    <a:pt x="1626" y="836"/>
                    <a:pt x="1626" y="836"/>
                  </a:cubicBezTo>
                  <a:cubicBezTo>
                    <a:pt x="1626" y="836"/>
                    <a:pt x="1626" y="836"/>
                    <a:pt x="1626" y="836"/>
                  </a:cubicBezTo>
                  <a:cubicBezTo>
                    <a:pt x="1626" y="836"/>
                    <a:pt x="1626" y="836"/>
                    <a:pt x="1626" y="836"/>
                  </a:cubicBezTo>
                  <a:cubicBezTo>
                    <a:pt x="1626" y="835"/>
                    <a:pt x="1626" y="835"/>
                    <a:pt x="1626" y="835"/>
                  </a:cubicBezTo>
                  <a:cubicBezTo>
                    <a:pt x="1625" y="835"/>
                    <a:pt x="1625" y="835"/>
                    <a:pt x="1625" y="835"/>
                  </a:cubicBezTo>
                  <a:cubicBezTo>
                    <a:pt x="1625" y="835"/>
                    <a:pt x="1625" y="835"/>
                    <a:pt x="1624" y="835"/>
                  </a:cubicBezTo>
                  <a:cubicBezTo>
                    <a:pt x="1624" y="835"/>
                    <a:pt x="1624" y="835"/>
                    <a:pt x="1624" y="835"/>
                  </a:cubicBezTo>
                  <a:cubicBezTo>
                    <a:pt x="1624" y="835"/>
                    <a:pt x="1624" y="835"/>
                    <a:pt x="1624" y="835"/>
                  </a:cubicBezTo>
                  <a:cubicBezTo>
                    <a:pt x="1623" y="835"/>
                    <a:pt x="1623" y="835"/>
                    <a:pt x="1622" y="834"/>
                  </a:cubicBezTo>
                  <a:cubicBezTo>
                    <a:pt x="1622" y="834"/>
                    <a:pt x="1622" y="834"/>
                    <a:pt x="1622" y="834"/>
                  </a:cubicBezTo>
                  <a:cubicBezTo>
                    <a:pt x="1621" y="834"/>
                    <a:pt x="1621" y="834"/>
                    <a:pt x="1621" y="834"/>
                  </a:cubicBezTo>
                  <a:cubicBezTo>
                    <a:pt x="1621" y="834"/>
                    <a:pt x="1621" y="834"/>
                    <a:pt x="1621" y="834"/>
                  </a:cubicBezTo>
                  <a:cubicBezTo>
                    <a:pt x="1620" y="834"/>
                    <a:pt x="1620" y="834"/>
                    <a:pt x="1620" y="834"/>
                  </a:cubicBezTo>
                  <a:cubicBezTo>
                    <a:pt x="1621" y="834"/>
                    <a:pt x="1621" y="834"/>
                    <a:pt x="1621" y="834"/>
                  </a:cubicBezTo>
                  <a:cubicBezTo>
                    <a:pt x="1621" y="834"/>
                    <a:pt x="1621" y="834"/>
                    <a:pt x="1621" y="834"/>
                  </a:cubicBezTo>
                  <a:cubicBezTo>
                    <a:pt x="1621" y="834"/>
                    <a:pt x="1621" y="834"/>
                    <a:pt x="1621" y="834"/>
                  </a:cubicBezTo>
                  <a:cubicBezTo>
                    <a:pt x="1622" y="834"/>
                    <a:pt x="1622" y="834"/>
                    <a:pt x="1622" y="834"/>
                  </a:cubicBezTo>
                  <a:cubicBezTo>
                    <a:pt x="1622" y="834"/>
                    <a:pt x="1622" y="834"/>
                    <a:pt x="1622" y="834"/>
                  </a:cubicBezTo>
                  <a:cubicBezTo>
                    <a:pt x="1624" y="834"/>
                    <a:pt x="1625" y="835"/>
                    <a:pt x="1627" y="835"/>
                  </a:cubicBezTo>
                  <a:cubicBezTo>
                    <a:pt x="1628" y="835"/>
                    <a:pt x="1628" y="835"/>
                    <a:pt x="1628" y="835"/>
                  </a:cubicBezTo>
                  <a:cubicBezTo>
                    <a:pt x="1628" y="835"/>
                    <a:pt x="1628" y="835"/>
                    <a:pt x="1628" y="835"/>
                  </a:cubicBezTo>
                  <a:cubicBezTo>
                    <a:pt x="1628" y="836"/>
                    <a:pt x="1628" y="836"/>
                    <a:pt x="1629" y="836"/>
                  </a:cubicBezTo>
                  <a:cubicBezTo>
                    <a:pt x="1629" y="836"/>
                    <a:pt x="1629" y="836"/>
                    <a:pt x="1629" y="836"/>
                  </a:cubicBezTo>
                  <a:cubicBezTo>
                    <a:pt x="1629" y="836"/>
                    <a:pt x="1629" y="836"/>
                    <a:pt x="1629" y="836"/>
                  </a:cubicBezTo>
                  <a:cubicBezTo>
                    <a:pt x="1630" y="836"/>
                    <a:pt x="1630" y="836"/>
                    <a:pt x="1630" y="836"/>
                  </a:cubicBezTo>
                  <a:cubicBezTo>
                    <a:pt x="1631" y="836"/>
                    <a:pt x="1632" y="836"/>
                    <a:pt x="1633" y="836"/>
                  </a:cubicBezTo>
                  <a:cubicBezTo>
                    <a:pt x="1633" y="836"/>
                    <a:pt x="1633" y="836"/>
                    <a:pt x="1633" y="836"/>
                  </a:cubicBezTo>
                  <a:cubicBezTo>
                    <a:pt x="1633" y="836"/>
                    <a:pt x="1633" y="836"/>
                    <a:pt x="1633" y="836"/>
                  </a:cubicBezTo>
                  <a:cubicBezTo>
                    <a:pt x="1634" y="836"/>
                    <a:pt x="1634" y="836"/>
                    <a:pt x="1634" y="836"/>
                  </a:cubicBezTo>
                  <a:cubicBezTo>
                    <a:pt x="1634" y="837"/>
                    <a:pt x="1634" y="837"/>
                    <a:pt x="1634" y="837"/>
                  </a:cubicBezTo>
                  <a:cubicBezTo>
                    <a:pt x="1634" y="837"/>
                    <a:pt x="1634" y="837"/>
                    <a:pt x="1634" y="837"/>
                  </a:cubicBezTo>
                  <a:cubicBezTo>
                    <a:pt x="1635" y="837"/>
                    <a:pt x="1636" y="836"/>
                    <a:pt x="1636" y="837"/>
                  </a:cubicBezTo>
                  <a:cubicBezTo>
                    <a:pt x="1636" y="837"/>
                    <a:pt x="1636" y="837"/>
                    <a:pt x="1636" y="837"/>
                  </a:cubicBezTo>
                  <a:cubicBezTo>
                    <a:pt x="1637" y="837"/>
                    <a:pt x="1637" y="837"/>
                    <a:pt x="1637" y="837"/>
                  </a:cubicBezTo>
                  <a:cubicBezTo>
                    <a:pt x="1637" y="837"/>
                    <a:pt x="1637" y="837"/>
                    <a:pt x="1638" y="837"/>
                  </a:cubicBezTo>
                  <a:cubicBezTo>
                    <a:pt x="1638" y="837"/>
                    <a:pt x="1638" y="837"/>
                    <a:pt x="1638" y="837"/>
                  </a:cubicBezTo>
                  <a:cubicBezTo>
                    <a:pt x="1638" y="838"/>
                    <a:pt x="1638" y="838"/>
                    <a:pt x="1638" y="838"/>
                  </a:cubicBezTo>
                  <a:cubicBezTo>
                    <a:pt x="1638" y="838"/>
                    <a:pt x="1638" y="838"/>
                    <a:pt x="1638" y="838"/>
                  </a:cubicBezTo>
                  <a:cubicBezTo>
                    <a:pt x="1640" y="838"/>
                    <a:pt x="1639" y="838"/>
                    <a:pt x="1641" y="839"/>
                  </a:cubicBezTo>
                  <a:cubicBezTo>
                    <a:pt x="1641" y="839"/>
                    <a:pt x="1641" y="839"/>
                    <a:pt x="1641" y="839"/>
                  </a:cubicBezTo>
                  <a:cubicBezTo>
                    <a:pt x="1641" y="839"/>
                    <a:pt x="1641" y="839"/>
                    <a:pt x="1641" y="839"/>
                  </a:cubicBezTo>
                  <a:cubicBezTo>
                    <a:pt x="1641" y="839"/>
                    <a:pt x="1641" y="839"/>
                    <a:pt x="1641" y="839"/>
                  </a:cubicBezTo>
                  <a:cubicBezTo>
                    <a:pt x="1641" y="839"/>
                    <a:pt x="1641" y="839"/>
                    <a:pt x="1641" y="839"/>
                  </a:cubicBezTo>
                  <a:cubicBezTo>
                    <a:pt x="1642" y="839"/>
                    <a:pt x="1642" y="839"/>
                    <a:pt x="1642" y="839"/>
                  </a:cubicBezTo>
                  <a:cubicBezTo>
                    <a:pt x="1642" y="839"/>
                    <a:pt x="1642" y="839"/>
                    <a:pt x="1642" y="839"/>
                  </a:cubicBezTo>
                  <a:cubicBezTo>
                    <a:pt x="1643" y="840"/>
                    <a:pt x="1644" y="839"/>
                    <a:pt x="1645" y="839"/>
                  </a:cubicBezTo>
                  <a:cubicBezTo>
                    <a:pt x="1645" y="839"/>
                    <a:pt x="1645" y="839"/>
                    <a:pt x="1645" y="839"/>
                  </a:cubicBezTo>
                  <a:cubicBezTo>
                    <a:pt x="1645" y="839"/>
                    <a:pt x="1645" y="839"/>
                    <a:pt x="1645" y="839"/>
                  </a:cubicBezTo>
                  <a:cubicBezTo>
                    <a:pt x="1645" y="839"/>
                    <a:pt x="1645" y="839"/>
                    <a:pt x="1645" y="839"/>
                  </a:cubicBezTo>
                  <a:cubicBezTo>
                    <a:pt x="1646" y="840"/>
                    <a:pt x="1646" y="840"/>
                    <a:pt x="1646" y="840"/>
                  </a:cubicBezTo>
                  <a:cubicBezTo>
                    <a:pt x="1646" y="840"/>
                    <a:pt x="1646" y="840"/>
                    <a:pt x="1646" y="840"/>
                  </a:cubicBezTo>
                  <a:cubicBezTo>
                    <a:pt x="1646" y="840"/>
                    <a:pt x="1646" y="840"/>
                    <a:pt x="1646" y="840"/>
                  </a:cubicBezTo>
                  <a:cubicBezTo>
                    <a:pt x="1647" y="840"/>
                    <a:pt x="1647" y="840"/>
                    <a:pt x="1647" y="841"/>
                  </a:cubicBezTo>
                  <a:cubicBezTo>
                    <a:pt x="1647" y="841"/>
                    <a:pt x="1647" y="841"/>
                    <a:pt x="1647" y="841"/>
                  </a:cubicBezTo>
                  <a:cubicBezTo>
                    <a:pt x="1647" y="841"/>
                    <a:pt x="1647" y="841"/>
                    <a:pt x="1647" y="841"/>
                  </a:cubicBezTo>
                  <a:cubicBezTo>
                    <a:pt x="1647" y="841"/>
                    <a:pt x="1647" y="841"/>
                    <a:pt x="1647" y="841"/>
                  </a:cubicBezTo>
                  <a:cubicBezTo>
                    <a:pt x="1648" y="841"/>
                    <a:pt x="1648" y="841"/>
                    <a:pt x="1648" y="841"/>
                  </a:cubicBezTo>
                  <a:cubicBezTo>
                    <a:pt x="1648" y="841"/>
                    <a:pt x="1648" y="841"/>
                    <a:pt x="1648" y="841"/>
                  </a:cubicBezTo>
                  <a:cubicBezTo>
                    <a:pt x="1648" y="842"/>
                    <a:pt x="1649" y="843"/>
                    <a:pt x="1650" y="843"/>
                  </a:cubicBezTo>
                  <a:cubicBezTo>
                    <a:pt x="1650" y="843"/>
                    <a:pt x="1650" y="843"/>
                    <a:pt x="1650" y="843"/>
                  </a:cubicBezTo>
                  <a:cubicBezTo>
                    <a:pt x="1650" y="843"/>
                    <a:pt x="1650" y="843"/>
                    <a:pt x="1650" y="843"/>
                  </a:cubicBezTo>
                  <a:cubicBezTo>
                    <a:pt x="1650" y="843"/>
                    <a:pt x="1650" y="843"/>
                    <a:pt x="1650" y="843"/>
                  </a:cubicBezTo>
                  <a:cubicBezTo>
                    <a:pt x="1651" y="843"/>
                    <a:pt x="1651" y="843"/>
                    <a:pt x="1651" y="843"/>
                  </a:cubicBezTo>
                  <a:cubicBezTo>
                    <a:pt x="1652" y="843"/>
                    <a:pt x="1652" y="843"/>
                    <a:pt x="1652" y="843"/>
                  </a:cubicBezTo>
                  <a:cubicBezTo>
                    <a:pt x="1653" y="842"/>
                    <a:pt x="1653" y="842"/>
                    <a:pt x="1653" y="842"/>
                  </a:cubicBezTo>
                  <a:cubicBezTo>
                    <a:pt x="1656" y="840"/>
                    <a:pt x="1656" y="840"/>
                    <a:pt x="1656" y="840"/>
                  </a:cubicBezTo>
                  <a:cubicBezTo>
                    <a:pt x="1657" y="839"/>
                    <a:pt x="1657" y="839"/>
                    <a:pt x="1657" y="839"/>
                  </a:cubicBezTo>
                  <a:cubicBezTo>
                    <a:pt x="1658" y="838"/>
                    <a:pt x="1658" y="838"/>
                    <a:pt x="1658" y="838"/>
                  </a:cubicBezTo>
                  <a:cubicBezTo>
                    <a:pt x="1658" y="838"/>
                    <a:pt x="1658" y="838"/>
                    <a:pt x="1658" y="838"/>
                  </a:cubicBezTo>
                  <a:cubicBezTo>
                    <a:pt x="1658" y="838"/>
                    <a:pt x="1658" y="838"/>
                    <a:pt x="1658" y="838"/>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9" y="837"/>
                    <a:pt x="1659" y="837"/>
                    <a:pt x="1659" y="837"/>
                  </a:cubicBezTo>
                  <a:cubicBezTo>
                    <a:pt x="1659" y="836"/>
                    <a:pt x="1659" y="836"/>
                    <a:pt x="1659" y="836"/>
                  </a:cubicBezTo>
                  <a:cubicBezTo>
                    <a:pt x="1659" y="836"/>
                    <a:pt x="1659" y="836"/>
                    <a:pt x="1659" y="836"/>
                  </a:cubicBezTo>
                  <a:cubicBezTo>
                    <a:pt x="1659" y="836"/>
                    <a:pt x="1659" y="836"/>
                    <a:pt x="1659" y="836"/>
                  </a:cubicBezTo>
                  <a:cubicBezTo>
                    <a:pt x="1659" y="836"/>
                    <a:pt x="1659" y="836"/>
                    <a:pt x="1659" y="836"/>
                  </a:cubicBezTo>
                  <a:cubicBezTo>
                    <a:pt x="1659" y="836"/>
                    <a:pt x="1660" y="836"/>
                    <a:pt x="1660" y="835"/>
                  </a:cubicBezTo>
                  <a:cubicBezTo>
                    <a:pt x="1660" y="835"/>
                    <a:pt x="1660" y="835"/>
                    <a:pt x="1660" y="835"/>
                  </a:cubicBezTo>
                  <a:cubicBezTo>
                    <a:pt x="1660" y="835"/>
                    <a:pt x="1660" y="835"/>
                    <a:pt x="1660" y="835"/>
                  </a:cubicBezTo>
                  <a:cubicBezTo>
                    <a:pt x="1660" y="835"/>
                    <a:pt x="1660" y="834"/>
                    <a:pt x="1661" y="834"/>
                  </a:cubicBezTo>
                  <a:cubicBezTo>
                    <a:pt x="1661" y="834"/>
                    <a:pt x="1661" y="834"/>
                    <a:pt x="1661" y="834"/>
                  </a:cubicBezTo>
                  <a:cubicBezTo>
                    <a:pt x="1661" y="834"/>
                    <a:pt x="1661" y="834"/>
                    <a:pt x="1661" y="834"/>
                  </a:cubicBezTo>
                  <a:cubicBezTo>
                    <a:pt x="1661" y="834"/>
                    <a:pt x="1661" y="834"/>
                    <a:pt x="1661" y="834"/>
                  </a:cubicBezTo>
                  <a:cubicBezTo>
                    <a:pt x="1661" y="833"/>
                    <a:pt x="1661" y="833"/>
                    <a:pt x="1662" y="831"/>
                  </a:cubicBezTo>
                  <a:cubicBezTo>
                    <a:pt x="1662" y="831"/>
                    <a:pt x="1662" y="831"/>
                    <a:pt x="1662" y="831"/>
                  </a:cubicBezTo>
                  <a:cubicBezTo>
                    <a:pt x="1662" y="831"/>
                    <a:pt x="1662" y="831"/>
                    <a:pt x="1662" y="831"/>
                  </a:cubicBezTo>
                  <a:cubicBezTo>
                    <a:pt x="1662" y="831"/>
                    <a:pt x="1662" y="831"/>
                    <a:pt x="1662" y="831"/>
                  </a:cubicBezTo>
                  <a:cubicBezTo>
                    <a:pt x="1662" y="831"/>
                    <a:pt x="1662" y="831"/>
                    <a:pt x="1662" y="831"/>
                  </a:cubicBezTo>
                  <a:cubicBezTo>
                    <a:pt x="1662" y="831"/>
                    <a:pt x="1662" y="831"/>
                    <a:pt x="1662" y="831"/>
                  </a:cubicBezTo>
                  <a:cubicBezTo>
                    <a:pt x="1662" y="830"/>
                    <a:pt x="1662" y="830"/>
                    <a:pt x="1662" y="830"/>
                  </a:cubicBezTo>
                  <a:cubicBezTo>
                    <a:pt x="1662" y="830"/>
                    <a:pt x="1662" y="830"/>
                    <a:pt x="1662" y="830"/>
                  </a:cubicBezTo>
                  <a:cubicBezTo>
                    <a:pt x="1663" y="830"/>
                    <a:pt x="1663" y="830"/>
                    <a:pt x="1663" y="830"/>
                  </a:cubicBezTo>
                  <a:cubicBezTo>
                    <a:pt x="1663" y="830"/>
                    <a:pt x="1663" y="830"/>
                    <a:pt x="1663" y="830"/>
                  </a:cubicBezTo>
                  <a:cubicBezTo>
                    <a:pt x="1664" y="829"/>
                    <a:pt x="1664" y="829"/>
                    <a:pt x="1664" y="829"/>
                  </a:cubicBezTo>
                  <a:cubicBezTo>
                    <a:pt x="1665" y="829"/>
                    <a:pt x="1665" y="829"/>
                    <a:pt x="1665" y="829"/>
                  </a:cubicBezTo>
                  <a:cubicBezTo>
                    <a:pt x="1665" y="829"/>
                    <a:pt x="1665" y="829"/>
                    <a:pt x="1665" y="829"/>
                  </a:cubicBezTo>
                  <a:cubicBezTo>
                    <a:pt x="1665" y="828"/>
                    <a:pt x="1665" y="828"/>
                    <a:pt x="1665" y="828"/>
                  </a:cubicBezTo>
                  <a:cubicBezTo>
                    <a:pt x="1665" y="828"/>
                    <a:pt x="1665" y="828"/>
                    <a:pt x="1665" y="827"/>
                  </a:cubicBezTo>
                  <a:cubicBezTo>
                    <a:pt x="1665" y="827"/>
                    <a:pt x="1665" y="827"/>
                    <a:pt x="1665" y="827"/>
                  </a:cubicBezTo>
                  <a:cubicBezTo>
                    <a:pt x="1665" y="827"/>
                    <a:pt x="1665" y="827"/>
                    <a:pt x="1665" y="827"/>
                  </a:cubicBezTo>
                  <a:cubicBezTo>
                    <a:pt x="1666" y="827"/>
                    <a:pt x="1666" y="827"/>
                    <a:pt x="1666" y="827"/>
                  </a:cubicBezTo>
                  <a:cubicBezTo>
                    <a:pt x="1666" y="827"/>
                    <a:pt x="1666" y="827"/>
                    <a:pt x="1666" y="827"/>
                  </a:cubicBezTo>
                  <a:cubicBezTo>
                    <a:pt x="1666" y="826"/>
                    <a:pt x="1666" y="826"/>
                    <a:pt x="1666" y="826"/>
                  </a:cubicBezTo>
                  <a:cubicBezTo>
                    <a:pt x="1666" y="826"/>
                    <a:pt x="1666" y="826"/>
                    <a:pt x="1666" y="826"/>
                  </a:cubicBezTo>
                  <a:cubicBezTo>
                    <a:pt x="1666" y="825"/>
                    <a:pt x="1666" y="825"/>
                    <a:pt x="1666" y="825"/>
                  </a:cubicBezTo>
                  <a:cubicBezTo>
                    <a:pt x="1666" y="825"/>
                    <a:pt x="1666" y="825"/>
                    <a:pt x="1666" y="825"/>
                  </a:cubicBezTo>
                  <a:cubicBezTo>
                    <a:pt x="1667" y="824"/>
                    <a:pt x="1667" y="824"/>
                    <a:pt x="1667" y="824"/>
                  </a:cubicBezTo>
                  <a:cubicBezTo>
                    <a:pt x="1667" y="824"/>
                    <a:pt x="1667" y="824"/>
                    <a:pt x="1667" y="824"/>
                  </a:cubicBezTo>
                  <a:cubicBezTo>
                    <a:pt x="1668" y="824"/>
                    <a:pt x="1668" y="824"/>
                    <a:pt x="1668" y="824"/>
                  </a:cubicBezTo>
                  <a:cubicBezTo>
                    <a:pt x="1668" y="824"/>
                    <a:pt x="1668" y="824"/>
                    <a:pt x="1668" y="824"/>
                  </a:cubicBezTo>
                  <a:cubicBezTo>
                    <a:pt x="1669" y="823"/>
                    <a:pt x="1669" y="823"/>
                    <a:pt x="1669" y="823"/>
                  </a:cubicBezTo>
                  <a:cubicBezTo>
                    <a:pt x="1669" y="823"/>
                    <a:pt x="1669" y="823"/>
                    <a:pt x="1669" y="823"/>
                  </a:cubicBezTo>
                  <a:cubicBezTo>
                    <a:pt x="1669" y="823"/>
                    <a:pt x="1669" y="823"/>
                    <a:pt x="1669" y="823"/>
                  </a:cubicBezTo>
                  <a:cubicBezTo>
                    <a:pt x="1670" y="823"/>
                    <a:pt x="1670" y="822"/>
                    <a:pt x="1672" y="822"/>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3" y="820"/>
                    <a:pt x="1673" y="820"/>
                    <a:pt x="1673" y="820"/>
                  </a:cubicBezTo>
                  <a:cubicBezTo>
                    <a:pt x="1673" y="820"/>
                    <a:pt x="1673" y="820"/>
                    <a:pt x="1673" y="820"/>
                  </a:cubicBezTo>
                  <a:cubicBezTo>
                    <a:pt x="1674" y="820"/>
                    <a:pt x="1674" y="820"/>
                    <a:pt x="1674" y="820"/>
                  </a:cubicBezTo>
                  <a:cubicBezTo>
                    <a:pt x="1675" y="820"/>
                    <a:pt x="1675" y="820"/>
                    <a:pt x="1675" y="820"/>
                  </a:cubicBezTo>
                  <a:cubicBezTo>
                    <a:pt x="1675" y="819"/>
                    <a:pt x="1675" y="819"/>
                    <a:pt x="1675" y="819"/>
                  </a:cubicBezTo>
                  <a:cubicBezTo>
                    <a:pt x="1675" y="819"/>
                    <a:pt x="1675" y="819"/>
                    <a:pt x="1675" y="819"/>
                  </a:cubicBezTo>
                  <a:cubicBezTo>
                    <a:pt x="1675" y="819"/>
                    <a:pt x="1675" y="819"/>
                    <a:pt x="1675" y="819"/>
                  </a:cubicBezTo>
                  <a:cubicBezTo>
                    <a:pt x="1676" y="819"/>
                    <a:pt x="1676" y="819"/>
                    <a:pt x="1676" y="819"/>
                  </a:cubicBezTo>
                  <a:cubicBezTo>
                    <a:pt x="1676" y="819"/>
                    <a:pt x="1676" y="819"/>
                    <a:pt x="1676" y="819"/>
                  </a:cubicBezTo>
                  <a:cubicBezTo>
                    <a:pt x="1676" y="818"/>
                    <a:pt x="1676" y="818"/>
                    <a:pt x="1676" y="818"/>
                  </a:cubicBezTo>
                  <a:cubicBezTo>
                    <a:pt x="1676" y="818"/>
                    <a:pt x="1676" y="818"/>
                    <a:pt x="1676" y="818"/>
                  </a:cubicBezTo>
                  <a:cubicBezTo>
                    <a:pt x="1676" y="818"/>
                    <a:pt x="1676" y="818"/>
                    <a:pt x="1676" y="818"/>
                  </a:cubicBezTo>
                  <a:cubicBezTo>
                    <a:pt x="1676" y="818"/>
                    <a:pt x="1676" y="818"/>
                    <a:pt x="1676" y="818"/>
                  </a:cubicBezTo>
                  <a:cubicBezTo>
                    <a:pt x="1676" y="818"/>
                    <a:pt x="1676" y="818"/>
                    <a:pt x="1676" y="818"/>
                  </a:cubicBezTo>
                  <a:cubicBezTo>
                    <a:pt x="1676" y="817"/>
                    <a:pt x="1677" y="816"/>
                    <a:pt x="1677" y="816"/>
                  </a:cubicBezTo>
                  <a:cubicBezTo>
                    <a:pt x="1677" y="816"/>
                    <a:pt x="1677" y="816"/>
                    <a:pt x="1677" y="816"/>
                  </a:cubicBezTo>
                  <a:cubicBezTo>
                    <a:pt x="1678" y="816"/>
                    <a:pt x="1678" y="816"/>
                    <a:pt x="1678" y="816"/>
                  </a:cubicBezTo>
                  <a:cubicBezTo>
                    <a:pt x="1678" y="816"/>
                    <a:pt x="1678" y="816"/>
                    <a:pt x="1678" y="816"/>
                  </a:cubicBezTo>
                  <a:cubicBezTo>
                    <a:pt x="1679" y="815"/>
                    <a:pt x="1681" y="815"/>
                    <a:pt x="1681" y="814"/>
                  </a:cubicBezTo>
                  <a:cubicBezTo>
                    <a:pt x="1681" y="814"/>
                    <a:pt x="1681" y="814"/>
                    <a:pt x="1681" y="814"/>
                  </a:cubicBezTo>
                  <a:cubicBezTo>
                    <a:pt x="1681" y="814"/>
                    <a:pt x="1681" y="814"/>
                    <a:pt x="1681" y="814"/>
                  </a:cubicBezTo>
                  <a:cubicBezTo>
                    <a:pt x="1681" y="814"/>
                    <a:pt x="1681" y="814"/>
                    <a:pt x="1681" y="814"/>
                  </a:cubicBezTo>
                  <a:cubicBezTo>
                    <a:pt x="1682" y="814"/>
                    <a:pt x="1682" y="814"/>
                    <a:pt x="1682" y="814"/>
                  </a:cubicBezTo>
                  <a:cubicBezTo>
                    <a:pt x="1682" y="814"/>
                    <a:pt x="1682" y="814"/>
                    <a:pt x="1682" y="814"/>
                  </a:cubicBezTo>
                  <a:cubicBezTo>
                    <a:pt x="1682" y="814"/>
                    <a:pt x="1682" y="814"/>
                    <a:pt x="1682" y="814"/>
                  </a:cubicBezTo>
                  <a:cubicBezTo>
                    <a:pt x="1682" y="815"/>
                    <a:pt x="1682" y="815"/>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2" y="815"/>
                    <a:pt x="1682" y="815"/>
                    <a:pt x="1682" y="815"/>
                  </a:cubicBezTo>
                  <a:cubicBezTo>
                    <a:pt x="1684" y="812"/>
                    <a:pt x="1683" y="812"/>
                    <a:pt x="1687" y="811"/>
                  </a:cubicBezTo>
                  <a:cubicBezTo>
                    <a:pt x="1687" y="811"/>
                    <a:pt x="1687" y="811"/>
                    <a:pt x="1687" y="811"/>
                  </a:cubicBezTo>
                  <a:cubicBezTo>
                    <a:pt x="1688" y="810"/>
                    <a:pt x="1688" y="810"/>
                    <a:pt x="1688" y="810"/>
                  </a:cubicBezTo>
                  <a:cubicBezTo>
                    <a:pt x="1688" y="810"/>
                    <a:pt x="1688" y="810"/>
                    <a:pt x="1688" y="809"/>
                  </a:cubicBezTo>
                  <a:cubicBezTo>
                    <a:pt x="1691" y="809"/>
                    <a:pt x="1691" y="809"/>
                    <a:pt x="1691" y="809"/>
                  </a:cubicBezTo>
                  <a:cubicBezTo>
                    <a:pt x="1694" y="808"/>
                    <a:pt x="1694" y="808"/>
                    <a:pt x="1694" y="808"/>
                  </a:cubicBezTo>
                  <a:cubicBezTo>
                    <a:pt x="1703" y="805"/>
                    <a:pt x="1703" y="805"/>
                    <a:pt x="1703" y="805"/>
                  </a:cubicBezTo>
                  <a:cubicBezTo>
                    <a:pt x="1707" y="804"/>
                    <a:pt x="1707" y="804"/>
                    <a:pt x="1707" y="804"/>
                  </a:cubicBezTo>
                  <a:cubicBezTo>
                    <a:pt x="1709" y="804"/>
                    <a:pt x="1709" y="804"/>
                    <a:pt x="1709" y="804"/>
                  </a:cubicBezTo>
                  <a:cubicBezTo>
                    <a:pt x="1709" y="804"/>
                    <a:pt x="1709" y="804"/>
                    <a:pt x="1709" y="804"/>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2"/>
                    <a:pt x="1709" y="802"/>
                    <a:pt x="1709" y="802"/>
                  </a:cubicBezTo>
                  <a:cubicBezTo>
                    <a:pt x="1709" y="802"/>
                    <a:pt x="1709" y="802"/>
                    <a:pt x="1709" y="802"/>
                  </a:cubicBezTo>
                  <a:cubicBezTo>
                    <a:pt x="1709" y="802"/>
                    <a:pt x="1709" y="802"/>
                    <a:pt x="1709" y="802"/>
                  </a:cubicBezTo>
                  <a:cubicBezTo>
                    <a:pt x="1709" y="802"/>
                    <a:pt x="1709" y="802"/>
                    <a:pt x="1709" y="802"/>
                  </a:cubicBezTo>
                  <a:cubicBezTo>
                    <a:pt x="1709" y="801"/>
                    <a:pt x="1709" y="801"/>
                    <a:pt x="1709" y="801"/>
                  </a:cubicBezTo>
                  <a:cubicBezTo>
                    <a:pt x="1709" y="801"/>
                    <a:pt x="1709" y="801"/>
                    <a:pt x="1709" y="801"/>
                  </a:cubicBezTo>
                  <a:cubicBezTo>
                    <a:pt x="1708" y="800"/>
                    <a:pt x="1709" y="799"/>
                    <a:pt x="1709" y="799"/>
                  </a:cubicBezTo>
                  <a:cubicBezTo>
                    <a:pt x="1709" y="799"/>
                    <a:pt x="1709" y="799"/>
                    <a:pt x="1709" y="799"/>
                  </a:cubicBezTo>
                  <a:cubicBezTo>
                    <a:pt x="1709" y="798"/>
                    <a:pt x="1709" y="798"/>
                    <a:pt x="1709" y="798"/>
                  </a:cubicBezTo>
                  <a:cubicBezTo>
                    <a:pt x="1710" y="797"/>
                    <a:pt x="1711" y="798"/>
                    <a:pt x="1710" y="796"/>
                  </a:cubicBezTo>
                  <a:cubicBezTo>
                    <a:pt x="1710" y="796"/>
                    <a:pt x="1710" y="796"/>
                    <a:pt x="1710" y="796"/>
                  </a:cubicBezTo>
                  <a:cubicBezTo>
                    <a:pt x="1710" y="796"/>
                    <a:pt x="1710" y="796"/>
                    <a:pt x="1710" y="796"/>
                  </a:cubicBezTo>
                  <a:cubicBezTo>
                    <a:pt x="1710" y="796"/>
                    <a:pt x="1710" y="796"/>
                    <a:pt x="1710" y="796"/>
                  </a:cubicBezTo>
                  <a:cubicBezTo>
                    <a:pt x="1710" y="796"/>
                    <a:pt x="1710" y="796"/>
                    <a:pt x="1710" y="796"/>
                  </a:cubicBezTo>
                  <a:cubicBezTo>
                    <a:pt x="1710" y="795"/>
                    <a:pt x="1710" y="795"/>
                    <a:pt x="1710" y="795"/>
                  </a:cubicBezTo>
                  <a:cubicBezTo>
                    <a:pt x="1710" y="795"/>
                    <a:pt x="1710" y="795"/>
                    <a:pt x="1710" y="795"/>
                  </a:cubicBezTo>
                  <a:cubicBezTo>
                    <a:pt x="1710" y="794"/>
                    <a:pt x="1710" y="793"/>
                    <a:pt x="1711" y="793"/>
                  </a:cubicBezTo>
                  <a:cubicBezTo>
                    <a:pt x="1711" y="793"/>
                    <a:pt x="1711" y="793"/>
                    <a:pt x="1711" y="793"/>
                  </a:cubicBezTo>
                  <a:cubicBezTo>
                    <a:pt x="1711" y="792"/>
                    <a:pt x="1711" y="792"/>
                    <a:pt x="1711" y="792"/>
                  </a:cubicBezTo>
                  <a:cubicBezTo>
                    <a:pt x="1712" y="792"/>
                    <a:pt x="1712" y="792"/>
                    <a:pt x="1712" y="792"/>
                  </a:cubicBezTo>
                  <a:cubicBezTo>
                    <a:pt x="1712" y="792"/>
                    <a:pt x="1714" y="791"/>
                    <a:pt x="1714" y="791"/>
                  </a:cubicBezTo>
                  <a:cubicBezTo>
                    <a:pt x="1714" y="791"/>
                    <a:pt x="1714" y="791"/>
                    <a:pt x="1714" y="791"/>
                  </a:cubicBezTo>
                  <a:cubicBezTo>
                    <a:pt x="1714" y="791"/>
                    <a:pt x="1714" y="791"/>
                    <a:pt x="1714" y="791"/>
                  </a:cubicBezTo>
                  <a:cubicBezTo>
                    <a:pt x="1715" y="790"/>
                    <a:pt x="1715" y="790"/>
                    <a:pt x="1715" y="790"/>
                  </a:cubicBezTo>
                  <a:cubicBezTo>
                    <a:pt x="1715" y="790"/>
                    <a:pt x="1715" y="790"/>
                    <a:pt x="1715" y="790"/>
                  </a:cubicBezTo>
                  <a:cubicBezTo>
                    <a:pt x="1715" y="790"/>
                    <a:pt x="1715" y="790"/>
                    <a:pt x="1715" y="790"/>
                  </a:cubicBezTo>
                  <a:cubicBezTo>
                    <a:pt x="1715" y="789"/>
                    <a:pt x="1715" y="789"/>
                    <a:pt x="1715" y="789"/>
                  </a:cubicBezTo>
                  <a:cubicBezTo>
                    <a:pt x="1715" y="789"/>
                    <a:pt x="1715" y="789"/>
                    <a:pt x="1715" y="789"/>
                  </a:cubicBezTo>
                  <a:cubicBezTo>
                    <a:pt x="1715" y="789"/>
                    <a:pt x="1715" y="789"/>
                    <a:pt x="1715" y="789"/>
                  </a:cubicBezTo>
                  <a:cubicBezTo>
                    <a:pt x="1715" y="788"/>
                    <a:pt x="1716" y="788"/>
                    <a:pt x="1716" y="787"/>
                  </a:cubicBezTo>
                  <a:cubicBezTo>
                    <a:pt x="1717" y="787"/>
                    <a:pt x="1717" y="787"/>
                    <a:pt x="1717" y="787"/>
                  </a:cubicBezTo>
                  <a:cubicBezTo>
                    <a:pt x="1718" y="787"/>
                    <a:pt x="1718" y="787"/>
                    <a:pt x="1718" y="787"/>
                  </a:cubicBezTo>
                  <a:cubicBezTo>
                    <a:pt x="1722" y="785"/>
                    <a:pt x="1720" y="785"/>
                    <a:pt x="1722" y="783"/>
                  </a:cubicBezTo>
                  <a:cubicBezTo>
                    <a:pt x="1722" y="783"/>
                    <a:pt x="1722" y="783"/>
                    <a:pt x="1722" y="783"/>
                  </a:cubicBezTo>
                  <a:cubicBezTo>
                    <a:pt x="1722" y="783"/>
                    <a:pt x="1722" y="783"/>
                    <a:pt x="1722" y="783"/>
                  </a:cubicBezTo>
                  <a:cubicBezTo>
                    <a:pt x="1723" y="783"/>
                    <a:pt x="1723" y="783"/>
                    <a:pt x="1723" y="783"/>
                  </a:cubicBezTo>
                  <a:cubicBezTo>
                    <a:pt x="1723" y="783"/>
                    <a:pt x="1723" y="783"/>
                    <a:pt x="1723" y="783"/>
                  </a:cubicBezTo>
                  <a:cubicBezTo>
                    <a:pt x="1723" y="783"/>
                    <a:pt x="1723" y="783"/>
                    <a:pt x="1723" y="783"/>
                  </a:cubicBezTo>
                  <a:cubicBezTo>
                    <a:pt x="1723" y="783"/>
                    <a:pt x="1723" y="783"/>
                    <a:pt x="1723" y="783"/>
                  </a:cubicBezTo>
                  <a:cubicBezTo>
                    <a:pt x="1723" y="783"/>
                    <a:pt x="1723" y="783"/>
                    <a:pt x="1723" y="783"/>
                  </a:cubicBezTo>
                  <a:cubicBezTo>
                    <a:pt x="1723" y="782"/>
                    <a:pt x="1723" y="782"/>
                    <a:pt x="1723" y="782"/>
                  </a:cubicBezTo>
                  <a:cubicBezTo>
                    <a:pt x="1723" y="782"/>
                    <a:pt x="1723" y="782"/>
                    <a:pt x="1723" y="782"/>
                  </a:cubicBezTo>
                  <a:cubicBezTo>
                    <a:pt x="1723" y="782"/>
                    <a:pt x="1724" y="781"/>
                    <a:pt x="1725" y="781"/>
                  </a:cubicBezTo>
                  <a:cubicBezTo>
                    <a:pt x="1725" y="781"/>
                    <a:pt x="1725" y="781"/>
                    <a:pt x="1725" y="781"/>
                  </a:cubicBezTo>
                  <a:cubicBezTo>
                    <a:pt x="1725" y="781"/>
                    <a:pt x="1725" y="781"/>
                    <a:pt x="1725" y="781"/>
                  </a:cubicBezTo>
                  <a:cubicBezTo>
                    <a:pt x="1725" y="780"/>
                    <a:pt x="1726" y="780"/>
                    <a:pt x="1726" y="780"/>
                  </a:cubicBezTo>
                  <a:cubicBezTo>
                    <a:pt x="1726" y="780"/>
                    <a:pt x="1726" y="780"/>
                    <a:pt x="1726" y="780"/>
                  </a:cubicBezTo>
                  <a:cubicBezTo>
                    <a:pt x="1726" y="780"/>
                    <a:pt x="1726" y="780"/>
                    <a:pt x="1726" y="780"/>
                  </a:cubicBezTo>
                  <a:cubicBezTo>
                    <a:pt x="1726" y="780"/>
                    <a:pt x="1726" y="780"/>
                    <a:pt x="1726" y="780"/>
                  </a:cubicBezTo>
                  <a:cubicBezTo>
                    <a:pt x="1726" y="780"/>
                    <a:pt x="1726" y="780"/>
                    <a:pt x="1726" y="780"/>
                  </a:cubicBezTo>
                  <a:cubicBezTo>
                    <a:pt x="1729" y="780"/>
                    <a:pt x="1731" y="781"/>
                    <a:pt x="1734" y="782"/>
                  </a:cubicBezTo>
                  <a:cubicBezTo>
                    <a:pt x="1734" y="782"/>
                    <a:pt x="1734" y="782"/>
                    <a:pt x="1734" y="782"/>
                  </a:cubicBezTo>
                  <a:cubicBezTo>
                    <a:pt x="1734" y="782"/>
                    <a:pt x="1734" y="782"/>
                    <a:pt x="1734" y="782"/>
                  </a:cubicBezTo>
                  <a:cubicBezTo>
                    <a:pt x="1734" y="782"/>
                    <a:pt x="1734" y="782"/>
                    <a:pt x="1734" y="782"/>
                  </a:cubicBezTo>
                  <a:cubicBezTo>
                    <a:pt x="1735" y="782"/>
                    <a:pt x="1735" y="782"/>
                    <a:pt x="1735" y="782"/>
                  </a:cubicBezTo>
                  <a:cubicBezTo>
                    <a:pt x="1735" y="782"/>
                    <a:pt x="1735" y="782"/>
                    <a:pt x="1735" y="782"/>
                  </a:cubicBezTo>
                  <a:cubicBezTo>
                    <a:pt x="1737" y="781"/>
                    <a:pt x="1737" y="781"/>
                    <a:pt x="1737" y="781"/>
                  </a:cubicBezTo>
                  <a:cubicBezTo>
                    <a:pt x="1741" y="781"/>
                    <a:pt x="1741" y="781"/>
                    <a:pt x="1741" y="781"/>
                  </a:cubicBezTo>
                  <a:cubicBezTo>
                    <a:pt x="1750" y="779"/>
                    <a:pt x="1750" y="779"/>
                    <a:pt x="1750" y="779"/>
                  </a:cubicBezTo>
                  <a:cubicBezTo>
                    <a:pt x="1754" y="779"/>
                    <a:pt x="1754" y="779"/>
                    <a:pt x="1754" y="779"/>
                  </a:cubicBezTo>
                  <a:cubicBezTo>
                    <a:pt x="1756" y="779"/>
                    <a:pt x="1756" y="779"/>
                    <a:pt x="1756" y="779"/>
                  </a:cubicBezTo>
                  <a:cubicBezTo>
                    <a:pt x="1756" y="779"/>
                    <a:pt x="1756" y="779"/>
                    <a:pt x="1756" y="779"/>
                  </a:cubicBezTo>
                  <a:cubicBezTo>
                    <a:pt x="1757" y="779"/>
                    <a:pt x="1757" y="779"/>
                    <a:pt x="1757" y="779"/>
                  </a:cubicBezTo>
                  <a:cubicBezTo>
                    <a:pt x="1758" y="778"/>
                    <a:pt x="1759" y="779"/>
                    <a:pt x="1761" y="779"/>
                  </a:cubicBezTo>
                  <a:cubicBezTo>
                    <a:pt x="1761" y="779"/>
                    <a:pt x="1761" y="779"/>
                    <a:pt x="1761" y="779"/>
                  </a:cubicBezTo>
                  <a:cubicBezTo>
                    <a:pt x="1761" y="779"/>
                    <a:pt x="1761" y="779"/>
                    <a:pt x="1761" y="779"/>
                  </a:cubicBezTo>
                  <a:cubicBezTo>
                    <a:pt x="1761" y="779"/>
                    <a:pt x="1761" y="779"/>
                    <a:pt x="1761" y="779"/>
                  </a:cubicBezTo>
                  <a:cubicBezTo>
                    <a:pt x="1762" y="779"/>
                    <a:pt x="1762" y="779"/>
                    <a:pt x="1763" y="779"/>
                  </a:cubicBezTo>
                  <a:cubicBezTo>
                    <a:pt x="1763" y="779"/>
                    <a:pt x="1763" y="779"/>
                    <a:pt x="1763" y="779"/>
                  </a:cubicBezTo>
                  <a:cubicBezTo>
                    <a:pt x="1763" y="779"/>
                    <a:pt x="1763" y="779"/>
                    <a:pt x="1763" y="779"/>
                  </a:cubicBezTo>
                  <a:cubicBezTo>
                    <a:pt x="1765" y="779"/>
                    <a:pt x="1766" y="779"/>
                    <a:pt x="1767" y="779"/>
                  </a:cubicBezTo>
                  <a:cubicBezTo>
                    <a:pt x="1768" y="779"/>
                    <a:pt x="1768" y="779"/>
                    <a:pt x="1768" y="779"/>
                  </a:cubicBezTo>
                  <a:cubicBezTo>
                    <a:pt x="1768" y="779"/>
                    <a:pt x="1768" y="779"/>
                    <a:pt x="1768" y="779"/>
                  </a:cubicBezTo>
                  <a:cubicBezTo>
                    <a:pt x="1768" y="779"/>
                    <a:pt x="1768" y="779"/>
                    <a:pt x="1768" y="779"/>
                  </a:cubicBezTo>
                  <a:cubicBezTo>
                    <a:pt x="1769" y="779"/>
                    <a:pt x="1769" y="779"/>
                    <a:pt x="1769" y="779"/>
                  </a:cubicBezTo>
                  <a:cubicBezTo>
                    <a:pt x="1770" y="779"/>
                    <a:pt x="1770" y="779"/>
                    <a:pt x="1770" y="779"/>
                  </a:cubicBezTo>
                  <a:cubicBezTo>
                    <a:pt x="1773" y="779"/>
                    <a:pt x="1773" y="779"/>
                    <a:pt x="1773" y="779"/>
                  </a:cubicBezTo>
                  <a:cubicBezTo>
                    <a:pt x="1774" y="778"/>
                    <a:pt x="1774" y="778"/>
                    <a:pt x="1774" y="778"/>
                  </a:cubicBezTo>
                  <a:cubicBezTo>
                    <a:pt x="1775" y="778"/>
                    <a:pt x="1775" y="778"/>
                    <a:pt x="1775" y="778"/>
                  </a:cubicBezTo>
                  <a:cubicBezTo>
                    <a:pt x="1775" y="779"/>
                    <a:pt x="1775" y="779"/>
                    <a:pt x="1775" y="779"/>
                  </a:cubicBezTo>
                  <a:cubicBezTo>
                    <a:pt x="1775" y="779"/>
                    <a:pt x="1775" y="779"/>
                    <a:pt x="1775" y="779"/>
                  </a:cubicBezTo>
                  <a:cubicBezTo>
                    <a:pt x="1775" y="779"/>
                    <a:pt x="1775" y="779"/>
                    <a:pt x="1775" y="779"/>
                  </a:cubicBezTo>
                  <a:cubicBezTo>
                    <a:pt x="1776" y="779"/>
                    <a:pt x="1776" y="779"/>
                    <a:pt x="1776" y="779"/>
                  </a:cubicBezTo>
                  <a:cubicBezTo>
                    <a:pt x="1776" y="779"/>
                    <a:pt x="1776" y="779"/>
                    <a:pt x="1776" y="779"/>
                  </a:cubicBezTo>
                  <a:cubicBezTo>
                    <a:pt x="1776" y="779"/>
                    <a:pt x="1776" y="779"/>
                    <a:pt x="1776" y="779"/>
                  </a:cubicBezTo>
                  <a:cubicBezTo>
                    <a:pt x="1776" y="779"/>
                    <a:pt x="1777" y="779"/>
                    <a:pt x="1777" y="779"/>
                  </a:cubicBezTo>
                  <a:cubicBezTo>
                    <a:pt x="1777" y="779"/>
                    <a:pt x="1777" y="779"/>
                    <a:pt x="1777" y="779"/>
                  </a:cubicBezTo>
                  <a:cubicBezTo>
                    <a:pt x="1775" y="779"/>
                    <a:pt x="1773" y="779"/>
                    <a:pt x="1772" y="779"/>
                  </a:cubicBezTo>
                  <a:cubicBezTo>
                    <a:pt x="1775" y="781"/>
                    <a:pt x="1777" y="782"/>
                    <a:pt x="1781" y="783"/>
                  </a:cubicBezTo>
                  <a:cubicBezTo>
                    <a:pt x="1783" y="784"/>
                    <a:pt x="1784" y="784"/>
                    <a:pt x="1785" y="785"/>
                  </a:cubicBezTo>
                  <a:cubicBezTo>
                    <a:pt x="1787" y="786"/>
                    <a:pt x="1789" y="787"/>
                    <a:pt x="1791" y="788"/>
                  </a:cubicBezTo>
                  <a:cubicBezTo>
                    <a:pt x="1792" y="790"/>
                    <a:pt x="1792" y="793"/>
                    <a:pt x="1794" y="794"/>
                  </a:cubicBezTo>
                  <a:cubicBezTo>
                    <a:pt x="1795" y="794"/>
                    <a:pt x="1796" y="794"/>
                    <a:pt x="1797" y="795"/>
                  </a:cubicBezTo>
                  <a:cubicBezTo>
                    <a:pt x="1800" y="796"/>
                    <a:pt x="1802" y="797"/>
                    <a:pt x="1805" y="798"/>
                  </a:cubicBezTo>
                  <a:cubicBezTo>
                    <a:pt x="1808" y="799"/>
                    <a:pt x="1812" y="800"/>
                    <a:pt x="1816" y="801"/>
                  </a:cubicBezTo>
                  <a:cubicBezTo>
                    <a:pt x="1819" y="802"/>
                    <a:pt x="1825" y="803"/>
                    <a:pt x="1831" y="803"/>
                  </a:cubicBezTo>
                  <a:cubicBezTo>
                    <a:pt x="1831" y="803"/>
                    <a:pt x="1831" y="803"/>
                    <a:pt x="1831" y="803"/>
                  </a:cubicBezTo>
                  <a:cubicBezTo>
                    <a:pt x="1832" y="803"/>
                    <a:pt x="1833" y="803"/>
                    <a:pt x="1833" y="803"/>
                  </a:cubicBezTo>
                  <a:cubicBezTo>
                    <a:pt x="1834" y="803"/>
                    <a:pt x="1834" y="803"/>
                    <a:pt x="1835" y="802"/>
                  </a:cubicBezTo>
                  <a:cubicBezTo>
                    <a:pt x="1835" y="802"/>
                    <a:pt x="1835" y="802"/>
                    <a:pt x="1836" y="802"/>
                  </a:cubicBezTo>
                  <a:cubicBezTo>
                    <a:pt x="1836" y="802"/>
                    <a:pt x="1837" y="801"/>
                    <a:pt x="1838" y="801"/>
                  </a:cubicBezTo>
                  <a:cubicBezTo>
                    <a:pt x="1837" y="800"/>
                    <a:pt x="1837" y="800"/>
                    <a:pt x="1836" y="799"/>
                  </a:cubicBezTo>
                  <a:cubicBezTo>
                    <a:pt x="1835" y="797"/>
                    <a:pt x="1834" y="796"/>
                    <a:pt x="1832" y="795"/>
                  </a:cubicBezTo>
                  <a:cubicBezTo>
                    <a:pt x="1832" y="794"/>
                    <a:pt x="1831" y="794"/>
                    <a:pt x="1831" y="794"/>
                  </a:cubicBezTo>
                  <a:cubicBezTo>
                    <a:pt x="1831" y="794"/>
                    <a:pt x="1830" y="794"/>
                    <a:pt x="1830" y="794"/>
                  </a:cubicBezTo>
                  <a:cubicBezTo>
                    <a:pt x="1828" y="793"/>
                    <a:pt x="1827" y="793"/>
                    <a:pt x="1825" y="792"/>
                  </a:cubicBezTo>
                  <a:cubicBezTo>
                    <a:pt x="1825" y="792"/>
                    <a:pt x="1825" y="792"/>
                    <a:pt x="1824" y="791"/>
                  </a:cubicBezTo>
                  <a:cubicBezTo>
                    <a:pt x="1824" y="791"/>
                    <a:pt x="1823" y="791"/>
                    <a:pt x="1823" y="791"/>
                  </a:cubicBezTo>
                  <a:cubicBezTo>
                    <a:pt x="1823" y="791"/>
                    <a:pt x="1822" y="791"/>
                    <a:pt x="1822" y="791"/>
                  </a:cubicBezTo>
                  <a:cubicBezTo>
                    <a:pt x="1821" y="790"/>
                    <a:pt x="1820" y="789"/>
                    <a:pt x="1819" y="788"/>
                  </a:cubicBezTo>
                  <a:cubicBezTo>
                    <a:pt x="1818" y="788"/>
                    <a:pt x="1818" y="787"/>
                    <a:pt x="1817" y="787"/>
                  </a:cubicBezTo>
                  <a:cubicBezTo>
                    <a:pt x="1815" y="786"/>
                    <a:pt x="1811" y="785"/>
                    <a:pt x="1808" y="784"/>
                  </a:cubicBezTo>
                  <a:cubicBezTo>
                    <a:pt x="1806" y="783"/>
                    <a:pt x="1804" y="782"/>
                    <a:pt x="1801" y="781"/>
                  </a:cubicBezTo>
                  <a:cubicBezTo>
                    <a:pt x="1805" y="781"/>
                    <a:pt x="1810" y="779"/>
                    <a:pt x="1814" y="779"/>
                  </a:cubicBezTo>
                  <a:cubicBezTo>
                    <a:pt x="1816" y="779"/>
                    <a:pt x="1818" y="780"/>
                    <a:pt x="1820" y="780"/>
                  </a:cubicBezTo>
                  <a:cubicBezTo>
                    <a:pt x="1823" y="780"/>
                    <a:pt x="1825" y="780"/>
                    <a:pt x="1827" y="780"/>
                  </a:cubicBezTo>
                  <a:cubicBezTo>
                    <a:pt x="1829" y="781"/>
                    <a:pt x="1832" y="780"/>
                    <a:pt x="1834" y="781"/>
                  </a:cubicBezTo>
                  <a:cubicBezTo>
                    <a:pt x="1836" y="783"/>
                    <a:pt x="1834" y="784"/>
                    <a:pt x="1839" y="783"/>
                  </a:cubicBezTo>
                  <a:cubicBezTo>
                    <a:pt x="1837" y="783"/>
                    <a:pt x="1836" y="784"/>
                    <a:pt x="1835" y="785"/>
                  </a:cubicBezTo>
                  <a:cubicBezTo>
                    <a:pt x="1839" y="785"/>
                    <a:pt x="1845" y="783"/>
                    <a:pt x="1849" y="782"/>
                  </a:cubicBezTo>
                  <a:cubicBezTo>
                    <a:pt x="1852" y="782"/>
                    <a:pt x="1855" y="781"/>
                    <a:pt x="1858" y="781"/>
                  </a:cubicBezTo>
                  <a:cubicBezTo>
                    <a:pt x="1861" y="782"/>
                    <a:pt x="1872" y="779"/>
                    <a:pt x="1873" y="781"/>
                  </a:cubicBezTo>
                  <a:cubicBezTo>
                    <a:pt x="1879" y="777"/>
                    <a:pt x="1884" y="773"/>
                    <a:pt x="1890" y="768"/>
                  </a:cubicBezTo>
                  <a:cubicBezTo>
                    <a:pt x="1891" y="767"/>
                    <a:pt x="1898" y="763"/>
                    <a:pt x="1897" y="761"/>
                  </a:cubicBezTo>
                  <a:cubicBezTo>
                    <a:pt x="1899" y="768"/>
                    <a:pt x="1901" y="762"/>
                    <a:pt x="1900" y="759"/>
                  </a:cubicBezTo>
                  <a:cubicBezTo>
                    <a:pt x="1900" y="759"/>
                    <a:pt x="1900" y="756"/>
                    <a:pt x="1900" y="757"/>
                  </a:cubicBezTo>
                  <a:cubicBezTo>
                    <a:pt x="1901" y="755"/>
                    <a:pt x="1907" y="753"/>
                    <a:pt x="1909" y="751"/>
                  </a:cubicBezTo>
                  <a:cubicBezTo>
                    <a:pt x="1903" y="749"/>
                    <a:pt x="1918" y="746"/>
                    <a:pt x="1920" y="745"/>
                  </a:cubicBezTo>
                  <a:cubicBezTo>
                    <a:pt x="1923" y="744"/>
                    <a:pt x="1927" y="743"/>
                    <a:pt x="1931" y="743"/>
                  </a:cubicBezTo>
                  <a:cubicBezTo>
                    <a:pt x="1935" y="743"/>
                    <a:pt x="1940" y="745"/>
                    <a:pt x="1944" y="744"/>
                  </a:cubicBezTo>
                  <a:cubicBezTo>
                    <a:pt x="1944" y="744"/>
                    <a:pt x="1944" y="744"/>
                    <a:pt x="1945" y="744"/>
                  </a:cubicBezTo>
                  <a:cubicBezTo>
                    <a:pt x="1945" y="744"/>
                    <a:pt x="1945" y="744"/>
                    <a:pt x="1945" y="744"/>
                  </a:cubicBezTo>
                  <a:cubicBezTo>
                    <a:pt x="1947" y="746"/>
                    <a:pt x="1948" y="747"/>
                    <a:pt x="1945" y="749"/>
                  </a:cubicBezTo>
                  <a:cubicBezTo>
                    <a:pt x="1945" y="750"/>
                    <a:pt x="1944" y="751"/>
                    <a:pt x="1943" y="752"/>
                  </a:cubicBezTo>
                  <a:cubicBezTo>
                    <a:pt x="1941" y="753"/>
                    <a:pt x="1939" y="753"/>
                    <a:pt x="1937" y="754"/>
                  </a:cubicBezTo>
                  <a:cubicBezTo>
                    <a:pt x="1938" y="755"/>
                    <a:pt x="1940" y="756"/>
                    <a:pt x="1942" y="756"/>
                  </a:cubicBezTo>
                  <a:cubicBezTo>
                    <a:pt x="1942" y="756"/>
                    <a:pt x="1942" y="756"/>
                    <a:pt x="1942" y="756"/>
                  </a:cubicBezTo>
                  <a:cubicBezTo>
                    <a:pt x="1942" y="756"/>
                    <a:pt x="1942" y="756"/>
                    <a:pt x="1942" y="756"/>
                  </a:cubicBezTo>
                  <a:cubicBezTo>
                    <a:pt x="1940" y="757"/>
                    <a:pt x="1939" y="756"/>
                    <a:pt x="1937" y="758"/>
                  </a:cubicBezTo>
                  <a:cubicBezTo>
                    <a:pt x="1936" y="759"/>
                    <a:pt x="1935" y="761"/>
                    <a:pt x="1935" y="762"/>
                  </a:cubicBezTo>
                  <a:cubicBezTo>
                    <a:pt x="1934" y="763"/>
                    <a:pt x="1934" y="764"/>
                    <a:pt x="1934" y="764"/>
                  </a:cubicBezTo>
                  <a:cubicBezTo>
                    <a:pt x="1932" y="768"/>
                    <a:pt x="1930" y="772"/>
                    <a:pt x="1929" y="776"/>
                  </a:cubicBezTo>
                  <a:cubicBezTo>
                    <a:pt x="1928" y="778"/>
                    <a:pt x="1927" y="780"/>
                    <a:pt x="1926" y="781"/>
                  </a:cubicBezTo>
                  <a:cubicBezTo>
                    <a:pt x="1926" y="782"/>
                    <a:pt x="1926" y="782"/>
                    <a:pt x="1926" y="782"/>
                  </a:cubicBezTo>
                  <a:cubicBezTo>
                    <a:pt x="1924" y="784"/>
                    <a:pt x="1924" y="786"/>
                    <a:pt x="1923" y="788"/>
                  </a:cubicBezTo>
                  <a:cubicBezTo>
                    <a:pt x="1923" y="789"/>
                    <a:pt x="1921" y="790"/>
                    <a:pt x="1920" y="790"/>
                  </a:cubicBezTo>
                  <a:cubicBezTo>
                    <a:pt x="1919" y="792"/>
                    <a:pt x="1917" y="793"/>
                    <a:pt x="1918" y="795"/>
                  </a:cubicBezTo>
                  <a:cubicBezTo>
                    <a:pt x="1918" y="796"/>
                    <a:pt x="1918" y="796"/>
                    <a:pt x="1919" y="797"/>
                  </a:cubicBezTo>
                  <a:cubicBezTo>
                    <a:pt x="1920" y="798"/>
                    <a:pt x="1923" y="799"/>
                    <a:pt x="1924" y="798"/>
                  </a:cubicBezTo>
                  <a:cubicBezTo>
                    <a:pt x="1923" y="800"/>
                    <a:pt x="1922" y="800"/>
                    <a:pt x="1920" y="800"/>
                  </a:cubicBezTo>
                  <a:cubicBezTo>
                    <a:pt x="1920" y="800"/>
                    <a:pt x="1920" y="800"/>
                    <a:pt x="1920" y="800"/>
                  </a:cubicBezTo>
                  <a:cubicBezTo>
                    <a:pt x="1922" y="800"/>
                    <a:pt x="1924" y="800"/>
                    <a:pt x="1925" y="800"/>
                  </a:cubicBezTo>
                  <a:cubicBezTo>
                    <a:pt x="1926" y="800"/>
                    <a:pt x="1926" y="800"/>
                    <a:pt x="1926" y="800"/>
                  </a:cubicBezTo>
                  <a:cubicBezTo>
                    <a:pt x="1926" y="801"/>
                    <a:pt x="1925" y="801"/>
                    <a:pt x="1924" y="801"/>
                  </a:cubicBezTo>
                  <a:cubicBezTo>
                    <a:pt x="1923" y="801"/>
                    <a:pt x="1921" y="800"/>
                    <a:pt x="1920" y="801"/>
                  </a:cubicBezTo>
                  <a:cubicBezTo>
                    <a:pt x="1919" y="802"/>
                    <a:pt x="1920" y="803"/>
                    <a:pt x="1921" y="804"/>
                  </a:cubicBezTo>
                  <a:cubicBezTo>
                    <a:pt x="1922" y="805"/>
                    <a:pt x="1924" y="805"/>
                    <a:pt x="1924" y="806"/>
                  </a:cubicBezTo>
                  <a:cubicBezTo>
                    <a:pt x="1922" y="806"/>
                    <a:pt x="1922" y="806"/>
                    <a:pt x="1920" y="805"/>
                  </a:cubicBezTo>
                  <a:cubicBezTo>
                    <a:pt x="1920" y="805"/>
                    <a:pt x="1920" y="805"/>
                    <a:pt x="1920" y="804"/>
                  </a:cubicBezTo>
                  <a:cubicBezTo>
                    <a:pt x="1918" y="804"/>
                    <a:pt x="1917" y="804"/>
                    <a:pt x="1915" y="803"/>
                  </a:cubicBezTo>
                  <a:cubicBezTo>
                    <a:pt x="1915" y="803"/>
                    <a:pt x="1914" y="804"/>
                    <a:pt x="1914" y="802"/>
                  </a:cubicBezTo>
                  <a:cubicBezTo>
                    <a:pt x="1914" y="802"/>
                    <a:pt x="1914" y="802"/>
                    <a:pt x="1914" y="802"/>
                  </a:cubicBezTo>
                  <a:cubicBezTo>
                    <a:pt x="1914" y="801"/>
                    <a:pt x="1914" y="801"/>
                    <a:pt x="1913" y="802"/>
                  </a:cubicBezTo>
                  <a:cubicBezTo>
                    <a:pt x="1913" y="802"/>
                    <a:pt x="1912" y="803"/>
                    <a:pt x="1912" y="804"/>
                  </a:cubicBezTo>
                  <a:cubicBezTo>
                    <a:pt x="1911" y="805"/>
                    <a:pt x="1911" y="805"/>
                    <a:pt x="1911" y="805"/>
                  </a:cubicBezTo>
                  <a:cubicBezTo>
                    <a:pt x="1911" y="807"/>
                    <a:pt x="1911" y="808"/>
                    <a:pt x="1910" y="810"/>
                  </a:cubicBezTo>
                  <a:cubicBezTo>
                    <a:pt x="1909" y="811"/>
                    <a:pt x="1908" y="812"/>
                    <a:pt x="1908" y="813"/>
                  </a:cubicBezTo>
                  <a:cubicBezTo>
                    <a:pt x="1907" y="814"/>
                    <a:pt x="1907" y="817"/>
                    <a:pt x="1906" y="818"/>
                  </a:cubicBezTo>
                  <a:cubicBezTo>
                    <a:pt x="1905" y="819"/>
                    <a:pt x="1903" y="818"/>
                    <a:pt x="1903" y="816"/>
                  </a:cubicBezTo>
                  <a:cubicBezTo>
                    <a:pt x="1903" y="819"/>
                    <a:pt x="1901" y="818"/>
                    <a:pt x="1901" y="816"/>
                  </a:cubicBezTo>
                  <a:cubicBezTo>
                    <a:pt x="1901" y="815"/>
                    <a:pt x="1904" y="813"/>
                    <a:pt x="1905" y="812"/>
                  </a:cubicBezTo>
                  <a:cubicBezTo>
                    <a:pt x="1904" y="812"/>
                    <a:pt x="1904" y="813"/>
                    <a:pt x="1903" y="813"/>
                  </a:cubicBezTo>
                  <a:cubicBezTo>
                    <a:pt x="1900" y="815"/>
                    <a:pt x="1895" y="818"/>
                    <a:pt x="1894" y="820"/>
                  </a:cubicBezTo>
                  <a:cubicBezTo>
                    <a:pt x="1894" y="820"/>
                    <a:pt x="1895" y="820"/>
                    <a:pt x="1896" y="820"/>
                  </a:cubicBezTo>
                  <a:cubicBezTo>
                    <a:pt x="1899" y="820"/>
                    <a:pt x="1902" y="819"/>
                    <a:pt x="1905" y="819"/>
                  </a:cubicBezTo>
                  <a:cubicBezTo>
                    <a:pt x="1906" y="819"/>
                    <a:pt x="1906" y="819"/>
                    <a:pt x="1906" y="819"/>
                  </a:cubicBezTo>
                  <a:cubicBezTo>
                    <a:pt x="1908" y="819"/>
                    <a:pt x="1909" y="819"/>
                    <a:pt x="1911" y="820"/>
                  </a:cubicBezTo>
                  <a:cubicBezTo>
                    <a:pt x="1913" y="820"/>
                    <a:pt x="1914" y="820"/>
                    <a:pt x="1915" y="819"/>
                  </a:cubicBezTo>
                  <a:cubicBezTo>
                    <a:pt x="1915" y="819"/>
                    <a:pt x="1916" y="819"/>
                    <a:pt x="1916" y="819"/>
                  </a:cubicBezTo>
                  <a:cubicBezTo>
                    <a:pt x="1915" y="820"/>
                    <a:pt x="1914" y="821"/>
                    <a:pt x="1913" y="821"/>
                  </a:cubicBezTo>
                  <a:cubicBezTo>
                    <a:pt x="1912" y="822"/>
                    <a:pt x="1910" y="823"/>
                    <a:pt x="1909" y="823"/>
                  </a:cubicBezTo>
                  <a:cubicBezTo>
                    <a:pt x="1910" y="823"/>
                    <a:pt x="1910" y="822"/>
                    <a:pt x="1910" y="822"/>
                  </a:cubicBezTo>
                  <a:cubicBezTo>
                    <a:pt x="1906" y="824"/>
                    <a:pt x="1903" y="829"/>
                    <a:pt x="1899" y="831"/>
                  </a:cubicBezTo>
                  <a:cubicBezTo>
                    <a:pt x="1897" y="833"/>
                    <a:pt x="1895" y="834"/>
                    <a:pt x="1893" y="836"/>
                  </a:cubicBezTo>
                  <a:cubicBezTo>
                    <a:pt x="1891" y="837"/>
                    <a:pt x="1891" y="837"/>
                    <a:pt x="1891" y="839"/>
                  </a:cubicBezTo>
                  <a:cubicBezTo>
                    <a:pt x="1891" y="840"/>
                    <a:pt x="1892" y="841"/>
                    <a:pt x="1892" y="842"/>
                  </a:cubicBezTo>
                  <a:cubicBezTo>
                    <a:pt x="1892" y="842"/>
                    <a:pt x="1893" y="843"/>
                    <a:pt x="1893" y="843"/>
                  </a:cubicBezTo>
                  <a:cubicBezTo>
                    <a:pt x="1893" y="844"/>
                    <a:pt x="1892" y="844"/>
                    <a:pt x="1893" y="845"/>
                  </a:cubicBezTo>
                  <a:cubicBezTo>
                    <a:pt x="1893" y="846"/>
                    <a:pt x="1894" y="847"/>
                    <a:pt x="1896" y="847"/>
                  </a:cubicBezTo>
                  <a:cubicBezTo>
                    <a:pt x="1899" y="848"/>
                    <a:pt x="1902" y="847"/>
                    <a:pt x="1905" y="847"/>
                  </a:cubicBezTo>
                  <a:cubicBezTo>
                    <a:pt x="1906" y="846"/>
                    <a:pt x="1907" y="846"/>
                    <a:pt x="1908" y="846"/>
                  </a:cubicBezTo>
                  <a:cubicBezTo>
                    <a:pt x="1910" y="846"/>
                    <a:pt x="1912" y="846"/>
                    <a:pt x="1914" y="845"/>
                  </a:cubicBezTo>
                  <a:cubicBezTo>
                    <a:pt x="1915" y="844"/>
                    <a:pt x="1914" y="842"/>
                    <a:pt x="1916" y="842"/>
                  </a:cubicBezTo>
                  <a:cubicBezTo>
                    <a:pt x="1916" y="843"/>
                    <a:pt x="1915" y="844"/>
                    <a:pt x="1915" y="845"/>
                  </a:cubicBezTo>
                  <a:cubicBezTo>
                    <a:pt x="1915" y="845"/>
                    <a:pt x="1916" y="845"/>
                    <a:pt x="1916" y="845"/>
                  </a:cubicBezTo>
                  <a:cubicBezTo>
                    <a:pt x="1919" y="845"/>
                    <a:pt x="1922" y="844"/>
                    <a:pt x="1925" y="844"/>
                  </a:cubicBezTo>
                  <a:cubicBezTo>
                    <a:pt x="1925" y="844"/>
                    <a:pt x="1925" y="844"/>
                    <a:pt x="1926" y="844"/>
                  </a:cubicBezTo>
                  <a:cubicBezTo>
                    <a:pt x="1928" y="845"/>
                    <a:pt x="1931" y="845"/>
                    <a:pt x="1934" y="846"/>
                  </a:cubicBezTo>
                  <a:cubicBezTo>
                    <a:pt x="1934" y="846"/>
                    <a:pt x="1935" y="846"/>
                    <a:pt x="1936" y="846"/>
                  </a:cubicBezTo>
                  <a:cubicBezTo>
                    <a:pt x="1938" y="846"/>
                    <a:pt x="1940" y="846"/>
                    <a:pt x="1942" y="846"/>
                  </a:cubicBezTo>
                  <a:cubicBezTo>
                    <a:pt x="1943" y="846"/>
                    <a:pt x="1944" y="846"/>
                    <a:pt x="1945" y="847"/>
                  </a:cubicBezTo>
                  <a:cubicBezTo>
                    <a:pt x="1946" y="847"/>
                    <a:pt x="1947" y="848"/>
                    <a:pt x="1949" y="848"/>
                  </a:cubicBezTo>
                  <a:cubicBezTo>
                    <a:pt x="1950" y="849"/>
                    <a:pt x="1952" y="849"/>
                    <a:pt x="1953" y="848"/>
                  </a:cubicBezTo>
                  <a:cubicBezTo>
                    <a:pt x="1952" y="847"/>
                    <a:pt x="1952" y="847"/>
                    <a:pt x="1952" y="846"/>
                  </a:cubicBezTo>
                  <a:close/>
                  <a:moveTo>
                    <a:pt x="220" y="115"/>
                  </a:moveTo>
                  <a:cubicBezTo>
                    <a:pt x="221" y="115"/>
                    <a:pt x="224" y="112"/>
                    <a:pt x="224" y="111"/>
                  </a:cubicBezTo>
                  <a:cubicBezTo>
                    <a:pt x="224" y="112"/>
                    <a:pt x="221" y="115"/>
                    <a:pt x="220" y="115"/>
                  </a:cubicBezTo>
                  <a:close/>
                  <a:moveTo>
                    <a:pt x="246" y="651"/>
                  </a:moveTo>
                  <a:cubicBezTo>
                    <a:pt x="247" y="651"/>
                    <a:pt x="247" y="651"/>
                    <a:pt x="247" y="651"/>
                  </a:cubicBezTo>
                  <a:cubicBezTo>
                    <a:pt x="247" y="651"/>
                    <a:pt x="247" y="651"/>
                    <a:pt x="247" y="651"/>
                  </a:cubicBezTo>
                  <a:cubicBezTo>
                    <a:pt x="247" y="651"/>
                    <a:pt x="247" y="652"/>
                    <a:pt x="247" y="652"/>
                  </a:cubicBezTo>
                  <a:cubicBezTo>
                    <a:pt x="247" y="652"/>
                    <a:pt x="247" y="652"/>
                    <a:pt x="246" y="651"/>
                  </a:cubicBezTo>
                  <a:close/>
                  <a:moveTo>
                    <a:pt x="276" y="678"/>
                  </a:moveTo>
                  <a:cubicBezTo>
                    <a:pt x="276" y="678"/>
                    <a:pt x="276" y="679"/>
                    <a:pt x="277" y="679"/>
                  </a:cubicBezTo>
                  <a:cubicBezTo>
                    <a:pt x="277" y="679"/>
                    <a:pt x="277" y="679"/>
                    <a:pt x="277" y="679"/>
                  </a:cubicBezTo>
                  <a:cubicBezTo>
                    <a:pt x="277" y="679"/>
                    <a:pt x="277" y="679"/>
                    <a:pt x="277" y="679"/>
                  </a:cubicBezTo>
                  <a:cubicBezTo>
                    <a:pt x="277" y="679"/>
                    <a:pt x="277" y="679"/>
                    <a:pt x="277" y="679"/>
                  </a:cubicBezTo>
                  <a:cubicBezTo>
                    <a:pt x="277" y="679"/>
                    <a:pt x="277" y="679"/>
                    <a:pt x="277" y="679"/>
                  </a:cubicBezTo>
                  <a:cubicBezTo>
                    <a:pt x="276" y="679"/>
                    <a:pt x="276" y="678"/>
                    <a:pt x="276" y="678"/>
                  </a:cubicBezTo>
                  <a:close/>
                  <a:moveTo>
                    <a:pt x="287" y="695"/>
                  </a:moveTo>
                  <a:cubicBezTo>
                    <a:pt x="287" y="695"/>
                    <a:pt x="286" y="694"/>
                    <a:pt x="286" y="694"/>
                  </a:cubicBezTo>
                  <a:cubicBezTo>
                    <a:pt x="286" y="694"/>
                    <a:pt x="286" y="694"/>
                    <a:pt x="286" y="694"/>
                  </a:cubicBezTo>
                  <a:cubicBezTo>
                    <a:pt x="286" y="694"/>
                    <a:pt x="286" y="694"/>
                    <a:pt x="285" y="694"/>
                  </a:cubicBezTo>
                  <a:cubicBezTo>
                    <a:pt x="285" y="694"/>
                    <a:pt x="285" y="694"/>
                    <a:pt x="285" y="694"/>
                  </a:cubicBezTo>
                  <a:cubicBezTo>
                    <a:pt x="285" y="694"/>
                    <a:pt x="285" y="694"/>
                    <a:pt x="285" y="694"/>
                  </a:cubicBezTo>
                  <a:cubicBezTo>
                    <a:pt x="286" y="693"/>
                    <a:pt x="286" y="692"/>
                    <a:pt x="286" y="690"/>
                  </a:cubicBezTo>
                  <a:cubicBezTo>
                    <a:pt x="287" y="690"/>
                    <a:pt x="287" y="691"/>
                    <a:pt x="287" y="691"/>
                  </a:cubicBezTo>
                  <a:cubicBezTo>
                    <a:pt x="287" y="691"/>
                    <a:pt x="287" y="691"/>
                    <a:pt x="287" y="691"/>
                  </a:cubicBezTo>
                  <a:cubicBezTo>
                    <a:pt x="287" y="691"/>
                    <a:pt x="287" y="692"/>
                    <a:pt x="287" y="692"/>
                  </a:cubicBezTo>
                  <a:cubicBezTo>
                    <a:pt x="287" y="693"/>
                    <a:pt x="287" y="693"/>
                    <a:pt x="287" y="695"/>
                  </a:cubicBezTo>
                  <a:cubicBezTo>
                    <a:pt x="287" y="695"/>
                    <a:pt x="287" y="695"/>
                    <a:pt x="287" y="695"/>
                  </a:cubicBezTo>
                  <a:cubicBezTo>
                    <a:pt x="287" y="695"/>
                    <a:pt x="287" y="696"/>
                    <a:pt x="287" y="696"/>
                  </a:cubicBezTo>
                  <a:cubicBezTo>
                    <a:pt x="287" y="696"/>
                    <a:pt x="287" y="696"/>
                    <a:pt x="287" y="695"/>
                  </a:cubicBezTo>
                  <a:close/>
                  <a:moveTo>
                    <a:pt x="297" y="712"/>
                  </a:moveTo>
                  <a:cubicBezTo>
                    <a:pt x="297" y="712"/>
                    <a:pt x="297" y="712"/>
                    <a:pt x="297" y="712"/>
                  </a:cubicBezTo>
                  <a:cubicBezTo>
                    <a:pt x="297" y="712"/>
                    <a:pt x="297" y="712"/>
                    <a:pt x="297" y="712"/>
                  </a:cubicBezTo>
                  <a:cubicBezTo>
                    <a:pt x="296" y="712"/>
                    <a:pt x="296" y="713"/>
                    <a:pt x="295" y="713"/>
                  </a:cubicBezTo>
                  <a:cubicBezTo>
                    <a:pt x="295" y="713"/>
                    <a:pt x="296" y="712"/>
                    <a:pt x="296" y="712"/>
                  </a:cubicBezTo>
                  <a:cubicBezTo>
                    <a:pt x="298" y="710"/>
                    <a:pt x="299" y="710"/>
                    <a:pt x="301" y="708"/>
                  </a:cubicBezTo>
                  <a:cubicBezTo>
                    <a:pt x="301" y="710"/>
                    <a:pt x="298" y="711"/>
                    <a:pt x="297" y="712"/>
                  </a:cubicBezTo>
                  <a:close/>
                  <a:moveTo>
                    <a:pt x="527" y="249"/>
                  </a:moveTo>
                  <a:cubicBezTo>
                    <a:pt x="527" y="249"/>
                    <a:pt x="526" y="249"/>
                    <a:pt x="526" y="250"/>
                  </a:cubicBezTo>
                  <a:cubicBezTo>
                    <a:pt x="526" y="252"/>
                    <a:pt x="525" y="252"/>
                    <a:pt x="527" y="253"/>
                  </a:cubicBezTo>
                  <a:cubicBezTo>
                    <a:pt x="530" y="254"/>
                    <a:pt x="533" y="251"/>
                    <a:pt x="535" y="252"/>
                  </a:cubicBezTo>
                  <a:cubicBezTo>
                    <a:pt x="537" y="253"/>
                    <a:pt x="535" y="256"/>
                    <a:pt x="535" y="256"/>
                  </a:cubicBezTo>
                  <a:cubicBezTo>
                    <a:pt x="534" y="256"/>
                    <a:pt x="532" y="256"/>
                    <a:pt x="531" y="256"/>
                  </a:cubicBezTo>
                  <a:cubicBezTo>
                    <a:pt x="531" y="256"/>
                    <a:pt x="531" y="257"/>
                    <a:pt x="530" y="258"/>
                  </a:cubicBezTo>
                  <a:cubicBezTo>
                    <a:pt x="529" y="258"/>
                    <a:pt x="528" y="258"/>
                    <a:pt x="527" y="258"/>
                  </a:cubicBezTo>
                  <a:cubicBezTo>
                    <a:pt x="526" y="258"/>
                    <a:pt x="525" y="258"/>
                    <a:pt x="524" y="258"/>
                  </a:cubicBezTo>
                  <a:cubicBezTo>
                    <a:pt x="524" y="258"/>
                    <a:pt x="523" y="258"/>
                    <a:pt x="522" y="258"/>
                  </a:cubicBezTo>
                  <a:cubicBezTo>
                    <a:pt x="521" y="258"/>
                    <a:pt x="521" y="258"/>
                    <a:pt x="520" y="258"/>
                  </a:cubicBezTo>
                  <a:cubicBezTo>
                    <a:pt x="519" y="258"/>
                    <a:pt x="520" y="260"/>
                    <a:pt x="518" y="260"/>
                  </a:cubicBezTo>
                  <a:cubicBezTo>
                    <a:pt x="517" y="260"/>
                    <a:pt x="516" y="259"/>
                    <a:pt x="516" y="259"/>
                  </a:cubicBezTo>
                  <a:cubicBezTo>
                    <a:pt x="516" y="259"/>
                    <a:pt x="514" y="257"/>
                    <a:pt x="514" y="257"/>
                  </a:cubicBezTo>
                  <a:cubicBezTo>
                    <a:pt x="513" y="255"/>
                    <a:pt x="511" y="254"/>
                    <a:pt x="509" y="254"/>
                  </a:cubicBezTo>
                  <a:cubicBezTo>
                    <a:pt x="506" y="253"/>
                    <a:pt x="502" y="254"/>
                    <a:pt x="499" y="254"/>
                  </a:cubicBezTo>
                  <a:cubicBezTo>
                    <a:pt x="497" y="254"/>
                    <a:pt x="495" y="253"/>
                    <a:pt x="493" y="254"/>
                  </a:cubicBezTo>
                  <a:cubicBezTo>
                    <a:pt x="489" y="255"/>
                    <a:pt x="491" y="256"/>
                    <a:pt x="494" y="257"/>
                  </a:cubicBezTo>
                  <a:cubicBezTo>
                    <a:pt x="492" y="258"/>
                    <a:pt x="489" y="258"/>
                    <a:pt x="488" y="259"/>
                  </a:cubicBezTo>
                  <a:cubicBezTo>
                    <a:pt x="487" y="261"/>
                    <a:pt x="484" y="260"/>
                    <a:pt x="482" y="260"/>
                  </a:cubicBezTo>
                  <a:cubicBezTo>
                    <a:pt x="485" y="261"/>
                    <a:pt x="486" y="263"/>
                    <a:pt x="488" y="265"/>
                  </a:cubicBezTo>
                  <a:cubicBezTo>
                    <a:pt x="489" y="265"/>
                    <a:pt x="491" y="265"/>
                    <a:pt x="492" y="266"/>
                  </a:cubicBezTo>
                  <a:cubicBezTo>
                    <a:pt x="494" y="267"/>
                    <a:pt x="496" y="269"/>
                    <a:pt x="496" y="271"/>
                  </a:cubicBezTo>
                  <a:cubicBezTo>
                    <a:pt x="494" y="271"/>
                    <a:pt x="492" y="271"/>
                    <a:pt x="490" y="271"/>
                  </a:cubicBezTo>
                  <a:cubicBezTo>
                    <a:pt x="488" y="271"/>
                    <a:pt x="484" y="272"/>
                    <a:pt x="484" y="274"/>
                  </a:cubicBezTo>
                  <a:cubicBezTo>
                    <a:pt x="484" y="274"/>
                    <a:pt x="484" y="274"/>
                    <a:pt x="484" y="274"/>
                  </a:cubicBezTo>
                  <a:cubicBezTo>
                    <a:pt x="480" y="277"/>
                    <a:pt x="475" y="280"/>
                    <a:pt x="470" y="283"/>
                  </a:cubicBezTo>
                  <a:cubicBezTo>
                    <a:pt x="467" y="284"/>
                    <a:pt x="458" y="292"/>
                    <a:pt x="455" y="291"/>
                  </a:cubicBezTo>
                  <a:cubicBezTo>
                    <a:pt x="453" y="290"/>
                    <a:pt x="449" y="289"/>
                    <a:pt x="450" y="286"/>
                  </a:cubicBezTo>
                  <a:cubicBezTo>
                    <a:pt x="450" y="284"/>
                    <a:pt x="453" y="284"/>
                    <a:pt x="454" y="285"/>
                  </a:cubicBezTo>
                  <a:cubicBezTo>
                    <a:pt x="454" y="284"/>
                    <a:pt x="458" y="284"/>
                    <a:pt x="460" y="284"/>
                  </a:cubicBezTo>
                  <a:cubicBezTo>
                    <a:pt x="463" y="282"/>
                    <a:pt x="460" y="282"/>
                    <a:pt x="461" y="280"/>
                  </a:cubicBezTo>
                  <a:cubicBezTo>
                    <a:pt x="462" y="279"/>
                    <a:pt x="465" y="278"/>
                    <a:pt x="466" y="277"/>
                  </a:cubicBezTo>
                  <a:cubicBezTo>
                    <a:pt x="468" y="276"/>
                    <a:pt x="470" y="275"/>
                    <a:pt x="471" y="274"/>
                  </a:cubicBezTo>
                  <a:cubicBezTo>
                    <a:pt x="473" y="273"/>
                    <a:pt x="475" y="270"/>
                    <a:pt x="475" y="269"/>
                  </a:cubicBezTo>
                  <a:cubicBezTo>
                    <a:pt x="476" y="267"/>
                    <a:pt x="476" y="265"/>
                    <a:pt x="475" y="263"/>
                  </a:cubicBezTo>
                  <a:cubicBezTo>
                    <a:pt x="475" y="260"/>
                    <a:pt x="470" y="261"/>
                    <a:pt x="468" y="261"/>
                  </a:cubicBezTo>
                  <a:cubicBezTo>
                    <a:pt x="464" y="260"/>
                    <a:pt x="460" y="264"/>
                    <a:pt x="457" y="266"/>
                  </a:cubicBezTo>
                  <a:cubicBezTo>
                    <a:pt x="455" y="267"/>
                    <a:pt x="453" y="267"/>
                    <a:pt x="451" y="268"/>
                  </a:cubicBezTo>
                  <a:cubicBezTo>
                    <a:pt x="447" y="270"/>
                    <a:pt x="449" y="270"/>
                    <a:pt x="449" y="272"/>
                  </a:cubicBezTo>
                  <a:cubicBezTo>
                    <a:pt x="449" y="273"/>
                    <a:pt x="447" y="273"/>
                    <a:pt x="447" y="274"/>
                  </a:cubicBezTo>
                  <a:cubicBezTo>
                    <a:pt x="447" y="275"/>
                    <a:pt x="448" y="275"/>
                    <a:pt x="447" y="276"/>
                  </a:cubicBezTo>
                  <a:cubicBezTo>
                    <a:pt x="447" y="279"/>
                    <a:pt x="444" y="281"/>
                    <a:pt x="441" y="283"/>
                  </a:cubicBezTo>
                  <a:cubicBezTo>
                    <a:pt x="437" y="286"/>
                    <a:pt x="436" y="285"/>
                    <a:pt x="432" y="284"/>
                  </a:cubicBezTo>
                  <a:cubicBezTo>
                    <a:pt x="430" y="283"/>
                    <a:pt x="428" y="283"/>
                    <a:pt x="426" y="283"/>
                  </a:cubicBezTo>
                  <a:cubicBezTo>
                    <a:pt x="423" y="283"/>
                    <a:pt x="404" y="281"/>
                    <a:pt x="403" y="277"/>
                  </a:cubicBezTo>
                  <a:cubicBezTo>
                    <a:pt x="403" y="275"/>
                    <a:pt x="413" y="276"/>
                    <a:pt x="415" y="275"/>
                  </a:cubicBezTo>
                  <a:cubicBezTo>
                    <a:pt x="416" y="275"/>
                    <a:pt x="419" y="273"/>
                    <a:pt x="420" y="272"/>
                  </a:cubicBezTo>
                  <a:cubicBezTo>
                    <a:pt x="422" y="269"/>
                    <a:pt x="418" y="268"/>
                    <a:pt x="416" y="265"/>
                  </a:cubicBezTo>
                  <a:cubicBezTo>
                    <a:pt x="420" y="266"/>
                    <a:pt x="419" y="264"/>
                    <a:pt x="421" y="262"/>
                  </a:cubicBezTo>
                  <a:cubicBezTo>
                    <a:pt x="422" y="261"/>
                    <a:pt x="425" y="261"/>
                    <a:pt x="427" y="261"/>
                  </a:cubicBezTo>
                  <a:cubicBezTo>
                    <a:pt x="428" y="260"/>
                    <a:pt x="432" y="259"/>
                    <a:pt x="432" y="257"/>
                  </a:cubicBezTo>
                  <a:cubicBezTo>
                    <a:pt x="432" y="255"/>
                    <a:pt x="422" y="249"/>
                    <a:pt x="420" y="247"/>
                  </a:cubicBezTo>
                  <a:cubicBezTo>
                    <a:pt x="425" y="246"/>
                    <a:pt x="429" y="245"/>
                    <a:pt x="433" y="246"/>
                  </a:cubicBezTo>
                  <a:cubicBezTo>
                    <a:pt x="438" y="246"/>
                    <a:pt x="441" y="249"/>
                    <a:pt x="446" y="248"/>
                  </a:cubicBezTo>
                  <a:cubicBezTo>
                    <a:pt x="450" y="248"/>
                    <a:pt x="460" y="245"/>
                    <a:pt x="453" y="241"/>
                  </a:cubicBezTo>
                  <a:cubicBezTo>
                    <a:pt x="445" y="238"/>
                    <a:pt x="439" y="236"/>
                    <a:pt x="430" y="236"/>
                  </a:cubicBezTo>
                  <a:cubicBezTo>
                    <a:pt x="426" y="236"/>
                    <a:pt x="420" y="235"/>
                    <a:pt x="416" y="236"/>
                  </a:cubicBezTo>
                  <a:cubicBezTo>
                    <a:pt x="411" y="237"/>
                    <a:pt x="416" y="237"/>
                    <a:pt x="416" y="239"/>
                  </a:cubicBezTo>
                  <a:cubicBezTo>
                    <a:pt x="416" y="242"/>
                    <a:pt x="409" y="239"/>
                    <a:pt x="407" y="239"/>
                  </a:cubicBezTo>
                  <a:cubicBezTo>
                    <a:pt x="405" y="239"/>
                    <a:pt x="403" y="240"/>
                    <a:pt x="401" y="240"/>
                  </a:cubicBezTo>
                  <a:cubicBezTo>
                    <a:pt x="397" y="241"/>
                    <a:pt x="393" y="240"/>
                    <a:pt x="389" y="239"/>
                  </a:cubicBezTo>
                  <a:cubicBezTo>
                    <a:pt x="386" y="239"/>
                    <a:pt x="384" y="239"/>
                    <a:pt x="381" y="240"/>
                  </a:cubicBezTo>
                  <a:cubicBezTo>
                    <a:pt x="380" y="240"/>
                    <a:pt x="378" y="239"/>
                    <a:pt x="378" y="240"/>
                  </a:cubicBezTo>
                  <a:cubicBezTo>
                    <a:pt x="377" y="242"/>
                    <a:pt x="379" y="241"/>
                    <a:pt x="379" y="242"/>
                  </a:cubicBezTo>
                  <a:cubicBezTo>
                    <a:pt x="378" y="245"/>
                    <a:pt x="377" y="243"/>
                    <a:pt x="376" y="244"/>
                  </a:cubicBezTo>
                  <a:cubicBezTo>
                    <a:pt x="374" y="244"/>
                    <a:pt x="374" y="244"/>
                    <a:pt x="373" y="246"/>
                  </a:cubicBezTo>
                  <a:cubicBezTo>
                    <a:pt x="372" y="248"/>
                    <a:pt x="374" y="249"/>
                    <a:pt x="371" y="248"/>
                  </a:cubicBezTo>
                  <a:cubicBezTo>
                    <a:pt x="371" y="248"/>
                    <a:pt x="370" y="246"/>
                    <a:pt x="370" y="246"/>
                  </a:cubicBezTo>
                  <a:cubicBezTo>
                    <a:pt x="368" y="244"/>
                    <a:pt x="366" y="241"/>
                    <a:pt x="366" y="239"/>
                  </a:cubicBezTo>
                  <a:cubicBezTo>
                    <a:pt x="366" y="237"/>
                    <a:pt x="368" y="234"/>
                    <a:pt x="370" y="234"/>
                  </a:cubicBezTo>
                  <a:cubicBezTo>
                    <a:pt x="370" y="234"/>
                    <a:pt x="371" y="236"/>
                    <a:pt x="372" y="236"/>
                  </a:cubicBezTo>
                  <a:cubicBezTo>
                    <a:pt x="373" y="236"/>
                    <a:pt x="374" y="234"/>
                    <a:pt x="375" y="234"/>
                  </a:cubicBezTo>
                  <a:cubicBezTo>
                    <a:pt x="377" y="234"/>
                    <a:pt x="379" y="236"/>
                    <a:pt x="381" y="235"/>
                  </a:cubicBezTo>
                  <a:cubicBezTo>
                    <a:pt x="383" y="235"/>
                    <a:pt x="383" y="232"/>
                    <a:pt x="386" y="232"/>
                  </a:cubicBezTo>
                  <a:cubicBezTo>
                    <a:pt x="388" y="231"/>
                    <a:pt x="390" y="234"/>
                    <a:pt x="392" y="233"/>
                  </a:cubicBezTo>
                  <a:cubicBezTo>
                    <a:pt x="394" y="233"/>
                    <a:pt x="395" y="231"/>
                    <a:pt x="396" y="231"/>
                  </a:cubicBezTo>
                  <a:cubicBezTo>
                    <a:pt x="398" y="230"/>
                    <a:pt x="400" y="230"/>
                    <a:pt x="401" y="230"/>
                  </a:cubicBezTo>
                  <a:cubicBezTo>
                    <a:pt x="404" y="229"/>
                    <a:pt x="410" y="228"/>
                    <a:pt x="411" y="225"/>
                  </a:cubicBezTo>
                  <a:cubicBezTo>
                    <a:pt x="411" y="228"/>
                    <a:pt x="412" y="228"/>
                    <a:pt x="414" y="227"/>
                  </a:cubicBezTo>
                  <a:cubicBezTo>
                    <a:pt x="415" y="227"/>
                    <a:pt x="415" y="228"/>
                    <a:pt x="416" y="227"/>
                  </a:cubicBezTo>
                  <a:cubicBezTo>
                    <a:pt x="416" y="227"/>
                    <a:pt x="416" y="225"/>
                    <a:pt x="417" y="225"/>
                  </a:cubicBezTo>
                  <a:cubicBezTo>
                    <a:pt x="420" y="223"/>
                    <a:pt x="424" y="227"/>
                    <a:pt x="426" y="223"/>
                  </a:cubicBezTo>
                  <a:cubicBezTo>
                    <a:pt x="427" y="224"/>
                    <a:pt x="427" y="222"/>
                    <a:pt x="428" y="223"/>
                  </a:cubicBezTo>
                  <a:cubicBezTo>
                    <a:pt x="429" y="223"/>
                    <a:pt x="429" y="224"/>
                    <a:pt x="431" y="224"/>
                  </a:cubicBezTo>
                  <a:cubicBezTo>
                    <a:pt x="431" y="224"/>
                    <a:pt x="433" y="223"/>
                    <a:pt x="434" y="223"/>
                  </a:cubicBezTo>
                  <a:cubicBezTo>
                    <a:pt x="435" y="222"/>
                    <a:pt x="436" y="222"/>
                    <a:pt x="437" y="222"/>
                  </a:cubicBezTo>
                  <a:cubicBezTo>
                    <a:pt x="439" y="221"/>
                    <a:pt x="441" y="220"/>
                    <a:pt x="443" y="219"/>
                  </a:cubicBezTo>
                  <a:cubicBezTo>
                    <a:pt x="445" y="219"/>
                    <a:pt x="448" y="219"/>
                    <a:pt x="450" y="218"/>
                  </a:cubicBezTo>
                  <a:cubicBezTo>
                    <a:pt x="450" y="218"/>
                    <a:pt x="450" y="216"/>
                    <a:pt x="451" y="216"/>
                  </a:cubicBezTo>
                  <a:cubicBezTo>
                    <a:pt x="451" y="216"/>
                    <a:pt x="452" y="216"/>
                    <a:pt x="452" y="216"/>
                  </a:cubicBezTo>
                  <a:cubicBezTo>
                    <a:pt x="453" y="215"/>
                    <a:pt x="454" y="215"/>
                    <a:pt x="455" y="215"/>
                  </a:cubicBezTo>
                  <a:cubicBezTo>
                    <a:pt x="458" y="212"/>
                    <a:pt x="457" y="213"/>
                    <a:pt x="461" y="213"/>
                  </a:cubicBezTo>
                  <a:cubicBezTo>
                    <a:pt x="465" y="213"/>
                    <a:pt x="470" y="210"/>
                    <a:pt x="474" y="209"/>
                  </a:cubicBezTo>
                  <a:cubicBezTo>
                    <a:pt x="476" y="209"/>
                    <a:pt x="478" y="208"/>
                    <a:pt x="480" y="207"/>
                  </a:cubicBezTo>
                  <a:cubicBezTo>
                    <a:pt x="484" y="206"/>
                    <a:pt x="484" y="206"/>
                    <a:pt x="484" y="203"/>
                  </a:cubicBezTo>
                  <a:cubicBezTo>
                    <a:pt x="484" y="204"/>
                    <a:pt x="484" y="205"/>
                    <a:pt x="484" y="205"/>
                  </a:cubicBezTo>
                  <a:cubicBezTo>
                    <a:pt x="484" y="208"/>
                    <a:pt x="505" y="211"/>
                    <a:pt x="509" y="212"/>
                  </a:cubicBezTo>
                  <a:cubicBezTo>
                    <a:pt x="506" y="213"/>
                    <a:pt x="503" y="213"/>
                    <a:pt x="500" y="215"/>
                  </a:cubicBezTo>
                  <a:cubicBezTo>
                    <a:pt x="498" y="215"/>
                    <a:pt x="497" y="217"/>
                    <a:pt x="495" y="217"/>
                  </a:cubicBezTo>
                  <a:cubicBezTo>
                    <a:pt x="494" y="218"/>
                    <a:pt x="492" y="217"/>
                    <a:pt x="492" y="218"/>
                  </a:cubicBezTo>
                  <a:cubicBezTo>
                    <a:pt x="490" y="218"/>
                    <a:pt x="489" y="219"/>
                    <a:pt x="487" y="220"/>
                  </a:cubicBezTo>
                  <a:cubicBezTo>
                    <a:pt x="486" y="220"/>
                    <a:pt x="485" y="220"/>
                    <a:pt x="483" y="221"/>
                  </a:cubicBezTo>
                  <a:cubicBezTo>
                    <a:pt x="482" y="222"/>
                    <a:pt x="481" y="224"/>
                    <a:pt x="480" y="224"/>
                  </a:cubicBezTo>
                  <a:cubicBezTo>
                    <a:pt x="477" y="225"/>
                    <a:pt x="474" y="228"/>
                    <a:pt x="478" y="228"/>
                  </a:cubicBezTo>
                  <a:cubicBezTo>
                    <a:pt x="477" y="229"/>
                    <a:pt x="476" y="230"/>
                    <a:pt x="475" y="231"/>
                  </a:cubicBezTo>
                  <a:cubicBezTo>
                    <a:pt x="476" y="231"/>
                    <a:pt x="478" y="231"/>
                    <a:pt x="479" y="231"/>
                  </a:cubicBezTo>
                  <a:cubicBezTo>
                    <a:pt x="481" y="231"/>
                    <a:pt x="481" y="230"/>
                    <a:pt x="483" y="231"/>
                  </a:cubicBezTo>
                  <a:cubicBezTo>
                    <a:pt x="486" y="232"/>
                    <a:pt x="486" y="233"/>
                    <a:pt x="489" y="233"/>
                  </a:cubicBezTo>
                  <a:cubicBezTo>
                    <a:pt x="491" y="233"/>
                    <a:pt x="491" y="231"/>
                    <a:pt x="493" y="233"/>
                  </a:cubicBezTo>
                  <a:cubicBezTo>
                    <a:pt x="492" y="232"/>
                    <a:pt x="491" y="233"/>
                    <a:pt x="490" y="234"/>
                  </a:cubicBezTo>
                  <a:cubicBezTo>
                    <a:pt x="492" y="234"/>
                    <a:pt x="494" y="234"/>
                    <a:pt x="496" y="234"/>
                  </a:cubicBezTo>
                  <a:cubicBezTo>
                    <a:pt x="496" y="234"/>
                    <a:pt x="495" y="233"/>
                    <a:pt x="495" y="233"/>
                  </a:cubicBezTo>
                  <a:cubicBezTo>
                    <a:pt x="501" y="232"/>
                    <a:pt x="506" y="235"/>
                    <a:pt x="512" y="234"/>
                  </a:cubicBezTo>
                  <a:cubicBezTo>
                    <a:pt x="514" y="233"/>
                    <a:pt x="517" y="233"/>
                    <a:pt x="520" y="232"/>
                  </a:cubicBezTo>
                  <a:cubicBezTo>
                    <a:pt x="523" y="231"/>
                    <a:pt x="525" y="230"/>
                    <a:pt x="527" y="227"/>
                  </a:cubicBezTo>
                  <a:cubicBezTo>
                    <a:pt x="526" y="228"/>
                    <a:pt x="525" y="228"/>
                    <a:pt x="525" y="229"/>
                  </a:cubicBezTo>
                  <a:cubicBezTo>
                    <a:pt x="528" y="223"/>
                    <a:pt x="533" y="221"/>
                    <a:pt x="540" y="220"/>
                  </a:cubicBezTo>
                  <a:cubicBezTo>
                    <a:pt x="540" y="222"/>
                    <a:pt x="539" y="222"/>
                    <a:pt x="537" y="224"/>
                  </a:cubicBezTo>
                  <a:cubicBezTo>
                    <a:pt x="537" y="224"/>
                    <a:pt x="536" y="226"/>
                    <a:pt x="536" y="226"/>
                  </a:cubicBezTo>
                  <a:cubicBezTo>
                    <a:pt x="535" y="227"/>
                    <a:pt x="533" y="228"/>
                    <a:pt x="534" y="230"/>
                  </a:cubicBezTo>
                  <a:cubicBezTo>
                    <a:pt x="537" y="229"/>
                    <a:pt x="540" y="228"/>
                    <a:pt x="543" y="229"/>
                  </a:cubicBezTo>
                  <a:cubicBezTo>
                    <a:pt x="540" y="229"/>
                    <a:pt x="541" y="233"/>
                    <a:pt x="539" y="236"/>
                  </a:cubicBezTo>
                  <a:cubicBezTo>
                    <a:pt x="538" y="238"/>
                    <a:pt x="536" y="240"/>
                    <a:pt x="536" y="242"/>
                  </a:cubicBezTo>
                  <a:cubicBezTo>
                    <a:pt x="536" y="246"/>
                    <a:pt x="534" y="243"/>
                    <a:pt x="531" y="244"/>
                  </a:cubicBezTo>
                  <a:cubicBezTo>
                    <a:pt x="528" y="245"/>
                    <a:pt x="528" y="246"/>
                    <a:pt x="527" y="248"/>
                  </a:cubicBezTo>
                  <a:cubicBezTo>
                    <a:pt x="527" y="248"/>
                    <a:pt x="528" y="249"/>
                    <a:pt x="527" y="249"/>
                  </a:cubicBezTo>
                  <a:close/>
                  <a:moveTo>
                    <a:pt x="733" y="373"/>
                  </a:moveTo>
                  <a:cubicBezTo>
                    <a:pt x="732" y="369"/>
                    <a:pt x="734" y="369"/>
                    <a:pt x="730" y="367"/>
                  </a:cubicBezTo>
                  <a:cubicBezTo>
                    <a:pt x="728" y="367"/>
                    <a:pt x="726" y="367"/>
                    <a:pt x="724" y="366"/>
                  </a:cubicBezTo>
                  <a:cubicBezTo>
                    <a:pt x="719" y="365"/>
                    <a:pt x="716" y="364"/>
                    <a:pt x="711" y="364"/>
                  </a:cubicBezTo>
                  <a:cubicBezTo>
                    <a:pt x="709" y="364"/>
                    <a:pt x="707" y="364"/>
                    <a:pt x="705" y="364"/>
                  </a:cubicBezTo>
                  <a:cubicBezTo>
                    <a:pt x="701" y="364"/>
                    <a:pt x="698" y="365"/>
                    <a:pt x="694" y="367"/>
                  </a:cubicBezTo>
                  <a:cubicBezTo>
                    <a:pt x="688" y="370"/>
                    <a:pt x="679" y="372"/>
                    <a:pt x="678" y="381"/>
                  </a:cubicBezTo>
                  <a:cubicBezTo>
                    <a:pt x="683" y="378"/>
                    <a:pt x="689" y="372"/>
                    <a:pt x="695" y="370"/>
                  </a:cubicBezTo>
                  <a:cubicBezTo>
                    <a:pt x="696" y="370"/>
                    <a:pt x="705" y="370"/>
                    <a:pt x="705" y="370"/>
                  </a:cubicBezTo>
                  <a:cubicBezTo>
                    <a:pt x="706" y="367"/>
                    <a:pt x="703" y="365"/>
                    <a:pt x="707" y="366"/>
                  </a:cubicBezTo>
                  <a:cubicBezTo>
                    <a:pt x="710" y="366"/>
                    <a:pt x="711" y="366"/>
                    <a:pt x="714" y="366"/>
                  </a:cubicBezTo>
                  <a:cubicBezTo>
                    <a:pt x="717" y="366"/>
                    <a:pt x="719" y="367"/>
                    <a:pt x="722" y="368"/>
                  </a:cubicBezTo>
                  <a:cubicBezTo>
                    <a:pt x="717" y="368"/>
                    <a:pt x="713" y="367"/>
                    <a:pt x="708" y="367"/>
                  </a:cubicBezTo>
                  <a:cubicBezTo>
                    <a:pt x="712" y="372"/>
                    <a:pt x="719" y="367"/>
                    <a:pt x="724" y="370"/>
                  </a:cubicBezTo>
                  <a:cubicBezTo>
                    <a:pt x="718" y="372"/>
                    <a:pt x="712" y="372"/>
                    <a:pt x="707" y="374"/>
                  </a:cubicBezTo>
                  <a:cubicBezTo>
                    <a:pt x="704" y="375"/>
                    <a:pt x="702" y="374"/>
                    <a:pt x="699" y="374"/>
                  </a:cubicBezTo>
                  <a:cubicBezTo>
                    <a:pt x="703" y="377"/>
                    <a:pt x="705" y="374"/>
                    <a:pt x="709" y="374"/>
                  </a:cubicBezTo>
                  <a:cubicBezTo>
                    <a:pt x="707" y="376"/>
                    <a:pt x="706" y="376"/>
                    <a:pt x="705" y="377"/>
                  </a:cubicBezTo>
                  <a:cubicBezTo>
                    <a:pt x="706" y="377"/>
                    <a:pt x="707" y="376"/>
                    <a:pt x="708" y="375"/>
                  </a:cubicBezTo>
                  <a:cubicBezTo>
                    <a:pt x="710" y="375"/>
                    <a:pt x="711" y="376"/>
                    <a:pt x="711" y="376"/>
                  </a:cubicBezTo>
                  <a:cubicBezTo>
                    <a:pt x="714" y="376"/>
                    <a:pt x="717" y="373"/>
                    <a:pt x="720" y="374"/>
                  </a:cubicBezTo>
                  <a:cubicBezTo>
                    <a:pt x="714" y="378"/>
                    <a:pt x="709" y="382"/>
                    <a:pt x="702" y="380"/>
                  </a:cubicBezTo>
                  <a:cubicBezTo>
                    <a:pt x="702" y="380"/>
                    <a:pt x="695" y="379"/>
                    <a:pt x="694" y="380"/>
                  </a:cubicBezTo>
                  <a:cubicBezTo>
                    <a:pt x="691" y="380"/>
                    <a:pt x="687" y="385"/>
                    <a:pt x="685" y="387"/>
                  </a:cubicBezTo>
                  <a:cubicBezTo>
                    <a:pt x="682" y="389"/>
                    <a:pt x="679" y="391"/>
                    <a:pt x="677" y="393"/>
                  </a:cubicBezTo>
                  <a:cubicBezTo>
                    <a:pt x="677" y="392"/>
                    <a:pt x="682" y="391"/>
                    <a:pt x="682" y="391"/>
                  </a:cubicBezTo>
                  <a:cubicBezTo>
                    <a:pt x="683" y="392"/>
                    <a:pt x="680" y="394"/>
                    <a:pt x="679" y="395"/>
                  </a:cubicBezTo>
                  <a:cubicBezTo>
                    <a:pt x="676" y="398"/>
                    <a:pt x="671" y="402"/>
                    <a:pt x="667" y="404"/>
                  </a:cubicBezTo>
                  <a:cubicBezTo>
                    <a:pt x="665" y="406"/>
                    <a:pt x="665" y="408"/>
                    <a:pt x="663" y="409"/>
                  </a:cubicBezTo>
                  <a:cubicBezTo>
                    <a:pt x="657" y="412"/>
                    <a:pt x="652" y="413"/>
                    <a:pt x="645" y="412"/>
                  </a:cubicBezTo>
                  <a:cubicBezTo>
                    <a:pt x="642" y="412"/>
                    <a:pt x="639" y="413"/>
                    <a:pt x="636" y="416"/>
                  </a:cubicBezTo>
                  <a:cubicBezTo>
                    <a:pt x="634" y="418"/>
                    <a:pt x="632" y="419"/>
                    <a:pt x="631" y="422"/>
                  </a:cubicBezTo>
                  <a:cubicBezTo>
                    <a:pt x="630" y="422"/>
                    <a:pt x="632" y="423"/>
                    <a:pt x="630" y="424"/>
                  </a:cubicBezTo>
                  <a:cubicBezTo>
                    <a:pt x="634" y="422"/>
                    <a:pt x="632" y="429"/>
                    <a:pt x="629" y="429"/>
                  </a:cubicBezTo>
                  <a:cubicBezTo>
                    <a:pt x="621" y="430"/>
                    <a:pt x="613" y="432"/>
                    <a:pt x="605" y="433"/>
                  </a:cubicBezTo>
                  <a:cubicBezTo>
                    <a:pt x="599" y="434"/>
                    <a:pt x="592" y="436"/>
                    <a:pt x="586" y="435"/>
                  </a:cubicBezTo>
                  <a:cubicBezTo>
                    <a:pt x="582" y="434"/>
                    <a:pt x="579" y="435"/>
                    <a:pt x="575" y="434"/>
                  </a:cubicBezTo>
                  <a:cubicBezTo>
                    <a:pt x="573" y="433"/>
                    <a:pt x="572" y="433"/>
                    <a:pt x="570" y="432"/>
                  </a:cubicBezTo>
                  <a:cubicBezTo>
                    <a:pt x="568" y="431"/>
                    <a:pt x="567" y="430"/>
                    <a:pt x="566" y="429"/>
                  </a:cubicBezTo>
                  <a:cubicBezTo>
                    <a:pt x="561" y="427"/>
                    <a:pt x="555" y="429"/>
                    <a:pt x="550" y="427"/>
                  </a:cubicBezTo>
                  <a:cubicBezTo>
                    <a:pt x="548" y="426"/>
                    <a:pt x="545" y="424"/>
                    <a:pt x="544" y="423"/>
                  </a:cubicBezTo>
                  <a:cubicBezTo>
                    <a:pt x="543" y="422"/>
                    <a:pt x="543" y="421"/>
                    <a:pt x="542" y="420"/>
                  </a:cubicBezTo>
                  <a:cubicBezTo>
                    <a:pt x="541" y="420"/>
                    <a:pt x="539" y="419"/>
                    <a:pt x="538" y="419"/>
                  </a:cubicBezTo>
                  <a:cubicBezTo>
                    <a:pt x="540" y="419"/>
                    <a:pt x="542" y="419"/>
                    <a:pt x="544" y="420"/>
                  </a:cubicBezTo>
                  <a:cubicBezTo>
                    <a:pt x="549" y="420"/>
                    <a:pt x="556" y="422"/>
                    <a:pt x="561" y="422"/>
                  </a:cubicBezTo>
                  <a:cubicBezTo>
                    <a:pt x="555" y="415"/>
                    <a:pt x="568" y="419"/>
                    <a:pt x="571" y="420"/>
                  </a:cubicBezTo>
                  <a:cubicBezTo>
                    <a:pt x="574" y="420"/>
                    <a:pt x="578" y="422"/>
                    <a:pt x="579" y="420"/>
                  </a:cubicBezTo>
                  <a:cubicBezTo>
                    <a:pt x="582" y="418"/>
                    <a:pt x="579" y="417"/>
                    <a:pt x="576" y="416"/>
                  </a:cubicBezTo>
                  <a:cubicBezTo>
                    <a:pt x="577" y="416"/>
                    <a:pt x="578" y="415"/>
                    <a:pt x="579" y="415"/>
                  </a:cubicBezTo>
                  <a:cubicBezTo>
                    <a:pt x="579" y="414"/>
                    <a:pt x="581" y="415"/>
                    <a:pt x="582" y="415"/>
                  </a:cubicBezTo>
                  <a:cubicBezTo>
                    <a:pt x="585" y="414"/>
                    <a:pt x="583" y="413"/>
                    <a:pt x="583" y="411"/>
                  </a:cubicBezTo>
                  <a:cubicBezTo>
                    <a:pt x="583" y="410"/>
                    <a:pt x="585" y="408"/>
                    <a:pt x="585" y="408"/>
                  </a:cubicBezTo>
                  <a:cubicBezTo>
                    <a:pt x="586" y="406"/>
                    <a:pt x="587" y="406"/>
                    <a:pt x="588" y="405"/>
                  </a:cubicBezTo>
                  <a:cubicBezTo>
                    <a:pt x="586" y="403"/>
                    <a:pt x="589" y="402"/>
                    <a:pt x="591" y="402"/>
                  </a:cubicBezTo>
                  <a:cubicBezTo>
                    <a:pt x="593" y="402"/>
                    <a:pt x="595" y="402"/>
                    <a:pt x="598" y="403"/>
                  </a:cubicBezTo>
                  <a:cubicBezTo>
                    <a:pt x="600" y="404"/>
                    <a:pt x="606" y="402"/>
                    <a:pt x="608" y="400"/>
                  </a:cubicBezTo>
                  <a:cubicBezTo>
                    <a:pt x="608" y="400"/>
                    <a:pt x="607" y="400"/>
                    <a:pt x="607" y="399"/>
                  </a:cubicBezTo>
                  <a:cubicBezTo>
                    <a:pt x="610" y="399"/>
                    <a:pt x="608" y="399"/>
                    <a:pt x="608" y="398"/>
                  </a:cubicBezTo>
                  <a:cubicBezTo>
                    <a:pt x="608" y="395"/>
                    <a:pt x="609" y="397"/>
                    <a:pt x="606" y="395"/>
                  </a:cubicBezTo>
                  <a:cubicBezTo>
                    <a:pt x="606" y="395"/>
                    <a:pt x="605" y="394"/>
                    <a:pt x="605" y="393"/>
                  </a:cubicBezTo>
                  <a:cubicBezTo>
                    <a:pt x="604" y="392"/>
                    <a:pt x="602" y="392"/>
                    <a:pt x="601" y="391"/>
                  </a:cubicBezTo>
                  <a:cubicBezTo>
                    <a:pt x="598" y="389"/>
                    <a:pt x="600" y="388"/>
                    <a:pt x="598" y="386"/>
                  </a:cubicBezTo>
                  <a:cubicBezTo>
                    <a:pt x="595" y="384"/>
                    <a:pt x="591" y="387"/>
                    <a:pt x="595" y="383"/>
                  </a:cubicBezTo>
                  <a:cubicBezTo>
                    <a:pt x="592" y="382"/>
                    <a:pt x="594" y="380"/>
                    <a:pt x="594" y="378"/>
                  </a:cubicBezTo>
                  <a:cubicBezTo>
                    <a:pt x="594" y="377"/>
                    <a:pt x="595" y="377"/>
                    <a:pt x="594" y="376"/>
                  </a:cubicBezTo>
                  <a:cubicBezTo>
                    <a:pt x="592" y="376"/>
                    <a:pt x="591" y="377"/>
                    <a:pt x="590" y="377"/>
                  </a:cubicBezTo>
                  <a:cubicBezTo>
                    <a:pt x="588" y="377"/>
                    <a:pt x="585" y="377"/>
                    <a:pt x="584" y="376"/>
                  </a:cubicBezTo>
                  <a:cubicBezTo>
                    <a:pt x="584" y="376"/>
                    <a:pt x="583" y="374"/>
                    <a:pt x="583" y="374"/>
                  </a:cubicBezTo>
                  <a:cubicBezTo>
                    <a:pt x="583" y="375"/>
                    <a:pt x="581" y="372"/>
                    <a:pt x="582" y="372"/>
                  </a:cubicBezTo>
                  <a:cubicBezTo>
                    <a:pt x="581" y="371"/>
                    <a:pt x="576" y="370"/>
                    <a:pt x="576" y="368"/>
                  </a:cubicBezTo>
                  <a:cubicBezTo>
                    <a:pt x="576" y="366"/>
                    <a:pt x="579" y="366"/>
                    <a:pt x="580" y="367"/>
                  </a:cubicBezTo>
                  <a:cubicBezTo>
                    <a:pt x="582" y="368"/>
                    <a:pt x="584" y="370"/>
                    <a:pt x="586" y="370"/>
                  </a:cubicBezTo>
                  <a:cubicBezTo>
                    <a:pt x="588" y="371"/>
                    <a:pt x="590" y="371"/>
                    <a:pt x="592" y="372"/>
                  </a:cubicBezTo>
                  <a:cubicBezTo>
                    <a:pt x="595" y="372"/>
                    <a:pt x="595" y="373"/>
                    <a:pt x="597" y="375"/>
                  </a:cubicBezTo>
                  <a:cubicBezTo>
                    <a:pt x="598" y="377"/>
                    <a:pt x="600" y="376"/>
                    <a:pt x="602" y="377"/>
                  </a:cubicBezTo>
                  <a:cubicBezTo>
                    <a:pt x="606" y="378"/>
                    <a:pt x="608" y="382"/>
                    <a:pt x="612" y="381"/>
                  </a:cubicBezTo>
                  <a:cubicBezTo>
                    <a:pt x="613" y="380"/>
                    <a:pt x="616" y="379"/>
                    <a:pt x="617" y="379"/>
                  </a:cubicBezTo>
                  <a:cubicBezTo>
                    <a:pt x="619" y="379"/>
                    <a:pt x="619" y="383"/>
                    <a:pt x="621" y="384"/>
                  </a:cubicBezTo>
                  <a:cubicBezTo>
                    <a:pt x="621" y="384"/>
                    <a:pt x="623" y="384"/>
                    <a:pt x="623" y="384"/>
                  </a:cubicBezTo>
                  <a:cubicBezTo>
                    <a:pt x="624" y="385"/>
                    <a:pt x="625" y="385"/>
                    <a:pt x="625" y="386"/>
                  </a:cubicBezTo>
                  <a:cubicBezTo>
                    <a:pt x="626" y="386"/>
                    <a:pt x="626" y="387"/>
                    <a:pt x="627" y="388"/>
                  </a:cubicBezTo>
                  <a:cubicBezTo>
                    <a:pt x="628" y="389"/>
                    <a:pt x="629" y="388"/>
                    <a:pt x="630" y="389"/>
                  </a:cubicBezTo>
                  <a:cubicBezTo>
                    <a:pt x="631" y="390"/>
                    <a:pt x="631" y="390"/>
                    <a:pt x="633" y="391"/>
                  </a:cubicBezTo>
                  <a:cubicBezTo>
                    <a:pt x="633" y="392"/>
                    <a:pt x="635" y="393"/>
                    <a:pt x="635" y="393"/>
                  </a:cubicBezTo>
                  <a:cubicBezTo>
                    <a:pt x="636" y="393"/>
                    <a:pt x="637" y="393"/>
                    <a:pt x="638" y="393"/>
                  </a:cubicBezTo>
                  <a:cubicBezTo>
                    <a:pt x="638" y="393"/>
                    <a:pt x="639" y="394"/>
                    <a:pt x="639" y="394"/>
                  </a:cubicBezTo>
                  <a:cubicBezTo>
                    <a:pt x="641" y="394"/>
                    <a:pt x="642" y="393"/>
                    <a:pt x="644" y="393"/>
                  </a:cubicBezTo>
                  <a:cubicBezTo>
                    <a:pt x="645" y="393"/>
                    <a:pt x="645" y="394"/>
                    <a:pt x="646" y="393"/>
                  </a:cubicBezTo>
                  <a:cubicBezTo>
                    <a:pt x="647" y="393"/>
                    <a:pt x="647" y="392"/>
                    <a:pt x="648" y="392"/>
                  </a:cubicBezTo>
                  <a:cubicBezTo>
                    <a:pt x="649" y="391"/>
                    <a:pt x="649" y="392"/>
                    <a:pt x="651" y="393"/>
                  </a:cubicBezTo>
                  <a:cubicBezTo>
                    <a:pt x="651" y="393"/>
                    <a:pt x="652" y="392"/>
                    <a:pt x="653" y="392"/>
                  </a:cubicBezTo>
                  <a:cubicBezTo>
                    <a:pt x="655" y="391"/>
                    <a:pt x="658" y="392"/>
                    <a:pt x="660" y="391"/>
                  </a:cubicBezTo>
                  <a:cubicBezTo>
                    <a:pt x="663" y="390"/>
                    <a:pt x="666" y="387"/>
                    <a:pt x="668" y="385"/>
                  </a:cubicBezTo>
                  <a:cubicBezTo>
                    <a:pt x="670" y="384"/>
                    <a:pt x="671" y="383"/>
                    <a:pt x="672" y="382"/>
                  </a:cubicBezTo>
                  <a:cubicBezTo>
                    <a:pt x="673" y="381"/>
                    <a:pt x="676" y="381"/>
                    <a:pt x="677" y="380"/>
                  </a:cubicBezTo>
                  <a:cubicBezTo>
                    <a:pt x="678" y="379"/>
                    <a:pt x="678" y="377"/>
                    <a:pt x="679" y="375"/>
                  </a:cubicBezTo>
                  <a:cubicBezTo>
                    <a:pt x="680" y="373"/>
                    <a:pt x="681" y="373"/>
                    <a:pt x="682" y="371"/>
                  </a:cubicBezTo>
                  <a:cubicBezTo>
                    <a:pt x="685" y="365"/>
                    <a:pt x="694" y="362"/>
                    <a:pt x="700" y="361"/>
                  </a:cubicBezTo>
                  <a:cubicBezTo>
                    <a:pt x="707" y="359"/>
                    <a:pt x="715" y="360"/>
                    <a:pt x="722" y="361"/>
                  </a:cubicBezTo>
                  <a:cubicBezTo>
                    <a:pt x="724" y="361"/>
                    <a:pt x="725" y="362"/>
                    <a:pt x="727" y="362"/>
                  </a:cubicBezTo>
                  <a:cubicBezTo>
                    <a:pt x="729" y="363"/>
                    <a:pt x="731" y="363"/>
                    <a:pt x="733" y="363"/>
                  </a:cubicBezTo>
                  <a:cubicBezTo>
                    <a:pt x="736" y="363"/>
                    <a:pt x="739" y="366"/>
                    <a:pt x="742" y="365"/>
                  </a:cubicBezTo>
                  <a:cubicBezTo>
                    <a:pt x="739" y="368"/>
                    <a:pt x="736" y="370"/>
                    <a:pt x="733" y="373"/>
                  </a:cubicBezTo>
                  <a:close/>
                  <a:moveTo>
                    <a:pt x="988" y="663"/>
                  </a:moveTo>
                  <a:cubicBezTo>
                    <a:pt x="990" y="658"/>
                    <a:pt x="992" y="654"/>
                    <a:pt x="994" y="650"/>
                  </a:cubicBezTo>
                  <a:cubicBezTo>
                    <a:pt x="997" y="652"/>
                    <a:pt x="996" y="653"/>
                    <a:pt x="997" y="654"/>
                  </a:cubicBezTo>
                  <a:cubicBezTo>
                    <a:pt x="997" y="654"/>
                    <a:pt x="999" y="653"/>
                    <a:pt x="1000" y="654"/>
                  </a:cubicBezTo>
                  <a:cubicBezTo>
                    <a:pt x="997" y="657"/>
                    <a:pt x="992" y="656"/>
                    <a:pt x="991" y="659"/>
                  </a:cubicBezTo>
                  <a:cubicBezTo>
                    <a:pt x="991" y="660"/>
                    <a:pt x="991" y="661"/>
                    <a:pt x="991" y="662"/>
                  </a:cubicBezTo>
                  <a:cubicBezTo>
                    <a:pt x="991" y="663"/>
                    <a:pt x="988" y="664"/>
                    <a:pt x="992" y="665"/>
                  </a:cubicBezTo>
                  <a:cubicBezTo>
                    <a:pt x="993" y="665"/>
                    <a:pt x="993" y="665"/>
                    <a:pt x="995" y="664"/>
                  </a:cubicBezTo>
                  <a:cubicBezTo>
                    <a:pt x="995" y="663"/>
                    <a:pt x="996" y="663"/>
                    <a:pt x="997" y="662"/>
                  </a:cubicBezTo>
                  <a:cubicBezTo>
                    <a:pt x="998" y="662"/>
                    <a:pt x="998" y="663"/>
                    <a:pt x="999" y="663"/>
                  </a:cubicBezTo>
                  <a:cubicBezTo>
                    <a:pt x="1000" y="662"/>
                    <a:pt x="1000" y="661"/>
                    <a:pt x="1001" y="661"/>
                  </a:cubicBezTo>
                  <a:cubicBezTo>
                    <a:pt x="1003" y="661"/>
                    <a:pt x="998" y="664"/>
                    <a:pt x="997" y="664"/>
                  </a:cubicBezTo>
                  <a:cubicBezTo>
                    <a:pt x="995" y="665"/>
                    <a:pt x="996" y="664"/>
                    <a:pt x="996" y="666"/>
                  </a:cubicBezTo>
                  <a:cubicBezTo>
                    <a:pt x="996" y="666"/>
                    <a:pt x="996" y="667"/>
                    <a:pt x="996" y="667"/>
                  </a:cubicBezTo>
                  <a:cubicBezTo>
                    <a:pt x="996" y="668"/>
                    <a:pt x="997" y="668"/>
                    <a:pt x="997" y="669"/>
                  </a:cubicBezTo>
                  <a:cubicBezTo>
                    <a:pt x="997" y="669"/>
                    <a:pt x="998" y="670"/>
                    <a:pt x="998" y="671"/>
                  </a:cubicBezTo>
                  <a:cubicBezTo>
                    <a:pt x="994" y="671"/>
                    <a:pt x="995" y="670"/>
                    <a:pt x="992" y="668"/>
                  </a:cubicBezTo>
                  <a:cubicBezTo>
                    <a:pt x="991" y="667"/>
                    <a:pt x="986" y="666"/>
                    <a:pt x="988" y="663"/>
                  </a:cubicBezTo>
                  <a:close/>
                  <a:moveTo>
                    <a:pt x="1032" y="757"/>
                  </a:moveTo>
                  <a:cubicBezTo>
                    <a:pt x="1032" y="758"/>
                    <a:pt x="1033" y="759"/>
                    <a:pt x="1033" y="760"/>
                  </a:cubicBezTo>
                  <a:cubicBezTo>
                    <a:pt x="1033" y="763"/>
                    <a:pt x="1032" y="767"/>
                    <a:pt x="1034" y="768"/>
                  </a:cubicBezTo>
                  <a:cubicBezTo>
                    <a:pt x="1032" y="769"/>
                    <a:pt x="1029" y="766"/>
                    <a:pt x="1028" y="766"/>
                  </a:cubicBezTo>
                  <a:cubicBezTo>
                    <a:pt x="1027" y="766"/>
                    <a:pt x="1028" y="769"/>
                    <a:pt x="1028" y="770"/>
                  </a:cubicBezTo>
                  <a:cubicBezTo>
                    <a:pt x="1027" y="771"/>
                    <a:pt x="1028" y="773"/>
                    <a:pt x="1027" y="775"/>
                  </a:cubicBezTo>
                  <a:cubicBezTo>
                    <a:pt x="1027" y="776"/>
                    <a:pt x="1024" y="776"/>
                    <a:pt x="1023" y="776"/>
                  </a:cubicBezTo>
                  <a:cubicBezTo>
                    <a:pt x="1017" y="776"/>
                    <a:pt x="1019" y="767"/>
                    <a:pt x="1019" y="763"/>
                  </a:cubicBezTo>
                  <a:cubicBezTo>
                    <a:pt x="1019" y="760"/>
                    <a:pt x="1020" y="760"/>
                    <a:pt x="1020" y="757"/>
                  </a:cubicBezTo>
                  <a:cubicBezTo>
                    <a:pt x="1020" y="756"/>
                    <a:pt x="1020" y="755"/>
                    <a:pt x="1020" y="754"/>
                  </a:cubicBezTo>
                  <a:cubicBezTo>
                    <a:pt x="1020" y="754"/>
                    <a:pt x="1022" y="754"/>
                    <a:pt x="1022" y="754"/>
                  </a:cubicBezTo>
                  <a:cubicBezTo>
                    <a:pt x="1023" y="752"/>
                    <a:pt x="1023" y="751"/>
                    <a:pt x="1024" y="750"/>
                  </a:cubicBezTo>
                  <a:cubicBezTo>
                    <a:pt x="1025" y="749"/>
                    <a:pt x="1026" y="749"/>
                    <a:pt x="1027" y="747"/>
                  </a:cubicBezTo>
                  <a:cubicBezTo>
                    <a:pt x="1022" y="745"/>
                    <a:pt x="1023" y="751"/>
                    <a:pt x="1019" y="752"/>
                  </a:cubicBezTo>
                  <a:cubicBezTo>
                    <a:pt x="1019" y="748"/>
                    <a:pt x="1021" y="745"/>
                    <a:pt x="1023" y="742"/>
                  </a:cubicBezTo>
                  <a:cubicBezTo>
                    <a:pt x="1023" y="741"/>
                    <a:pt x="1025" y="740"/>
                    <a:pt x="1024" y="739"/>
                  </a:cubicBezTo>
                  <a:cubicBezTo>
                    <a:pt x="1024" y="737"/>
                    <a:pt x="1019" y="736"/>
                    <a:pt x="1017" y="736"/>
                  </a:cubicBezTo>
                  <a:cubicBezTo>
                    <a:pt x="1014" y="738"/>
                    <a:pt x="1016" y="741"/>
                    <a:pt x="1014" y="743"/>
                  </a:cubicBezTo>
                  <a:cubicBezTo>
                    <a:pt x="1009" y="747"/>
                    <a:pt x="1013" y="735"/>
                    <a:pt x="1013" y="732"/>
                  </a:cubicBezTo>
                  <a:cubicBezTo>
                    <a:pt x="1013" y="729"/>
                    <a:pt x="1010" y="723"/>
                    <a:pt x="1006" y="726"/>
                  </a:cubicBezTo>
                  <a:cubicBezTo>
                    <a:pt x="1006" y="727"/>
                    <a:pt x="1005" y="730"/>
                    <a:pt x="1005" y="728"/>
                  </a:cubicBezTo>
                  <a:cubicBezTo>
                    <a:pt x="1004" y="727"/>
                    <a:pt x="1006" y="724"/>
                    <a:pt x="1007" y="723"/>
                  </a:cubicBezTo>
                  <a:cubicBezTo>
                    <a:pt x="1005" y="722"/>
                    <a:pt x="1003" y="724"/>
                    <a:pt x="1002" y="722"/>
                  </a:cubicBezTo>
                  <a:cubicBezTo>
                    <a:pt x="1001" y="721"/>
                    <a:pt x="1000" y="723"/>
                    <a:pt x="1000" y="724"/>
                  </a:cubicBezTo>
                  <a:cubicBezTo>
                    <a:pt x="1000" y="724"/>
                    <a:pt x="1000" y="726"/>
                    <a:pt x="1000" y="727"/>
                  </a:cubicBezTo>
                  <a:cubicBezTo>
                    <a:pt x="1000" y="729"/>
                    <a:pt x="999" y="729"/>
                    <a:pt x="1000" y="731"/>
                  </a:cubicBezTo>
                  <a:cubicBezTo>
                    <a:pt x="997" y="729"/>
                    <a:pt x="995" y="729"/>
                    <a:pt x="993" y="726"/>
                  </a:cubicBezTo>
                  <a:cubicBezTo>
                    <a:pt x="991" y="723"/>
                    <a:pt x="989" y="719"/>
                    <a:pt x="986" y="716"/>
                  </a:cubicBezTo>
                  <a:cubicBezTo>
                    <a:pt x="985" y="714"/>
                    <a:pt x="984" y="713"/>
                    <a:pt x="982" y="710"/>
                  </a:cubicBezTo>
                  <a:cubicBezTo>
                    <a:pt x="981" y="708"/>
                    <a:pt x="979" y="707"/>
                    <a:pt x="978" y="706"/>
                  </a:cubicBezTo>
                  <a:cubicBezTo>
                    <a:pt x="976" y="703"/>
                    <a:pt x="976" y="701"/>
                    <a:pt x="978" y="697"/>
                  </a:cubicBezTo>
                  <a:cubicBezTo>
                    <a:pt x="979" y="695"/>
                    <a:pt x="983" y="696"/>
                    <a:pt x="985" y="694"/>
                  </a:cubicBezTo>
                  <a:cubicBezTo>
                    <a:pt x="983" y="693"/>
                    <a:pt x="980" y="693"/>
                    <a:pt x="978" y="693"/>
                  </a:cubicBezTo>
                  <a:cubicBezTo>
                    <a:pt x="976" y="693"/>
                    <a:pt x="976" y="693"/>
                    <a:pt x="975" y="694"/>
                  </a:cubicBezTo>
                  <a:cubicBezTo>
                    <a:pt x="974" y="694"/>
                    <a:pt x="971" y="694"/>
                    <a:pt x="970" y="693"/>
                  </a:cubicBezTo>
                  <a:cubicBezTo>
                    <a:pt x="969" y="693"/>
                    <a:pt x="969" y="690"/>
                    <a:pt x="966" y="689"/>
                  </a:cubicBezTo>
                  <a:cubicBezTo>
                    <a:pt x="966" y="689"/>
                    <a:pt x="966" y="688"/>
                    <a:pt x="966" y="687"/>
                  </a:cubicBezTo>
                  <a:cubicBezTo>
                    <a:pt x="968" y="682"/>
                    <a:pt x="969" y="673"/>
                    <a:pt x="972" y="669"/>
                  </a:cubicBezTo>
                  <a:cubicBezTo>
                    <a:pt x="975" y="666"/>
                    <a:pt x="978" y="668"/>
                    <a:pt x="980" y="668"/>
                  </a:cubicBezTo>
                  <a:cubicBezTo>
                    <a:pt x="984" y="669"/>
                    <a:pt x="986" y="667"/>
                    <a:pt x="990" y="669"/>
                  </a:cubicBezTo>
                  <a:cubicBezTo>
                    <a:pt x="992" y="670"/>
                    <a:pt x="993" y="671"/>
                    <a:pt x="994" y="672"/>
                  </a:cubicBezTo>
                  <a:cubicBezTo>
                    <a:pt x="996" y="673"/>
                    <a:pt x="995" y="673"/>
                    <a:pt x="998" y="673"/>
                  </a:cubicBezTo>
                  <a:cubicBezTo>
                    <a:pt x="999" y="673"/>
                    <a:pt x="998" y="671"/>
                    <a:pt x="999" y="673"/>
                  </a:cubicBezTo>
                  <a:cubicBezTo>
                    <a:pt x="1000" y="674"/>
                    <a:pt x="999" y="675"/>
                    <a:pt x="999" y="676"/>
                  </a:cubicBezTo>
                  <a:cubicBezTo>
                    <a:pt x="1000" y="678"/>
                    <a:pt x="1001" y="678"/>
                    <a:pt x="1002" y="679"/>
                  </a:cubicBezTo>
                  <a:cubicBezTo>
                    <a:pt x="1003" y="682"/>
                    <a:pt x="1004" y="685"/>
                    <a:pt x="1006" y="687"/>
                  </a:cubicBezTo>
                  <a:cubicBezTo>
                    <a:pt x="1007" y="689"/>
                    <a:pt x="1007" y="689"/>
                    <a:pt x="1008" y="691"/>
                  </a:cubicBezTo>
                  <a:cubicBezTo>
                    <a:pt x="1009" y="693"/>
                    <a:pt x="1008" y="694"/>
                    <a:pt x="1010" y="694"/>
                  </a:cubicBezTo>
                  <a:cubicBezTo>
                    <a:pt x="1008" y="697"/>
                    <a:pt x="1008" y="697"/>
                    <a:pt x="1009" y="700"/>
                  </a:cubicBezTo>
                  <a:cubicBezTo>
                    <a:pt x="1010" y="701"/>
                    <a:pt x="1011" y="702"/>
                    <a:pt x="1012" y="703"/>
                  </a:cubicBezTo>
                  <a:cubicBezTo>
                    <a:pt x="1013" y="706"/>
                    <a:pt x="1014" y="707"/>
                    <a:pt x="1015" y="710"/>
                  </a:cubicBezTo>
                  <a:cubicBezTo>
                    <a:pt x="1016" y="713"/>
                    <a:pt x="1017" y="714"/>
                    <a:pt x="1017" y="717"/>
                  </a:cubicBezTo>
                  <a:cubicBezTo>
                    <a:pt x="1017" y="720"/>
                    <a:pt x="1018" y="722"/>
                    <a:pt x="1020" y="725"/>
                  </a:cubicBezTo>
                  <a:cubicBezTo>
                    <a:pt x="1020" y="726"/>
                    <a:pt x="1022" y="726"/>
                    <a:pt x="1022" y="727"/>
                  </a:cubicBezTo>
                  <a:cubicBezTo>
                    <a:pt x="1022" y="728"/>
                    <a:pt x="1021" y="729"/>
                    <a:pt x="1021" y="730"/>
                  </a:cubicBezTo>
                  <a:cubicBezTo>
                    <a:pt x="1022" y="731"/>
                    <a:pt x="1022" y="730"/>
                    <a:pt x="1023" y="730"/>
                  </a:cubicBezTo>
                  <a:cubicBezTo>
                    <a:pt x="1023" y="731"/>
                    <a:pt x="1024" y="731"/>
                    <a:pt x="1025" y="732"/>
                  </a:cubicBezTo>
                  <a:cubicBezTo>
                    <a:pt x="1026" y="733"/>
                    <a:pt x="1024" y="733"/>
                    <a:pt x="1024" y="735"/>
                  </a:cubicBezTo>
                  <a:cubicBezTo>
                    <a:pt x="1025" y="736"/>
                    <a:pt x="1025" y="737"/>
                    <a:pt x="1027" y="738"/>
                  </a:cubicBezTo>
                  <a:cubicBezTo>
                    <a:pt x="1029" y="741"/>
                    <a:pt x="1028" y="743"/>
                    <a:pt x="1030" y="745"/>
                  </a:cubicBezTo>
                  <a:cubicBezTo>
                    <a:pt x="1031" y="746"/>
                    <a:pt x="1035" y="748"/>
                    <a:pt x="1035" y="751"/>
                  </a:cubicBezTo>
                  <a:cubicBezTo>
                    <a:pt x="1035" y="751"/>
                    <a:pt x="1034" y="754"/>
                    <a:pt x="1034" y="754"/>
                  </a:cubicBezTo>
                  <a:cubicBezTo>
                    <a:pt x="1031" y="755"/>
                    <a:pt x="1032" y="755"/>
                    <a:pt x="1032" y="757"/>
                  </a:cubicBezTo>
                  <a:close/>
                  <a:moveTo>
                    <a:pt x="1783" y="779"/>
                  </a:moveTo>
                  <a:cubicBezTo>
                    <a:pt x="1785" y="779"/>
                    <a:pt x="1787" y="778"/>
                    <a:pt x="1789" y="778"/>
                  </a:cubicBezTo>
                  <a:cubicBezTo>
                    <a:pt x="1789" y="778"/>
                    <a:pt x="1789" y="778"/>
                    <a:pt x="1789" y="778"/>
                  </a:cubicBezTo>
                  <a:cubicBezTo>
                    <a:pt x="1789" y="778"/>
                    <a:pt x="1789" y="778"/>
                    <a:pt x="1789" y="778"/>
                  </a:cubicBezTo>
                  <a:cubicBezTo>
                    <a:pt x="1790" y="778"/>
                    <a:pt x="1790" y="778"/>
                    <a:pt x="1790" y="778"/>
                  </a:cubicBezTo>
                  <a:cubicBezTo>
                    <a:pt x="1790" y="778"/>
                    <a:pt x="1790" y="778"/>
                    <a:pt x="1790" y="778"/>
                  </a:cubicBezTo>
                  <a:cubicBezTo>
                    <a:pt x="1791" y="778"/>
                    <a:pt x="1791" y="779"/>
                    <a:pt x="1791" y="779"/>
                  </a:cubicBezTo>
                  <a:cubicBezTo>
                    <a:pt x="1789" y="779"/>
                    <a:pt x="1786" y="779"/>
                    <a:pt x="1783" y="779"/>
                  </a:cubicBezTo>
                  <a:close/>
                  <a:moveTo>
                    <a:pt x="1795" y="780"/>
                  </a:moveTo>
                  <a:cubicBezTo>
                    <a:pt x="1795" y="780"/>
                    <a:pt x="1795" y="780"/>
                    <a:pt x="1795" y="780"/>
                  </a:cubicBezTo>
                  <a:cubicBezTo>
                    <a:pt x="1795" y="780"/>
                    <a:pt x="1795" y="780"/>
                    <a:pt x="1794" y="780"/>
                  </a:cubicBezTo>
                  <a:cubicBezTo>
                    <a:pt x="1795" y="780"/>
                    <a:pt x="1795" y="780"/>
                    <a:pt x="1796" y="780"/>
                  </a:cubicBezTo>
                  <a:cubicBezTo>
                    <a:pt x="1796" y="780"/>
                    <a:pt x="1796" y="780"/>
                    <a:pt x="1796" y="780"/>
                  </a:cubicBezTo>
                  <a:cubicBezTo>
                    <a:pt x="1796" y="780"/>
                    <a:pt x="1796" y="780"/>
                    <a:pt x="1796" y="780"/>
                  </a:cubicBezTo>
                  <a:cubicBezTo>
                    <a:pt x="1796" y="780"/>
                    <a:pt x="1796" y="780"/>
                    <a:pt x="1796" y="780"/>
                  </a:cubicBezTo>
                  <a:cubicBezTo>
                    <a:pt x="1796" y="780"/>
                    <a:pt x="1796" y="780"/>
                    <a:pt x="1795" y="780"/>
                  </a:cubicBezTo>
                  <a:close/>
                  <a:moveTo>
                    <a:pt x="1797" y="780"/>
                  </a:moveTo>
                  <a:cubicBezTo>
                    <a:pt x="1797" y="780"/>
                    <a:pt x="1797" y="780"/>
                    <a:pt x="1797" y="780"/>
                  </a:cubicBezTo>
                  <a:cubicBezTo>
                    <a:pt x="1797" y="780"/>
                    <a:pt x="1797" y="780"/>
                    <a:pt x="1797" y="780"/>
                  </a:cubicBezTo>
                  <a:cubicBezTo>
                    <a:pt x="1797" y="780"/>
                    <a:pt x="1797" y="780"/>
                    <a:pt x="1797" y="780"/>
                  </a:cubicBezTo>
                  <a:close/>
                  <a:moveTo>
                    <a:pt x="1946" y="745"/>
                  </a:moveTo>
                  <a:cubicBezTo>
                    <a:pt x="1946" y="744"/>
                    <a:pt x="1945" y="744"/>
                    <a:pt x="1945" y="744"/>
                  </a:cubicBezTo>
                  <a:cubicBezTo>
                    <a:pt x="1945" y="744"/>
                    <a:pt x="1945" y="744"/>
                    <a:pt x="1945" y="744"/>
                  </a:cubicBezTo>
                  <a:cubicBezTo>
                    <a:pt x="1946" y="743"/>
                    <a:pt x="1948" y="743"/>
                    <a:pt x="1949" y="742"/>
                  </a:cubicBezTo>
                  <a:cubicBezTo>
                    <a:pt x="1948" y="743"/>
                    <a:pt x="1946" y="743"/>
                    <a:pt x="1946" y="7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78" name="Text Placeholder 377"/>
          <p:cNvSpPr>
            <a:spLocks noGrp="1"/>
          </p:cNvSpPr>
          <p:nvPr>
            <p:ph type="body" sz="quarter" idx="12" hasCustomPrompt="1"/>
          </p:nvPr>
        </p:nvSpPr>
        <p:spPr>
          <a:xfrm>
            <a:off x="334963"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spTree>
    <p:extLst>
      <p:ext uri="{BB962C8B-B14F-4D97-AF65-F5344CB8AC3E}">
        <p14:creationId xmlns:p14="http://schemas.microsoft.com/office/powerpoint/2010/main" val="899237284"/>
      </p:ext>
    </p:extLst>
  </p:cSld>
  <p:clrMapOvr>
    <a:masterClrMapping/>
  </p:clrMapOvr>
  <p:transition/>
  <p:timing/>
</p:sldLayout>
</file>

<file path=ppt/slideLayouts/slideLayout18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OUTH AMERIC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78" name="Text Placeholder 377"/>
          <p:cNvSpPr>
            <a:spLocks noGrp="1"/>
          </p:cNvSpPr>
          <p:nvPr>
            <p:ph type="body" sz="quarter" idx="12" hasCustomPrompt="1"/>
          </p:nvPr>
        </p:nvSpPr>
        <p:spPr>
          <a:xfrm>
            <a:off x="334963"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grpSp>
        <p:nvGrpSpPr>
          <p:cNvPr id="376" name="Group 375"/>
          <p:cNvGrpSpPr/>
          <p:nvPr userDrawn="1"/>
        </p:nvGrpSpPr>
        <p:grpSpPr>
          <a:xfrm>
            <a:off x="5680219" y="0"/>
            <a:ext cx="6445566" cy="6386400"/>
            <a:chOff x="5118971" y="0"/>
            <a:chExt cx="6921535" cy="6858000"/>
          </a:xfrm>
          <a:gradFill>
            <a:gsLst>
              <a:gs pos="0">
                <a:schemeClr val="accent4"/>
              </a:gs>
              <a:gs pos="100000">
                <a:schemeClr val="accent1"/>
              </a:gs>
            </a:gsLst>
            <a:lin ang="0" scaled="0"/>
          </a:gradFill>
        </p:grpSpPr>
        <p:sp>
          <p:nvSpPr>
            <p:cNvPr id="377" name="Freeform 5"/>
            <p:cNvSpPr/>
            <p:nvPr/>
          </p:nvSpPr>
          <p:spPr bwMode="auto">
            <a:xfrm>
              <a:off x="7531128" y="0"/>
              <a:ext cx="56491" cy="16947"/>
            </a:xfrm>
            <a:custGeom>
              <a:gdLst>
                <a:gd name="T0" fmla="*/ 17 w 17"/>
                <a:gd name="T1" fmla="*/ 0 h 5"/>
                <a:gd name="T2" fmla="*/ 3 w 17"/>
                <a:gd name="T3" fmla="*/ 0 h 5"/>
                <a:gd name="T4" fmla="*/ 4 w 17"/>
                <a:gd name="T5" fmla="*/ 3 h 5"/>
                <a:gd name="T6" fmla="*/ 4 w 17"/>
                <a:gd name="T7" fmla="*/ 3 h 5"/>
                <a:gd name="T8" fmla="*/ 1 w 17"/>
                <a:gd name="T9" fmla="*/ 1 h 5"/>
                <a:gd name="T10" fmla="*/ 1 w 17"/>
                <a:gd name="T11" fmla="*/ 5 h 5"/>
                <a:gd name="T12" fmla="*/ 4 w 17"/>
                <a:gd name="T13" fmla="*/ 5 h 5"/>
                <a:gd name="T14" fmla="*/ 6 w 17"/>
                <a:gd name="T15" fmla="*/ 4 h 5"/>
                <a:gd name="T16" fmla="*/ 6 w 17"/>
                <a:gd name="T17" fmla="*/ 4 h 5"/>
                <a:gd name="T18" fmla="*/ 8 w 17"/>
                <a:gd name="T19" fmla="*/ 4 h 5"/>
                <a:gd name="T20" fmla="*/ 8 w 17"/>
                <a:gd name="T21" fmla="*/ 4 h 5"/>
                <a:gd name="T22" fmla="*/ 11 w 17"/>
                <a:gd name="T23" fmla="*/ 3 h 5"/>
                <a:gd name="T24" fmla="*/ 13 w 17"/>
                <a:gd name="T25" fmla="*/ 3 h 5"/>
                <a:gd name="T26" fmla="*/ 15 w 17"/>
                <a:gd name="T27" fmla="*/ 4 h 5"/>
                <a:gd name="T28" fmla="*/ 14 w 17"/>
                <a:gd name="T29" fmla="*/ 3 h 5"/>
                <a:gd name="T30" fmla="*/ 17 w 17"/>
                <a:gd name="T31" fmla="*/ 4 h 5"/>
                <a:gd name="T32" fmla="*/ 16 w 17"/>
                <a:gd name="T33" fmla="*/ 1 h 5"/>
                <a:gd name="T34" fmla="*/ 17 w 17"/>
                <a:gd name="T35"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5">
                  <a:moveTo>
                    <a:pt x="17" y="0"/>
                  </a:moveTo>
                  <a:cubicBezTo>
                    <a:pt x="3" y="0"/>
                    <a:pt x="3" y="0"/>
                    <a:pt x="3" y="0"/>
                  </a:cubicBezTo>
                  <a:cubicBezTo>
                    <a:pt x="4" y="1"/>
                    <a:pt x="5" y="3"/>
                    <a:pt x="4" y="3"/>
                  </a:cubicBezTo>
                  <a:cubicBezTo>
                    <a:pt x="4" y="3"/>
                    <a:pt x="4" y="3"/>
                    <a:pt x="4" y="3"/>
                  </a:cubicBezTo>
                  <a:cubicBezTo>
                    <a:pt x="3" y="3"/>
                    <a:pt x="1" y="1"/>
                    <a:pt x="1" y="1"/>
                  </a:cubicBezTo>
                  <a:cubicBezTo>
                    <a:pt x="0" y="2"/>
                    <a:pt x="0" y="4"/>
                    <a:pt x="1" y="5"/>
                  </a:cubicBezTo>
                  <a:cubicBezTo>
                    <a:pt x="2" y="5"/>
                    <a:pt x="3" y="5"/>
                    <a:pt x="4" y="5"/>
                  </a:cubicBezTo>
                  <a:cubicBezTo>
                    <a:pt x="5" y="5"/>
                    <a:pt x="5" y="4"/>
                    <a:pt x="6" y="4"/>
                  </a:cubicBezTo>
                  <a:cubicBezTo>
                    <a:pt x="6" y="4"/>
                    <a:pt x="6" y="4"/>
                    <a:pt x="6" y="4"/>
                  </a:cubicBezTo>
                  <a:cubicBezTo>
                    <a:pt x="6" y="4"/>
                    <a:pt x="7" y="4"/>
                    <a:pt x="8" y="4"/>
                  </a:cubicBezTo>
                  <a:cubicBezTo>
                    <a:pt x="8" y="4"/>
                    <a:pt x="8" y="4"/>
                    <a:pt x="8" y="4"/>
                  </a:cubicBezTo>
                  <a:cubicBezTo>
                    <a:pt x="10" y="4"/>
                    <a:pt x="10" y="4"/>
                    <a:pt x="11" y="3"/>
                  </a:cubicBezTo>
                  <a:cubicBezTo>
                    <a:pt x="12" y="3"/>
                    <a:pt x="12" y="3"/>
                    <a:pt x="13" y="3"/>
                  </a:cubicBezTo>
                  <a:cubicBezTo>
                    <a:pt x="13" y="3"/>
                    <a:pt x="14" y="3"/>
                    <a:pt x="15" y="4"/>
                  </a:cubicBezTo>
                  <a:cubicBezTo>
                    <a:pt x="14" y="3"/>
                    <a:pt x="14" y="3"/>
                    <a:pt x="14" y="3"/>
                  </a:cubicBezTo>
                  <a:cubicBezTo>
                    <a:pt x="15" y="3"/>
                    <a:pt x="16" y="3"/>
                    <a:pt x="17" y="4"/>
                  </a:cubicBezTo>
                  <a:cubicBezTo>
                    <a:pt x="16" y="3"/>
                    <a:pt x="16" y="2"/>
                    <a:pt x="16" y="1"/>
                  </a:cubicBezTo>
                  <a:cubicBezTo>
                    <a:pt x="17" y="1"/>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6"/>
            <p:cNvSpPr>
              <a:spLocks noEditPoints="1"/>
            </p:cNvSpPr>
            <p:nvPr/>
          </p:nvSpPr>
          <p:spPr bwMode="auto">
            <a:xfrm>
              <a:off x="12030620" y="687777"/>
              <a:ext cx="5649" cy="19772"/>
            </a:xfrm>
            <a:custGeom>
              <a:gdLst>
                <a:gd name="T0" fmla="*/ 2 w 2"/>
                <a:gd name="T1" fmla="*/ 5 h 6"/>
                <a:gd name="T2" fmla="*/ 2 w 2"/>
                <a:gd name="T3" fmla="*/ 6 h 6"/>
                <a:gd name="T4" fmla="*/ 2 w 2"/>
                <a:gd name="T5" fmla="*/ 5 h 6"/>
                <a:gd name="T6" fmla="*/ 2 w 2"/>
                <a:gd name="T7" fmla="*/ 0 h 6"/>
                <a:gd name="T8" fmla="*/ 1 w 2"/>
                <a:gd name="T9" fmla="*/ 3 h 6"/>
                <a:gd name="T10" fmla="*/ 2 w 2"/>
                <a:gd name="T11" fmla="*/ 5 h 6"/>
                <a:gd name="T12" fmla="*/ 2 w 2"/>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2" h="6">
                  <a:moveTo>
                    <a:pt x="2" y="5"/>
                  </a:moveTo>
                  <a:cubicBezTo>
                    <a:pt x="2" y="5"/>
                    <a:pt x="2" y="6"/>
                    <a:pt x="2" y="6"/>
                  </a:cubicBezTo>
                  <a:cubicBezTo>
                    <a:pt x="2" y="6"/>
                    <a:pt x="2" y="5"/>
                    <a:pt x="2" y="5"/>
                  </a:cubicBezTo>
                  <a:moveTo>
                    <a:pt x="2" y="0"/>
                  </a:moveTo>
                  <a:cubicBezTo>
                    <a:pt x="0" y="0"/>
                    <a:pt x="1" y="2"/>
                    <a:pt x="1" y="3"/>
                  </a:cubicBezTo>
                  <a:cubicBezTo>
                    <a:pt x="2" y="3"/>
                    <a:pt x="2" y="4"/>
                    <a:pt x="2" y="5"/>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7"/>
            <p:cNvSpPr/>
            <p:nvPr/>
          </p:nvSpPr>
          <p:spPr bwMode="auto">
            <a:xfrm>
              <a:off x="12033445" y="737207"/>
              <a:ext cx="7061" cy="16947"/>
            </a:xfrm>
            <a:custGeom>
              <a:gdLst>
                <a:gd name="T0" fmla="*/ 2 w 2"/>
                <a:gd name="T1" fmla="*/ 0 h 5"/>
                <a:gd name="T2" fmla="*/ 1 w 2"/>
                <a:gd name="T3" fmla="*/ 0 h 5"/>
                <a:gd name="T4" fmla="*/ 0 w 2"/>
                <a:gd name="T5" fmla="*/ 4 h 5"/>
                <a:gd name="T6" fmla="*/ 2 w 2"/>
                <a:gd name="T7" fmla="*/ 5 h 5"/>
                <a:gd name="T8" fmla="*/ 2 w 2"/>
                <a:gd name="T9" fmla="*/ 0 h 5"/>
              </a:gdLst>
              <a:cxnLst>
                <a:cxn ang="0">
                  <a:pos x="T0" y="T1"/>
                </a:cxn>
                <a:cxn ang="0">
                  <a:pos x="T2" y="T3"/>
                </a:cxn>
                <a:cxn ang="0">
                  <a:pos x="T4" y="T5"/>
                </a:cxn>
                <a:cxn ang="0">
                  <a:pos x="T6" y="T7"/>
                </a:cxn>
                <a:cxn ang="0">
                  <a:pos x="T8" y="T9"/>
                </a:cxn>
              </a:cxnLst>
              <a:rect l="0" t="0" r="r" b="b"/>
              <a:pathLst>
                <a:path w="2" h="5">
                  <a:moveTo>
                    <a:pt x="2" y="0"/>
                  </a:moveTo>
                  <a:cubicBezTo>
                    <a:pt x="1" y="0"/>
                    <a:pt x="1" y="0"/>
                    <a:pt x="1" y="0"/>
                  </a:cubicBezTo>
                  <a:cubicBezTo>
                    <a:pt x="0" y="4"/>
                    <a:pt x="0" y="4"/>
                    <a:pt x="0" y="4"/>
                  </a:cubicBezTo>
                  <a:cubicBezTo>
                    <a:pt x="0" y="4"/>
                    <a:pt x="1" y="5"/>
                    <a:pt x="2"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8"/>
            <p:cNvSpPr/>
            <p:nvPr/>
          </p:nvSpPr>
          <p:spPr bwMode="auto">
            <a:xfrm flipH="1">
              <a:off x="7754267" y="1341660"/>
              <a:ext cx="0" cy="0"/>
            </a:xfrm>
            <a:custGeom>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9"/>
            <p:cNvSpPr/>
            <p:nvPr/>
          </p:nvSpPr>
          <p:spPr bwMode="auto">
            <a:xfrm>
              <a:off x="9006950" y="1234327"/>
              <a:ext cx="2825" cy="0"/>
            </a:xfrm>
            <a:custGeom>
              <a:gdLst>
                <a:gd name="T0" fmla="*/ 0 w 1"/>
                <a:gd name="T1" fmla="*/ 0 w 1"/>
                <a:gd name="T2" fmla="*/ 0 w 1"/>
                <a:gd name="T3" fmla="*/ 0 w 1"/>
                <a:gd name="T4" fmla="*/ 0 w 1"/>
                <a:gd name="T5" fmla="*/ 0 w 1"/>
                <a:gd name="T6" fmla="*/ 1 w 1"/>
                <a:gd name="T7" fmla="*/ 1 w 1"/>
                <a:gd name="T8" fmla="*/ 0 w 1"/>
                <a:gd name="T9" fmla="*/ 0 w 1"/>
              </a:gd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0"/>
            <p:cNvSpPr/>
            <p:nvPr/>
          </p:nvSpPr>
          <p:spPr bwMode="auto">
            <a:xfrm>
              <a:off x="10037907" y="4009444"/>
              <a:ext cx="7061" cy="7061"/>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1"/>
                    <a:pt x="2" y="2"/>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11"/>
            <p:cNvSpPr/>
            <p:nvPr/>
          </p:nvSpPr>
          <p:spPr bwMode="auto">
            <a:xfrm>
              <a:off x="10094398" y="3979787"/>
              <a:ext cx="2825" cy="2825"/>
            </a:xfrm>
            <a:custGeom>
              <a:gdLst>
                <a:gd name="T0" fmla="*/ 0 w 1"/>
                <a:gd name="T1" fmla="*/ 0 h 1"/>
                <a:gd name="T2" fmla="*/ 0 w 1"/>
                <a:gd name="T3" fmla="*/ 1 h 1"/>
                <a:gd name="T4" fmla="*/ 0 w 1"/>
                <a:gd name="T5" fmla="*/ 0 h 1"/>
              </a:gdLst>
              <a:cxnLst>
                <a:cxn ang="0">
                  <a:pos x="T0" y="T1"/>
                </a:cxn>
                <a:cxn ang="0">
                  <a:pos x="T2" y="T3"/>
                </a:cxn>
                <a:cxn ang="0">
                  <a:pos x="T4" y="T5"/>
                </a:cxn>
              </a:cxnLst>
              <a:rect l="0" t="0" r="r" b="b"/>
              <a:pathLst>
                <a:path w="1" h="1">
                  <a:moveTo>
                    <a:pt x="0" y="0"/>
                  </a:moveTo>
                  <a:cubicBezTo>
                    <a:pt x="0" y="1"/>
                    <a:pt x="0" y="1"/>
                    <a:pt x="0" y="1"/>
                  </a:cubicBezTo>
                  <a:cubicBezTo>
                    <a:pt x="0" y="0"/>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12"/>
            <p:cNvSpPr>
              <a:spLocks noChangeArrowheads="1"/>
            </p:cNvSpPr>
            <p:nvPr/>
          </p:nvSpPr>
          <p:spPr bwMode="auto">
            <a:xfrm>
              <a:off x="10094398" y="3982611"/>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13"/>
            <p:cNvSpPr/>
            <p:nvPr/>
          </p:nvSpPr>
          <p:spPr bwMode="auto">
            <a:xfrm flipH="1">
              <a:off x="10094398" y="398261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14"/>
            <p:cNvSpPr>
              <a:spLocks noChangeArrowheads="1"/>
            </p:cNvSpPr>
            <p:nvPr/>
          </p:nvSpPr>
          <p:spPr bwMode="auto">
            <a:xfrm>
              <a:off x="9883970" y="2136770"/>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15"/>
            <p:cNvSpPr/>
            <p:nvPr/>
          </p:nvSpPr>
          <p:spPr bwMode="auto">
            <a:xfrm flipH="1">
              <a:off x="9883970" y="2136770"/>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16"/>
            <p:cNvSpPr/>
            <p:nvPr/>
          </p:nvSpPr>
          <p:spPr bwMode="auto">
            <a:xfrm>
              <a:off x="9783699" y="1659421"/>
              <a:ext cx="7061" cy="9886"/>
            </a:xfrm>
            <a:custGeom>
              <a:gdLst>
                <a:gd name="T0" fmla="*/ 2 w 2"/>
                <a:gd name="T1" fmla="*/ 0 h 3"/>
                <a:gd name="T2" fmla="*/ 2 w 2"/>
                <a:gd name="T3" fmla="*/ 0 h 3"/>
                <a:gd name="T4" fmla="*/ 2 w 2"/>
                <a:gd name="T5" fmla="*/ 0 h 3"/>
                <a:gd name="T6" fmla="*/ 0 w 2"/>
                <a:gd name="T7" fmla="*/ 2 h 3"/>
                <a:gd name="T8" fmla="*/ 0 w 2"/>
                <a:gd name="T9" fmla="*/ 3 h 3"/>
                <a:gd name="T10" fmla="*/ 0 w 2"/>
                <a:gd name="T11" fmla="*/ 2 h 3"/>
                <a:gd name="T12" fmla="*/ 2 w 2"/>
                <a:gd name="T13" fmla="*/ 0 h 3"/>
                <a:gd name="T14" fmla="*/ 2 w 2"/>
                <a:gd name="T15" fmla="*/ 0 h 3"/>
                <a:gd name="T16" fmla="*/ 2 w 2"/>
                <a:gd name="T17" fmla="*/ 0 h 3"/>
                <a:gd name="T18" fmla="*/ 2 w 2"/>
                <a:gd name="T19"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2" y="0"/>
                  </a:moveTo>
                  <a:cubicBezTo>
                    <a:pt x="2" y="0"/>
                    <a:pt x="2" y="0"/>
                    <a:pt x="2" y="0"/>
                  </a:cubicBezTo>
                  <a:cubicBezTo>
                    <a:pt x="2" y="0"/>
                    <a:pt x="2" y="0"/>
                    <a:pt x="2" y="0"/>
                  </a:cubicBezTo>
                  <a:cubicBezTo>
                    <a:pt x="1" y="1"/>
                    <a:pt x="0" y="2"/>
                    <a:pt x="0" y="2"/>
                  </a:cubicBezTo>
                  <a:cubicBezTo>
                    <a:pt x="0" y="2"/>
                    <a:pt x="0" y="2"/>
                    <a:pt x="0" y="3"/>
                  </a:cubicBezTo>
                  <a:cubicBezTo>
                    <a:pt x="0" y="2"/>
                    <a:pt x="0" y="2"/>
                    <a:pt x="0" y="2"/>
                  </a:cubicBezTo>
                  <a:cubicBezTo>
                    <a:pt x="1" y="2"/>
                    <a:pt x="2" y="1"/>
                    <a:pt x="2" y="0"/>
                  </a:cubicBezTo>
                  <a:cubicBezTo>
                    <a:pt x="2" y="0"/>
                    <a:pt x="2" y="0"/>
                    <a:pt x="2"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28"/>
            <p:cNvSpPr/>
            <p:nvPr/>
          </p:nvSpPr>
          <p:spPr bwMode="auto">
            <a:xfrm>
              <a:off x="8235851" y="279630"/>
              <a:ext cx="12710" cy="7061"/>
            </a:xfrm>
            <a:custGeom>
              <a:gdLst>
                <a:gd name="T0" fmla="*/ 0 w 4"/>
                <a:gd name="T1" fmla="*/ 0 h 2"/>
                <a:gd name="T2" fmla="*/ 3 w 4"/>
                <a:gd name="T3" fmla="*/ 2 h 2"/>
                <a:gd name="T4" fmla="*/ 4 w 4"/>
                <a:gd name="T5" fmla="*/ 2 h 2"/>
                <a:gd name="T6" fmla="*/ 0 w 4"/>
                <a:gd name="T7" fmla="*/ 0 h 2"/>
              </a:gdLst>
              <a:cxnLst>
                <a:cxn ang="0">
                  <a:pos x="T0" y="T1"/>
                </a:cxn>
                <a:cxn ang="0">
                  <a:pos x="T2" y="T3"/>
                </a:cxn>
                <a:cxn ang="0">
                  <a:pos x="T4" y="T5"/>
                </a:cxn>
                <a:cxn ang="0">
                  <a:pos x="T6" y="T7"/>
                </a:cxn>
              </a:cxnLst>
              <a:rect l="0" t="0" r="r" b="b"/>
              <a:pathLst>
                <a:path w="4" h="2">
                  <a:moveTo>
                    <a:pt x="0" y="0"/>
                  </a:moveTo>
                  <a:cubicBezTo>
                    <a:pt x="1" y="1"/>
                    <a:pt x="2" y="2"/>
                    <a:pt x="3" y="2"/>
                  </a:cubicBezTo>
                  <a:cubicBezTo>
                    <a:pt x="3" y="2"/>
                    <a:pt x="3" y="2"/>
                    <a:pt x="4"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9"/>
            <p:cNvSpPr/>
            <p:nvPr/>
          </p:nvSpPr>
          <p:spPr bwMode="auto">
            <a:xfrm>
              <a:off x="8248561" y="286692"/>
              <a:ext cx="16947" cy="2825"/>
            </a:xfrm>
            <a:custGeom>
              <a:gdLst>
                <a:gd name="T0" fmla="*/ 3 w 5"/>
                <a:gd name="T1" fmla="*/ 0 h 1"/>
                <a:gd name="T2" fmla="*/ 0 w 5"/>
                <a:gd name="T3" fmla="*/ 1 h 1"/>
                <a:gd name="T4" fmla="*/ 5 w 5"/>
                <a:gd name="T5" fmla="*/ 1 h 1"/>
                <a:gd name="T6" fmla="*/ 3 w 5"/>
                <a:gd name="T7" fmla="*/ 0 h 1"/>
              </a:gdLst>
              <a:cxnLst>
                <a:cxn ang="0">
                  <a:pos x="T0" y="T1"/>
                </a:cxn>
                <a:cxn ang="0">
                  <a:pos x="T2" y="T3"/>
                </a:cxn>
                <a:cxn ang="0">
                  <a:pos x="T4" y="T5"/>
                </a:cxn>
                <a:cxn ang="0">
                  <a:pos x="T6" y="T7"/>
                </a:cxn>
              </a:cxnLst>
              <a:rect l="0" t="0" r="r" b="b"/>
              <a:pathLst>
                <a:path w="5" h="1">
                  <a:moveTo>
                    <a:pt x="3" y="0"/>
                  </a:moveTo>
                  <a:cubicBezTo>
                    <a:pt x="2" y="0"/>
                    <a:pt x="1" y="0"/>
                    <a:pt x="0" y="1"/>
                  </a:cubicBezTo>
                  <a:cubicBezTo>
                    <a:pt x="2" y="1"/>
                    <a:pt x="3"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30"/>
            <p:cNvSpPr>
              <a:spLocks noEditPoints="1"/>
            </p:cNvSpPr>
            <p:nvPr/>
          </p:nvSpPr>
          <p:spPr bwMode="auto">
            <a:xfrm>
              <a:off x="8209018" y="286692"/>
              <a:ext cx="16947" cy="2825"/>
            </a:xfrm>
            <a:custGeom>
              <a:gdLst>
                <a:gd name="T0" fmla="*/ 1 w 5"/>
                <a:gd name="T1" fmla="*/ 1 h 1"/>
                <a:gd name="T2" fmla="*/ 0 w 5"/>
                <a:gd name="T3" fmla="*/ 1 h 1"/>
                <a:gd name="T4" fmla="*/ 1 w 5"/>
                <a:gd name="T5" fmla="*/ 1 h 1"/>
                <a:gd name="T6" fmla="*/ 5 w 5"/>
                <a:gd name="T7" fmla="*/ 0 h 1"/>
                <a:gd name="T8" fmla="*/ 1 w 5"/>
                <a:gd name="T9" fmla="*/ 1 h 1"/>
                <a:gd name="T10" fmla="*/ 2 w 5"/>
                <a:gd name="T11" fmla="*/ 1 h 1"/>
                <a:gd name="T12" fmla="*/ 3 w 5"/>
                <a:gd name="T13" fmla="*/ 1 h 1"/>
                <a:gd name="T14" fmla="*/ 3 w 5"/>
                <a:gd name="T15" fmla="*/ 1 h 1"/>
                <a:gd name="T16" fmla="*/ 4 w 5"/>
                <a:gd name="T17" fmla="*/ 1 h 1"/>
                <a:gd name="T18" fmla="*/ 5 w 5"/>
                <a:gd name="T19" fmla="*/ 1 h 1"/>
                <a:gd name="T20" fmla="*/ 5 w 5"/>
                <a:gd name="T21"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
                  <a:moveTo>
                    <a:pt x="1" y="1"/>
                  </a:moveTo>
                  <a:cubicBezTo>
                    <a:pt x="1" y="1"/>
                    <a:pt x="1" y="1"/>
                    <a:pt x="0" y="1"/>
                  </a:cubicBezTo>
                  <a:cubicBezTo>
                    <a:pt x="1" y="1"/>
                    <a:pt x="1" y="1"/>
                    <a:pt x="1" y="1"/>
                  </a:cubicBezTo>
                  <a:moveTo>
                    <a:pt x="5" y="0"/>
                  </a:moveTo>
                  <a:cubicBezTo>
                    <a:pt x="4" y="1"/>
                    <a:pt x="3" y="1"/>
                    <a:pt x="1" y="1"/>
                  </a:cubicBezTo>
                  <a:cubicBezTo>
                    <a:pt x="1" y="1"/>
                    <a:pt x="1" y="1"/>
                    <a:pt x="2" y="1"/>
                  </a:cubicBezTo>
                  <a:cubicBezTo>
                    <a:pt x="2" y="1"/>
                    <a:pt x="2" y="1"/>
                    <a:pt x="3" y="1"/>
                  </a:cubicBezTo>
                  <a:cubicBezTo>
                    <a:pt x="3" y="1"/>
                    <a:pt x="3" y="1"/>
                    <a:pt x="3" y="1"/>
                  </a:cubicBezTo>
                  <a:cubicBezTo>
                    <a:pt x="4" y="1"/>
                    <a:pt x="4" y="1"/>
                    <a:pt x="4" y="1"/>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31"/>
            <p:cNvSpPr/>
            <p:nvPr/>
          </p:nvSpPr>
          <p:spPr bwMode="auto">
            <a:xfrm>
              <a:off x="9100160" y="1121345"/>
              <a:ext cx="26833" cy="14123"/>
            </a:xfrm>
            <a:custGeom>
              <a:gdLst>
                <a:gd name="T0" fmla="*/ 8 w 8"/>
                <a:gd name="T1" fmla="*/ 0 h 4"/>
                <a:gd name="T2" fmla="*/ 0 w 8"/>
                <a:gd name="T3" fmla="*/ 4 h 4"/>
                <a:gd name="T4" fmla="*/ 1 w 8"/>
                <a:gd name="T5" fmla="*/ 4 h 4"/>
                <a:gd name="T6" fmla="*/ 5 w 8"/>
                <a:gd name="T7" fmla="*/ 4 h 4"/>
                <a:gd name="T8" fmla="*/ 8 w 8"/>
                <a:gd name="T9" fmla="*/ 0 h 4"/>
              </a:gdLst>
              <a:cxnLst>
                <a:cxn ang="0">
                  <a:pos x="T0" y="T1"/>
                </a:cxn>
                <a:cxn ang="0">
                  <a:pos x="T2" y="T3"/>
                </a:cxn>
                <a:cxn ang="0">
                  <a:pos x="T4" y="T5"/>
                </a:cxn>
                <a:cxn ang="0">
                  <a:pos x="T6" y="T7"/>
                </a:cxn>
                <a:cxn ang="0">
                  <a:pos x="T8" y="T9"/>
                </a:cxn>
              </a:cxnLst>
              <a:rect l="0" t="0" r="r" b="b"/>
              <a:pathLst>
                <a:path w="8" h="4">
                  <a:moveTo>
                    <a:pt x="8" y="0"/>
                  </a:moveTo>
                  <a:cubicBezTo>
                    <a:pt x="5" y="1"/>
                    <a:pt x="3" y="3"/>
                    <a:pt x="0" y="4"/>
                  </a:cubicBezTo>
                  <a:cubicBezTo>
                    <a:pt x="1" y="4"/>
                    <a:pt x="1" y="4"/>
                    <a:pt x="1" y="4"/>
                  </a:cubicBezTo>
                  <a:cubicBezTo>
                    <a:pt x="2" y="4"/>
                    <a:pt x="4" y="4"/>
                    <a:pt x="5" y="4"/>
                  </a:cubicBezTo>
                  <a:cubicBezTo>
                    <a:pt x="7" y="3"/>
                    <a:pt x="8"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32"/>
            <p:cNvSpPr/>
            <p:nvPr/>
          </p:nvSpPr>
          <p:spPr bwMode="auto">
            <a:xfrm>
              <a:off x="9083213" y="903855"/>
              <a:ext cx="16947" cy="31070"/>
            </a:xfrm>
            <a:custGeom>
              <a:gdLst>
                <a:gd name="T0" fmla="*/ 3 w 5"/>
                <a:gd name="T1" fmla="*/ 0 h 9"/>
                <a:gd name="T2" fmla="*/ 0 w 5"/>
                <a:gd name="T3" fmla="*/ 6 h 9"/>
                <a:gd name="T4" fmla="*/ 3 w 5"/>
                <a:gd name="T5" fmla="*/ 9 h 9"/>
                <a:gd name="T6" fmla="*/ 4 w 5"/>
                <a:gd name="T7" fmla="*/ 5 h 9"/>
                <a:gd name="T8" fmla="*/ 3 w 5"/>
                <a:gd name="T9" fmla="*/ 0 h 9"/>
              </a:gdLst>
              <a:cxnLst>
                <a:cxn ang="0">
                  <a:pos x="T0" y="T1"/>
                </a:cxn>
                <a:cxn ang="0">
                  <a:pos x="T2" y="T3"/>
                </a:cxn>
                <a:cxn ang="0">
                  <a:pos x="T4" y="T5"/>
                </a:cxn>
                <a:cxn ang="0">
                  <a:pos x="T6" y="T7"/>
                </a:cxn>
                <a:cxn ang="0">
                  <a:pos x="T8" y="T9"/>
                </a:cxn>
              </a:cxnLst>
              <a:rect l="0" t="0" r="r" b="b"/>
              <a:pathLst>
                <a:path w="5" h="9">
                  <a:moveTo>
                    <a:pt x="3" y="0"/>
                  </a:moveTo>
                  <a:cubicBezTo>
                    <a:pt x="2" y="1"/>
                    <a:pt x="0" y="4"/>
                    <a:pt x="0" y="6"/>
                  </a:cubicBezTo>
                  <a:cubicBezTo>
                    <a:pt x="0" y="8"/>
                    <a:pt x="2" y="8"/>
                    <a:pt x="3" y="9"/>
                  </a:cubicBezTo>
                  <a:cubicBezTo>
                    <a:pt x="3" y="8"/>
                    <a:pt x="4" y="6"/>
                    <a:pt x="4" y="5"/>
                  </a:cubicBezTo>
                  <a:cubicBezTo>
                    <a:pt x="5" y="3"/>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33"/>
            <p:cNvSpPr/>
            <p:nvPr/>
          </p:nvSpPr>
          <p:spPr bwMode="auto">
            <a:xfrm>
              <a:off x="8943398" y="643997"/>
              <a:ext cx="16947" cy="9886"/>
            </a:xfrm>
            <a:custGeom>
              <a:gdLst>
                <a:gd name="T0" fmla="*/ 0 w 5"/>
                <a:gd name="T1" fmla="*/ 0 h 3"/>
                <a:gd name="T2" fmla="*/ 5 w 5"/>
                <a:gd name="T3" fmla="*/ 3 h 3"/>
                <a:gd name="T4" fmla="*/ 0 w 5"/>
                <a:gd name="T5" fmla="*/ 0 h 3"/>
              </a:gdLst>
              <a:cxnLst>
                <a:cxn ang="0">
                  <a:pos x="T0" y="T1"/>
                </a:cxn>
                <a:cxn ang="0">
                  <a:pos x="T2" y="T3"/>
                </a:cxn>
                <a:cxn ang="0">
                  <a:pos x="T4" y="T5"/>
                </a:cxn>
              </a:cxnLst>
              <a:rect l="0" t="0" r="r" b="b"/>
              <a:pathLst>
                <a:path w="5" h="3">
                  <a:moveTo>
                    <a:pt x="0" y="0"/>
                  </a:moveTo>
                  <a:cubicBezTo>
                    <a:pt x="1" y="2"/>
                    <a:pt x="3" y="3"/>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34"/>
            <p:cNvSpPr/>
            <p:nvPr/>
          </p:nvSpPr>
          <p:spPr bwMode="auto">
            <a:xfrm>
              <a:off x="8605866" y="553611"/>
              <a:ext cx="129929" cy="46605"/>
            </a:xfrm>
            <a:custGeom>
              <a:gdLst>
                <a:gd name="T0" fmla="*/ 3 w 39"/>
                <a:gd name="T1" fmla="*/ 0 h 14"/>
                <a:gd name="T2" fmla="*/ 0 w 39"/>
                <a:gd name="T3" fmla="*/ 5 h 14"/>
                <a:gd name="T4" fmla="*/ 1 w 39"/>
                <a:gd name="T5" fmla="*/ 9 h 14"/>
                <a:gd name="T6" fmla="*/ 5 w 39"/>
                <a:gd name="T7" fmla="*/ 13 h 14"/>
                <a:gd name="T8" fmla="*/ 5 w 39"/>
                <a:gd name="T9" fmla="*/ 13 h 14"/>
                <a:gd name="T10" fmla="*/ 10 w 39"/>
                <a:gd name="T11" fmla="*/ 13 h 14"/>
                <a:gd name="T12" fmla="*/ 14 w 39"/>
                <a:gd name="T13" fmla="*/ 12 h 14"/>
                <a:gd name="T14" fmla="*/ 22 w 39"/>
                <a:gd name="T15" fmla="*/ 13 h 14"/>
                <a:gd name="T16" fmla="*/ 25 w 39"/>
                <a:gd name="T17" fmla="*/ 14 h 14"/>
                <a:gd name="T18" fmla="*/ 33 w 39"/>
                <a:gd name="T19" fmla="*/ 11 h 14"/>
                <a:gd name="T20" fmla="*/ 34 w 39"/>
                <a:gd name="T21" fmla="*/ 3 h 14"/>
                <a:gd name="T22" fmla="*/ 28 w 39"/>
                <a:gd name="T23" fmla="*/ 1 h 14"/>
                <a:gd name="T24" fmla="*/ 28 w 39"/>
                <a:gd name="T25" fmla="*/ 1 h 14"/>
                <a:gd name="T26" fmla="*/ 27 w 39"/>
                <a:gd name="T27" fmla="*/ 2 h 14"/>
                <a:gd name="T28" fmla="*/ 26 w 39"/>
                <a:gd name="T29" fmla="*/ 2 h 14"/>
                <a:gd name="T30" fmla="*/ 26 w 39"/>
                <a:gd name="T31" fmla="*/ 2 h 14"/>
                <a:gd name="T32" fmla="*/ 25 w 39"/>
                <a:gd name="T33" fmla="*/ 1 h 14"/>
                <a:gd name="T34" fmla="*/ 20 w 39"/>
                <a:gd name="T35" fmla="*/ 1 h 14"/>
                <a:gd name="T36" fmla="*/ 3 w 39"/>
                <a:gd name="T3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4">
                  <a:moveTo>
                    <a:pt x="3" y="0"/>
                  </a:moveTo>
                  <a:cubicBezTo>
                    <a:pt x="2" y="2"/>
                    <a:pt x="0" y="2"/>
                    <a:pt x="0" y="5"/>
                  </a:cubicBezTo>
                  <a:cubicBezTo>
                    <a:pt x="0" y="6"/>
                    <a:pt x="1" y="8"/>
                    <a:pt x="1" y="9"/>
                  </a:cubicBezTo>
                  <a:cubicBezTo>
                    <a:pt x="2" y="12"/>
                    <a:pt x="2" y="13"/>
                    <a:pt x="5" y="13"/>
                  </a:cubicBezTo>
                  <a:cubicBezTo>
                    <a:pt x="5" y="13"/>
                    <a:pt x="5" y="13"/>
                    <a:pt x="5" y="13"/>
                  </a:cubicBezTo>
                  <a:cubicBezTo>
                    <a:pt x="7" y="13"/>
                    <a:pt x="9" y="13"/>
                    <a:pt x="10" y="13"/>
                  </a:cubicBezTo>
                  <a:cubicBezTo>
                    <a:pt x="11" y="12"/>
                    <a:pt x="12" y="12"/>
                    <a:pt x="14" y="12"/>
                  </a:cubicBezTo>
                  <a:cubicBezTo>
                    <a:pt x="17" y="12"/>
                    <a:pt x="21" y="13"/>
                    <a:pt x="22" y="13"/>
                  </a:cubicBezTo>
                  <a:cubicBezTo>
                    <a:pt x="23" y="14"/>
                    <a:pt x="24" y="14"/>
                    <a:pt x="25" y="14"/>
                  </a:cubicBezTo>
                  <a:cubicBezTo>
                    <a:pt x="28" y="14"/>
                    <a:pt x="32" y="12"/>
                    <a:pt x="33" y="11"/>
                  </a:cubicBezTo>
                  <a:cubicBezTo>
                    <a:pt x="36" y="7"/>
                    <a:pt x="39" y="5"/>
                    <a:pt x="34" y="3"/>
                  </a:cubicBezTo>
                  <a:cubicBezTo>
                    <a:pt x="32" y="2"/>
                    <a:pt x="30" y="2"/>
                    <a:pt x="28" y="1"/>
                  </a:cubicBezTo>
                  <a:cubicBezTo>
                    <a:pt x="28" y="1"/>
                    <a:pt x="28" y="1"/>
                    <a:pt x="28" y="1"/>
                  </a:cubicBezTo>
                  <a:cubicBezTo>
                    <a:pt x="28" y="1"/>
                    <a:pt x="28" y="1"/>
                    <a:pt x="27" y="2"/>
                  </a:cubicBezTo>
                  <a:cubicBezTo>
                    <a:pt x="27" y="2"/>
                    <a:pt x="27" y="2"/>
                    <a:pt x="26" y="2"/>
                  </a:cubicBezTo>
                  <a:cubicBezTo>
                    <a:pt x="26" y="2"/>
                    <a:pt x="26" y="2"/>
                    <a:pt x="26" y="2"/>
                  </a:cubicBezTo>
                  <a:cubicBezTo>
                    <a:pt x="26" y="1"/>
                    <a:pt x="26" y="1"/>
                    <a:pt x="25" y="1"/>
                  </a:cubicBezTo>
                  <a:cubicBezTo>
                    <a:pt x="23" y="1"/>
                    <a:pt x="22" y="1"/>
                    <a:pt x="20" y="1"/>
                  </a:cubicBezTo>
                  <a:cubicBezTo>
                    <a:pt x="14" y="1"/>
                    <a:pt x="9"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35"/>
            <p:cNvSpPr/>
            <p:nvPr/>
          </p:nvSpPr>
          <p:spPr bwMode="auto">
            <a:xfrm>
              <a:off x="8732970" y="583269"/>
              <a:ext cx="16947" cy="4237"/>
            </a:xfrm>
            <a:custGeom>
              <a:gdLst>
                <a:gd name="T0" fmla="*/ 5 w 5"/>
                <a:gd name="T1" fmla="*/ 0 h 1"/>
                <a:gd name="T2" fmla="*/ 0 w 5"/>
                <a:gd name="T3" fmla="*/ 1 h 1"/>
                <a:gd name="T4" fmla="*/ 3 w 5"/>
                <a:gd name="T5" fmla="*/ 1 h 1"/>
                <a:gd name="T6" fmla="*/ 5 w 5"/>
                <a:gd name="T7" fmla="*/ 0 h 1"/>
              </a:gdLst>
              <a:cxnLst>
                <a:cxn ang="0">
                  <a:pos x="T0" y="T1"/>
                </a:cxn>
                <a:cxn ang="0">
                  <a:pos x="T2" y="T3"/>
                </a:cxn>
                <a:cxn ang="0">
                  <a:pos x="T4" y="T5"/>
                </a:cxn>
                <a:cxn ang="0">
                  <a:pos x="T6" y="T7"/>
                </a:cxn>
              </a:cxnLst>
              <a:rect l="0" t="0" r="r" b="b"/>
              <a:pathLst>
                <a:path w="5" h="1">
                  <a:moveTo>
                    <a:pt x="5" y="0"/>
                  </a:moveTo>
                  <a:cubicBezTo>
                    <a:pt x="4" y="0"/>
                    <a:pt x="2" y="0"/>
                    <a:pt x="0" y="1"/>
                  </a:cubicBezTo>
                  <a:cubicBezTo>
                    <a:pt x="2" y="1"/>
                    <a:pt x="2" y="1"/>
                    <a:pt x="3" y="1"/>
                  </a:cubicBezTo>
                  <a:cubicBezTo>
                    <a:pt x="4"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36"/>
            <p:cNvSpPr/>
            <p:nvPr/>
          </p:nvSpPr>
          <p:spPr bwMode="auto">
            <a:xfrm>
              <a:off x="8997064" y="690602"/>
              <a:ext cx="2825" cy="9886"/>
            </a:xfrm>
            <a:custGeom>
              <a:gdLst>
                <a:gd name="T0" fmla="*/ 0 w 1"/>
                <a:gd name="T1" fmla="*/ 0 h 3"/>
                <a:gd name="T2" fmla="*/ 0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0" y="3"/>
                  </a:cubicBezTo>
                  <a:cubicBezTo>
                    <a:pt x="0"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37"/>
            <p:cNvSpPr/>
            <p:nvPr/>
          </p:nvSpPr>
          <p:spPr bwMode="auto">
            <a:xfrm>
              <a:off x="9066266" y="844540"/>
              <a:ext cx="36719" cy="33895"/>
            </a:xfrm>
            <a:custGeom>
              <a:gdLst>
                <a:gd name="T0" fmla="*/ 3 w 11"/>
                <a:gd name="T1" fmla="*/ 0 h 10"/>
                <a:gd name="T2" fmla="*/ 3 w 11"/>
                <a:gd name="T3" fmla="*/ 5 h 10"/>
                <a:gd name="T4" fmla="*/ 6 w 11"/>
                <a:gd name="T5" fmla="*/ 8 h 10"/>
                <a:gd name="T6" fmla="*/ 5 w 11"/>
                <a:gd name="T7" fmla="*/ 8 h 10"/>
                <a:gd name="T8" fmla="*/ 5 w 11"/>
                <a:gd name="T9" fmla="*/ 10 h 10"/>
                <a:gd name="T10" fmla="*/ 7 w 11"/>
                <a:gd name="T11" fmla="*/ 9 h 10"/>
                <a:gd name="T12" fmla="*/ 8 w 11"/>
                <a:gd name="T13" fmla="*/ 9 h 10"/>
                <a:gd name="T14" fmla="*/ 9 w 11"/>
                <a:gd name="T15" fmla="*/ 9 h 10"/>
                <a:gd name="T16" fmla="*/ 11 w 11"/>
                <a:gd name="T17" fmla="*/ 9 h 10"/>
                <a:gd name="T18" fmla="*/ 4 w 11"/>
                <a:gd name="T19" fmla="*/ 0 h 10"/>
                <a:gd name="T20" fmla="*/ 3 w 11"/>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3" y="0"/>
                  </a:moveTo>
                  <a:cubicBezTo>
                    <a:pt x="0" y="0"/>
                    <a:pt x="2" y="4"/>
                    <a:pt x="3" y="5"/>
                  </a:cubicBezTo>
                  <a:cubicBezTo>
                    <a:pt x="4" y="6"/>
                    <a:pt x="8" y="8"/>
                    <a:pt x="6" y="8"/>
                  </a:cubicBezTo>
                  <a:cubicBezTo>
                    <a:pt x="6" y="8"/>
                    <a:pt x="5" y="8"/>
                    <a:pt x="5" y="8"/>
                  </a:cubicBezTo>
                  <a:cubicBezTo>
                    <a:pt x="5" y="8"/>
                    <a:pt x="5" y="9"/>
                    <a:pt x="5" y="10"/>
                  </a:cubicBezTo>
                  <a:cubicBezTo>
                    <a:pt x="6" y="9"/>
                    <a:pt x="7" y="9"/>
                    <a:pt x="7" y="9"/>
                  </a:cubicBezTo>
                  <a:cubicBezTo>
                    <a:pt x="8" y="9"/>
                    <a:pt x="8" y="9"/>
                    <a:pt x="8" y="9"/>
                  </a:cubicBezTo>
                  <a:cubicBezTo>
                    <a:pt x="9" y="9"/>
                    <a:pt x="9" y="9"/>
                    <a:pt x="9" y="9"/>
                  </a:cubicBezTo>
                  <a:cubicBezTo>
                    <a:pt x="10" y="9"/>
                    <a:pt x="10" y="9"/>
                    <a:pt x="11" y="9"/>
                  </a:cubicBezTo>
                  <a:cubicBezTo>
                    <a:pt x="10" y="5"/>
                    <a:pt x="7"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39"/>
            <p:cNvSpPr/>
            <p:nvPr/>
          </p:nvSpPr>
          <p:spPr bwMode="auto">
            <a:xfrm>
              <a:off x="7744381" y="553611"/>
              <a:ext cx="168060" cy="63552"/>
            </a:xfrm>
            <a:custGeom>
              <a:gdLst>
                <a:gd name="T0" fmla="*/ 14 w 50"/>
                <a:gd name="T1" fmla="*/ 0 h 19"/>
                <a:gd name="T2" fmla="*/ 0 w 50"/>
                <a:gd name="T3" fmla="*/ 5 h 19"/>
                <a:gd name="T4" fmla="*/ 22 w 50"/>
                <a:gd name="T5" fmla="*/ 16 h 19"/>
                <a:gd name="T6" fmla="*/ 28 w 50"/>
                <a:gd name="T7" fmla="*/ 19 h 19"/>
                <a:gd name="T8" fmla="*/ 28 w 50"/>
                <a:gd name="T9" fmla="*/ 19 h 19"/>
                <a:gd name="T10" fmla="*/ 27 w 50"/>
                <a:gd name="T11" fmla="*/ 18 h 19"/>
                <a:gd name="T12" fmla="*/ 28 w 50"/>
                <a:gd name="T13" fmla="*/ 15 h 19"/>
                <a:gd name="T14" fmla="*/ 33 w 50"/>
                <a:gd name="T15" fmla="*/ 14 h 19"/>
                <a:gd name="T16" fmla="*/ 36 w 50"/>
                <a:gd name="T17" fmla="*/ 13 h 19"/>
                <a:gd name="T18" fmla="*/ 40 w 50"/>
                <a:gd name="T19" fmla="*/ 14 h 19"/>
                <a:gd name="T20" fmla="*/ 46 w 50"/>
                <a:gd name="T21" fmla="*/ 15 h 19"/>
                <a:gd name="T22" fmla="*/ 50 w 50"/>
                <a:gd name="T23" fmla="*/ 15 h 19"/>
                <a:gd name="T24" fmla="*/ 33 w 50"/>
                <a:gd name="T25" fmla="*/ 4 h 19"/>
                <a:gd name="T26" fmla="*/ 14 w 50"/>
                <a:gd name="T27"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9">
                  <a:moveTo>
                    <a:pt x="14" y="0"/>
                  </a:moveTo>
                  <a:cubicBezTo>
                    <a:pt x="9" y="1"/>
                    <a:pt x="5" y="3"/>
                    <a:pt x="0" y="5"/>
                  </a:cubicBezTo>
                  <a:cubicBezTo>
                    <a:pt x="7" y="9"/>
                    <a:pt x="14" y="15"/>
                    <a:pt x="22" y="16"/>
                  </a:cubicBezTo>
                  <a:cubicBezTo>
                    <a:pt x="24" y="16"/>
                    <a:pt x="26" y="19"/>
                    <a:pt x="28" y="19"/>
                  </a:cubicBezTo>
                  <a:cubicBezTo>
                    <a:pt x="28" y="19"/>
                    <a:pt x="28" y="19"/>
                    <a:pt x="28" y="19"/>
                  </a:cubicBezTo>
                  <a:cubicBezTo>
                    <a:pt x="27" y="18"/>
                    <a:pt x="27" y="18"/>
                    <a:pt x="27" y="18"/>
                  </a:cubicBezTo>
                  <a:cubicBezTo>
                    <a:pt x="27" y="17"/>
                    <a:pt x="28" y="16"/>
                    <a:pt x="28" y="15"/>
                  </a:cubicBezTo>
                  <a:cubicBezTo>
                    <a:pt x="29" y="14"/>
                    <a:pt x="32" y="14"/>
                    <a:pt x="33" y="14"/>
                  </a:cubicBezTo>
                  <a:cubicBezTo>
                    <a:pt x="34" y="13"/>
                    <a:pt x="35" y="13"/>
                    <a:pt x="36" y="13"/>
                  </a:cubicBezTo>
                  <a:cubicBezTo>
                    <a:pt x="37" y="13"/>
                    <a:pt x="38" y="14"/>
                    <a:pt x="40" y="14"/>
                  </a:cubicBezTo>
                  <a:cubicBezTo>
                    <a:pt x="43" y="15"/>
                    <a:pt x="45" y="15"/>
                    <a:pt x="46" y="15"/>
                  </a:cubicBezTo>
                  <a:cubicBezTo>
                    <a:pt x="48" y="15"/>
                    <a:pt x="49" y="15"/>
                    <a:pt x="50" y="15"/>
                  </a:cubicBezTo>
                  <a:cubicBezTo>
                    <a:pt x="48" y="9"/>
                    <a:pt x="39" y="6"/>
                    <a:pt x="33" y="4"/>
                  </a:cubicBezTo>
                  <a:cubicBezTo>
                    <a:pt x="27" y="1"/>
                    <a:pt x="21"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40"/>
            <p:cNvSpPr/>
            <p:nvPr/>
          </p:nvSpPr>
          <p:spPr bwMode="auto">
            <a:xfrm>
              <a:off x="7156877" y="714610"/>
              <a:ext cx="7061" cy="5649"/>
            </a:xfrm>
            <a:custGeom>
              <a:gdLst>
                <a:gd name="T0" fmla="*/ 2 w 2"/>
                <a:gd name="T1" fmla="*/ 0 h 2"/>
                <a:gd name="T2" fmla="*/ 0 w 2"/>
                <a:gd name="T3" fmla="*/ 2 h 2"/>
                <a:gd name="T4" fmla="*/ 2 w 2"/>
                <a:gd name="T5" fmla="*/ 0 h 2"/>
                <a:gd name="T6" fmla="*/ 2 w 2"/>
                <a:gd name="T7" fmla="*/ 0 h 2"/>
              </a:gdLst>
              <a:cxnLst>
                <a:cxn ang="0">
                  <a:pos x="T0" y="T1"/>
                </a:cxn>
                <a:cxn ang="0">
                  <a:pos x="T2" y="T3"/>
                </a:cxn>
                <a:cxn ang="0">
                  <a:pos x="T4" y="T5"/>
                </a:cxn>
                <a:cxn ang="0">
                  <a:pos x="T6" y="T7"/>
                </a:cxn>
              </a:cxnLst>
              <a:rect l="0" t="0" r="r" b="b"/>
              <a:pathLst>
                <a:path w="2" h="2">
                  <a:moveTo>
                    <a:pt x="2" y="0"/>
                  </a:moveTo>
                  <a:cubicBezTo>
                    <a:pt x="1" y="0"/>
                    <a:pt x="0" y="1"/>
                    <a:pt x="0" y="2"/>
                  </a:cubicBezTo>
                  <a:cubicBezTo>
                    <a:pt x="0" y="2"/>
                    <a:pt x="1"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41"/>
            <p:cNvSpPr/>
            <p:nvPr/>
          </p:nvSpPr>
          <p:spPr bwMode="auto">
            <a:xfrm>
              <a:off x="8135580" y="521129"/>
              <a:ext cx="43780" cy="15535"/>
            </a:xfrm>
            <a:custGeom>
              <a:gdLst>
                <a:gd name="T0" fmla="*/ 1 w 13"/>
                <a:gd name="T1" fmla="*/ 0 h 5"/>
                <a:gd name="T2" fmla="*/ 0 w 13"/>
                <a:gd name="T3" fmla="*/ 0 h 5"/>
                <a:gd name="T4" fmla="*/ 8 w 13"/>
                <a:gd name="T5" fmla="*/ 4 h 5"/>
                <a:gd name="T6" fmla="*/ 12 w 13"/>
                <a:gd name="T7" fmla="*/ 5 h 5"/>
                <a:gd name="T8" fmla="*/ 1 w 13"/>
                <a:gd name="T9" fmla="*/ 0 h 5"/>
              </a:gdLst>
              <a:cxnLst>
                <a:cxn ang="0">
                  <a:pos x="T0" y="T1"/>
                </a:cxn>
                <a:cxn ang="0">
                  <a:pos x="T2" y="T3"/>
                </a:cxn>
                <a:cxn ang="0">
                  <a:pos x="T4" y="T5"/>
                </a:cxn>
                <a:cxn ang="0">
                  <a:pos x="T6" y="T7"/>
                </a:cxn>
                <a:cxn ang="0">
                  <a:pos x="T8" y="T9"/>
                </a:cxn>
              </a:cxnLst>
              <a:rect l="0" t="0" r="r" b="b"/>
              <a:pathLst>
                <a:path w="13" h="5">
                  <a:moveTo>
                    <a:pt x="1" y="0"/>
                  </a:moveTo>
                  <a:cubicBezTo>
                    <a:pt x="1" y="0"/>
                    <a:pt x="1" y="0"/>
                    <a:pt x="0" y="0"/>
                  </a:cubicBezTo>
                  <a:cubicBezTo>
                    <a:pt x="2" y="2"/>
                    <a:pt x="6" y="4"/>
                    <a:pt x="8" y="4"/>
                  </a:cubicBezTo>
                  <a:cubicBezTo>
                    <a:pt x="9" y="5"/>
                    <a:pt x="11" y="5"/>
                    <a:pt x="12" y="5"/>
                  </a:cubicBezTo>
                  <a:cubicBezTo>
                    <a:pt x="13" y="1"/>
                    <a:pt x="5"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42"/>
            <p:cNvSpPr/>
            <p:nvPr/>
          </p:nvSpPr>
          <p:spPr bwMode="auto">
            <a:xfrm>
              <a:off x="8162413" y="430743"/>
              <a:ext cx="26833" cy="2825"/>
            </a:xfrm>
            <a:custGeom>
              <a:gdLst>
                <a:gd name="T0" fmla="*/ 0 w 8"/>
                <a:gd name="T1" fmla="*/ 0 h 1"/>
                <a:gd name="T2" fmla="*/ 2 w 8"/>
                <a:gd name="T3" fmla="*/ 0 h 1"/>
                <a:gd name="T4" fmla="*/ 8 w 8"/>
                <a:gd name="T5" fmla="*/ 1 h 1"/>
                <a:gd name="T6" fmla="*/ 8 w 8"/>
                <a:gd name="T7" fmla="*/ 1 h 1"/>
                <a:gd name="T8" fmla="*/ 8 w 8"/>
                <a:gd name="T9" fmla="*/ 1 h 1"/>
                <a:gd name="T10" fmla="*/ 8 w 8"/>
                <a:gd name="T11" fmla="*/ 1 h 1"/>
                <a:gd name="T12" fmla="*/ 8 w 8"/>
                <a:gd name="T13" fmla="*/ 1 h 1"/>
                <a:gd name="T14" fmla="*/ 7 w 8"/>
                <a:gd name="T15" fmla="*/ 1 h 1"/>
                <a:gd name="T16" fmla="*/ 5 w 8"/>
                <a:gd name="T17" fmla="*/ 1 h 1"/>
                <a:gd name="T18" fmla="*/ 0 w 8"/>
                <a:gd name="T1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
                  <a:moveTo>
                    <a:pt x="0" y="0"/>
                  </a:moveTo>
                  <a:cubicBezTo>
                    <a:pt x="1" y="0"/>
                    <a:pt x="1" y="0"/>
                    <a:pt x="2" y="0"/>
                  </a:cubicBezTo>
                  <a:cubicBezTo>
                    <a:pt x="4" y="1"/>
                    <a:pt x="6"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6" y="1"/>
                    <a:pt x="6" y="1"/>
                    <a:pt x="5" y="1"/>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43"/>
            <p:cNvSpPr/>
            <p:nvPr/>
          </p:nvSpPr>
          <p:spPr bwMode="auto">
            <a:xfrm>
              <a:off x="9039432" y="717435"/>
              <a:ext cx="33894" cy="19772"/>
            </a:xfrm>
            <a:custGeom>
              <a:gdLst>
                <a:gd name="T0" fmla="*/ 5 w 10"/>
                <a:gd name="T1" fmla="*/ 0 h 6"/>
                <a:gd name="T2" fmla="*/ 4 w 10"/>
                <a:gd name="T3" fmla="*/ 6 h 6"/>
                <a:gd name="T4" fmla="*/ 4 w 10"/>
                <a:gd name="T5" fmla="*/ 6 h 6"/>
                <a:gd name="T6" fmla="*/ 7 w 10"/>
                <a:gd name="T7" fmla="*/ 5 h 6"/>
                <a:gd name="T8" fmla="*/ 10 w 10"/>
                <a:gd name="T9" fmla="*/ 5 h 6"/>
                <a:gd name="T10" fmla="*/ 10 w 10"/>
                <a:gd name="T11" fmla="*/ 5 h 6"/>
                <a:gd name="T12" fmla="*/ 5 w 10"/>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10" h="6">
                  <a:moveTo>
                    <a:pt x="5" y="0"/>
                  </a:moveTo>
                  <a:cubicBezTo>
                    <a:pt x="3" y="1"/>
                    <a:pt x="0" y="5"/>
                    <a:pt x="4" y="6"/>
                  </a:cubicBezTo>
                  <a:cubicBezTo>
                    <a:pt x="4" y="6"/>
                    <a:pt x="4" y="6"/>
                    <a:pt x="4" y="6"/>
                  </a:cubicBezTo>
                  <a:cubicBezTo>
                    <a:pt x="5" y="6"/>
                    <a:pt x="6" y="6"/>
                    <a:pt x="7" y="5"/>
                  </a:cubicBezTo>
                  <a:cubicBezTo>
                    <a:pt x="8" y="5"/>
                    <a:pt x="9" y="5"/>
                    <a:pt x="10" y="5"/>
                  </a:cubicBezTo>
                  <a:cubicBezTo>
                    <a:pt x="10" y="5"/>
                    <a:pt x="10" y="5"/>
                    <a:pt x="10" y="5"/>
                  </a:cubicBezTo>
                  <a:cubicBezTo>
                    <a:pt x="9" y="4"/>
                    <a:pt x="5"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44"/>
            <p:cNvSpPr/>
            <p:nvPr/>
          </p:nvSpPr>
          <p:spPr bwMode="auto">
            <a:xfrm>
              <a:off x="9063441" y="756979"/>
              <a:ext cx="9886" cy="7061"/>
            </a:xfrm>
            <a:custGeom>
              <a:gdLst>
                <a:gd name="T0" fmla="*/ 2 w 3"/>
                <a:gd name="T1" fmla="*/ 0 h 2"/>
                <a:gd name="T2" fmla="*/ 0 w 3"/>
                <a:gd name="T3" fmla="*/ 0 h 2"/>
                <a:gd name="T4" fmla="*/ 2 w 3"/>
                <a:gd name="T5" fmla="*/ 2 h 2"/>
                <a:gd name="T6" fmla="*/ 3 w 3"/>
                <a:gd name="T7" fmla="*/ 0 h 2"/>
                <a:gd name="T8" fmla="*/ 2 w 3"/>
                <a:gd name="T9" fmla="*/ 0 h 2"/>
              </a:gdLst>
              <a:cxnLst>
                <a:cxn ang="0">
                  <a:pos x="T0" y="T1"/>
                </a:cxn>
                <a:cxn ang="0">
                  <a:pos x="T2" y="T3"/>
                </a:cxn>
                <a:cxn ang="0">
                  <a:pos x="T4" y="T5"/>
                </a:cxn>
                <a:cxn ang="0">
                  <a:pos x="T6" y="T7"/>
                </a:cxn>
                <a:cxn ang="0">
                  <a:pos x="T8" y="T9"/>
                </a:cxn>
              </a:cxnLst>
              <a:rect l="0" t="0" r="r" b="b"/>
              <a:pathLst>
                <a:path w="3" h="2">
                  <a:moveTo>
                    <a:pt x="2" y="0"/>
                  </a:moveTo>
                  <a:cubicBezTo>
                    <a:pt x="2" y="0"/>
                    <a:pt x="1" y="0"/>
                    <a:pt x="0" y="0"/>
                  </a:cubicBezTo>
                  <a:cubicBezTo>
                    <a:pt x="1" y="1"/>
                    <a:pt x="1" y="1"/>
                    <a:pt x="2" y="2"/>
                  </a:cubicBezTo>
                  <a:cubicBezTo>
                    <a:pt x="2" y="1"/>
                    <a:pt x="2"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45"/>
            <p:cNvSpPr/>
            <p:nvPr/>
          </p:nvSpPr>
          <p:spPr bwMode="auto">
            <a:xfrm>
              <a:off x="9026722" y="730145"/>
              <a:ext cx="22596" cy="24009"/>
            </a:xfrm>
            <a:custGeom>
              <a:gdLst>
                <a:gd name="T0" fmla="*/ 4 w 7"/>
                <a:gd name="T1" fmla="*/ 0 h 7"/>
                <a:gd name="T2" fmla="*/ 0 w 7"/>
                <a:gd name="T3" fmla="*/ 1 h 7"/>
                <a:gd name="T4" fmla="*/ 3 w 7"/>
                <a:gd name="T5" fmla="*/ 7 h 7"/>
                <a:gd name="T6" fmla="*/ 4 w 7"/>
                <a:gd name="T7" fmla="*/ 7 h 7"/>
                <a:gd name="T8" fmla="*/ 4 w 7"/>
                <a:gd name="T9" fmla="*/ 0 h 7"/>
              </a:gdLst>
              <a:cxnLst>
                <a:cxn ang="0">
                  <a:pos x="T0" y="T1"/>
                </a:cxn>
                <a:cxn ang="0">
                  <a:pos x="T2" y="T3"/>
                </a:cxn>
                <a:cxn ang="0">
                  <a:pos x="T4" y="T5"/>
                </a:cxn>
                <a:cxn ang="0">
                  <a:pos x="T6" y="T7"/>
                </a:cxn>
                <a:cxn ang="0">
                  <a:pos x="T8" y="T9"/>
                </a:cxn>
              </a:cxnLst>
              <a:rect l="0" t="0" r="r" b="b"/>
              <a:pathLst>
                <a:path w="7" h="7">
                  <a:moveTo>
                    <a:pt x="4" y="0"/>
                  </a:moveTo>
                  <a:cubicBezTo>
                    <a:pt x="3" y="0"/>
                    <a:pt x="1" y="0"/>
                    <a:pt x="0" y="1"/>
                  </a:cubicBezTo>
                  <a:cubicBezTo>
                    <a:pt x="1" y="3"/>
                    <a:pt x="1" y="7"/>
                    <a:pt x="3" y="7"/>
                  </a:cubicBezTo>
                  <a:cubicBezTo>
                    <a:pt x="3" y="7"/>
                    <a:pt x="4" y="7"/>
                    <a:pt x="4" y="7"/>
                  </a:cubicBezTo>
                  <a:cubicBezTo>
                    <a:pt x="7" y="7"/>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46"/>
            <p:cNvSpPr/>
            <p:nvPr/>
          </p:nvSpPr>
          <p:spPr bwMode="auto">
            <a:xfrm>
              <a:off x="9026722" y="1050731"/>
              <a:ext cx="12710" cy="16947"/>
            </a:xfrm>
            <a:custGeom>
              <a:gdLst>
                <a:gd name="T0" fmla="*/ 3 w 4"/>
                <a:gd name="T1" fmla="*/ 0 h 5"/>
                <a:gd name="T2" fmla="*/ 0 w 4"/>
                <a:gd name="T3" fmla="*/ 5 h 5"/>
                <a:gd name="T4" fmla="*/ 4 w 4"/>
                <a:gd name="T5" fmla="*/ 2 h 5"/>
                <a:gd name="T6" fmla="*/ 3 w 4"/>
                <a:gd name="T7" fmla="*/ 0 h 5"/>
              </a:gdLst>
              <a:cxnLst>
                <a:cxn ang="0">
                  <a:pos x="T0" y="T1"/>
                </a:cxn>
                <a:cxn ang="0">
                  <a:pos x="T2" y="T3"/>
                </a:cxn>
                <a:cxn ang="0">
                  <a:pos x="T4" y="T5"/>
                </a:cxn>
                <a:cxn ang="0">
                  <a:pos x="T6" y="T7"/>
                </a:cxn>
              </a:cxnLst>
              <a:rect l="0" t="0" r="r" b="b"/>
              <a:pathLst>
                <a:path w="4" h="5">
                  <a:moveTo>
                    <a:pt x="3" y="0"/>
                  </a:moveTo>
                  <a:cubicBezTo>
                    <a:pt x="2" y="0"/>
                    <a:pt x="1" y="5"/>
                    <a:pt x="0" y="5"/>
                  </a:cubicBezTo>
                  <a:cubicBezTo>
                    <a:pt x="2" y="4"/>
                    <a:pt x="3" y="3"/>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58"/>
            <p:cNvSpPr/>
            <p:nvPr/>
          </p:nvSpPr>
          <p:spPr bwMode="auto">
            <a:xfrm>
              <a:off x="6800985" y="1972946"/>
              <a:ext cx="9886" cy="2825"/>
            </a:xfrm>
            <a:custGeom>
              <a:gdLst>
                <a:gd name="T0" fmla="*/ 1 w 3"/>
                <a:gd name="T1" fmla="*/ 0 h 1"/>
                <a:gd name="T2" fmla="*/ 0 w 3"/>
                <a:gd name="T3" fmla="*/ 1 h 1"/>
                <a:gd name="T4" fmla="*/ 3 w 3"/>
                <a:gd name="T5" fmla="*/ 1 h 1"/>
                <a:gd name="T6" fmla="*/ 1 w 3"/>
                <a:gd name="T7" fmla="*/ 0 h 1"/>
              </a:gdLst>
              <a:cxnLst>
                <a:cxn ang="0">
                  <a:pos x="T0" y="T1"/>
                </a:cxn>
                <a:cxn ang="0">
                  <a:pos x="T2" y="T3"/>
                </a:cxn>
                <a:cxn ang="0">
                  <a:pos x="T4" y="T5"/>
                </a:cxn>
                <a:cxn ang="0">
                  <a:pos x="T6" y="T7"/>
                </a:cxn>
              </a:cxnLst>
              <a:rect l="0" t="0" r="r" b="b"/>
              <a:pathLst>
                <a:path w="3" h="1">
                  <a:moveTo>
                    <a:pt x="1" y="0"/>
                  </a:moveTo>
                  <a:cubicBezTo>
                    <a:pt x="1" y="0"/>
                    <a:pt x="1" y="1"/>
                    <a:pt x="0" y="1"/>
                  </a:cubicBezTo>
                  <a:cubicBezTo>
                    <a:pt x="1" y="1"/>
                    <a:pt x="2" y="1"/>
                    <a:pt x="3"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59"/>
            <p:cNvSpPr/>
            <p:nvPr/>
          </p:nvSpPr>
          <p:spPr bwMode="auto">
            <a:xfrm>
              <a:off x="6713424" y="2026612"/>
              <a:ext cx="24009" cy="16947"/>
            </a:xfrm>
            <a:custGeom>
              <a:gdLst>
                <a:gd name="T0" fmla="*/ 4 w 7"/>
                <a:gd name="T1" fmla="*/ 0 h 5"/>
                <a:gd name="T2" fmla="*/ 0 w 7"/>
                <a:gd name="T3" fmla="*/ 0 h 5"/>
                <a:gd name="T4" fmla="*/ 3 w 7"/>
                <a:gd name="T5" fmla="*/ 5 h 5"/>
                <a:gd name="T6" fmla="*/ 4 w 7"/>
                <a:gd name="T7" fmla="*/ 5 h 5"/>
                <a:gd name="T8" fmla="*/ 7 w 7"/>
                <a:gd name="T9" fmla="*/ 2 h 5"/>
                <a:gd name="T10" fmla="*/ 4 w 7"/>
                <a:gd name="T11" fmla="*/ 0 h 5"/>
              </a:gdLst>
              <a:cxnLst>
                <a:cxn ang="0">
                  <a:pos x="T0" y="T1"/>
                </a:cxn>
                <a:cxn ang="0">
                  <a:pos x="T2" y="T3"/>
                </a:cxn>
                <a:cxn ang="0">
                  <a:pos x="T4" y="T5"/>
                </a:cxn>
                <a:cxn ang="0">
                  <a:pos x="T6" y="T7"/>
                </a:cxn>
                <a:cxn ang="0">
                  <a:pos x="T8" y="T9"/>
                </a:cxn>
                <a:cxn ang="0">
                  <a:pos x="T10" y="T11"/>
                </a:cxn>
              </a:cxnLst>
              <a:rect l="0" t="0" r="r" b="b"/>
              <a:pathLst>
                <a:path w="7" h="5">
                  <a:moveTo>
                    <a:pt x="4" y="0"/>
                  </a:moveTo>
                  <a:cubicBezTo>
                    <a:pt x="3" y="0"/>
                    <a:pt x="2" y="0"/>
                    <a:pt x="0" y="0"/>
                  </a:cubicBezTo>
                  <a:cubicBezTo>
                    <a:pt x="1" y="2"/>
                    <a:pt x="2" y="3"/>
                    <a:pt x="3" y="5"/>
                  </a:cubicBezTo>
                  <a:cubicBezTo>
                    <a:pt x="4" y="5"/>
                    <a:pt x="4" y="5"/>
                    <a:pt x="4" y="5"/>
                  </a:cubicBezTo>
                  <a:cubicBezTo>
                    <a:pt x="6" y="5"/>
                    <a:pt x="7" y="4"/>
                    <a:pt x="7" y="2"/>
                  </a:cubicBezTo>
                  <a:cubicBezTo>
                    <a:pt x="7" y="0"/>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60"/>
            <p:cNvSpPr/>
            <p:nvPr/>
          </p:nvSpPr>
          <p:spPr bwMode="auto">
            <a:xfrm>
              <a:off x="6867361" y="2056270"/>
              <a:ext cx="36719" cy="19772"/>
            </a:xfrm>
            <a:custGeom>
              <a:gdLst>
                <a:gd name="T0" fmla="*/ 10 w 11"/>
                <a:gd name="T1" fmla="*/ 0 h 6"/>
                <a:gd name="T2" fmla="*/ 4 w 11"/>
                <a:gd name="T3" fmla="*/ 6 h 6"/>
                <a:gd name="T4" fmla="*/ 9 w 11"/>
                <a:gd name="T5" fmla="*/ 2 h 6"/>
                <a:gd name="T6" fmla="*/ 10 w 11"/>
                <a:gd name="T7" fmla="*/ 1 h 6"/>
                <a:gd name="T8" fmla="*/ 10 w 11"/>
                <a:gd name="T9" fmla="*/ 0 h 6"/>
              </a:gdLst>
              <a:cxnLst>
                <a:cxn ang="0">
                  <a:pos x="T0" y="T1"/>
                </a:cxn>
                <a:cxn ang="0">
                  <a:pos x="T2" y="T3"/>
                </a:cxn>
                <a:cxn ang="0">
                  <a:pos x="T4" y="T5"/>
                </a:cxn>
                <a:cxn ang="0">
                  <a:pos x="T6" y="T7"/>
                </a:cxn>
                <a:cxn ang="0">
                  <a:pos x="T8" y="T9"/>
                </a:cxn>
              </a:cxnLst>
              <a:rect l="0" t="0" r="r" b="b"/>
              <a:pathLst>
                <a:path w="11" h="6">
                  <a:moveTo>
                    <a:pt x="10" y="0"/>
                  </a:moveTo>
                  <a:cubicBezTo>
                    <a:pt x="7" y="0"/>
                    <a:pt x="0" y="4"/>
                    <a:pt x="4" y="6"/>
                  </a:cubicBezTo>
                  <a:cubicBezTo>
                    <a:pt x="6" y="6"/>
                    <a:pt x="8" y="4"/>
                    <a:pt x="9" y="2"/>
                  </a:cubicBezTo>
                  <a:cubicBezTo>
                    <a:pt x="9" y="2"/>
                    <a:pt x="11" y="1"/>
                    <a:pt x="10" y="1"/>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61"/>
            <p:cNvSpPr/>
            <p:nvPr/>
          </p:nvSpPr>
          <p:spPr bwMode="auto">
            <a:xfrm>
              <a:off x="6806634" y="2100051"/>
              <a:ext cx="7061" cy="9886"/>
            </a:xfrm>
            <a:custGeom>
              <a:gdLst>
                <a:gd name="T0" fmla="*/ 1 w 2"/>
                <a:gd name="T1" fmla="*/ 0 h 3"/>
                <a:gd name="T2" fmla="*/ 0 w 2"/>
                <a:gd name="T3" fmla="*/ 2 h 3"/>
                <a:gd name="T4" fmla="*/ 1 w 2"/>
                <a:gd name="T5" fmla="*/ 3 h 3"/>
                <a:gd name="T6" fmla="*/ 1 w 2"/>
                <a:gd name="T7" fmla="*/ 0 h 3"/>
              </a:gdLst>
              <a:cxnLst>
                <a:cxn ang="0">
                  <a:pos x="T0" y="T1"/>
                </a:cxn>
                <a:cxn ang="0">
                  <a:pos x="T2" y="T3"/>
                </a:cxn>
                <a:cxn ang="0">
                  <a:pos x="T4" y="T5"/>
                </a:cxn>
                <a:cxn ang="0">
                  <a:pos x="T6" y="T7"/>
                </a:cxn>
              </a:cxnLst>
              <a:rect l="0" t="0" r="r" b="b"/>
              <a:pathLst>
                <a:path w="2" h="3">
                  <a:moveTo>
                    <a:pt x="1" y="0"/>
                  </a:moveTo>
                  <a:cubicBezTo>
                    <a:pt x="1" y="1"/>
                    <a:pt x="0" y="1"/>
                    <a:pt x="0" y="2"/>
                  </a:cubicBezTo>
                  <a:cubicBezTo>
                    <a:pt x="0" y="2"/>
                    <a:pt x="0" y="3"/>
                    <a:pt x="1" y="3"/>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62"/>
            <p:cNvSpPr/>
            <p:nvPr/>
          </p:nvSpPr>
          <p:spPr bwMode="auto">
            <a:xfrm>
              <a:off x="6760029" y="2016727"/>
              <a:ext cx="40956" cy="12710"/>
            </a:xfrm>
            <a:custGeom>
              <a:gdLst>
                <a:gd name="T0" fmla="*/ 7 w 12"/>
                <a:gd name="T1" fmla="*/ 0 h 4"/>
                <a:gd name="T2" fmla="*/ 6 w 12"/>
                <a:gd name="T3" fmla="*/ 0 h 4"/>
                <a:gd name="T4" fmla="*/ 11 w 12"/>
                <a:gd name="T5" fmla="*/ 4 h 4"/>
                <a:gd name="T6" fmla="*/ 9 w 12"/>
                <a:gd name="T7" fmla="*/ 0 h 4"/>
                <a:gd name="T8" fmla="*/ 7 w 12"/>
                <a:gd name="T9" fmla="*/ 0 h 4"/>
              </a:gdLst>
              <a:cxnLst>
                <a:cxn ang="0">
                  <a:pos x="T0" y="T1"/>
                </a:cxn>
                <a:cxn ang="0">
                  <a:pos x="T2" y="T3"/>
                </a:cxn>
                <a:cxn ang="0">
                  <a:pos x="T4" y="T5"/>
                </a:cxn>
                <a:cxn ang="0">
                  <a:pos x="T6" y="T7"/>
                </a:cxn>
                <a:cxn ang="0">
                  <a:pos x="T8" y="T9"/>
                </a:cxn>
              </a:cxnLst>
              <a:rect l="0" t="0" r="r" b="b"/>
              <a:pathLst>
                <a:path w="12" h="4">
                  <a:moveTo>
                    <a:pt x="7" y="0"/>
                  </a:moveTo>
                  <a:cubicBezTo>
                    <a:pt x="6" y="0"/>
                    <a:pt x="6" y="0"/>
                    <a:pt x="6" y="0"/>
                  </a:cubicBezTo>
                  <a:cubicBezTo>
                    <a:pt x="0" y="3"/>
                    <a:pt x="11" y="4"/>
                    <a:pt x="11" y="4"/>
                  </a:cubicBezTo>
                  <a:cubicBezTo>
                    <a:pt x="12" y="2"/>
                    <a:pt x="10"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63"/>
            <p:cNvSpPr/>
            <p:nvPr/>
          </p:nvSpPr>
          <p:spPr bwMode="auto">
            <a:xfrm>
              <a:off x="6717661" y="1989893"/>
              <a:ext cx="66377" cy="96035"/>
            </a:xfrm>
            <a:custGeom>
              <a:gdLst>
                <a:gd name="T0" fmla="*/ 6 w 20"/>
                <a:gd name="T1" fmla="*/ 0 h 29"/>
                <a:gd name="T2" fmla="*/ 3 w 20"/>
                <a:gd name="T3" fmla="*/ 3 h 29"/>
                <a:gd name="T4" fmla="*/ 1 w 20"/>
                <a:gd name="T5" fmla="*/ 4 h 29"/>
                <a:gd name="T6" fmla="*/ 2 w 20"/>
                <a:gd name="T7" fmla="*/ 5 h 29"/>
                <a:gd name="T8" fmla="*/ 3 w 20"/>
                <a:gd name="T9" fmla="*/ 5 h 29"/>
                <a:gd name="T10" fmla="*/ 4 w 20"/>
                <a:gd name="T11" fmla="*/ 4 h 29"/>
                <a:gd name="T12" fmla="*/ 4 w 20"/>
                <a:gd name="T13" fmla="*/ 5 h 29"/>
                <a:gd name="T14" fmla="*/ 6 w 20"/>
                <a:gd name="T15" fmla="*/ 8 h 29"/>
                <a:gd name="T16" fmla="*/ 8 w 20"/>
                <a:gd name="T17" fmla="*/ 13 h 29"/>
                <a:gd name="T18" fmla="*/ 12 w 20"/>
                <a:gd name="T19" fmla="*/ 19 h 29"/>
                <a:gd name="T20" fmla="*/ 5 w 20"/>
                <a:gd name="T21" fmla="*/ 22 h 29"/>
                <a:gd name="T22" fmla="*/ 11 w 20"/>
                <a:gd name="T23" fmla="*/ 29 h 29"/>
                <a:gd name="T24" fmla="*/ 20 w 20"/>
                <a:gd name="T25" fmla="*/ 21 h 29"/>
                <a:gd name="T26" fmla="*/ 17 w 20"/>
                <a:gd name="T27" fmla="*/ 19 h 29"/>
                <a:gd name="T28" fmla="*/ 17 w 20"/>
                <a:gd name="T29" fmla="*/ 19 h 29"/>
                <a:gd name="T30" fmla="*/ 15 w 20"/>
                <a:gd name="T31" fmla="*/ 13 h 29"/>
                <a:gd name="T32" fmla="*/ 12 w 20"/>
                <a:gd name="T33" fmla="*/ 11 h 29"/>
                <a:gd name="T34" fmla="*/ 6 w 20"/>
                <a:gd name="T35" fmla="*/ 0 h 29"/>
                <a:gd name="T36" fmla="*/ 6 w 20"/>
                <a:gd name="T37"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8">
                  <a:moveTo>
                    <a:pt x="6" y="0"/>
                  </a:moveTo>
                  <a:cubicBezTo>
                    <a:pt x="6" y="0"/>
                    <a:pt x="4" y="2"/>
                    <a:pt x="3" y="3"/>
                  </a:cubicBezTo>
                  <a:cubicBezTo>
                    <a:pt x="1" y="4"/>
                    <a:pt x="1" y="4"/>
                    <a:pt x="1" y="4"/>
                  </a:cubicBezTo>
                  <a:cubicBezTo>
                    <a:pt x="1" y="5"/>
                    <a:pt x="1" y="5"/>
                    <a:pt x="2" y="5"/>
                  </a:cubicBezTo>
                  <a:cubicBezTo>
                    <a:pt x="2" y="5"/>
                    <a:pt x="2" y="5"/>
                    <a:pt x="3" y="5"/>
                  </a:cubicBezTo>
                  <a:cubicBezTo>
                    <a:pt x="3" y="5"/>
                    <a:pt x="4" y="4"/>
                    <a:pt x="4" y="4"/>
                  </a:cubicBezTo>
                  <a:cubicBezTo>
                    <a:pt x="4" y="4"/>
                    <a:pt x="4" y="5"/>
                    <a:pt x="4" y="5"/>
                  </a:cubicBezTo>
                  <a:cubicBezTo>
                    <a:pt x="6" y="5"/>
                    <a:pt x="5" y="7"/>
                    <a:pt x="6" y="8"/>
                  </a:cubicBezTo>
                  <a:cubicBezTo>
                    <a:pt x="6" y="11"/>
                    <a:pt x="7" y="11"/>
                    <a:pt x="8" y="13"/>
                  </a:cubicBezTo>
                  <a:cubicBezTo>
                    <a:pt x="10" y="14"/>
                    <a:pt x="13" y="17"/>
                    <a:pt x="12" y="19"/>
                  </a:cubicBezTo>
                  <a:cubicBezTo>
                    <a:pt x="10" y="21"/>
                    <a:pt x="7" y="20"/>
                    <a:pt x="5" y="22"/>
                  </a:cubicBezTo>
                  <a:cubicBezTo>
                    <a:pt x="0" y="27"/>
                    <a:pt x="7" y="27"/>
                    <a:pt x="11" y="29"/>
                  </a:cubicBezTo>
                  <a:cubicBezTo>
                    <a:pt x="14" y="26"/>
                    <a:pt x="17" y="24"/>
                    <a:pt x="20" y="21"/>
                  </a:cubicBezTo>
                  <a:cubicBezTo>
                    <a:pt x="18" y="21"/>
                    <a:pt x="18" y="19"/>
                    <a:pt x="17" y="19"/>
                  </a:cubicBezTo>
                  <a:cubicBezTo>
                    <a:pt x="17" y="19"/>
                    <a:pt x="17" y="19"/>
                    <a:pt x="17" y="19"/>
                  </a:cubicBezTo>
                  <a:cubicBezTo>
                    <a:pt x="16" y="16"/>
                    <a:pt x="16" y="15"/>
                    <a:pt x="15" y="13"/>
                  </a:cubicBezTo>
                  <a:cubicBezTo>
                    <a:pt x="14" y="12"/>
                    <a:pt x="13" y="12"/>
                    <a:pt x="12" y="11"/>
                  </a:cubicBezTo>
                  <a:cubicBezTo>
                    <a:pt x="10" y="8"/>
                    <a:pt x="10"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64"/>
            <p:cNvSpPr/>
            <p:nvPr/>
          </p:nvSpPr>
          <p:spPr bwMode="auto">
            <a:xfrm>
              <a:off x="6796748" y="2043560"/>
              <a:ext cx="36719" cy="15535"/>
            </a:xfrm>
            <a:custGeom>
              <a:gdLst>
                <a:gd name="T0" fmla="*/ 6 w 11"/>
                <a:gd name="T1" fmla="*/ 0 h 5"/>
                <a:gd name="T2" fmla="*/ 5 w 11"/>
                <a:gd name="T3" fmla="*/ 0 h 5"/>
                <a:gd name="T4" fmla="*/ 6 w 11"/>
                <a:gd name="T5" fmla="*/ 5 h 5"/>
                <a:gd name="T6" fmla="*/ 9 w 11"/>
                <a:gd name="T7" fmla="*/ 5 h 5"/>
                <a:gd name="T8" fmla="*/ 6 w 11"/>
                <a:gd name="T9" fmla="*/ 0 h 5"/>
              </a:gdLst>
              <a:cxnLst>
                <a:cxn ang="0">
                  <a:pos x="T0" y="T1"/>
                </a:cxn>
                <a:cxn ang="0">
                  <a:pos x="T2" y="T3"/>
                </a:cxn>
                <a:cxn ang="0">
                  <a:pos x="T4" y="T5"/>
                </a:cxn>
                <a:cxn ang="0">
                  <a:pos x="T6" y="T7"/>
                </a:cxn>
                <a:cxn ang="0">
                  <a:pos x="T8" y="T9"/>
                </a:cxn>
              </a:cxnLst>
              <a:rect l="0" t="0" r="r" b="b"/>
              <a:pathLst>
                <a:path w="11" h="5">
                  <a:moveTo>
                    <a:pt x="6" y="0"/>
                  </a:moveTo>
                  <a:cubicBezTo>
                    <a:pt x="6" y="0"/>
                    <a:pt x="5" y="0"/>
                    <a:pt x="5" y="0"/>
                  </a:cubicBezTo>
                  <a:cubicBezTo>
                    <a:pt x="0" y="1"/>
                    <a:pt x="1" y="5"/>
                    <a:pt x="6" y="5"/>
                  </a:cubicBezTo>
                  <a:cubicBezTo>
                    <a:pt x="7" y="5"/>
                    <a:pt x="8" y="5"/>
                    <a:pt x="9" y="5"/>
                  </a:cubicBezTo>
                  <a:cubicBezTo>
                    <a:pt x="11"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65"/>
            <p:cNvSpPr/>
            <p:nvPr/>
          </p:nvSpPr>
          <p:spPr bwMode="auto">
            <a:xfrm>
              <a:off x="8485823" y="580444"/>
              <a:ext cx="16947" cy="2825"/>
            </a:xfrm>
            <a:custGeom>
              <a:gdLst>
                <a:gd name="T0" fmla="*/ 2 w 5"/>
                <a:gd name="T1" fmla="*/ 0 h 1"/>
                <a:gd name="T2" fmla="*/ 0 w 5"/>
                <a:gd name="T3" fmla="*/ 0 h 1"/>
                <a:gd name="T4" fmla="*/ 4 w 5"/>
                <a:gd name="T5" fmla="*/ 1 h 1"/>
                <a:gd name="T6" fmla="*/ 5 w 5"/>
                <a:gd name="T7" fmla="*/ 1 h 1"/>
                <a:gd name="T8" fmla="*/ 5 w 5"/>
                <a:gd name="T9" fmla="*/ 1 h 1"/>
                <a:gd name="T10" fmla="*/ 5 w 5"/>
                <a:gd name="T11" fmla="*/ 1 h 1"/>
                <a:gd name="T12" fmla="*/ 4 w 5"/>
                <a:gd name="T13" fmla="*/ 1 h 1"/>
                <a:gd name="T14" fmla="*/ 4 w 5"/>
                <a:gd name="T15" fmla="*/ 1 h 1"/>
                <a:gd name="T16" fmla="*/ 3 w 5"/>
                <a:gd name="T17" fmla="*/ 0 h 1"/>
                <a:gd name="T18" fmla="*/ 2 w 5"/>
                <a:gd name="T1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
                  <a:moveTo>
                    <a:pt x="2" y="0"/>
                  </a:moveTo>
                  <a:cubicBezTo>
                    <a:pt x="1" y="0"/>
                    <a:pt x="1" y="0"/>
                    <a:pt x="0" y="0"/>
                  </a:cubicBezTo>
                  <a:cubicBezTo>
                    <a:pt x="1" y="1"/>
                    <a:pt x="3" y="1"/>
                    <a:pt x="4"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3" y="0"/>
                    <a:pt x="3" y="0"/>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66"/>
            <p:cNvSpPr/>
            <p:nvPr/>
          </p:nvSpPr>
          <p:spPr bwMode="auto">
            <a:xfrm>
              <a:off x="9049318" y="783812"/>
              <a:ext cx="24009" cy="33895"/>
            </a:xfrm>
            <a:custGeom>
              <a:gdLst>
                <a:gd name="T0" fmla="*/ 1 w 7"/>
                <a:gd name="T1" fmla="*/ 0 h 10"/>
                <a:gd name="T2" fmla="*/ 4 w 7"/>
                <a:gd name="T3" fmla="*/ 10 h 10"/>
                <a:gd name="T4" fmla="*/ 1 w 7"/>
                <a:gd name="T5" fmla="*/ 0 h 10"/>
              </a:gdLst>
              <a:cxnLst>
                <a:cxn ang="0">
                  <a:pos x="T0" y="T1"/>
                </a:cxn>
                <a:cxn ang="0">
                  <a:pos x="T2" y="T3"/>
                </a:cxn>
                <a:cxn ang="0">
                  <a:pos x="T4" y="T5"/>
                </a:cxn>
              </a:cxnLst>
              <a:rect l="0" t="0" r="r" b="b"/>
              <a:pathLst>
                <a:path w="7" h="10">
                  <a:moveTo>
                    <a:pt x="1" y="0"/>
                  </a:moveTo>
                  <a:cubicBezTo>
                    <a:pt x="0" y="2"/>
                    <a:pt x="1" y="8"/>
                    <a:pt x="4" y="10"/>
                  </a:cubicBezTo>
                  <a:cubicBezTo>
                    <a:pt x="7"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67"/>
            <p:cNvSpPr/>
            <p:nvPr/>
          </p:nvSpPr>
          <p:spPr bwMode="auto">
            <a:xfrm>
              <a:off x="7805108" y="279630"/>
              <a:ext cx="7061" cy="7061"/>
            </a:xfrm>
            <a:custGeom>
              <a:gdLst>
                <a:gd name="T0" fmla="*/ 0 w 2"/>
                <a:gd name="T1" fmla="*/ 0 h 2"/>
                <a:gd name="T2" fmla="*/ 2 w 2"/>
                <a:gd name="T3" fmla="*/ 2 h 2"/>
                <a:gd name="T4" fmla="*/ 1 w 2"/>
                <a:gd name="T5" fmla="*/ 1 h 2"/>
                <a:gd name="T6" fmla="*/ 0 w 2"/>
                <a:gd name="T7" fmla="*/ 0 h 2"/>
              </a:gdLst>
              <a:cxnLst>
                <a:cxn ang="0">
                  <a:pos x="T0" y="T1"/>
                </a:cxn>
                <a:cxn ang="0">
                  <a:pos x="T2" y="T3"/>
                </a:cxn>
                <a:cxn ang="0">
                  <a:pos x="T4" y="T5"/>
                </a:cxn>
                <a:cxn ang="0">
                  <a:pos x="T6" y="T7"/>
                </a:cxn>
              </a:cxnLst>
              <a:rect l="0" t="0" r="r" b="b"/>
              <a:pathLst>
                <a:path w="2" h="2">
                  <a:moveTo>
                    <a:pt x="0" y="0"/>
                  </a:moveTo>
                  <a:cubicBezTo>
                    <a:pt x="0" y="1"/>
                    <a:pt x="1" y="2"/>
                    <a:pt x="2" y="2"/>
                  </a:cubicBezTo>
                  <a:cubicBezTo>
                    <a:pt x="2" y="2"/>
                    <a:pt x="2" y="1"/>
                    <a:pt x="1" y="1"/>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68"/>
            <p:cNvSpPr/>
            <p:nvPr/>
          </p:nvSpPr>
          <p:spPr bwMode="auto">
            <a:xfrm>
              <a:off x="7717548" y="225964"/>
              <a:ext cx="26833" cy="11298"/>
            </a:xfrm>
            <a:custGeom>
              <a:gdLst>
                <a:gd name="T0" fmla="*/ 0 w 8"/>
                <a:gd name="T1" fmla="*/ 0 h 3"/>
                <a:gd name="T2" fmla="*/ 8 w 8"/>
                <a:gd name="T3" fmla="*/ 3 h 3"/>
                <a:gd name="T4" fmla="*/ 7 w 8"/>
                <a:gd name="T5" fmla="*/ 0 h 3"/>
                <a:gd name="T6" fmla="*/ 6 w 8"/>
                <a:gd name="T7" fmla="*/ 1 h 3"/>
                <a:gd name="T8" fmla="*/ 4 w 8"/>
                <a:gd name="T9" fmla="*/ 1 h 3"/>
                <a:gd name="T10" fmla="*/ 3 w 8"/>
                <a:gd name="T11" fmla="*/ 1 h 3"/>
                <a:gd name="T12" fmla="*/ 0 w 8"/>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8" h="3">
                  <a:moveTo>
                    <a:pt x="0" y="0"/>
                  </a:moveTo>
                  <a:cubicBezTo>
                    <a:pt x="3" y="2"/>
                    <a:pt x="6" y="2"/>
                    <a:pt x="8" y="3"/>
                  </a:cubicBezTo>
                  <a:cubicBezTo>
                    <a:pt x="8" y="1"/>
                    <a:pt x="8" y="0"/>
                    <a:pt x="7" y="0"/>
                  </a:cubicBezTo>
                  <a:cubicBezTo>
                    <a:pt x="7" y="0"/>
                    <a:pt x="6" y="1"/>
                    <a:pt x="6" y="1"/>
                  </a:cubicBezTo>
                  <a:cubicBezTo>
                    <a:pt x="5" y="1"/>
                    <a:pt x="5" y="1"/>
                    <a:pt x="4" y="1"/>
                  </a:cubicBezTo>
                  <a:cubicBezTo>
                    <a:pt x="4" y="1"/>
                    <a:pt x="4"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69"/>
            <p:cNvSpPr/>
            <p:nvPr/>
          </p:nvSpPr>
          <p:spPr bwMode="auto">
            <a:xfrm>
              <a:off x="7508532" y="484410"/>
              <a:ext cx="22596" cy="9886"/>
            </a:xfrm>
            <a:custGeom>
              <a:gdLst>
                <a:gd name="T0" fmla="*/ 0 w 7"/>
                <a:gd name="T1" fmla="*/ 0 h 3"/>
                <a:gd name="T2" fmla="*/ 2 w 7"/>
                <a:gd name="T3" fmla="*/ 3 h 3"/>
                <a:gd name="T4" fmla="*/ 3 w 7"/>
                <a:gd name="T5" fmla="*/ 3 h 3"/>
                <a:gd name="T6" fmla="*/ 7 w 7"/>
                <a:gd name="T7" fmla="*/ 1 h 3"/>
                <a:gd name="T8" fmla="*/ 7 w 7"/>
                <a:gd name="T9" fmla="*/ 1 h 3"/>
                <a:gd name="T10" fmla="*/ 0 w 7"/>
                <a:gd name="T11" fmla="*/ 0 h 3"/>
              </a:gdLst>
              <a:cxnLst>
                <a:cxn ang="0">
                  <a:pos x="T0" y="T1"/>
                </a:cxn>
                <a:cxn ang="0">
                  <a:pos x="T2" y="T3"/>
                </a:cxn>
                <a:cxn ang="0">
                  <a:pos x="T4" y="T5"/>
                </a:cxn>
                <a:cxn ang="0">
                  <a:pos x="T6" y="T7"/>
                </a:cxn>
                <a:cxn ang="0">
                  <a:pos x="T8" y="T9"/>
                </a:cxn>
                <a:cxn ang="0">
                  <a:pos x="T10" y="T11"/>
                </a:cxn>
              </a:cxnLst>
              <a:rect l="0" t="0" r="r" b="b"/>
              <a:pathLst>
                <a:path w="7" h="3">
                  <a:moveTo>
                    <a:pt x="0" y="0"/>
                  </a:moveTo>
                  <a:cubicBezTo>
                    <a:pt x="1" y="1"/>
                    <a:pt x="0" y="3"/>
                    <a:pt x="2" y="3"/>
                  </a:cubicBezTo>
                  <a:cubicBezTo>
                    <a:pt x="2" y="3"/>
                    <a:pt x="2" y="3"/>
                    <a:pt x="3" y="3"/>
                  </a:cubicBezTo>
                  <a:cubicBezTo>
                    <a:pt x="4" y="2"/>
                    <a:pt x="6" y="2"/>
                    <a:pt x="7" y="1"/>
                  </a:cubicBezTo>
                  <a:cubicBezTo>
                    <a:pt x="7" y="1"/>
                    <a:pt x="7" y="1"/>
                    <a:pt x="7"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70"/>
            <p:cNvSpPr>
              <a:spLocks noEditPoints="1"/>
            </p:cNvSpPr>
            <p:nvPr/>
          </p:nvSpPr>
          <p:spPr bwMode="auto">
            <a:xfrm>
              <a:off x="7230315" y="176534"/>
              <a:ext cx="841713" cy="271157"/>
            </a:xfrm>
            <a:custGeom>
              <a:gdLst>
                <a:gd name="T0" fmla="*/ 11 w 252"/>
                <a:gd name="T1" fmla="*/ 34 h 81"/>
                <a:gd name="T2" fmla="*/ 11 w 252"/>
                <a:gd name="T3" fmla="*/ 34 h 81"/>
                <a:gd name="T4" fmla="*/ 47 w 252"/>
                <a:gd name="T5" fmla="*/ 5 h 81"/>
                <a:gd name="T6" fmla="*/ 15 w 252"/>
                <a:gd name="T7" fmla="*/ 19 h 81"/>
                <a:gd name="T8" fmla="*/ 13 w 252"/>
                <a:gd name="T9" fmla="*/ 29 h 81"/>
                <a:gd name="T10" fmla="*/ 11 w 252"/>
                <a:gd name="T11" fmla="*/ 29 h 81"/>
                <a:gd name="T12" fmla="*/ 5 w 252"/>
                <a:gd name="T13" fmla="*/ 31 h 81"/>
                <a:gd name="T14" fmla="*/ 5 w 252"/>
                <a:gd name="T15" fmla="*/ 33 h 81"/>
                <a:gd name="T16" fmla="*/ 9 w 252"/>
                <a:gd name="T17" fmla="*/ 33 h 81"/>
                <a:gd name="T18" fmla="*/ 11 w 252"/>
                <a:gd name="T19" fmla="*/ 34 h 81"/>
                <a:gd name="T20" fmla="*/ 19 w 252"/>
                <a:gd name="T21" fmla="*/ 31 h 81"/>
                <a:gd name="T22" fmla="*/ 26 w 252"/>
                <a:gd name="T23" fmla="*/ 25 h 81"/>
                <a:gd name="T24" fmla="*/ 32 w 252"/>
                <a:gd name="T25" fmla="*/ 23 h 81"/>
                <a:gd name="T26" fmla="*/ 39 w 252"/>
                <a:gd name="T27" fmla="*/ 22 h 81"/>
                <a:gd name="T28" fmla="*/ 54 w 252"/>
                <a:gd name="T29" fmla="*/ 12 h 81"/>
                <a:gd name="T30" fmla="*/ 64 w 252"/>
                <a:gd name="T31" fmla="*/ 12 h 81"/>
                <a:gd name="T32" fmla="*/ 67 w 252"/>
                <a:gd name="T33" fmla="*/ 12 h 81"/>
                <a:gd name="T34" fmla="*/ 73 w 252"/>
                <a:gd name="T35" fmla="*/ 12 h 81"/>
                <a:gd name="T36" fmla="*/ 73 w 252"/>
                <a:gd name="T37" fmla="*/ 18 h 81"/>
                <a:gd name="T38" fmla="*/ 72 w 252"/>
                <a:gd name="T39" fmla="*/ 18 h 81"/>
                <a:gd name="T40" fmla="*/ 71 w 252"/>
                <a:gd name="T41" fmla="*/ 18 h 81"/>
                <a:gd name="T42" fmla="*/ 69 w 252"/>
                <a:gd name="T43" fmla="*/ 18 h 81"/>
                <a:gd name="T44" fmla="*/ 74 w 252"/>
                <a:gd name="T45" fmla="*/ 24 h 81"/>
                <a:gd name="T46" fmla="*/ 88 w 252"/>
                <a:gd name="T47" fmla="*/ 22 h 81"/>
                <a:gd name="T48" fmla="*/ 95 w 252"/>
                <a:gd name="T49" fmla="*/ 27 h 81"/>
                <a:gd name="T50" fmla="*/ 98 w 252"/>
                <a:gd name="T51" fmla="*/ 27 h 81"/>
                <a:gd name="T52" fmla="*/ 114 w 252"/>
                <a:gd name="T53" fmla="*/ 33 h 81"/>
                <a:gd name="T54" fmla="*/ 145 w 252"/>
                <a:gd name="T55" fmla="*/ 39 h 81"/>
                <a:gd name="T56" fmla="*/ 151 w 252"/>
                <a:gd name="T57" fmla="*/ 52 h 81"/>
                <a:gd name="T58" fmla="*/ 174 w 252"/>
                <a:gd name="T59" fmla="*/ 61 h 81"/>
                <a:gd name="T60" fmla="*/ 176 w 252"/>
                <a:gd name="T61" fmla="*/ 60 h 81"/>
                <a:gd name="T62" fmla="*/ 177 w 252"/>
                <a:gd name="T63" fmla="*/ 60 h 81"/>
                <a:gd name="T64" fmla="*/ 180 w 252"/>
                <a:gd name="T65" fmla="*/ 70 h 81"/>
                <a:gd name="T66" fmla="*/ 168 w 252"/>
                <a:gd name="T67" fmla="*/ 80 h 81"/>
                <a:gd name="T68" fmla="*/ 201 w 252"/>
                <a:gd name="T69" fmla="*/ 79 h 81"/>
                <a:gd name="T70" fmla="*/ 219 w 252"/>
                <a:gd name="T71" fmla="*/ 79 h 81"/>
                <a:gd name="T72" fmla="*/ 227 w 252"/>
                <a:gd name="T73" fmla="*/ 80 h 81"/>
                <a:gd name="T74" fmla="*/ 230 w 252"/>
                <a:gd name="T75" fmla="*/ 80 h 81"/>
                <a:gd name="T76" fmla="*/ 241 w 252"/>
                <a:gd name="T77" fmla="*/ 76 h 81"/>
                <a:gd name="T78" fmla="*/ 245 w 252"/>
                <a:gd name="T79" fmla="*/ 76 h 81"/>
                <a:gd name="T80" fmla="*/ 251 w 252"/>
                <a:gd name="T81" fmla="*/ 73 h 81"/>
                <a:gd name="T82" fmla="*/ 227 w 252"/>
                <a:gd name="T83" fmla="*/ 60 h 81"/>
                <a:gd name="T84" fmla="*/ 213 w 252"/>
                <a:gd name="T85" fmla="*/ 50 h 81"/>
                <a:gd name="T86" fmla="*/ 208 w 252"/>
                <a:gd name="T87" fmla="*/ 50 h 81"/>
                <a:gd name="T88" fmla="*/ 194 w 252"/>
                <a:gd name="T89" fmla="*/ 45 h 81"/>
                <a:gd name="T90" fmla="*/ 182 w 252"/>
                <a:gd name="T91" fmla="*/ 37 h 81"/>
                <a:gd name="T92" fmla="*/ 176 w 252"/>
                <a:gd name="T93" fmla="*/ 34 h 81"/>
                <a:gd name="T94" fmla="*/ 163 w 252"/>
                <a:gd name="T95" fmla="*/ 29 h 81"/>
                <a:gd name="T96" fmla="*/ 136 w 252"/>
                <a:gd name="T97" fmla="*/ 18 h 81"/>
                <a:gd name="T98" fmla="*/ 110 w 252"/>
                <a:gd name="T99" fmla="*/ 7 h 81"/>
                <a:gd name="T100" fmla="*/ 100 w 252"/>
                <a:gd name="T101" fmla="*/ 2 h 81"/>
                <a:gd name="T102" fmla="*/ 93 w 252"/>
                <a:gd name="T103" fmla="*/ 3 h 81"/>
                <a:gd name="T104" fmla="*/ 86 w 252"/>
                <a:gd name="T105" fmla="*/ 2 h 81"/>
                <a:gd name="T106" fmla="*/ 82 w 252"/>
                <a:gd name="T107" fmla="*/ 2 h 81"/>
                <a:gd name="T108" fmla="*/ 67 w 252"/>
                <a:gd name="T109"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81">
                  <a:moveTo>
                    <a:pt x="11" y="34"/>
                  </a:moveTo>
                  <a:cubicBezTo>
                    <a:pt x="11" y="34"/>
                    <a:pt x="11" y="34"/>
                    <a:pt x="11" y="34"/>
                  </a:cubicBezTo>
                  <a:cubicBezTo>
                    <a:pt x="11" y="34"/>
                    <a:pt x="11" y="34"/>
                    <a:pt x="11" y="34"/>
                  </a:cubicBezTo>
                  <a:cubicBezTo>
                    <a:pt x="11" y="34"/>
                    <a:pt x="11" y="34"/>
                    <a:pt x="11" y="34"/>
                  </a:cubicBezTo>
                  <a:moveTo>
                    <a:pt x="67" y="0"/>
                  </a:moveTo>
                  <a:cubicBezTo>
                    <a:pt x="61" y="2"/>
                    <a:pt x="54" y="3"/>
                    <a:pt x="47" y="5"/>
                  </a:cubicBezTo>
                  <a:cubicBezTo>
                    <a:pt x="41" y="6"/>
                    <a:pt x="35" y="8"/>
                    <a:pt x="28" y="10"/>
                  </a:cubicBezTo>
                  <a:cubicBezTo>
                    <a:pt x="24" y="11"/>
                    <a:pt x="18" y="15"/>
                    <a:pt x="15" y="19"/>
                  </a:cubicBezTo>
                  <a:cubicBezTo>
                    <a:pt x="13" y="22"/>
                    <a:pt x="15" y="25"/>
                    <a:pt x="16" y="28"/>
                  </a:cubicBezTo>
                  <a:cubicBezTo>
                    <a:pt x="15" y="29"/>
                    <a:pt x="14" y="29"/>
                    <a:pt x="13" y="29"/>
                  </a:cubicBezTo>
                  <a:cubicBezTo>
                    <a:pt x="13" y="29"/>
                    <a:pt x="13" y="29"/>
                    <a:pt x="12" y="29"/>
                  </a:cubicBezTo>
                  <a:cubicBezTo>
                    <a:pt x="12" y="29"/>
                    <a:pt x="11" y="29"/>
                    <a:pt x="11" y="29"/>
                  </a:cubicBezTo>
                  <a:cubicBezTo>
                    <a:pt x="10" y="29"/>
                    <a:pt x="9" y="29"/>
                    <a:pt x="8" y="29"/>
                  </a:cubicBezTo>
                  <a:cubicBezTo>
                    <a:pt x="7" y="29"/>
                    <a:pt x="6" y="30"/>
                    <a:pt x="5" y="31"/>
                  </a:cubicBezTo>
                  <a:cubicBezTo>
                    <a:pt x="3" y="31"/>
                    <a:pt x="0" y="31"/>
                    <a:pt x="2" y="33"/>
                  </a:cubicBezTo>
                  <a:cubicBezTo>
                    <a:pt x="3" y="33"/>
                    <a:pt x="4" y="33"/>
                    <a:pt x="5" y="33"/>
                  </a:cubicBezTo>
                  <a:cubicBezTo>
                    <a:pt x="6" y="33"/>
                    <a:pt x="6" y="33"/>
                    <a:pt x="7" y="33"/>
                  </a:cubicBezTo>
                  <a:cubicBezTo>
                    <a:pt x="8" y="33"/>
                    <a:pt x="8" y="33"/>
                    <a:pt x="9" y="33"/>
                  </a:cubicBezTo>
                  <a:cubicBezTo>
                    <a:pt x="9" y="33"/>
                    <a:pt x="9" y="33"/>
                    <a:pt x="9" y="33"/>
                  </a:cubicBezTo>
                  <a:cubicBezTo>
                    <a:pt x="9" y="33"/>
                    <a:pt x="11" y="34"/>
                    <a:pt x="11" y="34"/>
                  </a:cubicBezTo>
                  <a:cubicBezTo>
                    <a:pt x="11" y="34"/>
                    <a:pt x="11" y="34"/>
                    <a:pt x="11" y="34"/>
                  </a:cubicBezTo>
                  <a:cubicBezTo>
                    <a:pt x="13" y="34"/>
                    <a:pt x="17" y="32"/>
                    <a:pt x="19" y="31"/>
                  </a:cubicBezTo>
                  <a:cubicBezTo>
                    <a:pt x="21" y="31"/>
                    <a:pt x="22" y="31"/>
                    <a:pt x="22" y="30"/>
                  </a:cubicBezTo>
                  <a:cubicBezTo>
                    <a:pt x="24" y="28"/>
                    <a:pt x="23" y="25"/>
                    <a:pt x="26" y="25"/>
                  </a:cubicBezTo>
                  <a:cubicBezTo>
                    <a:pt x="28" y="24"/>
                    <a:pt x="30" y="23"/>
                    <a:pt x="32" y="23"/>
                  </a:cubicBezTo>
                  <a:cubicBezTo>
                    <a:pt x="32" y="23"/>
                    <a:pt x="32" y="23"/>
                    <a:pt x="32" y="23"/>
                  </a:cubicBezTo>
                  <a:cubicBezTo>
                    <a:pt x="34" y="23"/>
                    <a:pt x="35" y="24"/>
                    <a:pt x="36" y="24"/>
                  </a:cubicBezTo>
                  <a:cubicBezTo>
                    <a:pt x="36" y="24"/>
                    <a:pt x="37" y="23"/>
                    <a:pt x="39" y="22"/>
                  </a:cubicBezTo>
                  <a:cubicBezTo>
                    <a:pt x="41" y="19"/>
                    <a:pt x="44" y="17"/>
                    <a:pt x="47" y="16"/>
                  </a:cubicBezTo>
                  <a:cubicBezTo>
                    <a:pt x="49" y="15"/>
                    <a:pt x="52" y="12"/>
                    <a:pt x="54" y="12"/>
                  </a:cubicBezTo>
                  <a:cubicBezTo>
                    <a:pt x="54" y="12"/>
                    <a:pt x="54" y="12"/>
                    <a:pt x="54" y="12"/>
                  </a:cubicBezTo>
                  <a:cubicBezTo>
                    <a:pt x="58" y="12"/>
                    <a:pt x="61" y="12"/>
                    <a:pt x="64" y="12"/>
                  </a:cubicBezTo>
                  <a:cubicBezTo>
                    <a:pt x="65" y="12"/>
                    <a:pt x="65" y="12"/>
                    <a:pt x="65" y="12"/>
                  </a:cubicBezTo>
                  <a:cubicBezTo>
                    <a:pt x="65" y="12"/>
                    <a:pt x="66" y="12"/>
                    <a:pt x="67" y="12"/>
                  </a:cubicBezTo>
                  <a:cubicBezTo>
                    <a:pt x="68" y="12"/>
                    <a:pt x="68" y="12"/>
                    <a:pt x="69" y="12"/>
                  </a:cubicBezTo>
                  <a:cubicBezTo>
                    <a:pt x="71" y="12"/>
                    <a:pt x="72" y="12"/>
                    <a:pt x="73" y="12"/>
                  </a:cubicBezTo>
                  <a:cubicBezTo>
                    <a:pt x="76" y="14"/>
                    <a:pt x="79" y="16"/>
                    <a:pt x="75" y="18"/>
                  </a:cubicBezTo>
                  <a:cubicBezTo>
                    <a:pt x="74" y="18"/>
                    <a:pt x="74" y="18"/>
                    <a:pt x="73" y="18"/>
                  </a:cubicBezTo>
                  <a:cubicBezTo>
                    <a:pt x="73" y="18"/>
                    <a:pt x="73" y="18"/>
                    <a:pt x="73" y="18"/>
                  </a:cubicBezTo>
                  <a:cubicBezTo>
                    <a:pt x="73" y="18"/>
                    <a:pt x="72" y="18"/>
                    <a:pt x="72" y="18"/>
                  </a:cubicBezTo>
                  <a:cubicBezTo>
                    <a:pt x="72" y="18"/>
                    <a:pt x="72" y="18"/>
                    <a:pt x="72" y="18"/>
                  </a:cubicBezTo>
                  <a:cubicBezTo>
                    <a:pt x="72" y="18"/>
                    <a:pt x="71" y="18"/>
                    <a:pt x="71" y="18"/>
                  </a:cubicBezTo>
                  <a:cubicBezTo>
                    <a:pt x="71" y="18"/>
                    <a:pt x="71" y="18"/>
                    <a:pt x="70" y="18"/>
                  </a:cubicBezTo>
                  <a:cubicBezTo>
                    <a:pt x="70" y="18"/>
                    <a:pt x="69" y="18"/>
                    <a:pt x="69" y="18"/>
                  </a:cubicBezTo>
                  <a:cubicBezTo>
                    <a:pt x="67" y="18"/>
                    <a:pt x="66" y="18"/>
                    <a:pt x="66" y="19"/>
                  </a:cubicBezTo>
                  <a:cubicBezTo>
                    <a:pt x="66" y="21"/>
                    <a:pt x="72" y="24"/>
                    <a:pt x="74" y="24"/>
                  </a:cubicBezTo>
                  <a:cubicBezTo>
                    <a:pt x="74" y="24"/>
                    <a:pt x="75" y="24"/>
                    <a:pt x="76" y="24"/>
                  </a:cubicBezTo>
                  <a:cubicBezTo>
                    <a:pt x="80" y="24"/>
                    <a:pt x="87" y="23"/>
                    <a:pt x="88" y="22"/>
                  </a:cubicBezTo>
                  <a:cubicBezTo>
                    <a:pt x="90" y="25"/>
                    <a:pt x="89" y="27"/>
                    <a:pt x="93" y="27"/>
                  </a:cubicBezTo>
                  <a:cubicBezTo>
                    <a:pt x="94" y="27"/>
                    <a:pt x="94" y="27"/>
                    <a:pt x="95" y="27"/>
                  </a:cubicBezTo>
                  <a:cubicBezTo>
                    <a:pt x="95" y="27"/>
                    <a:pt x="96" y="27"/>
                    <a:pt x="97" y="27"/>
                  </a:cubicBezTo>
                  <a:cubicBezTo>
                    <a:pt x="97" y="27"/>
                    <a:pt x="98" y="27"/>
                    <a:pt x="98" y="27"/>
                  </a:cubicBezTo>
                  <a:cubicBezTo>
                    <a:pt x="101" y="27"/>
                    <a:pt x="103" y="27"/>
                    <a:pt x="105" y="28"/>
                  </a:cubicBezTo>
                  <a:cubicBezTo>
                    <a:pt x="109" y="29"/>
                    <a:pt x="111" y="32"/>
                    <a:pt x="114" y="33"/>
                  </a:cubicBezTo>
                  <a:cubicBezTo>
                    <a:pt x="121" y="36"/>
                    <a:pt x="127" y="37"/>
                    <a:pt x="135" y="38"/>
                  </a:cubicBezTo>
                  <a:cubicBezTo>
                    <a:pt x="138" y="38"/>
                    <a:pt x="141" y="39"/>
                    <a:pt x="145" y="39"/>
                  </a:cubicBezTo>
                  <a:cubicBezTo>
                    <a:pt x="148" y="40"/>
                    <a:pt x="149" y="43"/>
                    <a:pt x="150" y="46"/>
                  </a:cubicBezTo>
                  <a:cubicBezTo>
                    <a:pt x="151" y="48"/>
                    <a:pt x="150" y="50"/>
                    <a:pt x="151" y="52"/>
                  </a:cubicBezTo>
                  <a:cubicBezTo>
                    <a:pt x="151" y="53"/>
                    <a:pt x="153" y="54"/>
                    <a:pt x="154" y="55"/>
                  </a:cubicBezTo>
                  <a:cubicBezTo>
                    <a:pt x="160" y="59"/>
                    <a:pt x="167" y="60"/>
                    <a:pt x="174" y="61"/>
                  </a:cubicBezTo>
                  <a:cubicBezTo>
                    <a:pt x="174" y="61"/>
                    <a:pt x="174" y="61"/>
                    <a:pt x="174" y="61"/>
                  </a:cubicBezTo>
                  <a:cubicBezTo>
                    <a:pt x="175" y="61"/>
                    <a:pt x="175" y="60"/>
                    <a:pt x="176" y="60"/>
                  </a:cubicBezTo>
                  <a:cubicBezTo>
                    <a:pt x="176" y="60"/>
                    <a:pt x="177" y="60"/>
                    <a:pt x="177" y="60"/>
                  </a:cubicBezTo>
                  <a:cubicBezTo>
                    <a:pt x="177" y="60"/>
                    <a:pt x="177" y="60"/>
                    <a:pt x="177" y="60"/>
                  </a:cubicBezTo>
                  <a:cubicBezTo>
                    <a:pt x="178" y="60"/>
                    <a:pt x="180" y="63"/>
                    <a:pt x="181" y="63"/>
                  </a:cubicBezTo>
                  <a:cubicBezTo>
                    <a:pt x="184" y="66"/>
                    <a:pt x="183" y="67"/>
                    <a:pt x="180" y="70"/>
                  </a:cubicBezTo>
                  <a:cubicBezTo>
                    <a:pt x="178" y="72"/>
                    <a:pt x="174" y="74"/>
                    <a:pt x="171" y="77"/>
                  </a:cubicBezTo>
                  <a:cubicBezTo>
                    <a:pt x="170" y="78"/>
                    <a:pt x="169" y="79"/>
                    <a:pt x="168" y="80"/>
                  </a:cubicBezTo>
                  <a:cubicBezTo>
                    <a:pt x="171" y="81"/>
                    <a:pt x="173" y="81"/>
                    <a:pt x="176" y="81"/>
                  </a:cubicBezTo>
                  <a:cubicBezTo>
                    <a:pt x="185" y="81"/>
                    <a:pt x="194" y="79"/>
                    <a:pt x="201" y="79"/>
                  </a:cubicBezTo>
                  <a:cubicBezTo>
                    <a:pt x="204" y="78"/>
                    <a:pt x="206" y="78"/>
                    <a:pt x="208" y="78"/>
                  </a:cubicBezTo>
                  <a:cubicBezTo>
                    <a:pt x="212" y="78"/>
                    <a:pt x="215" y="79"/>
                    <a:pt x="219" y="79"/>
                  </a:cubicBezTo>
                  <a:cubicBezTo>
                    <a:pt x="220" y="79"/>
                    <a:pt x="222" y="80"/>
                    <a:pt x="224" y="80"/>
                  </a:cubicBezTo>
                  <a:cubicBezTo>
                    <a:pt x="225" y="80"/>
                    <a:pt x="226" y="80"/>
                    <a:pt x="227" y="80"/>
                  </a:cubicBezTo>
                  <a:cubicBezTo>
                    <a:pt x="227" y="80"/>
                    <a:pt x="228" y="78"/>
                    <a:pt x="229" y="78"/>
                  </a:cubicBezTo>
                  <a:cubicBezTo>
                    <a:pt x="229" y="78"/>
                    <a:pt x="230" y="78"/>
                    <a:pt x="230" y="80"/>
                  </a:cubicBezTo>
                  <a:cubicBezTo>
                    <a:pt x="233" y="78"/>
                    <a:pt x="236" y="76"/>
                    <a:pt x="239" y="76"/>
                  </a:cubicBezTo>
                  <a:cubicBezTo>
                    <a:pt x="240" y="76"/>
                    <a:pt x="240" y="76"/>
                    <a:pt x="241" y="76"/>
                  </a:cubicBezTo>
                  <a:cubicBezTo>
                    <a:pt x="242" y="76"/>
                    <a:pt x="242" y="76"/>
                    <a:pt x="243" y="76"/>
                  </a:cubicBezTo>
                  <a:cubicBezTo>
                    <a:pt x="244" y="76"/>
                    <a:pt x="244" y="76"/>
                    <a:pt x="245" y="76"/>
                  </a:cubicBezTo>
                  <a:cubicBezTo>
                    <a:pt x="246" y="76"/>
                    <a:pt x="247" y="76"/>
                    <a:pt x="248" y="75"/>
                  </a:cubicBezTo>
                  <a:cubicBezTo>
                    <a:pt x="248" y="75"/>
                    <a:pt x="252" y="73"/>
                    <a:pt x="251" y="73"/>
                  </a:cubicBezTo>
                  <a:cubicBezTo>
                    <a:pt x="248" y="68"/>
                    <a:pt x="241" y="65"/>
                    <a:pt x="236" y="62"/>
                  </a:cubicBezTo>
                  <a:cubicBezTo>
                    <a:pt x="233" y="61"/>
                    <a:pt x="231" y="60"/>
                    <a:pt x="227" y="60"/>
                  </a:cubicBezTo>
                  <a:cubicBezTo>
                    <a:pt x="222" y="59"/>
                    <a:pt x="221" y="60"/>
                    <a:pt x="220" y="56"/>
                  </a:cubicBezTo>
                  <a:cubicBezTo>
                    <a:pt x="218" y="52"/>
                    <a:pt x="217" y="50"/>
                    <a:pt x="213" y="50"/>
                  </a:cubicBezTo>
                  <a:cubicBezTo>
                    <a:pt x="212" y="50"/>
                    <a:pt x="212" y="50"/>
                    <a:pt x="211" y="50"/>
                  </a:cubicBezTo>
                  <a:cubicBezTo>
                    <a:pt x="210" y="50"/>
                    <a:pt x="209" y="50"/>
                    <a:pt x="208" y="50"/>
                  </a:cubicBezTo>
                  <a:cubicBezTo>
                    <a:pt x="206" y="50"/>
                    <a:pt x="205" y="50"/>
                    <a:pt x="202" y="47"/>
                  </a:cubicBezTo>
                  <a:cubicBezTo>
                    <a:pt x="200" y="46"/>
                    <a:pt x="196" y="46"/>
                    <a:pt x="194" y="45"/>
                  </a:cubicBezTo>
                  <a:cubicBezTo>
                    <a:pt x="191" y="44"/>
                    <a:pt x="188" y="43"/>
                    <a:pt x="186" y="41"/>
                  </a:cubicBezTo>
                  <a:cubicBezTo>
                    <a:pt x="185" y="40"/>
                    <a:pt x="183" y="38"/>
                    <a:pt x="182" y="37"/>
                  </a:cubicBezTo>
                  <a:cubicBezTo>
                    <a:pt x="181" y="36"/>
                    <a:pt x="179" y="35"/>
                    <a:pt x="178" y="35"/>
                  </a:cubicBezTo>
                  <a:cubicBezTo>
                    <a:pt x="177" y="34"/>
                    <a:pt x="176" y="34"/>
                    <a:pt x="176" y="34"/>
                  </a:cubicBezTo>
                  <a:cubicBezTo>
                    <a:pt x="175" y="34"/>
                    <a:pt x="176" y="35"/>
                    <a:pt x="176" y="37"/>
                  </a:cubicBezTo>
                  <a:cubicBezTo>
                    <a:pt x="171" y="34"/>
                    <a:pt x="167" y="33"/>
                    <a:pt x="163" y="29"/>
                  </a:cubicBezTo>
                  <a:cubicBezTo>
                    <a:pt x="159" y="26"/>
                    <a:pt x="155" y="24"/>
                    <a:pt x="150" y="23"/>
                  </a:cubicBezTo>
                  <a:cubicBezTo>
                    <a:pt x="146" y="21"/>
                    <a:pt x="141" y="19"/>
                    <a:pt x="136" y="18"/>
                  </a:cubicBezTo>
                  <a:cubicBezTo>
                    <a:pt x="129" y="17"/>
                    <a:pt x="128" y="16"/>
                    <a:pt x="124" y="11"/>
                  </a:cubicBezTo>
                  <a:cubicBezTo>
                    <a:pt x="122" y="7"/>
                    <a:pt x="113" y="8"/>
                    <a:pt x="110" y="7"/>
                  </a:cubicBezTo>
                  <a:cubicBezTo>
                    <a:pt x="107" y="6"/>
                    <a:pt x="105" y="4"/>
                    <a:pt x="103" y="3"/>
                  </a:cubicBezTo>
                  <a:cubicBezTo>
                    <a:pt x="102" y="3"/>
                    <a:pt x="101" y="2"/>
                    <a:pt x="100" y="2"/>
                  </a:cubicBezTo>
                  <a:cubicBezTo>
                    <a:pt x="99" y="2"/>
                    <a:pt x="97" y="3"/>
                    <a:pt x="96" y="3"/>
                  </a:cubicBezTo>
                  <a:cubicBezTo>
                    <a:pt x="95" y="3"/>
                    <a:pt x="94" y="3"/>
                    <a:pt x="93" y="3"/>
                  </a:cubicBezTo>
                  <a:cubicBezTo>
                    <a:pt x="91" y="3"/>
                    <a:pt x="90" y="3"/>
                    <a:pt x="88" y="2"/>
                  </a:cubicBezTo>
                  <a:cubicBezTo>
                    <a:pt x="87" y="2"/>
                    <a:pt x="87" y="2"/>
                    <a:pt x="86" y="2"/>
                  </a:cubicBezTo>
                  <a:cubicBezTo>
                    <a:pt x="85" y="2"/>
                    <a:pt x="85" y="2"/>
                    <a:pt x="84" y="2"/>
                  </a:cubicBezTo>
                  <a:cubicBezTo>
                    <a:pt x="84" y="2"/>
                    <a:pt x="83" y="2"/>
                    <a:pt x="82" y="2"/>
                  </a:cubicBezTo>
                  <a:cubicBezTo>
                    <a:pt x="82" y="2"/>
                    <a:pt x="82" y="2"/>
                    <a:pt x="82" y="2"/>
                  </a:cubicBezTo>
                  <a:cubicBezTo>
                    <a:pt x="77" y="2"/>
                    <a:pt x="72"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71"/>
            <p:cNvSpPr/>
            <p:nvPr/>
          </p:nvSpPr>
          <p:spPr bwMode="auto">
            <a:xfrm>
              <a:off x="7655408" y="210429"/>
              <a:ext cx="5649" cy="5649"/>
            </a:xfrm>
            <a:custGeom>
              <a:gdLst>
                <a:gd name="T0" fmla="*/ 0 w 2"/>
                <a:gd name="T1" fmla="*/ 0 h 2"/>
                <a:gd name="T2" fmla="*/ 2 w 2"/>
                <a:gd name="T3" fmla="*/ 2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0" y="1"/>
                    <a:pt x="1" y="2"/>
                    <a:pt x="2" y="2"/>
                  </a:cubicBezTo>
                  <a:cubicBezTo>
                    <a:pt x="2" y="2"/>
                    <a:pt x="2" y="2"/>
                    <a:pt x="2"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72"/>
            <p:cNvSpPr/>
            <p:nvPr/>
          </p:nvSpPr>
          <p:spPr bwMode="auto">
            <a:xfrm>
              <a:off x="7648347" y="206192"/>
              <a:ext cx="2825" cy="4237"/>
            </a:xfrm>
            <a:custGeom>
              <a:gdLst>
                <a:gd name="T0" fmla="*/ 0 w 1"/>
                <a:gd name="T1" fmla="*/ 0 h 1"/>
                <a:gd name="T2" fmla="*/ 0 w 1"/>
                <a:gd name="T3" fmla="*/ 0 h 1"/>
                <a:gd name="T4" fmla="*/ 1 w 1"/>
                <a:gd name="T5" fmla="*/ 1 h 1"/>
                <a:gd name="T6" fmla="*/ 0 w 1"/>
                <a:gd name="T7" fmla="*/ 0 h 1"/>
              </a:gd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73"/>
            <p:cNvSpPr>
              <a:spLocks noEditPoints="1"/>
            </p:cNvSpPr>
            <p:nvPr/>
          </p:nvSpPr>
          <p:spPr bwMode="auto">
            <a:xfrm>
              <a:off x="7661057" y="216078"/>
              <a:ext cx="9886" cy="7061"/>
            </a:xfrm>
            <a:custGeom>
              <a:gdLst>
                <a:gd name="T0" fmla="*/ 2 w 3"/>
                <a:gd name="T1" fmla="*/ 1 h 2"/>
                <a:gd name="T2" fmla="*/ 3 w 3"/>
                <a:gd name="T3" fmla="*/ 2 h 2"/>
                <a:gd name="T4" fmla="*/ 2 w 3"/>
                <a:gd name="T5" fmla="*/ 1 h 2"/>
                <a:gd name="T6" fmla="*/ 0 w 3"/>
                <a:gd name="T7" fmla="*/ 0 h 2"/>
                <a:gd name="T8" fmla="*/ 2 w 3"/>
                <a:gd name="T9" fmla="*/ 1 h 2"/>
                <a:gd name="T10" fmla="*/ 0 w 3"/>
                <a:gd name="T11" fmla="*/ 0 h 2"/>
              </a:gdLst>
              <a:cxnLst>
                <a:cxn ang="0">
                  <a:pos x="T0" y="T1"/>
                </a:cxn>
                <a:cxn ang="0">
                  <a:pos x="T2" y="T3"/>
                </a:cxn>
                <a:cxn ang="0">
                  <a:pos x="T4" y="T5"/>
                </a:cxn>
                <a:cxn ang="0">
                  <a:pos x="T6" y="T7"/>
                </a:cxn>
                <a:cxn ang="0">
                  <a:pos x="T8" y="T9"/>
                </a:cxn>
                <a:cxn ang="0">
                  <a:pos x="T10" y="T11"/>
                </a:cxn>
              </a:cxnLst>
              <a:rect l="0" t="0" r="r" b="b"/>
              <a:pathLst>
                <a:path w="3" h="2">
                  <a:moveTo>
                    <a:pt x="2" y="1"/>
                  </a:moveTo>
                  <a:cubicBezTo>
                    <a:pt x="2" y="2"/>
                    <a:pt x="3" y="2"/>
                    <a:pt x="3" y="2"/>
                  </a:cubicBezTo>
                  <a:cubicBezTo>
                    <a:pt x="3" y="2"/>
                    <a:pt x="2" y="2"/>
                    <a:pt x="2" y="1"/>
                  </a:cubicBezTo>
                  <a:moveTo>
                    <a:pt x="0" y="0"/>
                  </a:moveTo>
                  <a:cubicBezTo>
                    <a:pt x="1" y="0"/>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74"/>
            <p:cNvSpPr/>
            <p:nvPr/>
          </p:nvSpPr>
          <p:spPr bwMode="auto">
            <a:xfrm>
              <a:off x="7754267" y="249972"/>
              <a:ext cx="48017" cy="29658"/>
            </a:xfrm>
            <a:custGeom>
              <a:gdLst>
                <a:gd name="T0" fmla="*/ 6 w 14"/>
                <a:gd name="T1" fmla="*/ 0 h 9"/>
                <a:gd name="T2" fmla="*/ 12 w 14"/>
                <a:gd name="T3" fmla="*/ 9 h 9"/>
                <a:gd name="T4" fmla="*/ 14 w 14"/>
                <a:gd name="T5" fmla="*/ 6 h 9"/>
                <a:gd name="T6" fmla="*/ 11 w 14"/>
                <a:gd name="T7" fmla="*/ 4 h 9"/>
                <a:gd name="T8" fmla="*/ 10 w 14"/>
                <a:gd name="T9" fmla="*/ 6 h 9"/>
                <a:gd name="T10" fmla="*/ 9 w 14"/>
                <a:gd name="T11" fmla="*/ 4 h 9"/>
                <a:gd name="T12" fmla="*/ 9 w 14"/>
                <a:gd name="T13" fmla="*/ 4 h 9"/>
                <a:gd name="T14" fmla="*/ 8 w 14"/>
                <a:gd name="T15" fmla="*/ 1 h 9"/>
                <a:gd name="T16" fmla="*/ 7 w 14"/>
                <a:gd name="T17" fmla="*/ 2 h 9"/>
                <a:gd name="T18" fmla="*/ 7 w 14"/>
                <a:gd name="T19" fmla="*/ 1 h 9"/>
                <a:gd name="T20" fmla="*/ 6 w 14"/>
                <a:gd name="T21" fmla="*/ 1 h 9"/>
                <a:gd name="T22" fmla="*/ 6 w 14"/>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9">
                  <a:moveTo>
                    <a:pt x="6" y="0"/>
                  </a:moveTo>
                  <a:cubicBezTo>
                    <a:pt x="0" y="2"/>
                    <a:pt x="11" y="8"/>
                    <a:pt x="12" y="9"/>
                  </a:cubicBezTo>
                  <a:cubicBezTo>
                    <a:pt x="13" y="8"/>
                    <a:pt x="13" y="7"/>
                    <a:pt x="14" y="6"/>
                  </a:cubicBezTo>
                  <a:cubicBezTo>
                    <a:pt x="13" y="5"/>
                    <a:pt x="12" y="5"/>
                    <a:pt x="11" y="4"/>
                  </a:cubicBezTo>
                  <a:cubicBezTo>
                    <a:pt x="11" y="5"/>
                    <a:pt x="10" y="5"/>
                    <a:pt x="10" y="6"/>
                  </a:cubicBezTo>
                  <a:cubicBezTo>
                    <a:pt x="10" y="5"/>
                    <a:pt x="10" y="4"/>
                    <a:pt x="9" y="4"/>
                  </a:cubicBezTo>
                  <a:cubicBezTo>
                    <a:pt x="9" y="4"/>
                    <a:pt x="9" y="4"/>
                    <a:pt x="9" y="4"/>
                  </a:cubicBezTo>
                  <a:cubicBezTo>
                    <a:pt x="10" y="2"/>
                    <a:pt x="8" y="3"/>
                    <a:pt x="8" y="1"/>
                  </a:cubicBezTo>
                  <a:cubicBezTo>
                    <a:pt x="7" y="2"/>
                    <a:pt x="7" y="2"/>
                    <a:pt x="7" y="2"/>
                  </a:cubicBezTo>
                  <a:cubicBezTo>
                    <a:pt x="7" y="1"/>
                    <a:pt x="7" y="1"/>
                    <a:pt x="7" y="1"/>
                  </a:cubicBezTo>
                  <a:cubicBezTo>
                    <a:pt x="6" y="1"/>
                    <a:pt x="6" y="1"/>
                    <a:pt x="6" y="1"/>
                  </a:cubicBezTo>
                  <a:cubicBezTo>
                    <a:pt x="6" y="1"/>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75"/>
            <p:cNvSpPr/>
            <p:nvPr/>
          </p:nvSpPr>
          <p:spPr bwMode="auto">
            <a:xfrm>
              <a:off x="7734495" y="384138"/>
              <a:ext cx="14123" cy="5649"/>
            </a:xfrm>
            <a:custGeom>
              <a:gdLst>
                <a:gd name="T0" fmla="*/ 1 w 4"/>
                <a:gd name="T1" fmla="*/ 0 h 2"/>
                <a:gd name="T2" fmla="*/ 0 w 4"/>
                <a:gd name="T3" fmla="*/ 0 h 2"/>
                <a:gd name="T4" fmla="*/ 4 w 4"/>
                <a:gd name="T5" fmla="*/ 2 h 2"/>
                <a:gd name="T6" fmla="*/ 1 w 4"/>
                <a:gd name="T7" fmla="*/ 0 h 2"/>
              </a:gdLst>
              <a:cxnLst>
                <a:cxn ang="0">
                  <a:pos x="T0" y="T1"/>
                </a:cxn>
                <a:cxn ang="0">
                  <a:pos x="T2" y="T3"/>
                </a:cxn>
                <a:cxn ang="0">
                  <a:pos x="T4" y="T5"/>
                </a:cxn>
                <a:cxn ang="0">
                  <a:pos x="T6" y="T7"/>
                </a:cxn>
              </a:cxnLst>
              <a:rect l="0" t="0" r="r" b="b"/>
              <a:pathLst>
                <a:path w="4" h="2">
                  <a:moveTo>
                    <a:pt x="1" y="0"/>
                  </a:moveTo>
                  <a:cubicBezTo>
                    <a:pt x="0" y="0"/>
                    <a:pt x="0" y="0"/>
                    <a:pt x="0" y="0"/>
                  </a:cubicBezTo>
                  <a:cubicBezTo>
                    <a:pt x="1" y="1"/>
                    <a:pt x="2" y="1"/>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76"/>
            <p:cNvSpPr/>
            <p:nvPr/>
          </p:nvSpPr>
          <p:spPr bwMode="auto">
            <a:xfrm>
              <a:off x="7374366" y="276806"/>
              <a:ext cx="50842" cy="39544"/>
            </a:xfrm>
            <a:custGeom>
              <a:gdLst>
                <a:gd name="T0" fmla="*/ 5 w 15"/>
                <a:gd name="T1" fmla="*/ 0 h 12"/>
                <a:gd name="T2" fmla="*/ 2 w 15"/>
                <a:gd name="T3" fmla="*/ 10 h 12"/>
                <a:gd name="T4" fmla="*/ 7 w 15"/>
                <a:gd name="T5" fmla="*/ 12 h 12"/>
                <a:gd name="T6" fmla="*/ 11 w 15"/>
                <a:gd name="T7" fmla="*/ 11 h 12"/>
                <a:gd name="T8" fmla="*/ 14 w 15"/>
                <a:gd name="T9" fmla="*/ 9 h 12"/>
                <a:gd name="T10" fmla="*/ 10 w 15"/>
                <a:gd name="T11" fmla="*/ 3 h 12"/>
                <a:gd name="T12" fmla="*/ 6 w 15"/>
                <a:gd name="T13" fmla="*/ 0 h 12"/>
                <a:gd name="T14" fmla="*/ 5 w 15"/>
                <a:gd name="T15" fmla="*/ 0 h 1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5" y="0"/>
                  </a:moveTo>
                  <a:cubicBezTo>
                    <a:pt x="0" y="0"/>
                    <a:pt x="2" y="6"/>
                    <a:pt x="2" y="10"/>
                  </a:cubicBezTo>
                  <a:cubicBezTo>
                    <a:pt x="4" y="11"/>
                    <a:pt x="5" y="12"/>
                    <a:pt x="7" y="12"/>
                  </a:cubicBezTo>
                  <a:cubicBezTo>
                    <a:pt x="8" y="12"/>
                    <a:pt x="9" y="11"/>
                    <a:pt x="11" y="11"/>
                  </a:cubicBezTo>
                  <a:cubicBezTo>
                    <a:pt x="12" y="10"/>
                    <a:pt x="13" y="10"/>
                    <a:pt x="14" y="9"/>
                  </a:cubicBezTo>
                  <a:cubicBezTo>
                    <a:pt x="15" y="7"/>
                    <a:pt x="12" y="4"/>
                    <a:pt x="10" y="3"/>
                  </a:cubicBezTo>
                  <a:cubicBezTo>
                    <a:pt x="12" y="1"/>
                    <a:pt x="8" y="0"/>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77"/>
            <p:cNvSpPr/>
            <p:nvPr/>
          </p:nvSpPr>
          <p:spPr bwMode="auto">
            <a:xfrm>
              <a:off x="7678004" y="353068"/>
              <a:ext cx="9886" cy="7061"/>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0"/>
                    <a:pt x="2" y="1"/>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78"/>
            <p:cNvSpPr/>
            <p:nvPr/>
          </p:nvSpPr>
          <p:spPr bwMode="auto">
            <a:xfrm>
              <a:off x="7748618" y="237262"/>
              <a:ext cx="22596" cy="12710"/>
            </a:xfrm>
            <a:custGeom>
              <a:gdLst>
                <a:gd name="T0" fmla="*/ 2 w 7"/>
                <a:gd name="T1" fmla="*/ 0 h 4"/>
                <a:gd name="T2" fmla="*/ 0 w 7"/>
                <a:gd name="T3" fmla="*/ 0 h 4"/>
                <a:gd name="T4" fmla="*/ 7 w 7"/>
                <a:gd name="T5" fmla="*/ 4 h 4"/>
                <a:gd name="T6" fmla="*/ 2 w 7"/>
                <a:gd name="T7" fmla="*/ 0 h 4"/>
              </a:gdLst>
              <a:cxnLst>
                <a:cxn ang="0">
                  <a:pos x="T0" y="T1"/>
                </a:cxn>
                <a:cxn ang="0">
                  <a:pos x="T2" y="T3"/>
                </a:cxn>
                <a:cxn ang="0">
                  <a:pos x="T4" y="T5"/>
                </a:cxn>
                <a:cxn ang="0">
                  <a:pos x="T6" y="T7"/>
                </a:cxn>
              </a:cxnLst>
              <a:rect l="0" t="0" r="r" b="b"/>
              <a:pathLst>
                <a:path w="7" h="4">
                  <a:moveTo>
                    <a:pt x="2" y="0"/>
                  </a:moveTo>
                  <a:cubicBezTo>
                    <a:pt x="1" y="0"/>
                    <a:pt x="1" y="0"/>
                    <a:pt x="0" y="0"/>
                  </a:cubicBezTo>
                  <a:cubicBezTo>
                    <a:pt x="2" y="2"/>
                    <a:pt x="5" y="3"/>
                    <a:pt x="7" y="4"/>
                  </a:cubicBezTo>
                  <a:cubicBezTo>
                    <a:pt x="5"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79"/>
            <p:cNvSpPr/>
            <p:nvPr/>
          </p:nvSpPr>
          <p:spPr bwMode="auto">
            <a:xfrm>
              <a:off x="8011300" y="132754"/>
              <a:ext cx="11298" cy="4237"/>
            </a:xfrm>
            <a:custGeom>
              <a:gdLst>
                <a:gd name="T0" fmla="*/ 2 w 3"/>
                <a:gd name="T1" fmla="*/ 0 h 1"/>
                <a:gd name="T2" fmla="*/ 0 w 3"/>
                <a:gd name="T3" fmla="*/ 1 h 1"/>
                <a:gd name="T4" fmla="*/ 3 w 3"/>
                <a:gd name="T5" fmla="*/ 0 h 1"/>
                <a:gd name="T6" fmla="*/ 2 w 3"/>
                <a:gd name="T7" fmla="*/ 0 h 1"/>
              </a:gdLst>
              <a:cxnLst>
                <a:cxn ang="0">
                  <a:pos x="T0" y="T1"/>
                </a:cxn>
                <a:cxn ang="0">
                  <a:pos x="T2" y="T3"/>
                </a:cxn>
                <a:cxn ang="0">
                  <a:pos x="T4" y="T5"/>
                </a:cxn>
                <a:cxn ang="0">
                  <a:pos x="T6" y="T7"/>
                </a:cxn>
              </a:cxnLst>
              <a:rect l="0" t="0" r="r" b="b"/>
              <a:pathLst>
                <a:path w="3" h="1">
                  <a:moveTo>
                    <a:pt x="2" y="0"/>
                  </a:moveTo>
                  <a:cubicBezTo>
                    <a:pt x="2" y="0"/>
                    <a:pt x="1" y="0"/>
                    <a:pt x="0" y="1"/>
                  </a:cubicBezTo>
                  <a:cubicBezTo>
                    <a:pt x="1" y="1"/>
                    <a:pt x="2" y="0"/>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0"/>
            <p:cNvSpPr>
              <a:spLocks noEditPoints="1"/>
            </p:cNvSpPr>
            <p:nvPr/>
          </p:nvSpPr>
          <p:spPr bwMode="auto">
            <a:xfrm>
              <a:off x="7932213" y="142640"/>
              <a:ext cx="22596" cy="14123"/>
            </a:xfrm>
            <a:custGeom>
              <a:gdLst>
                <a:gd name="T0" fmla="*/ 0 w 7"/>
                <a:gd name="T1" fmla="*/ 0 h 4"/>
                <a:gd name="T2" fmla="*/ 3 w 7"/>
                <a:gd name="T3" fmla="*/ 3 h 4"/>
                <a:gd name="T4" fmla="*/ 7 w 7"/>
                <a:gd name="T5" fmla="*/ 4 h 4"/>
                <a:gd name="T6" fmla="*/ 0 w 7"/>
                <a:gd name="T7" fmla="*/ 0 h 4"/>
                <a:gd name="T8" fmla="*/ 0 w 7"/>
                <a:gd name="T9" fmla="*/ 0 h 4"/>
                <a:gd name="T10" fmla="*/ 0 w 7"/>
                <a:gd name="T11" fmla="*/ 0 h 4"/>
                <a:gd name="T12" fmla="*/ 0 w 7"/>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cubicBezTo>
                    <a:pt x="2" y="1"/>
                    <a:pt x="2" y="2"/>
                    <a:pt x="3" y="3"/>
                  </a:cubicBezTo>
                  <a:cubicBezTo>
                    <a:pt x="4" y="3"/>
                    <a:pt x="5" y="3"/>
                    <a:pt x="7" y="4"/>
                  </a:cubicBezTo>
                  <a:cubicBezTo>
                    <a:pt x="5" y="2"/>
                    <a:pt x="2"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81"/>
            <p:cNvSpPr/>
            <p:nvPr/>
          </p:nvSpPr>
          <p:spPr bwMode="auto">
            <a:xfrm>
              <a:off x="7981642" y="163824"/>
              <a:ext cx="29658" cy="25421"/>
            </a:xfrm>
            <a:custGeom>
              <a:gdLst>
                <a:gd name="T0" fmla="*/ 4 w 9"/>
                <a:gd name="T1" fmla="*/ 0 h 8"/>
                <a:gd name="T2" fmla="*/ 3 w 9"/>
                <a:gd name="T3" fmla="*/ 5 h 8"/>
                <a:gd name="T4" fmla="*/ 9 w 9"/>
                <a:gd name="T5" fmla="*/ 8 h 8"/>
                <a:gd name="T6" fmla="*/ 4 w 9"/>
                <a:gd name="T7" fmla="*/ 0 h 8"/>
              </a:gdLst>
              <a:cxnLst>
                <a:cxn ang="0">
                  <a:pos x="T0" y="T1"/>
                </a:cxn>
                <a:cxn ang="0">
                  <a:pos x="T2" y="T3"/>
                </a:cxn>
                <a:cxn ang="0">
                  <a:pos x="T4" y="T5"/>
                </a:cxn>
                <a:cxn ang="0">
                  <a:pos x="T6" y="T7"/>
                </a:cxn>
              </a:cxnLst>
              <a:rect l="0" t="0" r="r" b="b"/>
              <a:pathLst>
                <a:path w="9" h="8">
                  <a:moveTo>
                    <a:pt x="4" y="0"/>
                  </a:moveTo>
                  <a:cubicBezTo>
                    <a:pt x="5" y="3"/>
                    <a:pt x="0" y="3"/>
                    <a:pt x="3" y="5"/>
                  </a:cubicBezTo>
                  <a:cubicBezTo>
                    <a:pt x="5" y="7"/>
                    <a:pt x="7" y="6"/>
                    <a:pt x="9" y="8"/>
                  </a:cubicBezTo>
                  <a:cubicBezTo>
                    <a:pt x="7" y="6"/>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82"/>
            <p:cNvSpPr>
              <a:spLocks noEditPoints="1"/>
            </p:cNvSpPr>
            <p:nvPr/>
          </p:nvSpPr>
          <p:spPr bwMode="auto">
            <a:xfrm>
              <a:off x="7778275" y="86149"/>
              <a:ext cx="29658" cy="46605"/>
            </a:xfrm>
            <a:custGeom>
              <a:gdLst>
                <a:gd name="T0" fmla="*/ 0 w 9"/>
                <a:gd name="T1" fmla="*/ 5 h 14"/>
                <a:gd name="T2" fmla="*/ 0 w 9"/>
                <a:gd name="T3" fmla="*/ 5 h 14"/>
                <a:gd name="T4" fmla="*/ 0 w 9"/>
                <a:gd name="T5" fmla="*/ 5 h 14"/>
                <a:gd name="T6" fmla="*/ 4 w 9"/>
                <a:gd name="T7" fmla="*/ 0 h 14"/>
                <a:gd name="T8" fmla="*/ 0 w 9"/>
                <a:gd name="T9" fmla="*/ 5 h 14"/>
                <a:gd name="T10" fmla="*/ 0 w 9"/>
                <a:gd name="T11" fmla="*/ 5 h 14"/>
                <a:gd name="T12" fmla="*/ 1 w 9"/>
                <a:gd name="T13" fmla="*/ 6 h 14"/>
                <a:gd name="T14" fmla="*/ 3 w 9"/>
                <a:gd name="T15" fmla="*/ 7 h 14"/>
                <a:gd name="T16" fmla="*/ 3 w 9"/>
                <a:gd name="T17" fmla="*/ 7 h 14"/>
                <a:gd name="T18" fmla="*/ 4 w 9"/>
                <a:gd name="T19" fmla="*/ 11 h 14"/>
                <a:gd name="T20" fmla="*/ 6 w 9"/>
                <a:gd name="T21" fmla="*/ 14 h 14"/>
                <a:gd name="T22" fmla="*/ 8 w 9"/>
                <a:gd name="T23" fmla="*/ 12 h 14"/>
                <a:gd name="T24" fmla="*/ 9 w 9"/>
                <a:gd name="T25" fmla="*/ 12 h 14"/>
                <a:gd name="T26" fmla="*/ 7 w 9"/>
                <a:gd name="T27" fmla="*/ 2 h 14"/>
                <a:gd name="T28" fmla="*/ 7 w 9"/>
                <a:gd name="T29" fmla="*/ 2 h 14"/>
                <a:gd name="T30" fmla="*/ 6 w 9"/>
                <a:gd name="T31" fmla="*/ 2 h 14"/>
                <a:gd name="T32" fmla="*/ 4 w 9"/>
                <a:gd name="T33" fmla="*/ 3 h 14"/>
                <a:gd name="T34" fmla="*/ 4 w 9"/>
                <a:gd name="T35" fmla="*/ 3 h 14"/>
                <a:gd name="T36" fmla="*/ 4 w 9"/>
                <a:gd name="T3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4">
                  <a:moveTo>
                    <a:pt x="0" y="5"/>
                  </a:moveTo>
                  <a:cubicBezTo>
                    <a:pt x="0" y="5"/>
                    <a:pt x="0" y="5"/>
                    <a:pt x="0" y="5"/>
                  </a:cubicBezTo>
                  <a:cubicBezTo>
                    <a:pt x="0" y="5"/>
                    <a:pt x="0" y="5"/>
                    <a:pt x="0" y="5"/>
                  </a:cubicBezTo>
                  <a:moveTo>
                    <a:pt x="4" y="0"/>
                  </a:moveTo>
                  <a:cubicBezTo>
                    <a:pt x="3" y="0"/>
                    <a:pt x="0" y="3"/>
                    <a:pt x="0" y="5"/>
                  </a:cubicBezTo>
                  <a:cubicBezTo>
                    <a:pt x="0" y="5"/>
                    <a:pt x="0" y="5"/>
                    <a:pt x="0" y="5"/>
                  </a:cubicBezTo>
                  <a:cubicBezTo>
                    <a:pt x="0" y="5"/>
                    <a:pt x="1" y="5"/>
                    <a:pt x="1" y="6"/>
                  </a:cubicBezTo>
                  <a:cubicBezTo>
                    <a:pt x="2" y="7"/>
                    <a:pt x="3" y="7"/>
                    <a:pt x="3" y="7"/>
                  </a:cubicBezTo>
                  <a:cubicBezTo>
                    <a:pt x="3" y="7"/>
                    <a:pt x="3" y="7"/>
                    <a:pt x="3" y="7"/>
                  </a:cubicBezTo>
                  <a:cubicBezTo>
                    <a:pt x="2" y="9"/>
                    <a:pt x="2" y="11"/>
                    <a:pt x="4" y="11"/>
                  </a:cubicBezTo>
                  <a:cubicBezTo>
                    <a:pt x="3" y="14"/>
                    <a:pt x="5" y="13"/>
                    <a:pt x="6" y="14"/>
                  </a:cubicBezTo>
                  <a:cubicBezTo>
                    <a:pt x="6" y="13"/>
                    <a:pt x="7" y="12"/>
                    <a:pt x="8" y="12"/>
                  </a:cubicBezTo>
                  <a:cubicBezTo>
                    <a:pt x="8" y="12"/>
                    <a:pt x="9" y="12"/>
                    <a:pt x="9" y="12"/>
                  </a:cubicBezTo>
                  <a:cubicBezTo>
                    <a:pt x="9" y="11"/>
                    <a:pt x="9" y="2"/>
                    <a:pt x="7" y="2"/>
                  </a:cubicBezTo>
                  <a:cubicBezTo>
                    <a:pt x="7" y="2"/>
                    <a:pt x="7" y="2"/>
                    <a:pt x="7" y="2"/>
                  </a:cubicBezTo>
                  <a:cubicBezTo>
                    <a:pt x="7" y="2"/>
                    <a:pt x="7" y="2"/>
                    <a:pt x="6" y="2"/>
                  </a:cubicBezTo>
                  <a:cubicBezTo>
                    <a:pt x="6" y="3"/>
                    <a:pt x="5" y="3"/>
                    <a:pt x="4" y="3"/>
                  </a:cubicBezTo>
                  <a:cubicBezTo>
                    <a:pt x="4" y="3"/>
                    <a:pt x="4" y="3"/>
                    <a:pt x="4" y="3"/>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83"/>
            <p:cNvSpPr/>
            <p:nvPr/>
          </p:nvSpPr>
          <p:spPr bwMode="auto">
            <a:xfrm>
              <a:off x="8069203" y="210429"/>
              <a:ext cx="5649" cy="2825"/>
            </a:xfrm>
            <a:custGeom>
              <a:gdLst>
                <a:gd name="T0" fmla="*/ 0 w 2"/>
                <a:gd name="T1" fmla="*/ 0 h 1"/>
                <a:gd name="T2" fmla="*/ 1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1" y="1"/>
                    <a:pt x="1" y="1"/>
                    <a:pt x="1" y="1"/>
                  </a:cubicBezTo>
                  <a:cubicBezTo>
                    <a:pt x="2" y="1"/>
                    <a:pt x="2" y="1"/>
                    <a:pt x="2"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84"/>
            <p:cNvSpPr/>
            <p:nvPr/>
          </p:nvSpPr>
          <p:spPr bwMode="auto">
            <a:xfrm>
              <a:off x="8074852" y="213253"/>
              <a:ext cx="4237" cy="0"/>
            </a:xfrm>
            <a:custGeom>
              <a:gdLst>
                <a:gd name="T0" fmla="*/ 0 w 1"/>
                <a:gd name="T1" fmla="*/ 0 w 1"/>
                <a:gd name="T2" fmla="*/ 0 w 1"/>
                <a:gd name="T3" fmla="*/ 0 w 1"/>
                <a:gd name="T4" fmla="*/ 1 w 1"/>
                <a:gd name="T5" fmla="*/ 0 w 1"/>
              </a:gd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0" y="0"/>
                    <a:pt x="0" y="0"/>
                  </a:cubicBezTo>
                  <a:cubicBezTo>
                    <a:pt x="0" y="0"/>
                    <a:pt x="0" y="0"/>
                    <a:pt x="0" y="0"/>
                  </a:cubicBezTo>
                  <a:cubicBezTo>
                    <a:pt x="0" y="0"/>
                    <a:pt x="1" y="0"/>
                    <a:pt x="1" y="0"/>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85"/>
            <p:cNvSpPr/>
            <p:nvPr/>
          </p:nvSpPr>
          <p:spPr bwMode="auto">
            <a:xfrm>
              <a:off x="8059317" y="210429"/>
              <a:ext cx="9886" cy="0"/>
            </a:xfrm>
            <a:custGeom>
              <a:gdLst>
                <a:gd name="T0" fmla="*/ 1 w 3"/>
                <a:gd name="T1" fmla="*/ 0 w 3"/>
                <a:gd name="T2" fmla="*/ 3 w 3"/>
                <a:gd name="T3" fmla="*/ 1 w 3"/>
              </a:gdLst>
              <a:cxnLst>
                <a:cxn ang="0">
                  <a:pos x="T0" y="0"/>
                </a:cxn>
                <a:cxn ang="0">
                  <a:pos x="T1" y="0"/>
                </a:cxn>
                <a:cxn ang="0">
                  <a:pos x="T2" y="0"/>
                </a:cxn>
                <a:cxn ang="0">
                  <a:pos x="T3" y="0"/>
                </a:cxn>
              </a:cxnLst>
              <a:rect l="0" t="0" r="r" b="b"/>
              <a:pathLst>
                <a:path w="3">
                  <a:moveTo>
                    <a:pt x="1" y="0"/>
                  </a:moveTo>
                  <a:cubicBezTo>
                    <a:pt x="1" y="0"/>
                    <a:pt x="0" y="0"/>
                    <a:pt x="0" y="0"/>
                  </a:cubicBezTo>
                  <a:cubicBezTo>
                    <a:pt x="1" y="0"/>
                    <a:pt x="2" y="0"/>
                    <a:pt x="3" y="0"/>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86"/>
            <p:cNvSpPr/>
            <p:nvPr/>
          </p:nvSpPr>
          <p:spPr bwMode="auto">
            <a:xfrm>
              <a:off x="8101685" y="326235"/>
              <a:ext cx="60728" cy="31070"/>
            </a:xfrm>
            <a:custGeom>
              <a:gdLst>
                <a:gd name="T0" fmla="*/ 16 w 18"/>
                <a:gd name="T1" fmla="*/ 0 h 9"/>
                <a:gd name="T2" fmla="*/ 16 w 18"/>
                <a:gd name="T3" fmla="*/ 0 h 9"/>
                <a:gd name="T4" fmla="*/ 13 w 18"/>
                <a:gd name="T5" fmla="*/ 4 h 9"/>
                <a:gd name="T6" fmla="*/ 11 w 18"/>
                <a:gd name="T7" fmla="*/ 4 h 9"/>
                <a:gd name="T8" fmla="*/ 8 w 18"/>
                <a:gd name="T9" fmla="*/ 2 h 9"/>
                <a:gd name="T10" fmla="*/ 5 w 18"/>
                <a:gd name="T11" fmla="*/ 4 h 9"/>
                <a:gd name="T12" fmla="*/ 1 w 18"/>
                <a:gd name="T13" fmla="*/ 5 h 9"/>
                <a:gd name="T14" fmla="*/ 3 w 18"/>
                <a:gd name="T15" fmla="*/ 9 h 9"/>
                <a:gd name="T16" fmla="*/ 4 w 18"/>
                <a:gd name="T17" fmla="*/ 9 h 9"/>
                <a:gd name="T18" fmla="*/ 5 w 18"/>
                <a:gd name="T19" fmla="*/ 9 h 9"/>
                <a:gd name="T20" fmla="*/ 7 w 18"/>
                <a:gd name="T21" fmla="*/ 9 h 9"/>
                <a:gd name="T22" fmla="*/ 15 w 18"/>
                <a:gd name="T23" fmla="*/ 6 h 9"/>
                <a:gd name="T24" fmla="*/ 16 w 18"/>
                <a:gd name="T25"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9">
                  <a:moveTo>
                    <a:pt x="16" y="0"/>
                  </a:moveTo>
                  <a:cubicBezTo>
                    <a:pt x="16" y="0"/>
                    <a:pt x="16" y="0"/>
                    <a:pt x="16" y="0"/>
                  </a:cubicBezTo>
                  <a:cubicBezTo>
                    <a:pt x="15" y="1"/>
                    <a:pt x="14" y="3"/>
                    <a:pt x="13" y="4"/>
                  </a:cubicBezTo>
                  <a:cubicBezTo>
                    <a:pt x="12" y="4"/>
                    <a:pt x="12" y="4"/>
                    <a:pt x="11" y="4"/>
                  </a:cubicBezTo>
                  <a:cubicBezTo>
                    <a:pt x="10" y="4"/>
                    <a:pt x="9" y="4"/>
                    <a:pt x="8" y="2"/>
                  </a:cubicBezTo>
                  <a:cubicBezTo>
                    <a:pt x="7" y="4"/>
                    <a:pt x="6" y="3"/>
                    <a:pt x="5" y="4"/>
                  </a:cubicBezTo>
                  <a:cubicBezTo>
                    <a:pt x="4" y="4"/>
                    <a:pt x="3" y="5"/>
                    <a:pt x="1" y="5"/>
                  </a:cubicBezTo>
                  <a:cubicBezTo>
                    <a:pt x="2" y="7"/>
                    <a:pt x="0" y="8"/>
                    <a:pt x="3" y="9"/>
                  </a:cubicBezTo>
                  <a:cubicBezTo>
                    <a:pt x="3" y="9"/>
                    <a:pt x="4" y="9"/>
                    <a:pt x="4" y="9"/>
                  </a:cubicBezTo>
                  <a:cubicBezTo>
                    <a:pt x="5" y="9"/>
                    <a:pt x="5" y="9"/>
                    <a:pt x="5" y="9"/>
                  </a:cubicBezTo>
                  <a:cubicBezTo>
                    <a:pt x="6" y="9"/>
                    <a:pt x="6" y="9"/>
                    <a:pt x="7" y="9"/>
                  </a:cubicBezTo>
                  <a:cubicBezTo>
                    <a:pt x="10" y="9"/>
                    <a:pt x="14" y="9"/>
                    <a:pt x="15" y="6"/>
                  </a:cubicBezTo>
                  <a:cubicBezTo>
                    <a:pt x="15" y="5"/>
                    <a:pt x="18"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87"/>
            <p:cNvSpPr/>
            <p:nvPr/>
          </p:nvSpPr>
          <p:spPr bwMode="auto">
            <a:xfrm>
              <a:off x="8062142" y="213253"/>
              <a:ext cx="33894" cy="39544"/>
            </a:xfrm>
            <a:custGeom>
              <a:gdLst>
                <a:gd name="T0" fmla="*/ 9 w 10"/>
                <a:gd name="T1" fmla="*/ 0 h 12"/>
                <a:gd name="T2" fmla="*/ 7 w 10"/>
                <a:gd name="T3" fmla="*/ 0 h 12"/>
                <a:gd name="T4" fmla="*/ 7 w 10"/>
                <a:gd name="T5" fmla="*/ 0 h 12"/>
                <a:gd name="T6" fmla="*/ 6 w 10"/>
                <a:gd name="T7" fmla="*/ 1 h 12"/>
                <a:gd name="T8" fmla="*/ 6 w 10"/>
                <a:gd name="T9" fmla="*/ 1 h 12"/>
                <a:gd name="T10" fmla="*/ 5 w 10"/>
                <a:gd name="T11" fmla="*/ 2 h 12"/>
                <a:gd name="T12" fmla="*/ 6 w 10"/>
                <a:gd name="T13" fmla="*/ 7 h 12"/>
                <a:gd name="T14" fmla="*/ 0 w 10"/>
                <a:gd name="T15" fmla="*/ 12 h 12"/>
                <a:gd name="T16" fmla="*/ 9 w 10"/>
                <a:gd name="T17" fmla="*/ 5 h 12"/>
                <a:gd name="T18" fmla="*/ 9 w 10"/>
                <a:gd name="T19"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9" y="0"/>
                  </a:moveTo>
                  <a:cubicBezTo>
                    <a:pt x="8" y="0"/>
                    <a:pt x="8" y="0"/>
                    <a:pt x="7" y="0"/>
                  </a:cubicBezTo>
                  <a:cubicBezTo>
                    <a:pt x="7" y="0"/>
                    <a:pt x="7" y="0"/>
                    <a:pt x="7" y="0"/>
                  </a:cubicBezTo>
                  <a:cubicBezTo>
                    <a:pt x="7" y="1"/>
                    <a:pt x="7" y="1"/>
                    <a:pt x="6" y="1"/>
                  </a:cubicBezTo>
                  <a:cubicBezTo>
                    <a:pt x="6" y="1"/>
                    <a:pt x="6" y="1"/>
                    <a:pt x="6" y="1"/>
                  </a:cubicBezTo>
                  <a:cubicBezTo>
                    <a:pt x="6" y="1"/>
                    <a:pt x="5" y="2"/>
                    <a:pt x="5" y="2"/>
                  </a:cubicBezTo>
                  <a:cubicBezTo>
                    <a:pt x="10" y="4"/>
                    <a:pt x="9" y="5"/>
                    <a:pt x="6" y="7"/>
                  </a:cubicBezTo>
                  <a:cubicBezTo>
                    <a:pt x="4" y="8"/>
                    <a:pt x="2" y="9"/>
                    <a:pt x="0" y="12"/>
                  </a:cubicBezTo>
                  <a:cubicBezTo>
                    <a:pt x="3" y="10"/>
                    <a:pt x="7" y="8"/>
                    <a:pt x="9" y="5"/>
                  </a:cubicBezTo>
                  <a:cubicBezTo>
                    <a:pt x="10" y="4"/>
                    <a:pt x="10"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88"/>
            <p:cNvSpPr/>
            <p:nvPr/>
          </p:nvSpPr>
          <p:spPr bwMode="auto">
            <a:xfrm>
              <a:off x="8145466" y="237262"/>
              <a:ext cx="36719" cy="9886"/>
            </a:xfrm>
            <a:custGeom>
              <a:gdLst>
                <a:gd name="T0" fmla="*/ 2 w 11"/>
                <a:gd name="T1" fmla="*/ 0 h 3"/>
                <a:gd name="T2" fmla="*/ 1 w 11"/>
                <a:gd name="T3" fmla="*/ 1 h 3"/>
                <a:gd name="T4" fmla="*/ 3 w 11"/>
                <a:gd name="T5" fmla="*/ 2 h 3"/>
                <a:gd name="T6" fmla="*/ 10 w 11"/>
                <a:gd name="T7" fmla="*/ 3 h 3"/>
                <a:gd name="T8" fmla="*/ 11 w 11"/>
                <a:gd name="T9" fmla="*/ 2 h 3"/>
                <a:gd name="T10" fmla="*/ 7 w 11"/>
                <a:gd name="T11" fmla="*/ 1 h 3"/>
                <a:gd name="T12" fmla="*/ 6 w 11"/>
                <a:gd name="T13" fmla="*/ 1 h 3"/>
                <a:gd name="T14" fmla="*/ 6 w 11"/>
                <a:gd name="T15" fmla="*/ 1 h 3"/>
                <a:gd name="T16" fmla="*/ 6 w 11"/>
                <a:gd name="T17" fmla="*/ 1 h 3"/>
                <a:gd name="T18" fmla="*/ 5 w 11"/>
                <a:gd name="T19" fmla="*/ 1 h 3"/>
                <a:gd name="T20" fmla="*/ 2 w 11"/>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3">
                  <a:moveTo>
                    <a:pt x="2" y="0"/>
                  </a:moveTo>
                  <a:cubicBezTo>
                    <a:pt x="1" y="0"/>
                    <a:pt x="1" y="0"/>
                    <a:pt x="1" y="1"/>
                  </a:cubicBezTo>
                  <a:cubicBezTo>
                    <a:pt x="0" y="2"/>
                    <a:pt x="2" y="2"/>
                    <a:pt x="3" y="2"/>
                  </a:cubicBezTo>
                  <a:cubicBezTo>
                    <a:pt x="5" y="2"/>
                    <a:pt x="7" y="3"/>
                    <a:pt x="10" y="3"/>
                  </a:cubicBezTo>
                  <a:cubicBezTo>
                    <a:pt x="10" y="3"/>
                    <a:pt x="10" y="3"/>
                    <a:pt x="11" y="2"/>
                  </a:cubicBezTo>
                  <a:cubicBezTo>
                    <a:pt x="9" y="2"/>
                    <a:pt x="9" y="1"/>
                    <a:pt x="7" y="1"/>
                  </a:cubicBezTo>
                  <a:cubicBezTo>
                    <a:pt x="7" y="1"/>
                    <a:pt x="7" y="1"/>
                    <a:pt x="6" y="1"/>
                  </a:cubicBezTo>
                  <a:cubicBezTo>
                    <a:pt x="6" y="1"/>
                    <a:pt x="6" y="1"/>
                    <a:pt x="6" y="1"/>
                  </a:cubicBezTo>
                  <a:cubicBezTo>
                    <a:pt x="6" y="1"/>
                    <a:pt x="6" y="1"/>
                    <a:pt x="6" y="1"/>
                  </a:cubicBezTo>
                  <a:cubicBezTo>
                    <a:pt x="5" y="1"/>
                    <a:pt x="5" y="1"/>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89"/>
            <p:cNvSpPr/>
            <p:nvPr/>
          </p:nvSpPr>
          <p:spPr bwMode="auto">
            <a:xfrm>
              <a:off x="8038133" y="96035"/>
              <a:ext cx="7061" cy="14123"/>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1" y="1"/>
                    <a:pt x="0" y="2"/>
                    <a:pt x="1"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90"/>
            <p:cNvSpPr/>
            <p:nvPr/>
          </p:nvSpPr>
          <p:spPr bwMode="auto">
            <a:xfrm>
              <a:off x="8152527" y="310700"/>
              <a:ext cx="9886" cy="9886"/>
            </a:xfrm>
            <a:custGeom>
              <a:gdLst>
                <a:gd name="T0" fmla="*/ 3 w 3"/>
                <a:gd name="T1" fmla="*/ 0 h 3"/>
                <a:gd name="T2" fmla="*/ 1 w 3"/>
                <a:gd name="T3" fmla="*/ 3 h 3"/>
                <a:gd name="T4" fmla="*/ 3 w 3"/>
                <a:gd name="T5" fmla="*/ 0 h 3"/>
              </a:gdLst>
              <a:cxnLst>
                <a:cxn ang="0">
                  <a:pos x="T0" y="T1"/>
                </a:cxn>
                <a:cxn ang="0">
                  <a:pos x="T2" y="T3"/>
                </a:cxn>
                <a:cxn ang="0">
                  <a:pos x="T4" y="T5"/>
                </a:cxn>
              </a:cxnLst>
              <a:rect l="0" t="0" r="r" b="b"/>
              <a:pathLst>
                <a:path w="3" h="3">
                  <a:moveTo>
                    <a:pt x="3" y="0"/>
                  </a:moveTo>
                  <a:cubicBezTo>
                    <a:pt x="1" y="0"/>
                    <a:pt x="0" y="1"/>
                    <a:pt x="1" y="3"/>
                  </a:cubicBezTo>
                  <a:cubicBezTo>
                    <a:pt x="2"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91"/>
            <p:cNvSpPr/>
            <p:nvPr/>
          </p:nvSpPr>
          <p:spPr bwMode="auto">
            <a:xfrm>
              <a:off x="9190545" y="967407"/>
              <a:ext cx="25421" cy="16947"/>
            </a:xfrm>
            <a:custGeom>
              <a:gdLst>
                <a:gd name="T0" fmla="*/ 3 w 8"/>
                <a:gd name="T1" fmla="*/ 0 h 5"/>
                <a:gd name="T2" fmla="*/ 3 w 8"/>
                <a:gd name="T3" fmla="*/ 5 h 5"/>
                <a:gd name="T4" fmla="*/ 3 w 8"/>
                <a:gd name="T5" fmla="*/ 5 h 5"/>
                <a:gd name="T6" fmla="*/ 3 w 8"/>
                <a:gd name="T7" fmla="*/ 0 h 5"/>
              </a:gdLst>
              <a:cxnLst>
                <a:cxn ang="0">
                  <a:pos x="T0" y="T1"/>
                </a:cxn>
                <a:cxn ang="0">
                  <a:pos x="T2" y="T3"/>
                </a:cxn>
                <a:cxn ang="0">
                  <a:pos x="T4" y="T5"/>
                </a:cxn>
                <a:cxn ang="0">
                  <a:pos x="T6" y="T7"/>
                </a:cxn>
              </a:cxnLst>
              <a:rect l="0" t="0" r="r" b="b"/>
              <a:pathLst>
                <a:path w="8" h="5">
                  <a:moveTo>
                    <a:pt x="3" y="0"/>
                  </a:moveTo>
                  <a:cubicBezTo>
                    <a:pt x="0" y="0"/>
                    <a:pt x="1" y="5"/>
                    <a:pt x="3" y="5"/>
                  </a:cubicBezTo>
                  <a:cubicBezTo>
                    <a:pt x="3" y="5"/>
                    <a:pt x="3" y="5"/>
                    <a:pt x="3" y="5"/>
                  </a:cubicBezTo>
                  <a:cubicBezTo>
                    <a:pt x="8" y="5"/>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92"/>
            <p:cNvSpPr/>
            <p:nvPr/>
          </p:nvSpPr>
          <p:spPr bwMode="auto">
            <a:xfrm>
              <a:off x="8919389" y="573383"/>
              <a:ext cx="16947" cy="7061"/>
            </a:xfrm>
            <a:custGeom>
              <a:gdLst>
                <a:gd name="T0" fmla="*/ 5 w 5"/>
                <a:gd name="T1" fmla="*/ 0 h 2"/>
                <a:gd name="T2" fmla="*/ 0 w 5"/>
                <a:gd name="T3" fmla="*/ 2 h 2"/>
                <a:gd name="T4" fmla="*/ 5 w 5"/>
                <a:gd name="T5" fmla="*/ 0 h 2"/>
              </a:gdLst>
              <a:cxnLst>
                <a:cxn ang="0">
                  <a:pos x="T0" y="T1"/>
                </a:cxn>
                <a:cxn ang="0">
                  <a:pos x="T2" y="T3"/>
                </a:cxn>
                <a:cxn ang="0">
                  <a:pos x="T4" y="T5"/>
                </a:cxn>
              </a:cxnLst>
              <a:rect l="0" t="0" r="r" b="b"/>
              <a:pathLst>
                <a:path w="5" h="2">
                  <a:moveTo>
                    <a:pt x="5" y="0"/>
                  </a:moveTo>
                  <a:cubicBezTo>
                    <a:pt x="3" y="0"/>
                    <a:pt x="2" y="1"/>
                    <a:pt x="0" y="2"/>
                  </a:cubicBezTo>
                  <a:cubicBezTo>
                    <a:pt x="2" y="2"/>
                    <a:pt x="4"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93"/>
            <p:cNvSpPr/>
            <p:nvPr/>
          </p:nvSpPr>
          <p:spPr bwMode="auto">
            <a:xfrm>
              <a:off x="9019661" y="660944"/>
              <a:ext cx="16947" cy="12710"/>
            </a:xfrm>
            <a:custGeom>
              <a:gdLst>
                <a:gd name="T0" fmla="*/ 2 w 5"/>
                <a:gd name="T1" fmla="*/ 0 h 4"/>
                <a:gd name="T2" fmla="*/ 0 w 5"/>
                <a:gd name="T3" fmla="*/ 3 h 4"/>
                <a:gd name="T4" fmla="*/ 2 w 5"/>
                <a:gd name="T5" fmla="*/ 4 h 4"/>
                <a:gd name="T6" fmla="*/ 3 w 5"/>
                <a:gd name="T7" fmla="*/ 4 h 4"/>
                <a:gd name="T8" fmla="*/ 3 w 5"/>
                <a:gd name="T9" fmla="*/ 4 h 4"/>
                <a:gd name="T10" fmla="*/ 5 w 5"/>
                <a:gd name="T11" fmla="*/ 3 h 4"/>
                <a:gd name="T12" fmla="*/ 3 w 5"/>
                <a:gd name="T13" fmla="*/ 0 h 4"/>
                <a:gd name="T14" fmla="*/ 2 w 5"/>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2" y="0"/>
                  </a:moveTo>
                  <a:cubicBezTo>
                    <a:pt x="1" y="0"/>
                    <a:pt x="1" y="2"/>
                    <a:pt x="0" y="3"/>
                  </a:cubicBezTo>
                  <a:cubicBezTo>
                    <a:pt x="0" y="4"/>
                    <a:pt x="1" y="4"/>
                    <a:pt x="2" y="4"/>
                  </a:cubicBezTo>
                  <a:cubicBezTo>
                    <a:pt x="2" y="4"/>
                    <a:pt x="2" y="4"/>
                    <a:pt x="3" y="4"/>
                  </a:cubicBezTo>
                  <a:cubicBezTo>
                    <a:pt x="3" y="4"/>
                    <a:pt x="3" y="4"/>
                    <a:pt x="3" y="4"/>
                  </a:cubicBezTo>
                  <a:cubicBezTo>
                    <a:pt x="4" y="4"/>
                    <a:pt x="4" y="3"/>
                    <a:pt x="5" y="3"/>
                  </a:cubicBezTo>
                  <a:cubicBezTo>
                    <a:pt x="4" y="2"/>
                    <a:pt x="3"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94"/>
            <p:cNvSpPr/>
            <p:nvPr/>
          </p:nvSpPr>
          <p:spPr bwMode="auto">
            <a:xfrm>
              <a:off x="9016836" y="617164"/>
              <a:ext cx="5649" cy="9886"/>
            </a:xfrm>
            <a:custGeom>
              <a:gdLst>
                <a:gd name="T0" fmla="*/ 2 w 2"/>
                <a:gd name="T1" fmla="*/ 0 h 3"/>
                <a:gd name="T2" fmla="*/ 2 w 2"/>
                <a:gd name="T3" fmla="*/ 3 h 3"/>
                <a:gd name="T4" fmla="*/ 2 w 2"/>
                <a:gd name="T5" fmla="*/ 0 h 3"/>
              </a:gdLst>
              <a:cxnLst>
                <a:cxn ang="0">
                  <a:pos x="T0" y="T1"/>
                </a:cxn>
                <a:cxn ang="0">
                  <a:pos x="T2" y="T3"/>
                </a:cxn>
                <a:cxn ang="0">
                  <a:pos x="T4" y="T5"/>
                </a:cxn>
              </a:cxnLst>
              <a:rect l="0" t="0" r="r" b="b"/>
              <a:pathLst>
                <a:path w="2" h="3">
                  <a:moveTo>
                    <a:pt x="2" y="0"/>
                  </a:moveTo>
                  <a:cubicBezTo>
                    <a:pt x="0" y="1"/>
                    <a:pt x="2" y="2"/>
                    <a:pt x="2"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95"/>
            <p:cNvSpPr/>
            <p:nvPr/>
          </p:nvSpPr>
          <p:spPr bwMode="auto">
            <a:xfrm>
              <a:off x="7694951" y="4707107"/>
              <a:ext cx="16947" cy="7061"/>
            </a:xfrm>
            <a:custGeom>
              <a:gdLst>
                <a:gd name="T0" fmla="*/ 2 w 5"/>
                <a:gd name="T1" fmla="*/ 0 h 2"/>
                <a:gd name="T2" fmla="*/ 0 w 5"/>
                <a:gd name="T3" fmla="*/ 2 h 2"/>
                <a:gd name="T4" fmla="*/ 5 w 5"/>
                <a:gd name="T5" fmla="*/ 1 h 2"/>
                <a:gd name="T6" fmla="*/ 2 w 5"/>
                <a:gd name="T7" fmla="*/ 0 h 2"/>
              </a:gdLst>
              <a:cxnLst>
                <a:cxn ang="0">
                  <a:pos x="T0" y="T1"/>
                </a:cxn>
                <a:cxn ang="0">
                  <a:pos x="T2" y="T3"/>
                </a:cxn>
                <a:cxn ang="0">
                  <a:pos x="T4" y="T5"/>
                </a:cxn>
                <a:cxn ang="0">
                  <a:pos x="T6" y="T7"/>
                </a:cxn>
              </a:cxnLst>
              <a:rect l="0" t="0" r="r" b="b"/>
              <a:pathLst>
                <a:path w="5" h="2">
                  <a:moveTo>
                    <a:pt x="2" y="0"/>
                  </a:moveTo>
                  <a:cubicBezTo>
                    <a:pt x="2" y="0"/>
                    <a:pt x="1" y="1"/>
                    <a:pt x="0" y="2"/>
                  </a:cubicBezTo>
                  <a:cubicBezTo>
                    <a:pt x="2" y="2"/>
                    <a:pt x="4" y="2"/>
                    <a:pt x="5" y="1"/>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97"/>
            <p:cNvSpPr/>
            <p:nvPr/>
          </p:nvSpPr>
          <p:spPr bwMode="auto">
            <a:xfrm>
              <a:off x="8786636" y="614339"/>
              <a:ext cx="26833" cy="5649"/>
            </a:xfrm>
            <a:custGeom>
              <a:gdLst>
                <a:gd name="T0" fmla="*/ 8 w 8"/>
                <a:gd name="T1" fmla="*/ 0 h 2"/>
                <a:gd name="T2" fmla="*/ 0 w 8"/>
                <a:gd name="T3" fmla="*/ 2 h 2"/>
                <a:gd name="T4" fmla="*/ 8 w 8"/>
                <a:gd name="T5" fmla="*/ 0 h 2"/>
              </a:gdLst>
              <a:cxnLst>
                <a:cxn ang="0">
                  <a:pos x="T0" y="T1"/>
                </a:cxn>
                <a:cxn ang="0">
                  <a:pos x="T2" y="T3"/>
                </a:cxn>
                <a:cxn ang="0">
                  <a:pos x="T4" y="T5"/>
                </a:cxn>
              </a:cxnLst>
              <a:rect l="0" t="0" r="r" b="b"/>
              <a:pathLst>
                <a:path w="8" h="2">
                  <a:moveTo>
                    <a:pt x="8" y="0"/>
                  </a:moveTo>
                  <a:cubicBezTo>
                    <a:pt x="5" y="0"/>
                    <a:pt x="3" y="1"/>
                    <a:pt x="0" y="2"/>
                  </a:cubicBezTo>
                  <a:cubicBezTo>
                    <a:pt x="3" y="1"/>
                    <a:pt x="5"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98"/>
            <p:cNvSpPr/>
            <p:nvPr/>
          </p:nvSpPr>
          <p:spPr bwMode="auto">
            <a:xfrm>
              <a:off x="8776750" y="563497"/>
              <a:ext cx="15535" cy="7061"/>
            </a:xfrm>
            <a:custGeom>
              <a:gdLst>
                <a:gd name="T0" fmla="*/ 0 w 5"/>
                <a:gd name="T1" fmla="*/ 0 h 2"/>
                <a:gd name="T2" fmla="*/ 4 w 5"/>
                <a:gd name="T3" fmla="*/ 2 h 2"/>
                <a:gd name="T4" fmla="*/ 5 w 5"/>
                <a:gd name="T5" fmla="*/ 1 h 2"/>
                <a:gd name="T6" fmla="*/ 0 w 5"/>
                <a:gd name="T7" fmla="*/ 0 h 2"/>
              </a:gdLst>
              <a:cxnLst>
                <a:cxn ang="0">
                  <a:pos x="T0" y="T1"/>
                </a:cxn>
                <a:cxn ang="0">
                  <a:pos x="T2" y="T3"/>
                </a:cxn>
                <a:cxn ang="0">
                  <a:pos x="T4" y="T5"/>
                </a:cxn>
                <a:cxn ang="0">
                  <a:pos x="T6" y="T7"/>
                </a:cxn>
              </a:cxnLst>
              <a:rect l="0" t="0" r="r" b="b"/>
              <a:pathLst>
                <a:path w="5" h="2">
                  <a:moveTo>
                    <a:pt x="0" y="0"/>
                  </a:moveTo>
                  <a:cubicBezTo>
                    <a:pt x="2" y="1"/>
                    <a:pt x="3" y="2"/>
                    <a:pt x="4" y="2"/>
                  </a:cubicBezTo>
                  <a:cubicBezTo>
                    <a:pt x="4" y="2"/>
                    <a:pt x="4" y="2"/>
                    <a:pt x="5" y="1"/>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99"/>
            <p:cNvSpPr/>
            <p:nvPr/>
          </p:nvSpPr>
          <p:spPr bwMode="auto">
            <a:xfrm>
              <a:off x="8802171" y="553611"/>
              <a:ext cx="14123" cy="9886"/>
            </a:xfrm>
            <a:custGeom>
              <a:gdLst>
                <a:gd name="T0" fmla="*/ 4 w 4"/>
                <a:gd name="T1" fmla="*/ 0 h 3"/>
                <a:gd name="T2" fmla="*/ 0 w 4"/>
                <a:gd name="T3" fmla="*/ 3 h 3"/>
                <a:gd name="T4" fmla="*/ 4 w 4"/>
                <a:gd name="T5" fmla="*/ 0 h 3"/>
              </a:gdLst>
              <a:cxnLst>
                <a:cxn ang="0">
                  <a:pos x="T0" y="T1"/>
                </a:cxn>
                <a:cxn ang="0">
                  <a:pos x="T2" y="T3"/>
                </a:cxn>
                <a:cxn ang="0">
                  <a:pos x="T4" y="T5"/>
                </a:cxn>
              </a:cxnLst>
              <a:rect l="0" t="0" r="r" b="b"/>
              <a:pathLst>
                <a:path w="4" h="3">
                  <a:moveTo>
                    <a:pt x="4" y="0"/>
                  </a:moveTo>
                  <a:cubicBezTo>
                    <a:pt x="3" y="1"/>
                    <a:pt x="2" y="2"/>
                    <a:pt x="0" y="3"/>
                  </a:cubicBezTo>
                  <a:cubicBezTo>
                    <a:pt x="2" y="3"/>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00"/>
            <p:cNvSpPr/>
            <p:nvPr/>
          </p:nvSpPr>
          <p:spPr bwMode="auto">
            <a:xfrm>
              <a:off x="9066266" y="961758"/>
              <a:ext cx="14123" cy="19772"/>
            </a:xfrm>
            <a:custGeom>
              <a:gdLst>
                <a:gd name="T0" fmla="*/ 3 w 4"/>
                <a:gd name="T1" fmla="*/ 0 h 6"/>
                <a:gd name="T2" fmla="*/ 0 w 4"/>
                <a:gd name="T3" fmla="*/ 3 h 6"/>
                <a:gd name="T4" fmla="*/ 0 w 4"/>
                <a:gd name="T5" fmla="*/ 4 h 6"/>
                <a:gd name="T6" fmla="*/ 2 w 4"/>
                <a:gd name="T7" fmla="*/ 6 h 6"/>
                <a:gd name="T8" fmla="*/ 4 w 4"/>
                <a:gd name="T9" fmla="*/ 3 h 6"/>
                <a:gd name="T10" fmla="*/ 3 w 4"/>
                <a:gd name="T11" fmla="*/ 0 h 6"/>
              </a:gdLst>
              <a:cxnLst>
                <a:cxn ang="0">
                  <a:pos x="T0" y="T1"/>
                </a:cxn>
                <a:cxn ang="0">
                  <a:pos x="T2" y="T3"/>
                </a:cxn>
                <a:cxn ang="0">
                  <a:pos x="T4" y="T5"/>
                </a:cxn>
                <a:cxn ang="0">
                  <a:pos x="T6" y="T7"/>
                </a:cxn>
                <a:cxn ang="0">
                  <a:pos x="T8" y="T9"/>
                </a:cxn>
                <a:cxn ang="0">
                  <a:pos x="T10" y="T11"/>
                </a:cxn>
              </a:cxnLst>
              <a:rect l="0" t="0" r="r" b="b"/>
              <a:pathLst>
                <a:path w="4" h="6">
                  <a:moveTo>
                    <a:pt x="3" y="0"/>
                  </a:moveTo>
                  <a:cubicBezTo>
                    <a:pt x="2" y="0"/>
                    <a:pt x="1" y="1"/>
                    <a:pt x="0" y="3"/>
                  </a:cubicBezTo>
                  <a:cubicBezTo>
                    <a:pt x="0" y="3"/>
                    <a:pt x="0" y="4"/>
                    <a:pt x="0" y="4"/>
                  </a:cubicBezTo>
                  <a:cubicBezTo>
                    <a:pt x="1" y="5"/>
                    <a:pt x="2" y="6"/>
                    <a:pt x="2" y="6"/>
                  </a:cubicBezTo>
                  <a:cubicBezTo>
                    <a:pt x="3" y="6"/>
                    <a:pt x="3" y="4"/>
                    <a:pt x="4" y="3"/>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01"/>
            <p:cNvSpPr>
              <a:spLocks noEditPoints="1"/>
            </p:cNvSpPr>
            <p:nvPr/>
          </p:nvSpPr>
          <p:spPr bwMode="auto">
            <a:xfrm>
              <a:off x="7508532" y="46605"/>
              <a:ext cx="5649" cy="9886"/>
            </a:xfrm>
            <a:custGeom>
              <a:gdLst>
                <a:gd name="T0" fmla="*/ 0 w 2"/>
                <a:gd name="T1" fmla="*/ 1 h 3"/>
                <a:gd name="T2" fmla="*/ 1 w 2"/>
                <a:gd name="T3" fmla="*/ 2 h 3"/>
                <a:gd name="T4" fmla="*/ 1 w 2"/>
                <a:gd name="T5" fmla="*/ 3 h 3"/>
                <a:gd name="T6" fmla="*/ 2 w 2"/>
                <a:gd name="T7" fmla="*/ 3 h 3"/>
                <a:gd name="T8" fmla="*/ 2 w 2"/>
                <a:gd name="T9" fmla="*/ 3 h 3"/>
                <a:gd name="T10" fmla="*/ 1 w 2"/>
                <a:gd name="T11" fmla="*/ 3 h 3"/>
                <a:gd name="T12" fmla="*/ 0 w 2"/>
                <a:gd name="T13" fmla="*/ 1 h 3"/>
                <a:gd name="T14" fmla="*/ 0 w 2"/>
                <a:gd name="T15" fmla="*/ 0 h 3"/>
                <a:gd name="T16" fmla="*/ 0 w 2"/>
                <a:gd name="T17" fmla="*/ 1 h 3"/>
                <a:gd name="T18" fmla="*/ 0 w 2"/>
                <a:gd name="T19"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1"/>
                  </a:moveTo>
                  <a:cubicBezTo>
                    <a:pt x="0" y="1"/>
                    <a:pt x="1" y="1"/>
                    <a:pt x="1" y="2"/>
                  </a:cubicBezTo>
                  <a:cubicBezTo>
                    <a:pt x="1" y="2"/>
                    <a:pt x="1" y="3"/>
                    <a:pt x="1" y="3"/>
                  </a:cubicBezTo>
                  <a:cubicBezTo>
                    <a:pt x="2" y="3"/>
                    <a:pt x="2" y="3"/>
                    <a:pt x="2" y="3"/>
                  </a:cubicBezTo>
                  <a:cubicBezTo>
                    <a:pt x="2" y="3"/>
                    <a:pt x="2" y="3"/>
                    <a:pt x="2" y="3"/>
                  </a:cubicBezTo>
                  <a:cubicBezTo>
                    <a:pt x="1" y="3"/>
                    <a:pt x="1" y="3"/>
                    <a:pt x="1" y="3"/>
                  </a:cubicBezTo>
                  <a:cubicBezTo>
                    <a:pt x="1" y="2"/>
                    <a:pt x="1" y="1"/>
                    <a:pt x="0" y="1"/>
                  </a:cubicBezTo>
                  <a:moveTo>
                    <a:pt x="0" y="0"/>
                  </a:moveTo>
                  <a:cubicBezTo>
                    <a:pt x="0" y="0"/>
                    <a:pt x="0" y="0"/>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02"/>
            <p:cNvSpPr/>
            <p:nvPr/>
          </p:nvSpPr>
          <p:spPr bwMode="auto">
            <a:xfrm>
              <a:off x="9016836" y="1160889"/>
              <a:ext cx="76263" cy="60728"/>
            </a:xfrm>
            <a:custGeom>
              <a:gdLst>
                <a:gd name="T0" fmla="*/ 22 w 23"/>
                <a:gd name="T1" fmla="*/ 0 h 18"/>
                <a:gd name="T2" fmla="*/ 18 w 23"/>
                <a:gd name="T3" fmla="*/ 1 h 18"/>
                <a:gd name="T4" fmla="*/ 6 w 23"/>
                <a:gd name="T5" fmla="*/ 3 h 18"/>
                <a:gd name="T6" fmla="*/ 11 w 23"/>
                <a:gd name="T7" fmla="*/ 8 h 18"/>
                <a:gd name="T8" fmla="*/ 10 w 23"/>
                <a:gd name="T9" fmla="*/ 14 h 18"/>
                <a:gd name="T10" fmla="*/ 6 w 23"/>
                <a:gd name="T11" fmla="*/ 15 h 18"/>
                <a:gd name="T12" fmla="*/ 0 w 23"/>
                <a:gd name="T13" fmla="*/ 18 h 18"/>
                <a:gd name="T14" fmla="*/ 3 w 23"/>
                <a:gd name="T15" fmla="*/ 18 h 18"/>
                <a:gd name="T16" fmla="*/ 5 w 23"/>
                <a:gd name="T17" fmla="*/ 18 h 18"/>
                <a:gd name="T18" fmla="*/ 8 w 23"/>
                <a:gd name="T19" fmla="*/ 18 h 18"/>
                <a:gd name="T20" fmla="*/ 10 w 23"/>
                <a:gd name="T21" fmla="*/ 18 h 18"/>
                <a:gd name="T22" fmla="*/ 13 w 23"/>
                <a:gd name="T23" fmla="*/ 18 h 18"/>
                <a:gd name="T24" fmla="*/ 19 w 23"/>
                <a:gd name="T25" fmla="*/ 17 h 18"/>
                <a:gd name="T26" fmla="*/ 21 w 23"/>
                <a:gd name="T27" fmla="*/ 8 h 18"/>
                <a:gd name="T28" fmla="*/ 23 w 23"/>
                <a:gd name="T29" fmla="*/ 0 h 18"/>
                <a:gd name="T30" fmla="*/ 22 w 23"/>
                <a:gd name="T3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18">
                  <a:moveTo>
                    <a:pt x="22" y="0"/>
                  </a:moveTo>
                  <a:cubicBezTo>
                    <a:pt x="21" y="0"/>
                    <a:pt x="19" y="0"/>
                    <a:pt x="18" y="1"/>
                  </a:cubicBezTo>
                  <a:cubicBezTo>
                    <a:pt x="14" y="1"/>
                    <a:pt x="10" y="2"/>
                    <a:pt x="6" y="3"/>
                  </a:cubicBezTo>
                  <a:cubicBezTo>
                    <a:pt x="10" y="4"/>
                    <a:pt x="10" y="5"/>
                    <a:pt x="11" y="8"/>
                  </a:cubicBezTo>
                  <a:cubicBezTo>
                    <a:pt x="11" y="10"/>
                    <a:pt x="11" y="12"/>
                    <a:pt x="10" y="14"/>
                  </a:cubicBezTo>
                  <a:cubicBezTo>
                    <a:pt x="10" y="14"/>
                    <a:pt x="7" y="14"/>
                    <a:pt x="6" y="15"/>
                  </a:cubicBezTo>
                  <a:cubicBezTo>
                    <a:pt x="5" y="16"/>
                    <a:pt x="2" y="17"/>
                    <a:pt x="0" y="18"/>
                  </a:cubicBezTo>
                  <a:cubicBezTo>
                    <a:pt x="1" y="18"/>
                    <a:pt x="2" y="18"/>
                    <a:pt x="3" y="18"/>
                  </a:cubicBezTo>
                  <a:cubicBezTo>
                    <a:pt x="4" y="18"/>
                    <a:pt x="4" y="18"/>
                    <a:pt x="5" y="18"/>
                  </a:cubicBezTo>
                  <a:cubicBezTo>
                    <a:pt x="6" y="18"/>
                    <a:pt x="7" y="18"/>
                    <a:pt x="8" y="18"/>
                  </a:cubicBezTo>
                  <a:cubicBezTo>
                    <a:pt x="9" y="18"/>
                    <a:pt x="9" y="18"/>
                    <a:pt x="10" y="18"/>
                  </a:cubicBezTo>
                  <a:cubicBezTo>
                    <a:pt x="11" y="18"/>
                    <a:pt x="12" y="18"/>
                    <a:pt x="13" y="18"/>
                  </a:cubicBezTo>
                  <a:cubicBezTo>
                    <a:pt x="15" y="18"/>
                    <a:pt x="17" y="18"/>
                    <a:pt x="19" y="17"/>
                  </a:cubicBezTo>
                  <a:cubicBezTo>
                    <a:pt x="23" y="15"/>
                    <a:pt x="21" y="11"/>
                    <a:pt x="21" y="8"/>
                  </a:cubicBezTo>
                  <a:cubicBezTo>
                    <a:pt x="20" y="5"/>
                    <a:pt x="22" y="3"/>
                    <a:pt x="23" y="0"/>
                  </a:cubicBezTo>
                  <a:cubicBezTo>
                    <a:pt x="23" y="0"/>
                    <a:pt x="22"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103"/>
            <p:cNvSpPr/>
            <p:nvPr/>
          </p:nvSpPr>
          <p:spPr bwMode="auto">
            <a:xfrm>
              <a:off x="7471813" y="1412273"/>
              <a:ext cx="22596" cy="22596"/>
            </a:xfrm>
            <a:custGeom>
              <a:gdLst>
                <a:gd name="T0" fmla="*/ 3 w 7"/>
                <a:gd name="T1" fmla="*/ 0 h 7"/>
                <a:gd name="T2" fmla="*/ 0 w 7"/>
                <a:gd name="T3" fmla="*/ 3 h 7"/>
                <a:gd name="T4" fmla="*/ 6 w 7"/>
                <a:gd name="T5" fmla="*/ 7 h 7"/>
                <a:gd name="T6" fmla="*/ 7 w 7"/>
                <a:gd name="T7" fmla="*/ 7 h 7"/>
                <a:gd name="T8" fmla="*/ 3 w 7"/>
                <a:gd name="T9" fmla="*/ 0 h 7"/>
              </a:gdLst>
              <a:cxnLst>
                <a:cxn ang="0">
                  <a:pos x="T0" y="T1"/>
                </a:cxn>
                <a:cxn ang="0">
                  <a:pos x="T2" y="T3"/>
                </a:cxn>
                <a:cxn ang="0">
                  <a:pos x="T4" y="T5"/>
                </a:cxn>
                <a:cxn ang="0">
                  <a:pos x="T6" y="T7"/>
                </a:cxn>
                <a:cxn ang="0">
                  <a:pos x="T8" y="T9"/>
                </a:cxn>
              </a:cxnLst>
              <a:rect l="0" t="0" r="r" b="b"/>
              <a:pathLst>
                <a:path w="7" h="7">
                  <a:moveTo>
                    <a:pt x="3" y="0"/>
                  </a:moveTo>
                  <a:cubicBezTo>
                    <a:pt x="2" y="0"/>
                    <a:pt x="1" y="2"/>
                    <a:pt x="0" y="3"/>
                  </a:cubicBezTo>
                  <a:cubicBezTo>
                    <a:pt x="1" y="5"/>
                    <a:pt x="4" y="7"/>
                    <a:pt x="6" y="7"/>
                  </a:cubicBezTo>
                  <a:cubicBezTo>
                    <a:pt x="6" y="7"/>
                    <a:pt x="7" y="7"/>
                    <a:pt x="7" y="7"/>
                  </a:cubicBezTo>
                  <a:cubicBezTo>
                    <a:pt x="6" y="4"/>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104"/>
            <p:cNvSpPr/>
            <p:nvPr/>
          </p:nvSpPr>
          <p:spPr bwMode="auto">
            <a:xfrm>
              <a:off x="7531128" y="1415098"/>
              <a:ext cx="7061" cy="4237"/>
            </a:xfrm>
            <a:custGeom>
              <a:gdLst>
                <a:gd name="T0" fmla="*/ 2 w 2"/>
                <a:gd name="T1" fmla="*/ 0 h 1"/>
                <a:gd name="T2" fmla="*/ 0 w 2"/>
                <a:gd name="T3" fmla="*/ 1 h 1"/>
                <a:gd name="T4" fmla="*/ 0 w 2"/>
                <a:gd name="T5" fmla="*/ 1 h 1"/>
                <a:gd name="T6" fmla="*/ 1 w 2"/>
                <a:gd name="T7" fmla="*/ 1 h 1"/>
                <a:gd name="T8" fmla="*/ 1 w 2"/>
                <a:gd name="T9" fmla="*/ 1 h 1"/>
                <a:gd name="T10" fmla="*/ 2 w 2"/>
                <a:gd name="T11" fmla="*/ 0 h 1"/>
              </a:gdLst>
              <a:cxnLst>
                <a:cxn ang="0">
                  <a:pos x="T0" y="T1"/>
                </a:cxn>
                <a:cxn ang="0">
                  <a:pos x="T2" y="T3"/>
                </a:cxn>
                <a:cxn ang="0">
                  <a:pos x="T4" y="T5"/>
                </a:cxn>
                <a:cxn ang="0">
                  <a:pos x="T6" y="T7"/>
                </a:cxn>
                <a:cxn ang="0">
                  <a:pos x="T8" y="T9"/>
                </a:cxn>
                <a:cxn ang="0">
                  <a:pos x="T10" y="T11"/>
                </a:cxn>
              </a:cxnLst>
              <a:rect l="0" t="0" r="r" b="b"/>
              <a:pathLst>
                <a:path w="2" h="1">
                  <a:moveTo>
                    <a:pt x="2" y="0"/>
                  </a:moveTo>
                  <a:cubicBezTo>
                    <a:pt x="1" y="1"/>
                    <a:pt x="1" y="1"/>
                    <a:pt x="0" y="1"/>
                  </a:cubicBezTo>
                  <a:cubicBezTo>
                    <a:pt x="0" y="1"/>
                    <a:pt x="0" y="1"/>
                    <a:pt x="0" y="1"/>
                  </a:cubicBezTo>
                  <a:cubicBezTo>
                    <a:pt x="1" y="1"/>
                    <a:pt x="1" y="1"/>
                    <a:pt x="1" y="1"/>
                  </a:cubicBezTo>
                  <a:cubicBezTo>
                    <a:pt x="1" y="1"/>
                    <a:pt x="1" y="1"/>
                    <a:pt x="1" y="1"/>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05"/>
            <p:cNvSpPr/>
            <p:nvPr/>
          </p:nvSpPr>
          <p:spPr bwMode="auto">
            <a:xfrm>
              <a:off x="7528304" y="1419335"/>
              <a:ext cx="2825" cy="0"/>
            </a:xfrm>
            <a:custGeom>
              <a:gdLst>
                <a:gd name="T0" fmla="*/ 1 w 1"/>
                <a:gd name="T1" fmla="*/ 0 w 1"/>
                <a:gd name="T2" fmla="*/ 1 w 1"/>
                <a:gd name="T3" fmla="*/ 1 w 1"/>
              </a:gdLst>
              <a:cxnLst>
                <a:cxn ang="0">
                  <a:pos x="T0" y="0"/>
                </a:cxn>
                <a:cxn ang="0">
                  <a:pos x="T1" y="0"/>
                </a:cxn>
                <a:cxn ang="0">
                  <a:pos x="T2" y="0"/>
                </a:cxn>
                <a:cxn ang="0">
                  <a:pos x="T3" y="0"/>
                </a:cxn>
              </a:cxnLst>
              <a:rect l="0" t="0" r="r" b="b"/>
              <a:pathLst>
                <a:path w="1">
                  <a:moveTo>
                    <a:pt x="1" y="0"/>
                  </a:moveTo>
                  <a:cubicBezTo>
                    <a:pt x="1" y="0"/>
                    <a:pt x="1" y="0"/>
                    <a:pt x="0"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06"/>
            <p:cNvSpPr/>
            <p:nvPr/>
          </p:nvSpPr>
          <p:spPr bwMode="auto">
            <a:xfrm>
              <a:off x="7447804" y="1278107"/>
              <a:ext cx="9886" cy="7061"/>
            </a:xfrm>
            <a:custGeom>
              <a:gdLst>
                <a:gd name="T0" fmla="*/ 0 w 3"/>
                <a:gd name="T1" fmla="*/ 0 h 2"/>
                <a:gd name="T2" fmla="*/ 1 w 3"/>
                <a:gd name="T3" fmla="*/ 2 h 2"/>
                <a:gd name="T4" fmla="*/ 3 w 3"/>
                <a:gd name="T5" fmla="*/ 1 h 2"/>
                <a:gd name="T6" fmla="*/ 0 w 3"/>
                <a:gd name="T7" fmla="*/ 0 h 2"/>
              </a:gdLst>
              <a:cxnLst>
                <a:cxn ang="0">
                  <a:pos x="T0" y="T1"/>
                </a:cxn>
                <a:cxn ang="0">
                  <a:pos x="T2" y="T3"/>
                </a:cxn>
                <a:cxn ang="0">
                  <a:pos x="T4" y="T5"/>
                </a:cxn>
                <a:cxn ang="0">
                  <a:pos x="T6" y="T7"/>
                </a:cxn>
              </a:cxnLst>
              <a:rect l="0" t="0" r="r" b="b"/>
              <a:pathLst>
                <a:path w="3" h="2">
                  <a:moveTo>
                    <a:pt x="0" y="0"/>
                  </a:moveTo>
                  <a:cubicBezTo>
                    <a:pt x="0" y="1"/>
                    <a:pt x="1" y="2"/>
                    <a:pt x="1" y="2"/>
                  </a:cubicBezTo>
                  <a:cubicBezTo>
                    <a:pt x="2" y="2"/>
                    <a:pt x="2" y="2"/>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07"/>
            <p:cNvSpPr/>
            <p:nvPr/>
          </p:nvSpPr>
          <p:spPr bwMode="auto">
            <a:xfrm>
              <a:off x="7694951" y="1348721"/>
              <a:ext cx="9886" cy="16947"/>
            </a:xfrm>
            <a:custGeom>
              <a:gdLst>
                <a:gd name="T0" fmla="*/ 3 w 3"/>
                <a:gd name="T1" fmla="*/ 0 h 5"/>
                <a:gd name="T2" fmla="*/ 2 w 3"/>
                <a:gd name="T3" fmla="*/ 5 h 5"/>
                <a:gd name="T4" fmla="*/ 3 w 3"/>
                <a:gd name="T5" fmla="*/ 0 h 5"/>
              </a:gdLst>
              <a:cxnLst>
                <a:cxn ang="0">
                  <a:pos x="T0" y="T1"/>
                </a:cxn>
                <a:cxn ang="0">
                  <a:pos x="T2" y="T3"/>
                </a:cxn>
                <a:cxn ang="0">
                  <a:pos x="T4" y="T5"/>
                </a:cxn>
              </a:cxnLst>
              <a:rect l="0" t="0" r="r" b="b"/>
              <a:pathLst>
                <a:path w="3" h="5">
                  <a:moveTo>
                    <a:pt x="3" y="0"/>
                  </a:moveTo>
                  <a:cubicBezTo>
                    <a:pt x="0" y="0"/>
                    <a:pt x="1" y="4"/>
                    <a:pt x="2" y="5"/>
                  </a:cubicBezTo>
                  <a:cubicBezTo>
                    <a:pt x="3"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08"/>
            <p:cNvSpPr/>
            <p:nvPr/>
          </p:nvSpPr>
          <p:spPr bwMode="auto">
            <a:xfrm>
              <a:off x="8466051" y="1045082"/>
              <a:ext cx="9886" cy="9886"/>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0" y="2"/>
                    <a:pt x="1"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09"/>
            <p:cNvSpPr/>
            <p:nvPr/>
          </p:nvSpPr>
          <p:spPr bwMode="auto">
            <a:xfrm>
              <a:off x="8475937" y="1054968"/>
              <a:ext cx="12710" cy="12710"/>
            </a:xfrm>
            <a:custGeom>
              <a:gdLst>
                <a:gd name="T0" fmla="*/ 0 w 4"/>
                <a:gd name="T1" fmla="*/ 0 h 4"/>
                <a:gd name="T2" fmla="*/ 0 w 4"/>
                <a:gd name="T3" fmla="*/ 0 h 4"/>
                <a:gd name="T4" fmla="*/ 4 w 4"/>
                <a:gd name="T5" fmla="*/ 4 h 4"/>
                <a:gd name="T6" fmla="*/ 0 w 4"/>
                <a:gd name="T7" fmla="*/ 0 h 4"/>
              </a:gdLst>
              <a:cxnLst>
                <a:cxn ang="0">
                  <a:pos x="T0" y="T1"/>
                </a:cxn>
                <a:cxn ang="0">
                  <a:pos x="T2" y="T3"/>
                </a:cxn>
                <a:cxn ang="0">
                  <a:pos x="T4" y="T5"/>
                </a:cxn>
                <a:cxn ang="0">
                  <a:pos x="T6" y="T7"/>
                </a:cxn>
              </a:cxnLst>
              <a:rect l="0" t="0" r="r" b="b"/>
              <a:pathLst>
                <a:path w="4" h="4">
                  <a:moveTo>
                    <a:pt x="0" y="0"/>
                  </a:moveTo>
                  <a:cubicBezTo>
                    <a:pt x="0" y="0"/>
                    <a:pt x="0" y="0"/>
                    <a:pt x="0" y="0"/>
                  </a:cubicBezTo>
                  <a:cubicBezTo>
                    <a:pt x="1" y="1"/>
                    <a:pt x="3" y="2"/>
                    <a:pt x="4" y="4"/>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10"/>
            <p:cNvSpPr/>
            <p:nvPr/>
          </p:nvSpPr>
          <p:spPr bwMode="auto">
            <a:xfrm>
              <a:off x="8456165" y="1038021"/>
              <a:ext cx="9886" cy="7061"/>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1"/>
                    <a:pt x="2" y="2"/>
                    <a:pt x="3" y="2"/>
                  </a:cubicBezTo>
                  <a:cubicBezTo>
                    <a:pt x="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11"/>
            <p:cNvSpPr/>
            <p:nvPr/>
          </p:nvSpPr>
          <p:spPr bwMode="auto">
            <a:xfrm>
              <a:off x="8515480" y="1045082"/>
              <a:ext cx="19772" cy="22596"/>
            </a:xfrm>
            <a:custGeom>
              <a:gdLst>
                <a:gd name="T0" fmla="*/ 0 w 6"/>
                <a:gd name="T1" fmla="*/ 0 h 7"/>
                <a:gd name="T2" fmla="*/ 3 w 6"/>
                <a:gd name="T3" fmla="*/ 7 h 7"/>
                <a:gd name="T4" fmla="*/ 0 w 6"/>
                <a:gd name="T5" fmla="*/ 0 h 7"/>
              </a:gdLst>
              <a:cxnLst>
                <a:cxn ang="0">
                  <a:pos x="T0" y="T1"/>
                </a:cxn>
                <a:cxn ang="0">
                  <a:pos x="T2" y="T3"/>
                </a:cxn>
                <a:cxn ang="0">
                  <a:pos x="T4" y="T5"/>
                </a:cxn>
              </a:cxnLst>
              <a:rect l="0" t="0" r="r" b="b"/>
              <a:pathLst>
                <a:path w="6" h="7">
                  <a:moveTo>
                    <a:pt x="0" y="0"/>
                  </a:moveTo>
                  <a:cubicBezTo>
                    <a:pt x="1" y="3"/>
                    <a:pt x="2" y="5"/>
                    <a:pt x="3" y="7"/>
                  </a:cubicBezTo>
                  <a:cubicBezTo>
                    <a:pt x="6" y="2"/>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112"/>
            <p:cNvSpPr/>
            <p:nvPr/>
          </p:nvSpPr>
          <p:spPr bwMode="auto">
            <a:xfrm>
              <a:off x="5552538" y="296577"/>
              <a:ext cx="9886" cy="14123"/>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1" y="2"/>
                    <a:pt x="2" y="3"/>
                    <a:pt x="3"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13"/>
            <p:cNvSpPr/>
            <p:nvPr/>
          </p:nvSpPr>
          <p:spPr bwMode="auto">
            <a:xfrm>
              <a:off x="6710599" y="536664"/>
              <a:ext cx="7061" cy="4237"/>
            </a:xfrm>
            <a:custGeom>
              <a:gdLst>
                <a:gd name="T0" fmla="*/ 2 w 2"/>
                <a:gd name="T1" fmla="*/ 0 h 1"/>
                <a:gd name="T2" fmla="*/ 2 w 2"/>
                <a:gd name="T3" fmla="*/ 0 h 1"/>
                <a:gd name="T4" fmla="*/ 1 w 2"/>
                <a:gd name="T5" fmla="*/ 0 h 1"/>
                <a:gd name="T6" fmla="*/ 0 w 2"/>
                <a:gd name="T7" fmla="*/ 1 h 1"/>
                <a:gd name="T8" fmla="*/ 1 w 2"/>
                <a:gd name="T9" fmla="*/ 1 h 1"/>
                <a:gd name="T10" fmla="*/ 1 w 2"/>
                <a:gd name="T11" fmla="*/ 1 h 1"/>
                <a:gd name="T12" fmla="*/ 2 w 2"/>
                <a:gd name="T13" fmla="*/ 0 h 1"/>
                <a:gd name="T14" fmla="*/ 2 w 2"/>
                <a:gd name="T15" fmla="*/ 0 h 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2" y="0"/>
                  </a:moveTo>
                  <a:cubicBezTo>
                    <a:pt x="2" y="0"/>
                    <a:pt x="2" y="0"/>
                    <a:pt x="2" y="0"/>
                  </a:cubicBezTo>
                  <a:cubicBezTo>
                    <a:pt x="1" y="0"/>
                    <a:pt x="1" y="0"/>
                    <a:pt x="1" y="0"/>
                  </a:cubicBezTo>
                  <a:cubicBezTo>
                    <a:pt x="0" y="1"/>
                    <a:pt x="0" y="1"/>
                    <a:pt x="0" y="1"/>
                  </a:cubicBezTo>
                  <a:cubicBezTo>
                    <a:pt x="0" y="1"/>
                    <a:pt x="1" y="1"/>
                    <a:pt x="1" y="1"/>
                  </a:cubicBezTo>
                  <a:cubicBezTo>
                    <a:pt x="1" y="1"/>
                    <a:pt x="1" y="1"/>
                    <a:pt x="1" y="1"/>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114"/>
            <p:cNvSpPr/>
            <p:nvPr/>
          </p:nvSpPr>
          <p:spPr bwMode="auto">
            <a:xfrm>
              <a:off x="7104623" y="720259"/>
              <a:ext cx="29658" cy="9886"/>
            </a:xfrm>
            <a:custGeom>
              <a:gdLst>
                <a:gd name="T0" fmla="*/ 9 w 9"/>
                <a:gd name="T1" fmla="*/ 0 h 3"/>
                <a:gd name="T2" fmla="*/ 0 w 9"/>
                <a:gd name="T3" fmla="*/ 3 h 3"/>
                <a:gd name="T4" fmla="*/ 9 w 9"/>
                <a:gd name="T5" fmla="*/ 0 h 3"/>
                <a:gd name="T6" fmla="*/ 9 w 9"/>
                <a:gd name="T7" fmla="*/ 0 h 3"/>
              </a:gdLst>
              <a:cxnLst>
                <a:cxn ang="0">
                  <a:pos x="T0" y="T1"/>
                </a:cxn>
                <a:cxn ang="0">
                  <a:pos x="T2" y="T3"/>
                </a:cxn>
                <a:cxn ang="0">
                  <a:pos x="T4" y="T5"/>
                </a:cxn>
                <a:cxn ang="0">
                  <a:pos x="T6" y="T7"/>
                </a:cxn>
              </a:cxnLst>
              <a:rect l="0" t="0" r="r" b="b"/>
              <a:pathLst>
                <a:path w="9" h="3">
                  <a:moveTo>
                    <a:pt x="9" y="0"/>
                  </a:moveTo>
                  <a:cubicBezTo>
                    <a:pt x="6" y="0"/>
                    <a:pt x="2" y="2"/>
                    <a:pt x="0" y="3"/>
                  </a:cubicBezTo>
                  <a:cubicBezTo>
                    <a:pt x="3" y="2"/>
                    <a:pt x="6" y="1"/>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15"/>
            <p:cNvSpPr/>
            <p:nvPr/>
          </p:nvSpPr>
          <p:spPr bwMode="auto">
            <a:xfrm>
              <a:off x="7738732" y="9886"/>
              <a:ext cx="59315" cy="76263"/>
            </a:xfrm>
            <a:custGeom>
              <a:gdLst>
                <a:gd name="T0" fmla="*/ 5 w 18"/>
                <a:gd name="T1" fmla="*/ 0 h 23"/>
                <a:gd name="T2" fmla="*/ 5 w 18"/>
                <a:gd name="T3" fmla="*/ 9 h 23"/>
                <a:gd name="T4" fmla="*/ 4 w 18"/>
                <a:gd name="T5" fmla="*/ 12 h 23"/>
                <a:gd name="T6" fmla="*/ 5 w 18"/>
                <a:gd name="T7" fmla="*/ 16 h 23"/>
                <a:gd name="T8" fmla="*/ 2 w 18"/>
                <a:gd name="T9" fmla="*/ 13 h 23"/>
                <a:gd name="T10" fmla="*/ 0 w 18"/>
                <a:gd name="T11" fmla="*/ 14 h 23"/>
                <a:gd name="T12" fmla="*/ 5 w 18"/>
                <a:gd name="T13" fmla="*/ 18 h 23"/>
                <a:gd name="T14" fmla="*/ 8 w 18"/>
                <a:gd name="T15" fmla="*/ 20 h 23"/>
                <a:gd name="T16" fmla="*/ 10 w 18"/>
                <a:gd name="T17" fmla="*/ 23 h 23"/>
                <a:gd name="T18" fmla="*/ 10 w 18"/>
                <a:gd name="T19" fmla="*/ 23 h 23"/>
                <a:gd name="T20" fmla="*/ 14 w 18"/>
                <a:gd name="T21" fmla="*/ 19 h 23"/>
                <a:gd name="T22" fmla="*/ 17 w 18"/>
                <a:gd name="T23" fmla="*/ 18 h 23"/>
                <a:gd name="T24" fmla="*/ 15 w 18"/>
                <a:gd name="T25" fmla="*/ 10 h 23"/>
                <a:gd name="T26" fmla="*/ 5 w 18"/>
                <a:gd name="T27"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3">
                  <a:moveTo>
                    <a:pt x="5" y="0"/>
                  </a:moveTo>
                  <a:cubicBezTo>
                    <a:pt x="6" y="4"/>
                    <a:pt x="7" y="6"/>
                    <a:pt x="5" y="9"/>
                  </a:cubicBezTo>
                  <a:cubicBezTo>
                    <a:pt x="4" y="10"/>
                    <a:pt x="3" y="11"/>
                    <a:pt x="4" y="12"/>
                  </a:cubicBezTo>
                  <a:cubicBezTo>
                    <a:pt x="4" y="14"/>
                    <a:pt x="7" y="14"/>
                    <a:pt x="5" y="16"/>
                  </a:cubicBezTo>
                  <a:cubicBezTo>
                    <a:pt x="4" y="15"/>
                    <a:pt x="3" y="14"/>
                    <a:pt x="2" y="13"/>
                  </a:cubicBezTo>
                  <a:cubicBezTo>
                    <a:pt x="2" y="13"/>
                    <a:pt x="0" y="14"/>
                    <a:pt x="0" y="14"/>
                  </a:cubicBezTo>
                  <a:cubicBezTo>
                    <a:pt x="0" y="16"/>
                    <a:pt x="4" y="17"/>
                    <a:pt x="5" y="18"/>
                  </a:cubicBezTo>
                  <a:cubicBezTo>
                    <a:pt x="6" y="19"/>
                    <a:pt x="7" y="19"/>
                    <a:pt x="8" y="20"/>
                  </a:cubicBezTo>
                  <a:cubicBezTo>
                    <a:pt x="9" y="21"/>
                    <a:pt x="9" y="23"/>
                    <a:pt x="10" y="23"/>
                  </a:cubicBezTo>
                  <a:cubicBezTo>
                    <a:pt x="10" y="23"/>
                    <a:pt x="10" y="23"/>
                    <a:pt x="10" y="23"/>
                  </a:cubicBezTo>
                  <a:cubicBezTo>
                    <a:pt x="12" y="22"/>
                    <a:pt x="13" y="20"/>
                    <a:pt x="14" y="19"/>
                  </a:cubicBezTo>
                  <a:cubicBezTo>
                    <a:pt x="14" y="19"/>
                    <a:pt x="16" y="19"/>
                    <a:pt x="17" y="18"/>
                  </a:cubicBezTo>
                  <a:cubicBezTo>
                    <a:pt x="18" y="16"/>
                    <a:pt x="16" y="11"/>
                    <a:pt x="15" y="10"/>
                  </a:cubicBezTo>
                  <a:cubicBezTo>
                    <a:pt x="12" y="4"/>
                    <a:pt x="12"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116"/>
            <p:cNvSpPr/>
            <p:nvPr/>
          </p:nvSpPr>
          <p:spPr bwMode="auto">
            <a:xfrm>
              <a:off x="7814994" y="22596"/>
              <a:ext cx="12710" cy="4237"/>
            </a:xfrm>
            <a:custGeom>
              <a:gdLst>
                <a:gd name="T0" fmla="*/ 4 w 4"/>
                <a:gd name="T1" fmla="*/ 0 h 1"/>
                <a:gd name="T2" fmla="*/ 0 w 4"/>
                <a:gd name="T3" fmla="*/ 1 h 1"/>
                <a:gd name="T4" fmla="*/ 0 w 4"/>
                <a:gd name="T5" fmla="*/ 1 h 1"/>
                <a:gd name="T6" fmla="*/ 4 w 4"/>
                <a:gd name="T7" fmla="*/ 0 h 1"/>
              </a:gdLst>
              <a:cxnLst>
                <a:cxn ang="0">
                  <a:pos x="T0" y="T1"/>
                </a:cxn>
                <a:cxn ang="0">
                  <a:pos x="T2" y="T3"/>
                </a:cxn>
                <a:cxn ang="0">
                  <a:pos x="T4" y="T5"/>
                </a:cxn>
                <a:cxn ang="0">
                  <a:pos x="T6" y="T7"/>
                </a:cxn>
              </a:cxnLst>
              <a:rect l="0" t="0" r="r" b="b"/>
              <a:pathLst>
                <a:path w="4" h="1">
                  <a:moveTo>
                    <a:pt x="4" y="0"/>
                  </a:moveTo>
                  <a:cubicBezTo>
                    <a:pt x="2" y="0"/>
                    <a:pt x="1" y="1"/>
                    <a:pt x="0" y="1"/>
                  </a:cubicBezTo>
                  <a:cubicBezTo>
                    <a:pt x="0" y="1"/>
                    <a:pt x="0" y="1"/>
                    <a:pt x="0" y="1"/>
                  </a:cubicBezTo>
                  <a:cubicBezTo>
                    <a:pt x="1"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17"/>
            <p:cNvSpPr/>
            <p:nvPr/>
          </p:nvSpPr>
          <p:spPr bwMode="auto">
            <a:xfrm>
              <a:off x="7901143" y="5649"/>
              <a:ext cx="16947" cy="50842"/>
            </a:xfrm>
            <a:custGeom>
              <a:gdLst>
                <a:gd name="T0" fmla="*/ 1 w 5"/>
                <a:gd name="T1" fmla="*/ 0 h 15"/>
                <a:gd name="T2" fmla="*/ 4 w 5"/>
                <a:gd name="T3" fmla="*/ 3 h 15"/>
                <a:gd name="T4" fmla="*/ 3 w 5"/>
                <a:gd name="T5" fmla="*/ 9 h 15"/>
                <a:gd name="T6" fmla="*/ 4 w 5"/>
                <a:gd name="T7" fmla="*/ 9 h 15"/>
                <a:gd name="T8" fmla="*/ 1 w 5"/>
                <a:gd name="T9" fmla="*/ 11 h 15"/>
                <a:gd name="T10" fmla="*/ 0 w 5"/>
                <a:gd name="T11" fmla="*/ 11 h 15"/>
                <a:gd name="T12" fmla="*/ 4 w 5"/>
                <a:gd name="T13" fmla="*/ 15 h 15"/>
                <a:gd name="T14" fmla="*/ 4 w 5"/>
                <a:gd name="T15" fmla="*/ 7 h 15"/>
                <a:gd name="T16" fmla="*/ 1 w 5"/>
                <a:gd name="T17"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5">
                  <a:moveTo>
                    <a:pt x="1" y="0"/>
                  </a:moveTo>
                  <a:cubicBezTo>
                    <a:pt x="1" y="2"/>
                    <a:pt x="3" y="2"/>
                    <a:pt x="4" y="3"/>
                  </a:cubicBezTo>
                  <a:cubicBezTo>
                    <a:pt x="5" y="6"/>
                    <a:pt x="2" y="7"/>
                    <a:pt x="3" y="9"/>
                  </a:cubicBezTo>
                  <a:cubicBezTo>
                    <a:pt x="4" y="9"/>
                    <a:pt x="4" y="9"/>
                    <a:pt x="4" y="9"/>
                  </a:cubicBezTo>
                  <a:cubicBezTo>
                    <a:pt x="3" y="10"/>
                    <a:pt x="2" y="11"/>
                    <a:pt x="1" y="11"/>
                  </a:cubicBezTo>
                  <a:cubicBezTo>
                    <a:pt x="1" y="11"/>
                    <a:pt x="1" y="11"/>
                    <a:pt x="0" y="11"/>
                  </a:cubicBezTo>
                  <a:cubicBezTo>
                    <a:pt x="2" y="12"/>
                    <a:pt x="2" y="14"/>
                    <a:pt x="4" y="15"/>
                  </a:cubicBezTo>
                  <a:cubicBezTo>
                    <a:pt x="5" y="12"/>
                    <a:pt x="4" y="9"/>
                    <a:pt x="4" y="7"/>
                  </a:cubicBezTo>
                  <a:cubicBezTo>
                    <a:pt x="5" y="3"/>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118"/>
            <p:cNvSpPr/>
            <p:nvPr/>
          </p:nvSpPr>
          <p:spPr bwMode="auto">
            <a:xfrm>
              <a:off x="7944923" y="53666"/>
              <a:ext cx="36719" cy="46605"/>
            </a:xfrm>
            <a:custGeom>
              <a:gdLst>
                <a:gd name="T0" fmla="*/ 1 w 11"/>
                <a:gd name="T1" fmla="*/ 0 h 14"/>
                <a:gd name="T2" fmla="*/ 5 w 11"/>
                <a:gd name="T3" fmla="*/ 5 h 14"/>
                <a:gd name="T4" fmla="*/ 7 w 11"/>
                <a:gd name="T5" fmla="*/ 14 h 14"/>
                <a:gd name="T6" fmla="*/ 8 w 11"/>
                <a:gd name="T7" fmla="*/ 9 h 14"/>
                <a:gd name="T8" fmla="*/ 1 w 11"/>
                <a:gd name="T9" fmla="*/ 0 h 14"/>
              </a:gdLst>
              <a:cxnLst>
                <a:cxn ang="0">
                  <a:pos x="T0" y="T1"/>
                </a:cxn>
                <a:cxn ang="0">
                  <a:pos x="T2" y="T3"/>
                </a:cxn>
                <a:cxn ang="0">
                  <a:pos x="T4" y="T5"/>
                </a:cxn>
                <a:cxn ang="0">
                  <a:pos x="T6" y="T7"/>
                </a:cxn>
                <a:cxn ang="0">
                  <a:pos x="T8" y="T9"/>
                </a:cxn>
              </a:cxnLst>
              <a:rect l="0" t="0" r="r" b="b"/>
              <a:pathLst>
                <a:path w="11" h="14">
                  <a:moveTo>
                    <a:pt x="1" y="0"/>
                  </a:moveTo>
                  <a:cubicBezTo>
                    <a:pt x="0" y="1"/>
                    <a:pt x="4" y="4"/>
                    <a:pt x="5" y="5"/>
                  </a:cubicBezTo>
                  <a:cubicBezTo>
                    <a:pt x="7" y="8"/>
                    <a:pt x="9" y="10"/>
                    <a:pt x="7" y="14"/>
                  </a:cubicBezTo>
                  <a:cubicBezTo>
                    <a:pt x="10" y="12"/>
                    <a:pt x="11" y="12"/>
                    <a:pt x="8" y="9"/>
                  </a:cubicBezTo>
                  <a:cubicBezTo>
                    <a:pt x="6" y="6"/>
                    <a:pt x="3"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19"/>
            <p:cNvSpPr/>
            <p:nvPr/>
          </p:nvSpPr>
          <p:spPr bwMode="auto">
            <a:xfrm>
              <a:off x="8388376" y="1021074"/>
              <a:ext cx="14123" cy="16947"/>
            </a:xfrm>
            <a:custGeom>
              <a:gdLst>
                <a:gd name="T0" fmla="*/ 0 w 4"/>
                <a:gd name="T1" fmla="*/ 0 h 5"/>
                <a:gd name="T2" fmla="*/ 1 w 4"/>
                <a:gd name="T3" fmla="*/ 3 h 5"/>
                <a:gd name="T4" fmla="*/ 4 w 4"/>
                <a:gd name="T5" fmla="*/ 5 h 5"/>
                <a:gd name="T6" fmla="*/ 0 w 4"/>
                <a:gd name="T7" fmla="*/ 0 h 5"/>
              </a:gdLst>
              <a:cxnLst>
                <a:cxn ang="0">
                  <a:pos x="T0" y="T1"/>
                </a:cxn>
                <a:cxn ang="0">
                  <a:pos x="T2" y="T3"/>
                </a:cxn>
                <a:cxn ang="0">
                  <a:pos x="T4" y="T5"/>
                </a:cxn>
                <a:cxn ang="0">
                  <a:pos x="T6" y="T7"/>
                </a:cxn>
              </a:cxnLst>
              <a:rect l="0" t="0" r="r" b="b"/>
              <a:pathLst>
                <a:path w="4" h="5">
                  <a:moveTo>
                    <a:pt x="0" y="0"/>
                  </a:moveTo>
                  <a:cubicBezTo>
                    <a:pt x="0" y="1"/>
                    <a:pt x="0" y="2"/>
                    <a:pt x="1" y="3"/>
                  </a:cubicBezTo>
                  <a:cubicBezTo>
                    <a:pt x="2" y="4"/>
                    <a:pt x="2" y="5"/>
                    <a:pt x="4" y="5"/>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20"/>
            <p:cNvSpPr/>
            <p:nvPr/>
          </p:nvSpPr>
          <p:spPr bwMode="auto">
            <a:xfrm>
              <a:off x="8855837" y="1165126"/>
              <a:ext cx="7061" cy="2825"/>
            </a:xfrm>
            <a:custGeom>
              <a:gdLst>
                <a:gd name="T0" fmla="*/ 0 w 2"/>
                <a:gd name="T1" fmla="*/ 0 h 1"/>
                <a:gd name="T2" fmla="*/ 2 w 2"/>
                <a:gd name="T3" fmla="*/ 1 h 1"/>
                <a:gd name="T4" fmla="*/ 0 w 2"/>
                <a:gd name="T5" fmla="*/ 0 h 1"/>
              </a:gdLst>
              <a:cxnLst>
                <a:cxn ang="0">
                  <a:pos x="T0" y="T1"/>
                </a:cxn>
                <a:cxn ang="0">
                  <a:pos x="T2" y="T3"/>
                </a:cxn>
                <a:cxn ang="0">
                  <a:pos x="T4" y="T5"/>
                </a:cxn>
              </a:cxnLst>
              <a:rect l="0" t="0" r="r" b="b"/>
              <a:pathLst>
                <a:path w="2" h="1">
                  <a:moveTo>
                    <a:pt x="0" y="0"/>
                  </a:moveTo>
                  <a:cubicBezTo>
                    <a:pt x="1" y="0"/>
                    <a:pt x="1"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21"/>
            <p:cNvSpPr/>
            <p:nvPr/>
          </p:nvSpPr>
          <p:spPr bwMode="auto">
            <a:xfrm>
              <a:off x="8745680" y="1151003"/>
              <a:ext cx="14123" cy="7061"/>
            </a:xfrm>
            <a:custGeom>
              <a:gdLst>
                <a:gd name="T0" fmla="*/ 2 w 4"/>
                <a:gd name="T1" fmla="*/ 0 h 2"/>
                <a:gd name="T2" fmla="*/ 0 w 4"/>
                <a:gd name="T3" fmla="*/ 1 h 2"/>
                <a:gd name="T4" fmla="*/ 3 w 4"/>
                <a:gd name="T5" fmla="*/ 2 h 2"/>
                <a:gd name="T6" fmla="*/ 4 w 4"/>
                <a:gd name="T7" fmla="*/ 0 h 2"/>
                <a:gd name="T8" fmla="*/ 2 w 4"/>
                <a:gd name="T9" fmla="*/ 0 h 2"/>
              </a:gdLst>
              <a:cxnLst>
                <a:cxn ang="0">
                  <a:pos x="T0" y="T1"/>
                </a:cxn>
                <a:cxn ang="0">
                  <a:pos x="T2" y="T3"/>
                </a:cxn>
                <a:cxn ang="0">
                  <a:pos x="T4" y="T5"/>
                </a:cxn>
                <a:cxn ang="0">
                  <a:pos x="T6" y="T7"/>
                </a:cxn>
                <a:cxn ang="0">
                  <a:pos x="T8" y="T9"/>
                </a:cxn>
              </a:cxnLst>
              <a:rect l="0" t="0" r="r" b="b"/>
              <a:pathLst>
                <a:path w="4" h="2">
                  <a:moveTo>
                    <a:pt x="2" y="0"/>
                  </a:moveTo>
                  <a:cubicBezTo>
                    <a:pt x="2" y="0"/>
                    <a:pt x="1" y="0"/>
                    <a:pt x="0" y="1"/>
                  </a:cubicBezTo>
                  <a:cubicBezTo>
                    <a:pt x="1" y="1"/>
                    <a:pt x="2" y="2"/>
                    <a:pt x="3" y="2"/>
                  </a:cubicBezTo>
                  <a:cubicBezTo>
                    <a:pt x="4" y="1"/>
                    <a:pt x="4" y="1"/>
                    <a:pt x="4"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22"/>
            <p:cNvSpPr/>
            <p:nvPr/>
          </p:nvSpPr>
          <p:spPr bwMode="auto">
            <a:xfrm>
              <a:off x="8826180" y="1135468"/>
              <a:ext cx="46605" cy="22596"/>
            </a:xfrm>
            <a:custGeom>
              <a:gdLst>
                <a:gd name="T0" fmla="*/ 12 w 14"/>
                <a:gd name="T1" fmla="*/ 0 h 7"/>
                <a:gd name="T2" fmla="*/ 6 w 14"/>
                <a:gd name="T3" fmla="*/ 4 h 7"/>
                <a:gd name="T4" fmla="*/ 6 w 14"/>
                <a:gd name="T5" fmla="*/ 4 h 7"/>
                <a:gd name="T6" fmla="*/ 4 w 14"/>
                <a:gd name="T7" fmla="*/ 3 h 7"/>
                <a:gd name="T8" fmla="*/ 3 w 14"/>
                <a:gd name="T9" fmla="*/ 2 h 7"/>
                <a:gd name="T10" fmla="*/ 0 w 14"/>
                <a:gd name="T11" fmla="*/ 3 h 7"/>
                <a:gd name="T12" fmla="*/ 8 w 14"/>
                <a:gd name="T13" fmla="*/ 7 h 7"/>
                <a:gd name="T14" fmla="*/ 13 w 14"/>
                <a:gd name="T15" fmla="*/ 5 h 7"/>
                <a:gd name="T16" fmla="*/ 12 w 14"/>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12" y="0"/>
                  </a:moveTo>
                  <a:cubicBezTo>
                    <a:pt x="10" y="1"/>
                    <a:pt x="8" y="4"/>
                    <a:pt x="6" y="4"/>
                  </a:cubicBezTo>
                  <a:cubicBezTo>
                    <a:pt x="6" y="4"/>
                    <a:pt x="6" y="4"/>
                    <a:pt x="6" y="4"/>
                  </a:cubicBezTo>
                  <a:cubicBezTo>
                    <a:pt x="5" y="4"/>
                    <a:pt x="5" y="3"/>
                    <a:pt x="4" y="3"/>
                  </a:cubicBezTo>
                  <a:cubicBezTo>
                    <a:pt x="4" y="2"/>
                    <a:pt x="3" y="2"/>
                    <a:pt x="3" y="2"/>
                  </a:cubicBezTo>
                  <a:cubicBezTo>
                    <a:pt x="2" y="2"/>
                    <a:pt x="1" y="2"/>
                    <a:pt x="0" y="3"/>
                  </a:cubicBezTo>
                  <a:cubicBezTo>
                    <a:pt x="3" y="4"/>
                    <a:pt x="5" y="6"/>
                    <a:pt x="8" y="7"/>
                  </a:cubicBezTo>
                  <a:cubicBezTo>
                    <a:pt x="10" y="6"/>
                    <a:pt x="12" y="7"/>
                    <a:pt x="13" y="5"/>
                  </a:cubicBezTo>
                  <a:cubicBezTo>
                    <a:pt x="14" y="4"/>
                    <a:pt x="13"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23"/>
            <p:cNvSpPr/>
            <p:nvPr/>
          </p:nvSpPr>
          <p:spPr bwMode="auto">
            <a:xfrm>
              <a:off x="10865497" y="6654633"/>
              <a:ext cx="173709" cy="96035"/>
            </a:xfrm>
            <a:custGeom>
              <a:gdLst>
                <a:gd name="T0" fmla="*/ 7 w 52"/>
                <a:gd name="T1" fmla="*/ 0 h 29"/>
                <a:gd name="T2" fmla="*/ 5 w 52"/>
                <a:gd name="T3" fmla="*/ 1 h 29"/>
                <a:gd name="T4" fmla="*/ 4 w 52"/>
                <a:gd name="T5" fmla="*/ 0 h 29"/>
                <a:gd name="T6" fmla="*/ 0 w 52"/>
                <a:gd name="T7" fmla="*/ 1 h 29"/>
                <a:gd name="T8" fmla="*/ 8 w 52"/>
                <a:gd name="T9" fmla="*/ 6 h 29"/>
                <a:gd name="T10" fmla="*/ 14 w 52"/>
                <a:gd name="T11" fmla="*/ 5 h 29"/>
                <a:gd name="T12" fmla="*/ 15 w 52"/>
                <a:gd name="T13" fmla="*/ 6 h 29"/>
                <a:gd name="T14" fmla="*/ 14 w 52"/>
                <a:gd name="T15" fmla="*/ 9 h 29"/>
                <a:gd name="T16" fmla="*/ 45 w 52"/>
                <a:gd name="T17" fmla="*/ 29 h 29"/>
                <a:gd name="T18" fmla="*/ 45 w 52"/>
                <a:gd name="T19" fmla="*/ 25 h 29"/>
                <a:gd name="T20" fmla="*/ 52 w 52"/>
                <a:gd name="T21" fmla="*/ 25 h 29"/>
                <a:gd name="T22" fmla="*/ 49 w 52"/>
                <a:gd name="T23" fmla="*/ 18 h 29"/>
                <a:gd name="T24" fmla="*/ 48 w 52"/>
                <a:gd name="T25" fmla="*/ 18 h 29"/>
                <a:gd name="T26" fmla="*/ 43 w 52"/>
                <a:gd name="T27" fmla="*/ 14 h 29"/>
                <a:gd name="T28" fmla="*/ 42 w 52"/>
                <a:gd name="T29" fmla="*/ 12 h 29"/>
                <a:gd name="T30" fmla="*/ 40 w 52"/>
                <a:gd name="T31" fmla="*/ 9 h 29"/>
                <a:gd name="T32" fmla="*/ 36 w 52"/>
                <a:gd name="T33" fmla="*/ 11 h 29"/>
                <a:gd name="T34" fmla="*/ 35 w 52"/>
                <a:gd name="T35" fmla="*/ 8 h 29"/>
                <a:gd name="T36" fmla="*/ 33 w 52"/>
                <a:gd name="T37" fmla="*/ 9 h 29"/>
                <a:gd name="T38" fmla="*/ 36 w 52"/>
                <a:gd name="T39" fmla="*/ 7 h 29"/>
                <a:gd name="T40" fmla="*/ 34 w 52"/>
                <a:gd name="T41" fmla="*/ 6 h 29"/>
                <a:gd name="T42" fmla="*/ 32 w 52"/>
                <a:gd name="T43" fmla="*/ 6 h 29"/>
                <a:gd name="T44" fmla="*/ 30 w 52"/>
                <a:gd name="T45" fmla="*/ 4 h 29"/>
                <a:gd name="T46" fmla="*/ 27 w 52"/>
                <a:gd name="T47" fmla="*/ 3 h 29"/>
                <a:gd name="T48" fmla="*/ 24 w 52"/>
                <a:gd name="T49" fmla="*/ 2 h 29"/>
                <a:gd name="T50" fmla="*/ 21 w 52"/>
                <a:gd name="T51" fmla="*/ 4 h 29"/>
                <a:gd name="T52" fmla="*/ 20 w 52"/>
                <a:gd name="T53" fmla="*/ 2 h 29"/>
                <a:gd name="T54" fmla="*/ 19 w 52"/>
                <a:gd name="T55" fmla="*/ 2 h 29"/>
                <a:gd name="T56" fmla="*/ 19 w 52"/>
                <a:gd name="T57" fmla="*/ 2 h 29"/>
                <a:gd name="T58" fmla="*/ 16 w 52"/>
                <a:gd name="T59" fmla="*/ 2 h 29"/>
                <a:gd name="T60" fmla="*/ 11 w 52"/>
                <a:gd name="T61" fmla="*/ 1 h 29"/>
                <a:gd name="T62" fmla="*/ 7 w 52"/>
                <a:gd name="T63"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8">
                  <a:moveTo>
                    <a:pt x="7" y="0"/>
                  </a:moveTo>
                  <a:cubicBezTo>
                    <a:pt x="7" y="0"/>
                    <a:pt x="7" y="0"/>
                    <a:pt x="7" y="0"/>
                  </a:cubicBezTo>
                  <a:cubicBezTo>
                    <a:pt x="6" y="0"/>
                    <a:pt x="6" y="1"/>
                    <a:pt x="5" y="1"/>
                  </a:cubicBezTo>
                  <a:cubicBezTo>
                    <a:pt x="5" y="1"/>
                    <a:pt x="5" y="1"/>
                    <a:pt x="5" y="1"/>
                  </a:cubicBezTo>
                  <a:cubicBezTo>
                    <a:pt x="5" y="1"/>
                    <a:pt x="5" y="1"/>
                    <a:pt x="4" y="1"/>
                  </a:cubicBezTo>
                  <a:cubicBezTo>
                    <a:pt x="4" y="0"/>
                    <a:pt x="4" y="0"/>
                    <a:pt x="4" y="0"/>
                  </a:cubicBezTo>
                  <a:cubicBezTo>
                    <a:pt x="4" y="0"/>
                    <a:pt x="4" y="0"/>
                    <a:pt x="4" y="0"/>
                  </a:cubicBezTo>
                  <a:cubicBezTo>
                    <a:pt x="2" y="0"/>
                    <a:pt x="1" y="1"/>
                    <a:pt x="0" y="1"/>
                  </a:cubicBezTo>
                  <a:cubicBezTo>
                    <a:pt x="1" y="1"/>
                    <a:pt x="9" y="1"/>
                    <a:pt x="9" y="2"/>
                  </a:cubicBezTo>
                  <a:cubicBezTo>
                    <a:pt x="10" y="4"/>
                    <a:pt x="6" y="5"/>
                    <a:pt x="8" y="6"/>
                  </a:cubicBezTo>
                  <a:cubicBezTo>
                    <a:pt x="8" y="6"/>
                    <a:pt x="9" y="6"/>
                    <a:pt x="9" y="6"/>
                  </a:cubicBezTo>
                  <a:cubicBezTo>
                    <a:pt x="10" y="6"/>
                    <a:pt x="13" y="5"/>
                    <a:pt x="14" y="5"/>
                  </a:cubicBezTo>
                  <a:cubicBezTo>
                    <a:pt x="15" y="5"/>
                    <a:pt x="17" y="5"/>
                    <a:pt x="18" y="5"/>
                  </a:cubicBezTo>
                  <a:cubicBezTo>
                    <a:pt x="17" y="6"/>
                    <a:pt x="16" y="6"/>
                    <a:pt x="15" y="6"/>
                  </a:cubicBezTo>
                  <a:cubicBezTo>
                    <a:pt x="14" y="7"/>
                    <a:pt x="15" y="7"/>
                    <a:pt x="15" y="7"/>
                  </a:cubicBezTo>
                  <a:cubicBezTo>
                    <a:pt x="15" y="7"/>
                    <a:pt x="16" y="8"/>
                    <a:pt x="14" y="9"/>
                  </a:cubicBezTo>
                  <a:cubicBezTo>
                    <a:pt x="19" y="9"/>
                    <a:pt x="23" y="9"/>
                    <a:pt x="27" y="12"/>
                  </a:cubicBezTo>
                  <a:cubicBezTo>
                    <a:pt x="35" y="16"/>
                    <a:pt x="40" y="22"/>
                    <a:pt x="45" y="29"/>
                  </a:cubicBezTo>
                  <a:cubicBezTo>
                    <a:pt x="46" y="29"/>
                    <a:pt x="48" y="28"/>
                    <a:pt x="48" y="28"/>
                  </a:cubicBezTo>
                  <a:cubicBezTo>
                    <a:pt x="47" y="27"/>
                    <a:pt x="46" y="26"/>
                    <a:pt x="45" y="25"/>
                  </a:cubicBezTo>
                  <a:cubicBezTo>
                    <a:pt x="47" y="26"/>
                    <a:pt x="48" y="26"/>
                    <a:pt x="49" y="26"/>
                  </a:cubicBezTo>
                  <a:cubicBezTo>
                    <a:pt x="50" y="26"/>
                    <a:pt x="50" y="26"/>
                    <a:pt x="52" y="25"/>
                  </a:cubicBezTo>
                  <a:cubicBezTo>
                    <a:pt x="49" y="23"/>
                    <a:pt x="48" y="22"/>
                    <a:pt x="50" y="18"/>
                  </a:cubicBezTo>
                  <a:cubicBezTo>
                    <a:pt x="50" y="18"/>
                    <a:pt x="49" y="18"/>
                    <a:pt x="49" y="18"/>
                  </a:cubicBezTo>
                  <a:cubicBezTo>
                    <a:pt x="49" y="18"/>
                    <a:pt x="49" y="18"/>
                    <a:pt x="49" y="18"/>
                  </a:cubicBezTo>
                  <a:cubicBezTo>
                    <a:pt x="48" y="18"/>
                    <a:pt x="48" y="18"/>
                    <a:pt x="48" y="18"/>
                  </a:cubicBezTo>
                  <a:cubicBezTo>
                    <a:pt x="46" y="18"/>
                    <a:pt x="43" y="18"/>
                    <a:pt x="47" y="16"/>
                  </a:cubicBezTo>
                  <a:cubicBezTo>
                    <a:pt x="46" y="15"/>
                    <a:pt x="44" y="15"/>
                    <a:pt x="43" y="14"/>
                  </a:cubicBezTo>
                  <a:cubicBezTo>
                    <a:pt x="43" y="14"/>
                    <a:pt x="44" y="13"/>
                    <a:pt x="43" y="13"/>
                  </a:cubicBezTo>
                  <a:cubicBezTo>
                    <a:pt x="42" y="12"/>
                    <a:pt x="42" y="12"/>
                    <a:pt x="42" y="12"/>
                  </a:cubicBezTo>
                  <a:cubicBezTo>
                    <a:pt x="42" y="12"/>
                    <a:pt x="41" y="13"/>
                    <a:pt x="42" y="11"/>
                  </a:cubicBezTo>
                  <a:cubicBezTo>
                    <a:pt x="41" y="11"/>
                    <a:pt x="41" y="9"/>
                    <a:pt x="40" y="9"/>
                  </a:cubicBezTo>
                  <a:cubicBezTo>
                    <a:pt x="40" y="9"/>
                    <a:pt x="39" y="9"/>
                    <a:pt x="39" y="9"/>
                  </a:cubicBezTo>
                  <a:cubicBezTo>
                    <a:pt x="38" y="9"/>
                    <a:pt x="37" y="10"/>
                    <a:pt x="36" y="11"/>
                  </a:cubicBezTo>
                  <a:cubicBezTo>
                    <a:pt x="35" y="10"/>
                    <a:pt x="36" y="8"/>
                    <a:pt x="36" y="8"/>
                  </a:cubicBezTo>
                  <a:cubicBezTo>
                    <a:pt x="35" y="8"/>
                    <a:pt x="35" y="8"/>
                    <a:pt x="35" y="8"/>
                  </a:cubicBezTo>
                  <a:cubicBezTo>
                    <a:pt x="34" y="8"/>
                    <a:pt x="34" y="9"/>
                    <a:pt x="33" y="9"/>
                  </a:cubicBezTo>
                  <a:cubicBezTo>
                    <a:pt x="33" y="9"/>
                    <a:pt x="33" y="9"/>
                    <a:pt x="33" y="9"/>
                  </a:cubicBezTo>
                  <a:cubicBezTo>
                    <a:pt x="31" y="9"/>
                    <a:pt x="31" y="8"/>
                    <a:pt x="32" y="8"/>
                  </a:cubicBezTo>
                  <a:cubicBezTo>
                    <a:pt x="33" y="7"/>
                    <a:pt x="35" y="7"/>
                    <a:pt x="36" y="7"/>
                  </a:cubicBezTo>
                  <a:cubicBezTo>
                    <a:pt x="36" y="7"/>
                    <a:pt x="36" y="7"/>
                    <a:pt x="36" y="7"/>
                  </a:cubicBezTo>
                  <a:cubicBezTo>
                    <a:pt x="35" y="6"/>
                    <a:pt x="34" y="6"/>
                    <a:pt x="34" y="6"/>
                  </a:cubicBezTo>
                  <a:cubicBezTo>
                    <a:pt x="33" y="6"/>
                    <a:pt x="33" y="6"/>
                    <a:pt x="33" y="6"/>
                  </a:cubicBezTo>
                  <a:cubicBezTo>
                    <a:pt x="32" y="6"/>
                    <a:pt x="32" y="6"/>
                    <a:pt x="32" y="6"/>
                  </a:cubicBezTo>
                  <a:cubicBezTo>
                    <a:pt x="31" y="6"/>
                    <a:pt x="30" y="6"/>
                    <a:pt x="32" y="4"/>
                  </a:cubicBezTo>
                  <a:cubicBezTo>
                    <a:pt x="31" y="4"/>
                    <a:pt x="31" y="4"/>
                    <a:pt x="30" y="4"/>
                  </a:cubicBezTo>
                  <a:cubicBezTo>
                    <a:pt x="30" y="4"/>
                    <a:pt x="29" y="4"/>
                    <a:pt x="28" y="5"/>
                  </a:cubicBezTo>
                  <a:cubicBezTo>
                    <a:pt x="28" y="3"/>
                    <a:pt x="28" y="3"/>
                    <a:pt x="27" y="3"/>
                  </a:cubicBezTo>
                  <a:cubicBezTo>
                    <a:pt x="26" y="3"/>
                    <a:pt x="24" y="4"/>
                    <a:pt x="23" y="4"/>
                  </a:cubicBezTo>
                  <a:cubicBezTo>
                    <a:pt x="24" y="4"/>
                    <a:pt x="24" y="3"/>
                    <a:pt x="24" y="2"/>
                  </a:cubicBezTo>
                  <a:cubicBezTo>
                    <a:pt x="22" y="2"/>
                    <a:pt x="22" y="4"/>
                    <a:pt x="21" y="4"/>
                  </a:cubicBezTo>
                  <a:cubicBezTo>
                    <a:pt x="21" y="4"/>
                    <a:pt x="21" y="4"/>
                    <a:pt x="21" y="4"/>
                  </a:cubicBezTo>
                  <a:cubicBezTo>
                    <a:pt x="21" y="4"/>
                    <a:pt x="21" y="2"/>
                    <a:pt x="21" y="2"/>
                  </a:cubicBezTo>
                  <a:cubicBezTo>
                    <a:pt x="20" y="2"/>
                    <a:pt x="20" y="2"/>
                    <a:pt x="20" y="2"/>
                  </a:cubicBezTo>
                  <a:cubicBezTo>
                    <a:pt x="20" y="2"/>
                    <a:pt x="20" y="2"/>
                    <a:pt x="20" y="2"/>
                  </a:cubicBezTo>
                  <a:cubicBezTo>
                    <a:pt x="19" y="2"/>
                    <a:pt x="19" y="2"/>
                    <a:pt x="19" y="2"/>
                  </a:cubicBezTo>
                  <a:cubicBezTo>
                    <a:pt x="19" y="2"/>
                    <a:pt x="19" y="2"/>
                    <a:pt x="19" y="2"/>
                  </a:cubicBezTo>
                  <a:cubicBezTo>
                    <a:pt x="19" y="2"/>
                    <a:pt x="19" y="2"/>
                    <a:pt x="19" y="2"/>
                  </a:cubicBezTo>
                  <a:cubicBezTo>
                    <a:pt x="18" y="2"/>
                    <a:pt x="18" y="2"/>
                    <a:pt x="17" y="2"/>
                  </a:cubicBezTo>
                  <a:cubicBezTo>
                    <a:pt x="17" y="2"/>
                    <a:pt x="17" y="2"/>
                    <a:pt x="16" y="2"/>
                  </a:cubicBezTo>
                  <a:cubicBezTo>
                    <a:pt x="15" y="2"/>
                    <a:pt x="13" y="2"/>
                    <a:pt x="13" y="0"/>
                  </a:cubicBezTo>
                  <a:cubicBezTo>
                    <a:pt x="13" y="1"/>
                    <a:pt x="12" y="1"/>
                    <a:pt x="11" y="1"/>
                  </a:cubicBezTo>
                  <a:cubicBezTo>
                    <a:pt x="11" y="1"/>
                    <a:pt x="10" y="1"/>
                    <a:pt x="10" y="1"/>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24"/>
            <p:cNvSpPr/>
            <p:nvPr/>
          </p:nvSpPr>
          <p:spPr bwMode="auto">
            <a:xfrm>
              <a:off x="8038133" y="5788909"/>
              <a:ext cx="26833" cy="26833"/>
            </a:xfrm>
            <a:custGeom>
              <a:gdLst>
                <a:gd name="T0" fmla="*/ 5 w 8"/>
                <a:gd name="T1" fmla="*/ 0 h 8"/>
                <a:gd name="T2" fmla="*/ 4 w 8"/>
                <a:gd name="T3" fmla="*/ 8 h 8"/>
                <a:gd name="T4" fmla="*/ 8 w 8"/>
                <a:gd name="T5" fmla="*/ 5 h 8"/>
                <a:gd name="T6" fmla="*/ 7 w 8"/>
                <a:gd name="T7" fmla="*/ 1 h 8"/>
                <a:gd name="T8" fmla="*/ 5 w 8"/>
                <a:gd name="T9" fmla="*/ 0 h 8"/>
              </a:gdLst>
              <a:cxnLst>
                <a:cxn ang="0">
                  <a:pos x="T0" y="T1"/>
                </a:cxn>
                <a:cxn ang="0">
                  <a:pos x="T2" y="T3"/>
                </a:cxn>
                <a:cxn ang="0">
                  <a:pos x="T4" y="T5"/>
                </a:cxn>
                <a:cxn ang="0">
                  <a:pos x="T6" y="T7"/>
                </a:cxn>
                <a:cxn ang="0">
                  <a:pos x="T8" y="T9"/>
                </a:cxn>
              </a:cxnLst>
              <a:rect l="0" t="0" r="r" b="b"/>
              <a:pathLst>
                <a:path w="8" h="8">
                  <a:moveTo>
                    <a:pt x="5" y="0"/>
                  </a:moveTo>
                  <a:cubicBezTo>
                    <a:pt x="2" y="0"/>
                    <a:pt x="0" y="8"/>
                    <a:pt x="4" y="8"/>
                  </a:cubicBezTo>
                  <a:cubicBezTo>
                    <a:pt x="5" y="6"/>
                    <a:pt x="7" y="7"/>
                    <a:pt x="8" y="5"/>
                  </a:cubicBezTo>
                  <a:cubicBezTo>
                    <a:pt x="8" y="4"/>
                    <a:pt x="7" y="2"/>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125"/>
            <p:cNvSpPr/>
            <p:nvPr/>
          </p:nvSpPr>
          <p:spPr bwMode="auto">
            <a:xfrm>
              <a:off x="8011300" y="6461151"/>
              <a:ext cx="24009" cy="12710"/>
            </a:xfrm>
            <a:custGeom>
              <a:gdLst>
                <a:gd name="T0" fmla="*/ 0 w 7"/>
                <a:gd name="T1" fmla="*/ 0 h 4"/>
                <a:gd name="T2" fmla="*/ 4 w 7"/>
                <a:gd name="T3" fmla="*/ 4 h 4"/>
                <a:gd name="T4" fmla="*/ 7 w 7"/>
                <a:gd name="T5" fmla="*/ 1 h 4"/>
                <a:gd name="T6" fmla="*/ 5 w 7"/>
                <a:gd name="T7" fmla="*/ 1 h 4"/>
                <a:gd name="T8" fmla="*/ 4 w 7"/>
                <a:gd name="T9" fmla="*/ 1 h 4"/>
                <a:gd name="T10" fmla="*/ 3 w 7"/>
                <a:gd name="T11" fmla="*/ 1 h 4"/>
                <a:gd name="T12" fmla="*/ 0 w 7"/>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cubicBezTo>
                    <a:pt x="1" y="2"/>
                    <a:pt x="2" y="3"/>
                    <a:pt x="4" y="4"/>
                  </a:cubicBezTo>
                  <a:cubicBezTo>
                    <a:pt x="5" y="3"/>
                    <a:pt x="6" y="2"/>
                    <a:pt x="7" y="1"/>
                  </a:cubicBezTo>
                  <a:cubicBezTo>
                    <a:pt x="6" y="1"/>
                    <a:pt x="6" y="1"/>
                    <a:pt x="5" y="1"/>
                  </a:cubicBezTo>
                  <a:cubicBezTo>
                    <a:pt x="5" y="1"/>
                    <a:pt x="5" y="1"/>
                    <a:pt x="4" y="1"/>
                  </a:cubicBezTo>
                  <a:cubicBezTo>
                    <a:pt x="4" y="1"/>
                    <a:pt x="4" y="1"/>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26"/>
            <p:cNvSpPr/>
            <p:nvPr/>
          </p:nvSpPr>
          <p:spPr bwMode="auto">
            <a:xfrm>
              <a:off x="7985879" y="6140565"/>
              <a:ext cx="29658" cy="22596"/>
            </a:xfrm>
            <a:custGeom>
              <a:gdLst>
                <a:gd name="T0" fmla="*/ 7 w 9"/>
                <a:gd name="T1" fmla="*/ 0 h 7"/>
                <a:gd name="T2" fmla="*/ 6 w 9"/>
                <a:gd name="T3" fmla="*/ 0 h 7"/>
                <a:gd name="T4" fmla="*/ 5 w 9"/>
                <a:gd name="T5" fmla="*/ 0 h 7"/>
                <a:gd name="T6" fmla="*/ 4 w 9"/>
                <a:gd name="T7" fmla="*/ 0 h 7"/>
                <a:gd name="T8" fmla="*/ 3 w 9"/>
                <a:gd name="T9" fmla="*/ 0 h 7"/>
                <a:gd name="T10" fmla="*/ 2 w 9"/>
                <a:gd name="T11" fmla="*/ 1 h 7"/>
                <a:gd name="T12" fmla="*/ 4 w 9"/>
                <a:gd name="T13" fmla="*/ 5 h 7"/>
                <a:gd name="T14" fmla="*/ 8 w 9"/>
                <a:gd name="T15" fmla="*/ 7 h 7"/>
                <a:gd name="T16" fmla="*/ 7 w 9"/>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7" y="0"/>
                  </a:moveTo>
                  <a:cubicBezTo>
                    <a:pt x="6" y="0"/>
                    <a:pt x="6" y="0"/>
                    <a:pt x="6" y="0"/>
                  </a:cubicBezTo>
                  <a:cubicBezTo>
                    <a:pt x="5" y="0"/>
                    <a:pt x="5" y="0"/>
                    <a:pt x="5" y="0"/>
                  </a:cubicBezTo>
                  <a:cubicBezTo>
                    <a:pt x="4" y="0"/>
                    <a:pt x="4" y="0"/>
                    <a:pt x="4" y="0"/>
                  </a:cubicBezTo>
                  <a:cubicBezTo>
                    <a:pt x="4" y="0"/>
                    <a:pt x="3" y="0"/>
                    <a:pt x="3" y="0"/>
                  </a:cubicBezTo>
                  <a:cubicBezTo>
                    <a:pt x="3" y="0"/>
                    <a:pt x="2" y="0"/>
                    <a:pt x="2" y="1"/>
                  </a:cubicBezTo>
                  <a:cubicBezTo>
                    <a:pt x="0" y="3"/>
                    <a:pt x="2" y="4"/>
                    <a:pt x="4" y="5"/>
                  </a:cubicBezTo>
                  <a:cubicBezTo>
                    <a:pt x="5" y="6"/>
                    <a:pt x="6" y="7"/>
                    <a:pt x="8" y="7"/>
                  </a:cubicBezTo>
                  <a:cubicBezTo>
                    <a:pt x="8" y="6"/>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27"/>
            <p:cNvSpPr/>
            <p:nvPr/>
          </p:nvSpPr>
          <p:spPr bwMode="auto">
            <a:xfrm>
              <a:off x="8028247" y="5803032"/>
              <a:ext cx="14123" cy="12710"/>
            </a:xfrm>
            <a:custGeom>
              <a:gdLst>
                <a:gd name="T0" fmla="*/ 4 w 4"/>
                <a:gd name="T1" fmla="*/ 0 h 4"/>
                <a:gd name="T2" fmla="*/ 0 w 4"/>
                <a:gd name="T3" fmla="*/ 4 h 4"/>
                <a:gd name="T4" fmla="*/ 2 w 4"/>
                <a:gd name="T5" fmla="*/ 4 h 4"/>
                <a:gd name="T6" fmla="*/ 4 w 4"/>
                <a:gd name="T7" fmla="*/ 0 h 4"/>
              </a:gdLst>
              <a:cxnLst>
                <a:cxn ang="0">
                  <a:pos x="T0" y="T1"/>
                </a:cxn>
                <a:cxn ang="0">
                  <a:pos x="T2" y="T3"/>
                </a:cxn>
                <a:cxn ang="0">
                  <a:pos x="T4" y="T5"/>
                </a:cxn>
                <a:cxn ang="0">
                  <a:pos x="T6" y="T7"/>
                </a:cxn>
              </a:cxnLst>
              <a:rect l="0" t="0" r="r" b="b"/>
              <a:pathLst>
                <a:path w="4" h="4">
                  <a:moveTo>
                    <a:pt x="4" y="0"/>
                  </a:moveTo>
                  <a:cubicBezTo>
                    <a:pt x="2" y="1"/>
                    <a:pt x="1" y="2"/>
                    <a:pt x="0" y="4"/>
                  </a:cubicBezTo>
                  <a:cubicBezTo>
                    <a:pt x="1" y="4"/>
                    <a:pt x="1" y="4"/>
                    <a:pt x="2" y="4"/>
                  </a:cubicBezTo>
                  <a:cubicBezTo>
                    <a:pt x="3" y="4"/>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28"/>
            <p:cNvSpPr/>
            <p:nvPr/>
          </p:nvSpPr>
          <p:spPr bwMode="auto">
            <a:xfrm>
              <a:off x="7954809" y="6079837"/>
              <a:ext cx="31070" cy="26833"/>
            </a:xfrm>
            <a:custGeom>
              <a:gdLst>
                <a:gd name="T0" fmla="*/ 6 w 9"/>
                <a:gd name="T1" fmla="*/ 0 h 8"/>
                <a:gd name="T2" fmla="*/ 4 w 9"/>
                <a:gd name="T3" fmla="*/ 1 h 8"/>
                <a:gd name="T4" fmla="*/ 3 w 9"/>
                <a:gd name="T5" fmla="*/ 1 h 8"/>
                <a:gd name="T6" fmla="*/ 2 w 9"/>
                <a:gd name="T7" fmla="*/ 1 h 8"/>
                <a:gd name="T8" fmla="*/ 2 w 9"/>
                <a:gd name="T9" fmla="*/ 1 h 8"/>
                <a:gd name="T10" fmla="*/ 2 w 9"/>
                <a:gd name="T11" fmla="*/ 1 h 8"/>
                <a:gd name="T12" fmla="*/ 2 w 9"/>
                <a:gd name="T13" fmla="*/ 1 h 8"/>
                <a:gd name="T14" fmla="*/ 1 w 9"/>
                <a:gd name="T15" fmla="*/ 0 h 8"/>
                <a:gd name="T16" fmla="*/ 0 w 9"/>
                <a:gd name="T17" fmla="*/ 0 h 8"/>
                <a:gd name="T18" fmla="*/ 0 w 9"/>
                <a:gd name="T19" fmla="*/ 1 h 8"/>
                <a:gd name="T20" fmla="*/ 4 w 9"/>
                <a:gd name="T21" fmla="*/ 5 h 8"/>
                <a:gd name="T22" fmla="*/ 2 w 9"/>
                <a:gd name="T23" fmla="*/ 8 h 8"/>
                <a:gd name="T24" fmla="*/ 7 w 9"/>
                <a:gd name="T25" fmla="*/ 1 h 8"/>
                <a:gd name="T26" fmla="*/ 6 w 9"/>
                <a:gd name="T2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8">
                  <a:moveTo>
                    <a:pt x="6" y="0"/>
                  </a:moveTo>
                  <a:cubicBezTo>
                    <a:pt x="5" y="0"/>
                    <a:pt x="5" y="0"/>
                    <a:pt x="4" y="1"/>
                  </a:cubicBezTo>
                  <a:cubicBezTo>
                    <a:pt x="4" y="1"/>
                    <a:pt x="4" y="1"/>
                    <a:pt x="3" y="1"/>
                  </a:cubicBezTo>
                  <a:cubicBezTo>
                    <a:pt x="3" y="1"/>
                    <a:pt x="3" y="1"/>
                    <a:pt x="2" y="1"/>
                  </a:cubicBezTo>
                  <a:cubicBezTo>
                    <a:pt x="2" y="1"/>
                    <a:pt x="2" y="1"/>
                    <a:pt x="2" y="1"/>
                  </a:cubicBezTo>
                  <a:cubicBezTo>
                    <a:pt x="2" y="1"/>
                    <a:pt x="2" y="1"/>
                    <a:pt x="2" y="1"/>
                  </a:cubicBezTo>
                  <a:cubicBezTo>
                    <a:pt x="2" y="1"/>
                    <a:pt x="2" y="1"/>
                    <a:pt x="2" y="1"/>
                  </a:cubicBezTo>
                  <a:cubicBezTo>
                    <a:pt x="2" y="1"/>
                    <a:pt x="1" y="0"/>
                    <a:pt x="1" y="0"/>
                  </a:cubicBezTo>
                  <a:cubicBezTo>
                    <a:pt x="1" y="0"/>
                    <a:pt x="1" y="0"/>
                    <a:pt x="0" y="0"/>
                  </a:cubicBezTo>
                  <a:cubicBezTo>
                    <a:pt x="0" y="0"/>
                    <a:pt x="0" y="1"/>
                    <a:pt x="0" y="1"/>
                  </a:cubicBezTo>
                  <a:cubicBezTo>
                    <a:pt x="1" y="3"/>
                    <a:pt x="3" y="5"/>
                    <a:pt x="4" y="5"/>
                  </a:cubicBezTo>
                  <a:cubicBezTo>
                    <a:pt x="4" y="6"/>
                    <a:pt x="3" y="7"/>
                    <a:pt x="2" y="8"/>
                  </a:cubicBezTo>
                  <a:cubicBezTo>
                    <a:pt x="5" y="7"/>
                    <a:pt x="9" y="5"/>
                    <a:pt x="7" y="1"/>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29"/>
            <p:cNvSpPr/>
            <p:nvPr/>
          </p:nvSpPr>
          <p:spPr bwMode="auto">
            <a:xfrm>
              <a:off x="7954809" y="6036057"/>
              <a:ext cx="46605" cy="70614"/>
            </a:xfrm>
            <a:custGeom>
              <a:gdLst>
                <a:gd name="T0" fmla="*/ 6 w 14"/>
                <a:gd name="T1" fmla="*/ 0 h 21"/>
                <a:gd name="T2" fmla="*/ 3 w 14"/>
                <a:gd name="T3" fmla="*/ 1 h 21"/>
                <a:gd name="T4" fmla="*/ 2 w 14"/>
                <a:gd name="T5" fmla="*/ 9 h 21"/>
                <a:gd name="T6" fmla="*/ 3 w 14"/>
                <a:gd name="T7" fmla="*/ 9 h 21"/>
                <a:gd name="T8" fmla="*/ 4 w 14"/>
                <a:gd name="T9" fmla="*/ 9 h 21"/>
                <a:gd name="T10" fmla="*/ 6 w 14"/>
                <a:gd name="T11" fmla="*/ 9 h 21"/>
                <a:gd name="T12" fmla="*/ 7 w 14"/>
                <a:gd name="T13" fmla="*/ 9 h 21"/>
                <a:gd name="T14" fmla="*/ 2 w 14"/>
                <a:gd name="T15" fmla="*/ 12 h 21"/>
                <a:gd name="T16" fmla="*/ 4 w 14"/>
                <a:gd name="T17" fmla="*/ 12 h 21"/>
                <a:gd name="T18" fmla="*/ 7 w 14"/>
                <a:gd name="T19" fmla="*/ 10 h 21"/>
                <a:gd name="T20" fmla="*/ 9 w 14"/>
                <a:gd name="T21" fmla="*/ 21 h 21"/>
                <a:gd name="T22" fmla="*/ 12 w 14"/>
                <a:gd name="T23" fmla="*/ 14 h 21"/>
                <a:gd name="T24" fmla="*/ 9 w 14"/>
                <a:gd name="T25" fmla="*/ 8 h 21"/>
                <a:gd name="T26" fmla="*/ 7 w 14"/>
                <a:gd name="T27" fmla="*/ 2 h 21"/>
                <a:gd name="T28" fmla="*/ 6 w 14"/>
                <a:gd name="T29" fmla="*/ 0 h 21"/>
                <a:gd name="T30" fmla="*/ 6 w 14"/>
                <a:gd name="T31"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1">
                  <a:moveTo>
                    <a:pt x="6" y="0"/>
                  </a:moveTo>
                  <a:cubicBezTo>
                    <a:pt x="5" y="0"/>
                    <a:pt x="3" y="1"/>
                    <a:pt x="3" y="1"/>
                  </a:cubicBezTo>
                  <a:cubicBezTo>
                    <a:pt x="0" y="4"/>
                    <a:pt x="5" y="6"/>
                    <a:pt x="2" y="9"/>
                  </a:cubicBezTo>
                  <a:cubicBezTo>
                    <a:pt x="2" y="9"/>
                    <a:pt x="3" y="9"/>
                    <a:pt x="3" y="9"/>
                  </a:cubicBezTo>
                  <a:cubicBezTo>
                    <a:pt x="4" y="9"/>
                    <a:pt x="4" y="9"/>
                    <a:pt x="4" y="9"/>
                  </a:cubicBezTo>
                  <a:cubicBezTo>
                    <a:pt x="5" y="9"/>
                    <a:pt x="5" y="9"/>
                    <a:pt x="6" y="9"/>
                  </a:cubicBezTo>
                  <a:cubicBezTo>
                    <a:pt x="6" y="9"/>
                    <a:pt x="6" y="9"/>
                    <a:pt x="7" y="9"/>
                  </a:cubicBezTo>
                  <a:cubicBezTo>
                    <a:pt x="5" y="11"/>
                    <a:pt x="3" y="10"/>
                    <a:pt x="2" y="12"/>
                  </a:cubicBezTo>
                  <a:cubicBezTo>
                    <a:pt x="3" y="12"/>
                    <a:pt x="3" y="12"/>
                    <a:pt x="4" y="12"/>
                  </a:cubicBezTo>
                  <a:cubicBezTo>
                    <a:pt x="5" y="12"/>
                    <a:pt x="7" y="12"/>
                    <a:pt x="7" y="10"/>
                  </a:cubicBezTo>
                  <a:cubicBezTo>
                    <a:pt x="8" y="14"/>
                    <a:pt x="9" y="18"/>
                    <a:pt x="9" y="21"/>
                  </a:cubicBezTo>
                  <a:cubicBezTo>
                    <a:pt x="13" y="18"/>
                    <a:pt x="14" y="17"/>
                    <a:pt x="12" y="14"/>
                  </a:cubicBezTo>
                  <a:cubicBezTo>
                    <a:pt x="11" y="11"/>
                    <a:pt x="10" y="10"/>
                    <a:pt x="9" y="8"/>
                  </a:cubicBezTo>
                  <a:cubicBezTo>
                    <a:pt x="8" y="6"/>
                    <a:pt x="8" y="3"/>
                    <a:pt x="7" y="2"/>
                  </a:cubicBezTo>
                  <a:cubicBezTo>
                    <a:pt x="6" y="1"/>
                    <a:pt x="8"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30"/>
            <p:cNvSpPr>
              <a:spLocks noEditPoints="1"/>
            </p:cNvSpPr>
            <p:nvPr/>
          </p:nvSpPr>
          <p:spPr bwMode="auto">
            <a:xfrm>
              <a:off x="7971756" y="6236600"/>
              <a:ext cx="50842" cy="43780"/>
            </a:xfrm>
            <a:custGeom>
              <a:gdLst>
                <a:gd name="T0" fmla="*/ 3 w 15"/>
                <a:gd name="T1" fmla="*/ 0 h 13"/>
                <a:gd name="T2" fmla="*/ 1 w 15"/>
                <a:gd name="T3" fmla="*/ 1 h 13"/>
                <a:gd name="T4" fmla="*/ 6 w 15"/>
                <a:gd name="T5" fmla="*/ 5 h 13"/>
                <a:gd name="T6" fmla="*/ 7 w 15"/>
                <a:gd name="T7" fmla="*/ 4 h 13"/>
                <a:gd name="T8" fmla="*/ 4 w 15"/>
                <a:gd name="T9" fmla="*/ 7 h 13"/>
                <a:gd name="T10" fmla="*/ 3 w 15"/>
                <a:gd name="T11" fmla="*/ 7 h 13"/>
                <a:gd name="T12" fmla="*/ 2 w 15"/>
                <a:gd name="T13" fmla="*/ 5 h 13"/>
                <a:gd name="T14" fmla="*/ 2 w 15"/>
                <a:gd name="T15" fmla="*/ 5 h 13"/>
                <a:gd name="T16" fmla="*/ 1 w 15"/>
                <a:gd name="T17" fmla="*/ 5 h 13"/>
                <a:gd name="T18" fmla="*/ 1 w 15"/>
                <a:gd name="T19" fmla="*/ 7 h 13"/>
                <a:gd name="T20" fmla="*/ 5 w 15"/>
                <a:gd name="T21" fmla="*/ 9 h 13"/>
                <a:gd name="T22" fmla="*/ 5 w 15"/>
                <a:gd name="T23" fmla="*/ 9 h 13"/>
                <a:gd name="T24" fmla="*/ 4 w 15"/>
                <a:gd name="T25" fmla="*/ 13 h 13"/>
                <a:gd name="T26" fmla="*/ 11 w 15"/>
                <a:gd name="T27" fmla="*/ 7 h 13"/>
                <a:gd name="T28" fmla="*/ 14 w 15"/>
                <a:gd name="T29" fmla="*/ 6 h 13"/>
                <a:gd name="T30" fmla="*/ 14 w 15"/>
                <a:gd name="T31" fmla="*/ 4 h 13"/>
                <a:gd name="T32" fmla="*/ 8 w 15"/>
                <a:gd name="T33" fmla="*/ 6 h 13"/>
                <a:gd name="T34" fmla="*/ 11 w 15"/>
                <a:gd name="T35" fmla="*/ 2 h 13"/>
                <a:gd name="T36" fmla="*/ 8 w 15"/>
                <a:gd name="T37" fmla="*/ 3 h 13"/>
                <a:gd name="T38" fmla="*/ 7 w 15"/>
                <a:gd name="T39" fmla="*/ 3 h 13"/>
                <a:gd name="T40" fmla="*/ 7 w 15"/>
                <a:gd name="T41" fmla="*/ 1 h 13"/>
                <a:gd name="T42" fmla="*/ 6 w 15"/>
                <a:gd name="T43" fmla="*/ 1 h 13"/>
                <a:gd name="T44" fmla="*/ 6 w 15"/>
                <a:gd name="T45" fmla="*/ 1 h 13"/>
                <a:gd name="T46" fmla="*/ 5 w 15"/>
                <a:gd name="T47" fmla="*/ 1 h 13"/>
                <a:gd name="T48" fmla="*/ 4 w 15"/>
                <a:gd name="T49" fmla="*/ 1 h 13"/>
                <a:gd name="T50" fmla="*/ 5 w 15"/>
                <a:gd name="T51" fmla="*/ 1 h 13"/>
                <a:gd name="T52" fmla="*/ 3 w 15"/>
                <a:gd name="T53" fmla="*/ 0 h 13"/>
                <a:gd name="T54" fmla="*/ 3 w 15"/>
                <a:gd name="T55" fmla="*/ 0 h 13"/>
                <a:gd name="T56" fmla="*/ 3 w 15"/>
                <a:gd name="T57" fmla="*/ 0 h 13"/>
                <a:gd name="T58" fmla="*/ 3 w 15"/>
                <a:gd name="T59"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13">
                  <a:moveTo>
                    <a:pt x="3" y="0"/>
                  </a:moveTo>
                  <a:cubicBezTo>
                    <a:pt x="3" y="0"/>
                    <a:pt x="0" y="0"/>
                    <a:pt x="1" y="1"/>
                  </a:cubicBezTo>
                  <a:cubicBezTo>
                    <a:pt x="2" y="2"/>
                    <a:pt x="4" y="5"/>
                    <a:pt x="6" y="5"/>
                  </a:cubicBezTo>
                  <a:cubicBezTo>
                    <a:pt x="6" y="5"/>
                    <a:pt x="7" y="5"/>
                    <a:pt x="7" y="4"/>
                  </a:cubicBezTo>
                  <a:cubicBezTo>
                    <a:pt x="6" y="6"/>
                    <a:pt x="5" y="7"/>
                    <a:pt x="4" y="7"/>
                  </a:cubicBezTo>
                  <a:cubicBezTo>
                    <a:pt x="3" y="7"/>
                    <a:pt x="3" y="7"/>
                    <a:pt x="3" y="7"/>
                  </a:cubicBezTo>
                  <a:cubicBezTo>
                    <a:pt x="3" y="6"/>
                    <a:pt x="1" y="5"/>
                    <a:pt x="2" y="5"/>
                  </a:cubicBezTo>
                  <a:cubicBezTo>
                    <a:pt x="2" y="5"/>
                    <a:pt x="2" y="5"/>
                    <a:pt x="2" y="5"/>
                  </a:cubicBezTo>
                  <a:cubicBezTo>
                    <a:pt x="2" y="5"/>
                    <a:pt x="2" y="5"/>
                    <a:pt x="1" y="5"/>
                  </a:cubicBezTo>
                  <a:cubicBezTo>
                    <a:pt x="0" y="5"/>
                    <a:pt x="0" y="6"/>
                    <a:pt x="1" y="7"/>
                  </a:cubicBezTo>
                  <a:cubicBezTo>
                    <a:pt x="1" y="8"/>
                    <a:pt x="3" y="9"/>
                    <a:pt x="5" y="9"/>
                  </a:cubicBezTo>
                  <a:cubicBezTo>
                    <a:pt x="5" y="9"/>
                    <a:pt x="5" y="9"/>
                    <a:pt x="5" y="9"/>
                  </a:cubicBezTo>
                  <a:cubicBezTo>
                    <a:pt x="5" y="10"/>
                    <a:pt x="5" y="12"/>
                    <a:pt x="4" y="13"/>
                  </a:cubicBezTo>
                  <a:cubicBezTo>
                    <a:pt x="6" y="11"/>
                    <a:pt x="9" y="8"/>
                    <a:pt x="11" y="7"/>
                  </a:cubicBezTo>
                  <a:cubicBezTo>
                    <a:pt x="12" y="6"/>
                    <a:pt x="13" y="7"/>
                    <a:pt x="14" y="6"/>
                  </a:cubicBezTo>
                  <a:cubicBezTo>
                    <a:pt x="15" y="5"/>
                    <a:pt x="15" y="4"/>
                    <a:pt x="14" y="4"/>
                  </a:cubicBezTo>
                  <a:cubicBezTo>
                    <a:pt x="12" y="4"/>
                    <a:pt x="9" y="5"/>
                    <a:pt x="8" y="6"/>
                  </a:cubicBezTo>
                  <a:cubicBezTo>
                    <a:pt x="9" y="4"/>
                    <a:pt x="10" y="4"/>
                    <a:pt x="11" y="2"/>
                  </a:cubicBezTo>
                  <a:cubicBezTo>
                    <a:pt x="10" y="3"/>
                    <a:pt x="9" y="3"/>
                    <a:pt x="8" y="3"/>
                  </a:cubicBezTo>
                  <a:cubicBezTo>
                    <a:pt x="8" y="3"/>
                    <a:pt x="8" y="3"/>
                    <a:pt x="7" y="3"/>
                  </a:cubicBezTo>
                  <a:cubicBezTo>
                    <a:pt x="7" y="2"/>
                    <a:pt x="8" y="1"/>
                    <a:pt x="7" y="1"/>
                  </a:cubicBezTo>
                  <a:cubicBezTo>
                    <a:pt x="7" y="1"/>
                    <a:pt x="6" y="1"/>
                    <a:pt x="6" y="1"/>
                  </a:cubicBezTo>
                  <a:cubicBezTo>
                    <a:pt x="6" y="1"/>
                    <a:pt x="6" y="1"/>
                    <a:pt x="6" y="1"/>
                  </a:cubicBezTo>
                  <a:cubicBezTo>
                    <a:pt x="5" y="1"/>
                    <a:pt x="5" y="1"/>
                    <a:pt x="5" y="1"/>
                  </a:cubicBezTo>
                  <a:cubicBezTo>
                    <a:pt x="5" y="1"/>
                    <a:pt x="5" y="1"/>
                    <a:pt x="4" y="1"/>
                  </a:cubicBezTo>
                  <a:cubicBezTo>
                    <a:pt x="4" y="1"/>
                    <a:pt x="5" y="1"/>
                    <a:pt x="5" y="1"/>
                  </a:cubicBezTo>
                  <a:cubicBezTo>
                    <a:pt x="4" y="1"/>
                    <a:pt x="2" y="0"/>
                    <a:pt x="3" y="0"/>
                  </a:cubicBezTo>
                  <a:moveTo>
                    <a:pt x="3" y="0"/>
                  </a:move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31"/>
            <p:cNvSpPr/>
            <p:nvPr/>
          </p:nvSpPr>
          <p:spPr bwMode="auto">
            <a:xfrm>
              <a:off x="7951985" y="6119381"/>
              <a:ext cx="33894" cy="16947"/>
            </a:xfrm>
            <a:custGeom>
              <a:gdLst>
                <a:gd name="T0" fmla="*/ 7 w 10"/>
                <a:gd name="T1" fmla="*/ 0 h 5"/>
                <a:gd name="T2" fmla="*/ 4 w 10"/>
                <a:gd name="T3" fmla="*/ 2 h 5"/>
                <a:gd name="T4" fmla="*/ 3 w 10"/>
                <a:gd name="T5" fmla="*/ 0 h 5"/>
                <a:gd name="T6" fmla="*/ 3 w 10"/>
                <a:gd name="T7" fmla="*/ 0 h 5"/>
                <a:gd name="T8" fmla="*/ 1 w 10"/>
                <a:gd name="T9" fmla="*/ 1 h 5"/>
                <a:gd name="T10" fmla="*/ 10 w 10"/>
                <a:gd name="T11" fmla="*/ 5 h 5"/>
                <a:gd name="T12" fmla="*/ 8 w 10"/>
                <a:gd name="T13" fmla="*/ 0 h 5"/>
                <a:gd name="T14" fmla="*/ 6 w 10"/>
                <a:gd name="T15" fmla="*/ 1 h 5"/>
                <a:gd name="T16" fmla="*/ 7 w 10"/>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
                  <a:moveTo>
                    <a:pt x="7" y="0"/>
                  </a:moveTo>
                  <a:cubicBezTo>
                    <a:pt x="6" y="0"/>
                    <a:pt x="5" y="2"/>
                    <a:pt x="4" y="2"/>
                  </a:cubicBezTo>
                  <a:cubicBezTo>
                    <a:pt x="4" y="2"/>
                    <a:pt x="4" y="0"/>
                    <a:pt x="3" y="0"/>
                  </a:cubicBezTo>
                  <a:cubicBezTo>
                    <a:pt x="3" y="0"/>
                    <a:pt x="3" y="0"/>
                    <a:pt x="3" y="0"/>
                  </a:cubicBezTo>
                  <a:cubicBezTo>
                    <a:pt x="3" y="0"/>
                    <a:pt x="1" y="1"/>
                    <a:pt x="1" y="1"/>
                  </a:cubicBezTo>
                  <a:cubicBezTo>
                    <a:pt x="0" y="3"/>
                    <a:pt x="8" y="4"/>
                    <a:pt x="10" y="5"/>
                  </a:cubicBezTo>
                  <a:cubicBezTo>
                    <a:pt x="10" y="4"/>
                    <a:pt x="9" y="0"/>
                    <a:pt x="8" y="0"/>
                  </a:cubicBezTo>
                  <a:cubicBezTo>
                    <a:pt x="7" y="0"/>
                    <a:pt x="7" y="1"/>
                    <a:pt x="6" y="1"/>
                  </a:cubicBezTo>
                  <a:cubicBezTo>
                    <a:pt x="6" y="1"/>
                    <a:pt x="6"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32"/>
            <p:cNvSpPr/>
            <p:nvPr/>
          </p:nvSpPr>
          <p:spPr bwMode="auto">
            <a:xfrm>
              <a:off x="8052256" y="5441490"/>
              <a:ext cx="83324" cy="151113"/>
            </a:xfrm>
            <a:custGeom>
              <a:gdLst>
                <a:gd name="T0" fmla="*/ 10 w 25"/>
                <a:gd name="T1" fmla="*/ 0 h 45"/>
                <a:gd name="T2" fmla="*/ 8 w 25"/>
                <a:gd name="T3" fmla="*/ 2 h 45"/>
                <a:gd name="T4" fmla="*/ 6 w 25"/>
                <a:gd name="T5" fmla="*/ 11 h 45"/>
                <a:gd name="T6" fmla="*/ 4 w 25"/>
                <a:gd name="T7" fmla="*/ 19 h 45"/>
                <a:gd name="T8" fmla="*/ 3 w 25"/>
                <a:gd name="T9" fmla="*/ 34 h 45"/>
                <a:gd name="T10" fmla="*/ 0 w 25"/>
                <a:gd name="T11" fmla="*/ 40 h 45"/>
                <a:gd name="T12" fmla="*/ 12 w 25"/>
                <a:gd name="T13" fmla="*/ 45 h 45"/>
                <a:gd name="T14" fmla="*/ 16 w 25"/>
                <a:gd name="T15" fmla="*/ 41 h 45"/>
                <a:gd name="T16" fmla="*/ 14 w 25"/>
                <a:gd name="T17" fmla="*/ 37 h 45"/>
                <a:gd name="T18" fmla="*/ 15 w 25"/>
                <a:gd name="T19" fmla="*/ 37 h 45"/>
                <a:gd name="T20" fmla="*/ 16 w 25"/>
                <a:gd name="T21" fmla="*/ 37 h 45"/>
                <a:gd name="T22" fmla="*/ 16 w 25"/>
                <a:gd name="T23" fmla="*/ 37 h 45"/>
                <a:gd name="T24" fmla="*/ 19 w 25"/>
                <a:gd name="T25" fmla="*/ 35 h 45"/>
                <a:gd name="T26" fmla="*/ 20 w 25"/>
                <a:gd name="T27" fmla="*/ 35 h 45"/>
                <a:gd name="T28" fmla="*/ 16 w 25"/>
                <a:gd name="T29" fmla="*/ 30 h 45"/>
                <a:gd name="T30" fmla="*/ 19 w 25"/>
                <a:gd name="T31" fmla="*/ 31 h 45"/>
                <a:gd name="T32" fmla="*/ 21 w 25"/>
                <a:gd name="T33" fmla="*/ 29 h 45"/>
                <a:gd name="T34" fmla="*/ 16 w 25"/>
                <a:gd name="T35" fmla="*/ 24 h 45"/>
                <a:gd name="T36" fmla="*/ 13 w 25"/>
                <a:gd name="T37" fmla="*/ 21 h 45"/>
                <a:gd name="T38" fmla="*/ 14 w 25"/>
                <a:gd name="T39" fmla="*/ 19 h 45"/>
                <a:gd name="T40" fmla="*/ 18 w 25"/>
                <a:gd name="T41" fmla="*/ 20 h 45"/>
                <a:gd name="T42" fmla="*/ 19 w 25"/>
                <a:gd name="T43" fmla="*/ 15 h 45"/>
                <a:gd name="T44" fmla="*/ 23 w 25"/>
                <a:gd name="T45" fmla="*/ 11 h 45"/>
                <a:gd name="T46" fmla="*/ 21 w 25"/>
                <a:gd name="T47" fmla="*/ 9 h 45"/>
                <a:gd name="T48" fmla="*/ 22 w 25"/>
                <a:gd name="T49" fmla="*/ 8 h 45"/>
                <a:gd name="T50" fmla="*/ 20 w 25"/>
                <a:gd name="T51" fmla="*/ 6 h 45"/>
                <a:gd name="T52" fmla="*/ 21 w 25"/>
                <a:gd name="T53" fmla="*/ 1 h 45"/>
                <a:gd name="T54" fmla="*/ 18 w 25"/>
                <a:gd name="T55" fmla="*/ 0 h 45"/>
                <a:gd name="T56" fmla="*/ 13 w 25"/>
                <a:gd name="T57" fmla="*/ 2 h 45"/>
                <a:gd name="T58" fmla="*/ 11 w 25"/>
                <a:gd name="T59" fmla="*/ 3 h 45"/>
                <a:gd name="T60" fmla="*/ 9 w 25"/>
                <a:gd name="T61" fmla="*/ 2 h 45"/>
                <a:gd name="T62" fmla="*/ 10 w 25"/>
                <a:gd name="T63" fmla="*/ 2 h 45"/>
                <a:gd name="T64" fmla="*/ 11 w 25"/>
                <a:gd name="T65" fmla="*/ 1 h 45"/>
                <a:gd name="T66" fmla="*/ 10 w 25"/>
                <a:gd name="T67"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45">
                  <a:moveTo>
                    <a:pt x="10" y="0"/>
                  </a:moveTo>
                  <a:cubicBezTo>
                    <a:pt x="10" y="0"/>
                    <a:pt x="9" y="1"/>
                    <a:pt x="8" y="2"/>
                  </a:cubicBezTo>
                  <a:cubicBezTo>
                    <a:pt x="7" y="5"/>
                    <a:pt x="7" y="9"/>
                    <a:pt x="6" y="11"/>
                  </a:cubicBezTo>
                  <a:cubicBezTo>
                    <a:pt x="5" y="14"/>
                    <a:pt x="4" y="17"/>
                    <a:pt x="4" y="19"/>
                  </a:cubicBezTo>
                  <a:cubicBezTo>
                    <a:pt x="3" y="25"/>
                    <a:pt x="5" y="29"/>
                    <a:pt x="3" y="34"/>
                  </a:cubicBezTo>
                  <a:cubicBezTo>
                    <a:pt x="2" y="36"/>
                    <a:pt x="1" y="38"/>
                    <a:pt x="0" y="40"/>
                  </a:cubicBezTo>
                  <a:cubicBezTo>
                    <a:pt x="4" y="42"/>
                    <a:pt x="8" y="44"/>
                    <a:pt x="12" y="45"/>
                  </a:cubicBezTo>
                  <a:cubicBezTo>
                    <a:pt x="14" y="44"/>
                    <a:pt x="17" y="44"/>
                    <a:pt x="16" y="41"/>
                  </a:cubicBezTo>
                  <a:cubicBezTo>
                    <a:pt x="16" y="41"/>
                    <a:pt x="13" y="38"/>
                    <a:pt x="14" y="37"/>
                  </a:cubicBezTo>
                  <a:cubicBezTo>
                    <a:pt x="14" y="37"/>
                    <a:pt x="15" y="37"/>
                    <a:pt x="15" y="37"/>
                  </a:cubicBezTo>
                  <a:cubicBezTo>
                    <a:pt x="15" y="37"/>
                    <a:pt x="15" y="37"/>
                    <a:pt x="16" y="37"/>
                  </a:cubicBezTo>
                  <a:cubicBezTo>
                    <a:pt x="16" y="37"/>
                    <a:pt x="16" y="37"/>
                    <a:pt x="16" y="37"/>
                  </a:cubicBezTo>
                  <a:cubicBezTo>
                    <a:pt x="19" y="37"/>
                    <a:pt x="24" y="37"/>
                    <a:pt x="19" y="35"/>
                  </a:cubicBezTo>
                  <a:cubicBezTo>
                    <a:pt x="20" y="35"/>
                    <a:pt x="20" y="35"/>
                    <a:pt x="20" y="35"/>
                  </a:cubicBezTo>
                  <a:cubicBezTo>
                    <a:pt x="19" y="33"/>
                    <a:pt x="18" y="31"/>
                    <a:pt x="16" y="30"/>
                  </a:cubicBezTo>
                  <a:cubicBezTo>
                    <a:pt x="17" y="30"/>
                    <a:pt x="18" y="31"/>
                    <a:pt x="19" y="31"/>
                  </a:cubicBezTo>
                  <a:cubicBezTo>
                    <a:pt x="20" y="31"/>
                    <a:pt x="21" y="30"/>
                    <a:pt x="21" y="29"/>
                  </a:cubicBezTo>
                  <a:cubicBezTo>
                    <a:pt x="21" y="27"/>
                    <a:pt x="17" y="25"/>
                    <a:pt x="16" y="24"/>
                  </a:cubicBezTo>
                  <a:cubicBezTo>
                    <a:pt x="14" y="23"/>
                    <a:pt x="13" y="23"/>
                    <a:pt x="13" y="21"/>
                  </a:cubicBezTo>
                  <a:cubicBezTo>
                    <a:pt x="14" y="20"/>
                    <a:pt x="14" y="19"/>
                    <a:pt x="14" y="19"/>
                  </a:cubicBezTo>
                  <a:cubicBezTo>
                    <a:pt x="15" y="19"/>
                    <a:pt x="16" y="20"/>
                    <a:pt x="18" y="20"/>
                  </a:cubicBezTo>
                  <a:cubicBezTo>
                    <a:pt x="15" y="18"/>
                    <a:pt x="17" y="16"/>
                    <a:pt x="19" y="15"/>
                  </a:cubicBezTo>
                  <a:cubicBezTo>
                    <a:pt x="21" y="14"/>
                    <a:pt x="25" y="15"/>
                    <a:pt x="23" y="11"/>
                  </a:cubicBezTo>
                  <a:cubicBezTo>
                    <a:pt x="23" y="10"/>
                    <a:pt x="21" y="10"/>
                    <a:pt x="21" y="9"/>
                  </a:cubicBezTo>
                  <a:cubicBezTo>
                    <a:pt x="20" y="9"/>
                    <a:pt x="22" y="9"/>
                    <a:pt x="22" y="8"/>
                  </a:cubicBezTo>
                  <a:cubicBezTo>
                    <a:pt x="21" y="7"/>
                    <a:pt x="21" y="7"/>
                    <a:pt x="20" y="6"/>
                  </a:cubicBezTo>
                  <a:cubicBezTo>
                    <a:pt x="20" y="4"/>
                    <a:pt x="18" y="3"/>
                    <a:pt x="21" y="1"/>
                  </a:cubicBezTo>
                  <a:cubicBezTo>
                    <a:pt x="20" y="1"/>
                    <a:pt x="19" y="0"/>
                    <a:pt x="18" y="0"/>
                  </a:cubicBezTo>
                  <a:cubicBezTo>
                    <a:pt x="16" y="0"/>
                    <a:pt x="15" y="2"/>
                    <a:pt x="13" y="2"/>
                  </a:cubicBezTo>
                  <a:cubicBezTo>
                    <a:pt x="13" y="2"/>
                    <a:pt x="12" y="3"/>
                    <a:pt x="11" y="3"/>
                  </a:cubicBezTo>
                  <a:cubicBezTo>
                    <a:pt x="11" y="3"/>
                    <a:pt x="10" y="2"/>
                    <a:pt x="9" y="2"/>
                  </a:cubicBezTo>
                  <a:cubicBezTo>
                    <a:pt x="9" y="2"/>
                    <a:pt x="9" y="2"/>
                    <a:pt x="10" y="2"/>
                  </a:cubicBezTo>
                  <a:cubicBezTo>
                    <a:pt x="11" y="2"/>
                    <a:pt x="11" y="1"/>
                    <a:pt x="11" y="1"/>
                  </a:cubicBezTo>
                  <a:cubicBezTo>
                    <a:pt x="11" y="1"/>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33"/>
            <p:cNvSpPr/>
            <p:nvPr/>
          </p:nvSpPr>
          <p:spPr bwMode="auto">
            <a:xfrm>
              <a:off x="8018361" y="5702760"/>
              <a:ext cx="9886" cy="12710"/>
            </a:xfrm>
            <a:custGeom>
              <a:gdLst>
                <a:gd name="T0" fmla="*/ 1 w 3"/>
                <a:gd name="T1" fmla="*/ 0 h 4"/>
                <a:gd name="T2" fmla="*/ 1 w 3"/>
                <a:gd name="T3" fmla="*/ 4 h 4"/>
                <a:gd name="T4" fmla="*/ 1 w 3"/>
                <a:gd name="T5" fmla="*/ 0 h 4"/>
              </a:gdLst>
              <a:cxnLst>
                <a:cxn ang="0">
                  <a:pos x="T0" y="T1"/>
                </a:cxn>
                <a:cxn ang="0">
                  <a:pos x="T2" y="T3"/>
                </a:cxn>
                <a:cxn ang="0">
                  <a:pos x="T4" y="T5"/>
                </a:cxn>
              </a:cxnLst>
              <a:rect l="0" t="0" r="r" b="b"/>
              <a:pathLst>
                <a:path w="3" h="4">
                  <a:moveTo>
                    <a:pt x="1" y="0"/>
                  </a:moveTo>
                  <a:cubicBezTo>
                    <a:pt x="0" y="1"/>
                    <a:pt x="1" y="2"/>
                    <a:pt x="1" y="4"/>
                  </a:cubicBezTo>
                  <a:cubicBezTo>
                    <a:pt x="2"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34"/>
            <p:cNvSpPr/>
            <p:nvPr/>
          </p:nvSpPr>
          <p:spPr bwMode="auto">
            <a:xfrm>
              <a:off x="8072027" y="5629322"/>
              <a:ext cx="26833" cy="12710"/>
            </a:xfrm>
            <a:custGeom>
              <a:gdLst>
                <a:gd name="T0" fmla="*/ 6 w 8"/>
                <a:gd name="T1" fmla="*/ 0 h 4"/>
                <a:gd name="T2" fmla="*/ 4 w 8"/>
                <a:gd name="T3" fmla="*/ 0 h 4"/>
                <a:gd name="T4" fmla="*/ 2 w 8"/>
                <a:gd name="T5" fmla="*/ 1 h 4"/>
                <a:gd name="T6" fmla="*/ 0 w 8"/>
                <a:gd name="T7" fmla="*/ 1 h 4"/>
                <a:gd name="T8" fmla="*/ 3 w 8"/>
                <a:gd name="T9" fmla="*/ 4 h 4"/>
                <a:gd name="T10" fmla="*/ 5 w 8"/>
                <a:gd name="T11" fmla="*/ 2 h 4"/>
                <a:gd name="T12" fmla="*/ 6 w 8"/>
                <a:gd name="T13" fmla="*/ 2 h 4"/>
                <a:gd name="T14" fmla="*/ 8 w 8"/>
                <a:gd name="T15" fmla="*/ 3 h 4"/>
                <a:gd name="T16" fmla="*/ 8 w 8"/>
                <a:gd name="T17" fmla="*/ 3 h 4"/>
                <a:gd name="T18" fmla="*/ 6 w 8"/>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6" y="0"/>
                  </a:moveTo>
                  <a:cubicBezTo>
                    <a:pt x="5" y="0"/>
                    <a:pt x="5" y="0"/>
                    <a:pt x="4" y="0"/>
                  </a:cubicBezTo>
                  <a:cubicBezTo>
                    <a:pt x="3" y="1"/>
                    <a:pt x="3" y="1"/>
                    <a:pt x="2" y="1"/>
                  </a:cubicBezTo>
                  <a:cubicBezTo>
                    <a:pt x="1" y="1"/>
                    <a:pt x="1" y="1"/>
                    <a:pt x="0" y="1"/>
                  </a:cubicBezTo>
                  <a:cubicBezTo>
                    <a:pt x="1" y="2"/>
                    <a:pt x="2" y="3"/>
                    <a:pt x="3" y="4"/>
                  </a:cubicBezTo>
                  <a:cubicBezTo>
                    <a:pt x="4" y="2"/>
                    <a:pt x="4" y="2"/>
                    <a:pt x="5" y="2"/>
                  </a:cubicBezTo>
                  <a:cubicBezTo>
                    <a:pt x="5" y="2"/>
                    <a:pt x="6" y="2"/>
                    <a:pt x="6" y="2"/>
                  </a:cubicBezTo>
                  <a:cubicBezTo>
                    <a:pt x="7" y="3"/>
                    <a:pt x="7" y="3"/>
                    <a:pt x="8" y="3"/>
                  </a:cubicBezTo>
                  <a:cubicBezTo>
                    <a:pt x="8" y="3"/>
                    <a:pt x="8" y="3"/>
                    <a:pt x="8" y="3"/>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35"/>
            <p:cNvSpPr/>
            <p:nvPr/>
          </p:nvSpPr>
          <p:spPr bwMode="auto">
            <a:xfrm>
              <a:off x="8052256" y="5705585"/>
              <a:ext cx="39544" cy="19772"/>
            </a:xfrm>
            <a:custGeom>
              <a:gdLst>
                <a:gd name="T0" fmla="*/ 6 w 12"/>
                <a:gd name="T1" fmla="*/ 0 h 6"/>
                <a:gd name="T2" fmla="*/ 0 w 12"/>
                <a:gd name="T3" fmla="*/ 1 h 6"/>
                <a:gd name="T4" fmla="*/ 3 w 12"/>
                <a:gd name="T5" fmla="*/ 6 h 6"/>
                <a:gd name="T6" fmla="*/ 12 w 12"/>
                <a:gd name="T7" fmla="*/ 3 h 6"/>
                <a:gd name="T8" fmla="*/ 6 w 12"/>
                <a:gd name="T9" fmla="*/ 0 h 6"/>
              </a:gdLst>
              <a:cxnLst>
                <a:cxn ang="0">
                  <a:pos x="T0" y="T1"/>
                </a:cxn>
                <a:cxn ang="0">
                  <a:pos x="T2" y="T3"/>
                </a:cxn>
                <a:cxn ang="0">
                  <a:pos x="T4" y="T5"/>
                </a:cxn>
                <a:cxn ang="0">
                  <a:pos x="T6" y="T7"/>
                </a:cxn>
                <a:cxn ang="0">
                  <a:pos x="T8" y="T9"/>
                </a:cxn>
              </a:cxnLst>
              <a:rect l="0" t="0" r="r" b="b"/>
              <a:pathLst>
                <a:path w="12" h="6">
                  <a:moveTo>
                    <a:pt x="6" y="0"/>
                  </a:moveTo>
                  <a:cubicBezTo>
                    <a:pt x="4" y="0"/>
                    <a:pt x="2" y="1"/>
                    <a:pt x="0" y="1"/>
                  </a:cubicBezTo>
                  <a:cubicBezTo>
                    <a:pt x="1" y="3"/>
                    <a:pt x="2" y="4"/>
                    <a:pt x="3" y="6"/>
                  </a:cubicBezTo>
                  <a:cubicBezTo>
                    <a:pt x="6" y="5"/>
                    <a:pt x="9" y="3"/>
                    <a:pt x="12" y="3"/>
                  </a:cubicBezTo>
                  <a:cubicBezTo>
                    <a:pt x="10"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36"/>
            <p:cNvSpPr/>
            <p:nvPr/>
          </p:nvSpPr>
          <p:spPr bwMode="auto">
            <a:xfrm>
              <a:off x="7998589" y="6050180"/>
              <a:ext cx="46605" cy="56491"/>
            </a:xfrm>
            <a:custGeom>
              <a:gdLst>
                <a:gd name="T0" fmla="*/ 8 w 14"/>
                <a:gd name="T1" fmla="*/ 0 h 17"/>
                <a:gd name="T2" fmla="*/ 7 w 14"/>
                <a:gd name="T3" fmla="*/ 11 h 17"/>
                <a:gd name="T4" fmla="*/ 5 w 14"/>
                <a:gd name="T5" fmla="*/ 8 h 17"/>
                <a:gd name="T6" fmla="*/ 3 w 14"/>
                <a:gd name="T7" fmla="*/ 9 h 17"/>
                <a:gd name="T8" fmla="*/ 2 w 14"/>
                <a:gd name="T9" fmla="*/ 14 h 17"/>
                <a:gd name="T10" fmla="*/ 9 w 14"/>
                <a:gd name="T11" fmla="*/ 16 h 17"/>
                <a:gd name="T12" fmla="*/ 11 w 14"/>
                <a:gd name="T13" fmla="*/ 17 h 17"/>
                <a:gd name="T14" fmla="*/ 11 w 14"/>
                <a:gd name="T15" fmla="*/ 17 h 17"/>
                <a:gd name="T16" fmla="*/ 10 w 14"/>
                <a:gd name="T17" fmla="*/ 9 h 17"/>
                <a:gd name="T18" fmla="*/ 9 w 14"/>
                <a:gd name="T19" fmla="*/ 3 h 17"/>
                <a:gd name="T20" fmla="*/ 8 w 14"/>
                <a:gd name="T21"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7">
                  <a:moveTo>
                    <a:pt x="8" y="0"/>
                  </a:moveTo>
                  <a:cubicBezTo>
                    <a:pt x="5" y="4"/>
                    <a:pt x="7" y="6"/>
                    <a:pt x="7" y="11"/>
                  </a:cubicBezTo>
                  <a:cubicBezTo>
                    <a:pt x="6" y="9"/>
                    <a:pt x="6" y="8"/>
                    <a:pt x="5" y="8"/>
                  </a:cubicBezTo>
                  <a:cubicBezTo>
                    <a:pt x="4" y="8"/>
                    <a:pt x="4" y="8"/>
                    <a:pt x="3" y="9"/>
                  </a:cubicBezTo>
                  <a:cubicBezTo>
                    <a:pt x="2" y="10"/>
                    <a:pt x="0" y="12"/>
                    <a:pt x="2" y="14"/>
                  </a:cubicBezTo>
                  <a:cubicBezTo>
                    <a:pt x="4" y="15"/>
                    <a:pt x="7" y="15"/>
                    <a:pt x="9" y="16"/>
                  </a:cubicBezTo>
                  <a:cubicBezTo>
                    <a:pt x="10" y="16"/>
                    <a:pt x="10" y="17"/>
                    <a:pt x="11" y="17"/>
                  </a:cubicBezTo>
                  <a:cubicBezTo>
                    <a:pt x="11" y="17"/>
                    <a:pt x="11" y="17"/>
                    <a:pt x="11" y="17"/>
                  </a:cubicBezTo>
                  <a:cubicBezTo>
                    <a:pt x="14" y="16"/>
                    <a:pt x="10" y="10"/>
                    <a:pt x="10" y="9"/>
                  </a:cubicBezTo>
                  <a:cubicBezTo>
                    <a:pt x="11" y="6"/>
                    <a:pt x="9" y="5"/>
                    <a:pt x="9" y="3"/>
                  </a:cubicBezTo>
                  <a:cubicBezTo>
                    <a:pt x="9" y="2"/>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37"/>
            <p:cNvSpPr/>
            <p:nvPr/>
          </p:nvSpPr>
          <p:spPr bwMode="auto">
            <a:xfrm>
              <a:off x="8052256" y="6451265"/>
              <a:ext cx="36719" cy="32482"/>
            </a:xfrm>
            <a:custGeom>
              <a:gdLst>
                <a:gd name="T0" fmla="*/ 2 w 11"/>
                <a:gd name="T1" fmla="*/ 0 h 10"/>
                <a:gd name="T2" fmla="*/ 0 w 11"/>
                <a:gd name="T3" fmla="*/ 1 h 10"/>
                <a:gd name="T4" fmla="*/ 5 w 11"/>
                <a:gd name="T5" fmla="*/ 3 h 10"/>
                <a:gd name="T6" fmla="*/ 6 w 11"/>
                <a:gd name="T7" fmla="*/ 10 h 10"/>
                <a:gd name="T8" fmla="*/ 10 w 11"/>
                <a:gd name="T9" fmla="*/ 8 h 10"/>
                <a:gd name="T10" fmla="*/ 10 w 11"/>
                <a:gd name="T11" fmla="*/ 8 h 10"/>
                <a:gd name="T12" fmla="*/ 7 w 11"/>
                <a:gd name="T13" fmla="*/ 3 h 10"/>
                <a:gd name="T14" fmla="*/ 2 w 11"/>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0">
                  <a:moveTo>
                    <a:pt x="2" y="0"/>
                  </a:moveTo>
                  <a:cubicBezTo>
                    <a:pt x="1" y="0"/>
                    <a:pt x="0" y="0"/>
                    <a:pt x="0" y="1"/>
                  </a:cubicBezTo>
                  <a:cubicBezTo>
                    <a:pt x="1" y="2"/>
                    <a:pt x="5" y="2"/>
                    <a:pt x="5" y="3"/>
                  </a:cubicBezTo>
                  <a:cubicBezTo>
                    <a:pt x="7" y="6"/>
                    <a:pt x="2" y="6"/>
                    <a:pt x="6" y="10"/>
                  </a:cubicBezTo>
                  <a:cubicBezTo>
                    <a:pt x="6" y="9"/>
                    <a:pt x="10" y="8"/>
                    <a:pt x="10" y="8"/>
                  </a:cubicBezTo>
                  <a:cubicBezTo>
                    <a:pt x="10" y="8"/>
                    <a:pt x="10" y="8"/>
                    <a:pt x="10" y="8"/>
                  </a:cubicBezTo>
                  <a:cubicBezTo>
                    <a:pt x="11" y="7"/>
                    <a:pt x="8" y="4"/>
                    <a:pt x="7" y="3"/>
                  </a:cubicBezTo>
                  <a:cubicBezTo>
                    <a:pt x="5"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38"/>
            <p:cNvSpPr/>
            <p:nvPr/>
          </p:nvSpPr>
          <p:spPr bwMode="auto">
            <a:xfrm>
              <a:off x="7981642" y="6366529"/>
              <a:ext cx="26833" cy="36719"/>
            </a:xfrm>
            <a:custGeom>
              <a:gdLst>
                <a:gd name="T0" fmla="*/ 3 w 8"/>
                <a:gd name="T1" fmla="*/ 0 h 11"/>
                <a:gd name="T2" fmla="*/ 0 w 8"/>
                <a:gd name="T3" fmla="*/ 11 h 11"/>
                <a:gd name="T4" fmla="*/ 2 w 8"/>
                <a:gd name="T5" fmla="*/ 8 h 11"/>
                <a:gd name="T6" fmla="*/ 3 w 8"/>
                <a:gd name="T7" fmla="*/ 9 h 11"/>
                <a:gd name="T8" fmla="*/ 3 w 8"/>
                <a:gd name="T9" fmla="*/ 5 h 11"/>
                <a:gd name="T10" fmla="*/ 4 w 8"/>
                <a:gd name="T11" fmla="*/ 5 h 11"/>
                <a:gd name="T12" fmla="*/ 7 w 8"/>
                <a:gd name="T13" fmla="*/ 2 h 11"/>
                <a:gd name="T14" fmla="*/ 7 w 8"/>
                <a:gd name="T15" fmla="*/ 2 h 11"/>
                <a:gd name="T16" fmla="*/ 3 w 8"/>
                <a:gd name="T1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3" y="0"/>
                  </a:moveTo>
                  <a:cubicBezTo>
                    <a:pt x="1" y="0"/>
                    <a:pt x="0" y="9"/>
                    <a:pt x="0" y="11"/>
                  </a:cubicBezTo>
                  <a:cubicBezTo>
                    <a:pt x="1" y="11"/>
                    <a:pt x="2" y="10"/>
                    <a:pt x="2" y="8"/>
                  </a:cubicBezTo>
                  <a:cubicBezTo>
                    <a:pt x="2" y="9"/>
                    <a:pt x="3" y="9"/>
                    <a:pt x="3" y="9"/>
                  </a:cubicBezTo>
                  <a:cubicBezTo>
                    <a:pt x="4" y="9"/>
                    <a:pt x="3" y="6"/>
                    <a:pt x="3" y="5"/>
                  </a:cubicBezTo>
                  <a:cubicBezTo>
                    <a:pt x="3" y="5"/>
                    <a:pt x="4" y="5"/>
                    <a:pt x="4" y="5"/>
                  </a:cubicBezTo>
                  <a:cubicBezTo>
                    <a:pt x="5" y="5"/>
                    <a:pt x="8" y="3"/>
                    <a:pt x="7" y="2"/>
                  </a:cubicBezTo>
                  <a:cubicBezTo>
                    <a:pt x="7" y="2"/>
                    <a:pt x="7" y="2"/>
                    <a:pt x="7" y="2"/>
                  </a:cubicBezTo>
                  <a:cubicBezTo>
                    <a:pt x="7" y="2"/>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39"/>
            <p:cNvSpPr/>
            <p:nvPr/>
          </p:nvSpPr>
          <p:spPr bwMode="auto">
            <a:xfrm>
              <a:off x="8038133" y="5773374"/>
              <a:ext cx="14123" cy="9886"/>
            </a:xfrm>
            <a:custGeom>
              <a:gdLst>
                <a:gd name="T0" fmla="*/ 3 w 4"/>
                <a:gd name="T1" fmla="*/ 0 h 3"/>
                <a:gd name="T2" fmla="*/ 2 w 4"/>
                <a:gd name="T3" fmla="*/ 0 h 3"/>
                <a:gd name="T4" fmla="*/ 4 w 4"/>
                <a:gd name="T5" fmla="*/ 3 h 3"/>
                <a:gd name="T6" fmla="*/ 3 w 4"/>
                <a:gd name="T7" fmla="*/ 0 h 3"/>
              </a:gdLst>
              <a:cxnLst>
                <a:cxn ang="0">
                  <a:pos x="T0" y="T1"/>
                </a:cxn>
                <a:cxn ang="0">
                  <a:pos x="T2" y="T3"/>
                </a:cxn>
                <a:cxn ang="0">
                  <a:pos x="T4" y="T5"/>
                </a:cxn>
                <a:cxn ang="0">
                  <a:pos x="T6" y="T7"/>
                </a:cxn>
              </a:cxnLst>
              <a:rect l="0" t="0" r="r" b="b"/>
              <a:pathLst>
                <a:path w="4" h="3">
                  <a:moveTo>
                    <a:pt x="3" y="0"/>
                  </a:moveTo>
                  <a:cubicBezTo>
                    <a:pt x="3" y="0"/>
                    <a:pt x="2" y="0"/>
                    <a:pt x="2" y="0"/>
                  </a:cubicBezTo>
                  <a:cubicBezTo>
                    <a:pt x="0" y="0"/>
                    <a:pt x="3" y="2"/>
                    <a:pt x="4" y="3"/>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40"/>
            <p:cNvSpPr/>
            <p:nvPr/>
          </p:nvSpPr>
          <p:spPr bwMode="auto">
            <a:xfrm>
              <a:off x="8074852" y="6434318"/>
              <a:ext cx="31070" cy="22596"/>
            </a:xfrm>
            <a:custGeom>
              <a:gdLst>
                <a:gd name="T0" fmla="*/ 1 w 9"/>
                <a:gd name="T1" fmla="*/ 0 h 7"/>
                <a:gd name="T2" fmla="*/ 0 w 9"/>
                <a:gd name="T3" fmla="*/ 0 h 7"/>
                <a:gd name="T4" fmla="*/ 9 w 9"/>
                <a:gd name="T5" fmla="*/ 7 h 7"/>
                <a:gd name="T6" fmla="*/ 1 w 9"/>
                <a:gd name="T7" fmla="*/ 0 h 7"/>
              </a:gdLst>
              <a:cxnLst>
                <a:cxn ang="0">
                  <a:pos x="T0" y="T1"/>
                </a:cxn>
                <a:cxn ang="0">
                  <a:pos x="T2" y="T3"/>
                </a:cxn>
                <a:cxn ang="0">
                  <a:pos x="T4" y="T5"/>
                </a:cxn>
                <a:cxn ang="0">
                  <a:pos x="T6" y="T7"/>
                </a:cxn>
              </a:cxnLst>
              <a:rect l="0" t="0" r="r" b="b"/>
              <a:pathLst>
                <a:path w="9" h="7">
                  <a:moveTo>
                    <a:pt x="1" y="0"/>
                  </a:moveTo>
                  <a:cubicBezTo>
                    <a:pt x="0" y="0"/>
                    <a:pt x="0" y="0"/>
                    <a:pt x="0" y="0"/>
                  </a:cubicBezTo>
                  <a:cubicBezTo>
                    <a:pt x="3" y="3"/>
                    <a:pt x="6" y="5"/>
                    <a:pt x="9" y="7"/>
                  </a:cubicBezTo>
                  <a:cubicBezTo>
                    <a:pt x="8" y="5"/>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41"/>
            <p:cNvSpPr/>
            <p:nvPr/>
          </p:nvSpPr>
          <p:spPr bwMode="auto">
            <a:xfrm>
              <a:off x="8045194" y="6020522"/>
              <a:ext cx="53666" cy="12710"/>
            </a:xfrm>
            <a:custGeom>
              <a:gdLst>
                <a:gd name="T0" fmla="*/ 6 w 16"/>
                <a:gd name="T1" fmla="*/ 0 h 4"/>
                <a:gd name="T2" fmla="*/ 0 w 16"/>
                <a:gd name="T3" fmla="*/ 2 h 4"/>
                <a:gd name="T4" fmla="*/ 4 w 16"/>
                <a:gd name="T5" fmla="*/ 4 h 4"/>
                <a:gd name="T6" fmla="*/ 10 w 16"/>
                <a:gd name="T7" fmla="*/ 3 h 4"/>
                <a:gd name="T8" fmla="*/ 11 w 16"/>
                <a:gd name="T9" fmla="*/ 4 h 4"/>
                <a:gd name="T10" fmla="*/ 11 w 16"/>
                <a:gd name="T11" fmla="*/ 4 h 4"/>
                <a:gd name="T12" fmla="*/ 12 w 16"/>
                <a:gd name="T13" fmla="*/ 3 h 4"/>
                <a:gd name="T14" fmla="*/ 12 w 16"/>
                <a:gd name="T15" fmla="*/ 3 h 4"/>
                <a:gd name="T16" fmla="*/ 13 w 16"/>
                <a:gd name="T17" fmla="*/ 3 h 4"/>
                <a:gd name="T18" fmla="*/ 13 w 16"/>
                <a:gd name="T19" fmla="*/ 4 h 4"/>
                <a:gd name="T20" fmla="*/ 13 w 16"/>
                <a:gd name="T21" fmla="*/ 4 h 4"/>
                <a:gd name="T22" fmla="*/ 16 w 16"/>
                <a:gd name="T23" fmla="*/ 2 h 4"/>
                <a:gd name="T24" fmla="*/ 6 w 16"/>
                <a:gd name="T25"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
                  <a:moveTo>
                    <a:pt x="6" y="0"/>
                  </a:moveTo>
                  <a:cubicBezTo>
                    <a:pt x="4" y="0"/>
                    <a:pt x="2" y="0"/>
                    <a:pt x="0" y="2"/>
                  </a:cubicBezTo>
                  <a:cubicBezTo>
                    <a:pt x="1" y="3"/>
                    <a:pt x="2" y="4"/>
                    <a:pt x="4" y="4"/>
                  </a:cubicBezTo>
                  <a:cubicBezTo>
                    <a:pt x="6" y="4"/>
                    <a:pt x="8" y="3"/>
                    <a:pt x="10" y="3"/>
                  </a:cubicBezTo>
                  <a:cubicBezTo>
                    <a:pt x="10" y="3"/>
                    <a:pt x="11" y="3"/>
                    <a:pt x="11" y="4"/>
                  </a:cubicBezTo>
                  <a:cubicBezTo>
                    <a:pt x="11" y="4"/>
                    <a:pt x="11" y="4"/>
                    <a:pt x="11" y="4"/>
                  </a:cubicBezTo>
                  <a:cubicBezTo>
                    <a:pt x="11" y="4"/>
                    <a:pt x="12" y="3"/>
                    <a:pt x="12" y="3"/>
                  </a:cubicBezTo>
                  <a:cubicBezTo>
                    <a:pt x="12" y="3"/>
                    <a:pt x="12" y="3"/>
                    <a:pt x="12" y="3"/>
                  </a:cubicBezTo>
                  <a:cubicBezTo>
                    <a:pt x="13" y="3"/>
                    <a:pt x="13" y="3"/>
                    <a:pt x="13" y="3"/>
                  </a:cubicBezTo>
                  <a:cubicBezTo>
                    <a:pt x="13" y="3"/>
                    <a:pt x="13" y="4"/>
                    <a:pt x="13" y="4"/>
                  </a:cubicBezTo>
                  <a:cubicBezTo>
                    <a:pt x="13" y="4"/>
                    <a:pt x="13" y="4"/>
                    <a:pt x="13" y="4"/>
                  </a:cubicBezTo>
                  <a:cubicBezTo>
                    <a:pt x="15" y="3"/>
                    <a:pt x="15" y="4"/>
                    <a:pt x="16" y="2"/>
                  </a:cubicBezTo>
                  <a:cubicBezTo>
                    <a:pt x="13"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42"/>
            <p:cNvSpPr/>
            <p:nvPr/>
          </p:nvSpPr>
          <p:spPr bwMode="auto">
            <a:xfrm>
              <a:off x="8201956" y="6667343"/>
              <a:ext cx="16947" cy="9886"/>
            </a:xfrm>
            <a:custGeom>
              <a:gdLst>
                <a:gd name="T0" fmla="*/ 5 w 5"/>
                <a:gd name="T1" fmla="*/ 0 h 3"/>
                <a:gd name="T2" fmla="*/ 0 w 5"/>
                <a:gd name="T3" fmla="*/ 1 h 3"/>
                <a:gd name="T4" fmla="*/ 3 w 5"/>
                <a:gd name="T5" fmla="*/ 3 h 3"/>
                <a:gd name="T6" fmla="*/ 5 w 5"/>
                <a:gd name="T7" fmla="*/ 0 h 3"/>
              </a:gdLst>
              <a:cxnLst>
                <a:cxn ang="0">
                  <a:pos x="T0" y="T1"/>
                </a:cxn>
                <a:cxn ang="0">
                  <a:pos x="T2" y="T3"/>
                </a:cxn>
                <a:cxn ang="0">
                  <a:pos x="T4" y="T5"/>
                </a:cxn>
                <a:cxn ang="0">
                  <a:pos x="T6" y="T7"/>
                </a:cxn>
              </a:cxnLst>
              <a:rect l="0" t="0" r="r" b="b"/>
              <a:pathLst>
                <a:path w="5" h="3">
                  <a:moveTo>
                    <a:pt x="5" y="0"/>
                  </a:moveTo>
                  <a:cubicBezTo>
                    <a:pt x="4" y="0"/>
                    <a:pt x="2" y="0"/>
                    <a:pt x="0" y="1"/>
                  </a:cubicBezTo>
                  <a:cubicBezTo>
                    <a:pt x="1" y="2"/>
                    <a:pt x="2" y="3"/>
                    <a:pt x="3" y="3"/>
                  </a:cubicBezTo>
                  <a:cubicBezTo>
                    <a:pt x="4" y="3"/>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43"/>
            <p:cNvSpPr/>
            <p:nvPr/>
          </p:nvSpPr>
          <p:spPr bwMode="auto">
            <a:xfrm>
              <a:off x="8081913" y="5658980"/>
              <a:ext cx="9886" cy="9886"/>
            </a:xfrm>
            <a:custGeom>
              <a:gdLst>
                <a:gd name="T0" fmla="*/ 1 w 3"/>
                <a:gd name="T1" fmla="*/ 0 h 3"/>
                <a:gd name="T2" fmla="*/ 0 w 3"/>
                <a:gd name="T3" fmla="*/ 1 h 3"/>
                <a:gd name="T4" fmla="*/ 3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1" y="0"/>
                    <a:pt x="0" y="0"/>
                    <a:pt x="0" y="1"/>
                  </a:cubicBezTo>
                  <a:cubicBezTo>
                    <a:pt x="1" y="2"/>
                    <a:pt x="2" y="2"/>
                    <a:pt x="3"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44"/>
            <p:cNvSpPr/>
            <p:nvPr/>
          </p:nvSpPr>
          <p:spPr bwMode="auto">
            <a:xfrm>
              <a:off x="8022598" y="5605313"/>
              <a:ext cx="9886" cy="9886"/>
            </a:xfrm>
            <a:custGeom>
              <a:gdLst>
                <a:gd name="T0" fmla="*/ 1 w 3"/>
                <a:gd name="T1" fmla="*/ 0 h 3"/>
                <a:gd name="T2" fmla="*/ 0 w 3"/>
                <a:gd name="T3" fmla="*/ 3 h 3"/>
                <a:gd name="T4" fmla="*/ 3 w 3"/>
                <a:gd name="T5" fmla="*/ 2 h 3"/>
                <a:gd name="T6" fmla="*/ 1 w 3"/>
                <a:gd name="T7" fmla="*/ 0 h 3"/>
              </a:gdLst>
              <a:cxnLst>
                <a:cxn ang="0">
                  <a:pos x="T0" y="T1"/>
                </a:cxn>
                <a:cxn ang="0">
                  <a:pos x="T2" y="T3"/>
                </a:cxn>
                <a:cxn ang="0">
                  <a:pos x="T4" y="T5"/>
                </a:cxn>
                <a:cxn ang="0">
                  <a:pos x="T6" y="T7"/>
                </a:cxn>
              </a:cxnLst>
              <a:rect l="0" t="0" r="r" b="b"/>
              <a:pathLst>
                <a:path w="3" h="3">
                  <a:moveTo>
                    <a:pt x="1" y="0"/>
                  </a:moveTo>
                  <a:cubicBezTo>
                    <a:pt x="0" y="0"/>
                    <a:pt x="0" y="1"/>
                    <a:pt x="0" y="3"/>
                  </a:cubicBezTo>
                  <a:cubicBezTo>
                    <a:pt x="1" y="3"/>
                    <a:pt x="2" y="2"/>
                    <a:pt x="3" y="2"/>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45"/>
            <p:cNvSpPr/>
            <p:nvPr/>
          </p:nvSpPr>
          <p:spPr bwMode="auto">
            <a:xfrm>
              <a:off x="8011300" y="6310038"/>
              <a:ext cx="43780" cy="36719"/>
            </a:xfrm>
            <a:custGeom>
              <a:gdLst>
                <a:gd name="T0" fmla="*/ 5 w 13"/>
                <a:gd name="T1" fmla="*/ 0 h 11"/>
                <a:gd name="T2" fmla="*/ 8 w 13"/>
                <a:gd name="T3" fmla="*/ 3 h 11"/>
                <a:gd name="T4" fmla="*/ 5 w 13"/>
                <a:gd name="T5" fmla="*/ 5 h 11"/>
                <a:gd name="T6" fmla="*/ 3 w 13"/>
                <a:gd name="T7" fmla="*/ 5 h 11"/>
                <a:gd name="T8" fmla="*/ 0 w 13"/>
                <a:gd name="T9" fmla="*/ 5 h 11"/>
                <a:gd name="T10" fmla="*/ 3 w 13"/>
                <a:gd name="T11" fmla="*/ 9 h 11"/>
                <a:gd name="T12" fmla="*/ 4 w 13"/>
                <a:gd name="T13" fmla="*/ 11 h 11"/>
                <a:gd name="T14" fmla="*/ 6 w 13"/>
                <a:gd name="T15" fmla="*/ 11 h 11"/>
                <a:gd name="T16" fmla="*/ 7 w 13"/>
                <a:gd name="T17" fmla="*/ 10 h 11"/>
                <a:gd name="T18" fmla="*/ 8 w 13"/>
                <a:gd name="T19" fmla="*/ 9 h 11"/>
                <a:gd name="T20" fmla="*/ 10 w 13"/>
                <a:gd name="T21" fmla="*/ 9 h 11"/>
                <a:gd name="T22" fmla="*/ 12 w 13"/>
                <a:gd name="T23" fmla="*/ 11 h 11"/>
                <a:gd name="T24" fmla="*/ 11 w 13"/>
                <a:gd name="T25" fmla="*/ 7 h 11"/>
                <a:gd name="T26" fmla="*/ 12 w 13"/>
                <a:gd name="T27" fmla="*/ 4 h 11"/>
                <a:gd name="T28" fmla="*/ 5 w 13"/>
                <a:gd name="T29"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1">
                  <a:moveTo>
                    <a:pt x="5" y="0"/>
                  </a:moveTo>
                  <a:cubicBezTo>
                    <a:pt x="6" y="1"/>
                    <a:pt x="7" y="2"/>
                    <a:pt x="8" y="3"/>
                  </a:cubicBezTo>
                  <a:cubicBezTo>
                    <a:pt x="7" y="4"/>
                    <a:pt x="6" y="4"/>
                    <a:pt x="5" y="5"/>
                  </a:cubicBezTo>
                  <a:cubicBezTo>
                    <a:pt x="4" y="5"/>
                    <a:pt x="4" y="5"/>
                    <a:pt x="3" y="5"/>
                  </a:cubicBezTo>
                  <a:cubicBezTo>
                    <a:pt x="2" y="5"/>
                    <a:pt x="1" y="5"/>
                    <a:pt x="0" y="5"/>
                  </a:cubicBezTo>
                  <a:cubicBezTo>
                    <a:pt x="0" y="6"/>
                    <a:pt x="2" y="8"/>
                    <a:pt x="3" y="9"/>
                  </a:cubicBezTo>
                  <a:cubicBezTo>
                    <a:pt x="4" y="11"/>
                    <a:pt x="4" y="11"/>
                    <a:pt x="4" y="11"/>
                  </a:cubicBezTo>
                  <a:cubicBezTo>
                    <a:pt x="5" y="11"/>
                    <a:pt x="5" y="11"/>
                    <a:pt x="6" y="11"/>
                  </a:cubicBezTo>
                  <a:cubicBezTo>
                    <a:pt x="7" y="10"/>
                    <a:pt x="7" y="10"/>
                    <a:pt x="7" y="10"/>
                  </a:cubicBezTo>
                  <a:cubicBezTo>
                    <a:pt x="8" y="9"/>
                    <a:pt x="8" y="9"/>
                    <a:pt x="8" y="9"/>
                  </a:cubicBezTo>
                  <a:cubicBezTo>
                    <a:pt x="9" y="9"/>
                    <a:pt x="9" y="9"/>
                    <a:pt x="10" y="9"/>
                  </a:cubicBezTo>
                  <a:cubicBezTo>
                    <a:pt x="11" y="9"/>
                    <a:pt x="11" y="9"/>
                    <a:pt x="12" y="11"/>
                  </a:cubicBezTo>
                  <a:cubicBezTo>
                    <a:pt x="13" y="9"/>
                    <a:pt x="12" y="9"/>
                    <a:pt x="11" y="7"/>
                  </a:cubicBezTo>
                  <a:cubicBezTo>
                    <a:pt x="11" y="6"/>
                    <a:pt x="12" y="5"/>
                    <a:pt x="12" y="4"/>
                  </a:cubicBezTo>
                  <a:cubicBezTo>
                    <a:pt x="11" y="2"/>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46"/>
            <p:cNvSpPr/>
            <p:nvPr/>
          </p:nvSpPr>
          <p:spPr bwMode="auto">
            <a:xfrm>
              <a:off x="8064966" y="6571308"/>
              <a:ext cx="14123" cy="5649"/>
            </a:xfrm>
            <a:custGeom>
              <a:gdLst>
                <a:gd name="T0" fmla="*/ 3 w 4"/>
                <a:gd name="T1" fmla="*/ 0 h 2"/>
                <a:gd name="T2" fmla="*/ 0 w 4"/>
                <a:gd name="T3" fmla="*/ 2 h 2"/>
                <a:gd name="T4" fmla="*/ 4 w 4"/>
                <a:gd name="T5" fmla="*/ 0 h 2"/>
                <a:gd name="T6" fmla="*/ 3 w 4"/>
                <a:gd name="T7" fmla="*/ 0 h 2"/>
              </a:gdLst>
              <a:cxnLst>
                <a:cxn ang="0">
                  <a:pos x="T0" y="T1"/>
                </a:cxn>
                <a:cxn ang="0">
                  <a:pos x="T2" y="T3"/>
                </a:cxn>
                <a:cxn ang="0">
                  <a:pos x="T4" y="T5"/>
                </a:cxn>
                <a:cxn ang="0">
                  <a:pos x="T6" y="T7"/>
                </a:cxn>
              </a:cxnLst>
              <a:rect l="0" t="0" r="r" b="b"/>
              <a:pathLst>
                <a:path w="4" h="2">
                  <a:moveTo>
                    <a:pt x="3" y="0"/>
                  </a:moveTo>
                  <a:cubicBezTo>
                    <a:pt x="1" y="0"/>
                    <a:pt x="0" y="1"/>
                    <a:pt x="0" y="2"/>
                  </a:cubicBezTo>
                  <a:cubicBezTo>
                    <a:pt x="1" y="1"/>
                    <a:pt x="2"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47"/>
            <p:cNvSpPr>
              <a:spLocks noEditPoints="1"/>
            </p:cNvSpPr>
            <p:nvPr/>
          </p:nvSpPr>
          <p:spPr bwMode="auto">
            <a:xfrm>
              <a:off x="8022598" y="6517642"/>
              <a:ext cx="125692" cy="66377"/>
            </a:xfrm>
            <a:custGeom>
              <a:gdLst>
                <a:gd name="T0" fmla="*/ 28 w 38"/>
                <a:gd name="T1" fmla="*/ 12 h 20"/>
                <a:gd name="T2" fmla="*/ 28 w 38"/>
                <a:gd name="T3" fmla="*/ 12 h 20"/>
                <a:gd name="T4" fmla="*/ 28 w 38"/>
                <a:gd name="T5" fmla="*/ 12 h 20"/>
                <a:gd name="T6" fmla="*/ 2 w 38"/>
                <a:gd name="T7" fmla="*/ 0 h 20"/>
                <a:gd name="T8" fmla="*/ 1 w 38"/>
                <a:gd name="T9" fmla="*/ 0 h 20"/>
                <a:gd name="T10" fmla="*/ 6 w 38"/>
                <a:gd name="T11" fmla="*/ 7 h 20"/>
                <a:gd name="T12" fmla="*/ 11 w 38"/>
                <a:gd name="T13" fmla="*/ 11 h 20"/>
                <a:gd name="T14" fmla="*/ 13 w 38"/>
                <a:gd name="T15" fmla="*/ 11 h 20"/>
                <a:gd name="T16" fmla="*/ 21 w 38"/>
                <a:gd name="T17" fmla="*/ 10 h 20"/>
                <a:gd name="T18" fmla="*/ 27 w 38"/>
                <a:gd name="T19" fmla="*/ 18 h 20"/>
                <a:gd name="T20" fmla="*/ 38 w 38"/>
                <a:gd name="T21" fmla="*/ 20 h 20"/>
                <a:gd name="T22" fmla="*/ 34 w 38"/>
                <a:gd name="T23" fmla="*/ 17 h 20"/>
                <a:gd name="T24" fmla="*/ 34 w 38"/>
                <a:gd name="T25" fmla="*/ 17 h 20"/>
                <a:gd name="T26" fmla="*/ 34 w 38"/>
                <a:gd name="T27" fmla="*/ 17 h 20"/>
                <a:gd name="T28" fmla="*/ 33 w 38"/>
                <a:gd name="T29" fmla="*/ 17 h 20"/>
                <a:gd name="T30" fmla="*/ 33 w 38"/>
                <a:gd name="T31" fmla="*/ 17 h 20"/>
                <a:gd name="T32" fmla="*/ 33 w 38"/>
                <a:gd name="T33" fmla="*/ 15 h 20"/>
                <a:gd name="T34" fmla="*/ 31 w 38"/>
                <a:gd name="T35" fmla="*/ 13 h 20"/>
                <a:gd name="T36" fmla="*/ 31 w 38"/>
                <a:gd name="T37" fmla="*/ 13 h 20"/>
                <a:gd name="T38" fmla="*/ 29 w 38"/>
                <a:gd name="T39" fmla="*/ 16 h 20"/>
                <a:gd name="T40" fmla="*/ 28 w 38"/>
                <a:gd name="T41" fmla="*/ 12 h 20"/>
                <a:gd name="T42" fmla="*/ 28 w 38"/>
                <a:gd name="T43" fmla="*/ 12 h 20"/>
                <a:gd name="T44" fmla="*/ 28 w 38"/>
                <a:gd name="T45" fmla="*/ 11 h 20"/>
                <a:gd name="T46" fmla="*/ 27 w 38"/>
                <a:gd name="T47" fmla="*/ 11 h 20"/>
                <a:gd name="T48" fmla="*/ 27 w 38"/>
                <a:gd name="T49" fmla="*/ 11 h 20"/>
                <a:gd name="T50" fmla="*/ 27 w 38"/>
                <a:gd name="T51" fmla="*/ 10 h 20"/>
                <a:gd name="T52" fmla="*/ 26 w 38"/>
                <a:gd name="T53" fmla="*/ 11 h 20"/>
                <a:gd name="T54" fmla="*/ 25 w 38"/>
                <a:gd name="T55" fmla="*/ 11 h 20"/>
                <a:gd name="T56" fmla="*/ 25 w 38"/>
                <a:gd name="T57" fmla="*/ 11 h 20"/>
                <a:gd name="T58" fmla="*/ 22 w 38"/>
                <a:gd name="T59" fmla="*/ 10 h 20"/>
                <a:gd name="T60" fmla="*/ 20 w 38"/>
                <a:gd name="T61" fmla="*/ 9 h 20"/>
                <a:gd name="T62" fmla="*/ 19 w 38"/>
                <a:gd name="T63" fmla="*/ 9 h 20"/>
                <a:gd name="T64" fmla="*/ 19 w 38"/>
                <a:gd name="T65" fmla="*/ 9 h 20"/>
                <a:gd name="T66" fmla="*/ 18 w 38"/>
                <a:gd name="T67" fmla="*/ 8 h 20"/>
                <a:gd name="T68" fmla="*/ 16 w 38"/>
                <a:gd name="T69" fmla="*/ 7 h 20"/>
                <a:gd name="T70" fmla="*/ 14 w 38"/>
                <a:gd name="T71" fmla="*/ 7 h 20"/>
                <a:gd name="T72" fmla="*/ 9 w 38"/>
                <a:gd name="T73" fmla="*/ 6 h 20"/>
                <a:gd name="T74" fmla="*/ 8 w 38"/>
                <a:gd name="T75" fmla="*/ 4 h 20"/>
                <a:gd name="T76" fmla="*/ 7 w 38"/>
                <a:gd name="T77" fmla="*/ 3 h 20"/>
                <a:gd name="T78" fmla="*/ 4 w 38"/>
                <a:gd name="T79" fmla="*/ 1 h 20"/>
                <a:gd name="T80" fmla="*/ 2 w 38"/>
                <a:gd name="T81"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 h="20">
                  <a:moveTo>
                    <a:pt x="28" y="12"/>
                  </a:moveTo>
                  <a:cubicBezTo>
                    <a:pt x="28" y="12"/>
                    <a:pt x="28" y="12"/>
                    <a:pt x="28" y="12"/>
                  </a:cubicBezTo>
                  <a:cubicBezTo>
                    <a:pt x="28" y="12"/>
                    <a:pt x="28" y="12"/>
                    <a:pt x="28" y="12"/>
                  </a:cubicBezTo>
                  <a:moveTo>
                    <a:pt x="2" y="0"/>
                  </a:moveTo>
                  <a:cubicBezTo>
                    <a:pt x="2" y="0"/>
                    <a:pt x="2" y="0"/>
                    <a:pt x="1" y="0"/>
                  </a:cubicBezTo>
                  <a:cubicBezTo>
                    <a:pt x="0" y="1"/>
                    <a:pt x="5" y="6"/>
                    <a:pt x="6" y="7"/>
                  </a:cubicBezTo>
                  <a:cubicBezTo>
                    <a:pt x="8" y="8"/>
                    <a:pt x="9" y="11"/>
                    <a:pt x="11" y="11"/>
                  </a:cubicBezTo>
                  <a:cubicBezTo>
                    <a:pt x="11" y="11"/>
                    <a:pt x="12" y="11"/>
                    <a:pt x="13" y="11"/>
                  </a:cubicBezTo>
                  <a:cubicBezTo>
                    <a:pt x="15" y="11"/>
                    <a:pt x="20" y="11"/>
                    <a:pt x="21" y="10"/>
                  </a:cubicBezTo>
                  <a:cubicBezTo>
                    <a:pt x="23" y="12"/>
                    <a:pt x="25" y="16"/>
                    <a:pt x="27" y="18"/>
                  </a:cubicBezTo>
                  <a:cubicBezTo>
                    <a:pt x="30" y="20"/>
                    <a:pt x="35" y="20"/>
                    <a:pt x="38" y="20"/>
                  </a:cubicBezTo>
                  <a:cubicBezTo>
                    <a:pt x="37" y="19"/>
                    <a:pt x="36" y="18"/>
                    <a:pt x="34" y="17"/>
                  </a:cubicBezTo>
                  <a:cubicBezTo>
                    <a:pt x="34" y="17"/>
                    <a:pt x="34" y="17"/>
                    <a:pt x="34" y="17"/>
                  </a:cubicBezTo>
                  <a:cubicBezTo>
                    <a:pt x="34" y="17"/>
                    <a:pt x="34" y="17"/>
                    <a:pt x="34" y="17"/>
                  </a:cubicBezTo>
                  <a:cubicBezTo>
                    <a:pt x="33" y="17"/>
                    <a:pt x="33" y="17"/>
                    <a:pt x="33" y="17"/>
                  </a:cubicBezTo>
                  <a:cubicBezTo>
                    <a:pt x="33" y="17"/>
                    <a:pt x="33" y="17"/>
                    <a:pt x="33" y="17"/>
                  </a:cubicBezTo>
                  <a:cubicBezTo>
                    <a:pt x="32" y="17"/>
                    <a:pt x="33" y="16"/>
                    <a:pt x="33" y="15"/>
                  </a:cubicBezTo>
                  <a:cubicBezTo>
                    <a:pt x="31" y="13"/>
                    <a:pt x="31" y="13"/>
                    <a:pt x="31" y="13"/>
                  </a:cubicBezTo>
                  <a:cubicBezTo>
                    <a:pt x="31" y="13"/>
                    <a:pt x="31" y="13"/>
                    <a:pt x="31" y="13"/>
                  </a:cubicBezTo>
                  <a:cubicBezTo>
                    <a:pt x="29" y="13"/>
                    <a:pt x="30" y="15"/>
                    <a:pt x="29" y="16"/>
                  </a:cubicBezTo>
                  <a:cubicBezTo>
                    <a:pt x="28" y="15"/>
                    <a:pt x="29" y="14"/>
                    <a:pt x="28" y="12"/>
                  </a:cubicBezTo>
                  <a:cubicBezTo>
                    <a:pt x="28" y="12"/>
                    <a:pt x="28" y="12"/>
                    <a:pt x="28" y="12"/>
                  </a:cubicBezTo>
                  <a:cubicBezTo>
                    <a:pt x="28" y="12"/>
                    <a:pt x="28" y="12"/>
                    <a:pt x="28" y="11"/>
                  </a:cubicBezTo>
                  <a:cubicBezTo>
                    <a:pt x="27" y="11"/>
                    <a:pt x="27" y="11"/>
                    <a:pt x="27" y="11"/>
                  </a:cubicBezTo>
                  <a:cubicBezTo>
                    <a:pt x="27" y="11"/>
                    <a:pt x="27" y="11"/>
                    <a:pt x="27" y="11"/>
                  </a:cubicBezTo>
                  <a:cubicBezTo>
                    <a:pt x="27" y="10"/>
                    <a:pt x="27" y="10"/>
                    <a:pt x="27" y="10"/>
                  </a:cubicBezTo>
                  <a:cubicBezTo>
                    <a:pt x="26" y="10"/>
                    <a:pt x="26" y="11"/>
                    <a:pt x="26" y="11"/>
                  </a:cubicBezTo>
                  <a:cubicBezTo>
                    <a:pt x="25" y="11"/>
                    <a:pt x="25" y="11"/>
                    <a:pt x="25" y="11"/>
                  </a:cubicBezTo>
                  <a:cubicBezTo>
                    <a:pt x="25" y="11"/>
                    <a:pt x="25" y="11"/>
                    <a:pt x="25" y="11"/>
                  </a:cubicBezTo>
                  <a:cubicBezTo>
                    <a:pt x="24" y="11"/>
                    <a:pt x="23" y="10"/>
                    <a:pt x="22" y="10"/>
                  </a:cubicBezTo>
                  <a:cubicBezTo>
                    <a:pt x="22" y="10"/>
                    <a:pt x="21" y="9"/>
                    <a:pt x="20" y="9"/>
                  </a:cubicBezTo>
                  <a:cubicBezTo>
                    <a:pt x="21" y="9"/>
                    <a:pt x="20" y="9"/>
                    <a:pt x="19" y="9"/>
                  </a:cubicBezTo>
                  <a:cubicBezTo>
                    <a:pt x="19" y="9"/>
                    <a:pt x="19" y="9"/>
                    <a:pt x="19" y="9"/>
                  </a:cubicBezTo>
                  <a:cubicBezTo>
                    <a:pt x="18" y="9"/>
                    <a:pt x="19" y="8"/>
                    <a:pt x="18" y="8"/>
                  </a:cubicBezTo>
                  <a:cubicBezTo>
                    <a:pt x="18" y="7"/>
                    <a:pt x="17" y="7"/>
                    <a:pt x="16" y="7"/>
                  </a:cubicBezTo>
                  <a:cubicBezTo>
                    <a:pt x="15" y="7"/>
                    <a:pt x="15" y="7"/>
                    <a:pt x="14" y="7"/>
                  </a:cubicBezTo>
                  <a:cubicBezTo>
                    <a:pt x="14" y="6"/>
                    <a:pt x="10" y="7"/>
                    <a:pt x="9" y="6"/>
                  </a:cubicBezTo>
                  <a:cubicBezTo>
                    <a:pt x="9" y="6"/>
                    <a:pt x="8" y="4"/>
                    <a:pt x="8" y="4"/>
                  </a:cubicBezTo>
                  <a:cubicBezTo>
                    <a:pt x="7" y="3"/>
                    <a:pt x="7" y="3"/>
                    <a:pt x="7" y="3"/>
                  </a:cubicBezTo>
                  <a:cubicBezTo>
                    <a:pt x="6" y="3"/>
                    <a:pt x="6" y="2"/>
                    <a:pt x="4" y="1"/>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48"/>
            <p:cNvSpPr/>
            <p:nvPr/>
          </p:nvSpPr>
          <p:spPr bwMode="auto">
            <a:xfrm>
              <a:off x="8072027" y="5695699"/>
              <a:ext cx="9886" cy="7061"/>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0" y="1"/>
                    <a:pt x="1"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49"/>
            <p:cNvSpPr/>
            <p:nvPr/>
          </p:nvSpPr>
          <p:spPr bwMode="auto">
            <a:xfrm>
              <a:off x="8105922" y="6584019"/>
              <a:ext cx="120043" cy="80500"/>
            </a:xfrm>
            <a:custGeom>
              <a:gdLst>
                <a:gd name="T0" fmla="*/ 15 w 36"/>
                <a:gd name="T1" fmla="*/ 0 h 24"/>
                <a:gd name="T2" fmla="*/ 11 w 36"/>
                <a:gd name="T3" fmla="*/ 4 h 24"/>
                <a:gd name="T4" fmla="*/ 10 w 36"/>
                <a:gd name="T5" fmla="*/ 4 h 24"/>
                <a:gd name="T6" fmla="*/ 7 w 36"/>
                <a:gd name="T7" fmla="*/ 3 h 24"/>
                <a:gd name="T8" fmla="*/ 14 w 36"/>
                <a:gd name="T9" fmla="*/ 8 h 24"/>
                <a:gd name="T10" fmla="*/ 15 w 36"/>
                <a:gd name="T11" fmla="*/ 7 h 24"/>
                <a:gd name="T12" fmla="*/ 15 w 36"/>
                <a:gd name="T13" fmla="*/ 7 h 24"/>
                <a:gd name="T14" fmla="*/ 16 w 36"/>
                <a:gd name="T15" fmla="*/ 9 h 24"/>
                <a:gd name="T16" fmla="*/ 14 w 36"/>
                <a:gd name="T17" fmla="*/ 10 h 24"/>
                <a:gd name="T18" fmla="*/ 9 w 36"/>
                <a:gd name="T19" fmla="*/ 8 h 24"/>
                <a:gd name="T20" fmla="*/ 6 w 36"/>
                <a:gd name="T21" fmla="*/ 6 h 24"/>
                <a:gd name="T22" fmla="*/ 3 w 36"/>
                <a:gd name="T23" fmla="*/ 7 h 24"/>
                <a:gd name="T24" fmla="*/ 5 w 36"/>
                <a:gd name="T25" fmla="*/ 12 h 24"/>
                <a:gd name="T26" fmla="*/ 6 w 36"/>
                <a:gd name="T27" fmla="*/ 11 h 24"/>
                <a:gd name="T28" fmla="*/ 10 w 36"/>
                <a:gd name="T29" fmla="*/ 11 h 24"/>
                <a:gd name="T30" fmla="*/ 9 w 36"/>
                <a:gd name="T31" fmla="*/ 16 h 24"/>
                <a:gd name="T32" fmla="*/ 9 w 36"/>
                <a:gd name="T33" fmla="*/ 19 h 24"/>
                <a:gd name="T34" fmla="*/ 14 w 36"/>
                <a:gd name="T35" fmla="*/ 16 h 24"/>
                <a:gd name="T36" fmla="*/ 15 w 36"/>
                <a:gd name="T37" fmla="*/ 15 h 24"/>
                <a:gd name="T38" fmla="*/ 17 w 36"/>
                <a:gd name="T39" fmla="*/ 15 h 24"/>
                <a:gd name="T40" fmla="*/ 19 w 36"/>
                <a:gd name="T41" fmla="*/ 16 h 24"/>
                <a:gd name="T42" fmla="*/ 20 w 36"/>
                <a:gd name="T43" fmla="*/ 15 h 24"/>
                <a:gd name="T44" fmla="*/ 20 w 36"/>
                <a:gd name="T45" fmla="*/ 15 h 24"/>
                <a:gd name="T46" fmla="*/ 24 w 36"/>
                <a:gd name="T47" fmla="*/ 16 h 24"/>
                <a:gd name="T48" fmla="*/ 20 w 36"/>
                <a:gd name="T49" fmla="*/ 18 h 24"/>
                <a:gd name="T50" fmla="*/ 18 w 36"/>
                <a:gd name="T51" fmla="*/ 21 h 24"/>
                <a:gd name="T52" fmla="*/ 16 w 36"/>
                <a:gd name="T53" fmla="*/ 22 h 24"/>
                <a:gd name="T54" fmla="*/ 20 w 36"/>
                <a:gd name="T55" fmla="*/ 24 h 24"/>
                <a:gd name="T56" fmla="*/ 25 w 36"/>
                <a:gd name="T57" fmla="*/ 21 h 24"/>
                <a:gd name="T58" fmla="*/ 26 w 36"/>
                <a:gd name="T59" fmla="*/ 23 h 24"/>
                <a:gd name="T60" fmla="*/ 28 w 36"/>
                <a:gd name="T61" fmla="*/ 20 h 24"/>
                <a:gd name="T62" fmla="*/ 31 w 36"/>
                <a:gd name="T63" fmla="*/ 21 h 24"/>
                <a:gd name="T64" fmla="*/ 31 w 36"/>
                <a:gd name="T65" fmla="*/ 21 h 24"/>
                <a:gd name="T66" fmla="*/ 30 w 36"/>
                <a:gd name="T67" fmla="*/ 17 h 24"/>
                <a:gd name="T68" fmla="*/ 31 w 36"/>
                <a:gd name="T69" fmla="*/ 17 h 24"/>
                <a:gd name="T70" fmla="*/ 31 w 36"/>
                <a:gd name="T71" fmla="*/ 15 h 24"/>
                <a:gd name="T72" fmla="*/ 31 w 36"/>
                <a:gd name="T73" fmla="*/ 15 h 24"/>
                <a:gd name="T74" fmla="*/ 32 w 36"/>
                <a:gd name="T75" fmla="*/ 15 h 24"/>
                <a:gd name="T76" fmla="*/ 32 w 36"/>
                <a:gd name="T77" fmla="*/ 16 h 24"/>
                <a:gd name="T78" fmla="*/ 34 w 36"/>
                <a:gd name="T79" fmla="*/ 15 h 24"/>
                <a:gd name="T80" fmla="*/ 36 w 36"/>
                <a:gd name="T81" fmla="*/ 14 h 24"/>
                <a:gd name="T82" fmla="*/ 31 w 36"/>
                <a:gd name="T83" fmla="*/ 10 h 24"/>
                <a:gd name="T84" fmla="*/ 30 w 36"/>
                <a:gd name="T85" fmla="*/ 11 h 24"/>
                <a:gd name="T86" fmla="*/ 29 w 36"/>
                <a:gd name="T87" fmla="*/ 11 h 24"/>
                <a:gd name="T88" fmla="*/ 29 w 36"/>
                <a:gd name="T89" fmla="*/ 7 h 24"/>
                <a:gd name="T90" fmla="*/ 26 w 36"/>
                <a:gd name="T91" fmla="*/ 6 h 24"/>
                <a:gd name="T92" fmla="*/ 22 w 36"/>
                <a:gd name="T93" fmla="*/ 6 h 24"/>
                <a:gd name="T94" fmla="*/ 20 w 36"/>
                <a:gd name="T95" fmla="*/ 3 h 24"/>
                <a:gd name="T96" fmla="*/ 18 w 36"/>
                <a:gd name="T97" fmla="*/ 3 h 24"/>
                <a:gd name="T98" fmla="*/ 16 w 36"/>
                <a:gd name="T99" fmla="*/ 1 h 24"/>
                <a:gd name="T100" fmla="*/ 16 w 36"/>
                <a:gd name="T101" fmla="*/ 1 h 24"/>
                <a:gd name="T102" fmla="*/ 15 w 36"/>
                <a:gd name="T103"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 h="24">
                  <a:moveTo>
                    <a:pt x="15" y="0"/>
                  </a:moveTo>
                  <a:cubicBezTo>
                    <a:pt x="14" y="0"/>
                    <a:pt x="11" y="4"/>
                    <a:pt x="11" y="4"/>
                  </a:cubicBezTo>
                  <a:cubicBezTo>
                    <a:pt x="11" y="4"/>
                    <a:pt x="10" y="4"/>
                    <a:pt x="10" y="4"/>
                  </a:cubicBezTo>
                  <a:cubicBezTo>
                    <a:pt x="9" y="4"/>
                    <a:pt x="8" y="3"/>
                    <a:pt x="7" y="3"/>
                  </a:cubicBezTo>
                  <a:cubicBezTo>
                    <a:pt x="9" y="5"/>
                    <a:pt x="12" y="8"/>
                    <a:pt x="14" y="8"/>
                  </a:cubicBezTo>
                  <a:cubicBezTo>
                    <a:pt x="14" y="8"/>
                    <a:pt x="15" y="7"/>
                    <a:pt x="15" y="7"/>
                  </a:cubicBezTo>
                  <a:cubicBezTo>
                    <a:pt x="15" y="7"/>
                    <a:pt x="15" y="7"/>
                    <a:pt x="15" y="7"/>
                  </a:cubicBezTo>
                  <a:cubicBezTo>
                    <a:pt x="17" y="7"/>
                    <a:pt x="17" y="8"/>
                    <a:pt x="16" y="9"/>
                  </a:cubicBezTo>
                  <a:cubicBezTo>
                    <a:pt x="15" y="10"/>
                    <a:pt x="14" y="10"/>
                    <a:pt x="14" y="10"/>
                  </a:cubicBezTo>
                  <a:cubicBezTo>
                    <a:pt x="12" y="10"/>
                    <a:pt x="10" y="9"/>
                    <a:pt x="9" y="8"/>
                  </a:cubicBezTo>
                  <a:cubicBezTo>
                    <a:pt x="8" y="7"/>
                    <a:pt x="7" y="6"/>
                    <a:pt x="6" y="6"/>
                  </a:cubicBezTo>
                  <a:cubicBezTo>
                    <a:pt x="3" y="7"/>
                    <a:pt x="3" y="7"/>
                    <a:pt x="3" y="7"/>
                  </a:cubicBezTo>
                  <a:cubicBezTo>
                    <a:pt x="0" y="9"/>
                    <a:pt x="3" y="12"/>
                    <a:pt x="5" y="12"/>
                  </a:cubicBezTo>
                  <a:cubicBezTo>
                    <a:pt x="5" y="12"/>
                    <a:pt x="6" y="12"/>
                    <a:pt x="6" y="11"/>
                  </a:cubicBezTo>
                  <a:cubicBezTo>
                    <a:pt x="7" y="11"/>
                    <a:pt x="9" y="11"/>
                    <a:pt x="10" y="11"/>
                  </a:cubicBezTo>
                  <a:cubicBezTo>
                    <a:pt x="10" y="12"/>
                    <a:pt x="10" y="14"/>
                    <a:pt x="9" y="16"/>
                  </a:cubicBezTo>
                  <a:cubicBezTo>
                    <a:pt x="9" y="17"/>
                    <a:pt x="11" y="18"/>
                    <a:pt x="9" y="19"/>
                  </a:cubicBezTo>
                  <a:cubicBezTo>
                    <a:pt x="11" y="18"/>
                    <a:pt x="13" y="18"/>
                    <a:pt x="14" y="16"/>
                  </a:cubicBezTo>
                  <a:cubicBezTo>
                    <a:pt x="15" y="15"/>
                    <a:pt x="15" y="15"/>
                    <a:pt x="15" y="15"/>
                  </a:cubicBezTo>
                  <a:cubicBezTo>
                    <a:pt x="15" y="15"/>
                    <a:pt x="16" y="15"/>
                    <a:pt x="17" y="15"/>
                  </a:cubicBezTo>
                  <a:cubicBezTo>
                    <a:pt x="17" y="15"/>
                    <a:pt x="18" y="16"/>
                    <a:pt x="19" y="16"/>
                  </a:cubicBezTo>
                  <a:cubicBezTo>
                    <a:pt x="19" y="16"/>
                    <a:pt x="20" y="15"/>
                    <a:pt x="20" y="15"/>
                  </a:cubicBezTo>
                  <a:cubicBezTo>
                    <a:pt x="20" y="15"/>
                    <a:pt x="20" y="15"/>
                    <a:pt x="20" y="15"/>
                  </a:cubicBezTo>
                  <a:cubicBezTo>
                    <a:pt x="22" y="15"/>
                    <a:pt x="22" y="15"/>
                    <a:pt x="24" y="16"/>
                  </a:cubicBezTo>
                  <a:cubicBezTo>
                    <a:pt x="23" y="17"/>
                    <a:pt x="21" y="17"/>
                    <a:pt x="20" y="18"/>
                  </a:cubicBezTo>
                  <a:cubicBezTo>
                    <a:pt x="20" y="19"/>
                    <a:pt x="19" y="20"/>
                    <a:pt x="18" y="21"/>
                  </a:cubicBezTo>
                  <a:cubicBezTo>
                    <a:pt x="18" y="22"/>
                    <a:pt x="17" y="22"/>
                    <a:pt x="16" y="22"/>
                  </a:cubicBezTo>
                  <a:cubicBezTo>
                    <a:pt x="17" y="23"/>
                    <a:pt x="19" y="24"/>
                    <a:pt x="20" y="24"/>
                  </a:cubicBezTo>
                  <a:cubicBezTo>
                    <a:pt x="23" y="23"/>
                    <a:pt x="23" y="23"/>
                    <a:pt x="25" y="21"/>
                  </a:cubicBezTo>
                  <a:cubicBezTo>
                    <a:pt x="25" y="22"/>
                    <a:pt x="26" y="23"/>
                    <a:pt x="26" y="23"/>
                  </a:cubicBezTo>
                  <a:cubicBezTo>
                    <a:pt x="27" y="23"/>
                    <a:pt x="27" y="21"/>
                    <a:pt x="28" y="20"/>
                  </a:cubicBezTo>
                  <a:cubicBezTo>
                    <a:pt x="29" y="20"/>
                    <a:pt x="29" y="21"/>
                    <a:pt x="31" y="21"/>
                  </a:cubicBezTo>
                  <a:cubicBezTo>
                    <a:pt x="31" y="21"/>
                    <a:pt x="31" y="21"/>
                    <a:pt x="31" y="21"/>
                  </a:cubicBezTo>
                  <a:cubicBezTo>
                    <a:pt x="34" y="21"/>
                    <a:pt x="30" y="18"/>
                    <a:pt x="30" y="17"/>
                  </a:cubicBezTo>
                  <a:cubicBezTo>
                    <a:pt x="30" y="17"/>
                    <a:pt x="31" y="17"/>
                    <a:pt x="31" y="17"/>
                  </a:cubicBezTo>
                  <a:cubicBezTo>
                    <a:pt x="32" y="17"/>
                    <a:pt x="31" y="16"/>
                    <a:pt x="31" y="15"/>
                  </a:cubicBezTo>
                  <a:cubicBezTo>
                    <a:pt x="31" y="15"/>
                    <a:pt x="31" y="15"/>
                    <a:pt x="31" y="15"/>
                  </a:cubicBezTo>
                  <a:cubicBezTo>
                    <a:pt x="31" y="15"/>
                    <a:pt x="32" y="15"/>
                    <a:pt x="32" y="15"/>
                  </a:cubicBezTo>
                  <a:cubicBezTo>
                    <a:pt x="32" y="16"/>
                    <a:pt x="32" y="16"/>
                    <a:pt x="32" y="16"/>
                  </a:cubicBezTo>
                  <a:cubicBezTo>
                    <a:pt x="33" y="16"/>
                    <a:pt x="34" y="16"/>
                    <a:pt x="34" y="15"/>
                  </a:cubicBezTo>
                  <a:cubicBezTo>
                    <a:pt x="35" y="15"/>
                    <a:pt x="35" y="14"/>
                    <a:pt x="36" y="14"/>
                  </a:cubicBezTo>
                  <a:cubicBezTo>
                    <a:pt x="34" y="13"/>
                    <a:pt x="33" y="10"/>
                    <a:pt x="31" y="10"/>
                  </a:cubicBezTo>
                  <a:cubicBezTo>
                    <a:pt x="31" y="10"/>
                    <a:pt x="30" y="11"/>
                    <a:pt x="30" y="11"/>
                  </a:cubicBezTo>
                  <a:cubicBezTo>
                    <a:pt x="29" y="11"/>
                    <a:pt x="29" y="11"/>
                    <a:pt x="29" y="11"/>
                  </a:cubicBezTo>
                  <a:cubicBezTo>
                    <a:pt x="28" y="11"/>
                    <a:pt x="30" y="8"/>
                    <a:pt x="29" y="7"/>
                  </a:cubicBezTo>
                  <a:cubicBezTo>
                    <a:pt x="29" y="6"/>
                    <a:pt x="26" y="6"/>
                    <a:pt x="26" y="6"/>
                  </a:cubicBezTo>
                  <a:cubicBezTo>
                    <a:pt x="25" y="6"/>
                    <a:pt x="22" y="6"/>
                    <a:pt x="22" y="6"/>
                  </a:cubicBezTo>
                  <a:cubicBezTo>
                    <a:pt x="21" y="5"/>
                    <a:pt x="21" y="3"/>
                    <a:pt x="20" y="3"/>
                  </a:cubicBezTo>
                  <a:cubicBezTo>
                    <a:pt x="19" y="3"/>
                    <a:pt x="19" y="3"/>
                    <a:pt x="18" y="3"/>
                  </a:cubicBezTo>
                  <a:cubicBezTo>
                    <a:pt x="19" y="2"/>
                    <a:pt x="17" y="1"/>
                    <a:pt x="16" y="1"/>
                  </a:cubicBezTo>
                  <a:cubicBezTo>
                    <a:pt x="16" y="1"/>
                    <a:pt x="16" y="1"/>
                    <a:pt x="16" y="1"/>
                  </a:cubicBezTo>
                  <a:cubicBezTo>
                    <a:pt x="16" y="1"/>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50"/>
            <p:cNvSpPr/>
            <p:nvPr/>
          </p:nvSpPr>
          <p:spPr bwMode="auto">
            <a:xfrm>
              <a:off x="8069203" y="5766313"/>
              <a:ext cx="29658" cy="12710"/>
            </a:xfrm>
            <a:custGeom>
              <a:gdLst>
                <a:gd name="T0" fmla="*/ 3 w 9"/>
                <a:gd name="T1" fmla="*/ 0 h 4"/>
                <a:gd name="T2" fmla="*/ 1 w 9"/>
                <a:gd name="T3" fmla="*/ 2 h 4"/>
                <a:gd name="T4" fmla="*/ 4 w 9"/>
                <a:gd name="T5" fmla="*/ 4 h 4"/>
                <a:gd name="T6" fmla="*/ 9 w 9"/>
                <a:gd name="T7" fmla="*/ 3 h 4"/>
                <a:gd name="T8" fmla="*/ 3 w 9"/>
                <a:gd name="T9" fmla="*/ 0 h 4"/>
              </a:gdLst>
              <a:cxnLst>
                <a:cxn ang="0">
                  <a:pos x="T0" y="T1"/>
                </a:cxn>
                <a:cxn ang="0">
                  <a:pos x="T2" y="T3"/>
                </a:cxn>
                <a:cxn ang="0">
                  <a:pos x="T4" y="T5"/>
                </a:cxn>
                <a:cxn ang="0">
                  <a:pos x="T6" y="T7"/>
                </a:cxn>
                <a:cxn ang="0">
                  <a:pos x="T8" y="T9"/>
                </a:cxn>
              </a:cxnLst>
              <a:rect l="0" t="0" r="r" b="b"/>
              <a:pathLst>
                <a:path w="9" h="4">
                  <a:moveTo>
                    <a:pt x="3" y="0"/>
                  </a:moveTo>
                  <a:cubicBezTo>
                    <a:pt x="2" y="0"/>
                    <a:pt x="2" y="0"/>
                    <a:pt x="1" y="2"/>
                  </a:cubicBezTo>
                  <a:cubicBezTo>
                    <a:pt x="0" y="3"/>
                    <a:pt x="3" y="4"/>
                    <a:pt x="4" y="4"/>
                  </a:cubicBezTo>
                  <a:cubicBezTo>
                    <a:pt x="6" y="4"/>
                    <a:pt x="8" y="4"/>
                    <a:pt x="9" y="3"/>
                  </a:cubicBezTo>
                  <a:cubicBezTo>
                    <a:pt x="8" y="3"/>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51"/>
            <p:cNvSpPr/>
            <p:nvPr/>
          </p:nvSpPr>
          <p:spPr bwMode="auto">
            <a:xfrm>
              <a:off x="8321999" y="6603791"/>
              <a:ext cx="43780" cy="70614"/>
            </a:xfrm>
            <a:custGeom>
              <a:gdLst>
                <a:gd name="T0" fmla="*/ 10 w 13"/>
                <a:gd name="T1" fmla="*/ 0 h 21"/>
                <a:gd name="T2" fmla="*/ 5 w 13"/>
                <a:gd name="T3" fmla="*/ 4 h 21"/>
                <a:gd name="T4" fmla="*/ 4 w 13"/>
                <a:gd name="T5" fmla="*/ 8 h 21"/>
                <a:gd name="T6" fmla="*/ 3 w 13"/>
                <a:gd name="T7" fmla="*/ 9 h 21"/>
                <a:gd name="T8" fmla="*/ 3 w 13"/>
                <a:gd name="T9" fmla="*/ 9 h 21"/>
                <a:gd name="T10" fmla="*/ 3 w 13"/>
                <a:gd name="T11" fmla="*/ 9 h 21"/>
                <a:gd name="T12" fmla="*/ 2 w 13"/>
                <a:gd name="T13" fmla="*/ 9 h 21"/>
                <a:gd name="T14" fmla="*/ 0 w 13"/>
                <a:gd name="T15" fmla="*/ 14 h 21"/>
                <a:gd name="T16" fmla="*/ 9 w 13"/>
                <a:gd name="T17" fmla="*/ 21 h 21"/>
                <a:gd name="T18" fmla="*/ 7 w 13"/>
                <a:gd name="T19" fmla="*/ 15 h 21"/>
                <a:gd name="T20" fmla="*/ 5 w 13"/>
                <a:gd name="T21" fmla="*/ 12 h 21"/>
                <a:gd name="T22" fmla="*/ 11 w 13"/>
                <a:gd name="T23" fmla="*/ 15 h 21"/>
                <a:gd name="T24" fmla="*/ 12 w 13"/>
                <a:gd name="T25" fmla="*/ 15 h 21"/>
                <a:gd name="T26" fmla="*/ 10 w 13"/>
                <a:gd name="T27" fmla="*/ 9 h 21"/>
                <a:gd name="T28" fmla="*/ 10 w 13"/>
                <a:gd name="T29"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1">
                  <a:moveTo>
                    <a:pt x="10" y="0"/>
                  </a:moveTo>
                  <a:cubicBezTo>
                    <a:pt x="9" y="1"/>
                    <a:pt x="6" y="3"/>
                    <a:pt x="5" y="4"/>
                  </a:cubicBezTo>
                  <a:cubicBezTo>
                    <a:pt x="4" y="5"/>
                    <a:pt x="4" y="7"/>
                    <a:pt x="4" y="8"/>
                  </a:cubicBezTo>
                  <a:cubicBezTo>
                    <a:pt x="4" y="9"/>
                    <a:pt x="4" y="9"/>
                    <a:pt x="3" y="9"/>
                  </a:cubicBezTo>
                  <a:cubicBezTo>
                    <a:pt x="3" y="9"/>
                    <a:pt x="3" y="9"/>
                    <a:pt x="3" y="9"/>
                  </a:cubicBezTo>
                  <a:cubicBezTo>
                    <a:pt x="3" y="9"/>
                    <a:pt x="3" y="9"/>
                    <a:pt x="3" y="9"/>
                  </a:cubicBezTo>
                  <a:cubicBezTo>
                    <a:pt x="3" y="9"/>
                    <a:pt x="3" y="9"/>
                    <a:pt x="2" y="9"/>
                  </a:cubicBezTo>
                  <a:cubicBezTo>
                    <a:pt x="0" y="11"/>
                    <a:pt x="0" y="10"/>
                    <a:pt x="0" y="14"/>
                  </a:cubicBezTo>
                  <a:cubicBezTo>
                    <a:pt x="1" y="18"/>
                    <a:pt x="6" y="20"/>
                    <a:pt x="9" y="21"/>
                  </a:cubicBezTo>
                  <a:cubicBezTo>
                    <a:pt x="9" y="19"/>
                    <a:pt x="8" y="17"/>
                    <a:pt x="7" y="15"/>
                  </a:cubicBezTo>
                  <a:cubicBezTo>
                    <a:pt x="6" y="14"/>
                    <a:pt x="5" y="13"/>
                    <a:pt x="5" y="12"/>
                  </a:cubicBezTo>
                  <a:cubicBezTo>
                    <a:pt x="6" y="12"/>
                    <a:pt x="9" y="15"/>
                    <a:pt x="11" y="15"/>
                  </a:cubicBezTo>
                  <a:cubicBezTo>
                    <a:pt x="12" y="15"/>
                    <a:pt x="12" y="15"/>
                    <a:pt x="12" y="15"/>
                  </a:cubicBezTo>
                  <a:cubicBezTo>
                    <a:pt x="13" y="14"/>
                    <a:pt x="11" y="10"/>
                    <a:pt x="10" y="9"/>
                  </a:cubicBezTo>
                  <a:cubicBezTo>
                    <a:pt x="10" y="6"/>
                    <a:pt x="10"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52"/>
            <p:cNvSpPr/>
            <p:nvPr/>
          </p:nvSpPr>
          <p:spPr bwMode="auto">
            <a:xfrm>
              <a:off x="7964695" y="6106671"/>
              <a:ext cx="90385" cy="134166"/>
            </a:xfrm>
            <a:custGeom>
              <a:gdLst>
                <a:gd name="T0" fmla="*/ 18 w 27"/>
                <a:gd name="T1" fmla="*/ 0 h 40"/>
                <a:gd name="T2" fmla="*/ 15 w 27"/>
                <a:gd name="T3" fmla="*/ 0 h 40"/>
                <a:gd name="T4" fmla="*/ 12 w 27"/>
                <a:gd name="T5" fmla="*/ 4 h 40"/>
                <a:gd name="T6" fmla="*/ 15 w 27"/>
                <a:gd name="T7" fmla="*/ 4 h 40"/>
                <a:gd name="T8" fmla="*/ 11 w 27"/>
                <a:gd name="T9" fmla="*/ 6 h 40"/>
                <a:gd name="T10" fmla="*/ 14 w 27"/>
                <a:gd name="T11" fmla="*/ 7 h 40"/>
                <a:gd name="T12" fmla="*/ 16 w 27"/>
                <a:gd name="T13" fmla="*/ 7 h 40"/>
                <a:gd name="T14" fmla="*/ 13 w 27"/>
                <a:gd name="T15" fmla="*/ 9 h 40"/>
                <a:gd name="T16" fmla="*/ 16 w 27"/>
                <a:gd name="T17" fmla="*/ 12 h 40"/>
                <a:gd name="T18" fmla="*/ 14 w 27"/>
                <a:gd name="T19" fmla="*/ 20 h 40"/>
                <a:gd name="T20" fmla="*/ 10 w 27"/>
                <a:gd name="T21" fmla="*/ 15 h 40"/>
                <a:gd name="T22" fmla="*/ 9 w 27"/>
                <a:gd name="T23" fmla="*/ 18 h 40"/>
                <a:gd name="T24" fmla="*/ 8 w 27"/>
                <a:gd name="T25" fmla="*/ 18 h 40"/>
                <a:gd name="T26" fmla="*/ 7 w 27"/>
                <a:gd name="T27" fmla="*/ 19 h 40"/>
                <a:gd name="T28" fmla="*/ 5 w 27"/>
                <a:gd name="T29" fmla="*/ 17 h 40"/>
                <a:gd name="T30" fmla="*/ 4 w 27"/>
                <a:gd name="T31" fmla="*/ 19 h 40"/>
                <a:gd name="T32" fmla="*/ 2 w 27"/>
                <a:gd name="T33" fmla="*/ 17 h 40"/>
                <a:gd name="T34" fmla="*/ 2 w 27"/>
                <a:gd name="T35" fmla="*/ 17 h 40"/>
                <a:gd name="T36" fmla="*/ 3 w 27"/>
                <a:gd name="T37" fmla="*/ 23 h 40"/>
                <a:gd name="T38" fmla="*/ 8 w 27"/>
                <a:gd name="T39" fmla="*/ 33 h 40"/>
                <a:gd name="T40" fmla="*/ 9 w 27"/>
                <a:gd name="T41" fmla="*/ 34 h 40"/>
                <a:gd name="T42" fmla="*/ 11 w 27"/>
                <a:gd name="T43" fmla="*/ 33 h 40"/>
                <a:gd name="T44" fmla="*/ 12 w 27"/>
                <a:gd name="T45" fmla="*/ 31 h 40"/>
                <a:gd name="T46" fmla="*/ 13 w 27"/>
                <a:gd name="T47" fmla="*/ 29 h 40"/>
                <a:gd name="T48" fmla="*/ 12 w 27"/>
                <a:gd name="T49" fmla="*/ 23 h 40"/>
                <a:gd name="T50" fmla="*/ 14 w 27"/>
                <a:gd name="T51" fmla="*/ 24 h 40"/>
                <a:gd name="T52" fmla="*/ 17 w 27"/>
                <a:gd name="T53" fmla="*/ 21 h 40"/>
                <a:gd name="T54" fmla="*/ 20 w 27"/>
                <a:gd name="T55" fmla="*/ 19 h 40"/>
                <a:gd name="T56" fmla="*/ 15 w 27"/>
                <a:gd name="T57" fmla="*/ 25 h 40"/>
                <a:gd name="T58" fmla="*/ 18 w 27"/>
                <a:gd name="T59" fmla="*/ 28 h 40"/>
                <a:gd name="T60" fmla="*/ 18 w 27"/>
                <a:gd name="T61" fmla="*/ 28 h 40"/>
                <a:gd name="T62" fmla="*/ 16 w 27"/>
                <a:gd name="T63" fmla="*/ 28 h 40"/>
                <a:gd name="T64" fmla="*/ 15 w 27"/>
                <a:gd name="T65" fmla="*/ 27 h 40"/>
                <a:gd name="T66" fmla="*/ 14 w 27"/>
                <a:gd name="T67" fmla="*/ 28 h 40"/>
                <a:gd name="T68" fmla="*/ 16 w 27"/>
                <a:gd name="T69" fmla="*/ 35 h 40"/>
                <a:gd name="T70" fmla="*/ 14 w 27"/>
                <a:gd name="T71" fmla="*/ 36 h 40"/>
                <a:gd name="T72" fmla="*/ 16 w 27"/>
                <a:gd name="T73" fmla="*/ 36 h 40"/>
                <a:gd name="T74" fmla="*/ 18 w 27"/>
                <a:gd name="T75" fmla="*/ 36 h 40"/>
                <a:gd name="T76" fmla="*/ 19 w 27"/>
                <a:gd name="T77" fmla="*/ 37 h 40"/>
                <a:gd name="T78" fmla="*/ 16 w 27"/>
                <a:gd name="T79" fmla="*/ 39 h 40"/>
                <a:gd name="T80" fmla="*/ 19 w 27"/>
                <a:gd name="T81" fmla="*/ 40 h 40"/>
                <a:gd name="T82" fmla="*/ 21 w 27"/>
                <a:gd name="T83" fmla="*/ 40 h 40"/>
                <a:gd name="T84" fmla="*/ 24 w 27"/>
                <a:gd name="T85" fmla="*/ 34 h 40"/>
                <a:gd name="T86" fmla="*/ 25 w 27"/>
                <a:gd name="T87" fmla="*/ 35 h 40"/>
                <a:gd name="T88" fmla="*/ 24 w 27"/>
                <a:gd name="T89" fmla="*/ 31 h 40"/>
                <a:gd name="T90" fmla="*/ 25 w 27"/>
                <a:gd name="T91" fmla="*/ 31 h 40"/>
                <a:gd name="T92" fmla="*/ 23 w 27"/>
                <a:gd name="T93" fmla="*/ 25 h 40"/>
                <a:gd name="T94" fmla="*/ 25 w 27"/>
                <a:gd name="T95" fmla="*/ 18 h 40"/>
                <a:gd name="T96" fmla="*/ 24 w 27"/>
                <a:gd name="T97" fmla="*/ 10 h 40"/>
                <a:gd name="T98" fmla="*/ 24 w 27"/>
                <a:gd name="T99" fmla="*/ 9 h 40"/>
                <a:gd name="T100" fmla="*/ 24 w 27"/>
                <a:gd name="T101" fmla="*/ 8 h 40"/>
                <a:gd name="T102" fmla="*/ 23 w 27"/>
                <a:gd name="T103" fmla="*/ 4 h 40"/>
                <a:gd name="T104" fmla="*/ 23 w 27"/>
                <a:gd name="T105" fmla="*/ 1 h 40"/>
                <a:gd name="T106" fmla="*/ 22 w 27"/>
                <a:gd name="T107" fmla="*/ 0 h 40"/>
                <a:gd name="T108" fmla="*/ 22 w 27"/>
                <a:gd name="T109" fmla="*/ 1 h 40"/>
                <a:gd name="T110" fmla="*/ 21 w 27"/>
                <a:gd name="T111" fmla="*/ 1 h 40"/>
                <a:gd name="T112" fmla="*/ 20 w 27"/>
                <a:gd name="T113" fmla="*/ 1 h 40"/>
                <a:gd name="T114" fmla="*/ 18 w 27"/>
                <a:gd name="T115"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40">
                  <a:moveTo>
                    <a:pt x="18" y="0"/>
                  </a:moveTo>
                  <a:cubicBezTo>
                    <a:pt x="17" y="0"/>
                    <a:pt x="16" y="0"/>
                    <a:pt x="15" y="0"/>
                  </a:cubicBezTo>
                  <a:cubicBezTo>
                    <a:pt x="12" y="2"/>
                    <a:pt x="10" y="4"/>
                    <a:pt x="12" y="4"/>
                  </a:cubicBezTo>
                  <a:cubicBezTo>
                    <a:pt x="13" y="4"/>
                    <a:pt x="14" y="4"/>
                    <a:pt x="15" y="4"/>
                  </a:cubicBezTo>
                  <a:cubicBezTo>
                    <a:pt x="14" y="5"/>
                    <a:pt x="12" y="5"/>
                    <a:pt x="11" y="6"/>
                  </a:cubicBezTo>
                  <a:cubicBezTo>
                    <a:pt x="12" y="7"/>
                    <a:pt x="13" y="7"/>
                    <a:pt x="14" y="7"/>
                  </a:cubicBezTo>
                  <a:cubicBezTo>
                    <a:pt x="15" y="7"/>
                    <a:pt x="15" y="7"/>
                    <a:pt x="16" y="7"/>
                  </a:cubicBezTo>
                  <a:cubicBezTo>
                    <a:pt x="15" y="8"/>
                    <a:pt x="14" y="8"/>
                    <a:pt x="13" y="9"/>
                  </a:cubicBezTo>
                  <a:cubicBezTo>
                    <a:pt x="14" y="10"/>
                    <a:pt x="16" y="11"/>
                    <a:pt x="16" y="12"/>
                  </a:cubicBezTo>
                  <a:cubicBezTo>
                    <a:pt x="16" y="15"/>
                    <a:pt x="15" y="17"/>
                    <a:pt x="14" y="20"/>
                  </a:cubicBezTo>
                  <a:cubicBezTo>
                    <a:pt x="14" y="18"/>
                    <a:pt x="12" y="17"/>
                    <a:pt x="10" y="15"/>
                  </a:cubicBezTo>
                  <a:cubicBezTo>
                    <a:pt x="9" y="15"/>
                    <a:pt x="9" y="17"/>
                    <a:pt x="9" y="18"/>
                  </a:cubicBezTo>
                  <a:cubicBezTo>
                    <a:pt x="8" y="18"/>
                    <a:pt x="8" y="18"/>
                    <a:pt x="8" y="18"/>
                  </a:cubicBezTo>
                  <a:cubicBezTo>
                    <a:pt x="8" y="18"/>
                    <a:pt x="8" y="18"/>
                    <a:pt x="7" y="19"/>
                  </a:cubicBezTo>
                  <a:cubicBezTo>
                    <a:pt x="7" y="18"/>
                    <a:pt x="6" y="17"/>
                    <a:pt x="5" y="17"/>
                  </a:cubicBezTo>
                  <a:cubicBezTo>
                    <a:pt x="4" y="17"/>
                    <a:pt x="4" y="17"/>
                    <a:pt x="4" y="19"/>
                  </a:cubicBezTo>
                  <a:cubicBezTo>
                    <a:pt x="4" y="18"/>
                    <a:pt x="3" y="17"/>
                    <a:pt x="2" y="17"/>
                  </a:cubicBezTo>
                  <a:cubicBezTo>
                    <a:pt x="2" y="17"/>
                    <a:pt x="2" y="17"/>
                    <a:pt x="2" y="17"/>
                  </a:cubicBezTo>
                  <a:cubicBezTo>
                    <a:pt x="0" y="18"/>
                    <a:pt x="2" y="21"/>
                    <a:pt x="3" y="23"/>
                  </a:cubicBezTo>
                  <a:cubicBezTo>
                    <a:pt x="4" y="26"/>
                    <a:pt x="5" y="30"/>
                    <a:pt x="8" y="33"/>
                  </a:cubicBezTo>
                  <a:cubicBezTo>
                    <a:pt x="8" y="34"/>
                    <a:pt x="9" y="34"/>
                    <a:pt x="9" y="34"/>
                  </a:cubicBezTo>
                  <a:cubicBezTo>
                    <a:pt x="10" y="34"/>
                    <a:pt x="10" y="34"/>
                    <a:pt x="11" y="33"/>
                  </a:cubicBezTo>
                  <a:cubicBezTo>
                    <a:pt x="13" y="33"/>
                    <a:pt x="12" y="32"/>
                    <a:pt x="12" y="31"/>
                  </a:cubicBezTo>
                  <a:cubicBezTo>
                    <a:pt x="13" y="29"/>
                    <a:pt x="13" y="29"/>
                    <a:pt x="13" y="29"/>
                  </a:cubicBezTo>
                  <a:cubicBezTo>
                    <a:pt x="13" y="26"/>
                    <a:pt x="11" y="25"/>
                    <a:pt x="12" y="23"/>
                  </a:cubicBezTo>
                  <a:cubicBezTo>
                    <a:pt x="13" y="24"/>
                    <a:pt x="14" y="24"/>
                    <a:pt x="14" y="24"/>
                  </a:cubicBezTo>
                  <a:cubicBezTo>
                    <a:pt x="14" y="23"/>
                    <a:pt x="18" y="23"/>
                    <a:pt x="17" y="21"/>
                  </a:cubicBezTo>
                  <a:cubicBezTo>
                    <a:pt x="18" y="20"/>
                    <a:pt x="19" y="20"/>
                    <a:pt x="20" y="19"/>
                  </a:cubicBezTo>
                  <a:cubicBezTo>
                    <a:pt x="19" y="22"/>
                    <a:pt x="17" y="23"/>
                    <a:pt x="15" y="25"/>
                  </a:cubicBezTo>
                  <a:cubicBezTo>
                    <a:pt x="16" y="26"/>
                    <a:pt x="17" y="26"/>
                    <a:pt x="18" y="28"/>
                  </a:cubicBezTo>
                  <a:cubicBezTo>
                    <a:pt x="18" y="28"/>
                    <a:pt x="18" y="28"/>
                    <a:pt x="18" y="28"/>
                  </a:cubicBezTo>
                  <a:cubicBezTo>
                    <a:pt x="17" y="28"/>
                    <a:pt x="17" y="28"/>
                    <a:pt x="16" y="28"/>
                  </a:cubicBezTo>
                  <a:cubicBezTo>
                    <a:pt x="16" y="27"/>
                    <a:pt x="16" y="27"/>
                    <a:pt x="15" y="27"/>
                  </a:cubicBezTo>
                  <a:cubicBezTo>
                    <a:pt x="15" y="27"/>
                    <a:pt x="14" y="28"/>
                    <a:pt x="14" y="28"/>
                  </a:cubicBezTo>
                  <a:cubicBezTo>
                    <a:pt x="13" y="31"/>
                    <a:pt x="19" y="31"/>
                    <a:pt x="16" y="35"/>
                  </a:cubicBezTo>
                  <a:cubicBezTo>
                    <a:pt x="16" y="35"/>
                    <a:pt x="12" y="36"/>
                    <a:pt x="14" y="36"/>
                  </a:cubicBezTo>
                  <a:cubicBezTo>
                    <a:pt x="15" y="36"/>
                    <a:pt x="15" y="36"/>
                    <a:pt x="16" y="36"/>
                  </a:cubicBezTo>
                  <a:cubicBezTo>
                    <a:pt x="16" y="36"/>
                    <a:pt x="17" y="36"/>
                    <a:pt x="18" y="36"/>
                  </a:cubicBezTo>
                  <a:cubicBezTo>
                    <a:pt x="18" y="36"/>
                    <a:pt x="19" y="36"/>
                    <a:pt x="19" y="37"/>
                  </a:cubicBezTo>
                  <a:cubicBezTo>
                    <a:pt x="19" y="37"/>
                    <a:pt x="13" y="38"/>
                    <a:pt x="16" y="39"/>
                  </a:cubicBezTo>
                  <a:cubicBezTo>
                    <a:pt x="17" y="40"/>
                    <a:pt x="18" y="40"/>
                    <a:pt x="19" y="40"/>
                  </a:cubicBezTo>
                  <a:cubicBezTo>
                    <a:pt x="19" y="40"/>
                    <a:pt x="20" y="40"/>
                    <a:pt x="21" y="40"/>
                  </a:cubicBezTo>
                  <a:cubicBezTo>
                    <a:pt x="23" y="39"/>
                    <a:pt x="24" y="37"/>
                    <a:pt x="24" y="34"/>
                  </a:cubicBezTo>
                  <a:cubicBezTo>
                    <a:pt x="25" y="35"/>
                    <a:pt x="25" y="35"/>
                    <a:pt x="25" y="35"/>
                  </a:cubicBezTo>
                  <a:cubicBezTo>
                    <a:pt x="25" y="34"/>
                    <a:pt x="25" y="32"/>
                    <a:pt x="24" y="31"/>
                  </a:cubicBezTo>
                  <a:cubicBezTo>
                    <a:pt x="24" y="31"/>
                    <a:pt x="25" y="31"/>
                    <a:pt x="25" y="31"/>
                  </a:cubicBezTo>
                  <a:cubicBezTo>
                    <a:pt x="27" y="31"/>
                    <a:pt x="23" y="25"/>
                    <a:pt x="23" y="25"/>
                  </a:cubicBezTo>
                  <a:cubicBezTo>
                    <a:pt x="23" y="23"/>
                    <a:pt x="25" y="20"/>
                    <a:pt x="25" y="18"/>
                  </a:cubicBezTo>
                  <a:cubicBezTo>
                    <a:pt x="25" y="15"/>
                    <a:pt x="24" y="13"/>
                    <a:pt x="24" y="10"/>
                  </a:cubicBezTo>
                  <a:cubicBezTo>
                    <a:pt x="24" y="10"/>
                    <a:pt x="24" y="9"/>
                    <a:pt x="24" y="9"/>
                  </a:cubicBezTo>
                  <a:cubicBezTo>
                    <a:pt x="24" y="9"/>
                    <a:pt x="24" y="8"/>
                    <a:pt x="24" y="8"/>
                  </a:cubicBezTo>
                  <a:cubicBezTo>
                    <a:pt x="24" y="6"/>
                    <a:pt x="23" y="5"/>
                    <a:pt x="23" y="4"/>
                  </a:cubicBezTo>
                  <a:cubicBezTo>
                    <a:pt x="23" y="3"/>
                    <a:pt x="23" y="2"/>
                    <a:pt x="23" y="1"/>
                  </a:cubicBezTo>
                  <a:cubicBezTo>
                    <a:pt x="23" y="1"/>
                    <a:pt x="22" y="0"/>
                    <a:pt x="22" y="0"/>
                  </a:cubicBezTo>
                  <a:cubicBezTo>
                    <a:pt x="22" y="0"/>
                    <a:pt x="22" y="0"/>
                    <a:pt x="22" y="1"/>
                  </a:cubicBezTo>
                  <a:cubicBezTo>
                    <a:pt x="22" y="1"/>
                    <a:pt x="21" y="1"/>
                    <a:pt x="21" y="1"/>
                  </a:cubicBezTo>
                  <a:cubicBezTo>
                    <a:pt x="21" y="1"/>
                    <a:pt x="21" y="1"/>
                    <a:pt x="20" y="1"/>
                  </a:cubicBezTo>
                  <a:cubicBezTo>
                    <a:pt x="19" y="0"/>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53"/>
            <p:cNvSpPr/>
            <p:nvPr/>
          </p:nvSpPr>
          <p:spPr bwMode="auto">
            <a:xfrm>
              <a:off x="8064966" y="5742304"/>
              <a:ext cx="40956" cy="31070"/>
            </a:xfrm>
            <a:custGeom>
              <a:gdLst>
                <a:gd name="T0" fmla="*/ 7 w 12"/>
                <a:gd name="T1" fmla="*/ 0 h 9"/>
                <a:gd name="T2" fmla="*/ 0 w 12"/>
                <a:gd name="T3" fmla="*/ 3 h 9"/>
                <a:gd name="T4" fmla="*/ 11 w 12"/>
                <a:gd name="T5" fmla="*/ 9 h 9"/>
                <a:gd name="T6" fmla="*/ 8 w 12"/>
                <a:gd name="T7" fmla="*/ 0 h 9"/>
                <a:gd name="T8" fmla="*/ 7 w 12"/>
                <a:gd name="T9" fmla="*/ 0 h 9"/>
              </a:gdLst>
              <a:cxnLst>
                <a:cxn ang="0">
                  <a:pos x="T0" y="T1"/>
                </a:cxn>
                <a:cxn ang="0">
                  <a:pos x="T2" y="T3"/>
                </a:cxn>
                <a:cxn ang="0">
                  <a:pos x="T4" y="T5"/>
                </a:cxn>
                <a:cxn ang="0">
                  <a:pos x="T6" y="T7"/>
                </a:cxn>
                <a:cxn ang="0">
                  <a:pos x="T8" y="T9"/>
                </a:cxn>
              </a:cxnLst>
              <a:rect l="0" t="0" r="r" b="b"/>
              <a:pathLst>
                <a:path w="12" h="9">
                  <a:moveTo>
                    <a:pt x="7" y="0"/>
                  </a:moveTo>
                  <a:cubicBezTo>
                    <a:pt x="5" y="0"/>
                    <a:pt x="0" y="1"/>
                    <a:pt x="0" y="3"/>
                  </a:cubicBezTo>
                  <a:cubicBezTo>
                    <a:pt x="3" y="5"/>
                    <a:pt x="7" y="7"/>
                    <a:pt x="11" y="9"/>
                  </a:cubicBezTo>
                  <a:cubicBezTo>
                    <a:pt x="12" y="6"/>
                    <a:pt x="12"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54"/>
            <p:cNvSpPr/>
            <p:nvPr/>
          </p:nvSpPr>
          <p:spPr bwMode="auto">
            <a:xfrm>
              <a:off x="8052256" y="5759251"/>
              <a:ext cx="9886" cy="14123"/>
            </a:xfrm>
            <a:custGeom>
              <a:gdLst>
                <a:gd name="T0" fmla="*/ 0 w 3"/>
                <a:gd name="T1" fmla="*/ 0 h 4"/>
                <a:gd name="T2" fmla="*/ 1 w 3"/>
                <a:gd name="T3" fmla="*/ 4 h 4"/>
                <a:gd name="T4" fmla="*/ 0 w 3"/>
                <a:gd name="T5" fmla="*/ 0 h 4"/>
              </a:gdLst>
              <a:cxnLst>
                <a:cxn ang="0">
                  <a:pos x="T0" y="T1"/>
                </a:cxn>
                <a:cxn ang="0">
                  <a:pos x="T2" y="T3"/>
                </a:cxn>
                <a:cxn ang="0">
                  <a:pos x="T4" y="T5"/>
                </a:cxn>
              </a:cxnLst>
              <a:rect l="0" t="0" r="r" b="b"/>
              <a:pathLst>
                <a:path w="3" h="4">
                  <a:moveTo>
                    <a:pt x="0" y="0"/>
                  </a:moveTo>
                  <a:cubicBezTo>
                    <a:pt x="0" y="1"/>
                    <a:pt x="1" y="3"/>
                    <a:pt x="1"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55"/>
            <p:cNvSpPr/>
            <p:nvPr/>
          </p:nvSpPr>
          <p:spPr bwMode="auto">
            <a:xfrm>
              <a:off x="8619988" y="6781737"/>
              <a:ext cx="12710" cy="5649"/>
            </a:xfrm>
            <a:custGeom>
              <a:gdLst>
                <a:gd name="T0" fmla="*/ 3 w 4"/>
                <a:gd name="T1" fmla="*/ 0 h 2"/>
                <a:gd name="T2" fmla="*/ 0 w 4"/>
                <a:gd name="T3" fmla="*/ 2 h 2"/>
                <a:gd name="T4" fmla="*/ 1 w 4"/>
                <a:gd name="T5" fmla="*/ 2 h 2"/>
                <a:gd name="T6" fmla="*/ 4 w 4"/>
                <a:gd name="T7" fmla="*/ 1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0" y="1"/>
                    <a:pt x="0" y="2"/>
                  </a:cubicBezTo>
                  <a:cubicBezTo>
                    <a:pt x="0" y="2"/>
                    <a:pt x="0" y="2"/>
                    <a:pt x="1" y="2"/>
                  </a:cubicBezTo>
                  <a:cubicBezTo>
                    <a:pt x="2" y="2"/>
                    <a:pt x="3" y="1"/>
                    <a:pt x="4"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156"/>
            <p:cNvSpPr>
              <a:spLocks noEditPoints="1"/>
            </p:cNvSpPr>
            <p:nvPr/>
          </p:nvSpPr>
          <p:spPr bwMode="auto">
            <a:xfrm>
              <a:off x="8388376" y="6750667"/>
              <a:ext cx="160999" cy="83324"/>
            </a:xfrm>
            <a:custGeom>
              <a:gdLst>
                <a:gd name="T0" fmla="*/ 23 w 48"/>
                <a:gd name="T1" fmla="*/ 4 h 25"/>
                <a:gd name="T2" fmla="*/ 35 w 48"/>
                <a:gd name="T3" fmla="*/ 0 h 25"/>
                <a:gd name="T4" fmla="*/ 24 w 48"/>
                <a:gd name="T5" fmla="*/ 1 h 25"/>
                <a:gd name="T6" fmla="*/ 22 w 48"/>
                <a:gd name="T7" fmla="*/ 1 h 25"/>
                <a:gd name="T8" fmla="*/ 17 w 48"/>
                <a:gd name="T9" fmla="*/ 2 h 25"/>
                <a:gd name="T10" fmla="*/ 15 w 48"/>
                <a:gd name="T11" fmla="*/ 3 h 25"/>
                <a:gd name="T12" fmla="*/ 14 w 48"/>
                <a:gd name="T13" fmla="*/ 3 h 25"/>
                <a:gd name="T14" fmla="*/ 13 w 48"/>
                <a:gd name="T15" fmla="*/ 3 h 25"/>
                <a:gd name="T16" fmla="*/ 12 w 48"/>
                <a:gd name="T17" fmla="*/ 3 h 25"/>
                <a:gd name="T18" fmla="*/ 11 w 48"/>
                <a:gd name="T19" fmla="*/ 7 h 25"/>
                <a:gd name="T20" fmla="*/ 9 w 48"/>
                <a:gd name="T21" fmla="*/ 3 h 25"/>
                <a:gd name="T22" fmla="*/ 0 w 48"/>
                <a:gd name="T23" fmla="*/ 7 h 25"/>
                <a:gd name="T24" fmla="*/ 12 w 48"/>
                <a:gd name="T25" fmla="*/ 8 h 25"/>
                <a:gd name="T26" fmla="*/ 6 w 48"/>
                <a:gd name="T27" fmla="*/ 12 h 25"/>
                <a:gd name="T28" fmla="*/ 15 w 48"/>
                <a:gd name="T29" fmla="*/ 15 h 25"/>
                <a:gd name="T30" fmla="*/ 17 w 48"/>
                <a:gd name="T31" fmla="*/ 15 h 25"/>
                <a:gd name="T32" fmla="*/ 18 w 48"/>
                <a:gd name="T33" fmla="*/ 15 h 25"/>
                <a:gd name="T34" fmla="*/ 13 w 48"/>
                <a:gd name="T35" fmla="*/ 10 h 25"/>
                <a:gd name="T36" fmla="*/ 16 w 48"/>
                <a:gd name="T37" fmla="*/ 7 h 25"/>
                <a:gd name="T38" fmla="*/ 22 w 48"/>
                <a:gd name="T39" fmla="*/ 8 h 25"/>
                <a:gd name="T40" fmla="*/ 28 w 48"/>
                <a:gd name="T41" fmla="*/ 8 h 25"/>
                <a:gd name="T42" fmla="*/ 29 w 48"/>
                <a:gd name="T43" fmla="*/ 13 h 25"/>
                <a:gd name="T44" fmla="*/ 27 w 48"/>
                <a:gd name="T45" fmla="*/ 17 h 25"/>
                <a:gd name="T46" fmla="*/ 33 w 48"/>
                <a:gd name="T47" fmla="*/ 16 h 25"/>
                <a:gd name="T48" fmla="*/ 45 w 48"/>
                <a:gd name="T49" fmla="*/ 25 h 25"/>
                <a:gd name="T50" fmla="*/ 45 w 48"/>
                <a:gd name="T51" fmla="*/ 20 h 25"/>
                <a:gd name="T52" fmla="*/ 43 w 48"/>
                <a:gd name="T53" fmla="*/ 17 h 25"/>
                <a:gd name="T54" fmla="*/ 37 w 48"/>
                <a:gd name="T55" fmla="*/ 13 h 25"/>
                <a:gd name="T56" fmla="*/ 33 w 48"/>
                <a:gd name="T57" fmla="*/ 14 h 25"/>
                <a:gd name="T58" fmla="*/ 39 w 48"/>
                <a:gd name="T59" fmla="*/ 12 h 25"/>
                <a:gd name="T60" fmla="*/ 35 w 48"/>
                <a:gd name="T61" fmla="*/ 8 h 25"/>
                <a:gd name="T62" fmla="*/ 24 w 48"/>
                <a:gd name="T63" fmla="*/ 4 h 25"/>
                <a:gd name="T64" fmla="*/ 33 w 48"/>
                <a:gd name="T65" fmla="*/ 5 h 25"/>
                <a:gd name="T66" fmla="*/ 37 w 48"/>
                <a:gd name="T67" fmla="*/ 4 h 25"/>
                <a:gd name="T68" fmla="*/ 39 w 48"/>
                <a:gd name="T69" fmla="*/ 2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25">
                  <a:moveTo>
                    <a:pt x="23" y="4"/>
                  </a:moveTo>
                  <a:cubicBezTo>
                    <a:pt x="23" y="4"/>
                    <a:pt x="23" y="4"/>
                    <a:pt x="23" y="4"/>
                  </a:cubicBezTo>
                  <a:cubicBezTo>
                    <a:pt x="23" y="4"/>
                    <a:pt x="23" y="4"/>
                    <a:pt x="23" y="4"/>
                  </a:cubicBezTo>
                  <a:moveTo>
                    <a:pt x="35" y="0"/>
                  </a:moveTo>
                  <a:cubicBezTo>
                    <a:pt x="34" y="0"/>
                    <a:pt x="33" y="0"/>
                    <a:pt x="33" y="0"/>
                  </a:cubicBezTo>
                  <a:cubicBezTo>
                    <a:pt x="30" y="0"/>
                    <a:pt x="27" y="1"/>
                    <a:pt x="24" y="1"/>
                  </a:cubicBezTo>
                  <a:cubicBezTo>
                    <a:pt x="24" y="1"/>
                    <a:pt x="23" y="1"/>
                    <a:pt x="23" y="1"/>
                  </a:cubicBezTo>
                  <a:cubicBezTo>
                    <a:pt x="23" y="1"/>
                    <a:pt x="22" y="1"/>
                    <a:pt x="22" y="1"/>
                  </a:cubicBezTo>
                  <a:cubicBezTo>
                    <a:pt x="22" y="1"/>
                    <a:pt x="21" y="1"/>
                    <a:pt x="21" y="1"/>
                  </a:cubicBezTo>
                  <a:cubicBezTo>
                    <a:pt x="19" y="1"/>
                    <a:pt x="18" y="1"/>
                    <a:pt x="17" y="2"/>
                  </a:cubicBezTo>
                  <a:cubicBezTo>
                    <a:pt x="16" y="2"/>
                    <a:pt x="16" y="3"/>
                    <a:pt x="15" y="3"/>
                  </a:cubicBezTo>
                  <a:cubicBezTo>
                    <a:pt x="15" y="3"/>
                    <a:pt x="15" y="3"/>
                    <a:pt x="15" y="3"/>
                  </a:cubicBezTo>
                  <a:cubicBezTo>
                    <a:pt x="15" y="3"/>
                    <a:pt x="15" y="3"/>
                    <a:pt x="14" y="3"/>
                  </a:cubicBezTo>
                  <a:cubicBezTo>
                    <a:pt x="14" y="3"/>
                    <a:pt x="14" y="3"/>
                    <a:pt x="14" y="3"/>
                  </a:cubicBezTo>
                  <a:cubicBezTo>
                    <a:pt x="14" y="3"/>
                    <a:pt x="14" y="3"/>
                    <a:pt x="14" y="3"/>
                  </a:cubicBezTo>
                  <a:cubicBezTo>
                    <a:pt x="14" y="3"/>
                    <a:pt x="14" y="3"/>
                    <a:pt x="13" y="3"/>
                  </a:cubicBezTo>
                  <a:cubicBezTo>
                    <a:pt x="13" y="3"/>
                    <a:pt x="13" y="3"/>
                    <a:pt x="13" y="3"/>
                  </a:cubicBezTo>
                  <a:cubicBezTo>
                    <a:pt x="13" y="3"/>
                    <a:pt x="13" y="3"/>
                    <a:pt x="12" y="3"/>
                  </a:cubicBezTo>
                  <a:cubicBezTo>
                    <a:pt x="12" y="3"/>
                    <a:pt x="12" y="3"/>
                    <a:pt x="12" y="3"/>
                  </a:cubicBezTo>
                  <a:cubicBezTo>
                    <a:pt x="11" y="4"/>
                    <a:pt x="11" y="6"/>
                    <a:pt x="11" y="7"/>
                  </a:cubicBezTo>
                  <a:cubicBezTo>
                    <a:pt x="11" y="5"/>
                    <a:pt x="11" y="4"/>
                    <a:pt x="10" y="3"/>
                  </a:cubicBezTo>
                  <a:cubicBezTo>
                    <a:pt x="10" y="3"/>
                    <a:pt x="9" y="3"/>
                    <a:pt x="9" y="3"/>
                  </a:cubicBezTo>
                  <a:cubicBezTo>
                    <a:pt x="9" y="3"/>
                    <a:pt x="6" y="4"/>
                    <a:pt x="6" y="4"/>
                  </a:cubicBezTo>
                  <a:cubicBezTo>
                    <a:pt x="3" y="4"/>
                    <a:pt x="2" y="6"/>
                    <a:pt x="0" y="7"/>
                  </a:cubicBezTo>
                  <a:cubicBezTo>
                    <a:pt x="3" y="7"/>
                    <a:pt x="6" y="8"/>
                    <a:pt x="9" y="8"/>
                  </a:cubicBezTo>
                  <a:cubicBezTo>
                    <a:pt x="10" y="8"/>
                    <a:pt x="11" y="8"/>
                    <a:pt x="12" y="8"/>
                  </a:cubicBezTo>
                  <a:cubicBezTo>
                    <a:pt x="11" y="9"/>
                    <a:pt x="8" y="9"/>
                    <a:pt x="9" y="11"/>
                  </a:cubicBezTo>
                  <a:cubicBezTo>
                    <a:pt x="8" y="11"/>
                    <a:pt x="7" y="11"/>
                    <a:pt x="6" y="12"/>
                  </a:cubicBezTo>
                  <a:cubicBezTo>
                    <a:pt x="8" y="13"/>
                    <a:pt x="14" y="15"/>
                    <a:pt x="14" y="18"/>
                  </a:cubicBezTo>
                  <a:cubicBezTo>
                    <a:pt x="14" y="17"/>
                    <a:pt x="15" y="15"/>
                    <a:pt x="15" y="15"/>
                  </a:cubicBezTo>
                  <a:cubicBezTo>
                    <a:pt x="15" y="15"/>
                    <a:pt x="15" y="15"/>
                    <a:pt x="16" y="15"/>
                  </a:cubicBezTo>
                  <a:cubicBezTo>
                    <a:pt x="16" y="15"/>
                    <a:pt x="16" y="15"/>
                    <a:pt x="17" y="15"/>
                  </a:cubicBezTo>
                  <a:cubicBezTo>
                    <a:pt x="17" y="15"/>
                    <a:pt x="17" y="15"/>
                    <a:pt x="17" y="15"/>
                  </a:cubicBezTo>
                  <a:cubicBezTo>
                    <a:pt x="18" y="15"/>
                    <a:pt x="18" y="15"/>
                    <a:pt x="18" y="15"/>
                  </a:cubicBezTo>
                  <a:cubicBezTo>
                    <a:pt x="19" y="13"/>
                    <a:pt x="16" y="14"/>
                    <a:pt x="17" y="13"/>
                  </a:cubicBezTo>
                  <a:cubicBezTo>
                    <a:pt x="16" y="12"/>
                    <a:pt x="13" y="11"/>
                    <a:pt x="13" y="10"/>
                  </a:cubicBezTo>
                  <a:cubicBezTo>
                    <a:pt x="15" y="10"/>
                    <a:pt x="16" y="10"/>
                    <a:pt x="18" y="9"/>
                  </a:cubicBezTo>
                  <a:cubicBezTo>
                    <a:pt x="18" y="8"/>
                    <a:pt x="17" y="7"/>
                    <a:pt x="16" y="7"/>
                  </a:cubicBezTo>
                  <a:cubicBezTo>
                    <a:pt x="17" y="7"/>
                    <a:pt x="17" y="7"/>
                    <a:pt x="18" y="7"/>
                  </a:cubicBezTo>
                  <a:cubicBezTo>
                    <a:pt x="19" y="7"/>
                    <a:pt x="21" y="7"/>
                    <a:pt x="22" y="8"/>
                  </a:cubicBezTo>
                  <a:cubicBezTo>
                    <a:pt x="24" y="8"/>
                    <a:pt x="25" y="9"/>
                    <a:pt x="26" y="9"/>
                  </a:cubicBezTo>
                  <a:cubicBezTo>
                    <a:pt x="27" y="9"/>
                    <a:pt x="28" y="9"/>
                    <a:pt x="28" y="8"/>
                  </a:cubicBezTo>
                  <a:cubicBezTo>
                    <a:pt x="28" y="10"/>
                    <a:pt x="26" y="13"/>
                    <a:pt x="25" y="14"/>
                  </a:cubicBezTo>
                  <a:cubicBezTo>
                    <a:pt x="26" y="14"/>
                    <a:pt x="28" y="13"/>
                    <a:pt x="29" y="13"/>
                  </a:cubicBezTo>
                  <a:cubicBezTo>
                    <a:pt x="29" y="13"/>
                    <a:pt x="25" y="15"/>
                    <a:pt x="25" y="15"/>
                  </a:cubicBezTo>
                  <a:cubicBezTo>
                    <a:pt x="25" y="17"/>
                    <a:pt x="26" y="17"/>
                    <a:pt x="27" y="17"/>
                  </a:cubicBezTo>
                  <a:cubicBezTo>
                    <a:pt x="28" y="17"/>
                    <a:pt x="29" y="17"/>
                    <a:pt x="30" y="17"/>
                  </a:cubicBezTo>
                  <a:cubicBezTo>
                    <a:pt x="32" y="17"/>
                    <a:pt x="33" y="16"/>
                    <a:pt x="33" y="16"/>
                  </a:cubicBezTo>
                  <a:cubicBezTo>
                    <a:pt x="34" y="16"/>
                    <a:pt x="35" y="16"/>
                    <a:pt x="36" y="17"/>
                  </a:cubicBezTo>
                  <a:cubicBezTo>
                    <a:pt x="39" y="19"/>
                    <a:pt x="42" y="23"/>
                    <a:pt x="45" y="25"/>
                  </a:cubicBezTo>
                  <a:cubicBezTo>
                    <a:pt x="47" y="25"/>
                    <a:pt x="48" y="24"/>
                    <a:pt x="47" y="22"/>
                  </a:cubicBezTo>
                  <a:cubicBezTo>
                    <a:pt x="47" y="21"/>
                    <a:pt x="46" y="21"/>
                    <a:pt x="45" y="20"/>
                  </a:cubicBezTo>
                  <a:cubicBezTo>
                    <a:pt x="45" y="18"/>
                    <a:pt x="46" y="17"/>
                    <a:pt x="45" y="17"/>
                  </a:cubicBezTo>
                  <a:cubicBezTo>
                    <a:pt x="44" y="17"/>
                    <a:pt x="44" y="17"/>
                    <a:pt x="43" y="17"/>
                  </a:cubicBezTo>
                  <a:cubicBezTo>
                    <a:pt x="45" y="14"/>
                    <a:pt x="40" y="15"/>
                    <a:pt x="39" y="14"/>
                  </a:cubicBezTo>
                  <a:cubicBezTo>
                    <a:pt x="39" y="14"/>
                    <a:pt x="38" y="13"/>
                    <a:pt x="37" y="13"/>
                  </a:cubicBezTo>
                  <a:cubicBezTo>
                    <a:pt x="37" y="13"/>
                    <a:pt x="37" y="13"/>
                    <a:pt x="37" y="13"/>
                  </a:cubicBezTo>
                  <a:cubicBezTo>
                    <a:pt x="36" y="13"/>
                    <a:pt x="34" y="13"/>
                    <a:pt x="33" y="14"/>
                  </a:cubicBezTo>
                  <a:cubicBezTo>
                    <a:pt x="33" y="12"/>
                    <a:pt x="32" y="13"/>
                    <a:pt x="32" y="11"/>
                  </a:cubicBezTo>
                  <a:cubicBezTo>
                    <a:pt x="33" y="11"/>
                    <a:pt x="36" y="12"/>
                    <a:pt x="39" y="12"/>
                  </a:cubicBezTo>
                  <a:cubicBezTo>
                    <a:pt x="40" y="12"/>
                    <a:pt x="41" y="12"/>
                    <a:pt x="42" y="11"/>
                  </a:cubicBezTo>
                  <a:cubicBezTo>
                    <a:pt x="43" y="10"/>
                    <a:pt x="37" y="8"/>
                    <a:pt x="35" y="8"/>
                  </a:cubicBezTo>
                  <a:cubicBezTo>
                    <a:pt x="33" y="8"/>
                    <a:pt x="30" y="8"/>
                    <a:pt x="28" y="7"/>
                  </a:cubicBezTo>
                  <a:cubicBezTo>
                    <a:pt x="26" y="6"/>
                    <a:pt x="25" y="5"/>
                    <a:pt x="24" y="4"/>
                  </a:cubicBezTo>
                  <a:cubicBezTo>
                    <a:pt x="26" y="5"/>
                    <a:pt x="31" y="7"/>
                    <a:pt x="33" y="7"/>
                  </a:cubicBezTo>
                  <a:cubicBezTo>
                    <a:pt x="34" y="7"/>
                    <a:pt x="35" y="6"/>
                    <a:pt x="33" y="5"/>
                  </a:cubicBezTo>
                  <a:cubicBezTo>
                    <a:pt x="34" y="5"/>
                    <a:pt x="35" y="5"/>
                    <a:pt x="36" y="5"/>
                  </a:cubicBezTo>
                  <a:cubicBezTo>
                    <a:pt x="37" y="5"/>
                    <a:pt x="37" y="5"/>
                    <a:pt x="37" y="4"/>
                  </a:cubicBezTo>
                  <a:cubicBezTo>
                    <a:pt x="38" y="4"/>
                    <a:pt x="38" y="4"/>
                    <a:pt x="39" y="4"/>
                  </a:cubicBezTo>
                  <a:cubicBezTo>
                    <a:pt x="39" y="4"/>
                    <a:pt x="40" y="4"/>
                    <a:pt x="39" y="2"/>
                  </a:cubicBezTo>
                  <a:cubicBezTo>
                    <a:pt x="39" y="0"/>
                    <a:pt x="36"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57"/>
            <p:cNvSpPr/>
            <p:nvPr/>
          </p:nvSpPr>
          <p:spPr bwMode="auto">
            <a:xfrm>
              <a:off x="7964695" y="6283205"/>
              <a:ext cx="33894" cy="33895"/>
            </a:xfrm>
            <a:custGeom>
              <a:gdLst>
                <a:gd name="T0" fmla="*/ 4 w 10"/>
                <a:gd name="T1" fmla="*/ 0 h 10"/>
                <a:gd name="T2" fmla="*/ 3 w 10"/>
                <a:gd name="T3" fmla="*/ 0 h 10"/>
                <a:gd name="T4" fmla="*/ 1 w 10"/>
                <a:gd name="T5" fmla="*/ 3 h 10"/>
                <a:gd name="T6" fmla="*/ 4 w 10"/>
                <a:gd name="T7" fmla="*/ 10 h 10"/>
                <a:gd name="T8" fmla="*/ 5 w 10"/>
                <a:gd name="T9" fmla="*/ 6 h 10"/>
                <a:gd name="T10" fmla="*/ 4 w 10"/>
                <a:gd name="T11" fmla="*/ 3 h 10"/>
                <a:gd name="T12" fmla="*/ 7 w 10"/>
                <a:gd name="T13" fmla="*/ 4 h 10"/>
                <a:gd name="T14" fmla="*/ 7 w 10"/>
                <a:gd name="T15" fmla="*/ 3 h 10"/>
                <a:gd name="T16" fmla="*/ 7 w 10"/>
                <a:gd name="T17" fmla="*/ 3 h 10"/>
                <a:gd name="T18" fmla="*/ 10 w 10"/>
                <a:gd name="T19" fmla="*/ 1 h 10"/>
                <a:gd name="T20" fmla="*/ 4 w 10"/>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4" y="0"/>
                  </a:moveTo>
                  <a:cubicBezTo>
                    <a:pt x="4" y="0"/>
                    <a:pt x="3" y="0"/>
                    <a:pt x="3" y="0"/>
                  </a:cubicBezTo>
                  <a:cubicBezTo>
                    <a:pt x="2" y="0"/>
                    <a:pt x="1" y="0"/>
                    <a:pt x="1" y="3"/>
                  </a:cubicBezTo>
                  <a:cubicBezTo>
                    <a:pt x="0" y="7"/>
                    <a:pt x="1" y="7"/>
                    <a:pt x="4" y="10"/>
                  </a:cubicBezTo>
                  <a:cubicBezTo>
                    <a:pt x="5" y="8"/>
                    <a:pt x="6" y="6"/>
                    <a:pt x="5" y="6"/>
                  </a:cubicBezTo>
                  <a:cubicBezTo>
                    <a:pt x="7" y="5"/>
                    <a:pt x="3" y="3"/>
                    <a:pt x="4" y="3"/>
                  </a:cubicBezTo>
                  <a:cubicBezTo>
                    <a:pt x="4" y="3"/>
                    <a:pt x="5" y="3"/>
                    <a:pt x="7" y="4"/>
                  </a:cubicBezTo>
                  <a:cubicBezTo>
                    <a:pt x="7" y="3"/>
                    <a:pt x="7" y="3"/>
                    <a:pt x="7" y="3"/>
                  </a:cubicBezTo>
                  <a:cubicBezTo>
                    <a:pt x="7" y="3"/>
                    <a:pt x="7" y="3"/>
                    <a:pt x="7" y="3"/>
                  </a:cubicBezTo>
                  <a:cubicBezTo>
                    <a:pt x="8" y="3"/>
                    <a:pt x="9" y="2"/>
                    <a:pt x="10" y="1"/>
                  </a:cubicBezTo>
                  <a:cubicBezTo>
                    <a:pt x="7"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58"/>
            <p:cNvSpPr/>
            <p:nvPr/>
          </p:nvSpPr>
          <p:spPr bwMode="auto">
            <a:xfrm>
              <a:off x="7998589" y="5722532"/>
              <a:ext cx="2825" cy="14123"/>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2"/>
                    <a:pt x="0" y="3"/>
                    <a:pt x="0" y="4"/>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59"/>
            <p:cNvSpPr/>
            <p:nvPr/>
          </p:nvSpPr>
          <p:spPr bwMode="auto">
            <a:xfrm>
              <a:off x="8118632" y="5685813"/>
              <a:ext cx="63552" cy="53666"/>
            </a:xfrm>
            <a:custGeom>
              <a:gdLst>
                <a:gd name="T0" fmla="*/ 12 w 19"/>
                <a:gd name="T1" fmla="*/ 0 h 16"/>
                <a:gd name="T2" fmla="*/ 8 w 19"/>
                <a:gd name="T3" fmla="*/ 1 h 16"/>
                <a:gd name="T4" fmla="*/ 8 w 19"/>
                <a:gd name="T5" fmla="*/ 1 h 16"/>
                <a:gd name="T6" fmla="*/ 8 w 19"/>
                <a:gd name="T7" fmla="*/ 1 h 16"/>
                <a:gd name="T8" fmla="*/ 7 w 19"/>
                <a:gd name="T9" fmla="*/ 1 h 16"/>
                <a:gd name="T10" fmla="*/ 7 w 19"/>
                <a:gd name="T11" fmla="*/ 1 h 16"/>
                <a:gd name="T12" fmla="*/ 9 w 19"/>
                <a:gd name="T13" fmla="*/ 5 h 16"/>
                <a:gd name="T14" fmla="*/ 8 w 19"/>
                <a:gd name="T15" fmla="*/ 4 h 16"/>
                <a:gd name="T16" fmla="*/ 5 w 19"/>
                <a:gd name="T17" fmla="*/ 6 h 16"/>
                <a:gd name="T18" fmla="*/ 3 w 19"/>
                <a:gd name="T19" fmla="*/ 6 h 16"/>
                <a:gd name="T20" fmla="*/ 3 w 19"/>
                <a:gd name="T21" fmla="*/ 6 h 16"/>
                <a:gd name="T22" fmla="*/ 7 w 19"/>
                <a:gd name="T23" fmla="*/ 12 h 16"/>
                <a:gd name="T24" fmla="*/ 6 w 19"/>
                <a:gd name="T25" fmla="*/ 12 h 16"/>
                <a:gd name="T26" fmla="*/ 3 w 19"/>
                <a:gd name="T27" fmla="*/ 12 h 16"/>
                <a:gd name="T28" fmla="*/ 6 w 19"/>
                <a:gd name="T29" fmla="*/ 16 h 16"/>
                <a:gd name="T30" fmla="*/ 13 w 19"/>
                <a:gd name="T31" fmla="*/ 12 h 16"/>
                <a:gd name="T32" fmla="*/ 15 w 19"/>
                <a:gd name="T33" fmla="*/ 10 h 16"/>
                <a:gd name="T34" fmla="*/ 13 w 19"/>
                <a:gd name="T35" fmla="*/ 7 h 16"/>
                <a:gd name="T36" fmla="*/ 16 w 19"/>
                <a:gd name="T37" fmla="*/ 7 h 16"/>
                <a:gd name="T38" fmla="*/ 18 w 19"/>
                <a:gd name="T39" fmla="*/ 5 h 16"/>
                <a:gd name="T40" fmla="*/ 16 w 19"/>
                <a:gd name="T41" fmla="*/ 2 h 16"/>
                <a:gd name="T42" fmla="*/ 13 w 19"/>
                <a:gd name="T43" fmla="*/ 3 h 16"/>
                <a:gd name="T44" fmla="*/ 12 w 19"/>
                <a:gd name="T45" fmla="*/ 0 h 16"/>
                <a:gd name="T46" fmla="*/ 12 w 19"/>
                <a:gd name="T47"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6">
                  <a:moveTo>
                    <a:pt x="12" y="0"/>
                  </a:moveTo>
                  <a:cubicBezTo>
                    <a:pt x="11" y="0"/>
                    <a:pt x="8" y="1"/>
                    <a:pt x="8" y="1"/>
                  </a:cubicBezTo>
                  <a:cubicBezTo>
                    <a:pt x="8" y="1"/>
                    <a:pt x="8" y="1"/>
                    <a:pt x="8" y="1"/>
                  </a:cubicBezTo>
                  <a:cubicBezTo>
                    <a:pt x="8" y="1"/>
                    <a:pt x="8" y="1"/>
                    <a:pt x="8" y="1"/>
                  </a:cubicBezTo>
                  <a:cubicBezTo>
                    <a:pt x="8" y="1"/>
                    <a:pt x="8" y="1"/>
                    <a:pt x="7" y="1"/>
                  </a:cubicBezTo>
                  <a:cubicBezTo>
                    <a:pt x="7" y="1"/>
                    <a:pt x="7" y="1"/>
                    <a:pt x="7" y="1"/>
                  </a:cubicBezTo>
                  <a:cubicBezTo>
                    <a:pt x="7" y="2"/>
                    <a:pt x="9" y="4"/>
                    <a:pt x="9" y="5"/>
                  </a:cubicBezTo>
                  <a:cubicBezTo>
                    <a:pt x="8" y="4"/>
                    <a:pt x="8" y="4"/>
                    <a:pt x="8" y="4"/>
                  </a:cubicBezTo>
                  <a:cubicBezTo>
                    <a:pt x="6" y="4"/>
                    <a:pt x="7" y="5"/>
                    <a:pt x="5" y="6"/>
                  </a:cubicBezTo>
                  <a:cubicBezTo>
                    <a:pt x="5" y="6"/>
                    <a:pt x="4" y="6"/>
                    <a:pt x="3" y="6"/>
                  </a:cubicBezTo>
                  <a:cubicBezTo>
                    <a:pt x="3" y="6"/>
                    <a:pt x="3" y="6"/>
                    <a:pt x="3" y="6"/>
                  </a:cubicBezTo>
                  <a:cubicBezTo>
                    <a:pt x="0" y="8"/>
                    <a:pt x="5" y="10"/>
                    <a:pt x="7" y="12"/>
                  </a:cubicBezTo>
                  <a:cubicBezTo>
                    <a:pt x="7" y="12"/>
                    <a:pt x="7" y="12"/>
                    <a:pt x="6" y="12"/>
                  </a:cubicBezTo>
                  <a:cubicBezTo>
                    <a:pt x="5" y="12"/>
                    <a:pt x="4" y="12"/>
                    <a:pt x="3" y="12"/>
                  </a:cubicBezTo>
                  <a:cubicBezTo>
                    <a:pt x="4" y="14"/>
                    <a:pt x="5" y="15"/>
                    <a:pt x="6" y="16"/>
                  </a:cubicBezTo>
                  <a:cubicBezTo>
                    <a:pt x="9" y="15"/>
                    <a:pt x="10" y="14"/>
                    <a:pt x="13" y="12"/>
                  </a:cubicBezTo>
                  <a:cubicBezTo>
                    <a:pt x="13" y="11"/>
                    <a:pt x="15" y="11"/>
                    <a:pt x="15" y="10"/>
                  </a:cubicBezTo>
                  <a:cubicBezTo>
                    <a:pt x="17" y="8"/>
                    <a:pt x="14" y="8"/>
                    <a:pt x="13" y="7"/>
                  </a:cubicBezTo>
                  <a:cubicBezTo>
                    <a:pt x="14" y="7"/>
                    <a:pt x="15" y="7"/>
                    <a:pt x="16" y="7"/>
                  </a:cubicBezTo>
                  <a:cubicBezTo>
                    <a:pt x="17" y="7"/>
                    <a:pt x="17" y="7"/>
                    <a:pt x="18" y="5"/>
                  </a:cubicBezTo>
                  <a:cubicBezTo>
                    <a:pt x="19" y="3"/>
                    <a:pt x="17" y="2"/>
                    <a:pt x="16" y="2"/>
                  </a:cubicBezTo>
                  <a:cubicBezTo>
                    <a:pt x="15" y="2"/>
                    <a:pt x="14" y="2"/>
                    <a:pt x="13" y="3"/>
                  </a:cubicBezTo>
                  <a:cubicBezTo>
                    <a:pt x="14" y="2"/>
                    <a:pt x="14"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160"/>
            <p:cNvSpPr/>
            <p:nvPr/>
          </p:nvSpPr>
          <p:spPr bwMode="auto">
            <a:xfrm>
              <a:off x="7998589" y="6403248"/>
              <a:ext cx="24009" cy="50842"/>
            </a:xfrm>
            <a:custGeom>
              <a:gdLst>
                <a:gd name="T0" fmla="*/ 5 w 7"/>
                <a:gd name="T1" fmla="*/ 0 h 15"/>
                <a:gd name="T2" fmla="*/ 4 w 7"/>
                <a:gd name="T3" fmla="*/ 0 h 15"/>
                <a:gd name="T4" fmla="*/ 5 w 7"/>
                <a:gd name="T5" fmla="*/ 6 h 15"/>
                <a:gd name="T6" fmla="*/ 3 w 7"/>
                <a:gd name="T7" fmla="*/ 5 h 15"/>
                <a:gd name="T8" fmla="*/ 1 w 7"/>
                <a:gd name="T9" fmla="*/ 8 h 15"/>
                <a:gd name="T10" fmla="*/ 3 w 7"/>
                <a:gd name="T11" fmla="*/ 15 h 15"/>
                <a:gd name="T12" fmla="*/ 7 w 7"/>
                <a:gd name="T13" fmla="*/ 5 h 15"/>
                <a:gd name="T14" fmla="*/ 7 w 7"/>
                <a:gd name="T15" fmla="*/ 1 h 15"/>
                <a:gd name="T16" fmla="*/ 5 w 7"/>
                <a:gd name="T17"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5">
                  <a:moveTo>
                    <a:pt x="5" y="0"/>
                  </a:moveTo>
                  <a:cubicBezTo>
                    <a:pt x="5" y="0"/>
                    <a:pt x="5" y="0"/>
                    <a:pt x="4" y="0"/>
                  </a:cubicBezTo>
                  <a:cubicBezTo>
                    <a:pt x="3" y="0"/>
                    <a:pt x="5" y="5"/>
                    <a:pt x="5" y="6"/>
                  </a:cubicBezTo>
                  <a:cubicBezTo>
                    <a:pt x="4" y="6"/>
                    <a:pt x="4" y="5"/>
                    <a:pt x="3" y="5"/>
                  </a:cubicBezTo>
                  <a:cubicBezTo>
                    <a:pt x="2" y="5"/>
                    <a:pt x="2" y="7"/>
                    <a:pt x="1" y="8"/>
                  </a:cubicBezTo>
                  <a:cubicBezTo>
                    <a:pt x="0" y="11"/>
                    <a:pt x="1" y="12"/>
                    <a:pt x="3" y="15"/>
                  </a:cubicBezTo>
                  <a:cubicBezTo>
                    <a:pt x="5" y="13"/>
                    <a:pt x="6" y="8"/>
                    <a:pt x="7" y="5"/>
                  </a:cubicBezTo>
                  <a:cubicBezTo>
                    <a:pt x="7" y="4"/>
                    <a:pt x="7" y="2"/>
                    <a:pt x="7" y="1"/>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61"/>
            <p:cNvSpPr>
              <a:spLocks noEditPoints="1"/>
            </p:cNvSpPr>
            <p:nvPr/>
          </p:nvSpPr>
          <p:spPr bwMode="auto">
            <a:xfrm>
              <a:off x="8218904" y="6634861"/>
              <a:ext cx="96034" cy="56491"/>
            </a:xfrm>
            <a:custGeom>
              <a:gdLst>
                <a:gd name="T0" fmla="*/ 20 w 29"/>
                <a:gd name="T1" fmla="*/ 4 h 17"/>
                <a:gd name="T2" fmla="*/ 20 w 29"/>
                <a:gd name="T3" fmla="*/ 4 h 17"/>
                <a:gd name="T4" fmla="*/ 20 w 29"/>
                <a:gd name="T5" fmla="*/ 4 h 17"/>
                <a:gd name="T6" fmla="*/ 7 w 29"/>
                <a:gd name="T7" fmla="*/ 0 h 17"/>
                <a:gd name="T8" fmla="*/ 7 w 29"/>
                <a:gd name="T9" fmla="*/ 0 h 17"/>
                <a:gd name="T10" fmla="*/ 3 w 29"/>
                <a:gd name="T11" fmla="*/ 4 h 17"/>
                <a:gd name="T12" fmla="*/ 0 w 29"/>
                <a:gd name="T13" fmla="*/ 3 h 17"/>
                <a:gd name="T14" fmla="*/ 0 w 29"/>
                <a:gd name="T15" fmla="*/ 3 h 17"/>
                <a:gd name="T16" fmla="*/ 9 w 29"/>
                <a:gd name="T17" fmla="*/ 16 h 17"/>
                <a:gd name="T18" fmla="*/ 8 w 29"/>
                <a:gd name="T19" fmla="*/ 10 h 17"/>
                <a:gd name="T20" fmla="*/ 7 w 29"/>
                <a:gd name="T21" fmla="*/ 5 h 17"/>
                <a:gd name="T22" fmla="*/ 12 w 29"/>
                <a:gd name="T23" fmla="*/ 10 h 17"/>
                <a:gd name="T24" fmla="*/ 13 w 29"/>
                <a:gd name="T25" fmla="*/ 10 h 17"/>
                <a:gd name="T26" fmla="*/ 13 w 29"/>
                <a:gd name="T27" fmla="*/ 12 h 17"/>
                <a:gd name="T28" fmla="*/ 14 w 29"/>
                <a:gd name="T29" fmla="*/ 12 h 17"/>
                <a:gd name="T30" fmla="*/ 19 w 29"/>
                <a:gd name="T31" fmla="*/ 9 h 17"/>
                <a:gd name="T32" fmla="*/ 26 w 29"/>
                <a:gd name="T33" fmla="*/ 17 h 17"/>
                <a:gd name="T34" fmla="*/ 29 w 29"/>
                <a:gd name="T35" fmla="*/ 10 h 17"/>
                <a:gd name="T36" fmla="*/ 26 w 29"/>
                <a:gd name="T37" fmla="*/ 8 h 17"/>
                <a:gd name="T38" fmla="*/ 23 w 29"/>
                <a:gd name="T39" fmla="*/ 11 h 17"/>
                <a:gd name="T40" fmla="*/ 22 w 29"/>
                <a:gd name="T41" fmla="*/ 8 h 17"/>
                <a:gd name="T42" fmla="*/ 20 w 29"/>
                <a:gd name="T43" fmla="*/ 4 h 17"/>
                <a:gd name="T44" fmla="*/ 20 w 29"/>
                <a:gd name="T45" fmla="*/ 4 h 17"/>
                <a:gd name="T46" fmla="*/ 18 w 29"/>
                <a:gd name="T47" fmla="*/ 4 h 17"/>
                <a:gd name="T48" fmla="*/ 18 w 29"/>
                <a:gd name="T49" fmla="*/ 4 h 17"/>
                <a:gd name="T50" fmla="*/ 18 w 29"/>
                <a:gd name="T51" fmla="*/ 4 h 17"/>
                <a:gd name="T52" fmla="*/ 18 w 29"/>
                <a:gd name="T53" fmla="*/ 4 h 17"/>
                <a:gd name="T54" fmla="*/ 18 w 29"/>
                <a:gd name="T55" fmla="*/ 4 h 17"/>
                <a:gd name="T56" fmla="*/ 17 w 29"/>
                <a:gd name="T57" fmla="*/ 4 h 17"/>
                <a:gd name="T58" fmla="*/ 17 w 29"/>
                <a:gd name="T59" fmla="*/ 4 h 17"/>
                <a:gd name="T60" fmla="*/ 15 w 29"/>
                <a:gd name="T61" fmla="*/ 3 h 17"/>
                <a:gd name="T62" fmla="*/ 14 w 29"/>
                <a:gd name="T63" fmla="*/ 3 h 17"/>
                <a:gd name="T64" fmla="*/ 13 w 29"/>
                <a:gd name="T65" fmla="*/ 7 h 17"/>
                <a:gd name="T66" fmla="*/ 12 w 29"/>
                <a:gd name="T67" fmla="*/ 6 h 17"/>
                <a:gd name="T68" fmla="*/ 13 w 29"/>
                <a:gd name="T69" fmla="*/ 5 h 17"/>
                <a:gd name="T70" fmla="*/ 13 w 29"/>
                <a:gd name="T71" fmla="*/ 3 h 17"/>
                <a:gd name="T72" fmla="*/ 11 w 29"/>
                <a:gd name="T73" fmla="*/ 2 h 17"/>
                <a:gd name="T74" fmla="*/ 9 w 29"/>
                <a:gd name="T75" fmla="*/ 4 h 17"/>
                <a:gd name="T76" fmla="*/ 7 w 29"/>
                <a:gd name="T77"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 h="17">
                  <a:moveTo>
                    <a:pt x="20" y="4"/>
                  </a:moveTo>
                  <a:cubicBezTo>
                    <a:pt x="20" y="4"/>
                    <a:pt x="20" y="4"/>
                    <a:pt x="20" y="4"/>
                  </a:cubicBezTo>
                  <a:cubicBezTo>
                    <a:pt x="20" y="4"/>
                    <a:pt x="20" y="4"/>
                    <a:pt x="20" y="4"/>
                  </a:cubicBezTo>
                  <a:moveTo>
                    <a:pt x="7" y="0"/>
                  </a:moveTo>
                  <a:cubicBezTo>
                    <a:pt x="7" y="0"/>
                    <a:pt x="7" y="0"/>
                    <a:pt x="7" y="0"/>
                  </a:cubicBezTo>
                  <a:cubicBezTo>
                    <a:pt x="6" y="0"/>
                    <a:pt x="4" y="4"/>
                    <a:pt x="3" y="4"/>
                  </a:cubicBezTo>
                  <a:cubicBezTo>
                    <a:pt x="3" y="3"/>
                    <a:pt x="2" y="3"/>
                    <a:pt x="0" y="3"/>
                  </a:cubicBezTo>
                  <a:cubicBezTo>
                    <a:pt x="0" y="3"/>
                    <a:pt x="0" y="3"/>
                    <a:pt x="0" y="3"/>
                  </a:cubicBezTo>
                  <a:cubicBezTo>
                    <a:pt x="2" y="7"/>
                    <a:pt x="6" y="12"/>
                    <a:pt x="9" y="16"/>
                  </a:cubicBezTo>
                  <a:cubicBezTo>
                    <a:pt x="11" y="12"/>
                    <a:pt x="11" y="13"/>
                    <a:pt x="8" y="10"/>
                  </a:cubicBezTo>
                  <a:cubicBezTo>
                    <a:pt x="7" y="9"/>
                    <a:pt x="7" y="7"/>
                    <a:pt x="7" y="5"/>
                  </a:cubicBezTo>
                  <a:cubicBezTo>
                    <a:pt x="8" y="6"/>
                    <a:pt x="10" y="10"/>
                    <a:pt x="12" y="10"/>
                  </a:cubicBezTo>
                  <a:cubicBezTo>
                    <a:pt x="12" y="10"/>
                    <a:pt x="12" y="10"/>
                    <a:pt x="13" y="10"/>
                  </a:cubicBezTo>
                  <a:cubicBezTo>
                    <a:pt x="13" y="11"/>
                    <a:pt x="13" y="11"/>
                    <a:pt x="13" y="12"/>
                  </a:cubicBezTo>
                  <a:cubicBezTo>
                    <a:pt x="13" y="12"/>
                    <a:pt x="14" y="12"/>
                    <a:pt x="14" y="12"/>
                  </a:cubicBezTo>
                  <a:cubicBezTo>
                    <a:pt x="16" y="12"/>
                    <a:pt x="18" y="9"/>
                    <a:pt x="19" y="9"/>
                  </a:cubicBezTo>
                  <a:cubicBezTo>
                    <a:pt x="22" y="11"/>
                    <a:pt x="24" y="15"/>
                    <a:pt x="26" y="17"/>
                  </a:cubicBezTo>
                  <a:cubicBezTo>
                    <a:pt x="28" y="15"/>
                    <a:pt x="29" y="13"/>
                    <a:pt x="29" y="10"/>
                  </a:cubicBezTo>
                  <a:cubicBezTo>
                    <a:pt x="28" y="8"/>
                    <a:pt x="27" y="8"/>
                    <a:pt x="26" y="8"/>
                  </a:cubicBezTo>
                  <a:cubicBezTo>
                    <a:pt x="25" y="8"/>
                    <a:pt x="24" y="9"/>
                    <a:pt x="23" y="11"/>
                  </a:cubicBezTo>
                  <a:cubicBezTo>
                    <a:pt x="23" y="10"/>
                    <a:pt x="23" y="9"/>
                    <a:pt x="22" y="8"/>
                  </a:cubicBezTo>
                  <a:cubicBezTo>
                    <a:pt x="24" y="6"/>
                    <a:pt x="21" y="5"/>
                    <a:pt x="20" y="4"/>
                  </a:cubicBezTo>
                  <a:cubicBezTo>
                    <a:pt x="20" y="4"/>
                    <a:pt x="20" y="4"/>
                    <a:pt x="20" y="4"/>
                  </a:cubicBezTo>
                  <a:cubicBezTo>
                    <a:pt x="19" y="4"/>
                    <a:pt x="19" y="4"/>
                    <a:pt x="18" y="4"/>
                  </a:cubicBezTo>
                  <a:cubicBezTo>
                    <a:pt x="18" y="4"/>
                    <a:pt x="18" y="4"/>
                    <a:pt x="18" y="4"/>
                  </a:cubicBezTo>
                  <a:cubicBezTo>
                    <a:pt x="18" y="4"/>
                    <a:pt x="18" y="4"/>
                    <a:pt x="18" y="4"/>
                  </a:cubicBezTo>
                  <a:cubicBezTo>
                    <a:pt x="18" y="4"/>
                    <a:pt x="18" y="4"/>
                    <a:pt x="18" y="4"/>
                  </a:cubicBezTo>
                  <a:cubicBezTo>
                    <a:pt x="18" y="4"/>
                    <a:pt x="18" y="4"/>
                    <a:pt x="18" y="4"/>
                  </a:cubicBezTo>
                  <a:cubicBezTo>
                    <a:pt x="17" y="4"/>
                    <a:pt x="17" y="4"/>
                    <a:pt x="17" y="4"/>
                  </a:cubicBezTo>
                  <a:cubicBezTo>
                    <a:pt x="17" y="4"/>
                    <a:pt x="17" y="4"/>
                    <a:pt x="17" y="4"/>
                  </a:cubicBezTo>
                  <a:cubicBezTo>
                    <a:pt x="17" y="4"/>
                    <a:pt x="16" y="3"/>
                    <a:pt x="15" y="3"/>
                  </a:cubicBezTo>
                  <a:cubicBezTo>
                    <a:pt x="15" y="3"/>
                    <a:pt x="14" y="3"/>
                    <a:pt x="14" y="3"/>
                  </a:cubicBezTo>
                  <a:cubicBezTo>
                    <a:pt x="14" y="4"/>
                    <a:pt x="13" y="6"/>
                    <a:pt x="13" y="7"/>
                  </a:cubicBezTo>
                  <a:cubicBezTo>
                    <a:pt x="12" y="7"/>
                    <a:pt x="12" y="7"/>
                    <a:pt x="12" y="6"/>
                  </a:cubicBezTo>
                  <a:cubicBezTo>
                    <a:pt x="12" y="6"/>
                    <a:pt x="13" y="5"/>
                    <a:pt x="13" y="5"/>
                  </a:cubicBezTo>
                  <a:cubicBezTo>
                    <a:pt x="13" y="4"/>
                    <a:pt x="12" y="4"/>
                    <a:pt x="13" y="3"/>
                  </a:cubicBezTo>
                  <a:cubicBezTo>
                    <a:pt x="12" y="2"/>
                    <a:pt x="11" y="2"/>
                    <a:pt x="11" y="2"/>
                  </a:cubicBezTo>
                  <a:cubicBezTo>
                    <a:pt x="10" y="2"/>
                    <a:pt x="10" y="3"/>
                    <a:pt x="9" y="4"/>
                  </a:cubicBezTo>
                  <a:cubicBezTo>
                    <a:pt x="9" y="3"/>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62"/>
            <p:cNvSpPr/>
            <p:nvPr/>
          </p:nvSpPr>
          <p:spPr bwMode="auto">
            <a:xfrm>
              <a:off x="7954809" y="6197056"/>
              <a:ext cx="36719" cy="29658"/>
            </a:xfrm>
            <a:custGeom>
              <a:gdLst>
                <a:gd name="T0" fmla="*/ 3 w 11"/>
                <a:gd name="T1" fmla="*/ 0 h 9"/>
                <a:gd name="T2" fmla="*/ 1 w 11"/>
                <a:gd name="T3" fmla="*/ 2 h 9"/>
                <a:gd name="T4" fmla="*/ 2 w 11"/>
                <a:gd name="T5" fmla="*/ 6 h 9"/>
                <a:gd name="T6" fmla="*/ 7 w 11"/>
                <a:gd name="T7" fmla="*/ 5 h 9"/>
                <a:gd name="T8" fmla="*/ 11 w 11"/>
                <a:gd name="T9" fmla="*/ 9 h 9"/>
                <a:gd name="T10" fmla="*/ 6 w 11"/>
                <a:gd name="T11" fmla="*/ 1 h 9"/>
                <a:gd name="T12" fmla="*/ 3 w 11"/>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11" h="9">
                  <a:moveTo>
                    <a:pt x="3" y="0"/>
                  </a:moveTo>
                  <a:cubicBezTo>
                    <a:pt x="2" y="0"/>
                    <a:pt x="1" y="1"/>
                    <a:pt x="1" y="2"/>
                  </a:cubicBezTo>
                  <a:cubicBezTo>
                    <a:pt x="0" y="5"/>
                    <a:pt x="1" y="6"/>
                    <a:pt x="2" y="6"/>
                  </a:cubicBezTo>
                  <a:cubicBezTo>
                    <a:pt x="3" y="6"/>
                    <a:pt x="5" y="5"/>
                    <a:pt x="7" y="5"/>
                  </a:cubicBezTo>
                  <a:cubicBezTo>
                    <a:pt x="5" y="9"/>
                    <a:pt x="9" y="8"/>
                    <a:pt x="11" y="9"/>
                  </a:cubicBezTo>
                  <a:cubicBezTo>
                    <a:pt x="9" y="6"/>
                    <a:pt x="7" y="4"/>
                    <a:pt x="6"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63"/>
            <p:cNvSpPr/>
            <p:nvPr/>
          </p:nvSpPr>
          <p:spPr bwMode="auto">
            <a:xfrm>
              <a:off x="8519717" y="6747843"/>
              <a:ext cx="103096" cy="43780"/>
            </a:xfrm>
            <a:custGeom>
              <a:gdLst>
                <a:gd name="T0" fmla="*/ 6 w 31"/>
                <a:gd name="T1" fmla="*/ 0 h 13"/>
                <a:gd name="T2" fmla="*/ 0 w 31"/>
                <a:gd name="T3" fmla="*/ 1 h 13"/>
                <a:gd name="T4" fmla="*/ 4 w 31"/>
                <a:gd name="T5" fmla="*/ 4 h 13"/>
                <a:gd name="T6" fmla="*/ 4 w 31"/>
                <a:gd name="T7" fmla="*/ 6 h 13"/>
                <a:gd name="T8" fmla="*/ 5 w 31"/>
                <a:gd name="T9" fmla="*/ 9 h 13"/>
                <a:gd name="T10" fmla="*/ 14 w 31"/>
                <a:gd name="T11" fmla="*/ 11 h 13"/>
                <a:gd name="T12" fmla="*/ 11 w 31"/>
                <a:gd name="T13" fmla="*/ 11 h 13"/>
                <a:gd name="T14" fmla="*/ 14 w 31"/>
                <a:gd name="T15" fmla="*/ 12 h 13"/>
                <a:gd name="T16" fmla="*/ 16 w 31"/>
                <a:gd name="T17" fmla="*/ 11 h 13"/>
                <a:gd name="T18" fmla="*/ 20 w 31"/>
                <a:gd name="T19" fmla="*/ 9 h 13"/>
                <a:gd name="T20" fmla="*/ 21 w 31"/>
                <a:gd name="T21" fmla="*/ 9 h 13"/>
                <a:gd name="T22" fmla="*/ 23 w 31"/>
                <a:gd name="T23" fmla="*/ 13 h 13"/>
                <a:gd name="T24" fmla="*/ 24 w 31"/>
                <a:gd name="T25" fmla="*/ 13 h 13"/>
                <a:gd name="T26" fmla="*/ 30 w 31"/>
                <a:gd name="T27" fmla="*/ 8 h 13"/>
                <a:gd name="T28" fmla="*/ 17 w 31"/>
                <a:gd name="T29" fmla="*/ 1 h 13"/>
                <a:gd name="T30" fmla="*/ 15 w 31"/>
                <a:gd name="T31" fmla="*/ 1 h 13"/>
                <a:gd name="T32" fmla="*/ 8 w 31"/>
                <a:gd name="T33" fmla="*/ 0 h 13"/>
                <a:gd name="T34" fmla="*/ 6 w 31"/>
                <a:gd name="T3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13">
                  <a:moveTo>
                    <a:pt x="6" y="0"/>
                  </a:moveTo>
                  <a:cubicBezTo>
                    <a:pt x="4" y="0"/>
                    <a:pt x="2" y="0"/>
                    <a:pt x="0" y="1"/>
                  </a:cubicBezTo>
                  <a:cubicBezTo>
                    <a:pt x="1" y="2"/>
                    <a:pt x="3" y="3"/>
                    <a:pt x="4" y="4"/>
                  </a:cubicBezTo>
                  <a:cubicBezTo>
                    <a:pt x="4" y="5"/>
                    <a:pt x="4" y="5"/>
                    <a:pt x="4" y="6"/>
                  </a:cubicBezTo>
                  <a:cubicBezTo>
                    <a:pt x="4" y="7"/>
                    <a:pt x="4" y="8"/>
                    <a:pt x="5" y="9"/>
                  </a:cubicBezTo>
                  <a:cubicBezTo>
                    <a:pt x="2" y="11"/>
                    <a:pt x="13" y="10"/>
                    <a:pt x="14" y="11"/>
                  </a:cubicBezTo>
                  <a:cubicBezTo>
                    <a:pt x="13" y="11"/>
                    <a:pt x="12" y="11"/>
                    <a:pt x="11" y="11"/>
                  </a:cubicBezTo>
                  <a:cubicBezTo>
                    <a:pt x="12" y="11"/>
                    <a:pt x="13" y="12"/>
                    <a:pt x="14" y="12"/>
                  </a:cubicBezTo>
                  <a:cubicBezTo>
                    <a:pt x="15" y="12"/>
                    <a:pt x="16" y="12"/>
                    <a:pt x="16" y="11"/>
                  </a:cubicBezTo>
                  <a:cubicBezTo>
                    <a:pt x="17" y="10"/>
                    <a:pt x="18" y="9"/>
                    <a:pt x="20" y="9"/>
                  </a:cubicBezTo>
                  <a:cubicBezTo>
                    <a:pt x="20" y="9"/>
                    <a:pt x="20" y="9"/>
                    <a:pt x="21" y="9"/>
                  </a:cubicBezTo>
                  <a:cubicBezTo>
                    <a:pt x="22" y="10"/>
                    <a:pt x="21" y="13"/>
                    <a:pt x="23" y="13"/>
                  </a:cubicBezTo>
                  <a:cubicBezTo>
                    <a:pt x="24" y="13"/>
                    <a:pt x="24" y="13"/>
                    <a:pt x="24" y="13"/>
                  </a:cubicBezTo>
                  <a:cubicBezTo>
                    <a:pt x="26" y="13"/>
                    <a:pt x="29" y="10"/>
                    <a:pt x="30" y="8"/>
                  </a:cubicBezTo>
                  <a:cubicBezTo>
                    <a:pt x="31" y="3"/>
                    <a:pt x="21" y="2"/>
                    <a:pt x="17" y="1"/>
                  </a:cubicBezTo>
                  <a:cubicBezTo>
                    <a:pt x="17" y="1"/>
                    <a:pt x="16" y="1"/>
                    <a:pt x="15" y="1"/>
                  </a:cubicBezTo>
                  <a:cubicBezTo>
                    <a:pt x="13" y="1"/>
                    <a:pt x="10" y="0"/>
                    <a:pt x="8"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64"/>
            <p:cNvSpPr/>
            <p:nvPr/>
          </p:nvSpPr>
          <p:spPr bwMode="auto">
            <a:xfrm>
              <a:off x="8096036" y="5786084"/>
              <a:ext cx="12710" cy="29658"/>
            </a:xfrm>
            <a:custGeom>
              <a:gdLst>
                <a:gd name="T0" fmla="*/ 4 w 4"/>
                <a:gd name="T1" fmla="*/ 0 h 9"/>
                <a:gd name="T2" fmla="*/ 1 w 4"/>
                <a:gd name="T3" fmla="*/ 5 h 9"/>
                <a:gd name="T4" fmla="*/ 2 w 4"/>
                <a:gd name="T5" fmla="*/ 8 h 9"/>
                <a:gd name="T6" fmla="*/ 4 w 4"/>
                <a:gd name="T7" fmla="*/ 9 h 9"/>
                <a:gd name="T8" fmla="*/ 4 w 4"/>
                <a:gd name="T9" fmla="*/ 0 h 9"/>
              </a:gdLst>
              <a:cxnLst>
                <a:cxn ang="0">
                  <a:pos x="T0" y="T1"/>
                </a:cxn>
                <a:cxn ang="0">
                  <a:pos x="T2" y="T3"/>
                </a:cxn>
                <a:cxn ang="0">
                  <a:pos x="T4" y="T5"/>
                </a:cxn>
                <a:cxn ang="0">
                  <a:pos x="T6" y="T7"/>
                </a:cxn>
                <a:cxn ang="0">
                  <a:pos x="T8" y="T9"/>
                </a:cxn>
              </a:cxnLst>
              <a:rect l="0" t="0" r="r" b="b"/>
              <a:pathLst>
                <a:path w="4" h="9">
                  <a:moveTo>
                    <a:pt x="4" y="0"/>
                  </a:moveTo>
                  <a:cubicBezTo>
                    <a:pt x="1" y="2"/>
                    <a:pt x="1" y="3"/>
                    <a:pt x="1" y="5"/>
                  </a:cubicBezTo>
                  <a:cubicBezTo>
                    <a:pt x="1" y="7"/>
                    <a:pt x="0" y="6"/>
                    <a:pt x="2" y="8"/>
                  </a:cubicBezTo>
                  <a:cubicBezTo>
                    <a:pt x="3" y="8"/>
                    <a:pt x="3" y="9"/>
                    <a:pt x="4" y="9"/>
                  </a:cubicBezTo>
                  <a:cubicBezTo>
                    <a:pt x="4" y="6"/>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65"/>
            <p:cNvSpPr/>
            <p:nvPr/>
          </p:nvSpPr>
          <p:spPr bwMode="auto">
            <a:xfrm>
              <a:off x="8079089" y="5663217"/>
              <a:ext cx="12710" cy="15535"/>
            </a:xfrm>
            <a:custGeom>
              <a:gdLst>
                <a:gd name="T0" fmla="*/ 0 w 4"/>
                <a:gd name="T1" fmla="*/ 0 h 5"/>
                <a:gd name="T2" fmla="*/ 1 w 4"/>
                <a:gd name="T3" fmla="*/ 5 h 5"/>
                <a:gd name="T4" fmla="*/ 3 w 4"/>
                <a:gd name="T5" fmla="*/ 3 h 5"/>
                <a:gd name="T6" fmla="*/ 4 w 4"/>
                <a:gd name="T7" fmla="*/ 3 h 5"/>
                <a:gd name="T8" fmla="*/ 0 w 4"/>
                <a:gd name="T9" fmla="*/ 0 h 5"/>
              </a:gdLst>
              <a:cxnLst>
                <a:cxn ang="0">
                  <a:pos x="T0" y="T1"/>
                </a:cxn>
                <a:cxn ang="0">
                  <a:pos x="T2" y="T3"/>
                </a:cxn>
                <a:cxn ang="0">
                  <a:pos x="T4" y="T5"/>
                </a:cxn>
                <a:cxn ang="0">
                  <a:pos x="T6" y="T7"/>
                </a:cxn>
                <a:cxn ang="0">
                  <a:pos x="T8" y="T9"/>
                </a:cxn>
              </a:cxnLst>
              <a:rect l="0" t="0" r="r" b="b"/>
              <a:pathLst>
                <a:path w="4" h="5">
                  <a:moveTo>
                    <a:pt x="0" y="0"/>
                  </a:moveTo>
                  <a:cubicBezTo>
                    <a:pt x="0" y="2"/>
                    <a:pt x="0" y="4"/>
                    <a:pt x="1" y="5"/>
                  </a:cubicBezTo>
                  <a:cubicBezTo>
                    <a:pt x="1" y="4"/>
                    <a:pt x="2" y="3"/>
                    <a:pt x="3" y="3"/>
                  </a:cubicBezTo>
                  <a:cubicBezTo>
                    <a:pt x="3" y="3"/>
                    <a:pt x="3" y="3"/>
                    <a:pt x="4" y="3"/>
                  </a:cubicBezTo>
                  <a:cubicBezTo>
                    <a:pt x="2" y="2"/>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166"/>
            <p:cNvSpPr/>
            <p:nvPr/>
          </p:nvSpPr>
          <p:spPr bwMode="auto">
            <a:xfrm>
              <a:off x="8069203" y="5798795"/>
              <a:ext cx="22596" cy="14123"/>
            </a:xfrm>
            <a:custGeom>
              <a:gdLst>
                <a:gd name="T0" fmla="*/ 4 w 7"/>
                <a:gd name="T1" fmla="*/ 0 h 4"/>
                <a:gd name="T2" fmla="*/ 6 w 7"/>
                <a:gd name="T3" fmla="*/ 4 h 4"/>
                <a:gd name="T4" fmla="*/ 5 w 7"/>
                <a:gd name="T5" fmla="*/ 0 h 4"/>
                <a:gd name="T6" fmla="*/ 4 w 7"/>
                <a:gd name="T7" fmla="*/ 0 h 4"/>
              </a:gdLst>
              <a:cxnLst>
                <a:cxn ang="0">
                  <a:pos x="T0" y="T1"/>
                </a:cxn>
                <a:cxn ang="0">
                  <a:pos x="T2" y="T3"/>
                </a:cxn>
                <a:cxn ang="0">
                  <a:pos x="T4" y="T5"/>
                </a:cxn>
                <a:cxn ang="0">
                  <a:pos x="T6" y="T7"/>
                </a:cxn>
              </a:cxnLst>
              <a:rect l="0" t="0" r="r" b="b"/>
              <a:pathLst>
                <a:path w="7" h="4">
                  <a:moveTo>
                    <a:pt x="4" y="0"/>
                  </a:moveTo>
                  <a:cubicBezTo>
                    <a:pt x="0" y="0"/>
                    <a:pt x="3" y="2"/>
                    <a:pt x="6" y="4"/>
                  </a:cubicBezTo>
                  <a:cubicBezTo>
                    <a:pt x="6" y="2"/>
                    <a:pt x="7"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67"/>
            <p:cNvSpPr/>
            <p:nvPr/>
          </p:nvSpPr>
          <p:spPr bwMode="auto">
            <a:xfrm>
              <a:off x="8579032" y="6821281"/>
              <a:ext cx="26833" cy="22596"/>
            </a:xfrm>
            <a:custGeom>
              <a:gdLst>
                <a:gd name="T0" fmla="*/ 4 w 8"/>
                <a:gd name="T1" fmla="*/ 0 h 7"/>
                <a:gd name="T2" fmla="*/ 4 w 8"/>
                <a:gd name="T3" fmla="*/ 4 h 7"/>
                <a:gd name="T4" fmla="*/ 1 w 8"/>
                <a:gd name="T5" fmla="*/ 3 h 7"/>
                <a:gd name="T6" fmla="*/ 0 w 8"/>
                <a:gd name="T7" fmla="*/ 4 h 7"/>
                <a:gd name="T8" fmla="*/ 5 w 8"/>
                <a:gd name="T9" fmla="*/ 6 h 7"/>
                <a:gd name="T10" fmla="*/ 6 w 8"/>
                <a:gd name="T11" fmla="*/ 6 h 7"/>
                <a:gd name="T12" fmla="*/ 7 w 8"/>
                <a:gd name="T13" fmla="*/ 7 h 7"/>
                <a:gd name="T14" fmla="*/ 7 w 8"/>
                <a:gd name="T15" fmla="*/ 6 h 7"/>
                <a:gd name="T16" fmla="*/ 4 w 8"/>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0"/>
                  </a:moveTo>
                  <a:cubicBezTo>
                    <a:pt x="4" y="1"/>
                    <a:pt x="4" y="3"/>
                    <a:pt x="4" y="4"/>
                  </a:cubicBezTo>
                  <a:cubicBezTo>
                    <a:pt x="3" y="3"/>
                    <a:pt x="2" y="3"/>
                    <a:pt x="1" y="3"/>
                  </a:cubicBezTo>
                  <a:cubicBezTo>
                    <a:pt x="1" y="3"/>
                    <a:pt x="1" y="3"/>
                    <a:pt x="0" y="4"/>
                  </a:cubicBezTo>
                  <a:cubicBezTo>
                    <a:pt x="1" y="5"/>
                    <a:pt x="4" y="6"/>
                    <a:pt x="5" y="6"/>
                  </a:cubicBezTo>
                  <a:cubicBezTo>
                    <a:pt x="5" y="6"/>
                    <a:pt x="6" y="6"/>
                    <a:pt x="6" y="6"/>
                  </a:cubicBezTo>
                  <a:cubicBezTo>
                    <a:pt x="5" y="6"/>
                    <a:pt x="6" y="7"/>
                    <a:pt x="7" y="7"/>
                  </a:cubicBezTo>
                  <a:cubicBezTo>
                    <a:pt x="7" y="7"/>
                    <a:pt x="7" y="7"/>
                    <a:pt x="7" y="6"/>
                  </a:cubicBezTo>
                  <a:cubicBezTo>
                    <a:pt x="8" y="5"/>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68"/>
            <p:cNvSpPr/>
            <p:nvPr/>
          </p:nvSpPr>
          <p:spPr bwMode="auto">
            <a:xfrm>
              <a:off x="8062142" y="5732418"/>
              <a:ext cx="26833" cy="14123"/>
            </a:xfrm>
            <a:custGeom>
              <a:gdLst>
                <a:gd name="T0" fmla="*/ 4 w 8"/>
                <a:gd name="T1" fmla="*/ 0 h 4"/>
                <a:gd name="T2" fmla="*/ 0 w 8"/>
                <a:gd name="T3" fmla="*/ 4 h 4"/>
                <a:gd name="T4" fmla="*/ 8 w 8"/>
                <a:gd name="T5" fmla="*/ 2 h 4"/>
                <a:gd name="T6" fmla="*/ 4 w 8"/>
                <a:gd name="T7" fmla="*/ 0 h 4"/>
              </a:gdLst>
              <a:cxnLst>
                <a:cxn ang="0">
                  <a:pos x="T0" y="T1"/>
                </a:cxn>
                <a:cxn ang="0">
                  <a:pos x="T2" y="T3"/>
                </a:cxn>
                <a:cxn ang="0">
                  <a:pos x="T4" y="T5"/>
                </a:cxn>
                <a:cxn ang="0">
                  <a:pos x="T6" y="T7"/>
                </a:cxn>
              </a:cxnLst>
              <a:rect l="0" t="0" r="r" b="b"/>
              <a:pathLst>
                <a:path w="8" h="4">
                  <a:moveTo>
                    <a:pt x="4" y="0"/>
                  </a:moveTo>
                  <a:cubicBezTo>
                    <a:pt x="2" y="0"/>
                    <a:pt x="1" y="2"/>
                    <a:pt x="0" y="4"/>
                  </a:cubicBezTo>
                  <a:cubicBezTo>
                    <a:pt x="2" y="3"/>
                    <a:pt x="5" y="4"/>
                    <a:pt x="8"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69"/>
            <p:cNvSpPr/>
            <p:nvPr/>
          </p:nvSpPr>
          <p:spPr bwMode="auto">
            <a:xfrm>
              <a:off x="7985879" y="6043118"/>
              <a:ext cx="32482" cy="36719"/>
            </a:xfrm>
            <a:custGeom>
              <a:gdLst>
                <a:gd name="T0" fmla="*/ 0 w 10"/>
                <a:gd name="T1" fmla="*/ 0 h 11"/>
                <a:gd name="T2" fmla="*/ 0 w 10"/>
                <a:gd name="T3" fmla="*/ 0 h 11"/>
                <a:gd name="T4" fmla="*/ 5 w 10"/>
                <a:gd name="T5" fmla="*/ 11 h 11"/>
                <a:gd name="T6" fmla="*/ 10 w 10"/>
                <a:gd name="T7" fmla="*/ 4 h 11"/>
                <a:gd name="T8" fmla="*/ 8 w 10"/>
                <a:gd name="T9" fmla="*/ 5 h 11"/>
                <a:gd name="T10" fmla="*/ 5 w 10"/>
                <a:gd name="T11" fmla="*/ 1 h 11"/>
                <a:gd name="T12" fmla="*/ 0 w 10"/>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10" h="11">
                  <a:moveTo>
                    <a:pt x="0" y="0"/>
                  </a:moveTo>
                  <a:cubicBezTo>
                    <a:pt x="0" y="0"/>
                    <a:pt x="0" y="0"/>
                    <a:pt x="0" y="0"/>
                  </a:cubicBezTo>
                  <a:cubicBezTo>
                    <a:pt x="1" y="5"/>
                    <a:pt x="3" y="7"/>
                    <a:pt x="5" y="11"/>
                  </a:cubicBezTo>
                  <a:cubicBezTo>
                    <a:pt x="7" y="9"/>
                    <a:pt x="9" y="6"/>
                    <a:pt x="10" y="4"/>
                  </a:cubicBezTo>
                  <a:cubicBezTo>
                    <a:pt x="10" y="4"/>
                    <a:pt x="9" y="5"/>
                    <a:pt x="8" y="5"/>
                  </a:cubicBezTo>
                  <a:cubicBezTo>
                    <a:pt x="8" y="3"/>
                    <a:pt x="7" y="2"/>
                    <a:pt x="5"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70"/>
            <p:cNvSpPr/>
            <p:nvPr/>
          </p:nvSpPr>
          <p:spPr bwMode="auto">
            <a:xfrm>
              <a:off x="7954809" y="6136328"/>
              <a:ext cx="31070" cy="26833"/>
            </a:xfrm>
            <a:custGeom>
              <a:gdLst>
                <a:gd name="T0" fmla="*/ 7 w 9"/>
                <a:gd name="T1" fmla="*/ 0 h 8"/>
                <a:gd name="T2" fmla="*/ 1 w 9"/>
                <a:gd name="T3" fmla="*/ 4 h 8"/>
                <a:gd name="T4" fmla="*/ 3 w 9"/>
                <a:gd name="T5" fmla="*/ 8 h 8"/>
                <a:gd name="T6" fmla="*/ 5 w 9"/>
                <a:gd name="T7" fmla="*/ 4 h 8"/>
                <a:gd name="T8" fmla="*/ 5 w 9"/>
                <a:gd name="T9" fmla="*/ 4 h 8"/>
                <a:gd name="T10" fmla="*/ 6 w 9"/>
                <a:gd name="T11" fmla="*/ 4 h 8"/>
                <a:gd name="T12" fmla="*/ 7 w 9"/>
                <a:gd name="T13" fmla="*/ 4 h 8"/>
                <a:gd name="T14" fmla="*/ 7 w 9"/>
                <a:gd name="T15" fmla="*/ 4 h 8"/>
                <a:gd name="T16" fmla="*/ 7 w 9"/>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7" y="0"/>
                  </a:moveTo>
                  <a:cubicBezTo>
                    <a:pt x="5" y="1"/>
                    <a:pt x="3" y="2"/>
                    <a:pt x="1" y="4"/>
                  </a:cubicBezTo>
                  <a:cubicBezTo>
                    <a:pt x="0" y="6"/>
                    <a:pt x="0" y="6"/>
                    <a:pt x="3" y="8"/>
                  </a:cubicBezTo>
                  <a:cubicBezTo>
                    <a:pt x="3" y="7"/>
                    <a:pt x="4" y="5"/>
                    <a:pt x="5" y="4"/>
                  </a:cubicBezTo>
                  <a:cubicBezTo>
                    <a:pt x="5" y="4"/>
                    <a:pt x="5" y="4"/>
                    <a:pt x="5" y="4"/>
                  </a:cubicBezTo>
                  <a:cubicBezTo>
                    <a:pt x="6" y="4"/>
                    <a:pt x="6" y="4"/>
                    <a:pt x="6" y="4"/>
                  </a:cubicBezTo>
                  <a:cubicBezTo>
                    <a:pt x="6" y="4"/>
                    <a:pt x="6" y="4"/>
                    <a:pt x="7" y="4"/>
                  </a:cubicBezTo>
                  <a:cubicBezTo>
                    <a:pt x="7" y="4"/>
                    <a:pt x="7" y="4"/>
                    <a:pt x="7" y="4"/>
                  </a:cubicBezTo>
                  <a:cubicBezTo>
                    <a:pt x="9" y="2"/>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71"/>
            <p:cNvSpPr/>
            <p:nvPr/>
          </p:nvSpPr>
          <p:spPr bwMode="auto">
            <a:xfrm>
              <a:off x="8042370" y="5715471"/>
              <a:ext cx="9886" cy="16947"/>
            </a:xfrm>
            <a:custGeom>
              <a:gdLst>
                <a:gd name="T0" fmla="*/ 1 w 3"/>
                <a:gd name="T1" fmla="*/ 0 h 5"/>
                <a:gd name="T2" fmla="*/ 0 w 3"/>
                <a:gd name="T3" fmla="*/ 1 h 5"/>
                <a:gd name="T4" fmla="*/ 3 w 3"/>
                <a:gd name="T5" fmla="*/ 5 h 5"/>
                <a:gd name="T6" fmla="*/ 1 w 3"/>
                <a:gd name="T7" fmla="*/ 0 h 5"/>
              </a:gdLst>
              <a:cxnLst>
                <a:cxn ang="0">
                  <a:pos x="T0" y="T1"/>
                </a:cxn>
                <a:cxn ang="0">
                  <a:pos x="T2" y="T3"/>
                </a:cxn>
                <a:cxn ang="0">
                  <a:pos x="T4" y="T5"/>
                </a:cxn>
                <a:cxn ang="0">
                  <a:pos x="T6" y="T7"/>
                </a:cxn>
              </a:cxnLst>
              <a:rect l="0" t="0" r="r" b="b"/>
              <a:pathLst>
                <a:path w="3" h="5">
                  <a:moveTo>
                    <a:pt x="1" y="0"/>
                  </a:moveTo>
                  <a:cubicBezTo>
                    <a:pt x="1" y="0"/>
                    <a:pt x="1" y="1"/>
                    <a:pt x="0" y="1"/>
                  </a:cubicBezTo>
                  <a:cubicBezTo>
                    <a:pt x="1" y="2"/>
                    <a:pt x="2" y="3"/>
                    <a:pt x="3" y="5"/>
                  </a:cubicBezTo>
                  <a:cubicBezTo>
                    <a:pt x="3"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72"/>
            <p:cNvSpPr/>
            <p:nvPr/>
          </p:nvSpPr>
          <p:spPr bwMode="auto">
            <a:xfrm>
              <a:off x="8399674" y="6745018"/>
              <a:ext cx="56491" cy="15535"/>
            </a:xfrm>
            <a:custGeom>
              <a:gdLst>
                <a:gd name="T0" fmla="*/ 5 w 17"/>
                <a:gd name="T1" fmla="*/ 0 h 5"/>
                <a:gd name="T2" fmla="*/ 0 w 17"/>
                <a:gd name="T3" fmla="*/ 5 h 5"/>
                <a:gd name="T4" fmla="*/ 10 w 17"/>
                <a:gd name="T5" fmla="*/ 4 h 5"/>
                <a:gd name="T6" fmla="*/ 17 w 17"/>
                <a:gd name="T7" fmla="*/ 3 h 5"/>
                <a:gd name="T8" fmla="*/ 6 w 17"/>
                <a:gd name="T9" fmla="*/ 0 h 5"/>
                <a:gd name="T10" fmla="*/ 5 w 17"/>
                <a:gd name="T11" fmla="*/ 0 h 5"/>
              </a:gdLst>
              <a:cxnLst>
                <a:cxn ang="0">
                  <a:pos x="T0" y="T1"/>
                </a:cxn>
                <a:cxn ang="0">
                  <a:pos x="T2" y="T3"/>
                </a:cxn>
                <a:cxn ang="0">
                  <a:pos x="T4" y="T5"/>
                </a:cxn>
                <a:cxn ang="0">
                  <a:pos x="T6" y="T7"/>
                </a:cxn>
                <a:cxn ang="0">
                  <a:pos x="T8" y="T9"/>
                </a:cxn>
                <a:cxn ang="0">
                  <a:pos x="T10" y="T11"/>
                </a:cxn>
              </a:cxnLst>
              <a:rect l="0" t="0" r="r" b="b"/>
              <a:pathLst>
                <a:path w="17" h="5">
                  <a:moveTo>
                    <a:pt x="5" y="0"/>
                  </a:moveTo>
                  <a:cubicBezTo>
                    <a:pt x="2" y="0"/>
                    <a:pt x="1" y="2"/>
                    <a:pt x="0" y="5"/>
                  </a:cubicBezTo>
                  <a:cubicBezTo>
                    <a:pt x="2" y="4"/>
                    <a:pt x="7" y="5"/>
                    <a:pt x="10" y="4"/>
                  </a:cubicBezTo>
                  <a:cubicBezTo>
                    <a:pt x="11" y="4"/>
                    <a:pt x="14" y="3"/>
                    <a:pt x="17" y="3"/>
                  </a:cubicBezTo>
                  <a:cubicBezTo>
                    <a:pt x="14" y="2"/>
                    <a:pt x="10"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73"/>
            <p:cNvSpPr/>
            <p:nvPr/>
          </p:nvSpPr>
          <p:spPr bwMode="auto">
            <a:xfrm>
              <a:off x="7995765" y="6413134"/>
              <a:ext cx="12710" cy="16947"/>
            </a:xfrm>
            <a:custGeom>
              <a:gdLst>
                <a:gd name="T0" fmla="*/ 4 w 4"/>
                <a:gd name="T1" fmla="*/ 0 h 5"/>
                <a:gd name="T2" fmla="*/ 0 w 4"/>
                <a:gd name="T3" fmla="*/ 5 h 5"/>
                <a:gd name="T4" fmla="*/ 4 w 4"/>
                <a:gd name="T5" fmla="*/ 0 h 5"/>
              </a:gdLst>
              <a:cxnLst>
                <a:cxn ang="0">
                  <a:pos x="T0" y="T1"/>
                </a:cxn>
                <a:cxn ang="0">
                  <a:pos x="T2" y="T3"/>
                </a:cxn>
                <a:cxn ang="0">
                  <a:pos x="T4" y="T5"/>
                </a:cxn>
              </a:cxnLst>
              <a:rect l="0" t="0" r="r" b="b"/>
              <a:pathLst>
                <a:path w="4" h="5">
                  <a:moveTo>
                    <a:pt x="4" y="0"/>
                  </a:moveTo>
                  <a:cubicBezTo>
                    <a:pt x="2" y="1"/>
                    <a:pt x="1" y="3"/>
                    <a:pt x="0" y="5"/>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174"/>
            <p:cNvSpPr/>
            <p:nvPr/>
          </p:nvSpPr>
          <p:spPr bwMode="auto">
            <a:xfrm>
              <a:off x="8231614" y="6718185"/>
              <a:ext cx="7061" cy="12710"/>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0" y="0"/>
                    <a:pt x="0" y="2"/>
                    <a:pt x="2" y="4"/>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75"/>
            <p:cNvSpPr/>
            <p:nvPr/>
          </p:nvSpPr>
          <p:spPr bwMode="auto">
            <a:xfrm>
              <a:off x="8125694" y="6654633"/>
              <a:ext cx="16947" cy="9886"/>
            </a:xfrm>
            <a:custGeom>
              <a:gdLst>
                <a:gd name="T0" fmla="*/ 2 w 5"/>
                <a:gd name="T1" fmla="*/ 0 h 3"/>
                <a:gd name="T2" fmla="*/ 0 w 5"/>
                <a:gd name="T3" fmla="*/ 1 h 3"/>
                <a:gd name="T4" fmla="*/ 5 w 5"/>
                <a:gd name="T5" fmla="*/ 3 h 3"/>
                <a:gd name="T6" fmla="*/ 2 w 5"/>
                <a:gd name="T7" fmla="*/ 0 h 3"/>
              </a:gdLst>
              <a:cxnLst>
                <a:cxn ang="0">
                  <a:pos x="T0" y="T1"/>
                </a:cxn>
                <a:cxn ang="0">
                  <a:pos x="T2" y="T3"/>
                </a:cxn>
                <a:cxn ang="0">
                  <a:pos x="T4" y="T5"/>
                </a:cxn>
                <a:cxn ang="0">
                  <a:pos x="T6" y="T7"/>
                </a:cxn>
              </a:cxnLst>
              <a:rect l="0" t="0" r="r" b="b"/>
              <a:pathLst>
                <a:path w="5" h="3">
                  <a:moveTo>
                    <a:pt x="2" y="0"/>
                  </a:moveTo>
                  <a:cubicBezTo>
                    <a:pt x="1" y="0"/>
                    <a:pt x="1" y="0"/>
                    <a:pt x="0" y="1"/>
                  </a:cubicBezTo>
                  <a:cubicBezTo>
                    <a:pt x="1" y="2"/>
                    <a:pt x="3" y="2"/>
                    <a:pt x="5"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76"/>
            <p:cNvSpPr/>
            <p:nvPr/>
          </p:nvSpPr>
          <p:spPr bwMode="auto">
            <a:xfrm>
              <a:off x="8005651" y="6302977"/>
              <a:ext cx="22596" cy="24009"/>
            </a:xfrm>
            <a:custGeom>
              <a:gdLst>
                <a:gd name="T0" fmla="*/ 3 w 7"/>
                <a:gd name="T1" fmla="*/ 0 h 7"/>
                <a:gd name="T2" fmla="*/ 2 w 7"/>
                <a:gd name="T3" fmla="*/ 1 h 7"/>
                <a:gd name="T4" fmla="*/ 7 w 7"/>
                <a:gd name="T5" fmla="*/ 7 h 7"/>
                <a:gd name="T6" fmla="*/ 6 w 7"/>
                <a:gd name="T7" fmla="*/ 3 h 7"/>
                <a:gd name="T8" fmla="*/ 5 w 7"/>
                <a:gd name="T9" fmla="*/ 1 h 7"/>
                <a:gd name="T10" fmla="*/ 3 w 7"/>
                <a:gd name="T11" fmla="*/ 0 h 7"/>
              </a:gdLst>
              <a:cxnLst>
                <a:cxn ang="0">
                  <a:pos x="T0" y="T1"/>
                </a:cxn>
                <a:cxn ang="0">
                  <a:pos x="T2" y="T3"/>
                </a:cxn>
                <a:cxn ang="0">
                  <a:pos x="T4" y="T5"/>
                </a:cxn>
                <a:cxn ang="0">
                  <a:pos x="T6" y="T7"/>
                </a:cxn>
                <a:cxn ang="0">
                  <a:pos x="T8" y="T9"/>
                </a:cxn>
                <a:cxn ang="0">
                  <a:pos x="T10" y="T11"/>
                </a:cxn>
              </a:cxnLst>
              <a:rect l="0" t="0" r="r" b="b"/>
              <a:pathLst>
                <a:path w="7" h="7">
                  <a:moveTo>
                    <a:pt x="3" y="0"/>
                  </a:moveTo>
                  <a:cubicBezTo>
                    <a:pt x="3" y="0"/>
                    <a:pt x="2" y="0"/>
                    <a:pt x="2" y="1"/>
                  </a:cubicBezTo>
                  <a:cubicBezTo>
                    <a:pt x="0" y="3"/>
                    <a:pt x="5" y="6"/>
                    <a:pt x="7" y="7"/>
                  </a:cubicBezTo>
                  <a:cubicBezTo>
                    <a:pt x="5" y="4"/>
                    <a:pt x="6" y="5"/>
                    <a:pt x="6" y="3"/>
                  </a:cubicBezTo>
                  <a:cubicBezTo>
                    <a:pt x="5" y="1"/>
                    <a:pt x="6"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77"/>
            <p:cNvSpPr/>
            <p:nvPr/>
          </p:nvSpPr>
          <p:spPr bwMode="auto">
            <a:xfrm>
              <a:off x="8069203" y="5786084"/>
              <a:ext cx="32482" cy="12710"/>
            </a:xfrm>
            <a:custGeom>
              <a:gdLst>
                <a:gd name="T0" fmla="*/ 3 w 10"/>
                <a:gd name="T1" fmla="*/ 0 h 4"/>
                <a:gd name="T2" fmla="*/ 2 w 10"/>
                <a:gd name="T3" fmla="*/ 1 h 4"/>
                <a:gd name="T4" fmla="*/ 2 w 10"/>
                <a:gd name="T5" fmla="*/ 4 h 4"/>
                <a:gd name="T6" fmla="*/ 2 w 10"/>
                <a:gd name="T7" fmla="*/ 4 h 4"/>
                <a:gd name="T8" fmla="*/ 4 w 10"/>
                <a:gd name="T9" fmla="*/ 3 h 4"/>
                <a:gd name="T10" fmla="*/ 5 w 10"/>
                <a:gd name="T11" fmla="*/ 3 h 4"/>
                <a:gd name="T12" fmla="*/ 6 w 10"/>
                <a:gd name="T13" fmla="*/ 3 h 4"/>
                <a:gd name="T14" fmla="*/ 7 w 10"/>
                <a:gd name="T15" fmla="*/ 3 h 4"/>
                <a:gd name="T16" fmla="*/ 4 w 10"/>
                <a:gd name="T17" fmla="*/ 0 h 4"/>
                <a:gd name="T18" fmla="*/ 4 w 10"/>
                <a:gd name="T19" fmla="*/ 0 h 4"/>
                <a:gd name="T20" fmla="*/ 4 w 10"/>
                <a:gd name="T21" fmla="*/ 0 h 4"/>
                <a:gd name="T22" fmla="*/ 4 w 10"/>
                <a:gd name="T23" fmla="*/ 0 h 4"/>
                <a:gd name="T24" fmla="*/ 3 w 10"/>
                <a:gd name="T25"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4">
                  <a:moveTo>
                    <a:pt x="3" y="0"/>
                  </a:moveTo>
                  <a:cubicBezTo>
                    <a:pt x="3" y="0"/>
                    <a:pt x="2" y="0"/>
                    <a:pt x="2" y="1"/>
                  </a:cubicBezTo>
                  <a:cubicBezTo>
                    <a:pt x="1" y="2"/>
                    <a:pt x="0" y="4"/>
                    <a:pt x="2" y="4"/>
                  </a:cubicBezTo>
                  <a:cubicBezTo>
                    <a:pt x="2" y="4"/>
                    <a:pt x="2" y="4"/>
                    <a:pt x="2" y="4"/>
                  </a:cubicBezTo>
                  <a:cubicBezTo>
                    <a:pt x="3" y="3"/>
                    <a:pt x="3" y="3"/>
                    <a:pt x="4" y="3"/>
                  </a:cubicBezTo>
                  <a:cubicBezTo>
                    <a:pt x="4" y="3"/>
                    <a:pt x="5" y="3"/>
                    <a:pt x="5" y="3"/>
                  </a:cubicBezTo>
                  <a:cubicBezTo>
                    <a:pt x="5" y="3"/>
                    <a:pt x="6" y="3"/>
                    <a:pt x="6" y="3"/>
                  </a:cubicBezTo>
                  <a:cubicBezTo>
                    <a:pt x="6" y="3"/>
                    <a:pt x="7" y="3"/>
                    <a:pt x="7" y="3"/>
                  </a:cubicBezTo>
                  <a:cubicBezTo>
                    <a:pt x="10" y="3"/>
                    <a:pt x="6" y="0"/>
                    <a:pt x="4" y="0"/>
                  </a:cubicBezTo>
                  <a:cubicBezTo>
                    <a:pt x="4" y="0"/>
                    <a:pt x="4" y="0"/>
                    <a:pt x="4" y="0"/>
                  </a:cubicBezTo>
                  <a:cubicBezTo>
                    <a:pt x="4" y="0"/>
                    <a:pt x="4" y="0"/>
                    <a:pt x="4" y="0"/>
                  </a:cubicBezTo>
                  <a:cubicBezTo>
                    <a:pt x="4" y="0"/>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78"/>
            <p:cNvSpPr/>
            <p:nvPr/>
          </p:nvSpPr>
          <p:spPr bwMode="auto">
            <a:xfrm flipH="1">
              <a:off x="8615751" y="6843877"/>
              <a:ext cx="0" cy="14123"/>
            </a:xfrm>
            <a:custGeom>
              <a:gdLst>
                <a:gd name="T0" fmla="*/ 0 h 4"/>
                <a:gd name="T1" fmla="*/ 4 h 4"/>
                <a:gd name="T2" fmla="*/ 0 h 4"/>
              </a:gdLst>
              <a:cxnLst>
                <a:cxn ang="0">
                  <a:pos x="0" y="T0"/>
                </a:cxn>
                <a:cxn ang="0">
                  <a:pos x="0" y="T1"/>
                </a:cxn>
                <a:cxn ang="0">
                  <a:pos x="0" y="T2"/>
                </a:cxn>
              </a:cxnLst>
              <a:rect l="0" t="0" r="r" b="b"/>
              <a:pathLst>
                <a:path h="4">
                  <a:moveTo>
                    <a:pt x="0" y="0"/>
                  </a:moveTo>
                  <a:cubicBezTo>
                    <a:pt x="0" y="1"/>
                    <a:pt x="0" y="3"/>
                    <a:pt x="0" y="4"/>
                  </a:cubicBezTo>
                  <a:cubicBezTo>
                    <a:pt x="0" y="3"/>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79"/>
            <p:cNvSpPr/>
            <p:nvPr/>
          </p:nvSpPr>
          <p:spPr bwMode="auto">
            <a:xfrm>
              <a:off x="8032484" y="5709822"/>
              <a:ext cx="12710" cy="5649"/>
            </a:xfrm>
            <a:custGeom>
              <a:gdLst>
                <a:gd name="T0" fmla="*/ 1 w 4"/>
                <a:gd name="T1" fmla="*/ 0 h 2"/>
                <a:gd name="T2" fmla="*/ 0 w 4"/>
                <a:gd name="T3" fmla="*/ 1 h 2"/>
                <a:gd name="T4" fmla="*/ 4 w 4"/>
                <a:gd name="T5" fmla="*/ 2 h 2"/>
                <a:gd name="T6" fmla="*/ 1 w 4"/>
                <a:gd name="T7" fmla="*/ 0 h 2"/>
              </a:gdLst>
              <a:cxnLst>
                <a:cxn ang="0">
                  <a:pos x="T0" y="T1"/>
                </a:cxn>
                <a:cxn ang="0">
                  <a:pos x="T2" y="T3"/>
                </a:cxn>
                <a:cxn ang="0">
                  <a:pos x="T4" y="T5"/>
                </a:cxn>
                <a:cxn ang="0">
                  <a:pos x="T6" y="T7"/>
                </a:cxn>
              </a:cxnLst>
              <a:rect l="0" t="0" r="r" b="b"/>
              <a:pathLst>
                <a:path w="4" h="2">
                  <a:moveTo>
                    <a:pt x="1" y="0"/>
                  </a:moveTo>
                  <a:cubicBezTo>
                    <a:pt x="1" y="0"/>
                    <a:pt x="0" y="0"/>
                    <a:pt x="0" y="1"/>
                  </a:cubicBezTo>
                  <a:cubicBezTo>
                    <a:pt x="1" y="2"/>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80"/>
            <p:cNvSpPr/>
            <p:nvPr/>
          </p:nvSpPr>
          <p:spPr bwMode="auto">
            <a:xfrm>
              <a:off x="8045194" y="6410309"/>
              <a:ext cx="36719" cy="26833"/>
            </a:xfrm>
            <a:custGeom>
              <a:gdLst>
                <a:gd name="T0" fmla="*/ 0 w 11"/>
                <a:gd name="T1" fmla="*/ 0 h 8"/>
                <a:gd name="T2" fmla="*/ 7 w 11"/>
                <a:gd name="T3" fmla="*/ 8 h 8"/>
                <a:gd name="T4" fmla="*/ 4 w 11"/>
                <a:gd name="T5" fmla="*/ 3 h 8"/>
                <a:gd name="T6" fmla="*/ 0 w 11"/>
                <a:gd name="T7" fmla="*/ 0 h 8"/>
              </a:gdLst>
              <a:cxnLst>
                <a:cxn ang="0">
                  <a:pos x="T0" y="T1"/>
                </a:cxn>
                <a:cxn ang="0">
                  <a:pos x="T2" y="T3"/>
                </a:cxn>
                <a:cxn ang="0">
                  <a:pos x="T4" y="T5"/>
                </a:cxn>
                <a:cxn ang="0">
                  <a:pos x="T6" y="T7"/>
                </a:cxn>
              </a:cxnLst>
              <a:rect l="0" t="0" r="r" b="b"/>
              <a:pathLst>
                <a:path w="11" h="8">
                  <a:moveTo>
                    <a:pt x="0" y="0"/>
                  </a:moveTo>
                  <a:cubicBezTo>
                    <a:pt x="2" y="3"/>
                    <a:pt x="5" y="5"/>
                    <a:pt x="7" y="8"/>
                  </a:cubicBezTo>
                  <a:cubicBezTo>
                    <a:pt x="11" y="5"/>
                    <a:pt x="5" y="4"/>
                    <a:pt x="4" y="3"/>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81"/>
            <p:cNvSpPr/>
            <p:nvPr/>
          </p:nvSpPr>
          <p:spPr bwMode="auto">
            <a:xfrm>
              <a:off x="8559261" y="6848114"/>
              <a:ext cx="19772" cy="0"/>
            </a:xfrm>
            <a:custGeom>
              <a:gdLst>
                <a:gd name="T0" fmla="*/ 2 w 6"/>
                <a:gd name="T1" fmla="*/ 0 w 6"/>
                <a:gd name="T2" fmla="*/ 1 w 6"/>
                <a:gd name="T3" fmla="*/ 6 w 6"/>
                <a:gd name="T4" fmla="*/ 2 w 6"/>
              </a:gdLst>
              <a:cxnLst>
                <a:cxn ang="0">
                  <a:pos x="T0" y="0"/>
                </a:cxn>
                <a:cxn ang="0">
                  <a:pos x="T1" y="0"/>
                </a:cxn>
                <a:cxn ang="0">
                  <a:pos x="T2" y="0"/>
                </a:cxn>
                <a:cxn ang="0">
                  <a:pos x="T3" y="0"/>
                </a:cxn>
                <a:cxn ang="0">
                  <a:pos x="T4" y="0"/>
                </a:cxn>
              </a:cxnLst>
              <a:rect l="0" t="0" r="r" b="b"/>
              <a:pathLst>
                <a:path w="6">
                  <a:moveTo>
                    <a:pt x="2" y="0"/>
                  </a:moveTo>
                  <a:cubicBezTo>
                    <a:pt x="1" y="0"/>
                    <a:pt x="0" y="0"/>
                    <a:pt x="0" y="0"/>
                  </a:cubicBezTo>
                  <a:cubicBezTo>
                    <a:pt x="0" y="0"/>
                    <a:pt x="1" y="0"/>
                    <a:pt x="1" y="0"/>
                  </a:cubicBezTo>
                  <a:cubicBezTo>
                    <a:pt x="3" y="0"/>
                    <a:pt x="4" y="0"/>
                    <a:pt x="6" y="0"/>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82"/>
            <p:cNvSpPr/>
            <p:nvPr/>
          </p:nvSpPr>
          <p:spPr bwMode="auto">
            <a:xfrm>
              <a:off x="8194895" y="6687115"/>
              <a:ext cx="21184" cy="9886"/>
            </a:xfrm>
            <a:custGeom>
              <a:gdLst>
                <a:gd name="T0" fmla="*/ 2 w 6"/>
                <a:gd name="T1" fmla="*/ 0 h 3"/>
                <a:gd name="T2" fmla="*/ 2 w 6"/>
                <a:gd name="T3" fmla="*/ 3 h 3"/>
                <a:gd name="T4" fmla="*/ 4 w 6"/>
                <a:gd name="T5" fmla="*/ 0 h 3"/>
                <a:gd name="T6" fmla="*/ 5 w 6"/>
                <a:gd name="T7" fmla="*/ 0 h 3"/>
                <a:gd name="T8" fmla="*/ 5 w 6"/>
                <a:gd name="T9" fmla="*/ 0 h 3"/>
                <a:gd name="T10" fmla="*/ 2 w 6"/>
                <a:gd name="T11" fmla="*/ 0 h 3"/>
              </a:gdLst>
              <a:cxnLst>
                <a:cxn ang="0">
                  <a:pos x="T0" y="T1"/>
                </a:cxn>
                <a:cxn ang="0">
                  <a:pos x="T2" y="T3"/>
                </a:cxn>
                <a:cxn ang="0">
                  <a:pos x="T4" y="T5"/>
                </a:cxn>
                <a:cxn ang="0">
                  <a:pos x="T6" y="T7"/>
                </a:cxn>
                <a:cxn ang="0">
                  <a:pos x="T8" y="T9"/>
                </a:cxn>
                <a:cxn ang="0">
                  <a:pos x="T10" y="T11"/>
                </a:cxn>
              </a:cxnLst>
              <a:rect l="0" t="0" r="r" b="b"/>
              <a:pathLst>
                <a:path w="6" h="3">
                  <a:moveTo>
                    <a:pt x="2" y="0"/>
                  </a:moveTo>
                  <a:cubicBezTo>
                    <a:pt x="1" y="0"/>
                    <a:pt x="0" y="0"/>
                    <a:pt x="2" y="3"/>
                  </a:cubicBezTo>
                  <a:cubicBezTo>
                    <a:pt x="3" y="2"/>
                    <a:pt x="4" y="1"/>
                    <a:pt x="4" y="0"/>
                  </a:cubicBezTo>
                  <a:cubicBezTo>
                    <a:pt x="4" y="0"/>
                    <a:pt x="5" y="0"/>
                    <a:pt x="5" y="0"/>
                  </a:cubicBezTo>
                  <a:cubicBezTo>
                    <a:pt x="6" y="0"/>
                    <a:pt x="6"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83"/>
            <p:cNvSpPr>
              <a:spLocks noEditPoints="1"/>
            </p:cNvSpPr>
            <p:nvPr/>
          </p:nvSpPr>
          <p:spPr bwMode="auto">
            <a:xfrm>
              <a:off x="8655295" y="6781737"/>
              <a:ext cx="11298" cy="5649"/>
            </a:xfrm>
            <a:custGeom>
              <a:gdLst>
                <a:gd name="T0" fmla="*/ 1 w 3"/>
                <a:gd name="T1" fmla="*/ 2 h 2"/>
                <a:gd name="T2" fmla="*/ 0 w 3"/>
                <a:gd name="T3" fmla="*/ 2 h 2"/>
                <a:gd name="T4" fmla="*/ 1 w 3"/>
                <a:gd name="T5" fmla="*/ 2 h 2"/>
                <a:gd name="T6" fmla="*/ 3 w 3"/>
                <a:gd name="T7" fmla="*/ 0 h 2"/>
                <a:gd name="T8" fmla="*/ 1 w 3"/>
                <a:gd name="T9" fmla="*/ 2 h 2"/>
                <a:gd name="T10" fmla="*/ 3 w 3"/>
                <a:gd name="T11" fmla="*/ 0 h 2"/>
              </a:gdLst>
              <a:cxnLst>
                <a:cxn ang="0">
                  <a:pos x="T0" y="T1"/>
                </a:cxn>
                <a:cxn ang="0">
                  <a:pos x="T2" y="T3"/>
                </a:cxn>
                <a:cxn ang="0">
                  <a:pos x="T4" y="T5"/>
                </a:cxn>
                <a:cxn ang="0">
                  <a:pos x="T6" y="T7"/>
                </a:cxn>
                <a:cxn ang="0">
                  <a:pos x="T8" y="T9"/>
                </a:cxn>
                <a:cxn ang="0">
                  <a:pos x="T10" y="T11"/>
                </a:cxn>
              </a:cxnLst>
              <a:rect l="0" t="0" r="r" b="b"/>
              <a:pathLst>
                <a:path w="3" h="2">
                  <a:moveTo>
                    <a:pt x="1" y="2"/>
                  </a:moveTo>
                  <a:cubicBezTo>
                    <a:pt x="1" y="2"/>
                    <a:pt x="0" y="2"/>
                    <a:pt x="0" y="2"/>
                  </a:cubicBezTo>
                  <a:cubicBezTo>
                    <a:pt x="0" y="2"/>
                    <a:pt x="1" y="2"/>
                    <a:pt x="1" y="2"/>
                  </a:cubicBezTo>
                  <a:moveTo>
                    <a:pt x="3" y="0"/>
                  </a:moveTo>
                  <a:cubicBezTo>
                    <a:pt x="2" y="1"/>
                    <a:pt x="1" y="1"/>
                    <a:pt x="1" y="2"/>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84"/>
            <p:cNvSpPr/>
            <p:nvPr/>
          </p:nvSpPr>
          <p:spPr bwMode="auto">
            <a:xfrm>
              <a:off x="8091799" y="6593905"/>
              <a:ext cx="16947" cy="14123"/>
            </a:xfrm>
            <a:custGeom>
              <a:gdLst>
                <a:gd name="T0" fmla="*/ 1 w 5"/>
                <a:gd name="T1" fmla="*/ 0 h 4"/>
                <a:gd name="T2" fmla="*/ 1 w 5"/>
                <a:gd name="T3" fmla="*/ 4 h 4"/>
                <a:gd name="T4" fmla="*/ 1 w 5"/>
                <a:gd name="T5" fmla="*/ 0 h 4"/>
              </a:gdLst>
              <a:cxnLst>
                <a:cxn ang="0">
                  <a:pos x="T0" y="T1"/>
                </a:cxn>
                <a:cxn ang="0">
                  <a:pos x="T2" y="T3"/>
                </a:cxn>
                <a:cxn ang="0">
                  <a:pos x="T4" y="T5"/>
                </a:cxn>
              </a:cxnLst>
              <a:rect l="0" t="0" r="r" b="b"/>
              <a:pathLst>
                <a:path w="5" h="4">
                  <a:moveTo>
                    <a:pt x="1" y="0"/>
                  </a:moveTo>
                  <a:cubicBezTo>
                    <a:pt x="0" y="1"/>
                    <a:pt x="1" y="3"/>
                    <a:pt x="1" y="4"/>
                  </a:cubicBezTo>
                  <a:cubicBezTo>
                    <a:pt x="4" y="1"/>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85"/>
            <p:cNvSpPr/>
            <p:nvPr/>
          </p:nvSpPr>
          <p:spPr bwMode="auto">
            <a:xfrm>
              <a:off x="8045194" y="5945671"/>
              <a:ext cx="14123" cy="7061"/>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2" y="0"/>
                    <a:pt x="1" y="1"/>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86"/>
            <p:cNvSpPr/>
            <p:nvPr/>
          </p:nvSpPr>
          <p:spPr bwMode="auto">
            <a:xfrm>
              <a:off x="8038133" y="5685813"/>
              <a:ext cx="26833" cy="9886"/>
            </a:xfrm>
            <a:custGeom>
              <a:gdLst>
                <a:gd name="T0" fmla="*/ 6 w 8"/>
                <a:gd name="T1" fmla="*/ 0 h 3"/>
                <a:gd name="T2" fmla="*/ 4 w 8"/>
                <a:gd name="T3" fmla="*/ 2 h 3"/>
                <a:gd name="T4" fmla="*/ 3 w 8"/>
                <a:gd name="T5" fmla="*/ 2 h 3"/>
                <a:gd name="T6" fmla="*/ 3 w 8"/>
                <a:gd name="T7" fmla="*/ 2 h 3"/>
                <a:gd name="T8" fmla="*/ 2 w 8"/>
                <a:gd name="T9" fmla="*/ 2 h 3"/>
                <a:gd name="T10" fmla="*/ 0 w 8"/>
                <a:gd name="T11" fmla="*/ 2 h 3"/>
                <a:gd name="T12" fmla="*/ 4 w 8"/>
                <a:gd name="T13" fmla="*/ 3 h 3"/>
                <a:gd name="T14" fmla="*/ 6 w 8"/>
                <a:gd name="T15" fmla="*/ 3 h 3"/>
                <a:gd name="T16" fmla="*/ 8 w 8"/>
                <a:gd name="T17" fmla="*/ 3 h 3"/>
                <a:gd name="T18" fmla="*/ 8 w 8"/>
                <a:gd name="T19" fmla="*/ 3 h 3"/>
                <a:gd name="T20" fmla="*/ 6 w 8"/>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6" y="0"/>
                  </a:moveTo>
                  <a:cubicBezTo>
                    <a:pt x="5" y="0"/>
                    <a:pt x="5" y="2"/>
                    <a:pt x="4" y="2"/>
                  </a:cubicBezTo>
                  <a:cubicBezTo>
                    <a:pt x="4" y="2"/>
                    <a:pt x="4" y="2"/>
                    <a:pt x="3" y="2"/>
                  </a:cubicBezTo>
                  <a:cubicBezTo>
                    <a:pt x="3" y="2"/>
                    <a:pt x="3" y="2"/>
                    <a:pt x="3" y="2"/>
                  </a:cubicBezTo>
                  <a:cubicBezTo>
                    <a:pt x="2" y="2"/>
                    <a:pt x="2" y="2"/>
                    <a:pt x="2" y="2"/>
                  </a:cubicBezTo>
                  <a:cubicBezTo>
                    <a:pt x="1" y="2"/>
                    <a:pt x="1" y="2"/>
                    <a:pt x="0" y="2"/>
                  </a:cubicBezTo>
                  <a:cubicBezTo>
                    <a:pt x="2" y="3"/>
                    <a:pt x="3" y="3"/>
                    <a:pt x="4" y="3"/>
                  </a:cubicBezTo>
                  <a:cubicBezTo>
                    <a:pt x="5" y="3"/>
                    <a:pt x="5" y="3"/>
                    <a:pt x="6" y="3"/>
                  </a:cubicBezTo>
                  <a:cubicBezTo>
                    <a:pt x="7" y="3"/>
                    <a:pt x="7" y="3"/>
                    <a:pt x="8" y="3"/>
                  </a:cubicBezTo>
                  <a:cubicBezTo>
                    <a:pt x="8" y="3"/>
                    <a:pt x="8" y="3"/>
                    <a:pt x="8" y="3"/>
                  </a:cubicBezTo>
                  <a:cubicBezTo>
                    <a:pt x="7" y="1"/>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87"/>
            <p:cNvSpPr/>
            <p:nvPr/>
          </p:nvSpPr>
          <p:spPr bwMode="auto">
            <a:xfrm>
              <a:off x="8096036" y="5699936"/>
              <a:ext cx="12710" cy="15535"/>
            </a:xfrm>
            <a:custGeom>
              <a:gdLst>
                <a:gd name="T0" fmla="*/ 3 w 4"/>
                <a:gd name="T1" fmla="*/ 0 h 5"/>
                <a:gd name="T2" fmla="*/ 1 w 4"/>
                <a:gd name="T3" fmla="*/ 1 h 5"/>
                <a:gd name="T4" fmla="*/ 2 w 4"/>
                <a:gd name="T5" fmla="*/ 5 h 5"/>
                <a:gd name="T6" fmla="*/ 4 w 4"/>
                <a:gd name="T7" fmla="*/ 4 h 5"/>
                <a:gd name="T8" fmla="*/ 3 w 4"/>
                <a:gd name="T9" fmla="*/ 0 h 5"/>
              </a:gdLst>
              <a:cxnLst>
                <a:cxn ang="0">
                  <a:pos x="T0" y="T1"/>
                </a:cxn>
                <a:cxn ang="0">
                  <a:pos x="T2" y="T3"/>
                </a:cxn>
                <a:cxn ang="0">
                  <a:pos x="T4" y="T5"/>
                </a:cxn>
                <a:cxn ang="0">
                  <a:pos x="T6" y="T7"/>
                </a:cxn>
                <a:cxn ang="0">
                  <a:pos x="T8" y="T9"/>
                </a:cxn>
              </a:cxnLst>
              <a:rect l="0" t="0" r="r" b="b"/>
              <a:pathLst>
                <a:path w="4" h="5">
                  <a:moveTo>
                    <a:pt x="3" y="0"/>
                  </a:moveTo>
                  <a:cubicBezTo>
                    <a:pt x="2" y="0"/>
                    <a:pt x="2" y="1"/>
                    <a:pt x="1" y="1"/>
                  </a:cubicBezTo>
                  <a:cubicBezTo>
                    <a:pt x="0" y="2"/>
                    <a:pt x="0" y="5"/>
                    <a:pt x="2" y="5"/>
                  </a:cubicBezTo>
                  <a:cubicBezTo>
                    <a:pt x="3" y="5"/>
                    <a:pt x="3" y="5"/>
                    <a:pt x="4" y="4"/>
                  </a:cubicBezTo>
                  <a:cubicBezTo>
                    <a:pt x="4" y="3"/>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88"/>
            <p:cNvSpPr/>
            <p:nvPr/>
          </p:nvSpPr>
          <p:spPr bwMode="auto">
            <a:xfrm>
              <a:off x="8005651" y="6356643"/>
              <a:ext cx="36719" cy="31070"/>
            </a:xfrm>
            <a:custGeom>
              <a:gdLst>
                <a:gd name="T0" fmla="*/ 8 w 11"/>
                <a:gd name="T1" fmla="*/ 0 h 9"/>
                <a:gd name="T2" fmla="*/ 0 w 11"/>
                <a:gd name="T3" fmla="*/ 9 h 9"/>
                <a:gd name="T4" fmla="*/ 6 w 11"/>
                <a:gd name="T5" fmla="*/ 4 h 9"/>
                <a:gd name="T6" fmla="*/ 7 w 11"/>
                <a:gd name="T7" fmla="*/ 3 h 9"/>
                <a:gd name="T8" fmla="*/ 9 w 11"/>
                <a:gd name="T9" fmla="*/ 7 h 9"/>
                <a:gd name="T10" fmla="*/ 9 w 11"/>
                <a:gd name="T11" fmla="*/ 7 h 9"/>
                <a:gd name="T12" fmla="*/ 9 w 11"/>
                <a:gd name="T13" fmla="*/ 3 h 9"/>
                <a:gd name="T14" fmla="*/ 10 w 11"/>
                <a:gd name="T15" fmla="*/ 3 h 9"/>
                <a:gd name="T16" fmla="*/ 8 w 11"/>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9">
                  <a:moveTo>
                    <a:pt x="8" y="0"/>
                  </a:moveTo>
                  <a:cubicBezTo>
                    <a:pt x="5" y="0"/>
                    <a:pt x="1" y="7"/>
                    <a:pt x="0" y="9"/>
                  </a:cubicBezTo>
                  <a:cubicBezTo>
                    <a:pt x="3" y="8"/>
                    <a:pt x="7" y="7"/>
                    <a:pt x="6" y="4"/>
                  </a:cubicBezTo>
                  <a:cubicBezTo>
                    <a:pt x="6" y="4"/>
                    <a:pt x="7" y="3"/>
                    <a:pt x="7" y="3"/>
                  </a:cubicBezTo>
                  <a:cubicBezTo>
                    <a:pt x="7" y="4"/>
                    <a:pt x="8" y="7"/>
                    <a:pt x="9" y="7"/>
                  </a:cubicBezTo>
                  <a:cubicBezTo>
                    <a:pt x="9" y="7"/>
                    <a:pt x="9" y="7"/>
                    <a:pt x="9" y="7"/>
                  </a:cubicBezTo>
                  <a:cubicBezTo>
                    <a:pt x="11" y="6"/>
                    <a:pt x="9" y="4"/>
                    <a:pt x="9" y="3"/>
                  </a:cubicBezTo>
                  <a:cubicBezTo>
                    <a:pt x="9" y="3"/>
                    <a:pt x="10" y="3"/>
                    <a:pt x="10" y="3"/>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89"/>
            <p:cNvSpPr/>
            <p:nvPr/>
          </p:nvSpPr>
          <p:spPr bwMode="auto">
            <a:xfrm>
              <a:off x="7985879" y="6020522"/>
              <a:ext cx="36719" cy="22596"/>
            </a:xfrm>
            <a:custGeom>
              <a:gdLst>
                <a:gd name="T0" fmla="*/ 8 w 11"/>
                <a:gd name="T1" fmla="*/ 0 h 7"/>
                <a:gd name="T2" fmla="*/ 7 w 11"/>
                <a:gd name="T3" fmla="*/ 5 h 7"/>
                <a:gd name="T4" fmla="*/ 3 w 11"/>
                <a:gd name="T5" fmla="*/ 3 h 7"/>
                <a:gd name="T6" fmla="*/ 0 w 11"/>
                <a:gd name="T7" fmla="*/ 6 h 7"/>
                <a:gd name="T8" fmla="*/ 7 w 11"/>
                <a:gd name="T9" fmla="*/ 7 h 7"/>
                <a:gd name="T10" fmla="*/ 8 w 11"/>
                <a:gd name="T11" fmla="*/ 0 h 7"/>
              </a:gdLst>
              <a:cxnLst>
                <a:cxn ang="0">
                  <a:pos x="T0" y="T1"/>
                </a:cxn>
                <a:cxn ang="0">
                  <a:pos x="T2" y="T3"/>
                </a:cxn>
                <a:cxn ang="0">
                  <a:pos x="T4" y="T5"/>
                </a:cxn>
                <a:cxn ang="0">
                  <a:pos x="T6" y="T7"/>
                </a:cxn>
                <a:cxn ang="0">
                  <a:pos x="T8" y="T9"/>
                </a:cxn>
                <a:cxn ang="0">
                  <a:pos x="T10" y="T11"/>
                </a:cxn>
              </a:cxnLst>
              <a:rect l="0" t="0" r="r" b="b"/>
              <a:pathLst>
                <a:path w="11" h="7">
                  <a:moveTo>
                    <a:pt x="8" y="0"/>
                  </a:moveTo>
                  <a:cubicBezTo>
                    <a:pt x="7" y="2"/>
                    <a:pt x="6" y="4"/>
                    <a:pt x="7" y="5"/>
                  </a:cubicBezTo>
                  <a:cubicBezTo>
                    <a:pt x="6" y="4"/>
                    <a:pt x="4" y="3"/>
                    <a:pt x="3" y="3"/>
                  </a:cubicBezTo>
                  <a:cubicBezTo>
                    <a:pt x="1" y="3"/>
                    <a:pt x="0" y="4"/>
                    <a:pt x="0" y="6"/>
                  </a:cubicBezTo>
                  <a:cubicBezTo>
                    <a:pt x="2" y="6"/>
                    <a:pt x="5" y="7"/>
                    <a:pt x="7" y="7"/>
                  </a:cubicBezTo>
                  <a:cubicBezTo>
                    <a:pt x="11" y="7"/>
                    <a:pt x="9"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190"/>
            <p:cNvSpPr/>
            <p:nvPr/>
          </p:nvSpPr>
          <p:spPr bwMode="auto">
            <a:xfrm>
              <a:off x="8062142" y="6397599"/>
              <a:ext cx="26833" cy="22596"/>
            </a:xfrm>
            <a:custGeom>
              <a:gdLst>
                <a:gd name="T0" fmla="*/ 5 w 8"/>
                <a:gd name="T1" fmla="*/ 0 h 7"/>
                <a:gd name="T2" fmla="*/ 3 w 8"/>
                <a:gd name="T3" fmla="*/ 3 h 7"/>
                <a:gd name="T4" fmla="*/ 1 w 8"/>
                <a:gd name="T5" fmla="*/ 3 h 7"/>
                <a:gd name="T6" fmla="*/ 1 w 8"/>
                <a:gd name="T7" fmla="*/ 4 h 7"/>
                <a:gd name="T8" fmla="*/ 4 w 8"/>
                <a:gd name="T9" fmla="*/ 6 h 7"/>
                <a:gd name="T10" fmla="*/ 6 w 8"/>
                <a:gd name="T11" fmla="*/ 7 h 7"/>
                <a:gd name="T12" fmla="*/ 5 w 8"/>
                <a:gd name="T13" fmla="*/ 0 h 7"/>
                <a:gd name="T14" fmla="*/ 5 w 8"/>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5" y="0"/>
                  </a:moveTo>
                  <a:cubicBezTo>
                    <a:pt x="2" y="0"/>
                    <a:pt x="4" y="2"/>
                    <a:pt x="3" y="3"/>
                  </a:cubicBezTo>
                  <a:cubicBezTo>
                    <a:pt x="1" y="3"/>
                    <a:pt x="1" y="3"/>
                    <a:pt x="1" y="3"/>
                  </a:cubicBezTo>
                  <a:cubicBezTo>
                    <a:pt x="1" y="3"/>
                    <a:pt x="0" y="3"/>
                    <a:pt x="1" y="4"/>
                  </a:cubicBezTo>
                  <a:cubicBezTo>
                    <a:pt x="2" y="5"/>
                    <a:pt x="3" y="6"/>
                    <a:pt x="4" y="6"/>
                  </a:cubicBezTo>
                  <a:cubicBezTo>
                    <a:pt x="5" y="7"/>
                    <a:pt x="5" y="7"/>
                    <a:pt x="6" y="7"/>
                  </a:cubicBezTo>
                  <a:cubicBezTo>
                    <a:pt x="8" y="7"/>
                    <a:pt x="6" y="3"/>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91"/>
            <p:cNvSpPr/>
            <p:nvPr/>
          </p:nvSpPr>
          <p:spPr bwMode="auto">
            <a:xfrm>
              <a:off x="7978818" y="6006399"/>
              <a:ext cx="26833" cy="16947"/>
            </a:xfrm>
            <a:custGeom>
              <a:gdLst>
                <a:gd name="T0" fmla="*/ 4 w 8"/>
                <a:gd name="T1" fmla="*/ 0 h 5"/>
                <a:gd name="T2" fmla="*/ 2 w 8"/>
                <a:gd name="T3" fmla="*/ 2 h 5"/>
                <a:gd name="T4" fmla="*/ 3 w 8"/>
                <a:gd name="T5" fmla="*/ 5 h 5"/>
                <a:gd name="T6" fmla="*/ 5 w 8"/>
                <a:gd name="T7" fmla="*/ 1 h 5"/>
                <a:gd name="T8" fmla="*/ 4 w 8"/>
                <a:gd name="T9" fmla="*/ 0 h 5"/>
              </a:gdLst>
              <a:cxnLst>
                <a:cxn ang="0">
                  <a:pos x="T0" y="T1"/>
                </a:cxn>
                <a:cxn ang="0">
                  <a:pos x="T2" y="T3"/>
                </a:cxn>
                <a:cxn ang="0">
                  <a:pos x="T4" y="T5"/>
                </a:cxn>
                <a:cxn ang="0">
                  <a:pos x="T6" y="T7"/>
                </a:cxn>
                <a:cxn ang="0">
                  <a:pos x="T8" y="T9"/>
                </a:cxn>
              </a:cxnLst>
              <a:rect l="0" t="0" r="r" b="b"/>
              <a:pathLst>
                <a:path w="8" h="5">
                  <a:moveTo>
                    <a:pt x="4" y="0"/>
                  </a:moveTo>
                  <a:cubicBezTo>
                    <a:pt x="4" y="0"/>
                    <a:pt x="3" y="1"/>
                    <a:pt x="2" y="2"/>
                  </a:cubicBezTo>
                  <a:cubicBezTo>
                    <a:pt x="0" y="3"/>
                    <a:pt x="2" y="4"/>
                    <a:pt x="3" y="5"/>
                  </a:cubicBezTo>
                  <a:cubicBezTo>
                    <a:pt x="5" y="5"/>
                    <a:pt x="8" y="3"/>
                    <a:pt x="5"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92"/>
            <p:cNvSpPr/>
            <p:nvPr/>
          </p:nvSpPr>
          <p:spPr bwMode="auto">
            <a:xfrm>
              <a:off x="8079089" y="6487984"/>
              <a:ext cx="29658" cy="29658"/>
            </a:xfrm>
            <a:custGeom>
              <a:gdLst>
                <a:gd name="T0" fmla="*/ 7 w 9"/>
                <a:gd name="T1" fmla="*/ 0 h 9"/>
                <a:gd name="T2" fmla="*/ 0 w 9"/>
                <a:gd name="T3" fmla="*/ 4 h 9"/>
                <a:gd name="T4" fmla="*/ 1 w 9"/>
                <a:gd name="T5" fmla="*/ 4 h 9"/>
                <a:gd name="T6" fmla="*/ 4 w 9"/>
                <a:gd name="T7" fmla="*/ 3 h 9"/>
                <a:gd name="T8" fmla="*/ 3 w 9"/>
                <a:gd name="T9" fmla="*/ 9 h 9"/>
                <a:gd name="T10" fmla="*/ 7 w 9"/>
                <a:gd name="T11" fmla="*/ 5 h 9"/>
                <a:gd name="T12" fmla="*/ 7 w 9"/>
                <a:gd name="T13" fmla="*/ 2 h 9"/>
                <a:gd name="T14" fmla="*/ 9 w 9"/>
                <a:gd name="T15" fmla="*/ 1 h 9"/>
                <a:gd name="T16" fmla="*/ 7 w 9"/>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7" y="0"/>
                  </a:moveTo>
                  <a:cubicBezTo>
                    <a:pt x="5" y="0"/>
                    <a:pt x="1" y="2"/>
                    <a:pt x="0" y="4"/>
                  </a:cubicBezTo>
                  <a:cubicBezTo>
                    <a:pt x="0" y="4"/>
                    <a:pt x="1" y="4"/>
                    <a:pt x="1" y="4"/>
                  </a:cubicBezTo>
                  <a:cubicBezTo>
                    <a:pt x="2" y="4"/>
                    <a:pt x="3" y="4"/>
                    <a:pt x="4" y="3"/>
                  </a:cubicBezTo>
                  <a:cubicBezTo>
                    <a:pt x="4" y="5"/>
                    <a:pt x="3" y="7"/>
                    <a:pt x="3" y="9"/>
                  </a:cubicBezTo>
                  <a:cubicBezTo>
                    <a:pt x="5" y="8"/>
                    <a:pt x="7" y="7"/>
                    <a:pt x="7" y="5"/>
                  </a:cubicBezTo>
                  <a:cubicBezTo>
                    <a:pt x="7" y="5"/>
                    <a:pt x="7" y="3"/>
                    <a:pt x="7" y="2"/>
                  </a:cubicBezTo>
                  <a:cubicBezTo>
                    <a:pt x="8" y="2"/>
                    <a:pt x="9" y="2"/>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93"/>
            <p:cNvSpPr/>
            <p:nvPr/>
          </p:nvSpPr>
          <p:spPr bwMode="auto">
            <a:xfrm>
              <a:off x="8088975" y="5722532"/>
              <a:ext cx="9886" cy="19772"/>
            </a:xfrm>
            <a:custGeom>
              <a:gdLst>
                <a:gd name="T0" fmla="*/ 1 w 3"/>
                <a:gd name="T1" fmla="*/ 0 h 6"/>
                <a:gd name="T2" fmla="*/ 2 w 3"/>
                <a:gd name="T3" fmla="*/ 6 h 6"/>
                <a:gd name="T4" fmla="*/ 2 w 3"/>
                <a:gd name="T5" fmla="*/ 0 h 6"/>
                <a:gd name="T6" fmla="*/ 1 w 3"/>
                <a:gd name="T7" fmla="*/ 0 h 6"/>
              </a:gdLst>
              <a:cxnLst>
                <a:cxn ang="0">
                  <a:pos x="T0" y="T1"/>
                </a:cxn>
                <a:cxn ang="0">
                  <a:pos x="T2" y="T3"/>
                </a:cxn>
                <a:cxn ang="0">
                  <a:pos x="T4" y="T5"/>
                </a:cxn>
                <a:cxn ang="0">
                  <a:pos x="T6" y="T7"/>
                </a:cxn>
              </a:cxnLst>
              <a:rect l="0" t="0" r="r" b="b"/>
              <a:pathLst>
                <a:path w="3" h="6">
                  <a:moveTo>
                    <a:pt x="1" y="0"/>
                  </a:moveTo>
                  <a:cubicBezTo>
                    <a:pt x="0" y="0"/>
                    <a:pt x="2" y="5"/>
                    <a:pt x="2" y="6"/>
                  </a:cubicBezTo>
                  <a:cubicBezTo>
                    <a:pt x="3" y="4"/>
                    <a:pt x="3" y="2"/>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94"/>
            <p:cNvSpPr/>
            <p:nvPr/>
          </p:nvSpPr>
          <p:spPr bwMode="auto">
            <a:xfrm>
              <a:off x="8312113" y="6747843"/>
              <a:ext cx="63552" cy="26833"/>
            </a:xfrm>
            <a:custGeom>
              <a:gdLst>
                <a:gd name="T0" fmla="*/ 15 w 19"/>
                <a:gd name="T1" fmla="*/ 0 h 8"/>
                <a:gd name="T2" fmla="*/ 7 w 19"/>
                <a:gd name="T3" fmla="*/ 2 h 8"/>
                <a:gd name="T4" fmla="*/ 7 w 19"/>
                <a:gd name="T5" fmla="*/ 2 h 8"/>
                <a:gd name="T6" fmla="*/ 6 w 19"/>
                <a:gd name="T7" fmla="*/ 1 h 8"/>
                <a:gd name="T8" fmla="*/ 6 w 19"/>
                <a:gd name="T9" fmla="*/ 1 h 8"/>
                <a:gd name="T10" fmla="*/ 5 w 19"/>
                <a:gd name="T11" fmla="*/ 2 h 8"/>
                <a:gd name="T12" fmla="*/ 4 w 19"/>
                <a:gd name="T13" fmla="*/ 2 h 8"/>
                <a:gd name="T14" fmla="*/ 4 w 19"/>
                <a:gd name="T15" fmla="*/ 1 h 8"/>
                <a:gd name="T16" fmla="*/ 3 w 19"/>
                <a:gd name="T17" fmla="*/ 1 h 8"/>
                <a:gd name="T18" fmla="*/ 0 w 19"/>
                <a:gd name="T19" fmla="*/ 2 h 8"/>
                <a:gd name="T20" fmla="*/ 15 w 19"/>
                <a:gd name="T21" fmla="*/ 8 h 8"/>
                <a:gd name="T22" fmla="*/ 17 w 19"/>
                <a:gd name="T23" fmla="*/ 4 h 8"/>
                <a:gd name="T24" fmla="*/ 16 w 19"/>
                <a:gd name="T25" fmla="*/ 4 h 8"/>
                <a:gd name="T26" fmla="*/ 14 w 19"/>
                <a:gd name="T27" fmla="*/ 4 h 8"/>
                <a:gd name="T28" fmla="*/ 12 w 19"/>
                <a:gd name="T29" fmla="*/ 4 h 8"/>
                <a:gd name="T30" fmla="*/ 12 w 19"/>
                <a:gd name="T31" fmla="*/ 4 h 8"/>
                <a:gd name="T32" fmla="*/ 7 w 19"/>
                <a:gd name="T33" fmla="*/ 4 h 8"/>
                <a:gd name="T34" fmla="*/ 12 w 19"/>
                <a:gd name="T35" fmla="*/ 3 h 8"/>
                <a:gd name="T36" fmla="*/ 13 w 19"/>
                <a:gd name="T37" fmla="*/ 1 h 8"/>
                <a:gd name="T38" fmla="*/ 16 w 19"/>
                <a:gd name="T39" fmla="*/ 0 h 8"/>
                <a:gd name="T40" fmla="*/ 15 w 19"/>
                <a:gd name="T4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8">
                  <a:moveTo>
                    <a:pt x="15" y="0"/>
                  </a:moveTo>
                  <a:cubicBezTo>
                    <a:pt x="12" y="0"/>
                    <a:pt x="9" y="1"/>
                    <a:pt x="7" y="2"/>
                  </a:cubicBezTo>
                  <a:cubicBezTo>
                    <a:pt x="7" y="2"/>
                    <a:pt x="7" y="2"/>
                    <a:pt x="7" y="2"/>
                  </a:cubicBezTo>
                  <a:cubicBezTo>
                    <a:pt x="7" y="2"/>
                    <a:pt x="6" y="2"/>
                    <a:pt x="6" y="1"/>
                  </a:cubicBezTo>
                  <a:cubicBezTo>
                    <a:pt x="6" y="1"/>
                    <a:pt x="6" y="1"/>
                    <a:pt x="6" y="1"/>
                  </a:cubicBezTo>
                  <a:cubicBezTo>
                    <a:pt x="5" y="1"/>
                    <a:pt x="5" y="1"/>
                    <a:pt x="5" y="2"/>
                  </a:cubicBezTo>
                  <a:cubicBezTo>
                    <a:pt x="5" y="2"/>
                    <a:pt x="5" y="2"/>
                    <a:pt x="4" y="2"/>
                  </a:cubicBezTo>
                  <a:cubicBezTo>
                    <a:pt x="4" y="2"/>
                    <a:pt x="4" y="2"/>
                    <a:pt x="4" y="1"/>
                  </a:cubicBezTo>
                  <a:cubicBezTo>
                    <a:pt x="4" y="1"/>
                    <a:pt x="4" y="1"/>
                    <a:pt x="3" y="1"/>
                  </a:cubicBezTo>
                  <a:cubicBezTo>
                    <a:pt x="3" y="1"/>
                    <a:pt x="1" y="2"/>
                    <a:pt x="0" y="2"/>
                  </a:cubicBezTo>
                  <a:cubicBezTo>
                    <a:pt x="5" y="4"/>
                    <a:pt x="10" y="6"/>
                    <a:pt x="15" y="8"/>
                  </a:cubicBezTo>
                  <a:cubicBezTo>
                    <a:pt x="16" y="8"/>
                    <a:pt x="19" y="6"/>
                    <a:pt x="17" y="4"/>
                  </a:cubicBezTo>
                  <a:cubicBezTo>
                    <a:pt x="17" y="4"/>
                    <a:pt x="16" y="4"/>
                    <a:pt x="16" y="4"/>
                  </a:cubicBezTo>
                  <a:cubicBezTo>
                    <a:pt x="15" y="4"/>
                    <a:pt x="14" y="4"/>
                    <a:pt x="14" y="4"/>
                  </a:cubicBezTo>
                  <a:cubicBezTo>
                    <a:pt x="13" y="4"/>
                    <a:pt x="13" y="4"/>
                    <a:pt x="12" y="4"/>
                  </a:cubicBezTo>
                  <a:cubicBezTo>
                    <a:pt x="12" y="4"/>
                    <a:pt x="12" y="4"/>
                    <a:pt x="12" y="4"/>
                  </a:cubicBezTo>
                  <a:cubicBezTo>
                    <a:pt x="11" y="4"/>
                    <a:pt x="9" y="4"/>
                    <a:pt x="7" y="4"/>
                  </a:cubicBezTo>
                  <a:cubicBezTo>
                    <a:pt x="9" y="3"/>
                    <a:pt x="10" y="3"/>
                    <a:pt x="12" y="3"/>
                  </a:cubicBezTo>
                  <a:cubicBezTo>
                    <a:pt x="12" y="3"/>
                    <a:pt x="12" y="1"/>
                    <a:pt x="13" y="1"/>
                  </a:cubicBezTo>
                  <a:cubicBezTo>
                    <a:pt x="14" y="1"/>
                    <a:pt x="15" y="1"/>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95"/>
            <p:cNvSpPr/>
            <p:nvPr/>
          </p:nvSpPr>
          <p:spPr bwMode="auto">
            <a:xfrm>
              <a:off x="8282456" y="6740781"/>
              <a:ext cx="36719" cy="14123"/>
            </a:xfrm>
            <a:custGeom>
              <a:gdLst>
                <a:gd name="T0" fmla="*/ 3 w 11"/>
                <a:gd name="T1" fmla="*/ 0 h 4"/>
                <a:gd name="T2" fmla="*/ 2 w 11"/>
                <a:gd name="T3" fmla="*/ 4 h 4"/>
                <a:gd name="T4" fmla="*/ 5 w 11"/>
                <a:gd name="T5" fmla="*/ 1 h 4"/>
                <a:gd name="T6" fmla="*/ 7 w 11"/>
                <a:gd name="T7" fmla="*/ 2 h 4"/>
                <a:gd name="T8" fmla="*/ 7 w 11"/>
                <a:gd name="T9" fmla="*/ 2 h 4"/>
                <a:gd name="T10" fmla="*/ 8 w 11"/>
                <a:gd name="T11" fmla="*/ 4 h 4"/>
                <a:gd name="T12" fmla="*/ 8 w 11"/>
                <a:gd name="T13" fmla="*/ 4 h 4"/>
                <a:gd name="T14" fmla="*/ 9 w 11"/>
                <a:gd name="T15" fmla="*/ 3 h 4"/>
                <a:gd name="T16" fmla="*/ 9 w 11"/>
                <a:gd name="T17" fmla="*/ 3 h 4"/>
                <a:gd name="T18" fmla="*/ 10 w 11"/>
                <a:gd name="T19" fmla="*/ 3 h 4"/>
                <a:gd name="T20" fmla="*/ 11 w 11"/>
                <a:gd name="T21" fmla="*/ 3 h 4"/>
                <a:gd name="T22" fmla="*/ 11 w 11"/>
                <a:gd name="T23" fmla="*/ 3 h 4"/>
                <a:gd name="T24" fmla="*/ 4 w 11"/>
                <a:gd name="T25" fmla="*/ 0 h 4"/>
                <a:gd name="T26" fmla="*/ 3 w 11"/>
                <a:gd name="T2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3" y="0"/>
                  </a:moveTo>
                  <a:cubicBezTo>
                    <a:pt x="0" y="0"/>
                    <a:pt x="1" y="0"/>
                    <a:pt x="2" y="4"/>
                  </a:cubicBezTo>
                  <a:cubicBezTo>
                    <a:pt x="3" y="2"/>
                    <a:pt x="3" y="1"/>
                    <a:pt x="5" y="1"/>
                  </a:cubicBezTo>
                  <a:cubicBezTo>
                    <a:pt x="4" y="1"/>
                    <a:pt x="7" y="2"/>
                    <a:pt x="7" y="2"/>
                  </a:cubicBezTo>
                  <a:cubicBezTo>
                    <a:pt x="7" y="2"/>
                    <a:pt x="7" y="2"/>
                    <a:pt x="7" y="2"/>
                  </a:cubicBezTo>
                  <a:cubicBezTo>
                    <a:pt x="8" y="2"/>
                    <a:pt x="7" y="3"/>
                    <a:pt x="8" y="4"/>
                  </a:cubicBezTo>
                  <a:cubicBezTo>
                    <a:pt x="8" y="4"/>
                    <a:pt x="8" y="4"/>
                    <a:pt x="8" y="4"/>
                  </a:cubicBezTo>
                  <a:cubicBezTo>
                    <a:pt x="9" y="4"/>
                    <a:pt x="9" y="3"/>
                    <a:pt x="9" y="3"/>
                  </a:cubicBezTo>
                  <a:cubicBezTo>
                    <a:pt x="9" y="3"/>
                    <a:pt x="9" y="3"/>
                    <a:pt x="9" y="3"/>
                  </a:cubicBezTo>
                  <a:cubicBezTo>
                    <a:pt x="9" y="3"/>
                    <a:pt x="10" y="3"/>
                    <a:pt x="10" y="3"/>
                  </a:cubicBezTo>
                  <a:cubicBezTo>
                    <a:pt x="10" y="3"/>
                    <a:pt x="10" y="3"/>
                    <a:pt x="11" y="3"/>
                  </a:cubicBezTo>
                  <a:cubicBezTo>
                    <a:pt x="11" y="3"/>
                    <a:pt x="11" y="3"/>
                    <a:pt x="11" y="3"/>
                  </a:cubicBezTo>
                  <a:cubicBezTo>
                    <a:pt x="9" y="1"/>
                    <a:pt x="6"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96"/>
            <p:cNvSpPr>
              <a:spLocks noEditPoints="1"/>
            </p:cNvSpPr>
            <p:nvPr/>
          </p:nvSpPr>
          <p:spPr bwMode="auto">
            <a:xfrm>
              <a:off x="8032484" y="6280380"/>
              <a:ext cx="39544" cy="43780"/>
            </a:xfrm>
            <a:custGeom>
              <a:gdLst>
                <a:gd name="T0" fmla="*/ 10 w 12"/>
                <a:gd name="T1" fmla="*/ 13 h 13"/>
                <a:gd name="T2" fmla="*/ 10 w 12"/>
                <a:gd name="T3" fmla="*/ 13 h 13"/>
                <a:gd name="T4" fmla="*/ 10 w 12"/>
                <a:gd name="T5" fmla="*/ 13 h 13"/>
                <a:gd name="T6" fmla="*/ 1 w 12"/>
                <a:gd name="T7" fmla="*/ 0 h 13"/>
                <a:gd name="T8" fmla="*/ 0 w 12"/>
                <a:gd name="T9" fmla="*/ 1 h 13"/>
                <a:gd name="T10" fmla="*/ 6 w 12"/>
                <a:gd name="T11" fmla="*/ 12 h 13"/>
                <a:gd name="T12" fmla="*/ 9 w 12"/>
                <a:gd name="T13" fmla="*/ 12 h 13"/>
                <a:gd name="T14" fmla="*/ 10 w 12"/>
                <a:gd name="T15" fmla="*/ 13 h 13"/>
                <a:gd name="T16" fmla="*/ 7 w 12"/>
                <a:gd name="T17" fmla="*/ 7 h 13"/>
                <a:gd name="T18" fmla="*/ 9 w 12"/>
                <a:gd name="T19" fmla="*/ 8 h 13"/>
                <a:gd name="T20" fmla="*/ 7 w 12"/>
                <a:gd name="T21" fmla="*/ 3 h 13"/>
                <a:gd name="T22" fmla="*/ 6 w 12"/>
                <a:gd name="T23" fmla="*/ 1 h 13"/>
                <a:gd name="T24" fmla="*/ 4 w 12"/>
                <a:gd name="T25" fmla="*/ 1 h 13"/>
                <a:gd name="T26" fmla="*/ 1 w 12"/>
                <a:gd name="T27"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10" y="13"/>
                  </a:moveTo>
                  <a:cubicBezTo>
                    <a:pt x="10" y="13"/>
                    <a:pt x="10" y="13"/>
                    <a:pt x="10" y="13"/>
                  </a:cubicBezTo>
                  <a:cubicBezTo>
                    <a:pt x="10" y="13"/>
                    <a:pt x="10" y="13"/>
                    <a:pt x="10" y="13"/>
                  </a:cubicBezTo>
                  <a:moveTo>
                    <a:pt x="1" y="0"/>
                  </a:moveTo>
                  <a:cubicBezTo>
                    <a:pt x="0" y="0"/>
                    <a:pt x="0" y="0"/>
                    <a:pt x="0" y="1"/>
                  </a:cubicBezTo>
                  <a:cubicBezTo>
                    <a:pt x="0" y="4"/>
                    <a:pt x="3" y="11"/>
                    <a:pt x="6" y="12"/>
                  </a:cubicBezTo>
                  <a:cubicBezTo>
                    <a:pt x="6" y="12"/>
                    <a:pt x="8" y="12"/>
                    <a:pt x="9" y="12"/>
                  </a:cubicBezTo>
                  <a:cubicBezTo>
                    <a:pt x="10" y="12"/>
                    <a:pt x="11" y="12"/>
                    <a:pt x="10" y="13"/>
                  </a:cubicBezTo>
                  <a:cubicBezTo>
                    <a:pt x="12" y="11"/>
                    <a:pt x="8" y="9"/>
                    <a:pt x="7" y="7"/>
                  </a:cubicBezTo>
                  <a:cubicBezTo>
                    <a:pt x="8" y="8"/>
                    <a:pt x="8" y="8"/>
                    <a:pt x="9" y="8"/>
                  </a:cubicBezTo>
                  <a:cubicBezTo>
                    <a:pt x="9" y="7"/>
                    <a:pt x="8" y="4"/>
                    <a:pt x="7" y="3"/>
                  </a:cubicBezTo>
                  <a:cubicBezTo>
                    <a:pt x="6" y="1"/>
                    <a:pt x="6" y="1"/>
                    <a:pt x="6" y="1"/>
                  </a:cubicBezTo>
                  <a:cubicBezTo>
                    <a:pt x="6" y="1"/>
                    <a:pt x="5" y="1"/>
                    <a:pt x="4" y="1"/>
                  </a:cubicBezTo>
                  <a:cubicBezTo>
                    <a:pt x="4"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97"/>
            <p:cNvSpPr/>
            <p:nvPr/>
          </p:nvSpPr>
          <p:spPr bwMode="auto">
            <a:xfrm>
              <a:off x="9903742" y="1835956"/>
              <a:ext cx="4237" cy="2825"/>
            </a:xfrm>
            <a:custGeom>
              <a:gdLst>
                <a:gd name="T0" fmla="*/ 1 w 1"/>
                <a:gd name="T1" fmla="*/ 0 h 1"/>
                <a:gd name="T2" fmla="*/ 0 w 1"/>
                <a:gd name="T3" fmla="*/ 0 h 1"/>
                <a:gd name="T4" fmla="*/ 0 w 1"/>
                <a:gd name="T5" fmla="*/ 1 h 1"/>
                <a:gd name="T6" fmla="*/ 1 w 1"/>
                <a:gd name="T7" fmla="*/ 0 h 1"/>
                <a:gd name="T8" fmla="*/ 1 w 1"/>
                <a:gd name="T9" fmla="*/ 0 h 1"/>
                <a:gd name="T10" fmla="*/ 1 w 1"/>
                <a:gd name="T11" fmla="*/ 0 h 1"/>
                <a:gd name="T12" fmla="*/ 1 w 1"/>
                <a:gd name="T13" fmla="*/ 0 h 1"/>
              </a:gd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1" y="0"/>
                    <a:pt x="0" y="0"/>
                  </a:cubicBezTo>
                  <a:cubicBezTo>
                    <a:pt x="0" y="1"/>
                    <a:pt x="0" y="1"/>
                    <a:pt x="0" y="1"/>
                  </a:cubicBezTo>
                  <a:cubicBezTo>
                    <a:pt x="0" y="1"/>
                    <a:pt x="0" y="0"/>
                    <a:pt x="1"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198"/>
            <p:cNvSpPr/>
            <p:nvPr/>
          </p:nvSpPr>
          <p:spPr bwMode="auto">
            <a:xfrm>
              <a:off x="9861373" y="2006841"/>
              <a:ext cx="36719" cy="19772"/>
            </a:xfrm>
            <a:custGeom>
              <a:gdLst>
                <a:gd name="T0" fmla="*/ 8 w 11"/>
                <a:gd name="T1" fmla="*/ 0 h 6"/>
                <a:gd name="T2" fmla="*/ 7 w 11"/>
                <a:gd name="T3" fmla="*/ 0 h 6"/>
                <a:gd name="T4" fmla="*/ 4 w 11"/>
                <a:gd name="T5" fmla="*/ 1 h 6"/>
                <a:gd name="T6" fmla="*/ 1 w 11"/>
                <a:gd name="T7" fmla="*/ 3 h 6"/>
                <a:gd name="T8" fmla="*/ 3 w 11"/>
                <a:gd name="T9" fmla="*/ 5 h 6"/>
                <a:gd name="T10" fmla="*/ 3 w 11"/>
                <a:gd name="T11" fmla="*/ 5 h 6"/>
                <a:gd name="T12" fmla="*/ 4 w 11"/>
                <a:gd name="T13" fmla="*/ 6 h 6"/>
                <a:gd name="T14" fmla="*/ 5 w 11"/>
                <a:gd name="T15" fmla="*/ 5 h 6"/>
                <a:gd name="T16" fmla="*/ 6 w 11"/>
                <a:gd name="T17" fmla="*/ 4 h 6"/>
                <a:gd name="T18" fmla="*/ 6 w 11"/>
                <a:gd name="T19" fmla="*/ 4 h 6"/>
                <a:gd name="T20" fmla="*/ 11 w 11"/>
                <a:gd name="T21" fmla="*/ 1 h 6"/>
                <a:gd name="T22" fmla="*/ 8 w 11"/>
                <a:gd name="T2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6">
                  <a:moveTo>
                    <a:pt x="8" y="0"/>
                  </a:moveTo>
                  <a:cubicBezTo>
                    <a:pt x="8" y="0"/>
                    <a:pt x="8" y="0"/>
                    <a:pt x="7" y="0"/>
                  </a:cubicBezTo>
                  <a:cubicBezTo>
                    <a:pt x="6" y="0"/>
                    <a:pt x="5" y="0"/>
                    <a:pt x="4" y="1"/>
                  </a:cubicBezTo>
                  <a:cubicBezTo>
                    <a:pt x="2" y="1"/>
                    <a:pt x="1" y="1"/>
                    <a:pt x="1" y="3"/>
                  </a:cubicBezTo>
                  <a:cubicBezTo>
                    <a:pt x="0" y="4"/>
                    <a:pt x="1" y="5"/>
                    <a:pt x="3" y="5"/>
                  </a:cubicBezTo>
                  <a:cubicBezTo>
                    <a:pt x="3" y="5"/>
                    <a:pt x="3" y="5"/>
                    <a:pt x="3" y="5"/>
                  </a:cubicBezTo>
                  <a:cubicBezTo>
                    <a:pt x="4" y="6"/>
                    <a:pt x="4" y="6"/>
                    <a:pt x="4" y="6"/>
                  </a:cubicBezTo>
                  <a:cubicBezTo>
                    <a:pt x="5" y="5"/>
                    <a:pt x="5" y="5"/>
                    <a:pt x="5" y="5"/>
                  </a:cubicBezTo>
                  <a:cubicBezTo>
                    <a:pt x="6" y="4"/>
                    <a:pt x="6" y="4"/>
                    <a:pt x="6" y="4"/>
                  </a:cubicBezTo>
                  <a:cubicBezTo>
                    <a:pt x="6" y="4"/>
                    <a:pt x="6" y="4"/>
                    <a:pt x="6" y="4"/>
                  </a:cubicBezTo>
                  <a:cubicBezTo>
                    <a:pt x="8" y="3"/>
                    <a:pt x="9" y="2"/>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99"/>
            <p:cNvSpPr/>
            <p:nvPr/>
          </p:nvSpPr>
          <p:spPr bwMode="auto">
            <a:xfrm>
              <a:off x="9907978" y="1980007"/>
              <a:ext cx="63552" cy="22596"/>
            </a:xfrm>
            <a:custGeom>
              <a:gdLst>
                <a:gd name="T0" fmla="*/ 16 w 19"/>
                <a:gd name="T1" fmla="*/ 0 h 7"/>
                <a:gd name="T2" fmla="*/ 11 w 19"/>
                <a:gd name="T3" fmla="*/ 0 h 7"/>
                <a:gd name="T4" fmla="*/ 10 w 19"/>
                <a:gd name="T5" fmla="*/ 0 h 7"/>
                <a:gd name="T6" fmla="*/ 8 w 19"/>
                <a:gd name="T7" fmla="*/ 1 h 7"/>
                <a:gd name="T8" fmla="*/ 4 w 19"/>
                <a:gd name="T9" fmla="*/ 2 h 7"/>
                <a:gd name="T10" fmla="*/ 3 w 19"/>
                <a:gd name="T11" fmla="*/ 2 h 7"/>
                <a:gd name="T12" fmla="*/ 1 w 19"/>
                <a:gd name="T13" fmla="*/ 3 h 7"/>
                <a:gd name="T14" fmla="*/ 2 w 19"/>
                <a:gd name="T15" fmla="*/ 6 h 7"/>
                <a:gd name="T16" fmla="*/ 8 w 19"/>
                <a:gd name="T17" fmla="*/ 7 h 7"/>
                <a:gd name="T18" fmla="*/ 10 w 19"/>
                <a:gd name="T19" fmla="*/ 7 h 7"/>
                <a:gd name="T20" fmla="*/ 11 w 19"/>
                <a:gd name="T21" fmla="*/ 7 h 7"/>
                <a:gd name="T22" fmla="*/ 12 w 19"/>
                <a:gd name="T23" fmla="*/ 7 h 7"/>
                <a:gd name="T24" fmla="*/ 13 w 19"/>
                <a:gd name="T25" fmla="*/ 5 h 7"/>
                <a:gd name="T26" fmla="*/ 14 w 19"/>
                <a:gd name="T27" fmla="*/ 5 h 7"/>
                <a:gd name="T28" fmla="*/ 16 w 19"/>
                <a:gd name="T29" fmla="*/ 3 h 7"/>
                <a:gd name="T30" fmla="*/ 18 w 19"/>
                <a:gd name="T31" fmla="*/ 2 h 7"/>
                <a:gd name="T32" fmla="*/ 16 w 19"/>
                <a:gd name="T3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7">
                  <a:moveTo>
                    <a:pt x="16" y="0"/>
                  </a:moveTo>
                  <a:cubicBezTo>
                    <a:pt x="14" y="0"/>
                    <a:pt x="11" y="0"/>
                    <a:pt x="11" y="0"/>
                  </a:cubicBezTo>
                  <a:cubicBezTo>
                    <a:pt x="10" y="0"/>
                    <a:pt x="10" y="0"/>
                    <a:pt x="10" y="0"/>
                  </a:cubicBezTo>
                  <a:cubicBezTo>
                    <a:pt x="10" y="1"/>
                    <a:pt x="9" y="1"/>
                    <a:pt x="8" y="1"/>
                  </a:cubicBezTo>
                  <a:cubicBezTo>
                    <a:pt x="7" y="1"/>
                    <a:pt x="5" y="2"/>
                    <a:pt x="4" y="2"/>
                  </a:cubicBezTo>
                  <a:cubicBezTo>
                    <a:pt x="3" y="2"/>
                    <a:pt x="3" y="2"/>
                    <a:pt x="3" y="2"/>
                  </a:cubicBezTo>
                  <a:cubicBezTo>
                    <a:pt x="2" y="2"/>
                    <a:pt x="2" y="2"/>
                    <a:pt x="1" y="3"/>
                  </a:cubicBezTo>
                  <a:cubicBezTo>
                    <a:pt x="0" y="4"/>
                    <a:pt x="1" y="5"/>
                    <a:pt x="2" y="6"/>
                  </a:cubicBezTo>
                  <a:cubicBezTo>
                    <a:pt x="3" y="7"/>
                    <a:pt x="6" y="7"/>
                    <a:pt x="8" y="7"/>
                  </a:cubicBezTo>
                  <a:cubicBezTo>
                    <a:pt x="9" y="7"/>
                    <a:pt x="9" y="7"/>
                    <a:pt x="10" y="7"/>
                  </a:cubicBezTo>
                  <a:cubicBezTo>
                    <a:pt x="11" y="7"/>
                    <a:pt x="11" y="7"/>
                    <a:pt x="11" y="7"/>
                  </a:cubicBezTo>
                  <a:cubicBezTo>
                    <a:pt x="12" y="7"/>
                    <a:pt x="12" y="7"/>
                    <a:pt x="12" y="7"/>
                  </a:cubicBezTo>
                  <a:cubicBezTo>
                    <a:pt x="13" y="7"/>
                    <a:pt x="13" y="6"/>
                    <a:pt x="13" y="5"/>
                  </a:cubicBezTo>
                  <a:cubicBezTo>
                    <a:pt x="14" y="5"/>
                    <a:pt x="14" y="5"/>
                    <a:pt x="14" y="5"/>
                  </a:cubicBezTo>
                  <a:cubicBezTo>
                    <a:pt x="15" y="4"/>
                    <a:pt x="16" y="4"/>
                    <a:pt x="16" y="3"/>
                  </a:cubicBezTo>
                  <a:cubicBezTo>
                    <a:pt x="17" y="3"/>
                    <a:pt x="18" y="3"/>
                    <a:pt x="18" y="2"/>
                  </a:cubicBezTo>
                  <a:cubicBezTo>
                    <a:pt x="19"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200"/>
            <p:cNvSpPr/>
            <p:nvPr/>
          </p:nvSpPr>
          <p:spPr bwMode="auto">
            <a:xfrm>
              <a:off x="8789461" y="6728071"/>
              <a:ext cx="80499" cy="19772"/>
            </a:xfrm>
            <a:custGeom>
              <a:gdLst>
                <a:gd name="T0" fmla="*/ 15 w 24"/>
                <a:gd name="T1" fmla="*/ 0 h 6"/>
                <a:gd name="T2" fmla="*/ 4 w 24"/>
                <a:gd name="T3" fmla="*/ 6 h 6"/>
                <a:gd name="T4" fmla="*/ 24 w 24"/>
                <a:gd name="T5" fmla="*/ 0 h 6"/>
                <a:gd name="T6" fmla="*/ 15 w 24"/>
                <a:gd name="T7" fmla="*/ 0 h 6"/>
              </a:gdLst>
              <a:cxnLst>
                <a:cxn ang="0">
                  <a:pos x="T0" y="T1"/>
                </a:cxn>
                <a:cxn ang="0">
                  <a:pos x="T2" y="T3"/>
                </a:cxn>
                <a:cxn ang="0">
                  <a:pos x="T4" y="T5"/>
                </a:cxn>
                <a:cxn ang="0">
                  <a:pos x="T6" y="T7"/>
                </a:cxn>
              </a:cxnLst>
              <a:rect l="0" t="0" r="r" b="b"/>
              <a:pathLst>
                <a:path w="24" h="6">
                  <a:moveTo>
                    <a:pt x="15" y="0"/>
                  </a:moveTo>
                  <a:cubicBezTo>
                    <a:pt x="8" y="0"/>
                    <a:pt x="0" y="1"/>
                    <a:pt x="4" y="6"/>
                  </a:cubicBezTo>
                  <a:cubicBezTo>
                    <a:pt x="11" y="4"/>
                    <a:pt x="18" y="2"/>
                    <a:pt x="24" y="0"/>
                  </a:cubicBezTo>
                  <a:cubicBezTo>
                    <a:pt x="23" y="0"/>
                    <a:pt x="19"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201"/>
            <p:cNvSpPr/>
            <p:nvPr/>
          </p:nvSpPr>
          <p:spPr bwMode="auto">
            <a:xfrm>
              <a:off x="9002713" y="5195754"/>
              <a:ext cx="19772" cy="12710"/>
            </a:xfrm>
            <a:custGeom>
              <a:gdLst>
                <a:gd name="T0" fmla="*/ 0 w 6"/>
                <a:gd name="T1" fmla="*/ 0 h 4"/>
                <a:gd name="T2" fmla="*/ 5 w 6"/>
                <a:gd name="T3" fmla="*/ 4 h 4"/>
                <a:gd name="T4" fmla="*/ 0 w 6"/>
                <a:gd name="T5" fmla="*/ 0 h 4"/>
              </a:gdLst>
              <a:cxnLst>
                <a:cxn ang="0">
                  <a:pos x="T0" y="T1"/>
                </a:cxn>
                <a:cxn ang="0">
                  <a:pos x="T2" y="T3"/>
                </a:cxn>
                <a:cxn ang="0">
                  <a:pos x="T4" y="T5"/>
                </a:cxn>
              </a:cxnLst>
              <a:rect l="0" t="0" r="r" b="b"/>
              <a:pathLst>
                <a:path w="6" h="4">
                  <a:moveTo>
                    <a:pt x="0" y="0"/>
                  </a:moveTo>
                  <a:cubicBezTo>
                    <a:pt x="2" y="1"/>
                    <a:pt x="3" y="3"/>
                    <a:pt x="5" y="4"/>
                  </a:cubicBezTo>
                  <a:cubicBezTo>
                    <a:pt x="6" y="0"/>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202"/>
            <p:cNvSpPr>
              <a:spLocks noEditPoints="1"/>
            </p:cNvSpPr>
            <p:nvPr/>
          </p:nvSpPr>
          <p:spPr bwMode="auto">
            <a:xfrm>
              <a:off x="9186308" y="6363704"/>
              <a:ext cx="156762" cy="112982"/>
            </a:xfrm>
            <a:custGeom>
              <a:gdLst>
                <a:gd name="T0" fmla="*/ 30 w 47"/>
                <a:gd name="T1" fmla="*/ 7 h 34"/>
                <a:gd name="T2" fmla="*/ 30 w 47"/>
                <a:gd name="T3" fmla="*/ 7 h 34"/>
                <a:gd name="T4" fmla="*/ 15 w 47"/>
                <a:gd name="T5" fmla="*/ 5 h 34"/>
                <a:gd name="T6" fmla="*/ 15 w 47"/>
                <a:gd name="T7" fmla="*/ 8 h 34"/>
                <a:gd name="T8" fmla="*/ 17 w 47"/>
                <a:gd name="T9" fmla="*/ 17 h 34"/>
                <a:gd name="T10" fmla="*/ 13 w 47"/>
                <a:gd name="T11" fmla="*/ 14 h 34"/>
                <a:gd name="T12" fmla="*/ 3 w 47"/>
                <a:gd name="T13" fmla="*/ 29 h 34"/>
                <a:gd name="T14" fmla="*/ 3 w 47"/>
                <a:gd name="T15" fmla="*/ 29 h 34"/>
                <a:gd name="T16" fmla="*/ 4 w 47"/>
                <a:gd name="T17" fmla="*/ 29 h 34"/>
                <a:gd name="T18" fmla="*/ 5 w 47"/>
                <a:gd name="T19" fmla="*/ 31 h 34"/>
                <a:gd name="T20" fmla="*/ 7 w 47"/>
                <a:gd name="T21" fmla="*/ 27 h 34"/>
                <a:gd name="T22" fmla="*/ 10 w 47"/>
                <a:gd name="T23" fmla="*/ 28 h 34"/>
                <a:gd name="T24" fmla="*/ 15 w 47"/>
                <a:gd name="T25" fmla="*/ 30 h 34"/>
                <a:gd name="T26" fmla="*/ 13 w 47"/>
                <a:gd name="T27" fmla="*/ 23 h 34"/>
                <a:gd name="T28" fmla="*/ 19 w 47"/>
                <a:gd name="T29" fmla="*/ 26 h 34"/>
                <a:gd name="T30" fmla="*/ 22 w 47"/>
                <a:gd name="T31" fmla="*/ 25 h 34"/>
                <a:gd name="T32" fmla="*/ 25 w 47"/>
                <a:gd name="T33" fmla="*/ 27 h 34"/>
                <a:gd name="T34" fmla="*/ 26 w 47"/>
                <a:gd name="T35" fmla="*/ 23 h 34"/>
                <a:gd name="T36" fmla="*/ 18 w 47"/>
                <a:gd name="T37" fmla="*/ 17 h 34"/>
                <a:gd name="T38" fmla="*/ 22 w 47"/>
                <a:gd name="T39" fmla="*/ 20 h 34"/>
                <a:gd name="T40" fmla="*/ 24 w 47"/>
                <a:gd name="T41" fmla="*/ 20 h 34"/>
                <a:gd name="T42" fmla="*/ 25 w 47"/>
                <a:gd name="T43" fmla="*/ 20 h 34"/>
                <a:gd name="T44" fmla="*/ 29 w 47"/>
                <a:gd name="T45" fmla="*/ 20 h 34"/>
                <a:gd name="T46" fmla="*/ 37 w 47"/>
                <a:gd name="T47" fmla="*/ 16 h 34"/>
                <a:gd name="T48" fmla="*/ 37 w 47"/>
                <a:gd name="T49" fmla="*/ 10 h 34"/>
                <a:gd name="T50" fmla="*/ 41 w 47"/>
                <a:gd name="T51" fmla="*/ 9 h 34"/>
                <a:gd name="T52" fmla="*/ 43 w 47"/>
                <a:gd name="T53" fmla="*/ 5 h 34"/>
                <a:gd name="T54" fmla="*/ 36 w 47"/>
                <a:gd name="T55" fmla="*/ 4 h 34"/>
                <a:gd name="T56" fmla="*/ 33 w 47"/>
                <a:gd name="T57" fmla="*/ 10 h 34"/>
                <a:gd name="T58" fmla="*/ 32 w 47"/>
                <a:gd name="T59" fmla="*/ 10 h 34"/>
                <a:gd name="T60" fmla="*/ 32 w 47"/>
                <a:gd name="T61" fmla="*/ 10 h 34"/>
                <a:gd name="T62" fmla="*/ 30 w 47"/>
                <a:gd name="T63" fmla="*/ 8 h 34"/>
                <a:gd name="T64" fmla="*/ 30 w 47"/>
                <a:gd name="T65" fmla="*/ 7 h 34"/>
                <a:gd name="T66" fmla="*/ 29 w 47"/>
                <a:gd name="T67" fmla="*/ 7 h 34"/>
                <a:gd name="T68" fmla="*/ 28 w 47"/>
                <a:gd name="T69" fmla="*/ 7 h 34"/>
                <a:gd name="T70" fmla="*/ 29 w 47"/>
                <a:gd name="T71" fmla="*/ 5 h 34"/>
                <a:gd name="T72" fmla="*/ 32 w 47"/>
                <a:gd name="T73" fmla="*/ 6 h 34"/>
                <a:gd name="T74" fmla="*/ 28 w 47"/>
                <a:gd name="T75" fmla="*/ 2 h 34"/>
                <a:gd name="T76" fmla="*/ 23 w 47"/>
                <a:gd name="T77" fmla="*/ 2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34">
                  <a:moveTo>
                    <a:pt x="30" y="7"/>
                  </a:moveTo>
                  <a:cubicBezTo>
                    <a:pt x="30" y="7"/>
                    <a:pt x="30" y="7"/>
                    <a:pt x="30" y="7"/>
                  </a:cubicBezTo>
                  <a:cubicBezTo>
                    <a:pt x="30" y="7"/>
                    <a:pt x="30" y="7"/>
                    <a:pt x="30" y="7"/>
                  </a:cubicBezTo>
                  <a:cubicBezTo>
                    <a:pt x="30" y="7"/>
                    <a:pt x="30" y="7"/>
                    <a:pt x="30" y="7"/>
                  </a:cubicBezTo>
                  <a:moveTo>
                    <a:pt x="19" y="0"/>
                  </a:moveTo>
                  <a:cubicBezTo>
                    <a:pt x="20" y="4"/>
                    <a:pt x="20" y="4"/>
                    <a:pt x="15" y="5"/>
                  </a:cubicBezTo>
                  <a:cubicBezTo>
                    <a:pt x="16" y="7"/>
                    <a:pt x="18" y="7"/>
                    <a:pt x="17" y="10"/>
                  </a:cubicBezTo>
                  <a:cubicBezTo>
                    <a:pt x="16" y="9"/>
                    <a:pt x="15" y="9"/>
                    <a:pt x="15" y="8"/>
                  </a:cubicBezTo>
                  <a:cubicBezTo>
                    <a:pt x="14" y="12"/>
                    <a:pt x="16" y="11"/>
                    <a:pt x="17" y="13"/>
                  </a:cubicBezTo>
                  <a:cubicBezTo>
                    <a:pt x="18" y="13"/>
                    <a:pt x="17" y="15"/>
                    <a:pt x="17" y="17"/>
                  </a:cubicBezTo>
                  <a:cubicBezTo>
                    <a:pt x="16" y="15"/>
                    <a:pt x="16" y="14"/>
                    <a:pt x="15" y="14"/>
                  </a:cubicBezTo>
                  <a:cubicBezTo>
                    <a:pt x="14" y="14"/>
                    <a:pt x="14" y="14"/>
                    <a:pt x="13" y="14"/>
                  </a:cubicBezTo>
                  <a:cubicBezTo>
                    <a:pt x="8" y="16"/>
                    <a:pt x="4" y="23"/>
                    <a:pt x="0" y="27"/>
                  </a:cubicBezTo>
                  <a:cubicBezTo>
                    <a:pt x="2" y="27"/>
                    <a:pt x="2" y="28"/>
                    <a:pt x="3" y="29"/>
                  </a:cubicBezTo>
                  <a:cubicBezTo>
                    <a:pt x="3" y="29"/>
                    <a:pt x="3" y="29"/>
                    <a:pt x="3" y="29"/>
                  </a:cubicBezTo>
                  <a:cubicBezTo>
                    <a:pt x="3" y="29"/>
                    <a:pt x="3" y="29"/>
                    <a:pt x="3" y="29"/>
                  </a:cubicBezTo>
                  <a:cubicBezTo>
                    <a:pt x="3" y="29"/>
                    <a:pt x="3" y="29"/>
                    <a:pt x="4" y="29"/>
                  </a:cubicBezTo>
                  <a:cubicBezTo>
                    <a:pt x="4" y="29"/>
                    <a:pt x="4" y="29"/>
                    <a:pt x="4" y="29"/>
                  </a:cubicBezTo>
                  <a:cubicBezTo>
                    <a:pt x="4" y="30"/>
                    <a:pt x="4" y="30"/>
                    <a:pt x="4" y="31"/>
                  </a:cubicBezTo>
                  <a:cubicBezTo>
                    <a:pt x="5" y="31"/>
                    <a:pt x="5" y="31"/>
                    <a:pt x="5" y="31"/>
                  </a:cubicBezTo>
                  <a:cubicBezTo>
                    <a:pt x="7" y="32"/>
                    <a:pt x="8" y="33"/>
                    <a:pt x="9" y="34"/>
                  </a:cubicBezTo>
                  <a:cubicBezTo>
                    <a:pt x="9" y="32"/>
                    <a:pt x="7" y="30"/>
                    <a:pt x="7" y="27"/>
                  </a:cubicBezTo>
                  <a:cubicBezTo>
                    <a:pt x="7" y="27"/>
                    <a:pt x="8" y="27"/>
                    <a:pt x="8" y="27"/>
                  </a:cubicBezTo>
                  <a:cubicBezTo>
                    <a:pt x="9" y="27"/>
                    <a:pt x="9" y="27"/>
                    <a:pt x="10" y="28"/>
                  </a:cubicBezTo>
                  <a:cubicBezTo>
                    <a:pt x="12" y="29"/>
                    <a:pt x="11" y="29"/>
                    <a:pt x="13" y="30"/>
                  </a:cubicBezTo>
                  <a:cubicBezTo>
                    <a:pt x="14" y="30"/>
                    <a:pt x="14" y="30"/>
                    <a:pt x="15" y="30"/>
                  </a:cubicBezTo>
                  <a:cubicBezTo>
                    <a:pt x="18" y="30"/>
                    <a:pt x="13" y="24"/>
                    <a:pt x="10" y="23"/>
                  </a:cubicBezTo>
                  <a:cubicBezTo>
                    <a:pt x="11" y="23"/>
                    <a:pt x="12" y="23"/>
                    <a:pt x="13" y="23"/>
                  </a:cubicBezTo>
                  <a:cubicBezTo>
                    <a:pt x="14" y="23"/>
                    <a:pt x="16" y="23"/>
                    <a:pt x="17" y="24"/>
                  </a:cubicBezTo>
                  <a:cubicBezTo>
                    <a:pt x="18" y="25"/>
                    <a:pt x="18" y="26"/>
                    <a:pt x="19" y="26"/>
                  </a:cubicBezTo>
                  <a:cubicBezTo>
                    <a:pt x="19" y="26"/>
                    <a:pt x="20" y="26"/>
                    <a:pt x="20" y="26"/>
                  </a:cubicBezTo>
                  <a:cubicBezTo>
                    <a:pt x="21" y="25"/>
                    <a:pt x="21" y="25"/>
                    <a:pt x="22" y="25"/>
                  </a:cubicBezTo>
                  <a:cubicBezTo>
                    <a:pt x="22" y="25"/>
                    <a:pt x="23" y="25"/>
                    <a:pt x="24" y="25"/>
                  </a:cubicBezTo>
                  <a:cubicBezTo>
                    <a:pt x="24" y="25"/>
                    <a:pt x="25" y="27"/>
                    <a:pt x="25" y="27"/>
                  </a:cubicBezTo>
                  <a:cubicBezTo>
                    <a:pt x="25" y="27"/>
                    <a:pt x="25" y="27"/>
                    <a:pt x="25" y="27"/>
                  </a:cubicBezTo>
                  <a:cubicBezTo>
                    <a:pt x="26" y="27"/>
                    <a:pt x="26" y="24"/>
                    <a:pt x="26" y="23"/>
                  </a:cubicBezTo>
                  <a:cubicBezTo>
                    <a:pt x="24" y="22"/>
                    <a:pt x="21" y="21"/>
                    <a:pt x="19" y="20"/>
                  </a:cubicBezTo>
                  <a:cubicBezTo>
                    <a:pt x="18" y="19"/>
                    <a:pt x="17" y="17"/>
                    <a:pt x="18" y="17"/>
                  </a:cubicBezTo>
                  <a:cubicBezTo>
                    <a:pt x="19" y="17"/>
                    <a:pt x="19" y="17"/>
                    <a:pt x="19" y="18"/>
                  </a:cubicBezTo>
                  <a:cubicBezTo>
                    <a:pt x="20" y="18"/>
                    <a:pt x="21" y="19"/>
                    <a:pt x="22" y="20"/>
                  </a:cubicBezTo>
                  <a:cubicBezTo>
                    <a:pt x="23" y="20"/>
                    <a:pt x="23" y="20"/>
                    <a:pt x="23" y="20"/>
                  </a:cubicBezTo>
                  <a:cubicBezTo>
                    <a:pt x="23" y="20"/>
                    <a:pt x="24" y="20"/>
                    <a:pt x="24" y="20"/>
                  </a:cubicBezTo>
                  <a:cubicBezTo>
                    <a:pt x="24" y="20"/>
                    <a:pt x="25" y="20"/>
                    <a:pt x="25" y="20"/>
                  </a:cubicBezTo>
                  <a:cubicBezTo>
                    <a:pt x="25" y="20"/>
                    <a:pt x="25" y="20"/>
                    <a:pt x="25" y="20"/>
                  </a:cubicBezTo>
                  <a:cubicBezTo>
                    <a:pt x="26" y="20"/>
                    <a:pt x="26" y="20"/>
                    <a:pt x="27" y="20"/>
                  </a:cubicBezTo>
                  <a:cubicBezTo>
                    <a:pt x="28" y="20"/>
                    <a:pt x="29" y="20"/>
                    <a:pt x="29" y="20"/>
                  </a:cubicBezTo>
                  <a:cubicBezTo>
                    <a:pt x="31" y="19"/>
                    <a:pt x="32" y="20"/>
                    <a:pt x="33" y="19"/>
                  </a:cubicBezTo>
                  <a:cubicBezTo>
                    <a:pt x="35" y="18"/>
                    <a:pt x="36" y="16"/>
                    <a:pt x="37" y="16"/>
                  </a:cubicBezTo>
                  <a:cubicBezTo>
                    <a:pt x="40" y="15"/>
                    <a:pt x="43" y="15"/>
                    <a:pt x="46" y="14"/>
                  </a:cubicBezTo>
                  <a:cubicBezTo>
                    <a:pt x="45" y="10"/>
                    <a:pt x="38" y="12"/>
                    <a:pt x="37" y="10"/>
                  </a:cubicBezTo>
                  <a:cubicBezTo>
                    <a:pt x="37" y="9"/>
                    <a:pt x="38" y="8"/>
                    <a:pt x="39" y="8"/>
                  </a:cubicBezTo>
                  <a:cubicBezTo>
                    <a:pt x="39" y="8"/>
                    <a:pt x="40" y="9"/>
                    <a:pt x="41" y="9"/>
                  </a:cubicBezTo>
                  <a:cubicBezTo>
                    <a:pt x="42" y="9"/>
                    <a:pt x="43" y="9"/>
                    <a:pt x="44" y="9"/>
                  </a:cubicBezTo>
                  <a:cubicBezTo>
                    <a:pt x="46" y="9"/>
                    <a:pt x="47" y="8"/>
                    <a:pt x="43" y="5"/>
                  </a:cubicBezTo>
                  <a:cubicBezTo>
                    <a:pt x="42" y="4"/>
                    <a:pt x="40" y="4"/>
                    <a:pt x="39" y="4"/>
                  </a:cubicBezTo>
                  <a:cubicBezTo>
                    <a:pt x="37" y="4"/>
                    <a:pt x="36" y="4"/>
                    <a:pt x="36" y="4"/>
                  </a:cubicBezTo>
                  <a:cubicBezTo>
                    <a:pt x="31" y="7"/>
                    <a:pt x="38" y="10"/>
                    <a:pt x="35" y="12"/>
                  </a:cubicBezTo>
                  <a:cubicBezTo>
                    <a:pt x="35" y="11"/>
                    <a:pt x="34" y="10"/>
                    <a:pt x="33" y="10"/>
                  </a:cubicBezTo>
                  <a:cubicBezTo>
                    <a:pt x="33" y="10"/>
                    <a:pt x="33" y="9"/>
                    <a:pt x="33" y="9"/>
                  </a:cubicBezTo>
                  <a:cubicBezTo>
                    <a:pt x="33" y="9"/>
                    <a:pt x="33" y="10"/>
                    <a:pt x="32" y="10"/>
                  </a:cubicBezTo>
                  <a:cubicBezTo>
                    <a:pt x="32" y="10"/>
                    <a:pt x="32" y="10"/>
                    <a:pt x="32" y="10"/>
                  </a:cubicBezTo>
                  <a:cubicBezTo>
                    <a:pt x="32" y="10"/>
                    <a:pt x="32" y="10"/>
                    <a:pt x="32" y="10"/>
                  </a:cubicBezTo>
                  <a:cubicBezTo>
                    <a:pt x="30" y="8"/>
                    <a:pt x="30" y="8"/>
                    <a:pt x="30" y="8"/>
                  </a:cubicBezTo>
                  <a:cubicBezTo>
                    <a:pt x="30" y="8"/>
                    <a:pt x="30" y="8"/>
                    <a:pt x="30" y="8"/>
                  </a:cubicBezTo>
                  <a:cubicBezTo>
                    <a:pt x="31" y="8"/>
                    <a:pt x="30" y="8"/>
                    <a:pt x="30" y="8"/>
                  </a:cubicBezTo>
                  <a:cubicBezTo>
                    <a:pt x="30" y="7"/>
                    <a:pt x="30" y="7"/>
                    <a:pt x="30" y="7"/>
                  </a:cubicBezTo>
                  <a:cubicBezTo>
                    <a:pt x="30" y="7"/>
                    <a:pt x="30" y="7"/>
                    <a:pt x="30" y="7"/>
                  </a:cubicBezTo>
                  <a:cubicBezTo>
                    <a:pt x="30" y="7"/>
                    <a:pt x="29" y="7"/>
                    <a:pt x="29" y="7"/>
                  </a:cubicBezTo>
                  <a:cubicBezTo>
                    <a:pt x="29" y="7"/>
                    <a:pt x="29" y="7"/>
                    <a:pt x="29" y="7"/>
                  </a:cubicBezTo>
                  <a:cubicBezTo>
                    <a:pt x="28" y="7"/>
                    <a:pt x="28" y="7"/>
                    <a:pt x="28" y="7"/>
                  </a:cubicBezTo>
                  <a:cubicBezTo>
                    <a:pt x="28" y="7"/>
                    <a:pt x="28" y="6"/>
                    <a:pt x="28" y="6"/>
                  </a:cubicBezTo>
                  <a:cubicBezTo>
                    <a:pt x="28" y="5"/>
                    <a:pt x="28" y="5"/>
                    <a:pt x="29" y="5"/>
                  </a:cubicBezTo>
                  <a:cubicBezTo>
                    <a:pt x="29" y="5"/>
                    <a:pt x="30" y="5"/>
                    <a:pt x="30" y="5"/>
                  </a:cubicBezTo>
                  <a:cubicBezTo>
                    <a:pt x="31" y="5"/>
                    <a:pt x="31" y="6"/>
                    <a:pt x="32" y="6"/>
                  </a:cubicBezTo>
                  <a:cubicBezTo>
                    <a:pt x="32" y="6"/>
                    <a:pt x="33" y="5"/>
                    <a:pt x="32" y="4"/>
                  </a:cubicBezTo>
                  <a:cubicBezTo>
                    <a:pt x="31" y="2"/>
                    <a:pt x="30" y="2"/>
                    <a:pt x="28" y="2"/>
                  </a:cubicBezTo>
                  <a:cubicBezTo>
                    <a:pt x="28" y="2"/>
                    <a:pt x="28" y="2"/>
                    <a:pt x="28" y="2"/>
                  </a:cubicBezTo>
                  <a:cubicBezTo>
                    <a:pt x="26" y="2"/>
                    <a:pt x="25" y="2"/>
                    <a:pt x="23" y="2"/>
                  </a:cubicBezTo>
                  <a:cubicBezTo>
                    <a:pt x="22" y="2"/>
                    <a:pt x="20" y="2"/>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203"/>
            <p:cNvSpPr/>
            <p:nvPr/>
          </p:nvSpPr>
          <p:spPr bwMode="auto">
            <a:xfrm>
              <a:off x="9076151" y="6417371"/>
              <a:ext cx="24009" cy="19772"/>
            </a:xfrm>
            <a:custGeom>
              <a:gdLst>
                <a:gd name="T0" fmla="*/ 6 w 7"/>
                <a:gd name="T1" fmla="*/ 0 h 6"/>
                <a:gd name="T2" fmla="*/ 5 w 7"/>
                <a:gd name="T3" fmla="*/ 0 h 6"/>
                <a:gd name="T4" fmla="*/ 2 w 7"/>
                <a:gd name="T5" fmla="*/ 2 h 6"/>
                <a:gd name="T6" fmla="*/ 1 w 7"/>
                <a:gd name="T7" fmla="*/ 2 h 6"/>
                <a:gd name="T8" fmla="*/ 1 w 7"/>
                <a:gd name="T9" fmla="*/ 2 h 6"/>
                <a:gd name="T10" fmla="*/ 1 w 7"/>
                <a:gd name="T11" fmla="*/ 2 h 6"/>
                <a:gd name="T12" fmla="*/ 1 w 7"/>
                <a:gd name="T13" fmla="*/ 2 h 6"/>
                <a:gd name="T14" fmla="*/ 4 w 7"/>
                <a:gd name="T15" fmla="*/ 6 h 6"/>
                <a:gd name="T16" fmla="*/ 6 w 7"/>
                <a:gd name="T17" fmla="*/ 2 h 6"/>
                <a:gd name="T18" fmla="*/ 6 w 7"/>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6" y="0"/>
                  </a:moveTo>
                  <a:cubicBezTo>
                    <a:pt x="6" y="0"/>
                    <a:pt x="5" y="0"/>
                    <a:pt x="5" y="0"/>
                  </a:cubicBezTo>
                  <a:cubicBezTo>
                    <a:pt x="4" y="0"/>
                    <a:pt x="2" y="1"/>
                    <a:pt x="2" y="2"/>
                  </a:cubicBezTo>
                  <a:cubicBezTo>
                    <a:pt x="2" y="2"/>
                    <a:pt x="1" y="2"/>
                    <a:pt x="1" y="2"/>
                  </a:cubicBezTo>
                  <a:cubicBezTo>
                    <a:pt x="1" y="2"/>
                    <a:pt x="1" y="2"/>
                    <a:pt x="1" y="2"/>
                  </a:cubicBezTo>
                  <a:cubicBezTo>
                    <a:pt x="1" y="2"/>
                    <a:pt x="1" y="2"/>
                    <a:pt x="1" y="2"/>
                  </a:cubicBezTo>
                  <a:cubicBezTo>
                    <a:pt x="1" y="2"/>
                    <a:pt x="0" y="2"/>
                    <a:pt x="1" y="2"/>
                  </a:cubicBezTo>
                  <a:cubicBezTo>
                    <a:pt x="1" y="4"/>
                    <a:pt x="3" y="5"/>
                    <a:pt x="4" y="6"/>
                  </a:cubicBezTo>
                  <a:cubicBezTo>
                    <a:pt x="7" y="6"/>
                    <a:pt x="6" y="5"/>
                    <a:pt x="6" y="2"/>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204"/>
            <p:cNvSpPr/>
            <p:nvPr/>
          </p:nvSpPr>
          <p:spPr bwMode="auto">
            <a:xfrm>
              <a:off x="9086037" y="6373590"/>
              <a:ext cx="141227" cy="93210"/>
            </a:xfrm>
            <a:custGeom>
              <a:gdLst>
                <a:gd name="T0" fmla="*/ 38 w 42"/>
                <a:gd name="T1" fmla="*/ 0 h 28"/>
                <a:gd name="T2" fmla="*/ 36 w 42"/>
                <a:gd name="T3" fmla="*/ 1 h 28"/>
                <a:gd name="T4" fmla="*/ 31 w 42"/>
                <a:gd name="T5" fmla="*/ 3 h 28"/>
                <a:gd name="T6" fmla="*/ 30 w 42"/>
                <a:gd name="T7" fmla="*/ 3 h 28"/>
                <a:gd name="T8" fmla="*/ 28 w 42"/>
                <a:gd name="T9" fmla="*/ 2 h 28"/>
                <a:gd name="T10" fmla="*/ 26 w 42"/>
                <a:gd name="T11" fmla="*/ 1 h 28"/>
                <a:gd name="T12" fmla="*/ 25 w 42"/>
                <a:gd name="T13" fmla="*/ 2 h 28"/>
                <a:gd name="T14" fmla="*/ 18 w 42"/>
                <a:gd name="T15" fmla="*/ 4 h 28"/>
                <a:gd name="T16" fmla="*/ 16 w 42"/>
                <a:gd name="T17" fmla="*/ 3 h 28"/>
                <a:gd name="T18" fmla="*/ 9 w 42"/>
                <a:gd name="T19" fmla="*/ 0 h 28"/>
                <a:gd name="T20" fmla="*/ 15 w 42"/>
                <a:gd name="T21" fmla="*/ 4 h 28"/>
                <a:gd name="T22" fmla="*/ 15 w 42"/>
                <a:gd name="T23" fmla="*/ 4 h 28"/>
                <a:gd name="T24" fmla="*/ 12 w 42"/>
                <a:gd name="T25" fmla="*/ 4 h 28"/>
                <a:gd name="T26" fmla="*/ 22 w 42"/>
                <a:gd name="T27" fmla="*/ 10 h 28"/>
                <a:gd name="T28" fmla="*/ 17 w 42"/>
                <a:gd name="T29" fmla="*/ 10 h 28"/>
                <a:gd name="T30" fmla="*/ 15 w 42"/>
                <a:gd name="T31" fmla="*/ 10 h 28"/>
                <a:gd name="T32" fmla="*/ 12 w 42"/>
                <a:gd name="T33" fmla="*/ 11 h 28"/>
                <a:gd name="T34" fmla="*/ 9 w 42"/>
                <a:gd name="T35" fmla="*/ 10 h 28"/>
                <a:gd name="T36" fmla="*/ 12 w 42"/>
                <a:gd name="T37" fmla="*/ 13 h 28"/>
                <a:gd name="T38" fmla="*/ 19 w 42"/>
                <a:gd name="T39" fmla="*/ 11 h 28"/>
                <a:gd name="T40" fmla="*/ 19 w 42"/>
                <a:gd name="T41" fmla="*/ 11 h 28"/>
                <a:gd name="T42" fmla="*/ 15 w 42"/>
                <a:gd name="T43" fmla="*/ 14 h 28"/>
                <a:gd name="T44" fmla="*/ 15 w 42"/>
                <a:gd name="T45" fmla="*/ 13 h 28"/>
                <a:gd name="T46" fmla="*/ 10 w 42"/>
                <a:gd name="T47" fmla="*/ 18 h 28"/>
                <a:gd name="T48" fmla="*/ 12 w 42"/>
                <a:gd name="T49" fmla="*/ 18 h 28"/>
                <a:gd name="T50" fmla="*/ 14 w 42"/>
                <a:gd name="T51" fmla="*/ 17 h 28"/>
                <a:gd name="T52" fmla="*/ 10 w 42"/>
                <a:gd name="T53" fmla="*/ 19 h 28"/>
                <a:gd name="T54" fmla="*/ 9 w 42"/>
                <a:gd name="T55" fmla="*/ 19 h 28"/>
                <a:gd name="T56" fmla="*/ 7 w 42"/>
                <a:gd name="T57" fmla="*/ 19 h 28"/>
                <a:gd name="T58" fmla="*/ 7 w 42"/>
                <a:gd name="T59" fmla="*/ 19 h 28"/>
                <a:gd name="T60" fmla="*/ 3 w 42"/>
                <a:gd name="T61" fmla="*/ 21 h 28"/>
                <a:gd name="T62" fmla="*/ 2 w 42"/>
                <a:gd name="T63" fmla="*/ 21 h 28"/>
                <a:gd name="T64" fmla="*/ 0 w 42"/>
                <a:gd name="T65" fmla="*/ 20 h 28"/>
                <a:gd name="T66" fmla="*/ 9 w 42"/>
                <a:gd name="T67" fmla="*/ 28 h 28"/>
                <a:gd name="T68" fmla="*/ 11 w 42"/>
                <a:gd name="T69" fmla="*/ 24 h 28"/>
                <a:gd name="T70" fmla="*/ 14 w 42"/>
                <a:gd name="T71" fmla="*/ 25 h 28"/>
                <a:gd name="T72" fmla="*/ 17 w 42"/>
                <a:gd name="T73" fmla="*/ 24 h 28"/>
                <a:gd name="T74" fmla="*/ 19 w 42"/>
                <a:gd name="T75" fmla="*/ 19 h 28"/>
                <a:gd name="T76" fmla="*/ 19 w 42"/>
                <a:gd name="T77" fmla="*/ 19 h 28"/>
                <a:gd name="T78" fmla="*/ 20 w 42"/>
                <a:gd name="T79" fmla="*/ 20 h 28"/>
                <a:gd name="T80" fmla="*/ 21 w 42"/>
                <a:gd name="T81" fmla="*/ 20 h 28"/>
                <a:gd name="T82" fmla="*/ 21 w 42"/>
                <a:gd name="T83" fmla="*/ 20 h 28"/>
                <a:gd name="T84" fmla="*/ 22 w 42"/>
                <a:gd name="T85" fmla="*/ 19 h 28"/>
                <a:gd name="T86" fmla="*/ 22 w 42"/>
                <a:gd name="T87" fmla="*/ 19 h 28"/>
                <a:gd name="T88" fmla="*/ 23 w 42"/>
                <a:gd name="T89" fmla="*/ 19 h 28"/>
                <a:gd name="T90" fmla="*/ 25 w 42"/>
                <a:gd name="T91" fmla="*/ 19 h 28"/>
                <a:gd name="T92" fmla="*/ 26 w 42"/>
                <a:gd name="T93" fmla="*/ 19 h 28"/>
                <a:gd name="T94" fmla="*/ 32 w 42"/>
                <a:gd name="T95" fmla="*/ 13 h 28"/>
                <a:gd name="T96" fmla="*/ 34 w 42"/>
                <a:gd name="T97" fmla="*/ 10 h 28"/>
                <a:gd name="T98" fmla="*/ 36 w 42"/>
                <a:gd name="T99" fmla="*/ 8 h 28"/>
                <a:gd name="T100" fmla="*/ 36 w 42"/>
                <a:gd name="T101" fmla="*/ 8 h 28"/>
                <a:gd name="T102" fmla="*/ 37 w 42"/>
                <a:gd name="T103" fmla="*/ 8 h 28"/>
                <a:gd name="T104" fmla="*/ 37 w 42"/>
                <a:gd name="T105" fmla="*/ 8 h 28"/>
                <a:gd name="T106" fmla="*/ 37 w 42"/>
                <a:gd name="T107" fmla="*/ 8 h 28"/>
                <a:gd name="T108" fmla="*/ 39 w 42"/>
                <a:gd name="T109" fmla="*/ 4 h 28"/>
                <a:gd name="T110" fmla="*/ 42 w 42"/>
                <a:gd name="T111" fmla="*/ 2 h 28"/>
                <a:gd name="T112" fmla="*/ 38 w 42"/>
                <a:gd name="T113"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28">
                  <a:moveTo>
                    <a:pt x="38" y="0"/>
                  </a:moveTo>
                  <a:cubicBezTo>
                    <a:pt x="37" y="0"/>
                    <a:pt x="37" y="0"/>
                    <a:pt x="36" y="1"/>
                  </a:cubicBezTo>
                  <a:cubicBezTo>
                    <a:pt x="34" y="2"/>
                    <a:pt x="33" y="3"/>
                    <a:pt x="31" y="3"/>
                  </a:cubicBezTo>
                  <a:cubicBezTo>
                    <a:pt x="31" y="3"/>
                    <a:pt x="30" y="3"/>
                    <a:pt x="30" y="3"/>
                  </a:cubicBezTo>
                  <a:cubicBezTo>
                    <a:pt x="29" y="3"/>
                    <a:pt x="29" y="2"/>
                    <a:pt x="28" y="2"/>
                  </a:cubicBezTo>
                  <a:cubicBezTo>
                    <a:pt x="27" y="1"/>
                    <a:pt x="27" y="1"/>
                    <a:pt x="26" y="1"/>
                  </a:cubicBezTo>
                  <a:cubicBezTo>
                    <a:pt x="26" y="1"/>
                    <a:pt x="26" y="2"/>
                    <a:pt x="25" y="2"/>
                  </a:cubicBezTo>
                  <a:cubicBezTo>
                    <a:pt x="22" y="2"/>
                    <a:pt x="21" y="4"/>
                    <a:pt x="18" y="4"/>
                  </a:cubicBezTo>
                  <a:cubicBezTo>
                    <a:pt x="17" y="4"/>
                    <a:pt x="17" y="4"/>
                    <a:pt x="16" y="3"/>
                  </a:cubicBezTo>
                  <a:cubicBezTo>
                    <a:pt x="14" y="2"/>
                    <a:pt x="12" y="1"/>
                    <a:pt x="9" y="0"/>
                  </a:cubicBezTo>
                  <a:cubicBezTo>
                    <a:pt x="11" y="3"/>
                    <a:pt x="13" y="2"/>
                    <a:pt x="15" y="4"/>
                  </a:cubicBezTo>
                  <a:cubicBezTo>
                    <a:pt x="15" y="4"/>
                    <a:pt x="15" y="4"/>
                    <a:pt x="15" y="4"/>
                  </a:cubicBezTo>
                  <a:cubicBezTo>
                    <a:pt x="14" y="4"/>
                    <a:pt x="13" y="4"/>
                    <a:pt x="12" y="4"/>
                  </a:cubicBezTo>
                  <a:cubicBezTo>
                    <a:pt x="15" y="7"/>
                    <a:pt x="19" y="9"/>
                    <a:pt x="22" y="10"/>
                  </a:cubicBezTo>
                  <a:cubicBezTo>
                    <a:pt x="20" y="10"/>
                    <a:pt x="19" y="10"/>
                    <a:pt x="17" y="10"/>
                  </a:cubicBezTo>
                  <a:cubicBezTo>
                    <a:pt x="16" y="10"/>
                    <a:pt x="16" y="10"/>
                    <a:pt x="15" y="10"/>
                  </a:cubicBezTo>
                  <a:cubicBezTo>
                    <a:pt x="14" y="10"/>
                    <a:pt x="13" y="11"/>
                    <a:pt x="12" y="11"/>
                  </a:cubicBezTo>
                  <a:cubicBezTo>
                    <a:pt x="11" y="11"/>
                    <a:pt x="10" y="10"/>
                    <a:pt x="9" y="10"/>
                  </a:cubicBezTo>
                  <a:cubicBezTo>
                    <a:pt x="10" y="11"/>
                    <a:pt x="11" y="13"/>
                    <a:pt x="12" y="13"/>
                  </a:cubicBezTo>
                  <a:cubicBezTo>
                    <a:pt x="13" y="12"/>
                    <a:pt x="16" y="11"/>
                    <a:pt x="19" y="11"/>
                  </a:cubicBezTo>
                  <a:cubicBezTo>
                    <a:pt x="19" y="11"/>
                    <a:pt x="19" y="11"/>
                    <a:pt x="19" y="11"/>
                  </a:cubicBezTo>
                  <a:cubicBezTo>
                    <a:pt x="18" y="12"/>
                    <a:pt x="16" y="13"/>
                    <a:pt x="15" y="14"/>
                  </a:cubicBezTo>
                  <a:cubicBezTo>
                    <a:pt x="15" y="13"/>
                    <a:pt x="15" y="13"/>
                    <a:pt x="15" y="13"/>
                  </a:cubicBezTo>
                  <a:cubicBezTo>
                    <a:pt x="13" y="13"/>
                    <a:pt x="12" y="16"/>
                    <a:pt x="10" y="18"/>
                  </a:cubicBezTo>
                  <a:cubicBezTo>
                    <a:pt x="11" y="18"/>
                    <a:pt x="11" y="18"/>
                    <a:pt x="12" y="18"/>
                  </a:cubicBezTo>
                  <a:cubicBezTo>
                    <a:pt x="13" y="18"/>
                    <a:pt x="14" y="18"/>
                    <a:pt x="14" y="17"/>
                  </a:cubicBezTo>
                  <a:cubicBezTo>
                    <a:pt x="13" y="19"/>
                    <a:pt x="11" y="19"/>
                    <a:pt x="10" y="19"/>
                  </a:cubicBezTo>
                  <a:cubicBezTo>
                    <a:pt x="10" y="19"/>
                    <a:pt x="9" y="19"/>
                    <a:pt x="9" y="19"/>
                  </a:cubicBezTo>
                  <a:cubicBezTo>
                    <a:pt x="8" y="19"/>
                    <a:pt x="7" y="19"/>
                    <a:pt x="7" y="19"/>
                  </a:cubicBezTo>
                  <a:cubicBezTo>
                    <a:pt x="7" y="19"/>
                    <a:pt x="7" y="19"/>
                    <a:pt x="7" y="19"/>
                  </a:cubicBezTo>
                  <a:cubicBezTo>
                    <a:pt x="4" y="19"/>
                    <a:pt x="5" y="19"/>
                    <a:pt x="3" y="21"/>
                  </a:cubicBezTo>
                  <a:cubicBezTo>
                    <a:pt x="2" y="21"/>
                    <a:pt x="2" y="21"/>
                    <a:pt x="2" y="21"/>
                  </a:cubicBezTo>
                  <a:cubicBezTo>
                    <a:pt x="1" y="21"/>
                    <a:pt x="1" y="21"/>
                    <a:pt x="0" y="20"/>
                  </a:cubicBezTo>
                  <a:cubicBezTo>
                    <a:pt x="3" y="23"/>
                    <a:pt x="6" y="25"/>
                    <a:pt x="9" y="28"/>
                  </a:cubicBezTo>
                  <a:cubicBezTo>
                    <a:pt x="12" y="27"/>
                    <a:pt x="13" y="26"/>
                    <a:pt x="11" y="24"/>
                  </a:cubicBezTo>
                  <a:cubicBezTo>
                    <a:pt x="12" y="25"/>
                    <a:pt x="13" y="25"/>
                    <a:pt x="14" y="25"/>
                  </a:cubicBezTo>
                  <a:cubicBezTo>
                    <a:pt x="15" y="25"/>
                    <a:pt x="16" y="25"/>
                    <a:pt x="17" y="24"/>
                  </a:cubicBezTo>
                  <a:cubicBezTo>
                    <a:pt x="19" y="22"/>
                    <a:pt x="16" y="20"/>
                    <a:pt x="19" y="19"/>
                  </a:cubicBezTo>
                  <a:cubicBezTo>
                    <a:pt x="19" y="19"/>
                    <a:pt x="19" y="19"/>
                    <a:pt x="19" y="19"/>
                  </a:cubicBezTo>
                  <a:cubicBezTo>
                    <a:pt x="19" y="19"/>
                    <a:pt x="20" y="20"/>
                    <a:pt x="20" y="20"/>
                  </a:cubicBezTo>
                  <a:cubicBezTo>
                    <a:pt x="21" y="20"/>
                    <a:pt x="21" y="20"/>
                    <a:pt x="21" y="20"/>
                  </a:cubicBezTo>
                  <a:cubicBezTo>
                    <a:pt x="21" y="20"/>
                    <a:pt x="21" y="20"/>
                    <a:pt x="21" y="20"/>
                  </a:cubicBezTo>
                  <a:cubicBezTo>
                    <a:pt x="22" y="20"/>
                    <a:pt x="22" y="19"/>
                    <a:pt x="22" y="19"/>
                  </a:cubicBezTo>
                  <a:cubicBezTo>
                    <a:pt x="22" y="19"/>
                    <a:pt x="22" y="19"/>
                    <a:pt x="22" y="19"/>
                  </a:cubicBezTo>
                  <a:cubicBezTo>
                    <a:pt x="23" y="19"/>
                    <a:pt x="23" y="19"/>
                    <a:pt x="23" y="19"/>
                  </a:cubicBezTo>
                  <a:cubicBezTo>
                    <a:pt x="24" y="19"/>
                    <a:pt x="24" y="19"/>
                    <a:pt x="25" y="19"/>
                  </a:cubicBezTo>
                  <a:cubicBezTo>
                    <a:pt x="25" y="19"/>
                    <a:pt x="26" y="19"/>
                    <a:pt x="26" y="19"/>
                  </a:cubicBezTo>
                  <a:cubicBezTo>
                    <a:pt x="28" y="18"/>
                    <a:pt x="30" y="14"/>
                    <a:pt x="32" y="13"/>
                  </a:cubicBezTo>
                  <a:cubicBezTo>
                    <a:pt x="32" y="12"/>
                    <a:pt x="33" y="11"/>
                    <a:pt x="34" y="10"/>
                  </a:cubicBezTo>
                  <a:cubicBezTo>
                    <a:pt x="35" y="9"/>
                    <a:pt x="35" y="9"/>
                    <a:pt x="36" y="8"/>
                  </a:cubicBezTo>
                  <a:cubicBezTo>
                    <a:pt x="36" y="8"/>
                    <a:pt x="36" y="8"/>
                    <a:pt x="36" y="8"/>
                  </a:cubicBezTo>
                  <a:cubicBezTo>
                    <a:pt x="36" y="8"/>
                    <a:pt x="36" y="8"/>
                    <a:pt x="37" y="8"/>
                  </a:cubicBezTo>
                  <a:cubicBezTo>
                    <a:pt x="37" y="8"/>
                    <a:pt x="37" y="8"/>
                    <a:pt x="37" y="8"/>
                  </a:cubicBezTo>
                  <a:cubicBezTo>
                    <a:pt x="37" y="8"/>
                    <a:pt x="37" y="8"/>
                    <a:pt x="37" y="8"/>
                  </a:cubicBezTo>
                  <a:cubicBezTo>
                    <a:pt x="38" y="7"/>
                    <a:pt x="38" y="5"/>
                    <a:pt x="39" y="4"/>
                  </a:cubicBezTo>
                  <a:cubicBezTo>
                    <a:pt x="39" y="4"/>
                    <a:pt x="41" y="3"/>
                    <a:pt x="42" y="2"/>
                  </a:cubicBezTo>
                  <a:cubicBezTo>
                    <a:pt x="41" y="1"/>
                    <a:pt x="39"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206"/>
            <p:cNvSpPr/>
            <p:nvPr/>
          </p:nvSpPr>
          <p:spPr bwMode="auto">
            <a:xfrm>
              <a:off x="6997290" y="580444"/>
              <a:ext cx="14123" cy="24009"/>
            </a:xfrm>
            <a:custGeom>
              <a:gdLst>
                <a:gd name="T0" fmla="*/ 4 w 4"/>
                <a:gd name="T1" fmla="*/ 0 h 7"/>
                <a:gd name="T2" fmla="*/ 0 w 4"/>
                <a:gd name="T3" fmla="*/ 7 h 7"/>
                <a:gd name="T4" fmla="*/ 1 w 4"/>
                <a:gd name="T5" fmla="*/ 6 h 7"/>
                <a:gd name="T6" fmla="*/ 2 w 4"/>
                <a:gd name="T7" fmla="*/ 5 h 7"/>
                <a:gd name="T8" fmla="*/ 2 w 4"/>
                <a:gd name="T9" fmla="*/ 4 h 7"/>
                <a:gd name="T10" fmla="*/ 4 w 4"/>
                <a:gd name="T11" fmla="*/ 1 h 7"/>
                <a:gd name="T12" fmla="*/ 4 w 4"/>
                <a:gd name="T13" fmla="*/ 1 h 7"/>
                <a:gd name="T14" fmla="*/ 4 w 4"/>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4" y="0"/>
                  </a:moveTo>
                  <a:cubicBezTo>
                    <a:pt x="2" y="2"/>
                    <a:pt x="1" y="5"/>
                    <a:pt x="0" y="7"/>
                  </a:cubicBezTo>
                  <a:cubicBezTo>
                    <a:pt x="1" y="6"/>
                    <a:pt x="1" y="6"/>
                    <a:pt x="1" y="6"/>
                  </a:cubicBezTo>
                  <a:cubicBezTo>
                    <a:pt x="2" y="5"/>
                    <a:pt x="2" y="5"/>
                    <a:pt x="2" y="5"/>
                  </a:cubicBezTo>
                  <a:cubicBezTo>
                    <a:pt x="2" y="5"/>
                    <a:pt x="2" y="5"/>
                    <a:pt x="2" y="4"/>
                  </a:cubicBezTo>
                  <a:cubicBezTo>
                    <a:pt x="3" y="3"/>
                    <a:pt x="4" y="2"/>
                    <a:pt x="4" y="1"/>
                  </a:cubicBezTo>
                  <a:cubicBezTo>
                    <a:pt x="4" y="1"/>
                    <a:pt x="4" y="1"/>
                    <a:pt x="4" y="1"/>
                  </a:cubicBezTo>
                  <a:cubicBezTo>
                    <a:pt x="4"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207"/>
            <p:cNvSpPr/>
            <p:nvPr/>
          </p:nvSpPr>
          <p:spPr bwMode="auto">
            <a:xfrm>
              <a:off x="10294940" y="3876691"/>
              <a:ext cx="16947" cy="19772"/>
            </a:xfrm>
            <a:custGeom>
              <a:gdLst>
                <a:gd name="T0" fmla="*/ 3 w 5"/>
                <a:gd name="T1" fmla="*/ 0 h 6"/>
                <a:gd name="T2" fmla="*/ 3 w 5"/>
                <a:gd name="T3" fmla="*/ 0 h 6"/>
                <a:gd name="T4" fmla="*/ 3 w 5"/>
                <a:gd name="T5" fmla="*/ 0 h 6"/>
                <a:gd name="T6" fmla="*/ 0 w 5"/>
                <a:gd name="T7" fmla="*/ 3 h 6"/>
                <a:gd name="T8" fmla="*/ 0 w 5"/>
                <a:gd name="T9" fmla="*/ 4 h 6"/>
                <a:gd name="T10" fmla="*/ 2 w 5"/>
                <a:gd name="T11" fmla="*/ 5 h 6"/>
                <a:gd name="T12" fmla="*/ 4 w 5"/>
                <a:gd name="T13" fmla="*/ 6 h 6"/>
                <a:gd name="T14" fmla="*/ 4 w 5"/>
                <a:gd name="T15" fmla="*/ 6 h 6"/>
                <a:gd name="T16" fmla="*/ 4 w 5"/>
                <a:gd name="T17" fmla="*/ 2 h 6"/>
                <a:gd name="T18" fmla="*/ 5 w 5"/>
                <a:gd name="T19" fmla="*/ 1 h 6"/>
                <a:gd name="T20" fmla="*/ 4 w 5"/>
                <a:gd name="T21" fmla="*/ 1 h 6"/>
                <a:gd name="T22" fmla="*/ 4 w 5"/>
                <a:gd name="T23" fmla="*/ 0 h 6"/>
                <a:gd name="T24" fmla="*/ 3 w 5"/>
                <a:gd name="T25" fmla="*/ 0 h 6"/>
                <a:gd name="T26" fmla="*/ 3 w 5"/>
                <a:gd name="T2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3" y="0"/>
                  </a:moveTo>
                  <a:cubicBezTo>
                    <a:pt x="3" y="0"/>
                    <a:pt x="3" y="0"/>
                    <a:pt x="3" y="0"/>
                  </a:cubicBezTo>
                  <a:cubicBezTo>
                    <a:pt x="3" y="0"/>
                    <a:pt x="3" y="0"/>
                    <a:pt x="3" y="0"/>
                  </a:cubicBezTo>
                  <a:cubicBezTo>
                    <a:pt x="2" y="1"/>
                    <a:pt x="0" y="3"/>
                    <a:pt x="0" y="3"/>
                  </a:cubicBezTo>
                  <a:cubicBezTo>
                    <a:pt x="0" y="4"/>
                    <a:pt x="0" y="4"/>
                    <a:pt x="0" y="4"/>
                  </a:cubicBezTo>
                  <a:cubicBezTo>
                    <a:pt x="0" y="5"/>
                    <a:pt x="0" y="5"/>
                    <a:pt x="2" y="5"/>
                  </a:cubicBezTo>
                  <a:cubicBezTo>
                    <a:pt x="2" y="5"/>
                    <a:pt x="3" y="6"/>
                    <a:pt x="4" y="6"/>
                  </a:cubicBezTo>
                  <a:cubicBezTo>
                    <a:pt x="4" y="6"/>
                    <a:pt x="4" y="6"/>
                    <a:pt x="4" y="6"/>
                  </a:cubicBezTo>
                  <a:cubicBezTo>
                    <a:pt x="3" y="5"/>
                    <a:pt x="4" y="3"/>
                    <a:pt x="4" y="2"/>
                  </a:cubicBezTo>
                  <a:cubicBezTo>
                    <a:pt x="5" y="1"/>
                    <a:pt x="5" y="1"/>
                    <a:pt x="5" y="1"/>
                  </a:cubicBezTo>
                  <a:cubicBezTo>
                    <a:pt x="4" y="1"/>
                    <a:pt x="4" y="1"/>
                    <a:pt x="4" y="1"/>
                  </a:cubicBezTo>
                  <a:cubicBezTo>
                    <a:pt x="4" y="0"/>
                    <a:pt x="4" y="0"/>
                    <a:pt x="4" y="0"/>
                  </a:cubicBez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208"/>
            <p:cNvSpPr/>
            <p:nvPr/>
          </p:nvSpPr>
          <p:spPr bwMode="auto">
            <a:xfrm>
              <a:off x="9920689" y="1933402"/>
              <a:ext cx="19772" cy="12710"/>
            </a:xfrm>
            <a:custGeom>
              <a:gdLst>
                <a:gd name="T0" fmla="*/ 6 w 6"/>
                <a:gd name="T1" fmla="*/ 0 h 4"/>
                <a:gd name="T2" fmla="*/ 0 w 6"/>
                <a:gd name="T3" fmla="*/ 4 h 4"/>
                <a:gd name="T4" fmla="*/ 3 w 6"/>
                <a:gd name="T5" fmla="*/ 4 h 4"/>
                <a:gd name="T6" fmla="*/ 5 w 6"/>
                <a:gd name="T7" fmla="*/ 2 h 4"/>
                <a:gd name="T8" fmla="*/ 5 w 6"/>
                <a:gd name="T9" fmla="*/ 2 h 4"/>
                <a:gd name="T10" fmla="*/ 6 w 6"/>
                <a:gd name="T11" fmla="*/ 0 h 4"/>
              </a:gdLst>
              <a:cxnLst>
                <a:cxn ang="0">
                  <a:pos x="T0" y="T1"/>
                </a:cxn>
                <a:cxn ang="0">
                  <a:pos x="T2" y="T3"/>
                </a:cxn>
                <a:cxn ang="0">
                  <a:pos x="T4" y="T5"/>
                </a:cxn>
                <a:cxn ang="0">
                  <a:pos x="T6" y="T7"/>
                </a:cxn>
                <a:cxn ang="0">
                  <a:pos x="T8" y="T9"/>
                </a:cxn>
                <a:cxn ang="0">
                  <a:pos x="T10" y="T11"/>
                </a:cxn>
              </a:cxnLst>
              <a:rect l="0" t="0" r="r" b="b"/>
              <a:pathLst>
                <a:path w="6" h="4">
                  <a:moveTo>
                    <a:pt x="6" y="0"/>
                  </a:moveTo>
                  <a:cubicBezTo>
                    <a:pt x="4" y="1"/>
                    <a:pt x="2" y="3"/>
                    <a:pt x="0" y="4"/>
                  </a:cubicBezTo>
                  <a:cubicBezTo>
                    <a:pt x="1" y="4"/>
                    <a:pt x="2" y="4"/>
                    <a:pt x="3" y="4"/>
                  </a:cubicBezTo>
                  <a:cubicBezTo>
                    <a:pt x="4" y="3"/>
                    <a:pt x="4" y="3"/>
                    <a:pt x="5" y="2"/>
                  </a:cubicBezTo>
                  <a:cubicBezTo>
                    <a:pt x="5" y="2"/>
                    <a:pt x="5" y="2"/>
                    <a:pt x="5" y="2"/>
                  </a:cubicBezTo>
                  <a:cubicBezTo>
                    <a:pt x="5" y="1"/>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209"/>
            <p:cNvSpPr/>
            <p:nvPr/>
          </p:nvSpPr>
          <p:spPr bwMode="auto">
            <a:xfrm>
              <a:off x="9917864" y="1955999"/>
              <a:ext cx="19772" cy="19772"/>
            </a:xfrm>
            <a:custGeom>
              <a:gdLst>
                <a:gd name="T0" fmla="*/ 4 w 6"/>
                <a:gd name="T1" fmla="*/ 0 h 6"/>
                <a:gd name="T2" fmla="*/ 1 w 6"/>
                <a:gd name="T3" fmla="*/ 1 h 6"/>
                <a:gd name="T4" fmla="*/ 1 w 6"/>
                <a:gd name="T5" fmla="*/ 1 h 6"/>
                <a:gd name="T6" fmla="*/ 0 w 6"/>
                <a:gd name="T7" fmla="*/ 2 h 6"/>
                <a:gd name="T8" fmla="*/ 1 w 6"/>
                <a:gd name="T9" fmla="*/ 6 h 6"/>
                <a:gd name="T10" fmla="*/ 6 w 6"/>
                <a:gd name="T11" fmla="*/ 2 h 6"/>
                <a:gd name="T12" fmla="*/ 6 w 6"/>
                <a:gd name="T13" fmla="*/ 1 h 6"/>
                <a:gd name="T14" fmla="*/ 6 w 6"/>
                <a:gd name="T15" fmla="*/ 1 h 6"/>
                <a:gd name="T16" fmla="*/ 6 w 6"/>
                <a:gd name="T17" fmla="*/ 1 h 6"/>
                <a:gd name="T18" fmla="*/ 6 w 6"/>
                <a:gd name="T19" fmla="*/ 0 h 6"/>
                <a:gd name="T20" fmla="*/ 5 w 6"/>
                <a:gd name="T21" fmla="*/ 0 h 6"/>
                <a:gd name="T22" fmla="*/ 5 w 6"/>
                <a:gd name="T23" fmla="*/ 0 h 6"/>
                <a:gd name="T24" fmla="*/ 5 w 6"/>
                <a:gd name="T25" fmla="*/ 0 h 6"/>
                <a:gd name="T26" fmla="*/ 4 w 6"/>
                <a:gd name="T2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6">
                  <a:moveTo>
                    <a:pt x="4" y="0"/>
                  </a:moveTo>
                  <a:cubicBezTo>
                    <a:pt x="3" y="0"/>
                    <a:pt x="2" y="0"/>
                    <a:pt x="1" y="1"/>
                  </a:cubicBezTo>
                  <a:cubicBezTo>
                    <a:pt x="1" y="1"/>
                    <a:pt x="1" y="1"/>
                    <a:pt x="1" y="1"/>
                  </a:cubicBezTo>
                  <a:cubicBezTo>
                    <a:pt x="0" y="2"/>
                    <a:pt x="0" y="2"/>
                    <a:pt x="0" y="2"/>
                  </a:cubicBezTo>
                  <a:cubicBezTo>
                    <a:pt x="0" y="4"/>
                    <a:pt x="1" y="5"/>
                    <a:pt x="1" y="6"/>
                  </a:cubicBezTo>
                  <a:cubicBezTo>
                    <a:pt x="2" y="6"/>
                    <a:pt x="6" y="3"/>
                    <a:pt x="6" y="2"/>
                  </a:cubicBezTo>
                  <a:cubicBezTo>
                    <a:pt x="6" y="1"/>
                    <a:pt x="6" y="1"/>
                    <a:pt x="6" y="1"/>
                  </a:cubicBezTo>
                  <a:cubicBezTo>
                    <a:pt x="6" y="1"/>
                    <a:pt x="6" y="1"/>
                    <a:pt x="6" y="1"/>
                  </a:cubicBezTo>
                  <a:cubicBezTo>
                    <a:pt x="6" y="1"/>
                    <a:pt x="6" y="1"/>
                    <a:pt x="6" y="1"/>
                  </a:cubicBezTo>
                  <a:cubicBezTo>
                    <a:pt x="6" y="0"/>
                    <a:pt x="6" y="0"/>
                    <a:pt x="6" y="0"/>
                  </a:cubicBezTo>
                  <a:cubicBezTo>
                    <a:pt x="6" y="0"/>
                    <a:pt x="5" y="0"/>
                    <a:pt x="5" y="0"/>
                  </a:cubicBezTo>
                  <a:cubicBezTo>
                    <a:pt x="5" y="0"/>
                    <a:pt x="5" y="0"/>
                    <a:pt x="5" y="0"/>
                  </a:cubicBezTo>
                  <a:cubicBezTo>
                    <a:pt x="5" y="0"/>
                    <a:pt x="5" y="0"/>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210"/>
            <p:cNvSpPr/>
            <p:nvPr/>
          </p:nvSpPr>
          <p:spPr bwMode="auto">
            <a:xfrm>
              <a:off x="9893856" y="1989893"/>
              <a:ext cx="14123" cy="12710"/>
            </a:xfrm>
            <a:custGeom>
              <a:gdLst>
                <a:gd name="T0" fmla="*/ 1 w 4"/>
                <a:gd name="T1" fmla="*/ 0 h 4"/>
                <a:gd name="T2" fmla="*/ 1 w 4"/>
                <a:gd name="T3" fmla="*/ 3 h 4"/>
                <a:gd name="T4" fmla="*/ 1 w 4"/>
                <a:gd name="T5" fmla="*/ 4 h 4"/>
                <a:gd name="T6" fmla="*/ 4 w 4"/>
                <a:gd name="T7" fmla="*/ 4 h 4"/>
                <a:gd name="T8" fmla="*/ 2 w 4"/>
                <a:gd name="T9" fmla="*/ 1 h 4"/>
                <a:gd name="T10" fmla="*/ 1 w 4"/>
                <a:gd name="T11" fmla="*/ 0 h 4"/>
              </a:gdLst>
              <a:cxnLst>
                <a:cxn ang="0">
                  <a:pos x="T0" y="T1"/>
                </a:cxn>
                <a:cxn ang="0">
                  <a:pos x="T2" y="T3"/>
                </a:cxn>
                <a:cxn ang="0">
                  <a:pos x="T4" y="T5"/>
                </a:cxn>
                <a:cxn ang="0">
                  <a:pos x="T6" y="T7"/>
                </a:cxn>
                <a:cxn ang="0">
                  <a:pos x="T8" y="T9"/>
                </a:cxn>
                <a:cxn ang="0">
                  <a:pos x="T10" y="T11"/>
                </a:cxn>
              </a:cxnLst>
              <a:rect l="0" t="0" r="r" b="b"/>
              <a:pathLst>
                <a:path w="4" h="4">
                  <a:moveTo>
                    <a:pt x="1" y="0"/>
                  </a:moveTo>
                  <a:cubicBezTo>
                    <a:pt x="0" y="1"/>
                    <a:pt x="0" y="3"/>
                    <a:pt x="1" y="3"/>
                  </a:cubicBezTo>
                  <a:cubicBezTo>
                    <a:pt x="1" y="4"/>
                    <a:pt x="1" y="4"/>
                    <a:pt x="1" y="4"/>
                  </a:cubicBezTo>
                  <a:cubicBezTo>
                    <a:pt x="2" y="4"/>
                    <a:pt x="3" y="4"/>
                    <a:pt x="4" y="4"/>
                  </a:cubicBezTo>
                  <a:cubicBezTo>
                    <a:pt x="4" y="3"/>
                    <a:pt x="4" y="1"/>
                    <a:pt x="2" y="1"/>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211"/>
            <p:cNvSpPr/>
            <p:nvPr/>
          </p:nvSpPr>
          <p:spPr bwMode="auto">
            <a:xfrm>
              <a:off x="9903742" y="1955999"/>
              <a:ext cx="9886" cy="33895"/>
            </a:xfrm>
            <a:custGeom>
              <a:gdLst>
                <a:gd name="T0" fmla="*/ 2 w 3"/>
                <a:gd name="T1" fmla="*/ 0 h 10"/>
                <a:gd name="T2" fmla="*/ 2 w 3"/>
                <a:gd name="T3" fmla="*/ 0 h 10"/>
                <a:gd name="T4" fmla="*/ 2 w 3"/>
                <a:gd name="T5" fmla="*/ 2 h 10"/>
                <a:gd name="T6" fmla="*/ 1 w 3"/>
                <a:gd name="T7" fmla="*/ 3 h 10"/>
                <a:gd name="T8" fmla="*/ 0 w 3"/>
                <a:gd name="T9" fmla="*/ 5 h 10"/>
                <a:gd name="T10" fmla="*/ 1 w 3"/>
                <a:gd name="T11" fmla="*/ 10 h 10"/>
                <a:gd name="T12" fmla="*/ 3 w 3"/>
                <a:gd name="T13" fmla="*/ 8 h 10"/>
                <a:gd name="T14" fmla="*/ 3 w 3"/>
                <a:gd name="T15" fmla="*/ 8 h 10"/>
                <a:gd name="T16" fmla="*/ 3 w 3"/>
                <a:gd name="T17" fmla="*/ 7 h 10"/>
                <a:gd name="T18" fmla="*/ 3 w 3"/>
                <a:gd name="T19" fmla="*/ 6 h 10"/>
                <a:gd name="T20" fmla="*/ 3 w 3"/>
                <a:gd name="T21" fmla="*/ 5 h 10"/>
                <a:gd name="T22" fmla="*/ 3 w 3"/>
                <a:gd name="T23" fmla="*/ 1 h 10"/>
                <a:gd name="T24" fmla="*/ 2 w 3"/>
                <a:gd name="T25" fmla="*/ 1 h 10"/>
                <a:gd name="T26" fmla="*/ 2 w 3"/>
                <a:gd name="T2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0">
                  <a:moveTo>
                    <a:pt x="2" y="0"/>
                  </a:moveTo>
                  <a:cubicBezTo>
                    <a:pt x="2" y="0"/>
                    <a:pt x="2" y="0"/>
                    <a:pt x="2" y="0"/>
                  </a:cubicBezTo>
                  <a:cubicBezTo>
                    <a:pt x="2" y="1"/>
                    <a:pt x="2" y="1"/>
                    <a:pt x="2" y="2"/>
                  </a:cubicBezTo>
                  <a:cubicBezTo>
                    <a:pt x="1" y="2"/>
                    <a:pt x="1" y="3"/>
                    <a:pt x="1" y="3"/>
                  </a:cubicBezTo>
                  <a:cubicBezTo>
                    <a:pt x="1" y="4"/>
                    <a:pt x="1" y="5"/>
                    <a:pt x="0" y="5"/>
                  </a:cubicBezTo>
                  <a:cubicBezTo>
                    <a:pt x="0" y="7"/>
                    <a:pt x="0" y="8"/>
                    <a:pt x="1" y="10"/>
                  </a:cubicBezTo>
                  <a:cubicBezTo>
                    <a:pt x="2" y="9"/>
                    <a:pt x="2" y="8"/>
                    <a:pt x="3" y="8"/>
                  </a:cubicBezTo>
                  <a:cubicBezTo>
                    <a:pt x="3" y="8"/>
                    <a:pt x="3" y="8"/>
                    <a:pt x="3" y="8"/>
                  </a:cubicBezTo>
                  <a:cubicBezTo>
                    <a:pt x="3" y="7"/>
                    <a:pt x="3" y="7"/>
                    <a:pt x="3" y="7"/>
                  </a:cubicBezTo>
                  <a:cubicBezTo>
                    <a:pt x="3" y="7"/>
                    <a:pt x="3" y="7"/>
                    <a:pt x="3" y="6"/>
                  </a:cubicBezTo>
                  <a:cubicBezTo>
                    <a:pt x="3" y="5"/>
                    <a:pt x="3" y="5"/>
                    <a:pt x="3" y="5"/>
                  </a:cubicBezTo>
                  <a:cubicBezTo>
                    <a:pt x="3" y="4"/>
                    <a:pt x="3" y="2"/>
                    <a:pt x="3" y="1"/>
                  </a:cubicBezTo>
                  <a:cubicBezTo>
                    <a:pt x="2" y="1"/>
                    <a:pt x="2"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212"/>
            <p:cNvSpPr/>
            <p:nvPr/>
          </p:nvSpPr>
          <p:spPr bwMode="auto">
            <a:xfrm>
              <a:off x="9793585" y="2043560"/>
              <a:ext cx="60728" cy="73438"/>
            </a:xfrm>
            <a:custGeom>
              <a:gdLst>
                <a:gd name="T0" fmla="*/ 14 w 18"/>
                <a:gd name="T1" fmla="*/ 0 h 22"/>
                <a:gd name="T2" fmla="*/ 11 w 18"/>
                <a:gd name="T3" fmla="*/ 1 h 22"/>
                <a:gd name="T4" fmla="*/ 0 w 18"/>
                <a:gd name="T5" fmla="*/ 22 h 22"/>
                <a:gd name="T6" fmla="*/ 3 w 18"/>
                <a:gd name="T7" fmla="*/ 21 h 22"/>
                <a:gd name="T8" fmla="*/ 4 w 18"/>
                <a:gd name="T9" fmla="*/ 21 h 22"/>
                <a:gd name="T10" fmla="*/ 5 w 18"/>
                <a:gd name="T11" fmla="*/ 20 h 22"/>
                <a:gd name="T12" fmla="*/ 5 w 18"/>
                <a:gd name="T13" fmla="*/ 20 h 22"/>
                <a:gd name="T14" fmla="*/ 10 w 18"/>
                <a:gd name="T15" fmla="*/ 16 h 22"/>
                <a:gd name="T16" fmla="*/ 14 w 18"/>
                <a:gd name="T17" fmla="*/ 11 h 22"/>
                <a:gd name="T18" fmla="*/ 16 w 18"/>
                <a:gd name="T19" fmla="*/ 2 h 22"/>
                <a:gd name="T20" fmla="*/ 15 w 18"/>
                <a:gd name="T21" fmla="*/ 1 h 22"/>
                <a:gd name="T22" fmla="*/ 14 w 18"/>
                <a:gd name="T23"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2">
                  <a:moveTo>
                    <a:pt x="14" y="0"/>
                  </a:moveTo>
                  <a:cubicBezTo>
                    <a:pt x="13" y="0"/>
                    <a:pt x="13" y="1"/>
                    <a:pt x="11" y="1"/>
                  </a:cubicBezTo>
                  <a:cubicBezTo>
                    <a:pt x="4" y="4"/>
                    <a:pt x="2" y="16"/>
                    <a:pt x="0" y="22"/>
                  </a:cubicBezTo>
                  <a:cubicBezTo>
                    <a:pt x="1" y="22"/>
                    <a:pt x="2" y="22"/>
                    <a:pt x="3" y="21"/>
                  </a:cubicBezTo>
                  <a:cubicBezTo>
                    <a:pt x="3" y="21"/>
                    <a:pt x="4" y="21"/>
                    <a:pt x="4" y="21"/>
                  </a:cubicBezTo>
                  <a:cubicBezTo>
                    <a:pt x="4" y="21"/>
                    <a:pt x="5" y="21"/>
                    <a:pt x="5" y="20"/>
                  </a:cubicBezTo>
                  <a:cubicBezTo>
                    <a:pt x="5" y="20"/>
                    <a:pt x="5" y="20"/>
                    <a:pt x="5" y="20"/>
                  </a:cubicBezTo>
                  <a:cubicBezTo>
                    <a:pt x="7" y="19"/>
                    <a:pt x="9" y="17"/>
                    <a:pt x="10" y="16"/>
                  </a:cubicBezTo>
                  <a:cubicBezTo>
                    <a:pt x="12" y="14"/>
                    <a:pt x="13" y="13"/>
                    <a:pt x="14" y="11"/>
                  </a:cubicBezTo>
                  <a:cubicBezTo>
                    <a:pt x="16" y="8"/>
                    <a:pt x="18" y="4"/>
                    <a:pt x="16" y="2"/>
                  </a:cubicBezTo>
                  <a:cubicBezTo>
                    <a:pt x="16" y="1"/>
                    <a:pt x="16" y="1"/>
                    <a:pt x="15" y="1"/>
                  </a:cubicBezTo>
                  <a:cubicBezTo>
                    <a:pt x="15"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213"/>
            <p:cNvSpPr/>
            <p:nvPr/>
          </p:nvSpPr>
          <p:spPr bwMode="auto">
            <a:xfrm>
              <a:off x="10050618" y="4180329"/>
              <a:ext cx="14123" cy="36719"/>
            </a:xfrm>
            <a:custGeom>
              <a:gdLst>
                <a:gd name="T0" fmla="*/ 4 w 4"/>
                <a:gd name="T1" fmla="*/ 0 h 11"/>
                <a:gd name="T2" fmla="*/ 0 w 4"/>
                <a:gd name="T3" fmla="*/ 11 h 11"/>
                <a:gd name="T4" fmla="*/ 2 w 4"/>
                <a:gd name="T5" fmla="*/ 9 h 11"/>
                <a:gd name="T6" fmla="*/ 2 w 4"/>
                <a:gd name="T7" fmla="*/ 8 h 11"/>
                <a:gd name="T8" fmla="*/ 4 w 4"/>
                <a:gd name="T9" fmla="*/ 3 h 11"/>
                <a:gd name="T10" fmla="*/ 4 w 4"/>
                <a:gd name="T11" fmla="*/ 3 h 11"/>
                <a:gd name="T12" fmla="*/ 4 w 4"/>
                <a:gd name="T13" fmla="*/ 2 h 11"/>
                <a:gd name="T14" fmla="*/ 4 w 4"/>
                <a:gd name="T15" fmla="*/ 1 h 11"/>
                <a:gd name="T16" fmla="*/ 4 w 4"/>
                <a:gd name="T1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1">
                  <a:moveTo>
                    <a:pt x="4" y="0"/>
                  </a:moveTo>
                  <a:cubicBezTo>
                    <a:pt x="2" y="3"/>
                    <a:pt x="1" y="7"/>
                    <a:pt x="0" y="11"/>
                  </a:cubicBezTo>
                  <a:cubicBezTo>
                    <a:pt x="1" y="10"/>
                    <a:pt x="1" y="9"/>
                    <a:pt x="2" y="9"/>
                  </a:cubicBezTo>
                  <a:cubicBezTo>
                    <a:pt x="2" y="8"/>
                    <a:pt x="2" y="8"/>
                    <a:pt x="2" y="8"/>
                  </a:cubicBezTo>
                  <a:cubicBezTo>
                    <a:pt x="3" y="7"/>
                    <a:pt x="4" y="5"/>
                    <a:pt x="4" y="3"/>
                  </a:cubicBezTo>
                  <a:cubicBezTo>
                    <a:pt x="4" y="3"/>
                    <a:pt x="4" y="3"/>
                    <a:pt x="4" y="3"/>
                  </a:cubicBezTo>
                  <a:cubicBezTo>
                    <a:pt x="4" y="2"/>
                    <a:pt x="4" y="2"/>
                    <a:pt x="4" y="2"/>
                  </a:cubicBezTo>
                  <a:cubicBezTo>
                    <a:pt x="4" y="1"/>
                    <a:pt x="4" y="1"/>
                    <a:pt x="4" y="1"/>
                  </a:cubicBezTo>
                  <a:cubicBezTo>
                    <a:pt x="4"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214"/>
            <p:cNvSpPr/>
            <p:nvPr/>
          </p:nvSpPr>
          <p:spPr bwMode="auto">
            <a:xfrm>
              <a:off x="9850075" y="2049209"/>
              <a:ext cx="26833" cy="31070"/>
            </a:xfrm>
            <a:custGeom>
              <a:gdLst>
                <a:gd name="T0" fmla="*/ 8 w 8"/>
                <a:gd name="T1" fmla="*/ 0 h 9"/>
                <a:gd name="T2" fmla="*/ 1 w 8"/>
                <a:gd name="T3" fmla="*/ 5 h 9"/>
                <a:gd name="T4" fmla="*/ 0 w 8"/>
                <a:gd name="T5" fmla="*/ 9 h 9"/>
                <a:gd name="T6" fmla="*/ 4 w 8"/>
                <a:gd name="T7" fmla="*/ 6 h 9"/>
                <a:gd name="T8" fmla="*/ 5 w 8"/>
                <a:gd name="T9" fmla="*/ 4 h 9"/>
                <a:gd name="T10" fmla="*/ 5 w 8"/>
                <a:gd name="T11" fmla="*/ 3 h 9"/>
                <a:gd name="T12" fmla="*/ 7 w 8"/>
                <a:gd name="T13" fmla="*/ 2 h 9"/>
                <a:gd name="T14" fmla="*/ 8 w 8"/>
                <a:gd name="T15" fmla="*/ 0 h 9"/>
                <a:gd name="T16" fmla="*/ 8 w 8"/>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0"/>
                  </a:moveTo>
                  <a:cubicBezTo>
                    <a:pt x="4" y="1"/>
                    <a:pt x="2" y="2"/>
                    <a:pt x="1" y="5"/>
                  </a:cubicBezTo>
                  <a:cubicBezTo>
                    <a:pt x="1" y="6"/>
                    <a:pt x="1" y="7"/>
                    <a:pt x="0" y="9"/>
                  </a:cubicBezTo>
                  <a:cubicBezTo>
                    <a:pt x="1" y="8"/>
                    <a:pt x="3" y="7"/>
                    <a:pt x="4" y="6"/>
                  </a:cubicBezTo>
                  <a:cubicBezTo>
                    <a:pt x="4" y="5"/>
                    <a:pt x="4" y="4"/>
                    <a:pt x="5" y="4"/>
                  </a:cubicBezTo>
                  <a:cubicBezTo>
                    <a:pt x="5" y="3"/>
                    <a:pt x="5" y="3"/>
                    <a:pt x="5" y="3"/>
                  </a:cubicBezTo>
                  <a:cubicBezTo>
                    <a:pt x="6" y="3"/>
                    <a:pt x="7" y="2"/>
                    <a:pt x="7" y="2"/>
                  </a:cubicBezTo>
                  <a:cubicBezTo>
                    <a:pt x="8" y="2"/>
                    <a:pt x="8"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215"/>
            <p:cNvSpPr/>
            <p:nvPr/>
          </p:nvSpPr>
          <p:spPr bwMode="auto">
            <a:xfrm>
              <a:off x="9834540" y="2012490"/>
              <a:ext cx="22596" cy="26833"/>
            </a:xfrm>
            <a:custGeom>
              <a:gdLst>
                <a:gd name="T0" fmla="*/ 6 w 7"/>
                <a:gd name="T1" fmla="*/ 0 h 8"/>
                <a:gd name="T2" fmla="*/ 0 w 7"/>
                <a:gd name="T3" fmla="*/ 8 h 8"/>
                <a:gd name="T4" fmla="*/ 5 w 7"/>
                <a:gd name="T5" fmla="*/ 4 h 8"/>
                <a:gd name="T6" fmla="*/ 5 w 7"/>
                <a:gd name="T7" fmla="*/ 4 h 8"/>
                <a:gd name="T8" fmla="*/ 6 w 7"/>
                <a:gd name="T9" fmla="*/ 2 h 8"/>
                <a:gd name="T10" fmla="*/ 6 w 7"/>
                <a:gd name="T11" fmla="*/ 0 h 8"/>
              </a:gdLst>
              <a:cxnLst>
                <a:cxn ang="0">
                  <a:pos x="T0" y="T1"/>
                </a:cxn>
                <a:cxn ang="0">
                  <a:pos x="T2" y="T3"/>
                </a:cxn>
                <a:cxn ang="0">
                  <a:pos x="T4" y="T5"/>
                </a:cxn>
                <a:cxn ang="0">
                  <a:pos x="T6" y="T7"/>
                </a:cxn>
                <a:cxn ang="0">
                  <a:pos x="T8" y="T9"/>
                </a:cxn>
                <a:cxn ang="0">
                  <a:pos x="T10" y="T11"/>
                </a:cxn>
              </a:cxnLst>
              <a:rect l="0" t="0" r="r" b="b"/>
              <a:pathLst>
                <a:path w="7" h="8">
                  <a:moveTo>
                    <a:pt x="6" y="0"/>
                  </a:moveTo>
                  <a:cubicBezTo>
                    <a:pt x="4" y="3"/>
                    <a:pt x="2" y="6"/>
                    <a:pt x="0" y="8"/>
                  </a:cubicBezTo>
                  <a:cubicBezTo>
                    <a:pt x="1" y="7"/>
                    <a:pt x="4" y="6"/>
                    <a:pt x="5" y="4"/>
                  </a:cubicBezTo>
                  <a:cubicBezTo>
                    <a:pt x="5" y="4"/>
                    <a:pt x="5" y="4"/>
                    <a:pt x="5" y="4"/>
                  </a:cubicBezTo>
                  <a:cubicBezTo>
                    <a:pt x="7" y="3"/>
                    <a:pt x="6" y="3"/>
                    <a:pt x="6" y="2"/>
                  </a:cubicBezTo>
                  <a:cubicBezTo>
                    <a:pt x="6" y="2"/>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216"/>
            <p:cNvSpPr/>
            <p:nvPr/>
          </p:nvSpPr>
          <p:spPr bwMode="auto">
            <a:xfrm>
              <a:off x="9954583" y="2002604"/>
              <a:ext cx="32482" cy="14123"/>
            </a:xfrm>
            <a:custGeom>
              <a:gdLst>
                <a:gd name="T0" fmla="*/ 5 w 10"/>
                <a:gd name="T1" fmla="*/ 0 h 4"/>
                <a:gd name="T2" fmla="*/ 2 w 10"/>
                <a:gd name="T3" fmla="*/ 0 h 4"/>
                <a:gd name="T4" fmla="*/ 1 w 10"/>
                <a:gd name="T5" fmla="*/ 0 h 4"/>
                <a:gd name="T6" fmla="*/ 0 w 10"/>
                <a:gd name="T7" fmla="*/ 2 h 4"/>
                <a:gd name="T8" fmla="*/ 0 w 10"/>
                <a:gd name="T9" fmla="*/ 2 h 4"/>
                <a:gd name="T10" fmla="*/ 0 w 10"/>
                <a:gd name="T11" fmla="*/ 2 h 4"/>
                <a:gd name="T12" fmla="*/ 2 w 10"/>
                <a:gd name="T13" fmla="*/ 3 h 4"/>
                <a:gd name="T14" fmla="*/ 3 w 10"/>
                <a:gd name="T15" fmla="*/ 4 h 4"/>
                <a:gd name="T16" fmla="*/ 10 w 10"/>
                <a:gd name="T17" fmla="*/ 0 h 4"/>
                <a:gd name="T18" fmla="*/ 5 w 10"/>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
                  <a:moveTo>
                    <a:pt x="5" y="0"/>
                  </a:moveTo>
                  <a:cubicBezTo>
                    <a:pt x="4" y="0"/>
                    <a:pt x="3" y="0"/>
                    <a:pt x="2" y="0"/>
                  </a:cubicBezTo>
                  <a:cubicBezTo>
                    <a:pt x="1" y="0"/>
                    <a:pt x="1" y="0"/>
                    <a:pt x="1" y="0"/>
                  </a:cubicBezTo>
                  <a:cubicBezTo>
                    <a:pt x="1" y="1"/>
                    <a:pt x="0" y="1"/>
                    <a:pt x="0" y="2"/>
                  </a:cubicBezTo>
                  <a:cubicBezTo>
                    <a:pt x="0" y="2"/>
                    <a:pt x="0" y="2"/>
                    <a:pt x="0" y="2"/>
                  </a:cubicBezTo>
                  <a:cubicBezTo>
                    <a:pt x="0" y="2"/>
                    <a:pt x="0" y="2"/>
                    <a:pt x="0" y="2"/>
                  </a:cubicBezTo>
                  <a:cubicBezTo>
                    <a:pt x="1" y="3"/>
                    <a:pt x="1" y="3"/>
                    <a:pt x="2" y="3"/>
                  </a:cubicBezTo>
                  <a:cubicBezTo>
                    <a:pt x="2" y="4"/>
                    <a:pt x="2" y="4"/>
                    <a:pt x="3" y="4"/>
                  </a:cubicBezTo>
                  <a:cubicBezTo>
                    <a:pt x="5" y="4"/>
                    <a:pt x="8" y="1"/>
                    <a:pt x="10"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217"/>
            <p:cNvSpPr/>
            <p:nvPr/>
          </p:nvSpPr>
          <p:spPr bwMode="auto">
            <a:xfrm>
              <a:off x="10378264" y="3823024"/>
              <a:ext cx="19772" cy="12710"/>
            </a:xfrm>
            <a:custGeom>
              <a:gdLst>
                <a:gd name="T0" fmla="*/ 3 w 6"/>
                <a:gd name="T1" fmla="*/ 0 h 4"/>
                <a:gd name="T2" fmla="*/ 3 w 6"/>
                <a:gd name="T3" fmla="*/ 1 h 4"/>
                <a:gd name="T4" fmla="*/ 0 w 6"/>
                <a:gd name="T5" fmla="*/ 4 h 4"/>
                <a:gd name="T6" fmla="*/ 5 w 6"/>
                <a:gd name="T7" fmla="*/ 2 h 4"/>
                <a:gd name="T8" fmla="*/ 6 w 6"/>
                <a:gd name="T9" fmla="*/ 2 h 4"/>
                <a:gd name="T10" fmla="*/ 5 w 6"/>
                <a:gd name="T11" fmla="*/ 2 h 4"/>
                <a:gd name="T12" fmla="*/ 5 w 6"/>
                <a:gd name="T13" fmla="*/ 2 h 4"/>
                <a:gd name="T14" fmla="*/ 3 w 6"/>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3" y="0"/>
                    <a:pt x="3" y="1"/>
                    <a:pt x="3" y="1"/>
                  </a:cubicBezTo>
                  <a:cubicBezTo>
                    <a:pt x="2" y="1"/>
                    <a:pt x="2" y="2"/>
                    <a:pt x="0" y="4"/>
                  </a:cubicBezTo>
                  <a:cubicBezTo>
                    <a:pt x="2" y="3"/>
                    <a:pt x="4" y="2"/>
                    <a:pt x="5" y="2"/>
                  </a:cubicBezTo>
                  <a:cubicBezTo>
                    <a:pt x="5" y="2"/>
                    <a:pt x="6" y="2"/>
                    <a:pt x="6" y="2"/>
                  </a:cubicBezTo>
                  <a:cubicBezTo>
                    <a:pt x="5" y="2"/>
                    <a:pt x="5" y="2"/>
                    <a:pt x="5" y="2"/>
                  </a:cubicBezTo>
                  <a:cubicBezTo>
                    <a:pt x="5" y="2"/>
                    <a:pt x="5" y="2"/>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218"/>
            <p:cNvSpPr/>
            <p:nvPr/>
          </p:nvSpPr>
          <p:spPr bwMode="auto">
            <a:xfrm>
              <a:off x="7572084" y="0"/>
              <a:ext cx="25421" cy="29658"/>
            </a:xfrm>
            <a:custGeom>
              <a:gdLst>
                <a:gd name="T0" fmla="*/ 8 w 8"/>
                <a:gd name="T1" fmla="*/ 0 h 9"/>
                <a:gd name="T2" fmla="*/ 2 w 8"/>
                <a:gd name="T3" fmla="*/ 7 h 9"/>
                <a:gd name="T4" fmla="*/ 1 w 8"/>
                <a:gd name="T5" fmla="*/ 9 h 9"/>
                <a:gd name="T6" fmla="*/ 0 w 8"/>
                <a:gd name="T7" fmla="*/ 9 h 9"/>
                <a:gd name="T8" fmla="*/ 8 w 8"/>
                <a:gd name="T9" fmla="*/ 0 h 9"/>
              </a:gdLst>
              <a:cxnLst>
                <a:cxn ang="0">
                  <a:pos x="T0" y="T1"/>
                </a:cxn>
                <a:cxn ang="0">
                  <a:pos x="T2" y="T3"/>
                </a:cxn>
                <a:cxn ang="0">
                  <a:pos x="T4" y="T5"/>
                </a:cxn>
                <a:cxn ang="0">
                  <a:pos x="T6" y="T7"/>
                </a:cxn>
                <a:cxn ang="0">
                  <a:pos x="T8" y="T9"/>
                </a:cxn>
              </a:cxnLst>
              <a:rect l="0" t="0" r="r" b="b"/>
              <a:pathLst>
                <a:path w="8" h="9">
                  <a:moveTo>
                    <a:pt x="8" y="0"/>
                  </a:moveTo>
                  <a:cubicBezTo>
                    <a:pt x="6" y="2"/>
                    <a:pt x="4" y="4"/>
                    <a:pt x="2" y="7"/>
                  </a:cubicBezTo>
                  <a:cubicBezTo>
                    <a:pt x="2" y="7"/>
                    <a:pt x="1" y="8"/>
                    <a:pt x="1" y="9"/>
                  </a:cubicBezTo>
                  <a:cubicBezTo>
                    <a:pt x="0" y="9"/>
                    <a:pt x="0" y="9"/>
                    <a:pt x="0" y="9"/>
                  </a:cubicBezTo>
                  <a:cubicBezTo>
                    <a:pt x="3" y="7"/>
                    <a:pt x="6"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219"/>
            <p:cNvSpPr/>
            <p:nvPr/>
          </p:nvSpPr>
          <p:spPr bwMode="auto">
            <a:xfrm>
              <a:off x="5239014" y="16947"/>
              <a:ext cx="12710" cy="19772"/>
            </a:xfrm>
            <a:custGeom>
              <a:gdLst>
                <a:gd name="T0" fmla="*/ 0 w 4"/>
                <a:gd name="T1" fmla="*/ 0 h 6"/>
                <a:gd name="T2" fmla="*/ 3 w 4"/>
                <a:gd name="T3" fmla="*/ 5 h 6"/>
                <a:gd name="T4" fmla="*/ 3 w 4"/>
                <a:gd name="T5" fmla="*/ 6 h 6"/>
                <a:gd name="T6" fmla="*/ 3 w 4"/>
                <a:gd name="T7" fmla="*/ 6 h 6"/>
                <a:gd name="T8" fmla="*/ 3 w 4"/>
                <a:gd name="T9" fmla="*/ 6 h 6"/>
                <a:gd name="T10" fmla="*/ 4 w 4"/>
                <a:gd name="T11" fmla="*/ 6 h 6"/>
                <a:gd name="T12" fmla="*/ 0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0" y="0"/>
                  </a:moveTo>
                  <a:cubicBezTo>
                    <a:pt x="1" y="3"/>
                    <a:pt x="1" y="4"/>
                    <a:pt x="3" y="5"/>
                  </a:cubicBezTo>
                  <a:cubicBezTo>
                    <a:pt x="3" y="6"/>
                    <a:pt x="3" y="6"/>
                    <a:pt x="3" y="6"/>
                  </a:cubicBezTo>
                  <a:cubicBezTo>
                    <a:pt x="3" y="6"/>
                    <a:pt x="3" y="6"/>
                    <a:pt x="3" y="6"/>
                  </a:cubicBezTo>
                  <a:cubicBezTo>
                    <a:pt x="3" y="6"/>
                    <a:pt x="3" y="6"/>
                    <a:pt x="3" y="6"/>
                  </a:cubicBezTo>
                  <a:cubicBezTo>
                    <a:pt x="3" y="6"/>
                    <a:pt x="4" y="6"/>
                    <a:pt x="4" y="6"/>
                  </a:cubicBezTo>
                  <a:cubicBezTo>
                    <a:pt x="3"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220"/>
            <p:cNvSpPr/>
            <p:nvPr/>
          </p:nvSpPr>
          <p:spPr bwMode="auto">
            <a:xfrm>
              <a:off x="5302566" y="79087"/>
              <a:ext cx="9886" cy="16947"/>
            </a:xfrm>
            <a:custGeom>
              <a:gdLst>
                <a:gd name="T0" fmla="*/ 0 w 3"/>
                <a:gd name="T1" fmla="*/ 0 h 5"/>
                <a:gd name="T2" fmla="*/ 3 w 3"/>
                <a:gd name="T3" fmla="*/ 5 h 5"/>
                <a:gd name="T4" fmla="*/ 0 w 3"/>
                <a:gd name="T5" fmla="*/ 0 h 5"/>
              </a:gdLst>
              <a:cxnLst>
                <a:cxn ang="0">
                  <a:pos x="T0" y="T1"/>
                </a:cxn>
                <a:cxn ang="0">
                  <a:pos x="T2" y="T3"/>
                </a:cxn>
                <a:cxn ang="0">
                  <a:pos x="T4" y="T5"/>
                </a:cxn>
              </a:cxnLst>
              <a:rect l="0" t="0" r="r" b="b"/>
              <a:pathLst>
                <a:path w="3" h="5">
                  <a:moveTo>
                    <a:pt x="0" y="0"/>
                  </a:moveTo>
                  <a:cubicBezTo>
                    <a:pt x="1" y="2"/>
                    <a:pt x="2" y="4"/>
                    <a:pt x="3" y="5"/>
                  </a:cubicBezTo>
                  <a:cubicBezTo>
                    <a:pt x="2" y="4"/>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221"/>
            <p:cNvSpPr/>
            <p:nvPr/>
          </p:nvSpPr>
          <p:spPr bwMode="auto">
            <a:xfrm>
              <a:off x="7073553" y="386963"/>
              <a:ext cx="21184" cy="26833"/>
            </a:xfrm>
            <a:custGeom>
              <a:gdLst>
                <a:gd name="T0" fmla="*/ 6 w 6"/>
                <a:gd name="T1" fmla="*/ 0 h 8"/>
                <a:gd name="T2" fmla="*/ 5 w 6"/>
                <a:gd name="T3" fmla="*/ 0 h 8"/>
                <a:gd name="T4" fmla="*/ 5 w 6"/>
                <a:gd name="T5" fmla="*/ 1 h 8"/>
                <a:gd name="T6" fmla="*/ 3 w 6"/>
                <a:gd name="T7" fmla="*/ 1 h 8"/>
                <a:gd name="T8" fmla="*/ 2 w 6"/>
                <a:gd name="T9" fmla="*/ 1 h 8"/>
                <a:gd name="T10" fmla="*/ 1 w 6"/>
                <a:gd name="T11" fmla="*/ 8 h 8"/>
                <a:gd name="T12" fmla="*/ 6 w 6"/>
                <a:gd name="T13" fmla="*/ 1 h 8"/>
                <a:gd name="T14" fmla="*/ 6 w 6"/>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6" y="0"/>
                  </a:moveTo>
                  <a:cubicBezTo>
                    <a:pt x="5" y="0"/>
                    <a:pt x="5" y="0"/>
                    <a:pt x="5" y="0"/>
                  </a:cubicBezTo>
                  <a:cubicBezTo>
                    <a:pt x="5" y="1"/>
                    <a:pt x="5" y="1"/>
                    <a:pt x="5" y="1"/>
                  </a:cubicBezTo>
                  <a:cubicBezTo>
                    <a:pt x="4" y="1"/>
                    <a:pt x="4" y="1"/>
                    <a:pt x="3" y="1"/>
                  </a:cubicBezTo>
                  <a:cubicBezTo>
                    <a:pt x="2" y="1"/>
                    <a:pt x="2" y="1"/>
                    <a:pt x="2" y="1"/>
                  </a:cubicBezTo>
                  <a:cubicBezTo>
                    <a:pt x="0" y="3"/>
                    <a:pt x="0" y="6"/>
                    <a:pt x="1" y="8"/>
                  </a:cubicBezTo>
                  <a:cubicBezTo>
                    <a:pt x="2" y="6"/>
                    <a:pt x="5" y="3"/>
                    <a:pt x="6" y="1"/>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222"/>
            <p:cNvSpPr/>
            <p:nvPr/>
          </p:nvSpPr>
          <p:spPr bwMode="auto">
            <a:xfrm>
              <a:off x="5265847" y="66377"/>
              <a:ext cx="5649" cy="9886"/>
            </a:xfrm>
            <a:custGeom>
              <a:gdLst>
                <a:gd name="T0" fmla="*/ 1 w 2"/>
                <a:gd name="T1" fmla="*/ 0 h 3"/>
                <a:gd name="T2" fmla="*/ 1 w 2"/>
                <a:gd name="T3" fmla="*/ 0 h 3"/>
                <a:gd name="T4" fmla="*/ 1 w 2"/>
                <a:gd name="T5" fmla="*/ 3 h 3"/>
                <a:gd name="T6" fmla="*/ 1 w 2"/>
                <a:gd name="T7" fmla="*/ 0 h 3"/>
                <a:gd name="T8" fmla="*/ 1 w 2"/>
                <a:gd name="T9" fmla="*/ 0 h 3"/>
                <a:gd name="T10" fmla="*/ 1 w 2"/>
                <a:gd name="T11" fmla="*/ 0 h 3"/>
                <a:gd name="T12" fmla="*/ 1 w 2"/>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2" h="3">
                  <a:moveTo>
                    <a:pt x="1" y="0"/>
                  </a:moveTo>
                  <a:cubicBezTo>
                    <a:pt x="1" y="0"/>
                    <a:pt x="1" y="0"/>
                    <a:pt x="1" y="0"/>
                  </a:cubicBezTo>
                  <a:cubicBezTo>
                    <a:pt x="0" y="0"/>
                    <a:pt x="1" y="2"/>
                    <a:pt x="1" y="3"/>
                  </a:cubicBezTo>
                  <a:cubicBezTo>
                    <a:pt x="2" y="2"/>
                    <a:pt x="2" y="1"/>
                    <a:pt x="1"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223"/>
            <p:cNvSpPr/>
            <p:nvPr/>
          </p:nvSpPr>
          <p:spPr bwMode="auto">
            <a:xfrm>
              <a:off x="5118971" y="2825"/>
              <a:ext cx="12710" cy="60728"/>
            </a:xfrm>
            <a:custGeom>
              <a:gdLst>
                <a:gd name="T0" fmla="*/ 3 w 4"/>
                <a:gd name="T1" fmla="*/ 0 h 18"/>
                <a:gd name="T2" fmla="*/ 2 w 4"/>
                <a:gd name="T3" fmla="*/ 5 h 18"/>
                <a:gd name="T4" fmla="*/ 0 w 4"/>
                <a:gd name="T5" fmla="*/ 11 h 18"/>
                <a:gd name="T6" fmla="*/ 3 w 4"/>
                <a:gd name="T7" fmla="*/ 15 h 18"/>
                <a:gd name="T8" fmla="*/ 3 w 4"/>
                <a:gd name="T9" fmla="*/ 16 h 18"/>
                <a:gd name="T10" fmla="*/ 4 w 4"/>
                <a:gd name="T11" fmla="*/ 18 h 18"/>
                <a:gd name="T12" fmla="*/ 2 w 4"/>
                <a:gd name="T13" fmla="*/ 11 h 18"/>
                <a:gd name="T14" fmla="*/ 2 w 4"/>
                <a:gd name="T15" fmla="*/ 6 h 18"/>
                <a:gd name="T16" fmla="*/ 2 w 4"/>
                <a:gd name="T17" fmla="*/ 6 h 18"/>
                <a:gd name="T18" fmla="*/ 3 w 4"/>
                <a:gd name="T19" fmla="*/ 2 h 18"/>
                <a:gd name="T20" fmla="*/ 3 w 4"/>
                <a:gd name="T2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8">
                  <a:moveTo>
                    <a:pt x="3" y="0"/>
                  </a:moveTo>
                  <a:cubicBezTo>
                    <a:pt x="3" y="2"/>
                    <a:pt x="2" y="3"/>
                    <a:pt x="2" y="5"/>
                  </a:cubicBezTo>
                  <a:cubicBezTo>
                    <a:pt x="1" y="7"/>
                    <a:pt x="1" y="9"/>
                    <a:pt x="0" y="11"/>
                  </a:cubicBezTo>
                  <a:cubicBezTo>
                    <a:pt x="2" y="12"/>
                    <a:pt x="2" y="13"/>
                    <a:pt x="3" y="15"/>
                  </a:cubicBezTo>
                  <a:cubicBezTo>
                    <a:pt x="3" y="15"/>
                    <a:pt x="2" y="15"/>
                    <a:pt x="3" y="16"/>
                  </a:cubicBezTo>
                  <a:cubicBezTo>
                    <a:pt x="3" y="17"/>
                    <a:pt x="4" y="18"/>
                    <a:pt x="4" y="18"/>
                  </a:cubicBezTo>
                  <a:cubicBezTo>
                    <a:pt x="4" y="16"/>
                    <a:pt x="3" y="12"/>
                    <a:pt x="2" y="11"/>
                  </a:cubicBezTo>
                  <a:cubicBezTo>
                    <a:pt x="2" y="9"/>
                    <a:pt x="2" y="8"/>
                    <a:pt x="2" y="6"/>
                  </a:cubicBezTo>
                  <a:cubicBezTo>
                    <a:pt x="2" y="6"/>
                    <a:pt x="2" y="6"/>
                    <a:pt x="2" y="6"/>
                  </a:cubicBezTo>
                  <a:cubicBezTo>
                    <a:pt x="3" y="4"/>
                    <a:pt x="3" y="3"/>
                    <a:pt x="3" y="2"/>
                  </a:cubicBezTo>
                  <a:cubicBezTo>
                    <a:pt x="3"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224"/>
            <p:cNvSpPr/>
            <p:nvPr/>
          </p:nvSpPr>
          <p:spPr bwMode="auto">
            <a:xfrm>
              <a:off x="5215005" y="523953"/>
              <a:ext cx="7061" cy="12710"/>
            </a:xfrm>
            <a:custGeom>
              <a:gdLst>
                <a:gd name="T0" fmla="*/ 1 w 2"/>
                <a:gd name="T1" fmla="*/ 0 h 4"/>
                <a:gd name="T2" fmla="*/ 0 w 2"/>
                <a:gd name="T3" fmla="*/ 1 h 4"/>
                <a:gd name="T4" fmla="*/ 0 w 2"/>
                <a:gd name="T5" fmla="*/ 1 h 4"/>
                <a:gd name="T6" fmla="*/ 0 w 2"/>
                <a:gd name="T7" fmla="*/ 2 h 4"/>
                <a:gd name="T8" fmla="*/ 0 w 2"/>
                <a:gd name="T9" fmla="*/ 2 h 4"/>
                <a:gd name="T10" fmla="*/ 0 w 2"/>
                <a:gd name="T11" fmla="*/ 3 h 4"/>
                <a:gd name="T12" fmla="*/ 2 w 2"/>
                <a:gd name="T13" fmla="*/ 4 h 4"/>
                <a:gd name="T14" fmla="*/ 2 w 2"/>
                <a:gd name="T15" fmla="*/ 3 h 4"/>
                <a:gd name="T16" fmla="*/ 2 w 2"/>
                <a:gd name="T17" fmla="*/ 3 h 4"/>
                <a:gd name="T18" fmla="*/ 1 w 2"/>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1" y="0"/>
                  </a:moveTo>
                  <a:cubicBezTo>
                    <a:pt x="0" y="0"/>
                    <a:pt x="0" y="1"/>
                    <a:pt x="0" y="1"/>
                  </a:cubicBezTo>
                  <a:cubicBezTo>
                    <a:pt x="0" y="1"/>
                    <a:pt x="0" y="1"/>
                    <a:pt x="0" y="1"/>
                  </a:cubicBezTo>
                  <a:cubicBezTo>
                    <a:pt x="0" y="2"/>
                    <a:pt x="0" y="2"/>
                    <a:pt x="0" y="2"/>
                  </a:cubicBezTo>
                  <a:cubicBezTo>
                    <a:pt x="0" y="2"/>
                    <a:pt x="0" y="2"/>
                    <a:pt x="0" y="2"/>
                  </a:cubicBezTo>
                  <a:cubicBezTo>
                    <a:pt x="0" y="3"/>
                    <a:pt x="0" y="3"/>
                    <a:pt x="0" y="3"/>
                  </a:cubicBezTo>
                  <a:cubicBezTo>
                    <a:pt x="1" y="3"/>
                    <a:pt x="1" y="3"/>
                    <a:pt x="2" y="4"/>
                  </a:cubicBezTo>
                  <a:cubicBezTo>
                    <a:pt x="2" y="3"/>
                    <a:pt x="2" y="3"/>
                    <a:pt x="2" y="3"/>
                  </a:cubicBezTo>
                  <a:cubicBezTo>
                    <a:pt x="2" y="3"/>
                    <a:pt x="2" y="3"/>
                    <a:pt x="2"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225"/>
            <p:cNvSpPr/>
            <p:nvPr/>
          </p:nvSpPr>
          <p:spPr bwMode="auto">
            <a:xfrm flipH="1">
              <a:off x="7011413" y="641172"/>
              <a:ext cx="0" cy="9886"/>
            </a:xfrm>
            <a:custGeom>
              <a:gdLst>
                <a:gd name="T0" fmla="*/ 0 h 3"/>
                <a:gd name="T1" fmla="*/ 2 h 3"/>
                <a:gd name="T2" fmla="*/ 2 h 3"/>
                <a:gd name="T3" fmla="*/ 2 h 3"/>
                <a:gd name="T4" fmla="*/ 3 h 3"/>
                <a:gd name="T5" fmla="*/ 2 h 3"/>
                <a:gd name="T6" fmla="*/ 0 h 3"/>
              </a:gdLst>
              <a:cxnLst>
                <a:cxn ang="0">
                  <a:pos x="0" y="T0"/>
                </a:cxn>
                <a:cxn ang="0">
                  <a:pos x="0" y="T1"/>
                </a:cxn>
                <a:cxn ang="0">
                  <a:pos x="0" y="T2"/>
                </a:cxn>
                <a:cxn ang="0">
                  <a:pos x="0" y="T3"/>
                </a:cxn>
                <a:cxn ang="0">
                  <a:pos x="0" y="T4"/>
                </a:cxn>
                <a:cxn ang="0">
                  <a:pos x="0" y="T5"/>
                </a:cxn>
                <a:cxn ang="0">
                  <a:pos x="0" y="T6"/>
                </a:cxn>
              </a:cxnLst>
              <a:rect l="0" t="0" r="r" b="b"/>
              <a:pathLst>
                <a:path h="3">
                  <a:moveTo>
                    <a:pt x="0" y="0"/>
                  </a:moveTo>
                  <a:cubicBezTo>
                    <a:pt x="0" y="1"/>
                    <a:pt x="0" y="1"/>
                    <a:pt x="0" y="2"/>
                  </a:cubicBezTo>
                  <a:cubicBezTo>
                    <a:pt x="0" y="2"/>
                    <a:pt x="0" y="2"/>
                    <a:pt x="0" y="2"/>
                  </a:cubicBezTo>
                  <a:cubicBezTo>
                    <a:pt x="0" y="2"/>
                    <a:pt x="0" y="2"/>
                    <a:pt x="0" y="2"/>
                  </a:cubicBezTo>
                  <a:cubicBezTo>
                    <a:pt x="0" y="3"/>
                    <a:pt x="0" y="3"/>
                    <a:pt x="0" y="3"/>
                  </a:cubicBezTo>
                  <a:cubicBezTo>
                    <a:pt x="0" y="2"/>
                    <a:pt x="0" y="2"/>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226"/>
            <p:cNvSpPr/>
            <p:nvPr/>
          </p:nvSpPr>
          <p:spPr bwMode="auto">
            <a:xfrm>
              <a:off x="7000115" y="636935"/>
              <a:ext cx="14123" cy="16947"/>
            </a:xfrm>
            <a:custGeom>
              <a:gdLst>
                <a:gd name="T0" fmla="*/ 2 w 4"/>
                <a:gd name="T1" fmla="*/ 0 h 5"/>
                <a:gd name="T2" fmla="*/ 2 w 4"/>
                <a:gd name="T3" fmla="*/ 1 h 5"/>
                <a:gd name="T4" fmla="*/ 1 w 4"/>
                <a:gd name="T5" fmla="*/ 2 h 5"/>
                <a:gd name="T6" fmla="*/ 0 w 4"/>
                <a:gd name="T7" fmla="*/ 5 h 5"/>
                <a:gd name="T8" fmla="*/ 4 w 4"/>
                <a:gd name="T9" fmla="*/ 0 h 5"/>
                <a:gd name="T10" fmla="*/ 2 w 4"/>
                <a:gd name="T11" fmla="*/ 0 h 5"/>
                <a:gd name="T12" fmla="*/ 2 w 4"/>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4" h="5">
                  <a:moveTo>
                    <a:pt x="2" y="0"/>
                  </a:moveTo>
                  <a:cubicBezTo>
                    <a:pt x="2" y="1"/>
                    <a:pt x="2" y="1"/>
                    <a:pt x="2" y="1"/>
                  </a:cubicBezTo>
                  <a:cubicBezTo>
                    <a:pt x="2" y="1"/>
                    <a:pt x="1" y="1"/>
                    <a:pt x="1" y="2"/>
                  </a:cubicBezTo>
                  <a:cubicBezTo>
                    <a:pt x="1" y="3"/>
                    <a:pt x="1" y="4"/>
                    <a:pt x="0" y="5"/>
                  </a:cubicBezTo>
                  <a:cubicBezTo>
                    <a:pt x="2" y="3"/>
                    <a:pt x="3" y="2"/>
                    <a:pt x="4" y="0"/>
                  </a:cubicBezTo>
                  <a:cubicBezTo>
                    <a:pt x="3" y="0"/>
                    <a:pt x="3"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227"/>
            <p:cNvSpPr/>
            <p:nvPr/>
          </p:nvSpPr>
          <p:spPr bwMode="auto">
            <a:xfrm>
              <a:off x="7594680" y="2210208"/>
              <a:ext cx="33894" cy="26833"/>
            </a:xfrm>
            <a:custGeom>
              <a:gdLst>
                <a:gd name="T0" fmla="*/ 7 w 10"/>
                <a:gd name="T1" fmla="*/ 0 h 8"/>
                <a:gd name="T2" fmla="*/ 1 w 10"/>
                <a:gd name="T3" fmla="*/ 4 h 8"/>
                <a:gd name="T4" fmla="*/ 2 w 10"/>
                <a:gd name="T5" fmla="*/ 8 h 8"/>
                <a:gd name="T6" fmla="*/ 7 w 10"/>
                <a:gd name="T7" fmla="*/ 0 h 8"/>
              </a:gdLst>
              <a:cxnLst>
                <a:cxn ang="0">
                  <a:pos x="T0" y="T1"/>
                </a:cxn>
                <a:cxn ang="0">
                  <a:pos x="T2" y="T3"/>
                </a:cxn>
                <a:cxn ang="0">
                  <a:pos x="T4" y="T5"/>
                </a:cxn>
                <a:cxn ang="0">
                  <a:pos x="T6" y="T7"/>
                </a:cxn>
              </a:cxnLst>
              <a:rect l="0" t="0" r="r" b="b"/>
              <a:pathLst>
                <a:path w="10" h="8">
                  <a:moveTo>
                    <a:pt x="7" y="0"/>
                  </a:moveTo>
                  <a:cubicBezTo>
                    <a:pt x="4" y="0"/>
                    <a:pt x="1" y="1"/>
                    <a:pt x="1" y="4"/>
                  </a:cubicBezTo>
                  <a:cubicBezTo>
                    <a:pt x="0" y="7"/>
                    <a:pt x="1" y="8"/>
                    <a:pt x="2" y="8"/>
                  </a:cubicBezTo>
                  <a:cubicBezTo>
                    <a:pt x="5" y="8"/>
                    <a:pt x="10"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228"/>
            <p:cNvSpPr/>
            <p:nvPr/>
          </p:nvSpPr>
          <p:spPr bwMode="auto">
            <a:xfrm>
              <a:off x="11842788" y="660944"/>
              <a:ext cx="43780" cy="19772"/>
            </a:xfrm>
            <a:custGeom>
              <a:gdLst>
                <a:gd name="T0" fmla="*/ 7 w 13"/>
                <a:gd name="T1" fmla="*/ 0 h 6"/>
                <a:gd name="T2" fmla="*/ 5 w 13"/>
                <a:gd name="T3" fmla="*/ 0 h 6"/>
                <a:gd name="T4" fmla="*/ 3 w 13"/>
                <a:gd name="T5" fmla="*/ 6 h 6"/>
                <a:gd name="T6" fmla="*/ 8 w 13"/>
                <a:gd name="T7" fmla="*/ 0 h 6"/>
                <a:gd name="T8" fmla="*/ 7 w 13"/>
                <a:gd name="T9" fmla="*/ 0 h 6"/>
              </a:gdLst>
              <a:cxnLst>
                <a:cxn ang="0">
                  <a:pos x="T0" y="T1"/>
                </a:cxn>
                <a:cxn ang="0">
                  <a:pos x="T2" y="T3"/>
                </a:cxn>
                <a:cxn ang="0">
                  <a:pos x="T4" y="T5"/>
                </a:cxn>
                <a:cxn ang="0">
                  <a:pos x="T6" y="T7"/>
                </a:cxn>
                <a:cxn ang="0">
                  <a:pos x="T8" y="T9"/>
                </a:cxn>
              </a:cxnLst>
              <a:rect l="0" t="0" r="r" b="b"/>
              <a:pathLst>
                <a:path w="13" h="6">
                  <a:moveTo>
                    <a:pt x="7" y="0"/>
                  </a:moveTo>
                  <a:cubicBezTo>
                    <a:pt x="7" y="0"/>
                    <a:pt x="6" y="0"/>
                    <a:pt x="5" y="0"/>
                  </a:cubicBezTo>
                  <a:cubicBezTo>
                    <a:pt x="0" y="2"/>
                    <a:pt x="3" y="3"/>
                    <a:pt x="3" y="6"/>
                  </a:cubicBezTo>
                  <a:cubicBezTo>
                    <a:pt x="5" y="5"/>
                    <a:pt x="13"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229"/>
            <p:cNvSpPr/>
            <p:nvPr/>
          </p:nvSpPr>
          <p:spPr bwMode="auto">
            <a:xfrm>
              <a:off x="11862560" y="680716"/>
              <a:ext cx="16947" cy="9886"/>
            </a:xfrm>
            <a:custGeom>
              <a:gdLst>
                <a:gd name="T0" fmla="*/ 5 w 5"/>
                <a:gd name="T1" fmla="*/ 0 h 3"/>
                <a:gd name="T2" fmla="*/ 4 w 5"/>
                <a:gd name="T3" fmla="*/ 3 h 3"/>
                <a:gd name="T4" fmla="*/ 5 w 5"/>
                <a:gd name="T5" fmla="*/ 0 h 3"/>
              </a:gdLst>
              <a:cxnLst>
                <a:cxn ang="0">
                  <a:pos x="T0" y="T1"/>
                </a:cxn>
                <a:cxn ang="0">
                  <a:pos x="T2" y="T3"/>
                </a:cxn>
                <a:cxn ang="0">
                  <a:pos x="T4" y="T5"/>
                </a:cxn>
              </a:cxnLst>
              <a:rect l="0" t="0" r="r" b="b"/>
              <a:pathLst>
                <a:path w="5" h="3">
                  <a:moveTo>
                    <a:pt x="5" y="0"/>
                  </a:moveTo>
                  <a:cubicBezTo>
                    <a:pt x="3" y="0"/>
                    <a:pt x="0" y="2"/>
                    <a:pt x="4" y="3"/>
                  </a:cubicBezTo>
                  <a:cubicBezTo>
                    <a:pt x="4" y="2"/>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230"/>
            <p:cNvSpPr/>
            <p:nvPr/>
          </p:nvSpPr>
          <p:spPr bwMode="auto">
            <a:xfrm>
              <a:off x="11916226" y="700488"/>
              <a:ext cx="33894" cy="14123"/>
            </a:xfrm>
            <a:custGeom>
              <a:gdLst>
                <a:gd name="T0" fmla="*/ 3 w 10"/>
                <a:gd name="T1" fmla="*/ 0 h 4"/>
                <a:gd name="T2" fmla="*/ 4 w 10"/>
                <a:gd name="T3" fmla="*/ 4 h 4"/>
                <a:gd name="T4" fmla="*/ 10 w 10"/>
                <a:gd name="T5" fmla="*/ 2 h 4"/>
                <a:gd name="T6" fmla="*/ 6 w 10"/>
                <a:gd name="T7" fmla="*/ 1 h 4"/>
                <a:gd name="T8" fmla="*/ 3 w 10"/>
                <a:gd name="T9" fmla="*/ 0 h 4"/>
              </a:gdLst>
              <a:cxnLst>
                <a:cxn ang="0">
                  <a:pos x="T0" y="T1"/>
                </a:cxn>
                <a:cxn ang="0">
                  <a:pos x="T2" y="T3"/>
                </a:cxn>
                <a:cxn ang="0">
                  <a:pos x="T4" y="T5"/>
                </a:cxn>
                <a:cxn ang="0">
                  <a:pos x="T6" y="T7"/>
                </a:cxn>
                <a:cxn ang="0">
                  <a:pos x="T8" y="T9"/>
                </a:cxn>
              </a:cxnLst>
              <a:rect l="0" t="0" r="r" b="b"/>
              <a:pathLst>
                <a:path w="10" h="4">
                  <a:moveTo>
                    <a:pt x="3" y="0"/>
                  </a:moveTo>
                  <a:cubicBezTo>
                    <a:pt x="0" y="0"/>
                    <a:pt x="3" y="1"/>
                    <a:pt x="4" y="4"/>
                  </a:cubicBezTo>
                  <a:cubicBezTo>
                    <a:pt x="6" y="4"/>
                    <a:pt x="8" y="3"/>
                    <a:pt x="10" y="2"/>
                  </a:cubicBezTo>
                  <a:cubicBezTo>
                    <a:pt x="9" y="1"/>
                    <a:pt x="7" y="1"/>
                    <a:pt x="6"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231"/>
            <p:cNvSpPr/>
            <p:nvPr/>
          </p:nvSpPr>
          <p:spPr bwMode="auto">
            <a:xfrm>
              <a:off x="12009436" y="807820"/>
              <a:ext cx="7061" cy="16947"/>
            </a:xfrm>
            <a:custGeom>
              <a:gdLst>
                <a:gd name="T0" fmla="*/ 2 w 2"/>
                <a:gd name="T1" fmla="*/ 0 h 5"/>
                <a:gd name="T2" fmla="*/ 2 w 2"/>
                <a:gd name="T3" fmla="*/ 5 h 5"/>
                <a:gd name="T4" fmla="*/ 2 w 2"/>
                <a:gd name="T5" fmla="*/ 0 h 5"/>
              </a:gdLst>
              <a:cxnLst>
                <a:cxn ang="0">
                  <a:pos x="T0" y="T1"/>
                </a:cxn>
                <a:cxn ang="0">
                  <a:pos x="T2" y="T3"/>
                </a:cxn>
                <a:cxn ang="0">
                  <a:pos x="T4" y="T5"/>
                </a:cxn>
              </a:cxnLst>
              <a:rect l="0" t="0" r="r" b="b"/>
              <a:pathLst>
                <a:path w="2" h="5">
                  <a:moveTo>
                    <a:pt x="2" y="0"/>
                  </a:moveTo>
                  <a:cubicBezTo>
                    <a:pt x="0" y="1"/>
                    <a:pt x="0" y="4"/>
                    <a:pt x="2" y="5"/>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232"/>
            <p:cNvSpPr/>
            <p:nvPr/>
          </p:nvSpPr>
          <p:spPr bwMode="auto">
            <a:xfrm>
              <a:off x="11967068" y="807820"/>
              <a:ext cx="29658" cy="33895"/>
            </a:xfrm>
            <a:custGeom>
              <a:gdLst>
                <a:gd name="T0" fmla="*/ 1 w 9"/>
                <a:gd name="T1" fmla="*/ 0 h 10"/>
                <a:gd name="T2" fmla="*/ 7 w 9"/>
                <a:gd name="T3" fmla="*/ 10 h 10"/>
                <a:gd name="T4" fmla="*/ 1 w 9"/>
                <a:gd name="T5" fmla="*/ 0 h 10"/>
              </a:gdLst>
              <a:cxnLst>
                <a:cxn ang="0">
                  <a:pos x="T0" y="T1"/>
                </a:cxn>
                <a:cxn ang="0">
                  <a:pos x="T2" y="T3"/>
                </a:cxn>
                <a:cxn ang="0">
                  <a:pos x="T4" y="T5"/>
                </a:cxn>
              </a:cxnLst>
              <a:rect l="0" t="0" r="r" b="b"/>
              <a:pathLst>
                <a:path w="9" h="10">
                  <a:moveTo>
                    <a:pt x="1" y="0"/>
                  </a:moveTo>
                  <a:cubicBezTo>
                    <a:pt x="2" y="4"/>
                    <a:pt x="0" y="9"/>
                    <a:pt x="7" y="10"/>
                  </a:cubicBezTo>
                  <a:cubicBezTo>
                    <a:pt x="9"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233"/>
            <p:cNvSpPr/>
            <p:nvPr/>
          </p:nvSpPr>
          <p:spPr bwMode="auto">
            <a:xfrm>
              <a:off x="11909165" y="830417"/>
              <a:ext cx="14123" cy="16947"/>
            </a:xfrm>
            <a:custGeom>
              <a:gdLst>
                <a:gd name="T0" fmla="*/ 4 w 4"/>
                <a:gd name="T1" fmla="*/ 0 h 5"/>
                <a:gd name="T2" fmla="*/ 4 w 4"/>
                <a:gd name="T3" fmla="*/ 5 h 5"/>
                <a:gd name="T4" fmla="*/ 4 w 4"/>
                <a:gd name="T5" fmla="*/ 0 h 5"/>
              </a:gdLst>
              <a:cxnLst>
                <a:cxn ang="0">
                  <a:pos x="T0" y="T1"/>
                </a:cxn>
                <a:cxn ang="0">
                  <a:pos x="T2" y="T3"/>
                </a:cxn>
                <a:cxn ang="0">
                  <a:pos x="T4" y="T5"/>
                </a:cxn>
              </a:cxnLst>
              <a:rect l="0" t="0" r="r" b="b"/>
              <a:pathLst>
                <a:path w="4" h="5">
                  <a:moveTo>
                    <a:pt x="4" y="0"/>
                  </a:moveTo>
                  <a:cubicBezTo>
                    <a:pt x="0" y="1"/>
                    <a:pt x="0" y="4"/>
                    <a:pt x="4" y="5"/>
                  </a:cubicBezTo>
                  <a:cubicBezTo>
                    <a:pt x="4"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234"/>
            <p:cNvSpPr/>
            <p:nvPr/>
          </p:nvSpPr>
          <p:spPr bwMode="auto">
            <a:xfrm flipH="1">
              <a:off x="8262684" y="497120"/>
              <a:ext cx="0" cy="0"/>
            </a:xfrm>
            <a:custGeom>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235"/>
            <p:cNvSpPr/>
            <p:nvPr/>
          </p:nvSpPr>
          <p:spPr bwMode="auto">
            <a:xfrm>
              <a:off x="7183710" y="1101573"/>
              <a:ext cx="14123" cy="12710"/>
            </a:xfrm>
            <a:custGeom>
              <a:gdLst>
                <a:gd name="T0" fmla="*/ 0 w 4"/>
                <a:gd name="T1" fmla="*/ 0 h 4"/>
                <a:gd name="T2" fmla="*/ 4 w 4"/>
                <a:gd name="T3" fmla="*/ 4 h 4"/>
                <a:gd name="T4" fmla="*/ 0 w 4"/>
                <a:gd name="T5" fmla="*/ 0 h 4"/>
              </a:gdLst>
              <a:cxnLst>
                <a:cxn ang="0">
                  <a:pos x="T0" y="T1"/>
                </a:cxn>
                <a:cxn ang="0">
                  <a:pos x="T2" y="T3"/>
                </a:cxn>
                <a:cxn ang="0">
                  <a:pos x="T4" y="T5"/>
                </a:cxn>
              </a:cxnLst>
              <a:rect l="0" t="0" r="r" b="b"/>
              <a:pathLst>
                <a:path w="4" h="4">
                  <a:moveTo>
                    <a:pt x="0" y="0"/>
                  </a:moveTo>
                  <a:cubicBezTo>
                    <a:pt x="0" y="2"/>
                    <a:pt x="3" y="4"/>
                    <a:pt x="4" y="4"/>
                  </a:cubicBezTo>
                  <a:cubicBezTo>
                    <a:pt x="4" y="4"/>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Rectangle 236"/>
            <p:cNvSpPr>
              <a:spLocks noChangeArrowheads="1"/>
            </p:cNvSpPr>
            <p:nvPr/>
          </p:nvSpPr>
          <p:spPr bwMode="auto">
            <a:xfrm>
              <a:off x="9252685" y="1916455"/>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237"/>
            <p:cNvSpPr/>
            <p:nvPr/>
          </p:nvSpPr>
          <p:spPr bwMode="auto">
            <a:xfrm flipH="1">
              <a:off x="9252685" y="1916455"/>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Rectangle 238"/>
            <p:cNvSpPr>
              <a:spLocks noChangeArrowheads="1"/>
            </p:cNvSpPr>
            <p:nvPr/>
          </p:nvSpPr>
          <p:spPr bwMode="auto">
            <a:xfrm>
              <a:off x="9480061" y="1862789"/>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239"/>
            <p:cNvSpPr/>
            <p:nvPr/>
          </p:nvSpPr>
          <p:spPr bwMode="auto">
            <a:xfrm flipH="1">
              <a:off x="9480061" y="186278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Rectangle 240"/>
            <p:cNvSpPr>
              <a:spLocks noChangeArrowheads="1"/>
            </p:cNvSpPr>
            <p:nvPr/>
          </p:nvSpPr>
          <p:spPr bwMode="auto">
            <a:xfrm>
              <a:off x="9279518" y="4163382"/>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241"/>
            <p:cNvSpPr/>
            <p:nvPr/>
          </p:nvSpPr>
          <p:spPr bwMode="auto">
            <a:xfrm flipH="1">
              <a:off x="9279518" y="416338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242"/>
            <p:cNvSpPr>
              <a:spLocks noEditPoints="1"/>
            </p:cNvSpPr>
            <p:nvPr/>
          </p:nvSpPr>
          <p:spPr bwMode="auto">
            <a:xfrm>
              <a:off x="8098861" y="1605755"/>
              <a:ext cx="3019433" cy="3108414"/>
            </a:xfrm>
            <a:custGeom>
              <a:gdLst>
                <a:gd name="T0" fmla="*/ 296 w 905"/>
                <a:gd name="T1" fmla="*/ 16 h 931"/>
                <a:gd name="T2" fmla="*/ 240 w 905"/>
                <a:gd name="T3" fmla="*/ 33 h 931"/>
                <a:gd name="T4" fmla="*/ 229 w 905"/>
                <a:gd name="T5" fmla="*/ 59 h 931"/>
                <a:gd name="T6" fmla="*/ 218 w 905"/>
                <a:gd name="T7" fmla="*/ 89 h 931"/>
                <a:gd name="T8" fmla="*/ 162 w 905"/>
                <a:gd name="T9" fmla="*/ 95 h 931"/>
                <a:gd name="T10" fmla="*/ 99 w 905"/>
                <a:gd name="T11" fmla="*/ 81 h 931"/>
                <a:gd name="T12" fmla="*/ 88 w 905"/>
                <a:gd name="T13" fmla="*/ 118 h 931"/>
                <a:gd name="T14" fmla="*/ 82 w 905"/>
                <a:gd name="T15" fmla="*/ 221 h 931"/>
                <a:gd name="T16" fmla="*/ 24 w 905"/>
                <a:gd name="T17" fmla="*/ 240 h 931"/>
                <a:gd name="T18" fmla="*/ 4 w 905"/>
                <a:gd name="T19" fmla="*/ 291 h 931"/>
                <a:gd name="T20" fmla="*/ 51 w 905"/>
                <a:gd name="T21" fmla="*/ 350 h 931"/>
                <a:gd name="T22" fmla="*/ 86 w 905"/>
                <a:gd name="T23" fmla="*/ 372 h 931"/>
                <a:gd name="T24" fmla="*/ 122 w 905"/>
                <a:gd name="T25" fmla="*/ 374 h 931"/>
                <a:gd name="T26" fmla="*/ 184 w 905"/>
                <a:gd name="T27" fmla="*/ 343 h 931"/>
                <a:gd name="T28" fmla="*/ 198 w 905"/>
                <a:gd name="T29" fmla="*/ 356 h 931"/>
                <a:gd name="T30" fmla="*/ 222 w 905"/>
                <a:gd name="T31" fmla="*/ 408 h 931"/>
                <a:gd name="T32" fmla="*/ 252 w 905"/>
                <a:gd name="T33" fmla="*/ 416 h 931"/>
                <a:gd name="T34" fmla="*/ 297 w 905"/>
                <a:gd name="T35" fmla="*/ 432 h 931"/>
                <a:gd name="T36" fmla="*/ 315 w 905"/>
                <a:gd name="T37" fmla="*/ 473 h 931"/>
                <a:gd name="T38" fmla="*/ 361 w 905"/>
                <a:gd name="T39" fmla="*/ 501 h 931"/>
                <a:gd name="T40" fmla="*/ 376 w 905"/>
                <a:gd name="T41" fmla="*/ 562 h 931"/>
                <a:gd name="T42" fmla="*/ 360 w 905"/>
                <a:gd name="T43" fmla="*/ 588 h 931"/>
                <a:gd name="T44" fmla="*/ 271 w 905"/>
                <a:gd name="T45" fmla="*/ 603 h 931"/>
                <a:gd name="T46" fmla="*/ 275 w 905"/>
                <a:gd name="T47" fmla="*/ 657 h 931"/>
                <a:gd name="T48" fmla="*/ 361 w 905"/>
                <a:gd name="T49" fmla="*/ 709 h 931"/>
                <a:gd name="T50" fmla="*/ 402 w 905"/>
                <a:gd name="T51" fmla="*/ 771 h 931"/>
                <a:gd name="T52" fmla="*/ 442 w 905"/>
                <a:gd name="T53" fmla="*/ 727 h 931"/>
                <a:gd name="T54" fmla="*/ 467 w 905"/>
                <a:gd name="T55" fmla="*/ 761 h 931"/>
                <a:gd name="T56" fmla="*/ 421 w 905"/>
                <a:gd name="T57" fmla="*/ 793 h 931"/>
                <a:gd name="T58" fmla="*/ 417 w 905"/>
                <a:gd name="T59" fmla="*/ 860 h 931"/>
                <a:gd name="T60" fmla="*/ 465 w 905"/>
                <a:gd name="T61" fmla="*/ 887 h 931"/>
                <a:gd name="T62" fmla="*/ 502 w 905"/>
                <a:gd name="T63" fmla="*/ 889 h 931"/>
                <a:gd name="T64" fmla="*/ 535 w 905"/>
                <a:gd name="T65" fmla="*/ 846 h 931"/>
                <a:gd name="T66" fmla="*/ 577 w 905"/>
                <a:gd name="T67" fmla="*/ 804 h 931"/>
                <a:gd name="T68" fmla="*/ 585 w 905"/>
                <a:gd name="T69" fmla="*/ 735 h 931"/>
                <a:gd name="T70" fmla="*/ 589 w 905"/>
                <a:gd name="T71" fmla="*/ 718 h 931"/>
                <a:gd name="T72" fmla="*/ 636 w 905"/>
                <a:gd name="T73" fmla="*/ 683 h 931"/>
                <a:gd name="T74" fmla="*/ 694 w 905"/>
                <a:gd name="T75" fmla="*/ 660 h 931"/>
                <a:gd name="T76" fmla="*/ 762 w 905"/>
                <a:gd name="T77" fmla="*/ 636 h 931"/>
                <a:gd name="T78" fmla="*/ 804 w 905"/>
                <a:gd name="T79" fmla="*/ 439 h 931"/>
                <a:gd name="T80" fmla="*/ 847 w 905"/>
                <a:gd name="T81" fmla="*/ 380 h 931"/>
                <a:gd name="T82" fmla="*/ 878 w 905"/>
                <a:gd name="T83" fmla="*/ 236 h 931"/>
                <a:gd name="T84" fmla="*/ 726 w 905"/>
                <a:gd name="T85" fmla="*/ 181 h 931"/>
                <a:gd name="T86" fmla="*/ 682 w 905"/>
                <a:gd name="T87" fmla="*/ 169 h 931"/>
                <a:gd name="T88" fmla="*/ 669 w 905"/>
                <a:gd name="T89" fmla="*/ 155 h 931"/>
                <a:gd name="T90" fmla="*/ 648 w 905"/>
                <a:gd name="T91" fmla="*/ 145 h 931"/>
                <a:gd name="T92" fmla="*/ 628 w 905"/>
                <a:gd name="T93" fmla="*/ 139 h 931"/>
                <a:gd name="T94" fmla="*/ 588 w 905"/>
                <a:gd name="T95" fmla="*/ 156 h 931"/>
                <a:gd name="T96" fmla="*/ 560 w 905"/>
                <a:gd name="T97" fmla="*/ 159 h 931"/>
                <a:gd name="T98" fmla="*/ 567 w 905"/>
                <a:gd name="T99" fmla="*/ 157 h 931"/>
                <a:gd name="T100" fmla="*/ 587 w 905"/>
                <a:gd name="T101" fmla="*/ 136 h 931"/>
                <a:gd name="T102" fmla="*/ 541 w 905"/>
                <a:gd name="T103" fmla="*/ 122 h 931"/>
                <a:gd name="T104" fmla="*/ 535 w 905"/>
                <a:gd name="T105" fmla="*/ 143 h 931"/>
                <a:gd name="T106" fmla="*/ 533 w 905"/>
                <a:gd name="T107" fmla="*/ 148 h 931"/>
                <a:gd name="T108" fmla="*/ 549 w 905"/>
                <a:gd name="T109" fmla="*/ 96 h 931"/>
                <a:gd name="T110" fmla="*/ 534 w 905"/>
                <a:gd name="T111" fmla="*/ 68 h 931"/>
                <a:gd name="T112" fmla="*/ 497 w 905"/>
                <a:gd name="T113" fmla="*/ 57 h 931"/>
                <a:gd name="T114" fmla="*/ 455 w 905"/>
                <a:gd name="T115" fmla="*/ 72 h 931"/>
                <a:gd name="T116" fmla="*/ 417 w 905"/>
                <a:gd name="T117" fmla="*/ 73 h 931"/>
                <a:gd name="T118" fmla="*/ 392 w 905"/>
                <a:gd name="T119" fmla="*/ 77 h 931"/>
                <a:gd name="T120" fmla="*/ 321 w 905"/>
                <a:gd name="T121" fmla="*/ 66 h 9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5" h="931">
                  <a:moveTo>
                    <a:pt x="198" y="381"/>
                  </a:moveTo>
                  <a:cubicBezTo>
                    <a:pt x="198" y="381"/>
                    <a:pt x="198" y="381"/>
                    <a:pt x="198" y="381"/>
                  </a:cubicBezTo>
                  <a:cubicBezTo>
                    <a:pt x="198" y="381"/>
                    <a:pt x="198" y="381"/>
                    <a:pt x="198" y="381"/>
                  </a:cubicBezTo>
                  <a:moveTo>
                    <a:pt x="311" y="0"/>
                  </a:moveTo>
                  <a:cubicBezTo>
                    <a:pt x="311" y="0"/>
                    <a:pt x="310" y="0"/>
                    <a:pt x="309" y="0"/>
                  </a:cubicBezTo>
                  <a:cubicBezTo>
                    <a:pt x="309" y="0"/>
                    <a:pt x="308" y="0"/>
                    <a:pt x="308" y="1"/>
                  </a:cubicBezTo>
                  <a:cubicBezTo>
                    <a:pt x="308" y="1"/>
                    <a:pt x="308" y="1"/>
                    <a:pt x="308" y="2"/>
                  </a:cubicBezTo>
                  <a:cubicBezTo>
                    <a:pt x="308" y="2"/>
                    <a:pt x="308" y="3"/>
                    <a:pt x="308" y="4"/>
                  </a:cubicBezTo>
                  <a:cubicBezTo>
                    <a:pt x="308" y="4"/>
                    <a:pt x="308" y="4"/>
                    <a:pt x="308" y="4"/>
                  </a:cubicBezTo>
                  <a:cubicBezTo>
                    <a:pt x="308" y="5"/>
                    <a:pt x="308" y="6"/>
                    <a:pt x="307" y="6"/>
                  </a:cubicBezTo>
                  <a:cubicBezTo>
                    <a:pt x="312" y="10"/>
                    <a:pt x="312" y="10"/>
                    <a:pt x="312" y="10"/>
                  </a:cubicBezTo>
                  <a:cubicBezTo>
                    <a:pt x="307" y="8"/>
                    <a:pt x="307" y="8"/>
                    <a:pt x="307" y="8"/>
                  </a:cubicBezTo>
                  <a:cubicBezTo>
                    <a:pt x="306" y="8"/>
                    <a:pt x="306" y="8"/>
                    <a:pt x="306" y="8"/>
                  </a:cubicBezTo>
                  <a:cubicBezTo>
                    <a:pt x="306" y="8"/>
                    <a:pt x="306" y="8"/>
                    <a:pt x="306" y="8"/>
                  </a:cubicBezTo>
                  <a:cubicBezTo>
                    <a:pt x="305" y="9"/>
                    <a:pt x="305" y="9"/>
                    <a:pt x="305" y="9"/>
                  </a:cubicBezTo>
                  <a:cubicBezTo>
                    <a:pt x="304" y="10"/>
                    <a:pt x="302" y="12"/>
                    <a:pt x="301" y="13"/>
                  </a:cubicBezTo>
                  <a:cubicBezTo>
                    <a:pt x="304" y="16"/>
                    <a:pt x="304" y="16"/>
                    <a:pt x="304" y="16"/>
                  </a:cubicBezTo>
                  <a:cubicBezTo>
                    <a:pt x="300" y="14"/>
                    <a:pt x="300" y="14"/>
                    <a:pt x="300" y="14"/>
                  </a:cubicBezTo>
                  <a:cubicBezTo>
                    <a:pt x="299" y="14"/>
                    <a:pt x="299" y="14"/>
                    <a:pt x="299" y="14"/>
                  </a:cubicBezTo>
                  <a:cubicBezTo>
                    <a:pt x="299" y="15"/>
                    <a:pt x="298" y="16"/>
                    <a:pt x="296" y="16"/>
                  </a:cubicBezTo>
                  <a:cubicBezTo>
                    <a:pt x="296" y="16"/>
                    <a:pt x="295" y="16"/>
                    <a:pt x="294" y="17"/>
                  </a:cubicBezTo>
                  <a:cubicBezTo>
                    <a:pt x="293" y="17"/>
                    <a:pt x="293" y="17"/>
                    <a:pt x="293" y="17"/>
                  </a:cubicBezTo>
                  <a:cubicBezTo>
                    <a:pt x="293" y="17"/>
                    <a:pt x="293" y="17"/>
                    <a:pt x="293" y="17"/>
                  </a:cubicBezTo>
                  <a:cubicBezTo>
                    <a:pt x="292" y="17"/>
                    <a:pt x="291" y="17"/>
                    <a:pt x="290" y="18"/>
                  </a:cubicBezTo>
                  <a:cubicBezTo>
                    <a:pt x="289" y="18"/>
                    <a:pt x="289" y="19"/>
                    <a:pt x="288" y="19"/>
                  </a:cubicBezTo>
                  <a:cubicBezTo>
                    <a:pt x="287" y="21"/>
                    <a:pt x="285" y="22"/>
                    <a:pt x="282" y="22"/>
                  </a:cubicBezTo>
                  <a:cubicBezTo>
                    <a:pt x="278" y="23"/>
                    <a:pt x="278" y="23"/>
                    <a:pt x="278" y="23"/>
                  </a:cubicBezTo>
                  <a:cubicBezTo>
                    <a:pt x="272" y="24"/>
                    <a:pt x="267" y="25"/>
                    <a:pt x="262" y="26"/>
                  </a:cubicBezTo>
                  <a:cubicBezTo>
                    <a:pt x="261" y="26"/>
                    <a:pt x="260" y="27"/>
                    <a:pt x="260" y="27"/>
                  </a:cubicBezTo>
                  <a:cubicBezTo>
                    <a:pt x="259" y="27"/>
                    <a:pt x="258" y="27"/>
                    <a:pt x="258" y="27"/>
                  </a:cubicBezTo>
                  <a:cubicBezTo>
                    <a:pt x="258" y="27"/>
                    <a:pt x="258" y="27"/>
                    <a:pt x="258" y="27"/>
                  </a:cubicBezTo>
                  <a:cubicBezTo>
                    <a:pt x="258" y="28"/>
                    <a:pt x="258" y="28"/>
                    <a:pt x="258" y="28"/>
                  </a:cubicBezTo>
                  <a:cubicBezTo>
                    <a:pt x="258" y="28"/>
                    <a:pt x="258" y="28"/>
                    <a:pt x="258" y="28"/>
                  </a:cubicBezTo>
                  <a:cubicBezTo>
                    <a:pt x="258" y="29"/>
                    <a:pt x="258" y="30"/>
                    <a:pt x="258" y="32"/>
                  </a:cubicBezTo>
                  <a:cubicBezTo>
                    <a:pt x="258" y="32"/>
                    <a:pt x="258" y="32"/>
                    <a:pt x="258" y="32"/>
                  </a:cubicBezTo>
                  <a:cubicBezTo>
                    <a:pt x="257" y="36"/>
                    <a:pt x="255" y="38"/>
                    <a:pt x="252" y="38"/>
                  </a:cubicBezTo>
                  <a:cubicBezTo>
                    <a:pt x="249" y="38"/>
                    <a:pt x="247" y="36"/>
                    <a:pt x="245" y="33"/>
                  </a:cubicBezTo>
                  <a:cubicBezTo>
                    <a:pt x="244" y="32"/>
                    <a:pt x="243" y="31"/>
                    <a:pt x="243" y="30"/>
                  </a:cubicBezTo>
                  <a:cubicBezTo>
                    <a:pt x="242" y="30"/>
                    <a:pt x="242" y="30"/>
                    <a:pt x="241" y="30"/>
                  </a:cubicBezTo>
                  <a:cubicBezTo>
                    <a:pt x="240" y="33"/>
                    <a:pt x="240" y="33"/>
                    <a:pt x="240" y="33"/>
                  </a:cubicBezTo>
                  <a:cubicBezTo>
                    <a:pt x="237" y="31"/>
                    <a:pt x="237" y="31"/>
                    <a:pt x="237" y="31"/>
                  </a:cubicBezTo>
                  <a:cubicBezTo>
                    <a:pt x="236" y="30"/>
                    <a:pt x="235" y="30"/>
                    <a:pt x="234" y="30"/>
                  </a:cubicBezTo>
                  <a:cubicBezTo>
                    <a:pt x="233" y="30"/>
                    <a:pt x="232" y="30"/>
                    <a:pt x="231" y="30"/>
                  </a:cubicBezTo>
                  <a:cubicBezTo>
                    <a:pt x="230" y="30"/>
                    <a:pt x="229" y="30"/>
                    <a:pt x="229" y="31"/>
                  </a:cubicBezTo>
                  <a:cubicBezTo>
                    <a:pt x="228" y="31"/>
                    <a:pt x="228" y="31"/>
                    <a:pt x="227" y="31"/>
                  </a:cubicBezTo>
                  <a:cubicBezTo>
                    <a:pt x="226" y="31"/>
                    <a:pt x="225" y="30"/>
                    <a:pt x="224" y="30"/>
                  </a:cubicBezTo>
                  <a:cubicBezTo>
                    <a:pt x="224" y="30"/>
                    <a:pt x="224" y="30"/>
                    <a:pt x="224" y="30"/>
                  </a:cubicBezTo>
                  <a:cubicBezTo>
                    <a:pt x="223" y="29"/>
                    <a:pt x="222" y="28"/>
                    <a:pt x="220" y="27"/>
                  </a:cubicBezTo>
                  <a:cubicBezTo>
                    <a:pt x="218" y="26"/>
                    <a:pt x="217" y="25"/>
                    <a:pt x="215" y="24"/>
                  </a:cubicBezTo>
                  <a:cubicBezTo>
                    <a:pt x="216" y="26"/>
                    <a:pt x="217" y="27"/>
                    <a:pt x="217" y="27"/>
                  </a:cubicBezTo>
                  <a:cubicBezTo>
                    <a:pt x="218" y="28"/>
                    <a:pt x="219" y="28"/>
                    <a:pt x="219" y="29"/>
                  </a:cubicBezTo>
                  <a:cubicBezTo>
                    <a:pt x="221" y="30"/>
                    <a:pt x="222" y="31"/>
                    <a:pt x="224" y="32"/>
                  </a:cubicBezTo>
                  <a:cubicBezTo>
                    <a:pt x="224" y="33"/>
                    <a:pt x="225" y="34"/>
                    <a:pt x="225" y="36"/>
                  </a:cubicBezTo>
                  <a:cubicBezTo>
                    <a:pt x="226" y="37"/>
                    <a:pt x="225" y="38"/>
                    <a:pt x="225" y="38"/>
                  </a:cubicBezTo>
                  <a:cubicBezTo>
                    <a:pt x="225" y="39"/>
                    <a:pt x="225" y="39"/>
                    <a:pt x="225" y="39"/>
                  </a:cubicBezTo>
                  <a:cubicBezTo>
                    <a:pt x="225" y="41"/>
                    <a:pt x="226" y="43"/>
                    <a:pt x="227" y="46"/>
                  </a:cubicBezTo>
                  <a:cubicBezTo>
                    <a:pt x="228" y="48"/>
                    <a:pt x="229" y="51"/>
                    <a:pt x="230" y="53"/>
                  </a:cubicBezTo>
                  <a:cubicBezTo>
                    <a:pt x="230" y="55"/>
                    <a:pt x="229" y="56"/>
                    <a:pt x="229" y="58"/>
                  </a:cubicBezTo>
                  <a:cubicBezTo>
                    <a:pt x="229" y="58"/>
                    <a:pt x="229" y="58"/>
                    <a:pt x="229" y="58"/>
                  </a:cubicBezTo>
                  <a:cubicBezTo>
                    <a:pt x="229" y="59"/>
                    <a:pt x="229" y="59"/>
                    <a:pt x="229" y="59"/>
                  </a:cubicBezTo>
                  <a:cubicBezTo>
                    <a:pt x="230" y="59"/>
                    <a:pt x="233" y="60"/>
                    <a:pt x="240" y="60"/>
                  </a:cubicBezTo>
                  <a:cubicBezTo>
                    <a:pt x="241" y="60"/>
                    <a:pt x="241" y="60"/>
                    <a:pt x="241" y="60"/>
                  </a:cubicBezTo>
                  <a:cubicBezTo>
                    <a:pt x="241" y="60"/>
                    <a:pt x="242" y="60"/>
                    <a:pt x="242" y="60"/>
                  </a:cubicBezTo>
                  <a:cubicBezTo>
                    <a:pt x="245" y="60"/>
                    <a:pt x="245" y="60"/>
                    <a:pt x="245" y="60"/>
                  </a:cubicBezTo>
                  <a:cubicBezTo>
                    <a:pt x="244" y="64"/>
                    <a:pt x="244" y="64"/>
                    <a:pt x="244" y="64"/>
                  </a:cubicBezTo>
                  <a:cubicBezTo>
                    <a:pt x="244" y="64"/>
                    <a:pt x="244" y="65"/>
                    <a:pt x="244" y="65"/>
                  </a:cubicBezTo>
                  <a:cubicBezTo>
                    <a:pt x="244" y="68"/>
                    <a:pt x="242" y="69"/>
                    <a:pt x="240" y="70"/>
                  </a:cubicBezTo>
                  <a:cubicBezTo>
                    <a:pt x="242" y="76"/>
                    <a:pt x="242" y="76"/>
                    <a:pt x="242" y="76"/>
                  </a:cubicBezTo>
                  <a:cubicBezTo>
                    <a:pt x="239" y="71"/>
                    <a:pt x="239" y="71"/>
                    <a:pt x="239" y="71"/>
                  </a:cubicBezTo>
                  <a:cubicBezTo>
                    <a:pt x="235" y="72"/>
                    <a:pt x="235" y="72"/>
                    <a:pt x="235" y="72"/>
                  </a:cubicBezTo>
                  <a:cubicBezTo>
                    <a:pt x="233" y="73"/>
                    <a:pt x="231" y="74"/>
                    <a:pt x="229" y="75"/>
                  </a:cubicBezTo>
                  <a:cubicBezTo>
                    <a:pt x="229" y="76"/>
                    <a:pt x="229" y="77"/>
                    <a:pt x="228" y="77"/>
                  </a:cubicBezTo>
                  <a:cubicBezTo>
                    <a:pt x="228" y="78"/>
                    <a:pt x="228" y="78"/>
                    <a:pt x="228" y="79"/>
                  </a:cubicBezTo>
                  <a:cubicBezTo>
                    <a:pt x="227" y="81"/>
                    <a:pt x="224" y="86"/>
                    <a:pt x="222" y="88"/>
                  </a:cubicBezTo>
                  <a:cubicBezTo>
                    <a:pt x="221" y="88"/>
                    <a:pt x="221" y="88"/>
                    <a:pt x="221" y="88"/>
                  </a:cubicBezTo>
                  <a:cubicBezTo>
                    <a:pt x="220" y="89"/>
                    <a:pt x="220" y="89"/>
                    <a:pt x="220" y="89"/>
                  </a:cubicBezTo>
                  <a:cubicBezTo>
                    <a:pt x="220" y="89"/>
                    <a:pt x="220" y="89"/>
                    <a:pt x="219" y="89"/>
                  </a:cubicBezTo>
                  <a:cubicBezTo>
                    <a:pt x="219" y="90"/>
                    <a:pt x="219" y="90"/>
                    <a:pt x="219" y="90"/>
                  </a:cubicBezTo>
                  <a:cubicBezTo>
                    <a:pt x="218" y="89"/>
                    <a:pt x="218" y="89"/>
                    <a:pt x="218" y="89"/>
                  </a:cubicBezTo>
                  <a:cubicBezTo>
                    <a:pt x="218" y="89"/>
                    <a:pt x="218" y="89"/>
                    <a:pt x="218" y="89"/>
                  </a:cubicBezTo>
                  <a:cubicBezTo>
                    <a:pt x="217" y="89"/>
                    <a:pt x="217" y="89"/>
                    <a:pt x="216" y="89"/>
                  </a:cubicBezTo>
                  <a:cubicBezTo>
                    <a:pt x="216" y="89"/>
                    <a:pt x="216" y="89"/>
                    <a:pt x="216" y="89"/>
                  </a:cubicBezTo>
                  <a:cubicBezTo>
                    <a:pt x="214" y="90"/>
                    <a:pt x="211" y="92"/>
                    <a:pt x="209" y="93"/>
                  </a:cubicBezTo>
                  <a:cubicBezTo>
                    <a:pt x="208" y="93"/>
                    <a:pt x="208" y="93"/>
                    <a:pt x="208" y="93"/>
                  </a:cubicBezTo>
                  <a:cubicBezTo>
                    <a:pt x="204" y="94"/>
                    <a:pt x="203" y="94"/>
                    <a:pt x="201" y="96"/>
                  </a:cubicBezTo>
                  <a:cubicBezTo>
                    <a:pt x="201" y="98"/>
                    <a:pt x="200" y="98"/>
                    <a:pt x="199" y="99"/>
                  </a:cubicBezTo>
                  <a:cubicBezTo>
                    <a:pt x="199" y="99"/>
                    <a:pt x="199" y="99"/>
                    <a:pt x="199" y="99"/>
                  </a:cubicBezTo>
                  <a:cubicBezTo>
                    <a:pt x="199" y="100"/>
                    <a:pt x="199" y="100"/>
                    <a:pt x="199" y="100"/>
                  </a:cubicBezTo>
                  <a:cubicBezTo>
                    <a:pt x="198" y="100"/>
                    <a:pt x="198" y="101"/>
                    <a:pt x="197" y="102"/>
                  </a:cubicBezTo>
                  <a:cubicBezTo>
                    <a:pt x="197" y="102"/>
                    <a:pt x="197" y="102"/>
                    <a:pt x="197" y="102"/>
                  </a:cubicBezTo>
                  <a:cubicBezTo>
                    <a:pt x="193" y="105"/>
                    <a:pt x="192" y="106"/>
                    <a:pt x="191" y="106"/>
                  </a:cubicBezTo>
                  <a:cubicBezTo>
                    <a:pt x="190" y="106"/>
                    <a:pt x="189" y="105"/>
                    <a:pt x="188" y="104"/>
                  </a:cubicBezTo>
                  <a:cubicBezTo>
                    <a:pt x="187" y="103"/>
                    <a:pt x="187" y="102"/>
                    <a:pt x="187" y="100"/>
                  </a:cubicBezTo>
                  <a:cubicBezTo>
                    <a:pt x="186" y="101"/>
                    <a:pt x="185" y="101"/>
                    <a:pt x="184" y="102"/>
                  </a:cubicBezTo>
                  <a:cubicBezTo>
                    <a:pt x="184" y="102"/>
                    <a:pt x="184" y="102"/>
                    <a:pt x="184" y="102"/>
                  </a:cubicBezTo>
                  <a:cubicBezTo>
                    <a:pt x="181" y="103"/>
                    <a:pt x="179" y="104"/>
                    <a:pt x="177" y="104"/>
                  </a:cubicBezTo>
                  <a:cubicBezTo>
                    <a:pt x="177" y="104"/>
                    <a:pt x="177" y="104"/>
                    <a:pt x="177" y="104"/>
                  </a:cubicBezTo>
                  <a:cubicBezTo>
                    <a:pt x="173" y="104"/>
                    <a:pt x="170" y="102"/>
                    <a:pt x="167" y="100"/>
                  </a:cubicBezTo>
                  <a:cubicBezTo>
                    <a:pt x="166" y="99"/>
                    <a:pt x="165" y="98"/>
                    <a:pt x="164" y="97"/>
                  </a:cubicBezTo>
                  <a:cubicBezTo>
                    <a:pt x="162" y="95"/>
                    <a:pt x="162" y="95"/>
                    <a:pt x="162" y="95"/>
                  </a:cubicBezTo>
                  <a:cubicBezTo>
                    <a:pt x="161" y="95"/>
                    <a:pt x="161" y="95"/>
                    <a:pt x="161" y="95"/>
                  </a:cubicBezTo>
                  <a:cubicBezTo>
                    <a:pt x="161" y="95"/>
                    <a:pt x="161" y="95"/>
                    <a:pt x="161" y="95"/>
                  </a:cubicBezTo>
                  <a:cubicBezTo>
                    <a:pt x="160" y="94"/>
                    <a:pt x="160" y="94"/>
                    <a:pt x="159" y="93"/>
                  </a:cubicBezTo>
                  <a:cubicBezTo>
                    <a:pt x="159" y="93"/>
                    <a:pt x="159" y="93"/>
                    <a:pt x="159" y="93"/>
                  </a:cubicBezTo>
                  <a:cubicBezTo>
                    <a:pt x="159" y="93"/>
                    <a:pt x="159" y="93"/>
                    <a:pt x="159" y="93"/>
                  </a:cubicBezTo>
                  <a:cubicBezTo>
                    <a:pt x="158" y="93"/>
                    <a:pt x="158" y="93"/>
                    <a:pt x="157" y="93"/>
                  </a:cubicBezTo>
                  <a:cubicBezTo>
                    <a:pt x="157" y="93"/>
                    <a:pt x="157" y="93"/>
                    <a:pt x="157" y="93"/>
                  </a:cubicBezTo>
                  <a:cubicBezTo>
                    <a:pt x="157" y="93"/>
                    <a:pt x="157" y="93"/>
                    <a:pt x="157" y="93"/>
                  </a:cubicBezTo>
                  <a:cubicBezTo>
                    <a:pt x="156" y="93"/>
                    <a:pt x="155" y="93"/>
                    <a:pt x="154" y="92"/>
                  </a:cubicBezTo>
                  <a:cubicBezTo>
                    <a:pt x="152" y="90"/>
                    <a:pt x="152" y="86"/>
                    <a:pt x="153" y="83"/>
                  </a:cubicBezTo>
                  <a:cubicBezTo>
                    <a:pt x="153" y="81"/>
                    <a:pt x="150" y="76"/>
                    <a:pt x="148" y="73"/>
                  </a:cubicBezTo>
                  <a:cubicBezTo>
                    <a:pt x="147" y="73"/>
                    <a:pt x="146" y="74"/>
                    <a:pt x="143" y="76"/>
                  </a:cubicBezTo>
                  <a:cubicBezTo>
                    <a:pt x="142" y="77"/>
                    <a:pt x="141" y="78"/>
                    <a:pt x="141" y="78"/>
                  </a:cubicBezTo>
                  <a:cubicBezTo>
                    <a:pt x="139" y="79"/>
                    <a:pt x="138" y="80"/>
                    <a:pt x="137" y="80"/>
                  </a:cubicBezTo>
                  <a:cubicBezTo>
                    <a:pt x="139" y="81"/>
                    <a:pt x="139" y="81"/>
                    <a:pt x="139" y="81"/>
                  </a:cubicBezTo>
                  <a:cubicBezTo>
                    <a:pt x="130" y="81"/>
                    <a:pt x="130" y="81"/>
                    <a:pt x="130" y="81"/>
                  </a:cubicBezTo>
                  <a:cubicBezTo>
                    <a:pt x="128" y="81"/>
                    <a:pt x="125" y="81"/>
                    <a:pt x="121" y="81"/>
                  </a:cubicBezTo>
                  <a:cubicBezTo>
                    <a:pt x="114" y="81"/>
                    <a:pt x="107" y="81"/>
                    <a:pt x="102" y="81"/>
                  </a:cubicBezTo>
                  <a:cubicBezTo>
                    <a:pt x="101" y="81"/>
                    <a:pt x="101" y="81"/>
                    <a:pt x="100" y="81"/>
                  </a:cubicBezTo>
                  <a:cubicBezTo>
                    <a:pt x="100" y="81"/>
                    <a:pt x="99" y="81"/>
                    <a:pt x="99" y="81"/>
                  </a:cubicBezTo>
                  <a:cubicBezTo>
                    <a:pt x="97" y="81"/>
                    <a:pt x="95" y="81"/>
                    <a:pt x="94" y="81"/>
                  </a:cubicBezTo>
                  <a:cubicBezTo>
                    <a:pt x="94" y="82"/>
                    <a:pt x="94" y="82"/>
                    <a:pt x="94" y="82"/>
                  </a:cubicBezTo>
                  <a:cubicBezTo>
                    <a:pt x="94" y="85"/>
                    <a:pt x="94" y="87"/>
                    <a:pt x="94" y="90"/>
                  </a:cubicBezTo>
                  <a:cubicBezTo>
                    <a:pt x="94" y="90"/>
                    <a:pt x="95" y="90"/>
                    <a:pt x="95" y="90"/>
                  </a:cubicBezTo>
                  <a:cubicBezTo>
                    <a:pt x="97" y="90"/>
                    <a:pt x="99" y="91"/>
                    <a:pt x="101" y="91"/>
                  </a:cubicBezTo>
                  <a:cubicBezTo>
                    <a:pt x="101" y="91"/>
                    <a:pt x="102" y="91"/>
                    <a:pt x="103" y="91"/>
                  </a:cubicBezTo>
                  <a:cubicBezTo>
                    <a:pt x="103" y="91"/>
                    <a:pt x="103" y="91"/>
                    <a:pt x="103" y="91"/>
                  </a:cubicBezTo>
                  <a:cubicBezTo>
                    <a:pt x="106" y="91"/>
                    <a:pt x="108" y="94"/>
                    <a:pt x="109" y="96"/>
                  </a:cubicBezTo>
                  <a:cubicBezTo>
                    <a:pt x="109" y="97"/>
                    <a:pt x="110" y="100"/>
                    <a:pt x="111" y="103"/>
                  </a:cubicBezTo>
                  <a:cubicBezTo>
                    <a:pt x="111" y="106"/>
                    <a:pt x="111" y="106"/>
                    <a:pt x="111" y="106"/>
                  </a:cubicBezTo>
                  <a:cubicBezTo>
                    <a:pt x="108" y="106"/>
                    <a:pt x="108" y="106"/>
                    <a:pt x="108" y="106"/>
                  </a:cubicBezTo>
                  <a:cubicBezTo>
                    <a:pt x="108" y="106"/>
                    <a:pt x="108" y="106"/>
                    <a:pt x="107" y="106"/>
                  </a:cubicBezTo>
                  <a:cubicBezTo>
                    <a:pt x="106" y="106"/>
                    <a:pt x="103" y="106"/>
                    <a:pt x="101" y="105"/>
                  </a:cubicBezTo>
                  <a:cubicBezTo>
                    <a:pt x="100" y="104"/>
                    <a:pt x="99" y="104"/>
                    <a:pt x="99" y="104"/>
                  </a:cubicBezTo>
                  <a:cubicBezTo>
                    <a:pt x="98" y="104"/>
                    <a:pt x="98" y="105"/>
                    <a:pt x="97" y="105"/>
                  </a:cubicBezTo>
                  <a:cubicBezTo>
                    <a:pt x="96" y="105"/>
                    <a:pt x="95" y="105"/>
                    <a:pt x="95" y="105"/>
                  </a:cubicBezTo>
                  <a:cubicBezTo>
                    <a:pt x="94" y="106"/>
                    <a:pt x="94" y="106"/>
                    <a:pt x="94" y="106"/>
                  </a:cubicBezTo>
                  <a:cubicBezTo>
                    <a:pt x="90" y="106"/>
                    <a:pt x="89" y="107"/>
                    <a:pt x="89" y="107"/>
                  </a:cubicBezTo>
                  <a:cubicBezTo>
                    <a:pt x="89" y="110"/>
                    <a:pt x="89" y="112"/>
                    <a:pt x="89" y="115"/>
                  </a:cubicBezTo>
                  <a:cubicBezTo>
                    <a:pt x="89" y="116"/>
                    <a:pt x="89" y="117"/>
                    <a:pt x="88" y="118"/>
                  </a:cubicBezTo>
                  <a:cubicBezTo>
                    <a:pt x="88" y="121"/>
                    <a:pt x="92" y="125"/>
                    <a:pt x="96" y="127"/>
                  </a:cubicBezTo>
                  <a:cubicBezTo>
                    <a:pt x="100" y="129"/>
                    <a:pt x="101" y="133"/>
                    <a:pt x="101" y="137"/>
                  </a:cubicBezTo>
                  <a:cubicBezTo>
                    <a:pt x="102" y="138"/>
                    <a:pt x="102" y="139"/>
                    <a:pt x="102" y="140"/>
                  </a:cubicBezTo>
                  <a:cubicBezTo>
                    <a:pt x="104" y="145"/>
                    <a:pt x="103" y="152"/>
                    <a:pt x="101" y="165"/>
                  </a:cubicBezTo>
                  <a:cubicBezTo>
                    <a:pt x="100" y="171"/>
                    <a:pt x="100" y="171"/>
                    <a:pt x="100" y="171"/>
                  </a:cubicBezTo>
                  <a:cubicBezTo>
                    <a:pt x="100" y="172"/>
                    <a:pt x="100" y="172"/>
                    <a:pt x="100" y="172"/>
                  </a:cubicBezTo>
                  <a:cubicBezTo>
                    <a:pt x="99" y="175"/>
                    <a:pt x="99" y="175"/>
                    <a:pt x="99" y="175"/>
                  </a:cubicBezTo>
                  <a:cubicBezTo>
                    <a:pt x="99" y="176"/>
                    <a:pt x="99" y="176"/>
                    <a:pt x="99" y="176"/>
                  </a:cubicBezTo>
                  <a:cubicBezTo>
                    <a:pt x="98" y="179"/>
                    <a:pt x="98" y="179"/>
                    <a:pt x="98" y="179"/>
                  </a:cubicBezTo>
                  <a:cubicBezTo>
                    <a:pt x="98" y="180"/>
                    <a:pt x="98" y="180"/>
                    <a:pt x="98" y="181"/>
                  </a:cubicBezTo>
                  <a:cubicBezTo>
                    <a:pt x="98" y="183"/>
                    <a:pt x="98" y="183"/>
                    <a:pt x="98" y="183"/>
                  </a:cubicBezTo>
                  <a:cubicBezTo>
                    <a:pt x="98" y="184"/>
                    <a:pt x="97" y="184"/>
                    <a:pt x="97" y="185"/>
                  </a:cubicBezTo>
                  <a:cubicBezTo>
                    <a:pt x="97" y="186"/>
                    <a:pt x="97" y="186"/>
                    <a:pt x="97" y="186"/>
                  </a:cubicBezTo>
                  <a:cubicBezTo>
                    <a:pt x="97" y="187"/>
                    <a:pt x="97" y="189"/>
                    <a:pt x="96" y="190"/>
                  </a:cubicBezTo>
                  <a:cubicBezTo>
                    <a:pt x="96" y="190"/>
                    <a:pt x="96" y="190"/>
                    <a:pt x="96" y="190"/>
                  </a:cubicBezTo>
                  <a:cubicBezTo>
                    <a:pt x="94" y="201"/>
                    <a:pt x="92" y="212"/>
                    <a:pt x="91" y="216"/>
                  </a:cubicBezTo>
                  <a:cubicBezTo>
                    <a:pt x="92" y="218"/>
                    <a:pt x="92" y="220"/>
                    <a:pt x="90" y="222"/>
                  </a:cubicBezTo>
                  <a:cubicBezTo>
                    <a:pt x="88" y="223"/>
                    <a:pt x="88" y="223"/>
                    <a:pt x="88" y="223"/>
                  </a:cubicBezTo>
                  <a:cubicBezTo>
                    <a:pt x="87" y="222"/>
                    <a:pt x="87" y="222"/>
                    <a:pt x="87" y="222"/>
                  </a:cubicBezTo>
                  <a:cubicBezTo>
                    <a:pt x="85" y="222"/>
                    <a:pt x="84" y="221"/>
                    <a:pt x="82" y="221"/>
                  </a:cubicBezTo>
                  <a:cubicBezTo>
                    <a:pt x="81" y="221"/>
                    <a:pt x="78" y="221"/>
                    <a:pt x="78" y="218"/>
                  </a:cubicBezTo>
                  <a:cubicBezTo>
                    <a:pt x="77" y="218"/>
                    <a:pt x="77" y="218"/>
                    <a:pt x="77" y="218"/>
                  </a:cubicBezTo>
                  <a:cubicBezTo>
                    <a:pt x="77" y="218"/>
                    <a:pt x="77" y="217"/>
                    <a:pt x="76" y="217"/>
                  </a:cubicBezTo>
                  <a:cubicBezTo>
                    <a:pt x="76" y="217"/>
                    <a:pt x="75" y="217"/>
                    <a:pt x="75" y="218"/>
                  </a:cubicBezTo>
                  <a:cubicBezTo>
                    <a:pt x="74" y="218"/>
                    <a:pt x="74" y="218"/>
                    <a:pt x="73" y="219"/>
                  </a:cubicBezTo>
                  <a:cubicBezTo>
                    <a:pt x="72" y="219"/>
                    <a:pt x="72" y="219"/>
                    <a:pt x="71" y="220"/>
                  </a:cubicBezTo>
                  <a:cubicBezTo>
                    <a:pt x="71" y="220"/>
                    <a:pt x="71" y="220"/>
                    <a:pt x="71" y="220"/>
                  </a:cubicBezTo>
                  <a:cubicBezTo>
                    <a:pt x="70" y="221"/>
                    <a:pt x="69" y="222"/>
                    <a:pt x="67" y="223"/>
                  </a:cubicBezTo>
                  <a:cubicBezTo>
                    <a:pt x="66" y="224"/>
                    <a:pt x="65" y="224"/>
                    <a:pt x="64" y="224"/>
                  </a:cubicBezTo>
                  <a:cubicBezTo>
                    <a:pt x="63" y="224"/>
                    <a:pt x="62" y="224"/>
                    <a:pt x="61" y="224"/>
                  </a:cubicBezTo>
                  <a:cubicBezTo>
                    <a:pt x="60" y="224"/>
                    <a:pt x="60" y="224"/>
                    <a:pt x="60" y="224"/>
                  </a:cubicBezTo>
                  <a:cubicBezTo>
                    <a:pt x="58" y="224"/>
                    <a:pt x="56" y="224"/>
                    <a:pt x="54" y="225"/>
                  </a:cubicBezTo>
                  <a:cubicBezTo>
                    <a:pt x="53" y="225"/>
                    <a:pt x="53" y="225"/>
                    <a:pt x="53" y="225"/>
                  </a:cubicBezTo>
                  <a:cubicBezTo>
                    <a:pt x="52" y="226"/>
                    <a:pt x="51" y="226"/>
                    <a:pt x="50" y="226"/>
                  </a:cubicBezTo>
                  <a:cubicBezTo>
                    <a:pt x="50" y="226"/>
                    <a:pt x="50" y="226"/>
                    <a:pt x="50" y="226"/>
                  </a:cubicBezTo>
                  <a:cubicBezTo>
                    <a:pt x="46" y="227"/>
                    <a:pt x="42" y="228"/>
                    <a:pt x="38" y="231"/>
                  </a:cubicBezTo>
                  <a:cubicBezTo>
                    <a:pt x="36" y="232"/>
                    <a:pt x="35" y="233"/>
                    <a:pt x="33" y="234"/>
                  </a:cubicBezTo>
                  <a:cubicBezTo>
                    <a:pt x="33" y="234"/>
                    <a:pt x="33" y="234"/>
                    <a:pt x="33" y="234"/>
                  </a:cubicBezTo>
                  <a:cubicBezTo>
                    <a:pt x="31" y="236"/>
                    <a:pt x="29" y="237"/>
                    <a:pt x="27" y="238"/>
                  </a:cubicBezTo>
                  <a:cubicBezTo>
                    <a:pt x="24" y="240"/>
                    <a:pt x="24" y="240"/>
                    <a:pt x="24" y="240"/>
                  </a:cubicBezTo>
                  <a:cubicBezTo>
                    <a:pt x="24" y="240"/>
                    <a:pt x="24" y="240"/>
                    <a:pt x="24" y="240"/>
                  </a:cubicBezTo>
                  <a:cubicBezTo>
                    <a:pt x="24" y="241"/>
                    <a:pt x="24" y="241"/>
                    <a:pt x="24" y="241"/>
                  </a:cubicBezTo>
                  <a:cubicBezTo>
                    <a:pt x="23" y="244"/>
                    <a:pt x="23" y="247"/>
                    <a:pt x="22" y="250"/>
                  </a:cubicBezTo>
                  <a:cubicBezTo>
                    <a:pt x="22" y="250"/>
                    <a:pt x="22" y="250"/>
                    <a:pt x="22" y="250"/>
                  </a:cubicBezTo>
                  <a:cubicBezTo>
                    <a:pt x="22" y="251"/>
                    <a:pt x="21" y="252"/>
                    <a:pt x="21" y="253"/>
                  </a:cubicBezTo>
                  <a:cubicBezTo>
                    <a:pt x="21" y="254"/>
                    <a:pt x="20" y="256"/>
                    <a:pt x="19" y="257"/>
                  </a:cubicBezTo>
                  <a:cubicBezTo>
                    <a:pt x="19" y="258"/>
                    <a:pt x="18" y="260"/>
                    <a:pt x="18" y="261"/>
                  </a:cubicBezTo>
                  <a:cubicBezTo>
                    <a:pt x="17" y="261"/>
                    <a:pt x="17" y="261"/>
                    <a:pt x="17" y="261"/>
                  </a:cubicBezTo>
                  <a:cubicBezTo>
                    <a:pt x="17" y="262"/>
                    <a:pt x="17" y="262"/>
                    <a:pt x="17" y="262"/>
                  </a:cubicBezTo>
                  <a:cubicBezTo>
                    <a:pt x="17" y="262"/>
                    <a:pt x="17" y="262"/>
                    <a:pt x="17" y="262"/>
                  </a:cubicBezTo>
                  <a:cubicBezTo>
                    <a:pt x="17" y="263"/>
                    <a:pt x="17" y="263"/>
                    <a:pt x="17" y="264"/>
                  </a:cubicBezTo>
                  <a:cubicBezTo>
                    <a:pt x="17" y="264"/>
                    <a:pt x="17" y="264"/>
                    <a:pt x="17" y="264"/>
                  </a:cubicBezTo>
                  <a:cubicBezTo>
                    <a:pt x="18" y="265"/>
                    <a:pt x="18" y="265"/>
                    <a:pt x="18" y="266"/>
                  </a:cubicBezTo>
                  <a:cubicBezTo>
                    <a:pt x="18" y="266"/>
                    <a:pt x="18" y="266"/>
                    <a:pt x="18" y="266"/>
                  </a:cubicBezTo>
                  <a:cubicBezTo>
                    <a:pt x="18" y="268"/>
                    <a:pt x="18" y="270"/>
                    <a:pt x="16" y="271"/>
                  </a:cubicBezTo>
                  <a:cubicBezTo>
                    <a:pt x="15" y="273"/>
                    <a:pt x="14" y="274"/>
                    <a:pt x="12" y="275"/>
                  </a:cubicBezTo>
                  <a:cubicBezTo>
                    <a:pt x="11" y="275"/>
                    <a:pt x="10" y="275"/>
                    <a:pt x="10" y="276"/>
                  </a:cubicBezTo>
                  <a:cubicBezTo>
                    <a:pt x="7" y="278"/>
                    <a:pt x="5" y="279"/>
                    <a:pt x="3" y="282"/>
                  </a:cubicBezTo>
                  <a:cubicBezTo>
                    <a:pt x="3" y="284"/>
                    <a:pt x="3" y="284"/>
                    <a:pt x="3" y="286"/>
                  </a:cubicBezTo>
                  <a:cubicBezTo>
                    <a:pt x="4" y="286"/>
                    <a:pt x="5" y="288"/>
                    <a:pt x="4" y="291"/>
                  </a:cubicBezTo>
                  <a:cubicBezTo>
                    <a:pt x="4" y="292"/>
                    <a:pt x="4" y="292"/>
                    <a:pt x="4" y="292"/>
                  </a:cubicBezTo>
                  <a:cubicBezTo>
                    <a:pt x="3" y="292"/>
                    <a:pt x="3" y="292"/>
                    <a:pt x="3" y="292"/>
                  </a:cubicBezTo>
                  <a:cubicBezTo>
                    <a:pt x="2" y="293"/>
                    <a:pt x="1" y="293"/>
                    <a:pt x="0" y="294"/>
                  </a:cubicBezTo>
                  <a:cubicBezTo>
                    <a:pt x="2" y="296"/>
                    <a:pt x="4" y="297"/>
                    <a:pt x="5" y="300"/>
                  </a:cubicBezTo>
                  <a:cubicBezTo>
                    <a:pt x="6" y="302"/>
                    <a:pt x="6" y="304"/>
                    <a:pt x="7" y="305"/>
                  </a:cubicBezTo>
                  <a:cubicBezTo>
                    <a:pt x="7" y="307"/>
                    <a:pt x="7" y="309"/>
                    <a:pt x="8" y="310"/>
                  </a:cubicBezTo>
                  <a:cubicBezTo>
                    <a:pt x="10" y="314"/>
                    <a:pt x="13" y="318"/>
                    <a:pt x="16" y="321"/>
                  </a:cubicBezTo>
                  <a:cubicBezTo>
                    <a:pt x="17" y="322"/>
                    <a:pt x="17" y="322"/>
                    <a:pt x="17" y="322"/>
                  </a:cubicBezTo>
                  <a:cubicBezTo>
                    <a:pt x="18" y="322"/>
                    <a:pt x="18" y="323"/>
                    <a:pt x="18" y="323"/>
                  </a:cubicBezTo>
                  <a:cubicBezTo>
                    <a:pt x="20" y="325"/>
                    <a:pt x="22" y="327"/>
                    <a:pt x="22" y="329"/>
                  </a:cubicBezTo>
                  <a:cubicBezTo>
                    <a:pt x="22" y="332"/>
                    <a:pt x="21" y="334"/>
                    <a:pt x="20" y="336"/>
                  </a:cubicBezTo>
                  <a:cubicBezTo>
                    <a:pt x="27" y="336"/>
                    <a:pt x="36" y="337"/>
                    <a:pt x="38" y="343"/>
                  </a:cubicBezTo>
                  <a:cubicBezTo>
                    <a:pt x="38" y="343"/>
                    <a:pt x="38" y="344"/>
                    <a:pt x="38" y="344"/>
                  </a:cubicBezTo>
                  <a:cubicBezTo>
                    <a:pt x="38" y="344"/>
                    <a:pt x="38" y="344"/>
                    <a:pt x="38" y="344"/>
                  </a:cubicBezTo>
                  <a:cubicBezTo>
                    <a:pt x="39" y="345"/>
                    <a:pt x="39" y="345"/>
                    <a:pt x="39" y="346"/>
                  </a:cubicBezTo>
                  <a:cubicBezTo>
                    <a:pt x="40" y="347"/>
                    <a:pt x="40" y="348"/>
                    <a:pt x="41" y="349"/>
                  </a:cubicBezTo>
                  <a:cubicBezTo>
                    <a:pt x="41" y="349"/>
                    <a:pt x="42" y="349"/>
                    <a:pt x="43" y="349"/>
                  </a:cubicBezTo>
                  <a:cubicBezTo>
                    <a:pt x="45" y="350"/>
                    <a:pt x="45" y="350"/>
                    <a:pt x="45" y="350"/>
                  </a:cubicBezTo>
                  <a:cubicBezTo>
                    <a:pt x="46" y="350"/>
                    <a:pt x="48" y="350"/>
                    <a:pt x="49" y="350"/>
                  </a:cubicBezTo>
                  <a:cubicBezTo>
                    <a:pt x="50" y="350"/>
                    <a:pt x="50" y="350"/>
                    <a:pt x="51" y="350"/>
                  </a:cubicBezTo>
                  <a:cubicBezTo>
                    <a:pt x="54" y="350"/>
                    <a:pt x="56" y="349"/>
                    <a:pt x="57" y="349"/>
                  </a:cubicBezTo>
                  <a:cubicBezTo>
                    <a:pt x="58" y="349"/>
                    <a:pt x="58" y="348"/>
                    <a:pt x="58" y="348"/>
                  </a:cubicBezTo>
                  <a:cubicBezTo>
                    <a:pt x="59" y="348"/>
                    <a:pt x="59" y="348"/>
                    <a:pt x="59" y="347"/>
                  </a:cubicBezTo>
                  <a:cubicBezTo>
                    <a:pt x="60" y="347"/>
                    <a:pt x="60" y="347"/>
                    <a:pt x="61" y="346"/>
                  </a:cubicBezTo>
                  <a:cubicBezTo>
                    <a:pt x="61" y="346"/>
                    <a:pt x="61" y="346"/>
                    <a:pt x="61" y="346"/>
                  </a:cubicBezTo>
                  <a:cubicBezTo>
                    <a:pt x="62" y="346"/>
                    <a:pt x="62" y="346"/>
                    <a:pt x="63" y="345"/>
                  </a:cubicBezTo>
                  <a:cubicBezTo>
                    <a:pt x="64" y="344"/>
                    <a:pt x="64" y="344"/>
                    <a:pt x="64" y="344"/>
                  </a:cubicBezTo>
                  <a:cubicBezTo>
                    <a:pt x="65" y="343"/>
                    <a:pt x="65" y="343"/>
                    <a:pt x="65" y="343"/>
                  </a:cubicBezTo>
                  <a:cubicBezTo>
                    <a:pt x="68" y="340"/>
                    <a:pt x="72" y="338"/>
                    <a:pt x="74" y="336"/>
                  </a:cubicBezTo>
                  <a:cubicBezTo>
                    <a:pt x="82" y="332"/>
                    <a:pt x="82" y="332"/>
                    <a:pt x="82" y="332"/>
                  </a:cubicBezTo>
                  <a:cubicBezTo>
                    <a:pt x="78" y="340"/>
                    <a:pt x="78" y="340"/>
                    <a:pt x="78" y="340"/>
                  </a:cubicBezTo>
                  <a:cubicBezTo>
                    <a:pt x="78" y="341"/>
                    <a:pt x="78" y="342"/>
                    <a:pt x="77" y="342"/>
                  </a:cubicBezTo>
                  <a:cubicBezTo>
                    <a:pt x="78" y="343"/>
                    <a:pt x="78" y="343"/>
                    <a:pt x="78" y="344"/>
                  </a:cubicBezTo>
                  <a:cubicBezTo>
                    <a:pt x="78" y="345"/>
                    <a:pt x="78" y="347"/>
                    <a:pt x="77" y="348"/>
                  </a:cubicBezTo>
                  <a:cubicBezTo>
                    <a:pt x="75" y="353"/>
                    <a:pt x="75" y="360"/>
                    <a:pt x="76" y="367"/>
                  </a:cubicBezTo>
                  <a:cubicBezTo>
                    <a:pt x="76" y="369"/>
                    <a:pt x="76" y="371"/>
                    <a:pt x="76" y="372"/>
                  </a:cubicBezTo>
                  <a:cubicBezTo>
                    <a:pt x="77" y="372"/>
                    <a:pt x="78" y="373"/>
                    <a:pt x="79" y="373"/>
                  </a:cubicBezTo>
                  <a:cubicBezTo>
                    <a:pt x="80" y="374"/>
                    <a:pt x="81" y="374"/>
                    <a:pt x="81" y="374"/>
                  </a:cubicBezTo>
                  <a:cubicBezTo>
                    <a:pt x="82" y="374"/>
                    <a:pt x="83" y="373"/>
                    <a:pt x="85" y="373"/>
                  </a:cubicBezTo>
                  <a:cubicBezTo>
                    <a:pt x="86" y="372"/>
                    <a:pt x="86" y="372"/>
                    <a:pt x="86" y="372"/>
                  </a:cubicBezTo>
                  <a:cubicBezTo>
                    <a:pt x="88" y="371"/>
                    <a:pt x="89" y="371"/>
                    <a:pt x="90" y="371"/>
                  </a:cubicBezTo>
                  <a:cubicBezTo>
                    <a:pt x="90" y="371"/>
                    <a:pt x="91" y="371"/>
                    <a:pt x="91" y="371"/>
                  </a:cubicBezTo>
                  <a:cubicBezTo>
                    <a:pt x="91" y="371"/>
                    <a:pt x="92" y="371"/>
                    <a:pt x="92" y="371"/>
                  </a:cubicBezTo>
                  <a:cubicBezTo>
                    <a:pt x="92" y="371"/>
                    <a:pt x="92" y="371"/>
                    <a:pt x="92" y="371"/>
                  </a:cubicBezTo>
                  <a:cubicBezTo>
                    <a:pt x="93" y="371"/>
                    <a:pt x="93" y="371"/>
                    <a:pt x="93" y="371"/>
                  </a:cubicBezTo>
                  <a:cubicBezTo>
                    <a:pt x="90" y="368"/>
                    <a:pt x="90" y="368"/>
                    <a:pt x="90" y="368"/>
                  </a:cubicBezTo>
                  <a:cubicBezTo>
                    <a:pt x="99" y="372"/>
                    <a:pt x="99" y="372"/>
                    <a:pt x="99" y="372"/>
                  </a:cubicBezTo>
                  <a:cubicBezTo>
                    <a:pt x="105" y="373"/>
                    <a:pt x="105" y="373"/>
                    <a:pt x="105" y="373"/>
                  </a:cubicBezTo>
                  <a:cubicBezTo>
                    <a:pt x="106" y="373"/>
                    <a:pt x="107" y="373"/>
                    <a:pt x="108" y="374"/>
                  </a:cubicBezTo>
                  <a:cubicBezTo>
                    <a:pt x="108" y="375"/>
                    <a:pt x="108" y="375"/>
                    <a:pt x="108" y="375"/>
                  </a:cubicBezTo>
                  <a:cubicBezTo>
                    <a:pt x="108" y="375"/>
                    <a:pt x="108" y="375"/>
                    <a:pt x="108" y="375"/>
                  </a:cubicBezTo>
                  <a:cubicBezTo>
                    <a:pt x="108" y="374"/>
                    <a:pt x="108" y="374"/>
                    <a:pt x="108" y="374"/>
                  </a:cubicBezTo>
                  <a:cubicBezTo>
                    <a:pt x="109" y="374"/>
                    <a:pt x="110" y="374"/>
                    <a:pt x="111" y="374"/>
                  </a:cubicBezTo>
                  <a:cubicBezTo>
                    <a:pt x="112" y="374"/>
                    <a:pt x="112" y="374"/>
                    <a:pt x="112" y="374"/>
                  </a:cubicBezTo>
                  <a:cubicBezTo>
                    <a:pt x="112" y="374"/>
                    <a:pt x="113" y="375"/>
                    <a:pt x="114" y="375"/>
                  </a:cubicBezTo>
                  <a:cubicBezTo>
                    <a:pt x="114" y="375"/>
                    <a:pt x="115" y="375"/>
                    <a:pt x="115" y="375"/>
                  </a:cubicBezTo>
                  <a:cubicBezTo>
                    <a:pt x="116" y="375"/>
                    <a:pt x="116" y="375"/>
                    <a:pt x="117" y="375"/>
                  </a:cubicBezTo>
                  <a:cubicBezTo>
                    <a:pt x="118" y="375"/>
                    <a:pt x="118" y="375"/>
                    <a:pt x="118" y="375"/>
                  </a:cubicBezTo>
                  <a:cubicBezTo>
                    <a:pt x="119" y="375"/>
                    <a:pt x="120" y="375"/>
                    <a:pt x="122" y="374"/>
                  </a:cubicBezTo>
                  <a:cubicBezTo>
                    <a:pt x="122" y="374"/>
                    <a:pt x="122" y="374"/>
                    <a:pt x="122" y="374"/>
                  </a:cubicBezTo>
                  <a:cubicBezTo>
                    <a:pt x="123" y="374"/>
                    <a:pt x="124" y="374"/>
                    <a:pt x="125" y="373"/>
                  </a:cubicBezTo>
                  <a:cubicBezTo>
                    <a:pt x="126" y="373"/>
                    <a:pt x="126" y="372"/>
                    <a:pt x="127" y="372"/>
                  </a:cubicBezTo>
                  <a:cubicBezTo>
                    <a:pt x="128" y="370"/>
                    <a:pt x="129" y="369"/>
                    <a:pt x="132" y="368"/>
                  </a:cubicBezTo>
                  <a:cubicBezTo>
                    <a:pt x="133" y="368"/>
                    <a:pt x="133" y="368"/>
                    <a:pt x="134" y="367"/>
                  </a:cubicBezTo>
                  <a:cubicBezTo>
                    <a:pt x="135" y="367"/>
                    <a:pt x="135" y="367"/>
                    <a:pt x="135" y="367"/>
                  </a:cubicBezTo>
                  <a:cubicBezTo>
                    <a:pt x="137" y="367"/>
                    <a:pt x="138" y="367"/>
                    <a:pt x="139" y="366"/>
                  </a:cubicBezTo>
                  <a:cubicBezTo>
                    <a:pt x="139" y="366"/>
                    <a:pt x="139" y="366"/>
                    <a:pt x="140" y="365"/>
                  </a:cubicBezTo>
                  <a:cubicBezTo>
                    <a:pt x="140" y="364"/>
                    <a:pt x="140" y="364"/>
                    <a:pt x="140" y="364"/>
                  </a:cubicBezTo>
                  <a:cubicBezTo>
                    <a:pt x="141" y="363"/>
                    <a:pt x="142" y="362"/>
                    <a:pt x="143" y="362"/>
                  </a:cubicBezTo>
                  <a:cubicBezTo>
                    <a:pt x="145" y="361"/>
                    <a:pt x="147" y="360"/>
                    <a:pt x="148" y="359"/>
                  </a:cubicBezTo>
                  <a:cubicBezTo>
                    <a:pt x="150" y="358"/>
                    <a:pt x="151" y="358"/>
                    <a:pt x="152" y="357"/>
                  </a:cubicBezTo>
                  <a:cubicBezTo>
                    <a:pt x="154" y="356"/>
                    <a:pt x="156" y="354"/>
                    <a:pt x="158" y="353"/>
                  </a:cubicBezTo>
                  <a:cubicBezTo>
                    <a:pt x="158" y="353"/>
                    <a:pt x="158" y="353"/>
                    <a:pt x="158" y="353"/>
                  </a:cubicBezTo>
                  <a:cubicBezTo>
                    <a:pt x="159" y="352"/>
                    <a:pt x="160" y="351"/>
                    <a:pt x="161" y="350"/>
                  </a:cubicBezTo>
                  <a:cubicBezTo>
                    <a:pt x="163" y="348"/>
                    <a:pt x="166" y="347"/>
                    <a:pt x="168" y="347"/>
                  </a:cubicBezTo>
                  <a:cubicBezTo>
                    <a:pt x="171" y="346"/>
                    <a:pt x="171" y="346"/>
                    <a:pt x="171" y="346"/>
                  </a:cubicBezTo>
                  <a:cubicBezTo>
                    <a:pt x="181" y="344"/>
                    <a:pt x="181" y="344"/>
                    <a:pt x="181" y="344"/>
                  </a:cubicBezTo>
                  <a:cubicBezTo>
                    <a:pt x="182" y="344"/>
                    <a:pt x="182" y="344"/>
                    <a:pt x="183" y="344"/>
                  </a:cubicBezTo>
                  <a:cubicBezTo>
                    <a:pt x="183" y="344"/>
                    <a:pt x="183" y="344"/>
                    <a:pt x="183" y="344"/>
                  </a:cubicBezTo>
                  <a:cubicBezTo>
                    <a:pt x="183" y="343"/>
                    <a:pt x="184" y="343"/>
                    <a:pt x="184" y="343"/>
                  </a:cubicBezTo>
                  <a:cubicBezTo>
                    <a:pt x="184" y="343"/>
                    <a:pt x="185" y="344"/>
                    <a:pt x="185" y="344"/>
                  </a:cubicBezTo>
                  <a:cubicBezTo>
                    <a:pt x="186" y="344"/>
                    <a:pt x="186" y="344"/>
                    <a:pt x="186" y="344"/>
                  </a:cubicBezTo>
                  <a:cubicBezTo>
                    <a:pt x="186" y="344"/>
                    <a:pt x="187" y="344"/>
                    <a:pt x="187" y="344"/>
                  </a:cubicBezTo>
                  <a:cubicBezTo>
                    <a:pt x="188" y="344"/>
                    <a:pt x="189" y="345"/>
                    <a:pt x="189" y="345"/>
                  </a:cubicBezTo>
                  <a:cubicBezTo>
                    <a:pt x="190" y="345"/>
                    <a:pt x="190" y="345"/>
                    <a:pt x="190" y="345"/>
                  </a:cubicBezTo>
                  <a:cubicBezTo>
                    <a:pt x="190" y="345"/>
                    <a:pt x="190" y="345"/>
                    <a:pt x="190" y="345"/>
                  </a:cubicBezTo>
                  <a:cubicBezTo>
                    <a:pt x="190" y="344"/>
                    <a:pt x="190" y="344"/>
                    <a:pt x="190" y="344"/>
                  </a:cubicBezTo>
                  <a:cubicBezTo>
                    <a:pt x="190" y="344"/>
                    <a:pt x="191" y="343"/>
                    <a:pt x="191" y="343"/>
                  </a:cubicBezTo>
                  <a:cubicBezTo>
                    <a:pt x="193" y="342"/>
                    <a:pt x="193" y="342"/>
                    <a:pt x="193" y="342"/>
                  </a:cubicBezTo>
                  <a:cubicBezTo>
                    <a:pt x="194" y="342"/>
                    <a:pt x="194" y="342"/>
                    <a:pt x="194" y="342"/>
                  </a:cubicBezTo>
                  <a:cubicBezTo>
                    <a:pt x="194" y="342"/>
                    <a:pt x="194" y="342"/>
                    <a:pt x="194" y="342"/>
                  </a:cubicBezTo>
                  <a:cubicBezTo>
                    <a:pt x="194" y="342"/>
                    <a:pt x="195" y="342"/>
                    <a:pt x="195" y="342"/>
                  </a:cubicBezTo>
                  <a:cubicBezTo>
                    <a:pt x="195" y="342"/>
                    <a:pt x="195" y="342"/>
                    <a:pt x="196" y="343"/>
                  </a:cubicBezTo>
                  <a:cubicBezTo>
                    <a:pt x="197" y="343"/>
                    <a:pt x="197" y="343"/>
                    <a:pt x="197" y="343"/>
                  </a:cubicBezTo>
                  <a:cubicBezTo>
                    <a:pt x="197" y="344"/>
                    <a:pt x="197" y="344"/>
                    <a:pt x="197" y="344"/>
                  </a:cubicBezTo>
                  <a:cubicBezTo>
                    <a:pt x="197" y="344"/>
                    <a:pt x="197" y="344"/>
                    <a:pt x="197" y="344"/>
                  </a:cubicBezTo>
                  <a:cubicBezTo>
                    <a:pt x="198" y="344"/>
                    <a:pt x="198" y="344"/>
                    <a:pt x="198" y="344"/>
                  </a:cubicBezTo>
                  <a:cubicBezTo>
                    <a:pt x="198" y="345"/>
                    <a:pt x="199" y="345"/>
                    <a:pt x="199" y="346"/>
                  </a:cubicBezTo>
                  <a:cubicBezTo>
                    <a:pt x="199" y="348"/>
                    <a:pt x="199" y="350"/>
                    <a:pt x="199" y="353"/>
                  </a:cubicBezTo>
                  <a:cubicBezTo>
                    <a:pt x="198" y="356"/>
                    <a:pt x="198" y="356"/>
                    <a:pt x="198" y="356"/>
                  </a:cubicBezTo>
                  <a:cubicBezTo>
                    <a:pt x="198" y="357"/>
                    <a:pt x="198" y="358"/>
                    <a:pt x="198" y="360"/>
                  </a:cubicBezTo>
                  <a:cubicBezTo>
                    <a:pt x="198" y="361"/>
                    <a:pt x="198" y="361"/>
                    <a:pt x="197" y="361"/>
                  </a:cubicBezTo>
                  <a:cubicBezTo>
                    <a:pt x="197" y="362"/>
                    <a:pt x="197" y="362"/>
                    <a:pt x="197" y="362"/>
                  </a:cubicBezTo>
                  <a:cubicBezTo>
                    <a:pt x="197" y="364"/>
                    <a:pt x="197" y="367"/>
                    <a:pt x="197" y="369"/>
                  </a:cubicBezTo>
                  <a:cubicBezTo>
                    <a:pt x="197" y="370"/>
                    <a:pt x="197" y="370"/>
                    <a:pt x="197" y="370"/>
                  </a:cubicBezTo>
                  <a:cubicBezTo>
                    <a:pt x="197" y="370"/>
                    <a:pt x="197" y="370"/>
                    <a:pt x="197" y="371"/>
                  </a:cubicBezTo>
                  <a:cubicBezTo>
                    <a:pt x="197" y="371"/>
                    <a:pt x="197" y="371"/>
                    <a:pt x="197" y="371"/>
                  </a:cubicBezTo>
                  <a:cubicBezTo>
                    <a:pt x="198" y="372"/>
                    <a:pt x="198" y="372"/>
                    <a:pt x="198" y="373"/>
                  </a:cubicBezTo>
                  <a:cubicBezTo>
                    <a:pt x="198" y="375"/>
                    <a:pt x="199" y="377"/>
                    <a:pt x="198" y="378"/>
                  </a:cubicBezTo>
                  <a:cubicBezTo>
                    <a:pt x="198" y="379"/>
                    <a:pt x="198" y="380"/>
                    <a:pt x="197" y="380"/>
                  </a:cubicBezTo>
                  <a:cubicBezTo>
                    <a:pt x="197" y="380"/>
                    <a:pt x="197" y="380"/>
                    <a:pt x="197" y="380"/>
                  </a:cubicBezTo>
                  <a:cubicBezTo>
                    <a:pt x="198" y="381"/>
                    <a:pt x="198" y="381"/>
                    <a:pt x="198" y="381"/>
                  </a:cubicBezTo>
                  <a:cubicBezTo>
                    <a:pt x="198" y="381"/>
                    <a:pt x="198" y="381"/>
                    <a:pt x="198" y="381"/>
                  </a:cubicBezTo>
                  <a:cubicBezTo>
                    <a:pt x="198" y="381"/>
                    <a:pt x="198" y="382"/>
                    <a:pt x="198" y="382"/>
                  </a:cubicBezTo>
                  <a:cubicBezTo>
                    <a:pt x="199" y="384"/>
                    <a:pt x="200" y="386"/>
                    <a:pt x="201" y="387"/>
                  </a:cubicBezTo>
                  <a:cubicBezTo>
                    <a:pt x="202" y="389"/>
                    <a:pt x="202" y="389"/>
                    <a:pt x="202" y="389"/>
                  </a:cubicBezTo>
                  <a:cubicBezTo>
                    <a:pt x="203" y="391"/>
                    <a:pt x="204" y="393"/>
                    <a:pt x="206" y="394"/>
                  </a:cubicBezTo>
                  <a:cubicBezTo>
                    <a:pt x="215" y="402"/>
                    <a:pt x="215" y="402"/>
                    <a:pt x="215" y="402"/>
                  </a:cubicBezTo>
                  <a:cubicBezTo>
                    <a:pt x="215" y="403"/>
                    <a:pt x="216" y="403"/>
                    <a:pt x="217" y="404"/>
                  </a:cubicBezTo>
                  <a:cubicBezTo>
                    <a:pt x="218" y="406"/>
                    <a:pt x="220" y="408"/>
                    <a:pt x="222" y="408"/>
                  </a:cubicBezTo>
                  <a:cubicBezTo>
                    <a:pt x="222" y="408"/>
                    <a:pt x="223" y="408"/>
                    <a:pt x="224" y="408"/>
                  </a:cubicBezTo>
                  <a:cubicBezTo>
                    <a:pt x="224" y="409"/>
                    <a:pt x="224" y="409"/>
                    <a:pt x="224" y="409"/>
                  </a:cubicBezTo>
                  <a:cubicBezTo>
                    <a:pt x="225" y="409"/>
                    <a:pt x="226" y="409"/>
                    <a:pt x="226" y="409"/>
                  </a:cubicBezTo>
                  <a:cubicBezTo>
                    <a:pt x="227" y="409"/>
                    <a:pt x="228" y="409"/>
                    <a:pt x="229" y="408"/>
                  </a:cubicBezTo>
                  <a:cubicBezTo>
                    <a:pt x="230" y="408"/>
                    <a:pt x="230" y="408"/>
                    <a:pt x="230" y="408"/>
                  </a:cubicBezTo>
                  <a:cubicBezTo>
                    <a:pt x="231" y="407"/>
                    <a:pt x="232" y="407"/>
                    <a:pt x="232" y="407"/>
                  </a:cubicBezTo>
                  <a:cubicBezTo>
                    <a:pt x="233" y="408"/>
                    <a:pt x="233" y="408"/>
                    <a:pt x="233" y="408"/>
                  </a:cubicBezTo>
                  <a:cubicBezTo>
                    <a:pt x="233" y="407"/>
                    <a:pt x="233" y="407"/>
                    <a:pt x="233" y="407"/>
                  </a:cubicBezTo>
                  <a:cubicBezTo>
                    <a:pt x="233" y="407"/>
                    <a:pt x="233" y="407"/>
                    <a:pt x="233" y="407"/>
                  </a:cubicBezTo>
                  <a:cubicBezTo>
                    <a:pt x="233" y="407"/>
                    <a:pt x="234" y="407"/>
                    <a:pt x="235" y="408"/>
                  </a:cubicBezTo>
                  <a:cubicBezTo>
                    <a:pt x="235" y="408"/>
                    <a:pt x="235" y="408"/>
                    <a:pt x="235" y="408"/>
                  </a:cubicBezTo>
                  <a:cubicBezTo>
                    <a:pt x="236" y="408"/>
                    <a:pt x="236" y="408"/>
                    <a:pt x="236" y="408"/>
                  </a:cubicBezTo>
                  <a:cubicBezTo>
                    <a:pt x="237" y="408"/>
                    <a:pt x="237" y="408"/>
                    <a:pt x="237" y="408"/>
                  </a:cubicBezTo>
                  <a:cubicBezTo>
                    <a:pt x="237" y="408"/>
                    <a:pt x="238" y="408"/>
                    <a:pt x="239" y="409"/>
                  </a:cubicBezTo>
                  <a:cubicBezTo>
                    <a:pt x="241" y="409"/>
                    <a:pt x="242" y="410"/>
                    <a:pt x="244" y="411"/>
                  </a:cubicBezTo>
                  <a:cubicBezTo>
                    <a:pt x="244" y="411"/>
                    <a:pt x="244" y="411"/>
                    <a:pt x="244" y="411"/>
                  </a:cubicBezTo>
                  <a:cubicBezTo>
                    <a:pt x="245" y="411"/>
                    <a:pt x="245" y="411"/>
                    <a:pt x="245" y="411"/>
                  </a:cubicBezTo>
                  <a:cubicBezTo>
                    <a:pt x="247" y="411"/>
                    <a:pt x="248" y="411"/>
                    <a:pt x="249" y="412"/>
                  </a:cubicBezTo>
                  <a:cubicBezTo>
                    <a:pt x="250" y="413"/>
                    <a:pt x="251" y="414"/>
                    <a:pt x="252" y="415"/>
                  </a:cubicBezTo>
                  <a:cubicBezTo>
                    <a:pt x="252" y="416"/>
                    <a:pt x="252" y="416"/>
                    <a:pt x="252" y="416"/>
                  </a:cubicBezTo>
                  <a:cubicBezTo>
                    <a:pt x="253" y="417"/>
                    <a:pt x="253" y="417"/>
                    <a:pt x="253" y="417"/>
                  </a:cubicBezTo>
                  <a:cubicBezTo>
                    <a:pt x="253" y="417"/>
                    <a:pt x="254" y="418"/>
                    <a:pt x="254" y="418"/>
                  </a:cubicBezTo>
                  <a:cubicBezTo>
                    <a:pt x="255" y="418"/>
                    <a:pt x="255" y="418"/>
                    <a:pt x="255" y="418"/>
                  </a:cubicBezTo>
                  <a:cubicBezTo>
                    <a:pt x="255" y="419"/>
                    <a:pt x="256" y="419"/>
                    <a:pt x="256" y="420"/>
                  </a:cubicBezTo>
                  <a:cubicBezTo>
                    <a:pt x="258" y="421"/>
                    <a:pt x="260" y="421"/>
                    <a:pt x="263" y="421"/>
                  </a:cubicBezTo>
                  <a:cubicBezTo>
                    <a:pt x="263" y="421"/>
                    <a:pt x="263" y="421"/>
                    <a:pt x="263" y="421"/>
                  </a:cubicBezTo>
                  <a:cubicBezTo>
                    <a:pt x="265" y="422"/>
                    <a:pt x="267" y="422"/>
                    <a:pt x="269" y="423"/>
                  </a:cubicBezTo>
                  <a:cubicBezTo>
                    <a:pt x="272" y="424"/>
                    <a:pt x="273" y="425"/>
                    <a:pt x="274" y="427"/>
                  </a:cubicBezTo>
                  <a:cubicBezTo>
                    <a:pt x="275" y="428"/>
                    <a:pt x="275" y="429"/>
                    <a:pt x="276" y="429"/>
                  </a:cubicBezTo>
                  <a:cubicBezTo>
                    <a:pt x="277" y="430"/>
                    <a:pt x="277" y="431"/>
                    <a:pt x="278" y="431"/>
                  </a:cubicBezTo>
                  <a:cubicBezTo>
                    <a:pt x="278" y="432"/>
                    <a:pt x="278" y="432"/>
                    <a:pt x="278" y="432"/>
                  </a:cubicBezTo>
                  <a:cubicBezTo>
                    <a:pt x="279" y="432"/>
                    <a:pt x="279" y="432"/>
                    <a:pt x="279" y="432"/>
                  </a:cubicBezTo>
                  <a:cubicBezTo>
                    <a:pt x="279" y="432"/>
                    <a:pt x="279" y="432"/>
                    <a:pt x="279" y="432"/>
                  </a:cubicBezTo>
                  <a:cubicBezTo>
                    <a:pt x="280" y="432"/>
                    <a:pt x="280" y="432"/>
                    <a:pt x="280" y="432"/>
                  </a:cubicBezTo>
                  <a:cubicBezTo>
                    <a:pt x="281" y="432"/>
                    <a:pt x="281" y="432"/>
                    <a:pt x="281" y="432"/>
                  </a:cubicBezTo>
                  <a:cubicBezTo>
                    <a:pt x="282" y="432"/>
                    <a:pt x="283" y="432"/>
                    <a:pt x="284" y="432"/>
                  </a:cubicBezTo>
                  <a:cubicBezTo>
                    <a:pt x="285" y="431"/>
                    <a:pt x="285" y="431"/>
                    <a:pt x="285" y="431"/>
                  </a:cubicBezTo>
                  <a:cubicBezTo>
                    <a:pt x="285" y="431"/>
                    <a:pt x="285" y="431"/>
                    <a:pt x="285" y="431"/>
                  </a:cubicBezTo>
                  <a:cubicBezTo>
                    <a:pt x="288" y="431"/>
                    <a:pt x="290" y="431"/>
                    <a:pt x="292" y="431"/>
                  </a:cubicBezTo>
                  <a:cubicBezTo>
                    <a:pt x="294" y="431"/>
                    <a:pt x="295" y="431"/>
                    <a:pt x="297" y="432"/>
                  </a:cubicBezTo>
                  <a:cubicBezTo>
                    <a:pt x="297" y="432"/>
                    <a:pt x="298" y="432"/>
                    <a:pt x="298" y="433"/>
                  </a:cubicBezTo>
                  <a:cubicBezTo>
                    <a:pt x="299" y="433"/>
                    <a:pt x="299" y="433"/>
                    <a:pt x="299" y="433"/>
                  </a:cubicBezTo>
                  <a:cubicBezTo>
                    <a:pt x="300" y="434"/>
                    <a:pt x="300" y="434"/>
                    <a:pt x="300" y="434"/>
                  </a:cubicBezTo>
                  <a:cubicBezTo>
                    <a:pt x="300" y="434"/>
                    <a:pt x="301" y="434"/>
                    <a:pt x="301" y="434"/>
                  </a:cubicBezTo>
                  <a:cubicBezTo>
                    <a:pt x="303" y="436"/>
                    <a:pt x="305" y="437"/>
                    <a:pt x="306" y="438"/>
                  </a:cubicBezTo>
                  <a:cubicBezTo>
                    <a:pt x="310" y="441"/>
                    <a:pt x="310" y="441"/>
                    <a:pt x="310" y="441"/>
                  </a:cubicBezTo>
                  <a:cubicBezTo>
                    <a:pt x="311" y="442"/>
                    <a:pt x="311" y="442"/>
                    <a:pt x="312" y="443"/>
                  </a:cubicBezTo>
                  <a:cubicBezTo>
                    <a:pt x="313" y="444"/>
                    <a:pt x="313" y="446"/>
                    <a:pt x="313" y="447"/>
                  </a:cubicBezTo>
                  <a:cubicBezTo>
                    <a:pt x="313" y="448"/>
                    <a:pt x="313" y="448"/>
                    <a:pt x="313" y="448"/>
                  </a:cubicBezTo>
                  <a:cubicBezTo>
                    <a:pt x="313" y="448"/>
                    <a:pt x="313" y="448"/>
                    <a:pt x="313" y="448"/>
                  </a:cubicBezTo>
                  <a:cubicBezTo>
                    <a:pt x="313" y="449"/>
                    <a:pt x="313" y="449"/>
                    <a:pt x="313" y="449"/>
                  </a:cubicBezTo>
                  <a:cubicBezTo>
                    <a:pt x="313" y="452"/>
                    <a:pt x="314" y="454"/>
                    <a:pt x="315" y="457"/>
                  </a:cubicBezTo>
                  <a:cubicBezTo>
                    <a:pt x="315" y="460"/>
                    <a:pt x="316" y="464"/>
                    <a:pt x="316" y="467"/>
                  </a:cubicBezTo>
                  <a:cubicBezTo>
                    <a:pt x="317" y="468"/>
                    <a:pt x="317" y="468"/>
                    <a:pt x="317" y="468"/>
                  </a:cubicBezTo>
                  <a:cubicBezTo>
                    <a:pt x="317" y="469"/>
                    <a:pt x="317" y="469"/>
                    <a:pt x="317" y="469"/>
                  </a:cubicBezTo>
                  <a:cubicBezTo>
                    <a:pt x="317" y="470"/>
                    <a:pt x="317" y="470"/>
                    <a:pt x="317" y="470"/>
                  </a:cubicBezTo>
                  <a:cubicBezTo>
                    <a:pt x="317" y="470"/>
                    <a:pt x="317" y="470"/>
                    <a:pt x="317" y="470"/>
                  </a:cubicBezTo>
                  <a:cubicBezTo>
                    <a:pt x="317" y="470"/>
                    <a:pt x="317" y="470"/>
                    <a:pt x="317" y="470"/>
                  </a:cubicBezTo>
                  <a:cubicBezTo>
                    <a:pt x="316" y="471"/>
                    <a:pt x="316" y="471"/>
                    <a:pt x="316" y="471"/>
                  </a:cubicBezTo>
                  <a:cubicBezTo>
                    <a:pt x="316" y="472"/>
                    <a:pt x="316" y="472"/>
                    <a:pt x="315" y="473"/>
                  </a:cubicBezTo>
                  <a:cubicBezTo>
                    <a:pt x="315" y="473"/>
                    <a:pt x="315" y="473"/>
                    <a:pt x="315" y="473"/>
                  </a:cubicBezTo>
                  <a:cubicBezTo>
                    <a:pt x="314" y="474"/>
                    <a:pt x="314" y="474"/>
                    <a:pt x="314" y="474"/>
                  </a:cubicBezTo>
                  <a:cubicBezTo>
                    <a:pt x="314" y="474"/>
                    <a:pt x="314" y="474"/>
                    <a:pt x="314" y="474"/>
                  </a:cubicBezTo>
                  <a:cubicBezTo>
                    <a:pt x="313" y="474"/>
                    <a:pt x="313" y="475"/>
                    <a:pt x="313" y="475"/>
                  </a:cubicBezTo>
                  <a:cubicBezTo>
                    <a:pt x="315" y="477"/>
                    <a:pt x="315" y="477"/>
                    <a:pt x="315" y="477"/>
                  </a:cubicBezTo>
                  <a:cubicBezTo>
                    <a:pt x="318" y="481"/>
                    <a:pt x="318" y="486"/>
                    <a:pt x="318" y="491"/>
                  </a:cubicBezTo>
                  <a:cubicBezTo>
                    <a:pt x="318" y="492"/>
                    <a:pt x="318" y="493"/>
                    <a:pt x="319" y="494"/>
                  </a:cubicBezTo>
                  <a:cubicBezTo>
                    <a:pt x="319" y="495"/>
                    <a:pt x="319" y="495"/>
                    <a:pt x="319" y="496"/>
                  </a:cubicBezTo>
                  <a:cubicBezTo>
                    <a:pt x="319" y="497"/>
                    <a:pt x="319" y="497"/>
                    <a:pt x="319" y="497"/>
                  </a:cubicBezTo>
                  <a:cubicBezTo>
                    <a:pt x="319" y="497"/>
                    <a:pt x="319" y="497"/>
                    <a:pt x="319" y="497"/>
                  </a:cubicBezTo>
                  <a:cubicBezTo>
                    <a:pt x="320" y="497"/>
                    <a:pt x="321" y="497"/>
                    <a:pt x="321" y="497"/>
                  </a:cubicBezTo>
                  <a:cubicBezTo>
                    <a:pt x="329" y="497"/>
                    <a:pt x="329" y="497"/>
                    <a:pt x="329" y="497"/>
                  </a:cubicBezTo>
                  <a:cubicBezTo>
                    <a:pt x="331" y="498"/>
                    <a:pt x="333" y="498"/>
                    <a:pt x="335" y="498"/>
                  </a:cubicBezTo>
                  <a:cubicBezTo>
                    <a:pt x="337" y="498"/>
                    <a:pt x="339" y="498"/>
                    <a:pt x="342" y="498"/>
                  </a:cubicBezTo>
                  <a:cubicBezTo>
                    <a:pt x="359" y="497"/>
                    <a:pt x="359" y="497"/>
                    <a:pt x="359" y="497"/>
                  </a:cubicBezTo>
                  <a:cubicBezTo>
                    <a:pt x="359" y="498"/>
                    <a:pt x="359" y="498"/>
                    <a:pt x="359" y="498"/>
                  </a:cubicBezTo>
                  <a:cubicBezTo>
                    <a:pt x="360" y="498"/>
                    <a:pt x="360" y="498"/>
                    <a:pt x="361" y="498"/>
                  </a:cubicBezTo>
                  <a:cubicBezTo>
                    <a:pt x="361" y="499"/>
                    <a:pt x="361" y="499"/>
                    <a:pt x="361" y="499"/>
                  </a:cubicBezTo>
                  <a:cubicBezTo>
                    <a:pt x="362" y="501"/>
                    <a:pt x="362" y="501"/>
                    <a:pt x="362" y="501"/>
                  </a:cubicBezTo>
                  <a:cubicBezTo>
                    <a:pt x="361" y="501"/>
                    <a:pt x="361" y="501"/>
                    <a:pt x="361" y="501"/>
                  </a:cubicBezTo>
                  <a:cubicBezTo>
                    <a:pt x="362" y="502"/>
                    <a:pt x="362" y="503"/>
                    <a:pt x="361" y="504"/>
                  </a:cubicBezTo>
                  <a:cubicBezTo>
                    <a:pt x="361" y="505"/>
                    <a:pt x="360" y="506"/>
                    <a:pt x="360" y="507"/>
                  </a:cubicBezTo>
                  <a:cubicBezTo>
                    <a:pt x="359" y="508"/>
                    <a:pt x="359" y="508"/>
                    <a:pt x="359" y="508"/>
                  </a:cubicBezTo>
                  <a:cubicBezTo>
                    <a:pt x="359" y="508"/>
                    <a:pt x="359" y="508"/>
                    <a:pt x="359" y="508"/>
                  </a:cubicBezTo>
                  <a:cubicBezTo>
                    <a:pt x="358" y="511"/>
                    <a:pt x="358" y="512"/>
                    <a:pt x="359" y="515"/>
                  </a:cubicBezTo>
                  <a:cubicBezTo>
                    <a:pt x="359" y="520"/>
                    <a:pt x="360" y="522"/>
                    <a:pt x="364" y="524"/>
                  </a:cubicBezTo>
                  <a:cubicBezTo>
                    <a:pt x="365" y="526"/>
                    <a:pt x="367" y="526"/>
                    <a:pt x="369" y="527"/>
                  </a:cubicBezTo>
                  <a:cubicBezTo>
                    <a:pt x="373" y="528"/>
                    <a:pt x="374" y="531"/>
                    <a:pt x="375" y="534"/>
                  </a:cubicBezTo>
                  <a:cubicBezTo>
                    <a:pt x="376" y="535"/>
                    <a:pt x="376" y="536"/>
                    <a:pt x="376" y="537"/>
                  </a:cubicBezTo>
                  <a:cubicBezTo>
                    <a:pt x="377" y="538"/>
                    <a:pt x="377" y="539"/>
                    <a:pt x="377" y="540"/>
                  </a:cubicBezTo>
                  <a:cubicBezTo>
                    <a:pt x="378" y="541"/>
                    <a:pt x="378" y="541"/>
                    <a:pt x="378" y="541"/>
                  </a:cubicBezTo>
                  <a:cubicBezTo>
                    <a:pt x="378" y="541"/>
                    <a:pt x="378" y="541"/>
                    <a:pt x="378" y="541"/>
                  </a:cubicBezTo>
                  <a:cubicBezTo>
                    <a:pt x="379" y="543"/>
                    <a:pt x="380" y="544"/>
                    <a:pt x="381" y="546"/>
                  </a:cubicBezTo>
                  <a:cubicBezTo>
                    <a:pt x="382" y="551"/>
                    <a:pt x="382" y="551"/>
                    <a:pt x="382" y="551"/>
                  </a:cubicBezTo>
                  <a:cubicBezTo>
                    <a:pt x="379" y="550"/>
                    <a:pt x="379" y="550"/>
                    <a:pt x="379" y="550"/>
                  </a:cubicBezTo>
                  <a:cubicBezTo>
                    <a:pt x="378" y="552"/>
                    <a:pt x="378" y="554"/>
                    <a:pt x="377" y="556"/>
                  </a:cubicBezTo>
                  <a:cubicBezTo>
                    <a:pt x="377" y="557"/>
                    <a:pt x="377" y="557"/>
                    <a:pt x="377" y="557"/>
                  </a:cubicBezTo>
                  <a:cubicBezTo>
                    <a:pt x="377" y="558"/>
                    <a:pt x="377" y="559"/>
                    <a:pt x="377" y="560"/>
                  </a:cubicBezTo>
                  <a:cubicBezTo>
                    <a:pt x="376" y="560"/>
                    <a:pt x="376" y="560"/>
                    <a:pt x="376" y="560"/>
                  </a:cubicBezTo>
                  <a:cubicBezTo>
                    <a:pt x="376" y="561"/>
                    <a:pt x="376" y="561"/>
                    <a:pt x="376" y="562"/>
                  </a:cubicBezTo>
                  <a:cubicBezTo>
                    <a:pt x="376" y="563"/>
                    <a:pt x="375" y="564"/>
                    <a:pt x="375" y="565"/>
                  </a:cubicBezTo>
                  <a:cubicBezTo>
                    <a:pt x="374" y="567"/>
                    <a:pt x="374" y="568"/>
                    <a:pt x="373" y="570"/>
                  </a:cubicBezTo>
                  <a:cubicBezTo>
                    <a:pt x="371" y="573"/>
                    <a:pt x="371" y="573"/>
                    <a:pt x="371" y="573"/>
                  </a:cubicBezTo>
                  <a:cubicBezTo>
                    <a:pt x="371" y="574"/>
                    <a:pt x="370" y="575"/>
                    <a:pt x="370" y="576"/>
                  </a:cubicBezTo>
                  <a:cubicBezTo>
                    <a:pt x="369" y="578"/>
                    <a:pt x="369" y="578"/>
                    <a:pt x="369" y="578"/>
                  </a:cubicBezTo>
                  <a:cubicBezTo>
                    <a:pt x="369" y="579"/>
                    <a:pt x="368" y="580"/>
                    <a:pt x="368" y="582"/>
                  </a:cubicBezTo>
                  <a:cubicBezTo>
                    <a:pt x="373" y="583"/>
                    <a:pt x="373" y="583"/>
                    <a:pt x="373" y="583"/>
                  </a:cubicBezTo>
                  <a:cubicBezTo>
                    <a:pt x="367" y="583"/>
                    <a:pt x="367" y="583"/>
                    <a:pt x="367" y="583"/>
                  </a:cubicBezTo>
                  <a:cubicBezTo>
                    <a:pt x="368" y="584"/>
                    <a:pt x="368" y="584"/>
                    <a:pt x="368" y="584"/>
                  </a:cubicBezTo>
                  <a:cubicBezTo>
                    <a:pt x="369" y="584"/>
                    <a:pt x="369" y="584"/>
                    <a:pt x="369" y="584"/>
                  </a:cubicBezTo>
                  <a:cubicBezTo>
                    <a:pt x="371" y="586"/>
                    <a:pt x="372" y="588"/>
                    <a:pt x="372" y="590"/>
                  </a:cubicBezTo>
                  <a:cubicBezTo>
                    <a:pt x="372" y="592"/>
                    <a:pt x="370" y="592"/>
                    <a:pt x="369" y="593"/>
                  </a:cubicBezTo>
                  <a:cubicBezTo>
                    <a:pt x="368" y="593"/>
                    <a:pt x="368" y="593"/>
                    <a:pt x="368" y="593"/>
                  </a:cubicBezTo>
                  <a:cubicBezTo>
                    <a:pt x="367" y="593"/>
                    <a:pt x="367" y="593"/>
                    <a:pt x="367" y="593"/>
                  </a:cubicBezTo>
                  <a:cubicBezTo>
                    <a:pt x="367" y="594"/>
                    <a:pt x="366" y="594"/>
                    <a:pt x="365" y="595"/>
                  </a:cubicBezTo>
                  <a:cubicBezTo>
                    <a:pt x="365" y="595"/>
                    <a:pt x="365" y="595"/>
                    <a:pt x="365" y="595"/>
                  </a:cubicBezTo>
                  <a:cubicBezTo>
                    <a:pt x="351" y="610"/>
                    <a:pt x="351" y="610"/>
                    <a:pt x="351" y="610"/>
                  </a:cubicBezTo>
                  <a:cubicBezTo>
                    <a:pt x="360" y="593"/>
                    <a:pt x="360" y="593"/>
                    <a:pt x="360" y="593"/>
                  </a:cubicBezTo>
                  <a:cubicBezTo>
                    <a:pt x="360" y="592"/>
                    <a:pt x="360" y="592"/>
                    <a:pt x="360" y="592"/>
                  </a:cubicBezTo>
                  <a:cubicBezTo>
                    <a:pt x="360" y="590"/>
                    <a:pt x="360" y="590"/>
                    <a:pt x="360" y="588"/>
                  </a:cubicBezTo>
                  <a:cubicBezTo>
                    <a:pt x="360" y="588"/>
                    <a:pt x="360" y="588"/>
                    <a:pt x="360" y="588"/>
                  </a:cubicBezTo>
                  <a:cubicBezTo>
                    <a:pt x="360" y="587"/>
                    <a:pt x="360" y="587"/>
                    <a:pt x="360" y="587"/>
                  </a:cubicBezTo>
                  <a:cubicBezTo>
                    <a:pt x="360" y="587"/>
                    <a:pt x="360" y="587"/>
                    <a:pt x="360" y="587"/>
                  </a:cubicBezTo>
                  <a:cubicBezTo>
                    <a:pt x="341" y="575"/>
                    <a:pt x="341" y="575"/>
                    <a:pt x="341" y="575"/>
                  </a:cubicBezTo>
                  <a:cubicBezTo>
                    <a:pt x="340" y="575"/>
                    <a:pt x="338" y="575"/>
                    <a:pt x="337" y="575"/>
                  </a:cubicBezTo>
                  <a:cubicBezTo>
                    <a:pt x="334" y="575"/>
                    <a:pt x="334" y="575"/>
                    <a:pt x="334" y="575"/>
                  </a:cubicBezTo>
                  <a:cubicBezTo>
                    <a:pt x="334" y="575"/>
                    <a:pt x="333" y="575"/>
                    <a:pt x="333" y="575"/>
                  </a:cubicBezTo>
                  <a:cubicBezTo>
                    <a:pt x="331" y="575"/>
                    <a:pt x="329" y="575"/>
                    <a:pt x="327" y="575"/>
                  </a:cubicBezTo>
                  <a:cubicBezTo>
                    <a:pt x="326" y="575"/>
                    <a:pt x="326" y="575"/>
                    <a:pt x="326" y="575"/>
                  </a:cubicBezTo>
                  <a:cubicBezTo>
                    <a:pt x="323" y="575"/>
                    <a:pt x="319" y="576"/>
                    <a:pt x="315" y="577"/>
                  </a:cubicBezTo>
                  <a:cubicBezTo>
                    <a:pt x="313" y="577"/>
                    <a:pt x="313" y="577"/>
                    <a:pt x="313" y="577"/>
                  </a:cubicBezTo>
                  <a:cubicBezTo>
                    <a:pt x="310" y="578"/>
                    <a:pt x="307" y="579"/>
                    <a:pt x="304" y="579"/>
                  </a:cubicBezTo>
                  <a:cubicBezTo>
                    <a:pt x="300" y="580"/>
                    <a:pt x="295" y="581"/>
                    <a:pt x="291" y="582"/>
                  </a:cubicBezTo>
                  <a:cubicBezTo>
                    <a:pt x="283" y="583"/>
                    <a:pt x="283" y="583"/>
                    <a:pt x="283" y="583"/>
                  </a:cubicBezTo>
                  <a:cubicBezTo>
                    <a:pt x="282" y="583"/>
                    <a:pt x="281" y="584"/>
                    <a:pt x="281" y="585"/>
                  </a:cubicBezTo>
                  <a:cubicBezTo>
                    <a:pt x="280" y="587"/>
                    <a:pt x="280" y="587"/>
                    <a:pt x="280" y="587"/>
                  </a:cubicBezTo>
                  <a:cubicBezTo>
                    <a:pt x="280" y="589"/>
                    <a:pt x="279" y="592"/>
                    <a:pt x="277" y="594"/>
                  </a:cubicBezTo>
                  <a:cubicBezTo>
                    <a:pt x="277" y="595"/>
                    <a:pt x="276" y="595"/>
                    <a:pt x="275" y="596"/>
                  </a:cubicBezTo>
                  <a:cubicBezTo>
                    <a:pt x="275" y="597"/>
                    <a:pt x="274" y="599"/>
                    <a:pt x="272" y="601"/>
                  </a:cubicBezTo>
                  <a:cubicBezTo>
                    <a:pt x="272" y="601"/>
                    <a:pt x="272" y="602"/>
                    <a:pt x="271" y="603"/>
                  </a:cubicBezTo>
                  <a:cubicBezTo>
                    <a:pt x="271" y="604"/>
                    <a:pt x="271" y="605"/>
                    <a:pt x="271" y="606"/>
                  </a:cubicBezTo>
                  <a:cubicBezTo>
                    <a:pt x="271" y="610"/>
                    <a:pt x="271" y="610"/>
                    <a:pt x="271" y="610"/>
                  </a:cubicBezTo>
                  <a:cubicBezTo>
                    <a:pt x="270" y="611"/>
                    <a:pt x="270" y="612"/>
                    <a:pt x="270" y="614"/>
                  </a:cubicBezTo>
                  <a:cubicBezTo>
                    <a:pt x="270" y="617"/>
                    <a:pt x="269" y="620"/>
                    <a:pt x="267" y="624"/>
                  </a:cubicBezTo>
                  <a:cubicBezTo>
                    <a:pt x="267" y="625"/>
                    <a:pt x="267" y="625"/>
                    <a:pt x="267" y="625"/>
                  </a:cubicBezTo>
                  <a:cubicBezTo>
                    <a:pt x="267" y="626"/>
                    <a:pt x="266" y="627"/>
                    <a:pt x="266" y="628"/>
                  </a:cubicBezTo>
                  <a:cubicBezTo>
                    <a:pt x="265" y="633"/>
                    <a:pt x="265" y="633"/>
                    <a:pt x="265" y="633"/>
                  </a:cubicBezTo>
                  <a:cubicBezTo>
                    <a:pt x="264" y="634"/>
                    <a:pt x="263" y="637"/>
                    <a:pt x="263" y="639"/>
                  </a:cubicBezTo>
                  <a:cubicBezTo>
                    <a:pt x="262" y="640"/>
                    <a:pt x="262" y="641"/>
                    <a:pt x="262" y="642"/>
                  </a:cubicBezTo>
                  <a:cubicBezTo>
                    <a:pt x="262" y="643"/>
                    <a:pt x="262" y="643"/>
                    <a:pt x="262" y="643"/>
                  </a:cubicBezTo>
                  <a:cubicBezTo>
                    <a:pt x="262" y="643"/>
                    <a:pt x="263" y="644"/>
                    <a:pt x="266" y="646"/>
                  </a:cubicBezTo>
                  <a:cubicBezTo>
                    <a:pt x="266" y="646"/>
                    <a:pt x="267" y="647"/>
                    <a:pt x="267" y="647"/>
                  </a:cubicBezTo>
                  <a:cubicBezTo>
                    <a:pt x="268" y="648"/>
                    <a:pt x="268" y="648"/>
                    <a:pt x="269" y="649"/>
                  </a:cubicBezTo>
                  <a:cubicBezTo>
                    <a:pt x="270" y="650"/>
                    <a:pt x="271" y="651"/>
                    <a:pt x="272" y="653"/>
                  </a:cubicBezTo>
                  <a:cubicBezTo>
                    <a:pt x="272" y="653"/>
                    <a:pt x="272" y="653"/>
                    <a:pt x="272" y="653"/>
                  </a:cubicBezTo>
                  <a:cubicBezTo>
                    <a:pt x="272" y="654"/>
                    <a:pt x="272" y="654"/>
                    <a:pt x="272" y="654"/>
                  </a:cubicBezTo>
                  <a:cubicBezTo>
                    <a:pt x="275" y="652"/>
                    <a:pt x="275" y="652"/>
                    <a:pt x="275" y="652"/>
                  </a:cubicBezTo>
                  <a:cubicBezTo>
                    <a:pt x="273" y="655"/>
                    <a:pt x="273" y="655"/>
                    <a:pt x="273" y="655"/>
                  </a:cubicBezTo>
                  <a:cubicBezTo>
                    <a:pt x="274" y="656"/>
                    <a:pt x="274" y="656"/>
                    <a:pt x="274" y="656"/>
                  </a:cubicBezTo>
                  <a:cubicBezTo>
                    <a:pt x="274" y="656"/>
                    <a:pt x="274" y="657"/>
                    <a:pt x="275" y="657"/>
                  </a:cubicBezTo>
                  <a:cubicBezTo>
                    <a:pt x="276" y="659"/>
                    <a:pt x="276" y="659"/>
                    <a:pt x="276" y="659"/>
                  </a:cubicBezTo>
                  <a:cubicBezTo>
                    <a:pt x="277" y="659"/>
                    <a:pt x="277" y="660"/>
                    <a:pt x="278" y="661"/>
                  </a:cubicBezTo>
                  <a:cubicBezTo>
                    <a:pt x="281" y="664"/>
                    <a:pt x="281" y="664"/>
                    <a:pt x="281" y="664"/>
                  </a:cubicBezTo>
                  <a:cubicBezTo>
                    <a:pt x="281" y="665"/>
                    <a:pt x="282" y="665"/>
                    <a:pt x="282" y="666"/>
                  </a:cubicBezTo>
                  <a:cubicBezTo>
                    <a:pt x="284" y="667"/>
                    <a:pt x="284" y="667"/>
                    <a:pt x="284" y="667"/>
                  </a:cubicBezTo>
                  <a:cubicBezTo>
                    <a:pt x="285" y="668"/>
                    <a:pt x="285" y="668"/>
                    <a:pt x="285" y="668"/>
                  </a:cubicBezTo>
                  <a:cubicBezTo>
                    <a:pt x="287" y="669"/>
                    <a:pt x="288" y="671"/>
                    <a:pt x="289" y="672"/>
                  </a:cubicBezTo>
                  <a:cubicBezTo>
                    <a:pt x="290" y="672"/>
                    <a:pt x="290" y="672"/>
                    <a:pt x="290" y="672"/>
                  </a:cubicBezTo>
                  <a:cubicBezTo>
                    <a:pt x="291" y="674"/>
                    <a:pt x="292" y="675"/>
                    <a:pt x="294" y="676"/>
                  </a:cubicBezTo>
                  <a:cubicBezTo>
                    <a:pt x="297" y="678"/>
                    <a:pt x="299" y="680"/>
                    <a:pt x="302" y="681"/>
                  </a:cubicBezTo>
                  <a:cubicBezTo>
                    <a:pt x="302" y="681"/>
                    <a:pt x="302" y="681"/>
                    <a:pt x="302" y="681"/>
                  </a:cubicBezTo>
                  <a:cubicBezTo>
                    <a:pt x="303" y="681"/>
                    <a:pt x="303" y="681"/>
                    <a:pt x="303" y="681"/>
                  </a:cubicBezTo>
                  <a:cubicBezTo>
                    <a:pt x="303" y="681"/>
                    <a:pt x="303" y="681"/>
                    <a:pt x="303" y="681"/>
                  </a:cubicBezTo>
                  <a:cubicBezTo>
                    <a:pt x="305" y="682"/>
                    <a:pt x="308" y="682"/>
                    <a:pt x="310" y="682"/>
                  </a:cubicBezTo>
                  <a:cubicBezTo>
                    <a:pt x="311" y="682"/>
                    <a:pt x="312" y="683"/>
                    <a:pt x="313" y="683"/>
                  </a:cubicBezTo>
                  <a:cubicBezTo>
                    <a:pt x="316" y="683"/>
                    <a:pt x="318" y="684"/>
                    <a:pt x="321" y="685"/>
                  </a:cubicBezTo>
                  <a:cubicBezTo>
                    <a:pt x="324" y="686"/>
                    <a:pt x="326" y="688"/>
                    <a:pt x="329" y="690"/>
                  </a:cubicBezTo>
                  <a:cubicBezTo>
                    <a:pt x="331" y="691"/>
                    <a:pt x="331" y="691"/>
                    <a:pt x="331" y="691"/>
                  </a:cubicBezTo>
                  <a:cubicBezTo>
                    <a:pt x="333" y="693"/>
                    <a:pt x="334" y="694"/>
                    <a:pt x="336" y="695"/>
                  </a:cubicBezTo>
                  <a:cubicBezTo>
                    <a:pt x="344" y="700"/>
                    <a:pt x="353" y="705"/>
                    <a:pt x="361" y="709"/>
                  </a:cubicBezTo>
                  <a:cubicBezTo>
                    <a:pt x="365" y="711"/>
                    <a:pt x="370" y="713"/>
                    <a:pt x="374" y="715"/>
                  </a:cubicBezTo>
                  <a:cubicBezTo>
                    <a:pt x="376" y="716"/>
                    <a:pt x="377" y="718"/>
                    <a:pt x="378" y="721"/>
                  </a:cubicBezTo>
                  <a:cubicBezTo>
                    <a:pt x="379" y="723"/>
                    <a:pt x="378" y="726"/>
                    <a:pt x="377" y="728"/>
                  </a:cubicBezTo>
                  <a:cubicBezTo>
                    <a:pt x="376" y="731"/>
                    <a:pt x="374" y="733"/>
                    <a:pt x="372" y="736"/>
                  </a:cubicBezTo>
                  <a:cubicBezTo>
                    <a:pt x="371" y="738"/>
                    <a:pt x="369" y="739"/>
                    <a:pt x="368" y="741"/>
                  </a:cubicBezTo>
                  <a:cubicBezTo>
                    <a:pt x="365" y="746"/>
                    <a:pt x="363" y="751"/>
                    <a:pt x="361" y="757"/>
                  </a:cubicBezTo>
                  <a:cubicBezTo>
                    <a:pt x="361" y="759"/>
                    <a:pt x="361" y="759"/>
                    <a:pt x="361" y="759"/>
                  </a:cubicBezTo>
                  <a:cubicBezTo>
                    <a:pt x="360" y="761"/>
                    <a:pt x="358" y="763"/>
                    <a:pt x="356" y="764"/>
                  </a:cubicBezTo>
                  <a:cubicBezTo>
                    <a:pt x="355" y="765"/>
                    <a:pt x="355" y="765"/>
                    <a:pt x="354" y="766"/>
                  </a:cubicBezTo>
                  <a:cubicBezTo>
                    <a:pt x="354" y="766"/>
                    <a:pt x="354" y="766"/>
                    <a:pt x="354" y="766"/>
                  </a:cubicBezTo>
                  <a:cubicBezTo>
                    <a:pt x="358" y="765"/>
                    <a:pt x="360" y="765"/>
                    <a:pt x="363" y="765"/>
                  </a:cubicBezTo>
                  <a:cubicBezTo>
                    <a:pt x="366" y="765"/>
                    <a:pt x="369" y="766"/>
                    <a:pt x="372" y="766"/>
                  </a:cubicBezTo>
                  <a:cubicBezTo>
                    <a:pt x="372" y="766"/>
                    <a:pt x="372" y="766"/>
                    <a:pt x="372" y="766"/>
                  </a:cubicBezTo>
                  <a:cubicBezTo>
                    <a:pt x="374" y="766"/>
                    <a:pt x="376" y="767"/>
                    <a:pt x="378" y="768"/>
                  </a:cubicBezTo>
                  <a:cubicBezTo>
                    <a:pt x="380" y="768"/>
                    <a:pt x="382" y="769"/>
                    <a:pt x="385" y="769"/>
                  </a:cubicBezTo>
                  <a:cubicBezTo>
                    <a:pt x="386" y="769"/>
                    <a:pt x="386" y="769"/>
                    <a:pt x="387" y="769"/>
                  </a:cubicBezTo>
                  <a:cubicBezTo>
                    <a:pt x="389" y="769"/>
                    <a:pt x="389" y="769"/>
                    <a:pt x="389" y="769"/>
                  </a:cubicBezTo>
                  <a:cubicBezTo>
                    <a:pt x="390" y="769"/>
                    <a:pt x="391" y="769"/>
                    <a:pt x="392" y="769"/>
                  </a:cubicBezTo>
                  <a:cubicBezTo>
                    <a:pt x="394" y="769"/>
                    <a:pt x="397" y="769"/>
                    <a:pt x="399" y="770"/>
                  </a:cubicBezTo>
                  <a:cubicBezTo>
                    <a:pt x="400" y="770"/>
                    <a:pt x="401" y="771"/>
                    <a:pt x="402" y="771"/>
                  </a:cubicBezTo>
                  <a:cubicBezTo>
                    <a:pt x="403" y="772"/>
                    <a:pt x="403" y="772"/>
                    <a:pt x="403" y="772"/>
                  </a:cubicBezTo>
                  <a:cubicBezTo>
                    <a:pt x="403" y="772"/>
                    <a:pt x="403" y="772"/>
                    <a:pt x="403" y="772"/>
                  </a:cubicBezTo>
                  <a:cubicBezTo>
                    <a:pt x="404" y="771"/>
                    <a:pt x="404" y="771"/>
                    <a:pt x="405" y="771"/>
                  </a:cubicBezTo>
                  <a:cubicBezTo>
                    <a:pt x="406" y="770"/>
                    <a:pt x="406" y="770"/>
                    <a:pt x="406" y="770"/>
                  </a:cubicBezTo>
                  <a:cubicBezTo>
                    <a:pt x="407" y="769"/>
                    <a:pt x="409" y="768"/>
                    <a:pt x="411" y="767"/>
                  </a:cubicBezTo>
                  <a:cubicBezTo>
                    <a:pt x="412" y="767"/>
                    <a:pt x="412" y="767"/>
                    <a:pt x="412" y="767"/>
                  </a:cubicBezTo>
                  <a:cubicBezTo>
                    <a:pt x="412" y="767"/>
                    <a:pt x="413" y="766"/>
                    <a:pt x="413" y="766"/>
                  </a:cubicBezTo>
                  <a:cubicBezTo>
                    <a:pt x="414" y="767"/>
                    <a:pt x="415" y="767"/>
                    <a:pt x="416" y="768"/>
                  </a:cubicBezTo>
                  <a:cubicBezTo>
                    <a:pt x="417" y="768"/>
                    <a:pt x="417" y="768"/>
                    <a:pt x="417" y="768"/>
                  </a:cubicBezTo>
                  <a:cubicBezTo>
                    <a:pt x="417" y="768"/>
                    <a:pt x="417" y="768"/>
                    <a:pt x="417" y="768"/>
                  </a:cubicBezTo>
                  <a:cubicBezTo>
                    <a:pt x="417" y="768"/>
                    <a:pt x="417" y="768"/>
                    <a:pt x="418" y="768"/>
                  </a:cubicBezTo>
                  <a:cubicBezTo>
                    <a:pt x="418" y="767"/>
                    <a:pt x="418" y="767"/>
                    <a:pt x="418" y="767"/>
                  </a:cubicBezTo>
                  <a:cubicBezTo>
                    <a:pt x="418" y="767"/>
                    <a:pt x="419" y="767"/>
                    <a:pt x="419" y="767"/>
                  </a:cubicBezTo>
                  <a:cubicBezTo>
                    <a:pt x="419" y="767"/>
                    <a:pt x="419" y="767"/>
                    <a:pt x="419" y="767"/>
                  </a:cubicBezTo>
                  <a:cubicBezTo>
                    <a:pt x="419" y="763"/>
                    <a:pt x="422" y="761"/>
                    <a:pt x="423" y="761"/>
                  </a:cubicBezTo>
                  <a:cubicBezTo>
                    <a:pt x="423" y="760"/>
                    <a:pt x="425" y="760"/>
                    <a:pt x="426" y="759"/>
                  </a:cubicBezTo>
                  <a:cubicBezTo>
                    <a:pt x="428" y="758"/>
                    <a:pt x="429" y="757"/>
                    <a:pt x="431" y="755"/>
                  </a:cubicBezTo>
                  <a:cubicBezTo>
                    <a:pt x="432" y="754"/>
                    <a:pt x="434" y="752"/>
                    <a:pt x="436" y="751"/>
                  </a:cubicBezTo>
                  <a:cubicBezTo>
                    <a:pt x="438" y="749"/>
                    <a:pt x="439" y="748"/>
                    <a:pt x="439" y="747"/>
                  </a:cubicBezTo>
                  <a:cubicBezTo>
                    <a:pt x="441" y="741"/>
                    <a:pt x="441" y="734"/>
                    <a:pt x="442" y="727"/>
                  </a:cubicBezTo>
                  <a:cubicBezTo>
                    <a:pt x="443" y="720"/>
                    <a:pt x="443" y="720"/>
                    <a:pt x="443" y="720"/>
                  </a:cubicBezTo>
                  <a:cubicBezTo>
                    <a:pt x="448" y="724"/>
                    <a:pt x="448" y="724"/>
                    <a:pt x="448" y="724"/>
                  </a:cubicBezTo>
                  <a:cubicBezTo>
                    <a:pt x="448" y="724"/>
                    <a:pt x="448" y="724"/>
                    <a:pt x="448" y="724"/>
                  </a:cubicBezTo>
                  <a:cubicBezTo>
                    <a:pt x="451" y="720"/>
                    <a:pt x="451" y="720"/>
                    <a:pt x="451" y="720"/>
                  </a:cubicBezTo>
                  <a:cubicBezTo>
                    <a:pt x="450" y="725"/>
                    <a:pt x="450" y="725"/>
                    <a:pt x="450" y="725"/>
                  </a:cubicBezTo>
                  <a:cubicBezTo>
                    <a:pt x="450" y="725"/>
                    <a:pt x="451" y="725"/>
                    <a:pt x="451" y="724"/>
                  </a:cubicBezTo>
                  <a:cubicBezTo>
                    <a:pt x="452" y="724"/>
                    <a:pt x="452" y="724"/>
                    <a:pt x="453" y="723"/>
                  </a:cubicBezTo>
                  <a:cubicBezTo>
                    <a:pt x="453" y="723"/>
                    <a:pt x="454" y="723"/>
                    <a:pt x="455" y="723"/>
                  </a:cubicBezTo>
                  <a:cubicBezTo>
                    <a:pt x="456" y="723"/>
                    <a:pt x="456" y="723"/>
                    <a:pt x="457" y="723"/>
                  </a:cubicBezTo>
                  <a:cubicBezTo>
                    <a:pt x="458" y="723"/>
                    <a:pt x="458" y="723"/>
                    <a:pt x="458" y="723"/>
                  </a:cubicBezTo>
                  <a:cubicBezTo>
                    <a:pt x="459" y="723"/>
                    <a:pt x="461" y="724"/>
                    <a:pt x="462" y="725"/>
                  </a:cubicBezTo>
                  <a:cubicBezTo>
                    <a:pt x="462" y="726"/>
                    <a:pt x="462" y="726"/>
                    <a:pt x="462" y="726"/>
                  </a:cubicBezTo>
                  <a:cubicBezTo>
                    <a:pt x="463" y="726"/>
                    <a:pt x="463" y="726"/>
                    <a:pt x="463" y="727"/>
                  </a:cubicBezTo>
                  <a:cubicBezTo>
                    <a:pt x="469" y="739"/>
                    <a:pt x="469" y="739"/>
                    <a:pt x="469" y="739"/>
                  </a:cubicBezTo>
                  <a:cubicBezTo>
                    <a:pt x="471" y="743"/>
                    <a:pt x="470" y="748"/>
                    <a:pt x="469" y="752"/>
                  </a:cubicBezTo>
                  <a:cubicBezTo>
                    <a:pt x="469" y="753"/>
                    <a:pt x="469" y="753"/>
                    <a:pt x="469" y="753"/>
                  </a:cubicBezTo>
                  <a:cubicBezTo>
                    <a:pt x="469" y="754"/>
                    <a:pt x="469" y="755"/>
                    <a:pt x="468" y="756"/>
                  </a:cubicBezTo>
                  <a:cubicBezTo>
                    <a:pt x="468" y="756"/>
                    <a:pt x="468" y="757"/>
                    <a:pt x="468" y="757"/>
                  </a:cubicBezTo>
                  <a:cubicBezTo>
                    <a:pt x="468" y="759"/>
                    <a:pt x="468" y="759"/>
                    <a:pt x="468" y="759"/>
                  </a:cubicBezTo>
                  <a:cubicBezTo>
                    <a:pt x="467" y="760"/>
                    <a:pt x="467" y="760"/>
                    <a:pt x="467" y="761"/>
                  </a:cubicBezTo>
                  <a:cubicBezTo>
                    <a:pt x="467" y="763"/>
                    <a:pt x="467" y="763"/>
                    <a:pt x="467" y="763"/>
                  </a:cubicBezTo>
                  <a:cubicBezTo>
                    <a:pt x="466" y="763"/>
                    <a:pt x="466" y="763"/>
                    <a:pt x="466" y="764"/>
                  </a:cubicBezTo>
                  <a:cubicBezTo>
                    <a:pt x="466" y="765"/>
                    <a:pt x="465" y="766"/>
                    <a:pt x="465" y="767"/>
                  </a:cubicBezTo>
                  <a:cubicBezTo>
                    <a:pt x="464" y="768"/>
                    <a:pt x="463" y="768"/>
                    <a:pt x="462" y="769"/>
                  </a:cubicBezTo>
                  <a:cubicBezTo>
                    <a:pt x="461" y="769"/>
                    <a:pt x="461" y="769"/>
                    <a:pt x="461" y="769"/>
                  </a:cubicBezTo>
                  <a:cubicBezTo>
                    <a:pt x="461" y="770"/>
                    <a:pt x="460" y="770"/>
                    <a:pt x="460" y="770"/>
                  </a:cubicBezTo>
                  <a:cubicBezTo>
                    <a:pt x="454" y="773"/>
                    <a:pt x="449" y="775"/>
                    <a:pt x="443" y="777"/>
                  </a:cubicBezTo>
                  <a:cubicBezTo>
                    <a:pt x="441" y="777"/>
                    <a:pt x="440" y="779"/>
                    <a:pt x="438" y="780"/>
                  </a:cubicBezTo>
                  <a:cubicBezTo>
                    <a:pt x="437" y="781"/>
                    <a:pt x="436" y="782"/>
                    <a:pt x="436" y="783"/>
                  </a:cubicBezTo>
                  <a:cubicBezTo>
                    <a:pt x="435" y="783"/>
                    <a:pt x="434" y="784"/>
                    <a:pt x="433" y="785"/>
                  </a:cubicBezTo>
                  <a:cubicBezTo>
                    <a:pt x="432" y="785"/>
                    <a:pt x="432" y="785"/>
                    <a:pt x="432" y="785"/>
                  </a:cubicBezTo>
                  <a:cubicBezTo>
                    <a:pt x="432" y="786"/>
                    <a:pt x="431" y="787"/>
                    <a:pt x="430" y="787"/>
                  </a:cubicBezTo>
                  <a:cubicBezTo>
                    <a:pt x="430" y="787"/>
                    <a:pt x="430" y="788"/>
                    <a:pt x="429" y="788"/>
                  </a:cubicBezTo>
                  <a:cubicBezTo>
                    <a:pt x="429" y="789"/>
                    <a:pt x="428" y="789"/>
                    <a:pt x="428" y="790"/>
                  </a:cubicBezTo>
                  <a:cubicBezTo>
                    <a:pt x="427" y="790"/>
                    <a:pt x="427" y="790"/>
                    <a:pt x="427" y="790"/>
                  </a:cubicBezTo>
                  <a:cubicBezTo>
                    <a:pt x="427" y="790"/>
                    <a:pt x="427" y="791"/>
                    <a:pt x="426" y="791"/>
                  </a:cubicBezTo>
                  <a:cubicBezTo>
                    <a:pt x="426" y="791"/>
                    <a:pt x="426" y="791"/>
                    <a:pt x="426" y="791"/>
                  </a:cubicBezTo>
                  <a:cubicBezTo>
                    <a:pt x="425" y="791"/>
                    <a:pt x="425" y="791"/>
                    <a:pt x="424" y="791"/>
                  </a:cubicBezTo>
                  <a:cubicBezTo>
                    <a:pt x="423" y="792"/>
                    <a:pt x="423" y="792"/>
                    <a:pt x="423" y="792"/>
                  </a:cubicBezTo>
                  <a:cubicBezTo>
                    <a:pt x="422" y="792"/>
                    <a:pt x="421" y="793"/>
                    <a:pt x="421" y="793"/>
                  </a:cubicBezTo>
                  <a:cubicBezTo>
                    <a:pt x="421" y="793"/>
                    <a:pt x="421" y="793"/>
                    <a:pt x="421" y="793"/>
                  </a:cubicBezTo>
                  <a:cubicBezTo>
                    <a:pt x="422" y="794"/>
                    <a:pt x="422" y="795"/>
                    <a:pt x="422" y="796"/>
                  </a:cubicBezTo>
                  <a:cubicBezTo>
                    <a:pt x="423" y="799"/>
                    <a:pt x="423" y="799"/>
                    <a:pt x="423" y="799"/>
                  </a:cubicBezTo>
                  <a:cubicBezTo>
                    <a:pt x="420" y="799"/>
                    <a:pt x="420" y="799"/>
                    <a:pt x="420" y="799"/>
                  </a:cubicBezTo>
                  <a:cubicBezTo>
                    <a:pt x="419" y="799"/>
                    <a:pt x="419" y="799"/>
                    <a:pt x="419" y="799"/>
                  </a:cubicBezTo>
                  <a:cubicBezTo>
                    <a:pt x="416" y="801"/>
                    <a:pt x="412" y="805"/>
                    <a:pt x="410" y="807"/>
                  </a:cubicBezTo>
                  <a:cubicBezTo>
                    <a:pt x="407" y="810"/>
                    <a:pt x="405" y="812"/>
                    <a:pt x="403" y="815"/>
                  </a:cubicBezTo>
                  <a:cubicBezTo>
                    <a:pt x="402" y="817"/>
                    <a:pt x="401" y="818"/>
                    <a:pt x="400" y="819"/>
                  </a:cubicBezTo>
                  <a:cubicBezTo>
                    <a:pt x="394" y="827"/>
                    <a:pt x="387" y="833"/>
                    <a:pt x="381" y="840"/>
                  </a:cubicBezTo>
                  <a:cubicBezTo>
                    <a:pt x="381" y="840"/>
                    <a:pt x="381" y="840"/>
                    <a:pt x="381" y="840"/>
                  </a:cubicBezTo>
                  <a:cubicBezTo>
                    <a:pt x="381" y="840"/>
                    <a:pt x="383" y="841"/>
                    <a:pt x="383" y="841"/>
                  </a:cubicBezTo>
                  <a:cubicBezTo>
                    <a:pt x="383" y="841"/>
                    <a:pt x="383" y="841"/>
                    <a:pt x="383" y="841"/>
                  </a:cubicBezTo>
                  <a:cubicBezTo>
                    <a:pt x="384" y="840"/>
                    <a:pt x="384" y="839"/>
                    <a:pt x="385" y="838"/>
                  </a:cubicBezTo>
                  <a:cubicBezTo>
                    <a:pt x="386" y="837"/>
                    <a:pt x="388" y="836"/>
                    <a:pt x="390" y="836"/>
                  </a:cubicBezTo>
                  <a:cubicBezTo>
                    <a:pt x="393" y="836"/>
                    <a:pt x="396" y="837"/>
                    <a:pt x="398" y="839"/>
                  </a:cubicBezTo>
                  <a:cubicBezTo>
                    <a:pt x="400" y="840"/>
                    <a:pt x="401" y="842"/>
                    <a:pt x="403" y="844"/>
                  </a:cubicBezTo>
                  <a:cubicBezTo>
                    <a:pt x="405" y="845"/>
                    <a:pt x="407" y="847"/>
                    <a:pt x="409" y="848"/>
                  </a:cubicBezTo>
                  <a:cubicBezTo>
                    <a:pt x="414" y="853"/>
                    <a:pt x="414" y="853"/>
                    <a:pt x="414" y="853"/>
                  </a:cubicBezTo>
                  <a:cubicBezTo>
                    <a:pt x="414" y="854"/>
                    <a:pt x="416" y="857"/>
                    <a:pt x="416" y="860"/>
                  </a:cubicBezTo>
                  <a:cubicBezTo>
                    <a:pt x="417" y="860"/>
                    <a:pt x="417" y="860"/>
                    <a:pt x="417" y="860"/>
                  </a:cubicBezTo>
                  <a:cubicBezTo>
                    <a:pt x="417" y="860"/>
                    <a:pt x="417" y="860"/>
                    <a:pt x="417" y="860"/>
                  </a:cubicBezTo>
                  <a:cubicBezTo>
                    <a:pt x="417" y="859"/>
                    <a:pt x="418" y="859"/>
                    <a:pt x="418" y="859"/>
                  </a:cubicBezTo>
                  <a:cubicBezTo>
                    <a:pt x="418" y="858"/>
                    <a:pt x="418" y="858"/>
                    <a:pt x="418" y="858"/>
                  </a:cubicBezTo>
                  <a:cubicBezTo>
                    <a:pt x="418" y="857"/>
                    <a:pt x="418" y="857"/>
                    <a:pt x="418" y="857"/>
                  </a:cubicBezTo>
                  <a:cubicBezTo>
                    <a:pt x="418" y="858"/>
                    <a:pt x="418" y="858"/>
                    <a:pt x="418" y="858"/>
                  </a:cubicBezTo>
                  <a:cubicBezTo>
                    <a:pt x="419" y="857"/>
                    <a:pt x="419" y="856"/>
                    <a:pt x="421" y="855"/>
                  </a:cubicBezTo>
                  <a:cubicBezTo>
                    <a:pt x="421" y="855"/>
                    <a:pt x="422" y="855"/>
                    <a:pt x="422" y="855"/>
                  </a:cubicBezTo>
                  <a:cubicBezTo>
                    <a:pt x="425" y="855"/>
                    <a:pt x="427" y="859"/>
                    <a:pt x="430" y="863"/>
                  </a:cubicBezTo>
                  <a:cubicBezTo>
                    <a:pt x="430" y="863"/>
                    <a:pt x="430" y="863"/>
                    <a:pt x="430" y="863"/>
                  </a:cubicBezTo>
                  <a:cubicBezTo>
                    <a:pt x="431" y="864"/>
                    <a:pt x="432" y="866"/>
                    <a:pt x="432" y="866"/>
                  </a:cubicBezTo>
                  <a:cubicBezTo>
                    <a:pt x="433" y="867"/>
                    <a:pt x="436" y="868"/>
                    <a:pt x="438" y="868"/>
                  </a:cubicBezTo>
                  <a:cubicBezTo>
                    <a:pt x="441" y="869"/>
                    <a:pt x="444" y="870"/>
                    <a:pt x="446" y="871"/>
                  </a:cubicBezTo>
                  <a:cubicBezTo>
                    <a:pt x="448" y="873"/>
                    <a:pt x="449" y="874"/>
                    <a:pt x="450" y="876"/>
                  </a:cubicBezTo>
                  <a:cubicBezTo>
                    <a:pt x="450" y="876"/>
                    <a:pt x="450" y="876"/>
                    <a:pt x="450" y="876"/>
                  </a:cubicBezTo>
                  <a:cubicBezTo>
                    <a:pt x="451" y="878"/>
                    <a:pt x="452" y="878"/>
                    <a:pt x="454" y="879"/>
                  </a:cubicBezTo>
                  <a:cubicBezTo>
                    <a:pt x="455" y="880"/>
                    <a:pt x="455" y="880"/>
                    <a:pt x="455" y="880"/>
                  </a:cubicBezTo>
                  <a:cubicBezTo>
                    <a:pt x="455" y="880"/>
                    <a:pt x="456" y="880"/>
                    <a:pt x="456" y="880"/>
                  </a:cubicBezTo>
                  <a:cubicBezTo>
                    <a:pt x="457" y="881"/>
                    <a:pt x="457" y="881"/>
                    <a:pt x="458" y="881"/>
                  </a:cubicBezTo>
                  <a:cubicBezTo>
                    <a:pt x="460" y="882"/>
                    <a:pt x="462" y="883"/>
                    <a:pt x="464" y="885"/>
                  </a:cubicBezTo>
                  <a:cubicBezTo>
                    <a:pt x="465" y="887"/>
                    <a:pt x="465" y="887"/>
                    <a:pt x="465" y="887"/>
                  </a:cubicBezTo>
                  <a:cubicBezTo>
                    <a:pt x="466" y="889"/>
                    <a:pt x="467" y="890"/>
                    <a:pt x="468" y="892"/>
                  </a:cubicBezTo>
                  <a:cubicBezTo>
                    <a:pt x="469" y="894"/>
                    <a:pt x="469" y="894"/>
                    <a:pt x="469" y="894"/>
                  </a:cubicBezTo>
                  <a:cubicBezTo>
                    <a:pt x="471" y="897"/>
                    <a:pt x="474" y="899"/>
                    <a:pt x="478" y="901"/>
                  </a:cubicBezTo>
                  <a:cubicBezTo>
                    <a:pt x="482" y="903"/>
                    <a:pt x="482" y="903"/>
                    <a:pt x="482" y="903"/>
                  </a:cubicBezTo>
                  <a:cubicBezTo>
                    <a:pt x="481" y="906"/>
                    <a:pt x="481" y="906"/>
                    <a:pt x="481" y="906"/>
                  </a:cubicBezTo>
                  <a:cubicBezTo>
                    <a:pt x="480" y="908"/>
                    <a:pt x="479" y="909"/>
                    <a:pt x="477" y="911"/>
                  </a:cubicBezTo>
                  <a:cubicBezTo>
                    <a:pt x="476" y="913"/>
                    <a:pt x="474" y="915"/>
                    <a:pt x="473" y="917"/>
                  </a:cubicBezTo>
                  <a:cubicBezTo>
                    <a:pt x="472" y="919"/>
                    <a:pt x="472" y="926"/>
                    <a:pt x="473" y="927"/>
                  </a:cubicBezTo>
                  <a:cubicBezTo>
                    <a:pt x="473" y="928"/>
                    <a:pt x="473" y="928"/>
                    <a:pt x="473" y="928"/>
                  </a:cubicBezTo>
                  <a:cubicBezTo>
                    <a:pt x="474" y="929"/>
                    <a:pt x="474" y="929"/>
                    <a:pt x="474" y="929"/>
                  </a:cubicBezTo>
                  <a:cubicBezTo>
                    <a:pt x="474" y="930"/>
                    <a:pt x="474" y="930"/>
                    <a:pt x="474" y="930"/>
                  </a:cubicBezTo>
                  <a:cubicBezTo>
                    <a:pt x="474" y="930"/>
                    <a:pt x="474" y="930"/>
                    <a:pt x="474" y="930"/>
                  </a:cubicBezTo>
                  <a:cubicBezTo>
                    <a:pt x="477" y="928"/>
                    <a:pt x="477" y="928"/>
                    <a:pt x="477" y="928"/>
                  </a:cubicBezTo>
                  <a:cubicBezTo>
                    <a:pt x="476" y="931"/>
                    <a:pt x="476" y="931"/>
                    <a:pt x="476" y="931"/>
                  </a:cubicBezTo>
                  <a:cubicBezTo>
                    <a:pt x="478" y="929"/>
                    <a:pt x="481" y="927"/>
                    <a:pt x="483" y="924"/>
                  </a:cubicBezTo>
                  <a:cubicBezTo>
                    <a:pt x="486" y="922"/>
                    <a:pt x="489" y="919"/>
                    <a:pt x="491" y="915"/>
                  </a:cubicBezTo>
                  <a:cubicBezTo>
                    <a:pt x="493" y="911"/>
                    <a:pt x="494" y="906"/>
                    <a:pt x="497" y="902"/>
                  </a:cubicBezTo>
                  <a:cubicBezTo>
                    <a:pt x="499" y="899"/>
                    <a:pt x="503" y="895"/>
                    <a:pt x="503" y="890"/>
                  </a:cubicBezTo>
                  <a:cubicBezTo>
                    <a:pt x="504" y="889"/>
                    <a:pt x="503" y="888"/>
                    <a:pt x="503" y="888"/>
                  </a:cubicBezTo>
                  <a:cubicBezTo>
                    <a:pt x="503" y="888"/>
                    <a:pt x="502" y="889"/>
                    <a:pt x="502" y="889"/>
                  </a:cubicBezTo>
                  <a:cubicBezTo>
                    <a:pt x="502" y="888"/>
                    <a:pt x="502" y="887"/>
                    <a:pt x="502" y="886"/>
                  </a:cubicBezTo>
                  <a:cubicBezTo>
                    <a:pt x="502" y="884"/>
                    <a:pt x="500" y="883"/>
                    <a:pt x="500" y="882"/>
                  </a:cubicBezTo>
                  <a:cubicBezTo>
                    <a:pt x="500" y="880"/>
                    <a:pt x="502" y="877"/>
                    <a:pt x="504" y="877"/>
                  </a:cubicBezTo>
                  <a:cubicBezTo>
                    <a:pt x="504" y="877"/>
                    <a:pt x="505" y="877"/>
                    <a:pt x="505" y="878"/>
                  </a:cubicBezTo>
                  <a:cubicBezTo>
                    <a:pt x="506" y="875"/>
                    <a:pt x="506" y="872"/>
                    <a:pt x="508" y="870"/>
                  </a:cubicBezTo>
                  <a:cubicBezTo>
                    <a:pt x="510" y="868"/>
                    <a:pt x="515" y="866"/>
                    <a:pt x="518" y="864"/>
                  </a:cubicBezTo>
                  <a:cubicBezTo>
                    <a:pt x="518" y="862"/>
                    <a:pt x="520" y="859"/>
                    <a:pt x="520" y="856"/>
                  </a:cubicBezTo>
                  <a:cubicBezTo>
                    <a:pt x="520" y="854"/>
                    <a:pt x="520" y="853"/>
                    <a:pt x="520" y="853"/>
                  </a:cubicBezTo>
                  <a:cubicBezTo>
                    <a:pt x="521" y="853"/>
                    <a:pt x="522" y="855"/>
                    <a:pt x="522" y="856"/>
                  </a:cubicBezTo>
                  <a:cubicBezTo>
                    <a:pt x="522" y="855"/>
                    <a:pt x="522" y="854"/>
                    <a:pt x="522" y="853"/>
                  </a:cubicBezTo>
                  <a:cubicBezTo>
                    <a:pt x="522" y="852"/>
                    <a:pt x="522" y="850"/>
                    <a:pt x="523" y="849"/>
                  </a:cubicBezTo>
                  <a:cubicBezTo>
                    <a:pt x="524" y="847"/>
                    <a:pt x="526" y="846"/>
                    <a:pt x="527" y="845"/>
                  </a:cubicBezTo>
                  <a:cubicBezTo>
                    <a:pt x="526" y="845"/>
                    <a:pt x="526" y="845"/>
                    <a:pt x="525" y="846"/>
                  </a:cubicBezTo>
                  <a:cubicBezTo>
                    <a:pt x="524" y="842"/>
                    <a:pt x="523" y="840"/>
                    <a:pt x="523" y="837"/>
                  </a:cubicBezTo>
                  <a:cubicBezTo>
                    <a:pt x="524" y="838"/>
                    <a:pt x="523" y="841"/>
                    <a:pt x="525" y="842"/>
                  </a:cubicBezTo>
                  <a:cubicBezTo>
                    <a:pt x="526" y="843"/>
                    <a:pt x="528" y="843"/>
                    <a:pt x="531" y="843"/>
                  </a:cubicBezTo>
                  <a:cubicBezTo>
                    <a:pt x="534" y="843"/>
                    <a:pt x="537" y="843"/>
                    <a:pt x="539" y="843"/>
                  </a:cubicBezTo>
                  <a:cubicBezTo>
                    <a:pt x="539" y="844"/>
                    <a:pt x="539" y="845"/>
                    <a:pt x="539" y="846"/>
                  </a:cubicBezTo>
                  <a:cubicBezTo>
                    <a:pt x="538" y="846"/>
                    <a:pt x="537" y="846"/>
                    <a:pt x="536" y="846"/>
                  </a:cubicBezTo>
                  <a:cubicBezTo>
                    <a:pt x="535" y="846"/>
                    <a:pt x="535" y="846"/>
                    <a:pt x="535" y="846"/>
                  </a:cubicBezTo>
                  <a:cubicBezTo>
                    <a:pt x="537" y="849"/>
                    <a:pt x="536" y="857"/>
                    <a:pt x="533" y="858"/>
                  </a:cubicBezTo>
                  <a:cubicBezTo>
                    <a:pt x="527" y="860"/>
                    <a:pt x="532" y="860"/>
                    <a:pt x="529" y="865"/>
                  </a:cubicBezTo>
                  <a:cubicBezTo>
                    <a:pt x="529" y="865"/>
                    <a:pt x="529" y="865"/>
                    <a:pt x="529" y="865"/>
                  </a:cubicBezTo>
                  <a:cubicBezTo>
                    <a:pt x="528" y="865"/>
                    <a:pt x="529" y="864"/>
                    <a:pt x="529" y="864"/>
                  </a:cubicBezTo>
                  <a:cubicBezTo>
                    <a:pt x="528" y="864"/>
                    <a:pt x="528" y="864"/>
                    <a:pt x="528" y="864"/>
                  </a:cubicBezTo>
                  <a:cubicBezTo>
                    <a:pt x="522" y="864"/>
                    <a:pt x="525" y="871"/>
                    <a:pt x="521" y="875"/>
                  </a:cubicBezTo>
                  <a:cubicBezTo>
                    <a:pt x="520" y="877"/>
                    <a:pt x="518" y="877"/>
                    <a:pt x="516" y="879"/>
                  </a:cubicBezTo>
                  <a:cubicBezTo>
                    <a:pt x="515" y="880"/>
                    <a:pt x="514" y="881"/>
                    <a:pt x="512" y="882"/>
                  </a:cubicBezTo>
                  <a:cubicBezTo>
                    <a:pt x="510" y="884"/>
                    <a:pt x="509" y="884"/>
                    <a:pt x="508" y="884"/>
                  </a:cubicBezTo>
                  <a:cubicBezTo>
                    <a:pt x="507" y="884"/>
                    <a:pt x="506" y="883"/>
                    <a:pt x="504" y="883"/>
                  </a:cubicBezTo>
                  <a:cubicBezTo>
                    <a:pt x="504" y="883"/>
                    <a:pt x="504" y="883"/>
                    <a:pt x="504" y="883"/>
                  </a:cubicBezTo>
                  <a:cubicBezTo>
                    <a:pt x="502" y="883"/>
                    <a:pt x="504" y="885"/>
                    <a:pt x="504" y="885"/>
                  </a:cubicBezTo>
                  <a:cubicBezTo>
                    <a:pt x="505" y="887"/>
                    <a:pt x="504" y="890"/>
                    <a:pt x="504" y="892"/>
                  </a:cubicBezTo>
                  <a:cubicBezTo>
                    <a:pt x="505" y="888"/>
                    <a:pt x="509" y="885"/>
                    <a:pt x="513" y="883"/>
                  </a:cubicBezTo>
                  <a:cubicBezTo>
                    <a:pt x="517" y="881"/>
                    <a:pt x="520" y="879"/>
                    <a:pt x="523" y="876"/>
                  </a:cubicBezTo>
                  <a:cubicBezTo>
                    <a:pt x="530" y="870"/>
                    <a:pt x="535" y="864"/>
                    <a:pt x="539" y="857"/>
                  </a:cubicBezTo>
                  <a:cubicBezTo>
                    <a:pt x="542" y="853"/>
                    <a:pt x="544" y="850"/>
                    <a:pt x="546" y="846"/>
                  </a:cubicBezTo>
                  <a:cubicBezTo>
                    <a:pt x="549" y="840"/>
                    <a:pt x="552" y="834"/>
                    <a:pt x="555" y="828"/>
                  </a:cubicBezTo>
                  <a:cubicBezTo>
                    <a:pt x="556" y="824"/>
                    <a:pt x="558" y="820"/>
                    <a:pt x="561" y="818"/>
                  </a:cubicBezTo>
                  <a:cubicBezTo>
                    <a:pt x="566" y="813"/>
                    <a:pt x="571" y="808"/>
                    <a:pt x="577" y="804"/>
                  </a:cubicBezTo>
                  <a:cubicBezTo>
                    <a:pt x="578" y="802"/>
                    <a:pt x="580" y="801"/>
                    <a:pt x="581" y="799"/>
                  </a:cubicBezTo>
                  <a:cubicBezTo>
                    <a:pt x="581" y="799"/>
                    <a:pt x="580" y="799"/>
                    <a:pt x="580" y="799"/>
                  </a:cubicBezTo>
                  <a:cubicBezTo>
                    <a:pt x="578" y="799"/>
                    <a:pt x="578" y="796"/>
                    <a:pt x="579" y="794"/>
                  </a:cubicBezTo>
                  <a:cubicBezTo>
                    <a:pt x="580" y="795"/>
                    <a:pt x="580" y="796"/>
                    <a:pt x="581" y="798"/>
                  </a:cubicBezTo>
                  <a:cubicBezTo>
                    <a:pt x="581" y="794"/>
                    <a:pt x="584" y="791"/>
                    <a:pt x="584" y="786"/>
                  </a:cubicBezTo>
                  <a:cubicBezTo>
                    <a:pt x="584" y="781"/>
                    <a:pt x="584" y="776"/>
                    <a:pt x="584" y="770"/>
                  </a:cubicBezTo>
                  <a:cubicBezTo>
                    <a:pt x="584" y="766"/>
                    <a:pt x="584" y="767"/>
                    <a:pt x="587" y="765"/>
                  </a:cubicBezTo>
                  <a:cubicBezTo>
                    <a:pt x="587" y="765"/>
                    <a:pt x="587" y="765"/>
                    <a:pt x="587" y="765"/>
                  </a:cubicBezTo>
                  <a:cubicBezTo>
                    <a:pt x="583" y="765"/>
                    <a:pt x="583" y="758"/>
                    <a:pt x="583" y="754"/>
                  </a:cubicBezTo>
                  <a:cubicBezTo>
                    <a:pt x="582" y="752"/>
                    <a:pt x="585" y="748"/>
                    <a:pt x="584" y="746"/>
                  </a:cubicBezTo>
                  <a:cubicBezTo>
                    <a:pt x="583" y="745"/>
                    <a:pt x="583" y="745"/>
                    <a:pt x="583" y="745"/>
                  </a:cubicBezTo>
                  <a:cubicBezTo>
                    <a:pt x="584" y="746"/>
                    <a:pt x="584" y="746"/>
                    <a:pt x="585" y="747"/>
                  </a:cubicBezTo>
                  <a:cubicBezTo>
                    <a:pt x="585" y="746"/>
                    <a:pt x="587" y="742"/>
                    <a:pt x="587" y="742"/>
                  </a:cubicBezTo>
                  <a:cubicBezTo>
                    <a:pt x="587" y="741"/>
                    <a:pt x="586" y="741"/>
                    <a:pt x="586" y="741"/>
                  </a:cubicBezTo>
                  <a:cubicBezTo>
                    <a:pt x="586" y="741"/>
                    <a:pt x="585" y="741"/>
                    <a:pt x="585" y="741"/>
                  </a:cubicBezTo>
                  <a:cubicBezTo>
                    <a:pt x="584" y="741"/>
                    <a:pt x="583" y="742"/>
                    <a:pt x="583" y="743"/>
                  </a:cubicBezTo>
                  <a:cubicBezTo>
                    <a:pt x="582" y="743"/>
                    <a:pt x="582" y="743"/>
                    <a:pt x="582" y="743"/>
                  </a:cubicBezTo>
                  <a:cubicBezTo>
                    <a:pt x="581" y="742"/>
                    <a:pt x="581" y="740"/>
                    <a:pt x="580" y="737"/>
                  </a:cubicBezTo>
                  <a:cubicBezTo>
                    <a:pt x="580" y="739"/>
                    <a:pt x="581" y="740"/>
                    <a:pt x="581" y="741"/>
                  </a:cubicBezTo>
                  <a:cubicBezTo>
                    <a:pt x="583" y="740"/>
                    <a:pt x="585" y="737"/>
                    <a:pt x="585" y="735"/>
                  </a:cubicBezTo>
                  <a:cubicBezTo>
                    <a:pt x="585" y="733"/>
                    <a:pt x="585" y="732"/>
                    <a:pt x="583" y="732"/>
                  </a:cubicBezTo>
                  <a:cubicBezTo>
                    <a:pt x="583" y="732"/>
                    <a:pt x="583" y="732"/>
                    <a:pt x="583" y="732"/>
                  </a:cubicBezTo>
                  <a:cubicBezTo>
                    <a:pt x="583" y="732"/>
                    <a:pt x="583" y="732"/>
                    <a:pt x="583" y="732"/>
                  </a:cubicBezTo>
                  <a:cubicBezTo>
                    <a:pt x="582" y="732"/>
                    <a:pt x="582" y="732"/>
                    <a:pt x="581" y="732"/>
                  </a:cubicBezTo>
                  <a:cubicBezTo>
                    <a:pt x="581" y="732"/>
                    <a:pt x="581" y="732"/>
                    <a:pt x="581" y="732"/>
                  </a:cubicBezTo>
                  <a:cubicBezTo>
                    <a:pt x="583" y="732"/>
                    <a:pt x="583" y="732"/>
                    <a:pt x="584" y="731"/>
                  </a:cubicBezTo>
                  <a:cubicBezTo>
                    <a:pt x="585" y="730"/>
                    <a:pt x="590" y="726"/>
                    <a:pt x="590" y="725"/>
                  </a:cubicBezTo>
                  <a:cubicBezTo>
                    <a:pt x="590" y="725"/>
                    <a:pt x="590" y="725"/>
                    <a:pt x="590" y="725"/>
                  </a:cubicBezTo>
                  <a:cubicBezTo>
                    <a:pt x="589" y="725"/>
                    <a:pt x="589" y="725"/>
                    <a:pt x="589" y="725"/>
                  </a:cubicBezTo>
                  <a:cubicBezTo>
                    <a:pt x="589" y="725"/>
                    <a:pt x="589" y="725"/>
                    <a:pt x="589" y="725"/>
                  </a:cubicBezTo>
                  <a:cubicBezTo>
                    <a:pt x="589" y="725"/>
                    <a:pt x="589" y="725"/>
                    <a:pt x="589" y="725"/>
                  </a:cubicBezTo>
                  <a:cubicBezTo>
                    <a:pt x="588" y="725"/>
                    <a:pt x="586" y="724"/>
                    <a:pt x="586" y="724"/>
                  </a:cubicBezTo>
                  <a:cubicBezTo>
                    <a:pt x="585" y="724"/>
                    <a:pt x="584" y="723"/>
                    <a:pt x="583" y="722"/>
                  </a:cubicBezTo>
                  <a:cubicBezTo>
                    <a:pt x="583" y="722"/>
                    <a:pt x="583" y="722"/>
                    <a:pt x="583" y="722"/>
                  </a:cubicBezTo>
                  <a:cubicBezTo>
                    <a:pt x="582" y="721"/>
                    <a:pt x="582" y="721"/>
                    <a:pt x="581" y="720"/>
                  </a:cubicBezTo>
                  <a:cubicBezTo>
                    <a:pt x="581" y="720"/>
                    <a:pt x="581" y="720"/>
                    <a:pt x="581" y="720"/>
                  </a:cubicBezTo>
                  <a:cubicBezTo>
                    <a:pt x="582" y="721"/>
                    <a:pt x="582" y="721"/>
                    <a:pt x="583" y="722"/>
                  </a:cubicBezTo>
                  <a:cubicBezTo>
                    <a:pt x="583" y="722"/>
                    <a:pt x="583" y="722"/>
                    <a:pt x="584" y="722"/>
                  </a:cubicBezTo>
                  <a:cubicBezTo>
                    <a:pt x="584" y="722"/>
                    <a:pt x="585" y="722"/>
                    <a:pt x="585" y="721"/>
                  </a:cubicBezTo>
                  <a:cubicBezTo>
                    <a:pt x="587" y="720"/>
                    <a:pt x="588" y="718"/>
                    <a:pt x="589" y="718"/>
                  </a:cubicBezTo>
                  <a:cubicBezTo>
                    <a:pt x="589" y="718"/>
                    <a:pt x="589" y="718"/>
                    <a:pt x="589" y="718"/>
                  </a:cubicBezTo>
                  <a:cubicBezTo>
                    <a:pt x="590" y="718"/>
                    <a:pt x="590" y="718"/>
                    <a:pt x="591" y="717"/>
                  </a:cubicBezTo>
                  <a:cubicBezTo>
                    <a:pt x="591" y="718"/>
                    <a:pt x="591" y="719"/>
                    <a:pt x="591" y="720"/>
                  </a:cubicBezTo>
                  <a:cubicBezTo>
                    <a:pt x="592" y="719"/>
                    <a:pt x="593" y="719"/>
                    <a:pt x="594" y="719"/>
                  </a:cubicBezTo>
                  <a:cubicBezTo>
                    <a:pt x="594" y="719"/>
                    <a:pt x="595" y="719"/>
                    <a:pt x="596" y="719"/>
                  </a:cubicBezTo>
                  <a:cubicBezTo>
                    <a:pt x="596" y="719"/>
                    <a:pt x="596" y="719"/>
                    <a:pt x="596" y="719"/>
                  </a:cubicBezTo>
                  <a:cubicBezTo>
                    <a:pt x="597" y="719"/>
                    <a:pt x="601" y="714"/>
                    <a:pt x="601" y="713"/>
                  </a:cubicBezTo>
                  <a:cubicBezTo>
                    <a:pt x="601" y="713"/>
                    <a:pt x="599" y="712"/>
                    <a:pt x="598" y="712"/>
                  </a:cubicBezTo>
                  <a:cubicBezTo>
                    <a:pt x="598" y="712"/>
                    <a:pt x="598" y="712"/>
                    <a:pt x="598" y="712"/>
                  </a:cubicBezTo>
                  <a:cubicBezTo>
                    <a:pt x="598" y="712"/>
                    <a:pt x="598" y="712"/>
                    <a:pt x="598" y="712"/>
                  </a:cubicBezTo>
                  <a:cubicBezTo>
                    <a:pt x="598" y="712"/>
                    <a:pt x="598" y="712"/>
                    <a:pt x="598" y="712"/>
                  </a:cubicBezTo>
                  <a:cubicBezTo>
                    <a:pt x="598" y="712"/>
                    <a:pt x="598" y="712"/>
                    <a:pt x="598" y="712"/>
                  </a:cubicBezTo>
                  <a:cubicBezTo>
                    <a:pt x="598" y="712"/>
                    <a:pt x="598" y="712"/>
                    <a:pt x="598" y="712"/>
                  </a:cubicBezTo>
                  <a:cubicBezTo>
                    <a:pt x="598" y="711"/>
                    <a:pt x="598" y="711"/>
                    <a:pt x="598" y="711"/>
                  </a:cubicBezTo>
                  <a:cubicBezTo>
                    <a:pt x="599" y="712"/>
                    <a:pt x="598" y="711"/>
                    <a:pt x="598" y="712"/>
                  </a:cubicBezTo>
                  <a:cubicBezTo>
                    <a:pt x="598" y="712"/>
                    <a:pt x="598" y="712"/>
                    <a:pt x="598" y="712"/>
                  </a:cubicBezTo>
                  <a:cubicBezTo>
                    <a:pt x="602" y="709"/>
                    <a:pt x="605" y="706"/>
                    <a:pt x="609" y="704"/>
                  </a:cubicBezTo>
                  <a:cubicBezTo>
                    <a:pt x="615" y="700"/>
                    <a:pt x="621" y="697"/>
                    <a:pt x="627" y="693"/>
                  </a:cubicBezTo>
                  <a:cubicBezTo>
                    <a:pt x="630" y="691"/>
                    <a:pt x="633" y="689"/>
                    <a:pt x="636" y="687"/>
                  </a:cubicBezTo>
                  <a:cubicBezTo>
                    <a:pt x="637" y="687"/>
                    <a:pt x="636" y="684"/>
                    <a:pt x="636" y="683"/>
                  </a:cubicBezTo>
                  <a:cubicBezTo>
                    <a:pt x="636" y="684"/>
                    <a:pt x="637" y="684"/>
                    <a:pt x="638" y="684"/>
                  </a:cubicBezTo>
                  <a:cubicBezTo>
                    <a:pt x="639" y="684"/>
                    <a:pt x="641" y="683"/>
                    <a:pt x="642" y="683"/>
                  </a:cubicBezTo>
                  <a:cubicBezTo>
                    <a:pt x="645" y="682"/>
                    <a:pt x="647" y="681"/>
                    <a:pt x="650" y="681"/>
                  </a:cubicBezTo>
                  <a:cubicBezTo>
                    <a:pt x="651" y="681"/>
                    <a:pt x="651" y="681"/>
                    <a:pt x="652" y="681"/>
                  </a:cubicBezTo>
                  <a:cubicBezTo>
                    <a:pt x="653" y="681"/>
                    <a:pt x="656" y="682"/>
                    <a:pt x="657" y="682"/>
                  </a:cubicBezTo>
                  <a:cubicBezTo>
                    <a:pt x="658" y="682"/>
                    <a:pt x="658" y="682"/>
                    <a:pt x="659" y="682"/>
                  </a:cubicBezTo>
                  <a:cubicBezTo>
                    <a:pt x="659" y="682"/>
                    <a:pt x="658" y="681"/>
                    <a:pt x="659" y="680"/>
                  </a:cubicBezTo>
                  <a:cubicBezTo>
                    <a:pt x="660" y="679"/>
                    <a:pt x="661" y="678"/>
                    <a:pt x="663" y="677"/>
                  </a:cubicBezTo>
                  <a:cubicBezTo>
                    <a:pt x="668" y="674"/>
                    <a:pt x="674" y="672"/>
                    <a:pt x="680" y="669"/>
                  </a:cubicBezTo>
                  <a:cubicBezTo>
                    <a:pt x="679" y="668"/>
                    <a:pt x="678" y="668"/>
                    <a:pt x="678" y="668"/>
                  </a:cubicBezTo>
                  <a:cubicBezTo>
                    <a:pt x="677" y="667"/>
                    <a:pt x="676" y="665"/>
                    <a:pt x="676" y="664"/>
                  </a:cubicBezTo>
                  <a:cubicBezTo>
                    <a:pt x="676" y="663"/>
                    <a:pt x="676" y="663"/>
                    <a:pt x="676" y="663"/>
                  </a:cubicBezTo>
                  <a:cubicBezTo>
                    <a:pt x="676" y="663"/>
                    <a:pt x="676" y="663"/>
                    <a:pt x="676" y="663"/>
                  </a:cubicBezTo>
                  <a:cubicBezTo>
                    <a:pt x="676" y="663"/>
                    <a:pt x="676" y="663"/>
                    <a:pt x="676" y="663"/>
                  </a:cubicBezTo>
                  <a:cubicBezTo>
                    <a:pt x="677" y="663"/>
                    <a:pt x="677" y="663"/>
                    <a:pt x="677" y="663"/>
                  </a:cubicBezTo>
                  <a:cubicBezTo>
                    <a:pt x="677" y="662"/>
                    <a:pt x="682" y="660"/>
                    <a:pt x="683" y="660"/>
                  </a:cubicBezTo>
                  <a:cubicBezTo>
                    <a:pt x="683" y="660"/>
                    <a:pt x="684" y="660"/>
                    <a:pt x="684" y="660"/>
                  </a:cubicBezTo>
                  <a:cubicBezTo>
                    <a:pt x="685" y="660"/>
                    <a:pt x="683" y="662"/>
                    <a:pt x="683" y="662"/>
                  </a:cubicBezTo>
                  <a:cubicBezTo>
                    <a:pt x="688" y="663"/>
                    <a:pt x="688" y="663"/>
                    <a:pt x="688" y="663"/>
                  </a:cubicBezTo>
                  <a:cubicBezTo>
                    <a:pt x="690" y="663"/>
                    <a:pt x="692" y="660"/>
                    <a:pt x="694" y="660"/>
                  </a:cubicBezTo>
                  <a:cubicBezTo>
                    <a:pt x="694" y="660"/>
                    <a:pt x="695" y="660"/>
                    <a:pt x="695" y="660"/>
                  </a:cubicBezTo>
                  <a:cubicBezTo>
                    <a:pt x="699" y="660"/>
                    <a:pt x="703" y="661"/>
                    <a:pt x="706" y="661"/>
                  </a:cubicBezTo>
                  <a:cubicBezTo>
                    <a:pt x="707" y="661"/>
                    <a:pt x="708" y="662"/>
                    <a:pt x="709" y="662"/>
                  </a:cubicBezTo>
                  <a:cubicBezTo>
                    <a:pt x="710" y="662"/>
                    <a:pt x="711" y="661"/>
                    <a:pt x="711" y="660"/>
                  </a:cubicBezTo>
                  <a:cubicBezTo>
                    <a:pt x="711" y="659"/>
                    <a:pt x="710" y="659"/>
                    <a:pt x="709" y="659"/>
                  </a:cubicBezTo>
                  <a:cubicBezTo>
                    <a:pt x="709" y="659"/>
                    <a:pt x="709" y="658"/>
                    <a:pt x="709" y="658"/>
                  </a:cubicBezTo>
                  <a:cubicBezTo>
                    <a:pt x="710" y="657"/>
                    <a:pt x="712" y="654"/>
                    <a:pt x="713" y="654"/>
                  </a:cubicBezTo>
                  <a:cubicBezTo>
                    <a:pt x="714" y="654"/>
                    <a:pt x="714" y="654"/>
                    <a:pt x="714" y="654"/>
                  </a:cubicBezTo>
                  <a:cubicBezTo>
                    <a:pt x="715" y="655"/>
                    <a:pt x="713" y="656"/>
                    <a:pt x="713" y="656"/>
                  </a:cubicBezTo>
                  <a:cubicBezTo>
                    <a:pt x="713" y="657"/>
                    <a:pt x="713" y="658"/>
                    <a:pt x="712" y="659"/>
                  </a:cubicBezTo>
                  <a:cubicBezTo>
                    <a:pt x="716" y="660"/>
                    <a:pt x="720" y="661"/>
                    <a:pt x="724" y="661"/>
                  </a:cubicBezTo>
                  <a:cubicBezTo>
                    <a:pt x="726" y="661"/>
                    <a:pt x="730" y="662"/>
                    <a:pt x="734" y="662"/>
                  </a:cubicBezTo>
                  <a:cubicBezTo>
                    <a:pt x="736" y="662"/>
                    <a:pt x="737" y="662"/>
                    <a:pt x="738" y="661"/>
                  </a:cubicBezTo>
                  <a:cubicBezTo>
                    <a:pt x="738" y="661"/>
                    <a:pt x="738" y="661"/>
                    <a:pt x="738" y="661"/>
                  </a:cubicBezTo>
                  <a:cubicBezTo>
                    <a:pt x="737" y="661"/>
                    <a:pt x="737" y="659"/>
                    <a:pt x="738" y="659"/>
                  </a:cubicBezTo>
                  <a:cubicBezTo>
                    <a:pt x="738" y="658"/>
                    <a:pt x="740" y="657"/>
                    <a:pt x="741" y="656"/>
                  </a:cubicBezTo>
                  <a:cubicBezTo>
                    <a:pt x="740" y="656"/>
                    <a:pt x="740" y="656"/>
                    <a:pt x="740" y="656"/>
                  </a:cubicBezTo>
                  <a:cubicBezTo>
                    <a:pt x="739" y="656"/>
                    <a:pt x="738" y="655"/>
                    <a:pt x="738" y="654"/>
                  </a:cubicBezTo>
                  <a:cubicBezTo>
                    <a:pt x="738" y="648"/>
                    <a:pt x="747" y="645"/>
                    <a:pt x="752" y="642"/>
                  </a:cubicBezTo>
                  <a:cubicBezTo>
                    <a:pt x="754" y="641"/>
                    <a:pt x="761" y="639"/>
                    <a:pt x="762" y="636"/>
                  </a:cubicBezTo>
                  <a:cubicBezTo>
                    <a:pt x="762" y="635"/>
                    <a:pt x="761" y="634"/>
                    <a:pt x="761" y="633"/>
                  </a:cubicBezTo>
                  <a:cubicBezTo>
                    <a:pt x="760" y="631"/>
                    <a:pt x="760" y="627"/>
                    <a:pt x="760" y="626"/>
                  </a:cubicBezTo>
                  <a:cubicBezTo>
                    <a:pt x="761" y="621"/>
                    <a:pt x="764" y="614"/>
                    <a:pt x="767" y="610"/>
                  </a:cubicBezTo>
                  <a:cubicBezTo>
                    <a:pt x="769" y="607"/>
                    <a:pt x="772" y="605"/>
                    <a:pt x="775" y="603"/>
                  </a:cubicBezTo>
                  <a:cubicBezTo>
                    <a:pt x="777" y="601"/>
                    <a:pt x="776" y="597"/>
                    <a:pt x="776" y="595"/>
                  </a:cubicBezTo>
                  <a:cubicBezTo>
                    <a:pt x="777" y="595"/>
                    <a:pt x="778" y="596"/>
                    <a:pt x="778" y="596"/>
                  </a:cubicBezTo>
                  <a:cubicBezTo>
                    <a:pt x="780" y="596"/>
                    <a:pt x="779" y="591"/>
                    <a:pt x="781" y="589"/>
                  </a:cubicBezTo>
                  <a:cubicBezTo>
                    <a:pt x="784" y="585"/>
                    <a:pt x="790" y="579"/>
                    <a:pt x="791" y="574"/>
                  </a:cubicBezTo>
                  <a:cubicBezTo>
                    <a:pt x="792" y="572"/>
                    <a:pt x="791" y="569"/>
                    <a:pt x="791" y="567"/>
                  </a:cubicBezTo>
                  <a:cubicBezTo>
                    <a:pt x="790" y="566"/>
                    <a:pt x="790" y="565"/>
                    <a:pt x="790" y="563"/>
                  </a:cubicBezTo>
                  <a:cubicBezTo>
                    <a:pt x="790" y="559"/>
                    <a:pt x="790" y="551"/>
                    <a:pt x="793" y="547"/>
                  </a:cubicBezTo>
                  <a:cubicBezTo>
                    <a:pt x="796" y="544"/>
                    <a:pt x="804" y="537"/>
                    <a:pt x="804" y="533"/>
                  </a:cubicBezTo>
                  <a:cubicBezTo>
                    <a:pt x="804" y="532"/>
                    <a:pt x="803" y="530"/>
                    <a:pt x="803" y="530"/>
                  </a:cubicBezTo>
                  <a:cubicBezTo>
                    <a:pt x="801" y="519"/>
                    <a:pt x="806" y="506"/>
                    <a:pt x="809" y="496"/>
                  </a:cubicBezTo>
                  <a:cubicBezTo>
                    <a:pt x="809" y="492"/>
                    <a:pt x="808" y="487"/>
                    <a:pt x="808" y="483"/>
                  </a:cubicBezTo>
                  <a:cubicBezTo>
                    <a:pt x="808" y="475"/>
                    <a:pt x="808" y="467"/>
                    <a:pt x="808" y="459"/>
                  </a:cubicBezTo>
                  <a:cubicBezTo>
                    <a:pt x="808" y="455"/>
                    <a:pt x="808" y="451"/>
                    <a:pt x="809" y="447"/>
                  </a:cubicBezTo>
                  <a:cubicBezTo>
                    <a:pt x="809" y="445"/>
                    <a:pt x="809" y="443"/>
                    <a:pt x="809" y="443"/>
                  </a:cubicBezTo>
                  <a:cubicBezTo>
                    <a:pt x="809" y="443"/>
                    <a:pt x="809" y="444"/>
                    <a:pt x="808" y="444"/>
                  </a:cubicBezTo>
                  <a:cubicBezTo>
                    <a:pt x="808" y="443"/>
                    <a:pt x="804" y="440"/>
                    <a:pt x="804" y="439"/>
                  </a:cubicBezTo>
                  <a:cubicBezTo>
                    <a:pt x="804" y="439"/>
                    <a:pt x="804" y="439"/>
                    <a:pt x="804" y="439"/>
                  </a:cubicBezTo>
                  <a:cubicBezTo>
                    <a:pt x="805" y="439"/>
                    <a:pt x="805" y="439"/>
                    <a:pt x="805" y="439"/>
                  </a:cubicBezTo>
                  <a:cubicBezTo>
                    <a:pt x="808" y="438"/>
                    <a:pt x="808" y="434"/>
                    <a:pt x="807" y="434"/>
                  </a:cubicBezTo>
                  <a:cubicBezTo>
                    <a:pt x="806" y="434"/>
                    <a:pt x="806" y="435"/>
                    <a:pt x="805" y="436"/>
                  </a:cubicBezTo>
                  <a:cubicBezTo>
                    <a:pt x="806" y="434"/>
                    <a:pt x="806" y="432"/>
                    <a:pt x="806" y="430"/>
                  </a:cubicBezTo>
                  <a:cubicBezTo>
                    <a:pt x="807" y="431"/>
                    <a:pt x="807" y="431"/>
                    <a:pt x="807" y="431"/>
                  </a:cubicBezTo>
                  <a:cubicBezTo>
                    <a:pt x="810" y="428"/>
                    <a:pt x="812" y="423"/>
                    <a:pt x="814" y="419"/>
                  </a:cubicBezTo>
                  <a:cubicBezTo>
                    <a:pt x="814" y="419"/>
                    <a:pt x="814" y="419"/>
                    <a:pt x="813" y="419"/>
                  </a:cubicBezTo>
                  <a:cubicBezTo>
                    <a:pt x="812" y="419"/>
                    <a:pt x="809" y="416"/>
                    <a:pt x="810" y="414"/>
                  </a:cubicBezTo>
                  <a:cubicBezTo>
                    <a:pt x="810" y="415"/>
                    <a:pt x="810" y="416"/>
                    <a:pt x="810" y="417"/>
                  </a:cubicBezTo>
                  <a:cubicBezTo>
                    <a:pt x="812" y="415"/>
                    <a:pt x="813" y="413"/>
                    <a:pt x="815" y="413"/>
                  </a:cubicBezTo>
                  <a:cubicBezTo>
                    <a:pt x="815" y="413"/>
                    <a:pt x="816" y="413"/>
                    <a:pt x="816" y="414"/>
                  </a:cubicBezTo>
                  <a:cubicBezTo>
                    <a:pt x="819" y="416"/>
                    <a:pt x="819" y="419"/>
                    <a:pt x="820" y="422"/>
                  </a:cubicBezTo>
                  <a:cubicBezTo>
                    <a:pt x="823" y="420"/>
                    <a:pt x="825" y="418"/>
                    <a:pt x="828" y="415"/>
                  </a:cubicBezTo>
                  <a:cubicBezTo>
                    <a:pt x="829" y="414"/>
                    <a:pt x="830" y="413"/>
                    <a:pt x="831" y="411"/>
                  </a:cubicBezTo>
                  <a:cubicBezTo>
                    <a:pt x="833" y="408"/>
                    <a:pt x="835" y="405"/>
                    <a:pt x="837" y="401"/>
                  </a:cubicBezTo>
                  <a:cubicBezTo>
                    <a:pt x="839" y="397"/>
                    <a:pt x="844" y="391"/>
                    <a:pt x="845" y="386"/>
                  </a:cubicBezTo>
                  <a:cubicBezTo>
                    <a:pt x="844" y="386"/>
                    <a:pt x="843" y="387"/>
                    <a:pt x="843" y="387"/>
                  </a:cubicBezTo>
                  <a:cubicBezTo>
                    <a:pt x="843" y="385"/>
                    <a:pt x="844" y="382"/>
                    <a:pt x="845" y="380"/>
                  </a:cubicBezTo>
                  <a:cubicBezTo>
                    <a:pt x="846" y="380"/>
                    <a:pt x="846" y="380"/>
                    <a:pt x="847" y="380"/>
                  </a:cubicBezTo>
                  <a:cubicBezTo>
                    <a:pt x="847" y="380"/>
                    <a:pt x="847" y="380"/>
                    <a:pt x="847" y="380"/>
                  </a:cubicBezTo>
                  <a:cubicBezTo>
                    <a:pt x="848" y="380"/>
                    <a:pt x="848" y="380"/>
                    <a:pt x="848" y="380"/>
                  </a:cubicBezTo>
                  <a:cubicBezTo>
                    <a:pt x="848" y="380"/>
                    <a:pt x="849" y="380"/>
                    <a:pt x="849" y="379"/>
                  </a:cubicBezTo>
                  <a:cubicBezTo>
                    <a:pt x="852" y="378"/>
                    <a:pt x="848" y="377"/>
                    <a:pt x="848" y="375"/>
                  </a:cubicBezTo>
                  <a:cubicBezTo>
                    <a:pt x="850" y="375"/>
                    <a:pt x="855" y="373"/>
                    <a:pt x="851" y="371"/>
                  </a:cubicBezTo>
                  <a:cubicBezTo>
                    <a:pt x="851" y="370"/>
                    <a:pt x="852" y="369"/>
                    <a:pt x="852" y="369"/>
                  </a:cubicBezTo>
                  <a:cubicBezTo>
                    <a:pt x="853" y="370"/>
                    <a:pt x="853" y="372"/>
                    <a:pt x="854" y="373"/>
                  </a:cubicBezTo>
                  <a:cubicBezTo>
                    <a:pt x="855" y="371"/>
                    <a:pt x="858" y="369"/>
                    <a:pt x="860" y="367"/>
                  </a:cubicBezTo>
                  <a:cubicBezTo>
                    <a:pt x="861" y="366"/>
                    <a:pt x="863" y="365"/>
                    <a:pt x="865" y="364"/>
                  </a:cubicBezTo>
                  <a:cubicBezTo>
                    <a:pt x="868" y="363"/>
                    <a:pt x="868" y="362"/>
                    <a:pt x="870" y="359"/>
                  </a:cubicBezTo>
                  <a:cubicBezTo>
                    <a:pt x="872" y="355"/>
                    <a:pt x="876" y="352"/>
                    <a:pt x="879" y="348"/>
                  </a:cubicBezTo>
                  <a:cubicBezTo>
                    <a:pt x="882" y="345"/>
                    <a:pt x="880" y="344"/>
                    <a:pt x="879" y="342"/>
                  </a:cubicBezTo>
                  <a:cubicBezTo>
                    <a:pt x="879" y="342"/>
                    <a:pt x="879" y="343"/>
                    <a:pt x="880" y="343"/>
                  </a:cubicBezTo>
                  <a:cubicBezTo>
                    <a:pt x="882" y="343"/>
                    <a:pt x="887" y="340"/>
                    <a:pt x="887" y="339"/>
                  </a:cubicBezTo>
                  <a:cubicBezTo>
                    <a:pt x="891" y="334"/>
                    <a:pt x="896" y="328"/>
                    <a:pt x="898" y="322"/>
                  </a:cubicBezTo>
                  <a:cubicBezTo>
                    <a:pt x="900" y="316"/>
                    <a:pt x="903" y="309"/>
                    <a:pt x="904" y="302"/>
                  </a:cubicBezTo>
                  <a:cubicBezTo>
                    <a:pt x="904" y="299"/>
                    <a:pt x="902" y="296"/>
                    <a:pt x="903" y="293"/>
                  </a:cubicBezTo>
                  <a:cubicBezTo>
                    <a:pt x="904" y="290"/>
                    <a:pt x="905" y="287"/>
                    <a:pt x="905" y="284"/>
                  </a:cubicBezTo>
                  <a:cubicBezTo>
                    <a:pt x="904" y="271"/>
                    <a:pt x="897" y="256"/>
                    <a:pt x="893" y="244"/>
                  </a:cubicBezTo>
                  <a:cubicBezTo>
                    <a:pt x="890" y="237"/>
                    <a:pt x="884" y="236"/>
                    <a:pt x="878" y="236"/>
                  </a:cubicBezTo>
                  <a:cubicBezTo>
                    <a:pt x="876" y="236"/>
                    <a:pt x="873" y="236"/>
                    <a:pt x="871" y="236"/>
                  </a:cubicBezTo>
                  <a:cubicBezTo>
                    <a:pt x="868" y="237"/>
                    <a:pt x="866" y="237"/>
                    <a:pt x="864" y="237"/>
                  </a:cubicBezTo>
                  <a:cubicBezTo>
                    <a:pt x="864" y="237"/>
                    <a:pt x="864" y="237"/>
                    <a:pt x="864" y="237"/>
                  </a:cubicBezTo>
                  <a:cubicBezTo>
                    <a:pt x="858" y="237"/>
                    <a:pt x="851" y="233"/>
                    <a:pt x="847" y="230"/>
                  </a:cubicBezTo>
                  <a:cubicBezTo>
                    <a:pt x="842" y="225"/>
                    <a:pt x="836" y="221"/>
                    <a:pt x="831" y="217"/>
                  </a:cubicBezTo>
                  <a:cubicBezTo>
                    <a:pt x="821" y="207"/>
                    <a:pt x="810" y="200"/>
                    <a:pt x="797" y="193"/>
                  </a:cubicBezTo>
                  <a:cubicBezTo>
                    <a:pt x="790" y="189"/>
                    <a:pt x="784" y="187"/>
                    <a:pt x="776" y="184"/>
                  </a:cubicBezTo>
                  <a:cubicBezTo>
                    <a:pt x="775" y="184"/>
                    <a:pt x="774" y="184"/>
                    <a:pt x="774" y="184"/>
                  </a:cubicBezTo>
                  <a:cubicBezTo>
                    <a:pt x="772" y="184"/>
                    <a:pt x="772" y="184"/>
                    <a:pt x="770" y="184"/>
                  </a:cubicBezTo>
                  <a:cubicBezTo>
                    <a:pt x="767" y="184"/>
                    <a:pt x="765" y="185"/>
                    <a:pt x="763" y="185"/>
                  </a:cubicBezTo>
                  <a:cubicBezTo>
                    <a:pt x="762" y="185"/>
                    <a:pt x="762" y="185"/>
                    <a:pt x="762" y="185"/>
                  </a:cubicBezTo>
                  <a:cubicBezTo>
                    <a:pt x="761" y="185"/>
                    <a:pt x="760" y="185"/>
                    <a:pt x="760" y="185"/>
                  </a:cubicBezTo>
                  <a:cubicBezTo>
                    <a:pt x="759" y="185"/>
                    <a:pt x="758" y="185"/>
                    <a:pt x="758" y="185"/>
                  </a:cubicBezTo>
                  <a:cubicBezTo>
                    <a:pt x="756" y="185"/>
                    <a:pt x="755" y="185"/>
                    <a:pt x="754" y="186"/>
                  </a:cubicBezTo>
                  <a:cubicBezTo>
                    <a:pt x="755" y="186"/>
                    <a:pt x="755" y="188"/>
                    <a:pt x="755" y="189"/>
                  </a:cubicBezTo>
                  <a:cubicBezTo>
                    <a:pt x="752" y="187"/>
                    <a:pt x="745" y="183"/>
                    <a:pt x="742" y="183"/>
                  </a:cubicBezTo>
                  <a:cubicBezTo>
                    <a:pt x="741" y="183"/>
                    <a:pt x="741" y="183"/>
                    <a:pt x="741" y="183"/>
                  </a:cubicBezTo>
                  <a:cubicBezTo>
                    <a:pt x="738" y="183"/>
                    <a:pt x="735" y="184"/>
                    <a:pt x="733" y="184"/>
                  </a:cubicBezTo>
                  <a:cubicBezTo>
                    <a:pt x="733" y="184"/>
                    <a:pt x="732" y="184"/>
                    <a:pt x="732" y="184"/>
                  </a:cubicBezTo>
                  <a:cubicBezTo>
                    <a:pt x="730" y="184"/>
                    <a:pt x="728" y="182"/>
                    <a:pt x="726" y="181"/>
                  </a:cubicBezTo>
                  <a:cubicBezTo>
                    <a:pt x="720" y="179"/>
                    <a:pt x="714" y="177"/>
                    <a:pt x="709" y="175"/>
                  </a:cubicBezTo>
                  <a:cubicBezTo>
                    <a:pt x="708" y="175"/>
                    <a:pt x="705" y="174"/>
                    <a:pt x="704" y="174"/>
                  </a:cubicBezTo>
                  <a:cubicBezTo>
                    <a:pt x="704" y="174"/>
                    <a:pt x="703" y="174"/>
                    <a:pt x="704" y="175"/>
                  </a:cubicBezTo>
                  <a:cubicBezTo>
                    <a:pt x="700" y="176"/>
                    <a:pt x="696" y="176"/>
                    <a:pt x="693" y="178"/>
                  </a:cubicBezTo>
                  <a:cubicBezTo>
                    <a:pt x="692" y="178"/>
                    <a:pt x="691" y="179"/>
                    <a:pt x="691" y="180"/>
                  </a:cubicBezTo>
                  <a:cubicBezTo>
                    <a:pt x="689" y="182"/>
                    <a:pt x="688" y="183"/>
                    <a:pt x="686" y="183"/>
                  </a:cubicBezTo>
                  <a:cubicBezTo>
                    <a:pt x="685" y="183"/>
                    <a:pt x="685" y="183"/>
                    <a:pt x="683" y="183"/>
                  </a:cubicBezTo>
                  <a:cubicBezTo>
                    <a:pt x="687" y="181"/>
                    <a:pt x="689" y="177"/>
                    <a:pt x="690" y="174"/>
                  </a:cubicBezTo>
                  <a:cubicBezTo>
                    <a:pt x="690" y="174"/>
                    <a:pt x="690" y="174"/>
                    <a:pt x="690" y="174"/>
                  </a:cubicBezTo>
                  <a:cubicBezTo>
                    <a:pt x="688" y="174"/>
                    <a:pt x="684" y="176"/>
                    <a:pt x="683" y="177"/>
                  </a:cubicBezTo>
                  <a:cubicBezTo>
                    <a:pt x="682" y="178"/>
                    <a:pt x="682" y="182"/>
                    <a:pt x="682" y="183"/>
                  </a:cubicBezTo>
                  <a:cubicBezTo>
                    <a:pt x="681" y="188"/>
                    <a:pt x="678" y="190"/>
                    <a:pt x="675" y="194"/>
                  </a:cubicBezTo>
                  <a:cubicBezTo>
                    <a:pt x="674" y="194"/>
                    <a:pt x="674" y="194"/>
                    <a:pt x="674" y="194"/>
                  </a:cubicBezTo>
                  <a:cubicBezTo>
                    <a:pt x="673" y="194"/>
                    <a:pt x="674" y="193"/>
                    <a:pt x="674" y="193"/>
                  </a:cubicBezTo>
                  <a:cubicBezTo>
                    <a:pt x="674" y="193"/>
                    <a:pt x="674" y="193"/>
                    <a:pt x="674" y="193"/>
                  </a:cubicBezTo>
                  <a:cubicBezTo>
                    <a:pt x="674" y="193"/>
                    <a:pt x="675" y="192"/>
                    <a:pt x="675" y="192"/>
                  </a:cubicBezTo>
                  <a:cubicBezTo>
                    <a:pt x="676" y="187"/>
                    <a:pt x="676" y="183"/>
                    <a:pt x="678" y="178"/>
                  </a:cubicBezTo>
                  <a:cubicBezTo>
                    <a:pt x="678" y="177"/>
                    <a:pt x="678" y="177"/>
                    <a:pt x="678" y="177"/>
                  </a:cubicBezTo>
                  <a:cubicBezTo>
                    <a:pt x="678" y="178"/>
                    <a:pt x="677" y="178"/>
                    <a:pt x="676" y="179"/>
                  </a:cubicBezTo>
                  <a:cubicBezTo>
                    <a:pt x="682" y="169"/>
                    <a:pt x="682" y="169"/>
                    <a:pt x="682" y="169"/>
                  </a:cubicBezTo>
                  <a:cubicBezTo>
                    <a:pt x="682" y="168"/>
                    <a:pt x="681" y="168"/>
                    <a:pt x="681" y="168"/>
                  </a:cubicBezTo>
                  <a:cubicBezTo>
                    <a:pt x="680" y="168"/>
                    <a:pt x="679" y="169"/>
                    <a:pt x="679" y="169"/>
                  </a:cubicBezTo>
                  <a:cubicBezTo>
                    <a:pt x="678" y="169"/>
                    <a:pt x="677" y="171"/>
                    <a:pt x="677" y="171"/>
                  </a:cubicBezTo>
                  <a:cubicBezTo>
                    <a:pt x="676" y="171"/>
                    <a:pt x="676" y="171"/>
                    <a:pt x="676" y="171"/>
                  </a:cubicBezTo>
                  <a:cubicBezTo>
                    <a:pt x="676" y="171"/>
                    <a:pt x="675" y="171"/>
                    <a:pt x="675" y="171"/>
                  </a:cubicBezTo>
                  <a:cubicBezTo>
                    <a:pt x="674" y="171"/>
                    <a:pt x="674" y="171"/>
                    <a:pt x="673" y="171"/>
                  </a:cubicBezTo>
                  <a:cubicBezTo>
                    <a:pt x="673" y="171"/>
                    <a:pt x="673" y="171"/>
                    <a:pt x="672" y="171"/>
                  </a:cubicBezTo>
                  <a:cubicBezTo>
                    <a:pt x="674" y="171"/>
                    <a:pt x="675" y="171"/>
                    <a:pt x="676" y="170"/>
                  </a:cubicBezTo>
                  <a:cubicBezTo>
                    <a:pt x="677" y="169"/>
                    <a:pt x="679" y="162"/>
                    <a:pt x="679" y="161"/>
                  </a:cubicBezTo>
                  <a:cubicBezTo>
                    <a:pt x="678" y="160"/>
                    <a:pt x="677" y="159"/>
                    <a:pt x="676" y="158"/>
                  </a:cubicBezTo>
                  <a:cubicBezTo>
                    <a:pt x="676" y="160"/>
                    <a:pt x="675" y="160"/>
                    <a:pt x="674" y="160"/>
                  </a:cubicBezTo>
                  <a:cubicBezTo>
                    <a:pt x="674" y="160"/>
                    <a:pt x="673" y="160"/>
                    <a:pt x="673" y="160"/>
                  </a:cubicBezTo>
                  <a:cubicBezTo>
                    <a:pt x="673" y="160"/>
                    <a:pt x="674" y="159"/>
                    <a:pt x="675" y="158"/>
                  </a:cubicBezTo>
                  <a:cubicBezTo>
                    <a:pt x="675" y="158"/>
                    <a:pt x="675" y="158"/>
                    <a:pt x="675" y="158"/>
                  </a:cubicBezTo>
                  <a:cubicBezTo>
                    <a:pt x="673" y="158"/>
                    <a:pt x="673" y="157"/>
                    <a:pt x="673" y="156"/>
                  </a:cubicBezTo>
                  <a:cubicBezTo>
                    <a:pt x="673" y="156"/>
                    <a:pt x="673" y="156"/>
                    <a:pt x="673" y="156"/>
                  </a:cubicBezTo>
                  <a:cubicBezTo>
                    <a:pt x="672" y="155"/>
                    <a:pt x="672" y="155"/>
                    <a:pt x="672" y="155"/>
                  </a:cubicBezTo>
                  <a:cubicBezTo>
                    <a:pt x="672" y="155"/>
                    <a:pt x="672" y="155"/>
                    <a:pt x="672" y="156"/>
                  </a:cubicBezTo>
                  <a:cubicBezTo>
                    <a:pt x="671" y="156"/>
                    <a:pt x="671" y="156"/>
                    <a:pt x="671" y="156"/>
                  </a:cubicBezTo>
                  <a:cubicBezTo>
                    <a:pt x="670" y="156"/>
                    <a:pt x="670" y="156"/>
                    <a:pt x="669" y="155"/>
                  </a:cubicBezTo>
                  <a:cubicBezTo>
                    <a:pt x="670" y="155"/>
                    <a:pt x="671" y="153"/>
                    <a:pt x="671" y="151"/>
                  </a:cubicBezTo>
                  <a:cubicBezTo>
                    <a:pt x="670" y="153"/>
                    <a:pt x="669" y="153"/>
                    <a:pt x="669" y="154"/>
                  </a:cubicBezTo>
                  <a:cubicBezTo>
                    <a:pt x="668" y="153"/>
                    <a:pt x="667" y="153"/>
                    <a:pt x="666" y="152"/>
                  </a:cubicBezTo>
                  <a:cubicBezTo>
                    <a:pt x="666" y="153"/>
                    <a:pt x="666" y="153"/>
                    <a:pt x="666" y="153"/>
                  </a:cubicBezTo>
                  <a:cubicBezTo>
                    <a:pt x="666" y="153"/>
                    <a:pt x="666" y="153"/>
                    <a:pt x="665" y="153"/>
                  </a:cubicBezTo>
                  <a:cubicBezTo>
                    <a:pt x="665" y="153"/>
                    <a:pt x="665" y="153"/>
                    <a:pt x="665" y="153"/>
                  </a:cubicBezTo>
                  <a:cubicBezTo>
                    <a:pt x="663" y="153"/>
                    <a:pt x="662" y="157"/>
                    <a:pt x="661" y="159"/>
                  </a:cubicBezTo>
                  <a:cubicBezTo>
                    <a:pt x="661" y="155"/>
                    <a:pt x="661" y="152"/>
                    <a:pt x="660" y="149"/>
                  </a:cubicBezTo>
                  <a:cubicBezTo>
                    <a:pt x="659" y="151"/>
                    <a:pt x="659" y="151"/>
                    <a:pt x="656" y="153"/>
                  </a:cubicBezTo>
                  <a:cubicBezTo>
                    <a:pt x="657" y="152"/>
                    <a:pt x="657" y="150"/>
                    <a:pt x="658" y="148"/>
                  </a:cubicBezTo>
                  <a:cubicBezTo>
                    <a:pt x="658" y="149"/>
                    <a:pt x="658" y="149"/>
                    <a:pt x="657" y="149"/>
                  </a:cubicBezTo>
                  <a:cubicBezTo>
                    <a:pt x="657" y="149"/>
                    <a:pt x="656" y="149"/>
                    <a:pt x="656" y="148"/>
                  </a:cubicBezTo>
                  <a:cubicBezTo>
                    <a:pt x="655" y="148"/>
                    <a:pt x="655" y="148"/>
                    <a:pt x="654" y="148"/>
                  </a:cubicBezTo>
                  <a:cubicBezTo>
                    <a:pt x="654" y="148"/>
                    <a:pt x="654" y="148"/>
                    <a:pt x="654" y="148"/>
                  </a:cubicBezTo>
                  <a:cubicBezTo>
                    <a:pt x="653" y="148"/>
                    <a:pt x="653" y="150"/>
                    <a:pt x="652" y="150"/>
                  </a:cubicBezTo>
                  <a:cubicBezTo>
                    <a:pt x="652" y="150"/>
                    <a:pt x="652" y="150"/>
                    <a:pt x="652" y="150"/>
                  </a:cubicBezTo>
                  <a:cubicBezTo>
                    <a:pt x="651" y="150"/>
                    <a:pt x="651" y="145"/>
                    <a:pt x="651" y="145"/>
                  </a:cubicBezTo>
                  <a:cubicBezTo>
                    <a:pt x="651" y="145"/>
                    <a:pt x="651" y="147"/>
                    <a:pt x="650" y="147"/>
                  </a:cubicBezTo>
                  <a:cubicBezTo>
                    <a:pt x="650" y="147"/>
                    <a:pt x="650" y="147"/>
                    <a:pt x="650" y="147"/>
                  </a:cubicBezTo>
                  <a:cubicBezTo>
                    <a:pt x="649" y="146"/>
                    <a:pt x="648" y="145"/>
                    <a:pt x="648" y="145"/>
                  </a:cubicBezTo>
                  <a:cubicBezTo>
                    <a:pt x="647" y="146"/>
                    <a:pt x="647" y="146"/>
                    <a:pt x="647" y="146"/>
                  </a:cubicBezTo>
                  <a:cubicBezTo>
                    <a:pt x="647" y="146"/>
                    <a:pt x="647" y="146"/>
                    <a:pt x="647" y="146"/>
                  </a:cubicBezTo>
                  <a:cubicBezTo>
                    <a:pt x="647" y="146"/>
                    <a:pt x="646" y="146"/>
                    <a:pt x="646" y="146"/>
                  </a:cubicBezTo>
                  <a:cubicBezTo>
                    <a:pt x="646" y="146"/>
                    <a:pt x="646" y="146"/>
                    <a:pt x="645" y="146"/>
                  </a:cubicBezTo>
                  <a:cubicBezTo>
                    <a:pt x="645" y="146"/>
                    <a:pt x="645" y="146"/>
                    <a:pt x="645" y="146"/>
                  </a:cubicBezTo>
                  <a:cubicBezTo>
                    <a:pt x="645" y="145"/>
                    <a:pt x="645" y="144"/>
                    <a:pt x="645" y="143"/>
                  </a:cubicBezTo>
                  <a:cubicBezTo>
                    <a:pt x="644" y="144"/>
                    <a:pt x="644" y="145"/>
                    <a:pt x="643" y="146"/>
                  </a:cubicBezTo>
                  <a:cubicBezTo>
                    <a:pt x="643" y="144"/>
                    <a:pt x="643" y="144"/>
                    <a:pt x="642" y="144"/>
                  </a:cubicBezTo>
                  <a:cubicBezTo>
                    <a:pt x="642" y="144"/>
                    <a:pt x="640" y="145"/>
                    <a:pt x="639" y="145"/>
                  </a:cubicBezTo>
                  <a:cubicBezTo>
                    <a:pt x="640" y="144"/>
                    <a:pt x="640" y="142"/>
                    <a:pt x="640" y="140"/>
                  </a:cubicBezTo>
                  <a:cubicBezTo>
                    <a:pt x="640" y="140"/>
                    <a:pt x="640" y="139"/>
                    <a:pt x="640" y="139"/>
                  </a:cubicBezTo>
                  <a:cubicBezTo>
                    <a:pt x="640" y="139"/>
                    <a:pt x="640" y="140"/>
                    <a:pt x="640" y="140"/>
                  </a:cubicBezTo>
                  <a:cubicBezTo>
                    <a:pt x="639" y="140"/>
                    <a:pt x="639" y="141"/>
                    <a:pt x="639" y="141"/>
                  </a:cubicBezTo>
                  <a:cubicBezTo>
                    <a:pt x="639" y="141"/>
                    <a:pt x="639" y="141"/>
                    <a:pt x="639" y="141"/>
                  </a:cubicBezTo>
                  <a:cubicBezTo>
                    <a:pt x="639" y="141"/>
                    <a:pt x="638" y="143"/>
                    <a:pt x="637" y="143"/>
                  </a:cubicBezTo>
                  <a:cubicBezTo>
                    <a:pt x="636" y="143"/>
                    <a:pt x="636" y="143"/>
                    <a:pt x="636" y="143"/>
                  </a:cubicBezTo>
                  <a:cubicBezTo>
                    <a:pt x="633" y="143"/>
                    <a:pt x="630" y="143"/>
                    <a:pt x="627" y="142"/>
                  </a:cubicBezTo>
                  <a:cubicBezTo>
                    <a:pt x="629" y="141"/>
                    <a:pt x="632" y="138"/>
                    <a:pt x="629" y="138"/>
                  </a:cubicBezTo>
                  <a:cubicBezTo>
                    <a:pt x="629" y="138"/>
                    <a:pt x="629" y="138"/>
                    <a:pt x="629" y="138"/>
                  </a:cubicBezTo>
                  <a:cubicBezTo>
                    <a:pt x="629" y="138"/>
                    <a:pt x="628" y="138"/>
                    <a:pt x="628" y="139"/>
                  </a:cubicBezTo>
                  <a:cubicBezTo>
                    <a:pt x="628" y="139"/>
                    <a:pt x="628" y="140"/>
                    <a:pt x="627" y="140"/>
                  </a:cubicBezTo>
                  <a:cubicBezTo>
                    <a:pt x="627" y="140"/>
                    <a:pt x="627" y="139"/>
                    <a:pt x="627" y="139"/>
                  </a:cubicBezTo>
                  <a:cubicBezTo>
                    <a:pt x="626" y="138"/>
                    <a:pt x="626" y="136"/>
                    <a:pt x="626" y="135"/>
                  </a:cubicBezTo>
                  <a:cubicBezTo>
                    <a:pt x="625" y="137"/>
                    <a:pt x="624" y="137"/>
                    <a:pt x="623" y="139"/>
                  </a:cubicBezTo>
                  <a:cubicBezTo>
                    <a:pt x="622" y="138"/>
                    <a:pt x="622" y="137"/>
                    <a:pt x="622" y="136"/>
                  </a:cubicBezTo>
                  <a:cubicBezTo>
                    <a:pt x="621" y="137"/>
                    <a:pt x="621" y="138"/>
                    <a:pt x="620" y="138"/>
                  </a:cubicBezTo>
                  <a:cubicBezTo>
                    <a:pt x="618" y="138"/>
                    <a:pt x="615" y="134"/>
                    <a:pt x="614" y="133"/>
                  </a:cubicBezTo>
                  <a:cubicBezTo>
                    <a:pt x="613" y="133"/>
                    <a:pt x="612" y="133"/>
                    <a:pt x="611" y="133"/>
                  </a:cubicBezTo>
                  <a:cubicBezTo>
                    <a:pt x="609" y="133"/>
                    <a:pt x="607" y="133"/>
                    <a:pt x="605" y="134"/>
                  </a:cubicBezTo>
                  <a:cubicBezTo>
                    <a:pt x="600" y="134"/>
                    <a:pt x="596" y="135"/>
                    <a:pt x="593" y="139"/>
                  </a:cubicBezTo>
                  <a:cubicBezTo>
                    <a:pt x="592" y="140"/>
                    <a:pt x="591" y="141"/>
                    <a:pt x="591" y="142"/>
                  </a:cubicBezTo>
                  <a:cubicBezTo>
                    <a:pt x="591" y="142"/>
                    <a:pt x="592" y="143"/>
                    <a:pt x="592" y="144"/>
                  </a:cubicBezTo>
                  <a:cubicBezTo>
                    <a:pt x="592" y="144"/>
                    <a:pt x="593" y="145"/>
                    <a:pt x="592" y="146"/>
                  </a:cubicBezTo>
                  <a:cubicBezTo>
                    <a:pt x="591" y="146"/>
                    <a:pt x="589" y="147"/>
                    <a:pt x="588" y="148"/>
                  </a:cubicBezTo>
                  <a:cubicBezTo>
                    <a:pt x="587" y="149"/>
                    <a:pt x="586" y="151"/>
                    <a:pt x="587" y="152"/>
                  </a:cubicBezTo>
                  <a:cubicBezTo>
                    <a:pt x="587" y="153"/>
                    <a:pt x="588" y="153"/>
                    <a:pt x="589" y="153"/>
                  </a:cubicBezTo>
                  <a:cubicBezTo>
                    <a:pt x="589" y="153"/>
                    <a:pt x="590" y="153"/>
                    <a:pt x="591" y="153"/>
                  </a:cubicBezTo>
                  <a:cubicBezTo>
                    <a:pt x="592" y="152"/>
                    <a:pt x="593" y="152"/>
                    <a:pt x="593" y="152"/>
                  </a:cubicBezTo>
                  <a:cubicBezTo>
                    <a:pt x="593" y="152"/>
                    <a:pt x="594" y="152"/>
                    <a:pt x="594" y="152"/>
                  </a:cubicBezTo>
                  <a:cubicBezTo>
                    <a:pt x="590" y="153"/>
                    <a:pt x="586" y="152"/>
                    <a:pt x="588" y="156"/>
                  </a:cubicBezTo>
                  <a:cubicBezTo>
                    <a:pt x="586" y="156"/>
                    <a:pt x="585" y="154"/>
                    <a:pt x="584" y="154"/>
                  </a:cubicBezTo>
                  <a:cubicBezTo>
                    <a:pt x="583" y="154"/>
                    <a:pt x="583" y="154"/>
                    <a:pt x="582" y="155"/>
                  </a:cubicBezTo>
                  <a:cubicBezTo>
                    <a:pt x="578" y="157"/>
                    <a:pt x="573" y="160"/>
                    <a:pt x="570" y="163"/>
                  </a:cubicBezTo>
                  <a:cubicBezTo>
                    <a:pt x="567" y="167"/>
                    <a:pt x="566" y="174"/>
                    <a:pt x="564" y="178"/>
                  </a:cubicBezTo>
                  <a:cubicBezTo>
                    <a:pt x="563" y="176"/>
                    <a:pt x="565" y="170"/>
                    <a:pt x="566" y="168"/>
                  </a:cubicBezTo>
                  <a:cubicBezTo>
                    <a:pt x="567" y="165"/>
                    <a:pt x="568" y="162"/>
                    <a:pt x="568" y="158"/>
                  </a:cubicBezTo>
                  <a:cubicBezTo>
                    <a:pt x="565" y="159"/>
                    <a:pt x="564" y="160"/>
                    <a:pt x="561" y="161"/>
                  </a:cubicBezTo>
                  <a:cubicBezTo>
                    <a:pt x="560" y="162"/>
                    <a:pt x="559" y="162"/>
                    <a:pt x="557" y="162"/>
                  </a:cubicBezTo>
                  <a:cubicBezTo>
                    <a:pt x="556" y="163"/>
                    <a:pt x="556" y="163"/>
                    <a:pt x="555" y="165"/>
                  </a:cubicBezTo>
                  <a:cubicBezTo>
                    <a:pt x="555" y="162"/>
                    <a:pt x="552" y="161"/>
                    <a:pt x="550" y="161"/>
                  </a:cubicBezTo>
                  <a:cubicBezTo>
                    <a:pt x="549" y="161"/>
                    <a:pt x="548" y="161"/>
                    <a:pt x="548" y="163"/>
                  </a:cubicBezTo>
                  <a:cubicBezTo>
                    <a:pt x="546" y="162"/>
                    <a:pt x="544" y="162"/>
                    <a:pt x="543" y="161"/>
                  </a:cubicBezTo>
                  <a:cubicBezTo>
                    <a:pt x="546" y="161"/>
                    <a:pt x="548" y="160"/>
                    <a:pt x="550" y="160"/>
                  </a:cubicBezTo>
                  <a:cubicBezTo>
                    <a:pt x="551" y="160"/>
                    <a:pt x="553" y="160"/>
                    <a:pt x="555" y="161"/>
                  </a:cubicBezTo>
                  <a:cubicBezTo>
                    <a:pt x="555" y="161"/>
                    <a:pt x="555" y="161"/>
                    <a:pt x="555" y="161"/>
                  </a:cubicBezTo>
                  <a:cubicBezTo>
                    <a:pt x="556" y="161"/>
                    <a:pt x="556" y="160"/>
                    <a:pt x="557" y="160"/>
                  </a:cubicBezTo>
                  <a:cubicBezTo>
                    <a:pt x="557" y="160"/>
                    <a:pt x="558" y="159"/>
                    <a:pt x="558" y="159"/>
                  </a:cubicBezTo>
                  <a:cubicBezTo>
                    <a:pt x="559" y="159"/>
                    <a:pt x="559" y="159"/>
                    <a:pt x="559" y="159"/>
                  </a:cubicBezTo>
                  <a:cubicBezTo>
                    <a:pt x="559" y="159"/>
                    <a:pt x="559" y="159"/>
                    <a:pt x="560" y="159"/>
                  </a:cubicBezTo>
                  <a:cubicBezTo>
                    <a:pt x="560" y="159"/>
                    <a:pt x="560" y="159"/>
                    <a:pt x="560" y="159"/>
                  </a:cubicBezTo>
                  <a:cubicBezTo>
                    <a:pt x="561" y="159"/>
                    <a:pt x="561" y="159"/>
                    <a:pt x="561" y="159"/>
                  </a:cubicBezTo>
                  <a:cubicBezTo>
                    <a:pt x="561" y="159"/>
                    <a:pt x="561" y="159"/>
                    <a:pt x="561" y="159"/>
                  </a:cubicBezTo>
                  <a:cubicBezTo>
                    <a:pt x="561" y="159"/>
                    <a:pt x="561" y="159"/>
                    <a:pt x="561" y="159"/>
                  </a:cubicBezTo>
                  <a:cubicBezTo>
                    <a:pt x="562" y="159"/>
                    <a:pt x="562" y="159"/>
                    <a:pt x="562" y="159"/>
                  </a:cubicBezTo>
                  <a:cubicBezTo>
                    <a:pt x="562" y="158"/>
                    <a:pt x="562" y="158"/>
                    <a:pt x="562" y="158"/>
                  </a:cubicBezTo>
                  <a:cubicBezTo>
                    <a:pt x="563" y="157"/>
                    <a:pt x="563" y="157"/>
                    <a:pt x="563" y="157"/>
                  </a:cubicBezTo>
                  <a:cubicBezTo>
                    <a:pt x="563" y="157"/>
                    <a:pt x="563" y="157"/>
                    <a:pt x="563" y="157"/>
                  </a:cubicBezTo>
                  <a:cubicBezTo>
                    <a:pt x="563" y="156"/>
                    <a:pt x="563" y="156"/>
                    <a:pt x="563" y="156"/>
                  </a:cubicBezTo>
                  <a:cubicBezTo>
                    <a:pt x="563" y="155"/>
                    <a:pt x="563" y="155"/>
                    <a:pt x="563" y="155"/>
                  </a:cubicBezTo>
                  <a:cubicBezTo>
                    <a:pt x="563" y="155"/>
                    <a:pt x="563" y="154"/>
                    <a:pt x="563" y="154"/>
                  </a:cubicBezTo>
                  <a:cubicBezTo>
                    <a:pt x="564" y="155"/>
                    <a:pt x="564" y="155"/>
                    <a:pt x="564" y="155"/>
                  </a:cubicBezTo>
                  <a:cubicBezTo>
                    <a:pt x="564" y="156"/>
                    <a:pt x="565" y="156"/>
                    <a:pt x="565" y="157"/>
                  </a:cubicBezTo>
                  <a:cubicBezTo>
                    <a:pt x="565" y="157"/>
                    <a:pt x="565" y="157"/>
                    <a:pt x="565" y="157"/>
                  </a:cubicBezTo>
                  <a:cubicBezTo>
                    <a:pt x="565" y="157"/>
                    <a:pt x="565" y="157"/>
                    <a:pt x="565" y="157"/>
                  </a:cubicBezTo>
                  <a:cubicBezTo>
                    <a:pt x="565" y="157"/>
                    <a:pt x="565" y="157"/>
                    <a:pt x="565" y="157"/>
                  </a:cubicBezTo>
                  <a:cubicBezTo>
                    <a:pt x="566" y="157"/>
                    <a:pt x="566" y="157"/>
                    <a:pt x="566" y="157"/>
                  </a:cubicBezTo>
                  <a:cubicBezTo>
                    <a:pt x="566" y="157"/>
                    <a:pt x="566" y="157"/>
                    <a:pt x="566" y="157"/>
                  </a:cubicBezTo>
                  <a:cubicBezTo>
                    <a:pt x="566" y="157"/>
                    <a:pt x="566" y="157"/>
                    <a:pt x="566" y="157"/>
                  </a:cubicBezTo>
                  <a:cubicBezTo>
                    <a:pt x="566" y="157"/>
                    <a:pt x="566" y="157"/>
                    <a:pt x="566" y="157"/>
                  </a:cubicBezTo>
                  <a:cubicBezTo>
                    <a:pt x="567" y="157"/>
                    <a:pt x="567" y="157"/>
                    <a:pt x="567" y="157"/>
                  </a:cubicBezTo>
                  <a:cubicBezTo>
                    <a:pt x="567" y="157"/>
                    <a:pt x="567" y="157"/>
                    <a:pt x="567" y="157"/>
                  </a:cubicBezTo>
                  <a:cubicBezTo>
                    <a:pt x="567" y="157"/>
                    <a:pt x="567" y="157"/>
                    <a:pt x="567" y="157"/>
                  </a:cubicBezTo>
                  <a:cubicBezTo>
                    <a:pt x="568" y="157"/>
                    <a:pt x="569" y="157"/>
                    <a:pt x="570" y="157"/>
                  </a:cubicBezTo>
                  <a:cubicBezTo>
                    <a:pt x="570" y="157"/>
                    <a:pt x="571" y="157"/>
                    <a:pt x="571" y="157"/>
                  </a:cubicBezTo>
                  <a:cubicBezTo>
                    <a:pt x="573" y="156"/>
                    <a:pt x="577" y="155"/>
                    <a:pt x="579" y="153"/>
                  </a:cubicBezTo>
                  <a:cubicBezTo>
                    <a:pt x="580" y="152"/>
                    <a:pt x="581" y="148"/>
                    <a:pt x="582" y="146"/>
                  </a:cubicBezTo>
                  <a:cubicBezTo>
                    <a:pt x="582" y="145"/>
                    <a:pt x="582" y="145"/>
                    <a:pt x="582" y="145"/>
                  </a:cubicBezTo>
                  <a:cubicBezTo>
                    <a:pt x="582" y="145"/>
                    <a:pt x="582" y="145"/>
                    <a:pt x="582" y="145"/>
                  </a:cubicBezTo>
                  <a:cubicBezTo>
                    <a:pt x="583" y="145"/>
                    <a:pt x="583" y="144"/>
                    <a:pt x="584" y="144"/>
                  </a:cubicBezTo>
                  <a:cubicBezTo>
                    <a:pt x="584" y="143"/>
                    <a:pt x="584" y="142"/>
                    <a:pt x="584" y="142"/>
                  </a:cubicBezTo>
                  <a:cubicBezTo>
                    <a:pt x="584" y="141"/>
                    <a:pt x="584" y="141"/>
                    <a:pt x="584" y="141"/>
                  </a:cubicBezTo>
                  <a:cubicBezTo>
                    <a:pt x="585" y="140"/>
                    <a:pt x="585" y="140"/>
                    <a:pt x="585" y="140"/>
                  </a:cubicBezTo>
                  <a:cubicBezTo>
                    <a:pt x="585" y="140"/>
                    <a:pt x="586" y="140"/>
                    <a:pt x="586" y="139"/>
                  </a:cubicBezTo>
                  <a:cubicBezTo>
                    <a:pt x="586" y="139"/>
                    <a:pt x="586" y="139"/>
                    <a:pt x="586" y="139"/>
                  </a:cubicBezTo>
                  <a:cubicBezTo>
                    <a:pt x="586" y="139"/>
                    <a:pt x="586" y="139"/>
                    <a:pt x="586" y="139"/>
                  </a:cubicBezTo>
                  <a:cubicBezTo>
                    <a:pt x="586" y="139"/>
                    <a:pt x="586" y="138"/>
                    <a:pt x="586" y="138"/>
                  </a:cubicBezTo>
                  <a:cubicBezTo>
                    <a:pt x="586" y="138"/>
                    <a:pt x="586" y="138"/>
                    <a:pt x="586" y="138"/>
                  </a:cubicBezTo>
                  <a:cubicBezTo>
                    <a:pt x="586" y="137"/>
                    <a:pt x="586" y="137"/>
                    <a:pt x="586" y="136"/>
                  </a:cubicBezTo>
                  <a:cubicBezTo>
                    <a:pt x="587" y="136"/>
                    <a:pt x="587" y="136"/>
                    <a:pt x="587" y="136"/>
                  </a:cubicBezTo>
                  <a:cubicBezTo>
                    <a:pt x="587" y="136"/>
                    <a:pt x="587" y="136"/>
                    <a:pt x="587" y="136"/>
                  </a:cubicBezTo>
                  <a:cubicBezTo>
                    <a:pt x="587" y="135"/>
                    <a:pt x="587" y="134"/>
                    <a:pt x="587" y="133"/>
                  </a:cubicBezTo>
                  <a:cubicBezTo>
                    <a:pt x="588" y="132"/>
                    <a:pt x="588" y="131"/>
                    <a:pt x="589" y="130"/>
                  </a:cubicBezTo>
                  <a:cubicBezTo>
                    <a:pt x="589" y="129"/>
                    <a:pt x="589" y="129"/>
                    <a:pt x="589" y="128"/>
                  </a:cubicBezTo>
                  <a:cubicBezTo>
                    <a:pt x="589" y="128"/>
                    <a:pt x="589" y="128"/>
                    <a:pt x="589" y="128"/>
                  </a:cubicBezTo>
                  <a:cubicBezTo>
                    <a:pt x="589" y="127"/>
                    <a:pt x="589" y="127"/>
                    <a:pt x="589" y="126"/>
                  </a:cubicBezTo>
                  <a:cubicBezTo>
                    <a:pt x="588" y="126"/>
                    <a:pt x="588" y="126"/>
                    <a:pt x="586" y="126"/>
                  </a:cubicBezTo>
                  <a:cubicBezTo>
                    <a:pt x="583" y="125"/>
                    <a:pt x="580" y="124"/>
                    <a:pt x="577" y="124"/>
                  </a:cubicBezTo>
                  <a:cubicBezTo>
                    <a:pt x="576" y="123"/>
                    <a:pt x="574" y="123"/>
                    <a:pt x="572" y="123"/>
                  </a:cubicBezTo>
                  <a:cubicBezTo>
                    <a:pt x="571" y="123"/>
                    <a:pt x="571" y="123"/>
                    <a:pt x="571" y="123"/>
                  </a:cubicBezTo>
                  <a:cubicBezTo>
                    <a:pt x="571" y="123"/>
                    <a:pt x="571" y="123"/>
                    <a:pt x="571" y="123"/>
                  </a:cubicBezTo>
                  <a:cubicBezTo>
                    <a:pt x="569" y="123"/>
                    <a:pt x="567" y="123"/>
                    <a:pt x="567" y="124"/>
                  </a:cubicBezTo>
                  <a:cubicBezTo>
                    <a:pt x="566" y="125"/>
                    <a:pt x="566" y="125"/>
                    <a:pt x="566" y="125"/>
                  </a:cubicBezTo>
                  <a:cubicBezTo>
                    <a:pt x="566" y="125"/>
                    <a:pt x="566" y="125"/>
                    <a:pt x="566" y="125"/>
                  </a:cubicBezTo>
                  <a:cubicBezTo>
                    <a:pt x="565" y="125"/>
                    <a:pt x="565" y="125"/>
                    <a:pt x="565" y="125"/>
                  </a:cubicBezTo>
                  <a:cubicBezTo>
                    <a:pt x="559" y="124"/>
                    <a:pt x="553" y="123"/>
                    <a:pt x="548" y="123"/>
                  </a:cubicBezTo>
                  <a:cubicBezTo>
                    <a:pt x="548" y="123"/>
                    <a:pt x="548" y="123"/>
                    <a:pt x="548" y="123"/>
                  </a:cubicBezTo>
                  <a:cubicBezTo>
                    <a:pt x="548" y="123"/>
                    <a:pt x="548" y="123"/>
                    <a:pt x="548" y="123"/>
                  </a:cubicBezTo>
                  <a:cubicBezTo>
                    <a:pt x="547" y="122"/>
                    <a:pt x="546" y="122"/>
                    <a:pt x="545" y="122"/>
                  </a:cubicBezTo>
                  <a:cubicBezTo>
                    <a:pt x="544" y="122"/>
                    <a:pt x="543" y="122"/>
                    <a:pt x="542" y="122"/>
                  </a:cubicBezTo>
                  <a:cubicBezTo>
                    <a:pt x="542" y="122"/>
                    <a:pt x="542" y="122"/>
                    <a:pt x="541" y="122"/>
                  </a:cubicBezTo>
                  <a:cubicBezTo>
                    <a:pt x="540" y="123"/>
                    <a:pt x="539" y="123"/>
                    <a:pt x="538" y="124"/>
                  </a:cubicBezTo>
                  <a:cubicBezTo>
                    <a:pt x="536" y="126"/>
                    <a:pt x="535" y="128"/>
                    <a:pt x="536" y="131"/>
                  </a:cubicBezTo>
                  <a:cubicBezTo>
                    <a:pt x="536" y="132"/>
                    <a:pt x="536" y="132"/>
                    <a:pt x="536" y="132"/>
                  </a:cubicBezTo>
                  <a:cubicBezTo>
                    <a:pt x="537" y="133"/>
                    <a:pt x="537" y="133"/>
                    <a:pt x="537" y="133"/>
                  </a:cubicBezTo>
                  <a:cubicBezTo>
                    <a:pt x="537" y="133"/>
                    <a:pt x="537" y="133"/>
                    <a:pt x="537" y="133"/>
                  </a:cubicBezTo>
                  <a:cubicBezTo>
                    <a:pt x="538" y="134"/>
                    <a:pt x="538" y="134"/>
                    <a:pt x="539" y="135"/>
                  </a:cubicBezTo>
                  <a:cubicBezTo>
                    <a:pt x="537" y="135"/>
                    <a:pt x="535" y="134"/>
                    <a:pt x="535" y="132"/>
                  </a:cubicBezTo>
                  <a:cubicBezTo>
                    <a:pt x="535" y="133"/>
                    <a:pt x="534" y="133"/>
                    <a:pt x="534" y="134"/>
                  </a:cubicBezTo>
                  <a:cubicBezTo>
                    <a:pt x="534" y="135"/>
                    <a:pt x="534" y="135"/>
                    <a:pt x="534" y="135"/>
                  </a:cubicBezTo>
                  <a:cubicBezTo>
                    <a:pt x="534" y="135"/>
                    <a:pt x="533" y="136"/>
                    <a:pt x="533" y="136"/>
                  </a:cubicBezTo>
                  <a:cubicBezTo>
                    <a:pt x="533" y="137"/>
                    <a:pt x="533" y="137"/>
                    <a:pt x="533" y="137"/>
                  </a:cubicBezTo>
                  <a:cubicBezTo>
                    <a:pt x="533" y="138"/>
                    <a:pt x="533" y="138"/>
                    <a:pt x="533" y="139"/>
                  </a:cubicBezTo>
                  <a:cubicBezTo>
                    <a:pt x="533" y="139"/>
                    <a:pt x="533" y="139"/>
                    <a:pt x="533" y="139"/>
                  </a:cubicBezTo>
                  <a:cubicBezTo>
                    <a:pt x="534" y="140"/>
                    <a:pt x="534" y="140"/>
                    <a:pt x="534" y="140"/>
                  </a:cubicBezTo>
                  <a:cubicBezTo>
                    <a:pt x="534" y="141"/>
                    <a:pt x="534" y="141"/>
                    <a:pt x="534" y="141"/>
                  </a:cubicBezTo>
                  <a:cubicBezTo>
                    <a:pt x="534" y="141"/>
                    <a:pt x="534" y="141"/>
                    <a:pt x="534" y="141"/>
                  </a:cubicBezTo>
                  <a:cubicBezTo>
                    <a:pt x="534" y="141"/>
                    <a:pt x="534" y="141"/>
                    <a:pt x="534" y="141"/>
                  </a:cubicBezTo>
                  <a:cubicBezTo>
                    <a:pt x="534" y="142"/>
                    <a:pt x="534" y="142"/>
                    <a:pt x="534" y="142"/>
                  </a:cubicBezTo>
                  <a:cubicBezTo>
                    <a:pt x="535" y="142"/>
                    <a:pt x="535" y="142"/>
                    <a:pt x="535" y="142"/>
                  </a:cubicBezTo>
                  <a:cubicBezTo>
                    <a:pt x="535" y="143"/>
                    <a:pt x="535" y="143"/>
                    <a:pt x="535" y="143"/>
                  </a:cubicBezTo>
                  <a:cubicBezTo>
                    <a:pt x="536" y="143"/>
                    <a:pt x="536" y="144"/>
                    <a:pt x="537" y="144"/>
                  </a:cubicBezTo>
                  <a:cubicBezTo>
                    <a:pt x="538" y="144"/>
                    <a:pt x="539" y="143"/>
                    <a:pt x="540" y="143"/>
                  </a:cubicBezTo>
                  <a:cubicBezTo>
                    <a:pt x="540" y="143"/>
                    <a:pt x="540" y="143"/>
                    <a:pt x="540" y="143"/>
                  </a:cubicBezTo>
                  <a:cubicBezTo>
                    <a:pt x="540" y="144"/>
                    <a:pt x="540" y="144"/>
                    <a:pt x="540" y="144"/>
                  </a:cubicBezTo>
                  <a:cubicBezTo>
                    <a:pt x="539" y="144"/>
                    <a:pt x="539" y="144"/>
                    <a:pt x="539" y="144"/>
                  </a:cubicBezTo>
                  <a:cubicBezTo>
                    <a:pt x="538" y="145"/>
                    <a:pt x="537" y="146"/>
                    <a:pt x="536" y="146"/>
                  </a:cubicBezTo>
                  <a:cubicBezTo>
                    <a:pt x="536" y="146"/>
                    <a:pt x="535" y="145"/>
                    <a:pt x="534" y="145"/>
                  </a:cubicBezTo>
                  <a:cubicBezTo>
                    <a:pt x="534" y="145"/>
                    <a:pt x="534" y="145"/>
                    <a:pt x="534" y="145"/>
                  </a:cubicBezTo>
                  <a:cubicBezTo>
                    <a:pt x="534" y="145"/>
                    <a:pt x="534" y="145"/>
                    <a:pt x="534" y="145"/>
                  </a:cubicBezTo>
                  <a:cubicBezTo>
                    <a:pt x="534" y="145"/>
                    <a:pt x="534" y="145"/>
                    <a:pt x="534" y="145"/>
                  </a:cubicBezTo>
                  <a:cubicBezTo>
                    <a:pt x="533" y="145"/>
                    <a:pt x="533" y="145"/>
                    <a:pt x="533" y="145"/>
                  </a:cubicBezTo>
                  <a:cubicBezTo>
                    <a:pt x="533" y="145"/>
                    <a:pt x="533" y="148"/>
                    <a:pt x="534" y="150"/>
                  </a:cubicBezTo>
                  <a:cubicBezTo>
                    <a:pt x="535" y="151"/>
                    <a:pt x="535" y="152"/>
                    <a:pt x="535" y="152"/>
                  </a:cubicBezTo>
                  <a:cubicBezTo>
                    <a:pt x="536" y="154"/>
                    <a:pt x="538" y="157"/>
                    <a:pt x="539" y="159"/>
                  </a:cubicBezTo>
                  <a:cubicBezTo>
                    <a:pt x="540" y="160"/>
                    <a:pt x="540" y="160"/>
                    <a:pt x="540" y="161"/>
                  </a:cubicBezTo>
                  <a:cubicBezTo>
                    <a:pt x="539" y="160"/>
                    <a:pt x="537" y="160"/>
                    <a:pt x="535" y="159"/>
                  </a:cubicBezTo>
                  <a:cubicBezTo>
                    <a:pt x="535" y="159"/>
                    <a:pt x="535" y="159"/>
                    <a:pt x="535" y="159"/>
                  </a:cubicBezTo>
                  <a:cubicBezTo>
                    <a:pt x="535" y="159"/>
                    <a:pt x="535" y="159"/>
                    <a:pt x="535" y="159"/>
                  </a:cubicBezTo>
                  <a:cubicBezTo>
                    <a:pt x="535" y="159"/>
                    <a:pt x="535" y="159"/>
                    <a:pt x="535" y="159"/>
                  </a:cubicBezTo>
                  <a:cubicBezTo>
                    <a:pt x="535" y="155"/>
                    <a:pt x="533" y="152"/>
                    <a:pt x="533" y="148"/>
                  </a:cubicBezTo>
                  <a:cubicBezTo>
                    <a:pt x="533" y="145"/>
                    <a:pt x="532" y="140"/>
                    <a:pt x="530" y="140"/>
                  </a:cubicBezTo>
                  <a:cubicBezTo>
                    <a:pt x="530" y="140"/>
                    <a:pt x="529" y="140"/>
                    <a:pt x="529" y="141"/>
                  </a:cubicBezTo>
                  <a:cubicBezTo>
                    <a:pt x="528" y="141"/>
                    <a:pt x="527" y="143"/>
                    <a:pt x="526" y="144"/>
                  </a:cubicBezTo>
                  <a:cubicBezTo>
                    <a:pt x="524" y="145"/>
                    <a:pt x="523" y="146"/>
                    <a:pt x="522" y="147"/>
                  </a:cubicBezTo>
                  <a:cubicBezTo>
                    <a:pt x="519" y="149"/>
                    <a:pt x="516" y="150"/>
                    <a:pt x="513" y="151"/>
                  </a:cubicBezTo>
                  <a:cubicBezTo>
                    <a:pt x="513" y="152"/>
                    <a:pt x="512" y="152"/>
                    <a:pt x="512" y="152"/>
                  </a:cubicBezTo>
                  <a:cubicBezTo>
                    <a:pt x="512" y="152"/>
                    <a:pt x="511" y="152"/>
                    <a:pt x="511" y="152"/>
                  </a:cubicBezTo>
                  <a:cubicBezTo>
                    <a:pt x="508" y="154"/>
                    <a:pt x="503" y="158"/>
                    <a:pt x="500" y="158"/>
                  </a:cubicBezTo>
                  <a:cubicBezTo>
                    <a:pt x="500" y="158"/>
                    <a:pt x="499" y="158"/>
                    <a:pt x="499" y="157"/>
                  </a:cubicBezTo>
                  <a:cubicBezTo>
                    <a:pt x="499" y="156"/>
                    <a:pt x="499" y="155"/>
                    <a:pt x="498" y="154"/>
                  </a:cubicBezTo>
                  <a:cubicBezTo>
                    <a:pt x="498" y="154"/>
                    <a:pt x="497" y="154"/>
                    <a:pt x="497" y="154"/>
                  </a:cubicBezTo>
                  <a:cubicBezTo>
                    <a:pt x="494" y="154"/>
                    <a:pt x="490" y="155"/>
                    <a:pt x="489" y="156"/>
                  </a:cubicBezTo>
                  <a:cubicBezTo>
                    <a:pt x="489" y="153"/>
                    <a:pt x="497" y="151"/>
                    <a:pt x="499" y="150"/>
                  </a:cubicBezTo>
                  <a:cubicBezTo>
                    <a:pt x="501" y="150"/>
                    <a:pt x="502" y="150"/>
                    <a:pt x="503" y="150"/>
                  </a:cubicBezTo>
                  <a:cubicBezTo>
                    <a:pt x="503" y="150"/>
                    <a:pt x="503" y="150"/>
                    <a:pt x="503" y="150"/>
                  </a:cubicBezTo>
                  <a:cubicBezTo>
                    <a:pt x="504" y="151"/>
                    <a:pt x="504" y="151"/>
                    <a:pt x="505" y="151"/>
                  </a:cubicBezTo>
                  <a:cubicBezTo>
                    <a:pt x="508" y="151"/>
                    <a:pt x="508" y="145"/>
                    <a:pt x="509" y="143"/>
                  </a:cubicBezTo>
                  <a:cubicBezTo>
                    <a:pt x="513" y="137"/>
                    <a:pt x="516" y="132"/>
                    <a:pt x="520" y="127"/>
                  </a:cubicBezTo>
                  <a:cubicBezTo>
                    <a:pt x="522" y="123"/>
                    <a:pt x="524" y="121"/>
                    <a:pt x="527" y="118"/>
                  </a:cubicBezTo>
                  <a:cubicBezTo>
                    <a:pt x="535" y="111"/>
                    <a:pt x="542" y="103"/>
                    <a:pt x="549" y="96"/>
                  </a:cubicBezTo>
                  <a:cubicBezTo>
                    <a:pt x="550" y="95"/>
                    <a:pt x="555" y="92"/>
                    <a:pt x="554" y="90"/>
                  </a:cubicBezTo>
                  <a:cubicBezTo>
                    <a:pt x="554" y="90"/>
                    <a:pt x="553" y="89"/>
                    <a:pt x="553" y="89"/>
                  </a:cubicBezTo>
                  <a:cubicBezTo>
                    <a:pt x="552" y="89"/>
                    <a:pt x="550" y="90"/>
                    <a:pt x="549" y="90"/>
                  </a:cubicBezTo>
                  <a:cubicBezTo>
                    <a:pt x="554" y="88"/>
                    <a:pt x="555" y="87"/>
                    <a:pt x="555" y="83"/>
                  </a:cubicBezTo>
                  <a:cubicBezTo>
                    <a:pt x="554" y="79"/>
                    <a:pt x="553" y="78"/>
                    <a:pt x="549" y="77"/>
                  </a:cubicBezTo>
                  <a:cubicBezTo>
                    <a:pt x="548" y="76"/>
                    <a:pt x="544" y="77"/>
                    <a:pt x="543" y="76"/>
                  </a:cubicBezTo>
                  <a:cubicBezTo>
                    <a:pt x="543" y="75"/>
                    <a:pt x="543" y="75"/>
                    <a:pt x="543" y="75"/>
                  </a:cubicBezTo>
                  <a:cubicBezTo>
                    <a:pt x="543" y="75"/>
                    <a:pt x="543" y="75"/>
                    <a:pt x="543" y="75"/>
                  </a:cubicBezTo>
                  <a:cubicBezTo>
                    <a:pt x="544" y="75"/>
                    <a:pt x="545" y="74"/>
                    <a:pt x="545" y="73"/>
                  </a:cubicBezTo>
                  <a:cubicBezTo>
                    <a:pt x="545" y="72"/>
                    <a:pt x="545" y="71"/>
                    <a:pt x="544" y="71"/>
                  </a:cubicBezTo>
                  <a:cubicBezTo>
                    <a:pt x="543" y="70"/>
                    <a:pt x="543" y="70"/>
                    <a:pt x="542" y="70"/>
                  </a:cubicBezTo>
                  <a:cubicBezTo>
                    <a:pt x="542" y="70"/>
                    <a:pt x="541" y="70"/>
                    <a:pt x="541" y="70"/>
                  </a:cubicBezTo>
                  <a:cubicBezTo>
                    <a:pt x="540" y="71"/>
                    <a:pt x="540" y="71"/>
                    <a:pt x="540" y="71"/>
                  </a:cubicBezTo>
                  <a:cubicBezTo>
                    <a:pt x="540" y="71"/>
                    <a:pt x="540" y="71"/>
                    <a:pt x="540" y="71"/>
                  </a:cubicBezTo>
                  <a:cubicBezTo>
                    <a:pt x="540" y="71"/>
                    <a:pt x="540" y="72"/>
                    <a:pt x="540" y="72"/>
                  </a:cubicBezTo>
                  <a:cubicBezTo>
                    <a:pt x="539" y="71"/>
                    <a:pt x="538" y="69"/>
                    <a:pt x="537" y="69"/>
                  </a:cubicBezTo>
                  <a:cubicBezTo>
                    <a:pt x="537" y="69"/>
                    <a:pt x="537" y="69"/>
                    <a:pt x="537" y="69"/>
                  </a:cubicBezTo>
                  <a:cubicBezTo>
                    <a:pt x="536" y="69"/>
                    <a:pt x="536" y="69"/>
                    <a:pt x="535" y="69"/>
                  </a:cubicBezTo>
                  <a:cubicBezTo>
                    <a:pt x="535" y="70"/>
                    <a:pt x="535" y="70"/>
                    <a:pt x="534" y="70"/>
                  </a:cubicBezTo>
                  <a:cubicBezTo>
                    <a:pt x="534" y="70"/>
                    <a:pt x="534" y="69"/>
                    <a:pt x="534" y="68"/>
                  </a:cubicBezTo>
                  <a:cubicBezTo>
                    <a:pt x="535" y="69"/>
                    <a:pt x="535" y="69"/>
                    <a:pt x="535" y="69"/>
                  </a:cubicBezTo>
                  <a:cubicBezTo>
                    <a:pt x="534" y="61"/>
                    <a:pt x="530" y="52"/>
                    <a:pt x="528" y="44"/>
                  </a:cubicBezTo>
                  <a:cubicBezTo>
                    <a:pt x="527" y="39"/>
                    <a:pt x="528" y="33"/>
                    <a:pt x="526" y="27"/>
                  </a:cubicBezTo>
                  <a:cubicBezTo>
                    <a:pt x="525" y="29"/>
                    <a:pt x="525" y="31"/>
                    <a:pt x="524" y="33"/>
                  </a:cubicBezTo>
                  <a:cubicBezTo>
                    <a:pt x="525" y="27"/>
                    <a:pt x="524" y="23"/>
                    <a:pt x="520" y="19"/>
                  </a:cubicBezTo>
                  <a:cubicBezTo>
                    <a:pt x="519" y="19"/>
                    <a:pt x="516" y="16"/>
                    <a:pt x="516" y="16"/>
                  </a:cubicBezTo>
                  <a:cubicBezTo>
                    <a:pt x="516" y="16"/>
                    <a:pt x="516" y="16"/>
                    <a:pt x="516" y="16"/>
                  </a:cubicBezTo>
                  <a:cubicBezTo>
                    <a:pt x="515" y="17"/>
                    <a:pt x="516" y="21"/>
                    <a:pt x="517" y="22"/>
                  </a:cubicBezTo>
                  <a:cubicBezTo>
                    <a:pt x="516" y="21"/>
                    <a:pt x="516" y="21"/>
                    <a:pt x="515" y="20"/>
                  </a:cubicBezTo>
                  <a:cubicBezTo>
                    <a:pt x="515" y="21"/>
                    <a:pt x="515" y="21"/>
                    <a:pt x="515" y="22"/>
                  </a:cubicBezTo>
                  <a:cubicBezTo>
                    <a:pt x="517" y="23"/>
                    <a:pt x="517" y="23"/>
                    <a:pt x="517" y="23"/>
                  </a:cubicBezTo>
                  <a:cubicBezTo>
                    <a:pt x="515" y="28"/>
                    <a:pt x="515" y="28"/>
                    <a:pt x="515" y="28"/>
                  </a:cubicBezTo>
                  <a:cubicBezTo>
                    <a:pt x="511" y="33"/>
                    <a:pt x="511" y="33"/>
                    <a:pt x="511" y="33"/>
                  </a:cubicBezTo>
                  <a:cubicBezTo>
                    <a:pt x="510" y="35"/>
                    <a:pt x="509" y="36"/>
                    <a:pt x="508" y="38"/>
                  </a:cubicBezTo>
                  <a:cubicBezTo>
                    <a:pt x="505" y="41"/>
                    <a:pt x="503" y="43"/>
                    <a:pt x="502" y="46"/>
                  </a:cubicBezTo>
                  <a:cubicBezTo>
                    <a:pt x="501" y="48"/>
                    <a:pt x="501" y="48"/>
                    <a:pt x="501" y="48"/>
                  </a:cubicBezTo>
                  <a:cubicBezTo>
                    <a:pt x="500" y="48"/>
                    <a:pt x="500" y="49"/>
                    <a:pt x="500" y="50"/>
                  </a:cubicBezTo>
                  <a:cubicBezTo>
                    <a:pt x="499" y="51"/>
                    <a:pt x="499" y="51"/>
                    <a:pt x="499" y="51"/>
                  </a:cubicBezTo>
                  <a:cubicBezTo>
                    <a:pt x="499" y="53"/>
                    <a:pt x="498" y="54"/>
                    <a:pt x="497" y="56"/>
                  </a:cubicBezTo>
                  <a:cubicBezTo>
                    <a:pt x="497" y="57"/>
                    <a:pt x="497" y="57"/>
                    <a:pt x="497" y="57"/>
                  </a:cubicBezTo>
                  <a:cubicBezTo>
                    <a:pt x="496" y="57"/>
                    <a:pt x="496" y="58"/>
                    <a:pt x="496" y="59"/>
                  </a:cubicBezTo>
                  <a:cubicBezTo>
                    <a:pt x="495" y="60"/>
                    <a:pt x="495" y="62"/>
                    <a:pt x="494" y="63"/>
                  </a:cubicBezTo>
                  <a:cubicBezTo>
                    <a:pt x="494" y="63"/>
                    <a:pt x="494" y="64"/>
                    <a:pt x="494" y="64"/>
                  </a:cubicBezTo>
                  <a:cubicBezTo>
                    <a:pt x="493" y="64"/>
                    <a:pt x="493" y="64"/>
                    <a:pt x="493" y="64"/>
                  </a:cubicBezTo>
                  <a:cubicBezTo>
                    <a:pt x="492" y="66"/>
                    <a:pt x="490" y="67"/>
                    <a:pt x="489" y="69"/>
                  </a:cubicBezTo>
                  <a:cubicBezTo>
                    <a:pt x="488" y="69"/>
                    <a:pt x="488" y="69"/>
                    <a:pt x="488" y="69"/>
                  </a:cubicBezTo>
                  <a:cubicBezTo>
                    <a:pt x="488" y="70"/>
                    <a:pt x="487" y="70"/>
                    <a:pt x="486" y="70"/>
                  </a:cubicBezTo>
                  <a:cubicBezTo>
                    <a:pt x="485" y="71"/>
                    <a:pt x="484" y="71"/>
                    <a:pt x="484" y="71"/>
                  </a:cubicBezTo>
                  <a:cubicBezTo>
                    <a:pt x="483" y="72"/>
                    <a:pt x="482" y="72"/>
                    <a:pt x="482" y="72"/>
                  </a:cubicBezTo>
                  <a:cubicBezTo>
                    <a:pt x="476" y="71"/>
                    <a:pt x="476" y="71"/>
                    <a:pt x="476" y="71"/>
                  </a:cubicBezTo>
                  <a:cubicBezTo>
                    <a:pt x="475" y="71"/>
                    <a:pt x="474" y="70"/>
                    <a:pt x="473" y="69"/>
                  </a:cubicBezTo>
                  <a:cubicBezTo>
                    <a:pt x="473" y="68"/>
                    <a:pt x="473" y="68"/>
                    <a:pt x="473" y="68"/>
                  </a:cubicBezTo>
                  <a:cubicBezTo>
                    <a:pt x="473" y="68"/>
                    <a:pt x="473" y="68"/>
                    <a:pt x="473" y="68"/>
                  </a:cubicBezTo>
                  <a:cubicBezTo>
                    <a:pt x="472" y="68"/>
                    <a:pt x="471" y="69"/>
                    <a:pt x="470" y="69"/>
                  </a:cubicBezTo>
                  <a:cubicBezTo>
                    <a:pt x="466" y="69"/>
                    <a:pt x="463" y="70"/>
                    <a:pt x="460" y="71"/>
                  </a:cubicBezTo>
                  <a:cubicBezTo>
                    <a:pt x="459" y="72"/>
                    <a:pt x="459" y="72"/>
                    <a:pt x="459" y="72"/>
                  </a:cubicBezTo>
                  <a:cubicBezTo>
                    <a:pt x="459" y="72"/>
                    <a:pt x="458" y="73"/>
                    <a:pt x="457" y="73"/>
                  </a:cubicBezTo>
                  <a:cubicBezTo>
                    <a:pt x="457" y="73"/>
                    <a:pt x="457" y="73"/>
                    <a:pt x="457" y="73"/>
                  </a:cubicBezTo>
                  <a:cubicBezTo>
                    <a:pt x="456" y="73"/>
                    <a:pt x="456" y="73"/>
                    <a:pt x="455" y="73"/>
                  </a:cubicBezTo>
                  <a:cubicBezTo>
                    <a:pt x="455" y="72"/>
                    <a:pt x="455" y="72"/>
                    <a:pt x="455" y="72"/>
                  </a:cubicBezTo>
                  <a:cubicBezTo>
                    <a:pt x="455" y="73"/>
                    <a:pt x="455" y="73"/>
                    <a:pt x="455" y="73"/>
                  </a:cubicBezTo>
                  <a:cubicBezTo>
                    <a:pt x="455" y="73"/>
                    <a:pt x="455" y="73"/>
                    <a:pt x="455" y="73"/>
                  </a:cubicBezTo>
                  <a:cubicBezTo>
                    <a:pt x="454" y="72"/>
                    <a:pt x="453" y="72"/>
                    <a:pt x="453" y="72"/>
                  </a:cubicBezTo>
                  <a:cubicBezTo>
                    <a:pt x="452" y="72"/>
                    <a:pt x="452" y="72"/>
                    <a:pt x="452" y="72"/>
                  </a:cubicBezTo>
                  <a:cubicBezTo>
                    <a:pt x="450" y="71"/>
                    <a:pt x="448" y="70"/>
                    <a:pt x="446" y="69"/>
                  </a:cubicBezTo>
                  <a:cubicBezTo>
                    <a:pt x="443" y="67"/>
                    <a:pt x="443" y="67"/>
                    <a:pt x="443" y="67"/>
                  </a:cubicBezTo>
                  <a:cubicBezTo>
                    <a:pt x="441" y="66"/>
                    <a:pt x="441" y="66"/>
                    <a:pt x="441" y="66"/>
                  </a:cubicBezTo>
                  <a:cubicBezTo>
                    <a:pt x="441" y="66"/>
                    <a:pt x="441" y="66"/>
                    <a:pt x="441" y="66"/>
                  </a:cubicBezTo>
                  <a:cubicBezTo>
                    <a:pt x="439" y="65"/>
                    <a:pt x="439" y="65"/>
                    <a:pt x="439" y="65"/>
                  </a:cubicBezTo>
                  <a:cubicBezTo>
                    <a:pt x="435" y="62"/>
                    <a:pt x="435" y="62"/>
                    <a:pt x="435" y="62"/>
                  </a:cubicBezTo>
                  <a:cubicBezTo>
                    <a:pt x="434" y="62"/>
                    <a:pt x="433" y="63"/>
                    <a:pt x="432" y="63"/>
                  </a:cubicBezTo>
                  <a:cubicBezTo>
                    <a:pt x="430" y="64"/>
                    <a:pt x="428" y="65"/>
                    <a:pt x="425" y="65"/>
                  </a:cubicBezTo>
                  <a:cubicBezTo>
                    <a:pt x="425" y="65"/>
                    <a:pt x="425" y="65"/>
                    <a:pt x="425" y="65"/>
                  </a:cubicBezTo>
                  <a:cubicBezTo>
                    <a:pt x="424" y="65"/>
                    <a:pt x="424" y="65"/>
                    <a:pt x="424" y="65"/>
                  </a:cubicBezTo>
                  <a:cubicBezTo>
                    <a:pt x="423" y="65"/>
                    <a:pt x="423" y="65"/>
                    <a:pt x="422" y="65"/>
                  </a:cubicBezTo>
                  <a:cubicBezTo>
                    <a:pt x="420" y="65"/>
                    <a:pt x="417" y="65"/>
                    <a:pt x="415" y="64"/>
                  </a:cubicBezTo>
                  <a:cubicBezTo>
                    <a:pt x="414" y="65"/>
                    <a:pt x="414" y="66"/>
                    <a:pt x="414" y="66"/>
                  </a:cubicBezTo>
                  <a:cubicBezTo>
                    <a:pt x="415" y="67"/>
                    <a:pt x="415" y="67"/>
                    <a:pt x="415" y="67"/>
                  </a:cubicBezTo>
                  <a:cubicBezTo>
                    <a:pt x="415" y="68"/>
                    <a:pt x="416" y="69"/>
                    <a:pt x="417" y="70"/>
                  </a:cubicBezTo>
                  <a:cubicBezTo>
                    <a:pt x="418" y="71"/>
                    <a:pt x="418" y="72"/>
                    <a:pt x="417" y="73"/>
                  </a:cubicBezTo>
                  <a:cubicBezTo>
                    <a:pt x="417" y="75"/>
                    <a:pt x="417" y="77"/>
                    <a:pt x="416" y="78"/>
                  </a:cubicBezTo>
                  <a:cubicBezTo>
                    <a:pt x="415" y="78"/>
                    <a:pt x="415" y="78"/>
                    <a:pt x="414" y="78"/>
                  </a:cubicBezTo>
                  <a:cubicBezTo>
                    <a:pt x="414" y="78"/>
                    <a:pt x="414" y="78"/>
                    <a:pt x="414" y="78"/>
                  </a:cubicBezTo>
                  <a:cubicBezTo>
                    <a:pt x="413" y="79"/>
                    <a:pt x="413" y="79"/>
                    <a:pt x="413" y="79"/>
                  </a:cubicBezTo>
                  <a:cubicBezTo>
                    <a:pt x="413" y="79"/>
                    <a:pt x="413" y="79"/>
                    <a:pt x="413" y="79"/>
                  </a:cubicBezTo>
                  <a:cubicBezTo>
                    <a:pt x="412" y="79"/>
                    <a:pt x="412" y="79"/>
                    <a:pt x="412" y="79"/>
                  </a:cubicBezTo>
                  <a:cubicBezTo>
                    <a:pt x="412" y="79"/>
                    <a:pt x="412" y="79"/>
                    <a:pt x="412" y="79"/>
                  </a:cubicBezTo>
                  <a:cubicBezTo>
                    <a:pt x="412" y="79"/>
                    <a:pt x="411" y="78"/>
                    <a:pt x="410" y="78"/>
                  </a:cubicBezTo>
                  <a:cubicBezTo>
                    <a:pt x="407" y="78"/>
                    <a:pt x="407" y="78"/>
                    <a:pt x="407" y="78"/>
                  </a:cubicBezTo>
                  <a:cubicBezTo>
                    <a:pt x="405" y="78"/>
                    <a:pt x="402" y="77"/>
                    <a:pt x="400" y="76"/>
                  </a:cubicBezTo>
                  <a:cubicBezTo>
                    <a:pt x="400" y="76"/>
                    <a:pt x="400" y="76"/>
                    <a:pt x="400" y="76"/>
                  </a:cubicBezTo>
                  <a:cubicBezTo>
                    <a:pt x="399" y="77"/>
                    <a:pt x="399" y="77"/>
                    <a:pt x="399" y="77"/>
                  </a:cubicBezTo>
                  <a:cubicBezTo>
                    <a:pt x="399" y="77"/>
                    <a:pt x="399" y="77"/>
                    <a:pt x="399" y="77"/>
                  </a:cubicBezTo>
                  <a:cubicBezTo>
                    <a:pt x="398" y="77"/>
                    <a:pt x="398" y="77"/>
                    <a:pt x="398" y="77"/>
                  </a:cubicBezTo>
                  <a:cubicBezTo>
                    <a:pt x="397" y="77"/>
                    <a:pt x="397" y="77"/>
                    <a:pt x="397" y="77"/>
                  </a:cubicBezTo>
                  <a:cubicBezTo>
                    <a:pt x="397" y="77"/>
                    <a:pt x="396" y="77"/>
                    <a:pt x="395" y="77"/>
                  </a:cubicBezTo>
                  <a:cubicBezTo>
                    <a:pt x="395" y="77"/>
                    <a:pt x="395" y="77"/>
                    <a:pt x="395" y="77"/>
                  </a:cubicBezTo>
                  <a:cubicBezTo>
                    <a:pt x="395" y="77"/>
                    <a:pt x="394" y="77"/>
                    <a:pt x="394" y="77"/>
                  </a:cubicBezTo>
                  <a:cubicBezTo>
                    <a:pt x="393" y="77"/>
                    <a:pt x="393" y="77"/>
                    <a:pt x="392" y="77"/>
                  </a:cubicBezTo>
                  <a:cubicBezTo>
                    <a:pt x="392" y="77"/>
                    <a:pt x="392" y="77"/>
                    <a:pt x="392" y="77"/>
                  </a:cubicBezTo>
                  <a:cubicBezTo>
                    <a:pt x="391" y="77"/>
                    <a:pt x="391" y="77"/>
                    <a:pt x="391" y="77"/>
                  </a:cubicBezTo>
                  <a:cubicBezTo>
                    <a:pt x="389" y="77"/>
                    <a:pt x="388" y="77"/>
                    <a:pt x="387" y="76"/>
                  </a:cubicBezTo>
                  <a:cubicBezTo>
                    <a:pt x="385" y="76"/>
                    <a:pt x="385" y="76"/>
                    <a:pt x="385" y="76"/>
                  </a:cubicBezTo>
                  <a:cubicBezTo>
                    <a:pt x="384" y="76"/>
                    <a:pt x="383" y="76"/>
                    <a:pt x="383" y="77"/>
                  </a:cubicBezTo>
                  <a:cubicBezTo>
                    <a:pt x="379" y="82"/>
                    <a:pt x="375" y="83"/>
                    <a:pt x="375" y="83"/>
                  </a:cubicBezTo>
                  <a:cubicBezTo>
                    <a:pt x="375" y="83"/>
                    <a:pt x="375" y="83"/>
                    <a:pt x="374" y="83"/>
                  </a:cubicBezTo>
                  <a:cubicBezTo>
                    <a:pt x="373" y="84"/>
                    <a:pt x="368" y="85"/>
                    <a:pt x="358" y="87"/>
                  </a:cubicBezTo>
                  <a:cubicBezTo>
                    <a:pt x="358" y="88"/>
                    <a:pt x="358" y="89"/>
                    <a:pt x="358" y="89"/>
                  </a:cubicBezTo>
                  <a:cubicBezTo>
                    <a:pt x="357" y="91"/>
                    <a:pt x="355" y="92"/>
                    <a:pt x="351" y="94"/>
                  </a:cubicBezTo>
                  <a:cubicBezTo>
                    <a:pt x="350" y="94"/>
                    <a:pt x="349" y="94"/>
                    <a:pt x="348" y="94"/>
                  </a:cubicBezTo>
                  <a:cubicBezTo>
                    <a:pt x="347" y="94"/>
                    <a:pt x="347" y="94"/>
                    <a:pt x="346" y="94"/>
                  </a:cubicBezTo>
                  <a:cubicBezTo>
                    <a:pt x="346" y="94"/>
                    <a:pt x="346" y="94"/>
                    <a:pt x="346" y="94"/>
                  </a:cubicBezTo>
                  <a:cubicBezTo>
                    <a:pt x="345" y="93"/>
                    <a:pt x="345" y="93"/>
                    <a:pt x="344" y="93"/>
                  </a:cubicBezTo>
                  <a:cubicBezTo>
                    <a:pt x="344" y="93"/>
                    <a:pt x="344" y="93"/>
                    <a:pt x="344" y="93"/>
                  </a:cubicBezTo>
                  <a:cubicBezTo>
                    <a:pt x="344" y="92"/>
                    <a:pt x="343" y="92"/>
                    <a:pt x="343" y="92"/>
                  </a:cubicBezTo>
                  <a:cubicBezTo>
                    <a:pt x="342" y="91"/>
                    <a:pt x="342" y="91"/>
                    <a:pt x="341" y="91"/>
                  </a:cubicBezTo>
                  <a:cubicBezTo>
                    <a:pt x="336" y="90"/>
                    <a:pt x="333" y="87"/>
                    <a:pt x="332" y="85"/>
                  </a:cubicBezTo>
                  <a:cubicBezTo>
                    <a:pt x="331" y="85"/>
                    <a:pt x="331" y="85"/>
                    <a:pt x="331" y="85"/>
                  </a:cubicBezTo>
                  <a:cubicBezTo>
                    <a:pt x="330" y="84"/>
                    <a:pt x="325" y="80"/>
                    <a:pt x="324" y="74"/>
                  </a:cubicBezTo>
                  <a:cubicBezTo>
                    <a:pt x="324" y="68"/>
                    <a:pt x="321" y="66"/>
                    <a:pt x="321" y="66"/>
                  </a:cubicBezTo>
                  <a:cubicBezTo>
                    <a:pt x="321" y="66"/>
                    <a:pt x="321" y="66"/>
                    <a:pt x="321" y="66"/>
                  </a:cubicBezTo>
                  <a:cubicBezTo>
                    <a:pt x="320" y="65"/>
                    <a:pt x="319" y="64"/>
                    <a:pt x="319" y="61"/>
                  </a:cubicBezTo>
                  <a:cubicBezTo>
                    <a:pt x="317" y="58"/>
                    <a:pt x="317" y="52"/>
                    <a:pt x="320" y="43"/>
                  </a:cubicBezTo>
                  <a:cubicBezTo>
                    <a:pt x="320" y="43"/>
                    <a:pt x="324" y="32"/>
                    <a:pt x="326" y="30"/>
                  </a:cubicBezTo>
                  <a:cubicBezTo>
                    <a:pt x="327" y="30"/>
                    <a:pt x="327" y="29"/>
                    <a:pt x="328" y="29"/>
                  </a:cubicBezTo>
                  <a:cubicBezTo>
                    <a:pt x="324" y="25"/>
                    <a:pt x="323" y="22"/>
                    <a:pt x="324" y="18"/>
                  </a:cubicBezTo>
                  <a:cubicBezTo>
                    <a:pt x="322" y="18"/>
                    <a:pt x="320" y="17"/>
                    <a:pt x="317" y="17"/>
                  </a:cubicBezTo>
                  <a:cubicBezTo>
                    <a:pt x="312" y="17"/>
                    <a:pt x="312" y="17"/>
                    <a:pt x="312" y="17"/>
                  </a:cubicBezTo>
                  <a:cubicBezTo>
                    <a:pt x="314" y="13"/>
                    <a:pt x="314" y="13"/>
                    <a:pt x="314" y="13"/>
                  </a:cubicBezTo>
                  <a:cubicBezTo>
                    <a:pt x="317" y="7"/>
                    <a:pt x="318" y="3"/>
                    <a:pt x="316" y="2"/>
                  </a:cubicBezTo>
                  <a:cubicBezTo>
                    <a:pt x="316" y="1"/>
                    <a:pt x="316" y="1"/>
                    <a:pt x="315" y="1"/>
                  </a:cubicBezTo>
                  <a:cubicBezTo>
                    <a:pt x="315" y="1"/>
                    <a:pt x="315" y="1"/>
                    <a:pt x="315" y="1"/>
                  </a:cubicBezTo>
                  <a:cubicBezTo>
                    <a:pt x="314" y="0"/>
                    <a:pt x="313" y="0"/>
                    <a:pt x="313" y="0"/>
                  </a:cubicBezTo>
                  <a:cubicBezTo>
                    <a:pt x="312" y="0"/>
                    <a:pt x="312" y="0"/>
                    <a:pt x="312" y="0"/>
                  </a:cubicBezTo>
                  <a:cubicBezTo>
                    <a:pt x="312" y="0"/>
                    <a:pt x="312" y="0"/>
                    <a:pt x="3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243"/>
            <p:cNvSpPr/>
            <p:nvPr/>
          </p:nvSpPr>
          <p:spPr bwMode="auto">
            <a:xfrm>
              <a:off x="8429332" y="2770881"/>
              <a:ext cx="917975" cy="1022486"/>
            </a:xfrm>
            <a:custGeom>
              <a:gdLst>
                <a:gd name="T0" fmla="*/ 85 w 275"/>
                <a:gd name="T1" fmla="*/ 0 h 306"/>
                <a:gd name="T2" fmla="*/ 56 w 275"/>
                <a:gd name="T3" fmla="*/ 13 h 306"/>
                <a:gd name="T4" fmla="*/ 37 w 275"/>
                <a:gd name="T5" fmla="*/ 24 h 306"/>
                <a:gd name="T6" fmla="*/ 25 w 275"/>
                <a:gd name="T7" fmla="*/ 31 h 306"/>
                <a:gd name="T8" fmla="*/ 14 w 275"/>
                <a:gd name="T9" fmla="*/ 31 h 306"/>
                <a:gd name="T10" fmla="*/ 5 w 275"/>
                <a:gd name="T11" fmla="*/ 29 h 306"/>
                <a:gd name="T12" fmla="*/ 18 w 275"/>
                <a:gd name="T13" fmla="*/ 71 h 306"/>
                <a:gd name="T14" fmla="*/ 13 w 275"/>
                <a:gd name="T15" fmla="*/ 86 h 306"/>
                <a:gd name="T16" fmla="*/ 16 w 275"/>
                <a:gd name="T17" fmla="*/ 96 h 306"/>
                <a:gd name="T18" fmla="*/ 16 w 275"/>
                <a:gd name="T19" fmla="*/ 105 h 306"/>
                <a:gd name="T20" fmla="*/ 8 w 275"/>
                <a:gd name="T21" fmla="*/ 120 h 306"/>
                <a:gd name="T22" fmla="*/ 13 w 275"/>
                <a:gd name="T23" fmla="*/ 148 h 306"/>
                <a:gd name="T24" fmla="*/ 13 w 275"/>
                <a:gd name="T25" fmla="*/ 161 h 306"/>
                <a:gd name="T26" fmla="*/ 0 w 275"/>
                <a:gd name="T27" fmla="*/ 175 h 306"/>
                <a:gd name="T28" fmla="*/ 3 w 275"/>
                <a:gd name="T29" fmla="*/ 179 h 306"/>
                <a:gd name="T30" fmla="*/ 5 w 275"/>
                <a:gd name="T31" fmla="*/ 184 h 306"/>
                <a:gd name="T32" fmla="*/ 10 w 275"/>
                <a:gd name="T33" fmla="*/ 190 h 306"/>
                <a:gd name="T34" fmla="*/ 21 w 275"/>
                <a:gd name="T35" fmla="*/ 219 h 306"/>
                <a:gd name="T36" fmla="*/ 23 w 275"/>
                <a:gd name="T37" fmla="*/ 233 h 306"/>
                <a:gd name="T38" fmla="*/ 25 w 275"/>
                <a:gd name="T39" fmla="*/ 253 h 306"/>
                <a:gd name="T40" fmla="*/ 29 w 275"/>
                <a:gd name="T41" fmla="*/ 263 h 306"/>
                <a:gd name="T42" fmla="*/ 34 w 275"/>
                <a:gd name="T43" fmla="*/ 273 h 306"/>
                <a:gd name="T44" fmla="*/ 36 w 275"/>
                <a:gd name="T45" fmla="*/ 284 h 306"/>
                <a:gd name="T46" fmla="*/ 40 w 275"/>
                <a:gd name="T47" fmla="*/ 298 h 306"/>
                <a:gd name="T48" fmla="*/ 53 w 275"/>
                <a:gd name="T49" fmla="*/ 306 h 306"/>
                <a:gd name="T50" fmla="*/ 72 w 275"/>
                <a:gd name="T51" fmla="*/ 289 h 306"/>
                <a:gd name="T52" fmla="*/ 74 w 275"/>
                <a:gd name="T53" fmla="*/ 280 h 306"/>
                <a:gd name="T54" fmla="*/ 102 w 275"/>
                <a:gd name="T55" fmla="*/ 289 h 306"/>
                <a:gd name="T56" fmla="*/ 126 w 275"/>
                <a:gd name="T57" fmla="*/ 289 h 306"/>
                <a:gd name="T58" fmla="*/ 137 w 275"/>
                <a:gd name="T59" fmla="*/ 286 h 306"/>
                <a:gd name="T60" fmla="*/ 154 w 275"/>
                <a:gd name="T61" fmla="*/ 286 h 306"/>
                <a:gd name="T62" fmla="*/ 159 w 275"/>
                <a:gd name="T63" fmla="*/ 286 h 306"/>
                <a:gd name="T64" fmla="*/ 166 w 275"/>
                <a:gd name="T65" fmla="*/ 260 h 306"/>
                <a:gd name="T66" fmla="*/ 172 w 275"/>
                <a:gd name="T67" fmla="*/ 243 h 306"/>
                <a:gd name="T68" fmla="*/ 204 w 275"/>
                <a:gd name="T69" fmla="*/ 225 h 306"/>
                <a:gd name="T70" fmla="*/ 235 w 275"/>
                <a:gd name="T71" fmla="*/ 220 h 306"/>
                <a:gd name="T72" fmla="*/ 263 w 275"/>
                <a:gd name="T73" fmla="*/ 232 h 306"/>
                <a:gd name="T74" fmla="*/ 271 w 275"/>
                <a:gd name="T75" fmla="*/ 214 h 306"/>
                <a:gd name="T76" fmla="*/ 275 w 275"/>
                <a:gd name="T77" fmla="*/ 197 h 306"/>
                <a:gd name="T78" fmla="*/ 271 w 275"/>
                <a:gd name="T79" fmla="*/ 187 h 306"/>
                <a:gd name="T80" fmla="*/ 257 w 275"/>
                <a:gd name="T81" fmla="*/ 154 h 306"/>
                <a:gd name="T82" fmla="*/ 214 w 275"/>
                <a:gd name="T83" fmla="*/ 147 h 306"/>
                <a:gd name="T84" fmla="*/ 207 w 275"/>
                <a:gd name="T85" fmla="*/ 121 h 306"/>
                <a:gd name="T86" fmla="*/ 210 w 275"/>
                <a:gd name="T87" fmla="*/ 110 h 306"/>
                <a:gd name="T88" fmla="*/ 207 w 275"/>
                <a:gd name="T89" fmla="*/ 96 h 306"/>
                <a:gd name="T90" fmla="*/ 196 w 275"/>
                <a:gd name="T91" fmla="*/ 88 h 306"/>
                <a:gd name="T92" fmla="*/ 183 w 275"/>
                <a:gd name="T93" fmla="*/ 89 h 306"/>
                <a:gd name="T94" fmla="*/ 170 w 275"/>
                <a:gd name="T95" fmla="*/ 81 h 306"/>
                <a:gd name="T96" fmla="*/ 151 w 275"/>
                <a:gd name="T97" fmla="*/ 73 h 306"/>
                <a:gd name="T98" fmla="*/ 147 w 275"/>
                <a:gd name="T99" fmla="*/ 68 h 306"/>
                <a:gd name="T100" fmla="*/ 133 w 275"/>
                <a:gd name="T101" fmla="*/ 64 h 306"/>
                <a:gd name="T102" fmla="*/ 126 w 275"/>
                <a:gd name="T103" fmla="*/ 65 h 306"/>
                <a:gd name="T104" fmla="*/ 112 w 275"/>
                <a:gd name="T105" fmla="*/ 57 h 306"/>
                <a:gd name="T106" fmla="*/ 93 w 275"/>
                <a:gd name="T107" fmla="*/ 32 h 306"/>
                <a:gd name="T108" fmla="*/ 93 w 275"/>
                <a:gd name="T109" fmla="*/ 22 h 306"/>
                <a:gd name="T110" fmla="*/ 94 w 275"/>
                <a:gd name="T111" fmla="*/ 5 h 30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5" h="306">
                  <a:moveTo>
                    <a:pt x="95" y="0"/>
                  </a:moveTo>
                  <a:cubicBezTo>
                    <a:pt x="94" y="1"/>
                    <a:pt x="93" y="1"/>
                    <a:pt x="91" y="1"/>
                  </a:cubicBezTo>
                  <a:cubicBezTo>
                    <a:pt x="91" y="1"/>
                    <a:pt x="90" y="1"/>
                    <a:pt x="90" y="1"/>
                  </a:cubicBezTo>
                  <a:cubicBezTo>
                    <a:pt x="88" y="1"/>
                    <a:pt x="87" y="1"/>
                    <a:pt x="87" y="1"/>
                  </a:cubicBezTo>
                  <a:cubicBezTo>
                    <a:pt x="86" y="0"/>
                    <a:pt x="85" y="0"/>
                    <a:pt x="85" y="0"/>
                  </a:cubicBezTo>
                  <a:cubicBezTo>
                    <a:pt x="85" y="0"/>
                    <a:pt x="85" y="0"/>
                    <a:pt x="85" y="0"/>
                  </a:cubicBezTo>
                  <a:cubicBezTo>
                    <a:pt x="84" y="0"/>
                    <a:pt x="84" y="0"/>
                    <a:pt x="84" y="0"/>
                  </a:cubicBezTo>
                  <a:cubicBezTo>
                    <a:pt x="83" y="0"/>
                    <a:pt x="83" y="0"/>
                    <a:pt x="83" y="0"/>
                  </a:cubicBezTo>
                  <a:cubicBezTo>
                    <a:pt x="71" y="3"/>
                    <a:pt x="71" y="3"/>
                    <a:pt x="71" y="3"/>
                  </a:cubicBezTo>
                  <a:cubicBezTo>
                    <a:pt x="69" y="4"/>
                    <a:pt x="67" y="4"/>
                    <a:pt x="66" y="6"/>
                  </a:cubicBezTo>
                  <a:cubicBezTo>
                    <a:pt x="65" y="6"/>
                    <a:pt x="64" y="7"/>
                    <a:pt x="63" y="8"/>
                  </a:cubicBezTo>
                  <a:cubicBezTo>
                    <a:pt x="60" y="10"/>
                    <a:pt x="58" y="12"/>
                    <a:pt x="56" y="13"/>
                  </a:cubicBezTo>
                  <a:cubicBezTo>
                    <a:pt x="54" y="14"/>
                    <a:pt x="53" y="15"/>
                    <a:pt x="51" y="15"/>
                  </a:cubicBezTo>
                  <a:cubicBezTo>
                    <a:pt x="50" y="16"/>
                    <a:pt x="49" y="17"/>
                    <a:pt x="47" y="17"/>
                  </a:cubicBezTo>
                  <a:cubicBezTo>
                    <a:pt x="47" y="18"/>
                    <a:pt x="46" y="18"/>
                    <a:pt x="46" y="19"/>
                  </a:cubicBezTo>
                  <a:cubicBezTo>
                    <a:pt x="45" y="19"/>
                    <a:pt x="45" y="19"/>
                    <a:pt x="45" y="19"/>
                  </a:cubicBezTo>
                  <a:cubicBezTo>
                    <a:pt x="45" y="20"/>
                    <a:pt x="44" y="21"/>
                    <a:pt x="43" y="22"/>
                  </a:cubicBezTo>
                  <a:cubicBezTo>
                    <a:pt x="41" y="23"/>
                    <a:pt x="39" y="24"/>
                    <a:pt x="37" y="24"/>
                  </a:cubicBezTo>
                  <a:cubicBezTo>
                    <a:pt x="37" y="24"/>
                    <a:pt x="37" y="24"/>
                    <a:pt x="37" y="24"/>
                  </a:cubicBezTo>
                  <a:cubicBezTo>
                    <a:pt x="36" y="24"/>
                    <a:pt x="35" y="24"/>
                    <a:pt x="34" y="25"/>
                  </a:cubicBezTo>
                  <a:cubicBezTo>
                    <a:pt x="33" y="25"/>
                    <a:pt x="33" y="25"/>
                    <a:pt x="32" y="26"/>
                  </a:cubicBezTo>
                  <a:cubicBezTo>
                    <a:pt x="31" y="27"/>
                    <a:pt x="31" y="28"/>
                    <a:pt x="29" y="29"/>
                  </a:cubicBezTo>
                  <a:cubicBezTo>
                    <a:pt x="28" y="30"/>
                    <a:pt x="26" y="30"/>
                    <a:pt x="25" y="31"/>
                  </a:cubicBezTo>
                  <a:cubicBezTo>
                    <a:pt x="25" y="31"/>
                    <a:pt x="25" y="31"/>
                    <a:pt x="25" y="31"/>
                  </a:cubicBezTo>
                  <a:cubicBezTo>
                    <a:pt x="24" y="31"/>
                    <a:pt x="24" y="31"/>
                    <a:pt x="24" y="31"/>
                  </a:cubicBezTo>
                  <a:cubicBezTo>
                    <a:pt x="23" y="31"/>
                    <a:pt x="21" y="32"/>
                    <a:pt x="19" y="32"/>
                  </a:cubicBezTo>
                  <a:cubicBezTo>
                    <a:pt x="19" y="32"/>
                    <a:pt x="19" y="32"/>
                    <a:pt x="18" y="32"/>
                  </a:cubicBezTo>
                  <a:cubicBezTo>
                    <a:pt x="18" y="32"/>
                    <a:pt x="18" y="32"/>
                    <a:pt x="17" y="32"/>
                  </a:cubicBezTo>
                  <a:cubicBezTo>
                    <a:pt x="17" y="32"/>
                    <a:pt x="17" y="32"/>
                    <a:pt x="16" y="32"/>
                  </a:cubicBezTo>
                  <a:cubicBezTo>
                    <a:pt x="15" y="31"/>
                    <a:pt x="15" y="31"/>
                    <a:pt x="14" y="31"/>
                  </a:cubicBezTo>
                  <a:cubicBezTo>
                    <a:pt x="14" y="31"/>
                    <a:pt x="13" y="31"/>
                    <a:pt x="13" y="31"/>
                  </a:cubicBezTo>
                  <a:cubicBezTo>
                    <a:pt x="12" y="31"/>
                    <a:pt x="12" y="31"/>
                    <a:pt x="12" y="31"/>
                  </a:cubicBezTo>
                  <a:cubicBezTo>
                    <a:pt x="12" y="31"/>
                    <a:pt x="11" y="31"/>
                    <a:pt x="11" y="31"/>
                  </a:cubicBezTo>
                  <a:cubicBezTo>
                    <a:pt x="10" y="31"/>
                    <a:pt x="9" y="30"/>
                    <a:pt x="8" y="30"/>
                  </a:cubicBezTo>
                  <a:cubicBezTo>
                    <a:pt x="7" y="30"/>
                    <a:pt x="7" y="30"/>
                    <a:pt x="7" y="30"/>
                  </a:cubicBezTo>
                  <a:cubicBezTo>
                    <a:pt x="7" y="30"/>
                    <a:pt x="6" y="30"/>
                    <a:pt x="5" y="29"/>
                  </a:cubicBezTo>
                  <a:cubicBezTo>
                    <a:pt x="5" y="30"/>
                    <a:pt x="5" y="30"/>
                    <a:pt x="5" y="30"/>
                  </a:cubicBezTo>
                  <a:cubicBezTo>
                    <a:pt x="8" y="34"/>
                    <a:pt x="10" y="38"/>
                    <a:pt x="12" y="42"/>
                  </a:cubicBezTo>
                  <a:cubicBezTo>
                    <a:pt x="15" y="47"/>
                    <a:pt x="18" y="52"/>
                    <a:pt x="20" y="57"/>
                  </a:cubicBezTo>
                  <a:cubicBezTo>
                    <a:pt x="22" y="60"/>
                    <a:pt x="22" y="60"/>
                    <a:pt x="22" y="60"/>
                  </a:cubicBezTo>
                  <a:cubicBezTo>
                    <a:pt x="22" y="61"/>
                    <a:pt x="23" y="62"/>
                    <a:pt x="22" y="63"/>
                  </a:cubicBezTo>
                  <a:cubicBezTo>
                    <a:pt x="22" y="65"/>
                    <a:pt x="20" y="68"/>
                    <a:pt x="18" y="71"/>
                  </a:cubicBezTo>
                  <a:cubicBezTo>
                    <a:pt x="17" y="72"/>
                    <a:pt x="17" y="72"/>
                    <a:pt x="17" y="72"/>
                  </a:cubicBezTo>
                  <a:cubicBezTo>
                    <a:pt x="17" y="73"/>
                    <a:pt x="16" y="74"/>
                    <a:pt x="16" y="75"/>
                  </a:cubicBezTo>
                  <a:cubicBezTo>
                    <a:pt x="15" y="76"/>
                    <a:pt x="15" y="78"/>
                    <a:pt x="15" y="80"/>
                  </a:cubicBezTo>
                  <a:cubicBezTo>
                    <a:pt x="15" y="81"/>
                    <a:pt x="14" y="82"/>
                    <a:pt x="14" y="83"/>
                  </a:cubicBezTo>
                  <a:cubicBezTo>
                    <a:pt x="14" y="84"/>
                    <a:pt x="13" y="85"/>
                    <a:pt x="13" y="86"/>
                  </a:cubicBezTo>
                  <a:cubicBezTo>
                    <a:pt x="13" y="86"/>
                    <a:pt x="13" y="86"/>
                    <a:pt x="13" y="86"/>
                  </a:cubicBezTo>
                  <a:cubicBezTo>
                    <a:pt x="13" y="87"/>
                    <a:pt x="13" y="87"/>
                    <a:pt x="13" y="88"/>
                  </a:cubicBezTo>
                  <a:cubicBezTo>
                    <a:pt x="13" y="89"/>
                    <a:pt x="13" y="89"/>
                    <a:pt x="13" y="89"/>
                  </a:cubicBezTo>
                  <a:cubicBezTo>
                    <a:pt x="14" y="90"/>
                    <a:pt x="14" y="90"/>
                    <a:pt x="14" y="90"/>
                  </a:cubicBezTo>
                  <a:cubicBezTo>
                    <a:pt x="14" y="91"/>
                    <a:pt x="14" y="92"/>
                    <a:pt x="15" y="93"/>
                  </a:cubicBezTo>
                  <a:cubicBezTo>
                    <a:pt x="15" y="94"/>
                    <a:pt x="15" y="94"/>
                    <a:pt x="15" y="94"/>
                  </a:cubicBezTo>
                  <a:cubicBezTo>
                    <a:pt x="16" y="96"/>
                    <a:pt x="16" y="96"/>
                    <a:pt x="16" y="96"/>
                  </a:cubicBezTo>
                  <a:cubicBezTo>
                    <a:pt x="16" y="97"/>
                    <a:pt x="17" y="98"/>
                    <a:pt x="17" y="99"/>
                  </a:cubicBezTo>
                  <a:cubicBezTo>
                    <a:pt x="18" y="100"/>
                    <a:pt x="18" y="100"/>
                    <a:pt x="18" y="100"/>
                  </a:cubicBezTo>
                  <a:cubicBezTo>
                    <a:pt x="18" y="102"/>
                    <a:pt x="18" y="102"/>
                    <a:pt x="18" y="102"/>
                  </a:cubicBezTo>
                  <a:cubicBezTo>
                    <a:pt x="18" y="103"/>
                    <a:pt x="18" y="103"/>
                    <a:pt x="18" y="103"/>
                  </a:cubicBezTo>
                  <a:cubicBezTo>
                    <a:pt x="17" y="104"/>
                    <a:pt x="17" y="104"/>
                    <a:pt x="16" y="105"/>
                  </a:cubicBezTo>
                  <a:cubicBezTo>
                    <a:pt x="16" y="105"/>
                    <a:pt x="16" y="105"/>
                    <a:pt x="16" y="105"/>
                  </a:cubicBezTo>
                  <a:cubicBezTo>
                    <a:pt x="16" y="105"/>
                    <a:pt x="15" y="106"/>
                    <a:pt x="15" y="106"/>
                  </a:cubicBezTo>
                  <a:cubicBezTo>
                    <a:pt x="15" y="107"/>
                    <a:pt x="15" y="107"/>
                    <a:pt x="15" y="108"/>
                  </a:cubicBezTo>
                  <a:cubicBezTo>
                    <a:pt x="14" y="109"/>
                    <a:pt x="12" y="110"/>
                    <a:pt x="11" y="111"/>
                  </a:cubicBezTo>
                  <a:cubicBezTo>
                    <a:pt x="11" y="111"/>
                    <a:pt x="11" y="111"/>
                    <a:pt x="11" y="111"/>
                  </a:cubicBezTo>
                  <a:cubicBezTo>
                    <a:pt x="10" y="112"/>
                    <a:pt x="10" y="112"/>
                    <a:pt x="9" y="113"/>
                  </a:cubicBezTo>
                  <a:cubicBezTo>
                    <a:pt x="7" y="116"/>
                    <a:pt x="7" y="116"/>
                    <a:pt x="8" y="120"/>
                  </a:cubicBezTo>
                  <a:cubicBezTo>
                    <a:pt x="8" y="120"/>
                    <a:pt x="8" y="121"/>
                    <a:pt x="9" y="123"/>
                  </a:cubicBezTo>
                  <a:cubicBezTo>
                    <a:pt x="11" y="125"/>
                    <a:pt x="12" y="127"/>
                    <a:pt x="11" y="128"/>
                  </a:cubicBezTo>
                  <a:cubicBezTo>
                    <a:pt x="6" y="135"/>
                    <a:pt x="6" y="135"/>
                    <a:pt x="6" y="135"/>
                  </a:cubicBezTo>
                  <a:cubicBezTo>
                    <a:pt x="6" y="137"/>
                    <a:pt x="6" y="137"/>
                    <a:pt x="6" y="137"/>
                  </a:cubicBezTo>
                  <a:cubicBezTo>
                    <a:pt x="6" y="138"/>
                    <a:pt x="7" y="139"/>
                    <a:pt x="7" y="141"/>
                  </a:cubicBezTo>
                  <a:cubicBezTo>
                    <a:pt x="8" y="145"/>
                    <a:pt x="9" y="147"/>
                    <a:pt x="13" y="148"/>
                  </a:cubicBezTo>
                  <a:cubicBezTo>
                    <a:pt x="13" y="148"/>
                    <a:pt x="13" y="148"/>
                    <a:pt x="13" y="148"/>
                  </a:cubicBezTo>
                  <a:cubicBezTo>
                    <a:pt x="16" y="148"/>
                    <a:pt x="17" y="148"/>
                    <a:pt x="18" y="149"/>
                  </a:cubicBezTo>
                  <a:cubicBezTo>
                    <a:pt x="19" y="151"/>
                    <a:pt x="18" y="153"/>
                    <a:pt x="18" y="153"/>
                  </a:cubicBezTo>
                  <a:cubicBezTo>
                    <a:pt x="18" y="154"/>
                    <a:pt x="18" y="154"/>
                    <a:pt x="18" y="154"/>
                  </a:cubicBezTo>
                  <a:cubicBezTo>
                    <a:pt x="14" y="160"/>
                    <a:pt x="14" y="160"/>
                    <a:pt x="14" y="160"/>
                  </a:cubicBezTo>
                  <a:cubicBezTo>
                    <a:pt x="13" y="160"/>
                    <a:pt x="13" y="160"/>
                    <a:pt x="13" y="161"/>
                  </a:cubicBezTo>
                  <a:cubicBezTo>
                    <a:pt x="12" y="161"/>
                    <a:pt x="12" y="162"/>
                    <a:pt x="11" y="163"/>
                  </a:cubicBezTo>
                  <a:cubicBezTo>
                    <a:pt x="11" y="164"/>
                    <a:pt x="11" y="164"/>
                    <a:pt x="11" y="164"/>
                  </a:cubicBezTo>
                  <a:cubicBezTo>
                    <a:pt x="9" y="166"/>
                    <a:pt x="8" y="168"/>
                    <a:pt x="6" y="170"/>
                  </a:cubicBezTo>
                  <a:cubicBezTo>
                    <a:pt x="6" y="170"/>
                    <a:pt x="5" y="170"/>
                    <a:pt x="4" y="171"/>
                  </a:cubicBezTo>
                  <a:cubicBezTo>
                    <a:pt x="4" y="171"/>
                    <a:pt x="4" y="171"/>
                    <a:pt x="4" y="171"/>
                  </a:cubicBezTo>
                  <a:cubicBezTo>
                    <a:pt x="2" y="173"/>
                    <a:pt x="1" y="174"/>
                    <a:pt x="0" y="175"/>
                  </a:cubicBezTo>
                  <a:cubicBezTo>
                    <a:pt x="0" y="175"/>
                    <a:pt x="0" y="175"/>
                    <a:pt x="0" y="175"/>
                  </a:cubicBezTo>
                  <a:cubicBezTo>
                    <a:pt x="1" y="175"/>
                    <a:pt x="1" y="176"/>
                    <a:pt x="2" y="177"/>
                  </a:cubicBezTo>
                  <a:cubicBezTo>
                    <a:pt x="2" y="177"/>
                    <a:pt x="2" y="177"/>
                    <a:pt x="2" y="177"/>
                  </a:cubicBezTo>
                  <a:cubicBezTo>
                    <a:pt x="3" y="178"/>
                    <a:pt x="3" y="178"/>
                    <a:pt x="3" y="178"/>
                  </a:cubicBezTo>
                  <a:cubicBezTo>
                    <a:pt x="3" y="178"/>
                    <a:pt x="3" y="178"/>
                    <a:pt x="3" y="179"/>
                  </a:cubicBezTo>
                  <a:cubicBezTo>
                    <a:pt x="3" y="179"/>
                    <a:pt x="3" y="179"/>
                    <a:pt x="3" y="179"/>
                  </a:cubicBezTo>
                  <a:cubicBezTo>
                    <a:pt x="3" y="180"/>
                    <a:pt x="3" y="180"/>
                    <a:pt x="3" y="180"/>
                  </a:cubicBezTo>
                  <a:cubicBezTo>
                    <a:pt x="4" y="182"/>
                    <a:pt x="4" y="182"/>
                    <a:pt x="4" y="182"/>
                  </a:cubicBezTo>
                  <a:cubicBezTo>
                    <a:pt x="4" y="182"/>
                    <a:pt x="4" y="182"/>
                    <a:pt x="4" y="182"/>
                  </a:cubicBezTo>
                  <a:cubicBezTo>
                    <a:pt x="4" y="182"/>
                    <a:pt x="5" y="183"/>
                    <a:pt x="5" y="183"/>
                  </a:cubicBezTo>
                  <a:cubicBezTo>
                    <a:pt x="4" y="184"/>
                    <a:pt x="4" y="184"/>
                    <a:pt x="4" y="184"/>
                  </a:cubicBezTo>
                  <a:cubicBezTo>
                    <a:pt x="5" y="184"/>
                    <a:pt x="5" y="184"/>
                    <a:pt x="5" y="184"/>
                  </a:cubicBezTo>
                  <a:cubicBezTo>
                    <a:pt x="5" y="184"/>
                    <a:pt x="5" y="184"/>
                    <a:pt x="5" y="184"/>
                  </a:cubicBezTo>
                  <a:cubicBezTo>
                    <a:pt x="5" y="185"/>
                    <a:pt x="6" y="186"/>
                    <a:pt x="6" y="187"/>
                  </a:cubicBezTo>
                  <a:cubicBezTo>
                    <a:pt x="7" y="189"/>
                    <a:pt x="7" y="189"/>
                    <a:pt x="8" y="189"/>
                  </a:cubicBezTo>
                  <a:cubicBezTo>
                    <a:pt x="9" y="190"/>
                    <a:pt x="9" y="190"/>
                    <a:pt x="9" y="190"/>
                  </a:cubicBezTo>
                  <a:cubicBezTo>
                    <a:pt x="10" y="190"/>
                    <a:pt x="10" y="190"/>
                    <a:pt x="10" y="190"/>
                  </a:cubicBezTo>
                  <a:cubicBezTo>
                    <a:pt x="10" y="190"/>
                    <a:pt x="10" y="190"/>
                    <a:pt x="10" y="190"/>
                  </a:cubicBezTo>
                  <a:cubicBezTo>
                    <a:pt x="10" y="190"/>
                    <a:pt x="11" y="190"/>
                    <a:pt x="11" y="190"/>
                  </a:cubicBezTo>
                  <a:cubicBezTo>
                    <a:pt x="13" y="191"/>
                    <a:pt x="14" y="194"/>
                    <a:pt x="14" y="196"/>
                  </a:cubicBezTo>
                  <a:cubicBezTo>
                    <a:pt x="14" y="198"/>
                    <a:pt x="14" y="201"/>
                    <a:pt x="14" y="203"/>
                  </a:cubicBezTo>
                  <a:cubicBezTo>
                    <a:pt x="14" y="204"/>
                    <a:pt x="14" y="205"/>
                    <a:pt x="14" y="206"/>
                  </a:cubicBezTo>
                  <a:cubicBezTo>
                    <a:pt x="15" y="211"/>
                    <a:pt x="15" y="213"/>
                    <a:pt x="18" y="216"/>
                  </a:cubicBezTo>
                  <a:cubicBezTo>
                    <a:pt x="19" y="217"/>
                    <a:pt x="20" y="218"/>
                    <a:pt x="21" y="219"/>
                  </a:cubicBezTo>
                  <a:cubicBezTo>
                    <a:pt x="21" y="219"/>
                    <a:pt x="21" y="219"/>
                    <a:pt x="21" y="219"/>
                  </a:cubicBezTo>
                  <a:cubicBezTo>
                    <a:pt x="23" y="221"/>
                    <a:pt x="25" y="223"/>
                    <a:pt x="27" y="225"/>
                  </a:cubicBezTo>
                  <a:cubicBezTo>
                    <a:pt x="30" y="228"/>
                    <a:pt x="30" y="228"/>
                    <a:pt x="30" y="228"/>
                  </a:cubicBezTo>
                  <a:cubicBezTo>
                    <a:pt x="26" y="229"/>
                    <a:pt x="26" y="229"/>
                    <a:pt x="26" y="229"/>
                  </a:cubicBezTo>
                  <a:cubicBezTo>
                    <a:pt x="25" y="230"/>
                    <a:pt x="25" y="230"/>
                    <a:pt x="25" y="230"/>
                  </a:cubicBezTo>
                  <a:cubicBezTo>
                    <a:pt x="24" y="231"/>
                    <a:pt x="24" y="232"/>
                    <a:pt x="23" y="233"/>
                  </a:cubicBezTo>
                  <a:cubicBezTo>
                    <a:pt x="24" y="233"/>
                    <a:pt x="24" y="234"/>
                    <a:pt x="24" y="235"/>
                  </a:cubicBezTo>
                  <a:cubicBezTo>
                    <a:pt x="26" y="238"/>
                    <a:pt x="25" y="241"/>
                    <a:pt x="23" y="243"/>
                  </a:cubicBezTo>
                  <a:cubicBezTo>
                    <a:pt x="22" y="244"/>
                    <a:pt x="21" y="244"/>
                    <a:pt x="20" y="244"/>
                  </a:cubicBezTo>
                  <a:cubicBezTo>
                    <a:pt x="20" y="244"/>
                    <a:pt x="20" y="244"/>
                    <a:pt x="20" y="244"/>
                  </a:cubicBezTo>
                  <a:cubicBezTo>
                    <a:pt x="20" y="248"/>
                    <a:pt x="21" y="249"/>
                    <a:pt x="22" y="250"/>
                  </a:cubicBezTo>
                  <a:cubicBezTo>
                    <a:pt x="24" y="251"/>
                    <a:pt x="25" y="252"/>
                    <a:pt x="25" y="253"/>
                  </a:cubicBezTo>
                  <a:cubicBezTo>
                    <a:pt x="27" y="255"/>
                    <a:pt x="27" y="257"/>
                    <a:pt x="27" y="259"/>
                  </a:cubicBezTo>
                  <a:cubicBezTo>
                    <a:pt x="27" y="260"/>
                    <a:pt x="27" y="260"/>
                    <a:pt x="27" y="260"/>
                  </a:cubicBezTo>
                  <a:cubicBezTo>
                    <a:pt x="26" y="260"/>
                    <a:pt x="26" y="261"/>
                    <a:pt x="26" y="261"/>
                  </a:cubicBezTo>
                  <a:cubicBezTo>
                    <a:pt x="27" y="261"/>
                    <a:pt x="27" y="261"/>
                    <a:pt x="27" y="261"/>
                  </a:cubicBezTo>
                  <a:cubicBezTo>
                    <a:pt x="27" y="261"/>
                    <a:pt x="27" y="262"/>
                    <a:pt x="28" y="263"/>
                  </a:cubicBezTo>
                  <a:cubicBezTo>
                    <a:pt x="29" y="263"/>
                    <a:pt x="29" y="263"/>
                    <a:pt x="29" y="263"/>
                  </a:cubicBezTo>
                  <a:cubicBezTo>
                    <a:pt x="30" y="264"/>
                    <a:pt x="30" y="265"/>
                    <a:pt x="30" y="265"/>
                  </a:cubicBezTo>
                  <a:cubicBezTo>
                    <a:pt x="31" y="266"/>
                    <a:pt x="32" y="267"/>
                    <a:pt x="32" y="269"/>
                  </a:cubicBezTo>
                  <a:cubicBezTo>
                    <a:pt x="33" y="269"/>
                    <a:pt x="33" y="269"/>
                    <a:pt x="33" y="269"/>
                  </a:cubicBezTo>
                  <a:cubicBezTo>
                    <a:pt x="33" y="270"/>
                    <a:pt x="33" y="271"/>
                    <a:pt x="34" y="272"/>
                  </a:cubicBezTo>
                  <a:cubicBezTo>
                    <a:pt x="34" y="272"/>
                    <a:pt x="34" y="273"/>
                    <a:pt x="34" y="273"/>
                  </a:cubicBezTo>
                  <a:cubicBezTo>
                    <a:pt x="34" y="273"/>
                    <a:pt x="34" y="273"/>
                    <a:pt x="34" y="273"/>
                  </a:cubicBezTo>
                  <a:cubicBezTo>
                    <a:pt x="34" y="274"/>
                    <a:pt x="34" y="274"/>
                    <a:pt x="35" y="274"/>
                  </a:cubicBezTo>
                  <a:cubicBezTo>
                    <a:pt x="35" y="275"/>
                    <a:pt x="35" y="276"/>
                    <a:pt x="35" y="276"/>
                  </a:cubicBezTo>
                  <a:cubicBezTo>
                    <a:pt x="35" y="277"/>
                    <a:pt x="35" y="277"/>
                    <a:pt x="35" y="277"/>
                  </a:cubicBezTo>
                  <a:cubicBezTo>
                    <a:pt x="35" y="278"/>
                    <a:pt x="35" y="279"/>
                    <a:pt x="35" y="280"/>
                  </a:cubicBezTo>
                  <a:cubicBezTo>
                    <a:pt x="35" y="281"/>
                    <a:pt x="35" y="281"/>
                    <a:pt x="35" y="281"/>
                  </a:cubicBezTo>
                  <a:cubicBezTo>
                    <a:pt x="36" y="282"/>
                    <a:pt x="36" y="283"/>
                    <a:pt x="36" y="284"/>
                  </a:cubicBezTo>
                  <a:cubicBezTo>
                    <a:pt x="36" y="285"/>
                    <a:pt x="36" y="287"/>
                    <a:pt x="37" y="288"/>
                  </a:cubicBezTo>
                  <a:cubicBezTo>
                    <a:pt x="37" y="288"/>
                    <a:pt x="37" y="288"/>
                    <a:pt x="37" y="288"/>
                  </a:cubicBezTo>
                  <a:cubicBezTo>
                    <a:pt x="37" y="289"/>
                    <a:pt x="37" y="289"/>
                    <a:pt x="37" y="289"/>
                  </a:cubicBezTo>
                  <a:cubicBezTo>
                    <a:pt x="38" y="290"/>
                    <a:pt x="40" y="292"/>
                    <a:pt x="40" y="294"/>
                  </a:cubicBezTo>
                  <a:cubicBezTo>
                    <a:pt x="40" y="295"/>
                    <a:pt x="40" y="296"/>
                    <a:pt x="40" y="296"/>
                  </a:cubicBezTo>
                  <a:cubicBezTo>
                    <a:pt x="40" y="297"/>
                    <a:pt x="40" y="297"/>
                    <a:pt x="40" y="298"/>
                  </a:cubicBezTo>
                  <a:cubicBezTo>
                    <a:pt x="40" y="298"/>
                    <a:pt x="40" y="298"/>
                    <a:pt x="40" y="298"/>
                  </a:cubicBezTo>
                  <a:cubicBezTo>
                    <a:pt x="41" y="300"/>
                    <a:pt x="41" y="301"/>
                    <a:pt x="41" y="303"/>
                  </a:cubicBezTo>
                  <a:cubicBezTo>
                    <a:pt x="41" y="304"/>
                    <a:pt x="41" y="305"/>
                    <a:pt x="41" y="306"/>
                  </a:cubicBezTo>
                  <a:cubicBezTo>
                    <a:pt x="41" y="306"/>
                    <a:pt x="41" y="306"/>
                    <a:pt x="41" y="306"/>
                  </a:cubicBezTo>
                  <a:cubicBezTo>
                    <a:pt x="52" y="306"/>
                    <a:pt x="52" y="306"/>
                    <a:pt x="52" y="306"/>
                  </a:cubicBezTo>
                  <a:cubicBezTo>
                    <a:pt x="53" y="306"/>
                    <a:pt x="53" y="306"/>
                    <a:pt x="53" y="306"/>
                  </a:cubicBezTo>
                  <a:cubicBezTo>
                    <a:pt x="53" y="306"/>
                    <a:pt x="53" y="306"/>
                    <a:pt x="53" y="306"/>
                  </a:cubicBezTo>
                  <a:cubicBezTo>
                    <a:pt x="54" y="305"/>
                    <a:pt x="56" y="303"/>
                    <a:pt x="56" y="302"/>
                  </a:cubicBezTo>
                  <a:cubicBezTo>
                    <a:pt x="57" y="301"/>
                    <a:pt x="57" y="301"/>
                    <a:pt x="58" y="300"/>
                  </a:cubicBezTo>
                  <a:cubicBezTo>
                    <a:pt x="60" y="298"/>
                    <a:pt x="62" y="296"/>
                    <a:pt x="64" y="293"/>
                  </a:cubicBezTo>
                  <a:cubicBezTo>
                    <a:pt x="66" y="292"/>
                    <a:pt x="67" y="291"/>
                    <a:pt x="70" y="290"/>
                  </a:cubicBezTo>
                  <a:cubicBezTo>
                    <a:pt x="71" y="289"/>
                    <a:pt x="72" y="289"/>
                    <a:pt x="72" y="289"/>
                  </a:cubicBezTo>
                  <a:cubicBezTo>
                    <a:pt x="72" y="289"/>
                    <a:pt x="72" y="289"/>
                    <a:pt x="72" y="289"/>
                  </a:cubicBezTo>
                  <a:cubicBezTo>
                    <a:pt x="72" y="288"/>
                    <a:pt x="72" y="288"/>
                    <a:pt x="72" y="288"/>
                  </a:cubicBezTo>
                  <a:cubicBezTo>
                    <a:pt x="73" y="287"/>
                    <a:pt x="73" y="286"/>
                    <a:pt x="73" y="285"/>
                  </a:cubicBezTo>
                  <a:cubicBezTo>
                    <a:pt x="74" y="283"/>
                    <a:pt x="74" y="283"/>
                    <a:pt x="74" y="283"/>
                  </a:cubicBezTo>
                  <a:cubicBezTo>
                    <a:pt x="74" y="283"/>
                    <a:pt x="74" y="283"/>
                    <a:pt x="74" y="283"/>
                  </a:cubicBezTo>
                  <a:cubicBezTo>
                    <a:pt x="74" y="280"/>
                    <a:pt x="74" y="280"/>
                    <a:pt x="74" y="280"/>
                  </a:cubicBezTo>
                  <a:cubicBezTo>
                    <a:pt x="77" y="281"/>
                    <a:pt x="77" y="281"/>
                    <a:pt x="77" y="281"/>
                  </a:cubicBezTo>
                  <a:cubicBezTo>
                    <a:pt x="80" y="281"/>
                    <a:pt x="83" y="284"/>
                    <a:pt x="85" y="285"/>
                  </a:cubicBezTo>
                  <a:cubicBezTo>
                    <a:pt x="87" y="287"/>
                    <a:pt x="89" y="289"/>
                    <a:pt x="91" y="289"/>
                  </a:cubicBezTo>
                  <a:cubicBezTo>
                    <a:pt x="94" y="289"/>
                    <a:pt x="94" y="289"/>
                    <a:pt x="94" y="289"/>
                  </a:cubicBezTo>
                  <a:cubicBezTo>
                    <a:pt x="95" y="289"/>
                    <a:pt x="95" y="289"/>
                    <a:pt x="96" y="289"/>
                  </a:cubicBezTo>
                  <a:cubicBezTo>
                    <a:pt x="98" y="289"/>
                    <a:pt x="100" y="289"/>
                    <a:pt x="102" y="289"/>
                  </a:cubicBezTo>
                  <a:cubicBezTo>
                    <a:pt x="103" y="289"/>
                    <a:pt x="105" y="289"/>
                    <a:pt x="106" y="289"/>
                  </a:cubicBezTo>
                  <a:cubicBezTo>
                    <a:pt x="107" y="289"/>
                    <a:pt x="107" y="289"/>
                    <a:pt x="107" y="289"/>
                  </a:cubicBezTo>
                  <a:cubicBezTo>
                    <a:pt x="108" y="290"/>
                    <a:pt x="110" y="290"/>
                    <a:pt x="112" y="290"/>
                  </a:cubicBezTo>
                  <a:cubicBezTo>
                    <a:pt x="115" y="291"/>
                    <a:pt x="116" y="292"/>
                    <a:pt x="118" y="295"/>
                  </a:cubicBezTo>
                  <a:cubicBezTo>
                    <a:pt x="119" y="296"/>
                    <a:pt x="120" y="299"/>
                    <a:pt x="121" y="301"/>
                  </a:cubicBezTo>
                  <a:cubicBezTo>
                    <a:pt x="123" y="297"/>
                    <a:pt x="124" y="293"/>
                    <a:pt x="126" y="289"/>
                  </a:cubicBezTo>
                  <a:cubicBezTo>
                    <a:pt x="127" y="288"/>
                    <a:pt x="127" y="288"/>
                    <a:pt x="127" y="288"/>
                  </a:cubicBezTo>
                  <a:cubicBezTo>
                    <a:pt x="127" y="288"/>
                    <a:pt x="127" y="288"/>
                    <a:pt x="127" y="288"/>
                  </a:cubicBezTo>
                  <a:cubicBezTo>
                    <a:pt x="129" y="287"/>
                    <a:pt x="131" y="286"/>
                    <a:pt x="133" y="286"/>
                  </a:cubicBezTo>
                  <a:cubicBezTo>
                    <a:pt x="133" y="286"/>
                    <a:pt x="133" y="286"/>
                    <a:pt x="133" y="286"/>
                  </a:cubicBezTo>
                  <a:cubicBezTo>
                    <a:pt x="134" y="286"/>
                    <a:pt x="135" y="286"/>
                    <a:pt x="136" y="286"/>
                  </a:cubicBezTo>
                  <a:cubicBezTo>
                    <a:pt x="136" y="286"/>
                    <a:pt x="137" y="286"/>
                    <a:pt x="137" y="286"/>
                  </a:cubicBezTo>
                  <a:cubicBezTo>
                    <a:pt x="150" y="286"/>
                    <a:pt x="150" y="286"/>
                    <a:pt x="150" y="286"/>
                  </a:cubicBezTo>
                  <a:cubicBezTo>
                    <a:pt x="150" y="286"/>
                    <a:pt x="151" y="286"/>
                    <a:pt x="151" y="286"/>
                  </a:cubicBezTo>
                  <a:cubicBezTo>
                    <a:pt x="151" y="286"/>
                    <a:pt x="151" y="286"/>
                    <a:pt x="151" y="286"/>
                  </a:cubicBezTo>
                  <a:cubicBezTo>
                    <a:pt x="152" y="286"/>
                    <a:pt x="153" y="286"/>
                    <a:pt x="153" y="286"/>
                  </a:cubicBezTo>
                  <a:cubicBezTo>
                    <a:pt x="154" y="286"/>
                    <a:pt x="154" y="286"/>
                    <a:pt x="154" y="286"/>
                  </a:cubicBezTo>
                  <a:cubicBezTo>
                    <a:pt x="154" y="286"/>
                    <a:pt x="154" y="286"/>
                    <a:pt x="154" y="286"/>
                  </a:cubicBezTo>
                  <a:cubicBezTo>
                    <a:pt x="154" y="286"/>
                    <a:pt x="154" y="286"/>
                    <a:pt x="154" y="286"/>
                  </a:cubicBezTo>
                  <a:cubicBezTo>
                    <a:pt x="155" y="286"/>
                    <a:pt x="155" y="286"/>
                    <a:pt x="155" y="286"/>
                  </a:cubicBezTo>
                  <a:cubicBezTo>
                    <a:pt x="156" y="286"/>
                    <a:pt x="156" y="286"/>
                    <a:pt x="156" y="286"/>
                  </a:cubicBezTo>
                  <a:cubicBezTo>
                    <a:pt x="156" y="286"/>
                    <a:pt x="157" y="286"/>
                    <a:pt x="157" y="286"/>
                  </a:cubicBezTo>
                  <a:cubicBezTo>
                    <a:pt x="158" y="287"/>
                    <a:pt x="158" y="287"/>
                    <a:pt x="158" y="288"/>
                  </a:cubicBezTo>
                  <a:cubicBezTo>
                    <a:pt x="159" y="286"/>
                    <a:pt x="159" y="286"/>
                    <a:pt x="159" y="286"/>
                  </a:cubicBezTo>
                  <a:cubicBezTo>
                    <a:pt x="159" y="285"/>
                    <a:pt x="160" y="283"/>
                    <a:pt x="160" y="282"/>
                  </a:cubicBezTo>
                  <a:cubicBezTo>
                    <a:pt x="162" y="278"/>
                    <a:pt x="162" y="278"/>
                    <a:pt x="162" y="278"/>
                  </a:cubicBezTo>
                  <a:cubicBezTo>
                    <a:pt x="162" y="276"/>
                    <a:pt x="162" y="275"/>
                    <a:pt x="163" y="274"/>
                  </a:cubicBezTo>
                  <a:cubicBezTo>
                    <a:pt x="163" y="273"/>
                    <a:pt x="163" y="273"/>
                    <a:pt x="163" y="273"/>
                  </a:cubicBezTo>
                  <a:cubicBezTo>
                    <a:pt x="164" y="270"/>
                    <a:pt x="165" y="267"/>
                    <a:pt x="166" y="264"/>
                  </a:cubicBezTo>
                  <a:cubicBezTo>
                    <a:pt x="166" y="263"/>
                    <a:pt x="166" y="262"/>
                    <a:pt x="166" y="260"/>
                  </a:cubicBezTo>
                  <a:cubicBezTo>
                    <a:pt x="166" y="260"/>
                    <a:pt x="166" y="259"/>
                    <a:pt x="166" y="258"/>
                  </a:cubicBezTo>
                  <a:cubicBezTo>
                    <a:pt x="166" y="256"/>
                    <a:pt x="166" y="256"/>
                    <a:pt x="166" y="256"/>
                  </a:cubicBezTo>
                  <a:cubicBezTo>
                    <a:pt x="166" y="255"/>
                    <a:pt x="167" y="254"/>
                    <a:pt x="167" y="253"/>
                  </a:cubicBezTo>
                  <a:cubicBezTo>
                    <a:pt x="167" y="251"/>
                    <a:pt x="168" y="250"/>
                    <a:pt x="169" y="248"/>
                  </a:cubicBezTo>
                  <a:cubicBezTo>
                    <a:pt x="170" y="247"/>
                    <a:pt x="171" y="245"/>
                    <a:pt x="172" y="244"/>
                  </a:cubicBezTo>
                  <a:cubicBezTo>
                    <a:pt x="172" y="243"/>
                    <a:pt x="172" y="243"/>
                    <a:pt x="172" y="243"/>
                  </a:cubicBezTo>
                  <a:cubicBezTo>
                    <a:pt x="173" y="242"/>
                    <a:pt x="173" y="242"/>
                    <a:pt x="173" y="242"/>
                  </a:cubicBezTo>
                  <a:cubicBezTo>
                    <a:pt x="175" y="240"/>
                    <a:pt x="175" y="238"/>
                    <a:pt x="176" y="236"/>
                  </a:cubicBezTo>
                  <a:cubicBezTo>
                    <a:pt x="177" y="234"/>
                    <a:pt x="177" y="234"/>
                    <a:pt x="177" y="234"/>
                  </a:cubicBezTo>
                  <a:cubicBezTo>
                    <a:pt x="178" y="231"/>
                    <a:pt x="180" y="230"/>
                    <a:pt x="183" y="229"/>
                  </a:cubicBezTo>
                  <a:cubicBezTo>
                    <a:pt x="192" y="227"/>
                    <a:pt x="192" y="227"/>
                    <a:pt x="192" y="227"/>
                  </a:cubicBezTo>
                  <a:cubicBezTo>
                    <a:pt x="196" y="226"/>
                    <a:pt x="200" y="226"/>
                    <a:pt x="204" y="225"/>
                  </a:cubicBezTo>
                  <a:cubicBezTo>
                    <a:pt x="207" y="224"/>
                    <a:pt x="210" y="224"/>
                    <a:pt x="212" y="223"/>
                  </a:cubicBezTo>
                  <a:cubicBezTo>
                    <a:pt x="215" y="222"/>
                    <a:pt x="215" y="222"/>
                    <a:pt x="215" y="222"/>
                  </a:cubicBezTo>
                  <a:cubicBezTo>
                    <a:pt x="219" y="221"/>
                    <a:pt x="223" y="221"/>
                    <a:pt x="226" y="221"/>
                  </a:cubicBezTo>
                  <a:cubicBezTo>
                    <a:pt x="228" y="221"/>
                    <a:pt x="228" y="221"/>
                    <a:pt x="228" y="221"/>
                  </a:cubicBezTo>
                  <a:cubicBezTo>
                    <a:pt x="230" y="221"/>
                    <a:pt x="232" y="220"/>
                    <a:pt x="234" y="220"/>
                  </a:cubicBezTo>
                  <a:cubicBezTo>
                    <a:pt x="234" y="220"/>
                    <a:pt x="234" y="220"/>
                    <a:pt x="235" y="220"/>
                  </a:cubicBezTo>
                  <a:cubicBezTo>
                    <a:pt x="235" y="220"/>
                    <a:pt x="235" y="220"/>
                    <a:pt x="235" y="220"/>
                  </a:cubicBezTo>
                  <a:cubicBezTo>
                    <a:pt x="236" y="220"/>
                    <a:pt x="237" y="220"/>
                    <a:pt x="238" y="220"/>
                  </a:cubicBezTo>
                  <a:cubicBezTo>
                    <a:pt x="239" y="220"/>
                    <a:pt x="241" y="220"/>
                    <a:pt x="242" y="220"/>
                  </a:cubicBezTo>
                  <a:cubicBezTo>
                    <a:pt x="243" y="220"/>
                    <a:pt x="243" y="220"/>
                    <a:pt x="243" y="220"/>
                  </a:cubicBezTo>
                  <a:cubicBezTo>
                    <a:pt x="243" y="220"/>
                    <a:pt x="244" y="221"/>
                    <a:pt x="244" y="221"/>
                  </a:cubicBezTo>
                  <a:cubicBezTo>
                    <a:pt x="263" y="232"/>
                    <a:pt x="263" y="232"/>
                    <a:pt x="263" y="232"/>
                  </a:cubicBezTo>
                  <a:cubicBezTo>
                    <a:pt x="263" y="232"/>
                    <a:pt x="263" y="232"/>
                    <a:pt x="263" y="232"/>
                  </a:cubicBezTo>
                  <a:cubicBezTo>
                    <a:pt x="263" y="230"/>
                    <a:pt x="264" y="228"/>
                    <a:pt x="265" y="226"/>
                  </a:cubicBezTo>
                  <a:cubicBezTo>
                    <a:pt x="266" y="225"/>
                    <a:pt x="266" y="225"/>
                    <a:pt x="266" y="225"/>
                  </a:cubicBezTo>
                  <a:cubicBezTo>
                    <a:pt x="266" y="224"/>
                    <a:pt x="267" y="223"/>
                    <a:pt x="267" y="222"/>
                  </a:cubicBezTo>
                  <a:cubicBezTo>
                    <a:pt x="269" y="218"/>
                    <a:pt x="269" y="218"/>
                    <a:pt x="269" y="218"/>
                  </a:cubicBezTo>
                  <a:cubicBezTo>
                    <a:pt x="269" y="217"/>
                    <a:pt x="270" y="215"/>
                    <a:pt x="271" y="214"/>
                  </a:cubicBezTo>
                  <a:cubicBezTo>
                    <a:pt x="271" y="213"/>
                    <a:pt x="271" y="212"/>
                    <a:pt x="271" y="211"/>
                  </a:cubicBezTo>
                  <a:cubicBezTo>
                    <a:pt x="272" y="211"/>
                    <a:pt x="272" y="210"/>
                    <a:pt x="272" y="210"/>
                  </a:cubicBezTo>
                  <a:cubicBezTo>
                    <a:pt x="272" y="209"/>
                    <a:pt x="272" y="208"/>
                    <a:pt x="273" y="207"/>
                  </a:cubicBezTo>
                  <a:cubicBezTo>
                    <a:pt x="273" y="206"/>
                    <a:pt x="273" y="206"/>
                    <a:pt x="273" y="206"/>
                  </a:cubicBezTo>
                  <a:cubicBezTo>
                    <a:pt x="273" y="204"/>
                    <a:pt x="273" y="201"/>
                    <a:pt x="274" y="199"/>
                  </a:cubicBezTo>
                  <a:cubicBezTo>
                    <a:pt x="274" y="198"/>
                    <a:pt x="275" y="197"/>
                    <a:pt x="275" y="197"/>
                  </a:cubicBezTo>
                  <a:cubicBezTo>
                    <a:pt x="275" y="196"/>
                    <a:pt x="275" y="196"/>
                    <a:pt x="275" y="196"/>
                  </a:cubicBezTo>
                  <a:cubicBezTo>
                    <a:pt x="274" y="195"/>
                    <a:pt x="274" y="195"/>
                    <a:pt x="274" y="195"/>
                  </a:cubicBezTo>
                  <a:cubicBezTo>
                    <a:pt x="273" y="194"/>
                    <a:pt x="273" y="194"/>
                    <a:pt x="273" y="194"/>
                  </a:cubicBezTo>
                  <a:cubicBezTo>
                    <a:pt x="272" y="192"/>
                    <a:pt x="272" y="190"/>
                    <a:pt x="272" y="189"/>
                  </a:cubicBezTo>
                  <a:cubicBezTo>
                    <a:pt x="272" y="189"/>
                    <a:pt x="272" y="189"/>
                    <a:pt x="272" y="189"/>
                  </a:cubicBezTo>
                  <a:cubicBezTo>
                    <a:pt x="271" y="188"/>
                    <a:pt x="271" y="187"/>
                    <a:pt x="271" y="187"/>
                  </a:cubicBezTo>
                  <a:cubicBezTo>
                    <a:pt x="270" y="184"/>
                    <a:pt x="270" y="183"/>
                    <a:pt x="268" y="183"/>
                  </a:cubicBezTo>
                  <a:cubicBezTo>
                    <a:pt x="266" y="182"/>
                    <a:pt x="264" y="182"/>
                    <a:pt x="262" y="180"/>
                  </a:cubicBezTo>
                  <a:cubicBezTo>
                    <a:pt x="256" y="177"/>
                    <a:pt x="255" y="173"/>
                    <a:pt x="254" y="167"/>
                  </a:cubicBezTo>
                  <a:cubicBezTo>
                    <a:pt x="253" y="164"/>
                    <a:pt x="253" y="160"/>
                    <a:pt x="255" y="157"/>
                  </a:cubicBezTo>
                  <a:cubicBezTo>
                    <a:pt x="255" y="156"/>
                    <a:pt x="256" y="156"/>
                    <a:pt x="256" y="156"/>
                  </a:cubicBezTo>
                  <a:cubicBezTo>
                    <a:pt x="256" y="155"/>
                    <a:pt x="257" y="154"/>
                    <a:pt x="257" y="154"/>
                  </a:cubicBezTo>
                  <a:cubicBezTo>
                    <a:pt x="244" y="154"/>
                    <a:pt x="244" y="154"/>
                    <a:pt x="244" y="154"/>
                  </a:cubicBezTo>
                  <a:cubicBezTo>
                    <a:pt x="241" y="154"/>
                    <a:pt x="239" y="154"/>
                    <a:pt x="236" y="154"/>
                  </a:cubicBezTo>
                  <a:cubicBezTo>
                    <a:pt x="234" y="154"/>
                    <a:pt x="232" y="154"/>
                    <a:pt x="229" y="154"/>
                  </a:cubicBezTo>
                  <a:cubicBezTo>
                    <a:pt x="222" y="154"/>
                    <a:pt x="222" y="154"/>
                    <a:pt x="222" y="154"/>
                  </a:cubicBezTo>
                  <a:cubicBezTo>
                    <a:pt x="221" y="154"/>
                    <a:pt x="220" y="154"/>
                    <a:pt x="220" y="154"/>
                  </a:cubicBezTo>
                  <a:cubicBezTo>
                    <a:pt x="215" y="153"/>
                    <a:pt x="214" y="151"/>
                    <a:pt x="214" y="147"/>
                  </a:cubicBezTo>
                  <a:cubicBezTo>
                    <a:pt x="214" y="147"/>
                    <a:pt x="214" y="146"/>
                    <a:pt x="214" y="146"/>
                  </a:cubicBezTo>
                  <a:cubicBezTo>
                    <a:pt x="214" y="144"/>
                    <a:pt x="214" y="143"/>
                    <a:pt x="214" y="142"/>
                  </a:cubicBezTo>
                  <a:cubicBezTo>
                    <a:pt x="214" y="138"/>
                    <a:pt x="213" y="134"/>
                    <a:pt x="211" y="132"/>
                  </a:cubicBezTo>
                  <a:cubicBezTo>
                    <a:pt x="210" y="130"/>
                    <a:pt x="208" y="127"/>
                    <a:pt x="206" y="125"/>
                  </a:cubicBezTo>
                  <a:cubicBezTo>
                    <a:pt x="203" y="122"/>
                    <a:pt x="203" y="122"/>
                    <a:pt x="203" y="122"/>
                  </a:cubicBezTo>
                  <a:cubicBezTo>
                    <a:pt x="207" y="121"/>
                    <a:pt x="207" y="121"/>
                    <a:pt x="207" y="121"/>
                  </a:cubicBezTo>
                  <a:cubicBezTo>
                    <a:pt x="208" y="120"/>
                    <a:pt x="209" y="120"/>
                    <a:pt x="210" y="120"/>
                  </a:cubicBezTo>
                  <a:cubicBezTo>
                    <a:pt x="211" y="120"/>
                    <a:pt x="211" y="120"/>
                    <a:pt x="211" y="120"/>
                  </a:cubicBezTo>
                  <a:cubicBezTo>
                    <a:pt x="207" y="119"/>
                    <a:pt x="207" y="119"/>
                    <a:pt x="207" y="119"/>
                  </a:cubicBezTo>
                  <a:cubicBezTo>
                    <a:pt x="212" y="119"/>
                    <a:pt x="212" y="119"/>
                    <a:pt x="212" y="119"/>
                  </a:cubicBezTo>
                  <a:cubicBezTo>
                    <a:pt x="212" y="118"/>
                    <a:pt x="212" y="118"/>
                    <a:pt x="212" y="118"/>
                  </a:cubicBezTo>
                  <a:cubicBezTo>
                    <a:pt x="212" y="116"/>
                    <a:pt x="211" y="113"/>
                    <a:pt x="210" y="110"/>
                  </a:cubicBezTo>
                  <a:cubicBezTo>
                    <a:pt x="210" y="110"/>
                    <a:pt x="210" y="110"/>
                    <a:pt x="210" y="110"/>
                  </a:cubicBezTo>
                  <a:cubicBezTo>
                    <a:pt x="209" y="107"/>
                    <a:pt x="208" y="103"/>
                    <a:pt x="208" y="100"/>
                  </a:cubicBezTo>
                  <a:cubicBezTo>
                    <a:pt x="208" y="100"/>
                    <a:pt x="208" y="100"/>
                    <a:pt x="208" y="100"/>
                  </a:cubicBezTo>
                  <a:cubicBezTo>
                    <a:pt x="208" y="99"/>
                    <a:pt x="208" y="99"/>
                    <a:pt x="208" y="99"/>
                  </a:cubicBezTo>
                  <a:cubicBezTo>
                    <a:pt x="208" y="98"/>
                    <a:pt x="208" y="98"/>
                    <a:pt x="208" y="98"/>
                  </a:cubicBezTo>
                  <a:cubicBezTo>
                    <a:pt x="208" y="97"/>
                    <a:pt x="208" y="97"/>
                    <a:pt x="207" y="96"/>
                  </a:cubicBezTo>
                  <a:cubicBezTo>
                    <a:pt x="207" y="96"/>
                    <a:pt x="207" y="96"/>
                    <a:pt x="207" y="96"/>
                  </a:cubicBezTo>
                  <a:cubicBezTo>
                    <a:pt x="206" y="95"/>
                    <a:pt x="205" y="94"/>
                    <a:pt x="204" y="93"/>
                  </a:cubicBezTo>
                  <a:cubicBezTo>
                    <a:pt x="202" y="92"/>
                    <a:pt x="201" y="91"/>
                    <a:pt x="199" y="90"/>
                  </a:cubicBezTo>
                  <a:cubicBezTo>
                    <a:pt x="199" y="90"/>
                    <a:pt x="198" y="89"/>
                    <a:pt x="197" y="89"/>
                  </a:cubicBezTo>
                  <a:cubicBezTo>
                    <a:pt x="196" y="88"/>
                    <a:pt x="196" y="88"/>
                    <a:pt x="196" y="88"/>
                  </a:cubicBezTo>
                  <a:cubicBezTo>
                    <a:pt x="196" y="88"/>
                    <a:pt x="196" y="88"/>
                    <a:pt x="196" y="88"/>
                  </a:cubicBezTo>
                  <a:cubicBezTo>
                    <a:pt x="195" y="88"/>
                    <a:pt x="194" y="88"/>
                    <a:pt x="193" y="88"/>
                  </a:cubicBezTo>
                  <a:cubicBezTo>
                    <a:pt x="191" y="88"/>
                    <a:pt x="190" y="88"/>
                    <a:pt x="187" y="88"/>
                  </a:cubicBezTo>
                  <a:cubicBezTo>
                    <a:pt x="187" y="88"/>
                    <a:pt x="187" y="88"/>
                    <a:pt x="187" y="88"/>
                  </a:cubicBezTo>
                  <a:cubicBezTo>
                    <a:pt x="186" y="88"/>
                    <a:pt x="186" y="88"/>
                    <a:pt x="185" y="88"/>
                  </a:cubicBezTo>
                  <a:cubicBezTo>
                    <a:pt x="185" y="88"/>
                    <a:pt x="184" y="88"/>
                    <a:pt x="184" y="88"/>
                  </a:cubicBezTo>
                  <a:cubicBezTo>
                    <a:pt x="183" y="89"/>
                    <a:pt x="183" y="89"/>
                    <a:pt x="183" y="89"/>
                  </a:cubicBezTo>
                  <a:cubicBezTo>
                    <a:pt x="182" y="89"/>
                    <a:pt x="181" y="89"/>
                    <a:pt x="180" y="89"/>
                  </a:cubicBezTo>
                  <a:cubicBezTo>
                    <a:pt x="178" y="89"/>
                    <a:pt x="177" y="89"/>
                    <a:pt x="176" y="88"/>
                  </a:cubicBezTo>
                  <a:cubicBezTo>
                    <a:pt x="176" y="88"/>
                    <a:pt x="175" y="87"/>
                    <a:pt x="175" y="86"/>
                  </a:cubicBezTo>
                  <a:cubicBezTo>
                    <a:pt x="174" y="86"/>
                    <a:pt x="174" y="86"/>
                    <a:pt x="174" y="86"/>
                  </a:cubicBezTo>
                  <a:cubicBezTo>
                    <a:pt x="174" y="85"/>
                    <a:pt x="174" y="85"/>
                    <a:pt x="173" y="85"/>
                  </a:cubicBezTo>
                  <a:cubicBezTo>
                    <a:pt x="172" y="84"/>
                    <a:pt x="171" y="82"/>
                    <a:pt x="170" y="81"/>
                  </a:cubicBezTo>
                  <a:cubicBezTo>
                    <a:pt x="169" y="80"/>
                    <a:pt x="169" y="79"/>
                    <a:pt x="168" y="79"/>
                  </a:cubicBezTo>
                  <a:cubicBezTo>
                    <a:pt x="167" y="78"/>
                    <a:pt x="165" y="78"/>
                    <a:pt x="163" y="78"/>
                  </a:cubicBezTo>
                  <a:cubicBezTo>
                    <a:pt x="161" y="78"/>
                    <a:pt x="158" y="78"/>
                    <a:pt x="156" y="77"/>
                  </a:cubicBezTo>
                  <a:cubicBezTo>
                    <a:pt x="155" y="76"/>
                    <a:pt x="155" y="76"/>
                    <a:pt x="154" y="76"/>
                  </a:cubicBezTo>
                  <a:cubicBezTo>
                    <a:pt x="153" y="75"/>
                    <a:pt x="152" y="74"/>
                    <a:pt x="152" y="74"/>
                  </a:cubicBezTo>
                  <a:cubicBezTo>
                    <a:pt x="151" y="73"/>
                    <a:pt x="151" y="73"/>
                    <a:pt x="151" y="73"/>
                  </a:cubicBezTo>
                  <a:cubicBezTo>
                    <a:pt x="151" y="73"/>
                    <a:pt x="151" y="73"/>
                    <a:pt x="150" y="72"/>
                  </a:cubicBezTo>
                  <a:cubicBezTo>
                    <a:pt x="150" y="72"/>
                    <a:pt x="150" y="72"/>
                    <a:pt x="150" y="72"/>
                  </a:cubicBezTo>
                  <a:cubicBezTo>
                    <a:pt x="149" y="71"/>
                    <a:pt x="149" y="71"/>
                    <a:pt x="149" y="71"/>
                  </a:cubicBezTo>
                  <a:cubicBezTo>
                    <a:pt x="149" y="71"/>
                    <a:pt x="149" y="71"/>
                    <a:pt x="149" y="71"/>
                  </a:cubicBezTo>
                  <a:cubicBezTo>
                    <a:pt x="148" y="70"/>
                    <a:pt x="148" y="69"/>
                    <a:pt x="147" y="69"/>
                  </a:cubicBezTo>
                  <a:cubicBezTo>
                    <a:pt x="147" y="68"/>
                    <a:pt x="147" y="68"/>
                    <a:pt x="147" y="68"/>
                  </a:cubicBezTo>
                  <a:cubicBezTo>
                    <a:pt x="147" y="68"/>
                    <a:pt x="146" y="67"/>
                    <a:pt x="145" y="67"/>
                  </a:cubicBezTo>
                  <a:cubicBezTo>
                    <a:pt x="145" y="67"/>
                    <a:pt x="145" y="67"/>
                    <a:pt x="145" y="67"/>
                  </a:cubicBezTo>
                  <a:cubicBezTo>
                    <a:pt x="144" y="67"/>
                    <a:pt x="144" y="67"/>
                    <a:pt x="143" y="67"/>
                  </a:cubicBezTo>
                  <a:cubicBezTo>
                    <a:pt x="142" y="66"/>
                    <a:pt x="141" y="66"/>
                    <a:pt x="139" y="65"/>
                  </a:cubicBezTo>
                  <a:cubicBezTo>
                    <a:pt x="138" y="65"/>
                    <a:pt x="138" y="65"/>
                    <a:pt x="138" y="65"/>
                  </a:cubicBezTo>
                  <a:cubicBezTo>
                    <a:pt x="136" y="64"/>
                    <a:pt x="135" y="64"/>
                    <a:pt x="133" y="64"/>
                  </a:cubicBezTo>
                  <a:cubicBezTo>
                    <a:pt x="133" y="64"/>
                    <a:pt x="133" y="64"/>
                    <a:pt x="133" y="64"/>
                  </a:cubicBezTo>
                  <a:cubicBezTo>
                    <a:pt x="132" y="64"/>
                    <a:pt x="132" y="65"/>
                    <a:pt x="131" y="65"/>
                  </a:cubicBezTo>
                  <a:cubicBezTo>
                    <a:pt x="130" y="65"/>
                    <a:pt x="129" y="65"/>
                    <a:pt x="128" y="65"/>
                  </a:cubicBezTo>
                  <a:cubicBezTo>
                    <a:pt x="128" y="65"/>
                    <a:pt x="128" y="65"/>
                    <a:pt x="128" y="65"/>
                  </a:cubicBezTo>
                  <a:cubicBezTo>
                    <a:pt x="127" y="65"/>
                    <a:pt x="127" y="65"/>
                    <a:pt x="126" y="65"/>
                  </a:cubicBezTo>
                  <a:cubicBezTo>
                    <a:pt x="126" y="65"/>
                    <a:pt x="126" y="65"/>
                    <a:pt x="126" y="65"/>
                  </a:cubicBezTo>
                  <a:cubicBezTo>
                    <a:pt x="125" y="65"/>
                    <a:pt x="125" y="65"/>
                    <a:pt x="125" y="65"/>
                  </a:cubicBezTo>
                  <a:cubicBezTo>
                    <a:pt x="125" y="65"/>
                    <a:pt x="125" y="65"/>
                    <a:pt x="124" y="65"/>
                  </a:cubicBezTo>
                  <a:cubicBezTo>
                    <a:pt x="124" y="65"/>
                    <a:pt x="124" y="65"/>
                    <a:pt x="123" y="65"/>
                  </a:cubicBezTo>
                  <a:cubicBezTo>
                    <a:pt x="122" y="65"/>
                    <a:pt x="121" y="65"/>
                    <a:pt x="121" y="64"/>
                  </a:cubicBezTo>
                  <a:cubicBezTo>
                    <a:pt x="118" y="63"/>
                    <a:pt x="116" y="61"/>
                    <a:pt x="114" y="59"/>
                  </a:cubicBezTo>
                  <a:cubicBezTo>
                    <a:pt x="113" y="59"/>
                    <a:pt x="113" y="58"/>
                    <a:pt x="112" y="57"/>
                  </a:cubicBezTo>
                  <a:cubicBezTo>
                    <a:pt x="103" y="50"/>
                    <a:pt x="103" y="50"/>
                    <a:pt x="103" y="50"/>
                  </a:cubicBezTo>
                  <a:cubicBezTo>
                    <a:pt x="101" y="48"/>
                    <a:pt x="99" y="45"/>
                    <a:pt x="98" y="43"/>
                  </a:cubicBezTo>
                  <a:cubicBezTo>
                    <a:pt x="97" y="41"/>
                    <a:pt x="97" y="41"/>
                    <a:pt x="97" y="41"/>
                  </a:cubicBezTo>
                  <a:cubicBezTo>
                    <a:pt x="96" y="40"/>
                    <a:pt x="95" y="38"/>
                    <a:pt x="94" y="36"/>
                  </a:cubicBezTo>
                  <a:cubicBezTo>
                    <a:pt x="93" y="35"/>
                    <a:pt x="93" y="34"/>
                    <a:pt x="93" y="33"/>
                  </a:cubicBezTo>
                  <a:cubicBezTo>
                    <a:pt x="93" y="33"/>
                    <a:pt x="93" y="32"/>
                    <a:pt x="93" y="32"/>
                  </a:cubicBezTo>
                  <a:cubicBezTo>
                    <a:pt x="93" y="31"/>
                    <a:pt x="93" y="31"/>
                    <a:pt x="93" y="30"/>
                  </a:cubicBezTo>
                  <a:cubicBezTo>
                    <a:pt x="93" y="29"/>
                    <a:pt x="93" y="28"/>
                    <a:pt x="94" y="28"/>
                  </a:cubicBezTo>
                  <a:cubicBezTo>
                    <a:pt x="94" y="27"/>
                    <a:pt x="94" y="26"/>
                    <a:pt x="93" y="26"/>
                  </a:cubicBezTo>
                  <a:cubicBezTo>
                    <a:pt x="93" y="25"/>
                    <a:pt x="93" y="25"/>
                    <a:pt x="93" y="25"/>
                  </a:cubicBezTo>
                  <a:cubicBezTo>
                    <a:pt x="93" y="24"/>
                    <a:pt x="93" y="24"/>
                    <a:pt x="93" y="23"/>
                  </a:cubicBezTo>
                  <a:cubicBezTo>
                    <a:pt x="93" y="23"/>
                    <a:pt x="93" y="22"/>
                    <a:pt x="93" y="22"/>
                  </a:cubicBezTo>
                  <a:cubicBezTo>
                    <a:pt x="93" y="21"/>
                    <a:pt x="93" y="21"/>
                    <a:pt x="93" y="21"/>
                  </a:cubicBezTo>
                  <a:cubicBezTo>
                    <a:pt x="93" y="21"/>
                    <a:pt x="93" y="21"/>
                    <a:pt x="93" y="21"/>
                  </a:cubicBezTo>
                  <a:cubicBezTo>
                    <a:pt x="93" y="20"/>
                    <a:pt x="93" y="20"/>
                    <a:pt x="93" y="20"/>
                  </a:cubicBezTo>
                  <a:cubicBezTo>
                    <a:pt x="92" y="18"/>
                    <a:pt x="92" y="15"/>
                    <a:pt x="93" y="12"/>
                  </a:cubicBezTo>
                  <a:cubicBezTo>
                    <a:pt x="93" y="11"/>
                    <a:pt x="93" y="11"/>
                    <a:pt x="93" y="10"/>
                  </a:cubicBezTo>
                  <a:cubicBezTo>
                    <a:pt x="93" y="8"/>
                    <a:pt x="94" y="7"/>
                    <a:pt x="94" y="5"/>
                  </a:cubicBezTo>
                  <a:cubicBezTo>
                    <a:pt x="94" y="3"/>
                    <a:pt x="94" y="3"/>
                    <a:pt x="94" y="3"/>
                  </a:cubicBezTo>
                  <a:cubicBezTo>
                    <a:pt x="94" y="2"/>
                    <a:pt x="95" y="1"/>
                    <a:pt x="9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244"/>
            <p:cNvSpPr/>
            <p:nvPr/>
          </p:nvSpPr>
          <p:spPr bwMode="auto">
            <a:xfrm>
              <a:off x="8348832" y="2306243"/>
              <a:ext cx="29658" cy="21184"/>
            </a:xfrm>
            <a:custGeom>
              <a:gdLst>
                <a:gd name="T0" fmla="*/ 5 w 9"/>
                <a:gd name="T1" fmla="*/ 0 h 6"/>
                <a:gd name="T2" fmla="*/ 4 w 9"/>
                <a:gd name="T3" fmla="*/ 1 h 6"/>
                <a:gd name="T4" fmla="*/ 3 w 9"/>
                <a:gd name="T5" fmla="*/ 1 h 6"/>
                <a:gd name="T6" fmla="*/ 3 w 9"/>
                <a:gd name="T7" fmla="*/ 1 h 6"/>
                <a:gd name="T8" fmla="*/ 3 w 9"/>
                <a:gd name="T9" fmla="*/ 1 h 6"/>
                <a:gd name="T10" fmla="*/ 2 w 9"/>
                <a:gd name="T11" fmla="*/ 1 h 6"/>
                <a:gd name="T12" fmla="*/ 0 w 9"/>
                <a:gd name="T13" fmla="*/ 1 h 6"/>
                <a:gd name="T14" fmla="*/ 0 w 9"/>
                <a:gd name="T15" fmla="*/ 1 h 6"/>
                <a:gd name="T16" fmla="*/ 0 w 9"/>
                <a:gd name="T17" fmla="*/ 2 h 6"/>
                <a:gd name="T18" fmla="*/ 1 w 9"/>
                <a:gd name="T19" fmla="*/ 2 h 6"/>
                <a:gd name="T20" fmla="*/ 5 w 9"/>
                <a:gd name="T21" fmla="*/ 3 h 6"/>
                <a:gd name="T22" fmla="*/ 8 w 9"/>
                <a:gd name="T23" fmla="*/ 6 h 6"/>
                <a:gd name="T24" fmla="*/ 9 w 9"/>
                <a:gd name="T25" fmla="*/ 6 h 6"/>
                <a:gd name="T26" fmla="*/ 6 w 9"/>
                <a:gd name="T27" fmla="*/ 2 h 6"/>
                <a:gd name="T28" fmla="*/ 5 w 9"/>
                <a:gd name="T2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6">
                  <a:moveTo>
                    <a:pt x="5" y="0"/>
                  </a:moveTo>
                  <a:cubicBezTo>
                    <a:pt x="4" y="1"/>
                    <a:pt x="4" y="1"/>
                    <a:pt x="4" y="1"/>
                  </a:cubicBezTo>
                  <a:cubicBezTo>
                    <a:pt x="3" y="1"/>
                    <a:pt x="3" y="1"/>
                    <a:pt x="3" y="1"/>
                  </a:cubicBezTo>
                  <a:cubicBezTo>
                    <a:pt x="3" y="1"/>
                    <a:pt x="3" y="1"/>
                    <a:pt x="3" y="1"/>
                  </a:cubicBezTo>
                  <a:cubicBezTo>
                    <a:pt x="3" y="1"/>
                    <a:pt x="3" y="1"/>
                    <a:pt x="3" y="1"/>
                  </a:cubicBezTo>
                  <a:cubicBezTo>
                    <a:pt x="2" y="1"/>
                    <a:pt x="2" y="1"/>
                    <a:pt x="2" y="1"/>
                  </a:cubicBezTo>
                  <a:cubicBezTo>
                    <a:pt x="1" y="1"/>
                    <a:pt x="1" y="1"/>
                    <a:pt x="0" y="1"/>
                  </a:cubicBezTo>
                  <a:cubicBezTo>
                    <a:pt x="0" y="1"/>
                    <a:pt x="0" y="1"/>
                    <a:pt x="0" y="1"/>
                  </a:cubicBezTo>
                  <a:cubicBezTo>
                    <a:pt x="0" y="2"/>
                    <a:pt x="0" y="2"/>
                    <a:pt x="0" y="2"/>
                  </a:cubicBezTo>
                  <a:cubicBezTo>
                    <a:pt x="0" y="2"/>
                    <a:pt x="1" y="2"/>
                    <a:pt x="1" y="2"/>
                  </a:cubicBezTo>
                  <a:cubicBezTo>
                    <a:pt x="3" y="2"/>
                    <a:pt x="5" y="2"/>
                    <a:pt x="5" y="3"/>
                  </a:cubicBezTo>
                  <a:cubicBezTo>
                    <a:pt x="6" y="4"/>
                    <a:pt x="7" y="4"/>
                    <a:pt x="8" y="6"/>
                  </a:cubicBezTo>
                  <a:cubicBezTo>
                    <a:pt x="9" y="6"/>
                    <a:pt x="9" y="6"/>
                    <a:pt x="9" y="6"/>
                  </a:cubicBezTo>
                  <a:cubicBezTo>
                    <a:pt x="6" y="2"/>
                    <a:pt x="6" y="2"/>
                    <a:pt x="6" y="2"/>
                  </a:cubicBezTo>
                  <a:cubicBezTo>
                    <a:pt x="5"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245"/>
            <p:cNvSpPr/>
            <p:nvPr/>
          </p:nvSpPr>
          <p:spPr bwMode="auto">
            <a:xfrm>
              <a:off x="7514181" y="2022376"/>
              <a:ext cx="971642" cy="1413686"/>
            </a:xfrm>
            <a:custGeom>
              <a:gdLst>
                <a:gd name="T0" fmla="*/ 139 w 291"/>
                <a:gd name="T1" fmla="*/ 2 h 423"/>
                <a:gd name="T2" fmla="*/ 144 w 291"/>
                <a:gd name="T3" fmla="*/ 17 h 423"/>
                <a:gd name="T4" fmla="*/ 135 w 291"/>
                <a:gd name="T5" fmla="*/ 33 h 423"/>
                <a:gd name="T6" fmla="*/ 96 w 291"/>
                <a:gd name="T7" fmla="*/ 61 h 423"/>
                <a:gd name="T8" fmla="*/ 77 w 291"/>
                <a:gd name="T9" fmla="*/ 73 h 423"/>
                <a:gd name="T10" fmla="*/ 63 w 291"/>
                <a:gd name="T11" fmla="*/ 102 h 423"/>
                <a:gd name="T12" fmla="*/ 54 w 291"/>
                <a:gd name="T13" fmla="*/ 112 h 423"/>
                <a:gd name="T14" fmla="*/ 39 w 291"/>
                <a:gd name="T15" fmla="*/ 103 h 423"/>
                <a:gd name="T16" fmla="*/ 31 w 291"/>
                <a:gd name="T17" fmla="*/ 98 h 423"/>
                <a:gd name="T18" fmla="*/ 21 w 291"/>
                <a:gd name="T19" fmla="*/ 100 h 423"/>
                <a:gd name="T20" fmla="*/ 18 w 291"/>
                <a:gd name="T21" fmla="*/ 94 h 423"/>
                <a:gd name="T22" fmla="*/ 23 w 291"/>
                <a:gd name="T23" fmla="*/ 83 h 423"/>
                <a:gd name="T24" fmla="*/ 1 w 291"/>
                <a:gd name="T25" fmla="*/ 104 h 423"/>
                <a:gd name="T26" fmla="*/ 48 w 291"/>
                <a:gd name="T27" fmla="*/ 180 h 423"/>
                <a:gd name="T28" fmla="*/ 85 w 291"/>
                <a:gd name="T29" fmla="*/ 256 h 423"/>
                <a:gd name="T30" fmla="*/ 105 w 291"/>
                <a:gd name="T31" fmla="*/ 286 h 423"/>
                <a:gd name="T32" fmla="*/ 117 w 291"/>
                <a:gd name="T33" fmla="*/ 325 h 423"/>
                <a:gd name="T34" fmla="*/ 154 w 291"/>
                <a:gd name="T35" fmla="*/ 360 h 423"/>
                <a:gd name="T36" fmla="*/ 251 w 291"/>
                <a:gd name="T37" fmla="*/ 423 h 423"/>
                <a:gd name="T38" fmla="*/ 269 w 291"/>
                <a:gd name="T39" fmla="*/ 403 h 423"/>
                <a:gd name="T40" fmla="*/ 268 w 291"/>
                <a:gd name="T41" fmla="*/ 399 h 423"/>
                <a:gd name="T42" fmla="*/ 282 w 291"/>
                <a:gd name="T43" fmla="*/ 381 h 423"/>
                <a:gd name="T44" fmla="*/ 275 w 291"/>
                <a:gd name="T45" fmla="*/ 363 h 423"/>
                <a:gd name="T46" fmla="*/ 281 w 291"/>
                <a:gd name="T47" fmla="*/ 331 h 423"/>
                <a:gd name="T48" fmla="*/ 285 w 291"/>
                <a:gd name="T49" fmla="*/ 322 h 423"/>
                <a:gd name="T50" fmla="*/ 282 w 291"/>
                <a:gd name="T51" fmla="*/ 310 h 423"/>
                <a:gd name="T52" fmla="*/ 286 w 291"/>
                <a:gd name="T53" fmla="*/ 294 h 423"/>
                <a:gd name="T54" fmla="*/ 271 w 291"/>
                <a:gd name="T55" fmla="*/ 252 h 423"/>
                <a:gd name="T56" fmla="*/ 267 w 291"/>
                <a:gd name="T57" fmla="*/ 252 h 423"/>
                <a:gd name="T58" fmla="*/ 256 w 291"/>
                <a:gd name="T59" fmla="*/ 255 h 423"/>
                <a:gd name="T60" fmla="*/ 245 w 291"/>
                <a:gd name="T61" fmla="*/ 243 h 423"/>
                <a:gd name="T62" fmla="*/ 241 w 291"/>
                <a:gd name="T63" fmla="*/ 225 h 423"/>
                <a:gd name="T64" fmla="*/ 226 w 291"/>
                <a:gd name="T65" fmla="*/ 230 h 423"/>
                <a:gd name="T66" fmla="*/ 209 w 291"/>
                <a:gd name="T67" fmla="*/ 224 h 423"/>
                <a:gd name="T68" fmla="*/ 182 w 291"/>
                <a:gd name="T69" fmla="*/ 215 h 423"/>
                <a:gd name="T70" fmla="*/ 178 w 291"/>
                <a:gd name="T71" fmla="*/ 188 h 423"/>
                <a:gd name="T72" fmla="*/ 168 w 291"/>
                <a:gd name="T73" fmla="*/ 167 h 423"/>
                <a:gd name="T74" fmla="*/ 183 w 291"/>
                <a:gd name="T75" fmla="*/ 145 h 423"/>
                <a:gd name="T76" fmla="*/ 187 w 291"/>
                <a:gd name="T77" fmla="*/ 137 h 423"/>
                <a:gd name="T78" fmla="*/ 191 w 291"/>
                <a:gd name="T79" fmla="*/ 126 h 423"/>
                <a:gd name="T80" fmla="*/ 196 w 291"/>
                <a:gd name="T81" fmla="*/ 110 h 423"/>
                <a:gd name="T82" fmla="*/ 224 w 291"/>
                <a:gd name="T83" fmla="*/ 95 h 423"/>
                <a:gd name="T84" fmla="*/ 240 w 291"/>
                <a:gd name="T85" fmla="*/ 93 h 423"/>
                <a:gd name="T86" fmla="*/ 249 w 291"/>
                <a:gd name="T87" fmla="*/ 87 h 423"/>
                <a:gd name="T88" fmla="*/ 251 w 291"/>
                <a:gd name="T89" fmla="*/ 69 h 423"/>
                <a:gd name="T90" fmla="*/ 255 w 291"/>
                <a:gd name="T91" fmla="*/ 55 h 423"/>
                <a:gd name="T92" fmla="*/ 242 w 291"/>
                <a:gd name="T93" fmla="*/ 50 h 423"/>
                <a:gd name="T94" fmla="*/ 238 w 291"/>
                <a:gd name="T95" fmla="*/ 50 h 423"/>
                <a:gd name="T96" fmla="*/ 225 w 291"/>
                <a:gd name="T97" fmla="*/ 50 h 423"/>
                <a:gd name="T98" fmla="*/ 216 w 291"/>
                <a:gd name="T99" fmla="*/ 54 h 423"/>
                <a:gd name="T100" fmla="*/ 208 w 291"/>
                <a:gd name="T101" fmla="*/ 55 h 423"/>
                <a:gd name="T102" fmla="*/ 202 w 291"/>
                <a:gd name="T103" fmla="*/ 55 h 423"/>
                <a:gd name="T104" fmla="*/ 189 w 291"/>
                <a:gd name="T105" fmla="*/ 42 h 423"/>
                <a:gd name="T106" fmla="*/ 187 w 291"/>
                <a:gd name="T107" fmla="*/ 40 h 423"/>
                <a:gd name="T108" fmla="*/ 182 w 291"/>
                <a:gd name="T109" fmla="*/ 39 h 423"/>
                <a:gd name="T110" fmla="*/ 179 w 291"/>
                <a:gd name="T111" fmla="*/ 32 h 423"/>
                <a:gd name="T112" fmla="*/ 171 w 291"/>
                <a:gd name="T113" fmla="*/ 25 h 423"/>
                <a:gd name="T114" fmla="*/ 159 w 291"/>
                <a:gd name="T115" fmla="*/ 10 h 423"/>
                <a:gd name="T116" fmla="*/ 149 w 291"/>
                <a:gd name="T117" fmla="*/ 1 h 4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1" h="422">
                  <a:moveTo>
                    <a:pt x="147" y="0"/>
                  </a:moveTo>
                  <a:cubicBezTo>
                    <a:pt x="140" y="0"/>
                    <a:pt x="140" y="0"/>
                    <a:pt x="140" y="0"/>
                  </a:cubicBezTo>
                  <a:cubicBezTo>
                    <a:pt x="140" y="0"/>
                    <a:pt x="140" y="0"/>
                    <a:pt x="140" y="0"/>
                  </a:cubicBezTo>
                  <a:cubicBezTo>
                    <a:pt x="139" y="0"/>
                    <a:pt x="139" y="0"/>
                    <a:pt x="139" y="0"/>
                  </a:cubicBezTo>
                  <a:cubicBezTo>
                    <a:pt x="139" y="0"/>
                    <a:pt x="139" y="1"/>
                    <a:pt x="139" y="1"/>
                  </a:cubicBezTo>
                  <a:cubicBezTo>
                    <a:pt x="139" y="2"/>
                    <a:pt x="139" y="2"/>
                    <a:pt x="139" y="2"/>
                  </a:cubicBezTo>
                  <a:cubicBezTo>
                    <a:pt x="140" y="2"/>
                    <a:pt x="140" y="2"/>
                    <a:pt x="140" y="2"/>
                  </a:cubicBezTo>
                  <a:cubicBezTo>
                    <a:pt x="140" y="3"/>
                    <a:pt x="140" y="3"/>
                    <a:pt x="140" y="3"/>
                  </a:cubicBezTo>
                  <a:cubicBezTo>
                    <a:pt x="140" y="4"/>
                    <a:pt x="141" y="4"/>
                    <a:pt x="141" y="5"/>
                  </a:cubicBezTo>
                  <a:cubicBezTo>
                    <a:pt x="142" y="6"/>
                    <a:pt x="142" y="7"/>
                    <a:pt x="143" y="8"/>
                  </a:cubicBezTo>
                  <a:cubicBezTo>
                    <a:pt x="143" y="9"/>
                    <a:pt x="144" y="10"/>
                    <a:pt x="144" y="11"/>
                  </a:cubicBezTo>
                  <a:cubicBezTo>
                    <a:pt x="145" y="13"/>
                    <a:pt x="145" y="15"/>
                    <a:pt x="144" y="17"/>
                  </a:cubicBezTo>
                  <a:cubicBezTo>
                    <a:pt x="144" y="18"/>
                    <a:pt x="143" y="20"/>
                    <a:pt x="141" y="22"/>
                  </a:cubicBezTo>
                  <a:cubicBezTo>
                    <a:pt x="141" y="22"/>
                    <a:pt x="141" y="23"/>
                    <a:pt x="140" y="23"/>
                  </a:cubicBezTo>
                  <a:cubicBezTo>
                    <a:pt x="140" y="24"/>
                    <a:pt x="140" y="24"/>
                    <a:pt x="140" y="24"/>
                  </a:cubicBezTo>
                  <a:cubicBezTo>
                    <a:pt x="139" y="25"/>
                    <a:pt x="139" y="25"/>
                    <a:pt x="139" y="25"/>
                  </a:cubicBezTo>
                  <a:cubicBezTo>
                    <a:pt x="139" y="26"/>
                    <a:pt x="139" y="26"/>
                    <a:pt x="139" y="26"/>
                  </a:cubicBezTo>
                  <a:cubicBezTo>
                    <a:pt x="138" y="28"/>
                    <a:pt x="137" y="31"/>
                    <a:pt x="135" y="33"/>
                  </a:cubicBezTo>
                  <a:cubicBezTo>
                    <a:pt x="135" y="33"/>
                    <a:pt x="135" y="33"/>
                    <a:pt x="135" y="33"/>
                  </a:cubicBezTo>
                  <a:cubicBezTo>
                    <a:pt x="134" y="34"/>
                    <a:pt x="134" y="34"/>
                    <a:pt x="134" y="34"/>
                  </a:cubicBezTo>
                  <a:cubicBezTo>
                    <a:pt x="132" y="36"/>
                    <a:pt x="130" y="38"/>
                    <a:pt x="128" y="40"/>
                  </a:cubicBezTo>
                  <a:cubicBezTo>
                    <a:pt x="127" y="42"/>
                    <a:pt x="125" y="43"/>
                    <a:pt x="123" y="45"/>
                  </a:cubicBezTo>
                  <a:cubicBezTo>
                    <a:pt x="120" y="48"/>
                    <a:pt x="116" y="52"/>
                    <a:pt x="112" y="55"/>
                  </a:cubicBezTo>
                  <a:cubicBezTo>
                    <a:pt x="107" y="58"/>
                    <a:pt x="102" y="60"/>
                    <a:pt x="96" y="61"/>
                  </a:cubicBezTo>
                  <a:cubicBezTo>
                    <a:pt x="95" y="62"/>
                    <a:pt x="95" y="62"/>
                    <a:pt x="95" y="62"/>
                  </a:cubicBezTo>
                  <a:cubicBezTo>
                    <a:pt x="94" y="62"/>
                    <a:pt x="92" y="63"/>
                    <a:pt x="90" y="63"/>
                  </a:cubicBezTo>
                  <a:cubicBezTo>
                    <a:pt x="86" y="64"/>
                    <a:pt x="83" y="66"/>
                    <a:pt x="80" y="68"/>
                  </a:cubicBezTo>
                  <a:cubicBezTo>
                    <a:pt x="80" y="69"/>
                    <a:pt x="80" y="69"/>
                    <a:pt x="79" y="69"/>
                  </a:cubicBezTo>
                  <a:cubicBezTo>
                    <a:pt x="79" y="70"/>
                    <a:pt x="79" y="70"/>
                    <a:pt x="79" y="70"/>
                  </a:cubicBezTo>
                  <a:cubicBezTo>
                    <a:pt x="78" y="71"/>
                    <a:pt x="77" y="72"/>
                    <a:pt x="77" y="73"/>
                  </a:cubicBezTo>
                  <a:cubicBezTo>
                    <a:pt x="77" y="73"/>
                    <a:pt x="77" y="73"/>
                    <a:pt x="77" y="73"/>
                  </a:cubicBezTo>
                  <a:cubicBezTo>
                    <a:pt x="77" y="75"/>
                    <a:pt x="76" y="77"/>
                    <a:pt x="74" y="78"/>
                  </a:cubicBezTo>
                  <a:cubicBezTo>
                    <a:pt x="73" y="78"/>
                    <a:pt x="72" y="79"/>
                    <a:pt x="71" y="79"/>
                  </a:cubicBezTo>
                  <a:cubicBezTo>
                    <a:pt x="71" y="79"/>
                    <a:pt x="71" y="80"/>
                    <a:pt x="71" y="81"/>
                  </a:cubicBezTo>
                  <a:cubicBezTo>
                    <a:pt x="71" y="81"/>
                    <a:pt x="71" y="81"/>
                    <a:pt x="71" y="82"/>
                  </a:cubicBezTo>
                  <a:cubicBezTo>
                    <a:pt x="69" y="88"/>
                    <a:pt x="67" y="96"/>
                    <a:pt x="63" y="102"/>
                  </a:cubicBezTo>
                  <a:cubicBezTo>
                    <a:pt x="62" y="104"/>
                    <a:pt x="61" y="106"/>
                    <a:pt x="59" y="108"/>
                  </a:cubicBezTo>
                  <a:cubicBezTo>
                    <a:pt x="59" y="108"/>
                    <a:pt x="59" y="108"/>
                    <a:pt x="59" y="108"/>
                  </a:cubicBezTo>
                  <a:cubicBezTo>
                    <a:pt x="58" y="109"/>
                    <a:pt x="57" y="109"/>
                    <a:pt x="57" y="110"/>
                  </a:cubicBezTo>
                  <a:cubicBezTo>
                    <a:pt x="56" y="111"/>
                    <a:pt x="56" y="111"/>
                    <a:pt x="55" y="111"/>
                  </a:cubicBezTo>
                  <a:cubicBezTo>
                    <a:pt x="55" y="112"/>
                    <a:pt x="55" y="112"/>
                    <a:pt x="54" y="112"/>
                  </a:cubicBezTo>
                  <a:cubicBezTo>
                    <a:pt x="54" y="112"/>
                    <a:pt x="54" y="112"/>
                    <a:pt x="54" y="112"/>
                  </a:cubicBezTo>
                  <a:cubicBezTo>
                    <a:pt x="53" y="113"/>
                    <a:pt x="53" y="113"/>
                    <a:pt x="52" y="113"/>
                  </a:cubicBezTo>
                  <a:cubicBezTo>
                    <a:pt x="51" y="113"/>
                    <a:pt x="50" y="113"/>
                    <a:pt x="49" y="112"/>
                  </a:cubicBezTo>
                  <a:cubicBezTo>
                    <a:pt x="49" y="112"/>
                    <a:pt x="49" y="112"/>
                    <a:pt x="49" y="112"/>
                  </a:cubicBezTo>
                  <a:cubicBezTo>
                    <a:pt x="46" y="112"/>
                    <a:pt x="44" y="110"/>
                    <a:pt x="42" y="108"/>
                  </a:cubicBezTo>
                  <a:cubicBezTo>
                    <a:pt x="41" y="107"/>
                    <a:pt x="41" y="107"/>
                    <a:pt x="41" y="107"/>
                  </a:cubicBezTo>
                  <a:cubicBezTo>
                    <a:pt x="41" y="106"/>
                    <a:pt x="40" y="104"/>
                    <a:pt x="39" y="103"/>
                  </a:cubicBezTo>
                  <a:cubicBezTo>
                    <a:pt x="39" y="102"/>
                    <a:pt x="39" y="101"/>
                    <a:pt x="38" y="100"/>
                  </a:cubicBezTo>
                  <a:cubicBezTo>
                    <a:pt x="37" y="100"/>
                    <a:pt x="37" y="100"/>
                    <a:pt x="37" y="100"/>
                  </a:cubicBezTo>
                  <a:cubicBezTo>
                    <a:pt x="37" y="101"/>
                    <a:pt x="37" y="101"/>
                    <a:pt x="37" y="101"/>
                  </a:cubicBezTo>
                  <a:cubicBezTo>
                    <a:pt x="36" y="100"/>
                    <a:pt x="36" y="100"/>
                    <a:pt x="36" y="100"/>
                  </a:cubicBezTo>
                  <a:cubicBezTo>
                    <a:pt x="35" y="100"/>
                    <a:pt x="33" y="99"/>
                    <a:pt x="32" y="98"/>
                  </a:cubicBezTo>
                  <a:cubicBezTo>
                    <a:pt x="31" y="98"/>
                    <a:pt x="31" y="98"/>
                    <a:pt x="31" y="98"/>
                  </a:cubicBezTo>
                  <a:cubicBezTo>
                    <a:pt x="30" y="98"/>
                    <a:pt x="29" y="97"/>
                    <a:pt x="28" y="97"/>
                  </a:cubicBezTo>
                  <a:cubicBezTo>
                    <a:pt x="27" y="97"/>
                    <a:pt x="27" y="97"/>
                    <a:pt x="27" y="97"/>
                  </a:cubicBezTo>
                  <a:cubicBezTo>
                    <a:pt x="27" y="98"/>
                    <a:pt x="27" y="98"/>
                    <a:pt x="26" y="98"/>
                  </a:cubicBezTo>
                  <a:cubicBezTo>
                    <a:pt x="25" y="99"/>
                    <a:pt x="24" y="99"/>
                    <a:pt x="23" y="99"/>
                  </a:cubicBezTo>
                  <a:cubicBezTo>
                    <a:pt x="22" y="99"/>
                    <a:pt x="22" y="99"/>
                    <a:pt x="22" y="99"/>
                  </a:cubicBezTo>
                  <a:cubicBezTo>
                    <a:pt x="22" y="100"/>
                    <a:pt x="21" y="100"/>
                    <a:pt x="21" y="100"/>
                  </a:cubicBezTo>
                  <a:cubicBezTo>
                    <a:pt x="21" y="100"/>
                    <a:pt x="21" y="100"/>
                    <a:pt x="20" y="100"/>
                  </a:cubicBezTo>
                  <a:cubicBezTo>
                    <a:pt x="20" y="100"/>
                    <a:pt x="20" y="100"/>
                    <a:pt x="20" y="100"/>
                  </a:cubicBezTo>
                  <a:cubicBezTo>
                    <a:pt x="20" y="100"/>
                    <a:pt x="18" y="99"/>
                    <a:pt x="18" y="98"/>
                  </a:cubicBezTo>
                  <a:cubicBezTo>
                    <a:pt x="17" y="97"/>
                    <a:pt x="17" y="96"/>
                    <a:pt x="17" y="95"/>
                  </a:cubicBezTo>
                  <a:cubicBezTo>
                    <a:pt x="17" y="95"/>
                    <a:pt x="17" y="95"/>
                    <a:pt x="17" y="95"/>
                  </a:cubicBezTo>
                  <a:cubicBezTo>
                    <a:pt x="18" y="94"/>
                    <a:pt x="18" y="94"/>
                    <a:pt x="18" y="94"/>
                  </a:cubicBezTo>
                  <a:cubicBezTo>
                    <a:pt x="17" y="94"/>
                    <a:pt x="17" y="94"/>
                    <a:pt x="17" y="94"/>
                  </a:cubicBezTo>
                  <a:cubicBezTo>
                    <a:pt x="17" y="93"/>
                    <a:pt x="17" y="93"/>
                    <a:pt x="17" y="93"/>
                  </a:cubicBezTo>
                  <a:cubicBezTo>
                    <a:pt x="17" y="91"/>
                    <a:pt x="15" y="87"/>
                    <a:pt x="19" y="85"/>
                  </a:cubicBezTo>
                  <a:cubicBezTo>
                    <a:pt x="19" y="85"/>
                    <a:pt x="19" y="85"/>
                    <a:pt x="19" y="85"/>
                  </a:cubicBezTo>
                  <a:cubicBezTo>
                    <a:pt x="20" y="84"/>
                    <a:pt x="20" y="84"/>
                    <a:pt x="20" y="84"/>
                  </a:cubicBezTo>
                  <a:cubicBezTo>
                    <a:pt x="21" y="84"/>
                    <a:pt x="22" y="83"/>
                    <a:pt x="23" y="83"/>
                  </a:cubicBezTo>
                  <a:cubicBezTo>
                    <a:pt x="24" y="83"/>
                    <a:pt x="24" y="83"/>
                    <a:pt x="24" y="83"/>
                  </a:cubicBezTo>
                  <a:cubicBezTo>
                    <a:pt x="24" y="83"/>
                    <a:pt x="23" y="82"/>
                    <a:pt x="23" y="82"/>
                  </a:cubicBezTo>
                  <a:cubicBezTo>
                    <a:pt x="22" y="80"/>
                    <a:pt x="21" y="78"/>
                    <a:pt x="21" y="76"/>
                  </a:cubicBezTo>
                  <a:cubicBezTo>
                    <a:pt x="19" y="77"/>
                    <a:pt x="16" y="79"/>
                    <a:pt x="15" y="80"/>
                  </a:cubicBezTo>
                  <a:cubicBezTo>
                    <a:pt x="12" y="83"/>
                    <a:pt x="9" y="87"/>
                    <a:pt x="6" y="90"/>
                  </a:cubicBezTo>
                  <a:cubicBezTo>
                    <a:pt x="0" y="95"/>
                    <a:pt x="0" y="97"/>
                    <a:pt x="1" y="104"/>
                  </a:cubicBezTo>
                  <a:cubicBezTo>
                    <a:pt x="1" y="112"/>
                    <a:pt x="10" y="119"/>
                    <a:pt x="10" y="127"/>
                  </a:cubicBezTo>
                  <a:cubicBezTo>
                    <a:pt x="10" y="130"/>
                    <a:pt x="9" y="129"/>
                    <a:pt x="8" y="131"/>
                  </a:cubicBezTo>
                  <a:cubicBezTo>
                    <a:pt x="6" y="132"/>
                    <a:pt x="4" y="134"/>
                    <a:pt x="4" y="136"/>
                  </a:cubicBezTo>
                  <a:cubicBezTo>
                    <a:pt x="7" y="137"/>
                    <a:pt x="10" y="139"/>
                    <a:pt x="14" y="141"/>
                  </a:cubicBezTo>
                  <a:cubicBezTo>
                    <a:pt x="21" y="144"/>
                    <a:pt x="30" y="149"/>
                    <a:pt x="34" y="156"/>
                  </a:cubicBezTo>
                  <a:cubicBezTo>
                    <a:pt x="39" y="164"/>
                    <a:pt x="43" y="172"/>
                    <a:pt x="48" y="180"/>
                  </a:cubicBezTo>
                  <a:cubicBezTo>
                    <a:pt x="51" y="183"/>
                    <a:pt x="54" y="185"/>
                    <a:pt x="56" y="189"/>
                  </a:cubicBezTo>
                  <a:cubicBezTo>
                    <a:pt x="58" y="194"/>
                    <a:pt x="60" y="198"/>
                    <a:pt x="62" y="203"/>
                  </a:cubicBezTo>
                  <a:cubicBezTo>
                    <a:pt x="64" y="209"/>
                    <a:pt x="68" y="214"/>
                    <a:pt x="71" y="221"/>
                  </a:cubicBezTo>
                  <a:cubicBezTo>
                    <a:pt x="73" y="227"/>
                    <a:pt x="76" y="234"/>
                    <a:pt x="79" y="240"/>
                  </a:cubicBezTo>
                  <a:cubicBezTo>
                    <a:pt x="81" y="243"/>
                    <a:pt x="83" y="245"/>
                    <a:pt x="84" y="248"/>
                  </a:cubicBezTo>
                  <a:cubicBezTo>
                    <a:pt x="85" y="250"/>
                    <a:pt x="84" y="254"/>
                    <a:pt x="85" y="256"/>
                  </a:cubicBezTo>
                  <a:cubicBezTo>
                    <a:pt x="86" y="259"/>
                    <a:pt x="90" y="261"/>
                    <a:pt x="92" y="262"/>
                  </a:cubicBezTo>
                  <a:cubicBezTo>
                    <a:pt x="95" y="265"/>
                    <a:pt x="96" y="266"/>
                    <a:pt x="96" y="270"/>
                  </a:cubicBezTo>
                  <a:cubicBezTo>
                    <a:pt x="97" y="269"/>
                    <a:pt x="98" y="269"/>
                    <a:pt x="99" y="269"/>
                  </a:cubicBezTo>
                  <a:cubicBezTo>
                    <a:pt x="103" y="269"/>
                    <a:pt x="106" y="272"/>
                    <a:pt x="106" y="275"/>
                  </a:cubicBezTo>
                  <a:cubicBezTo>
                    <a:pt x="106" y="278"/>
                    <a:pt x="104" y="280"/>
                    <a:pt x="101" y="281"/>
                  </a:cubicBezTo>
                  <a:cubicBezTo>
                    <a:pt x="103" y="283"/>
                    <a:pt x="104" y="284"/>
                    <a:pt x="105" y="286"/>
                  </a:cubicBezTo>
                  <a:cubicBezTo>
                    <a:pt x="109" y="292"/>
                    <a:pt x="113" y="298"/>
                    <a:pt x="117" y="305"/>
                  </a:cubicBezTo>
                  <a:cubicBezTo>
                    <a:pt x="118" y="306"/>
                    <a:pt x="120" y="311"/>
                    <a:pt x="119" y="312"/>
                  </a:cubicBezTo>
                  <a:cubicBezTo>
                    <a:pt x="117" y="314"/>
                    <a:pt x="115" y="317"/>
                    <a:pt x="115" y="319"/>
                  </a:cubicBezTo>
                  <a:cubicBezTo>
                    <a:pt x="115" y="319"/>
                    <a:pt x="115" y="319"/>
                    <a:pt x="115" y="319"/>
                  </a:cubicBezTo>
                  <a:cubicBezTo>
                    <a:pt x="115" y="319"/>
                    <a:pt x="116" y="321"/>
                    <a:pt x="116" y="322"/>
                  </a:cubicBezTo>
                  <a:cubicBezTo>
                    <a:pt x="116" y="323"/>
                    <a:pt x="117" y="324"/>
                    <a:pt x="117" y="325"/>
                  </a:cubicBezTo>
                  <a:cubicBezTo>
                    <a:pt x="117" y="325"/>
                    <a:pt x="118" y="325"/>
                    <a:pt x="118" y="325"/>
                  </a:cubicBezTo>
                  <a:cubicBezTo>
                    <a:pt x="119" y="325"/>
                    <a:pt x="121" y="329"/>
                    <a:pt x="122" y="330"/>
                  </a:cubicBezTo>
                  <a:cubicBezTo>
                    <a:pt x="123" y="332"/>
                    <a:pt x="124" y="335"/>
                    <a:pt x="125" y="337"/>
                  </a:cubicBezTo>
                  <a:cubicBezTo>
                    <a:pt x="127" y="339"/>
                    <a:pt x="130" y="340"/>
                    <a:pt x="133" y="341"/>
                  </a:cubicBezTo>
                  <a:cubicBezTo>
                    <a:pt x="137" y="345"/>
                    <a:pt x="141" y="350"/>
                    <a:pt x="144" y="354"/>
                  </a:cubicBezTo>
                  <a:cubicBezTo>
                    <a:pt x="146" y="357"/>
                    <a:pt x="151" y="359"/>
                    <a:pt x="154" y="360"/>
                  </a:cubicBezTo>
                  <a:cubicBezTo>
                    <a:pt x="165" y="366"/>
                    <a:pt x="175" y="373"/>
                    <a:pt x="187" y="378"/>
                  </a:cubicBezTo>
                  <a:cubicBezTo>
                    <a:pt x="197" y="382"/>
                    <a:pt x="207" y="386"/>
                    <a:pt x="216" y="392"/>
                  </a:cubicBezTo>
                  <a:cubicBezTo>
                    <a:pt x="220" y="394"/>
                    <a:pt x="223" y="397"/>
                    <a:pt x="227" y="399"/>
                  </a:cubicBezTo>
                  <a:cubicBezTo>
                    <a:pt x="229" y="401"/>
                    <a:pt x="229" y="404"/>
                    <a:pt x="230" y="407"/>
                  </a:cubicBezTo>
                  <a:cubicBezTo>
                    <a:pt x="231" y="411"/>
                    <a:pt x="238" y="412"/>
                    <a:pt x="242" y="415"/>
                  </a:cubicBezTo>
                  <a:cubicBezTo>
                    <a:pt x="245" y="418"/>
                    <a:pt x="248" y="420"/>
                    <a:pt x="251" y="423"/>
                  </a:cubicBezTo>
                  <a:cubicBezTo>
                    <a:pt x="264" y="418"/>
                    <a:pt x="264" y="418"/>
                    <a:pt x="264" y="418"/>
                  </a:cubicBezTo>
                  <a:cubicBezTo>
                    <a:pt x="264" y="418"/>
                    <a:pt x="264" y="418"/>
                    <a:pt x="264" y="418"/>
                  </a:cubicBezTo>
                  <a:cubicBezTo>
                    <a:pt x="264" y="417"/>
                    <a:pt x="264" y="417"/>
                    <a:pt x="264" y="417"/>
                  </a:cubicBezTo>
                  <a:cubicBezTo>
                    <a:pt x="265" y="416"/>
                    <a:pt x="264" y="413"/>
                    <a:pt x="264" y="412"/>
                  </a:cubicBezTo>
                  <a:cubicBezTo>
                    <a:pt x="262" y="409"/>
                    <a:pt x="266" y="406"/>
                    <a:pt x="267" y="405"/>
                  </a:cubicBezTo>
                  <a:cubicBezTo>
                    <a:pt x="268" y="404"/>
                    <a:pt x="269" y="404"/>
                    <a:pt x="269" y="403"/>
                  </a:cubicBezTo>
                  <a:cubicBezTo>
                    <a:pt x="270" y="403"/>
                    <a:pt x="270" y="403"/>
                    <a:pt x="270" y="403"/>
                  </a:cubicBezTo>
                  <a:cubicBezTo>
                    <a:pt x="270" y="403"/>
                    <a:pt x="270" y="403"/>
                    <a:pt x="270" y="403"/>
                  </a:cubicBezTo>
                  <a:cubicBezTo>
                    <a:pt x="270" y="402"/>
                    <a:pt x="270" y="402"/>
                    <a:pt x="270" y="402"/>
                  </a:cubicBezTo>
                  <a:cubicBezTo>
                    <a:pt x="269" y="402"/>
                    <a:pt x="269" y="402"/>
                    <a:pt x="269" y="401"/>
                  </a:cubicBezTo>
                  <a:cubicBezTo>
                    <a:pt x="268" y="401"/>
                    <a:pt x="268" y="401"/>
                    <a:pt x="268" y="401"/>
                  </a:cubicBezTo>
                  <a:cubicBezTo>
                    <a:pt x="268" y="399"/>
                    <a:pt x="268" y="399"/>
                    <a:pt x="268" y="399"/>
                  </a:cubicBezTo>
                  <a:cubicBezTo>
                    <a:pt x="268" y="397"/>
                    <a:pt x="269" y="396"/>
                    <a:pt x="274" y="391"/>
                  </a:cubicBezTo>
                  <a:cubicBezTo>
                    <a:pt x="275" y="390"/>
                    <a:pt x="275" y="390"/>
                    <a:pt x="275" y="390"/>
                  </a:cubicBezTo>
                  <a:cubicBezTo>
                    <a:pt x="276" y="390"/>
                    <a:pt x="276" y="390"/>
                    <a:pt x="276" y="389"/>
                  </a:cubicBezTo>
                  <a:cubicBezTo>
                    <a:pt x="278" y="388"/>
                    <a:pt x="279" y="386"/>
                    <a:pt x="280" y="384"/>
                  </a:cubicBezTo>
                  <a:cubicBezTo>
                    <a:pt x="281" y="383"/>
                    <a:pt x="281" y="383"/>
                    <a:pt x="281" y="383"/>
                  </a:cubicBezTo>
                  <a:cubicBezTo>
                    <a:pt x="281" y="383"/>
                    <a:pt x="282" y="382"/>
                    <a:pt x="282" y="381"/>
                  </a:cubicBezTo>
                  <a:cubicBezTo>
                    <a:pt x="282" y="381"/>
                    <a:pt x="283" y="381"/>
                    <a:pt x="283" y="380"/>
                  </a:cubicBezTo>
                  <a:cubicBezTo>
                    <a:pt x="285" y="379"/>
                    <a:pt x="285" y="379"/>
                    <a:pt x="285" y="379"/>
                  </a:cubicBezTo>
                  <a:cubicBezTo>
                    <a:pt x="286" y="377"/>
                    <a:pt x="286" y="377"/>
                    <a:pt x="286" y="377"/>
                  </a:cubicBezTo>
                  <a:cubicBezTo>
                    <a:pt x="278" y="376"/>
                    <a:pt x="277" y="371"/>
                    <a:pt x="276" y="366"/>
                  </a:cubicBezTo>
                  <a:cubicBezTo>
                    <a:pt x="275" y="365"/>
                    <a:pt x="275" y="364"/>
                    <a:pt x="275" y="363"/>
                  </a:cubicBezTo>
                  <a:cubicBezTo>
                    <a:pt x="275" y="363"/>
                    <a:pt x="275" y="363"/>
                    <a:pt x="275" y="363"/>
                  </a:cubicBezTo>
                  <a:cubicBezTo>
                    <a:pt x="274" y="361"/>
                    <a:pt x="273" y="358"/>
                    <a:pt x="275" y="356"/>
                  </a:cubicBezTo>
                  <a:cubicBezTo>
                    <a:pt x="279" y="350"/>
                    <a:pt x="279" y="350"/>
                    <a:pt x="279" y="350"/>
                  </a:cubicBezTo>
                  <a:cubicBezTo>
                    <a:pt x="279" y="350"/>
                    <a:pt x="279" y="350"/>
                    <a:pt x="279" y="350"/>
                  </a:cubicBezTo>
                  <a:cubicBezTo>
                    <a:pt x="277" y="348"/>
                    <a:pt x="276" y="347"/>
                    <a:pt x="276" y="345"/>
                  </a:cubicBezTo>
                  <a:cubicBezTo>
                    <a:pt x="275" y="339"/>
                    <a:pt x="276" y="338"/>
                    <a:pt x="279" y="334"/>
                  </a:cubicBezTo>
                  <a:cubicBezTo>
                    <a:pt x="279" y="333"/>
                    <a:pt x="280" y="332"/>
                    <a:pt x="281" y="331"/>
                  </a:cubicBezTo>
                  <a:cubicBezTo>
                    <a:pt x="282" y="330"/>
                    <a:pt x="282" y="330"/>
                    <a:pt x="282" y="330"/>
                  </a:cubicBezTo>
                  <a:cubicBezTo>
                    <a:pt x="283" y="330"/>
                    <a:pt x="283" y="329"/>
                    <a:pt x="284" y="329"/>
                  </a:cubicBezTo>
                  <a:cubicBezTo>
                    <a:pt x="284" y="328"/>
                    <a:pt x="284" y="328"/>
                    <a:pt x="284" y="328"/>
                  </a:cubicBezTo>
                  <a:cubicBezTo>
                    <a:pt x="284" y="327"/>
                    <a:pt x="285" y="325"/>
                    <a:pt x="285" y="325"/>
                  </a:cubicBezTo>
                  <a:cubicBezTo>
                    <a:pt x="286" y="325"/>
                    <a:pt x="286" y="325"/>
                    <a:pt x="286" y="325"/>
                  </a:cubicBezTo>
                  <a:cubicBezTo>
                    <a:pt x="285" y="324"/>
                    <a:pt x="285" y="323"/>
                    <a:pt x="285" y="322"/>
                  </a:cubicBezTo>
                  <a:cubicBezTo>
                    <a:pt x="283" y="317"/>
                    <a:pt x="283" y="317"/>
                    <a:pt x="283" y="317"/>
                  </a:cubicBezTo>
                  <a:cubicBezTo>
                    <a:pt x="283" y="316"/>
                    <a:pt x="283" y="316"/>
                    <a:pt x="283" y="316"/>
                  </a:cubicBezTo>
                  <a:cubicBezTo>
                    <a:pt x="282" y="316"/>
                    <a:pt x="282" y="316"/>
                    <a:pt x="282" y="316"/>
                  </a:cubicBezTo>
                  <a:cubicBezTo>
                    <a:pt x="282" y="315"/>
                    <a:pt x="282" y="315"/>
                    <a:pt x="282" y="315"/>
                  </a:cubicBezTo>
                  <a:cubicBezTo>
                    <a:pt x="282" y="314"/>
                    <a:pt x="281" y="313"/>
                    <a:pt x="281" y="312"/>
                  </a:cubicBezTo>
                  <a:cubicBezTo>
                    <a:pt x="281" y="311"/>
                    <a:pt x="281" y="310"/>
                    <a:pt x="282" y="310"/>
                  </a:cubicBezTo>
                  <a:cubicBezTo>
                    <a:pt x="282" y="309"/>
                    <a:pt x="282" y="309"/>
                    <a:pt x="282" y="309"/>
                  </a:cubicBezTo>
                  <a:cubicBezTo>
                    <a:pt x="282" y="308"/>
                    <a:pt x="282" y="307"/>
                    <a:pt x="282" y="306"/>
                  </a:cubicBezTo>
                  <a:cubicBezTo>
                    <a:pt x="282" y="305"/>
                    <a:pt x="282" y="305"/>
                    <a:pt x="282" y="305"/>
                  </a:cubicBezTo>
                  <a:cubicBezTo>
                    <a:pt x="283" y="304"/>
                    <a:pt x="283" y="303"/>
                    <a:pt x="283" y="303"/>
                  </a:cubicBezTo>
                  <a:cubicBezTo>
                    <a:pt x="283" y="301"/>
                    <a:pt x="284" y="299"/>
                    <a:pt x="284" y="297"/>
                  </a:cubicBezTo>
                  <a:cubicBezTo>
                    <a:pt x="285" y="296"/>
                    <a:pt x="286" y="295"/>
                    <a:pt x="286" y="294"/>
                  </a:cubicBezTo>
                  <a:cubicBezTo>
                    <a:pt x="287" y="292"/>
                    <a:pt x="287" y="292"/>
                    <a:pt x="287" y="292"/>
                  </a:cubicBezTo>
                  <a:cubicBezTo>
                    <a:pt x="288" y="291"/>
                    <a:pt x="290" y="288"/>
                    <a:pt x="291" y="286"/>
                  </a:cubicBezTo>
                  <a:cubicBezTo>
                    <a:pt x="289" y="283"/>
                    <a:pt x="289" y="283"/>
                    <a:pt x="289" y="283"/>
                  </a:cubicBezTo>
                  <a:cubicBezTo>
                    <a:pt x="287" y="279"/>
                    <a:pt x="284" y="274"/>
                    <a:pt x="281" y="269"/>
                  </a:cubicBezTo>
                  <a:cubicBezTo>
                    <a:pt x="279" y="265"/>
                    <a:pt x="279" y="265"/>
                    <a:pt x="279" y="265"/>
                  </a:cubicBezTo>
                  <a:cubicBezTo>
                    <a:pt x="276" y="261"/>
                    <a:pt x="274" y="257"/>
                    <a:pt x="271" y="252"/>
                  </a:cubicBezTo>
                  <a:cubicBezTo>
                    <a:pt x="271" y="252"/>
                    <a:pt x="271" y="252"/>
                    <a:pt x="271" y="252"/>
                  </a:cubicBezTo>
                  <a:cubicBezTo>
                    <a:pt x="271" y="252"/>
                    <a:pt x="271" y="252"/>
                    <a:pt x="271" y="252"/>
                  </a:cubicBezTo>
                  <a:cubicBezTo>
                    <a:pt x="270" y="252"/>
                    <a:pt x="270" y="252"/>
                    <a:pt x="270" y="252"/>
                  </a:cubicBezTo>
                  <a:cubicBezTo>
                    <a:pt x="270" y="252"/>
                    <a:pt x="270" y="252"/>
                    <a:pt x="269" y="252"/>
                  </a:cubicBezTo>
                  <a:cubicBezTo>
                    <a:pt x="269" y="252"/>
                    <a:pt x="269" y="252"/>
                    <a:pt x="268" y="252"/>
                  </a:cubicBezTo>
                  <a:cubicBezTo>
                    <a:pt x="268" y="252"/>
                    <a:pt x="267" y="252"/>
                    <a:pt x="267" y="252"/>
                  </a:cubicBezTo>
                  <a:cubicBezTo>
                    <a:pt x="266" y="252"/>
                    <a:pt x="266" y="252"/>
                    <a:pt x="266" y="252"/>
                  </a:cubicBezTo>
                  <a:cubicBezTo>
                    <a:pt x="266" y="252"/>
                    <a:pt x="266" y="252"/>
                    <a:pt x="265" y="252"/>
                  </a:cubicBezTo>
                  <a:cubicBezTo>
                    <a:pt x="265" y="252"/>
                    <a:pt x="265" y="252"/>
                    <a:pt x="263" y="252"/>
                  </a:cubicBezTo>
                  <a:cubicBezTo>
                    <a:pt x="262" y="253"/>
                    <a:pt x="262" y="253"/>
                    <a:pt x="262" y="253"/>
                  </a:cubicBezTo>
                  <a:cubicBezTo>
                    <a:pt x="261" y="254"/>
                    <a:pt x="259" y="254"/>
                    <a:pt x="257" y="255"/>
                  </a:cubicBezTo>
                  <a:cubicBezTo>
                    <a:pt x="257" y="255"/>
                    <a:pt x="256" y="255"/>
                    <a:pt x="256" y="255"/>
                  </a:cubicBezTo>
                  <a:cubicBezTo>
                    <a:pt x="256" y="255"/>
                    <a:pt x="256" y="255"/>
                    <a:pt x="255" y="255"/>
                  </a:cubicBezTo>
                  <a:cubicBezTo>
                    <a:pt x="254" y="254"/>
                    <a:pt x="253" y="254"/>
                    <a:pt x="251" y="253"/>
                  </a:cubicBezTo>
                  <a:cubicBezTo>
                    <a:pt x="251" y="253"/>
                    <a:pt x="250" y="253"/>
                    <a:pt x="250" y="253"/>
                  </a:cubicBezTo>
                  <a:cubicBezTo>
                    <a:pt x="245" y="259"/>
                    <a:pt x="245" y="259"/>
                    <a:pt x="245" y="259"/>
                  </a:cubicBezTo>
                  <a:cubicBezTo>
                    <a:pt x="245" y="251"/>
                    <a:pt x="245" y="251"/>
                    <a:pt x="245" y="251"/>
                  </a:cubicBezTo>
                  <a:cubicBezTo>
                    <a:pt x="245" y="248"/>
                    <a:pt x="245" y="246"/>
                    <a:pt x="245" y="243"/>
                  </a:cubicBezTo>
                  <a:cubicBezTo>
                    <a:pt x="245" y="235"/>
                    <a:pt x="244" y="227"/>
                    <a:pt x="246" y="221"/>
                  </a:cubicBezTo>
                  <a:cubicBezTo>
                    <a:pt x="247" y="220"/>
                    <a:pt x="247" y="220"/>
                    <a:pt x="247" y="220"/>
                  </a:cubicBezTo>
                  <a:cubicBezTo>
                    <a:pt x="247" y="220"/>
                    <a:pt x="247" y="220"/>
                    <a:pt x="247" y="220"/>
                  </a:cubicBezTo>
                  <a:cubicBezTo>
                    <a:pt x="246" y="220"/>
                    <a:pt x="245" y="221"/>
                    <a:pt x="244" y="222"/>
                  </a:cubicBezTo>
                  <a:cubicBezTo>
                    <a:pt x="243" y="223"/>
                    <a:pt x="243" y="223"/>
                    <a:pt x="243" y="223"/>
                  </a:cubicBezTo>
                  <a:cubicBezTo>
                    <a:pt x="242" y="224"/>
                    <a:pt x="242" y="225"/>
                    <a:pt x="241" y="225"/>
                  </a:cubicBezTo>
                  <a:cubicBezTo>
                    <a:pt x="240" y="226"/>
                    <a:pt x="240" y="226"/>
                    <a:pt x="239" y="226"/>
                  </a:cubicBezTo>
                  <a:cubicBezTo>
                    <a:pt x="238" y="227"/>
                    <a:pt x="238" y="227"/>
                    <a:pt x="238" y="227"/>
                  </a:cubicBezTo>
                  <a:cubicBezTo>
                    <a:pt x="238" y="227"/>
                    <a:pt x="238" y="227"/>
                    <a:pt x="237" y="227"/>
                  </a:cubicBezTo>
                  <a:cubicBezTo>
                    <a:pt x="237" y="228"/>
                    <a:pt x="237" y="228"/>
                    <a:pt x="237" y="228"/>
                  </a:cubicBezTo>
                  <a:cubicBezTo>
                    <a:pt x="236" y="228"/>
                    <a:pt x="235" y="229"/>
                    <a:pt x="234" y="229"/>
                  </a:cubicBezTo>
                  <a:cubicBezTo>
                    <a:pt x="232" y="230"/>
                    <a:pt x="229" y="230"/>
                    <a:pt x="226" y="230"/>
                  </a:cubicBezTo>
                  <a:cubicBezTo>
                    <a:pt x="223" y="230"/>
                    <a:pt x="221" y="230"/>
                    <a:pt x="218" y="230"/>
                  </a:cubicBezTo>
                  <a:cubicBezTo>
                    <a:pt x="216" y="230"/>
                    <a:pt x="216" y="230"/>
                    <a:pt x="216" y="230"/>
                  </a:cubicBezTo>
                  <a:cubicBezTo>
                    <a:pt x="215" y="230"/>
                    <a:pt x="213" y="230"/>
                    <a:pt x="212" y="230"/>
                  </a:cubicBezTo>
                  <a:cubicBezTo>
                    <a:pt x="208" y="230"/>
                    <a:pt x="208" y="230"/>
                    <a:pt x="208" y="230"/>
                  </a:cubicBezTo>
                  <a:cubicBezTo>
                    <a:pt x="209" y="226"/>
                    <a:pt x="209" y="226"/>
                    <a:pt x="209" y="226"/>
                  </a:cubicBezTo>
                  <a:cubicBezTo>
                    <a:pt x="210" y="225"/>
                    <a:pt x="210" y="225"/>
                    <a:pt x="209" y="224"/>
                  </a:cubicBezTo>
                  <a:cubicBezTo>
                    <a:pt x="209" y="223"/>
                    <a:pt x="209" y="223"/>
                    <a:pt x="209" y="223"/>
                  </a:cubicBezTo>
                  <a:cubicBezTo>
                    <a:pt x="208" y="222"/>
                    <a:pt x="208" y="222"/>
                    <a:pt x="208" y="221"/>
                  </a:cubicBezTo>
                  <a:cubicBezTo>
                    <a:pt x="207" y="221"/>
                    <a:pt x="207" y="220"/>
                    <a:pt x="207" y="219"/>
                  </a:cubicBezTo>
                  <a:cubicBezTo>
                    <a:pt x="206" y="217"/>
                    <a:pt x="197" y="216"/>
                    <a:pt x="193" y="216"/>
                  </a:cubicBezTo>
                  <a:cubicBezTo>
                    <a:pt x="191" y="216"/>
                    <a:pt x="189" y="216"/>
                    <a:pt x="188" y="216"/>
                  </a:cubicBezTo>
                  <a:cubicBezTo>
                    <a:pt x="182" y="215"/>
                    <a:pt x="182" y="215"/>
                    <a:pt x="182" y="215"/>
                  </a:cubicBezTo>
                  <a:cubicBezTo>
                    <a:pt x="186" y="211"/>
                    <a:pt x="186" y="211"/>
                    <a:pt x="186" y="211"/>
                  </a:cubicBezTo>
                  <a:cubicBezTo>
                    <a:pt x="191" y="207"/>
                    <a:pt x="192" y="205"/>
                    <a:pt x="191" y="205"/>
                  </a:cubicBezTo>
                  <a:cubicBezTo>
                    <a:pt x="191" y="204"/>
                    <a:pt x="190" y="203"/>
                    <a:pt x="189" y="202"/>
                  </a:cubicBezTo>
                  <a:cubicBezTo>
                    <a:pt x="189" y="202"/>
                    <a:pt x="188" y="201"/>
                    <a:pt x="188" y="201"/>
                  </a:cubicBezTo>
                  <a:cubicBezTo>
                    <a:pt x="187" y="200"/>
                    <a:pt x="187" y="200"/>
                    <a:pt x="187" y="200"/>
                  </a:cubicBezTo>
                  <a:cubicBezTo>
                    <a:pt x="184" y="196"/>
                    <a:pt x="181" y="193"/>
                    <a:pt x="178" y="188"/>
                  </a:cubicBezTo>
                  <a:cubicBezTo>
                    <a:pt x="177" y="186"/>
                    <a:pt x="176" y="184"/>
                    <a:pt x="176" y="182"/>
                  </a:cubicBezTo>
                  <a:cubicBezTo>
                    <a:pt x="176" y="180"/>
                    <a:pt x="175" y="178"/>
                    <a:pt x="175" y="177"/>
                  </a:cubicBezTo>
                  <a:cubicBezTo>
                    <a:pt x="174" y="176"/>
                    <a:pt x="172" y="174"/>
                    <a:pt x="171" y="173"/>
                  </a:cubicBezTo>
                  <a:cubicBezTo>
                    <a:pt x="170" y="172"/>
                    <a:pt x="169" y="172"/>
                    <a:pt x="168" y="171"/>
                  </a:cubicBezTo>
                  <a:cubicBezTo>
                    <a:pt x="166" y="169"/>
                    <a:pt x="166" y="169"/>
                    <a:pt x="166" y="169"/>
                  </a:cubicBezTo>
                  <a:cubicBezTo>
                    <a:pt x="168" y="167"/>
                    <a:pt x="168" y="167"/>
                    <a:pt x="168" y="167"/>
                  </a:cubicBezTo>
                  <a:cubicBezTo>
                    <a:pt x="169" y="167"/>
                    <a:pt x="170" y="166"/>
                    <a:pt x="171" y="165"/>
                  </a:cubicBezTo>
                  <a:cubicBezTo>
                    <a:pt x="172" y="164"/>
                    <a:pt x="173" y="164"/>
                    <a:pt x="173" y="163"/>
                  </a:cubicBezTo>
                  <a:cubicBezTo>
                    <a:pt x="173" y="163"/>
                    <a:pt x="173" y="163"/>
                    <a:pt x="173" y="163"/>
                  </a:cubicBezTo>
                  <a:cubicBezTo>
                    <a:pt x="172" y="160"/>
                    <a:pt x="172" y="158"/>
                    <a:pt x="173" y="155"/>
                  </a:cubicBezTo>
                  <a:cubicBezTo>
                    <a:pt x="175" y="150"/>
                    <a:pt x="178" y="148"/>
                    <a:pt x="182" y="146"/>
                  </a:cubicBezTo>
                  <a:cubicBezTo>
                    <a:pt x="182" y="146"/>
                    <a:pt x="183" y="145"/>
                    <a:pt x="183" y="145"/>
                  </a:cubicBezTo>
                  <a:cubicBezTo>
                    <a:pt x="184" y="145"/>
                    <a:pt x="184" y="145"/>
                    <a:pt x="184" y="145"/>
                  </a:cubicBezTo>
                  <a:cubicBezTo>
                    <a:pt x="185" y="144"/>
                    <a:pt x="186" y="143"/>
                    <a:pt x="187" y="143"/>
                  </a:cubicBezTo>
                  <a:cubicBezTo>
                    <a:pt x="187" y="142"/>
                    <a:pt x="187" y="142"/>
                    <a:pt x="187" y="142"/>
                  </a:cubicBezTo>
                  <a:cubicBezTo>
                    <a:pt x="187" y="141"/>
                    <a:pt x="187" y="141"/>
                    <a:pt x="187" y="141"/>
                  </a:cubicBezTo>
                  <a:cubicBezTo>
                    <a:pt x="187" y="141"/>
                    <a:pt x="187" y="141"/>
                    <a:pt x="187" y="140"/>
                  </a:cubicBezTo>
                  <a:cubicBezTo>
                    <a:pt x="187" y="139"/>
                    <a:pt x="187" y="138"/>
                    <a:pt x="187" y="137"/>
                  </a:cubicBezTo>
                  <a:cubicBezTo>
                    <a:pt x="186" y="137"/>
                    <a:pt x="187" y="136"/>
                    <a:pt x="187" y="136"/>
                  </a:cubicBezTo>
                  <a:cubicBezTo>
                    <a:pt x="187" y="135"/>
                    <a:pt x="187" y="135"/>
                    <a:pt x="187" y="135"/>
                  </a:cubicBezTo>
                  <a:cubicBezTo>
                    <a:pt x="187" y="134"/>
                    <a:pt x="187" y="134"/>
                    <a:pt x="187" y="134"/>
                  </a:cubicBezTo>
                  <a:cubicBezTo>
                    <a:pt x="188" y="132"/>
                    <a:pt x="188" y="131"/>
                    <a:pt x="189" y="130"/>
                  </a:cubicBezTo>
                  <a:cubicBezTo>
                    <a:pt x="189" y="129"/>
                    <a:pt x="189" y="129"/>
                    <a:pt x="189" y="129"/>
                  </a:cubicBezTo>
                  <a:cubicBezTo>
                    <a:pt x="190" y="128"/>
                    <a:pt x="190" y="127"/>
                    <a:pt x="191" y="126"/>
                  </a:cubicBezTo>
                  <a:cubicBezTo>
                    <a:pt x="191" y="126"/>
                    <a:pt x="191" y="125"/>
                    <a:pt x="191" y="125"/>
                  </a:cubicBezTo>
                  <a:cubicBezTo>
                    <a:pt x="191" y="124"/>
                    <a:pt x="191" y="124"/>
                    <a:pt x="191" y="124"/>
                  </a:cubicBezTo>
                  <a:cubicBezTo>
                    <a:pt x="191" y="123"/>
                    <a:pt x="191" y="123"/>
                    <a:pt x="191" y="123"/>
                  </a:cubicBezTo>
                  <a:cubicBezTo>
                    <a:pt x="192" y="120"/>
                    <a:pt x="193" y="118"/>
                    <a:pt x="193" y="115"/>
                  </a:cubicBezTo>
                  <a:cubicBezTo>
                    <a:pt x="193" y="114"/>
                    <a:pt x="193" y="114"/>
                    <a:pt x="193" y="114"/>
                  </a:cubicBezTo>
                  <a:cubicBezTo>
                    <a:pt x="194" y="112"/>
                    <a:pt x="195" y="111"/>
                    <a:pt x="196" y="110"/>
                  </a:cubicBezTo>
                  <a:cubicBezTo>
                    <a:pt x="198" y="109"/>
                    <a:pt x="198" y="109"/>
                    <a:pt x="198" y="109"/>
                  </a:cubicBezTo>
                  <a:cubicBezTo>
                    <a:pt x="198" y="109"/>
                    <a:pt x="199" y="108"/>
                    <a:pt x="199" y="108"/>
                  </a:cubicBezTo>
                  <a:cubicBezTo>
                    <a:pt x="201" y="107"/>
                    <a:pt x="203" y="106"/>
                    <a:pt x="205" y="104"/>
                  </a:cubicBezTo>
                  <a:cubicBezTo>
                    <a:pt x="206" y="103"/>
                    <a:pt x="208" y="102"/>
                    <a:pt x="210" y="101"/>
                  </a:cubicBezTo>
                  <a:cubicBezTo>
                    <a:pt x="215" y="98"/>
                    <a:pt x="220" y="96"/>
                    <a:pt x="224" y="95"/>
                  </a:cubicBezTo>
                  <a:cubicBezTo>
                    <a:pt x="224" y="95"/>
                    <a:pt x="224" y="95"/>
                    <a:pt x="224" y="95"/>
                  </a:cubicBezTo>
                  <a:cubicBezTo>
                    <a:pt x="225" y="95"/>
                    <a:pt x="226" y="95"/>
                    <a:pt x="226" y="95"/>
                  </a:cubicBezTo>
                  <a:cubicBezTo>
                    <a:pt x="227" y="95"/>
                    <a:pt x="227" y="95"/>
                    <a:pt x="227" y="95"/>
                  </a:cubicBezTo>
                  <a:cubicBezTo>
                    <a:pt x="230" y="94"/>
                    <a:pt x="233" y="93"/>
                    <a:pt x="235" y="93"/>
                  </a:cubicBezTo>
                  <a:cubicBezTo>
                    <a:pt x="237" y="93"/>
                    <a:pt x="237" y="93"/>
                    <a:pt x="237" y="93"/>
                  </a:cubicBezTo>
                  <a:cubicBezTo>
                    <a:pt x="238" y="93"/>
                    <a:pt x="239" y="93"/>
                    <a:pt x="239" y="93"/>
                  </a:cubicBezTo>
                  <a:cubicBezTo>
                    <a:pt x="239" y="93"/>
                    <a:pt x="240" y="93"/>
                    <a:pt x="240" y="93"/>
                  </a:cubicBezTo>
                  <a:cubicBezTo>
                    <a:pt x="240" y="93"/>
                    <a:pt x="241" y="92"/>
                    <a:pt x="241" y="92"/>
                  </a:cubicBezTo>
                  <a:cubicBezTo>
                    <a:pt x="242" y="91"/>
                    <a:pt x="242" y="91"/>
                    <a:pt x="242" y="91"/>
                  </a:cubicBezTo>
                  <a:cubicBezTo>
                    <a:pt x="243" y="89"/>
                    <a:pt x="245" y="89"/>
                    <a:pt x="246" y="88"/>
                  </a:cubicBezTo>
                  <a:cubicBezTo>
                    <a:pt x="246" y="88"/>
                    <a:pt x="246" y="88"/>
                    <a:pt x="246" y="88"/>
                  </a:cubicBezTo>
                  <a:cubicBezTo>
                    <a:pt x="247" y="88"/>
                    <a:pt x="247" y="88"/>
                    <a:pt x="247" y="88"/>
                  </a:cubicBezTo>
                  <a:cubicBezTo>
                    <a:pt x="248" y="87"/>
                    <a:pt x="248" y="87"/>
                    <a:pt x="249" y="87"/>
                  </a:cubicBezTo>
                  <a:cubicBezTo>
                    <a:pt x="249" y="86"/>
                    <a:pt x="249" y="86"/>
                    <a:pt x="249" y="86"/>
                  </a:cubicBezTo>
                  <a:cubicBezTo>
                    <a:pt x="248" y="86"/>
                    <a:pt x="248" y="86"/>
                    <a:pt x="248" y="86"/>
                  </a:cubicBezTo>
                  <a:cubicBezTo>
                    <a:pt x="246" y="85"/>
                    <a:pt x="245" y="84"/>
                    <a:pt x="245" y="83"/>
                  </a:cubicBezTo>
                  <a:cubicBezTo>
                    <a:pt x="245" y="81"/>
                    <a:pt x="245" y="79"/>
                    <a:pt x="246" y="77"/>
                  </a:cubicBezTo>
                  <a:cubicBezTo>
                    <a:pt x="247" y="75"/>
                    <a:pt x="247" y="75"/>
                    <a:pt x="247" y="75"/>
                  </a:cubicBezTo>
                  <a:cubicBezTo>
                    <a:pt x="249" y="73"/>
                    <a:pt x="250" y="71"/>
                    <a:pt x="251" y="69"/>
                  </a:cubicBezTo>
                  <a:cubicBezTo>
                    <a:pt x="252" y="68"/>
                    <a:pt x="252" y="68"/>
                    <a:pt x="252" y="68"/>
                  </a:cubicBezTo>
                  <a:cubicBezTo>
                    <a:pt x="254" y="65"/>
                    <a:pt x="256" y="62"/>
                    <a:pt x="258" y="59"/>
                  </a:cubicBezTo>
                  <a:cubicBezTo>
                    <a:pt x="258" y="58"/>
                    <a:pt x="258" y="57"/>
                    <a:pt x="258" y="57"/>
                  </a:cubicBezTo>
                  <a:cubicBezTo>
                    <a:pt x="258" y="57"/>
                    <a:pt x="258" y="57"/>
                    <a:pt x="258" y="57"/>
                  </a:cubicBezTo>
                  <a:cubicBezTo>
                    <a:pt x="258" y="57"/>
                    <a:pt x="257" y="56"/>
                    <a:pt x="257" y="56"/>
                  </a:cubicBezTo>
                  <a:cubicBezTo>
                    <a:pt x="255" y="55"/>
                    <a:pt x="255" y="55"/>
                    <a:pt x="255" y="55"/>
                  </a:cubicBezTo>
                  <a:cubicBezTo>
                    <a:pt x="254" y="55"/>
                    <a:pt x="254" y="55"/>
                    <a:pt x="254" y="55"/>
                  </a:cubicBezTo>
                  <a:cubicBezTo>
                    <a:pt x="253" y="55"/>
                    <a:pt x="253" y="55"/>
                    <a:pt x="252" y="54"/>
                  </a:cubicBezTo>
                  <a:cubicBezTo>
                    <a:pt x="252" y="54"/>
                    <a:pt x="252" y="54"/>
                    <a:pt x="252" y="54"/>
                  </a:cubicBezTo>
                  <a:cubicBezTo>
                    <a:pt x="249" y="53"/>
                    <a:pt x="247" y="53"/>
                    <a:pt x="246" y="52"/>
                  </a:cubicBezTo>
                  <a:cubicBezTo>
                    <a:pt x="245" y="51"/>
                    <a:pt x="245" y="51"/>
                    <a:pt x="244" y="51"/>
                  </a:cubicBezTo>
                  <a:cubicBezTo>
                    <a:pt x="243" y="50"/>
                    <a:pt x="243" y="50"/>
                    <a:pt x="242" y="50"/>
                  </a:cubicBezTo>
                  <a:cubicBezTo>
                    <a:pt x="242" y="50"/>
                    <a:pt x="242" y="50"/>
                    <a:pt x="242" y="50"/>
                  </a:cubicBezTo>
                  <a:cubicBezTo>
                    <a:pt x="242" y="50"/>
                    <a:pt x="242" y="50"/>
                    <a:pt x="242" y="50"/>
                  </a:cubicBezTo>
                  <a:cubicBezTo>
                    <a:pt x="241" y="50"/>
                    <a:pt x="240" y="50"/>
                    <a:pt x="240" y="50"/>
                  </a:cubicBezTo>
                  <a:cubicBezTo>
                    <a:pt x="239" y="51"/>
                    <a:pt x="239" y="51"/>
                    <a:pt x="239" y="51"/>
                  </a:cubicBezTo>
                  <a:cubicBezTo>
                    <a:pt x="239" y="50"/>
                    <a:pt x="239" y="50"/>
                    <a:pt x="239" y="50"/>
                  </a:cubicBezTo>
                  <a:cubicBezTo>
                    <a:pt x="238" y="50"/>
                    <a:pt x="238" y="50"/>
                    <a:pt x="238" y="50"/>
                  </a:cubicBezTo>
                  <a:cubicBezTo>
                    <a:pt x="238" y="51"/>
                    <a:pt x="238" y="51"/>
                    <a:pt x="238" y="51"/>
                  </a:cubicBezTo>
                  <a:cubicBezTo>
                    <a:pt x="237" y="51"/>
                    <a:pt x="237" y="51"/>
                    <a:pt x="236" y="52"/>
                  </a:cubicBezTo>
                  <a:cubicBezTo>
                    <a:pt x="235" y="52"/>
                    <a:pt x="234" y="52"/>
                    <a:pt x="233" y="52"/>
                  </a:cubicBezTo>
                  <a:cubicBezTo>
                    <a:pt x="232" y="52"/>
                    <a:pt x="232" y="52"/>
                    <a:pt x="232" y="52"/>
                  </a:cubicBezTo>
                  <a:cubicBezTo>
                    <a:pt x="231" y="52"/>
                    <a:pt x="231" y="52"/>
                    <a:pt x="231" y="52"/>
                  </a:cubicBezTo>
                  <a:cubicBezTo>
                    <a:pt x="228" y="52"/>
                    <a:pt x="226" y="51"/>
                    <a:pt x="225" y="50"/>
                  </a:cubicBezTo>
                  <a:cubicBezTo>
                    <a:pt x="224" y="50"/>
                    <a:pt x="224" y="50"/>
                    <a:pt x="224" y="50"/>
                  </a:cubicBezTo>
                  <a:cubicBezTo>
                    <a:pt x="223" y="50"/>
                    <a:pt x="223" y="49"/>
                    <a:pt x="223" y="49"/>
                  </a:cubicBezTo>
                  <a:cubicBezTo>
                    <a:pt x="222" y="50"/>
                    <a:pt x="222" y="50"/>
                    <a:pt x="222" y="50"/>
                  </a:cubicBezTo>
                  <a:cubicBezTo>
                    <a:pt x="220" y="52"/>
                    <a:pt x="219" y="52"/>
                    <a:pt x="218" y="52"/>
                  </a:cubicBezTo>
                  <a:cubicBezTo>
                    <a:pt x="217" y="52"/>
                    <a:pt x="217" y="52"/>
                    <a:pt x="217" y="52"/>
                  </a:cubicBezTo>
                  <a:cubicBezTo>
                    <a:pt x="217" y="53"/>
                    <a:pt x="216" y="53"/>
                    <a:pt x="216" y="54"/>
                  </a:cubicBezTo>
                  <a:cubicBezTo>
                    <a:pt x="215" y="54"/>
                    <a:pt x="214" y="54"/>
                    <a:pt x="214" y="54"/>
                  </a:cubicBezTo>
                  <a:cubicBezTo>
                    <a:pt x="213" y="54"/>
                    <a:pt x="213" y="54"/>
                    <a:pt x="213" y="54"/>
                  </a:cubicBezTo>
                  <a:cubicBezTo>
                    <a:pt x="213" y="54"/>
                    <a:pt x="213" y="54"/>
                    <a:pt x="213" y="54"/>
                  </a:cubicBezTo>
                  <a:cubicBezTo>
                    <a:pt x="212" y="55"/>
                    <a:pt x="211" y="55"/>
                    <a:pt x="210" y="55"/>
                  </a:cubicBezTo>
                  <a:cubicBezTo>
                    <a:pt x="210" y="55"/>
                    <a:pt x="210" y="55"/>
                    <a:pt x="210" y="55"/>
                  </a:cubicBezTo>
                  <a:cubicBezTo>
                    <a:pt x="210" y="55"/>
                    <a:pt x="209" y="55"/>
                    <a:pt x="208" y="55"/>
                  </a:cubicBezTo>
                  <a:cubicBezTo>
                    <a:pt x="208" y="54"/>
                    <a:pt x="208" y="54"/>
                    <a:pt x="208" y="54"/>
                  </a:cubicBezTo>
                  <a:cubicBezTo>
                    <a:pt x="207" y="54"/>
                    <a:pt x="207" y="54"/>
                    <a:pt x="207" y="54"/>
                  </a:cubicBezTo>
                  <a:cubicBezTo>
                    <a:pt x="206" y="54"/>
                    <a:pt x="206" y="54"/>
                    <a:pt x="206" y="54"/>
                  </a:cubicBezTo>
                  <a:cubicBezTo>
                    <a:pt x="205" y="54"/>
                    <a:pt x="205" y="53"/>
                    <a:pt x="204" y="53"/>
                  </a:cubicBezTo>
                  <a:cubicBezTo>
                    <a:pt x="204" y="53"/>
                    <a:pt x="204" y="53"/>
                    <a:pt x="204" y="53"/>
                  </a:cubicBezTo>
                  <a:cubicBezTo>
                    <a:pt x="204" y="54"/>
                    <a:pt x="203" y="54"/>
                    <a:pt x="202" y="55"/>
                  </a:cubicBezTo>
                  <a:cubicBezTo>
                    <a:pt x="201" y="55"/>
                    <a:pt x="201" y="55"/>
                    <a:pt x="199" y="55"/>
                  </a:cubicBezTo>
                  <a:cubicBezTo>
                    <a:pt x="198" y="55"/>
                    <a:pt x="197" y="55"/>
                    <a:pt x="197" y="55"/>
                  </a:cubicBezTo>
                  <a:cubicBezTo>
                    <a:pt x="191" y="54"/>
                    <a:pt x="190" y="49"/>
                    <a:pt x="189" y="45"/>
                  </a:cubicBezTo>
                  <a:cubicBezTo>
                    <a:pt x="189" y="44"/>
                    <a:pt x="189" y="44"/>
                    <a:pt x="189" y="44"/>
                  </a:cubicBezTo>
                  <a:cubicBezTo>
                    <a:pt x="189" y="44"/>
                    <a:pt x="189" y="43"/>
                    <a:pt x="189" y="43"/>
                  </a:cubicBezTo>
                  <a:cubicBezTo>
                    <a:pt x="189" y="42"/>
                    <a:pt x="189" y="42"/>
                    <a:pt x="189" y="42"/>
                  </a:cubicBezTo>
                  <a:cubicBezTo>
                    <a:pt x="189" y="41"/>
                    <a:pt x="189" y="41"/>
                    <a:pt x="189" y="41"/>
                  </a:cubicBezTo>
                  <a:cubicBezTo>
                    <a:pt x="189" y="41"/>
                    <a:pt x="189" y="41"/>
                    <a:pt x="189" y="41"/>
                  </a:cubicBezTo>
                  <a:cubicBezTo>
                    <a:pt x="188" y="40"/>
                    <a:pt x="188" y="40"/>
                    <a:pt x="188" y="40"/>
                  </a:cubicBezTo>
                  <a:cubicBezTo>
                    <a:pt x="188" y="40"/>
                    <a:pt x="188" y="40"/>
                    <a:pt x="188" y="40"/>
                  </a:cubicBezTo>
                  <a:cubicBezTo>
                    <a:pt x="188" y="40"/>
                    <a:pt x="188" y="40"/>
                    <a:pt x="188" y="40"/>
                  </a:cubicBezTo>
                  <a:cubicBezTo>
                    <a:pt x="187" y="40"/>
                    <a:pt x="187" y="40"/>
                    <a:pt x="187" y="40"/>
                  </a:cubicBezTo>
                  <a:cubicBezTo>
                    <a:pt x="186" y="40"/>
                    <a:pt x="186" y="40"/>
                    <a:pt x="186" y="40"/>
                  </a:cubicBezTo>
                  <a:cubicBezTo>
                    <a:pt x="185" y="40"/>
                    <a:pt x="185" y="40"/>
                    <a:pt x="185" y="40"/>
                  </a:cubicBezTo>
                  <a:cubicBezTo>
                    <a:pt x="185" y="40"/>
                    <a:pt x="185" y="40"/>
                    <a:pt x="185" y="40"/>
                  </a:cubicBezTo>
                  <a:cubicBezTo>
                    <a:pt x="183" y="46"/>
                    <a:pt x="183" y="46"/>
                    <a:pt x="183" y="46"/>
                  </a:cubicBezTo>
                  <a:cubicBezTo>
                    <a:pt x="183" y="40"/>
                    <a:pt x="183" y="40"/>
                    <a:pt x="183" y="40"/>
                  </a:cubicBezTo>
                  <a:cubicBezTo>
                    <a:pt x="182" y="39"/>
                    <a:pt x="182" y="39"/>
                    <a:pt x="182" y="39"/>
                  </a:cubicBezTo>
                  <a:cubicBezTo>
                    <a:pt x="182" y="39"/>
                    <a:pt x="182" y="39"/>
                    <a:pt x="182" y="39"/>
                  </a:cubicBezTo>
                  <a:cubicBezTo>
                    <a:pt x="182" y="39"/>
                    <a:pt x="181" y="39"/>
                    <a:pt x="181" y="38"/>
                  </a:cubicBezTo>
                  <a:cubicBezTo>
                    <a:pt x="180" y="37"/>
                    <a:pt x="180" y="37"/>
                    <a:pt x="180" y="37"/>
                  </a:cubicBezTo>
                  <a:cubicBezTo>
                    <a:pt x="180" y="37"/>
                    <a:pt x="180" y="37"/>
                    <a:pt x="180" y="37"/>
                  </a:cubicBezTo>
                  <a:cubicBezTo>
                    <a:pt x="179" y="35"/>
                    <a:pt x="179" y="33"/>
                    <a:pt x="179" y="32"/>
                  </a:cubicBezTo>
                  <a:cubicBezTo>
                    <a:pt x="179" y="32"/>
                    <a:pt x="179" y="32"/>
                    <a:pt x="179" y="32"/>
                  </a:cubicBezTo>
                  <a:cubicBezTo>
                    <a:pt x="180" y="31"/>
                    <a:pt x="180" y="31"/>
                    <a:pt x="180" y="31"/>
                  </a:cubicBezTo>
                  <a:cubicBezTo>
                    <a:pt x="179" y="30"/>
                    <a:pt x="179" y="30"/>
                    <a:pt x="179" y="30"/>
                  </a:cubicBezTo>
                  <a:cubicBezTo>
                    <a:pt x="179" y="29"/>
                    <a:pt x="178" y="29"/>
                    <a:pt x="178" y="29"/>
                  </a:cubicBezTo>
                  <a:cubicBezTo>
                    <a:pt x="178" y="28"/>
                    <a:pt x="178" y="28"/>
                    <a:pt x="178" y="28"/>
                  </a:cubicBezTo>
                  <a:cubicBezTo>
                    <a:pt x="177" y="28"/>
                    <a:pt x="176" y="27"/>
                    <a:pt x="175" y="27"/>
                  </a:cubicBezTo>
                  <a:cubicBezTo>
                    <a:pt x="174" y="26"/>
                    <a:pt x="172" y="26"/>
                    <a:pt x="171" y="25"/>
                  </a:cubicBezTo>
                  <a:cubicBezTo>
                    <a:pt x="171" y="25"/>
                    <a:pt x="170" y="24"/>
                    <a:pt x="169" y="23"/>
                  </a:cubicBezTo>
                  <a:cubicBezTo>
                    <a:pt x="168" y="23"/>
                    <a:pt x="168" y="22"/>
                    <a:pt x="167" y="22"/>
                  </a:cubicBezTo>
                  <a:cubicBezTo>
                    <a:pt x="166" y="22"/>
                    <a:pt x="166" y="22"/>
                    <a:pt x="166" y="22"/>
                  </a:cubicBezTo>
                  <a:cubicBezTo>
                    <a:pt x="165" y="21"/>
                    <a:pt x="164" y="21"/>
                    <a:pt x="163" y="20"/>
                  </a:cubicBezTo>
                  <a:cubicBezTo>
                    <a:pt x="161" y="19"/>
                    <a:pt x="160" y="15"/>
                    <a:pt x="159" y="12"/>
                  </a:cubicBezTo>
                  <a:cubicBezTo>
                    <a:pt x="159" y="12"/>
                    <a:pt x="159" y="11"/>
                    <a:pt x="159" y="10"/>
                  </a:cubicBezTo>
                  <a:cubicBezTo>
                    <a:pt x="159" y="9"/>
                    <a:pt x="159" y="9"/>
                    <a:pt x="159" y="9"/>
                  </a:cubicBezTo>
                  <a:cubicBezTo>
                    <a:pt x="158" y="9"/>
                    <a:pt x="157" y="7"/>
                    <a:pt x="154" y="4"/>
                  </a:cubicBezTo>
                  <a:cubicBezTo>
                    <a:pt x="153" y="3"/>
                    <a:pt x="153" y="3"/>
                    <a:pt x="153" y="3"/>
                  </a:cubicBezTo>
                  <a:cubicBezTo>
                    <a:pt x="152" y="2"/>
                    <a:pt x="150" y="2"/>
                    <a:pt x="150" y="1"/>
                  </a:cubicBezTo>
                  <a:cubicBezTo>
                    <a:pt x="149" y="1"/>
                    <a:pt x="149" y="1"/>
                    <a:pt x="149" y="1"/>
                  </a:cubicBezTo>
                  <a:cubicBezTo>
                    <a:pt x="149" y="1"/>
                    <a:pt x="149" y="1"/>
                    <a:pt x="149" y="1"/>
                  </a:cubicBezTo>
                  <a:cubicBezTo>
                    <a:pt x="149" y="1"/>
                    <a:pt x="149" y="1"/>
                    <a:pt x="149" y="1"/>
                  </a:cubicBezTo>
                  <a:cubicBezTo>
                    <a:pt x="148" y="0"/>
                    <a:pt x="148" y="0"/>
                    <a:pt x="148" y="0"/>
                  </a:cubicBezTo>
                  <a:cubicBezTo>
                    <a:pt x="148"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246"/>
            <p:cNvSpPr>
              <a:spLocks noEditPoints="1"/>
            </p:cNvSpPr>
            <p:nvPr/>
          </p:nvSpPr>
          <p:spPr bwMode="auto">
            <a:xfrm>
              <a:off x="7944923" y="3385220"/>
              <a:ext cx="668004" cy="3252466"/>
            </a:xfrm>
            <a:custGeom>
              <a:gdLst>
                <a:gd name="T0" fmla="*/ 76 w 200"/>
                <a:gd name="T1" fmla="*/ 913 h 974"/>
                <a:gd name="T2" fmla="*/ 58 w 200"/>
                <a:gd name="T3" fmla="*/ 920 h 974"/>
                <a:gd name="T4" fmla="*/ 64 w 200"/>
                <a:gd name="T5" fmla="*/ 907 h 974"/>
                <a:gd name="T6" fmla="*/ 125 w 200"/>
                <a:gd name="T7" fmla="*/ 21 h 974"/>
                <a:gd name="T8" fmla="*/ 114 w 200"/>
                <a:gd name="T9" fmla="*/ 226 h 974"/>
                <a:gd name="T10" fmla="*/ 98 w 200"/>
                <a:gd name="T11" fmla="*/ 360 h 974"/>
                <a:gd name="T12" fmla="*/ 53 w 200"/>
                <a:gd name="T13" fmla="*/ 491 h 974"/>
                <a:gd name="T14" fmla="*/ 47 w 200"/>
                <a:gd name="T15" fmla="*/ 615 h 974"/>
                <a:gd name="T16" fmla="*/ 76 w 200"/>
                <a:gd name="T17" fmla="*/ 631 h 974"/>
                <a:gd name="T18" fmla="*/ 68 w 200"/>
                <a:gd name="T19" fmla="*/ 673 h 974"/>
                <a:gd name="T20" fmla="*/ 55 w 200"/>
                <a:gd name="T21" fmla="*/ 715 h 974"/>
                <a:gd name="T22" fmla="*/ 52 w 200"/>
                <a:gd name="T23" fmla="*/ 730 h 974"/>
                <a:gd name="T24" fmla="*/ 41 w 200"/>
                <a:gd name="T25" fmla="*/ 744 h 974"/>
                <a:gd name="T26" fmla="*/ 34 w 200"/>
                <a:gd name="T27" fmla="*/ 730 h 974"/>
                <a:gd name="T28" fmla="*/ 24 w 200"/>
                <a:gd name="T29" fmla="*/ 733 h 974"/>
                <a:gd name="T30" fmla="*/ 1 w 200"/>
                <a:gd name="T31" fmla="*/ 758 h 974"/>
                <a:gd name="T32" fmla="*/ 21 w 200"/>
                <a:gd name="T33" fmla="*/ 759 h 974"/>
                <a:gd name="T34" fmla="*/ 42 w 200"/>
                <a:gd name="T35" fmla="*/ 772 h 974"/>
                <a:gd name="T36" fmla="*/ 37 w 200"/>
                <a:gd name="T37" fmla="*/ 783 h 974"/>
                <a:gd name="T38" fmla="*/ 30 w 200"/>
                <a:gd name="T39" fmla="*/ 787 h 974"/>
                <a:gd name="T40" fmla="*/ 53 w 200"/>
                <a:gd name="T41" fmla="*/ 799 h 974"/>
                <a:gd name="T42" fmla="*/ 35 w 200"/>
                <a:gd name="T43" fmla="*/ 804 h 974"/>
                <a:gd name="T44" fmla="*/ 36 w 200"/>
                <a:gd name="T45" fmla="*/ 815 h 974"/>
                <a:gd name="T46" fmla="*/ 40 w 200"/>
                <a:gd name="T47" fmla="*/ 828 h 974"/>
                <a:gd name="T48" fmla="*/ 35 w 200"/>
                <a:gd name="T49" fmla="*/ 846 h 974"/>
                <a:gd name="T50" fmla="*/ 34 w 200"/>
                <a:gd name="T51" fmla="*/ 855 h 974"/>
                <a:gd name="T52" fmla="*/ 25 w 200"/>
                <a:gd name="T53" fmla="*/ 860 h 974"/>
                <a:gd name="T54" fmla="*/ 53 w 200"/>
                <a:gd name="T55" fmla="*/ 874 h 974"/>
                <a:gd name="T56" fmla="*/ 47 w 200"/>
                <a:gd name="T57" fmla="*/ 890 h 974"/>
                <a:gd name="T58" fmla="*/ 50 w 200"/>
                <a:gd name="T59" fmla="*/ 906 h 974"/>
                <a:gd name="T60" fmla="*/ 50 w 200"/>
                <a:gd name="T61" fmla="*/ 935 h 974"/>
                <a:gd name="T62" fmla="*/ 61 w 200"/>
                <a:gd name="T63" fmla="*/ 950 h 974"/>
                <a:gd name="T64" fmla="*/ 78 w 200"/>
                <a:gd name="T65" fmla="*/ 941 h 974"/>
                <a:gd name="T66" fmla="*/ 66 w 200"/>
                <a:gd name="T67" fmla="*/ 958 h 974"/>
                <a:gd name="T68" fmla="*/ 78 w 200"/>
                <a:gd name="T69" fmla="*/ 949 h 974"/>
                <a:gd name="T70" fmla="*/ 88 w 200"/>
                <a:gd name="T71" fmla="*/ 964 h 974"/>
                <a:gd name="T72" fmla="*/ 104 w 200"/>
                <a:gd name="T73" fmla="*/ 974 h 974"/>
                <a:gd name="T74" fmla="*/ 134 w 200"/>
                <a:gd name="T75" fmla="*/ 918 h 974"/>
                <a:gd name="T76" fmla="*/ 77 w 200"/>
                <a:gd name="T77" fmla="*/ 896 h 974"/>
                <a:gd name="T78" fmla="*/ 70 w 200"/>
                <a:gd name="T79" fmla="*/ 876 h 974"/>
                <a:gd name="T80" fmla="*/ 57 w 200"/>
                <a:gd name="T81" fmla="*/ 876 h 974"/>
                <a:gd name="T82" fmla="*/ 49 w 200"/>
                <a:gd name="T83" fmla="*/ 856 h 974"/>
                <a:gd name="T84" fmla="*/ 65 w 200"/>
                <a:gd name="T85" fmla="*/ 822 h 974"/>
                <a:gd name="T86" fmla="*/ 74 w 200"/>
                <a:gd name="T87" fmla="*/ 795 h 974"/>
                <a:gd name="T88" fmla="*/ 91 w 200"/>
                <a:gd name="T89" fmla="*/ 752 h 974"/>
                <a:gd name="T90" fmla="*/ 95 w 200"/>
                <a:gd name="T91" fmla="*/ 720 h 974"/>
                <a:gd name="T92" fmla="*/ 89 w 200"/>
                <a:gd name="T93" fmla="*/ 708 h 974"/>
                <a:gd name="T94" fmla="*/ 98 w 200"/>
                <a:gd name="T95" fmla="*/ 692 h 974"/>
                <a:gd name="T96" fmla="*/ 89 w 200"/>
                <a:gd name="T97" fmla="*/ 657 h 974"/>
                <a:gd name="T98" fmla="*/ 89 w 200"/>
                <a:gd name="T99" fmla="*/ 620 h 974"/>
                <a:gd name="T100" fmla="*/ 93 w 200"/>
                <a:gd name="T101" fmla="*/ 566 h 974"/>
                <a:gd name="T102" fmla="*/ 110 w 200"/>
                <a:gd name="T103" fmla="*/ 525 h 974"/>
                <a:gd name="T104" fmla="*/ 118 w 200"/>
                <a:gd name="T105" fmla="*/ 462 h 974"/>
                <a:gd name="T106" fmla="*/ 125 w 200"/>
                <a:gd name="T107" fmla="*/ 426 h 974"/>
                <a:gd name="T108" fmla="*/ 126 w 200"/>
                <a:gd name="T109" fmla="*/ 365 h 974"/>
                <a:gd name="T110" fmla="*/ 125 w 200"/>
                <a:gd name="T111" fmla="*/ 327 h 974"/>
                <a:gd name="T112" fmla="*/ 132 w 200"/>
                <a:gd name="T113" fmla="*/ 283 h 974"/>
                <a:gd name="T114" fmla="*/ 169 w 200"/>
                <a:gd name="T115" fmla="*/ 227 h 974"/>
                <a:gd name="T116" fmla="*/ 189 w 200"/>
                <a:gd name="T117" fmla="*/ 154 h 974"/>
                <a:gd name="T118" fmla="*/ 181 w 200"/>
                <a:gd name="T119" fmla="*/ 126 h 974"/>
                <a:gd name="T120" fmla="*/ 173 w 200"/>
                <a:gd name="T121" fmla="*/ 88 h 974"/>
                <a:gd name="T122" fmla="*/ 164 w 200"/>
                <a:gd name="T123" fmla="*/ 55 h 974"/>
                <a:gd name="T124" fmla="*/ 151 w 200"/>
                <a:gd name="T125" fmla="*/ 10 h 9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974">
                  <a:moveTo>
                    <a:pt x="87" y="969"/>
                  </a:moveTo>
                  <a:cubicBezTo>
                    <a:pt x="87" y="969"/>
                    <a:pt x="87" y="969"/>
                    <a:pt x="87" y="969"/>
                  </a:cubicBezTo>
                  <a:cubicBezTo>
                    <a:pt x="87" y="969"/>
                    <a:pt x="87" y="969"/>
                    <a:pt x="87" y="969"/>
                  </a:cubicBezTo>
                  <a:moveTo>
                    <a:pt x="43" y="880"/>
                  </a:moveTo>
                  <a:cubicBezTo>
                    <a:pt x="43" y="880"/>
                    <a:pt x="43" y="880"/>
                    <a:pt x="43" y="880"/>
                  </a:cubicBezTo>
                  <a:cubicBezTo>
                    <a:pt x="43" y="880"/>
                    <a:pt x="43" y="880"/>
                    <a:pt x="43" y="880"/>
                  </a:cubicBezTo>
                  <a:moveTo>
                    <a:pt x="71" y="910"/>
                  </a:moveTo>
                  <a:cubicBezTo>
                    <a:pt x="73" y="910"/>
                    <a:pt x="75" y="908"/>
                    <a:pt x="74" y="907"/>
                  </a:cubicBezTo>
                  <a:cubicBezTo>
                    <a:pt x="73" y="906"/>
                    <a:pt x="72" y="906"/>
                    <a:pt x="71" y="906"/>
                  </a:cubicBezTo>
                  <a:cubicBezTo>
                    <a:pt x="71" y="905"/>
                    <a:pt x="71" y="904"/>
                    <a:pt x="70" y="904"/>
                  </a:cubicBezTo>
                  <a:cubicBezTo>
                    <a:pt x="69" y="903"/>
                    <a:pt x="68" y="903"/>
                    <a:pt x="67" y="902"/>
                  </a:cubicBezTo>
                  <a:cubicBezTo>
                    <a:pt x="63" y="901"/>
                    <a:pt x="62" y="900"/>
                    <a:pt x="58" y="899"/>
                  </a:cubicBezTo>
                  <a:cubicBezTo>
                    <a:pt x="59" y="898"/>
                    <a:pt x="60" y="898"/>
                    <a:pt x="61" y="898"/>
                  </a:cubicBezTo>
                  <a:cubicBezTo>
                    <a:pt x="62" y="898"/>
                    <a:pt x="63" y="899"/>
                    <a:pt x="65" y="900"/>
                  </a:cubicBezTo>
                  <a:cubicBezTo>
                    <a:pt x="68" y="902"/>
                    <a:pt x="71" y="902"/>
                    <a:pt x="74" y="906"/>
                  </a:cubicBezTo>
                  <a:cubicBezTo>
                    <a:pt x="76" y="908"/>
                    <a:pt x="78" y="911"/>
                    <a:pt x="76" y="913"/>
                  </a:cubicBezTo>
                  <a:cubicBezTo>
                    <a:pt x="75" y="915"/>
                    <a:pt x="74" y="913"/>
                    <a:pt x="72" y="916"/>
                  </a:cubicBezTo>
                  <a:cubicBezTo>
                    <a:pt x="72" y="918"/>
                    <a:pt x="77" y="920"/>
                    <a:pt x="76" y="923"/>
                  </a:cubicBezTo>
                  <a:cubicBezTo>
                    <a:pt x="76" y="927"/>
                    <a:pt x="69" y="928"/>
                    <a:pt x="66" y="929"/>
                  </a:cubicBezTo>
                  <a:cubicBezTo>
                    <a:pt x="69" y="928"/>
                    <a:pt x="76" y="925"/>
                    <a:pt x="75" y="921"/>
                  </a:cubicBezTo>
                  <a:cubicBezTo>
                    <a:pt x="74" y="918"/>
                    <a:pt x="72" y="918"/>
                    <a:pt x="72" y="916"/>
                  </a:cubicBezTo>
                  <a:cubicBezTo>
                    <a:pt x="71" y="914"/>
                    <a:pt x="70" y="913"/>
                    <a:pt x="69" y="913"/>
                  </a:cubicBezTo>
                  <a:cubicBezTo>
                    <a:pt x="67" y="913"/>
                    <a:pt x="65" y="918"/>
                    <a:pt x="66" y="921"/>
                  </a:cubicBezTo>
                  <a:cubicBezTo>
                    <a:pt x="67" y="920"/>
                    <a:pt x="68" y="918"/>
                    <a:pt x="70" y="917"/>
                  </a:cubicBezTo>
                  <a:cubicBezTo>
                    <a:pt x="70" y="918"/>
                    <a:pt x="69" y="921"/>
                    <a:pt x="68" y="922"/>
                  </a:cubicBezTo>
                  <a:cubicBezTo>
                    <a:pt x="68" y="922"/>
                    <a:pt x="67" y="923"/>
                    <a:pt x="67" y="923"/>
                  </a:cubicBezTo>
                  <a:cubicBezTo>
                    <a:pt x="67" y="923"/>
                    <a:pt x="66" y="922"/>
                    <a:pt x="66" y="922"/>
                  </a:cubicBezTo>
                  <a:cubicBezTo>
                    <a:pt x="65" y="922"/>
                    <a:pt x="65" y="922"/>
                    <a:pt x="64" y="922"/>
                  </a:cubicBezTo>
                  <a:cubicBezTo>
                    <a:pt x="64" y="922"/>
                    <a:pt x="63" y="922"/>
                    <a:pt x="62" y="922"/>
                  </a:cubicBezTo>
                  <a:cubicBezTo>
                    <a:pt x="63" y="920"/>
                    <a:pt x="64" y="919"/>
                    <a:pt x="64" y="917"/>
                  </a:cubicBezTo>
                  <a:cubicBezTo>
                    <a:pt x="62" y="917"/>
                    <a:pt x="59" y="919"/>
                    <a:pt x="59" y="920"/>
                  </a:cubicBezTo>
                  <a:cubicBezTo>
                    <a:pt x="59" y="920"/>
                    <a:pt x="58" y="920"/>
                    <a:pt x="58" y="920"/>
                  </a:cubicBezTo>
                  <a:cubicBezTo>
                    <a:pt x="58" y="919"/>
                    <a:pt x="57" y="916"/>
                    <a:pt x="57" y="914"/>
                  </a:cubicBezTo>
                  <a:cubicBezTo>
                    <a:pt x="58" y="916"/>
                    <a:pt x="58" y="918"/>
                    <a:pt x="59" y="918"/>
                  </a:cubicBezTo>
                  <a:cubicBezTo>
                    <a:pt x="59" y="918"/>
                    <a:pt x="60" y="917"/>
                    <a:pt x="60" y="917"/>
                  </a:cubicBezTo>
                  <a:cubicBezTo>
                    <a:pt x="61" y="915"/>
                    <a:pt x="60" y="914"/>
                    <a:pt x="62" y="913"/>
                  </a:cubicBezTo>
                  <a:cubicBezTo>
                    <a:pt x="62" y="912"/>
                    <a:pt x="68" y="910"/>
                    <a:pt x="65" y="910"/>
                  </a:cubicBezTo>
                  <a:cubicBezTo>
                    <a:pt x="65" y="910"/>
                    <a:pt x="65" y="910"/>
                    <a:pt x="65" y="910"/>
                  </a:cubicBezTo>
                  <a:cubicBezTo>
                    <a:pt x="64" y="910"/>
                    <a:pt x="64" y="911"/>
                    <a:pt x="63" y="911"/>
                  </a:cubicBezTo>
                  <a:cubicBezTo>
                    <a:pt x="62" y="911"/>
                    <a:pt x="61" y="911"/>
                    <a:pt x="60" y="911"/>
                  </a:cubicBezTo>
                  <a:cubicBezTo>
                    <a:pt x="60" y="911"/>
                    <a:pt x="60" y="911"/>
                    <a:pt x="60" y="911"/>
                  </a:cubicBezTo>
                  <a:cubicBezTo>
                    <a:pt x="62" y="911"/>
                    <a:pt x="60" y="910"/>
                    <a:pt x="61" y="909"/>
                  </a:cubicBezTo>
                  <a:cubicBezTo>
                    <a:pt x="62" y="908"/>
                    <a:pt x="62" y="908"/>
                    <a:pt x="62" y="908"/>
                  </a:cubicBezTo>
                  <a:cubicBezTo>
                    <a:pt x="63" y="908"/>
                    <a:pt x="63" y="908"/>
                    <a:pt x="64" y="908"/>
                  </a:cubicBezTo>
                  <a:cubicBezTo>
                    <a:pt x="63" y="907"/>
                    <a:pt x="62" y="906"/>
                    <a:pt x="61" y="906"/>
                  </a:cubicBezTo>
                  <a:cubicBezTo>
                    <a:pt x="61" y="906"/>
                    <a:pt x="61" y="906"/>
                    <a:pt x="62" y="906"/>
                  </a:cubicBezTo>
                  <a:cubicBezTo>
                    <a:pt x="62" y="906"/>
                    <a:pt x="62" y="906"/>
                    <a:pt x="62" y="906"/>
                  </a:cubicBezTo>
                  <a:cubicBezTo>
                    <a:pt x="63" y="906"/>
                    <a:pt x="63" y="906"/>
                    <a:pt x="64" y="907"/>
                  </a:cubicBezTo>
                  <a:cubicBezTo>
                    <a:pt x="64" y="908"/>
                    <a:pt x="65" y="908"/>
                    <a:pt x="65" y="908"/>
                  </a:cubicBezTo>
                  <a:cubicBezTo>
                    <a:pt x="65" y="908"/>
                    <a:pt x="65" y="908"/>
                    <a:pt x="65" y="908"/>
                  </a:cubicBezTo>
                  <a:cubicBezTo>
                    <a:pt x="66" y="908"/>
                    <a:pt x="66" y="908"/>
                    <a:pt x="66" y="908"/>
                  </a:cubicBezTo>
                  <a:cubicBezTo>
                    <a:pt x="66" y="908"/>
                    <a:pt x="66" y="908"/>
                    <a:pt x="66" y="908"/>
                  </a:cubicBezTo>
                  <a:cubicBezTo>
                    <a:pt x="67" y="908"/>
                    <a:pt x="68" y="908"/>
                    <a:pt x="68" y="908"/>
                  </a:cubicBezTo>
                  <a:cubicBezTo>
                    <a:pt x="69" y="908"/>
                    <a:pt x="70" y="910"/>
                    <a:pt x="71" y="910"/>
                  </a:cubicBezTo>
                  <a:cubicBezTo>
                    <a:pt x="71" y="910"/>
                    <a:pt x="71" y="910"/>
                    <a:pt x="71" y="910"/>
                  </a:cubicBezTo>
                  <a:moveTo>
                    <a:pt x="144" y="0"/>
                  </a:moveTo>
                  <a:cubicBezTo>
                    <a:pt x="144" y="0"/>
                    <a:pt x="144" y="0"/>
                    <a:pt x="144" y="0"/>
                  </a:cubicBezTo>
                  <a:cubicBezTo>
                    <a:pt x="143" y="1"/>
                    <a:pt x="143" y="1"/>
                    <a:pt x="143" y="1"/>
                  </a:cubicBezTo>
                  <a:cubicBezTo>
                    <a:pt x="142" y="1"/>
                    <a:pt x="142" y="1"/>
                    <a:pt x="141" y="1"/>
                  </a:cubicBezTo>
                  <a:cubicBezTo>
                    <a:pt x="141" y="2"/>
                    <a:pt x="141" y="2"/>
                    <a:pt x="140" y="2"/>
                  </a:cubicBezTo>
                  <a:cubicBezTo>
                    <a:pt x="141" y="4"/>
                    <a:pt x="141" y="8"/>
                    <a:pt x="140" y="11"/>
                  </a:cubicBezTo>
                  <a:cubicBezTo>
                    <a:pt x="140" y="14"/>
                    <a:pt x="138" y="15"/>
                    <a:pt x="137" y="15"/>
                  </a:cubicBezTo>
                  <a:cubicBezTo>
                    <a:pt x="125" y="20"/>
                    <a:pt x="125" y="20"/>
                    <a:pt x="125" y="20"/>
                  </a:cubicBezTo>
                  <a:cubicBezTo>
                    <a:pt x="125" y="20"/>
                    <a:pt x="125" y="20"/>
                    <a:pt x="125" y="21"/>
                  </a:cubicBezTo>
                  <a:cubicBezTo>
                    <a:pt x="126" y="25"/>
                    <a:pt x="126" y="29"/>
                    <a:pt x="127" y="34"/>
                  </a:cubicBezTo>
                  <a:cubicBezTo>
                    <a:pt x="129" y="48"/>
                    <a:pt x="130" y="63"/>
                    <a:pt x="131" y="78"/>
                  </a:cubicBezTo>
                  <a:cubicBezTo>
                    <a:pt x="132" y="82"/>
                    <a:pt x="133" y="88"/>
                    <a:pt x="132" y="92"/>
                  </a:cubicBezTo>
                  <a:cubicBezTo>
                    <a:pt x="131" y="100"/>
                    <a:pt x="130" y="109"/>
                    <a:pt x="128" y="117"/>
                  </a:cubicBezTo>
                  <a:cubicBezTo>
                    <a:pt x="127" y="123"/>
                    <a:pt x="128" y="131"/>
                    <a:pt x="121" y="131"/>
                  </a:cubicBezTo>
                  <a:cubicBezTo>
                    <a:pt x="121" y="131"/>
                    <a:pt x="121" y="131"/>
                    <a:pt x="121" y="131"/>
                  </a:cubicBezTo>
                  <a:cubicBezTo>
                    <a:pt x="121" y="135"/>
                    <a:pt x="120" y="138"/>
                    <a:pt x="119" y="141"/>
                  </a:cubicBezTo>
                  <a:cubicBezTo>
                    <a:pt x="120" y="142"/>
                    <a:pt x="120" y="142"/>
                    <a:pt x="121" y="142"/>
                  </a:cubicBezTo>
                  <a:cubicBezTo>
                    <a:pt x="121" y="142"/>
                    <a:pt x="122" y="141"/>
                    <a:pt x="122" y="140"/>
                  </a:cubicBezTo>
                  <a:cubicBezTo>
                    <a:pt x="122" y="149"/>
                    <a:pt x="121" y="158"/>
                    <a:pt x="120" y="167"/>
                  </a:cubicBezTo>
                  <a:cubicBezTo>
                    <a:pt x="120" y="169"/>
                    <a:pt x="120" y="172"/>
                    <a:pt x="121" y="174"/>
                  </a:cubicBezTo>
                  <a:cubicBezTo>
                    <a:pt x="123" y="178"/>
                    <a:pt x="124" y="182"/>
                    <a:pt x="123" y="186"/>
                  </a:cubicBezTo>
                  <a:cubicBezTo>
                    <a:pt x="123" y="188"/>
                    <a:pt x="122" y="189"/>
                    <a:pt x="121" y="191"/>
                  </a:cubicBezTo>
                  <a:cubicBezTo>
                    <a:pt x="119" y="193"/>
                    <a:pt x="117" y="197"/>
                    <a:pt x="117" y="199"/>
                  </a:cubicBezTo>
                  <a:cubicBezTo>
                    <a:pt x="117" y="201"/>
                    <a:pt x="119" y="203"/>
                    <a:pt x="119" y="205"/>
                  </a:cubicBezTo>
                  <a:cubicBezTo>
                    <a:pt x="118" y="213"/>
                    <a:pt x="117" y="219"/>
                    <a:pt x="114" y="226"/>
                  </a:cubicBezTo>
                  <a:cubicBezTo>
                    <a:pt x="112" y="232"/>
                    <a:pt x="112" y="234"/>
                    <a:pt x="112" y="239"/>
                  </a:cubicBezTo>
                  <a:cubicBezTo>
                    <a:pt x="112" y="242"/>
                    <a:pt x="113" y="243"/>
                    <a:pt x="111" y="245"/>
                  </a:cubicBezTo>
                  <a:cubicBezTo>
                    <a:pt x="110" y="248"/>
                    <a:pt x="107" y="250"/>
                    <a:pt x="107" y="253"/>
                  </a:cubicBezTo>
                  <a:cubicBezTo>
                    <a:pt x="107" y="260"/>
                    <a:pt x="106" y="264"/>
                    <a:pt x="104" y="270"/>
                  </a:cubicBezTo>
                  <a:cubicBezTo>
                    <a:pt x="102" y="273"/>
                    <a:pt x="98" y="274"/>
                    <a:pt x="99" y="278"/>
                  </a:cubicBezTo>
                  <a:cubicBezTo>
                    <a:pt x="99" y="283"/>
                    <a:pt x="100" y="284"/>
                    <a:pt x="103" y="288"/>
                  </a:cubicBezTo>
                  <a:cubicBezTo>
                    <a:pt x="104" y="289"/>
                    <a:pt x="103" y="291"/>
                    <a:pt x="104" y="293"/>
                  </a:cubicBezTo>
                  <a:cubicBezTo>
                    <a:pt x="104" y="295"/>
                    <a:pt x="104" y="299"/>
                    <a:pt x="104" y="302"/>
                  </a:cubicBezTo>
                  <a:cubicBezTo>
                    <a:pt x="104" y="302"/>
                    <a:pt x="103" y="303"/>
                    <a:pt x="102" y="304"/>
                  </a:cubicBezTo>
                  <a:cubicBezTo>
                    <a:pt x="102" y="305"/>
                    <a:pt x="102" y="308"/>
                    <a:pt x="101" y="308"/>
                  </a:cubicBezTo>
                  <a:cubicBezTo>
                    <a:pt x="101" y="308"/>
                    <a:pt x="101" y="308"/>
                    <a:pt x="100" y="308"/>
                  </a:cubicBezTo>
                  <a:cubicBezTo>
                    <a:pt x="99" y="309"/>
                    <a:pt x="99" y="310"/>
                    <a:pt x="98" y="311"/>
                  </a:cubicBezTo>
                  <a:cubicBezTo>
                    <a:pt x="95" y="312"/>
                    <a:pt x="95" y="313"/>
                    <a:pt x="95" y="316"/>
                  </a:cubicBezTo>
                  <a:cubicBezTo>
                    <a:pt x="95" y="321"/>
                    <a:pt x="95" y="325"/>
                    <a:pt x="96" y="330"/>
                  </a:cubicBezTo>
                  <a:cubicBezTo>
                    <a:pt x="96" y="336"/>
                    <a:pt x="97" y="343"/>
                    <a:pt x="97" y="350"/>
                  </a:cubicBezTo>
                  <a:cubicBezTo>
                    <a:pt x="97" y="353"/>
                    <a:pt x="97" y="357"/>
                    <a:pt x="98" y="360"/>
                  </a:cubicBezTo>
                  <a:cubicBezTo>
                    <a:pt x="99" y="361"/>
                    <a:pt x="102" y="363"/>
                    <a:pt x="101" y="365"/>
                  </a:cubicBezTo>
                  <a:cubicBezTo>
                    <a:pt x="100" y="368"/>
                    <a:pt x="100" y="372"/>
                    <a:pt x="99" y="374"/>
                  </a:cubicBezTo>
                  <a:cubicBezTo>
                    <a:pt x="97" y="376"/>
                    <a:pt x="94" y="380"/>
                    <a:pt x="94" y="382"/>
                  </a:cubicBezTo>
                  <a:cubicBezTo>
                    <a:pt x="93" y="385"/>
                    <a:pt x="95" y="388"/>
                    <a:pt x="95" y="391"/>
                  </a:cubicBezTo>
                  <a:cubicBezTo>
                    <a:pt x="95" y="396"/>
                    <a:pt x="96" y="398"/>
                    <a:pt x="92" y="402"/>
                  </a:cubicBezTo>
                  <a:cubicBezTo>
                    <a:pt x="88" y="408"/>
                    <a:pt x="87" y="417"/>
                    <a:pt x="86" y="424"/>
                  </a:cubicBezTo>
                  <a:cubicBezTo>
                    <a:pt x="84" y="429"/>
                    <a:pt x="83" y="433"/>
                    <a:pt x="80" y="438"/>
                  </a:cubicBezTo>
                  <a:cubicBezTo>
                    <a:pt x="78" y="441"/>
                    <a:pt x="75" y="445"/>
                    <a:pt x="73" y="449"/>
                  </a:cubicBezTo>
                  <a:cubicBezTo>
                    <a:pt x="72" y="450"/>
                    <a:pt x="74" y="453"/>
                    <a:pt x="73" y="454"/>
                  </a:cubicBezTo>
                  <a:cubicBezTo>
                    <a:pt x="72" y="456"/>
                    <a:pt x="69" y="459"/>
                    <a:pt x="69" y="461"/>
                  </a:cubicBezTo>
                  <a:cubicBezTo>
                    <a:pt x="68" y="464"/>
                    <a:pt x="67" y="468"/>
                    <a:pt x="66" y="471"/>
                  </a:cubicBezTo>
                  <a:cubicBezTo>
                    <a:pt x="65" y="478"/>
                    <a:pt x="65" y="477"/>
                    <a:pt x="60" y="480"/>
                  </a:cubicBezTo>
                  <a:cubicBezTo>
                    <a:pt x="61" y="481"/>
                    <a:pt x="60" y="485"/>
                    <a:pt x="60" y="487"/>
                  </a:cubicBezTo>
                  <a:cubicBezTo>
                    <a:pt x="60" y="489"/>
                    <a:pt x="60" y="489"/>
                    <a:pt x="58" y="490"/>
                  </a:cubicBezTo>
                  <a:cubicBezTo>
                    <a:pt x="57" y="490"/>
                    <a:pt x="55" y="491"/>
                    <a:pt x="54" y="491"/>
                  </a:cubicBezTo>
                  <a:cubicBezTo>
                    <a:pt x="54" y="491"/>
                    <a:pt x="54" y="491"/>
                    <a:pt x="53" y="491"/>
                  </a:cubicBezTo>
                  <a:cubicBezTo>
                    <a:pt x="52" y="490"/>
                    <a:pt x="52" y="490"/>
                    <a:pt x="51" y="490"/>
                  </a:cubicBezTo>
                  <a:cubicBezTo>
                    <a:pt x="51" y="490"/>
                    <a:pt x="50" y="490"/>
                    <a:pt x="50" y="490"/>
                  </a:cubicBezTo>
                  <a:cubicBezTo>
                    <a:pt x="48" y="492"/>
                    <a:pt x="49" y="495"/>
                    <a:pt x="49" y="496"/>
                  </a:cubicBezTo>
                  <a:cubicBezTo>
                    <a:pt x="50" y="501"/>
                    <a:pt x="48" y="503"/>
                    <a:pt x="50" y="507"/>
                  </a:cubicBezTo>
                  <a:cubicBezTo>
                    <a:pt x="54" y="513"/>
                    <a:pt x="51" y="519"/>
                    <a:pt x="52" y="525"/>
                  </a:cubicBezTo>
                  <a:cubicBezTo>
                    <a:pt x="53" y="533"/>
                    <a:pt x="56" y="540"/>
                    <a:pt x="58" y="547"/>
                  </a:cubicBezTo>
                  <a:cubicBezTo>
                    <a:pt x="59" y="553"/>
                    <a:pt x="57" y="559"/>
                    <a:pt x="55" y="564"/>
                  </a:cubicBezTo>
                  <a:cubicBezTo>
                    <a:pt x="55" y="563"/>
                    <a:pt x="54" y="562"/>
                    <a:pt x="54" y="562"/>
                  </a:cubicBezTo>
                  <a:cubicBezTo>
                    <a:pt x="52" y="562"/>
                    <a:pt x="50" y="564"/>
                    <a:pt x="49" y="565"/>
                  </a:cubicBezTo>
                  <a:cubicBezTo>
                    <a:pt x="47" y="568"/>
                    <a:pt x="47" y="572"/>
                    <a:pt x="47" y="575"/>
                  </a:cubicBezTo>
                  <a:cubicBezTo>
                    <a:pt x="45" y="581"/>
                    <a:pt x="43" y="587"/>
                    <a:pt x="41" y="592"/>
                  </a:cubicBezTo>
                  <a:cubicBezTo>
                    <a:pt x="40" y="596"/>
                    <a:pt x="43" y="602"/>
                    <a:pt x="44" y="605"/>
                  </a:cubicBezTo>
                  <a:cubicBezTo>
                    <a:pt x="45" y="607"/>
                    <a:pt x="45" y="609"/>
                    <a:pt x="47" y="610"/>
                  </a:cubicBezTo>
                  <a:cubicBezTo>
                    <a:pt x="48" y="610"/>
                    <a:pt x="48" y="611"/>
                    <a:pt x="49" y="611"/>
                  </a:cubicBezTo>
                  <a:cubicBezTo>
                    <a:pt x="51" y="611"/>
                    <a:pt x="52" y="610"/>
                    <a:pt x="53" y="609"/>
                  </a:cubicBezTo>
                  <a:cubicBezTo>
                    <a:pt x="51" y="613"/>
                    <a:pt x="48" y="610"/>
                    <a:pt x="47" y="615"/>
                  </a:cubicBezTo>
                  <a:cubicBezTo>
                    <a:pt x="47" y="615"/>
                    <a:pt x="47" y="615"/>
                    <a:pt x="47" y="615"/>
                  </a:cubicBezTo>
                  <a:cubicBezTo>
                    <a:pt x="49" y="615"/>
                    <a:pt x="50" y="615"/>
                    <a:pt x="51" y="616"/>
                  </a:cubicBezTo>
                  <a:cubicBezTo>
                    <a:pt x="52" y="616"/>
                    <a:pt x="53" y="616"/>
                    <a:pt x="54" y="616"/>
                  </a:cubicBezTo>
                  <a:cubicBezTo>
                    <a:pt x="54" y="616"/>
                    <a:pt x="54" y="616"/>
                    <a:pt x="55" y="616"/>
                  </a:cubicBezTo>
                  <a:cubicBezTo>
                    <a:pt x="55" y="615"/>
                    <a:pt x="60" y="616"/>
                    <a:pt x="61" y="615"/>
                  </a:cubicBezTo>
                  <a:cubicBezTo>
                    <a:pt x="63" y="613"/>
                    <a:pt x="61" y="610"/>
                    <a:pt x="63" y="610"/>
                  </a:cubicBezTo>
                  <a:cubicBezTo>
                    <a:pt x="63" y="610"/>
                    <a:pt x="63" y="610"/>
                    <a:pt x="64" y="610"/>
                  </a:cubicBezTo>
                  <a:cubicBezTo>
                    <a:pt x="66" y="611"/>
                    <a:pt x="71" y="614"/>
                    <a:pt x="74" y="614"/>
                  </a:cubicBezTo>
                  <a:cubicBezTo>
                    <a:pt x="75" y="614"/>
                    <a:pt x="75" y="614"/>
                    <a:pt x="76" y="613"/>
                  </a:cubicBezTo>
                  <a:cubicBezTo>
                    <a:pt x="72" y="615"/>
                    <a:pt x="69" y="617"/>
                    <a:pt x="67" y="620"/>
                  </a:cubicBezTo>
                  <a:cubicBezTo>
                    <a:pt x="67" y="620"/>
                    <a:pt x="70" y="622"/>
                    <a:pt x="71" y="622"/>
                  </a:cubicBezTo>
                  <a:cubicBezTo>
                    <a:pt x="71" y="623"/>
                    <a:pt x="72" y="623"/>
                    <a:pt x="72" y="623"/>
                  </a:cubicBezTo>
                  <a:cubicBezTo>
                    <a:pt x="74" y="623"/>
                    <a:pt x="75" y="622"/>
                    <a:pt x="77" y="621"/>
                  </a:cubicBezTo>
                  <a:cubicBezTo>
                    <a:pt x="76" y="623"/>
                    <a:pt x="79" y="634"/>
                    <a:pt x="78" y="635"/>
                  </a:cubicBezTo>
                  <a:cubicBezTo>
                    <a:pt x="77" y="635"/>
                    <a:pt x="77" y="635"/>
                    <a:pt x="77" y="635"/>
                  </a:cubicBezTo>
                  <a:cubicBezTo>
                    <a:pt x="77" y="635"/>
                    <a:pt x="76" y="632"/>
                    <a:pt x="76" y="631"/>
                  </a:cubicBezTo>
                  <a:cubicBezTo>
                    <a:pt x="75" y="630"/>
                    <a:pt x="75" y="628"/>
                    <a:pt x="74" y="627"/>
                  </a:cubicBezTo>
                  <a:cubicBezTo>
                    <a:pt x="74" y="627"/>
                    <a:pt x="73" y="627"/>
                    <a:pt x="73" y="627"/>
                  </a:cubicBezTo>
                  <a:cubicBezTo>
                    <a:pt x="72" y="627"/>
                    <a:pt x="69" y="629"/>
                    <a:pt x="68" y="630"/>
                  </a:cubicBezTo>
                  <a:cubicBezTo>
                    <a:pt x="69" y="631"/>
                    <a:pt x="70" y="633"/>
                    <a:pt x="71" y="634"/>
                  </a:cubicBezTo>
                  <a:cubicBezTo>
                    <a:pt x="72" y="636"/>
                    <a:pt x="73" y="636"/>
                    <a:pt x="75" y="638"/>
                  </a:cubicBezTo>
                  <a:cubicBezTo>
                    <a:pt x="73" y="637"/>
                    <a:pt x="72" y="636"/>
                    <a:pt x="71" y="636"/>
                  </a:cubicBezTo>
                  <a:cubicBezTo>
                    <a:pt x="70" y="636"/>
                    <a:pt x="69" y="636"/>
                    <a:pt x="68" y="638"/>
                  </a:cubicBezTo>
                  <a:cubicBezTo>
                    <a:pt x="65" y="642"/>
                    <a:pt x="69" y="648"/>
                    <a:pt x="70" y="652"/>
                  </a:cubicBezTo>
                  <a:cubicBezTo>
                    <a:pt x="69" y="651"/>
                    <a:pt x="69" y="650"/>
                    <a:pt x="68" y="650"/>
                  </a:cubicBezTo>
                  <a:cubicBezTo>
                    <a:pt x="68" y="650"/>
                    <a:pt x="68" y="651"/>
                    <a:pt x="68" y="651"/>
                  </a:cubicBezTo>
                  <a:cubicBezTo>
                    <a:pt x="67" y="651"/>
                    <a:pt x="67" y="655"/>
                    <a:pt x="66" y="657"/>
                  </a:cubicBezTo>
                  <a:cubicBezTo>
                    <a:pt x="65" y="658"/>
                    <a:pt x="64" y="659"/>
                    <a:pt x="63" y="660"/>
                  </a:cubicBezTo>
                  <a:cubicBezTo>
                    <a:pt x="61" y="663"/>
                    <a:pt x="63" y="667"/>
                    <a:pt x="66" y="667"/>
                  </a:cubicBezTo>
                  <a:cubicBezTo>
                    <a:pt x="65" y="668"/>
                    <a:pt x="64" y="669"/>
                    <a:pt x="63" y="670"/>
                  </a:cubicBezTo>
                  <a:cubicBezTo>
                    <a:pt x="64" y="670"/>
                    <a:pt x="66" y="670"/>
                    <a:pt x="67" y="670"/>
                  </a:cubicBezTo>
                  <a:cubicBezTo>
                    <a:pt x="68" y="670"/>
                    <a:pt x="69" y="670"/>
                    <a:pt x="68" y="673"/>
                  </a:cubicBezTo>
                  <a:cubicBezTo>
                    <a:pt x="68" y="672"/>
                    <a:pt x="67" y="672"/>
                    <a:pt x="67" y="672"/>
                  </a:cubicBezTo>
                  <a:cubicBezTo>
                    <a:pt x="66" y="672"/>
                    <a:pt x="66" y="672"/>
                    <a:pt x="65" y="673"/>
                  </a:cubicBezTo>
                  <a:cubicBezTo>
                    <a:pt x="64" y="673"/>
                    <a:pt x="63" y="678"/>
                    <a:pt x="62" y="679"/>
                  </a:cubicBezTo>
                  <a:cubicBezTo>
                    <a:pt x="61" y="681"/>
                    <a:pt x="59" y="682"/>
                    <a:pt x="58" y="683"/>
                  </a:cubicBezTo>
                  <a:cubicBezTo>
                    <a:pt x="59" y="684"/>
                    <a:pt x="60" y="685"/>
                    <a:pt x="62" y="686"/>
                  </a:cubicBezTo>
                  <a:cubicBezTo>
                    <a:pt x="63" y="686"/>
                    <a:pt x="64" y="686"/>
                    <a:pt x="65" y="687"/>
                  </a:cubicBezTo>
                  <a:cubicBezTo>
                    <a:pt x="67" y="689"/>
                    <a:pt x="69" y="693"/>
                    <a:pt x="73" y="693"/>
                  </a:cubicBezTo>
                  <a:cubicBezTo>
                    <a:pt x="73" y="693"/>
                    <a:pt x="73" y="692"/>
                    <a:pt x="73" y="692"/>
                  </a:cubicBezTo>
                  <a:cubicBezTo>
                    <a:pt x="71" y="693"/>
                    <a:pt x="72" y="696"/>
                    <a:pt x="71" y="697"/>
                  </a:cubicBezTo>
                  <a:cubicBezTo>
                    <a:pt x="70" y="700"/>
                    <a:pt x="71" y="699"/>
                    <a:pt x="69" y="700"/>
                  </a:cubicBezTo>
                  <a:cubicBezTo>
                    <a:pt x="68" y="701"/>
                    <a:pt x="66" y="702"/>
                    <a:pt x="65" y="703"/>
                  </a:cubicBezTo>
                  <a:cubicBezTo>
                    <a:pt x="63" y="703"/>
                    <a:pt x="62" y="704"/>
                    <a:pt x="61" y="705"/>
                  </a:cubicBezTo>
                  <a:cubicBezTo>
                    <a:pt x="60" y="705"/>
                    <a:pt x="59" y="705"/>
                    <a:pt x="58" y="706"/>
                  </a:cubicBezTo>
                  <a:cubicBezTo>
                    <a:pt x="52" y="707"/>
                    <a:pt x="57" y="708"/>
                    <a:pt x="57" y="711"/>
                  </a:cubicBezTo>
                  <a:cubicBezTo>
                    <a:pt x="57" y="712"/>
                    <a:pt x="51" y="715"/>
                    <a:pt x="55" y="715"/>
                  </a:cubicBezTo>
                  <a:cubicBezTo>
                    <a:pt x="55" y="715"/>
                    <a:pt x="55" y="715"/>
                    <a:pt x="55" y="715"/>
                  </a:cubicBezTo>
                  <a:cubicBezTo>
                    <a:pt x="56" y="715"/>
                    <a:pt x="57" y="715"/>
                    <a:pt x="57" y="714"/>
                  </a:cubicBezTo>
                  <a:cubicBezTo>
                    <a:pt x="57" y="714"/>
                    <a:pt x="58" y="714"/>
                    <a:pt x="58" y="714"/>
                  </a:cubicBezTo>
                  <a:cubicBezTo>
                    <a:pt x="58" y="714"/>
                    <a:pt x="59" y="714"/>
                    <a:pt x="59" y="714"/>
                  </a:cubicBezTo>
                  <a:cubicBezTo>
                    <a:pt x="61" y="714"/>
                    <a:pt x="63" y="717"/>
                    <a:pt x="65" y="718"/>
                  </a:cubicBezTo>
                  <a:cubicBezTo>
                    <a:pt x="66" y="719"/>
                    <a:pt x="70" y="720"/>
                    <a:pt x="66" y="720"/>
                  </a:cubicBezTo>
                  <a:cubicBezTo>
                    <a:pt x="66" y="720"/>
                    <a:pt x="66" y="720"/>
                    <a:pt x="66" y="720"/>
                  </a:cubicBezTo>
                  <a:cubicBezTo>
                    <a:pt x="65" y="720"/>
                    <a:pt x="64" y="719"/>
                    <a:pt x="63" y="719"/>
                  </a:cubicBezTo>
                  <a:cubicBezTo>
                    <a:pt x="62" y="718"/>
                    <a:pt x="60" y="715"/>
                    <a:pt x="58" y="715"/>
                  </a:cubicBezTo>
                  <a:cubicBezTo>
                    <a:pt x="57" y="715"/>
                    <a:pt x="57" y="716"/>
                    <a:pt x="57" y="718"/>
                  </a:cubicBezTo>
                  <a:cubicBezTo>
                    <a:pt x="56" y="717"/>
                    <a:pt x="56" y="717"/>
                    <a:pt x="56" y="717"/>
                  </a:cubicBezTo>
                  <a:cubicBezTo>
                    <a:pt x="54" y="721"/>
                    <a:pt x="52" y="725"/>
                    <a:pt x="51" y="729"/>
                  </a:cubicBezTo>
                  <a:cubicBezTo>
                    <a:pt x="52" y="728"/>
                    <a:pt x="53" y="726"/>
                    <a:pt x="54" y="726"/>
                  </a:cubicBezTo>
                  <a:cubicBezTo>
                    <a:pt x="55" y="725"/>
                    <a:pt x="56" y="725"/>
                    <a:pt x="56" y="725"/>
                  </a:cubicBezTo>
                  <a:cubicBezTo>
                    <a:pt x="57" y="725"/>
                    <a:pt x="58" y="726"/>
                    <a:pt x="60" y="726"/>
                  </a:cubicBezTo>
                  <a:cubicBezTo>
                    <a:pt x="58" y="727"/>
                    <a:pt x="56" y="726"/>
                    <a:pt x="54" y="727"/>
                  </a:cubicBezTo>
                  <a:cubicBezTo>
                    <a:pt x="53" y="728"/>
                    <a:pt x="53" y="729"/>
                    <a:pt x="52" y="730"/>
                  </a:cubicBezTo>
                  <a:cubicBezTo>
                    <a:pt x="52" y="732"/>
                    <a:pt x="50" y="734"/>
                    <a:pt x="49" y="736"/>
                  </a:cubicBezTo>
                  <a:cubicBezTo>
                    <a:pt x="49" y="737"/>
                    <a:pt x="47" y="744"/>
                    <a:pt x="48" y="745"/>
                  </a:cubicBezTo>
                  <a:cubicBezTo>
                    <a:pt x="48" y="745"/>
                    <a:pt x="48" y="745"/>
                    <a:pt x="49" y="745"/>
                  </a:cubicBezTo>
                  <a:cubicBezTo>
                    <a:pt x="49" y="745"/>
                    <a:pt x="50" y="742"/>
                    <a:pt x="50" y="742"/>
                  </a:cubicBezTo>
                  <a:cubicBezTo>
                    <a:pt x="50" y="742"/>
                    <a:pt x="51" y="742"/>
                    <a:pt x="51" y="742"/>
                  </a:cubicBezTo>
                  <a:cubicBezTo>
                    <a:pt x="52" y="742"/>
                    <a:pt x="52" y="744"/>
                    <a:pt x="52" y="745"/>
                  </a:cubicBezTo>
                  <a:cubicBezTo>
                    <a:pt x="52" y="746"/>
                    <a:pt x="48" y="749"/>
                    <a:pt x="47" y="751"/>
                  </a:cubicBezTo>
                  <a:cubicBezTo>
                    <a:pt x="47" y="751"/>
                    <a:pt x="47" y="751"/>
                    <a:pt x="47" y="751"/>
                  </a:cubicBezTo>
                  <a:cubicBezTo>
                    <a:pt x="46" y="751"/>
                    <a:pt x="46" y="751"/>
                    <a:pt x="45" y="752"/>
                  </a:cubicBezTo>
                  <a:cubicBezTo>
                    <a:pt x="45" y="752"/>
                    <a:pt x="44" y="753"/>
                    <a:pt x="43" y="753"/>
                  </a:cubicBezTo>
                  <a:cubicBezTo>
                    <a:pt x="43" y="753"/>
                    <a:pt x="43" y="753"/>
                    <a:pt x="42" y="752"/>
                  </a:cubicBezTo>
                  <a:cubicBezTo>
                    <a:pt x="40" y="751"/>
                    <a:pt x="45" y="748"/>
                    <a:pt x="46" y="746"/>
                  </a:cubicBezTo>
                  <a:cubicBezTo>
                    <a:pt x="47" y="743"/>
                    <a:pt x="46" y="740"/>
                    <a:pt x="43" y="740"/>
                  </a:cubicBezTo>
                  <a:cubicBezTo>
                    <a:pt x="42" y="740"/>
                    <a:pt x="41" y="741"/>
                    <a:pt x="41" y="742"/>
                  </a:cubicBezTo>
                  <a:cubicBezTo>
                    <a:pt x="42" y="742"/>
                    <a:pt x="43" y="744"/>
                    <a:pt x="44" y="745"/>
                  </a:cubicBezTo>
                  <a:cubicBezTo>
                    <a:pt x="43" y="745"/>
                    <a:pt x="42" y="744"/>
                    <a:pt x="41" y="744"/>
                  </a:cubicBezTo>
                  <a:cubicBezTo>
                    <a:pt x="40" y="744"/>
                    <a:pt x="40" y="744"/>
                    <a:pt x="40" y="745"/>
                  </a:cubicBezTo>
                  <a:cubicBezTo>
                    <a:pt x="40" y="744"/>
                    <a:pt x="40" y="742"/>
                    <a:pt x="40" y="741"/>
                  </a:cubicBezTo>
                  <a:cubicBezTo>
                    <a:pt x="38" y="742"/>
                    <a:pt x="36" y="743"/>
                    <a:pt x="34" y="743"/>
                  </a:cubicBezTo>
                  <a:cubicBezTo>
                    <a:pt x="32" y="743"/>
                    <a:pt x="31" y="742"/>
                    <a:pt x="30" y="740"/>
                  </a:cubicBezTo>
                  <a:cubicBezTo>
                    <a:pt x="31" y="742"/>
                    <a:pt x="32" y="742"/>
                    <a:pt x="34" y="742"/>
                  </a:cubicBezTo>
                  <a:cubicBezTo>
                    <a:pt x="35" y="742"/>
                    <a:pt x="36" y="742"/>
                    <a:pt x="37" y="742"/>
                  </a:cubicBezTo>
                  <a:cubicBezTo>
                    <a:pt x="38" y="741"/>
                    <a:pt x="43" y="739"/>
                    <a:pt x="42" y="737"/>
                  </a:cubicBezTo>
                  <a:cubicBezTo>
                    <a:pt x="42" y="737"/>
                    <a:pt x="41" y="736"/>
                    <a:pt x="41" y="736"/>
                  </a:cubicBezTo>
                  <a:cubicBezTo>
                    <a:pt x="40" y="736"/>
                    <a:pt x="39" y="739"/>
                    <a:pt x="38" y="739"/>
                  </a:cubicBezTo>
                  <a:cubicBezTo>
                    <a:pt x="39" y="738"/>
                    <a:pt x="40" y="735"/>
                    <a:pt x="40" y="734"/>
                  </a:cubicBezTo>
                  <a:cubicBezTo>
                    <a:pt x="40" y="733"/>
                    <a:pt x="39" y="733"/>
                    <a:pt x="38" y="733"/>
                  </a:cubicBezTo>
                  <a:cubicBezTo>
                    <a:pt x="38" y="733"/>
                    <a:pt x="38" y="733"/>
                    <a:pt x="38" y="733"/>
                  </a:cubicBezTo>
                  <a:cubicBezTo>
                    <a:pt x="38" y="732"/>
                    <a:pt x="39" y="731"/>
                    <a:pt x="38" y="730"/>
                  </a:cubicBezTo>
                  <a:cubicBezTo>
                    <a:pt x="38" y="730"/>
                    <a:pt x="37" y="730"/>
                    <a:pt x="37" y="730"/>
                  </a:cubicBezTo>
                  <a:cubicBezTo>
                    <a:pt x="36" y="730"/>
                    <a:pt x="35" y="730"/>
                    <a:pt x="34" y="730"/>
                  </a:cubicBezTo>
                  <a:cubicBezTo>
                    <a:pt x="34" y="730"/>
                    <a:pt x="34" y="730"/>
                    <a:pt x="34" y="730"/>
                  </a:cubicBezTo>
                  <a:cubicBezTo>
                    <a:pt x="33" y="730"/>
                    <a:pt x="33" y="730"/>
                    <a:pt x="33" y="730"/>
                  </a:cubicBezTo>
                  <a:cubicBezTo>
                    <a:pt x="32" y="730"/>
                    <a:pt x="32" y="730"/>
                    <a:pt x="32" y="730"/>
                  </a:cubicBezTo>
                  <a:cubicBezTo>
                    <a:pt x="31" y="730"/>
                    <a:pt x="30" y="731"/>
                    <a:pt x="30" y="733"/>
                  </a:cubicBezTo>
                  <a:cubicBezTo>
                    <a:pt x="30" y="733"/>
                    <a:pt x="30" y="733"/>
                    <a:pt x="30" y="733"/>
                  </a:cubicBezTo>
                  <a:cubicBezTo>
                    <a:pt x="29" y="733"/>
                    <a:pt x="29" y="733"/>
                    <a:pt x="28" y="732"/>
                  </a:cubicBezTo>
                  <a:cubicBezTo>
                    <a:pt x="28" y="731"/>
                    <a:pt x="28" y="731"/>
                    <a:pt x="27" y="731"/>
                  </a:cubicBezTo>
                  <a:cubicBezTo>
                    <a:pt x="26" y="731"/>
                    <a:pt x="25" y="731"/>
                    <a:pt x="24" y="732"/>
                  </a:cubicBezTo>
                  <a:cubicBezTo>
                    <a:pt x="25" y="731"/>
                    <a:pt x="25" y="730"/>
                    <a:pt x="24" y="730"/>
                  </a:cubicBezTo>
                  <a:cubicBezTo>
                    <a:pt x="22" y="730"/>
                    <a:pt x="20" y="732"/>
                    <a:pt x="19" y="732"/>
                  </a:cubicBezTo>
                  <a:cubicBezTo>
                    <a:pt x="19" y="732"/>
                    <a:pt x="20" y="733"/>
                    <a:pt x="21" y="733"/>
                  </a:cubicBezTo>
                  <a:cubicBezTo>
                    <a:pt x="19" y="733"/>
                    <a:pt x="18" y="732"/>
                    <a:pt x="17" y="732"/>
                  </a:cubicBezTo>
                  <a:cubicBezTo>
                    <a:pt x="16" y="732"/>
                    <a:pt x="16" y="732"/>
                    <a:pt x="15" y="732"/>
                  </a:cubicBezTo>
                  <a:cubicBezTo>
                    <a:pt x="17" y="736"/>
                    <a:pt x="17" y="734"/>
                    <a:pt x="21" y="736"/>
                  </a:cubicBezTo>
                  <a:cubicBezTo>
                    <a:pt x="19" y="736"/>
                    <a:pt x="13" y="737"/>
                    <a:pt x="17" y="739"/>
                  </a:cubicBezTo>
                  <a:cubicBezTo>
                    <a:pt x="18" y="739"/>
                    <a:pt x="18" y="739"/>
                    <a:pt x="18" y="739"/>
                  </a:cubicBezTo>
                  <a:cubicBezTo>
                    <a:pt x="21" y="739"/>
                    <a:pt x="22" y="734"/>
                    <a:pt x="24" y="733"/>
                  </a:cubicBezTo>
                  <a:cubicBezTo>
                    <a:pt x="24" y="736"/>
                    <a:pt x="24" y="739"/>
                    <a:pt x="23" y="742"/>
                  </a:cubicBezTo>
                  <a:cubicBezTo>
                    <a:pt x="22" y="741"/>
                    <a:pt x="22" y="741"/>
                    <a:pt x="22" y="741"/>
                  </a:cubicBezTo>
                  <a:cubicBezTo>
                    <a:pt x="21" y="741"/>
                    <a:pt x="20" y="743"/>
                    <a:pt x="18" y="743"/>
                  </a:cubicBezTo>
                  <a:cubicBezTo>
                    <a:pt x="18" y="743"/>
                    <a:pt x="18" y="743"/>
                    <a:pt x="18" y="743"/>
                  </a:cubicBezTo>
                  <a:cubicBezTo>
                    <a:pt x="18" y="743"/>
                    <a:pt x="17" y="743"/>
                    <a:pt x="17" y="743"/>
                  </a:cubicBezTo>
                  <a:cubicBezTo>
                    <a:pt x="17" y="743"/>
                    <a:pt x="16" y="743"/>
                    <a:pt x="16" y="743"/>
                  </a:cubicBezTo>
                  <a:cubicBezTo>
                    <a:pt x="16" y="743"/>
                    <a:pt x="15" y="743"/>
                    <a:pt x="15" y="743"/>
                  </a:cubicBezTo>
                  <a:cubicBezTo>
                    <a:pt x="14" y="745"/>
                    <a:pt x="16" y="745"/>
                    <a:pt x="17" y="746"/>
                  </a:cubicBezTo>
                  <a:cubicBezTo>
                    <a:pt x="16" y="746"/>
                    <a:pt x="16" y="745"/>
                    <a:pt x="15" y="745"/>
                  </a:cubicBezTo>
                  <a:cubicBezTo>
                    <a:pt x="14" y="745"/>
                    <a:pt x="14" y="746"/>
                    <a:pt x="13" y="747"/>
                  </a:cubicBezTo>
                  <a:cubicBezTo>
                    <a:pt x="13" y="747"/>
                    <a:pt x="13" y="747"/>
                    <a:pt x="13" y="747"/>
                  </a:cubicBezTo>
                  <a:cubicBezTo>
                    <a:pt x="13" y="747"/>
                    <a:pt x="12" y="747"/>
                    <a:pt x="12" y="746"/>
                  </a:cubicBezTo>
                  <a:cubicBezTo>
                    <a:pt x="12" y="746"/>
                    <a:pt x="12" y="746"/>
                    <a:pt x="12" y="746"/>
                  </a:cubicBezTo>
                  <a:cubicBezTo>
                    <a:pt x="12" y="746"/>
                    <a:pt x="12" y="746"/>
                    <a:pt x="12" y="746"/>
                  </a:cubicBezTo>
                  <a:cubicBezTo>
                    <a:pt x="11" y="747"/>
                    <a:pt x="10" y="748"/>
                    <a:pt x="9" y="749"/>
                  </a:cubicBezTo>
                  <a:cubicBezTo>
                    <a:pt x="7" y="752"/>
                    <a:pt x="0" y="752"/>
                    <a:pt x="1" y="758"/>
                  </a:cubicBezTo>
                  <a:cubicBezTo>
                    <a:pt x="2" y="759"/>
                    <a:pt x="3" y="761"/>
                    <a:pt x="4" y="762"/>
                  </a:cubicBezTo>
                  <a:cubicBezTo>
                    <a:pt x="5" y="762"/>
                    <a:pt x="5" y="762"/>
                    <a:pt x="6" y="762"/>
                  </a:cubicBezTo>
                  <a:cubicBezTo>
                    <a:pt x="8" y="762"/>
                    <a:pt x="11" y="760"/>
                    <a:pt x="8" y="760"/>
                  </a:cubicBezTo>
                  <a:cubicBezTo>
                    <a:pt x="10" y="758"/>
                    <a:pt x="8" y="759"/>
                    <a:pt x="8" y="758"/>
                  </a:cubicBezTo>
                  <a:cubicBezTo>
                    <a:pt x="7" y="757"/>
                    <a:pt x="9" y="757"/>
                    <a:pt x="7" y="756"/>
                  </a:cubicBezTo>
                  <a:cubicBezTo>
                    <a:pt x="7" y="756"/>
                    <a:pt x="7" y="756"/>
                    <a:pt x="7" y="756"/>
                  </a:cubicBezTo>
                  <a:cubicBezTo>
                    <a:pt x="6" y="756"/>
                    <a:pt x="4" y="757"/>
                    <a:pt x="3" y="757"/>
                  </a:cubicBezTo>
                  <a:cubicBezTo>
                    <a:pt x="4" y="756"/>
                    <a:pt x="6" y="755"/>
                    <a:pt x="8" y="754"/>
                  </a:cubicBezTo>
                  <a:cubicBezTo>
                    <a:pt x="8" y="754"/>
                    <a:pt x="8" y="754"/>
                    <a:pt x="8" y="754"/>
                  </a:cubicBezTo>
                  <a:cubicBezTo>
                    <a:pt x="9" y="754"/>
                    <a:pt x="9" y="754"/>
                    <a:pt x="9" y="754"/>
                  </a:cubicBezTo>
                  <a:cubicBezTo>
                    <a:pt x="9" y="754"/>
                    <a:pt x="10" y="754"/>
                    <a:pt x="10" y="754"/>
                  </a:cubicBezTo>
                  <a:cubicBezTo>
                    <a:pt x="11" y="754"/>
                    <a:pt x="12" y="754"/>
                    <a:pt x="13" y="753"/>
                  </a:cubicBezTo>
                  <a:cubicBezTo>
                    <a:pt x="13" y="753"/>
                    <a:pt x="13" y="753"/>
                    <a:pt x="14" y="753"/>
                  </a:cubicBezTo>
                  <a:cubicBezTo>
                    <a:pt x="15" y="753"/>
                    <a:pt x="16" y="752"/>
                    <a:pt x="17" y="751"/>
                  </a:cubicBezTo>
                  <a:cubicBezTo>
                    <a:pt x="16" y="755"/>
                    <a:pt x="17" y="758"/>
                    <a:pt x="21" y="759"/>
                  </a:cubicBezTo>
                  <a:cubicBezTo>
                    <a:pt x="21" y="759"/>
                    <a:pt x="21" y="759"/>
                    <a:pt x="21" y="759"/>
                  </a:cubicBezTo>
                  <a:cubicBezTo>
                    <a:pt x="21" y="759"/>
                    <a:pt x="21" y="759"/>
                    <a:pt x="21" y="759"/>
                  </a:cubicBezTo>
                  <a:cubicBezTo>
                    <a:pt x="22" y="758"/>
                    <a:pt x="22" y="758"/>
                    <a:pt x="22" y="758"/>
                  </a:cubicBezTo>
                  <a:cubicBezTo>
                    <a:pt x="22" y="758"/>
                    <a:pt x="22" y="758"/>
                    <a:pt x="22" y="758"/>
                  </a:cubicBezTo>
                  <a:cubicBezTo>
                    <a:pt x="22" y="758"/>
                    <a:pt x="22" y="759"/>
                    <a:pt x="23" y="759"/>
                  </a:cubicBezTo>
                  <a:cubicBezTo>
                    <a:pt x="24" y="759"/>
                    <a:pt x="24" y="760"/>
                    <a:pt x="25" y="760"/>
                  </a:cubicBezTo>
                  <a:cubicBezTo>
                    <a:pt x="25" y="761"/>
                    <a:pt x="27" y="761"/>
                    <a:pt x="28" y="761"/>
                  </a:cubicBezTo>
                  <a:cubicBezTo>
                    <a:pt x="29" y="761"/>
                    <a:pt x="30" y="761"/>
                    <a:pt x="31" y="760"/>
                  </a:cubicBezTo>
                  <a:cubicBezTo>
                    <a:pt x="31" y="760"/>
                    <a:pt x="31" y="760"/>
                    <a:pt x="30" y="760"/>
                  </a:cubicBezTo>
                  <a:cubicBezTo>
                    <a:pt x="29" y="760"/>
                    <a:pt x="27" y="759"/>
                    <a:pt x="26" y="758"/>
                  </a:cubicBezTo>
                  <a:cubicBezTo>
                    <a:pt x="27" y="758"/>
                    <a:pt x="27" y="758"/>
                    <a:pt x="27" y="758"/>
                  </a:cubicBezTo>
                  <a:cubicBezTo>
                    <a:pt x="28" y="758"/>
                    <a:pt x="29" y="758"/>
                    <a:pt x="30" y="758"/>
                  </a:cubicBezTo>
                  <a:cubicBezTo>
                    <a:pt x="29" y="758"/>
                    <a:pt x="28" y="757"/>
                    <a:pt x="28" y="757"/>
                  </a:cubicBezTo>
                  <a:cubicBezTo>
                    <a:pt x="30" y="758"/>
                    <a:pt x="33" y="757"/>
                    <a:pt x="34" y="759"/>
                  </a:cubicBezTo>
                  <a:cubicBezTo>
                    <a:pt x="35" y="759"/>
                    <a:pt x="35" y="760"/>
                    <a:pt x="35" y="761"/>
                  </a:cubicBezTo>
                  <a:cubicBezTo>
                    <a:pt x="37" y="763"/>
                    <a:pt x="39" y="764"/>
                    <a:pt x="41" y="765"/>
                  </a:cubicBezTo>
                  <a:cubicBezTo>
                    <a:pt x="43" y="766"/>
                    <a:pt x="42" y="770"/>
                    <a:pt x="42" y="772"/>
                  </a:cubicBezTo>
                  <a:cubicBezTo>
                    <a:pt x="41" y="771"/>
                    <a:pt x="41" y="771"/>
                    <a:pt x="41" y="770"/>
                  </a:cubicBezTo>
                  <a:cubicBezTo>
                    <a:pt x="40" y="771"/>
                    <a:pt x="39" y="773"/>
                    <a:pt x="38" y="775"/>
                  </a:cubicBezTo>
                  <a:cubicBezTo>
                    <a:pt x="37" y="773"/>
                    <a:pt x="38" y="771"/>
                    <a:pt x="36" y="771"/>
                  </a:cubicBezTo>
                  <a:cubicBezTo>
                    <a:pt x="36" y="771"/>
                    <a:pt x="36" y="771"/>
                    <a:pt x="36" y="771"/>
                  </a:cubicBezTo>
                  <a:cubicBezTo>
                    <a:pt x="34" y="771"/>
                    <a:pt x="30" y="775"/>
                    <a:pt x="29" y="777"/>
                  </a:cubicBezTo>
                  <a:cubicBezTo>
                    <a:pt x="29" y="778"/>
                    <a:pt x="29" y="778"/>
                    <a:pt x="29" y="778"/>
                  </a:cubicBezTo>
                  <a:cubicBezTo>
                    <a:pt x="29" y="778"/>
                    <a:pt x="30" y="778"/>
                    <a:pt x="30" y="777"/>
                  </a:cubicBezTo>
                  <a:cubicBezTo>
                    <a:pt x="30" y="779"/>
                    <a:pt x="31" y="779"/>
                    <a:pt x="32" y="780"/>
                  </a:cubicBezTo>
                  <a:cubicBezTo>
                    <a:pt x="33" y="782"/>
                    <a:pt x="33" y="782"/>
                    <a:pt x="33" y="782"/>
                  </a:cubicBezTo>
                  <a:cubicBezTo>
                    <a:pt x="34" y="782"/>
                    <a:pt x="34" y="782"/>
                    <a:pt x="35" y="782"/>
                  </a:cubicBezTo>
                  <a:cubicBezTo>
                    <a:pt x="35" y="782"/>
                    <a:pt x="36" y="782"/>
                    <a:pt x="36" y="782"/>
                  </a:cubicBezTo>
                  <a:cubicBezTo>
                    <a:pt x="36" y="782"/>
                    <a:pt x="36" y="782"/>
                    <a:pt x="37" y="782"/>
                  </a:cubicBezTo>
                  <a:cubicBezTo>
                    <a:pt x="38" y="782"/>
                    <a:pt x="39" y="782"/>
                    <a:pt x="40" y="783"/>
                  </a:cubicBezTo>
                  <a:cubicBezTo>
                    <a:pt x="39" y="783"/>
                    <a:pt x="39" y="783"/>
                    <a:pt x="39" y="783"/>
                  </a:cubicBezTo>
                  <a:cubicBezTo>
                    <a:pt x="38" y="783"/>
                    <a:pt x="38" y="783"/>
                    <a:pt x="38" y="783"/>
                  </a:cubicBezTo>
                  <a:cubicBezTo>
                    <a:pt x="38" y="783"/>
                    <a:pt x="38" y="783"/>
                    <a:pt x="37" y="783"/>
                  </a:cubicBezTo>
                  <a:cubicBezTo>
                    <a:pt x="37" y="783"/>
                    <a:pt x="36" y="783"/>
                    <a:pt x="35" y="784"/>
                  </a:cubicBezTo>
                  <a:cubicBezTo>
                    <a:pt x="36" y="784"/>
                    <a:pt x="37" y="784"/>
                    <a:pt x="38" y="784"/>
                  </a:cubicBezTo>
                  <a:cubicBezTo>
                    <a:pt x="34" y="784"/>
                    <a:pt x="33" y="786"/>
                    <a:pt x="37" y="787"/>
                  </a:cubicBezTo>
                  <a:cubicBezTo>
                    <a:pt x="37" y="787"/>
                    <a:pt x="37" y="787"/>
                    <a:pt x="36" y="787"/>
                  </a:cubicBezTo>
                  <a:cubicBezTo>
                    <a:pt x="35" y="787"/>
                    <a:pt x="35" y="786"/>
                    <a:pt x="34" y="786"/>
                  </a:cubicBezTo>
                  <a:cubicBezTo>
                    <a:pt x="33" y="785"/>
                    <a:pt x="34" y="785"/>
                    <a:pt x="33" y="784"/>
                  </a:cubicBezTo>
                  <a:cubicBezTo>
                    <a:pt x="33" y="784"/>
                    <a:pt x="33" y="784"/>
                    <a:pt x="33" y="784"/>
                  </a:cubicBezTo>
                  <a:cubicBezTo>
                    <a:pt x="32" y="784"/>
                    <a:pt x="31" y="785"/>
                    <a:pt x="30" y="785"/>
                  </a:cubicBezTo>
                  <a:cubicBezTo>
                    <a:pt x="31" y="784"/>
                    <a:pt x="33" y="784"/>
                    <a:pt x="32" y="782"/>
                  </a:cubicBezTo>
                  <a:cubicBezTo>
                    <a:pt x="32" y="782"/>
                    <a:pt x="32" y="782"/>
                    <a:pt x="32" y="782"/>
                  </a:cubicBezTo>
                  <a:cubicBezTo>
                    <a:pt x="31" y="782"/>
                    <a:pt x="32" y="781"/>
                    <a:pt x="31" y="781"/>
                  </a:cubicBezTo>
                  <a:cubicBezTo>
                    <a:pt x="30" y="781"/>
                    <a:pt x="29" y="783"/>
                    <a:pt x="28" y="784"/>
                  </a:cubicBezTo>
                  <a:cubicBezTo>
                    <a:pt x="27" y="785"/>
                    <a:pt x="23" y="784"/>
                    <a:pt x="25" y="787"/>
                  </a:cubicBezTo>
                  <a:cubicBezTo>
                    <a:pt x="26" y="787"/>
                    <a:pt x="27" y="787"/>
                    <a:pt x="27" y="787"/>
                  </a:cubicBezTo>
                  <a:cubicBezTo>
                    <a:pt x="28" y="787"/>
                    <a:pt x="28" y="787"/>
                    <a:pt x="29" y="787"/>
                  </a:cubicBezTo>
                  <a:cubicBezTo>
                    <a:pt x="29" y="787"/>
                    <a:pt x="29" y="787"/>
                    <a:pt x="30" y="787"/>
                  </a:cubicBezTo>
                  <a:cubicBezTo>
                    <a:pt x="30" y="787"/>
                    <a:pt x="30" y="787"/>
                    <a:pt x="30" y="787"/>
                  </a:cubicBezTo>
                  <a:cubicBezTo>
                    <a:pt x="32" y="787"/>
                    <a:pt x="33" y="787"/>
                    <a:pt x="35" y="787"/>
                  </a:cubicBezTo>
                  <a:cubicBezTo>
                    <a:pt x="37" y="787"/>
                    <a:pt x="40" y="789"/>
                    <a:pt x="42" y="789"/>
                  </a:cubicBezTo>
                  <a:cubicBezTo>
                    <a:pt x="43" y="789"/>
                    <a:pt x="43" y="789"/>
                    <a:pt x="43" y="789"/>
                  </a:cubicBezTo>
                  <a:cubicBezTo>
                    <a:pt x="47" y="788"/>
                    <a:pt x="46" y="784"/>
                    <a:pt x="49" y="782"/>
                  </a:cubicBezTo>
                  <a:cubicBezTo>
                    <a:pt x="49" y="784"/>
                    <a:pt x="48" y="785"/>
                    <a:pt x="48" y="788"/>
                  </a:cubicBezTo>
                  <a:cubicBezTo>
                    <a:pt x="48" y="789"/>
                    <a:pt x="50" y="790"/>
                    <a:pt x="51" y="791"/>
                  </a:cubicBezTo>
                  <a:cubicBezTo>
                    <a:pt x="54" y="794"/>
                    <a:pt x="55" y="792"/>
                    <a:pt x="59" y="794"/>
                  </a:cubicBezTo>
                  <a:cubicBezTo>
                    <a:pt x="58" y="794"/>
                    <a:pt x="56" y="794"/>
                    <a:pt x="55" y="794"/>
                  </a:cubicBezTo>
                  <a:cubicBezTo>
                    <a:pt x="54" y="793"/>
                    <a:pt x="52" y="793"/>
                    <a:pt x="51" y="793"/>
                  </a:cubicBezTo>
                  <a:cubicBezTo>
                    <a:pt x="50" y="793"/>
                    <a:pt x="50" y="793"/>
                    <a:pt x="50" y="793"/>
                  </a:cubicBezTo>
                  <a:cubicBezTo>
                    <a:pt x="49" y="794"/>
                    <a:pt x="52" y="797"/>
                    <a:pt x="53" y="798"/>
                  </a:cubicBezTo>
                  <a:cubicBezTo>
                    <a:pt x="54" y="798"/>
                    <a:pt x="55" y="799"/>
                    <a:pt x="55" y="799"/>
                  </a:cubicBezTo>
                  <a:cubicBezTo>
                    <a:pt x="56" y="799"/>
                    <a:pt x="57" y="798"/>
                    <a:pt x="58" y="797"/>
                  </a:cubicBezTo>
                  <a:cubicBezTo>
                    <a:pt x="58" y="799"/>
                    <a:pt x="57" y="799"/>
                    <a:pt x="56" y="800"/>
                  </a:cubicBezTo>
                  <a:cubicBezTo>
                    <a:pt x="55" y="800"/>
                    <a:pt x="54" y="799"/>
                    <a:pt x="53" y="799"/>
                  </a:cubicBezTo>
                  <a:cubicBezTo>
                    <a:pt x="53" y="799"/>
                    <a:pt x="52" y="800"/>
                    <a:pt x="51" y="801"/>
                  </a:cubicBezTo>
                  <a:cubicBezTo>
                    <a:pt x="50" y="800"/>
                    <a:pt x="51" y="799"/>
                    <a:pt x="50" y="798"/>
                  </a:cubicBezTo>
                  <a:cubicBezTo>
                    <a:pt x="49" y="797"/>
                    <a:pt x="47" y="797"/>
                    <a:pt x="46" y="797"/>
                  </a:cubicBezTo>
                  <a:cubicBezTo>
                    <a:pt x="47" y="796"/>
                    <a:pt x="47" y="795"/>
                    <a:pt x="46" y="795"/>
                  </a:cubicBezTo>
                  <a:cubicBezTo>
                    <a:pt x="46" y="795"/>
                    <a:pt x="45" y="796"/>
                    <a:pt x="44" y="797"/>
                  </a:cubicBezTo>
                  <a:cubicBezTo>
                    <a:pt x="45" y="795"/>
                    <a:pt x="40" y="794"/>
                    <a:pt x="37" y="794"/>
                  </a:cubicBezTo>
                  <a:cubicBezTo>
                    <a:pt x="35" y="794"/>
                    <a:pt x="34" y="794"/>
                    <a:pt x="33" y="795"/>
                  </a:cubicBezTo>
                  <a:cubicBezTo>
                    <a:pt x="34" y="796"/>
                    <a:pt x="38" y="801"/>
                    <a:pt x="36" y="801"/>
                  </a:cubicBezTo>
                  <a:cubicBezTo>
                    <a:pt x="36" y="801"/>
                    <a:pt x="36" y="801"/>
                    <a:pt x="36" y="800"/>
                  </a:cubicBezTo>
                  <a:cubicBezTo>
                    <a:pt x="34" y="800"/>
                    <a:pt x="35" y="798"/>
                    <a:pt x="34" y="796"/>
                  </a:cubicBezTo>
                  <a:cubicBezTo>
                    <a:pt x="33" y="794"/>
                    <a:pt x="31" y="793"/>
                    <a:pt x="30" y="793"/>
                  </a:cubicBezTo>
                  <a:cubicBezTo>
                    <a:pt x="30" y="793"/>
                    <a:pt x="30" y="793"/>
                    <a:pt x="30" y="793"/>
                  </a:cubicBezTo>
                  <a:cubicBezTo>
                    <a:pt x="26" y="793"/>
                    <a:pt x="26" y="797"/>
                    <a:pt x="27" y="797"/>
                  </a:cubicBezTo>
                  <a:cubicBezTo>
                    <a:pt x="28" y="797"/>
                    <a:pt x="28" y="796"/>
                    <a:pt x="29" y="796"/>
                  </a:cubicBezTo>
                  <a:cubicBezTo>
                    <a:pt x="29" y="798"/>
                    <a:pt x="31" y="799"/>
                    <a:pt x="33" y="800"/>
                  </a:cubicBezTo>
                  <a:cubicBezTo>
                    <a:pt x="33" y="801"/>
                    <a:pt x="35" y="804"/>
                    <a:pt x="35" y="804"/>
                  </a:cubicBezTo>
                  <a:cubicBezTo>
                    <a:pt x="35" y="804"/>
                    <a:pt x="35" y="804"/>
                    <a:pt x="35" y="804"/>
                  </a:cubicBezTo>
                  <a:cubicBezTo>
                    <a:pt x="35" y="804"/>
                    <a:pt x="36" y="804"/>
                    <a:pt x="36" y="804"/>
                  </a:cubicBezTo>
                  <a:cubicBezTo>
                    <a:pt x="37" y="803"/>
                    <a:pt x="38" y="803"/>
                    <a:pt x="38" y="803"/>
                  </a:cubicBezTo>
                  <a:cubicBezTo>
                    <a:pt x="38" y="803"/>
                    <a:pt x="39" y="803"/>
                    <a:pt x="39" y="803"/>
                  </a:cubicBezTo>
                  <a:cubicBezTo>
                    <a:pt x="38" y="804"/>
                    <a:pt x="37" y="804"/>
                    <a:pt x="36" y="805"/>
                  </a:cubicBezTo>
                  <a:cubicBezTo>
                    <a:pt x="36" y="805"/>
                    <a:pt x="36" y="805"/>
                    <a:pt x="36" y="805"/>
                  </a:cubicBezTo>
                  <a:cubicBezTo>
                    <a:pt x="37" y="805"/>
                    <a:pt x="38" y="805"/>
                    <a:pt x="40" y="805"/>
                  </a:cubicBezTo>
                  <a:cubicBezTo>
                    <a:pt x="41" y="806"/>
                    <a:pt x="42" y="806"/>
                    <a:pt x="43" y="806"/>
                  </a:cubicBezTo>
                  <a:cubicBezTo>
                    <a:pt x="43" y="806"/>
                    <a:pt x="43" y="806"/>
                    <a:pt x="43" y="806"/>
                  </a:cubicBezTo>
                  <a:cubicBezTo>
                    <a:pt x="42" y="807"/>
                    <a:pt x="43" y="811"/>
                    <a:pt x="41" y="812"/>
                  </a:cubicBezTo>
                  <a:cubicBezTo>
                    <a:pt x="41" y="812"/>
                    <a:pt x="41" y="812"/>
                    <a:pt x="41" y="812"/>
                  </a:cubicBezTo>
                  <a:cubicBezTo>
                    <a:pt x="40" y="812"/>
                    <a:pt x="41" y="811"/>
                    <a:pt x="40" y="810"/>
                  </a:cubicBezTo>
                  <a:cubicBezTo>
                    <a:pt x="39" y="810"/>
                    <a:pt x="37" y="808"/>
                    <a:pt x="36" y="808"/>
                  </a:cubicBezTo>
                  <a:cubicBezTo>
                    <a:pt x="36" y="808"/>
                    <a:pt x="36" y="808"/>
                    <a:pt x="36" y="808"/>
                  </a:cubicBezTo>
                  <a:cubicBezTo>
                    <a:pt x="34" y="809"/>
                    <a:pt x="32" y="813"/>
                    <a:pt x="33" y="814"/>
                  </a:cubicBezTo>
                  <a:cubicBezTo>
                    <a:pt x="33" y="815"/>
                    <a:pt x="34" y="815"/>
                    <a:pt x="36" y="815"/>
                  </a:cubicBezTo>
                  <a:cubicBezTo>
                    <a:pt x="36" y="815"/>
                    <a:pt x="36" y="815"/>
                    <a:pt x="36" y="815"/>
                  </a:cubicBezTo>
                  <a:cubicBezTo>
                    <a:pt x="36" y="815"/>
                    <a:pt x="36" y="815"/>
                    <a:pt x="37" y="815"/>
                  </a:cubicBezTo>
                  <a:cubicBezTo>
                    <a:pt x="37" y="815"/>
                    <a:pt x="39" y="816"/>
                    <a:pt x="40" y="816"/>
                  </a:cubicBezTo>
                  <a:cubicBezTo>
                    <a:pt x="38" y="816"/>
                    <a:pt x="33" y="816"/>
                    <a:pt x="32" y="818"/>
                  </a:cubicBezTo>
                  <a:cubicBezTo>
                    <a:pt x="30" y="819"/>
                    <a:pt x="31" y="818"/>
                    <a:pt x="31" y="820"/>
                  </a:cubicBezTo>
                  <a:cubicBezTo>
                    <a:pt x="31" y="820"/>
                    <a:pt x="32" y="821"/>
                    <a:pt x="31" y="822"/>
                  </a:cubicBezTo>
                  <a:cubicBezTo>
                    <a:pt x="31" y="823"/>
                    <a:pt x="30" y="824"/>
                    <a:pt x="30" y="825"/>
                  </a:cubicBezTo>
                  <a:cubicBezTo>
                    <a:pt x="30" y="826"/>
                    <a:pt x="31" y="826"/>
                    <a:pt x="31" y="826"/>
                  </a:cubicBezTo>
                  <a:cubicBezTo>
                    <a:pt x="31" y="826"/>
                    <a:pt x="31" y="826"/>
                    <a:pt x="31" y="826"/>
                  </a:cubicBezTo>
                  <a:cubicBezTo>
                    <a:pt x="31" y="826"/>
                    <a:pt x="31" y="827"/>
                    <a:pt x="31" y="828"/>
                  </a:cubicBezTo>
                  <a:cubicBezTo>
                    <a:pt x="32" y="831"/>
                    <a:pt x="31" y="834"/>
                    <a:pt x="32" y="836"/>
                  </a:cubicBezTo>
                  <a:cubicBezTo>
                    <a:pt x="33" y="838"/>
                    <a:pt x="34" y="839"/>
                    <a:pt x="36" y="839"/>
                  </a:cubicBezTo>
                  <a:cubicBezTo>
                    <a:pt x="36" y="839"/>
                    <a:pt x="36" y="839"/>
                    <a:pt x="37" y="839"/>
                  </a:cubicBezTo>
                  <a:cubicBezTo>
                    <a:pt x="38" y="837"/>
                    <a:pt x="37" y="832"/>
                    <a:pt x="37" y="830"/>
                  </a:cubicBezTo>
                  <a:cubicBezTo>
                    <a:pt x="37" y="830"/>
                    <a:pt x="38" y="831"/>
                    <a:pt x="38" y="831"/>
                  </a:cubicBezTo>
                  <a:cubicBezTo>
                    <a:pt x="39" y="831"/>
                    <a:pt x="40" y="829"/>
                    <a:pt x="40" y="828"/>
                  </a:cubicBezTo>
                  <a:cubicBezTo>
                    <a:pt x="40" y="826"/>
                    <a:pt x="40" y="824"/>
                    <a:pt x="41" y="824"/>
                  </a:cubicBezTo>
                  <a:cubicBezTo>
                    <a:pt x="41" y="824"/>
                    <a:pt x="42" y="824"/>
                    <a:pt x="43" y="825"/>
                  </a:cubicBezTo>
                  <a:cubicBezTo>
                    <a:pt x="42" y="826"/>
                    <a:pt x="41" y="830"/>
                    <a:pt x="41" y="831"/>
                  </a:cubicBezTo>
                  <a:cubicBezTo>
                    <a:pt x="41" y="833"/>
                    <a:pt x="43" y="833"/>
                    <a:pt x="44" y="834"/>
                  </a:cubicBezTo>
                  <a:cubicBezTo>
                    <a:pt x="44" y="834"/>
                    <a:pt x="44" y="834"/>
                    <a:pt x="44" y="834"/>
                  </a:cubicBezTo>
                  <a:cubicBezTo>
                    <a:pt x="43" y="834"/>
                    <a:pt x="42" y="834"/>
                    <a:pt x="41" y="833"/>
                  </a:cubicBezTo>
                  <a:cubicBezTo>
                    <a:pt x="40" y="834"/>
                    <a:pt x="38" y="838"/>
                    <a:pt x="39" y="839"/>
                  </a:cubicBezTo>
                  <a:cubicBezTo>
                    <a:pt x="40" y="839"/>
                    <a:pt x="41" y="839"/>
                    <a:pt x="42" y="839"/>
                  </a:cubicBezTo>
                  <a:cubicBezTo>
                    <a:pt x="43" y="840"/>
                    <a:pt x="43" y="843"/>
                    <a:pt x="45" y="844"/>
                  </a:cubicBezTo>
                  <a:cubicBezTo>
                    <a:pt x="46" y="844"/>
                    <a:pt x="49" y="846"/>
                    <a:pt x="47" y="847"/>
                  </a:cubicBezTo>
                  <a:cubicBezTo>
                    <a:pt x="47" y="845"/>
                    <a:pt x="45" y="845"/>
                    <a:pt x="44" y="844"/>
                  </a:cubicBezTo>
                  <a:cubicBezTo>
                    <a:pt x="43" y="843"/>
                    <a:pt x="42" y="840"/>
                    <a:pt x="41" y="840"/>
                  </a:cubicBezTo>
                  <a:cubicBezTo>
                    <a:pt x="41" y="840"/>
                    <a:pt x="41" y="841"/>
                    <a:pt x="41" y="842"/>
                  </a:cubicBezTo>
                  <a:cubicBezTo>
                    <a:pt x="41" y="841"/>
                    <a:pt x="40" y="840"/>
                    <a:pt x="39" y="840"/>
                  </a:cubicBezTo>
                  <a:cubicBezTo>
                    <a:pt x="37" y="840"/>
                    <a:pt x="34" y="842"/>
                    <a:pt x="34" y="843"/>
                  </a:cubicBezTo>
                  <a:cubicBezTo>
                    <a:pt x="33" y="845"/>
                    <a:pt x="34" y="846"/>
                    <a:pt x="35" y="846"/>
                  </a:cubicBezTo>
                  <a:cubicBezTo>
                    <a:pt x="35" y="846"/>
                    <a:pt x="36" y="846"/>
                    <a:pt x="36" y="846"/>
                  </a:cubicBezTo>
                  <a:cubicBezTo>
                    <a:pt x="37" y="846"/>
                    <a:pt x="37" y="846"/>
                    <a:pt x="38" y="846"/>
                  </a:cubicBezTo>
                  <a:cubicBezTo>
                    <a:pt x="38" y="846"/>
                    <a:pt x="39" y="846"/>
                    <a:pt x="39" y="846"/>
                  </a:cubicBezTo>
                  <a:cubicBezTo>
                    <a:pt x="36" y="846"/>
                    <a:pt x="31" y="848"/>
                    <a:pt x="35" y="851"/>
                  </a:cubicBezTo>
                  <a:cubicBezTo>
                    <a:pt x="36" y="851"/>
                    <a:pt x="37" y="851"/>
                    <a:pt x="38" y="851"/>
                  </a:cubicBezTo>
                  <a:cubicBezTo>
                    <a:pt x="38" y="852"/>
                    <a:pt x="38" y="853"/>
                    <a:pt x="39" y="853"/>
                  </a:cubicBezTo>
                  <a:cubicBezTo>
                    <a:pt x="39" y="853"/>
                    <a:pt x="39" y="853"/>
                    <a:pt x="39" y="853"/>
                  </a:cubicBezTo>
                  <a:cubicBezTo>
                    <a:pt x="40" y="853"/>
                    <a:pt x="41" y="852"/>
                    <a:pt x="41" y="852"/>
                  </a:cubicBezTo>
                  <a:cubicBezTo>
                    <a:pt x="41" y="852"/>
                    <a:pt x="42" y="851"/>
                    <a:pt x="42" y="851"/>
                  </a:cubicBezTo>
                  <a:cubicBezTo>
                    <a:pt x="43" y="851"/>
                    <a:pt x="43" y="851"/>
                    <a:pt x="43" y="851"/>
                  </a:cubicBezTo>
                  <a:cubicBezTo>
                    <a:pt x="42" y="853"/>
                    <a:pt x="40" y="854"/>
                    <a:pt x="42" y="855"/>
                  </a:cubicBezTo>
                  <a:cubicBezTo>
                    <a:pt x="42" y="855"/>
                    <a:pt x="41" y="855"/>
                    <a:pt x="41" y="855"/>
                  </a:cubicBezTo>
                  <a:cubicBezTo>
                    <a:pt x="40" y="855"/>
                    <a:pt x="38" y="854"/>
                    <a:pt x="37" y="854"/>
                  </a:cubicBezTo>
                  <a:cubicBezTo>
                    <a:pt x="36" y="853"/>
                    <a:pt x="36" y="852"/>
                    <a:pt x="35" y="852"/>
                  </a:cubicBezTo>
                  <a:cubicBezTo>
                    <a:pt x="35" y="852"/>
                    <a:pt x="35" y="852"/>
                    <a:pt x="35" y="852"/>
                  </a:cubicBezTo>
                  <a:cubicBezTo>
                    <a:pt x="32" y="852"/>
                    <a:pt x="33" y="854"/>
                    <a:pt x="34" y="855"/>
                  </a:cubicBezTo>
                  <a:cubicBezTo>
                    <a:pt x="34" y="856"/>
                    <a:pt x="35" y="856"/>
                    <a:pt x="36" y="857"/>
                  </a:cubicBezTo>
                  <a:cubicBezTo>
                    <a:pt x="37" y="859"/>
                    <a:pt x="36" y="859"/>
                    <a:pt x="38" y="860"/>
                  </a:cubicBezTo>
                  <a:cubicBezTo>
                    <a:pt x="38" y="860"/>
                    <a:pt x="40" y="861"/>
                    <a:pt x="40" y="861"/>
                  </a:cubicBezTo>
                  <a:cubicBezTo>
                    <a:pt x="41" y="861"/>
                    <a:pt x="43" y="862"/>
                    <a:pt x="44" y="863"/>
                  </a:cubicBezTo>
                  <a:cubicBezTo>
                    <a:pt x="44" y="863"/>
                    <a:pt x="44" y="863"/>
                    <a:pt x="44" y="863"/>
                  </a:cubicBezTo>
                  <a:cubicBezTo>
                    <a:pt x="42" y="863"/>
                    <a:pt x="41" y="861"/>
                    <a:pt x="39" y="861"/>
                  </a:cubicBezTo>
                  <a:cubicBezTo>
                    <a:pt x="39" y="861"/>
                    <a:pt x="38" y="861"/>
                    <a:pt x="38" y="861"/>
                  </a:cubicBezTo>
                  <a:cubicBezTo>
                    <a:pt x="38" y="861"/>
                    <a:pt x="38" y="861"/>
                    <a:pt x="37" y="861"/>
                  </a:cubicBezTo>
                  <a:cubicBezTo>
                    <a:pt x="37" y="861"/>
                    <a:pt x="37" y="861"/>
                    <a:pt x="37" y="861"/>
                  </a:cubicBezTo>
                  <a:cubicBezTo>
                    <a:pt x="37" y="861"/>
                    <a:pt x="37" y="861"/>
                    <a:pt x="36" y="860"/>
                  </a:cubicBezTo>
                  <a:cubicBezTo>
                    <a:pt x="35" y="859"/>
                    <a:pt x="34" y="857"/>
                    <a:pt x="32" y="857"/>
                  </a:cubicBezTo>
                  <a:cubicBezTo>
                    <a:pt x="32" y="856"/>
                    <a:pt x="32" y="856"/>
                    <a:pt x="32" y="856"/>
                  </a:cubicBezTo>
                  <a:cubicBezTo>
                    <a:pt x="31" y="856"/>
                    <a:pt x="31" y="857"/>
                    <a:pt x="30" y="857"/>
                  </a:cubicBezTo>
                  <a:cubicBezTo>
                    <a:pt x="30" y="857"/>
                    <a:pt x="29" y="858"/>
                    <a:pt x="29" y="858"/>
                  </a:cubicBezTo>
                  <a:cubicBezTo>
                    <a:pt x="29" y="858"/>
                    <a:pt x="29" y="858"/>
                    <a:pt x="29" y="857"/>
                  </a:cubicBezTo>
                  <a:cubicBezTo>
                    <a:pt x="27" y="858"/>
                    <a:pt x="26" y="859"/>
                    <a:pt x="25" y="860"/>
                  </a:cubicBezTo>
                  <a:cubicBezTo>
                    <a:pt x="27" y="861"/>
                    <a:pt x="27" y="862"/>
                    <a:pt x="29" y="863"/>
                  </a:cubicBezTo>
                  <a:cubicBezTo>
                    <a:pt x="30" y="864"/>
                    <a:pt x="31" y="865"/>
                    <a:pt x="32" y="865"/>
                  </a:cubicBezTo>
                  <a:cubicBezTo>
                    <a:pt x="32" y="865"/>
                    <a:pt x="33" y="865"/>
                    <a:pt x="33" y="865"/>
                  </a:cubicBezTo>
                  <a:cubicBezTo>
                    <a:pt x="33" y="866"/>
                    <a:pt x="34" y="867"/>
                    <a:pt x="35" y="867"/>
                  </a:cubicBezTo>
                  <a:cubicBezTo>
                    <a:pt x="36" y="867"/>
                    <a:pt x="38" y="866"/>
                    <a:pt x="39" y="866"/>
                  </a:cubicBezTo>
                  <a:cubicBezTo>
                    <a:pt x="36" y="868"/>
                    <a:pt x="40" y="868"/>
                    <a:pt x="40" y="868"/>
                  </a:cubicBezTo>
                  <a:cubicBezTo>
                    <a:pt x="42" y="869"/>
                    <a:pt x="42" y="870"/>
                    <a:pt x="44" y="871"/>
                  </a:cubicBezTo>
                  <a:cubicBezTo>
                    <a:pt x="42" y="870"/>
                    <a:pt x="40" y="870"/>
                    <a:pt x="39" y="869"/>
                  </a:cubicBezTo>
                  <a:cubicBezTo>
                    <a:pt x="39" y="871"/>
                    <a:pt x="39" y="871"/>
                    <a:pt x="38" y="871"/>
                  </a:cubicBezTo>
                  <a:cubicBezTo>
                    <a:pt x="38" y="871"/>
                    <a:pt x="36" y="869"/>
                    <a:pt x="34" y="869"/>
                  </a:cubicBezTo>
                  <a:cubicBezTo>
                    <a:pt x="36" y="872"/>
                    <a:pt x="38" y="879"/>
                    <a:pt x="41" y="879"/>
                  </a:cubicBezTo>
                  <a:cubicBezTo>
                    <a:pt x="42" y="879"/>
                    <a:pt x="43" y="879"/>
                    <a:pt x="43" y="878"/>
                  </a:cubicBezTo>
                  <a:cubicBezTo>
                    <a:pt x="46" y="876"/>
                    <a:pt x="45" y="874"/>
                    <a:pt x="46" y="872"/>
                  </a:cubicBezTo>
                  <a:cubicBezTo>
                    <a:pt x="47" y="869"/>
                    <a:pt x="49" y="869"/>
                    <a:pt x="51" y="866"/>
                  </a:cubicBezTo>
                  <a:cubicBezTo>
                    <a:pt x="51" y="868"/>
                    <a:pt x="48" y="871"/>
                    <a:pt x="48" y="871"/>
                  </a:cubicBezTo>
                  <a:cubicBezTo>
                    <a:pt x="48" y="873"/>
                    <a:pt x="52" y="874"/>
                    <a:pt x="53" y="874"/>
                  </a:cubicBezTo>
                  <a:cubicBezTo>
                    <a:pt x="53" y="875"/>
                    <a:pt x="52" y="875"/>
                    <a:pt x="52" y="875"/>
                  </a:cubicBezTo>
                  <a:cubicBezTo>
                    <a:pt x="51" y="875"/>
                    <a:pt x="51" y="875"/>
                    <a:pt x="50" y="874"/>
                  </a:cubicBezTo>
                  <a:cubicBezTo>
                    <a:pt x="50" y="874"/>
                    <a:pt x="50" y="874"/>
                    <a:pt x="49" y="874"/>
                  </a:cubicBezTo>
                  <a:cubicBezTo>
                    <a:pt x="49" y="874"/>
                    <a:pt x="48" y="874"/>
                    <a:pt x="47" y="875"/>
                  </a:cubicBezTo>
                  <a:cubicBezTo>
                    <a:pt x="47" y="876"/>
                    <a:pt x="47" y="883"/>
                    <a:pt x="45" y="883"/>
                  </a:cubicBezTo>
                  <a:cubicBezTo>
                    <a:pt x="45" y="883"/>
                    <a:pt x="45" y="883"/>
                    <a:pt x="45" y="883"/>
                  </a:cubicBezTo>
                  <a:cubicBezTo>
                    <a:pt x="45" y="883"/>
                    <a:pt x="44" y="881"/>
                    <a:pt x="43" y="880"/>
                  </a:cubicBezTo>
                  <a:cubicBezTo>
                    <a:pt x="44" y="881"/>
                    <a:pt x="40" y="881"/>
                    <a:pt x="40" y="881"/>
                  </a:cubicBezTo>
                  <a:cubicBezTo>
                    <a:pt x="38" y="881"/>
                    <a:pt x="36" y="883"/>
                    <a:pt x="36" y="886"/>
                  </a:cubicBezTo>
                  <a:cubicBezTo>
                    <a:pt x="36" y="887"/>
                    <a:pt x="38" y="890"/>
                    <a:pt x="39" y="891"/>
                  </a:cubicBezTo>
                  <a:cubicBezTo>
                    <a:pt x="39" y="891"/>
                    <a:pt x="39" y="891"/>
                    <a:pt x="40" y="891"/>
                  </a:cubicBezTo>
                  <a:cubicBezTo>
                    <a:pt x="41" y="891"/>
                    <a:pt x="40" y="889"/>
                    <a:pt x="41" y="888"/>
                  </a:cubicBezTo>
                  <a:cubicBezTo>
                    <a:pt x="41" y="889"/>
                    <a:pt x="42" y="891"/>
                    <a:pt x="43" y="892"/>
                  </a:cubicBezTo>
                  <a:cubicBezTo>
                    <a:pt x="43" y="892"/>
                    <a:pt x="43" y="892"/>
                    <a:pt x="43" y="892"/>
                  </a:cubicBezTo>
                  <a:cubicBezTo>
                    <a:pt x="44" y="892"/>
                    <a:pt x="45" y="891"/>
                    <a:pt x="45" y="891"/>
                  </a:cubicBezTo>
                  <a:cubicBezTo>
                    <a:pt x="46" y="890"/>
                    <a:pt x="46" y="890"/>
                    <a:pt x="47" y="890"/>
                  </a:cubicBezTo>
                  <a:cubicBezTo>
                    <a:pt x="47" y="890"/>
                    <a:pt x="47" y="890"/>
                    <a:pt x="48" y="890"/>
                  </a:cubicBezTo>
                  <a:cubicBezTo>
                    <a:pt x="47" y="891"/>
                    <a:pt x="47" y="891"/>
                    <a:pt x="46" y="892"/>
                  </a:cubicBezTo>
                  <a:cubicBezTo>
                    <a:pt x="48" y="893"/>
                    <a:pt x="47" y="895"/>
                    <a:pt x="48" y="897"/>
                  </a:cubicBezTo>
                  <a:cubicBezTo>
                    <a:pt x="49" y="898"/>
                    <a:pt x="50" y="898"/>
                    <a:pt x="50" y="899"/>
                  </a:cubicBezTo>
                  <a:cubicBezTo>
                    <a:pt x="51" y="900"/>
                    <a:pt x="50" y="903"/>
                    <a:pt x="50" y="904"/>
                  </a:cubicBezTo>
                  <a:cubicBezTo>
                    <a:pt x="50" y="903"/>
                    <a:pt x="49" y="901"/>
                    <a:pt x="48" y="900"/>
                  </a:cubicBezTo>
                  <a:cubicBezTo>
                    <a:pt x="47" y="898"/>
                    <a:pt x="46" y="898"/>
                    <a:pt x="46" y="897"/>
                  </a:cubicBezTo>
                  <a:cubicBezTo>
                    <a:pt x="44" y="899"/>
                    <a:pt x="44" y="901"/>
                    <a:pt x="44" y="903"/>
                  </a:cubicBezTo>
                  <a:cubicBezTo>
                    <a:pt x="45" y="904"/>
                    <a:pt x="46" y="906"/>
                    <a:pt x="47" y="907"/>
                  </a:cubicBezTo>
                  <a:cubicBezTo>
                    <a:pt x="47" y="908"/>
                    <a:pt x="48" y="908"/>
                    <a:pt x="48" y="908"/>
                  </a:cubicBezTo>
                  <a:cubicBezTo>
                    <a:pt x="48" y="908"/>
                    <a:pt x="48" y="908"/>
                    <a:pt x="48" y="908"/>
                  </a:cubicBezTo>
                  <a:cubicBezTo>
                    <a:pt x="49" y="906"/>
                    <a:pt x="49" y="906"/>
                    <a:pt x="49" y="906"/>
                  </a:cubicBezTo>
                  <a:cubicBezTo>
                    <a:pt x="49" y="906"/>
                    <a:pt x="49" y="906"/>
                    <a:pt x="49" y="906"/>
                  </a:cubicBezTo>
                  <a:cubicBezTo>
                    <a:pt x="49" y="906"/>
                    <a:pt x="49" y="906"/>
                    <a:pt x="49" y="906"/>
                  </a:cubicBezTo>
                  <a:cubicBezTo>
                    <a:pt x="50" y="906"/>
                    <a:pt x="50" y="906"/>
                    <a:pt x="50" y="906"/>
                  </a:cubicBezTo>
                  <a:cubicBezTo>
                    <a:pt x="50" y="906"/>
                    <a:pt x="50" y="906"/>
                    <a:pt x="50" y="906"/>
                  </a:cubicBezTo>
                  <a:cubicBezTo>
                    <a:pt x="53" y="906"/>
                    <a:pt x="53" y="906"/>
                    <a:pt x="53" y="906"/>
                  </a:cubicBezTo>
                  <a:cubicBezTo>
                    <a:pt x="52" y="907"/>
                    <a:pt x="51" y="907"/>
                    <a:pt x="51" y="908"/>
                  </a:cubicBezTo>
                  <a:cubicBezTo>
                    <a:pt x="51" y="910"/>
                    <a:pt x="54" y="914"/>
                    <a:pt x="55" y="916"/>
                  </a:cubicBezTo>
                  <a:cubicBezTo>
                    <a:pt x="54" y="915"/>
                    <a:pt x="52" y="912"/>
                    <a:pt x="51" y="912"/>
                  </a:cubicBezTo>
                  <a:cubicBezTo>
                    <a:pt x="51" y="912"/>
                    <a:pt x="51" y="912"/>
                    <a:pt x="51" y="912"/>
                  </a:cubicBezTo>
                  <a:cubicBezTo>
                    <a:pt x="46" y="912"/>
                    <a:pt x="54" y="918"/>
                    <a:pt x="55" y="919"/>
                  </a:cubicBezTo>
                  <a:cubicBezTo>
                    <a:pt x="53" y="918"/>
                    <a:pt x="50" y="916"/>
                    <a:pt x="48" y="916"/>
                  </a:cubicBezTo>
                  <a:cubicBezTo>
                    <a:pt x="48" y="916"/>
                    <a:pt x="47" y="917"/>
                    <a:pt x="48" y="919"/>
                  </a:cubicBezTo>
                  <a:cubicBezTo>
                    <a:pt x="49" y="920"/>
                    <a:pt x="51" y="921"/>
                    <a:pt x="51" y="922"/>
                  </a:cubicBezTo>
                  <a:cubicBezTo>
                    <a:pt x="51" y="923"/>
                    <a:pt x="50" y="924"/>
                    <a:pt x="50" y="924"/>
                  </a:cubicBezTo>
                  <a:cubicBezTo>
                    <a:pt x="50" y="925"/>
                    <a:pt x="51" y="925"/>
                    <a:pt x="51" y="926"/>
                  </a:cubicBezTo>
                  <a:cubicBezTo>
                    <a:pt x="51" y="927"/>
                    <a:pt x="48" y="927"/>
                    <a:pt x="49" y="928"/>
                  </a:cubicBezTo>
                  <a:cubicBezTo>
                    <a:pt x="49" y="929"/>
                    <a:pt x="49" y="929"/>
                    <a:pt x="50" y="929"/>
                  </a:cubicBezTo>
                  <a:cubicBezTo>
                    <a:pt x="51" y="929"/>
                    <a:pt x="52" y="928"/>
                    <a:pt x="52" y="928"/>
                  </a:cubicBezTo>
                  <a:cubicBezTo>
                    <a:pt x="52" y="930"/>
                    <a:pt x="47" y="935"/>
                    <a:pt x="49" y="935"/>
                  </a:cubicBezTo>
                  <a:cubicBezTo>
                    <a:pt x="50" y="935"/>
                    <a:pt x="50" y="935"/>
                    <a:pt x="50" y="935"/>
                  </a:cubicBezTo>
                  <a:cubicBezTo>
                    <a:pt x="50" y="936"/>
                    <a:pt x="50" y="937"/>
                    <a:pt x="50" y="938"/>
                  </a:cubicBezTo>
                  <a:cubicBezTo>
                    <a:pt x="51" y="937"/>
                    <a:pt x="52" y="937"/>
                    <a:pt x="52" y="936"/>
                  </a:cubicBezTo>
                  <a:cubicBezTo>
                    <a:pt x="54" y="935"/>
                    <a:pt x="54" y="934"/>
                    <a:pt x="55" y="932"/>
                  </a:cubicBezTo>
                  <a:cubicBezTo>
                    <a:pt x="56" y="934"/>
                    <a:pt x="57" y="936"/>
                    <a:pt x="58" y="936"/>
                  </a:cubicBezTo>
                  <a:cubicBezTo>
                    <a:pt x="58" y="936"/>
                    <a:pt x="58" y="936"/>
                    <a:pt x="58" y="936"/>
                  </a:cubicBezTo>
                  <a:cubicBezTo>
                    <a:pt x="60" y="934"/>
                    <a:pt x="60" y="934"/>
                    <a:pt x="60" y="934"/>
                  </a:cubicBezTo>
                  <a:cubicBezTo>
                    <a:pt x="61" y="932"/>
                    <a:pt x="62" y="930"/>
                    <a:pt x="64" y="930"/>
                  </a:cubicBezTo>
                  <a:cubicBezTo>
                    <a:pt x="64" y="930"/>
                    <a:pt x="65" y="931"/>
                    <a:pt x="66" y="931"/>
                  </a:cubicBezTo>
                  <a:cubicBezTo>
                    <a:pt x="63" y="933"/>
                    <a:pt x="56" y="937"/>
                    <a:pt x="59" y="940"/>
                  </a:cubicBezTo>
                  <a:cubicBezTo>
                    <a:pt x="58" y="940"/>
                    <a:pt x="58" y="940"/>
                    <a:pt x="57" y="940"/>
                  </a:cubicBezTo>
                  <a:cubicBezTo>
                    <a:pt x="55" y="940"/>
                    <a:pt x="53" y="940"/>
                    <a:pt x="51" y="940"/>
                  </a:cubicBezTo>
                  <a:cubicBezTo>
                    <a:pt x="53" y="941"/>
                    <a:pt x="56" y="943"/>
                    <a:pt x="57" y="943"/>
                  </a:cubicBezTo>
                  <a:cubicBezTo>
                    <a:pt x="57" y="943"/>
                    <a:pt x="57" y="943"/>
                    <a:pt x="57" y="942"/>
                  </a:cubicBezTo>
                  <a:cubicBezTo>
                    <a:pt x="58" y="944"/>
                    <a:pt x="60" y="943"/>
                    <a:pt x="58" y="945"/>
                  </a:cubicBezTo>
                  <a:cubicBezTo>
                    <a:pt x="58" y="945"/>
                    <a:pt x="55" y="946"/>
                    <a:pt x="54" y="946"/>
                  </a:cubicBezTo>
                  <a:cubicBezTo>
                    <a:pt x="56" y="947"/>
                    <a:pt x="58" y="950"/>
                    <a:pt x="61" y="950"/>
                  </a:cubicBezTo>
                  <a:cubicBezTo>
                    <a:pt x="61" y="950"/>
                    <a:pt x="62" y="949"/>
                    <a:pt x="64" y="949"/>
                  </a:cubicBezTo>
                  <a:cubicBezTo>
                    <a:pt x="65" y="948"/>
                    <a:pt x="65" y="947"/>
                    <a:pt x="65" y="945"/>
                  </a:cubicBezTo>
                  <a:cubicBezTo>
                    <a:pt x="65" y="945"/>
                    <a:pt x="64" y="942"/>
                    <a:pt x="64" y="942"/>
                  </a:cubicBezTo>
                  <a:cubicBezTo>
                    <a:pt x="65" y="940"/>
                    <a:pt x="68" y="940"/>
                    <a:pt x="70" y="938"/>
                  </a:cubicBezTo>
                  <a:cubicBezTo>
                    <a:pt x="72" y="936"/>
                    <a:pt x="71" y="936"/>
                    <a:pt x="71" y="935"/>
                  </a:cubicBezTo>
                  <a:cubicBezTo>
                    <a:pt x="71" y="935"/>
                    <a:pt x="68" y="934"/>
                    <a:pt x="68" y="934"/>
                  </a:cubicBezTo>
                  <a:cubicBezTo>
                    <a:pt x="67" y="934"/>
                    <a:pt x="66" y="937"/>
                    <a:pt x="64" y="937"/>
                  </a:cubicBezTo>
                  <a:cubicBezTo>
                    <a:pt x="65" y="937"/>
                    <a:pt x="66" y="935"/>
                    <a:pt x="67" y="934"/>
                  </a:cubicBezTo>
                  <a:cubicBezTo>
                    <a:pt x="69" y="932"/>
                    <a:pt x="75" y="931"/>
                    <a:pt x="78" y="931"/>
                  </a:cubicBezTo>
                  <a:cubicBezTo>
                    <a:pt x="78" y="932"/>
                    <a:pt x="78" y="932"/>
                    <a:pt x="78" y="932"/>
                  </a:cubicBezTo>
                  <a:cubicBezTo>
                    <a:pt x="78" y="932"/>
                    <a:pt x="77" y="932"/>
                    <a:pt x="77" y="932"/>
                  </a:cubicBezTo>
                  <a:cubicBezTo>
                    <a:pt x="77" y="932"/>
                    <a:pt x="77" y="932"/>
                    <a:pt x="77" y="932"/>
                  </a:cubicBezTo>
                  <a:cubicBezTo>
                    <a:pt x="77" y="932"/>
                    <a:pt x="77" y="932"/>
                    <a:pt x="77" y="932"/>
                  </a:cubicBezTo>
                  <a:cubicBezTo>
                    <a:pt x="77" y="935"/>
                    <a:pt x="78" y="935"/>
                    <a:pt x="80" y="935"/>
                  </a:cubicBezTo>
                  <a:cubicBezTo>
                    <a:pt x="81" y="935"/>
                    <a:pt x="82" y="935"/>
                    <a:pt x="84" y="935"/>
                  </a:cubicBezTo>
                  <a:cubicBezTo>
                    <a:pt x="83" y="938"/>
                    <a:pt x="79" y="938"/>
                    <a:pt x="78" y="941"/>
                  </a:cubicBezTo>
                  <a:cubicBezTo>
                    <a:pt x="78" y="941"/>
                    <a:pt x="77" y="942"/>
                    <a:pt x="77" y="942"/>
                  </a:cubicBezTo>
                  <a:cubicBezTo>
                    <a:pt x="77" y="942"/>
                    <a:pt x="76" y="941"/>
                    <a:pt x="75" y="941"/>
                  </a:cubicBezTo>
                  <a:cubicBezTo>
                    <a:pt x="75" y="940"/>
                    <a:pt x="75" y="940"/>
                    <a:pt x="74" y="940"/>
                  </a:cubicBezTo>
                  <a:cubicBezTo>
                    <a:pt x="73" y="940"/>
                    <a:pt x="73" y="941"/>
                    <a:pt x="71" y="942"/>
                  </a:cubicBezTo>
                  <a:cubicBezTo>
                    <a:pt x="71" y="941"/>
                    <a:pt x="73" y="940"/>
                    <a:pt x="73" y="938"/>
                  </a:cubicBezTo>
                  <a:cubicBezTo>
                    <a:pt x="73" y="938"/>
                    <a:pt x="72" y="938"/>
                    <a:pt x="72" y="938"/>
                  </a:cubicBezTo>
                  <a:cubicBezTo>
                    <a:pt x="70" y="938"/>
                    <a:pt x="69" y="939"/>
                    <a:pt x="68" y="940"/>
                  </a:cubicBezTo>
                  <a:cubicBezTo>
                    <a:pt x="66" y="942"/>
                    <a:pt x="65" y="948"/>
                    <a:pt x="66" y="950"/>
                  </a:cubicBezTo>
                  <a:cubicBezTo>
                    <a:pt x="67" y="952"/>
                    <a:pt x="70" y="953"/>
                    <a:pt x="71" y="955"/>
                  </a:cubicBezTo>
                  <a:cubicBezTo>
                    <a:pt x="70" y="955"/>
                    <a:pt x="68" y="952"/>
                    <a:pt x="66" y="952"/>
                  </a:cubicBezTo>
                  <a:cubicBezTo>
                    <a:pt x="65" y="952"/>
                    <a:pt x="65" y="951"/>
                    <a:pt x="65" y="951"/>
                  </a:cubicBezTo>
                  <a:cubicBezTo>
                    <a:pt x="64" y="951"/>
                    <a:pt x="63" y="952"/>
                    <a:pt x="62" y="952"/>
                  </a:cubicBezTo>
                  <a:cubicBezTo>
                    <a:pt x="62" y="952"/>
                    <a:pt x="61" y="952"/>
                    <a:pt x="61" y="952"/>
                  </a:cubicBezTo>
                  <a:cubicBezTo>
                    <a:pt x="60" y="952"/>
                    <a:pt x="59" y="952"/>
                    <a:pt x="57" y="952"/>
                  </a:cubicBezTo>
                  <a:cubicBezTo>
                    <a:pt x="60" y="953"/>
                    <a:pt x="61" y="955"/>
                    <a:pt x="64" y="956"/>
                  </a:cubicBezTo>
                  <a:cubicBezTo>
                    <a:pt x="65" y="957"/>
                    <a:pt x="66" y="957"/>
                    <a:pt x="66" y="958"/>
                  </a:cubicBezTo>
                  <a:cubicBezTo>
                    <a:pt x="67" y="958"/>
                    <a:pt x="68" y="960"/>
                    <a:pt x="69" y="960"/>
                  </a:cubicBezTo>
                  <a:cubicBezTo>
                    <a:pt x="69" y="960"/>
                    <a:pt x="69" y="960"/>
                    <a:pt x="70" y="959"/>
                  </a:cubicBezTo>
                  <a:cubicBezTo>
                    <a:pt x="71" y="962"/>
                    <a:pt x="75" y="963"/>
                    <a:pt x="78" y="963"/>
                  </a:cubicBezTo>
                  <a:cubicBezTo>
                    <a:pt x="78" y="963"/>
                    <a:pt x="79" y="963"/>
                    <a:pt x="79" y="963"/>
                  </a:cubicBezTo>
                  <a:cubicBezTo>
                    <a:pt x="77" y="961"/>
                    <a:pt x="75" y="960"/>
                    <a:pt x="73" y="958"/>
                  </a:cubicBezTo>
                  <a:cubicBezTo>
                    <a:pt x="73" y="958"/>
                    <a:pt x="74" y="958"/>
                    <a:pt x="74" y="958"/>
                  </a:cubicBezTo>
                  <a:cubicBezTo>
                    <a:pt x="75" y="958"/>
                    <a:pt x="76" y="957"/>
                    <a:pt x="76" y="955"/>
                  </a:cubicBezTo>
                  <a:cubicBezTo>
                    <a:pt x="76" y="955"/>
                    <a:pt x="76" y="955"/>
                    <a:pt x="77" y="955"/>
                  </a:cubicBezTo>
                  <a:cubicBezTo>
                    <a:pt x="78" y="955"/>
                    <a:pt x="77" y="954"/>
                    <a:pt x="75" y="953"/>
                  </a:cubicBezTo>
                  <a:cubicBezTo>
                    <a:pt x="76" y="953"/>
                    <a:pt x="77" y="954"/>
                    <a:pt x="78" y="954"/>
                  </a:cubicBezTo>
                  <a:cubicBezTo>
                    <a:pt x="80" y="954"/>
                    <a:pt x="80" y="953"/>
                    <a:pt x="79" y="952"/>
                  </a:cubicBezTo>
                  <a:cubicBezTo>
                    <a:pt x="80" y="953"/>
                    <a:pt x="81" y="953"/>
                    <a:pt x="82" y="953"/>
                  </a:cubicBezTo>
                  <a:cubicBezTo>
                    <a:pt x="82" y="953"/>
                    <a:pt x="83" y="953"/>
                    <a:pt x="83" y="952"/>
                  </a:cubicBezTo>
                  <a:cubicBezTo>
                    <a:pt x="83" y="951"/>
                    <a:pt x="81" y="951"/>
                    <a:pt x="80" y="951"/>
                  </a:cubicBezTo>
                  <a:cubicBezTo>
                    <a:pt x="79" y="950"/>
                    <a:pt x="80" y="949"/>
                    <a:pt x="78" y="949"/>
                  </a:cubicBezTo>
                  <a:cubicBezTo>
                    <a:pt x="78" y="949"/>
                    <a:pt x="78" y="949"/>
                    <a:pt x="78" y="949"/>
                  </a:cubicBezTo>
                  <a:cubicBezTo>
                    <a:pt x="77" y="949"/>
                    <a:pt x="77" y="949"/>
                    <a:pt x="76" y="949"/>
                  </a:cubicBezTo>
                  <a:cubicBezTo>
                    <a:pt x="76" y="949"/>
                    <a:pt x="76" y="949"/>
                    <a:pt x="75" y="949"/>
                  </a:cubicBezTo>
                  <a:cubicBezTo>
                    <a:pt x="75" y="949"/>
                    <a:pt x="75" y="949"/>
                    <a:pt x="75" y="949"/>
                  </a:cubicBezTo>
                  <a:cubicBezTo>
                    <a:pt x="75" y="948"/>
                    <a:pt x="76" y="948"/>
                    <a:pt x="77" y="948"/>
                  </a:cubicBezTo>
                  <a:cubicBezTo>
                    <a:pt x="80" y="948"/>
                    <a:pt x="83" y="950"/>
                    <a:pt x="85" y="950"/>
                  </a:cubicBezTo>
                  <a:cubicBezTo>
                    <a:pt x="85" y="950"/>
                    <a:pt x="85" y="951"/>
                    <a:pt x="86" y="951"/>
                  </a:cubicBezTo>
                  <a:cubicBezTo>
                    <a:pt x="87" y="951"/>
                    <a:pt x="88" y="949"/>
                    <a:pt x="89" y="948"/>
                  </a:cubicBezTo>
                  <a:cubicBezTo>
                    <a:pt x="91" y="946"/>
                    <a:pt x="93" y="944"/>
                    <a:pt x="96" y="943"/>
                  </a:cubicBezTo>
                  <a:cubicBezTo>
                    <a:pt x="99" y="941"/>
                    <a:pt x="102" y="941"/>
                    <a:pt x="105" y="941"/>
                  </a:cubicBezTo>
                  <a:cubicBezTo>
                    <a:pt x="106" y="941"/>
                    <a:pt x="106" y="941"/>
                    <a:pt x="106" y="941"/>
                  </a:cubicBezTo>
                  <a:cubicBezTo>
                    <a:pt x="109" y="941"/>
                    <a:pt x="108" y="942"/>
                    <a:pt x="107" y="944"/>
                  </a:cubicBezTo>
                  <a:cubicBezTo>
                    <a:pt x="106" y="946"/>
                    <a:pt x="104" y="949"/>
                    <a:pt x="102" y="950"/>
                  </a:cubicBezTo>
                  <a:cubicBezTo>
                    <a:pt x="100" y="951"/>
                    <a:pt x="98" y="951"/>
                    <a:pt x="97" y="952"/>
                  </a:cubicBezTo>
                  <a:cubicBezTo>
                    <a:pt x="96" y="952"/>
                    <a:pt x="94" y="953"/>
                    <a:pt x="93" y="954"/>
                  </a:cubicBezTo>
                  <a:cubicBezTo>
                    <a:pt x="91" y="956"/>
                    <a:pt x="94" y="960"/>
                    <a:pt x="92" y="962"/>
                  </a:cubicBezTo>
                  <a:cubicBezTo>
                    <a:pt x="92" y="963"/>
                    <a:pt x="89" y="964"/>
                    <a:pt x="88" y="964"/>
                  </a:cubicBezTo>
                  <a:cubicBezTo>
                    <a:pt x="87" y="964"/>
                    <a:pt x="87" y="964"/>
                    <a:pt x="87" y="963"/>
                  </a:cubicBezTo>
                  <a:cubicBezTo>
                    <a:pt x="88" y="962"/>
                    <a:pt x="91" y="962"/>
                    <a:pt x="91" y="961"/>
                  </a:cubicBezTo>
                  <a:cubicBezTo>
                    <a:pt x="93" y="960"/>
                    <a:pt x="92" y="957"/>
                    <a:pt x="91" y="955"/>
                  </a:cubicBezTo>
                  <a:cubicBezTo>
                    <a:pt x="91" y="954"/>
                    <a:pt x="90" y="953"/>
                    <a:pt x="88" y="953"/>
                  </a:cubicBezTo>
                  <a:cubicBezTo>
                    <a:pt x="88" y="953"/>
                    <a:pt x="88" y="953"/>
                    <a:pt x="87" y="954"/>
                  </a:cubicBezTo>
                  <a:cubicBezTo>
                    <a:pt x="86" y="955"/>
                    <a:pt x="88" y="957"/>
                    <a:pt x="87" y="958"/>
                  </a:cubicBezTo>
                  <a:cubicBezTo>
                    <a:pt x="87" y="959"/>
                    <a:pt x="84" y="960"/>
                    <a:pt x="83" y="960"/>
                  </a:cubicBezTo>
                  <a:cubicBezTo>
                    <a:pt x="82" y="960"/>
                    <a:pt x="82" y="960"/>
                    <a:pt x="82" y="960"/>
                  </a:cubicBezTo>
                  <a:cubicBezTo>
                    <a:pt x="86" y="959"/>
                    <a:pt x="86" y="954"/>
                    <a:pt x="82" y="954"/>
                  </a:cubicBezTo>
                  <a:cubicBezTo>
                    <a:pt x="82" y="954"/>
                    <a:pt x="81" y="954"/>
                    <a:pt x="81" y="954"/>
                  </a:cubicBezTo>
                  <a:cubicBezTo>
                    <a:pt x="76" y="956"/>
                    <a:pt x="81" y="966"/>
                    <a:pt x="85" y="968"/>
                  </a:cubicBezTo>
                  <a:cubicBezTo>
                    <a:pt x="85" y="968"/>
                    <a:pt x="86" y="968"/>
                    <a:pt x="87" y="969"/>
                  </a:cubicBezTo>
                  <a:cubicBezTo>
                    <a:pt x="87" y="969"/>
                    <a:pt x="87" y="969"/>
                    <a:pt x="87" y="969"/>
                  </a:cubicBezTo>
                  <a:cubicBezTo>
                    <a:pt x="87" y="969"/>
                    <a:pt x="88" y="969"/>
                    <a:pt x="89" y="969"/>
                  </a:cubicBezTo>
                  <a:cubicBezTo>
                    <a:pt x="90" y="970"/>
                    <a:pt x="92" y="970"/>
                    <a:pt x="93" y="971"/>
                  </a:cubicBezTo>
                  <a:cubicBezTo>
                    <a:pt x="96" y="973"/>
                    <a:pt x="100" y="974"/>
                    <a:pt x="104" y="974"/>
                  </a:cubicBezTo>
                  <a:cubicBezTo>
                    <a:pt x="104" y="974"/>
                    <a:pt x="105" y="974"/>
                    <a:pt x="105" y="974"/>
                  </a:cubicBezTo>
                  <a:cubicBezTo>
                    <a:pt x="110" y="973"/>
                    <a:pt x="110" y="972"/>
                    <a:pt x="111" y="968"/>
                  </a:cubicBezTo>
                  <a:cubicBezTo>
                    <a:pt x="111" y="967"/>
                    <a:pt x="112" y="966"/>
                    <a:pt x="112" y="964"/>
                  </a:cubicBezTo>
                  <a:cubicBezTo>
                    <a:pt x="112" y="962"/>
                    <a:pt x="111" y="961"/>
                    <a:pt x="111" y="959"/>
                  </a:cubicBezTo>
                  <a:cubicBezTo>
                    <a:pt x="111" y="956"/>
                    <a:pt x="112" y="953"/>
                    <a:pt x="113" y="950"/>
                  </a:cubicBezTo>
                  <a:cubicBezTo>
                    <a:pt x="114" y="948"/>
                    <a:pt x="117" y="944"/>
                    <a:pt x="114" y="943"/>
                  </a:cubicBezTo>
                  <a:cubicBezTo>
                    <a:pt x="115" y="942"/>
                    <a:pt x="115" y="940"/>
                    <a:pt x="116" y="940"/>
                  </a:cubicBezTo>
                  <a:cubicBezTo>
                    <a:pt x="116" y="939"/>
                    <a:pt x="115" y="939"/>
                    <a:pt x="114" y="938"/>
                  </a:cubicBezTo>
                  <a:cubicBezTo>
                    <a:pt x="118" y="937"/>
                    <a:pt x="121" y="937"/>
                    <a:pt x="125" y="936"/>
                  </a:cubicBezTo>
                  <a:cubicBezTo>
                    <a:pt x="131" y="934"/>
                    <a:pt x="139" y="934"/>
                    <a:pt x="145" y="928"/>
                  </a:cubicBezTo>
                  <a:cubicBezTo>
                    <a:pt x="147" y="926"/>
                    <a:pt x="149" y="923"/>
                    <a:pt x="151" y="923"/>
                  </a:cubicBezTo>
                  <a:cubicBezTo>
                    <a:pt x="150" y="922"/>
                    <a:pt x="150" y="922"/>
                    <a:pt x="150" y="922"/>
                  </a:cubicBezTo>
                  <a:cubicBezTo>
                    <a:pt x="149" y="922"/>
                    <a:pt x="148" y="922"/>
                    <a:pt x="146" y="922"/>
                  </a:cubicBezTo>
                  <a:cubicBezTo>
                    <a:pt x="144" y="921"/>
                    <a:pt x="142" y="920"/>
                    <a:pt x="140" y="920"/>
                  </a:cubicBezTo>
                  <a:cubicBezTo>
                    <a:pt x="138" y="919"/>
                    <a:pt x="136" y="919"/>
                    <a:pt x="135" y="918"/>
                  </a:cubicBezTo>
                  <a:cubicBezTo>
                    <a:pt x="134" y="918"/>
                    <a:pt x="134" y="918"/>
                    <a:pt x="134" y="918"/>
                  </a:cubicBezTo>
                  <a:cubicBezTo>
                    <a:pt x="133" y="918"/>
                    <a:pt x="133" y="918"/>
                    <a:pt x="133" y="918"/>
                  </a:cubicBezTo>
                  <a:cubicBezTo>
                    <a:pt x="131" y="918"/>
                    <a:pt x="129" y="917"/>
                    <a:pt x="127" y="917"/>
                  </a:cubicBezTo>
                  <a:cubicBezTo>
                    <a:pt x="125" y="917"/>
                    <a:pt x="123" y="918"/>
                    <a:pt x="121" y="918"/>
                  </a:cubicBezTo>
                  <a:cubicBezTo>
                    <a:pt x="121" y="918"/>
                    <a:pt x="121" y="918"/>
                    <a:pt x="121" y="918"/>
                  </a:cubicBezTo>
                  <a:cubicBezTo>
                    <a:pt x="118" y="918"/>
                    <a:pt x="116" y="918"/>
                    <a:pt x="114" y="918"/>
                  </a:cubicBezTo>
                  <a:cubicBezTo>
                    <a:pt x="92" y="918"/>
                    <a:pt x="92" y="918"/>
                    <a:pt x="92" y="918"/>
                  </a:cubicBezTo>
                  <a:cubicBezTo>
                    <a:pt x="89" y="918"/>
                    <a:pt x="87" y="917"/>
                    <a:pt x="86" y="915"/>
                  </a:cubicBezTo>
                  <a:cubicBezTo>
                    <a:pt x="85" y="914"/>
                    <a:pt x="85" y="913"/>
                    <a:pt x="85" y="913"/>
                  </a:cubicBezTo>
                  <a:cubicBezTo>
                    <a:pt x="85" y="912"/>
                    <a:pt x="84" y="911"/>
                    <a:pt x="84" y="910"/>
                  </a:cubicBezTo>
                  <a:cubicBezTo>
                    <a:pt x="84" y="910"/>
                    <a:pt x="83" y="910"/>
                    <a:pt x="83" y="910"/>
                  </a:cubicBezTo>
                  <a:cubicBezTo>
                    <a:pt x="81" y="908"/>
                    <a:pt x="81" y="908"/>
                    <a:pt x="81" y="908"/>
                  </a:cubicBezTo>
                  <a:cubicBezTo>
                    <a:pt x="79" y="907"/>
                    <a:pt x="78" y="907"/>
                    <a:pt x="77" y="904"/>
                  </a:cubicBezTo>
                  <a:cubicBezTo>
                    <a:pt x="76" y="904"/>
                    <a:pt x="76" y="904"/>
                    <a:pt x="76" y="904"/>
                  </a:cubicBezTo>
                  <a:cubicBezTo>
                    <a:pt x="75" y="902"/>
                    <a:pt x="75" y="902"/>
                    <a:pt x="75" y="902"/>
                  </a:cubicBezTo>
                  <a:cubicBezTo>
                    <a:pt x="75" y="901"/>
                    <a:pt x="75" y="900"/>
                    <a:pt x="76" y="898"/>
                  </a:cubicBezTo>
                  <a:cubicBezTo>
                    <a:pt x="76" y="897"/>
                    <a:pt x="77" y="897"/>
                    <a:pt x="77" y="896"/>
                  </a:cubicBezTo>
                  <a:cubicBezTo>
                    <a:pt x="78" y="895"/>
                    <a:pt x="78" y="894"/>
                    <a:pt x="78" y="893"/>
                  </a:cubicBezTo>
                  <a:cubicBezTo>
                    <a:pt x="78" y="893"/>
                    <a:pt x="78" y="893"/>
                    <a:pt x="78" y="893"/>
                  </a:cubicBezTo>
                  <a:cubicBezTo>
                    <a:pt x="77" y="892"/>
                    <a:pt x="77" y="892"/>
                    <a:pt x="77" y="892"/>
                  </a:cubicBezTo>
                  <a:cubicBezTo>
                    <a:pt x="77" y="891"/>
                    <a:pt x="77" y="891"/>
                    <a:pt x="77" y="891"/>
                  </a:cubicBezTo>
                  <a:cubicBezTo>
                    <a:pt x="76" y="891"/>
                    <a:pt x="76" y="891"/>
                    <a:pt x="76" y="891"/>
                  </a:cubicBezTo>
                  <a:cubicBezTo>
                    <a:pt x="76" y="890"/>
                    <a:pt x="76" y="889"/>
                    <a:pt x="76" y="888"/>
                  </a:cubicBezTo>
                  <a:cubicBezTo>
                    <a:pt x="76" y="886"/>
                    <a:pt x="77" y="885"/>
                    <a:pt x="77" y="884"/>
                  </a:cubicBezTo>
                  <a:cubicBezTo>
                    <a:pt x="78" y="883"/>
                    <a:pt x="78" y="883"/>
                    <a:pt x="78" y="883"/>
                  </a:cubicBezTo>
                  <a:cubicBezTo>
                    <a:pt x="78" y="882"/>
                    <a:pt x="78" y="880"/>
                    <a:pt x="78" y="879"/>
                  </a:cubicBezTo>
                  <a:cubicBezTo>
                    <a:pt x="78" y="878"/>
                    <a:pt x="78" y="877"/>
                    <a:pt x="78" y="876"/>
                  </a:cubicBezTo>
                  <a:cubicBezTo>
                    <a:pt x="78" y="875"/>
                    <a:pt x="78" y="875"/>
                    <a:pt x="78" y="875"/>
                  </a:cubicBezTo>
                  <a:cubicBezTo>
                    <a:pt x="77" y="875"/>
                    <a:pt x="77" y="875"/>
                    <a:pt x="76" y="876"/>
                  </a:cubicBezTo>
                  <a:cubicBezTo>
                    <a:pt x="75" y="876"/>
                    <a:pt x="75" y="876"/>
                    <a:pt x="75" y="876"/>
                  </a:cubicBezTo>
                  <a:cubicBezTo>
                    <a:pt x="74" y="877"/>
                    <a:pt x="74" y="877"/>
                    <a:pt x="74" y="877"/>
                  </a:cubicBezTo>
                  <a:cubicBezTo>
                    <a:pt x="74" y="877"/>
                    <a:pt x="73" y="877"/>
                    <a:pt x="73" y="877"/>
                  </a:cubicBezTo>
                  <a:cubicBezTo>
                    <a:pt x="71" y="877"/>
                    <a:pt x="71" y="876"/>
                    <a:pt x="70" y="876"/>
                  </a:cubicBezTo>
                  <a:cubicBezTo>
                    <a:pt x="70" y="876"/>
                    <a:pt x="70" y="876"/>
                    <a:pt x="70" y="876"/>
                  </a:cubicBezTo>
                  <a:cubicBezTo>
                    <a:pt x="69" y="876"/>
                    <a:pt x="69" y="876"/>
                    <a:pt x="68" y="877"/>
                  </a:cubicBezTo>
                  <a:cubicBezTo>
                    <a:pt x="68" y="877"/>
                    <a:pt x="67" y="878"/>
                    <a:pt x="67" y="878"/>
                  </a:cubicBezTo>
                  <a:cubicBezTo>
                    <a:pt x="66" y="879"/>
                    <a:pt x="66" y="879"/>
                    <a:pt x="65" y="879"/>
                  </a:cubicBezTo>
                  <a:cubicBezTo>
                    <a:pt x="65" y="879"/>
                    <a:pt x="64" y="879"/>
                    <a:pt x="64" y="880"/>
                  </a:cubicBezTo>
                  <a:cubicBezTo>
                    <a:pt x="63" y="880"/>
                    <a:pt x="63" y="880"/>
                    <a:pt x="63" y="880"/>
                  </a:cubicBezTo>
                  <a:cubicBezTo>
                    <a:pt x="63" y="880"/>
                    <a:pt x="63" y="880"/>
                    <a:pt x="62" y="880"/>
                  </a:cubicBezTo>
                  <a:cubicBezTo>
                    <a:pt x="62" y="880"/>
                    <a:pt x="62" y="880"/>
                    <a:pt x="62" y="880"/>
                  </a:cubicBezTo>
                  <a:cubicBezTo>
                    <a:pt x="61" y="880"/>
                    <a:pt x="61" y="880"/>
                    <a:pt x="61" y="880"/>
                  </a:cubicBezTo>
                  <a:cubicBezTo>
                    <a:pt x="61" y="880"/>
                    <a:pt x="60" y="880"/>
                    <a:pt x="60" y="880"/>
                  </a:cubicBezTo>
                  <a:cubicBezTo>
                    <a:pt x="59" y="879"/>
                    <a:pt x="59" y="879"/>
                    <a:pt x="59" y="879"/>
                  </a:cubicBezTo>
                  <a:cubicBezTo>
                    <a:pt x="59" y="878"/>
                    <a:pt x="59" y="878"/>
                    <a:pt x="59" y="878"/>
                  </a:cubicBezTo>
                  <a:cubicBezTo>
                    <a:pt x="58" y="878"/>
                    <a:pt x="58" y="878"/>
                    <a:pt x="58" y="878"/>
                  </a:cubicBezTo>
                  <a:cubicBezTo>
                    <a:pt x="58" y="877"/>
                    <a:pt x="58" y="877"/>
                    <a:pt x="58" y="877"/>
                  </a:cubicBezTo>
                  <a:cubicBezTo>
                    <a:pt x="57" y="877"/>
                    <a:pt x="57" y="877"/>
                    <a:pt x="57" y="877"/>
                  </a:cubicBezTo>
                  <a:cubicBezTo>
                    <a:pt x="57" y="876"/>
                    <a:pt x="57" y="876"/>
                    <a:pt x="57" y="876"/>
                  </a:cubicBezTo>
                  <a:cubicBezTo>
                    <a:pt x="57" y="874"/>
                    <a:pt x="57" y="874"/>
                    <a:pt x="57" y="874"/>
                  </a:cubicBezTo>
                  <a:cubicBezTo>
                    <a:pt x="56" y="872"/>
                    <a:pt x="56" y="872"/>
                    <a:pt x="56" y="872"/>
                  </a:cubicBezTo>
                  <a:cubicBezTo>
                    <a:pt x="56" y="871"/>
                    <a:pt x="56" y="871"/>
                    <a:pt x="56" y="870"/>
                  </a:cubicBezTo>
                  <a:cubicBezTo>
                    <a:pt x="56" y="869"/>
                    <a:pt x="56" y="869"/>
                    <a:pt x="56" y="869"/>
                  </a:cubicBezTo>
                  <a:cubicBezTo>
                    <a:pt x="56" y="868"/>
                    <a:pt x="55" y="867"/>
                    <a:pt x="55" y="866"/>
                  </a:cubicBezTo>
                  <a:cubicBezTo>
                    <a:pt x="55" y="865"/>
                    <a:pt x="55" y="865"/>
                    <a:pt x="55" y="865"/>
                  </a:cubicBezTo>
                  <a:cubicBezTo>
                    <a:pt x="55" y="864"/>
                    <a:pt x="55" y="864"/>
                    <a:pt x="55" y="864"/>
                  </a:cubicBezTo>
                  <a:cubicBezTo>
                    <a:pt x="54" y="863"/>
                    <a:pt x="54" y="863"/>
                    <a:pt x="53" y="863"/>
                  </a:cubicBezTo>
                  <a:cubicBezTo>
                    <a:pt x="52" y="862"/>
                    <a:pt x="52" y="862"/>
                    <a:pt x="52" y="862"/>
                  </a:cubicBezTo>
                  <a:cubicBezTo>
                    <a:pt x="52" y="862"/>
                    <a:pt x="52" y="861"/>
                    <a:pt x="51" y="861"/>
                  </a:cubicBezTo>
                  <a:cubicBezTo>
                    <a:pt x="51" y="861"/>
                    <a:pt x="51" y="860"/>
                    <a:pt x="50" y="860"/>
                  </a:cubicBezTo>
                  <a:cubicBezTo>
                    <a:pt x="45" y="863"/>
                    <a:pt x="45" y="863"/>
                    <a:pt x="45" y="863"/>
                  </a:cubicBezTo>
                  <a:cubicBezTo>
                    <a:pt x="50" y="859"/>
                    <a:pt x="50" y="859"/>
                    <a:pt x="50" y="859"/>
                  </a:cubicBezTo>
                  <a:cubicBezTo>
                    <a:pt x="49" y="858"/>
                    <a:pt x="49" y="858"/>
                    <a:pt x="49" y="858"/>
                  </a:cubicBezTo>
                  <a:cubicBezTo>
                    <a:pt x="49" y="857"/>
                    <a:pt x="49" y="857"/>
                    <a:pt x="49" y="857"/>
                  </a:cubicBezTo>
                  <a:cubicBezTo>
                    <a:pt x="49" y="857"/>
                    <a:pt x="49" y="856"/>
                    <a:pt x="49" y="856"/>
                  </a:cubicBezTo>
                  <a:cubicBezTo>
                    <a:pt x="49" y="855"/>
                    <a:pt x="49" y="855"/>
                    <a:pt x="49" y="855"/>
                  </a:cubicBezTo>
                  <a:cubicBezTo>
                    <a:pt x="49" y="855"/>
                    <a:pt x="49" y="854"/>
                    <a:pt x="49" y="854"/>
                  </a:cubicBezTo>
                  <a:cubicBezTo>
                    <a:pt x="49" y="852"/>
                    <a:pt x="49" y="850"/>
                    <a:pt x="49" y="847"/>
                  </a:cubicBezTo>
                  <a:cubicBezTo>
                    <a:pt x="49" y="846"/>
                    <a:pt x="50" y="844"/>
                    <a:pt x="50" y="843"/>
                  </a:cubicBezTo>
                  <a:cubicBezTo>
                    <a:pt x="49" y="842"/>
                    <a:pt x="49" y="842"/>
                    <a:pt x="49" y="842"/>
                  </a:cubicBezTo>
                  <a:cubicBezTo>
                    <a:pt x="48" y="842"/>
                    <a:pt x="48" y="842"/>
                    <a:pt x="48" y="842"/>
                  </a:cubicBezTo>
                  <a:cubicBezTo>
                    <a:pt x="48" y="841"/>
                    <a:pt x="48" y="841"/>
                    <a:pt x="48" y="841"/>
                  </a:cubicBezTo>
                  <a:cubicBezTo>
                    <a:pt x="48" y="840"/>
                    <a:pt x="48" y="839"/>
                    <a:pt x="48" y="839"/>
                  </a:cubicBezTo>
                  <a:cubicBezTo>
                    <a:pt x="49" y="837"/>
                    <a:pt x="49" y="835"/>
                    <a:pt x="50" y="833"/>
                  </a:cubicBezTo>
                  <a:cubicBezTo>
                    <a:pt x="51" y="832"/>
                    <a:pt x="51" y="832"/>
                    <a:pt x="51" y="832"/>
                  </a:cubicBezTo>
                  <a:cubicBezTo>
                    <a:pt x="53" y="830"/>
                    <a:pt x="55" y="830"/>
                    <a:pt x="56" y="829"/>
                  </a:cubicBezTo>
                  <a:cubicBezTo>
                    <a:pt x="57" y="829"/>
                    <a:pt x="58" y="829"/>
                    <a:pt x="59" y="829"/>
                  </a:cubicBezTo>
                  <a:cubicBezTo>
                    <a:pt x="59" y="829"/>
                    <a:pt x="59" y="829"/>
                    <a:pt x="59" y="829"/>
                  </a:cubicBezTo>
                  <a:cubicBezTo>
                    <a:pt x="60" y="828"/>
                    <a:pt x="61" y="827"/>
                    <a:pt x="63" y="825"/>
                  </a:cubicBezTo>
                  <a:cubicBezTo>
                    <a:pt x="63" y="824"/>
                    <a:pt x="63" y="824"/>
                    <a:pt x="63" y="824"/>
                  </a:cubicBezTo>
                  <a:cubicBezTo>
                    <a:pt x="64" y="823"/>
                    <a:pt x="64" y="823"/>
                    <a:pt x="65" y="822"/>
                  </a:cubicBezTo>
                  <a:cubicBezTo>
                    <a:pt x="65" y="821"/>
                    <a:pt x="66" y="821"/>
                    <a:pt x="67" y="820"/>
                  </a:cubicBezTo>
                  <a:cubicBezTo>
                    <a:pt x="68" y="819"/>
                    <a:pt x="68" y="819"/>
                    <a:pt x="68" y="819"/>
                  </a:cubicBezTo>
                  <a:cubicBezTo>
                    <a:pt x="68" y="819"/>
                    <a:pt x="69" y="818"/>
                    <a:pt x="70" y="818"/>
                  </a:cubicBezTo>
                  <a:cubicBezTo>
                    <a:pt x="71" y="817"/>
                    <a:pt x="71" y="817"/>
                    <a:pt x="71" y="816"/>
                  </a:cubicBezTo>
                  <a:cubicBezTo>
                    <a:pt x="71" y="811"/>
                    <a:pt x="71" y="811"/>
                    <a:pt x="71" y="811"/>
                  </a:cubicBezTo>
                  <a:cubicBezTo>
                    <a:pt x="71" y="810"/>
                    <a:pt x="71" y="809"/>
                    <a:pt x="71" y="808"/>
                  </a:cubicBezTo>
                  <a:cubicBezTo>
                    <a:pt x="72" y="807"/>
                    <a:pt x="73" y="806"/>
                    <a:pt x="73" y="805"/>
                  </a:cubicBezTo>
                  <a:cubicBezTo>
                    <a:pt x="74" y="804"/>
                    <a:pt x="75" y="804"/>
                    <a:pt x="76" y="803"/>
                  </a:cubicBezTo>
                  <a:cubicBezTo>
                    <a:pt x="77" y="803"/>
                    <a:pt x="77" y="803"/>
                    <a:pt x="78" y="802"/>
                  </a:cubicBezTo>
                  <a:cubicBezTo>
                    <a:pt x="78" y="802"/>
                    <a:pt x="78" y="802"/>
                    <a:pt x="78" y="802"/>
                  </a:cubicBezTo>
                  <a:cubicBezTo>
                    <a:pt x="78" y="801"/>
                    <a:pt x="78" y="800"/>
                    <a:pt x="77" y="799"/>
                  </a:cubicBezTo>
                  <a:cubicBezTo>
                    <a:pt x="77" y="798"/>
                    <a:pt x="77" y="798"/>
                    <a:pt x="77" y="798"/>
                  </a:cubicBezTo>
                  <a:cubicBezTo>
                    <a:pt x="77" y="798"/>
                    <a:pt x="77" y="798"/>
                    <a:pt x="77" y="798"/>
                  </a:cubicBezTo>
                  <a:cubicBezTo>
                    <a:pt x="76" y="797"/>
                    <a:pt x="76" y="797"/>
                    <a:pt x="76" y="797"/>
                  </a:cubicBezTo>
                  <a:cubicBezTo>
                    <a:pt x="76" y="797"/>
                    <a:pt x="75" y="796"/>
                    <a:pt x="75" y="796"/>
                  </a:cubicBezTo>
                  <a:cubicBezTo>
                    <a:pt x="74" y="795"/>
                    <a:pt x="74" y="795"/>
                    <a:pt x="74" y="795"/>
                  </a:cubicBezTo>
                  <a:cubicBezTo>
                    <a:pt x="72" y="792"/>
                    <a:pt x="72" y="790"/>
                    <a:pt x="74" y="788"/>
                  </a:cubicBezTo>
                  <a:cubicBezTo>
                    <a:pt x="77" y="780"/>
                    <a:pt x="77" y="780"/>
                    <a:pt x="77" y="780"/>
                  </a:cubicBezTo>
                  <a:cubicBezTo>
                    <a:pt x="76" y="779"/>
                    <a:pt x="76" y="779"/>
                    <a:pt x="76" y="779"/>
                  </a:cubicBezTo>
                  <a:cubicBezTo>
                    <a:pt x="77" y="778"/>
                    <a:pt x="77" y="778"/>
                    <a:pt x="77" y="778"/>
                  </a:cubicBezTo>
                  <a:cubicBezTo>
                    <a:pt x="78" y="776"/>
                    <a:pt x="80" y="774"/>
                    <a:pt x="82" y="773"/>
                  </a:cubicBezTo>
                  <a:cubicBezTo>
                    <a:pt x="83" y="773"/>
                    <a:pt x="83" y="773"/>
                    <a:pt x="83" y="773"/>
                  </a:cubicBezTo>
                  <a:cubicBezTo>
                    <a:pt x="83" y="772"/>
                    <a:pt x="84" y="772"/>
                    <a:pt x="85" y="771"/>
                  </a:cubicBezTo>
                  <a:cubicBezTo>
                    <a:pt x="85" y="771"/>
                    <a:pt x="85" y="771"/>
                    <a:pt x="85" y="771"/>
                  </a:cubicBezTo>
                  <a:cubicBezTo>
                    <a:pt x="86" y="771"/>
                    <a:pt x="87" y="770"/>
                    <a:pt x="87" y="770"/>
                  </a:cubicBezTo>
                  <a:cubicBezTo>
                    <a:pt x="87" y="770"/>
                    <a:pt x="87" y="770"/>
                    <a:pt x="87" y="770"/>
                  </a:cubicBezTo>
                  <a:cubicBezTo>
                    <a:pt x="87" y="769"/>
                    <a:pt x="87" y="769"/>
                    <a:pt x="87" y="769"/>
                  </a:cubicBezTo>
                  <a:cubicBezTo>
                    <a:pt x="86" y="764"/>
                    <a:pt x="85" y="762"/>
                    <a:pt x="89" y="757"/>
                  </a:cubicBezTo>
                  <a:cubicBezTo>
                    <a:pt x="89" y="757"/>
                    <a:pt x="89" y="757"/>
                    <a:pt x="89" y="757"/>
                  </a:cubicBezTo>
                  <a:cubicBezTo>
                    <a:pt x="91" y="755"/>
                    <a:pt x="91" y="755"/>
                    <a:pt x="91" y="755"/>
                  </a:cubicBezTo>
                  <a:cubicBezTo>
                    <a:pt x="92" y="754"/>
                    <a:pt x="92" y="754"/>
                    <a:pt x="92" y="754"/>
                  </a:cubicBezTo>
                  <a:cubicBezTo>
                    <a:pt x="92" y="753"/>
                    <a:pt x="91" y="752"/>
                    <a:pt x="91" y="752"/>
                  </a:cubicBezTo>
                  <a:cubicBezTo>
                    <a:pt x="91" y="750"/>
                    <a:pt x="91" y="750"/>
                    <a:pt x="91" y="750"/>
                  </a:cubicBezTo>
                  <a:cubicBezTo>
                    <a:pt x="88" y="742"/>
                    <a:pt x="88" y="742"/>
                    <a:pt x="88" y="742"/>
                  </a:cubicBezTo>
                  <a:cubicBezTo>
                    <a:pt x="88" y="742"/>
                    <a:pt x="88" y="742"/>
                    <a:pt x="88" y="742"/>
                  </a:cubicBezTo>
                  <a:cubicBezTo>
                    <a:pt x="88" y="740"/>
                    <a:pt x="89" y="739"/>
                    <a:pt x="89" y="738"/>
                  </a:cubicBezTo>
                  <a:cubicBezTo>
                    <a:pt x="92" y="735"/>
                    <a:pt x="92" y="735"/>
                    <a:pt x="92" y="735"/>
                  </a:cubicBezTo>
                  <a:cubicBezTo>
                    <a:pt x="92" y="735"/>
                    <a:pt x="92" y="735"/>
                    <a:pt x="92" y="735"/>
                  </a:cubicBezTo>
                  <a:cubicBezTo>
                    <a:pt x="92" y="734"/>
                    <a:pt x="92" y="734"/>
                    <a:pt x="92" y="734"/>
                  </a:cubicBezTo>
                  <a:cubicBezTo>
                    <a:pt x="92" y="734"/>
                    <a:pt x="92" y="734"/>
                    <a:pt x="92" y="734"/>
                  </a:cubicBezTo>
                  <a:cubicBezTo>
                    <a:pt x="92" y="734"/>
                    <a:pt x="92" y="733"/>
                    <a:pt x="91" y="733"/>
                  </a:cubicBezTo>
                  <a:cubicBezTo>
                    <a:pt x="91" y="732"/>
                    <a:pt x="91" y="732"/>
                    <a:pt x="91" y="732"/>
                  </a:cubicBezTo>
                  <a:cubicBezTo>
                    <a:pt x="90" y="730"/>
                    <a:pt x="90" y="729"/>
                    <a:pt x="90" y="728"/>
                  </a:cubicBezTo>
                  <a:cubicBezTo>
                    <a:pt x="89" y="724"/>
                    <a:pt x="91" y="722"/>
                    <a:pt x="94" y="720"/>
                  </a:cubicBezTo>
                  <a:cubicBezTo>
                    <a:pt x="94" y="720"/>
                    <a:pt x="95" y="720"/>
                    <a:pt x="95" y="720"/>
                  </a:cubicBezTo>
                  <a:cubicBezTo>
                    <a:pt x="96" y="721"/>
                    <a:pt x="96" y="721"/>
                    <a:pt x="96" y="721"/>
                  </a:cubicBezTo>
                  <a:cubicBezTo>
                    <a:pt x="96" y="721"/>
                    <a:pt x="96" y="721"/>
                    <a:pt x="96" y="721"/>
                  </a:cubicBezTo>
                  <a:cubicBezTo>
                    <a:pt x="95" y="720"/>
                    <a:pt x="95" y="720"/>
                    <a:pt x="95" y="720"/>
                  </a:cubicBezTo>
                  <a:cubicBezTo>
                    <a:pt x="96" y="720"/>
                    <a:pt x="96" y="719"/>
                    <a:pt x="97" y="719"/>
                  </a:cubicBezTo>
                  <a:cubicBezTo>
                    <a:pt x="97" y="719"/>
                    <a:pt x="98" y="719"/>
                    <a:pt x="98" y="717"/>
                  </a:cubicBezTo>
                  <a:cubicBezTo>
                    <a:pt x="98" y="717"/>
                    <a:pt x="98" y="717"/>
                    <a:pt x="98" y="717"/>
                  </a:cubicBezTo>
                  <a:cubicBezTo>
                    <a:pt x="99" y="716"/>
                    <a:pt x="99" y="716"/>
                    <a:pt x="99" y="716"/>
                  </a:cubicBezTo>
                  <a:cubicBezTo>
                    <a:pt x="99" y="716"/>
                    <a:pt x="100" y="715"/>
                    <a:pt x="100" y="715"/>
                  </a:cubicBezTo>
                  <a:cubicBezTo>
                    <a:pt x="100" y="715"/>
                    <a:pt x="100" y="715"/>
                    <a:pt x="100" y="715"/>
                  </a:cubicBezTo>
                  <a:cubicBezTo>
                    <a:pt x="100" y="715"/>
                    <a:pt x="100" y="714"/>
                    <a:pt x="99" y="714"/>
                  </a:cubicBezTo>
                  <a:cubicBezTo>
                    <a:pt x="99" y="713"/>
                    <a:pt x="99" y="713"/>
                    <a:pt x="99" y="713"/>
                  </a:cubicBezTo>
                  <a:cubicBezTo>
                    <a:pt x="98" y="713"/>
                    <a:pt x="98" y="713"/>
                    <a:pt x="98" y="713"/>
                  </a:cubicBezTo>
                  <a:cubicBezTo>
                    <a:pt x="98" y="712"/>
                    <a:pt x="97" y="711"/>
                    <a:pt x="97" y="710"/>
                  </a:cubicBezTo>
                  <a:cubicBezTo>
                    <a:pt x="97" y="710"/>
                    <a:pt x="96" y="710"/>
                    <a:pt x="96" y="709"/>
                  </a:cubicBezTo>
                  <a:cubicBezTo>
                    <a:pt x="96" y="708"/>
                    <a:pt x="96" y="708"/>
                    <a:pt x="96" y="708"/>
                  </a:cubicBezTo>
                  <a:cubicBezTo>
                    <a:pt x="95" y="708"/>
                    <a:pt x="93" y="708"/>
                    <a:pt x="92" y="708"/>
                  </a:cubicBezTo>
                  <a:cubicBezTo>
                    <a:pt x="92" y="708"/>
                    <a:pt x="92" y="708"/>
                    <a:pt x="92" y="708"/>
                  </a:cubicBezTo>
                  <a:cubicBezTo>
                    <a:pt x="91" y="708"/>
                    <a:pt x="90" y="708"/>
                    <a:pt x="90" y="708"/>
                  </a:cubicBezTo>
                  <a:cubicBezTo>
                    <a:pt x="90" y="708"/>
                    <a:pt x="89" y="708"/>
                    <a:pt x="89" y="708"/>
                  </a:cubicBezTo>
                  <a:cubicBezTo>
                    <a:pt x="88" y="707"/>
                    <a:pt x="86" y="707"/>
                    <a:pt x="85" y="706"/>
                  </a:cubicBezTo>
                  <a:cubicBezTo>
                    <a:pt x="84" y="705"/>
                    <a:pt x="83" y="704"/>
                    <a:pt x="83" y="703"/>
                  </a:cubicBezTo>
                  <a:cubicBezTo>
                    <a:pt x="83" y="703"/>
                    <a:pt x="83" y="703"/>
                    <a:pt x="83" y="703"/>
                  </a:cubicBezTo>
                  <a:cubicBezTo>
                    <a:pt x="83" y="702"/>
                    <a:pt x="83" y="702"/>
                    <a:pt x="83" y="702"/>
                  </a:cubicBezTo>
                  <a:cubicBezTo>
                    <a:pt x="81" y="698"/>
                    <a:pt x="81" y="698"/>
                    <a:pt x="81" y="698"/>
                  </a:cubicBezTo>
                  <a:cubicBezTo>
                    <a:pt x="85" y="698"/>
                    <a:pt x="85" y="698"/>
                    <a:pt x="85" y="698"/>
                  </a:cubicBezTo>
                  <a:cubicBezTo>
                    <a:pt x="86" y="697"/>
                    <a:pt x="88" y="697"/>
                    <a:pt x="89" y="697"/>
                  </a:cubicBezTo>
                  <a:cubicBezTo>
                    <a:pt x="90" y="697"/>
                    <a:pt x="90" y="697"/>
                    <a:pt x="90" y="697"/>
                  </a:cubicBezTo>
                  <a:cubicBezTo>
                    <a:pt x="90" y="697"/>
                    <a:pt x="91" y="697"/>
                    <a:pt x="91" y="697"/>
                  </a:cubicBezTo>
                  <a:cubicBezTo>
                    <a:pt x="93" y="697"/>
                    <a:pt x="95" y="697"/>
                    <a:pt x="97" y="697"/>
                  </a:cubicBezTo>
                  <a:cubicBezTo>
                    <a:pt x="100" y="698"/>
                    <a:pt x="100" y="698"/>
                    <a:pt x="100" y="698"/>
                  </a:cubicBezTo>
                  <a:cubicBezTo>
                    <a:pt x="101" y="698"/>
                    <a:pt x="102" y="698"/>
                    <a:pt x="102" y="698"/>
                  </a:cubicBezTo>
                  <a:cubicBezTo>
                    <a:pt x="102" y="697"/>
                    <a:pt x="102" y="697"/>
                    <a:pt x="102" y="697"/>
                  </a:cubicBezTo>
                  <a:cubicBezTo>
                    <a:pt x="103" y="696"/>
                    <a:pt x="103" y="694"/>
                    <a:pt x="105" y="693"/>
                  </a:cubicBezTo>
                  <a:cubicBezTo>
                    <a:pt x="105" y="693"/>
                    <a:pt x="105" y="693"/>
                    <a:pt x="105" y="693"/>
                  </a:cubicBezTo>
                  <a:cubicBezTo>
                    <a:pt x="104" y="692"/>
                    <a:pt x="100" y="692"/>
                    <a:pt x="98" y="692"/>
                  </a:cubicBezTo>
                  <a:cubicBezTo>
                    <a:pt x="96" y="692"/>
                    <a:pt x="95" y="692"/>
                    <a:pt x="94" y="692"/>
                  </a:cubicBezTo>
                  <a:cubicBezTo>
                    <a:pt x="93" y="692"/>
                    <a:pt x="93" y="692"/>
                    <a:pt x="93" y="692"/>
                  </a:cubicBezTo>
                  <a:cubicBezTo>
                    <a:pt x="92" y="693"/>
                    <a:pt x="92" y="693"/>
                    <a:pt x="92" y="693"/>
                  </a:cubicBezTo>
                  <a:cubicBezTo>
                    <a:pt x="91" y="692"/>
                    <a:pt x="91" y="692"/>
                    <a:pt x="91" y="692"/>
                  </a:cubicBezTo>
                  <a:cubicBezTo>
                    <a:pt x="88" y="690"/>
                    <a:pt x="89" y="688"/>
                    <a:pt x="89" y="686"/>
                  </a:cubicBezTo>
                  <a:cubicBezTo>
                    <a:pt x="90" y="681"/>
                    <a:pt x="90" y="681"/>
                    <a:pt x="90" y="681"/>
                  </a:cubicBezTo>
                  <a:cubicBezTo>
                    <a:pt x="90" y="680"/>
                    <a:pt x="91" y="679"/>
                    <a:pt x="92" y="678"/>
                  </a:cubicBezTo>
                  <a:cubicBezTo>
                    <a:pt x="92" y="676"/>
                    <a:pt x="92" y="676"/>
                    <a:pt x="92" y="676"/>
                  </a:cubicBezTo>
                  <a:cubicBezTo>
                    <a:pt x="93" y="676"/>
                    <a:pt x="93" y="676"/>
                    <a:pt x="93" y="676"/>
                  </a:cubicBezTo>
                  <a:cubicBezTo>
                    <a:pt x="93" y="675"/>
                    <a:pt x="92" y="673"/>
                    <a:pt x="91" y="671"/>
                  </a:cubicBezTo>
                  <a:cubicBezTo>
                    <a:pt x="91" y="669"/>
                    <a:pt x="91" y="669"/>
                    <a:pt x="91" y="668"/>
                  </a:cubicBezTo>
                  <a:cubicBezTo>
                    <a:pt x="90" y="667"/>
                    <a:pt x="90" y="667"/>
                    <a:pt x="90" y="667"/>
                  </a:cubicBezTo>
                  <a:cubicBezTo>
                    <a:pt x="90" y="667"/>
                    <a:pt x="90" y="667"/>
                    <a:pt x="90" y="667"/>
                  </a:cubicBezTo>
                  <a:cubicBezTo>
                    <a:pt x="90" y="667"/>
                    <a:pt x="90" y="667"/>
                    <a:pt x="90" y="667"/>
                  </a:cubicBezTo>
                  <a:cubicBezTo>
                    <a:pt x="88" y="665"/>
                    <a:pt x="87" y="664"/>
                    <a:pt x="86" y="662"/>
                  </a:cubicBezTo>
                  <a:cubicBezTo>
                    <a:pt x="86" y="660"/>
                    <a:pt x="87" y="659"/>
                    <a:pt x="89" y="657"/>
                  </a:cubicBezTo>
                  <a:cubicBezTo>
                    <a:pt x="89" y="657"/>
                    <a:pt x="89" y="657"/>
                    <a:pt x="89" y="657"/>
                  </a:cubicBezTo>
                  <a:cubicBezTo>
                    <a:pt x="89" y="657"/>
                    <a:pt x="89" y="657"/>
                    <a:pt x="89" y="657"/>
                  </a:cubicBezTo>
                  <a:cubicBezTo>
                    <a:pt x="90" y="657"/>
                    <a:pt x="90" y="657"/>
                    <a:pt x="90" y="657"/>
                  </a:cubicBezTo>
                  <a:cubicBezTo>
                    <a:pt x="90" y="656"/>
                    <a:pt x="89" y="656"/>
                    <a:pt x="89" y="656"/>
                  </a:cubicBezTo>
                  <a:cubicBezTo>
                    <a:pt x="87" y="656"/>
                    <a:pt x="84" y="655"/>
                    <a:pt x="82" y="653"/>
                  </a:cubicBezTo>
                  <a:cubicBezTo>
                    <a:pt x="81" y="651"/>
                    <a:pt x="81" y="649"/>
                    <a:pt x="82" y="647"/>
                  </a:cubicBezTo>
                  <a:cubicBezTo>
                    <a:pt x="82" y="647"/>
                    <a:pt x="82" y="647"/>
                    <a:pt x="82" y="646"/>
                  </a:cubicBezTo>
                  <a:cubicBezTo>
                    <a:pt x="82" y="644"/>
                    <a:pt x="82" y="644"/>
                    <a:pt x="82" y="644"/>
                  </a:cubicBezTo>
                  <a:cubicBezTo>
                    <a:pt x="82" y="643"/>
                    <a:pt x="82" y="641"/>
                    <a:pt x="82" y="639"/>
                  </a:cubicBezTo>
                  <a:cubicBezTo>
                    <a:pt x="82" y="638"/>
                    <a:pt x="82" y="638"/>
                    <a:pt x="82" y="638"/>
                  </a:cubicBezTo>
                  <a:cubicBezTo>
                    <a:pt x="82" y="637"/>
                    <a:pt x="82" y="635"/>
                    <a:pt x="83" y="634"/>
                  </a:cubicBezTo>
                  <a:cubicBezTo>
                    <a:pt x="83" y="634"/>
                    <a:pt x="83" y="633"/>
                    <a:pt x="83" y="632"/>
                  </a:cubicBezTo>
                  <a:cubicBezTo>
                    <a:pt x="83" y="628"/>
                    <a:pt x="83" y="626"/>
                    <a:pt x="89" y="624"/>
                  </a:cubicBezTo>
                  <a:cubicBezTo>
                    <a:pt x="90" y="623"/>
                    <a:pt x="90" y="623"/>
                    <a:pt x="90" y="623"/>
                  </a:cubicBezTo>
                  <a:cubicBezTo>
                    <a:pt x="90" y="623"/>
                    <a:pt x="90" y="622"/>
                    <a:pt x="90" y="622"/>
                  </a:cubicBezTo>
                  <a:cubicBezTo>
                    <a:pt x="89" y="620"/>
                    <a:pt x="89" y="620"/>
                    <a:pt x="89" y="620"/>
                  </a:cubicBezTo>
                  <a:cubicBezTo>
                    <a:pt x="88" y="615"/>
                    <a:pt x="86" y="612"/>
                    <a:pt x="87" y="606"/>
                  </a:cubicBezTo>
                  <a:cubicBezTo>
                    <a:pt x="87" y="605"/>
                    <a:pt x="87" y="604"/>
                    <a:pt x="87" y="603"/>
                  </a:cubicBezTo>
                  <a:cubicBezTo>
                    <a:pt x="87" y="602"/>
                    <a:pt x="87" y="602"/>
                    <a:pt x="87" y="602"/>
                  </a:cubicBezTo>
                  <a:cubicBezTo>
                    <a:pt x="88" y="599"/>
                    <a:pt x="88" y="597"/>
                    <a:pt x="88" y="594"/>
                  </a:cubicBezTo>
                  <a:cubicBezTo>
                    <a:pt x="88" y="594"/>
                    <a:pt x="88" y="594"/>
                    <a:pt x="88" y="594"/>
                  </a:cubicBezTo>
                  <a:cubicBezTo>
                    <a:pt x="88" y="593"/>
                    <a:pt x="88" y="592"/>
                    <a:pt x="87" y="592"/>
                  </a:cubicBezTo>
                  <a:cubicBezTo>
                    <a:pt x="87" y="591"/>
                    <a:pt x="87" y="591"/>
                    <a:pt x="87" y="591"/>
                  </a:cubicBezTo>
                  <a:cubicBezTo>
                    <a:pt x="87" y="589"/>
                    <a:pt x="87" y="586"/>
                    <a:pt x="87" y="584"/>
                  </a:cubicBezTo>
                  <a:cubicBezTo>
                    <a:pt x="87" y="583"/>
                    <a:pt x="87" y="583"/>
                    <a:pt x="87" y="583"/>
                  </a:cubicBezTo>
                  <a:cubicBezTo>
                    <a:pt x="88" y="581"/>
                    <a:pt x="90" y="578"/>
                    <a:pt x="91" y="576"/>
                  </a:cubicBezTo>
                  <a:cubicBezTo>
                    <a:pt x="91" y="576"/>
                    <a:pt x="91" y="576"/>
                    <a:pt x="91" y="576"/>
                  </a:cubicBezTo>
                  <a:cubicBezTo>
                    <a:pt x="91" y="576"/>
                    <a:pt x="91" y="576"/>
                    <a:pt x="91" y="576"/>
                  </a:cubicBezTo>
                  <a:cubicBezTo>
                    <a:pt x="90" y="575"/>
                    <a:pt x="89" y="573"/>
                    <a:pt x="89" y="571"/>
                  </a:cubicBezTo>
                  <a:cubicBezTo>
                    <a:pt x="89" y="570"/>
                    <a:pt x="89" y="568"/>
                    <a:pt x="91" y="567"/>
                  </a:cubicBezTo>
                  <a:cubicBezTo>
                    <a:pt x="91" y="566"/>
                    <a:pt x="92" y="566"/>
                    <a:pt x="93" y="566"/>
                  </a:cubicBezTo>
                  <a:cubicBezTo>
                    <a:pt x="93" y="566"/>
                    <a:pt x="93" y="566"/>
                    <a:pt x="93" y="566"/>
                  </a:cubicBezTo>
                  <a:cubicBezTo>
                    <a:pt x="93" y="565"/>
                    <a:pt x="93" y="563"/>
                    <a:pt x="93" y="559"/>
                  </a:cubicBezTo>
                  <a:cubicBezTo>
                    <a:pt x="93" y="558"/>
                    <a:pt x="93" y="558"/>
                    <a:pt x="93" y="558"/>
                  </a:cubicBezTo>
                  <a:cubicBezTo>
                    <a:pt x="93" y="557"/>
                    <a:pt x="93" y="556"/>
                    <a:pt x="93" y="555"/>
                  </a:cubicBezTo>
                  <a:cubicBezTo>
                    <a:pt x="93" y="552"/>
                    <a:pt x="93" y="552"/>
                    <a:pt x="93" y="552"/>
                  </a:cubicBezTo>
                  <a:cubicBezTo>
                    <a:pt x="96" y="553"/>
                    <a:pt x="96" y="553"/>
                    <a:pt x="96" y="553"/>
                  </a:cubicBezTo>
                  <a:cubicBezTo>
                    <a:pt x="97" y="553"/>
                    <a:pt x="97" y="553"/>
                    <a:pt x="97" y="553"/>
                  </a:cubicBezTo>
                  <a:cubicBezTo>
                    <a:pt x="97" y="552"/>
                    <a:pt x="97" y="552"/>
                    <a:pt x="97" y="551"/>
                  </a:cubicBezTo>
                  <a:cubicBezTo>
                    <a:pt x="97" y="551"/>
                    <a:pt x="97" y="551"/>
                    <a:pt x="97" y="551"/>
                  </a:cubicBezTo>
                  <a:cubicBezTo>
                    <a:pt x="99" y="538"/>
                    <a:pt x="99" y="538"/>
                    <a:pt x="99" y="538"/>
                  </a:cubicBezTo>
                  <a:cubicBezTo>
                    <a:pt x="99" y="537"/>
                    <a:pt x="99" y="536"/>
                    <a:pt x="99" y="536"/>
                  </a:cubicBezTo>
                  <a:cubicBezTo>
                    <a:pt x="100" y="535"/>
                    <a:pt x="100" y="535"/>
                    <a:pt x="101" y="534"/>
                  </a:cubicBezTo>
                  <a:cubicBezTo>
                    <a:pt x="101" y="534"/>
                    <a:pt x="102" y="533"/>
                    <a:pt x="103" y="533"/>
                  </a:cubicBezTo>
                  <a:cubicBezTo>
                    <a:pt x="104" y="532"/>
                    <a:pt x="104" y="532"/>
                    <a:pt x="104" y="532"/>
                  </a:cubicBezTo>
                  <a:cubicBezTo>
                    <a:pt x="105" y="532"/>
                    <a:pt x="106" y="532"/>
                    <a:pt x="107" y="531"/>
                  </a:cubicBezTo>
                  <a:cubicBezTo>
                    <a:pt x="109" y="530"/>
                    <a:pt x="111" y="530"/>
                    <a:pt x="111" y="530"/>
                  </a:cubicBezTo>
                  <a:cubicBezTo>
                    <a:pt x="111" y="529"/>
                    <a:pt x="110" y="527"/>
                    <a:pt x="110" y="525"/>
                  </a:cubicBezTo>
                  <a:cubicBezTo>
                    <a:pt x="109" y="524"/>
                    <a:pt x="109" y="523"/>
                    <a:pt x="109" y="523"/>
                  </a:cubicBezTo>
                  <a:cubicBezTo>
                    <a:pt x="109" y="522"/>
                    <a:pt x="108" y="520"/>
                    <a:pt x="108" y="518"/>
                  </a:cubicBezTo>
                  <a:cubicBezTo>
                    <a:pt x="107" y="515"/>
                    <a:pt x="106" y="512"/>
                    <a:pt x="106" y="509"/>
                  </a:cubicBezTo>
                  <a:cubicBezTo>
                    <a:pt x="106" y="508"/>
                    <a:pt x="106" y="508"/>
                    <a:pt x="106" y="508"/>
                  </a:cubicBezTo>
                  <a:cubicBezTo>
                    <a:pt x="106" y="507"/>
                    <a:pt x="105" y="506"/>
                    <a:pt x="105" y="504"/>
                  </a:cubicBezTo>
                  <a:cubicBezTo>
                    <a:pt x="105" y="504"/>
                    <a:pt x="105" y="504"/>
                    <a:pt x="105" y="504"/>
                  </a:cubicBezTo>
                  <a:cubicBezTo>
                    <a:pt x="105" y="500"/>
                    <a:pt x="104" y="497"/>
                    <a:pt x="104" y="493"/>
                  </a:cubicBezTo>
                  <a:cubicBezTo>
                    <a:pt x="104" y="492"/>
                    <a:pt x="104" y="492"/>
                    <a:pt x="104" y="492"/>
                  </a:cubicBezTo>
                  <a:cubicBezTo>
                    <a:pt x="104" y="492"/>
                    <a:pt x="104" y="491"/>
                    <a:pt x="104" y="491"/>
                  </a:cubicBezTo>
                  <a:cubicBezTo>
                    <a:pt x="105" y="487"/>
                    <a:pt x="105" y="483"/>
                    <a:pt x="106" y="478"/>
                  </a:cubicBezTo>
                  <a:cubicBezTo>
                    <a:pt x="107" y="474"/>
                    <a:pt x="107" y="474"/>
                    <a:pt x="107" y="474"/>
                  </a:cubicBezTo>
                  <a:cubicBezTo>
                    <a:pt x="107" y="469"/>
                    <a:pt x="111" y="468"/>
                    <a:pt x="113" y="468"/>
                  </a:cubicBezTo>
                  <a:cubicBezTo>
                    <a:pt x="114" y="468"/>
                    <a:pt x="115" y="468"/>
                    <a:pt x="116" y="467"/>
                  </a:cubicBezTo>
                  <a:cubicBezTo>
                    <a:pt x="116" y="467"/>
                    <a:pt x="116" y="466"/>
                    <a:pt x="117" y="465"/>
                  </a:cubicBezTo>
                  <a:cubicBezTo>
                    <a:pt x="117" y="464"/>
                    <a:pt x="117" y="463"/>
                    <a:pt x="118" y="462"/>
                  </a:cubicBezTo>
                  <a:cubicBezTo>
                    <a:pt x="118" y="462"/>
                    <a:pt x="118" y="462"/>
                    <a:pt x="118" y="462"/>
                  </a:cubicBezTo>
                  <a:cubicBezTo>
                    <a:pt x="115" y="462"/>
                    <a:pt x="115" y="462"/>
                    <a:pt x="115" y="462"/>
                  </a:cubicBezTo>
                  <a:cubicBezTo>
                    <a:pt x="121" y="460"/>
                    <a:pt x="121" y="460"/>
                    <a:pt x="121" y="460"/>
                  </a:cubicBezTo>
                  <a:cubicBezTo>
                    <a:pt x="121" y="460"/>
                    <a:pt x="121" y="460"/>
                    <a:pt x="121" y="460"/>
                  </a:cubicBezTo>
                  <a:cubicBezTo>
                    <a:pt x="121" y="460"/>
                    <a:pt x="121" y="459"/>
                    <a:pt x="121" y="458"/>
                  </a:cubicBezTo>
                  <a:cubicBezTo>
                    <a:pt x="122" y="454"/>
                    <a:pt x="122" y="449"/>
                    <a:pt x="120" y="445"/>
                  </a:cubicBezTo>
                  <a:cubicBezTo>
                    <a:pt x="120" y="445"/>
                    <a:pt x="120" y="445"/>
                    <a:pt x="120" y="445"/>
                  </a:cubicBezTo>
                  <a:cubicBezTo>
                    <a:pt x="120" y="444"/>
                    <a:pt x="120" y="444"/>
                    <a:pt x="120" y="444"/>
                  </a:cubicBezTo>
                  <a:cubicBezTo>
                    <a:pt x="119" y="442"/>
                    <a:pt x="117" y="440"/>
                    <a:pt x="118" y="438"/>
                  </a:cubicBezTo>
                  <a:cubicBezTo>
                    <a:pt x="119" y="437"/>
                    <a:pt x="119" y="436"/>
                    <a:pt x="120" y="436"/>
                  </a:cubicBezTo>
                  <a:cubicBezTo>
                    <a:pt x="116" y="433"/>
                    <a:pt x="116" y="433"/>
                    <a:pt x="116" y="433"/>
                  </a:cubicBezTo>
                  <a:cubicBezTo>
                    <a:pt x="121" y="435"/>
                    <a:pt x="121" y="435"/>
                    <a:pt x="121" y="435"/>
                  </a:cubicBezTo>
                  <a:cubicBezTo>
                    <a:pt x="121" y="435"/>
                    <a:pt x="121" y="435"/>
                    <a:pt x="121" y="435"/>
                  </a:cubicBezTo>
                  <a:cubicBezTo>
                    <a:pt x="122" y="434"/>
                    <a:pt x="122" y="433"/>
                    <a:pt x="123" y="432"/>
                  </a:cubicBezTo>
                  <a:cubicBezTo>
                    <a:pt x="123" y="432"/>
                    <a:pt x="123" y="432"/>
                    <a:pt x="123" y="432"/>
                  </a:cubicBezTo>
                  <a:cubicBezTo>
                    <a:pt x="123" y="431"/>
                    <a:pt x="124" y="430"/>
                    <a:pt x="124" y="429"/>
                  </a:cubicBezTo>
                  <a:cubicBezTo>
                    <a:pt x="125" y="426"/>
                    <a:pt x="125" y="426"/>
                    <a:pt x="125" y="426"/>
                  </a:cubicBezTo>
                  <a:cubicBezTo>
                    <a:pt x="125" y="425"/>
                    <a:pt x="125" y="425"/>
                    <a:pt x="125" y="424"/>
                  </a:cubicBezTo>
                  <a:cubicBezTo>
                    <a:pt x="130" y="414"/>
                    <a:pt x="130" y="414"/>
                    <a:pt x="130" y="414"/>
                  </a:cubicBezTo>
                  <a:cubicBezTo>
                    <a:pt x="131" y="412"/>
                    <a:pt x="133" y="411"/>
                    <a:pt x="134" y="410"/>
                  </a:cubicBezTo>
                  <a:cubicBezTo>
                    <a:pt x="134" y="409"/>
                    <a:pt x="134" y="407"/>
                    <a:pt x="134" y="407"/>
                  </a:cubicBezTo>
                  <a:cubicBezTo>
                    <a:pt x="134" y="405"/>
                    <a:pt x="134" y="404"/>
                    <a:pt x="134" y="403"/>
                  </a:cubicBezTo>
                  <a:cubicBezTo>
                    <a:pt x="136" y="392"/>
                    <a:pt x="136" y="392"/>
                    <a:pt x="136" y="392"/>
                  </a:cubicBezTo>
                  <a:cubicBezTo>
                    <a:pt x="135" y="392"/>
                    <a:pt x="135" y="392"/>
                    <a:pt x="135" y="392"/>
                  </a:cubicBezTo>
                  <a:cubicBezTo>
                    <a:pt x="134" y="391"/>
                    <a:pt x="134" y="391"/>
                    <a:pt x="133" y="391"/>
                  </a:cubicBezTo>
                  <a:cubicBezTo>
                    <a:pt x="131" y="389"/>
                    <a:pt x="130" y="387"/>
                    <a:pt x="129" y="385"/>
                  </a:cubicBezTo>
                  <a:cubicBezTo>
                    <a:pt x="129" y="384"/>
                    <a:pt x="129" y="384"/>
                    <a:pt x="129" y="384"/>
                  </a:cubicBezTo>
                  <a:cubicBezTo>
                    <a:pt x="128" y="382"/>
                    <a:pt x="129" y="380"/>
                    <a:pt x="129" y="378"/>
                  </a:cubicBezTo>
                  <a:cubicBezTo>
                    <a:pt x="129" y="377"/>
                    <a:pt x="129" y="376"/>
                    <a:pt x="129" y="375"/>
                  </a:cubicBezTo>
                  <a:cubicBezTo>
                    <a:pt x="129" y="373"/>
                    <a:pt x="129" y="373"/>
                    <a:pt x="129" y="373"/>
                  </a:cubicBezTo>
                  <a:cubicBezTo>
                    <a:pt x="128" y="371"/>
                    <a:pt x="128" y="369"/>
                    <a:pt x="127" y="366"/>
                  </a:cubicBezTo>
                  <a:cubicBezTo>
                    <a:pt x="123" y="368"/>
                    <a:pt x="123" y="368"/>
                    <a:pt x="123" y="368"/>
                  </a:cubicBezTo>
                  <a:cubicBezTo>
                    <a:pt x="126" y="365"/>
                    <a:pt x="126" y="365"/>
                    <a:pt x="126" y="365"/>
                  </a:cubicBezTo>
                  <a:cubicBezTo>
                    <a:pt x="126" y="364"/>
                    <a:pt x="126" y="364"/>
                    <a:pt x="126" y="364"/>
                  </a:cubicBezTo>
                  <a:cubicBezTo>
                    <a:pt x="126" y="364"/>
                    <a:pt x="126" y="364"/>
                    <a:pt x="125" y="364"/>
                  </a:cubicBezTo>
                  <a:cubicBezTo>
                    <a:pt x="125" y="363"/>
                    <a:pt x="125" y="363"/>
                    <a:pt x="125" y="363"/>
                  </a:cubicBezTo>
                  <a:cubicBezTo>
                    <a:pt x="124" y="361"/>
                    <a:pt x="123" y="360"/>
                    <a:pt x="123" y="358"/>
                  </a:cubicBezTo>
                  <a:cubicBezTo>
                    <a:pt x="122" y="356"/>
                    <a:pt x="123" y="356"/>
                    <a:pt x="123" y="355"/>
                  </a:cubicBezTo>
                  <a:cubicBezTo>
                    <a:pt x="123" y="354"/>
                    <a:pt x="124" y="353"/>
                    <a:pt x="125" y="353"/>
                  </a:cubicBezTo>
                  <a:cubicBezTo>
                    <a:pt x="124" y="352"/>
                    <a:pt x="124" y="352"/>
                    <a:pt x="124" y="352"/>
                  </a:cubicBezTo>
                  <a:cubicBezTo>
                    <a:pt x="124" y="352"/>
                    <a:pt x="124" y="352"/>
                    <a:pt x="124" y="352"/>
                  </a:cubicBezTo>
                  <a:cubicBezTo>
                    <a:pt x="123" y="349"/>
                    <a:pt x="122" y="347"/>
                    <a:pt x="121" y="345"/>
                  </a:cubicBezTo>
                  <a:cubicBezTo>
                    <a:pt x="120" y="343"/>
                    <a:pt x="120" y="343"/>
                    <a:pt x="120" y="343"/>
                  </a:cubicBezTo>
                  <a:cubicBezTo>
                    <a:pt x="118" y="339"/>
                    <a:pt x="118" y="335"/>
                    <a:pt x="120" y="331"/>
                  </a:cubicBezTo>
                  <a:cubicBezTo>
                    <a:pt x="121" y="330"/>
                    <a:pt x="121" y="330"/>
                    <a:pt x="122" y="329"/>
                  </a:cubicBezTo>
                  <a:cubicBezTo>
                    <a:pt x="123" y="329"/>
                    <a:pt x="123" y="328"/>
                    <a:pt x="124" y="328"/>
                  </a:cubicBezTo>
                  <a:cubicBezTo>
                    <a:pt x="125" y="328"/>
                    <a:pt x="125" y="328"/>
                    <a:pt x="125" y="328"/>
                  </a:cubicBezTo>
                  <a:cubicBezTo>
                    <a:pt x="125" y="328"/>
                    <a:pt x="125" y="328"/>
                    <a:pt x="125" y="328"/>
                  </a:cubicBezTo>
                  <a:cubicBezTo>
                    <a:pt x="125" y="327"/>
                    <a:pt x="125" y="327"/>
                    <a:pt x="125" y="327"/>
                  </a:cubicBezTo>
                  <a:cubicBezTo>
                    <a:pt x="125" y="323"/>
                    <a:pt x="125" y="320"/>
                    <a:pt x="126" y="317"/>
                  </a:cubicBezTo>
                  <a:cubicBezTo>
                    <a:pt x="126" y="316"/>
                    <a:pt x="126" y="316"/>
                    <a:pt x="126" y="316"/>
                  </a:cubicBezTo>
                  <a:cubicBezTo>
                    <a:pt x="127" y="315"/>
                    <a:pt x="127" y="315"/>
                    <a:pt x="127" y="315"/>
                  </a:cubicBezTo>
                  <a:cubicBezTo>
                    <a:pt x="128" y="312"/>
                    <a:pt x="130" y="310"/>
                    <a:pt x="133" y="308"/>
                  </a:cubicBezTo>
                  <a:cubicBezTo>
                    <a:pt x="133" y="308"/>
                    <a:pt x="133" y="308"/>
                    <a:pt x="133" y="308"/>
                  </a:cubicBezTo>
                  <a:cubicBezTo>
                    <a:pt x="133" y="306"/>
                    <a:pt x="133" y="306"/>
                    <a:pt x="133" y="306"/>
                  </a:cubicBezTo>
                  <a:cubicBezTo>
                    <a:pt x="132" y="305"/>
                    <a:pt x="132" y="304"/>
                    <a:pt x="132" y="303"/>
                  </a:cubicBezTo>
                  <a:cubicBezTo>
                    <a:pt x="132" y="303"/>
                    <a:pt x="132" y="302"/>
                    <a:pt x="133" y="301"/>
                  </a:cubicBezTo>
                  <a:cubicBezTo>
                    <a:pt x="133" y="299"/>
                    <a:pt x="133" y="299"/>
                    <a:pt x="133" y="299"/>
                  </a:cubicBezTo>
                  <a:cubicBezTo>
                    <a:pt x="133" y="299"/>
                    <a:pt x="133" y="299"/>
                    <a:pt x="133" y="298"/>
                  </a:cubicBezTo>
                  <a:cubicBezTo>
                    <a:pt x="127" y="298"/>
                    <a:pt x="127" y="298"/>
                    <a:pt x="127" y="298"/>
                  </a:cubicBezTo>
                  <a:cubicBezTo>
                    <a:pt x="133" y="297"/>
                    <a:pt x="133" y="297"/>
                    <a:pt x="133" y="297"/>
                  </a:cubicBezTo>
                  <a:cubicBezTo>
                    <a:pt x="133" y="296"/>
                    <a:pt x="133" y="296"/>
                    <a:pt x="133" y="296"/>
                  </a:cubicBezTo>
                  <a:cubicBezTo>
                    <a:pt x="133" y="295"/>
                    <a:pt x="132" y="294"/>
                    <a:pt x="132" y="293"/>
                  </a:cubicBezTo>
                  <a:cubicBezTo>
                    <a:pt x="131" y="291"/>
                    <a:pt x="131" y="289"/>
                    <a:pt x="131" y="287"/>
                  </a:cubicBezTo>
                  <a:cubicBezTo>
                    <a:pt x="131" y="285"/>
                    <a:pt x="131" y="284"/>
                    <a:pt x="132" y="283"/>
                  </a:cubicBezTo>
                  <a:cubicBezTo>
                    <a:pt x="132" y="282"/>
                    <a:pt x="132" y="282"/>
                    <a:pt x="133" y="281"/>
                  </a:cubicBezTo>
                  <a:cubicBezTo>
                    <a:pt x="135" y="278"/>
                    <a:pt x="136" y="273"/>
                    <a:pt x="138" y="268"/>
                  </a:cubicBezTo>
                  <a:cubicBezTo>
                    <a:pt x="138" y="267"/>
                    <a:pt x="138" y="265"/>
                    <a:pt x="139" y="264"/>
                  </a:cubicBezTo>
                  <a:cubicBezTo>
                    <a:pt x="139" y="264"/>
                    <a:pt x="139" y="263"/>
                    <a:pt x="139" y="262"/>
                  </a:cubicBezTo>
                  <a:cubicBezTo>
                    <a:pt x="141" y="258"/>
                    <a:pt x="144" y="255"/>
                    <a:pt x="146" y="253"/>
                  </a:cubicBezTo>
                  <a:cubicBezTo>
                    <a:pt x="148" y="251"/>
                    <a:pt x="149" y="249"/>
                    <a:pt x="150" y="248"/>
                  </a:cubicBezTo>
                  <a:cubicBezTo>
                    <a:pt x="151" y="247"/>
                    <a:pt x="151" y="247"/>
                    <a:pt x="151" y="247"/>
                  </a:cubicBezTo>
                  <a:cubicBezTo>
                    <a:pt x="153" y="244"/>
                    <a:pt x="155" y="240"/>
                    <a:pt x="156" y="236"/>
                  </a:cubicBezTo>
                  <a:cubicBezTo>
                    <a:pt x="157" y="234"/>
                    <a:pt x="158" y="232"/>
                    <a:pt x="159" y="231"/>
                  </a:cubicBezTo>
                  <a:cubicBezTo>
                    <a:pt x="160" y="228"/>
                    <a:pt x="161" y="228"/>
                    <a:pt x="163" y="228"/>
                  </a:cubicBezTo>
                  <a:cubicBezTo>
                    <a:pt x="163" y="228"/>
                    <a:pt x="164" y="228"/>
                    <a:pt x="164" y="228"/>
                  </a:cubicBezTo>
                  <a:cubicBezTo>
                    <a:pt x="165" y="228"/>
                    <a:pt x="165" y="228"/>
                    <a:pt x="165" y="228"/>
                  </a:cubicBezTo>
                  <a:cubicBezTo>
                    <a:pt x="166" y="228"/>
                    <a:pt x="166" y="228"/>
                    <a:pt x="166" y="228"/>
                  </a:cubicBezTo>
                  <a:cubicBezTo>
                    <a:pt x="166" y="228"/>
                    <a:pt x="166" y="228"/>
                    <a:pt x="166" y="228"/>
                  </a:cubicBezTo>
                  <a:cubicBezTo>
                    <a:pt x="167" y="227"/>
                    <a:pt x="168" y="227"/>
                    <a:pt x="168" y="227"/>
                  </a:cubicBezTo>
                  <a:cubicBezTo>
                    <a:pt x="169" y="227"/>
                    <a:pt x="169" y="227"/>
                    <a:pt x="169" y="227"/>
                  </a:cubicBezTo>
                  <a:cubicBezTo>
                    <a:pt x="170" y="227"/>
                    <a:pt x="170" y="227"/>
                    <a:pt x="170" y="227"/>
                  </a:cubicBezTo>
                  <a:cubicBezTo>
                    <a:pt x="170" y="226"/>
                    <a:pt x="170" y="226"/>
                    <a:pt x="170" y="226"/>
                  </a:cubicBezTo>
                  <a:cubicBezTo>
                    <a:pt x="170" y="226"/>
                    <a:pt x="170" y="226"/>
                    <a:pt x="170" y="226"/>
                  </a:cubicBezTo>
                  <a:cubicBezTo>
                    <a:pt x="170" y="225"/>
                    <a:pt x="170" y="225"/>
                    <a:pt x="170" y="225"/>
                  </a:cubicBezTo>
                  <a:cubicBezTo>
                    <a:pt x="169" y="224"/>
                    <a:pt x="168" y="223"/>
                    <a:pt x="168" y="222"/>
                  </a:cubicBezTo>
                  <a:cubicBezTo>
                    <a:pt x="166" y="220"/>
                    <a:pt x="164" y="218"/>
                    <a:pt x="164" y="216"/>
                  </a:cubicBezTo>
                  <a:cubicBezTo>
                    <a:pt x="164" y="215"/>
                    <a:pt x="164" y="213"/>
                    <a:pt x="164" y="212"/>
                  </a:cubicBezTo>
                  <a:cubicBezTo>
                    <a:pt x="164" y="211"/>
                    <a:pt x="164" y="211"/>
                    <a:pt x="164" y="211"/>
                  </a:cubicBezTo>
                  <a:cubicBezTo>
                    <a:pt x="164" y="207"/>
                    <a:pt x="165" y="203"/>
                    <a:pt x="165" y="198"/>
                  </a:cubicBezTo>
                  <a:cubicBezTo>
                    <a:pt x="165" y="186"/>
                    <a:pt x="165" y="186"/>
                    <a:pt x="165" y="186"/>
                  </a:cubicBezTo>
                  <a:cubicBezTo>
                    <a:pt x="165" y="183"/>
                    <a:pt x="166" y="181"/>
                    <a:pt x="168" y="180"/>
                  </a:cubicBezTo>
                  <a:cubicBezTo>
                    <a:pt x="166" y="178"/>
                    <a:pt x="164" y="175"/>
                    <a:pt x="165" y="172"/>
                  </a:cubicBezTo>
                  <a:cubicBezTo>
                    <a:pt x="165" y="172"/>
                    <a:pt x="165" y="167"/>
                    <a:pt x="168" y="166"/>
                  </a:cubicBezTo>
                  <a:cubicBezTo>
                    <a:pt x="168" y="166"/>
                    <a:pt x="169" y="165"/>
                    <a:pt x="169" y="164"/>
                  </a:cubicBezTo>
                  <a:cubicBezTo>
                    <a:pt x="172" y="162"/>
                    <a:pt x="174" y="160"/>
                    <a:pt x="178" y="159"/>
                  </a:cubicBezTo>
                  <a:cubicBezTo>
                    <a:pt x="189" y="154"/>
                    <a:pt x="189" y="154"/>
                    <a:pt x="189" y="154"/>
                  </a:cubicBezTo>
                  <a:cubicBezTo>
                    <a:pt x="190" y="154"/>
                    <a:pt x="191" y="153"/>
                    <a:pt x="192" y="153"/>
                  </a:cubicBezTo>
                  <a:cubicBezTo>
                    <a:pt x="193" y="152"/>
                    <a:pt x="193" y="152"/>
                    <a:pt x="194" y="152"/>
                  </a:cubicBezTo>
                  <a:cubicBezTo>
                    <a:pt x="195" y="150"/>
                    <a:pt x="195" y="147"/>
                    <a:pt x="196" y="145"/>
                  </a:cubicBezTo>
                  <a:cubicBezTo>
                    <a:pt x="196" y="144"/>
                    <a:pt x="196" y="144"/>
                    <a:pt x="196" y="144"/>
                  </a:cubicBezTo>
                  <a:cubicBezTo>
                    <a:pt x="196" y="143"/>
                    <a:pt x="196" y="141"/>
                    <a:pt x="197" y="140"/>
                  </a:cubicBezTo>
                  <a:cubicBezTo>
                    <a:pt x="197" y="139"/>
                    <a:pt x="197" y="139"/>
                    <a:pt x="198" y="138"/>
                  </a:cubicBezTo>
                  <a:cubicBezTo>
                    <a:pt x="198" y="136"/>
                    <a:pt x="199" y="133"/>
                    <a:pt x="200" y="131"/>
                  </a:cubicBezTo>
                  <a:cubicBezTo>
                    <a:pt x="200" y="130"/>
                    <a:pt x="200" y="130"/>
                    <a:pt x="200" y="130"/>
                  </a:cubicBezTo>
                  <a:cubicBezTo>
                    <a:pt x="200" y="129"/>
                    <a:pt x="200" y="129"/>
                    <a:pt x="200" y="129"/>
                  </a:cubicBezTo>
                  <a:cubicBezTo>
                    <a:pt x="200" y="128"/>
                    <a:pt x="199" y="128"/>
                    <a:pt x="199" y="128"/>
                  </a:cubicBezTo>
                  <a:cubicBezTo>
                    <a:pt x="198" y="128"/>
                    <a:pt x="198" y="128"/>
                    <a:pt x="198" y="128"/>
                  </a:cubicBezTo>
                  <a:cubicBezTo>
                    <a:pt x="197" y="128"/>
                    <a:pt x="197" y="128"/>
                    <a:pt x="197" y="128"/>
                  </a:cubicBezTo>
                  <a:cubicBezTo>
                    <a:pt x="186" y="128"/>
                    <a:pt x="186" y="128"/>
                    <a:pt x="186" y="128"/>
                  </a:cubicBezTo>
                  <a:cubicBezTo>
                    <a:pt x="186" y="128"/>
                    <a:pt x="186" y="128"/>
                    <a:pt x="185" y="128"/>
                  </a:cubicBezTo>
                  <a:cubicBezTo>
                    <a:pt x="184" y="127"/>
                    <a:pt x="183" y="127"/>
                    <a:pt x="182" y="126"/>
                  </a:cubicBezTo>
                  <a:cubicBezTo>
                    <a:pt x="181" y="126"/>
                    <a:pt x="181" y="126"/>
                    <a:pt x="181" y="126"/>
                  </a:cubicBezTo>
                  <a:cubicBezTo>
                    <a:pt x="181" y="125"/>
                    <a:pt x="180" y="125"/>
                    <a:pt x="180" y="124"/>
                  </a:cubicBezTo>
                  <a:cubicBezTo>
                    <a:pt x="180" y="123"/>
                    <a:pt x="180" y="122"/>
                    <a:pt x="180" y="121"/>
                  </a:cubicBezTo>
                  <a:cubicBezTo>
                    <a:pt x="181" y="121"/>
                    <a:pt x="181" y="120"/>
                    <a:pt x="181" y="119"/>
                  </a:cubicBezTo>
                  <a:cubicBezTo>
                    <a:pt x="181" y="118"/>
                    <a:pt x="180" y="117"/>
                    <a:pt x="180" y="116"/>
                  </a:cubicBezTo>
                  <a:cubicBezTo>
                    <a:pt x="180" y="115"/>
                    <a:pt x="180" y="115"/>
                    <a:pt x="180" y="115"/>
                  </a:cubicBezTo>
                  <a:cubicBezTo>
                    <a:pt x="179" y="115"/>
                    <a:pt x="179" y="114"/>
                    <a:pt x="179" y="113"/>
                  </a:cubicBezTo>
                  <a:cubicBezTo>
                    <a:pt x="179" y="113"/>
                    <a:pt x="179" y="113"/>
                    <a:pt x="179" y="113"/>
                  </a:cubicBezTo>
                  <a:cubicBezTo>
                    <a:pt x="179" y="112"/>
                    <a:pt x="179" y="112"/>
                    <a:pt x="179" y="112"/>
                  </a:cubicBezTo>
                  <a:cubicBezTo>
                    <a:pt x="179" y="111"/>
                    <a:pt x="179" y="111"/>
                    <a:pt x="179" y="111"/>
                  </a:cubicBezTo>
                  <a:cubicBezTo>
                    <a:pt x="179" y="110"/>
                    <a:pt x="179" y="109"/>
                    <a:pt x="178" y="108"/>
                  </a:cubicBezTo>
                  <a:cubicBezTo>
                    <a:pt x="177" y="108"/>
                    <a:pt x="177" y="108"/>
                    <a:pt x="177" y="108"/>
                  </a:cubicBezTo>
                  <a:cubicBezTo>
                    <a:pt x="177" y="107"/>
                    <a:pt x="177" y="107"/>
                    <a:pt x="177" y="106"/>
                  </a:cubicBezTo>
                  <a:cubicBezTo>
                    <a:pt x="175" y="104"/>
                    <a:pt x="175" y="102"/>
                    <a:pt x="175" y="100"/>
                  </a:cubicBezTo>
                  <a:cubicBezTo>
                    <a:pt x="175" y="100"/>
                    <a:pt x="175" y="99"/>
                    <a:pt x="175" y="98"/>
                  </a:cubicBezTo>
                  <a:cubicBezTo>
                    <a:pt x="174" y="96"/>
                    <a:pt x="174" y="96"/>
                    <a:pt x="174" y="96"/>
                  </a:cubicBezTo>
                  <a:cubicBezTo>
                    <a:pt x="174" y="93"/>
                    <a:pt x="174" y="90"/>
                    <a:pt x="173" y="88"/>
                  </a:cubicBezTo>
                  <a:cubicBezTo>
                    <a:pt x="173" y="88"/>
                    <a:pt x="172" y="88"/>
                    <a:pt x="172" y="87"/>
                  </a:cubicBezTo>
                  <a:cubicBezTo>
                    <a:pt x="172" y="86"/>
                    <a:pt x="171" y="85"/>
                    <a:pt x="171" y="84"/>
                  </a:cubicBezTo>
                  <a:cubicBezTo>
                    <a:pt x="170" y="84"/>
                    <a:pt x="170" y="83"/>
                    <a:pt x="170" y="83"/>
                  </a:cubicBezTo>
                  <a:cubicBezTo>
                    <a:pt x="169" y="83"/>
                    <a:pt x="169" y="83"/>
                    <a:pt x="169" y="83"/>
                  </a:cubicBezTo>
                  <a:cubicBezTo>
                    <a:pt x="169" y="82"/>
                    <a:pt x="169" y="82"/>
                    <a:pt x="169" y="82"/>
                  </a:cubicBezTo>
                  <a:cubicBezTo>
                    <a:pt x="168" y="82"/>
                    <a:pt x="168" y="82"/>
                    <a:pt x="168" y="82"/>
                  </a:cubicBezTo>
                  <a:cubicBezTo>
                    <a:pt x="165" y="80"/>
                    <a:pt x="165" y="78"/>
                    <a:pt x="166" y="75"/>
                  </a:cubicBezTo>
                  <a:cubicBezTo>
                    <a:pt x="166" y="74"/>
                    <a:pt x="166" y="74"/>
                    <a:pt x="166" y="74"/>
                  </a:cubicBezTo>
                  <a:cubicBezTo>
                    <a:pt x="166" y="74"/>
                    <a:pt x="166" y="74"/>
                    <a:pt x="166" y="74"/>
                  </a:cubicBezTo>
                  <a:cubicBezTo>
                    <a:pt x="166" y="73"/>
                    <a:pt x="166" y="73"/>
                    <a:pt x="166" y="73"/>
                  </a:cubicBezTo>
                  <a:cubicBezTo>
                    <a:pt x="165" y="72"/>
                    <a:pt x="165" y="71"/>
                    <a:pt x="164" y="71"/>
                  </a:cubicBezTo>
                  <a:cubicBezTo>
                    <a:pt x="160" y="67"/>
                    <a:pt x="159" y="64"/>
                    <a:pt x="159" y="60"/>
                  </a:cubicBezTo>
                  <a:cubicBezTo>
                    <a:pt x="159" y="59"/>
                    <a:pt x="159" y="59"/>
                    <a:pt x="159" y="59"/>
                  </a:cubicBezTo>
                  <a:cubicBezTo>
                    <a:pt x="159" y="58"/>
                    <a:pt x="160" y="57"/>
                    <a:pt x="160" y="57"/>
                  </a:cubicBezTo>
                  <a:cubicBezTo>
                    <a:pt x="161" y="56"/>
                    <a:pt x="162" y="55"/>
                    <a:pt x="163" y="55"/>
                  </a:cubicBezTo>
                  <a:cubicBezTo>
                    <a:pt x="164" y="55"/>
                    <a:pt x="164" y="55"/>
                    <a:pt x="164" y="55"/>
                  </a:cubicBezTo>
                  <a:cubicBezTo>
                    <a:pt x="164" y="54"/>
                    <a:pt x="164" y="54"/>
                    <a:pt x="164" y="54"/>
                  </a:cubicBezTo>
                  <a:cubicBezTo>
                    <a:pt x="165" y="54"/>
                    <a:pt x="165" y="54"/>
                    <a:pt x="165" y="54"/>
                  </a:cubicBezTo>
                  <a:cubicBezTo>
                    <a:pt x="164" y="53"/>
                    <a:pt x="164" y="53"/>
                    <a:pt x="164" y="53"/>
                  </a:cubicBezTo>
                  <a:cubicBezTo>
                    <a:pt x="164" y="53"/>
                    <a:pt x="164" y="53"/>
                    <a:pt x="164" y="53"/>
                  </a:cubicBezTo>
                  <a:cubicBezTo>
                    <a:pt x="161" y="51"/>
                    <a:pt x="162" y="48"/>
                    <a:pt x="163" y="47"/>
                  </a:cubicBezTo>
                  <a:cubicBezTo>
                    <a:pt x="163" y="46"/>
                    <a:pt x="164" y="44"/>
                    <a:pt x="166" y="42"/>
                  </a:cubicBezTo>
                  <a:cubicBezTo>
                    <a:pt x="165" y="41"/>
                    <a:pt x="163" y="40"/>
                    <a:pt x="162" y="39"/>
                  </a:cubicBezTo>
                  <a:cubicBezTo>
                    <a:pt x="162" y="39"/>
                    <a:pt x="162" y="39"/>
                    <a:pt x="162" y="39"/>
                  </a:cubicBezTo>
                  <a:cubicBezTo>
                    <a:pt x="161" y="38"/>
                    <a:pt x="160" y="37"/>
                    <a:pt x="159" y="36"/>
                  </a:cubicBezTo>
                  <a:cubicBezTo>
                    <a:pt x="155" y="32"/>
                    <a:pt x="154" y="28"/>
                    <a:pt x="154" y="23"/>
                  </a:cubicBezTo>
                  <a:cubicBezTo>
                    <a:pt x="153" y="22"/>
                    <a:pt x="153" y="20"/>
                    <a:pt x="153" y="19"/>
                  </a:cubicBezTo>
                  <a:cubicBezTo>
                    <a:pt x="153" y="19"/>
                    <a:pt x="153" y="19"/>
                    <a:pt x="153" y="19"/>
                  </a:cubicBezTo>
                  <a:cubicBezTo>
                    <a:pt x="153" y="17"/>
                    <a:pt x="153" y="14"/>
                    <a:pt x="153" y="13"/>
                  </a:cubicBezTo>
                  <a:cubicBezTo>
                    <a:pt x="153" y="12"/>
                    <a:pt x="153" y="12"/>
                    <a:pt x="153" y="11"/>
                  </a:cubicBezTo>
                  <a:cubicBezTo>
                    <a:pt x="153" y="11"/>
                    <a:pt x="153" y="11"/>
                    <a:pt x="153" y="11"/>
                  </a:cubicBezTo>
                  <a:cubicBezTo>
                    <a:pt x="151" y="10"/>
                    <a:pt x="151" y="10"/>
                    <a:pt x="151" y="10"/>
                  </a:cubicBezTo>
                  <a:cubicBezTo>
                    <a:pt x="148" y="9"/>
                    <a:pt x="147" y="8"/>
                    <a:pt x="146" y="5"/>
                  </a:cubicBezTo>
                  <a:cubicBezTo>
                    <a:pt x="145" y="4"/>
                    <a:pt x="145" y="3"/>
                    <a:pt x="145" y="2"/>
                  </a:cubicBezTo>
                  <a:cubicBezTo>
                    <a:pt x="145" y="2"/>
                    <a:pt x="145" y="2"/>
                    <a:pt x="145" y="2"/>
                  </a:cubicBezTo>
                  <a:cubicBezTo>
                    <a:pt x="144" y="1"/>
                    <a:pt x="144" y="1"/>
                    <a:pt x="1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247"/>
            <p:cNvSpPr/>
            <p:nvPr/>
          </p:nvSpPr>
          <p:spPr bwMode="auto">
            <a:xfrm>
              <a:off x="8125694" y="3732639"/>
              <a:ext cx="1525252" cy="2734161"/>
            </a:xfrm>
            <a:custGeom>
              <a:gdLst>
                <a:gd name="T0" fmla="*/ 150 w 457"/>
                <a:gd name="T1" fmla="*/ 21 h 819"/>
                <a:gd name="T2" fmla="*/ 141 w 457"/>
                <a:gd name="T3" fmla="*/ 54 h 819"/>
                <a:gd name="T4" fmla="*/ 116 w 457"/>
                <a:gd name="T5" fmla="*/ 82 h 819"/>
                <a:gd name="T6" fmla="*/ 122 w 457"/>
                <a:gd name="T7" fmla="*/ 124 h 819"/>
                <a:gd name="T8" fmla="*/ 109 w 457"/>
                <a:gd name="T9" fmla="*/ 130 h 819"/>
                <a:gd name="T10" fmla="*/ 83 w 457"/>
                <a:gd name="T11" fmla="*/ 182 h 819"/>
                <a:gd name="T12" fmla="*/ 84 w 457"/>
                <a:gd name="T13" fmla="*/ 199 h 819"/>
                <a:gd name="T14" fmla="*/ 75 w 457"/>
                <a:gd name="T15" fmla="*/ 228 h 819"/>
                <a:gd name="T16" fmla="*/ 75 w 457"/>
                <a:gd name="T17" fmla="*/ 253 h 819"/>
                <a:gd name="T18" fmla="*/ 81 w 457"/>
                <a:gd name="T19" fmla="*/ 279 h 819"/>
                <a:gd name="T20" fmla="*/ 85 w 457"/>
                <a:gd name="T21" fmla="*/ 311 h 819"/>
                <a:gd name="T22" fmla="*/ 71 w 457"/>
                <a:gd name="T23" fmla="*/ 335 h 819"/>
                <a:gd name="T24" fmla="*/ 73 w 457"/>
                <a:gd name="T25" fmla="*/ 361 h 819"/>
                <a:gd name="T26" fmla="*/ 56 w 457"/>
                <a:gd name="T27" fmla="*/ 388 h 819"/>
                <a:gd name="T28" fmla="*/ 55 w 457"/>
                <a:gd name="T29" fmla="*/ 433 h 819"/>
                <a:gd name="T30" fmla="*/ 41 w 457"/>
                <a:gd name="T31" fmla="*/ 468 h 819"/>
                <a:gd name="T32" fmla="*/ 39 w 457"/>
                <a:gd name="T33" fmla="*/ 486 h 819"/>
                <a:gd name="T34" fmla="*/ 34 w 457"/>
                <a:gd name="T35" fmla="*/ 531 h 819"/>
                <a:gd name="T36" fmla="*/ 39 w 457"/>
                <a:gd name="T37" fmla="*/ 558 h 819"/>
                <a:gd name="T38" fmla="*/ 55 w 457"/>
                <a:gd name="T39" fmla="*/ 585 h 819"/>
                <a:gd name="T40" fmla="*/ 46 w 457"/>
                <a:gd name="T41" fmla="*/ 601 h 819"/>
                <a:gd name="T42" fmla="*/ 45 w 457"/>
                <a:gd name="T43" fmla="*/ 620 h 819"/>
                <a:gd name="T44" fmla="*/ 42 w 457"/>
                <a:gd name="T45" fmla="*/ 645 h 819"/>
                <a:gd name="T46" fmla="*/ 33 w 457"/>
                <a:gd name="T47" fmla="*/ 671 h 819"/>
                <a:gd name="T48" fmla="*/ 25 w 457"/>
                <a:gd name="T49" fmla="*/ 688 h 819"/>
                <a:gd name="T50" fmla="*/ 23 w 457"/>
                <a:gd name="T51" fmla="*/ 706 h 819"/>
                <a:gd name="T52" fmla="*/ 1 w 457"/>
                <a:gd name="T53" fmla="*/ 732 h 819"/>
                <a:gd name="T54" fmla="*/ 3 w 457"/>
                <a:gd name="T55" fmla="*/ 754 h 819"/>
                <a:gd name="T56" fmla="*/ 10 w 457"/>
                <a:gd name="T57" fmla="*/ 769 h 819"/>
                <a:gd name="T58" fmla="*/ 29 w 457"/>
                <a:gd name="T59" fmla="*/ 769 h 819"/>
                <a:gd name="T60" fmla="*/ 29 w 457"/>
                <a:gd name="T61" fmla="*/ 799 h 819"/>
                <a:gd name="T62" fmla="*/ 81 w 457"/>
                <a:gd name="T63" fmla="*/ 808 h 819"/>
                <a:gd name="T64" fmla="*/ 100 w 457"/>
                <a:gd name="T65" fmla="*/ 800 h 819"/>
                <a:gd name="T66" fmla="*/ 98 w 457"/>
                <a:gd name="T67" fmla="*/ 779 h 819"/>
                <a:gd name="T68" fmla="*/ 107 w 457"/>
                <a:gd name="T69" fmla="*/ 750 h 819"/>
                <a:gd name="T70" fmla="*/ 134 w 457"/>
                <a:gd name="T71" fmla="*/ 726 h 819"/>
                <a:gd name="T72" fmla="*/ 165 w 457"/>
                <a:gd name="T73" fmla="*/ 663 h 819"/>
                <a:gd name="T74" fmla="*/ 183 w 457"/>
                <a:gd name="T75" fmla="*/ 601 h 819"/>
                <a:gd name="T76" fmla="*/ 196 w 457"/>
                <a:gd name="T77" fmla="*/ 538 h 819"/>
                <a:gd name="T78" fmla="*/ 215 w 457"/>
                <a:gd name="T79" fmla="*/ 530 h 819"/>
                <a:gd name="T80" fmla="*/ 202 w 457"/>
                <a:gd name="T81" fmla="*/ 485 h 819"/>
                <a:gd name="T82" fmla="*/ 261 w 457"/>
                <a:gd name="T83" fmla="*/ 480 h 819"/>
                <a:gd name="T84" fmla="*/ 260 w 457"/>
                <a:gd name="T85" fmla="*/ 444 h 819"/>
                <a:gd name="T86" fmla="*/ 351 w 457"/>
                <a:gd name="T87" fmla="*/ 421 h 819"/>
                <a:gd name="T88" fmla="*/ 369 w 457"/>
                <a:gd name="T89" fmla="*/ 329 h 819"/>
                <a:gd name="T90" fmla="*/ 354 w 457"/>
                <a:gd name="T91" fmla="*/ 276 h 819"/>
                <a:gd name="T92" fmla="*/ 354 w 457"/>
                <a:gd name="T93" fmla="*/ 244 h 819"/>
                <a:gd name="T94" fmla="*/ 359 w 457"/>
                <a:gd name="T95" fmla="*/ 218 h 819"/>
                <a:gd name="T96" fmla="*/ 407 w 457"/>
                <a:gd name="T97" fmla="*/ 154 h 819"/>
                <a:gd name="T98" fmla="*/ 434 w 457"/>
                <a:gd name="T99" fmla="*/ 134 h 819"/>
                <a:gd name="T100" fmla="*/ 455 w 457"/>
                <a:gd name="T101" fmla="*/ 114 h 819"/>
                <a:gd name="T102" fmla="*/ 442 w 457"/>
                <a:gd name="T103" fmla="*/ 94 h 819"/>
                <a:gd name="T104" fmla="*/ 420 w 457"/>
                <a:gd name="T105" fmla="*/ 127 h 819"/>
                <a:gd name="T106" fmla="*/ 406 w 457"/>
                <a:gd name="T107" fmla="*/ 136 h 819"/>
                <a:gd name="T108" fmla="*/ 392 w 457"/>
                <a:gd name="T109" fmla="*/ 140 h 819"/>
                <a:gd name="T110" fmla="*/ 345 w 457"/>
                <a:gd name="T111" fmla="*/ 135 h 819"/>
                <a:gd name="T112" fmla="*/ 360 w 457"/>
                <a:gd name="T113" fmla="*/ 95 h 819"/>
                <a:gd name="T114" fmla="*/ 294 w 457"/>
                <a:gd name="T115" fmla="*/ 50 h 819"/>
                <a:gd name="T116" fmla="*/ 266 w 457"/>
                <a:gd name="T117" fmla="*/ 28 h 819"/>
                <a:gd name="T118" fmla="*/ 250 w 457"/>
                <a:gd name="T119" fmla="*/ 11 h 819"/>
                <a:gd name="T120" fmla="*/ 226 w 457"/>
                <a:gd name="T121" fmla="*/ 4 h 819"/>
                <a:gd name="T122" fmla="*/ 196 w 457"/>
                <a:gd name="T123" fmla="*/ 7 h 8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7" h="819">
                  <a:moveTo>
                    <a:pt x="170" y="0"/>
                  </a:moveTo>
                  <a:cubicBezTo>
                    <a:pt x="169" y="1"/>
                    <a:pt x="169" y="2"/>
                    <a:pt x="169" y="2"/>
                  </a:cubicBezTo>
                  <a:cubicBezTo>
                    <a:pt x="168" y="4"/>
                    <a:pt x="168" y="5"/>
                    <a:pt x="167" y="5"/>
                  </a:cubicBezTo>
                  <a:cubicBezTo>
                    <a:pt x="166" y="6"/>
                    <a:pt x="164" y="7"/>
                    <a:pt x="163" y="7"/>
                  </a:cubicBezTo>
                  <a:cubicBezTo>
                    <a:pt x="161" y="8"/>
                    <a:pt x="160" y="8"/>
                    <a:pt x="159" y="9"/>
                  </a:cubicBezTo>
                  <a:cubicBezTo>
                    <a:pt x="157" y="12"/>
                    <a:pt x="155" y="14"/>
                    <a:pt x="153" y="16"/>
                  </a:cubicBezTo>
                  <a:cubicBezTo>
                    <a:pt x="152" y="17"/>
                    <a:pt x="152" y="17"/>
                    <a:pt x="152" y="17"/>
                  </a:cubicBezTo>
                  <a:cubicBezTo>
                    <a:pt x="152" y="17"/>
                    <a:pt x="152" y="17"/>
                    <a:pt x="152" y="17"/>
                  </a:cubicBezTo>
                  <a:cubicBezTo>
                    <a:pt x="151" y="18"/>
                    <a:pt x="151" y="19"/>
                    <a:pt x="150" y="20"/>
                  </a:cubicBezTo>
                  <a:cubicBezTo>
                    <a:pt x="150" y="21"/>
                    <a:pt x="150" y="21"/>
                    <a:pt x="150" y="21"/>
                  </a:cubicBezTo>
                  <a:cubicBezTo>
                    <a:pt x="150" y="21"/>
                    <a:pt x="150" y="21"/>
                    <a:pt x="150" y="21"/>
                  </a:cubicBezTo>
                  <a:cubicBezTo>
                    <a:pt x="150" y="21"/>
                    <a:pt x="150" y="21"/>
                    <a:pt x="150" y="21"/>
                  </a:cubicBezTo>
                  <a:cubicBezTo>
                    <a:pt x="151" y="22"/>
                    <a:pt x="151" y="23"/>
                    <a:pt x="151" y="23"/>
                  </a:cubicBezTo>
                  <a:cubicBezTo>
                    <a:pt x="152" y="25"/>
                    <a:pt x="152" y="26"/>
                    <a:pt x="151" y="27"/>
                  </a:cubicBezTo>
                  <a:cubicBezTo>
                    <a:pt x="151" y="28"/>
                    <a:pt x="151" y="28"/>
                    <a:pt x="151" y="28"/>
                  </a:cubicBezTo>
                  <a:cubicBezTo>
                    <a:pt x="151" y="31"/>
                    <a:pt x="150" y="34"/>
                    <a:pt x="149" y="36"/>
                  </a:cubicBezTo>
                  <a:cubicBezTo>
                    <a:pt x="149" y="36"/>
                    <a:pt x="149" y="36"/>
                    <a:pt x="149" y="36"/>
                  </a:cubicBezTo>
                  <a:cubicBezTo>
                    <a:pt x="149" y="37"/>
                    <a:pt x="148" y="37"/>
                    <a:pt x="148" y="38"/>
                  </a:cubicBezTo>
                  <a:cubicBezTo>
                    <a:pt x="148" y="39"/>
                    <a:pt x="148" y="40"/>
                    <a:pt x="147" y="41"/>
                  </a:cubicBezTo>
                  <a:cubicBezTo>
                    <a:pt x="147" y="42"/>
                    <a:pt x="147" y="42"/>
                    <a:pt x="147" y="42"/>
                  </a:cubicBezTo>
                  <a:cubicBezTo>
                    <a:pt x="147" y="45"/>
                    <a:pt x="146" y="49"/>
                    <a:pt x="144" y="51"/>
                  </a:cubicBezTo>
                  <a:cubicBezTo>
                    <a:pt x="143" y="52"/>
                    <a:pt x="142" y="53"/>
                    <a:pt x="141" y="54"/>
                  </a:cubicBezTo>
                  <a:cubicBezTo>
                    <a:pt x="140" y="54"/>
                    <a:pt x="138" y="55"/>
                    <a:pt x="137" y="55"/>
                  </a:cubicBezTo>
                  <a:cubicBezTo>
                    <a:pt x="136" y="56"/>
                    <a:pt x="136" y="56"/>
                    <a:pt x="136" y="56"/>
                  </a:cubicBezTo>
                  <a:cubicBezTo>
                    <a:pt x="126" y="60"/>
                    <a:pt x="126" y="60"/>
                    <a:pt x="126" y="60"/>
                  </a:cubicBezTo>
                  <a:cubicBezTo>
                    <a:pt x="123" y="61"/>
                    <a:pt x="121" y="63"/>
                    <a:pt x="120" y="64"/>
                  </a:cubicBezTo>
                  <a:cubicBezTo>
                    <a:pt x="119" y="65"/>
                    <a:pt x="119" y="66"/>
                    <a:pt x="118" y="66"/>
                  </a:cubicBezTo>
                  <a:cubicBezTo>
                    <a:pt x="116" y="69"/>
                    <a:pt x="116" y="69"/>
                    <a:pt x="116" y="69"/>
                  </a:cubicBezTo>
                  <a:cubicBezTo>
                    <a:pt x="117" y="71"/>
                    <a:pt x="118" y="74"/>
                    <a:pt x="120" y="75"/>
                  </a:cubicBezTo>
                  <a:cubicBezTo>
                    <a:pt x="123" y="77"/>
                    <a:pt x="123" y="77"/>
                    <a:pt x="123" y="77"/>
                  </a:cubicBezTo>
                  <a:cubicBezTo>
                    <a:pt x="120" y="79"/>
                    <a:pt x="120" y="79"/>
                    <a:pt x="120" y="79"/>
                  </a:cubicBezTo>
                  <a:cubicBezTo>
                    <a:pt x="119" y="80"/>
                    <a:pt x="118" y="80"/>
                    <a:pt x="118" y="80"/>
                  </a:cubicBezTo>
                  <a:cubicBezTo>
                    <a:pt x="116" y="81"/>
                    <a:pt x="116" y="81"/>
                    <a:pt x="116" y="82"/>
                  </a:cubicBezTo>
                  <a:cubicBezTo>
                    <a:pt x="116" y="94"/>
                    <a:pt x="116" y="94"/>
                    <a:pt x="116" y="94"/>
                  </a:cubicBezTo>
                  <a:cubicBezTo>
                    <a:pt x="116" y="98"/>
                    <a:pt x="116" y="103"/>
                    <a:pt x="116" y="108"/>
                  </a:cubicBezTo>
                  <a:cubicBezTo>
                    <a:pt x="116" y="109"/>
                    <a:pt x="116" y="109"/>
                    <a:pt x="116" y="109"/>
                  </a:cubicBezTo>
                  <a:cubicBezTo>
                    <a:pt x="115" y="110"/>
                    <a:pt x="115" y="110"/>
                    <a:pt x="115" y="111"/>
                  </a:cubicBezTo>
                  <a:cubicBezTo>
                    <a:pt x="116" y="112"/>
                    <a:pt x="117" y="113"/>
                    <a:pt x="118" y="114"/>
                  </a:cubicBezTo>
                  <a:cubicBezTo>
                    <a:pt x="119" y="116"/>
                    <a:pt x="120" y="117"/>
                    <a:pt x="121" y="118"/>
                  </a:cubicBezTo>
                  <a:cubicBezTo>
                    <a:pt x="121" y="119"/>
                    <a:pt x="121" y="119"/>
                    <a:pt x="121" y="120"/>
                  </a:cubicBezTo>
                  <a:cubicBezTo>
                    <a:pt x="122" y="120"/>
                    <a:pt x="122" y="121"/>
                    <a:pt x="122" y="121"/>
                  </a:cubicBezTo>
                  <a:cubicBezTo>
                    <a:pt x="122" y="122"/>
                    <a:pt x="122" y="122"/>
                    <a:pt x="122" y="122"/>
                  </a:cubicBezTo>
                  <a:cubicBezTo>
                    <a:pt x="122" y="122"/>
                    <a:pt x="122" y="123"/>
                    <a:pt x="122" y="123"/>
                  </a:cubicBezTo>
                  <a:cubicBezTo>
                    <a:pt x="122" y="124"/>
                    <a:pt x="122" y="124"/>
                    <a:pt x="122" y="124"/>
                  </a:cubicBezTo>
                  <a:cubicBezTo>
                    <a:pt x="122" y="124"/>
                    <a:pt x="122" y="125"/>
                    <a:pt x="121" y="125"/>
                  </a:cubicBezTo>
                  <a:cubicBezTo>
                    <a:pt x="120" y="128"/>
                    <a:pt x="118" y="128"/>
                    <a:pt x="116" y="128"/>
                  </a:cubicBezTo>
                  <a:cubicBezTo>
                    <a:pt x="116" y="129"/>
                    <a:pt x="116" y="129"/>
                    <a:pt x="116" y="129"/>
                  </a:cubicBezTo>
                  <a:cubicBezTo>
                    <a:pt x="116" y="129"/>
                    <a:pt x="116" y="129"/>
                    <a:pt x="116" y="129"/>
                  </a:cubicBezTo>
                  <a:cubicBezTo>
                    <a:pt x="115" y="129"/>
                    <a:pt x="115" y="129"/>
                    <a:pt x="115" y="130"/>
                  </a:cubicBezTo>
                  <a:cubicBezTo>
                    <a:pt x="114" y="130"/>
                    <a:pt x="114" y="130"/>
                    <a:pt x="113" y="130"/>
                  </a:cubicBezTo>
                  <a:cubicBezTo>
                    <a:pt x="113" y="130"/>
                    <a:pt x="112" y="130"/>
                    <a:pt x="112" y="130"/>
                  </a:cubicBezTo>
                  <a:cubicBezTo>
                    <a:pt x="112" y="130"/>
                    <a:pt x="111" y="130"/>
                    <a:pt x="111" y="130"/>
                  </a:cubicBezTo>
                  <a:cubicBezTo>
                    <a:pt x="111" y="130"/>
                    <a:pt x="110" y="130"/>
                    <a:pt x="110" y="130"/>
                  </a:cubicBezTo>
                  <a:cubicBezTo>
                    <a:pt x="109" y="130"/>
                    <a:pt x="109" y="130"/>
                    <a:pt x="109" y="130"/>
                  </a:cubicBezTo>
                  <a:cubicBezTo>
                    <a:pt x="109" y="130"/>
                    <a:pt x="109" y="130"/>
                    <a:pt x="109" y="130"/>
                  </a:cubicBezTo>
                  <a:cubicBezTo>
                    <a:pt x="109" y="131"/>
                    <a:pt x="108" y="132"/>
                    <a:pt x="108" y="134"/>
                  </a:cubicBezTo>
                  <a:cubicBezTo>
                    <a:pt x="108" y="134"/>
                    <a:pt x="108" y="134"/>
                    <a:pt x="108" y="134"/>
                  </a:cubicBezTo>
                  <a:cubicBezTo>
                    <a:pt x="106" y="139"/>
                    <a:pt x="104" y="143"/>
                    <a:pt x="101" y="146"/>
                  </a:cubicBezTo>
                  <a:cubicBezTo>
                    <a:pt x="101" y="147"/>
                    <a:pt x="101" y="147"/>
                    <a:pt x="101" y="147"/>
                  </a:cubicBezTo>
                  <a:cubicBezTo>
                    <a:pt x="100" y="149"/>
                    <a:pt x="98" y="151"/>
                    <a:pt x="97" y="152"/>
                  </a:cubicBezTo>
                  <a:cubicBezTo>
                    <a:pt x="94" y="155"/>
                    <a:pt x="92" y="158"/>
                    <a:pt x="91" y="160"/>
                  </a:cubicBezTo>
                  <a:cubicBezTo>
                    <a:pt x="90" y="161"/>
                    <a:pt x="90" y="161"/>
                    <a:pt x="90" y="162"/>
                  </a:cubicBezTo>
                  <a:cubicBezTo>
                    <a:pt x="90" y="163"/>
                    <a:pt x="89" y="164"/>
                    <a:pt x="89" y="165"/>
                  </a:cubicBezTo>
                  <a:cubicBezTo>
                    <a:pt x="89" y="165"/>
                    <a:pt x="89" y="165"/>
                    <a:pt x="89" y="165"/>
                  </a:cubicBezTo>
                  <a:cubicBezTo>
                    <a:pt x="88" y="171"/>
                    <a:pt x="86" y="176"/>
                    <a:pt x="84" y="180"/>
                  </a:cubicBezTo>
                  <a:cubicBezTo>
                    <a:pt x="83" y="181"/>
                    <a:pt x="83" y="181"/>
                    <a:pt x="83" y="182"/>
                  </a:cubicBezTo>
                  <a:cubicBezTo>
                    <a:pt x="83" y="182"/>
                    <a:pt x="83" y="182"/>
                    <a:pt x="83" y="182"/>
                  </a:cubicBezTo>
                  <a:cubicBezTo>
                    <a:pt x="82" y="182"/>
                    <a:pt x="82" y="182"/>
                    <a:pt x="82" y="183"/>
                  </a:cubicBezTo>
                  <a:cubicBezTo>
                    <a:pt x="82" y="184"/>
                    <a:pt x="83" y="185"/>
                    <a:pt x="83" y="187"/>
                  </a:cubicBezTo>
                  <a:cubicBezTo>
                    <a:pt x="84" y="188"/>
                    <a:pt x="85" y="190"/>
                    <a:pt x="85" y="192"/>
                  </a:cubicBezTo>
                  <a:cubicBezTo>
                    <a:pt x="85" y="192"/>
                    <a:pt x="85" y="192"/>
                    <a:pt x="85" y="192"/>
                  </a:cubicBezTo>
                  <a:cubicBezTo>
                    <a:pt x="85" y="192"/>
                    <a:pt x="85" y="192"/>
                    <a:pt x="85" y="192"/>
                  </a:cubicBezTo>
                  <a:cubicBezTo>
                    <a:pt x="85" y="193"/>
                    <a:pt x="85" y="193"/>
                    <a:pt x="85" y="193"/>
                  </a:cubicBezTo>
                  <a:cubicBezTo>
                    <a:pt x="85" y="193"/>
                    <a:pt x="85" y="193"/>
                    <a:pt x="85" y="193"/>
                  </a:cubicBezTo>
                  <a:cubicBezTo>
                    <a:pt x="84" y="194"/>
                    <a:pt x="84" y="195"/>
                    <a:pt x="84" y="196"/>
                  </a:cubicBezTo>
                  <a:cubicBezTo>
                    <a:pt x="84" y="198"/>
                    <a:pt x="84" y="198"/>
                    <a:pt x="84" y="198"/>
                  </a:cubicBezTo>
                  <a:cubicBezTo>
                    <a:pt x="84" y="198"/>
                    <a:pt x="84" y="199"/>
                    <a:pt x="84" y="199"/>
                  </a:cubicBezTo>
                  <a:cubicBezTo>
                    <a:pt x="85" y="199"/>
                    <a:pt x="85" y="200"/>
                    <a:pt x="85" y="200"/>
                  </a:cubicBezTo>
                  <a:cubicBezTo>
                    <a:pt x="86" y="200"/>
                    <a:pt x="86" y="201"/>
                    <a:pt x="86" y="202"/>
                  </a:cubicBezTo>
                  <a:cubicBezTo>
                    <a:pt x="87" y="202"/>
                    <a:pt x="87" y="203"/>
                    <a:pt x="87" y="203"/>
                  </a:cubicBezTo>
                  <a:cubicBezTo>
                    <a:pt x="87" y="206"/>
                    <a:pt x="83" y="208"/>
                    <a:pt x="81" y="209"/>
                  </a:cubicBezTo>
                  <a:cubicBezTo>
                    <a:pt x="80" y="210"/>
                    <a:pt x="79" y="211"/>
                    <a:pt x="78" y="213"/>
                  </a:cubicBezTo>
                  <a:cubicBezTo>
                    <a:pt x="78" y="213"/>
                    <a:pt x="78" y="214"/>
                    <a:pt x="78" y="215"/>
                  </a:cubicBezTo>
                  <a:cubicBezTo>
                    <a:pt x="77" y="218"/>
                    <a:pt x="76" y="220"/>
                    <a:pt x="76" y="222"/>
                  </a:cubicBezTo>
                  <a:cubicBezTo>
                    <a:pt x="76" y="223"/>
                    <a:pt x="76" y="223"/>
                    <a:pt x="76" y="223"/>
                  </a:cubicBezTo>
                  <a:cubicBezTo>
                    <a:pt x="76" y="224"/>
                    <a:pt x="77" y="225"/>
                    <a:pt x="76" y="226"/>
                  </a:cubicBezTo>
                  <a:cubicBezTo>
                    <a:pt x="76" y="227"/>
                    <a:pt x="76" y="227"/>
                    <a:pt x="75" y="228"/>
                  </a:cubicBezTo>
                  <a:cubicBezTo>
                    <a:pt x="75" y="228"/>
                    <a:pt x="75" y="228"/>
                    <a:pt x="75" y="228"/>
                  </a:cubicBezTo>
                  <a:cubicBezTo>
                    <a:pt x="74" y="229"/>
                    <a:pt x="74" y="229"/>
                    <a:pt x="74" y="229"/>
                  </a:cubicBezTo>
                  <a:cubicBezTo>
                    <a:pt x="73" y="228"/>
                    <a:pt x="73" y="228"/>
                    <a:pt x="73" y="228"/>
                  </a:cubicBezTo>
                  <a:cubicBezTo>
                    <a:pt x="73" y="229"/>
                    <a:pt x="73" y="229"/>
                    <a:pt x="73" y="229"/>
                  </a:cubicBezTo>
                  <a:cubicBezTo>
                    <a:pt x="71" y="230"/>
                    <a:pt x="71" y="230"/>
                    <a:pt x="71" y="230"/>
                  </a:cubicBezTo>
                  <a:cubicBezTo>
                    <a:pt x="71" y="230"/>
                    <a:pt x="71" y="230"/>
                    <a:pt x="71" y="230"/>
                  </a:cubicBezTo>
                  <a:cubicBezTo>
                    <a:pt x="70" y="232"/>
                    <a:pt x="70" y="234"/>
                    <a:pt x="71" y="237"/>
                  </a:cubicBezTo>
                  <a:cubicBezTo>
                    <a:pt x="72" y="239"/>
                    <a:pt x="72" y="239"/>
                    <a:pt x="72" y="239"/>
                  </a:cubicBezTo>
                  <a:cubicBezTo>
                    <a:pt x="73" y="241"/>
                    <a:pt x="74" y="243"/>
                    <a:pt x="75" y="245"/>
                  </a:cubicBezTo>
                  <a:cubicBezTo>
                    <a:pt x="75" y="246"/>
                    <a:pt x="76" y="246"/>
                    <a:pt x="76" y="247"/>
                  </a:cubicBezTo>
                  <a:cubicBezTo>
                    <a:pt x="77" y="247"/>
                    <a:pt x="77" y="248"/>
                    <a:pt x="77" y="249"/>
                  </a:cubicBezTo>
                  <a:cubicBezTo>
                    <a:pt x="77" y="251"/>
                    <a:pt x="75" y="252"/>
                    <a:pt x="75" y="253"/>
                  </a:cubicBezTo>
                  <a:cubicBezTo>
                    <a:pt x="74" y="253"/>
                    <a:pt x="74" y="253"/>
                    <a:pt x="74" y="253"/>
                  </a:cubicBezTo>
                  <a:cubicBezTo>
                    <a:pt x="75" y="254"/>
                    <a:pt x="75" y="255"/>
                    <a:pt x="76" y="256"/>
                  </a:cubicBezTo>
                  <a:cubicBezTo>
                    <a:pt x="76" y="256"/>
                    <a:pt x="76" y="256"/>
                    <a:pt x="76" y="256"/>
                  </a:cubicBezTo>
                  <a:cubicBezTo>
                    <a:pt x="76" y="257"/>
                    <a:pt x="77" y="257"/>
                    <a:pt x="77" y="258"/>
                  </a:cubicBezTo>
                  <a:cubicBezTo>
                    <a:pt x="78" y="259"/>
                    <a:pt x="78" y="259"/>
                    <a:pt x="78" y="259"/>
                  </a:cubicBezTo>
                  <a:cubicBezTo>
                    <a:pt x="79" y="262"/>
                    <a:pt x="80" y="265"/>
                    <a:pt x="80" y="268"/>
                  </a:cubicBezTo>
                  <a:cubicBezTo>
                    <a:pt x="80" y="270"/>
                    <a:pt x="80" y="270"/>
                    <a:pt x="80" y="270"/>
                  </a:cubicBezTo>
                  <a:cubicBezTo>
                    <a:pt x="81" y="271"/>
                    <a:pt x="81" y="273"/>
                    <a:pt x="80" y="274"/>
                  </a:cubicBezTo>
                  <a:cubicBezTo>
                    <a:pt x="80" y="276"/>
                    <a:pt x="80" y="277"/>
                    <a:pt x="81" y="278"/>
                  </a:cubicBezTo>
                  <a:cubicBezTo>
                    <a:pt x="81" y="278"/>
                    <a:pt x="81" y="279"/>
                    <a:pt x="81" y="279"/>
                  </a:cubicBezTo>
                  <a:cubicBezTo>
                    <a:pt x="81" y="279"/>
                    <a:pt x="81" y="279"/>
                    <a:pt x="81" y="279"/>
                  </a:cubicBezTo>
                  <a:cubicBezTo>
                    <a:pt x="81" y="280"/>
                    <a:pt x="81" y="281"/>
                    <a:pt x="82" y="282"/>
                  </a:cubicBezTo>
                  <a:cubicBezTo>
                    <a:pt x="82" y="282"/>
                    <a:pt x="83" y="282"/>
                    <a:pt x="83" y="282"/>
                  </a:cubicBezTo>
                  <a:cubicBezTo>
                    <a:pt x="84" y="283"/>
                    <a:pt x="87" y="283"/>
                    <a:pt x="87" y="286"/>
                  </a:cubicBezTo>
                  <a:cubicBezTo>
                    <a:pt x="87" y="286"/>
                    <a:pt x="87" y="287"/>
                    <a:pt x="87" y="288"/>
                  </a:cubicBezTo>
                  <a:cubicBezTo>
                    <a:pt x="88" y="288"/>
                    <a:pt x="88" y="288"/>
                    <a:pt x="88" y="288"/>
                  </a:cubicBezTo>
                  <a:cubicBezTo>
                    <a:pt x="87" y="289"/>
                    <a:pt x="87" y="289"/>
                    <a:pt x="87" y="289"/>
                  </a:cubicBezTo>
                  <a:cubicBezTo>
                    <a:pt x="85" y="300"/>
                    <a:pt x="85" y="300"/>
                    <a:pt x="85" y="300"/>
                  </a:cubicBezTo>
                  <a:cubicBezTo>
                    <a:pt x="85" y="301"/>
                    <a:pt x="85" y="301"/>
                    <a:pt x="85" y="302"/>
                  </a:cubicBezTo>
                  <a:cubicBezTo>
                    <a:pt x="85" y="304"/>
                    <a:pt x="86" y="306"/>
                    <a:pt x="86" y="307"/>
                  </a:cubicBezTo>
                  <a:cubicBezTo>
                    <a:pt x="88" y="310"/>
                    <a:pt x="88" y="310"/>
                    <a:pt x="88" y="310"/>
                  </a:cubicBezTo>
                  <a:cubicBezTo>
                    <a:pt x="85" y="311"/>
                    <a:pt x="85" y="311"/>
                    <a:pt x="85" y="311"/>
                  </a:cubicBezTo>
                  <a:cubicBezTo>
                    <a:pt x="84" y="311"/>
                    <a:pt x="83" y="312"/>
                    <a:pt x="82" y="312"/>
                  </a:cubicBezTo>
                  <a:cubicBezTo>
                    <a:pt x="81" y="312"/>
                    <a:pt x="81" y="312"/>
                    <a:pt x="81" y="312"/>
                  </a:cubicBezTo>
                  <a:cubicBezTo>
                    <a:pt x="77" y="322"/>
                    <a:pt x="77" y="322"/>
                    <a:pt x="77" y="322"/>
                  </a:cubicBezTo>
                  <a:cubicBezTo>
                    <a:pt x="76" y="323"/>
                    <a:pt x="76" y="323"/>
                    <a:pt x="76" y="323"/>
                  </a:cubicBezTo>
                  <a:cubicBezTo>
                    <a:pt x="76" y="324"/>
                    <a:pt x="76" y="324"/>
                    <a:pt x="76" y="324"/>
                  </a:cubicBezTo>
                  <a:cubicBezTo>
                    <a:pt x="76" y="325"/>
                    <a:pt x="76" y="325"/>
                    <a:pt x="76" y="326"/>
                  </a:cubicBezTo>
                  <a:cubicBezTo>
                    <a:pt x="75" y="326"/>
                    <a:pt x="75" y="326"/>
                    <a:pt x="75" y="326"/>
                  </a:cubicBezTo>
                  <a:cubicBezTo>
                    <a:pt x="75" y="328"/>
                    <a:pt x="75" y="329"/>
                    <a:pt x="74" y="331"/>
                  </a:cubicBezTo>
                  <a:cubicBezTo>
                    <a:pt x="74" y="331"/>
                    <a:pt x="74" y="331"/>
                    <a:pt x="74" y="331"/>
                  </a:cubicBezTo>
                  <a:cubicBezTo>
                    <a:pt x="73" y="332"/>
                    <a:pt x="72" y="333"/>
                    <a:pt x="72" y="334"/>
                  </a:cubicBezTo>
                  <a:cubicBezTo>
                    <a:pt x="71" y="335"/>
                    <a:pt x="71" y="335"/>
                    <a:pt x="71" y="335"/>
                  </a:cubicBezTo>
                  <a:cubicBezTo>
                    <a:pt x="71" y="335"/>
                    <a:pt x="71" y="335"/>
                    <a:pt x="71" y="335"/>
                  </a:cubicBezTo>
                  <a:cubicBezTo>
                    <a:pt x="70" y="336"/>
                    <a:pt x="70" y="336"/>
                    <a:pt x="70" y="336"/>
                  </a:cubicBezTo>
                  <a:cubicBezTo>
                    <a:pt x="70" y="337"/>
                    <a:pt x="71" y="337"/>
                    <a:pt x="71" y="338"/>
                  </a:cubicBezTo>
                  <a:cubicBezTo>
                    <a:pt x="71" y="338"/>
                    <a:pt x="71" y="338"/>
                    <a:pt x="71" y="338"/>
                  </a:cubicBezTo>
                  <a:cubicBezTo>
                    <a:pt x="71" y="338"/>
                    <a:pt x="71" y="339"/>
                    <a:pt x="71" y="339"/>
                  </a:cubicBezTo>
                  <a:cubicBezTo>
                    <a:pt x="74" y="344"/>
                    <a:pt x="73" y="349"/>
                    <a:pt x="73" y="355"/>
                  </a:cubicBezTo>
                  <a:cubicBezTo>
                    <a:pt x="73" y="355"/>
                    <a:pt x="73" y="356"/>
                    <a:pt x="73" y="356"/>
                  </a:cubicBezTo>
                  <a:cubicBezTo>
                    <a:pt x="76" y="356"/>
                    <a:pt x="76" y="356"/>
                    <a:pt x="76" y="356"/>
                  </a:cubicBezTo>
                  <a:cubicBezTo>
                    <a:pt x="73" y="357"/>
                    <a:pt x="73" y="357"/>
                    <a:pt x="73" y="357"/>
                  </a:cubicBezTo>
                  <a:cubicBezTo>
                    <a:pt x="73" y="358"/>
                    <a:pt x="73" y="358"/>
                    <a:pt x="73" y="359"/>
                  </a:cubicBezTo>
                  <a:cubicBezTo>
                    <a:pt x="73" y="361"/>
                    <a:pt x="73" y="361"/>
                    <a:pt x="73" y="361"/>
                  </a:cubicBezTo>
                  <a:cubicBezTo>
                    <a:pt x="70" y="361"/>
                    <a:pt x="70" y="361"/>
                    <a:pt x="70" y="361"/>
                  </a:cubicBezTo>
                  <a:cubicBezTo>
                    <a:pt x="70" y="361"/>
                    <a:pt x="69" y="362"/>
                    <a:pt x="69" y="362"/>
                  </a:cubicBezTo>
                  <a:cubicBezTo>
                    <a:pt x="69" y="362"/>
                    <a:pt x="69" y="362"/>
                    <a:pt x="69" y="362"/>
                  </a:cubicBezTo>
                  <a:cubicBezTo>
                    <a:pt x="68" y="362"/>
                    <a:pt x="68" y="362"/>
                    <a:pt x="68" y="363"/>
                  </a:cubicBezTo>
                  <a:cubicBezTo>
                    <a:pt x="68" y="364"/>
                    <a:pt x="67" y="366"/>
                    <a:pt x="66" y="367"/>
                  </a:cubicBezTo>
                  <a:cubicBezTo>
                    <a:pt x="64" y="369"/>
                    <a:pt x="62" y="369"/>
                    <a:pt x="60" y="370"/>
                  </a:cubicBezTo>
                  <a:cubicBezTo>
                    <a:pt x="60" y="370"/>
                    <a:pt x="59" y="370"/>
                    <a:pt x="59" y="370"/>
                  </a:cubicBezTo>
                  <a:cubicBezTo>
                    <a:pt x="59" y="370"/>
                    <a:pt x="59" y="370"/>
                    <a:pt x="59" y="370"/>
                  </a:cubicBezTo>
                  <a:cubicBezTo>
                    <a:pt x="58" y="370"/>
                    <a:pt x="58" y="370"/>
                    <a:pt x="58" y="370"/>
                  </a:cubicBezTo>
                  <a:cubicBezTo>
                    <a:pt x="58" y="375"/>
                    <a:pt x="58" y="375"/>
                    <a:pt x="58" y="375"/>
                  </a:cubicBezTo>
                  <a:cubicBezTo>
                    <a:pt x="57" y="379"/>
                    <a:pt x="57" y="384"/>
                    <a:pt x="56" y="388"/>
                  </a:cubicBezTo>
                  <a:cubicBezTo>
                    <a:pt x="56" y="388"/>
                    <a:pt x="56" y="388"/>
                    <a:pt x="56" y="388"/>
                  </a:cubicBezTo>
                  <a:cubicBezTo>
                    <a:pt x="56" y="389"/>
                    <a:pt x="56" y="389"/>
                    <a:pt x="56" y="389"/>
                  </a:cubicBezTo>
                  <a:cubicBezTo>
                    <a:pt x="56" y="392"/>
                    <a:pt x="56" y="396"/>
                    <a:pt x="57" y="400"/>
                  </a:cubicBezTo>
                  <a:cubicBezTo>
                    <a:pt x="57" y="401"/>
                    <a:pt x="57" y="401"/>
                    <a:pt x="57" y="401"/>
                  </a:cubicBezTo>
                  <a:cubicBezTo>
                    <a:pt x="57" y="402"/>
                    <a:pt x="57" y="403"/>
                    <a:pt x="57" y="404"/>
                  </a:cubicBezTo>
                  <a:cubicBezTo>
                    <a:pt x="57" y="405"/>
                    <a:pt x="57" y="405"/>
                    <a:pt x="57" y="405"/>
                  </a:cubicBezTo>
                  <a:cubicBezTo>
                    <a:pt x="58" y="407"/>
                    <a:pt x="59" y="410"/>
                    <a:pt x="59" y="413"/>
                  </a:cubicBezTo>
                  <a:cubicBezTo>
                    <a:pt x="60" y="415"/>
                    <a:pt x="60" y="416"/>
                    <a:pt x="61" y="418"/>
                  </a:cubicBezTo>
                  <a:cubicBezTo>
                    <a:pt x="61" y="418"/>
                    <a:pt x="61" y="419"/>
                    <a:pt x="61" y="419"/>
                  </a:cubicBezTo>
                  <a:cubicBezTo>
                    <a:pt x="63" y="424"/>
                    <a:pt x="63" y="427"/>
                    <a:pt x="62" y="428"/>
                  </a:cubicBezTo>
                  <a:cubicBezTo>
                    <a:pt x="61" y="430"/>
                    <a:pt x="59" y="431"/>
                    <a:pt x="55" y="433"/>
                  </a:cubicBezTo>
                  <a:cubicBezTo>
                    <a:pt x="54" y="433"/>
                    <a:pt x="53" y="433"/>
                    <a:pt x="53" y="433"/>
                  </a:cubicBezTo>
                  <a:cubicBezTo>
                    <a:pt x="52" y="434"/>
                    <a:pt x="52" y="434"/>
                    <a:pt x="52" y="434"/>
                  </a:cubicBezTo>
                  <a:cubicBezTo>
                    <a:pt x="52" y="434"/>
                    <a:pt x="51" y="434"/>
                    <a:pt x="51" y="435"/>
                  </a:cubicBezTo>
                  <a:cubicBezTo>
                    <a:pt x="51" y="435"/>
                    <a:pt x="51" y="435"/>
                    <a:pt x="51" y="435"/>
                  </a:cubicBezTo>
                  <a:cubicBezTo>
                    <a:pt x="49" y="447"/>
                    <a:pt x="49" y="447"/>
                    <a:pt x="49" y="447"/>
                  </a:cubicBezTo>
                  <a:cubicBezTo>
                    <a:pt x="49" y="448"/>
                    <a:pt x="49" y="449"/>
                    <a:pt x="49" y="451"/>
                  </a:cubicBezTo>
                  <a:cubicBezTo>
                    <a:pt x="48" y="451"/>
                    <a:pt x="48" y="451"/>
                    <a:pt x="48" y="451"/>
                  </a:cubicBezTo>
                  <a:cubicBezTo>
                    <a:pt x="48" y="452"/>
                    <a:pt x="48" y="452"/>
                    <a:pt x="48" y="452"/>
                  </a:cubicBezTo>
                  <a:cubicBezTo>
                    <a:pt x="47" y="453"/>
                    <a:pt x="46" y="454"/>
                    <a:pt x="45" y="454"/>
                  </a:cubicBezTo>
                  <a:cubicBezTo>
                    <a:pt x="45" y="461"/>
                    <a:pt x="45" y="464"/>
                    <a:pt x="43" y="466"/>
                  </a:cubicBezTo>
                  <a:cubicBezTo>
                    <a:pt x="43" y="467"/>
                    <a:pt x="42" y="468"/>
                    <a:pt x="41" y="468"/>
                  </a:cubicBezTo>
                  <a:cubicBezTo>
                    <a:pt x="41" y="468"/>
                    <a:pt x="42" y="469"/>
                    <a:pt x="42" y="469"/>
                  </a:cubicBezTo>
                  <a:cubicBezTo>
                    <a:pt x="42" y="469"/>
                    <a:pt x="42" y="470"/>
                    <a:pt x="42" y="470"/>
                  </a:cubicBezTo>
                  <a:cubicBezTo>
                    <a:pt x="43" y="471"/>
                    <a:pt x="43" y="471"/>
                    <a:pt x="43" y="471"/>
                  </a:cubicBezTo>
                  <a:cubicBezTo>
                    <a:pt x="43" y="472"/>
                    <a:pt x="43" y="472"/>
                    <a:pt x="43" y="472"/>
                  </a:cubicBezTo>
                  <a:cubicBezTo>
                    <a:pt x="42" y="473"/>
                    <a:pt x="42" y="473"/>
                    <a:pt x="42" y="473"/>
                  </a:cubicBezTo>
                  <a:cubicBezTo>
                    <a:pt x="43" y="474"/>
                    <a:pt x="43" y="474"/>
                    <a:pt x="43" y="474"/>
                  </a:cubicBezTo>
                  <a:cubicBezTo>
                    <a:pt x="42" y="475"/>
                    <a:pt x="42" y="475"/>
                    <a:pt x="42" y="475"/>
                  </a:cubicBezTo>
                  <a:cubicBezTo>
                    <a:pt x="42" y="475"/>
                    <a:pt x="42" y="475"/>
                    <a:pt x="42" y="475"/>
                  </a:cubicBezTo>
                  <a:cubicBezTo>
                    <a:pt x="41" y="477"/>
                    <a:pt x="40" y="479"/>
                    <a:pt x="39" y="481"/>
                  </a:cubicBezTo>
                  <a:cubicBezTo>
                    <a:pt x="39" y="483"/>
                    <a:pt x="39" y="484"/>
                    <a:pt x="39" y="486"/>
                  </a:cubicBezTo>
                  <a:cubicBezTo>
                    <a:pt x="39" y="486"/>
                    <a:pt x="39" y="486"/>
                    <a:pt x="39" y="486"/>
                  </a:cubicBezTo>
                  <a:cubicBezTo>
                    <a:pt x="39" y="487"/>
                    <a:pt x="39" y="488"/>
                    <a:pt x="39" y="489"/>
                  </a:cubicBezTo>
                  <a:cubicBezTo>
                    <a:pt x="39" y="489"/>
                    <a:pt x="40" y="490"/>
                    <a:pt x="40" y="490"/>
                  </a:cubicBezTo>
                  <a:cubicBezTo>
                    <a:pt x="40" y="493"/>
                    <a:pt x="39" y="496"/>
                    <a:pt x="39" y="499"/>
                  </a:cubicBezTo>
                  <a:cubicBezTo>
                    <a:pt x="39" y="500"/>
                    <a:pt x="39" y="501"/>
                    <a:pt x="39" y="502"/>
                  </a:cubicBezTo>
                  <a:cubicBezTo>
                    <a:pt x="38" y="507"/>
                    <a:pt x="39" y="510"/>
                    <a:pt x="41" y="514"/>
                  </a:cubicBezTo>
                  <a:cubicBezTo>
                    <a:pt x="41" y="515"/>
                    <a:pt x="41" y="515"/>
                    <a:pt x="41" y="515"/>
                  </a:cubicBezTo>
                  <a:cubicBezTo>
                    <a:pt x="42" y="516"/>
                    <a:pt x="42" y="517"/>
                    <a:pt x="42" y="518"/>
                  </a:cubicBezTo>
                  <a:cubicBezTo>
                    <a:pt x="43" y="521"/>
                    <a:pt x="42" y="523"/>
                    <a:pt x="39" y="524"/>
                  </a:cubicBezTo>
                  <a:cubicBezTo>
                    <a:pt x="37" y="525"/>
                    <a:pt x="37" y="525"/>
                    <a:pt x="37" y="525"/>
                  </a:cubicBezTo>
                  <a:cubicBezTo>
                    <a:pt x="35" y="526"/>
                    <a:pt x="35" y="526"/>
                    <a:pt x="34" y="528"/>
                  </a:cubicBezTo>
                  <a:cubicBezTo>
                    <a:pt x="34" y="529"/>
                    <a:pt x="34" y="530"/>
                    <a:pt x="34" y="531"/>
                  </a:cubicBezTo>
                  <a:cubicBezTo>
                    <a:pt x="34" y="532"/>
                    <a:pt x="34" y="533"/>
                    <a:pt x="34" y="534"/>
                  </a:cubicBezTo>
                  <a:cubicBezTo>
                    <a:pt x="33" y="536"/>
                    <a:pt x="33" y="536"/>
                    <a:pt x="33" y="536"/>
                  </a:cubicBezTo>
                  <a:cubicBezTo>
                    <a:pt x="33" y="541"/>
                    <a:pt x="33" y="541"/>
                    <a:pt x="33" y="541"/>
                  </a:cubicBezTo>
                  <a:cubicBezTo>
                    <a:pt x="33" y="543"/>
                    <a:pt x="33" y="543"/>
                    <a:pt x="33" y="544"/>
                  </a:cubicBezTo>
                  <a:cubicBezTo>
                    <a:pt x="33" y="544"/>
                    <a:pt x="33" y="545"/>
                    <a:pt x="33" y="546"/>
                  </a:cubicBezTo>
                  <a:cubicBezTo>
                    <a:pt x="34" y="546"/>
                    <a:pt x="34" y="546"/>
                    <a:pt x="36" y="547"/>
                  </a:cubicBezTo>
                  <a:cubicBezTo>
                    <a:pt x="37" y="547"/>
                    <a:pt x="39" y="547"/>
                    <a:pt x="41" y="549"/>
                  </a:cubicBezTo>
                  <a:cubicBezTo>
                    <a:pt x="42" y="550"/>
                    <a:pt x="43" y="551"/>
                    <a:pt x="43" y="552"/>
                  </a:cubicBezTo>
                  <a:cubicBezTo>
                    <a:pt x="43" y="553"/>
                    <a:pt x="43" y="554"/>
                    <a:pt x="42" y="555"/>
                  </a:cubicBezTo>
                  <a:cubicBezTo>
                    <a:pt x="42" y="555"/>
                    <a:pt x="42" y="556"/>
                    <a:pt x="41" y="556"/>
                  </a:cubicBezTo>
                  <a:cubicBezTo>
                    <a:pt x="41" y="557"/>
                    <a:pt x="40" y="557"/>
                    <a:pt x="39" y="558"/>
                  </a:cubicBezTo>
                  <a:cubicBezTo>
                    <a:pt x="39" y="558"/>
                    <a:pt x="39" y="558"/>
                    <a:pt x="39" y="558"/>
                  </a:cubicBezTo>
                  <a:cubicBezTo>
                    <a:pt x="40" y="559"/>
                    <a:pt x="40" y="559"/>
                    <a:pt x="40" y="559"/>
                  </a:cubicBezTo>
                  <a:cubicBezTo>
                    <a:pt x="41" y="560"/>
                    <a:pt x="42" y="560"/>
                    <a:pt x="42" y="562"/>
                  </a:cubicBezTo>
                  <a:cubicBezTo>
                    <a:pt x="42" y="563"/>
                    <a:pt x="43" y="564"/>
                    <a:pt x="43" y="565"/>
                  </a:cubicBezTo>
                  <a:cubicBezTo>
                    <a:pt x="44" y="568"/>
                    <a:pt x="45" y="571"/>
                    <a:pt x="44" y="573"/>
                  </a:cubicBezTo>
                  <a:cubicBezTo>
                    <a:pt x="44" y="574"/>
                    <a:pt x="43" y="575"/>
                    <a:pt x="43" y="576"/>
                  </a:cubicBezTo>
                  <a:cubicBezTo>
                    <a:pt x="43" y="576"/>
                    <a:pt x="43" y="576"/>
                    <a:pt x="43" y="576"/>
                  </a:cubicBezTo>
                  <a:cubicBezTo>
                    <a:pt x="42" y="577"/>
                    <a:pt x="42" y="578"/>
                    <a:pt x="42" y="578"/>
                  </a:cubicBezTo>
                  <a:cubicBezTo>
                    <a:pt x="41" y="582"/>
                    <a:pt x="41" y="582"/>
                    <a:pt x="41" y="582"/>
                  </a:cubicBezTo>
                  <a:cubicBezTo>
                    <a:pt x="42" y="582"/>
                    <a:pt x="43" y="582"/>
                    <a:pt x="44" y="582"/>
                  </a:cubicBezTo>
                  <a:cubicBezTo>
                    <a:pt x="48" y="582"/>
                    <a:pt x="53" y="583"/>
                    <a:pt x="55" y="585"/>
                  </a:cubicBezTo>
                  <a:cubicBezTo>
                    <a:pt x="56" y="586"/>
                    <a:pt x="56" y="586"/>
                    <a:pt x="56" y="586"/>
                  </a:cubicBezTo>
                  <a:cubicBezTo>
                    <a:pt x="57" y="587"/>
                    <a:pt x="57" y="589"/>
                    <a:pt x="57" y="591"/>
                  </a:cubicBezTo>
                  <a:cubicBezTo>
                    <a:pt x="56" y="592"/>
                    <a:pt x="55" y="593"/>
                    <a:pt x="55" y="593"/>
                  </a:cubicBezTo>
                  <a:cubicBezTo>
                    <a:pt x="54" y="594"/>
                    <a:pt x="54" y="594"/>
                    <a:pt x="54" y="595"/>
                  </a:cubicBezTo>
                  <a:cubicBezTo>
                    <a:pt x="53" y="597"/>
                    <a:pt x="53" y="599"/>
                    <a:pt x="51" y="599"/>
                  </a:cubicBezTo>
                  <a:cubicBezTo>
                    <a:pt x="50" y="600"/>
                    <a:pt x="50" y="600"/>
                    <a:pt x="49" y="600"/>
                  </a:cubicBezTo>
                  <a:cubicBezTo>
                    <a:pt x="49" y="600"/>
                    <a:pt x="48" y="600"/>
                    <a:pt x="48" y="600"/>
                  </a:cubicBezTo>
                  <a:cubicBezTo>
                    <a:pt x="47" y="600"/>
                    <a:pt x="46" y="599"/>
                    <a:pt x="45" y="599"/>
                  </a:cubicBezTo>
                  <a:cubicBezTo>
                    <a:pt x="44" y="599"/>
                    <a:pt x="44" y="599"/>
                    <a:pt x="44" y="599"/>
                  </a:cubicBezTo>
                  <a:cubicBezTo>
                    <a:pt x="45" y="600"/>
                    <a:pt x="45" y="600"/>
                    <a:pt x="45" y="600"/>
                  </a:cubicBezTo>
                  <a:cubicBezTo>
                    <a:pt x="46" y="601"/>
                    <a:pt x="46" y="601"/>
                    <a:pt x="46" y="601"/>
                  </a:cubicBezTo>
                  <a:cubicBezTo>
                    <a:pt x="47" y="601"/>
                    <a:pt x="47" y="602"/>
                    <a:pt x="47" y="602"/>
                  </a:cubicBezTo>
                  <a:cubicBezTo>
                    <a:pt x="47" y="603"/>
                    <a:pt x="47" y="603"/>
                    <a:pt x="47" y="603"/>
                  </a:cubicBezTo>
                  <a:cubicBezTo>
                    <a:pt x="48" y="604"/>
                    <a:pt x="48" y="604"/>
                    <a:pt x="48" y="604"/>
                  </a:cubicBezTo>
                  <a:cubicBezTo>
                    <a:pt x="48" y="604"/>
                    <a:pt x="48" y="604"/>
                    <a:pt x="49" y="605"/>
                  </a:cubicBezTo>
                  <a:cubicBezTo>
                    <a:pt x="49" y="605"/>
                    <a:pt x="50" y="606"/>
                    <a:pt x="50" y="606"/>
                  </a:cubicBezTo>
                  <a:cubicBezTo>
                    <a:pt x="51" y="608"/>
                    <a:pt x="52" y="609"/>
                    <a:pt x="52" y="611"/>
                  </a:cubicBezTo>
                  <a:cubicBezTo>
                    <a:pt x="52" y="613"/>
                    <a:pt x="51" y="614"/>
                    <a:pt x="50" y="615"/>
                  </a:cubicBezTo>
                  <a:cubicBezTo>
                    <a:pt x="50" y="615"/>
                    <a:pt x="50" y="615"/>
                    <a:pt x="50" y="615"/>
                  </a:cubicBezTo>
                  <a:cubicBezTo>
                    <a:pt x="50" y="616"/>
                    <a:pt x="50" y="616"/>
                    <a:pt x="50" y="616"/>
                  </a:cubicBezTo>
                  <a:cubicBezTo>
                    <a:pt x="49" y="616"/>
                    <a:pt x="49" y="616"/>
                    <a:pt x="49" y="616"/>
                  </a:cubicBezTo>
                  <a:cubicBezTo>
                    <a:pt x="48" y="618"/>
                    <a:pt x="48" y="619"/>
                    <a:pt x="45" y="620"/>
                  </a:cubicBezTo>
                  <a:cubicBezTo>
                    <a:pt x="44" y="621"/>
                    <a:pt x="43" y="621"/>
                    <a:pt x="43" y="621"/>
                  </a:cubicBezTo>
                  <a:cubicBezTo>
                    <a:pt x="42" y="622"/>
                    <a:pt x="42" y="622"/>
                    <a:pt x="42" y="622"/>
                  </a:cubicBezTo>
                  <a:cubicBezTo>
                    <a:pt x="42" y="622"/>
                    <a:pt x="41" y="622"/>
                    <a:pt x="41" y="623"/>
                  </a:cubicBezTo>
                  <a:cubicBezTo>
                    <a:pt x="41" y="624"/>
                    <a:pt x="42" y="624"/>
                    <a:pt x="42" y="625"/>
                  </a:cubicBezTo>
                  <a:cubicBezTo>
                    <a:pt x="42" y="626"/>
                    <a:pt x="43" y="626"/>
                    <a:pt x="43" y="627"/>
                  </a:cubicBezTo>
                  <a:cubicBezTo>
                    <a:pt x="43" y="627"/>
                    <a:pt x="43" y="627"/>
                    <a:pt x="43" y="627"/>
                  </a:cubicBezTo>
                  <a:cubicBezTo>
                    <a:pt x="44" y="629"/>
                    <a:pt x="45" y="631"/>
                    <a:pt x="44" y="633"/>
                  </a:cubicBezTo>
                  <a:cubicBezTo>
                    <a:pt x="43" y="634"/>
                    <a:pt x="43" y="634"/>
                    <a:pt x="43" y="634"/>
                  </a:cubicBezTo>
                  <a:cubicBezTo>
                    <a:pt x="43" y="634"/>
                    <a:pt x="43" y="635"/>
                    <a:pt x="42" y="635"/>
                  </a:cubicBezTo>
                  <a:cubicBezTo>
                    <a:pt x="40" y="638"/>
                    <a:pt x="40" y="638"/>
                    <a:pt x="40" y="638"/>
                  </a:cubicBezTo>
                  <a:cubicBezTo>
                    <a:pt x="42" y="645"/>
                    <a:pt x="42" y="645"/>
                    <a:pt x="42" y="645"/>
                  </a:cubicBezTo>
                  <a:cubicBezTo>
                    <a:pt x="43" y="646"/>
                    <a:pt x="43" y="646"/>
                    <a:pt x="43" y="646"/>
                  </a:cubicBezTo>
                  <a:cubicBezTo>
                    <a:pt x="43" y="648"/>
                    <a:pt x="44" y="651"/>
                    <a:pt x="43" y="653"/>
                  </a:cubicBezTo>
                  <a:cubicBezTo>
                    <a:pt x="43" y="654"/>
                    <a:pt x="41" y="655"/>
                    <a:pt x="41" y="655"/>
                  </a:cubicBezTo>
                  <a:cubicBezTo>
                    <a:pt x="40" y="656"/>
                    <a:pt x="40" y="656"/>
                    <a:pt x="40" y="656"/>
                  </a:cubicBezTo>
                  <a:cubicBezTo>
                    <a:pt x="40" y="656"/>
                    <a:pt x="39" y="657"/>
                    <a:pt x="39" y="657"/>
                  </a:cubicBezTo>
                  <a:cubicBezTo>
                    <a:pt x="37" y="659"/>
                    <a:pt x="37" y="659"/>
                    <a:pt x="38" y="663"/>
                  </a:cubicBezTo>
                  <a:cubicBezTo>
                    <a:pt x="39" y="666"/>
                    <a:pt x="39" y="666"/>
                    <a:pt x="39" y="666"/>
                  </a:cubicBezTo>
                  <a:cubicBezTo>
                    <a:pt x="40" y="669"/>
                    <a:pt x="37" y="670"/>
                    <a:pt x="36" y="671"/>
                  </a:cubicBezTo>
                  <a:cubicBezTo>
                    <a:pt x="36" y="671"/>
                    <a:pt x="35" y="672"/>
                    <a:pt x="34" y="672"/>
                  </a:cubicBezTo>
                  <a:cubicBezTo>
                    <a:pt x="33" y="671"/>
                    <a:pt x="33" y="671"/>
                    <a:pt x="33" y="671"/>
                  </a:cubicBezTo>
                  <a:cubicBezTo>
                    <a:pt x="33" y="671"/>
                    <a:pt x="33" y="671"/>
                    <a:pt x="33" y="671"/>
                  </a:cubicBezTo>
                  <a:cubicBezTo>
                    <a:pt x="33" y="672"/>
                    <a:pt x="33" y="672"/>
                    <a:pt x="33" y="672"/>
                  </a:cubicBezTo>
                  <a:cubicBezTo>
                    <a:pt x="33" y="673"/>
                    <a:pt x="32" y="673"/>
                    <a:pt x="32" y="673"/>
                  </a:cubicBezTo>
                  <a:cubicBezTo>
                    <a:pt x="31" y="674"/>
                    <a:pt x="31" y="674"/>
                    <a:pt x="31" y="674"/>
                  </a:cubicBezTo>
                  <a:cubicBezTo>
                    <a:pt x="30" y="674"/>
                    <a:pt x="30" y="675"/>
                    <a:pt x="29" y="675"/>
                  </a:cubicBezTo>
                  <a:cubicBezTo>
                    <a:pt x="29" y="675"/>
                    <a:pt x="29" y="676"/>
                    <a:pt x="29" y="676"/>
                  </a:cubicBezTo>
                  <a:cubicBezTo>
                    <a:pt x="28" y="677"/>
                    <a:pt x="28" y="677"/>
                    <a:pt x="28" y="677"/>
                  </a:cubicBezTo>
                  <a:cubicBezTo>
                    <a:pt x="25" y="686"/>
                    <a:pt x="25" y="686"/>
                    <a:pt x="25" y="686"/>
                  </a:cubicBezTo>
                  <a:cubicBezTo>
                    <a:pt x="24" y="686"/>
                    <a:pt x="24" y="687"/>
                    <a:pt x="24" y="687"/>
                  </a:cubicBezTo>
                  <a:cubicBezTo>
                    <a:pt x="24" y="687"/>
                    <a:pt x="24" y="687"/>
                    <a:pt x="24" y="687"/>
                  </a:cubicBezTo>
                  <a:cubicBezTo>
                    <a:pt x="25" y="688"/>
                    <a:pt x="25" y="688"/>
                    <a:pt x="25" y="688"/>
                  </a:cubicBezTo>
                  <a:cubicBezTo>
                    <a:pt x="25" y="688"/>
                    <a:pt x="25" y="688"/>
                    <a:pt x="25" y="688"/>
                  </a:cubicBezTo>
                  <a:cubicBezTo>
                    <a:pt x="27" y="689"/>
                    <a:pt x="28" y="690"/>
                    <a:pt x="29" y="691"/>
                  </a:cubicBezTo>
                  <a:cubicBezTo>
                    <a:pt x="29" y="692"/>
                    <a:pt x="29" y="694"/>
                    <a:pt x="29" y="695"/>
                  </a:cubicBezTo>
                  <a:cubicBezTo>
                    <a:pt x="29" y="695"/>
                    <a:pt x="29" y="697"/>
                    <a:pt x="29" y="698"/>
                  </a:cubicBezTo>
                  <a:cubicBezTo>
                    <a:pt x="29" y="698"/>
                    <a:pt x="29" y="699"/>
                    <a:pt x="29" y="701"/>
                  </a:cubicBezTo>
                  <a:cubicBezTo>
                    <a:pt x="29" y="702"/>
                    <a:pt x="28" y="703"/>
                    <a:pt x="27" y="703"/>
                  </a:cubicBezTo>
                  <a:cubicBezTo>
                    <a:pt x="26" y="703"/>
                    <a:pt x="25" y="704"/>
                    <a:pt x="25" y="705"/>
                  </a:cubicBezTo>
                  <a:cubicBezTo>
                    <a:pt x="25" y="705"/>
                    <a:pt x="25" y="705"/>
                    <a:pt x="25" y="705"/>
                  </a:cubicBezTo>
                  <a:cubicBezTo>
                    <a:pt x="24" y="705"/>
                    <a:pt x="23" y="705"/>
                    <a:pt x="23" y="705"/>
                  </a:cubicBezTo>
                  <a:cubicBezTo>
                    <a:pt x="23" y="705"/>
                    <a:pt x="23" y="705"/>
                    <a:pt x="23" y="705"/>
                  </a:cubicBezTo>
                  <a:cubicBezTo>
                    <a:pt x="23" y="706"/>
                    <a:pt x="23" y="706"/>
                    <a:pt x="23" y="706"/>
                  </a:cubicBezTo>
                  <a:cubicBezTo>
                    <a:pt x="23" y="706"/>
                    <a:pt x="23" y="706"/>
                    <a:pt x="23" y="706"/>
                  </a:cubicBezTo>
                  <a:cubicBezTo>
                    <a:pt x="23" y="708"/>
                    <a:pt x="23" y="708"/>
                    <a:pt x="23" y="708"/>
                  </a:cubicBezTo>
                  <a:cubicBezTo>
                    <a:pt x="23" y="710"/>
                    <a:pt x="23" y="711"/>
                    <a:pt x="23" y="711"/>
                  </a:cubicBezTo>
                  <a:cubicBezTo>
                    <a:pt x="23" y="712"/>
                    <a:pt x="23" y="712"/>
                    <a:pt x="23" y="712"/>
                  </a:cubicBezTo>
                  <a:cubicBezTo>
                    <a:pt x="23" y="716"/>
                    <a:pt x="21" y="717"/>
                    <a:pt x="19" y="718"/>
                  </a:cubicBezTo>
                  <a:cubicBezTo>
                    <a:pt x="19" y="719"/>
                    <a:pt x="18" y="719"/>
                    <a:pt x="18" y="719"/>
                  </a:cubicBezTo>
                  <a:cubicBezTo>
                    <a:pt x="17" y="720"/>
                    <a:pt x="17" y="720"/>
                    <a:pt x="17" y="720"/>
                  </a:cubicBezTo>
                  <a:cubicBezTo>
                    <a:pt x="16" y="721"/>
                    <a:pt x="15" y="721"/>
                    <a:pt x="15" y="722"/>
                  </a:cubicBezTo>
                  <a:cubicBezTo>
                    <a:pt x="15" y="722"/>
                    <a:pt x="14" y="723"/>
                    <a:pt x="14" y="724"/>
                  </a:cubicBezTo>
                  <a:cubicBezTo>
                    <a:pt x="11" y="727"/>
                    <a:pt x="9" y="730"/>
                    <a:pt x="7" y="730"/>
                  </a:cubicBezTo>
                  <a:cubicBezTo>
                    <a:pt x="6" y="731"/>
                    <a:pt x="4" y="731"/>
                    <a:pt x="3" y="731"/>
                  </a:cubicBezTo>
                  <a:cubicBezTo>
                    <a:pt x="2" y="731"/>
                    <a:pt x="2" y="732"/>
                    <a:pt x="1" y="732"/>
                  </a:cubicBezTo>
                  <a:cubicBezTo>
                    <a:pt x="1" y="733"/>
                    <a:pt x="0" y="734"/>
                    <a:pt x="0" y="735"/>
                  </a:cubicBezTo>
                  <a:cubicBezTo>
                    <a:pt x="1" y="736"/>
                    <a:pt x="1" y="736"/>
                    <a:pt x="1" y="736"/>
                  </a:cubicBezTo>
                  <a:cubicBezTo>
                    <a:pt x="1" y="737"/>
                    <a:pt x="1" y="737"/>
                    <a:pt x="1" y="738"/>
                  </a:cubicBezTo>
                  <a:cubicBezTo>
                    <a:pt x="1" y="740"/>
                    <a:pt x="1" y="742"/>
                    <a:pt x="1" y="744"/>
                  </a:cubicBezTo>
                  <a:cubicBezTo>
                    <a:pt x="1" y="746"/>
                    <a:pt x="0" y="748"/>
                    <a:pt x="1" y="749"/>
                  </a:cubicBezTo>
                  <a:cubicBezTo>
                    <a:pt x="1" y="751"/>
                    <a:pt x="1" y="751"/>
                    <a:pt x="1" y="751"/>
                  </a:cubicBezTo>
                  <a:cubicBezTo>
                    <a:pt x="1" y="752"/>
                    <a:pt x="1" y="752"/>
                    <a:pt x="1" y="752"/>
                  </a:cubicBezTo>
                  <a:cubicBezTo>
                    <a:pt x="1" y="752"/>
                    <a:pt x="1" y="752"/>
                    <a:pt x="1" y="752"/>
                  </a:cubicBezTo>
                  <a:cubicBezTo>
                    <a:pt x="1" y="753"/>
                    <a:pt x="1" y="753"/>
                    <a:pt x="1" y="753"/>
                  </a:cubicBezTo>
                  <a:cubicBezTo>
                    <a:pt x="2" y="753"/>
                    <a:pt x="2" y="753"/>
                    <a:pt x="2" y="753"/>
                  </a:cubicBezTo>
                  <a:cubicBezTo>
                    <a:pt x="3" y="754"/>
                    <a:pt x="3" y="754"/>
                    <a:pt x="3" y="754"/>
                  </a:cubicBezTo>
                  <a:cubicBezTo>
                    <a:pt x="3" y="754"/>
                    <a:pt x="4" y="755"/>
                    <a:pt x="5" y="756"/>
                  </a:cubicBezTo>
                  <a:cubicBezTo>
                    <a:pt x="6" y="757"/>
                    <a:pt x="6" y="758"/>
                    <a:pt x="6" y="759"/>
                  </a:cubicBezTo>
                  <a:cubicBezTo>
                    <a:pt x="7" y="761"/>
                    <a:pt x="7" y="761"/>
                    <a:pt x="7" y="761"/>
                  </a:cubicBezTo>
                  <a:cubicBezTo>
                    <a:pt x="7" y="762"/>
                    <a:pt x="7" y="763"/>
                    <a:pt x="7" y="764"/>
                  </a:cubicBezTo>
                  <a:cubicBezTo>
                    <a:pt x="7" y="765"/>
                    <a:pt x="8" y="766"/>
                    <a:pt x="8" y="767"/>
                  </a:cubicBezTo>
                  <a:cubicBezTo>
                    <a:pt x="8" y="770"/>
                    <a:pt x="8" y="770"/>
                    <a:pt x="8" y="770"/>
                  </a:cubicBezTo>
                  <a:cubicBezTo>
                    <a:pt x="8" y="770"/>
                    <a:pt x="8" y="770"/>
                    <a:pt x="8" y="770"/>
                  </a:cubicBezTo>
                  <a:cubicBezTo>
                    <a:pt x="8" y="770"/>
                    <a:pt x="8" y="770"/>
                    <a:pt x="8" y="770"/>
                  </a:cubicBezTo>
                  <a:cubicBezTo>
                    <a:pt x="9" y="770"/>
                    <a:pt x="9" y="770"/>
                    <a:pt x="9" y="770"/>
                  </a:cubicBezTo>
                  <a:cubicBezTo>
                    <a:pt x="9" y="769"/>
                    <a:pt x="10" y="769"/>
                    <a:pt x="10" y="769"/>
                  </a:cubicBezTo>
                  <a:cubicBezTo>
                    <a:pt x="10" y="769"/>
                    <a:pt x="10" y="769"/>
                    <a:pt x="10" y="769"/>
                  </a:cubicBezTo>
                  <a:cubicBezTo>
                    <a:pt x="11" y="768"/>
                    <a:pt x="12" y="767"/>
                    <a:pt x="12" y="767"/>
                  </a:cubicBezTo>
                  <a:cubicBezTo>
                    <a:pt x="14" y="766"/>
                    <a:pt x="15" y="766"/>
                    <a:pt x="16" y="766"/>
                  </a:cubicBezTo>
                  <a:cubicBezTo>
                    <a:pt x="16" y="766"/>
                    <a:pt x="16" y="766"/>
                    <a:pt x="17" y="766"/>
                  </a:cubicBezTo>
                  <a:cubicBezTo>
                    <a:pt x="18" y="766"/>
                    <a:pt x="18" y="766"/>
                    <a:pt x="19" y="767"/>
                  </a:cubicBezTo>
                  <a:cubicBezTo>
                    <a:pt x="19" y="766"/>
                    <a:pt x="19" y="766"/>
                    <a:pt x="19" y="766"/>
                  </a:cubicBezTo>
                  <a:cubicBezTo>
                    <a:pt x="21" y="766"/>
                    <a:pt x="23" y="765"/>
                    <a:pt x="24" y="765"/>
                  </a:cubicBezTo>
                  <a:cubicBezTo>
                    <a:pt x="25" y="765"/>
                    <a:pt x="25" y="765"/>
                    <a:pt x="25" y="765"/>
                  </a:cubicBezTo>
                  <a:cubicBezTo>
                    <a:pt x="25" y="764"/>
                    <a:pt x="25" y="764"/>
                    <a:pt x="25" y="764"/>
                  </a:cubicBezTo>
                  <a:cubicBezTo>
                    <a:pt x="25" y="766"/>
                    <a:pt x="25" y="766"/>
                    <a:pt x="25" y="766"/>
                  </a:cubicBezTo>
                  <a:cubicBezTo>
                    <a:pt x="26" y="766"/>
                    <a:pt x="27" y="766"/>
                    <a:pt x="28" y="766"/>
                  </a:cubicBezTo>
                  <a:cubicBezTo>
                    <a:pt x="29" y="767"/>
                    <a:pt x="29" y="768"/>
                    <a:pt x="29" y="769"/>
                  </a:cubicBezTo>
                  <a:cubicBezTo>
                    <a:pt x="29" y="770"/>
                    <a:pt x="29" y="770"/>
                    <a:pt x="29" y="770"/>
                  </a:cubicBezTo>
                  <a:cubicBezTo>
                    <a:pt x="30" y="772"/>
                    <a:pt x="30" y="773"/>
                    <a:pt x="30" y="775"/>
                  </a:cubicBezTo>
                  <a:cubicBezTo>
                    <a:pt x="30" y="776"/>
                    <a:pt x="30" y="778"/>
                    <a:pt x="30" y="780"/>
                  </a:cubicBezTo>
                  <a:cubicBezTo>
                    <a:pt x="29" y="782"/>
                    <a:pt x="29" y="783"/>
                    <a:pt x="28" y="784"/>
                  </a:cubicBezTo>
                  <a:cubicBezTo>
                    <a:pt x="28" y="784"/>
                    <a:pt x="28" y="784"/>
                    <a:pt x="28" y="784"/>
                  </a:cubicBezTo>
                  <a:cubicBezTo>
                    <a:pt x="28" y="785"/>
                    <a:pt x="28" y="785"/>
                    <a:pt x="28" y="785"/>
                  </a:cubicBezTo>
                  <a:cubicBezTo>
                    <a:pt x="29" y="786"/>
                    <a:pt x="30" y="787"/>
                    <a:pt x="30" y="788"/>
                  </a:cubicBezTo>
                  <a:cubicBezTo>
                    <a:pt x="30" y="790"/>
                    <a:pt x="29" y="793"/>
                    <a:pt x="28" y="794"/>
                  </a:cubicBezTo>
                  <a:cubicBezTo>
                    <a:pt x="28" y="795"/>
                    <a:pt x="28" y="796"/>
                    <a:pt x="27" y="796"/>
                  </a:cubicBezTo>
                  <a:cubicBezTo>
                    <a:pt x="27" y="797"/>
                    <a:pt x="27" y="797"/>
                    <a:pt x="27" y="797"/>
                  </a:cubicBezTo>
                  <a:cubicBezTo>
                    <a:pt x="28" y="799"/>
                    <a:pt x="28" y="799"/>
                    <a:pt x="29" y="799"/>
                  </a:cubicBezTo>
                  <a:cubicBezTo>
                    <a:pt x="31" y="800"/>
                    <a:pt x="31" y="800"/>
                    <a:pt x="31" y="800"/>
                  </a:cubicBezTo>
                  <a:cubicBezTo>
                    <a:pt x="31" y="800"/>
                    <a:pt x="31" y="800"/>
                    <a:pt x="31" y="801"/>
                  </a:cubicBezTo>
                  <a:cubicBezTo>
                    <a:pt x="32" y="801"/>
                    <a:pt x="33" y="802"/>
                    <a:pt x="34" y="803"/>
                  </a:cubicBezTo>
                  <a:cubicBezTo>
                    <a:pt x="35" y="804"/>
                    <a:pt x="36" y="806"/>
                    <a:pt x="36" y="807"/>
                  </a:cubicBezTo>
                  <a:cubicBezTo>
                    <a:pt x="36" y="807"/>
                    <a:pt x="37" y="807"/>
                    <a:pt x="37" y="808"/>
                  </a:cubicBezTo>
                  <a:cubicBezTo>
                    <a:pt x="37" y="808"/>
                    <a:pt x="37" y="808"/>
                    <a:pt x="38" y="808"/>
                  </a:cubicBezTo>
                  <a:cubicBezTo>
                    <a:pt x="60" y="808"/>
                    <a:pt x="60" y="808"/>
                    <a:pt x="60" y="808"/>
                  </a:cubicBezTo>
                  <a:cubicBezTo>
                    <a:pt x="62" y="808"/>
                    <a:pt x="64" y="808"/>
                    <a:pt x="66" y="808"/>
                  </a:cubicBezTo>
                  <a:cubicBezTo>
                    <a:pt x="68" y="808"/>
                    <a:pt x="71" y="808"/>
                    <a:pt x="73" y="808"/>
                  </a:cubicBezTo>
                  <a:cubicBezTo>
                    <a:pt x="75" y="808"/>
                    <a:pt x="78" y="808"/>
                    <a:pt x="80" y="808"/>
                  </a:cubicBezTo>
                  <a:cubicBezTo>
                    <a:pt x="81" y="808"/>
                    <a:pt x="81" y="808"/>
                    <a:pt x="81" y="808"/>
                  </a:cubicBezTo>
                  <a:cubicBezTo>
                    <a:pt x="81" y="808"/>
                    <a:pt x="82" y="809"/>
                    <a:pt x="82" y="809"/>
                  </a:cubicBezTo>
                  <a:cubicBezTo>
                    <a:pt x="84" y="809"/>
                    <a:pt x="86" y="810"/>
                    <a:pt x="87" y="810"/>
                  </a:cubicBezTo>
                  <a:cubicBezTo>
                    <a:pt x="88" y="810"/>
                    <a:pt x="88" y="810"/>
                    <a:pt x="88" y="810"/>
                  </a:cubicBezTo>
                  <a:cubicBezTo>
                    <a:pt x="90" y="811"/>
                    <a:pt x="91" y="812"/>
                    <a:pt x="93" y="812"/>
                  </a:cubicBezTo>
                  <a:cubicBezTo>
                    <a:pt x="94" y="812"/>
                    <a:pt x="96" y="812"/>
                    <a:pt x="98" y="813"/>
                  </a:cubicBezTo>
                  <a:cubicBezTo>
                    <a:pt x="103" y="814"/>
                    <a:pt x="109" y="817"/>
                    <a:pt x="114" y="819"/>
                  </a:cubicBezTo>
                  <a:cubicBezTo>
                    <a:pt x="111" y="814"/>
                    <a:pt x="108" y="809"/>
                    <a:pt x="106" y="804"/>
                  </a:cubicBezTo>
                  <a:cubicBezTo>
                    <a:pt x="105" y="802"/>
                    <a:pt x="104" y="800"/>
                    <a:pt x="102" y="799"/>
                  </a:cubicBezTo>
                  <a:cubicBezTo>
                    <a:pt x="102" y="799"/>
                    <a:pt x="102" y="799"/>
                    <a:pt x="102" y="799"/>
                  </a:cubicBezTo>
                  <a:cubicBezTo>
                    <a:pt x="102" y="799"/>
                    <a:pt x="102" y="800"/>
                    <a:pt x="101" y="800"/>
                  </a:cubicBezTo>
                  <a:cubicBezTo>
                    <a:pt x="101" y="800"/>
                    <a:pt x="101" y="800"/>
                    <a:pt x="100" y="800"/>
                  </a:cubicBezTo>
                  <a:cubicBezTo>
                    <a:pt x="100" y="800"/>
                    <a:pt x="100" y="800"/>
                    <a:pt x="100" y="800"/>
                  </a:cubicBezTo>
                  <a:cubicBezTo>
                    <a:pt x="99" y="800"/>
                    <a:pt x="97" y="799"/>
                    <a:pt x="96" y="799"/>
                  </a:cubicBezTo>
                  <a:cubicBezTo>
                    <a:pt x="95" y="799"/>
                    <a:pt x="95" y="799"/>
                    <a:pt x="94" y="799"/>
                  </a:cubicBezTo>
                  <a:cubicBezTo>
                    <a:pt x="92" y="799"/>
                    <a:pt x="91" y="799"/>
                    <a:pt x="89" y="799"/>
                  </a:cubicBezTo>
                  <a:cubicBezTo>
                    <a:pt x="91" y="799"/>
                    <a:pt x="93" y="798"/>
                    <a:pt x="95" y="798"/>
                  </a:cubicBezTo>
                  <a:cubicBezTo>
                    <a:pt x="96" y="798"/>
                    <a:pt x="96" y="798"/>
                    <a:pt x="97" y="798"/>
                  </a:cubicBezTo>
                  <a:cubicBezTo>
                    <a:pt x="98" y="798"/>
                    <a:pt x="99" y="799"/>
                    <a:pt x="100" y="799"/>
                  </a:cubicBezTo>
                  <a:cubicBezTo>
                    <a:pt x="100" y="799"/>
                    <a:pt x="100" y="799"/>
                    <a:pt x="100" y="799"/>
                  </a:cubicBezTo>
                  <a:cubicBezTo>
                    <a:pt x="101" y="799"/>
                    <a:pt x="101" y="798"/>
                    <a:pt x="102" y="798"/>
                  </a:cubicBezTo>
                  <a:cubicBezTo>
                    <a:pt x="103" y="798"/>
                    <a:pt x="103" y="798"/>
                    <a:pt x="103" y="798"/>
                  </a:cubicBezTo>
                  <a:cubicBezTo>
                    <a:pt x="102" y="792"/>
                    <a:pt x="101" y="785"/>
                    <a:pt x="98" y="779"/>
                  </a:cubicBezTo>
                  <a:cubicBezTo>
                    <a:pt x="97" y="780"/>
                    <a:pt x="95" y="781"/>
                    <a:pt x="94" y="783"/>
                  </a:cubicBezTo>
                  <a:cubicBezTo>
                    <a:pt x="94" y="782"/>
                    <a:pt x="94" y="782"/>
                    <a:pt x="94" y="782"/>
                  </a:cubicBezTo>
                  <a:cubicBezTo>
                    <a:pt x="94" y="780"/>
                    <a:pt x="98" y="779"/>
                    <a:pt x="99" y="777"/>
                  </a:cubicBezTo>
                  <a:cubicBezTo>
                    <a:pt x="101" y="775"/>
                    <a:pt x="99" y="772"/>
                    <a:pt x="100" y="770"/>
                  </a:cubicBezTo>
                  <a:cubicBezTo>
                    <a:pt x="102" y="767"/>
                    <a:pt x="104" y="764"/>
                    <a:pt x="105" y="761"/>
                  </a:cubicBezTo>
                  <a:cubicBezTo>
                    <a:pt x="107" y="759"/>
                    <a:pt x="109" y="758"/>
                    <a:pt x="111" y="757"/>
                  </a:cubicBezTo>
                  <a:cubicBezTo>
                    <a:pt x="113" y="757"/>
                    <a:pt x="118" y="755"/>
                    <a:pt x="117" y="754"/>
                  </a:cubicBezTo>
                  <a:cubicBezTo>
                    <a:pt x="116" y="753"/>
                    <a:pt x="116" y="753"/>
                    <a:pt x="116" y="753"/>
                  </a:cubicBezTo>
                  <a:cubicBezTo>
                    <a:pt x="115" y="752"/>
                    <a:pt x="114" y="750"/>
                    <a:pt x="113" y="750"/>
                  </a:cubicBezTo>
                  <a:cubicBezTo>
                    <a:pt x="113" y="749"/>
                    <a:pt x="112" y="749"/>
                    <a:pt x="111" y="749"/>
                  </a:cubicBezTo>
                  <a:cubicBezTo>
                    <a:pt x="110" y="749"/>
                    <a:pt x="109" y="749"/>
                    <a:pt x="107" y="750"/>
                  </a:cubicBezTo>
                  <a:cubicBezTo>
                    <a:pt x="106" y="750"/>
                    <a:pt x="105" y="750"/>
                    <a:pt x="104" y="750"/>
                  </a:cubicBezTo>
                  <a:cubicBezTo>
                    <a:pt x="104" y="750"/>
                    <a:pt x="103" y="750"/>
                    <a:pt x="103" y="750"/>
                  </a:cubicBezTo>
                  <a:cubicBezTo>
                    <a:pt x="105" y="749"/>
                    <a:pt x="108" y="749"/>
                    <a:pt x="110" y="748"/>
                  </a:cubicBezTo>
                  <a:cubicBezTo>
                    <a:pt x="114" y="747"/>
                    <a:pt x="111" y="744"/>
                    <a:pt x="109" y="742"/>
                  </a:cubicBezTo>
                  <a:cubicBezTo>
                    <a:pt x="113" y="742"/>
                    <a:pt x="113" y="751"/>
                    <a:pt x="118" y="753"/>
                  </a:cubicBezTo>
                  <a:cubicBezTo>
                    <a:pt x="118" y="753"/>
                    <a:pt x="118" y="753"/>
                    <a:pt x="118" y="753"/>
                  </a:cubicBezTo>
                  <a:cubicBezTo>
                    <a:pt x="121" y="753"/>
                    <a:pt x="130" y="749"/>
                    <a:pt x="131" y="747"/>
                  </a:cubicBezTo>
                  <a:cubicBezTo>
                    <a:pt x="132" y="746"/>
                    <a:pt x="132" y="744"/>
                    <a:pt x="132" y="743"/>
                  </a:cubicBezTo>
                  <a:cubicBezTo>
                    <a:pt x="133" y="738"/>
                    <a:pt x="135" y="732"/>
                    <a:pt x="135" y="727"/>
                  </a:cubicBezTo>
                  <a:cubicBezTo>
                    <a:pt x="134" y="729"/>
                    <a:pt x="132" y="730"/>
                    <a:pt x="130" y="731"/>
                  </a:cubicBezTo>
                  <a:cubicBezTo>
                    <a:pt x="131" y="729"/>
                    <a:pt x="133" y="728"/>
                    <a:pt x="134" y="726"/>
                  </a:cubicBezTo>
                  <a:cubicBezTo>
                    <a:pt x="138" y="719"/>
                    <a:pt x="142" y="716"/>
                    <a:pt x="147" y="711"/>
                  </a:cubicBezTo>
                  <a:cubicBezTo>
                    <a:pt x="152" y="707"/>
                    <a:pt x="156" y="704"/>
                    <a:pt x="161" y="701"/>
                  </a:cubicBezTo>
                  <a:cubicBezTo>
                    <a:pt x="166" y="698"/>
                    <a:pt x="173" y="696"/>
                    <a:pt x="177" y="690"/>
                  </a:cubicBezTo>
                  <a:cubicBezTo>
                    <a:pt x="178" y="688"/>
                    <a:pt x="177" y="688"/>
                    <a:pt x="175" y="687"/>
                  </a:cubicBezTo>
                  <a:cubicBezTo>
                    <a:pt x="175" y="685"/>
                    <a:pt x="176" y="684"/>
                    <a:pt x="173" y="684"/>
                  </a:cubicBezTo>
                  <a:cubicBezTo>
                    <a:pt x="173" y="684"/>
                    <a:pt x="173" y="684"/>
                    <a:pt x="173" y="684"/>
                  </a:cubicBezTo>
                  <a:cubicBezTo>
                    <a:pt x="174" y="683"/>
                    <a:pt x="175" y="683"/>
                    <a:pt x="176" y="682"/>
                  </a:cubicBezTo>
                  <a:cubicBezTo>
                    <a:pt x="177" y="680"/>
                    <a:pt x="178" y="677"/>
                    <a:pt x="178" y="675"/>
                  </a:cubicBezTo>
                  <a:cubicBezTo>
                    <a:pt x="179" y="674"/>
                    <a:pt x="179" y="672"/>
                    <a:pt x="179" y="671"/>
                  </a:cubicBezTo>
                  <a:cubicBezTo>
                    <a:pt x="179" y="669"/>
                    <a:pt x="179" y="667"/>
                    <a:pt x="177" y="666"/>
                  </a:cubicBezTo>
                  <a:cubicBezTo>
                    <a:pt x="173" y="665"/>
                    <a:pt x="169" y="664"/>
                    <a:pt x="165" y="663"/>
                  </a:cubicBezTo>
                  <a:cubicBezTo>
                    <a:pt x="160" y="662"/>
                    <a:pt x="156" y="661"/>
                    <a:pt x="153" y="659"/>
                  </a:cubicBezTo>
                  <a:cubicBezTo>
                    <a:pt x="150" y="657"/>
                    <a:pt x="148" y="655"/>
                    <a:pt x="146" y="653"/>
                  </a:cubicBezTo>
                  <a:cubicBezTo>
                    <a:pt x="140" y="648"/>
                    <a:pt x="136" y="644"/>
                    <a:pt x="135" y="636"/>
                  </a:cubicBezTo>
                  <a:cubicBezTo>
                    <a:pt x="135" y="632"/>
                    <a:pt x="138" y="629"/>
                    <a:pt x="140" y="625"/>
                  </a:cubicBezTo>
                  <a:cubicBezTo>
                    <a:pt x="143" y="621"/>
                    <a:pt x="146" y="614"/>
                    <a:pt x="150" y="610"/>
                  </a:cubicBezTo>
                  <a:cubicBezTo>
                    <a:pt x="152" y="609"/>
                    <a:pt x="153" y="609"/>
                    <a:pt x="155" y="608"/>
                  </a:cubicBezTo>
                  <a:cubicBezTo>
                    <a:pt x="158" y="606"/>
                    <a:pt x="161" y="605"/>
                    <a:pt x="164" y="603"/>
                  </a:cubicBezTo>
                  <a:cubicBezTo>
                    <a:pt x="167" y="602"/>
                    <a:pt x="168" y="602"/>
                    <a:pt x="169" y="602"/>
                  </a:cubicBezTo>
                  <a:cubicBezTo>
                    <a:pt x="170" y="602"/>
                    <a:pt x="172" y="602"/>
                    <a:pt x="173" y="602"/>
                  </a:cubicBezTo>
                  <a:cubicBezTo>
                    <a:pt x="175" y="602"/>
                    <a:pt x="177" y="603"/>
                    <a:pt x="179" y="603"/>
                  </a:cubicBezTo>
                  <a:cubicBezTo>
                    <a:pt x="181" y="603"/>
                    <a:pt x="182" y="603"/>
                    <a:pt x="183" y="601"/>
                  </a:cubicBezTo>
                  <a:cubicBezTo>
                    <a:pt x="184" y="598"/>
                    <a:pt x="180" y="597"/>
                    <a:pt x="180" y="595"/>
                  </a:cubicBezTo>
                  <a:cubicBezTo>
                    <a:pt x="180" y="593"/>
                    <a:pt x="182" y="592"/>
                    <a:pt x="183" y="591"/>
                  </a:cubicBezTo>
                  <a:cubicBezTo>
                    <a:pt x="186" y="589"/>
                    <a:pt x="189" y="586"/>
                    <a:pt x="190" y="583"/>
                  </a:cubicBezTo>
                  <a:cubicBezTo>
                    <a:pt x="191" y="581"/>
                    <a:pt x="191" y="575"/>
                    <a:pt x="191" y="573"/>
                  </a:cubicBezTo>
                  <a:cubicBezTo>
                    <a:pt x="191" y="573"/>
                    <a:pt x="191" y="573"/>
                    <a:pt x="191" y="573"/>
                  </a:cubicBezTo>
                  <a:cubicBezTo>
                    <a:pt x="189" y="573"/>
                    <a:pt x="188" y="568"/>
                    <a:pt x="188" y="567"/>
                  </a:cubicBezTo>
                  <a:cubicBezTo>
                    <a:pt x="191" y="563"/>
                    <a:pt x="193" y="557"/>
                    <a:pt x="196" y="553"/>
                  </a:cubicBezTo>
                  <a:cubicBezTo>
                    <a:pt x="199" y="551"/>
                    <a:pt x="201" y="550"/>
                    <a:pt x="204" y="549"/>
                  </a:cubicBezTo>
                  <a:cubicBezTo>
                    <a:pt x="205" y="549"/>
                    <a:pt x="213" y="546"/>
                    <a:pt x="212" y="544"/>
                  </a:cubicBezTo>
                  <a:cubicBezTo>
                    <a:pt x="208" y="545"/>
                    <a:pt x="208" y="545"/>
                    <a:pt x="208" y="545"/>
                  </a:cubicBezTo>
                  <a:cubicBezTo>
                    <a:pt x="204" y="545"/>
                    <a:pt x="199" y="541"/>
                    <a:pt x="196" y="538"/>
                  </a:cubicBezTo>
                  <a:cubicBezTo>
                    <a:pt x="197" y="535"/>
                    <a:pt x="204" y="532"/>
                    <a:pt x="207" y="532"/>
                  </a:cubicBezTo>
                  <a:cubicBezTo>
                    <a:pt x="207" y="532"/>
                    <a:pt x="207" y="532"/>
                    <a:pt x="207" y="532"/>
                  </a:cubicBezTo>
                  <a:cubicBezTo>
                    <a:pt x="211" y="532"/>
                    <a:pt x="215" y="535"/>
                    <a:pt x="214" y="538"/>
                  </a:cubicBezTo>
                  <a:cubicBezTo>
                    <a:pt x="218" y="539"/>
                    <a:pt x="223" y="539"/>
                    <a:pt x="228" y="539"/>
                  </a:cubicBezTo>
                  <a:cubicBezTo>
                    <a:pt x="228" y="534"/>
                    <a:pt x="230" y="521"/>
                    <a:pt x="223" y="521"/>
                  </a:cubicBezTo>
                  <a:cubicBezTo>
                    <a:pt x="223" y="521"/>
                    <a:pt x="222" y="521"/>
                    <a:pt x="221" y="521"/>
                  </a:cubicBezTo>
                  <a:cubicBezTo>
                    <a:pt x="218" y="522"/>
                    <a:pt x="214" y="524"/>
                    <a:pt x="211" y="525"/>
                  </a:cubicBezTo>
                  <a:cubicBezTo>
                    <a:pt x="213" y="525"/>
                    <a:pt x="221" y="525"/>
                    <a:pt x="218" y="529"/>
                  </a:cubicBezTo>
                  <a:cubicBezTo>
                    <a:pt x="217" y="530"/>
                    <a:pt x="216" y="530"/>
                    <a:pt x="215" y="530"/>
                  </a:cubicBezTo>
                  <a:cubicBezTo>
                    <a:pt x="215" y="530"/>
                    <a:pt x="215" y="530"/>
                    <a:pt x="215" y="530"/>
                  </a:cubicBezTo>
                  <a:cubicBezTo>
                    <a:pt x="215" y="530"/>
                    <a:pt x="215" y="530"/>
                    <a:pt x="215" y="530"/>
                  </a:cubicBezTo>
                  <a:cubicBezTo>
                    <a:pt x="214" y="530"/>
                    <a:pt x="214" y="530"/>
                    <a:pt x="214" y="530"/>
                  </a:cubicBezTo>
                  <a:cubicBezTo>
                    <a:pt x="213" y="530"/>
                    <a:pt x="212" y="530"/>
                    <a:pt x="210" y="530"/>
                  </a:cubicBezTo>
                  <a:cubicBezTo>
                    <a:pt x="208" y="530"/>
                    <a:pt x="207" y="530"/>
                    <a:pt x="205" y="530"/>
                  </a:cubicBezTo>
                  <a:cubicBezTo>
                    <a:pt x="206" y="528"/>
                    <a:pt x="204" y="526"/>
                    <a:pt x="202" y="525"/>
                  </a:cubicBezTo>
                  <a:cubicBezTo>
                    <a:pt x="200" y="523"/>
                    <a:pt x="198" y="521"/>
                    <a:pt x="195" y="519"/>
                  </a:cubicBezTo>
                  <a:cubicBezTo>
                    <a:pt x="194" y="518"/>
                    <a:pt x="195" y="517"/>
                    <a:pt x="195" y="515"/>
                  </a:cubicBezTo>
                  <a:cubicBezTo>
                    <a:pt x="195" y="511"/>
                    <a:pt x="196" y="507"/>
                    <a:pt x="196" y="504"/>
                  </a:cubicBezTo>
                  <a:cubicBezTo>
                    <a:pt x="195" y="500"/>
                    <a:pt x="194" y="496"/>
                    <a:pt x="193" y="492"/>
                  </a:cubicBezTo>
                  <a:cubicBezTo>
                    <a:pt x="192" y="487"/>
                    <a:pt x="192" y="486"/>
                    <a:pt x="196" y="484"/>
                  </a:cubicBezTo>
                  <a:cubicBezTo>
                    <a:pt x="197" y="483"/>
                    <a:pt x="198" y="482"/>
                    <a:pt x="199" y="482"/>
                  </a:cubicBezTo>
                  <a:cubicBezTo>
                    <a:pt x="200" y="482"/>
                    <a:pt x="201" y="483"/>
                    <a:pt x="202" y="485"/>
                  </a:cubicBezTo>
                  <a:cubicBezTo>
                    <a:pt x="200" y="485"/>
                    <a:pt x="199" y="485"/>
                    <a:pt x="198" y="485"/>
                  </a:cubicBezTo>
                  <a:cubicBezTo>
                    <a:pt x="198" y="485"/>
                    <a:pt x="199" y="486"/>
                    <a:pt x="199" y="486"/>
                  </a:cubicBezTo>
                  <a:cubicBezTo>
                    <a:pt x="200" y="486"/>
                    <a:pt x="200" y="486"/>
                    <a:pt x="200" y="485"/>
                  </a:cubicBezTo>
                  <a:cubicBezTo>
                    <a:pt x="201" y="485"/>
                    <a:pt x="201" y="485"/>
                    <a:pt x="201" y="485"/>
                  </a:cubicBezTo>
                  <a:cubicBezTo>
                    <a:pt x="201" y="485"/>
                    <a:pt x="202" y="485"/>
                    <a:pt x="202" y="485"/>
                  </a:cubicBezTo>
                  <a:cubicBezTo>
                    <a:pt x="207" y="486"/>
                    <a:pt x="214" y="490"/>
                    <a:pt x="219" y="492"/>
                  </a:cubicBezTo>
                  <a:cubicBezTo>
                    <a:pt x="224" y="494"/>
                    <a:pt x="226" y="494"/>
                    <a:pt x="231" y="494"/>
                  </a:cubicBezTo>
                  <a:cubicBezTo>
                    <a:pt x="233" y="495"/>
                    <a:pt x="235" y="495"/>
                    <a:pt x="237" y="495"/>
                  </a:cubicBezTo>
                  <a:cubicBezTo>
                    <a:pt x="238" y="495"/>
                    <a:pt x="240" y="495"/>
                    <a:pt x="241" y="494"/>
                  </a:cubicBezTo>
                  <a:cubicBezTo>
                    <a:pt x="244" y="493"/>
                    <a:pt x="247" y="492"/>
                    <a:pt x="250" y="490"/>
                  </a:cubicBezTo>
                  <a:cubicBezTo>
                    <a:pt x="255" y="488"/>
                    <a:pt x="259" y="487"/>
                    <a:pt x="261" y="480"/>
                  </a:cubicBezTo>
                  <a:cubicBezTo>
                    <a:pt x="261" y="480"/>
                    <a:pt x="261" y="480"/>
                    <a:pt x="261" y="480"/>
                  </a:cubicBezTo>
                  <a:cubicBezTo>
                    <a:pt x="259" y="480"/>
                    <a:pt x="257" y="476"/>
                    <a:pt x="256" y="475"/>
                  </a:cubicBezTo>
                  <a:cubicBezTo>
                    <a:pt x="253" y="469"/>
                    <a:pt x="256" y="471"/>
                    <a:pt x="256" y="467"/>
                  </a:cubicBezTo>
                  <a:cubicBezTo>
                    <a:pt x="257" y="464"/>
                    <a:pt x="257" y="462"/>
                    <a:pt x="258" y="459"/>
                  </a:cubicBezTo>
                  <a:cubicBezTo>
                    <a:pt x="258" y="458"/>
                    <a:pt x="258" y="458"/>
                    <a:pt x="259" y="458"/>
                  </a:cubicBezTo>
                  <a:cubicBezTo>
                    <a:pt x="259" y="458"/>
                    <a:pt x="259" y="458"/>
                    <a:pt x="259" y="458"/>
                  </a:cubicBezTo>
                  <a:cubicBezTo>
                    <a:pt x="259" y="458"/>
                    <a:pt x="259" y="458"/>
                    <a:pt x="259" y="458"/>
                  </a:cubicBezTo>
                  <a:cubicBezTo>
                    <a:pt x="259" y="458"/>
                    <a:pt x="259" y="458"/>
                    <a:pt x="259" y="458"/>
                  </a:cubicBezTo>
                  <a:cubicBezTo>
                    <a:pt x="261" y="456"/>
                    <a:pt x="263" y="453"/>
                    <a:pt x="264" y="450"/>
                  </a:cubicBezTo>
                  <a:cubicBezTo>
                    <a:pt x="264" y="447"/>
                    <a:pt x="261" y="446"/>
                    <a:pt x="259" y="444"/>
                  </a:cubicBezTo>
                  <a:cubicBezTo>
                    <a:pt x="259" y="444"/>
                    <a:pt x="260" y="444"/>
                    <a:pt x="260" y="444"/>
                  </a:cubicBezTo>
                  <a:cubicBezTo>
                    <a:pt x="261" y="444"/>
                    <a:pt x="261" y="444"/>
                    <a:pt x="262" y="445"/>
                  </a:cubicBezTo>
                  <a:cubicBezTo>
                    <a:pt x="262" y="445"/>
                    <a:pt x="263" y="445"/>
                    <a:pt x="263" y="445"/>
                  </a:cubicBezTo>
                  <a:cubicBezTo>
                    <a:pt x="264" y="445"/>
                    <a:pt x="264" y="445"/>
                    <a:pt x="265" y="445"/>
                  </a:cubicBezTo>
                  <a:cubicBezTo>
                    <a:pt x="264" y="444"/>
                    <a:pt x="263" y="444"/>
                    <a:pt x="262" y="443"/>
                  </a:cubicBezTo>
                  <a:cubicBezTo>
                    <a:pt x="260" y="442"/>
                    <a:pt x="258" y="443"/>
                    <a:pt x="258" y="440"/>
                  </a:cubicBezTo>
                  <a:cubicBezTo>
                    <a:pt x="257" y="437"/>
                    <a:pt x="257" y="433"/>
                    <a:pt x="257" y="430"/>
                  </a:cubicBezTo>
                  <a:cubicBezTo>
                    <a:pt x="261" y="431"/>
                    <a:pt x="266" y="432"/>
                    <a:pt x="270" y="433"/>
                  </a:cubicBezTo>
                  <a:cubicBezTo>
                    <a:pt x="276" y="434"/>
                    <a:pt x="281" y="435"/>
                    <a:pt x="286" y="435"/>
                  </a:cubicBezTo>
                  <a:cubicBezTo>
                    <a:pt x="287" y="435"/>
                    <a:pt x="289" y="435"/>
                    <a:pt x="290" y="435"/>
                  </a:cubicBezTo>
                  <a:cubicBezTo>
                    <a:pt x="297" y="434"/>
                    <a:pt x="304" y="433"/>
                    <a:pt x="311" y="431"/>
                  </a:cubicBezTo>
                  <a:cubicBezTo>
                    <a:pt x="325" y="429"/>
                    <a:pt x="338" y="425"/>
                    <a:pt x="351" y="421"/>
                  </a:cubicBezTo>
                  <a:cubicBezTo>
                    <a:pt x="358" y="419"/>
                    <a:pt x="363" y="416"/>
                    <a:pt x="367" y="410"/>
                  </a:cubicBezTo>
                  <a:cubicBezTo>
                    <a:pt x="370" y="406"/>
                    <a:pt x="374" y="401"/>
                    <a:pt x="377" y="396"/>
                  </a:cubicBezTo>
                  <a:cubicBezTo>
                    <a:pt x="380" y="392"/>
                    <a:pt x="382" y="389"/>
                    <a:pt x="385" y="385"/>
                  </a:cubicBezTo>
                  <a:cubicBezTo>
                    <a:pt x="386" y="384"/>
                    <a:pt x="389" y="380"/>
                    <a:pt x="389" y="378"/>
                  </a:cubicBezTo>
                  <a:cubicBezTo>
                    <a:pt x="389" y="376"/>
                    <a:pt x="389" y="365"/>
                    <a:pt x="387" y="363"/>
                  </a:cubicBezTo>
                  <a:cubicBezTo>
                    <a:pt x="387" y="364"/>
                    <a:pt x="386" y="364"/>
                    <a:pt x="385" y="364"/>
                  </a:cubicBezTo>
                  <a:cubicBezTo>
                    <a:pt x="383" y="364"/>
                    <a:pt x="381" y="364"/>
                    <a:pt x="380" y="363"/>
                  </a:cubicBezTo>
                  <a:cubicBezTo>
                    <a:pt x="376" y="360"/>
                    <a:pt x="375" y="357"/>
                    <a:pt x="374" y="352"/>
                  </a:cubicBezTo>
                  <a:cubicBezTo>
                    <a:pt x="373" y="347"/>
                    <a:pt x="374" y="346"/>
                    <a:pt x="377" y="342"/>
                  </a:cubicBezTo>
                  <a:cubicBezTo>
                    <a:pt x="379" y="339"/>
                    <a:pt x="377" y="336"/>
                    <a:pt x="374" y="333"/>
                  </a:cubicBezTo>
                  <a:cubicBezTo>
                    <a:pt x="373" y="332"/>
                    <a:pt x="371" y="331"/>
                    <a:pt x="369" y="329"/>
                  </a:cubicBezTo>
                  <a:cubicBezTo>
                    <a:pt x="364" y="326"/>
                    <a:pt x="359" y="324"/>
                    <a:pt x="353" y="321"/>
                  </a:cubicBezTo>
                  <a:cubicBezTo>
                    <a:pt x="352" y="323"/>
                    <a:pt x="350" y="324"/>
                    <a:pt x="348" y="324"/>
                  </a:cubicBezTo>
                  <a:cubicBezTo>
                    <a:pt x="344" y="324"/>
                    <a:pt x="341" y="322"/>
                    <a:pt x="341" y="318"/>
                  </a:cubicBezTo>
                  <a:cubicBezTo>
                    <a:pt x="341" y="315"/>
                    <a:pt x="344" y="313"/>
                    <a:pt x="347" y="312"/>
                  </a:cubicBezTo>
                  <a:cubicBezTo>
                    <a:pt x="347" y="312"/>
                    <a:pt x="344" y="303"/>
                    <a:pt x="347" y="298"/>
                  </a:cubicBezTo>
                  <a:cubicBezTo>
                    <a:pt x="345" y="298"/>
                    <a:pt x="345" y="298"/>
                    <a:pt x="345" y="298"/>
                  </a:cubicBezTo>
                  <a:cubicBezTo>
                    <a:pt x="345" y="297"/>
                    <a:pt x="345" y="297"/>
                    <a:pt x="345" y="297"/>
                  </a:cubicBezTo>
                  <a:cubicBezTo>
                    <a:pt x="346" y="294"/>
                    <a:pt x="346" y="290"/>
                    <a:pt x="346" y="288"/>
                  </a:cubicBezTo>
                  <a:cubicBezTo>
                    <a:pt x="346" y="286"/>
                    <a:pt x="348" y="283"/>
                    <a:pt x="350" y="279"/>
                  </a:cubicBezTo>
                  <a:cubicBezTo>
                    <a:pt x="351" y="278"/>
                    <a:pt x="352" y="277"/>
                    <a:pt x="353" y="277"/>
                  </a:cubicBezTo>
                  <a:cubicBezTo>
                    <a:pt x="354" y="276"/>
                    <a:pt x="354" y="276"/>
                    <a:pt x="354" y="276"/>
                  </a:cubicBezTo>
                  <a:cubicBezTo>
                    <a:pt x="355" y="275"/>
                    <a:pt x="354" y="273"/>
                    <a:pt x="353" y="271"/>
                  </a:cubicBezTo>
                  <a:cubicBezTo>
                    <a:pt x="353" y="270"/>
                    <a:pt x="353" y="269"/>
                    <a:pt x="352" y="269"/>
                  </a:cubicBezTo>
                  <a:cubicBezTo>
                    <a:pt x="351" y="265"/>
                    <a:pt x="351" y="263"/>
                    <a:pt x="351" y="259"/>
                  </a:cubicBezTo>
                  <a:cubicBezTo>
                    <a:pt x="351" y="258"/>
                    <a:pt x="351" y="258"/>
                    <a:pt x="351" y="257"/>
                  </a:cubicBezTo>
                  <a:cubicBezTo>
                    <a:pt x="351" y="255"/>
                    <a:pt x="351" y="255"/>
                    <a:pt x="351" y="255"/>
                  </a:cubicBezTo>
                  <a:cubicBezTo>
                    <a:pt x="351" y="254"/>
                    <a:pt x="351" y="253"/>
                    <a:pt x="351" y="252"/>
                  </a:cubicBezTo>
                  <a:cubicBezTo>
                    <a:pt x="351" y="251"/>
                    <a:pt x="351" y="251"/>
                    <a:pt x="351" y="251"/>
                  </a:cubicBezTo>
                  <a:cubicBezTo>
                    <a:pt x="351" y="250"/>
                    <a:pt x="351" y="250"/>
                    <a:pt x="351" y="250"/>
                  </a:cubicBezTo>
                  <a:cubicBezTo>
                    <a:pt x="351" y="249"/>
                    <a:pt x="351" y="249"/>
                    <a:pt x="351" y="249"/>
                  </a:cubicBezTo>
                  <a:cubicBezTo>
                    <a:pt x="351" y="248"/>
                    <a:pt x="351" y="248"/>
                    <a:pt x="351" y="248"/>
                  </a:cubicBezTo>
                  <a:cubicBezTo>
                    <a:pt x="352" y="246"/>
                    <a:pt x="353" y="245"/>
                    <a:pt x="354" y="244"/>
                  </a:cubicBezTo>
                  <a:cubicBezTo>
                    <a:pt x="355" y="243"/>
                    <a:pt x="355" y="243"/>
                    <a:pt x="355" y="243"/>
                  </a:cubicBezTo>
                  <a:cubicBezTo>
                    <a:pt x="355" y="243"/>
                    <a:pt x="355" y="243"/>
                    <a:pt x="355" y="241"/>
                  </a:cubicBezTo>
                  <a:cubicBezTo>
                    <a:pt x="355" y="241"/>
                    <a:pt x="355" y="241"/>
                    <a:pt x="355" y="241"/>
                  </a:cubicBezTo>
                  <a:cubicBezTo>
                    <a:pt x="355" y="239"/>
                    <a:pt x="355" y="237"/>
                    <a:pt x="356" y="235"/>
                  </a:cubicBezTo>
                  <a:cubicBezTo>
                    <a:pt x="356" y="233"/>
                    <a:pt x="356" y="233"/>
                    <a:pt x="356" y="233"/>
                  </a:cubicBezTo>
                  <a:cubicBezTo>
                    <a:pt x="357" y="233"/>
                    <a:pt x="357" y="232"/>
                    <a:pt x="357" y="232"/>
                  </a:cubicBezTo>
                  <a:cubicBezTo>
                    <a:pt x="358" y="230"/>
                    <a:pt x="358" y="227"/>
                    <a:pt x="359" y="225"/>
                  </a:cubicBezTo>
                  <a:cubicBezTo>
                    <a:pt x="359" y="223"/>
                    <a:pt x="359" y="222"/>
                    <a:pt x="360" y="221"/>
                  </a:cubicBezTo>
                  <a:cubicBezTo>
                    <a:pt x="360" y="221"/>
                    <a:pt x="360" y="220"/>
                    <a:pt x="360" y="220"/>
                  </a:cubicBezTo>
                  <a:cubicBezTo>
                    <a:pt x="360" y="219"/>
                    <a:pt x="359" y="219"/>
                    <a:pt x="359" y="218"/>
                  </a:cubicBezTo>
                  <a:cubicBezTo>
                    <a:pt x="359" y="218"/>
                    <a:pt x="359" y="218"/>
                    <a:pt x="359" y="218"/>
                  </a:cubicBezTo>
                  <a:cubicBezTo>
                    <a:pt x="359" y="217"/>
                    <a:pt x="358" y="216"/>
                    <a:pt x="358" y="214"/>
                  </a:cubicBezTo>
                  <a:cubicBezTo>
                    <a:pt x="358" y="212"/>
                    <a:pt x="359" y="209"/>
                    <a:pt x="361" y="207"/>
                  </a:cubicBezTo>
                  <a:cubicBezTo>
                    <a:pt x="362" y="205"/>
                    <a:pt x="364" y="204"/>
                    <a:pt x="365" y="202"/>
                  </a:cubicBezTo>
                  <a:cubicBezTo>
                    <a:pt x="366" y="202"/>
                    <a:pt x="366" y="202"/>
                    <a:pt x="366" y="202"/>
                  </a:cubicBezTo>
                  <a:cubicBezTo>
                    <a:pt x="366" y="201"/>
                    <a:pt x="367" y="201"/>
                    <a:pt x="367" y="201"/>
                  </a:cubicBezTo>
                  <a:cubicBezTo>
                    <a:pt x="369" y="199"/>
                    <a:pt x="369" y="199"/>
                    <a:pt x="369" y="199"/>
                  </a:cubicBezTo>
                  <a:cubicBezTo>
                    <a:pt x="375" y="193"/>
                    <a:pt x="382" y="186"/>
                    <a:pt x="388" y="179"/>
                  </a:cubicBezTo>
                  <a:cubicBezTo>
                    <a:pt x="389" y="177"/>
                    <a:pt x="390" y="176"/>
                    <a:pt x="391" y="175"/>
                  </a:cubicBezTo>
                  <a:cubicBezTo>
                    <a:pt x="393" y="172"/>
                    <a:pt x="395" y="169"/>
                    <a:pt x="398" y="166"/>
                  </a:cubicBezTo>
                  <a:cubicBezTo>
                    <a:pt x="400" y="164"/>
                    <a:pt x="404" y="160"/>
                    <a:pt x="408" y="158"/>
                  </a:cubicBezTo>
                  <a:cubicBezTo>
                    <a:pt x="407" y="157"/>
                    <a:pt x="407" y="155"/>
                    <a:pt x="407" y="154"/>
                  </a:cubicBezTo>
                  <a:cubicBezTo>
                    <a:pt x="408" y="154"/>
                    <a:pt x="408" y="153"/>
                    <a:pt x="408" y="153"/>
                  </a:cubicBezTo>
                  <a:cubicBezTo>
                    <a:pt x="409" y="152"/>
                    <a:pt x="410" y="151"/>
                    <a:pt x="412" y="150"/>
                  </a:cubicBezTo>
                  <a:cubicBezTo>
                    <a:pt x="413" y="149"/>
                    <a:pt x="413" y="149"/>
                    <a:pt x="413" y="149"/>
                  </a:cubicBezTo>
                  <a:cubicBezTo>
                    <a:pt x="413" y="149"/>
                    <a:pt x="414" y="149"/>
                    <a:pt x="414" y="149"/>
                  </a:cubicBezTo>
                  <a:cubicBezTo>
                    <a:pt x="416" y="149"/>
                    <a:pt x="416" y="149"/>
                    <a:pt x="416" y="149"/>
                  </a:cubicBezTo>
                  <a:cubicBezTo>
                    <a:pt x="416" y="148"/>
                    <a:pt x="416" y="148"/>
                    <a:pt x="416" y="148"/>
                  </a:cubicBezTo>
                  <a:cubicBezTo>
                    <a:pt x="417" y="147"/>
                    <a:pt x="418" y="146"/>
                    <a:pt x="418" y="146"/>
                  </a:cubicBezTo>
                  <a:cubicBezTo>
                    <a:pt x="419" y="145"/>
                    <a:pt x="420" y="144"/>
                    <a:pt x="421" y="144"/>
                  </a:cubicBezTo>
                  <a:cubicBezTo>
                    <a:pt x="422" y="143"/>
                    <a:pt x="423" y="142"/>
                    <a:pt x="424" y="141"/>
                  </a:cubicBezTo>
                  <a:cubicBezTo>
                    <a:pt x="425" y="141"/>
                    <a:pt x="425" y="140"/>
                    <a:pt x="426" y="140"/>
                  </a:cubicBezTo>
                  <a:cubicBezTo>
                    <a:pt x="428" y="137"/>
                    <a:pt x="430" y="135"/>
                    <a:pt x="434" y="134"/>
                  </a:cubicBezTo>
                  <a:cubicBezTo>
                    <a:pt x="439" y="133"/>
                    <a:pt x="444" y="131"/>
                    <a:pt x="449" y="128"/>
                  </a:cubicBezTo>
                  <a:cubicBezTo>
                    <a:pt x="449" y="128"/>
                    <a:pt x="450" y="128"/>
                    <a:pt x="450" y="128"/>
                  </a:cubicBezTo>
                  <a:cubicBezTo>
                    <a:pt x="452" y="127"/>
                    <a:pt x="452" y="127"/>
                    <a:pt x="452" y="127"/>
                  </a:cubicBezTo>
                  <a:cubicBezTo>
                    <a:pt x="452" y="126"/>
                    <a:pt x="452" y="126"/>
                    <a:pt x="452" y="126"/>
                  </a:cubicBezTo>
                  <a:cubicBezTo>
                    <a:pt x="452" y="126"/>
                    <a:pt x="453" y="126"/>
                    <a:pt x="453" y="125"/>
                  </a:cubicBezTo>
                  <a:cubicBezTo>
                    <a:pt x="453" y="124"/>
                    <a:pt x="453" y="124"/>
                    <a:pt x="453" y="123"/>
                  </a:cubicBezTo>
                  <a:cubicBezTo>
                    <a:pt x="454" y="122"/>
                    <a:pt x="454" y="122"/>
                    <a:pt x="454" y="122"/>
                  </a:cubicBezTo>
                  <a:cubicBezTo>
                    <a:pt x="454" y="122"/>
                    <a:pt x="454" y="121"/>
                    <a:pt x="454" y="121"/>
                  </a:cubicBezTo>
                  <a:cubicBezTo>
                    <a:pt x="455" y="118"/>
                    <a:pt x="455" y="118"/>
                    <a:pt x="455" y="118"/>
                  </a:cubicBezTo>
                  <a:cubicBezTo>
                    <a:pt x="455" y="117"/>
                    <a:pt x="455" y="116"/>
                    <a:pt x="455" y="115"/>
                  </a:cubicBezTo>
                  <a:cubicBezTo>
                    <a:pt x="455" y="114"/>
                    <a:pt x="455" y="114"/>
                    <a:pt x="455" y="114"/>
                  </a:cubicBezTo>
                  <a:cubicBezTo>
                    <a:pt x="456" y="111"/>
                    <a:pt x="457" y="107"/>
                    <a:pt x="456" y="105"/>
                  </a:cubicBezTo>
                  <a:cubicBezTo>
                    <a:pt x="450" y="92"/>
                    <a:pt x="450" y="92"/>
                    <a:pt x="450" y="92"/>
                  </a:cubicBezTo>
                  <a:cubicBezTo>
                    <a:pt x="450" y="92"/>
                    <a:pt x="450" y="92"/>
                    <a:pt x="450" y="92"/>
                  </a:cubicBezTo>
                  <a:cubicBezTo>
                    <a:pt x="450" y="92"/>
                    <a:pt x="449" y="92"/>
                    <a:pt x="449" y="92"/>
                  </a:cubicBezTo>
                  <a:cubicBezTo>
                    <a:pt x="449" y="92"/>
                    <a:pt x="449" y="92"/>
                    <a:pt x="449" y="92"/>
                  </a:cubicBezTo>
                  <a:cubicBezTo>
                    <a:pt x="449" y="92"/>
                    <a:pt x="449" y="92"/>
                    <a:pt x="448" y="92"/>
                  </a:cubicBezTo>
                  <a:cubicBezTo>
                    <a:pt x="448" y="92"/>
                    <a:pt x="448" y="92"/>
                    <a:pt x="448" y="92"/>
                  </a:cubicBezTo>
                  <a:cubicBezTo>
                    <a:pt x="447" y="91"/>
                    <a:pt x="447" y="91"/>
                    <a:pt x="447" y="91"/>
                  </a:cubicBezTo>
                  <a:cubicBezTo>
                    <a:pt x="447" y="92"/>
                    <a:pt x="447" y="92"/>
                    <a:pt x="447" y="92"/>
                  </a:cubicBezTo>
                  <a:cubicBezTo>
                    <a:pt x="446" y="92"/>
                    <a:pt x="446" y="92"/>
                    <a:pt x="446" y="92"/>
                  </a:cubicBezTo>
                  <a:cubicBezTo>
                    <a:pt x="445" y="93"/>
                    <a:pt x="443" y="94"/>
                    <a:pt x="442" y="94"/>
                  </a:cubicBezTo>
                  <a:cubicBezTo>
                    <a:pt x="441" y="94"/>
                    <a:pt x="441" y="94"/>
                    <a:pt x="441" y="94"/>
                  </a:cubicBezTo>
                  <a:cubicBezTo>
                    <a:pt x="441" y="98"/>
                    <a:pt x="441" y="98"/>
                    <a:pt x="441" y="98"/>
                  </a:cubicBezTo>
                  <a:cubicBezTo>
                    <a:pt x="440" y="94"/>
                    <a:pt x="440" y="94"/>
                    <a:pt x="440" y="94"/>
                  </a:cubicBezTo>
                  <a:cubicBezTo>
                    <a:pt x="440" y="93"/>
                    <a:pt x="440" y="93"/>
                    <a:pt x="440" y="93"/>
                  </a:cubicBezTo>
                  <a:cubicBezTo>
                    <a:pt x="440" y="93"/>
                    <a:pt x="440" y="93"/>
                    <a:pt x="440" y="93"/>
                  </a:cubicBezTo>
                  <a:cubicBezTo>
                    <a:pt x="440" y="93"/>
                    <a:pt x="440" y="93"/>
                    <a:pt x="440" y="93"/>
                  </a:cubicBezTo>
                  <a:cubicBezTo>
                    <a:pt x="440" y="93"/>
                    <a:pt x="440" y="93"/>
                    <a:pt x="440" y="93"/>
                  </a:cubicBezTo>
                  <a:cubicBezTo>
                    <a:pt x="439" y="99"/>
                    <a:pt x="438" y="105"/>
                    <a:pt x="436" y="112"/>
                  </a:cubicBezTo>
                  <a:cubicBezTo>
                    <a:pt x="435" y="114"/>
                    <a:pt x="434" y="116"/>
                    <a:pt x="432" y="118"/>
                  </a:cubicBezTo>
                  <a:cubicBezTo>
                    <a:pt x="430" y="119"/>
                    <a:pt x="428" y="121"/>
                    <a:pt x="427" y="122"/>
                  </a:cubicBezTo>
                  <a:cubicBezTo>
                    <a:pt x="425" y="124"/>
                    <a:pt x="423" y="126"/>
                    <a:pt x="420" y="127"/>
                  </a:cubicBezTo>
                  <a:cubicBezTo>
                    <a:pt x="419" y="128"/>
                    <a:pt x="418" y="128"/>
                    <a:pt x="418" y="128"/>
                  </a:cubicBezTo>
                  <a:cubicBezTo>
                    <a:pt x="417" y="129"/>
                    <a:pt x="417" y="129"/>
                    <a:pt x="417" y="129"/>
                  </a:cubicBezTo>
                  <a:cubicBezTo>
                    <a:pt x="417" y="131"/>
                    <a:pt x="417" y="131"/>
                    <a:pt x="417" y="131"/>
                  </a:cubicBezTo>
                  <a:cubicBezTo>
                    <a:pt x="417" y="131"/>
                    <a:pt x="417" y="131"/>
                    <a:pt x="417" y="131"/>
                  </a:cubicBezTo>
                  <a:cubicBezTo>
                    <a:pt x="417" y="132"/>
                    <a:pt x="416" y="133"/>
                    <a:pt x="415" y="134"/>
                  </a:cubicBezTo>
                  <a:cubicBezTo>
                    <a:pt x="414" y="135"/>
                    <a:pt x="414" y="135"/>
                    <a:pt x="414" y="135"/>
                  </a:cubicBezTo>
                  <a:cubicBezTo>
                    <a:pt x="414" y="135"/>
                    <a:pt x="414" y="135"/>
                    <a:pt x="414" y="135"/>
                  </a:cubicBezTo>
                  <a:cubicBezTo>
                    <a:pt x="413" y="135"/>
                    <a:pt x="413" y="135"/>
                    <a:pt x="413" y="135"/>
                  </a:cubicBezTo>
                  <a:cubicBezTo>
                    <a:pt x="413" y="135"/>
                    <a:pt x="413" y="135"/>
                    <a:pt x="413" y="135"/>
                  </a:cubicBezTo>
                  <a:cubicBezTo>
                    <a:pt x="412" y="136"/>
                    <a:pt x="411" y="137"/>
                    <a:pt x="409" y="137"/>
                  </a:cubicBezTo>
                  <a:cubicBezTo>
                    <a:pt x="408" y="137"/>
                    <a:pt x="407" y="137"/>
                    <a:pt x="406" y="136"/>
                  </a:cubicBezTo>
                  <a:cubicBezTo>
                    <a:pt x="406" y="136"/>
                    <a:pt x="406" y="136"/>
                    <a:pt x="406" y="136"/>
                  </a:cubicBezTo>
                  <a:cubicBezTo>
                    <a:pt x="405" y="136"/>
                    <a:pt x="405" y="136"/>
                    <a:pt x="405" y="136"/>
                  </a:cubicBezTo>
                  <a:cubicBezTo>
                    <a:pt x="405" y="136"/>
                    <a:pt x="405" y="136"/>
                    <a:pt x="405" y="136"/>
                  </a:cubicBezTo>
                  <a:cubicBezTo>
                    <a:pt x="404" y="136"/>
                    <a:pt x="402" y="137"/>
                    <a:pt x="401" y="138"/>
                  </a:cubicBezTo>
                  <a:cubicBezTo>
                    <a:pt x="399" y="139"/>
                    <a:pt x="399" y="139"/>
                    <a:pt x="399" y="139"/>
                  </a:cubicBezTo>
                  <a:cubicBezTo>
                    <a:pt x="399" y="139"/>
                    <a:pt x="399" y="140"/>
                    <a:pt x="398" y="140"/>
                  </a:cubicBezTo>
                  <a:cubicBezTo>
                    <a:pt x="398" y="141"/>
                    <a:pt x="397" y="141"/>
                    <a:pt x="396" y="141"/>
                  </a:cubicBezTo>
                  <a:cubicBezTo>
                    <a:pt x="396" y="141"/>
                    <a:pt x="396" y="141"/>
                    <a:pt x="396" y="141"/>
                  </a:cubicBezTo>
                  <a:cubicBezTo>
                    <a:pt x="395" y="141"/>
                    <a:pt x="395" y="141"/>
                    <a:pt x="395" y="141"/>
                  </a:cubicBezTo>
                  <a:cubicBezTo>
                    <a:pt x="394" y="141"/>
                    <a:pt x="393" y="140"/>
                    <a:pt x="392" y="140"/>
                  </a:cubicBezTo>
                  <a:cubicBezTo>
                    <a:pt x="392" y="140"/>
                    <a:pt x="392" y="140"/>
                    <a:pt x="392" y="140"/>
                  </a:cubicBezTo>
                  <a:cubicBezTo>
                    <a:pt x="390" y="139"/>
                    <a:pt x="390" y="139"/>
                    <a:pt x="390" y="139"/>
                  </a:cubicBezTo>
                  <a:cubicBezTo>
                    <a:pt x="390" y="138"/>
                    <a:pt x="389" y="138"/>
                    <a:pt x="389" y="138"/>
                  </a:cubicBezTo>
                  <a:cubicBezTo>
                    <a:pt x="387" y="138"/>
                    <a:pt x="386" y="137"/>
                    <a:pt x="384" y="137"/>
                  </a:cubicBezTo>
                  <a:cubicBezTo>
                    <a:pt x="383" y="137"/>
                    <a:pt x="382" y="137"/>
                    <a:pt x="382" y="137"/>
                  </a:cubicBezTo>
                  <a:cubicBezTo>
                    <a:pt x="379" y="138"/>
                    <a:pt x="379" y="138"/>
                    <a:pt x="379" y="138"/>
                  </a:cubicBezTo>
                  <a:cubicBezTo>
                    <a:pt x="378" y="138"/>
                    <a:pt x="378" y="138"/>
                    <a:pt x="377" y="138"/>
                  </a:cubicBezTo>
                  <a:cubicBezTo>
                    <a:pt x="374" y="138"/>
                    <a:pt x="371" y="137"/>
                    <a:pt x="368" y="136"/>
                  </a:cubicBezTo>
                  <a:cubicBezTo>
                    <a:pt x="366" y="135"/>
                    <a:pt x="365" y="135"/>
                    <a:pt x="364" y="135"/>
                  </a:cubicBezTo>
                  <a:cubicBezTo>
                    <a:pt x="363" y="135"/>
                    <a:pt x="363" y="135"/>
                    <a:pt x="363" y="135"/>
                  </a:cubicBezTo>
                  <a:cubicBezTo>
                    <a:pt x="361" y="134"/>
                    <a:pt x="358" y="134"/>
                    <a:pt x="355" y="134"/>
                  </a:cubicBezTo>
                  <a:cubicBezTo>
                    <a:pt x="352" y="134"/>
                    <a:pt x="348" y="134"/>
                    <a:pt x="345" y="135"/>
                  </a:cubicBezTo>
                  <a:cubicBezTo>
                    <a:pt x="342" y="135"/>
                    <a:pt x="342" y="135"/>
                    <a:pt x="342" y="135"/>
                  </a:cubicBezTo>
                  <a:cubicBezTo>
                    <a:pt x="341" y="132"/>
                    <a:pt x="341" y="132"/>
                    <a:pt x="341" y="132"/>
                  </a:cubicBezTo>
                  <a:cubicBezTo>
                    <a:pt x="341" y="132"/>
                    <a:pt x="341" y="131"/>
                    <a:pt x="341" y="131"/>
                  </a:cubicBezTo>
                  <a:cubicBezTo>
                    <a:pt x="341" y="130"/>
                    <a:pt x="340" y="129"/>
                    <a:pt x="341" y="127"/>
                  </a:cubicBezTo>
                  <a:cubicBezTo>
                    <a:pt x="341" y="126"/>
                    <a:pt x="342" y="126"/>
                    <a:pt x="342" y="125"/>
                  </a:cubicBezTo>
                  <a:cubicBezTo>
                    <a:pt x="343" y="124"/>
                    <a:pt x="343" y="124"/>
                    <a:pt x="344" y="123"/>
                  </a:cubicBezTo>
                  <a:cubicBezTo>
                    <a:pt x="345" y="122"/>
                    <a:pt x="347" y="121"/>
                    <a:pt x="347" y="120"/>
                  </a:cubicBezTo>
                  <a:cubicBezTo>
                    <a:pt x="348" y="118"/>
                    <a:pt x="348" y="118"/>
                    <a:pt x="348" y="118"/>
                  </a:cubicBezTo>
                  <a:cubicBezTo>
                    <a:pt x="350" y="112"/>
                    <a:pt x="352" y="106"/>
                    <a:pt x="356" y="100"/>
                  </a:cubicBezTo>
                  <a:cubicBezTo>
                    <a:pt x="357" y="99"/>
                    <a:pt x="358" y="97"/>
                    <a:pt x="359" y="96"/>
                  </a:cubicBezTo>
                  <a:cubicBezTo>
                    <a:pt x="360" y="95"/>
                    <a:pt x="360" y="95"/>
                    <a:pt x="360" y="95"/>
                  </a:cubicBezTo>
                  <a:cubicBezTo>
                    <a:pt x="361" y="93"/>
                    <a:pt x="363" y="90"/>
                    <a:pt x="364" y="88"/>
                  </a:cubicBezTo>
                  <a:cubicBezTo>
                    <a:pt x="365" y="88"/>
                    <a:pt x="365" y="87"/>
                    <a:pt x="364" y="85"/>
                  </a:cubicBezTo>
                  <a:cubicBezTo>
                    <a:pt x="364" y="85"/>
                    <a:pt x="364" y="84"/>
                    <a:pt x="363" y="83"/>
                  </a:cubicBezTo>
                  <a:cubicBezTo>
                    <a:pt x="359" y="81"/>
                    <a:pt x="355" y="79"/>
                    <a:pt x="351" y="77"/>
                  </a:cubicBezTo>
                  <a:cubicBezTo>
                    <a:pt x="341" y="72"/>
                    <a:pt x="333" y="68"/>
                    <a:pt x="324" y="62"/>
                  </a:cubicBezTo>
                  <a:cubicBezTo>
                    <a:pt x="323" y="61"/>
                    <a:pt x="322" y="61"/>
                    <a:pt x="320" y="60"/>
                  </a:cubicBezTo>
                  <a:cubicBezTo>
                    <a:pt x="317" y="57"/>
                    <a:pt x="317" y="57"/>
                    <a:pt x="317" y="57"/>
                  </a:cubicBezTo>
                  <a:cubicBezTo>
                    <a:pt x="315" y="56"/>
                    <a:pt x="313" y="54"/>
                    <a:pt x="311" y="53"/>
                  </a:cubicBezTo>
                  <a:cubicBezTo>
                    <a:pt x="309" y="52"/>
                    <a:pt x="306" y="52"/>
                    <a:pt x="304" y="51"/>
                  </a:cubicBezTo>
                  <a:cubicBezTo>
                    <a:pt x="303" y="51"/>
                    <a:pt x="302" y="51"/>
                    <a:pt x="301" y="51"/>
                  </a:cubicBezTo>
                  <a:cubicBezTo>
                    <a:pt x="298" y="50"/>
                    <a:pt x="296" y="50"/>
                    <a:pt x="294" y="50"/>
                  </a:cubicBezTo>
                  <a:cubicBezTo>
                    <a:pt x="292" y="49"/>
                    <a:pt x="292" y="49"/>
                    <a:pt x="292" y="49"/>
                  </a:cubicBezTo>
                  <a:cubicBezTo>
                    <a:pt x="291" y="49"/>
                    <a:pt x="290" y="49"/>
                    <a:pt x="290" y="48"/>
                  </a:cubicBezTo>
                  <a:cubicBezTo>
                    <a:pt x="287" y="47"/>
                    <a:pt x="285" y="46"/>
                    <a:pt x="282" y="43"/>
                  </a:cubicBezTo>
                  <a:cubicBezTo>
                    <a:pt x="280" y="42"/>
                    <a:pt x="279" y="41"/>
                    <a:pt x="277" y="39"/>
                  </a:cubicBezTo>
                  <a:cubicBezTo>
                    <a:pt x="276" y="38"/>
                    <a:pt x="275" y="37"/>
                    <a:pt x="274" y="36"/>
                  </a:cubicBezTo>
                  <a:cubicBezTo>
                    <a:pt x="273" y="35"/>
                    <a:pt x="273" y="35"/>
                    <a:pt x="272" y="35"/>
                  </a:cubicBezTo>
                  <a:cubicBezTo>
                    <a:pt x="270" y="33"/>
                    <a:pt x="270" y="33"/>
                    <a:pt x="270" y="33"/>
                  </a:cubicBezTo>
                  <a:cubicBezTo>
                    <a:pt x="270" y="32"/>
                    <a:pt x="269" y="31"/>
                    <a:pt x="268" y="31"/>
                  </a:cubicBezTo>
                  <a:cubicBezTo>
                    <a:pt x="268" y="31"/>
                    <a:pt x="268" y="31"/>
                    <a:pt x="268" y="31"/>
                  </a:cubicBezTo>
                  <a:cubicBezTo>
                    <a:pt x="268" y="30"/>
                    <a:pt x="267" y="30"/>
                    <a:pt x="267" y="29"/>
                  </a:cubicBezTo>
                  <a:cubicBezTo>
                    <a:pt x="266" y="28"/>
                    <a:pt x="266" y="28"/>
                    <a:pt x="266" y="28"/>
                  </a:cubicBezTo>
                  <a:cubicBezTo>
                    <a:pt x="265" y="27"/>
                    <a:pt x="264" y="26"/>
                    <a:pt x="263" y="25"/>
                  </a:cubicBezTo>
                  <a:cubicBezTo>
                    <a:pt x="262" y="24"/>
                    <a:pt x="262" y="24"/>
                    <a:pt x="262" y="24"/>
                  </a:cubicBezTo>
                  <a:cubicBezTo>
                    <a:pt x="262" y="23"/>
                    <a:pt x="261" y="23"/>
                    <a:pt x="261" y="22"/>
                  </a:cubicBezTo>
                  <a:cubicBezTo>
                    <a:pt x="260" y="21"/>
                    <a:pt x="260" y="21"/>
                    <a:pt x="260" y="21"/>
                  </a:cubicBezTo>
                  <a:cubicBezTo>
                    <a:pt x="260" y="20"/>
                    <a:pt x="259" y="19"/>
                    <a:pt x="259" y="19"/>
                  </a:cubicBezTo>
                  <a:cubicBezTo>
                    <a:pt x="258" y="18"/>
                    <a:pt x="257" y="16"/>
                    <a:pt x="257" y="15"/>
                  </a:cubicBezTo>
                  <a:cubicBezTo>
                    <a:pt x="256" y="15"/>
                    <a:pt x="256" y="15"/>
                    <a:pt x="256" y="14"/>
                  </a:cubicBezTo>
                  <a:cubicBezTo>
                    <a:pt x="255" y="14"/>
                    <a:pt x="255" y="14"/>
                    <a:pt x="254" y="14"/>
                  </a:cubicBezTo>
                  <a:cubicBezTo>
                    <a:pt x="253" y="13"/>
                    <a:pt x="252" y="12"/>
                    <a:pt x="252" y="12"/>
                  </a:cubicBezTo>
                  <a:cubicBezTo>
                    <a:pt x="252" y="12"/>
                    <a:pt x="252" y="12"/>
                    <a:pt x="252" y="12"/>
                  </a:cubicBezTo>
                  <a:cubicBezTo>
                    <a:pt x="250" y="11"/>
                    <a:pt x="250" y="11"/>
                    <a:pt x="250" y="11"/>
                  </a:cubicBezTo>
                  <a:cubicBezTo>
                    <a:pt x="248" y="8"/>
                    <a:pt x="248" y="8"/>
                    <a:pt x="248" y="8"/>
                  </a:cubicBezTo>
                  <a:cubicBezTo>
                    <a:pt x="247" y="8"/>
                    <a:pt x="247" y="7"/>
                    <a:pt x="247" y="7"/>
                  </a:cubicBezTo>
                  <a:cubicBezTo>
                    <a:pt x="247" y="7"/>
                    <a:pt x="247" y="7"/>
                    <a:pt x="247" y="7"/>
                  </a:cubicBezTo>
                  <a:cubicBezTo>
                    <a:pt x="246" y="6"/>
                    <a:pt x="246" y="5"/>
                    <a:pt x="245" y="4"/>
                  </a:cubicBezTo>
                  <a:cubicBezTo>
                    <a:pt x="245" y="4"/>
                    <a:pt x="245" y="4"/>
                    <a:pt x="245" y="4"/>
                  </a:cubicBezTo>
                  <a:cubicBezTo>
                    <a:pt x="244" y="3"/>
                    <a:pt x="244" y="3"/>
                    <a:pt x="244" y="3"/>
                  </a:cubicBezTo>
                  <a:cubicBezTo>
                    <a:pt x="244" y="3"/>
                    <a:pt x="243" y="4"/>
                    <a:pt x="242" y="4"/>
                  </a:cubicBezTo>
                  <a:cubicBezTo>
                    <a:pt x="242" y="4"/>
                    <a:pt x="242" y="4"/>
                    <a:pt x="241" y="4"/>
                  </a:cubicBezTo>
                  <a:cubicBezTo>
                    <a:pt x="228" y="4"/>
                    <a:pt x="228" y="4"/>
                    <a:pt x="228" y="4"/>
                  </a:cubicBezTo>
                  <a:cubicBezTo>
                    <a:pt x="228" y="4"/>
                    <a:pt x="227" y="4"/>
                    <a:pt x="227" y="4"/>
                  </a:cubicBezTo>
                  <a:cubicBezTo>
                    <a:pt x="226" y="4"/>
                    <a:pt x="226" y="4"/>
                    <a:pt x="226" y="4"/>
                  </a:cubicBezTo>
                  <a:cubicBezTo>
                    <a:pt x="225" y="4"/>
                    <a:pt x="225" y="4"/>
                    <a:pt x="224" y="4"/>
                  </a:cubicBezTo>
                  <a:cubicBezTo>
                    <a:pt x="223" y="4"/>
                    <a:pt x="223" y="4"/>
                    <a:pt x="222" y="4"/>
                  </a:cubicBezTo>
                  <a:cubicBezTo>
                    <a:pt x="219" y="10"/>
                    <a:pt x="217" y="16"/>
                    <a:pt x="215" y="22"/>
                  </a:cubicBezTo>
                  <a:cubicBezTo>
                    <a:pt x="212" y="29"/>
                    <a:pt x="212" y="29"/>
                    <a:pt x="212" y="29"/>
                  </a:cubicBezTo>
                  <a:cubicBezTo>
                    <a:pt x="209" y="22"/>
                    <a:pt x="209" y="22"/>
                    <a:pt x="209" y="22"/>
                  </a:cubicBezTo>
                  <a:cubicBezTo>
                    <a:pt x="209" y="21"/>
                    <a:pt x="208" y="19"/>
                    <a:pt x="207" y="17"/>
                  </a:cubicBezTo>
                  <a:cubicBezTo>
                    <a:pt x="207" y="17"/>
                    <a:pt x="207" y="17"/>
                    <a:pt x="207" y="17"/>
                  </a:cubicBezTo>
                  <a:cubicBezTo>
                    <a:pt x="206" y="14"/>
                    <a:pt x="205" y="11"/>
                    <a:pt x="204" y="9"/>
                  </a:cubicBezTo>
                  <a:cubicBezTo>
                    <a:pt x="203" y="9"/>
                    <a:pt x="203" y="9"/>
                    <a:pt x="201" y="8"/>
                  </a:cubicBezTo>
                  <a:cubicBezTo>
                    <a:pt x="200" y="8"/>
                    <a:pt x="199" y="7"/>
                    <a:pt x="197" y="7"/>
                  </a:cubicBezTo>
                  <a:cubicBezTo>
                    <a:pt x="196" y="7"/>
                    <a:pt x="196" y="7"/>
                    <a:pt x="196" y="7"/>
                  </a:cubicBezTo>
                  <a:cubicBezTo>
                    <a:pt x="195" y="7"/>
                    <a:pt x="194" y="6"/>
                    <a:pt x="193" y="6"/>
                  </a:cubicBezTo>
                  <a:cubicBezTo>
                    <a:pt x="192" y="6"/>
                    <a:pt x="192" y="6"/>
                    <a:pt x="192" y="6"/>
                  </a:cubicBezTo>
                  <a:cubicBezTo>
                    <a:pt x="190" y="6"/>
                    <a:pt x="189" y="6"/>
                    <a:pt x="187" y="6"/>
                  </a:cubicBezTo>
                  <a:cubicBezTo>
                    <a:pt x="186" y="6"/>
                    <a:pt x="184" y="6"/>
                    <a:pt x="182" y="6"/>
                  </a:cubicBezTo>
                  <a:cubicBezTo>
                    <a:pt x="182" y="6"/>
                    <a:pt x="181" y="6"/>
                    <a:pt x="181" y="6"/>
                  </a:cubicBezTo>
                  <a:cubicBezTo>
                    <a:pt x="177" y="6"/>
                    <a:pt x="175" y="4"/>
                    <a:pt x="172" y="2"/>
                  </a:cubicBezTo>
                  <a:cubicBezTo>
                    <a:pt x="172" y="2"/>
                    <a:pt x="172" y="2"/>
                    <a:pt x="172" y="2"/>
                  </a:cubicBezTo>
                  <a:cubicBezTo>
                    <a:pt x="171" y="1"/>
                    <a:pt x="170" y="0"/>
                    <a:pt x="1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248"/>
            <p:cNvSpPr/>
            <p:nvPr/>
          </p:nvSpPr>
          <p:spPr bwMode="auto">
            <a:xfrm flipH="1">
              <a:off x="8282456" y="5238122"/>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249"/>
            <p:cNvSpPr/>
            <p:nvPr/>
          </p:nvSpPr>
          <p:spPr bwMode="auto">
            <a:xfrm flipH="1">
              <a:off x="8282456" y="5238122"/>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250"/>
            <p:cNvSpPr/>
            <p:nvPr/>
          </p:nvSpPr>
          <p:spPr bwMode="auto">
            <a:xfrm>
              <a:off x="8505594" y="6520467"/>
              <a:ext cx="264094" cy="244323"/>
            </a:xfrm>
            <a:custGeom>
              <a:gdLst>
                <a:gd name="T0" fmla="*/ 0 w 79"/>
                <a:gd name="T1" fmla="*/ 0 h 73"/>
                <a:gd name="T2" fmla="*/ 0 w 79"/>
                <a:gd name="T3" fmla="*/ 67 h 73"/>
                <a:gd name="T4" fmla="*/ 28 w 79"/>
                <a:gd name="T5" fmla="*/ 68 h 73"/>
                <a:gd name="T6" fmla="*/ 25 w 79"/>
                <a:gd name="T7" fmla="*/ 67 h 73"/>
                <a:gd name="T8" fmla="*/ 25 w 79"/>
                <a:gd name="T9" fmla="*/ 67 h 73"/>
                <a:gd name="T10" fmla="*/ 44 w 79"/>
                <a:gd name="T11" fmla="*/ 72 h 73"/>
                <a:gd name="T12" fmla="*/ 48 w 79"/>
                <a:gd name="T13" fmla="*/ 73 h 73"/>
                <a:gd name="T14" fmla="*/ 50 w 79"/>
                <a:gd name="T15" fmla="*/ 72 h 73"/>
                <a:gd name="T16" fmla="*/ 74 w 79"/>
                <a:gd name="T17" fmla="*/ 69 h 73"/>
                <a:gd name="T18" fmla="*/ 79 w 79"/>
                <a:gd name="T19" fmla="*/ 60 h 73"/>
                <a:gd name="T20" fmla="*/ 75 w 79"/>
                <a:gd name="T21" fmla="*/ 60 h 73"/>
                <a:gd name="T22" fmla="*/ 67 w 79"/>
                <a:gd name="T23" fmla="*/ 60 h 73"/>
                <a:gd name="T24" fmla="*/ 67 w 79"/>
                <a:gd name="T25" fmla="*/ 60 h 73"/>
                <a:gd name="T26" fmla="*/ 45 w 79"/>
                <a:gd name="T27" fmla="*/ 51 h 73"/>
                <a:gd name="T28" fmla="*/ 25 w 79"/>
                <a:gd name="T29" fmla="*/ 38 h 73"/>
                <a:gd name="T30" fmla="*/ 14 w 79"/>
                <a:gd name="T31" fmla="*/ 28 h 73"/>
                <a:gd name="T32" fmla="*/ 8 w 79"/>
                <a:gd name="T33" fmla="*/ 19 h 73"/>
                <a:gd name="T34" fmla="*/ 2 w 79"/>
                <a:gd name="T35" fmla="*/ 16 h 73"/>
                <a:gd name="T36" fmla="*/ 0 w 79"/>
                <a:gd name="T37" fmla="*/ 14 h 73"/>
                <a:gd name="T38" fmla="*/ 0 w 79"/>
                <a:gd name="T39" fmla="*/ 14 h 73"/>
                <a:gd name="T40" fmla="*/ 0 w 79"/>
                <a:gd name="T41" fmla="*/ 13 h 73"/>
                <a:gd name="T42" fmla="*/ 5 w 79"/>
                <a:gd name="T43" fmla="*/ 7 h 73"/>
                <a:gd name="T44" fmla="*/ 0 w 79"/>
                <a:gd name="T45" fmla="*/ 0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 h="73">
                  <a:moveTo>
                    <a:pt x="0" y="0"/>
                  </a:moveTo>
                  <a:cubicBezTo>
                    <a:pt x="0" y="28"/>
                    <a:pt x="0" y="60"/>
                    <a:pt x="0" y="67"/>
                  </a:cubicBezTo>
                  <a:cubicBezTo>
                    <a:pt x="10" y="68"/>
                    <a:pt x="19" y="68"/>
                    <a:pt x="28" y="68"/>
                  </a:cubicBezTo>
                  <a:cubicBezTo>
                    <a:pt x="27" y="68"/>
                    <a:pt x="26" y="68"/>
                    <a:pt x="25" y="67"/>
                  </a:cubicBezTo>
                  <a:cubicBezTo>
                    <a:pt x="25" y="67"/>
                    <a:pt x="25" y="67"/>
                    <a:pt x="25" y="67"/>
                  </a:cubicBezTo>
                  <a:cubicBezTo>
                    <a:pt x="31" y="68"/>
                    <a:pt x="38" y="70"/>
                    <a:pt x="44" y="72"/>
                  </a:cubicBezTo>
                  <a:cubicBezTo>
                    <a:pt x="45" y="72"/>
                    <a:pt x="46" y="73"/>
                    <a:pt x="48" y="73"/>
                  </a:cubicBezTo>
                  <a:cubicBezTo>
                    <a:pt x="49" y="73"/>
                    <a:pt x="49" y="72"/>
                    <a:pt x="50" y="72"/>
                  </a:cubicBezTo>
                  <a:cubicBezTo>
                    <a:pt x="58" y="71"/>
                    <a:pt x="66" y="70"/>
                    <a:pt x="74" y="69"/>
                  </a:cubicBezTo>
                  <a:cubicBezTo>
                    <a:pt x="76" y="68"/>
                    <a:pt x="76" y="61"/>
                    <a:pt x="79" y="60"/>
                  </a:cubicBezTo>
                  <a:cubicBezTo>
                    <a:pt x="77" y="60"/>
                    <a:pt x="76" y="60"/>
                    <a:pt x="75" y="60"/>
                  </a:cubicBezTo>
                  <a:cubicBezTo>
                    <a:pt x="72" y="60"/>
                    <a:pt x="70" y="60"/>
                    <a:pt x="67" y="60"/>
                  </a:cubicBezTo>
                  <a:cubicBezTo>
                    <a:pt x="67" y="60"/>
                    <a:pt x="67" y="60"/>
                    <a:pt x="67" y="60"/>
                  </a:cubicBezTo>
                  <a:cubicBezTo>
                    <a:pt x="59" y="60"/>
                    <a:pt x="51" y="55"/>
                    <a:pt x="45" y="51"/>
                  </a:cubicBezTo>
                  <a:cubicBezTo>
                    <a:pt x="38" y="47"/>
                    <a:pt x="32" y="42"/>
                    <a:pt x="25" y="38"/>
                  </a:cubicBezTo>
                  <a:cubicBezTo>
                    <a:pt x="21" y="36"/>
                    <a:pt x="18" y="31"/>
                    <a:pt x="14" y="28"/>
                  </a:cubicBezTo>
                  <a:cubicBezTo>
                    <a:pt x="12" y="25"/>
                    <a:pt x="10" y="22"/>
                    <a:pt x="8" y="19"/>
                  </a:cubicBezTo>
                  <a:cubicBezTo>
                    <a:pt x="6" y="16"/>
                    <a:pt x="5" y="18"/>
                    <a:pt x="2" y="16"/>
                  </a:cubicBezTo>
                  <a:cubicBezTo>
                    <a:pt x="1" y="16"/>
                    <a:pt x="0" y="15"/>
                    <a:pt x="0" y="14"/>
                  </a:cubicBezTo>
                  <a:cubicBezTo>
                    <a:pt x="0" y="14"/>
                    <a:pt x="0" y="14"/>
                    <a:pt x="0" y="14"/>
                  </a:cubicBezTo>
                  <a:cubicBezTo>
                    <a:pt x="0" y="13"/>
                    <a:pt x="0" y="13"/>
                    <a:pt x="0" y="13"/>
                  </a:cubicBezTo>
                  <a:cubicBezTo>
                    <a:pt x="1" y="10"/>
                    <a:pt x="3" y="8"/>
                    <a:pt x="5" y="7"/>
                  </a:cubicBezTo>
                  <a:cubicBezTo>
                    <a:pt x="3" y="5"/>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251"/>
            <p:cNvSpPr/>
            <p:nvPr/>
          </p:nvSpPr>
          <p:spPr bwMode="auto">
            <a:xfrm>
              <a:off x="7538189" y="1902332"/>
              <a:ext cx="440628" cy="477348"/>
            </a:xfrm>
            <a:custGeom>
              <a:gdLst>
                <a:gd name="T0" fmla="*/ 47 w 132"/>
                <a:gd name="T1" fmla="*/ 3 h 143"/>
                <a:gd name="T2" fmla="*/ 29 w 132"/>
                <a:gd name="T3" fmla="*/ 9 h 143"/>
                <a:gd name="T4" fmla="*/ 23 w 132"/>
                <a:gd name="T5" fmla="*/ 19 h 143"/>
                <a:gd name="T6" fmla="*/ 13 w 132"/>
                <a:gd name="T7" fmla="*/ 40 h 143"/>
                <a:gd name="T8" fmla="*/ 9 w 132"/>
                <a:gd name="T9" fmla="*/ 51 h 143"/>
                <a:gd name="T10" fmla="*/ 2 w 132"/>
                <a:gd name="T11" fmla="*/ 81 h 143"/>
                <a:gd name="T12" fmla="*/ 15 w 132"/>
                <a:gd name="T13" fmla="*/ 92 h 143"/>
                <a:gd name="T14" fmla="*/ 17 w 132"/>
                <a:gd name="T15" fmla="*/ 91 h 143"/>
                <a:gd name="T16" fmla="*/ 18 w 132"/>
                <a:gd name="T17" fmla="*/ 91 h 143"/>
                <a:gd name="T18" fmla="*/ 23 w 132"/>
                <a:gd name="T19" fmla="*/ 90 h 143"/>
                <a:gd name="T20" fmla="*/ 30 w 132"/>
                <a:gd name="T21" fmla="*/ 88 h 143"/>
                <a:gd name="T22" fmla="*/ 19 w 132"/>
                <a:gd name="T23" fmla="*/ 108 h 143"/>
                <a:gd name="T24" fmla="*/ 21 w 132"/>
                <a:gd name="T25" fmla="*/ 116 h 143"/>
                <a:gd name="T26" fmla="*/ 22 w 132"/>
                <a:gd name="T27" fmla="*/ 121 h 143"/>
                <a:gd name="T28" fmla="*/ 18 w 132"/>
                <a:gd name="T29" fmla="*/ 124 h 143"/>
                <a:gd name="T30" fmla="*/ 15 w 132"/>
                <a:gd name="T31" fmla="*/ 126 h 143"/>
                <a:gd name="T32" fmla="*/ 17 w 132"/>
                <a:gd name="T33" fmla="*/ 129 h 143"/>
                <a:gd name="T34" fmla="*/ 23 w 132"/>
                <a:gd name="T35" fmla="*/ 127 h 143"/>
                <a:gd name="T36" fmla="*/ 32 w 132"/>
                <a:gd name="T37" fmla="*/ 130 h 143"/>
                <a:gd name="T38" fmla="*/ 34 w 132"/>
                <a:gd name="T39" fmla="*/ 131 h 143"/>
                <a:gd name="T40" fmla="*/ 39 w 132"/>
                <a:gd name="T41" fmla="*/ 140 h 143"/>
                <a:gd name="T42" fmla="*/ 44 w 132"/>
                <a:gd name="T43" fmla="*/ 143 h 143"/>
                <a:gd name="T44" fmla="*/ 45 w 132"/>
                <a:gd name="T45" fmla="*/ 143 h 143"/>
                <a:gd name="T46" fmla="*/ 51 w 132"/>
                <a:gd name="T47" fmla="*/ 135 h 143"/>
                <a:gd name="T48" fmla="*/ 63 w 132"/>
                <a:gd name="T49" fmla="*/ 109 h 143"/>
                <a:gd name="T50" fmla="*/ 65 w 132"/>
                <a:gd name="T51" fmla="*/ 105 h 143"/>
                <a:gd name="T52" fmla="*/ 69 w 132"/>
                <a:gd name="T53" fmla="*/ 100 h 143"/>
                <a:gd name="T54" fmla="*/ 101 w 132"/>
                <a:gd name="T55" fmla="*/ 86 h 143"/>
                <a:gd name="T56" fmla="*/ 123 w 132"/>
                <a:gd name="T57" fmla="*/ 66 h 143"/>
                <a:gd name="T58" fmla="*/ 127 w 132"/>
                <a:gd name="T59" fmla="*/ 60 h 143"/>
                <a:gd name="T60" fmla="*/ 129 w 132"/>
                <a:gd name="T61" fmla="*/ 56 h 143"/>
                <a:gd name="T62" fmla="*/ 132 w 132"/>
                <a:gd name="T63" fmla="*/ 49 h 143"/>
                <a:gd name="T64" fmla="*/ 128 w 132"/>
                <a:gd name="T65" fmla="*/ 41 h 143"/>
                <a:gd name="T66" fmla="*/ 127 w 132"/>
                <a:gd name="T67" fmla="*/ 38 h 143"/>
                <a:gd name="T68" fmla="*/ 125 w 132"/>
                <a:gd name="T69" fmla="*/ 37 h 143"/>
                <a:gd name="T70" fmla="*/ 122 w 132"/>
                <a:gd name="T71" fmla="*/ 34 h 143"/>
                <a:gd name="T72" fmla="*/ 124 w 132"/>
                <a:gd name="T73" fmla="*/ 31 h 143"/>
                <a:gd name="T74" fmla="*/ 114 w 132"/>
                <a:gd name="T75" fmla="*/ 25 h 143"/>
                <a:gd name="T76" fmla="*/ 109 w 132"/>
                <a:gd name="T77" fmla="*/ 25 h 143"/>
                <a:gd name="T78" fmla="*/ 94 w 132"/>
                <a:gd name="T79" fmla="*/ 25 h 143"/>
                <a:gd name="T80" fmla="*/ 87 w 132"/>
                <a:gd name="T81" fmla="*/ 25 h 143"/>
                <a:gd name="T82" fmla="*/ 81 w 132"/>
                <a:gd name="T83" fmla="*/ 22 h 143"/>
                <a:gd name="T84" fmla="*/ 79 w 132"/>
                <a:gd name="T85" fmla="*/ 16 h 143"/>
                <a:gd name="T86" fmla="*/ 50 w 132"/>
                <a:gd name="T87" fmla="*/ 0 h 1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2" h="143">
                  <a:moveTo>
                    <a:pt x="50" y="0"/>
                  </a:moveTo>
                  <a:cubicBezTo>
                    <a:pt x="49" y="1"/>
                    <a:pt x="48" y="3"/>
                    <a:pt x="47" y="4"/>
                  </a:cubicBezTo>
                  <a:cubicBezTo>
                    <a:pt x="47" y="4"/>
                    <a:pt x="47" y="3"/>
                    <a:pt x="47" y="3"/>
                  </a:cubicBezTo>
                  <a:cubicBezTo>
                    <a:pt x="45" y="4"/>
                    <a:pt x="43" y="5"/>
                    <a:pt x="40" y="5"/>
                  </a:cubicBezTo>
                  <a:cubicBezTo>
                    <a:pt x="37" y="6"/>
                    <a:pt x="31" y="6"/>
                    <a:pt x="33" y="10"/>
                  </a:cubicBezTo>
                  <a:cubicBezTo>
                    <a:pt x="32" y="10"/>
                    <a:pt x="31" y="9"/>
                    <a:pt x="29" y="9"/>
                  </a:cubicBezTo>
                  <a:cubicBezTo>
                    <a:pt x="26" y="9"/>
                    <a:pt x="21" y="11"/>
                    <a:pt x="21" y="14"/>
                  </a:cubicBezTo>
                  <a:cubicBezTo>
                    <a:pt x="22" y="15"/>
                    <a:pt x="23" y="15"/>
                    <a:pt x="23" y="16"/>
                  </a:cubicBezTo>
                  <a:cubicBezTo>
                    <a:pt x="23" y="17"/>
                    <a:pt x="23" y="18"/>
                    <a:pt x="23" y="19"/>
                  </a:cubicBezTo>
                  <a:cubicBezTo>
                    <a:pt x="23" y="20"/>
                    <a:pt x="24" y="22"/>
                    <a:pt x="24" y="22"/>
                  </a:cubicBezTo>
                  <a:cubicBezTo>
                    <a:pt x="23" y="25"/>
                    <a:pt x="23" y="29"/>
                    <a:pt x="21" y="31"/>
                  </a:cubicBezTo>
                  <a:cubicBezTo>
                    <a:pt x="18" y="33"/>
                    <a:pt x="12" y="37"/>
                    <a:pt x="13" y="40"/>
                  </a:cubicBezTo>
                  <a:cubicBezTo>
                    <a:pt x="13" y="42"/>
                    <a:pt x="15" y="45"/>
                    <a:pt x="17" y="45"/>
                  </a:cubicBezTo>
                  <a:cubicBezTo>
                    <a:pt x="15" y="45"/>
                    <a:pt x="14" y="47"/>
                    <a:pt x="13" y="48"/>
                  </a:cubicBezTo>
                  <a:cubicBezTo>
                    <a:pt x="11" y="51"/>
                    <a:pt x="10" y="51"/>
                    <a:pt x="9" y="51"/>
                  </a:cubicBezTo>
                  <a:cubicBezTo>
                    <a:pt x="5" y="53"/>
                    <a:pt x="2" y="53"/>
                    <a:pt x="3" y="57"/>
                  </a:cubicBezTo>
                  <a:cubicBezTo>
                    <a:pt x="5" y="60"/>
                    <a:pt x="6" y="60"/>
                    <a:pt x="5" y="65"/>
                  </a:cubicBezTo>
                  <a:cubicBezTo>
                    <a:pt x="5" y="69"/>
                    <a:pt x="9" y="81"/>
                    <a:pt x="2" y="81"/>
                  </a:cubicBezTo>
                  <a:cubicBezTo>
                    <a:pt x="2" y="81"/>
                    <a:pt x="1" y="81"/>
                    <a:pt x="0" y="81"/>
                  </a:cubicBezTo>
                  <a:cubicBezTo>
                    <a:pt x="2" y="84"/>
                    <a:pt x="4" y="84"/>
                    <a:pt x="6" y="85"/>
                  </a:cubicBezTo>
                  <a:cubicBezTo>
                    <a:pt x="10" y="87"/>
                    <a:pt x="12" y="90"/>
                    <a:pt x="15" y="92"/>
                  </a:cubicBezTo>
                  <a:cubicBezTo>
                    <a:pt x="16" y="93"/>
                    <a:pt x="17" y="93"/>
                    <a:pt x="17" y="93"/>
                  </a:cubicBezTo>
                  <a:cubicBezTo>
                    <a:pt x="17" y="93"/>
                    <a:pt x="18" y="93"/>
                    <a:pt x="18" y="93"/>
                  </a:cubicBezTo>
                  <a:cubicBezTo>
                    <a:pt x="18" y="93"/>
                    <a:pt x="17" y="91"/>
                    <a:pt x="17" y="91"/>
                  </a:cubicBezTo>
                  <a:cubicBezTo>
                    <a:pt x="17" y="91"/>
                    <a:pt x="17" y="91"/>
                    <a:pt x="18" y="91"/>
                  </a:cubicBezTo>
                  <a:cubicBezTo>
                    <a:pt x="18" y="91"/>
                    <a:pt x="18" y="91"/>
                    <a:pt x="18" y="91"/>
                  </a:cubicBezTo>
                  <a:cubicBezTo>
                    <a:pt x="18" y="91"/>
                    <a:pt x="18" y="91"/>
                    <a:pt x="18" y="91"/>
                  </a:cubicBezTo>
                  <a:cubicBezTo>
                    <a:pt x="19" y="91"/>
                    <a:pt x="19" y="91"/>
                    <a:pt x="19" y="91"/>
                  </a:cubicBezTo>
                  <a:cubicBezTo>
                    <a:pt x="21" y="89"/>
                    <a:pt x="22" y="87"/>
                    <a:pt x="24" y="85"/>
                  </a:cubicBezTo>
                  <a:cubicBezTo>
                    <a:pt x="25" y="88"/>
                    <a:pt x="25" y="88"/>
                    <a:pt x="23" y="90"/>
                  </a:cubicBezTo>
                  <a:cubicBezTo>
                    <a:pt x="23" y="91"/>
                    <a:pt x="24" y="91"/>
                    <a:pt x="24" y="91"/>
                  </a:cubicBezTo>
                  <a:cubicBezTo>
                    <a:pt x="27" y="91"/>
                    <a:pt x="27" y="85"/>
                    <a:pt x="27" y="83"/>
                  </a:cubicBezTo>
                  <a:cubicBezTo>
                    <a:pt x="28" y="85"/>
                    <a:pt x="29" y="86"/>
                    <a:pt x="30" y="88"/>
                  </a:cubicBezTo>
                  <a:cubicBezTo>
                    <a:pt x="30" y="90"/>
                    <a:pt x="30" y="90"/>
                    <a:pt x="29" y="92"/>
                  </a:cubicBezTo>
                  <a:cubicBezTo>
                    <a:pt x="28" y="95"/>
                    <a:pt x="27" y="99"/>
                    <a:pt x="25" y="103"/>
                  </a:cubicBezTo>
                  <a:cubicBezTo>
                    <a:pt x="24" y="106"/>
                    <a:pt x="22" y="107"/>
                    <a:pt x="19" y="108"/>
                  </a:cubicBezTo>
                  <a:cubicBezTo>
                    <a:pt x="19" y="108"/>
                    <a:pt x="19" y="108"/>
                    <a:pt x="19" y="108"/>
                  </a:cubicBezTo>
                  <a:cubicBezTo>
                    <a:pt x="19" y="109"/>
                    <a:pt x="19" y="109"/>
                    <a:pt x="19" y="109"/>
                  </a:cubicBezTo>
                  <a:cubicBezTo>
                    <a:pt x="19" y="110"/>
                    <a:pt x="20" y="112"/>
                    <a:pt x="21" y="116"/>
                  </a:cubicBezTo>
                  <a:cubicBezTo>
                    <a:pt x="22" y="116"/>
                    <a:pt x="22" y="116"/>
                    <a:pt x="22" y="116"/>
                  </a:cubicBezTo>
                  <a:cubicBezTo>
                    <a:pt x="22" y="117"/>
                    <a:pt x="22" y="117"/>
                    <a:pt x="22" y="117"/>
                  </a:cubicBezTo>
                  <a:cubicBezTo>
                    <a:pt x="23" y="119"/>
                    <a:pt x="23" y="120"/>
                    <a:pt x="22" y="121"/>
                  </a:cubicBezTo>
                  <a:cubicBezTo>
                    <a:pt x="22" y="122"/>
                    <a:pt x="22" y="123"/>
                    <a:pt x="21" y="123"/>
                  </a:cubicBezTo>
                  <a:cubicBezTo>
                    <a:pt x="21" y="123"/>
                    <a:pt x="21" y="123"/>
                    <a:pt x="21" y="123"/>
                  </a:cubicBezTo>
                  <a:cubicBezTo>
                    <a:pt x="20" y="124"/>
                    <a:pt x="19" y="124"/>
                    <a:pt x="18" y="124"/>
                  </a:cubicBezTo>
                  <a:cubicBezTo>
                    <a:pt x="18" y="124"/>
                    <a:pt x="18" y="124"/>
                    <a:pt x="18" y="124"/>
                  </a:cubicBezTo>
                  <a:cubicBezTo>
                    <a:pt x="17" y="125"/>
                    <a:pt x="16" y="125"/>
                    <a:pt x="16" y="125"/>
                  </a:cubicBezTo>
                  <a:cubicBezTo>
                    <a:pt x="15" y="126"/>
                    <a:pt x="15" y="126"/>
                    <a:pt x="15" y="126"/>
                  </a:cubicBezTo>
                  <a:cubicBezTo>
                    <a:pt x="15" y="126"/>
                    <a:pt x="16" y="127"/>
                    <a:pt x="16" y="127"/>
                  </a:cubicBezTo>
                  <a:cubicBezTo>
                    <a:pt x="16" y="128"/>
                    <a:pt x="16" y="129"/>
                    <a:pt x="16" y="129"/>
                  </a:cubicBezTo>
                  <a:cubicBezTo>
                    <a:pt x="17" y="129"/>
                    <a:pt x="17" y="129"/>
                    <a:pt x="17" y="129"/>
                  </a:cubicBezTo>
                  <a:cubicBezTo>
                    <a:pt x="18" y="128"/>
                    <a:pt x="18" y="128"/>
                    <a:pt x="18" y="127"/>
                  </a:cubicBezTo>
                  <a:cubicBezTo>
                    <a:pt x="20" y="127"/>
                    <a:pt x="20" y="127"/>
                    <a:pt x="21" y="127"/>
                  </a:cubicBezTo>
                  <a:cubicBezTo>
                    <a:pt x="22" y="127"/>
                    <a:pt x="23" y="127"/>
                    <a:pt x="23" y="127"/>
                  </a:cubicBezTo>
                  <a:cubicBezTo>
                    <a:pt x="24" y="128"/>
                    <a:pt x="25" y="128"/>
                    <a:pt x="26" y="129"/>
                  </a:cubicBezTo>
                  <a:cubicBezTo>
                    <a:pt x="28" y="130"/>
                    <a:pt x="29" y="130"/>
                    <a:pt x="30" y="131"/>
                  </a:cubicBezTo>
                  <a:cubicBezTo>
                    <a:pt x="31" y="130"/>
                    <a:pt x="31" y="130"/>
                    <a:pt x="32" y="130"/>
                  </a:cubicBezTo>
                  <a:cubicBezTo>
                    <a:pt x="32" y="130"/>
                    <a:pt x="32" y="130"/>
                    <a:pt x="32" y="130"/>
                  </a:cubicBezTo>
                  <a:cubicBezTo>
                    <a:pt x="33" y="131"/>
                    <a:pt x="33" y="131"/>
                    <a:pt x="33" y="131"/>
                  </a:cubicBezTo>
                  <a:cubicBezTo>
                    <a:pt x="34" y="131"/>
                    <a:pt x="34" y="131"/>
                    <a:pt x="34" y="131"/>
                  </a:cubicBezTo>
                  <a:cubicBezTo>
                    <a:pt x="36" y="133"/>
                    <a:pt x="37" y="135"/>
                    <a:pt x="38" y="137"/>
                  </a:cubicBezTo>
                  <a:cubicBezTo>
                    <a:pt x="38" y="138"/>
                    <a:pt x="38" y="139"/>
                    <a:pt x="39" y="139"/>
                  </a:cubicBezTo>
                  <a:cubicBezTo>
                    <a:pt x="39" y="140"/>
                    <a:pt x="39" y="140"/>
                    <a:pt x="39" y="140"/>
                  </a:cubicBezTo>
                  <a:cubicBezTo>
                    <a:pt x="40" y="140"/>
                    <a:pt x="40" y="140"/>
                    <a:pt x="40" y="140"/>
                  </a:cubicBezTo>
                  <a:cubicBezTo>
                    <a:pt x="41" y="142"/>
                    <a:pt x="42" y="143"/>
                    <a:pt x="43" y="143"/>
                  </a:cubicBezTo>
                  <a:cubicBezTo>
                    <a:pt x="44" y="143"/>
                    <a:pt x="44" y="143"/>
                    <a:pt x="44" y="143"/>
                  </a:cubicBezTo>
                  <a:cubicBezTo>
                    <a:pt x="45" y="143"/>
                    <a:pt x="45" y="143"/>
                    <a:pt x="45" y="143"/>
                  </a:cubicBezTo>
                  <a:cubicBezTo>
                    <a:pt x="45" y="143"/>
                    <a:pt x="45" y="143"/>
                    <a:pt x="45" y="143"/>
                  </a:cubicBezTo>
                  <a:cubicBezTo>
                    <a:pt x="45" y="143"/>
                    <a:pt x="45" y="143"/>
                    <a:pt x="45" y="143"/>
                  </a:cubicBezTo>
                  <a:cubicBezTo>
                    <a:pt x="46" y="142"/>
                    <a:pt x="46" y="141"/>
                    <a:pt x="47" y="141"/>
                  </a:cubicBezTo>
                  <a:cubicBezTo>
                    <a:pt x="47" y="140"/>
                    <a:pt x="47" y="140"/>
                    <a:pt x="47" y="140"/>
                  </a:cubicBezTo>
                  <a:cubicBezTo>
                    <a:pt x="49" y="138"/>
                    <a:pt x="51" y="137"/>
                    <a:pt x="51" y="135"/>
                  </a:cubicBezTo>
                  <a:cubicBezTo>
                    <a:pt x="54" y="130"/>
                    <a:pt x="57" y="123"/>
                    <a:pt x="58" y="117"/>
                  </a:cubicBezTo>
                  <a:cubicBezTo>
                    <a:pt x="58" y="116"/>
                    <a:pt x="58" y="116"/>
                    <a:pt x="58" y="116"/>
                  </a:cubicBezTo>
                  <a:cubicBezTo>
                    <a:pt x="59" y="112"/>
                    <a:pt x="59" y="110"/>
                    <a:pt x="63" y="109"/>
                  </a:cubicBezTo>
                  <a:cubicBezTo>
                    <a:pt x="63" y="109"/>
                    <a:pt x="64" y="109"/>
                    <a:pt x="64" y="109"/>
                  </a:cubicBezTo>
                  <a:cubicBezTo>
                    <a:pt x="64" y="109"/>
                    <a:pt x="64" y="109"/>
                    <a:pt x="64" y="109"/>
                  </a:cubicBezTo>
                  <a:cubicBezTo>
                    <a:pt x="64" y="108"/>
                    <a:pt x="64" y="106"/>
                    <a:pt x="65" y="105"/>
                  </a:cubicBezTo>
                  <a:cubicBezTo>
                    <a:pt x="66" y="104"/>
                    <a:pt x="66" y="104"/>
                    <a:pt x="67" y="103"/>
                  </a:cubicBezTo>
                  <a:cubicBezTo>
                    <a:pt x="68" y="102"/>
                    <a:pt x="68" y="102"/>
                    <a:pt x="68" y="102"/>
                  </a:cubicBezTo>
                  <a:cubicBezTo>
                    <a:pt x="68" y="101"/>
                    <a:pt x="68" y="101"/>
                    <a:pt x="69" y="100"/>
                  </a:cubicBezTo>
                  <a:cubicBezTo>
                    <a:pt x="73" y="97"/>
                    <a:pt x="77" y="95"/>
                    <a:pt x="81" y="94"/>
                  </a:cubicBezTo>
                  <a:cubicBezTo>
                    <a:pt x="83" y="93"/>
                    <a:pt x="85" y="93"/>
                    <a:pt x="87" y="92"/>
                  </a:cubicBezTo>
                  <a:cubicBezTo>
                    <a:pt x="93" y="90"/>
                    <a:pt x="98" y="89"/>
                    <a:pt x="101" y="86"/>
                  </a:cubicBezTo>
                  <a:cubicBezTo>
                    <a:pt x="105" y="83"/>
                    <a:pt x="109" y="80"/>
                    <a:pt x="113" y="76"/>
                  </a:cubicBezTo>
                  <a:cubicBezTo>
                    <a:pt x="114" y="75"/>
                    <a:pt x="116" y="73"/>
                    <a:pt x="117" y="72"/>
                  </a:cubicBezTo>
                  <a:cubicBezTo>
                    <a:pt x="119" y="70"/>
                    <a:pt x="121" y="68"/>
                    <a:pt x="123" y="66"/>
                  </a:cubicBezTo>
                  <a:cubicBezTo>
                    <a:pt x="123" y="66"/>
                    <a:pt x="123" y="66"/>
                    <a:pt x="123" y="65"/>
                  </a:cubicBezTo>
                  <a:cubicBezTo>
                    <a:pt x="124" y="65"/>
                    <a:pt x="124" y="65"/>
                    <a:pt x="124" y="65"/>
                  </a:cubicBezTo>
                  <a:cubicBezTo>
                    <a:pt x="125" y="63"/>
                    <a:pt x="126" y="62"/>
                    <a:pt x="127" y="60"/>
                  </a:cubicBezTo>
                  <a:cubicBezTo>
                    <a:pt x="127" y="59"/>
                    <a:pt x="127" y="59"/>
                    <a:pt x="127" y="59"/>
                  </a:cubicBezTo>
                  <a:cubicBezTo>
                    <a:pt x="127" y="59"/>
                    <a:pt x="128" y="58"/>
                    <a:pt x="128" y="58"/>
                  </a:cubicBezTo>
                  <a:cubicBezTo>
                    <a:pt x="129" y="56"/>
                    <a:pt x="129" y="56"/>
                    <a:pt x="129" y="56"/>
                  </a:cubicBezTo>
                  <a:cubicBezTo>
                    <a:pt x="129" y="56"/>
                    <a:pt x="129" y="55"/>
                    <a:pt x="130" y="54"/>
                  </a:cubicBezTo>
                  <a:cubicBezTo>
                    <a:pt x="130" y="54"/>
                    <a:pt x="132" y="52"/>
                    <a:pt x="132" y="51"/>
                  </a:cubicBezTo>
                  <a:cubicBezTo>
                    <a:pt x="132" y="51"/>
                    <a:pt x="132" y="50"/>
                    <a:pt x="132" y="49"/>
                  </a:cubicBezTo>
                  <a:cubicBezTo>
                    <a:pt x="131" y="48"/>
                    <a:pt x="131" y="47"/>
                    <a:pt x="131" y="46"/>
                  </a:cubicBezTo>
                  <a:cubicBezTo>
                    <a:pt x="130" y="46"/>
                    <a:pt x="130" y="45"/>
                    <a:pt x="129" y="44"/>
                  </a:cubicBezTo>
                  <a:cubicBezTo>
                    <a:pt x="129" y="43"/>
                    <a:pt x="128" y="42"/>
                    <a:pt x="128" y="41"/>
                  </a:cubicBezTo>
                  <a:cubicBezTo>
                    <a:pt x="128" y="41"/>
                    <a:pt x="127" y="40"/>
                    <a:pt x="127" y="40"/>
                  </a:cubicBezTo>
                  <a:cubicBezTo>
                    <a:pt x="127" y="40"/>
                    <a:pt x="127" y="40"/>
                    <a:pt x="127" y="40"/>
                  </a:cubicBezTo>
                  <a:cubicBezTo>
                    <a:pt x="127" y="38"/>
                    <a:pt x="127" y="38"/>
                    <a:pt x="127" y="38"/>
                  </a:cubicBezTo>
                  <a:cubicBezTo>
                    <a:pt x="127" y="38"/>
                    <a:pt x="127" y="38"/>
                    <a:pt x="127" y="38"/>
                  </a:cubicBezTo>
                  <a:cubicBezTo>
                    <a:pt x="126" y="38"/>
                    <a:pt x="126" y="38"/>
                    <a:pt x="126" y="38"/>
                  </a:cubicBezTo>
                  <a:cubicBezTo>
                    <a:pt x="126" y="37"/>
                    <a:pt x="126" y="37"/>
                    <a:pt x="125" y="37"/>
                  </a:cubicBezTo>
                  <a:cubicBezTo>
                    <a:pt x="125" y="37"/>
                    <a:pt x="125" y="37"/>
                    <a:pt x="125" y="37"/>
                  </a:cubicBezTo>
                  <a:cubicBezTo>
                    <a:pt x="124" y="36"/>
                    <a:pt x="123" y="36"/>
                    <a:pt x="123" y="35"/>
                  </a:cubicBezTo>
                  <a:cubicBezTo>
                    <a:pt x="122" y="34"/>
                    <a:pt x="122" y="34"/>
                    <a:pt x="122" y="34"/>
                  </a:cubicBezTo>
                  <a:cubicBezTo>
                    <a:pt x="123" y="32"/>
                    <a:pt x="123" y="32"/>
                    <a:pt x="123" y="32"/>
                  </a:cubicBezTo>
                  <a:cubicBezTo>
                    <a:pt x="123" y="31"/>
                    <a:pt x="123" y="31"/>
                    <a:pt x="123" y="31"/>
                  </a:cubicBezTo>
                  <a:cubicBezTo>
                    <a:pt x="124" y="31"/>
                    <a:pt x="124" y="31"/>
                    <a:pt x="124" y="31"/>
                  </a:cubicBezTo>
                  <a:cubicBezTo>
                    <a:pt x="119" y="28"/>
                    <a:pt x="119" y="28"/>
                    <a:pt x="119" y="28"/>
                  </a:cubicBezTo>
                  <a:cubicBezTo>
                    <a:pt x="118" y="28"/>
                    <a:pt x="117" y="27"/>
                    <a:pt x="117" y="27"/>
                  </a:cubicBezTo>
                  <a:cubicBezTo>
                    <a:pt x="115" y="26"/>
                    <a:pt x="114" y="25"/>
                    <a:pt x="114" y="25"/>
                  </a:cubicBezTo>
                  <a:cubicBezTo>
                    <a:pt x="113" y="25"/>
                    <a:pt x="113" y="25"/>
                    <a:pt x="113" y="25"/>
                  </a:cubicBezTo>
                  <a:cubicBezTo>
                    <a:pt x="113" y="25"/>
                    <a:pt x="112" y="25"/>
                    <a:pt x="112" y="25"/>
                  </a:cubicBezTo>
                  <a:cubicBezTo>
                    <a:pt x="111" y="25"/>
                    <a:pt x="110" y="25"/>
                    <a:pt x="109" y="25"/>
                  </a:cubicBezTo>
                  <a:cubicBezTo>
                    <a:pt x="108" y="26"/>
                    <a:pt x="108" y="26"/>
                    <a:pt x="108" y="26"/>
                  </a:cubicBezTo>
                  <a:cubicBezTo>
                    <a:pt x="105" y="26"/>
                    <a:pt x="103" y="26"/>
                    <a:pt x="102" y="26"/>
                  </a:cubicBezTo>
                  <a:cubicBezTo>
                    <a:pt x="99" y="26"/>
                    <a:pt x="97" y="26"/>
                    <a:pt x="94" y="25"/>
                  </a:cubicBezTo>
                  <a:cubicBezTo>
                    <a:pt x="93" y="25"/>
                    <a:pt x="92" y="25"/>
                    <a:pt x="91" y="25"/>
                  </a:cubicBezTo>
                  <a:cubicBezTo>
                    <a:pt x="91" y="25"/>
                    <a:pt x="91" y="25"/>
                    <a:pt x="91" y="25"/>
                  </a:cubicBezTo>
                  <a:cubicBezTo>
                    <a:pt x="89" y="25"/>
                    <a:pt x="88" y="25"/>
                    <a:pt x="87" y="25"/>
                  </a:cubicBezTo>
                  <a:cubicBezTo>
                    <a:pt x="86" y="25"/>
                    <a:pt x="86" y="25"/>
                    <a:pt x="85" y="24"/>
                  </a:cubicBezTo>
                  <a:cubicBezTo>
                    <a:pt x="84" y="24"/>
                    <a:pt x="83" y="24"/>
                    <a:pt x="82" y="23"/>
                  </a:cubicBezTo>
                  <a:cubicBezTo>
                    <a:pt x="82" y="22"/>
                    <a:pt x="82" y="22"/>
                    <a:pt x="81" y="22"/>
                  </a:cubicBezTo>
                  <a:cubicBezTo>
                    <a:pt x="81" y="21"/>
                    <a:pt x="80" y="20"/>
                    <a:pt x="80" y="19"/>
                  </a:cubicBezTo>
                  <a:cubicBezTo>
                    <a:pt x="80" y="18"/>
                    <a:pt x="79" y="17"/>
                    <a:pt x="79" y="17"/>
                  </a:cubicBezTo>
                  <a:cubicBezTo>
                    <a:pt x="79" y="16"/>
                    <a:pt x="79" y="16"/>
                    <a:pt x="79" y="16"/>
                  </a:cubicBezTo>
                  <a:cubicBezTo>
                    <a:pt x="78" y="14"/>
                    <a:pt x="77" y="14"/>
                    <a:pt x="74" y="13"/>
                  </a:cubicBezTo>
                  <a:cubicBezTo>
                    <a:pt x="73" y="13"/>
                    <a:pt x="72" y="13"/>
                    <a:pt x="72" y="12"/>
                  </a:cubicBezTo>
                  <a:cubicBezTo>
                    <a:pt x="64" y="9"/>
                    <a:pt x="58" y="5"/>
                    <a:pt x="50" y="0"/>
                  </a:cubicBezTo>
                  <a:cubicBezTo>
                    <a:pt x="50" y="0"/>
                    <a:pt x="50" y="0"/>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252"/>
            <p:cNvSpPr>
              <a:spLocks noEditPoints="1"/>
            </p:cNvSpPr>
            <p:nvPr/>
          </p:nvSpPr>
          <p:spPr bwMode="auto">
            <a:xfrm>
              <a:off x="8152527" y="1054968"/>
              <a:ext cx="1016834" cy="878434"/>
            </a:xfrm>
            <a:custGeom>
              <a:gdLst>
                <a:gd name="T0" fmla="*/ 257 w 305"/>
                <a:gd name="T1" fmla="*/ 54 h 263"/>
                <a:gd name="T2" fmla="*/ 256 w 305"/>
                <a:gd name="T3" fmla="*/ 54 h 263"/>
                <a:gd name="T4" fmla="*/ 71 w 305"/>
                <a:gd name="T5" fmla="*/ 13 h 263"/>
                <a:gd name="T6" fmla="*/ 67 w 305"/>
                <a:gd name="T7" fmla="*/ 20 h 263"/>
                <a:gd name="T8" fmla="*/ 46 w 305"/>
                <a:gd name="T9" fmla="*/ 57 h 263"/>
                <a:gd name="T10" fmla="*/ 23 w 305"/>
                <a:gd name="T11" fmla="*/ 58 h 263"/>
                <a:gd name="T12" fmla="*/ 28 w 305"/>
                <a:gd name="T13" fmla="*/ 21 h 263"/>
                <a:gd name="T14" fmla="*/ 13 w 305"/>
                <a:gd name="T15" fmla="*/ 33 h 263"/>
                <a:gd name="T16" fmla="*/ 6 w 305"/>
                <a:gd name="T17" fmla="*/ 48 h 263"/>
                <a:gd name="T18" fmla="*/ 5 w 305"/>
                <a:gd name="T19" fmla="*/ 67 h 263"/>
                <a:gd name="T20" fmla="*/ 10 w 305"/>
                <a:gd name="T21" fmla="*/ 72 h 263"/>
                <a:gd name="T22" fmla="*/ 18 w 305"/>
                <a:gd name="T23" fmla="*/ 108 h 263"/>
                <a:gd name="T24" fmla="*/ 27 w 305"/>
                <a:gd name="T25" fmla="*/ 118 h 263"/>
                <a:gd name="T26" fmla="*/ 40 w 305"/>
                <a:gd name="T27" fmla="*/ 119 h 263"/>
                <a:gd name="T28" fmla="*/ 65 w 305"/>
                <a:gd name="T29" fmla="*/ 118 h 263"/>
                <a:gd name="T30" fmla="*/ 87 w 305"/>
                <a:gd name="T31" fmla="*/ 139 h 263"/>
                <a:gd name="T32" fmla="*/ 110 w 305"/>
                <a:gd name="T33" fmla="*/ 136 h 263"/>
                <a:gd name="T34" fmla="*/ 129 w 305"/>
                <a:gd name="T35" fmla="*/ 155 h 263"/>
                <a:gd name="T36" fmla="*/ 124 w 305"/>
                <a:gd name="T37" fmla="*/ 176 h 263"/>
                <a:gd name="T38" fmla="*/ 130 w 305"/>
                <a:gd name="T39" fmla="*/ 196 h 263"/>
                <a:gd name="T40" fmla="*/ 132 w 305"/>
                <a:gd name="T41" fmla="*/ 212 h 263"/>
                <a:gd name="T42" fmla="*/ 129 w 305"/>
                <a:gd name="T43" fmla="*/ 217 h 263"/>
                <a:gd name="T44" fmla="*/ 146 w 305"/>
                <a:gd name="T45" fmla="*/ 251 h 263"/>
                <a:gd name="T46" fmla="*/ 151 w 305"/>
                <a:gd name="T47" fmla="*/ 257 h 263"/>
                <a:gd name="T48" fmla="*/ 175 w 305"/>
                <a:gd name="T49" fmla="*/ 259 h 263"/>
                <a:gd name="T50" fmla="*/ 198 w 305"/>
                <a:gd name="T51" fmla="*/ 249 h 263"/>
                <a:gd name="T52" fmla="*/ 217 w 305"/>
                <a:gd name="T53" fmla="*/ 232 h 263"/>
                <a:gd name="T54" fmla="*/ 206 w 305"/>
                <a:gd name="T55" fmla="*/ 213 h 263"/>
                <a:gd name="T56" fmla="*/ 194 w 305"/>
                <a:gd name="T57" fmla="*/ 192 h 263"/>
                <a:gd name="T58" fmla="*/ 207 w 305"/>
                <a:gd name="T59" fmla="*/ 187 h 263"/>
                <a:gd name="T60" fmla="*/ 218 w 305"/>
                <a:gd name="T61" fmla="*/ 189 h 263"/>
                <a:gd name="T62" fmla="*/ 236 w 305"/>
                <a:gd name="T63" fmla="*/ 197 h 263"/>
                <a:gd name="T64" fmla="*/ 243 w 305"/>
                <a:gd name="T65" fmla="*/ 186 h 263"/>
                <a:gd name="T66" fmla="*/ 276 w 305"/>
                <a:gd name="T67" fmla="*/ 176 h 263"/>
                <a:gd name="T68" fmla="*/ 281 w 305"/>
                <a:gd name="T69" fmla="*/ 167 h 263"/>
                <a:gd name="T70" fmla="*/ 286 w 305"/>
                <a:gd name="T71" fmla="*/ 166 h 263"/>
                <a:gd name="T72" fmla="*/ 270 w 305"/>
                <a:gd name="T73" fmla="*/ 144 h 263"/>
                <a:gd name="T74" fmla="*/ 274 w 305"/>
                <a:gd name="T75" fmla="*/ 133 h 263"/>
                <a:gd name="T76" fmla="*/ 284 w 305"/>
                <a:gd name="T77" fmla="*/ 123 h 263"/>
                <a:gd name="T78" fmla="*/ 293 w 305"/>
                <a:gd name="T79" fmla="*/ 121 h 263"/>
                <a:gd name="T80" fmla="*/ 288 w 305"/>
                <a:gd name="T81" fmla="*/ 119 h 263"/>
                <a:gd name="T82" fmla="*/ 287 w 305"/>
                <a:gd name="T83" fmla="*/ 106 h 263"/>
                <a:gd name="T84" fmla="*/ 302 w 305"/>
                <a:gd name="T85" fmla="*/ 87 h 263"/>
                <a:gd name="T86" fmla="*/ 280 w 305"/>
                <a:gd name="T87" fmla="*/ 88 h 263"/>
                <a:gd name="T88" fmla="*/ 269 w 305"/>
                <a:gd name="T89" fmla="*/ 84 h 263"/>
                <a:gd name="T90" fmla="*/ 278 w 305"/>
                <a:gd name="T91" fmla="*/ 74 h 263"/>
                <a:gd name="T92" fmla="*/ 253 w 305"/>
                <a:gd name="T93" fmla="*/ 53 h 263"/>
                <a:gd name="T94" fmla="*/ 240 w 305"/>
                <a:gd name="T95" fmla="*/ 51 h 263"/>
                <a:gd name="T96" fmla="*/ 240 w 305"/>
                <a:gd name="T97" fmla="*/ 49 h 263"/>
                <a:gd name="T98" fmla="*/ 235 w 305"/>
                <a:gd name="T99" fmla="*/ 40 h 263"/>
                <a:gd name="T100" fmla="*/ 220 w 305"/>
                <a:gd name="T101" fmla="*/ 37 h 263"/>
                <a:gd name="T102" fmla="*/ 212 w 305"/>
                <a:gd name="T103" fmla="*/ 40 h 263"/>
                <a:gd name="T104" fmla="*/ 169 w 305"/>
                <a:gd name="T105" fmla="*/ 46 h 263"/>
                <a:gd name="T106" fmla="*/ 137 w 305"/>
                <a:gd name="T107" fmla="*/ 38 h 263"/>
                <a:gd name="T108" fmla="*/ 89 w 305"/>
                <a:gd name="T109" fmla="*/ 17 h 2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5" h="263">
                  <a:moveTo>
                    <a:pt x="205" y="36"/>
                  </a:moveTo>
                  <a:cubicBezTo>
                    <a:pt x="205" y="36"/>
                    <a:pt x="205" y="36"/>
                    <a:pt x="205" y="36"/>
                  </a:cubicBezTo>
                  <a:cubicBezTo>
                    <a:pt x="205" y="36"/>
                    <a:pt x="205" y="36"/>
                    <a:pt x="205" y="36"/>
                  </a:cubicBezTo>
                  <a:moveTo>
                    <a:pt x="256" y="54"/>
                  </a:moveTo>
                  <a:cubicBezTo>
                    <a:pt x="256" y="54"/>
                    <a:pt x="256" y="54"/>
                    <a:pt x="256" y="54"/>
                  </a:cubicBezTo>
                  <a:cubicBezTo>
                    <a:pt x="256" y="54"/>
                    <a:pt x="256" y="54"/>
                    <a:pt x="256" y="54"/>
                  </a:cubicBezTo>
                  <a:cubicBezTo>
                    <a:pt x="257" y="54"/>
                    <a:pt x="257" y="54"/>
                    <a:pt x="257" y="54"/>
                  </a:cubicBezTo>
                  <a:cubicBezTo>
                    <a:pt x="257" y="54"/>
                    <a:pt x="257" y="54"/>
                    <a:pt x="257" y="54"/>
                  </a:cubicBezTo>
                  <a:cubicBezTo>
                    <a:pt x="257" y="54"/>
                    <a:pt x="257" y="54"/>
                    <a:pt x="257"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moveTo>
                    <a:pt x="71" y="0"/>
                  </a:moveTo>
                  <a:cubicBezTo>
                    <a:pt x="69" y="0"/>
                    <a:pt x="68" y="2"/>
                    <a:pt x="66" y="4"/>
                  </a:cubicBezTo>
                  <a:cubicBezTo>
                    <a:pt x="65" y="6"/>
                    <a:pt x="65" y="7"/>
                    <a:pt x="66" y="9"/>
                  </a:cubicBezTo>
                  <a:cubicBezTo>
                    <a:pt x="67" y="11"/>
                    <a:pt x="68" y="13"/>
                    <a:pt x="69" y="13"/>
                  </a:cubicBezTo>
                  <a:cubicBezTo>
                    <a:pt x="69" y="13"/>
                    <a:pt x="69" y="13"/>
                    <a:pt x="70" y="13"/>
                  </a:cubicBezTo>
                  <a:cubicBezTo>
                    <a:pt x="70" y="13"/>
                    <a:pt x="70" y="13"/>
                    <a:pt x="71" y="13"/>
                  </a:cubicBezTo>
                  <a:cubicBezTo>
                    <a:pt x="71" y="13"/>
                    <a:pt x="71" y="13"/>
                    <a:pt x="71" y="13"/>
                  </a:cubicBezTo>
                  <a:cubicBezTo>
                    <a:pt x="73" y="13"/>
                    <a:pt x="75" y="12"/>
                    <a:pt x="76" y="12"/>
                  </a:cubicBezTo>
                  <a:cubicBezTo>
                    <a:pt x="77" y="13"/>
                    <a:pt x="77" y="15"/>
                    <a:pt x="78" y="16"/>
                  </a:cubicBezTo>
                  <a:cubicBezTo>
                    <a:pt x="77" y="16"/>
                    <a:pt x="76" y="16"/>
                    <a:pt x="75" y="16"/>
                  </a:cubicBezTo>
                  <a:cubicBezTo>
                    <a:pt x="73" y="16"/>
                    <a:pt x="71" y="16"/>
                    <a:pt x="69" y="15"/>
                  </a:cubicBezTo>
                  <a:cubicBezTo>
                    <a:pt x="70" y="15"/>
                    <a:pt x="71" y="16"/>
                    <a:pt x="71" y="17"/>
                  </a:cubicBezTo>
                  <a:cubicBezTo>
                    <a:pt x="70" y="18"/>
                    <a:pt x="68" y="19"/>
                    <a:pt x="67" y="20"/>
                  </a:cubicBezTo>
                  <a:cubicBezTo>
                    <a:pt x="62" y="20"/>
                    <a:pt x="55" y="23"/>
                    <a:pt x="50" y="24"/>
                  </a:cubicBezTo>
                  <a:cubicBezTo>
                    <a:pt x="47" y="25"/>
                    <a:pt x="45" y="27"/>
                    <a:pt x="42" y="28"/>
                  </a:cubicBezTo>
                  <a:cubicBezTo>
                    <a:pt x="42" y="28"/>
                    <a:pt x="42" y="28"/>
                    <a:pt x="41" y="28"/>
                  </a:cubicBezTo>
                  <a:cubicBezTo>
                    <a:pt x="41" y="28"/>
                    <a:pt x="41" y="28"/>
                    <a:pt x="40" y="28"/>
                  </a:cubicBezTo>
                  <a:cubicBezTo>
                    <a:pt x="40" y="28"/>
                    <a:pt x="40" y="28"/>
                    <a:pt x="40" y="28"/>
                  </a:cubicBezTo>
                  <a:cubicBezTo>
                    <a:pt x="39" y="28"/>
                    <a:pt x="39" y="28"/>
                    <a:pt x="38" y="29"/>
                  </a:cubicBezTo>
                  <a:cubicBezTo>
                    <a:pt x="32" y="32"/>
                    <a:pt x="44" y="52"/>
                    <a:pt x="46" y="57"/>
                  </a:cubicBezTo>
                  <a:cubicBezTo>
                    <a:pt x="48" y="62"/>
                    <a:pt x="48" y="67"/>
                    <a:pt x="43" y="71"/>
                  </a:cubicBezTo>
                  <a:cubicBezTo>
                    <a:pt x="42" y="72"/>
                    <a:pt x="39" y="73"/>
                    <a:pt x="37" y="74"/>
                  </a:cubicBezTo>
                  <a:cubicBezTo>
                    <a:pt x="36" y="74"/>
                    <a:pt x="35" y="74"/>
                    <a:pt x="35" y="74"/>
                  </a:cubicBezTo>
                  <a:cubicBezTo>
                    <a:pt x="34" y="74"/>
                    <a:pt x="34" y="74"/>
                    <a:pt x="33" y="74"/>
                  </a:cubicBezTo>
                  <a:cubicBezTo>
                    <a:pt x="32" y="73"/>
                    <a:pt x="32" y="70"/>
                    <a:pt x="32" y="68"/>
                  </a:cubicBezTo>
                  <a:cubicBezTo>
                    <a:pt x="32" y="66"/>
                    <a:pt x="31" y="66"/>
                    <a:pt x="28" y="64"/>
                  </a:cubicBezTo>
                  <a:cubicBezTo>
                    <a:pt x="27" y="64"/>
                    <a:pt x="24" y="60"/>
                    <a:pt x="23" y="58"/>
                  </a:cubicBezTo>
                  <a:cubicBezTo>
                    <a:pt x="22" y="55"/>
                    <a:pt x="24" y="53"/>
                    <a:pt x="26" y="50"/>
                  </a:cubicBezTo>
                  <a:cubicBezTo>
                    <a:pt x="28" y="47"/>
                    <a:pt x="30" y="45"/>
                    <a:pt x="32" y="42"/>
                  </a:cubicBezTo>
                  <a:cubicBezTo>
                    <a:pt x="34" y="39"/>
                    <a:pt x="34" y="37"/>
                    <a:pt x="33" y="34"/>
                  </a:cubicBezTo>
                  <a:cubicBezTo>
                    <a:pt x="33" y="32"/>
                    <a:pt x="32" y="29"/>
                    <a:pt x="31" y="28"/>
                  </a:cubicBezTo>
                  <a:cubicBezTo>
                    <a:pt x="32" y="28"/>
                    <a:pt x="32" y="28"/>
                    <a:pt x="33" y="28"/>
                  </a:cubicBezTo>
                  <a:cubicBezTo>
                    <a:pt x="33" y="28"/>
                    <a:pt x="34" y="28"/>
                    <a:pt x="34" y="28"/>
                  </a:cubicBezTo>
                  <a:cubicBezTo>
                    <a:pt x="31" y="26"/>
                    <a:pt x="29" y="24"/>
                    <a:pt x="28" y="21"/>
                  </a:cubicBezTo>
                  <a:cubicBezTo>
                    <a:pt x="27" y="20"/>
                    <a:pt x="26" y="18"/>
                    <a:pt x="26" y="17"/>
                  </a:cubicBezTo>
                  <a:cubicBezTo>
                    <a:pt x="26" y="17"/>
                    <a:pt x="25" y="18"/>
                    <a:pt x="25" y="20"/>
                  </a:cubicBezTo>
                  <a:cubicBezTo>
                    <a:pt x="24" y="21"/>
                    <a:pt x="24" y="22"/>
                    <a:pt x="23" y="23"/>
                  </a:cubicBezTo>
                  <a:cubicBezTo>
                    <a:pt x="23" y="24"/>
                    <a:pt x="23" y="24"/>
                    <a:pt x="23" y="24"/>
                  </a:cubicBezTo>
                  <a:cubicBezTo>
                    <a:pt x="21" y="27"/>
                    <a:pt x="19" y="27"/>
                    <a:pt x="18" y="27"/>
                  </a:cubicBezTo>
                  <a:cubicBezTo>
                    <a:pt x="17" y="28"/>
                    <a:pt x="16" y="28"/>
                    <a:pt x="15" y="28"/>
                  </a:cubicBezTo>
                  <a:cubicBezTo>
                    <a:pt x="14" y="29"/>
                    <a:pt x="13" y="31"/>
                    <a:pt x="13" y="33"/>
                  </a:cubicBezTo>
                  <a:cubicBezTo>
                    <a:pt x="12" y="34"/>
                    <a:pt x="12" y="34"/>
                    <a:pt x="12" y="34"/>
                  </a:cubicBezTo>
                  <a:cubicBezTo>
                    <a:pt x="11" y="35"/>
                    <a:pt x="11" y="36"/>
                    <a:pt x="10" y="37"/>
                  </a:cubicBezTo>
                  <a:cubicBezTo>
                    <a:pt x="9" y="37"/>
                    <a:pt x="9" y="37"/>
                    <a:pt x="9" y="37"/>
                  </a:cubicBezTo>
                  <a:cubicBezTo>
                    <a:pt x="9" y="37"/>
                    <a:pt x="9" y="37"/>
                    <a:pt x="9" y="37"/>
                  </a:cubicBezTo>
                  <a:cubicBezTo>
                    <a:pt x="10" y="38"/>
                    <a:pt x="10" y="38"/>
                    <a:pt x="10" y="38"/>
                  </a:cubicBezTo>
                  <a:cubicBezTo>
                    <a:pt x="9" y="39"/>
                    <a:pt x="7" y="41"/>
                    <a:pt x="7" y="42"/>
                  </a:cubicBezTo>
                  <a:cubicBezTo>
                    <a:pt x="7" y="44"/>
                    <a:pt x="6" y="46"/>
                    <a:pt x="6" y="48"/>
                  </a:cubicBezTo>
                  <a:cubicBezTo>
                    <a:pt x="6" y="48"/>
                    <a:pt x="6" y="48"/>
                    <a:pt x="6" y="48"/>
                  </a:cubicBezTo>
                  <a:cubicBezTo>
                    <a:pt x="6" y="50"/>
                    <a:pt x="6" y="51"/>
                    <a:pt x="5" y="53"/>
                  </a:cubicBezTo>
                  <a:cubicBezTo>
                    <a:pt x="5" y="54"/>
                    <a:pt x="5" y="55"/>
                    <a:pt x="5" y="56"/>
                  </a:cubicBezTo>
                  <a:cubicBezTo>
                    <a:pt x="3" y="60"/>
                    <a:pt x="2" y="63"/>
                    <a:pt x="0" y="66"/>
                  </a:cubicBezTo>
                  <a:cubicBezTo>
                    <a:pt x="0" y="66"/>
                    <a:pt x="1" y="65"/>
                    <a:pt x="1" y="65"/>
                  </a:cubicBezTo>
                  <a:cubicBezTo>
                    <a:pt x="4" y="64"/>
                    <a:pt x="4" y="64"/>
                    <a:pt x="4" y="64"/>
                  </a:cubicBezTo>
                  <a:cubicBezTo>
                    <a:pt x="5" y="67"/>
                    <a:pt x="5" y="67"/>
                    <a:pt x="5" y="67"/>
                  </a:cubicBezTo>
                  <a:cubicBezTo>
                    <a:pt x="5" y="68"/>
                    <a:pt x="5" y="68"/>
                    <a:pt x="5" y="69"/>
                  </a:cubicBezTo>
                  <a:cubicBezTo>
                    <a:pt x="5" y="69"/>
                    <a:pt x="5" y="69"/>
                    <a:pt x="5" y="69"/>
                  </a:cubicBezTo>
                  <a:cubicBezTo>
                    <a:pt x="6" y="69"/>
                    <a:pt x="6" y="69"/>
                    <a:pt x="6" y="69"/>
                  </a:cubicBezTo>
                  <a:cubicBezTo>
                    <a:pt x="6" y="69"/>
                    <a:pt x="6" y="69"/>
                    <a:pt x="6" y="69"/>
                  </a:cubicBezTo>
                  <a:cubicBezTo>
                    <a:pt x="6" y="69"/>
                    <a:pt x="6" y="69"/>
                    <a:pt x="6" y="69"/>
                  </a:cubicBezTo>
                  <a:cubicBezTo>
                    <a:pt x="7" y="69"/>
                    <a:pt x="7" y="69"/>
                    <a:pt x="7" y="69"/>
                  </a:cubicBezTo>
                  <a:cubicBezTo>
                    <a:pt x="9" y="70"/>
                    <a:pt x="10" y="71"/>
                    <a:pt x="10" y="72"/>
                  </a:cubicBezTo>
                  <a:cubicBezTo>
                    <a:pt x="12" y="74"/>
                    <a:pt x="13" y="76"/>
                    <a:pt x="13" y="79"/>
                  </a:cubicBezTo>
                  <a:cubicBezTo>
                    <a:pt x="17" y="87"/>
                    <a:pt x="17" y="87"/>
                    <a:pt x="17" y="87"/>
                  </a:cubicBezTo>
                  <a:cubicBezTo>
                    <a:pt x="18" y="89"/>
                    <a:pt x="19" y="92"/>
                    <a:pt x="20" y="96"/>
                  </a:cubicBezTo>
                  <a:cubicBezTo>
                    <a:pt x="20" y="96"/>
                    <a:pt x="20" y="96"/>
                    <a:pt x="20" y="96"/>
                  </a:cubicBezTo>
                  <a:cubicBezTo>
                    <a:pt x="20" y="97"/>
                    <a:pt x="20" y="97"/>
                    <a:pt x="20" y="97"/>
                  </a:cubicBezTo>
                  <a:cubicBezTo>
                    <a:pt x="19" y="98"/>
                    <a:pt x="19" y="99"/>
                    <a:pt x="19" y="100"/>
                  </a:cubicBezTo>
                  <a:cubicBezTo>
                    <a:pt x="17" y="102"/>
                    <a:pt x="17" y="105"/>
                    <a:pt x="18" y="108"/>
                  </a:cubicBezTo>
                  <a:cubicBezTo>
                    <a:pt x="18" y="109"/>
                    <a:pt x="18" y="109"/>
                    <a:pt x="18" y="109"/>
                  </a:cubicBezTo>
                  <a:cubicBezTo>
                    <a:pt x="18" y="109"/>
                    <a:pt x="19" y="109"/>
                    <a:pt x="19" y="109"/>
                  </a:cubicBezTo>
                  <a:cubicBezTo>
                    <a:pt x="21" y="110"/>
                    <a:pt x="23" y="110"/>
                    <a:pt x="25" y="113"/>
                  </a:cubicBezTo>
                  <a:cubicBezTo>
                    <a:pt x="25" y="113"/>
                    <a:pt x="25" y="113"/>
                    <a:pt x="25" y="113"/>
                  </a:cubicBezTo>
                  <a:cubicBezTo>
                    <a:pt x="25" y="114"/>
                    <a:pt x="25" y="114"/>
                    <a:pt x="25" y="114"/>
                  </a:cubicBezTo>
                  <a:cubicBezTo>
                    <a:pt x="25" y="115"/>
                    <a:pt x="26" y="115"/>
                    <a:pt x="26" y="116"/>
                  </a:cubicBezTo>
                  <a:cubicBezTo>
                    <a:pt x="26" y="117"/>
                    <a:pt x="27" y="118"/>
                    <a:pt x="27" y="118"/>
                  </a:cubicBezTo>
                  <a:cubicBezTo>
                    <a:pt x="27" y="118"/>
                    <a:pt x="27" y="118"/>
                    <a:pt x="27" y="118"/>
                  </a:cubicBezTo>
                  <a:cubicBezTo>
                    <a:pt x="27" y="118"/>
                    <a:pt x="27" y="118"/>
                    <a:pt x="27" y="118"/>
                  </a:cubicBezTo>
                  <a:cubicBezTo>
                    <a:pt x="28" y="118"/>
                    <a:pt x="28" y="118"/>
                    <a:pt x="28" y="118"/>
                  </a:cubicBezTo>
                  <a:cubicBezTo>
                    <a:pt x="30" y="118"/>
                    <a:pt x="32" y="118"/>
                    <a:pt x="34" y="118"/>
                  </a:cubicBezTo>
                  <a:cubicBezTo>
                    <a:pt x="35" y="118"/>
                    <a:pt x="36" y="118"/>
                    <a:pt x="37" y="118"/>
                  </a:cubicBezTo>
                  <a:cubicBezTo>
                    <a:pt x="38" y="118"/>
                    <a:pt x="39" y="118"/>
                    <a:pt x="40" y="118"/>
                  </a:cubicBezTo>
                  <a:cubicBezTo>
                    <a:pt x="40" y="119"/>
                    <a:pt x="40" y="119"/>
                    <a:pt x="40" y="119"/>
                  </a:cubicBezTo>
                  <a:cubicBezTo>
                    <a:pt x="42" y="119"/>
                    <a:pt x="44" y="119"/>
                    <a:pt x="45" y="119"/>
                  </a:cubicBezTo>
                  <a:cubicBezTo>
                    <a:pt x="45" y="119"/>
                    <a:pt x="46" y="119"/>
                    <a:pt x="46" y="119"/>
                  </a:cubicBezTo>
                  <a:cubicBezTo>
                    <a:pt x="47" y="119"/>
                    <a:pt x="47" y="119"/>
                    <a:pt x="47" y="119"/>
                  </a:cubicBezTo>
                  <a:cubicBezTo>
                    <a:pt x="48" y="119"/>
                    <a:pt x="49" y="118"/>
                    <a:pt x="50" y="118"/>
                  </a:cubicBezTo>
                  <a:cubicBezTo>
                    <a:pt x="52" y="117"/>
                    <a:pt x="54" y="117"/>
                    <a:pt x="56" y="117"/>
                  </a:cubicBezTo>
                  <a:cubicBezTo>
                    <a:pt x="56" y="117"/>
                    <a:pt x="57" y="117"/>
                    <a:pt x="57" y="117"/>
                  </a:cubicBezTo>
                  <a:cubicBezTo>
                    <a:pt x="60" y="117"/>
                    <a:pt x="62" y="118"/>
                    <a:pt x="65" y="118"/>
                  </a:cubicBezTo>
                  <a:cubicBezTo>
                    <a:pt x="70" y="120"/>
                    <a:pt x="71" y="121"/>
                    <a:pt x="74" y="124"/>
                  </a:cubicBezTo>
                  <a:cubicBezTo>
                    <a:pt x="75" y="125"/>
                    <a:pt x="76" y="126"/>
                    <a:pt x="77" y="127"/>
                  </a:cubicBezTo>
                  <a:cubicBezTo>
                    <a:pt x="78" y="128"/>
                    <a:pt x="78" y="128"/>
                    <a:pt x="78" y="128"/>
                  </a:cubicBezTo>
                  <a:cubicBezTo>
                    <a:pt x="78" y="129"/>
                    <a:pt x="79" y="130"/>
                    <a:pt x="79" y="131"/>
                  </a:cubicBezTo>
                  <a:cubicBezTo>
                    <a:pt x="83" y="136"/>
                    <a:pt x="85" y="139"/>
                    <a:pt x="86" y="139"/>
                  </a:cubicBezTo>
                  <a:cubicBezTo>
                    <a:pt x="87" y="139"/>
                    <a:pt x="87" y="139"/>
                    <a:pt x="87" y="139"/>
                  </a:cubicBezTo>
                  <a:cubicBezTo>
                    <a:pt x="87" y="139"/>
                    <a:pt x="87" y="139"/>
                    <a:pt x="87" y="139"/>
                  </a:cubicBezTo>
                  <a:cubicBezTo>
                    <a:pt x="88" y="139"/>
                    <a:pt x="91" y="139"/>
                    <a:pt x="92" y="139"/>
                  </a:cubicBezTo>
                  <a:cubicBezTo>
                    <a:pt x="93" y="138"/>
                    <a:pt x="93" y="138"/>
                    <a:pt x="93" y="138"/>
                  </a:cubicBezTo>
                  <a:cubicBezTo>
                    <a:pt x="94" y="138"/>
                    <a:pt x="94" y="138"/>
                    <a:pt x="95" y="138"/>
                  </a:cubicBezTo>
                  <a:cubicBezTo>
                    <a:pt x="97" y="138"/>
                    <a:pt x="100" y="138"/>
                    <a:pt x="102" y="137"/>
                  </a:cubicBezTo>
                  <a:cubicBezTo>
                    <a:pt x="105" y="137"/>
                    <a:pt x="105" y="137"/>
                    <a:pt x="105" y="137"/>
                  </a:cubicBezTo>
                  <a:cubicBezTo>
                    <a:pt x="106" y="137"/>
                    <a:pt x="108" y="137"/>
                    <a:pt x="109" y="136"/>
                  </a:cubicBezTo>
                  <a:cubicBezTo>
                    <a:pt x="110" y="136"/>
                    <a:pt x="110" y="136"/>
                    <a:pt x="110" y="136"/>
                  </a:cubicBezTo>
                  <a:cubicBezTo>
                    <a:pt x="114" y="136"/>
                    <a:pt x="117" y="135"/>
                    <a:pt x="121" y="135"/>
                  </a:cubicBezTo>
                  <a:cubicBezTo>
                    <a:pt x="122" y="135"/>
                    <a:pt x="123" y="135"/>
                    <a:pt x="123" y="135"/>
                  </a:cubicBezTo>
                  <a:cubicBezTo>
                    <a:pt x="131" y="136"/>
                    <a:pt x="134" y="139"/>
                    <a:pt x="134" y="142"/>
                  </a:cubicBezTo>
                  <a:cubicBezTo>
                    <a:pt x="134" y="144"/>
                    <a:pt x="134" y="147"/>
                    <a:pt x="133" y="149"/>
                  </a:cubicBezTo>
                  <a:cubicBezTo>
                    <a:pt x="132" y="151"/>
                    <a:pt x="131" y="153"/>
                    <a:pt x="130" y="154"/>
                  </a:cubicBezTo>
                  <a:cubicBezTo>
                    <a:pt x="129" y="154"/>
                    <a:pt x="129" y="154"/>
                    <a:pt x="129" y="154"/>
                  </a:cubicBezTo>
                  <a:cubicBezTo>
                    <a:pt x="129" y="155"/>
                    <a:pt x="129" y="155"/>
                    <a:pt x="129" y="155"/>
                  </a:cubicBezTo>
                  <a:cubicBezTo>
                    <a:pt x="128" y="156"/>
                    <a:pt x="128" y="156"/>
                    <a:pt x="128" y="157"/>
                  </a:cubicBezTo>
                  <a:cubicBezTo>
                    <a:pt x="127" y="157"/>
                    <a:pt x="127" y="157"/>
                    <a:pt x="127" y="157"/>
                  </a:cubicBezTo>
                  <a:cubicBezTo>
                    <a:pt x="126" y="159"/>
                    <a:pt x="125" y="160"/>
                    <a:pt x="125" y="161"/>
                  </a:cubicBezTo>
                  <a:cubicBezTo>
                    <a:pt x="125" y="163"/>
                    <a:pt x="125" y="163"/>
                    <a:pt x="125" y="163"/>
                  </a:cubicBezTo>
                  <a:cubicBezTo>
                    <a:pt x="125" y="166"/>
                    <a:pt x="125" y="168"/>
                    <a:pt x="124" y="170"/>
                  </a:cubicBezTo>
                  <a:cubicBezTo>
                    <a:pt x="124" y="171"/>
                    <a:pt x="124" y="171"/>
                    <a:pt x="124" y="171"/>
                  </a:cubicBezTo>
                  <a:cubicBezTo>
                    <a:pt x="124" y="172"/>
                    <a:pt x="124" y="174"/>
                    <a:pt x="124" y="176"/>
                  </a:cubicBezTo>
                  <a:cubicBezTo>
                    <a:pt x="124" y="176"/>
                    <a:pt x="124" y="177"/>
                    <a:pt x="124" y="177"/>
                  </a:cubicBezTo>
                  <a:cubicBezTo>
                    <a:pt x="124" y="179"/>
                    <a:pt x="124" y="179"/>
                    <a:pt x="124" y="179"/>
                  </a:cubicBezTo>
                  <a:cubicBezTo>
                    <a:pt x="125" y="179"/>
                    <a:pt x="125" y="180"/>
                    <a:pt x="125" y="180"/>
                  </a:cubicBezTo>
                  <a:cubicBezTo>
                    <a:pt x="125" y="183"/>
                    <a:pt x="126" y="186"/>
                    <a:pt x="127" y="189"/>
                  </a:cubicBezTo>
                  <a:cubicBezTo>
                    <a:pt x="128" y="190"/>
                    <a:pt x="128" y="191"/>
                    <a:pt x="129" y="192"/>
                  </a:cubicBezTo>
                  <a:cubicBezTo>
                    <a:pt x="129" y="193"/>
                    <a:pt x="130" y="195"/>
                    <a:pt x="130" y="195"/>
                  </a:cubicBezTo>
                  <a:cubicBezTo>
                    <a:pt x="130" y="196"/>
                    <a:pt x="130" y="196"/>
                    <a:pt x="130" y="196"/>
                  </a:cubicBezTo>
                  <a:cubicBezTo>
                    <a:pt x="130" y="196"/>
                    <a:pt x="130" y="196"/>
                    <a:pt x="130" y="196"/>
                  </a:cubicBezTo>
                  <a:cubicBezTo>
                    <a:pt x="133" y="198"/>
                    <a:pt x="134" y="199"/>
                    <a:pt x="135" y="201"/>
                  </a:cubicBezTo>
                  <a:cubicBezTo>
                    <a:pt x="135" y="201"/>
                    <a:pt x="135" y="201"/>
                    <a:pt x="135" y="201"/>
                  </a:cubicBezTo>
                  <a:cubicBezTo>
                    <a:pt x="136" y="202"/>
                    <a:pt x="137" y="203"/>
                    <a:pt x="137" y="204"/>
                  </a:cubicBezTo>
                  <a:cubicBezTo>
                    <a:pt x="137" y="205"/>
                    <a:pt x="137" y="205"/>
                    <a:pt x="137" y="206"/>
                  </a:cubicBezTo>
                  <a:cubicBezTo>
                    <a:pt x="136" y="207"/>
                    <a:pt x="136" y="207"/>
                    <a:pt x="136" y="207"/>
                  </a:cubicBezTo>
                  <a:cubicBezTo>
                    <a:pt x="135" y="209"/>
                    <a:pt x="134" y="211"/>
                    <a:pt x="132" y="212"/>
                  </a:cubicBezTo>
                  <a:cubicBezTo>
                    <a:pt x="132" y="212"/>
                    <a:pt x="132" y="212"/>
                    <a:pt x="132" y="212"/>
                  </a:cubicBezTo>
                  <a:cubicBezTo>
                    <a:pt x="131" y="213"/>
                    <a:pt x="131" y="213"/>
                    <a:pt x="131" y="213"/>
                  </a:cubicBezTo>
                  <a:cubicBezTo>
                    <a:pt x="131" y="213"/>
                    <a:pt x="131" y="213"/>
                    <a:pt x="130" y="214"/>
                  </a:cubicBezTo>
                  <a:cubicBezTo>
                    <a:pt x="130" y="214"/>
                    <a:pt x="130" y="214"/>
                    <a:pt x="130" y="214"/>
                  </a:cubicBezTo>
                  <a:cubicBezTo>
                    <a:pt x="129" y="215"/>
                    <a:pt x="128" y="216"/>
                    <a:pt x="127" y="217"/>
                  </a:cubicBezTo>
                  <a:cubicBezTo>
                    <a:pt x="127" y="217"/>
                    <a:pt x="127" y="217"/>
                    <a:pt x="127" y="217"/>
                  </a:cubicBezTo>
                  <a:cubicBezTo>
                    <a:pt x="128" y="217"/>
                    <a:pt x="128" y="217"/>
                    <a:pt x="129" y="217"/>
                  </a:cubicBezTo>
                  <a:cubicBezTo>
                    <a:pt x="129" y="218"/>
                    <a:pt x="130" y="218"/>
                    <a:pt x="130" y="218"/>
                  </a:cubicBezTo>
                  <a:cubicBezTo>
                    <a:pt x="131" y="219"/>
                    <a:pt x="131" y="219"/>
                    <a:pt x="131" y="219"/>
                  </a:cubicBezTo>
                  <a:cubicBezTo>
                    <a:pt x="132" y="220"/>
                    <a:pt x="133" y="221"/>
                    <a:pt x="134" y="222"/>
                  </a:cubicBezTo>
                  <a:cubicBezTo>
                    <a:pt x="135" y="224"/>
                    <a:pt x="136" y="225"/>
                    <a:pt x="137" y="227"/>
                  </a:cubicBezTo>
                  <a:cubicBezTo>
                    <a:pt x="139" y="232"/>
                    <a:pt x="142" y="238"/>
                    <a:pt x="144" y="245"/>
                  </a:cubicBezTo>
                  <a:cubicBezTo>
                    <a:pt x="144" y="246"/>
                    <a:pt x="144" y="247"/>
                    <a:pt x="145" y="248"/>
                  </a:cubicBezTo>
                  <a:cubicBezTo>
                    <a:pt x="145" y="249"/>
                    <a:pt x="145" y="250"/>
                    <a:pt x="146" y="251"/>
                  </a:cubicBezTo>
                  <a:cubicBezTo>
                    <a:pt x="146" y="252"/>
                    <a:pt x="146" y="252"/>
                    <a:pt x="146" y="252"/>
                  </a:cubicBezTo>
                  <a:cubicBezTo>
                    <a:pt x="146" y="252"/>
                    <a:pt x="146" y="253"/>
                    <a:pt x="146" y="253"/>
                  </a:cubicBezTo>
                  <a:cubicBezTo>
                    <a:pt x="147" y="253"/>
                    <a:pt x="147" y="253"/>
                    <a:pt x="147" y="253"/>
                  </a:cubicBezTo>
                  <a:cubicBezTo>
                    <a:pt x="147" y="254"/>
                    <a:pt x="148" y="255"/>
                    <a:pt x="148" y="255"/>
                  </a:cubicBezTo>
                  <a:cubicBezTo>
                    <a:pt x="149" y="255"/>
                    <a:pt x="149" y="255"/>
                    <a:pt x="149" y="255"/>
                  </a:cubicBezTo>
                  <a:cubicBezTo>
                    <a:pt x="150" y="256"/>
                    <a:pt x="150" y="256"/>
                    <a:pt x="150" y="256"/>
                  </a:cubicBezTo>
                  <a:cubicBezTo>
                    <a:pt x="151" y="257"/>
                    <a:pt x="151" y="257"/>
                    <a:pt x="151" y="257"/>
                  </a:cubicBezTo>
                  <a:cubicBezTo>
                    <a:pt x="152" y="258"/>
                    <a:pt x="154" y="259"/>
                    <a:pt x="155" y="261"/>
                  </a:cubicBezTo>
                  <a:cubicBezTo>
                    <a:pt x="157" y="262"/>
                    <a:pt x="159" y="263"/>
                    <a:pt x="161" y="263"/>
                  </a:cubicBezTo>
                  <a:cubicBezTo>
                    <a:pt x="161" y="263"/>
                    <a:pt x="161" y="263"/>
                    <a:pt x="161" y="263"/>
                  </a:cubicBezTo>
                  <a:cubicBezTo>
                    <a:pt x="162" y="263"/>
                    <a:pt x="164" y="262"/>
                    <a:pt x="165" y="262"/>
                  </a:cubicBezTo>
                  <a:cubicBezTo>
                    <a:pt x="166" y="261"/>
                    <a:pt x="166" y="261"/>
                    <a:pt x="166" y="261"/>
                  </a:cubicBezTo>
                  <a:cubicBezTo>
                    <a:pt x="169" y="260"/>
                    <a:pt x="172" y="259"/>
                    <a:pt x="174" y="259"/>
                  </a:cubicBezTo>
                  <a:cubicBezTo>
                    <a:pt x="175" y="259"/>
                    <a:pt x="175" y="259"/>
                    <a:pt x="175" y="259"/>
                  </a:cubicBezTo>
                  <a:cubicBezTo>
                    <a:pt x="176" y="259"/>
                    <a:pt x="177" y="260"/>
                    <a:pt x="178" y="260"/>
                  </a:cubicBezTo>
                  <a:cubicBezTo>
                    <a:pt x="178" y="261"/>
                    <a:pt x="178" y="261"/>
                    <a:pt x="178" y="261"/>
                  </a:cubicBezTo>
                  <a:cubicBezTo>
                    <a:pt x="179" y="260"/>
                    <a:pt x="180" y="259"/>
                    <a:pt x="181" y="258"/>
                  </a:cubicBezTo>
                  <a:cubicBezTo>
                    <a:pt x="184" y="254"/>
                    <a:pt x="186" y="254"/>
                    <a:pt x="190" y="252"/>
                  </a:cubicBezTo>
                  <a:cubicBezTo>
                    <a:pt x="191" y="252"/>
                    <a:pt x="191" y="252"/>
                    <a:pt x="191" y="252"/>
                  </a:cubicBezTo>
                  <a:cubicBezTo>
                    <a:pt x="193" y="252"/>
                    <a:pt x="195" y="250"/>
                    <a:pt x="197" y="249"/>
                  </a:cubicBezTo>
                  <a:cubicBezTo>
                    <a:pt x="198" y="249"/>
                    <a:pt x="198" y="249"/>
                    <a:pt x="198" y="249"/>
                  </a:cubicBezTo>
                  <a:cubicBezTo>
                    <a:pt x="199" y="248"/>
                    <a:pt x="200" y="247"/>
                    <a:pt x="201" y="247"/>
                  </a:cubicBezTo>
                  <a:cubicBezTo>
                    <a:pt x="204" y="245"/>
                    <a:pt x="204" y="245"/>
                    <a:pt x="204" y="245"/>
                  </a:cubicBezTo>
                  <a:cubicBezTo>
                    <a:pt x="205" y="244"/>
                    <a:pt x="206" y="242"/>
                    <a:pt x="207" y="241"/>
                  </a:cubicBezTo>
                  <a:cubicBezTo>
                    <a:pt x="207" y="240"/>
                    <a:pt x="207" y="240"/>
                    <a:pt x="207" y="240"/>
                  </a:cubicBezTo>
                  <a:cubicBezTo>
                    <a:pt x="207" y="240"/>
                    <a:pt x="207" y="240"/>
                    <a:pt x="207" y="240"/>
                  </a:cubicBezTo>
                  <a:cubicBezTo>
                    <a:pt x="207" y="238"/>
                    <a:pt x="208" y="237"/>
                    <a:pt x="210" y="235"/>
                  </a:cubicBezTo>
                  <a:cubicBezTo>
                    <a:pt x="212" y="234"/>
                    <a:pt x="215" y="233"/>
                    <a:pt x="217" y="232"/>
                  </a:cubicBezTo>
                  <a:cubicBezTo>
                    <a:pt x="220" y="231"/>
                    <a:pt x="220" y="231"/>
                    <a:pt x="220" y="231"/>
                  </a:cubicBezTo>
                  <a:cubicBezTo>
                    <a:pt x="220" y="231"/>
                    <a:pt x="220" y="231"/>
                    <a:pt x="220" y="231"/>
                  </a:cubicBezTo>
                  <a:cubicBezTo>
                    <a:pt x="220" y="231"/>
                    <a:pt x="220" y="231"/>
                    <a:pt x="220" y="231"/>
                  </a:cubicBezTo>
                  <a:cubicBezTo>
                    <a:pt x="211" y="230"/>
                    <a:pt x="208" y="229"/>
                    <a:pt x="207" y="227"/>
                  </a:cubicBezTo>
                  <a:cubicBezTo>
                    <a:pt x="207" y="225"/>
                    <a:pt x="207" y="224"/>
                    <a:pt x="207" y="222"/>
                  </a:cubicBezTo>
                  <a:cubicBezTo>
                    <a:pt x="208" y="221"/>
                    <a:pt x="208" y="220"/>
                    <a:pt x="208" y="219"/>
                  </a:cubicBezTo>
                  <a:cubicBezTo>
                    <a:pt x="208" y="217"/>
                    <a:pt x="207" y="215"/>
                    <a:pt x="206" y="213"/>
                  </a:cubicBezTo>
                  <a:cubicBezTo>
                    <a:pt x="205" y="211"/>
                    <a:pt x="203" y="208"/>
                    <a:pt x="203" y="205"/>
                  </a:cubicBezTo>
                  <a:cubicBezTo>
                    <a:pt x="203" y="204"/>
                    <a:pt x="203" y="203"/>
                    <a:pt x="203" y="202"/>
                  </a:cubicBezTo>
                  <a:cubicBezTo>
                    <a:pt x="204" y="202"/>
                    <a:pt x="204" y="202"/>
                    <a:pt x="204" y="202"/>
                  </a:cubicBezTo>
                  <a:cubicBezTo>
                    <a:pt x="203" y="201"/>
                    <a:pt x="203" y="201"/>
                    <a:pt x="203" y="201"/>
                  </a:cubicBezTo>
                  <a:cubicBezTo>
                    <a:pt x="202" y="200"/>
                    <a:pt x="201" y="199"/>
                    <a:pt x="200" y="199"/>
                  </a:cubicBezTo>
                  <a:cubicBezTo>
                    <a:pt x="199" y="198"/>
                    <a:pt x="198" y="197"/>
                    <a:pt x="198" y="197"/>
                  </a:cubicBezTo>
                  <a:cubicBezTo>
                    <a:pt x="196" y="195"/>
                    <a:pt x="195" y="194"/>
                    <a:pt x="194" y="192"/>
                  </a:cubicBezTo>
                  <a:cubicBezTo>
                    <a:pt x="193" y="191"/>
                    <a:pt x="193" y="190"/>
                    <a:pt x="192" y="189"/>
                  </a:cubicBezTo>
                  <a:cubicBezTo>
                    <a:pt x="192" y="189"/>
                    <a:pt x="191" y="189"/>
                    <a:pt x="191" y="189"/>
                  </a:cubicBezTo>
                  <a:cubicBezTo>
                    <a:pt x="185" y="186"/>
                    <a:pt x="185" y="186"/>
                    <a:pt x="185" y="186"/>
                  </a:cubicBezTo>
                  <a:cubicBezTo>
                    <a:pt x="191" y="183"/>
                    <a:pt x="191" y="183"/>
                    <a:pt x="191" y="183"/>
                  </a:cubicBezTo>
                  <a:cubicBezTo>
                    <a:pt x="192" y="183"/>
                    <a:pt x="193" y="183"/>
                    <a:pt x="194" y="183"/>
                  </a:cubicBezTo>
                  <a:cubicBezTo>
                    <a:pt x="195" y="183"/>
                    <a:pt x="195" y="183"/>
                    <a:pt x="195" y="183"/>
                  </a:cubicBezTo>
                  <a:cubicBezTo>
                    <a:pt x="200" y="183"/>
                    <a:pt x="204" y="185"/>
                    <a:pt x="207" y="187"/>
                  </a:cubicBezTo>
                  <a:cubicBezTo>
                    <a:pt x="208" y="188"/>
                    <a:pt x="208" y="188"/>
                    <a:pt x="208" y="188"/>
                  </a:cubicBezTo>
                  <a:cubicBezTo>
                    <a:pt x="209" y="188"/>
                    <a:pt x="210" y="189"/>
                    <a:pt x="211" y="190"/>
                  </a:cubicBezTo>
                  <a:cubicBezTo>
                    <a:pt x="211" y="190"/>
                    <a:pt x="211" y="190"/>
                    <a:pt x="211" y="190"/>
                  </a:cubicBezTo>
                  <a:cubicBezTo>
                    <a:pt x="212" y="190"/>
                    <a:pt x="212" y="190"/>
                    <a:pt x="212" y="190"/>
                  </a:cubicBezTo>
                  <a:cubicBezTo>
                    <a:pt x="212" y="190"/>
                    <a:pt x="213" y="190"/>
                    <a:pt x="213" y="190"/>
                  </a:cubicBezTo>
                  <a:cubicBezTo>
                    <a:pt x="214" y="190"/>
                    <a:pt x="214" y="190"/>
                    <a:pt x="214" y="190"/>
                  </a:cubicBezTo>
                  <a:cubicBezTo>
                    <a:pt x="215" y="189"/>
                    <a:pt x="216" y="189"/>
                    <a:pt x="218" y="189"/>
                  </a:cubicBezTo>
                  <a:cubicBezTo>
                    <a:pt x="219" y="189"/>
                    <a:pt x="220" y="189"/>
                    <a:pt x="222" y="190"/>
                  </a:cubicBezTo>
                  <a:cubicBezTo>
                    <a:pt x="222" y="189"/>
                    <a:pt x="223" y="189"/>
                    <a:pt x="224" y="189"/>
                  </a:cubicBezTo>
                  <a:cubicBezTo>
                    <a:pt x="224" y="189"/>
                    <a:pt x="225" y="189"/>
                    <a:pt x="225" y="189"/>
                  </a:cubicBezTo>
                  <a:cubicBezTo>
                    <a:pt x="227" y="189"/>
                    <a:pt x="229" y="190"/>
                    <a:pt x="231" y="191"/>
                  </a:cubicBezTo>
                  <a:cubicBezTo>
                    <a:pt x="232" y="192"/>
                    <a:pt x="232" y="193"/>
                    <a:pt x="233" y="194"/>
                  </a:cubicBezTo>
                  <a:cubicBezTo>
                    <a:pt x="233" y="195"/>
                    <a:pt x="233" y="195"/>
                    <a:pt x="233" y="195"/>
                  </a:cubicBezTo>
                  <a:cubicBezTo>
                    <a:pt x="234" y="195"/>
                    <a:pt x="235" y="196"/>
                    <a:pt x="236" y="197"/>
                  </a:cubicBezTo>
                  <a:cubicBezTo>
                    <a:pt x="236" y="197"/>
                    <a:pt x="236" y="196"/>
                    <a:pt x="236" y="196"/>
                  </a:cubicBezTo>
                  <a:cubicBezTo>
                    <a:pt x="237" y="194"/>
                    <a:pt x="237" y="194"/>
                    <a:pt x="237" y="194"/>
                  </a:cubicBezTo>
                  <a:cubicBezTo>
                    <a:pt x="237" y="194"/>
                    <a:pt x="237" y="194"/>
                    <a:pt x="237" y="194"/>
                  </a:cubicBezTo>
                  <a:cubicBezTo>
                    <a:pt x="236" y="192"/>
                    <a:pt x="236" y="192"/>
                    <a:pt x="236" y="192"/>
                  </a:cubicBezTo>
                  <a:cubicBezTo>
                    <a:pt x="236" y="192"/>
                    <a:pt x="237" y="191"/>
                    <a:pt x="237" y="191"/>
                  </a:cubicBezTo>
                  <a:cubicBezTo>
                    <a:pt x="238" y="187"/>
                    <a:pt x="240" y="187"/>
                    <a:pt x="243" y="186"/>
                  </a:cubicBezTo>
                  <a:cubicBezTo>
                    <a:pt x="243" y="186"/>
                    <a:pt x="243" y="186"/>
                    <a:pt x="243" y="186"/>
                  </a:cubicBezTo>
                  <a:cubicBezTo>
                    <a:pt x="243" y="186"/>
                    <a:pt x="244" y="186"/>
                    <a:pt x="244" y="186"/>
                  </a:cubicBezTo>
                  <a:cubicBezTo>
                    <a:pt x="250" y="184"/>
                    <a:pt x="257" y="183"/>
                    <a:pt x="262" y="182"/>
                  </a:cubicBezTo>
                  <a:cubicBezTo>
                    <a:pt x="265" y="182"/>
                    <a:pt x="265" y="182"/>
                    <a:pt x="265" y="182"/>
                  </a:cubicBezTo>
                  <a:cubicBezTo>
                    <a:pt x="266" y="182"/>
                    <a:pt x="268" y="181"/>
                    <a:pt x="269" y="180"/>
                  </a:cubicBezTo>
                  <a:cubicBezTo>
                    <a:pt x="270" y="179"/>
                    <a:pt x="270" y="179"/>
                    <a:pt x="271" y="178"/>
                  </a:cubicBezTo>
                  <a:cubicBezTo>
                    <a:pt x="272" y="177"/>
                    <a:pt x="273" y="177"/>
                    <a:pt x="275" y="176"/>
                  </a:cubicBezTo>
                  <a:cubicBezTo>
                    <a:pt x="275" y="176"/>
                    <a:pt x="276" y="176"/>
                    <a:pt x="276" y="176"/>
                  </a:cubicBezTo>
                  <a:cubicBezTo>
                    <a:pt x="276" y="176"/>
                    <a:pt x="277" y="176"/>
                    <a:pt x="278" y="176"/>
                  </a:cubicBezTo>
                  <a:cubicBezTo>
                    <a:pt x="278" y="176"/>
                    <a:pt x="279" y="176"/>
                    <a:pt x="279" y="176"/>
                  </a:cubicBezTo>
                  <a:cubicBezTo>
                    <a:pt x="279" y="176"/>
                    <a:pt x="279" y="175"/>
                    <a:pt x="280" y="175"/>
                  </a:cubicBezTo>
                  <a:cubicBezTo>
                    <a:pt x="280" y="174"/>
                    <a:pt x="280" y="174"/>
                    <a:pt x="280" y="174"/>
                  </a:cubicBezTo>
                  <a:cubicBezTo>
                    <a:pt x="280" y="174"/>
                    <a:pt x="280" y="174"/>
                    <a:pt x="280" y="174"/>
                  </a:cubicBezTo>
                  <a:cubicBezTo>
                    <a:pt x="282" y="173"/>
                    <a:pt x="284" y="172"/>
                    <a:pt x="285" y="170"/>
                  </a:cubicBezTo>
                  <a:cubicBezTo>
                    <a:pt x="281" y="167"/>
                    <a:pt x="281" y="167"/>
                    <a:pt x="281" y="167"/>
                  </a:cubicBezTo>
                  <a:cubicBezTo>
                    <a:pt x="286" y="169"/>
                    <a:pt x="286" y="169"/>
                    <a:pt x="286" y="169"/>
                  </a:cubicBezTo>
                  <a:cubicBezTo>
                    <a:pt x="286" y="169"/>
                    <a:pt x="286" y="169"/>
                    <a:pt x="286" y="169"/>
                  </a:cubicBezTo>
                  <a:cubicBezTo>
                    <a:pt x="287" y="168"/>
                    <a:pt x="287" y="168"/>
                    <a:pt x="287" y="168"/>
                  </a:cubicBezTo>
                  <a:cubicBezTo>
                    <a:pt x="287" y="168"/>
                    <a:pt x="287" y="168"/>
                    <a:pt x="287" y="168"/>
                  </a:cubicBezTo>
                  <a:cubicBezTo>
                    <a:pt x="286" y="167"/>
                    <a:pt x="286" y="167"/>
                    <a:pt x="286" y="167"/>
                  </a:cubicBezTo>
                  <a:cubicBezTo>
                    <a:pt x="286" y="166"/>
                    <a:pt x="286" y="166"/>
                    <a:pt x="286" y="166"/>
                  </a:cubicBezTo>
                  <a:cubicBezTo>
                    <a:pt x="286" y="166"/>
                    <a:pt x="286" y="166"/>
                    <a:pt x="286" y="166"/>
                  </a:cubicBezTo>
                  <a:cubicBezTo>
                    <a:pt x="285" y="165"/>
                    <a:pt x="285" y="165"/>
                    <a:pt x="285" y="165"/>
                  </a:cubicBezTo>
                  <a:cubicBezTo>
                    <a:pt x="284" y="164"/>
                    <a:pt x="282" y="162"/>
                    <a:pt x="281" y="161"/>
                  </a:cubicBezTo>
                  <a:cubicBezTo>
                    <a:pt x="281" y="161"/>
                    <a:pt x="281" y="161"/>
                    <a:pt x="281" y="161"/>
                  </a:cubicBezTo>
                  <a:cubicBezTo>
                    <a:pt x="280" y="160"/>
                    <a:pt x="280" y="160"/>
                    <a:pt x="280" y="159"/>
                  </a:cubicBezTo>
                  <a:cubicBezTo>
                    <a:pt x="270" y="149"/>
                    <a:pt x="270" y="149"/>
                    <a:pt x="270" y="149"/>
                  </a:cubicBezTo>
                  <a:cubicBezTo>
                    <a:pt x="269" y="148"/>
                    <a:pt x="269" y="146"/>
                    <a:pt x="270" y="144"/>
                  </a:cubicBezTo>
                  <a:cubicBezTo>
                    <a:pt x="270" y="144"/>
                    <a:pt x="270" y="144"/>
                    <a:pt x="270" y="144"/>
                  </a:cubicBezTo>
                  <a:cubicBezTo>
                    <a:pt x="271" y="143"/>
                    <a:pt x="272" y="142"/>
                    <a:pt x="273" y="141"/>
                  </a:cubicBezTo>
                  <a:cubicBezTo>
                    <a:pt x="274" y="141"/>
                    <a:pt x="275" y="140"/>
                    <a:pt x="275" y="139"/>
                  </a:cubicBezTo>
                  <a:cubicBezTo>
                    <a:pt x="275" y="139"/>
                    <a:pt x="275" y="139"/>
                    <a:pt x="275" y="139"/>
                  </a:cubicBezTo>
                  <a:cubicBezTo>
                    <a:pt x="275" y="138"/>
                    <a:pt x="275" y="138"/>
                    <a:pt x="275" y="138"/>
                  </a:cubicBezTo>
                  <a:cubicBezTo>
                    <a:pt x="275" y="137"/>
                    <a:pt x="274" y="136"/>
                    <a:pt x="274" y="135"/>
                  </a:cubicBezTo>
                  <a:cubicBezTo>
                    <a:pt x="274" y="134"/>
                    <a:pt x="274" y="134"/>
                    <a:pt x="274" y="134"/>
                  </a:cubicBezTo>
                  <a:cubicBezTo>
                    <a:pt x="274" y="133"/>
                    <a:pt x="274" y="133"/>
                    <a:pt x="274" y="133"/>
                  </a:cubicBezTo>
                  <a:cubicBezTo>
                    <a:pt x="274" y="131"/>
                    <a:pt x="274" y="128"/>
                    <a:pt x="276" y="126"/>
                  </a:cubicBezTo>
                  <a:cubicBezTo>
                    <a:pt x="277" y="125"/>
                    <a:pt x="277" y="125"/>
                    <a:pt x="277" y="125"/>
                  </a:cubicBezTo>
                  <a:cubicBezTo>
                    <a:pt x="279" y="125"/>
                    <a:pt x="279" y="125"/>
                    <a:pt x="279" y="125"/>
                  </a:cubicBezTo>
                  <a:cubicBezTo>
                    <a:pt x="279" y="125"/>
                    <a:pt x="279" y="125"/>
                    <a:pt x="279" y="125"/>
                  </a:cubicBezTo>
                  <a:cubicBezTo>
                    <a:pt x="279" y="125"/>
                    <a:pt x="279" y="125"/>
                    <a:pt x="279" y="125"/>
                  </a:cubicBezTo>
                  <a:cubicBezTo>
                    <a:pt x="281" y="124"/>
                    <a:pt x="282" y="124"/>
                    <a:pt x="283" y="123"/>
                  </a:cubicBezTo>
                  <a:cubicBezTo>
                    <a:pt x="283" y="123"/>
                    <a:pt x="284" y="123"/>
                    <a:pt x="284" y="123"/>
                  </a:cubicBezTo>
                  <a:cubicBezTo>
                    <a:pt x="284" y="123"/>
                    <a:pt x="285" y="124"/>
                    <a:pt x="285" y="124"/>
                  </a:cubicBezTo>
                  <a:cubicBezTo>
                    <a:pt x="286" y="124"/>
                    <a:pt x="286" y="124"/>
                    <a:pt x="286" y="124"/>
                  </a:cubicBezTo>
                  <a:cubicBezTo>
                    <a:pt x="286" y="124"/>
                    <a:pt x="286" y="124"/>
                    <a:pt x="286" y="124"/>
                  </a:cubicBezTo>
                  <a:cubicBezTo>
                    <a:pt x="286" y="124"/>
                    <a:pt x="286" y="124"/>
                    <a:pt x="286" y="124"/>
                  </a:cubicBezTo>
                  <a:cubicBezTo>
                    <a:pt x="288" y="123"/>
                    <a:pt x="288" y="123"/>
                    <a:pt x="289" y="123"/>
                  </a:cubicBezTo>
                  <a:cubicBezTo>
                    <a:pt x="291" y="122"/>
                    <a:pt x="291" y="122"/>
                    <a:pt x="291" y="122"/>
                  </a:cubicBezTo>
                  <a:cubicBezTo>
                    <a:pt x="292" y="122"/>
                    <a:pt x="293" y="121"/>
                    <a:pt x="293" y="121"/>
                  </a:cubicBezTo>
                  <a:cubicBezTo>
                    <a:pt x="293" y="121"/>
                    <a:pt x="293" y="121"/>
                    <a:pt x="293" y="121"/>
                  </a:cubicBezTo>
                  <a:cubicBezTo>
                    <a:pt x="293" y="120"/>
                    <a:pt x="293" y="120"/>
                    <a:pt x="293" y="120"/>
                  </a:cubicBezTo>
                  <a:cubicBezTo>
                    <a:pt x="293" y="120"/>
                    <a:pt x="293" y="120"/>
                    <a:pt x="293" y="120"/>
                  </a:cubicBezTo>
                  <a:cubicBezTo>
                    <a:pt x="293" y="120"/>
                    <a:pt x="293" y="120"/>
                    <a:pt x="293" y="120"/>
                  </a:cubicBezTo>
                  <a:cubicBezTo>
                    <a:pt x="291" y="120"/>
                    <a:pt x="291" y="120"/>
                    <a:pt x="290" y="120"/>
                  </a:cubicBezTo>
                  <a:cubicBezTo>
                    <a:pt x="289" y="120"/>
                    <a:pt x="289" y="120"/>
                    <a:pt x="289" y="120"/>
                  </a:cubicBezTo>
                  <a:cubicBezTo>
                    <a:pt x="288" y="119"/>
                    <a:pt x="288" y="119"/>
                    <a:pt x="288" y="119"/>
                  </a:cubicBezTo>
                  <a:cubicBezTo>
                    <a:pt x="288" y="119"/>
                    <a:pt x="287" y="118"/>
                    <a:pt x="287" y="117"/>
                  </a:cubicBezTo>
                  <a:cubicBezTo>
                    <a:pt x="286" y="116"/>
                    <a:pt x="286" y="116"/>
                    <a:pt x="286" y="116"/>
                  </a:cubicBezTo>
                  <a:cubicBezTo>
                    <a:pt x="286" y="116"/>
                    <a:pt x="286" y="116"/>
                    <a:pt x="286" y="116"/>
                  </a:cubicBezTo>
                  <a:cubicBezTo>
                    <a:pt x="286" y="115"/>
                    <a:pt x="286" y="113"/>
                    <a:pt x="285" y="112"/>
                  </a:cubicBezTo>
                  <a:cubicBezTo>
                    <a:pt x="285" y="112"/>
                    <a:pt x="285" y="112"/>
                    <a:pt x="285" y="112"/>
                  </a:cubicBezTo>
                  <a:cubicBezTo>
                    <a:pt x="285" y="111"/>
                    <a:pt x="285" y="111"/>
                    <a:pt x="285" y="111"/>
                  </a:cubicBezTo>
                  <a:cubicBezTo>
                    <a:pt x="285" y="109"/>
                    <a:pt x="285" y="107"/>
                    <a:pt x="287" y="106"/>
                  </a:cubicBezTo>
                  <a:cubicBezTo>
                    <a:pt x="287" y="105"/>
                    <a:pt x="287" y="105"/>
                    <a:pt x="288" y="105"/>
                  </a:cubicBezTo>
                  <a:cubicBezTo>
                    <a:pt x="288" y="103"/>
                    <a:pt x="289" y="102"/>
                    <a:pt x="291" y="100"/>
                  </a:cubicBezTo>
                  <a:cubicBezTo>
                    <a:pt x="292" y="100"/>
                    <a:pt x="292" y="100"/>
                    <a:pt x="292" y="100"/>
                  </a:cubicBezTo>
                  <a:cubicBezTo>
                    <a:pt x="295" y="99"/>
                    <a:pt x="297" y="97"/>
                    <a:pt x="300" y="95"/>
                  </a:cubicBezTo>
                  <a:cubicBezTo>
                    <a:pt x="300" y="95"/>
                    <a:pt x="301" y="94"/>
                    <a:pt x="302" y="94"/>
                  </a:cubicBezTo>
                  <a:cubicBezTo>
                    <a:pt x="303" y="93"/>
                    <a:pt x="304" y="92"/>
                    <a:pt x="305" y="91"/>
                  </a:cubicBezTo>
                  <a:cubicBezTo>
                    <a:pt x="304" y="91"/>
                    <a:pt x="303" y="89"/>
                    <a:pt x="302" y="87"/>
                  </a:cubicBezTo>
                  <a:cubicBezTo>
                    <a:pt x="301" y="86"/>
                    <a:pt x="301" y="86"/>
                    <a:pt x="301" y="86"/>
                  </a:cubicBezTo>
                  <a:cubicBezTo>
                    <a:pt x="301" y="85"/>
                    <a:pt x="301" y="85"/>
                    <a:pt x="301" y="85"/>
                  </a:cubicBezTo>
                  <a:cubicBezTo>
                    <a:pt x="300" y="84"/>
                    <a:pt x="300" y="84"/>
                    <a:pt x="300" y="84"/>
                  </a:cubicBezTo>
                  <a:cubicBezTo>
                    <a:pt x="300" y="84"/>
                    <a:pt x="300" y="84"/>
                    <a:pt x="300" y="84"/>
                  </a:cubicBezTo>
                  <a:cubicBezTo>
                    <a:pt x="299" y="84"/>
                    <a:pt x="298" y="84"/>
                    <a:pt x="296" y="83"/>
                  </a:cubicBezTo>
                  <a:cubicBezTo>
                    <a:pt x="296" y="83"/>
                    <a:pt x="296" y="83"/>
                    <a:pt x="296" y="83"/>
                  </a:cubicBezTo>
                  <a:cubicBezTo>
                    <a:pt x="291" y="83"/>
                    <a:pt x="284" y="86"/>
                    <a:pt x="280" y="88"/>
                  </a:cubicBezTo>
                  <a:cubicBezTo>
                    <a:pt x="280" y="87"/>
                    <a:pt x="280" y="87"/>
                    <a:pt x="280" y="87"/>
                  </a:cubicBezTo>
                  <a:cubicBezTo>
                    <a:pt x="278" y="87"/>
                    <a:pt x="276" y="89"/>
                    <a:pt x="274" y="89"/>
                  </a:cubicBezTo>
                  <a:cubicBezTo>
                    <a:pt x="274" y="89"/>
                    <a:pt x="274" y="89"/>
                    <a:pt x="274" y="89"/>
                  </a:cubicBezTo>
                  <a:cubicBezTo>
                    <a:pt x="271" y="88"/>
                    <a:pt x="268" y="86"/>
                    <a:pt x="266" y="85"/>
                  </a:cubicBezTo>
                  <a:cubicBezTo>
                    <a:pt x="265" y="84"/>
                    <a:pt x="266" y="84"/>
                    <a:pt x="267" y="84"/>
                  </a:cubicBezTo>
                  <a:cubicBezTo>
                    <a:pt x="267" y="84"/>
                    <a:pt x="269" y="84"/>
                    <a:pt x="269" y="84"/>
                  </a:cubicBezTo>
                  <a:cubicBezTo>
                    <a:pt x="269" y="84"/>
                    <a:pt x="269" y="84"/>
                    <a:pt x="269" y="84"/>
                  </a:cubicBezTo>
                  <a:cubicBezTo>
                    <a:pt x="270" y="84"/>
                    <a:pt x="270" y="84"/>
                    <a:pt x="270" y="84"/>
                  </a:cubicBezTo>
                  <a:cubicBezTo>
                    <a:pt x="270" y="84"/>
                    <a:pt x="271" y="84"/>
                    <a:pt x="271" y="84"/>
                  </a:cubicBezTo>
                  <a:cubicBezTo>
                    <a:pt x="271" y="84"/>
                    <a:pt x="271" y="84"/>
                    <a:pt x="271" y="84"/>
                  </a:cubicBezTo>
                  <a:cubicBezTo>
                    <a:pt x="272" y="84"/>
                    <a:pt x="273" y="85"/>
                    <a:pt x="274" y="85"/>
                  </a:cubicBezTo>
                  <a:cubicBezTo>
                    <a:pt x="274" y="85"/>
                    <a:pt x="274" y="85"/>
                    <a:pt x="274" y="85"/>
                  </a:cubicBezTo>
                  <a:cubicBezTo>
                    <a:pt x="277" y="84"/>
                    <a:pt x="279" y="75"/>
                    <a:pt x="280" y="72"/>
                  </a:cubicBezTo>
                  <a:cubicBezTo>
                    <a:pt x="279" y="73"/>
                    <a:pt x="279" y="73"/>
                    <a:pt x="278" y="74"/>
                  </a:cubicBezTo>
                  <a:cubicBezTo>
                    <a:pt x="279" y="71"/>
                    <a:pt x="284" y="69"/>
                    <a:pt x="286" y="67"/>
                  </a:cubicBezTo>
                  <a:cubicBezTo>
                    <a:pt x="281" y="63"/>
                    <a:pt x="275" y="60"/>
                    <a:pt x="270" y="56"/>
                  </a:cubicBezTo>
                  <a:cubicBezTo>
                    <a:pt x="269" y="55"/>
                    <a:pt x="268" y="55"/>
                    <a:pt x="267" y="54"/>
                  </a:cubicBezTo>
                  <a:cubicBezTo>
                    <a:pt x="269" y="58"/>
                    <a:pt x="263" y="57"/>
                    <a:pt x="264" y="61"/>
                  </a:cubicBezTo>
                  <a:cubicBezTo>
                    <a:pt x="260" y="56"/>
                    <a:pt x="259" y="53"/>
                    <a:pt x="253" y="51"/>
                  </a:cubicBezTo>
                  <a:cubicBezTo>
                    <a:pt x="254" y="52"/>
                    <a:pt x="255" y="53"/>
                    <a:pt x="255" y="54"/>
                  </a:cubicBezTo>
                  <a:cubicBezTo>
                    <a:pt x="255" y="53"/>
                    <a:pt x="254" y="53"/>
                    <a:pt x="253" y="53"/>
                  </a:cubicBezTo>
                  <a:cubicBezTo>
                    <a:pt x="253" y="55"/>
                    <a:pt x="254" y="57"/>
                    <a:pt x="254" y="59"/>
                  </a:cubicBezTo>
                  <a:cubicBezTo>
                    <a:pt x="253" y="56"/>
                    <a:pt x="254" y="55"/>
                    <a:pt x="252" y="52"/>
                  </a:cubicBezTo>
                  <a:cubicBezTo>
                    <a:pt x="251" y="54"/>
                    <a:pt x="251" y="56"/>
                    <a:pt x="250" y="58"/>
                  </a:cubicBezTo>
                  <a:cubicBezTo>
                    <a:pt x="249" y="55"/>
                    <a:pt x="248" y="52"/>
                    <a:pt x="246" y="49"/>
                  </a:cubicBezTo>
                  <a:cubicBezTo>
                    <a:pt x="246" y="48"/>
                    <a:pt x="246" y="47"/>
                    <a:pt x="245" y="47"/>
                  </a:cubicBezTo>
                  <a:cubicBezTo>
                    <a:pt x="245" y="47"/>
                    <a:pt x="244" y="47"/>
                    <a:pt x="244" y="48"/>
                  </a:cubicBezTo>
                  <a:cubicBezTo>
                    <a:pt x="242" y="50"/>
                    <a:pt x="241" y="51"/>
                    <a:pt x="240" y="51"/>
                  </a:cubicBezTo>
                  <a:cubicBezTo>
                    <a:pt x="238" y="51"/>
                    <a:pt x="237" y="50"/>
                    <a:pt x="234" y="49"/>
                  </a:cubicBezTo>
                  <a:cubicBezTo>
                    <a:pt x="234" y="49"/>
                    <a:pt x="235" y="49"/>
                    <a:pt x="235" y="49"/>
                  </a:cubicBezTo>
                  <a:cubicBezTo>
                    <a:pt x="236" y="49"/>
                    <a:pt x="237" y="50"/>
                    <a:pt x="238" y="50"/>
                  </a:cubicBezTo>
                  <a:cubicBezTo>
                    <a:pt x="239" y="50"/>
                    <a:pt x="239" y="50"/>
                    <a:pt x="239" y="50"/>
                  </a:cubicBezTo>
                  <a:cubicBezTo>
                    <a:pt x="239" y="50"/>
                    <a:pt x="239" y="50"/>
                    <a:pt x="239" y="50"/>
                  </a:cubicBezTo>
                  <a:cubicBezTo>
                    <a:pt x="239" y="50"/>
                    <a:pt x="239" y="49"/>
                    <a:pt x="240" y="49"/>
                  </a:cubicBezTo>
                  <a:cubicBezTo>
                    <a:pt x="240" y="49"/>
                    <a:pt x="240" y="49"/>
                    <a:pt x="240" y="49"/>
                  </a:cubicBezTo>
                  <a:cubicBezTo>
                    <a:pt x="240" y="49"/>
                    <a:pt x="240" y="49"/>
                    <a:pt x="241" y="50"/>
                  </a:cubicBezTo>
                  <a:cubicBezTo>
                    <a:pt x="241" y="50"/>
                    <a:pt x="241" y="50"/>
                    <a:pt x="241" y="50"/>
                  </a:cubicBezTo>
                  <a:cubicBezTo>
                    <a:pt x="242" y="50"/>
                    <a:pt x="242" y="50"/>
                    <a:pt x="242" y="49"/>
                  </a:cubicBezTo>
                  <a:cubicBezTo>
                    <a:pt x="245" y="47"/>
                    <a:pt x="240" y="43"/>
                    <a:pt x="237" y="43"/>
                  </a:cubicBezTo>
                  <a:cubicBezTo>
                    <a:pt x="236" y="43"/>
                    <a:pt x="236" y="43"/>
                    <a:pt x="236" y="43"/>
                  </a:cubicBezTo>
                  <a:cubicBezTo>
                    <a:pt x="237" y="43"/>
                    <a:pt x="237" y="42"/>
                    <a:pt x="238" y="42"/>
                  </a:cubicBezTo>
                  <a:cubicBezTo>
                    <a:pt x="237" y="41"/>
                    <a:pt x="236" y="41"/>
                    <a:pt x="235" y="40"/>
                  </a:cubicBezTo>
                  <a:cubicBezTo>
                    <a:pt x="236" y="39"/>
                    <a:pt x="237" y="39"/>
                    <a:pt x="239" y="39"/>
                  </a:cubicBezTo>
                  <a:cubicBezTo>
                    <a:pt x="240" y="39"/>
                    <a:pt x="241" y="39"/>
                    <a:pt x="242" y="39"/>
                  </a:cubicBezTo>
                  <a:cubicBezTo>
                    <a:pt x="243" y="39"/>
                    <a:pt x="244" y="39"/>
                    <a:pt x="245" y="39"/>
                  </a:cubicBezTo>
                  <a:cubicBezTo>
                    <a:pt x="246" y="39"/>
                    <a:pt x="247" y="39"/>
                    <a:pt x="247" y="39"/>
                  </a:cubicBezTo>
                  <a:cubicBezTo>
                    <a:pt x="252" y="37"/>
                    <a:pt x="256" y="36"/>
                    <a:pt x="260" y="35"/>
                  </a:cubicBezTo>
                  <a:cubicBezTo>
                    <a:pt x="250" y="35"/>
                    <a:pt x="241" y="35"/>
                    <a:pt x="231" y="35"/>
                  </a:cubicBezTo>
                  <a:cubicBezTo>
                    <a:pt x="228" y="35"/>
                    <a:pt x="224" y="37"/>
                    <a:pt x="220" y="37"/>
                  </a:cubicBezTo>
                  <a:cubicBezTo>
                    <a:pt x="218" y="37"/>
                    <a:pt x="216" y="36"/>
                    <a:pt x="215" y="35"/>
                  </a:cubicBezTo>
                  <a:cubicBezTo>
                    <a:pt x="215" y="37"/>
                    <a:pt x="213" y="37"/>
                    <a:pt x="211" y="37"/>
                  </a:cubicBezTo>
                  <a:cubicBezTo>
                    <a:pt x="210" y="37"/>
                    <a:pt x="209" y="37"/>
                    <a:pt x="209" y="37"/>
                  </a:cubicBezTo>
                  <a:cubicBezTo>
                    <a:pt x="208" y="37"/>
                    <a:pt x="205" y="36"/>
                    <a:pt x="205" y="36"/>
                  </a:cubicBezTo>
                  <a:cubicBezTo>
                    <a:pt x="203" y="37"/>
                    <a:pt x="206" y="39"/>
                    <a:pt x="207" y="39"/>
                  </a:cubicBezTo>
                  <a:cubicBezTo>
                    <a:pt x="208" y="40"/>
                    <a:pt x="209" y="40"/>
                    <a:pt x="210" y="40"/>
                  </a:cubicBezTo>
                  <a:cubicBezTo>
                    <a:pt x="211" y="40"/>
                    <a:pt x="212" y="40"/>
                    <a:pt x="212" y="40"/>
                  </a:cubicBezTo>
                  <a:cubicBezTo>
                    <a:pt x="213" y="39"/>
                    <a:pt x="214" y="39"/>
                    <a:pt x="214" y="39"/>
                  </a:cubicBezTo>
                  <a:cubicBezTo>
                    <a:pt x="216" y="39"/>
                    <a:pt x="217" y="40"/>
                    <a:pt x="218" y="40"/>
                  </a:cubicBezTo>
                  <a:cubicBezTo>
                    <a:pt x="211" y="41"/>
                    <a:pt x="206" y="43"/>
                    <a:pt x="199" y="45"/>
                  </a:cubicBezTo>
                  <a:cubicBezTo>
                    <a:pt x="196" y="46"/>
                    <a:pt x="193" y="48"/>
                    <a:pt x="191" y="49"/>
                  </a:cubicBezTo>
                  <a:cubicBezTo>
                    <a:pt x="190" y="50"/>
                    <a:pt x="190" y="50"/>
                    <a:pt x="189" y="50"/>
                  </a:cubicBezTo>
                  <a:cubicBezTo>
                    <a:pt x="187" y="50"/>
                    <a:pt x="183" y="49"/>
                    <a:pt x="182" y="49"/>
                  </a:cubicBezTo>
                  <a:cubicBezTo>
                    <a:pt x="178" y="48"/>
                    <a:pt x="173" y="48"/>
                    <a:pt x="169" y="46"/>
                  </a:cubicBezTo>
                  <a:cubicBezTo>
                    <a:pt x="166" y="45"/>
                    <a:pt x="163" y="41"/>
                    <a:pt x="164" y="38"/>
                  </a:cubicBezTo>
                  <a:cubicBezTo>
                    <a:pt x="161" y="37"/>
                    <a:pt x="159" y="37"/>
                    <a:pt x="156" y="37"/>
                  </a:cubicBezTo>
                  <a:cubicBezTo>
                    <a:pt x="154" y="37"/>
                    <a:pt x="152" y="37"/>
                    <a:pt x="149" y="37"/>
                  </a:cubicBezTo>
                  <a:cubicBezTo>
                    <a:pt x="149" y="38"/>
                    <a:pt x="150" y="39"/>
                    <a:pt x="150" y="40"/>
                  </a:cubicBezTo>
                  <a:cubicBezTo>
                    <a:pt x="150" y="43"/>
                    <a:pt x="147" y="46"/>
                    <a:pt x="143" y="46"/>
                  </a:cubicBezTo>
                  <a:cubicBezTo>
                    <a:pt x="140" y="46"/>
                    <a:pt x="137" y="43"/>
                    <a:pt x="137" y="40"/>
                  </a:cubicBezTo>
                  <a:cubicBezTo>
                    <a:pt x="137" y="39"/>
                    <a:pt x="137" y="39"/>
                    <a:pt x="137" y="38"/>
                  </a:cubicBezTo>
                  <a:cubicBezTo>
                    <a:pt x="134" y="39"/>
                    <a:pt x="131" y="39"/>
                    <a:pt x="127" y="39"/>
                  </a:cubicBezTo>
                  <a:cubicBezTo>
                    <a:pt x="125" y="40"/>
                    <a:pt x="124" y="40"/>
                    <a:pt x="122" y="40"/>
                  </a:cubicBezTo>
                  <a:cubicBezTo>
                    <a:pt x="121" y="40"/>
                    <a:pt x="120" y="40"/>
                    <a:pt x="118" y="39"/>
                  </a:cubicBezTo>
                  <a:cubicBezTo>
                    <a:pt x="114" y="38"/>
                    <a:pt x="112" y="39"/>
                    <a:pt x="112" y="34"/>
                  </a:cubicBezTo>
                  <a:cubicBezTo>
                    <a:pt x="111" y="32"/>
                    <a:pt x="111" y="27"/>
                    <a:pt x="109" y="25"/>
                  </a:cubicBezTo>
                  <a:cubicBezTo>
                    <a:pt x="107" y="24"/>
                    <a:pt x="104" y="20"/>
                    <a:pt x="101" y="20"/>
                  </a:cubicBezTo>
                  <a:cubicBezTo>
                    <a:pt x="97" y="19"/>
                    <a:pt x="93" y="18"/>
                    <a:pt x="89" y="17"/>
                  </a:cubicBezTo>
                  <a:cubicBezTo>
                    <a:pt x="86" y="17"/>
                    <a:pt x="83" y="17"/>
                    <a:pt x="81" y="16"/>
                  </a:cubicBezTo>
                  <a:cubicBezTo>
                    <a:pt x="79" y="15"/>
                    <a:pt x="78" y="15"/>
                    <a:pt x="77" y="12"/>
                  </a:cubicBezTo>
                  <a:cubicBezTo>
                    <a:pt x="77" y="10"/>
                    <a:pt x="76" y="8"/>
                    <a:pt x="76" y="6"/>
                  </a:cubicBezTo>
                  <a:cubicBezTo>
                    <a:pt x="75" y="3"/>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253"/>
            <p:cNvSpPr/>
            <p:nvPr/>
          </p:nvSpPr>
          <p:spPr bwMode="auto">
            <a:xfrm>
              <a:off x="9073327" y="1358607"/>
              <a:ext cx="333296" cy="543725"/>
            </a:xfrm>
            <a:custGeom>
              <a:gdLst>
                <a:gd name="T0" fmla="*/ 29 w 100"/>
                <a:gd name="T1" fmla="*/ 7 h 163"/>
                <a:gd name="T2" fmla="*/ 18 w 100"/>
                <a:gd name="T3" fmla="*/ 14 h 163"/>
                <a:gd name="T4" fmla="*/ 15 w 100"/>
                <a:gd name="T5" fmla="*/ 19 h 163"/>
                <a:gd name="T6" fmla="*/ 16 w 100"/>
                <a:gd name="T7" fmla="*/ 24 h 163"/>
                <a:gd name="T8" fmla="*/ 23 w 100"/>
                <a:gd name="T9" fmla="*/ 28 h 163"/>
                <a:gd name="T10" fmla="*/ 21 w 100"/>
                <a:gd name="T11" fmla="*/ 34 h 163"/>
                <a:gd name="T12" fmla="*/ 13 w 100"/>
                <a:gd name="T13" fmla="*/ 38 h 163"/>
                <a:gd name="T14" fmla="*/ 8 w 100"/>
                <a:gd name="T15" fmla="*/ 38 h 163"/>
                <a:gd name="T16" fmla="*/ 5 w 100"/>
                <a:gd name="T17" fmla="*/ 40 h 163"/>
                <a:gd name="T18" fmla="*/ 4 w 100"/>
                <a:gd name="T19" fmla="*/ 42 h 163"/>
                <a:gd name="T20" fmla="*/ 5 w 100"/>
                <a:gd name="T21" fmla="*/ 47 h 163"/>
                <a:gd name="T22" fmla="*/ 0 w 100"/>
                <a:gd name="T23" fmla="*/ 55 h 163"/>
                <a:gd name="T24" fmla="*/ 9 w 100"/>
                <a:gd name="T25" fmla="*/ 66 h 163"/>
                <a:gd name="T26" fmla="*/ 13 w 100"/>
                <a:gd name="T27" fmla="*/ 69 h 163"/>
                <a:gd name="T28" fmla="*/ 15 w 100"/>
                <a:gd name="T29" fmla="*/ 69 h 163"/>
                <a:gd name="T30" fmla="*/ 18 w 100"/>
                <a:gd name="T31" fmla="*/ 69 h 163"/>
                <a:gd name="T32" fmla="*/ 21 w 100"/>
                <a:gd name="T33" fmla="*/ 69 h 163"/>
                <a:gd name="T34" fmla="*/ 23 w 100"/>
                <a:gd name="T35" fmla="*/ 69 h 163"/>
                <a:gd name="T36" fmla="*/ 26 w 100"/>
                <a:gd name="T37" fmla="*/ 70 h 163"/>
                <a:gd name="T38" fmla="*/ 29 w 100"/>
                <a:gd name="T39" fmla="*/ 72 h 163"/>
                <a:gd name="T40" fmla="*/ 38 w 100"/>
                <a:gd name="T41" fmla="*/ 92 h 163"/>
                <a:gd name="T42" fmla="*/ 42 w 100"/>
                <a:gd name="T43" fmla="*/ 101 h 163"/>
                <a:gd name="T44" fmla="*/ 32 w 100"/>
                <a:gd name="T45" fmla="*/ 132 h 163"/>
                <a:gd name="T46" fmla="*/ 38 w 100"/>
                <a:gd name="T47" fmla="*/ 148 h 163"/>
                <a:gd name="T48" fmla="*/ 49 w 100"/>
                <a:gd name="T49" fmla="*/ 159 h 163"/>
                <a:gd name="T50" fmla="*/ 57 w 100"/>
                <a:gd name="T51" fmla="*/ 162 h 163"/>
                <a:gd name="T52" fmla="*/ 58 w 100"/>
                <a:gd name="T53" fmla="*/ 158 h 163"/>
                <a:gd name="T54" fmla="*/ 86 w 100"/>
                <a:gd name="T55" fmla="*/ 148 h 163"/>
                <a:gd name="T56" fmla="*/ 97 w 100"/>
                <a:gd name="T57" fmla="*/ 144 h 163"/>
                <a:gd name="T58" fmla="*/ 100 w 100"/>
                <a:gd name="T59" fmla="*/ 145 h 163"/>
                <a:gd name="T60" fmla="*/ 98 w 100"/>
                <a:gd name="T61" fmla="*/ 142 h 163"/>
                <a:gd name="T62" fmla="*/ 90 w 100"/>
                <a:gd name="T63" fmla="*/ 129 h 163"/>
                <a:gd name="T64" fmla="*/ 88 w 100"/>
                <a:gd name="T65" fmla="*/ 118 h 163"/>
                <a:gd name="T66" fmla="*/ 81 w 100"/>
                <a:gd name="T67" fmla="*/ 116 h 163"/>
                <a:gd name="T68" fmla="*/ 72 w 100"/>
                <a:gd name="T69" fmla="*/ 93 h 163"/>
                <a:gd name="T70" fmla="*/ 73 w 100"/>
                <a:gd name="T71" fmla="*/ 90 h 163"/>
                <a:gd name="T72" fmla="*/ 74 w 100"/>
                <a:gd name="T73" fmla="*/ 86 h 163"/>
                <a:gd name="T74" fmla="*/ 76 w 100"/>
                <a:gd name="T75" fmla="*/ 79 h 163"/>
                <a:gd name="T76" fmla="*/ 86 w 100"/>
                <a:gd name="T77" fmla="*/ 74 h 163"/>
                <a:gd name="T78" fmla="*/ 88 w 100"/>
                <a:gd name="T79" fmla="*/ 73 h 163"/>
                <a:gd name="T80" fmla="*/ 89 w 100"/>
                <a:gd name="T81" fmla="*/ 67 h 163"/>
                <a:gd name="T82" fmla="*/ 91 w 100"/>
                <a:gd name="T83" fmla="*/ 57 h 163"/>
                <a:gd name="T84" fmla="*/ 92 w 100"/>
                <a:gd name="T85" fmla="*/ 55 h 163"/>
                <a:gd name="T86" fmla="*/ 86 w 100"/>
                <a:gd name="T87" fmla="*/ 48 h 163"/>
                <a:gd name="T88" fmla="*/ 68 w 100"/>
                <a:gd name="T89" fmla="*/ 33 h 163"/>
                <a:gd name="T90" fmla="*/ 63 w 100"/>
                <a:gd name="T91" fmla="*/ 28 h 163"/>
                <a:gd name="T92" fmla="*/ 34 w 100"/>
                <a:gd name="T93" fmla="*/ 0 h 1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0" h="163">
                  <a:moveTo>
                    <a:pt x="34" y="0"/>
                  </a:moveTo>
                  <a:cubicBezTo>
                    <a:pt x="35" y="1"/>
                    <a:pt x="34" y="2"/>
                    <a:pt x="34" y="3"/>
                  </a:cubicBezTo>
                  <a:cubicBezTo>
                    <a:pt x="33" y="5"/>
                    <a:pt x="31" y="6"/>
                    <a:pt x="29" y="7"/>
                  </a:cubicBezTo>
                  <a:cubicBezTo>
                    <a:pt x="28" y="8"/>
                    <a:pt x="28" y="8"/>
                    <a:pt x="27" y="9"/>
                  </a:cubicBezTo>
                  <a:cubicBezTo>
                    <a:pt x="25" y="11"/>
                    <a:pt x="22" y="12"/>
                    <a:pt x="19" y="14"/>
                  </a:cubicBezTo>
                  <a:cubicBezTo>
                    <a:pt x="18" y="14"/>
                    <a:pt x="18" y="14"/>
                    <a:pt x="18" y="14"/>
                  </a:cubicBezTo>
                  <a:cubicBezTo>
                    <a:pt x="17" y="15"/>
                    <a:pt x="17" y="15"/>
                    <a:pt x="17" y="16"/>
                  </a:cubicBezTo>
                  <a:cubicBezTo>
                    <a:pt x="16" y="17"/>
                    <a:pt x="16" y="17"/>
                    <a:pt x="15" y="18"/>
                  </a:cubicBezTo>
                  <a:cubicBezTo>
                    <a:pt x="15" y="19"/>
                    <a:pt x="15" y="19"/>
                    <a:pt x="15" y="19"/>
                  </a:cubicBezTo>
                  <a:cubicBezTo>
                    <a:pt x="15" y="20"/>
                    <a:pt x="15" y="20"/>
                    <a:pt x="15" y="20"/>
                  </a:cubicBezTo>
                  <a:cubicBezTo>
                    <a:pt x="15" y="21"/>
                    <a:pt x="16" y="22"/>
                    <a:pt x="16" y="23"/>
                  </a:cubicBezTo>
                  <a:cubicBezTo>
                    <a:pt x="16" y="24"/>
                    <a:pt x="16" y="24"/>
                    <a:pt x="16" y="24"/>
                  </a:cubicBezTo>
                  <a:cubicBezTo>
                    <a:pt x="17" y="24"/>
                    <a:pt x="17" y="24"/>
                    <a:pt x="17" y="24"/>
                  </a:cubicBezTo>
                  <a:cubicBezTo>
                    <a:pt x="19" y="24"/>
                    <a:pt x="22" y="24"/>
                    <a:pt x="23" y="27"/>
                  </a:cubicBezTo>
                  <a:cubicBezTo>
                    <a:pt x="23" y="27"/>
                    <a:pt x="23" y="28"/>
                    <a:pt x="23" y="28"/>
                  </a:cubicBezTo>
                  <a:cubicBezTo>
                    <a:pt x="23" y="29"/>
                    <a:pt x="23" y="29"/>
                    <a:pt x="23" y="29"/>
                  </a:cubicBezTo>
                  <a:cubicBezTo>
                    <a:pt x="23" y="30"/>
                    <a:pt x="23" y="32"/>
                    <a:pt x="21" y="34"/>
                  </a:cubicBezTo>
                  <a:cubicBezTo>
                    <a:pt x="21" y="34"/>
                    <a:pt x="21" y="34"/>
                    <a:pt x="21" y="34"/>
                  </a:cubicBezTo>
                  <a:cubicBezTo>
                    <a:pt x="19" y="35"/>
                    <a:pt x="18" y="36"/>
                    <a:pt x="17" y="36"/>
                  </a:cubicBezTo>
                  <a:cubicBezTo>
                    <a:pt x="16" y="37"/>
                    <a:pt x="16" y="37"/>
                    <a:pt x="16" y="37"/>
                  </a:cubicBezTo>
                  <a:cubicBezTo>
                    <a:pt x="15" y="37"/>
                    <a:pt x="14" y="38"/>
                    <a:pt x="13" y="38"/>
                  </a:cubicBezTo>
                  <a:cubicBezTo>
                    <a:pt x="13" y="38"/>
                    <a:pt x="12" y="39"/>
                    <a:pt x="11" y="39"/>
                  </a:cubicBezTo>
                  <a:cubicBezTo>
                    <a:pt x="11" y="39"/>
                    <a:pt x="11" y="39"/>
                    <a:pt x="11" y="39"/>
                  </a:cubicBezTo>
                  <a:cubicBezTo>
                    <a:pt x="10" y="39"/>
                    <a:pt x="9" y="39"/>
                    <a:pt x="8" y="38"/>
                  </a:cubicBezTo>
                  <a:cubicBezTo>
                    <a:pt x="8" y="38"/>
                    <a:pt x="8" y="38"/>
                    <a:pt x="8" y="38"/>
                  </a:cubicBezTo>
                  <a:cubicBezTo>
                    <a:pt x="6" y="39"/>
                    <a:pt x="6" y="39"/>
                    <a:pt x="6" y="39"/>
                  </a:cubicBezTo>
                  <a:cubicBezTo>
                    <a:pt x="6" y="39"/>
                    <a:pt x="6" y="39"/>
                    <a:pt x="5" y="40"/>
                  </a:cubicBezTo>
                  <a:cubicBezTo>
                    <a:pt x="5" y="40"/>
                    <a:pt x="5" y="40"/>
                    <a:pt x="4" y="40"/>
                  </a:cubicBezTo>
                  <a:cubicBezTo>
                    <a:pt x="4" y="41"/>
                    <a:pt x="4" y="41"/>
                    <a:pt x="4" y="42"/>
                  </a:cubicBezTo>
                  <a:cubicBezTo>
                    <a:pt x="4" y="42"/>
                    <a:pt x="4" y="42"/>
                    <a:pt x="4" y="42"/>
                  </a:cubicBezTo>
                  <a:cubicBezTo>
                    <a:pt x="4" y="43"/>
                    <a:pt x="4" y="43"/>
                    <a:pt x="4" y="44"/>
                  </a:cubicBezTo>
                  <a:cubicBezTo>
                    <a:pt x="4" y="45"/>
                    <a:pt x="4" y="45"/>
                    <a:pt x="4" y="46"/>
                  </a:cubicBezTo>
                  <a:cubicBezTo>
                    <a:pt x="4" y="46"/>
                    <a:pt x="5" y="47"/>
                    <a:pt x="5" y="47"/>
                  </a:cubicBezTo>
                  <a:cubicBezTo>
                    <a:pt x="5" y="48"/>
                    <a:pt x="5" y="49"/>
                    <a:pt x="4" y="51"/>
                  </a:cubicBezTo>
                  <a:cubicBezTo>
                    <a:pt x="4" y="52"/>
                    <a:pt x="2" y="53"/>
                    <a:pt x="1" y="54"/>
                  </a:cubicBezTo>
                  <a:cubicBezTo>
                    <a:pt x="0" y="55"/>
                    <a:pt x="0" y="55"/>
                    <a:pt x="0" y="55"/>
                  </a:cubicBezTo>
                  <a:cubicBezTo>
                    <a:pt x="0" y="55"/>
                    <a:pt x="0" y="55"/>
                    <a:pt x="0" y="55"/>
                  </a:cubicBezTo>
                  <a:cubicBezTo>
                    <a:pt x="8" y="65"/>
                    <a:pt x="8" y="65"/>
                    <a:pt x="8" y="65"/>
                  </a:cubicBezTo>
                  <a:cubicBezTo>
                    <a:pt x="9" y="66"/>
                    <a:pt x="9" y="66"/>
                    <a:pt x="9" y="66"/>
                  </a:cubicBezTo>
                  <a:cubicBezTo>
                    <a:pt x="9" y="66"/>
                    <a:pt x="9" y="66"/>
                    <a:pt x="9" y="66"/>
                  </a:cubicBezTo>
                  <a:cubicBezTo>
                    <a:pt x="10" y="67"/>
                    <a:pt x="11" y="68"/>
                    <a:pt x="12" y="69"/>
                  </a:cubicBezTo>
                  <a:cubicBezTo>
                    <a:pt x="13" y="69"/>
                    <a:pt x="13" y="69"/>
                    <a:pt x="13" y="69"/>
                  </a:cubicBezTo>
                  <a:cubicBezTo>
                    <a:pt x="13" y="69"/>
                    <a:pt x="13" y="69"/>
                    <a:pt x="13" y="69"/>
                  </a:cubicBezTo>
                  <a:cubicBezTo>
                    <a:pt x="14" y="69"/>
                    <a:pt x="14" y="69"/>
                    <a:pt x="14" y="69"/>
                  </a:cubicBezTo>
                  <a:cubicBezTo>
                    <a:pt x="14" y="69"/>
                    <a:pt x="14" y="69"/>
                    <a:pt x="15" y="69"/>
                  </a:cubicBezTo>
                  <a:cubicBezTo>
                    <a:pt x="16" y="69"/>
                    <a:pt x="16" y="69"/>
                    <a:pt x="16" y="69"/>
                  </a:cubicBezTo>
                  <a:cubicBezTo>
                    <a:pt x="16" y="69"/>
                    <a:pt x="16" y="69"/>
                    <a:pt x="17" y="69"/>
                  </a:cubicBezTo>
                  <a:cubicBezTo>
                    <a:pt x="18" y="69"/>
                    <a:pt x="18" y="69"/>
                    <a:pt x="18" y="69"/>
                  </a:cubicBezTo>
                  <a:cubicBezTo>
                    <a:pt x="18" y="69"/>
                    <a:pt x="19" y="69"/>
                    <a:pt x="20" y="69"/>
                  </a:cubicBezTo>
                  <a:cubicBezTo>
                    <a:pt x="20" y="69"/>
                    <a:pt x="20" y="69"/>
                    <a:pt x="20" y="69"/>
                  </a:cubicBezTo>
                  <a:cubicBezTo>
                    <a:pt x="21" y="69"/>
                    <a:pt x="21" y="69"/>
                    <a:pt x="21" y="69"/>
                  </a:cubicBezTo>
                  <a:cubicBezTo>
                    <a:pt x="21" y="69"/>
                    <a:pt x="21" y="69"/>
                    <a:pt x="21" y="69"/>
                  </a:cubicBezTo>
                  <a:cubicBezTo>
                    <a:pt x="21" y="69"/>
                    <a:pt x="21" y="69"/>
                    <a:pt x="22" y="69"/>
                  </a:cubicBezTo>
                  <a:cubicBezTo>
                    <a:pt x="22" y="69"/>
                    <a:pt x="23" y="69"/>
                    <a:pt x="23" y="69"/>
                  </a:cubicBezTo>
                  <a:cubicBezTo>
                    <a:pt x="24" y="69"/>
                    <a:pt x="24" y="69"/>
                    <a:pt x="24" y="69"/>
                  </a:cubicBezTo>
                  <a:cubicBezTo>
                    <a:pt x="24" y="69"/>
                    <a:pt x="24" y="69"/>
                    <a:pt x="24" y="69"/>
                  </a:cubicBezTo>
                  <a:cubicBezTo>
                    <a:pt x="25" y="69"/>
                    <a:pt x="25" y="70"/>
                    <a:pt x="26" y="70"/>
                  </a:cubicBezTo>
                  <a:cubicBezTo>
                    <a:pt x="26" y="70"/>
                    <a:pt x="26" y="70"/>
                    <a:pt x="26" y="70"/>
                  </a:cubicBezTo>
                  <a:cubicBezTo>
                    <a:pt x="27" y="70"/>
                    <a:pt x="27" y="70"/>
                    <a:pt x="27" y="70"/>
                  </a:cubicBezTo>
                  <a:cubicBezTo>
                    <a:pt x="28" y="71"/>
                    <a:pt x="28" y="71"/>
                    <a:pt x="29" y="72"/>
                  </a:cubicBezTo>
                  <a:cubicBezTo>
                    <a:pt x="31" y="75"/>
                    <a:pt x="31" y="80"/>
                    <a:pt x="29" y="86"/>
                  </a:cubicBezTo>
                  <a:cubicBezTo>
                    <a:pt x="33" y="86"/>
                    <a:pt x="38" y="88"/>
                    <a:pt x="38" y="92"/>
                  </a:cubicBezTo>
                  <a:cubicBezTo>
                    <a:pt x="38" y="92"/>
                    <a:pt x="38" y="92"/>
                    <a:pt x="38" y="92"/>
                  </a:cubicBezTo>
                  <a:cubicBezTo>
                    <a:pt x="37" y="93"/>
                    <a:pt x="37" y="93"/>
                    <a:pt x="37" y="93"/>
                  </a:cubicBezTo>
                  <a:cubicBezTo>
                    <a:pt x="37" y="94"/>
                    <a:pt x="38" y="97"/>
                    <a:pt x="41" y="100"/>
                  </a:cubicBezTo>
                  <a:cubicBezTo>
                    <a:pt x="42" y="101"/>
                    <a:pt x="42" y="101"/>
                    <a:pt x="42" y="101"/>
                  </a:cubicBezTo>
                  <a:cubicBezTo>
                    <a:pt x="42" y="103"/>
                    <a:pt x="42" y="103"/>
                    <a:pt x="42" y="103"/>
                  </a:cubicBezTo>
                  <a:cubicBezTo>
                    <a:pt x="41" y="106"/>
                    <a:pt x="39" y="108"/>
                    <a:pt x="38" y="109"/>
                  </a:cubicBezTo>
                  <a:cubicBezTo>
                    <a:pt x="36" y="112"/>
                    <a:pt x="29" y="129"/>
                    <a:pt x="32" y="132"/>
                  </a:cubicBezTo>
                  <a:cubicBezTo>
                    <a:pt x="32" y="133"/>
                    <a:pt x="32" y="133"/>
                    <a:pt x="32" y="133"/>
                  </a:cubicBezTo>
                  <a:cubicBezTo>
                    <a:pt x="32" y="134"/>
                    <a:pt x="33" y="135"/>
                    <a:pt x="33" y="136"/>
                  </a:cubicBezTo>
                  <a:cubicBezTo>
                    <a:pt x="35" y="137"/>
                    <a:pt x="38" y="141"/>
                    <a:pt x="38" y="148"/>
                  </a:cubicBezTo>
                  <a:cubicBezTo>
                    <a:pt x="38" y="150"/>
                    <a:pt x="41" y="153"/>
                    <a:pt x="43" y="154"/>
                  </a:cubicBezTo>
                  <a:cubicBezTo>
                    <a:pt x="43" y="155"/>
                    <a:pt x="43" y="155"/>
                    <a:pt x="44" y="156"/>
                  </a:cubicBezTo>
                  <a:cubicBezTo>
                    <a:pt x="45" y="157"/>
                    <a:pt x="47" y="159"/>
                    <a:pt x="49" y="159"/>
                  </a:cubicBezTo>
                  <a:cubicBezTo>
                    <a:pt x="52" y="159"/>
                    <a:pt x="54" y="161"/>
                    <a:pt x="55" y="162"/>
                  </a:cubicBezTo>
                  <a:cubicBezTo>
                    <a:pt x="55" y="162"/>
                    <a:pt x="56" y="163"/>
                    <a:pt x="56" y="163"/>
                  </a:cubicBezTo>
                  <a:cubicBezTo>
                    <a:pt x="57" y="163"/>
                    <a:pt x="57" y="162"/>
                    <a:pt x="57" y="162"/>
                  </a:cubicBezTo>
                  <a:cubicBezTo>
                    <a:pt x="59" y="162"/>
                    <a:pt x="60" y="161"/>
                    <a:pt x="60" y="161"/>
                  </a:cubicBezTo>
                  <a:cubicBezTo>
                    <a:pt x="60" y="161"/>
                    <a:pt x="60" y="161"/>
                    <a:pt x="60" y="161"/>
                  </a:cubicBezTo>
                  <a:cubicBezTo>
                    <a:pt x="58" y="158"/>
                    <a:pt x="58" y="158"/>
                    <a:pt x="58" y="158"/>
                  </a:cubicBezTo>
                  <a:cubicBezTo>
                    <a:pt x="62" y="157"/>
                    <a:pt x="62" y="157"/>
                    <a:pt x="62" y="157"/>
                  </a:cubicBezTo>
                  <a:cubicBezTo>
                    <a:pt x="77" y="153"/>
                    <a:pt x="81" y="152"/>
                    <a:pt x="81" y="152"/>
                  </a:cubicBezTo>
                  <a:cubicBezTo>
                    <a:pt x="82" y="152"/>
                    <a:pt x="84" y="151"/>
                    <a:pt x="86" y="148"/>
                  </a:cubicBezTo>
                  <a:cubicBezTo>
                    <a:pt x="88" y="145"/>
                    <a:pt x="92" y="143"/>
                    <a:pt x="94" y="143"/>
                  </a:cubicBezTo>
                  <a:cubicBezTo>
                    <a:pt x="94" y="143"/>
                    <a:pt x="94" y="143"/>
                    <a:pt x="95" y="143"/>
                  </a:cubicBezTo>
                  <a:cubicBezTo>
                    <a:pt x="95" y="143"/>
                    <a:pt x="96" y="144"/>
                    <a:pt x="97" y="144"/>
                  </a:cubicBezTo>
                  <a:cubicBezTo>
                    <a:pt x="98" y="144"/>
                    <a:pt x="98" y="145"/>
                    <a:pt x="99" y="145"/>
                  </a:cubicBezTo>
                  <a:cubicBezTo>
                    <a:pt x="99" y="145"/>
                    <a:pt x="99" y="145"/>
                    <a:pt x="99" y="145"/>
                  </a:cubicBezTo>
                  <a:cubicBezTo>
                    <a:pt x="100" y="145"/>
                    <a:pt x="100" y="145"/>
                    <a:pt x="100" y="145"/>
                  </a:cubicBezTo>
                  <a:cubicBezTo>
                    <a:pt x="100" y="144"/>
                    <a:pt x="100" y="144"/>
                    <a:pt x="100" y="144"/>
                  </a:cubicBezTo>
                  <a:cubicBezTo>
                    <a:pt x="99" y="144"/>
                    <a:pt x="99" y="144"/>
                    <a:pt x="99" y="143"/>
                  </a:cubicBezTo>
                  <a:cubicBezTo>
                    <a:pt x="98" y="142"/>
                    <a:pt x="98" y="142"/>
                    <a:pt x="98" y="142"/>
                  </a:cubicBezTo>
                  <a:cubicBezTo>
                    <a:pt x="96" y="139"/>
                    <a:pt x="95" y="136"/>
                    <a:pt x="93" y="133"/>
                  </a:cubicBezTo>
                  <a:cubicBezTo>
                    <a:pt x="91" y="131"/>
                    <a:pt x="91" y="131"/>
                    <a:pt x="91" y="131"/>
                  </a:cubicBezTo>
                  <a:cubicBezTo>
                    <a:pt x="91" y="130"/>
                    <a:pt x="91" y="130"/>
                    <a:pt x="90" y="129"/>
                  </a:cubicBezTo>
                  <a:cubicBezTo>
                    <a:pt x="90" y="128"/>
                    <a:pt x="90" y="127"/>
                    <a:pt x="90" y="126"/>
                  </a:cubicBezTo>
                  <a:cubicBezTo>
                    <a:pt x="90" y="126"/>
                    <a:pt x="90" y="125"/>
                    <a:pt x="90" y="125"/>
                  </a:cubicBezTo>
                  <a:cubicBezTo>
                    <a:pt x="89" y="123"/>
                    <a:pt x="89" y="121"/>
                    <a:pt x="88" y="118"/>
                  </a:cubicBezTo>
                  <a:cubicBezTo>
                    <a:pt x="88" y="119"/>
                    <a:pt x="87" y="119"/>
                    <a:pt x="87" y="119"/>
                  </a:cubicBezTo>
                  <a:cubicBezTo>
                    <a:pt x="85" y="119"/>
                    <a:pt x="83" y="118"/>
                    <a:pt x="81" y="117"/>
                  </a:cubicBezTo>
                  <a:cubicBezTo>
                    <a:pt x="81" y="116"/>
                    <a:pt x="81" y="116"/>
                    <a:pt x="81" y="116"/>
                  </a:cubicBezTo>
                  <a:cubicBezTo>
                    <a:pt x="78" y="115"/>
                    <a:pt x="77" y="112"/>
                    <a:pt x="75" y="109"/>
                  </a:cubicBezTo>
                  <a:cubicBezTo>
                    <a:pt x="72" y="104"/>
                    <a:pt x="69" y="99"/>
                    <a:pt x="70" y="96"/>
                  </a:cubicBezTo>
                  <a:cubicBezTo>
                    <a:pt x="70" y="94"/>
                    <a:pt x="72" y="93"/>
                    <a:pt x="72" y="93"/>
                  </a:cubicBezTo>
                  <a:cubicBezTo>
                    <a:pt x="73" y="92"/>
                    <a:pt x="73" y="92"/>
                    <a:pt x="73" y="92"/>
                  </a:cubicBezTo>
                  <a:cubicBezTo>
                    <a:pt x="73" y="92"/>
                    <a:pt x="73" y="92"/>
                    <a:pt x="73" y="92"/>
                  </a:cubicBezTo>
                  <a:cubicBezTo>
                    <a:pt x="73" y="92"/>
                    <a:pt x="73" y="91"/>
                    <a:pt x="73" y="90"/>
                  </a:cubicBezTo>
                  <a:cubicBezTo>
                    <a:pt x="73" y="89"/>
                    <a:pt x="73" y="89"/>
                    <a:pt x="73" y="89"/>
                  </a:cubicBezTo>
                  <a:cubicBezTo>
                    <a:pt x="73" y="88"/>
                    <a:pt x="74" y="87"/>
                    <a:pt x="74" y="87"/>
                  </a:cubicBezTo>
                  <a:cubicBezTo>
                    <a:pt x="74" y="86"/>
                    <a:pt x="74" y="86"/>
                    <a:pt x="74" y="86"/>
                  </a:cubicBezTo>
                  <a:cubicBezTo>
                    <a:pt x="74" y="85"/>
                    <a:pt x="75" y="84"/>
                    <a:pt x="75" y="82"/>
                  </a:cubicBezTo>
                  <a:cubicBezTo>
                    <a:pt x="75" y="80"/>
                    <a:pt x="75" y="80"/>
                    <a:pt x="75" y="80"/>
                  </a:cubicBezTo>
                  <a:cubicBezTo>
                    <a:pt x="75" y="80"/>
                    <a:pt x="75" y="79"/>
                    <a:pt x="76" y="79"/>
                  </a:cubicBezTo>
                  <a:cubicBezTo>
                    <a:pt x="76" y="77"/>
                    <a:pt x="78" y="75"/>
                    <a:pt x="81" y="74"/>
                  </a:cubicBezTo>
                  <a:cubicBezTo>
                    <a:pt x="81" y="74"/>
                    <a:pt x="82" y="74"/>
                    <a:pt x="83" y="74"/>
                  </a:cubicBezTo>
                  <a:cubicBezTo>
                    <a:pt x="84" y="74"/>
                    <a:pt x="85" y="74"/>
                    <a:pt x="86" y="74"/>
                  </a:cubicBezTo>
                  <a:cubicBezTo>
                    <a:pt x="86" y="74"/>
                    <a:pt x="87" y="74"/>
                    <a:pt x="87" y="74"/>
                  </a:cubicBezTo>
                  <a:cubicBezTo>
                    <a:pt x="88" y="74"/>
                    <a:pt x="88" y="74"/>
                    <a:pt x="88" y="74"/>
                  </a:cubicBezTo>
                  <a:cubicBezTo>
                    <a:pt x="88" y="74"/>
                    <a:pt x="88" y="73"/>
                    <a:pt x="88" y="73"/>
                  </a:cubicBezTo>
                  <a:cubicBezTo>
                    <a:pt x="88" y="72"/>
                    <a:pt x="88" y="72"/>
                    <a:pt x="88" y="72"/>
                  </a:cubicBezTo>
                  <a:cubicBezTo>
                    <a:pt x="89" y="71"/>
                    <a:pt x="89" y="69"/>
                    <a:pt x="89" y="68"/>
                  </a:cubicBezTo>
                  <a:cubicBezTo>
                    <a:pt x="89" y="67"/>
                    <a:pt x="89" y="67"/>
                    <a:pt x="89" y="67"/>
                  </a:cubicBezTo>
                  <a:cubicBezTo>
                    <a:pt x="89" y="65"/>
                    <a:pt x="89" y="62"/>
                    <a:pt x="90" y="60"/>
                  </a:cubicBezTo>
                  <a:cubicBezTo>
                    <a:pt x="90" y="59"/>
                    <a:pt x="91" y="58"/>
                    <a:pt x="91" y="58"/>
                  </a:cubicBezTo>
                  <a:cubicBezTo>
                    <a:pt x="91" y="57"/>
                    <a:pt x="91" y="57"/>
                    <a:pt x="91" y="57"/>
                  </a:cubicBezTo>
                  <a:cubicBezTo>
                    <a:pt x="92" y="56"/>
                    <a:pt x="92" y="56"/>
                    <a:pt x="92" y="56"/>
                  </a:cubicBezTo>
                  <a:cubicBezTo>
                    <a:pt x="92" y="56"/>
                    <a:pt x="92" y="56"/>
                    <a:pt x="92" y="56"/>
                  </a:cubicBezTo>
                  <a:cubicBezTo>
                    <a:pt x="92" y="55"/>
                    <a:pt x="92" y="55"/>
                    <a:pt x="92" y="55"/>
                  </a:cubicBezTo>
                  <a:cubicBezTo>
                    <a:pt x="94" y="55"/>
                    <a:pt x="94" y="55"/>
                    <a:pt x="94" y="55"/>
                  </a:cubicBezTo>
                  <a:cubicBezTo>
                    <a:pt x="93" y="53"/>
                    <a:pt x="92" y="50"/>
                    <a:pt x="91" y="49"/>
                  </a:cubicBezTo>
                  <a:cubicBezTo>
                    <a:pt x="90" y="48"/>
                    <a:pt x="87" y="48"/>
                    <a:pt x="86" y="48"/>
                  </a:cubicBezTo>
                  <a:cubicBezTo>
                    <a:pt x="85" y="47"/>
                    <a:pt x="84" y="46"/>
                    <a:pt x="83" y="45"/>
                  </a:cubicBezTo>
                  <a:cubicBezTo>
                    <a:pt x="81" y="42"/>
                    <a:pt x="79" y="40"/>
                    <a:pt x="76" y="37"/>
                  </a:cubicBezTo>
                  <a:cubicBezTo>
                    <a:pt x="73" y="35"/>
                    <a:pt x="71" y="35"/>
                    <a:pt x="68" y="33"/>
                  </a:cubicBezTo>
                  <a:cubicBezTo>
                    <a:pt x="67" y="33"/>
                    <a:pt x="67" y="33"/>
                    <a:pt x="66" y="33"/>
                  </a:cubicBezTo>
                  <a:cubicBezTo>
                    <a:pt x="63" y="33"/>
                    <a:pt x="61" y="42"/>
                    <a:pt x="60" y="44"/>
                  </a:cubicBezTo>
                  <a:cubicBezTo>
                    <a:pt x="58" y="39"/>
                    <a:pt x="63" y="33"/>
                    <a:pt x="63" y="28"/>
                  </a:cubicBezTo>
                  <a:cubicBezTo>
                    <a:pt x="63" y="21"/>
                    <a:pt x="59" y="17"/>
                    <a:pt x="55" y="13"/>
                  </a:cubicBezTo>
                  <a:cubicBezTo>
                    <a:pt x="51" y="9"/>
                    <a:pt x="49" y="7"/>
                    <a:pt x="44" y="5"/>
                  </a:cubicBezTo>
                  <a:cubicBezTo>
                    <a:pt x="41" y="3"/>
                    <a:pt x="37" y="1"/>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254"/>
            <p:cNvSpPr/>
            <p:nvPr/>
          </p:nvSpPr>
          <p:spPr bwMode="auto">
            <a:xfrm>
              <a:off x="9323299" y="1539378"/>
              <a:ext cx="296577" cy="310700"/>
            </a:xfrm>
            <a:custGeom>
              <a:gdLst>
                <a:gd name="T0" fmla="*/ 65 w 89"/>
                <a:gd name="T1" fmla="*/ 1 h 93"/>
                <a:gd name="T2" fmla="*/ 52 w 89"/>
                <a:gd name="T3" fmla="*/ 1 h 93"/>
                <a:gd name="T4" fmla="*/ 48 w 89"/>
                <a:gd name="T5" fmla="*/ 2 h 93"/>
                <a:gd name="T6" fmla="*/ 29 w 89"/>
                <a:gd name="T7" fmla="*/ 1 h 93"/>
                <a:gd name="T8" fmla="*/ 21 w 89"/>
                <a:gd name="T9" fmla="*/ 1 h 93"/>
                <a:gd name="T10" fmla="*/ 23 w 89"/>
                <a:gd name="T11" fmla="*/ 2 h 93"/>
                <a:gd name="T12" fmla="*/ 21 w 89"/>
                <a:gd name="T13" fmla="*/ 6 h 93"/>
                <a:gd name="T14" fmla="*/ 21 w 89"/>
                <a:gd name="T15" fmla="*/ 8 h 93"/>
                <a:gd name="T16" fmla="*/ 20 w 89"/>
                <a:gd name="T17" fmla="*/ 14 h 93"/>
                <a:gd name="T18" fmla="*/ 19 w 89"/>
                <a:gd name="T19" fmla="*/ 19 h 93"/>
                <a:gd name="T20" fmla="*/ 19 w 89"/>
                <a:gd name="T21" fmla="*/ 22 h 93"/>
                <a:gd name="T22" fmla="*/ 18 w 89"/>
                <a:gd name="T23" fmla="*/ 24 h 93"/>
                <a:gd name="T24" fmla="*/ 13 w 89"/>
                <a:gd name="T25" fmla="*/ 26 h 93"/>
                <a:gd name="T26" fmla="*/ 8 w 89"/>
                <a:gd name="T27" fmla="*/ 26 h 93"/>
                <a:gd name="T28" fmla="*/ 6 w 89"/>
                <a:gd name="T29" fmla="*/ 27 h 93"/>
                <a:gd name="T30" fmla="*/ 4 w 89"/>
                <a:gd name="T31" fmla="*/ 34 h 93"/>
                <a:gd name="T32" fmla="*/ 3 w 89"/>
                <a:gd name="T33" fmla="*/ 38 h 93"/>
                <a:gd name="T34" fmla="*/ 2 w 89"/>
                <a:gd name="T35" fmla="*/ 42 h 93"/>
                <a:gd name="T36" fmla="*/ 1 w 89"/>
                <a:gd name="T37" fmla="*/ 43 h 93"/>
                <a:gd name="T38" fmla="*/ 0 w 89"/>
                <a:gd name="T39" fmla="*/ 43 h 93"/>
                <a:gd name="T40" fmla="*/ 9 w 89"/>
                <a:gd name="T41" fmla="*/ 58 h 93"/>
                <a:gd name="T42" fmla="*/ 12 w 89"/>
                <a:gd name="T43" fmla="*/ 59 h 93"/>
                <a:gd name="T44" fmla="*/ 17 w 89"/>
                <a:gd name="T45" fmla="*/ 57 h 93"/>
                <a:gd name="T46" fmla="*/ 20 w 89"/>
                <a:gd name="T47" fmla="*/ 70 h 93"/>
                <a:gd name="T48" fmla="*/ 21 w 89"/>
                <a:gd name="T49" fmla="*/ 73 h 93"/>
                <a:gd name="T50" fmla="*/ 23 w 89"/>
                <a:gd name="T51" fmla="*/ 76 h 93"/>
                <a:gd name="T52" fmla="*/ 29 w 89"/>
                <a:gd name="T53" fmla="*/ 86 h 93"/>
                <a:gd name="T54" fmla="*/ 30 w 89"/>
                <a:gd name="T55" fmla="*/ 87 h 93"/>
                <a:gd name="T56" fmla="*/ 30 w 89"/>
                <a:gd name="T57" fmla="*/ 88 h 93"/>
                <a:gd name="T58" fmla="*/ 34 w 89"/>
                <a:gd name="T59" fmla="*/ 91 h 93"/>
                <a:gd name="T60" fmla="*/ 41 w 89"/>
                <a:gd name="T61" fmla="*/ 92 h 93"/>
                <a:gd name="T62" fmla="*/ 45 w 89"/>
                <a:gd name="T63" fmla="*/ 93 h 93"/>
                <a:gd name="T64" fmla="*/ 44 w 89"/>
                <a:gd name="T65" fmla="*/ 91 h 93"/>
                <a:gd name="T66" fmla="*/ 44 w 89"/>
                <a:gd name="T67" fmla="*/ 79 h 93"/>
                <a:gd name="T68" fmla="*/ 49 w 89"/>
                <a:gd name="T69" fmla="*/ 79 h 93"/>
                <a:gd name="T70" fmla="*/ 58 w 89"/>
                <a:gd name="T71" fmla="*/ 80 h 93"/>
                <a:gd name="T72" fmla="*/ 62 w 89"/>
                <a:gd name="T73" fmla="*/ 78 h 93"/>
                <a:gd name="T74" fmla="*/ 67 w 89"/>
                <a:gd name="T75" fmla="*/ 76 h 93"/>
                <a:gd name="T76" fmla="*/ 72 w 89"/>
                <a:gd name="T77" fmla="*/ 78 h 93"/>
                <a:gd name="T78" fmla="*/ 75 w 89"/>
                <a:gd name="T79" fmla="*/ 79 h 93"/>
                <a:gd name="T80" fmla="*/ 78 w 89"/>
                <a:gd name="T81" fmla="*/ 81 h 93"/>
                <a:gd name="T82" fmla="*/ 82 w 89"/>
                <a:gd name="T83" fmla="*/ 77 h 93"/>
                <a:gd name="T84" fmla="*/ 85 w 89"/>
                <a:gd name="T85" fmla="*/ 73 h 93"/>
                <a:gd name="T86" fmla="*/ 86 w 89"/>
                <a:gd name="T87" fmla="*/ 68 h 93"/>
                <a:gd name="T88" fmla="*/ 88 w 89"/>
                <a:gd name="T89" fmla="*/ 67 h 93"/>
                <a:gd name="T90" fmla="*/ 87 w 89"/>
                <a:gd name="T91" fmla="*/ 66 h 93"/>
                <a:gd name="T92" fmla="*/ 89 w 89"/>
                <a:gd name="T93" fmla="*/ 57 h 93"/>
                <a:gd name="T94" fmla="*/ 89 w 89"/>
                <a:gd name="T95" fmla="*/ 56 h 93"/>
                <a:gd name="T96" fmla="*/ 88 w 89"/>
                <a:gd name="T97" fmla="*/ 55 h 93"/>
                <a:gd name="T98" fmla="*/ 86 w 89"/>
                <a:gd name="T99" fmla="*/ 51 h 93"/>
                <a:gd name="T100" fmla="*/ 78 w 89"/>
                <a:gd name="T101" fmla="*/ 30 h 93"/>
                <a:gd name="T102" fmla="*/ 82 w 89"/>
                <a:gd name="T103" fmla="*/ 17 h 93"/>
                <a:gd name="T104" fmla="*/ 87 w 89"/>
                <a:gd name="T105" fmla="*/ 9 h 93"/>
                <a:gd name="T106" fmla="*/ 89 w 89"/>
                <a:gd name="T107" fmla="*/ 3 h 93"/>
                <a:gd name="T108" fmla="*/ 82 w 89"/>
                <a:gd name="T109" fmla="*/ 2 h 93"/>
                <a:gd name="T110" fmla="*/ 67 w 89"/>
                <a:gd name="T111"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93">
                  <a:moveTo>
                    <a:pt x="67" y="0"/>
                  </a:moveTo>
                  <a:cubicBezTo>
                    <a:pt x="66" y="0"/>
                    <a:pt x="65" y="0"/>
                    <a:pt x="65" y="1"/>
                  </a:cubicBezTo>
                  <a:cubicBezTo>
                    <a:pt x="66" y="4"/>
                    <a:pt x="66" y="4"/>
                    <a:pt x="66" y="4"/>
                  </a:cubicBezTo>
                  <a:cubicBezTo>
                    <a:pt x="62" y="1"/>
                    <a:pt x="57" y="1"/>
                    <a:pt x="52" y="1"/>
                  </a:cubicBezTo>
                  <a:cubicBezTo>
                    <a:pt x="51" y="1"/>
                    <a:pt x="51" y="1"/>
                    <a:pt x="50" y="1"/>
                  </a:cubicBezTo>
                  <a:cubicBezTo>
                    <a:pt x="49" y="1"/>
                    <a:pt x="49" y="1"/>
                    <a:pt x="48" y="2"/>
                  </a:cubicBezTo>
                  <a:cubicBezTo>
                    <a:pt x="47" y="3"/>
                    <a:pt x="48" y="5"/>
                    <a:pt x="48" y="7"/>
                  </a:cubicBezTo>
                  <a:cubicBezTo>
                    <a:pt x="42" y="5"/>
                    <a:pt x="35" y="1"/>
                    <a:pt x="29" y="1"/>
                  </a:cubicBezTo>
                  <a:cubicBezTo>
                    <a:pt x="28" y="1"/>
                    <a:pt x="25" y="1"/>
                    <a:pt x="23" y="1"/>
                  </a:cubicBezTo>
                  <a:cubicBezTo>
                    <a:pt x="22" y="1"/>
                    <a:pt x="21" y="1"/>
                    <a:pt x="21" y="1"/>
                  </a:cubicBezTo>
                  <a:cubicBezTo>
                    <a:pt x="21" y="2"/>
                    <a:pt x="21" y="2"/>
                    <a:pt x="21" y="2"/>
                  </a:cubicBezTo>
                  <a:cubicBezTo>
                    <a:pt x="23" y="2"/>
                    <a:pt x="23" y="2"/>
                    <a:pt x="23" y="2"/>
                  </a:cubicBezTo>
                  <a:cubicBezTo>
                    <a:pt x="22" y="3"/>
                    <a:pt x="22" y="3"/>
                    <a:pt x="22" y="3"/>
                  </a:cubicBezTo>
                  <a:cubicBezTo>
                    <a:pt x="22" y="4"/>
                    <a:pt x="22" y="5"/>
                    <a:pt x="21" y="6"/>
                  </a:cubicBezTo>
                  <a:cubicBezTo>
                    <a:pt x="21" y="6"/>
                    <a:pt x="21" y="6"/>
                    <a:pt x="21" y="6"/>
                  </a:cubicBezTo>
                  <a:cubicBezTo>
                    <a:pt x="21" y="7"/>
                    <a:pt x="21" y="7"/>
                    <a:pt x="21" y="8"/>
                  </a:cubicBezTo>
                  <a:cubicBezTo>
                    <a:pt x="20" y="9"/>
                    <a:pt x="19" y="11"/>
                    <a:pt x="20" y="13"/>
                  </a:cubicBezTo>
                  <a:cubicBezTo>
                    <a:pt x="20" y="14"/>
                    <a:pt x="20" y="14"/>
                    <a:pt x="20" y="14"/>
                  </a:cubicBezTo>
                  <a:cubicBezTo>
                    <a:pt x="20" y="14"/>
                    <a:pt x="20" y="14"/>
                    <a:pt x="20" y="14"/>
                  </a:cubicBezTo>
                  <a:cubicBezTo>
                    <a:pt x="20" y="16"/>
                    <a:pt x="19" y="18"/>
                    <a:pt x="19" y="19"/>
                  </a:cubicBezTo>
                  <a:cubicBezTo>
                    <a:pt x="19" y="20"/>
                    <a:pt x="19" y="20"/>
                    <a:pt x="19" y="20"/>
                  </a:cubicBezTo>
                  <a:cubicBezTo>
                    <a:pt x="19" y="20"/>
                    <a:pt x="19" y="21"/>
                    <a:pt x="19" y="22"/>
                  </a:cubicBezTo>
                  <a:cubicBezTo>
                    <a:pt x="18" y="23"/>
                    <a:pt x="18" y="23"/>
                    <a:pt x="18" y="23"/>
                  </a:cubicBezTo>
                  <a:cubicBezTo>
                    <a:pt x="18" y="24"/>
                    <a:pt x="18" y="24"/>
                    <a:pt x="18" y="24"/>
                  </a:cubicBezTo>
                  <a:cubicBezTo>
                    <a:pt x="17" y="25"/>
                    <a:pt x="16" y="26"/>
                    <a:pt x="14" y="26"/>
                  </a:cubicBezTo>
                  <a:cubicBezTo>
                    <a:pt x="13" y="26"/>
                    <a:pt x="13" y="26"/>
                    <a:pt x="13" y="26"/>
                  </a:cubicBezTo>
                  <a:cubicBezTo>
                    <a:pt x="11" y="26"/>
                    <a:pt x="11" y="26"/>
                    <a:pt x="10" y="26"/>
                  </a:cubicBezTo>
                  <a:cubicBezTo>
                    <a:pt x="9" y="26"/>
                    <a:pt x="9" y="26"/>
                    <a:pt x="8" y="26"/>
                  </a:cubicBezTo>
                  <a:cubicBezTo>
                    <a:pt x="7" y="26"/>
                    <a:pt x="7" y="26"/>
                    <a:pt x="7" y="26"/>
                  </a:cubicBezTo>
                  <a:cubicBezTo>
                    <a:pt x="7" y="26"/>
                    <a:pt x="6" y="26"/>
                    <a:pt x="6" y="27"/>
                  </a:cubicBezTo>
                  <a:cubicBezTo>
                    <a:pt x="6" y="28"/>
                    <a:pt x="6" y="28"/>
                    <a:pt x="6" y="28"/>
                  </a:cubicBezTo>
                  <a:cubicBezTo>
                    <a:pt x="5" y="31"/>
                    <a:pt x="5" y="33"/>
                    <a:pt x="4" y="34"/>
                  </a:cubicBezTo>
                  <a:cubicBezTo>
                    <a:pt x="4" y="35"/>
                    <a:pt x="4" y="36"/>
                    <a:pt x="3" y="37"/>
                  </a:cubicBezTo>
                  <a:cubicBezTo>
                    <a:pt x="3" y="37"/>
                    <a:pt x="3" y="38"/>
                    <a:pt x="3" y="38"/>
                  </a:cubicBezTo>
                  <a:cubicBezTo>
                    <a:pt x="3" y="39"/>
                    <a:pt x="3" y="40"/>
                    <a:pt x="3" y="40"/>
                  </a:cubicBezTo>
                  <a:cubicBezTo>
                    <a:pt x="3" y="41"/>
                    <a:pt x="2" y="41"/>
                    <a:pt x="2" y="42"/>
                  </a:cubicBezTo>
                  <a:cubicBezTo>
                    <a:pt x="2" y="42"/>
                    <a:pt x="2" y="42"/>
                    <a:pt x="2" y="42"/>
                  </a:cubicBezTo>
                  <a:cubicBezTo>
                    <a:pt x="1" y="43"/>
                    <a:pt x="1" y="43"/>
                    <a:pt x="1" y="43"/>
                  </a:cubicBezTo>
                  <a:cubicBezTo>
                    <a:pt x="1" y="43"/>
                    <a:pt x="1" y="43"/>
                    <a:pt x="1" y="43"/>
                  </a:cubicBezTo>
                  <a:cubicBezTo>
                    <a:pt x="0" y="43"/>
                    <a:pt x="0" y="43"/>
                    <a:pt x="0" y="43"/>
                  </a:cubicBezTo>
                  <a:cubicBezTo>
                    <a:pt x="0" y="44"/>
                    <a:pt x="0" y="45"/>
                    <a:pt x="5" y="52"/>
                  </a:cubicBezTo>
                  <a:cubicBezTo>
                    <a:pt x="7" y="55"/>
                    <a:pt x="8" y="57"/>
                    <a:pt x="9" y="58"/>
                  </a:cubicBezTo>
                  <a:cubicBezTo>
                    <a:pt x="10" y="59"/>
                    <a:pt x="10" y="59"/>
                    <a:pt x="11" y="59"/>
                  </a:cubicBezTo>
                  <a:cubicBezTo>
                    <a:pt x="12" y="59"/>
                    <a:pt x="12" y="59"/>
                    <a:pt x="12" y="59"/>
                  </a:cubicBezTo>
                  <a:cubicBezTo>
                    <a:pt x="12" y="59"/>
                    <a:pt x="13" y="59"/>
                    <a:pt x="13" y="58"/>
                  </a:cubicBezTo>
                  <a:cubicBezTo>
                    <a:pt x="17" y="57"/>
                    <a:pt x="17" y="57"/>
                    <a:pt x="17" y="57"/>
                  </a:cubicBezTo>
                  <a:cubicBezTo>
                    <a:pt x="18" y="60"/>
                    <a:pt x="18" y="60"/>
                    <a:pt x="18" y="60"/>
                  </a:cubicBezTo>
                  <a:cubicBezTo>
                    <a:pt x="19" y="63"/>
                    <a:pt x="20" y="66"/>
                    <a:pt x="20" y="70"/>
                  </a:cubicBezTo>
                  <a:cubicBezTo>
                    <a:pt x="20" y="70"/>
                    <a:pt x="20" y="71"/>
                    <a:pt x="20" y="71"/>
                  </a:cubicBezTo>
                  <a:cubicBezTo>
                    <a:pt x="21" y="72"/>
                    <a:pt x="21" y="72"/>
                    <a:pt x="21" y="73"/>
                  </a:cubicBezTo>
                  <a:cubicBezTo>
                    <a:pt x="21" y="74"/>
                    <a:pt x="21" y="74"/>
                    <a:pt x="21" y="74"/>
                  </a:cubicBezTo>
                  <a:cubicBezTo>
                    <a:pt x="23" y="76"/>
                    <a:pt x="23" y="76"/>
                    <a:pt x="23" y="76"/>
                  </a:cubicBezTo>
                  <a:cubicBezTo>
                    <a:pt x="25" y="79"/>
                    <a:pt x="26" y="82"/>
                    <a:pt x="28" y="85"/>
                  </a:cubicBezTo>
                  <a:cubicBezTo>
                    <a:pt x="29" y="86"/>
                    <a:pt x="29" y="86"/>
                    <a:pt x="29" y="86"/>
                  </a:cubicBezTo>
                  <a:cubicBezTo>
                    <a:pt x="29" y="87"/>
                    <a:pt x="29" y="87"/>
                    <a:pt x="29" y="87"/>
                  </a:cubicBezTo>
                  <a:cubicBezTo>
                    <a:pt x="30" y="87"/>
                    <a:pt x="30" y="87"/>
                    <a:pt x="30" y="87"/>
                  </a:cubicBezTo>
                  <a:cubicBezTo>
                    <a:pt x="32" y="85"/>
                    <a:pt x="32" y="85"/>
                    <a:pt x="32" y="85"/>
                  </a:cubicBezTo>
                  <a:cubicBezTo>
                    <a:pt x="30" y="88"/>
                    <a:pt x="30" y="88"/>
                    <a:pt x="30" y="88"/>
                  </a:cubicBezTo>
                  <a:cubicBezTo>
                    <a:pt x="31" y="89"/>
                    <a:pt x="31" y="89"/>
                    <a:pt x="31" y="89"/>
                  </a:cubicBezTo>
                  <a:cubicBezTo>
                    <a:pt x="32" y="90"/>
                    <a:pt x="33" y="90"/>
                    <a:pt x="34" y="91"/>
                  </a:cubicBezTo>
                  <a:cubicBezTo>
                    <a:pt x="35" y="91"/>
                    <a:pt x="35" y="91"/>
                    <a:pt x="35" y="91"/>
                  </a:cubicBezTo>
                  <a:cubicBezTo>
                    <a:pt x="37" y="92"/>
                    <a:pt x="39" y="92"/>
                    <a:pt x="41" y="92"/>
                  </a:cubicBezTo>
                  <a:cubicBezTo>
                    <a:pt x="44" y="93"/>
                    <a:pt x="44" y="93"/>
                    <a:pt x="44" y="93"/>
                  </a:cubicBezTo>
                  <a:cubicBezTo>
                    <a:pt x="45" y="93"/>
                    <a:pt x="45" y="93"/>
                    <a:pt x="45" y="93"/>
                  </a:cubicBezTo>
                  <a:cubicBezTo>
                    <a:pt x="45" y="93"/>
                    <a:pt x="45" y="93"/>
                    <a:pt x="45" y="93"/>
                  </a:cubicBezTo>
                  <a:cubicBezTo>
                    <a:pt x="44" y="92"/>
                    <a:pt x="44" y="92"/>
                    <a:pt x="44" y="91"/>
                  </a:cubicBezTo>
                  <a:cubicBezTo>
                    <a:pt x="43" y="90"/>
                    <a:pt x="41" y="89"/>
                    <a:pt x="41" y="87"/>
                  </a:cubicBezTo>
                  <a:cubicBezTo>
                    <a:pt x="41" y="85"/>
                    <a:pt x="42" y="81"/>
                    <a:pt x="44" y="79"/>
                  </a:cubicBezTo>
                  <a:cubicBezTo>
                    <a:pt x="45" y="78"/>
                    <a:pt x="46" y="78"/>
                    <a:pt x="47" y="78"/>
                  </a:cubicBezTo>
                  <a:cubicBezTo>
                    <a:pt x="48" y="78"/>
                    <a:pt x="48" y="78"/>
                    <a:pt x="49" y="79"/>
                  </a:cubicBezTo>
                  <a:cubicBezTo>
                    <a:pt x="50" y="79"/>
                    <a:pt x="53" y="80"/>
                    <a:pt x="55" y="80"/>
                  </a:cubicBezTo>
                  <a:cubicBezTo>
                    <a:pt x="56" y="80"/>
                    <a:pt x="57" y="80"/>
                    <a:pt x="58" y="80"/>
                  </a:cubicBezTo>
                  <a:cubicBezTo>
                    <a:pt x="58" y="80"/>
                    <a:pt x="58" y="80"/>
                    <a:pt x="58" y="80"/>
                  </a:cubicBezTo>
                  <a:cubicBezTo>
                    <a:pt x="60" y="80"/>
                    <a:pt x="61" y="79"/>
                    <a:pt x="62" y="78"/>
                  </a:cubicBezTo>
                  <a:cubicBezTo>
                    <a:pt x="64" y="78"/>
                    <a:pt x="65" y="77"/>
                    <a:pt x="67" y="76"/>
                  </a:cubicBezTo>
                  <a:cubicBezTo>
                    <a:pt x="67" y="76"/>
                    <a:pt x="67" y="76"/>
                    <a:pt x="67" y="76"/>
                  </a:cubicBezTo>
                  <a:cubicBezTo>
                    <a:pt x="69" y="76"/>
                    <a:pt x="69" y="76"/>
                    <a:pt x="69" y="76"/>
                  </a:cubicBezTo>
                  <a:cubicBezTo>
                    <a:pt x="70" y="76"/>
                    <a:pt x="71" y="77"/>
                    <a:pt x="72" y="78"/>
                  </a:cubicBezTo>
                  <a:cubicBezTo>
                    <a:pt x="73" y="78"/>
                    <a:pt x="74" y="79"/>
                    <a:pt x="75" y="79"/>
                  </a:cubicBezTo>
                  <a:cubicBezTo>
                    <a:pt x="75" y="79"/>
                    <a:pt x="75" y="79"/>
                    <a:pt x="75" y="79"/>
                  </a:cubicBezTo>
                  <a:cubicBezTo>
                    <a:pt x="76" y="80"/>
                    <a:pt x="76" y="80"/>
                    <a:pt x="76" y="80"/>
                  </a:cubicBezTo>
                  <a:cubicBezTo>
                    <a:pt x="78" y="81"/>
                    <a:pt x="78" y="81"/>
                    <a:pt x="78" y="81"/>
                  </a:cubicBezTo>
                  <a:cubicBezTo>
                    <a:pt x="79" y="80"/>
                    <a:pt x="79" y="80"/>
                    <a:pt x="79" y="80"/>
                  </a:cubicBezTo>
                  <a:cubicBezTo>
                    <a:pt x="80" y="79"/>
                    <a:pt x="81" y="78"/>
                    <a:pt x="82" y="77"/>
                  </a:cubicBezTo>
                  <a:cubicBezTo>
                    <a:pt x="83" y="76"/>
                    <a:pt x="83" y="76"/>
                    <a:pt x="84" y="75"/>
                  </a:cubicBezTo>
                  <a:cubicBezTo>
                    <a:pt x="84" y="75"/>
                    <a:pt x="85" y="74"/>
                    <a:pt x="85" y="73"/>
                  </a:cubicBezTo>
                  <a:cubicBezTo>
                    <a:pt x="85" y="73"/>
                    <a:pt x="85" y="72"/>
                    <a:pt x="85" y="72"/>
                  </a:cubicBezTo>
                  <a:cubicBezTo>
                    <a:pt x="86" y="71"/>
                    <a:pt x="86" y="69"/>
                    <a:pt x="86" y="68"/>
                  </a:cubicBezTo>
                  <a:cubicBezTo>
                    <a:pt x="86" y="67"/>
                    <a:pt x="86" y="67"/>
                    <a:pt x="86" y="67"/>
                  </a:cubicBezTo>
                  <a:cubicBezTo>
                    <a:pt x="88" y="67"/>
                    <a:pt x="88" y="67"/>
                    <a:pt x="88" y="67"/>
                  </a:cubicBezTo>
                  <a:cubicBezTo>
                    <a:pt x="88" y="67"/>
                    <a:pt x="88" y="67"/>
                    <a:pt x="88" y="67"/>
                  </a:cubicBezTo>
                  <a:cubicBezTo>
                    <a:pt x="87" y="66"/>
                    <a:pt x="87" y="66"/>
                    <a:pt x="87" y="66"/>
                  </a:cubicBezTo>
                  <a:cubicBezTo>
                    <a:pt x="87" y="63"/>
                    <a:pt x="87" y="60"/>
                    <a:pt x="89" y="58"/>
                  </a:cubicBezTo>
                  <a:cubicBezTo>
                    <a:pt x="89" y="57"/>
                    <a:pt x="89" y="57"/>
                    <a:pt x="89" y="57"/>
                  </a:cubicBezTo>
                  <a:cubicBezTo>
                    <a:pt x="89" y="56"/>
                    <a:pt x="89" y="56"/>
                    <a:pt x="89" y="56"/>
                  </a:cubicBezTo>
                  <a:cubicBezTo>
                    <a:pt x="89" y="56"/>
                    <a:pt x="89" y="56"/>
                    <a:pt x="89" y="56"/>
                  </a:cubicBezTo>
                  <a:cubicBezTo>
                    <a:pt x="89" y="56"/>
                    <a:pt x="89" y="56"/>
                    <a:pt x="89" y="56"/>
                  </a:cubicBezTo>
                  <a:cubicBezTo>
                    <a:pt x="88" y="55"/>
                    <a:pt x="88" y="55"/>
                    <a:pt x="88" y="55"/>
                  </a:cubicBezTo>
                  <a:cubicBezTo>
                    <a:pt x="88" y="55"/>
                    <a:pt x="87" y="54"/>
                    <a:pt x="87" y="53"/>
                  </a:cubicBezTo>
                  <a:cubicBezTo>
                    <a:pt x="86" y="51"/>
                    <a:pt x="86" y="51"/>
                    <a:pt x="86" y="51"/>
                  </a:cubicBezTo>
                  <a:cubicBezTo>
                    <a:pt x="84" y="48"/>
                    <a:pt x="83" y="46"/>
                    <a:pt x="82" y="43"/>
                  </a:cubicBezTo>
                  <a:cubicBezTo>
                    <a:pt x="80" y="38"/>
                    <a:pt x="79" y="34"/>
                    <a:pt x="78" y="30"/>
                  </a:cubicBezTo>
                  <a:cubicBezTo>
                    <a:pt x="78" y="26"/>
                    <a:pt x="78" y="23"/>
                    <a:pt x="80" y="20"/>
                  </a:cubicBezTo>
                  <a:cubicBezTo>
                    <a:pt x="81" y="19"/>
                    <a:pt x="82" y="18"/>
                    <a:pt x="82" y="17"/>
                  </a:cubicBezTo>
                  <a:cubicBezTo>
                    <a:pt x="83" y="16"/>
                    <a:pt x="83" y="15"/>
                    <a:pt x="84" y="15"/>
                  </a:cubicBezTo>
                  <a:cubicBezTo>
                    <a:pt x="85" y="13"/>
                    <a:pt x="86" y="12"/>
                    <a:pt x="87" y="9"/>
                  </a:cubicBezTo>
                  <a:cubicBezTo>
                    <a:pt x="88" y="8"/>
                    <a:pt x="88" y="8"/>
                    <a:pt x="88" y="8"/>
                  </a:cubicBezTo>
                  <a:cubicBezTo>
                    <a:pt x="89" y="3"/>
                    <a:pt x="89" y="3"/>
                    <a:pt x="89" y="3"/>
                  </a:cubicBezTo>
                  <a:cubicBezTo>
                    <a:pt x="88" y="3"/>
                    <a:pt x="88" y="3"/>
                    <a:pt x="88" y="3"/>
                  </a:cubicBezTo>
                  <a:cubicBezTo>
                    <a:pt x="86" y="2"/>
                    <a:pt x="84" y="2"/>
                    <a:pt x="82" y="2"/>
                  </a:cubicBezTo>
                  <a:cubicBezTo>
                    <a:pt x="79" y="1"/>
                    <a:pt x="76" y="1"/>
                    <a:pt x="73" y="1"/>
                  </a:cubicBezTo>
                  <a:cubicBezTo>
                    <a:pt x="72" y="1"/>
                    <a:pt x="69"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255"/>
            <p:cNvSpPr/>
            <p:nvPr/>
          </p:nvSpPr>
          <p:spPr bwMode="auto">
            <a:xfrm>
              <a:off x="9600104" y="1554913"/>
              <a:ext cx="210428" cy="273981"/>
            </a:xfrm>
            <a:custGeom>
              <a:gdLst>
                <a:gd name="T0" fmla="*/ 10 w 63"/>
                <a:gd name="T1" fmla="*/ 4 h 82"/>
                <a:gd name="T2" fmla="*/ 5 w 63"/>
                <a:gd name="T3" fmla="*/ 14 h 82"/>
                <a:gd name="T4" fmla="*/ 2 w 63"/>
                <a:gd name="T5" fmla="*/ 18 h 82"/>
                <a:gd name="T6" fmla="*/ 4 w 63"/>
                <a:gd name="T7" fmla="*/ 36 h 82"/>
                <a:gd name="T8" fmla="*/ 9 w 63"/>
                <a:gd name="T9" fmla="*/ 46 h 82"/>
                <a:gd name="T10" fmla="*/ 10 w 63"/>
                <a:gd name="T11" fmla="*/ 47 h 82"/>
                <a:gd name="T12" fmla="*/ 12 w 63"/>
                <a:gd name="T13" fmla="*/ 51 h 82"/>
                <a:gd name="T14" fmla="*/ 9 w 63"/>
                <a:gd name="T15" fmla="*/ 62 h 82"/>
                <a:gd name="T16" fmla="*/ 9 w 63"/>
                <a:gd name="T17" fmla="*/ 64 h 82"/>
                <a:gd name="T18" fmla="*/ 7 w 63"/>
                <a:gd name="T19" fmla="*/ 70 h 82"/>
                <a:gd name="T20" fmla="*/ 3 w 63"/>
                <a:gd name="T21" fmla="*/ 76 h 82"/>
                <a:gd name="T22" fmla="*/ 0 w 63"/>
                <a:gd name="T23" fmla="*/ 79 h 82"/>
                <a:gd name="T24" fmla="*/ 5 w 63"/>
                <a:gd name="T25" fmla="*/ 82 h 82"/>
                <a:gd name="T26" fmla="*/ 6 w 63"/>
                <a:gd name="T27" fmla="*/ 82 h 82"/>
                <a:gd name="T28" fmla="*/ 19 w 63"/>
                <a:gd name="T29" fmla="*/ 78 h 82"/>
                <a:gd name="T30" fmla="*/ 24 w 63"/>
                <a:gd name="T31" fmla="*/ 78 h 82"/>
                <a:gd name="T32" fmla="*/ 25 w 63"/>
                <a:gd name="T33" fmla="*/ 78 h 82"/>
                <a:gd name="T34" fmla="*/ 32 w 63"/>
                <a:gd name="T35" fmla="*/ 81 h 82"/>
                <a:gd name="T36" fmla="*/ 33 w 63"/>
                <a:gd name="T37" fmla="*/ 80 h 82"/>
                <a:gd name="T38" fmla="*/ 35 w 63"/>
                <a:gd name="T39" fmla="*/ 79 h 82"/>
                <a:gd name="T40" fmla="*/ 39 w 63"/>
                <a:gd name="T41" fmla="*/ 75 h 82"/>
                <a:gd name="T42" fmla="*/ 40 w 63"/>
                <a:gd name="T43" fmla="*/ 72 h 82"/>
                <a:gd name="T44" fmla="*/ 37 w 63"/>
                <a:gd name="T45" fmla="*/ 68 h 82"/>
                <a:gd name="T46" fmla="*/ 42 w 63"/>
                <a:gd name="T47" fmla="*/ 68 h 82"/>
                <a:gd name="T48" fmla="*/ 44 w 63"/>
                <a:gd name="T49" fmla="*/ 63 h 82"/>
                <a:gd name="T50" fmla="*/ 47 w 63"/>
                <a:gd name="T51" fmla="*/ 58 h 82"/>
                <a:gd name="T52" fmla="*/ 60 w 63"/>
                <a:gd name="T53" fmla="*/ 40 h 82"/>
                <a:gd name="T54" fmla="*/ 63 w 63"/>
                <a:gd name="T55" fmla="*/ 36 h 82"/>
                <a:gd name="T56" fmla="*/ 57 w 63"/>
                <a:gd name="T57" fmla="*/ 27 h 82"/>
                <a:gd name="T58" fmla="*/ 57 w 63"/>
                <a:gd name="T59" fmla="*/ 31 h 82"/>
                <a:gd name="T60" fmla="*/ 55 w 63"/>
                <a:gd name="T61" fmla="*/ 33 h 82"/>
                <a:gd name="T62" fmla="*/ 55 w 63"/>
                <a:gd name="T63" fmla="*/ 34 h 82"/>
                <a:gd name="T64" fmla="*/ 57 w 63"/>
                <a:gd name="T65" fmla="*/ 31 h 82"/>
                <a:gd name="T66" fmla="*/ 55 w 63"/>
                <a:gd name="T67" fmla="*/ 27 h 82"/>
                <a:gd name="T68" fmla="*/ 47 w 63"/>
                <a:gd name="T69" fmla="*/ 24 h 82"/>
                <a:gd name="T70" fmla="*/ 47 w 63"/>
                <a:gd name="T71" fmla="*/ 21 h 82"/>
                <a:gd name="T72" fmla="*/ 11 w 63"/>
                <a:gd name="T73" fmla="*/ 0 h 8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82">
                  <a:moveTo>
                    <a:pt x="11" y="0"/>
                  </a:moveTo>
                  <a:cubicBezTo>
                    <a:pt x="10" y="4"/>
                    <a:pt x="10" y="4"/>
                    <a:pt x="10" y="4"/>
                  </a:cubicBezTo>
                  <a:cubicBezTo>
                    <a:pt x="9" y="6"/>
                    <a:pt x="9" y="6"/>
                    <a:pt x="9" y="6"/>
                  </a:cubicBezTo>
                  <a:cubicBezTo>
                    <a:pt x="8" y="9"/>
                    <a:pt x="7" y="11"/>
                    <a:pt x="5" y="14"/>
                  </a:cubicBezTo>
                  <a:cubicBezTo>
                    <a:pt x="4" y="15"/>
                    <a:pt x="4" y="15"/>
                    <a:pt x="4" y="15"/>
                  </a:cubicBezTo>
                  <a:cubicBezTo>
                    <a:pt x="3" y="16"/>
                    <a:pt x="3" y="17"/>
                    <a:pt x="2" y="18"/>
                  </a:cubicBezTo>
                  <a:cubicBezTo>
                    <a:pt x="1" y="20"/>
                    <a:pt x="1" y="22"/>
                    <a:pt x="1" y="25"/>
                  </a:cubicBezTo>
                  <a:cubicBezTo>
                    <a:pt x="1" y="28"/>
                    <a:pt x="2" y="31"/>
                    <a:pt x="4" y="36"/>
                  </a:cubicBezTo>
                  <a:cubicBezTo>
                    <a:pt x="5" y="38"/>
                    <a:pt x="6" y="40"/>
                    <a:pt x="7" y="42"/>
                  </a:cubicBezTo>
                  <a:cubicBezTo>
                    <a:pt x="9" y="46"/>
                    <a:pt x="9" y="46"/>
                    <a:pt x="9" y="46"/>
                  </a:cubicBezTo>
                  <a:cubicBezTo>
                    <a:pt x="9" y="46"/>
                    <a:pt x="10" y="47"/>
                    <a:pt x="10" y="47"/>
                  </a:cubicBezTo>
                  <a:cubicBezTo>
                    <a:pt x="10" y="47"/>
                    <a:pt x="10" y="47"/>
                    <a:pt x="10" y="47"/>
                  </a:cubicBezTo>
                  <a:cubicBezTo>
                    <a:pt x="11" y="48"/>
                    <a:pt x="11" y="48"/>
                    <a:pt x="11" y="48"/>
                  </a:cubicBezTo>
                  <a:cubicBezTo>
                    <a:pt x="11" y="49"/>
                    <a:pt x="12" y="50"/>
                    <a:pt x="12" y="51"/>
                  </a:cubicBezTo>
                  <a:cubicBezTo>
                    <a:pt x="12" y="52"/>
                    <a:pt x="12" y="54"/>
                    <a:pt x="11" y="56"/>
                  </a:cubicBezTo>
                  <a:cubicBezTo>
                    <a:pt x="10" y="58"/>
                    <a:pt x="9" y="59"/>
                    <a:pt x="9" y="62"/>
                  </a:cubicBezTo>
                  <a:cubicBezTo>
                    <a:pt x="9" y="62"/>
                    <a:pt x="9" y="63"/>
                    <a:pt x="9" y="64"/>
                  </a:cubicBezTo>
                  <a:cubicBezTo>
                    <a:pt x="9" y="64"/>
                    <a:pt x="9" y="64"/>
                    <a:pt x="9" y="64"/>
                  </a:cubicBezTo>
                  <a:cubicBezTo>
                    <a:pt x="8" y="66"/>
                    <a:pt x="8" y="68"/>
                    <a:pt x="7" y="70"/>
                  </a:cubicBezTo>
                  <a:cubicBezTo>
                    <a:pt x="7" y="70"/>
                    <a:pt x="7" y="70"/>
                    <a:pt x="7" y="70"/>
                  </a:cubicBezTo>
                  <a:cubicBezTo>
                    <a:pt x="7" y="72"/>
                    <a:pt x="6" y="73"/>
                    <a:pt x="5" y="73"/>
                  </a:cubicBezTo>
                  <a:cubicBezTo>
                    <a:pt x="5" y="74"/>
                    <a:pt x="4" y="75"/>
                    <a:pt x="3" y="76"/>
                  </a:cubicBezTo>
                  <a:cubicBezTo>
                    <a:pt x="2" y="77"/>
                    <a:pt x="1" y="78"/>
                    <a:pt x="0" y="79"/>
                  </a:cubicBezTo>
                  <a:cubicBezTo>
                    <a:pt x="0" y="79"/>
                    <a:pt x="0" y="79"/>
                    <a:pt x="0" y="79"/>
                  </a:cubicBezTo>
                  <a:cubicBezTo>
                    <a:pt x="2" y="80"/>
                    <a:pt x="3" y="81"/>
                    <a:pt x="4" y="81"/>
                  </a:cubicBezTo>
                  <a:cubicBezTo>
                    <a:pt x="5" y="82"/>
                    <a:pt x="5" y="82"/>
                    <a:pt x="5" y="82"/>
                  </a:cubicBezTo>
                  <a:cubicBezTo>
                    <a:pt x="6" y="82"/>
                    <a:pt x="6" y="82"/>
                    <a:pt x="6" y="82"/>
                  </a:cubicBezTo>
                  <a:cubicBezTo>
                    <a:pt x="6" y="82"/>
                    <a:pt x="6" y="82"/>
                    <a:pt x="6" y="82"/>
                  </a:cubicBezTo>
                  <a:cubicBezTo>
                    <a:pt x="8" y="81"/>
                    <a:pt x="8" y="81"/>
                    <a:pt x="8" y="81"/>
                  </a:cubicBezTo>
                  <a:cubicBezTo>
                    <a:pt x="11" y="79"/>
                    <a:pt x="15" y="79"/>
                    <a:pt x="19" y="78"/>
                  </a:cubicBezTo>
                  <a:cubicBezTo>
                    <a:pt x="20" y="78"/>
                    <a:pt x="21" y="78"/>
                    <a:pt x="23" y="78"/>
                  </a:cubicBezTo>
                  <a:cubicBezTo>
                    <a:pt x="23" y="78"/>
                    <a:pt x="23" y="78"/>
                    <a:pt x="24" y="78"/>
                  </a:cubicBezTo>
                  <a:cubicBezTo>
                    <a:pt x="25" y="77"/>
                    <a:pt x="25" y="77"/>
                    <a:pt x="25" y="77"/>
                  </a:cubicBezTo>
                  <a:cubicBezTo>
                    <a:pt x="25" y="78"/>
                    <a:pt x="25" y="78"/>
                    <a:pt x="25" y="78"/>
                  </a:cubicBezTo>
                  <a:cubicBezTo>
                    <a:pt x="26" y="78"/>
                    <a:pt x="28" y="78"/>
                    <a:pt x="28" y="81"/>
                  </a:cubicBezTo>
                  <a:cubicBezTo>
                    <a:pt x="32" y="81"/>
                    <a:pt x="32" y="81"/>
                    <a:pt x="32" y="81"/>
                  </a:cubicBezTo>
                  <a:cubicBezTo>
                    <a:pt x="32" y="81"/>
                    <a:pt x="32" y="81"/>
                    <a:pt x="32" y="81"/>
                  </a:cubicBezTo>
                  <a:cubicBezTo>
                    <a:pt x="33" y="81"/>
                    <a:pt x="33" y="81"/>
                    <a:pt x="33" y="80"/>
                  </a:cubicBezTo>
                  <a:cubicBezTo>
                    <a:pt x="34" y="80"/>
                    <a:pt x="34" y="80"/>
                    <a:pt x="35" y="80"/>
                  </a:cubicBezTo>
                  <a:cubicBezTo>
                    <a:pt x="35" y="79"/>
                    <a:pt x="35" y="79"/>
                    <a:pt x="35" y="79"/>
                  </a:cubicBezTo>
                  <a:cubicBezTo>
                    <a:pt x="37" y="78"/>
                    <a:pt x="38" y="77"/>
                    <a:pt x="39" y="76"/>
                  </a:cubicBezTo>
                  <a:cubicBezTo>
                    <a:pt x="39" y="75"/>
                    <a:pt x="39" y="75"/>
                    <a:pt x="39" y="75"/>
                  </a:cubicBezTo>
                  <a:cubicBezTo>
                    <a:pt x="40" y="74"/>
                    <a:pt x="40" y="74"/>
                    <a:pt x="40" y="73"/>
                  </a:cubicBezTo>
                  <a:cubicBezTo>
                    <a:pt x="40" y="72"/>
                    <a:pt x="40" y="72"/>
                    <a:pt x="40" y="72"/>
                  </a:cubicBezTo>
                  <a:cubicBezTo>
                    <a:pt x="41" y="72"/>
                    <a:pt x="41" y="71"/>
                    <a:pt x="41" y="70"/>
                  </a:cubicBezTo>
                  <a:cubicBezTo>
                    <a:pt x="37" y="68"/>
                    <a:pt x="37" y="68"/>
                    <a:pt x="37" y="68"/>
                  </a:cubicBezTo>
                  <a:cubicBezTo>
                    <a:pt x="42" y="69"/>
                    <a:pt x="42" y="69"/>
                    <a:pt x="42" y="69"/>
                  </a:cubicBezTo>
                  <a:cubicBezTo>
                    <a:pt x="42" y="68"/>
                    <a:pt x="42" y="68"/>
                    <a:pt x="42" y="68"/>
                  </a:cubicBezTo>
                  <a:cubicBezTo>
                    <a:pt x="43" y="67"/>
                    <a:pt x="43" y="65"/>
                    <a:pt x="44" y="64"/>
                  </a:cubicBezTo>
                  <a:cubicBezTo>
                    <a:pt x="44" y="63"/>
                    <a:pt x="44" y="63"/>
                    <a:pt x="44" y="63"/>
                  </a:cubicBezTo>
                  <a:cubicBezTo>
                    <a:pt x="45" y="62"/>
                    <a:pt x="45" y="61"/>
                    <a:pt x="46" y="59"/>
                  </a:cubicBezTo>
                  <a:cubicBezTo>
                    <a:pt x="47" y="58"/>
                    <a:pt x="47" y="58"/>
                    <a:pt x="47" y="58"/>
                  </a:cubicBezTo>
                  <a:cubicBezTo>
                    <a:pt x="49" y="55"/>
                    <a:pt x="51" y="52"/>
                    <a:pt x="53" y="49"/>
                  </a:cubicBezTo>
                  <a:cubicBezTo>
                    <a:pt x="60" y="40"/>
                    <a:pt x="60" y="40"/>
                    <a:pt x="60" y="40"/>
                  </a:cubicBezTo>
                  <a:cubicBezTo>
                    <a:pt x="61" y="36"/>
                    <a:pt x="61" y="36"/>
                    <a:pt x="61" y="36"/>
                  </a:cubicBezTo>
                  <a:cubicBezTo>
                    <a:pt x="63" y="36"/>
                    <a:pt x="63" y="36"/>
                    <a:pt x="63" y="36"/>
                  </a:cubicBezTo>
                  <a:cubicBezTo>
                    <a:pt x="62" y="34"/>
                    <a:pt x="62" y="32"/>
                    <a:pt x="62" y="31"/>
                  </a:cubicBezTo>
                  <a:cubicBezTo>
                    <a:pt x="61" y="30"/>
                    <a:pt x="59" y="27"/>
                    <a:pt x="57" y="27"/>
                  </a:cubicBezTo>
                  <a:cubicBezTo>
                    <a:pt x="57" y="28"/>
                    <a:pt x="57" y="30"/>
                    <a:pt x="57" y="31"/>
                  </a:cubicBezTo>
                  <a:cubicBezTo>
                    <a:pt x="57" y="31"/>
                    <a:pt x="57" y="31"/>
                    <a:pt x="57" y="31"/>
                  </a:cubicBezTo>
                  <a:cubicBezTo>
                    <a:pt x="57" y="31"/>
                    <a:pt x="57" y="31"/>
                    <a:pt x="57" y="31"/>
                  </a:cubicBezTo>
                  <a:cubicBezTo>
                    <a:pt x="57" y="32"/>
                    <a:pt x="56" y="33"/>
                    <a:pt x="55" y="33"/>
                  </a:cubicBezTo>
                  <a:cubicBezTo>
                    <a:pt x="55" y="33"/>
                    <a:pt x="55" y="33"/>
                    <a:pt x="55" y="34"/>
                  </a:cubicBezTo>
                  <a:cubicBezTo>
                    <a:pt x="55" y="34"/>
                    <a:pt x="55" y="34"/>
                    <a:pt x="55" y="34"/>
                  </a:cubicBezTo>
                  <a:cubicBezTo>
                    <a:pt x="55" y="33"/>
                    <a:pt x="55" y="33"/>
                    <a:pt x="55" y="33"/>
                  </a:cubicBezTo>
                  <a:cubicBezTo>
                    <a:pt x="55" y="33"/>
                    <a:pt x="56" y="32"/>
                    <a:pt x="57" y="31"/>
                  </a:cubicBezTo>
                  <a:cubicBezTo>
                    <a:pt x="57" y="31"/>
                    <a:pt x="57" y="31"/>
                    <a:pt x="57" y="31"/>
                  </a:cubicBezTo>
                  <a:cubicBezTo>
                    <a:pt x="56" y="29"/>
                    <a:pt x="55" y="28"/>
                    <a:pt x="55" y="27"/>
                  </a:cubicBezTo>
                  <a:cubicBezTo>
                    <a:pt x="53" y="24"/>
                    <a:pt x="52" y="23"/>
                    <a:pt x="51" y="23"/>
                  </a:cubicBezTo>
                  <a:cubicBezTo>
                    <a:pt x="50" y="23"/>
                    <a:pt x="49" y="24"/>
                    <a:pt x="47" y="24"/>
                  </a:cubicBezTo>
                  <a:cubicBezTo>
                    <a:pt x="49" y="23"/>
                    <a:pt x="49" y="21"/>
                    <a:pt x="47" y="20"/>
                  </a:cubicBezTo>
                  <a:cubicBezTo>
                    <a:pt x="47" y="21"/>
                    <a:pt x="47" y="21"/>
                    <a:pt x="47" y="21"/>
                  </a:cubicBezTo>
                  <a:cubicBezTo>
                    <a:pt x="42" y="13"/>
                    <a:pt x="33" y="8"/>
                    <a:pt x="25" y="6"/>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256"/>
            <p:cNvSpPr/>
            <p:nvPr/>
          </p:nvSpPr>
          <p:spPr bwMode="auto">
            <a:xfrm>
              <a:off x="9286580" y="4417591"/>
              <a:ext cx="394023" cy="409559"/>
            </a:xfrm>
            <a:custGeom>
              <a:gdLst>
                <a:gd name="T0" fmla="*/ 33 w 118"/>
                <a:gd name="T1" fmla="*/ 0 h 123"/>
                <a:gd name="T2" fmla="*/ 31 w 118"/>
                <a:gd name="T3" fmla="*/ 4 h 123"/>
                <a:gd name="T4" fmla="*/ 21 w 118"/>
                <a:gd name="T5" fmla="*/ 3 h 123"/>
                <a:gd name="T6" fmla="*/ 20 w 118"/>
                <a:gd name="T7" fmla="*/ 3 h 123"/>
                <a:gd name="T8" fmla="*/ 18 w 118"/>
                <a:gd name="T9" fmla="*/ 5 h 123"/>
                <a:gd name="T10" fmla="*/ 16 w 118"/>
                <a:gd name="T11" fmla="*/ 11 h 123"/>
                <a:gd name="T12" fmla="*/ 17 w 118"/>
                <a:gd name="T13" fmla="*/ 17 h 123"/>
                <a:gd name="T14" fmla="*/ 14 w 118"/>
                <a:gd name="T15" fmla="*/ 29 h 123"/>
                <a:gd name="T16" fmla="*/ 13 w 118"/>
                <a:gd name="T17" fmla="*/ 32 h 123"/>
                <a:gd name="T18" fmla="*/ 12 w 118"/>
                <a:gd name="T19" fmla="*/ 41 h 123"/>
                <a:gd name="T20" fmla="*/ 9 w 118"/>
                <a:gd name="T21" fmla="*/ 44 h 123"/>
                <a:gd name="T22" fmla="*/ 9 w 118"/>
                <a:gd name="T23" fmla="*/ 47 h 123"/>
                <a:gd name="T24" fmla="*/ 9 w 118"/>
                <a:gd name="T25" fmla="*/ 52 h 123"/>
                <a:gd name="T26" fmla="*/ 10 w 118"/>
                <a:gd name="T27" fmla="*/ 62 h 123"/>
                <a:gd name="T28" fmla="*/ 10 w 118"/>
                <a:gd name="T29" fmla="*/ 64 h 123"/>
                <a:gd name="T30" fmla="*/ 8 w 118"/>
                <a:gd name="T31" fmla="*/ 77 h 123"/>
                <a:gd name="T32" fmla="*/ 4 w 118"/>
                <a:gd name="T33" fmla="*/ 84 h 123"/>
                <a:gd name="T34" fmla="*/ 3 w 118"/>
                <a:gd name="T35" fmla="*/ 94 h 123"/>
                <a:gd name="T36" fmla="*/ 1 w 118"/>
                <a:gd name="T37" fmla="*/ 94 h 123"/>
                <a:gd name="T38" fmla="*/ 14 w 118"/>
                <a:gd name="T39" fmla="*/ 110 h 123"/>
                <a:gd name="T40" fmla="*/ 19 w 118"/>
                <a:gd name="T41" fmla="*/ 110 h 123"/>
                <a:gd name="T42" fmla="*/ 22 w 118"/>
                <a:gd name="T43" fmla="*/ 109 h 123"/>
                <a:gd name="T44" fmla="*/ 24 w 118"/>
                <a:gd name="T45" fmla="*/ 109 h 123"/>
                <a:gd name="T46" fmla="*/ 31 w 118"/>
                <a:gd name="T47" fmla="*/ 110 h 123"/>
                <a:gd name="T48" fmla="*/ 57 w 118"/>
                <a:gd name="T49" fmla="*/ 120 h 123"/>
                <a:gd name="T50" fmla="*/ 70 w 118"/>
                <a:gd name="T51" fmla="*/ 118 h 123"/>
                <a:gd name="T52" fmla="*/ 81 w 118"/>
                <a:gd name="T53" fmla="*/ 123 h 123"/>
                <a:gd name="T54" fmla="*/ 91 w 118"/>
                <a:gd name="T55" fmla="*/ 119 h 123"/>
                <a:gd name="T56" fmla="*/ 96 w 118"/>
                <a:gd name="T57" fmla="*/ 112 h 123"/>
                <a:gd name="T58" fmla="*/ 108 w 118"/>
                <a:gd name="T59" fmla="*/ 107 h 123"/>
                <a:gd name="T60" fmla="*/ 114 w 118"/>
                <a:gd name="T61" fmla="*/ 98 h 123"/>
                <a:gd name="T62" fmla="*/ 116 w 118"/>
                <a:gd name="T63" fmla="*/ 93 h 123"/>
                <a:gd name="T64" fmla="*/ 112 w 118"/>
                <a:gd name="T65" fmla="*/ 89 h 123"/>
                <a:gd name="T66" fmla="*/ 112 w 118"/>
                <a:gd name="T67" fmla="*/ 73 h 123"/>
                <a:gd name="T68" fmla="*/ 118 w 118"/>
                <a:gd name="T69" fmla="*/ 63 h 123"/>
                <a:gd name="T70" fmla="*/ 107 w 118"/>
                <a:gd name="T71" fmla="*/ 53 h 123"/>
                <a:gd name="T72" fmla="*/ 103 w 118"/>
                <a:gd name="T73" fmla="*/ 47 h 123"/>
                <a:gd name="T74" fmla="*/ 97 w 118"/>
                <a:gd name="T75" fmla="*/ 43 h 123"/>
                <a:gd name="T76" fmla="*/ 89 w 118"/>
                <a:gd name="T77" fmla="*/ 37 h 123"/>
                <a:gd name="T78" fmla="*/ 87 w 118"/>
                <a:gd name="T79" fmla="*/ 34 h 123"/>
                <a:gd name="T80" fmla="*/ 72 w 118"/>
                <a:gd name="T81" fmla="*/ 28 h 123"/>
                <a:gd name="T82" fmla="*/ 67 w 118"/>
                <a:gd name="T83" fmla="*/ 20 h 123"/>
                <a:gd name="T84" fmla="*/ 67 w 118"/>
                <a:gd name="T85" fmla="*/ 21 h 123"/>
                <a:gd name="T86" fmla="*/ 66 w 118"/>
                <a:gd name="T87" fmla="*/ 21 h 123"/>
                <a:gd name="T88" fmla="*/ 66 w 118"/>
                <a:gd name="T89" fmla="*/ 21 h 123"/>
                <a:gd name="T90" fmla="*/ 65 w 118"/>
                <a:gd name="T91" fmla="*/ 22 h 123"/>
                <a:gd name="T92" fmla="*/ 64 w 118"/>
                <a:gd name="T93" fmla="*/ 23 h 123"/>
                <a:gd name="T94" fmla="*/ 62 w 118"/>
                <a:gd name="T95" fmla="*/ 24 h 123"/>
                <a:gd name="T96" fmla="*/ 57 w 118"/>
                <a:gd name="T97" fmla="*/ 25 h 123"/>
                <a:gd name="T98" fmla="*/ 54 w 118"/>
                <a:gd name="T99" fmla="*/ 21 h 123"/>
                <a:gd name="T100" fmla="*/ 53 w 118"/>
                <a:gd name="T101" fmla="*/ 14 h 123"/>
                <a:gd name="T102" fmla="*/ 43 w 118"/>
                <a:gd name="T103" fmla="*/ 6 h 123"/>
                <a:gd name="T104" fmla="*/ 34 w 118"/>
                <a:gd name="T105" fmla="*/ 0 h 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123">
                  <a:moveTo>
                    <a:pt x="34" y="0"/>
                  </a:moveTo>
                  <a:cubicBezTo>
                    <a:pt x="34" y="0"/>
                    <a:pt x="33" y="0"/>
                    <a:pt x="33" y="0"/>
                  </a:cubicBezTo>
                  <a:cubicBezTo>
                    <a:pt x="33" y="0"/>
                    <a:pt x="33" y="0"/>
                    <a:pt x="33" y="0"/>
                  </a:cubicBezTo>
                  <a:cubicBezTo>
                    <a:pt x="33" y="1"/>
                    <a:pt x="32" y="3"/>
                    <a:pt x="31" y="4"/>
                  </a:cubicBezTo>
                  <a:cubicBezTo>
                    <a:pt x="30" y="4"/>
                    <a:pt x="29" y="5"/>
                    <a:pt x="28" y="5"/>
                  </a:cubicBezTo>
                  <a:cubicBezTo>
                    <a:pt x="26" y="5"/>
                    <a:pt x="23" y="4"/>
                    <a:pt x="21" y="3"/>
                  </a:cubicBezTo>
                  <a:cubicBezTo>
                    <a:pt x="21" y="3"/>
                    <a:pt x="21" y="3"/>
                    <a:pt x="21" y="3"/>
                  </a:cubicBezTo>
                  <a:cubicBezTo>
                    <a:pt x="20" y="3"/>
                    <a:pt x="20" y="3"/>
                    <a:pt x="20" y="3"/>
                  </a:cubicBezTo>
                  <a:cubicBezTo>
                    <a:pt x="19" y="3"/>
                    <a:pt x="19" y="3"/>
                    <a:pt x="19" y="3"/>
                  </a:cubicBezTo>
                  <a:cubicBezTo>
                    <a:pt x="19" y="4"/>
                    <a:pt x="18" y="4"/>
                    <a:pt x="18" y="5"/>
                  </a:cubicBezTo>
                  <a:cubicBezTo>
                    <a:pt x="17" y="6"/>
                    <a:pt x="16" y="8"/>
                    <a:pt x="16" y="9"/>
                  </a:cubicBezTo>
                  <a:cubicBezTo>
                    <a:pt x="16" y="10"/>
                    <a:pt x="16" y="10"/>
                    <a:pt x="16" y="11"/>
                  </a:cubicBezTo>
                  <a:cubicBezTo>
                    <a:pt x="17" y="12"/>
                    <a:pt x="17" y="13"/>
                    <a:pt x="17" y="14"/>
                  </a:cubicBezTo>
                  <a:cubicBezTo>
                    <a:pt x="17" y="15"/>
                    <a:pt x="17" y="16"/>
                    <a:pt x="17" y="17"/>
                  </a:cubicBezTo>
                  <a:cubicBezTo>
                    <a:pt x="17" y="18"/>
                    <a:pt x="17" y="19"/>
                    <a:pt x="17" y="21"/>
                  </a:cubicBezTo>
                  <a:cubicBezTo>
                    <a:pt x="16" y="23"/>
                    <a:pt x="15" y="26"/>
                    <a:pt x="14" y="29"/>
                  </a:cubicBezTo>
                  <a:cubicBezTo>
                    <a:pt x="14" y="30"/>
                    <a:pt x="14" y="30"/>
                    <a:pt x="13" y="31"/>
                  </a:cubicBezTo>
                  <a:cubicBezTo>
                    <a:pt x="13" y="32"/>
                    <a:pt x="13" y="32"/>
                    <a:pt x="13" y="32"/>
                  </a:cubicBezTo>
                  <a:cubicBezTo>
                    <a:pt x="13" y="33"/>
                    <a:pt x="12" y="35"/>
                    <a:pt x="12" y="36"/>
                  </a:cubicBezTo>
                  <a:cubicBezTo>
                    <a:pt x="13" y="38"/>
                    <a:pt x="13" y="39"/>
                    <a:pt x="12" y="41"/>
                  </a:cubicBezTo>
                  <a:cubicBezTo>
                    <a:pt x="11" y="42"/>
                    <a:pt x="10" y="43"/>
                    <a:pt x="9" y="44"/>
                  </a:cubicBezTo>
                  <a:cubicBezTo>
                    <a:pt x="9" y="44"/>
                    <a:pt x="9" y="44"/>
                    <a:pt x="9" y="44"/>
                  </a:cubicBezTo>
                  <a:cubicBezTo>
                    <a:pt x="9" y="45"/>
                    <a:pt x="9" y="45"/>
                    <a:pt x="9" y="45"/>
                  </a:cubicBezTo>
                  <a:cubicBezTo>
                    <a:pt x="9" y="45"/>
                    <a:pt x="9" y="46"/>
                    <a:pt x="9" y="47"/>
                  </a:cubicBezTo>
                  <a:cubicBezTo>
                    <a:pt x="9" y="48"/>
                    <a:pt x="9" y="50"/>
                    <a:pt x="9" y="51"/>
                  </a:cubicBezTo>
                  <a:cubicBezTo>
                    <a:pt x="9" y="52"/>
                    <a:pt x="9" y="52"/>
                    <a:pt x="9" y="52"/>
                  </a:cubicBezTo>
                  <a:cubicBezTo>
                    <a:pt x="9" y="52"/>
                    <a:pt x="9" y="53"/>
                    <a:pt x="9" y="54"/>
                  </a:cubicBezTo>
                  <a:cubicBezTo>
                    <a:pt x="9" y="57"/>
                    <a:pt x="9" y="59"/>
                    <a:pt x="10" y="62"/>
                  </a:cubicBezTo>
                  <a:cubicBezTo>
                    <a:pt x="10" y="63"/>
                    <a:pt x="10" y="63"/>
                    <a:pt x="10" y="63"/>
                  </a:cubicBezTo>
                  <a:cubicBezTo>
                    <a:pt x="10" y="64"/>
                    <a:pt x="10" y="64"/>
                    <a:pt x="10" y="64"/>
                  </a:cubicBezTo>
                  <a:cubicBezTo>
                    <a:pt x="11" y="67"/>
                    <a:pt x="13" y="71"/>
                    <a:pt x="10" y="75"/>
                  </a:cubicBezTo>
                  <a:cubicBezTo>
                    <a:pt x="10" y="76"/>
                    <a:pt x="9" y="76"/>
                    <a:pt x="8" y="77"/>
                  </a:cubicBezTo>
                  <a:cubicBezTo>
                    <a:pt x="7" y="77"/>
                    <a:pt x="7" y="77"/>
                    <a:pt x="7" y="77"/>
                  </a:cubicBezTo>
                  <a:cubicBezTo>
                    <a:pt x="5" y="80"/>
                    <a:pt x="4" y="82"/>
                    <a:pt x="4" y="84"/>
                  </a:cubicBezTo>
                  <a:cubicBezTo>
                    <a:pt x="4" y="86"/>
                    <a:pt x="3" y="90"/>
                    <a:pt x="3" y="93"/>
                  </a:cubicBezTo>
                  <a:cubicBezTo>
                    <a:pt x="3" y="94"/>
                    <a:pt x="3" y="94"/>
                    <a:pt x="3" y="94"/>
                  </a:cubicBezTo>
                  <a:cubicBezTo>
                    <a:pt x="0" y="94"/>
                    <a:pt x="0" y="94"/>
                    <a:pt x="0" y="94"/>
                  </a:cubicBezTo>
                  <a:cubicBezTo>
                    <a:pt x="1" y="94"/>
                    <a:pt x="1" y="94"/>
                    <a:pt x="1" y="94"/>
                  </a:cubicBezTo>
                  <a:cubicBezTo>
                    <a:pt x="2" y="97"/>
                    <a:pt x="6" y="101"/>
                    <a:pt x="8" y="103"/>
                  </a:cubicBezTo>
                  <a:cubicBezTo>
                    <a:pt x="10" y="106"/>
                    <a:pt x="12" y="108"/>
                    <a:pt x="14" y="110"/>
                  </a:cubicBezTo>
                  <a:cubicBezTo>
                    <a:pt x="14" y="110"/>
                    <a:pt x="14" y="110"/>
                    <a:pt x="15" y="110"/>
                  </a:cubicBezTo>
                  <a:cubicBezTo>
                    <a:pt x="16" y="110"/>
                    <a:pt x="17" y="110"/>
                    <a:pt x="19" y="110"/>
                  </a:cubicBezTo>
                  <a:cubicBezTo>
                    <a:pt x="20" y="110"/>
                    <a:pt x="21" y="109"/>
                    <a:pt x="22" y="109"/>
                  </a:cubicBezTo>
                  <a:cubicBezTo>
                    <a:pt x="22" y="109"/>
                    <a:pt x="22" y="109"/>
                    <a:pt x="22" y="109"/>
                  </a:cubicBezTo>
                  <a:cubicBezTo>
                    <a:pt x="22" y="109"/>
                    <a:pt x="22" y="109"/>
                    <a:pt x="22" y="109"/>
                  </a:cubicBezTo>
                  <a:cubicBezTo>
                    <a:pt x="23" y="109"/>
                    <a:pt x="24" y="109"/>
                    <a:pt x="24" y="109"/>
                  </a:cubicBezTo>
                  <a:cubicBezTo>
                    <a:pt x="25" y="109"/>
                    <a:pt x="26" y="109"/>
                    <a:pt x="27" y="109"/>
                  </a:cubicBezTo>
                  <a:cubicBezTo>
                    <a:pt x="28" y="109"/>
                    <a:pt x="30" y="109"/>
                    <a:pt x="31" y="110"/>
                  </a:cubicBezTo>
                  <a:cubicBezTo>
                    <a:pt x="38" y="113"/>
                    <a:pt x="45" y="117"/>
                    <a:pt x="52" y="119"/>
                  </a:cubicBezTo>
                  <a:cubicBezTo>
                    <a:pt x="54" y="120"/>
                    <a:pt x="55" y="120"/>
                    <a:pt x="57" y="120"/>
                  </a:cubicBezTo>
                  <a:cubicBezTo>
                    <a:pt x="58" y="120"/>
                    <a:pt x="60" y="120"/>
                    <a:pt x="62" y="120"/>
                  </a:cubicBezTo>
                  <a:cubicBezTo>
                    <a:pt x="63" y="120"/>
                    <a:pt x="67" y="118"/>
                    <a:pt x="70" y="118"/>
                  </a:cubicBezTo>
                  <a:cubicBezTo>
                    <a:pt x="70" y="118"/>
                    <a:pt x="71" y="118"/>
                    <a:pt x="71" y="119"/>
                  </a:cubicBezTo>
                  <a:cubicBezTo>
                    <a:pt x="73" y="119"/>
                    <a:pt x="79" y="123"/>
                    <a:pt x="81" y="123"/>
                  </a:cubicBezTo>
                  <a:cubicBezTo>
                    <a:pt x="81" y="123"/>
                    <a:pt x="81" y="123"/>
                    <a:pt x="81" y="123"/>
                  </a:cubicBezTo>
                  <a:cubicBezTo>
                    <a:pt x="84" y="121"/>
                    <a:pt x="88" y="120"/>
                    <a:pt x="91" y="119"/>
                  </a:cubicBezTo>
                  <a:cubicBezTo>
                    <a:pt x="93" y="118"/>
                    <a:pt x="96" y="117"/>
                    <a:pt x="96" y="115"/>
                  </a:cubicBezTo>
                  <a:cubicBezTo>
                    <a:pt x="97" y="114"/>
                    <a:pt x="95" y="113"/>
                    <a:pt x="96" y="112"/>
                  </a:cubicBezTo>
                  <a:cubicBezTo>
                    <a:pt x="96" y="112"/>
                    <a:pt x="99" y="111"/>
                    <a:pt x="99" y="111"/>
                  </a:cubicBezTo>
                  <a:cubicBezTo>
                    <a:pt x="101" y="110"/>
                    <a:pt x="107" y="109"/>
                    <a:pt x="108" y="107"/>
                  </a:cubicBezTo>
                  <a:cubicBezTo>
                    <a:pt x="109" y="107"/>
                    <a:pt x="108" y="106"/>
                    <a:pt x="108" y="106"/>
                  </a:cubicBezTo>
                  <a:cubicBezTo>
                    <a:pt x="110" y="103"/>
                    <a:pt x="113" y="101"/>
                    <a:pt x="114" y="98"/>
                  </a:cubicBezTo>
                  <a:cubicBezTo>
                    <a:pt x="114" y="98"/>
                    <a:pt x="115" y="96"/>
                    <a:pt x="116" y="93"/>
                  </a:cubicBezTo>
                  <a:cubicBezTo>
                    <a:pt x="116" y="93"/>
                    <a:pt x="116" y="93"/>
                    <a:pt x="116" y="93"/>
                  </a:cubicBezTo>
                  <a:cubicBezTo>
                    <a:pt x="114" y="92"/>
                    <a:pt x="114" y="91"/>
                    <a:pt x="113" y="90"/>
                  </a:cubicBezTo>
                  <a:cubicBezTo>
                    <a:pt x="113" y="90"/>
                    <a:pt x="112" y="89"/>
                    <a:pt x="112" y="89"/>
                  </a:cubicBezTo>
                  <a:cubicBezTo>
                    <a:pt x="110" y="86"/>
                    <a:pt x="111" y="75"/>
                    <a:pt x="112" y="73"/>
                  </a:cubicBezTo>
                  <a:cubicBezTo>
                    <a:pt x="112" y="73"/>
                    <a:pt x="112" y="73"/>
                    <a:pt x="112" y="73"/>
                  </a:cubicBezTo>
                  <a:cubicBezTo>
                    <a:pt x="113" y="70"/>
                    <a:pt x="115" y="68"/>
                    <a:pt x="117" y="65"/>
                  </a:cubicBezTo>
                  <a:cubicBezTo>
                    <a:pt x="117" y="65"/>
                    <a:pt x="118" y="64"/>
                    <a:pt x="118" y="63"/>
                  </a:cubicBezTo>
                  <a:cubicBezTo>
                    <a:pt x="114" y="61"/>
                    <a:pt x="111" y="59"/>
                    <a:pt x="108" y="55"/>
                  </a:cubicBezTo>
                  <a:cubicBezTo>
                    <a:pt x="107" y="53"/>
                    <a:pt x="107" y="53"/>
                    <a:pt x="107" y="53"/>
                  </a:cubicBezTo>
                  <a:cubicBezTo>
                    <a:pt x="106" y="52"/>
                    <a:pt x="105" y="50"/>
                    <a:pt x="104" y="48"/>
                  </a:cubicBezTo>
                  <a:cubicBezTo>
                    <a:pt x="103" y="47"/>
                    <a:pt x="103" y="47"/>
                    <a:pt x="103" y="47"/>
                  </a:cubicBezTo>
                  <a:cubicBezTo>
                    <a:pt x="102" y="46"/>
                    <a:pt x="101" y="45"/>
                    <a:pt x="99" y="44"/>
                  </a:cubicBezTo>
                  <a:cubicBezTo>
                    <a:pt x="99" y="44"/>
                    <a:pt x="98" y="44"/>
                    <a:pt x="97" y="43"/>
                  </a:cubicBezTo>
                  <a:cubicBezTo>
                    <a:pt x="97" y="43"/>
                    <a:pt x="96" y="43"/>
                    <a:pt x="96" y="42"/>
                  </a:cubicBezTo>
                  <a:cubicBezTo>
                    <a:pt x="93" y="41"/>
                    <a:pt x="90" y="40"/>
                    <a:pt x="89" y="37"/>
                  </a:cubicBezTo>
                  <a:cubicBezTo>
                    <a:pt x="88" y="36"/>
                    <a:pt x="88" y="36"/>
                    <a:pt x="88" y="36"/>
                  </a:cubicBezTo>
                  <a:cubicBezTo>
                    <a:pt x="88" y="35"/>
                    <a:pt x="87" y="34"/>
                    <a:pt x="87" y="34"/>
                  </a:cubicBezTo>
                  <a:cubicBezTo>
                    <a:pt x="85" y="33"/>
                    <a:pt x="83" y="32"/>
                    <a:pt x="81" y="32"/>
                  </a:cubicBezTo>
                  <a:cubicBezTo>
                    <a:pt x="78" y="31"/>
                    <a:pt x="75" y="30"/>
                    <a:pt x="72" y="28"/>
                  </a:cubicBezTo>
                  <a:cubicBezTo>
                    <a:pt x="71" y="27"/>
                    <a:pt x="70" y="26"/>
                    <a:pt x="69" y="24"/>
                  </a:cubicBezTo>
                  <a:cubicBezTo>
                    <a:pt x="68" y="23"/>
                    <a:pt x="68" y="22"/>
                    <a:pt x="67" y="20"/>
                  </a:cubicBezTo>
                  <a:cubicBezTo>
                    <a:pt x="66" y="21"/>
                    <a:pt x="66" y="21"/>
                    <a:pt x="66" y="21"/>
                  </a:cubicBezTo>
                  <a:cubicBezTo>
                    <a:pt x="67" y="21"/>
                    <a:pt x="67" y="21"/>
                    <a:pt x="67" y="21"/>
                  </a:cubicBezTo>
                  <a:cubicBezTo>
                    <a:pt x="66" y="21"/>
                    <a:pt x="66" y="21"/>
                    <a:pt x="66" y="21"/>
                  </a:cubicBezTo>
                  <a:cubicBezTo>
                    <a:pt x="66" y="21"/>
                    <a:pt x="66" y="21"/>
                    <a:pt x="66" y="21"/>
                  </a:cubicBezTo>
                  <a:cubicBezTo>
                    <a:pt x="66" y="21"/>
                    <a:pt x="66" y="21"/>
                    <a:pt x="66" y="21"/>
                  </a:cubicBezTo>
                  <a:cubicBezTo>
                    <a:pt x="66" y="21"/>
                    <a:pt x="66" y="21"/>
                    <a:pt x="66" y="21"/>
                  </a:cubicBezTo>
                  <a:cubicBezTo>
                    <a:pt x="65" y="22"/>
                    <a:pt x="65" y="22"/>
                    <a:pt x="65" y="22"/>
                  </a:cubicBezTo>
                  <a:cubicBezTo>
                    <a:pt x="65" y="22"/>
                    <a:pt x="65" y="22"/>
                    <a:pt x="65" y="22"/>
                  </a:cubicBezTo>
                  <a:cubicBezTo>
                    <a:pt x="64" y="22"/>
                    <a:pt x="64" y="22"/>
                    <a:pt x="64" y="22"/>
                  </a:cubicBezTo>
                  <a:cubicBezTo>
                    <a:pt x="64" y="23"/>
                    <a:pt x="64" y="23"/>
                    <a:pt x="64" y="23"/>
                  </a:cubicBezTo>
                  <a:cubicBezTo>
                    <a:pt x="64" y="23"/>
                    <a:pt x="64" y="23"/>
                    <a:pt x="64" y="23"/>
                  </a:cubicBezTo>
                  <a:cubicBezTo>
                    <a:pt x="62" y="24"/>
                    <a:pt x="62" y="24"/>
                    <a:pt x="62" y="24"/>
                  </a:cubicBezTo>
                  <a:cubicBezTo>
                    <a:pt x="62" y="24"/>
                    <a:pt x="62" y="24"/>
                    <a:pt x="62" y="24"/>
                  </a:cubicBezTo>
                  <a:cubicBezTo>
                    <a:pt x="60" y="24"/>
                    <a:pt x="59" y="24"/>
                    <a:pt x="57" y="25"/>
                  </a:cubicBezTo>
                  <a:cubicBezTo>
                    <a:pt x="52" y="26"/>
                    <a:pt x="52" y="26"/>
                    <a:pt x="52" y="26"/>
                  </a:cubicBezTo>
                  <a:cubicBezTo>
                    <a:pt x="54" y="21"/>
                    <a:pt x="54" y="21"/>
                    <a:pt x="54" y="21"/>
                  </a:cubicBezTo>
                  <a:cubicBezTo>
                    <a:pt x="54" y="20"/>
                    <a:pt x="54" y="20"/>
                    <a:pt x="54" y="19"/>
                  </a:cubicBezTo>
                  <a:cubicBezTo>
                    <a:pt x="54" y="17"/>
                    <a:pt x="54" y="15"/>
                    <a:pt x="53" y="14"/>
                  </a:cubicBezTo>
                  <a:cubicBezTo>
                    <a:pt x="49" y="11"/>
                    <a:pt x="49" y="11"/>
                    <a:pt x="49" y="11"/>
                  </a:cubicBezTo>
                  <a:cubicBezTo>
                    <a:pt x="47" y="9"/>
                    <a:pt x="45" y="7"/>
                    <a:pt x="43" y="6"/>
                  </a:cubicBezTo>
                  <a:cubicBezTo>
                    <a:pt x="42" y="4"/>
                    <a:pt x="40" y="3"/>
                    <a:pt x="38" y="1"/>
                  </a:cubicBezTo>
                  <a:cubicBezTo>
                    <a:pt x="37" y="0"/>
                    <a:pt x="35"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257"/>
            <p:cNvSpPr/>
            <p:nvPr/>
          </p:nvSpPr>
          <p:spPr bwMode="auto">
            <a:xfrm>
              <a:off x="8235851" y="6490809"/>
              <a:ext cx="252796" cy="259858"/>
            </a:xfrm>
            <a:custGeom>
              <a:gdLst>
                <a:gd name="T0" fmla="*/ 56 w 76"/>
                <a:gd name="T1" fmla="*/ 2 h 78"/>
                <a:gd name="T2" fmla="*/ 45 w 76"/>
                <a:gd name="T3" fmla="*/ 9 h 78"/>
                <a:gd name="T4" fmla="*/ 37 w 76"/>
                <a:gd name="T5" fmla="*/ 9 h 78"/>
                <a:gd name="T6" fmla="*/ 41 w 76"/>
                <a:gd name="T7" fmla="*/ 13 h 78"/>
                <a:gd name="T8" fmla="*/ 42 w 76"/>
                <a:gd name="T9" fmla="*/ 13 h 78"/>
                <a:gd name="T10" fmla="*/ 44 w 76"/>
                <a:gd name="T11" fmla="*/ 13 h 78"/>
                <a:gd name="T12" fmla="*/ 39 w 76"/>
                <a:gd name="T13" fmla="*/ 15 h 78"/>
                <a:gd name="T14" fmla="*/ 45 w 76"/>
                <a:gd name="T15" fmla="*/ 30 h 78"/>
                <a:gd name="T16" fmla="*/ 58 w 76"/>
                <a:gd name="T17" fmla="*/ 27 h 78"/>
                <a:gd name="T18" fmla="*/ 49 w 76"/>
                <a:gd name="T19" fmla="*/ 37 h 78"/>
                <a:gd name="T20" fmla="*/ 43 w 76"/>
                <a:gd name="T21" fmla="*/ 41 h 78"/>
                <a:gd name="T22" fmla="*/ 49 w 76"/>
                <a:gd name="T23" fmla="*/ 53 h 78"/>
                <a:gd name="T24" fmla="*/ 66 w 76"/>
                <a:gd name="T25" fmla="*/ 60 h 78"/>
                <a:gd name="T26" fmla="*/ 61 w 76"/>
                <a:gd name="T27" fmla="*/ 68 h 78"/>
                <a:gd name="T28" fmla="*/ 60 w 76"/>
                <a:gd name="T29" fmla="*/ 60 h 78"/>
                <a:gd name="T30" fmla="*/ 59 w 76"/>
                <a:gd name="T31" fmla="*/ 59 h 78"/>
                <a:gd name="T32" fmla="*/ 58 w 76"/>
                <a:gd name="T33" fmla="*/ 61 h 78"/>
                <a:gd name="T34" fmla="*/ 52 w 76"/>
                <a:gd name="T35" fmla="*/ 57 h 78"/>
                <a:gd name="T36" fmla="*/ 52 w 76"/>
                <a:gd name="T37" fmla="*/ 65 h 78"/>
                <a:gd name="T38" fmla="*/ 47 w 76"/>
                <a:gd name="T39" fmla="*/ 58 h 78"/>
                <a:gd name="T40" fmla="*/ 45 w 76"/>
                <a:gd name="T41" fmla="*/ 58 h 78"/>
                <a:gd name="T42" fmla="*/ 40 w 76"/>
                <a:gd name="T43" fmla="*/ 59 h 78"/>
                <a:gd name="T44" fmla="*/ 30 w 76"/>
                <a:gd name="T45" fmla="*/ 56 h 78"/>
                <a:gd name="T46" fmla="*/ 36 w 76"/>
                <a:gd name="T47" fmla="*/ 60 h 78"/>
                <a:gd name="T48" fmla="*/ 34 w 76"/>
                <a:gd name="T49" fmla="*/ 61 h 78"/>
                <a:gd name="T50" fmla="*/ 30 w 76"/>
                <a:gd name="T51" fmla="*/ 66 h 78"/>
                <a:gd name="T52" fmla="*/ 33 w 76"/>
                <a:gd name="T53" fmla="*/ 59 h 78"/>
                <a:gd name="T54" fmla="*/ 21 w 76"/>
                <a:gd name="T55" fmla="*/ 62 h 78"/>
                <a:gd name="T56" fmla="*/ 16 w 76"/>
                <a:gd name="T57" fmla="*/ 62 h 78"/>
                <a:gd name="T58" fmla="*/ 12 w 76"/>
                <a:gd name="T59" fmla="*/ 64 h 78"/>
                <a:gd name="T60" fmla="*/ 6 w 76"/>
                <a:gd name="T61" fmla="*/ 63 h 78"/>
                <a:gd name="T62" fmla="*/ 8 w 76"/>
                <a:gd name="T63" fmla="*/ 66 h 78"/>
                <a:gd name="T64" fmla="*/ 8 w 76"/>
                <a:gd name="T65" fmla="*/ 66 h 78"/>
                <a:gd name="T66" fmla="*/ 3 w 76"/>
                <a:gd name="T67" fmla="*/ 67 h 78"/>
                <a:gd name="T68" fmla="*/ 3 w 76"/>
                <a:gd name="T69" fmla="*/ 69 h 78"/>
                <a:gd name="T70" fmla="*/ 15 w 76"/>
                <a:gd name="T71" fmla="*/ 65 h 78"/>
                <a:gd name="T72" fmla="*/ 18 w 76"/>
                <a:gd name="T73" fmla="*/ 69 h 78"/>
                <a:gd name="T74" fmla="*/ 19 w 76"/>
                <a:gd name="T75" fmla="*/ 70 h 78"/>
                <a:gd name="T76" fmla="*/ 23 w 76"/>
                <a:gd name="T77" fmla="*/ 73 h 78"/>
                <a:gd name="T78" fmla="*/ 28 w 76"/>
                <a:gd name="T79" fmla="*/ 69 h 78"/>
                <a:gd name="T80" fmla="*/ 32 w 76"/>
                <a:gd name="T81" fmla="*/ 70 h 78"/>
                <a:gd name="T82" fmla="*/ 35 w 76"/>
                <a:gd name="T83" fmla="*/ 68 h 78"/>
                <a:gd name="T84" fmla="*/ 28 w 76"/>
                <a:gd name="T85" fmla="*/ 73 h 78"/>
                <a:gd name="T86" fmla="*/ 35 w 76"/>
                <a:gd name="T87" fmla="*/ 73 h 78"/>
                <a:gd name="T88" fmla="*/ 40 w 76"/>
                <a:gd name="T89" fmla="*/ 75 h 78"/>
                <a:gd name="T90" fmla="*/ 47 w 76"/>
                <a:gd name="T91" fmla="*/ 70 h 78"/>
                <a:gd name="T92" fmla="*/ 52 w 76"/>
                <a:gd name="T93" fmla="*/ 71 h 78"/>
                <a:gd name="T94" fmla="*/ 55 w 76"/>
                <a:gd name="T95" fmla="*/ 74 h 78"/>
                <a:gd name="T96" fmla="*/ 67 w 76"/>
                <a:gd name="T97" fmla="*/ 78 h 78"/>
                <a:gd name="T98" fmla="*/ 71 w 76"/>
                <a:gd name="T99" fmla="*/ 73 h 78"/>
                <a:gd name="T100" fmla="*/ 76 w 76"/>
                <a:gd name="T101" fmla="*/ 5 h 78"/>
                <a:gd name="T102" fmla="*/ 72 w 76"/>
                <a:gd name="T103" fmla="*/ 5 h 78"/>
                <a:gd name="T104" fmla="*/ 70 w 76"/>
                <a:gd name="T105" fmla="*/ 5 h 78"/>
                <a:gd name="T106" fmla="*/ 59 w 76"/>
                <a:gd name="T107" fmla="*/ 0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 h="78">
                  <a:moveTo>
                    <a:pt x="59" y="0"/>
                  </a:moveTo>
                  <a:cubicBezTo>
                    <a:pt x="59" y="0"/>
                    <a:pt x="58" y="1"/>
                    <a:pt x="56" y="2"/>
                  </a:cubicBezTo>
                  <a:cubicBezTo>
                    <a:pt x="53" y="5"/>
                    <a:pt x="51" y="11"/>
                    <a:pt x="48" y="11"/>
                  </a:cubicBezTo>
                  <a:cubicBezTo>
                    <a:pt x="47" y="11"/>
                    <a:pt x="46" y="10"/>
                    <a:pt x="45" y="9"/>
                  </a:cubicBezTo>
                  <a:cubicBezTo>
                    <a:pt x="44" y="8"/>
                    <a:pt x="42" y="8"/>
                    <a:pt x="41" y="8"/>
                  </a:cubicBezTo>
                  <a:cubicBezTo>
                    <a:pt x="39" y="8"/>
                    <a:pt x="38" y="8"/>
                    <a:pt x="37" y="9"/>
                  </a:cubicBezTo>
                  <a:cubicBezTo>
                    <a:pt x="38" y="9"/>
                    <a:pt x="40" y="9"/>
                    <a:pt x="40" y="10"/>
                  </a:cubicBezTo>
                  <a:cubicBezTo>
                    <a:pt x="41" y="11"/>
                    <a:pt x="40" y="12"/>
                    <a:pt x="41" y="13"/>
                  </a:cubicBezTo>
                  <a:cubicBezTo>
                    <a:pt x="41" y="13"/>
                    <a:pt x="41" y="13"/>
                    <a:pt x="41" y="13"/>
                  </a:cubicBezTo>
                  <a:cubicBezTo>
                    <a:pt x="41" y="13"/>
                    <a:pt x="42" y="13"/>
                    <a:pt x="42" y="13"/>
                  </a:cubicBezTo>
                  <a:cubicBezTo>
                    <a:pt x="43" y="13"/>
                    <a:pt x="43" y="12"/>
                    <a:pt x="43" y="12"/>
                  </a:cubicBezTo>
                  <a:cubicBezTo>
                    <a:pt x="44" y="12"/>
                    <a:pt x="44" y="13"/>
                    <a:pt x="44" y="13"/>
                  </a:cubicBezTo>
                  <a:cubicBezTo>
                    <a:pt x="45" y="13"/>
                    <a:pt x="42" y="17"/>
                    <a:pt x="40" y="17"/>
                  </a:cubicBezTo>
                  <a:cubicBezTo>
                    <a:pt x="39" y="17"/>
                    <a:pt x="39" y="17"/>
                    <a:pt x="39" y="15"/>
                  </a:cubicBezTo>
                  <a:cubicBezTo>
                    <a:pt x="34" y="18"/>
                    <a:pt x="36" y="31"/>
                    <a:pt x="42" y="31"/>
                  </a:cubicBezTo>
                  <a:cubicBezTo>
                    <a:pt x="43" y="31"/>
                    <a:pt x="44" y="31"/>
                    <a:pt x="45" y="30"/>
                  </a:cubicBezTo>
                  <a:cubicBezTo>
                    <a:pt x="48" y="28"/>
                    <a:pt x="50" y="27"/>
                    <a:pt x="54" y="27"/>
                  </a:cubicBezTo>
                  <a:cubicBezTo>
                    <a:pt x="55" y="27"/>
                    <a:pt x="57" y="27"/>
                    <a:pt x="58" y="27"/>
                  </a:cubicBezTo>
                  <a:cubicBezTo>
                    <a:pt x="60" y="27"/>
                    <a:pt x="62" y="27"/>
                    <a:pt x="62" y="30"/>
                  </a:cubicBezTo>
                  <a:cubicBezTo>
                    <a:pt x="62" y="35"/>
                    <a:pt x="53" y="36"/>
                    <a:pt x="49" y="37"/>
                  </a:cubicBezTo>
                  <a:cubicBezTo>
                    <a:pt x="48" y="37"/>
                    <a:pt x="46" y="39"/>
                    <a:pt x="45" y="39"/>
                  </a:cubicBezTo>
                  <a:cubicBezTo>
                    <a:pt x="44" y="40"/>
                    <a:pt x="43" y="39"/>
                    <a:pt x="43" y="41"/>
                  </a:cubicBezTo>
                  <a:cubicBezTo>
                    <a:pt x="43" y="43"/>
                    <a:pt x="43" y="45"/>
                    <a:pt x="44" y="46"/>
                  </a:cubicBezTo>
                  <a:cubicBezTo>
                    <a:pt x="45" y="49"/>
                    <a:pt x="46" y="51"/>
                    <a:pt x="49" y="53"/>
                  </a:cubicBezTo>
                  <a:cubicBezTo>
                    <a:pt x="52" y="54"/>
                    <a:pt x="55" y="55"/>
                    <a:pt x="58" y="56"/>
                  </a:cubicBezTo>
                  <a:cubicBezTo>
                    <a:pt x="61" y="58"/>
                    <a:pt x="64" y="59"/>
                    <a:pt x="66" y="60"/>
                  </a:cubicBezTo>
                  <a:cubicBezTo>
                    <a:pt x="68" y="61"/>
                    <a:pt x="70" y="61"/>
                    <a:pt x="70" y="62"/>
                  </a:cubicBezTo>
                  <a:cubicBezTo>
                    <a:pt x="70" y="65"/>
                    <a:pt x="63" y="66"/>
                    <a:pt x="61" y="68"/>
                  </a:cubicBezTo>
                  <a:cubicBezTo>
                    <a:pt x="61" y="65"/>
                    <a:pt x="66" y="65"/>
                    <a:pt x="64" y="62"/>
                  </a:cubicBezTo>
                  <a:cubicBezTo>
                    <a:pt x="64" y="62"/>
                    <a:pt x="61" y="60"/>
                    <a:pt x="60" y="60"/>
                  </a:cubicBezTo>
                  <a:cubicBezTo>
                    <a:pt x="60" y="60"/>
                    <a:pt x="60" y="59"/>
                    <a:pt x="59" y="59"/>
                  </a:cubicBezTo>
                  <a:cubicBezTo>
                    <a:pt x="59" y="59"/>
                    <a:pt x="59" y="59"/>
                    <a:pt x="59" y="59"/>
                  </a:cubicBezTo>
                  <a:cubicBezTo>
                    <a:pt x="57" y="59"/>
                    <a:pt x="59" y="60"/>
                    <a:pt x="58" y="61"/>
                  </a:cubicBezTo>
                  <a:cubicBezTo>
                    <a:pt x="58" y="61"/>
                    <a:pt x="58" y="61"/>
                    <a:pt x="58" y="61"/>
                  </a:cubicBezTo>
                  <a:cubicBezTo>
                    <a:pt x="57" y="61"/>
                    <a:pt x="56" y="60"/>
                    <a:pt x="55" y="59"/>
                  </a:cubicBezTo>
                  <a:cubicBezTo>
                    <a:pt x="54" y="58"/>
                    <a:pt x="52" y="57"/>
                    <a:pt x="52" y="57"/>
                  </a:cubicBezTo>
                  <a:cubicBezTo>
                    <a:pt x="51" y="57"/>
                    <a:pt x="51" y="58"/>
                    <a:pt x="51" y="59"/>
                  </a:cubicBezTo>
                  <a:cubicBezTo>
                    <a:pt x="51" y="62"/>
                    <a:pt x="53" y="63"/>
                    <a:pt x="52" y="65"/>
                  </a:cubicBezTo>
                  <a:cubicBezTo>
                    <a:pt x="51" y="64"/>
                    <a:pt x="50" y="62"/>
                    <a:pt x="49" y="61"/>
                  </a:cubicBezTo>
                  <a:cubicBezTo>
                    <a:pt x="49" y="60"/>
                    <a:pt x="48" y="58"/>
                    <a:pt x="47" y="58"/>
                  </a:cubicBezTo>
                  <a:cubicBezTo>
                    <a:pt x="47" y="57"/>
                    <a:pt x="46" y="56"/>
                    <a:pt x="46" y="56"/>
                  </a:cubicBezTo>
                  <a:cubicBezTo>
                    <a:pt x="45" y="56"/>
                    <a:pt x="45" y="57"/>
                    <a:pt x="45" y="58"/>
                  </a:cubicBezTo>
                  <a:cubicBezTo>
                    <a:pt x="45" y="60"/>
                    <a:pt x="45" y="61"/>
                    <a:pt x="44" y="61"/>
                  </a:cubicBezTo>
                  <a:cubicBezTo>
                    <a:pt x="43" y="61"/>
                    <a:pt x="41" y="60"/>
                    <a:pt x="40" y="59"/>
                  </a:cubicBezTo>
                  <a:cubicBezTo>
                    <a:pt x="35" y="56"/>
                    <a:pt x="30" y="54"/>
                    <a:pt x="26" y="52"/>
                  </a:cubicBezTo>
                  <a:cubicBezTo>
                    <a:pt x="27" y="53"/>
                    <a:pt x="28" y="55"/>
                    <a:pt x="30" y="56"/>
                  </a:cubicBezTo>
                  <a:cubicBezTo>
                    <a:pt x="31" y="57"/>
                    <a:pt x="32" y="56"/>
                    <a:pt x="33" y="57"/>
                  </a:cubicBezTo>
                  <a:cubicBezTo>
                    <a:pt x="35" y="58"/>
                    <a:pt x="35" y="59"/>
                    <a:pt x="36" y="60"/>
                  </a:cubicBezTo>
                  <a:cubicBezTo>
                    <a:pt x="38" y="63"/>
                    <a:pt x="41" y="64"/>
                    <a:pt x="43" y="65"/>
                  </a:cubicBezTo>
                  <a:cubicBezTo>
                    <a:pt x="41" y="64"/>
                    <a:pt x="35" y="63"/>
                    <a:pt x="34" y="61"/>
                  </a:cubicBezTo>
                  <a:cubicBezTo>
                    <a:pt x="33" y="62"/>
                    <a:pt x="31" y="66"/>
                    <a:pt x="30" y="66"/>
                  </a:cubicBezTo>
                  <a:cubicBezTo>
                    <a:pt x="30" y="66"/>
                    <a:pt x="30" y="66"/>
                    <a:pt x="30" y="66"/>
                  </a:cubicBezTo>
                  <a:cubicBezTo>
                    <a:pt x="29" y="65"/>
                    <a:pt x="29" y="63"/>
                    <a:pt x="30" y="62"/>
                  </a:cubicBezTo>
                  <a:cubicBezTo>
                    <a:pt x="31" y="61"/>
                    <a:pt x="32" y="60"/>
                    <a:pt x="33" y="59"/>
                  </a:cubicBezTo>
                  <a:cubicBezTo>
                    <a:pt x="29" y="60"/>
                    <a:pt x="26" y="62"/>
                    <a:pt x="22" y="62"/>
                  </a:cubicBezTo>
                  <a:cubicBezTo>
                    <a:pt x="22" y="62"/>
                    <a:pt x="22" y="62"/>
                    <a:pt x="21" y="62"/>
                  </a:cubicBezTo>
                  <a:cubicBezTo>
                    <a:pt x="20" y="62"/>
                    <a:pt x="20" y="62"/>
                    <a:pt x="19" y="62"/>
                  </a:cubicBezTo>
                  <a:cubicBezTo>
                    <a:pt x="18" y="62"/>
                    <a:pt x="17" y="62"/>
                    <a:pt x="16" y="62"/>
                  </a:cubicBezTo>
                  <a:cubicBezTo>
                    <a:pt x="14" y="62"/>
                    <a:pt x="12" y="62"/>
                    <a:pt x="10" y="63"/>
                  </a:cubicBezTo>
                  <a:cubicBezTo>
                    <a:pt x="11" y="63"/>
                    <a:pt x="11" y="64"/>
                    <a:pt x="12" y="64"/>
                  </a:cubicBezTo>
                  <a:cubicBezTo>
                    <a:pt x="11" y="64"/>
                    <a:pt x="11" y="64"/>
                    <a:pt x="10" y="64"/>
                  </a:cubicBezTo>
                  <a:cubicBezTo>
                    <a:pt x="9" y="64"/>
                    <a:pt x="8" y="64"/>
                    <a:pt x="6" y="63"/>
                  </a:cubicBezTo>
                  <a:cubicBezTo>
                    <a:pt x="7" y="64"/>
                    <a:pt x="9" y="64"/>
                    <a:pt x="10" y="65"/>
                  </a:cubicBezTo>
                  <a:cubicBezTo>
                    <a:pt x="9" y="66"/>
                    <a:pt x="9" y="66"/>
                    <a:pt x="8" y="66"/>
                  </a:cubicBezTo>
                  <a:cubicBezTo>
                    <a:pt x="8" y="66"/>
                    <a:pt x="7" y="66"/>
                    <a:pt x="7" y="66"/>
                  </a:cubicBezTo>
                  <a:cubicBezTo>
                    <a:pt x="8" y="66"/>
                    <a:pt x="8" y="66"/>
                    <a:pt x="8" y="66"/>
                  </a:cubicBezTo>
                  <a:cubicBezTo>
                    <a:pt x="5" y="66"/>
                    <a:pt x="3" y="65"/>
                    <a:pt x="0" y="65"/>
                  </a:cubicBezTo>
                  <a:cubicBezTo>
                    <a:pt x="0" y="66"/>
                    <a:pt x="1" y="66"/>
                    <a:pt x="3" y="67"/>
                  </a:cubicBezTo>
                  <a:cubicBezTo>
                    <a:pt x="0" y="68"/>
                    <a:pt x="1" y="69"/>
                    <a:pt x="3" y="69"/>
                  </a:cubicBezTo>
                  <a:cubicBezTo>
                    <a:pt x="3" y="69"/>
                    <a:pt x="3" y="69"/>
                    <a:pt x="3" y="69"/>
                  </a:cubicBezTo>
                  <a:cubicBezTo>
                    <a:pt x="7" y="68"/>
                    <a:pt x="11" y="68"/>
                    <a:pt x="15" y="67"/>
                  </a:cubicBezTo>
                  <a:cubicBezTo>
                    <a:pt x="14" y="66"/>
                    <a:pt x="15" y="66"/>
                    <a:pt x="15" y="65"/>
                  </a:cubicBezTo>
                  <a:cubicBezTo>
                    <a:pt x="17" y="66"/>
                    <a:pt x="18" y="67"/>
                    <a:pt x="18" y="69"/>
                  </a:cubicBezTo>
                  <a:cubicBezTo>
                    <a:pt x="18" y="69"/>
                    <a:pt x="18" y="69"/>
                    <a:pt x="18" y="69"/>
                  </a:cubicBezTo>
                  <a:cubicBezTo>
                    <a:pt x="17" y="69"/>
                    <a:pt x="16" y="69"/>
                    <a:pt x="18" y="70"/>
                  </a:cubicBezTo>
                  <a:cubicBezTo>
                    <a:pt x="18" y="70"/>
                    <a:pt x="18" y="70"/>
                    <a:pt x="19" y="70"/>
                  </a:cubicBezTo>
                  <a:cubicBezTo>
                    <a:pt x="20" y="70"/>
                    <a:pt x="21" y="69"/>
                    <a:pt x="22" y="67"/>
                  </a:cubicBezTo>
                  <a:cubicBezTo>
                    <a:pt x="23" y="69"/>
                    <a:pt x="24" y="71"/>
                    <a:pt x="23" y="73"/>
                  </a:cubicBezTo>
                  <a:cubicBezTo>
                    <a:pt x="24" y="71"/>
                    <a:pt x="24" y="70"/>
                    <a:pt x="26" y="69"/>
                  </a:cubicBezTo>
                  <a:cubicBezTo>
                    <a:pt x="26" y="69"/>
                    <a:pt x="27" y="69"/>
                    <a:pt x="28" y="69"/>
                  </a:cubicBezTo>
                  <a:cubicBezTo>
                    <a:pt x="28" y="69"/>
                    <a:pt x="29" y="69"/>
                    <a:pt x="30" y="69"/>
                  </a:cubicBezTo>
                  <a:cubicBezTo>
                    <a:pt x="31" y="70"/>
                    <a:pt x="32" y="70"/>
                    <a:pt x="32" y="70"/>
                  </a:cubicBezTo>
                  <a:cubicBezTo>
                    <a:pt x="32" y="70"/>
                    <a:pt x="32" y="70"/>
                    <a:pt x="33" y="70"/>
                  </a:cubicBezTo>
                  <a:cubicBezTo>
                    <a:pt x="33" y="69"/>
                    <a:pt x="34" y="68"/>
                    <a:pt x="35" y="68"/>
                  </a:cubicBezTo>
                  <a:cubicBezTo>
                    <a:pt x="35" y="68"/>
                    <a:pt x="35" y="68"/>
                    <a:pt x="35" y="68"/>
                  </a:cubicBezTo>
                  <a:cubicBezTo>
                    <a:pt x="34" y="72"/>
                    <a:pt x="29" y="70"/>
                    <a:pt x="28" y="73"/>
                  </a:cubicBezTo>
                  <a:cubicBezTo>
                    <a:pt x="27" y="74"/>
                    <a:pt x="28" y="75"/>
                    <a:pt x="29" y="75"/>
                  </a:cubicBezTo>
                  <a:cubicBezTo>
                    <a:pt x="31" y="75"/>
                    <a:pt x="34" y="73"/>
                    <a:pt x="35" y="73"/>
                  </a:cubicBezTo>
                  <a:cubicBezTo>
                    <a:pt x="37" y="73"/>
                    <a:pt x="40" y="72"/>
                    <a:pt x="41" y="70"/>
                  </a:cubicBezTo>
                  <a:cubicBezTo>
                    <a:pt x="41" y="70"/>
                    <a:pt x="38" y="75"/>
                    <a:pt x="40" y="75"/>
                  </a:cubicBezTo>
                  <a:cubicBezTo>
                    <a:pt x="40" y="75"/>
                    <a:pt x="40" y="75"/>
                    <a:pt x="41" y="75"/>
                  </a:cubicBezTo>
                  <a:cubicBezTo>
                    <a:pt x="44" y="74"/>
                    <a:pt x="47" y="73"/>
                    <a:pt x="47" y="70"/>
                  </a:cubicBezTo>
                  <a:cubicBezTo>
                    <a:pt x="48" y="72"/>
                    <a:pt x="48" y="73"/>
                    <a:pt x="48" y="73"/>
                  </a:cubicBezTo>
                  <a:cubicBezTo>
                    <a:pt x="49" y="73"/>
                    <a:pt x="50" y="72"/>
                    <a:pt x="52" y="71"/>
                  </a:cubicBezTo>
                  <a:cubicBezTo>
                    <a:pt x="53" y="71"/>
                    <a:pt x="53" y="71"/>
                    <a:pt x="53" y="71"/>
                  </a:cubicBezTo>
                  <a:cubicBezTo>
                    <a:pt x="55" y="71"/>
                    <a:pt x="54" y="73"/>
                    <a:pt x="55" y="74"/>
                  </a:cubicBezTo>
                  <a:cubicBezTo>
                    <a:pt x="56" y="76"/>
                    <a:pt x="61" y="77"/>
                    <a:pt x="63" y="77"/>
                  </a:cubicBezTo>
                  <a:cubicBezTo>
                    <a:pt x="64" y="77"/>
                    <a:pt x="65" y="78"/>
                    <a:pt x="67" y="78"/>
                  </a:cubicBezTo>
                  <a:cubicBezTo>
                    <a:pt x="69" y="78"/>
                    <a:pt x="70" y="77"/>
                    <a:pt x="72" y="74"/>
                  </a:cubicBezTo>
                  <a:cubicBezTo>
                    <a:pt x="72" y="74"/>
                    <a:pt x="71" y="73"/>
                    <a:pt x="71" y="73"/>
                  </a:cubicBezTo>
                  <a:cubicBezTo>
                    <a:pt x="72" y="73"/>
                    <a:pt x="74" y="74"/>
                    <a:pt x="76" y="75"/>
                  </a:cubicBezTo>
                  <a:cubicBezTo>
                    <a:pt x="75" y="62"/>
                    <a:pt x="76" y="19"/>
                    <a:pt x="76" y="5"/>
                  </a:cubicBezTo>
                  <a:cubicBezTo>
                    <a:pt x="76" y="5"/>
                    <a:pt x="75" y="5"/>
                    <a:pt x="75" y="5"/>
                  </a:cubicBezTo>
                  <a:cubicBezTo>
                    <a:pt x="74" y="5"/>
                    <a:pt x="73" y="5"/>
                    <a:pt x="72" y="5"/>
                  </a:cubicBezTo>
                  <a:cubicBezTo>
                    <a:pt x="71" y="5"/>
                    <a:pt x="71" y="5"/>
                    <a:pt x="70" y="5"/>
                  </a:cubicBezTo>
                  <a:cubicBezTo>
                    <a:pt x="70" y="5"/>
                    <a:pt x="70" y="5"/>
                    <a:pt x="70" y="5"/>
                  </a:cubicBezTo>
                  <a:cubicBezTo>
                    <a:pt x="66" y="5"/>
                    <a:pt x="64" y="2"/>
                    <a:pt x="61" y="1"/>
                  </a:cubicBezTo>
                  <a:cubicBezTo>
                    <a:pt x="61" y="0"/>
                    <a:pt x="60"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258"/>
            <p:cNvSpPr/>
            <p:nvPr/>
          </p:nvSpPr>
          <p:spPr bwMode="auto">
            <a:xfrm>
              <a:off x="7156877" y="1145354"/>
              <a:ext cx="244323" cy="210429"/>
            </a:xfrm>
            <a:custGeom>
              <a:gdLst>
                <a:gd name="T0" fmla="*/ 7 w 73"/>
                <a:gd name="T1" fmla="*/ 1 h 63"/>
                <a:gd name="T2" fmla="*/ 5 w 73"/>
                <a:gd name="T3" fmla="*/ 1 h 63"/>
                <a:gd name="T4" fmla="*/ 2 w 73"/>
                <a:gd name="T5" fmla="*/ 2 h 63"/>
                <a:gd name="T6" fmla="*/ 6 w 73"/>
                <a:gd name="T7" fmla="*/ 6 h 63"/>
                <a:gd name="T8" fmla="*/ 3 w 73"/>
                <a:gd name="T9" fmla="*/ 13 h 63"/>
                <a:gd name="T10" fmla="*/ 11 w 73"/>
                <a:gd name="T11" fmla="*/ 28 h 63"/>
                <a:gd name="T12" fmla="*/ 19 w 73"/>
                <a:gd name="T13" fmla="*/ 34 h 63"/>
                <a:gd name="T14" fmla="*/ 19 w 73"/>
                <a:gd name="T15" fmla="*/ 35 h 63"/>
                <a:gd name="T16" fmla="*/ 25 w 73"/>
                <a:gd name="T17" fmla="*/ 29 h 63"/>
                <a:gd name="T18" fmla="*/ 15 w 73"/>
                <a:gd name="T19" fmla="*/ 18 h 63"/>
                <a:gd name="T20" fmla="*/ 27 w 73"/>
                <a:gd name="T21" fmla="*/ 25 h 63"/>
                <a:gd name="T22" fmla="*/ 36 w 73"/>
                <a:gd name="T23" fmla="*/ 36 h 63"/>
                <a:gd name="T24" fmla="*/ 40 w 73"/>
                <a:gd name="T25" fmla="*/ 37 h 63"/>
                <a:gd name="T26" fmla="*/ 52 w 73"/>
                <a:gd name="T27" fmla="*/ 45 h 63"/>
                <a:gd name="T28" fmla="*/ 55 w 73"/>
                <a:gd name="T29" fmla="*/ 60 h 63"/>
                <a:gd name="T30" fmla="*/ 57 w 73"/>
                <a:gd name="T31" fmla="*/ 55 h 63"/>
                <a:gd name="T32" fmla="*/ 65 w 73"/>
                <a:gd name="T33" fmla="*/ 59 h 63"/>
                <a:gd name="T34" fmla="*/ 66 w 73"/>
                <a:gd name="T35" fmla="*/ 60 h 63"/>
                <a:gd name="T36" fmla="*/ 68 w 73"/>
                <a:gd name="T37" fmla="*/ 58 h 63"/>
                <a:gd name="T38" fmla="*/ 70 w 73"/>
                <a:gd name="T39" fmla="*/ 50 h 63"/>
                <a:gd name="T40" fmla="*/ 67 w 73"/>
                <a:gd name="T41" fmla="*/ 48 h 63"/>
                <a:gd name="T42" fmla="*/ 67 w 73"/>
                <a:gd name="T43" fmla="*/ 46 h 63"/>
                <a:gd name="T44" fmla="*/ 67 w 73"/>
                <a:gd name="T45" fmla="*/ 44 h 63"/>
                <a:gd name="T46" fmla="*/ 70 w 73"/>
                <a:gd name="T47" fmla="*/ 32 h 63"/>
                <a:gd name="T48" fmla="*/ 71 w 73"/>
                <a:gd name="T49" fmla="*/ 31 h 63"/>
                <a:gd name="T50" fmla="*/ 73 w 73"/>
                <a:gd name="T51" fmla="*/ 31 h 63"/>
                <a:gd name="T52" fmla="*/ 55 w 73"/>
                <a:gd name="T53" fmla="*/ 6 h 63"/>
                <a:gd name="T54" fmla="*/ 50 w 73"/>
                <a:gd name="T55" fmla="*/ 9 h 63"/>
                <a:gd name="T56" fmla="*/ 48 w 73"/>
                <a:gd name="T57" fmla="*/ 9 h 63"/>
                <a:gd name="T58" fmla="*/ 46 w 73"/>
                <a:gd name="T59" fmla="*/ 9 h 63"/>
                <a:gd name="T60" fmla="*/ 36 w 73"/>
                <a:gd name="T61" fmla="*/ 6 h 63"/>
                <a:gd name="T62" fmla="*/ 32 w 73"/>
                <a:gd name="T63" fmla="*/ 4 h 63"/>
                <a:gd name="T64" fmla="*/ 32 w 73"/>
                <a:gd name="T65" fmla="*/ 3 h 63"/>
                <a:gd name="T66" fmla="*/ 31 w 73"/>
                <a:gd name="T67" fmla="*/ 3 h 63"/>
                <a:gd name="T68" fmla="*/ 25 w 73"/>
                <a:gd name="T69" fmla="*/ 5 h 63"/>
                <a:gd name="T70" fmla="*/ 24 w 73"/>
                <a:gd name="T71" fmla="*/ 5 h 63"/>
                <a:gd name="T72" fmla="*/ 10 w 73"/>
                <a:gd name="T73" fmla="*/ 0 h 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62">
                  <a:moveTo>
                    <a:pt x="9" y="0"/>
                  </a:moveTo>
                  <a:cubicBezTo>
                    <a:pt x="8" y="0"/>
                    <a:pt x="7" y="1"/>
                    <a:pt x="7" y="1"/>
                  </a:cubicBezTo>
                  <a:cubicBezTo>
                    <a:pt x="5" y="2"/>
                    <a:pt x="5" y="2"/>
                    <a:pt x="5" y="2"/>
                  </a:cubicBezTo>
                  <a:cubicBezTo>
                    <a:pt x="5" y="1"/>
                    <a:pt x="5" y="1"/>
                    <a:pt x="5" y="1"/>
                  </a:cubicBezTo>
                  <a:cubicBezTo>
                    <a:pt x="3" y="3"/>
                    <a:pt x="3" y="3"/>
                    <a:pt x="3" y="3"/>
                  </a:cubicBezTo>
                  <a:cubicBezTo>
                    <a:pt x="3" y="3"/>
                    <a:pt x="3" y="2"/>
                    <a:pt x="2" y="2"/>
                  </a:cubicBezTo>
                  <a:cubicBezTo>
                    <a:pt x="2" y="2"/>
                    <a:pt x="1" y="3"/>
                    <a:pt x="0" y="4"/>
                  </a:cubicBezTo>
                  <a:cubicBezTo>
                    <a:pt x="1" y="4"/>
                    <a:pt x="6" y="5"/>
                    <a:pt x="6" y="6"/>
                  </a:cubicBezTo>
                  <a:cubicBezTo>
                    <a:pt x="6" y="7"/>
                    <a:pt x="8" y="10"/>
                    <a:pt x="7" y="10"/>
                  </a:cubicBezTo>
                  <a:cubicBezTo>
                    <a:pt x="6" y="10"/>
                    <a:pt x="3" y="12"/>
                    <a:pt x="3" y="13"/>
                  </a:cubicBezTo>
                  <a:cubicBezTo>
                    <a:pt x="4" y="16"/>
                    <a:pt x="5" y="20"/>
                    <a:pt x="5" y="24"/>
                  </a:cubicBezTo>
                  <a:cubicBezTo>
                    <a:pt x="6" y="26"/>
                    <a:pt x="9" y="27"/>
                    <a:pt x="11" y="28"/>
                  </a:cubicBezTo>
                  <a:cubicBezTo>
                    <a:pt x="14" y="29"/>
                    <a:pt x="16" y="31"/>
                    <a:pt x="18" y="33"/>
                  </a:cubicBezTo>
                  <a:cubicBezTo>
                    <a:pt x="19" y="34"/>
                    <a:pt x="19" y="34"/>
                    <a:pt x="19" y="34"/>
                  </a:cubicBezTo>
                  <a:cubicBezTo>
                    <a:pt x="19" y="34"/>
                    <a:pt x="19" y="35"/>
                    <a:pt x="19" y="35"/>
                  </a:cubicBezTo>
                  <a:cubicBezTo>
                    <a:pt x="19" y="35"/>
                    <a:pt x="19" y="35"/>
                    <a:pt x="19" y="35"/>
                  </a:cubicBezTo>
                  <a:cubicBezTo>
                    <a:pt x="19" y="35"/>
                    <a:pt x="21" y="32"/>
                    <a:pt x="22" y="32"/>
                  </a:cubicBezTo>
                  <a:cubicBezTo>
                    <a:pt x="23" y="31"/>
                    <a:pt x="24" y="29"/>
                    <a:pt x="25" y="29"/>
                  </a:cubicBezTo>
                  <a:cubicBezTo>
                    <a:pt x="23" y="27"/>
                    <a:pt x="20" y="26"/>
                    <a:pt x="18" y="24"/>
                  </a:cubicBezTo>
                  <a:cubicBezTo>
                    <a:pt x="17" y="23"/>
                    <a:pt x="16" y="20"/>
                    <a:pt x="15" y="18"/>
                  </a:cubicBezTo>
                  <a:cubicBezTo>
                    <a:pt x="17" y="20"/>
                    <a:pt x="18" y="20"/>
                    <a:pt x="20" y="21"/>
                  </a:cubicBezTo>
                  <a:cubicBezTo>
                    <a:pt x="23" y="22"/>
                    <a:pt x="25" y="24"/>
                    <a:pt x="27" y="25"/>
                  </a:cubicBezTo>
                  <a:cubicBezTo>
                    <a:pt x="29" y="26"/>
                    <a:pt x="28" y="30"/>
                    <a:pt x="29" y="32"/>
                  </a:cubicBezTo>
                  <a:cubicBezTo>
                    <a:pt x="30" y="34"/>
                    <a:pt x="33" y="35"/>
                    <a:pt x="36" y="36"/>
                  </a:cubicBezTo>
                  <a:cubicBezTo>
                    <a:pt x="37" y="37"/>
                    <a:pt x="39" y="37"/>
                    <a:pt x="40" y="37"/>
                  </a:cubicBezTo>
                  <a:cubicBezTo>
                    <a:pt x="40" y="37"/>
                    <a:pt x="40" y="37"/>
                    <a:pt x="40" y="37"/>
                  </a:cubicBezTo>
                  <a:cubicBezTo>
                    <a:pt x="43" y="39"/>
                    <a:pt x="46" y="40"/>
                    <a:pt x="48" y="42"/>
                  </a:cubicBezTo>
                  <a:cubicBezTo>
                    <a:pt x="50" y="43"/>
                    <a:pt x="51" y="44"/>
                    <a:pt x="52" y="45"/>
                  </a:cubicBezTo>
                  <a:cubicBezTo>
                    <a:pt x="53" y="46"/>
                    <a:pt x="53" y="46"/>
                    <a:pt x="53" y="48"/>
                  </a:cubicBezTo>
                  <a:cubicBezTo>
                    <a:pt x="55" y="54"/>
                    <a:pt x="48" y="56"/>
                    <a:pt x="55" y="60"/>
                  </a:cubicBezTo>
                  <a:cubicBezTo>
                    <a:pt x="56" y="61"/>
                    <a:pt x="60" y="62"/>
                    <a:pt x="62" y="63"/>
                  </a:cubicBezTo>
                  <a:cubicBezTo>
                    <a:pt x="60" y="60"/>
                    <a:pt x="59" y="58"/>
                    <a:pt x="57" y="55"/>
                  </a:cubicBezTo>
                  <a:cubicBezTo>
                    <a:pt x="58" y="55"/>
                    <a:pt x="59" y="55"/>
                    <a:pt x="60" y="55"/>
                  </a:cubicBezTo>
                  <a:cubicBezTo>
                    <a:pt x="63" y="55"/>
                    <a:pt x="65" y="56"/>
                    <a:pt x="65" y="59"/>
                  </a:cubicBezTo>
                  <a:cubicBezTo>
                    <a:pt x="65" y="60"/>
                    <a:pt x="65" y="61"/>
                    <a:pt x="65" y="61"/>
                  </a:cubicBezTo>
                  <a:cubicBezTo>
                    <a:pt x="66" y="61"/>
                    <a:pt x="66" y="60"/>
                    <a:pt x="66" y="60"/>
                  </a:cubicBezTo>
                  <a:cubicBezTo>
                    <a:pt x="67" y="60"/>
                    <a:pt x="67" y="60"/>
                    <a:pt x="67" y="60"/>
                  </a:cubicBezTo>
                  <a:cubicBezTo>
                    <a:pt x="67" y="59"/>
                    <a:pt x="68" y="58"/>
                    <a:pt x="68" y="58"/>
                  </a:cubicBezTo>
                  <a:cubicBezTo>
                    <a:pt x="68" y="57"/>
                    <a:pt x="67" y="55"/>
                    <a:pt x="67" y="54"/>
                  </a:cubicBezTo>
                  <a:cubicBezTo>
                    <a:pt x="68" y="52"/>
                    <a:pt x="69" y="51"/>
                    <a:pt x="70" y="50"/>
                  </a:cubicBezTo>
                  <a:cubicBezTo>
                    <a:pt x="69" y="49"/>
                    <a:pt x="69" y="49"/>
                    <a:pt x="69" y="49"/>
                  </a:cubicBezTo>
                  <a:cubicBezTo>
                    <a:pt x="67" y="48"/>
                    <a:pt x="67" y="48"/>
                    <a:pt x="67" y="48"/>
                  </a:cubicBezTo>
                  <a:cubicBezTo>
                    <a:pt x="67" y="46"/>
                    <a:pt x="67" y="46"/>
                    <a:pt x="67" y="46"/>
                  </a:cubicBezTo>
                  <a:cubicBezTo>
                    <a:pt x="67" y="46"/>
                    <a:pt x="67" y="46"/>
                    <a:pt x="67" y="46"/>
                  </a:cubicBezTo>
                  <a:cubicBezTo>
                    <a:pt x="67" y="46"/>
                    <a:pt x="67" y="45"/>
                    <a:pt x="67" y="44"/>
                  </a:cubicBezTo>
                  <a:cubicBezTo>
                    <a:pt x="67" y="44"/>
                    <a:pt x="67" y="44"/>
                    <a:pt x="67" y="44"/>
                  </a:cubicBezTo>
                  <a:cubicBezTo>
                    <a:pt x="67" y="42"/>
                    <a:pt x="67" y="39"/>
                    <a:pt x="68" y="37"/>
                  </a:cubicBezTo>
                  <a:cubicBezTo>
                    <a:pt x="68" y="35"/>
                    <a:pt x="68" y="33"/>
                    <a:pt x="70" y="32"/>
                  </a:cubicBezTo>
                  <a:cubicBezTo>
                    <a:pt x="70" y="32"/>
                    <a:pt x="70" y="31"/>
                    <a:pt x="71" y="31"/>
                  </a:cubicBezTo>
                  <a:cubicBezTo>
                    <a:pt x="71" y="31"/>
                    <a:pt x="71" y="31"/>
                    <a:pt x="71" y="31"/>
                  </a:cubicBezTo>
                  <a:cubicBezTo>
                    <a:pt x="72" y="31"/>
                    <a:pt x="72" y="31"/>
                    <a:pt x="72" y="31"/>
                  </a:cubicBezTo>
                  <a:cubicBezTo>
                    <a:pt x="73" y="31"/>
                    <a:pt x="73" y="31"/>
                    <a:pt x="73" y="31"/>
                  </a:cubicBezTo>
                  <a:cubicBezTo>
                    <a:pt x="70" y="28"/>
                    <a:pt x="67" y="25"/>
                    <a:pt x="63" y="21"/>
                  </a:cubicBezTo>
                  <a:cubicBezTo>
                    <a:pt x="59" y="17"/>
                    <a:pt x="57" y="11"/>
                    <a:pt x="55" y="6"/>
                  </a:cubicBezTo>
                  <a:cubicBezTo>
                    <a:pt x="53" y="7"/>
                    <a:pt x="53" y="8"/>
                    <a:pt x="52" y="8"/>
                  </a:cubicBezTo>
                  <a:cubicBezTo>
                    <a:pt x="51" y="9"/>
                    <a:pt x="50" y="9"/>
                    <a:pt x="50" y="9"/>
                  </a:cubicBezTo>
                  <a:cubicBezTo>
                    <a:pt x="49" y="9"/>
                    <a:pt x="49" y="9"/>
                    <a:pt x="49" y="9"/>
                  </a:cubicBezTo>
                  <a:cubicBezTo>
                    <a:pt x="48" y="9"/>
                    <a:pt x="48" y="9"/>
                    <a:pt x="48" y="9"/>
                  </a:cubicBezTo>
                  <a:cubicBezTo>
                    <a:pt x="48" y="9"/>
                    <a:pt x="48" y="9"/>
                    <a:pt x="48" y="9"/>
                  </a:cubicBezTo>
                  <a:cubicBezTo>
                    <a:pt x="46" y="9"/>
                    <a:pt x="46" y="9"/>
                    <a:pt x="46" y="9"/>
                  </a:cubicBezTo>
                  <a:cubicBezTo>
                    <a:pt x="43" y="9"/>
                    <a:pt x="41" y="9"/>
                    <a:pt x="37" y="7"/>
                  </a:cubicBezTo>
                  <a:cubicBezTo>
                    <a:pt x="37" y="7"/>
                    <a:pt x="37" y="7"/>
                    <a:pt x="36" y="6"/>
                  </a:cubicBezTo>
                  <a:cubicBezTo>
                    <a:pt x="36" y="6"/>
                    <a:pt x="36" y="6"/>
                    <a:pt x="36" y="6"/>
                  </a:cubicBezTo>
                  <a:cubicBezTo>
                    <a:pt x="35" y="5"/>
                    <a:pt x="33" y="4"/>
                    <a:pt x="32" y="4"/>
                  </a:cubicBezTo>
                  <a:cubicBezTo>
                    <a:pt x="32" y="3"/>
                    <a:pt x="32" y="3"/>
                    <a:pt x="32" y="3"/>
                  </a:cubicBezTo>
                  <a:cubicBezTo>
                    <a:pt x="32" y="3"/>
                    <a:pt x="32" y="3"/>
                    <a:pt x="32" y="3"/>
                  </a:cubicBezTo>
                  <a:cubicBezTo>
                    <a:pt x="31" y="3"/>
                    <a:pt x="31" y="3"/>
                    <a:pt x="31" y="3"/>
                  </a:cubicBezTo>
                  <a:cubicBezTo>
                    <a:pt x="31" y="3"/>
                    <a:pt x="31" y="3"/>
                    <a:pt x="31" y="3"/>
                  </a:cubicBezTo>
                  <a:cubicBezTo>
                    <a:pt x="31" y="3"/>
                    <a:pt x="30" y="4"/>
                    <a:pt x="29" y="4"/>
                  </a:cubicBezTo>
                  <a:cubicBezTo>
                    <a:pt x="27" y="4"/>
                    <a:pt x="26" y="5"/>
                    <a:pt x="25" y="5"/>
                  </a:cubicBezTo>
                  <a:cubicBezTo>
                    <a:pt x="25" y="5"/>
                    <a:pt x="25" y="5"/>
                    <a:pt x="25" y="5"/>
                  </a:cubicBezTo>
                  <a:cubicBezTo>
                    <a:pt x="24" y="5"/>
                    <a:pt x="24" y="5"/>
                    <a:pt x="24" y="5"/>
                  </a:cubicBezTo>
                  <a:cubicBezTo>
                    <a:pt x="20" y="4"/>
                    <a:pt x="17" y="3"/>
                    <a:pt x="14" y="1"/>
                  </a:cubicBezTo>
                  <a:cubicBezTo>
                    <a:pt x="12" y="1"/>
                    <a:pt x="11" y="0"/>
                    <a:pt x="10"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259"/>
            <p:cNvSpPr/>
            <p:nvPr/>
          </p:nvSpPr>
          <p:spPr bwMode="auto">
            <a:xfrm flipH="1">
              <a:off x="7048132" y="994241"/>
              <a:ext cx="0" cy="4237"/>
            </a:xfrm>
            <a:custGeom>
              <a:gdLst>
                <a:gd name="T0" fmla="*/ 0 h 3"/>
                <a:gd name="T1" fmla="*/ 0 h 3"/>
                <a:gd name="T2" fmla="*/ 3 h 3"/>
                <a:gd name="T3" fmla="*/ 0 h 3"/>
              </a:gdLst>
              <a:cxnLst>
                <a:cxn ang="0">
                  <a:pos x="0" y="T0"/>
                </a:cxn>
                <a:cxn ang="0">
                  <a:pos x="0" y="T1"/>
                </a:cxn>
                <a:cxn ang="0">
                  <a:pos x="0" y="T2"/>
                </a:cxn>
                <a:cxn ang="0">
                  <a:pos x="0" y="T3"/>
                </a:cxn>
              </a:cxnLst>
              <a:rect l="0" t="0" r="r" b="b"/>
              <a:pathLst>
                <a:path h="3">
                  <a:moveTo>
                    <a:pt x="0" y="0"/>
                  </a:moveTo>
                  <a:lnTo>
                    <a:pt x="0" y="0"/>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260"/>
            <p:cNvSpPr/>
            <p:nvPr/>
          </p:nvSpPr>
          <p:spPr bwMode="auto">
            <a:xfrm flipH="1">
              <a:off x="7048132" y="994241"/>
              <a:ext cx="0" cy="4237"/>
            </a:xfrm>
            <a:custGeom>
              <a:gdLst>
                <a:gd name="T0" fmla="*/ 0 h 3"/>
                <a:gd name="T1" fmla="*/ 0 h 3"/>
                <a:gd name="T2" fmla="*/ 3 h 3"/>
                <a:gd name="T3" fmla="*/ 0 h 3"/>
              </a:gdLst>
              <a:cxnLst>
                <a:cxn ang="0">
                  <a:pos x="0" y="T0"/>
                </a:cxn>
                <a:cxn ang="0">
                  <a:pos x="0" y="T1"/>
                </a:cxn>
                <a:cxn ang="0">
                  <a:pos x="0" y="T2"/>
                </a:cxn>
                <a:cxn ang="0">
                  <a:pos x="0" y="T3"/>
                </a:cxn>
              </a:cxnLst>
              <a:rect l="0" t="0" r="r" b="b"/>
              <a:pathLst>
                <a:path h="3">
                  <a:moveTo>
                    <a:pt x="0" y="0"/>
                  </a:moveTo>
                  <a:lnTo>
                    <a:pt x="0" y="0"/>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261"/>
            <p:cNvSpPr/>
            <p:nvPr/>
          </p:nvSpPr>
          <p:spPr bwMode="auto">
            <a:xfrm>
              <a:off x="7017062" y="851601"/>
              <a:ext cx="354480" cy="303639"/>
            </a:xfrm>
            <a:custGeom>
              <a:gdLst>
                <a:gd name="T0" fmla="*/ 97 w 106"/>
                <a:gd name="T1" fmla="*/ 1 h 91"/>
                <a:gd name="T2" fmla="*/ 85 w 106"/>
                <a:gd name="T3" fmla="*/ 4 h 91"/>
                <a:gd name="T4" fmla="*/ 83 w 106"/>
                <a:gd name="T5" fmla="*/ 4 h 91"/>
                <a:gd name="T6" fmla="*/ 82 w 106"/>
                <a:gd name="T7" fmla="*/ 5 h 91"/>
                <a:gd name="T8" fmla="*/ 79 w 106"/>
                <a:gd name="T9" fmla="*/ 6 h 91"/>
                <a:gd name="T10" fmla="*/ 71 w 106"/>
                <a:gd name="T11" fmla="*/ 4 h 91"/>
                <a:gd name="T12" fmla="*/ 68 w 106"/>
                <a:gd name="T13" fmla="*/ 2 h 91"/>
                <a:gd name="T14" fmla="*/ 66 w 106"/>
                <a:gd name="T15" fmla="*/ 3 h 91"/>
                <a:gd name="T16" fmla="*/ 63 w 106"/>
                <a:gd name="T17" fmla="*/ 7 h 91"/>
                <a:gd name="T18" fmla="*/ 62 w 106"/>
                <a:gd name="T19" fmla="*/ 13 h 91"/>
                <a:gd name="T20" fmla="*/ 58 w 106"/>
                <a:gd name="T21" fmla="*/ 15 h 91"/>
                <a:gd name="T22" fmla="*/ 51 w 106"/>
                <a:gd name="T23" fmla="*/ 21 h 91"/>
                <a:gd name="T24" fmla="*/ 46 w 106"/>
                <a:gd name="T25" fmla="*/ 25 h 91"/>
                <a:gd name="T26" fmla="*/ 40 w 106"/>
                <a:gd name="T27" fmla="*/ 21 h 91"/>
                <a:gd name="T28" fmla="*/ 39 w 106"/>
                <a:gd name="T29" fmla="*/ 21 h 91"/>
                <a:gd name="T30" fmla="*/ 31 w 106"/>
                <a:gd name="T31" fmla="*/ 27 h 91"/>
                <a:gd name="T32" fmla="*/ 28 w 106"/>
                <a:gd name="T33" fmla="*/ 26 h 91"/>
                <a:gd name="T34" fmla="*/ 26 w 106"/>
                <a:gd name="T35" fmla="*/ 27 h 91"/>
                <a:gd name="T36" fmla="*/ 27 w 106"/>
                <a:gd name="T37" fmla="*/ 31 h 91"/>
                <a:gd name="T38" fmla="*/ 25 w 106"/>
                <a:gd name="T39" fmla="*/ 37 h 91"/>
                <a:gd name="T40" fmla="*/ 22 w 106"/>
                <a:gd name="T41" fmla="*/ 38 h 91"/>
                <a:gd name="T42" fmla="*/ 20 w 106"/>
                <a:gd name="T43" fmla="*/ 41 h 91"/>
                <a:gd name="T44" fmla="*/ 12 w 106"/>
                <a:gd name="T45" fmla="*/ 45 h 91"/>
                <a:gd name="T46" fmla="*/ 11 w 106"/>
                <a:gd name="T47" fmla="*/ 45 h 91"/>
                <a:gd name="T48" fmla="*/ 9 w 106"/>
                <a:gd name="T49" fmla="*/ 44 h 91"/>
                <a:gd name="T50" fmla="*/ 4 w 106"/>
                <a:gd name="T51" fmla="*/ 40 h 91"/>
                <a:gd name="T52" fmla="*/ 15 w 106"/>
                <a:gd name="T53" fmla="*/ 55 h 91"/>
                <a:gd name="T54" fmla="*/ 25 w 106"/>
                <a:gd name="T55" fmla="*/ 66 h 91"/>
                <a:gd name="T56" fmla="*/ 46 w 106"/>
                <a:gd name="T57" fmla="*/ 84 h 91"/>
                <a:gd name="T58" fmla="*/ 47 w 106"/>
                <a:gd name="T59" fmla="*/ 83 h 91"/>
                <a:gd name="T60" fmla="*/ 50 w 106"/>
                <a:gd name="T61" fmla="*/ 82 h 91"/>
                <a:gd name="T62" fmla="*/ 51 w 106"/>
                <a:gd name="T63" fmla="*/ 82 h 91"/>
                <a:gd name="T64" fmla="*/ 53 w 106"/>
                <a:gd name="T65" fmla="*/ 82 h 91"/>
                <a:gd name="T66" fmla="*/ 43 w 106"/>
                <a:gd name="T67" fmla="*/ 69 h 91"/>
                <a:gd name="T68" fmla="*/ 49 w 106"/>
                <a:gd name="T69" fmla="*/ 64 h 91"/>
                <a:gd name="T70" fmla="*/ 73 w 106"/>
                <a:gd name="T71" fmla="*/ 86 h 91"/>
                <a:gd name="T72" fmla="*/ 74 w 106"/>
                <a:gd name="T73" fmla="*/ 86 h 91"/>
                <a:gd name="T74" fmla="*/ 82 w 106"/>
                <a:gd name="T75" fmla="*/ 90 h 91"/>
                <a:gd name="T76" fmla="*/ 89 w 106"/>
                <a:gd name="T77" fmla="*/ 91 h 91"/>
                <a:gd name="T78" fmla="*/ 91 w 106"/>
                <a:gd name="T79" fmla="*/ 91 h 91"/>
                <a:gd name="T80" fmla="*/ 93 w 106"/>
                <a:gd name="T81" fmla="*/ 89 h 91"/>
                <a:gd name="T82" fmla="*/ 95 w 106"/>
                <a:gd name="T83" fmla="*/ 75 h 91"/>
                <a:gd name="T84" fmla="*/ 94 w 106"/>
                <a:gd name="T85" fmla="*/ 66 h 91"/>
                <a:gd name="T86" fmla="*/ 93 w 106"/>
                <a:gd name="T87" fmla="*/ 54 h 91"/>
                <a:gd name="T88" fmla="*/ 97 w 106"/>
                <a:gd name="T89" fmla="*/ 49 h 91"/>
                <a:gd name="T90" fmla="*/ 96 w 106"/>
                <a:gd name="T91" fmla="*/ 57 h 91"/>
                <a:gd name="T92" fmla="*/ 98 w 106"/>
                <a:gd name="T93" fmla="*/ 49 h 91"/>
                <a:gd name="T94" fmla="*/ 104 w 106"/>
                <a:gd name="T95" fmla="*/ 15 h 91"/>
                <a:gd name="T96" fmla="*/ 102 w 106"/>
                <a:gd name="T97" fmla="*/ 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 h="91">
                  <a:moveTo>
                    <a:pt x="102" y="0"/>
                  </a:moveTo>
                  <a:cubicBezTo>
                    <a:pt x="100" y="0"/>
                    <a:pt x="98" y="1"/>
                    <a:pt x="97" y="1"/>
                  </a:cubicBezTo>
                  <a:cubicBezTo>
                    <a:pt x="93" y="2"/>
                    <a:pt x="93" y="2"/>
                    <a:pt x="93" y="2"/>
                  </a:cubicBezTo>
                  <a:cubicBezTo>
                    <a:pt x="90" y="3"/>
                    <a:pt x="87" y="3"/>
                    <a:pt x="85" y="4"/>
                  </a:cubicBezTo>
                  <a:cubicBezTo>
                    <a:pt x="84" y="4"/>
                    <a:pt x="84" y="4"/>
                    <a:pt x="84" y="4"/>
                  </a:cubicBezTo>
                  <a:cubicBezTo>
                    <a:pt x="84" y="4"/>
                    <a:pt x="83" y="4"/>
                    <a:pt x="83" y="4"/>
                  </a:cubicBezTo>
                  <a:cubicBezTo>
                    <a:pt x="83" y="4"/>
                    <a:pt x="83" y="4"/>
                    <a:pt x="83" y="4"/>
                  </a:cubicBezTo>
                  <a:cubicBezTo>
                    <a:pt x="82" y="4"/>
                    <a:pt x="82" y="5"/>
                    <a:pt x="82" y="5"/>
                  </a:cubicBezTo>
                  <a:cubicBezTo>
                    <a:pt x="81" y="5"/>
                    <a:pt x="80" y="5"/>
                    <a:pt x="80" y="6"/>
                  </a:cubicBezTo>
                  <a:cubicBezTo>
                    <a:pt x="79" y="6"/>
                    <a:pt x="79" y="6"/>
                    <a:pt x="79" y="6"/>
                  </a:cubicBezTo>
                  <a:cubicBezTo>
                    <a:pt x="78" y="6"/>
                    <a:pt x="78" y="6"/>
                    <a:pt x="77" y="6"/>
                  </a:cubicBezTo>
                  <a:cubicBezTo>
                    <a:pt x="74" y="6"/>
                    <a:pt x="72" y="5"/>
                    <a:pt x="71" y="4"/>
                  </a:cubicBezTo>
                  <a:cubicBezTo>
                    <a:pt x="70" y="3"/>
                    <a:pt x="70" y="3"/>
                    <a:pt x="70" y="3"/>
                  </a:cubicBezTo>
                  <a:cubicBezTo>
                    <a:pt x="69" y="3"/>
                    <a:pt x="68" y="2"/>
                    <a:pt x="68" y="2"/>
                  </a:cubicBezTo>
                  <a:cubicBezTo>
                    <a:pt x="68" y="2"/>
                    <a:pt x="68" y="2"/>
                    <a:pt x="68" y="2"/>
                  </a:cubicBezTo>
                  <a:cubicBezTo>
                    <a:pt x="67" y="2"/>
                    <a:pt x="66" y="3"/>
                    <a:pt x="66" y="3"/>
                  </a:cubicBezTo>
                  <a:cubicBezTo>
                    <a:pt x="66" y="4"/>
                    <a:pt x="66" y="5"/>
                    <a:pt x="65" y="6"/>
                  </a:cubicBezTo>
                  <a:cubicBezTo>
                    <a:pt x="65" y="7"/>
                    <a:pt x="64" y="7"/>
                    <a:pt x="63" y="7"/>
                  </a:cubicBezTo>
                  <a:cubicBezTo>
                    <a:pt x="63" y="8"/>
                    <a:pt x="63" y="9"/>
                    <a:pt x="63" y="10"/>
                  </a:cubicBezTo>
                  <a:cubicBezTo>
                    <a:pt x="63" y="11"/>
                    <a:pt x="63" y="12"/>
                    <a:pt x="62" y="13"/>
                  </a:cubicBezTo>
                  <a:cubicBezTo>
                    <a:pt x="61" y="14"/>
                    <a:pt x="60" y="14"/>
                    <a:pt x="59" y="15"/>
                  </a:cubicBezTo>
                  <a:cubicBezTo>
                    <a:pt x="58" y="15"/>
                    <a:pt x="58" y="15"/>
                    <a:pt x="58" y="15"/>
                  </a:cubicBezTo>
                  <a:cubicBezTo>
                    <a:pt x="56" y="17"/>
                    <a:pt x="54" y="18"/>
                    <a:pt x="53" y="19"/>
                  </a:cubicBezTo>
                  <a:cubicBezTo>
                    <a:pt x="52" y="20"/>
                    <a:pt x="52" y="20"/>
                    <a:pt x="51" y="21"/>
                  </a:cubicBezTo>
                  <a:cubicBezTo>
                    <a:pt x="51" y="21"/>
                    <a:pt x="51" y="21"/>
                    <a:pt x="51" y="21"/>
                  </a:cubicBezTo>
                  <a:cubicBezTo>
                    <a:pt x="50" y="23"/>
                    <a:pt x="49" y="25"/>
                    <a:pt x="46" y="25"/>
                  </a:cubicBezTo>
                  <a:cubicBezTo>
                    <a:pt x="46" y="25"/>
                    <a:pt x="45" y="24"/>
                    <a:pt x="43" y="24"/>
                  </a:cubicBezTo>
                  <a:cubicBezTo>
                    <a:pt x="42" y="23"/>
                    <a:pt x="41" y="22"/>
                    <a:pt x="40" y="21"/>
                  </a:cubicBezTo>
                  <a:cubicBezTo>
                    <a:pt x="40" y="21"/>
                    <a:pt x="40" y="21"/>
                    <a:pt x="40" y="21"/>
                  </a:cubicBezTo>
                  <a:cubicBezTo>
                    <a:pt x="39" y="21"/>
                    <a:pt x="39" y="21"/>
                    <a:pt x="39" y="21"/>
                  </a:cubicBezTo>
                  <a:cubicBezTo>
                    <a:pt x="38" y="23"/>
                    <a:pt x="37" y="24"/>
                    <a:pt x="36" y="25"/>
                  </a:cubicBezTo>
                  <a:cubicBezTo>
                    <a:pt x="34" y="26"/>
                    <a:pt x="33" y="27"/>
                    <a:pt x="31" y="27"/>
                  </a:cubicBezTo>
                  <a:cubicBezTo>
                    <a:pt x="30" y="27"/>
                    <a:pt x="30" y="27"/>
                    <a:pt x="29" y="26"/>
                  </a:cubicBezTo>
                  <a:cubicBezTo>
                    <a:pt x="28" y="26"/>
                    <a:pt x="28" y="26"/>
                    <a:pt x="28" y="26"/>
                  </a:cubicBezTo>
                  <a:cubicBezTo>
                    <a:pt x="28" y="26"/>
                    <a:pt x="27" y="26"/>
                    <a:pt x="26" y="26"/>
                  </a:cubicBezTo>
                  <a:cubicBezTo>
                    <a:pt x="26" y="27"/>
                    <a:pt x="26" y="27"/>
                    <a:pt x="26" y="27"/>
                  </a:cubicBezTo>
                  <a:cubicBezTo>
                    <a:pt x="26" y="28"/>
                    <a:pt x="26" y="29"/>
                    <a:pt x="26" y="30"/>
                  </a:cubicBezTo>
                  <a:cubicBezTo>
                    <a:pt x="27" y="31"/>
                    <a:pt x="27" y="31"/>
                    <a:pt x="27" y="31"/>
                  </a:cubicBezTo>
                  <a:cubicBezTo>
                    <a:pt x="27" y="32"/>
                    <a:pt x="27" y="32"/>
                    <a:pt x="27" y="33"/>
                  </a:cubicBezTo>
                  <a:cubicBezTo>
                    <a:pt x="27" y="35"/>
                    <a:pt x="26" y="36"/>
                    <a:pt x="25" y="37"/>
                  </a:cubicBezTo>
                  <a:cubicBezTo>
                    <a:pt x="24" y="38"/>
                    <a:pt x="24" y="38"/>
                    <a:pt x="24" y="38"/>
                  </a:cubicBezTo>
                  <a:cubicBezTo>
                    <a:pt x="24" y="38"/>
                    <a:pt x="23" y="38"/>
                    <a:pt x="22" y="38"/>
                  </a:cubicBezTo>
                  <a:cubicBezTo>
                    <a:pt x="22" y="38"/>
                    <a:pt x="22" y="38"/>
                    <a:pt x="22" y="38"/>
                  </a:cubicBezTo>
                  <a:cubicBezTo>
                    <a:pt x="22" y="39"/>
                    <a:pt x="21" y="40"/>
                    <a:pt x="20" y="41"/>
                  </a:cubicBezTo>
                  <a:cubicBezTo>
                    <a:pt x="20" y="42"/>
                    <a:pt x="20" y="42"/>
                    <a:pt x="20" y="42"/>
                  </a:cubicBezTo>
                  <a:cubicBezTo>
                    <a:pt x="17" y="44"/>
                    <a:pt x="16" y="45"/>
                    <a:pt x="12" y="45"/>
                  </a:cubicBezTo>
                  <a:cubicBezTo>
                    <a:pt x="11" y="45"/>
                    <a:pt x="11" y="45"/>
                    <a:pt x="11" y="45"/>
                  </a:cubicBezTo>
                  <a:cubicBezTo>
                    <a:pt x="11" y="45"/>
                    <a:pt x="11" y="45"/>
                    <a:pt x="11" y="45"/>
                  </a:cubicBezTo>
                  <a:cubicBezTo>
                    <a:pt x="10" y="45"/>
                    <a:pt x="10" y="45"/>
                    <a:pt x="10" y="45"/>
                  </a:cubicBezTo>
                  <a:cubicBezTo>
                    <a:pt x="9" y="44"/>
                    <a:pt x="9" y="44"/>
                    <a:pt x="9" y="44"/>
                  </a:cubicBezTo>
                  <a:cubicBezTo>
                    <a:pt x="9" y="44"/>
                    <a:pt x="9" y="44"/>
                    <a:pt x="9" y="44"/>
                  </a:cubicBezTo>
                  <a:cubicBezTo>
                    <a:pt x="6" y="43"/>
                    <a:pt x="6" y="42"/>
                    <a:pt x="4" y="40"/>
                  </a:cubicBezTo>
                  <a:cubicBezTo>
                    <a:pt x="3" y="42"/>
                    <a:pt x="0" y="43"/>
                    <a:pt x="3" y="45"/>
                  </a:cubicBezTo>
                  <a:cubicBezTo>
                    <a:pt x="6" y="48"/>
                    <a:pt x="11" y="52"/>
                    <a:pt x="15" y="55"/>
                  </a:cubicBezTo>
                  <a:cubicBezTo>
                    <a:pt x="17" y="56"/>
                    <a:pt x="19" y="58"/>
                    <a:pt x="22" y="60"/>
                  </a:cubicBezTo>
                  <a:cubicBezTo>
                    <a:pt x="23" y="61"/>
                    <a:pt x="24" y="64"/>
                    <a:pt x="25" y="66"/>
                  </a:cubicBezTo>
                  <a:cubicBezTo>
                    <a:pt x="30" y="73"/>
                    <a:pt x="38" y="79"/>
                    <a:pt x="45" y="85"/>
                  </a:cubicBezTo>
                  <a:cubicBezTo>
                    <a:pt x="46" y="84"/>
                    <a:pt x="46" y="84"/>
                    <a:pt x="46" y="84"/>
                  </a:cubicBezTo>
                  <a:cubicBezTo>
                    <a:pt x="47" y="83"/>
                    <a:pt x="47" y="83"/>
                    <a:pt x="47" y="83"/>
                  </a:cubicBezTo>
                  <a:cubicBezTo>
                    <a:pt x="47" y="83"/>
                    <a:pt x="47" y="83"/>
                    <a:pt x="47" y="83"/>
                  </a:cubicBezTo>
                  <a:cubicBezTo>
                    <a:pt x="48" y="82"/>
                    <a:pt x="48" y="82"/>
                    <a:pt x="48" y="82"/>
                  </a:cubicBezTo>
                  <a:cubicBezTo>
                    <a:pt x="49" y="82"/>
                    <a:pt x="49" y="82"/>
                    <a:pt x="50" y="82"/>
                  </a:cubicBezTo>
                  <a:cubicBezTo>
                    <a:pt x="50" y="82"/>
                    <a:pt x="50" y="82"/>
                    <a:pt x="51" y="82"/>
                  </a:cubicBezTo>
                  <a:cubicBezTo>
                    <a:pt x="51" y="82"/>
                    <a:pt x="51" y="82"/>
                    <a:pt x="51" y="82"/>
                  </a:cubicBezTo>
                  <a:cubicBezTo>
                    <a:pt x="51" y="82"/>
                    <a:pt x="52" y="82"/>
                    <a:pt x="53" y="82"/>
                  </a:cubicBezTo>
                  <a:cubicBezTo>
                    <a:pt x="53" y="82"/>
                    <a:pt x="53" y="82"/>
                    <a:pt x="53" y="82"/>
                  </a:cubicBezTo>
                  <a:cubicBezTo>
                    <a:pt x="50" y="81"/>
                    <a:pt x="48" y="80"/>
                    <a:pt x="46" y="78"/>
                  </a:cubicBezTo>
                  <a:cubicBezTo>
                    <a:pt x="44" y="75"/>
                    <a:pt x="44" y="72"/>
                    <a:pt x="43" y="69"/>
                  </a:cubicBezTo>
                  <a:cubicBezTo>
                    <a:pt x="43" y="66"/>
                    <a:pt x="44" y="63"/>
                    <a:pt x="46" y="63"/>
                  </a:cubicBezTo>
                  <a:cubicBezTo>
                    <a:pt x="47" y="63"/>
                    <a:pt x="48" y="63"/>
                    <a:pt x="49" y="64"/>
                  </a:cubicBezTo>
                  <a:cubicBezTo>
                    <a:pt x="54" y="65"/>
                    <a:pt x="72" y="81"/>
                    <a:pt x="70" y="86"/>
                  </a:cubicBezTo>
                  <a:cubicBezTo>
                    <a:pt x="71" y="86"/>
                    <a:pt x="72" y="86"/>
                    <a:pt x="73" y="86"/>
                  </a:cubicBezTo>
                  <a:cubicBezTo>
                    <a:pt x="74" y="86"/>
                    <a:pt x="74" y="86"/>
                    <a:pt x="74" y="86"/>
                  </a:cubicBezTo>
                  <a:cubicBezTo>
                    <a:pt x="74" y="86"/>
                    <a:pt x="74" y="86"/>
                    <a:pt x="74" y="86"/>
                  </a:cubicBezTo>
                  <a:cubicBezTo>
                    <a:pt x="76" y="86"/>
                    <a:pt x="78" y="87"/>
                    <a:pt x="81" y="89"/>
                  </a:cubicBezTo>
                  <a:cubicBezTo>
                    <a:pt x="82" y="90"/>
                    <a:pt x="82" y="90"/>
                    <a:pt x="82" y="90"/>
                  </a:cubicBezTo>
                  <a:cubicBezTo>
                    <a:pt x="84" y="91"/>
                    <a:pt x="85" y="91"/>
                    <a:pt x="88" y="91"/>
                  </a:cubicBezTo>
                  <a:cubicBezTo>
                    <a:pt x="89" y="91"/>
                    <a:pt x="89" y="91"/>
                    <a:pt x="89" y="91"/>
                  </a:cubicBezTo>
                  <a:cubicBezTo>
                    <a:pt x="90" y="91"/>
                    <a:pt x="90" y="91"/>
                    <a:pt x="90" y="91"/>
                  </a:cubicBezTo>
                  <a:cubicBezTo>
                    <a:pt x="91" y="91"/>
                    <a:pt x="91" y="91"/>
                    <a:pt x="91" y="91"/>
                  </a:cubicBezTo>
                  <a:cubicBezTo>
                    <a:pt x="91" y="91"/>
                    <a:pt x="91" y="91"/>
                    <a:pt x="91" y="91"/>
                  </a:cubicBezTo>
                  <a:cubicBezTo>
                    <a:pt x="91" y="91"/>
                    <a:pt x="92" y="90"/>
                    <a:pt x="93" y="89"/>
                  </a:cubicBezTo>
                  <a:cubicBezTo>
                    <a:pt x="91" y="87"/>
                    <a:pt x="90" y="84"/>
                    <a:pt x="90" y="83"/>
                  </a:cubicBezTo>
                  <a:cubicBezTo>
                    <a:pt x="90" y="80"/>
                    <a:pt x="92" y="75"/>
                    <a:pt x="95" y="75"/>
                  </a:cubicBezTo>
                  <a:cubicBezTo>
                    <a:pt x="91" y="68"/>
                    <a:pt x="91" y="70"/>
                    <a:pt x="92" y="62"/>
                  </a:cubicBezTo>
                  <a:cubicBezTo>
                    <a:pt x="93" y="63"/>
                    <a:pt x="94" y="65"/>
                    <a:pt x="94" y="66"/>
                  </a:cubicBezTo>
                  <a:cubicBezTo>
                    <a:pt x="95" y="62"/>
                    <a:pt x="95" y="59"/>
                    <a:pt x="93" y="55"/>
                  </a:cubicBezTo>
                  <a:cubicBezTo>
                    <a:pt x="93" y="54"/>
                    <a:pt x="93" y="54"/>
                    <a:pt x="93" y="54"/>
                  </a:cubicBezTo>
                  <a:cubicBezTo>
                    <a:pt x="92" y="54"/>
                    <a:pt x="92" y="54"/>
                    <a:pt x="92" y="54"/>
                  </a:cubicBezTo>
                  <a:cubicBezTo>
                    <a:pt x="92" y="52"/>
                    <a:pt x="96" y="52"/>
                    <a:pt x="97" y="49"/>
                  </a:cubicBezTo>
                  <a:cubicBezTo>
                    <a:pt x="97" y="52"/>
                    <a:pt x="96" y="54"/>
                    <a:pt x="96" y="57"/>
                  </a:cubicBezTo>
                  <a:cubicBezTo>
                    <a:pt x="96" y="57"/>
                    <a:pt x="96" y="57"/>
                    <a:pt x="96" y="57"/>
                  </a:cubicBezTo>
                  <a:cubicBezTo>
                    <a:pt x="97" y="57"/>
                    <a:pt x="97" y="57"/>
                    <a:pt x="97" y="57"/>
                  </a:cubicBezTo>
                  <a:cubicBezTo>
                    <a:pt x="100" y="57"/>
                    <a:pt x="99" y="50"/>
                    <a:pt x="98" y="49"/>
                  </a:cubicBezTo>
                  <a:cubicBezTo>
                    <a:pt x="98" y="42"/>
                    <a:pt x="99" y="36"/>
                    <a:pt x="101" y="28"/>
                  </a:cubicBezTo>
                  <a:cubicBezTo>
                    <a:pt x="102" y="24"/>
                    <a:pt x="102" y="19"/>
                    <a:pt x="104" y="15"/>
                  </a:cubicBezTo>
                  <a:cubicBezTo>
                    <a:pt x="104" y="14"/>
                    <a:pt x="105" y="13"/>
                    <a:pt x="105" y="12"/>
                  </a:cubicBezTo>
                  <a:cubicBezTo>
                    <a:pt x="106" y="9"/>
                    <a:pt x="105" y="1"/>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Rectangle 262"/>
            <p:cNvSpPr>
              <a:spLocks noChangeArrowheads="1"/>
            </p:cNvSpPr>
            <p:nvPr/>
          </p:nvSpPr>
          <p:spPr bwMode="auto">
            <a:xfrm>
              <a:off x="6860300" y="915153"/>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263"/>
            <p:cNvSpPr/>
            <p:nvPr/>
          </p:nvSpPr>
          <p:spPr bwMode="auto">
            <a:xfrm flipH="1">
              <a:off x="6860300" y="91515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264"/>
            <p:cNvSpPr/>
            <p:nvPr/>
          </p:nvSpPr>
          <p:spPr bwMode="auto">
            <a:xfrm>
              <a:off x="6887133" y="888320"/>
              <a:ext cx="2825" cy="0"/>
            </a:xfrm>
            <a:custGeom>
              <a:gdLst>
                <a:gd name="T0" fmla="*/ 0 w 2"/>
                <a:gd name="T1" fmla="*/ 0 w 2"/>
                <a:gd name="T2" fmla="*/ 0 w 2"/>
                <a:gd name="T3" fmla="*/ 2 w 2"/>
                <a:gd name="T4" fmla="*/ 0 w 2"/>
              </a:gd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265"/>
            <p:cNvSpPr/>
            <p:nvPr/>
          </p:nvSpPr>
          <p:spPr bwMode="auto">
            <a:xfrm>
              <a:off x="6887133" y="888320"/>
              <a:ext cx="2825" cy="0"/>
            </a:xfrm>
            <a:custGeom>
              <a:gdLst>
                <a:gd name="T0" fmla="*/ 0 w 2"/>
                <a:gd name="T1" fmla="*/ 0 w 2"/>
                <a:gd name="T2" fmla="*/ 0 w 2"/>
                <a:gd name="T3" fmla="*/ 2 w 2"/>
                <a:gd name="T4" fmla="*/ 0 w 2"/>
              </a:gd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266"/>
            <p:cNvSpPr/>
            <p:nvPr/>
          </p:nvSpPr>
          <p:spPr bwMode="auto">
            <a:xfrm>
              <a:off x="6843353" y="888320"/>
              <a:ext cx="168060" cy="93210"/>
            </a:xfrm>
            <a:custGeom>
              <a:gdLst>
                <a:gd name="T0" fmla="*/ 16 w 50"/>
                <a:gd name="T1" fmla="*/ 0 h 28"/>
                <a:gd name="T2" fmla="*/ 16 w 50"/>
                <a:gd name="T3" fmla="*/ 1 h 28"/>
                <a:gd name="T4" fmla="*/ 15 w 50"/>
                <a:gd name="T5" fmla="*/ 1 h 28"/>
                <a:gd name="T6" fmla="*/ 14 w 50"/>
                <a:gd name="T7" fmla="*/ 1 h 28"/>
                <a:gd name="T8" fmla="*/ 13 w 50"/>
                <a:gd name="T9" fmla="*/ 3 h 28"/>
                <a:gd name="T10" fmla="*/ 9 w 50"/>
                <a:gd name="T11" fmla="*/ 6 h 28"/>
                <a:gd name="T12" fmla="*/ 9 w 50"/>
                <a:gd name="T13" fmla="*/ 6 h 28"/>
                <a:gd name="T14" fmla="*/ 9 w 50"/>
                <a:gd name="T15" fmla="*/ 6 h 28"/>
                <a:gd name="T16" fmla="*/ 9 w 50"/>
                <a:gd name="T17" fmla="*/ 6 h 28"/>
                <a:gd name="T18" fmla="*/ 9 w 50"/>
                <a:gd name="T19" fmla="*/ 14 h 28"/>
                <a:gd name="T20" fmla="*/ 4 w 50"/>
                <a:gd name="T21" fmla="*/ 9 h 28"/>
                <a:gd name="T22" fmla="*/ 4 w 50"/>
                <a:gd name="T23" fmla="*/ 9 h 28"/>
                <a:gd name="T24" fmla="*/ 2 w 50"/>
                <a:gd name="T25" fmla="*/ 10 h 28"/>
                <a:gd name="T26" fmla="*/ 0 w 50"/>
                <a:gd name="T27" fmla="*/ 14 h 28"/>
                <a:gd name="T28" fmla="*/ 0 w 50"/>
                <a:gd name="T29" fmla="*/ 15 h 28"/>
                <a:gd name="T30" fmla="*/ 12 w 50"/>
                <a:gd name="T31" fmla="*/ 20 h 28"/>
                <a:gd name="T32" fmla="*/ 27 w 50"/>
                <a:gd name="T33" fmla="*/ 25 h 28"/>
                <a:gd name="T34" fmla="*/ 44 w 50"/>
                <a:gd name="T35" fmla="*/ 27 h 28"/>
                <a:gd name="T36" fmla="*/ 48 w 50"/>
                <a:gd name="T37" fmla="*/ 28 h 28"/>
                <a:gd name="T38" fmla="*/ 48 w 50"/>
                <a:gd name="T39" fmla="*/ 27 h 28"/>
                <a:gd name="T40" fmla="*/ 50 w 50"/>
                <a:gd name="T41" fmla="*/ 23 h 28"/>
                <a:gd name="T42" fmla="*/ 49 w 50"/>
                <a:gd name="T43" fmla="*/ 23 h 28"/>
                <a:gd name="T44" fmla="*/ 49 w 50"/>
                <a:gd name="T45" fmla="*/ 22 h 28"/>
                <a:gd name="T46" fmla="*/ 49 w 50"/>
                <a:gd name="T47" fmla="*/ 20 h 28"/>
                <a:gd name="T48" fmla="*/ 49 w 50"/>
                <a:gd name="T49" fmla="*/ 20 h 28"/>
                <a:gd name="T50" fmla="*/ 49 w 50"/>
                <a:gd name="T51" fmla="*/ 16 h 28"/>
                <a:gd name="T52" fmla="*/ 49 w 50"/>
                <a:gd name="T53" fmla="*/ 15 h 28"/>
                <a:gd name="T54" fmla="*/ 50 w 50"/>
                <a:gd name="T55" fmla="*/ 13 h 28"/>
                <a:gd name="T56" fmla="*/ 50 w 50"/>
                <a:gd name="T57" fmla="*/ 13 h 28"/>
                <a:gd name="T58" fmla="*/ 49 w 50"/>
                <a:gd name="T59" fmla="*/ 13 h 28"/>
                <a:gd name="T60" fmla="*/ 48 w 50"/>
                <a:gd name="T61" fmla="*/ 13 h 28"/>
                <a:gd name="T62" fmla="*/ 48 w 50"/>
                <a:gd name="T63" fmla="*/ 13 h 28"/>
                <a:gd name="T64" fmla="*/ 47 w 50"/>
                <a:gd name="T65" fmla="*/ 13 h 28"/>
                <a:gd name="T66" fmla="*/ 46 w 50"/>
                <a:gd name="T67" fmla="*/ 12 h 28"/>
                <a:gd name="T68" fmla="*/ 43 w 50"/>
                <a:gd name="T69" fmla="*/ 11 h 28"/>
                <a:gd name="T70" fmla="*/ 43 w 50"/>
                <a:gd name="T71" fmla="*/ 10 h 28"/>
                <a:gd name="T72" fmla="*/ 43 w 50"/>
                <a:gd name="T73" fmla="*/ 10 h 28"/>
                <a:gd name="T74" fmla="*/ 42 w 50"/>
                <a:gd name="T75" fmla="*/ 10 h 28"/>
                <a:gd name="T76" fmla="*/ 41 w 50"/>
                <a:gd name="T77" fmla="*/ 12 h 28"/>
                <a:gd name="T78" fmla="*/ 39 w 50"/>
                <a:gd name="T79" fmla="*/ 12 h 28"/>
                <a:gd name="T80" fmla="*/ 37 w 50"/>
                <a:gd name="T81" fmla="*/ 13 h 28"/>
                <a:gd name="T82" fmla="*/ 36 w 50"/>
                <a:gd name="T83" fmla="*/ 13 h 28"/>
                <a:gd name="T84" fmla="*/ 31 w 50"/>
                <a:gd name="T85" fmla="*/ 14 h 28"/>
                <a:gd name="T86" fmla="*/ 32 w 50"/>
                <a:gd name="T87" fmla="*/ 10 h 28"/>
                <a:gd name="T88" fmla="*/ 31 w 50"/>
                <a:gd name="T89" fmla="*/ 10 h 28"/>
                <a:gd name="T90" fmla="*/ 30 w 50"/>
                <a:gd name="T91" fmla="*/ 10 h 28"/>
                <a:gd name="T92" fmla="*/ 27 w 50"/>
                <a:gd name="T93" fmla="*/ 8 h 28"/>
                <a:gd name="T94" fmla="*/ 27 w 50"/>
                <a:gd name="T95" fmla="*/ 7 h 28"/>
                <a:gd name="T96" fmla="*/ 25 w 50"/>
                <a:gd name="T97" fmla="*/ 6 h 28"/>
                <a:gd name="T98" fmla="*/ 22 w 50"/>
                <a:gd name="T99" fmla="*/ 10 h 28"/>
                <a:gd name="T100" fmla="*/ 24 w 50"/>
                <a:gd name="T101" fmla="*/ 5 h 28"/>
                <a:gd name="T102" fmla="*/ 21 w 50"/>
                <a:gd name="T103" fmla="*/ 3 h 28"/>
                <a:gd name="T104" fmla="*/ 19 w 50"/>
                <a:gd name="T105" fmla="*/ 1 h 28"/>
                <a:gd name="T106" fmla="*/ 19 w 50"/>
                <a:gd name="T107" fmla="*/ 1 h 28"/>
                <a:gd name="T108" fmla="*/ 16 w 50"/>
                <a:gd name="T109" fmla="*/ 0 h 28"/>
                <a:gd name="T110" fmla="*/ 16 w 50"/>
                <a:gd name="T111"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28">
                  <a:moveTo>
                    <a:pt x="16" y="0"/>
                  </a:moveTo>
                  <a:cubicBezTo>
                    <a:pt x="16" y="1"/>
                    <a:pt x="16" y="1"/>
                    <a:pt x="16" y="1"/>
                  </a:cubicBezTo>
                  <a:cubicBezTo>
                    <a:pt x="15" y="1"/>
                    <a:pt x="15" y="1"/>
                    <a:pt x="15" y="1"/>
                  </a:cubicBezTo>
                  <a:cubicBezTo>
                    <a:pt x="14" y="1"/>
                    <a:pt x="14" y="1"/>
                    <a:pt x="14" y="1"/>
                  </a:cubicBezTo>
                  <a:cubicBezTo>
                    <a:pt x="14" y="2"/>
                    <a:pt x="14" y="3"/>
                    <a:pt x="13" y="3"/>
                  </a:cubicBezTo>
                  <a:cubicBezTo>
                    <a:pt x="12" y="5"/>
                    <a:pt x="10" y="6"/>
                    <a:pt x="9" y="6"/>
                  </a:cubicBezTo>
                  <a:cubicBezTo>
                    <a:pt x="9" y="6"/>
                    <a:pt x="9" y="6"/>
                    <a:pt x="9" y="6"/>
                  </a:cubicBezTo>
                  <a:cubicBezTo>
                    <a:pt x="9" y="6"/>
                    <a:pt x="9" y="6"/>
                    <a:pt x="9" y="6"/>
                  </a:cubicBezTo>
                  <a:cubicBezTo>
                    <a:pt x="9" y="6"/>
                    <a:pt x="9" y="6"/>
                    <a:pt x="9" y="6"/>
                  </a:cubicBezTo>
                  <a:cubicBezTo>
                    <a:pt x="9" y="14"/>
                    <a:pt x="9" y="14"/>
                    <a:pt x="9" y="14"/>
                  </a:cubicBezTo>
                  <a:cubicBezTo>
                    <a:pt x="4" y="9"/>
                    <a:pt x="4" y="9"/>
                    <a:pt x="4" y="9"/>
                  </a:cubicBezTo>
                  <a:cubicBezTo>
                    <a:pt x="4" y="9"/>
                    <a:pt x="4" y="9"/>
                    <a:pt x="4" y="9"/>
                  </a:cubicBezTo>
                  <a:cubicBezTo>
                    <a:pt x="3" y="9"/>
                    <a:pt x="2" y="10"/>
                    <a:pt x="2" y="10"/>
                  </a:cubicBezTo>
                  <a:cubicBezTo>
                    <a:pt x="2" y="10"/>
                    <a:pt x="1" y="12"/>
                    <a:pt x="0" y="14"/>
                  </a:cubicBezTo>
                  <a:cubicBezTo>
                    <a:pt x="0" y="15"/>
                    <a:pt x="0" y="15"/>
                    <a:pt x="0" y="15"/>
                  </a:cubicBezTo>
                  <a:cubicBezTo>
                    <a:pt x="4" y="17"/>
                    <a:pt x="8" y="19"/>
                    <a:pt x="12" y="20"/>
                  </a:cubicBezTo>
                  <a:cubicBezTo>
                    <a:pt x="18" y="21"/>
                    <a:pt x="22" y="23"/>
                    <a:pt x="27" y="25"/>
                  </a:cubicBezTo>
                  <a:cubicBezTo>
                    <a:pt x="32" y="27"/>
                    <a:pt x="38" y="26"/>
                    <a:pt x="44" y="27"/>
                  </a:cubicBezTo>
                  <a:cubicBezTo>
                    <a:pt x="44" y="27"/>
                    <a:pt x="46" y="28"/>
                    <a:pt x="48" y="28"/>
                  </a:cubicBezTo>
                  <a:cubicBezTo>
                    <a:pt x="48" y="28"/>
                    <a:pt x="48" y="27"/>
                    <a:pt x="48" y="27"/>
                  </a:cubicBezTo>
                  <a:cubicBezTo>
                    <a:pt x="49" y="27"/>
                    <a:pt x="50" y="25"/>
                    <a:pt x="50" y="23"/>
                  </a:cubicBezTo>
                  <a:cubicBezTo>
                    <a:pt x="49" y="23"/>
                    <a:pt x="49" y="23"/>
                    <a:pt x="49" y="23"/>
                  </a:cubicBezTo>
                  <a:cubicBezTo>
                    <a:pt x="49" y="22"/>
                    <a:pt x="49" y="22"/>
                    <a:pt x="49" y="22"/>
                  </a:cubicBezTo>
                  <a:cubicBezTo>
                    <a:pt x="49" y="22"/>
                    <a:pt x="49" y="21"/>
                    <a:pt x="49" y="20"/>
                  </a:cubicBezTo>
                  <a:cubicBezTo>
                    <a:pt x="49" y="20"/>
                    <a:pt x="49" y="20"/>
                    <a:pt x="49" y="20"/>
                  </a:cubicBezTo>
                  <a:cubicBezTo>
                    <a:pt x="49" y="18"/>
                    <a:pt x="49" y="17"/>
                    <a:pt x="49" y="16"/>
                  </a:cubicBezTo>
                  <a:cubicBezTo>
                    <a:pt x="49" y="16"/>
                    <a:pt x="49" y="15"/>
                    <a:pt x="49" y="15"/>
                  </a:cubicBezTo>
                  <a:cubicBezTo>
                    <a:pt x="50" y="14"/>
                    <a:pt x="50" y="13"/>
                    <a:pt x="50" y="13"/>
                  </a:cubicBezTo>
                  <a:cubicBezTo>
                    <a:pt x="50" y="13"/>
                    <a:pt x="50" y="13"/>
                    <a:pt x="50" y="13"/>
                  </a:cubicBezTo>
                  <a:cubicBezTo>
                    <a:pt x="50" y="13"/>
                    <a:pt x="49" y="13"/>
                    <a:pt x="49" y="13"/>
                  </a:cubicBezTo>
                  <a:cubicBezTo>
                    <a:pt x="49" y="13"/>
                    <a:pt x="48" y="13"/>
                    <a:pt x="48" y="13"/>
                  </a:cubicBezTo>
                  <a:cubicBezTo>
                    <a:pt x="48" y="13"/>
                    <a:pt x="48" y="13"/>
                    <a:pt x="48" y="13"/>
                  </a:cubicBezTo>
                  <a:cubicBezTo>
                    <a:pt x="47" y="13"/>
                    <a:pt x="47" y="13"/>
                    <a:pt x="47" y="13"/>
                  </a:cubicBezTo>
                  <a:cubicBezTo>
                    <a:pt x="46" y="12"/>
                    <a:pt x="46" y="12"/>
                    <a:pt x="46" y="12"/>
                  </a:cubicBezTo>
                  <a:cubicBezTo>
                    <a:pt x="45" y="12"/>
                    <a:pt x="44" y="11"/>
                    <a:pt x="43" y="11"/>
                  </a:cubicBezTo>
                  <a:cubicBezTo>
                    <a:pt x="43" y="10"/>
                    <a:pt x="43" y="10"/>
                    <a:pt x="43" y="10"/>
                  </a:cubicBezTo>
                  <a:cubicBezTo>
                    <a:pt x="43" y="10"/>
                    <a:pt x="43" y="10"/>
                    <a:pt x="43" y="10"/>
                  </a:cubicBezTo>
                  <a:cubicBezTo>
                    <a:pt x="42" y="10"/>
                    <a:pt x="42" y="10"/>
                    <a:pt x="42" y="10"/>
                  </a:cubicBezTo>
                  <a:cubicBezTo>
                    <a:pt x="42" y="11"/>
                    <a:pt x="42" y="11"/>
                    <a:pt x="41" y="12"/>
                  </a:cubicBezTo>
                  <a:cubicBezTo>
                    <a:pt x="41" y="12"/>
                    <a:pt x="40" y="12"/>
                    <a:pt x="39" y="12"/>
                  </a:cubicBezTo>
                  <a:cubicBezTo>
                    <a:pt x="37" y="13"/>
                    <a:pt x="37" y="13"/>
                    <a:pt x="37" y="13"/>
                  </a:cubicBezTo>
                  <a:cubicBezTo>
                    <a:pt x="37" y="13"/>
                    <a:pt x="36" y="13"/>
                    <a:pt x="36" y="13"/>
                  </a:cubicBezTo>
                  <a:cubicBezTo>
                    <a:pt x="31" y="14"/>
                    <a:pt x="31" y="14"/>
                    <a:pt x="31" y="14"/>
                  </a:cubicBezTo>
                  <a:cubicBezTo>
                    <a:pt x="32" y="10"/>
                    <a:pt x="32" y="10"/>
                    <a:pt x="32" y="10"/>
                  </a:cubicBezTo>
                  <a:cubicBezTo>
                    <a:pt x="31" y="10"/>
                    <a:pt x="31" y="10"/>
                    <a:pt x="31" y="10"/>
                  </a:cubicBezTo>
                  <a:cubicBezTo>
                    <a:pt x="30" y="10"/>
                    <a:pt x="30" y="10"/>
                    <a:pt x="30" y="10"/>
                  </a:cubicBezTo>
                  <a:cubicBezTo>
                    <a:pt x="29" y="9"/>
                    <a:pt x="28" y="8"/>
                    <a:pt x="27" y="8"/>
                  </a:cubicBezTo>
                  <a:cubicBezTo>
                    <a:pt x="27" y="7"/>
                    <a:pt x="27" y="7"/>
                    <a:pt x="27" y="7"/>
                  </a:cubicBezTo>
                  <a:cubicBezTo>
                    <a:pt x="26" y="7"/>
                    <a:pt x="26" y="6"/>
                    <a:pt x="25" y="6"/>
                  </a:cubicBezTo>
                  <a:cubicBezTo>
                    <a:pt x="22" y="10"/>
                    <a:pt x="22" y="10"/>
                    <a:pt x="22" y="10"/>
                  </a:cubicBezTo>
                  <a:cubicBezTo>
                    <a:pt x="24" y="5"/>
                    <a:pt x="24" y="5"/>
                    <a:pt x="24" y="5"/>
                  </a:cubicBezTo>
                  <a:cubicBezTo>
                    <a:pt x="23" y="5"/>
                    <a:pt x="23" y="4"/>
                    <a:pt x="21" y="3"/>
                  </a:cubicBezTo>
                  <a:cubicBezTo>
                    <a:pt x="21" y="2"/>
                    <a:pt x="20" y="1"/>
                    <a:pt x="19" y="1"/>
                  </a:cubicBezTo>
                  <a:cubicBezTo>
                    <a:pt x="19" y="1"/>
                    <a:pt x="19" y="1"/>
                    <a:pt x="19" y="1"/>
                  </a:cubicBezTo>
                  <a:cubicBezTo>
                    <a:pt x="19" y="1"/>
                    <a:pt x="17" y="0"/>
                    <a:pt x="16" y="0"/>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267"/>
            <p:cNvSpPr/>
            <p:nvPr/>
          </p:nvSpPr>
          <p:spPr bwMode="auto">
            <a:xfrm>
              <a:off x="6913966" y="751329"/>
              <a:ext cx="453339" cy="233025"/>
            </a:xfrm>
            <a:custGeom>
              <a:gdLst>
                <a:gd name="T0" fmla="*/ 60 w 136"/>
                <a:gd name="T1" fmla="*/ 6 h 70"/>
                <a:gd name="T2" fmla="*/ 53 w 136"/>
                <a:gd name="T3" fmla="*/ 6 h 70"/>
                <a:gd name="T4" fmla="*/ 33 w 136"/>
                <a:gd name="T5" fmla="*/ 3 h 70"/>
                <a:gd name="T6" fmla="*/ 23 w 136"/>
                <a:gd name="T7" fmla="*/ 8 h 70"/>
                <a:gd name="T8" fmla="*/ 16 w 136"/>
                <a:gd name="T9" fmla="*/ 14 h 70"/>
                <a:gd name="T10" fmla="*/ 8 w 136"/>
                <a:gd name="T11" fmla="*/ 21 h 70"/>
                <a:gd name="T12" fmla="*/ 1 w 136"/>
                <a:gd name="T13" fmla="*/ 25 h 70"/>
                <a:gd name="T14" fmla="*/ 4 w 136"/>
                <a:gd name="T15" fmla="*/ 25 h 70"/>
                <a:gd name="T16" fmla="*/ 2 w 136"/>
                <a:gd name="T17" fmla="*/ 32 h 70"/>
                <a:gd name="T18" fmla="*/ 0 w 136"/>
                <a:gd name="T19" fmla="*/ 36 h 70"/>
                <a:gd name="T20" fmla="*/ 7 w 136"/>
                <a:gd name="T21" fmla="*/ 42 h 70"/>
                <a:gd name="T22" fmla="*/ 15 w 136"/>
                <a:gd name="T23" fmla="*/ 47 h 70"/>
                <a:gd name="T24" fmla="*/ 17 w 136"/>
                <a:gd name="T25" fmla="*/ 48 h 70"/>
                <a:gd name="T26" fmla="*/ 21 w 136"/>
                <a:gd name="T27" fmla="*/ 45 h 70"/>
                <a:gd name="T28" fmla="*/ 27 w 136"/>
                <a:gd name="T29" fmla="*/ 48 h 70"/>
                <a:gd name="T30" fmla="*/ 35 w 136"/>
                <a:gd name="T31" fmla="*/ 54 h 70"/>
                <a:gd name="T32" fmla="*/ 34 w 136"/>
                <a:gd name="T33" fmla="*/ 58 h 70"/>
                <a:gd name="T34" fmla="*/ 34 w 136"/>
                <a:gd name="T35" fmla="*/ 62 h 70"/>
                <a:gd name="T36" fmla="*/ 37 w 136"/>
                <a:gd name="T37" fmla="*/ 65 h 70"/>
                <a:gd name="T38" fmla="*/ 43 w 136"/>
                <a:gd name="T39" fmla="*/ 69 h 70"/>
                <a:gd name="T40" fmla="*/ 47 w 136"/>
                <a:gd name="T41" fmla="*/ 67 h 70"/>
                <a:gd name="T42" fmla="*/ 48 w 136"/>
                <a:gd name="T43" fmla="*/ 65 h 70"/>
                <a:gd name="T44" fmla="*/ 52 w 136"/>
                <a:gd name="T45" fmla="*/ 62 h 70"/>
                <a:gd name="T46" fmla="*/ 59 w 136"/>
                <a:gd name="T47" fmla="*/ 50 h 70"/>
                <a:gd name="T48" fmla="*/ 67 w 136"/>
                <a:gd name="T49" fmla="*/ 47 h 70"/>
                <a:gd name="T50" fmla="*/ 72 w 136"/>
                <a:gd name="T51" fmla="*/ 43 h 70"/>
                <a:gd name="T52" fmla="*/ 75 w 136"/>
                <a:gd name="T53" fmla="*/ 47 h 70"/>
                <a:gd name="T54" fmla="*/ 77 w 136"/>
                <a:gd name="T55" fmla="*/ 48 h 70"/>
                <a:gd name="T56" fmla="*/ 86 w 136"/>
                <a:gd name="T57" fmla="*/ 40 h 70"/>
                <a:gd name="T58" fmla="*/ 88 w 136"/>
                <a:gd name="T59" fmla="*/ 37 h 70"/>
                <a:gd name="T60" fmla="*/ 92 w 136"/>
                <a:gd name="T61" fmla="*/ 32 h 70"/>
                <a:gd name="T62" fmla="*/ 99 w 136"/>
                <a:gd name="T63" fmla="*/ 26 h 70"/>
                <a:gd name="T64" fmla="*/ 105 w 136"/>
                <a:gd name="T65" fmla="*/ 29 h 70"/>
                <a:gd name="T66" fmla="*/ 109 w 136"/>
                <a:gd name="T67" fmla="*/ 30 h 70"/>
                <a:gd name="T68" fmla="*/ 112 w 136"/>
                <a:gd name="T69" fmla="*/ 29 h 70"/>
                <a:gd name="T70" fmla="*/ 123 w 136"/>
                <a:gd name="T71" fmla="*/ 26 h 70"/>
                <a:gd name="T72" fmla="*/ 135 w 136"/>
                <a:gd name="T73" fmla="*/ 23 h 70"/>
                <a:gd name="T74" fmla="*/ 125 w 136"/>
                <a:gd name="T75" fmla="*/ 20 h 70"/>
                <a:gd name="T76" fmla="*/ 117 w 136"/>
                <a:gd name="T77" fmla="*/ 17 h 70"/>
                <a:gd name="T78" fmla="*/ 124 w 136"/>
                <a:gd name="T79" fmla="*/ 15 h 70"/>
                <a:gd name="T80" fmla="*/ 110 w 136"/>
                <a:gd name="T81" fmla="*/ 6 h 70"/>
                <a:gd name="T82" fmla="*/ 95 w 136"/>
                <a:gd name="T83" fmla="*/ 1 h 70"/>
                <a:gd name="T84" fmla="*/ 87 w 136"/>
                <a:gd name="T85" fmla="*/ 3 h 70"/>
                <a:gd name="T86" fmla="*/ 73 w 136"/>
                <a:gd name="T87" fmla="*/ 0 h 7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0">
                  <a:moveTo>
                    <a:pt x="73" y="0"/>
                  </a:moveTo>
                  <a:cubicBezTo>
                    <a:pt x="74" y="1"/>
                    <a:pt x="73" y="2"/>
                    <a:pt x="72" y="3"/>
                  </a:cubicBezTo>
                  <a:cubicBezTo>
                    <a:pt x="68" y="4"/>
                    <a:pt x="64" y="6"/>
                    <a:pt x="60" y="6"/>
                  </a:cubicBezTo>
                  <a:cubicBezTo>
                    <a:pt x="60" y="6"/>
                    <a:pt x="59" y="6"/>
                    <a:pt x="59" y="6"/>
                  </a:cubicBezTo>
                  <a:cubicBezTo>
                    <a:pt x="58" y="6"/>
                    <a:pt x="58" y="6"/>
                    <a:pt x="57" y="6"/>
                  </a:cubicBezTo>
                  <a:cubicBezTo>
                    <a:pt x="56" y="6"/>
                    <a:pt x="54" y="6"/>
                    <a:pt x="53" y="6"/>
                  </a:cubicBezTo>
                  <a:cubicBezTo>
                    <a:pt x="52" y="6"/>
                    <a:pt x="51" y="6"/>
                    <a:pt x="49" y="6"/>
                  </a:cubicBezTo>
                  <a:cubicBezTo>
                    <a:pt x="48" y="6"/>
                    <a:pt x="47" y="6"/>
                    <a:pt x="46" y="6"/>
                  </a:cubicBezTo>
                  <a:cubicBezTo>
                    <a:pt x="42" y="5"/>
                    <a:pt x="37" y="4"/>
                    <a:pt x="33" y="3"/>
                  </a:cubicBezTo>
                  <a:cubicBezTo>
                    <a:pt x="32" y="3"/>
                    <a:pt x="32" y="3"/>
                    <a:pt x="32" y="3"/>
                  </a:cubicBezTo>
                  <a:cubicBezTo>
                    <a:pt x="30" y="3"/>
                    <a:pt x="25" y="5"/>
                    <a:pt x="22" y="7"/>
                  </a:cubicBezTo>
                  <a:cubicBezTo>
                    <a:pt x="23" y="8"/>
                    <a:pt x="23" y="8"/>
                    <a:pt x="23" y="8"/>
                  </a:cubicBezTo>
                  <a:cubicBezTo>
                    <a:pt x="22" y="9"/>
                    <a:pt x="22" y="9"/>
                    <a:pt x="22" y="9"/>
                  </a:cubicBezTo>
                  <a:cubicBezTo>
                    <a:pt x="21" y="10"/>
                    <a:pt x="19" y="12"/>
                    <a:pt x="17" y="13"/>
                  </a:cubicBezTo>
                  <a:cubicBezTo>
                    <a:pt x="16" y="14"/>
                    <a:pt x="16" y="14"/>
                    <a:pt x="16" y="14"/>
                  </a:cubicBezTo>
                  <a:cubicBezTo>
                    <a:pt x="16" y="15"/>
                    <a:pt x="15" y="15"/>
                    <a:pt x="15" y="16"/>
                  </a:cubicBezTo>
                  <a:cubicBezTo>
                    <a:pt x="13" y="17"/>
                    <a:pt x="10" y="19"/>
                    <a:pt x="8" y="21"/>
                  </a:cubicBezTo>
                  <a:cubicBezTo>
                    <a:pt x="8" y="21"/>
                    <a:pt x="8" y="21"/>
                    <a:pt x="8" y="21"/>
                  </a:cubicBezTo>
                  <a:cubicBezTo>
                    <a:pt x="7" y="22"/>
                    <a:pt x="6" y="23"/>
                    <a:pt x="5" y="23"/>
                  </a:cubicBezTo>
                  <a:cubicBezTo>
                    <a:pt x="3" y="24"/>
                    <a:pt x="3" y="24"/>
                    <a:pt x="3" y="24"/>
                  </a:cubicBezTo>
                  <a:cubicBezTo>
                    <a:pt x="2" y="24"/>
                    <a:pt x="2" y="25"/>
                    <a:pt x="1" y="25"/>
                  </a:cubicBezTo>
                  <a:cubicBezTo>
                    <a:pt x="1" y="25"/>
                    <a:pt x="1" y="26"/>
                    <a:pt x="1" y="26"/>
                  </a:cubicBezTo>
                  <a:cubicBezTo>
                    <a:pt x="1" y="27"/>
                    <a:pt x="1" y="27"/>
                    <a:pt x="1" y="27"/>
                  </a:cubicBezTo>
                  <a:cubicBezTo>
                    <a:pt x="4" y="25"/>
                    <a:pt x="4" y="25"/>
                    <a:pt x="4" y="25"/>
                  </a:cubicBezTo>
                  <a:cubicBezTo>
                    <a:pt x="1" y="29"/>
                    <a:pt x="1" y="29"/>
                    <a:pt x="1" y="29"/>
                  </a:cubicBezTo>
                  <a:cubicBezTo>
                    <a:pt x="1" y="29"/>
                    <a:pt x="1" y="30"/>
                    <a:pt x="1" y="30"/>
                  </a:cubicBezTo>
                  <a:cubicBezTo>
                    <a:pt x="1" y="31"/>
                    <a:pt x="2" y="31"/>
                    <a:pt x="2" y="32"/>
                  </a:cubicBezTo>
                  <a:cubicBezTo>
                    <a:pt x="2" y="33"/>
                    <a:pt x="1" y="34"/>
                    <a:pt x="1" y="34"/>
                  </a:cubicBezTo>
                  <a:cubicBezTo>
                    <a:pt x="1" y="35"/>
                    <a:pt x="1" y="35"/>
                    <a:pt x="1" y="35"/>
                  </a:cubicBezTo>
                  <a:cubicBezTo>
                    <a:pt x="1" y="35"/>
                    <a:pt x="0" y="36"/>
                    <a:pt x="0" y="36"/>
                  </a:cubicBezTo>
                  <a:cubicBezTo>
                    <a:pt x="1" y="36"/>
                    <a:pt x="2" y="37"/>
                    <a:pt x="4" y="40"/>
                  </a:cubicBezTo>
                  <a:cubicBezTo>
                    <a:pt x="5" y="40"/>
                    <a:pt x="6" y="42"/>
                    <a:pt x="7" y="42"/>
                  </a:cubicBezTo>
                  <a:cubicBezTo>
                    <a:pt x="7" y="42"/>
                    <a:pt x="7" y="42"/>
                    <a:pt x="7" y="42"/>
                  </a:cubicBezTo>
                  <a:cubicBezTo>
                    <a:pt x="8" y="43"/>
                    <a:pt x="9" y="43"/>
                    <a:pt x="10" y="44"/>
                  </a:cubicBezTo>
                  <a:cubicBezTo>
                    <a:pt x="10" y="44"/>
                    <a:pt x="11" y="45"/>
                    <a:pt x="11" y="45"/>
                  </a:cubicBezTo>
                  <a:cubicBezTo>
                    <a:pt x="13" y="45"/>
                    <a:pt x="14" y="46"/>
                    <a:pt x="15" y="47"/>
                  </a:cubicBezTo>
                  <a:cubicBezTo>
                    <a:pt x="15" y="47"/>
                    <a:pt x="16" y="47"/>
                    <a:pt x="16" y="48"/>
                  </a:cubicBezTo>
                  <a:cubicBezTo>
                    <a:pt x="17" y="48"/>
                    <a:pt x="17" y="48"/>
                    <a:pt x="17" y="48"/>
                  </a:cubicBezTo>
                  <a:cubicBezTo>
                    <a:pt x="17" y="48"/>
                    <a:pt x="17" y="48"/>
                    <a:pt x="17" y="48"/>
                  </a:cubicBezTo>
                  <a:cubicBezTo>
                    <a:pt x="17" y="48"/>
                    <a:pt x="17" y="48"/>
                    <a:pt x="17" y="48"/>
                  </a:cubicBezTo>
                  <a:cubicBezTo>
                    <a:pt x="17" y="47"/>
                    <a:pt x="18" y="47"/>
                    <a:pt x="19" y="46"/>
                  </a:cubicBezTo>
                  <a:cubicBezTo>
                    <a:pt x="19" y="46"/>
                    <a:pt x="20" y="45"/>
                    <a:pt x="21" y="45"/>
                  </a:cubicBezTo>
                  <a:cubicBezTo>
                    <a:pt x="23" y="45"/>
                    <a:pt x="24" y="46"/>
                    <a:pt x="26" y="47"/>
                  </a:cubicBezTo>
                  <a:cubicBezTo>
                    <a:pt x="26" y="47"/>
                    <a:pt x="26" y="47"/>
                    <a:pt x="26" y="47"/>
                  </a:cubicBezTo>
                  <a:cubicBezTo>
                    <a:pt x="26" y="47"/>
                    <a:pt x="26" y="48"/>
                    <a:pt x="27" y="48"/>
                  </a:cubicBezTo>
                  <a:cubicBezTo>
                    <a:pt x="28" y="48"/>
                    <a:pt x="30" y="48"/>
                    <a:pt x="32" y="49"/>
                  </a:cubicBezTo>
                  <a:cubicBezTo>
                    <a:pt x="33" y="49"/>
                    <a:pt x="33" y="49"/>
                    <a:pt x="33" y="49"/>
                  </a:cubicBezTo>
                  <a:cubicBezTo>
                    <a:pt x="34" y="50"/>
                    <a:pt x="35" y="52"/>
                    <a:pt x="35" y="54"/>
                  </a:cubicBezTo>
                  <a:cubicBezTo>
                    <a:pt x="35" y="55"/>
                    <a:pt x="34" y="56"/>
                    <a:pt x="34" y="57"/>
                  </a:cubicBezTo>
                  <a:cubicBezTo>
                    <a:pt x="34" y="58"/>
                    <a:pt x="34" y="58"/>
                    <a:pt x="34" y="58"/>
                  </a:cubicBezTo>
                  <a:cubicBezTo>
                    <a:pt x="34" y="58"/>
                    <a:pt x="34" y="58"/>
                    <a:pt x="34" y="58"/>
                  </a:cubicBezTo>
                  <a:cubicBezTo>
                    <a:pt x="34" y="59"/>
                    <a:pt x="34" y="59"/>
                    <a:pt x="34" y="60"/>
                  </a:cubicBezTo>
                  <a:cubicBezTo>
                    <a:pt x="34" y="61"/>
                    <a:pt x="34" y="61"/>
                    <a:pt x="34" y="61"/>
                  </a:cubicBezTo>
                  <a:cubicBezTo>
                    <a:pt x="34" y="62"/>
                    <a:pt x="34" y="62"/>
                    <a:pt x="34" y="62"/>
                  </a:cubicBezTo>
                  <a:cubicBezTo>
                    <a:pt x="34" y="62"/>
                    <a:pt x="34" y="62"/>
                    <a:pt x="34" y="62"/>
                  </a:cubicBezTo>
                  <a:cubicBezTo>
                    <a:pt x="36" y="62"/>
                    <a:pt x="38" y="62"/>
                    <a:pt x="40" y="63"/>
                  </a:cubicBezTo>
                  <a:cubicBezTo>
                    <a:pt x="39" y="63"/>
                    <a:pt x="37" y="65"/>
                    <a:pt x="37" y="65"/>
                  </a:cubicBezTo>
                  <a:cubicBezTo>
                    <a:pt x="36" y="67"/>
                    <a:pt x="40" y="68"/>
                    <a:pt x="41" y="70"/>
                  </a:cubicBezTo>
                  <a:cubicBezTo>
                    <a:pt x="41" y="69"/>
                    <a:pt x="41" y="69"/>
                    <a:pt x="41" y="69"/>
                  </a:cubicBezTo>
                  <a:cubicBezTo>
                    <a:pt x="43" y="69"/>
                    <a:pt x="43" y="69"/>
                    <a:pt x="43" y="69"/>
                  </a:cubicBezTo>
                  <a:cubicBezTo>
                    <a:pt x="43" y="69"/>
                    <a:pt x="43" y="69"/>
                    <a:pt x="43" y="69"/>
                  </a:cubicBezTo>
                  <a:cubicBezTo>
                    <a:pt x="45" y="69"/>
                    <a:pt x="45" y="69"/>
                    <a:pt x="47" y="67"/>
                  </a:cubicBezTo>
                  <a:cubicBezTo>
                    <a:pt x="47" y="67"/>
                    <a:pt x="47" y="67"/>
                    <a:pt x="47" y="67"/>
                  </a:cubicBezTo>
                  <a:cubicBezTo>
                    <a:pt x="48" y="67"/>
                    <a:pt x="48" y="67"/>
                    <a:pt x="48" y="67"/>
                  </a:cubicBezTo>
                  <a:cubicBezTo>
                    <a:pt x="48" y="66"/>
                    <a:pt x="48" y="66"/>
                    <a:pt x="48" y="66"/>
                  </a:cubicBezTo>
                  <a:cubicBezTo>
                    <a:pt x="48" y="65"/>
                    <a:pt x="48" y="65"/>
                    <a:pt x="48" y="65"/>
                  </a:cubicBezTo>
                  <a:cubicBezTo>
                    <a:pt x="49" y="63"/>
                    <a:pt x="51" y="63"/>
                    <a:pt x="52" y="63"/>
                  </a:cubicBezTo>
                  <a:cubicBezTo>
                    <a:pt x="52" y="62"/>
                    <a:pt x="52" y="62"/>
                    <a:pt x="52" y="62"/>
                  </a:cubicBezTo>
                  <a:cubicBezTo>
                    <a:pt x="52" y="62"/>
                    <a:pt x="52" y="62"/>
                    <a:pt x="52" y="62"/>
                  </a:cubicBezTo>
                  <a:cubicBezTo>
                    <a:pt x="52" y="60"/>
                    <a:pt x="51" y="59"/>
                    <a:pt x="51" y="58"/>
                  </a:cubicBezTo>
                  <a:cubicBezTo>
                    <a:pt x="51" y="56"/>
                    <a:pt x="51" y="54"/>
                    <a:pt x="52" y="52"/>
                  </a:cubicBezTo>
                  <a:cubicBezTo>
                    <a:pt x="53" y="51"/>
                    <a:pt x="59" y="50"/>
                    <a:pt x="59" y="50"/>
                  </a:cubicBezTo>
                  <a:cubicBezTo>
                    <a:pt x="60" y="50"/>
                    <a:pt x="61" y="51"/>
                    <a:pt x="62" y="51"/>
                  </a:cubicBezTo>
                  <a:cubicBezTo>
                    <a:pt x="62" y="51"/>
                    <a:pt x="62" y="51"/>
                    <a:pt x="62" y="51"/>
                  </a:cubicBezTo>
                  <a:cubicBezTo>
                    <a:pt x="64" y="49"/>
                    <a:pt x="65" y="48"/>
                    <a:pt x="67" y="47"/>
                  </a:cubicBezTo>
                  <a:cubicBezTo>
                    <a:pt x="68" y="46"/>
                    <a:pt x="68" y="46"/>
                    <a:pt x="68" y="46"/>
                  </a:cubicBezTo>
                  <a:cubicBezTo>
                    <a:pt x="69" y="45"/>
                    <a:pt x="70" y="44"/>
                    <a:pt x="71" y="44"/>
                  </a:cubicBezTo>
                  <a:cubicBezTo>
                    <a:pt x="72" y="43"/>
                    <a:pt x="72" y="43"/>
                    <a:pt x="72" y="43"/>
                  </a:cubicBezTo>
                  <a:cubicBezTo>
                    <a:pt x="74" y="45"/>
                    <a:pt x="74" y="45"/>
                    <a:pt x="74" y="45"/>
                  </a:cubicBezTo>
                  <a:cubicBezTo>
                    <a:pt x="74" y="45"/>
                    <a:pt x="74" y="46"/>
                    <a:pt x="74" y="47"/>
                  </a:cubicBezTo>
                  <a:cubicBezTo>
                    <a:pt x="75" y="47"/>
                    <a:pt x="75" y="47"/>
                    <a:pt x="75" y="47"/>
                  </a:cubicBezTo>
                  <a:cubicBezTo>
                    <a:pt x="75" y="48"/>
                    <a:pt x="76" y="48"/>
                    <a:pt x="77" y="49"/>
                  </a:cubicBezTo>
                  <a:cubicBezTo>
                    <a:pt x="77" y="49"/>
                    <a:pt x="77" y="49"/>
                    <a:pt x="77" y="49"/>
                  </a:cubicBezTo>
                  <a:cubicBezTo>
                    <a:pt x="77" y="48"/>
                    <a:pt x="77" y="48"/>
                    <a:pt x="77" y="48"/>
                  </a:cubicBezTo>
                  <a:cubicBezTo>
                    <a:pt x="78" y="48"/>
                    <a:pt x="78" y="48"/>
                    <a:pt x="78" y="48"/>
                  </a:cubicBezTo>
                  <a:cubicBezTo>
                    <a:pt x="78" y="47"/>
                    <a:pt x="79" y="46"/>
                    <a:pt x="80" y="45"/>
                  </a:cubicBezTo>
                  <a:cubicBezTo>
                    <a:pt x="82" y="43"/>
                    <a:pt x="84" y="42"/>
                    <a:pt x="86" y="40"/>
                  </a:cubicBezTo>
                  <a:cubicBezTo>
                    <a:pt x="87" y="40"/>
                    <a:pt x="88" y="39"/>
                    <a:pt x="88" y="39"/>
                  </a:cubicBezTo>
                  <a:cubicBezTo>
                    <a:pt x="89" y="38"/>
                    <a:pt x="88" y="38"/>
                    <a:pt x="88" y="37"/>
                  </a:cubicBezTo>
                  <a:cubicBezTo>
                    <a:pt x="88" y="37"/>
                    <a:pt x="88" y="37"/>
                    <a:pt x="88" y="37"/>
                  </a:cubicBezTo>
                  <a:cubicBezTo>
                    <a:pt x="88" y="36"/>
                    <a:pt x="88" y="36"/>
                    <a:pt x="88" y="36"/>
                  </a:cubicBezTo>
                  <a:cubicBezTo>
                    <a:pt x="88" y="35"/>
                    <a:pt x="88" y="35"/>
                    <a:pt x="88" y="35"/>
                  </a:cubicBezTo>
                  <a:cubicBezTo>
                    <a:pt x="88" y="34"/>
                    <a:pt x="89" y="32"/>
                    <a:pt x="92" y="32"/>
                  </a:cubicBezTo>
                  <a:cubicBezTo>
                    <a:pt x="92" y="29"/>
                    <a:pt x="95" y="27"/>
                    <a:pt x="97" y="26"/>
                  </a:cubicBezTo>
                  <a:cubicBezTo>
                    <a:pt x="98" y="26"/>
                    <a:pt x="98" y="26"/>
                    <a:pt x="99" y="26"/>
                  </a:cubicBezTo>
                  <a:cubicBezTo>
                    <a:pt x="99" y="26"/>
                    <a:pt x="99" y="26"/>
                    <a:pt x="99" y="26"/>
                  </a:cubicBezTo>
                  <a:cubicBezTo>
                    <a:pt x="101" y="26"/>
                    <a:pt x="101" y="26"/>
                    <a:pt x="101" y="26"/>
                  </a:cubicBezTo>
                  <a:cubicBezTo>
                    <a:pt x="101" y="27"/>
                    <a:pt x="101" y="27"/>
                    <a:pt x="101" y="27"/>
                  </a:cubicBezTo>
                  <a:cubicBezTo>
                    <a:pt x="102" y="27"/>
                    <a:pt x="103" y="28"/>
                    <a:pt x="105" y="29"/>
                  </a:cubicBezTo>
                  <a:cubicBezTo>
                    <a:pt x="106" y="30"/>
                    <a:pt x="107" y="30"/>
                    <a:pt x="108" y="30"/>
                  </a:cubicBezTo>
                  <a:cubicBezTo>
                    <a:pt x="108" y="30"/>
                    <a:pt x="108" y="30"/>
                    <a:pt x="108" y="30"/>
                  </a:cubicBezTo>
                  <a:cubicBezTo>
                    <a:pt x="109" y="30"/>
                    <a:pt x="109" y="30"/>
                    <a:pt x="109" y="30"/>
                  </a:cubicBezTo>
                  <a:cubicBezTo>
                    <a:pt x="110" y="30"/>
                    <a:pt x="110" y="30"/>
                    <a:pt x="110" y="30"/>
                  </a:cubicBezTo>
                  <a:cubicBezTo>
                    <a:pt x="110" y="30"/>
                    <a:pt x="110" y="30"/>
                    <a:pt x="110" y="30"/>
                  </a:cubicBezTo>
                  <a:cubicBezTo>
                    <a:pt x="111" y="29"/>
                    <a:pt x="111" y="29"/>
                    <a:pt x="112" y="29"/>
                  </a:cubicBezTo>
                  <a:cubicBezTo>
                    <a:pt x="113" y="29"/>
                    <a:pt x="113" y="29"/>
                    <a:pt x="114" y="29"/>
                  </a:cubicBezTo>
                  <a:cubicBezTo>
                    <a:pt x="115" y="28"/>
                    <a:pt x="115" y="28"/>
                    <a:pt x="115" y="28"/>
                  </a:cubicBezTo>
                  <a:cubicBezTo>
                    <a:pt x="117" y="28"/>
                    <a:pt x="120" y="27"/>
                    <a:pt x="123" y="26"/>
                  </a:cubicBezTo>
                  <a:cubicBezTo>
                    <a:pt x="127" y="25"/>
                    <a:pt x="132" y="24"/>
                    <a:pt x="136" y="23"/>
                  </a:cubicBezTo>
                  <a:cubicBezTo>
                    <a:pt x="136" y="23"/>
                    <a:pt x="136" y="23"/>
                    <a:pt x="136" y="23"/>
                  </a:cubicBezTo>
                  <a:cubicBezTo>
                    <a:pt x="136" y="23"/>
                    <a:pt x="135" y="23"/>
                    <a:pt x="135" y="23"/>
                  </a:cubicBezTo>
                  <a:cubicBezTo>
                    <a:pt x="132" y="22"/>
                    <a:pt x="129" y="21"/>
                    <a:pt x="127" y="21"/>
                  </a:cubicBezTo>
                  <a:cubicBezTo>
                    <a:pt x="128" y="20"/>
                    <a:pt x="129" y="19"/>
                    <a:pt x="129" y="18"/>
                  </a:cubicBezTo>
                  <a:cubicBezTo>
                    <a:pt x="128" y="18"/>
                    <a:pt x="125" y="20"/>
                    <a:pt x="125" y="20"/>
                  </a:cubicBezTo>
                  <a:cubicBezTo>
                    <a:pt x="125" y="20"/>
                    <a:pt x="125" y="20"/>
                    <a:pt x="125" y="20"/>
                  </a:cubicBezTo>
                  <a:cubicBezTo>
                    <a:pt x="123" y="20"/>
                    <a:pt x="122" y="19"/>
                    <a:pt x="121" y="19"/>
                  </a:cubicBezTo>
                  <a:cubicBezTo>
                    <a:pt x="120" y="18"/>
                    <a:pt x="119" y="19"/>
                    <a:pt x="117" y="17"/>
                  </a:cubicBezTo>
                  <a:cubicBezTo>
                    <a:pt x="117" y="16"/>
                    <a:pt x="116" y="13"/>
                    <a:pt x="118" y="12"/>
                  </a:cubicBezTo>
                  <a:cubicBezTo>
                    <a:pt x="119" y="13"/>
                    <a:pt x="119" y="13"/>
                    <a:pt x="119" y="13"/>
                  </a:cubicBezTo>
                  <a:cubicBezTo>
                    <a:pt x="120" y="13"/>
                    <a:pt x="122" y="15"/>
                    <a:pt x="124" y="15"/>
                  </a:cubicBezTo>
                  <a:cubicBezTo>
                    <a:pt x="124" y="15"/>
                    <a:pt x="124" y="15"/>
                    <a:pt x="124" y="15"/>
                  </a:cubicBezTo>
                  <a:cubicBezTo>
                    <a:pt x="122" y="13"/>
                    <a:pt x="119" y="11"/>
                    <a:pt x="116" y="9"/>
                  </a:cubicBezTo>
                  <a:cubicBezTo>
                    <a:pt x="113" y="6"/>
                    <a:pt x="113" y="6"/>
                    <a:pt x="110" y="6"/>
                  </a:cubicBezTo>
                  <a:cubicBezTo>
                    <a:pt x="110" y="6"/>
                    <a:pt x="109" y="6"/>
                    <a:pt x="108" y="6"/>
                  </a:cubicBezTo>
                  <a:cubicBezTo>
                    <a:pt x="107" y="6"/>
                    <a:pt x="107" y="6"/>
                    <a:pt x="106" y="6"/>
                  </a:cubicBezTo>
                  <a:cubicBezTo>
                    <a:pt x="102" y="6"/>
                    <a:pt x="100" y="4"/>
                    <a:pt x="95" y="1"/>
                  </a:cubicBezTo>
                  <a:cubicBezTo>
                    <a:pt x="95" y="1"/>
                    <a:pt x="95" y="1"/>
                    <a:pt x="94" y="1"/>
                  </a:cubicBezTo>
                  <a:cubicBezTo>
                    <a:pt x="93" y="1"/>
                    <a:pt x="92" y="2"/>
                    <a:pt x="91" y="2"/>
                  </a:cubicBezTo>
                  <a:cubicBezTo>
                    <a:pt x="89" y="3"/>
                    <a:pt x="88" y="3"/>
                    <a:pt x="87" y="3"/>
                  </a:cubicBezTo>
                  <a:cubicBezTo>
                    <a:pt x="87" y="3"/>
                    <a:pt x="87" y="3"/>
                    <a:pt x="87" y="3"/>
                  </a:cubicBezTo>
                  <a:cubicBezTo>
                    <a:pt x="83" y="3"/>
                    <a:pt x="80" y="2"/>
                    <a:pt x="77" y="1"/>
                  </a:cubicBezTo>
                  <a:cubicBezTo>
                    <a:pt x="76" y="1"/>
                    <a:pt x="74" y="1"/>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268"/>
            <p:cNvSpPr/>
            <p:nvPr/>
          </p:nvSpPr>
          <p:spPr bwMode="auto">
            <a:xfrm flipH="1">
              <a:off x="6901256" y="837478"/>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269"/>
            <p:cNvSpPr/>
            <p:nvPr/>
          </p:nvSpPr>
          <p:spPr bwMode="auto">
            <a:xfrm flipH="1">
              <a:off x="6901256" y="837478"/>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270"/>
            <p:cNvSpPr/>
            <p:nvPr/>
          </p:nvSpPr>
          <p:spPr bwMode="auto">
            <a:xfrm>
              <a:off x="6676705" y="617164"/>
              <a:ext cx="293752" cy="310700"/>
            </a:xfrm>
            <a:custGeom>
              <a:gdLst>
                <a:gd name="T0" fmla="*/ 29 w 88"/>
                <a:gd name="T1" fmla="*/ 0 h 93"/>
                <a:gd name="T2" fmla="*/ 30 w 88"/>
                <a:gd name="T3" fmla="*/ 10 h 93"/>
                <a:gd name="T4" fmla="*/ 30 w 88"/>
                <a:gd name="T5" fmla="*/ 11 h 93"/>
                <a:gd name="T6" fmla="*/ 24 w 88"/>
                <a:gd name="T7" fmla="*/ 14 h 93"/>
                <a:gd name="T8" fmla="*/ 29 w 88"/>
                <a:gd name="T9" fmla="*/ 18 h 93"/>
                <a:gd name="T10" fmla="*/ 32 w 88"/>
                <a:gd name="T11" fmla="*/ 21 h 93"/>
                <a:gd name="T12" fmla="*/ 39 w 88"/>
                <a:gd name="T13" fmla="*/ 27 h 93"/>
                <a:gd name="T14" fmla="*/ 42 w 88"/>
                <a:gd name="T15" fmla="*/ 29 h 93"/>
                <a:gd name="T16" fmla="*/ 43 w 88"/>
                <a:gd name="T17" fmla="*/ 34 h 93"/>
                <a:gd name="T18" fmla="*/ 43 w 88"/>
                <a:gd name="T19" fmla="*/ 36 h 93"/>
                <a:gd name="T20" fmla="*/ 38 w 88"/>
                <a:gd name="T21" fmla="*/ 42 h 93"/>
                <a:gd name="T22" fmla="*/ 24 w 88"/>
                <a:gd name="T23" fmla="*/ 42 h 93"/>
                <a:gd name="T24" fmla="*/ 16 w 88"/>
                <a:gd name="T25" fmla="*/ 42 h 93"/>
                <a:gd name="T26" fmla="*/ 12 w 88"/>
                <a:gd name="T27" fmla="*/ 44 h 93"/>
                <a:gd name="T28" fmla="*/ 9 w 88"/>
                <a:gd name="T29" fmla="*/ 46 h 93"/>
                <a:gd name="T30" fmla="*/ 3 w 88"/>
                <a:gd name="T31" fmla="*/ 57 h 93"/>
                <a:gd name="T32" fmla="*/ 2 w 88"/>
                <a:gd name="T33" fmla="*/ 58 h 93"/>
                <a:gd name="T34" fmla="*/ 2 w 88"/>
                <a:gd name="T35" fmla="*/ 58 h 93"/>
                <a:gd name="T36" fmla="*/ 3 w 88"/>
                <a:gd name="T37" fmla="*/ 59 h 93"/>
                <a:gd name="T38" fmla="*/ 4 w 88"/>
                <a:gd name="T39" fmla="*/ 64 h 93"/>
                <a:gd name="T40" fmla="*/ 3 w 88"/>
                <a:gd name="T41" fmla="*/ 66 h 93"/>
                <a:gd name="T42" fmla="*/ 2 w 88"/>
                <a:gd name="T43" fmla="*/ 69 h 93"/>
                <a:gd name="T44" fmla="*/ 2 w 88"/>
                <a:gd name="T45" fmla="*/ 71 h 93"/>
                <a:gd name="T46" fmla="*/ 2 w 88"/>
                <a:gd name="T47" fmla="*/ 73 h 93"/>
                <a:gd name="T48" fmla="*/ 1 w 88"/>
                <a:gd name="T49" fmla="*/ 76 h 93"/>
                <a:gd name="T50" fmla="*/ 1 w 88"/>
                <a:gd name="T51" fmla="*/ 78 h 93"/>
                <a:gd name="T52" fmla="*/ 26 w 88"/>
                <a:gd name="T53" fmla="*/ 90 h 93"/>
                <a:gd name="T54" fmla="*/ 31 w 88"/>
                <a:gd name="T55" fmla="*/ 90 h 93"/>
                <a:gd name="T56" fmla="*/ 35 w 88"/>
                <a:gd name="T57" fmla="*/ 90 h 93"/>
                <a:gd name="T58" fmla="*/ 45 w 88"/>
                <a:gd name="T59" fmla="*/ 93 h 93"/>
                <a:gd name="T60" fmla="*/ 48 w 88"/>
                <a:gd name="T61" fmla="*/ 88 h 93"/>
                <a:gd name="T62" fmla="*/ 54 w 88"/>
                <a:gd name="T63" fmla="*/ 84 h 93"/>
                <a:gd name="T64" fmla="*/ 57 w 88"/>
                <a:gd name="T65" fmla="*/ 82 h 93"/>
                <a:gd name="T66" fmla="*/ 62 w 88"/>
                <a:gd name="T67" fmla="*/ 75 h 93"/>
                <a:gd name="T68" fmla="*/ 64 w 88"/>
                <a:gd name="T69" fmla="*/ 75 h 93"/>
                <a:gd name="T70" fmla="*/ 67 w 88"/>
                <a:gd name="T71" fmla="*/ 72 h 93"/>
                <a:gd name="T72" fmla="*/ 66 w 88"/>
                <a:gd name="T73" fmla="*/ 69 h 93"/>
                <a:gd name="T74" fmla="*/ 66 w 88"/>
                <a:gd name="T75" fmla="*/ 65 h 93"/>
                <a:gd name="T76" fmla="*/ 67 w 88"/>
                <a:gd name="T77" fmla="*/ 63 h 93"/>
                <a:gd name="T78" fmla="*/ 73 w 88"/>
                <a:gd name="T79" fmla="*/ 60 h 93"/>
                <a:gd name="T80" fmla="*/ 73 w 88"/>
                <a:gd name="T81" fmla="*/ 58 h 93"/>
                <a:gd name="T82" fmla="*/ 76 w 88"/>
                <a:gd name="T83" fmla="*/ 56 h 93"/>
                <a:gd name="T84" fmla="*/ 84 w 88"/>
                <a:gd name="T85" fmla="*/ 50 h 93"/>
                <a:gd name="T86" fmla="*/ 88 w 88"/>
                <a:gd name="T87" fmla="*/ 46 h 93"/>
                <a:gd name="T88" fmla="*/ 85 w 88"/>
                <a:gd name="T89" fmla="*/ 45 h 93"/>
                <a:gd name="T90" fmla="*/ 77 w 88"/>
                <a:gd name="T91" fmla="*/ 44 h 93"/>
                <a:gd name="T92" fmla="*/ 77 w 88"/>
                <a:gd name="T93" fmla="*/ 45 h 93"/>
                <a:gd name="T94" fmla="*/ 75 w 88"/>
                <a:gd name="T95" fmla="*/ 46 h 93"/>
                <a:gd name="T96" fmla="*/ 73 w 88"/>
                <a:gd name="T97" fmla="*/ 47 h 93"/>
                <a:gd name="T98" fmla="*/ 73 w 88"/>
                <a:gd name="T99" fmla="*/ 46 h 93"/>
                <a:gd name="T100" fmla="*/ 69 w 88"/>
                <a:gd name="T101" fmla="*/ 46 h 93"/>
                <a:gd name="T102" fmla="*/ 65 w 88"/>
                <a:gd name="T103" fmla="*/ 42 h 93"/>
                <a:gd name="T104" fmla="*/ 67 w 88"/>
                <a:gd name="T105" fmla="*/ 12 h 93"/>
                <a:gd name="T106" fmla="*/ 67 w 88"/>
                <a:gd name="T107" fmla="*/ 4 h 93"/>
                <a:gd name="T108" fmla="*/ 37 w 88"/>
                <a:gd name="T109" fmla="*/ 0 h 93"/>
                <a:gd name="T110" fmla="*/ 34 w 88"/>
                <a:gd name="T111"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93">
                  <a:moveTo>
                    <a:pt x="29" y="0"/>
                  </a:moveTo>
                  <a:cubicBezTo>
                    <a:pt x="29" y="0"/>
                    <a:pt x="29" y="0"/>
                    <a:pt x="29" y="0"/>
                  </a:cubicBezTo>
                  <a:cubicBezTo>
                    <a:pt x="29" y="2"/>
                    <a:pt x="29" y="6"/>
                    <a:pt x="30" y="7"/>
                  </a:cubicBezTo>
                  <a:cubicBezTo>
                    <a:pt x="30" y="8"/>
                    <a:pt x="30" y="9"/>
                    <a:pt x="30" y="10"/>
                  </a:cubicBezTo>
                  <a:cubicBezTo>
                    <a:pt x="30" y="11"/>
                    <a:pt x="30" y="11"/>
                    <a:pt x="30" y="11"/>
                  </a:cubicBezTo>
                  <a:cubicBezTo>
                    <a:pt x="30" y="11"/>
                    <a:pt x="30" y="11"/>
                    <a:pt x="30" y="11"/>
                  </a:cubicBezTo>
                  <a:cubicBezTo>
                    <a:pt x="29" y="13"/>
                    <a:pt x="27" y="14"/>
                    <a:pt x="26" y="14"/>
                  </a:cubicBezTo>
                  <a:cubicBezTo>
                    <a:pt x="24" y="14"/>
                    <a:pt x="24" y="14"/>
                    <a:pt x="24" y="14"/>
                  </a:cubicBezTo>
                  <a:cubicBezTo>
                    <a:pt x="26" y="15"/>
                    <a:pt x="26" y="15"/>
                    <a:pt x="26" y="15"/>
                  </a:cubicBezTo>
                  <a:cubicBezTo>
                    <a:pt x="27" y="16"/>
                    <a:pt x="28" y="17"/>
                    <a:pt x="29" y="18"/>
                  </a:cubicBezTo>
                  <a:cubicBezTo>
                    <a:pt x="30" y="19"/>
                    <a:pt x="31" y="20"/>
                    <a:pt x="31" y="21"/>
                  </a:cubicBezTo>
                  <a:cubicBezTo>
                    <a:pt x="32" y="21"/>
                    <a:pt x="32" y="21"/>
                    <a:pt x="32" y="21"/>
                  </a:cubicBezTo>
                  <a:cubicBezTo>
                    <a:pt x="34" y="23"/>
                    <a:pt x="36" y="25"/>
                    <a:pt x="38" y="27"/>
                  </a:cubicBezTo>
                  <a:cubicBezTo>
                    <a:pt x="39" y="27"/>
                    <a:pt x="39" y="27"/>
                    <a:pt x="39" y="27"/>
                  </a:cubicBezTo>
                  <a:cubicBezTo>
                    <a:pt x="39" y="27"/>
                    <a:pt x="39" y="27"/>
                    <a:pt x="40" y="28"/>
                  </a:cubicBezTo>
                  <a:cubicBezTo>
                    <a:pt x="41" y="28"/>
                    <a:pt x="41" y="28"/>
                    <a:pt x="42" y="29"/>
                  </a:cubicBezTo>
                  <a:cubicBezTo>
                    <a:pt x="42" y="29"/>
                    <a:pt x="42" y="29"/>
                    <a:pt x="42" y="29"/>
                  </a:cubicBezTo>
                  <a:cubicBezTo>
                    <a:pt x="44" y="31"/>
                    <a:pt x="44" y="32"/>
                    <a:pt x="43" y="34"/>
                  </a:cubicBezTo>
                  <a:cubicBezTo>
                    <a:pt x="43" y="35"/>
                    <a:pt x="43" y="35"/>
                    <a:pt x="43" y="36"/>
                  </a:cubicBezTo>
                  <a:cubicBezTo>
                    <a:pt x="43" y="36"/>
                    <a:pt x="43" y="36"/>
                    <a:pt x="43" y="36"/>
                  </a:cubicBezTo>
                  <a:cubicBezTo>
                    <a:pt x="43" y="37"/>
                    <a:pt x="43" y="38"/>
                    <a:pt x="42" y="39"/>
                  </a:cubicBezTo>
                  <a:cubicBezTo>
                    <a:pt x="42" y="40"/>
                    <a:pt x="41" y="42"/>
                    <a:pt x="38" y="42"/>
                  </a:cubicBezTo>
                  <a:cubicBezTo>
                    <a:pt x="27" y="42"/>
                    <a:pt x="27" y="42"/>
                    <a:pt x="27" y="42"/>
                  </a:cubicBezTo>
                  <a:cubicBezTo>
                    <a:pt x="24" y="42"/>
                    <a:pt x="24" y="42"/>
                    <a:pt x="24" y="42"/>
                  </a:cubicBezTo>
                  <a:cubicBezTo>
                    <a:pt x="23" y="42"/>
                    <a:pt x="22" y="42"/>
                    <a:pt x="21" y="42"/>
                  </a:cubicBezTo>
                  <a:cubicBezTo>
                    <a:pt x="19" y="42"/>
                    <a:pt x="17" y="42"/>
                    <a:pt x="16" y="42"/>
                  </a:cubicBezTo>
                  <a:cubicBezTo>
                    <a:pt x="15" y="42"/>
                    <a:pt x="13" y="43"/>
                    <a:pt x="12" y="43"/>
                  </a:cubicBezTo>
                  <a:cubicBezTo>
                    <a:pt x="12" y="44"/>
                    <a:pt x="12" y="44"/>
                    <a:pt x="12" y="44"/>
                  </a:cubicBezTo>
                  <a:cubicBezTo>
                    <a:pt x="11" y="44"/>
                    <a:pt x="11" y="44"/>
                    <a:pt x="11" y="44"/>
                  </a:cubicBezTo>
                  <a:cubicBezTo>
                    <a:pt x="10" y="44"/>
                    <a:pt x="10" y="45"/>
                    <a:pt x="9" y="46"/>
                  </a:cubicBezTo>
                  <a:cubicBezTo>
                    <a:pt x="9" y="47"/>
                    <a:pt x="9" y="47"/>
                    <a:pt x="9" y="47"/>
                  </a:cubicBezTo>
                  <a:cubicBezTo>
                    <a:pt x="7" y="50"/>
                    <a:pt x="4" y="53"/>
                    <a:pt x="3" y="57"/>
                  </a:cubicBezTo>
                  <a:cubicBezTo>
                    <a:pt x="2" y="58"/>
                    <a:pt x="2" y="58"/>
                    <a:pt x="2" y="58"/>
                  </a:cubicBezTo>
                  <a:cubicBezTo>
                    <a:pt x="2" y="58"/>
                    <a:pt x="2" y="58"/>
                    <a:pt x="2" y="58"/>
                  </a:cubicBezTo>
                  <a:cubicBezTo>
                    <a:pt x="2" y="58"/>
                    <a:pt x="2" y="58"/>
                    <a:pt x="2" y="58"/>
                  </a:cubicBezTo>
                  <a:cubicBezTo>
                    <a:pt x="2" y="58"/>
                    <a:pt x="2" y="58"/>
                    <a:pt x="2" y="58"/>
                  </a:cubicBezTo>
                  <a:cubicBezTo>
                    <a:pt x="2" y="59"/>
                    <a:pt x="2" y="59"/>
                    <a:pt x="2" y="59"/>
                  </a:cubicBezTo>
                  <a:cubicBezTo>
                    <a:pt x="3" y="59"/>
                    <a:pt x="3" y="59"/>
                    <a:pt x="3" y="59"/>
                  </a:cubicBezTo>
                  <a:cubicBezTo>
                    <a:pt x="4" y="61"/>
                    <a:pt x="4" y="62"/>
                    <a:pt x="4" y="64"/>
                  </a:cubicBezTo>
                  <a:cubicBezTo>
                    <a:pt x="4" y="64"/>
                    <a:pt x="4" y="64"/>
                    <a:pt x="4" y="64"/>
                  </a:cubicBezTo>
                  <a:cubicBezTo>
                    <a:pt x="4" y="65"/>
                    <a:pt x="4" y="65"/>
                    <a:pt x="4" y="65"/>
                  </a:cubicBezTo>
                  <a:cubicBezTo>
                    <a:pt x="3" y="66"/>
                    <a:pt x="3" y="66"/>
                    <a:pt x="3" y="66"/>
                  </a:cubicBezTo>
                  <a:cubicBezTo>
                    <a:pt x="3" y="67"/>
                    <a:pt x="3" y="67"/>
                    <a:pt x="3" y="67"/>
                  </a:cubicBezTo>
                  <a:cubicBezTo>
                    <a:pt x="3" y="68"/>
                    <a:pt x="3" y="68"/>
                    <a:pt x="2" y="69"/>
                  </a:cubicBezTo>
                  <a:cubicBezTo>
                    <a:pt x="2" y="69"/>
                    <a:pt x="2" y="69"/>
                    <a:pt x="2" y="70"/>
                  </a:cubicBezTo>
                  <a:cubicBezTo>
                    <a:pt x="2" y="70"/>
                    <a:pt x="2" y="71"/>
                    <a:pt x="2" y="71"/>
                  </a:cubicBezTo>
                  <a:cubicBezTo>
                    <a:pt x="2" y="72"/>
                    <a:pt x="2" y="72"/>
                    <a:pt x="2" y="72"/>
                  </a:cubicBezTo>
                  <a:cubicBezTo>
                    <a:pt x="2" y="72"/>
                    <a:pt x="2" y="73"/>
                    <a:pt x="2" y="73"/>
                  </a:cubicBezTo>
                  <a:cubicBezTo>
                    <a:pt x="2" y="75"/>
                    <a:pt x="2" y="75"/>
                    <a:pt x="2" y="75"/>
                  </a:cubicBezTo>
                  <a:cubicBezTo>
                    <a:pt x="2" y="75"/>
                    <a:pt x="1" y="75"/>
                    <a:pt x="1" y="76"/>
                  </a:cubicBezTo>
                  <a:cubicBezTo>
                    <a:pt x="0" y="77"/>
                    <a:pt x="0" y="77"/>
                    <a:pt x="0" y="77"/>
                  </a:cubicBezTo>
                  <a:cubicBezTo>
                    <a:pt x="1" y="78"/>
                    <a:pt x="1" y="78"/>
                    <a:pt x="1" y="78"/>
                  </a:cubicBezTo>
                  <a:cubicBezTo>
                    <a:pt x="4" y="80"/>
                    <a:pt x="6" y="82"/>
                    <a:pt x="8" y="84"/>
                  </a:cubicBezTo>
                  <a:cubicBezTo>
                    <a:pt x="15" y="87"/>
                    <a:pt x="19" y="89"/>
                    <a:pt x="26" y="90"/>
                  </a:cubicBezTo>
                  <a:cubicBezTo>
                    <a:pt x="27" y="90"/>
                    <a:pt x="27" y="90"/>
                    <a:pt x="28" y="90"/>
                  </a:cubicBezTo>
                  <a:cubicBezTo>
                    <a:pt x="29" y="90"/>
                    <a:pt x="30" y="90"/>
                    <a:pt x="31" y="90"/>
                  </a:cubicBezTo>
                  <a:cubicBezTo>
                    <a:pt x="32" y="90"/>
                    <a:pt x="33" y="90"/>
                    <a:pt x="34" y="90"/>
                  </a:cubicBezTo>
                  <a:cubicBezTo>
                    <a:pt x="34" y="90"/>
                    <a:pt x="35" y="90"/>
                    <a:pt x="35" y="90"/>
                  </a:cubicBezTo>
                  <a:cubicBezTo>
                    <a:pt x="38" y="90"/>
                    <a:pt x="41" y="92"/>
                    <a:pt x="44" y="93"/>
                  </a:cubicBezTo>
                  <a:cubicBezTo>
                    <a:pt x="45" y="93"/>
                    <a:pt x="45" y="93"/>
                    <a:pt x="45" y="93"/>
                  </a:cubicBezTo>
                  <a:cubicBezTo>
                    <a:pt x="45" y="93"/>
                    <a:pt x="45" y="93"/>
                    <a:pt x="45" y="93"/>
                  </a:cubicBezTo>
                  <a:cubicBezTo>
                    <a:pt x="47" y="88"/>
                    <a:pt x="47" y="88"/>
                    <a:pt x="48" y="88"/>
                  </a:cubicBezTo>
                  <a:cubicBezTo>
                    <a:pt x="48" y="86"/>
                    <a:pt x="50" y="85"/>
                    <a:pt x="52" y="85"/>
                  </a:cubicBezTo>
                  <a:cubicBezTo>
                    <a:pt x="52" y="84"/>
                    <a:pt x="53" y="84"/>
                    <a:pt x="54" y="84"/>
                  </a:cubicBezTo>
                  <a:cubicBezTo>
                    <a:pt x="54" y="83"/>
                    <a:pt x="56" y="82"/>
                    <a:pt x="57" y="82"/>
                  </a:cubicBezTo>
                  <a:cubicBezTo>
                    <a:pt x="57" y="82"/>
                    <a:pt x="57" y="82"/>
                    <a:pt x="57" y="82"/>
                  </a:cubicBezTo>
                  <a:cubicBezTo>
                    <a:pt x="57" y="81"/>
                    <a:pt x="56" y="80"/>
                    <a:pt x="57" y="79"/>
                  </a:cubicBezTo>
                  <a:cubicBezTo>
                    <a:pt x="57" y="77"/>
                    <a:pt x="59" y="76"/>
                    <a:pt x="62" y="75"/>
                  </a:cubicBezTo>
                  <a:cubicBezTo>
                    <a:pt x="62" y="75"/>
                    <a:pt x="62" y="75"/>
                    <a:pt x="63" y="75"/>
                  </a:cubicBezTo>
                  <a:cubicBezTo>
                    <a:pt x="64" y="75"/>
                    <a:pt x="64" y="75"/>
                    <a:pt x="64" y="75"/>
                  </a:cubicBezTo>
                  <a:cubicBezTo>
                    <a:pt x="65" y="74"/>
                    <a:pt x="65" y="74"/>
                    <a:pt x="65" y="74"/>
                  </a:cubicBezTo>
                  <a:cubicBezTo>
                    <a:pt x="65" y="74"/>
                    <a:pt x="67" y="72"/>
                    <a:pt x="67" y="72"/>
                  </a:cubicBezTo>
                  <a:cubicBezTo>
                    <a:pt x="67" y="72"/>
                    <a:pt x="67" y="72"/>
                    <a:pt x="67" y="72"/>
                  </a:cubicBezTo>
                  <a:cubicBezTo>
                    <a:pt x="66" y="71"/>
                    <a:pt x="66" y="70"/>
                    <a:pt x="66" y="69"/>
                  </a:cubicBezTo>
                  <a:cubicBezTo>
                    <a:pt x="66" y="68"/>
                    <a:pt x="66" y="66"/>
                    <a:pt x="66" y="65"/>
                  </a:cubicBezTo>
                  <a:cubicBezTo>
                    <a:pt x="66" y="65"/>
                    <a:pt x="66" y="65"/>
                    <a:pt x="66" y="65"/>
                  </a:cubicBezTo>
                  <a:cubicBezTo>
                    <a:pt x="66" y="65"/>
                    <a:pt x="66" y="65"/>
                    <a:pt x="66" y="65"/>
                  </a:cubicBezTo>
                  <a:cubicBezTo>
                    <a:pt x="66" y="64"/>
                    <a:pt x="67" y="64"/>
                    <a:pt x="67" y="63"/>
                  </a:cubicBezTo>
                  <a:cubicBezTo>
                    <a:pt x="67" y="61"/>
                    <a:pt x="70" y="60"/>
                    <a:pt x="72" y="59"/>
                  </a:cubicBezTo>
                  <a:cubicBezTo>
                    <a:pt x="73" y="60"/>
                    <a:pt x="73" y="60"/>
                    <a:pt x="73" y="60"/>
                  </a:cubicBezTo>
                  <a:cubicBezTo>
                    <a:pt x="72" y="58"/>
                    <a:pt x="72" y="58"/>
                    <a:pt x="72" y="58"/>
                  </a:cubicBezTo>
                  <a:cubicBezTo>
                    <a:pt x="73" y="58"/>
                    <a:pt x="73" y="58"/>
                    <a:pt x="73" y="58"/>
                  </a:cubicBezTo>
                  <a:cubicBezTo>
                    <a:pt x="74" y="58"/>
                    <a:pt x="75" y="57"/>
                    <a:pt x="75" y="57"/>
                  </a:cubicBezTo>
                  <a:cubicBezTo>
                    <a:pt x="76" y="56"/>
                    <a:pt x="76" y="56"/>
                    <a:pt x="76" y="56"/>
                  </a:cubicBezTo>
                  <a:cubicBezTo>
                    <a:pt x="78" y="55"/>
                    <a:pt x="80" y="53"/>
                    <a:pt x="82" y="51"/>
                  </a:cubicBezTo>
                  <a:cubicBezTo>
                    <a:pt x="82" y="51"/>
                    <a:pt x="83" y="50"/>
                    <a:pt x="84" y="50"/>
                  </a:cubicBezTo>
                  <a:cubicBezTo>
                    <a:pt x="84" y="49"/>
                    <a:pt x="84" y="49"/>
                    <a:pt x="84" y="49"/>
                  </a:cubicBezTo>
                  <a:cubicBezTo>
                    <a:pt x="86" y="48"/>
                    <a:pt x="87" y="47"/>
                    <a:pt x="88" y="46"/>
                  </a:cubicBezTo>
                  <a:cubicBezTo>
                    <a:pt x="86" y="44"/>
                    <a:pt x="84" y="43"/>
                    <a:pt x="82" y="42"/>
                  </a:cubicBezTo>
                  <a:cubicBezTo>
                    <a:pt x="83" y="43"/>
                    <a:pt x="84" y="44"/>
                    <a:pt x="85" y="45"/>
                  </a:cubicBezTo>
                  <a:cubicBezTo>
                    <a:pt x="83" y="45"/>
                    <a:pt x="82" y="46"/>
                    <a:pt x="81" y="46"/>
                  </a:cubicBezTo>
                  <a:cubicBezTo>
                    <a:pt x="80" y="46"/>
                    <a:pt x="79" y="45"/>
                    <a:pt x="77" y="44"/>
                  </a:cubicBezTo>
                  <a:cubicBezTo>
                    <a:pt x="76" y="44"/>
                    <a:pt x="76" y="44"/>
                    <a:pt x="76" y="44"/>
                  </a:cubicBezTo>
                  <a:cubicBezTo>
                    <a:pt x="77" y="45"/>
                    <a:pt x="77" y="45"/>
                    <a:pt x="77" y="45"/>
                  </a:cubicBezTo>
                  <a:cubicBezTo>
                    <a:pt x="75" y="46"/>
                    <a:pt x="75" y="46"/>
                    <a:pt x="75" y="46"/>
                  </a:cubicBezTo>
                  <a:cubicBezTo>
                    <a:pt x="75" y="46"/>
                    <a:pt x="75" y="46"/>
                    <a:pt x="75" y="46"/>
                  </a:cubicBezTo>
                  <a:cubicBezTo>
                    <a:pt x="75" y="46"/>
                    <a:pt x="75" y="46"/>
                    <a:pt x="75" y="46"/>
                  </a:cubicBezTo>
                  <a:cubicBezTo>
                    <a:pt x="73" y="47"/>
                    <a:pt x="73" y="47"/>
                    <a:pt x="73" y="47"/>
                  </a:cubicBezTo>
                  <a:cubicBezTo>
                    <a:pt x="73" y="46"/>
                    <a:pt x="73" y="46"/>
                    <a:pt x="73" y="46"/>
                  </a:cubicBezTo>
                  <a:cubicBezTo>
                    <a:pt x="73" y="46"/>
                    <a:pt x="73" y="46"/>
                    <a:pt x="73" y="46"/>
                  </a:cubicBezTo>
                  <a:cubicBezTo>
                    <a:pt x="72" y="46"/>
                    <a:pt x="72" y="46"/>
                    <a:pt x="72" y="46"/>
                  </a:cubicBezTo>
                  <a:cubicBezTo>
                    <a:pt x="71" y="46"/>
                    <a:pt x="70" y="46"/>
                    <a:pt x="69" y="46"/>
                  </a:cubicBezTo>
                  <a:cubicBezTo>
                    <a:pt x="65" y="46"/>
                    <a:pt x="65" y="46"/>
                    <a:pt x="65" y="46"/>
                  </a:cubicBezTo>
                  <a:cubicBezTo>
                    <a:pt x="65" y="42"/>
                    <a:pt x="65" y="42"/>
                    <a:pt x="65" y="42"/>
                  </a:cubicBezTo>
                  <a:cubicBezTo>
                    <a:pt x="66" y="31"/>
                    <a:pt x="66" y="22"/>
                    <a:pt x="67" y="13"/>
                  </a:cubicBezTo>
                  <a:cubicBezTo>
                    <a:pt x="67" y="12"/>
                    <a:pt x="67" y="12"/>
                    <a:pt x="67" y="12"/>
                  </a:cubicBezTo>
                  <a:cubicBezTo>
                    <a:pt x="67" y="10"/>
                    <a:pt x="67" y="8"/>
                    <a:pt x="67" y="6"/>
                  </a:cubicBezTo>
                  <a:cubicBezTo>
                    <a:pt x="67" y="4"/>
                    <a:pt x="67" y="4"/>
                    <a:pt x="67" y="4"/>
                  </a:cubicBezTo>
                  <a:cubicBezTo>
                    <a:pt x="67" y="3"/>
                    <a:pt x="67" y="2"/>
                    <a:pt x="67" y="0"/>
                  </a:cubicBezTo>
                  <a:cubicBezTo>
                    <a:pt x="37" y="0"/>
                    <a:pt x="37" y="0"/>
                    <a:pt x="37" y="0"/>
                  </a:cubicBezTo>
                  <a:cubicBezTo>
                    <a:pt x="37" y="0"/>
                    <a:pt x="36" y="0"/>
                    <a:pt x="35" y="0"/>
                  </a:cubicBezTo>
                  <a:cubicBezTo>
                    <a:pt x="34" y="0"/>
                    <a:pt x="34" y="0"/>
                    <a:pt x="34" y="0"/>
                  </a:cubicBezTo>
                  <a:cubicBezTo>
                    <a:pt x="32"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271"/>
            <p:cNvSpPr/>
            <p:nvPr/>
          </p:nvSpPr>
          <p:spPr bwMode="auto">
            <a:xfrm>
              <a:off x="7692127" y="1035196"/>
              <a:ext cx="903853" cy="1271046"/>
            </a:xfrm>
            <a:custGeom>
              <a:gdLst>
                <a:gd name="T0" fmla="*/ 135 w 271"/>
                <a:gd name="T1" fmla="*/ 26 h 381"/>
                <a:gd name="T2" fmla="*/ 107 w 271"/>
                <a:gd name="T3" fmla="*/ 40 h 381"/>
                <a:gd name="T4" fmla="*/ 109 w 271"/>
                <a:gd name="T5" fmla="*/ 35 h 381"/>
                <a:gd name="T6" fmla="*/ 97 w 271"/>
                <a:gd name="T7" fmla="*/ 32 h 381"/>
                <a:gd name="T8" fmla="*/ 81 w 271"/>
                <a:gd name="T9" fmla="*/ 52 h 381"/>
                <a:gd name="T10" fmla="*/ 70 w 271"/>
                <a:gd name="T11" fmla="*/ 73 h 381"/>
                <a:gd name="T12" fmla="*/ 53 w 271"/>
                <a:gd name="T13" fmla="*/ 106 h 381"/>
                <a:gd name="T14" fmla="*/ 46 w 271"/>
                <a:gd name="T15" fmla="*/ 104 h 381"/>
                <a:gd name="T16" fmla="*/ 33 w 271"/>
                <a:gd name="T17" fmla="*/ 118 h 381"/>
                <a:gd name="T18" fmla="*/ 39 w 271"/>
                <a:gd name="T19" fmla="*/ 137 h 381"/>
                <a:gd name="T20" fmla="*/ 40 w 271"/>
                <a:gd name="T21" fmla="*/ 180 h 381"/>
                <a:gd name="T22" fmla="*/ 46 w 271"/>
                <a:gd name="T23" fmla="*/ 199 h 381"/>
                <a:gd name="T24" fmla="*/ 8 w 271"/>
                <a:gd name="T25" fmla="*/ 240 h 381"/>
                <a:gd name="T26" fmla="*/ 5 w 271"/>
                <a:gd name="T27" fmla="*/ 254 h 381"/>
                <a:gd name="T28" fmla="*/ 40 w 271"/>
                <a:gd name="T29" fmla="*/ 278 h 381"/>
                <a:gd name="T30" fmla="*/ 56 w 271"/>
                <a:gd name="T31" fmla="*/ 281 h 381"/>
                <a:gd name="T32" fmla="*/ 74 w 271"/>
                <a:gd name="T33" fmla="*/ 282 h 381"/>
                <a:gd name="T34" fmla="*/ 90 w 271"/>
                <a:gd name="T35" fmla="*/ 289 h 381"/>
                <a:gd name="T36" fmla="*/ 95 w 271"/>
                <a:gd name="T37" fmla="*/ 290 h 381"/>
                <a:gd name="T38" fmla="*/ 99 w 271"/>
                <a:gd name="T39" fmla="*/ 292 h 381"/>
                <a:gd name="T40" fmla="*/ 111 w 271"/>
                <a:gd name="T41" fmla="*/ 304 h 381"/>
                <a:gd name="T42" fmla="*/ 117 w 271"/>
                <a:gd name="T43" fmla="*/ 313 h 381"/>
                <a:gd name="T44" fmla="*/ 132 w 271"/>
                <a:gd name="T45" fmla="*/ 326 h 381"/>
                <a:gd name="T46" fmla="*/ 132 w 271"/>
                <a:gd name="T47" fmla="*/ 330 h 381"/>
                <a:gd name="T48" fmla="*/ 141 w 271"/>
                <a:gd name="T49" fmla="*/ 334 h 381"/>
                <a:gd name="T50" fmla="*/ 142 w 271"/>
                <a:gd name="T51" fmla="*/ 340 h 381"/>
                <a:gd name="T52" fmla="*/ 155 w 271"/>
                <a:gd name="T53" fmla="*/ 344 h 381"/>
                <a:gd name="T54" fmla="*/ 160 w 271"/>
                <a:gd name="T55" fmla="*/ 344 h 381"/>
                <a:gd name="T56" fmla="*/ 163 w 271"/>
                <a:gd name="T57" fmla="*/ 343 h 381"/>
                <a:gd name="T58" fmla="*/ 173 w 271"/>
                <a:gd name="T59" fmla="*/ 341 h 381"/>
                <a:gd name="T60" fmla="*/ 181 w 271"/>
                <a:gd name="T61" fmla="*/ 342 h 381"/>
                <a:gd name="T62" fmla="*/ 189 w 271"/>
                <a:gd name="T63" fmla="*/ 340 h 381"/>
                <a:gd name="T64" fmla="*/ 209 w 271"/>
                <a:gd name="T65" fmla="*/ 350 h 381"/>
                <a:gd name="T66" fmla="*/ 198 w 271"/>
                <a:gd name="T67" fmla="*/ 376 h 381"/>
                <a:gd name="T68" fmla="*/ 207 w 271"/>
                <a:gd name="T69" fmla="*/ 379 h 381"/>
                <a:gd name="T70" fmla="*/ 212 w 271"/>
                <a:gd name="T71" fmla="*/ 365 h 381"/>
                <a:gd name="T72" fmla="*/ 215 w 271"/>
                <a:gd name="T73" fmla="*/ 350 h 381"/>
                <a:gd name="T74" fmla="*/ 217 w 271"/>
                <a:gd name="T75" fmla="*/ 339 h 381"/>
                <a:gd name="T76" fmla="*/ 216 w 271"/>
                <a:gd name="T77" fmla="*/ 303 h 381"/>
                <a:gd name="T78" fmla="*/ 215 w 271"/>
                <a:gd name="T79" fmla="*/ 271 h 381"/>
                <a:gd name="T80" fmla="*/ 225 w 271"/>
                <a:gd name="T81" fmla="*/ 268 h 381"/>
                <a:gd name="T82" fmla="*/ 210 w 271"/>
                <a:gd name="T83" fmla="*/ 265 h 381"/>
                <a:gd name="T84" fmla="*/ 242 w 271"/>
                <a:gd name="T85" fmla="*/ 247 h 381"/>
                <a:gd name="T86" fmla="*/ 259 w 271"/>
                <a:gd name="T87" fmla="*/ 245 h 381"/>
                <a:gd name="T88" fmla="*/ 265 w 271"/>
                <a:gd name="T89" fmla="*/ 229 h 381"/>
                <a:gd name="T90" fmla="*/ 259 w 271"/>
                <a:gd name="T91" fmla="*/ 220 h 381"/>
                <a:gd name="T92" fmla="*/ 266 w 271"/>
                <a:gd name="T93" fmla="*/ 214 h 381"/>
                <a:gd name="T94" fmla="*/ 263 w 271"/>
                <a:gd name="T95" fmla="*/ 205 h 381"/>
                <a:gd name="T96" fmla="*/ 251 w 271"/>
                <a:gd name="T97" fmla="*/ 186 h 381"/>
                <a:gd name="T98" fmla="*/ 257 w 271"/>
                <a:gd name="T99" fmla="*/ 167 h 381"/>
                <a:gd name="T100" fmla="*/ 266 w 271"/>
                <a:gd name="T101" fmla="*/ 149 h 381"/>
                <a:gd name="T102" fmla="*/ 234 w 271"/>
                <a:gd name="T103" fmla="*/ 150 h 381"/>
                <a:gd name="T104" fmla="*/ 211 w 271"/>
                <a:gd name="T105" fmla="*/ 138 h 381"/>
                <a:gd name="T106" fmla="*/ 185 w 271"/>
                <a:gd name="T107" fmla="*/ 130 h 381"/>
                <a:gd name="T108" fmla="*/ 165 w 271"/>
                <a:gd name="T109" fmla="*/ 130 h 381"/>
                <a:gd name="T110" fmla="*/ 154 w 271"/>
                <a:gd name="T111" fmla="*/ 121 h 381"/>
                <a:gd name="T112" fmla="*/ 146 w 271"/>
                <a:gd name="T113" fmla="*/ 86 h 381"/>
                <a:gd name="T114" fmla="*/ 133 w 271"/>
                <a:gd name="T115" fmla="*/ 80 h 381"/>
                <a:gd name="T116" fmla="*/ 132 w 271"/>
                <a:gd name="T117" fmla="*/ 71 h 381"/>
                <a:gd name="T118" fmla="*/ 143 w 271"/>
                <a:gd name="T119" fmla="*/ 40 h 381"/>
                <a:gd name="T120" fmla="*/ 156 w 271"/>
                <a:gd name="T121" fmla="*/ 27 h 381"/>
                <a:gd name="T122" fmla="*/ 174 w 271"/>
                <a:gd name="T123" fmla="*/ 13 h 381"/>
                <a:gd name="T124" fmla="*/ 180 w 271"/>
                <a:gd name="T125" fmla="*/ 2 h 3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 h="381">
                  <a:moveTo>
                    <a:pt x="172" y="0"/>
                  </a:moveTo>
                  <a:cubicBezTo>
                    <a:pt x="172" y="0"/>
                    <a:pt x="172" y="0"/>
                    <a:pt x="172" y="0"/>
                  </a:cubicBezTo>
                  <a:cubicBezTo>
                    <a:pt x="169" y="0"/>
                    <a:pt x="164" y="3"/>
                    <a:pt x="161" y="5"/>
                  </a:cubicBezTo>
                  <a:cubicBezTo>
                    <a:pt x="158" y="6"/>
                    <a:pt x="157" y="11"/>
                    <a:pt x="155" y="14"/>
                  </a:cubicBezTo>
                  <a:cubicBezTo>
                    <a:pt x="151" y="16"/>
                    <a:pt x="147" y="18"/>
                    <a:pt x="143" y="20"/>
                  </a:cubicBezTo>
                  <a:cubicBezTo>
                    <a:pt x="140" y="22"/>
                    <a:pt x="138" y="25"/>
                    <a:pt x="135" y="26"/>
                  </a:cubicBezTo>
                  <a:cubicBezTo>
                    <a:pt x="133" y="27"/>
                    <a:pt x="129" y="28"/>
                    <a:pt x="126" y="28"/>
                  </a:cubicBezTo>
                  <a:cubicBezTo>
                    <a:pt x="124" y="28"/>
                    <a:pt x="121" y="27"/>
                    <a:pt x="119" y="27"/>
                  </a:cubicBezTo>
                  <a:cubicBezTo>
                    <a:pt x="117" y="26"/>
                    <a:pt x="117" y="26"/>
                    <a:pt x="116" y="26"/>
                  </a:cubicBezTo>
                  <a:cubicBezTo>
                    <a:pt x="116" y="26"/>
                    <a:pt x="115" y="26"/>
                    <a:pt x="114" y="26"/>
                  </a:cubicBezTo>
                  <a:cubicBezTo>
                    <a:pt x="113" y="28"/>
                    <a:pt x="111" y="33"/>
                    <a:pt x="110" y="36"/>
                  </a:cubicBezTo>
                  <a:cubicBezTo>
                    <a:pt x="109" y="38"/>
                    <a:pt x="108" y="40"/>
                    <a:pt x="107" y="40"/>
                  </a:cubicBezTo>
                  <a:cubicBezTo>
                    <a:pt x="106" y="40"/>
                    <a:pt x="105" y="39"/>
                    <a:pt x="104" y="38"/>
                  </a:cubicBezTo>
                  <a:cubicBezTo>
                    <a:pt x="103" y="39"/>
                    <a:pt x="103" y="39"/>
                    <a:pt x="103" y="39"/>
                  </a:cubicBezTo>
                  <a:cubicBezTo>
                    <a:pt x="104" y="38"/>
                    <a:pt x="105" y="36"/>
                    <a:pt x="106" y="35"/>
                  </a:cubicBezTo>
                  <a:cubicBezTo>
                    <a:pt x="106" y="35"/>
                    <a:pt x="106" y="34"/>
                    <a:pt x="107" y="34"/>
                  </a:cubicBezTo>
                  <a:cubicBezTo>
                    <a:pt x="107" y="34"/>
                    <a:pt x="107" y="35"/>
                    <a:pt x="108" y="35"/>
                  </a:cubicBezTo>
                  <a:cubicBezTo>
                    <a:pt x="108" y="35"/>
                    <a:pt x="108" y="35"/>
                    <a:pt x="109" y="35"/>
                  </a:cubicBezTo>
                  <a:cubicBezTo>
                    <a:pt x="109" y="35"/>
                    <a:pt x="109" y="35"/>
                    <a:pt x="109" y="35"/>
                  </a:cubicBezTo>
                  <a:cubicBezTo>
                    <a:pt x="110" y="35"/>
                    <a:pt x="110" y="34"/>
                    <a:pt x="110" y="34"/>
                  </a:cubicBezTo>
                  <a:cubicBezTo>
                    <a:pt x="109" y="34"/>
                    <a:pt x="108" y="34"/>
                    <a:pt x="107" y="34"/>
                  </a:cubicBezTo>
                  <a:cubicBezTo>
                    <a:pt x="106" y="34"/>
                    <a:pt x="105" y="34"/>
                    <a:pt x="104" y="34"/>
                  </a:cubicBezTo>
                  <a:cubicBezTo>
                    <a:pt x="103" y="33"/>
                    <a:pt x="99" y="31"/>
                    <a:pt x="98" y="31"/>
                  </a:cubicBezTo>
                  <a:cubicBezTo>
                    <a:pt x="97" y="31"/>
                    <a:pt x="97" y="31"/>
                    <a:pt x="97" y="32"/>
                  </a:cubicBezTo>
                  <a:cubicBezTo>
                    <a:pt x="95" y="33"/>
                    <a:pt x="94" y="36"/>
                    <a:pt x="92" y="37"/>
                  </a:cubicBezTo>
                  <a:cubicBezTo>
                    <a:pt x="91" y="37"/>
                    <a:pt x="89" y="38"/>
                    <a:pt x="89" y="39"/>
                  </a:cubicBezTo>
                  <a:cubicBezTo>
                    <a:pt x="88" y="40"/>
                    <a:pt x="88" y="41"/>
                    <a:pt x="88" y="41"/>
                  </a:cubicBezTo>
                  <a:cubicBezTo>
                    <a:pt x="87" y="42"/>
                    <a:pt x="83" y="42"/>
                    <a:pt x="82" y="44"/>
                  </a:cubicBezTo>
                  <a:cubicBezTo>
                    <a:pt x="80" y="47"/>
                    <a:pt x="80" y="51"/>
                    <a:pt x="77" y="54"/>
                  </a:cubicBezTo>
                  <a:cubicBezTo>
                    <a:pt x="79" y="53"/>
                    <a:pt x="80" y="52"/>
                    <a:pt x="81" y="52"/>
                  </a:cubicBezTo>
                  <a:cubicBezTo>
                    <a:pt x="81" y="55"/>
                    <a:pt x="79" y="60"/>
                    <a:pt x="78" y="63"/>
                  </a:cubicBezTo>
                  <a:cubicBezTo>
                    <a:pt x="77" y="66"/>
                    <a:pt x="80" y="65"/>
                    <a:pt x="80" y="67"/>
                  </a:cubicBezTo>
                  <a:cubicBezTo>
                    <a:pt x="79" y="68"/>
                    <a:pt x="79" y="71"/>
                    <a:pt x="77" y="71"/>
                  </a:cubicBezTo>
                  <a:cubicBezTo>
                    <a:pt x="76" y="71"/>
                    <a:pt x="76" y="71"/>
                    <a:pt x="76" y="71"/>
                  </a:cubicBezTo>
                  <a:cubicBezTo>
                    <a:pt x="76" y="71"/>
                    <a:pt x="75" y="71"/>
                    <a:pt x="75" y="71"/>
                  </a:cubicBezTo>
                  <a:cubicBezTo>
                    <a:pt x="73" y="71"/>
                    <a:pt x="72" y="72"/>
                    <a:pt x="70" y="73"/>
                  </a:cubicBezTo>
                  <a:cubicBezTo>
                    <a:pt x="67" y="74"/>
                    <a:pt x="66" y="79"/>
                    <a:pt x="64" y="82"/>
                  </a:cubicBezTo>
                  <a:cubicBezTo>
                    <a:pt x="62" y="85"/>
                    <a:pt x="55" y="88"/>
                    <a:pt x="52" y="89"/>
                  </a:cubicBezTo>
                  <a:cubicBezTo>
                    <a:pt x="52" y="89"/>
                    <a:pt x="51" y="89"/>
                    <a:pt x="50" y="90"/>
                  </a:cubicBezTo>
                  <a:cubicBezTo>
                    <a:pt x="47" y="92"/>
                    <a:pt x="50" y="94"/>
                    <a:pt x="52" y="97"/>
                  </a:cubicBezTo>
                  <a:cubicBezTo>
                    <a:pt x="53" y="98"/>
                    <a:pt x="54" y="102"/>
                    <a:pt x="54" y="103"/>
                  </a:cubicBezTo>
                  <a:cubicBezTo>
                    <a:pt x="54" y="104"/>
                    <a:pt x="54" y="106"/>
                    <a:pt x="53" y="106"/>
                  </a:cubicBezTo>
                  <a:cubicBezTo>
                    <a:pt x="53" y="106"/>
                    <a:pt x="53" y="106"/>
                    <a:pt x="52" y="106"/>
                  </a:cubicBezTo>
                  <a:cubicBezTo>
                    <a:pt x="51" y="106"/>
                    <a:pt x="51" y="105"/>
                    <a:pt x="51" y="104"/>
                  </a:cubicBezTo>
                  <a:cubicBezTo>
                    <a:pt x="48" y="99"/>
                    <a:pt x="44" y="95"/>
                    <a:pt x="41" y="91"/>
                  </a:cubicBezTo>
                  <a:cubicBezTo>
                    <a:pt x="40" y="91"/>
                    <a:pt x="40" y="92"/>
                    <a:pt x="40" y="92"/>
                  </a:cubicBezTo>
                  <a:cubicBezTo>
                    <a:pt x="41" y="93"/>
                    <a:pt x="42" y="95"/>
                    <a:pt x="42" y="97"/>
                  </a:cubicBezTo>
                  <a:cubicBezTo>
                    <a:pt x="43" y="99"/>
                    <a:pt x="45" y="101"/>
                    <a:pt x="46" y="104"/>
                  </a:cubicBezTo>
                  <a:cubicBezTo>
                    <a:pt x="48" y="107"/>
                    <a:pt x="48" y="107"/>
                    <a:pt x="48" y="107"/>
                  </a:cubicBezTo>
                  <a:cubicBezTo>
                    <a:pt x="45" y="108"/>
                    <a:pt x="45" y="108"/>
                    <a:pt x="45" y="108"/>
                  </a:cubicBezTo>
                  <a:cubicBezTo>
                    <a:pt x="43" y="110"/>
                    <a:pt x="41" y="112"/>
                    <a:pt x="39" y="113"/>
                  </a:cubicBezTo>
                  <a:cubicBezTo>
                    <a:pt x="37" y="116"/>
                    <a:pt x="36" y="118"/>
                    <a:pt x="35" y="118"/>
                  </a:cubicBezTo>
                  <a:cubicBezTo>
                    <a:pt x="34" y="118"/>
                    <a:pt x="34" y="118"/>
                    <a:pt x="34" y="118"/>
                  </a:cubicBezTo>
                  <a:cubicBezTo>
                    <a:pt x="33" y="118"/>
                    <a:pt x="33" y="118"/>
                    <a:pt x="33" y="118"/>
                  </a:cubicBezTo>
                  <a:cubicBezTo>
                    <a:pt x="32" y="119"/>
                    <a:pt x="31" y="120"/>
                    <a:pt x="31" y="121"/>
                  </a:cubicBezTo>
                  <a:cubicBezTo>
                    <a:pt x="30" y="122"/>
                    <a:pt x="30" y="122"/>
                    <a:pt x="30" y="122"/>
                  </a:cubicBezTo>
                  <a:cubicBezTo>
                    <a:pt x="30" y="125"/>
                    <a:pt x="30" y="125"/>
                    <a:pt x="30" y="125"/>
                  </a:cubicBezTo>
                  <a:cubicBezTo>
                    <a:pt x="29" y="125"/>
                    <a:pt x="29" y="125"/>
                    <a:pt x="29" y="125"/>
                  </a:cubicBezTo>
                  <a:cubicBezTo>
                    <a:pt x="31" y="128"/>
                    <a:pt x="33" y="130"/>
                    <a:pt x="35" y="133"/>
                  </a:cubicBezTo>
                  <a:cubicBezTo>
                    <a:pt x="36" y="134"/>
                    <a:pt x="39" y="136"/>
                    <a:pt x="39" y="137"/>
                  </a:cubicBezTo>
                  <a:cubicBezTo>
                    <a:pt x="40" y="140"/>
                    <a:pt x="36" y="143"/>
                    <a:pt x="36" y="145"/>
                  </a:cubicBezTo>
                  <a:cubicBezTo>
                    <a:pt x="37" y="148"/>
                    <a:pt x="39" y="151"/>
                    <a:pt x="40" y="154"/>
                  </a:cubicBezTo>
                  <a:cubicBezTo>
                    <a:pt x="41" y="154"/>
                    <a:pt x="42" y="155"/>
                    <a:pt x="42" y="156"/>
                  </a:cubicBezTo>
                  <a:cubicBezTo>
                    <a:pt x="42" y="159"/>
                    <a:pt x="35" y="160"/>
                    <a:pt x="36" y="162"/>
                  </a:cubicBezTo>
                  <a:cubicBezTo>
                    <a:pt x="37" y="164"/>
                    <a:pt x="39" y="167"/>
                    <a:pt x="39" y="169"/>
                  </a:cubicBezTo>
                  <a:cubicBezTo>
                    <a:pt x="40" y="173"/>
                    <a:pt x="40" y="177"/>
                    <a:pt x="40" y="180"/>
                  </a:cubicBezTo>
                  <a:cubicBezTo>
                    <a:pt x="40" y="183"/>
                    <a:pt x="40" y="185"/>
                    <a:pt x="39" y="188"/>
                  </a:cubicBezTo>
                  <a:cubicBezTo>
                    <a:pt x="38" y="190"/>
                    <a:pt x="40" y="191"/>
                    <a:pt x="42" y="192"/>
                  </a:cubicBezTo>
                  <a:cubicBezTo>
                    <a:pt x="39" y="195"/>
                    <a:pt x="35" y="194"/>
                    <a:pt x="40" y="198"/>
                  </a:cubicBezTo>
                  <a:cubicBezTo>
                    <a:pt x="40" y="196"/>
                    <a:pt x="41" y="196"/>
                    <a:pt x="42" y="195"/>
                  </a:cubicBezTo>
                  <a:cubicBezTo>
                    <a:pt x="44" y="196"/>
                    <a:pt x="43" y="199"/>
                    <a:pt x="43" y="201"/>
                  </a:cubicBezTo>
                  <a:cubicBezTo>
                    <a:pt x="44" y="200"/>
                    <a:pt x="45" y="199"/>
                    <a:pt x="46" y="199"/>
                  </a:cubicBezTo>
                  <a:cubicBezTo>
                    <a:pt x="46" y="199"/>
                    <a:pt x="46" y="199"/>
                    <a:pt x="47" y="199"/>
                  </a:cubicBezTo>
                  <a:cubicBezTo>
                    <a:pt x="43" y="205"/>
                    <a:pt x="39" y="217"/>
                    <a:pt x="31" y="219"/>
                  </a:cubicBezTo>
                  <a:cubicBezTo>
                    <a:pt x="32" y="223"/>
                    <a:pt x="33" y="223"/>
                    <a:pt x="30" y="226"/>
                  </a:cubicBezTo>
                  <a:cubicBezTo>
                    <a:pt x="29" y="228"/>
                    <a:pt x="27" y="230"/>
                    <a:pt x="25" y="231"/>
                  </a:cubicBezTo>
                  <a:cubicBezTo>
                    <a:pt x="20" y="233"/>
                    <a:pt x="15" y="231"/>
                    <a:pt x="11" y="235"/>
                  </a:cubicBezTo>
                  <a:cubicBezTo>
                    <a:pt x="10" y="236"/>
                    <a:pt x="8" y="238"/>
                    <a:pt x="8" y="240"/>
                  </a:cubicBezTo>
                  <a:cubicBezTo>
                    <a:pt x="8" y="242"/>
                    <a:pt x="11" y="244"/>
                    <a:pt x="12" y="246"/>
                  </a:cubicBezTo>
                  <a:cubicBezTo>
                    <a:pt x="12" y="250"/>
                    <a:pt x="3" y="251"/>
                    <a:pt x="0" y="252"/>
                  </a:cubicBezTo>
                  <a:cubicBezTo>
                    <a:pt x="1" y="254"/>
                    <a:pt x="1" y="253"/>
                    <a:pt x="2" y="253"/>
                  </a:cubicBezTo>
                  <a:cubicBezTo>
                    <a:pt x="3" y="254"/>
                    <a:pt x="3" y="254"/>
                    <a:pt x="3" y="254"/>
                  </a:cubicBezTo>
                  <a:cubicBezTo>
                    <a:pt x="3" y="254"/>
                    <a:pt x="3" y="254"/>
                    <a:pt x="3" y="254"/>
                  </a:cubicBezTo>
                  <a:cubicBezTo>
                    <a:pt x="5" y="254"/>
                    <a:pt x="5" y="254"/>
                    <a:pt x="5" y="254"/>
                  </a:cubicBezTo>
                  <a:cubicBezTo>
                    <a:pt x="6" y="254"/>
                    <a:pt x="7" y="254"/>
                    <a:pt x="7" y="255"/>
                  </a:cubicBezTo>
                  <a:cubicBezTo>
                    <a:pt x="14" y="260"/>
                    <a:pt x="20" y="264"/>
                    <a:pt x="28" y="267"/>
                  </a:cubicBezTo>
                  <a:cubicBezTo>
                    <a:pt x="28" y="267"/>
                    <a:pt x="29" y="268"/>
                    <a:pt x="30" y="268"/>
                  </a:cubicBezTo>
                  <a:cubicBezTo>
                    <a:pt x="33" y="269"/>
                    <a:pt x="36" y="270"/>
                    <a:pt x="38" y="274"/>
                  </a:cubicBezTo>
                  <a:cubicBezTo>
                    <a:pt x="39" y="275"/>
                    <a:pt x="39" y="276"/>
                    <a:pt x="39" y="277"/>
                  </a:cubicBezTo>
                  <a:cubicBezTo>
                    <a:pt x="40" y="277"/>
                    <a:pt x="40" y="278"/>
                    <a:pt x="40" y="278"/>
                  </a:cubicBezTo>
                  <a:cubicBezTo>
                    <a:pt x="41" y="279"/>
                    <a:pt x="41" y="279"/>
                    <a:pt x="41" y="279"/>
                  </a:cubicBezTo>
                  <a:cubicBezTo>
                    <a:pt x="41" y="279"/>
                    <a:pt x="41" y="279"/>
                    <a:pt x="41" y="279"/>
                  </a:cubicBezTo>
                  <a:cubicBezTo>
                    <a:pt x="43" y="279"/>
                    <a:pt x="44" y="279"/>
                    <a:pt x="45" y="279"/>
                  </a:cubicBezTo>
                  <a:cubicBezTo>
                    <a:pt x="45" y="279"/>
                    <a:pt x="46" y="279"/>
                    <a:pt x="46" y="279"/>
                  </a:cubicBezTo>
                  <a:cubicBezTo>
                    <a:pt x="47" y="279"/>
                    <a:pt x="48" y="280"/>
                    <a:pt x="49" y="280"/>
                  </a:cubicBezTo>
                  <a:cubicBezTo>
                    <a:pt x="52" y="280"/>
                    <a:pt x="54" y="281"/>
                    <a:pt x="56" y="281"/>
                  </a:cubicBezTo>
                  <a:cubicBezTo>
                    <a:pt x="57" y="281"/>
                    <a:pt x="58" y="280"/>
                    <a:pt x="60" y="280"/>
                  </a:cubicBezTo>
                  <a:cubicBezTo>
                    <a:pt x="61" y="280"/>
                    <a:pt x="61" y="280"/>
                    <a:pt x="61" y="280"/>
                  </a:cubicBezTo>
                  <a:cubicBezTo>
                    <a:pt x="62" y="279"/>
                    <a:pt x="64" y="279"/>
                    <a:pt x="66" y="279"/>
                  </a:cubicBezTo>
                  <a:cubicBezTo>
                    <a:pt x="67" y="279"/>
                    <a:pt x="68" y="279"/>
                    <a:pt x="70" y="280"/>
                  </a:cubicBezTo>
                  <a:cubicBezTo>
                    <a:pt x="71" y="280"/>
                    <a:pt x="72" y="281"/>
                    <a:pt x="73" y="282"/>
                  </a:cubicBezTo>
                  <a:cubicBezTo>
                    <a:pt x="74" y="282"/>
                    <a:pt x="74" y="282"/>
                    <a:pt x="74" y="282"/>
                  </a:cubicBezTo>
                  <a:cubicBezTo>
                    <a:pt x="74" y="282"/>
                    <a:pt x="75" y="283"/>
                    <a:pt x="76" y="283"/>
                  </a:cubicBezTo>
                  <a:cubicBezTo>
                    <a:pt x="81" y="286"/>
                    <a:pt x="81" y="286"/>
                    <a:pt x="81" y="286"/>
                  </a:cubicBezTo>
                  <a:cubicBezTo>
                    <a:pt x="82" y="287"/>
                    <a:pt x="83" y="287"/>
                    <a:pt x="83" y="288"/>
                  </a:cubicBezTo>
                  <a:cubicBezTo>
                    <a:pt x="85" y="289"/>
                    <a:pt x="85" y="289"/>
                    <a:pt x="85" y="289"/>
                  </a:cubicBezTo>
                  <a:cubicBezTo>
                    <a:pt x="86" y="289"/>
                    <a:pt x="87" y="289"/>
                    <a:pt x="87" y="290"/>
                  </a:cubicBezTo>
                  <a:cubicBezTo>
                    <a:pt x="88" y="290"/>
                    <a:pt x="89" y="289"/>
                    <a:pt x="90" y="289"/>
                  </a:cubicBezTo>
                  <a:cubicBezTo>
                    <a:pt x="90" y="289"/>
                    <a:pt x="90" y="289"/>
                    <a:pt x="90" y="289"/>
                  </a:cubicBezTo>
                  <a:cubicBezTo>
                    <a:pt x="91" y="289"/>
                    <a:pt x="91" y="289"/>
                    <a:pt x="91" y="289"/>
                  </a:cubicBezTo>
                  <a:cubicBezTo>
                    <a:pt x="91" y="289"/>
                    <a:pt x="91" y="289"/>
                    <a:pt x="91" y="289"/>
                  </a:cubicBezTo>
                  <a:cubicBezTo>
                    <a:pt x="91" y="289"/>
                    <a:pt x="92" y="289"/>
                    <a:pt x="93" y="290"/>
                  </a:cubicBezTo>
                  <a:cubicBezTo>
                    <a:pt x="93" y="290"/>
                    <a:pt x="94" y="290"/>
                    <a:pt x="94" y="290"/>
                  </a:cubicBezTo>
                  <a:cubicBezTo>
                    <a:pt x="95" y="290"/>
                    <a:pt x="95" y="290"/>
                    <a:pt x="95" y="290"/>
                  </a:cubicBezTo>
                  <a:cubicBezTo>
                    <a:pt x="96" y="291"/>
                    <a:pt x="96" y="291"/>
                    <a:pt x="96" y="291"/>
                  </a:cubicBezTo>
                  <a:cubicBezTo>
                    <a:pt x="98" y="287"/>
                    <a:pt x="98" y="287"/>
                    <a:pt x="98" y="287"/>
                  </a:cubicBezTo>
                  <a:cubicBezTo>
                    <a:pt x="97" y="291"/>
                    <a:pt x="97" y="291"/>
                    <a:pt x="97" y="291"/>
                  </a:cubicBezTo>
                  <a:cubicBezTo>
                    <a:pt x="98" y="292"/>
                    <a:pt x="98" y="292"/>
                    <a:pt x="98" y="292"/>
                  </a:cubicBezTo>
                  <a:cubicBezTo>
                    <a:pt x="99" y="292"/>
                    <a:pt x="99" y="292"/>
                    <a:pt x="99" y="292"/>
                  </a:cubicBezTo>
                  <a:cubicBezTo>
                    <a:pt x="99" y="292"/>
                    <a:pt x="99" y="292"/>
                    <a:pt x="99" y="292"/>
                  </a:cubicBezTo>
                  <a:cubicBezTo>
                    <a:pt x="100" y="292"/>
                    <a:pt x="100" y="292"/>
                    <a:pt x="100" y="292"/>
                  </a:cubicBezTo>
                  <a:cubicBezTo>
                    <a:pt x="100" y="293"/>
                    <a:pt x="101" y="293"/>
                    <a:pt x="102" y="294"/>
                  </a:cubicBezTo>
                  <a:cubicBezTo>
                    <a:pt x="104" y="291"/>
                    <a:pt x="104" y="291"/>
                    <a:pt x="104" y="291"/>
                  </a:cubicBezTo>
                  <a:cubicBezTo>
                    <a:pt x="103" y="295"/>
                    <a:pt x="103" y="295"/>
                    <a:pt x="103" y="295"/>
                  </a:cubicBezTo>
                  <a:cubicBezTo>
                    <a:pt x="104" y="295"/>
                    <a:pt x="104" y="295"/>
                    <a:pt x="104" y="295"/>
                  </a:cubicBezTo>
                  <a:cubicBezTo>
                    <a:pt x="107" y="298"/>
                    <a:pt x="110" y="301"/>
                    <a:pt x="111" y="304"/>
                  </a:cubicBezTo>
                  <a:cubicBezTo>
                    <a:pt x="111" y="304"/>
                    <a:pt x="111" y="304"/>
                    <a:pt x="111" y="304"/>
                  </a:cubicBezTo>
                  <a:cubicBezTo>
                    <a:pt x="112" y="305"/>
                    <a:pt x="112" y="306"/>
                    <a:pt x="112" y="307"/>
                  </a:cubicBezTo>
                  <a:cubicBezTo>
                    <a:pt x="112" y="308"/>
                    <a:pt x="113" y="311"/>
                    <a:pt x="114" y="312"/>
                  </a:cubicBezTo>
                  <a:cubicBezTo>
                    <a:pt x="114" y="312"/>
                    <a:pt x="114" y="312"/>
                    <a:pt x="114" y="312"/>
                  </a:cubicBezTo>
                  <a:cubicBezTo>
                    <a:pt x="115" y="312"/>
                    <a:pt x="116" y="312"/>
                    <a:pt x="117" y="313"/>
                  </a:cubicBezTo>
                  <a:cubicBezTo>
                    <a:pt x="117" y="313"/>
                    <a:pt x="117" y="313"/>
                    <a:pt x="117" y="313"/>
                  </a:cubicBezTo>
                  <a:cubicBezTo>
                    <a:pt x="118" y="313"/>
                    <a:pt x="119" y="314"/>
                    <a:pt x="120" y="315"/>
                  </a:cubicBezTo>
                  <a:cubicBezTo>
                    <a:pt x="121" y="316"/>
                    <a:pt x="121" y="316"/>
                    <a:pt x="122" y="316"/>
                  </a:cubicBezTo>
                  <a:cubicBezTo>
                    <a:pt x="122" y="317"/>
                    <a:pt x="123" y="317"/>
                    <a:pt x="124" y="318"/>
                  </a:cubicBezTo>
                  <a:cubicBezTo>
                    <a:pt x="126" y="318"/>
                    <a:pt x="127" y="319"/>
                    <a:pt x="129" y="320"/>
                  </a:cubicBezTo>
                  <a:cubicBezTo>
                    <a:pt x="130" y="321"/>
                    <a:pt x="131" y="323"/>
                    <a:pt x="132" y="324"/>
                  </a:cubicBezTo>
                  <a:cubicBezTo>
                    <a:pt x="132" y="325"/>
                    <a:pt x="132" y="325"/>
                    <a:pt x="132" y="326"/>
                  </a:cubicBezTo>
                  <a:cubicBezTo>
                    <a:pt x="132" y="327"/>
                    <a:pt x="132" y="328"/>
                    <a:pt x="132" y="329"/>
                  </a:cubicBezTo>
                  <a:cubicBezTo>
                    <a:pt x="132" y="329"/>
                    <a:pt x="132" y="329"/>
                    <a:pt x="132" y="329"/>
                  </a:cubicBezTo>
                  <a:cubicBezTo>
                    <a:pt x="132" y="329"/>
                    <a:pt x="132" y="329"/>
                    <a:pt x="132" y="329"/>
                  </a:cubicBezTo>
                  <a:cubicBezTo>
                    <a:pt x="132" y="330"/>
                    <a:pt x="132" y="330"/>
                    <a:pt x="132" y="330"/>
                  </a:cubicBezTo>
                  <a:cubicBezTo>
                    <a:pt x="132" y="330"/>
                    <a:pt x="132" y="330"/>
                    <a:pt x="132" y="330"/>
                  </a:cubicBezTo>
                  <a:cubicBezTo>
                    <a:pt x="132" y="330"/>
                    <a:pt x="132" y="330"/>
                    <a:pt x="132" y="330"/>
                  </a:cubicBezTo>
                  <a:cubicBezTo>
                    <a:pt x="133" y="330"/>
                    <a:pt x="133" y="330"/>
                    <a:pt x="134" y="330"/>
                  </a:cubicBezTo>
                  <a:cubicBezTo>
                    <a:pt x="134" y="330"/>
                    <a:pt x="134" y="330"/>
                    <a:pt x="135" y="330"/>
                  </a:cubicBezTo>
                  <a:cubicBezTo>
                    <a:pt x="136" y="330"/>
                    <a:pt x="137" y="330"/>
                    <a:pt x="139" y="331"/>
                  </a:cubicBezTo>
                  <a:cubicBezTo>
                    <a:pt x="139" y="332"/>
                    <a:pt x="140" y="332"/>
                    <a:pt x="140" y="333"/>
                  </a:cubicBezTo>
                  <a:cubicBezTo>
                    <a:pt x="140" y="333"/>
                    <a:pt x="140" y="333"/>
                    <a:pt x="140" y="333"/>
                  </a:cubicBezTo>
                  <a:cubicBezTo>
                    <a:pt x="141" y="334"/>
                    <a:pt x="141" y="334"/>
                    <a:pt x="141" y="334"/>
                  </a:cubicBezTo>
                  <a:cubicBezTo>
                    <a:pt x="146" y="332"/>
                    <a:pt x="146" y="332"/>
                    <a:pt x="146" y="332"/>
                  </a:cubicBezTo>
                  <a:cubicBezTo>
                    <a:pt x="141" y="335"/>
                    <a:pt x="141" y="335"/>
                    <a:pt x="141" y="335"/>
                  </a:cubicBezTo>
                  <a:cubicBezTo>
                    <a:pt x="141" y="336"/>
                    <a:pt x="141" y="336"/>
                    <a:pt x="141" y="336"/>
                  </a:cubicBezTo>
                  <a:cubicBezTo>
                    <a:pt x="141" y="336"/>
                    <a:pt x="141" y="337"/>
                    <a:pt x="141" y="338"/>
                  </a:cubicBezTo>
                  <a:cubicBezTo>
                    <a:pt x="141" y="338"/>
                    <a:pt x="141" y="339"/>
                    <a:pt x="142" y="339"/>
                  </a:cubicBezTo>
                  <a:cubicBezTo>
                    <a:pt x="142" y="340"/>
                    <a:pt x="142" y="340"/>
                    <a:pt x="142" y="340"/>
                  </a:cubicBezTo>
                  <a:cubicBezTo>
                    <a:pt x="143" y="344"/>
                    <a:pt x="143" y="345"/>
                    <a:pt x="145" y="345"/>
                  </a:cubicBezTo>
                  <a:cubicBezTo>
                    <a:pt x="145" y="345"/>
                    <a:pt x="146" y="345"/>
                    <a:pt x="147" y="345"/>
                  </a:cubicBezTo>
                  <a:cubicBezTo>
                    <a:pt x="147" y="344"/>
                    <a:pt x="148" y="344"/>
                    <a:pt x="149" y="343"/>
                  </a:cubicBezTo>
                  <a:cubicBezTo>
                    <a:pt x="150" y="343"/>
                    <a:pt x="150" y="343"/>
                    <a:pt x="150" y="343"/>
                  </a:cubicBezTo>
                  <a:cubicBezTo>
                    <a:pt x="151" y="343"/>
                    <a:pt x="152" y="343"/>
                    <a:pt x="153" y="344"/>
                  </a:cubicBezTo>
                  <a:cubicBezTo>
                    <a:pt x="153" y="344"/>
                    <a:pt x="154" y="344"/>
                    <a:pt x="155" y="344"/>
                  </a:cubicBezTo>
                  <a:cubicBezTo>
                    <a:pt x="156" y="345"/>
                    <a:pt x="156" y="345"/>
                    <a:pt x="156" y="345"/>
                  </a:cubicBezTo>
                  <a:cubicBezTo>
                    <a:pt x="157" y="345"/>
                    <a:pt x="157" y="345"/>
                    <a:pt x="157" y="345"/>
                  </a:cubicBezTo>
                  <a:cubicBezTo>
                    <a:pt x="157" y="345"/>
                    <a:pt x="157" y="345"/>
                    <a:pt x="157" y="345"/>
                  </a:cubicBezTo>
                  <a:cubicBezTo>
                    <a:pt x="157" y="345"/>
                    <a:pt x="158" y="345"/>
                    <a:pt x="158" y="344"/>
                  </a:cubicBezTo>
                  <a:cubicBezTo>
                    <a:pt x="158" y="344"/>
                    <a:pt x="159" y="344"/>
                    <a:pt x="159" y="344"/>
                  </a:cubicBezTo>
                  <a:cubicBezTo>
                    <a:pt x="159" y="344"/>
                    <a:pt x="159" y="344"/>
                    <a:pt x="160" y="344"/>
                  </a:cubicBezTo>
                  <a:cubicBezTo>
                    <a:pt x="160" y="344"/>
                    <a:pt x="160" y="344"/>
                    <a:pt x="160" y="344"/>
                  </a:cubicBezTo>
                  <a:cubicBezTo>
                    <a:pt x="160" y="344"/>
                    <a:pt x="160" y="344"/>
                    <a:pt x="160" y="344"/>
                  </a:cubicBezTo>
                  <a:cubicBezTo>
                    <a:pt x="160" y="344"/>
                    <a:pt x="160" y="344"/>
                    <a:pt x="160" y="344"/>
                  </a:cubicBezTo>
                  <a:cubicBezTo>
                    <a:pt x="161" y="343"/>
                    <a:pt x="161" y="343"/>
                    <a:pt x="161" y="343"/>
                  </a:cubicBezTo>
                  <a:cubicBezTo>
                    <a:pt x="162" y="343"/>
                    <a:pt x="162" y="343"/>
                    <a:pt x="163" y="343"/>
                  </a:cubicBezTo>
                  <a:cubicBezTo>
                    <a:pt x="163" y="343"/>
                    <a:pt x="163" y="343"/>
                    <a:pt x="163" y="343"/>
                  </a:cubicBezTo>
                  <a:cubicBezTo>
                    <a:pt x="164" y="342"/>
                    <a:pt x="164" y="342"/>
                    <a:pt x="165" y="342"/>
                  </a:cubicBezTo>
                  <a:cubicBezTo>
                    <a:pt x="165" y="342"/>
                    <a:pt x="165" y="342"/>
                    <a:pt x="165" y="342"/>
                  </a:cubicBezTo>
                  <a:cubicBezTo>
                    <a:pt x="166" y="341"/>
                    <a:pt x="166" y="341"/>
                    <a:pt x="166" y="341"/>
                  </a:cubicBezTo>
                  <a:cubicBezTo>
                    <a:pt x="166" y="340"/>
                    <a:pt x="167" y="339"/>
                    <a:pt x="168" y="339"/>
                  </a:cubicBezTo>
                  <a:cubicBezTo>
                    <a:pt x="169" y="339"/>
                    <a:pt x="170" y="339"/>
                    <a:pt x="171" y="340"/>
                  </a:cubicBezTo>
                  <a:cubicBezTo>
                    <a:pt x="171" y="340"/>
                    <a:pt x="172" y="340"/>
                    <a:pt x="173" y="341"/>
                  </a:cubicBezTo>
                  <a:cubicBezTo>
                    <a:pt x="174" y="341"/>
                    <a:pt x="174" y="341"/>
                    <a:pt x="174" y="341"/>
                  </a:cubicBezTo>
                  <a:cubicBezTo>
                    <a:pt x="176" y="342"/>
                    <a:pt x="177" y="342"/>
                    <a:pt x="179" y="343"/>
                  </a:cubicBezTo>
                  <a:cubicBezTo>
                    <a:pt x="179" y="343"/>
                    <a:pt x="179" y="343"/>
                    <a:pt x="179" y="343"/>
                  </a:cubicBezTo>
                  <a:cubicBezTo>
                    <a:pt x="179" y="343"/>
                    <a:pt x="179" y="343"/>
                    <a:pt x="179" y="343"/>
                  </a:cubicBezTo>
                  <a:cubicBezTo>
                    <a:pt x="180" y="343"/>
                    <a:pt x="180" y="343"/>
                    <a:pt x="181" y="342"/>
                  </a:cubicBezTo>
                  <a:cubicBezTo>
                    <a:pt x="181" y="342"/>
                    <a:pt x="181" y="342"/>
                    <a:pt x="181" y="342"/>
                  </a:cubicBezTo>
                  <a:cubicBezTo>
                    <a:pt x="182" y="342"/>
                    <a:pt x="182" y="342"/>
                    <a:pt x="182" y="342"/>
                  </a:cubicBezTo>
                  <a:cubicBezTo>
                    <a:pt x="183" y="341"/>
                    <a:pt x="183" y="341"/>
                    <a:pt x="183" y="341"/>
                  </a:cubicBezTo>
                  <a:cubicBezTo>
                    <a:pt x="184" y="341"/>
                    <a:pt x="185" y="341"/>
                    <a:pt x="185" y="341"/>
                  </a:cubicBezTo>
                  <a:cubicBezTo>
                    <a:pt x="185" y="341"/>
                    <a:pt x="185" y="341"/>
                    <a:pt x="185" y="341"/>
                  </a:cubicBezTo>
                  <a:cubicBezTo>
                    <a:pt x="186" y="341"/>
                    <a:pt x="186" y="340"/>
                    <a:pt x="187" y="340"/>
                  </a:cubicBezTo>
                  <a:cubicBezTo>
                    <a:pt x="188" y="340"/>
                    <a:pt x="189" y="340"/>
                    <a:pt x="189" y="340"/>
                  </a:cubicBezTo>
                  <a:cubicBezTo>
                    <a:pt x="192" y="340"/>
                    <a:pt x="194" y="341"/>
                    <a:pt x="195" y="342"/>
                  </a:cubicBezTo>
                  <a:cubicBezTo>
                    <a:pt x="195" y="343"/>
                    <a:pt x="196" y="343"/>
                    <a:pt x="196" y="343"/>
                  </a:cubicBezTo>
                  <a:cubicBezTo>
                    <a:pt x="197" y="344"/>
                    <a:pt x="198" y="344"/>
                    <a:pt x="200" y="345"/>
                  </a:cubicBezTo>
                  <a:cubicBezTo>
                    <a:pt x="201" y="345"/>
                    <a:pt x="202" y="345"/>
                    <a:pt x="203" y="345"/>
                  </a:cubicBezTo>
                  <a:cubicBezTo>
                    <a:pt x="204" y="346"/>
                    <a:pt x="205" y="346"/>
                    <a:pt x="207" y="347"/>
                  </a:cubicBezTo>
                  <a:cubicBezTo>
                    <a:pt x="208" y="348"/>
                    <a:pt x="209" y="349"/>
                    <a:pt x="209" y="350"/>
                  </a:cubicBezTo>
                  <a:cubicBezTo>
                    <a:pt x="210" y="350"/>
                    <a:pt x="210" y="350"/>
                    <a:pt x="210" y="351"/>
                  </a:cubicBezTo>
                  <a:cubicBezTo>
                    <a:pt x="212" y="354"/>
                    <a:pt x="210" y="356"/>
                    <a:pt x="210" y="357"/>
                  </a:cubicBezTo>
                  <a:cubicBezTo>
                    <a:pt x="208" y="361"/>
                    <a:pt x="205" y="365"/>
                    <a:pt x="203" y="368"/>
                  </a:cubicBezTo>
                  <a:cubicBezTo>
                    <a:pt x="203" y="368"/>
                    <a:pt x="203" y="368"/>
                    <a:pt x="203" y="368"/>
                  </a:cubicBezTo>
                  <a:cubicBezTo>
                    <a:pt x="202" y="370"/>
                    <a:pt x="200" y="372"/>
                    <a:pt x="199" y="374"/>
                  </a:cubicBezTo>
                  <a:cubicBezTo>
                    <a:pt x="198" y="376"/>
                    <a:pt x="198" y="376"/>
                    <a:pt x="198" y="376"/>
                  </a:cubicBezTo>
                  <a:cubicBezTo>
                    <a:pt x="198" y="376"/>
                    <a:pt x="198" y="376"/>
                    <a:pt x="198" y="377"/>
                  </a:cubicBezTo>
                  <a:cubicBezTo>
                    <a:pt x="198" y="377"/>
                    <a:pt x="199" y="376"/>
                    <a:pt x="200" y="376"/>
                  </a:cubicBezTo>
                  <a:cubicBezTo>
                    <a:pt x="200" y="376"/>
                    <a:pt x="200" y="376"/>
                    <a:pt x="200" y="376"/>
                  </a:cubicBezTo>
                  <a:cubicBezTo>
                    <a:pt x="200" y="376"/>
                    <a:pt x="201" y="376"/>
                    <a:pt x="201" y="376"/>
                  </a:cubicBezTo>
                  <a:cubicBezTo>
                    <a:pt x="202" y="376"/>
                    <a:pt x="203" y="376"/>
                    <a:pt x="204" y="376"/>
                  </a:cubicBezTo>
                  <a:cubicBezTo>
                    <a:pt x="205" y="377"/>
                    <a:pt x="206" y="378"/>
                    <a:pt x="207" y="379"/>
                  </a:cubicBezTo>
                  <a:cubicBezTo>
                    <a:pt x="209" y="381"/>
                    <a:pt x="209" y="381"/>
                    <a:pt x="209" y="381"/>
                  </a:cubicBezTo>
                  <a:cubicBezTo>
                    <a:pt x="209" y="379"/>
                    <a:pt x="210" y="376"/>
                    <a:pt x="210" y="374"/>
                  </a:cubicBezTo>
                  <a:cubicBezTo>
                    <a:pt x="211" y="369"/>
                    <a:pt x="211" y="369"/>
                    <a:pt x="211" y="369"/>
                  </a:cubicBezTo>
                  <a:cubicBezTo>
                    <a:pt x="212" y="369"/>
                    <a:pt x="212" y="369"/>
                    <a:pt x="212" y="369"/>
                  </a:cubicBezTo>
                  <a:cubicBezTo>
                    <a:pt x="211" y="369"/>
                    <a:pt x="211" y="369"/>
                    <a:pt x="211" y="369"/>
                  </a:cubicBezTo>
                  <a:cubicBezTo>
                    <a:pt x="212" y="365"/>
                    <a:pt x="212" y="365"/>
                    <a:pt x="212" y="365"/>
                  </a:cubicBezTo>
                  <a:cubicBezTo>
                    <a:pt x="212" y="364"/>
                    <a:pt x="212" y="364"/>
                    <a:pt x="212" y="363"/>
                  </a:cubicBezTo>
                  <a:cubicBezTo>
                    <a:pt x="212" y="362"/>
                    <a:pt x="212" y="362"/>
                    <a:pt x="212" y="362"/>
                  </a:cubicBezTo>
                  <a:cubicBezTo>
                    <a:pt x="212" y="362"/>
                    <a:pt x="213" y="361"/>
                    <a:pt x="213" y="361"/>
                  </a:cubicBezTo>
                  <a:cubicBezTo>
                    <a:pt x="214" y="354"/>
                    <a:pt x="214" y="354"/>
                    <a:pt x="214" y="354"/>
                  </a:cubicBezTo>
                  <a:cubicBezTo>
                    <a:pt x="214" y="353"/>
                    <a:pt x="214" y="353"/>
                    <a:pt x="214" y="353"/>
                  </a:cubicBezTo>
                  <a:cubicBezTo>
                    <a:pt x="215" y="350"/>
                    <a:pt x="215" y="350"/>
                    <a:pt x="215" y="350"/>
                  </a:cubicBezTo>
                  <a:cubicBezTo>
                    <a:pt x="215" y="350"/>
                    <a:pt x="215" y="349"/>
                    <a:pt x="215" y="349"/>
                  </a:cubicBezTo>
                  <a:cubicBezTo>
                    <a:pt x="215" y="348"/>
                    <a:pt x="215" y="347"/>
                    <a:pt x="215" y="347"/>
                  </a:cubicBezTo>
                  <a:cubicBezTo>
                    <a:pt x="216" y="343"/>
                    <a:pt x="216" y="343"/>
                    <a:pt x="216" y="343"/>
                  </a:cubicBezTo>
                  <a:cubicBezTo>
                    <a:pt x="216" y="342"/>
                    <a:pt x="216" y="342"/>
                    <a:pt x="216" y="342"/>
                  </a:cubicBezTo>
                  <a:cubicBezTo>
                    <a:pt x="216" y="340"/>
                    <a:pt x="216" y="340"/>
                    <a:pt x="216" y="340"/>
                  </a:cubicBezTo>
                  <a:cubicBezTo>
                    <a:pt x="217" y="339"/>
                    <a:pt x="217" y="339"/>
                    <a:pt x="217" y="339"/>
                  </a:cubicBezTo>
                  <a:cubicBezTo>
                    <a:pt x="217" y="338"/>
                    <a:pt x="217" y="338"/>
                    <a:pt x="217" y="338"/>
                  </a:cubicBezTo>
                  <a:cubicBezTo>
                    <a:pt x="217" y="338"/>
                    <a:pt x="217" y="338"/>
                    <a:pt x="217" y="337"/>
                  </a:cubicBezTo>
                  <a:cubicBezTo>
                    <a:pt x="217" y="335"/>
                    <a:pt x="217" y="335"/>
                    <a:pt x="217" y="335"/>
                  </a:cubicBezTo>
                  <a:cubicBezTo>
                    <a:pt x="219" y="325"/>
                    <a:pt x="220" y="316"/>
                    <a:pt x="219" y="314"/>
                  </a:cubicBezTo>
                  <a:cubicBezTo>
                    <a:pt x="218" y="312"/>
                    <a:pt x="218" y="310"/>
                    <a:pt x="218" y="308"/>
                  </a:cubicBezTo>
                  <a:cubicBezTo>
                    <a:pt x="217" y="305"/>
                    <a:pt x="217" y="303"/>
                    <a:pt x="216" y="303"/>
                  </a:cubicBezTo>
                  <a:cubicBezTo>
                    <a:pt x="212" y="301"/>
                    <a:pt x="204" y="295"/>
                    <a:pt x="205" y="289"/>
                  </a:cubicBezTo>
                  <a:cubicBezTo>
                    <a:pt x="205" y="287"/>
                    <a:pt x="205" y="286"/>
                    <a:pt x="205" y="285"/>
                  </a:cubicBezTo>
                  <a:cubicBezTo>
                    <a:pt x="205" y="285"/>
                    <a:pt x="205" y="285"/>
                    <a:pt x="205" y="285"/>
                  </a:cubicBezTo>
                  <a:cubicBezTo>
                    <a:pt x="205" y="283"/>
                    <a:pt x="206" y="281"/>
                    <a:pt x="205" y="279"/>
                  </a:cubicBezTo>
                  <a:cubicBezTo>
                    <a:pt x="204" y="273"/>
                    <a:pt x="212" y="272"/>
                    <a:pt x="215" y="271"/>
                  </a:cubicBezTo>
                  <a:cubicBezTo>
                    <a:pt x="215" y="271"/>
                    <a:pt x="215" y="271"/>
                    <a:pt x="215" y="271"/>
                  </a:cubicBezTo>
                  <a:cubicBezTo>
                    <a:pt x="216" y="271"/>
                    <a:pt x="216" y="271"/>
                    <a:pt x="217" y="270"/>
                  </a:cubicBezTo>
                  <a:cubicBezTo>
                    <a:pt x="218" y="270"/>
                    <a:pt x="219" y="270"/>
                    <a:pt x="221" y="270"/>
                  </a:cubicBezTo>
                  <a:cubicBezTo>
                    <a:pt x="222" y="270"/>
                    <a:pt x="223" y="270"/>
                    <a:pt x="225" y="270"/>
                  </a:cubicBezTo>
                  <a:cubicBezTo>
                    <a:pt x="225" y="271"/>
                    <a:pt x="226" y="271"/>
                    <a:pt x="226" y="271"/>
                  </a:cubicBezTo>
                  <a:cubicBezTo>
                    <a:pt x="226" y="270"/>
                    <a:pt x="226" y="270"/>
                    <a:pt x="226" y="269"/>
                  </a:cubicBezTo>
                  <a:cubicBezTo>
                    <a:pt x="225" y="269"/>
                    <a:pt x="225" y="268"/>
                    <a:pt x="225" y="268"/>
                  </a:cubicBezTo>
                  <a:cubicBezTo>
                    <a:pt x="224" y="269"/>
                    <a:pt x="224" y="269"/>
                    <a:pt x="224" y="269"/>
                  </a:cubicBezTo>
                  <a:cubicBezTo>
                    <a:pt x="222" y="268"/>
                    <a:pt x="222" y="268"/>
                    <a:pt x="222" y="268"/>
                  </a:cubicBezTo>
                  <a:cubicBezTo>
                    <a:pt x="220" y="267"/>
                    <a:pt x="218" y="267"/>
                    <a:pt x="217" y="267"/>
                  </a:cubicBezTo>
                  <a:cubicBezTo>
                    <a:pt x="216" y="267"/>
                    <a:pt x="215" y="267"/>
                    <a:pt x="215" y="267"/>
                  </a:cubicBezTo>
                  <a:cubicBezTo>
                    <a:pt x="210" y="270"/>
                    <a:pt x="210" y="270"/>
                    <a:pt x="210" y="270"/>
                  </a:cubicBezTo>
                  <a:cubicBezTo>
                    <a:pt x="210" y="265"/>
                    <a:pt x="210" y="265"/>
                    <a:pt x="210" y="265"/>
                  </a:cubicBezTo>
                  <a:cubicBezTo>
                    <a:pt x="210" y="260"/>
                    <a:pt x="210" y="250"/>
                    <a:pt x="210" y="250"/>
                  </a:cubicBezTo>
                  <a:cubicBezTo>
                    <a:pt x="210" y="248"/>
                    <a:pt x="210" y="248"/>
                    <a:pt x="210" y="248"/>
                  </a:cubicBezTo>
                  <a:cubicBezTo>
                    <a:pt x="212" y="247"/>
                    <a:pt x="212" y="247"/>
                    <a:pt x="212" y="247"/>
                  </a:cubicBezTo>
                  <a:cubicBezTo>
                    <a:pt x="212" y="247"/>
                    <a:pt x="215" y="246"/>
                    <a:pt x="222" y="246"/>
                  </a:cubicBezTo>
                  <a:cubicBezTo>
                    <a:pt x="223" y="246"/>
                    <a:pt x="224" y="246"/>
                    <a:pt x="224" y="247"/>
                  </a:cubicBezTo>
                  <a:cubicBezTo>
                    <a:pt x="229" y="247"/>
                    <a:pt x="236" y="247"/>
                    <a:pt x="242" y="247"/>
                  </a:cubicBezTo>
                  <a:cubicBezTo>
                    <a:pt x="244" y="247"/>
                    <a:pt x="246" y="247"/>
                    <a:pt x="247" y="247"/>
                  </a:cubicBezTo>
                  <a:cubicBezTo>
                    <a:pt x="247" y="245"/>
                    <a:pt x="248" y="243"/>
                    <a:pt x="249" y="241"/>
                  </a:cubicBezTo>
                  <a:cubicBezTo>
                    <a:pt x="252" y="238"/>
                    <a:pt x="252" y="238"/>
                    <a:pt x="252" y="238"/>
                  </a:cubicBezTo>
                  <a:cubicBezTo>
                    <a:pt x="255" y="243"/>
                    <a:pt x="255" y="243"/>
                    <a:pt x="255" y="243"/>
                  </a:cubicBezTo>
                  <a:cubicBezTo>
                    <a:pt x="256" y="244"/>
                    <a:pt x="257" y="245"/>
                    <a:pt x="258" y="246"/>
                  </a:cubicBezTo>
                  <a:cubicBezTo>
                    <a:pt x="258" y="246"/>
                    <a:pt x="258" y="245"/>
                    <a:pt x="259" y="245"/>
                  </a:cubicBezTo>
                  <a:cubicBezTo>
                    <a:pt x="259" y="244"/>
                    <a:pt x="260" y="244"/>
                    <a:pt x="261" y="243"/>
                  </a:cubicBezTo>
                  <a:cubicBezTo>
                    <a:pt x="264" y="241"/>
                    <a:pt x="267" y="238"/>
                    <a:pt x="270" y="238"/>
                  </a:cubicBezTo>
                  <a:cubicBezTo>
                    <a:pt x="270" y="238"/>
                    <a:pt x="271" y="238"/>
                    <a:pt x="271" y="238"/>
                  </a:cubicBezTo>
                  <a:cubicBezTo>
                    <a:pt x="271" y="237"/>
                    <a:pt x="270" y="236"/>
                    <a:pt x="270" y="235"/>
                  </a:cubicBezTo>
                  <a:cubicBezTo>
                    <a:pt x="269" y="234"/>
                    <a:pt x="268" y="233"/>
                    <a:pt x="268" y="232"/>
                  </a:cubicBezTo>
                  <a:cubicBezTo>
                    <a:pt x="267" y="231"/>
                    <a:pt x="266" y="230"/>
                    <a:pt x="265" y="229"/>
                  </a:cubicBezTo>
                  <a:cubicBezTo>
                    <a:pt x="264" y="228"/>
                    <a:pt x="264" y="228"/>
                    <a:pt x="264" y="228"/>
                  </a:cubicBezTo>
                  <a:cubicBezTo>
                    <a:pt x="264" y="228"/>
                    <a:pt x="264" y="228"/>
                    <a:pt x="264" y="228"/>
                  </a:cubicBezTo>
                  <a:cubicBezTo>
                    <a:pt x="264" y="228"/>
                    <a:pt x="263" y="228"/>
                    <a:pt x="262" y="228"/>
                  </a:cubicBezTo>
                  <a:cubicBezTo>
                    <a:pt x="262" y="228"/>
                    <a:pt x="261" y="228"/>
                    <a:pt x="260" y="228"/>
                  </a:cubicBezTo>
                  <a:cubicBezTo>
                    <a:pt x="258" y="228"/>
                    <a:pt x="257" y="226"/>
                    <a:pt x="257" y="224"/>
                  </a:cubicBezTo>
                  <a:cubicBezTo>
                    <a:pt x="257" y="222"/>
                    <a:pt x="258" y="221"/>
                    <a:pt x="259" y="220"/>
                  </a:cubicBezTo>
                  <a:cubicBezTo>
                    <a:pt x="260" y="219"/>
                    <a:pt x="262" y="217"/>
                    <a:pt x="264" y="216"/>
                  </a:cubicBezTo>
                  <a:cubicBezTo>
                    <a:pt x="264" y="216"/>
                    <a:pt x="264" y="216"/>
                    <a:pt x="264" y="216"/>
                  </a:cubicBezTo>
                  <a:cubicBezTo>
                    <a:pt x="265" y="215"/>
                    <a:pt x="265" y="215"/>
                    <a:pt x="265" y="215"/>
                  </a:cubicBezTo>
                  <a:cubicBezTo>
                    <a:pt x="262" y="211"/>
                    <a:pt x="262" y="211"/>
                    <a:pt x="262" y="211"/>
                  </a:cubicBezTo>
                  <a:cubicBezTo>
                    <a:pt x="266" y="214"/>
                    <a:pt x="266" y="214"/>
                    <a:pt x="266" y="214"/>
                  </a:cubicBezTo>
                  <a:cubicBezTo>
                    <a:pt x="266" y="214"/>
                    <a:pt x="266" y="214"/>
                    <a:pt x="266" y="214"/>
                  </a:cubicBezTo>
                  <a:cubicBezTo>
                    <a:pt x="267" y="213"/>
                    <a:pt x="268" y="212"/>
                    <a:pt x="269" y="211"/>
                  </a:cubicBezTo>
                  <a:cubicBezTo>
                    <a:pt x="269" y="211"/>
                    <a:pt x="269" y="211"/>
                    <a:pt x="269" y="211"/>
                  </a:cubicBezTo>
                  <a:cubicBezTo>
                    <a:pt x="268" y="210"/>
                    <a:pt x="268" y="210"/>
                    <a:pt x="268" y="210"/>
                  </a:cubicBezTo>
                  <a:cubicBezTo>
                    <a:pt x="268" y="210"/>
                    <a:pt x="268" y="210"/>
                    <a:pt x="268" y="210"/>
                  </a:cubicBezTo>
                  <a:cubicBezTo>
                    <a:pt x="267" y="208"/>
                    <a:pt x="267" y="207"/>
                    <a:pt x="266" y="207"/>
                  </a:cubicBezTo>
                  <a:cubicBezTo>
                    <a:pt x="265" y="207"/>
                    <a:pt x="264" y="206"/>
                    <a:pt x="263" y="205"/>
                  </a:cubicBezTo>
                  <a:cubicBezTo>
                    <a:pt x="262" y="203"/>
                    <a:pt x="262" y="202"/>
                    <a:pt x="261" y="200"/>
                  </a:cubicBezTo>
                  <a:cubicBezTo>
                    <a:pt x="261" y="200"/>
                    <a:pt x="261" y="200"/>
                    <a:pt x="261" y="200"/>
                  </a:cubicBezTo>
                  <a:cubicBezTo>
                    <a:pt x="261" y="199"/>
                    <a:pt x="261" y="198"/>
                    <a:pt x="260" y="197"/>
                  </a:cubicBezTo>
                  <a:cubicBezTo>
                    <a:pt x="259" y="194"/>
                    <a:pt x="258" y="191"/>
                    <a:pt x="257" y="187"/>
                  </a:cubicBezTo>
                  <a:cubicBezTo>
                    <a:pt x="257" y="187"/>
                    <a:pt x="257" y="186"/>
                    <a:pt x="257" y="186"/>
                  </a:cubicBezTo>
                  <a:cubicBezTo>
                    <a:pt x="251" y="186"/>
                    <a:pt x="251" y="186"/>
                    <a:pt x="251" y="186"/>
                  </a:cubicBezTo>
                  <a:cubicBezTo>
                    <a:pt x="257" y="184"/>
                    <a:pt x="257" y="184"/>
                    <a:pt x="257" y="184"/>
                  </a:cubicBezTo>
                  <a:cubicBezTo>
                    <a:pt x="257" y="183"/>
                    <a:pt x="257" y="183"/>
                    <a:pt x="257" y="183"/>
                  </a:cubicBezTo>
                  <a:cubicBezTo>
                    <a:pt x="257" y="183"/>
                    <a:pt x="257" y="182"/>
                    <a:pt x="257" y="181"/>
                  </a:cubicBezTo>
                  <a:cubicBezTo>
                    <a:pt x="257" y="180"/>
                    <a:pt x="257" y="178"/>
                    <a:pt x="257" y="176"/>
                  </a:cubicBezTo>
                  <a:cubicBezTo>
                    <a:pt x="257" y="174"/>
                    <a:pt x="257" y="171"/>
                    <a:pt x="257" y="168"/>
                  </a:cubicBezTo>
                  <a:cubicBezTo>
                    <a:pt x="257" y="167"/>
                    <a:pt x="257" y="167"/>
                    <a:pt x="257" y="167"/>
                  </a:cubicBezTo>
                  <a:cubicBezTo>
                    <a:pt x="257" y="164"/>
                    <a:pt x="259" y="162"/>
                    <a:pt x="261" y="160"/>
                  </a:cubicBezTo>
                  <a:cubicBezTo>
                    <a:pt x="261" y="159"/>
                    <a:pt x="261" y="159"/>
                    <a:pt x="262" y="158"/>
                  </a:cubicBezTo>
                  <a:cubicBezTo>
                    <a:pt x="262" y="158"/>
                    <a:pt x="263" y="157"/>
                    <a:pt x="263" y="157"/>
                  </a:cubicBezTo>
                  <a:cubicBezTo>
                    <a:pt x="263" y="156"/>
                    <a:pt x="263" y="156"/>
                    <a:pt x="263" y="156"/>
                  </a:cubicBezTo>
                  <a:cubicBezTo>
                    <a:pt x="264" y="155"/>
                    <a:pt x="265" y="154"/>
                    <a:pt x="266" y="152"/>
                  </a:cubicBezTo>
                  <a:cubicBezTo>
                    <a:pt x="266" y="151"/>
                    <a:pt x="267" y="150"/>
                    <a:pt x="266" y="149"/>
                  </a:cubicBezTo>
                  <a:cubicBezTo>
                    <a:pt x="266" y="147"/>
                    <a:pt x="262" y="147"/>
                    <a:pt x="261" y="147"/>
                  </a:cubicBezTo>
                  <a:cubicBezTo>
                    <a:pt x="260" y="147"/>
                    <a:pt x="260" y="147"/>
                    <a:pt x="259" y="147"/>
                  </a:cubicBezTo>
                  <a:cubicBezTo>
                    <a:pt x="256" y="147"/>
                    <a:pt x="252" y="147"/>
                    <a:pt x="249" y="148"/>
                  </a:cubicBezTo>
                  <a:cubicBezTo>
                    <a:pt x="247" y="148"/>
                    <a:pt x="245" y="148"/>
                    <a:pt x="244" y="149"/>
                  </a:cubicBezTo>
                  <a:cubicBezTo>
                    <a:pt x="241" y="149"/>
                    <a:pt x="241" y="149"/>
                    <a:pt x="241" y="149"/>
                  </a:cubicBezTo>
                  <a:cubicBezTo>
                    <a:pt x="238" y="149"/>
                    <a:pt x="236" y="149"/>
                    <a:pt x="234" y="150"/>
                  </a:cubicBezTo>
                  <a:cubicBezTo>
                    <a:pt x="233" y="150"/>
                    <a:pt x="233" y="150"/>
                    <a:pt x="233" y="150"/>
                  </a:cubicBezTo>
                  <a:cubicBezTo>
                    <a:pt x="233" y="150"/>
                    <a:pt x="232" y="150"/>
                    <a:pt x="232" y="150"/>
                  </a:cubicBezTo>
                  <a:cubicBezTo>
                    <a:pt x="229" y="151"/>
                    <a:pt x="226" y="151"/>
                    <a:pt x="225" y="151"/>
                  </a:cubicBezTo>
                  <a:cubicBezTo>
                    <a:pt x="223" y="151"/>
                    <a:pt x="222" y="151"/>
                    <a:pt x="221" y="150"/>
                  </a:cubicBezTo>
                  <a:cubicBezTo>
                    <a:pt x="219" y="149"/>
                    <a:pt x="216" y="145"/>
                    <a:pt x="212" y="140"/>
                  </a:cubicBezTo>
                  <a:cubicBezTo>
                    <a:pt x="212" y="139"/>
                    <a:pt x="212" y="139"/>
                    <a:pt x="211" y="138"/>
                  </a:cubicBezTo>
                  <a:cubicBezTo>
                    <a:pt x="210" y="137"/>
                    <a:pt x="210" y="137"/>
                    <a:pt x="210" y="137"/>
                  </a:cubicBezTo>
                  <a:cubicBezTo>
                    <a:pt x="210" y="136"/>
                    <a:pt x="209" y="135"/>
                    <a:pt x="208" y="134"/>
                  </a:cubicBezTo>
                  <a:cubicBezTo>
                    <a:pt x="205" y="131"/>
                    <a:pt x="205" y="131"/>
                    <a:pt x="202" y="130"/>
                  </a:cubicBezTo>
                  <a:cubicBezTo>
                    <a:pt x="199" y="129"/>
                    <a:pt x="197" y="129"/>
                    <a:pt x="194" y="128"/>
                  </a:cubicBezTo>
                  <a:cubicBezTo>
                    <a:pt x="193" y="128"/>
                    <a:pt x="192" y="129"/>
                    <a:pt x="190" y="129"/>
                  </a:cubicBezTo>
                  <a:cubicBezTo>
                    <a:pt x="188" y="130"/>
                    <a:pt x="187" y="130"/>
                    <a:pt x="185" y="130"/>
                  </a:cubicBezTo>
                  <a:cubicBezTo>
                    <a:pt x="184" y="131"/>
                    <a:pt x="184" y="131"/>
                    <a:pt x="183" y="131"/>
                  </a:cubicBezTo>
                  <a:cubicBezTo>
                    <a:pt x="181" y="131"/>
                    <a:pt x="179" y="130"/>
                    <a:pt x="177" y="130"/>
                  </a:cubicBezTo>
                  <a:cubicBezTo>
                    <a:pt x="176" y="130"/>
                    <a:pt x="176" y="130"/>
                    <a:pt x="175" y="130"/>
                  </a:cubicBezTo>
                  <a:cubicBezTo>
                    <a:pt x="174" y="130"/>
                    <a:pt x="173" y="130"/>
                    <a:pt x="172" y="130"/>
                  </a:cubicBezTo>
                  <a:cubicBezTo>
                    <a:pt x="170" y="130"/>
                    <a:pt x="169" y="130"/>
                    <a:pt x="167" y="130"/>
                  </a:cubicBezTo>
                  <a:cubicBezTo>
                    <a:pt x="167" y="130"/>
                    <a:pt x="166" y="130"/>
                    <a:pt x="165" y="130"/>
                  </a:cubicBezTo>
                  <a:cubicBezTo>
                    <a:pt x="164" y="130"/>
                    <a:pt x="163" y="130"/>
                    <a:pt x="162" y="129"/>
                  </a:cubicBezTo>
                  <a:cubicBezTo>
                    <a:pt x="161" y="128"/>
                    <a:pt x="160" y="126"/>
                    <a:pt x="159" y="124"/>
                  </a:cubicBezTo>
                  <a:cubicBezTo>
                    <a:pt x="159" y="124"/>
                    <a:pt x="158" y="123"/>
                    <a:pt x="158" y="123"/>
                  </a:cubicBezTo>
                  <a:cubicBezTo>
                    <a:pt x="158" y="122"/>
                    <a:pt x="158" y="122"/>
                    <a:pt x="157" y="122"/>
                  </a:cubicBezTo>
                  <a:cubicBezTo>
                    <a:pt x="157" y="121"/>
                    <a:pt x="157" y="121"/>
                    <a:pt x="156" y="121"/>
                  </a:cubicBezTo>
                  <a:cubicBezTo>
                    <a:pt x="156" y="121"/>
                    <a:pt x="155" y="121"/>
                    <a:pt x="154" y="121"/>
                  </a:cubicBezTo>
                  <a:cubicBezTo>
                    <a:pt x="151" y="120"/>
                    <a:pt x="151" y="118"/>
                    <a:pt x="150" y="115"/>
                  </a:cubicBezTo>
                  <a:cubicBezTo>
                    <a:pt x="149" y="110"/>
                    <a:pt x="150" y="106"/>
                    <a:pt x="152" y="103"/>
                  </a:cubicBezTo>
                  <a:cubicBezTo>
                    <a:pt x="152" y="103"/>
                    <a:pt x="152" y="102"/>
                    <a:pt x="152" y="102"/>
                  </a:cubicBezTo>
                  <a:cubicBezTo>
                    <a:pt x="152" y="99"/>
                    <a:pt x="151" y="97"/>
                    <a:pt x="150" y="95"/>
                  </a:cubicBezTo>
                  <a:cubicBezTo>
                    <a:pt x="149" y="94"/>
                    <a:pt x="149" y="94"/>
                    <a:pt x="149" y="94"/>
                  </a:cubicBezTo>
                  <a:cubicBezTo>
                    <a:pt x="146" y="86"/>
                    <a:pt x="146" y="86"/>
                    <a:pt x="146" y="86"/>
                  </a:cubicBezTo>
                  <a:cubicBezTo>
                    <a:pt x="145" y="84"/>
                    <a:pt x="144" y="83"/>
                    <a:pt x="143" y="81"/>
                  </a:cubicBezTo>
                  <a:cubicBezTo>
                    <a:pt x="143" y="81"/>
                    <a:pt x="142" y="81"/>
                    <a:pt x="142" y="81"/>
                  </a:cubicBezTo>
                  <a:cubicBezTo>
                    <a:pt x="140" y="81"/>
                    <a:pt x="139" y="80"/>
                    <a:pt x="139" y="80"/>
                  </a:cubicBezTo>
                  <a:cubicBezTo>
                    <a:pt x="139" y="79"/>
                    <a:pt x="139" y="79"/>
                    <a:pt x="139" y="79"/>
                  </a:cubicBezTo>
                  <a:cubicBezTo>
                    <a:pt x="138" y="79"/>
                    <a:pt x="138" y="78"/>
                    <a:pt x="138" y="78"/>
                  </a:cubicBezTo>
                  <a:cubicBezTo>
                    <a:pt x="136" y="79"/>
                    <a:pt x="134" y="79"/>
                    <a:pt x="133" y="80"/>
                  </a:cubicBezTo>
                  <a:cubicBezTo>
                    <a:pt x="131" y="80"/>
                    <a:pt x="131" y="80"/>
                    <a:pt x="131" y="80"/>
                  </a:cubicBezTo>
                  <a:cubicBezTo>
                    <a:pt x="130" y="79"/>
                    <a:pt x="130" y="79"/>
                    <a:pt x="130" y="79"/>
                  </a:cubicBezTo>
                  <a:cubicBezTo>
                    <a:pt x="128" y="77"/>
                    <a:pt x="129" y="74"/>
                    <a:pt x="130" y="73"/>
                  </a:cubicBezTo>
                  <a:cubicBezTo>
                    <a:pt x="131" y="72"/>
                    <a:pt x="131" y="72"/>
                    <a:pt x="131" y="72"/>
                  </a:cubicBezTo>
                  <a:cubicBezTo>
                    <a:pt x="131" y="72"/>
                    <a:pt x="131" y="71"/>
                    <a:pt x="132" y="71"/>
                  </a:cubicBezTo>
                  <a:cubicBezTo>
                    <a:pt x="132" y="71"/>
                    <a:pt x="132" y="71"/>
                    <a:pt x="132" y="71"/>
                  </a:cubicBezTo>
                  <a:cubicBezTo>
                    <a:pt x="134" y="67"/>
                    <a:pt x="136" y="64"/>
                    <a:pt x="137" y="60"/>
                  </a:cubicBezTo>
                  <a:cubicBezTo>
                    <a:pt x="137" y="60"/>
                    <a:pt x="138" y="59"/>
                    <a:pt x="138" y="58"/>
                  </a:cubicBezTo>
                  <a:cubicBezTo>
                    <a:pt x="138" y="56"/>
                    <a:pt x="138" y="55"/>
                    <a:pt x="138" y="53"/>
                  </a:cubicBezTo>
                  <a:cubicBezTo>
                    <a:pt x="139" y="51"/>
                    <a:pt x="139" y="49"/>
                    <a:pt x="140" y="47"/>
                  </a:cubicBezTo>
                  <a:cubicBezTo>
                    <a:pt x="140" y="45"/>
                    <a:pt x="142" y="42"/>
                    <a:pt x="143" y="40"/>
                  </a:cubicBezTo>
                  <a:cubicBezTo>
                    <a:pt x="143" y="40"/>
                    <a:pt x="143" y="40"/>
                    <a:pt x="143" y="40"/>
                  </a:cubicBezTo>
                  <a:cubicBezTo>
                    <a:pt x="144" y="39"/>
                    <a:pt x="144" y="38"/>
                    <a:pt x="145" y="37"/>
                  </a:cubicBezTo>
                  <a:cubicBezTo>
                    <a:pt x="145" y="36"/>
                    <a:pt x="145" y="36"/>
                    <a:pt x="145" y="36"/>
                  </a:cubicBezTo>
                  <a:cubicBezTo>
                    <a:pt x="145" y="36"/>
                    <a:pt x="145" y="36"/>
                    <a:pt x="145" y="36"/>
                  </a:cubicBezTo>
                  <a:cubicBezTo>
                    <a:pt x="146" y="34"/>
                    <a:pt x="148" y="32"/>
                    <a:pt x="150" y="30"/>
                  </a:cubicBezTo>
                  <a:cubicBezTo>
                    <a:pt x="152" y="29"/>
                    <a:pt x="153" y="28"/>
                    <a:pt x="154" y="28"/>
                  </a:cubicBezTo>
                  <a:cubicBezTo>
                    <a:pt x="155" y="28"/>
                    <a:pt x="156" y="28"/>
                    <a:pt x="156" y="27"/>
                  </a:cubicBezTo>
                  <a:cubicBezTo>
                    <a:pt x="156" y="26"/>
                    <a:pt x="156" y="26"/>
                    <a:pt x="156" y="26"/>
                  </a:cubicBezTo>
                  <a:cubicBezTo>
                    <a:pt x="157" y="25"/>
                    <a:pt x="157" y="25"/>
                    <a:pt x="158" y="24"/>
                  </a:cubicBezTo>
                  <a:cubicBezTo>
                    <a:pt x="159" y="20"/>
                    <a:pt x="160" y="17"/>
                    <a:pt x="162" y="16"/>
                  </a:cubicBezTo>
                  <a:cubicBezTo>
                    <a:pt x="164" y="15"/>
                    <a:pt x="166" y="14"/>
                    <a:pt x="168" y="14"/>
                  </a:cubicBezTo>
                  <a:cubicBezTo>
                    <a:pt x="169" y="14"/>
                    <a:pt x="170" y="14"/>
                    <a:pt x="170" y="14"/>
                  </a:cubicBezTo>
                  <a:cubicBezTo>
                    <a:pt x="174" y="13"/>
                    <a:pt x="174" y="13"/>
                    <a:pt x="174" y="13"/>
                  </a:cubicBezTo>
                  <a:cubicBezTo>
                    <a:pt x="175" y="12"/>
                    <a:pt x="176" y="12"/>
                    <a:pt x="178" y="12"/>
                  </a:cubicBezTo>
                  <a:cubicBezTo>
                    <a:pt x="180" y="12"/>
                    <a:pt x="180" y="12"/>
                    <a:pt x="180" y="12"/>
                  </a:cubicBezTo>
                  <a:cubicBezTo>
                    <a:pt x="180" y="13"/>
                    <a:pt x="180" y="13"/>
                    <a:pt x="180" y="13"/>
                  </a:cubicBezTo>
                  <a:cubicBezTo>
                    <a:pt x="180" y="12"/>
                    <a:pt x="181" y="12"/>
                    <a:pt x="182" y="11"/>
                  </a:cubicBezTo>
                  <a:cubicBezTo>
                    <a:pt x="184" y="9"/>
                    <a:pt x="184" y="10"/>
                    <a:pt x="183" y="7"/>
                  </a:cubicBezTo>
                  <a:cubicBezTo>
                    <a:pt x="182" y="5"/>
                    <a:pt x="181" y="3"/>
                    <a:pt x="180" y="2"/>
                  </a:cubicBezTo>
                  <a:cubicBezTo>
                    <a:pt x="178" y="1"/>
                    <a:pt x="175" y="0"/>
                    <a:pt x="1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272"/>
            <p:cNvSpPr>
              <a:spLocks noEditPoints="1"/>
            </p:cNvSpPr>
            <p:nvPr/>
          </p:nvSpPr>
          <p:spPr bwMode="auto">
            <a:xfrm>
              <a:off x="7391313" y="1261160"/>
              <a:ext cx="433567" cy="180771"/>
            </a:xfrm>
            <a:custGeom>
              <a:gdLst>
                <a:gd name="T0" fmla="*/ 105 w 130"/>
                <a:gd name="T1" fmla="*/ 28 h 54"/>
                <a:gd name="T2" fmla="*/ 105 w 130"/>
                <a:gd name="T3" fmla="*/ 28 h 54"/>
                <a:gd name="T4" fmla="*/ 109 w 130"/>
                <a:gd name="T5" fmla="*/ 24 h 54"/>
                <a:gd name="T6" fmla="*/ 109 w 130"/>
                <a:gd name="T7" fmla="*/ 24 h 54"/>
                <a:gd name="T8" fmla="*/ 81 w 130"/>
                <a:gd name="T9" fmla="*/ 0 h 54"/>
                <a:gd name="T10" fmla="*/ 51 w 130"/>
                <a:gd name="T11" fmla="*/ 14 h 54"/>
                <a:gd name="T12" fmla="*/ 38 w 130"/>
                <a:gd name="T13" fmla="*/ 17 h 54"/>
                <a:gd name="T14" fmla="*/ 27 w 130"/>
                <a:gd name="T15" fmla="*/ 13 h 54"/>
                <a:gd name="T16" fmla="*/ 20 w 130"/>
                <a:gd name="T17" fmla="*/ 14 h 54"/>
                <a:gd name="T18" fmla="*/ 17 w 130"/>
                <a:gd name="T19" fmla="*/ 9 h 54"/>
                <a:gd name="T20" fmla="*/ 9 w 130"/>
                <a:gd name="T21" fmla="*/ 2 h 54"/>
                <a:gd name="T22" fmla="*/ 4 w 130"/>
                <a:gd name="T23" fmla="*/ 2 h 54"/>
                <a:gd name="T24" fmla="*/ 3 w 130"/>
                <a:gd name="T25" fmla="*/ 3 h 54"/>
                <a:gd name="T26" fmla="*/ 3 w 130"/>
                <a:gd name="T27" fmla="*/ 9 h 54"/>
                <a:gd name="T28" fmla="*/ 5 w 130"/>
                <a:gd name="T29" fmla="*/ 11 h 54"/>
                <a:gd name="T30" fmla="*/ 9 w 130"/>
                <a:gd name="T31" fmla="*/ 14 h 54"/>
                <a:gd name="T32" fmla="*/ 6 w 130"/>
                <a:gd name="T33" fmla="*/ 18 h 54"/>
                <a:gd name="T34" fmla="*/ 3 w 130"/>
                <a:gd name="T35" fmla="*/ 20 h 54"/>
                <a:gd name="T36" fmla="*/ 3 w 130"/>
                <a:gd name="T37" fmla="*/ 26 h 54"/>
                <a:gd name="T38" fmla="*/ 1 w 130"/>
                <a:gd name="T39" fmla="*/ 28 h 54"/>
                <a:gd name="T40" fmla="*/ 0 w 130"/>
                <a:gd name="T41" fmla="*/ 29 h 54"/>
                <a:gd name="T42" fmla="*/ 6 w 130"/>
                <a:gd name="T43" fmla="*/ 29 h 54"/>
                <a:gd name="T44" fmla="*/ 18 w 130"/>
                <a:gd name="T45" fmla="*/ 32 h 54"/>
                <a:gd name="T46" fmla="*/ 23 w 130"/>
                <a:gd name="T47" fmla="*/ 31 h 54"/>
                <a:gd name="T48" fmla="*/ 24 w 130"/>
                <a:gd name="T49" fmla="*/ 32 h 54"/>
                <a:gd name="T50" fmla="*/ 27 w 130"/>
                <a:gd name="T51" fmla="*/ 32 h 54"/>
                <a:gd name="T52" fmla="*/ 36 w 130"/>
                <a:gd name="T53" fmla="*/ 44 h 54"/>
                <a:gd name="T54" fmla="*/ 42 w 130"/>
                <a:gd name="T55" fmla="*/ 39 h 54"/>
                <a:gd name="T56" fmla="*/ 45 w 130"/>
                <a:gd name="T57" fmla="*/ 45 h 54"/>
                <a:gd name="T58" fmla="*/ 46 w 130"/>
                <a:gd name="T59" fmla="*/ 54 h 54"/>
                <a:gd name="T60" fmla="*/ 56 w 130"/>
                <a:gd name="T61" fmla="*/ 53 h 54"/>
                <a:gd name="T62" fmla="*/ 61 w 130"/>
                <a:gd name="T63" fmla="*/ 39 h 54"/>
                <a:gd name="T64" fmla="*/ 60 w 130"/>
                <a:gd name="T65" fmla="*/ 29 h 54"/>
                <a:gd name="T66" fmla="*/ 73 w 130"/>
                <a:gd name="T67" fmla="*/ 22 h 54"/>
                <a:gd name="T68" fmla="*/ 72 w 130"/>
                <a:gd name="T69" fmla="*/ 22 h 54"/>
                <a:gd name="T70" fmla="*/ 75 w 130"/>
                <a:gd name="T71" fmla="*/ 16 h 54"/>
                <a:gd name="T72" fmla="*/ 89 w 130"/>
                <a:gd name="T73" fmla="*/ 11 h 54"/>
                <a:gd name="T74" fmla="*/ 100 w 130"/>
                <a:gd name="T75" fmla="*/ 19 h 54"/>
                <a:gd name="T76" fmla="*/ 105 w 130"/>
                <a:gd name="T77" fmla="*/ 28 h 54"/>
                <a:gd name="T78" fmla="*/ 105 w 130"/>
                <a:gd name="T79" fmla="*/ 24 h 54"/>
                <a:gd name="T80" fmla="*/ 106 w 130"/>
                <a:gd name="T81" fmla="*/ 24 h 54"/>
                <a:gd name="T82" fmla="*/ 108 w 130"/>
                <a:gd name="T83" fmla="*/ 27 h 54"/>
                <a:gd name="T84" fmla="*/ 112 w 130"/>
                <a:gd name="T85" fmla="*/ 26 h 54"/>
                <a:gd name="T86" fmla="*/ 118 w 130"/>
                <a:gd name="T87" fmla="*/ 33 h 54"/>
                <a:gd name="T88" fmla="*/ 113 w 130"/>
                <a:gd name="T89" fmla="*/ 30 h 54"/>
                <a:gd name="T90" fmla="*/ 111 w 130"/>
                <a:gd name="T91" fmla="*/ 27 h 54"/>
                <a:gd name="T92" fmla="*/ 105 w 130"/>
                <a:gd name="T93" fmla="*/ 34 h 54"/>
                <a:gd name="T94" fmla="*/ 115 w 130"/>
                <a:gd name="T95" fmla="*/ 52 h 54"/>
                <a:gd name="T96" fmla="*/ 116 w 130"/>
                <a:gd name="T97" fmla="*/ 50 h 54"/>
                <a:gd name="T98" fmla="*/ 117 w 130"/>
                <a:gd name="T99" fmla="*/ 47 h 54"/>
                <a:gd name="T100" fmla="*/ 118 w 130"/>
                <a:gd name="T101" fmla="*/ 44 h 54"/>
                <a:gd name="T102" fmla="*/ 118 w 130"/>
                <a:gd name="T103" fmla="*/ 41 h 54"/>
                <a:gd name="T104" fmla="*/ 122 w 130"/>
                <a:gd name="T105" fmla="*/ 40 h 54"/>
                <a:gd name="T106" fmla="*/ 124 w 130"/>
                <a:gd name="T107" fmla="*/ 43 h 54"/>
                <a:gd name="T108" fmla="*/ 130 w 130"/>
                <a:gd name="T109" fmla="*/ 37 h 54"/>
                <a:gd name="T110" fmla="*/ 125 w 130"/>
                <a:gd name="T111" fmla="*/ 26 h 54"/>
                <a:gd name="T112" fmla="*/ 116 w 130"/>
                <a:gd name="T113" fmla="*/ 10 h 54"/>
                <a:gd name="T114" fmla="*/ 81 w 130"/>
                <a:gd name="T115" fmla="*/ 0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54">
                  <a:moveTo>
                    <a:pt x="105" y="28"/>
                  </a:moveTo>
                  <a:cubicBezTo>
                    <a:pt x="105" y="28"/>
                    <a:pt x="105" y="28"/>
                    <a:pt x="105" y="28"/>
                  </a:cubicBezTo>
                  <a:cubicBezTo>
                    <a:pt x="105" y="28"/>
                    <a:pt x="105" y="28"/>
                    <a:pt x="105" y="28"/>
                  </a:cubicBezTo>
                  <a:cubicBezTo>
                    <a:pt x="105" y="28"/>
                    <a:pt x="105" y="28"/>
                    <a:pt x="105" y="28"/>
                  </a:cubicBezTo>
                  <a:moveTo>
                    <a:pt x="109" y="24"/>
                  </a:moveTo>
                  <a:cubicBezTo>
                    <a:pt x="109" y="24"/>
                    <a:pt x="109" y="24"/>
                    <a:pt x="109" y="24"/>
                  </a:cubicBezTo>
                  <a:cubicBezTo>
                    <a:pt x="109" y="24"/>
                    <a:pt x="109" y="24"/>
                    <a:pt x="109" y="24"/>
                  </a:cubicBezTo>
                  <a:cubicBezTo>
                    <a:pt x="109" y="24"/>
                    <a:pt x="109" y="24"/>
                    <a:pt x="109" y="24"/>
                  </a:cubicBezTo>
                  <a:cubicBezTo>
                    <a:pt x="109" y="24"/>
                    <a:pt x="109" y="24"/>
                    <a:pt x="109" y="24"/>
                  </a:cubicBezTo>
                  <a:moveTo>
                    <a:pt x="81" y="0"/>
                  </a:moveTo>
                  <a:cubicBezTo>
                    <a:pt x="77" y="0"/>
                    <a:pt x="70" y="3"/>
                    <a:pt x="67" y="6"/>
                  </a:cubicBezTo>
                  <a:cubicBezTo>
                    <a:pt x="63" y="10"/>
                    <a:pt x="56" y="12"/>
                    <a:pt x="51" y="14"/>
                  </a:cubicBezTo>
                  <a:cubicBezTo>
                    <a:pt x="48" y="16"/>
                    <a:pt x="44" y="18"/>
                    <a:pt x="41" y="18"/>
                  </a:cubicBezTo>
                  <a:cubicBezTo>
                    <a:pt x="40" y="18"/>
                    <a:pt x="39" y="17"/>
                    <a:pt x="38" y="17"/>
                  </a:cubicBezTo>
                  <a:cubicBezTo>
                    <a:pt x="34" y="15"/>
                    <a:pt x="27" y="13"/>
                    <a:pt x="24" y="9"/>
                  </a:cubicBezTo>
                  <a:cubicBezTo>
                    <a:pt x="25" y="10"/>
                    <a:pt x="26" y="12"/>
                    <a:pt x="27" y="13"/>
                  </a:cubicBezTo>
                  <a:cubicBezTo>
                    <a:pt x="25" y="14"/>
                    <a:pt x="23" y="15"/>
                    <a:pt x="21" y="15"/>
                  </a:cubicBezTo>
                  <a:cubicBezTo>
                    <a:pt x="21" y="15"/>
                    <a:pt x="21" y="15"/>
                    <a:pt x="20" y="14"/>
                  </a:cubicBezTo>
                  <a:cubicBezTo>
                    <a:pt x="18" y="14"/>
                    <a:pt x="14" y="11"/>
                    <a:pt x="17" y="9"/>
                  </a:cubicBezTo>
                  <a:cubicBezTo>
                    <a:pt x="17" y="9"/>
                    <a:pt x="17" y="9"/>
                    <a:pt x="17" y="9"/>
                  </a:cubicBezTo>
                  <a:cubicBezTo>
                    <a:pt x="14" y="9"/>
                    <a:pt x="12" y="5"/>
                    <a:pt x="10" y="2"/>
                  </a:cubicBezTo>
                  <a:cubicBezTo>
                    <a:pt x="9" y="2"/>
                    <a:pt x="9" y="2"/>
                    <a:pt x="9" y="2"/>
                  </a:cubicBezTo>
                  <a:cubicBezTo>
                    <a:pt x="7" y="2"/>
                    <a:pt x="5" y="3"/>
                    <a:pt x="4" y="3"/>
                  </a:cubicBezTo>
                  <a:cubicBezTo>
                    <a:pt x="4" y="2"/>
                    <a:pt x="4" y="2"/>
                    <a:pt x="4" y="2"/>
                  </a:cubicBezTo>
                  <a:cubicBezTo>
                    <a:pt x="3" y="2"/>
                    <a:pt x="3" y="2"/>
                    <a:pt x="3" y="2"/>
                  </a:cubicBezTo>
                  <a:cubicBezTo>
                    <a:pt x="3" y="3"/>
                    <a:pt x="3" y="3"/>
                    <a:pt x="3" y="3"/>
                  </a:cubicBezTo>
                  <a:cubicBezTo>
                    <a:pt x="3" y="3"/>
                    <a:pt x="3" y="3"/>
                    <a:pt x="3" y="3"/>
                  </a:cubicBezTo>
                  <a:cubicBezTo>
                    <a:pt x="3" y="5"/>
                    <a:pt x="3" y="7"/>
                    <a:pt x="3" y="9"/>
                  </a:cubicBezTo>
                  <a:cubicBezTo>
                    <a:pt x="3" y="10"/>
                    <a:pt x="3" y="10"/>
                    <a:pt x="3" y="10"/>
                  </a:cubicBezTo>
                  <a:cubicBezTo>
                    <a:pt x="4" y="11"/>
                    <a:pt x="4" y="11"/>
                    <a:pt x="5" y="11"/>
                  </a:cubicBezTo>
                  <a:cubicBezTo>
                    <a:pt x="5" y="12"/>
                    <a:pt x="6" y="12"/>
                    <a:pt x="6" y="12"/>
                  </a:cubicBezTo>
                  <a:cubicBezTo>
                    <a:pt x="9" y="14"/>
                    <a:pt x="9" y="14"/>
                    <a:pt x="9" y="14"/>
                  </a:cubicBezTo>
                  <a:cubicBezTo>
                    <a:pt x="7" y="17"/>
                    <a:pt x="7" y="17"/>
                    <a:pt x="7" y="17"/>
                  </a:cubicBezTo>
                  <a:cubicBezTo>
                    <a:pt x="7" y="17"/>
                    <a:pt x="6" y="17"/>
                    <a:pt x="6" y="18"/>
                  </a:cubicBezTo>
                  <a:cubicBezTo>
                    <a:pt x="5" y="18"/>
                    <a:pt x="5" y="18"/>
                    <a:pt x="5" y="18"/>
                  </a:cubicBezTo>
                  <a:cubicBezTo>
                    <a:pt x="4" y="19"/>
                    <a:pt x="4" y="19"/>
                    <a:pt x="3" y="20"/>
                  </a:cubicBezTo>
                  <a:cubicBezTo>
                    <a:pt x="4" y="20"/>
                    <a:pt x="5" y="21"/>
                    <a:pt x="5" y="22"/>
                  </a:cubicBezTo>
                  <a:cubicBezTo>
                    <a:pt x="5" y="24"/>
                    <a:pt x="4" y="25"/>
                    <a:pt x="3" y="26"/>
                  </a:cubicBezTo>
                  <a:cubicBezTo>
                    <a:pt x="3" y="26"/>
                    <a:pt x="3" y="26"/>
                    <a:pt x="3" y="26"/>
                  </a:cubicBezTo>
                  <a:cubicBezTo>
                    <a:pt x="2" y="27"/>
                    <a:pt x="1" y="28"/>
                    <a:pt x="1" y="28"/>
                  </a:cubicBezTo>
                  <a:cubicBezTo>
                    <a:pt x="0" y="29"/>
                    <a:pt x="0" y="29"/>
                    <a:pt x="0" y="29"/>
                  </a:cubicBezTo>
                  <a:cubicBezTo>
                    <a:pt x="0" y="29"/>
                    <a:pt x="0" y="29"/>
                    <a:pt x="0" y="29"/>
                  </a:cubicBezTo>
                  <a:cubicBezTo>
                    <a:pt x="2" y="33"/>
                    <a:pt x="2" y="33"/>
                    <a:pt x="2" y="33"/>
                  </a:cubicBezTo>
                  <a:cubicBezTo>
                    <a:pt x="3" y="31"/>
                    <a:pt x="5" y="29"/>
                    <a:pt x="6" y="29"/>
                  </a:cubicBezTo>
                  <a:cubicBezTo>
                    <a:pt x="10" y="29"/>
                    <a:pt x="13" y="29"/>
                    <a:pt x="16" y="28"/>
                  </a:cubicBezTo>
                  <a:cubicBezTo>
                    <a:pt x="17" y="30"/>
                    <a:pt x="16" y="32"/>
                    <a:pt x="18" y="32"/>
                  </a:cubicBezTo>
                  <a:cubicBezTo>
                    <a:pt x="18" y="32"/>
                    <a:pt x="18" y="32"/>
                    <a:pt x="18" y="32"/>
                  </a:cubicBezTo>
                  <a:cubicBezTo>
                    <a:pt x="19" y="32"/>
                    <a:pt x="21" y="31"/>
                    <a:pt x="23" y="31"/>
                  </a:cubicBezTo>
                  <a:cubicBezTo>
                    <a:pt x="23" y="31"/>
                    <a:pt x="23" y="31"/>
                    <a:pt x="23" y="31"/>
                  </a:cubicBezTo>
                  <a:cubicBezTo>
                    <a:pt x="24" y="31"/>
                    <a:pt x="24" y="31"/>
                    <a:pt x="24" y="32"/>
                  </a:cubicBezTo>
                  <a:cubicBezTo>
                    <a:pt x="25" y="32"/>
                    <a:pt x="25" y="33"/>
                    <a:pt x="26" y="33"/>
                  </a:cubicBezTo>
                  <a:cubicBezTo>
                    <a:pt x="26" y="33"/>
                    <a:pt x="27" y="32"/>
                    <a:pt x="27" y="32"/>
                  </a:cubicBezTo>
                  <a:cubicBezTo>
                    <a:pt x="29" y="36"/>
                    <a:pt x="30" y="39"/>
                    <a:pt x="33" y="42"/>
                  </a:cubicBezTo>
                  <a:cubicBezTo>
                    <a:pt x="32" y="43"/>
                    <a:pt x="35" y="44"/>
                    <a:pt x="36" y="44"/>
                  </a:cubicBezTo>
                  <a:cubicBezTo>
                    <a:pt x="37" y="44"/>
                    <a:pt x="38" y="45"/>
                    <a:pt x="39" y="45"/>
                  </a:cubicBezTo>
                  <a:cubicBezTo>
                    <a:pt x="40" y="42"/>
                    <a:pt x="38" y="39"/>
                    <a:pt x="42" y="39"/>
                  </a:cubicBezTo>
                  <a:cubicBezTo>
                    <a:pt x="42" y="39"/>
                    <a:pt x="42" y="39"/>
                    <a:pt x="42" y="39"/>
                  </a:cubicBezTo>
                  <a:cubicBezTo>
                    <a:pt x="44" y="39"/>
                    <a:pt x="44" y="43"/>
                    <a:pt x="45" y="45"/>
                  </a:cubicBezTo>
                  <a:cubicBezTo>
                    <a:pt x="46" y="47"/>
                    <a:pt x="47" y="50"/>
                    <a:pt x="47" y="51"/>
                  </a:cubicBezTo>
                  <a:cubicBezTo>
                    <a:pt x="47" y="52"/>
                    <a:pt x="47" y="53"/>
                    <a:pt x="46" y="54"/>
                  </a:cubicBezTo>
                  <a:cubicBezTo>
                    <a:pt x="48" y="54"/>
                    <a:pt x="49" y="54"/>
                    <a:pt x="51" y="54"/>
                  </a:cubicBezTo>
                  <a:cubicBezTo>
                    <a:pt x="53" y="54"/>
                    <a:pt x="54" y="54"/>
                    <a:pt x="56" y="53"/>
                  </a:cubicBezTo>
                  <a:cubicBezTo>
                    <a:pt x="60" y="51"/>
                    <a:pt x="63" y="50"/>
                    <a:pt x="68" y="49"/>
                  </a:cubicBezTo>
                  <a:cubicBezTo>
                    <a:pt x="66" y="44"/>
                    <a:pt x="64" y="42"/>
                    <a:pt x="61" y="39"/>
                  </a:cubicBezTo>
                  <a:cubicBezTo>
                    <a:pt x="58" y="36"/>
                    <a:pt x="55" y="33"/>
                    <a:pt x="59" y="29"/>
                  </a:cubicBezTo>
                  <a:cubicBezTo>
                    <a:pt x="59" y="29"/>
                    <a:pt x="60" y="29"/>
                    <a:pt x="60" y="29"/>
                  </a:cubicBezTo>
                  <a:cubicBezTo>
                    <a:pt x="64" y="29"/>
                    <a:pt x="72" y="23"/>
                    <a:pt x="75" y="21"/>
                  </a:cubicBezTo>
                  <a:cubicBezTo>
                    <a:pt x="74" y="21"/>
                    <a:pt x="74" y="22"/>
                    <a:pt x="73" y="22"/>
                  </a:cubicBezTo>
                  <a:cubicBezTo>
                    <a:pt x="73" y="22"/>
                    <a:pt x="73" y="22"/>
                    <a:pt x="73" y="22"/>
                  </a:cubicBezTo>
                  <a:cubicBezTo>
                    <a:pt x="73" y="22"/>
                    <a:pt x="73" y="22"/>
                    <a:pt x="72" y="22"/>
                  </a:cubicBezTo>
                  <a:cubicBezTo>
                    <a:pt x="72" y="22"/>
                    <a:pt x="72" y="22"/>
                    <a:pt x="72" y="22"/>
                  </a:cubicBezTo>
                  <a:cubicBezTo>
                    <a:pt x="73" y="20"/>
                    <a:pt x="73" y="18"/>
                    <a:pt x="75" y="16"/>
                  </a:cubicBezTo>
                  <a:cubicBezTo>
                    <a:pt x="75" y="16"/>
                    <a:pt x="78" y="15"/>
                    <a:pt x="79" y="14"/>
                  </a:cubicBezTo>
                  <a:cubicBezTo>
                    <a:pt x="82" y="12"/>
                    <a:pt x="86" y="14"/>
                    <a:pt x="89" y="11"/>
                  </a:cubicBezTo>
                  <a:cubicBezTo>
                    <a:pt x="88" y="13"/>
                    <a:pt x="89" y="13"/>
                    <a:pt x="91" y="14"/>
                  </a:cubicBezTo>
                  <a:cubicBezTo>
                    <a:pt x="94" y="15"/>
                    <a:pt x="97" y="17"/>
                    <a:pt x="100" y="19"/>
                  </a:cubicBezTo>
                  <a:cubicBezTo>
                    <a:pt x="100" y="18"/>
                    <a:pt x="100" y="18"/>
                    <a:pt x="100" y="18"/>
                  </a:cubicBezTo>
                  <a:cubicBezTo>
                    <a:pt x="102" y="21"/>
                    <a:pt x="103" y="25"/>
                    <a:pt x="105" y="28"/>
                  </a:cubicBezTo>
                  <a:cubicBezTo>
                    <a:pt x="105" y="28"/>
                    <a:pt x="105" y="27"/>
                    <a:pt x="105" y="26"/>
                  </a:cubicBezTo>
                  <a:cubicBezTo>
                    <a:pt x="105" y="25"/>
                    <a:pt x="105" y="24"/>
                    <a:pt x="105" y="24"/>
                  </a:cubicBezTo>
                  <a:cubicBezTo>
                    <a:pt x="105" y="24"/>
                    <a:pt x="105" y="24"/>
                    <a:pt x="105" y="24"/>
                  </a:cubicBezTo>
                  <a:cubicBezTo>
                    <a:pt x="105" y="24"/>
                    <a:pt x="106" y="24"/>
                    <a:pt x="106" y="24"/>
                  </a:cubicBezTo>
                  <a:cubicBezTo>
                    <a:pt x="107" y="24"/>
                    <a:pt x="108" y="24"/>
                    <a:pt x="109" y="25"/>
                  </a:cubicBezTo>
                  <a:cubicBezTo>
                    <a:pt x="109" y="25"/>
                    <a:pt x="109" y="27"/>
                    <a:pt x="108" y="27"/>
                  </a:cubicBezTo>
                  <a:cubicBezTo>
                    <a:pt x="109" y="26"/>
                    <a:pt x="110" y="25"/>
                    <a:pt x="111" y="25"/>
                  </a:cubicBezTo>
                  <a:cubicBezTo>
                    <a:pt x="111" y="25"/>
                    <a:pt x="111" y="26"/>
                    <a:pt x="112" y="26"/>
                  </a:cubicBezTo>
                  <a:cubicBezTo>
                    <a:pt x="112" y="25"/>
                    <a:pt x="112" y="24"/>
                    <a:pt x="111" y="23"/>
                  </a:cubicBezTo>
                  <a:cubicBezTo>
                    <a:pt x="114" y="26"/>
                    <a:pt x="117" y="29"/>
                    <a:pt x="118" y="33"/>
                  </a:cubicBezTo>
                  <a:cubicBezTo>
                    <a:pt x="118" y="32"/>
                    <a:pt x="117" y="31"/>
                    <a:pt x="116" y="31"/>
                  </a:cubicBezTo>
                  <a:cubicBezTo>
                    <a:pt x="115" y="30"/>
                    <a:pt x="115" y="31"/>
                    <a:pt x="113" y="30"/>
                  </a:cubicBezTo>
                  <a:cubicBezTo>
                    <a:pt x="113" y="30"/>
                    <a:pt x="112" y="29"/>
                    <a:pt x="112" y="28"/>
                  </a:cubicBezTo>
                  <a:cubicBezTo>
                    <a:pt x="111" y="28"/>
                    <a:pt x="112" y="27"/>
                    <a:pt x="111" y="27"/>
                  </a:cubicBezTo>
                  <a:cubicBezTo>
                    <a:pt x="111" y="27"/>
                    <a:pt x="111" y="27"/>
                    <a:pt x="111" y="27"/>
                  </a:cubicBezTo>
                  <a:cubicBezTo>
                    <a:pt x="109" y="27"/>
                    <a:pt x="105" y="33"/>
                    <a:pt x="105" y="34"/>
                  </a:cubicBezTo>
                  <a:cubicBezTo>
                    <a:pt x="103" y="40"/>
                    <a:pt x="110" y="47"/>
                    <a:pt x="115" y="52"/>
                  </a:cubicBezTo>
                  <a:cubicBezTo>
                    <a:pt x="115" y="52"/>
                    <a:pt x="115" y="52"/>
                    <a:pt x="115" y="52"/>
                  </a:cubicBezTo>
                  <a:cubicBezTo>
                    <a:pt x="115" y="51"/>
                    <a:pt x="115" y="51"/>
                    <a:pt x="116" y="50"/>
                  </a:cubicBezTo>
                  <a:cubicBezTo>
                    <a:pt x="116" y="50"/>
                    <a:pt x="116" y="50"/>
                    <a:pt x="116" y="50"/>
                  </a:cubicBezTo>
                  <a:cubicBezTo>
                    <a:pt x="117" y="49"/>
                    <a:pt x="117" y="48"/>
                    <a:pt x="117" y="48"/>
                  </a:cubicBezTo>
                  <a:cubicBezTo>
                    <a:pt x="117" y="47"/>
                    <a:pt x="117" y="47"/>
                    <a:pt x="117" y="47"/>
                  </a:cubicBezTo>
                  <a:cubicBezTo>
                    <a:pt x="118" y="47"/>
                    <a:pt x="118" y="46"/>
                    <a:pt x="118" y="46"/>
                  </a:cubicBezTo>
                  <a:cubicBezTo>
                    <a:pt x="118" y="44"/>
                    <a:pt x="118" y="44"/>
                    <a:pt x="118" y="44"/>
                  </a:cubicBezTo>
                  <a:cubicBezTo>
                    <a:pt x="118" y="44"/>
                    <a:pt x="118" y="43"/>
                    <a:pt x="118" y="42"/>
                  </a:cubicBezTo>
                  <a:cubicBezTo>
                    <a:pt x="118" y="41"/>
                    <a:pt x="118" y="41"/>
                    <a:pt x="118" y="41"/>
                  </a:cubicBezTo>
                  <a:cubicBezTo>
                    <a:pt x="120" y="42"/>
                    <a:pt x="120" y="42"/>
                    <a:pt x="120" y="42"/>
                  </a:cubicBezTo>
                  <a:cubicBezTo>
                    <a:pt x="122" y="40"/>
                    <a:pt x="122" y="40"/>
                    <a:pt x="122" y="40"/>
                  </a:cubicBezTo>
                  <a:cubicBezTo>
                    <a:pt x="123" y="41"/>
                    <a:pt x="123" y="41"/>
                    <a:pt x="123" y="41"/>
                  </a:cubicBezTo>
                  <a:cubicBezTo>
                    <a:pt x="123" y="41"/>
                    <a:pt x="124" y="42"/>
                    <a:pt x="124" y="43"/>
                  </a:cubicBezTo>
                  <a:cubicBezTo>
                    <a:pt x="124" y="43"/>
                    <a:pt x="125" y="42"/>
                    <a:pt x="125" y="42"/>
                  </a:cubicBezTo>
                  <a:cubicBezTo>
                    <a:pt x="126" y="40"/>
                    <a:pt x="128" y="38"/>
                    <a:pt x="130" y="37"/>
                  </a:cubicBezTo>
                  <a:cubicBezTo>
                    <a:pt x="129" y="35"/>
                    <a:pt x="128" y="33"/>
                    <a:pt x="127" y="31"/>
                  </a:cubicBezTo>
                  <a:cubicBezTo>
                    <a:pt x="126" y="29"/>
                    <a:pt x="126" y="28"/>
                    <a:pt x="125" y="26"/>
                  </a:cubicBezTo>
                  <a:cubicBezTo>
                    <a:pt x="123" y="24"/>
                    <a:pt x="125" y="22"/>
                    <a:pt x="126" y="20"/>
                  </a:cubicBezTo>
                  <a:cubicBezTo>
                    <a:pt x="123" y="18"/>
                    <a:pt x="119" y="11"/>
                    <a:pt x="116" y="10"/>
                  </a:cubicBezTo>
                  <a:cubicBezTo>
                    <a:pt x="110" y="8"/>
                    <a:pt x="103" y="5"/>
                    <a:pt x="96" y="3"/>
                  </a:cubicBezTo>
                  <a:cubicBezTo>
                    <a:pt x="91" y="1"/>
                    <a:pt x="87" y="0"/>
                    <a:pt x="81" y="0"/>
                  </a:cubicBezTo>
                  <a:cubicBezTo>
                    <a:pt x="81" y="0"/>
                    <a:pt x="81" y="0"/>
                    <a:pt x="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273"/>
            <p:cNvSpPr>
              <a:spLocks noEditPoints="1"/>
            </p:cNvSpPr>
            <p:nvPr/>
          </p:nvSpPr>
          <p:spPr bwMode="auto">
            <a:xfrm>
              <a:off x="5124620" y="0"/>
              <a:ext cx="1970117" cy="861487"/>
            </a:xfrm>
            <a:custGeom>
              <a:gdLst>
                <a:gd name="T0" fmla="*/ 482 w 590"/>
                <a:gd name="T1" fmla="*/ 157 h 258"/>
                <a:gd name="T2" fmla="*/ 3 w 590"/>
                <a:gd name="T3" fmla="*/ 0 h 258"/>
                <a:gd name="T4" fmla="*/ 14 w 590"/>
                <a:gd name="T5" fmla="*/ 20 h 258"/>
                <a:gd name="T6" fmla="*/ 62 w 590"/>
                <a:gd name="T7" fmla="*/ 54 h 258"/>
                <a:gd name="T8" fmla="*/ 54 w 590"/>
                <a:gd name="T9" fmla="*/ 32 h 258"/>
                <a:gd name="T10" fmla="*/ 43 w 590"/>
                <a:gd name="T11" fmla="*/ 28 h 258"/>
                <a:gd name="T12" fmla="*/ 336 w 590"/>
                <a:gd name="T13" fmla="*/ 0 h 258"/>
                <a:gd name="T14" fmla="*/ 101 w 590"/>
                <a:gd name="T15" fmla="*/ 20 h 258"/>
                <a:gd name="T16" fmla="*/ 107 w 590"/>
                <a:gd name="T17" fmla="*/ 21 h 258"/>
                <a:gd name="T18" fmla="*/ 126 w 590"/>
                <a:gd name="T19" fmla="*/ 43 h 258"/>
                <a:gd name="T20" fmla="*/ 158 w 590"/>
                <a:gd name="T21" fmla="*/ 108 h 258"/>
                <a:gd name="T22" fmla="*/ 152 w 590"/>
                <a:gd name="T23" fmla="*/ 119 h 258"/>
                <a:gd name="T24" fmla="*/ 210 w 590"/>
                <a:gd name="T25" fmla="*/ 173 h 258"/>
                <a:gd name="T26" fmla="*/ 238 w 590"/>
                <a:gd name="T27" fmla="*/ 179 h 258"/>
                <a:gd name="T28" fmla="*/ 323 w 590"/>
                <a:gd name="T29" fmla="*/ 220 h 258"/>
                <a:gd name="T30" fmla="*/ 365 w 590"/>
                <a:gd name="T31" fmla="*/ 234 h 258"/>
                <a:gd name="T32" fmla="*/ 402 w 590"/>
                <a:gd name="T33" fmla="*/ 221 h 258"/>
                <a:gd name="T34" fmla="*/ 407 w 590"/>
                <a:gd name="T35" fmla="*/ 218 h 258"/>
                <a:gd name="T36" fmla="*/ 414 w 590"/>
                <a:gd name="T37" fmla="*/ 220 h 258"/>
                <a:gd name="T38" fmla="*/ 461 w 590"/>
                <a:gd name="T39" fmla="*/ 258 h 258"/>
                <a:gd name="T40" fmla="*/ 462 w 590"/>
                <a:gd name="T41" fmla="*/ 251 h 258"/>
                <a:gd name="T42" fmla="*/ 462 w 590"/>
                <a:gd name="T43" fmla="*/ 241 h 258"/>
                <a:gd name="T44" fmla="*/ 470 w 590"/>
                <a:gd name="T45" fmla="*/ 227 h 258"/>
                <a:gd name="T46" fmla="*/ 489 w 590"/>
                <a:gd name="T47" fmla="*/ 221 h 258"/>
                <a:gd name="T48" fmla="*/ 503 w 590"/>
                <a:gd name="T49" fmla="*/ 218 h 258"/>
                <a:gd name="T50" fmla="*/ 493 w 590"/>
                <a:gd name="T51" fmla="*/ 210 h 258"/>
                <a:gd name="T52" fmla="*/ 480 w 590"/>
                <a:gd name="T53" fmla="*/ 198 h 258"/>
                <a:gd name="T54" fmla="*/ 495 w 590"/>
                <a:gd name="T55" fmla="*/ 179 h 258"/>
                <a:gd name="T56" fmla="*/ 532 w 590"/>
                <a:gd name="T57" fmla="*/ 180 h 258"/>
                <a:gd name="T58" fmla="*/ 534 w 590"/>
                <a:gd name="T59" fmla="*/ 177 h 258"/>
                <a:gd name="T60" fmla="*/ 541 w 590"/>
                <a:gd name="T61" fmla="*/ 177 h 258"/>
                <a:gd name="T62" fmla="*/ 546 w 590"/>
                <a:gd name="T63" fmla="*/ 169 h 258"/>
                <a:gd name="T64" fmla="*/ 556 w 590"/>
                <a:gd name="T65" fmla="*/ 164 h 258"/>
                <a:gd name="T66" fmla="*/ 574 w 590"/>
                <a:gd name="T67" fmla="*/ 147 h 258"/>
                <a:gd name="T68" fmla="*/ 572 w 590"/>
                <a:gd name="T69" fmla="*/ 144 h 258"/>
                <a:gd name="T70" fmla="*/ 574 w 590"/>
                <a:gd name="T71" fmla="*/ 130 h 258"/>
                <a:gd name="T72" fmla="*/ 585 w 590"/>
                <a:gd name="T73" fmla="*/ 93 h 258"/>
                <a:gd name="T74" fmla="*/ 573 w 590"/>
                <a:gd name="T75" fmla="*/ 94 h 258"/>
                <a:gd name="T76" fmla="*/ 515 w 590"/>
                <a:gd name="T77" fmla="*/ 101 h 258"/>
                <a:gd name="T78" fmla="*/ 498 w 590"/>
                <a:gd name="T79" fmla="*/ 143 h 258"/>
                <a:gd name="T80" fmla="*/ 484 w 590"/>
                <a:gd name="T81" fmla="*/ 160 h 258"/>
                <a:gd name="T82" fmla="*/ 473 w 590"/>
                <a:gd name="T83" fmla="*/ 169 h 258"/>
                <a:gd name="T84" fmla="*/ 468 w 590"/>
                <a:gd name="T85" fmla="*/ 161 h 258"/>
                <a:gd name="T86" fmla="*/ 441 w 590"/>
                <a:gd name="T87" fmla="*/ 168 h 258"/>
                <a:gd name="T88" fmla="*/ 402 w 590"/>
                <a:gd name="T89" fmla="*/ 165 h 258"/>
                <a:gd name="T90" fmla="*/ 386 w 590"/>
                <a:gd name="T91" fmla="*/ 161 h 258"/>
                <a:gd name="T92" fmla="*/ 376 w 590"/>
                <a:gd name="T93" fmla="*/ 158 h 258"/>
                <a:gd name="T94" fmla="*/ 358 w 590"/>
                <a:gd name="T95" fmla="*/ 125 h 258"/>
                <a:gd name="T96" fmla="*/ 343 w 590"/>
                <a:gd name="T97" fmla="*/ 96 h 258"/>
                <a:gd name="T98" fmla="*/ 334 w 590"/>
                <a:gd name="T99" fmla="*/ 53 h 258"/>
                <a:gd name="T100" fmla="*/ 336 w 590"/>
                <a:gd name="T101" fmla="*/ 0 h 258"/>
                <a:gd name="T102" fmla="*/ 340 w 590"/>
                <a:gd name="T103" fmla="*/ 0 h 2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0" h="258">
                  <a:moveTo>
                    <a:pt x="482" y="157"/>
                  </a:moveTo>
                  <a:cubicBezTo>
                    <a:pt x="482" y="157"/>
                    <a:pt x="482" y="157"/>
                    <a:pt x="482" y="157"/>
                  </a:cubicBezTo>
                  <a:cubicBezTo>
                    <a:pt x="482" y="157"/>
                    <a:pt x="482" y="157"/>
                    <a:pt x="482" y="157"/>
                  </a:cubicBezTo>
                  <a:cubicBezTo>
                    <a:pt x="482" y="157"/>
                    <a:pt x="482" y="157"/>
                    <a:pt x="482" y="157"/>
                  </a:cubicBezTo>
                  <a:moveTo>
                    <a:pt x="482" y="157"/>
                  </a:moveTo>
                  <a:cubicBezTo>
                    <a:pt x="482" y="157"/>
                    <a:pt x="482" y="157"/>
                    <a:pt x="482" y="157"/>
                  </a:cubicBezTo>
                  <a:cubicBezTo>
                    <a:pt x="482" y="157"/>
                    <a:pt x="482" y="157"/>
                    <a:pt x="482" y="157"/>
                  </a:cubicBezTo>
                  <a:cubicBezTo>
                    <a:pt x="482" y="157"/>
                    <a:pt x="482" y="157"/>
                    <a:pt x="482" y="157"/>
                  </a:cubicBezTo>
                  <a:moveTo>
                    <a:pt x="29" y="0"/>
                  </a:moveTo>
                  <a:cubicBezTo>
                    <a:pt x="3" y="0"/>
                    <a:pt x="3" y="0"/>
                    <a:pt x="3" y="0"/>
                  </a:cubicBezTo>
                  <a:cubicBezTo>
                    <a:pt x="3" y="1"/>
                    <a:pt x="2" y="2"/>
                    <a:pt x="1" y="4"/>
                  </a:cubicBezTo>
                  <a:cubicBezTo>
                    <a:pt x="1" y="6"/>
                    <a:pt x="1" y="9"/>
                    <a:pt x="0" y="12"/>
                  </a:cubicBezTo>
                  <a:cubicBezTo>
                    <a:pt x="1" y="10"/>
                    <a:pt x="1" y="9"/>
                    <a:pt x="2" y="8"/>
                  </a:cubicBezTo>
                  <a:cubicBezTo>
                    <a:pt x="2" y="9"/>
                    <a:pt x="2" y="12"/>
                    <a:pt x="2" y="13"/>
                  </a:cubicBezTo>
                  <a:cubicBezTo>
                    <a:pt x="6" y="16"/>
                    <a:pt x="10" y="17"/>
                    <a:pt x="14" y="20"/>
                  </a:cubicBezTo>
                  <a:cubicBezTo>
                    <a:pt x="21" y="26"/>
                    <a:pt x="28" y="31"/>
                    <a:pt x="35" y="36"/>
                  </a:cubicBezTo>
                  <a:cubicBezTo>
                    <a:pt x="38" y="39"/>
                    <a:pt x="41" y="41"/>
                    <a:pt x="43" y="44"/>
                  </a:cubicBezTo>
                  <a:cubicBezTo>
                    <a:pt x="47" y="48"/>
                    <a:pt x="50" y="55"/>
                    <a:pt x="53" y="60"/>
                  </a:cubicBezTo>
                  <a:cubicBezTo>
                    <a:pt x="54" y="59"/>
                    <a:pt x="56" y="57"/>
                    <a:pt x="58" y="56"/>
                  </a:cubicBezTo>
                  <a:cubicBezTo>
                    <a:pt x="59" y="55"/>
                    <a:pt x="61" y="55"/>
                    <a:pt x="62" y="54"/>
                  </a:cubicBezTo>
                  <a:cubicBezTo>
                    <a:pt x="64" y="52"/>
                    <a:pt x="64" y="49"/>
                    <a:pt x="64" y="47"/>
                  </a:cubicBezTo>
                  <a:cubicBezTo>
                    <a:pt x="63" y="42"/>
                    <a:pt x="59" y="42"/>
                    <a:pt x="58" y="39"/>
                  </a:cubicBezTo>
                  <a:cubicBezTo>
                    <a:pt x="57" y="38"/>
                    <a:pt x="57" y="33"/>
                    <a:pt x="56" y="32"/>
                  </a:cubicBezTo>
                  <a:cubicBezTo>
                    <a:pt x="55" y="32"/>
                    <a:pt x="55" y="32"/>
                    <a:pt x="55" y="32"/>
                  </a:cubicBezTo>
                  <a:cubicBezTo>
                    <a:pt x="54" y="32"/>
                    <a:pt x="54" y="32"/>
                    <a:pt x="54" y="32"/>
                  </a:cubicBezTo>
                  <a:cubicBezTo>
                    <a:pt x="53" y="32"/>
                    <a:pt x="53" y="32"/>
                    <a:pt x="53" y="32"/>
                  </a:cubicBezTo>
                  <a:cubicBezTo>
                    <a:pt x="52" y="32"/>
                    <a:pt x="52" y="32"/>
                    <a:pt x="52" y="32"/>
                  </a:cubicBezTo>
                  <a:cubicBezTo>
                    <a:pt x="50" y="31"/>
                    <a:pt x="47" y="24"/>
                    <a:pt x="45" y="24"/>
                  </a:cubicBezTo>
                  <a:cubicBezTo>
                    <a:pt x="45" y="24"/>
                    <a:pt x="45" y="24"/>
                    <a:pt x="45" y="24"/>
                  </a:cubicBezTo>
                  <a:cubicBezTo>
                    <a:pt x="43" y="24"/>
                    <a:pt x="44" y="26"/>
                    <a:pt x="43" y="28"/>
                  </a:cubicBezTo>
                  <a:cubicBezTo>
                    <a:pt x="41" y="28"/>
                    <a:pt x="39" y="28"/>
                    <a:pt x="37" y="27"/>
                  </a:cubicBezTo>
                  <a:cubicBezTo>
                    <a:pt x="34" y="24"/>
                    <a:pt x="35" y="18"/>
                    <a:pt x="35" y="15"/>
                  </a:cubicBezTo>
                  <a:cubicBezTo>
                    <a:pt x="35" y="10"/>
                    <a:pt x="32" y="6"/>
                    <a:pt x="30" y="1"/>
                  </a:cubicBezTo>
                  <a:cubicBezTo>
                    <a:pt x="29" y="1"/>
                    <a:pt x="29" y="0"/>
                    <a:pt x="29" y="0"/>
                  </a:cubicBezTo>
                  <a:moveTo>
                    <a:pt x="336" y="0"/>
                  </a:moveTo>
                  <a:cubicBezTo>
                    <a:pt x="84" y="0"/>
                    <a:pt x="84" y="0"/>
                    <a:pt x="84" y="0"/>
                  </a:cubicBezTo>
                  <a:cubicBezTo>
                    <a:pt x="87" y="1"/>
                    <a:pt x="90" y="2"/>
                    <a:pt x="92" y="4"/>
                  </a:cubicBezTo>
                  <a:cubicBezTo>
                    <a:pt x="94" y="6"/>
                    <a:pt x="95" y="7"/>
                    <a:pt x="97" y="9"/>
                  </a:cubicBezTo>
                  <a:cubicBezTo>
                    <a:pt x="98" y="9"/>
                    <a:pt x="97" y="12"/>
                    <a:pt x="97" y="13"/>
                  </a:cubicBezTo>
                  <a:cubicBezTo>
                    <a:pt x="98" y="15"/>
                    <a:pt x="98" y="19"/>
                    <a:pt x="101" y="20"/>
                  </a:cubicBezTo>
                  <a:cubicBezTo>
                    <a:pt x="101" y="19"/>
                    <a:pt x="100" y="19"/>
                    <a:pt x="100" y="18"/>
                  </a:cubicBezTo>
                  <a:cubicBezTo>
                    <a:pt x="101" y="19"/>
                    <a:pt x="102" y="20"/>
                    <a:pt x="104" y="21"/>
                  </a:cubicBezTo>
                  <a:cubicBezTo>
                    <a:pt x="105" y="21"/>
                    <a:pt x="105" y="21"/>
                    <a:pt x="106" y="21"/>
                  </a:cubicBezTo>
                  <a:cubicBezTo>
                    <a:pt x="106" y="21"/>
                    <a:pt x="106" y="21"/>
                    <a:pt x="106" y="21"/>
                  </a:cubicBezTo>
                  <a:cubicBezTo>
                    <a:pt x="107" y="21"/>
                    <a:pt x="107" y="21"/>
                    <a:pt x="107" y="21"/>
                  </a:cubicBezTo>
                  <a:cubicBezTo>
                    <a:pt x="107" y="20"/>
                    <a:pt x="108" y="20"/>
                    <a:pt x="108" y="20"/>
                  </a:cubicBezTo>
                  <a:cubicBezTo>
                    <a:pt x="108" y="20"/>
                    <a:pt x="108" y="20"/>
                    <a:pt x="108" y="20"/>
                  </a:cubicBezTo>
                  <a:cubicBezTo>
                    <a:pt x="110" y="21"/>
                    <a:pt x="108" y="23"/>
                    <a:pt x="107" y="23"/>
                  </a:cubicBezTo>
                  <a:cubicBezTo>
                    <a:pt x="107" y="23"/>
                    <a:pt x="107" y="23"/>
                    <a:pt x="107" y="23"/>
                  </a:cubicBezTo>
                  <a:cubicBezTo>
                    <a:pt x="114" y="29"/>
                    <a:pt x="120" y="35"/>
                    <a:pt x="126" y="43"/>
                  </a:cubicBezTo>
                  <a:cubicBezTo>
                    <a:pt x="133" y="52"/>
                    <a:pt x="140" y="59"/>
                    <a:pt x="148" y="67"/>
                  </a:cubicBezTo>
                  <a:cubicBezTo>
                    <a:pt x="151" y="70"/>
                    <a:pt x="152" y="76"/>
                    <a:pt x="152" y="80"/>
                  </a:cubicBezTo>
                  <a:cubicBezTo>
                    <a:pt x="152" y="85"/>
                    <a:pt x="157" y="90"/>
                    <a:pt x="159" y="93"/>
                  </a:cubicBezTo>
                  <a:cubicBezTo>
                    <a:pt x="161" y="96"/>
                    <a:pt x="162" y="96"/>
                    <a:pt x="161" y="98"/>
                  </a:cubicBezTo>
                  <a:cubicBezTo>
                    <a:pt x="160" y="101"/>
                    <a:pt x="159" y="105"/>
                    <a:pt x="158" y="108"/>
                  </a:cubicBezTo>
                  <a:cubicBezTo>
                    <a:pt x="157" y="109"/>
                    <a:pt x="156" y="110"/>
                    <a:pt x="154" y="111"/>
                  </a:cubicBezTo>
                  <a:cubicBezTo>
                    <a:pt x="156" y="112"/>
                    <a:pt x="157" y="112"/>
                    <a:pt x="159" y="112"/>
                  </a:cubicBezTo>
                  <a:cubicBezTo>
                    <a:pt x="159" y="113"/>
                    <a:pt x="160" y="113"/>
                    <a:pt x="161" y="113"/>
                  </a:cubicBezTo>
                  <a:cubicBezTo>
                    <a:pt x="160" y="115"/>
                    <a:pt x="162" y="116"/>
                    <a:pt x="160" y="116"/>
                  </a:cubicBezTo>
                  <a:cubicBezTo>
                    <a:pt x="158" y="117"/>
                    <a:pt x="153" y="118"/>
                    <a:pt x="152" y="119"/>
                  </a:cubicBezTo>
                  <a:cubicBezTo>
                    <a:pt x="150" y="123"/>
                    <a:pt x="159" y="134"/>
                    <a:pt x="160" y="137"/>
                  </a:cubicBezTo>
                  <a:cubicBezTo>
                    <a:pt x="164" y="143"/>
                    <a:pt x="169" y="147"/>
                    <a:pt x="175" y="150"/>
                  </a:cubicBezTo>
                  <a:cubicBezTo>
                    <a:pt x="180" y="153"/>
                    <a:pt x="186" y="155"/>
                    <a:pt x="191" y="158"/>
                  </a:cubicBezTo>
                  <a:cubicBezTo>
                    <a:pt x="196" y="161"/>
                    <a:pt x="198" y="165"/>
                    <a:pt x="201" y="169"/>
                  </a:cubicBezTo>
                  <a:cubicBezTo>
                    <a:pt x="203" y="171"/>
                    <a:pt x="206" y="172"/>
                    <a:pt x="210" y="173"/>
                  </a:cubicBezTo>
                  <a:cubicBezTo>
                    <a:pt x="217" y="176"/>
                    <a:pt x="224" y="178"/>
                    <a:pt x="231" y="180"/>
                  </a:cubicBezTo>
                  <a:cubicBezTo>
                    <a:pt x="231" y="180"/>
                    <a:pt x="231" y="180"/>
                    <a:pt x="232" y="180"/>
                  </a:cubicBezTo>
                  <a:cubicBezTo>
                    <a:pt x="233" y="180"/>
                    <a:pt x="233" y="179"/>
                    <a:pt x="234" y="179"/>
                  </a:cubicBezTo>
                  <a:cubicBezTo>
                    <a:pt x="235" y="179"/>
                    <a:pt x="235" y="179"/>
                    <a:pt x="236" y="179"/>
                  </a:cubicBezTo>
                  <a:cubicBezTo>
                    <a:pt x="237" y="179"/>
                    <a:pt x="237" y="179"/>
                    <a:pt x="238" y="179"/>
                  </a:cubicBezTo>
                  <a:cubicBezTo>
                    <a:pt x="243" y="183"/>
                    <a:pt x="248" y="187"/>
                    <a:pt x="253" y="191"/>
                  </a:cubicBezTo>
                  <a:cubicBezTo>
                    <a:pt x="264" y="198"/>
                    <a:pt x="277" y="201"/>
                    <a:pt x="289" y="207"/>
                  </a:cubicBezTo>
                  <a:cubicBezTo>
                    <a:pt x="295" y="210"/>
                    <a:pt x="301" y="211"/>
                    <a:pt x="307" y="213"/>
                  </a:cubicBezTo>
                  <a:cubicBezTo>
                    <a:pt x="311" y="213"/>
                    <a:pt x="312" y="213"/>
                    <a:pt x="314" y="216"/>
                  </a:cubicBezTo>
                  <a:cubicBezTo>
                    <a:pt x="317" y="219"/>
                    <a:pt x="319" y="219"/>
                    <a:pt x="323" y="220"/>
                  </a:cubicBezTo>
                  <a:cubicBezTo>
                    <a:pt x="325" y="221"/>
                    <a:pt x="328" y="222"/>
                    <a:pt x="330" y="224"/>
                  </a:cubicBezTo>
                  <a:cubicBezTo>
                    <a:pt x="334" y="226"/>
                    <a:pt x="336" y="226"/>
                    <a:pt x="340" y="227"/>
                  </a:cubicBezTo>
                  <a:cubicBezTo>
                    <a:pt x="343" y="227"/>
                    <a:pt x="345" y="227"/>
                    <a:pt x="348" y="228"/>
                  </a:cubicBezTo>
                  <a:cubicBezTo>
                    <a:pt x="351" y="229"/>
                    <a:pt x="353" y="231"/>
                    <a:pt x="355" y="232"/>
                  </a:cubicBezTo>
                  <a:cubicBezTo>
                    <a:pt x="359" y="233"/>
                    <a:pt x="362" y="234"/>
                    <a:pt x="365" y="234"/>
                  </a:cubicBezTo>
                  <a:cubicBezTo>
                    <a:pt x="367" y="234"/>
                    <a:pt x="369" y="233"/>
                    <a:pt x="372" y="232"/>
                  </a:cubicBezTo>
                  <a:cubicBezTo>
                    <a:pt x="377" y="231"/>
                    <a:pt x="382" y="228"/>
                    <a:pt x="387" y="227"/>
                  </a:cubicBezTo>
                  <a:cubicBezTo>
                    <a:pt x="390" y="226"/>
                    <a:pt x="391" y="223"/>
                    <a:pt x="394" y="223"/>
                  </a:cubicBezTo>
                  <a:cubicBezTo>
                    <a:pt x="396" y="222"/>
                    <a:pt x="398" y="221"/>
                    <a:pt x="400" y="221"/>
                  </a:cubicBezTo>
                  <a:cubicBezTo>
                    <a:pt x="400" y="221"/>
                    <a:pt x="401" y="221"/>
                    <a:pt x="402" y="221"/>
                  </a:cubicBezTo>
                  <a:cubicBezTo>
                    <a:pt x="402" y="221"/>
                    <a:pt x="402" y="221"/>
                    <a:pt x="402" y="221"/>
                  </a:cubicBezTo>
                  <a:cubicBezTo>
                    <a:pt x="401" y="220"/>
                    <a:pt x="399" y="220"/>
                    <a:pt x="397" y="219"/>
                  </a:cubicBezTo>
                  <a:cubicBezTo>
                    <a:pt x="399" y="218"/>
                    <a:pt x="401" y="217"/>
                    <a:pt x="403" y="216"/>
                  </a:cubicBezTo>
                  <a:cubicBezTo>
                    <a:pt x="403" y="219"/>
                    <a:pt x="403" y="219"/>
                    <a:pt x="404" y="219"/>
                  </a:cubicBezTo>
                  <a:cubicBezTo>
                    <a:pt x="405" y="219"/>
                    <a:pt x="406" y="219"/>
                    <a:pt x="407" y="218"/>
                  </a:cubicBezTo>
                  <a:cubicBezTo>
                    <a:pt x="407" y="219"/>
                    <a:pt x="407" y="221"/>
                    <a:pt x="405" y="221"/>
                  </a:cubicBezTo>
                  <a:cubicBezTo>
                    <a:pt x="407" y="222"/>
                    <a:pt x="410" y="222"/>
                    <a:pt x="412" y="222"/>
                  </a:cubicBezTo>
                  <a:cubicBezTo>
                    <a:pt x="415" y="222"/>
                    <a:pt x="418" y="224"/>
                    <a:pt x="420" y="225"/>
                  </a:cubicBezTo>
                  <a:cubicBezTo>
                    <a:pt x="420" y="222"/>
                    <a:pt x="415" y="222"/>
                    <a:pt x="412" y="221"/>
                  </a:cubicBezTo>
                  <a:cubicBezTo>
                    <a:pt x="413" y="220"/>
                    <a:pt x="413" y="220"/>
                    <a:pt x="414" y="220"/>
                  </a:cubicBezTo>
                  <a:cubicBezTo>
                    <a:pt x="417" y="220"/>
                    <a:pt x="423" y="224"/>
                    <a:pt x="425" y="226"/>
                  </a:cubicBezTo>
                  <a:cubicBezTo>
                    <a:pt x="430" y="230"/>
                    <a:pt x="435" y="234"/>
                    <a:pt x="440" y="238"/>
                  </a:cubicBezTo>
                  <a:cubicBezTo>
                    <a:pt x="442" y="240"/>
                    <a:pt x="444" y="242"/>
                    <a:pt x="445" y="243"/>
                  </a:cubicBezTo>
                  <a:cubicBezTo>
                    <a:pt x="447" y="244"/>
                    <a:pt x="450" y="245"/>
                    <a:pt x="451" y="246"/>
                  </a:cubicBezTo>
                  <a:cubicBezTo>
                    <a:pt x="454" y="251"/>
                    <a:pt x="457" y="255"/>
                    <a:pt x="461" y="258"/>
                  </a:cubicBezTo>
                  <a:cubicBezTo>
                    <a:pt x="462" y="257"/>
                    <a:pt x="462" y="257"/>
                    <a:pt x="462" y="257"/>
                  </a:cubicBezTo>
                  <a:cubicBezTo>
                    <a:pt x="462" y="257"/>
                    <a:pt x="462" y="257"/>
                    <a:pt x="462" y="257"/>
                  </a:cubicBezTo>
                  <a:cubicBezTo>
                    <a:pt x="462" y="256"/>
                    <a:pt x="462" y="256"/>
                    <a:pt x="462" y="256"/>
                  </a:cubicBezTo>
                  <a:cubicBezTo>
                    <a:pt x="461" y="255"/>
                    <a:pt x="461" y="255"/>
                    <a:pt x="461" y="255"/>
                  </a:cubicBezTo>
                  <a:cubicBezTo>
                    <a:pt x="461" y="254"/>
                    <a:pt x="461" y="253"/>
                    <a:pt x="462" y="251"/>
                  </a:cubicBezTo>
                  <a:cubicBezTo>
                    <a:pt x="462" y="251"/>
                    <a:pt x="462" y="251"/>
                    <a:pt x="462" y="251"/>
                  </a:cubicBezTo>
                  <a:cubicBezTo>
                    <a:pt x="462" y="251"/>
                    <a:pt x="462" y="250"/>
                    <a:pt x="463" y="248"/>
                  </a:cubicBezTo>
                  <a:cubicBezTo>
                    <a:pt x="463" y="248"/>
                    <a:pt x="463" y="248"/>
                    <a:pt x="463" y="248"/>
                  </a:cubicBezTo>
                  <a:cubicBezTo>
                    <a:pt x="462" y="246"/>
                    <a:pt x="461" y="244"/>
                    <a:pt x="462" y="242"/>
                  </a:cubicBezTo>
                  <a:cubicBezTo>
                    <a:pt x="462" y="241"/>
                    <a:pt x="462" y="241"/>
                    <a:pt x="462" y="241"/>
                  </a:cubicBezTo>
                  <a:cubicBezTo>
                    <a:pt x="462" y="241"/>
                    <a:pt x="462" y="241"/>
                    <a:pt x="462" y="241"/>
                  </a:cubicBezTo>
                  <a:cubicBezTo>
                    <a:pt x="462" y="240"/>
                    <a:pt x="462" y="240"/>
                    <a:pt x="462" y="240"/>
                  </a:cubicBezTo>
                  <a:cubicBezTo>
                    <a:pt x="463" y="239"/>
                    <a:pt x="463" y="239"/>
                    <a:pt x="463" y="239"/>
                  </a:cubicBezTo>
                  <a:cubicBezTo>
                    <a:pt x="464" y="236"/>
                    <a:pt x="467" y="232"/>
                    <a:pt x="469" y="229"/>
                  </a:cubicBezTo>
                  <a:cubicBezTo>
                    <a:pt x="470" y="227"/>
                    <a:pt x="470" y="227"/>
                    <a:pt x="470" y="227"/>
                  </a:cubicBezTo>
                  <a:cubicBezTo>
                    <a:pt x="471" y="226"/>
                    <a:pt x="472" y="225"/>
                    <a:pt x="473" y="224"/>
                  </a:cubicBezTo>
                  <a:cubicBezTo>
                    <a:pt x="474" y="224"/>
                    <a:pt x="474" y="223"/>
                    <a:pt x="475" y="223"/>
                  </a:cubicBezTo>
                  <a:cubicBezTo>
                    <a:pt x="477" y="222"/>
                    <a:pt x="478" y="222"/>
                    <a:pt x="480" y="222"/>
                  </a:cubicBezTo>
                  <a:cubicBezTo>
                    <a:pt x="482" y="221"/>
                    <a:pt x="484" y="221"/>
                    <a:pt x="486" y="221"/>
                  </a:cubicBezTo>
                  <a:cubicBezTo>
                    <a:pt x="487" y="221"/>
                    <a:pt x="488" y="221"/>
                    <a:pt x="489" y="221"/>
                  </a:cubicBezTo>
                  <a:cubicBezTo>
                    <a:pt x="490" y="221"/>
                    <a:pt x="491" y="221"/>
                    <a:pt x="492" y="221"/>
                  </a:cubicBezTo>
                  <a:cubicBezTo>
                    <a:pt x="502" y="221"/>
                    <a:pt x="502" y="221"/>
                    <a:pt x="502" y="221"/>
                  </a:cubicBezTo>
                  <a:cubicBezTo>
                    <a:pt x="502" y="220"/>
                    <a:pt x="502" y="220"/>
                    <a:pt x="502" y="220"/>
                  </a:cubicBezTo>
                  <a:cubicBezTo>
                    <a:pt x="503" y="220"/>
                    <a:pt x="503" y="220"/>
                    <a:pt x="503" y="220"/>
                  </a:cubicBezTo>
                  <a:cubicBezTo>
                    <a:pt x="503" y="219"/>
                    <a:pt x="503" y="219"/>
                    <a:pt x="503" y="218"/>
                  </a:cubicBezTo>
                  <a:cubicBezTo>
                    <a:pt x="503" y="218"/>
                    <a:pt x="503" y="218"/>
                    <a:pt x="503" y="218"/>
                  </a:cubicBezTo>
                  <a:cubicBezTo>
                    <a:pt x="502" y="218"/>
                    <a:pt x="502" y="218"/>
                    <a:pt x="502" y="218"/>
                  </a:cubicBezTo>
                  <a:cubicBezTo>
                    <a:pt x="502" y="218"/>
                    <a:pt x="501" y="217"/>
                    <a:pt x="501" y="217"/>
                  </a:cubicBezTo>
                  <a:cubicBezTo>
                    <a:pt x="498" y="215"/>
                    <a:pt x="495" y="213"/>
                    <a:pt x="493" y="210"/>
                  </a:cubicBezTo>
                  <a:cubicBezTo>
                    <a:pt x="493" y="210"/>
                    <a:pt x="493" y="210"/>
                    <a:pt x="493" y="210"/>
                  </a:cubicBezTo>
                  <a:cubicBezTo>
                    <a:pt x="493" y="210"/>
                    <a:pt x="493" y="210"/>
                    <a:pt x="493" y="210"/>
                  </a:cubicBezTo>
                  <a:cubicBezTo>
                    <a:pt x="492" y="209"/>
                    <a:pt x="491" y="208"/>
                    <a:pt x="490" y="207"/>
                  </a:cubicBezTo>
                  <a:cubicBezTo>
                    <a:pt x="489" y="207"/>
                    <a:pt x="489" y="206"/>
                    <a:pt x="488" y="206"/>
                  </a:cubicBezTo>
                  <a:cubicBezTo>
                    <a:pt x="485" y="203"/>
                    <a:pt x="485" y="203"/>
                    <a:pt x="485" y="203"/>
                  </a:cubicBezTo>
                  <a:cubicBezTo>
                    <a:pt x="483" y="201"/>
                    <a:pt x="482" y="200"/>
                    <a:pt x="480" y="198"/>
                  </a:cubicBezTo>
                  <a:cubicBezTo>
                    <a:pt x="473" y="193"/>
                    <a:pt x="473" y="193"/>
                    <a:pt x="473" y="193"/>
                  </a:cubicBezTo>
                  <a:cubicBezTo>
                    <a:pt x="489" y="193"/>
                    <a:pt x="489" y="193"/>
                    <a:pt x="489" y="193"/>
                  </a:cubicBezTo>
                  <a:cubicBezTo>
                    <a:pt x="489" y="193"/>
                    <a:pt x="489" y="193"/>
                    <a:pt x="489" y="193"/>
                  </a:cubicBezTo>
                  <a:cubicBezTo>
                    <a:pt x="488" y="186"/>
                    <a:pt x="488" y="182"/>
                    <a:pt x="490" y="181"/>
                  </a:cubicBezTo>
                  <a:cubicBezTo>
                    <a:pt x="491" y="180"/>
                    <a:pt x="492" y="179"/>
                    <a:pt x="495" y="179"/>
                  </a:cubicBezTo>
                  <a:cubicBezTo>
                    <a:pt x="496" y="179"/>
                    <a:pt x="498" y="179"/>
                    <a:pt x="500" y="179"/>
                  </a:cubicBezTo>
                  <a:cubicBezTo>
                    <a:pt x="501" y="180"/>
                    <a:pt x="501" y="180"/>
                    <a:pt x="501" y="180"/>
                  </a:cubicBezTo>
                  <a:cubicBezTo>
                    <a:pt x="501" y="180"/>
                    <a:pt x="502" y="180"/>
                    <a:pt x="502" y="180"/>
                  </a:cubicBezTo>
                  <a:cubicBezTo>
                    <a:pt x="517" y="180"/>
                    <a:pt x="517" y="180"/>
                    <a:pt x="517" y="180"/>
                  </a:cubicBezTo>
                  <a:cubicBezTo>
                    <a:pt x="522" y="180"/>
                    <a:pt x="527" y="180"/>
                    <a:pt x="532" y="180"/>
                  </a:cubicBezTo>
                  <a:cubicBezTo>
                    <a:pt x="532" y="179"/>
                    <a:pt x="532" y="179"/>
                    <a:pt x="532" y="179"/>
                  </a:cubicBezTo>
                  <a:cubicBezTo>
                    <a:pt x="532" y="179"/>
                    <a:pt x="532" y="179"/>
                    <a:pt x="532" y="179"/>
                  </a:cubicBezTo>
                  <a:cubicBezTo>
                    <a:pt x="533" y="179"/>
                    <a:pt x="533" y="179"/>
                    <a:pt x="533" y="179"/>
                  </a:cubicBezTo>
                  <a:cubicBezTo>
                    <a:pt x="534" y="178"/>
                    <a:pt x="534" y="178"/>
                    <a:pt x="534" y="178"/>
                  </a:cubicBezTo>
                  <a:cubicBezTo>
                    <a:pt x="534" y="177"/>
                    <a:pt x="534" y="177"/>
                    <a:pt x="534" y="177"/>
                  </a:cubicBezTo>
                  <a:cubicBezTo>
                    <a:pt x="535" y="177"/>
                    <a:pt x="535" y="177"/>
                    <a:pt x="536" y="177"/>
                  </a:cubicBezTo>
                  <a:cubicBezTo>
                    <a:pt x="536" y="176"/>
                    <a:pt x="537" y="176"/>
                    <a:pt x="538" y="176"/>
                  </a:cubicBezTo>
                  <a:cubicBezTo>
                    <a:pt x="538" y="176"/>
                    <a:pt x="538" y="176"/>
                    <a:pt x="538" y="176"/>
                  </a:cubicBezTo>
                  <a:cubicBezTo>
                    <a:pt x="539" y="177"/>
                    <a:pt x="540" y="177"/>
                    <a:pt x="540" y="177"/>
                  </a:cubicBezTo>
                  <a:cubicBezTo>
                    <a:pt x="541" y="177"/>
                    <a:pt x="541" y="177"/>
                    <a:pt x="541" y="177"/>
                  </a:cubicBezTo>
                  <a:cubicBezTo>
                    <a:pt x="541" y="177"/>
                    <a:pt x="541" y="177"/>
                    <a:pt x="542" y="175"/>
                  </a:cubicBezTo>
                  <a:cubicBezTo>
                    <a:pt x="543" y="174"/>
                    <a:pt x="544" y="173"/>
                    <a:pt x="544" y="172"/>
                  </a:cubicBezTo>
                  <a:cubicBezTo>
                    <a:pt x="544" y="171"/>
                    <a:pt x="544" y="171"/>
                    <a:pt x="544" y="171"/>
                  </a:cubicBezTo>
                  <a:cubicBezTo>
                    <a:pt x="545" y="171"/>
                    <a:pt x="545" y="171"/>
                    <a:pt x="545" y="171"/>
                  </a:cubicBezTo>
                  <a:cubicBezTo>
                    <a:pt x="546" y="169"/>
                    <a:pt x="546" y="169"/>
                    <a:pt x="546" y="169"/>
                  </a:cubicBezTo>
                  <a:cubicBezTo>
                    <a:pt x="547" y="165"/>
                    <a:pt x="550" y="164"/>
                    <a:pt x="551" y="164"/>
                  </a:cubicBezTo>
                  <a:cubicBezTo>
                    <a:pt x="552" y="164"/>
                    <a:pt x="552" y="164"/>
                    <a:pt x="552" y="164"/>
                  </a:cubicBezTo>
                  <a:cubicBezTo>
                    <a:pt x="553" y="164"/>
                    <a:pt x="554" y="164"/>
                    <a:pt x="555" y="164"/>
                  </a:cubicBezTo>
                  <a:cubicBezTo>
                    <a:pt x="556" y="164"/>
                    <a:pt x="556" y="164"/>
                    <a:pt x="556" y="164"/>
                  </a:cubicBezTo>
                  <a:cubicBezTo>
                    <a:pt x="556" y="164"/>
                    <a:pt x="556" y="164"/>
                    <a:pt x="556" y="164"/>
                  </a:cubicBezTo>
                  <a:cubicBezTo>
                    <a:pt x="557" y="163"/>
                    <a:pt x="558" y="162"/>
                    <a:pt x="557" y="160"/>
                  </a:cubicBezTo>
                  <a:cubicBezTo>
                    <a:pt x="558" y="160"/>
                    <a:pt x="559" y="159"/>
                    <a:pt x="560" y="158"/>
                  </a:cubicBezTo>
                  <a:cubicBezTo>
                    <a:pt x="560" y="160"/>
                    <a:pt x="559" y="164"/>
                    <a:pt x="559" y="166"/>
                  </a:cubicBezTo>
                  <a:cubicBezTo>
                    <a:pt x="560" y="169"/>
                    <a:pt x="563" y="172"/>
                    <a:pt x="565" y="174"/>
                  </a:cubicBezTo>
                  <a:cubicBezTo>
                    <a:pt x="567" y="165"/>
                    <a:pt x="568" y="154"/>
                    <a:pt x="574" y="147"/>
                  </a:cubicBezTo>
                  <a:cubicBezTo>
                    <a:pt x="573" y="147"/>
                    <a:pt x="573" y="147"/>
                    <a:pt x="572" y="147"/>
                  </a:cubicBezTo>
                  <a:cubicBezTo>
                    <a:pt x="571" y="147"/>
                    <a:pt x="571" y="148"/>
                    <a:pt x="570" y="149"/>
                  </a:cubicBezTo>
                  <a:cubicBezTo>
                    <a:pt x="570" y="149"/>
                    <a:pt x="570" y="149"/>
                    <a:pt x="569" y="149"/>
                  </a:cubicBezTo>
                  <a:cubicBezTo>
                    <a:pt x="567" y="149"/>
                    <a:pt x="571" y="145"/>
                    <a:pt x="572" y="144"/>
                  </a:cubicBezTo>
                  <a:cubicBezTo>
                    <a:pt x="572" y="144"/>
                    <a:pt x="572" y="144"/>
                    <a:pt x="572" y="144"/>
                  </a:cubicBezTo>
                  <a:cubicBezTo>
                    <a:pt x="574" y="144"/>
                    <a:pt x="575" y="142"/>
                    <a:pt x="575" y="140"/>
                  </a:cubicBezTo>
                  <a:cubicBezTo>
                    <a:pt x="574" y="141"/>
                    <a:pt x="572" y="141"/>
                    <a:pt x="570" y="141"/>
                  </a:cubicBezTo>
                  <a:cubicBezTo>
                    <a:pt x="568" y="141"/>
                    <a:pt x="567" y="141"/>
                    <a:pt x="567" y="138"/>
                  </a:cubicBezTo>
                  <a:cubicBezTo>
                    <a:pt x="568" y="136"/>
                    <a:pt x="572" y="136"/>
                    <a:pt x="573" y="135"/>
                  </a:cubicBezTo>
                  <a:cubicBezTo>
                    <a:pt x="574" y="134"/>
                    <a:pt x="573" y="131"/>
                    <a:pt x="574" y="130"/>
                  </a:cubicBezTo>
                  <a:cubicBezTo>
                    <a:pt x="574" y="129"/>
                    <a:pt x="573" y="127"/>
                    <a:pt x="574" y="126"/>
                  </a:cubicBezTo>
                  <a:cubicBezTo>
                    <a:pt x="576" y="121"/>
                    <a:pt x="582" y="117"/>
                    <a:pt x="585" y="112"/>
                  </a:cubicBezTo>
                  <a:cubicBezTo>
                    <a:pt x="587" y="109"/>
                    <a:pt x="588" y="106"/>
                    <a:pt x="590" y="103"/>
                  </a:cubicBezTo>
                  <a:cubicBezTo>
                    <a:pt x="590" y="103"/>
                    <a:pt x="589" y="99"/>
                    <a:pt x="589" y="98"/>
                  </a:cubicBezTo>
                  <a:cubicBezTo>
                    <a:pt x="588" y="96"/>
                    <a:pt x="587" y="94"/>
                    <a:pt x="585" y="93"/>
                  </a:cubicBezTo>
                  <a:cubicBezTo>
                    <a:pt x="584" y="92"/>
                    <a:pt x="584" y="92"/>
                    <a:pt x="583" y="92"/>
                  </a:cubicBezTo>
                  <a:cubicBezTo>
                    <a:pt x="582" y="92"/>
                    <a:pt x="581" y="93"/>
                    <a:pt x="579" y="93"/>
                  </a:cubicBezTo>
                  <a:cubicBezTo>
                    <a:pt x="579" y="93"/>
                    <a:pt x="577" y="92"/>
                    <a:pt x="576" y="92"/>
                  </a:cubicBezTo>
                  <a:cubicBezTo>
                    <a:pt x="576" y="92"/>
                    <a:pt x="576" y="92"/>
                    <a:pt x="576" y="92"/>
                  </a:cubicBezTo>
                  <a:cubicBezTo>
                    <a:pt x="575" y="92"/>
                    <a:pt x="574" y="93"/>
                    <a:pt x="573" y="94"/>
                  </a:cubicBezTo>
                  <a:cubicBezTo>
                    <a:pt x="569" y="93"/>
                    <a:pt x="565" y="92"/>
                    <a:pt x="561" y="92"/>
                  </a:cubicBezTo>
                  <a:cubicBezTo>
                    <a:pt x="559" y="92"/>
                    <a:pt x="558" y="92"/>
                    <a:pt x="557" y="92"/>
                  </a:cubicBezTo>
                  <a:cubicBezTo>
                    <a:pt x="552" y="92"/>
                    <a:pt x="547" y="94"/>
                    <a:pt x="541" y="96"/>
                  </a:cubicBezTo>
                  <a:cubicBezTo>
                    <a:pt x="536" y="98"/>
                    <a:pt x="529" y="98"/>
                    <a:pt x="523" y="99"/>
                  </a:cubicBezTo>
                  <a:cubicBezTo>
                    <a:pt x="520" y="99"/>
                    <a:pt x="517" y="100"/>
                    <a:pt x="515" y="101"/>
                  </a:cubicBezTo>
                  <a:cubicBezTo>
                    <a:pt x="512" y="103"/>
                    <a:pt x="507" y="106"/>
                    <a:pt x="506" y="109"/>
                  </a:cubicBezTo>
                  <a:cubicBezTo>
                    <a:pt x="505" y="112"/>
                    <a:pt x="505" y="116"/>
                    <a:pt x="504" y="119"/>
                  </a:cubicBezTo>
                  <a:cubicBezTo>
                    <a:pt x="503" y="122"/>
                    <a:pt x="504" y="126"/>
                    <a:pt x="503" y="128"/>
                  </a:cubicBezTo>
                  <a:cubicBezTo>
                    <a:pt x="503" y="131"/>
                    <a:pt x="499" y="133"/>
                    <a:pt x="499" y="136"/>
                  </a:cubicBezTo>
                  <a:cubicBezTo>
                    <a:pt x="499" y="138"/>
                    <a:pt x="499" y="141"/>
                    <a:pt x="498" y="143"/>
                  </a:cubicBezTo>
                  <a:cubicBezTo>
                    <a:pt x="498" y="145"/>
                    <a:pt x="498" y="146"/>
                    <a:pt x="496" y="147"/>
                  </a:cubicBezTo>
                  <a:cubicBezTo>
                    <a:pt x="495" y="148"/>
                    <a:pt x="484" y="156"/>
                    <a:pt x="482" y="157"/>
                  </a:cubicBezTo>
                  <a:cubicBezTo>
                    <a:pt x="483" y="156"/>
                    <a:pt x="485" y="156"/>
                    <a:pt x="486" y="155"/>
                  </a:cubicBezTo>
                  <a:cubicBezTo>
                    <a:pt x="485" y="157"/>
                    <a:pt x="484" y="158"/>
                    <a:pt x="483" y="160"/>
                  </a:cubicBezTo>
                  <a:cubicBezTo>
                    <a:pt x="484" y="160"/>
                    <a:pt x="484" y="160"/>
                    <a:pt x="484" y="160"/>
                  </a:cubicBezTo>
                  <a:cubicBezTo>
                    <a:pt x="484" y="160"/>
                    <a:pt x="484" y="160"/>
                    <a:pt x="485" y="160"/>
                  </a:cubicBezTo>
                  <a:cubicBezTo>
                    <a:pt x="486" y="160"/>
                    <a:pt x="485" y="162"/>
                    <a:pt x="485" y="163"/>
                  </a:cubicBezTo>
                  <a:cubicBezTo>
                    <a:pt x="486" y="163"/>
                    <a:pt x="487" y="163"/>
                    <a:pt x="487" y="162"/>
                  </a:cubicBezTo>
                  <a:cubicBezTo>
                    <a:pt x="483" y="165"/>
                    <a:pt x="478" y="167"/>
                    <a:pt x="474" y="168"/>
                  </a:cubicBezTo>
                  <a:cubicBezTo>
                    <a:pt x="474" y="169"/>
                    <a:pt x="473" y="169"/>
                    <a:pt x="473" y="169"/>
                  </a:cubicBezTo>
                  <a:cubicBezTo>
                    <a:pt x="471" y="169"/>
                    <a:pt x="471" y="164"/>
                    <a:pt x="468" y="163"/>
                  </a:cubicBezTo>
                  <a:cubicBezTo>
                    <a:pt x="469" y="163"/>
                    <a:pt x="469" y="163"/>
                    <a:pt x="470" y="163"/>
                  </a:cubicBezTo>
                  <a:cubicBezTo>
                    <a:pt x="470" y="163"/>
                    <a:pt x="471" y="163"/>
                    <a:pt x="472" y="163"/>
                  </a:cubicBezTo>
                  <a:cubicBezTo>
                    <a:pt x="471" y="163"/>
                    <a:pt x="470" y="161"/>
                    <a:pt x="469" y="161"/>
                  </a:cubicBezTo>
                  <a:cubicBezTo>
                    <a:pt x="469" y="161"/>
                    <a:pt x="468" y="161"/>
                    <a:pt x="468" y="161"/>
                  </a:cubicBezTo>
                  <a:cubicBezTo>
                    <a:pt x="465" y="161"/>
                    <a:pt x="461" y="162"/>
                    <a:pt x="459" y="162"/>
                  </a:cubicBezTo>
                  <a:cubicBezTo>
                    <a:pt x="456" y="163"/>
                    <a:pt x="454" y="165"/>
                    <a:pt x="453" y="167"/>
                  </a:cubicBezTo>
                  <a:cubicBezTo>
                    <a:pt x="453" y="165"/>
                    <a:pt x="453" y="164"/>
                    <a:pt x="451" y="164"/>
                  </a:cubicBezTo>
                  <a:cubicBezTo>
                    <a:pt x="451" y="164"/>
                    <a:pt x="451" y="164"/>
                    <a:pt x="451" y="164"/>
                  </a:cubicBezTo>
                  <a:cubicBezTo>
                    <a:pt x="448" y="164"/>
                    <a:pt x="444" y="167"/>
                    <a:pt x="441" y="168"/>
                  </a:cubicBezTo>
                  <a:cubicBezTo>
                    <a:pt x="435" y="168"/>
                    <a:pt x="433" y="168"/>
                    <a:pt x="429" y="171"/>
                  </a:cubicBezTo>
                  <a:cubicBezTo>
                    <a:pt x="425" y="173"/>
                    <a:pt x="421" y="173"/>
                    <a:pt x="417" y="174"/>
                  </a:cubicBezTo>
                  <a:cubicBezTo>
                    <a:pt x="416" y="174"/>
                    <a:pt x="414" y="174"/>
                    <a:pt x="413" y="174"/>
                  </a:cubicBezTo>
                  <a:cubicBezTo>
                    <a:pt x="410" y="174"/>
                    <a:pt x="408" y="173"/>
                    <a:pt x="406" y="170"/>
                  </a:cubicBezTo>
                  <a:cubicBezTo>
                    <a:pt x="405" y="169"/>
                    <a:pt x="404" y="166"/>
                    <a:pt x="402" y="165"/>
                  </a:cubicBezTo>
                  <a:cubicBezTo>
                    <a:pt x="401" y="165"/>
                    <a:pt x="399" y="165"/>
                    <a:pt x="397" y="164"/>
                  </a:cubicBezTo>
                  <a:cubicBezTo>
                    <a:pt x="395" y="163"/>
                    <a:pt x="394" y="161"/>
                    <a:pt x="392" y="161"/>
                  </a:cubicBezTo>
                  <a:cubicBezTo>
                    <a:pt x="392" y="161"/>
                    <a:pt x="392" y="161"/>
                    <a:pt x="392" y="161"/>
                  </a:cubicBezTo>
                  <a:cubicBezTo>
                    <a:pt x="391" y="161"/>
                    <a:pt x="389" y="161"/>
                    <a:pt x="388" y="161"/>
                  </a:cubicBezTo>
                  <a:cubicBezTo>
                    <a:pt x="388" y="161"/>
                    <a:pt x="387" y="161"/>
                    <a:pt x="386" y="161"/>
                  </a:cubicBezTo>
                  <a:cubicBezTo>
                    <a:pt x="385" y="161"/>
                    <a:pt x="383" y="161"/>
                    <a:pt x="382" y="161"/>
                  </a:cubicBezTo>
                  <a:cubicBezTo>
                    <a:pt x="380" y="161"/>
                    <a:pt x="378" y="161"/>
                    <a:pt x="378" y="165"/>
                  </a:cubicBezTo>
                  <a:cubicBezTo>
                    <a:pt x="377" y="165"/>
                    <a:pt x="376" y="166"/>
                    <a:pt x="375" y="167"/>
                  </a:cubicBezTo>
                  <a:cubicBezTo>
                    <a:pt x="375" y="165"/>
                    <a:pt x="376" y="164"/>
                    <a:pt x="377" y="162"/>
                  </a:cubicBezTo>
                  <a:cubicBezTo>
                    <a:pt x="379" y="159"/>
                    <a:pt x="377" y="160"/>
                    <a:pt x="376" y="158"/>
                  </a:cubicBezTo>
                  <a:cubicBezTo>
                    <a:pt x="378" y="158"/>
                    <a:pt x="379" y="159"/>
                    <a:pt x="380" y="159"/>
                  </a:cubicBezTo>
                  <a:cubicBezTo>
                    <a:pt x="381" y="159"/>
                    <a:pt x="381" y="159"/>
                    <a:pt x="381" y="159"/>
                  </a:cubicBezTo>
                  <a:cubicBezTo>
                    <a:pt x="377" y="154"/>
                    <a:pt x="371" y="150"/>
                    <a:pt x="368" y="144"/>
                  </a:cubicBezTo>
                  <a:cubicBezTo>
                    <a:pt x="367" y="141"/>
                    <a:pt x="367" y="136"/>
                    <a:pt x="365" y="133"/>
                  </a:cubicBezTo>
                  <a:cubicBezTo>
                    <a:pt x="363" y="131"/>
                    <a:pt x="361" y="127"/>
                    <a:pt x="358" y="125"/>
                  </a:cubicBezTo>
                  <a:cubicBezTo>
                    <a:pt x="355" y="122"/>
                    <a:pt x="352" y="119"/>
                    <a:pt x="350" y="116"/>
                  </a:cubicBezTo>
                  <a:cubicBezTo>
                    <a:pt x="348" y="113"/>
                    <a:pt x="346" y="109"/>
                    <a:pt x="345" y="105"/>
                  </a:cubicBezTo>
                  <a:cubicBezTo>
                    <a:pt x="342" y="98"/>
                    <a:pt x="338" y="92"/>
                    <a:pt x="336" y="84"/>
                  </a:cubicBezTo>
                  <a:cubicBezTo>
                    <a:pt x="338" y="87"/>
                    <a:pt x="341" y="89"/>
                    <a:pt x="342" y="92"/>
                  </a:cubicBezTo>
                  <a:cubicBezTo>
                    <a:pt x="344" y="94"/>
                    <a:pt x="343" y="93"/>
                    <a:pt x="343" y="96"/>
                  </a:cubicBezTo>
                  <a:cubicBezTo>
                    <a:pt x="342" y="97"/>
                    <a:pt x="342" y="98"/>
                    <a:pt x="343" y="99"/>
                  </a:cubicBezTo>
                  <a:cubicBezTo>
                    <a:pt x="343" y="98"/>
                    <a:pt x="345" y="95"/>
                    <a:pt x="345" y="94"/>
                  </a:cubicBezTo>
                  <a:cubicBezTo>
                    <a:pt x="345" y="88"/>
                    <a:pt x="336" y="83"/>
                    <a:pt x="334" y="78"/>
                  </a:cubicBezTo>
                  <a:cubicBezTo>
                    <a:pt x="333" y="74"/>
                    <a:pt x="334" y="69"/>
                    <a:pt x="333" y="65"/>
                  </a:cubicBezTo>
                  <a:cubicBezTo>
                    <a:pt x="332" y="61"/>
                    <a:pt x="334" y="57"/>
                    <a:pt x="334" y="53"/>
                  </a:cubicBezTo>
                  <a:cubicBezTo>
                    <a:pt x="335" y="45"/>
                    <a:pt x="336" y="38"/>
                    <a:pt x="336" y="30"/>
                  </a:cubicBezTo>
                  <a:cubicBezTo>
                    <a:pt x="336" y="32"/>
                    <a:pt x="336" y="35"/>
                    <a:pt x="335" y="37"/>
                  </a:cubicBezTo>
                  <a:cubicBezTo>
                    <a:pt x="334" y="31"/>
                    <a:pt x="331" y="24"/>
                    <a:pt x="334" y="18"/>
                  </a:cubicBezTo>
                  <a:cubicBezTo>
                    <a:pt x="335" y="16"/>
                    <a:pt x="338" y="11"/>
                    <a:pt x="337" y="9"/>
                  </a:cubicBezTo>
                  <a:cubicBezTo>
                    <a:pt x="335" y="7"/>
                    <a:pt x="335" y="3"/>
                    <a:pt x="336" y="0"/>
                  </a:cubicBezTo>
                  <a:moveTo>
                    <a:pt x="340" y="0"/>
                  </a:moveTo>
                  <a:cubicBezTo>
                    <a:pt x="337" y="0"/>
                    <a:pt x="337" y="0"/>
                    <a:pt x="337" y="0"/>
                  </a:cubicBezTo>
                  <a:cubicBezTo>
                    <a:pt x="338" y="0"/>
                    <a:pt x="339" y="1"/>
                    <a:pt x="340" y="1"/>
                  </a:cubicBezTo>
                  <a:cubicBezTo>
                    <a:pt x="340" y="1"/>
                    <a:pt x="340" y="1"/>
                    <a:pt x="340" y="1"/>
                  </a:cubicBezTo>
                  <a:cubicBezTo>
                    <a:pt x="341" y="1"/>
                    <a:pt x="340" y="0"/>
                    <a:pt x="340" y="0"/>
                  </a:cubicBezTo>
                  <a:moveTo>
                    <a:pt x="343" y="0"/>
                  </a:moveTo>
                  <a:cubicBezTo>
                    <a:pt x="342" y="0"/>
                    <a:pt x="342" y="0"/>
                    <a:pt x="342" y="0"/>
                  </a:cubicBezTo>
                  <a:cubicBezTo>
                    <a:pt x="342" y="3"/>
                    <a:pt x="340" y="7"/>
                    <a:pt x="340" y="11"/>
                  </a:cubicBezTo>
                  <a:cubicBezTo>
                    <a:pt x="341" y="7"/>
                    <a:pt x="342" y="3"/>
                    <a:pt x="3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274"/>
            <p:cNvSpPr/>
            <p:nvPr/>
          </p:nvSpPr>
          <p:spPr bwMode="auto">
            <a:xfrm>
              <a:off x="8248561" y="440629"/>
              <a:ext cx="273980" cy="186420"/>
            </a:xfrm>
            <a:custGeom>
              <a:gdLst>
                <a:gd name="T0" fmla="*/ 14 w 82"/>
                <a:gd name="T1" fmla="*/ 2 h 56"/>
                <a:gd name="T2" fmla="*/ 3 w 82"/>
                <a:gd name="T3" fmla="*/ 2 h 56"/>
                <a:gd name="T4" fmla="*/ 4 w 82"/>
                <a:gd name="T5" fmla="*/ 3 h 56"/>
                <a:gd name="T6" fmla="*/ 5 w 82"/>
                <a:gd name="T7" fmla="*/ 7 h 56"/>
                <a:gd name="T8" fmla="*/ 6 w 82"/>
                <a:gd name="T9" fmla="*/ 10 h 56"/>
                <a:gd name="T10" fmla="*/ 5 w 82"/>
                <a:gd name="T11" fmla="*/ 13 h 56"/>
                <a:gd name="T12" fmla="*/ 7 w 82"/>
                <a:gd name="T13" fmla="*/ 14 h 56"/>
                <a:gd name="T14" fmla="*/ 8 w 82"/>
                <a:gd name="T15" fmla="*/ 15 h 56"/>
                <a:gd name="T16" fmla="*/ 5 w 82"/>
                <a:gd name="T17" fmla="*/ 26 h 56"/>
                <a:gd name="T18" fmla="*/ 5 w 82"/>
                <a:gd name="T19" fmla="*/ 29 h 56"/>
                <a:gd name="T20" fmla="*/ 4 w 82"/>
                <a:gd name="T21" fmla="*/ 30 h 56"/>
                <a:gd name="T22" fmla="*/ 0 w 82"/>
                <a:gd name="T23" fmla="*/ 33 h 56"/>
                <a:gd name="T24" fmla="*/ 3 w 82"/>
                <a:gd name="T25" fmla="*/ 35 h 56"/>
                <a:gd name="T26" fmla="*/ 5 w 82"/>
                <a:gd name="T27" fmla="*/ 41 h 56"/>
                <a:gd name="T28" fmla="*/ 4 w 82"/>
                <a:gd name="T29" fmla="*/ 43 h 56"/>
                <a:gd name="T30" fmla="*/ 4 w 82"/>
                <a:gd name="T31" fmla="*/ 46 h 56"/>
                <a:gd name="T32" fmla="*/ 3 w 82"/>
                <a:gd name="T33" fmla="*/ 47 h 56"/>
                <a:gd name="T34" fmla="*/ 4 w 82"/>
                <a:gd name="T35" fmla="*/ 52 h 56"/>
                <a:gd name="T36" fmla="*/ 9 w 82"/>
                <a:gd name="T37" fmla="*/ 56 h 56"/>
                <a:gd name="T38" fmla="*/ 12 w 82"/>
                <a:gd name="T39" fmla="*/ 52 h 56"/>
                <a:gd name="T40" fmla="*/ 18 w 82"/>
                <a:gd name="T41" fmla="*/ 39 h 56"/>
                <a:gd name="T42" fmla="*/ 19 w 82"/>
                <a:gd name="T43" fmla="*/ 39 h 56"/>
                <a:gd name="T44" fmla="*/ 23 w 82"/>
                <a:gd name="T45" fmla="*/ 39 h 56"/>
                <a:gd name="T46" fmla="*/ 28 w 82"/>
                <a:gd name="T47" fmla="*/ 36 h 56"/>
                <a:gd name="T48" fmla="*/ 29 w 82"/>
                <a:gd name="T49" fmla="*/ 39 h 56"/>
                <a:gd name="T50" fmla="*/ 37 w 82"/>
                <a:gd name="T51" fmla="*/ 40 h 56"/>
                <a:gd name="T52" fmla="*/ 47 w 82"/>
                <a:gd name="T53" fmla="*/ 35 h 56"/>
                <a:gd name="T54" fmla="*/ 59 w 82"/>
                <a:gd name="T55" fmla="*/ 37 h 56"/>
                <a:gd name="T56" fmla="*/ 65 w 82"/>
                <a:gd name="T57" fmla="*/ 36 h 56"/>
                <a:gd name="T58" fmla="*/ 74 w 82"/>
                <a:gd name="T59" fmla="*/ 41 h 56"/>
                <a:gd name="T60" fmla="*/ 80 w 82"/>
                <a:gd name="T61" fmla="*/ 35 h 56"/>
                <a:gd name="T62" fmla="*/ 75 w 82"/>
                <a:gd name="T63" fmla="*/ 26 h 56"/>
                <a:gd name="T64" fmla="*/ 56 w 82"/>
                <a:gd name="T65" fmla="*/ 21 h 56"/>
                <a:gd name="T66" fmla="*/ 54 w 82"/>
                <a:gd name="T67" fmla="*/ 17 h 56"/>
                <a:gd name="T68" fmla="*/ 61 w 82"/>
                <a:gd name="T69" fmla="*/ 14 h 56"/>
                <a:gd name="T70" fmla="*/ 58 w 82"/>
                <a:gd name="T71" fmla="*/ 15 h 56"/>
                <a:gd name="T72" fmla="*/ 53 w 82"/>
                <a:gd name="T73" fmla="*/ 15 h 56"/>
                <a:gd name="T74" fmla="*/ 50 w 82"/>
                <a:gd name="T75" fmla="*/ 16 h 56"/>
                <a:gd name="T76" fmla="*/ 46 w 82"/>
                <a:gd name="T77" fmla="*/ 7 h 56"/>
                <a:gd name="T78" fmla="*/ 41 w 82"/>
                <a:gd name="T79" fmla="*/ 7 h 56"/>
                <a:gd name="T80" fmla="*/ 24 w 82"/>
                <a:gd name="T81" fmla="*/ 1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 h="56">
                  <a:moveTo>
                    <a:pt x="20" y="0"/>
                  </a:moveTo>
                  <a:cubicBezTo>
                    <a:pt x="18" y="0"/>
                    <a:pt x="17" y="1"/>
                    <a:pt x="14" y="2"/>
                  </a:cubicBezTo>
                  <a:cubicBezTo>
                    <a:pt x="11" y="2"/>
                    <a:pt x="8" y="1"/>
                    <a:pt x="4" y="1"/>
                  </a:cubicBezTo>
                  <a:cubicBezTo>
                    <a:pt x="4" y="2"/>
                    <a:pt x="3" y="1"/>
                    <a:pt x="3" y="2"/>
                  </a:cubicBezTo>
                  <a:cubicBezTo>
                    <a:pt x="2" y="3"/>
                    <a:pt x="2" y="3"/>
                    <a:pt x="2" y="4"/>
                  </a:cubicBezTo>
                  <a:cubicBezTo>
                    <a:pt x="4" y="3"/>
                    <a:pt x="4" y="3"/>
                    <a:pt x="4" y="3"/>
                  </a:cubicBezTo>
                  <a:cubicBezTo>
                    <a:pt x="4" y="5"/>
                    <a:pt x="4" y="5"/>
                    <a:pt x="4" y="5"/>
                  </a:cubicBezTo>
                  <a:cubicBezTo>
                    <a:pt x="5" y="6"/>
                    <a:pt x="5" y="7"/>
                    <a:pt x="5" y="7"/>
                  </a:cubicBezTo>
                  <a:cubicBezTo>
                    <a:pt x="5" y="8"/>
                    <a:pt x="5" y="8"/>
                    <a:pt x="5" y="8"/>
                  </a:cubicBezTo>
                  <a:cubicBezTo>
                    <a:pt x="6" y="9"/>
                    <a:pt x="6" y="10"/>
                    <a:pt x="6" y="10"/>
                  </a:cubicBezTo>
                  <a:cubicBezTo>
                    <a:pt x="6" y="12"/>
                    <a:pt x="6" y="13"/>
                    <a:pt x="5" y="13"/>
                  </a:cubicBezTo>
                  <a:cubicBezTo>
                    <a:pt x="5" y="13"/>
                    <a:pt x="5" y="13"/>
                    <a:pt x="5" y="13"/>
                  </a:cubicBezTo>
                  <a:cubicBezTo>
                    <a:pt x="6" y="14"/>
                    <a:pt x="6" y="14"/>
                    <a:pt x="6" y="14"/>
                  </a:cubicBezTo>
                  <a:cubicBezTo>
                    <a:pt x="7" y="14"/>
                    <a:pt x="7" y="14"/>
                    <a:pt x="7" y="14"/>
                  </a:cubicBezTo>
                  <a:cubicBezTo>
                    <a:pt x="7" y="15"/>
                    <a:pt x="7" y="15"/>
                    <a:pt x="7" y="15"/>
                  </a:cubicBezTo>
                  <a:cubicBezTo>
                    <a:pt x="8" y="15"/>
                    <a:pt x="8" y="15"/>
                    <a:pt x="8" y="15"/>
                  </a:cubicBezTo>
                  <a:cubicBezTo>
                    <a:pt x="7" y="18"/>
                    <a:pt x="7" y="18"/>
                    <a:pt x="7" y="18"/>
                  </a:cubicBezTo>
                  <a:cubicBezTo>
                    <a:pt x="5" y="26"/>
                    <a:pt x="5" y="26"/>
                    <a:pt x="5" y="26"/>
                  </a:cubicBezTo>
                  <a:cubicBezTo>
                    <a:pt x="5" y="27"/>
                    <a:pt x="5" y="27"/>
                    <a:pt x="5" y="28"/>
                  </a:cubicBezTo>
                  <a:cubicBezTo>
                    <a:pt x="5" y="29"/>
                    <a:pt x="5" y="29"/>
                    <a:pt x="5" y="29"/>
                  </a:cubicBezTo>
                  <a:cubicBezTo>
                    <a:pt x="5" y="32"/>
                    <a:pt x="5" y="32"/>
                    <a:pt x="5" y="32"/>
                  </a:cubicBezTo>
                  <a:cubicBezTo>
                    <a:pt x="4" y="30"/>
                    <a:pt x="4" y="30"/>
                    <a:pt x="4" y="30"/>
                  </a:cubicBezTo>
                  <a:cubicBezTo>
                    <a:pt x="4" y="31"/>
                    <a:pt x="3" y="31"/>
                    <a:pt x="3" y="31"/>
                  </a:cubicBezTo>
                  <a:cubicBezTo>
                    <a:pt x="2" y="32"/>
                    <a:pt x="1" y="32"/>
                    <a:pt x="0" y="33"/>
                  </a:cubicBezTo>
                  <a:cubicBezTo>
                    <a:pt x="1" y="33"/>
                    <a:pt x="2" y="34"/>
                    <a:pt x="2" y="34"/>
                  </a:cubicBezTo>
                  <a:cubicBezTo>
                    <a:pt x="3" y="35"/>
                    <a:pt x="3" y="35"/>
                    <a:pt x="3" y="35"/>
                  </a:cubicBezTo>
                  <a:cubicBezTo>
                    <a:pt x="3" y="35"/>
                    <a:pt x="3" y="35"/>
                    <a:pt x="3" y="35"/>
                  </a:cubicBezTo>
                  <a:cubicBezTo>
                    <a:pt x="5" y="37"/>
                    <a:pt x="5" y="39"/>
                    <a:pt x="5" y="41"/>
                  </a:cubicBezTo>
                  <a:cubicBezTo>
                    <a:pt x="5" y="41"/>
                    <a:pt x="5" y="41"/>
                    <a:pt x="5" y="41"/>
                  </a:cubicBezTo>
                  <a:cubicBezTo>
                    <a:pt x="5" y="42"/>
                    <a:pt x="5" y="43"/>
                    <a:pt x="4" y="43"/>
                  </a:cubicBezTo>
                  <a:cubicBezTo>
                    <a:pt x="4" y="44"/>
                    <a:pt x="4" y="44"/>
                    <a:pt x="4" y="44"/>
                  </a:cubicBezTo>
                  <a:cubicBezTo>
                    <a:pt x="4" y="46"/>
                    <a:pt x="4" y="46"/>
                    <a:pt x="4" y="46"/>
                  </a:cubicBezTo>
                  <a:cubicBezTo>
                    <a:pt x="4" y="46"/>
                    <a:pt x="4" y="46"/>
                    <a:pt x="4" y="46"/>
                  </a:cubicBezTo>
                  <a:cubicBezTo>
                    <a:pt x="3" y="47"/>
                    <a:pt x="3" y="47"/>
                    <a:pt x="3" y="47"/>
                  </a:cubicBezTo>
                  <a:cubicBezTo>
                    <a:pt x="2" y="47"/>
                    <a:pt x="2" y="47"/>
                    <a:pt x="2" y="47"/>
                  </a:cubicBezTo>
                  <a:cubicBezTo>
                    <a:pt x="3" y="49"/>
                    <a:pt x="3" y="51"/>
                    <a:pt x="4" y="52"/>
                  </a:cubicBezTo>
                  <a:cubicBezTo>
                    <a:pt x="4" y="51"/>
                    <a:pt x="4" y="51"/>
                    <a:pt x="4" y="51"/>
                  </a:cubicBezTo>
                  <a:cubicBezTo>
                    <a:pt x="5" y="53"/>
                    <a:pt x="7" y="56"/>
                    <a:pt x="9" y="56"/>
                  </a:cubicBezTo>
                  <a:cubicBezTo>
                    <a:pt x="10" y="56"/>
                    <a:pt x="10" y="56"/>
                    <a:pt x="10" y="55"/>
                  </a:cubicBezTo>
                  <a:cubicBezTo>
                    <a:pt x="11" y="55"/>
                    <a:pt x="11" y="53"/>
                    <a:pt x="12" y="52"/>
                  </a:cubicBezTo>
                  <a:cubicBezTo>
                    <a:pt x="13" y="50"/>
                    <a:pt x="14" y="48"/>
                    <a:pt x="15" y="45"/>
                  </a:cubicBezTo>
                  <a:cubicBezTo>
                    <a:pt x="15" y="44"/>
                    <a:pt x="17" y="40"/>
                    <a:pt x="18" y="39"/>
                  </a:cubicBezTo>
                  <a:cubicBezTo>
                    <a:pt x="18" y="39"/>
                    <a:pt x="18" y="39"/>
                    <a:pt x="19" y="39"/>
                  </a:cubicBezTo>
                  <a:cubicBezTo>
                    <a:pt x="19" y="39"/>
                    <a:pt x="19" y="39"/>
                    <a:pt x="19" y="39"/>
                  </a:cubicBezTo>
                  <a:cubicBezTo>
                    <a:pt x="20" y="40"/>
                    <a:pt x="20" y="40"/>
                    <a:pt x="21" y="40"/>
                  </a:cubicBezTo>
                  <a:cubicBezTo>
                    <a:pt x="21" y="40"/>
                    <a:pt x="22" y="39"/>
                    <a:pt x="23" y="39"/>
                  </a:cubicBezTo>
                  <a:cubicBezTo>
                    <a:pt x="24" y="38"/>
                    <a:pt x="26" y="36"/>
                    <a:pt x="28" y="36"/>
                  </a:cubicBezTo>
                  <a:cubicBezTo>
                    <a:pt x="28" y="36"/>
                    <a:pt x="28" y="36"/>
                    <a:pt x="28" y="36"/>
                  </a:cubicBezTo>
                  <a:cubicBezTo>
                    <a:pt x="28" y="36"/>
                    <a:pt x="29" y="36"/>
                    <a:pt x="29" y="37"/>
                  </a:cubicBezTo>
                  <a:cubicBezTo>
                    <a:pt x="30" y="37"/>
                    <a:pt x="29" y="39"/>
                    <a:pt x="29" y="39"/>
                  </a:cubicBezTo>
                  <a:cubicBezTo>
                    <a:pt x="29" y="40"/>
                    <a:pt x="32" y="40"/>
                    <a:pt x="33" y="40"/>
                  </a:cubicBezTo>
                  <a:cubicBezTo>
                    <a:pt x="35" y="40"/>
                    <a:pt x="36" y="40"/>
                    <a:pt x="37" y="40"/>
                  </a:cubicBezTo>
                  <a:cubicBezTo>
                    <a:pt x="38" y="40"/>
                    <a:pt x="39" y="40"/>
                    <a:pt x="41" y="38"/>
                  </a:cubicBezTo>
                  <a:cubicBezTo>
                    <a:pt x="43" y="36"/>
                    <a:pt x="45" y="35"/>
                    <a:pt x="47" y="35"/>
                  </a:cubicBezTo>
                  <a:cubicBezTo>
                    <a:pt x="51" y="35"/>
                    <a:pt x="55" y="37"/>
                    <a:pt x="59" y="37"/>
                  </a:cubicBezTo>
                  <a:cubicBezTo>
                    <a:pt x="59" y="37"/>
                    <a:pt x="59" y="37"/>
                    <a:pt x="59" y="37"/>
                  </a:cubicBezTo>
                  <a:cubicBezTo>
                    <a:pt x="60" y="37"/>
                    <a:pt x="61" y="37"/>
                    <a:pt x="62" y="36"/>
                  </a:cubicBezTo>
                  <a:cubicBezTo>
                    <a:pt x="63" y="36"/>
                    <a:pt x="64" y="36"/>
                    <a:pt x="65" y="36"/>
                  </a:cubicBezTo>
                  <a:cubicBezTo>
                    <a:pt x="67" y="36"/>
                    <a:pt x="68" y="36"/>
                    <a:pt x="68" y="37"/>
                  </a:cubicBezTo>
                  <a:cubicBezTo>
                    <a:pt x="71" y="37"/>
                    <a:pt x="73" y="40"/>
                    <a:pt x="74" y="41"/>
                  </a:cubicBezTo>
                  <a:cubicBezTo>
                    <a:pt x="74" y="39"/>
                    <a:pt x="77" y="39"/>
                    <a:pt x="78" y="38"/>
                  </a:cubicBezTo>
                  <a:cubicBezTo>
                    <a:pt x="79" y="38"/>
                    <a:pt x="80" y="35"/>
                    <a:pt x="80" y="35"/>
                  </a:cubicBezTo>
                  <a:cubicBezTo>
                    <a:pt x="82" y="31"/>
                    <a:pt x="82" y="31"/>
                    <a:pt x="79" y="29"/>
                  </a:cubicBezTo>
                  <a:cubicBezTo>
                    <a:pt x="78" y="28"/>
                    <a:pt x="76" y="27"/>
                    <a:pt x="75" y="26"/>
                  </a:cubicBezTo>
                  <a:cubicBezTo>
                    <a:pt x="72" y="23"/>
                    <a:pt x="70" y="23"/>
                    <a:pt x="66" y="22"/>
                  </a:cubicBezTo>
                  <a:cubicBezTo>
                    <a:pt x="62" y="22"/>
                    <a:pt x="59" y="21"/>
                    <a:pt x="56" y="21"/>
                  </a:cubicBezTo>
                  <a:cubicBezTo>
                    <a:pt x="53" y="20"/>
                    <a:pt x="52" y="20"/>
                    <a:pt x="52" y="17"/>
                  </a:cubicBezTo>
                  <a:cubicBezTo>
                    <a:pt x="52" y="17"/>
                    <a:pt x="53" y="17"/>
                    <a:pt x="54" y="17"/>
                  </a:cubicBezTo>
                  <a:cubicBezTo>
                    <a:pt x="56" y="17"/>
                    <a:pt x="60" y="16"/>
                    <a:pt x="62" y="15"/>
                  </a:cubicBezTo>
                  <a:cubicBezTo>
                    <a:pt x="62" y="14"/>
                    <a:pt x="61" y="14"/>
                    <a:pt x="61" y="14"/>
                  </a:cubicBezTo>
                  <a:cubicBezTo>
                    <a:pt x="60" y="14"/>
                    <a:pt x="59" y="15"/>
                    <a:pt x="58" y="15"/>
                  </a:cubicBezTo>
                  <a:cubicBezTo>
                    <a:pt x="58" y="15"/>
                    <a:pt x="58" y="15"/>
                    <a:pt x="58" y="15"/>
                  </a:cubicBezTo>
                  <a:cubicBezTo>
                    <a:pt x="57" y="15"/>
                    <a:pt x="57" y="15"/>
                    <a:pt x="56" y="15"/>
                  </a:cubicBezTo>
                  <a:cubicBezTo>
                    <a:pt x="55" y="15"/>
                    <a:pt x="54" y="15"/>
                    <a:pt x="53" y="15"/>
                  </a:cubicBezTo>
                  <a:cubicBezTo>
                    <a:pt x="53" y="15"/>
                    <a:pt x="53" y="15"/>
                    <a:pt x="53" y="15"/>
                  </a:cubicBezTo>
                  <a:cubicBezTo>
                    <a:pt x="52" y="15"/>
                    <a:pt x="51" y="16"/>
                    <a:pt x="50" y="16"/>
                  </a:cubicBezTo>
                  <a:cubicBezTo>
                    <a:pt x="49" y="16"/>
                    <a:pt x="49" y="16"/>
                    <a:pt x="49" y="15"/>
                  </a:cubicBezTo>
                  <a:cubicBezTo>
                    <a:pt x="47" y="15"/>
                    <a:pt x="47" y="9"/>
                    <a:pt x="46" y="7"/>
                  </a:cubicBezTo>
                  <a:cubicBezTo>
                    <a:pt x="45" y="6"/>
                    <a:pt x="44" y="6"/>
                    <a:pt x="43" y="6"/>
                  </a:cubicBezTo>
                  <a:cubicBezTo>
                    <a:pt x="43" y="6"/>
                    <a:pt x="42" y="6"/>
                    <a:pt x="41" y="7"/>
                  </a:cubicBezTo>
                  <a:cubicBezTo>
                    <a:pt x="41" y="7"/>
                    <a:pt x="40" y="7"/>
                    <a:pt x="40" y="7"/>
                  </a:cubicBezTo>
                  <a:cubicBezTo>
                    <a:pt x="35" y="7"/>
                    <a:pt x="27" y="2"/>
                    <a:pt x="24" y="1"/>
                  </a:cubicBezTo>
                  <a:cubicBezTo>
                    <a:pt x="22" y="0"/>
                    <a:pt x="21"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275"/>
            <p:cNvSpPr/>
            <p:nvPr/>
          </p:nvSpPr>
          <p:spPr bwMode="auto">
            <a:xfrm>
              <a:off x="8042370" y="436393"/>
              <a:ext cx="206191" cy="158175"/>
            </a:xfrm>
            <a:custGeom>
              <a:gdLst>
                <a:gd name="T0" fmla="*/ 31 w 62"/>
                <a:gd name="T1" fmla="*/ 2 h 47"/>
                <a:gd name="T2" fmla="*/ 31 w 62"/>
                <a:gd name="T3" fmla="*/ 8 h 47"/>
                <a:gd name="T4" fmla="*/ 32 w 62"/>
                <a:gd name="T5" fmla="*/ 8 h 47"/>
                <a:gd name="T6" fmla="*/ 38 w 62"/>
                <a:gd name="T7" fmla="*/ 10 h 47"/>
                <a:gd name="T8" fmla="*/ 40 w 62"/>
                <a:gd name="T9" fmla="*/ 12 h 47"/>
                <a:gd name="T10" fmla="*/ 41 w 62"/>
                <a:gd name="T11" fmla="*/ 13 h 47"/>
                <a:gd name="T12" fmla="*/ 41 w 62"/>
                <a:gd name="T13" fmla="*/ 13 h 47"/>
                <a:gd name="T14" fmla="*/ 40 w 62"/>
                <a:gd name="T15" fmla="*/ 18 h 47"/>
                <a:gd name="T16" fmla="*/ 42 w 62"/>
                <a:gd name="T17" fmla="*/ 22 h 47"/>
                <a:gd name="T18" fmla="*/ 50 w 62"/>
                <a:gd name="T19" fmla="*/ 31 h 47"/>
                <a:gd name="T20" fmla="*/ 49 w 62"/>
                <a:gd name="T21" fmla="*/ 34 h 47"/>
                <a:gd name="T22" fmla="*/ 49 w 62"/>
                <a:gd name="T23" fmla="*/ 34 h 47"/>
                <a:gd name="T24" fmla="*/ 46 w 62"/>
                <a:gd name="T25" fmla="*/ 34 h 47"/>
                <a:gd name="T26" fmla="*/ 46 w 62"/>
                <a:gd name="T27" fmla="*/ 34 h 47"/>
                <a:gd name="T28" fmla="*/ 40 w 62"/>
                <a:gd name="T29" fmla="*/ 37 h 47"/>
                <a:gd name="T30" fmla="*/ 26 w 62"/>
                <a:gd name="T31" fmla="*/ 35 h 47"/>
                <a:gd name="T32" fmla="*/ 24 w 62"/>
                <a:gd name="T33" fmla="*/ 35 h 47"/>
                <a:gd name="T34" fmla="*/ 9 w 62"/>
                <a:gd name="T35" fmla="*/ 32 h 47"/>
                <a:gd name="T36" fmla="*/ 7 w 62"/>
                <a:gd name="T37" fmla="*/ 31 h 47"/>
                <a:gd name="T38" fmla="*/ 5 w 62"/>
                <a:gd name="T39" fmla="*/ 31 h 47"/>
                <a:gd name="T40" fmla="*/ 3 w 62"/>
                <a:gd name="T41" fmla="*/ 39 h 47"/>
                <a:gd name="T42" fmla="*/ 6 w 62"/>
                <a:gd name="T43" fmla="*/ 40 h 47"/>
                <a:gd name="T44" fmla="*/ 24 w 62"/>
                <a:gd name="T45" fmla="*/ 41 h 47"/>
                <a:gd name="T46" fmla="*/ 42 w 62"/>
                <a:gd name="T47" fmla="*/ 44 h 47"/>
                <a:gd name="T48" fmla="*/ 53 w 62"/>
                <a:gd name="T49" fmla="*/ 42 h 47"/>
                <a:gd name="T50" fmla="*/ 56 w 62"/>
                <a:gd name="T51" fmla="*/ 42 h 47"/>
                <a:gd name="T52" fmla="*/ 61 w 62"/>
                <a:gd name="T53" fmla="*/ 44 h 47"/>
                <a:gd name="T54" fmla="*/ 61 w 62"/>
                <a:gd name="T55" fmla="*/ 41 h 47"/>
                <a:gd name="T56" fmla="*/ 60 w 62"/>
                <a:gd name="T57" fmla="*/ 40 h 47"/>
                <a:gd name="T58" fmla="*/ 56 w 62"/>
                <a:gd name="T59" fmla="*/ 31 h 47"/>
                <a:gd name="T60" fmla="*/ 58 w 62"/>
                <a:gd name="T61" fmla="*/ 29 h 47"/>
                <a:gd name="T62" fmla="*/ 60 w 62"/>
                <a:gd name="T63" fmla="*/ 28 h 47"/>
                <a:gd name="T64" fmla="*/ 58 w 62"/>
                <a:gd name="T65" fmla="*/ 24 h 47"/>
                <a:gd name="T66" fmla="*/ 59 w 62"/>
                <a:gd name="T67" fmla="*/ 22 h 47"/>
                <a:gd name="T68" fmla="*/ 61 w 62"/>
                <a:gd name="T69" fmla="*/ 20 h 47"/>
                <a:gd name="T70" fmla="*/ 62 w 62"/>
                <a:gd name="T71" fmla="*/ 19 h 47"/>
                <a:gd name="T72" fmla="*/ 62 w 62"/>
                <a:gd name="T73" fmla="*/ 14 h 47"/>
                <a:gd name="T74" fmla="*/ 62 w 62"/>
                <a:gd name="T75" fmla="*/ 12 h 47"/>
                <a:gd name="T76" fmla="*/ 61 w 62"/>
                <a:gd name="T77" fmla="*/ 8 h 47"/>
                <a:gd name="T78" fmla="*/ 61 w 62"/>
                <a:gd name="T79" fmla="*/ 6 h 47"/>
                <a:gd name="T80" fmla="*/ 54 w 62"/>
                <a:gd name="T81" fmla="*/ 5 h 47"/>
                <a:gd name="T82" fmla="*/ 52 w 62"/>
                <a:gd name="T83" fmla="*/ 6 h 47"/>
                <a:gd name="T84" fmla="*/ 43 w 62"/>
                <a:gd name="T85" fmla="*/ 1 h 47"/>
                <a:gd name="T86" fmla="*/ 40 w 62"/>
                <a:gd name="T87"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47">
                  <a:moveTo>
                    <a:pt x="40" y="0"/>
                  </a:moveTo>
                  <a:cubicBezTo>
                    <a:pt x="37" y="0"/>
                    <a:pt x="34" y="1"/>
                    <a:pt x="31" y="2"/>
                  </a:cubicBezTo>
                  <a:cubicBezTo>
                    <a:pt x="28" y="3"/>
                    <a:pt x="27" y="4"/>
                    <a:pt x="25" y="6"/>
                  </a:cubicBezTo>
                  <a:cubicBezTo>
                    <a:pt x="27" y="7"/>
                    <a:pt x="28" y="8"/>
                    <a:pt x="31" y="8"/>
                  </a:cubicBezTo>
                  <a:cubicBezTo>
                    <a:pt x="31" y="8"/>
                    <a:pt x="31" y="8"/>
                    <a:pt x="31" y="8"/>
                  </a:cubicBezTo>
                  <a:cubicBezTo>
                    <a:pt x="32" y="8"/>
                    <a:pt x="32" y="8"/>
                    <a:pt x="32" y="8"/>
                  </a:cubicBezTo>
                  <a:cubicBezTo>
                    <a:pt x="34" y="8"/>
                    <a:pt x="36" y="9"/>
                    <a:pt x="38" y="10"/>
                  </a:cubicBezTo>
                  <a:cubicBezTo>
                    <a:pt x="38" y="10"/>
                    <a:pt x="38" y="10"/>
                    <a:pt x="38" y="10"/>
                  </a:cubicBezTo>
                  <a:cubicBezTo>
                    <a:pt x="39" y="11"/>
                    <a:pt x="39" y="11"/>
                    <a:pt x="39" y="11"/>
                  </a:cubicBezTo>
                  <a:cubicBezTo>
                    <a:pt x="39" y="11"/>
                    <a:pt x="39" y="11"/>
                    <a:pt x="40" y="12"/>
                  </a:cubicBezTo>
                  <a:cubicBezTo>
                    <a:pt x="40" y="12"/>
                    <a:pt x="40" y="12"/>
                    <a:pt x="40" y="12"/>
                  </a:cubicBezTo>
                  <a:cubicBezTo>
                    <a:pt x="41" y="13"/>
                    <a:pt x="41" y="13"/>
                    <a:pt x="41" y="13"/>
                  </a:cubicBezTo>
                  <a:cubicBezTo>
                    <a:pt x="41" y="13"/>
                    <a:pt x="41" y="13"/>
                    <a:pt x="41" y="13"/>
                  </a:cubicBezTo>
                  <a:cubicBezTo>
                    <a:pt x="41" y="13"/>
                    <a:pt x="41" y="13"/>
                    <a:pt x="41" y="13"/>
                  </a:cubicBezTo>
                  <a:cubicBezTo>
                    <a:pt x="41" y="14"/>
                    <a:pt x="42" y="14"/>
                    <a:pt x="42" y="15"/>
                  </a:cubicBezTo>
                  <a:cubicBezTo>
                    <a:pt x="42" y="17"/>
                    <a:pt x="40" y="16"/>
                    <a:pt x="40" y="18"/>
                  </a:cubicBezTo>
                  <a:cubicBezTo>
                    <a:pt x="40" y="19"/>
                    <a:pt x="41" y="21"/>
                    <a:pt x="42" y="22"/>
                  </a:cubicBezTo>
                  <a:cubicBezTo>
                    <a:pt x="42" y="22"/>
                    <a:pt x="42" y="22"/>
                    <a:pt x="42" y="22"/>
                  </a:cubicBezTo>
                  <a:cubicBezTo>
                    <a:pt x="42" y="23"/>
                    <a:pt x="42" y="23"/>
                    <a:pt x="42" y="23"/>
                  </a:cubicBezTo>
                  <a:cubicBezTo>
                    <a:pt x="43" y="25"/>
                    <a:pt x="48" y="28"/>
                    <a:pt x="50" y="31"/>
                  </a:cubicBezTo>
                  <a:cubicBezTo>
                    <a:pt x="50" y="31"/>
                    <a:pt x="50" y="32"/>
                    <a:pt x="50" y="32"/>
                  </a:cubicBezTo>
                  <a:cubicBezTo>
                    <a:pt x="51" y="34"/>
                    <a:pt x="50" y="34"/>
                    <a:pt x="49" y="34"/>
                  </a:cubicBezTo>
                  <a:cubicBezTo>
                    <a:pt x="49" y="34"/>
                    <a:pt x="49" y="34"/>
                    <a:pt x="49" y="34"/>
                  </a:cubicBezTo>
                  <a:cubicBezTo>
                    <a:pt x="49" y="34"/>
                    <a:pt x="49" y="34"/>
                    <a:pt x="49" y="34"/>
                  </a:cubicBezTo>
                  <a:cubicBezTo>
                    <a:pt x="48" y="34"/>
                    <a:pt x="48" y="34"/>
                    <a:pt x="47" y="34"/>
                  </a:cubicBezTo>
                  <a:cubicBezTo>
                    <a:pt x="46" y="34"/>
                    <a:pt x="46" y="34"/>
                    <a:pt x="46" y="34"/>
                  </a:cubicBezTo>
                  <a:cubicBezTo>
                    <a:pt x="46" y="34"/>
                    <a:pt x="46" y="34"/>
                    <a:pt x="46" y="34"/>
                  </a:cubicBezTo>
                  <a:cubicBezTo>
                    <a:pt x="46" y="34"/>
                    <a:pt x="46" y="34"/>
                    <a:pt x="46" y="34"/>
                  </a:cubicBezTo>
                  <a:cubicBezTo>
                    <a:pt x="45" y="35"/>
                    <a:pt x="44" y="35"/>
                    <a:pt x="44" y="36"/>
                  </a:cubicBezTo>
                  <a:cubicBezTo>
                    <a:pt x="42" y="36"/>
                    <a:pt x="42" y="37"/>
                    <a:pt x="40" y="37"/>
                  </a:cubicBezTo>
                  <a:cubicBezTo>
                    <a:pt x="40" y="37"/>
                    <a:pt x="39" y="37"/>
                    <a:pt x="39" y="37"/>
                  </a:cubicBezTo>
                  <a:cubicBezTo>
                    <a:pt x="35" y="36"/>
                    <a:pt x="30" y="35"/>
                    <a:pt x="26" y="35"/>
                  </a:cubicBezTo>
                  <a:cubicBezTo>
                    <a:pt x="26" y="35"/>
                    <a:pt x="26" y="35"/>
                    <a:pt x="25" y="35"/>
                  </a:cubicBezTo>
                  <a:cubicBezTo>
                    <a:pt x="25" y="35"/>
                    <a:pt x="25" y="35"/>
                    <a:pt x="24" y="35"/>
                  </a:cubicBezTo>
                  <a:cubicBezTo>
                    <a:pt x="21" y="35"/>
                    <a:pt x="18" y="35"/>
                    <a:pt x="15" y="34"/>
                  </a:cubicBezTo>
                  <a:cubicBezTo>
                    <a:pt x="13" y="33"/>
                    <a:pt x="10" y="32"/>
                    <a:pt x="9" y="32"/>
                  </a:cubicBezTo>
                  <a:cubicBezTo>
                    <a:pt x="8" y="32"/>
                    <a:pt x="8" y="32"/>
                    <a:pt x="8" y="32"/>
                  </a:cubicBezTo>
                  <a:cubicBezTo>
                    <a:pt x="7" y="31"/>
                    <a:pt x="7" y="31"/>
                    <a:pt x="7" y="31"/>
                  </a:cubicBezTo>
                  <a:cubicBezTo>
                    <a:pt x="7" y="31"/>
                    <a:pt x="7" y="31"/>
                    <a:pt x="7" y="31"/>
                  </a:cubicBezTo>
                  <a:cubicBezTo>
                    <a:pt x="6" y="31"/>
                    <a:pt x="6" y="31"/>
                    <a:pt x="5" y="31"/>
                  </a:cubicBezTo>
                  <a:cubicBezTo>
                    <a:pt x="4" y="31"/>
                    <a:pt x="4" y="31"/>
                    <a:pt x="3" y="32"/>
                  </a:cubicBezTo>
                  <a:cubicBezTo>
                    <a:pt x="1" y="34"/>
                    <a:pt x="0" y="39"/>
                    <a:pt x="3" y="39"/>
                  </a:cubicBezTo>
                  <a:cubicBezTo>
                    <a:pt x="3" y="39"/>
                    <a:pt x="4" y="39"/>
                    <a:pt x="5" y="39"/>
                  </a:cubicBezTo>
                  <a:cubicBezTo>
                    <a:pt x="5" y="40"/>
                    <a:pt x="5" y="40"/>
                    <a:pt x="6" y="40"/>
                  </a:cubicBezTo>
                  <a:cubicBezTo>
                    <a:pt x="10" y="41"/>
                    <a:pt x="12" y="43"/>
                    <a:pt x="15" y="47"/>
                  </a:cubicBezTo>
                  <a:cubicBezTo>
                    <a:pt x="15" y="42"/>
                    <a:pt x="19" y="41"/>
                    <a:pt x="24" y="41"/>
                  </a:cubicBezTo>
                  <a:cubicBezTo>
                    <a:pt x="30" y="41"/>
                    <a:pt x="38" y="43"/>
                    <a:pt x="40" y="44"/>
                  </a:cubicBezTo>
                  <a:cubicBezTo>
                    <a:pt x="41" y="44"/>
                    <a:pt x="41" y="44"/>
                    <a:pt x="42" y="44"/>
                  </a:cubicBezTo>
                  <a:cubicBezTo>
                    <a:pt x="43" y="44"/>
                    <a:pt x="45" y="43"/>
                    <a:pt x="47" y="43"/>
                  </a:cubicBezTo>
                  <a:cubicBezTo>
                    <a:pt x="49" y="42"/>
                    <a:pt x="51" y="42"/>
                    <a:pt x="53" y="42"/>
                  </a:cubicBezTo>
                  <a:cubicBezTo>
                    <a:pt x="53" y="42"/>
                    <a:pt x="53" y="42"/>
                    <a:pt x="53" y="42"/>
                  </a:cubicBezTo>
                  <a:cubicBezTo>
                    <a:pt x="54" y="42"/>
                    <a:pt x="55" y="42"/>
                    <a:pt x="56" y="42"/>
                  </a:cubicBezTo>
                  <a:cubicBezTo>
                    <a:pt x="56" y="42"/>
                    <a:pt x="56" y="42"/>
                    <a:pt x="56" y="42"/>
                  </a:cubicBezTo>
                  <a:cubicBezTo>
                    <a:pt x="58" y="42"/>
                    <a:pt x="59" y="43"/>
                    <a:pt x="61" y="44"/>
                  </a:cubicBezTo>
                  <a:cubicBezTo>
                    <a:pt x="61" y="43"/>
                    <a:pt x="61" y="43"/>
                    <a:pt x="61" y="42"/>
                  </a:cubicBezTo>
                  <a:cubicBezTo>
                    <a:pt x="61" y="42"/>
                    <a:pt x="61" y="42"/>
                    <a:pt x="61" y="41"/>
                  </a:cubicBezTo>
                  <a:cubicBezTo>
                    <a:pt x="61" y="41"/>
                    <a:pt x="61" y="41"/>
                    <a:pt x="61" y="40"/>
                  </a:cubicBezTo>
                  <a:cubicBezTo>
                    <a:pt x="60" y="40"/>
                    <a:pt x="60" y="40"/>
                    <a:pt x="60" y="40"/>
                  </a:cubicBezTo>
                  <a:cubicBezTo>
                    <a:pt x="58" y="38"/>
                    <a:pt x="55" y="36"/>
                    <a:pt x="55" y="33"/>
                  </a:cubicBezTo>
                  <a:cubicBezTo>
                    <a:pt x="55" y="32"/>
                    <a:pt x="56" y="32"/>
                    <a:pt x="56" y="31"/>
                  </a:cubicBezTo>
                  <a:cubicBezTo>
                    <a:pt x="56" y="30"/>
                    <a:pt x="56" y="30"/>
                    <a:pt x="56" y="30"/>
                  </a:cubicBezTo>
                  <a:cubicBezTo>
                    <a:pt x="58" y="29"/>
                    <a:pt x="58" y="29"/>
                    <a:pt x="58" y="29"/>
                  </a:cubicBezTo>
                  <a:cubicBezTo>
                    <a:pt x="60" y="29"/>
                    <a:pt x="60" y="28"/>
                    <a:pt x="61" y="28"/>
                  </a:cubicBezTo>
                  <a:cubicBezTo>
                    <a:pt x="60" y="28"/>
                    <a:pt x="60" y="28"/>
                    <a:pt x="60" y="28"/>
                  </a:cubicBezTo>
                  <a:cubicBezTo>
                    <a:pt x="60" y="27"/>
                    <a:pt x="59" y="26"/>
                    <a:pt x="59" y="25"/>
                  </a:cubicBezTo>
                  <a:cubicBezTo>
                    <a:pt x="58" y="24"/>
                    <a:pt x="58" y="24"/>
                    <a:pt x="58" y="24"/>
                  </a:cubicBezTo>
                  <a:cubicBezTo>
                    <a:pt x="59" y="22"/>
                    <a:pt x="59" y="22"/>
                    <a:pt x="59" y="22"/>
                  </a:cubicBezTo>
                  <a:cubicBezTo>
                    <a:pt x="59" y="22"/>
                    <a:pt x="59" y="22"/>
                    <a:pt x="59" y="22"/>
                  </a:cubicBezTo>
                  <a:cubicBezTo>
                    <a:pt x="60" y="21"/>
                    <a:pt x="60" y="21"/>
                    <a:pt x="60" y="21"/>
                  </a:cubicBezTo>
                  <a:cubicBezTo>
                    <a:pt x="61" y="20"/>
                    <a:pt x="61" y="20"/>
                    <a:pt x="61" y="20"/>
                  </a:cubicBezTo>
                  <a:cubicBezTo>
                    <a:pt x="61" y="20"/>
                    <a:pt x="62" y="19"/>
                    <a:pt x="62" y="19"/>
                  </a:cubicBezTo>
                  <a:cubicBezTo>
                    <a:pt x="62" y="19"/>
                    <a:pt x="62" y="19"/>
                    <a:pt x="62" y="19"/>
                  </a:cubicBezTo>
                  <a:cubicBezTo>
                    <a:pt x="62" y="18"/>
                    <a:pt x="62" y="18"/>
                    <a:pt x="61" y="17"/>
                  </a:cubicBezTo>
                  <a:cubicBezTo>
                    <a:pt x="61" y="16"/>
                    <a:pt x="61" y="15"/>
                    <a:pt x="62" y="14"/>
                  </a:cubicBezTo>
                  <a:cubicBezTo>
                    <a:pt x="62" y="14"/>
                    <a:pt x="62" y="14"/>
                    <a:pt x="62" y="13"/>
                  </a:cubicBezTo>
                  <a:cubicBezTo>
                    <a:pt x="62" y="13"/>
                    <a:pt x="62" y="12"/>
                    <a:pt x="62" y="12"/>
                  </a:cubicBezTo>
                  <a:cubicBezTo>
                    <a:pt x="62" y="11"/>
                    <a:pt x="62" y="11"/>
                    <a:pt x="62" y="10"/>
                  </a:cubicBezTo>
                  <a:cubicBezTo>
                    <a:pt x="61" y="10"/>
                    <a:pt x="61" y="8"/>
                    <a:pt x="61" y="8"/>
                  </a:cubicBezTo>
                  <a:cubicBezTo>
                    <a:pt x="60" y="6"/>
                    <a:pt x="60" y="6"/>
                    <a:pt x="60" y="6"/>
                  </a:cubicBezTo>
                  <a:cubicBezTo>
                    <a:pt x="61" y="6"/>
                    <a:pt x="61" y="6"/>
                    <a:pt x="61" y="6"/>
                  </a:cubicBezTo>
                  <a:cubicBezTo>
                    <a:pt x="60" y="6"/>
                    <a:pt x="60" y="6"/>
                    <a:pt x="60" y="6"/>
                  </a:cubicBezTo>
                  <a:cubicBezTo>
                    <a:pt x="58" y="6"/>
                    <a:pt x="56" y="6"/>
                    <a:pt x="54" y="5"/>
                  </a:cubicBezTo>
                  <a:cubicBezTo>
                    <a:pt x="53" y="5"/>
                    <a:pt x="53" y="5"/>
                    <a:pt x="53" y="5"/>
                  </a:cubicBezTo>
                  <a:cubicBezTo>
                    <a:pt x="53" y="5"/>
                    <a:pt x="52" y="5"/>
                    <a:pt x="52" y="6"/>
                  </a:cubicBezTo>
                  <a:cubicBezTo>
                    <a:pt x="51" y="5"/>
                    <a:pt x="50" y="5"/>
                    <a:pt x="50" y="5"/>
                  </a:cubicBezTo>
                  <a:cubicBezTo>
                    <a:pt x="49" y="3"/>
                    <a:pt x="46" y="2"/>
                    <a:pt x="43" y="1"/>
                  </a:cubicBezTo>
                  <a:cubicBezTo>
                    <a:pt x="42" y="1"/>
                    <a:pt x="42" y="1"/>
                    <a:pt x="41" y="1"/>
                  </a:cubicBez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Rectangle 276"/>
            <p:cNvSpPr>
              <a:spLocks noChangeArrowheads="1"/>
            </p:cNvSpPr>
            <p:nvPr/>
          </p:nvSpPr>
          <p:spPr bwMode="auto">
            <a:xfrm>
              <a:off x="8248561" y="531015"/>
              <a:ext cx="1412" cy="2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277"/>
            <p:cNvSpPr/>
            <p:nvPr/>
          </p:nvSpPr>
          <p:spPr bwMode="auto">
            <a:xfrm flipH="1">
              <a:off x="8248561" y="531015"/>
              <a:ext cx="0" cy="2825"/>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278"/>
            <p:cNvSpPr/>
            <p:nvPr/>
          </p:nvSpPr>
          <p:spPr bwMode="auto">
            <a:xfrm>
              <a:off x="6913966" y="563497"/>
              <a:ext cx="76263" cy="197718"/>
            </a:xfrm>
            <a:custGeom>
              <a:gdLst>
                <a:gd name="T0" fmla="*/ 23 w 23"/>
                <a:gd name="T1" fmla="*/ 0 h 59"/>
                <a:gd name="T2" fmla="*/ 21 w 23"/>
                <a:gd name="T3" fmla="*/ 1 h 59"/>
                <a:gd name="T4" fmla="*/ 21 w 23"/>
                <a:gd name="T5" fmla="*/ 1 h 59"/>
                <a:gd name="T6" fmla="*/ 20 w 23"/>
                <a:gd name="T7" fmla="*/ 1 h 59"/>
                <a:gd name="T8" fmla="*/ 20 w 23"/>
                <a:gd name="T9" fmla="*/ 1 h 59"/>
                <a:gd name="T10" fmla="*/ 19 w 23"/>
                <a:gd name="T11" fmla="*/ 1 h 59"/>
                <a:gd name="T12" fmla="*/ 19 w 23"/>
                <a:gd name="T13" fmla="*/ 1 h 59"/>
                <a:gd name="T14" fmla="*/ 18 w 23"/>
                <a:gd name="T15" fmla="*/ 1 h 59"/>
                <a:gd name="T16" fmla="*/ 18 w 23"/>
                <a:gd name="T17" fmla="*/ 1 h 59"/>
                <a:gd name="T18" fmla="*/ 17 w 23"/>
                <a:gd name="T19" fmla="*/ 1 h 59"/>
                <a:gd name="T20" fmla="*/ 16 w 23"/>
                <a:gd name="T21" fmla="*/ 0 h 59"/>
                <a:gd name="T22" fmla="*/ 15 w 23"/>
                <a:gd name="T23" fmla="*/ 2 h 59"/>
                <a:gd name="T24" fmla="*/ 13 w 23"/>
                <a:gd name="T25" fmla="*/ 5 h 59"/>
                <a:gd name="T26" fmla="*/ 11 w 23"/>
                <a:gd name="T27" fmla="*/ 9 h 59"/>
                <a:gd name="T28" fmla="*/ 7 w 23"/>
                <a:gd name="T29" fmla="*/ 13 h 59"/>
                <a:gd name="T30" fmla="*/ 5 w 23"/>
                <a:gd name="T31" fmla="*/ 14 h 59"/>
                <a:gd name="T32" fmla="*/ 5 w 23"/>
                <a:gd name="T33" fmla="*/ 14 h 59"/>
                <a:gd name="T34" fmla="*/ 4 w 23"/>
                <a:gd name="T35" fmla="*/ 14 h 59"/>
                <a:gd name="T36" fmla="*/ 2 w 23"/>
                <a:gd name="T37" fmla="*/ 13 h 59"/>
                <a:gd name="T38" fmla="*/ 2 w 23"/>
                <a:gd name="T39" fmla="*/ 13 h 59"/>
                <a:gd name="T40" fmla="*/ 1 w 23"/>
                <a:gd name="T41" fmla="*/ 13 h 59"/>
                <a:gd name="T42" fmla="*/ 2 w 23"/>
                <a:gd name="T43" fmla="*/ 14 h 59"/>
                <a:gd name="T44" fmla="*/ 1 w 23"/>
                <a:gd name="T45" fmla="*/ 14 h 59"/>
                <a:gd name="T46" fmla="*/ 1 w 23"/>
                <a:gd name="T47" fmla="*/ 15 h 59"/>
                <a:gd name="T48" fmla="*/ 1 w 23"/>
                <a:gd name="T49" fmla="*/ 18 h 59"/>
                <a:gd name="T50" fmla="*/ 1 w 23"/>
                <a:gd name="T51" fmla="*/ 22 h 59"/>
                <a:gd name="T52" fmla="*/ 1 w 23"/>
                <a:gd name="T53" fmla="*/ 29 h 59"/>
                <a:gd name="T54" fmla="*/ 0 w 23"/>
                <a:gd name="T55" fmla="*/ 57 h 59"/>
                <a:gd name="T56" fmla="*/ 1 w 23"/>
                <a:gd name="T57" fmla="*/ 57 h 59"/>
                <a:gd name="T58" fmla="*/ 3 w 23"/>
                <a:gd name="T59" fmla="*/ 57 h 59"/>
                <a:gd name="T60" fmla="*/ 4 w 23"/>
                <a:gd name="T61" fmla="*/ 57 h 59"/>
                <a:gd name="T62" fmla="*/ 4 w 23"/>
                <a:gd name="T63" fmla="*/ 59 h 59"/>
                <a:gd name="T64" fmla="*/ 5 w 23"/>
                <a:gd name="T65" fmla="*/ 59 h 59"/>
                <a:gd name="T66" fmla="*/ 13 w 23"/>
                <a:gd name="T67" fmla="*/ 49 h 59"/>
                <a:gd name="T68" fmla="*/ 17 w 23"/>
                <a:gd name="T69" fmla="*/ 43 h 59"/>
                <a:gd name="T70" fmla="*/ 20 w 23"/>
                <a:gd name="T71" fmla="*/ 34 h 59"/>
                <a:gd name="T72" fmla="*/ 18 w 23"/>
                <a:gd name="T73" fmla="*/ 29 h 59"/>
                <a:gd name="T74" fmla="*/ 20 w 23"/>
                <a:gd name="T75" fmla="*/ 16 h 59"/>
                <a:gd name="T76" fmla="*/ 23 w 23"/>
                <a:gd name="T77" fmla="*/ 0 h 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 h="59">
                  <a:moveTo>
                    <a:pt x="23" y="0"/>
                  </a:moveTo>
                  <a:cubicBezTo>
                    <a:pt x="22" y="1"/>
                    <a:pt x="22" y="1"/>
                    <a:pt x="21" y="1"/>
                  </a:cubicBezTo>
                  <a:cubicBezTo>
                    <a:pt x="21" y="1"/>
                    <a:pt x="21" y="1"/>
                    <a:pt x="21" y="1"/>
                  </a:cubicBezTo>
                  <a:cubicBezTo>
                    <a:pt x="20" y="1"/>
                    <a:pt x="20" y="1"/>
                    <a:pt x="20" y="1"/>
                  </a:cubicBezTo>
                  <a:cubicBezTo>
                    <a:pt x="20" y="1"/>
                    <a:pt x="20" y="1"/>
                    <a:pt x="20" y="1"/>
                  </a:cubicBezTo>
                  <a:cubicBezTo>
                    <a:pt x="19" y="1"/>
                    <a:pt x="19" y="1"/>
                    <a:pt x="19" y="1"/>
                  </a:cubicBezTo>
                  <a:cubicBezTo>
                    <a:pt x="19" y="1"/>
                    <a:pt x="19" y="1"/>
                    <a:pt x="19" y="1"/>
                  </a:cubicBezTo>
                  <a:cubicBezTo>
                    <a:pt x="18" y="1"/>
                    <a:pt x="18" y="1"/>
                    <a:pt x="18" y="1"/>
                  </a:cubicBezTo>
                  <a:cubicBezTo>
                    <a:pt x="18" y="1"/>
                    <a:pt x="18" y="1"/>
                    <a:pt x="18" y="1"/>
                  </a:cubicBezTo>
                  <a:cubicBezTo>
                    <a:pt x="17" y="1"/>
                    <a:pt x="17" y="1"/>
                    <a:pt x="17" y="1"/>
                  </a:cubicBezTo>
                  <a:cubicBezTo>
                    <a:pt x="16" y="0"/>
                    <a:pt x="16" y="0"/>
                    <a:pt x="16" y="0"/>
                  </a:cubicBezTo>
                  <a:cubicBezTo>
                    <a:pt x="16" y="1"/>
                    <a:pt x="15" y="1"/>
                    <a:pt x="15" y="2"/>
                  </a:cubicBezTo>
                  <a:cubicBezTo>
                    <a:pt x="13" y="5"/>
                    <a:pt x="13" y="5"/>
                    <a:pt x="13" y="5"/>
                  </a:cubicBezTo>
                  <a:cubicBezTo>
                    <a:pt x="12" y="7"/>
                    <a:pt x="12" y="8"/>
                    <a:pt x="11" y="9"/>
                  </a:cubicBezTo>
                  <a:cubicBezTo>
                    <a:pt x="10" y="11"/>
                    <a:pt x="9" y="13"/>
                    <a:pt x="7" y="13"/>
                  </a:cubicBezTo>
                  <a:cubicBezTo>
                    <a:pt x="6" y="14"/>
                    <a:pt x="6" y="14"/>
                    <a:pt x="5" y="14"/>
                  </a:cubicBezTo>
                  <a:cubicBezTo>
                    <a:pt x="5" y="14"/>
                    <a:pt x="5" y="14"/>
                    <a:pt x="5" y="14"/>
                  </a:cubicBezTo>
                  <a:cubicBezTo>
                    <a:pt x="4" y="14"/>
                    <a:pt x="4" y="14"/>
                    <a:pt x="4" y="14"/>
                  </a:cubicBezTo>
                  <a:cubicBezTo>
                    <a:pt x="3" y="14"/>
                    <a:pt x="3" y="14"/>
                    <a:pt x="2" y="13"/>
                  </a:cubicBezTo>
                  <a:cubicBezTo>
                    <a:pt x="2" y="13"/>
                    <a:pt x="2" y="13"/>
                    <a:pt x="2" y="13"/>
                  </a:cubicBezTo>
                  <a:cubicBezTo>
                    <a:pt x="1" y="13"/>
                    <a:pt x="1" y="13"/>
                    <a:pt x="1" y="13"/>
                  </a:cubicBezTo>
                  <a:cubicBezTo>
                    <a:pt x="2" y="14"/>
                    <a:pt x="2" y="14"/>
                    <a:pt x="2" y="14"/>
                  </a:cubicBezTo>
                  <a:cubicBezTo>
                    <a:pt x="1" y="14"/>
                    <a:pt x="1" y="14"/>
                    <a:pt x="1" y="14"/>
                  </a:cubicBezTo>
                  <a:cubicBezTo>
                    <a:pt x="1" y="15"/>
                    <a:pt x="1" y="15"/>
                    <a:pt x="1" y="15"/>
                  </a:cubicBezTo>
                  <a:cubicBezTo>
                    <a:pt x="1" y="16"/>
                    <a:pt x="1" y="17"/>
                    <a:pt x="1" y="18"/>
                  </a:cubicBezTo>
                  <a:cubicBezTo>
                    <a:pt x="1" y="22"/>
                    <a:pt x="1" y="22"/>
                    <a:pt x="1" y="22"/>
                  </a:cubicBezTo>
                  <a:cubicBezTo>
                    <a:pt x="1" y="24"/>
                    <a:pt x="1" y="26"/>
                    <a:pt x="1" y="29"/>
                  </a:cubicBezTo>
                  <a:cubicBezTo>
                    <a:pt x="1" y="38"/>
                    <a:pt x="0" y="48"/>
                    <a:pt x="0" y="57"/>
                  </a:cubicBezTo>
                  <a:cubicBezTo>
                    <a:pt x="1" y="57"/>
                    <a:pt x="1" y="57"/>
                    <a:pt x="1" y="57"/>
                  </a:cubicBezTo>
                  <a:cubicBezTo>
                    <a:pt x="1" y="57"/>
                    <a:pt x="2" y="57"/>
                    <a:pt x="3" y="57"/>
                  </a:cubicBezTo>
                  <a:cubicBezTo>
                    <a:pt x="4" y="57"/>
                    <a:pt x="4" y="57"/>
                    <a:pt x="4" y="57"/>
                  </a:cubicBezTo>
                  <a:cubicBezTo>
                    <a:pt x="4" y="59"/>
                    <a:pt x="4" y="59"/>
                    <a:pt x="4" y="59"/>
                  </a:cubicBezTo>
                  <a:cubicBezTo>
                    <a:pt x="5" y="59"/>
                    <a:pt x="5" y="59"/>
                    <a:pt x="5" y="59"/>
                  </a:cubicBezTo>
                  <a:cubicBezTo>
                    <a:pt x="8" y="55"/>
                    <a:pt x="10" y="52"/>
                    <a:pt x="13" y="49"/>
                  </a:cubicBezTo>
                  <a:cubicBezTo>
                    <a:pt x="15" y="47"/>
                    <a:pt x="16" y="45"/>
                    <a:pt x="17" y="43"/>
                  </a:cubicBezTo>
                  <a:cubicBezTo>
                    <a:pt x="18" y="41"/>
                    <a:pt x="20" y="36"/>
                    <a:pt x="20" y="34"/>
                  </a:cubicBezTo>
                  <a:cubicBezTo>
                    <a:pt x="20" y="32"/>
                    <a:pt x="18" y="31"/>
                    <a:pt x="18" y="29"/>
                  </a:cubicBezTo>
                  <a:cubicBezTo>
                    <a:pt x="19" y="25"/>
                    <a:pt x="20" y="20"/>
                    <a:pt x="20" y="16"/>
                  </a:cubicBezTo>
                  <a:cubicBezTo>
                    <a:pt x="21" y="11"/>
                    <a:pt x="23" y="6"/>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64024049"/>
      </p:ext>
    </p:extLst>
  </p:cSld>
  <p:clrMapOvr>
    <a:masterClrMapping/>
  </p:clrMapOvr>
  <p:transition/>
  <p:timing/>
</p:sldLayout>
</file>

<file path=ppt/slideLayouts/slideLayout18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fric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78" name="Text Placeholder 377"/>
          <p:cNvSpPr>
            <a:spLocks noGrp="1"/>
          </p:cNvSpPr>
          <p:nvPr>
            <p:ph type="body" sz="quarter" idx="12" hasCustomPrompt="1"/>
          </p:nvPr>
        </p:nvSpPr>
        <p:spPr>
          <a:xfrm>
            <a:off x="334963"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grpSp>
        <p:nvGrpSpPr>
          <p:cNvPr id="255" name="Group 254"/>
          <p:cNvGrpSpPr>
            <a:grpSpLocks noChangeAspect="1"/>
          </p:cNvGrpSpPr>
          <p:nvPr userDrawn="1"/>
        </p:nvGrpSpPr>
        <p:grpSpPr>
          <a:xfrm>
            <a:off x="4307310" y="0"/>
            <a:ext cx="7884690" cy="6569663"/>
            <a:chOff x="1922" y="-27"/>
            <a:chExt cx="5756" cy="4796"/>
          </a:xfrm>
          <a:gradFill>
            <a:gsLst>
              <a:gs pos="100000">
                <a:schemeClr val="accent4"/>
              </a:gs>
              <a:gs pos="0">
                <a:schemeClr val="accent1"/>
              </a:gs>
            </a:gsLst>
            <a:lin ang="2700000" scaled="0"/>
          </a:gradFill>
        </p:grpSpPr>
        <p:grpSp>
          <p:nvGrpSpPr>
            <p:cNvPr id="256" name="Group 205"/>
            <p:cNvGrpSpPr/>
            <p:nvPr/>
          </p:nvGrpSpPr>
          <p:grpSpPr>
            <a:xfrm>
              <a:off x="1922" y="-27"/>
              <a:ext cx="5730" cy="4415"/>
              <a:chOff x="1922" y="-27"/>
              <a:chExt cx="5730" cy="4415"/>
            </a:xfrm>
            <a:grpFill/>
          </p:grpSpPr>
          <p:sp>
            <p:nvSpPr>
              <p:cNvPr id="366" name="Freeform 5"/>
              <p:cNvSpPr>
                <a:spLocks noEditPoints="1"/>
              </p:cNvSpPr>
              <p:nvPr/>
            </p:nvSpPr>
            <p:spPr bwMode="auto">
              <a:xfrm>
                <a:off x="2382" y="1807"/>
                <a:ext cx="5" cy="17"/>
              </a:xfrm>
              <a:custGeom>
                <a:gdLst>
                  <a:gd name="T0" fmla="*/ 2 w 2"/>
                  <a:gd name="T1" fmla="*/ 6 h 7"/>
                  <a:gd name="T2" fmla="*/ 2 w 2"/>
                  <a:gd name="T3" fmla="*/ 7 h 7"/>
                  <a:gd name="T4" fmla="*/ 2 w 2"/>
                  <a:gd name="T5" fmla="*/ 6 h 7"/>
                  <a:gd name="T6" fmla="*/ 2 w 2"/>
                  <a:gd name="T7" fmla="*/ 0 h 7"/>
                  <a:gd name="T8" fmla="*/ 0 w 2"/>
                  <a:gd name="T9" fmla="*/ 4 h 7"/>
                  <a:gd name="T10" fmla="*/ 2 w 2"/>
                  <a:gd name="T11" fmla="*/ 6 h 7"/>
                  <a:gd name="T12" fmla="*/ 2 w 2"/>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2" h="7">
                    <a:moveTo>
                      <a:pt x="2" y="6"/>
                    </a:moveTo>
                    <a:cubicBezTo>
                      <a:pt x="2" y="6"/>
                      <a:pt x="2" y="6"/>
                      <a:pt x="2" y="7"/>
                    </a:cubicBezTo>
                    <a:cubicBezTo>
                      <a:pt x="2" y="6"/>
                      <a:pt x="2" y="6"/>
                      <a:pt x="2" y="6"/>
                    </a:cubicBezTo>
                    <a:moveTo>
                      <a:pt x="2" y="0"/>
                    </a:moveTo>
                    <a:cubicBezTo>
                      <a:pt x="0" y="1"/>
                      <a:pt x="1" y="3"/>
                      <a:pt x="0" y="4"/>
                    </a:cubicBezTo>
                    <a:cubicBezTo>
                      <a:pt x="1" y="4"/>
                      <a:pt x="2" y="5"/>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6"/>
              <p:cNvSpPr/>
              <p:nvPr/>
            </p:nvSpPr>
            <p:spPr bwMode="auto">
              <a:xfrm>
                <a:off x="2385" y="1843"/>
                <a:ext cx="19" cy="14"/>
              </a:xfrm>
              <a:custGeom>
                <a:gdLst>
                  <a:gd name="T0" fmla="*/ 3 w 8"/>
                  <a:gd name="T1" fmla="*/ 0 h 6"/>
                  <a:gd name="T2" fmla="*/ 1 w 8"/>
                  <a:gd name="T3" fmla="*/ 1 h 6"/>
                  <a:gd name="T4" fmla="*/ 0 w 8"/>
                  <a:gd name="T5" fmla="*/ 5 h 6"/>
                  <a:gd name="T6" fmla="*/ 4 w 8"/>
                  <a:gd name="T7" fmla="*/ 6 h 6"/>
                  <a:gd name="T8" fmla="*/ 5 w 8"/>
                  <a:gd name="T9" fmla="*/ 1 h 6"/>
                  <a:gd name="T10" fmla="*/ 3 w 8"/>
                  <a:gd name="T11" fmla="*/ 0 h 6"/>
                </a:gdLst>
                <a:cxnLst>
                  <a:cxn ang="0">
                    <a:pos x="T0" y="T1"/>
                  </a:cxn>
                  <a:cxn ang="0">
                    <a:pos x="T2" y="T3"/>
                  </a:cxn>
                  <a:cxn ang="0">
                    <a:pos x="T4" y="T5"/>
                  </a:cxn>
                  <a:cxn ang="0">
                    <a:pos x="T6" y="T7"/>
                  </a:cxn>
                  <a:cxn ang="0">
                    <a:pos x="T8" y="T9"/>
                  </a:cxn>
                  <a:cxn ang="0">
                    <a:pos x="T10" y="T11"/>
                  </a:cxn>
                </a:cxnLst>
                <a:rect l="0" t="0" r="r" b="b"/>
                <a:pathLst>
                  <a:path w="8" h="6">
                    <a:moveTo>
                      <a:pt x="3" y="0"/>
                    </a:moveTo>
                    <a:cubicBezTo>
                      <a:pt x="2" y="0"/>
                      <a:pt x="1" y="0"/>
                      <a:pt x="1" y="1"/>
                    </a:cubicBezTo>
                    <a:cubicBezTo>
                      <a:pt x="0" y="5"/>
                      <a:pt x="0" y="5"/>
                      <a:pt x="0" y="5"/>
                    </a:cubicBezTo>
                    <a:cubicBezTo>
                      <a:pt x="0" y="6"/>
                      <a:pt x="2" y="6"/>
                      <a:pt x="4" y="6"/>
                    </a:cubicBezTo>
                    <a:cubicBezTo>
                      <a:pt x="6" y="4"/>
                      <a:pt x="8" y="2"/>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7"/>
              <p:cNvSpPr/>
              <p:nvPr/>
            </p:nvSpPr>
            <p:spPr bwMode="auto">
              <a:xfrm>
                <a:off x="1922" y="436"/>
                <a:ext cx="4" cy="10"/>
              </a:xfrm>
              <a:custGeom>
                <a:gdLst>
                  <a:gd name="T0" fmla="*/ 1 w 2"/>
                  <a:gd name="T1" fmla="*/ 0 h 4"/>
                  <a:gd name="T2" fmla="*/ 2 w 2"/>
                  <a:gd name="T3" fmla="*/ 4 h 4"/>
                  <a:gd name="T4" fmla="*/ 1 w 2"/>
                  <a:gd name="T5" fmla="*/ 0 h 4"/>
                </a:gdLst>
                <a:cxnLst>
                  <a:cxn ang="0">
                    <a:pos x="T0" y="T1"/>
                  </a:cxn>
                  <a:cxn ang="0">
                    <a:pos x="T2" y="T3"/>
                  </a:cxn>
                  <a:cxn ang="0">
                    <a:pos x="T4" y="T5"/>
                  </a:cxn>
                </a:cxnLst>
                <a:rect l="0" t="0" r="r" b="b"/>
                <a:pathLst>
                  <a:path w="2" h="4">
                    <a:moveTo>
                      <a:pt x="1" y="0"/>
                    </a:moveTo>
                    <a:cubicBezTo>
                      <a:pt x="0" y="1"/>
                      <a:pt x="0" y="3"/>
                      <a:pt x="2" y="4"/>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8"/>
              <p:cNvSpPr/>
              <p:nvPr/>
            </p:nvSpPr>
            <p:spPr bwMode="auto">
              <a:xfrm>
                <a:off x="2070" y="498"/>
                <a:ext cx="33" cy="11"/>
              </a:xfrm>
              <a:custGeom>
                <a:gdLst>
                  <a:gd name="T0" fmla="*/ 6 w 14"/>
                  <a:gd name="T1" fmla="*/ 0 h 5"/>
                  <a:gd name="T2" fmla="*/ 5 w 14"/>
                  <a:gd name="T3" fmla="*/ 4 h 5"/>
                  <a:gd name="T4" fmla="*/ 9 w 14"/>
                  <a:gd name="T5" fmla="*/ 5 h 5"/>
                  <a:gd name="T6" fmla="*/ 14 w 14"/>
                  <a:gd name="T7" fmla="*/ 4 h 5"/>
                  <a:gd name="T8" fmla="*/ 6 w 14"/>
                  <a:gd name="T9" fmla="*/ 0 h 5"/>
                </a:gdLst>
                <a:cxnLst>
                  <a:cxn ang="0">
                    <a:pos x="T0" y="T1"/>
                  </a:cxn>
                  <a:cxn ang="0">
                    <a:pos x="T2" y="T3"/>
                  </a:cxn>
                  <a:cxn ang="0">
                    <a:pos x="T4" y="T5"/>
                  </a:cxn>
                  <a:cxn ang="0">
                    <a:pos x="T6" y="T7"/>
                  </a:cxn>
                  <a:cxn ang="0">
                    <a:pos x="T8" y="T9"/>
                  </a:cxn>
                </a:cxnLst>
                <a:rect l="0" t="0" r="r" b="b"/>
                <a:pathLst>
                  <a:path w="14" h="5">
                    <a:moveTo>
                      <a:pt x="6" y="0"/>
                    </a:moveTo>
                    <a:cubicBezTo>
                      <a:pt x="1" y="1"/>
                      <a:pt x="0" y="2"/>
                      <a:pt x="5" y="4"/>
                    </a:cubicBezTo>
                    <a:cubicBezTo>
                      <a:pt x="6" y="5"/>
                      <a:pt x="7" y="5"/>
                      <a:pt x="9" y="5"/>
                    </a:cubicBezTo>
                    <a:cubicBezTo>
                      <a:pt x="10" y="5"/>
                      <a:pt x="12" y="4"/>
                      <a:pt x="14" y="4"/>
                    </a:cubicBezTo>
                    <a:cubicBezTo>
                      <a:pt x="12" y="2"/>
                      <a:pt x="8"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9"/>
              <p:cNvSpPr/>
              <p:nvPr/>
            </p:nvSpPr>
            <p:spPr bwMode="auto">
              <a:xfrm>
                <a:off x="2134" y="481"/>
                <a:ext cx="24" cy="12"/>
              </a:xfrm>
              <a:custGeom>
                <a:gdLst>
                  <a:gd name="T0" fmla="*/ 6 w 10"/>
                  <a:gd name="T1" fmla="*/ 0 h 5"/>
                  <a:gd name="T2" fmla="*/ 2 w 10"/>
                  <a:gd name="T3" fmla="*/ 2 h 5"/>
                  <a:gd name="T4" fmla="*/ 8 w 10"/>
                  <a:gd name="T5" fmla="*/ 5 h 5"/>
                  <a:gd name="T6" fmla="*/ 7 w 10"/>
                  <a:gd name="T7" fmla="*/ 1 h 5"/>
                  <a:gd name="T8" fmla="*/ 6 w 10"/>
                  <a:gd name="T9" fmla="*/ 0 h 5"/>
                </a:gdLst>
                <a:cxnLst>
                  <a:cxn ang="0">
                    <a:pos x="T0" y="T1"/>
                  </a:cxn>
                  <a:cxn ang="0">
                    <a:pos x="T2" y="T3"/>
                  </a:cxn>
                  <a:cxn ang="0">
                    <a:pos x="T4" y="T5"/>
                  </a:cxn>
                  <a:cxn ang="0">
                    <a:pos x="T6" y="T7"/>
                  </a:cxn>
                  <a:cxn ang="0">
                    <a:pos x="T8" y="T9"/>
                  </a:cxn>
                </a:cxnLst>
                <a:rect l="0" t="0" r="r" b="b"/>
                <a:pathLst>
                  <a:path w="10" h="5">
                    <a:moveTo>
                      <a:pt x="6" y="0"/>
                    </a:moveTo>
                    <a:cubicBezTo>
                      <a:pt x="4" y="0"/>
                      <a:pt x="3" y="1"/>
                      <a:pt x="2" y="2"/>
                    </a:cubicBezTo>
                    <a:cubicBezTo>
                      <a:pt x="0" y="4"/>
                      <a:pt x="8" y="5"/>
                      <a:pt x="8" y="5"/>
                    </a:cubicBezTo>
                    <a:cubicBezTo>
                      <a:pt x="9" y="2"/>
                      <a:pt x="10" y="2"/>
                      <a:pt x="7" y="1"/>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10"/>
              <p:cNvSpPr/>
              <p:nvPr/>
            </p:nvSpPr>
            <p:spPr bwMode="auto">
              <a:xfrm>
                <a:off x="2224" y="540"/>
                <a:ext cx="40" cy="12"/>
              </a:xfrm>
              <a:custGeom>
                <a:gdLst>
                  <a:gd name="T0" fmla="*/ 2 w 17"/>
                  <a:gd name="T1" fmla="*/ 0 h 5"/>
                  <a:gd name="T2" fmla="*/ 0 w 17"/>
                  <a:gd name="T3" fmla="*/ 2 h 5"/>
                  <a:gd name="T4" fmla="*/ 10 w 17"/>
                  <a:gd name="T5" fmla="*/ 5 h 5"/>
                  <a:gd name="T6" fmla="*/ 11 w 17"/>
                  <a:gd name="T7" fmla="*/ 5 h 5"/>
                  <a:gd name="T8" fmla="*/ 17 w 17"/>
                  <a:gd name="T9" fmla="*/ 2 h 5"/>
                  <a:gd name="T10" fmla="*/ 15 w 17"/>
                  <a:gd name="T11" fmla="*/ 1 h 5"/>
                  <a:gd name="T12" fmla="*/ 11 w 17"/>
                  <a:gd name="T13" fmla="*/ 1 h 5"/>
                  <a:gd name="T14" fmla="*/ 7 w 17"/>
                  <a:gd name="T15" fmla="*/ 2 h 5"/>
                  <a:gd name="T16" fmla="*/ 6 w 17"/>
                  <a:gd name="T17" fmla="*/ 2 h 5"/>
                  <a:gd name="T18" fmla="*/ 2 w 17"/>
                  <a:gd name="T19"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5">
                    <a:moveTo>
                      <a:pt x="2" y="0"/>
                    </a:moveTo>
                    <a:cubicBezTo>
                      <a:pt x="1" y="0"/>
                      <a:pt x="1" y="0"/>
                      <a:pt x="0" y="2"/>
                    </a:cubicBezTo>
                    <a:cubicBezTo>
                      <a:pt x="3" y="3"/>
                      <a:pt x="6" y="5"/>
                      <a:pt x="10" y="5"/>
                    </a:cubicBezTo>
                    <a:cubicBezTo>
                      <a:pt x="10" y="5"/>
                      <a:pt x="10" y="5"/>
                      <a:pt x="11" y="5"/>
                    </a:cubicBezTo>
                    <a:cubicBezTo>
                      <a:pt x="12" y="5"/>
                      <a:pt x="17" y="3"/>
                      <a:pt x="17" y="2"/>
                    </a:cubicBezTo>
                    <a:cubicBezTo>
                      <a:pt x="17" y="1"/>
                      <a:pt x="16" y="1"/>
                      <a:pt x="15" y="1"/>
                    </a:cubicBezTo>
                    <a:cubicBezTo>
                      <a:pt x="13" y="1"/>
                      <a:pt x="12" y="1"/>
                      <a:pt x="11" y="1"/>
                    </a:cubicBezTo>
                    <a:cubicBezTo>
                      <a:pt x="10" y="1"/>
                      <a:pt x="8" y="2"/>
                      <a:pt x="7" y="2"/>
                    </a:cubicBezTo>
                    <a:cubicBezTo>
                      <a:pt x="7" y="2"/>
                      <a:pt x="6" y="2"/>
                      <a:pt x="6" y="2"/>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11"/>
              <p:cNvSpPr>
                <a:spLocks noEditPoints="1"/>
              </p:cNvSpPr>
              <p:nvPr/>
            </p:nvSpPr>
            <p:spPr bwMode="auto">
              <a:xfrm>
                <a:off x="2259" y="599"/>
                <a:ext cx="12" cy="3"/>
              </a:xfrm>
              <a:custGeom>
                <a:gdLst>
                  <a:gd name="T0" fmla="*/ 4 w 5"/>
                  <a:gd name="T1" fmla="*/ 1 h 1"/>
                  <a:gd name="T2" fmla="*/ 5 w 5"/>
                  <a:gd name="T3" fmla="*/ 1 h 1"/>
                  <a:gd name="T4" fmla="*/ 4 w 5"/>
                  <a:gd name="T5" fmla="*/ 1 h 1"/>
                  <a:gd name="T6" fmla="*/ 0 w 5"/>
                  <a:gd name="T7" fmla="*/ 0 h 1"/>
                  <a:gd name="T8" fmla="*/ 4 w 5"/>
                  <a:gd name="T9" fmla="*/ 1 h 1"/>
                  <a:gd name="T10" fmla="*/ 0 w 5"/>
                  <a:gd name="T11" fmla="*/ 0 h 1"/>
                </a:gdLst>
                <a:cxnLst>
                  <a:cxn ang="0">
                    <a:pos x="T0" y="T1"/>
                  </a:cxn>
                  <a:cxn ang="0">
                    <a:pos x="T2" y="T3"/>
                  </a:cxn>
                  <a:cxn ang="0">
                    <a:pos x="T4" y="T5"/>
                  </a:cxn>
                  <a:cxn ang="0">
                    <a:pos x="T6" y="T7"/>
                  </a:cxn>
                  <a:cxn ang="0">
                    <a:pos x="T8" y="T9"/>
                  </a:cxn>
                  <a:cxn ang="0">
                    <a:pos x="T10" y="T11"/>
                  </a:cxn>
                </a:cxnLst>
                <a:rect l="0" t="0" r="r" b="b"/>
                <a:pathLst>
                  <a:path w="5" h="1">
                    <a:moveTo>
                      <a:pt x="4" y="1"/>
                    </a:moveTo>
                    <a:cubicBezTo>
                      <a:pt x="4" y="1"/>
                      <a:pt x="5" y="1"/>
                      <a:pt x="5" y="1"/>
                    </a:cubicBezTo>
                    <a:cubicBezTo>
                      <a:pt x="5" y="1"/>
                      <a:pt x="4" y="1"/>
                      <a:pt x="4" y="1"/>
                    </a:cubicBezTo>
                    <a:moveTo>
                      <a:pt x="0" y="0"/>
                    </a:moveTo>
                    <a:cubicBezTo>
                      <a:pt x="1" y="1"/>
                      <a:pt x="3" y="1"/>
                      <a:pt x="4" y="1"/>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12"/>
              <p:cNvSpPr/>
              <p:nvPr/>
            </p:nvSpPr>
            <p:spPr bwMode="auto">
              <a:xfrm>
                <a:off x="2248" y="1788"/>
                <a:ext cx="30" cy="17"/>
              </a:xfrm>
              <a:custGeom>
                <a:gdLst>
                  <a:gd name="T0" fmla="*/ 8 w 13"/>
                  <a:gd name="T1" fmla="*/ 0 h 7"/>
                  <a:gd name="T2" fmla="*/ 5 w 13"/>
                  <a:gd name="T3" fmla="*/ 1 h 7"/>
                  <a:gd name="T4" fmla="*/ 3 w 13"/>
                  <a:gd name="T5" fmla="*/ 7 h 7"/>
                  <a:gd name="T6" fmla="*/ 8 w 13"/>
                  <a:gd name="T7" fmla="*/ 0 h 7"/>
                  <a:gd name="T8" fmla="*/ 8 w 13"/>
                  <a:gd name="T9" fmla="*/ 0 h 7"/>
                </a:gdLst>
                <a:cxnLst>
                  <a:cxn ang="0">
                    <a:pos x="T0" y="T1"/>
                  </a:cxn>
                  <a:cxn ang="0">
                    <a:pos x="T2" y="T3"/>
                  </a:cxn>
                  <a:cxn ang="0">
                    <a:pos x="T4" y="T5"/>
                  </a:cxn>
                  <a:cxn ang="0">
                    <a:pos x="T6" y="T7"/>
                  </a:cxn>
                  <a:cxn ang="0">
                    <a:pos x="T8" y="T9"/>
                  </a:cxn>
                </a:cxnLst>
                <a:rect l="0" t="0" r="r" b="b"/>
                <a:pathLst>
                  <a:path w="13" h="7">
                    <a:moveTo>
                      <a:pt x="8" y="0"/>
                    </a:moveTo>
                    <a:cubicBezTo>
                      <a:pt x="7" y="0"/>
                      <a:pt x="6" y="1"/>
                      <a:pt x="5" y="1"/>
                    </a:cubicBezTo>
                    <a:cubicBezTo>
                      <a:pt x="0" y="3"/>
                      <a:pt x="3" y="3"/>
                      <a:pt x="3" y="7"/>
                    </a:cubicBezTo>
                    <a:cubicBezTo>
                      <a:pt x="5" y="6"/>
                      <a:pt x="13"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13"/>
              <p:cNvSpPr/>
              <p:nvPr/>
            </p:nvSpPr>
            <p:spPr bwMode="auto">
              <a:xfrm>
                <a:off x="2262" y="1805"/>
                <a:ext cx="14" cy="7"/>
              </a:xfrm>
              <a:custGeom>
                <a:gdLst>
                  <a:gd name="T0" fmla="*/ 6 w 6"/>
                  <a:gd name="T1" fmla="*/ 0 h 3"/>
                  <a:gd name="T2" fmla="*/ 4 w 6"/>
                  <a:gd name="T3" fmla="*/ 3 h 3"/>
                  <a:gd name="T4" fmla="*/ 6 w 6"/>
                  <a:gd name="T5" fmla="*/ 0 h 3"/>
                </a:gdLst>
                <a:cxnLst>
                  <a:cxn ang="0">
                    <a:pos x="T0" y="T1"/>
                  </a:cxn>
                  <a:cxn ang="0">
                    <a:pos x="T2" y="T3"/>
                  </a:cxn>
                  <a:cxn ang="0">
                    <a:pos x="T4" y="T5"/>
                  </a:cxn>
                </a:cxnLst>
                <a:rect l="0" t="0" r="r" b="b"/>
                <a:pathLst>
                  <a:path w="6" h="3">
                    <a:moveTo>
                      <a:pt x="6" y="0"/>
                    </a:moveTo>
                    <a:cubicBezTo>
                      <a:pt x="3" y="0"/>
                      <a:pt x="0" y="2"/>
                      <a:pt x="4" y="3"/>
                    </a:cubicBezTo>
                    <a:cubicBezTo>
                      <a:pt x="5" y="2"/>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14"/>
              <p:cNvSpPr/>
              <p:nvPr/>
            </p:nvSpPr>
            <p:spPr bwMode="auto">
              <a:xfrm>
                <a:off x="2302" y="1819"/>
                <a:ext cx="24" cy="9"/>
              </a:xfrm>
              <a:custGeom>
                <a:gdLst>
                  <a:gd name="T0" fmla="*/ 2 w 10"/>
                  <a:gd name="T1" fmla="*/ 0 h 4"/>
                  <a:gd name="T2" fmla="*/ 3 w 10"/>
                  <a:gd name="T3" fmla="*/ 4 h 4"/>
                  <a:gd name="T4" fmla="*/ 10 w 10"/>
                  <a:gd name="T5" fmla="*/ 2 h 4"/>
                  <a:gd name="T6" fmla="*/ 5 w 10"/>
                  <a:gd name="T7" fmla="*/ 0 h 4"/>
                  <a:gd name="T8" fmla="*/ 2 w 10"/>
                  <a:gd name="T9" fmla="*/ 0 h 4"/>
                </a:gdLst>
                <a:cxnLst>
                  <a:cxn ang="0">
                    <a:pos x="T0" y="T1"/>
                  </a:cxn>
                  <a:cxn ang="0">
                    <a:pos x="T2" y="T3"/>
                  </a:cxn>
                  <a:cxn ang="0">
                    <a:pos x="T4" y="T5"/>
                  </a:cxn>
                  <a:cxn ang="0">
                    <a:pos x="T6" y="T7"/>
                  </a:cxn>
                  <a:cxn ang="0">
                    <a:pos x="T8" y="T9"/>
                  </a:cxn>
                </a:cxnLst>
                <a:rect l="0" t="0" r="r" b="b"/>
                <a:pathLst>
                  <a:path w="10" h="4">
                    <a:moveTo>
                      <a:pt x="2" y="0"/>
                    </a:moveTo>
                    <a:cubicBezTo>
                      <a:pt x="0" y="0"/>
                      <a:pt x="2" y="1"/>
                      <a:pt x="3" y="4"/>
                    </a:cubicBezTo>
                    <a:cubicBezTo>
                      <a:pt x="5" y="3"/>
                      <a:pt x="8" y="3"/>
                      <a:pt x="10" y="2"/>
                    </a:cubicBezTo>
                    <a:cubicBezTo>
                      <a:pt x="9" y="1"/>
                      <a:pt x="7"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15"/>
              <p:cNvSpPr/>
              <p:nvPr/>
            </p:nvSpPr>
            <p:spPr bwMode="auto">
              <a:xfrm>
                <a:off x="2366" y="1895"/>
                <a:ext cx="7" cy="11"/>
              </a:xfrm>
              <a:custGeom>
                <a:gdLst>
                  <a:gd name="T0" fmla="*/ 2 w 3"/>
                  <a:gd name="T1" fmla="*/ 0 h 5"/>
                  <a:gd name="T2" fmla="*/ 3 w 3"/>
                  <a:gd name="T3" fmla="*/ 5 h 5"/>
                  <a:gd name="T4" fmla="*/ 2 w 3"/>
                  <a:gd name="T5" fmla="*/ 0 h 5"/>
                </a:gdLst>
                <a:cxnLst>
                  <a:cxn ang="0">
                    <a:pos x="T0" y="T1"/>
                  </a:cxn>
                  <a:cxn ang="0">
                    <a:pos x="T2" y="T3"/>
                  </a:cxn>
                  <a:cxn ang="0">
                    <a:pos x="T4" y="T5"/>
                  </a:cxn>
                </a:cxnLst>
                <a:rect l="0" t="0" r="r" b="b"/>
                <a:pathLst>
                  <a:path w="3" h="5">
                    <a:moveTo>
                      <a:pt x="2" y="0"/>
                    </a:moveTo>
                    <a:cubicBezTo>
                      <a:pt x="1" y="2"/>
                      <a:pt x="0" y="4"/>
                      <a:pt x="3" y="5"/>
                    </a:cubicBezTo>
                    <a:cubicBezTo>
                      <a:pt x="3"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6"/>
              <p:cNvSpPr/>
              <p:nvPr/>
            </p:nvSpPr>
            <p:spPr bwMode="auto">
              <a:xfrm>
                <a:off x="2337" y="1895"/>
                <a:ext cx="22" cy="23"/>
              </a:xfrm>
              <a:custGeom>
                <a:gdLst>
                  <a:gd name="T0" fmla="*/ 1 w 9"/>
                  <a:gd name="T1" fmla="*/ 0 h 10"/>
                  <a:gd name="T2" fmla="*/ 7 w 9"/>
                  <a:gd name="T3" fmla="*/ 10 h 10"/>
                  <a:gd name="T4" fmla="*/ 1 w 9"/>
                  <a:gd name="T5" fmla="*/ 0 h 10"/>
                </a:gdLst>
                <a:cxnLst>
                  <a:cxn ang="0">
                    <a:pos x="T0" y="T1"/>
                  </a:cxn>
                  <a:cxn ang="0">
                    <a:pos x="T2" y="T3"/>
                  </a:cxn>
                  <a:cxn ang="0">
                    <a:pos x="T4" y="T5"/>
                  </a:cxn>
                </a:cxnLst>
                <a:rect l="0" t="0" r="r" b="b"/>
                <a:pathLst>
                  <a:path w="9" h="10">
                    <a:moveTo>
                      <a:pt x="1" y="0"/>
                    </a:moveTo>
                    <a:cubicBezTo>
                      <a:pt x="1" y="5"/>
                      <a:pt x="0" y="10"/>
                      <a:pt x="7" y="10"/>
                    </a:cubicBezTo>
                    <a:cubicBezTo>
                      <a:pt x="9" y="5"/>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7"/>
              <p:cNvSpPr/>
              <p:nvPr/>
            </p:nvSpPr>
            <p:spPr bwMode="auto">
              <a:xfrm>
                <a:off x="2295" y="1911"/>
                <a:ext cx="12" cy="12"/>
              </a:xfrm>
              <a:custGeom>
                <a:gdLst>
                  <a:gd name="T0" fmla="*/ 4 w 5"/>
                  <a:gd name="T1" fmla="*/ 0 h 5"/>
                  <a:gd name="T2" fmla="*/ 4 w 5"/>
                  <a:gd name="T3" fmla="*/ 5 h 5"/>
                  <a:gd name="T4" fmla="*/ 4 w 5"/>
                  <a:gd name="T5" fmla="*/ 0 h 5"/>
                </a:gdLst>
                <a:cxnLst>
                  <a:cxn ang="0">
                    <a:pos x="T0" y="T1"/>
                  </a:cxn>
                  <a:cxn ang="0">
                    <a:pos x="T2" y="T3"/>
                  </a:cxn>
                  <a:cxn ang="0">
                    <a:pos x="T4" y="T5"/>
                  </a:cxn>
                </a:cxnLst>
                <a:rect l="0" t="0" r="r" b="b"/>
                <a:pathLst>
                  <a:path w="5" h="5">
                    <a:moveTo>
                      <a:pt x="4" y="0"/>
                    </a:moveTo>
                    <a:cubicBezTo>
                      <a:pt x="1" y="1"/>
                      <a:pt x="0" y="4"/>
                      <a:pt x="4" y="5"/>
                    </a:cubicBezTo>
                    <a:cubicBezTo>
                      <a:pt x="4"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Rectangle 18"/>
              <p:cNvSpPr>
                <a:spLocks noChangeArrowheads="1"/>
              </p:cNvSpPr>
              <p:nvPr/>
            </p:nvSpPr>
            <p:spPr bwMode="auto">
              <a:xfrm>
                <a:off x="4684" y="23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9"/>
              <p:cNvSpPr/>
              <p:nvPr/>
            </p:nvSpPr>
            <p:spPr bwMode="auto">
              <a:xfrm flipH="1">
                <a:off x="4684" y="23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20"/>
              <p:cNvSpPr/>
              <p:nvPr/>
            </p:nvSpPr>
            <p:spPr bwMode="auto">
              <a:xfrm>
                <a:off x="4642" y="212"/>
                <a:ext cx="4" cy="2"/>
              </a:xfrm>
              <a:custGeom>
                <a:gdLst>
                  <a:gd name="T0" fmla="*/ 1 w 2"/>
                  <a:gd name="T1" fmla="*/ 0 h 1"/>
                  <a:gd name="T2" fmla="*/ 0 w 2"/>
                  <a:gd name="T3" fmla="*/ 0 h 1"/>
                  <a:gd name="T4" fmla="*/ 2 w 2"/>
                  <a:gd name="T5" fmla="*/ 1 h 1"/>
                  <a:gd name="T6" fmla="*/ 2 w 2"/>
                  <a:gd name="T7" fmla="*/ 1 h 1"/>
                  <a:gd name="T8" fmla="*/ 1 w 2"/>
                  <a:gd name="T9" fmla="*/ 0 h 1"/>
                </a:gdLst>
                <a:cxnLst>
                  <a:cxn ang="0">
                    <a:pos x="T0" y="T1"/>
                  </a:cxn>
                  <a:cxn ang="0">
                    <a:pos x="T2" y="T3"/>
                  </a:cxn>
                  <a:cxn ang="0">
                    <a:pos x="T4" y="T5"/>
                  </a:cxn>
                  <a:cxn ang="0">
                    <a:pos x="T6" y="T7"/>
                  </a:cxn>
                  <a:cxn ang="0">
                    <a:pos x="T8" y="T9"/>
                  </a:cxn>
                </a:cxnLst>
                <a:rect l="0" t="0" r="r" b="b"/>
                <a:pathLst>
                  <a:path w="2" h="1">
                    <a:moveTo>
                      <a:pt x="1" y="0"/>
                    </a:moveTo>
                    <a:cubicBezTo>
                      <a:pt x="0" y="0"/>
                      <a:pt x="0" y="0"/>
                      <a:pt x="0" y="0"/>
                    </a:cubicBezTo>
                    <a:cubicBezTo>
                      <a:pt x="1" y="1"/>
                      <a:pt x="1" y="1"/>
                      <a:pt x="2" y="1"/>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21"/>
              <p:cNvSpPr/>
              <p:nvPr/>
            </p:nvSpPr>
            <p:spPr bwMode="auto">
              <a:xfrm>
                <a:off x="7638" y="2055"/>
                <a:ext cx="14" cy="15"/>
              </a:xfrm>
              <a:custGeom>
                <a:gdLst>
                  <a:gd name="T0" fmla="*/ 6 w 6"/>
                  <a:gd name="T1" fmla="*/ 0 h 6"/>
                  <a:gd name="T2" fmla="*/ 0 w 6"/>
                  <a:gd name="T3" fmla="*/ 0 h 6"/>
                  <a:gd name="T4" fmla="*/ 0 w 6"/>
                  <a:gd name="T5" fmla="*/ 6 h 6"/>
                  <a:gd name="T6" fmla="*/ 6 w 6"/>
                  <a:gd name="T7" fmla="*/ 0 h 6"/>
                </a:gdLst>
                <a:cxnLst>
                  <a:cxn ang="0">
                    <a:pos x="T0" y="T1"/>
                  </a:cxn>
                  <a:cxn ang="0">
                    <a:pos x="T2" y="T3"/>
                  </a:cxn>
                  <a:cxn ang="0">
                    <a:pos x="T4" y="T5"/>
                  </a:cxn>
                  <a:cxn ang="0">
                    <a:pos x="T6" y="T7"/>
                  </a:cxn>
                </a:cxnLst>
                <a:rect l="0" t="0" r="r" b="b"/>
                <a:pathLst>
                  <a:path w="6" h="6">
                    <a:moveTo>
                      <a:pt x="6" y="0"/>
                    </a:moveTo>
                    <a:cubicBezTo>
                      <a:pt x="4" y="0"/>
                      <a:pt x="2" y="0"/>
                      <a:pt x="0" y="0"/>
                    </a:cubicBezTo>
                    <a:cubicBezTo>
                      <a:pt x="0" y="2"/>
                      <a:pt x="0" y="4"/>
                      <a:pt x="0" y="6"/>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22"/>
              <p:cNvSpPr/>
              <p:nvPr/>
            </p:nvSpPr>
            <p:spPr bwMode="auto">
              <a:xfrm>
                <a:off x="5414" y="-27"/>
                <a:ext cx="31" cy="14"/>
              </a:xfrm>
              <a:custGeom>
                <a:gdLst>
                  <a:gd name="T0" fmla="*/ 0 w 13"/>
                  <a:gd name="T1" fmla="*/ 0 h 6"/>
                  <a:gd name="T2" fmla="*/ 13 w 13"/>
                  <a:gd name="T3" fmla="*/ 6 h 6"/>
                  <a:gd name="T4" fmla="*/ 0 w 13"/>
                  <a:gd name="T5" fmla="*/ 0 h 6"/>
                </a:gdLst>
                <a:cxnLst>
                  <a:cxn ang="0">
                    <a:pos x="T0" y="T1"/>
                  </a:cxn>
                  <a:cxn ang="0">
                    <a:pos x="T2" y="T3"/>
                  </a:cxn>
                  <a:cxn ang="0">
                    <a:pos x="T4" y="T5"/>
                  </a:cxn>
                </a:cxnLst>
                <a:rect l="0" t="0" r="r" b="b"/>
                <a:pathLst>
                  <a:path w="13" h="6">
                    <a:moveTo>
                      <a:pt x="0" y="0"/>
                    </a:moveTo>
                    <a:cubicBezTo>
                      <a:pt x="0" y="5"/>
                      <a:pt x="9" y="5"/>
                      <a:pt x="13" y="6"/>
                    </a:cubicBezTo>
                    <a:cubicBezTo>
                      <a:pt x="8" y="4"/>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23"/>
              <p:cNvSpPr/>
              <p:nvPr/>
            </p:nvSpPr>
            <p:spPr bwMode="auto">
              <a:xfrm>
                <a:off x="6610" y="465"/>
                <a:ext cx="5" cy="21"/>
              </a:xfrm>
              <a:custGeom>
                <a:gdLst>
                  <a:gd name="T0" fmla="*/ 1 w 2"/>
                  <a:gd name="T1" fmla="*/ 0 h 9"/>
                  <a:gd name="T2" fmla="*/ 2 w 2"/>
                  <a:gd name="T3" fmla="*/ 9 h 9"/>
                  <a:gd name="T4" fmla="*/ 1 w 2"/>
                  <a:gd name="T5" fmla="*/ 0 h 9"/>
                </a:gdLst>
                <a:cxnLst>
                  <a:cxn ang="0">
                    <a:pos x="T0" y="T1"/>
                  </a:cxn>
                  <a:cxn ang="0">
                    <a:pos x="T2" y="T3"/>
                  </a:cxn>
                  <a:cxn ang="0">
                    <a:pos x="T4" y="T5"/>
                  </a:cxn>
                </a:cxnLst>
                <a:rect l="0" t="0" r="r" b="b"/>
                <a:pathLst>
                  <a:path w="2" h="9">
                    <a:moveTo>
                      <a:pt x="1" y="0"/>
                    </a:moveTo>
                    <a:cubicBezTo>
                      <a:pt x="0" y="1"/>
                      <a:pt x="1" y="7"/>
                      <a:pt x="2" y="9"/>
                    </a:cubicBezTo>
                    <a:cubicBezTo>
                      <a:pt x="1" y="6"/>
                      <a:pt x="1"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24"/>
              <p:cNvSpPr/>
              <p:nvPr/>
            </p:nvSpPr>
            <p:spPr bwMode="auto">
              <a:xfrm>
                <a:off x="5088" y="394"/>
                <a:ext cx="19" cy="2"/>
              </a:xfrm>
              <a:custGeom>
                <a:gdLst>
                  <a:gd name="T0" fmla="*/ 7 w 8"/>
                  <a:gd name="T1" fmla="*/ 0 h 1"/>
                  <a:gd name="T2" fmla="*/ 0 w 8"/>
                  <a:gd name="T3" fmla="*/ 1 h 1"/>
                  <a:gd name="T4" fmla="*/ 4 w 8"/>
                  <a:gd name="T5" fmla="*/ 1 h 1"/>
                  <a:gd name="T6" fmla="*/ 8 w 8"/>
                  <a:gd name="T7" fmla="*/ 0 h 1"/>
                  <a:gd name="T8" fmla="*/ 7 w 8"/>
                  <a:gd name="T9" fmla="*/ 0 h 1"/>
                </a:gdLst>
                <a:cxnLst>
                  <a:cxn ang="0">
                    <a:pos x="T0" y="T1"/>
                  </a:cxn>
                  <a:cxn ang="0">
                    <a:pos x="T2" y="T3"/>
                  </a:cxn>
                  <a:cxn ang="0">
                    <a:pos x="T4" y="T5"/>
                  </a:cxn>
                  <a:cxn ang="0">
                    <a:pos x="T6" y="T7"/>
                  </a:cxn>
                  <a:cxn ang="0">
                    <a:pos x="T8" y="T9"/>
                  </a:cxn>
                </a:cxnLst>
                <a:rect l="0" t="0" r="r" b="b"/>
                <a:pathLst>
                  <a:path w="8" h="1">
                    <a:moveTo>
                      <a:pt x="7" y="0"/>
                    </a:moveTo>
                    <a:cubicBezTo>
                      <a:pt x="5" y="0"/>
                      <a:pt x="3" y="0"/>
                      <a:pt x="0" y="1"/>
                    </a:cubicBezTo>
                    <a:cubicBezTo>
                      <a:pt x="1" y="1"/>
                      <a:pt x="2" y="1"/>
                      <a:pt x="4" y="1"/>
                    </a:cubicBezTo>
                    <a:cubicBezTo>
                      <a:pt x="5" y="1"/>
                      <a:pt x="7"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25"/>
              <p:cNvSpPr/>
              <p:nvPr/>
            </p:nvSpPr>
            <p:spPr bwMode="auto">
              <a:xfrm>
                <a:off x="4280" y="739"/>
                <a:ext cx="9" cy="7"/>
              </a:xfrm>
              <a:custGeom>
                <a:gdLst>
                  <a:gd name="T0" fmla="*/ 4 w 4"/>
                  <a:gd name="T1" fmla="*/ 0 h 3"/>
                  <a:gd name="T2" fmla="*/ 0 w 4"/>
                  <a:gd name="T3" fmla="*/ 3 h 3"/>
                  <a:gd name="T4" fmla="*/ 4 w 4"/>
                  <a:gd name="T5" fmla="*/ 0 h 3"/>
                </a:gdLst>
                <a:cxnLst>
                  <a:cxn ang="0">
                    <a:pos x="T0" y="T1"/>
                  </a:cxn>
                  <a:cxn ang="0">
                    <a:pos x="T2" y="T3"/>
                  </a:cxn>
                  <a:cxn ang="0">
                    <a:pos x="T4" y="T5"/>
                  </a:cxn>
                </a:cxnLst>
                <a:rect l="0" t="0" r="r" b="b"/>
                <a:pathLst>
                  <a:path w="4" h="3">
                    <a:moveTo>
                      <a:pt x="4" y="0"/>
                    </a:moveTo>
                    <a:cubicBezTo>
                      <a:pt x="2" y="1"/>
                      <a:pt x="1" y="2"/>
                      <a:pt x="0" y="3"/>
                    </a:cubicBezTo>
                    <a:cubicBezTo>
                      <a:pt x="1"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26"/>
              <p:cNvSpPr/>
              <p:nvPr/>
            </p:nvSpPr>
            <p:spPr bwMode="auto">
              <a:xfrm>
                <a:off x="3874" y="398"/>
                <a:ext cx="28" cy="19"/>
              </a:xfrm>
              <a:custGeom>
                <a:gdLst>
                  <a:gd name="T0" fmla="*/ 6 w 12"/>
                  <a:gd name="T1" fmla="*/ 0 h 8"/>
                  <a:gd name="T2" fmla="*/ 0 w 12"/>
                  <a:gd name="T3" fmla="*/ 1 h 8"/>
                  <a:gd name="T4" fmla="*/ 11 w 12"/>
                  <a:gd name="T5" fmla="*/ 8 h 8"/>
                  <a:gd name="T6" fmla="*/ 8 w 12"/>
                  <a:gd name="T7" fmla="*/ 0 h 8"/>
                  <a:gd name="T8" fmla="*/ 6 w 12"/>
                  <a:gd name="T9" fmla="*/ 0 h 8"/>
                </a:gdLst>
                <a:cxnLst>
                  <a:cxn ang="0">
                    <a:pos x="T0" y="T1"/>
                  </a:cxn>
                  <a:cxn ang="0">
                    <a:pos x="T2" y="T3"/>
                  </a:cxn>
                  <a:cxn ang="0">
                    <a:pos x="T4" y="T5"/>
                  </a:cxn>
                  <a:cxn ang="0">
                    <a:pos x="T6" y="T7"/>
                  </a:cxn>
                  <a:cxn ang="0">
                    <a:pos x="T8" y="T9"/>
                  </a:cxn>
                </a:cxnLst>
                <a:rect l="0" t="0" r="r" b="b"/>
                <a:pathLst>
                  <a:path w="12" h="8">
                    <a:moveTo>
                      <a:pt x="6" y="0"/>
                    </a:moveTo>
                    <a:cubicBezTo>
                      <a:pt x="4" y="0"/>
                      <a:pt x="1" y="0"/>
                      <a:pt x="0" y="1"/>
                    </a:cubicBezTo>
                    <a:cubicBezTo>
                      <a:pt x="3" y="4"/>
                      <a:pt x="7" y="6"/>
                      <a:pt x="11" y="8"/>
                    </a:cubicBezTo>
                    <a:cubicBezTo>
                      <a:pt x="12" y="4"/>
                      <a:pt x="10" y="1"/>
                      <a:pt x="8" y="0"/>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27"/>
              <p:cNvSpPr/>
              <p:nvPr/>
            </p:nvSpPr>
            <p:spPr bwMode="auto">
              <a:xfrm>
                <a:off x="3727" y="462"/>
                <a:ext cx="26" cy="17"/>
              </a:xfrm>
              <a:custGeom>
                <a:gdLst>
                  <a:gd name="T0" fmla="*/ 8 w 11"/>
                  <a:gd name="T1" fmla="*/ 0 h 7"/>
                  <a:gd name="T2" fmla="*/ 4 w 11"/>
                  <a:gd name="T3" fmla="*/ 1 h 7"/>
                  <a:gd name="T4" fmla="*/ 5 w 11"/>
                  <a:gd name="T5" fmla="*/ 7 h 7"/>
                  <a:gd name="T6" fmla="*/ 10 w 11"/>
                  <a:gd name="T7" fmla="*/ 1 h 7"/>
                  <a:gd name="T8" fmla="*/ 8 w 11"/>
                  <a:gd name="T9" fmla="*/ 0 h 7"/>
                </a:gdLst>
                <a:cxnLst>
                  <a:cxn ang="0">
                    <a:pos x="T0" y="T1"/>
                  </a:cxn>
                  <a:cxn ang="0">
                    <a:pos x="T2" y="T3"/>
                  </a:cxn>
                  <a:cxn ang="0">
                    <a:pos x="T4" y="T5"/>
                  </a:cxn>
                  <a:cxn ang="0">
                    <a:pos x="T6" y="T7"/>
                  </a:cxn>
                  <a:cxn ang="0">
                    <a:pos x="T8" y="T9"/>
                  </a:cxn>
                </a:cxnLst>
                <a:rect l="0" t="0" r="r" b="b"/>
                <a:pathLst>
                  <a:path w="11" h="7">
                    <a:moveTo>
                      <a:pt x="8" y="0"/>
                    </a:moveTo>
                    <a:cubicBezTo>
                      <a:pt x="7" y="0"/>
                      <a:pt x="5" y="0"/>
                      <a:pt x="4" y="1"/>
                    </a:cubicBezTo>
                    <a:cubicBezTo>
                      <a:pt x="0" y="3"/>
                      <a:pt x="1" y="4"/>
                      <a:pt x="5" y="7"/>
                    </a:cubicBezTo>
                    <a:cubicBezTo>
                      <a:pt x="6" y="6"/>
                      <a:pt x="11" y="3"/>
                      <a:pt x="10"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28"/>
              <p:cNvSpPr/>
              <p:nvPr/>
            </p:nvSpPr>
            <p:spPr bwMode="auto">
              <a:xfrm>
                <a:off x="3793" y="405"/>
                <a:ext cx="64" cy="45"/>
              </a:xfrm>
              <a:custGeom>
                <a:gdLst>
                  <a:gd name="T0" fmla="*/ 19 w 27"/>
                  <a:gd name="T1" fmla="*/ 0 h 19"/>
                  <a:gd name="T2" fmla="*/ 0 w 27"/>
                  <a:gd name="T3" fmla="*/ 10 h 19"/>
                  <a:gd name="T4" fmla="*/ 3 w 27"/>
                  <a:gd name="T5" fmla="*/ 12 h 19"/>
                  <a:gd name="T6" fmla="*/ 5 w 27"/>
                  <a:gd name="T7" fmla="*/ 12 h 19"/>
                  <a:gd name="T8" fmla="*/ 6 w 27"/>
                  <a:gd name="T9" fmla="*/ 12 h 19"/>
                  <a:gd name="T10" fmla="*/ 8 w 27"/>
                  <a:gd name="T11" fmla="*/ 13 h 19"/>
                  <a:gd name="T12" fmla="*/ 10 w 27"/>
                  <a:gd name="T13" fmla="*/ 17 h 19"/>
                  <a:gd name="T14" fmla="*/ 15 w 27"/>
                  <a:gd name="T15" fmla="*/ 19 h 19"/>
                  <a:gd name="T16" fmla="*/ 16 w 27"/>
                  <a:gd name="T17" fmla="*/ 19 h 19"/>
                  <a:gd name="T18" fmla="*/ 22 w 27"/>
                  <a:gd name="T19" fmla="*/ 15 h 19"/>
                  <a:gd name="T20" fmla="*/ 26 w 27"/>
                  <a:gd name="T21" fmla="*/ 7 h 19"/>
                  <a:gd name="T22" fmla="*/ 20 w 27"/>
                  <a:gd name="T23" fmla="*/ 2 h 19"/>
                  <a:gd name="T24" fmla="*/ 18 w 27"/>
                  <a:gd name="T25" fmla="*/ 3 h 19"/>
                  <a:gd name="T26" fmla="*/ 20 w 27"/>
                  <a:gd name="T27" fmla="*/ 0 h 19"/>
                  <a:gd name="T28" fmla="*/ 19 w 27"/>
                  <a:gd name="T2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19">
                    <a:moveTo>
                      <a:pt x="19" y="0"/>
                    </a:moveTo>
                    <a:cubicBezTo>
                      <a:pt x="12" y="0"/>
                      <a:pt x="5" y="7"/>
                      <a:pt x="0" y="10"/>
                    </a:cubicBezTo>
                    <a:cubicBezTo>
                      <a:pt x="1" y="11"/>
                      <a:pt x="2" y="12"/>
                      <a:pt x="3" y="12"/>
                    </a:cubicBezTo>
                    <a:cubicBezTo>
                      <a:pt x="4" y="12"/>
                      <a:pt x="4" y="12"/>
                      <a:pt x="5" y="12"/>
                    </a:cubicBezTo>
                    <a:cubicBezTo>
                      <a:pt x="5" y="12"/>
                      <a:pt x="6" y="12"/>
                      <a:pt x="6" y="12"/>
                    </a:cubicBezTo>
                    <a:cubicBezTo>
                      <a:pt x="7" y="12"/>
                      <a:pt x="7" y="12"/>
                      <a:pt x="8" y="13"/>
                    </a:cubicBezTo>
                    <a:cubicBezTo>
                      <a:pt x="8" y="14"/>
                      <a:pt x="9" y="16"/>
                      <a:pt x="10" y="17"/>
                    </a:cubicBezTo>
                    <a:cubicBezTo>
                      <a:pt x="11" y="17"/>
                      <a:pt x="14" y="19"/>
                      <a:pt x="15" y="19"/>
                    </a:cubicBezTo>
                    <a:cubicBezTo>
                      <a:pt x="15" y="19"/>
                      <a:pt x="16" y="19"/>
                      <a:pt x="16" y="19"/>
                    </a:cubicBezTo>
                    <a:cubicBezTo>
                      <a:pt x="18" y="19"/>
                      <a:pt x="19" y="17"/>
                      <a:pt x="22" y="15"/>
                    </a:cubicBezTo>
                    <a:cubicBezTo>
                      <a:pt x="22" y="13"/>
                      <a:pt x="27" y="9"/>
                      <a:pt x="26" y="7"/>
                    </a:cubicBezTo>
                    <a:cubicBezTo>
                      <a:pt x="25" y="4"/>
                      <a:pt x="14" y="8"/>
                      <a:pt x="20" y="2"/>
                    </a:cubicBezTo>
                    <a:cubicBezTo>
                      <a:pt x="19" y="3"/>
                      <a:pt x="18" y="3"/>
                      <a:pt x="18" y="3"/>
                    </a:cubicBezTo>
                    <a:cubicBezTo>
                      <a:pt x="17" y="3"/>
                      <a:pt x="18" y="1"/>
                      <a:pt x="20" y="0"/>
                    </a:cubicBezTo>
                    <a:cubicBezTo>
                      <a:pt x="20"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29"/>
              <p:cNvSpPr/>
              <p:nvPr/>
            </p:nvSpPr>
            <p:spPr bwMode="auto">
              <a:xfrm>
                <a:off x="6145" y="2263"/>
                <a:ext cx="28" cy="10"/>
              </a:xfrm>
              <a:custGeom>
                <a:gdLst>
                  <a:gd name="T0" fmla="*/ 0 w 12"/>
                  <a:gd name="T1" fmla="*/ 0 h 4"/>
                  <a:gd name="T2" fmla="*/ 12 w 12"/>
                  <a:gd name="T3" fmla="*/ 4 h 4"/>
                  <a:gd name="T4" fmla="*/ 0 w 12"/>
                  <a:gd name="T5" fmla="*/ 0 h 4"/>
                  <a:gd name="T6" fmla="*/ 0 w 12"/>
                  <a:gd name="T7" fmla="*/ 0 h 4"/>
                </a:gdLst>
                <a:cxnLst>
                  <a:cxn ang="0">
                    <a:pos x="T0" y="T1"/>
                  </a:cxn>
                  <a:cxn ang="0">
                    <a:pos x="T2" y="T3"/>
                  </a:cxn>
                  <a:cxn ang="0">
                    <a:pos x="T4" y="T5"/>
                  </a:cxn>
                  <a:cxn ang="0">
                    <a:pos x="T6" y="T7"/>
                  </a:cxn>
                </a:cxnLst>
                <a:rect l="0" t="0" r="r" b="b"/>
                <a:pathLst>
                  <a:path w="12" h="4">
                    <a:moveTo>
                      <a:pt x="0" y="0"/>
                    </a:moveTo>
                    <a:cubicBezTo>
                      <a:pt x="4" y="1"/>
                      <a:pt x="8" y="3"/>
                      <a:pt x="12" y="4"/>
                    </a:cubicBezTo>
                    <a:cubicBezTo>
                      <a:pt x="8" y="3"/>
                      <a:pt x="4"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30"/>
              <p:cNvSpPr/>
              <p:nvPr/>
            </p:nvSpPr>
            <p:spPr bwMode="auto">
              <a:xfrm>
                <a:off x="6742" y="3008"/>
                <a:ext cx="8" cy="12"/>
              </a:xfrm>
              <a:custGeom>
                <a:gdLst>
                  <a:gd name="T0" fmla="*/ 1 w 3"/>
                  <a:gd name="T1" fmla="*/ 0 h 5"/>
                  <a:gd name="T2" fmla="*/ 3 w 3"/>
                  <a:gd name="T3" fmla="*/ 5 h 5"/>
                  <a:gd name="T4" fmla="*/ 3 w 3"/>
                  <a:gd name="T5" fmla="*/ 5 h 5"/>
                  <a:gd name="T6" fmla="*/ 3 w 3"/>
                  <a:gd name="T7" fmla="*/ 5 h 5"/>
                  <a:gd name="T8" fmla="*/ 1 w 3"/>
                  <a:gd name="T9" fmla="*/ 0 h 5"/>
                </a:gdLst>
                <a:cxnLst>
                  <a:cxn ang="0">
                    <a:pos x="T0" y="T1"/>
                  </a:cxn>
                  <a:cxn ang="0">
                    <a:pos x="T2" y="T3"/>
                  </a:cxn>
                  <a:cxn ang="0">
                    <a:pos x="T4" y="T5"/>
                  </a:cxn>
                  <a:cxn ang="0">
                    <a:pos x="T6" y="T7"/>
                  </a:cxn>
                  <a:cxn ang="0">
                    <a:pos x="T8" y="T9"/>
                  </a:cxn>
                </a:cxnLst>
                <a:rect l="0" t="0" r="r" b="b"/>
                <a:pathLst>
                  <a:path w="3" h="5">
                    <a:moveTo>
                      <a:pt x="1" y="0"/>
                    </a:moveTo>
                    <a:cubicBezTo>
                      <a:pt x="0" y="1"/>
                      <a:pt x="1" y="3"/>
                      <a:pt x="3" y="5"/>
                    </a:cubicBezTo>
                    <a:cubicBezTo>
                      <a:pt x="3" y="5"/>
                      <a:pt x="3" y="5"/>
                      <a:pt x="3" y="5"/>
                    </a:cubicBezTo>
                    <a:cubicBezTo>
                      <a:pt x="3" y="5"/>
                      <a:pt x="3" y="5"/>
                      <a:pt x="3" y="5"/>
                    </a:cubicBezTo>
                    <a:cubicBezTo>
                      <a:pt x="3" y="2"/>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31"/>
              <p:cNvSpPr>
                <a:spLocks noEditPoints="1"/>
              </p:cNvSpPr>
              <p:nvPr/>
            </p:nvSpPr>
            <p:spPr bwMode="auto">
              <a:xfrm>
                <a:off x="5986" y="1800"/>
                <a:ext cx="10" cy="14"/>
              </a:xfrm>
              <a:custGeom>
                <a:gdLst>
                  <a:gd name="T0" fmla="*/ 2 w 4"/>
                  <a:gd name="T1" fmla="*/ 0 h 6"/>
                  <a:gd name="T2" fmla="*/ 1 w 4"/>
                  <a:gd name="T3" fmla="*/ 4 h 6"/>
                  <a:gd name="T4" fmla="*/ 4 w 4"/>
                  <a:gd name="T5" fmla="*/ 6 h 6"/>
                  <a:gd name="T6" fmla="*/ 2 w 4"/>
                  <a:gd name="T7" fmla="*/ 0 h 6"/>
                  <a:gd name="T8" fmla="*/ 1 w 4"/>
                  <a:gd name="T9" fmla="*/ 0 h 6"/>
                  <a:gd name="T10" fmla="*/ 2 w 4"/>
                  <a:gd name="T11" fmla="*/ 0 h 6"/>
                  <a:gd name="T12" fmla="*/ 1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2" y="2"/>
                      <a:pt x="0" y="2"/>
                      <a:pt x="1" y="4"/>
                    </a:cubicBezTo>
                    <a:cubicBezTo>
                      <a:pt x="2" y="5"/>
                      <a:pt x="3" y="5"/>
                      <a:pt x="4" y="6"/>
                    </a:cubicBezTo>
                    <a:cubicBezTo>
                      <a:pt x="3" y="4"/>
                      <a:pt x="2" y="2"/>
                      <a:pt x="2" y="0"/>
                    </a:cubicBezTo>
                    <a:moveTo>
                      <a:pt x="1" y="0"/>
                    </a:moveTo>
                    <a:cubicBezTo>
                      <a:pt x="1" y="0"/>
                      <a:pt x="2" y="0"/>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32"/>
              <p:cNvSpPr/>
              <p:nvPr/>
            </p:nvSpPr>
            <p:spPr bwMode="auto">
              <a:xfrm>
                <a:off x="5996" y="1812"/>
                <a:ext cx="9" cy="12"/>
              </a:xfrm>
              <a:custGeom>
                <a:gdLst>
                  <a:gd name="T0" fmla="*/ 2 w 4"/>
                  <a:gd name="T1" fmla="*/ 0 h 5"/>
                  <a:gd name="T2" fmla="*/ 0 w 4"/>
                  <a:gd name="T3" fmla="*/ 2 h 5"/>
                  <a:gd name="T4" fmla="*/ 4 w 4"/>
                  <a:gd name="T5" fmla="*/ 5 h 5"/>
                  <a:gd name="T6" fmla="*/ 2 w 4"/>
                  <a:gd name="T7" fmla="*/ 0 h 5"/>
                </a:gdLst>
                <a:cxnLst>
                  <a:cxn ang="0">
                    <a:pos x="T0" y="T1"/>
                  </a:cxn>
                  <a:cxn ang="0">
                    <a:pos x="T2" y="T3"/>
                  </a:cxn>
                  <a:cxn ang="0">
                    <a:pos x="T4" y="T5"/>
                  </a:cxn>
                  <a:cxn ang="0">
                    <a:pos x="T6" y="T7"/>
                  </a:cxn>
                </a:cxnLst>
                <a:rect l="0" t="0" r="r" b="b"/>
                <a:pathLst>
                  <a:path w="4" h="5">
                    <a:moveTo>
                      <a:pt x="2" y="0"/>
                    </a:moveTo>
                    <a:cubicBezTo>
                      <a:pt x="1" y="0"/>
                      <a:pt x="1" y="0"/>
                      <a:pt x="0" y="2"/>
                    </a:cubicBezTo>
                    <a:cubicBezTo>
                      <a:pt x="1" y="3"/>
                      <a:pt x="3" y="4"/>
                      <a:pt x="4" y="5"/>
                    </a:cubicBezTo>
                    <a:cubicBezTo>
                      <a:pt x="4" y="3"/>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33"/>
              <p:cNvSpPr/>
              <p:nvPr/>
            </p:nvSpPr>
            <p:spPr bwMode="auto">
              <a:xfrm>
                <a:off x="5984" y="1807"/>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0"/>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34"/>
              <p:cNvSpPr/>
              <p:nvPr/>
            </p:nvSpPr>
            <p:spPr bwMode="auto">
              <a:xfrm>
                <a:off x="5989" y="1812"/>
                <a:ext cx="7" cy="5"/>
              </a:xfrm>
              <a:custGeom>
                <a:gdLst>
                  <a:gd name="T0" fmla="*/ 0 w 3"/>
                  <a:gd name="T1" fmla="*/ 0 h 2"/>
                  <a:gd name="T2" fmla="*/ 3 w 3"/>
                  <a:gd name="T3" fmla="*/ 2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cubicBezTo>
                      <a:pt x="0" y="1"/>
                      <a:pt x="1" y="2"/>
                      <a:pt x="3" y="2"/>
                    </a:cubicBezTo>
                    <a:cubicBezTo>
                      <a:pt x="3" y="2"/>
                      <a:pt x="3"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35"/>
              <p:cNvSpPr/>
              <p:nvPr/>
            </p:nvSpPr>
            <p:spPr bwMode="auto">
              <a:xfrm>
                <a:off x="2751" y="845"/>
                <a:ext cx="5" cy="2"/>
              </a:xfrm>
              <a:custGeom>
                <a:gdLst>
                  <a:gd name="T0" fmla="*/ 2 w 2"/>
                  <a:gd name="T1" fmla="*/ 0 h 1"/>
                  <a:gd name="T2" fmla="*/ 0 w 2"/>
                  <a:gd name="T3" fmla="*/ 1 h 1"/>
                  <a:gd name="T4" fmla="*/ 2 w 2"/>
                  <a:gd name="T5" fmla="*/ 0 h 1"/>
                  <a:gd name="T6" fmla="*/ 2 w 2"/>
                  <a:gd name="T7" fmla="*/ 0 h 1"/>
                </a:gd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36"/>
              <p:cNvSpPr/>
              <p:nvPr/>
            </p:nvSpPr>
            <p:spPr bwMode="auto">
              <a:xfrm>
                <a:off x="6922" y="1587"/>
                <a:ext cx="17" cy="31"/>
              </a:xfrm>
              <a:custGeom>
                <a:gdLst>
                  <a:gd name="T0" fmla="*/ 7 w 7"/>
                  <a:gd name="T1" fmla="*/ 0 h 13"/>
                  <a:gd name="T2" fmla="*/ 0 w 7"/>
                  <a:gd name="T3" fmla="*/ 13 h 13"/>
                  <a:gd name="T4" fmla="*/ 7 w 7"/>
                  <a:gd name="T5" fmla="*/ 4 h 13"/>
                  <a:gd name="T6" fmla="*/ 7 w 7"/>
                  <a:gd name="T7" fmla="*/ 0 h 13"/>
                </a:gdLst>
                <a:cxnLst>
                  <a:cxn ang="0">
                    <a:pos x="T0" y="T1"/>
                  </a:cxn>
                  <a:cxn ang="0">
                    <a:pos x="T2" y="T3"/>
                  </a:cxn>
                  <a:cxn ang="0">
                    <a:pos x="T4" y="T5"/>
                  </a:cxn>
                  <a:cxn ang="0">
                    <a:pos x="T6" y="T7"/>
                  </a:cxn>
                </a:cxnLst>
                <a:rect l="0" t="0" r="r" b="b"/>
                <a:pathLst>
                  <a:path w="7" h="13">
                    <a:moveTo>
                      <a:pt x="7" y="0"/>
                    </a:moveTo>
                    <a:cubicBezTo>
                      <a:pt x="4" y="4"/>
                      <a:pt x="2" y="8"/>
                      <a:pt x="0" y="13"/>
                    </a:cubicBezTo>
                    <a:cubicBezTo>
                      <a:pt x="3" y="10"/>
                      <a:pt x="4" y="6"/>
                      <a:pt x="7" y="4"/>
                    </a:cubicBezTo>
                    <a:cubicBezTo>
                      <a:pt x="7" y="3"/>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37"/>
              <p:cNvSpPr/>
              <p:nvPr/>
            </p:nvSpPr>
            <p:spPr bwMode="auto">
              <a:xfrm>
                <a:off x="4460" y="663"/>
                <a:ext cx="9" cy="12"/>
              </a:xfrm>
              <a:custGeom>
                <a:gdLst>
                  <a:gd name="T0" fmla="*/ 0 w 4"/>
                  <a:gd name="T1" fmla="*/ 0 h 5"/>
                  <a:gd name="T2" fmla="*/ 0 w 4"/>
                  <a:gd name="T3" fmla="*/ 0 h 5"/>
                  <a:gd name="T4" fmla="*/ 4 w 4"/>
                  <a:gd name="T5" fmla="*/ 5 h 5"/>
                  <a:gd name="T6" fmla="*/ 0 w 4"/>
                  <a:gd name="T7" fmla="*/ 0 h 5"/>
                </a:gdLst>
                <a:cxnLst>
                  <a:cxn ang="0">
                    <a:pos x="T0" y="T1"/>
                  </a:cxn>
                  <a:cxn ang="0">
                    <a:pos x="T2" y="T3"/>
                  </a:cxn>
                  <a:cxn ang="0">
                    <a:pos x="T4" y="T5"/>
                  </a:cxn>
                  <a:cxn ang="0">
                    <a:pos x="T6" y="T7"/>
                  </a:cxn>
                </a:cxnLst>
                <a:rect l="0" t="0" r="r" b="b"/>
                <a:pathLst>
                  <a:path w="4" h="5">
                    <a:moveTo>
                      <a:pt x="0" y="0"/>
                    </a:moveTo>
                    <a:cubicBezTo>
                      <a:pt x="0" y="0"/>
                      <a:pt x="0" y="0"/>
                      <a:pt x="0" y="0"/>
                    </a:cubicBezTo>
                    <a:cubicBezTo>
                      <a:pt x="1" y="2"/>
                      <a:pt x="2" y="3"/>
                      <a:pt x="4" y="5"/>
                    </a:cubicBezTo>
                    <a:cubicBezTo>
                      <a:pt x="3" y="0"/>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38"/>
              <p:cNvSpPr/>
              <p:nvPr/>
            </p:nvSpPr>
            <p:spPr bwMode="auto">
              <a:xfrm>
                <a:off x="7182" y="3861"/>
                <a:ext cx="10" cy="5"/>
              </a:xfrm>
              <a:custGeom>
                <a:gdLst>
                  <a:gd name="T0" fmla="*/ 4 w 4"/>
                  <a:gd name="T1" fmla="*/ 0 h 2"/>
                  <a:gd name="T2" fmla="*/ 0 w 4"/>
                  <a:gd name="T3" fmla="*/ 2 h 2"/>
                  <a:gd name="T4" fmla="*/ 1 w 4"/>
                  <a:gd name="T5" fmla="*/ 2 h 2"/>
                  <a:gd name="T6" fmla="*/ 4 w 4"/>
                  <a:gd name="T7" fmla="*/ 0 h 2"/>
                </a:gdLst>
                <a:cxnLst>
                  <a:cxn ang="0">
                    <a:pos x="T0" y="T1"/>
                  </a:cxn>
                  <a:cxn ang="0">
                    <a:pos x="T2" y="T3"/>
                  </a:cxn>
                  <a:cxn ang="0">
                    <a:pos x="T4" y="T5"/>
                  </a:cxn>
                  <a:cxn ang="0">
                    <a:pos x="T6" y="T7"/>
                  </a:cxn>
                </a:cxnLst>
                <a:rect l="0" t="0" r="r" b="b"/>
                <a:pathLst>
                  <a:path w="4" h="2">
                    <a:moveTo>
                      <a:pt x="4" y="0"/>
                    </a:moveTo>
                    <a:cubicBezTo>
                      <a:pt x="3" y="1"/>
                      <a:pt x="1" y="1"/>
                      <a:pt x="0" y="2"/>
                    </a:cubicBezTo>
                    <a:cubicBezTo>
                      <a:pt x="1" y="2"/>
                      <a:pt x="1" y="2"/>
                      <a:pt x="1" y="2"/>
                    </a:cubicBezTo>
                    <a:cubicBezTo>
                      <a:pt x="2" y="2"/>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39"/>
              <p:cNvSpPr/>
              <p:nvPr/>
            </p:nvSpPr>
            <p:spPr bwMode="auto">
              <a:xfrm>
                <a:off x="4115" y="320"/>
                <a:ext cx="92" cy="159"/>
              </a:xfrm>
              <a:custGeom>
                <a:gdLst>
                  <a:gd name="T0" fmla="*/ 25 w 39"/>
                  <a:gd name="T1" fmla="*/ 0 h 67"/>
                  <a:gd name="T2" fmla="*/ 7 w 39"/>
                  <a:gd name="T3" fmla="*/ 12 h 67"/>
                  <a:gd name="T4" fmla="*/ 7 w 39"/>
                  <a:gd name="T5" fmla="*/ 12 h 67"/>
                  <a:gd name="T6" fmla="*/ 1 w 39"/>
                  <a:gd name="T7" fmla="*/ 9 h 67"/>
                  <a:gd name="T8" fmla="*/ 0 w 39"/>
                  <a:gd name="T9" fmla="*/ 13 h 67"/>
                  <a:gd name="T10" fmla="*/ 0 w 39"/>
                  <a:gd name="T11" fmla="*/ 16 h 67"/>
                  <a:gd name="T12" fmla="*/ 0 w 39"/>
                  <a:gd name="T13" fmla="*/ 19 h 67"/>
                  <a:gd name="T14" fmla="*/ 1 w 39"/>
                  <a:gd name="T15" fmla="*/ 19 h 67"/>
                  <a:gd name="T16" fmla="*/ 4 w 39"/>
                  <a:gd name="T17" fmla="*/ 19 h 67"/>
                  <a:gd name="T18" fmla="*/ 6 w 39"/>
                  <a:gd name="T19" fmla="*/ 24 h 67"/>
                  <a:gd name="T20" fmla="*/ 6 w 39"/>
                  <a:gd name="T21" fmla="*/ 33 h 67"/>
                  <a:gd name="T22" fmla="*/ 6 w 39"/>
                  <a:gd name="T23" fmla="*/ 35 h 67"/>
                  <a:gd name="T24" fmla="*/ 9 w 39"/>
                  <a:gd name="T25" fmla="*/ 44 h 67"/>
                  <a:gd name="T26" fmla="*/ 9 w 39"/>
                  <a:gd name="T27" fmla="*/ 43 h 67"/>
                  <a:gd name="T28" fmla="*/ 8 w 39"/>
                  <a:gd name="T29" fmla="*/ 45 h 67"/>
                  <a:gd name="T30" fmla="*/ 7 w 39"/>
                  <a:gd name="T31" fmla="*/ 48 h 67"/>
                  <a:gd name="T32" fmla="*/ 7 w 39"/>
                  <a:gd name="T33" fmla="*/ 48 h 67"/>
                  <a:gd name="T34" fmla="*/ 6 w 39"/>
                  <a:gd name="T35" fmla="*/ 49 h 67"/>
                  <a:gd name="T36" fmla="*/ 5 w 39"/>
                  <a:gd name="T37" fmla="*/ 60 h 67"/>
                  <a:gd name="T38" fmla="*/ 5 w 39"/>
                  <a:gd name="T39" fmla="*/ 61 h 67"/>
                  <a:gd name="T40" fmla="*/ 12 w 39"/>
                  <a:gd name="T41" fmla="*/ 66 h 67"/>
                  <a:gd name="T42" fmla="*/ 13 w 39"/>
                  <a:gd name="T43" fmla="*/ 67 h 67"/>
                  <a:gd name="T44" fmla="*/ 17 w 39"/>
                  <a:gd name="T45" fmla="*/ 66 h 67"/>
                  <a:gd name="T46" fmla="*/ 22 w 39"/>
                  <a:gd name="T47" fmla="*/ 57 h 67"/>
                  <a:gd name="T48" fmla="*/ 23 w 39"/>
                  <a:gd name="T49" fmla="*/ 58 h 67"/>
                  <a:gd name="T50" fmla="*/ 24 w 39"/>
                  <a:gd name="T51" fmla="*/ 58 h 67"/>
                  <a:gd name="T52" fmla="*/ 25 w 39"/>
                  <a:gd name="T53" fmla="*/ 57 h 67"/>
                  <a:gd name="T54" fmla="*/ 26 w 39"/>
                  <a:gd name="T55" fmla="*/ 57 h 67"/>
                  <a:gd name="T56" fmla="*/ 26 w 39"/>
                  <a:gd name="T57" fmla="*/ 57 h 67"/>
                  <a:gd name="T58" fmla="*/ 28 w 39"/>
                  <a:gd name="T59" fmla="*/ 58 h 67"/>
                  <a:gd name="T60" fmla="*/ 32 w 39"/>
                  <a:gd name="T61" fmla="*/ 60 h 67"/>
                  <a:gd name="T62" fmla="*/ 39 w 39"/>
                  <a:gd name="T63" fmla="*/ 23 h 67"/>
                  <a:gd name="T64" fmla="*/ 38 w 39"/>
                  <a:gd name="T65" fmla="*/ 18 h 67"/>
                  <a:gd name="T66" fmla="*/ 36 w 39"/>
                  <a:gd name="T67" fmla="*/ 11 h 67"/>
                  <a:gd name="T68" fmla="*/ 32 w 39"/>
                  <a:gd name="T69" fmla="*/ 9 h 67"/>
                  <a:gd name="T70" fmla="*/ 32 w 39"/>
                  <a:gd name="T71" fmla="*/ 3 h 67"/>
                  <a:gd name="T72" fmla="*/ 32 w 39"/>
                  <a:gd name="T73" fmla="*/ 3 h 67"/>
                  <a:gd name="T74" fmla="*/ 25 w 39"/>
                  <a:gd name="T75" fmla="*/ 0 h 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67">
                    <a:moveTo>
                      <a:pt x="25" y="0"/>
                    </a:moveTo>
                    <a:cubicBezTo>
                      <a:pt x="20" y="4"/>
                      <a:pt x="14" y="12"/>
                      <a:pt x="7" y="12"/>
                    </a:cubicBezTo>
                    <a:cubicBezTo>
                      <a:pt x="7" y="12"/>
                      <a:pt x="7" y="12"/>
                      <a:pt x="7" y="12"/>
                    </a:cubicBezTo>
                    <a:cubicBezTo>
                      <a:pt x="3" y="12"/>
                      <a:pt x="3" y="11"/>
                      <a:pt x="1" y="9"/>
                    </a:cubicBezTo>
                    <a:cubicBezTo>
                      <a:pt x="2" y="11"/>
                      <a:pt x="1" y="11"/>
                      <a:pt x="0" y="13"/>
                    </a:cubicBezTo>
                    <a:cubicBezTo>
                      <a:pt x="0" y="15"/>
                      <a:pt x="1" y="15"/>
                      <a:pt x="0" y="16"/>
                    </a:cubicBezTo>
                    <a:cubicBezTo>
                      <a:pt x="0" y="16"/>
                      <a:pt x="0" y="18"/>
                      <a:pt x="0" y="19"/>
                    </a:cubicBezTo>
                    <a:cubicBezTo>
                      <a:pt x="0" y="19"/>
                      <a:pt x="1" y="19"/>
                      <a:pt x="1" y="19"/>
                    </a:cubicBezTo>
                    <a:cubicBezTo>
                      <a:pt x="2" y="19"/>
                      <a:pt x="3" y="19"/>
                      <a:pt x="4" y="19"/>
                    </a:cubicBezTo>
                    <a:cubicBezTo>
                      <a:pt x="4" y="20"/>
                      <a:pt x="6" y="24"/>
                      <a:pt x="6" y="24"/>
                    </a:cubicBezTo>
                    <a:cubicBezTo>
                      <a:pt x="8" y="28"/>
                      <a:pt x="7" y="29"/>
                      <a:pt x="6" y="33"/>
                    </a:cubicBezTo>
                    <a:cubicBezTo>
                      <a:pt x="6" y="34"/>
                      <a:pt x="6" y="34"/>
                      <a:pt x="6" y="35"/>
                    </a:cubicBezTo>
                    <a:cubicBezTo>
                      <a:pt x="6" y="38"/>
                      <a:pt x="8" y="41"/>
                      <a:pt x="9" y="44"/>
                    </a:cubicBezTo>
                    <a:cubicBezTo>
                      <a:pt x="9" y="43"/>
                      <a:pt x="9" y="43"/>
                      <a:pt x="9" y="43"/>
                    </a:cubicBezTo>
                    <a:cubicBezTo>
                      <a:pt x="9" y="43"/>
                      <a:pt x="8" y="44"/>
                      <a:pt x="8" y="45"/>
                    </a:cubicBezTo>
                    <a:cubicBezTo>
                      <a:pt x="7" y="46"/>
                      <a:pt x="7" y="48"/>
                      <a:pt x="7" y="48"/>
                    </a:cubicBezTo>
                    <a:cubicBezTo>
                      <a:pt x="7" y="48"/>
                      <a:pt x="7" y="48"/>
                      <a:pt x="7" y="48"/>
                    </a:cubicBezTo>
                    <a:cubicBezTo>
                      <a:pt x="7" y="48"/>
                      <a:pt x="6" y="49"/>
                      <a:pt x="6" y="49"/>
                    </a:cubicBezTo>
                    <a:cubicBezTo>
                      <a:pt x="5" y="53"/>
                      <a:pt x="5" y="56"/>
                      <a:pt x="5" y="60"/>
                    </a:cubicBezTo>
                    <a:cubicBezTo>
                      <a:pt x="5" y="60"/>
                      <a:pt x="5" y="60"/>
                      <a:pt x="5" y="61"/>
                    </a:cubicBezTo>
                    <a:cubicBezTo>
                      <a:pt x="9" y="61"/>
                      <a:pt x="9" y="63"/>
                      <a:pt x="12" y="66"/>
                    </a:cubicBezTo>
                    <a:cubicBezTo>
                      <a:pt x="12" y="66"/>
                      <a:pt x="12" y="67"/>
                      <a:pt x="13" y="67"/>
                    </a:cubicBezTo>
                    <a:cubicBezTo>
                      <a:pt x="15" y="67"/>
                      <a:pt x="17" y="66"/>
                      <a:pt x="17" y="66"/>
                    </a:cubicBezTo>
                    <a:cubicBezTo>
                      <a:pt x="20" y="64"/>
                      <a:pt x="20" y="59"/>
                      <a:pt x="22" y="57"/>
                    </a:cubicBezTo>
                    <a:cubicBezTo>
                      <a:pt x="22" y="57"/>
                      <a:pt x="23" y="58"/>
                      <a:pt x="23" y="58"/>
                    </a:cubicBezTo>
                    <a:cubicBezTo>
                      <a:pt x="23" y="58"/>
                      <a:pt x="23" y="58"/>
                      <a:pt x="24" y="58"/>
                    </a:cubicBezTo>
                    <a:cubicBezTo>
                      <a:pt x="24" y="58"/>
                      <a:pt x="24" y="57"/>
                      <a:pt x="25" y="57"/>
                    </a:cubicBezTo>
                    <a:cubicBezTo>
                      <a:pt x="25" y="57"/>
                      <a:pt x="26" y="57"/>
                      <a:pt x="26" y="57"/>
                    </a:cubicBezTo>
                    <a:cubicBezTo>
                      <a:pt x="26" y="57"/>
                      <a:pt x="26" y="57"/>
                      <a:pt x="26" y="57"/>
                    </a:cubicBezTo>
                    <a:cubicBezTo>
                      <a:pt x="27" y="57"/>
                      <a:pt x="28" y="58"/>
                      <a:pt x="28" y="58"/>
                    </a:cubicBezTo>
                    <a:cubicBezTo>
                      <a:pt x="29" y="58"/>
                      <a:pt x="32" y="59"/>
                      <a:pt x="32" y="60"/>
                    </a:cubicBezTo>
                    <a:cubicBezTo>
                      <a:pt x="36" y="48"/>
                      <a:pt x="36" y="35"/>
                      <a:pt x="39" y="23"/>
                    </a:cubicBezTo>
                    <a:cubicBezTo>
                      <a:pt x="39" y="21"/>
                      <a:pt x="39" y="21"/>
                      <a:pt x="38" y="18"/>
                    </a:cubicBezTo>
                    <a:cubicBezTo>
                      <a:pt x="38" y="16"/>
                      <a:pt x="37" y="13"/>
                      <a:pt x="36" y="11"/>
                    </a:cubicBezTo>
                    <a:cubicBezTo>
                      <a:pt x="35" y="11"/>
                      <a:pt x="32" y="11"/>
                      <a:pt x="32" y="9"/>
                    </a:cubicBezTo>
                    <a:cubicBezTo>
                      <a:pt x="31" y="8"/>
                      <a:pt x="33" y="5"/>
                      <a:pt x="32" y="3"/>
                    </a:cubicBezTo>
                    <a:cubicBezTo>
                      <a:pt x="32" y="3"/>
                      <a:pt x="32" y="3"/>
                      <a:pt x="32" y="3"/>
                    </a:cubicBezTo>
                    <a:cubicBezTo>
                      <a:pt x="30" y="3"/>
                      <a:pt x="27" y="1"/>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40"/>
              <p:cNvSpPr/>
              <p:nvPr/>
            </p:nvSpPr>
            <p:spPr bwMode="auto">
              <a:xfrm>
                <a:off x="4325" y="609"/>
                <a:ext cx="5" cy="4"/>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2"/>
                      <a:pt x="2" y="2"/>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41"/>
              <p:cNvSpPr/>
              <p:nvPr/>
            </p:nvSpPr>
            <p:spPr bwMode="auto">
              <a:xfrm>
                <a:off x="4223" y="214"/>
                <a:ext cx="19" cy="9"/>
              </a:xfrm>
              <a:custGeom>
                <a:gdLst>
                  <a:gd name="T0" fmla="*/ 7 w 8"/>
                  <a:gd name="T1" fmla="*/ 0 h 4"/>
                  <a:gd name="T2" fmla="*/ 4 w 8"/>
                  <a:gd name="T3" fmla="*/ 1 h 4"/>
                  <a:gd name="T4" fmla="*/ 2 w 8"/>
                  <a:gd name="T5" fmla="*/ 1 h 4"/>
                  <a:gd name="T6" fmla="*/ 0 w 8"/>
                  <a:gd name="T7" fmla="*/ 2 h 4"/>
                  <a:gd name="T8" fmla="*/ 7 w 8"/>
                  <a:gd name="T9" fmla="*/ 4 h 4"/>
                  <a:gd name="T10" fmla="*/ 7 w 8"/>
                  <a:gd name="T11" fmla="*/ 0 h 4"/>
                </a:gdLst>
                <a:cxnLst>
                  <a:cxn ang="0">
                    <a:pos x="T0" y="T1"/>
                  </a:cxn>
                  <a:cxn ang="0">
                    <a:pos x="T2" y="T3"/>
                  </a:cxn>
                  <a:cxn ang="0">
                    <a:pos x="T4" y="T5"/>
                  </a:cxn>
                  <a:cxn ang="0">
                    <a:pos x="T6" y="T7"/>
                  </a:cxn>
                  <a:cxn ang="0">
                    <a:pos x="T8" y="T9"/>
                  </a:cxn>
                  <a:cxn ang="0">
                    <a:pos x="T10" y="T11"/>
                  </a:cxn>
                </a:cxnLst>
                <a:rect l="0" t="0" r="r" b="b"/>
                <a:pathLst>
                  <a:path w="8" h="4">
                    <a:moveTo>
                      <a:pt x="7" y="0"/>
                    </a:moveTo>
                    <a:cubicBezTo>
                      <a:pt x="6" y="0"/>
                      <a:pt x="5" y="1"/>
                      <a:pt x="4" y="1"/>
                    </a:cubicBezTo>
                    <a:cubicBezTo>
                      <a:pt x="2" y="1"/>
                      <a:pt x="2" y="1"/>
                      <a:pt x="2" y="1"/>
                    </a:cubicBezTo>
                    <a:cubicBezTo>
                      <a:pt x="1" y="1"/>
                      <a:pt x="1" y="1"/>
                      <a:pt x="0" y="2"/>
                    </a:cubicBezTo>
                    <a:cubicBezTo>
                      <a:pt x="2" y="3"/>
                      <a:pt x="5" y="3"/>
                      <a:pt x="7" y="4"/>
                    </a:cubicBezTo>
                    <a:cubicBezTo>
                      <a:pt x="8"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42"/>
              <p:cNvSpPr/>
              <p:nvPr/>
            </p:nvSpPr>
            <p:spPr bwMode="auto">
              <a:xfrm>
                <a:off x="4351" y="517"/>
                <a:ext cx="182" cy="101"/>
              </a:xfrm>
              <a:custGeom>
                <a:gdLst>
                  <a:gd name="T0" fmla="*/ 77 w 77"/>
                  <a:gd name="T1" fmla="*/ 0 h 43"/>
                  <a:gd name="T2" fmla="*/ 58 w 77"/>
                  <a:gd name="T3" fmla="*/ 4 h 43"/>
                  <a:gd name="T4" fmla="*/ 43 w 77"/>
                  <a:gd name="T5" fmla="*/ 7 h 43"/>
                  <a:gd name="T6" fmla="*/ 42 w 77"/>
                  <a:gd name="T7" fmla="*/ 7 h 43"/>
                  <a:gd name="T8" fmla="*/ 24 w 77"/>
                  <a:gd name="T9" fmla="*/ 4 h 43"/>
                  <a:gd name="T10" fmla="*/ 22 w 77"/>
                  <a:gd name="T11" fmla="*/ 2 h 43"/>
                  <a:gd name="T12" fmla="*/ 21 w 77"/>
                  <a:gd name="T13" fmla="*/ 2 h 43"/>
                  <a:gd name="T14" fmla="*/ 17 w 77"/>
                  <a:gd name="T15" fmla="*/ 4 h 43"/>
                  <a:gd name="T16" fmla="*/ 12 w 77"/>
                  <a:gd name="T17" fmla="*/ 6 h 43"/>
                  <a:gd name="T18" fmla="*/ 11 w 77"/>
                  <a:gd name="T19" fmla="*/ 5 h 43"/>
                  <a:gd name="T20" fmla="*/ 9 w 77"/>
                  <a:gd name="T21" fmla="*/ 3 h 43"/>
                  <a:gd name="T22" fmla="*/ 8 w 77"/>
                  <a:gd name="T23" fmla="*/ 3 h 43"/>
                  <a:gd name="T24" fmla="*/ 6 w 77"/>
                  <a:gd name="T25" fmla="*/ 5 h 43"/>
                  <a:gd name="T26" fmla="*/ 1 w 77"/>
                  <a:gd name="T27" fmla="*/ 14 h 43"/>
                  <a:gd name="T28" fmla="*/ 6 w 77"/>
                  <a:gd name="T29" fmla="*/ 19 h 43"/>
                  <a:gd name="T30" fmla="*/ 8 w 77"/>
                  <a:gd name="T31" fmla="*/ 19 h 43"/>
                  <a:gd name="T32" fmla="*/ 11 w 77"/>
                  <a:gd name="T33" fmla="*/ 19 h 43"/>
                  <a:gd name="T34" fmla="*/ 11 w 77"/>
                  <a:gd name="T35" fmla="*/ 19 h 43"/>
                  <a:gd name="T36" fmla="*/ 18 w 77"/>
                  <a:gd name="T37" fmla="*/ 22 h 43"/>
                  <a:gd name="T38" fmla="*/ 39 w 77"/>
                  <a:gd name="T39" fmla="*/ 31 h 43"/>
                  <a:gd name="T40" fmla="*/ 47 w 77"/>
                  <a:gd name="T41" fmla="*/ 37 h 43"/>
                  <a:gd name="T42" fmla="*/ 49 w 77"/>
                  <a:gd name="T43" fmla="*/ 40 h 43"/>
                  <a:gd name="T44" fmla="*/ 64 w 77"/>
                  <a:gd name="T45" fmla="*/ 43 h 43"/>
                  <a:gd name="T46" fmla="*/ 69 w 77"/>
                  <a:gd name="T47" fmla="*/ 34 h 43"/>
                  <a:gd name="T48" fmla="*/ 69 w 77"/>
                  <a:gd name="T49" fmla="*/ 34 h 43"/>
                  <a:gd name="T50" fmla="*/ 64 w 77"/>
                  <a:gd name="T51" fmla="*/ 25 h 43"/>
                  <a:gd name="T52" fmla="*/ 66 w 77"/>
                  <a:gd name="T53" fmla="*/ 16 h 43"/>
                  <a:gd name="T54" fmla="*/ 77 w 77"/>
                  <a:gd name="T55"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7" h="43">
                    <a:moveTo>
                      <a:pt x="77" y="0"/>
                    </a:moveTo>
                    <a:cubicBezTo>
                      <a:pt x="70" y="1"/>
                      <a:pt x="64" y="2"/>
                      <a:pt x="58" y="4"/>
                    </a:cubicBezTo>
                    <a:cubicBezTo>
                      <a:pt x="54" y="4"/>
                      <a:pt x="48" y="7"/>
                      <a:pt x="43" y="7"/>
                    </a:cubicBezTo>
                    <a:cubicBezTo>
                      <a:pt x="43" y="7"/>
                      <a:pt x="42" y="7"/>
                      <a:pt x="42" y="7"/>
                    </a:cubicBezTo>
                    <a:cubicBezTo>
                      <a:pt x="36" y="6"/>
                      <a:pt x="30" y="5"/>
                      <a:pt x="24" y="4"/>
                    </a:cubicBezTo>
                    <a:cubicBezTo>
                      <a:pt x="23" y="3"/>
                      <a:pt x="23" y="2"/>
                      <a:pt x="22" y="2"/>
                    </a:cubicBezTo>
                    <a:cubicBezTo>
                      <a:pt x="22" y="2"/>
                      <a:pt x="22" y="2"/>
                      <a:pt x="21" y="2"/>
                    </a:cubicBezTo>
                    <a:cubicBezTo>
                      <a:pt x="20" y="2"/>
                      <a:pt x="19" y="3"/>
                      <a:pt x="17" y="4"/>
                    </a:cubicBezTo>
                    <a:cubicBezTo>
                      <a:pt x="16" y="5"/>
                      <a:pt x="14" y="6"/>
                      <a:pt x="12" y="6"/>
                    </a:cubicBezTo>
                    <a:cubicBezTo>
                      <a:pt x="12" y="6"/>
                      <a:pt x="11" y="5"/>
                      <a:pt x="11" y="5"/>
                    </a:cubicBezTo>
                    <a:cubicBezTo>
                      <a:pt x="9" y="5"/>
                      <a:pt x="10" y="4"/>
                      <a:pt x="9" y="3"/>
                    </a:cubicBezTo>
                    <a:cubicBezTo>
                      <a:pt x="8" y="3"/>
                      <a:pt x="8" y="3"/>
                      <a:pt x="8" y="3"/>
                    </a:cubicBezTo>
                    <a:cubicBezTo>
                      <a:pt x="7" y="3"/>
                      <a:pt x="7" y="3"/>
                      <a:pt x="6" y="5"/>
                    </a:cubicBezTo>
                    <a:cubicBezTo>
                      <a:pt x="5" y="6"/>
                      <a:pt x="0" y="12"/>
                      <a:pt x="1" y="14"/>
                    </a:cubicBezTo>
                    <a:cubicBezTo>
                      <a:pt x="2" y="15"/>
                      <a:pt x="4" y="18"/>
                      <a:pt x="6" y="19"/>
                    </a:cubicBezTo>
                    <a:cubicBezTo>
                      <a:pt x="6" y="19"/>
                      <a:pt x="7" y="19"/>
                      <a:pt x="8" y="19"/>
                    </a:cubicBezTo>
                    <a:cubicBezTo>
                      <a:pt x="9" y="19"/>
                      <a:pt x="10" y="19"/>
                      <a:pt x="11" y="19"/>
                    </a:cubicBezTo>
                    <a:cubicBezTo>
                      <a:pt x="11" y="19"/>
                      <a:pt x="11" y="19"/>
                      <a:pt x="11" y="19"/>
                    </a:cubicBezTo>
                    <a:cubicBezTo>
                      <a:pt x="13" y="19"/>
                      <a:pt x="16" y="21"/>
                      <a:pt x="18" y="22"/>
                    </a:cubicBezTo>
                    <a:cubicBezTo>
                      <a:pt x="25" y="25"/>
                      <a:pt x="32" y="28"/>
                      <a:pt x="39" y="31"/>
                    </a:cubicBezTo>
                    <a:cubicBezTo>
                      <a:pt x="42" y="33"/>
                      <a:pt x="45" y="34"/>
                      <a:pt x="47" y="37"/>
                    </a:cubicBezTo>
                    <a:cubicBezTo>
                      <a:pt x="48" y="38"/>
                      <a:pt x="48" y="39"/>
                      <a:pt x="49" y="40"/>
                    </a:cubicBezTo>
                    <a:cubicBezTo>
                      <a:pt x="52" y="42"/>
                      <a:pt x="60" y="42"/>
                      <a:pt x="64" y="43"/>
                    </a:cubicBezTo>
                    <a:cubicBezTo>
                      <a:pt x="65" y="41"/>
                      <a:pt x="66" y="34"/>
                      <a:pt x="69" y="34"/>
                    </a:cubicBezTo>
                    <a:cubicBezTo>
                      <a:pt x="69" y="34"/>
                      <a:pt x="69" y="34"/>
                      <a:pt x="69" y="34"/>
                    </a:cubicBezTo>
                    <a:cubicBezTo>
                      <a:pt x="68" y="31"/>
                      <a:pt x="66" y="28"/>
                      <a:pt x="64" y="25"/>
                    </a:cubicBezTo>
                    <a:cubicBezTo>
                      <a:pt x="63" y="23"/>
                      <a:pt x="65" y="18"/>
                      <a:pt x="66" y="16"/>
                    </a:cubicBezTo>
                    <a:cubicBezTo>
                      <a:pt x="68" y="10"/>
                      <a:pt x="73" y="5"/>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43"/>
              <p:cNvSpPr/>
              <p:nvPr/>
            </p:nvSpPr>
            <p:spPr bwMode="auto">
              <a:xfrm>
                <a:off x="4457" y="56"/>
                <a:ext cx="10" cy="40"/>
              </a:xfrm>
              <a:custGeom>
                <a:gdLst>
                  <a:gd name="T0" fmla="*/ 0 w 4"/>
                  <a:gd name="T1" fmla="*/ 0 h 17"/>
                  <a:gd name="T2" fmla="*/ 4 w 4"/>
                  <a:gd name="T3" fmla="*/ 17 h 17"/>
                  <a:gd name="T4" fmla="*/ 3 w 4"/>
                  <a:gd name="T5" fmla="*/ 10 h 17"/>
                  <a:gd name="T6" fmla="*/ 4 w 4"/>
                  <a:gd name="T7" fmla="*/ 6 h 17"/>
                  <a:gd name="T8" fmla="*/ 1 w 4"/>
                  <a:gd name="T9" fmla="*/ 4 h 17"/>
                  <a:gd name="T10" fmla="*/ 0 w 4"/>
                  <a:gd name="T11" fmla="*/ 0 h 17"/>
                </a:gdLst>
                <a:cxnLst>
                  <a:cxn ang="0">
                    <a:pos x="T0" y="T1"/>
                  </a:cxn>
                  <a:cxn ang="0">
                    <a:pos x="T2" y="T3"/>
                  </a:cxn>
                  <a:cxn ang="0">
                    <a:pos x="T4" y="T5"/>
                  </a:cxn>
                  <a:cxn ang="0">
                    <a:pos x="T6" y="T7"/>
                  </a:cxn>
                  <a:cxn ang="0">
                    <a:pos x="T8" y="T9"/>
                  </a:cxn>
                  <a:cxn ang="0">
                    <a:pos x="T10" y="T11"/>
                  </a:cxn>
                </a:cxnLst>
                <a:rect l="0" t="0" r="r" b="b"/>
                <a:pathLst>
                  <a:path w="4" h="17">
                    <a:moveTo>
                      <a:pt x="0" y="0"/>
                    </a:moveTo>
                    <a:cubicBezTo>
                      <a:pt x="1" y="6"/>
                      <a:pt x="3" y="11"/>
                      <a:pt x="4" y="17"/>
                    </a:cubicBezTo>
                    <a:cubicBezTo>
                      <a:pt x="4" y="14"/>
                      <a:pt x="4" y="12"/>
                      <a:pt x="3" y="10"/>
                    </a:cubicBezTo>
                    <a:cubicBezTo>
                      <a:pt x="3" y="10"/>
                      <a:pt x="4" y="7"/>
                      <a:pt x="4" y="6"/>
                    </a:cubicBezTo>
                    <a:cubicBezTo>
                      <a:pt x="4" y="6"/>
                      <a:pt x="2" y="5"/>
                      <a:pt x="1"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44"/>
              <p:cNvSpPr/>
              <p:nvPr/>
            </p:nvSpPr>
            <p:spPr bwMode="auto">
              <a:xfrm>
                <a:off x="4594" y="207"/>
                <a:ext cx="22" cy="5"/>
              </a:xfrm>
              <a:custGeom>
                <a:gdLst>
                  <a:gd name="T0" fmla="*/ 0 w 9"/>
                  <a:gd name="T1" fmla="*/ 0 h 2"/>
                  <a:gd name="T2" fmla="*/ 2 w 9"/>
                  <a:gd name="T3" fmla="*/ 2 h 2"/>
                  <a:gd name="T4" fmla="*/ 5 w 9"/>
                  <a:gd name="T5" fmla="*/ 1 h 2"/>
                  <a:gd name="T6" fmla="*/ 6 w 9"/>
                  <a:gd name="T7" fmla="*/ 1 h 2"/>
                  <a:gd name="T8" fmla="*/ 8 w 9"/>
                  <a:gd name="T9" fmla="*/ 1 h 2"/>
                  <a:gd name="T10" fmla="*/ 9 w 9"/>
                  <a:gd name="T11" fmla="*/ 1 h 2"/>
                  <a:gd name="T12" fmla="*/ 0 w 9"/>
                  <a:gd name="T13" fmla="*/ 0 h 2"/>
                </a:gdLst>
                <a:cxnLst>
                  <a:cxn ang="0">
                    <a:pos x="T0" y="T1"/>
                  </a:cxn>
                  <a:cxn ang="0">
                    <a:pos x="T2" y="T3"/>
                  </a:cxn>
                  <a:cxn ang="0">
                    <a:pos x="T4" y="T5"/>
                  </a:cxn>
                  <a:cxn ang="0">
                    <a:pos x="T6" y="T7"/>
                  </a:cxn>
                  <a:cxn ang="0">
                    <a:pos x="T8" y="T9"/>
                  </a:cxn>
                  <a:cxn ang="0">
                    <a:pos x="T10" y="T11"/>
                  </a:cxn>
                  <a:cxn ang="0">
                    <a:pos x="T12" y="T13"/>
                  </a:cxn>
                </a:cxnLst>
                <a:rect l="0" t="0" r="r" b="b"/>
                <a:pathLst>
                  <a:path w="9" h="2">
                    <a:moveTo>
                      <a:pt x="0" y="0"/>
                    </a:moveTo>
                    <a:cubicBezTo>
                      <a:pt x="1" y="0"/>
                      <a:pt x="1" y="1"/>
                      <a:pt x="2" y="2"/>
                    </a:cubicBezTo>
                    <a:cubicBezTo>
                      <a:pt x="3" y="1"/>
                      <a:pt x="4" y="1"/>
                      <a:pt x="5" y="1"/>
                    </a:cubicBezTo>
                    <a:cubicBezTo>
                      <a:pt x="5" y="1"/>
                      <a:pt x="6" y="1"/>
                      <a:pt x="6" y="1"/>
                    </a:cubicBezTo>
                    <a:cubicBezTo>
                      <a:pt x="7" y="1"/>
                      <a:pt x="7" y="1"/>
                      <a:pt x="8" y="1"/>
                    </a:cubicBezTo>
                    <a:cubicBezTo>
                      <a:pt x="8" y="1"/>
                      <a:pt x="9" y="1"/>
                      <a:pt x="9" y="1"/>
                    </a:cubicBezTo>
                    <a:cubicBezTo>
                      <a:pt x="6"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45"/>
              <p:cNvSpPr/>
              <p:nvPr/>
            </p:nvSpPr>
            <p:spPr bwMode="auto">
              <a:xfrm>
                <a:off x="4597" y="221"/>
                <a:ext cx="4" cy="2"/>
              </a:xfrm>
              <a:custGeom>
                <a:gdLst>
                  <a:gd name="T0" fmla="*/ 0 w 2"/>
                  <a:gd name="T1" fmla="*/ 0 h 1"/>
                  <a:gd name="T2" fmla="*/ 0 w 2"/>
                  <a:gd name="T3" fmla="*/ 0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0"/>
                      <a:pt x="0" y="0"/>
                      <a:pt x="0" y="0"/>
                    </a:cubicBezTo>
                    <a:cubicBezTo>
                      <a:pt x="1" y="0"/>
                      <a:pt x="1" y="0"/>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46"/>
              <p:cNvSpPr/>
              <p:nvPr/>
            </p:nvSpPr>
            <p:spPr bwMode="auto">
              <a:xfrm>
                <a:off x="4575" y="179"/>
                <a:ext cx="29" cy="7"/>
              </a:xfrm>
              <a:custGeom>
                <a:gdLst>
                  <a:gd name="T0" fmla="*/ 1 w 12"/>
                  <a:gd name="T1" fmla="*/ 0 h 3"/>
                  <a:gd name="T2" fmla="*/ 0 w 12"/>
                  <a:gd name="T3" fmla="*/ 0 h 3"/>
                  <a:gd name="T4" fmla="*/ 6 w 12"/>
                  <a:gd name="T5" fmla="*/ 3 h 3"/>
                  <a:gd name="T6" fmla="*/ 5 w 12"/>
                  <a:gd name="T7" fmla="*/ 0 h 3"/>
                  <a:gd name="T8" fmla="*/ 1 w 12"/>
                  <a:gd name="T9" fmla="*/ 0 h 3"/>
                </a:gdLst>
                <a:cxnLst>
                  <a:cxn ang="0">
                    <a:pos x="T0" y="T1"/>
                  </a:cxn>
                  <a:cxn ang="0">
                    <a:pos x="T2" y="T3"/>
                  </a:cxn>
                  <a:cxn ang="0">
                    <a:pos x="T4" y="T5"/>
                  </a:cxn>
                  <a:cxn ang="0">
                    <a:pos x="T6" y="T7"/>
                  </a:cxn>
                  <a:cxn ang="0">
                    <a:pos x="T8" y="T9"/>
                  </a:cxn>
                </a:cxnLst>
                <a:rect l="0" t="0" r="r" b="b"/>
                <a:pathLst>
                  <a:path w="12" h="3">
                    <a:moveTo>
                      <a:pt x="1" y="0"/>
                    </a:moveTo>
                    <a:cubicBezTo>
                      <a:pt x="1" y="0"/>
                      <a:pt x="0" y="0"/>
                      <a:pt x="0" y="0"/>
                    </a:cubicBezTo>
                    <a:cubicBezTo>
                      <a:pt x="1" y="2"/>
                      <a:pt x="4" y="3"/>
                      <a:pt x="6" y="3"/>
                    </a:cubicBezTo>
                    <a:cubicBezTo>
                      <a:pt x="11" y="3"/>
                      <a:pt x="12" y="2"/>
                      <a:pt x="5" y="0"/>
                    </a:cubicBezTo>
                    <a:cubicBezTo>
                      <a:pt x="4"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47"/>
              <p:cNvSpPr/>
              <p:nvPr/>
            </p:nvSpPr>
            <p:spPr bwMode="auto">
              <a:xfrm>
                <a:off x="4627" y="216"/>
                <a:ext cx="19" cy="7"/>
              </a:xfrm>
              <a:custGeom>
                <a:gdLst>
                  <a:gd name="T0" fmla="*/ 0 w 8"/>
                  <a:gd name="T1" fmla="*/ 0 h 3"/>
                  <a:gd name="T2" fmla="*/ 8 w 8"/>
                  <a:gd name="T3" fmla="*/ 3 h 3"/>
                  <a:gd name="T4" fmla="*/ 0 w 8"/>
                  <a:gd name="T5" fmla="*/ 0 h 3"/>
                </a:gdLst>
                <a:cxnLst>
                  <a:cxn ang="0">
                    <a:pos x="T0" y="T1"/>
                  </a:cxn>
                  <a:cxn ang="0">
                    <a:pos x="T2" y="T3"/>
                  </a:cxn>
                  <a:cxn ang="0">
                    <a:pos x="T4" y="T5"/>
                  </a:cxn>
                </a:cxnLst>
                <a:rect l="0" t="0" r="r" b="b"/>
                <a:pathLst>
                  <a:path w="8" h="3">
                    <a:moveTo>
                      <a:pt x="0" y="0"/>
                    </a:moveTo>
                    <a:cubicBezTo>
                      <a:pt x="2" y="2"/>
                      <a:pt x="6" y="3"/>
                      <a:pt x="8" y="3"/>
                    </a:cubicBezTo>
                    <a:cubicBezTo>
                      <a:pt x="5" y="2"/>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48"/>
              <p:cNvSpPr/>
              <p:nvPr/>
            </p:nvSpPr>
            <p:spPr bwMode="auto">
              <a:xfrm>
                <a:off x="4554" y="197"/>
                <a:ext cx="7" cy="5"/>
              </a:xfrm>
              <a:custGeom>
                <a:gdLst>
                  <a:gd name="T0" fmla="*/ 2 w 3"/>
                  <a:gd name="T1" fmla="*/ 0 h 2"/>
                  <a:gd name="T2" fmla="*/ 0 w 3"/>
                  <a:gd name="T3" fmla="*/ 1 h 2"/>
                  <a:gd name="T4" fmla="*/ 1 w 3"/>
                  <a:gd name="T5" fmla="*/ 2 h 2"/>
                  <a:gd name="T6" fmla="*/ 3 w 3"/>
                  <a:gd name="T7" fmla="*/ 0 h 2"/>
                  <a:gd name="T8" fmla="*/ 2 w 3"/>
                  <a:gd name="T9" fmla="*/ 0 h 2"/>
                </a:gdLst>
                <a:cxnLst>
                  <a:cxn ang="0">
                    <a:pos x="T0" y="T1"/>
                  </a:cxn>
                  <a:cxn ang="0">
                    <a:pos x="T2" y="T3"/>
                  </a:cxn>
                  <a:cxn ang="0">
                    <a:pos x="T4" y="T5"/>
                  </a:cxn>
                  <a:cxn ang="0">
                    <a:pos x="T6" y="T7"/>
                  </a:cxn>
                  <a:cxn ang="0">
                    <a:pos x="T8" y="T9"/>
                  </a:cxn>
                </a:cxnLst>
                <a:rect l="0" t="0" r="r" b="b"/>
                <a:pathLst>
                  <a:path w="3" h="2">
                    <a:moveTo>
                      <a:pt x="2" y="0"/>
                    </a:moveTo>
                    <a:cubicBezTo>
                      <a:pt x="1" y="0"/>
                      <a:pt x="1" y="1"/>
                      <a:pt x="0" y="1"/>
                    </a:cubicBezTo>
                    <a:cubicBezTo>
                      <a:pt x="0" y="2"/>
                      <a:pt x="0" y="2"/>
                      <a:pt x="1" y="2"/>
                    </a:cubicBezTo>
                    <a:cubicBezTo>
                      <a:pt x="1" y="2"/>
                      <a:pt x="2" y="2"/>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49"/>
              <p:cNvSpPr/>
              <p:nvPr/>
            </p:nvSpPr>
            <p:spPr bwMode="auto">
              <a:xfrm>
                <a:off x="4500" y="138"/>
                <a:ext cx="7" cy="7"/>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0" y="1"/>
                      <a:pt x="2" y="2"/>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50"/>
              <p:cNvSpPr/>
              <p:nvPr/>
            </p:nvSpPr>
            <p:spPr bwMode="auto">
              <a:xfrm>
                <a:off x="4488" y="127"/>
                <a:ext cx="12" cy="11"/>
              </a:xfrm>
              <a:custGeom>
                <a:gdLst>
                  <a:gd name="T0" fmla="*/ 0 w 5"/>
                  <a:gd name="T1" fmla="*/ 0 h 5"/>
                  <a:gd name="T2" fmla="*/ 5 w 5"/>
                  <a:gd name="T3" fmla="*/ 5 h 5"/>
                  <a:gd name="T4" fmla="*/ 0 w 5"/>
                  <a:gd name="T5" fmla="*/ 0 h 5"/>
                </a:gdLst>
                <a:cxnLst>
                  <a:cxn ang="0">
                    <a:pos x="T0" y="T1"/>
                  </a:cxn>
                  <a:cxn ang="0">
                    <a:pos x="T2" y="T3"/>
                  </a:cxn>
                  <a:cxn ang="0">
                    <a:pos x="T4" y="T5"/>
                  </a:cxn>
                </a:cxnLst>
                <a:rect l="0" t="0" r="r" b="b"/>
                <a:pathLst>
                  <a:path w="5" h="5">
                    <a:moveTo>
                      <a:pt x="0" y="0"/>
                    </a:moveTo>
                    <a:cubicBezTo>
                      <a:pt x="2" y="2"/>
                      <a:pt x="3" y="4"/>
                      <a:pt x="5" y="5"/>
                    </a:cubicBezTo>
                    <a:cubicBezTo>
                      <a:pt x="4"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51"/>
              <p:cNvSpPr/>
              <p:nvPr/>
            </p:nvSpPr>
            <p:spPr bwMode="auto">
              <a:xfrm>
                <a:off x="4481" y="89"/>
                <a:ext cx="26" cy="28"/>
              </a:xfrm>
              <a:custGeom>
                <a:gdLst>
                  <a:gd name="T0" fmla="*/ 0 w 11"/>
                  <a:gd name="T1" fmla="*/ 0 h 12"/>
                  <a:gd name="T2" fmla="*/ 10 w 11"/>
                  <a:gd name="T3" fmla="*/ 12 h 12"/>
                  <a:gd name="T4" fmla="*/ 4 w 11"/>
                  <a:gd name="T5" fmla="*/ 5 h 12"/>
                  <a:gd name="T6" fmla="*/ 4 w 11"/>
                  <a:gd name="T7" fmla="*/ 3 h 12"/>
                  <a:gd name="T8" fmla="*/ 3 w 11"/>
                  <a:gd name="T9" fmla="*/ 3 h 12"/>
                  <a:gd name="T10" fmla="*/ 0 w 11"/>
                  <a:gd name="T11" fmla="*/ 0 h 12"/>
                </a:gdLst>
                <a:cxnLst>
                  <a:cxn ang="0">
                    <a:pos x="T0" y="T1"/>
                  </a:cxn>
                  <a:cxn ang="0">
                    <a:pos x="T2" y="T3"/>
                  </a:cxn>
                  <a:cxn ang="0">
                    <a:pos x="T4" y="T5"/>
                  </a:cxn>
                  <a:cxn ang="0">
                    <a:pos x="T6" y="T7"/>
                  </a:cxn>
                  <a:cxn ang="0">
                    <a:pos x="T8" y="T9"/>
                  </a:cxn>
                  <a:cxn ang="0">
                    <a:pos x="T10" y="T11"/>
                  </a:cxn>
                </a:cxnLst>
                <a:rect l="0" t="0" r="r" b="b"/>
                <a:pathLst>
                  <a:path w="11" h="12">
                    <a:moveTo>
                      <a:pt x="0" y="0"/>
                    </a:moveTo>
                    <a:cubicBezTo>
                      <a:pt x="3" y="4"/>
                      <a:pt x="7" y="8"/>
                      <a:pt x="10" y="12"/>
                    </a:cubicBezTo>
                    <a:cubicBezTo>
                      <a:pt x="11" y="6"/>
                      <a:pt x="7" y="8"/>
                      <a:pt x="4" y="5"/>
                    </a:cubicBezTo>
                    <a:cubicBezTo>
                      <a:pt x="4" y="4"/>
                      <a:pt x="5" y="4"/>
                      <a:pt x="4" y="3"/>
                    </a:cubicBezTo>
                    <a:cubicBezTo>
                      <a:pt x="3"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52"/>
              <p:cNvSpPr/>
              <p:nvPr/>
            </p:nvSpPr>
            <p:spPr bwMode="auto">
              <a:xfrm>
                <a:off x="4464" y="53"/>
                <a:ext cx="17" cy="19"/>
              </a:xfrm>
              <a:custGeom>
                <a:gdLst>
                  <a:gd name="T0" fmla="*/ 3 w 7"/>
                  <a:gd name="T1" fmla="*/ 0 h 8"/>
                  <a:gd name="T2" fmla="*/ 0 w 7"/>
                  <a:gd name="T3" fmla="*/ 4 h 8"/>
                  <a:gd name="T4" fmla="*/ 7 w 7"/>
                  <a:gd name="T5" fmla="*/ 8 h 8"/>
                  <a:gd name="T6" fmla="*/ 4 w 7"/>
                  <a:gd name="T7" fmla="*/ 2 h 8"/>
                  <a:gd name="T8" fmla="*/ 4 w 7"/>
                  <a:gd name="T9" fmla="*/ 2 h 8"/>
                  <a:gd name="T10" fmla="*/ 3 w 7"/>
                  <a:gd name="T11" fmla="*/ 0 h 8"/>
                </a:gdLst>
                <a:cxnLst>
                  <a:cxn ang="0">
                    <a:pos x="T0" y="T1"/>
                  </a:cxn>
                  <a:cxn ang="0">
                    <a:pos x="T2" y="T3"/>
                  </a:cxn>
                  <a:cxn ang="0">
                    <a:pos x="T4" y="T5"/>
                  </a:cxn>
                  <a:cxn ang="0">
                    <a:pos x="T6" y="T7"/>
                  </a:cxn>
                  <a:cxn ang="0">
                    <a:pos x="T8" y="T9"/>
                  </a:cxn>
                  <a:cxn ang="0">
                    <a:pos x="T10" y="T11"/>
                  </a:cxn>
                </a:cxnLst>
                <a:rect l="0" t="0" r="r" b="b"/>
                <a:pathLst>
                  <a:path w="7" h="8">
                    <a:moveTo>
                      <a:pt x="3" y="0"/>
                    </a:moveTo>
                    <a:cubicBezTo>
                      <a:pt x="2" y="2"/>
                      <a:pt x="1" y="3"/>
                      <a:pt x="0" y="4"/>
                    </a:cubicBezTo>
                    <a:cubicBezTo>
                      <a:pt x="2" y="5"/>
                      <a:pt x="5" y="7"/>
                      <a:pt x="7" y="8"/>
                    </a:cubicBezTo>
                    <a:cubicBezTo>
                      <a:pt x="7" y="6"/>
                      <a:pt x="6" y="2"/>
                      <a:pt x="4" y="2"/>
                    </a:cubicBezTo>
                    <a:cubicBezTo>
                      <a:pt x="4" y="2"/>
                      <a:pt x="4" y="2"/>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53"/>
              <p:cNvSpPr/>
              <p:nvPr/>
            </p:nvSpPr>
            <p:spPr bwMode="auto">
              <a:xfrm>
                <a:off x="4573" y="190"/>
                <a:ext cx="43" cy="7"/>
              </a:xfrm>
              <a:custGeom>
                <a:gdLst>
                  <a:gd name="T0" fmla="*/ 3 w 18"/>
                  <a:gd name="T1" fmla="*/ 0 h 3"/>
                  <a:gd name="T2" fmla="*/ 0 w 18"/>
                  <a:gd name="T3" fmla="*/ 0 h 3"/>
                  <a:gd name="T4" fmla="*/ 15 w 18"/>
                  <a:gd name="T5" fmla="*/ 3 h 3"/>
                  <a:gd name="T6" fmla="*/ 18 w 18"/>
                  <a:gd name="T7" fmla="*/ 2 h 3"/>
                  <a:gd name="T8" fmla="*/ 7 w 18"/>
                  <a:gd name="T9" fmla="*/ 0 h 3"/>
                  <a:gd name="T10" fmla="*/ 3 w 18"/>
                  <a:gd name="T11" fmla="*/ 0 h 3"/>
                </a:gdLst>
                <a:cxnLst>
                  <a:cxn ang="0">
                    <a:pos x="T0" y="T1"/>
                  </a:cxn>
                  <a:cxn ang="0">
                    <a:pos x="T2" y="T3"/>
                  </a:cxn>
                  <a:cxn ang="0">
                    <a:pos x="T4" y="T5"/>
                  </a:cxn>
                  <a:cxn ang="0">
                    <a:pos x="T6" y="T7"/>
                  </a:cxn>
                  <a:cxn ang="0">
                    <a:pos x="T8" y="T9"/>
                  </a:cxn>
                  <a:cxn ang="0">
                    <a:pos x="T10" y="T11"/>
                  </a:cxn>
                </a:cxnLst>
                <a:rect l="0" t="0" r="r" b="b"/>
                <a:pathLst>
                  <a:path w="18" h="3">
                    <a:moveTo>
                      <a:pt x="3" y="0"/>
                    </a:moveTo>
                    <a:cubicBezTo>
                      <a:pt x="3" y="0"/>
                      <a:pt x="2" y="0"/>
                      <a:pt x="0" y="0"/>
                    </a:cubicBezTo>
                    <a:cubicBezTo>
                      <a:pt x="5" y="1"/>
                      <a:pt x="10" y="3"/>
                      <a:pt x="15" y="3"/>
                    </a:cubicBezTo>
                    <a:cubicBezTo>
                      <a:pt x="16" y="3"/>
                      <a:pt x="17" y="3"/>
                      <a:pt x="18" y="2"/>
                    </a:cubicBezTo>
                    <a:cubicBezTo>
                      <a:pt x="14" y="2"/>
                      <a:pt x="10" y="2"/>
                      <a:pt x="7"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54"/>
              <p:cNvSpPr/>
              <p:nvPr/>
            </p:nvSpPr>
            <p:spPr bwMode="auto">
              <a:xfrm>
                <a:off x="5072" y="585"/>
                <a:ext cx="14" cy="19"/>
              </a:xfrm>
              <a:custGeom>
                <a:gdLst>
                  <a:gd name="T0" fmla="*/ 4 w 6"/>
                  <a:gd name="T1" fmla="*/ 0 h 8"/>
                  <a:gd name="T2" fmla="*/ 0 w 6"/>
                  <a:gd name="T3" fmla="*/ 3 h 8"/>
                  <a:gd name="T4" fmla="*/ 2 w 6"/>
                  <a:gd name="T5" fmla="*/ 8 h 8"/>
                  <a:gd name="T6" fmla="*/ 6 w 6"/>
                  <a:gd name="T7" fmla="*/ 2 h 8"/>
                  <a:gd name="T8" fmla="*/ 4 w 6"/>
                  <a:gd name="T9" fmla="*/ 0 h 8"/>
                </a:gdLst>
                <a:cxnLst>
                  <a:cxn ang="0">
                    <a:pos x="T0" y="T1"/>
                  </a:cxn>
                  <a:cxn ang="0">
                    <a:pos x="T2" y="T3"/>
                  </a:cxn>
                  <a:cxn ang="0">
                    <a:pos x="T4" y="T5"/>
                  </a:cxn>
                  <a:cxn ang="0">
                    <a:pos x="T6" y="T7"/>
                  </a:cxn>
                  <a:cxn ang="0">
                    <a:pos x="T8" y="T9"/>
                  </a:cxn>
                </a:cxnLst>
                <a:rect l="0" t="0" r="r" b="b"/>
                <a:pathLst>
                  <a:path w="6" h="8">
                    <a:moveTo>
                      <a:pt x="4" y="0"/>
                    </a:moveTo>
                    <a:cubicBezTo>
                      <a:pt x="3" y="0"/>
                      <a:pt x="1" y="3"/>
                      <a:pt x="0" y="3"/>
                    </a:cubicBezTo>
                    <a:cubicBezTo>
                      <a:pt x="0" y="5"/>
                      <a:pt x="1" y="6"/>
                      <a:pt x="2" y="8"/>
                    </a:cubicBezTo>
                    <a:cubicBezTo>
                      <a:pt x="4" y="7"/>
                      <a:pt x="6" y="4"/>
                      <a:pt x="6" y="2"/>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55"/>
              <p:cNvSpPr/>
              <p:nvPr/>
            </p:nvSpPr>
            <p:spPr bwMode="auto">
              <a:xfrm>
                <a:off x="5067" y="611"/>
                <a:ext cx="5" cy="10"/>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1" y="2"/>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56"/>
              <p:cNvSpPr/>
              <p:nvPr/>
            </p:nvSpPr>
            <p:spPr bwMode="auto">
              <a:xfrm>
                <a:off x="4963" y="533"/>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57"/>
              <p:cNvSpPr/>
              <p:nvPr/>
            </p:nvSpPr>
            <p:spPr bwMode="auto">
              <a:xfrm>
                <a:off x="5053" y="401"/>
                <a:ext cx="23" cy="16"/>
              </a:xfrm>
              <a:custGeom>
                <a:gdLst>
                  <a:gd name="T0" fmla="*/ 10 w 10"/>
                  <a:gd name="T1" fmla="*/ 0 h 7"/>
                  <a:gd name="T2" fmla="*/ 6 w 10"/>
                  <a:gd name="T3" fmla="*/ 3 h 7"/>
                  <a:gd name="T4" fmla="*/ 6 w 10"/>
                  <a:gd name="T5" fmla="*/ 3 h 7"/>
                  <a:gd name="T6" fmla="*/ 6 w 10"/>
                  <a:gd name="T7" fmla="*/ 2 h 7"/>
                  <a:gd name="T8" fmla="*/ 4 w 10"/>
                  <a:gd name="T9" fmla="*/ 1 h 7"/>
                  <a:gd name="T10" fmla="*/ 3 w 10"/>
                  <a:gd name="T11" fmla="*/ 1 h 7"/>
                  <a:gd name="T12" fmla="*/ 2 w 10"/>
                  <a:gd name="T13" fmla="*/ 1 h 7"/>
                  <a:gd name="T14" fmla="*/ 1 w 10"/>
                  <a:gd name="T15" fmla="*/ 6 h 7"/>
                  <a:gd name="T16" fmla="*/ 5 w 10"/>
                  <a:gd name="T17" fmla="*/ 4 h 7"/>
                  <a:gd name="T18" fmla="*/ 8 w 10"/>
                  <a:gd name="T19" fmla="*/ 7 h 7"/>
                  <a:gd name="T20" fmla="*/ 10 w 10"/>
                  <a:gd name="T2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10" y="0"/>
                    </a:moveTo>
                    <a:cubicBezTo>
                      <a:pt x="9" y="1"/>
                      <a:pt x="7" y="3"/>
                      <a:pt x="6" y="3"/>
                    </a:cubicBezTo>
                    <a:cubicBezTo>
                      <a:pt x="6" y="3"/>
                      <a:pt x="6" y="3"/>
                      <a:pt x="6" y="3"/>
                    </a:cubicBezTo>
                    <a:cubicBezTo>
                      <a:pt x="6" y="3"/>
                      <a:pt x="6" y="2"/>
                      <a:pt x="6" y="2"/>
                    </a:cubicBezTo>
                    <a:cubicBezTo>
                      <a:pt x="5" y="2"/>
                      <a:pt x="4" y="1"/>
                      <a:pt x="4" y="1"/>
                    </a:cubicBezTo>
                    <a:cubicBezTo>
                      <a:pt x="4" y="1"/>
                      <a:pt x="3" y="1"/>
                      <a:pt x="3" y="1"/>
                    </a:cubicBezTo>
                    <a:cubicBezTo>
                      <a:pt x="3" y="1"/>
                      <a:pt x="2" y="1"/>
                      <a:pt x="2" y="1"/>
                    </a:cubicBezTo>
                    <a:cubicBezTo>
                      <a:pt x="0" y="2"/>
                      <a:pt x="1" y="3"/>
                      <a:pt x="1" y="6"/>
                    </a:cubicBezTo>
                    <a:cubicBezTo>
                      <a:pt x="3" y="5"/>
                      <a:pt x="4" y="4"/>
                      <a:pt x="5" y="4"/>
                    </a:cubicBezTo>
                    <a:cubicBezTo>
                      <a:pt x="6" y="4"/>
                      <a:pt x="6" y="5"/>
                      <a:pt x="8" y="7"/>
                    </a:cubicBezTo>
                    <a:cubicBezTo>
                      <a:pt x="7" y="3"/>
                      <a:pt x="10"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58"/>
              <p:cNvSpPr/>
              <p:nvPr/>
            </p:nvSpPr>
            <p:spPr bwMode="auto">
              <a:xfrm>
                <a:off x="5055" y="587"/>
                <a:ext cx="12" cy="12"/>
              </a:xfrm>
              <a:custGeom>
                <a:gdLst>
                  <a:gd name="T0" fmla="*/ 5 w 5"/>
                  <a:gd name="T1" fmla="*/ 0 h 5"/>
                  <a:gd name="T2" fmla="*/ 3 w 5"/>
                  <a:gd name="T3" fmla="*/ 5 h 5"/>
                  <a:gd name="T4" fmla="*/ 5 w 5"/>
                  <a:gd name="T5" fmla="*/ 0 h 5"/>
                </a:gdLst>
                <a:cxnLst>
                  <a:cxn ang="0">
                    <a:pos x="T0" y="T1"/>
                  </a:cxn>
                  <a:cxn ang="0">
                    <a:pos x="T2" y="T3"/>
                  </a:cxn>
                  <a:cxn ang="0">
                    <a:pos x="T4" y="T5"/>
                  </a:cxn>
                </a:cxnLst>
                <a:rect l="0" t="0" r="r" b="b"/>
                <a:pathLst>
                  <a:path w="5" h="5">
                    <a:moveTo>
                      <a:pt x="5" y="0"/>
                    </a:moveTo>
                    <a:cubicBezTo>
                      <a:pt x="2" y="1"/>
                      <a:pt x="0" y="2"/>
                      <a:pt x="3" y="5"/>
                    </a:cubicBezTo>
                    <a:cubicBezTo>
                      <a:pt x="5" y="3"/>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59"/>
              <p:cNvSpPr/>
              <p:nvPr/>
            </p:nvSpPr>
            <p:spPr bwMode="auto">
              <a:xfrm>
                <a:off x="5072" y="632"/>
                <a:ext cx="7" cy="10"/>
              </a:xfrm>
              <a:custGeom>
                <a:gdLst>
                  <a:gd name="T0" fmla="*/ 0 w 3"/>
                  <a:gd name="T1" fmla="*/ 0 h 4"/>
                  <a:gd name="T2" fmla="*/ 2 w 3"/>
                  <a:gd name="T3" fmla="*/ 4 h 4"/>
                  <a:gd name="T4" fmla="*/ 0 w 3"/>
                  <a:gd name="T5" fmla="*/ 0 h 4"/>
                </a:gdLst>
                <a:cxnLst>
                  <a:cxn ang="0">
                    <a:pos x="T0" y="T1"/>
                  </a:cxn>
                  <a:cxn ang="0">
                    <a:pos x="T2" y="T3"/>
                  </a:cxn>
                  <a:cxn ang="0">
                    <a:pos x="T4" y="T5"/>
                  </a:cxn>
                </a:cxnLst>
                <a:rect l="0" t="0" r="r" b="b"/>
                <a:pathLst>
                  <a:path w="3" h="4">
                    <a:moveTo>
                      <a:pt x="0" y="0"/>
                    </a:moveTo>
                    <a:cubicBezTo>
                      <a:pt x="1" y="1"/>
                      <a:pt x="1" y="2"/>
                      <a:pt x="2" y="4"/>
                    </a:cubicBezTo>
                    <a:cubicBezTo>
                      <a:pt x="3" y="2"/>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60"/>
              <p:cNvSpPr/>
              <p:nvPr/>
            </p:nvSpPr>
            <p:spPr bwMode="auto">
              <a:xfrm>
                <a:off x="5107" y="554"/>
                <a:ext cx="19" cy="12"/>
              </a:xfrm>
              <a:custGeom>
                <a:gdLst>
                  <a:gd name="T0" fmla="*/ 8 w 8"/>
                  <a:gd name="T1" fmla="*/ 0 h 5"/>
                  <a:gd name="T2" fmla="*/ 0 w 8"/>
                  <a:gd name="T3" fmla="*/ 5 h 5"/>
                  <a:gd name="T4" fmla="*/ 8 w 8"/>
                  <a:gd name="T5" fmla="*/ 0 h 5"/>
                </a:gdLst>
                <a:cxnLst>
                  <a:cxn ang="0">
                    <a:pos x="T0" y="T1"/>
                  </a:cxn>
                  <a:cxn ang="0">
                    <a:pos x="T2" y="T3"/>
                  </a:cxn>
                  <a:cxn ang="0">
                    <a:pos x="T4" y="T5"/>
                  </a:cxn>
                </a:cxnLst>
                <a:rect l="0" t="0" r="r" b="b"/>
                <a:pathLst>
                  <a:path w="8" h="5">
                    <a:moveTo>
                      <a:pt x="8" y="0"/>
                    </a:moveTo>
                    <a:cubicBezTo>
                      <a:pt x="5" y="1"/>
                      <a:pt x="3" y="3"/>
                      <a:pt x="0" y="5"/>
                    </a:cubicBezTo>
                    <a:cubicBezTo>
                      <a:pt x="3" y="4"/>
                      <a:pt x="7" y="3"/>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61"/>
              <p:cNvSpPr/>
              <p:nvPr/>
            </p:nvSpPr>
            <p:spPr bwMode="auto">
              <a:xfrm>
                <a:off x="5046" y="566"/>
                <a:ext cx="2" cy="10"/>
              </a:xfrm>
              <a:custGeom>
                <a:gdLst>
                  <a:gd name="T0" fmla="*/ 1 w 1"/>
                  <a:gd name="T1" fmla="*/ 0 h 4"/>
                  <a:gd name="T2" fmla="*/ 0 w 1"/>
                  <a:gd name="T3" fmla="*/ 4 h 4"/>
                  <a:gd name="T4" fmla="*/ 1 w 1"/>
                  <a:gd name="T5" fmla="*/ 0 h 4"/>
                </a:gdLst>
                <a:cxnLst>
                  <a:cxn ang="0">
                    <a:pos x="T0" y="T1"/>
                  </a:cxn>
                  <a:cxn ang="0">
                    <a:pos x="T2" y="T3"/>
                  </a:cxn>
                  <a:cxn ang="0">
                    <a:pos x="T4" y="T5"/>
                  </a:cxn>
                </a:cxnLst>
                <a:rect l="0" t="0" r="r" b="b"/>
                <a:pathLst>
                  <a:path w="1" h="4">
                    <a:moveTo>
                      <a:pt x="1" y="0"/>
                    </a:moveTo>
                    <a:cubicBezTo>
                      <a:pt x="1" y="0"/>
                      <a:pt x="0" y="1"/>
                      <a:pt x="0" y="4"/>
                    </a:cubicBezTo>
                    <a:cubicBezTo>
                      <a:pt x="1" y="2"/>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62"/>
              <p:cNvSpPr/>
              <p:nvPr/>
            </p:nvSpPr>
            <p:spPr bwMode="auto">
              <a:xfrm>
                <a:off x="4972" y="455"/>
                <a:ext cx="8" cy="10"/>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1" y="1"/>
                      <a:pt x="2" y="3"/>
                      <a:pt x="3"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63"/>
              <p:cNvSpPr/>
              <p:nvPr/>
            </p:nvSpPr>
            <p:spPr bwMode="auto">
              <a:xfrm>
                <a:off x="5100" y="443"/>
                <a:ext cx="43" cy="29"/>
              </a:xfrm>
              <a:custGeom>
                <a:gdLst>
                  <a:gd name="T0" fmla="*/ 10 w 18"/>
                  <a:gd name="T1" fmla="*/ 0 h 12"/>
                  <a:gd name="T2" fmla="*/ 4 w 18"/>
                  <a:gd name="T3" fmla="*/ 3 h 12"/>
                  <a:gd name="T4" fmla="*/ 2 w 18"/>
                  <a:gd name="T5" fmla="*/ 3 h 12"/>
                  <a:gd name="T6" fmla="*/ 2 w 18"/>
                  <a:gd name="T7" fmla="*/ 3 h 12"/>
                  <a:gd name="T8" fmla="*/ 2 w 18"/>
                  <a:gd name="T9" fmla="*/ 3 h 12"/>
                  <a:gd name="T10" fmla="*/ 0 w 18"/>
                  <a:gd name="T11" fmla="*/ 4 h 12"/>
                  <a:gd name="T12" fmla="*/ 7 w 18"/>
                  <a:gd name="T13" fmla="*/ 5 h 12"/>
                  <a:gd name="T14" fmla="*/ 9 w 18"/>
                  <a:gd name="T15" fmla="*/ 5 h 12"/>
                  <a:gd name="T16" fmla="*/ 5 w 18"/>
                  <a:gd name="T17" fmla="*/ 9 h 12"/>
                  <a:gd name="T18" fmla="*/ 13 w 18"/>
                  <a:gd name="T19" fmla="*/ 12 h 12"/>
                  <a:gd name="T20" fmla="*/ 14 w 18"/>
                  <a:gd name="T21" fmla="*/ 12 h 12"/>
                  <a:gd name="T22" fmla="*/ 14 w 18"/>
                  <a:gd name="T23" fmla="*/ 8 h 12"/>
                  <a:gd name="T24" fmla="*/ 14 w 18"/>
                  <a:gd name="T25" fmla="*/ 8 h 12"/>
                  <a:gd name="T26" fmla="*/ 16 w 18"/>
                  <a:gd name="T27" fmla="*/ 9 h 12"/>
                  <a:gd name="T28" fmla="*/ 17 w 18"/>
                  <a:gd name="T29" fmla="*/ 11 h 12"/>
                  <a:gd name="T30" fmla="*/ 18 w 18"/>
                  <a:gd name="T31" fmla="*/ 10 h 12"/>
                  <a:gd name="T32" fmla="*/ 13 w 18"/>
                  <a:gd name="T33" fmla="*/ 4 h 12"/>
                  <a:gd name="T34" fmla="*/ 11 w 18"/>
                  <a:gd name="T35" fmla="*/ 1 h 12"/>
                  <a:gd name="T36" fmla="*/ 10 w 18"/>
                  <a:gd name="T37"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2">
                    <a:moveTo>
                      <a:pt x="10" y="0"/>
                    </a:moveTo>
                    <a:cubicBezTo>
                      <a:pt x="8" y="0"/>
                      <a:pt x="6" y="2"/>
                      <a:pt x="4" y="3"/>
                    </a:cubicBezTo>
                    <a:cubicBezTo>
                      <a:pt x="4" y="3"/>
                      <a:pt x="3" y="3"/>
                      <a:pt x="2" y="3"/>
                    </a:cubicBezTo>
                    <a:cubicBezTo>
                      <a:pt x="2" y="3"/>
                      <a:pt x="2" y="3"/>
                      <a:pt x="2" y="3"/>
                    </a:cubicBezTo>
                    <a:cubicBezTo>
                      <a:pt x="2" y="3"/>
                      <a:pt x="2" y="3"/>
                      <a:pt x="2" y="3"/>
                    </a:cubicBezTo>
                    <a:cubicBezTo>
                      <a:pt x="1" y="3"/>
                      <a:pt x="0" y="3"/>
                      <a:pt x="0" y="4"/>
                    </a:cubicBezTo>
                    <a:cubicBezTo>
                      <a:pt x="2" y="5"/>
                      <a:pt x="5" y="5"/>
                      <a:pt x="7" y="5"/>
                    </a:cubicBezTo>
                    <a:cubicBezTo>
                      <a:pt x="8" y="5"/>
                      <a:pt x="8" y="5"/>
                      <a:pt x="9" y="5"/>
                    </a:cubicBezTo>
                    <a:cubicBezTo>
                      <a:pt x="8" y="7"/>
                      <a:pt x="7" y="8"/>
                      <a:pt x="5" y="9"/>
                    </a:cubicBezTo>
                    <a:cubicBezTo>
                      <a:pt x="8" y="10"/>
                      <a:pt x="10" y="11"/>
                      <a:pt x="13" y="12"/>
                    </a:cubicBezTo>
                    <a:cubicBezTo>
                      <a:pt x="13" y="12"/>
                      <a:pt x="14" y="12"/>
                      <a:pt x="14" y="12"/>
                    </a:cubicBezTo>
                    <a:cubicBezTo>
                      <a:pt x="18" y="12"/>
                      <a:pt x="12" y="9"/>
                      <a:pt x="14" y="8"/>
                    </a:cubicBezTo>
                    <a:cubicBezTo>
                      <a:pt x="14" y="8"/>
                      <a:pt x="14" y="8"/>
                      <a:pt x="14" y="8"/>
                    </a:cubicBezTo>
                    <a:cubicBezTo>
                      <a:pt x="14" y="8"/>
                      <a:pt x="15" y="8"/>
                      <a:pt x="16" y="9"/>
                    </a:cubicBezTo>
                    <a:cubicBezTo>
                      <a:pt x="16" y="10"/>
                      <a:pt x="17" y="11"/>
                      <a:pt x="17" y="11"/>
                    </a:cubicBezTo>
                    <a:cubicBezTo>
                      <a:pt x="17" y="11"/>
                      <a:pt x="17" y="11"/>
                      <a:pt x="18" y="10"/>
                    </a:cubicBezTo>
                    <a:cubicBezTo>
                      <a:pt x="18" y="8"/>
                      <a:pt x="13" y="5"/>
                      <a:pt x="13" y="4"/>
                    </a:cubicBezTo>
                    <a:cubicBezTo>
                      <a:pt x="12" y="3"/>
                      <a:pt x="13" y="1"/>
                      <a:pt x="11" y="1"/>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64"/>
              <p:cNvSpPr/>
              <p:nvPr/>
            </p:nvSpPr>
            <p:spPr bwMode="auto">
              <a:xfrm>
                <a:off x="5076" y="372"/>
                <a:ext cx="15" cy="5"/>
              </a:xfrm>
              <a:custGeom>
                <a:gdLst>
                  <a:gd name="T0" fmla="*/ 0 w 6"/>
                  <a:gd name="T1" fmla="*/ 0 h 2"/>
                  <a:gd name="T2" fmla="*/ 4 w 6"/>
                  <a:gd name="T3" fmla="*/ 2 h 2"/>
                  <a:gd name="T4" fmla="*/ 6 w 6"/>
                  <a:gd name="T5" fmla="*/ 1 h 2"/>
                  <a:gd name="T6" fmla="*/ 0 w 6"/>
                  <a:gd name="T7" fmla="*/ 0 h 2"/>
                </a:gdLst>
                <a:cxnLst>
                  <a:cxn ang="0">
                    <a:pos x="T0" y="T1"/>
                  </a:cxn>
                  <a:cxn ang="0">
                    <a:pos x="T2" y="T3"/>
                  </a:cxn>
                  <a:cxn ang="0">
                    <a:pos x="T4" y="T5"/>
                  </a:cxn>
                  <a:cxn ang="0">
                    <a:pos x="T6" y="T7"/>
                  </a:cxn>
                </a:cxnLst>
                <a:rect l="0" t="0" r="r" b="b"/>
                <a:pathLst>
                  <a:path w="6" h="2">
                    <a:moveTo>
                      <a:pt x="0" y="0"/>
                    </a:moveTo>
                    <a:cubicBezTo>
                      <a:pt x="2" y="1"/>
                      <a:pt x="3" y="2"/>
                      <a:pt x="4" y="2"/>
                    </a:cubicBezTo>
                    <a:cubicBezTo>
                      <a:pt x="4" y="2"/>
                      <a:pt x="5" y="2"/>
                      <a:pt x="6"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65"/>
              <p:cNvSpPr/>
              <p:nvPr/>
            </p:nvSpPr>
            <p:spPr bwMode="auto">
              <a:xfrm>
                <a:off x="5032" y="595"/>
                <a:ext cx="4" cy="9"/>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1" y="2"/>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66"/>
              <p:cNvSpPr>
                <a:spLocks noEditPoints="1"/>
              </p:cNvSpPr>
              <p:nvPr/>
            </p:nvSpPr>
            <p:spPr bwMode="auto">
              <a:xfrm>
                <a:off x="4970" y="682"/>
                <a:ext cx="156" cy="47"/>
              </a:xfrm>
              <a:custGeom>
                <a:gdLst>
                  <a:gd name="T0" fmla="*/ 66 w 66"/>
                  <a:gd name="T1" fmla="*/ 10 h 20"/>
                  <a:gd name="T2" fmla="*/ 65 w 66"/>
                  <a:gd name="T3" fmla="*/ 10 h 20"/>
                  <a:gd name="T4" fmla="*/ 66 w 66"/>
                  <a:gd name="T5" fmla="*/ 10 h 20"/>
                  <a:gd name="T6" fmla="*/ 5 w 66"/>
                  <a:gd name="T7" fmla="*/ 0 h 20"/>
                  <a:gd name="T8" fmla="*/ 0 w 66"/>
                  <a:gd name="T9" fmla="*/ 10 h 20"/>
                  <a:gd name="T10" fmla="*/ 21 w 66"/>
                  <a:gd name="T11" fmla="*/ 14 h 20"/>
                  <a:gd name="T12" fmla="*/ 28 w 66"/>
                  <a:gd name="T13" fmla="*/ 20 h 20"/>
                  <a:gd name="T14" fmla="*/ 49 w 66"/>
                  <a:gd name="T15" fmla="*/ 18 h 20"/>
                  <a:gd name="T16" fmla="*/ 63 w 66"/>
                  <a:gd name="T17" fmla="*/ 17 h 20"/>
                  <a:gd name="T18" fmla="*/ 65 w 66"/>
                  <a:gd name="T19" fmla="*/ 14 h 20"/>
                  <a:gd name="T20" fmla="*/ 65 w 66"/>
                  <a:gd name="T21" fmla="*/ 13 h 20"/>
                  <a:gd name="T22" fmla="*/ 64 w 66"/>
                  <a:gd name="T23" fmla="*/ 12 h 20"/>
                  <a:gd name="T24" fmla="*/ 65 w 66"/>
                  <a:gd name="T25" fmla="*/ 10 h 20"/>
                  <a:gd name="T26" fmla="*/ 57 w 66"/>
                  <a:gd name="T27" fmla="*/ 13 h 20"/>
                  <a:gd name="T28" fmla="*/ 54 w 66"/>
                  <a:gd name="T29" fmla="*/ 15 h 20"/>
                  <a:gd name="T30" fmla="*/ 53 w 66"/>
                  <a:gd name="T31" fmla="*/ 9 h 20"/>
                  <a:gd name="T32" fmla="*/ 52 w 66"/>
                  <a:gd name="T33" fmla="*/ 9 h 20"/>
                  <a:gd name="T34" fmla="*/ 50 w 66"/>
                  <a:gd name="T35" fmla="*/ 10 h 20"/>
                  <a:gd name="T36" fmla="*/ 47 w 66"/>
                  <a:gd name="T37" fmla="*/ 10 h 20"/>
                  <a:gd name="T38" fmla="*/ 46 w 66"/>
                  <a:gd name="T39" fmla="*/ 10 h 20"/>
                  <a:gd name="T40" fmla="*/ 34 w 66"/>
                  <a:gd name="T41" fmla="*/ 8 h 20"/>
                  <a:gd name="T42" fmla="*/ 33 w 66"/>
                  <a:gd name="T43" fmla="*/ 7 h 20"/>
                  <a:gd name="T44" fmla="*/ 28 w 66"/>
                  <a:gd name="T45" fmla="*/ 8 h 20"/>
                  <a:gd name="T46" fmla="*/ 22 w 66"/>
                  <a:gd name="T47" fmla="*/ 9 h 20"/>
                  <a:gd name="T48" fmla="*/ 18 w 66"/>
                  <a:gd name="T49" fmla="*/ 7 h 20"/>
                  <a:gd name="T50" fmla="*/ 14 w 66"/>
                  <a:gd name="T51" fmla="*/ 4 h 20"/>
                  <a:gd name="T52" fmla="*/ 15 w 66"/>
                  <a:gd name="T53" fmla="*/ 3 h 20"/>
                  <a:gd name="T54" fmla="*/ 13 w 66"/>
                  <a:gd name="T55" fmla="*/ 2 h 20"/>
                  <a:gd name="T56" fmla="*/ 7 w 66"/>
                  <a:gd name="T57" fmla="*/ 3 h 20"/>
                  <a:gd name="T58" fmla="*/ 7 w 66"/>
                  <a:gd name="T59" fmla="*/ 3 h 20"/>
                  <a:gd name="T60" fmla="*/ 5 w 66"/>
                  <a:gd name="T61"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20">
                    <a:moveTo>
                      <a:pt x="66" y="10"/>
                    </a:moveTo>
                    <a:cubicBezTo>
                      <a:pt x="66" y="10"/>
                      <a:pt x="65" y="10"/>
                      <a:pt x="65" y="10"/>
                    </a:cubicBezTo>
                    <a:cubicBezTo>
                      <a:pt x="65" y="10"/>
                      <a:pt x="66" y="10"/>
                      <a:pt x="66" y="10"/>
                    </a:cubicBezTo>
                    <a:moveTo>
                      <a:pt x="5" y="0"/>
                    </a:moveTo>
                    <a:cubicBezTo>
                      <a:pt x="3" y="3"/>
                      <a:pt x="1" y="7"/>
                      <a:pt x="0" y="10"/>
                    </a:cubicBezTo>
                    <a:cubicBezTo>
                      <a:pt x="7" y="11"/>
                      <a:pt x="14" y="12"/>
                      <a:pt x="21" y="14"/>
                    </a:cubicBezTo>
                    <a:cubicBezTo>
                      <a:pt x="24" y="15"/>
                      <a:pt x="31" y="16"/>
                      <a:pt x="28" y="20"/>
                    </a:cubicBezTo>
                    <a:cubicBezTo>
                      <a:pt x="35" y="20"/>
                      <a:pt x="42" y="18"/>
                      <a:pt x="49" y="18"/>
                    </a:cubicBezTo>
                    <a:cubicBezTo>
                      <a:pt x="53" y="18"/>
                      <a:pt x="58" y="17"/>
                      <a:pt x="63" y="17"/>
                    </a:cubicBezTo>
                    <a:cubicBezTo>
                      <a:pt x="64" y="17"/>
                      <a:pt x="64" y="15"/>
                      <a:pt x="65" y="14"/>
                    </a:cubicBezTo>
                    <a:cubicBezTo>
                      <a:pt x="65" y="13"/>
                      <a:pt x="65" y="14"/>
                      <a:pt x="65" y="13"/>
                    </a:cubicBezTo>
                    <a:cubicBezTo>
                      <a:pt x="65" y="13"/>
                      <a:pt x="64" y="12"/>
                      <a:pt x="64" y="12"/>
                    </a:cubicBezTo>
                    <a:cubicBezTo>
                      <a:pt x="65" y="11"/>
                      <a:pt x="65" y="10"/>
                      <a:pt x="65" y="10"/>
                    </a:cubicBezTo>
                    <a:cubicBezTo>
                      <a:pt x="62" y="13"/>
                      <a:pt x="62" y="12"/>
                      <a:pt x="57" y="13"/>
                    </a:cubicBezTo>
                    <a:cubicBezTo>
                      <a:pt x="55" y="14"/>
                      <a:pt x="55" y="14"/>
                      <a:pt x="54" y="15"/>
                    </a:cubicBezTo>
                    <a:cubicBezTo>
                      <a:pt x="53" y="14"/>
                      <a:pt x="51" y="11"/>
                      <a:pt x="53" y="9"/>
                    </a:cubicBezTo>
                    <a:cubicBezTo>
                      <a:pt x="52" y="9"/>
                      <a:pt x="52" y="9"/>
                      <a:pt x="52" y="9"/>
                    </a:cubicBezTo>
                    <a:cubicBezTo>
                      <a:pt x="52" y="9"/>
                      <a:pt x="51" y="10"/>
                      <a:pt x="50" y="10"/>
                    </a:cubicBezTo>
                    <a:cubicBezTo>
                      <a:pt x="49" y="10"/>
                      <a:pt x="48" y="10"/>
                      <a:pt x="47" y="10"/>
                    </a:cubicBezTo>
                    <a:cubicBezTo>
                      <a:pt x="47" y="10"/>
                      <a:pt x="46" y="10"/>
                      <a:pt x="46" y="10"/>
                    </a:cubicBezTo>
                    <a:cubicBezTo>
                      <a:pt x="42" y="9"/>
                      <a:pt x="38" y="8"/>
                      <a:pt x="34" y="8"/>
                    </a:cubicBezTo>
                    <a:cubicBezTo>
                      <a:pt x="34" y="7"/>
                      <a:pt x="33" y="7"/>
                      <a:pt x="33" y="7"/>
                    </a:cubicBezTo>
                    <a:cubicBezTo>
                      <a:pt x="31" y="7"/>
                      <a:pt x="29" y="8"/>
                      <a:pt x="28" y="8"/>
                    </a:cubicBezTo>
                    <a:cubicBezTo>
                      <a:pt x="26" y="8"/>
                      <a:pt x="24" y="9"/>
                      <a:pt x="22" y="9"/>
                    </a:cubicBezTo>
                    <a:cubicBezTo>
                      <a:pt x="20" y="9"/>
                      <a:pt x="19" y="8"/>
                      <a:pt x="18" y="7"/>
                    </a:cubicBezTo>
                    <a:cubicBezTo>
                      <a:pt x="17" y="6"/>
                      <a:pt x="10" y="5"/>
                      <a:pt x="14" y="4"/>
                    </a:cubicBezTo>
                    <a:cubicBezTo>
                      <a:pt x="15" y="4"/>
                      <a:pt x="16" y="4"/>
                      <a:pt x="15" y="3"/>
                    </a:cubicBezTo>
                    <a:cubicBezTo>
                      <a:pt x="15" y="2"/>
                      <a:pt x="14" y="2"/>
                      <a:pt x="13" y="2"/>
                    </a:cubicBezTo>
                    <a:cubicBezTo>
                      <a:pt x="11" y="2"/>
                      <a:pt x="8" y="3"/>
                      <a:pt x="7" y="3"/>
                    </a:cubicBezTo>
                    <a:cubicBezTo>
                      <a:pt x="7" y="3"/>
                      <a:pt x="7" y="3"/>
                      <a:pt x="7" y="3"/>
                    </a:cubicBezTo>
                    <a:cubicBezTo>
                      <a:pt x="5" y="3"/>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67"/>
              <p:cNvSpPr/>
              <p:nvPr/>
            </p:nvSpPr>
            <p:spPr bwMode="auto">
              <a:xfrm>
                <a:off x="5202" y="635"/>
                <a:ext cx="30" cy="30"/>
              </a:xfrm>
              <a:custGeom>
                <a:gdLst>
                  <a:gd name="T0" fmla="*/ 11 w 13"/>
                  <a:gd name="T1" fmla="*/ 0 h 13"/>
                  <a:gd name="T2" fmla="*/ 6 w 13"/>
                  <a:gd name="T3" fmla="*/ 2 h 13"/>
                  <a:gd name="T4" fmla="*/ 1 w 13"/>
                  <a:gd name="T5" fmla="*/ 7 h 13"/>
                  <a:gd name="T6" fmla="*/ 1 w 13"/>
                  <a:gd name="T7" fmla="*/ 12 h 13"/>
                  <a:gd name="T8" fmla="*/ 1 w 13"/>
                  <a:gd name="T9" fmla="*/ 13 h 13"/>
                  <a:gd name="T10" fmla="*/ 1 w 13"/>
                  <a:gd name="T11" fmla="*/ 13 h 13"/>
                  <a:gd name="T12" fmla="*/ 5 w 13"/>
                  <a:gd name="T13" fmla="*/ 11 h 13"/>
                  <a:gd name="T14" fmla="*/ 8 w 13"/>
                  <a:gd name="T15" fmla="*/ 10 h 13"/>
                  <a:gd name="T16" fmla="*/ 9 w 13"/>
                  <a:gd name="T17" fmla="*/ 10 h 13"/>
                  <a:gd name="T18" fmla="*/ 11 w 13"/>
                  <a:gd name="T19" fmla="*/ 4 h 13"/>
                  <a:gd name="T20" fmla="*/ 12 w 13"/>
                  <a:gd name="T21" fmla="*/ 0 h 13"/>
                  <a:gd name="T22" fmla="*/ 11 w 13"/>
                  <a:gd name="T23"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3">
                    <a:moveTo>
                      <a:pt x="11" y="0"/>
                    </a:moveTo>
                    <a:cubicBezTo>
                      <a:pt x="10" y="0"/>
                      <a:pt x="7" y="1"/>
                      <a:pt x="6" y="2"/>
                    </a:cubicBezTo>
                    <a:cubicBezTo>
                      <a:pt x="4" y="3"/>
                      <a:pt x="2" y="4"/>
                      <a:pt x="1" y="7"/>
                    </a:cubicBezTo>
                    <a:cubicBezTo>
                      <a:pt x="0" y="8"/>
                      <a:pt x="0" y="10"/>
                      <a:pt x="1" y="12"/>
                    </a:cubicBezTo>
                    <a:cubicBezTo>
                      <a:pt x="1" y="12"/>
                      <a:pt x="0" y="13"/>
                      <a:pt x="1" y="13"/>
                    </a:cubicBezTo>
                    <a:cubicBezTo>
                      <a:pt x="1" y="13"/>
                      <a:pt x="1" y="13"/>
                      <a:pt x="1" y="13"/>
                    </a:cubicBezTo>
                    <a:cubicBezTo>
                      <a:pt x="2" y="13"/>
                      <a:pt x="4" y="12"/>
                      <a:pt x="5" y="11"/>
                    </a:cubicBezTo>
                    <a:cubicBezTo>
                      <a:pt x="6" y="10"/>
                      <a:pt x="7" y="10"/>
                      <a:pt x="8" y="10"/>
                    </a:cubicBezTo>
                    <a:cubicBezTo>
                      <a:pt x="8" y="10"/>
                      <a:pt x="9" y="10"/>
                      <a:pt x="9" y="10"/>
                    </a:cubicBezTo>
                    <a:cubicBezTo>
                      <a:pt x="9" y="7"/>
                      <a:pt x="10" y="7"/>
                      <a:pt x="11" y="4"/>
                    </a:cubicBezTo>
                    <a:cubicBezTo>
                      <a:pt x="12" y="3"/>
                      <a:pt x="13" y="1"/>
                      <a:pt x="12" y="0"/>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68"/>
              <p:cNvSpPr/>
              <p:nvPr/>
            </p:nvSpPr>
            <p:spPr bwMode="auto">
              <a:xfrm>
                <a:off x="5034" y="533"/>
                <a:ext cx="16" cy="21"/>
              </a:xfrm>
              <a:custGeom>
                <a:gdLst>
                  <a:gd name="T0" fmla="*/ 2 w 7"/>
                  <a:gd name="T1" fmla="*/ 0 h 9"/>
                  <a:gd name="T2" fmla="*/ 0 w 7"/>
                  <a:gd name="T3" fmla="*/ 1 h 9"/>
                  <a:gd name="T4" fmla="*/ 7 w 7"/>
                  <a:gd name="T5" fmla="*/ 9 h 9"/>
                  <a:gd name="T6" fmla="*/ 6 w 7"/>
                  <a:gd name="T7" fmla="*/ 4 h 9"/>
                  <a:gd name="T8" fmla="*/ 4 w 7"/>
                  <a:gd name="T9" fmla="*/ 3 h 9"/>
                  <a:gd name="T10" fmla="*/ 2 w 7"/>
                  <a:gd name="T11" fmla="*/ 0 h 9"/>
                </a:gdLst>
                <a:cxnLst>
                  <a:cxn ang="0">
                    <a:pos x="T0" y="T1"/>
                  </a:cxn>
                  <a:cxn ang="0">
                    <a:pos x="T2" y="T3"/>
                  </a:cxn>
                  <a:cxn ang="0">
                    <a:pos x="T4" y="T5"/>
                  </a:cxn>
                  <a:cxn ang="0">
                    <a:pos x="T6" y="T7"/>
                  </a:cxn>
                  <a:cxn ang="0">
                    <a:pos x="T8" y="T9"/>
                  </a:cxn>
                  <a:cxn ang="0">
                    <a:pos x="T10" y="T11"/>
                  </a:cxn>
                </a:cxnLst>
                <a:rect l="0" t="0" r="r" b="b"/>
                <a:pathLst>
                  <a:path w="7" h="9">
                    <a:moveTo>
                      <a:pt x="2" y="0"/>
                    </a:moveTo>
                    <a:cubicBezTo>
                      <a:pt x="2" y="0"/>
                      <a:pt x="1" y="1"/>
                      <a:pt x="0" y="1"/>
                    </a:cubicBezTo>
                    <a:cubicBezTo>
                      <a:pt x="2" y="4"/>
                      <a:pt x="4" y="6"/>
                      <a:pt x="7" y="9"/>
                    </a:cubicBezTo>
                    <a:cubicBezTo>
                      <a:pt x="7" y="7"/>
                      <a:pt x="7" y="5"/>
                      <a:pt x="6" y="4"/>
                    </a:cubicBezTo>
                    <a:cubicBezTo>
                      <a:pt x="6" y="3"/>
                      <a:pt x="6" y="4"/>
                      <a:pt x="4" y="3"/>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69"/>
              <p:cNvSpPr/>
              <p:nvPr/>
            </p:nvSpPr>
            <p:spPr bwMode="auto">
              <a:xfrm>
                <a:off x="4932" y="467"/>
                <a:ext cx="100" cy="71"/>
              </a:xfrm>
              <a:custGeom>
                <a:gdLst>
                  <a:gd name="T0" fmla="*/ 10 w 42"/>
                  <a:gd name="T1" fmla="*/ 0 h 30"/>
                  <a:gd name="T2" fmla="*/ 0 w 42"/>
                  <a:gd name="T3" fmla="*/ 5 h 30"/>
                  <a:gd name="T4" fmla="*/ 4 w 42"/>
                  <a:gd name="T5" fmla="*/ 4 h 30"/>
                  <a:gd name="T6" fmla="*/ 7 w 42"/>
                  <a:gd name="T7" fmla="*/ 5 h 30"/>
                  <a:gd name="T8" fmla="*/ 19 w 42"/>
                  <a:gd name="T9" fmla="*/ 16 h 30"/>
                  <a:gd name="T10" fmla="*/ 22 w 42"/>
                  <a:gd name="T11" fmla="*/ 17 h 30"/>
                  <a:gd name="T12" fmla="*/ 24 w 42"/>
                  <a:gd name="T13" fmla="*/ 17 h 30"/>
                  <a:gd name="T14" fmla="*/ 25 w 42"/>
                  <a:gd name="T15" fmla="*/ 17 h 30"/>
                  <a:gd name="T16" fmla="*/ 27 w 42"/>
                  <a:gd name="T17" fmla="*/ 17 h 30"/>
                  <a:gd name="T18" fmla="*/ 31 w 42"/>
                  <a:gd name="T19" fmla="*/ 23 h 30"/>
                  <a:gd name="T20" fmla="*/ 39 w 42"/>
                  <a:gd name="T21" fmla="*/ 30 h 30"/>
                  <a:gd name="T22" fmla="*/ 41 w 42"/>
                  <a:gd name="T23" fmla="*/ 24 h 30"/>
                  <a:gd name="T24" fmla="*/ 38 w 42"/>
                  <a:gd name="T25" fmla="*/ 24 h 30"/>
                  <a:gd name="T26" fmla="*/ 33 w 42"/>
                  <a:gd name="T27" fmla="*/ 20 h 30"/>
                  <a:gd name="T28" fmla="*/ 32 w 42"/>
                  <a:gd name="T29" fmla="*/ 17 h 30"/>
                  <a:gd name="T30" fmla="*/ 32 w 42"/>
                  <a:gd name="T31" fmla="*/ 13 h 30"/>
                  <a:gd name="T32" fmla="*/ 30 w 42"/>
                  <a:gd name="T33" fmla="*/ 12 h 30"/>
                  <a:gd name="T34" fmla="*/ 29 w 42"/>
                  <a:gd name="T35" fmla="*/ 10 h 30"/>
                  <a:gd name="T36" fmla="*/ 28 w 42"/>
                  <a:gd name="T37" fmla="*/ 10 h 30"/>
                  <a:gd name="T38" fmla="*/ 26 w 42"/>
                  <a:gd name="T39" fmla="*/ 10 h 30"/>
                  <a:gd name="T40" fmla="*/ 25 w 42"/>
                  <a:gd name="T41" fmla="*/ 10 h 30"/>
                  <a:gd name="T42" fmla="*/ 24 w 42"/>
                  <a:gd name="T43" fmla="*/ 10 h 30"/>
                  <a:gd name="T44" fmla="*/ 20 w 42"/>
                  <a:gd name="T45" fmla="*/ 7 h 30"/>
                  <a:gd name="T46" fmla="*/ 16 w 42"/>
                  <a:gd name="T47" fmla="*/ 6 h 30"/>
                  <a:gd name="T48" fmla="*/ 10 w 42"/>
                  <a:gd name="T49" fmla="*/ 0 h 30"/>
                  <a:gd name="T50" fmla="*/ 10 w 42"/>
                  <a:gd name="T51"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 h="30">
                    <a:moveTo>
                      <a:pt x="10" y="0"/>
                    </a:moveTo>
                    <a:cubicBezTo>
                      <a:pt x="6" y="0"/>
                      <a:pt x="3" y="3"/>
                      <a:pt x="0" y="5"/>
                    </a:cubicBezTo>
                    <a:cubicBezTo>
                      <a:pt x="1" y="5"/>
                      <a:pt x="3" y="4"/>
                      <a:pt x="4" y="4"/>
                    </a:cubicBezTo>
                    <a:cubicBezTo>
                      <a:pt x="5" y="4"/>
                      <a:pt x="6" y="5"/>
                      <a:pt x="7" y="5"/>
                    </a:cubicBezTo>
                    <a:cubicBezTo>
                      <a:pt x="12" y="7"/>
                      <a:pt x="14" y="14"/>
                      <a:pt x="19" y="16"/>
                    </a:cubicBezTo>
                    <a:cubicBezTo>
                      <a:pt x="20" y="17"/>
                      <a:pt x="21" y="17"/>
                      <a:pt x="22" y="17"/>
                    </a:cubicBezTo>
                    <a:cubicBezTo>
                      <a:pt x="23" y="17"/>
                      <a:pt x="23" y="17"/>
                      <a:pt x="24" y="17"/>
                    </a:cubicBezTo>
                    <a:cubicBezTo>
                      <a:pt x="24" y="17"/>
                      <a:pt x="25" y="17"/>
                      <a:pt x="25" y="17"/>
                    </a:cubicBezTo>
                    <a:cubicBezTo>
                      <a:pt x="26" y="17"/>
                      <a:pt x="26" y="17"/>
                      <a:pt x="27" y="17"/>
                    </a:cubicBezTo>
                    <a:cubicBezTo>
                      <a:pt x="29" y="18"/>
                      <a:pt x="30" y="21"/>
                      <a:pt x="31" y="23"/>
                    </a:cubicBezTo>
                    <a:cubicBezTo>
                      <a:pt x="33" y="27"/>
                      <a:pt x="35" y="28"/>
                      <a:pt x="39" y="30"/>
                    </a:cubicBezTo>
                    <a:cubicBezTo>
                      <a:pt x="42" y="27"/>
                      <a:pt x="40" y="27"/>
                      <a:pt x="41" y="24"/>
                    </a:cubicBezTo>
                    <a:cubicBezTo>
                      <a:pt x="40" y="24"/>
                      <a:pt x="39" y="24"/>
                      <a:pt x="38" y="24"/>
                    </a:cubicBezTo>
                    <a:cubicBezTo>
                      <a:pt x="35" y="24"/>
                      <a:pt x="34" y="23"/>
                      <a:pt x="33" y="20"/>
                    </a:cubicBezTo>
                    <a:cubicBezTo>
                      <a:pt x="32" y="19"/>
                      <a:pt x="32" y="18"/>
                      <a:pt x="32" y="17"/>
                    </a:cubicBezTo>
                    <a:cubicBezTo>
                      <a:pt x="32" y="15"/>
                      <a:pt x="32" y="14"/>
                      <a:pt x="32" y="13"/>
                    </a:cubicBezTo>
                    <a:cubicBezTo>
                      <a:pt x="31" y="13"/>
                      <a:pt x="30" y="12"/>
                      <a:pt x="30" y="12"/>
                    </a:cubicBezTo>
                    <a:cubicBezTo>
                      <a:pt x="29" y="11"/>
                      <a:pt x="31" y="11"/>
                      <a:pt x="29" y="10"/>
                    </a:cubicBezTo>
                    <a:cubicBezTo>
                      <a:pt x="29" y="10"/>
                      <a:pt x="28" y="10"/>
                      <a:pt x="28" y="10"/>
                    </a:cubicBezTo>
                    <a:cubicBezTo>
                      <a:pt x="27" y="10"/>
                      <a:pt x="27" y="10"/>
                      <a:pt x="26" y="10"/>
                    </a:cubicBezTo>
                    <a:cubicBezTo>
                      <a:pt x="26" y="10"/>
                      <a:pt x="25" y="10"/>
                      <a:pt x="25" y="10"/>
                    </a:cubicBezTo>
                    <a:cubicBezTo>
                      <a:pt x="24" y="10"/>
                      <a:pt x="24" y="10"/>
                      <a:pt x="24" y="10"/>
                    </a:cubicBezTo>
                    <a:cubicBezTo>
                      <a:pt x="22" y="9"/>
                      <a:pt x="21" y="8"/>
                      <a:pt x="20" y="7"/>
                    </a:cubicBezTo>
                    <a:cubicBezTo>
                      <a:pt x="18" y="7"/>
                      <a:pt x="17" y="7"/>
                      <a:pt x="16" y="6"/>
                    </a:cubicBezTo>
                    <a:cubicBezTo>
                      <a:pt x="13" y="4"/>
                      <a:pt x="13" y="0"/>
                      <a:pt x="10"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70"/>
              <p:cNvSpPr/>
              <p:nvPr/>
            </p:nvSpPr>
            <p:spPr bwMode="auto">
              <a:xfrm>
                <a:off x="5140" y="547"/>
                <a:ext cx="29" cy="10"/>
              </a:xfrm>
              <a:custGeom>
                <a:gdLst>
                  <a:gd name="T0" fmla="*/ 5 w 12"/>
                  <a:gd name="T1" fmla="*/ 0 h 4"/>
                  <a:gd name="T2" fmla="*/ 0 w 12"/>
                  <a:gd name="T3" fmla="*/ 1 h 4"/>
                  <a:gd name="T4" fmla="*/ 5 w 12"/>
                  <a:gd name="T5" fmla="*/ 4 h 4"/>
                  <a:gd name="T6" fmla="*/ 11 w 12"/>
                  <a:gd name="T7" fmla="*/ 0 h 4"/>
                  <a:gd name="T8" fmla="*/ 5 w 12"/>
                  <a:gd name="T9" fmla="*/ 0 h 4"/>
                </a:gdLst>
                <a:cxnLst>
                  <a:cxn ang="0">
                    <a:pos x="T0" y="T1"/>
                  </a:cxn>
                  <a:cxn ang="0">
                    <a:pos x="T2" y="T3"/>
                  </a:cxn>
                  <a:cxn ang="0">
                    <a:pos x="T4" y="T5"/>
                  </a:cxn>
                  <a:cxn ang="0">
                    <a:pos x="T6" y="T7"/>
                  </a:cxn>
                  <a:cxn ang="0">
                    <a:pos x="T8" y="T9"/>
                  </a:cxn>
                </a:cxnLst>
                <a:rect l="0" t="0" r="r" b="b"/>
                <a:pathLst>
                  <a:path w="12" h="4">
                    <a:moveTo>
                      <a:pt x="5" y="0"/>
                    </a:moveTo>
                    <a:cubicBezTo>
                      <a:pt x="3" y="0"/>
                      <a:pt x="2" y="0"/>
                      <a:pt x="0" y="1"/>
                    </a:cubicBezTo>
                    <a:cubicBezTo>
                      <a:pt x="2" y="2"/>
                      <a:pt x="4" y="3"/>
                      <a:pt x="5" y="4"/>
                    </a:cubicBezTo>
                    <a:cubicBezTo>
                      <a:pt x="7" y="3"/>
                      <a:pt x="12" y="3"/>
                      <a:pt x="11"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71"/>
              <p:cNvSpPr/>
              <p:nvPr/>
            </p:nvSpPr>
            <p:spPr bwMode="auto">
              <a:xfrm>
                <a:off x="4965" y="550"/>
                <a:ext cx="7" cy="4"/>
              </a:xfrm>
              <a:custGeom>
                <a:gdLst>
                  <a:gd name="T0" fmla="*/ 2 w 3"/>
                  <a:gd name="T1" fmla="*/ 0 h 2"/>
                  <a:gd name="T2" fmla="*/ 0 w 3"/>
                  <a:gd name="T3" fmla="*/ 0 h 2"/>
                  <a:gd name="T4" fmla="*/ 1 w 3"/>
                  <a:gd name="T5" fmla="*/ 2 h 2"/>
                  <a:gd name="T6" fmla="*/ 3 w 3"/>
                  <a:gd name="T7" fmla="*/ 0 h 2"/>
                  <a:gd name="T8" fmla="*/ 2 w 3"/>
                  <a:gd name="T9" fmla="*/ 0 h 2"/>
                </a:gdLst>
                <a:cxnLst>
                  <a:cxn ang="0">
                    <a:pos x="T0" y="T1"/>
                  </a:cxn>
                  <a:cxn ang="0">
                    <a:pos x="T2" y="T3"/>
                  </a:cxn>
                  <a:cxn ang="0">
                    <a:pos x="T4" y="T5"/>
                  </a:cxn>
                  <a:cxn ang="0">
                    <a:pos x="T6" y="T7"/>
                  </a:cxn>
                  <a:cxn ang="0">
                    <a:pos x="T8" y="T9"/>
                  </a:cxn>
                </a:cxnLst>
                <a:rect l="0" t="0" r="r" b="b"/>
                <a:pathLst>
                  <a:path w="3" h="2">
                    <a:moveTo>
                      <a:pt x="2" y="0"/>
                    </a:moveTo>
                    <a:cubicBezTo>
                      <a:pt x="1" y="0"/>
                      <a:pt x="1" y="0"/>
                      <a:pt x="0" y="0"/>
                    </a:cubicBezTo>
                    <a:cubicBezTo>
                      <a:pt x="0" y="1"/>
                      <a:pt x="0" y="2"/>
                      <a:pt x="1" y="2"/>
                    </a:cubicBezTo>
                    <a:cubicBezTo>
                      <a:pt x="2" y="1"/>
                      <a:pt x="2" y="1"/>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72"/>
              <p:cNvSpPr/>
              <p:nvPr/>
            </p:nvSpPr>
            <p:spPr bwMode="auto">
              <a:xfrm>
                <a:off x="5166" y="673"/>
                <a:ext cx="10" cy="26"/>
              </a:xfrm>
              <a:custGeom>
                <a:gdLst>
                  <a:gd name="T0" fmla="*/ 4 w 4"/>
                  <a:gd name="T1" fmla="*/ 0 h 11"/>
                  <a:gd name="T2" fmla="*/ 2 w 4"/>
                  <a:gd name="T3" fmla="*/ 11 h 11"/>
                  <a:gd name="T4" fmla="*/ 4 w 4"/>
                  <a:gd name="T5" fmla="*/ 7 h 11"/>
                  <a:gd name="T6" fmla="*/ 2 w 4"/>
                  <a:gd name="T7" fmla="*/ 5 h 11"/>
                  <a:gd name="T8" fmla="*/ 4 w 4"/>
                  <a:gd name="T9" fmla="*/ 0 h 11"/>
                </a:gdLst>
                <a:cxnLst>
                  <a:cxn ang="0">
                    <a:pos x="T0" y="T1"/>
                  </a:cxn>
                  <a:cxn ang="0">
                    <a:pos x="T2" y="T3"/>
                  </a:cxn>
                  <a:cxn ang="0">
                    <a:pos x="T4" y="T5"/>
                  </a:cxn>
                  <a:cxn ang="0">
                    <a:pos x="T6" y="T7"/>
                  </a:cxn>
                  <a:cxn ang="0">
                    <a:pos x="T8" y="T9"/>
                  </a:cxn>
                </a:cxnLst>
                <a:rect l="0" t="0" r="r" b="b"/>
                <a:pathLst>
                  <a:path w="4" h="11">
                    <a:moveTo>
                      <a:pt x="4" y="0"/>
                    </a:moveTo>
                    <a:cubicBezTo>
                      <a:pt x="0" y="5"/>
                      <a:pt x="0" y="6"/>
                      <a:pt x="2" y="11"/>
                    </a:cubicBezTo>
                    <a:cubicBezTo>
                      <a:pt x="3" y="8"/>
                      <a:pt x="4" y="10"/>
                      <a:pt x="4" y="7"/>
                    </a:cubicBezTo>
                    <a:cubicBezTo>
                      <a:pt x="3" y="7"/>
                      <a:pt x="2" y="6"/>
                      <a:pt x="2" y="5"/>
                    </a:cubicBezTo>
                    <a:cubicBezTo>
                      <a:pt x="2" y="4"/>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73"/>
              <p:cNvSpPr/>
              <p:nvPr/>
            </p:nvSpPr>
            <p:spPr bwMode="auto">
              <a:xfrm>
                <a:off x="5015" y="613"/>
                <a:ext cx="14" cy="8"/>
              </a:xfrm>
              <a:custGeom>
                <a:gdLst>
                  <a:gd name="T0" fmla="*/ 5 w 6"/>
                  <a:gd name="T1" fmla="*/ 0 h 3"/>
                  <a:gd name="T2" fmla="*/ 0 w 6"/>
                  <a:gd name="T3" fmla="*/ 3 h 3"/>
                  <a:gd name="T4" fmla="*/ 5 w 6"/>
                  <a:gd name="T5" fmla="*/ 0 h 3"/>
                </a:gdLst>
                <a:cxnLst>
                  <a:cxn ang="0">
                    <a:pos x="T0" y="T1"/>
                  </a:cxn>
                  <a:cxn ang="0">
                    <a:pos x="T2" y="T3"/>
                  </a:cxn>
                  <a:cxn ang="0">
                    <a:pos x="T4" y="T5"/>
                  </a:cxn>
                </a:cxnLst>
                <a:rect l="0" t="0" r="r" b="b"/>
                <a:pathLst>
                  <a:path w="6" h="3">
                    <a:moveTo>
                      <a:pt x="5" y="0"/>
                    </a:moveTo>
                    <a:cubicBezTo>
                      <a:pt x="3" y="1"/>
                      <a:pt x="1" y="2"/>
                      <a:pt x="0" y="3"/>
                    </a:cubicBezTo>
                    <a:cubicBezTo>
                      <a:pt x="2" y="2"/>
                      <a:pt x="6"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74"/>
              <p:cNvSpPr/>
              <p:nvPr/>
            </p:nvSpPr>
            <p:spPr bwMode="auto">
              <a:xfrm>
                <a:off x="4932" y="637"/>
                <a:ext cx="10" cy="17"/>
              </a:xfrm>
              <a:custGeom>
                <a:gdLst>
                  <a:gd name="T0" fmla="*/ 2 w 4"/>
                  <a:gd name="T1" fmla="*/ 0 h 7"/>
                  <a:gd name="T2" fmla="*/ 4 w 4"/>
                  <a:gd name="T3" fmla="*/ 7 h 7"/>
                  <a:gd name="T4" fmla="*/ 2 w 4"/>
                  <a:gd name="T5" fmla="*/ 0 h 7"/>
                </a:gdLst>
                <a:cxnLst>
                  <a:cxn ang="0">
                    <a:pos x="T0" y="T1"/>
                  </a:cxn>
                  <a:cxn ang="0">
                    <a:pos x="T2" y="T3"/>
                  </a:cxn>
                  <a:cxn ang="0">
                    <a:pos x="T4" y="T5"/>
                  </a:cxn>
                </a:cxnLst>
                <a:rect l="0" t="0" r="r" b="b"/>
                <a:pathLst>
                  <a:path w="4" h="7">
                    <a:moveTo>
                      <a:pt x="2" y="0"/>
                    </a:moveTo>
                    <a:cubicBezTo>
                      <a:pt x="1" y="3"/>
                      <a:pt x="0" y="6"/>
                      <a:pt x="4" y="7"/>
                    </a:cubicBezTo>
                    <a:cubicBezTo>
                      <a:pt x="4"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75"/>
              <p:cNvSpPr/>
              <p:nvPr/>
            </p:nvSpPr>
            <p:spPr bwMode="auto">
              <a:xfrm>
                <a:off x="4807" y="538"/>
                <a:ext cx="21" cy="19"/>
              </a:xfrm>
              <a:custGeom>
                <a:gdLst>
                  <a:gd name="T0" fmla="*/ 3 w 9"/>
                  <a:gd name="T1" fmla="*/ 0 h 8"/>
                  <a:gd name="T2" fmla="*/ 5 w 9"/>
                  <a:gd name="T3" fmla="*/ 8 h 8"/>
                  <a:gd name="T4" fmla="*/ 8 w 9"/>
                  <a:gd name="T5" fmla="*/ 6 h 8"/>
                  <a:gd name="T6" fmla="*/ 9 w 9"/>
                  <a:gd name="T7" fmla="*/ 6 h 8"/>
                  <a:gd name="T8" fmla="*/ 3 w 9"/>
                  <a:gd name="T9" fmla="*/ 2 h 8"/>
                  <a:gd name="T10" fmla="*/ 3 w 9"/>
                  <a:gd name="T11" fmla="*/ 0 h 8"/>
                </a:gdLst>
                <a:cxnLst>
                  <a:cxn ang="0">
                    <a:pos x="T0" y="T1"/>
                  </a:cxn>
                  <a:cxn ang="0">
                    <a:pos x="T2" y="T3"/>
                  </a:cxn>
                  <a:cxn ang="0">
                    <a:pos x="T4" y="T5"/>
                  </a:cxn>
                  <a:cxn ang="0">
                    <a:pos x="T6" y="T7"/>
                  </a:cxn>
                  <a:cxn ang="0">
                    <a:pos x="T8" y="T9"/>
                  </a:cxn>
                  <a:cxn ang="0">
                    <a:pos x="T10" y="T11"/>
                  </a:cxn>
                </a:cxnLst>
                <a:rect l="0" t="0" r="r" b="b"/>
                <a:pathLst>
                  <a:path w="9" h="8">
                    <a:moveTo>
                      <a:pt x="3" y="0"/>
                    </a:moveTo>
                    <a:cubicBezTo>
                      <a:pt x="0" y="0"/>
                      <a:pt x="5" y="7"/>
                      <a:pt x="5" y="8"/>
                    </a:cubicBezTo>
                    <a:cubicBezTo>
                      <a:pt x="6" y="6"/>
                      <a:pt x="7" y="6"/>
                      <a:pt x="8" y="6"/>
                    </a:cubicBezTo>
                    <a:cubicBezTo>
                      <a:pt x="8" y="6"/>
                      <a:pt x="9" y="6"/>
                      <a:pt x="9" y="6"/>
                    </a:cubicBezTo>
                    <a:cubicBezTo>
                      <a:pt x="7" y="4"/>
                      <a:pt x="6" y="4"/>
                      <a:pt x="3" y="2"/>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76"/>
              <p:cNvSpPr/>
              <p:nvPr/>
            </p:nvSpPr>
            <p:spPr bwMode="auto">
              <a:xfrm>
                <a:off x="5022" y="351"/>
                <a:ext cx="21" cy="14"/>
              </a:xfrm>
              <a:custGeom>
                <a:gdLst>
                  <a:gd name="T0" fmla="*/ 5 w 9"/>
                  <a:gd name="T1" fmla="*/ 0 h 6"/>
                  <a:gd name="T2" fmla="*/ 3 w 9"/>
                  <a:gd name="T3" fmla="*/ 1 h 6"/>
                  <a:gd name="T4" fmla="*/ 4 w 9"/>
                  <a:gd name="T5" fmla="*/ 6 h 6"/>
                  <a:gd name="T6" fmla="*/ 7 w 9"/>
                  <a:gd name="T7" fmla="*/ 2 h 6"/>
                  <a:gd name="T8" fmla="*/ 5 w 9"/>
                  <a:gd name="T9" fmla="*/ 0 h 6"/>
                </a:gdLst>
                <a:cxnLst>
                  <a:cxn ang="0">
                    <a:pos x="T0" y="T1"/>
                  </a:cxn>
                  <a:cxn ang="0">
                    <a:pos x="T2" y="T3"/>
                  </a:cxn>
                  <a:cxn ang="0">
                    <a:pos x="T4" y="T5"/>
                  </a:cxn>
                  <a:cxn ang="0">
                    <a:pos x="T6" y="T7"/>
                  </a:cxn>
                  <a:cxn ang="0">
                    <a:pos x="T8" y="T9"/>
                  </a:cxn>
                </a:cxnLst>
                <a:rect l="0" t="0" r="r" b="b"/>
                <a:pathLst>
                  <a:path w="9" h="6">
                    <a:moveTo>
                      <a:pt x="5" y="0"/>
                    </a:moveTo>
                    <a:cubicBezTo>
                      <a:pt x="4" y="0"/>
                      <a:pt x="3" y="1"/>
                      <a:pt x="3" y="1"/>
                    </a:cubicBezTo>
                    <a:cubicBezTo>
                      <a:pt x="0" y="3"/>
                      <a:pt x="2" y="4"/>
                      <a:pt x="4" y="6"/>
                    </a:cubicBezTo>
                    <a:cubicBezTo>
                      <a:pt x="6" y="5"/>
                      <a:pt x="9" y="4"/>
                      <a:pt x="7" y="2"/>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77"/>
              <p:cNvSpPr/>
              <p:nvPr/>
            </p:nvSpPr>
            <p:spPr bwMode="auto">
              <a:xfrm>
                <a:off x="5017" y="569"/>
                <a:ext cx="3" cy="4"/>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1" y="1"/>
                      <a:pt x="0" y="1"/>
                      <a:pt x="0"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78"/>
              <p:cNvSpPr/>
              <p:nvPr/>
            </p:nvSpPr>
            <p:spPr bwMode="auto">
              <a:xfrm>
                <a:off x="5157" y="592"/>
                <a:ext cx="9" cy="10"/>
              </a:xfrm>
              <a:custGeom>
                <a:gdLst>
                  <a:gd name="T0" fmla="*/ 0 w 4"/>
                  <a:gd name="T1" fmla="*/ 0 h 4"/>
                  <a:gd name="T2" fmla="*/ 2 w 4"/>
                  <a:gd name="T3" fmla="*/ 4 h 4"/>
                  <a:gd name="T4" fmla="*/ 0 w 4"/>
                  <a:gd name="T5" fmla="*/ 0 h 4"/>
                </a:gdLst>
                <a:cxnLst>
                  <a:cxn ang="0">
                    <a:pos x="T0" y="T1"/>
                  </a:cxn>
                  <a:cxn ang="0">
                    <a:pos x="T2" y="T3"/>
                  </a:cxn>
                  <a:cxn ang="0">
                    <a:pos x="T4" y="T5"/>
                  </a:cxn>
                </a:cxnLst>
                <a:rect l="0" t="0" r="r" b="b"/>
                <a:pathLst>
                  <a:path w="4" h="4">
                    <a:moveTo>
                      <a:pt x="0" y="0"/>
                    </a:moveTo>
                    <a:cubicBezTo>
                      <a:pt x="1" y="2"/>
                      <a:pt x="1" y="3"/>
                      <a:pt x="2" y="4"/>
                    </a:cubicBezTo>
                    <a:cubicBezTo>
                      <a:pt x="4"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79"/>
              <p:cNvSpPr/>
              <p:nvPr/>
            </p:nvSpPr>
            <p:spPr bwMode="auto">
              <a:xfrm>
                <a:off x="5013" y="554"/>
                <a:ext cx="7" cy="10"/>
              </a:xfrm>
              <a:custGeom>
                <a:gdLst>
                  <a:gd name="T0" fmla="*/ 2 w 3"/>
                  <a:gd name="T1" fmla="*/ 0 h 4"/>
                  <a:gd name="T2" fmla="*/ 0 w 3"/>
                  <a:gd name="T3" fmla="*/ 4 h 4"/>
                  <a:gd name="T4" fmla="*/ 2 w 3"/>
                  <a:gd name="T5" fmla="*/ 0 h 4"/>
                </a:gdLst>
                <a:cxnLst>
                  <a:cxn ang="0">
                    <a:pos x="T0" y="T1"/>
                  </a:cxn>
                  <a:cxn ang="0">
                    <a:pos x="T2" y="T3"/>
                  </a:cxn>
                  <a:cxn ang="0">
                    <a:pos x="T4" y="T5"/>
                  </a:cxn>
                </a:cxnLst>
                <a:rect l="0" t="0" r="r" b="b"/>
                <a:pathLst>
                  <a:path w="3" h="4">
                    <a:moveTo>
                      <a:pt x="2" y="0"/>
                    </a:moveTo>
                    <a:cubicBezTo>
                      <a:pt x="1" y="1"/>
                      <a:pt x="1" y="3"/>
                      <a:pt x="0" y="4"/>
                    </a:cubicBezTo>
                    <a:cubicBezTo>
                      <a:pt x="1"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80"/>
              <p:cNvSpPr/>
              <p:nvPr/>
            </p:nvSpPr>
            <p:spPr bwMode="auto">
              <a:xfrm>
                <a:off x="4793" y="505"/>
                <a:ext cx="23" cy="26"/>
              </a:xfrm>
              <a:custGeom>
                <a:gdLst>
                  <a:gd name="T0" fmla="*/ 5 w 10"/>
                  <a:gd name="T1" fmla="*/ 0 h 11"/>
                  <a:gd name="T2" fmla="*/ 3 w 10"/>
                  <a:gd name="T3" fmla="*/ 4 h 11"/>
                  <a:gd name="T4" fmla="*/ 0 w 10"/>
                  <a:gd name="T5" fmla="*/ 7 h 11"/>
                  <a:gd name="T6" fmla="*/ 0 w 10"/>
                  <a:gd name="T7" fmla="*/ 7 h 11"/>
                  <a:gd name="T8" fmla="*/ 1 w 10"/>
                  <a:gd name="T9" fmla="*/ 7 h 11"/>
                  <a:gd name="T10" fmla="*/ 2 w 10"/>
                  <a:gd name="T11" fmla="*/ 7 h 11"/>
                  <a:gd name="T12" fmla="*/ 4 w 10"/>
                  <a:gd name="T13" fmla="*/ 7 h 11"/>
                  <a:gd name="T14" fmla="*/ 3 w 10"/>
                  <a:gd name="T15" fmla="*/ 9 h 11"/>
                  <a:gd name="T16" fmla="*/ 5 w 10"/>
                  <a:gd name="T17" fmla="*/ 9 h 11"/>
                  <a:gd name="T18" fmla="*/ 5 w 10"/>
                  <a:gd name="T19" fmla="*/ 9 h 11"/>
                  <a:gd name="T20" fmla="*/ 5 w 10"/>
                  <a:gd name="T21" fmla="*/ 9 h 11"/>
                  <a:gd name="T22" fmla="*/ 6 w 10"/>
                  <a:gd name="T23" fmla="*/ 9 h 11"/>
                  <a:gd name="T24" fmla="*/ 10 w 10"/>
                  <a:gd name="T25" fmla="*/ 11 h 11"/>
                  <a:gd name="T26" fmla="*/ 10 w 10"/>
                  <a:gd name="T27" fmla="*/ 11 h 11"/>
                  <a:gd name="T28" fmla="*/ 5 w 10"/>
                  <a:gd name="T29"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1">
                    <a:moveTo>
                      <a:pt x="5" y="0"/>
                    </a:moveTo>
                    <a:cubicBezTo>
                      <a:pt x="4" y="1"/>
                      <a:pt x="4" y="2"/>
                      <a:pt x="3" y="4"/>
                    </a:cubicBezTo>
                    <a:cubicBezTo>
                      <a:pt x="1" y="5"/>
                      <a:pt x="0" y="5"/>
                      <a:pt x="0" y="7"/>
                    </a:cubicBezTo>
                    <a:cubicBezTo>
                      <a:pt x="0" y="7"/>
                      <a:pt x="0" y="7"/>
                      <a:pt x="0" y="7"/>
                    </a:cubicBezTo>
                    <a:cubicBezTo>
                      <a:pt x="0" y="7"/>
                      <a:pt x="1" y="7"/>
                      <a:pt x="1" y="7"/>
                    </a:cubicBezTo>
                    <a:cubicBezTo>
                      <a:pt x="2" y="7"/>
                      <a:pt x="2" y="7"/>
                      <a:pt x="2" y="7"/>
                    </a:cubicBezTo>
                    <a:cubicBezTo>
                      <a:pt x="3" y="7"/>
                      <a:pt x="3" y="7"/>
                      <a:pt x="4" y="7"/>
                    </a:cubicBezTo>
                    <a:cubicBezTo>
                      <a:pt x="3" y="9"/>
                      <a:pt x="3" y="9"/>
                      <a:pt x="3" y="9"/>
                    </a:cubicBezTo>
                    <a:cubicBezTo>
                      <a:pt x="4" y="9"/>
                      <a:pt x="4" y="9"/>
                      <a:pt x="5" y="9"/>
                    </a:cubicBezTo>
                    <a:cubicBezTo>
                      <a:pt x="5" y="9"/>
                      <a:pt x="5" y="9"/>
                      <a:pt x="5" y="9"/>
                    </a:cubicBezTo>
                    <a:cubicBezTo>
                      <a:pt x="5" y="9"/>
                      <a:pt x="5" y="9"/>
                      <a:pt x="5" y="9"/>
                    </a:cubicBezTo>
                    <a:cubicBezTo>
                      <a:pt x="6" y="9"/>
                      <a:pt x="6" y="9"/>
                      <a:pt x="6" y="9"/>
                    </a:cubicBezTo>
                    <a:cubicBezTo>
                      <a:pt x="7" y="10"/>
                      <a:pt x="9" y="11"/>
                      <a:pt x="10" y="11"/>
                    </a:cubicBezTo>
                    <a:cubicBezTo>
                      <a:pt x="10" y="11"/>
                      <a:pt x="10" y="11"/>
                      <a:pt x="10" y="11"/>
                    </a:cubicBezTo>
                    <a:cubicBezTo>
                      <a:pt x="9" y="7"/>
                      <a:pt x="7"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81"/>
              <p:cNvSpPr/>
              <p:nvPr/>
            </p:nvSpPr>
            <p:spPr bwMode="auto">
              <a:xfrm>
                <a:off x="5072" y="569"/>
                <a:ext cx="4" cy="2"/>
              </a:xfrm>
              <a:custGeom>
                <a:gdLst>
                  <a:gd name="T0" fmla="*/ 2 w 2"/>
                  <a:gd name="T1" fmla="*/ 0 h 1"/>
                  <a:gd name="T2" fmla="*/ 0 w 2"/>
                  <a:gd name="T3" fmla="*/ 1 h 1"/>
                  <a:gd name="T4" fmla="*/ 2 w 2"/>
                  <a:gd name="T5" fmla="*/ 0 h 1"/>
                </a:gdLst>
                <a:cxnLst>
                  <a:cxn ang="0">
                    <a:pos x="T0" y="T1"/>
                  </a:cxn>
                  <a:cxn ang="0">
                    <a:pos x="T2" y="T3"/>
                  </a:cxn>
                  <a:cxn ang="0">
                    <a:pos x="T4" y="T5"/>
                  </a:cxn>
                </a:cxnLst>
                <a:rect l="0" t="0" r="r" b="b"/>
                <a:pathLst>
                  <a:path w="2" h="1">
                    <a:moveTo>
                      <a:pt x="2" y="0"/>
                    </a:moveTo>
                    <a:cubicBezTo>
                      <a:pt x="1" y="0"/>
                      <a:pt x="1" y="1"/>
                      <a:pt x="0" y="1"/>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82"/>
              <p:cNvSpPr/>
              <p:nvPr/>
            </p:nvSpPr>
            <p:spPr bwMode="auto">
              <a:xfrm>
                <a:off x="5161" y="606"/>
                <a:ext cx="22" cy="10"/>
              </a:xfrm>
              <a:custGeom>
                <a:gdLst>
                  <a:gd name="T0" fmla="*/ 6 w 9"/>
                  <a:gd name="T1" fmla="*/ 0 h 4"/>
                  <a:gd name="T2" fmla="*/ 0 w 9"/>
                  <a:gd name="T3" fmla="*/ 4 h 4"/>
                  <a:gd name="T4" fmla="*/ 9 w 9"/>
                  <a:gd name="T5" fmla="*/ 0 h 4"/>
                  <a:gd name="T6" fmla="*/ 6 w 9"/>
                  <a:gd name="T7" fmla="*/ 0 h 4"/>
                </a:gdLst>
                <a:cxnLst>
                  <a:cxn ang="0">
                    <a:pos x="T0" y="T1"/>
                  </a:cxn>
                  <a:cxn ang="0">
                    <a:pos x="T2" y="T3"/>
                  </a:cxn>
                  <a:cxn ang="0">
                    <a:pos x="T4" y="T5"/>
                  </a:cxn>
                  <a:cxn ang="0">
                    <a:pos x="T6" y="T7"/>
                  </a:cxn>
                </a:cxnLst>
                <a:rect l="0" t="0" r="r" b="b"/>
                <a:pathLst>
                  <a:path w="9" h="4">
                    <a:moveTo>
                      <a:pt x="6" y="0"/>
                    </a:moveTo>
                    <a:cubicBezTo>
                      <a:pt x="3" y="0"/>
                      <a:pt x="2" y="1"/>
                      <a:pt x="0" y="4"/>
                    </a:cubicBezTo>
                    <a:cubicBezTo>
                      <a:pt x="2" y="2"/>
                      <a:pt x="7" y="2"/>
                      <a:pt x="9" y="0"/>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83"/>
              <p:cNvSpPr/>
              <p:nvPr/>
            </p:nvSpPr>
            <p:spPr bwMode="auto">
              <a:xfrm>
                <a:off x="5209" y="621"/>
                <a:ext cx="2"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84"/>
              <p:cNvSpPr/>
              <p:nvPr/>
            </p:nvSpPr>
            <p:spPr bwMode="auto">
              <a:xfrm>
                <a:off x="4805" y="479"/>
                <a:ext cx="11" cy="19"/>
              </a:xfrm>
              <a:custGeom>
                <a:gdLst>
                  <a:gd name="T0" fmla="*/ 3 w 5"/>
                  <a:gd name="T1" fmla="*/ 0 h 8"/>
                  <a:gd name="T2" fmla="*/ 0 w 5"/>
                  <a:gd name="T3" fmla="*/ 8 h 8"/>
                  <a:gd name="T4" fmla="*/ 3 w 5"/>
                  <a:gd name="T5" fmla="*/ 0 h 8"/>
                </a:gdLst>
                <a:cxnLst>
                  <a:cxn ang="0">
                    <a:pos x="T0" y="T1"/>
                  </a:cxn>
                  <a:cxn ang="0">
                    <a:pos x="T2" y="T3"/>
                  </a:cxn>
                  <a:cxn ang="0">
                    <a:pos x="T4" y="T5"/>
                  </a:cxn>
                </a:cxnLst>
                <a:rect l="0" t="0" r="r" b="b"/>
                <a:pathLst>
                  <a:path w="5" h="8">
                    <a:moveTo>
                      <a:pt x="3" y="0"/>
                    </a:moveTo>
                    <a:cubicBezTo>
                      <a:pt x="0" y="2"/>
                      <a:pt x="0" y="5"/>
                      <a:pt x="0" y="8"/>
                    </a:cubicBezTo>
                    <a:cubicBezTo>
                      <a:pt x="5" y="7"/>
                      <a:pt x="4" y="5"/>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85"/>
              <p:cNvSpPr/>
              <p:nvPr/>
            </p:nvSpPr>
            <p:spPr bwMode="auto">
              <a:xfrm>
                <a:off x="5022" y="469"/>
                <a:ext cx="14" cy="17"/>
              </a:xfrm>
              <a:custGeom>
                <a:gdLst>
                  <a:gd name="T0" fmla="*/ 0 w 6"/>
                  <a:gd name="T1" fmla="*/ 0 h 7"/>
                  <a:gd name="T2" fmla="*/ 2 w 6"/>
                  <a:gd name="T3" fmla="*/ 6 h 7"/>
                  <a:gd name="T4" fmla="*/ 4 w 6"/>
                  <a:gd name="T5" fmla="*/ 7 h 7"/>
                  <a:gd name="T6" fmla="*/ 3 w 6"/>
                  <a:gd name="T7" fmla="*/ 4 h 7"/>
                  <a:gd name="T8" fmla="*/ 2 w 6"/>
                  <a:gd name="T9" fmla="*/ 2 h 7"/>
                  <a:gd name="T10" fmla="*/ 0 w 6"/>
                  <a:gd name="T11" fmla="*/ 0 h 7"/>
                </a:gdLst>
                <a:cxnLst>
                  <a:cxn ang="0">
                    <a:pos x="T0" y="T1"/>
                  </a:cxn>
                  <a:cxn ang="0">
                    <a:pos x="T2" y="T3"/>
                  </a:cxn>
                  <a:cxn ang="0">
                    <a:pos x="T4" y="T5"/>
                  </a:cxn>
                  <a:cxn ang="0">
                    <a:pos x="T6" y="T7"/>
                  </a:cxn>
                  <a:cxn ang="0">
                    <a:pos x="T8" y="T9"/>
                  </a:cxn>
                  <a:cxn ang="0">
                    <a:pos x="T10" y="T11"/>
                  </a:cxn>
                </a:cxnLst>
                <a:rect l="0" t="0" r="r" b="b"/>
                <a:pathLst>
                  <a:path w="6" h="7">
                    <a:moveTo>
                      <a:pt x="0" y="0"/>
                    </a:moveTo>
                    <a:cubicBezTo>
                      <a:pt x="1" y="3"/>
                      <a:pt x="2" y="4"/>
                      <a:pt x="2" y="6"/>
                    </a:cubicBezTo>
                    <a:cubicBezTo>
                      <a:pt x="3" y="6"/>
                      <a:pt x="3" y="7"/>
                      <a:pt x="4" y="7"/>
                    </a:cubicBezTo>
                    <a:cubicBezTo>
                      <a:pt x="6" y="7"/>
                      <a:pt x="4" y="5"/>
                      <a:pt x="3" y="4"/>
                    </a:cubicBezTo>
                    <a:cubicBezTo>
                      <a:pt x="2" y="2"/>
                      <a:pt x="2" y="2"/>
                      <a:pt x="2"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86"/>
              <p:cNvSpPr/>
              <p:nvPr/>
            </p:nvSpPr>
            <p:spPr bwMode="auto">
              <a:xfrm>
                <a:off x="5098" y="495"/>
                <a:ext cx="21" cy="29"/>
              </a:xfrm>
              <a:custGeom>
                <a:gdLst>
                  <a:gd name="T0" fmla="*/ 3 w 9"/>
                  <a:gd name="T1" fmla="*/ 0 h 12"/>
                  <a:gd name="T2" fmla="*/ 1 w 9"/>
                  <a:gd name="T3" fmla="*/ 2 h 12"/>
                  <a:gd name="T4" fmla="*/ 4 w 9"/>
                  <a:gd name="T5" fmla="*/ 12 h 12"/>
                  <a:gd name="T6" fmla="*/ 7 w 9"/>
                  <a:gd name="T7" fmla="*/ 3 h 12"/>
                  <a:gd name="T8" fmla="*/ 5 w 9"/>
                  <a:gd name="T9" fmla="*/ 0 h 12"/>
                  <a:gd name="T10" fmla="*/ 3 w 9"/>
                  <a:gd name="T11" fmla="*/ 0 h 12"/>
                </a:gdLst>
                <a:cxnLst>
                  <a:cxn ang="0">
                    <a:pos x="T0" y="T1"/>
                  </a:cxn>
                  <a:cxn ang="0">
                    <a:pos x="T2" y="T3"/>
                  </a:cxn>
                  <a:cxn ang="0">
                    <a:pos x="T4" y="T5"/>
                  </a:cxn>
                  <a:cxn ang="0">
                    <a:pos x="T6" y="T7"/>
                  </a:cxn>
                  <a:cxn ang="0">
                    <a:pos x="T8" y="T9"/>
                  </a:cxn>
                  <a:cxn ang="0">
                    <a:pos x="T10" y="T11"/>
                  </a:cxn>
                </a:cxnLst>
                <a:rect l="0" t="0" r="r" b="b"/>
                <a:pathLst>
                  <a:path w="9" h="12">
                    <a:moveTo>
                      <a:pt x="3" y="0"/>
                    </a:moveTo>
                    <a:cubicBezTo>
                      <a:pt x="2" y="0"/>
                      <a:pt x="1" y="0"/>
                      <a:pt x="1" y="2"/>
                    </a:cubicBezTo>
                    <a:cubicBezTo>
                      <a:pt x="1" y="7"/>
                      <a:pt x="0" y="9"/>
                      <a:pt x="4" y="12"/>
                    </a:cubicBezTo>
                    <a:cubicBezTo>
                      <a:pt x="7" y="10"/>
                      <a:pt x="9" y="6"/>
                      <a:pt x="7" y="3"/>
                    </a:cubicBezTo>
                    <a:cubicBezTo>
                      <a:pt x="9" y="1"/>
                      <a:pt x="7" y="0"/>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87"/>
              <p:cNvSpPr/>
              <p:nvPr/>
            </p:nvSpPr>
            <p:spPr bwMode="auto">
              <a:xfrm>
                <a:off x="4753" y="417"/>
                <a:ext cx="23" cy="19"/>
              </a:xfrm>
              <a:custGeom>
                <a:gdLst>
                  <a:gd name="T0" fmla="*/ 5 w 10"/>
                  <a:gd name="T1" fmla="*/ 0 h 8"/>
                  <a:gd name="T2" fmla="*/ 3 w 10"/>
                  <a:gd name="T3" fmla="*/ 0 h 8"/>
                  <a:gd name="T4" fmla="*/ 2 w 10"/>
                  <a:gd name="T5" fmla="*/ 0 h 8"/>
                  <a:gd name="T6" fmla="*/ 2 w 10"/>
                  <a:gd name="T7" fmla="*/ 0 h 8"/>
                  <a:gd name="T8" fmla="*/ 1 w 10"/>
                  <a:gd name="T9" fmla="*/ 0 h 8"/>
                  <a:gd name="T10" fmla="*/ 1 w 10"/>
                  <a:gd name="T11" fmla="*/ 0 h 8"/>
                  <a:gd name="T12" fmla="*/ 7 w 10"/>
                  <a:gd name="T13" fmla="*/ 8 h 8"/>
                  <a:gd name="T14" fmla="*/ 7 w 10"/>
                  <a:gd name="T15" fmla="*/ 5 h 8"/>
                  <a:gd name="T16" fmla="*/ 6 w 10"/>
                  <a:gd name="T17" fmla="*/ 0 h 8"/>
                  <a:gd name="T18" fmla="*/ 5 w 10"/>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5" y="0"/>
                    </a:moveTo>
                    <a:cubicBezTo>
                      <a:pt x="4" y="0"/>
                      <a:pt x="3" y="0"/>
                      <a:pt x="3" y="0"/>
                    </a:cubicBezTo>
                    <a:cubicBezTo>
                      <a:pt x="3" y="0"/>
                      <a:pt x="2" y="0"/>
                      <a:pt x="2" y="0"/>
                    </a:cubicBezTo>
                    <a:cubicBezTo>
                      <a:pt x="2" y="0"/>
                      <a:pt x="2" y="0"/>
                      <a:pt x="2" y="0"/>
                    </a:cubicBezTo>
                    <a:cubicBezTo>
                      <a:pt x="2" y="0"/>
                      <a:pt x="2" y="0"/>
                      <a:pt x="1" y="0"/>
                    </a:cubicBezTo>
                    <a:cubicBezTo>
                      <a:pt x="1" y="0"/>
                      <a:pt x="1" y="0"/>
                      <a:pt x="1" y="0"/>
                    </a:cubicBezTo>
                    <a:cubicBezTo>
                      <a:pt x="0" y="2"/>
                      <a:pt x="6" y="7"/>
                      <a:pt x="7" y="8"/>
                    </a:cubicBezTo>
                    <a:cubicBezTo>
                      <a:pt x="7" y="7"/>
                      <a:pt x="7" y="6"/>
                      <a:pt x="7" y="5"/>
                    </a:cubicBezTo>
                    <a:cubicBezTo>
                      <a:pt x="2" y="4"/>
                      <a:pt x="10"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88"/>
              <p:cNvSpPr/>
              <p:nvPr/>
            </p:nvSpPr>
            <p:spPr bwMode="auto">
              <a:xfrm>
                <a:off x="5050" y="554"/>
                <a:ext cx="17" cy="10"/>
              </a:xfrm>
              <a:custGeom>
                <a:gdLst>
                  <a:gd name="T0" fmla="*/ 1 w 7"/>
                  <a:gd name="T1" fmla="*/ 0 h 4"/>
                  <a:gd name="T2" fmla="*/ 0 w 7"/>
                  <a:gd name="T3" fmla="*/ 0 h 4"/>
                  <a:gd name="T4" fmla="*/ 5 w 7"/>
                  <a:gd name="T5" fmla="*/ 4 h 4"/>
                  <a:gd name="T6" fmla="*/ 1 w 7"/>
                  <a:gd name="T7" fmla="*/ 0 h 4"/>
                </a:gdLst>
                <a:cxnLst>
                  <a:cxn ang="0">
                    <a:pos x="T0" y="T1"/>
                  </a:cxn>
                  <a:cxn ang="0">
                    <a:pos x="T2" y="T3"/>
                  </a:cxn>
                  <a:cxn ang="0">
                    <a:pos x="T4" y="T5"/>
                  </a:cxn>
                  <a:cxn ang="0">
                    <a:pos x="T6" y="T7"/>
                  </a:cxn>
                </a:cxnLst>
                <a:rect l="0" t="0" r="r" b="b"/>
                <a:pathLst>
                  <a:path w="7" h="4">
                    <a:moveTo>
                      <a:pt x="1" y="0"/>
                    </a:moveTo>
                    <a:cubicBezTo>
                      <a:pt x="0" y="0"/>
                      <a:pt x="0" y="0"/>
                      <a:pt x="0" y="0"/>
                    </a:cubicBezTo>
                    <a:cubicBezTo>
                      <a:pt x="2" y="2"/>
                      <a:pt x="3" y="3"/>
                      <a:pt x="5" y="4"/>
                    </a:cubicBezTo>
                    <a:cubicBezTo>
                      <a:pt x="7"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89"/>
              <p:cNvSpPr/>
              <p:nvPr/>
            </p:nvSpPr>
            <p:spPr bwMode="auto">
              <a:xfrm>
                <a:off x="3580" y="-18"/>
                <a:ext cx="10" cy="5"/>
              </a:xfrm>
              <a:custGeom>
                <a:gdLst>
                  <a:gd name="T0" fmla="*/ 0 w 4"/>
                  <a:gd name="T1" fmla="*/ 0 h 2"/>
                  <a:gd name="T2" fmla="*/ 0 w 4"/>
                  <a:gd name="T3" fmla="*/ 1 h 2"/>
                  <a:gd name="T4" fmla="*/ 4 w 4"/>
                  <a:gd name="T5" fmla="*/ 2 h 2"/>
                  <a:gd name="T6" fmla="*/ 0 w 4"/>
                  <a:gd name="T7" fmla="*/ 0 h 2"/>
                </a:gdLst>
                <a:cxnLst>
                  <a:cxn ang="0">
                    <a:pos x="T0" y="T1"/>
                  </a:cxn>
                  <a:cxn ang="0">
                    <a:pos x="T2" y="T3"/>
                  </a:cxn>
                  <a:cxn ang="0">
                    <a:pos x="T4" y="T5"/>
                  </a:cxn>
                  <a:cxn ang="0">
                    <a:pos x="T6" y="T7"/>
                  </a:cxn>
                </a:cxnLst>
                <a:rect l="0" t="0" r="r" b="b"/>
                <a:pathLst>
                  <a:path w="4" h="2">
                    <a:moveTo>
                      <a:pt x="0" y="0"/>
                    </a:moveTo>
                    <a:cubicBezTo>
                      <a:pt x="0" y="0"/>
                      <a:pt x="0" y="0"/>
                      <a:pt x="0" y="1"/>
                    </a:cubicBezTo>
                    <a:cubicBezTo>
                      <a:pt x="1" y="1"/>
                      <a:pt x="3" y="2"/>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90"/>
              <p:cNvSpPr/>
              <p:nvPr/>
            </p:nvSpPr>
            <p:spPr bwMode="auto">
              <a:xfrm>
                <a:off x="3585" y="-3"/>
                <a:ext cx="12" cy="16"/>
              </a:xfrm>
              <a:custGeom>
                <a:gdLst>
                  <a:gd name="T0" fmla="*/ 0 w 5"/>
                  <a:gd name="T1" fmla="*/ 0 h 7"/>
                  <a:gd name="T2" fmla="*/ 4 w 5"/>
                  <a:gd name="T3" fmla="*/ 7 h 7"/>
                  <a:gd name="T4" fmla="*/ 0 w 5"/>
                  <a:gd name="T5" fmla="*/ 0 h 7"/>
                </a:gdLst>
                <a:cxnLst>
                  <a:cxn ang="0">
                    <a:pos x="T0" y="T1"/>
                  </a:cxn>
                  <a:cxn ang="0">
                    <a:pos x="T2" y="T3"/>
                  </a:cxn>
                  <a:cxn ang="0">
                    <a:pos x="T4" y="T5"/>
                  </a:cxn>
                </a:cxnLst>
                <a:rect l="0" t="0" r="r" b="b"/>
                <a:pathLst>
                  <a:path w="5" h="7">
                    <a:moveTo>
                      <a:pt x="0" y="0"/>
                    </a:moveTo>
                    <a:cubicBezTo>
                      <a:pt x="1" y="2"/>
                      <a:pt x="2" y="4"/>
                      <a:pt x="4" y="7"/>
                    </a:cubicBezTo>
                    <a:cubicBezTo>
                      <a:pt x="5"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91"/>
              <p:cNvSpPr/>
              <p:nvPr/>
            </p:nvSpPr>
            <p:spPr bwMode="auto">
              <a:xfrm>
                <a:off x="4133" y="205"/>
                <a:ext cx="62" cy="108"/>
              </a:xfrm>
              <a:custGeom>
                <a:gdLst>
                  <a:gd name="T0" fmla="*/ 21 w 26"/>
                  <a:gd name="T1" fmla="*/ 0 h 46"/>
                  <a:gd name="T2" fmla="*/ 20 w 26"/>
                  <a:gd name="T3" fmla="*/ 0 h 46"/>
                  <a:gd name="T4" fmla="*/ 17 w 26"/>
                  <a:gd name="T5" fmla="*/ 8 h 46"/>
                  <a:gd name="T6" fmla="*/ 2 w 26"/>
                  <a:gd name="T7" fmla="*/ 17 h 46"/>
                  <a:gd name="T8" fmla="*/ 2 w 26"/>
                  <a:gd name="T9" fmla="*/ 29 h 46"/>
                  <a:gd name="T10" fmla="*/ 6 w 26"/>
                  <a:gd name="T11" fmla="*/ 32 h 46"/>
                  <a:gd name="T12" fmla="*/ 4 w 26"/>
                  <a:gd name="T13" fmla="*/ 35 h 46"/>
                  <a:gd name="T14" fmla="*/ 8 w 26"/>
                  <a:gd name="T15" fmla="*/ 36 h 46"/>
                  <a:gd name="T16" fmla="*/ 17 w 26"/>
                  <a:gd name="T17" fmla="*/ 46 h 46"/>
                  <a:gd name="T18" fmla="*/ 25 w 26"/>
                  <a:gd name="T19" fmla="*/ 21 h 46"/>
                  <a:gd name="T20" fmla="*/ 24 w 26"/>
                  <a:gd name="T21" fmla="*/ 10 h 46"/>
                  <a:gd name="T22" fmla="*/ 21 w 26"/>
                  <a:gd name="T23" fmla="*/ 0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6">
                    <a:moveTo>
                      <a:pt x="21" y="0"/>
                    </a:moveTo>
                    <a:cubicBezTo>
                      <a:pt x="20" y="0"/>
                      <a:pt x="20" y="0"/>
                      <a:pt x="20" y="0"/>
                    </a:cubicBezTo>
                    <a:cubicBezTo>
                      <a:pt x="20" y="3"/>
                      <a:pt x="21" y="8"/>
                      <a:pt x="17" y="8"/>
                    </a:cubicBezTo>
                    <a:cubicBezTo>
                      <a:pt x="11" y="8"/>
                      <a:pt x="7" y="14"/>
                      <a:pt x="2" y="17"/>
                    </a:cubicBezTo>
                    <a:cubicBezTo>
                      <a:pt x="0" y="19"/>
                      <a:pt x="5" y="27"/>
                      <a:pt x="2" y="29"/>
                    </a:cubicBezTo>
                    <a:cubicBezTo>
                      <a:pt x="5" y="30"/>
                      <a:pt x="7" y="29"/>
                      <a:pt x="6" y="32"/>
                    </a:cubicBezTo>
                    <a:cubicBezTo>
                      <a:pt x="6" y="33"/>
                      <a:pt x="6" y="35"/>
                      <a:pt x="4" y="35"/>
                    </a:cubicBezTo>
                    <a:cubicBezTo>
                      <a:pt x="5" y="36"/>
                      <a:pt x="7" y="36"/>
                      <a:pt x="8" y="36"/>
                    </a:cubicBezTo>
                    <a:cubicBezTo>
                      <a:pt x="5" y="43"/>
                      <a:pt x="12" y="43"/>
                      <a:pt x="17" y="46"/>
                    </a:cubicBezTo>
                    <a:cubicBezTo>
                      <a:pt x="20" y="38"/>
                      <a:pt x="22" y="30"/>
                      <a:pt x="25" y="21"/>
                    </a:cubicBezTo>
                    <a:cubicBezTo>
                      <a:pt x="26" y="19"/>
                      <a:pt x="25" y="13"/>
                      <a:pt x="24" y="10"/>
                    </a:cubicBezTo>
                    <a:cubicBezTo>
                      <a:pt x="24" y="7"/>
                      <a:pt x="25"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92"/>
              <p:cNvSpPr/>
              <p:nvPr/>
            </p:nvSpPr>
            <p:spPr bwMode="auto">
              <a:xfrm>
                <a:off x="6466" y="1261"/>
                <a:ext cx="12" cy="26"/>
              </a:xfrm>
              <a:custGeom>
                <a:gdLst>
                  <a:gd name="T0" fmla="*/ 2 w 5"/>
                  <a:gd name="T1" fmla="*/ 0 h 11"/>
                  <a:gd name="T2" fmla="*/ 1 w 5"/>
                  <a:gd name="T3" fmla="*/ 0 h 11"/>
                  <a:gd name="T4" fmla="*/ 3 w 5"/>
                  <a:gd name="T5" fmla="*/ 11 h 11"/>
                  <a:gd name="T6" fmla="*/ 4 w 5"/>
                  <a:gd name="T7" fmla="*/ 4 h 11"/>
                  <a:gd name="T8" fmla="*/ 4 w 5"/>
                  <a:gd name="T9" fmla="*/ 1 h 11"/>
                  <a:gd name="T10" fmla="*/ 2 w 5"/>
                  <a:gd name="T11" fmla="*/ 0 h 11"/>
                </a:gdLst>
                <a:cxnLst>
                  <a:cxn ang="0">
                    <a:pos x="T0" y="T1"/>
                  </a:cxn>
                  <a:cxn ang="0">
                    <a:pos x="T2" y="T3"/>
                  </a:cxn>
                  <a:cxn ang="0">
                    <a:pos x="T4" y="T5"/>
                  </a:cxn>
                  <a:cxn ang="0">
                    <a:pos x="T6" y="T7"/>
                  </a:cxn>
                  <a:cxn ang="0">
                    <a:pos x="T8" y="T9"/>
                  </a:cxn>
                  <a:cxn ang="0">
                    <a:pos x="T10" y="T11"/>
                  </a:cxn>
                </a:cxnLst>
                <a:rect l="0" t="0" r="r" b="b"/>
                <a:pathLst>
                  <a:path w="5" h="11">
                    <a:moveTo>
                      <a:pt x="2" y="0"/>
                    </a:moveTo>
                    <a:cubicBezTo>
                      <a:pt x="2" y="0"/>
                      <a:pt x="2" y="0"/>
                      <a:pt x="1" y="0"/>
                    </a:cubicBezTo>
                    <a:cubicBezTo>
                      <a:pt x="0" y="1"/>
                      <a:pt x="3" y="10"/>
                      <a:pt x="3" y="11"/>
                    </a:cubicBezTo>
                    <a:cubicBezTo>
                      <a:pt x="4" y="9"/>
                      <a:pt x="5" y="6"/>
                      <a:pt x="4" y="4"/>
                    </a:cubicBezTo>
                    <a:cubicBezTo>
                      <a:pt x="4" y="3"/>
                      <a:pt x="2" y="1"/>
                      <a:pt x="4"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93"/>
              <p:cNvSpPr/>
              <p:nvPr/>
            </p:nvSpPr>
            <p:spPr bwMode="auto">
              <a:xfrm>
                <a:off x="6735" y="1216"/>
                <a:ext cx="57" cy="26"/>
              </a:xfrm>
              <a:custGeom>
                <a:gdLst>
                  <a:gd name="T0" fmla="*/ 20 w 24"/>
                  <a:gd name="T1" fmla="*/ 0 h 11"/>
                  <a:gd name="T2" fmla="*/ 17 w 24"/>
                  <a:gd name="T3" fmla="*/ 1 h 11"/>
                  <a:gd name="T4" fmla="*/ 12 w 24"/>
                  <a:gd name="T5" fmla="*/ 1 h 11"/>
                  <a:gd name="T6" fmla="*/ 12 w 24"/>
                  <a:gd name="T7" fmla="*/ 1 h 11"/>
                  <a:gd name="T8" fmla="*/ 9 w 24"/>
                  <a:gd name="T9" fmla="*/ 5 h 11"/>
                  <a:gd name="T10" fmla="*/ 6 w 24"/>
                  <a:gd name="T11" fmla="*/ 6 h 11"/>
                  <a:gd name="T12" fmla="*/ 0 w 24"/>
                  <a:gd name="T13" fmla="*/ 11 h 11"/>
                  <a:gd name="T14" fmla="*/ 2 w 24"/>
                  <a:gd name="T15" fmla="*/ 10 h 11"/>
                  <a:gd name="T16" fmla="*/ 14 w 24"/>
                  <a:gd name="T17" fmla="*/ 6 h 11"/>
                  <a:gd name="T18" fmla="*/ 14 w 24"/>
                  <a:gd name="T19" fmla="*/ 6 h 11"/>
                  <a:gd name="T20" fmla="*/ 15 w 24"/>
                  <a:gd name="T21" fmla="*/ 7 h 11"/>
                  <a:gd name="T22" fmla="*/ 16 w 24"/>
                  <a:gd name="T23" fmla="*/ 7 h 11"/>
                  <a:gd name="T24" fmla="*/ 17 w 24"/>
                  <a:gd name="T25" fmla="*/ 7 h 11"/>
                  <a:gd name="T26" fmla="*/ 19 w 24"/>
                  <a:gd name="T27" fmla="*/ 5 h 11"/>
                  <a:gd name="T28" fmla="*/ 24 w 24"/>
                  <a:gd name="T29" fmla="*/ 1 h 11"/>
                  <a:gd name="T30" fmla="*/ 21 w 24"/>
                  <a:gd name="T31" fmla="*/ 1 h 11"/>
                  <a:gd name="T32" fmla="*/ 20 w 24"/>
                  <a:gd name="T3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1">
                    <a:moveTo>
                      <a:pt x="20" y="0"/>
                    </a:moveTo>
                    <a:cubicBezTo>
                      <a:pt x="19" y="0"/>
                      <a:pt x="18" y="1"/>
                      <a:pt x="17" y="1"/>
                    </a:cubicBezTo>
                    <a:cubicBezTo>
                      <a:pt x="17" y="1"/>
                      <a:pt x="13" y="1"/>
                      <a:pt x="12" y="1"/>
                    </a:cubicBezTo>
                    <a:cubicBezTo>
                      <a:pt x="12" y="1"/>
                      <a:pt x="12" y="1"/>
                      <a:pt x="12" y="1"/>
                    </a:cubicBezTo>
                    <a:cubicBezTo>
                      <a:pt x="10" y="2"/>
                      <a:pt x="13" y="4"/>
                      <a:pt x="9" y="5"/>
                    </a:cubicBezTo>
                    <a:cubicBezTo>
                      <a:pt x="8" y="6"/>
                      <a:pt x="7" y="6"/>
                      <a:pt x="6" y="6"/>
                    </a:cubicBezTo>
                    <a:cubicBezTo>
                      <a:pt x="4" y="7"/>
                      <a:pt x="1" y="8"/>
                      <a:pt x="0" y="11"/>
                    </a:cubicBezTo>
                    <a:cubicBezTo>
                      <a:pt x="1" y="11"/>
                      <a:pt x="2" y="11"/>
                      <a:pt x="2" y="10"/>
                    </a:cubicBezTo>
                    <a:cubicBezTo>
                      <a:pt x="6" y="9"/>
                      <a:pt x="10" y="7"/>
                      <a:pt x="14" y="6"/>
                    </a:cubicBezTo>
                    <a:cubicBezTo>
                      <a:pt x="14" y="6"/>
                      <a:pt x="14" y="6"/>
                      <a:pt x="14" y="6"/>
                    </a:cubicBezTo>
                    <a:cubicBezTo>
                      <a:pt x="15" y="6"/>
                      <a:pt x="15" y="6"/>
                      <a:pt x="15" y="7"/>
                    </a:cubicBezTo>
                    <a:cubicBezTo>
                      <a:pt x="15" y="7"/>
                      <a:pt x="15" y="7"/>
                      <a:pt x="16" y="7"/>
                    </a:cubicBezTo>
                    <a:cubicBezTo>
                      <a:pt x="16" y="7"/>
                      <a:pt x="16" y="7"/>
                      <a:pt x="17" y="7"/>
                    </a:cubicBezTo>
                    <a:cubicBezTo>
                      <a:pt x="17" y="6"/>
                      <a:pt x="18" y="5"/>
                      <a:pt x="19" y="5"/>
                    </a:cubicBezTo>
                    <a:cubicBezTo>
                      <a:pt x="21" y="3"/>
                      <a:pt x="21" y="1"/>
                      <a:pt x="24" y="1"/>
                    </a:cubicBezTo>
                    <a:cubicBezTo>
                      <a:pt x="23" y="1"/>
                      <a:pt x="22" y="1"/>
                      <a:pt x="21" y="1"/>
                    </a:cubicBezTo>
                    <a:cubicBezTo>
                      <a:pt x="21" y="1"/>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94"/>
              <p:cNvSpPr/>
              <p:nvPr/>
            </p:nvSpPr>
            <p:spPr bwMode="auto">
              <a:xfrm>
                <a:off x="6643" y="1379"/>
                <a:ext cx="26" cy="7"/>
              </a:xfrm>
              <a:custGeom>
                <a:gdLst>
                  <a:gd name="T0" fmla="*/ 5 w 11"/>
                  <a:gd name="T1" fmla="*/ 0 h 3"/>
                  <a:gd name="T2" fmla="*/ 0 w 11"/>
                  <a:gd name="T3" fmla="*/ 2 h 3"/>
                  <a:gd name="T4" fmla="*/ 4 w 11"/>
                  <a:gd name="T5" fmla="*/ 3 h 3"/>
                  <a:gd name="T6" fmla="*/ 6 w 11"/>
                  <a:gd name="T7" fmla="*/ 0 h 3"/>
                  <a:gd name="T8" fmla="*/ 5 w 11"/>
                  <a:gd name="T9" fmla="*/ 0 h 3"/>
                </a:gdLst>
                <a:cxnLst>
                  <a:cxn ang="0">
                    <a:pos x="T0" y="T1"/>
                  </a:cxn>
                  <a:cxn ang="0">
                    <a:pos x="T2" y="T3"/>
                  </a:cxn>
                  <a:cxn ang="0">
                    <a:pos x="T4" y="T5"/>
                  </a:cxn>
                  <a:cxn ang="0">
                    <a:pos x="T6" y="T7"/>
                  </a:cxn>
                  <a:cxn ang="0">
                    <a:pos x="T8" y="T9"/>
                  </a:cxn>
                </a:cxnLst>
                <a:rect l="0" t="0" r="r" b="b"/>
                <a:pathLst>
                  <a:path w="11" h="3">
                    <a:moveTo>
                      <a:pt x="5" y="0"/>
                    </a:moveTo>
                    <a:cubicBezTo>
                      <a:pt x="3" y="0"/>
                      <a:pt x="2" y="1"/>
                      <a:pt x="0" y="2"/>
                    </a:cubicBezTo>
                    <a:cubicBezTo>
                      <a:pt x="1" y="2"/>
                      <a:pt x="2" y="2"/>
                      <a:pt x="4" y="3"/>
                    </a:cubicBezTo>
                    <a:cubicBezTo>
                      <a:pt x="6" y="3"/>
                      <a:pt x="11" y="1"/>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95"/>
              <p:cNvSpPr/>
              <p:nvPr/>
            </p:nvSpPr>
            <p:spPr bwMode="auto">
              <a:xfrm>
                <a:off x="7428" y="1391"/>
                <a:ext cx="9" cy="14"/>
              </a:xfrm>
              <a:custGeom>
                <a:gdLst>
                  <a:gd name="T0" fmla="*/ 0 w 4"/>
                  <a:gd name="T1" fmla="*/ 0 h 6"/>
                  <a:gd name="T2" fmla="*/ 1 w 4"/>
                  <a:gd name="T3" fmla="*/ 1 h 6"/>
                  <a:gd name="T4" fmla="*/ 0 w 4"/>
                  <a:gd name="T5" fmla="*/ 1 h 6"/>
                  <a:gd name="T6" fmla="*/ 0 w 4"/>
                  <a:gd name="T7" fmla="*/ 6 h 6"/>
                  <a:gd name="T8" fmla="*/ 4 w 4"/>
                  <a:gd name="T9" fmla="*/ 2 h 6"/>
                  <a:gd name="T10" fmla="*/ 2 w 4"/>
                  <a:gd name="T11" fmla="*/ 1 h 6"/>
                  <a:gd name="T12" fmla="*/ 4 w 4"/>
                  <a:gd name="T13" fmla="*/ 1 h 6"/>
                  <a:gd name="T14" fmla="*/ 4 w 4"/>
                  <a:gd name="T15" fmla="*/ 1 h 6"/>
                  <a:gd name="T16" fmla="*/ 0 w 4"/>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0" y="0"/>
                    </a:moveTo>
                    <a:cubicBezTo>
                      <a:pt x="1" y="0"/>
                      <a:pt x="1" y="1"/>
                      <a:pt x="1" y="1"/>
                    </a:cubicBezTo>
                    <a:cubicBezTo>
                      <a:pt x="1" y="1"/>
                      <a:pt x="1" y="1"/>
                      <a:pt x="0" y="1"/>
                    </a:cubicBezTo>
                    <a:cubicBezTo>
                      <a:pt x="0" y="2"/>
                      <a:pt x="0" y="4"/>
                      <a:pt x="0" y="6"/>
                    </a:cubicBezTo>
                    <a:cubicBezTo>
                      <a:pt x="4" y="6"/>
                      <a:pt x="1" y="4"/>
                      <a:pt x="4" y="2"/>
                    </a:cubicBezTo>
                    <a:cubicBezTo>
                      <a:pt x="3" y="2"/>
                      <a:pt x="2" y="1"/>
                      <a:pt x="2" y="1"/>
                    </a:cubicBezTo>
                    <a:cubicBezTo>
                      <a:pt x="2" y="1"/>
                      <a:pt x="3" y="1"/>
                      <a:pt x="4" y="1"/>
                    </a:cubicBezTo>
                    <a:cubicBezTo>
                      <a:pt x="4" y="1"/>
                      <a:pt x="4" y="1"/>
                      <a:pt x="4" y="1"/>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96"/>
              <p:cNvSpPr/>
              <p:nvPr/>
            </p:nvSpPr>
            <p:spPr bwMode="auto">
              <a:xfrm>
                <a:off x="7414" y="1389"/>
                <a:ext cx="9" cy="12"/>
              </a:xfrm>
              <a:custGeom>
                <a:gdLst>
                  <a:gd name="T0" fmla="*/ 4 w 4"/>
                  <a:gd name="T1" fmla="*/ 0 h 5"/>
                  <a:gd name="T2" fmla="*/ 0 w 4"/>
                  <a:gd name="T3" fmla="*/ 3 h 5"/>
                  <a:gd name="T4" fmla="*/ 2 w 4"/>
                  <a:gd name="T5" fmla="*/ 5 h 5"/>
                  <a:gd name="T6" fmla="*/ 4 w 4"/>
                  <a:gd name="T7" fmla="*/ 4 h 5"/>
                  <a:gd name="T8" fmla="*/ 4 w 4"/>
                  <a:gd name="T9" fmla="*/ 0 h 5"/>
                </a:gdLst>
                <a:cxnLst>
                  <a:cxn ang="0">
                    <a:pos x="T0" y="T1"/>
                  </a:cxn>
                  <a:cxn ang="0">
                    <a:pos x="T2" y="T3"/>
                  </a:cxn>
                  <a:cxn ang="0">
                    <a:pos x="T4" y="T5"/>
                  </a:cxn>
                  <a:cxn ang="0">
                    <a:pos x="T6" y="T7"/>
                  </a:cxn>
                  <a:cxn ang="0">
                    <a:pos x="T8" y="T9"/>
                  </a:cxn>
                </a:cxnLst>
                <a:rect l="0" t="0" r="r" b="b"/>
                <a:pathLst>
                  <a:path w="4" h="5">
                    <a:moveTo>
                      <a:pt x="4" y="0"/>
                    </a:moveTo>
                    <a:cubicBezTo>
                      <a:pt x="2" y="1"/>
                      <a:pt x="0" y="1"/>
                      <a:pt x="0" y="3"/>
                    </a:cubicBezTo>
                    <a:cubicBezTo>
                      <a:pt x="0" y="4"/>
                      <a:pt x="1" y="5"/>
                      <a:pt x="2" y="5"/>
                    </a:cubicBezTo>
                    <a:cubicBezTo>
                      <a:pt x="2" y="5"/>
                      <a:pt x="3" y="5"/>
                      <a:pt x="4" y="4"/>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97"/>
              <p:cNvSpPr/>
              <p:nvPr/>
            </p:nvSpPr>
            <p:spPr bwMode="auto">
              <a:xfrm>
                <a:off x="7433" y="1394"/>
                <a:ext cx="11" cy="14"/>
              </a:xfrm>
              <a:custGeom>
                <a:gdLst>
                  <a:gd name="T0" fmla="*/ 4 w 5"/>
                  <a:gd name="T1" fmla="*/ 0 h 6"/>
                  <a:gd name="T2" fmla="*/ 5 w 5"/>
                  <a:gd name="T3" fmla="*/ 6 h 6"/>
                  <a:gd name="T4" fmla="*/ 4 w 5"/>
                  <a:gd name="T5" fmla="*/ 0 h 6"/>
                </a:gdLst>
                <a:cxnLst>
                  <a:cxn ang="0">
                    <a:pos x="T0" y="T1"/>
                  </a:cxn>
                  <a:cxn ang="0">
                    <a:pos x="T2" y="T3"/>
                  </a:cxn>
                  <a:cxn ang="0">
                    <a:pos x="T4" y="T5"/>
                  </a:cxn>
                </a:cxnLst>
                <a:rect l="0" t="0" r="r" b="b"/>
                <a:pathLst>
                  <a:path w="5" h="6">
                    <a:moveTo>
                      <a:pt x="4" y="0"/>
                    </a:moveTo>
                    <a:cubicBezTo>
                      <a:pt x="0" y="2"/>
                      <a:pt x="1" y="3"/>
                      <a:pt x="5" y="6"/>
                    </a:cubicBezTo>
                    <a:cubicBezTo>
                      <a:pt x="5" y="3"/>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98"/>
              <p:cNvSpPr/>
              <p:nvPr/>
            </p:nvSpPr>
            <p:spPr bwMode="auto">
              <a:xfrm>
                <a:off x="5455" y="682"/>
                <a:ext cx="130" cy="66"/>
              </a:xfrm>
              <a:custGeom>
                <a:gdLst>
                  <a:gd name="T0" fmla="*/ 55 w 55"/>
                  <a:gd name="T1" fmla="*/ 0 h 28"/>
                  <a:gd name="T2" fmla="*/ 33 w 55"/>
                  <a:gd name="T3" fmla="*/ 9 h 28"/>
                  <a:gd name="T4" fmla="*/ 32 w 55"/>
                  <a:gd name="T5" fmla="*/ 9 h 28"/>
                  <a:gd name="T6" fmla="*/ 28 w 55"/>
                  <a:gd name="T7" fmla="*/ 9 h 28"/>
                  <a:gd name="T8" fmla="*/ 24 w 55"/>
                  <a:gd name="T9" fmla="*/ 9 h 28"/>
                  <a:gd name="T10" fmla="*/ 16 w 55"/>
                  <a:gd name="T11" fmla="*/ 8 h 28"/>
                  <a:gd name="T12" fmla="*/ 14 w 55"/>
                  <a:gd name="T13" fmla="*/ 12 h 28"/>
                  <a:gd name="T14" fmla="*/ 6 w 55"/>
                  <a:gd name="T15" fmla="*/ 15 h 28"/>
                  <a:gd name="T16" fmla="*/ 4 w 55"/>
                  <a:gd name="T17" fmla="*/ 17 h 28"/>
                  <a:gd name="T18" fmla="*/ 4 w 55"/>
                  <a:gd name="T19" fmla="*/ 17 h 28"/>
                  <a:gd name="T20" fmla="*/ 2 w 55"/>
                  <a:gd name="T21" fmla="*/ 16 h 28"/>
                  <a:gd name="T22" fmla="*/ 1 w 55"/>
                  <a:gd name="T23" fmla="*/ 16 h 28"/>
                  <a:gd name="T24" fmla="*/ 1 w 55"/>
                  <a:gd name="T25" fmla="*/ 16 h 28"/>
                  <a:gd name="T26" fmla="*/ 4 w 55"/>
                  <a:gd name="T27" fmla="*/ 25 h 28"/>
                  <a:gd name="T28" fmla="*/ 16 w 55"/>
                  <a:gd name="T29" fmla="*/ 28 h 28"/>
                  <a:gd name="T30" fmla="*/ 17 w 55"/>
                  <a:gd name="T31" fmla="*/ 28 h 28"/>
                  <a:gd name="T32" fmla="*/ 31 w 55"/>
                  <a:gd name="T33" fmla="*/ 23 h 28"/>
                  <a:gd name="T34" fmla="*/ 34 w 55"/>
                  <a:gd name="T35" fmla="*/ 19 h 28"/>
                  <a:gd name="T36" fmla="*/ 39 w 55"/>
                  <a:gd name="T37" fmla="*/ 19 h 28"/>
                  <a:gd name="T38" fmla="*/ 39 w 55"/>
                  <a:gd name="T39" fmla="*/ 19 h 28"/>
                  <a:gd name="T40" fmla="*/ 38 w 55"/>
                  <a:gd name="T41" fmla="*/ 17 h 28"/>
                  <a:gd name="T42" fmla="*/ 41 w 55"/>
                  <a:gd name="T43" fmla="*/ 19 h 28"/>
                  <a:gd name="T44" fmla="*/ 42 w 55"/>
                  <a:gd name="T45" fmla="*/ 19 h 28"/>
                  <a:gd name="T46" fmla="*/ 43 w 55"/>
                  <a:gd name="T47" fmla="*/ 19 h 28"/>
                  <a:gd name="T48" fmla="*/ 40 w 55"/>
                  <a:gd name="T49" fmla="*/ 10 h 28"/>
                  <a:gd name="T50" fmla="*/ 43 w 55"/>
                  <a:gd name="T51" fmla="*/ 9 h 28"/>
                  <a:gd name="T52" fmla="*/ 44 w 55"/>
                  <a:gd name="T53" fmla="*/ 7 h 28"/>
                  <a:gd name="T54" fmla="*/ 48 w 55"/>
                  <a:gd name="T55" fmla="*/ 5 h 28"/>
                  <a:gd name="T56" fmla="*/ 55 w 55"/>
                  <a:gd name="T57"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28">
                    <a:moveTo>
                      <a:pt x="55" y="0"/>
                    </a:moveTo>
                    <a:cubicBezTo>
                      <a:pt x="48" y="3"/>
                      <a:pt x="40" y="6"/>
                      <a:pt x="33" y="9"/>
                    </a:cubicBezTo>
                    <a:cubicBezTo>
                      <a:pt x="33" y="9"/>
                      <a:pt x="33" y="9"/>
                      <a:pt x="32" y="9"/>
                    </a:cubicBezTo>
                    <a:cubicBezTo>
                      <a:pt x="31" y="9"/>
                      <a:pt x="30" y="9"/>
                      <a:pt x="28" y="9"/>
                    </a:cubicBezTo>
                    <a:cubicBezTo>
                      <a:pt x="27" y="9"/>
                      <a:pt x="25" y="9"/>
                      <a:pt x="24" y="9"/>
                    </a:cubicBezTo>
                    <a:cubicBezTo>
                      <a:pt x="21" y="9"/>
                      <a:pt x="18" y="9"/>
                      <a:pt x="16" y="8"/>
                    </a:cubicBezTo>
                    <a:cubicBezTo>
                      <a:pt x="16" y="11"/>
                      <a:pt x="17" y="11"/>
                      <a:pt x="14" y="12"/>
                    </a:cubicBezTo>
                    <a:cubicBezTo>
                      <a:pt x="10" y="13"/>
                      <a:pt x="8" y="13"/>
                      <a:pt x="6" y="15"/>
                    </a:cubicBezTo>
                    <a:cubicBezTo>
                      <a:pt x="5" y="16"/>
                      <a:pt x="5" y="17"/>
                      <a:pt x="4" y="17"/>
                    </a:cubicBezTo>
                    <a:cubicBezTo>
                      <a:pt x="4" y="17"/>
                      <a:pt x="4" y="17"/>
                      <a:pt x="4" y="17"/>
                    </a:cubicBezTo>
                    <a:cubicBezTo>
                      <a:pt x="3" y="17"/>
                      <a:pt x="3" y="17"/>
                      <a:pt x="2" y="16"/>
                    </a:cubicBezTo>
                    <a:cubicBezTo>
                      <a:pt x="1" y="16"/>
                      <a:pt x="1" y="16"/>
                      <a:pt x="1" y="16"/>
                    </a:cubicBezTo>
                    <a:cubicBezTo>
                      <a:pt x="1" y="16"/>
                      <a:pt x="1" y="16"/>
                      <a:pt x="1" y="16"/>
                    </a:cubicBezTo>
                    <a:cubicBezTo>
                      <a:pt x="0" y="16"/>
                      <a:pt x="3" y="24"/>
                      <a:pt x="4" y="25"/>
                    </a:cubicBezTo>
                    <a:cubicBezTo>
                      <a:pt x="7" y="28"/>
                      <a:pt x="12" y="27"/>
                      <a:pt x="16" y="28"/>
                    </a:cubicBezTo>
                    <a:cubicBezTo>
                      <a:pt x="16" y="28"/>
                      <a:pt x="17" y="28"/>
                      <a:pt x="17" y="28"/>
                    </a:cubicBezTo>
                    <a:cubicBezTo>
                      <a:pt x="22" y="28"/>
                      <a:pt x="27" y="25"/>
                      <a:pt x="31" y="23"/>
                    </a:cubicBezTo>
                    <a:cubicBezTo>
                      <a:pt x="33" y="22"/>
                      <a:pt x="33" y="20"/>
                      <a:pt x="34" y="19"/>
                    </a:cubicBezTo>
                    <a:cubicBezTo>
                      <a:pt x="36" y="19"/>
                      <a:pt x="37" y="19"/>
                      <a:pt x="39" y="19"/>
                    </a:cubicBezTo>
                    <a:cubicBezTo>
                      <a:pt x="39" y="19"/>
                      <a:pt x="39" y="19"/>
                      <a:pt x="39" y="19"/>
                    </a:cubicBezTo>
                    <a:cubicBezTo>
                      <a:pt x="40" y="19"/>
                      <a:pt x="38" y="17"/>
                      <a:pt x="38" y="17"/>
                    </a:cubicBezTo>
                    <a:cubicBezTo>
                      <a:pt x="39" y="18"/>
                      <a:pt x="39" y="19"/>
                      <a:pt x="41" y="19"/>
                    </a:cubicBezTo>
                    <a:cubicBezTo>
                      <a:pt x="41" y="19"/>
                      <a:pt x="41" y="19"/>
                      <a:pt x="42" y="19"/>
                    </a:cubicBezTo>
                    <a:cubicBezTo>
                      <a:pt x="43" y="19"/>
                      <a:pt x="43" y="19"/>
                      <a:pt x="43" y="19"/>
                    </a:cubicBezTo>
                    <a:cubicBezTo>
                      <a:pt x="42" y="16"/>
                      <a:pt x="38" y="13"/>
                      <a:pt x="40" y="10"/>
                    </a:cubicBezTo>
                    <a:cubicBezTo>
                      <a:pt x="43" y="9"/>
                      <a:pt x="43" y="9"/>
                      <a:pt x="43" y="9"/>
                    </a:cubicBezTo>
                    <a:cubicBezTo>
                      <a:pt x="43" y="9"/>
                      <a:pt x="44" y="8"/>
                      <a:pt x="44" y="7"/>
                    </a:cubicBezTo>
                    <a:cubicBezTo>
                      <a:pt x="45" y="6"/>
                      <a:pt x="47" y="6"/>
                      <a:pt x="48" y="5"/>
                    </a:cubicBezTo>
                    <a:cubicBezTo>
                      <a:pt x="50" y="4"/>
                      <a:pt x="55" y="1"/>
                      <a:pt x="5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99"/>
              <p:cNvSpPr/>
              <p:nvPr/>
            </p:nvSpPr>
            <p:spPr bwMode="auto">
              <a:xfrm>
                <a:off x="7000" y="-1"/>
                <a:ext cx="24" cy="9"/>
              </a:xfrm>
              <a:custGeom>
                <a:gdLst>
                  <a:gd name="T0" fmla="*/ 7 w 10"/>
                  <a:gd name="T1" fmla="*/ 0 h 4"/>
                  <a:gd name="T2" fmla="*/ 0 w 10"/>
                  <a:gd name="T3" fmla="*/ 2 h 4"/>
                  <a:gd name="T4" fmla="*/ 5 w 10"/>
                  <a:gd name="T5" fmla="*/ 4 h 4"/>
                  <a:gd name="T6" fmla="*/ 7 w 10"/>
                  <a:gd name="T7" fmla="*/ 4 h 4"/>
                  <a:gd name="T8" fmla="*/ 10 w 10"/>
                  <a:gd name="T9" fmla="*/ 1 h 4"/>
                  <a:gd name="T10" fmla="*/ 7 w 10"/>
                  <a:gd name="T11" fmla="*/ 0 h 4"/>
                </a:gdLst>
                <a:cxnLst>
                  <a:cxn ang="0">
                    <a:pos x="T0" y="T1"/>
                  </a:cxn>
                  <a:cxn ang="0">
                    <a:pos x="T2" y="T3"/>
                  </a:cxn>
                  <a:cxn ang="0">
                    <a:pos x="T4" y="T5"/>
                  </a:cxn>
                  <a:cxn ang="0">
                    <a:pos x="T6" y="T7"/>
                  </a:cxn>
                  <a:cxn ang="0">
                    <a:pos x="T8" y="T9"/>
                  </a:cxn>
                  <a:cxn ang="0">
                    <a:pos x="T10" y="T11"/>
                  </a:cxn>
                </a:cxnLst>
                <a:rect l="0" t="0" r="r" b="b"/>
                <a:pathLst>
                  <a:path w="10" h="4">
                    <a:moveTo>
                      <a:pt x="7" y="0"/>
                    </a:moveTo>
                    <a:cubicBezTo>
                      <a:pt x="4" y="0"/>
                      <a:pt x="0" y="1"/>
                      <a:pt x="0" y="2"/>
                    </a:cubicBezTo>
                    <a:cubicBezTo>
                      <a:pt x="0" y="4"/>
                      <a:pt x="3" y="3"/>
                      <a:pt x="5" y="4"/>
                    </a:cubicBezTo>
                    <a:cubicBezTo>
                      <a:pt x="6" y="4"/>
                      <a:pt x="6" y="4"/>
                      <a:pt x="7" y="4"/>
                    </a:cubicBezTo>
                    <a:cubicBezTo>
                      <a:pt x="9" y="4"/>
                      <a:pt x="10" y="3"/>
                      <a:pt x="10" y="1"/>
                    </a:cubicBezTo>
                    <a:cubicBezTo>
                      <a:pt x="10" y="0"/>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Rectangle 100"/>
              <p:cNvSpPr>
                <a:spLocks noChangeArrowheads="1"/>
              </p:cNvSpPr>
              <p:nvPr/>
            </p:nvSpPr>
            <p:spPr bwMode="auto">
              <a:xfrm>
                <a:off x="5509" y="112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01"/>
              <p:cNvSpPr/>
              <p:nvPr/>
            </p:nvSpPr>
            <p:spPr bwMode="auto">
              <a:xfrm flipH="1">
                <a:off x="5509" y="112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02"/>
              <p:cNvSpPr/>
              <p:nvPr/>
            </p:nvSpPr>
            <p:spPr bwMode="auto">
              <a:xfrm>
                <a:off x="6499" y="3294"/>
                <a:ext cx="10" cy="2"/>
              </a:xfrm>
              <a:custGeom>
                <a:gdLst>
                  <a:gd name="T0" fmla="*/ 3 w 4"/>
                  <a:gd name="T1" fmla="*/ 0 h 1"/>
                  <a:gd name="T2" fmla="*/ 0 w 4"/>
                  <a:gd name="T3" fmla="*/ 1 h 1"/>
                  <a:gd name="T4" fmla="*/ 0 w 4"/>
                  <a:gd name="T5" fmla="*/ 1 h 1"/>
                  <a:gd name="T6" fmla="*/ 4 w 4"/>
                  <a:gd name="T7" fmla="*/ 0 h 1"/>
                  <a:gd name="T8" fmla="*/ 3 w 4"/>
                  <a:gd name="T9" fmla="*/ 0 h 1"/>
                </a:gdLst>
                <a:cxnLst>
                  <a:cxn ang="0">
                    <a:pos x="T0" y="T1"/>
                  </a:cxn>
                  <a:cxn ang="0">
                    <a:pos x="T2" y="T3"/>
                  </a:cxn>
                  <a:cxn ang="0">
                    <a:pos x="T4" y="T5"/>
                  </a:cxn>
                  <a:cxn ang="0">
                    <a:pos x="T6" y="T7"/>
                  </a:cxn>
                  <a:cxn ang="0">
                    <a:pos x="T8" y="T9"/>
                  </a:cxn>
                </a:cxnLst>
                <a:rect l="0" t="0" r="r" b="b"/>
                <a:pathLst>
                  <a:path w="4" h="1">
                    <a:moveTo>
                      <a:pt x="3" y="0"/>
                    </a:moveTo>
                    <a:cubicBezTo>
                      <a:pt x="2" y="0"/>
                      <a:pt x="1" y="0"/>
                      <a:pt x="0" y="1"/>
                    </a:cubicBezTo>
                    <a:cubicBezTo>
                      <a:pt x="0" y="1"/>
                      <a:pt x="0" y="1"/>
                      <a:pt x="0" y="1"/>
                    </a:cubicBezTo>
                    <a:cubicBezTo>
                      <a:pt x="1" y="1"/>
                      <a:pt x="2"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03"/>
              <p:cNvSpPr/>
              <p:nvPr/>
            </p:nvSpPr>
            <p:spPr bwMode="auto">
              <a:xfrm>
                <a:off x="5866" y="3181"/>
                <a:ext cx="16" cy="18"/>
              </a:xfrm>
              <a:custGeom>
                <a:gdLst>
                  <a:gd name="T0" fmla="*/ 6 w 7"/>
                  <a:gd name="T1" fmla="*/ 0 h 8"/>
                  <a:gd name="T2" fmla="*/ 0 w 7"/>
                  <a:gd name="T3" fmla="*/ 8 h 8"/>
                  <a:gd name="T4" fmla="*/ 6 w 7"/>
                  <a:gd name="T5" fmla="*/ 0 h 8"/>
                </a:gdLst>
                <a:cxnLst>
                  <a:cxn ang="0">
                    <a:pos x="T0" y="T1"/>
                  </a:cxn>
                  <a:cxn ang="0">
                    <a:pos x="T2" y="T3"/>
                  </a:cxn>
                  <a:cxn ang="0">
                    <a:pos x="T4" y="T5"/>
                  </a:cxn>
                </a:cxnLst>
                <a:rect l="0" t="0" r="r" b="b"/>
                <a:pathLst>
                  <a:path w="7" h="8">
                    <a:moveTo>
                      <a:pt x="6" y="0"/>
                    </a:moveTo>
                    <a:cubicBezTo>
                      <a:pt x="4" y="2"/>
                      <a:pt x="2" y="5"/>
                      <a:pt x="0" y="8"/>
                    </a:cubicBezTo>
                    <a:cubicBezTo>
                      <a:pt x="3" y="6"/>
                      <a:pt x="7"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104"/>
              <p:cNvSpPr/>
              <p:nvPr/>
            </p:nvSpPr>
            <p:spPr bwMode="auto">
              <a:xfrm>
                <a:off x="5840" y="3072"/>
                <a:ext cx="21" cy="40"/>
              </a:xfrm>
              <a:custGeom>
                <a:gdLst>
                  <a:gd name="T0" fmla="*/ 3 w 9"/>
                  <a:gd name="T1" fmla="*/ 0 h 17"/>
                  <a:gd name="T2" fmla="*/ 0 w 9"/>
                  <a:gd name="T3" fmla="*/ 7 h 17"/>
                  <a:gd name="T4" fmla="*/ 9 w 9"/>
                  <a:gd name="T5" fmla="*/ 17 h 17"/>
                  <a:gd name="T6" fmla="*/ 8 w 9"/>
                  <a:gd name="T7" fmla="*/ 11 h 17"/>
                  <a:gd name="T8" fmla="*/ 7 w 9"/>
                  <a:gd name="T9" fmla="*/ 12 h 17"/>
                  <a:gd name="T10" fmla="*/ 3 w 9"/>
                  <a:gd name="T11" fmla="*/ 0 h 17"/>
                </a:gdLst>
                <a:cxnLst>
                  <a:cxn ang="0">
                    <a:pos x="T0" y="T1"/>
                  </a:cxn>
                  <a:cxn ang="0">
                    <a:pos x="T2" y="T3"/>
                  </a:cxn>
                  <a:cxn ang="0">
                    <a:pos x="T4" y="T5"/>
                  </a:cxn>
                  <a:cxn ang="0">
                    <a:pos x="T6" y="T7"/>
                  </a:cxn>
                  <a:cxn ang="0">
                    <a:pos x="T8" y="T9"/>
                  </a:cxn>
                  <a:cxn ang="0">
                    <a:pos x="T10" y="T11"/>
                  </a:cxn>
                </a:cxnLst>
                <a:rect l="0" t="0" r="r" b="b"/>
                <a:pathLst>
                  <a:path w="9" h="17">
                    <a:moveTo>
                      <a:pt x="3" y="0"/>
                    </a:moveTo>
                    <a:cubicBezTo>
                      <a:pt x="3" y="3"/>
                      <a:pt x="0" y="5"/>
                      <a:pt x="0" y="7"/>
                    </a:cubicBezTo>
                    <a:cubicBezTo>
                      <a:pt x="2" y="12"/>
                      <a:pt x="4" y="15"/>
                      <a:pt x="9" y="17"/>
                    </a:cubicBezTo>
                    <a:cubicBezTo>
                      <a:pt x="9" y="15"/>
                      <a:pt x="9" y="12"/>
                      <a:pt x="8" y="11"/>
                    </a:cubicBezTo>
                    <a:cubicBezTo>
                      <a:pt x="8" y="11"/>
                      <a:pt x="7" y="12"/>
                      <a:pt x="7" y="12"/>
                    </a:cubicBezTo>
                    <a:cubicBezTo>
                      <a:pt x="5" y="12"/>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105"/>
              <p:cNvSpPr/>
              <p:nvPr/>
            </p:nvSpPr>
            <p:spPr bwMode="auto">
              <a:xfrm>
                <a:off x="5861" y="3025"/>
                <a:ext cx="17" cy="33"/>
              </a:xfrm>
              <a:custGeom>
                <a:gdLst>
                  <a:gd name="T0" fmla="*/ 3 w 7"/>
                  <a:gd name="T1" fmla="*/ 0 h 14"/>
                  <a:gd name="T2" fmla="*/ 4 w 7"/>
                  <a:gd name="T3" fmla="*/ 8 h 14"/>
                  <a:gd name="T4" fmla="*/ 4 w 7"/>
                  <a:gd name="T5" fmla="*/ 14 h 14"/>
                  <a:gd name="T6" fmla="*/ 7 w 7"/>
                  <a:gd name="T7" fmla="*/ 8 h 14"/>
                  <a:gd name="T8" fmla="*/ 6 w 7"/>
                  <a:gd name="T9" fmla="*/ 5 h 14"/>
                  <a:gd name="T10" fmla="*/ 7 w 7"/>
                  <a:gd name="T11" fmla="*/ 3 h 14"/>
                  <a:gd name="T12" fmla="*/ 6 w 7"/>
                  <a:gd name="T13" fmla="*/ 1 h 14"/>
                  <a:gd name="T14" fmla="*/ 5 w 7"/>
                  <a:gd name="T15" fmla="*/ 1 h 14"/>
                  <a:gd name="T16" fmla="*/ 4 w 7"/>
                  <a:gd name="T17" fmla="*/ 1 h 14"/>
                  <a:gd name="T18" fmla="*/ 3 w 7"/>
                  <a:gd name="T1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3" y="0"/>
                    </a:moveTo>
                    <a:cubicBezTo>
                      <a:pt x="3" y="3"/>
                      <a:pt x="4" y="5"/>
                      <a:pt x="4" y="8"/>
                    </a:cubicBezTo>
                    <a:cubicBezTo>
                      <a:pt x="4" y="10"/>
                      <a:pt x="0" y="14"/>
                      <a:pt x="4" y="14"/>
                    </a:cubicBezTo>
                    <a:cubicBezTo>
                      <a:pt x="5" y="12"/>
                      <a:pt x="6" y="10"/>
                      <a:pt x="7" y="8"/>
                    </a:cubicBezTo>
                    <a:cubicBezTo>
                      <a:pt x="7" y="8"/>
                      <a:pt x="6" y="6"/>
                      <a:pt x="6" y="5"/>
                    </a:cubicBezTo>
                    <a:cubicBezTo>
                      <a:pt x="7" y="4"/>
                      <a:pt x="7" y="4"/>
                      <a:pt x="7" y="3"/>
                    </a:cubicBezTo>
                    <a:cubicBezTo>
                      <a:pt x="7" y="2"/>
                      <a:pt x="7" y="1"/>
                      <a:pt x="6" y="1"/>
                    </a:cubicBezTo>
                    <a:cubicBezTo>
                      <a:pt x="6" y="1"/>
                      <a:pt x="6" y="1"/>
                      <a:pt x="5" y="1"/>
                    </a:cubicBezTo>
                    <a:cubicBezTo>
                      <a:pt x="5" y="1"/>
                      <a:pt x="5" y="1"/>
                      <a:pt x="4" y="1"/>
                    </a:cubicBezTo>
                    <a:cubicBezTo>
                      <a:pt x="4"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106"/>
              <p:cNvSpPr/>
              <p:nvPr/>
            </p:nvSpPr>
            <p:spPr bwMode="auto">
              <a:xfrm>
                <a:off x="5878" y="1864"/>
                <a:ext cx="33" cy="16"/>
              </a:xfrm>
              <a:custGeom>
                <a:gdLst>
                  <a:gd name="T0" fmla="*/ 4 w 14"/>
                  <a:gd name="T1" fmla="*/ 0 h 7"/>
                  <a:gd name="T2" fmla="*/ 3 w 14"/>
                  <a:gd name="T3" fmla="*/ 0 h 7"/>
                  <a:gd name="T4" fmla="*/ 4 w 14"/>
                  <a:gd name="T5" fmla="*/ 5 h 7"/>
                  <a:gd name="T6" fmla="*/ 2 w 14"/>
                  <a:gd name="T7" fmla="*/ 5 h 7"/>
                  <a:gd name="T8" fmla="*/ 10 w 14"/>
                  <a:gd name="T9" fmla="*/ 7 h 7"/>
                  <a:gd name="T10" fmla="*/ 11 w 14"/>
                  <a:gd name="T11" fmla="*/ 7 h 7"/>
                  <a:gd name="T12" fmla="*/ 10 w 14"/>
                  <a:gd name="T13" fmla="*/ 4 h 7"/>
                  <a:gd name="T14" fmla="*/ 10 w 14"/>
                  <a:gd name="T15" fmla="*/ 4 h 7"/>
                  <a:gd name="T16" fmla="*/ 9 w 14"/>
                  <a:gd name="T17" fmla="*/ 5 h 7"/>
                  <a:gd name="T18" fmla="*/ 7 w 14"/>
                  <a:gd name="T19" fmla="*/ 5 h 7"/>
                  <a:gd name="T20" fmla="*/ 7 w 14"/>
                  <a:gd name="T21" fmla="*/ 5 h 7"/>
                  <a:gd name="T22" fmla="*/ 6 w 14"/>
                  <a:gd name="T23" fmla="*/ 2 h 7"/>
                  <a:gd name="T24" fmla="*/ 6 w 14"/>
                  <a:gd name="T25" fmla="*/ 2 h 7"/>
                  <a:gd name="T26" fmla="*/ 4 w 14"/>
                  <a:gd name="T2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7">
                    <a:moveTo>
                      <a:pt x="4" y="0"/>
                    </a:moveTo>
                    <a:cubicBezTo>
                      <a:pt x="4" y="0"/>
                      <a:pt x="4" y="0"/>
                      <a:pt x="3" y="0"/>
                    </a:cubicBezTo>
                    <a:cubicBezTo>
                      <a:pt x="0" y="0"/>
                      <a:pt x="3" y="4"/>
                      <a:pt x="4" y="5"/>
                    </a:cubicBezTo>
                    <a:cubicBezTo>
                      <a:pt x="3" y="5"/>
                      <a:pt x="3" y="5"/>
                      <a:pt x="2" y="5"/>
                    </a:cubicBezTo>
                    <a:cubicBezTo>
                      <a:pt x="2" y="7"/>
                      <a:pt x="9" y="7"/>
                      <a:pt x="10" y="7"/>
                    </a:cubicBezTo>
                    <a:cubicBezTo>
                      <a:pt x="11" y="7"/>
                      <a:pt x="11" y="7"/>
                      <a:pt x="11" y="7"/>
                    </a:cubicBezTo>
                    <a:cubicBezTo>
                      <a:pt x="14" y="7"/>
                      <a:pt x="13" y="4"/>
                      <a:pt x="10" y="4"/>
                    </a:cubicBezTo>
                    <a:cubicBezTo>
                      <a:pt x="10" y="4"/>
                      <a:pt x="10" y="4"/>
                      <a:pt x="10" y="4"/>
                    </a:cubicBezTo>
                    <a:cubicBezTo>
                      <a:pt x="10" y="4"/>
                      <a:pt x="9" y="4"/>
                      <a:pt x="9" y="5"/>
                    </a:cubicBezTo>
                    <a:cubicBezTo>
                      <a:pt x="8" y="5"/>
                      <a:pt x="8" y="5"/>
                      <a:pt x="7" y="5"/>
                    </a:cubicBezTo>
                    <a:cubicBezTo>
                      <a:pt x="7" y="5"/>
                      <a:pt x="7" y="5"/>
                      <a:pt x="7" y="5"/>
                    </a:cubicBezTo>
                    <a:cubicBezTo>
                      <a:pt x="6" y="5"/>
                      <a:pt x="7" y="2"/>
                      <a:pt x="6" y="2"/>
                    </a:cubicBezTo>
                    <a:cubicBezTo>
                      <a:pt x="6" y="2"/>
                      <a:pt x="6" y="2"/>
                      <a:pt x="6"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107"/>
              <p:cNvSpPr/>
              <p:nvPr/>
            </p:nvSpPr>
            <p:spPr bwMode="auto">
              <a:xfrm>
                <a:off x="4072" y="2660"/>
                <a:ext cx="5" cy="8"/>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0" y="0"/>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108"/>
              <p:cNvSpPr/>
              <p:nvPr/>
            </p:nvSpPr>
            <p:spPr bwMode="auto">
              <a:xfrm flipH="1">
                <a:off x="2926" y="2242"/>
                <a:ext cx="0" cy="0"/>
              </a:xfrm>
              <a:custGeom>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109"/>
              <p:cNvSpPr/>
              <p:nvPr/>
            </p:nvSpPr>
            <p:spPr bwMode="auto">
              <a:xfrm>
                <a:off x="2928" y="2242"/>
                <a:ext cx="3" cy="0"/>
              </a:xfrm>
              <a:custGeom>
                <a:gdLst>
                  <a:gd name="T0" fmla="*/ 1 w 1"/>
                  <a:gd name="T1" fmla="*/ 0 w 1"/>
                  <a:gd name="T2" fmla="*/ 0 w 1"/>
                  <a:gd name="T3" fmla="*/ 1 w 1"/>
                </a:gd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Rectangle 110"/>
              <p:cNvSpPr>
                <a:spLocks noChangeArrowheads="1"/>
              </p:cNvSpPr>
              <p:nvPr/>
            </p:nvSpPr>
            <p:spPr bwMode="auto">
              <a:xfrm>
                <a:off x="3817" y="162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111"/>
              <p:cNvSpPr/>
              <p:nvPr/>
            </p:nvSpPr>
            <p:spPr bwMode="auto">
              <a:xfrm flipH="1">
                <a:off x="3817" y="162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112"/>
              <p:cNvSpPr/>
              <p:nvPr/>
            </p:nvSpPr>
            <p:spPr bwMode="auto">
              <a:xfrm>
                <a:off x="5984" y="2044"/>
                <a:ext cx="92" cy="101"/>
              </a:xfrm>
              <a:custGeom>
                <a:gdLst>
                  <a:gd name="T0" fmla="*/ 32 w 39"/>
                  <a:gd name="T1" fmla="*/ 0 h 43"/>
                  <a:gd name="T2" fmla="*/ 23 w 39"/>
                  <a:gd name="T3" fmla="*/ 7 h 43"/>
                  <a:gd name="T4" fmla="*/ 22 w 39"/>
                  <a:gd name="T5" fmla="*/ 7 h 43"/>
                  <a:gd name="T6" fmla="*/ 15 w 39"/>
                  <a:gd name="T7" fmla="*/ 6 h 43"/>
                  <a:gd name="T8" fmla="*/ 15 w 39"/>
                  <a:gd name="T9" fmla="*/ 6 h 43"/>
                  <a:gd name="T10" fmla="*/ 15 w 39"/>
                  <a:gd name="T11" fmla="*/ 6 h 43"/>
                  <a:gd name="T12" fmla="*/ 4 w 39"/>
                  <a:gd name="T13" fmla="*/ 21 h 43"/>
                  <a:gd name="T14" fmla="*/ 3 w 39"/>
                  <a:gd name="T15" fmla="*/ 22 h 43"/>
                  <a:gd name="T16" fmla="*/ 2 w 39"/>
                  <a:gd name="T17" fmla="*/ 23 h 43"/>
                  <a:gd name="T18" fmla="*/ 2 w 39"/>
                  <a:gd name="T19" fmla="*/ 23 h 43"/>
                  <a:gd name="T20" fmla="*/ 0 w 39"/>
                  <a:gd name="T21" fmla="*/ 28 h 43"/>
                  <a:gd name="T22" fmla="*/ 0 w 39"/>
                  <a:gd name="T23" fmla="*/ 29 h 43"/>
                  <a:gd name="T24" fmla="*/ 0 w 39"/>
                  <a:gd name="T25" fmla="*/ 31 h 43"/>
                  <a:gd name="T26" fmla="*/ 0 w 39"/>
                  <a:gd name="T27" fmla="*/ 31 h 43"/>
                  <a:gd name="T28" fmla="*/ 0 w 39"/>
                  <a:gd name="T29" fmla="*/ 35 h 43"/>
                  <a:gd name="T30" fmla="*/ 1 w 39"/>
                  <a:gd name="T31" fmla="*/ 41 h 43"/>
                  <a:gd name="T32" fmla="*/ 4 w 39"/>
                  <a:gd name="T33" fmla="*/ 43 h 43"/>
                  <a:gd name="T34" fmla="*/ 13 w 39"/>
                  <a:gd name="T35" fmla="*/ 41 h 43"/>
                  <a:gd name="T36" fmla="*/ 20 w 39"/>
                  <a:gd name="T37" fmla="*/ 39 h 43"/>
                  <a:gd name="T38" fmla="*/ 21 w 39"/>
                  <a:gd name="T39" fmla="*/ 39 h 43"/>
                  <a:gd name="T40" fmla="*/ 26 w 39"/>
                  <a:gd name="T41" fmla="*/ 40 h 43"/>
                  <a:gd name="T42" fmla="*/ 27 w 39"/>
                  <a:gd name="T43" fmla="*/ 40 h 43"/>
                  <a:gd name="T44" fmla="*/ 27 w 39"/>
                  <a:gd name="T45" fmla="*/ 40 h 43"/>
                  <a:gd name="T46" fmla="*/ 35 w 39"/>
                  <a:gd name="T47" fmla="*/ 29 h 43"/>
                  <a:gd name="T48" fmla="*/ 34 w 39"/>
                  <a:gd name="T49" fmla="*/ 28 h 43"/>
                  <a:gd name="T50" fmla="*/ 28 w 39"/>
                  <a:gd name="T51" fmla="*/ 27 h 43"/>
                  <a:gd name="T52" fmla="*/ 18 w 39"/>
                  <a:gd name="T53" fmla="*/ 28 h 43"/>
                  <a:gd name="T54" fmla="*/ 31 w 39"/>
                  <a:gd name="T55" fmla="*/ 20 h 43"/>
                  <a:gd name="T56" fmla="*/ 38 w 39"/>
                  <a:gd name="T57" fmla="*/ 17 h 43"/>
                  <a:gd name="T58" fmla="*/ 38 w 39"/>
                  <a:gd name="T59" fmla="*/ 13 h 43"/>
                  <a:gd name="T60" fmla="*/ 37 w 39"/>
                  <a:gd name="T61" fmla="*/ 5 h 43"/>
                  <a:gd name="T62" fmla="*/ 33 w 39"/>
                  <a:gd name="T63" fmla="*/ 1 h 43"/>
                  <a:gd name="T64" fmla="*/ 33 w 39"/>
                  <a:gd name="T65" fmla="*/ 1 h 43"/>
                  <a:gd name="T66" fmla="*/ 32 w 39"/>
                  <a:gd name="T67"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43">
                    <a:moveTo>
                      <a:pt x="32" y="0"/>
                    </a:moveTo>
                    <a:cubicBezTo>
                      <a:pt x="32" y="0"/>
                      <a:pt x="25" y="6"/>
                      <a:pt x="23" y="7"/>
                    </a:cubicBezTo>
                    <a:cubicBezTo>
                      <a:pt x="23" y="7"/>
                      <a:pt x="22" y="7"/>
                      <a:pt x="22" y="7"/>
                    </a:cubicBezTo>
                    <a:cubicBezTo>
                      <a:pt x="20" y="7"/>
                      <a:pt x="18" y="7"/>
                      <a:pt x="15" y="6"/>
                    </a:cubicBezTo>
                    <a:cubicBezTo>
                      <a:pt x="15" y="6"/>
                      <a:pt x="15" y="6"/>
                      <a:pt x="15" y="6"/>
                    </a:cubicBezTo>
                    <a:cubicBezTo>
                      <a:pt x="15" y="6"/>
                      <a:pt x="15" y="6"/>
                      <a:pt x="15" y="6"/>
                    </a:cubicBezTo>
                    <a:cubicBezTo>
                      <a:pt x="13" y="8"/>
                      <a:pt x="6" y="19"/>
                      <a:pt x="4" y="21"/>
                    </a:cubicBezTo>
                    <a:cubicBezTo>
                      <a:pt x="4" y="21"/>
                      <a:pt x="3" y="21"/>
                      <a:pt x="3" y="22"/>
                    </a:cubicBezTo>
                    <a:cubicBezTo>
                      <a:pt x="3" y="22"/>
                      <a:pt x="2" y="23"/>
                      <a:pt x="2" y="23"/>
                    </a:cubicBezTo>
                    <a:cubicBezTo>
                      <a:pt x="2" y="23"/>
                      <a:pt x="2" y="23"/>
                      <a:pt x="2" y="23"/>
                    </a:cubicBezTo>
                    <a:cubicBezTo>
                      <a:pt x="1" y="24"/>
                      <a:pt x="0" y="26"/>
                      <a:pt x="0" y="28"/>
                    </a:cubicBezTo>
                    <a:cubicBezTo>
                      <a:pt x="0" y="28"/>
                      <a:pt x="0" y="29"/>
                      <a:pt x="0" y="29"/>
                    </a:cubicBezTo>
                    <a:cubicBezTo>
                      <a:pt x="0" y="30"/>
                      <a:pt x="0" y="30"/>
                      <a:pt x="0" y="31"/>
                    </a:cubicBezTo>
                    <a:cubicBezTo>
                      <a:pt x="0" y="31"/>
                      <a:pt x="0" y="31"/>
                      <a:pt x="0" y="31"/>
                    </a:cubicBezTo>
                    <a:cubicBezTo>
                      <a:pt x="0" y="32"/>
                      <a:pt x="0" y="34"/>
                      <a:pt x="0" y="35"/>
                    </a:cubicBezTo>
                    <a:cubicBezTo>
                      <a:pt x="0" y="37"/>
                      <a:pt x="0" y="40"/>
                      <a:pt x="1" y="41"/>
                    </a:cubicBezTo>
                    <a:cubicBezTo>
                      <a:pt x="2" y="42"/>
                      <a:pt x="3" y="43"/>
                      <a:pt x="4" y="43"/>
                    </a:cubicBezTo>
                    <a:cubicBezTo>
                      <a:pt x="7" y="43"/>
                      <a:pt x="10" y="42"/>
                      <a:pt x="13" y="41"/>
                    </a:cubicBezTo>
                    <a:cubicBezTo>
                      <a:pt x="16" y="40"/>
                      <a:pt x="18" y="39"/>
                      <a:pt x="20" y="39"/>
                    </a:cubicBezTo>
                    <a:cubicBezTo>
                      <a:pt x="21" y="39"/>
                      <a:pt x="21" y="39"/>
                      <a:pt x="21" y="39"/>
                    </a:cubicBezTo>
                    <a:cubicBezTo>
                      <a:pt x="24" y="40"/>
                      <a:pt x="25" y="40"/>
                      <a:pt x="26" y="40"/>
                    </a:cubicBezTo>
                    <a:cubicBezTo>
                      <a:pt x="26" y="40"/>
                      <a:pt x="27" y="40"/>
                      <a:pt x="27" y="40"/>
                    </a:cubicBezTo>
                    <a:cubicBezTo>
                      <a:pt x="27" y="40"/>
                      <a:pt x="27" y="40"/>
                      <a:pt x="27" y="40"/>
                    </a:cubicBezTo>
                    <a:cubicBezTo>
                      <a:pt x="31" y="37"/>
                      <a:pt x="34" y="31"/>
                      <a:pt x="35" y="29"/>
                    </a:cubicBezTo>
                    <a:cubicBezTo>
                      <a:pt x="34" y="28"/>
                      <a:pt x="34" y="28"/>
                      <a:pt x="34" y="28"/>
                    </a:cubicBezTo>
                    <a:cubicBezTo>
                      <a:pt x="33" y="27"/>
                      <a:pt x="30" y="27"/>
                      <a:pt x="28" y="27"/>
                    </a:cubicBezTo>
                    <a:cubicBezTo>
                      <a:pt x="24" y="27"/>
                      <a:pt x="19" y="27"/>
                      <a:pt x="18" y="28"/>
                    </a:cubicBezTo>
                    <a:cubicBezTo>
                      <a:pt x="22" y="25"/>
                      <a:pt x="27" y="23"/>
                      <a:pt x="31" y="20"/>
                    </a:cubicBezTo>
                    <a:cubicBezTo>
                      <a:pt x="33" y="19"/>
                      <a:pt x="36" y="18"/>
                      <a:pt x="38" y="17"/>
                    </a:cubicBezTo>
                    <a:cubicBezTo>
                      <a:pt x="39" y="16"/>
                      <a:pt x="38" y="15"/>
                      <a:pt x="38" y="13"/>
                    </a:cubicBezTo>
                    <a:cubicBezTo>
                      <a:pt x="38" y="11"/>
                      <a:pt x="38" y="7"/>
                      <a:pt x="37" y="5"/>
                    </a:cubicBezTo>
                    <a:cubicBezTo>
                      <a:pt x="36" y="4"/>
                      <a:pt x="34" y="2"/>
                      <a:pt x="33" y="1"/>
                    </a:cubicBezTo>
                    <a:cubicBezTo>
                      <a:pt x="33" y="1"/>
                      <a:pt x="33" y="1"/>
                      <a:pt x="33" y="1"/>
                    </a:cubicBez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Rectangle 113"/>
              <p:cNvSpPr>
                <a:spLocks noChangeArrowheads="1"/>
              </p:cNvSpPr>
              <p:nvPr/>
            </p:nvSpPr>
            <p:spPr bwMode="auto">
              <a:xfrm>
                <a:off x="5509" y="353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14"/>
              <p:cNvSpPr/>
              <p:nvPr/>
            </p:nvSpPr>
            <p:spPr bwMode="auto">
              <a:xfrm flipH="1">
                <a:off x="5509" y="353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15"/>
              <p:cNvSpPr/>
              <p:nvPr/>
            </p:nvSpPr>
            <p:spPr bwMode="auto">
              <a:xfrm>
                <a:off x="2945" y="2330"/>
                <a:ext cx="21" cy="11"/>
              </a:xfrm>
              <a:custGeom>
                <a:gdLst>
                  <a:gd name="T0" fmla="*/ 4 w 9"/>
                  <a:gd name="T1" fmla="*/ 0 h 5"/>
                  <a:gd name="T2" fmla="*/ 2 w 9"/>
                  <a:gd name="T3" fmla="*/ 0 h 5"/>
                  <a:gd name="T4" fmla="*/ 1 w 9"/>
                  <a:gd name="T5" fmla="*/ 0 h 5"/>
                  <a:gd name="T6" fmla="*/ 0 w 9"/>
                  <a:gd name="T7" fmla="*/ 0 h 5"/>
                  <a:gd name="T8" fmla="*/ 8 w 9"/>
                  <a:gd name="T9" fmla="*/ 4 h 5"/>
                  <a:gd name="T10" fmla="*/ 8 w 9"/>
                  <a:gd name="T11" fmla="*/ 5 h 5"/>
                  <a:gd name="T12" fmla="*/ 8 w 9"/>
                  <a:gd name="T13" fmla="*/ 5 h 5"/>
                  <a:gd name="T14" fmla="*/ 9 w 9"/>
                  <a:gd name="T15" fmla="*/ 2 h 5"/>
                  <a:gd name="T16" fmla="*/ 4 w 9"/>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4" y="0"/>
                    </a:moveTo>
                    <a:cubicBezTo>
                      <a:pt x="4" y="0"/>
                      <a:pt x="3" y="0"/>
                      <a:pt x="2" y="0"/>
                    </a:cubicBezTo>
                    <a:cubicBezTo>
                      <a:pt x="2" y="0"/>
                      <a:pt x="1" y="0"/>
                      <a:pt x="1" y="0"/>
                    </a:cubicBezTo>
                    <a:cubicBezTo>
                      <a:pt x="0" y="0"/>
                      <a:pt x="0" y="0"/>
                      <a:pt x="0" y="0"/>
                    </a:cubicBezTo>
                    <a:cubicBezTo>
                      <a:pt x="1" y="2"/>
                      <a:pt x="5" y="3"/>
                      <a:pt x="8" y="4"/>
                    </a:cubicBezTo>
                    <a:cubicBezTo>
                      <a:pt x="8" y="4"/>
                      <a:pt x="7" y="5"/>
                      <a:pt x="8" y="5"/>
                    </a:cubicBezTo>
                    <a:cubicBezTo>
                      <a:pt x="8" y="5"/>
                      <a:pt x="8" y="5"/>
                      <a:pt x="8" y="5"/>
                    </a:cubicBezTo>
                    <a:cubicBezTo>
                      <a:pt x="9" y="5"/>
                      <a:pt x="9" y="3"/>
                      <a:pt x="9" y="2"/>
                    </a:cubicBezTo>
                    <a:cubicBezTo>
                      <a:pt x="9" y="0"/>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116"/>
              <p:cNvSpPr/>
              <p:nvPr/>
            </p:nvSpPr>
            <p:spPr bwMode="auto">
              <a:xfrm>
                <a:off x="6234" y="3277"/>
                <a:ext cx="15" cy="5"/>
              </a:xfrm>
              <a:custGeom>
                <a:gdLst>
                  <a:gd name="T0" fmla="*/ 6 w 6"/>
                  <a:gd name="T1" fmla="*/ 0 h 2"/>
                  <a:gd name="T2" fmla="*/ 0 w 6"/>
                  <a:gd name="T3" fmla="*/ 2 h 2"/>
                  <a:gd name="T4" fmla="*/ 6 w 6"/>
                  <a:gd name="T5" fmla="*/ 0 h 2"/>
                </a:gdLst>
                <a:cxnLst>
                  <a:cxn ang="0">
                    <a:pos x="T0" y="T1"/>
                  </a:cxn>
                  <a:cxn ang="0">
                    <a:pos x="T2" y="T3"/>
                  </a:cxn>
                  <a:cxn ang="0">
                    <a:pos x="T4" y="T5"/>
                  </a:cxn>
                </a:cxnLst>
                <a:rect l="0" t="0" r="r" b="b"/>
                <a:pathLst>
                  <a:path w="6" h="2">
                    <a:moveTo>
                      <a:pt x="6" y="0"/>
                    </a:moveTo>
                    <a:cubicBezTo>
                      <a:pt x="4" y="0"/>
                      <a:pt x="2" y="1"/>
                      <a:pt x="0" y="2"/>
                    </a:cubicBezTo>
                    <a:cubicBezTo>
                      <a:pt x="1" y="1"/>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117"/>
              <p:cNvSpPr/>
              <p:nvPr/>
            </p:nvSpPr>
            <p:spPr bwMode="auto">
              <a:xfrm>
                <a:off x="2758" y="2124"/>
                <a:ext cx="5" cy="5"/>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1" y="1"/>
                      <a:pt x="0" y="2"/>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118"/>
              <p:cNvSpPr/>
              <p:nvPr/>
            </p:nvSpPr>
            <p:spPr bwMode="auto">
              <a:xfrm>
                <a:off x="2791" y="2105"/>
                <a:ext cx="10" cy="5"/>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3" y="1"/>
                      <a:pt x="1" y="1"/>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119"/>
              <p:cNvSpPr/>
              <p:nvPr/>
            </p:nvSpPr>
            <p:spPr bwMode="auto">
              <a:xfrm>
                <a:off x="2784" y="2124"/>
                <a:ext cx="7" cy="7"/>
              </a:xfrm>
              <a:custGeom>
                <a:gdLst>
                  <a:gd name="T0" fmla="*/ 3 w 3"/>
                  <a:gd name="T1" fmla="*/ 0 h 3"/>
                  <a:gd name="T2" fmla="*/ 0 w 3"/>
                  <a:gd name="T3" fmla="*/ 3 h 3"/>
                  <a:gd name="T4" fmla="*/ 3 w 3"/>
                  <a:gd name="T5" fmla="*/ 1 h 3"/>
                  <a:gd name="T6" fmla="*/ 3 w 3"/>
                  <a:gd name="T7" fmla="*/ 1 h 3"/>
                  <a:gd name="T8" fmla="*/ 3 w 3"/>
                  <a:gd name="T9" fmla="*/ 0 h 3"/>
                </a:gdLst>
                <a:cxnLst>
                  <a:cxn ang="0">
                    <a:pos x="T0" y="T1"/>
                  </a:cxn>
                  <a:cxn ang="0">
                    <a:pos x="T2" y="T3"/>
                  </a:cxn>
                  <a:cxn ang="0">
                    <a:pos x="T4" y="T5"/>
                  </a:cxn>
                  <a:cxn ang="0">
                    <a:pos x="T6" y="T7"/>
                  </a:cxn>
                  <a:cxn ang="0">
                    <a:pos x="T8" y="T9"/>
                  </a:cxn>
                </a:cxnLst>
                <a:rect l="0" t="0" r="r" b="b"/>
                <a:pathLst>
                  <a:path w="3" h="3">
                    <a:moveTo>
                      <a:pt x="3" y="0"/>
                    </a:moveTo>
                    <a:cubicBezTo>
                      <a:pt x="2" y="1"/>
                      <a:pt x="1" y="2"/>
                      <a:pt x="0" y="3"/>
                    </a:cubicBezTo>
                    <a:cubicBezTo>
                      <a:pt x="1" y="2"/>
                      <a:pt x="2" y="1"/>
                      <a:pt x="3" y="1"/>
                    </a:cubicBezTo>
                    <a:cubicBezTo>
                      <a:pt x="3" y="1"/>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120"/>
              <p:cNvSpPr/>
              <p:nvPr/>
            </p:nvSpPr>
            <p:spPr bwMode="auto">
              <a:xfrm>
                <a:off x="2749" y="2107"/>
                <a:ext cx="9" cy="5"/>
              </a:xfrm>
              <a:custGeom>
                <a:gdLst>
                  <a:gd name="T0" fmla="*/ 4 w 4"/>
                  <a:gd name="T1" fmla="*/ 0 h 2"/>
                  <a:gd name="T2" fmla="*/ 0 w 4"/>
                  <a:gd name="T3" fmla="*/ 1 h 2"/>
                  <a:gd name="T4" fmla="*/ 2 w 4"/>
                  <a:gd name="T5" fmla="*/ 2 h 2"/>
                  <a:gd name="T6" fmla="*/ 4 w 4"/>
                  <a:gd name="T7" fmla="*/ 0 h 2"/>
                  <a:gd name="T8" fmla="*/ 4 w 4"/>
                  <a:gd name="T9" fmla="*/ 0 h 2"/>
                </a:gdLst>
                <a:cxnLst>
                  <a:cxn ang="0">
                    <a:pos x="T0" y="T1"/>
                  </a:cxn>
                  <a:cxn ang="0">
                    <a:pos x="T2" y="T3"/>
                  </a:cxn>
                  <a:cxn ang="0">
                    <a:pos x="T4" y="T5"/>
                  </a:cxn>
                  <a:cxn ang="0">
                    <a:pos x="T6" y="T7"/>
                  </a:cxn>
                  <a:cxn ang="0">
                    <a:pos x="T8" y="T9"/>
                  </a:cxn>
                </a:cxnLst>
                <a:rect l="0" t="0" r="r" b="b"/>
                <a:pathLst>
                  <a:path w="4" h="2">
                    <a:moveTo>
                      <a:pt x="4" y="0"/>
                    </a:moveTo>
                    <a:cubicBezTo>
                      <a:pt x="2" y="0"/>
                      <a:pt x="1" y="0"/>
                      <a:pt x="0" y="1"/>
                    </a:cubicBezTo>
                    <a:cubicBezTo>
                      <a:pt x="1" y="1"/>
                      <a:pt x="2" y="2"/>
                      <a:pt x="2" y="2"/>
                    </a:cubicBezTo>
                    <a:cubicBezTo>
                      <a:pt x="3" y="2"/>
                      <a:pt x="4"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121"/>
              <p:cNvSpPr/>
              <p:nvPr/>
            </p:nvSpPr>
            <p:spPr bwMode="auto">
              <a:xfrm>
                <a:off x="2775" y="2129"/>
                <a:ext cx="2" cy="9"/>
              </a:xfrm>
              <a:custGeom>
                <a:gdLst>
                  <a:gd name="T0" fmla="*/ 0 w 1"/>
                  <a:gd name="T1" fmla="*/ 0 h 4"/>
                  <a:gd name="T2" fmla="*/ 1 w 1"/>
                  <a:gd name="T3" fmla="*/ 4 h 4"/>
                  <a:gd name="T4" fmla="*/ 0 w 1"/>
                  <a:gd name="T5" fmla="*/ 0 h 4"/>
                </a:gdLst>
                <a:cxnLst>
                  <a:cxn ang="0">
                    <a:pos x="T0" y="T1"/>
                  </a:cxn>
                  <a:cxn ang="0">
                    <a:pos x="T2" y="T3"/>
                  </a:cxn>
                  <a:cxn ang="0">
                    <a:pos x="T4" y="T5"/>
                  </a:cxn>
                </a:cxnLst>
                <a:rect l="0" t="0" r="r" b="b"/>
                <a:pathLst>
                  <a:path w="1" h="4">
                    <a:moveTo>
                      <a:pt x="0" y="0"/>
                    </a:moveTo>
                    <a:cubicBezTo>
                      <a:pt x="0" y="1"/>
                      <a:pt x="0" y="2"/>
                      <a:pt x="1"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122"/>
              <p:cNvSpPr/>
              <p:nvPr/>
            </p:nvSpPr>
            <p:spPr bwMode="auto">
              <a:xfrm>
                <a:off x="2756" y="2129"/>
                <a:ext cx="14" cy="9"/>
              </a:xfrm>
              <a:custGeom>
                <a:gdLst>
                  <a:gd name="T0" fmla="*/ 5 w 6"/>
                  <a:gd name="T1" fmla="*/ 0 h 4"/>
                  <a:gd name="T2" fmla="*/ 3 w 6"/>
                  <a:gd name="T3" fmla="*/ 4 h 4"/>
                  <a:gd name="T4" fmla="*/ 5 w 6"/>
                  <a:gd name="T5" fmla="*/ 1 h 4"/>
                  <a:gd name="T6" fmla="*/ 5 w 6"/>
                  <a:gd name="T7" fmla="*/ 0 h 4"/>
                </a:gdLst>
                <a:cxnLst>
                  <a:cxn ang="0">
                    <a:pos x="T0" y="T1"/>
                  </a:cxn>
                  <a:cxn ang="0">
                    <a:pos x="T2" y="T3"/>
                  </a:cxn>
                  <a:cxn ang="0">
                    <a:pos x="T4" y="T5"/>
                  </a:cxn>
                  <a:cxn ang="0">
                    <a:pos x="T6" y="T7"/>
                  </a:cxn>
                </a:cxnLst>
                <a:rect l="0" t="0" r="r" b="b"/>
                <a:pathLst>
                  <a:path w="6" h="4">
                    <a:moveTo>
                      <a:pt x="5" y="0"/>
                    </a:moveTo>
                    <a:cubicBezTo>
                      <a:pt x="3" y="0"/>
                      <a:pt x="0" y="2"/>
                      <a:pt x="3" y="4"/>
                    </a:cubicBezTo>
                    <a:cubicBezTo>
                      <a:pt x="5" y="4"/>
                      <a:pt x="6" y="2"/>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123"/>
              <p:cNvSpPr/>
              <p:nvPr/>
            </p:nvSpPr>
            <p:spPr bwMode="auto">
              <a:xfrm>
                <a:off x="2763" y="2088"/>
                <a:ext cx="7" cy="8"/>
              </a:xfrm>
              <a:custGeom>
                <a:gdLst>
                  <a:gd name="T0" fmla="*/ 3 w 3"/>
                  <a:gd name="T1" fmla="*/ 1 h 3"/>
                  <a:gd name="T2" fmla="*/ 0 w 3"/>
                  <a:gd name="T3" fmla="*/ 1 h 3"/>
                  <a:gd name="T4" fmla="*/ 2 w 3"/>
                  <a:gd name="T5" fmla="*/ 3 h 3"/>
                  <a:gd name="T6" fmla="*/ 3 w 3"/>
                  <a:gd name="T7" fmla="*/ 1 h 3"/>
                </a:gdLst>
                <a:cxnLst>
                  <a:cxn ang="0">
                    <a:pos x="T0" y="T1"/>
                  </a:cxn>
                  <a:cxn ang="0">
                    <a:pos x="T2" y="T3"/>
                  </a:cxn>
                  <a:cxn ang="0">
                    <a:pos x="T4" y="T5"/>
                  </a:cxn>
                  <a:cxn ang="0">
                    <a:pos x="T6" y="T7"/>
                  </a:cxn>
                </a:cxnLst>
                <a:rect l="0" t="0" r="r" b="b"/>
                <a:pathLst>
                  <a:path w="3" h="3">
                    <a:moveTo>
                      <a:pt x="3" y="1"/>
                    </a:moveTo>
                    <a:cubicBezTo>
                      <a:pt x="3" y="1"/>
                      <a:pt x="0" y="0"/>
                      <a:pt x="0" y="1"/>
                    </a:cubicBezTo>
                    <a:cubicBezTo>
                      <a:pt x="0" y="2"/>
                      <a:pt x="1" y="3"/>
                      <a:pt x="2" y="3"/>
                    </a:cubicBezTo>
                    <a:cubicBezTo>
                      <a:pt x="2" y="3"/>
                      <a:pt x="3" y="2"/>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124"/>
              <p:cNvSpPr/>
              <p:nvPr/>
            </p:nvSpPr>
            <p:spPr bwMode="auto">
              <a:xfrm>
                <a:off x="2770" y="2110"/>
                <a:ext cx="7" cy="4"/>
              </a:xfrm>
              <a:custGeom>
                <a:gdLst>
                  <a:gd name="T0" fmla="*/ 2 w 3"/>
                  <a:gd name="T1" fmla="*/ 0 h 2"/>
                  <a:gd name="T2" fmla="*/ 0 w 3"/>
                  <a:gd name="T3" fmla="*/ 0 h 2"/>
                  <a:gd name="T4" fmla="*/ 3 w 3"/>
                  <a:gd name="T5" fmla="*/ 2 h 2"/>
                  <a:gd name="T6" fmla="*/ 2 w 3"/>
                  <a:gd name="T7" fmla="*/ 0 h 2"/>
                </a:gdLst>
                <a:cxnLst>
                  <a:cxn ang="0">
                    <a:pos x="T0" y="T1"/>
                  </a:cxn>
                  <a:cxn ang="0">
                    <a:pos x="T2" y="T3"/>
                  </a:cxn>
                  <a:cxn ang="0">
                    <a:pos x="T4" y="T5"/>
                  </a:cxn>
                  <a:cxn ang="0">
                    <a:pos x="T6" y="T7"/>
                  </a:cxn>
                </a:cxnLst>
                <a:rect l="0" t="0" r="r" b="b"/>
                <a:pathLst>
                  <a:path w="3" h="2">
                    <a:moveTo>
                      <a:pt x="2" y="0"/>
                    </a:moveTo>
                    <a:cubicBezTo>
                      <a:pt x="1" y="0"/>
                      <a:pt x="1" y="0"/>
                      <a:pt x="0" y="0"/>
                    </a:cubicBezTo>
                    <a:cubicBezTo>
                      <a:pt x="1" y="1"/>
                      <a:pt x="2" y="1"/>
                      <a:pt x="3" y="2"/>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125"/>
              <p:cNvSpPr/>
              <p:nvPr/>
            </p:nvSpPr>
            <p:spPr bwMode="auto">
              <a:xfrm>
                <a:off x="6166" y="3462"/>
                <a:ext cx="14" cy="16"/>
              </a:xfrm>
              <a:custGeom>
                <a:gdLst>
                  <a:gd name="T0" fmla="*/ 1 w 6"/>
                  <a:gd name="T1" fmla="*/ 0 h 7"/>
                  <a:gd name="T2" fmla="*/ 1 w 6"/>
                  <a:gd name="T3" fmla="*/ 4 h 7"/>
                  <a:gd name="T4" fmla="*/ 3 w 6"/>
                  <a:gd name="T5" fmla="*/ 7 h 7"/>
                  <a:gd name="T6" fmla="*/ 2 w 6"/>
                  <a:gd name="T7" fmla="*/ 1 h 7"/>
                  <a:gd name="T8" fmla="*/ 1 w 6"/>
                  <a:gd name="T9" fmla="*/ 0 h 7"/>
                </a:gdLst>
                <a:cxnLst>
                  <a:cxn ang="0">
                    <a:pos x="T0" y="T1"/>
                  </a:cxn>
                  <a:cxn ang="0">
                    <a:pos x="T2" y="T3"/>
                  </a:cxn>
                  <a:cxn ang="0">
                    <a:pos x="T4" y="T5"/>
                  </a:cxn>
                  <a:cxn ang="0">
                    <a:pos x="T6" y="T7"/>
                  </a:cxn>
                  <a:cxn ang="0">
                    <a:pos x="T8" y="T9"/>
                  </a:cxn>
                </a:cxnLst>
                <a:rect l="0" t="0" r="r" b="b"/>
                <a:pathLst>
                  <a:path w="6" h="7">
                    <a:moveTo>
                      <a:pt x="1" y="0"/>
                    </a:moveTo>
                    <a:cubicBezTo>
                      <a:pt x="0" y="0"/>
                      <a:pt x="0" y="3"/>
                      <a:pt x="1" y="4"/>
                    </a:cubicBezTo>
                    <a:cubicBezTo>
                      <a:pt x="2" y="5"/>
                      <a:pt x="3" y="6"/>
                      <a:pt x="3" y="7"/>
                    </a:cubicBezTo>
                    <a:cubicBezTo>
                      <a:pt x="3" y="5"/>
                      <a:pt x="6" y="3"/>
                      <a:pt x="2" y="1"/>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126"/>
              <p:cNvSpPr/>
              <p:nvPr/>
            </p:nvSpPr>
            <p:spPr bwMode="auto">
              <a:xfrm>
                <a:off x="6064" y="3422"/>
                <a:ext cx="407" cy="787"/>
              </a:xfrm>
              <a:custGeom>
                <a:gdLst>
                  <a:gd name="T0" fmla="*/ 131 w 172"/>
                  <a:gd name="T1" fmla="*/ 12 h 333"/>
                  <a:gd name="T2" fmla="*/ 130 w 172"/>
                  <a:gd name="T3" fmla="*/ 34 h 333"/>
                  <a:gd name="T4" fmla="*/ 124 w 172"/>
                  <a:gd name="T5" fmla="*/ 37 h 333"/>
                  <a:gd name="T6" fmla="*/ 117 w 172"/>
                  <a:gd name="T7" fmla="*/ 42 h 333"/>
                  <a:gd name="T8" fmla="*/ 112 w 172"/>
                  <a:gd name="T9" fmla="*/ 37 h 333"/>
                  <a:gd name="T10" fmla="*/ 111 w 172"/>
                  <a:gd name="T11" fmla="*/ 55 h 333"/>
                  <a:gd name="T12" fmla="*/ 108 w 172"/>
                  <a:gd name="T13" fmla="*/ 54 h 333"/>
                  <a:gd name="T14" fmla="*/ 107 w 172"/>
                  <a:gd name="T15" fmla="*/ 63 h 333"/>
                  <a:gd name="T16" fmla="*/ 111 w 172"/>
                  <a:gd name="T17" fmla="*/ 63 h 333"/>
                  <a:gd name="T18" fmla="*/ 112 w 172"/>
                  <a:gd name="T19" fmla="*/ 64 h 333"/>
                  <a:gd name="T20" fmla="*/ 111 w 172"/>
                  <a:gd name="T21" fmla="*/ 64 h 333"/>
                  <a:gd name="T22" fmla="*/ 99 w 172"/>
                  <a:gd name="T23" fmla="*/ 73 h 333"/>
                  <a:gd name="T24" fmla="*/ 98 w 172"/>
                  <a:gd name="T25" fmla="*/ 67 h 333"/>
                  <a:gd name="T26" fmla="*/ 95 w 172"/>
                  <a:gd name="T27" fmla="*/ 83 h 333"/>
                  <a:gd name="T28" fmla="*/ 88 w 172"/>
                  <a:gd name="T29" fmla="*/ 78 h 333"/>
                  <a:gd name="T30" fmla="*/ 74 w 172"/>
                  <a:gd name="T31" fmla="*/ 93 h 333"/>
                  <a:gd name="T32" fmla="*/ 74 w 172"/>
                  <a:gd name="T33" fmla="*/ 95 h 333"/>
                  <a:gd name="T34" fmla="*/ 71 w 172"/>
                  <a:gd name="T35" fmla="*/ 91 h 333"/>
                  <a:gd name="T36" fmla="*/ 64 w 172"/>
                  <a:gd name="T37" fmla="*/ 92 h 333"/>
                  <a:gd name="T38" fmla="*/ 60 w 172"/>
                  <a:gd name="T39" fmla="*/ 92 h 333"/>
                  <a:gd name="T40" fmla="*/ 53 w 172"/>
                  <a:gd name="T41" fmla="*/ 96 h 333"/>
                  <a:gd name="T42" fmla="*/ 45 w 172"/>
                  <a:gd name="T43" fmla="*/ 97 h 333"/>
                  <a:gd name="T44" fmla="*/ 35 w 172"/>
                  <a:gd name="T45" fmla="*/ 102 h 333"/>
                  <a:gd name="T46" fmla="*/ 25 w 172"/>
                  <a:gd name="T47" fmla="*/ 120 h 333"/>
                  <a:gd name="T48" fmla="*/ 22 w 172"/>
                  <a:gd name="T49" fmla="*/ 160 h 333"/>
                  <a:gd name="T50" fmla="*/ 26 w 172"/>
                  <a:gd name="T51" fmla="*/ 198 h 333"/>
                  <a:gd name="T52" fmla="*/ 18 w 172"/>
                  <a:gd name="T53" fmla="*/ 213 h 333"/>
                  <a:gd name="T54" fmla="*/ 6 w 172"/>
                  <a:gd name="T55" fmla="*/ 234 h 333"/>
                  <a:gd name="T56" fmla="*/ 2 w 172"/>
                  <a:gd name="T57" fmla="*/ 241 h 333"/>
                  <a:gd name="T58" fmla="*/ 12 w 172"/>
                  <a:gd name="T59" fmla="*/ 282 h 333"/>
                  <a:gd name="T60" fmla="*/ 12 w 172"/>
                  <a:gd name="T61" fmla="*/ 303 h 333"/>
                  <a:gd name="T62" fmla="*/ 50 w 172"/>
                  <a:gd name="T63" fmla="*/ 333 h 333"/>
                  <a:gd name="T64" fmla="*/ 85 w 172"/>
                  <a:gd name="T65" fmla="*/ 321 h 333"/>
                  <a:gd name="T66" fmla="*/ 100 w 172"/>
                  <a:gd name="T67" fmla="*/ 294 h 333"/>
                  <a:gd name="T68" fmla="*/ 146 w 172"/>
                  <a:gd name="T69" fmla="*/ 140 h 333"/>
                  <a:gd name="T70" fmla="*/ 152 w 172"/>
                  <a:gd name="T71" fmla="*/ 121 h 333"/>
                  <a:gd name="T72" fmla="*/ 155 w 172"/>
                  <a:gd name="T73" fmla="*/ 102 h 333"/>
                  <a:gd name="T74" fmla="*/ 153 w 172"/>
                  <a:gd name="T75" fmla="*/ 84 h 333"/>
                  <a:gd name="T76" fmla="*/ 165 w 172"/>
                  <a:gd name="T77" fmla="*/ 95 h 333"/>
                  <a:gd name="T78" fmla="*/ 167 w 172"/>
                  <a:gd name="T79" fmla="*/ 64 h 333"/>
                  <a:gd name="T80" fmla="*/ 153 w 172"/>
                  <a:gd name="T81" fmla="*/ 21 h 333"/>
                  <a:gd name="T82" fmla="*/ 141 w 172"/>
                  <a:gd name="T83" fmla="*/ 8 h 333"/>
                  <a:gd name="T84" fmla="*/ 142 w 172"/>
                  <a:gd name="T85" fmla="*/ 0 h 3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2" h="333">
                    <a:moveTo>
                      <a:pt x="142" y="0"/>
                    </a:moveTo>
                    <a:cubicBezTo>
                      <a:pt x="139" y="3"/>
                      <a:pt x="137" y="7"/>
                      <a:pt x="134" y="10"/>
                    </a:cubicBezTo>
                    <a:cubicBezTo>
                      <a:pt x="133" y="11"/>
                      <a:pt x="129" y="11"/>
                      <a:pt x="131" y="12"/>
                    </a:cubicBezTo>
                    <a:cubicBezTo>
                      <a:pt x="133" y="15"/>
                      <a:pt x="133" y="15"/>
                      <a:pt x="134" y="18"/>
                    </a:cubicBezTo>
                    <a:cubicBezTo>
                      <a:pt x="136" y="23"/>
                      <a:pt x="133" y="25"/>
                      <a:pt x="132" y="30"/>
                    </a:cubicBezTo>
                    <a:cubicBezTo>
                      <a:pt x="131" y="32"/>
                      <a:pt x="133" y="32"/>
                      <a:pt x="130" y="34"/>
                    </a:cubicBezTo>
                    <a:cubicBezTo>
                      <a:pt x="129" y="35"/>
                      <a:pt x="128" y="35"/>
                      <a:pt x="127" y="35"/>
                    </a:cubicBezTo>
                    <a:cubicBezTo>
                      <a:pt x="126" y="35"/>
                      <a:pt x="125" y="35"/>
                      <a:pt x="124" y="34"/>
                    </a:cubicBezTo>
                    <a:cubicBezTo>
                      <a:pt x="124" y="35"/>
                      <a:pt x="125" y="37"/>
                      <a:pt x="124" y="37"/>
                    </a:cubicBezTo>
                    <a:cubicBezTo>
                      <a:pt x="124" y="38"/>
                      <a:pt x="121" y="38"/>
                      <a:pt x="121" y="38"/>
                    </a:cubicBezTo>
                    <a:cubicBezTo>
                      <a:pt x="120" y="40"/>
                      <a:pt x="120" y="44"/>
                      <a:pt x="119" y="44"/>
                    </a:cubicBezTo>
                    <a:cubicBezTo>
                      <a:pt x="118" y="44"/>
                      <a:pt x="118" y="43"/>
                      <a:pt x="117" y="42"/>
                    </a:cubicBezTo>
                    <a:cubicBezTo>
                      <a:pt x="116" y="42"/>
                      <a:pt x="117" y="41"/>
                      <a:pt x="116" y="40"/>
                    </a:cubicBezTo>
                    <a:cubicBezTo>
                      <a:pt x="116" y="39"/>
                      <a:pt x="116" y="40"/>
                      <a:pt x="115" y="39"/>
                    </a:cubicBezTo>
                    <a:cubicBezTo>
                      <a:pt x="113" y="38"/>
                      <a:pt x="114" y="38"/>
                      <a:pt x="112" y="37"/>
                    </a:cubicBezTo>
                    <a:cubicBezTo>
                      <a:pt x="108" y="41"/>
                      <a:pt x="115" y="51"/>
                      <a:pt x="113" y="56"/>
                    </a:cubicBezTo>
                    <a:cubicBezTo>
                      <a:pt x="113" y="54"/>
                      <a:pt x="113" y="52"/>
                      <a:pt x="111" y="51"/>
                    </a:cubicBezTo>
                    <a:cubicBezTo>
                      <a:pt x="111" y="52"/>
                      <a:pt x="112" y="55"/>
                      <a:pt x="111" y="55"/>
                    </a:cubicBezTo>
                    <a:cubicBezTo>
                      <a:pt x="111" y="55"/>
                      <a:pt x="110" y="55"/>
                      <a:pt x="110" y="55"/>
                    </a:cubicBezTo>
                    <a:cubicBezTo>
                      <a:pt x="110" y="55"/>
                      <a:pt x="110" y="55"/>
                      <a:pt x="109" y="54"/>
                    </a:cubicBezTo>
                    <a:cubicBezTo>
                      <a:pt x="109" y="54"/>
                      <a:pt x="109" y="54"/>
                      <a:pt x="108" y="54"/>
                    </a:cubicBezTo>
                    <a:cubicBezTo>
                      <a:pt x="108" y="54"/>
                      <a:pt x="108" y="55"/>
                      <a:pt x="107" y="55"/>
                    </a:cubicBezTo>
                    <a:cubicBezTo>
                      <a:pt x="107" y="57"/>
                      <a:pt x="105" y="62"/>
                      <a:pt x="107" y="63"/>
                    </a:cubicBezTo>
                    <a:cubicBezTo>
                      <a:pt x="107" y="63"/>
                      <a:pt x="107" y="63"/>
                      <a:pt x="107" y="63"/>
                    </a:cubicBezTo>
                    <a:cubicBezTo>
                      <a:pt x="108" y="63"/>
                      <a:pt x="108" y="63"/>
                      <a:pt x="109" y="63"/>
                    </a:cubicBezTo>
                    <a:cubicBezTo>
                      <a:pt x="109" y="63"/>
                      <a:pt x="110" y="63"/>
                      <a:pt x="111" y="63"/>
                    </a:cubicBezTo>
                    <a:cubicBezTo>
                      <a:pt x="111" y="63"/>
                      <a:pt x="111" y="63"/>
                      <a:pt x="111" y="63"/>
                    </a:cubicBezTo>
                    <a:cubicBezTo>
                      <a:pt x="113" y="64"/>
                      <a:pt x="113" y="65"/>
                      <a:pt x="113" y="67"/>
                    </a:cubicBezTo>
                    <a:cubicBezTo>
                      <a:pt x="113" y="66"/>
                      <a:pt x="112" y="65"/>
                      <a:pt x="112" y="65"/>
                    </a:cubicBezTo>
                    <a:cubicBezTo>
                      <a:pt x="112" y="64"/>
                      <a:pt x="112" y="64"/>
                      <a:pt x="112" y="64"/>
                    </a:cubicBezTo>
                    <a:cubicBezTo>
                      <a:pt x="111" y="64"/>
                      <a:pt x="111" y="64"/>
                      <a:pt x="111" y="64"/>
                    </a:cubicBezTo>
                    <a:cubicBezTo>
                      <a:pt x="111" y="64"/>
                      <a:pt x="111" y="64"/>
                      <a:pt x="111" y="64"/>
                    </a:cubicBezTo>
                    <a:cubicBezTo>
                      <a:pt x="111" y="64"/>
                      <a:pt x="111" y="64"/>
                      <a:pt x="111" y="64"/>
                    </a:cubicBezTo>
                    <a:cubicBezTo>
                      <a:pt x="111" y="64"/>
                      <a:pt x="111" y="64"/>
                      <a:pt x="111" y="64"/>
                    </a:cubicBezTo>
                    <a:cubicBezTo>
                      <a:pt x="110" y="64"/>
                      <a:pt x="108" y="64"/>
                      <a:pt x="108" y="63"/>
                    </a:cubicBezTo>
                    <a:cubicBezTo>
                      <a:pt x="105" y="64"/>
                      <a:pt x="102" y="70"/>
                      <a:pt x="99" y="73"/>
                    </a:cubicBezTo>
                    <a:cubicBezTo>
                      <a:pt x="99" y="71"/>
                      <a:pt x="101" y="70"/>
                      <a:pt x="101" y="67"/>
                    </a:cubicBezTo>
                    <a:cubicBezTo>
                      <a:pt x="100" y="66"/>
                      <a:pt x="100" y="65"/>
                      <a:pt x="100" y="65"/>
                    </a:cubicBezTo>
                    <a:cubicBezTo>
                      <a:pt x="99" y="65"/>
                      <a:pt x="99" y="66"/>
                      <a:pt x="98" y="67"/>
                    </a:cubicBezTo>
                    <a:cubicBezTo>
                      <a:pt x="96" y="69"/>
                      <a:pt x="91" y="77"/>
                      <a:pt x="92" y="80"/>
                    </a:cubicBezTo>
                    <a:cubicBezTo>
                      <a:pt x="92" y="80"/>
                      <a:pt x="92" y="80"/>
                      <a:pt x="92" y="80"/>
                    </a:cubicBezTo>
                    <a:cubicBezTo>
                      <a:pt x="92" y="80"/>
                      <a:pt x="94" y="83"/>
                      <a:pt x="95" y="83"/>
                    </a:cubicBezTo>
                    <a:cubicBezTo>
                      <a:pt x="93" y="85"/>
                      <a:pt x="90" y="84"/>
                      <a:pt x="88" y="85"/>
                    </a:cubicBezTo>
                    <a:cubicBezTo>
                      <a:pt x="89" y="83"/>
                      <a:pt x="91" y="80"/>
                      <a:pt x="88" y="79"/>
                    </a:cubicBezTo>
                    <a:cubicBezTo>
                      <a:pt x="88" y="78"/>
                      <a:pt x="88" y="78"/>
                      <a:pt x="88" y="78"/>
                    </a:cubicBezTo>
                    <a:cubicBezTo>
                      <a:pt x="86" y="78"/>
                      <a:pt x="84" y="80"/>
                      <a:pt x="82" y="82"/>
                    </a:cubicBezTo>
                    <a:cubicBezTo>
                      <a:pt x="80" y="83"/>
                      <a:pt x="77" y="85"/>
                      <a:pt x="75" y="87"/>
                    </a:cubicBezTo>
                    <a:cubicBezTo>
                      <a:pt x="73" y="89"/>
                      <a:pt x="73" y="91"/>
                      <a:pt x="74" y="93"/>
                    </a:cubicBezTo>
                    <a:cubicBezTo>
                      <a:pt x="75" y="94"/>
                      <a:pt x="76" y="94"/>
                      <a:pt x="77" y="96"/>
                    </a:cubicBezTo>
                    <a:cubicBezTo>
                      <a:pt x="76" y="95"/>
                      <a:pt x="76" y="95"/>
                      <a:pt x="75" y="95"/>
                    </a:cubicBezTo>
                    <a:cubicBezTo>
                      <a:pt x="75" y="95"/>
                      <a:pt x="74" y="95"/>
                      <a:pt x="74" y="95"/>
                    </a:cubicBezTo>
                    <a:cubicBezTo>
                      <a:pt x="74" y="96"/>
                      <a:pt x="74" y="96"/>
                      <a:pt x="73" y="96"/>
                    </a:cubicBezTo>
                    <a:cubicBezTo>
                      <a:pt x="73" y="96"/>
                      <a:pt x="72" y="96"/>
                      <a:pt x="72" y="95"/>
                    </a:cubicBezTo>
                    <a:cubicBezTo>
                      <a:pt x="71" y="94"/>
                      <a:pt x="72" y="92"/>
                      <a:pt x="71" y="91"/>
                    </a:cubicBezTo>
                    <a:cubicBezTo>
                      <a:pt x="71" y="90"/>
                      <a:pt x="70" y="90"/>
                      <a:pt x="69" y="90"/>
                    </a:cubicBezTo>
                    <a:cubicBezTo>
                      <a:pt x="68" y="90"/>
                      <a:pt x="66" y="92"/>
                      <a:pt x="64" y="93"/>
                    </a:cubicBezTo>
                    <a:cubicBezTo>
                      <a:pt x="65" y="92"/>
                      <a:pt x="64" y="92"/>
                      <a:pt x="64" y="92"/>
                    </a:cubicBezTo>
                    <a:cubicBezTo>
                      <a:pt x="63" y="92"/>
                      <a:pt x="62" y="93"/>
                      <a:pt x="62" y="93"/>
                    </a:cubicBezTo>
                    <a:cubicBezTo>
                      <a:pt x="62" y="93"/>
                      <a:pt x="62" y="93"/>
                      <a:pt x="62" y="93"/>
                    </a:cubicBezTo>
                    <a:cubicBezTo>
                      <a:pt x="61" y="93"/>
                      <a:pt x="61" y="92"/>
                      <a:pt x="60" y="92"/>
                    </a:cubicBezTo>
                    <a:cubicBezTo>
                      <a:pt x="60" y="92"/>
                      <a:pt x="59" y="92"/>
                      <a:pt x="59" y="92"/>
                    </a:cubicBezTo>
                    <a:cubicBezTo>
                      <a:pt x="58" y="92"/>
                      <a:pt x="58" y="92"/>
                      <a:pt x="58" y="92"/>
                    </a:cubicBezTo>
                    <a:cubicBezTo>
                      <a:pt x="56" y="94"/>
                      <a:pt x="55" y="95"/>
                      <a:pt x="53" y="96"/>
                    </a:cubicBezTo>
                    <a:cubicBezTo>
                      <a:pt x="51" y="97"/>
                      <a:pt x="51" y="97"/>
                      <a:pt x="49" y="99"/>
                    </a:cubicBezTo>
                    <a:cubicBezTo>
                      <a:pt x="49" y="97"/>
                      <a:pt x="48" y="96"/>
                      <a:pt x="48" y="96"/>
                    </a:cubicBezTo>
                    <a:cubicBezTo>
                      <a:pt x="47" y="96"/>
                      <a:pt x="46" y="96"/>
                      <a:pt x="45" y="97"/>
                    </a:cubicBezTo>
                    <a:cubicBezTo>
                      <a:pt x="43" y="99"/>
                      <a:pt x="41" y="102"/>
                      <a:pt x="38" y="102"/>
                    </a:cubicBezTo>
                    <a:cubicBezTo>
                      <a:pt x="38" y="102"/>
                      <a:pt x="38" y="102"/>
                      <a:pt x="38" y="102"/>
                    </a:cubicBezTo>
                    <a:cubicBezTo>
                      <a:pt x="37" y="102"/>
                      <a:pt x="36" y="102"/>
                      <a:pt x="35" y="102"/>
                    </a:cubicBezTo>
                    <a:cubicBezTo>
                      <a:pt x="34" y="102"/>
                      <a:pt x="33" y="101"/>
                      <a:pt x="32" y="101"/>
                    </a:cubicBezTo>
                    <a:cubicBezTo>
                      <a:pt x="31" y="101"/>
                      <a:pt x="31" y="101"/>
                      <a:pt x="30" y="101"/>
                    </a:cubicBezTo>
                    <a:cubicBezTo>
                      <a:pt x="26" y="103"/>
                      <a:pt x="27" y="115"/>
                      <a:pt x="25" y="120"/>
                    </a:cubicBezTo>
                    <a:cubicBezTo>
                      <a:pt x="23" y="123"/>
                      <a:pt x="21" y="127"/>
                      <a:pt x="19" y="130"/>
                    </a:cubicBezTo>
                    <a:cubicBezTo>
                      <a:pt x="18" y="131"/>
                      <a:pt x="16" y="134"/>
                      <a:pt x="17" y="136"/>
                    </a:cubicBezTo>
                    <a:cubicBezTo>
                      <a:pt x="18" y="144"/>
                      <a:pt x="20" y="152"/>
                      <a:pt x="22" y="160"/>
                    </a:cubicBezTo>
                    <a:cubicBezTo>
                      <a:pt x="23" y="166"/>
                      <a:pt x="24" y="172"/>
                      <a:pt x="27" y="177"/>
                    </a:cubicBezTo>
                    <a:cubicBezTo>
                      <a:pt x="30" y="181"/>
                      <a:pt x="30" y="182"/>
                      <a:pt x="28" y="186"/>
                    </a:cubicBezTo>
                    <a:cubicBezTo>
                      <a:pt x="27" y="190"/>
                      <a:pt x="28" y="195"/>
                      <a:pt x="26" y="198"/>
                    </a:cubicBezTo>
                    <a:cubicBezTo>
                      <a:pt x="26" y="200"/>
                      <a:pt x="25" y="202"/>
                      <a:pt x="24" y="204"/>
                    </a:cubicBezTo>
                    <a:cubicBezTo>
                      <a:pt x="23" y="206"/>
                      <a:pt x="22" y="206"/>
                      <a:pt x="21" y="208"/>
                    </a:cubicBezTo>
                    <a:cubicBezTo>
                      <a:pt x="20" y="210"/>
                      <a:pt x="19" y="211"/>
                      <a:pt x="18" y="213"/>
                    </a:cubicBezTo>
                    <a:cubicBezTo>
                      <a:pt x="15" y="216"/>
                      <a:pt x="17" y="221"/>
                      <a:pt x="14" y="224"/>
                    </a:cubicBezTo>
                    <a:cubicBezTo>
                      <a:pt x="11" y="228"/>
                      <a:pt x="7" y="224"/>
                      <a:pt x="6" y="230"/>
                    </a:cubicBezTo>
                    <a:cubicBezTo>
                      <a:pt x="6" y="231"/>
                      <a:pt x="6" y="232"/>
                      <a:pt x="6" y="234"/>
                    </a:cubicBezTo>
                    <a:cubicBezTo>
                      <a:pt x="6" y="235"/>
                      <a:pt x="5" y="235"/>
                      <a:pt x="5" y="236"/>
                    </a:cubicBezTo>
                    <a:cubicBezTo>
                      <a:pt x="3" y="238"/>
                      <a:pt x="3" y="239"/>
                      <a:pt x="2" y="241"/>
                    </a:cubicBezTo>
                    <a:cubicBezTo>
                      <a:pt x="2" y="241"/>
                      <a:pt x="2" y="241"/>
                      <a:pt x="2" y="241"/>
                    </a:cubicBezTo>
                    <a:cubicBezTo>
                      <a:pt x="0" y="244"/>
                      <a:pt x="0" y="249"/>
                      <a:pt x="1" y="253"/>
                    </a:cubicBezTo>
                    <a:cubicBezTo>
                      <a:pt x="2" y="262"/>
                      <a:pt x="6" y="268"/>
                      <a:pt x="10" y="276"/>
                    </a:cubicBezTo>
                    <a:cubicBezTo>
                      <a:pt x="10" y="278"/>
                      <a:pt x="12" y="280"/>
                      <a:pt x="12" y="282"/>
                    </a:cubicBezTo>
                    <a:cubicBezTo>
                      <a:pt x="12" y="283"/>
                      <a:pt x="11" y="283"/>
                      <a:pt x="10" y="284"/>
                    </a:cubicBezTo>
                    <a:cubicBezTo>
                      <a:pt x="9" y="286"/>
                      <a:pt x="10" y="288"/>
                      <a:pt x="11" y="290"/>
                    </a:cubicBezTo>
                    <a:cubicBezTo>
                      <a:pt x="11" y="294"/>
                      <a:pt x="10" y="299"/>
                      <a:pt x="12" y="303"/>
                    </a:cubicBezTo>
                    <a:cubicBezTo>
                      <a:pt x="13" y="307"/>
                      <a:pt x="16" y="310"/>
                      <a:pt x="18" y="314"/>
                    </a:cubicBezTo>
                    <a:cubicBezTo>
                      <a:pt x="20" y="318"/>
                      <a:pt x="20" y="318"/>
                      <a:pt x="24" y="320"/>
                    </a:cubicBezTo>
                    <a:cubicBezTo>
                      <a:pt x="32" y="325"/>
                      <a:pt x="40" y="333"/>
                      <a:pt x="50" y="333"/>
                    </a:cubicBezTo>
                    <a:cubicBezTo>
                      <a:pt x="51" y="333"/>
                      <a:pt x="53" y="333"/>
                      <a:pt x="54" y="332"/>
                    </a:cubicBezTo>
                    <a:cubicBezTo>
                      <a:pt x="60" y="331"/>
                      <a:pt x="65" y="325"/>
                      <a:pt x="71" y="323"/>
                    </a:cubicBezTo>
                    <a:cubicBezTo>
                      <a:pt x="76" y="321"/>
                      <a:pt x="80" y="323"/>
                      <a:pt x="85" y="321"/>
                    </a:cubicBezTo>
                    <a:cubicBezTo>
                      <a:pt x="87" y="320"/>
                      <a:pt x="88" y="320"/>
                      <a:pt x="89" y="318"/>
                    </a:cubicBezTo>
                    <a:cubicBezTo>
                      <a:pt x="91" y="314"/>
                      <a:pt x="93" y="310"/>
                      <a:pt x="94" y="306"/>
                    </a:cubicBezTo>
                    <a:cubicBezTo>
                      <a:pt x="96" y="302"/>
                      <a:pt x="99" y="298"/>
                      <a:pt x="100" y="294"/>
                    </a:cubicBezTo>
                    <a:cubicBezTo>
                      <a:pt x="109" y="264"/>
                      <a:pt x="118" y="234"/>
                      <a:pt x="127" y="205"/>
                    </a:cubicBezTo>
                    <a:cubicBezTo>
                      <a:pt x="131" y="192"/>
                      <a:pt x="135" y="178"/>
                      <a:pt x="138" y="165"/>
                    </a:cubicBezTo>
                    <a:cubicBezTo>
                      <a:pt x="141" y="157"/>
                      <a:pt x="143" y="148"/>
                      <a:pt x="146" y="140"/>
                    </a:cubicBezTo>
                    <a:cubicBezTo>
                      <a:pt x="147" y="137"/>
                      <a:pt x="147" y="135"/>
                      <a:pt x="147" y="132"/>
                    </a:cubicBezTo>
                    <a:cubicBezTo>
                      <a:pt x="147" y="130"/>
                      <a:pt x="146" y="130"/>
                      <a:pt x="147" y="129"/>
                    </a:cubicBezTo>
                    <a:cubicBezTo>
                      <a:pt x="148" y="126"/>
                      <a:pt x="150" y="123"/>
                      <a:pt x="152" y="121"/>
                    </a:cubicBezTo>
                    <a:cubicBezTo>
                      <a:pt x="154" y="119"/>
                      <a:pt x="156" y="118"/>
                      <a:pt x="154" y="116"/>
                    </a:cubicBezTo>
                    <a:cubicBezTo>
                      <a:pt x="152" y="115"/>
                      <a:pt x="153" y="113"/>
                      <a:pt x="154" y="112"/>
                    </a:cubicBezTo>
                    <a:cubicBezTo>
                      <a:pt x="155" y="109"/>
                      <a:pt x="157" y="104"/>
                      <a:pt x="155" y="102"/>
                    </a:cubicBezTo>
                    <a:cubicBezTo>
                      <a:pt x="154" y="99"/>
                      <a:pt x="152" y="101"/>
                      <a:pt x="153" y="97"/>
                    </a:cubicBezTo>
                    <a:cubicBezTo>
                      <a:pt x="153" y="94"/>
                      <a:pt x="152" y="93"/>
                      <a:pt x="152" y="90"/>
                    </a:cubicBezTo>
                    <a:cubicBezTo>
                      <a:pt x="151" y="88"/>
                      <a:pt x="151" y="85"/>
                      <a:pt x="153" y="84"/>
                    </a:cubicBezTo>
                    <a:cubicBezTo>
                      <a:pt x="154" y="83"/>
                      <a:pt x="155" y="83"/>
                      <a:pt x="155" y="83"/>
                    </a:cubicBezTo>
                    <a:cubicBezTo>
                      <a:pt x="158" y="83"/>
                      <a:pt x="159" y="87"/>
                      <a:pt x="160" y="89"/>
                    </a:cubicBezTo>
                    <a:cubicBezTo>
                      <a:pt x="161" y="92"/>
                      <a:pt x="163" y="95"/>
                      <a:pt x="165" y="95"/>
                    </a:cubicBezTo>
                    <a:cubicBezTo>
                      <a:pt x="165" y="95"/>
                      <a:pt x="166" y="95"/>
                      <a:pt x="167" y="93"/>
                    </a:cubicBezTo>
                    <a:cubicBezTo>
                      <a:pt x="169" y="90"/>
                      <a:pt x="171" y="85"/>
                      <a:pt x="171" y="81"/>
                    </a:cubicBezTo>
                    <a:cubicBezTo>
                      <a:pt x="172" y="75"/>
                      <a:pt x="169" y="69"/>
                      <a:pt x="167" y="64"/>
                    </a:cubicBezTo>
                    <a:cubicBezTo>
                      <a:pt x="166" y="59"/>
                      <a:pt x="164" y="54"/>
                      <a:pt x="163" y="49"/>
                    </a:cubicBezTo>
                    <a:cubicBezTo>
                      <a:pt x="162" y="42"/>
                      <a:pt x="161" y="34"/>
                      <a:pt x="158" y="27"/>
                    </a:cubicBezTo>
                    <a:cubicBezTo>
                      <a:pt x="157" y="25"/>
                      <a:pt x="155" y="23"/>
                      <a:pt x="153" y="21"/>
                    </a:cubicBezTo>
                    <a:cubicBezTo>
                      <a:pt x="150" y="18"/>
                      <a:pt x="148" y="15"/>
                      <a:pt x="147" y="12"/>
                    </a:cubicBezTo>
                    <a:cubicBezTo>
                      <a:pt x="146" y="11"/>
                      <a:pt x="144" y="8"/>
                      <a:pt x="143" y="8"/>
                    </a:cubicBezTo>
                    <a:cubicBezTo>
                      <a:pt x="142" y="8"/>
                      <a:pt x="142" y="8"/>
                      <a:pt x="141" y="8"/>
                    </a:cubicBezTo>
                    <a:cubicBezTo>
                      <a:pt x="142" y="7"/>
                      <a:pt x="143" y="6"/>
                      <a:pt x="144" y="6"/>
                    </a:cubicBezTo>
                    <a:cubicBezTo>
                      <a:pt x="144" y="6"/>
                      <a:pt x="144" y="6"/>
                      <a:pt x="145" y="6"/>
                    </a:cubicBezTo>
                    <a:cubicBezTo>
                      <a:pt x="144" y="4"/>
                      <a:pt x="143" y="2"/>
                      <a:pt x="1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127"/>
              <p:cNvSpPr/>
              <p:nvPr/>
            </p:nvSpPr>
            <p:spPr bwMode="auto">
              <a:xfrm>
                <a:off x="6433" y="3693"/>
                <a:ext cx="9" cy="22"/>
              </a:xfrm>
              <a:custGeom>
                <a:gdLst>
                  <a:gd name="T0" fmla="*/ 4 w 4"/>
                  <a:gd name="T1" fmla="*/ 0 h 9"/>
                  <a:gd name="T2" fmla="*/ 0 w 4"/>
                  <a:gd name="T3" fmla="*/ 9 h 9"/>
                  <a:gd name="T4" fmla="*/ 4 w 4"/>
                  <a:gd name="T5" fmla="*/ 0 h 9"/>
                </a:gdLst>
                <a:cxnLst>
                  <a:cxn ang="0">
                    <a:pos x="T0" y="T1"/>
                  </a:cxn>
                  <a:cxn ang="0">
                    <a:pos x="T2" y="T3"/>
                  </a:cxn>
                  <a:cxn ang="0">
                    <a:pos x="T4" y="T5"/>
                  </a:cxn>
                </a:cxnLst>
                <a:rect l="0" t="0" r="r" b="b"/>
                <a:pathLst>
                  <a:path w="4" h="9">
                    <a:moveTo>
                      <a:pt x="4" y="0"/>
                    </a:moveTo>
                    <a:cubicBezTo>
                      <a:pt x="2" y="3"/>
                      <a:pt x="1" y="6"/>
                      <a:pt x="0" y="9"/>
                    </a:cubicBezTo>
                    <a:cubicBezTo>
                      <a:pt x="1" y="6"/>
                      <a:pt x="3"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128"/>
              <p:cNvSpPr/>
              <p:nvPr/>
            </p:nvSpPr>
            <p:spPr bwMode="auto">
              <a:xfrm>
                <a:off x="6341" y="3493"/>
                <a:ext cx="9" cy="11"/>
              </a:xfrm>
              <a:custGeom>
                <a:gdLst>
                  <a:gd name="T0" fmla="*/ 2 w 4"/>
                  <a:gd name="T1" fmla="*/ 0 h 5"/>
                  <a:gd name="T2" fmla="*/ 0 w 4"/>
                  <a:gd name="T3" fmla="*/ 2 h 5"/>
                  <a:gd name="T4" fmla="*/ 3 w 4"/>
                  <a:gd name="T5" fmla="*/ 5 h 5"/>
                  <a:gd name="T6" fmla="*/ 3 w 4"/>
                  <a:gd name="T7" fmla="*/ 0 h 5"/>
                  <a:gd name="T8" fmla="*/ 2 w 4"/>
                  <a:gd name="T9" fmla="*/ 0 h 5"/>
                </a:gdLst>
                <a:cxnLst>
                  <a:cxn ang="0">
                    <a:pos x="T0" y="T1"/>
                  </a:cxn>
                  <a:cxn ang="0">
                    <a:pos x="T2" y="T3"/>
                  </a:cxn>
                  <a:cxn ang="0">
                    <a:pos x="T4" y="T5"/>
                  </a:cxn>
                  <a:cxn ang="0">
                    <a:pos x="T6" y="T7"/>
                  </a:cxn>
                  <a:cxn ang="0">
                    <a:pos x="T8" y="T9"/>
                  </a:cxn>
                </a:cxnLst>
                <a:rect l="0" t="0" r="r" b="b"/>
                <a:pathLst>
                  <a:path w="4" h="5">
                    <a:moveTo>
                      <a:pt x="2" y="0"/>
                    </a:moveTo>
                    <a:cubicBezTo>
                      <a:pt x="1" y="0"/>
                      <a:pt x="0" y="1"/>
                      <a:pt x="0" y="2"/>
                    </a:cubicBezTo>
                    <a:cubicBezTo>
                      <a:pt x="0" y="4"/>
                      <a:pt x="2" y="4"/>
                      <a:pt x="3" y="5"/>
                    </a:cubicBezTo>
                    <a:cubicBezTo>
                      <a:pt x="4" y="4"/>
                      <a:pt x="4" y="1"/>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129"/>
              <p:cNvSpPr/>
              <p:nvPr/>
            </p:nvSpPr>
            <p:spPr bwMode="auto">
              <a:xfrm>
                <a:off x="4129" y="2547"/>
                <a:ext cx="30" cy="28"/>
              </a:xfrm>
              <a:custGeom>
                <a:gdLst>
                  <a:gd name="T0" fmla="*/ 12 w 13"/>
                  <a:gd name="T1" fmla="*/ 0 h 12"/>
                  <a:gd name="T2" fmla="*/ 5 w 13"/>
                  <a:gd name="T3" fmla="*/ 2 h 12"/>
                  <a:gd name="T4" fmla="*/ 4 w 13"/>
                  <a:gd name="T5" fmla="*/ 6 h 12"/>
                  <a:gd name="T6" fmla="*/ 3 w 13"/>
                  <a:gd name="T7" fmla="*/ 6 h 12"/>
                  <a:gd name="T8" fmla="*/ 3 w 13"/>
                  <a:gd name="T9" fmla="*/ 6 h 12"/>
                  <a:gd name="T10" fmla="*/ 2 w 13"/>
                  <a:gd name="T11" fmla="*/ 6 h 12"/>
                  <a:gd name="T12" fmla="*/ 1 w 13"/>
                  <a:gd name="T13" fmla="*/ 6 h 12"/>
                  <a:gd name="T14" fmla="*/ 1 w 13"/>
                  <a:gd name="T15" fmla="*/ 11 h 12"/>
                  <a:gd name="T16" fmla="*/ 6 w 13"/>
                  <a:gd name="T17" fmla="*/ 12 h 12"/>
                  <a:gd name="T18" fmla="*/ 6 w 13"/>
                  <a:gd name="T19" fmla="*/ 12 h 12"/>
                  <a:gd name="T20" fmla="*/ 12 w 13"/>
                  <a:gd name="T21" fmla="*/ 3 h 12"/>
                  <a:gd name="T22" fmla="*/ 12 w 13"/>
                  <a:gd name="T2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12" y="0"/>
                    </a:moveTo>
                    <a:cubicBezTo>
                      <a:pt x="10" y="0"/>
                      <a:pt x="7" y="1"/>
                      <a:pt x="5" y="2"/>
                    </a:cubicBezTo>
                    <a:cubicBezTo>
                      <a:pt x="5" y="2"/>
                      <a:pt x="4" y="6"/>
                      <a:pt x="4" y="6"/>
                    </a:cubicBezTo>
                    <a:cubicBezTo>
                      <a:pt x="4" y="6"/>
                      <a:pt x="4" y="6"/>
                      <a:pt x="3" y="6"/>
                    </a:cubicBezTo>
                    <a:cubicBezTo>
                      <a:pt x="3" y="6"/>
                      <a:pt x="3" y="6"/>
                      <a:pt x="3" y="6"/>
                    </a:cubicBezTo>
                    <a:cubicBezTo>
                      <a:pt x="2" y="6"/>
                      <a:pt x="2" y="6"/>
                      <a:pt x="2" y="6"/>
                    </a:cubicBezTo>
                    <a:cubicBezTo>
                      <a:pt x="2" y="6"/>
                      <a:pt x="2" y="6"/>
                      <a:pt x="1" y="6"/>
                    </a:cubicBezTo>
                    <a:cubicBezTo>
                      <a:pt x="0" y="7"/>
                      <a:pt x="0" y="10"/>
                      <a:pt x="1" y="11"/>
                    </a:cubicBezTo>
                    <a:cubicBezTo>
                      <a:pt x="2" y="11"/>
                      <a:pt x="5" y="12"/>
                      <a:pt x="6" y="12"/>
                    </a:cubicBezTo>
                    <a:cubicBezTo>
                      <a:pt x="6" y="12"/>
                      <a:pt x="6" y="12"/>
                      <a:pt x="6" y="12"/>
                    </a:cubicBezTo>
                    <a:cubicBezTo>
                      <a:pt x="8" y="12"/>
                      <a:pt x="12" y="5"/>
                      <a:pt x="12" y="3"/>
                    </a:cubicBezTo>
                    <a:cubicBezTo>
                      <a:pt x="13"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130"/>
              <p:cNvSpPr/>
              <p:nvPr/>
            </p:nvSpPr>
            <p:spPr bwMode="auto">
              <a:xfrm>
                <a:off x="6121" y="3429"/>
                <a:ext cx="17" cy="16"/>
              </a:xfrm>
              <a:custGeom>
                <a:gdLst>
                  <a:gd name="T0" fmla="*/ 6 w 7"/>
                  <a:gd name="T1" fmla="*/ 0 h 7"/>
                  <a:gd name="T2" fmla="*/ 4 w 7"/>
                  <a:gd name="T3" fmla="*/ 1 h 7"/>
                  <a:gd name="T4" fmla="*/ 1 w 7"/>
                  <a:gd name="T5" fmla="*/ 2 h 7"/>
                  <a:gd name="T6" fmla="*/ 0 w 7"/>
                  <a:gd name="T7" fmla="*/ 2 h 7"/>
                  <a:gd name="T8" fmla="*/ 7 w 7"/>
                  <a:gd name="T9" fmla="*/ 7 h 7"/>
                  <a:gd name="T10" fmla="*/ 6 w 7"/>
                  <a:gd name="T11" fmla="*/ 0 h 7"/>
                  <a:gd name="T12" fmla="*/ 6 w 7"/>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7" h="7">
                    <a:moveTo>
                      <a:pt x="6" y="0"/>
                    </a:moveTo>
                    <a:cubicBezTo>
                      <a:pt x="5" y="0"/>
                      <a:pt x="4" y="1"/>
                      <a:pt x="4" y="1"/>
                    </a:cubicBezTo>
                    <a:cubicBezTo>
                      <a:pt x="3" y="2"/>
                      <a:pt x="2" y="2"/>
                      <a:pt x="1" y="2"/>
                    </a:cubicBezTo>
                    <a:cubicBezTo>
                      <a:pt x="1" y="2"/>
                      <a:pt x="0" y="2"/>
                      <a:pt x="0" y="2"/>
                    </a:cubicBezTo>
                    <a:cubicBezTo>
                      <a:pt x="2" y="4"/>
                      <a:pt x="4" y="6"/>
                      <a:pt x="7" y="7"/>
                    </a:cubicBezTo>
                    <a:cubicBezTo>
                      <a:pt x="7" y="6"/>
                      <a:pt x="7"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131"/>
              <p:cNvSpPr/>
              <p:nvPr/>
            </p:nvSpPr>
            <p:spPr bwMode="auto">
              <a:xfrm>
                <a:off x="6088" y="3438"/>
                <a:ext cx="12" cy="7"/>
              </a:xfrm>
              <a:custGeom>
                <a:gdLst>
                  <a:gd name="T0" fmla="*/ 0 w 5"/>
                  <a:gd name="T1" fmla="*/ 0 h 3"/>
                  <a:gd name="T2" fmla="*/ 0 w 5"/>
                  <a:gd name="T3" fmla="*/ 0 h 3"/>
                  <a:gd name="T4" fmla="*/ 5 w 5"/>
                  <a:gd name="T5" fmla="*/ 3 h 3"/>
                  <a:gd name="T6" fmla="*/ 0 w 5"/>
                  <a:gd name="T7" fmla="*/ 0 h 3"/>
                </a:gdLst>
                <a:cxnLst>
                  <a:cxn ang="0">
                    <a:pos x="T0" y="T1"/>
                  </a:cxn>
                  <a:cxn ang="0">
                    <a:pos x="T2" y="T3"/>
                  </a:cxn>
                  <a:cxn ang="0">
                    <a:pos x="T4" y="T5"/>
                  </a:cxn>
                  <a:cxn ang="0">
                    <a:pos x="T6" y="T7"/>
                  </a:cxn>
                </a:cxnLst>
                <a:rect l="0" t="0" r="r" b="b"/>
                <a:pathLst>
                  <a:path w="5" h="3">
                    <a:moveTo>
                      <a:pt x="0" y="0"/>
                    </a:moveTo>
                    <a:cubicBezTo>
                      <a:pt x="0" y="0"/>
                      <a:pt x="0" y="0"/>
                      <a:pt x="0" y="0"/>
                    </a:cubicBezTo>
                    <a:cubicBezTo>
                      <a:pt x="1" y="1"/>
                      <a:pt x="3" y="2"/>
                      <a:pt x="5"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132"/>
              <p:cNvSpPr/>
              <p:nvPr/>
            </p:nvSpPr>
            <p:spPr bwMode="auto">
              <a:xfrm>
                <a:off x="6064" y="3389"/>
                <a:ext cx="17" cy="33"/>
              </a:xfrm>
              <a:custGeom>
                <a:gdLst>
                  <a:gd name="T0" fmla="*/ 3 w 7"/>
                  <a:gd name="T1" fmla="*/ 0 h 14"/>
                  <a:gd name="T2" fmla="*/ 1 w 7"/>
                  <a:gd name="T3" fmla="*/ 6 h 14"/>
                  <a:gd name="T4" fmla="*/ 6 w 7"/>
                  <a:gd name="T5" fmla="*/ 14 h 14"/>
                  <a:gd name="T6" fmla="*/ 4 w 7"/>
                  <a:gd name="T7" fmla="*/ 7 h 14"/>
                  <a:gd name="T8" fmla="*/ 4 w 7"/>
                  <a:gd name="T9" fmla="*/ 2 h 14"/>
                  <a:gd name="T10" fmla="*/ 3 w 7"/>
                  <a:gd name="T11" fmla="*/ 0 h 14"/>
                </a:gdLst>
                <a:cxnLst>
                  <a:cxn ang="0">
                    <a:pos x="T0" y="T1"/>
                  </a:cxn>
                  <a:cxn ang="0">
                    <a:pos x="T2" y="T3"/>
                  </a:cxn>
                  <a:cxn ang="0">
                    <a:pos x="T4" y="T5"/>
                  </a:cxn>
                  <a:cxn ang="0">
                    <a:pos x="T6" y="T7"/>
                  </a:cxn>
                  <a:cxn ang="0">
                    <a:pos x="T8" y="T9"/>
                  </a:cxn>
                  <a:cxn ang="0">
                    <a:pos x="T10" y="T11"/>
                  </a:cxn>
                </a:cxnLst>
                <a:rect l="0" t="0" r="r" b="b"/>
                <a:pathLst>
                  <a:path w="7" h="14">
                    <a:moveTo>
                      <a:pt x="3" y="0"/>
                    </a:moveTo>
                    <a:cubicBezTo>
                      <a:pt x="2" y="0"/>
                      <a:pt x="1" y="4"/>
                      <a:pt x="1" y="6"/>
                    </a:cubicBezTo>
                    <a:cubicBezTo>
                      <a:pt x="0" y="10"/>
                      <a:pt x="2" y="11"/>
                      <a:pt x="6" y="14"/>
                    </a:cubicBezTo>
                    <a:cubicBezTo>
                      <a:pt x="7" y="11"/>
                      <a:pt x="5" y="10"/>
                      <a:pt x="4" y="7"/>
                    </a:cubicBezTo>
                    <a:cubicBezTo>
                      <a:pt x="4" y="6"/>
                      <a:pt x="4" y="4"/>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133"/>
              <p:cNvSpPr/>
              <p:nvPr/>
            </p:nvSpPr>
            <p:spPr bwMode="auto">
              <a:xfrm>
                <a:off x="6627" y="2044"/>
                <a:ext cx="66" cy="21"/>
              </a:xfrm>
              <a:custGeom>
                <a:gdLst>
                  <a:gd name="T0" fmla="*/ 5 w 28"/>
                  <a:gd name="T1" fmla="*/ 0 h 9"/>
                  <a:gd name="T2" fmla="*/ 4 w 28"/>
                  <a:gd name="T3" fmla="*/ 0 h 9"/>
                  <a:gd name="T4" fmla="*/ 0 w 28"/>
                  <a:gd name="T5" fmla="*/ 4 h 9"/>
                  <a:gd name="T6" fmla="*/ 0 w 28"/>
                  <a:gd name="T7" fmla="*/ 4 h 9"/>
                  <a:gd name="T8" fmla="*/ 10 w 28"/>
                  <a:gd name="T9" fmla="*/ 9 h 9"/>
                  <a:gd name="T10" fmla="*/ 21 w 28"/>
                  <a:gd name="T11" fmla="*/ 7 h 9"/>
                  <a:gd name="T12" fmla="*/ 28 w 28"/>
                  <a:gd name="T13" fmla="*/ 4 h 9"/>
                  <a:gd name="T14" fmla="*/ 28 w 28"/>
                  <a:gd name="T15" fmla="*/ 4 h 9"/>
                  <a:gd name="T16" fmla="*/ 20 w 28"/>
                  <a:gd name="T17" fmla="*/ 1 h 9"/>
                  <a:gd name="T18" fmla="*/ 18 w 28"/>
                  <a:gd name="T19" fmla="*/ 0 h 9"/>
                  <a:gd name="T20" fmla="*/ 14 w 28"/>
                  <a:gd name="T21" fmla="*/ 1 h 9"/>
                  <a:gd name="T22" fmla="*/ 11 w 28"/>
                  <a:gd name="T23" fmla="*/ 1 h 9"/>
                  <a:gd name="T24" fmla="*/ 9 w 28"/>
                  <a:gd name="T25" fmla="*/ 1 h 9"/>
                  <a:gd name="T26" fmla="*/ 5 w 28"/>
                  <a:gd name="T2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9">
                    <a:moveTo>
                      <a:pt x="5" y="0"/>
                    </a:moveTo>
                    <a:cubicBezTo>
                      <a:pt x="4" y="0"/>
                      <a:pt x="4" y="0"/>
                      <a:pt x="4" y="0"/>
                    </a:cubicBezTo>
                    <a:cubicBezTo>
                      <a:pt x="2" y="1"/>
                      <a:pt x="2" y="4"/>
                      <a:pt x="0" y="4"/>
                    </a:cubicBezTo>
                    <a:cubicBezTo>
                      <a:pt x="0" y="4"/>
                      <a:pt x="0" y="4"/>
                      <a:pt x="0" y="4"/>
                    </a:cubicBezTo>
                    <a:cubicBezTo>
                      <a:pt x="3" y="6"/>
                      <a:pt x="6" y="8"/>
                      <a:pt x="10" y="9"/>
                    </a:cubicBezTo>
                    <a:cubicBezTo>
                      <a:pt x="14" y="9"/>
                      <a:pt x="17" y="9"/>
                      <a:pt x="21" y="7"/>
                    </a:cubicBezTo>
                    <a:cubicBezTo>
                      <a:pt x="23" y="7"/>
                      <a:pt x="26" y="4"/>
                      <a:pt x="28" y="4"/>
                    </a:cubicBezTo>
                    <a:cubicBezTo>
                      <a:pt x="28" y="4"/>
                      <a:pt x="28" y="4"/>
                      <a:pt x="28" y="4"/>
                    </a:cubicBezTo>
                    <a:cubicBezTo>
                      <a:pt x="26" y="3"/>
                      <a:pt x="23" y="1"/>
                      <a:pt x="20" y="1"/>
                    </a:cubicBezTo>
                    <a:cubicBezTo>
                      <a:pt x="19" y="0"/>
                      <a:pt x="19" y="0"/>
                      <a:pt x="18" y="0"/>
                    </a:cubicBezTo>
                    <a:cubicBezTo>
                      <a:pt x="17" y="0"/>
                      <a:pt x="16" y="1"/>
                      <a:pt x="14" y="1"/>
                    </a:cubicBezTo>
                    <a:cubicBezTo>
                      <a:pt x="13" y="1"/>
                      <a:pt x="12" y="1"/>
                      <a:pt x="11" y="1"/>
                    </a:cubicBezTo>
                    <a:cubicBezTo>
                      <a:pt x="10" y="1"/>
                      <a:pt x="10" y="1"/>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134"/>
              <p:cNvSpPr/>
              <p:nvPr/>
            </p:nvSpPr>
            <p:spPr bwMode="auto">
              <a:xfrm>
                <a:off x="6558" y="2070"/>
                <a:ext cx="14" cy="4"/>
              </a:xfrm>
              <a:custGeom>
                <a:gdLst>
                  <a:gd name="T0" fmla="*/ 1 w 6"/>
                  <a:gd name="T1" fmla="*/ 0 h 2"/>
                  <a:gd name="T2" fmla="*/ 0 w 6"/>
                  <a:gd name="T3" fmla="*/ 0 h 2"/>
                  <a:gd name="T4" fmla="*/ 6 w 6"/>
                  <a:gd name="T5" fmla="*/ 2 h 2"/>
                  <a:gd name="T6" fmla="*/ 1 w 6"/>
                  <a:gd name="T7" fmla="*/ 0 h 2"/>
                </a:gdLst>
                <a:cxnLst>
                  <a:cxn ang="0">
                    <a:pos x="T0" y="T1"/>
                  </a:cxn>
                  <a:cxn ang="0">
                    <a:pos x="T2" y="T3"/>
                  </a:cxn>
                  <a:cxn ang="0">
                    <a:pos x="T4" y="T5"/>
                  </a:cxn>
                  <a:cxn ang="0">
                    <a:pos x="T6" y="T7"/>
                  </a:cxn>
                </a:cxnLst>
                <a:rect l="0" t="0" r="r" b="b"/>
                <a:pathLst>
                  <a:path w="6" h="2">
                    <a:moveTo>
                      <a:pt x="1" y="0"/>
                    </a:moveTo>
                    <a:cubicBezTo>
                      <a:pt x="0" y="0"/>
                      <a:pt x="0" y="0"/>
                      <a:pt x="0" y="0"/>
                    </a:cubicBezTo>
                    <a:cubicBezTo>
                      <a:pt x="2" y="1"/>
                      <a:pt x="4" y="2"/>
                      <a:pt x="6" y="2"/>
                    </a:cubicBezTo>
                    <a:cubicBezTo>
                      <a:pt x="5"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135"/>
              <p:cNvSpPr/>
              <p:nvPr/>
            </p:nvSpPr>
            <p:spPr bwMode="auto">
              <a:xfrm>
                <a:off x="5492" y="959"/>
                <a:ext cx="19" cy="4"/>
              </a:xfrm>
              <a:custGeom>
                <a:gdLst>
                  <a:gd name="T0" fmla="*/ 5 w 8"/>
                  <a:gd name="T1" fmla="*/ 0 h 2"/>
                  <a:gd name="T2" fmla="*/ 0 w 8"/>
                  <a:gd name="T3" fmla="*/ 2 h 2"/>
                  <a:gd name="T4" fmla="*/ 8 w 8"/>
                  <a:gd name="T5" fmla="*/ 1 h 2"/>
                  <a:gd name="T6" fmla="*/ 5 w 8"/>
                  <a:gd name="T7" fmla="*/ 0 h 2"/>
                </a:gdLst>
                <a:cxnLst>
                  <a:cxn ang="0">
                    <a:pos x="T0" y="T1"/>
                  </a:cxn>
                  <a:cxn ang="0">
                    <a:pos x="T2" y="T3"/>
                  </a:cxn>
                  <a:cxn ang="0">
                    <a:pos x="T4" y="T5"/>
                  </a:cxn>
                  <a:cxn ang="0">
                    <a:pos x="T6" y="T7"/>
                  </a:cxn>
                </a:cxnLst>
                <a:rect l="0" t="0" r="r" b="b"/>
                <a:pathLst>
                  <a:path w="8" h="2">
                    <a:moveTo>
                      <a:pt x="5" y="0"/>
                    </a:moveTo>
                    <a:cubicBezTo>
                      <a:pt x="4" y="0"/>
                      <a:pt x="2" y="1"/>
                      <a:pt x="0" y="2"/>
                    </a:cubicBezTo>
                    <a:cubicBezTo>
                      <a:pt x="3" y="2"/>
                      <a:pt x="5" y="1"/>
                      <a:pt x="8"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136"/>
              <p:cNvSpPr/>
              <p:nvPr/>
            </p:nvSpPr>
            <p:spPr bwMode="auto">
              <a:xfrm>
                <a:off x="2701" y="859"/>
                <a:ext cx="33" cy="14"/>
              </a:xfrm>
              <a:custGeom>
                <a:gdLst>
                  <a:gd name="T0" fmla="*/ 7 w 14"/>
                  <a:gd name="T1" fmla="*/ 0 h 6"/>
                  <a:gd name="T2" fmla="*/ 0 w 14"/>
                  <a:gd name="T3" fmla="*/ 1 h 6"/>
                  <a:gd name="T4" fmla="*/ 8 w 14"/>
                  <a:gd name="T5" fmla="*/ 6 h 6"/>
                  <a:gd name="T6" fmla="*/ 14 w 14"/>
                  <a:gd name="T7" fmla="*/ 2 h 6"/>
                  <a:gd name="T8" fmla="*/ 13 w 14"/>
                  <a:gd name="T9" fmla="*/ 2 h 6"/>
                  <a:gd name="T10" fmla="*/ 8 w 14"/>
                  <a:gd name="T11" fmla="*/ 0 h 6"/>
                  <a:gd name="T12" fmla="*/ 7 w 1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14" h="6">
                    <a:moveTo>
                      <a:pt x="7" y="0"/>
                    </a:moveTo>
                    <a:cubicBezTo>
                      <a:pt x="5" y="0"/>
                      <a:pt x="2" y="1"/>
                      <a:pt x="0" y="1"/>
                    </a:cubicBezTo>
                    <a:cubicBezTo>
                      <a:pt x="1" y="4"/>
                      <a:pt x="5" y="5"/>
                      <a:pt x="8" y="6"/>
                    </a:cubicBezTo>
                    <a:cubicBezTo>
                      <a:pt x="10" y="4"/>
                      <a:pt x="12" y="4"/>
                      <a:pt x="14" y="2"/>
                    </a:cubicBezTo>
                    <a:cubicBezTo>
                      <a:pt x="14" y="2"/>
                      <a:pt x="13" y="2"/>
                      <a:pt x="13" y="2"/>
                    </a:cubicBezTo>
                    <a:cubicBezTo>
                      <a:pt x="11" y="2"/>
                      <a:pt x="10" y="1"/>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137"/>
              <p:cNvSpPr/>
              <p:nvPr/>
            </p:nvSpPr>
            <p:spPr bwMode="auto">
              <a:xfrm>
                <a:off x="2659" y="1103"/>
                <a:ext cx="19" cy="21"/>
              </a:xfrm>
              <a:custGeom>
                <a:gdLst>
                  <a:gd name="T0" fmla="*/ 4 w 8"/>
                  <a:gd name="T1" fmla="*/ 0 h 9"/>
                  <a:gd name="T2" fmla="*/ 1 w 8"/>
                  <a:gd name="T3" fmla="*/ 3 h 9"/>
                  <a:gd name="T4" fmla="*/ 6 w 8"/>
                  <a:gd name="T5" fmla="*/ 9 h 9"/>
                  <a:gd name="T6" fmla="*/ 6 w 8"/>
                  <a:gd name="T7" fmla="*/ 1 h 9"/>
                  <a:gd name="T8" fmla="*/ 4 w 8"/>
                  <a:gd name="T9" fmla="*/ 0 h 9"/>
                </a:gdLst>
                <a:cxnLst>
                  <a:cxn ang="0">
                    <a:pos x="T0" y="T1"/>
                  </a:cxn>
                  <a:cxn ang="0">
                    <a:pos x="T2" y="T3"/>
                  </a:cxn>
                  <a:cxn ang="0">
                    <a:pos x="T4" y="T5"/>
                  </a:cxn>
                  <a:cxn ang="0">
                    <a:pos x="T6" y="T7"/>
                  </a:cxn>
                  <a:cxn ang="0">
                    <a:pos x="T8" y="T9"/>
                  </a:cxn>
                </a:cxnLst>
                <a:rect l="0" t="0" r="r" b="b"/>
                <a:pathLst>
                  <a:path w="8" h="9">
                    <a:moveTo>
                      <a:pt x="4" y="0"/>
                    </a:moveTo>
                    <a:cubicBezTo>
                      <a:pt x="3" y="0"/>
                      <a:pt x="1" y="1"/>
                      <a:pt x="1" y="3"/>
                    </a:cubicBezTo>
                    <a:cubicBezTo>
                      <a:pt x="0" y="5"/>
                      <a:pt x="4" y="9"/>
                      <a:pt x="6" y="9"/>
                    </a:cubicBezTo>
                    <a:cubicBezTo>
                      <a:pt x="6" y="7"/>
                      <a:pt x="8" y="2"/>
                      <a:pt x="6" y="1"/>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38"/>
              <p:cNvSpPr/>
              <p:nvPr/>
            </p:nvSpPr>
            <p:spPr bwMode="auto">
              <a:xfrm>
                <a:off x="2647" y="1164"/>
                <a:ext cx="19" cy="12"/>
              </a:xfrm>
              <a:custGeom>
                <a:gdLst>
                  <a:gd name="T0" fmla="*/ 8 w 8"/>
                  <a:gd name="T1" fmla="*/ 0 h 5"/>
                  <a:gd name="T2" fmla="*/ 4 w 8"/>
                  <a:gd name="T3" fmla="*/ 2 h 5"/>
                  <a:gd name="T4" fmla="*/ 6 w 8"/>
                  <a:gd name="T5" fmla="*/ 5 h 5"/>
                  <a:gd name="T6" fmla="*/ 8 w 8"/>
                  <a:gd name="T7" fmla="*/ 0 h 5"/>
                </a:gdLst>
                <a:cxnLst>
                  <a:cxn ang="0">
                    <a:pos x="T0" y="T1"/>
                  </a:cxn>
                  <a:cxn ang="0">
                    <a:pos x="T2" y="T3"/>
                  </a:cxn>
                  <a:cxn ang="0">
                    <a:pos x="T4" y="T5"/>
                  </a:cxn>
                  <a:cxn ang="0">
                    <a:pos x="T6" y="T7"/>
                  </a:cxn>
                </a:cxnLst>
                <a:rect l="0" t="0" r="r" b="b"/>
                <a:pathLst>
                  <a:path w="8" h="5">
                    <a:moveTo>
                      <a:pt x="8" y="0"/>
                    </a:moveTo>
                    <a:cubicBezTo>
                      <a:pt x="6" y="1"/>
                      <a:pt x="6" y="1"/>
                      <a:pt x="4" y="2"/>
                    </a:cubicBezTo>
                    <a:cubicBezTo>
                      <a:pt x="0" y="4"/>
                      <a:pt x="3" y="3"/>
                      <a:pt x="6" y="5"/>
                    </a:cubicBezTo>
                    <a:cubicBezTo>
                      <a:pt x="7" y="4"/>
                      <a:pt x="8"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139"/>
              <p:cNvSpPr/>
              <p:nvPr/>
            </p:nvSpPr>
            <p:spPr bwMode="auto">
              <a:xfrm>
                <a:off x="2694" y="1145"/>
                <a:ext cx="19" cy="10"/>
              </a:xfrm>
              <a:custGeom>
                <a:gdLst>
                  <a:gd name="T0" fmla="*/ 5 w 8"/>
                  <a:gd name="T1" fmla="*/ 0 h 4"/>
                  <a:gd name="T2" fmla="*/ 4 w 8"/>
                  <a:gd name="T3" fmla="*/ 4 h 4"/>
                  <a:gd name="T4" fmla="*/ 5 w 8"/>
                  <a:gd name="T5" fmla="*/ 0 h 4"/>
                </a:gdLst>
                <a:cxnLst>
                  <a:cxn ang="0">
                    <a:pos x="T0" y="T1"/>
                  </a:cxn>
                  <a:cxn ang="0">
                    <a:pos x="T2" y="T3"/>
                  </a:cxn>
                  <a:cxn ang="0">
                    <a:pos x="T4" y="T5"/>
                  </a:cxn>
                </a:cxnLst>
                <a:rect l="0" t="0" r="r" b="b"/>
                <a:pathLst>
                  <a:path w="8" h="4">
                    <a:moveTo>
                      <a:pt x="5" y="0"/>
                    </a:moveTo>
                    <a:cubicBezTo>
                      <a:pt x="2" y="0"/>
                      <a:pt x="0" y="1"/>
                      <a:pt x="4" y="4"/>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140"/>
              <p:cNvSpPr/>
              <p:nvPr/>
            </p:nvSpPr>
            <p:spPr bwMode="auto">
              <a:xfrm>
                <a:off x="2720" y="1119"/>
                <a:ext cx="45" cy="38"/>
              </a:xfrm>
              <a:custGeom>
                <a:gdLst>
                  <a:gd name="T0" fmla="*/ 19 w 19"/>
                  <a:gd name="T1" fmla="*/ 0 h 16"/>
                  <a:gd name="T2" fmla="*/ 14 w 19"/>
                  <a:gd name="T3" fmla="*/ 1 h 16"/>
                  <a:gd name="T4" fmla="*/ 11 w 19"/>
                  <a:gd name="T5" fmla="*/ 4 h 16"/>
                  <a:gd name="T6" fmla="*/ 1 w 19"/>
                  <a:gd name="T7" fmla="*/ 6 h 16"/>
                  <a:gd name="T8" fmla="*/ 0 w 19"/>
                  <a:gd name="T9" fmla="*/ 7 h 16"/>
                  <a:gd name="T10" fmla="*/ 1 w 19"/>
                  <a:gd name="T11" fmla="*/ 8 h 16"/>
                  <a:gd name="T12" fmla="*/ 6 w 19"/>
                  <a:gd name="T13" fmla="*/ 16 h 16"/>
                  <a:gd name="T14" fmla="*/ 19 w 19"/>
                  <a:gd name="T15" fmla="*/ 0 h 1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6">
                    <a:moveTo>
                      <a:pt x="19" y="0"/>
                    </a:moveTo>
                    <a:cubicBezTo>
                      <a:pt x="17" y="1"/>
                      <a:pt x="15" y="1"/>
                      <a:pt x="14" y="1"/>
                    </a:cubicBezTo>
                    <a:cubicBezTo>
                      <a:pt x="13" y="2"/>
                      <a:pt x="12" y="3"/>
                      <a:pt x="11" y="4"/>
                    </a:cubicBezTo>
                    <a:cubicBezTo>
                      <a:pt x="8" y="6"/>
                      <a:pt x="5" y="5"/>
                      <a:pt x="1" y="6"/>
                    </a:cubicBezTo>
                    <a:cubicBezTo>
                      <a:pt x="0" y="7"/>
                      <a:pt x="0" y="7"/>
                      <a:pt x="0" y="7"/>
                    </a:cubicBezTo>
                    <a:cubicBezTo>
                      <a:pt x="1" y="7"/>
                      <a:pt x="1" y="7"/>
                      <a:pt x="1" y="8"/>
                    </a:cubicBezTo>
                    <a:cubicBezTo>
                      <a:pt x="3" y="10"/>
                      <a:pt x="5" y="13"/>
                      <a:pt x="6" y="16"/>
                    </a:cubicBezTo>
                    <a:cubicBezTo>
                      <a:pt x="10" y="11"/>
                      <a:pt x="15" y="6"/>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141"/>
              <p:cNvSpPr/>
              <p:nvPr/>
            </p:nvSpPr>
            <p:spPr bwMode="auto">
              <a:xfrm>
                <a:off x="2779" y="1145"/>
                <a:ext cx="31" cy="26"/>
              </a:xfrm>
              <a:custGeom>
                <a:gdLst>
                  <a:gd name="T0" fmla="*/ 10 w 13"/>
                  <a:gd name="T1" fmla="*/ 0 h 11"/>
                  <a:gd name="T2" fmla="*/ 8 w 13"/>
                  <a:gd name="T3" fmla="*/ 1 h 11"/>
                  <a:gd name="T4" fmla="*/ 4 w 13"/>
                  <a:gd name="T5" fmla="*/ 0 h 11"/>
                  <a:gd name="T6" fmla="*/ 1 w 13"/>
                  <a:gd name="T7" fmla="*/ 7 h 11"/>
                  <a:gd name="T8" fmla="*/ 7 w 13"/>
                  <a:gd name="T9" fmla="*/ 11 h 11"/>
                  <a:gd name="T10" fmla="*/ 10 w 13"/>
                  <a:gd name="T11" fmla="*/ 0 h 11"/>
                </a:gdLst>
                <a:cxnLst>
                  <a:cxn ang="0">
                    <a:pos x="T0" y="T1"/>
                  </a:cxn>
                  <a:cxn ang="0">
                    <a:pos x="T2" y="T3"/>
                  </a:cxn>
                  <a:cxn ang="0">
                    <a:pos x="T4" y="T5"/>
                  </a:cxn>
                  <a:cxn ang="0">
                    <a:pos x="T6" y="T7"/>
                  </a:cxn>
                  <a:cxn ang="0">
                    <a:pos x="T8" y="T9"/>
                  </a:cxn>
                  <a:cxn ang="0">
                    <a:pos x="T10" y="T11"/>
                  </a:cxn>
                </a:cxnLst>
                <a:rect l="0" t="0" r="r" b="b"/>
                <a:pathLst>
                  <a:path w="13" h="11">
                    <a:moveTo>
                      <a:pt x="10" y="0"/>
                    </a:moveTo>
                    <a:cubicBezTo>
                      <a:pt x="10" y="1"/>
                      <a:pt x="9" y="1"/>
                      <a:pt x="8" y="1"/>
                    </a:cubicBezTo>
                    <a:cubicBezTo>
                      <a:pt x="7" y="1"/>
                      <a:pt x="5" y="0"/>
                      <a:pt x="4" y="0"/>
                    </a:cubicBezTo>
                    <a:cubicBezTo>
                      <a:pt x="4" y="3"/>
                      <a:pt x="0" y="3"/>
                      <a:pt x="1" y="7"/>
                    </a:cubicBezTo>
                    <a:cubicBezTo>
                      <a:pt x="2" y="9"/>
                      <a:pt x="5" y="11"/>
                      <a:pt x="7" y="11"/>
                    </a:cubicBezTo>
                    <a:cubicBezTo>
                      <a:pt x="12" y="8"/>
                      <a:pt x="13" y="6"/>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142"/>
              <p:cNvSpPr/>
              <p:nvPr/>
            </p:nvSpPr>
            <p:spPr bwMode="auto">
              <a:xfrm>
                <a:off x="2855" y="1105"/>
                <a:ext cx="43" cy="47"/>
              </a:xfrm>
              <a:custGeom>
                <a:gdLst>
                  <a:gd name="T0" fmla="*/ 11 w 18"/>
                  <a:gd name="T1" fmla="*/ 0 h 20"/>
                  <a:gd name="T2" fmla="*/ 13 w 18"/>
                  <a:gd name="T3" fmla="*/ 2 h 20"/>
                  <a:gd name="T4" fmla="*/ 10 w 18"/>
                  <a:gd name="T5" fmla="*/ 8 h 20"/>
                  <a:gd name="T6" fmla="*/ 7 w 18"/>
                  <a:gd name="T7" fmla="*/ 13 h 20"/>
                  <a:gd name="T8" fmla="*/ 1 w 18"/>
                  <a:gd name="T9" fmla="*/ 19 h 20"/>
                  <a:gd name="T10" fmla="*/ 0 w 18"/>
                  <a:gd name="T11" fmla="*/ 20 h 20"/>
                  <a:gd name="T12" fmla="*/ 1 w 18"/>
                  <a:gd name="T13" fmla="*/ 20 h 20"/>
                  <a:gd name="T14" fmla="*/ 1 w 18"/>
                  <a:gd name="T15" fmla="*/ 20 h 20"/>
                  <a:gd name="T16" fmla="*/ 4 w 18"/>
                  <a:gd name="T17" fmla="*/ 20 h 20"/>
                  <a:gd name="T18" fmla="*/ 15 w 18"/>
                  <a:gd name="T19" fmla="*/ 10 h 20"/>
                  <a:gd name="T20" fmla="*/ 16 w 18"/>
                  <a:gd name="T21" fmla="*/ 4 h 20"/>
                  <a:gd name="T22" fmla="*/ 18 w 18"/>
                  <a:gd name="T23" fmla="*/ 5 h 20"/>
                  <a:gd name="T24" fmla="*/ 11 w 18"/>
                  <a:gd name="T25"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20">
                    <a:moveTo>
                      <a:pt x="11" y="0"/>
                    </a:moveTo>
                    <a:cubicBezTo>
                      <a:pt x="12" y="1"/>
                      <a:pt x="12" y="2"/>
                      <a:pt x="13" y="2"/>
                    </a:cubicBezTo>
                    <a:cubicBezTo>
                      <a:pt x="11" y="3"/>
                      <a:pt x="11" y="6"/>
                      <a:pt x="10" y="8"/>
                    </a:cubicBezTo>
                    <a:cubicBezTo>
                      <a:pt x="9" y="9"/>
                      <a:pt x="8" y="11"/>
                      <a:pt x="7" y="13"/>
                    </a:cubicBezTo>
                    <a:cubicBezTo>
                      <a:pt x="6" y="17"/>
                      <a:pt x="5" y="17"/>
                      <a:pt x="1" y="19"/>
                    </a:cubicBezTo>
                    <a:cubicBezTo>
                      <a:pt x="0" y="20"/>
                      <a:pt x="0" y="20"/>
                      <a:pt x="0" y="20"/>
                    </a:cubicBezTo>
                    <a:cubicBezTo>
                      <a:pt x="1" y="20"/>
                      <a:pt x="1" y="20"/>
                      <a:pt x="1" y="20"/>
                    </a:cubicBezTo>
                    <a:cubicBezTo>
                      <a:pt x="1" y="20"/>
                      <a:pt x="1" y="20"/>
                      <a:pt x="1" y="20"/>
                    </a:cubicBezTo>
                    <a:cubicBezTo>
                      <a:pt x="2" y="20"/>
                      <a:pt x="3" y="20"/>
                      <a:pt x="4" y="20"/>
                    </a:cubicBezTo>
                    <a:cubicBezTo>
                      <a:pt x="9" y="17"/>
                      <a:pt x="14" y="16"/>
                      <a:pt x="15" y="10"/>
                    </a:cubicBezTo>
                    <a:cubicBezTo>
                      <a:pt x="16" y="9"/>
                      <a:pt x="16" y="6"/>
                      <a:pt x="16" y="4"/>
                    </a:cubicBezTo>
                    <a:cubicBezTo>
                      <a:pt x="16" y="4"/>
                      <a:pt x="17" y="5"/>
                      <a:pt x="18" y="5"/>
                    </a:cubicBezTo>
                    <a:cubicBezTo>
                      <a:pt x="16" y="2"/>
                      <a:pt x="14"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143"/>
              <p:cNvSpPr/>
              <p:nvPr/>
            </p:nvSpPr>
            <p:spPr bwMode="auto">
              <a:xfrm>
                <a:off x="2895" y="1081"/>
                <a:ext cx="21" cy="24"/>
              </a:xfrm>
              <a:custGeom>
                <a:gdLst>
                  <a:gd name="T0" fmla="*/ 8 w 9"/>
                  <a:gd name="T1" fmla="*/ 0 h 10"/>
                  <a:gd name="T2" fmla="*/ 7 w 9"/>
                  <a:gd name="T3" fmla="*/ 1 h 10"/>
                  <a:gd name="T4" fmla="*/ 0 w 9"/>
                  <a:gd name="T5" fmla="*/ 10 h 10"/>
                  <a:gd name="T6" fmla="*/ 8 w 9"/>
                  <a:gd name="T7" fmla="*/ 4 h 10"/>
                  <a:gd name="T8" fmla="*/ 8 w 9"/>
                  <a:gd name="T9" fmla="*/ 0 h 10"/>
                </a:gdLst>
                <a:cxnLst>
                  <a:cxn ang="0">
                    <a:pos x="T0" y="T1"/>
                  </a:cxn>
                  <a:cxn ang="0">
                    <a:pos x="T2" y="T3"/>
                  </a:cxn>
                  <a:cxn ang="0">
                    <a:pos x="T4" y="T5"/>
                  </a:cxn>
                  <a:cxn ang="0">
                    <a:pos x="T6" y="T7"/>
                  </a:cxn>
                  <a:cxn ang="0">
                    <a:pos x="T8" y="T9"/>
                  </a:cxn>
                </a:cxnLst>
                <a:rect l="0" t="0" r="r" b="b"/>
                <a:pathLst>
                  <a:path w="9" h="10">
                    <a:moveTo>
                      <a:pt x="8" y="0"/>
                    </a:moveTo>
                    <a:cubicBezTo>
                      <a:pt x="8" y="0"/>
                      <a:pt x="7" y="0"/>
                      <a:pt x="7" y="1"/>
                    </a:cubicBezTo>
                    <a:cubicBezTo>
                      <a:pt x="1" y="4"/>
                      <a:pt x="0" y="3"/>
                      <a:pt x="0" y="10"/>
                    </a:cubicBezTo>
                    <a:cubicBezTo>
                      <a:pt x="2" y="6"/>
                      <a:pt x="6" y="8"/>
                      <a:pt x="8" y="4"/>
                    </a:cubicBezTo>
                    <a:cubicBezTo>
                      <a:pt x="8" y="3"/>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144"/>
              <p:cNvSpPr/>
              <p:nvPr/>
            </p:nvSpPr>
            <p:spPr bwMode="auto">
              <a:xfrm>
                <a:off x="4020" y="2731"/>
                <a:ext cx="17" cy="22"/>
              </a:xfrm>
              <a:custGeom>
                <a:gdLst>
                  <a:gd name="T0" fmla="*/ 5 w 7"/>
                  <a:gd name="T1" fmla="*/ 0 h 9"/>
                  <a:gd name="T2" fmla="*/ 2 w 7"/>
                  <a:gd name="T3" fmla="*/ 1 h 9"/>
                  <a:gd name="T4" fmla="*/ 2 w 7"/>
                  <a:gd name="T5" fmla="*/ 9 h 9"/>
                  <a:gd name="T6" fmla="*/ 7 w 7"/>
                  <a:gd name="T7" fmla="*/ 3 h 9"/>
                  <a:gd name="T8" fmla="*/ 5 w 7"/>
                  <a:gd name="T9" fmla="*/ 0 h 9"/>
                </a:gdLst>
                <a:cxnLst>
                  <a:cxn ang="0">
                    <a:pos x="T0" y="T1"/>
                  </a:cxn>
                  <a:cxn ang="0">
                    <a:pos x="T2" y="T3"/>
                  </a:cxn>
                  <a:cxn ang="0">
                    <a:pos x="T4" y="T5"/>
                  </a:cxn>
                  <a:cxn ang="0">
                    <a:pos x="T6" y="T7"/>
                  </a:cxn>
                  <a:cxn ang="0">
                    <a:pos x="T8" y="T9"/>
                  </a:cxn>
                </a:cxnLst>
                <a:rect l="0" t="0" r="r" b="b"/>
                <a:pathLst>
                  <a:path w="7" h="9">
                    <a:moveTo>
                      <a:pt x="5" y="0"/>
                    </a:moveTo>
                    <a:cubicBezTo>
                      <a:pt x="4" y="0"/>
                      <a:pt x="3" y="1"/>
                      <a:pt x="2" y="1"/>
                    </a:cubicBezTo>
                    <a:cubicBezTo>
                      <a:pt x="0" y="3"/>
                      <a:pt x="1" y="6"/>
                      <a:pt x="2" y="9"/>
                    </a:cubicBezTo>
                    <a:cubicBezTo>
                      <a:pt x="4" y="8"/>
                      <a:pt x="7" y="6"/>
                      <a:pt x="7" y="3"/>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145"/>
              <p:cNvSpPr/>
              <p:nvPr/>
            </p:nvSpPr>
            <p:spPr bwMode="auto">
              <a:xfrm>
                <a:off x="6851" y="3880"/>
                <a:ext cx="24" cy="29"/>
              </a:xfrm>
              <a:custGeom>
                <a:gdLst>
                  <a:gd name="T0" fmla="*/ 6 w 10"/>
                  <a:gd name="T1" fmla="*/ 0 h 12"/>
                  <a:gd name="T2" fmla="*/ 5 w 10"/>
                  <a:gd name="T3" fmla="*/ 0 h 12"/>
                  <a:gd name="T4" fmla="*/ 0 w 10"/>
                  <a:gd name="T5" fmla="*/ 12 h 12"/>
                  <a:gd name="T6" fmla="*/ 2 w 10"/>
                  <a:gd name="T7" fmla="*/ 12 h 12"/>
                  <a:gd name="T8" fmla="*/ 10 w 10"/>
                  <a:gd name="T9" fmla="*/ 8 h 12"/>
                  <a:gd name="T10" fmla="*/ 6 w 10"/>
                  <a:gd name="T11" fmla="*/ 0 h 12"/>
                </a:gdLst>
                <a:cxnLst>
                  <a:cxn ang="0">
                    <a:pos x="T0" y="T1"/>
                  </a:cxn>
                  <a:cxn ang="0">
                    <a:pos x="T2" y="T3"/>
                  </a:cxn>
                  <a:cxn ang="0">
                    <a:pos x="T4" y="T5"/>
                  </a:cxn>
                  <a:cxn ang="0">
                    <a:pos x="T6" y="T7"/>
                  </a:cxn>
                  <a:cxn ang="0">
                    <a:pos x="T8" y="T9"/>
                  </a:cxn>
                  <a:cxn ang="0">
                    <a:pos x="T10" y="T11"/>
                  </a:cxn>
                </a:cxnLst>
                <a:rect l="0" t="0" r="r" b="b"/>
                <a:pathLst>
                  <a:path w="10" h="12">
                    <a:moveTo>
                      <a:pt x="6" y="0"/>
                    </a:moveTo>
                    <a:cubicBezTo>
                      <a:pt x="6" y="0"/>
                      <a:pt x="5" y="0"/>
                      <a:pt x="5" y="0"/>
                    </a:cubicBezTo>
                    <a:cubicBezTo>
                      <a:pt x="2" y="2"/>
                      <a:pt x="1" y="9"/>
                      <a:pt x="0" y="12"/>
                    </a:cubicBezTo>
                    <a:cubicBezTo>
                      <a:pt x="1" y="12"/>
                      <a:pt x="2" y="12"/>
                      <a:pt x="2" y="12"/>
                    </a:cubicBezTo>
                    <a:cubicBezTo>
                      <a:pt x="6" y="12"/>
                      <a:pt x="9" y="12"/>
                      <a:pt x="10" y="8"/>
                    </a:cubicBezTo>
                    <a:cubicBezTo>
                      <a:pt x="10" y="6"/>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146"/>
              <p:cNvSpPr/>
              <p:nvPr/>
            </p:nvSpPr>
            <p:spPr bwMode="auto">
              <a:xfrm>
                <a:off x="6726" y="3932"/>
                <a:ext cx="40" cy="29"/>
              </a:xfrm>
              <a:custGeom>
                <a:gdLst>
                  <a:gd name="T0" fmla="*/ 10 w 17"/>
                  <a:gd name="T1" fmla="*/ 0 h 12"/>
                  <a:gd name="T2" fmla="*/ 10 w 17"/>
                  <a:gd name="T3" fmla="*/ 0 h 12"/>
                  <a:gd name="T4" fmla="*/ 11 w 17"/>
                  <a:gd name="T5" fmla="*/ 12 h 12"/>
                  <a:gd name="T6" fmla="*/ 12 w 17"/>
                  <a:gd name="T7" fmla="*/ 12 h 12"/>
                  <a:gd name="T8" fmla="*/ 16 w 17"/>
                  <a:gd name="T9" fmla="*/ 6 h 12"/>
                  <a:gd name="T10" fmla="*/ 10 w 17"/>
                  <a:gd name="T11" fmla="*/ 0 h 12"/>
                </a:gdLst>
                <a:cxnLst>
                  <a:cxn ang="0">
                    <a:pos x="T0" y="T1"/>
                  </a:cxn>
                  <a:cxn ang="0">
                    <a:pos x="T2" y="T3"/>
                  </a:cxn>
                  <a:cxn ang="0">
                    <a:pos x="T4" y="T5"/>
                  </a:cxn>
                  <a:cxn ang="0">
                    <a:pos x="T6" y="T7"/>
                  </a:cxn>
                  <a:cxn ang="0">
                    <a:pos x="T8" y="T9"/>
                  </a:cxn>
                  <a:cxn ang="0">
                    <a:pos x="T10" y="T11"/>
                  </a:cxn>
                </a:cxnLst>
                <a:rect l="0" t="0" r="r" b="b"/>
                <a:pathLst>
                  <a:path w="17" h="12">
                    <a:moveTo>
                      <a:pt x="10" y="0"/>
                    </a:moveTo>
                    <a:cubicBezTo>
                      <a:pt x="10" y="0"/>
                      <a:pt x="10" y="0"/>
                      <a:pt x="10" y="0"/>
                    </a:cubicBezTo>
                    <a:cubicBezTo>
                      <a:pt x="0" y="0"/>
                      <a:pt x="3" y="11"/>
                      <a:pt x="11" y="12"/>
                    </a:cubicBezTo>
                    <a:cubicBezTo>
                      <a:pt x="12" y="12"/>
                      <a:pt x="12" y="12"/>
                      <a:pt x="12" y="12"/>
                    </a:cubicBezTo>
                    <a:cubicBezTo>
                      <a:pt x="16" y="12"/>
                      <a:pt x="17" y="9"/>
                      <a:pt x="16" y="6"/>
                    </a:cubicBezTo>
                    <a:cubicBezTo>
                      <a:pt x="15" y="3"/>
                      <a:pt x="13"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147"/>
              <p:cNvSpPr/>
              <p:nvPr/>
            </p:nvSpPr>
            <p:spPr bwMode="auto">
              <a:xfrm>
                <a:off x="5067" y="3755"/>
                <a:ext cx="2" cy="2"/>
              </a:xfrm>
              <a:custGeom>
                <a:gdLst>
                  <a:gd name="T0" fmla="*/ 0 w 2"/>
                  <a:gd name="T1" fmla="*/ 0 h 2"/>
                  <a:gd name="T2" fmla="*/ 0 w 2"/>
                  <a:gd name="T3" fmla="*/ 0 h 2"/>
                  <a:gd name="T4" fmla="*/ 0 w 2"/>
                  <a:gd name="T5" fmla="*/ 0 h 2"/>
                  <a:gd name="T6" fmla="*/ 2 w 2"/>
                  <a:gd name="T7" fmla="*/ 2 h 2"/>
                  <a:gd name="T8" fmla="*/ 0 w 2"/>
                  <a:gd name="T9" fmla="*/ 0 h 2"/>
                </a:gdLst>
                <a:cxnLst>
                  <a:cxn ang="0">
                    <a:pos x="T0" y="T1"/>
                  </a:cxn>
                  <a:cxn ang="0">
                    <a:pos x="T2" y="T3"/>
                  </a:cxn>
                  <a:cxn ang="0">
                    <a:pos x="T4" y="T5"/>
                  </a:cxn>
                  <a:cxn ang="0">
                    <a:pos x="T6" y="T7"/>
                  </a:cxn>
                  <a:cxn ang="0">
                    <a:pos x="T8" y="T9"/>
                  </a:cxn>
                </a:cxnLst>
                <a:rect l="0" t="0" r="r" b="b"/>
                <a:pathLst>
                  <a:path w="2" h="2">
                    <a:moveTo>
                      <a:pt x="0" y="0"/>
                    </a:moveTo>
                    <a:lnTo>
                      <a:pt x="0" y="0"/>
                    </a:lnTo>
                    <a:lnTo>
                      <a:pt x="0"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148"/>
              <p:cNvSpPr/>
              <p:nvPr/>
            </p:nvSpPr>
            <p:spPr bwMode="auto">
              <a:xfrm>
                <a:off x="5067" y="3755"/>
                <a:ext cx="2" cy="2"/>
              </a:xfrm>
              <a:custGeom>
                <a:gdLst>
                  <a:gd name="T0" fmla="*/ 0 w 2"/>
                  <a:gd name="T1" fmla="*/ 0 h 2"/>
                  <a:gd name="T2" fmla="*/ 0 w 2"/>
                  <a:gd name="T3" fmla="*/ 0 h 2"/>
                  <a:gd name="T4" fmla="*/ 0 w 2"/>
                  <a:gd name="T5" fmla="*/ 0 h 2"/>
                  <a:gd name="T6" fmla="*/ 2 w 2"/>
                  <a:gd name="T7" fmla="*/ 2 h 2"/>
                  <a:gd name="T8" fmla="*/ 0 w 2"/>
                  <a:gd name="T9" fmla="*/ 0 h 2"/>
                </a:gdLst>
                <a:cxnLst>
                  <a:cxn ang="0">
                    <a:pos x="T0" y="T1"/>
                  </a:cxn>
                  <a:cxn ang="0">
                    <a:pos x="T2" y="T3"/>
                  </a:cxn>
                  <a:cxn ang="0">
                    <a:pos x="T4" y="T5"/>
                  </a:cxn>
                  <a:cxn ang="0">
                    <a:pos x="T6" y="T7"/>
                  </a:cxn>
                  <a:cxn ang="0">
                    <a:pos x="T8" y="T9"/>
                  </a:cxn>
                </a:cxnLst>
                <a:rect l="0" t="0" r="r" b="b"/>
                <a:pathLst>
                  <a:path w="2" h="2">
                    <a:moveTo>
                      <a:pt x="0" y="0"/>
                    </a:moveTo>
                    <a:lnTo>
                      <a:pt x="0" y="0"/>
                    </a:lnTo>
                    <a:lnTo>
                      <a:pt x="0" y="0"/>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149"/>
              <p:cNvSpPr/>
              <p:nvPr/>
            </p:nvSpPr>
            <p:spPr bwMode="auto">
              <a:xfrm>
                <a:off x="6483" y="1266"/>
                <a:ext cx="49" cy="92"/>
              </a:xfrm>
              <a:custGeom>
                <a:gdLst>
                  <a:gd name="T0" fmla="*/ 11 w 21"/>
                  <a:gd name="T1" fmla="*/ 0 h 39"/>
                  <a:gd name="T2" fmla="*/ 10 w 21"/>
                  <a:gd name="T3" fmla="*/ 1 h 39"/>
                  <a:gd name="T4" fmla="*/ 5 w 21"/>
                  <a:gd name="T5" fmla="*/ 8 h 39"/>
                  <a:gd name="T6" fmla="*/ 3 w 21"/>
                  <a:gd name="T7" fmla="*/ 16 h 39"/>
                  <a:gd name="T8" fmla="*/ 1 w 21"/>
                  <a:gd name="T9" fmla="*/ 26 h 39"/>
                  <a:gd name="T10" fmla="*/ 2 w 21"/>
                  <a:gd name="T11" fmla="*/ 33 h 39"/>
                  <a:gd name="T12" fmla="*/ 2 w 21"/>
                  <a:gd name="T13" fmla="*/ 33 h 39"/>
                  <a:gd name="T14" fmla="*/ 2 w 21"/>
                  <a:gd name="T15" fmla="*/ 35 h 39"/>
                  <a:gd name="T16" fmla="*/ 5 w 21"/>
                  <a:gd name="T17" fmla="*/ 39 h 39"/>
                  <a:gd name="T18" fmla="*/ 6 w 21"/>
                  <a:gd name="T19" fmla="*/ 39 h 39"/>
                  <a:gd name="T20" fmla="*/ 6 w 21"/>
                  <a:gd name="T21" fmla="*/ 39 h 39"/>
                  <a:gd name="T22" fmla="*/ 7 w 21"/>
                  <a:gd name="T23" fmla="*/ 39 h 39"/>
                  <a:gd name="T24" fmla="*/ 7 w 21"/>
                  <a:gd name="T25" fmla="*/ 39 h 39"/>
                  <a:gd name="T26" fmla="*/ 7 w 21"/>
                  <a:gd name="T27" fmla="*/ 39 h 39"/>
                  <a:gd name="T28" fmla="*/ 9 w 21"/>
                  <a:gd name="T29" fmla="*/ 39 h 39"/>
                  <a:gd name="T30" fmla="*/ 12 w 21"/>
                  <a:gd name="T31" fmla="*/ 38 h 39"/>
                  <a:gd name="T32" fmla="*/ 13 w 21"/>
                  <a:gd name="T33" fmla="*/ 38 h 39"/>
                  <a:gd name="T34" fmla="*/ 14 w 21"/>
                  <a:gd name="T35" fmla="*/ 39 h 39"/>
                  <a:gd name="T36" fmla="*/ 15 w 21"/>
                  <a:gd name="T37" fmla="*/ 39 h 39"/>
                  <a:gd name="T38" fmla="*/ 17 w 21"/>
                  <a:gd name="T39" fmla="*/ 38 h 39"/>
                  <a:gd name="T40" fmla="*/ 17 w 21"/>
                  <a:gd name="T41" fmla="*/ 36 h 39"/>
                  <a:gd name="T42" fmla="*/ 17 w 21"/>
                  <a:gd name="T43" fmla="*/ 36 h 39"/>
                  <a:gd name="T44" fmla="*/ 18 w 21"/>
                  <a:gd name="T45" fmla="*/ 33 h 39"/>
                  <a:gd name="T46" fmla="*/ 20 w 21"/>
                  <a:gd name="T47" fmla="*/ 22 h 39"/>
                  <a:gd name="T48" fmla="*/ 18 w 21"/>
                  <a:gd name="T49" fmla="*/ 15 h 39"/>
                  <a:gd name="T50" fmla="*/ 19 w 21"/>
                  <a:gd name="T51" fmla="*/ 5 h 39"/>
                  <a:gd name="T52" fmla="*/ 18 w 21"/>
                  <a:gd name="T53" fmla="*/ 5 h 39"/>
                  <a:gd name="T54" fmla="*/ 17 w 21"/>
                  <a:gd name="T55" fmla="*/ 5 h 39"/>
                  <a:gd name="T56" fmla="*/ 17 w 21"/>
                  <a:gd name="T57" fmla="*/ 5 h 39"/>
                  <a:gd name="T58" fmla="*/ 16 w 21"/>
                  <a:gd name="T59" fmla="*/ 5 h 39"/>
                  <a:gd name="T60" fmla="*/ 13 w 21"/>
                  <a:gd name="T61" fmla="*/ 1 h 39"/>
                  <a:gd name="T62" fmla="*/ 11 w 21"/>
                  <a:gd name="T63" fmla="*/ 0 h 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 h="39">
                    <a:moveTo>
                      <a:pt x="11" y="0"/>
                    </a:moveTo>
                    <a:cubicBezTo>
                      <a:pt x="11" y="0"/>
                      <a:pt x="11" y="0"/>
                      <a:pt x="10" y="1"/>
                    </a:cubicBezTo>
                    <a:cubicBezTo>
                      <a:pt x="7" y="2"/>
                      <a:pt x="6" y="5"/>
                      <a:pt x="5" y="8"/>
                    </a:cubicBezTo>
                    <a:cubicBezTo>
                      <a:pt x="3" y="11"/>
                      <a:pt x="3" y="13"/>
                      <a:pt x="3" y="16"/>
                    </a:cubicBezTo>
                    <a:cubicBezTo>
                      <a:pt x="2" y="19"/>
                      <a:pt x="0" y="23"/>
                      <a:pt x="1" y="26"/>
                    </a:cubicBezTo>
                    <a:cubicBezTo>
                      <a:pt x="1" y="27"/>
                      <a:pt x="1" y="30"/>
                      <a:pt x="2" y="33"/>
                    </a:cubicBezTo>
                    <a:cubicBezTo>
                      <a:pt x="2" y="33"/>
                      <a:pt x="2" y="33"/>
                      <a:pt x="2" y="33"/>
                    </a:cubicBezTo>
                    <a:cubicBezTo>
                      <a:pt x="2" y="35"/>
                      <a:pt x="2" y="35"/>
                      <a:pt x="2" y="35"/>
                    </a:cubicBezTo>
                    <a:cubicBezTo>
                      <a:pt x="3" y="37"/>
                      <a:pt x="4" y="38"/>
                      <a:pt x="5" y="39"/>
                    </a:cubicBezTo>
                    <a:cubicBezTo>
                      <a:pt x="6" y="39"/>
                      <a:pt x="6" y="39"/>
                      <a:pt x="6" y="39"/>
                    </a:cubicBezTo>
                    <a:cubicBezTo>
                      <a:pt x="6" y="39"/>
                      <a:pt x="6" y="39"/>
                      <a:pt x="6" y="39"/>
                    </a:cubicBezTo>
                    <a:cubicBezTo>
                      <a:pt x="7" y="39"/>
                      <a:pt x="7" y="39"/>
                      <a:pt x="7" y="39"/>
                    </a:cubicBezTo>
                    <a:cubicBezTo>
                      <a:pt x="7" y="39"/>
                      <a:pt x="7" y="39"/>
                      <a:pt x="7" y="39"/>
                    </a:cubicBezTo>
                    <a:cubicBezTo>
                      <a:pt x="7" y="39"/>
                      <a:pt x="7" y="39"/>
                      <a:pt x="7" y="39"/>
                    </a:cubicBezTo>
                    <a:cubicBezTo>
                      <a:pt x="8" y="39"/>
                      <a:pt x="8" y="39"/>
                      <a:pt x="9" y="39"/>
                    </a:cubicBezTo>
                    <a:cubicBezTo>
                      <a:pt x="10" y="39"/>
                      <a:pt x="11" y="38"/>
                      <a:pt x="12" y="38"/>
                    </a:cubicBezTo>
                    <a:cubicBezTo>
                      <a:pt x="12" y="38"/>
                      <a:pt x="13" y="38"/>
                      <a:pt x="13" y="38"/>
                    </a:cubicBezTo>
                    <a:cubicBezTo>
                      <a:pt x="13" y="39"/>
                      <a:pt x="14" y="39"/>
                      <a:pt x="14" y="39"/>
                    </a:cubicBezTo>
                    <a:cubicBezTo>
                      <a:pt x="14" y="39"/>
                      <a:pt x="14" y="39"/>
                      <a:pt x="15" y="39"/>
                    </a:cubicBezTo>
                    <a:cubicBezTo>
                      <a:pt x="15" y="39"/>
                      <a:pt x="16" y="38"/>
                      <a:pt x="17" y="38"/>
                    </a:cubicBezTo>
                    <a:cubicBezTo>
                      <a:pt x="17" y="36"/>
                      <a:pt x="17" y="36"/>
                      <a:pt x="17" y="36"/>
                    </a:cubicBezTo>
                    <a:cubicBezTo>
                      <a:pt x="17" y="36"/>
                      <a:pt x="17" y="36"/>
                      <a:pt x="17" y="36"/>
                    </a:cubicBezTo>
                    <a:cubicBezTo>
                      <a:pt x="17" y="35"/>
                      <a:pt x="18" y="33"/>
                      <a:pt x="18" y="33"/>
                    </a:cubicBezTo>
                    <a:cubicBezTo>
                      <a:pt x="18" y="30"/>
                      <a:pt x="21" y="24"/>
                      <a:pt x="20" y="22"/>
                    </a:cubicBezTo>
                    <a:cubicBezTo>
                      <a:pt x="19" y="20"/>
                      <a:pt x="17" y="17"/>
                      <a:pt x="18" y="15"/>
                    </a:cubicBezTo>
                    <a:cubicBezTo>
                      <a:pt x="18" y="12"/>
                      <a:pt x="21" y="7"/>
                      <a:pt x="19" y="5"/>
                    </a:cubicBezTo>
                    <a:cubicBezTo>
                      <a:pt x="18" y="5"/>
                      <a:pt x="18" y="5"/>
                      <a:pt x="18" y="5"/>
                    </a:cubicBezTo>
                    <a:cubicBezTo>
                      <a:pt x="18" y="5"/>
                      <a:pt x="17" y="5"/>
                      <a:pt x="17" y="5"/>
                    </a:cubicBezTo>
                    <a:cubicBezTo>
                      <a:pt x="17" y="5"/>
                      <a:pt x="17" y="5"/>
                      <a:pt x="17" y="5"/>
                    </a:cubicBezTo>
                    <a:cubicBezTo>
                      <a:pt x="17" y="5"/>
                      <a:pt x="16" y="5"/>
                      <a:pt x="16" y="5"/>
                    </a:cubicBezTo>
                    <a:cubicBezTo>
                      <a:pt x="15" y="4"/>
                      <a:pt x="14" y="1"/>
                      <a:pt x="13" y="1"/>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Rectangle 150"/>
              <p:cNvSpPr>
                <a:spLocks noChangeArrowheads="1"/>
              </p:cNvSpPr>
              <p:nvPr/>
            </p:nvSpPr>
            <p:spPr bwMode="auto">
              <a:xfrm>
                <a:off x="5911" y="333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151"/>
              <p:cNvSpPr/>
              <p:nvPr/>
            </p:nvSpPr>
            <p:spPr bwMode="auto">
              <a:xfrm flipH="1">
                <a:off x="5911" y="333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152"/>
              <p:cNvSpPr>
                <a:spLocks noEditPoints="1"/>
              </p:cNvSpPr>
              <p:nvPr/>
            </p:nvSpPr>
            <p:spPr bwMode="auto">
              <a:xfrm>
                <a:off x="5542" y="3294"/>
                <a:ext cx="5" cy="0"/>
              </a:xfrm>
              <a:custGeom>
                <a:gdLst>
                  <a:gd name="T0" fmla="*/ 1 w 2"/>
                  <a:gd name="T1" fmla="*/ 2 w 2"/>
                  <a:gd name="T2" fmla="*/ 1 w 2"/>
                  <a:gd name="T3" fmla="*/ 0 w 2"/>
                  <a:gd name="T4" fmla="*/ 1 w 2"/>
                  <a:gd name="T5" fmla="*/ 0 w 2"/>
                </a:gdLst>
                <a:cxnLst>
                  <a:cxn ang="0">
                    <a:pos x="T0" y="0"/>
                  </a:cxn>
                  <a:cxn ang="0">
                    <a:pos x="T1" y="0"/>
                  </a:cxn>
                  <a:cxn ang="0">
                    <a:pos x="T2" y="0"/>
                  </a:cxn>
                  <a:cxn ang="0">
                    <a:pos x="T3" y="0"/>
                  </a:cxn>
                  <a:cxn ang="0">
                    <a:pos x="T4" y="0"/>
                  </a:cxn>
                  <a:cxn ang="0">
                    <a:pos x="T5" y="0"/>
                  </a:cxn>
                </a:cxnLst>
                <a:rect l="0" t="0" r="r" b="b"/>
                <a:pathLst>
                  <a:path w="2">
                    <a:moveTo>
                      <a:pt x="1" y="0"/>
                    </a:moveTo>
                    <a:cubicBezTo>
                      <a:pt x="1" y="0"/>
                      <a:pt x="2" y="0"/>
                      <a:pt x="2" y="0"/>
                    </a:cubicBezTo>
                    <a:cubicBezTo>
                      <a:pt x="2" y="0"/>
                      <a:pt x="1" y="0"/>
                      <a:pt x="1" y="0"/>
                    </a:cubicBezTo>
                    <a:moveTo>
                      <a:pt x="0" y="0"/>
                    </a:moveTo>
                    <a:cubicBezTo>
                      <a:pt x="0"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153"/>
              <p:cNvSpPr/>
              <p:nvPr/>
            </p:nvSpPr>
            <p:spPr bwMode="auto">
              <a:xfrm>
                <a:off x="5284" y="2947"/>
                <a:ext cx="3" cy="2"/>
              </a:xfrm>
              <a:custGeom>
                <a:gdLst>
                  <a:gd name="T0" fmla="*/ 0 w 3"/>
                  <a:gd name="T1" fmla="*/ 0 h 2"/>
                  <a:gd name="T2" fmla="*/ 3 w 3"/>
                  <a:gd name="T3" fmla="*/ 2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lnTo>
                      <a:pt x="3" y="2"/>
                    </a:lnTo>
                    <a:lnTo>
                      <a:pt x="3"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154"/>
              <p:cNvSpPr/>
              <p:nvPr/>
            </p:nvSpPr>
            <p:spPr bwMode="auto">
              <a:xfrm>
                <a:off x="5284" y="2947"/>
                <a:ext cx="3" cy="2"/>
              </a:xfrm>
              <a:custGeom>
                <a:gdLst>
                  <a:gd name="T0" fmla="*/ 0 w 3"/>
                  <a:gd name="T1" fmla="*/ 0 h 2"/>
                  <a:gd name="T2" fmla="*/ 3 w 3"/>
                  <a:gd name="T3" fmla="*/ 2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lnTo>
                      <a:pt x="3" y="2"/>
                    </a:lnTo>
                    <a:lnTo>
                      <a:pt x="3"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Rectangle 155"/>
              <p:cNvSpPr>
                <a:spLocks noChangeArrowheads="1"/>
              </p:cNvSpPr>
              <p:nvPr/>
            </p:nvSpPr>
            <p:spPr bwMode="auto">
              <a:xfrm>
                <a:off x="5353" y="3627"/>
                <a:ext cx="1" cy="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156"/>
              <p:cNvSpPr/>
              <p:nvPr/>
            </p:nvSpPr>
            <p:spPr bwMode="auto">
              <a:xfrm flipH="1">
                <a:off x="5353" y="3627"/>
                <a:ext cx="0" cy="3"/>
              </a:xfrm>
              <a:custGeom>
                <a:gdLst>
                  <a:gd name="T0" fmla="*/ 0 h 3"/>
                  <a:gd name="T1" fmla="*/ 3 h 3"/>
                  <a:gd name="T2" fmla="*/ 3 h 3"/>
                  <a:gd name="T3" fmla="*/ 0 h 3"/>
                </a:gd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157"/>
              <p:cNvSpPr>
                <a:spLocks noEditPoints="1"/>
              </p:cNvSpPr>
              <p:nvPr/>
            </p:nvSpPr>
            <p:spPr bwMode="auto">
              <a:xfrm>
                <a:off x="5613" y="3400"/>
                <a:ext cx="28" cy="3"/>
              </a:xfrm>
              <a:custGeom>
                <a:gdLst>
                  <a:gd name="T0" fmla="*/ 12 w 12"/>
                  <a:gd name="T1" fmla="*/ 1 h 1"/>
                  <a:gd name="T2" fmla="*/ 12 w 12"/>
                  <a:gd name="T3" fmla="*/ 1 h 1"/>
                  <a:gd name="T4" fmla="*/ 12 w 12"/>
                  <a:gd name="T5" fmla="*/ 1 h 1"/>
                  <a:gd name="T6" fmla="*/ 12 w 12"/>
                  <a:gd name="T7" fmla="*/ 1 h 1"/>
                  <a:gd name="T8" fmla="*/ 12 w 12"/>
                  <a:gd name="T9" fmla="*/ 1 h 1"/>
                  <a:gd name="T10" fmla="*/ 12 w 12"/>
                  <a:gd name="T11" fmla="*/ 1 h 1"/>
                  <a:gd name="T12" fmla="*/ 12 w 12"/>
                  <a:gd name="T13" fmla="*/ 1 h 1"/>
                  <a:gd name="T14" fmla="*/ 12 w 12"/>
                  <a:gd name="T15" fmla="*/ 1 h 1"/>
                  <a:gd name="T16" fmla="*/ 12 w 12"/>
                  <a:gd name="T17" fmla="*/ 1 h 1"/>
                  <a:gd name="T18" fmla="*/ 0 w 12"/>
                  <a:gd name="T19" fmla="*/ 0 h 1"/>
                  <a:gd name="T20" fmla="*/ 9 w 12"/>
                  <a:gd name="T21" fmla="*/ 1 h 1"/>
                  <a:gd name="T22" fmla="*/ 12 w 12"/>
                  <a:gd name="T23" fmla="*/ 1 h 1"/>
                  <a:gd name="T24" fmla="*/ 9 w 12"/>
                  <a:gd name="T25" fmla="*/ 1 h 1"/>
                  <a:gd name="T26" fmla="*/ 0 w 12"/>
                  <a:gd name="T27"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
                    <a:moveTo>
                      <a:pt x="12" y="1"/>
                    </a:moveTo>
                    <a:cubicBezTo>
                      <a:pt x="12" y="1"/>
                      <a:pt x="12" y="1"/>
                      <a:pt x="12" y="1"/>
                    </a:cubicBezTo>
                    <a:cubicBezTo>
                      <a:pt x="12" y="1"/>
                      <a:pt x="12" y="1"/>
                      <a:pt x="12" y="1"/>
                    </a:cubicBezTo>
                    <a:moveTo>
                      <a:pt x="12" y="1"/>
                    </a:moveTo>
                    <a:cubicBezTo>
                      <a:pt x="12" y="1"/>
                      <a:pt x="12" y="1"/>
                      <a:pt x="12" y="1"/>
                    </a:cubicBezTo>
                    <a:cubicBezTo>
                      <a:pt x="12" y="1"/>
                      <a:pt x="12" y="1"/>
                      <a:pt x="12" y="1"/>
                    </a:cubicBezTo>
                    <a:moveTo>
                      <a:pt x="12" y="1"/>
                    </a:moveTo>
                    <a:cubicBezTo>
                      <a:pt x="12" y="1"/>
                      <a:pt x="12" y="1"/>
                      <a:pt x="12" y="1"/>
                    </a:cubicBezTo>
                    <a:cubicBezTo>
                      <a:pt x="12" y="1"/>
                      <a:pt x="12" y="1"/>
                      <a:pt x="12" y="1"/>
                    </a:cubicBezTo>
                    <a:moveTo>
                      <a:pt x="0" y="0"/>
                    </a:moveTo>
                    <a:cubicBezTo>
                      <a:pt x="3" y="0"/>
                      <a:pt x="7" y="1"/>
                      <a:pt x="9" y="1"/>
                    </a:cubicBezTo>
                    <a:cubicBezTo>
                      <a:pt x="10" y="1"/>
                      <a:pt x="11" y="1"/>
                      <a:pt x="12" y="1"/>
                    </a:cubicBezTo>
                    <a:cubicBezTo>
                      <a:pt x="11" y="1"/>
                      <a:pt x="10" y="1"/>
                      <a:pt x="9" y="1"/>
                    </a:cubicBezTo>
                    <a:cubicBezTo>
                      <a:pt x="7"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158"/>
              <p:cNvSpPr/>
              <p:nvPr/>
            </p:nvSpPr>
            <p:spPr bwMode="auto">
              <a:xfrm>
                <a:off x="5603" y="3398"/>
                <a:ext cx="10" cy="2"/>
              </a:xfrm>
              <a:custGeom>
                <a:gdLst>
                  <a:gd name="T0" fmla="*/ 0 w 4"/>
                  <a:gd name="T1" fmla="*/ 0 h 1"/>
                  <a:gd name="T2" fmla="*/ 0 w 4"/>
                  <a:gd name="T3" fmla="*/ 0 h 1"/>
                  <a:gd name="T4" fmla="*/ 4 w 4"/>
                  <a:gd name="T5" fmla="*/ 1 h 1"/>
                  <a:gd name="T6" fmla="*/ 0 w 4"/>
                  <a:gd name="T7" fmla="*/ 0 h 1"/>
                </a:gdLst>
                <a:cxnLst>
                  <a:cxn ang="0">
                    <a:pos x="T0" y="T1"/>
                  </a:cxn>
                  <a:cxn ang="0">
                    <a:pos x="T2" y="T3"/>
                  </a:cxn>
                  <a:cxn ang="0">
                    <a:pos x="T4" y="T5"/>
                  </a:cxn>
                  <a:cxn ang="0">
                    <a:pos x="T6" y="T7"/>
                  </a:cxn>
                </a:cxnLst>
                <a:rect l="0" t="0" r="r" b="b"/>
                <a:pathLst>
                  <a:path w="4" h="1">
                    <a:moveTo>
                      <a:pt x="0" y="0"/>
                    </a:moveTo>
                    <a:cubicBezTo>
                      <a:pt x="0" y="0"/>
                      <a:pt x="0" y="0"/>
                      <a:pt x="0" y="0"/>
                    </a:cubicBezTo>
                    <a:cubicBezTo>
                      <a:pt x="1" y="1"/>
                      <a:pt x="2" y="1"/>
                      <a:pt x="4"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159"/>
              <p:cNvSpPr>
                <a:spLocks noEditPoints="1"/>
              </p:cNvSpPr>
              <p:nvPr/>
            </p:nvSpPr>
            <p:spPr bwMode="auto">
              <a:xfrm>
                <a:off x="4772" y="4159"/>
                <a:ext cx="2" cy="26"/>
              </a:xfrm>
              <a:custGeom>
                <a:gdLst>
                  <a:gd name="T0" fmla="*/ 1 w 1"/>
                  <a:gd name="T1" fmla="*/ 7 h 11"/>
                  <a:gd name="T2" fmla="*/ 1 w 1"/>
                  <a:gd name="T3" fmla="*/ 11 h 11"/>
                  <a:gd name="T4" fmla="*/ 1 w 1"/>
                  <a:gd name="T5" fmla="*/ 7 h 11"/>
                  <a:gd name="T6" fmla="*/ 0 w 1"/>
                  <a:gd name="T7" fmla="*/ 0 h 11"/>
                  <a:gd name="T8" fmla="*/ 0 w 1"/>
                  <a:gd name="T9" fmla="*/ 0 h 11"/>
                  <a:gd name="T10" fmla="*/ 1 w 1"/>
                  <a:gd name="T11" fmla="*/ 7 h 11"/>
                  <a:gd name="T12" fmla="*/ 0 w 1"/>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1" h="11">
                    <a:moveTo>
                      <a:pt x="1" y="7"/>
                    </a:moveTo>
                    <a:cubicBezTo>
                      <a:pt x="1" y="11"/>
                      <a:pt x="1" y="11"/>
                      <a:pt x="1" y="11"/>
                    </a:cubicBezTo>
                    <a:cubicBezTo>
                      <a:pt x="1" y="10"/>
                      <a:pt x="1" y="8"/>
                      <a:pt x="1" y="7"/>
                    </a:cubicBezTo>
                    <a:moveTo>
                      <a:pt x="0" y="0"/>
                    </a:moveTo>
                    <a:cubicBezTo>
                      <a:pt x="0" y="0"/>
                      <a:pt x="0" y="0"/>
                      <a:pt x="0" y="0"/>
                    </a:cubicBezTo>
                    <a:cubicBezTo>
                      <a:pt x="0" y="2"/>
                      <a:pt x="1" y="4"/>
                      <a:pt x="1" y="7"/>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160"/>
              <p:cNvSpPr/>
              <p:nvPr/>
            </p:nvSpPr>
            <p:spPr bwMode="auto">
              <a:xfrm>
                <a:off x="5485" y="4284"/>
                <a:ext cx="7" cy="0"/>
              </a:xfrm>
              <a:custGeom>
                <a:gdLst>
                  <a:gd name="T0" fmla="*/ 3 w 3"/>
                  <a:gd name="T1" fmla="*/ 0 w 3"/>
                  <a:gd name="T2" fmla="*/ 3 w 3"/>
                </a:gdLst>
                <a:cxnLst>
                  <a:cxn ang="0">
                    <a:pos x="T0" y="0"/>
                  </a:cxn>
                  <a:cxn ang="0">
                    <a:pos x="T1" y="0"/>
                  </a:cxn>
                  <a:cxn ang="0">
                    <a:pos x="T2" y="0"/>
                  </a:cxn>
                </a:cxnLst>
                <a:rect l="0" t="0" r="r" b="b"/>
                <a:pathLst>
                  <a:path w="3">
                    <a:moveTo>
                      <a:pt x="3" y="0"/>
                    </a:moveTo>
                    <a:cubicBezTo>
                      <a:pt x="2" y="0"/>
                      <a:pt x="1" y="0"/>
                      <a:pt x="0" y="0"/>
                    </a:cubicBezTo>
                    <a:cubicBezTo>
                      <a:pt x="1" y="0"/>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Rectangle 161"/>
              <p:cNvSpPr>
                <a:spLocks noChangeArrowheads="1"/>
              </p:cNvSpPr>
              <p:nvPr/>
            </p:nvSpPr>
            <p:spPr bwMode="auto">
              <a:xfrm>
                <a:off x="4578" y="4386"/>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162"/>
              <p:cNvSpPr/>
              <p:nvPr/>
            </p:nvSpPr>
            <p:spPr bwMode="auto">
              <a:xfrm flipH="1">
                <a:off x="4578" y="4386"/>
                <a:ext cx="0" cy="2"/>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163"/>
              <p:cNvSpPr/>
              <p:nvPr/>
            </p:nvSpPr>
            <p:spPr bwMode="auto">
              <a:xfrm>
                <a:off x="4578" y="4386"/>
                <a:ext cx="2" cy="0"/>
              </a:xfrm>
              <a:custGeom>
                <a:gdLst>
                  <a:gd name="T0" fmla="*/ 2 w 2"/>
                  <a:gd name="T1" fmla="*/ 0 w 2"/>
                  <a:gd name="T2" fmla="*/ 2 w 2"/>
                </a:gdLst>
                <a:cxnLst>
                  <a:cxn ang="0">
                    <a:pos x="T0" y="0"/>
                  </a:cxn>
                  <a:cxn ang="0">
                    <a:pos x="T1" y="0"/>
                  </a:cxn>
                  <a:cxn ang="0">
                    <a:pos x="T2" y="0"/>
                  </a:cxn>
                </a:cxnLst>
                <a:rect l="0" t="0" r="r" b="b"/>
                <a:pathLst>
                  <a:path w="2">
                    <a:moveTo>
                      <a:pt x="2" y="0"/>
                    </a:move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164"/>
              <p:cNvSpPr/>
              <p:nvPr/>
            </p:nvSpPr>
            <p:spPr bwMode="auto">
              <a:xfrm>
                <a:off x="4578" y="4386"/>
                <a:ext cx="2" cy="0"/>
              </a:xfrm>
              <a:custGeom>
                <a:gdLst>
                  <a:gd name="T0" fmla="*/ 2 w 2"/>
                  <a:gd name="T1" fmla="*/ 0 w 2"/>
                  <a:gd name="T2" fmla="*/ 2 w 2"/>
                </a:gdLst>
                <a:cxnLst>
                  <a:cxn ang="0">
                    <a:pos x="T0" y="0"/>
                  </a:cxn>
                  <a:cxn ang="0">
                    <a:pos x="T1" y="0"/>
                  </a:cxn>
                  <a:cxn ang="0">
                    <a:pos x="T2" y="0"/>
                  </a:cxn>
                </a:cxnLst>
                <a:rect l="0" t="0" r="r" b="b"/>
                <a:pathLst>
                  <a:path w="2">
                    <a:moveTo>
                      <a:pt x="2" y="0"/>
                    </a:move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165"/>
              <p:cNvSpPr/>
              <p:nvPr/>
            </p:nvSpPr>
            <p:spPr bwMode="auto">
              <a:xfrm>
                <a:off x="4772" y="4159"/>
                <a:ext cx="4" cy="2"/>
              </a:xfrm>
              <a:custGeom>
                <a:gdLst>
                  <a:gd name="T0" fmla="*/ 0 w 2"/>
                  <a:gd name="T1" fmla="*/ 0 h 1"/>
                  <a:gd name="T2" fmla="*/ 0 w 2"/>
                  <a:gd name="T3" fmla="*/ 0 h 1"/>
                  <a:gd name="T4" fmla="*/ 1 w 2"/>
                  <a:gd name="T5" fmla="*/ 0 h 1"/>
                  <a:gd name="T6" fmla="*/ 2 w 2"/>
                  <a:gd name="T7" fmla="*/ 1 h 1"/>
                  <a:gd name="T8" fmla="*/ 0 w 2"/>
                  <a:gd name="T9" fmla="*/ 0 h 1"/>
                </a:gdLst>
                <a:cxnLst>
                  <a:cxn ang="0">
                    <a:pos x="T0" y="T1"/>
                  </a:cxn>
                  <a:cxn ang="0">
                    <a:pos x="T2" y="T3"/>
                  </a:cxn>
                  <a:cxn ang="0">
                    <a:pos x="T4" y="T5"/>
                  </a:cxn>
                  <a:cxn ang="0">
                    <a:pos x="T6" y="T7"/>
                  </a:cxn>
                  <a:cxn ang="0">
                    <a:pos x="T8" y="T9"/>
                  </a:cxn>
                </a:cxnLst>
                <a:rect l="0" t="0" r="r" b="b"/>
                <a:pathLst>
                  <a:path w="2" h="1">
                    <a:moveTo>
                      <a:pt x="0" y="0"/>
                    </a:moveTo>
                    <a:cubicBezTo>
                      <a:pt x="0" y="0"/>
                      <a:pt x="0" y="0"/>
                      <a:pt x="0" y="0"/>
                    </a:cubicBezTo>
                    <a:cubicBezTo>
                      <a:pt x="1" y="0"/>
                      <a:pt x="1" y="0"/>
                      <a:pt x="1" y="0"/>
                    </a:cubicBezTo>
                    <a:cubicBezTo>
                      <a:pt x="1" y="0"/>
                      <a:pt x="2" y="1"/>
                      <a:pt x="2"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Rectangle 166"/>
              <p:cNvSpPr>
                <a:spLocks noChangeArrowheads="1"/>
              </p:cNvSpPr>
              <p:nvPr/>
            </p:nvSpPr>
            <p:spPr bwMode="auto">
              <a:xfrm>
                <a:off x="5358" y="281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167"/>
              <p:cNvSpPr/>
              <p:nvPr/>
            </p:nvSpPr>
            <p:spPr bwMode="auto">
              <a:xfrm flipH="1">
                <a:off x="5358" y="281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168"/>
              <p:cNvSpPr/>
              <p:nvPr/>
            </p:nvSpPr>
            <p:spPr bwMode="auto">
              <a:xfrm>
                <a:off x="3131" y="271"/>
                <a:ext cx="175" cy="326"/>
              </a:xfrm>
              <a:custGeom>
                <a:gdLst>
                  <a:gd name="T0" fmla="*/ 29 w 74"/>
                  <a:gd name="T1" fmla="*/ 1 h 138"/>
                  <a:gd name="T2" fmla="*/ 17 w 74"/>
                  <a:gd name="T3" fmla="*/ 7 h 138"/>
                  <a:gd name="T4" fmla="*/ 17 w 74"/>
                  <a:gd name="T5" fmla="*/ 13 h 138"/>
                  <a:gd name="T6" fmla="*/ 21 w 74"/>
                  <a:gd name="T7" fmla="*/ 24 h 138"/>
                  <a:gd name="T8" fmla="*/ 21 w 74"/>
                  <a:gd name="T9" fmla="*/ 34 h 138"/>
                  <a:gd name="T10" fmla="*/ 16 w 74"/>
                  <a:gd name="T11" fmla="*/ 49 h 138"/>
                  <a:gd name="T12" fmla="*/ 8 w 74"/>
                  <a:gd name="T13" fmla="*/ 73 h 138"/>
                  <a:gd name="T14" fmla="*/ 3 w 74"/>
                  <a:gd name="T15" fmla="*/ 82 h 138"/>
                  <a:gd name="T16" fmla="*/ 2 w 74"/>
                  <a:gd name="T17" fmla="*/ 91 h 138"/>
                  <a:gd name="T18" fmla="*/ 7 w 74"/>
                  <a:gd name="T19" fmla="*/ 92 h 138"/>
                  <a:gd name="T20" fmla="*/ 13 w 74"/>
                  <a:gd name="T21" fmla="*/ 86 h 138"/>
                  <a:gd name="T22" fmla="*/ 13 w 74"/>
                  <a:gd name="T23" fmla="*/ 93 h 138"/>
                  <a:gd name="T24" fmla="*/ 8 w 74"/>
                  <a:gd name="T25" fmla="*/ 93 h 138"/>
                  <a:gd name="T26" fmla="*/ 8 w 74"/>
                  <a:gd name="T27" fmla="*/ 100 h 138"/>
                  <a:gd name="T28" fmla="*/ 18 w 74"/>
                  <a:gd name="T29" fmla="*/ 96 h 138"/>
                  <a:gd name="T30" fmla="*/ 19 w 74"/>
                  <a:gd name="T31" fmla="*/ 100 h 138"/>
                  <a:gd name="T32" fmla="*/ 17 w 74"/>
                  <a:gd name="T33" fmla="*/ 109 h 138"/>
                  <a:gd name="T34" fmla="*/ 13 w 74"/>
                  <a:gd name="T35" fmla="*/ 137 h 138"/>
                  <a:gd name="T36" fmla="*/ 23 w 74"/>
                  <a:gd name="T37" fmla="*/ 134 h 138"/>
                  <a:gd name="T38" fmla="*/ 34 w 74"/>
                  <a:gd name="T39" fmla="*/ 136 h 138"/>
                  <a:gd name="T40" fmla="*/ 37 w 74"/>
                  <a:gd name="T41" fmla="*/ 138 h 138"/>
                  <a:gd name="T42" fmla="*/ 48 w 74"/>
                  <a:gd name="T43" fmla="*/ 133 h 138"/>
                  <a:gd name="T44" fmla="*/ 47 w 74"/>
                  <a:gd name="T45" fmla="*/ 131 h 138"/>
                  <a:gd name="T46" fmla="*/ 46 w 74"/>
                  <a:gd name="T47" fmla="*/ 127 h 138"/>
                  <a:gd name="T48" fmla="*/ 47 w 74"/>
                  <a:gd name="T49" fmla="*/ 117 h 138"/>
                  <a:gd name="T50" fmla="*/ 55 w 74"/>
                  <a:gd name="T51" fmla="*/ 108 h 138"/>
                  <a:gd name="T52" fmla="*/ 55 w 74"/>
                  <a:gd name="T53" fmla="*/ 107 h 138"/>
                  <a:gd name="T54" fmla="*/ 53 w 74"/>
                  <a:gd name="T55" fmla="*/ 104 h 138"/>
                  <a:gd name="T56" fmla="*/ 50 w 74"/>
                  <a:gd name="T57" fmla="*/ 94 h 138"/>
                  <a:gd name="T58" fmla="*/ 49 w 74"/>
                  <a:gd name="T59" fmla="*/ 85 h 138"/>
                  <a:gd name="T60" fmla="*/ 54 w 74"/>
                  <a:gd name="T61" fmla="*/ 87 h 138"/>
                  <a:gd name="T62" fmla="*/ 55 w 74"/>
                  <a:gd name="T63" fmla="*/ 86 h 138"/>
                  <a:gd name="T64" fmla="*/ 57 w 74"/>
                  <a:gd name="T65" fmla="*/ 83 h 138"/>
                  <a:gd name="T66" fmla="*/ 52 w 74"/>
                  <a:gd name="T67" fmla="*/ 80 h 138"/>
                  <a:gd name="T68" fmla="*/ 51 w 74"/>
                  <a:gd name="T69" fmla="*/ 77 h 138"/>
                  <a:gd name="T70" fmla="*/ 49 w 74"/>
                  <a:gd name="T71" fmla="*/ 74 h 138"/>
                  <a:gd name="T72" fmla="*/ 49 w 74"/>
                  <a:gd name="T73" fmla="*/ 63 h 138"/>
                  <a:gd name="T74" fmla="*/ 57 w 74"/>
                  <a:gd name="T75" fmla="*/ 63 h 138"/>
                  <a:gd name="T76" fmla="*/ 59 w 74"/>
                  <a:gd name="T77" fmla="*/ 47 h 138"/>
                  <a:gd name="T78" fmla="*/ 61 w 74"/>
                  <a:gd name="T79" fmla="*/ 43 h 138"/>
                  <a:gd name="T80" fmla="*/ 61 w 74"/>
                  <a:gd name="T81" fmla="*/ 35 h 138"/>
                  <a:gd name="T82" fmla="*/ 62 w 74"/>
                  <a:gd name="T83" fmla="*/ 23 h 138"/>
                  <a:gd name="T84" fmla="*/ 67 w 74"/>
                  <a:gd name="T85" fmla="*/ 19 h 138"/>
                  <a:gd name="T86" fmla="*/ 71 w 74"/>
                  <a:gd name="T87" fmla="*/ 17 h 138"/>
                  <a:gd name="T88" fmla="*/ 73 w 74"/>
                  <a:gd name="T89" fmla="*/ 12 h 138"/>
                  <a:gd name="T90" fmla="*/ 67 w 74"/>
                  <a:gd name="T91" fmla="*/ 7 h 138"/>
                  <a:gd name="T92" fmla="*/ 68 w 74"/>
                  <a:gd name="T93" fmla="*/ 4 h 138"/>
                  <a:gd name="T94" fmla="*/ 68 w 74"/>
                  <a:gd name="T95" fmla="*/ 4 h 138"/>
                  <a:gd name="T96" fmla="*/ 66 w 74"/>
                  <a:gd name="T97" fmla="*/ 4 h 138"/>
                  <a:gd name="T98" fmla="*/ 61 w 74"/>
                  <a:gd name="T99" fmla="*/ 5 h 138"/>
                  <a:gd name="T100" fmla="*/ 59 w 74"/>
                  <a:gd name="T101" fmla="*/ 5 h 138"/>
                  <a:gd name="T102" fmla="*/ 54 w 74"/>
                  <a:gd name="T103" fmla="*/ 7 h 138"/>
                  <a:gd name="T104" fmla="*/ 51 w 74"/>
                  <a:gd name="T105" fmla="*/ 7 h 138"/>
                  <a:gd name="T106" fmla="*/ 45 w 74"/>
                  <a:gd name="T107" fmla="*/ 8 h 138"/>
                  <a:gd name="T108" fmla="*/ 41 w 74"/>
                  <a:gd name="T109" fmla="*/ 6 h 138"/>
                  <a:gd name="T110" fmla="*/ 39 w 74"/>
                  <a:gd name="T111" fmla="*/ 6 h 138"/>
                  <a:gd name="T112" fmla="*/ 34 w 74"/>
                  <a:gd name="T113" fmla="*/ 8 h 138"/>
                  <a:gd name="T114" fmla="*/ 33 w 74"/>
                  <a:gd name="T115" fmla="*/ 8 h 138"/>
                  <a:gd name="T116" fmla="*/ 33 w 74"/>
                  <a:gd name="T117" fmla="*/ 8 h 138"/>
                  <a:gd name="T118" fmla="*/ 28 w 74"/>
                  <a:gd name="T119" fmla="*/ 3 h 1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38">
                    <a:moveTo>
                      <a:pt x="29" y="0"/>
                    </a:moveTo>
                    <a:cubicBezTo>
                      <a:pt x="29" y="1"/>
                      <a:pt x="29" y="1"/>
                      <a:pt x="29" y="1"/>
                    </a:cubicBezTo>
                    <a:cubicBezTo>
                      <a:pt x="28" y="1"/>
                      <a:pt x="27" y="1"/>
                      <a:pt x="26" y="1"/>
                    </a:cubicBezTo>
                    <a:cubicBezTo>
                      <a:pt x="25" y="2"/>
                      <a:pt x="19" y="5"/>
                      <a:pt x="17" y="7"/>
                    </a:cubicBezTo>
                    <a:cubicBezTo>
                      <a:pt x="16" y="7"/>
                      <a:pt x="16" y="7"/>
                      <a:pt x="16" y="7"/>
                    </a:cubicBezTo>
                    <a:cubicBezTo>
                      <a:pt x="16" y="9"/>
                      <a:pt x="17" y="11"/>
                      <a:pt x="17" y="13"/>
                    </a:cubicBezTo>
                    <a:cubicBezTo>
                      <a:pt x="18" y="15"/>
                      <a:pt x="18" y="17"/>
                      <a:pt x="18" y="19"/>
                    </a:cubicBezTo>
                    <a:cubicBezTo>
                      <a:pt x="19" y="21"/>
                      <a:pt x="20" y="23"/>
                      <a:pt x="21" y="24"/>
                    </a:cubicBezTo>
                    <a:cubicBezTo>
                      <a:pt x="22" y="28"/>
                      <a:pt x="18" y="34"/>
                      <a:pt x="19" y="37"/>
                    </a:cubicBezTo>
                    <a:cubicBezTo>
                      <a:pt x="20" y="36"/>
                      <a:pt x="20" y="35"/>
                      <a:pt x="21" y="34"/>
                    </a:cubicBezTo>
                    <a:cubicBezTo>
                      <a:pt x="23" y="36"/>
                      <a:pt x="19" y="38"/>
                      <a:pt x="18" y="40"/>
                    </a:cubicBezTo>
                    <a:cubicBezTo>
                      <a:pt x="17" y="42"/>
                      <a:pt x="16" y="46"/>
                      <a:pt x="16" y="49"/>
                    </a:cubicBezTo>
                    <a:cubicBezTo>
                      <a:pt x="15" y="56"/>
                      <a:pt x="12" y="62"/>
                      <a:pt x="10" y="69"/>
                    </a:cubicBezTo>
                    <a:cubicBezTo>
                      <a:pt x="10" y="70"/>
                      <a:pt x="8" y="73"/>
                      <a:pt x="8" y="73"/>
                    </a:cubicBezTo>
                    <a:cubicBezTo>
                      <a:pt x="6" y="73"/>
                      <a:pt x="5" y="74"/>
                      <a:pt x="4" y="76"/>
                    </a:cubicBezTo>
                    <a:cubicBezTo>
                      <a:pt x="4" y="78"/>
                      <a:pt x="4" y="80"/>
                      <a:pt x="3" y="82"/>
                    </a:cubicBezTo>
                    <a:cubicBezTo>
                      <a:pt x="2" y="83"/>
                      <a:pt x="3" y="85"/>
                      <a:pt x="3" y="86"/>
                    </a:cubicBezTo>
                    <a:cubicBezTo>
                      <a:pt x="2" y="88"/>
                      <a:pt x="0" y="90"/>
                      <a:pt x="2" y="91"/>
                    </a:cubicBezTo>
                    <a:cubicBezTo>
                      <a:pt x="3" y="92"/>
                      <a:pt x="4" y="93"/>
                      <a:pt x="5" y="93"/>
                    </a:cubicBezTo>
                    <a:cubicBezTo>
                      <a:pt x="6" y="93"/>
                      <a:pt x="7" y="92"/>
                      <a:pt x="7" y="92"/>
                    </a:cubicBezTo>
                    <a:cubicBezTo>
                      <a:pt x="10" y="90"/>
                      <a:pt x="9" y="90"/>
                      <a:pt x="11" y="88"/>
                    </a:cubicBezTo>
                    <a:cubicBezTo>
                      <a:pt x="12" y="87"/>
                      <a:pt x="12" y="86"/>
                      <a:pt x="13" y="86"/>
                    </a:cubicBezTo>
                    <a:cubicBezTo>
                      <a:pt x="14" y="88"/>
                      <a:pt x="15" y="91"/>
                      <a:pt x="12" y="91"/>
                    </a:cubicBezTo>
                    <a:cubicBezTo>
                      <a:pt x="12" y="92"/>
                      <a:pt x="13" y="92"/>
                      <a:pt x="13" y="93"/>
                    </a:cubicBezTo>
                    <a:cubicBezTo>
                      <a:pt x="12" y="93"/>
                      <a:pt x="11" y="93"/>
                      <a:pt x="11" y="95"/>
                    </a:cubicBezTo>
                    <a:cubicBezTo>
                      <a:pt x="10" y="93"/>
                      <a:pt x="9" y="93"/>
                      <a:pt x="8" y="93"/>
                    </a:cubicBezTo>
                    <a:cubicBezTo>
                      <a:pt x="7" y="93"/>
                      <a:pt x="7" y="93"/>
                      <a:pt x="6" y="93"/>
                    </a:cubicBezTo>
                    <a:cubicBezTo>
                      <a:pt x="8" y="96"/>
                      <a:pt x="7" y="97"/>
                      <a:pt x="8" y="100"/>
                    </a:cubicBezTo>
                    <a:cubicBezTo>
                      <a:pt x="9" y="99"/>
                      <a:pt x="12" y="99"/>
                      <a:pt x="14" y="98"/>
                    </a:cubicBezTo>
                    <a:cubicBezTo>
                      <a:pt x="16" y="97"/>
                      <a:pt x="17" y="96"/>
                      <a:pt x="18" y="96"/>
                    </a:cubicBezTo>
                    <a:cubicBezTo>
                      <a:pt x="19" y="96"/>
                      <a:pt x="20" y="97"/>
                      <a:pt x="21" y="100"/>
                    </a:cubicBezTo>
                    <a:cubicBezTo>
                      <a:pt x="20" y="100"/>
                      <a:pt x="19" y="100"/>
                      <a:pt x="19" y="100"/>
                    </a:cubicBezTo>
                    <a:cubicBezTo>
                      <a:pt x="17" y="100"/>
                      <a:pt x="17" y="100"/>
                      <a:pt x="15" y="98"/>
                    </a:cubicBezTo>
                    <a:cubicBezTo>
                      <a:pt x="15" y="101"/>
                      <a:pt x="18" y="106"/>
                      <a:pt x="17" y="109"/>
                    </a:cubicBezTo>
                    <a:cubicBezTo>
                      <a:pt x="16" y="112"/>
                      <a:pt x="17" y="117"/>
                      <a:pt x="17" y="121"/>
                    </a:cubicBezTo>
                    <a:cubicBezTo>
                      <a:pt x="17" y="127"/>
                      <a:pt x="15" y="132"/>
                      <a:pt x="13" y="137"/>
                    </a:cubicBezTo>
                    <a:cubicBezTo>
                      <a:pt x="16" y="137"/>
                      <a:pt x="18" y="136"/>
                      <a:pt x="21" y="135"/>
                    </a:cubicBezTo>
                    <a:cubicBezTo>
                      <a:pt x="22" y="135"/>
                      <a:pt x="22" y="134"/>
                      <a:pt x="23" y="134"/>
                    </a:cubicBezTo>
                    <a:cubicBezTo>
                      <a:pt x="25" y="134"/>
                      <a:pt x="27" y="136"/>
                      <a:pt x="29" y="136"/>
                    </a:cubicBezTo>
                    <a:cubicBezTo>
                      <a:pt x="30" y="136"/>
                      <a:pt x="32" y="136"/>
                      <a:pt x="34" y="136"/>
                    </a:cubicBezTo>
                    <a:cubicBezTo>
                      <a:pt x="35" y="137"/>
                      <a:pt x="36" y="138"/>
                      <a:pt x="37" y="138"/>
                    </a:cubicBezTo>
                    <a:cubicBezTo>
                      <a:pt x="37" y="138"/>
                      <a:pt x="37" y="138"/>
                      <a:pt x="37" y="138"/>
                    </a:cubicBezTo>
                    <a:cubicBezTo>
                      <a:pt x="41" y="138"/>
                      <a:pt x="43" y="137"/>
                      <a:pt x="46" y="135"/>
                    </a:cubicBezTo>
                    <a:cubicBezTo>
                      <a:pt x="47" y="134"/>
                      <a:pt x="48" y="134"/>
                      <a:pt x="48" y="133"/>
                    </a:cubicBezTo>
                    <a:cubicBezTo>
                      <a:pt x="46" y="133"/>
                      <a:pt x="46" y="133"/>
                      <a:pt x="46" y="133"/>
                    </a:cubicBezTo>
                    <a:cubicBezTo>
                      <a:pt x="47" y="131"/>
                      <a:pt x="47" y="131"/>
                      <a:pt x="47" y="131"/>
                    </a:cubicBezTo>
                    <a:cubicBezTo>
                      <a:pt x="46" y="130"/>
                      <a:pt x="46" y="130"/>
                      <a:pt x="46" y="130"/>
                    </a:cubicBezTo>
                    <a:cubicBezTo>
                      <a:pt x="46" y="129"/>
                      <a:pt x="46" y="127"/>
                      <a:pt x="46" y="127"/>
                    </a:cubicBezTo>
                    <a:cubicBezTo>
                      <a:pt x="44" y="123"/>
                      <a:pt x="46" y="119"/>
                      <a:pt x="47" y="117"/>
                    </a:cubicBezTo>
                    <a:cubicBezTo>
                      <a:pt x="47" y="117"/>
                      <a:pt x="47" y="117"/>
                      <a:pt x="47" y="117"/>
                    </a:cubicBezTo>
                    <a:cubicBezTo>
                      <a:pt x="48" y="115"/>
                      <a:pt x="50" y="110"/>
                      <a:pt x="53" y="109"/>
                    </a:cubicBezTo>
                    <a:cubicBezTo>
                      <a:pt x="53" y="108"/>
                      <a:pt x="54" y="108"/>
                      <a:pt x="55" y="108"/>
                    </a:cubicBezTo>
                    <a:cubicBezTo>
                      <a:pt x="55" y="108"/>
                      <a:pt x="55" y="108"/>
                      <a:pt x="55" y="108"/>
                    </a:cubicBezTo>
                    <a:cubicBezTo>
                      <a:pt x="55" y="107"/>
                      <a:pt x="55" y="107"/>
                      <a:pt x="55" y="107"/>
                    </a:cubicBezTo>
                    <a:cubicBezTo>
                      <a:pt x="54" y="107"/>
                      <a:pt x="54" y="106"/>
                      <a:pt x="53" y="106"/>
                    </a:cubicBezTo>
                    <a:cubicBezTo>
                      <a:pt x="53" y="105"/>
                      <a:pt x="53" y="105"/>
                      <a:pt x="53" y="104"/>
                    </a:cubicBezTo>
                    <a:cubicBezTo>
                      <a:pt x="51" y="102"/>
                      <a:pt x="49" y="99"/>
                      <a:pt x="50" y="96"/>
                    </a:cubicBezTo>
                    <a:cubicBezTo>
                      <a:pt x="50" y="94"/>
                      <a:pt x="50" y="94"/>
                      <a:pt x="50" y="94"/>
                    </a:cubicBezTo>
                    <a:cubicBezTo>
                      <a:pt x="51" y="92"/>
                      <a:pt x="52" y="90"/>
                      <a:pt x="53" y="88"/>
                    </a:cubicBezTo>
                    <a:cubicBezTo>
                      <a:pt x="49" y="85"/>
                      <a:pt x="49" y="85"/>
                      <a:pt x="49" y="85"/>
                    </a:cubicBezTo>
                    <a:cubicBezTo>
                      <a:pt x="54" y="87"/>
                      <a:pt x="54" y="87"/>
                      <a:pt x="54" y="87"/>
                    </a:cubicBezTo>
                    <a:cubicBezTo>
                      <a:pt x="54" y="87"/>
                      <a:pt x="54" y="87"/>
                      <a:pt x="54" y="87"/>
                    </a:cubicBezTo>
                    <a:cubicBezTo>
                      <a:pt x="55" y="86"/>
                      <a:pt x="55" y="86"/>
                      <a:pt x="55" y="86"/>
                    </a:cubicBezTo>
                    <a:cubicBezTo>
                      <a:pt x="55" y="86"/>
                      <a:pt x="55" y="86"/>
                      <a:pt x="55" y="86"/>
                    </a:cubicBezTo>
                    <a:cubicBezTo>
                      <a:pt x="56" y="85"/>
                      <a:pt x="57" y="84"/>
                      <a:pt x="57" y="83"/>
                    </a:cubicBezTo>
                    <a:cubicBezTo>
                      <a:pt x="57" y="83"/>
                      <a:pt x="57" y="83"/>
                      <a:pt x="57" y="83"/>
                    </a:cubicBezTo>
                    <a:cubicBezTo>
                      <a:pt x="56" y="83"/>
                      <a:pt x="56" y="83"/>
                      <a:pt x="56" y="83"/>
                    </a:cubicBezTo>
                    <a:cubicBezTo>
                      <a:pt x="55" y="82"/>
                      <a:pt x="53" y="82"/>
                      <a:pt x="52" y="80"/>
                    </a:cubicBezTo>
                    <a:cubicBezTo>
                      <a:pt x="52" y="80"/>
                      <a:pt x="52" y="80"/>
                      <a:pt x="52" y="80"/>
                    </a:cubicBezTo>
                    <a:cubicBezTo>
                      <a:pt x="51" y="79"/>
                      <a:pt x="51" y="78"/>
                      <a:pt x="51" y="77"/>
                    </a:cubicBezTo>
                    <a:cubicBezTo>
                      <a:pt x="51" y="77"/>
                      <a:pt x="51" y="77"/>
                      <a:pt x="51" y="77"/>
                    </a:cubicBezTo>
                    <a:cubicBezTo>
                      <a:pt x="50" y="76"/>
                      <a:pt x="49" y="75"/>
                      <a:pt x="49" y="74"/>
                    </a:cubicBezTo>
                    <a:cubicBezTo>
                      <a:pt x="42" y="62"/>
                      <a:pt x="42" y="62"/>
                      <a:pt x="42" y="62"/>
                    </a:cubicBezTo>
                    <a:cubicBezTo>
                      <a:pt x="49" y="63"/>
                      <a:pt x="49" y="63"/>
                      <a:pt x="49" y="63"/>
                    </a:cubicBezTo>
                    <a:cubicBezTo>
                      <a:pt x="52" y="63"/>
                      <a:pt x="54" y="63"/>
                      <a:pt x="56" y="63"/>
                    </a:cubicBezTo>
                    <a:cubicBezTo>
                      <a:pt x="56" y="63"/>
                      <a:pt x="57" y="63"/>
                      <a:pt x="57" y="63"/>
                    </a:cubicBezTo>
                    <a:cubicBezTo>
                      <a:pt x="58" y="62"/>
                      <a:pt x="59" y="56"/>
                      <a:pt x="58" y="51"/>
                    </a:cubicBezTo>
                    <a:cubicBezTo>
                      <a:pt x="58" y="50"/>
                      <a:pt x="58" y="48"/>
                      <a:pt x="59" y="47"/>
                    </a:cubicBezTo>
                    <a:cubicBezTo>
                      <a:pt x="60" y="46"/>
                      <a:pt x="60" y="46"/>
                      <a:pt x="60" y="46"/>
                    </a:cubicBezTo>
                    <a:cubicBezTo>
                      <a:pt x="60" y="45"/>
                      <a:pt x="61" y="44"/>
                      <a:pt x="61" y="43"/>
                    </a:cubicBezTo>
                    <a:cubicBezTo>
                      <a:pt x="61" y="41"/>
                      <a:pt x="61" y="41"/>
                      <a:pt x="61" y="41"/>
                    </a:cubicBezTo>
                    <a:cubicBezTo>
                      <a:pt x="61" y="39"/>
                      <a:pt x="61" y="36"/>
                      <a:pt x="61" y="35"/>
                    </a:cubicBezTo>
                    <a:cubicBezTo>
                      <a:pt x="61" y="34"/>
                      <a:pt x="60" y="34"/>
                      <a:pt x="60" y="33"/>
                    </a:cubicBezTo>
                    <a:cubicBezTo>
                      <a:pt x="59" y="30"/>
                      <a:pt x="58" y="27"/>
                      <a:pt x="62" y="23"/>
                    </a:cubicBezTo>
                    <a:cubicBezTo>
                      <a:pt x="63" y="22"/>
                      <a:pt x="63" y="22"/>
                      <a:pt x="63" y="22"/>
                    </a:cubicBezTo>
                    <a:cubicBezTo>
                      <a:pt x="64" y="21"/>
                      <a:pt x="66" y="20"/>
                      <a:pt x="67" y="19"/>
                    </a:cubicBezTo>
                    <a:cubicBezTo>
                      <a:pt x="68" y="19"/>
                      <a:pt x="69" y="18"/>
                      <a:pt x="70" y="18"/>
                    </a:cubicBezTo>
                    <a:cubicBezTo>
                      <a:pt x="71" y="17"/>
                      <a:pt x="71" y="17"/>
                      <a:pt x="71" y="17"/>
                    </a:cubicBezTo>
                    <a:cubicBezTo>
                      <a:pt x="73" y="15"/>
                      <a:pt x="74" y="15"/>
                      <a:pt x="74" y="13"/>
                    </a:cubicBezTo>
                    <a:cubicBezTo>
                      <a:pt x="74" y="13"/>
                      <a:pt x="73" y="13"/>
                      <a:pt x="73" y="12"/>
                    </a:cubicBezTo>
                    <a:cubicBezTo>
                      <a:pt x="72" y="12"/>
                      <a:pt x="72" y="12"/>
                      <a:pt x="72" y="12"/>
                    </a:cubicBezTo>
                    <a:cubicBezTo>
                      <a:pt x="70" y="11"/>
                      <a:pt x="67" y="10"/>
                      <a:pt x="67" y="7"/>
                    </a:cubicBezTo>
                    <a:cubicBezTo>
                      <a:pt x="68" y="6"/>
                      <a:pt x="68" y="6"/>
                      <a:pt x="68" y="6"/>
                    </a:cubicBezTo>
                    <a:cubicBezTo>
                      <a:pt x="68" y="6"/>
                      <a:pt x="68" y="5"/>
                      <a:pt x="68" y="4"/>
                    </a:cubicBezTo>
                    <a:cubicBezTo>
                      <a:pt x="68" y="4"/>
                      <a:pt x="68" y="4"/>
                      <a:pt x="68" y="4"/>
                    </a:cubicBezTo>
                    <a:cubicBezTo>
                      <a:pt x="68" y="4"/>
                      <a:pt x="68" y="4"/>
                      <a:pt x="68" y="4"/>
                    </a:cubicBezTo>
                    <a:cubicBezTo>
                      <a:pt x="67" y="4"/>
                      <a:pt x="67" y="4"/>
                      <a:pt x="66" y="4"/>
                    </a:cubicBezTo>
                    <a:cubicBezTo>
                      <a:pt x="66" y="4"/>
                      <a:pt x="66" y="4"/>
                      <a:pt x="66" y="4"/>
                    </a:cubicBezTo>
                    <a:cubicBezTo>
                      <a:pt x="65" y="4"/>
                      <a:pt x="64" y="5"/>
                      <a:pt x="63" y="5"/>
                    </a:cubicBezTo>
                    <a:cubicBezTo>
                      <a:pt x="62" y="5"/>
                      <a:pt x="62" y="5"/>
                      <a:pt x="61" y="5"/>
                    </a:cubicBezTo>
                    <a:cubicBezTo>
                      <a:pt x="61" y="5"/>
                      <a:pt x="60" y="5"/>
                      <a:pt x="59" y="4"/>
                    </a:cubicBezTo>
                    <a:cubicBezTo>
                      <a:pt x="59" y="5"/>
                      <a:pt x="59" y="5"/>
                      <a:pt x="59" y="5"/>
                    </a:cubicBezTo>
                    <a:cubicBezTo>
                      <a:pt x="58" y="5"/>
                      <a:pt x="56" y="6"/>
                      <a:pt x="55" y="6"/>
                    </a:cubicBezTo>
                    <a:cubicBezTo>
                      <a:pt x="55" y="6"/>
                      <a:pt x="54" y="7"/>
                      <a:pt x="54" y="7"/>
                    </a:cubicBezTo>
                    <a:cubicBezTo>
                      <a:pt x="53" y="7"/>
                      <a:pt x="52" y="7"/>
                      <a:pt x="52" y="7"/>
                    </a:cubicBezTo>
                    <a:cubicBezTo>
                      <a:pt x="51" y="7"/>
                      <a:pt x="51" y="7"/>
                      <a:pt x="51" y="7"/>
                    </a:cubicBezTo>
                    <a:cubicBezTo>
                      <a:pt x="49" y="7"/>
                      <a:pt x="48" y="8"/>
                      <a:pt x="46" y="8"/>
                    </a:cubicBezTo>
                    <a:cubicBezTo>
                      <a:pt x="46" y="8"/>
                      <a:pt x="45" y="8"/>
                      <a:pt x="45" y="8"/>
                    </a:cubicBezTo>
                    <a:cubicBezTo>
                      <a:pt x="44" y="8"/>
                      <a:pt x="42" y="7"/>
                      <a:pt x="41" y="7"/>
                    </a:cubicBezTo>
                    <a:cubicBezTo>
                      <a:pt x="41" y="6"/>
                      <a:pt x="41" y="6"/>
                      <a:pt x="41" y="6"/>
                    </a:cubicBezTo>
                    <a:cubicBezTo>
                      <a:pt x="40" y="6"/>
                      <a:pt x="40" y="6"/>
                      <a:pt x="40" y="6"/>
                    </a:cubicBezTo>
                    <a:cubicBezTo>
                      <a:pt x="39" y="6"/>
                      <a:pt x="39" y="6"/>
                      <a:pt x="39" y="6"/>
                    </a:cubicBezTo>
                    <a:cubicBezTo>
                      <a:pt x="38" y="7"/>
                      <a:pt x="36" y="8"/>
                      <a:pt x="34" y="8"/>
                    </a:cubicBezTo>
                    <a:cubicBezTo>
                      <a:pt x="34" y="8"/>
                      <a:pt x="34" y="8"/>
                      <a:pt x="34" y="8"/>
                    </a:cubicBezTo>
                    <a:cubicBezTo>
                      <a:pt x="34" y="8"/>
                      <a:pt x="34" y="8"/>
                      <a:pt x="34" y="8"/>
                    </a:cubicBezTo>
                    <a:cubicBezTo>
                      <a:pt x="34" y="8"/>
                      <a:pt x="34" y="8"/>
                      <a:pt x="33" y="8"/>
                    </a:cubicBezTo>
                    <a:cubicBezTo>
                      <a:pt x="33" y="8"/>
                      <a:pt x="33" y="8"/>
                      <a:pt x="33" y="8"/>
                    </a:cubicBezTo>
                    <a:cubicBezTo>
                      <a:pt x="33" y="8"/>
                      <a:pt x="33" y="8"/>
                      <a:pt x="33" y="8"/>
                    </a:cubicBezTo>
                    <a:cubicBezTo>
                      <a:pt x="31" y="8"/>
                      <a:pt x="30" y="7"/>
                      <a:pt x="29" y="7"/>
                    </a:cubicBezTo>
                    <a:cubicBezTo>
                      <a:pt x="29" y="6"/>
                      <a:pt x="28" y="5"/>
                      <a:pt x="28" y="3"/>
                    </a:cubicBezTo>
                    <a:cubicBezTo>
                      <a:pt x="28" y="2"/>
                      <a:pt x="29" y="1"/>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169"/>
              <p:cNvSpPr/>
              <p:nvPr/>
            </p:nvSpPr>
            <p:spPr bwMode="auto">
              <a:xfrm>
                <a:off x="3186" y="595"/>
                <a:ext cx="1132" cy="1080"/>
              </a:xfrm>
              <a:custGeom>
                <a:gdLst>
                  <a:gd name="T0" fmla="*/ 321 w 479"/>
                  <a:gd name="T1" fmla="*/ 8 h 457"/>
                  <a:gd name="T2" fmla="*/ 276 w 479"/>
                  <a:gd name="T3" fmla="*/ 8 h 457"/>
                  <a:gd name="T4" fmla="*/ 226 w 479"/>
                  <a:gd name="T5" fmla="*/ 17 h 457"/>
                  <a:gd name="T6" fmla="*/ 192 w 479"/>
                  <a:gd name="T7" fmla="*/ 31 h 457"/>
                  <a:gd name="T8" fmla="*/ 159 w 479"/>
                  <a:gd name="T9" fmla="*/ 50 h 457"/>
                  <a:gd name="T10" fmla="*/ 157 w 479"/>
                  <a:gd name="T11" fmla="*/ 56 h 457"/>
                  <a:gd name="T12" fmla="*/ 163 w 479"/>
                  <a:gd name="T13" fmla="*/ 62 h 457"/>
                  <a:gd name="T14" fmla="*/ 165 w 479"/>
                  <a:gd name="T15" fmla="*/ 77 h 457"/>
                  <a:gd name="T16" fmla="*/ 173 w 479"/>
                  <a:gd name="T17" fmla="*/ 113 h 457"/>
                  <a:gd name="T18" fmla="*/ 175 w 479"/>
                  <a:gd name="T19" fmla="*/ 128 h 457"/>
                  <a:gd name="T20" fmla="*/ 168 w 479"/>
                  <a:gd name="T21" fmla="*/ 135 h 457"/>
                  <a:gd name="T22" fmla="*/ 159 w 479"/>
                  <a:gd name="T23" fmla="*/ 134 h 457"/>
                  <a:gd name="T24" fmla="*/ 140 w 479"/>
                  <a:gd name="T25" fmla="*/ 134 h 457"/>
                  <a:gd name="T26" fmla="*/ 128 w 479"/>
                  <a:gd name="T27" fmla="*/ 143 h 457"/>
                  <a:gd name="T28" fmla="*/ 115 w 479"/>
                  <a:gd name="T29" fmla="*/ 145 h 457"/>
                  <a:gd name="T30" fmla="*/ 114 w 479"/>
                  <a:gd name="T31" fmla="*/ 146 h 457"/>
                  <a:gd name="T32" fmla="*/ 117 w 479"/>
                  <a:gd name="T33" fmla="*/ 154 h 457"/>
                  <a:gd name="T34" fmla="*/ 84 w 479"/>
                  <a:gd name="T35" fmla="*/ 181 h 457"/>
                  <a:gd name="T36" fmla="*/ 55 w 479"/>
                  <a:gd name="T37" fmla="*/ 194 h 457"/>
                  <a:gd name="T38" fmla="*/ 42 w 479"/>
                  <a:gd name="T39" fmla="*/ 200 h 457"/>
                  <a:gd name="T40" fmla="*/ 29 w 479"/>
                  <a:gd name="T41" fmla="*/ 203 h 457"/>
                  <a:gd name="T42" fmla="*/ 7 w 479"/>
                  <a:gd name="T43" fmla="*/ 216 h 457"/>
                  <a:gd name="T44" fmla="*/ 0 w 479"/>
                  <a:gd name="T45" fmla="*/ 254 h 457"/>
                  <a:gd name="T46" fmla="*/ 107 w 479"/>
                  <a:gd name="T47" fmla="*/ 323 h 457"/>
                  <a:gd name="T48" fmla="*/ 228 w 479"/>
                  <a:gd name="T49" fmla="*/ 406 h 457"/>
                  <a:gd name="T50" fmla="*/ 235 w 479"/>
                  <a:gd name="T51" fmla="*/ 418 h 457"/>
                  <a:gd name="T52" fmla="*/ 251 w 479"/>
                  <a:gd name="T53" fmla="*/ 428 h 457"/>
                  <a:gd name="T54" fmla="*/ 256 w 479"/>
                  <a:gd name="T55" fmla="*/ 428 h 457"/>
                  <a:gd name="T56" fmla="*/ 273 w 479"/>
                  <a:gd name="T57" fmla="*/ 436 h 457"/>
                  <a:gd name="T58" fmla="*/ 280 w 479"/>
                  <a:gd name="T59" fmla="*/ 444 h 457"/>
                  <a:gd name="T60" fmla="*/ 280 w 479"/>
                  <a:gd name="T61" fmla="*/ 453 h 457"/>
                  <a:gd name="T62" fmla="*/ 284 w 479"/>
                  <a:gd name="T63" fmla="*/ 457 h 457"/>
                  <a:gd name="T64" fmla="*/ 286 w 479"/>
                  <a:gd name="T65" fmla="*/ 457 h 457"/>
                  <a:gd name="T66" fmla="*/ 298 w 479"/>
                  <a:gd name="T67" fmla="*/ 455 h 457"/>
                  <a:gd name="T68" fmla="*/ 326 w 479"/>
                  <a:gd name="T69" fmla="*/ 450 h 457"/>
                  <a:gd name="T70" fmla="*/ 346 w 479"/>
                  <a:gd name="T71" fmla="*/ 439 h 457"/>
                  <a:gd name="T72" fmla="*/ 478 w 479"/>
                  <a:gd name="T73" fmla="*/ 347 h 457"/>
                  <a:gd name="T74" fmla="*/ 468 w 479"/>
                  <a:gd name="T75" fmla="*/ 332 h 457"/>
                  <a:gd name="T76" fmla="*/ 453 w 479"/>
                  <a:gd name="T77" fmla="*/ 327 h 457"/>
                  <a:gd name="T78" fmla="*/ 448 w 479"/>
                  <a:gd name="T79" fmla="*/ 329 h 457"/>
                  <a:gd name="T80" fmla="*/ 442 w 479"/>
                  <a:gd name="T81" fmla="*/ 326 h 457"/>
                  <a:gd name="T82" fmla="*/ 435 w 479"/>
                  <a:gd name="T83" fmla="*/ 317 h 457"/>
                  <a:gd name="T84" fmla="*/ 429 w 479"/>
                  <a:gd name="T85" fmla="*/ 298 h 457"/>
                  <a:gd name="T86" fmla="*/ 423 w 479"/>
                  <a:gd name="T87" fmla="*/ 278 h 457"/>
                  <a:gd name="T88" fmla="*/ 430 w 479"/>
                  <a:gd name="T89" fmla="*/ 272 h 457"/>
                  <a:gd name="T90" fmla="*/ 428 w 479"/>
                  <a:gd name="T91" fmla="*/ 259 h 457"/>
                  <a:gd name="T92" fmla="*/ 432 w 479"/>
                  <a:gd name="T93" fmla="*/ 240 h 457"/>
                  <a:gd name="T94" fmla="*/ 430 w 479"/>
                  <a:gd name="T95" fmla="*/ 216 h 457"/>
                  <a:gd name="T96" fmla="*/ 419 w 479"/>
                  <a:gd name="T97" fmla="*/ 181 h 457"/>
                  <a:gd name="T98" fmla="*/ 422 w 479"/>
                  <a:gd name="T99" fmla="*/ 179 h 457"/>
                  <a:gd name="T100" fmla="*/ 408 w 479"/>
                  <a:gd name="T101" fmla="*/ 132 h 457"/>
                  <a:gd name="T102" fmla="*/ 394 w 479"/>
                  <a:gd name="T103" fmla="*/ 116 h 457"/>
                  <a:gd name="T104" fmla="*/ 392 w 479"/>
                  <a:gd name="T105" fmla="*/ 110 h 457"/>
                  <a:gd name="T106" fmla="*/ 379 w 479"/>
                  <a:gd name="T107" fmla="*/ 75 h 457"/>
                  <a:gd name="T108" fmla="*/ 396 w 479"/>
                  <a:gd name="T109" fmla="*/ 46 h 457"/>
                  <a:gd name="T110" fmla="*/ 394 w 479"/>
                  <a:gd name="T111" fmla="*/ 27 h 457"/>
                  <a:gd name="T112" fmla="*/ 389 w 479"/>
                  <a:gd name="T113" fmla="*/ 4 h 457"/>
                  <a:gd name="T114" fmla="*/ 370 w 479"/>
                  <a:gd name="T115" fmla="*/ 1 h 457"/>
                  <a:gd name="T116" fmla="*/ 351 w 479"/>
                  <a:gd name="T117" fmla="*/ 0 h 4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457">
                    <a:moveTo>
                      <a:pt x="351" y="0"/>
                    </a:moveTo>
                    <a:cubicBezTo>
                      <a:pt x="350" y="0"/>
                      <a:pt x="349" y="1"/>
                      <a:pt x="348" y="3"/>
                    </a:cubicBezTo>
                    <a:cubicBezTo>
                      <a:pt x="342" y="6"/>
                      <a:pt x="336" y="8"/>
                      <a:pt x="329" y="11"/>
                    </a:cubicBezTo>
                    <a:cubicBezTo>
                      <a:pt x="329" y="11"/>
                      <a:pt x="329" y="11"/>
                      <a:pt x="329" y="11"/>
                    </a:cubicBezTo>
                    <a:cubicBezTo>
                      <a:pt x="327" y="11"/>
                      <a:pt x="322" y="9"/>
                      <a:pt x="321" y="8"/>
                    </a:cubicBezTo>
                    <a:cubicBezTo>
                      <a:pt x="317" y="7"/>
                      <a:pt x="313" y="6"/>
                      <a:pt x="310" y="5"/>
                    </a:cubicBezTo>
                    <a:cubicBezTo>
                      <a:pt x="308" y="4"/>
                      <a:pt x="306" y="4"/>
                      <a:pt x="304" y="4"/>
                    </a:cubicBezTo>
                    <a:cubicBezTo>
                      <a:pt x="300" y="4"/>
                      <a:pt x="296" y="4"/>
                      <a:pt x="293" y="5"/>
                    </a:cubicBezTo>
                    <a:cubicBezTo>
                      <a:pt x="289" y="6"/>
                      <a:pt x="284" y="8"/>
                      <a:pt x="279" y="8"/>
                    </a:cubicBezTo>
                    <a:cubicBezTo>
                      <a:pt x="276" y="8"/>
                      <a:pt x="276" y="8"/>
                      <a:pt x="276" y="8"/>
                    </a:cubicBezTo>
                    <a:cubicBezTo>
                      <a:pt x="271" y="7"/>
                      <a:pt x="271" y="7"/>
                      <a:pt x="271" y="7"/>
                    </a:cubicBezTo>
                    <a:cubicBezTo>
                      <a:pt x="267" y="9"/>
                      <a:pt x="267" y="9"/>
                      <a:pt x="267" y="9"/>
                    </a:cubicBezTo>
                    <a:cubicBezTo>
                      <a:pt x="265" y="11"/>
                      <a:pt x="262" y="12"/>
                      <a:pt x="260" y="13"/>
                    </a:cubicBezTo>
                    <a:cubicBezTo>
                      <a:pt x="256" y="13"/>
                      <a:pt x="252" y="13"/>
                      <a:pt x="248" y="13"/>
                    </a:cubicBezTo>
                    <a:cubicBezTo>
                      <a:pt x="240" y="14"/>
                      <a:pt x="234" y="16"/>
                      <a:pt x="226" y="17"/>
                    </a:cubicBezTo>
                    <a:cubicBezTo>
                      <a:pt x="220" y="19"/>
                      <a:pt x="214" y="21"/>
                      <a:pt x="208" y="25"/>
                    </a:cubicBezTo>
                    <a:cubicBezTo>
                      <a:pt x="205" y="27"/>
                      <a:pt x="203" y="30"/>
                      <a:pt x="200" y="33"/>
                    </a:cubicBezTo>
                    <a:cubicBezTo>
                      <a:pt x="199" y="33"/>
                      <a:pt x="199" y="34"/>
                      <a:pt x="198" y="34"/>
                    </a:cubicBezTo>
                    <a:cubicBezTo>
                      <a:pt x="197" y="34"/>
                      <a:pt x="195" y="32"/>
                      <a:pt x="193" y="31"/>
                    </a:cubicBezTo>
                    <a:cubicBezTo>
                      <a:pt x="193" y="31"/>
                      <a:pt x="192" y="31"/>
                      <a:pt x="192" y="31"/>
                    </a:cubicBezTo>
                    <a:cubicBezTo>
                      <a:pt x="191" y="31"/>
                      <a:pt x="191" y="32"/>
                      <a:pt x="190" y="32"/>
                    </a:cubicBezTo>
                    <a:cubicBezTo>
                      <a:pt x="188" y="33"/>
                      <a:pt x="186" y="34"/>
                      <a:pt x="184" y="34"/>
                    </a:cubicBezTo>
                    <a:cubicBezTo>
                      <a:pt x="181" y="35"/>
                      <a:pt x="177" y="37"/>
                      <a:pt x="175" y="38"/>
                    </a:cubicBezTo>
                    <a:cubicBezTo>
                      <a:pt x="173" y="41"/>
                      <a:pt x="172" y="45"/>
                      <a:pt x="169" y="47"/>
                    </a:cubicBezTo>
                    <a:cubicBezTo>
                      <a:pt x="167" y="48"/>
                      <a:pt x="162" y="49"/>
                      <a:pt x="159" y="50"/>
                    </a:cubicBezTo>
                    <a:cubicBezTo>
                      <a:pt x="157" y="51"/>
                      <a:pt x="155" y="51"/>
                      <a:pt x="153" y="52"/>
                    </a:cubicBezTo>
                    <a:cubicBezTo>
                      <a:pt x="153" y="52"/>
                      <a:pt x="153" y="52"/>
                      <a:pt x="153" y="52"/>
                    </a:cubicBezTo>
                    <a:cubicBezTo>
                      <a:pt x="154" y="53"/>
                      <a:pt x="154" y="53"/>
                      <a:pt x="154" y="53"/>
                    </a:cubicBezTo>
                    <a:cubicBezTo>
                      <a:pt x="154" y="53"/>
                      <a:pt x="155" y="54"/>
                      <a:pt x="156" y="55"/>
                    </a:cubicBezTo>
                    <a:cubicBezTo>
                      <a:pt x="157" y="56"/>
                      <a:pt x="157" y="56"/>
                      <a:pt x="157" y="56"/>
                    </a:cubicBezTo>
                    <a:cubicBezTo>
                      <a:pt x="157" y="56"/>
                      <a:pt x="158" y="57"/>
                      <a:pt x="158" y="57"/>
                    </a:cubicBezTo>
                    <a:cubicBezTo>
                      <a:pt x="159" y="58"/>
                      <a:pt x="159" y="58"/>
                      <a:pt x="159" y="58"/>
                    </a:cubicBezTo>
                    <a:cubicBezTo>
                      <a:pt x="161" y="59"/>
                      <a:pt x="162" y="59"/>
                      <a:pt x="163" y="61"/>
                    </a:cubicBezTo>
                    <a:cubicBezTo>
                      <a:pt x="163" y="61"/>
                      <a:pt x="163" y="61"/>
                      <a:pt x="163" y="61"/>
                    </a:cubicBezTo>
                    <a:cubicBezTo>
                      <a:pt x="163" y="62"/>
                      <a:pt x="163" y="62"/>
                      <a:pt x="163" y="62"/>
                    </a:cubicBezTo>
                    <a:cubicBezTo>
                      <a:pt x="163" y="63"/>
                      <a:pt x="162" y="64"/>
                      <a:pt x="162" y="65"/>
                    </a:cubicBezTo>
                    <a:cubicBezTo>
                      <a:pt x="162" y="65"/>
                      <a:pt x="163" y="66"/>
                      <a:pt x="163" y="66"/>
                    </a:cubicBezTo>
                    <a:cubicBezTo>
                      <a:pt x="165" y="68"/>
                      <a:pt x="164" y="71"/>
                      <a:pt x="163" y="72"/>
                    </a:cubicBezTo>
                    <a:cubicBezTo>
                      <a:pt x="163" y="72"/>
                      <a:pt x="163" y="72"/>
                      <a:pt x="163" y="72"/>
                    </a:cubicBezTo>
                    <a:cubicBezTo>
                      <a:pt x="165" y="77"/>
                      <a:pt x="165" y="77"/>
                      <a:pt x="165" y="77"/>
                    </a:cubicBezTo>
                    <a:cubicBezTo>
                      <a:pt x="166" y="80"/>
                      <a:pt x="165" y="84"/>
                      <a:pt x="164" y="87"/>
                    </a:cubicBezTo>
                    <a:cubicBezTo>
                      <a:pt x="164" y="87"/>
                      <a:pt x="164" y="87"/>
                      <a:pt x="164" y="87"/>
                    </a:cubicBezTo>
                    <a:cubicBezTo>
                      <a:pt x="164" y="88"/>
                      <a:pt x="164" y="88"/>
                      <a:pt x="164" y="89"/>
                    </a:cubicBezTo>
                    <a:cubicBezTo>
                      <a:pt x="164" y="90"/>
                      <a:pt x="164" y="90"/>
                      <a:pt x="164" y="90"/>
                    </a:cubicBezTo>
                    <a:cubicBezTo>
                      <a:pt x="173" y="113"/>
                      <a:pt x="173" y="113"/>
                      <a:pt x="173" y="113"/>
                    </a:cubicBezTo>
                    <a:cubicBezTo>
                      <a:pt x="173" y="114"/>
                      <a:pt x="174" y="115"/>
                      <a:pt x="175" y="115"/>
                    </a:cubicBezTo>
                    <a:cubicBezTo>
                      <a:pt x="176" y="117"/>
                      <a:pt x="176" y="117"/>
                      <a:pt x="176" y="117"/>
                    </a:cubicBezTo>
                    <a:cubicBezTo>
                      <a:pt x="178" y="117"/>
                      <a:pt x="179" y="118"/>
                      <a:pt x="179" y="121"/>
                    </a:cubicBezTo>
                    <a:cubicBezTo>
                      <a:pt x="179" y="124"/>
                      <a:pt x="177" y="126"/>
                      <a:pt x="177" y="126"/>
                    </a:cubicBezTo>
                    <a:cubicBezTo>
                      <a:pt x="175" y="128"/>
                      <a:pt x="175" y="128"/>
                      <a:pt x="175" y="128"/>
                    </a:cubicBezTo>
                    <a:cubicBezTo>
                      <a:pt x="176" y="129"/>
                      <a:pt x="177" y="130"/>
                      <a:pt x="176" y="131"/>
                    </a:cubicBezTo>
                    <a:cubicBezTo>
                      <a:pt x="176" y="132"/>
                      <a:pt x="176" y="133"/>
                      <a:pt x="175" y="134"/>
                    </a:cubicBezTo>
                    <a:cubicBezTo>
                      <a:pt x="174" y="135"/>
                      <a:pt x="173" y="135"/>
                      <a:pt x="171" y="135"/>
                    </a:cubicBezTo>
                    <a:cubicBezTo>
                      <a:pt x="171" y="135"/>
                      <a:pt x="171" y="135"/>
                      <a:pt x="170" y="135"/>
                    </a:cubicBezTo>
                    <a:cubicBezTo>
                      <a:pt x="170" y="135"/>
                      <a:pt x="169" y="135"/>
                      <a:pt x="168" y="135"/>
                    </a:cubicBezTo>
                    <a:cubicBezTo>
                      <a:pt x="167" y="135"/>
                      <a:pt x="165" y="135"/>
                      <a:pt x="163" y="134"/>
                    </a:cubicBezTo>
                    <a:cubicBezTo>
                      <a:pt x="163" y="133"/>
                      <a:pt x="163" y="133"/>
                      <a:pt x="163" y="133"/>
                    </a:cubicBezTo>
                    <a:cubicBezTo>
                      <a:pt x="163" y="133"/>
                      <a:pt x="163" y="133"/>
                      <a:pt x="163" y="133"/>
                    </a:cubicBezTo>
                    <a:cubicBezTo>
                      <a:pt x="163" y="134"/>
                      <a:pt x="163" y="134"/>
                      <a:pt x="163" y="134"/>
                    </a:cubicBezTo>
                    <a:cubicBezTo>
                      <a:pt x="161" y="134"/>
                      <a:pt x="160" y="134"/>
                      <a:pt x="159" y="134"/>
                    </a:cubicBezTo>
                    <a:cubicBezTo>
                      <a:pt x="156" y="134"/>
                      <a:pt x="154" y="134"/>
                      <a:pt x="152" y="133"/>
                    </a:cubicBezTo>
                    <a:cubicBezTo>
                      <a:pt x="150" y="133"/>
                      <a:pt x="150" y="133"/>
                      <a:pt x="150" y="133"/>
                    </a:cubicBezTo>
                    <a:cubicBezTo>
                      <a:pt x="149" y="133"/>
                      <a:pt x="148" y="133"/>
                      <a:pt x="147" y="133"/>
                    </a:cubicBezTo>
                    <a:cubicBezTo>
                      <a:pt x="145" y="133"/>
                      <a:pt x="144" y="133"/>
                      <a:pt x="142" y="134"/>
                    </a:cubicBezTo>
                    <a:cubicBezTo>
                      <a:pt x="142" y="134"/>
                      <a:pt x="141" y="134"/>
                      <a:pt x="140" y="134"/>
                    </a:cubicBezTo>
                    <a:cubicBezTo>
                      <a:pt x="140" y="134"/>
                      <a:pt x="140" y="134"/>
                      <a:pt x="140" y="134"/>
                    </a:cubicBezTo>
                    <a:cubicBezTo>
                      <a:pt x="139" y="134"/>
                      <a:pt x="138" y="134"/>
                      <a:pt x="137" y="135"/>
                    </a:cubicBezTo>
                    <a:cubicBezTo>
                      <a:pt x="136" y="135"/>
                      <a:pt x="135" y="136"/>
                      <a:pt x="134" y="137"/>
                    </a:cubicBezTo>
                    <a:cubicBezTo>
                      <a:pt x="133" y="139"/>
                      <a:pt x="132" y="141"/>
                      <a:pt x="129" y="142"/>
                    </a:cubicBezTo>
                    <a:cubicBezTo>
                      <a:pt x="129" y="142"/>
                      <a:pt x="128" y="143"/>
                      <a:pt x="128" y="143"/>
                    </a:cubicBezTo>
                    <a:cubicBezTo>
                      <a:pt x="126" y="143"/>
                      <a:pt x="126" y="143"/>
                      <a:pt x="126" y="143"/>
                    </a:cubicBezTo>
                    <a:cubicBezTo>
                      <a:pt x="124" y="144"/>
                      <a:pt x="122" y="145"/>
                      <a:pt x="119" y="146"/>
                    </a:cubicBezTo>
                    <a:cubicBezTo>
                      <a:pt x="119" y="146"/>
                      <a:pt x="119" y="146"/>
                      <a:pt x="119" y="146"/>
                    </a:cubicBezTo>
                    <a:cubicBezTo>
                      <a:pt x="118" y="146"/>
                      <a:pt x="118" y="146"/>
                      <a:pt x="118" y="145"/>
                    </a:cubicBezTo>
                    <a:cubicBezTo>
                      <a:pt x="117" y="145"/>
                      <a:pt x="116" y="145"/>
                      <a:pt x="115" y="145"/>
                    </a:cubicBezTo>
                    <a:cubicBezTo>
                      <a:pt x="114" y="145"/>
                      <a:pt x="114" y="145"/>
                      <a:pt x="114" y="145"/>
                    </a:cubicBezTo>
                    <a:cubicBezTo>
                      <a:pt x="114" y="145"/>
                      <a:pt x="114" y="145"/>
                      <a:pt x="114" y="145"/>
                    </a:cubicBezTo>
                    <a:cubicBezTo>
                      <a:pt x="114" y="145"/>
                      <a:pt x="114" y="145"/>
                      <a:pt x="114" y="145"/>
                    </a:cubicBezTo>
                    <a:cubicBezTo>
                      <a:pt x="114" y="146"/>
                      <a:pt x="114" y="146"/>
                      <a:pt x="114" y="146"/>
                    </a:cubicBezTo>
                    <a:cubicBezTo>
                      <a:pt x="114" y="146"/>
                      <a:pt x="114" y="146"/>
                      <a:pt x="114" y="146"/>
                    </a:cubicBezTo>
                    <a:cubicBezTo>
                      <a:pt x="114" y="147"/>
                      <a:pt x="114" y="147"/>
                      <a:pt x="114" y="147"/>
                    </a:cubicBezTo>
                    <a:cubicBezTo>
                      <a:pt x="115" y="147"/>
                      <a:pt x="116" y="148"/>
                      <a:pt x="116" y="148"/>
                    </a:cubicBezTo>
                    <a:cubicBezTo>
                      <a:pt x="116" y="149"/>
                      <a:pt x="117" y="150"/>
                      <a:pt x="116" y="152"/>
                    </a:cubicBezTo>
                    <a:cubicBezTo>
                      <a:pt x="115" y="152"/>
                      <a:pt x="115" y="153"/>
                      <a:pt x="115" y="153"/>
                    </a:cubicBezTo>
                    <a:cubicBezTo>
                      <a:pt x="116" y="153"/>
                      <a:pt x="116" y="154"/>
                      <a:pt x="117" y="154"/>
                    </a:cubicBezTo>
                    <a:cubicBezTo>
                      <a:pt x="117" y="155"/>
                      <a:pt x="119" y="156"/>
                      <a:pt x="119" y="158"/>
                    </a:cubicBezTo>
                    <a:cubicBezTo>
                      <a:pt x="121" y="163"/>
                      <a:pt x="116" y="165"/>
                      <a:pt x="114" y="165"/>
                    </a:cubicBezTo>
                    <a:cubicBezTo>
                      <a:pt x="113" y="166"/>
                      <a:pt x="113" y="166"/>
                      <a:pt x="112" y="166"/>
                    </a:cubicBezTo>
                    <a:cubicBezTo>
                      <a:pt x="88" y="177"/>
                      <a:pt x="88" y="177"/>
                      <a:pt x="88" y="177"/>
                    </a:cubicBezTo>
                    <a:cubicBezTo>
                      <a:pt x="86" y="178"/>
                      <a:pt x="85" y="179"/>
                      <a:pt x="84" y="181"/>
                    </a:cubicBezTo>
                    <a:cubicBezTo>
                      <a:pt x="83" y="182"/>
                      <a:pt x="83" y="183"/>
                      <a:pt x="82" y="184"/>
                    </a:cubicBezTo>
                    <a:cubicBezTo>
                      <a:pt x="80" y="185"/>
                      <a:pt x="80" y="185"/>
                      <a:pt x="80" y="185"/>
                    </a:cubicBezTo>
                    <a:cubicBezTo>
                      <a:pt x="79" y="186"/>
                      <a:pt x="78" y="187"/>
                      <a:pt x="77" y="188"/>
                    </a:cubicBezTo>
                    <a:cubicBezTo>
                      <a:pt x="76" y="189"/>
                      <a:pt x="74" y="190"/>
                      <a:pt x="73" y="191"/>
                    </a:cubicBezTo>
                    <a:cubicBezTo>
                      <a:pt x="69" y="192"/>
                      <a:pt x="61" y="194"/>
                      <a:pt x="55" y="194"/>
                    </a:cubicBezTo>
                    <a:cubicBezTo>
                      <a:pt x="53" y="194"/>
                      <a:pt x="52" y="194"/>
                      <a:pt x="51" y="194"/>
                    </a:cubicBezTo>
                    <a:cubicBezTo>
                      <a:pt x="50" y="196"/>
                      <a:pt x="49" y="199"/>
                      <a:pt x="46" y="200"/>
                    </a:cubicBezTo>
                    <a:cubicBezTo>
                      <a:pt x="45" y="200"/>
                      <a:pt x="45" y="200"/>
                      <a:pt x="45" y="200"/>
                    </a:cubicBezTo>
                    <a:cubicBezTo>
                      <a:pt x="44" y="200"/>
                      <a:pt x="44" y="200"/>
                      <a:pt x="44" y="200"/>
                    </a:cubicBezTo>
                    <a:cubicBezTo>
                      <a:pt x="43" y="200"/>
                      <a:pt x="42" y="200"/>
                      <a:pt x="42" y="200"/>
                    </a:cubicBezTo>
                    <a:cubicBezTo>
                      <a:pt x="42" y="200"/>
                      <a:pt x="41" y="199"/>
                      <a:pt x="41" y="199"/>
                    </a:cubicBezTo>
                    <a:cubicBezTo>
                      <a:pt x="41" y="199"/>
                      <a:pt x="41" y="199"/>
                      <a:pt x="41" y="199"/>
                    </a:cubicBezTo>
                    <a:cubicBezTo>
                      <a:pt x="39" y="200"/>
                      <a:pt x="38" y="200"/>
                      <a:pt x="36" y="201"/>
                    </a:cubicBezTo>
                    <a:cubicBezTo>
                      <a:pt x="33" y="201"/>
                      <a:pt x="33" y="201"/>
                      <a:pt x="33" y="201"/>
                    </a:cubicBezTo>
                    <a:cubicBezTo>
                      <a:pt x="32" y="202"/>
                      <a:pt x="30" y="202"/>
                      <a:pt x="29" y="203"/>
                    </a:cubicBezTo>
                    <a:cubicBezTo>
                      <a:pt x="27" y="203"/>
                      <a:pt x="25" y="204"/>
                      <a:pt x="23" y="205"/>
                    </a:cubicBezTo>
                    <a:cubicBezTo>
                      <a:pt x="22" y="205"/>
                      <a:pt x="21" y="206"/>
                      <a:pt x="21" y="206"/>
                    </a:cubicBezTo>
                    <a:cubicBezTo>
                      <a:pt x="18" y="209"/>
                      <a:pt x="15" y="211"/>
                      <a:pt x="12" y="212"/>
                    </a:cubicBezTo>
                    <a:cubicBezTo>
                      <a:pt x="9" y="215"/>
                      <a:pt x="9" y="215"/>
                      <a:pt x="9" y="215"/>
                    </a:cubicBezTo>
                    <a:cubicBezTo>
                      <a:pt x="8" y="215"/>
                      <a:pt x="8" y="215"/>
                      <a:pt x="7" y="216"/>
                    </a:cubicBezTo>
                    <a:cubicBezTo>
                      <a:pt x="5" y="218"/>
                      <a:pt x="5" y="218"/>
                      <a:pt x="5" y="218"/>
                    </a:cubicBezTo>
                    <a:cubicBezTo>
                      <a:pt x="3" y="218"/>
                      <a:pt x="2" y="219"/>
                      <a:pt x="1" y="220"/>
                    </a:cubicBezTo>
                    <a:cubicBezTo>
                      <a:pt x="1" y="220"/>
                      <a:pt x="0" y="221"/>
                      <a:pt x="0" y="221"/>
                    </a:cubicBezTo>
                    <a:cubicBezTo>
                      <a:pt x="0" y="242"/>
                      <a:pt x="0" y="242"/>
                      <a:pt x="0" y="242"/>
                    </a:cubicBezTo>
                    <a:cubicBezTo>
                      <a:pt x="0" y="254"/>
                      <a:pt x="0" y="254"/>
                      <a:pt x="0" y="254"/>
                    </a:cubicBezTo>
                    <a:cubicBezTo>
                      <a:pt x="33" y="274"/>
                      <a:pt x="61" y="293"/>
                      <a:pt x="88" y="310"/>
                    </a:cubicBezTo>
                    <a:cubicBezTo>
                      <a:pt x="88" y="310"/>
                      <a:pt x="88" y="310"/>
                      <a:pt x="88" y="310"/>
                    </a:cubicBezTo>
                    <a:cubicBezTo>
                      <a:pt x="104" y="316"/>
                      <a:pt x="104" y="316"/>
                      <a:pt x="104" y="316"/>
                    </a:cubicBezTo>
                    <a:cubicBezTo>
                      <a:pt x="96" y="316"/>
                      <a:pt x="96" y="316"/>
                      <a:pt x="96" y="316"/>
                    </a:cubicBezTo>
                    <a:cubicBezTo>
                      <a:pt x="107" y="323"/>
                      <a:pt x="107" y="323"/>
                      <a:pt x="107" y="323"/>
                    </a:cubicBezTo>
                    <a:cubicBezTo>
                      <a:pt x="106" y="323"/>
                      <a:pt x="106" y="323"/>
                      <a:pt x="106" y="323"/>
                    </a:cubicBezTo>
                    <a:cubicBezTo>
                      <a:pt x="113" y="327"/>
                      <a:pt x="120" y="332"/>
                      <a:pt x="127" y="336"/>
                    </a:cubicBezTo>
                    <a:cubicBezTo>
                      <a:pt x="138" y="344"/>
                      <a:pt x="149" y="352"/>
                      <a:pt x="160" y="359"/>
                    </a:cubicBezTo>
                    <a:cubicBezTo>
                      <a:pt x="174" y="370"/>
                      <a:pt x="190" y="381"/>
                      <a:pt x="206" y="391"/>
                    </a:cubicBezTo>
                    <a:cubicBezTo>
                      <a:pt x="228" y="406"/>
                      <a:pt x="228" y="406"/>
                      <a:pt x="228" y="406"/>
                    </a:cubicBezTo>
                    <a:cubicBezTo>
                      <a:pt x="230" y="407"/>
                      <a:pt x="231" y="409"/>
                      <a:pt x="232" y="411"/>
                    </a:cubicBezTo>
                    <a:cubicBezTo>
                      <a:pt x="232" y="413"/>
                      <a:pt x="232" y="414"/>
                      <a:pt x="232" y="415"/>
                    </a:cubicBezTo>
                    <a:cubicBezTo>
                      <a:pt x="232" y="416"/>
                      <a:pt x="232" y="416"/>
                      <a:pt x="232" y="417"/>
                    </a:cubicBezTo>
                    <a:cubicBezTo>
                      <a:pt x="232" y="417"/>
                      <a:pt x="233" y="417"/>
                      <a:pt x="234" y="417"/>
                    </a:cubicBezTo>
                    <a:cubicBezTo>
                      <a:pt x="235" y="418"/>
                      <a:pt x="235" y="418"/>
                      <a:pt x="235" y="418"/>
                    </a:cubicBezTo>
                    <a:cubicBezTo>
                      <a:pt x="236" y="418"/>
                      <a:pt x="236" y="418"/>
                      <a:pt x="237" y="418"/>
                    </a:cubicBezTo>
                    <a:cubicBezTo>
                      <a:pt x="240" y="420"/>
                      <a:pt x="241" y="421"/>
                      <a:pt x="242" y="423"/>
                    </a:cubicBezTo>
                    <a:cubicBezTo>
                      <a:pt x="243" y="425"/>
                      <a:pt x="243" y="425"/>
                      <a:pt x="243" y="425"/>
                    </a:cubicBezTo>
                    <a:cubicBezTo>
                      <a:pt x="243" y="426"/>
                      <a:pt x="246" y="427"/>
                      <a:pt x="250" y="428"/>
                    </a:cubicBezTo>
                    <a:cubicBezTo>
                      <a:pt x="251" y="428"/>
                      <a:pt x="251" y="428"/>
                      <a:pt x="251" y="428"/>
                    </a:cubicBezTo>
                    <a:cubicBezTo>
                      <a:pt x="252" y="428"/>
                      <a:pt x="252" y="428"/>
                      <a:pt x="253" y="428"/>
                    </a:cubicBezTo>
                    <a:cubicBezTo>
                      <a:pt x="253" y="428"/>
                      <a:pt x="253" y="428"/>
                      <a:pt x="253" y="428"/>
                    </a:cubicBezTo>
                    <a:cubicBezTo>
                      <a:pt x="254" y="428"/>
                      <a:pt x="254" y="428"/>
                      <a:pt x="254" y="428"/>
                    </a:cubicBezTo>
                    <a:cubicBezTo>
                      <a:pt x="254" y="428"/>
                      <a:pt x="255" y="428"/>
                      <a:pt x="256" y="428"/>
                    </a:cubicBezTo>
                    <a:cubicBezTo>
                      <a:pt x="256" y="428"/>
                      <a:pt x="256" y="428"/>
                      <a:pt x="256" y="428"/>
                    </a:cubicBezTo>
                    <a:cubicBezTo>
                      <a:pt x="258" y="430"/>
                      <a:pt x="258" y="430"/>
                      <a:pt x="258" y="430"/>
                    </a:cubicBezTo>
                    <a:cubicBezTo>
                      <a:pt x="261" y="431"/>
                      <a:pt x="264" y="433"/>
                      <a:pt x="267" y="434"/>
                    </a:cubicBezTo>
                    <a:cubicBezTo>
                      <a:pt x="268" y="434"/>
                      <a:pt x="268" y="434"/>
                      <a:pt x="268" y="434"/>
                    </a:cubicBezTo>
                    <a:cubicBezTo>
                      <a:pt x="269" y="435"/>
                      <a:pt x="269" y="435"/>
                      <a:pt x="269" y="435"/>
                    </a:cubicBezTo>
                    <a:cubicBezTo>
                      <a:pt x="271" y="435"/>
                      <a:pt x="272" y="435"/>
                      <a:pt x="273" y="436"/>
                    </a:cubicBezTo>
                    <a:cubicBezTo>
                      <a:pt x="274" y="436"/>
                      <a:pt x="274" y="436"/>
                      <a:pt x="274" y="436"/>
                    </a:cubicBezTo>
                    <a:cubicBezTo>
                      <a:pt x="275" y="437"/>
                      <a:pt x="276" y="437"/>
                      <a:pt x="276" y="437"/>
                    </a:cubicBezTo>
                    <a:cubicBezTo>
                      <a:pt x="278" y="438"/>
                      <a:pt x="278" y="438"/>
                      <a:pt x="278" y="438"/>
                    </a:cubicBezTo>
                    <a:cubicBezTo>
                      <a:pt x="279" y="440"/>
                      <a:pt x="280" y="441"/>
                      <a:pt x="280" y="443"/>
                    </a:cubicBezTo>
                    <a:cubicBezTo>
                      <a:pt x="280" y="443"/>
                      <a:pt x="280" y="444"/>
                      <a:pt x="280" y="444"/>
                    </a:cubicBezTo>
                    <a:cubicBezTo>
                      <a:pt x="280" y="445"/>
                      <a:pt x="280" y="445"/>
                      <a:pt x="280" y="446"/>
                    </a:cubicBezTo>
                    <a:cubicBezTo>
                      <a:pt x="280" y="447"/>
                      <a:pt x="280" y="447"/>
                      <a:pt x="280" y="447"/>
                    </a:cubicBezTo>
                    <a:cubicBezTo>
                      <a:pt x="280" y="448"/>
                      <a:pt x="280" y="448"/>
                      <a:pt x="280" y="448"/>
                    </a:cubicBezTo>
                    <a:cubicBezTo>
                      <a:pt x="280" y="449"/>
                      <a:pt x="280" y="449"/>
                      <a:pt x="280" y="449"/>
                    </a:cubicBezTo>
                    <a:cubicBezTo>
                      <a:pt x="281" y="451"/>
                      <a:pt x="281" y="452"/>
                      <a:pt x="280" y="453"/>
                    </a:cubicBezTo>
                    <a:cubicBezTo>
                      <a:pt x="280" y="454"/>
                      <a:pt x="280" y="454"/>
                      <a:pt x="280" y="454"/>
                    </a:cubicBezTo>
                    <a:cubicBezTo>
                      <a:pt x="279" y="455"/>
                      <a:pt x="279" y="455"/>
                      <a:pt x="279" y="455"/>
                    </a:cubicBezTo>
                    <a:cubicBezTo>
                      <a:pt x="279" y="456"/>
                      <a:pt x="278" y="456"/>
                      <a:pt x="278" y="457"/>
                    </a:cubicBezTo>
                    <a:cubicBezTo>
                      <a:pt x="279" y="457"/>
                      <a:pt x="280" y="457"/>
                      <a:pt x="281" y="457"/>
                    </a:cubicBezTo>
                    <a:cubicBezTo>
                      <a:pt x="282" y="457"/>
                      <a:pt x="283" y="457"/>
                      <a:pt x="284" y="457"/>
                    </a:cubicBezTo>
                    <a:cubicBezTo>
                      <a:pt x="284" y="457"/>
                      <a:pt x="284" y="457"/>
                      <a:pt x="284" y="457"/>
                    </a:cubicBezTo>
                    <a:cubicBezTo>
                      <a:pt x="284" y="457"/>
                      <a:pt x="284" y="457"/>
                      <a:pt x="285" y="457"/>
                    </a:cubicBezTo>
                    <a:cubicBezTo>
                      <a:pt x="285" y="457"/>
                      <a:pt x="285" y="457"/>
                      <a:pt x="285" y="457"/>
                    </a:cubicBezTo>
                    <a:cubicBezTo>
                      <a:pt x="285" y="457"/>
                      <a:pt x="285" y="457"/>
                      <a:pt x="285" y="457"/>
                    </a:cubicBezTo>
                    <a:cubicBezTo>
                      <a:pt x="286" y="457"/>
                      <a:pt x="286" y="457"/>
                      <a:pt x="286" y="457"/>
                    </a:cubicBezTo>
                    <a:cubicBezTo>
                      <a:pt x="287" y="457"/>
                      <a:pt x="287" y="457"/>
                      <a:pt x="287" y="457"/>
                    </a:cubicBezTo>
                    <a:cubicBezTo>
                      <a:pt x="288" y="457"/>
                      <a:pt x="289" y="457"/>
                      <a:pt x="290" y="457"/>
                    </a:cubicBezTo>
                    <a:cubicBezTo>
                      <a:pt x="290" y="457"/>
                      <a:pt x="290" y="457"/>
                      <a:pt x="291" y="457"/>
                    </a:cubicBezTo>
                    <a:cubicBezTo>
                      <a:pt x="297" y="455"/>
                      <a:pt x="297" y="455"/>
                      <a:pt x="297" y="455"/>
                    </a:cubicBezTo>
                    <a:cubicBezTo>
                      <a:pt x="298" y="455"/>
                      <a:pt x="298" y="455"/>
                      <a:pt x="298" y="455"/>
                    </a:cubicBezTo>
                    <a:cubicBezTo>
                      <a:pt x="298" y="455"/>
                      <a:pt x="298" y="455"/>
                      <a:pt x="298" y="455"/>
                    </a:cubicBezTo>
                    <a:cubicBezTo>
                      <a:pt x="299" y="455"/>
                      <a:pt x="299" y="455"/>
                      <a:pt x="299" y="455"/>
                    </a:cubicBezTo>
                    <a:cubicBezTo>
                      <a:pt x="301" y="455"/>
                      <a:pt x="301" y="455"/>
                      <a:pt x="301" y="455"/>
                    </a:cubicBezTo>
                    <a:cubicBezTo>
                      <a:pt x="322" y="450"/>
                      <a:pt x="322" y="450"/>
                      <a:pt x="322" y="450"/>
                    </a:cubicBezTo>
                    <a:cubicBezTo>
                      <a:pt x="323" y="450"/>
                      <a:pt x="324" y="450"/>
                      <a:pt x="326" y="450"/>
                    </a:cubicBezTo>
                    <a:cubicBezTo>
                      <a:pt x="327" y="450"/>
                      <a:pt x="327" y="450"/>
                      <a:pt x="327" y="450"/>
                    </a:cubicBezTo>
                    <a:cubicBezTo>
                      <a:pt x="330" y="449"/>
                      <a:pt x="335" y="449"/>
                      <a:pt x="337" y="447"/>
                    </a:cubicBezTo>
                    <a:cubicBezTo>
                      <a:pt x="338" y="447"/>
                      <a:pt x="338" y="446"/>
                      <a:pt x="339" y="446"/>
                    </a:cubicBezTo>
                    <a:cubicBezTo>
                      <a:pt x="340" y="445"/>
                      <a:pt x="340" y="445"/>
                      <a:pt x="340" y="445"/>
                    </a:cubicBezTo>
                    <a:cubicBezTo>
                      <a:pt x="342" y="443"/>
                      <a:pt x="344" y="441"/>
                      <a:pt x="346" y="439"/>
                    </a:cubicBezTo>
                    <a:cubicBezTo>
                      <a:pt x="359" y="428"/>
                      <a:pt x="359" y="428"/>
                      <a:pt x="359" y="428"/>
                    </a:cubicBezTo>
                    <a:cubicBezTo>
                      <a:pt x="362" y="425"/>
                      <a:pt x="365" y="422"/>
                      <a:pt x="368" y="420"/>
                    </a:cubicBezTo>
                    <a:cubicBezTo>
                      <a:pt x="374" y="415"/>
                      <a:pt x="379" y="411"/>
                      <a:pt x="384" y="408"/>
                    </a:cubicBezTo>
                    <a:cubicBezTo>
                      <a:pt x="479" y="349"/>
                      <a:pt x="479" y="349"/>
                      <a:pt x="479" y="349"/>
                    </a:cubicBezTo>
                    <a:cubicBezTo>
                      <a:pt x="479" y="348"/>
                      <a:pt x="478" y="348"/>
                      <a:pt x="478" y="347"/>
                    </a:cubicBezTo>
                    <a:cubicBezTo>
                      <a:pt x="477" y="346"/>
                      <a:pt x="477" y="346"/>
                      <a:pt x="477" y="346"/>
                    </a:cubicBezTo>
                    <a:cubicBezTo>
                      <a:pt x="477" y="345"/>
                      <a:pt x="476" y="344"/>
                      <a:pt x="476" y="343"/>
                    </a:cubicBezTo>
                    <a:cubicBezTo>
                      <a:pt x="475" y="341"/>
                      <a:pt x="474" y="339"/>
                      <a:pt x="473" y="338"/>
                    </a:cubicBezTo>
                    <a:cubicBezTo>
                      <a:pt x="473" y="337"/>
                      <a:pt x="473" y="336"/>
                      <a:pt x="472" y="336"/>
                    </a:cubicBezTo>
                    <a:cubicBezTo>
                      <a:pt x="471" y="334"/>
                      <a:pt x="470" y="332"/>
                      <a:pt x="468" y="332"/>
                    </a:cubicBezTo>
                    <a:cubicBezTo>
                      <a:pt x="463" y="330"/>
                      <a:pt x="463" y="330"/>
                      <a:pt x="463" y="330"/>
                    </a:cubicBezTo>
                    <a:cubicBezTo>
                      <a:pt x="461" y="330"/>
                      <a:pt x="459" y="329"/>
                      <a:pt x="456" y="328"/>
                    </a:cubicBezTo>
                    <a:cubicBezTo>
                      <a:pt x="455" y="328"/>
                      <a:pt x="454" y="327"/>
                      <a:pt x="454" y="327"/>
                    </a:cubicBezTo>
                    <a:cubicBezTo>
                      <a:pt x="453" y="327"/>
                      <a:pt x="453" y="327"/>
                      <a:pt x="453" y="327"/>
                    </a:cubicBezTo>
                    <a:cubicBezTo>
                      <a:pt x="453" y="327"/>
                      <a:pt x="453" y="327"/>
                      <a:pt x="453" y="327"/>
                    </a:cubicBezTo>
                    <a:cubicBezTo>
                      <a:pt x="453" y="327"/>
                      <a:pt x="452" y="328"/>
                      <a:pt x="450" y="328"/>
                    </a:cubicBezTo>
                    <a:cubicBezTo>
                      <a:pt x="450" y="328"/>
                      <a:pt x="450" y="328"/>
                      <a:pt x="450" y="328"/>
                    </a:cubicBezTo>
                    <a:cubicBezTo>
                      <a:pt x="449" y="328"/>
                      <a:pt x="449" y="328"/>
                      <a:pt x="449" y="328"/>
                    </a:cubicBezTo>
                    <a:cubicBezTo>
                      <a:pt x="449" y="334"/>
                      <a:pt x="449" y="334"/>
                      <a:pt x="449" y="334"/>
                    </a:cubicBezTo>
                    <a:cubicBezTo>
                      <a:pt x="448" y="329"/>
                      <a:pt x="448" y="329"/>
                      <a:pt x="448" y="329"/>
                    </a:cubicBezTo>
                    <a:cubicBezTo>
                      <a:pt x="447" y="329"/>
                      <a:pt x="447" y="329"/>
                      <a:pt x="447" y="329"/>
                    </a:cubicBezTo>
                    <a:cubicBezTo>
                      <a:pt x="446" y="329"/>
                      <a:pt x="446" y="328"/>
                      <a:pt x="445" y="328"/>
                    </a:cubicBezTo>
                    <a:cubicBezTo>
                      <a:pt x="445" y="328"/>
                      <a:pt x="445" y="328"/>
                      <a:pt x="445" y="328"/>
                    </a:cubicBezTo>
                    <a:cubicBezTo>
                      <a:pt x="444" y="328"/>
                      <a:pt x="443" y="327"/>
                      <a:pt x="442" y="326"/>
                    </a:cubicBezTo>
                    <a:cubicBezTo>
                      <a:pt x="442" y="326"/>
                      <a:pt x="442" y="326"/>
                      <a:pt x="442" y="326"/>
                    </a:cubicBezTo>
                    <a:cubicBezTo>
                      <a:pt x="441" y="325"/>
                      <a:pt x="441" y="325"/>
                      <a:pt x="441" y="325"/>
                    </a:cubicBezTo>
                    <a:cubicBezTo>
                      <a:pt x="439" y="323"/>
                      <a:pt x="438" y="322"/>
                      <a:pt x="437" y="320"/>
                    </a:cubicBezTo>
                    <a:cubicBezTo>
                      <a:pt x="436" y="319"/>
                      <a:pt x="436" y="319"/>
                      <a:pt x="436" y="318"/>
                    </a:cubicBezTo>
                    <a:cubicBezTo>
                      <a:pt x="436" y="318"/>
                      <a:pt x="435" y="317"/>
                      <a:pt x="435" y="317"/>
                    </a:cubicBezTo>
                    <a:cubicBezTo>
                      <a:pt x="435" y="317"/>
                      <a:pt x="435" y="317"/>
                      <a:pt x="435" y="317"/>
                    </a:cubicBezTo>
                    <a:cubicBezTo>
                      <a:pt x="435" y="316"/>
                      <a:pt x="435" y="316"/>
                      <a:pt x="435" y="316"/>
                    </a:cubicBezTo>
                    <a:cubicBezTo>
                      <a:pt x="434" y="314"/>
                      <a:pt x="434" y="312"/>
                      <a:pt x="434" y="310"/>
                    </a:cubicBezTo>
                    <a:cubicBezTo>
                      <a:pt x="433" y="307"/>
                      <a:pt x="433" y="304"/>
                      <a:pt x="431" y="301"/>
                    </a:cubicBezTo>
                    <a:cubicBezTo>
                      <a:pt x="431" y="301"/>
                      <a:pt x="430" y="300"/>
                      <a:pt x="430" y="299"/>
                    </a:cubicBezTo>
                    <a:cubicBezTo>
                      <a:pt x="429" y="298"/>
                      <a:pt x="429" y="298"/>
                      <a:pt x="429" y="298"/>
                    </a:cubicBezTo>
                    <a:cubicBezTo>
                      <a:pt x="429" y="298"/>
                      <a:pt x="428" y="297"/>
                      <a:pt x="428" y="297"/>
                    </a:cubicBezTo>
                    <a:cubicBezTo>
                      <a:pt x="428" y="296"/>
                      <a:pt x="428" y="296"/>
                      <a:pt x="428" y="296"/>
                    </a:cubicBezTo>
                    <a:cubicBezTo>
                      <a:pt x="427" y="296"/>
                      <a:pt x="427" y="295"/>
                      <a:pt x="426" y="294"/>
                    </a:cubicBezTo>
                    <a:cubicBezTo>
                      <a:pt x="423" y="291"/>
                      <a:pt x="420" y="287"/>
                      <a:pt x="420" y="285"/>
                    </a:cubicBezTo>
                    <a:cubicBezTo>
                      <a:pt x="419" y="283"/>
                      <a:pt x="421" y="280"/>
                      <a:pt x="423" y="278"/>
                    </a:cubicBezTo>
                    <a:cubicBezTo>
                      <a:pt x="424" y="277"/>
                      <a:pt x="425" y="276"/>
                      <a:pt x="426" y="275"/>
                    </a:cubicBezTo>
                    <a:cubicBezTo>
                      <a:pt x="427" y="274"/>
                      <a:pt x="428" y="274"/>
                      <a:pt x="429" y="274"/>
                    </a:cubicBezTo>
                    <a:cubicBezTo>
                      <a:pt x="429" y="274"/>
                      <a:pt x="429" y="274"/>
                      <a:pt x="429" y="274"/>
                    </a:cubicBezTo>
                    <a:cubicBezTo>
                      <a:pt x="430" y="273"/>
                      <a:pt x="430" y="273"/>
                      <a:pt x="430" y="273"/>
                    </a:cubicBezTo>
                    <a:cubicBezTo>
                      <a:pt x="430" y="273"/>
                      <a:pt x="430" y="272"/>
                      <a:pt x="430" y="272"/>
                    </a:cubicBezTo>
                    <a:cubicBezTo>
                      <a:pt x="430" y="271"/>
                      <a:pt x="430" y="271"/>
                      <a:pt x="430" y="271"/>
                    </a:cubicBezTo>
                    <a:cubicBezTo>
                      <a:pt x="430" y="269"/>
                      <a:pt x="430" y="266"/>
                      <a:pt x="429" y="264"/>
                    </a:cubicBezTo>
                    <a:cubicBezTo>
                      <a:pt x="429" y="262"/>
                      <a:pt x="429" y="262"/>
                      <a:pt x="429" y="262"/>
                    </a:cubicBezTo>
                    <a:cubicBezTo>
                      <a:pt x="429" y="261"/>
                      <a:pt x="429" y="261"/>
                      <a:pt x="429" y="260"/>
                    </a:cubicBezTo>
                    <a:cubicBezTo>
                      <a:pt x="428" y="259"/>
                      <a:pt x="428" y="259"/>
                      <a:pt x="428" y="259"/>
                    </a:cubicBezTo>
                    <a:cubicBezTo>
                      <a:pt x="428" y="258"/>
                      <a:pt x="428" y="257"/>
                      <a:pt x="428" y="256"/>
                    </a:cubicBezTo>
                    <a:cubicBezTo>
                      <a:pt x="427" y="253"/>
                      <a:pt x="428" y="251"/>
                      <a:pt x="429" y="249"/>
                    </a:cubicBezTo>
                    <a:cubicBezTo>
                      <a:pt x="430" y="248"/>
                      <a:pt x="430" y="248"/>
                      <a:pt x="430" y="247"/>
                    </a:cubicBezTo>
                    <a:cubicBezTo>
                      <a:pt x="430" y="247"/>
                      <a:pt x="431" y="246"/>
                      <a:pt x="431" y="245"/>
                    </a:cubicBezTo>
                    <a:cubicBezTo>
                      <a:pt x="432" y="243"/>
                      <a:pt x="432" y="242"/>
                      <a:pt x="432" y="240"/>
                    </a:cubicBezTo>
                    <a:cubicBezTo>
                      <a:pt x="431" y="237"/>
                      <a:pt x="431" y="237"/>
                      <a:pt x="431" y="237"/>
                    </a:cubicBezTo>
                    <a:cubicBezTo>
                      <a:pt x="430" y="235"/>
                      <a:pt x="430" y="233"/>
                      <a:pt x="430" y="232"/>
                    </a:cubicBezTo>
                    <a:cubicBezTo>
                      <a:pt x="429" y="228"/>
                      <a:pt x="429" y="224"/>
                      <a:pt x="430" y="220"/>
                    </a:cubicBezTo>
                    <a:cubicBezTo>
                      <a:pt x="430" y="220"/>
                      <a:pt x="430" y="220"/>
                      <a:pt x="430" y="220"/>
                    </a:cubicBezTo>
                    <a:cubicBezTo>
                      <a:pt x="430" y="218"/>
                      <a:pt x="430" y="217"/>
                      <a:pt x="430" y="216"/>
                    </a:cubicBezTo>
                    <a:cubicBezTo>
                      <a:pt x="430" y="209"/>
                      <a:pt x="429" y="204"/>
                      <a:pt x="427" y="199"/>
                    </a:cubicBezTo>
                    <a:cubicBezTo>
                      <a:pt x="426" y="198"/>
                      <a:pt x="426" y="197"/>
                      <a:pt x="425" y="196"/>
                    </a:cubicBezTo>
                    <a:cubicBezTo>
                      <a:pt x="422" y="191"/>
                      <a:pt x="419" y="187"/>
                      <a:pt x="418" y="184"/>
                    </a:cubicBezTo>
                    <a:cubicBezTo>
                      <a:pt x="418" y="184"/>
                      <a:pt x="418" y="183"/>
                      <a:pt x="418" y="183"/>
                    </a:cubicBezTo>
                    <a:cubicBezTo>
                      <a:pt x="418" y="182"/>
                      <a:pt x="418" y="182"/>
                      <a:pt x="419" y="181"/>
                    </a:cubicBezTo>
                    <a:cubicBezTo>
                      <a:pt x="419" y="180"/>
                      <a:pt x="419" y="180"/>
                      <a:pt x="419" y="180"/>
                    </a:cubicBezTo>
                    <a:cubicBezTo>
                      <a:pt x="421" y="179"/>
                      <a:pt x="421" y="179"/>
                      <a:pt x="421" y="179"/>
                    </a:cubicBezTo>
                    <a:cubicBezTo>
                      <a:pt x="422" y="180"/>
                      <a:pt x="422" y="180"/>
                      <a:pt x="422" y="180"/>
                    </a:cubicBezTo>
                    <a:cubicBezTo>
                      <a:pt x="421" y="179"/>
                      <a:pt x="421" y="179"/>
                      <a:pt x="421" y="179"/>
                    </a:cubicBezTo>
                    <a:cubicBezTo>
                      <a:pt x="422" y="179"/>
                      <a:pt x="422" y="179"/>
                      <a:pt x="422" y="179"/>
                    </a:cubicBezTo>
                    <a:cubicBezTo>
                      <a:pt x="422" y="179"/>
                      <a:pt x="422" y="179"/>
                      <a:pt x="422" y="179"/>
                    </a:cubicBezTo>
                    <a:cubicBezTo>
                      <a:pt x="422" y="179"/>
                      <a:pt x="422" y="179"/>
                      <a:pt x="422" y="179"/>
                    </a:cubicBezTo>
                    <a:cubicBezTo>
                      <a:pt x="412" y="136"/>
                      <a:pt x="412" y="136"/>
                      <a:pt x="412" y="136"/>
                    </a:cubicBezTo>
                    <a:cubicBezTo>
                      <a:pt x="412" y="136"/>
                      <a:pt x="412" y="135"/>
                      <a:pt x="411" y="134"/>
                    </a:cubicBezTo>
                    <a:cubicBezTo>
                      <a:pt x="411" y="134"/>
                      <a:pt x="409" y="133"/>
                      <a:pt x="408" y="132"/>
                    </a:cubicBezTo>
                    <a:cubicBezTo>
                      <a:pt x="407" y="132"/>
                      <a:pt x="407" y="131"/>
                      <a:pt x="406" y="131"/>
                    </a:cubicBezTo>
                    <a:cubicBezTo>
                      <a:pt x="399" y="125"/>
                      <a:pt x="399" y="125"/>
                      <a:pt x="399" y="125"/>
                    </a:cubicBezTo>
                    <a:cubicBezTo>
                      <a:pt x="398" y="125"/>
                      <a:pt x="398" y="124"/>
                      <a:pt x="398" y="124"/>
                    </a:cubicBezTo>
                    <a:cubicBezTo>
                      <a:pt x="396" y="123"/>
                      <a:pt x="396" y="123"/>
                      <a:pt x="396" y="123"/>
                    </a:cubicBezTo>
                    <a:cubicBezTo>
                      <a:pt x="394" y="121"/>
                      <a:pt x="394" y="118"/>
                      <a:pt x="394" y="116"/>
                    </a:cubicBezTo>
                    <a:cubicBezTo>
                      <a:pt x="394" y="115"/>
                      <a:pt x="394" y="115"/>
                      <a:pt x="394" y="115"/>
                    </a:cubicBezTo>
                    <a:cubicBezTo>
                      <a:pt x="394" y="114"/>
                      <a:pt x="394" y="114"/>
                      <a:pt x="393" y="113"/>
                    </a:cubicBezTo>
                    <a:cubicBezTo>
                      <a:pt x="393" y="112"/>
                      <a:pt x="393" y="112"/>
                      <a:pt x="393" y="112"/>
                    </a:cubicBezTo>
                    <a:cubicBezTo>
                      <a:pt x="393" y="112"/>
                      <a:pt x="393" y="112"/>
                      <a:pt x="393" y="112"/>
                    </a:cubicBezTo>
                    <a:cubicBezTo>
                      <a:pt x="392" y="110"/>
                      <a:pt x="392" y="110"/>
                      <a:pt x="392" y="110"/>
                    </a:cubicBezTo>
                    <a:cubicBezTo>
                      <a:pt x="391" y="109"/>
                      <a:pt x="389" y="107"/>
                      <a:pt x="387" y="106"/>
                    </a:cubicBezTo>
                    <a:cubicBezTo>
                      <a:pt x="385" y="103"/>
                      <a:pt x="382" y="101"/>
                      <a:pt x="380" y="97"/>
                    </a:cubicBezTo>
                    <a:cubicBezTo>
                      <a:pt x="378" y="95"/>
                      <a:pt x="376" y="90"/>
                      <a:pt x="375" y="85"/>
                    </a:cubicBezTo>
                    <a:cubicBezTo>
                      <a:pt x="374" y="80"/>
                      <a:pt x="376" y="77"/>
                      <a:pt x="378" y="76"/>
                    </a:cubicBezTo>
                    <a:cubicBezTo>
                      <a:pt x="379" y="75"/>
                      <a:pt x="379" y="75"/>
                      <a:pt x="379" y="75"/>
                    </a:cubicBezTo>
                    <a:cubicBezTo>
                      <a:pt x="380" y="73"/>
                      <a:pt x="382" y="72"/>
                      <a:pt x="385" y="70"/>
                    </a:cubicBezTo>
                    <a:cubicBezTo>
                      <a:pt x="388" y="67"/>
                      <a:pt x="391" y="64"/>
                      <a:pt x="393" y="61"/>
                    </a:cubicBezTo>
                    <a:cubicBezTo>
                      <a:pt x="395" y="58"/>
                      <a:pt x="396" y="54"/>
                      <a:pt x="397" y="49"/>
                    </a:cubicBezTo>
                    <a:cubicBezTo>
                      <a:pt x="397" y="49"/>
                      <a:pt x="397" y="48"/>
                      <a:pt x="396" y="46"/>
                    </a:cubicBezTo>
                    <a:cubicBezTo>
                      <a:pt x="396" y="46"/>
                      <a:pt x="396" y="46"/>
                      <a:pt x="396" y="46"/>
                    </a:cubicBezTo>
                    <a:cubicBezTo>
                      <a:pt x="396" y="45"/>
                      <a:pt x="396" y="45"/>
                      <a:pt x="396" y="44"/>
                    </a:cubicBezTo>
                    <a:cubicBezTo>
                      <a:pt x="395" y="41"/>
                      <a:pt x="395" y="41"/>
                      <a:pt x="395" y="41"/>
                    </a:cubicBezTo>
                    <a:cubicBezTo>
                      <a:pt x="395" y="40"/>
                      <a:pt x="395" y="39"/>
                      <a:pt x="395" y="39"/>
                    </a:cubicBezTo>
                    <a:cubicBezTo>
                      <a:pt x="395" y="38"/>
                      <a:pt x="395" y="38"/>
                      <a:pt x="395" y="38"/>
                    </a:cubicBezTo>
                    <a:cubicBezTo>
                      <a:pt x="394" y="35"/>
                      <a:pt x="393" y="31"/>
                      <a:pt x="394" y="27"/>
                    </a:cubicBezTo>
                    <a:cubicBezTo>
                      <a:pt x="395" y="22"/>
                      <a:pt x="395" y="22"/>
                      <a:pt x="395" y="22"/>
                    </a:cubicBezTo>
                    <a:cubicBezTo>
                      <a:pt x="395" y="20"/>
                      <a:pt x="395" y="20"/>
                      <a:pt x="393" y="18"/>
                    </a:cubicBezTo>
                    <a:cubicBezTo>
                      <a:pt x="390" y="15"/>
                      <a:pt x="390" y="15"/>
                      <a:pt x="390" y="15"/>
                    </a:cubicBezTo>
                    <a:cubicBezTo>
                      <a:pt x="400" y="3"/>
                      <a:pt x="400" y="3"/>
                      <a:pt x="400" y="3"/>
                    </a:cubicBezTo>
                    <a:cubicBezTo>
                      <a:pt x="396" y="4"/>
                      <a:pt x="393" y="4"/>
                      <a:pt x="389" y="4"/>
                    </a:cubicBezTo>
                    <a:cubicBezTo>
                      <a:pt x="388" y="4"/>
                      <a:pt x="386" y="5"/>
                      <a:pt x="385" y="5"/>
                    </a:cubicBezTo>
                    <a:cubicBezTo>
                      <a:pt x="385" y="5"/>
                      <a:pt x="384" y="5"/>
                      <a:pt x="384" y="4"/>
                    </a:cubicBezTo>
                    <a:cubicBezTo>
                      <a:pt x="383" y="4"/>
                      <a:pt x="384" y="2"/>
                      <a:pt x="382" y="2"/>
                    </a:cubicBezTo>
                    <a:cubicBezTo>
                      <a:pt x="379" y="1"/>
                      <a:pt x="377" y="0"/>
                      <a:pt x="374" y="0"/>
                    </a:cubicBezTo>
                    <a:cubicBezTo>
                      <a:pt x="373" y="0"/>
                      <a:pt x="371" y="0"/>
                      <a:pt x="370" y="1"/>
                    </a:cubicBezTo>
                    <a:cubicBezTo>
                      <a:pt x="368" y="2"/>
                      <a:pt x="366" y="4"/>
                      <a:pt x="364" y="4"/>
                    </a:cubicBezTo>
                    <a:cubicBezTo>
                      <a:pt x="364" y="4"/>
                      <a:pt x="364" y="4"/>
                      <a:pt x="364" y="4"/>
                    </a:cubicBezTo>
                    <a:cubicBezTo>
                      <a:pt x="363" y="4"/>
                      <a:pt x="363" y="3"/>
                      <a:pt x="361" y="3"/>
                    </a:cubicBezTo>
                    <a:cubicBezTo>
                      <a:pt x="360" y="3"/>
                      <a:pt x="359" y="3"/>
                      <a:pt x="357" y="2"/>
                    </a:cubicBezTo>
                    <a:cubicBezTo>
                      <a:pt x="354" y="1"/>
                      <a:pt x="353" y="0"/>
                      <a:pt x="3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170"/>
              <p:cNvSpPr/>
              <p:nvPr/>
            </p:nvSpPr>
            <p:spPr bwMode="auto">
              <a:xfrm>
                <a:off x="5606" y="838"/>
                <a:ext cx="227" cy="239"/>
              </a:xfrm>
              <a:custGeom>
                <a:gdLst>
                  <a:gd name="T0" fmla="*/ 77 w 96"/>
                  <a:gd name="T1" fmla="*/ 6 h 101"/>
                  <a:gd name="T2" fmla="*/ 74 w 96"/>
                  <a:gd name="T3" fmla="*/ 8 h 101"/>
                  <a:gd name="T4" fmla="*/ 70 w 96"/>
                  <a:gd name="T5" fmla="*/ 10 h 101"/>
                  <a:gd name="T6" fmla="*/ 60 w 96"/>
                  <a:gd name="T7" fmla="*/ 16 h 101"/>
                  <a:gd name="T8" fmla="*/ 55 w 96"/>
                  <a:gd name="T9" fmla="*/ 19 h 101"/>
                  <a:gd name="T10" fmla="*/ 52 w 96"/>
                  <a:gd name="T11" fmla="*/ 21 h 101"/>
                  <a:gd name="T12" fmla="*/ 49 w 96"/>
                  <a:gd name="T13" fmla="*/ 23 h 101"/>
                  <a:gd name="T14" fmla="*/ 47 w 96"/>
                  <a:gd name="T15" fmla="*/ 24 h 101"/>
                  <a:gd name="T16" fmla="*/ 46 w 96"/>
                  <a:gd name="T17" fmla="*/ 25 h 101"/>
                  <a:gd name="T18" fmla="*/ 44 w 96"/>
                  <a:gd name="T19" fmla="*/ 26 h 101"/>
                  <a:gd name="T20" fmla="*/ 43 w 96"/>
                  <a:gd name="T21" fmla="*/ 26 h 101"/>
                  <a:gd name="T22" fmla="*/ 41 w 96"/>
                  <a:gd name="T23" fmla="*/ 26 h 101"/>
                  <a:gd name="T24" fmla="*/ 39 w 96"/>
                  <a:gd name="T25" fmla="*/ 25 h 101"/>
                  <a:gd name="T26" fmla="*/ 35 w 96"/>
                  <a:gd name="T27" fmla="*/ 24 h 101"/>
                  <a:gd name="T28" fmla="*/ 30 w 96"/>
                  <a:gd name="T29" fmla="*/ 22 h 101"/>
                  <a:gd name="T30" fmla="*/ 25 w 96"/>
                  <a:gd name="T31" fmla="*/ 20 h 101"/>
                  <a:gd name="T32" fmla="*/ 21 w 96"/>
                  <a:gd name="T33" fmla="*/ 17 h 101"/>
                  <a:gd name="T34" fmla="*/ 20 w 96"/>
                  <a:gd name="T35" fmla="*/ 16 h 101"/>
                  <a:gd name="T36" fmla="*/ 19 w 96"/>
                  <a:gd name="T37" fmla="*/ 16 h 101"/>
                  <a:gd name="T38" fmla="*/ 18 w 96"/>
                  <a:gd name="T39" fmla="*/ 16 h 101"/>
                  <a:gd name="T40" fmla="*/ 18 w 96"/>
                  <a:gd name="T41" fmla="*/ 17 h 101"/>
                  <a:gd name="T42" fmla="*/ 17 w 96"/>
                  <a:gd name="T43" fmla="*/ 23 h 101"/>
                  <a:gd name="T44" fmla="*/ 13 w 96"/>
                  <a:gd name="T45" fmla="*/ 35 h 101"/>
                  <a:gd name="T46" fmla="*/ 12 w 96"/>
                  <a:gd name="T47" fmla="*/ 42 h 101"/>
                  <a:gd name="T48" fmla="*/ 14 w 96"/>
                  <a:gd name="T49" fmla="*/ 47 h 101"/>
                  <a:gd name="T50" fmla="*/ 12 w 96"/>
                  <a:gd name="T51" fmla="*/ 60 h 101"/>
                  <a:gd name="T52" fmla="*/ 9 w 96"/>
                  <a:gd name="T53" fmla="*/ 68 h 101"/>
                  <a:gd name="T54" fmla="*/ 3 w 96"/>
                  <a:gd name="T55" fmla="*/ 95 h 101"/>
                  <a:gd name="T56" fmla="*/ 0 w 96"/>
                  <a:gd name="T57" fmla="*/ 95 h 101"/>
                  <a:gd name="T58" fmla="*/ 2 w 96"/>
                  <a:gd name="T59" fmla="*/ 97 h 101"/>
                  <a:gd name="T60" fmla="*/ 2 w 96"/>
                  <a:gd name="T61" fmla="*/ 97 h 101"/>
                  <a:gd name="T62" fmla="*/ 19 w 96"/>
                  <a:gd name="T63" fmla="*/ 100 h 101"/>
                  <a:gd name="T64" fmla="*/ 20 w 96"/>
                  <a:gd name="T65" fmla="*/ 100 h 101"/>
                  <a:gd name="T66" fmla="*/ 28 w 96"/>
                  <a:gd name="T67" fmla="*/ 97 h 101"/>
                  <a:gd name="T68" fmla="*/ 29 w 96"/>
                  <a:gd name="T69" fmla="*/ 96 h 101"/>
                  <a:gd name="T70" fmla="*/ 34 w 96"/>
                  <a:gd name="T71" fmla="*/ 91 h 101"/>
                  <a:gd name="T72" fmla="*/ 47 w 96"/>
                  <a:gd name="T73" fmla="*/ 83 h 101"/>
                  <a:gd name="T74" fmla="*/ 49 w 96"/>
                  <a:gd name="T75" fmla="*/ 82 h 101"/>
                  <a:gd name="T76" fmla="*/ 53 w 96"/>
                  <a:gd name="T77" fmla="*/ 82 h 101"/>
                  <a:gd name="T78" fmla="*/ 59 w 96"/>
                  <a:gd name="T79" fmla="*/ 79 h 101"/>
                  <a:gd name="T80" fmla="*/ 68 w 96"/>
                  <a:gd name="T81" fmla="*/ 70 h 101"/>
                  <a:gd name="T82" fmla="*/ 66 w 96"/>
                  <a:gd name="T83" fmla="*/ 68 h 101"/>
                  <a:gd name="T84" fmla="*/ 64 w 96"/>
                  <a:gd name="T85" fmla="*/ 66 h 101"/>
                  <a:gd name="T86" fmla="*/ 42 w 96"/>
                  <a:gd name="T87" fmla="*/ 43 h 101"/>
                  <a:gd name="T88" fmla="*/ 54 w 96"/>
                  <a:gd name="T89" fmla="*/ 39 h 101"/>
                  <a:gd name="T90" fmla="*/ 78 w 96"/>
                  <a:gd name="T91" fmla="*/ 32 h 101"/>
                  <a:gd name="T92" fmla="*/ 84 w 96"/>
                  <a:gd name="T93" fmla="*/ 30 h 101"/>
                  <a:gd name="T94" fmla="*/ 86 w 96"/>
                  <a:gd name="T95" fmla="*/ 29 h 101"/>
                  <a:gd name="T96" fmla="*/ 94 w 96"/>
                  <a:gd name="T97" fmla="*/ 25 h 101"/>
                  <a:gd name="T98" fmla="*/ 93 w 96"/>
                  <a:gd name="T99" fmla="*/ 24 h 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100">
                    <a:moveTo>
                      <a:pt x="88" y="0"/>
                    </a:moveTo>
                    <a:cubicBezTo>
                      <a:pt x="85" y="1"/>
                      <a:pt x="81" y="4"/>
                      <a:pt x="77" y="6"/>
                    </a:cubicBezTo>
                    <a:cubicBezTo>
                      <a:pt x="76" y="6"/>
                      <a:pt x="76" y="6"/>
                      <a:pt x="76" y="6"/>
                    </a:cubicBezTo>
                    <a:cubicBezTo>
                      <a:pt x="75" y="7"/>
                      <a:pt x="74" y="7"/>
                      <a:pt x="74" y="8"/>
                    </a:cubicBezTo>
                    <a:cubicBezTo>
                      <a:pt x="73" y="8"/>
                      <a:pt x="72" y="9"/>
                      <a:pt x="71" y="9"/>
                    </a:cubicBezTo>
                    <a:cubicBezTo>
                      <a:pt x="70" y="10"/>
                      <a:pt x="70" y="10"/>
                      <a:pt x="70" y="10"/>
                    </a:cubicBezTo>
                    <a:cubicBezTo>
                      <a:pt x="69" y="11"/>
                      <a:pt x="67" y="12"/>
                      <a:pt x="65" y="13"/>
                    </a:cubicBezTo>
                    <a:cubicBezTo>
                      <a:pt x="60" y="16"/>
                      <a:pt x="60" y="16"/>
                      <a:pt x="60" y="16"/>
                    </a:cubicBezTo>
                    <a:cubicBezTo>
                      <a:pt x="58" y="17"/>
                      <a:pt x="57" y="18"/>
                      <a:pt x="56" y="18"/>
                    </a:cubicBezTo>
                    <a:cubicBezTo>
                      <a:pt x="55" y="19"/>
                      <a:pt x="55" y="19"/>
                      <a:pt x="55" y="19"/>
                    </a:cubicBezTo>
                    <a:cubicBezTo>
                      <a:pt x="55" y="19"/>
                      <a:pt x="55" y="19"/>
                      <a:pt x="55" y="19"/>
                    </a:cubicBezTo>
                    <a:cubicBezTo>
                      <a:pt x="54" y="20"/>
                      <a:pt x="53" y="20"/>
                      <a:pt x="52" y="21"/>
                    </a:cubicBezTo>
                    <a:cubicBezTo>
                      <a:pt x="51" y="22"/>
                      <a:pt x="50" y="22"/>
                      <a:pt x="50" y="23"/>
                    </a:cubicBezTo>
                    <a:cubicBezTo>
                      <a:pt x="49" y="23"/>
                      <a:pt x="49" y="23"/>
                      <a:pt x="49" y="23"/>
                    </a:cubicBezTo>
                    <a:cubicBezTo>
                      <a:pt x="48" y="24"/>
                      <a:pt x="48" y="24"/>
                      <a:pt x="48" y="24"/>
                    </a:cubicBezTo>
                    <a:cubicBezTo>
                      <a:pt x="47" y="24"/>
                      <a:pt x="47" y="24"/>
                      <a:pt x="47" y="24"/>
                    </a:cubicBezTo>
                    <a:cubicBezTo>
                      <a:pt x="47" y="25"/>
                      <a:pt x="47" y="25"/>
                      <a:pt x="46" y="25"/>
                    </a:cubicBezTo>
                    <a:cubicBezTo>
                      <a:pt x="46" y="25"/>
                      <a:pt x="46" y="25"/>
                      <a:pt x="46" y="25"/>
                    </a:cubicBezTo>
                    <a:cubicBezTo>
                      <a:pt x="45" y="25"/>
                      <a:pt x="45" y="26"/>
                      <a:pt x="44" y="26"/>
                    </a:cubicBezTo>
                    <a:cubicBezTo>
                      <a:pt x="44" y="26"/>
                      <a:pt x="44" y="26"/>
                      <a:pt x="44" y="26"/>
                    </a:cubicBezTo>
                    <a:cubicBezTo>
                      <a:pt x="43" y="26"/>
                      <a:pt x="43" y="26"/>
                      <a:pt x="43" y="26"/>
                    </a:cubicBezTo>
                    <a:cubicBezTo>
                      <a:pt x="43" y="26"/>
                      <a:pt x="43" y="26"/>
                      <a:pt x="43" y="26"/>
                    </a:cubicBezTo>
                    <a:cubicBezTo>
                      <a:pt x="42" y="26"/>
                      <a:pt x="42" y="26"/>
                      <a:pt x="42" y="26"/>
                    </a:cubicBezTo>
                    <a:cubicBezTo>
                      <a:pt x="41" y="26"/>
                      <a:pt x="41" y="26"/>
                      <a:pt x="41" y="26"/>
                    </a:cubicBezTo>
                    <a:cubicBezTo>
                      <a:pt x="41" y="26"/>
                      <a:pt x="40" y="26"/>
                      <a:pt x="39" y="25"/>
                    </a:cubicBezTo>
                    <a:cubicBezTo>
                      <a:pt x="39" y="25"/>
                      <a:pt x="39" y="25"/>
                      <a:pt x="39" y="25"/>
                    </a:cubicBezTo>
                    <a:cubicBezTo>
                      <a:pt x="38" y="25"/>
                      <a:pt x="37" y="25"/>
                      <a:pt x="35" y="24"/>
                    </a:cubicBezTo>
                    <a:cubicBezTo>
                      <a:pt x="35" y="24"/>
                      <a:pt x="35" y="24"/>
                      <a:pt x="35" y="24"/>
                    </a:cubicBezTo>
                    <a:cubicBezTo>
                      <a:pt x="34" y="24"/>
                      <a:pt x="32" y="23"/>
                      <a:pt x="31" y="23"/>
                    </a:cubicBezTo>
                    <a:cubicBezTo>
                      <a:pt x="30" y="22"/>
                      <a:pt x="30" y="22"/>
                      <a:pt x="30" y="22"/>
                    </a:cubicBezTo>
                    <a:cubicBezTo>
                      <a:pt x="29" y="22"/>
                      <a:pt x="27" y="21"/>
                      <a:pt x="25" y="20"/>
                    </a:cubicBezTo>
                    <a:cubicBezTo>
                      <a:pt x="25" y="20"/>
                      <a:pt x="25" y="20"/>
                      <a:pt x="25" y="20"/>
                    </a:cubicBezTo>
                    <a:cubicBezTo>
                      <a:pt x="24" y="19"/>
                      <a:pt x="23" y="18"/>
                      <a:pt x="22" y="18"/>
                    </a:cubicBezTo>
                    <a:cubicBezTo>
                      <a:pt x="21" y="17"/>
                      <a:pt x="21" y="17"/>
                      <a:pt x="21" y="17"/>
                    </a:cubicBezTo>
                    <a:cubicBezTo>
                      <a:pt x="21" y="17"/>
                      <a:pt x="21" y="17"/>
                      <a:pt x="21" y="17"/>
                    </a:cubicBezTo>
                    <a:cubicBezTo>
                      <a:pt x="20" y="17"/>
                      <a:pt x="20" y="17"/>
                      <a:pt x="20" y="16"/>
                    </a:cubicBezTo>
                    <a:cubicBezTo>
                      <a:pt x="19" y="16"/>
                      <a:pt x="19" y="16"/>
                      <a:pt x="19" y="16"/>
                    </a:cubicBezTo>
                    <a:cubicBezTo>
                      <a:pt x="19" y="16"/>
                      <a:pt x="19" y="16"/>
                      <a:pt x="19" y="16"/>
                    </a:cubicBezTo>
                    <a:cubicBezTo>
                      <a:pt x="18" y="16"/>
                      <a:pt x="18" y="16"/>
                      <a:pt x="18" y="16"/>
                    </a:cubicBezTo>
                    <a:cubicBezTo>
                      <a:pt x="18" y="16"/>
                      <a:pt x="18" y="16"/>
                      <a:pt x="18" y="16"/>
                    </a:cubicBezTo>
                    <a:cubicBezTo>
                      <a:pt x="18" y="16"/>
                      <a:pt x="18" y="16"/>
                      <a:pt x="18" y="16"/>
                    </a:cubicBezTo>
                    <a:cubicBezTo>
                      <a:pt x="18" y="17"/>
                      <a:pt x="18" y="17"/>
                      <a:pt x="18" y="17"/>
                    </a:cubicBezTo>
                    <a:cubicBezTo>
                      <a:pt x="18" y="18"/>
                      <a:pt x="17" y="20"/>
                      <a:pt x="17" y="21"/>
                    </a:cubicBezTo>
                    <a:cubicBezTo>
                      <a:pt x="17" y="23"/>
                      <a:pt x="17" y="23"/>
                      <a:pt x="17" y="23"/>
                    </a:cubicBezTo>
                    <a:cubicBezTo>
                      <a:pt x="14" y="23"/>
                      <a:pt x="14" y="23"/>
                      <a:pt x="14" y="23"/>
                    </a:cubicBezTo>
                    <a:cubicBezTo>
                      <a:pt x="14" y="27"/>
                      <a:pt x="14" y="31"/>
                      <a:pt x="13" y="35"/>
                    </a:cubicBezTo>
                    <a:cubicBezTo>
                      <a:pt x="13" y="35"/>
                      <a:pt x="13" y="35"/>
                      <a:pt x="13" y="35"/>
                    </a:cubicBezTo>
                    <a:cubicBezTo>
                      <a:pt x="13" y="38"/>
                      <a:pt x="13" y="40"/>
                      <a:pt x="12" y="42"/>
                    </a:cubicBezTo>
                    <a:cubicBezTo>
                      <a:pt x="15" y="43"/>
                      <a:pt x="15" y="43"/>
                      <a:pt x="15" y="43"/>
                    </a:cubicBezTo>
                    <a:cubicBezTo>
                      <a:pt x="14" y="47"/>
                      <a:pt x="14" y="47"/>
                      <a:pt x="14" y="47"/>
                    </a:cubicBezTo>
                    <a:cubicBezTo>
                      <a:pt x="14" y="51"/>
                      <a:pt x="13" y="54"/>
                      <a:pt x="13" y="56"/>
                    </a:cubicBezTo>
                    <a:cubicBezTo>
                      <a:pt x="12" y="57"/>
                      <a:pt x="12" y="59"/>
                      <a:pt x="12" y="60"/>
                    </a:cubicBezTo>
                    <a:cubicBezTo>
                      <a:pt x="11" y="62"/>
                      <a:pt x="11" y="62"/>
                      <a:pt x="11" y="62"/>
                    </a:cubicBezTo>
                    <a:cubicBezTo>
                      <a:pt x="11" y="64"/>
                      <a:pt x="10" y="66"/>
                      <a:pt x="9" y="68"/>
                    </a:cubicBezTo>
                    <a:cubicBezTo>
                      <a:pt x="8" y="75"/>
                      <a:pt x="8" y="75"/>
                      <a:pt x="8" y="75"/>
                    </a:cubicBezTo>
                    <a:cubicBezTo>
                      <a:pt x="6" y="81"/>
                      <a:pt x="4" y="88"/>
                      <a:pt x="3" y="95"/>
                    </a:cubicBezTo>
                    <a:cubicBezTo>
                      <a:pt x="3" y="96"/>
                      <a:pt x="3" y="96"/>
                      <a:pt x="3" y="96"/>
                    </a:cubicBezTo>
                    <a:cubicBezTo>
                      <a:pt x="0" y="95"/>
                      <a:pt x="0" y="95"/>
                      <a:pt x="0" y="95"/>
                    </a:cubicBezTo>
                    <a:cubicBezTo>
                      <a:pt x="1" y="97"/>
                      <a:pt x="1" y="97"/>
                      <a:pt x="1" y="97"/>
                    </a:cubicBezTo>
                    <a:cubicBezTo>
                      <a:pt x="2" y="97"/>
                      <a:pt x="2" y="97"/>
                      <a:pt x="2" y="97"/>
                    </a:cubicBezTo>
                    <a:cubicBezTo>
                      <a:pt x="2" y="97"/>
                      <a:pt x="2" y="97"/>
                      <a:pt x="2" y="97"/>
                    </a:cubicBezTo>
                    <a:cubicBezTo>
                      <a:pt x="2" y="97"/>
                      <a:pt x="2" y="97"/>
                      <a:pt x="2" y="97"/>
                    </a:cubicBezTo>
                    <a:cubicBezTo>
                      <a:pt x="3" y="97"/>
                      <a:pt x="3" y="97"/>
                      <a:pt x="3" y="97"/>
                    </a:cubicBezTo>
                    <a:cubicBezTo>
                      <a:pt x="19" y="100"/>
                      <a:pt x="19" y="100"/>
                      <a:pt x="19" y="100"/>
                    </a:cubicBezTo>
                    <a:cubicBezTo>
                      <a:pt x="19" y="100"/>
                      <a:pt x="19" y="100"/>
                      <a:pt x="20" y="100"/>
                    </a:cubicBezTo>
                    <a:cubicBezTo>
                      <a:pt x="20" y="100"/>
                      <a:pt x="20" y="100"/>
                      <a:pt x="20" y="100"/>
                    </a:cubicBezTo>
                    <a:cubicBezTo>
                      <a:pt x="23" y="101"/>
                      <a:pt x="24" y="101"/>
                      <a:pt x="25" y="101"/>
                    </a:cubicBezTo>
                    <a:cubicBezTo>
                      <a:pt x="25" y="101"/>
                      <a:pt x="26" y="100"/>
                      <a:pt x="28" y="97"/>
                    </a:cubicBezTo>
                    <a:cubicBezTo>
                      <a:pt x="29" y="96"/>
                      <a:pt x="29" y="96"/>
                      <a:pt x="29" y="96"/>
                    </a:cubicBezTo>
                    <a:cubicBezTo>
                      <a:pt x="29" y="96"/>
                      <a:pt x="29" y="96"/>
                      <a:pt x="29" y="96"/>
                    </a:cubicBezTo>
                    <a:cubicBezTo>
                      <a:pt x="32" y="93"/>
                      <a:pt x="32" y="93"/>
                      <a:pt x="32" y="93"/>
                    </a:cubicBezTo>
                    <a:cubicBezTo>
                      <a:pt x="33" y="92"/>
                      <a:pt x="33" y="91"/>
                      <a:pt x="34" y="91"/>
                    </a:cubicBezTo>
                    <a:cubicBezTo>
                      <a:pt x="36" y="88"/>
                      <a:pt x="39" y="85"/>
                      <a:pt x="43" y="83"/>
                    </a:cubicBezTo>
                    <a:cubicBezTo>
                      <a:pt x="44" y="83"/>
                      <a:pt x="45" y="83"/>
                      <a:pt x="47" y="83"/>
                    </a:cubicBezTo>
                    <a:cubicBezTo>
                      <a:pt x="48" y="82"/>
                      <a:pt x="48" y="82"/>
                      <a:pt x="48" y="82"/>
                    </a:cubicBezTo>
                    <a:cubicBezTo>
                      <a:pt x="49" y="82"/>
                      <a:pt x="49" y="82"/>
                      <a:pt x="49" y="82"/>
                    </a:cubicBezTo>
                    <a:cubicBezTo>
                      <a:pt x="51" y="82"/>
                      <a:pt x="52" y="82"/>
                      <a:pt x="53" y="82"/>
                    </a:cubicBezTo>
                    <a:cubicBezTo>
                      <a:pt x="53" y="82"/>
                      <a:pt x="53" y="82"/>
                      <a:pt x="53" y="82"/>
                    </a:cubicBezTo>
                    <a:cubicBezTo>
                      <a:pt x="55" y="81"/>
                      <a:pt x="57" y="81"/>
                      <a:pt x="58" y="81"/>
                    </a:cubicBezTo>
                    <a:cubicBezTo>
                      <a:pt x="58" y="80"/>
                      <a:pt x="58" y="80"/>
                      <a:pt x="59" y="79"/>
                    </a:cubicBezTo>
                    <a:cubicBezTo>
                      <a:pt x="59" y="79"/>
                      <a:pt x="59" y="79"/>
                      <a:pt x="59" y="79"/>
                    </a:cubicBezTo>
                    <a:cubicBezTo>
                      <a:pt x="65" y="74"/>
                      <a:pt x="67" y="71"/>
                      <a:pt x="68" y="70"/>
                    </a:cubicBezTo>
                    <a:cubicBezTo>
                      <a:pt x="68" y="70"/>
                      <a:pt x="67" y="69"/>
                      <a:pt x="67" y="69"/>
                    </a:cubicBezTo>
                    <a:cubicBezTo>
                      <a:pt x="67" y="69"/>
                      <a:pt x="66" y="68"/>
                      <a:pt x="66" y="68"/>
                    </a:cubicBezTo>
                    <a:cubicBezTo>
                      <a:pt x="65" y="67"/>
                      <a:pt x="65" y="67"/>
                      <a:pt x="65" y="67"/>
                    </a:cubicBezTo>
                    <a:cubicBezTo>
                      <a:pt x="64" y="67"/>
                      <a:pt x="64" y="66"/>
                      <a:pt x="64" y="66"/>
                    </a:cubicBezTo>
                    <a:cubicBezTo>
                      <a:pt x="57" y="59"/>
                      <a:pt x="52" y="52"/>
                      <a:pt x="46" y="46"/>
                    </a:cubicBezTo>
                    <a:cubicBezTo>
                      <a:pt x="42" y="43"/>
                      <a:pt x="42" y="43"/>
                      <a:pt x="42" y="43"/>
                    </a:cubicBezTo>
                    <a:cubicBezTo>
                      <a:pt x="47" y="41"/>
                      <a:pt x="47" y="41"/>
                      <a:pt x="47" y="41"/>
                    </a:cubicBezTo>
                    <a:cubicBezTo>
                      <a:pt x="49" y="41"/>
                      <a:pt x="52" y="40"/>
                      <a:pt x="54" y="39"/>
                    </a:cubicBezTo>
                    <a:cubicBezTo>
                      <a:pt x="54" y="39"/>
                      <a:pt x="54" y="39"/>
                      <a:pt x="54" y="39"/>
                    </a:cubicBezTo>
                    <a:cubicBezTo>
                      <a:pt x="62" y="37"/>
                      <a:pt x="70" y="35"/>
                      <a:pt x="78" y="32"/>
                    </a:cubicBezTo>
                    <a:cubicBezTo>
                      <a:pt x="79" y="32"/>
                      <a:pt x="81" y="31"/>
                      <a:pt x="83" y="31"/>
                    </a:cubicBezTo>
                    <a:cubicBezTo>
                      <a:pt x="84" y="30"/>
                      <a:pt x="84" y="30"/>
                      <a:pt x="84" y="30"/>
                    </a:cubicBezTo>
                    <a:cubicBezTo>
                      <a:pt x="85" y="30"/>
                      <a:pt x="86" y="29"/>
                      <a:pt x="88" y="29"/>
                    </a:cubicBezTo>
                    <a:cubicBezTo>
                      <a:pt x="86" y="29"/>
                      <a:pt x="86" y="29"/>
                      <a:pt x="86" y="29"/>
                    </a:cubicBezTo>
                    <a:cubicBezTo>
                      <a:pt x="96" y="26"/>
                      <a:pt x="96" y="26"/>
                      <a:pt x="96" y="26"/>
                    </a:cubicBezTo>
                    <a:cubicBezTo>
                      <a:pt x="95" y="25"/>
                      <a:pt x="95" y="25"/>
                      <a:pt x="94" y="25"/>
                    </a:cubicBezTo>
                    <a:cubicBezTo>
                      <a:pt x="94" y="24"/>
                      <a:pt x="94" y="24"/>
                      <a:pt x="94" y="24"/>
                    </a:cubicBezTo>
                    <a:cubicBezTo>
                      <a:pt x="93" y="24"/>
                      <a:pt x="93" y="24"/>
                      <a:pt x="93" y="24"/>
                    </a:cubicBezTo>
                    <a:cubicBezTo>
                      <a:pt x="88" y="0"/>
                      <a:pt x="88" y="0"/>
                      <a:pt x="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171"/>
              <p:cNvSpPr/>
              <p:nvPr/>
            </p:nvSpPr>
            <p:spPr bwMode="auto">
              <a:xfrm>
                <a:off x="5826" y="580"/>
                <a:ext cx="536" cy="504"/>
              </a:xfrm>
              <a:custGeom>
                <a:gdLst>
                  <a:gd name="T0" fmla="*/ 84 w 227"/>
                  <a:gd name="T1" fmla="*/ 7 h 213"/>
                  <a:gd name="T2" fmla="*/ 71 w 227"/>
                  <a:gd name="T3" fmla="*/ 19 h 213"/>
                  <a:gd name="T4" fmla="*/ 63 w 227"/>
                  <a:gd name="T5" fmla="*/ 22 h 213"/>
                  <a:gd name="T6" fmla="*/ 59 w 227"/>
                  <a:gd name="T7" fmla="*/ 39 h 213"/>
                  <a:gd name="T8" fmla="*/ 58 w 227"/>
                  <a:gd name="T9" fmla="*/ 52 h 213"/>
                  <a:gd name="T10" fmla="*/ 57 w 227"/>
                  <a:gd name="T11" fmla="*/ 64 h 213"/>
                  <a:gd name="T12" fmla="*/ 44 w 227"/>
                  <a:gd name="T13" fmla="*/ 82 h 213"/>
                  <a:gd name="T14" fmla="*/ 34 w 227"/>
                  <a:gd name="T15" fmla="*/ 87 h 213"/>
                  <a:gd name="T16" fmla="*/ 0 w 227"/>
                  <a:gd name="T17" fmla="*/ 106 h 213"/>
                  <a:gd name="T18" fmla="*/ 10 w 227"/>
                  <a:gd name="T19" fmla="*/ 131 h 213"/>
                  <a:gd name="T20" fmla="*/ 35 w 227"/>
                  <a:gd name="T21" fmla="*/ 139 h 213"/>
                  <a:gd name="T22" fmla="*/ 70 w 227"/>
                  <a:gd name="T23" fmla="*/ 158 h 213"/>
                  <a:gd name="T24" fmla="*/ 109 w 227"/>
                  <a:gd name="T25" fmla="*/ 187 h 213"/>
                  <a:gd name="T26" fmla="*/ 140 w 227"/>
                  <a:gd name="T27" fmla="*/ 210 h 213"/>
                  <a:gd name="T28" fmla="*/ 174 w 227"/>
                  <a:gd name="T29" fmla="*/ 213 h 213"/>
                  <a:gd name="T30" fmla="*/ 178 w 227"/>
                  <a:gd name="T31" fmla="*/ 212 h 213"/>
                  <a:gd name="T32" fmla="*/ 187 w 227"/>
                  <a:gd name="T33" fmla="*/ 197 h 213"/>
                  <a:gd name="T34" fmla="*/ 209 w 227"/>
                  <a:gd name="T35" fmla="*/ 188 h 213"/>
                  <a:gd name="T36" fmla="*/ 221 w 227"/>
                  <a:gd name="T37" fmla="*/ 191 h 213"/>
                  <a:gd name="T38" fmla="*/ 221 w 227"/>
                  <a:gd name="T39" fmla="*/ 192 h 213"/>
                  <a:gd name="T40" fmla="*/ 227 w 227"/>
                  <a:gd name="T41" fmla="*/ 195 h 213"/>
                  <a:gd name="T42" fmla="*/ 217 w 227"/>
                  <a:gd name="T43" fmla="*/ 185 h 213"/>
                  <a:gd name="T44" fmla="*/ 212 w 227"/>
                  <a:gd name="T45" fmla="*/ 175 h 213"/>
                  <a:gd name="T46" fmla="*/ 209 w 227"/>
                  <a:gd name="T47" fmla="*/ 169 h 213"/>
                  <a:gd name="T48" fmla="*/ 204 w 227"/>
                  <a:gd name="T49" fmla="*/ 166 h 213"/>
                  <a:gd name="T50" fmla="*/ 206 w 227"/>
                  <a:gd name="T51" fmla="*/ 150 h 213"/>
                  <a:gd name="T52" fmla="*/ 207 w 227"/>
                  <a:gd name="T53" fmla="*/ 147 h 213"/>
                  <a:gd name="T54" fmla="*/ 202 w 227"/>
                  <a:gd name="T55" fmla="*/ 138 h 213"/>
                  <a:gd name="T56" fmla="*/ 198 w 227"/>
                  <a:gd name="T57" fmla="*/ 131 h 213"/>
                  <a:gd name="T58" fmla="*/ 194 w 227"/>
                  <a:gd name="T59" fmla="*/ 130 h 213"/>
                  <a:gd name="T60" fmla="*/ 175 w 227"/>
                  <a:gd name="T61" fmla="*/ 119 h 213"/>
                  <a:gd name="T62" fmla="*/ 167 w 227"/>
                  <a:gd name="T63" fmla="*/ 116 h 213"/>
                  <a:gd name="T64" fmla="*/ 163 w 227"/>
                  <a:gd name="T65" fmla="*/ 105 h 213"/>
                  <a:gd name="T66" fmla="*/ 162 w 227"/>
                  <a:gd name="T67" fmla="*/ 101 h 213"/>
                  <a:gd name="T68" fmla="*/ 152 w 227"/>
                  <a:gd name="T69" fmla="*/ 93 h 213"/>
                  <a:gd name="T70" fmla="*/ 153 w 227"/>
                  <a:gd name="T71" fmla="*/ 81 h 213"/>
                  <a:gd name="T72" fmla="*/ 153 w 227"/>
                  <a:gd name="T73" fmla="*/ 78 h 213"/>
                  <a:gd name="T74" fmla="*/ 158 w 227"/>
                  <a:gd name="T75" fmla="*/ 69 h 213"/>
                  <a:gd name="T76" fmla="*/ 167 w 227"/>
                  <a:gd name="T77" fmla="*/ 56 h 213"/>
                  <a:gd name="T78" fmla="*/ 166 w 227"/>
                  <a:gd name="T79" fmla="*/ 53 h 213"/>
                  <a:gd name="T80" fmla="*/ 164 w 227"/>
                  <a:gd name="T81" fmla="*/ 46 h 213"/>
                  <a:gd name="T82" fmla="*/ 163 w 227"/>
                  <a:gd name="T83" fmla="*/ 42 h 213"/>
                  <a:gd name="T84" fmla="*/ 155 w 227"/>
                  <a:gd name="T85" fmla="*/ 37 h 213"/>
                  <a:gd name="T86" fmla="*/ 152 w 227"/>
                  <a:gd name="T87" fmla="*/ 37 h 213"/>
                  <a:gd name="T88" fmla="*/ 147 w 227"/>
                  <a:gd name="T89" fmla="*/ 26 h 213"/>
                  <a:gd name="T90" fmla="*/ 142 w 227"/>
                  <a:gd name="T91" fmla="*/ 22 h 213"/>
                  <a:gd name="T92" fmla="*/ 141 w 227"/>
                  <a:gd name="T93" fmla="*/ 16 h 213"/>
                  <a:gd name="T94" fmla="*/ 138 w 227"/>
                  <a:gd name="T95" fmla="*/ 9 h 213"/>
                  <a:gd name="T96" fmla="*/ 133 w 227"/>
                  <a:gd name="T97" fmla="*/ 8 h 213"/>
                  <a:gd name="T98" fmla="*/ 127 w 227"/>
                  <a:gd name="T99" fmla="*/ 10 h 213"/>
                  <a:gd name="T100" fmla="*/ 123 w 227"/>
                  <a:gd name="T101" fmla="*/ 4 h 213"/>
                  <a:gd name="T102" fmla="*/ 115 w 227"/>
                  <a:gd name="T103" fmla="*/ 3 h 213"/>
                  <a:gd name="T104" fmla="*/ 98 w 227"/>
                  <a:gd name="T105" fmla="*/ 0 h 2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6" h="213">
                    <a:moveTo>
                      <a:pt x="96" y="0"/>
                    </a:moveTo>
                    <a:cubicBezTo>
                      <a:pt x="92" y="0"/>
                      <a:pt x="90" y="1"/>
                      <a:pt x="86" y="4"/>
                    </a:cubicBezTo>
                    <a:cubicBezTo>
                      <a:pt x="84" y="6"/>
                      <a:pt x="84" y="6"/>
                      <a:pt x="84" y="6"/>
                    </a:cubicBezTo>
                    <a:cubicBezTo>
                      <a:pt x="84" y="7"/>
                      <a:pt x="84" y="7"/>
                      <a:pt x="84" y="7"/>
                    </a:cubicBezTo>
                    <a:cubicBezTo>
                      <a:pt x="84" y="7"/>
                      <a:pt x="83" y="8"/>
                      <a:pt x="83" y="8"/>
                    </a:cubicBezTo>
                    <a:cubicBezTo>
                      <a:pt x="82" y="9"/>
                      <a:pt x="82" y="9"/>
                      <a:pt x="82" y="9"/>
                    </a:cubicBezTo>
                    <a:cubicBezTo>
                      <a:pt x="80" y="11"/>
                      <a:pt x="80" y="11"/>
                      <a:pt x="80" y="11"/>
                    </a:cubicBezTo>
                    <a:cubicBezTo>
                      <a:pt x="77" y="14"/>
                      <a:pt x="74" y="16"/>
                      <a:pt x="71" y="19"/>
                    </a:cubicBezTo>
                    <a:cubicBezTo>
                      <a:pt x="70" y="20"/>
                      <a:pt x="69" y="21"/>
                      <a:pt x="68" y="21"/>
                    </a:cubicBezTo>
                    <a:cubicBezTo>
                      <a:pt x="69" y="27"/>
                      <a:pt x="69" y="27"/>
                      <a:pt x="69" y="27"/>
                    </a:cubicBezTo>
                    <a:cubicBezTo>
                      <a:pt x="66" y="22"/>
                      <a:pt x="66" y="22"/>
                      <a:pt x="66" y="22"/>
                    </a:cubicBezTo>
                    <a:cubicBezTo>
                      <a:pt x="63" y="22"/>
                      <a:pt x="63" y="22"/>
                      <a:pt x="63" y="22"/>
                    </a:cubicBezTo>
                    <a:cubicBezTo>
                      <a:pt x="62" y="22"/>
                      <a:pt x="62" y="23"/>
                      <a:pt x="62" y="23"/>
                    </a:cubicBezTo>
                    <a:cubicBezTo>
                      <a:pt x="61" y="23"/>
                      <a:pt x="60" y="23"/>
                      <a:pt x="60" y="23"/>
                    </a:cubicBezTo>
                    <a:cubicBezTo>
                      <a:pt x="60" y="24"/>
                      <a:pt x="60" y="24"/>
                      <a:pt x="60" y="25"/>
                    </a:cubicBezTo>
                    <a:cubicBezTo>
                      <a:pt x="58" y="29"/>
                      <a:pt x="58" y="34"/>
                      <a:pt x="59" y="39"/>
                    </a:cubicBezTo>
                    <a:cubicBezTo>
                      <a:pt x="59" y="39"/>
                      <a:pt x="59" y="39"/>
                      <a:pt x="59" y="39"/>
                    </a:cubicBezTo>
                    <a:cubicBezTo>
                      <a:pt x="59" y="42"/>
                      <a:pt x="60" y="44"/>
                      <a:pt x="59" y="47"/>
                    </a:cubicBezTo>
                    <a:cubicBezTo>
                      <a:pt x="59" y="49"/>
                      <a:pt x="59" y="50"/>
                      <a:pt x="58" y="52"/>
                    </a:cubicBezTo>
                    <a:cubicBezTo>
                      <a:pt x="58" y="52"/>
                      <a:pt x="58" y="52"/>
                      <a:pt x="58" y="52"/>
                    </a:cubicBezTo>
                    <a:cubicBezTo>
                      <a:pt x="57" y="54"/>
                      <a:pt x="57" y="57"/>
                      <a:pt x="57" y="59"/>
                    </a:cubicBezTo>
                    <a:cubicBezTo>
                      <a:pt x="57" y="60"/>
                      <a:pt x="57" y="61"/>
                      <a:pt x="57" y="63"/>
                    </a:cubicBezTo>
                    <a:cubicBezTo>
                      <a:pt x="57" y="63"/>
                      <a:pt x="57" y="63"/>
                      <a:pt x="57" y="63"/>
                    </a:cubicBezTo>
                    <a:cubicBezTo>
                      <a:pt x="57" y="64"/>
                      <a:pt x="57" y="64"/>
                      <a:pt x="57" y="64"/>
                    </a:cubicBezTo>
                    <a:cubicBezTo>
                      <a:pt x="57" y="66"/>
                      <a:pt x="57" y="68"/>
                      <a:pt x="56" y="69"/>
                    </a:cubicBezTo>
                    <a:cubicBezTo>
                      <a:pt x="55" y="72"/>
                      <a:pt x="53" y="76"/>
                      <a:pt x="52" y="78"/>
                    </a:cubicBezTo>
                    <a:cubicBezTo>
                      <a:pt x="50" y="79"/>
                      <a:pt x="48" y="80"/>
                      <a:pt x="46" y="81"/>
                    </a:cubicBezTo>
                    <a:cubicBezTo>
                      <a:pt x="45" y="81"/>
                      <a:pt x="44" y="81"/>
                      <a:pt x="44" y="82"/>
                    </a:cubicBezTo>
                    <a:cubicBezTo>
                      <a:pt x="42" y="82"/>
                      <a:pt x="41" y="83"/>
                      <a:pt x="39" y="83"/>
                    </a:cubicBezTo>
                    <a:cubicBezTo>
                      <a:pt x="35" y="86"/>
                      <a:pt x="35" y="86"/>
                      <a:pt x="35" y="86"/>
                    </a:cubicBezTo>
                    <a:cubicBezTo>
                      <a:pt x="37" y="89"/>
                      <a:pt x="37" y="89"/>
                      <a:pt x="37" y="89"/>
                    </a:cubicBezTo>
                    <a:cubicBezTo>
                      <a:pt x="34" y="87"/>
                      <a:pt x="34" y="87"/>
                      <a:pt x="34" y="87"/>
                    </a:cubicBezTo>
                    <a:cubicBezTo>
                      <a:pt x="29" y="89"/>
                      <a:pt x="29" y="89"/>
                      <a:pt x="29" y="89"/>
                    </a:cubicBezTo>
                    <a:cubicBezTo>
                      <a:pt x="26" y="91"/>
                      <a:pt x="22" y="93"/>
                      <a:pt x="19" y="95"/>
                    </a:cubicBezTo>
                    <a:cubicBezTo>
                      <a:pt x="14" y="98"/>
                      <a:pt x="9" y="101"/>
                      <a:pt x="4" y="104"/>
                    </a:cubicBezTo>
                    <a:cubicBezTo>
                      <a:pt x="0" y="106"/>
                      <a:pt x="0" y="106"/>
                      <a:pt x="0" y="106"/>
                    </a:cubicBezTo>
                    <a:cubicBezTo>
                      <a:pt x="1" y="106"/>
                      <a:pt x="1" y="106"/>
                      <a:pt x="1" y="106"/>
                    </a:cubicBezTo>
                    <a:cubicBezTo>
                      <a:pt x="6" y="130"/>
                      <a:pt x="6" y="130"/>
                      <a:pt x="6" y="130"/>
                    </a:cubicBezTo>
                    <a:cubicBezTo>
                      <a:pt x="7" y="130"/>
                      <a:pt x="8" y="130"/>
                      <a:pt x="9" y="131"/>
                    </a:cubicBezTo>
                    <a:cubicBezTo>
                      <a:pt x="9" y="131"/>
                      <a:pt x="10" y="131"/>
                      <a:pt x="10" y="131"/>
                    </a:cubicBezTo>
                    <a:cubicBezTo>
                      <a:pt x="11" y="132"/>
                      <a:pt x="11" y="132"/>
                      <a:pt x="11" y="132"/>
                    </a:cubicBezTo>
                    <a:cubicBezTo>
                      <a:pt x="13" y="134"/>
                      <a:pt x="13" y="134"/>
                      <a:pt x="13" y="134"/>
                    </a:cubicBezTo>
                    <a:cubicBezTo>
                      <a:pt x="12" y="135"/>
                      <a:pt x="12" y="135"/>
                      <a:pt x="12" y="135"/>
                    </a:cubicBezTo>
                    <a:cubicBezTo>
                      <a:pt x="35" y="139"/>
                      <a:pt x="35" y="139"/>
                      <a:pt x="35" y="139"/>
                    </a:cubicBezTo>
                    <a:cubicBezTo>
                      <a:pt x="38" y="139"/>
                      <a:pt x="41" y="141"/>
                      <a:pt x="43" y="143"/>
                    </a:cubicBezTo>
                    <a:cubicBezTo>
                      <a:pt x="43" y="143"/>
                      <a:pt x="44" y="144"/>
                      <a:pt x="44" y="144"/>
                    </a:cubicBezTo>
                    <a:cubicBezTo>
                      <a:pt x="51" y="148"/>
                      <a:pt x="57" y="152"/>
                      <a:pt x="64" y="155"/>
                    </a:cubicBezTo>
                    <a:cubicBezTo>
                      <a:pt x="66" y="156"/>
                      <a:pt x="68" y="157"/>
                      <a:pt x="70" y="158"/>
                    </a:cubicBezTo>
                    <a:cubicBezTo>
                      <a:pt x="76" y="162"/>
                      <a:pt x="76" y="162"/>
                      <a:pt x="76" y="162"/>
                    </a:cubicBezTo>
                    <a:cubicBezTo>
                      <a:pt x="82" y="165"/>
                      <a:pt x="87" y="170"/>
                      <a:pt x="92" y="174"/>
                    </a:cubicBezTo>
                    <a:cubicBezTo>
                      <a:pt x="96" y="177"/>
                      <a:pt x="99" y="180"/>
                      <a:pt x="102" y="182"/>
                    </a:cubicBezTo>
                    <a:cubicBezTo>
                      <a:pt x="104" y="184"/>
                      <a:pt x="106" y="186"/>
                      <a:pt x="109" y="187"/>
                    </a:cubicBezTo>
                    <a:cubicBezTo>
                      <a:pt x="119" y="195"/>
                      <a:pt x="119" y="195"/>
                      <a:pt x="119" y="195"/>
                    </a:cubicBezTo>
                    <a:cubicBezTo>
                      <a:pt x="121" y="197"/>
                      <a:pt x="124" y="199"/>
                      <a:pt x="126" y="201"/>
                    </a:cubicBezTo>
                    <a:cubicBezTo>
                      <a:pt x="130" y="204"/>
                      <a:pt x="134" y="207"/>
                      <a:pt x="137" y="209"/>
                    </a:cubicBezTo>
                    <a:cubicBezTo>
                      <a:pt x="138" y="210"/>
                      <a:pt x="139" y="210"/>
                      <a:pt x="140" y="210"/>
                    </a:cubicBezTo>
                    <a:cubicBezTo>
                      <a:pt x="141" y="210"/>
                      <a:pt x="141" y="210"/>
                      <a:pt x="141" y="210"/>
                    </a:cubicBezTo>
                    <a:cubicBezTo>
                      <a:pt x="173" y="213"/>
                      <a:pt x="173" y="213"/>
                      <a:pt x="173" y="213"/>
                    </a:cubicBezTo>
                    <a:cubicBezTo>
                      <a:pt x="174" y="213"/>
                      <a:pt x="174" y="213"/>
                      <a:pt x="174" y="213"/>
                    </a:cubicBezTo>
                    <a:cubicBezTo>
                      <a:pt x="174" y="213"/>
                      <a:pt x="174" y="213"/>
                      <a:pt x="174" y="213"/>
                    </a:cubicBezTo>
                    <a:cubicBezTo>
                      <a:pt x="175" y="213"/>
                      <a:pt x="176" y="213"/>
                      <a:pt x="176" y="213"/>
                    </a:cubicBezTo>
                    <a:cubicBezTo>
                      <a:pt x="176" y="213"/>
                      <a:pt x="176" y="213"/>
                      <a:pt x="176" y="213"/>
                    </a:cubicBezTo>
                    <a:cubicBezTo>
                      <a:pt x="176" y="213"/>
                      <a:pt x="176" y="213"/>
                      <a:pt x="176" y="213"/>
                    </a:cubicBezTo>
                    <a:cubicBezTo>
                      <a:pt x="177" y="213"/>
                      <a:pt x="177" y="213"/>
                      <a:pt x="178" y="212"/>
                    </a:cubicBezTo>
                    <a:cubicBezTo>
                      <a:pt x="178" y="212"/>
                      <a:pt x="178" y="212"/>
                      <a:pt x="178" y="212"/>
                    </a:cubicBezTo>
                    <a:cubicBezTo>
                      <a:pt x="181" y="208"/>
                      <a:pt x="183" y="204"/>
                      <a:pt x="185" y="200"/>
                    </a:cubicBezTo>
                    <a:cubicBezTo>
                      <a:pt x="186" y="200"/>
                      <a:pt x="186" y="199"/>
                      <a:pt x="187" y="198"/>
                    </a:cubicBezTo>
                    <a:cubicBezTo>
                      <a:pt x="187" y="197"/>
                      <a:pt x="187" y="197"/>
                      <a:pt x="187" y="197"/>
                    </a:cubicBezTo>
                    <a:cubicBezTo>
                      <a:pt x="189" y="194"/>
                      <a:pt x="191" y="191"/>
                      <a:pt x="193" y="189"/>
                    </a:cubicBezTo>
                    <a:cubicBezTo>
                      <a:pt x="195" y="188"/>
                      <a:pt x="197" y="187"/>
                      <a:pt x="199" y="186"/>
                    </a:cubicBezTo>
                    <a:cubicBezTo>
                      <a:pt x="200" y="186"/>
                      <a:pt x="201" y="186"/>
                      <a:pt x="202" y="186"/>
                    </a:cubicBezTo>
                    <a:cubicBezTo>
                      <a:pt x="204" y="186"/>
                      <a:pt x="207" y="187"/>
                      <a:pt x="209" y="188"/>
                    </a:cubicBezTo>
                    <a:cubicBezTo>
                      <a:pt x="209" y="185"/>
                      <a:pt x="209" y="185"/>
                      <a:pt x="209" y="185"/>
                    </a:cubicBezTo>
                    <a:cubicBezTo>
                      <a:pt x="214" y="188"/>
                      <a:pt x="214" y="188"/>
                      <a:pt x="214" y="188"/>
                    </a:cubicBezTo>
                    <a:cubicBezTo>
                      <a:pt x="216" y="189"/>
                      <a:pt x="219" y="191"/>
                      <a:pt x="220" y="191"/>
                    </a:cubicBezTo>
                    <a:cubicBezTo>
                      <a:pt x="221" y="191"/>
                      <a:pt x="221" y="191"/>
                      <a:pt x="221" y="191"/>
                    </a:cubicBezTo>
                    <a:cubicBezTo>
                      <a:pt x="221" y="191"/>
                      <a:pt x="221" y="191"/>
                      <a:pt x="221" y="191"/>
                    </a:cubicBezTo>
                    <a:cubicBezTo>
                      <a:pt x="221" y="192"/>
                      <a:pt x="221" y="192"/>
                      <a:pt x="221" y="192"/>
                    </a:cubicBezTo>
                    <a:cubicBezTo>
                      <a:pt x="221" y="192"/>
                      <a:pt x="221" y="192"/>
                      <a:pt x="221" y="192"/>
                    </a:cubicBezTo>
                    <a:cubicBezTo>
                      <a:pt x="221" y="192"/>
                      <a:pt x="221" y="192"/>
                      <a:pt x="221" y="192"/>
                    </a:cubicBezTo>
                    <a:cubicBezTo>
                      <a:pt x="223" y="195"/>
                      <a:pt x="223" y="195"/>
                      <a:pt x="223" y="195"/>
                    </a:cubicBezTo>
                    <a:cubicBezTo>
                      <a:pt x="224" y="195"/>
                      <a:pt x="225" y="195"/>
                      <a:pt x="226" y="195"/>
                    </a:cubicBezTo>
                    <a:cubicBezTo>
                      <a:pt x="227" y="195"/>
                      <a:pt x="227" y="195"/>
                      <a:pt x="227" y="195"/>
                    </a:cubicBezTo>
                    <a:cubicBezTo>
                      <a:pt x="227" y="195"/>
                      <a:pt x="227" y="195"/>
                      <a:pt x="227" y="195"/>
                    </a:cubicBezTo>
                    <a:cubicBezTo>
                      <a:pt x="224" y="193"/>
                      <a:pt x="222" y="191"/>
                      <a:pt x="221" y="189"/>
                    </a:cubicBezTo>
                    <a:cubicBezTo>
                      <a:pt x="220" y="189"/>
                      <a:pt x="220" y="189"/>
                      <a:pt x="220" y="189"/>
                    </a:cubicBezTo>
                    <a:cubicBezTo>
                      <a:pt x="220" y="188"/>
                      <a:pt x="220" y="188"/>
                      <a:pt x="220" y="188"/>
                    </a:cubicBezTo>
                    <a:cubicBezTo>
                      <a:pt x="219" y="187"/>
                      <a:pt x="218" y="186"/>
                      <a:pt x="217" y="185"/>
                    </a:cubicBezTo>
                    <a:cubicBezTo>
                      <a:pt x="216" y="184"/>
                      <a:pt x="216" y="183"/>
                      <a:pt x="215" y="183"/>
                    </a:cubicBezTo>
                    <a:cubicBezTo>
                      <a:pt x="213" y="182"/>
                      <a:pt x="212" y="181"/>
                      <a:pt x="212" y="179"/>
                    </a:cubicBezTo>
                    <a:cubicBezTo>
                      <a:pt x="212" y="178"/>
                      <a:pt x="212" y="178"/>
                      <a:pt x="212" y="178"/>
                    </a:cubicBezTo>
                    <a:cubicBezTo>
                      <a:pt x="212" y="177"/>
                      <a:pt x="212" y="176"/>
                      <a:pt x="212" y="175"/>
                    </a:cubicBezTo>
                    <a:cubicBezTo>
                      <a:pt x="212" y="174"/>
                      <a:pt x="212" y="174"/>
                      <a:pt x="212" y="174"/>
                    </a:cubicBezTo>
                    <a:cubicBezTo>
                      <a:pt x="212" y="173"/>
                      <a:pt x="212" y="171"/>
                      <a:pt x="212" y="169"/>
                    </a:cubicBezTo>
                    <a:cubicBezTo>
                      <a:pt x="212" y="169"/>
                      <a:pt x="212" y="169"/>
                      <a:pt x="212" y="169"/>
                    </a:cubicBezTo>
                    <a:cubicBezTo>
                      <a:pt x="211" y="169"/>
                      <a:pt x="210" y="169"/>
                      <a:pt x="209" y="169"/>
                    </a:cubicBezTo>
                    <a:cubicBezTo>
                      <a:pt x="208" y="169"/>
                      <a:pt x="208" y="169"/>
                      <a:pt x="208" y="169"/>
                    </a:cubicBezTo>
                    <a:cubicBezTo>
                      <a:pt x="207" y="169"/>
                      <a:pt x="207" y="169"/>
                      <a:pt x="206" y="169"/>
                    </a:cubicBezTo>
                    <a:cubicBezTo>
                      <a:pt x="203" y="169"/>
                      <a:pt x="203" y="169"/>
                      <a:pt x="203" y="169"/>
                    </a:cubicBezTo>
                    <a:cubicBezTo>
                      <a:pt x="204" y="166"/>
                      <a:pt x="204" y="166"/>
                      <a:pt x="204" y="166"/>
                    </a:cubicBezTo>
                    <a:cubicBezTo>
                      <a:pt x="204" y="164"/>
                      <a:pt x="204" y="161"/>
                      <a:pt x="204" y="158"/>
                    </a:cubicBezTo>
                    <a:cubicBezTo>
                      <a:pt x="204" y="157"/>
                      <a:pt x="204" y="155"/>
                      <a:pt x="204" y="154"/>
                    </a:cubicBezTo>
                    <a:cubicBezTo>
                      <a:pt x="204" y="153"/>
                      <a:pt x="204" y="153"/>
                      <a:pt x="205" y="152"/>
                    </a:cubicBezTo>
                    <a:cubicBezTo>
                      <a:pt x="206" y="150"/>
                      <a:pt x="206" y="150"/>
                      <a:pt x="206" y="150"/>
                    </a:cubicBezTo>
                    <a:cubicBezTo>
                      <a:pt x="206" y="149"/>
                      <a:pt x="206" y="149"/>
                      <a:pt x="207" y="148"/>
                    </a:cubicBezTo>
                    <a:cubicBezTo>
                      <a:pt x="201" y="146"/>
                      <a:pt x="201" y="146"/>
                      <a:pt x="201" y="146"/>
                    </a:cubicBezTo>
                    <a:cubicBezTo>
                      <a:pt x="207" y="147"/>
                      <a:pt x="207" y="147"/>
                      <a:pt x="207" y="147"/>
                    </a:cubicBezTo>
                    <a:cubicBezTo>
                      <a:pt x="207" y="147"/>
                      <a:pt x="207" y="147"/>
                      <a:pt x="207" y="147"/>
                    </a:cubicBezTo>
                    <a:cubicBezTo>
                      <a:pt x="207" y="146"/>
                      <a:pt x="207" y="146"/>
                      <a:pt x="207" y="146"/>
                    </a:cubicBezTo>
                    <a:cubicBezTo>
                      <a:pt x="207" y="146"/>
                      <a:pt x="207" y="146"/>
                      <a:pt x="207" y="146"/>
                    </a:cubicBezTo>
                    <a:cubicBezTo>
                      <a:pt x="207" y="146"/>
                      <a:pt x="207" y="145"/>
                      <a:pt x="205" y="142"/>
                    </a:cubicBezTo>
                    <a:cubicBezTo>
                      <a:pt x="204" y="140"/>
                      <a:pt x="203" y="139"/>
                      <a:pt x="202" y="138"/>
                    </a:cubicBezTo>
                    <a:cubicBezTo>
                      <a:pt x="202" y="138"/>
                      <a:pt x="202" y="138"/>
                      <a:pt x="202" y="138"/>
                    </a:cubicBezTo>
                    <a:cubicBezTo>
                      <a:pt x="196" y="141"/>
                      <a:pt x="196" y="141"/>
                      <a:pt x="196" y="141"/>
                    </a:cubicBezTo>
                    <a:cubicBezTo>
                      <a:pt x="201" y="136"/>
                      <a:pt x="201" y="136"/>
                      <a:pt x="201" y="136"/>
                    </a:cubicBezTo>
                    <a:cubicBezTo>
                      <a:pt x="200" y="134"/>
                      <a:pt x="199" y="132"/>
                      <a:pt x="198" y="131"/>
                    </a:cubicBezTo>
                    <a:cubicBezTo>
                      <a:pt x="197" y="130"/>
                      <a:pt x="196" y="130"/>
                      <a:pt x="196" y="130"/>
                    </a:cubicBezTo>
                    <a:cubicBezTo>
                      <a:pt x="196" y="130"/>
                      <a:pt x="196" y="130"/>
                      <a:pt x="196" y="130"/>
                    </a:cubicBezTo>
                    <a:cubicBezTo>
                      <a:pt x="196" y="130"/>
                      <a:pt x="195" y="130"/>
                      <a:pt x="195" y="130"/>
                    </a:cubicBezTo>
                    <a:cubicBezTo>
                      <a:pt x="195" y="130"/>
                      <a:pt x="194" y="130"/>
                      <a:pt x="194" y="130"/>
                    </a:cubicBezTo>
                    <a:cubicBezTo>
                      <a:pt x="193" y="130"/>
                      <a:pt x="192" y="130"/>
                      <a:pt x="191" y="130"/>
                    </a:cubicBezTo>
                    <a:cubicBezTo>
                      <a:pt x="191" y="130"/>
                      <a:pt x="190" y="129"/>
                      <a:pt x="190" y="129"/>
                    </a:cubicBezTo>
                    <a:cubicBezTo>
                      <a:pt x="179" y="121"/>
                      <a:pt x="179" y="121"/>
                      <a:pt x="179" y="121"/>
                    </a:cubicBezTo>
                    <a:cubicBezTo>
                      <a:pt x="178" y="120"/>
                      <a:pt x="177" y="119"/>
                      <a:pt x="175" y="119"/>
                    </a:cubicBezTo>
                    <a:cubicBezTo>
                      <a:pt x="174" y="118"/>
                      <a:pt x="173" y="118"/>
                      <a:pt x="173" y="118"/>
                    </a:cubicBezTo>
                    <a:cubicBezTo>
                      <a:pt x="172" y="118"/>
                      <a:pt x="172" y="118"/>
                      <a:pt x="172" y="118"/>
                    </a:cubicBezTo>
                    <a:cubicBezTo>
                      <a:pt x="170" y="118"/>
                      <a:pt x="169" y="117"/>
                      <a:pt x="168" y="117"/>
                    </a:cubicBezTo>
                    <a:cubicBezTo>
                      <a:pt x="167" y="116"/>
                      <a:pt x="167" y="116"/>
                      <a:pt x="167" y="116"/>
                    </a:cubicBezTo>
                    <a:cubicBezTo>
                      <a:pt x="166" y="115"/>
                      <a:pt x="166" y="115"/>
                      <a:pt x="165" y="113"/>
                    </a:cubicBezTo>
                    <a:cubicBezTo>
                      <a:pt x="164" y="112"/>
                      <a:pt x="164" y="110"/>
                      <a:pt x="164" y="108"/>
                    </a:cubicBezTo>
                    <a:cubicBezTo>
                      <a:pt x="164" y="107"/>
                      <a:pt x="164" y="107"/>
                      <a:pt x="164" y="107"/>
                    </a:cubicBezTo>
                    <a:cubicBezTo>
                      <a:pt x="164" y="106"/>
                      <a:pt x="163" y="105"/>
                      <a:pt x="163" y="105"/>
                    </a:cubicBezTo>
                    <a:cubicBezTo>
                      <a:pt x="163" y="105"/>
                      <a:pt x="163" y="104"/>
                      <a:pt x="163" y="103"/>
                    </a:cubicBezTo>
                    <a:cubicBezTo>
                      <a:pt x="163" y="102"/>
                      <a:pt x="163" y="102"/>
                      <a:pt x="163" y="102"/>
                    </a:cubicBezTo>
                    <a:cubicBezTo>
                      <a:pt x="163" y="101"/>
                      <a:pt x="163" y="101"/>
                      <a:pt x="163" y="101"/>
                    </a:cubicBezTo>
                    <a:cubicBezTo>
                      <a:pt x="162" y="101"/>
                      <a:pt x="162" y="101"/>
                      <a:pt x="162" y="101"/>
                    </a:cubicBezTo>
                    <a:cubicBezTo>
                      <a:pt x="162" y="101"/>
                      <a:pt x="162" y="101"/>
                      <a:pt x="162" y="101"/>
                    </a:cubicBezTo>
                    <a:cubicBezTo>
                      <a:pt x="160" y="100"/>
                      <a:pt x="159" y="100"/>
                      <a:pt x="158" y="99"/>
                    </a:cubicBezTo>
                    <a:cubicBezTo>
                      <a:pt x="158" y="99"/>
                      <a:pt x="158" y="99"/>
                      <a:pt x="158" y="99"/>
                    </a:cubicBezTo>
                    <a:cubicBezTo>
                      <a:pt x="152" y="93"/>
                      <a:pt x="152" y="93"/>
                      <a:pt x="152" y="93"/>
                    </a:cubicBezTo>
                    <a:cubicBezTo>
                      <a:pt x="152" y="92"/>
                      <a:pt x="152" y="92"/>
                      <a:pt x="151" y="91"/>
                    </a:cubicBezTo>
                    <a:cubicBezTo>
                      <a:pt x="150" y="90"/>
                      <a:pt x="150" y="89"/>
                      <a:pt x="150" y="87"/>
                    </a:cubicBezTo>
                    <a:cubicBezTo>
                      <a:pt x="150" y="86"/>
                      <a:pt x="150" y="86"/>
                      <a:pt x="150" y="86"/>
                    </a:cubicBezTo>
                    <a:cubicBezTo>
                      <a:pt x="151" y="84"/>
                      <a:pt x="152" y="83"/>
                      <a:pt x="153" y="81"/>
                    </a:cubicBezTo>
                    <a:cubicBezTo>
                      <a:pt x="153" y="80"/>
                      <a:pt x="153" y="80"/>
                      <a:pt x="153" y="80"/>
                    </a:cubicBezTo>
                    <a:cubicBezTo>
                      <a:pt x="153" y="80"/>
                      <a:pt x="153" y="80"/>
                      <a:pt x="153" y="80"/>
                    </a:cubicBezTo>
                    <a:cubicBezTo>
                      <a:pt x="153" y="79"/>
                      <a:pt x="153" y="79"/>
                      <a:pt x="153" y="79"/>
                    </a:cubicBezTo>
                    <a:cubicBezTo>
                      <a:pt x="153" y="78"/>
                      <a:pt x="153" y="78"/>
                      <a:pt x="153" y="78"/>
                    </a:cubicBezTo>
                    <a:cubicBezTo>
                      <a:pt x="152" y="78"/>
                      <a:pt x="152" y="77"/>
                      <a:pt x="151" y="76"/>
                    </a:cubicBezTo>
                    <a:cubicBezTo>
                      <a:pt x="151" y="74"/>
                      <a:pt x="151" y="74"/>
                      <a:pt x="151" y="74"/>
                    </a:cubicBezTo>
                    <a:cubicBezTo>
                      <a:pt x="156" y="68"/>
                      <a:pt x="156" y="68"/>
                      <a:pt x="156" y="68"/>
                    </a:cubicBezTo>
                    <a:cubicBezTo>
                      <a:pt x="158" y="69"/>
                      <a:pt x="158" y="69"/>
                      <a:pt x="158" y="69"/>
                    </a:cubicBezTo>
                    <a:cubicBezTo>
                      <a:pt x="158" y="68"/>
                      <a:pt x="158" y="68"/>
                      <a:pt x="158" y="68"/>
                    </a:cubicBezTo>
                    <a:cubicBezTo>
                      <a:pt x="158" y="64"/>
                      <a:pt x="159" y="62"/>
                      <a:pt x="162" y="58"/>
                    </a:cubicBezTo>
                    <a:cubicBezTo>
                      <a:pt x="162" y="58"/>
                      <a:pt x="162" y="58"/>
                      <a:pt x="162" y="58"/>
                    </a:cubicBezTo>
                    <a:cubicBezTo>
                      <a:pt x="164" y="57"/>
                      <a:pt x="166" y="56"/>
                      <a:pt x="167" y="56"/>
                    </a:cubicBezTo>
                    <a:cubicBezTo>
                      <a:pt x="168" y="56"/>
                      <a:pt x="168" y="56"/>
                      <a:pt x="168" y="56"/>
                    </a:cubicBezTo>
                    <a:cubicBezTo>
                      <a:pt x="168" y="56"/>
                      <a:pt x="168" y="56"/>
                      <a:pt x="168" y="56"/>
                    </a:cubicBezTo>
                    <a:cubicBezTo>
                      <a:pt x="168" y="55"/>
                      <a:pt x="167" y="54"/>
                      <a:pt x="167" y="53"/>
                    </a:cubicBezTo>
                    <a:cubicBezTo>
                      <a:pt x="166" y="53"/>
                      <a:pt x="166" y="53"/>
                      <a:pt x="166" y="53"/>
                    </a:cubicBezTo>
                    <a:cubicBezTo>
                      <a:pt x="166" y="52"/>
                      <a:pt x="165" y="52"/>
                      <a:pt x="165" y="51"/>
                    </a:cubicBezTo>
                    <a:cubicBezTo>
                      <a:pt x="165" y="50"/>
                      <a:pt x="165" y="50"/>
                      <a:pt x="165" y="50"/>
                    </a:cubicBezTo>
                    <a:cubicBezTo>
                      <a:pt x="164" y="49"/>
                      <a:pt x="164" y="48"/>
                      <a:pt x="164" y="47"/>
                    </a:cubicBezTo>
                    <a:cubicBezTo>
                      <a:pt x="164" y="46"/>
                      <a:pt x="164" y="46"/>
                      <a:pt x="164" y="46"/>
                    </a:cubicBezTo>
                    <a:cubicBezTo>
                      <a:pt x="164" y="45"/>
                      <a:pt x="164" y="45"/>
                      <a:pt x="164" y="44"/>
                    </a:cubicBezTo>
                    <a:cubicBezTo>
                      <a:pt x="165" y="43"/>
                      <a:pt x="165" y="43"/>
                      <a:pt x="165" y="43"/>
                    </a:cubicBezTo>
                    <a:cubicBezTo>
                      <a:pt x="165" y="43"/>
                      <a:pt x="165" y="42"/>
                      <a:pt x="165" y="42"/>
                    </a:cubicBezTo>
                    <a:cubicBezTo>
                      <a:pt x="164" y="42"/>
                      <a:pt x="164" y="42"/>
                      <a:pt x="163" y="42"/>
                    </a:cubicBezTo>
                    <a:cubicBezTo>
                      <a:pt x="163" y="42"/>
                      <a:pt x="162" y="42"/>
                      <a:pt x="162" y="42"/>
                    </a:cubicBezTo>
                    <a:cubicBezTo>
                      <a:pt x="161" y="42"/>
                      <a:pt x="159" y="41"/>
                      <a:pt x="158" y="41"/>
                    </a:cubicBezTo>
                    <a:cubicBezTo>
                      <a:pt x="157" y="40"/>
                      <a:pt x="157" y="40"/>
                      <a:pt x="157" y="40"/>
                    </a:cubicBezTo>
                    <a:cubicBezTo>
                      <a:pt x="157" y="39"/>
                      <a:pt x="156" y="38"/>
                      <a:pt x="155" y="37"/>
                    </a:cubicBezTo>
                    <a:cubicBezTo>
                      <a:pt x="155" y="37"/>
                      <a:pt x="154" y="37"/>
                      <a:pt x="154" y="37"/>
                    </a:cubicBezTo>
                    <a:cubicBezTo>
                      <a:pt x="154" y="37"/>
                      <a:pt x="154" y="37"/>
                      <a:pt x="154" y="37"/>
                    </a:cubicBezTo>
                    <a:cubicBezTo>
                      <a:pt x="153" y="37"/>
                      <a:pt x="153" y="37"/>
                      <a:pt x="153" y="37"/>
                    </a:cubicBezTo>
                    <a:cubicBezTo>
                      <a:pt x="152" y="37"/>
                      <a:pt x="152" y="37"/>
                      <a:pt x="152" y="37"/>
                    </a:cubicBezTo>
                    <a:cubicBezTo>
                      <a:pt x="150" y="37"/>
                      <a:pt x="149" y="36"/>
                      <a:pt x="148" y="33"/>
                    </a:cubicBezTo>
                    <a:cubicBezTo>
                      <a:pt x="148" y="32"/>
                      <a:pt x="148" y="32"/>
                      <a:pt x="148" y="32"/>
                    </a:cubicBezTo>
                    <a:cubicBezTo>
                      <a:pt x="148" y="31"/>
                      <a:pt x="148" y="31"/>
                      <a:pt x="148" y="31"/>
                    </a:cubicBezTo>
                    <a:cubicBezTo>
                      <a:pt x="148" y="29"/>
                      <a:pt x="147" y="27"/>
                      <a:pt x="147" y="26"/>
                    </a:cubicBezTo>
                    <a:cubicBezTo>
                      <a:pt x="146" y="25"/>
                      <a:pt x="146" y="25"/>
                      <a:pt x="146" y="25"/>
                    </a:cubicBezTo>
                    <a:cubicBezTo>
                      <a:pt x="146" y="25"/>
                      <a:pt x="146" y="25"/>
                      <a:pt x="146" y="25"/>
                    </a:cubicBezTo>
                    <a:cubicBezTo>
                      <a:pt x="145" y="24"/>
                      <a:pt x="145" y="24"/>
                      <a:pt x="145" y="24"/>
                    </a:cubicBezTo>
                    <a:cubicBezTo>
                      <a:pt x="144" y="23"/>
                      <a:pt x="143" y="23"/>
                      <a:pt x="142" y="22"/>
                    </a:cubicBezTo>
                    <a:cubicBezTo>
                      <a:pt x="141" y="21"/>
                      <a:pt x="141" y="19"/>
                      <a:pt x="141" y="18"/>
                    </a:cubicBezTo>
                    <a:cubicBezTo>
                      <a:pt x="141" y="17"/>
                      <a:pt x="141" y="17"/>
                      <a:pt x="141" y="17"/>
                    </a:cubicBezTo>
                    <a:cubicBezTo>
                      <a:pt x="141" y="17"/>
                      <a:pt x="141" y="17"/>
                      <a:pt x="141" y="17"/>
                    </a:cubicBezTo>
                    <a:cubicBezTo>
                      <a:pt x="141" y="16"/>
                      <a:pt x="141" y="16"/>
                      <a:pt x="141" y="16"/>
                    </a:cubicBezTo>
                    <a:cubicBezTo>
                      <a:pt x="140" y="16"/>
                      <a:pt x="139" y="16"/>
                      <a:pt x="138" y="15"/>
                    </a:cubicBezTo>
                    <a:cubicBezTo>
                      <a:pt x="137" y="14"/>
                      <a:pt x="137" y="12"/>
                      <a:pt x="137" y="11"/>
                    </a:cubicBezTo>
                    <a:cubicBezTo>
                      <a:pt x="137" y="10"/>
                      <a:pt x="137" y="10"/>
                      <a:pt x="137" y="10"/>
                    </a:cubicBezTo>
                    <a:cubicBezTo>
                      <a:pt x="138" y="9"/>
                      <a:pt x="138" y="9"/>
                      <a:pt x="138" y="9"/>
                    </a:cubicBezTo>
                    <a:cubicBezTo>
                      <a:pt x="137" y="8"/>
                      <a:pt x="137" y="8"/>
                      <a:pt x="137" y="8"/>
                    </a:cubicBezTo>
                    <a:cubicBezTo>
                      <a:pt x="137" y="7"/>
                      <a:pt x="137" y="7"/>
                      <a:pt x="137" y="7"/>
                    </a:cubicBezTo>
                    <a:cubicBezTo>
                      <a:pt x="135" y="8"/>
                      <a:pt x="135" y="8"/>
                      <a:pt x="135" y="8"/>
                    </a:cubicBezTo>
                    <a:cubicBezTo>
                      <a:pt x="134" y="8"/>
                      <a:pt x="134" y="8"/>
                      <a:pt x="133" y="8"/>
                    </a:cubicBezTo>
                    <a:cubicBezTo>
                      <a:pt x="133" y="9"/>
                      <a:pt x="133" y="9"/>
                      <a:pt x="133" y="9"/>
                    </a:cubicBezTo>
                    <a:cubicBezTo>
                      <a:pt x="132" y="9"/>
                      <a:pt x="130" y="10"/>
                      <a:pt x="129" y="10"/>
                    </a:cubicBezTo>
                    <a:cubicBezTo>
                      <a:pt x="128" y="10"/>
                      <a:pt x="128" y="10"/>
                      <a:pt x="128" y="10"/>
                    </a:cubicBezTo>
                    <a:cubicBezTo>
                      <a:pt x="127" y="10"/>
                      <a:pt x="127" y="10"/>
                      <a:pt x="127" y="10"/>
                    </a:cubicBezTo>
                    <a:cubicBezTo>
                      <a:pt x="125" y="10"/>
                      <a:pt x="124" y="7"/>
                      <a:pt x="124" y="6"/>
                    </a:cubicBezTo>
                    <a:cubicBezTo>
                      <a:pt x="124" y="6"/>
                      <a:pt x="123" y="6"/>
                      <a:pt x="123" y="5"/>
                    </a:cubicBezTo>
                    <a:cubicBezTo>
                      <a:pt x="123" y="5"/>
                      <a:pt x="123" y="5"/>
                      <a:pt x="123" y="5"/>
                    </a:cubicBezTo>
                    <a:cubicBezTo>
                      <a:pt x="123" y="5"/>
                      <a:pt x="123" y="4"/>
                      <a:pt x="123" y="4"/>
                    </a:cubicBezTo>
                    <a:cubicBezTo>
                      <a:pt x="122" y="3"/>
                      <a:pt x="122" y="3"/>
                      <a:pt x="122" y="3"/>
                    </a:cubicBezTo>
                    <a:cubicBezTo>
                      <a:pt x="122" y="2"/>
                      <a:pt x="122" y="2"/>
                      <a:pt x="121" y="2"/>
                    </a:cubicBezTo>
                    <a:cubicBezTo>
                      <a:pt x="121" y="2"/>
                      <a:pt x="121" y="2"/>
                      <a:pt x="120" y="2"/>
                    </a:cubicBezTo>
                    <a:cubicBezTo>
                      <a:pt x="119" y="3"/>
                      <a:pt x="117" y="3"/>
                      <a:pt x="115" y="3"/>
                    </a:cubicBezTo>
                    <a:cubicBezTo>
                      <a:pt x="112" y="3"/>
                      <a:pt x="108" y="2"/>
                      <a:pt x="105" y="1"/>
                    </a:cubicBezTo>
                    <a:cubicBezTo>
                      <a:pt x="102" y="1"/>
                      <a:pt x="102" y="1"/>
                      <a:pt x="102" y="1"/>
                    </a:cubicBezTo>
                    <a:cubicBezTo>
                      <a:pt x="101" y="1"/>
                      <a:pt x="100" y="0"/>
                      <a:pt x="98" y="0"/>
                    </a:cubicBezTo>
                    <a:cubicBezTo>
                      <a:pt x="98" y="0"/>
                      <a:pt x="98" y="0"/>
                      <a:pt x="98" y="0"/>
                    </a:cubicBezTo>
                    <a:cubicBezTo>
                      <a:pt x="97" y="0"/>
                      <a:pt x="97" y="0"/>
                      <a:pt x="96" y="0"/>
                    </a:cubicBezTo>
                    <a:cubicBezTo>
                      <a:pt x="96" y="0"/>
                      <a:pt x="96" y="0"/>
                      <a:pt x="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172"/>
              <p:cNvSpPr/>
              <p:nvPr/>
            </p:nvSpPr>
            <p:spPr bwMode="auto">
              <a:xfrm>
                <a:off x="6260" y="1034"/>
                <a:ext cx="90" cy="83"/>
              </a:xfrm>
              <a:custGeom>
                <a:gdLst>
                  <a:gd name="T0" fmla="*/ 18 w 38"/>
                  <a:gd name="T1" fmla="*/ 0 h 35"/>
                  <a:gd name="T2" fmla="*/ 16 w 38"/>
                  <a:gd name="T3" fmla="*/ 0 h 35"/>
                  <a:gd name="T4" fmla="*/ 13 w 38"/>
                  <a:gd name="T5" fmla="*/ 1 h 35"/>
                  <a:gd name="T6" fmla="*/ 8 w 38"/>
                  <a:gd name="T7" fmla="*/ 8 h 35"/>
                  <a:gd name="T8" fmla="*/ 8 w 38"/>
                  <a:gd name="T9" fmla="*/ 9 h 35"/>
                  <a:gd name="T10" fmla="*/ 6 w 38"/>
                  <a:gd name="T11" fmla="*/ 11 h 35"/>
                  <a:gd name="T12" fmla="*/ 0 w 38"/>
                  <a:gd name="T13" fmla="*/ 21 h 35"/>
                  <a:gd name="T14" fmla="*/ 18 w 38"/>
                  <a:gd name="T15" fmla="*/ 26 h 35"/>
                  <a:gd name="T16" fmla="*/ 22 w 38"/>
                  <a:gd name="T17" fmla="*/ 31 h 35"/>
                  <a:gd name="T18" fmla="*/ 22 w 38"/>
                  <a:gd name="T19" fmla="*/ 32 h 35"/>
                  <a:gd name="T20" fmla="*/ 22 w 38"/>
                  <a:gd name="T21" fmla="*/ 32 h 35"/>
                  <a:gd name="T22" fmla="*/ 23 w 38"/>
                  <a:gd name="T23" fmla="*/ 33 h 35"/>
                  <a:gd name="T24" fmla="*/ 24 w 38"/>
                  <a:gd name="T25" fmla="*/ 34 h 35"/>
                  <a:gd name="T26" fmla="*/ 29 w 38"/>
                  <a:gd name="T27" fmla="*/ 35 h 35"/>
                  <a:gd name="T28" fmla="*/ 35 w 38"/>
                  <a:gd name="T29" fmla="*/ 35 h 35"/>
                  <a:gd name="T30" fmla="*/ 38 w 38"/>
                  <a:gd name="T31" fmla="*/ 35 h 35"/>
                  <a:gd name="T32" fmla="*/ 33 w 38"/>
                  <a:gd name="T33" fmla="*/ 22 h 35"/>
                  <a:gd name="T34" fmla="*/ 31 w 38"/>
                  <a:gd name="T35" fmla="*/ 18 h 35"/>
                  <a:gd name="T36" fmla="*/ 24 w 38"/>
                  <a:gd name="T37" fmla="*/ 16 h 35"/>
                  <a:gd name="T38" fmla="*/ 30 w 38"/>
                  <a:gd name="T39" fmla="*/ 9 h 35"/>
                  <a:gd name="T40" fmla="*/ 30 w 38"/>
                  <a:gd name="T41" fmla="*/ 9 h 35"/>
                  <a:gd name="T42" fmla="*/ 34 w 38"/>
                  <a:gd name="T43" fmla="*/ 11 h 35"/>
                  <a:gd name="T44" fmla="*/ 32 w 38"/>
                  <a:gd name="T45" fmla="*/ 7 h 35"/>
                  <a:gd name="T46" fmla="*/ 30 w 38"/>
                  <a:gd name="T47" fmla="*/ 3 h 35"/>
                  <a:gd name="T48" fmla="*/ 25 w 38"/>
                  <a:gd name="T49" fmla="*/ 1 h 35"/>
                  <a:gd name="T50" fmla="*/ 18 w 38"/>
                  <a:gd name="T51"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5">
                    <a:moveTo>
                      <a:pt x="18" y="0"/>
                    </a:moveTo>
                    <a:cubicBezTo>
                      <a:pt x="18" y="0"/>
                      <a:pt x="17" y="0"/>
                      <a:pt x="16" y="0"/>
                    </a:cubicBezTo>
                    <a:cubicBezTo>
                      <a:pt x="15" y="0"/>
                      <a:pt x="14" y="1"/>
                      <a:pt x="13" y="1"/>
                    </a:cubicBezTo>
                    <a:cubicBezTo>
                      <a:pt x="11" y="3"/>
                      <a:pt x="9" y="6"/>
                      <a:pt x="8" y="8"/>
                    </a:cubicBezTo>
                    <a:cubicBezTo>
                      <a:pt x="8" y="9"/>
                      <a:pt x="8" y="9"/>
                      <a:pt x="8" y="9"/>
                    </a:cubicBezTo>
                    <a:cubicBezTo>
                      <a:pt x="7" y="10"/>
                      <a:pt x="7" y="10"/>
                      <a:pt x="6" y="11"/>
                    </a:cubicBezTo>
                    <a:cubicBezTo>
                      <a:pt x="4" y="14"/>
                      <a:pt x="2" y="18"/>
                      <a:pt x="0" y="21"/>
                    </a:cubicBezTo>
                    <a:cubicBezTo>
                      <a:pt x="18" y="26"/>
                      <a:pt x="18" y="26"/>
                      <a:pt x="18" y="26"/>
                    </a:cubicBezTo>
                    <a:cubicBezTo>
                      <a:pt x="21" y="26"/>
                      <a:pt x="22" y="30"/>
                      <a:pt x="22" y="31"/>
                    </a:cubicBezTo>
                    <a:cubicBezTo>
                      <a:pt x="22" y="31"/>
                      <a:pt x="22" y="32"/>
                      <a:pt x="22" y="32"/>
                    </a:cubicBezTo>
                    <a:cubicBezTo>
                      <a:pt x="22" y="32"/>
                      <a:pt x="22" y="32"/>
                      <a:pt x="22" y="32"/>
                    </a:cubicBezTo>
                    <a:cubicBezTo>
                      <a:pt x="23" y="33"/>
                      <a:pt x="23" y="33"/>
                      <a:pt x="23" y="33"/>
                    </a:cubicBezTo>
                    <a:cubicBezTo>
                      <a:pt x="23" y="33"/>
                      <a:pt x="23" y="34"/>
                      <a:pt x="24" y="34"/>
                    </a:cubicBezTo>
                    <a:cubicBezTo>
                      <a:pt x="25" y="35"/>
                      <a:pt x="27" y="35"/>
                      <a:pt x="29" y="35"/>
                    </a:cubicBezTo>
                    <a:cubicBezTo>
                      <a:pt x="31" y="35"/>
                      <a:pt x="33" y="35"/>
                      <a:pt x="35" y="35"/>
                    </a:cubicBezTo>
                    <a:cubicBezTo>
                      <a:pt x="36" y="35"/>
                      <a:pt x="37" y="35"/>
                      <a:pt x="38" y="35"/>
                    </a:cubicBezTo>
                    <a:cubicBezTo>
                      <a:pt x="36" y="30"/>
                      <a:pt x="35" y="26"/>
                      <a:pt x="33" y="22"/>
                    </a:cubicBezTo>
                    <a:cubicBezTo>
                      <a:pt x="32" y="21"/>
                      <a:pt x="32" y="19"/>
                      <a:pt x="31" y="18"/>
                    </a:cubicBezTo>
                    <a:cubicBezTo>
                      <a:pt x="29" y="16"/>
                      <a:pt x="26" y="16"/>
                      <a:pt x="24" y="16"/>
                    </a:cubicBezTo>
                    <a:cubicBezTo>
                      <a:pt x="25" y="14"/>
                      <a:pt x="27" y="10"/>
                      <a:pt x="30" y="9"/>
                    </a:cubicBezTo>
                    <a:cubicBezTo>
                      <a:pt x="30" y="9"/>
                      <a:pt x="30" y="9"/>
                      <a:pt x="30" y="9"/>
                    </a:cubicBezTo>
                    <a:cubicBezTo>
                      <a:pt x="30" y="9"/>
                      <a:pt x="32" y="11"/>
                      <a:pt x="34" y="11"/>
                    </a:cubicBezTo>
                    <a:cubicBezTo>
                      <a:pt x="33" y="10"/>
                      <a:pt x="32" y="8"/>
                      <a:pt x="32" y="7"/>
                    </a:cubicBezTo>
                    <a:cubicBezTo>
                      <a:pt x="31" y="7"/>
                      <a:pt x="30" y="5"/>
                      <a:pt x="30" y="3"/>
                    </a:cubicBezTo>
                    <a:cubicBezTo>
                      <a:pt x="25" y="1"/>
                      <a:pt x="25" y="1"/>
                      <a:pt x="25" y="1"/>
                    </a:cubicBezTo>
                    <a:cubicBezTo>
                      <a:pt x="22"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173"/>
              <p:cNvSpPr/>
              <p:nvPr/>
            </p:nvSpPr>
            <p:spPr bwMode="auto">
              <a:xfrm>
                <a:off x="6334" y="1041"/>
                <a:ext cx="16" cy="17"/>
              </a:xfrm>
              <a:custGeom>
                <a:gdLst>
                  <a:gd name="T0" fmla="*/ 1 w 7"/>
                  <a:gd name="T1" fmla="*/ 0 h 7"/>
                  <a:gd name="T2" fmla="*/ 0 w 7"/>
                  <a:gd name="T3" fmla="*/ 2 h 7"/>
                  <a:gd name="T4" fmla="*/ 4 w 7"/>
                  <a:gd name="T5" fmla="*/ 7 h 7"/>
                  <a:gd name="T6" fmla="*/ 7 w 7"/>
                  <a:gd name="T7" fmla="*/ 3 h 7"/>
                  <a:gd name="T8" fmla="*/ 3 w 7"/>
                  <a:gd name="T9" fmla="*/ 2 h 7"/>
                  <a:gd name="T10" fmla="*/ 3 w 7"/>
                  <a:gd name="T11" fmla="*/ 1 h 7"/>
                  <a:gd name="T12" fmla="*/ 1 w 7"/>
                  <a:gd name="T13" fmla="*/ 2 h 7"/>
                  <a:gd name="T14" fmla="*/ 2 w 7"/>
                  <a:gd name="T15" fmla="*/ 1 h 7"/>
                  <a:gd name="T16" fmla="*/ 1 w 7"/>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1" y="0"/>
                    </a:moveTo>
                    <a:cubicBezTo>
                      <a:pt x="0" y="1"/>
                      <a:pt x="0" y="2"/>
                      <a:pt x="0" y="2"/>
                    </a:cubicBezTo>
                    <a:cubicBezTo>
                      <a:pt x="0" y="4"/>
                      <a:pt x="2" y="6"/>
                      <a:pt x="4" y="7"/>
                    </a:cubicBezTo>
                    <a:cubicBezTo>
                      <a:pt x="6" y="6"/>
                      <a:pt x="7" y="5"/>
                      <a:pt x="7" y="3"/>
                    </a:cubicBezTo>
                    <a:cubicBezTo>
                      <a:pt x="3" y="2"/>
                      <a:pt x="3" y="2"/>
                      <a:pt x="3" y="2"/>
                    </a:cubicBezTo>
                    <a:cubicBezTo>
                      <a:pt x="3" y="1"/>
                      <a:pt x="3" y="1"/>
                      <a:pt x="3" y="1"/>
                    </a:cubicBezTo>
                    <a:cubicBezTo>
                      <a:pt x="1" y="2"/>
                      <a:pt x="1" y="2"/>
                      <a:pt x="1" y="2"/>
                    </a:cubicBezTo>
                    <a:cubicBezTo>
                      <a:pt x="2" y="1"/>
                      <a:pt x="2" y="1"/>
                      <a:pt x="2" y="1"/>
                    </a:cubicBezTo>
                    <a:cubicBezTo>
                      <a:pt x="2"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174"/>
              <p:cNvSpPr/>
              <p:nvPr/>
            </p:nvSpPr>
            <p:spPr bwMode="auto">
              <a:xfrm>
                <a:off x="5648" y="590"/>
                <a:ext cx="362" cy="295"/>
              </a:xfrm>
              <a:custGeom>
                <a:gdLst>
                  <a:gd name="T0" fmla="*/ 147 w 153"/>
                  <a:gd name="T1" fmla="*/ 1 h 125"/>
                  <a:gd name="T2" fmla="*/ 121 w 153"/>
                  <a:gd name="T3" fmla="*/ 3 h 125"/>
                  <a:gd name="T4" fmla="*/ 112 w 153"/>
                  <a:gd name="T5" fmla="*/ 6 h 125"/>
                  <a:gd name="T6" fmla="*/ 107 w 153"/>
                  <a:gd name="T7" fmla="*/ 9 h 125"/>
                  <a:gd name="T8" fmla="*/ 88 w 153"/>
                  <a:gd name="T9" fmla="*/ 14 h 125"/>
                  <a:gd name="T10" fmla="*/ 87 w 153"/>
                  <a:gd name="T11" fmla="*/ 15 h 125"/>
                  <a:gd name="T12" fmla="*/ 70 w 153"/>
                  <a:gd name="T13" fmla="*/ 13 h 125"/>
                  <a:gd name="T14" fmla="*/ 67 w 153"/>
                  <a:gd name="T15" fmla="*/ 12 h 125"/>
                  <a:gd name="T16" fmla="*/ 65 w 153"/>
                  <a:gd name="T17" fmla="*/ 11 h 125"/>
                  <a:gd name="T18" fmla="*/ 59 w 153"/>
                  <a:gd name="T19" fmla="*/ 9 h 125"/>
                  <a:gd name="T20" fmla="*/ 55 w 153"/>
                  <a:gd name="T21" fmla="*/ 11 h 125"/>
                  <a:gd name="T22" fmla="*/ 37 w 153"/>
                  <a:gd name="T23" fmla="*/ 16 h 125"/>
                  <a:gd name="T24" fmla="*/ 28 w 153"/>
                  <a:gd name="T25" fmla="*/ 15 h 125"/>
                  <a:gd name="T26" fmla="*/ 22 w 153"/>
                  <a:gd name="T27" fmla="*/ 18 h 125"/>
                  <a:gd name="T28" fmla="*/ 30 w 153"/>
                  <a:gd name="T29" fmla="*/ 21 h 125"/>
                  <a:gd name="T30" fmla="*/ 22 w 153"/>
                  <a:gd name="T31" fmla="*/ 25 h 125"/>
                  <a:gd name="T32" fmla="*/ 19 w 153"/>
                  <a:gd name="T33" fmla="*/ 27 h 125"/>
                  <a:gd name="T34" fmla="*/ 18 w 153"/>
                  <a:gd name="T35" fmla="*/ 28 h 125"/>
                  <a:gd name="T36" fmla="*/ 15 w 153"/>
                  <a:gd name="T37" fmla="*/ 33 h 125"/>
                  <a:gd name="T38" fmla="*/ 13 w 153"/>
                  <a:gd name="T39" fmla="*/ 34 h 125"/>
                  <a:gd name="T40" fmla="*/ 13 w 153"/>
                  <a:gd name="T41" fmla="*/ 36 h 125"/>
                  <a:gd name="T42" fmla="*/ 9 w 153"/>
                  <a:gd name="T43" fmla="*/ 38 h 125"/>
                  <a:gd name="T44" fmla="*/ 1 w 153"/>
                  <a:gd name="T45" fmla="*/ 38 h 125"/>
                  <a:gd name="T46" fmla="*/ 4 w 153"/>
                  <a:gd name="T47" fmla="*/ 47 h 125"/>
                  <a:gd name="T48" fmla="*/ 5 w 153"/>
                  <a:gd name="T49" fmla="*/ 64 h 125"/>
                  <a:gd name="T50" fmla="*/ 9 w 153"/>
                  <a:gd name="T51" fmla="*/ 64 h 125"/>
                  <a:gd name="T52" fmla="*/ 13 w 153"/>
                  <a:gd name="T53" fmla="*/ 64 h 125"/>
                  <a:gd name="T54" fmla="*/ 17 w 153"/>
                  <a:gd name="T55" fmla="*/ 64 h 125"/>
                  <a:gd name="T56" fmla="*/ 19 w 153"/>
                  <a:gd name="T57" fmla="*/ 69 h 125"/>
                  <a:gd name="T58" fmla="*/ 22 w 153"/>
                  <a:gd name="T59" fmla="*/ 74 h 125"/>
                  <a:gd name="T60" fmla="*/ 21 w 153"/>
                  <a:gd name="T61" fmla="*/ 82 h 125"/>
                  <a:gd name="T62" fmla="*/ 36 w 153"/>
                  <a:gd name="T63" fmla="*/ 104 h 125"/>
                  <a:gd name="T64" fmla="*/ 12 w 153"/>
                  <a:gd name="T65" fmla="*/ 90 h 125"/>
                  <a:gd name="T66" fmla="*/ 9 w 153"/>
                  <a:gd name="T67" fmla="*/ 92 h 125"/>
                  <a:gd name="T68" fmla="*/ 10 w 153"/>
                  <a:gd name="T69" fmla="*/ 95 h 125"/>
                  <a:gd name="T70" fmla="*/ 9 w 153"/>
                  <a:gd name="T71" fmla="*/ 97 h 125"/>
                  <a:gd name="T72" fmla="*/ 4 w 153"/>
                  <a:gd name="T73" fmla="*/ 102 h 125"/>
                  <a:gd name="T74" fmla="*/ 2 w 153"/>
                  <a:gd name="T75" fmla="*/ 103 h 125"/>
                  <a:gd name="T76" fmla="*/ 1 w 153"/>
                  <a:gd name="T77" fmla="*/ 108 h 125"/>
                  <a:gd name="T78" fmla="*/ 1 w 153"/>
                  <a:gd name="T79" fmla="*/ 114 h 125"/>
                  <a:gd name="T80" fmla="*/ 3 w 153"/>
                  <a:gd name="T81" fmla="*/ 115 h 125"/>
                  <a:gd name="T82" fmla="*/ 6 w 153"/>
                  <a:gd name="T83" fmla="*/ 117 h 125"/>
                  <a:gd name="T84" fmla="*/ 10 w 153"/>
                  <a:gd name="T85" fmla="*/ 120 h 125"/>
                  <a:gd name="T86" fmla="*/ 28 w 153"/>
                  <a:gd name="T87" fmla="*/ 123 h 125"/>
                  <a:gd name="T88" fmla="*/ 71 w 153"/>
                  <a:gd name="T89" fmla="*/ 98 h 125"/>
                  <a:gd name="T90" fmla="*/ 73 w 153"/>
                  <a:gd name="T91" fmla="*/ 97 h 125"/>
                  <a:gd name="T92" fmla="*/ 91 w 153"/>
                  <a:gd name="T93" fmla="*/ 86 h 125"/>
                  <a:gd name="T94" fmla="*/ 105 w 153"/>
                  <a:gd name="T95" fmla="*/ 78 h 125"/>
                  <a:gd name="T96" fmla="*/ 116 w 153"/>
                  <a:gd name="T97" fmla="*/ 72 h 125"/>
                  <a:gd name="T98" fmla="*/ 119 w 153"/>
                  <a:gd name="T99" fmla="*/ 71 h 125"/>
                  <a:gd name="T100" fmla="*/ 126 w 153"/>
                  <a:gd name="T101" fmla="*/ 63 h 125"/>
                  <a:gd name="T102" fmla="*/ 126 w 153"/>
                  <a:gd name="T103" fmla="*/ 59 h 125"/>
                  <a:gd name="T104" fmla="*/ 127 w 153"/>
                  <a:gd name="T105" fmla="*/ 47 h 125"/>
                  <a:gd name="T106" fmla="*/ 129 w 153"/>
                  <a:gd name="T107" fmla="*/ 42 h 125"/>
                  <a:gd name="T108" fmla="*/ 128 w 153"/>
                  <a:gd name="T109" fmla="*/ 35 h 125"/>
                  <a:gd name="T110" fmla="*/ 130 w 153"/>
                  <a:gd name="T111" fmla="*/ 16 h 125"/>
                  <a:gd name="T112" fmla="*/ 138 w 153"/>
                  <a:gd name="T113" fmla="*/ 12 h 125"/>
                  <a:gd name="T114" fmla="*/ 140 w 153"/>
                  <a:gd name="T115" fmla="*/ 12 h 125"/>
                  <a:gd name="T116" fmla="*/ 142 w 153"/>
                  <a:gd name="T117" fmla="*/ 11 h 125"/>
                  <a:gd name="T118" fmla="*/ 153 w 153"/>
                  <a:gd name="T119" fmla="*/ 1 h 125"/>
                  <a:gd name="T120" fmla="*/ 153 w 153"/>
                  <a:gd name="T121" fmla="*/ 0 h 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25">
                    <a:moveTo>
                      <a:pt x="153" y="0"/>
                    </a:moveTo>
                    <a:cubicBezTo>
                      <a:pt x="151" y="0"/>
                      <a:pt x="149" y="1"/>
                      <a:pt x="147" y="1"/>
                    </a:cubicBezTo>
                    <a:cubicBezTo>
                      <a:pt x="140" y="3"/>
                      <a:pt x="133" y="3"/>
                      <a:pt x="125" y="3"/>
                    </a:cubicBezTo>
                    <a:cubicBezTo>
                      <a:pt x="124" y="3"/>
                      <a:pt x="122" y="3"/>
                      <a:pt x="121" y="3"/>
                    </a:cubicBezTo>
                    <a:cubicBezTo>
                      <a:pt x="121" y="3"/>
                      <a:pt x="121" y="3"/>
                      <a:pt x="121" y="3"/>
                    </a:cubicBezTo>
                    <a:cubicBezTo>
                      <a:pt x="118" y="3"/>
                      <a:pt x="115" y="5"/>
                      <a:pt x="112" y="6"/>
                    </a:cubicBezTo>
                    <a:cubicBezTo>
                      <a:pt x="111" y="7"/>
                      <a:pt x="110" y="7"/>
                      <a:pt x="109" y="8"/>
                    </a:cubicBezTo>
                    <a:cubicBezTo>
                      <a:pt x="108" y="8"/>
                      <a:pt x="107" y="8"/>
                      <a:pt x="107" y="9"/>
                    </a:cubicBezTo>
                    <a:cubicBezTo>
                      <a:pt x="102" y="10"/>
                      <a:pt x="102" y="10"/>
                      <a:pt x="102" y="10"/>
                    </a:cubicBezTo>
                    <a:cubicBezTo>
                      <a:pt x="98" y="12"/>
                      <a:pt x="93" y="13"/>
                      <a:pt x="88" y="14"/>
                    </a:cubicBezTo>
                    <a:cubicBezTo>
                      <a:pt x="88" y="14"/>
                      <a:pt x="87" y="14"/>
                      <a:pt x="87" y="14"/>
                    </a:cubicBezTo>
                    <a:cubicBezTo>
                      <a:pt x="87" y="15"/>
                      <a:pt x="87" y="15"/>
                      <a:pt x="87" y="15"/>
                    </a:cubicBezTo>
                    <a:cubicBezTo>
                      <a:pt x="86" y="15"/>
                      <a:pt x="85" y="15"/>
                      <a:pt x="84" y="15"/>
                    </a:cubicBezTo>
                    <a:cubicBezTo>
                      <a:pt x="79" y="15"/>
                      <a:pt x="75" y="14"/>
                      <a:pt x="70" y="13"/>
                    </a:cubicBezTo>
                    <a:cubicBezTo>
                      <a:pt x="69" y="13"/>
                      <a:pt x="69" y="13"/>
                      <a:pt x="69" y="13"/>
                    </a:cubicBezTo>
                    <a:cubicBezTo>
                      <a:pt x="68" y="13"/>
                      <a:pt x="68" y="12"/>
                      <a:pt x="67" y="12"/>
                    </a:cubicBezTo>
                    <a:cubicBezTo>
                      <a:pt x="67" y="12"/>
                      <a:pt x="67" y="12"/>
                      <a:pt x="67" y="12"/>
                    </a:cubicBezTo>
                    <a:cubicBezTo>
                      <a:pt x="66" y="11"/>
                      <a:pt x="66" y="11"/>
                      <a:pt x="65" y="11"/>
                    </a:cubicBezTo>
                    <a:cubicBezTo>
                      <a:pt x="61" y="10"/>
                      <a:pt x="61" y="10"/>
                      <a:pt x="61" y="10"/>
                    </a:cubicBezTo>
                    <a:cubicBezTo>
                      <a:pt x="60" y="9"/>
                      <a:pt x="59" y="9"/>
                      <a:pt x="59" y="9"/>
                    </a:cubicBezTo>
                    <a:cubicBezTo>
                      <a:pt x="58" y="9"/>
                      <a:pt x="58" y="9"/>
                      <a:pt x="56" y="10"/>
                    </a:cubicBezTo>
                    <a:cubicBezTo>
                      <a:pt x="55" y="11"/>
                      <a:pt x="55" y="11"/>
                      <a:pt x="55" y="11"/>
                    </a:cubicBezTo>
                    <a:cubicBezTo>
                      <a:pt x="48" y="14"/>
                      <a:pt x="43" y="15"/>
                      <a:pt x="38" y="16"/>
                    </a:cubicBezTo>
                    <a:cubicBezTo>
                      <a:pt x="37" y="16"/>
                      <a:pt x="37" y="16"/>
                      <a:pt x="37" y="16"/>
                    </a:cubicBezTo>
                    <a:cubicBezTo>
                      <a:pt x="36" y="16"/>
                      <a:pt x="34" y="16"/>
                      <a:pt x="33" y="16"/>
                    </a:cubicBezTo>
                    <a:cubicBezTo>
                      <a:pt x="31" y="16"/>
                      <a:pt x="30" y="16"/>
                      <a:pt x="28" y="15"/>
                    </a:cubicBezTo>
                    <a:cubicBezTo>
                      <a:pt x="23" y="12"/>
                      <a:pt x="23" y="12"/>
                      <a:pt x="23" y="12"/>
                    </a:cubicBezTo>
                    <a:cubicBezTo>
                      <a:pt x="23" y="14"/>
                      <a:pt x="22" y="16"/>
                      <a:pt x="22" y="18"/>
                    </a:cubicBezTo>
                    <a:cubicBezTo>
                      <a:pt x="22" y="19"/>
                      <a:pt x="23" y="19"/>
                      <a:pt x="23" y="19"/>
                    </a:cubicBezTo>
                    <a:cubicBezTo>
                      <a:pt x="30" y="21"/>
                      <a:pt x="30" y="21"/>
                      <a:pt x="30" y="21"/>
                    </a:cubicBezTo>
                    <a:cubicBezTo>
                      <a:pt x="23" y="25"/>
                      <a:pt x="23" y="25"/>
                      <a:pt x="23" y="25"/>
                    </a:cubicBezTo>
                    <a:cubicBezTo>
                      <a:pt x="23" y="25"/>
                      <a:pt x="22" y="25"/>
                      <a:pt x="22" y="25"/>
                    </a:cubicBezTo>
                    <a:cubicBezTo>
                      <a:pt x="21" y="26"/>
                      <a:pt x="21" y="26"/>
                      <a:pt x="21" y="26"/>
                    </a:cubicBezTo>
                    <a:cubicBezTo>
                      <a:pt x="20" y="26"/>
                      <a:pt x="19" y="26"/>
                      <a:pt x="19" y="27"/>
                    </a:cubicBezTo>
                    <a:cubicBezTo>
                      <a:pt x="18" y="27"/>
                      <a:pt x="18" y="27"/>
                      <a:pt x="18" y="27"/>
                    </a:cubicBezTo>
                    <a:cubicBezTo>
                      <a:pt x="18" y="27"/>
                      <a:pt x="18" y="27"/>
                      <a:pt x="18" y="28"/>
                    </a:cubicBezTo>
                    <a:cubicBezTo>
                      <a:pt x="18" y="28"/>
                      <a:pt x="18" y="28"/>
                      <a:pt x="18" y="28"/>
                    </a:cubicBezTo>
                    <a:cubicBezTo>
                      <a:pt x="18" y="31"/>
                      <a:pt x="16" y="32"/>
                      <a:pt x="15" y="33"/>
                    </a:cubicBezTo>
                    <a:cubicBezTo>
                      <a:pt x="14" y="33"/>
                      <a:pt x="14" y="33"/>
                      <a:pt x="14" y="34"/>
                    </a:cubicBezTo>
                    <a:cubicBezTo>
                      <a:pt x="13" y="34"/>
                      <a:pt x="13" y="34"/>
                      <a:pt x="13" y="34"/>
                    </a:cubicBezTo>
                    <a:cubicBezTo>
                      <a:pt x="13" y="35"/>
                      <a:pt x="13" y="35"/>
                      <a:pt x="13" y="35"/>
                    </a:cubicBezTo>
                    <a:cubicBezTo>
                      <a:pt x="13" y="36"/>
                      <a:pt x="13" y="36"/>
                      <a:pt x="13" y="36"/>
                    </a:cubicBezTo>
                    <a:cubicBezTo>
                      <a:pt x="12" y="39"/>
                      <a:pt x="12" y="39"/>
                      <a:pt x="12" y="39"/>
                    </a:cubicBezTo>
                    <a:cubicBezTo>
                      <a:pt x="9" y="38"/>
                      <a:pt x="9" y="38"/>
                      <a:pt x="9" y="38"/>
                    </a:cubicBezTo>
                    <a:cubicBezTo>
                      <a:pt x="7" y="37"/>
                      <a:pt x="4" y="36"/>
                      <a:pt x="2" y="35"/>
                    </a:cubicBezTo>
                    <a:cubicBezTo>
                      <a:pt x="2" y="36"/>
                      <a:pt x="1" y="37"/>
                      <a:pt x="1" y="38"/>
                    </a:cubicBezTo>
                    <a:cubicBezTo>
                      <a:pt x="1" y="39"/>
                      <a:pt x="1" y="41"/>
                      <a:pt x="0" y="42"/>
                    </a:cubicBezTo>
                    <a:cubicBezTo>
                      <a:pt x="2" y="44"/>
                      <a:pt x="4" y="45"/>
                      <a:pt x="4" y="47"/>
                    </a:cubicBezTo>
                    <a:cubicBezTo>
                      <a:pt x="5" y="51"/>
                      <a:pt x="4" y="54"/>
                      <a:pt x="4" y="57"/>
                    </a:cubicBezTo>
                    <a:cubicBezTo>
                      <a:pt x="4" y="60"/>
                      <a:pt x="5" y="62"/>
                      <a:pt x="5" y="64"/>
                    </a:cubicBezTo>
                    <a:cubicBezTo>
                      <a:pt x="6" y="64"/>
                      <a:pt x="6" y="64"/>
                      <a:pt x="6" y="64"/>
                    </a:cubicBezTo>
                    <a:cubicBezTo>
                      <a:pt x="7" y="64"/>
                      <a:pt x="8" y="64"/>
                      <a:pt x="9" y="64"/>
                    </a:cubicBezTo>
                    <a:cubicBezTo>
                      <a:pt x="10" y="64"/>
                      <a:pt x="10" y="64"/>
                      <a:pt x="11" y="64"/>
                    </a:cubicBezTo>
                    <a:cubicBezTo>
                      <a:pt x="12" y="64"/>
                      <a:pt x="12" y="64"/>
                      <a:pt x="13" y="64"/>
                    </a:cubicBezTo>
                    <a:cubicBezTo>
                      <a:pt x="14" y="64"/>
                      <a:pt x="14" y="64"/>
                      <a:pt x="14" y="64"/>
                    </a:cubicBezTo>
                    <a:cubicBezTo>
                      <a:pt x="15" y="64"/>
                      <a:pt x="16" y="64"/>
                      <a:pt x="17" y="64"/>
                    </a:cubicBezTo>
                    <a:cubicBezTo>
                      <a:pt x="23" y="64"/>
                      <a:pt x="23" y="64"/>
                      <a:pt x="23" y="64"/>
                    </a:cubicBezTo>
                    <a:cubicBezTo>
                      <a:pt x="19" y="69"/>
                      <a:pt x="19" y="69"/>
                      <a:pt x="19" y="69"/>
                    </a:cubicBezTo>
                    <a:cubicBezTo>
                      <a:pt x="20" y="70"/>
                      <a:pt x="21" y="71"/>
                      <a:pt x="22" y="73"/>
                    </a:cubicBezTo>
                    <a:cubicBezTo>
                      <a:pt x="22" y="74"/>
                      <a:pt x="22" y="74"/>
                      <a:pt x="22" y="74"/>
                    </a:cubicBezTo>
                    <a:cubicBezTo>
                      <a:pt x="23" y="75"/>
                      <a:pt x="25" y="78"/>
                      <a:pt x="22" y="81"/>
                    </a:cubicBezTo>
                    <a:cubicBezTo>
                      <a:pt x="22" y="81"/>
                      <a:pt x="21" y="82"/>
                      <a:pt x="21" y="82"/>
                    </a:cubicBezTo>
                    <a:cubicBezTo>
                      <a:pt x="18" y="84"/>
                      <a:pt x="17" y="85"/>
                      <a:pt x="17" y="86"/>
                    </a:cubicBezTo>
                    <a:cubicBezTo>
                      <a:pt x="36" y="104"/>
                      <a:pt x="36" y="104"/>
                      <a:pt x="36" y="104"/>
                    </a:cubicBezTo>
                    <a:cubicBezTo>
                      <a:pt x="13" y="91"/>
                      <a:pt x="13" y="91"/>
                      <a:pt x="13" y="91"/>
                    </a:cubicBezTo>
                    <a:cubicBezTo>
                      <a:pt x="13" y="90"/>
                      <a:pt x="12" y="90"/>
                      <a:pt x="12" y="90"/>
                    </a:cubicBezTo>
                    <a:cubicBezTo>
                      <a:pt x="11" y="90"/>
                      <a:pt x="11" y="90"/>
                      <a:pt x="10" y="91"/>
                    </a:cubicBezTo>
                    <a:cubicBezTo>
                      <a:pt x="9" y="91"/>
                      <a:pt x="9" y="91"/>
                      <a:pt x="9" y="92"/>
                    </a:cubicBezTo>
                    <a:cubicBezTo>
                      <a:pt x="9" y="92"/>
                      <a:pt x="9" y="92"/>
                      <a:pt x="9" y="92"/>
                    </a:cubicBezTo>
                    <a:cubicBezTo>
                      <a:pt x="9" y="92"/>
                      <a:pt x="10" y="94"/>
                      <a:pt x="10" y="95"/>
                    </a:cubicBezTo>
                    <a:cubicBezTo>
                      <a:pt x="10" y="96"/>
                      <a:pt x="10" y="96"/>
                      <a:pt x="10" y="96"/>
                    </a:cubicBezTo>
                    <a:cubicBezTo>
                      <a:pt x="9" y="97"/>
                      <a:pt x="9" y="97"/>
                      <a:pt x="9" y="97"/>
                    </a:cubicBezTo>
                    <a:cubicBezTo>
                      <a:pt x="8" y="98"/>
                      <a:pt x="8" y="98"/>
                      <a:pt x="8" y="98"/>
                    </a:cubicBezTo>
                    <a:cubicBezTo>
                      <a:pt x="7" y="99"/>
                      <a:pt x="6" y="101"/>
                      <a:pt x="4" y="102"/>
                    </a:cubicBezTo>
                    <a:cubicBezTo>
                      <a:pt x="4" y="102"/>
                      <a:pt x="3" y="103"/>
                      <a:pt x="2" y="103"/>
                    </a:cubicBezTo>
                    <a:cubicBezTo>
                      <a:pt x="2" y="103"/>
                      <a:pt x="2" y="103"/>
                      <a:pt x="2" y="103"/>
                    </a:cubicBezTo>
                    <a:cubicBezTo>
                      <a:pt x="1" y="104"/>
                      <a:pt x="1" y="104"/>
                      <a:pt x="1" y="104"/>
                    </a:cubicBezTo>
                    <a:cubicBezTo>
                      <a:pt x="1" y="105"/>
                      <a:pt x="1" y="107"/>
                      <a:pt x="1" y="108"/>
                    </a:cubicBezTo>
                    <a:cubicBezTo>
                      <a:pt x="1" y="109"/>
                      <a:pt x="1" y="110"/>
                      <a:pt x="1" y="111"/>
                    </a:cubicBezTo>
                    <a:cubicBezTo>
                      <a:pt x="1" y="112"/>
                      <a:pt x="1" y="113"/>
                      <a:pt x="1" y="114"/>
                    </a:cubicBezTo>
                    <a:cubicBezTo>
                      <a:pt x="1" y="115"/>
                      <a:pt x="1" y="115"/>
                      <a:pt x="1" y="115"/>
                    </a:cubicBezTo>
                    <a:cubicBezTo>
                      <a:pt x="2" y="115"/>
                      <a:pt x="2" y="115"/>
                      <a:pt x="3" y="115"/>
                    </a:cubicBezTo>
                    <a:cubicBezTo>
                      <a:pt x="4" y="116"/>
                      <a:pt x="4" y="116"/>
                      <a:pt x="4" y="116"/>
                    </a:cubicBezTo>
                    <a:cubicBezTo>
                      <a:pt x="4" y="116"/>
                      <a:pt x="5" y="117"/>
                      <a:pt x="6" y="117"/>
                    </a:cubicBezTo>
                    <a:cubicBezTo>
                      <a:pt x="7" y="118"/>
                      <a:pt x="7" y="118"/>
                      <a:pt x="7" y="118"/>
                    </a:cubicBezTo>
                    <a:cubicBezTo>
                      <a:pt x="8" y="118"/>
                      <a:pt x="9" y="119"/>
                      <a:pt x="10" y="120"/>
                    </a:cubicBezTo>
                    <a:cubicBezTo>
                      <a:pt x="18" y="124"/>
                      <a:pt x="22" y="125"/>
                      <a:pt x="24" y="125"/>
                    </a:cubicBezTo>
                    <a:cubicBezTo>
                      <a:pt x="26" y="125"/>
                      <a:pt x="27" y="124"/>
                      <a:pt x="28" y="123"/>
                    </a:cubicBezTo>
                    <a:cubicBezTo>
                      <a:pt x="29" y="123"/>
                      <a:pt x="30" y="122"/>
                      <a:pt x="31" y="121"/>
                    </a:cubicBezTo>
                    <a:cubicBezTo>
                      <a:pt x="39" y="116"/>
                      <a:pt x="61" y="103"/>
                      <a:pt x="71" y="98"/>
                    </a:cubicBezTo>
                    <a:cubicBezTo>
                      <a:pt x="72" y="96"/>
                      <a:pt x="72" y="96"/>
                      <a:pt x="72" y="96"/>
                    </a:cubicBezTo>
                    <a:cubicBezTo>
                      <a:pt x="73" y="97"/>
                      <a:pt x="73" y="97"/>
                      <a:pt x="73" y="97"/>
                    </a:cubicBezTo>
                    <a:cubicBezTo>
                      <a:pt x="76" y="95"/>
                      <a:pt x="76" y="95"/>
                      <a:pt x="76" y="95"/>
                    </a:cubicBezTo>
                    <a:cubicBezTo>
                      <a:pt x="81" y="92"/>
                      <a:pt x="86" y="89"/>
                      <a:pt x="91" y="86"/>
                    </a:cubicBezTo>
                    <a:cubicBezTo>
                      <a:pt x="105" y="78"/>
                      <a:pt x="105" y="78"/>
                      <a:pt x="105" y="78"/>
                    </a:cubicBezTo>
                    <a:cubicBezTo>
                      <a:pt x="105" y="78"/>
                      <a:pt x="105" y="78"/>
                      <a:pt x="105" y="78"/>
                    </a:cubicBezTo>
                    <a:cubicBezTo>
                      <a:pt x="112" y="74"/>
                      <a:pt x="112" y="74"/>
                      <a:pt x="112" y="74"/>
                    </a:cubicBezTo>
                    <a:cubicBezTo>
                      <a:pt x="113" y="73"/>
                      <a:pt x="115" y="73"/>
                      <a:pt x="116" y="72"/>
                    </a:cubicBezTo>
                    <a:cubicBezTo>
                      <a:pt x="117" y="72"/>
                      <a:pt x="118" y="72"/>
                      <a:pt x="119" y="71"/>
                    </a:cubicBezTo>
                    <a:cubicBezTo>
                      <a:pt x="119" y="71"/>
                      <a:pt x="119" y="71"/>
                      <a:pt x="119" y="71"/>
                    </a:cubicBezTo>
                    <a:cubicBezTo>
                      <a:pt x="120" y="71"/>
                      <a:pt x="122" y="70"/>
                      <a:pt x="122" y="70"/>
                    </a:cubicBezTo>
                    <a:cubicBezTo>
                      <a:pt x="123" y="68"/>
                      <a:pt x="125" y="66"/>
                      <a:pt x="126" y="63"/>
                    </a:cubicBezTo>
                    <a:cubicBezTo>
                      <a:pt x="126" y="62"/>
                      <a:pt x="126" y="61"/>
                      <a:pt x="126" y="60"/>
                    </a:cubicBezTo>
                    <a:cubicBezTo>
                      <a:pt x="126" y="59"/>
                      <a:pt x="126" y="59"/>
                      <a:pt x="126" y="59"/>
                    </a:cubicBezTo>
                    <a:cubicBezTo>
                      <a:pt x="126" y="58"/>
                      <a:pt x="126" y="57"/>
                      <a:pt x="126" y="55"/>
                    </a:cubicBezTo>
                    <a:cubicBezTo>
                      <a:pt x="126" y="52"/>
                      <a:pt x="127" y="49"/>
                      <a:pt x="127" y="47"/>
                    </a:cubicBezTo>
                    <a:cubicBezTo>
                      <a:pt x="128" y="46"/>
                      <a:pt x="128" y="46"/>
                      <a:pt x="128" y="46"/>
                    </a:cubicBezTo>
                    <a:cubicBezTo>
                      <a:pt x="128" y="45"/>
                      <a:pt x="129" y="43"/>
                      <a:pt x="129" y="42"/>
                    </a:cubicBezTo>
                    <a:cubicBezTo>
                      <a:pt x="129" y="40"/>
                      <a:pt x="129" y="38"/>
                      <a:pt x="128" y="36"/>
                    </a:cubicBezTo>
                    <a:cubicBezTo>
                      <a:pt x="128" y="35"/>
                      <a:pt x="128" y="35"/>
                      <a:pt x="128" y="35"/>
                    </a:cubicBezTo>
                    <a:cubicBezTo>
                      <a:pt x="128" y="30"/>
                      <a:pt x="127" y="24"/>
                      <a:pt x="129" y="19"/>
                    </a:cubicBezTo>
                    <a:cubicBezTo>
                      <a:pt x="130" y="18"/>
                      <a:pt x="130" y="17"/>
                      <a:pt x="130" y="16"/>
                    </a:cubicBezTo>
                    <a:cubicBezTo>
                      <a:pt x="132" y="14"/>
                      <a:pt x="134" y="13"/>
                      <a:pt x="137" y="13"/>
                    </a:cubicBezTo>
                    <a:cubicBezTo>
                      <a:pt x="138" y="12"/>
                      <a:pt x="138" y="12"/>
                      <a:pt x="138" y="12"/>
                    </a:cubicBezTo>
                    <a:cubicBezTo>
                      <a:pt x="138" y="10"/>
                      <a:pt x="138" y="10"/>
                      <a:pt x="138" y="10"/>
                    </a:cubicBezTo>
                    <a:cubicBezTo>
                      <a:pt x="140" y="12"/>
                      <a:pt x="140" y="12"/>
                      <a:pt x="140" y="12"/>
                    </a:cubicBezTo>
                    <a:cubicBezTo>
                      <a:pt x="141" y="12"/>
                      <a:pt x="141" y="12"/>
                      <a:pt x="141" y="12"/>
                    </a:cubicBezTo>
                    <a:cubicBezTo>
                      <a:pt x="141" y="12"/>
                      <a:pt x="142" y="12"/>
                      <a:pt x="142" y="11"/>
                    </a:cubicBezTo>
                    <a:cubicBezTo>
                      <a:pt x="145" y="8"/>
                      <a:pt x="148" y="5"/>
                      <a:pt x="151" y="3"/>
                    </a:cubicBezTo>
                    <a:cubicBezTo>
                      <a:pt x="153" y="1"/>
                      <a:pt x="153" y="1"/>
                      <a:pt x="153" y="1"/>
                    </a:cubicBezTo>
                    <a:cubicBezTo>
                      <a:pt x="153" y="0"/>
                      <a:pt x="153" y="0"/>
                      <a:pt x="153" y="0"/>
                    </a:cubicBezTo>
                    <a:cubicBezTo>
                      <a:pt x="153" y="0"/>
                      <a:pt x="153" y="0"/>
                      <a:pt x="1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175"/>
              <p:cNvSpPr/>
              <p:nvPr/>
            </p:nvSpPr>
            <p:spPr bwMode="auto">
              <a:xfrm>
                <a:off x="5625" y="878"/>
                <a:ext cx="9" cy="5"/>
              </a:xfrm>
              <a:custGeom>
                <a:gdLst>
                  <a:gd name="T0" fmla="*/ 4 w 4"/>
                  <a:gd name="T1" fmla="*/ 0 h 2"/>
                  <a:gd name="T2" fmla="*/ 0 w 4"/>
                  <a:gd name="T3" fmla="*/ 1 h 2"/>
                  <a:gd name="T4" fmla="*/ 4 w 4"/>
                  <a:gd name="T5" fmla="*/ 2 h 2"/>
                  <a:gd name="T6" fmla="*/ 4 w 4"/>
                  <a:gd name="T7" fmla="*/ 0 h 2"/>
                </a:gdLst>
                <a:cxnLst>
                  <a:cxn ang="0">
                    <a:pos x="T0" y="T1"/>
                  </a:cxn>
                  <a:cxn ang="0">
                    <a:pos x="T2" y="T3"/>
                  </a:cxn>
                  <a:cxn ang="0">
                    <a:pos x="T4" y="T5"/>
                  </a:cxn>
                  <a:cxn ang="0">
                    <a:pos x="T6" y="T7"/>
                  </a:cxn>
                </a:cxnLst>
                <a:rect l="0" t="0" r="r" b="b"/>
                <a:pathLst>
                  <a:path w="4" h="2">
                    <a:moveTo>
                      <a:pt x="4" y="0"/>
                    </a:moveTo>
                    <a:cubicBezTo>
                      <a:pt x="0" y="1"/>
                      <a:pt x="0" y="1"/>
                      <a:pt x="0" y="1"/>
                    </a:cubicBezTo>
                    <a:cubicBezTo>
                      <a:pt x="1" y="1"/>
                      <a:pt x="2" y="2"/>
                      <a:pt x="4" y="2"/>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176"/>
              <p:cNvSpPr/>
              <p:nvPr/>
            </p:nvSpPr>
            <p:spPr bwMode="auto">
              <a:xfrm>
                <a:off x="5568" y="850"/>
                <a:ext cx="68" cy="198"/>
              </a:xfrm>
              <a:custGeom>
                <a:gdLst>
                  <a:gd name="T0" fmla="*/ 29 w 29"/>
                  <a:gd name="T1" fmla="*/ 0 h 84"/>
                  <a:gd name="T2" fmla="*/ 26 w 29"/>
                  <a:gd name="T3" fmla="*/ 0 h 84"/>
                  <a:gd name="T4" fmla="*/ 25 w 29"/>
                  <a:gd name="T5" fmla="*/ 0 h 84"/>
                  <a:gd name="T6" fmla="*/ 19 w 29"/>
                  <a:gd name="T7" fmla="*/ 0 h 84"/>
                  <a:gd name="T8" fmla="*/ 19 w 29"/>
                  <a:gd name="T9" fmla="*/ 3 h 84"/>
                  <a:gd name="T10" fmla="*/ 16 w 29"/>
                  <a:gd name="T11" fmla="*/ 9 h 84"/>
                  <a:gd name="T12" fmla="*/ 5 w 29"/>
                  <a:gd name="T13" fmla="*/ 37 h 84"/>
                  <a:gd name="T14" fmla="*/ 5 w 29"/>
                  <a:gd name="T15" fmla="*/ 37 h 84"/>
                  <a:gd name="T16" fmla="*/ 0 w 29"/>
                  <a:gd name="T17" fmla="*/ 41 h 84"/>
                  <a:gd name="T18" fmla="*/ 1 w 29"/>
                  <a:gd name="T19" fmla="*/ 43 h 84"/>
                  <a:gd name="T20" fmla="*/ 0 w 29"/>
                  <a:gd name="T21" fmla="*/ 44 h 84"/>
                  <a:gd name="T22" fmla="*/ 1 w 29"/>
                  <a:gd name="T23" fmla="*/ 43 h 84"/>
                  <a:gd name="T24" fmla="*/ 2 w 29"/>
                  <a:gd name="T25" fmla="*/ 44 h 84"/>
                  <a:gd name="T26" fmla="*/ 2 w 29"/>
                  <a:gd name="T27" fmla="*/ 45 h 84"/>
                  <a:gd name="T28" fmla="*/ 2 w 29"/>
                  <a:gd name="T29" fmla="*/ 45 h 84"/>
                  <a:gd name="T30" fmla="*/ 14 w 29"/>
                  <a:gd name="T31" fmla="*/ 84 h 84"/>
                  <a:gd name="T32" fmla="*/ 18 w 29"/>
                  <a:gd name="T33" fmla="*/ 68 h 84"/>
                  <a:gd name="T34" fmla="*/ 20 w 29"/>
                  <a:gd name="T35" fmla="*/ 62 h 84"/>
                  <a:gd name="T36" fmla="*/ 22 w 29"/>
                  <a:gd name="T37" fmla="*/ 55 h 84"/>
                  <a:gd name="T38" fmla="*/ 22 w 29"/>
                  <a:gd name="T39" fmla="*/ 53 h 84"/>
                  <a:gd name="T40" fmla="*/ 23 w 29"/>
                  <a:gd name="T41" fmla="*/ 50 h 84"/>
                  <a:gd name="T42" fmla="*/ 24 w 29"/>
                  <a:gd name="T43" fmla="*/ 42 h 84"/>
                  <a:gd name="T44" fmla="*/ 25 w 29"/>
                  <a:gd name="T45" fmla="*/ 41 h 84"/>
                  <a:gd name="T46" fmla="*/ 21 w 29"/>
                  <a:gd name="T47" fmla="*/ 42 h 84"/>
                  <a:gd name="T48" fmla="*/ 21 w 29"/>
                  <a:gd name="T49" fmla="*/ 43 h 84"/>
                  <a:gd name="T50" fmla="*/ 21 w 29"/>
                  <a:gd name="T51" fmla="*/ 43 h 84"/>
                  <a:gd name="T52" fmla="*/ 20 w 29"/>
                  <a:gd name="T53" fmla="*/ 43 h 84"/>
                  <a:gd name="T54" fmla="*/ 18 w 29"/>
                  <a:gd name="T55" fmla="*/ 43 h 84"/>
                  <a:gd name="T56" fmla="*/ 18 w 29"/>
                  <a:gd name="T57" fmla="*/ 43 h 84"/>
                  <a:gd name="T58" fmla="*/ 17 w 29"/>
                  <a:gd name="T59" fmla="*/ 43 h 84"/>
                  <a:gd name="T60" fmla="*/ 15 w 29"/>
                  <a:gd name="T61" fmla="*/ 43 h 84"/>
                  <a:gd name="T62" fmla="*/ 21 w 29"/>
                  <a:gd name="T63" fmla="*/ 33 h 84"/>
                  <a:gd name="T64" fmla="*/ 22 w 29"/>
                  <a:gd name="T65" fmla="*/ 33 h 84"/>
                  <a:gd name="T66" fmla="*/ 16 w 29"/>
                  <a:gd name="T67" fmla="*/ 30 h 84"/>
                  <a:gd name="T68" fmla="*/ 18 w 29"/>
                  <a:gd name="T69" fmla="*/ 16 h 84"/>
                  <a:gd name="T70" fmla="*/ 21 w 29"/>
                  <a:gd name="T71" fmla="*/ 13 h 84"/>
                  <a:gd name="T72" fmla="*/ 22 w 29"/>
                  <a:gd name="T73" fmla="*/ 12 h 84"/>
                  <a:gd name="T74" fmla="*/ 22 w 29"/>
                  <a:gd name="T75" fmla="*/ 12 h 84"/>
                  <a:gd name="T76" fmla="*/ 29 w 29"/>
                  <a:gd name="T77" fmla="*/ 6 h 84"/>
                  <a:gd name="T78" fmla="*/ 29 w 29"/>
                  <a:gd name="T79" fmla="*/ 6 h 84"/>
                  <a:gd name="T80" fmla="*/ 29 w 29"/>
                  <a:gd name="T81" fmla="*/ 5 h 84"/>
                  <a:gd name="T82" fmla="*/ 29 w 29"/>
                  <a:gd name="T83" fmla="*/ 1 h 84"/>
                  <a:gd name="T84" fmla="*/ 29 w 29"/>
                  <a:gd name="T85" fmla="*/ 0 h 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 h="84">
                    <a:moveTo>
                      <a:pt x="29" y="0"/>
                    </a:moveTo>
                    <a:cubicBezTo>
                      <a:pt x="28" y="0"/>
                      <a:pt x="27" y="0"/>
                      <a:pt x="26" y="0"/>
                    </a:cubicBezTo>
                    <a:cubicBezTo>
                      <a:pt x="25" y="0"/>
                      <a:pt x="25" y="0"/>
                      <a:pt x="25" y="0"/>
                    </a:cubicBezTo>
                    <a:cubicBezTo>
                      <a:pt x="19" y="0"/>
                      <a:pt x="19" y="0"/>
                      <a:pt x="19" y="0"/>
                    </a:cubicBezTo>
                    <a:cubicBezTo>
                      <a:pt x="19" y="1"/>
                      <a:pt x="19" y="2"/>
                      <a:pt x="19" y="3"/>
                    </a:cubicBezTo>
                    <a:cubicBezTo>
                      <a:pt x="18" y="5"/>
                      <a:pt x="17" y="7"/>
                      <a:pt x="16" y="9"/>
                    </a:cubicBezTo>
                    <a:cubicBezTo>
                      <a:pt x="13" y="18"/>
                      <a:pt x="10" y="28"/>
                      <a:pt x="5" y="37"/>
                    </a:cubicBezTo>
                    <a:cubicBezTo>
                      <a:pt x="5" y="37"/>
                      <a:pt x="5" y="37"/>
                      <a:pt x="5" y="37"/>
                    </a:cubicBezTo>
                    <a:cubicBezTo>
                      <a:pt x="3" y="38"/>
                      <a:pt x="1" y="40"/>
                      <a:pt x="0" y="41"/>
                    </a:cubicBezTo>
                    <a:cubicBezTo>
                      <a:pt x="1" y="43"/>
                      <a:pt x="1" y="43"/>
                      <a:pt x="1" y="43"/>
                    </a:cubicBezTo>
                    <a:cubicBezTo>
                      <a:pt x="0" y="44"/>
                      <a:pt x="0" y="44"/>
                      <a:pt x="0" y="44"/>
                    </a:cubicBezTo>
                    <a:cubicBezTo>
                      <a:pt x="1" y="43"/>
                      <a:pt x="1" y="43"/>
                      <a:pt x="1" y="43"/>
                    </a:cubicBezTo>
                    <a:cubicBezTo>
                      <a:pt x="2" y="44"/>
                      <a:pt x="2" y="44"/>
                      <a:pt x="2" y="44"/>
                    </a:cubicBezTo>
                    <a:cubicBezTo>
                      <a:pt x="2" y="45"/>
                      <a:pt x="2" y="45"/>
                      <a:pt x="2" y="45"/>
                    </a:cubicBezTo>
                    <a:cubicBezTo>
                      <a:pt x="2" y="45"/>
                      <a:pt x="2" y="45"/>
                      <a:pt x="2" y="45"/>
                    </a:cubicBezTo>
                    <a:cubicBezTo>
                      <a:pt x="14" y="84"/>
                      <a:pt x="14" y="84"/>
                      <a:pt x="14" y="84"/>
                    </a:cubicBezTo>
                    <a:cubicBezTo>
                      <a:pt x="16" y="78"/>
                      <a:pt x="17" y="73"/>
                      <a:pt x="18" y="68"/>
                    </a:cubicBezTo>
                    <a:cubicBezTo>
                      <a:pt x="20" y="62"/>
                      <a:pt x="20" y="62"/>
                      <a:pt x="20" y="62"/>
                    </a:cubicBezTo>
                    <a:cubicBezTo>
                      <a:pt x="20" y="60"/>
                      <a:pt x="21" y="57"/>
                      <a:pt x="22" y="55"/>
                    </a:cubicBezTo>
                    <a:cubicBezTo>
                      <a:pt x="22" y="53"/>
                      <a:pt x="22" y="53"/>
                      <a:pt x="22" y="53"/>
                    </a:cubicBezTo>
                    <a:cubicBezTo>
                      <a:pt x="23" y="52"/>
                      <a:pt x="23" y="51"/>
                      <a:pt x="23" y="50"/>
                    </a:cubicBezTo>
                    <a:cubicBezTo>
                      <a:pt x="24" y="48"/>
                      <a:pt x="24" y="45"/>
                      <a:pt x="24" y="42"/>
                    </a:cubicBezTo>
                    <a:cubicBezTo>
                      <a:pt x="25" y="41"/>
                      <a:pt x="25" y="41"/>
                      <a:pt x="25" y="41"/>
                    </a:cubicBezTo>
                    <a:cubicBezTo>
                      <a:pt x="24" y="41"/>
                      <a:pt x="23" y="42"/>
                      <a:pt x="21" y="42"/>
                    </a:cubicBezTo>
                    <a:cubicBezTo>
                      <a:pt x="21" y="43"/>
                      <a:pt x="21" y="43"/>
                      <a:pt x="21" y="43"/>
                    </a:cubicBezTo>
                    <a:cubicBezTo>
                      <a:pt x="21" y="43"/>
                      <a:pt x="21" y="43"/>
                      <a:pt x="21" y="43"/>
                    </a:cubicBezTo>
                    <a:cubicBezTo>
                      <a:pt x="20" y="43"/>
                      <a:pt x="20" y="43"/>
                      <a:pt x="20" y="43"/>
                    </a:cubicBezTo>
                    <a:cubicBezTo>
                      <a:pt x="19" y="43"/>
                      <a:pt x="19" y="43"/>
                      <a:pt x="18" y="43"/>
                    </a:cubicBezTo>
                    <a:cubicBezTo>
                      <a:pt x="18" y="43"/>
                      <a:pt x="18" y="43"/>
                      <a:pt x="18" y="43"/>
                    </a:cubicBezTo>
                    <a:cubicBezTo>
                      <a:pt x="18" y="43"/>
                      <a:pt x="18" y="43"/>
                      <a:pt x="17" y="43"/>
                    </a:cubicBezTo>
                    <a:cubicBezTo>
                      <a:pt x="17" y="43"/>
                      <a:pt x="16" y="43"/>
                      <a:pt x="15" y="43"/>
                    </a:cubicBezTo>
                    <a:cubicBezTo>
                      <a:pt x="15" y="40"/>
                      <a:pt x="17" y="33"/>
                      <a:pt x="21" y="33"/>
                    </a:cubicBezTo>
                    <a:cubicBezTo>
                      <a:pt x="21" y="33"/>
                      <a:pt x="22" y="33"/>
                      <a:pt x="22" y="33"/>
                    </a:cubicBezTo>
                    <a:cubicBezTo>
                      <a:pt x="20" y="31"/>
                      <a:pt x="19" y="30"/>
                      <a:pt x="16" y="30"/>
                    </a:cubicBezTo>
                    <a:cubicBezTo>
                      <a:pt x="17" y="26"/>
                      <a:pt x="16" y="20"/>
                      <a:pt x="18" y="16"/>
                    </a:cubicBezTo>
                    <a:cubicBezTo>
                      <a:pt x="19" y="14"/>
                      <a:pt x="20" y="13"/>
                      <a:pt x="21" y="13"/>
                    </a:cubicBezTo>
                    <a:cubicBezTo>
                      <a:pt x="22" y="12"/>
                      <a:pt x="22" y="12"/>
                      <a:pt x="22" y="12"/>
                    </a:cubicBezTo>
                    <a:cubicBezTo>
                      <a:pt x="22" y="12"/>
                      <a:pt x="22" y="12"/>
                      <a:pt x="22" y="12"/>
                    </a:cubicBezTo>
                    <a:cubicBezTo>
                      <a:pt x="29" y="6"/>
                      <a:pt x="29" y="6"/>
                      <a:pt x="29" y="6"/>
                    </a:cubicBezTo>
                    <a:cubicBezTo>
                      <a:pt x="29" y="6"/>
                      <a:pt x="29" y="6"/>
                      <a:pt x="29" y="6"/>
                    </a:cubicBezTo>
                    <a:cubicBezTo>
                      <a:pt x="29" y="5"/>
                      <a:pt x="29" y="5"/>
                      <a:pt x="29" y="5"/>
                    </a:cubicBezTo>
                    <a:cubicBezTo>
                      <a:pt x="29" y="4"/>
                      <a:pt x="29" y="3"/>
                      <a:pt x="29" y="1"/>
                    </a:cubicBezTo>
                    <a:cubicBezTo>
                      <a:pt x="29" y="0"/>
                      <a:pt x="29"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177"/>
              <p:cNvSpPr/>
              <p:nvPr/>
            </p:nvSpPr>
            <p:spPr bwMode="auto">
              <a:xfrm>
                <a:off x="6147" y="585"/>
                <a:ext cx="2"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178"/>
              <p:cNvSpPr/>
              <p:nvPr/>
            </p:nvSpPr>
            <p:spPr bwMode="auto">
              <a:xfrm>
                <a:off x="6147" y="585"/>
                <a:ext cx="2"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179"/>
              <p:cNvSpPr/>
              <p:nvPr/>
            </p:nvSpPr>
            <p:spPr bwMode="auto">
              <a:xfrm>
                <a:off x="5110" y="268"/>
                <a:ext cx="1037" cy="395"/>
              </a:xfrm>
              <a:custGeom>
                <a:gdLst>
                  <a:gd name="T0" fmla="*/ 194 w 439"/>
                  <a:gd name="T1" fmla="*/ 2 h 167"/>
                  <a:gd name="T2" fmla="*/ 156 w 439"/>
                  <a:gd name="T3" fmla="*/ 6 h 167"/>
                  <a:gd name="T4" fmla="*/ 102 w 439"/>
                  <a:gd name="T5" fmla="*/ 24 h 167"/>
                  <a:gd name="T6" fmla="*/ 75 w 439"/>
                  <a:gd name="T7" fmla="*/ 23 h 167"/>
                  <a:gd name="T8" fmla="*/ 82 w 439"/>
                  <a:gd name="T9" fmla="*/ 36 h 167"/>
                  <a:gd name="T10" fmla="*/ 66 w 439"/>
                  <a:gd name="T11" fmla="*/ 47 h 167"/>
                  <a:gd name="T12" fmla="*/ 43 w 439"/>
                  <a:gd name="T13" fmla="*/ 47 h 167"/>
                  <a:gd name="T14" fmla="*/ 28 w 439"/>
                  <a:gd name="T15" fmla="*/ 45 h 167"/>
                  <a:gd name="T16" fmla="*/ 1 w 439"/>
                  <a:gd name="T17" fmla="*/ 72 h 167"/>
                  <a:gd name="T18" fmla="*/ 17 w 439"/>
                  <a:gd name="T19" fmla="*/ 81 h 167"/>
                  <a:gd name="T20" fmla="*/ 17 w 439"/>
                  <a:gd name="T21" fmla="*/ 92 h 167"/>
                  <a:gd name="T22" fmla="*/ 13 w 439"/>
                  <a:gd name="T23" fmla="*/ 97 h 167"/>
                  <a:gd name="T24" fmla="*/ 8 w 439"/>
                  <a:gd name="T25" fmla="*/ 103 h 167"/>
                  <a:gd name="T26" fmla="*/ 5 w 439"/>
                  <a:gd name="T27" fmla="*/ 105 h 167"/>
                  <a:gd name="T28" fmla="*/ 28 w 439"/>
                  <a:gd name="T29" fmla="*/ 120 h 167"/>
                  <a:gd name="T30" fmla="*/ 34 w 439"/>
                  <a:gd name="T31" fmla="*/ 137 h 167"/>
                  <a:gd name="T32" fmla="*/ 30 w 439"/>
                  <a:gd name="T33" fmla="*/ 140 h 167"/>
                  <a:gd name="T34" fmla="*/ 31 w 439"/>
                  <a:gd name="T35" fmla="*/ 147 h 167"/>
                  <a:gd name="T36" fmla="*/ 47 w 439"/>
                  <a:gd name="T37" fmla="*/ 149 h 167"/>
                  <a:gd name="T38" fmla="*/ 56 w 439"/>
                  <a:gd name="T39" fmla="*/ 144 h 167"/>
                  <a:gd name="T40" fmla="*/ 77 w 439"/>
                  <a:gd name="T41" fmla="*/ 159 h 167"/>
                  <a:gd name="T42" fmla="*/ 102 w 439"/>
                  <a:gd name="T43" fmla="*/ 160 h 167"/>
                  <a:gd name="T44" fmla="*/ 112 w 439"/>
                  <a:gd name="T45" fmla="*/ 143 h 167"/>
                  <a:gd name="T46" fmla="*/ 175 w 439"/>
                  <a:gd name="T47" fmla="*/ 162 h 167"/>
                  <a:gd name="T48" fmla="*/ 214 w 439"/>
                  <a:gd name="T49" fmla="*/ 149 h 167"/>
                  <a:gd name="T50" fmla="*/ 233 w 439"/>
                  <a:gd name="T51" fmla="*/ 143 h 167"/>
                  <a:gd name="T52" fmla="*/ 236 w 439"/>
                  <a:gd name="T53" fmla="*/ 167 h 167"/>
                  <a:gd name="T54" fmla="*/ 241 w 439"/>
                  <a:gd name="T55" fmla="*/ 163 h 167"/>
                  <a:gd name="T56" fmla="*/ 244 w 439"/>
                  <a:gd name="T57" fmla="*/ 154 h 167"/>
                  <a:gd name="T58" fmla="*/ 264 w 439"/>
                  <a:gd name="T59" fmla="*/ 146 h 167"/>
                  <a:gd name="T60" fmla="*/ 290 w 439"/>
                  <a:gd name="T61" fmla="*/ 140 h 167"/>
                  <a:gd name="T62" fmla="*/ 299 w 439"/>
                  <a:gd name="T63" fmla="*/ 143 h 167"/>
                  <a:gd name="T64" fmla="*/ 315 w 439"/>
                  <a:gd name="T65" fmla="*/ 145 h 167"/>
                  <a:gd name="T66" fmla="*/ 338 w 439"/>
                  <a:gd name="T67" fmla="*/ 137 h 167"/>
                  <a:gd name="T68" fmla="*/ 382 w 439"/>
                  <a:gd name="T69" fmla="*/ 130 h 167"/>
                  <a:gd name="T70" fmla="*/ 401 w 439"/>
                  <a:gd name="T71" fmla="*/ 126 h 167"/>
                  <a:gd name="T72" fmla="*/ 405 w 439"/>
                  <a:gd name="T73" fmla="*/ 127 h 167"/>
                  <a:gd name="T74" fmla="*/ 431 w 439"/>
                  <a:gd name="T75" fmla="*/ 133 h 167"/>
                  <a:gd name="T76" fmla="*/ 436 w 439"/>
                  <a:gd name="T77" fmla="*/ 134 h 167"/>
                  <a:gd name="T78" fmla="*/ 438 w 439"/>
                  <a:gd name="T79" fmla="*/ 132 h 167"/>
                  <a:gd name="T80" fmla="*/ 434 w 439"/>
                  <a:gd name="T81" fmla="*/ 122 h 167"/>
                  <a:gd name="T82" fmla="*/ 432 w 439"/>
                  <a:gd name="T83" fmla="*/ 120 h 167"/>
                  <a:gd name="T84" fmla="*/ 427 w 439"/>
                  <a:gd name="T85" fmla="*/ 117 h 167"/>
                  <a:gd name="T86" fmla="*/ 427 w 439"/>
                  <a:gd name="T87" fmla="*/ 106 h 167"/>
                  <a:gd name="T88" fmla="*/ 423 w 439"/>
                  <a:gd name="T89" fmla="*/ 84 h 167"/>
                  <a:gd name="T90" fmla="*/ 430 w 439"/>
                  <a:gd name="T91" fmla="*/ 71 h 167"/>
                  <a:gd name="T92" fmla="*/ 422 w 439"/>
                  <a:gd name="T93" fmla="*/ 59 h 167"/>
                  <a:gd name="T94" fmla="*/ 412 w 439"/>
                  <a:gd name="T95" fmla="*/ 51 h 167"/>
                  <a:gd name="T96" fmla="*/ 412 w 439"/>
                  <a:gd name="T97" fmla="*/ 40 h 167"/>
                  <a:gd name="T98" fmla="*/ 412 w 439"/>
                  <a:gd name="T99" fmla="*/ 35 h 167"/>
                  <a:gd name="T100" fmla="*/ 410 w 439"/>
                  <a:gd name="T101" fmla="*/ 31 h 167"/>
                  <a:gd name="T102" fmla="*/ 399 w 439"/>
                  <a:gd name="T103" fmla="*/ 21 h 167"/>
                  <a:gd name="T104" fmla="*/ 392 w 439"/>
                  <a:gd name="T105" fmla="*/ 16 h 167"/>
                  <a:gd name="T106" fmla="*/ 378 w 439"/>
                  <a:gd name="T107" fmla="*/ 19 h 167"/>
                  <a:gd name="T108" fmla="*/ 369 w 439"/>
                  <a:gd name="T109" fmla="*/ 18 h 167"/>
                  <a:gd name="T110" fmla="*/ 351 w 439"/>
                  <a:gd name="T111" fmla="*/ 24 h 167"/>
                  <a:gd name="T112" fmla="*/ 329 w 439"/>
                  <a:gd name="T113" fmla="*/ 31 h 167"/>
                  <a:gd name="T114" fmla="*/ 315 w 439"/>
                  <a:gd name="T115" fmla="*/ 27 h 167"/>
                  <a:gd name="T116" fmla="*/ 307 w 439"/>
                  <a:gd name="T117" fmla="*/ 28 h 167"/>
                  <a:gd name="T118" fmla="*/ 253 w 439"/>
                  <a:gd name="T119" fmla="*/ 19 h 167"/>
                  <a:gd name="T120" fmla="*/ 232 w 439"/>
                  <a:gd name="T121" fmla="*/ 10 h 167"/>
                  <a:gd name="T122" fmla="*/ 216 w 439"/>
                  <a:gd name="T123" fmla="*/ 1 h 1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9" h="167">
                    <a:moveTo>
                      <a:pt x="213" y="0"/>
                    </a:moveTo>
                    <a:cubicBezTo>
                      <a:pt x="212" y="0"/>
                      <a:pt x="210" y="1"/>
                      <a:pt x="208" y="1"/>
                    </a:cubicBezTo>
                    <a:cubicBezTo>
                      <a:pt x="206" y="2"/>
                      <a:pt x="203" y="3"/>
                      <a:pt x="201" y="3"/>
                    </a:cubicBezTo>
                    <a:cubicBezTo>
                      <a:pt x="200" y="3"/>
                      <a:pt x="198" y="3"/>
                      <a:pt x="197" y="3"/>
                    </a:cubicBezTo>
                    <a:cubicBezTo>
                      <a:pt x="196" y="2"/>
                      <a:pt x="195" y="2"/>
                      <a:pt x="194" y="2"/>
                    </a:cubicBezTo>
                    <a:cubicBezTo>
                      <a:pt x="194" y="2"/>
                      <a:pt x="194" y="2"/>
                      <a:pt x="194" y="2"/>
                    </a:cubicBezTo>
                    <a:cubicBezTo>
                      <a:pt x="194" y="2"/>
                      <a:pt x="193" y="2"/>
                      <a:pt x="193" y="2"/>
                    </a:cubicBezTo>
                    <a:cubicBezTo>
                      <a:pt x="187" y="2"/>
                      <a:pt x="181" y="2"/>
                      <a:pt x="175" y="1"/>
                    </a:cubicBezTo>
                    <a:cubicBezTo>
                      <a:pt x="175" y="1"/>
                      <a:pt x="174" y="1"/>
                      <a:pt x="173" y="1"/>
                    </a:cubicBezTo>
                    <a:cubicBezTo>
                      <a:pt x="167" y="1"/>
                      <a:pt x="162" y="5"/>
                      <a:pt x="156" y="6"/>
                    </a:cubicBezTo>
                    <a:cubicBezTo>
                      <a:pt x="149" y="7"/>
                      <a:pt x="145" y="11"/>
                      <a:pt x="139" y="14"/>
                    </a:cubicBezTo>
                    <a:cubicBezTo>
                      <a:pt x="136" y="16"/>
                      <a:pt x="133" y="18"/>
                      <a:pt x="130" y="20"/>
                    </a:cubicBezTo>
                    <a:cubicBezTo>
                      <a:pt x="128" y="22"/>
                      <a:pt x="125" y="26"/>
                      <a:pt x="123" y="26"/>
                    </a:cubicBezTo>
                    <a:cubicBezTo>
                      <a:pt x="120" y="27"/>
                      <a:pt x="118" y="27"/>
                      <a:pt x="115" y="27"/>
                    </a:cubicBezTo>
                    <a:cubicBezTo>
                      <a:pt x="111" y="27"/>
                      <a:pt x="107" y="26"/>
                      <a:pt x="102" y="24"/>
                    </a:cubicBezTo>
                    <a:cubicBezTo>
                      <a:pt x="101" y="24"/>
                      <a:pt x="100" y="24"/>
                      <a:pt x="99" y="24"/>
                    </a:cubicBezTo>
                    <a:cubicBezTo>
                      <a:pt x="96" y="24"/>
                      <a:pt x="93" y="25"/>
                      <a:pt x="91" y="25"/>
                    </a:cubicBezTo>
                    <a:cubicBezTo>
                      <a:pt x="90" y="25"/>
                      <a:pt x="90" y="25"/>
                      <a:pt x="90" y="25"/>
                    </a:cubicBezTo>
                    <a:cubicBezTo>
                      <a:pt x="87" y="25"/>
                      <a:pt x="84" y="24"/>
                      <a:pt x="81" y="24"/>
                    </a:cubicBezTo>
                    <a:cubicBezTo>
                      <a:pt x="80" y="24"/>
                      <a:pt x="77" y="23"/>
                      <a:pt x="75" y="23"/>
                    </a:cubicBezTo>
                    <a:cubicBezTo>
                      <a:pt x="74" y="23"/>
                      <a:pt x="73" y="23"/>
                      <a:pt x="73" y="24"/>
                    </a:cubicBezTo>
                    <a:cubicBezTo>
                      <a:pt x="73" y="24"/>
                      <a:pt x="73" y="24"/>
                      <a:pt x="73" y="24"/>
                    </a:cubicBezTo>
                    <a:cubicBezTo>
                      <a:pt x="74" y="25"/>
                      <a:pt x="75" y="27"/>
                      <a:pt x="75" y="29"/>
                    </a:cubicBezTo>
                    <a:cubicBezTo>
                      <a:pt x="75" y="30"/>
                      <a:pt x="75" y="31"/>
                      <a:pt x="74" y="32"/>
                    </a:cubicBezTo>
                    <a:cubicBezTo>
                      <a:pt x="77" y="34"/>
                      <a:pt x="78" y="35"/>
                      <a:pt x="82" y="36"/>
                    </a:cubicBezTo>
                    <a:cubicBezTo>
                      <a:pt x="84" y="36"/>
                      <a:pt x="87" y="36"/>
                      <a:pt x="90" y="37"/>
                    </a:cubicBezTo>
                    <a:cubicBezTo>
                      <a:pt x="85" y="38"/>
                      <a:pt x="79" y="38"/>
                      <a:pt x="74" y="39"/>
                    </a:cubicBezTo>
                    <a:cubicBezTo>
                      <a:pt x="71" y="40"/>
                      <a:pt x="66" y="40"/>
                      <a:pt x="64" y="42"/>
                    </a:cubicBezTo>
                    <a:cubicBezTo>
                      <a:pt x="67" y="43"/>
                      <a:pt x="71" y="43"/>
                      <a:pt x="73" y="45"/>
                    </a:cubicBezTo>
                    <a:cubicBezTo>
                      <a:pt x="71" y="47"/>
                      <a:pt x="69" y="47"/>
                      <a:pt x="66" y="47"/>
                    </a:cubicBezTo>
                    <a:cubicBezTo>
                      <a:pt x="64" y="47"/>
                      <a:pt x="62" y="47"/>
                      <a:pt x="60" y="47"/>
                    </a:cubicBezTo>
                    <a:cubicBezTo>
                      <a:pt x="56" y="47"/>
                      <a:pt x="53" y="46"/>
                      <a:pt x="50" y="46"/>
                    </a:cubicBezTo>
                    <a:cubicBezTo>
                      <a:pt x="48" y="46"/>
                      <a:pt x="46" y="46"/>
                      <a:pt x="44" y="47"/>
                    </a:cubicBezTo>
                    <a:cubicBezTo>
                      <a:pt x="45" y="42"/>
                      <a:pt x="43" y="43"/>
                      <a:pt x="40" y="43"/>
                    </a:cubicBezTo>
                    <a:cubicBezTo>
                      <a:pt x="41" y="44"/>
                      <a:pt x="42" y="45"/>
                      <a:pt x="43" y="47"/>
                    </a:cubicBezTo>
                    <a:cubicBezTo>
                      <a:pt x="41" y="47"/>
                      <a:pt x="39" y="48"/>
                      <a:pt x="37" y="48"/>
                    </a:cubicBezTo>
                    <a:cubicBezTo>
                      <a:pt x="36" y="48"/>
                      <a:pt x="36" y="48"/>
                      <a:pt x="35" y="48"/>
                    </a:cubicBezTo>
                    <a:cubicBezTo>
                      <a:pt x="34" y="48"/>
                      <a:pt x="33" y="47"/>
                      <a:pt x="31" y="46"/>
                    </a:cubicBezTo>
                    <a:cubicBezTo>
                      <a:pt x="30" y="45"/>
                      <a:pt x="30" y="44"/>
                      <a:pt x="29" y="44"/>
                    </a:cubicBezTo>
                    <a:cubicBezTo>
                      <a:pt x="28" y="44"/>
                      <a:pt x="28" y="44"/>
                      <a:pt x="28" y="45"/>
                    </a:cubicBezTo>
                    <a:cubicBezTo>
                      <a:pt x="23" y="46"/>
                      <a:pt x="18" y="48"/>
                      <a:pt x="13" y="50"/>
                    </a:cubicBezTo>
                    <a:cubicBezTo>
                      <a:pt x="9" y="52"/>
                      <a:pt x="4" y="56"/>
                      <a:pt x="3" y="59"/>
                    </a:cubicBezTo>
                    <a:cubicBezTo>
                      <a:pt x="2" y="62"/>
                      <a:pt x="3" y="65"/>
                      <a:pt x="3" y="67"/>
                    </a:cubicBezTo>
                    <a:cubicBezTo>
                      <a:pt x="3" y="68"/>
                      <a:pt x="1" y="69"/>
                      <a:pt x="1" y="70"/>
                    </a:cubicBezTo>
                    <a:cubicBezTo>
                      <a:pt x="1" y="71"/>
                      <a:pt x="0" y="71"/>
                      <a:pt x="1" y="72"/>
                    </a:cubicBezTo>
                    <a:cubicBezTo>
                      <a:pt x="1" y="72"/>
                      <a:pt x="1" y="72"/>
                      <a:pt x="2" y="72"/>
                    </a:cubicBezTo>
                    <a:cubicBezTo>
                      <a:pt x="4" y="72"/>
                      <a:pt x="7" y="71"/>
                      <a:pt x="8" y="71"/>
                    </a:cubicBezTo>
                    <a:cubicBezTo>
                      <a:pt x="12" y="70"/>
                      <a:pt x="16" y="70"/>
                      <a:pt x="21" y="70"/>
                    </a:cubicBezTo>
                    <a:cubicBezTo>
                      <a:pt x="19" y="72"/>
                      <a:pt x="17" y="75"/>
                      <a:pt x="14" y="77"/>
                    </a:cubicBezTo>
                    <a:cubicBezTo>
                      <a:pt x="15" y="78"/>
                      <a:pt x="17" y="79"/>
                      <a:pt x="17" y="81"/>
                    </a:cubicBezTo>
                    <a:cubicBezTo>
                      <a:pt x="17" y="82"/>
                      <a:pt x="17" y="84"/>
                      <a:pt x="18" y="85"/>
                    </a:cubicBezTo>
                    <a:cubicBezTo>
                      <a:pt x="19" y="87"/>
                      <a:pt x="22" y="86"/>
                      <a:pt x="24" y="87"/>
                    </a:cubicBezTo>
                    <a:cubicBezTo>
                      <a:pt x="22" y="90"/>
                      <a:pt x="21" y="92"/>
                      <a:pt x="18" y="92"/>
                    </a:cubicBezTo>
                    <a:cubicBezTo>
                      <a:pt x="18" y="92"/>
                      <a:pt x="18" y="92"/>
                      <a:pt x="18" y="92"/>
                    </a:cubicBezTo>
                    <a:cubicBezTo>
                      <a:pt x="18" y="92"/>
                      <a:pt x="18" y="92"/>
                      <a:pt x="17" y="92"/>
                    </a:cubicBezTo>
                    <a:cubicBezTo>
                      <a:pt x="17" y="92"/>
                      <a:pt x="16" y="92"/>
                      <a:pt x="16" y="93"/>
                    </a:cubicBezTo>
                    <a:cubicBezTo>
                      <a:pt x="17" y="97"/>
                      <a:pt x="21" y="100"/>
                      <a:pt x="25" y="101"/>
                    </a:cubicBezTo>
                    <a:cubicBezTo>
                      <a:pt x="23" y="102"/>
                      <a:pt x="21" y="102"/>
                      <a:pt x="19" y="102"/>
                    </a:cubicBezTo>
                    <a:cubicBezTo>
                      <a:pt x="18" y="102"/>
                      <a:pt x="16" y="102"/>
                      <a:pt x="14" y="101"/>
                    </a:cubicBezTo>
                    <a:cubicBezTo>
                      <a:pt x="13" y="100"/>
                      <a:pt x="13" y="98"/>
                      <a:pt x="13" y="97"/>
                    </a:cubicBezTo>
                    <a:cubicBezTo>
                      <a:pt x="12" y="96"/>
                      <a:pt x="12" y="95"/>
                      <a:pt x="11" y="95"/>
                    </a:cubicBezTo>
                    <a:cubicBezTo>
                      <a:pt x="11" y="94"/>
                      <a:pt x="10" y="94"/>
                      <a:pt x="10" y="94"/>
                    </a:cubicBezTo>
                    <a:cubicBezTo>
                      <a:pt x="9" y="94"/>
                      <a:pt x="9" y="96"/>
                      <a:pt x="10" y="98"/>
                    </a:cubicBezTo>
                    <a:cubicBezTo>
                      <a:pt x="10" y="99"/>
                      <a:pt x="11" y="102"/>
                      <a:pt x="9" y="103"/>
                    </a:cubicBezTo>
                    <a:cubicBezTo>
                      <a:pt x="9" y="103"/>
                      <a:pt x="9" y="103"/>
                      <a:pt x="8" y="103"/>
                    </a:cubicBezTo>
                    <a:cubicBezTo>
                      <a:pt x="8" y="103"/>
                      <a:pt x="8" y="103"/>
                      <a:pt x="8" y="103"/>
                    </a:cubicBezTo>
                    <a:cubicBezTo>
                      <a:pt x="8" y="103"/>
                      <a:pt x="8" y="103"/>
                      <a:pt x="8" y="103"/>
                    </a:cubicBezTo>
                    <a:cubicBezTo>
                      <a:pt x="7" y="103"/>
                      <a:pt x="7" y="103"/>
                      <a:pt x="7" y="103"/>
                    </a:cubicBezTo>
                    <a:cubicBezTo>
                      <a:pt x="6" y="102"/>
                      <a:pt x="6" y="102"/>
                      <a:pt x="6" y="102"/>
                    </a:cubicBezTo>
                    <a:cubicBezTo>
                      <a:pt x="6" y="103"/>
                      <a:pt x="5" y="105"/>
                      <a:pt x="5" y="105"/>
                    </a:cubicBezTo>
                    <a:cubicBezTo>
                      <a:pt x="7" y="106"/>
                      <a:pt x="10" y="107"/>
                      <a:pt x="13" y="107"/>
                    </a:cubicBezTo>
                    <a:cubicBezTo>
                      <a:pt x="13" y="107"/>
                      <a:pt x="13" y="107"/>
                      <a:pt x="14" y="107"/>
                    </a:cubicBezTo>
                    <a:cubicBezTo>
                      <a:pt x="14" y="107"/>
                      <a:pt x="14" y="107"/>
                      <a:pt x="14" y="107"/>
                    </a:cubicBezTo>
                    <a:cubicBezTo>
                      <a:pt x="18" y="107"/>
                      <a:pt x="21" y="110"/>
                      <a:pt x="24" y="112"/>
                    </a:cubicBezTo>
                    <a:cubicBezTo>
                      <a:pt x="27" y="113"/>
                      <a:pt x="31" y="116"/>
                      <a:pt x="28" y="120"/>
                    </a:cubicBezTo>
                    <a:cubicBezTo>
                      <a:pt x="27" y="121"/>
                      <a:pt x="24" y="121"/>
                      <a:pt x="23" y="122"/>
                    </a:cubicBezTo>
                    <a:cubicBezTo>
                      <a:pt x="26" y="124"/>
                      <a:pt x="29" y="125"/>
                      <a:pt x="27" y="130"/>
                    </a:cubicBezTo>
                    <a:cubicBezTo>
                      <a:pt x="29" y="130"/>
                      <a:pt x="35" y="129"/>
                      <a:pt x="37" y="132"/>
                    </a:cubicBezTo>
                    <a:cubicBezTo>
                      <a:pt x="38" y="133"/>
                      <a:pt x="36" y="137"/>
                      <a:pt x="34" y="137"/>
                    </a:cubicBezTo>
                    <a:cubicBezTo>
                      <a:pt x="34" y="137"/>
                      <a:pt x="34" y="137"/>
                      <a:pt x="34" y="137"/>
                    </a:cubicBezTo>
                    <a:cubicBezTo>
                      <a:pt x="33" y="137"/>
                      <a:pt x="32" y="137"/>
                      <a:pt x="32" y="137"/>
                    </a:cubicBezTo>
                    <a:cubicBezTo>
                      <a:pt x="31" y="136"/>
                      <a:pt x="31" y="136"/>
                      <a:pt x="30" y="136"/>
                    </a:cubicBezTo>
                    <a:cubicBezTo>
                      <a:pt x="30" y="136"/>
                      <a:pt x="30" y="136"/>
                      <a:pt x="30" y="136"/>
                    </a:cubicBezTo>
                    <a:cubicBezTo>
                      <a:pt x="28" y="137"/>
                      <a:pt x="27" y="138"/>
                      <a:pt x="28" y="140"/>
                    </a:cubicBezTo>
                    <a:cubicBezTo>
                      <a:pt x="29" y="140"/>
                      <a:pt x="29" y="140"/>
                      <a:pt x="30" y="140"/>
                    </a:cubicBezTo>
                    <a:cubicBezTo>
                      <a:pt x="38" y="140"/>
                      <a:pt x="45" y="139"/>
                      <a:pt x="53" y="138"/>
                    </a:cubicBezTo>
                    <a:cubicBezTo>
                      <a:pt x="50" y="141"/>
                      <a:pt x="49" y="144"/>
                      <a:pt x="44" y="145"/>
                    </a:cubicBezTo>
                    <a:cubicBezTo>
                      <a:pt x="43" y="145"/>
                      <a:pt x="41" y="145"/>
                      <a:pt x="40" y="145"/>
                    </a:cubicBezTo>
                    <a:cubicBezTo>
                      <a:pt x="38" y="145"/>
                      <a:pt x="38" y="146"/>
                      <a:pt x="36" y="146"/>
                    </a:cubicBezTo>
                    <a:cubicBezTo>
                      <a:pt x="34" y="146"/>
                      <a:pt x="33" y="147"/>
                      <a:pt x="31" y="147"/>
                    </a:cubicBezTo>
                    <a:cubicBezTo>
                      <a:pt x="31" y="148"/>
                      <a:pt x="32" y="148"/>
                      <a:pt x="33" y="148"/>
                    </a:cubicBezTo>
                    <a:cubicBezTo>
                      <a:pt x="37" y="148"/>
                      <a:pt x="47" y="145"/>
                      <a:pt x="48" y="145"/>
                    </a:cubicBezTo>
                    <a:cubicBezTo>
                      <a:pt x="47" y="146"/>
                      <a:pt x="46" y="147"/>
                      <a:pt x="45" y="148"/>
                    </a:cubicBezTo>
                    <a:cubicBezTo>
                      <a:pt x="46" y="148"/>
                      <a:pt x="46" y="148"/>
                      <a:pt x="46" y="148"/>
                    </a:cubicBezTo>
                    <a:cubicBezTo>
                      <a:pt x="47" y="148"/>
                      <a:pt x="47" y="148"/>
                      <a:pt x="47" y="149"/>
                    </a:cubicBezTo>
                    <a:cubicBezTo>
                      <a:pt x="48" y="149"/>
                      <a:pt x="48" y="149"/>
                      <a:pt x="48" y="149"/>
                    </a:cubicBezTo>
                    <a:cubicBezTo>
                      <a:pt x="47" y="150"/>
                      <a:pt x="45" y="151"/>
                      <a:pt x="45" y="151"/>
                    </a:cubicBezTo>
                    <a:cubicBezTo>
                      <a:pt x="45" y="151"/>
                      <a:pt x="45" y="151"/>
                      <a:pt x="45" y="151"/>
                    </a:cubicBezTo>
                    <a:cubicBezTo>
                      <a:pt x="46" y="151"/>
                      <a:pt x="52" y="146"/>
                      <a:pt x="52" y="146"/>
                    </a:cubicBezTo>
                    <a:cubicBezTo>
                      <a:pt x="54" y="144"/>
                      <a:pt x="55" y="144"/>
                      <a:pt x="56" y="144"/>
                    </a:cubicBezTo>
                    <a:cubicBezTo>
                      <a:pt x="57" y="144"/>
                      <a:pt x="58" y="144"/>
                      <a:pt x="59" y="144"/>
                    </a:cubicBezTo>
                    <a:cubicBezTo>
                      <a:pt x="62" y="145"/>
                      <a:pt x="59" y="147"/>
                      <a:pt x="63" y="148"/>
                    </a:cubicBezTo>
                    <a:cubicBezTo>
                      <a:pt x="65" y="148"/>
                      <a:pt x="66" y="150"/>
                      <a:pt x="66" y="150"/>
                    </a:cubicBezTo>
                    <a:cubicBezTo>
                      <a:pt x="67" y="150"/>
                      <a:pt x="67" y="149"/>
                      <a:pt x="68" y="146"/>
                    </a:cubicBezTo>
                    <a:cubicBezTo>
                      <a:pt x="70" y="149"/>
                      <a:pt x="73" y="158"/>
                      <a:pt x="77" y="159"/>
                    </a:cubicBezTo>
                    <a:cubicBezTo>
                      <a:pt x="80" y="160"/>
                      <a:pt x="84" y="161"/>
                      <a:pt x="87" y="162"/>
                    </a:cubicBezTo>
                    <a:cubicBezTo>
                      <a:pt x="88" y="162"/>
                      <a:pt x="88" y="162"/>
                      <a:pt x="88" y="162"/>
                    </a:cubicBezTo>
                    <a:cubicBezTo>
                      <a:pt x="90" y="162"/>
                      <a:pt x="94" y="160"/>
                      <a:pt x="95" y="160"/>
                    </a:cubicBezTo>
                    <a:cubicBezTo>
                      <a:pt x="96" y="160"/>
                      <a:pt x="97" y="158"/>
                      <a:pt x="98" y="158"/>
                    </a:cubicBezTo>
                    <a:cubicBezTo>
                      <a:pt x="100" y="158"/>
                      <a:pt x="101" y="160"/>
                      <a:pt x="102" y="160"/>
                    </a:cubicBezTo>
                    <a:cubicBezTo>
                      <a:pt x="102" y="160"/>
                      <a:pt x="102" y="160"/>
                      <a:pt x="102" y="160"/>
                    </a:cubicBezTo>
                    <a:cubicBezTo>
                      <a:pt x="103" y="160"/>
                      <a:pt x="104" y="160"/>
                      <a:pt x="105" y="158"/>
                    </a:cubicBezTo>
                    <a:cubicBezTo>
                      <a:pt x="105" y="155"/>
                      <a:pt x="105" y="146"/>
                      <a:pt x="107" y="144"/>
                    </a:cubicBezTo>
                    <a:cubicBezTo>
                      <a:pt x="108" y="143"/>
                      <a:pt x="109" y="143"/>
                      <a:pt x="110" y="143"/>
                    </a:cubicBezTo>
                    <a:cubicBezTo>
                      <a:pt x="110" y="143"/>
                      <a:pt x="111" y="143"/>
                      <a:pt x="112" y="143"/>
                    </a:cubicBezTo>
                    <a:cubicBezTo>
                      <a:pt x="118" y="144"/>
                      <a:pt x="123" y="145"/>
                      <a:pt x="129" y="147"/>
                    </a:cubicBezTo>
                    <a:cubicBezTo>
                      <a:pt x="134" y="150"/>
                      <a:pt x="139" y="153"/>
                      <a:pt x="144" y="157"/>
                    </a:cubicBezTo>
                    <a:cubicBezTo>
                      <a:pt x="148" y="159"/>
                      <a:pt x="151" y="164"/>
                      <a:pt x="156" y="164"/>
                    </a:cubicBezTo>
                    <a:cubicBezTo>
                      <a:pt x="156" y="164"/>
                      <a:pt x="156" y="164"/>
                      <a:pt x="156" y="164"/>
                    </a:cubicBezTo>
                    <a:cubicBezTo>
                      <a:pt x="162" y="164"/>
                      <a:pt x="169" y="162"/>
                      <a:pt x="175" y="162"/>
                    </a:cubicBezTo>
                    <a:cubicBezTo>
                      <a:pt x="175" y="162"/>
                      <a:pt x="175" y="162"/>
                      <a:pt x="175" y="162"/>
                    </a:cubicBezTo>
                    <a:cubicBezTo>
                      <a:pt x="175" y="162"/>
                      <a:pt x="176" y="162"/>
                      <a:pt x="176" y="162"/>
                    </a:cubicBezTo>
                    <a:cubicBezTo>
                      <a:pt x="182" y="162"/>
                      <a:pt x="186" y="162"/>
                      <a:pt x="189" y="157"/>
                    </a:cubicBezTo>
                    <a:cubicBezTo>
                      <a:pt x="194" y="151"/>
                      <a:pt x="199" y="148"/>
                      <a:pt x="206" y="145"/>
                    </a:cubicBezTo>
                    <a:cubicBezTo>
                      <a:pt x="206" y="145"/>
                      <a:pt x="214" y="149"/>
                      <a:pt x="214" y="149"/>
                    </a:cubicBezTo>
                    <a:cubicBezTo>
                      <a:pt x="215" y="150"/>
                      <a:pt x="216" y="150"/>
                      <a:pt x="216" y="150"/>
                    </a:cubicBezTo>
                    <a:cubicBezTo>
                      <a:pt x="217" y="151"/>
                      <a:pt x="218" y="152"/>
                      <a:pt x="219" y="152"/>
                    </a:cubicBezTo>
                    <a:cubicBezTo>
                      <a:pt x="219" y="152"/>
                      <a:pt x="219" y="152"/>
                      <a:pt x="219" y="152"/>
                    </a:cubicBezTo>
                    <a:cubicBezTo>
                      <a:pt x="221" y="152"/>
                      <a:pt x="224" y="149"/>
                      <a:pt x="226" y="147"/>
                    </a:cubicBezTo>
                    <a:cubicBezTo>
                      <a:pt x="229" y="145"/>
                      <a:pt x="231" y="143"/>
                      <a:pt x="233" y="143"/>
                    </a:cubicBezTo>
                    <a:cubicBezTo>
                      <a:pt x="233" y="143"/>
                      <a:pt x="233" y="143"/>
                      <a:pt x="233" y="143"/>
                    </a:cubicBezTo>
                    <a:cubicBezTo>
                      <a:pt x="245" y="143"/>
                      <a:pt x="234" y="154"/>
                      <a:pt x="231" y="158"/>
                    </a:cubicBezTo>
                    <a:cubicBezTo>
                      <a:pt x="229" y="161"/>
                      <a:pt x="233" y="163"/>
                      <a:pt x="234" y="166"/>
                    </a:cubicBezTo>
                    <a:cubicBezTo>
                      <a:pt x="234" y="166"/>
                      <a:pt x="234" y="166"/>
                      <a:pt x="234" y="166"/>
                    </a:cubicBezTo>
                    <a:cubicBezTo>
                      <a:pt x="234" y="167"/>
                      <a:pt x="235" y="167"/>
                      <a:pt x="236" y="167"/>
                    </a:cubicBezTo>
                    <a:cubicBezTo>
                      <a:pt x="237" y="167"/>
                      <a:pt x="237" y="166"/>
                      <a:pt x="238" y="165"/>
                    </a:cubicBezTo>
                    <a:cubicBezTo>
                      <a:pt x="238" y="165"/>
                      <a:pt x="238" y="165"/>
                      <a:pt x="238" y="165"/>
                    </a:cubicBezTo>
                    <a:cubicBezTo>
                      <a:pt x="239" y="165"/>
                      <a:pt x="239" y="164"/>
                      <a:pt x="240" y="164"/>
                    </a:cubicBezTo>
                    <a:cubicBezTo>
                      <a:pt x="240" y="164"/>
                      <a:pt x="240" y="164"/>
                      <a:pt x="240" y="164"/>
                    </a:cubicBezTo>
                    <a:cubicBezTo>
                      <a:pt x="241" y="163"/>
                      <a:pt x="241" y="163"/>
                      <a:pt x="241" y="163"/>
                    </a:cubicBezTo>
                    <a:cubicBezTo>
                      <a:pt x="241" y="162"/>
                      <a:pt x="241" y="161"/>
                      <a:pt x="241" y="161"/>
                    </a:cubicBezTo>
                    <a:cubicBezTo>
                      <a:pt x="241" y="160"/>
                      <a:pt x="242" y="160"/>
                      <a:pt x="242" y="159"/>
                    </a:cubicBezTo>
                    <a:cubicBezTo>
                      <a:pt x="242" y="159"/>
                      <a:pt x="243" y="158"/>
                      <a:pt x="243" y="158"/>
                    </a:cubicBezTo>
                    <a:cubicBezTo>
                      <a:pt x="244" y="158"/>
                      <a:pt x="244" y="157"/>
                      <a:pt x="245" y="157"/>
                    </a:cubicBezTo>
                    <a:cubicBezTo>
                      <a:pt x="245" y="156"/>
                      <a:pt x="244" y="155"/>
                      <a:pt x="244" y="154"/>
                    </a:cubicBezTo>
                    <a:cubicBezTo>
                      <a:pt x="244" y="150"/>
                      <a:pt x="246" y="147"/>
                      <a:pt x="247" y="144"/>
                    </a:cubicBezTo>
                    <a:cubicBezTo>
                      <a:pt x="248" y="140"/>
                      <a:pt x="248" y="140"/>
                      <a:pt x="248" y="140"/>
                    </a:cubicBezTo>
                    <a:cubicBezTo>
                      <a:pt x="259" y="146"/>
                      <a:pt x="259" y="146"/>
                      <a:pt x="259" y="146"/>
                    </a:cubicBezTo>
                    <a:cubicBezTo>
                      <a:pt x="260" y="146"/>
                      <a:pt x="260" y="146"/>
                      <a:pt x="261" y="146"/>
                    </a:cubicBezTo>
                    <a:cubicBezTo>
                      <a:pt x="262" y="146"/>
                      <a:pt x="263" y="146"/>
                      <a:pt x="264" y="146"/>
                    </a:cubicBezTo>
                    <a:cubicBezTo>
                      <a:pt x="266" y="146"/>
                      <a:pt x="266" y="146"/>
                      <a:pt x="266" y="146"/>
                    </a:cubicBezTo>
                    <a:cubicBezTo>
                      <a:pt x="270" y="145"/>
                      <a:pt x="275" y="144"/>
                      <a:pt x="281" y="141"/>
                    </a:cubicBezTo>
                    <a:cubicBezTo>
                      <a:pt x="282" y="141"/>
                      <a:pt x="282" y="141"/>
                      <a:pt x="282" y="141"/>
                    </a:cubicBezTo>
                    <a:cubicBezTo>
                      <a:pt x="284" y="140"/>
                      <a:pt x="285" y="139"/>
                      <a:pt x="287" y="139"/>
                    </a:cubicBezTo>
                    <a:cubicBezTo>
                      <a:pt x="287" y="139"/>
                      <a:pt x="289" y="140"/>
                      <a:pt x="290" y="140"/>
                    </a:cubicBezTo>
                    <a:cubicBezTo>
                      <a:pt x="295" y="141"/>
                      <a:pt x="295" y="141"/>
                      <a:pt x="295" y="141"/>
                    </a:cubicBezTo>
                    <a:cubicBezTo>
                      <a:pt x="296" y="141"/>
                      <a:pt x="297" y="142"/>
                      <a:pt x="298" y="143"/>
                    </a:cubicBezTo>
                    <a:cubicBezTo>
                      <a:pt x="298" y="143"/>
                      <a:pt x="298" y="143"/>
                      <a:pt x="298" y="143"/>
                    </a:cubicBezTo>
                    <a:cubicBezTo>
                      <a:pt x="298" y="143"/>
                      <a:pt x="298" y="143"/>
                      <a:pt x="298" y="143"/>
                    </a:cubicBezTo>
                    <a:cubicBezTo>
                      <a:pt x="299" y="143"/>
                      <a:pt x="299" y="143"/>
                      <a:pt x="299" y="143"/>
                    </a:cubicBezTo>
                    <a:cubicBezTo>
                      <a:pt x="303" y="144"/>
                      <a:pt x="307" y="145"/>
                      <a:pt x="312" y="145"/>
                    </a:cubicBezTo>
                    <a:cubicBezTo>
                      <a:pt x="312" y="145"/>
                      <a:pt x="313" y="145"/>
                      <a:pt x="314" y="145"/>
                    </a:cubicBezTo>
                    <a:cubicBezTo>
                      <a:pt x="315" y="145"/>
                      <a:pt x="315" y="145"/>
                      <a:pt x="315" y="145"/>
                    </a:cubicBezTo>
                    <a:cubicBezTo>
                      <a:pt x="315" y="146"/>
                      <a:pt x="315" y="146"/>
                      <a:pt x="315" y="146"/>
                    </a:cubicBezTo>
                    <a:cubicBezTo>
                      <a:pt x="315" y="145"/>
                      <a:pt x="315" y="145"/>
                      <a:pt x="315" y="145"/>
                    </a:cubicBezTo>
                    <a:cubicBezTo>
                      <a:pt x="320" y="144"/>
                      <a:pt x="324" y="142"/>
                      <a:pt x="328" y="141"/>
                    </a:cubicBezTo>
                    <a:cubicBezTo>
                      <a:pt x="333" y="139"/>
                      <a:pt x="333" y="139"/>
                      <a:pt x="333" y="139"/>
                    </a:cubicBezTo>
                    <a:cubicBezTo>
                      <a:pt x="333" y="139"/>
                      <a:pt x="334" y="139"/>
                      <a:pt x="334" y="138"/>
                    </a:cubicBezTo>
                    <a:cubicBezTo>
                      <a:pt x="336" y="138"/>
                      <a:pt x="337" y="138"/>
                      <a:pt x="338" y="137"/>
                    </a:cubicBezTo>
                    <a:cubicBezTo>
                      <a:pt x="338" y="137"/>
                      <a:pt x="338" y="137"/>
                      <a:pt x="338" y="137"/>
                    </a:cubicBezTo>
                    <a:cubicBezTo>
                      <a:pt x="341" y="135"/>
                      <a:pt x="345" y="134"/>
                      <a:pt x="348" y="134"/>
                    </a:cubicBezTo>
                    <a:cubicBezTo>
                      <a:pt x="349" y="134"/>
                      <a:pt x="349" y="134"/>
                      <a:pt x="349" y="134"/>
                    </a:cubicBezTo>
                    <a:cubicBezTo>
                      <a:pt x="350" y="134"/>
                      <a:pt x="352" y="134"/>
                      <a:pt x="353" y="134"/>
                    </a:cubicBezTo>
                    <a:cubicBezTo>
                      <a:pt x="361" y="134"/>
                      <a:pt x="367" y="133"/>
                      <a:pt x="374" y="132"/>
                    </a:cubicBezTo>
                    <a:cubicBezTo>
                      <a:pt x="377" y="131"/>
                      <a:pt x="379" y="130"/>
                      <a:pt x="382" y="130"/>
                    </a:cubicBezTo>
                    <a:cubicBezTo>
                      <a:pt x="385" y="129"/>
                      <a:pt x="385" y="129"/>
                      <a:pt x="385" y="129"/>
                    </a:cubicBezTo>
                    <a:cubicBezTo>
                      <a:pt x="386" y="131"/>
                      <a:pt x="386" y="131"/>
                      <a:pt x="386" y="131"/>
                    </a:cubicBezTo>
                    <a:cubicBezTo>
                      <a:pt x="389" y="129"/>
                      <a:pt x="393" y="126"/>
                      <a:pt x="399" y="126"/>
                    </a:cubicBezTo>
                    <a:cubicBezTo>
                      <a:pt x="400" y="126"/>
                      <a:pt x="400" y="126"/>
                      <a:pt x="400" y="126"/>
                    </a:cubicBezTo>
                    <a:cubicBezTo>
                      <a:pt x="401" y="126"/>
                      <a:pt x="401" y="126"/>
                      <a:pt x="401" y="126"/>
                    </a:cubicBezTo>
                    <a:cubicBezTo>
                      <a:pt x="401" y="126"/>
                      <a:pt x="402" y="126"/>
                      <a:pt x="402" y="126"/>
                    </a:cubicBezTo>
                    <a:cubicBezTo>
                      <a:pt x="402" y="126"/>
                      <a:pt x="402" y="126"/>
                      <a:pt x="402" y="126"/>
                    </a:cubicBezTo>
                    <a:cubicBezTo>
                      <a:pt x="402" y="128"/>
                      <a:pt x="402" y="128"/>
                      <a:pt x="402" y="128"/>
                    </a:cubicBezTo>
                    <a:cubicBezTo>
                      <a:pt x="403" y="126"/>
                      <a:pt x="403" y="126"/>
                      <a:pt x="403" y="126"/>
                    </a:cubicBezTo>
                    <a:cubicBezTo>
                      <a:pt x="404" y="127"/>
                      <a:pt x="404" y="127"/>
                      <a:pt x="405" y="127"/>
                    </a:cubicBezTo>
                    <a:cubicBezTo>
                      <a:pt x="409" y="128"/>
                      <a:pt x="409" y="128"/>
                      <a:pt x="409" y="128"/>
                    </a:cubicBezTo>
                    <a:cubicBezTo>
                      <a:pt x="412" y="128"/>
                      <a:pt x="415" y="129"/>
                      <a:pt x="418" y="129"/>
                    </a:cubicBezTo>
                    <a:cubicBezTo>
                      <a:pt x="419" y="129"/>
                      <a:pt x="421" y="129"/>
                      <a:pt x="422" y="129"/>
                    </a:cubicBezTo>
                    <a:cubicBezTo>
                      <a:pt x="423" y="128"/>
                      <a:pt x="424" y="128"/>
                      <a:pt x="424" y="128"/>
                    </a:cubicBezTo>
                    <a:cubicBezTo>
                      <a:pt x="429" y="128"/>
                      <a:pt x="430" y="132"/>
                      <a:pt x="431" y="133"/>
                    </a:cubicBezTo>
                    <a:cubicBezTo>
                      <a:pt x="431" y="134"/>
                      <a:pt x="431" y="134"/>
                      <a:pt x="431" y="134"/>
                    </a:cubicBezTo>
                    <a:cubicBezTo>
                      <a:pt x="431" y="134"/>
                      <a:pt x="431" y="135"/>
                      <a:pt x="431" y="135"/>
                    </a:cubicBezTo>
                    <a:cubicBezTo>
                      <a:pt x="432" y="135"/>
                      <a:pt x="432" y="136"/>
                      <a:pt x="432" y="136"/>
                    </a:cubicBezTo>
                    <a:cubicBezTo>
                      <a:pt x="433" y="136"/>
                      <a:pt x="433" y="136"/>
                      <a:pt x="433" y="136"/>
                    </a:cubicBezTo>
                    <a:cubicBezTo>
                      <a:pt x="434" y="135"/>
                      <a:pt x="435" y="135"/>
                      <a:pt x="436" y="134"/>
                    </a:cubicBezTo>
                    <a:cubicBezTo>
                      <a:pt x="439" y="133"/>
                      <a:pt x="439" y="133"/>
                      <a:pt x="439" y="133"/>
                    </a:cubicBezTo>
                    <a:cubicBezTo>
                      <a:pt x="439" y="133"/>
                      <a:pt x="439" y="133"/>
                      <a:pt x="439" y="133"/>
                    </a:cubicBezTo>
                    <a:cubicBezTo>
                      <a:pt x="439" y="132"/>
                      <a:pt x="439" y="132"/>
                      <a:pt x="439" y="132"/>
                    </a:cubicBezTo>
                    <a:cubicBezTo>
                      <a:pt x="438" y="132"/>
                      <a:pt x="438" y="132"/>
                      <a:pt x="438" y="132"/>
                    </a:cubicBezTo>
                    <a:cubicBezTo>
                      <a:pt x="438" y="132"/>
                      <a:pt x="438" y="132"/>
                      <a:pt x="438" y="132"/>
                    </a:cubicBezTo>
                    <a:cubicBezTo>
                      <a:pt x="438" y="131"/>
                      <a:pt x="438" y="131"/>
                      <a:pt x="438" y="131"/>
                    </a:cubicBezTo>
                    <a:cubicBezTo>
                      <a:pt x="436" y="130"/>
                      <a:pt x="436" y="130"/>
                      <a:pt x="436" y="130"/>
                    </a:cubicBezTo>
                    <a:cubicBezTo>
                      <a:pt x="436" y="130"/>
                      <a:pt x="435" y="129"/>
                      <a:pt x="435" y="129"/>
                    </a:cubicBezTo>
                    <a:cubicBezTo>
                      <a:pt x="434" y="128"/>
                      <a:pt x="434" y="128"/>
                      <a:pt x="434" y="128"/>
                    </a:cubicBezTo>
                    <a:cubicBezTo>
                      <a:pt x="433" y="126"/>
                      <a:pt x="434" y="124"/>
                      <a:pt x="434" y="122"/>
                    </a:cubicBezTo>
                    <a:cubicBezTo>
                      <a:pt x="434" y="122"/>
                      <a:pt x="434" y="122"/>
                      <a:pt x="434" y="122"/>
                    </a:cubicBezTo>
                    <a:cubicBezTo>
                      <a:pt x="434" y="121"/>
                      <a:pt x="434" y="121"/>
                      <a:pt x="434" y="121"/>
                    </a:cubicBezTo>
                    <a:cubicBezTo>
                      <a:pt x="434" y="121"/>
                      <a:pt x="434" y="121"/>
                      <a:pt x="434" y="121"/>
                    </a:cubicBezTo>
                    <a:cubicBezTo>
                      <a:pt x="434" y="121"/>
                      <a:pt x="434" y="121"/>
                      <a:pt x="434" y="121"/>
                    </a:cubicBezTo>
                    <a:cubicBezTo>
                      <a:pt x="433" y="120"/>
                      <a:pt x="432" y="120"/>
                      <a:pt x="432" y="120"/>
                    </a:cubicBezTo>
                    <a:cubicBezTo>
                      <a:pt x="431" y="119"/>
                      <a:pt x="431" y="119"/>
                      <a:pt x="431" y="119"/>
                    </a:cubicBezTo>
                    <a:cubicBezTo>
                      <a:pt x="431" y="119"/>
                      <a:pt x="430" y="119"/>
                      <a:pt x="430" y="118"/>
                    </a:cubicBezTo>
                    <a:cubicBezTo>
                      <a:pt x="430" y="118"/>
                      <a:pt x="430" y="118"/>
                      <a:pt x="429" y="118"/>
                    </a:cubicBezTo>
                    <a:cubicBezTo>
                      <a:pt x="429" y="118"/>
                      <a:pt x="428" y="118"/>
                      <a:pt x="427" y="117"/>
                    </a:cubicBezTo>
                    <a:cubicBezTo>
                      <a:pt x="427" y="117"/>
                      <a:pt x="427" y="117"/>
                      <a:pt x="427" y="117"/>
                    </a:cubicBezTo>
                    <a:cubicBezTo>
                      <a:pt x="426" y="116"/>
                      <a:pt x="425" y="115"/>
                      <a:pt x="425" y="114"/>
                    </a:cubicBezTo>
                    <a:cubicBezTo>
                      <a:pt x="425" y="113"/>
                      <a:pt x="426" y="112"/>
                      <a:pt x="426" y="111"/>
                    </a:cubicBezTo>
                    <a:cubicBezTo>
                      <a:pt x="426" y="111"/>
                      <a:pt x="426" y="110"/>
                      <a:pt x="427" y="109"/>
                    </a:cubicBezTo>
                    <a:cubicBezTo>
                      <a:pt x="427" y="108"/>
                      <a:pt x="429" y="106"/>
                      <a:pt x="430" y="105"/>
                    </a:cubicBezTo>
                    <a:cubicBezTo>
                      <a:pt x="427" y="106"/>
                      <a:pt x="427" y="106"/>
                      <a:pt x="427" y="106"/>
                    </a:cubicBezTo>
                    <a:cubicBezTo>
                      <a:pt x="428" y="101"/>
                      <a:pt x="428" y="101"/>
                      <a:pt x="428" y="101"/>
                    </a:cubicBezTo>
                    <a:cubicBezTo>
                      <a:pt x="428" y="97"/>
                      <a:pt x="428" y="92"/>
                      <a:pt x="427" y="91"/>
                    </a:cubicBezTo>
                    <a:cubicBezTo>
                      <a:pt x="426" y="91"/>
                      <a:pt x="426" y="91"/>
                      <a:pt x="426" y="91"/>
                    </a:cubicBezTo>
                    <a:cubicBezTo>
                      <a:pt x="426" y="90"/>
                      <a:pt x="426" y="90"/>
                      <a:pt x="426" y="90"/>
                    </a:cubicBezTo>
                    <a:cubicBezTo>
                      <a:pt x="425" y="88"/>
                      <a:pt x="424" y="86"/>
                      <a:pt x="423" y="84"/>
                    </a:cubicBezTo>
                    <a:cubicBezTo>
                      <a:pt x="423" y="82"/>
                      <a:pt x="422" y="81"/>
                      <a:pt x="422" y="80"/>
                    </a:cubicBezTo>
                    <a:cubicBezTo>
                      <a:pt x="420" y="75"/>
                      <a:pt x="420" y="75"/>
                      <a:pt x="420" y="75"/>
                    </a:cubicBezTo>
                    <a:cubicBezTo>
                      <a:pt x="424" y="72"/>
                      <a:pt x="424" y="72"/>
                      <a:pt x="424" y="72"/>
                    </a:cubicBezTo>
                    <a:cubicBezTo>
                      <a:pt x="425" y="71"/>
                      <a:pt x="425" y="71"/>
                      <a:pt x="425" y="71"/>
                    </a:cubicBezTo>
                    <a:cubicBezTo>
                      <a:pt x="427" y="71"/>
                      <a:pt x="430" y="71"/>
                      <a:pt x="430" y="71"/>
                    </a:cubicBezTo>
                    <a:cubicBezTo>
                      <a:pt x="430" y="71"/>
                      <a:pt x="431" y="70"/>
                      <a:pt x="431" y="68"/>
                    </a:cubicBezTo>
                    <a:cubicBezTo>
                      <a:pt x="431" y="66"/>
                      <a:pt x="430" y="63"/>
                      <a:pt x="433" y="62"/>
                    </a:cubicBezTo>
                    <a:cubicBezTo>
                      <a:pt x="430" y="60"/>
                      <a:pt x="430" y="60"/>
                      <a:pt x="426" y="59"/>
                    </a:cubicBezTo>
                    <a:cubicBezTo>
                      <a:pt x="425" y="59"/>
                      <a:pt x="423" y="59"/>
                      <a:pt x="422" y="59"/>
                    </a:cubicBezTo>
                    <a:cubicBezTo>
                      <a:pt x="422" y="59"/>
                      <a:pt x="422" y="59"/>
                      <a:pt x="422" y="59"/>
                    </a:cubicBezTo>
                    <a:cubicBezTo>
                      <a:pt x="422" y="59"/>
                      <a:pt x="421" y="59"/>
                      <a:pt x="421" y="59"/>
                    </a:cubicBezTo>
                    <a:cubicBezTo>
                      <a:pt x="418" y="59"/>
                      <a:pt x="417" y="58"/>
                      <a:pt x="415" y="57"/>
                    </a:cubicBezTo>
                    <a:cubicBezTo>
                      <a:pt x="414" y="57"/>
                      <a:pt x="414" y="57"/>
                      <a:pt x="414" y="57"/>
                    </a:cubicBezTo>
                    <a:cubicBezTo>
                      <a:pt x="413" y="56"/>
                      <a:pt x="412" y="55"/>
                      <a:pt x="412" y="54"/>
                    </a:cubicBezTo>
                    <a:cubicBezTo>
                      <a:pt x="411" y="53"/>
                      <a:pt x="412" y="52"/>
                      <a:pt x="412" y="51"/>
                    </a:cubicBezTo>
                    <a:cubicBezTo>
                      <a:pt x="412" y="51"/>
                      <a:pt x="412" y="51"/>
                      <a:pt x="412" y="51"/>
                    </a:cubicBezTo>
                    <a:cubicBezTo>
                      <a:pt x="412" y="50"/>
                      <a:pt x="412" y="50"/>
                      <a:pt x="411" y="49"/>
                    </a:cubicBezTo>
                    <a:cubicBezTo>
                      <a:pt x="410" y="46"/>
                      <a:pt x="409" y="45"/>
                      <a:pt x="409" y="44"/>
                    </a:cubicBezTo>
                    <a:cubicBezTo>
                      <a:pt x="409" y="42"/>
                      <a:pt x="411" y="41"/>
                      <a:pt x="411" y="40"/>
                    </a:cubicBezTo>
                    <a:cubicBezTo>
                      <a:pt x="412" y="40"/>
                      <a:pt x="412" y="40"/>
                      <a:pt x="412" y="40"/>
                    </a:cubicBezTo>
                    <a:cubicBezTo>
                      <a:pt x="412" y="40"/>
                      <a:pt x="412" y="40"/>
                      <a:pt x="412" y="40"/>
                    </a:cubicBezTo>
                    <a:cubicBezTo>
                      <a:pt x="412" y="40"/>
                      <a:pt x="412" y="40"/>
                      <a:pt x="412" y="40"/>
                    </a:cubicBezTo>
                    <a:cubicBezTo>
                      <a:pt x="412" y="38"/>
                      <a:pt x="412" y="38"/>
                      <a:pt x="412" y="38"/>
                    </a:cubicBezTo>
                    <a:cubicBezTo>
                      <a:pt x="412" y="37"/>
                      <a:pt x="412" y="36"/>
                      <a:pt x="412" y="36"/>
                    </a:cubicBezTo>
                    <a:cubicBezTo>
                      <a:pt x="412" y="35"/>
                      <a:pt x="412" y="35"/>
                      <a:pt x="412" y="35"/>
                    </a:cubicBezTo>
                    <a:cubicBezTo>
                      <a:pt x="412" y="35"/>
                      <a:pt x="412" y="34"/>
                      <a:pt x="412" y="34"/>
                    </a:cubicBezTo>
                    <a:cubicBezTo>
                      <a:pt x="412" y="33"/>
                      <a:pt x="412" y="33"/>
                      <a:pt x="412" y="33"/>
                    </a:cubicBezTo>
                    <a:cubicBezTo>
                      <a:pt x="412" y="33"/>
                      <a:pt x="412" y="33"/>
                      <a:pt x="412" y="33"/>
                    </a:cubicBezTo>
                    <a:cubicBezTo>
                      <a:pt x="411" y="33"/>
                      <a:pt x="411" y="33"/>
                      <a:pt x="411" y="33"/>
                    </a:cubicBezTo>
                    <a:cubicBezTo>
                      <a:pt x="411" y="32"/>
                      <a:pt x="411" y="31"/>
                      <a:pt x="410" y="31"/>
                    </a:cubicBezTo>
                    <a:cubicBezTo>
                      <a:pt x="404" y="24"/>
                      <a:pt x="404" y="24"/>
                      <a:pt x="404" y="24"/>
                    </a:cubicBezTo>
                    <a:cubicBezTo>
                      <a:pt x="403" y="24"/>
                      <a:pt x="403" y="24"/>
                      <a:pt x="403" y="24"/>
                    </a:cubicBezTo>
                    <a:cubicBezTo>
                      <a:pt x="402" y="23"/>
                      <a:pt x="401" y="23"/>
                      <a:pt x="400" y="22"/>
                    </a:cubicBezTo>
                    <a:cubicBezTo>
                      <a:pt x="399" y="21"/>
                      <a:pt x="399" y="21"/>
                      <a:pt x="399" y="21"/>
                    </a:cubicBezTo>
                    <a:cubicBezTo>
                      <a:pt x="399" y="21"/>
                      <a:pt x="399" y="21"/>
                      <a:pt x="399" y="21"/>
                    </a:cubicBezTo>
                    <a:cubicBezTo>
                      <a:pt x="398" y="21"/>
                      <a:pt x="398" y="20"/>
                      <a:pt x="397" y="20"/>
                    </a:cubicBezTo>
                    <a:cubicBezTo>
                      <a:pt x="397" y="20"/>
                      <a:pt x="397" y="19"/>
                      <a:pt x="396" y="19"/>
                    </a:cubicBezTo>
                    <a:cubicBezTo>
                      <a:pt x="396" y="18"/>
                      <a:pt x="396" y="18"/>
                      <a:pt x="396" y="18"/>
                    </a:cubicBezTo>
                    <a:cubicBezTo>
                      <a:pt x="395" y="18"/>
                      <a:pt x="395" y="18"/>
                      <a:pt x="395" y="18"/>
                    </a:cubicBezTo>
                    <a:cubicBezTo>
                      <a:pt x="394" y="16"/>
                      <a:pt x="393" y="16"/>
                      <a:pt x="392" y="16"/>
                    </a:cubicBezTo>
                    <a:cubicBezTo>
                      <a:pt x="391" y="16"/>
                      <a:pt x="391" y="16"/>
                      <a:pt x="391" y="16"/>
                    </a:cubicBezTo>
                    <a:cubicBezTo>
                      <a:pt x="391" y="16"/>
                      <a:pt x="391" y="16"/>
                      <a:pt x="390" y="17"/>
                    </a:cubicBezTo>
                    <a:cubicBezTo>
                      <a:pt x="390" y="20"/>
                      <a:pt x="390" y="20"/>
                      <a:pt x="390" y="20"/>
                    </a:cubicBezTo>
                    <a:cubicBezTo>
                      <a:pt x="387" y="20"/>
                      <a:pt x="387" y="20"/>
                      <a:pt x="387" y="20"/>
                    </a:cubicBezTo>
                    <a:cubicBezTo>
                      <a:pt x="384" y="19"/>
                      <a:pt x="381" y="19"/>
                      <a:pt x="378" y="19"/>
                    </a:cubicBezTo>
                    <a:cubicBezTo>
                      <a:pt x="376" y="18"/>
                      <a:pt x="376" y="18"/>
                      <a:pt x="376" y="18"/>
                    </a:cubicBezTo>
                    <a:cubicBezTo>
                      <a:pt x="376" y="18"/>
                      <a:pt x="375" y="18"/>
                      <a:pt x="375" y="18"/>
                    </a:cubicBezTo>
                    <a:cubicBezTo>
                      <a:pt x="374" y="18"/>
                      <a:pt x="373" y="18"/>
                      <a:pt x="373" y="18"/>
                    </a:cubicBezTo>
                    <a:cubicBezTo>
                      <a:pt x="372" y="18"/>
                      <a:pt x="372" y="18"/>
                      <a:pt x="372" y="18"/>
                    </a:cubicBezTo>
                    <a:cubicBezTo>
                      <a:pt x="371" y="18"/>
                      <a:pt x="370" y="18"/>
                      <a:pt x="369" y="18"/>
                    </a:cubicBezTo>
                    <a:cubicBezTo>
                      <a:pt x="368" y="18"/>
                      <a:pt x="367" y="18"/>
                      <a:pt x="366" y="18"/>
                    </a:cubicBezTo>
                    <a:cubicBezTo>
                      <a:pt x="367" y="22"/>
                      <a:pt x="367" y="22"/>
                      <a:pt x="367" y="22"/>
                    </a:cubicBezTo>
                    <a:cubicBezTo>
                      <a:pt x="364" y="18"/>
                      <a:pt x="364" y="18"/>
                      <a:pt x="364" y="18"/>
                    </a:cubicBezTo>
                    <a:cubicBezTo>
                      <a:pt x="355" y="22"/>
                      <a:pt x="355" y="22"/>
                      <a:pt x="355" y="22"/>
                    </a:cubicBezTo>
                    <a:cubicBezTo>
                      <a:pt x="353" y="22"/>
                      <a:pt x="352" y="23"/>
                      <a:pt x="351" y="24"/>
                    </a:cubicBezTo>
                    <a:cubicBezTo>
                      <a:pt x="349" y="24"/>
                      <a:pt x="347" y="24"/>
                      <a:pt x="346" y="25"/>
                    </a:cubicBezTo>
                    <a:cubicBezTo>
                      <a:pt x="343" y="28"/>
                      <a:pt x="339" y="29"/>
                      <a:pt x="336" y="30"/>
                    </a:cubicBezTo>
                    <a:cubicBezTo>
                      <a:pt x="334" y="31"/>
                      <a:pt x="333" y="31"/>
                      <a:pt x="331" y="31"/>
                    </a:cubicBezTo>
                    <a:cubicBezTo>
                      <a:pt x="331" y="31"/>
                      <a:pt x="331" y="31"/>
                      <a:pt x="331" y="31"/>
                    </a:cubicBezTo>
                    <a:cubicBezTo>
                      <a:pt x="330" y="31"/>
                      <a:pt x="330" y="31"/>
                      <a:pt x="329" y="31"/>
                    </a:cubicBezTo>
                    <a:cubicBezTo>
                      <a:pt x="329" y="30"/>
                      <a:pt x="328" y="30"/>
                      <a:pt x="328" y="30"/>
                    </a:cubicBezTo>
                    <a:cubicBezTo>
                      <a:pt x="327" y="30"/>
                      <a:pt x="327" y="30"/>
                      <a:pt x="327" y="30"/>
                    </a:cubicBezTo>
                    <a:cubicBezTo>
                      <a:pt x="327" y="30"/>
                      <a:pt x="326" y="30"/>
                      <a:pt x="326" y="30"/>
                    </a:cubicBezTo>
                    <a:cubicBezTo>
                      <a:pt x="323" y="30"/>
                      <a:pt x="319" y="29"/>
                      <a:pt x="317" y="27"/>
                    </a:cubicBezTo>
                    <a:cubicBezTo>
                      <a:pt x="316" y="27"/>
                      <a:pt x="315" y="27"/>
                      <a:pt x="315" y="27"/>
                    </a:cubicBezTo>
                    <a:cubicBezTo>
                      <a:pt x="314" y="27"/>
                      <a:pt x="314" y="27"/>
                      <a:pt x="312" y="28"/>
                    </a:cubicBezTo>
                    <a:cubicBezTo>
                      <a:pt x="312" y="28"/>
                      <a:pt x="311" y="28"/>
                      <a:pt x="311" y="28"/>
                    </a:cubicBezTo>
                    <a:cubicBezTo>
                      <a:pt x="310" y="28"/>
                      <a:pt x="310" y="28"/>
                      <a:pt x="310" y="28"/>
                    </a:cubicBezTo>
                    <a:cubicBezTo>
                      <a:pt x="309" y="28"/>
                      <a:pt x="309" y="28"/>
                      <a:pt x="309" y="28"/>
                    </a:cubicBezTo>
                    <a:cubicBezTo>
                      <a:pt x="308" y="28"/>
                      <a:pt x="308" y="28"/>
                      <a:pt x="307" y="28"/>
                    </a:cubicBezTo>
                    <a:cubicBezTo>
                      <a:pt x="302" y="29"/>
                      <a:pt x="296" y="32"/>
                      <a:pt x="291" y="32"/>
                    </a:cubicBezTo>
                    <a:cubicBezTo>
                      <a:pt x="290" y="32"/>
                      <a:pt x="290" y="32"/>
                      <a:pt x="290" y="32"/>
                    </a:cubicBezTo>
                    <a:cubicBezTo>
                      <a:pt x="284" y="32"/>
                      <a:pt x="278" y="29"/>
                      <a:pt x="272" y="28"/>
                    </a:cubicBezTo>
                    <a:cubicBezTo>
                      <a:pt x="264" y="27"/>
                      <a:pt x="260" y="24"/>
                      <a:pt x="254" y="20"/>
                    </a:cubicBezTo>
                    <a:cubicBezTo>
                      <a:pt x="254" y="19"/>
                      <a:pt x="253" y="19"/>
                      <a:pt x="253" y="19"/>
                    </a:cubicBezTo>
                    <a:cubicBezTo>
                      <a:pt x="251" y="19"/>
                      <a:pt x="246" y="22"/>
                      <a:pt x="244" y="22"/>
                    </a:cubicBezTo>
                    <a:cubicBezTo>
                      <a:pt x="244" y="22"/>
                      <a:pt x="244" y="22"/>
                      <a:pt x="244" y="22"/>
                    </a:cubicBezTo>
                    <a:cubicBezTo>
                      <a:pt x="242" y="22"/>
                      <a:pt x="239" y="18"/>
                      <a:pt x="238" y="16"/>
                    </a:cubicBezTo>
                    <a:cubicBezTo>
                      <a:pt x="236" y="13"/>
                      <a:pt x="237" y="9"/>
                      <a:pt x="233" y="9"/>
                    </a:cubicBezTo>
                    <a:cubicBezTo>
                      <a:pt x="233" y="9"/>
                      <a:pt x="232" y="9"/>
                      <a:pt x="232" y="10"/>
                    </a:cubicBezTo>
                    <a:cubicBezTo>
                      <a:pt x="229" y="10"/>
                      <a:pt x="227" y="11"/>
                      <a:pt x="224" y="11"/>
                    </a:cubicBezTo>
                    <a:cubicBezTo>
                      <a:pt x="223" y="11"/>
                      <a:pt x="223" y="11"/>
                      <a:pt x="222" y="11"/>
                    </a:cubicBezTo>
                    <a:cubicBezTo>
                      <a:pt x="219" y="11"/>
                      <a:pt x="217" y="8"/>
                      <a:pt x="214" y="5"/>
                    </a:cubicBezTo>
                    <a:cubicBezTo>
                      <a:pt x="213" y="4"/>
                      <a:pt x="213" y="1"/>
                      <a:pt x="215" y="1"/>
                    </a:cubicBezTo>
                    <a:cubicBezTo>
                      <a:pt x="215" y="1"/>
                      <a:pt x="215" y="1"/>
                      <a:pt x="216" y="1"/>
                    </a:cubicBezTo>
                    <a:cubicBezTo>
                      <a:pt x="215" y="0"/>
                      <a:pt x="214" y="0"/>
                      <a:pt x="2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180"/>
              <p:cNvSpPr/>
              <p:nvPr/>
            </p:nvSpPr>
            <p:spPr bwMode="auto">
              <a:xfrm>
                <a:off x="5618" y="753"/>
                <a:ext cx="73" cy="83"/>
              </a:xfrm>
              <a:custGeom>
                <a:gdLst>
                  <a:gd name="T0" fmla="*/ 18 w 31"/>
                  <a:gd name="T1" fmla="*/ 0 h 35"/>
                  <a:gd name="T2" fmla="*/ 17 w 31"/>
                  <a:gd name="T3" fmla="*/ 2 h 35"/>
                  <a:gd name="T4" fmla="*/ 13 w 31"/>
                  <a:gd name="T5" fmla="*/ 6 h 35"/>
                  <a:gd name="T6" fmla="*/ 9 w 31"/>
                  <a:gd name="T7" fmla="*/ 17 h 35"/>
                  <a:gd name="T8" fmla="*/ 6 w 31"/>
                  <a:gd name="T9" fmla="*/ 21 h 35"/>
                  <a:gd name="T10" fmla="*/ 4 w 31"/>
                  <a:gd name="T11" fmla="*/ 26 h 35"/>
                  <a:gd name="T12" fmla="*/ 0 w 31"/>
                  <a:gd name="T13" fmla="*/ 35 h 35"/>
                  <a:gd name="T14" fmla="*/ 2 w 31"/>
                  <a:gd name="T15" fmla="*/ 35 h 35"/>
                  <a:gd name="T16" fmla="*/ 4 w 31"/>
                  <a:gd name="T17" fmla="*/ 35 h 35"/>
                  <a:gd name="T18" fmla="*/ 7 w 31"/>
                  <a:gd name="T19" fmla="*/ 34 h 35"/>
                  <a:gd name="T20" fmla="*/ 9 w 31"/>
                  <a:gd name="T21" fmla="*/ 31 h 35"/>
                  <a:gd name="T22" fmla="*/ 10 w 31"/>
                  <a:gd name="T23" fmla="*/ 31 h 35"/>
                  <a:gd name="T24" fmla="*/ 12 w 31"/>
                  <a:gd name="T25" fmla="*/ 29 h 35"/>
                  <a:gd name="T26" fmla="*/ 13 w 31"/>
                  <a:gd name="T27" fmla="*/ 29 h 35"/>
                  <a:gd name="T28" fmla="*/ 14 w 31"/>
                  <a:gd name="T29" fmla="*/ 28 h 35"/>
                  <a:gd name="T30" fmla="*/ 17 w 31"/>
                  <a:gd name="T31" fmla="*/ 26 h 35"/>
                  <a:gd name="T32" fmla="*/ 17 w 31"/>
                  <a:gd name="T33" fmla="*/ 25 h 35"/>
                  <a:gd name="T34" fmla="*/ 16 w 31"/>
                  <a:gd name="T35" fmla="*/ 23 h 35"/>
                  <a:gd name="T36" fmla="*/ 21 w 31"/>
                  <a:gd name="T37" fmla="*/ 17 h 35"/>
                  <a:gd name="T38" fmla="*/ 24 w 31"/>
                  <a:gd name="T39" fmla="*/ 15 h 35"/>
                  <a:gd name="T40" fmla="*/ 30 w 31"/>
                  <a:gd name="T41" fmla="*/ 9 h 35"/>
                  <a:gd name="T42" fmla="*/ 31 w 31"/>
                  <a:gd name="T43" fmla="*/ 8 h 35"/>
                  <a:gd name="T44" fmla="*/ 30 w 31"/>
                  <a:gd name="T45" fmla="*/ 8 h 35"/>
                  <a:gd name="T46" fmla="*/ 29 w 31"/>
                  <a:gd name="T47" fmla="*/ 6 h 35"/>
                  <a:gd name="T48" fmla="*/ 27 w 31"/>
                  <a:gd name="T49" fmla="*/ 4 h 35"/>
                  <a:gd name="T50" fmla="*/ 23 w 31"/>
                  <a:gd name="T51" fmla="*/ 3 h 35"/>
                  <a:gd name="T52" fmla="*/ 25 w 31"/>
                  <a:gd name="T53" fmla="*/ 1 h 35"/>
                  <a:gd name="T54" fmla="*/ 22 w 31"/>
                  <a:gd name="T55" fmla="*/ 1 h 35"/>
                  <a:gd name="T56" fmla="*/ 18 w 31"/>
                  <a:gd name="T57"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35">
                    <a:moveTo>
                      <a:pt x="18" y="0"/>
                    </a:moveTo>
                    <a:cubicBezTo>
                      <a:pt x="18" y="1"/>
                      <a:pt x="17" y="2"/>
                      <a:pt x="17" y="2"/>
                    </a:cubicBezTo>
                    <a:cubicBezTo>
                      <a:pt x="15" y="3"/>
                      <a:pt x="14" y="4"/>
                      <a:pt x="13" y="6"/>
                    </a:cubicBezTo>
                    <a:cubicBezTo>
                      <a:pt x="11" y="10"/>
                      <a:pt x="11" y="13"/>
                      <a:pt x="9" y="17"/>
                    </a:cubicBezTo>
                    <a:cubicBezTo>
                      <a:pt x="8" y="19"/>
                      <a:pt x="7" y="19"/>
                      <a:pt x="6" y="21"/>
                    </a:cubicBezTo>
                    <a:cubicBezTo>
                      <a:pt x="6" y="23"/>
                      <a:pt x="5" y="25"/>
                      <a:pt x="4" y="26"/>
                    </a:cubicBezTo>
                    <a:cubicBezTo>
                      <a:pt x="3" y="29"/>
                      <a:pt x="1" y="32"/>
                      <a:pt x="0" y="35"/>
                    </a:cubicBezTo>
                    <a:cubicBezTo>
                      <a:pt x="2" y="35"/>
                      <a:pt x="2" y="35"/>
                      <a:pt x="2" y="35"/>
                    </a:cubicBezTo>
                    <a:cubicBezTo>
                      <a:pt x="3" y="35"/>
                      <a:pt x="4" y="35"/>
                      <a:pt x="4" y="35"/>
                    </a:cubicBezTo>
                    <a:cubicBezTo>
                      <a:pt x="6" y="35"/>
                      <a:pt x="6" y="35"/>
                      <a:pt x="7" y="34"/>
                    </a:cubicBezTo>
                    <a:cubicBezTo>
                      <a:pt x="9" y="31"/>
                      <a:pt x="9" y="31"/>
                      <a:pt x="9" y="31"/>
                    </a:cubicBezTo>
                    <a:cubicBezTo>
                      <a:pt x="10" y="31"/>
                      <a:pt x="10" y="31"/>
                      <a:pt x="10" y="31"/>
                    </a:cubicBezTo>
                    <a:cubicBezTo>
                      <a:pt x="12" y="29"/>
                      <a:pt x="12" y="29"/>
                      <a:pt x="12" y="29"/>
                    </a:cubicBezTo>
                    <a:cubicBezTo>
                      <a:pt x="13" y="29"/>
                      <a:pt x="13" y="29"/>
                      <a:pt x="13" y="29"/>
                    </a:cubicBezTo>
                    <a:cubicBezTo>
                      <a:pt x="13" y="29"/>
                      <a:pt x="14" y="28"/>
                      <a:pt x="14" y="28"/>
                    </a:cubicBezTo>
                    <a:cubicBezTo>
                      <a:pt x="15" y="27"/>
                      <a:pt x="16" y="26"/>
                      <a:pt x="17" y="26"/>
                    </a:cubicBezTo>
                    <a:cubicBezTo>
                      <a:pt x="17" y="25"/>
                      <a:pt x="17" y="25"/>
                      <a:pt x="17" y="25"/>
                    </a:cubicBezTo>
                    <a:cubicBezTo>
                      <a:pt x="16" y="25"/>
                      <a:pt x="16" y="24"/>
                      <a:pt x="16" y="23"/>
                    </a:cubicBezTo>
                    <a:cubicBezTo>
                      <a:pt x="15" y="21"/>
                      <a:pt x="17" y="18"/>
                      <a:pt x="21" y="17"/>
                    </a:cubicBezTo>
                    <a:cubicBezTo>
                      <a:pt x="21" y="16"/>
                      <a:pt x="23" y="16"/>
                      <a:pt x="24" y="15"/>
                    </a:cubicBezTo>
                    <a:cubicBezTo>
                      <a:pt x="25" y="13"/>
                      <a:pt x="28" y="10"/>
                      <a:pt x="30" y="9"/>
                    </a:cubicBezTo>
                    <a:cubicBezTo>
                      <a:pt x="31" y="8"/>
                      <a:pt x="31" y="8"/>
                      <a:pt x="31" y="8"/>
                    </a:cubicBezTo>
                    <a:cubicBezTo>
                      <a:pt x="30" y="8"/>
                      <a:pt x="30" y="8"/>
                      <a:pt x="30" y="8"/>
                    </a:cubicBezTo>
                    <a:cubicBezTo>
                      <a:pt x="30" y="7"/>
                      <a:pt x="30" y="7"/>
                      <a:pt x="29" y="6"/>
                    </a:cubicBezTo>
                    <a:cubicBezTo>
                      <a:pt x="29" y="5"/>
                      <a:pt x="29" y="5"/>
                      <a:pt x="27" y="4"/>
                    </a:cubicBezTo>
                    <a:cubicBezTo>
                      <a:pt x="23" y="3"/>
                      <a:pt x="23" y="3"/>
                      <a:pt x="23" y="3"/>
                    </a:cubicBezTo>
                    <a:cubicBezTo>
                      <a:pt x="25" y="1"/>
                      <a:pt x="25" y="1"/>
                      <a:pt x="25" y="1"/>
                    </a:cubicBezTo>
                    <a:cubicBezTo>
                      <a:pt x="24" y="1"/>
                      <a:pt x="23" y="1"/>
                      <a:pt x="22" y="1"/>
                    </a:cubicBezTo>
                    <a:cubicBezTo>
                      <a:pt x="21" y="1"/>
                      <a:pt x="19" y="1"/>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181"/>
              <p:cNvSpPr/>
              <p:nvPr/>
            </p:nvSpPr>
            <p:spPr bwMode="auto">
              <a:xfrm>
                <a:off x="6093" y="325"/>
                <a:ext cx="148" cy="147"/>
              </a:xfrm>
              <a:custGeom>
                <a:gdLst>
                  <a:gd name="T0" fmla="*/ 30 w 63"/>
                  <a:gd name="T1" fmla="*/ 1 h 62"/>
                  <a:gd name="T2" fmla="*/ 26 w 63"/>
                  <a:gd name="T3" fmla="*/ 2 h 62"/>
                  <a:gd name="T4" fmla="*/ 24 w 63"/>
                  <a:gd name="T5" fmla="*/ 2 h 62"/>
                  <a:gd name="T6" fmla="*/ 21 w 63"/>
                  <a:gd name="T7" fmla="*/ 2 h 62"/>
                  <a:gd name="T8" fmla="*/ 14 w 63"/>
                  <a:gd name="T9" fmla="*/ 3 h 62"/>
                  <a:gd name="T10" fmla="*/ 0 w 63"/>
                  <a:gd name="T11" fmla="*/ 6 h 62"/>
                  <a:gd name="T12" fmla="*/ 1 w 63"/>
                  <a:gd name="T13" fmla="*/ 7 h 62"/>
                  <a:gd name="T14" fmla="*/ 1 w 63"/>
                  <a:gd name="T15" fmla="*/ 8 h 62"/>
                  <a:gd name="T16" fmla="*/ 2 w 63"/>
                  <a:gd name="T17" fmla="*/ 10 h 62"/>
                  <a:gd name="T18" fmla="*/ 2 w 63"/>
                  <a:gd name="T19" fmla="*/ 13 h 62"/>
                  <a:gd name="T20" fmla="*/ 1 w 63"/>
                  <a:gd name="T21" fmla="*/ 19 h 62"/>
                  <a:gd name="T22" fmla="*/ 0 w 63"/>
                  <a:gd name="T23" fmla="*/ 21 h 62"/>
                  <a:gd name="T24" fmla="*/ 2 w 63"/>
                  <a:gd name="T25" fmla="*/ 25 h 62"/>
                  <a:gd name="T26" fmla="*/ 5 w 63"/>
                  <a:gd name="T27" fmla="*/ 29 h 62"/>
                  <a:gd name="T28" fmla="*/ 11 w 63"/>
                  <a:gd name="T29" fmla="*/ 30 h 62"/>
                  <a:gd name="T30" fmla="*/ 26 w 63"/>
                  <a:gd name="T31" fmla="*/ 38 h 62"/>
                  <a:gd name="T32" fmla="*/ 31 w 63"/>
                  <a:gd name="T33" fmla="*/ 37 h 62"/>
                  <a:gd name="T34" fmla="*/ 35 w 63"/>
                  <a:gd name="T35" fmla="*/ 38 h 62"/>
                  <a:gd name="T36" fmla="*/ 37 w 63"/>
                  <a:gd name="T37" fmla="*/ 41 h 62"/>
                  <a:gd name="T38" fmla="*/ 40 w 63"/>
                  <a:gd name="T39" fmla="*/ 43 h 62"/>
                  <a:gd name="T40" fmla="*/ 42 w 63"/>
                  <a:gd name="T41" fmla="*/ 44 h 62"/>
                  <a:gd name="T42" fmla="*/ 44 w 63"/>
                  <a:gd name="T43" fmla="*/ 43 h 62"/>
                  <a:gd name="T44" fmla="*/ 49 w 63"/>
                  <a:gd name="T45" fmla="*/ 44 h 62"/>
                  <a:gd name="T46" fmla="*/ 51 w 63"/>
                  <a:gd name="T47" fmla="*/ 48 h 62"/>
                  <a:gd name="T48" fmla="*/ 52 w 63"/>
                  <a:gd name="T49" fmla="*/ 50 h 62"/>
                  <a:gd name="T50" fmla="*/ 59 w 63"/>
                  <a:gd name="T51" fmla="*/ 61 h 62"/>
                  <a:gd name="T52" fmla="*/ 60 w 63"/>
                  <a:gd name="T53" fmla="*/ 62 h 62"/>
                  <a:gd name="T54" fmla="*/ 63 w 63"/>
                  <a:gd name="T55" fmla="*/ 61 h 62"/>
                  <a:gd name="T56" fmla="*/ 63 w 63"/>
                  <a:gd name="T57" fmla="*/ 59 h 62"/>
                  <a:gd name="T58" fmla="*/ 61 w 63"/>
                  <a:gd name="T59" fmla="*/ 58 h 62"/>
                  <a:gd name="T60" fmla="*/ 62 w 63"/>
                  <a:gd name="T61" fmla="*/ 53 h 62"/>
                  <a:gd name="T62" fmla="*/ 61 w 63"/>
                  <a:gd name="T63" fmla="*/ 48 h 62"/>
                  <a:gd name="T64" fmla="*/ 37 w 63"/>
                  <a:gd name="T65" fmla="*/ 32 h 62"/>
                  <a:gd name="T66" fmla="*/ 46 w 63"/>
                  <a:gd name="T67" fmla="*/ 31 h 62"/>
                  <a:gd name="T68" fmla="*/ 48 w 63"/>
                  <a:gd name="T69" fmla="*/ 30 h 62"/>
                  <a:gd name="T70" fmla="*/ 49 w 63"/>
                  <a:gd name="T71" fmla="*/ 27 h 62"/>
                  <a:gd name="T72" fmla="*/ 44 w 63"/>
                  <a:gd name="T73" fmla="*/ 24 h 62"/>
                  <a:gd name="T74" fmla="*/ 37 w 63"/>
                  <a:gd name="T75" fmla="*/ 13 h 62"/>
                  <a:gd name="T76" fmla="*/ 41 w 63"/>
                  <a:gd name="T77" fmla="*/ 10 h 62"/>
                  <a:gd name="T78" fmla="*/ 40 w 63"/>
                  <a:gd name="T79" fmla="*/ 9 h 62"/>
                  <a:gd name="T80" fmla="*/ 34 w 63"/>
                  <a:gd name="T81" fmla="*/ 6 h 62"/>
                  <a:gd name="T82" fmla="*/ 33 w 63"/>
                  <a:gd name="T83" fmla="*/ 7 h 62"/>
                  <a:gd name="T84" fmla="*/ 30 w 63"/>
                  <a:gd name="T85" fmla="*/ 2 h 62"/>
                  <a:gd name="T86" fmla="*/ 30 w 63"/>
                  <a:gd name="T87" fmla="*/ 0 h 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62">
                    <a:moveTo>
                      <a:pt x="30" y="0"/>
                    </a:moveTo>
                    <a:cubicBezTo>
                      <a:pt x="30" y="1"/>
                      <a:pt x="30" y="1"/>
                      <a:pt x="30" y="1"/>
                    </a:cubicBezTo>
                    <a:cubicBezTo>
                      <a:pt x="29" y="1"/>
                      <a:pt x="29" y="1"/>
                      <a:pt x="29" y="1"/>
                    </a:cubicBezTo>
                    <a:cubicBezTo>
                      <a:pt x="28" y="1"/>
                      <a:pt x="27" y="2"/>
                      <a:pt x="26" y="2"/>
                    </a:cubicBezTo>
                    <a:cubicBezTo>
                      <a:pt x="26" y="2"/>
                      <a:pt x="26" y="2"/>
                      <a:pt x="26" y="2"/>
                    </a:cubicBezTo>
                    <a:cubicBezTo>
                      <a:pt x="25" y="2"/>
                      <a:pt x="24" y="2"/>
                      <a:pt x="24" y="2"/>
                    </a:cubicBezTo>
                    <a:cubicBezTo>
                      <a:pt x="23" y="2"/>
                      <a:pt x="23" y="2"/>
                      <a:pt x="23" y="2"/>
                    </a:cubicBezTo>
                    <a:cubicBezTo>
                      <a:pt x="22" y="2"/>
                      <a:pt x="21" y="2"/>
                      <a:pt x="21" y="2"/>
                    </a:cubicBezTo>
                    <a:cubicBezTo>
                      <a:pt x="19" y="2"/>
                      <a:pt x="18" y="2"/>
                      <a:pt x="17" y="2"/>
                    </a:cubicBezTo>
                    <a:cubicBezTo>
                      <a:pt x="16" y="2"/>
                      <a:pt x="15" y="2"/>
                      <a:pt x="14" y="3"/>
                    </a:cubicBezTo>
                    <a:cubicBezTo>
                      <a:pt x="9" y="3"/>
                      <a:pt x="4" y="4"/>
                      <a:pt x="0" y="4"/>
                    </a:cubicBezTo>
                    <a:cubicBezTo>
                      <a:pt x="0" y="5"/>
                      <a:pt x="0" y="5"/>
                      <a:pt x="0" y="6"/>
                    </a:cubicBezTo>
                    <a:cubicBezTo>
                      <a:pt x="1" y="6"/>
                      <a:pt x="1" y="6"/>
                      <a:pt x="1" y="6"/>
                    </a:cubicBezTo>
                    <a:cubicBezTo>
                      <a:pt x="1" y="7"/>
                      <a:pt x="1" y="7"/>
                      <a:pt x="1" y="7"/>
                    </a:cubicBezTo>
                    <a:cubicBezTo>
                      <a:pt x="6" y="6"/>
                      <a:pt x="6" y="6"/>
                      <a:pt x="6" y="6"/>
                    </a:cubicBezTo>
                    <a:cubicBezTo>
                      <a:pt x="1" y="8"/>
                      <a:pt x="1" y="8"/>
                      <a:pt x="1" y="8"/>
                    </a:cubicBezTo>
                    <a:cubicBezTo>
                      <a:pt x="1" y="8"/>
                      <a:pt x="1" y="8"/>
                      <a:pt x="1" y="8"/>
                    </a:cubicBezTo>
                    <a:cubicBezTo>
                      <a:pt x="1" y="9"/>
                      <a:pt x="2" y="10"/>
                      <a:pt x="2" y="10"/>
                    </a:cubicBezTo>
                    <a:cubicBezTo>
                      <a:pt x="2" y="11"/>
                      <a:pt x="2" y="11"/>
                      <a:pt x="2" y="11"/>
                    </a:cubicBezTo>
                    <a:cubicBezTo>
                      <a:pt x="2" y="12"/>
                      <a:pt x="2" y="12"/>
                      <a:pt x="2" y="13"/>
                    </a:cubicBezTo>
                    <a:cubicBezTo>
                      <a:pt x="2" y="16"/>
                      <a:pt x="2" y="16"/>
                      <a:pt x="2" y="16"/>
                    </a:cubicBezTo>
                    <a:cubicBezTo>
                      <a:pt x="2" y="17"/>
                      <a:pt x="2" y="18"/>
                      <a:pt x="1" y="19"/>
                    </a:cubicBezTo>
                    <a:cubicBezTo>
                      <a:pt x="1" y="19"/>
                      <a:pt x="0" y="20"/>
                      <a:pt x="0" y="20"/>
                    </a:cubicBezTo>
                    <a:cubicBezTo>
                      <a:pt x="0" y="21"/>
                      <a:pt x="0" y="21"/>
                      <a:pt x="0" y="21"/>
                    </a:cubicBezTo>
                    <a:cubicBezTo>
                      <a:pt x="0" y="21"/>
                      <a:pt x="0" y="22"/>
                      <a:pt x="0" y="22"/>
                    </a:cubicBezTo>
                    <a:cubicBezTo>
                      <a:pt x="2" y="24"/>
                      <a:pt x="2" y="25"/>
                      <a:pt x="2" y="25"/>
                    </a:cubicBezTo>
                    <a:cubicBezTo>
                      <a:pt x="2" y="26"/>
                      <a:pt x="2" y="27"/>
                      <a:pt x="2" y="28"/>
                    </a:cubicBezTo>
                    <a:cubicBezTo>
                      <a:pt x="3" y="29"/>
                      <a:pt x="4" y="29"/>
                      <a:pt x="5" y="29"/>
                    </a:cubicBezTo>
                    <a:cubicBezTo>
                      <a:pt x="6" y="29"/>
                      <a:pt x="6" y="29"/>
                      <a:pt x="6" y="29"/>
                    </a:cubicBezTo>
                    <a:cubicBezTo>
                      <a:pt x="8" y="29"/>
                      <a:pt x="9" y="30"/>
                      <a:pt x="11" y="30"/>
                    </a:cubicBezTo>
                    <a:cubicBezTo>
                      <a:pt x="16" y="30"/>
                      <a:pt x="18" y="31"/>
                      <a:pt x="22" y="35"/>
                    </a:cubicBezTo>
                    <a:cubicBezTo>
                      <a:pt x="26" y="38"/>
                      <a:pt x="26" y="38"/>
                      <a:pt x="26" y="38"/>
                    </a:cubicBezTo>
                    <a:cubicBezTo>
                      <a:pt x="26" y="38"/>
                      <a:pt x="27" y="38"/>
                      <a:pt x="27" y="38"/>
                    </a:cubicBezTo>
                    <a:cubicBezTo>
                      <a:pt x="29" y="37"/>
                      <a:pt x="30" y="37"/>
                      <a:pt x="31" y="37"/>
                    </a:cubicBezTo>
                    <a:cubicBezTo>
                      <a:pt x="33" y="36"/>
                      <a:pt x="33" y="36"/>
                      <a:pt x="33" y="36"/>
                    </a:cubicBezTo>
                    <a:cubicBezTo>
                      <a:pt x="35" y="38"/>
                      <a:pt x="35" y="38"/>
                      <a:pt x="35" y="38"/>
                    </a:cubicBezTo>
                    <a:cubicBezTo>
                      <a:pt x="35" y="39"/>
                      <a:pt x="36" y="40"/>
                      <a:pt x="37" y="41"/>
                    </a:cubicBezTo>
                    <a:cubicBezTo>
                      <a:pt x="37" y="41"/>
                      <a:pt x="37" y="41"/>
                      <a:pt x="37" y="41"/>
                    </a:cubicBezTo>
                    <a:cubicBezTo>
                      <a:pt x="38" y="42"/>
                      <a:pt x="38" y="42"/>
                      <a:pt x="38" y="42"/>
                    </a:cubicBezTo>
                    <a:cubicBezTo>
                      <a:pt x="39" y="42"/>
                      <a:pt x="39" y="43"/>
                      <a:pt x="40" y="43"/>
                    </a:cubicBezTo>
                    <a:cubicBezTo>
                      <a:pt x="40" y="43"/>
                      <a:pt x="41" y="43"/>
                      <a:pt x="41" y="43"/>
                    </a:cubicBezTo>
                    <a:cubicBezTo>
                      <a:pt x="41" y="44"/>
                      <a:pt x="42" y="44"/>
                      <a:pt x="42" y="44"/>
                    </a:cubicBezTo>
                    <a:cubicBezTo>
                      <a:pt x="42" y="44"/>
                      <a:pt x="42" y="44"/>
                      <a:pt x="42" y="44"/>
                    </a:cubicBezTo>
                    <a:cubicBezTo>
                      <a:pt x="42" y="44"/>
                      <a:pt x="44" y="43"/>
                      <a:pt x="44" y="43"/>
                    </a:cubicBezTo>
                    <a:cubicBezTo>
                      <a:pt x="48" y="41"/>
                      <a:pt x="48" y="41"/>
                      <a:pt x="48" y="41"/>
                    </a:cubicBezTo>
                    <a:cubicBezTo>
                      <a:pt x="49" y="44"/>
                      <a:pt x="49" y="44"/>
                      <a:pt x="49" y="44"/>
                    </a:cubicBezTo>
                    <a:cubicBezTo>
                      <a:pt x="50" y="45"/>
                      <a:pt x="50" y="47"/>
                      <a:pt x="51" y="48"/>
                    </a:cubicBezTo>
                    <a:cubicBezTo>
                      <a:pt x="51" y="48"/>
                      <a:pt x="51" y="48"/>
                      <a:pt x="51" y="48"/>
                    </a:cubicBezTo>
                    <a:cubicBezTo>
                      <a:pt x="51" y="49"/>
                      <a:pt x="52" y="49"/>
                      <a:pt x="52" y="50"/>
                    </a:cubicBezTo>
                    <a:cubicBezTo>
                      <a:pt x="52" y="50"/>
                      <a:pt x="52" y="50"/>
                      <a:pt x="52" y="50"/>
                    </a:cubicBezTo>
                    <a:cubicBezTo>
                      <a:pt x="54" y="50"/>
                      <a:pt x="55" y="50"/>
                      <a:pt x="56" y="51"/>
                    </a:cubicBezTo>
                    <a:cubicBezTo>
                      <a:pt x="58" y="54"/>
                      <a:pt x="59" y="57"/>
                      <a:pt x="59" y="61"/>
                    </a:cubicBezTo>
                    <a:cubicBezTo>
                      <a:pt x="60" y="62"/>
                      <a:pt x="60" y="62"/>
                      <a:pt x="60" y="62"/>
                    </a:cubicBezTo>
                    <a:cubicBezTo>
                      <a:pt x="60" y="62"/>
                      <a:pt x="60" y="62"/>
                      <a:pt x="60" y="62"/>
                    </a:cubicBezTo>
                    <a:cubicBezTo>
                      <a:pt x="61" y="61"/>
                      <a:pt x="61" y="61"/>
                      <a:pt x="62" y="61"/>
                    </a:cubicBezTo>
                    <a:cubicBezTo>
                      <a:pt x="63" y="61"/>
                      <a:pt x="63" y="61"/>
                      <a:pt x="63" y="61"/>
                    </a:cubicBezTo>
                    <a:cubicBezTo>
                      <a:pt x="63" y="61"/>
                      <a:pt x="63" y="61"/>
                      <a:pt x="63" y="61"/>
                    </a:cubicBezTo>
                    <a:cubicBezTo>
                      <a:pt x="63" y="60"/>
                      <a:pt x="63" y="60"/>
                      <a:pt x="63" y="59"/>
                    </a:cubicBezTo>
                    <a:cubicBezTo>
                      <a:pt x="62" y="59"/>
                      <a:pt x="62" y="59"/>
                      <a:pt x="62" y="59"/>
                    </a:cubicBezTo>
                    <a:cubicBezTo>
                      <a:pt x="61" y="58"/>
                      <a:pt x="61" y="58"/>
                      <a:pt x="61" y="58"/>
                    </a:cubicBezTo>
                    <a:cubicBezTo>
                      <a:pt x="61" y="57"/>
                      <a:pt x="61" y="57"/>
                      <a:pt x="61" y="57"/>
                    </a:cubicBezTo>
                    <a:cubicBezTo>
                      <a:pt x="61" y="55"/>
                      <a:pt x="61" y="54"/>
                      <a:pt x="62" y="53"/>
                    </a:cubicBezTo>
                    <a:cubicBezTo>
                      <a:pt x="61" y="53"/>
                      <a:pt x="61" y="52"/>
                      <a:pt x="61" y="50"/>
                    </a:cubicBezTo>
                    <a:cubicBezTo>
                      <a:pt x="61" y="49"/>
                      <a:pt x="61" y="49"/>
                      <a:pt x="61" y="48"/>
                    </a:cubicBezTo>
                    <a:cubicBezTo>
                      <a:pt x="55" y="44"/>
                      <a:pt x="49" y="41"/>
                      <a:pt x="44" y="37"/>
                    </a:cubicBezTo>
                    <a:cubicBezTo>
                      <a:pt x="37" y="32"/>
                      <a:pt x="37" y="32"/>
                      <a:pt x="37" y="32"/>
                    </a:cubicBezTo>
                    <a:cubicBezTo>
                      <a:pt x="43" y="31"/>
                      <a:pt x="43" y="31"/>
                      <a:pt x="43" y="31"/>
                    </a:cubicBezTo>
                    <a:cubicBezTo>
                      <a:pt x="44" y="31"/>
                      <a:pt x="45" y="31"/>
                      <a:pt x="46" y="31"/>
                    </a:cubicBezTo>
                    <a:cubicBezTo>
                      <a:pt x="47" y="30"/>
                      <a:pt x="48" y="30"/>
                      <a:pt x="48" y="30"/>
                    </a:cubicBezTo>
                    <a:cubicBezTo>
                      <a:pt x="48" y="30"/>
                      <a:pt x="48" y="30"/>
                      <a:pt x="48" y="30"/>
                    </a:cubicBezTo>
                    <a:cubicBezTo>
                      <a:pt x="49" y="29"/>
                      <a:pt x="49" y="29"/>
                      <a:pt x="49" y="29"/>
                    </a:cubicBezTo>
                    <a:cubicBezTo>
                      <a:pt x="49" y="29"/>
                      <a:pt x="49" y="28"/>
                      <a:pt x="49" y="27"/>
                    </a:cubicBezTo>
                    <a:cubicBezTo>
                      <a:pt x="48" y="27"/>
                      <a:pt x="47" y="26"/>
                      <a:pt x="46" y="26"/>
                    </a:cubicBezTo>
                    <a:cubicBezTo>
                      <a:pt x="44" y="24"/>
                      <a:pt x="44" y="24"/>
                      <a:pt x="44" y="24"/>
                    </a:cubicBezTo>
                    <a:cubicBezTo>
                      <a:pt x="43" y="23"/>
                      <a:pt x="43" y="23"/>
                      <a:pt x="42" y="22"/>
                    </a:cubicBezTo>
                    <a:cubicBezTo>
                      <a:pt x="40" y="21"/>
                      <a:pt x="35" y="17"/>
                      <a:pt x="37" y="13"/>
                    </a:cubicBezTo>
                    <a:cubicBezTo>
                      <a:pt x="38" y="11"/>
                      <a:pt x="39" y="11"/>
                      <a:pt x="40" y="10"/>
                    </a:cubicBezTo>
                    <a:cubicBezTo>
                      <a:pt x="41" y="10"/>
                      <a:pt x="41" y="10"/>
                      <a:pt x="41" y="10"/>
                    </a:cubicBezTo>
                    <a:cubicBezTo>
                      <a:pt x="41" y="10"/>
                      <a:pt x="41" y="10"/>
                      <a:pt x="41" y="10"/>
                    </a:cubicBezTo>
                    <a:cubicBezTo>
                      <a:pt x="41" y="9"/>
                      <a:pt x="40" y="9"/>
                      <a:pt x="40" y="9"/>
                    </a:cubicBezTo>
                    <a:cubicBezTo>
                      <a:pt x="40" y="9"/>
                      <a:pt x="39" y="9"/>
                      <a:pt x="39" y="8"/>
                    </a:cubicBezTo>
                    <a:cubicBezTo>
                      <a:pt x="37" y="7"/>
                      <a:pt x="35" y="6"/>
                      <a:pt x="34" y="6"/>
                    </a:cubicBezTo>
                    <a:cubicBezTo>
                      <a:pt x="34" y="7"/>
                      <a:pt x="34" y="7"/>
                      <a:pt x="34" y="7"/>
                    </a:cubicBezTo>
                    <a:cubicBezTo>
                      <a:pt x="33" y="7"/>
                      <a:pt x="33" y="7"/>
                      <a:pt x="33" y="7"/>
                    </a:cubicBezTo>
                    <a:cubicBezTo>
                      <a:pt x="25" y="8"/>
                      <a:pt x="25" y="8"/>
                      <a:pt x="25" y="8"/>
                    </a:cubicBezTo>
                    <a:cubicBezTo>
                      <a:pt x="30" y="2"/>
                      <a:pt x="30" y="2"/>
                      <a:pt x="30" y="2"/>
                    </a:cubicBezTo>
                    <a:cubicBezTo>
                      <a:pt x="31" y="1"/>
                      <a:pt x="31" y="1"/>
                      <a:pt x="31" y="1"/>
                    </a:cubicBez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Rectangle 182"/>
              <p:cNvSpPr>
                <a:spLocks noChangeArrowheads="1"/>
              </p:cNvSpPr>
              <p:nvPr/>
            </p:nvSpPr>
            <p:spPr bwMode="auto">
              <a:xfrm>
                <a:off x="6241" y="462"/>
                <a:ext cx="1" cy="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183"/>
              <p:cNvSpPr/>
              <p:nvPr/>
            </p:nvSpPr>
            <p:spPr bwMode="auto">
              <a:xfrm flipH="1">
                <a:off x="6241" y="462"/>
                <a:ext cx="0" cy="3"/>
              </a:xfrm>
              <a:custGeom>
                <a:gdLst>
                  <a:gd name="T0" fmla="*/ 0 h 3"/>
                  <a:gd name="T1" fmla="*/ 3 h 3"/>
                  <a:gd name="T2" fmla="*/ 3 h 3"/>
                  <a:gd name="T3" fmla="*/ 0 h 3"/>
                </a:gd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184"/>
              <p:cNvSpPr/>
              <p:nvPr/>
            </p:nvSpPr>
            <p:spPr bwMode="auto">
              <a:xfrm>
                <a:off x="6253" y="460"/>
                <a:ext cx="5" cy="2"/>
              </a:xfrm>
              <a:custGeom>
                <a:gdLst>
                  <a:gd name="T0" fmla="*/ 2 w 2"/>
                  <a:gd name="T1" fmla="*/ 0 h 1"/>
                  <a:gd name="T2" fmla="*/ 1 w 2"/>
                  <a:gd name="T3" fmla="*/ 0 h 1"/>
                  <a:gd name="T4" fmla="*/ 0 w 2"/>
                  <a:gd name="T5" fmla="*/ 0 h 1"/>
                  <a:gd name="T6" fmla="*/ 1 w 2"/>
                  <a:gd name="T7" fmla="*/ 1 h 1"/>
                  <a:gd name="T8" fmla="*/ 1 w 2"/>
                  <a:gd name="T9" fmla="*/ 1 h 1"/>
                  <a:gd name="T10" fmla="*/ 2 w 2"/>
                  <a:gd name="T11" fmla="*/ 0 h 1"/>
                </a:gdLst>
                <a:cxnLst>
                  <a:cxn ang="0">
                    <a:pos x="T0" y="T1"/>
                  </a:cxn>
                  <a:cxn ang="0">
                    <a:pos x="T2" y="T3"/>
                  </a:cxn>
                  <a:cxn ang="0">
                    <a:pos x="T4" y="T5"/>
                  </a:cxn>
                  <a:cxn ang="0">
                    <a:pos x="T6" y="T7"/>
                  </a:cxn>
                  <a:cxn ang="0">
                    <a:pos x="T8" y="T9"/>
                  </a:cxn>
                  <a:cxn ang="0">
                    <a:pos x="T10" y="T11"/>
                  </a:cxn>
                </a:cxnLst>
                <a:rect l="0" t="0" r="r" b="b"/>
                <a:pathLst>
                  <a:path w="2" h="1">
                    <a:moveTo>
                      <a:pt x="2" y="0"/>
                    </a:moveTo>
                    <a:cubicBezTo>
                      <a:pt x="1" y="0"/>
                      <a:pt x="1" y="0"/>
                      <a:pt x="1" y="0"/>
                    </a:cubicBezTo>
                    <a:cubicBezTo>
                      <a:pt x="0" y="0"/>
                      <a:pt x="0" y="0"/>
                      <a:pt x="0" y="0"/>
                    </a:cubicBezTo>
                    <a:cubicBezTo>
                      <a:pt x="1" y="1"/>
                      <a:pt x="1" y="1"/>
                      <a:pt x="1" y="1"/>
                    </a:cubicBezTo>
                    <a:cubicBezTo>
                      <a:pt x="1" y="1"/>
                      <a:pt x="1" y="1"/>
                      <a:pt x="1" y="1"/>
                    </a:cubicBezTo>
                    <a:cubicBezTo>
                      <a:pt x="1"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185"/>
              <p:cNvSpPr/>
              <p:nvPr/>
            </p:nvSpPr>
            <p:spPr bwMode="auto">
              <a:xfrm>
                <a:off x="6175" y="285"/>
                <a:ext cx="289" cy="215"/>
              </a:xfrm>
              <a:custGeom>
                <a:gdLst>
                  <a:gd name="T0" fmla="*/ 28 w 122"/>
                  <a:gd name="T1" fmla="*/ 4 h 91"/>
                  <a:gd name="T2" fmla="*/ 34 w 122"/>
                  <a:gd name="T3" fmla="*/ 9 h 91"/>
                  <a:gd name="T4" fmla="*/ 36 w 122"/>
                  <a:gd name="T5" fmla="*/ 18 h 91"/>
                  <a:gd name="T6" fmla="*/ 36 w 122"/>
                  <a:gd name="T7" fmla="*/ 23 h 91"/>
                  <a:gd name="T8" fmla="*/ 28 w 122"/>
                  <a:gd name="T9" fmla="*/ 22 h 91"/>
                  <a:gd name="T10" fmla="*/ 12 w 122"/>
                  <a:gd name="T11" fmla="*/ 18 h 91"/>
                  <a:gd name="T12" fmla="*/ 3 w 122"/>
                  <a:gd name="T13" fmla="*/ 13 h 91"/>
                  <a:gd name="T14" fmla="*/ 1 w 122"/>
                  <a:gd name="T15" fmla="*/ 14 h 91"/>
                  <a:gd name="T16" fmla="*/ 1 w 122"/>
                  <a:gd name="T17" fmla="*/ 15 h 91"/>
                  <a:gd name="T18" fmla="*/ 2 w 122"/>
                  <a:gd name="T19" fmla="*/ 16 h 91"/>
                  <a:gd name="T20" fmla="*/ 3 w 122"/>
                  <a:gd name="T21" fmla="*/ 17 h 91"/>
                  <a:gd name="T22" fmla="*/ 6 w 122"/>
                  <a:gd name="T23" fmla="*/ 20 h 91"/>
                  <a:gd name="T24" fmla="*/ 11 w 122"/>
                  <a:gd name="T25" fmla="*/ 30 h 91"/>
                  <a:gd name="T26" fmla="*/ 8 w 122"/>
                  <a:gd name="T27" fmla="*/ 32 h 91"/>
                  <a:gd name="T28" fmla="*/ 8 w 122"/>
                  <a:gd name="T29" fmla="*/ 32 h 91"/>
                  <a:gd name="T30" fmla="*/ 13 w 122"/>
                  <a:gd name="T31" fmla="*/ 36 h 91"/>
                  <a:gd name="T32" fmla="*/ 18 w 122"/>
                  <a:gd name="T33" fmla="*/ 40 h 91"/>
                  <a:gd name="T34" fmla="*/ 19 w 122"/>
                  <a:gd name="T35" fmla="*/ 47 h 91"/>
                  <a:gd name="T36" fmla="*/ 32 w 122"/>
                  <a:gd name="T37" fmla="*/ 62 h 91"/>
                  <a:gd name="T38" fmla="*/ 33 w 122"/>
                  <a:gd name="T39" fmla="*/ 67 h 91"/>
                  <a:gd name="T40" fmla="*/ 35 w 122"/>
                  <a:gd name="T41" fmla="*/ 69 h 91"/>
                  <a:gd name="T42" fmla="*/ 42 w 122"/>
                  <a:gd name="T43" fmla="*/ 68 h 91"/>
                  <a:gd name="T44" fmla="*/ 56 w 122"/>
                  <a:gd name="T45" fmla="*/ 59 h 91"/>
                  <a:gd name="T46" fmla="*/ 65 w 122"/>
                  <a:gd name="T47" fmla="*/ 55 h 91"/>
                  <a:gd name="T48" fmla="*/ 72 w 122"/>
                  <a:gd name="T49" fmla="*/ 61 h 91"/>
                  <a:gd name="T50" fmla="*/ 75 w 122"/>
                  <a:gd name="T51" fmla="*/ 67 h 91"/>
                  <a:gd name="T52" fmla="*/ 73 w 122"/>
                  <a:gd name="T53" fmla="*/ 72 h 91"/>
                  <a:gd name="T54" fmla="*/ 75 w 122"/>
                  <a:gd name="T55" fmla="*/ 74 h 91"/>
                  <a:gd name="T56" fmla="*/ 71 w 122"/>
                  <a:gd name="T57" fmla="*/ 81 h 91"/>
                  <a:gd name="T58" fmla="*/ 74 w 122"/>
                  <a:gd name="T59" fmla="*/ 84 h 91"/>
                  <a:gd name="T60" fmla="*/ 77 w 122"/>
                  <a:gd name="T61" fmla="*/ 86 h 91"/>
                  <a:gd name="T62" fmla="*/ 81 w 122"/>
                  <a:gd name="T63" fmla="*/ 91 h 91"/>
                  <a:gd name="T64" fmla="*/ 81 w 122"/>
                  <a:gd name="T65" fmla="*/ 91 h 91"/>
                  <a:gd name="T66" fmla="*/ 86 w 122"/>
                  <a:gd name="T67" fmla="*/ 90 h 91"/>
                  <a:gd name="T68" fmla="*/ 90 w 122"/>
                  <a:gd name="T69" fmla="*/ 73 h 91"/>
                  <a:gd name="T70" fmla="*/ 93 w 122"/>
                  <a:gd name="T71" fmla="*/ 78 h 91"/>
                  <a:gd name="T72" fmla="*/ 97 w 122"/>
                  <a:gd name="T73" fmla="*/ 68 h 91"/>
                  <a:gd name="T74" fmla="*/ 98 w 122"/>
                  <a:gd name="T75" fmla="*/ 69 h 91"/>
                  <a:gd name="T76" fmla="*/ 98 w 122"/>
                  <a:gd name="T77" fmla="*/ 67 h 91"/>
                  <a:gd name="T78" fmla="*/ 99 w 122"/>
                  <a:gd name="T79" fmla="*/ 54 h 91"/>
                  <a:gd name="T80" fmla="*/ 113 w 122"/>
                  <a:gd name="T81" fmla="*/ 41 h 91"/>
                  <a:gd name="T82" fmla="*/ 122 w 122"/>
                  <a:gd name="T83" fmla="*/ 44 h 91"/>
                  <a:gd name="T84" fmla="*/ 114 w 122"/>
                  <a:gd name="T85" fmla="*/ 35 h 91"/>
                  <a:gd name="T86" fmla="*/ 111 w 122"/>
                  <a:gd name="T87" fmla="*/ 34 h 91"/>
                  <a:gd name="T88" fmla="*/ 109 w 122"/>
                  <a:gd name="T89" fmla="*/ 34 h 91"/>
                  <a:gd name="T90" fmla="*/ 91 w 122"/>
                  <a:gd name="T91" fmla="*/ 14 h 91"/>
                  <a:gd name="T92" fmla="*/ 74 w 122"/>
                  <a:gd name="T93" fmla="*/ 8 h 91"/>
                  <a:gd name="T94" fmla="*/ 73 w 122"/>
                  <a:gd name="T95" fmla="*/ 9 h 91"/>
                  <a:gd name="T96" fmla="*/ 68 w 122"/>
                  <a:gd name="T97" fmla="*/ 14 h 91"/>
                  <a:gd name="T98" fmla="*/ 55 w 122"/>
                  <a:gd name="T99" fmla="*/ 19 h 91"/>
                  <a:gd name="T100" fmla="*/ 44 w 122"/>
                  <a:gd name="T101" fmla="*/ 10 h 91"/>
                  <a:gd name="T102" fmla="*/ 34 w 122"/>
                  <a:gd name="T103" fmla="*/ 0 h 91"/>
                  <a:gd name="T104" fmla="*/ 31 w 122"/>
                  <a:gd name="T105" fmla="*/ 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91">
                    <a:moveTo>
                      <a:pt x="31" y="0"/>
                    </a:moveTo>
                    <a:cubicBezTo>
                      <a:pt x="28" y="4"/>
                      <a:pt x="28" y="4"/>
                      <a:pt x="28" y="4"/>
                    </a:cubicBezTo>
                    <a:cubicBezTo>
                      <a:pt x="29" y="5"/>
                      <a:pt x="29" y="5"/>
                      <a:pt x="30" y="6"/>
                    </a:cubicBezTo>
                    <a:cubicBezTo>
                      <a:pt x="31" y="7"/>
                      <a:pt x="32" y="8"/>
                      <a:pt x="34" y="9"/>
                    </a:cubicBezTo>
                    <a:cubicBezTo>
                      <a:pt x="38" y="11"/>
                      <a:pt x="37" y="15"/>
                      <a:pt x="36" y="18"/>
                    </a:cubicBezTo>
                    <a:cubicBezTo>
                      <a:pt x="36" y="18"/>
                      <a:pt x="36" y="18"/>
                      <a:pt x="36" y="18"/>
                    </a:cubicBezTo>
                    <a:cubicBezTo>
                      <a:pt x="36" y="19"/>
                      <a:pt x="36" y="19"/>
                      <a:pt x="36" y="20"/>
                    </a:cubicBezTo>
                    <a:cubicBezTo>
                      <a:pt x="36" y="23"/>
                      <a:pt x="36" y="23"/>
                      <a:pt x="36" y="23"/>
                    </a:cubicBezTo>
                    <a:cubicBezTo>
                      <a:pt x="33" y="22"/>
                      <a:pt x="33" y="22"/>
                      <a:pt x="33" y="22"/>
                    </a:cubicBezTo>
                    <a:cubicBezTo>
                      <a:pt x="31" y="22"/>
                      <a:pt x="29" y="22"/>
                      <a:pt x="28" y="22"/>
                    </a:cubicBezTo>
                    <a:cubicBezTo>
                      <a:pt x="23" y="21"/>
                      <a:pt x="18" y="20"/>
                      <a:pt x="14" y="19"/>
                    </a:cubicBezTo>
                    <a:cubicBezTo>
                      <a:pt x="13" y="19"/>
                      <a:pt x="12" y="18"/>
                      <a:pt x="12" y="18"/>
                    </a:cubicBezTo>
                    <a:cubicBezTo>
                      <a:pt x="10" y="17"/>
                      <a:pt x="9" y="16"/>
                      <a:pt x="8" y="15"/>
                    </a:cubicBezTo>
                    <a:cubicBezTo>
                      <a:pt x="6" y="14"/>
                      <a:pt x="5" y="13"/>
                      <a:pt x="3" y="13"/>
                    </a:cubicBezTo>
                    <a:cubicBezTo>
                      <a:pt x="2" y="13"/>
                      <a:pt x="2" y="13"/>
                      <a:pt x="2" y="13"/>
                    </a:cubicBezTo>
                    <a:cubicBezTo>
                      <a:pt x="1" y="14"/>
                      <a:pt x="1" y="14"/>
                      <a:pt x="1" y="14"/>
                    </a:cubicBezTo>
                    <a:cubicBezTo>
                      <a:pt x="0" y="14"/>
                      <a:pt x="0" y="14"/>
                      <a:pt x="0" y="14"/>
                    </a:cubicBezTo>
                    <a:cubicBezTo>
                      <a:pt x="1" y="15"/>
                      <a:pt x="1" y="15"/>
                      <a:pt x="1" y="15"/>
                    </a:cubicBezTo>
                    <a:cubicBezTo>
                      <a:pt x="1" y="15"/>
                      <a:pt x="1" y="15"/>
                      <a:pt x="1" y="15"/>
                    </a:cubicBezTo>
                    <a:cubicBezTo>
                      <a:pt x="2" y="16"/>
                      <a:pt x="2" y="16"/>
                      <a:pt x="2" y="16"/>
                    </a:cubicBezTo>
                    <a:cubicBezTo>
                      <a:pt x="3" y="17"/>
                      <a:pt x="3" y="17"/>
                      <a:pt x="3" y="17"/>
                    </a:cubicBezTo>
                    <a:cubicBezTo>
                      <a:pt x="3" y="17"/>
                      <a:pt x="3" y="17"/>
                      <a:pt x="3" y="17"/>
                    </a:cubicBezTo>
                    <a:cubicBezTo>
                      <a:pt x="3" y="18"/>
                      <a:pt x="3" y="18"/>
                      <a:pt x="3" y="19"/>
                    </a:cubicBezTo>
                    <a:cubicBezTo>
                      <a:pt x="4" y="19"/>
                      <a:pt x="5" y="19"/>
                      <a:pt x="6" y="20"/>
                    </a:cubicBezTo>
                    <a:cubicBezTo>
                      <a:pt x="9" y="21"/>
                      <a:pt x="11" y="23"/>
                      <a:pt x="12" y="25"/>
                    </a:cubicBezTo>
                    <a:cubicBezTo>
                      <a:pt x="13" y="27"/>
                      <a:pt x="12" y="29"/>
                      <a:pt x="11" y="30"/>
                    </a:cubicBezTo>
                    <a:cubicBezTo>
                      <a:pt x="11" y="31"/>
                      <a:pt x="10" y="31"/>
                      <a:pt x="9" y="31"/>
                    </a:cubicBezTo>
                    <a:cubicBezTo>
                      <a:pt x="9" y="32"/>
                      <a:pt x="8" y="32"/>
                      <a:pt x="8" y="32"/>
                    </a:cubicBezTo>
                    <a:cubicBezTo>
                      <a:pt x="8" y="32"/>
                      <a:pt x="8" y="32"/>
                      <a:pt x="8" y="32"/>
                    </a:cubicBezTo>
                    <a:cubicBezTo>
                      <a:pt x="8" y="32"/>
                      <a:pt x="8" y="32"/>
                      <a:pt x="8" y="32"/>
                    </a:cubicBezTo>
                    <a:cubicBezTo>
                      <a:pt x="8" y="33"/>
                      <a:pt x="9" y="34"/>
                      <a:pt x="11" y="35"/>
                    </a:cubicBezTo>
                    <a:cubicBezTo>
                      <a:pt x="11" y="35"/>
                      <a:pt x="12" y="36"/>
                      <a:pt x="13" y="36"/>
                    </a:cubicBezTo>
                    <a:cubicBezTo>
                      <a:pt x="15" y="38"/>
                      <a:pt x="15" y="38"/>
                      <a:pt x="15" y="38"/>
                    </a:cubicBezTo>
                    <a:cubicBezTo>
                      <a:pt x="16" y="39"/>
                      <a:pt x="17" y="40"/>
                      <a:pt x="18" y="40"/>
                    </a:cubicBezTo>
                    <a:cubicBezTo>
                      <a:pt x="20" y="42"/>
                      <a:pt x="20" y="45"/>
                      <a:pt x="19" y="47"/>
                    </a:cubicBezTo>
                    <a:cubicBezTo>
                      <a:pt x="19" y="47"/>
                      <a:pt x="19" y="47"/>
                      <a:pt x="19" y="47"/>
                    </a:cubicBezTo>
                    <a:cubicBezTo>
                      <a:pt x="19" y="49"/>
                      <a:pt x="19" y="51"/>
                      <a:pt x="17" y="52"/>
                    </a:cubicBezTo>
                    <a:cubicBezTo>
                      <a:pt x="21" y="55"/>
                      <a:pt x="27" y="59"/>
                      <a:pt x="32" y="62"/>
                    </a:cubicBezTo>
                    <a:cubicBezTo>
                      <a:pt x="36" y="64"/>
                      <a:pt x="36" y="64"/>
                      <a:pt x="36" y="64"/>
                    </a:cubicBezTo>
                    <a:cubicBezTo>
                      <a:pt x="33" y="67"/>
                      <a:pt x="33" y="67"/>
                      <a:pt x="33" y="67"/>
                    </a:cubicBezTo>
                    <a:cubicBezTo>
                      <a:pt x="32" y="67"/>
                      <a:pt x="32" y="67"/>
                      <a:pt x="32" y="67"/>
                    </a:cubicBezTo>
                    <a:cubicBezTo>
                      <a:pt x="33" y="68"/>
                      <a:pt x="34" y="68"/>
                      <a:pt x="35" y="69"/>
                    </a:cubicBezTo>
                    <a:cubicBezTo>
                      <a:pt x="38" y="72"/>
                      <a:pt x="38" y="72"/>
                      <a:pt x="38" y="72"/>
                    </a:cubicBezTo>
                    <a:cubicBezTo>
                      <a:pt x="39" y="70"/>
                      <a:pt x="40" y="69"/>
                      <a:pt x="42" y="68"/>
                    </a:cubicBezTo>
                    <a:cubicBezTo>
                      <a:pt x="44" y="67"/>
                      <a:pt x="45" y="66"/>
                      <a:pt x="47" y="65"/>
                    </a:cubicBezTo>
                    <a:cubicBezTo>
                      <a:pt x="50" y="63"/>
                      <a:pt x="53" y="61"/>
                      <a:pt x="56" y="59"/>
                    </a:cubicBezTo>
                    <a:cubicBezTo>
                      <a:pt x="57" y="59"/>
                      <a:pt x="57" y="59"/>
                      <a:pt x="57" y="59"/>
                    </a:cubicBezTo>
                    <a:cubicBezTo>
                      <a:pt x="60" y="56"/>
                      <a:pt x="63" y="55"/>
                      <a:pt x="65" y="55"/>
                    </a:cubicBezTo>
                    <a:cubicBezTo>
                      <a:pt x="65" y="55"/>
                      <a:pt x="66" y="55"/>
                      <a:pt x="66" y="55"/>
                    </a:cubicBezTo>
                    <a:cubicBezTo>
                      <a:pt x="68" y="56"/>
                      <a:pt x="70" y="58"/>
                      <a:pt x="72" y="61"/>
                    </a:cubicBezTo>
                    <a:cubicBezTo>
                      <a:pt x="73" y="63"/>
                      <a:pt x="73" y="63"/>
                      <a:pt x="73" y="63"/>
                    </a:cubicBezTo>
                    <a:cubicBezTo>
                      <a:pt x="74" y="64"/>
                      <a:pt x="75" y="66"/>
                      <a:pt x="75" y="67"/>
                    </a:cubicBezTo>
                    <a:cubicBezTo>
                      <a:pt x="76" y="69"/>
                      <a:pt x="74" y="71"/>
                      <a:pt x="74" y="72"/>
                    </a:cubicBezTo>
                    <a:cubicBezTo>
                      <a:pt x="73" y="72"/>
                      <a:pt x="73" y="72"/>
                      <a:pt x="73" y="72"/>
                    </a:cubicBezTo>
                    <a:cubicBezTo>
                      <a:pt x="74" y="73"/>
                      <a:pt x="74" y="73"/>
                      <a:pt x="74" y="73"/>
                    </a:cubicBezTo>
                    <a:cubicBezTo>
                      <a:pt x="74" y="73"/>
                      <a:pt x="75" y="74"/>
                      <a:pt x="75" y="74"/>
                    </a:cubicBezTo>
                    <a:cubicBezTo>
                      <a:pt x="78" y="77"/>
                      <a:pt x="78" y="77"/>
                      <a:pt x="78" y="77"/>
                    </a:cubicBezTo>
                    <a:cubicBezTo>
                      <a:pt x="71" y="81"/>
                      <a:pt x="71" y="81"/>
                      <a:pt x="71" y="81"/>
                    </a:cubicBezTo>
                    <a:cubicBezTo>
                      <a:pt x="73" y="83"/>
                      <a:pt x="73" y="83"/>
                      <a:pt x="73" y="83"/>
                    </a:cubicBezTo>
                    <a:cubicBezTo>
                      <a:pt x="73" y="83"/>
                      <a:pt x="74" y="84"/>
                      <a:pt x="74" y="84"/>
                    </a:cubicBezTo>
                    <a:cubicBezTo>
                      <a:pt x="74" y="85"/>
                      <a:pt x="74" y="85"/>
                      <a:pt x="74" y="85"/>
                    </a:cubicBezTo>
                    <a:cubicBezTo>
                      <a:pt x="75" y="85"/>
                      <a:pt x="76" y="86"/>
                      <a:pt x="77" y="86"/>
                    </a:cubicBezTo>
                    <a:cubicBezTo>
                      <a:pt x="77" y="87"/>
                      <a:pt x="78" y="87"/>
                      <a:pt x="79" y="88"/>
                    </a:cubicBezTo>
                    <a:cubicBezTo>
                      <a:pt x="80" y="89"/>
                      <a:pt x="80" y="90"/>
                      <a:pt x="81" y="91"/>
                    </a:cubicBezTo>
                    <a:cubicBezTo>
                      <a:pt x="81" y="91"/>
                      <a:pt x="81" y="91"/>
                      <a:pt x="81" y="91"/>
                    </a:cubicBezTo>
                    <a:cubicBezTo>
                      <a:pt x="81" y="91"/>
                      <a:pt x="81" y="91"/>
                      <a:pt x="81" y="91"/>
                    </a:cubicBezTo>
                    <a:cubicBezTo>
                      <a:pt x="82" y="91"/>
                      <a:pt x="84" y="91"/>
                      <a:pt x="85" y="90"/>
                    </a:cubicBezTo>
                    <a:cubicBezTo>
                      <a:pt x="86" y="90"/>
                      <a:pt x="86" y="90"/>
                      <a:pt x="86" y="90"/>
                    </a:cubicBezTo>
                    <a:cubicBezTo>
                      <a:pt x="86" y="87"/>
                      <a:pt x="87" y="84"/>
                      <a:pt x="87" y="81"/>
                    </a:cubicBezTo>
                    <a:cubicBezTo>
                      <a:pt x="88" y="79"/>
                      <a:pt x="87" y="73"/>
                      <a:pt x="90" y="73"/>
                    </a:cubicBezTo>
                    <a:cubicBezTo>
                      <a:pt x="90" y="73"/>
                      <a:pt x="90" y="73"/>
                      <a:pt x="90" y="73"/>
                    </a:cubicBezTo>
                    <a:cubicBezTo>
                      <a:pt x="91" y="73"/>
                      <a:pt x="93" y="78"/>
                      <a:pt x="93" y="78"/>
                    </a:cubicBezTo>
                    <a:cubicBezTo>
                      <a:pt x="93" y="76"/>
                      <a:pt x="94" y="70"/>
                      <a:pt x="96" y="68"/>
                    </a:cubicBezTo>
                    <a:cubicBezTo>
                      <a:pt x="96" y="68"/>
                      <a:pt x="97" y="68"/>
                      <a:pt x="97" y="68"/>
                    </a:cubicBezTo>
                    <a:cubicBezTo>
                      <a:pt x="97" y="68"/>
                      <a:pt x="97" y="69"/>
                      <a:pt x="98" y="69"/>
                    </a:cubicBezTo>
                    <a:cubicBezTo>
                      <a:pt x="98" y="69"/>
                      <a:pt x="98" y="69"/>
                      <a:pt x="98" y="69"/>
                    </a:cubicBezTo>
                    <a:cubicBezTo>
                      <a:pt x="98" y="69"/>
                      <a:pt x="99" y="69"/>
                      <a:pt x="99" y="69"/>
                    </a:cubicBezTo>
                    <a:cubicBezTo>
                      <a:pt x="99" y="67"/>
                      <a:pt x="98" y="67"/>
                      <a:pt x="98" y="67"/>
                    </a:cubicBezTo>
                    <a:cubicBezTo>
                      <a:pt x="98" y="65"/>
                      <a:pt x="96" y="64"/>
                      <a:pt x="97" y="61"/>
                    </a:cubicBezTo>
                    <a:cubicBezTo>
                      <a:pt x="97" y="59"/>
                      <a:pt x="98" y="57"/>
                      <a:pt x="99" y="54"/>
                    </a:cubicBezTo>
                    <a:cubicBezTo>
                      <a:pt x="100" y="51"/>
                      <a:pt x="101" y="46"/>
                      <a:pt x="104" y="44"/>
                    </a:cubicBezTo>
                    <a:cubicBezTo>
                      <a:pt x="107" y="41"/>
                      <a:pt x="110" y="41"/>
                      <a:pt x="113" y="41"/>
                    </a:cubicBezTo>
                    <a:cubicBezTo>
                      <a:pt x="113" y="41"/>
                      <a:pt x="114" y="41"/>
                      <a:pt x="114" y="41"/>
                    </a:cubicBezTo>
                    <a:cubicBezTo>
                      <a:pt x="118" y="41"/>
                      <a:pt x="119" y="41"/>
                      <a:pt x="122" y="44"/>
                    </a:cubicBezTo>
                    <a:cubicBezTo>
                      <a:pt x="121" y="41"/>
                      <a:pt x="121" y="40"/>
                      <a:pt x="119" y="38"/>
                    </a:cubicBezTo>
                    <a:cubicBezTo>
                      <a:pt x="118" y="37"/>
                      <a:pt x="116" y="35"/>
                      <a:pt x="114" y="35"/>
                    </a:cubicBezTo>
                    <a:cubicBezTo>
                      <a:pt x="113" y="34"/>
                      <a:pt x="113" y="34"/>
                      <a:pt x="111" y="34"/>
                    </a:cubicBezTo>
                    <a:cubicBezTo>
                      <a:pt x="111" y="34"/>
                      <a:pt x="111" y="34"/>
                      <a:pt x="111" y="34"/>
                    </a:cubicBezTo>
                    <a:cubicBezTo>
                      <a:pt x="110" y="34"/>
                      <a:pt x="110" y="34"/>
                      <a:pt x="109" y="34"/>
                    </a:cubicBezTo>
                    <a:cubicBezTo>
                      <a:pt x="109" y="34"/>
                      <a:pt x="109" y="34"/>
                      <a:pt x="109" y="34"/>
                    </a:cubicBezTo>
                    <a:cubicBezTo>
                      <a:pt x="106" y="34"/>
                      <a:pt x="104" y="32"/>
                      <a:pt x="102" y="30"/>
                    </a:cubicBezTo>
                    <a:cubicBezTo>
                      <a:pt x="97" y="25"/>
                      <a:pt x="94" y="20"/>
                      <a:pt x="91" y="14"/>
                    </a:cubicBezTo>
                    <a:cubicBezTo>
                      <a:pt x="90" y="9"/>
                      <a:pt x="85" y="5"/>
                      <a:pt x="81" y="0"/>
                    </a:cubicBezTo>
                    <a:cubicBezTo>
                      <a:pt x="80" y="4"/>
                      <a:pt x="77" y="6"/>
                      <a:pt x="74" y="8"/>
                    </a:cubicBezTo>
                    <a:cubicBezTo>
                      <a:pt x="74" y="8"/>
                      <a:pt x="74" y="8"/>
                      <a:pt x="74" y="8"/>
                    </a:cubicBezTo>
                    <a:cubicBezTo>
                      <a:pt x="73" y="9"/>
                      <a:pt x="73" y="9"/>
                      <a:pt x="73" y="9"/>
                    </a:cubicBezTo>
                    <a:cubicBezTo>
                      <a:pt x="72" y="10"/>
                      <a:pt x="71" y="11"/>
                      <a:pt x="70" y="11"/>
                    </a:cubicBezTo>
                    <a:cubicBezTo>
                      <a:pt x="69" y="11"/>
                      <a:pt x="69" y="12"/>
                      <a:pt x="68" y="14"/>
                    </a:cubicBezTo>
                    <a:cubicBezTo>
                      <a:pt x="66" y="18"/>
                      <a:pt x="64" y="19"/>
                      <a:pt x="60" y="19"/>
                    </a:cubicBezTo>
                    <a:cubicBezTo>
                      <a:pt x="59" y="19"/>
                      <a:pt x="57" y="19"/>
                      <a:pt x="55" y="19"/>
                    </a:cubicBezTo>
                    <a:cubicBezTo>
                      <a:pt x="48" y="17"/>
                      <a:pt x="46" y="14"/>
                      <a:pt x="45" y="12"/>
                    </a:cubicBezTo>
                    <a:cubicBezTo>
                      <a:pt x="45" y="11"/>
                      <a:pt x="44" y="10"/>
                      <a:pt x="44" y="10"/>
                    </a:cubicBezTo>
                    <a:cubicBezTo>
                      <a:pt x="42" y="10"/>
                      <a:pt x="39" y="7"/>
                      <a:pt x="38" y="4"/>
                    </a:cubicBezTo>
                    <a:cubicBezTo>
                      <a:pt x="37" y="2"/>
                      <a:pt x="35" y="0"/>
                      <a:pt x="34" y="0"/>
                    </a:cubicBezTo>
                    <a:cubicBezTo>
                      <a:pt x="32" y="0"/>
                      <a:pt x="31" y="0"/>
                      <a:pt x="31" y="0"/>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186"/>
              <p:cNvSpPr/>
              <p:nvPr/>
            </p:nvSpPr>
            <p:spPr bwMode="auto">
              <a:xfrm>
                <a:off x="6161" y="427"/>
                <a:ext cx="59" cy="45"/>
              </a:xfrm>
              <a:custGeom>
                <a:gdLst>
                  <a:gd name="T0" fmla="*/ 2 w 25"/>
                  <a:gd name="T1" fmla="*/ 0 h 19"/>
                  <a:gd name="T2" fmla="*/ 0 w 25"/>
                  <a:gd name="T3" fmla="*/ 0 h 19"/>
                  <a:gd name="T4" fmla="*/ 0 w 25"/>
                  <a:gd name="T5" fmla="*/ 0 h 19"/>
                  <a:gd name="T6" fmla="*/ 1 w 25"/>
                  <a:gd name="T7" fmla="*/ 2 h 19"/>
                  <a:gd name="T8" fmla="*/ 7 w 25"/>
                  <a:gd name="T9" fmla="*/ 9 h 19"/>
                  <a:gd name="T10" fmla="*/ 8 w 25"/>
                  <a:gd name="T11" fmla="*/ 10 h 19"/>
                  <a:gd name="T12" fmla="*/ 9 w 25"/>
                  <a:gd name="T13" fmla="*/ 11 h 19"/>
                  <a:gd name="T14" fmla="*/ 13 w 25"/>
                  <a:gd name="T15" fmla="*/ 15 h 19"/>
                  <a:gd name="T16" fmla="*/ 21 w 25"/>
                  <a:gd name="T17" fmla="*/ 18 h 19"/>
                  <a:gd name="T18" fmla="*/ 23 w 25"/>
                  <a:gd name="T19" fmla="*/ 18 h 19"/>
                  <a:gd name="T20" fmla="*/ 25 w 25"/>
                  <a:gd name="T21" fmla="*/ 19 h 19"/>
                  <a:gd name="T22" fmla="*/ 25 w 25"/>
                  <a:gd name="T23" fmla="*/ 19 h 19"/>
                  <a:gd name="T24" fmla="*/ 22 w 25"/>
                  <a:gd name="T25" fmla="*/ 12 h 19"/>
                  <a:gd name="T26" fmla="*/ 21 w 25"/>
                  <a:gd name="T27" fmla="*/ 12 h 19"/>
                  <a:gd name="T28" fmla="*/ 21 w 25"/>
                  <a:gd name="T29" fmla="*/ 12 h 19"/>
                  <a:gd name="T30" fmla="*/ 17 w 25"/>
                  <a:gd name="T31" fmla="*/ 8 h 19"/>
                  <a:gd name="T32" fmla="*/ 16 w 25"/>
                  <a:gd name="T33" fmla="*/ 6 h 19"/>
                  <a:gd name="T34" fmla="*/ 13 w 25"/>
                  <a:gd name="T35" fmla="*/ 7 h 19"/>
                  <a:gd name="T36" fmla="*/ 13 w 25"/>
                  <a:gd name="T37" fmla="*/ 7 h 19"/>
                  <a:gd name="T38" fmla="*/ 10 w 25"/>
                  <a:gd name="T39" fmla="*/ 6 h 19"/>
                  <a:gd name="T40" fmla="*/ 10 w 25"/>
                  <a:gd name="T41" fmla="*/ 6 h 19"/>
                  <a:gd name="T42" fmla="*/ 8 w 25"/>
                  <a:gd name="T43" fmla="*/ 5 h 19"/>
                  <a:gd name="T44" fmla="*/ 5 w 25"/>
                  <a:gd name="T45" fmla="*/ 3 h 19"/>
                  <a:gd name="T46" fmla="*/ 4 w 25"/>
                  <a:gd name="T47" fmla="*/ 2 h 19"/>
                  <a:gd name="T48" fmla="*/ 2 w 25"/>
                  <a:gd name="T49" fmla="*/ 0 h 19"/>
                  <a:gd name="T50" fmla="*/ 2 w 25"/>
                  <a:gd name="T51"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19">
                    <a:moveTo>
                      <a:pt x="2" y="0"/>
                    </a:moveTo>
                    <a:cubicBezTo>
                      <a:pt x="0" y="0"/>
                      <a:pt x="0" y="0"/>
                      <a:pt x="0" y="0"/>
                    </a:cubicBezTo>
                    <a:cubicBezTo>
                      <a:pt x="0" y="0"/>
                      <a:pt x="0" y="0"/>
                      <a:pt x="0" y="0"/>
                    </a:cubicBezTo>
                    <a:cubicBezTo>
                      <a:pt x="0" y="1"/>
                      <a:pt x="0" y="1"/>
                      <a:pt x="1" y="2"/>
                    </a:cubicBezTo>
                    <a:cubicBezTo>
                      <a:pt x="1" y="2"/>
                      <a:pt x="1" y="3"/>
                      <a:pt x="7" y="9"/>
                    </a:cubicBezTo>
                    <a:cubicBezTo>
                      <a:pt x="7" y="9"/>
                      <a:pt x="8" y="10"/>
                      <a:pt x="8" y="10"/>
                    </a:cubicBezTo>
                    <a:cubicBezTo>
                      <a:pt x="9" y="11"/>
                      <a:pt x="9" y="11"/>
                      <a:pt x="9" y="11"/>
                    </a:cubicBezTo>
                    <a:cubicBezTo>
                      <a:pt x="11" y="13"/>
                      <a:pt x="12" y="14"/>
                      <a:pt x="13" y="15"/>
                    </a:cubicBezTo>
                    <a:cubicBezTo>
                      <a:pt x="13" y="15"/>
                      <a:pt x="17" y="17"/>
                      <a:pt x="21" y="18"/>
                    </a:cubicBezTo>
                    <a:cubicBezTo>
                      <a:pt x="22" y="18"/>
                      <a:pt x="23" y="18"/>
                      <a:pt x="23" y="18"/>
                    </a:cubicBezTo>
                    <a:cubicBezTo>
                      <a:pt x="24" y="18"/>
                      <a:pt x="24" y="18"/>
                      <a:pt x="25" y="19"/>
                    </a:cubicBezTo>
                    <a:cubicBezTo>
                      <a:pt x="25" y="19"/>
                      <a:pt x="25" y="19"/>
                      <a:pt x="25" y="19"/>
                    </a:cubicBezTo>
                    <a:cubicBezTo>
                      <a:pt x="24" y="16"/>
                      <a:pt x="23" y="14"/>
                      <a:pt x="22" y="12"/>
                    </a:cubicBezTo>
                    <a:cubicBezTo>
                      <a:pt x="21" y="12"/>
                      <a:pt x="21" y="12"/>
                      <a:pt x="21" y="12"/>
                    </a:cubicBezTo>
                    <a:cubicBezTo>
                      <a:pt x="21" y="12"/>
                      <a:pt x="21" y="12"/>
                      <a:pt x="21" y="12"/>
                    </a:cubicBezTo>
                    <a:cubicBezTo>
                      <a:pt x="19" y="11"/>
                      <a:pt x="17" y="9"/>
                      <a:pt x="17" y="8"/>
                    </a:cubicBezTo>
                    <a:cubicBezTo>
                      <a:pt x="16" y="7"/>
                      <a:pt x="16" y="6"/>
                      <a:pt x="16" y="6"/>
                    </a:cubicBezTo>
                    <a:cubicBezTo>
                      <a:pt x="15" y="6"/>
                      <a:pt x="14" y="6"/>
                      <a:pt x="13" y="7"/>
                    </a:cubicBezTo>
                    <a:cubicBezTo>
                      <a:pt x="13" y="7"/>
                      <a:pt x="13" y="7"/>
                      <a:pt x="13" y="7"/>
                    </a:cubicBezTo>
                    <a:cubicBezTo>
                      <a:pt x="12" y="7"/>
                      <a:pt x="11" y="6"/>
                      <a:pt x="10" y="6"/>
                    </a:cubicBezTo>
                    <a:cubicBezTo>
                      <a:pt x="10" y="6"/>
                      <a:pt x="10" y="6"/>
                      <a:pt x="10" y="6"/>
                    </a:cubicBezTo>
                    <a:cubicBezTo>
                      <a:pt x="9" y="6"/>
                      <a:pt x="8" y="5"/>
                      <a:pt x="8" y="5"/>
                    </a:cubicBezTo>
                    <a:cubicBezTo>
                      <a:pt x="7" y="4"/>
                      <a:pt x="6" y="4"/>
                      <a:pt x="5" y="3"/>
                    </a:cubicBezTo>
                    <a:cubicBezTo>
                      <a:pt x="5" y="2"/>
                      <a:pt x="4" y="2"/>
                      <a:pt x="4" y="2"/>
                    </a:cubicBezTo>
                    <a:cubicBezTo>
                      <a:pt x="3" y="1"/>
                      <a:pt x="3"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187"/>
              <p:cNvSpPr/>
              <p:nvPr/>
            </p:nvSpPr>
            <p:spPr bwMode="auto">
              <a:xfrm>
                <a:off x="4188" y="843"/>
                <a:ext cx="870" cy="801"/>
              </a:xfrm>
              <a:custGeom>
                <a:gdLst>
                  <a:gd name="T0" fmla="*/ 47 w 368"/>
                  <a:gd name="T1" fmla="*/ 23 h 339"/>
                  <a:gd name="T2" fmla="*/ 36 w 368"/>
                  <a:gd name="T3" fmla="*/ 28 h 339"/>
                  <a:gd name="T4" fmla="*/ 29 w 368"/>
                  <a:gd name="T5" fmla="*/ 33 h 339"/>
                  <a:gd name="T6" fmla="*/ 23 w 368"/>
                  <a:gd name="T7" fmla="*/ 39 h 339"/>
                  <a:gd name="T8" fmla="*/ 21 w 368"/>
                  <a:gd name="T9" fmla="*/ 52 h 339"/>
                  <a:gd name="T10" fmla="*/ 23 w 368"/>
                  <a:gd name="T11" fmla="*/ 69 h 339"/>
                  <a:gd name="T12" fmla="*/ 15 w 368"/>
                  <a:gd name="T13" fmla="*/ 70 h 339"/>
                  <a:gd name="T14" fmla="*/ 3 w 368"/>
                  <a:gd name="T15" fmla="*/ 78 h 339"/>
                  <a:gd name="T16" fmla="*/ 0 w 368"/>
                  <a:gd name="T17" fmla="*/ 79 h 339"/>
                  <a:gd name="T18" fmla="*/ 12 w 368"/>
                  <a:gd name="T19" fmla="*/ 115 h 339"/>
                  <a:gd name="T20" fmla="*/ 13 w 368"/>
                  <a:gd name="T21" fmla="*/ 134 h 339"/>
                  <a:gd name="T22" fmla="*/ 11 w 368"/>
                  <a:gd name="T23" fmla="*/ 146 h 339"/>
                  <a:gd name="T24" fmla="*/ 11 w 368"/>
                  <a:gd name="T25" fmla="*/ 156 h 339"/>
                  <a:gd name="T26" fmla="*/ 9 w 368"/>
                  <a:gd name="T27" fmla="*/ 173 h 339"/>
                  <a:gd name="T28" fmla="*/ 5 w 368"/>
                  <a:gd name="T29" fmla="*/ 175 h 339"/>
                  <a:gd name="T30" fmla="*/ 2 w 368"/>
                  <a:gd name="T31" fmla="*/ 179 h 339"/>
                  <a:gd name="T32" fmla="*/ 9 w 368"/>
                  <a:gd name="T33" fmla="*/ 188 h 339"/>
                  <a:gd name="T34" fmla="*/ 16 w 368"/>
                  <a:gd name="T35" fmla="*/ 204 h 339"/>
                  <a:gd name="T36" fmla="*/ 18 w 368"/>
                  <a:gd name="T37" fmla="*/ 211 h 339"/>
                  <a:gd name="T38" fmla="*/ 23 w 368"/>
                  <a:gd name="T39" fmla="*/ 218 h 339"/>
                  <a:gd name="T40" fmla="*/ 29 w 368"/>
                  <a:gd name="T41" fmla="*/ 213 h 339"/>
                  <a:gd name="T42" fmla="*/ 41 w 368"/>
                  <a:gd name="T43" fmla="*/ 220 h 339"/>
                  <a:gd name="T44" fmla="*/ 54 w 368"/>
                  <a:gd name="T45" fmla="*/ 229 h 339"/>
                  <a:gd name="T46" fmla="*/ 61 w 368"/>
                  <a:gd name="T47" fmla="*/ 242 h 339"/>
                  <a:gd name="T48" fmla="*/ 103 w 368"/>
                  <a:gd name="T49" fmla="*/ 255 h 339"/>
                  <a:gd name="T50" fmla="*/ 112 w 368"/>
                  <a:gd name="T51" fmla="*/ 263 h 339"/>
                  <a:gd name="T52" fmla="*/ 116 w 368"/>
                  <a:gd name="T53" fmla="*/ 262 h 339"/>
                  <a:gd name="T54" fmla="*/ 155 w 368"/>
                  <a:gd name="T55" fmla="*/ 244 h 339"/>
                  <a:gd name="T56" fmla="*/ 200 w 368"/>
                  <a:gd name="T57" fmla="*/ 266 h 339"/>
                  <a:gd name="T58" fmla="*/ 339 w 368"/>
                  <a:gd name="T59" fmla="*/ 334 h 339"/>
                  <a:gd name="T60" fmla="*/ 340 w 368"/>
                  <a:gd name="T61" fmla="*/ 332 h 339"/>
                  <a:gd name="T62" fmla="*/ 342 w 368"/>
                  <a:gd name="T63" fmla="*/ 330 h 339"/>
                  <a:gd name="T64" fmla="*/ 356 w 368"/>
                  <a:gd name="T65" fmla="*/ 329 h 339"/>
                  <a:gd name="T66" fmla="*/ 363 w 368"/>
                  <a:gd name="T67" fmla="*/ 295 h 339"/>
                  <a:gd name="T68" fmla="*/ 363 w 368"/>
                  <a:gd name="T69" fmla="*/ 280 h 339"/>
                  <a:gd name="T70" fmla="*/ 359 w 368"/>
                  <a:gd name="T71" fmla="*/ 88 h 339"/>
                  <a:gd name="T72" fmla="*/ 356 w 368"/>
                  <a:gd name="T73" fmla="*/ 78 h 339"/>
                  <a:gd name="T74" fmla="*/ 362 w 368"/>
                  <a:gd name="T75" fmla="*/ 61 h 339"/>
                  <a:gd name="T76" fmla="*/ 361 w 368"/>
                  <a:gd name="T77" fmla="*/ 44 h 339"/>
                  <a:gd name="T78" fmla="*/ 368 w 368"/>
                  <a:gd name="T79" fmla="*/ 36 h 339"/>
                  <a:gd name="T80" fmla="*/ 356 w 368"/>
                  <a:gd name="T81" fmla="*/ 29 h 339"/>
                  <a:gd name="T82" fmla="*/ 320 w 368"/>
                  <a:gd name="T83" fmla="*/ 20 h 339"/>
                  <a:gd name="T84" fmla="*/ 295 w 368"/>
                  <a:gd name="T85" fmla="*/ 5 h 339"/>
                  <a:gd name="T86" fmla="*/ 256 w 368"/>
                  <a:gd name="T87" fmla="*/ 20 h 339"/>
                  <a:gd name="T88" fmla="*/ 248 w 368"/>
                  <a:gd name="T89" fmla="*/ 61 h 339"/>
                  <a:gd name="T90" fmla="*/ 219 w 368"/>
                  <a:gd name="T91" fmla="*/ 72 h 339"/>
                  <a:gd name="T92" fmla="*/ 141 w 368"/>
                  <a:gd name="T93" fmla="*/ 37 h 339"/>
                  <a:gd name="T94" fmla="*/ 108 w 368"/>
                  <a:gd name="T95" fmla="*/ 11 h 339"/>
                  <a:gd name="T96" fmla="*/ 75 w 368"/>
                  <a:gd name="T97" fmla="*/ 8 h 3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8" h="339">
                    <a:moveTo>
                      <a:pt x="51" y="0"/>
                    </a:moveTo>
                    <a:cubicBezTo>
                      <a:pt x="51" y="0"/>
                      <a:pt x="51" y="0"/>
                      <a:pt x="51" y="0"/>
                    </a:cubicBezTo>
                    <a:cubicBezTo>
                      <a:pt x="51" y="17"/>
                      <a:pt x="51" y="17"/>
                      <a:pt x="51" y="17"/>
                    </a:cubicBezTo>
                    <a:cubicBezTo>
                      <a:pt x="51" y="20"/>
                      <a:pt x="48" y="22"/>
                      <a:pt x="47" y="23"/>
                    </a:cubicBezTo>
                    <a:cubicBezTo>
                      <a:pt x="46" y="23"/>
                      <a:pt x="44" y="24"/>
                      <a:pt x="42" y="25"/>
                    </a:cubicBezTo>
                    <a:cubicBezTo>
                      <a:pt x="41" y="26"/>
                      <a:pt x="41" y="26"/>
                      <a:pt x="41" y="26"/>
                    </a:cubicBezTo>
                    <a:cubicBezTo>
                      <a:pt x="39" y="26"/>
                      <a:pt x="37" y="27"/>
                      <a:pt x="36" y="27"/>
                    </a:cubicBezTo>
                    <a:cubicBezTo>
                      <a:pt x="36" y="28"/>
                      <a:pt x="36" y="28"/>
                      <a:pt x="36" y="28"/>
                    </a:cubicBezTo>
                    <a:cubicBezTo>
                      <a:pt x="36" y="28"/>
                      <a:pt x="36" y="28"/>
                      <a:pt x="35" y="28"/>
                    </a:cubicBezTo>
                    <a:cubicBezTo>
                      <a:pt x="35" y="28"/>
                      <a:pt x="35" y="29"/>
                      <a:pt x="34" y="29"/>
                    </a:cubicBezTo>
                    <a:cubicBezTo>
                      <a:pt x="34" y="30"/>
                      <a:pt x="33" y="31"/>
                      <a:pt x="31" y="32"/>
                    </a:cubicBezTo>
                    <a:cubicBezTo>
                      <a:pt x="30" y="33"/>
                      <a:pt x="30" y="33"/>
                      <a:pt x="29" y="33"/>
                    </a:cubicBezTo>
                    <a:cubicBezTo>
                      <a:pt x="29" y="33"/>
                      <a:pt x="29" y="33"/>
                      <a:pt x="29" y="33"/>
                    </a:cubicBezTo>
                    <a:cubicBezTo>
                      <a:pt x="28" y="34"/>
                      <a:pt x="28" y="34"/>
                      <a:pt x="28" y="34"/>
                    </a:cubicBezTo>
                    <a:cubicBezTo>
                      <a:pt x="27" y="35"/>
                      <a:pt x="26" y="37"/>
                      <a:pt x="24" y="38"/>
                    </a:cubicBezTo>
                    <a:cubicBezTo>
                      <a:pt x="23" y="39"/>
                      <a:pt x="23" y="39"/>
                      <a:pt x="23" y="39"/>
                    </a:cubicBezTo>
                    <a:cubicBezTo>
                      <a:pt x="22" y="39"/>
                      <a:pt x="22" y="39"/>
                      <a:pt x="22" y="39"/>
                    </a:cubicBezTo>
                    <a:cubicBezTo>
                      <a:pt x="22" y="39"/>
                      <a:pt x="22" y="39"/>
                      <a:pt x="22" y="39"/>
                    </a:cubicBezTo>
                    <a:cubicBezTo>
                      <a:pt x="21" y="41"/>
                      <a:pt x="20" y="45"/>
                      <a:pt x="20" y="47"/>
                    </a:cubicBezTo>
                    <a:cubicBezTo>
                      <a:pt x="20" y="49"/>
                      <a:pt x="21" y="50"/>
                      <a:pt x="21" y="52"/>
                    </a:cubicBezTo>
                    <a:cubicBezTo>
                      <a:pt x="21" y="52"/>
                      <a:pt x="21" y="52"/>
                      <a:pt x="21" y="52"/>
                    </a:cubicBezTo>
                    <a:cubicBezTo>
                      <a:pt x="21" y="53"/>
                      <a:pt x="21" y="54"/>
                      <a:pt x="22" y="55"/>
                    </a:cubicBezTo>
                    <a:cubicBezTo>
                      <a:pt x="22" y="59"/>
                      <a:pt x="21" y="63"/>
                      <a:pt x="19" y="65"/>
                    </a:cubicBezTo>
                    <a:cubicBezTo>
                      <a:pt x="23" y="69"/>
                      <a:pt x="23" y="69"/>
                      <a:pt x="23" y="69"/>
                    </a:cubicBezTo>
                    <a:cubicBezTo>
                      <a:pt x="18" y="67"/>
                      <a:pt x="18" y="67"/>
                      <a:pt x="18" y="67"/>
                    </a:cubicBezTo>
                    <a:cubicBezTo>
                      <a:pt x="18" y="67"/>
                      <a:pt x="18" y="67"/>
                      <a:pt x="18" y="67"/>
                    </a:cubicBezTo>
                    <a:cubicBezTo>
                      <a:pt x="17" y="68"/>
                      <a:pt x="16" y="68"/>
                      <a:pt x="16" y="69"/>
                    </a:cubicBezTo>
                    <a:cubicBezTo>
                      <a:pt x="15" y="70"/>
                      <a:pt x="15" y="70"/>
                      <a:pt x="15" y="70"/>
                    </a:cubicBezTo>
                    <a:cubicBezTo>
                      <a:pt x="15" y="71"/>
                      <a:pt x="14" y="71"/>
                      <a:pt x="14" y="72"/>
                    </a:cubicBezTo>
                    <a:cubicBezTo>
                      <a:pt x="12" y="74"/>
                      <a:pt x="9" y="75"/>
                      <a:pt x="7" y="76"/>
                    </a:cubicBezTo>
                    <a:cubicBezTo>
                      <a:pt x="5" y="77"/>
                      <a:pt x="5" y="77"/>
                      <a:pt x="5" y="77"/>
                    </a:cubicBezTo>
                    <a:cubicBezTo>
                      <a:pt x="4" y="77"/>
                      <a:pt x="3" y="77"/>
                      <a:pt x="3" y="78"/>
                    </a:cubicBezTo>
                    <a:cubicBezTo>
                      <a:pt x="2" y="78"/>
                      <a:pt x="2" y="78"/>
                      <a:pt x="2" y="78"/>
                    </a:cubicBezTo>
                    <a:cubicBezTo>
                      <a:pt x="2" y="78"/>
                      <a:pt x="2" y="78"/>
                      <a:pt x="2" y="78"/>
                    </a:cubicBezTo>
                    <a:cubicBezTo>
                      <a:pt x="1" y="79"/>
                      <a:pt x="1" y="79"/>
                      <a:pt x="1" y="79"/>
                    </a:cubicBezTo>
                    <a:cubicBezTo>
                      <a:pt x="0" y="79"/>
                      <a:pt x="0" y="79"/>
                      <a:pt x="0" y="79"/>
                    </a:cubicBezTo>
                    <a:cubicBezTo>
                      <a:pt x="2" y="82"/>
                      <a:pt x="4" y="86"/>
                      <a:pt x="6" y="88"/>
                    </a:cubicBezTo>
                    <a:cubicBezTo>
                      <a:pt x="7" y="89"/>
                      <a:pt x="7" y="90"/>
                      <a:pt x="8" y="91"/>
                    </a:cubicBezTo>
                    <a:cubicBezTo>
                      <a:pt x="11" y="97"/>
                      <a:pt x="12" y="103"/>
                      <a:pt x="12" y="111"/>
                    </a:cubicBezTo>
                    <a:cubicBezTo>
                      <a:pt x="12" y="113"/>
                      <a:pt x="12" y="114"/>
                      <a:pt x="12" y="115"/>
                    </a:cubicBezTo>
                    <a:cubicBezTo>
                      <a:pt x="12" y="116"/>
                      <a:pt x="12" y="116"/>
                      <a:pt x="12" y="116"/>
                    </a:cubicBezTo>
                    <a:cubicBezTo>
                      <a:pt x="11" y="119"/>
                      <a:pt x="11" y="123"/>
                      <a:pt x="11" y="126"/>
                    </a:cubicBezTo>
                    <a:cubicBezTo>
                      <a:pt x="11" y="127"/>
                      <a:pt x="12" y="128"/>
                      <a:pt x="12" y="130"/>
                    </a:cubicBezTo>
                    <a:cubicBezTo>
                      <a:pt x="13" y="134"/>
                      <a:pt x="13" y="134"/>
                      <a:pt x="13" y="134"/>
                    </a:cubicBezTo>
                    <a:cubicBezTo>
                      <a:pt x="14" y="137"/>
                      <a:pt x="13" y="140"/>
                      <a:pt x="12" y="143"/>
                    </a:cubicBezTo>
                    <a:cubicBezTo>
                      <a:pt x="12" y="143"/>
                      <a:pt x="12" y="144"/>
                      <a:pt x="12" y="144"/>
                    </a:cubicBezTo>
                    <a:cubicBezTo>
                      <a:pt x="11" y="145"/>
                      <a:pt x="11" y="145"/>
                      <a:pt x="11" y="145"/>
                    </a:cubicBezTo>
                    <a:cubicBezTo>
                      <a:pt x="11" y="146"/>
                      <a:pt x="11" y="146"/>
                      <a:pt x="11" y="146"/>
                    </a:cubicBezTo>
                    <a:cubicBezTo>
                      <a:pt x="10" y="148"/>
                      <a:pt x="9" y="149"/>
                      <a:pt x="9" y="150"/>
                    </a:cubicBezTo>
                    <a:cubicBezTo>
                      <a:pt x="9" y="151"/>
                      <a:pt x="10" y="151"/>
                      <a:pt x="10" y="152"/>
                    </a:cubicBezTo>
                    <a:cubicBezTo>
                      <a:pt x="10" y="153"/>
                      <a:pt x="10" y="153"/>
                      <a:pt x="10" y="154"/>
                    </a:cubicBezTo>
                    <a:cubicBezTo>
                      <a:pt x="11" y="155"/>
                      <a:pt x="11" y="155"/>
                      <a:pt x="11" y="156"/>
                    </a:cubicBezTo>
                    <a:cubicBezTo>
                      <a:pt x="11" y="159"/>
                      <a:pt x="11" y="159"/>
                      <a:pt x="11" y="159"/>
                    </a:cubicBezTo>
                    <a:cubicBezTo>
                      <a:pt x="11" y="161"/>
                      <a:pt x="12" y="164"/>
                      <a:pt x="12" y="166"/>
                    </a:cubicBezTo>
                    <a:cubicBezTo>
                      <a:pt x="12" y="167"/>
                      <a:pt x="12" y="167"/>
                      <a:pt x="12" y="167"/>
                    </a:cubicBezTo>
                    <a:cubicBezTo>
                      <a:pt x="12" y="169"/>
                      <a:pt x="12" y="171"/>
                      <a:pt x="9" y="173"/>
                    </a:cubicBezTo>
                    <a:cubicBezTo>
                      <a:pt x="8" y="174"/>
                      <a:pt x="8" y="174"/>
                      <a:pt x="8" y="174"/>
                    </a:cubicBezTo>
                    <a:cubicBezTo>
                      <a:pt x="8" y="174"/>
                      <a:pt x="8" y="174"/>
                      <a:pt x="8" y="174"/>
                    </a:cubicBezTo>
                    <a:cubicBezTo>
                      <a:pt x="7" y="174"/>
                      <a:pt x="7" y="174"/>
                      <a:pt x="7" y="174"/>
                    </a:cubicBezTo>
                    <a:cubicBezTo>
                      <a:pt x="6" y="175"/>
                      <a:pt x="5" y="175"/>
                      <a:pt x="5" y="175"/>
                    </a:cubicBezTo>
                    <a:cubicBezTo>
                      <a:pt x="5" y="175"/>
                      <a:pt x="5" y="176"/>
                      <a:pt x="4" y="177"/>
                    </a:cubicBezTo>
                    <a:cubicBezTo>
                      <a:pt x="2" y="178"/>
                      <a:pt x="2" y="178"/>
                      <a:pt x="2" y="179"/>
                    </a:cubicBezTo>
                    <a:cubicBezTo>
                      <a:pt x="2" y="179"/>
                      <a:pt x="2" y="179"/>
                      <a:pt x="2" y="179"/>
                    </a:cubicBezTo>
                    <a:cubicBezTo>
                      <a:pt x="2" y="179"/>
                      <a:pt x="2" y="179"/>
                      <a:pt x="2" y="179"/>
                    </a:cubicBezTo>
                    <a:cubicBezTo>
                      <a:pt x="2" y="179"/>
                      <a:pt x="2" y="181"/>
                      <a:pt x="7" y="186"/>
                    </a:cubicBezTo>
                    <a:cubicBezTo>
                      <a:pt x="7" y="186"/>
                      <a:pt x="7" y="186"/>
                      <a:pt x="7" y="186"/>
                    </a:cubicBezTo>
                    <a:cubicBezTo>
                      <a:pt x="7" y="187"/>
                      <a:pt x="8" y="187"/>
                      <a:pt x="8" y="188"/>
                    </a:cubicBezTo>
                    <a:cubicBezTo>
                      <a:pt x="9" y="188"/>
                      <a:pt x="9" y="188"/>
                      <a:pt x="9" y="188"/>
                    </a:cubicBezTo>
                    <a:cubicBezTo>
                      <a:pt x="9" y="189"/>
                      <a:pt x="9" y="189"/>
                      <a:pt x="10" y="189"/>
                    </a:cubicBezTo>
                    <a:cubicBezTo>
                      <a:pt x="10" y="190"/>
                      <a:pt x="10" y="190"/>
                      <a:pt x="10" y="190"/>
                    </a:cubicBezTo>
                    <a:cubicBezTo>
                      <a:pt x="11" y="191"/>
                      <a:pt x="12" y="192"/>
                      <a:pt x="13" y="194"/>
                    </a:cubicBezTo>
                    <a:cubicBezTo>
                      <a:pt x="14" y="197"/>
                      <a:pt x="15" y="201"/>
                      <a:pt x="16" y="204"/>
                    </a:cubicBezTo>
                    <a:cubicBezTo>
                      <a:pt x="16" y="205"/>
                      <a:pt x="16" y="205"/>
                      <a:pt x="16" y="205"/>
                    </a:cubicBezTo>
                    <a:cubicBezTo>
                      <a:pt x="16" y="206"/>
                      <a:pt x="16" y="208"/>
                      <a:pt x="17" y="210"/>
                    </a:cubicBezTo>
                    <a:cubicBezTo>
                      <a:pt x="17" y="211"/>
                      <a:pt x="17" y="211"/>
                      <a:pt x="17" y="211"/>
                    </a:cubicBezTo>
                    <a:cubicBezTo>
                      <a:pt x="17" y="211"/>
                      <a:pt x="17" y="211"/>
                      <a:pt x="18" y="211"/>
                    </a:cubicBezTo>
                    <a:cubicBezTo>
                      <a:pt x="19" y="213"/>
                      <a:pt x="20" y="215"/>
                      <a:pt x="21" y="216"/>
                    </a:cubicBezTo>
                    <a:cubicBezTo>
                      <a:pt x="21" y="216"/>
                      <a:pt x="21" y="216"/>
                      <a:pt x="21" y="216"/>
                    </a:cubicBezTo>
                    <a:cubicBezTo>
                      <a:pt x="22" y="217"/>
                      <a:pt x="22" y="217"/>
                      <a:pt x="22" y="217"/>
                    </a:cubicBezTo>
                    <a:cubicBezTo>
                      <a:pt x="22" y="217"/>
                      <a:pt x="23" y="218"/>
                      <a:pt x="23" y="218"/>
                    </a:cubicBezTo>
                    <a:cubicBezTo>
                      <a:pt x="23" y="218"/>
                      <a:pt x="23" y="218"/>
                      <a:pt x="23" y="218"/>
                    </a:cubicBezTo>
                    <a:cubicBezTo>
                      <a:pt x="24" y="218"/>
                      <a:pt x="24" y="218"/>
                      <a:pt x="24" y="218"/>
                    </a:cubicBezTo>
                    <a:cubicBezTo>
                      <a:pt x="26" y="217"/>
                      <a:pt x="27" y="217"/>
                      <a:pt x="29" y="217"/>
                    </a:cubicBezTo>
                    <a:cubicBezTo>
                      <a:pt x="29" y="213"/>
                      <a:pt x="29" y="213"/>
                      <a:pt x="29" y="213"/>
                    </a:cubicBezTo>
                    <a:cubicBezTo>
                      <a:pt x="30" y="217"/>
                      <a:pt x="30" y="217"/>
                      <a:pt x="30" y="217"/>
                    </a:cubicBezTo>
                    <a:cubicBezTo>
                      <a:pt x="30" y="217"/>
                      <a:pt x="30" y="217"/>
                      <a:pt x="30" y="217"/>
                    </a:cubicBezTo>
                    <a:cubicBezTo>
                      <a:pt x="31" y="217"/>
                      <a:pt x="33" y="217"/>
                      <a:pt x="35" y="218"/>
                    </a:cubicBezTo>
                    <a:cubicBezTo>
                      <a:pt x="37" y="219"/>
                      <a:pt x="39" y="219"/>
                      <a:pt x="41" y="220"/>
                    </a:cubicBezTo>
                    <a:cubicBezTo>
                      <a:pt x="46" y="221"/>
                      <a:pt x="46" y="221"/>
                      <a:pt x="46" y="221"/>
                    </a:cubicBezTo>
                    <a:cubicBezTo>
                      <a:pt x="49" y="222"/>
                      <a:pt x="51" y="225"/>
                      <a:pt x="53" y="228"/>
                    </a:cubicBezTo>
                    <a:cubicBezTo>
                      <a:pt x="53" y="228"/>
                      <a:pt x="53" y="228"/>
                      <a:pt x="53" y="228"/>
                    </a:cubicBezTo>
                    <a:cubicBezTo>
                      <a:pt x="53" y="228"/>
                      <a:pt x="54" y="229"/>
                      <a:pt x="54" y="229"/>
                    </a:cubicBezTo>
                    <a:cubicBezTo>
                      <a:pt x="55" y="231"/>
                      <a:pt x="56" y="233"/>
                      <a:pt x="57" y="235"/>
                    </a:cubicBezTo>
                    <a:cubicBezTo>
                      <a:pt x="57" y="235"/>
                      <a:pt x="57" y="235"/>
                      <a:pt x="57" y="235"/>
                    </a:cubicBezTo>
                    <a:cubicBezTo>
                      <a:pt x="58" y="238"/>
                      <a:pt x="59" y="241"/>
                      <a:pt x="61" y="242"/>
                    </a:cubicBezTo>
                    <a:cubicBezTo>
                      <a:pt x="61" y="242"/>
                      <a:pt x="61" y="242"/>
                      <a:pt x="61" y="242"/>
                    </a:cubicBezTo>
                    <a:cubicBezTo>
                      <a:pt x="70" y="242"/>
                      <a:pt x="70" y="242"/>
                      <a:pt x="70" y="242"/>
                    </a:cubicBezTo>
                    <a:cubicBezTo>
                      <a:pt x="67" y="244"/>
                      <a:pt x="67" y="244"/>
                      <a:pt x="67" y="244"/>
                    </a:cubicBezTo>
                    <a:cubicBezTo>
                      <a:pt x="94" y="250"/>
                      <a:pt x="94" y="250"/>
                      <a:pt x="94" y="250"/>
                    </a:cubicBezTo>
                    <a:cubicBezTo>
                      <a:pt x="98" y="251"/>
                      <a:pt x="100" y="253"/>
                      <a:pt x="103" y="255"/>
                    </a:cubicBezTo>
                    <a:cubicBezTo>
                      <a:pt x="107" y="259"/>
                      <a:pt x="107" y="259"/>
                      <a:pt x="107" y="259"/>
                    </a:cubicBezTo>
                    <a:cubicBezTo>
                      <a:pt x="108" y="259"/>
                      <a:pt x="108" y="260"/>
                      <a:pt x="108" y="260"/>
                    </a:cubicBezTo>
                    <a:cubicBezTo>
                      <a:pt x="109" y="261"/>
                      <a:pt x="109" y="261"/>
                      <a:pt x="109" y="261"/>
                    </a:cubicBezTo>
                    <a:cubicBezTo>
                      <a:pt x="110" y="261"/>
                      <a:pt x="111" y="262"/>
                      <a:pt x="112" y="263"/>
                    </a:cubicBezTo>
                    <a:cubicBezTo>
                      <a:pt x="112" y="263"/>
                      <a:pt x="112" y="263"/>
                      <a:pt x="112" y="263"/>
                    </a:cubicBezTo>
                    <a:cubicBezTo>
                      <a:pt x="112" y="263"/>
                      <a:pt x="112" y="264"/>
                      <a:pt x="113" y="264"/>
                    </a:cubicBezTo>
                    <a:cubicBezTo>
                      <a:pt x="113" y="264"/>
                      <a:pt x="114" y="263"/>
                      <a:pt x="114" y="263"/>
                    </a:cubicBezTo>
                    <a:cubicBezTo>
                      <a:pt x="115" y="263"/>
                      <a:pt x="115" y="263"/>
                      <a:pt x="116" y="262"/>
                    </a:cubicBezTo>
                    <a:cubicBezTo>
                      <a:pt x="149" y="245"/>
                      <a:pt x="149" y="245"/>
                      <a:pt x="149" y="245"/>
                    </a:cubicBezTo>
                    <a:cubicBezTo>
                      <a:pt x="150" y="245"/>
                      <a:pt x="150" y="245"/>
                      <a:pt x="150" y="245"/>
                    </a:cubicBezTo>
                    <a:cubicBezTo>
                      <a:pt x="152" y="245"/>
                      <a:pt x="153" y="244"/>
                      <a:pt x="154" y="244"/>
                    </a:cubicBezTo>
                    <a:cubicBezTo>
                      <a:pt x="154" y="244"/>
                      <a:pt x="155" y="244"/>
                      <a:pt x="155" y="244"/>
                    </a:cubicBezTo>
                    <a:cubicBezTo>
                      <a:pt x="157" y="245"/>
                      <a:pt x="158" y="245"/>
                      <a:pt x="159" y="246"/>
                    </a:cubicBezTo>
                    <a:cubicBezTo>
                      <a:pt x="167" y="250"/>
                      <a:pt x="167" y="250"/>
                      <a:pt x="167" y="250"/>
                    </a:cubicBezTo>
                    <a:cubicBezTo>
                      <a:pt x="174" y="253"/>
                      <a:pt x="182" y="257"/>
                      <a:pt x="190" y="261"/>
                    </a:cubicBezTo>
                    <a:cubicBezTo>
                      <a:pt x="200" y="266"/>
                      <a:pt x="200" y="266"/>
                      <a:pt x="200" y="266"/>
                    </a:cubicBezTo>
                    <a:cubicBezTo>
                      <a:pt x="222" y="277"/>
                      <a:pt x="244" y="289"/>
                      <a:pt x="263" y="299"/>
                    </a:cubicBezTo>
                    <a:cubicBezTo>
                      <a:pt x="339" y="339"/>
                      <a:pt x="339" y="339"/>
                      <a:pt x="339" y="339"/>
                    </a:cubicBezTo>
                    <a:cubicBezTo>
                      <a:pt x="339" y="337"/>
                      <a:pt x="339" y="337"/>
                      <a:pt x="339" y="337"/>
                    </a:cubicBezTo>
                    <a:cubicBezTo>
                      <a:pt x="339" y="334"/>
                      <a:pt x="339" y="334"/>
                      <a:pt x="339" y="334"/>
                    </a:cubicBezTo>
                    <a:cubicBezTo>
                      <a:pt x="339" y="334"/>
                      <a:pt x="339" y="334"/>
                      <a:pt x="339" y="333"/>
                    </a:cubicBezTo>
                    <a:cubicBezTo>
                      <a:pt x="339" y="333"/>
                      <a:pt x="339" y="333"/>
                      <a:pt x="339" y="333"/>
                    </a:cubicBezTo>
                    <a:cubicBezTo>
                      <a:pt x="340" y="332"/>
                      <a:pt x="340" y="332"/>
                      <a:pt x="340" y="332"/>
                    </a:cubicBezTo>
                    <a:cubicBezTo>
                      <a:pt x="340" y="332"/>
                      <a:pt x="340" y="332"/>
                      <a:pt x="340" y="332"/>
                    </a:cubicBezTo>
                    <a:cubicBezTo>
                      <a:pt x="340" y="331"/>
                      <a:pt x="340" y="331"/>
                      <a:pt x="340" y="331"/>
                    </a:cubicBezTo>
                    <a:cubicBezTo>
                      <a:pt x="340" y="331"/>
                      <a:pt x="340" y="331"/>
                      <a:pt x="340" y="331"/>
                    </a:cubicBezTo>
                    <a:cubicBezTo>
                      <a:pt x="341" y="331"/>
                      <a:pt x="341" y="330"/>
                      <a:pt x="341" y="330"/>
                    </a:cubicBezTo>
                    <a:cubicBezTo>
                      <a:pt x="342" y="330"/>
                      <a:pt x="342" y="330"/>
                      <a:pt x="342" y="330"/>
                    </a:cubicBezTo>
                    <a:cubicBezTo>
                      <a:pt x="343" y="330"/>
                      <a:pt x="344" y="329"/>
                      <a:pt x="345" y="329"/>
                    </a:cubicBezTo>
                    <a:cubicBezTo>
                      <a:pt x="347" y="329"/>
                      <a:pt x="349" y="329"/>
                      <a:pt x="350" y="329"/>
                    </a:cubicBezTo>
                    <a:cubicBezTo>
                      <a:pt x="350" y="329"/>
                      <a:pt x="351" y="329"/>
                      <a:pt x="351" y="329"/>
                    </a:cubicBezTo>
                    <a:cubicBezTo>
                      <a:pt x="353" y="329"/>
                      <a:pt x="354" y="329"/>
                      <a:pt x="356" y="329"/>
                    </a:cubicBezTo>
                    <a:cubicBezTo>
                      <a:pt x="358" y="329"/>
                      <a:pt x="359" y="329"/>
                      <a:pt x="360" y="329"/>
                    </a:cubicBezTo>
                    <a:cubicBezTo>
                      <a:pt x="361" y="329"/>
                      <a:pt x="361" y="329"/>
                      <a:pt x="361" y="329"/>
                    </a:cubicBezTo>
                    <a:cubicBezTo>
                      <a:pt x="361" y="329"/>
                      <a:pt x="362" y="329"/>
                      <a:pt x="363" y="329"/>
                    </a:cubicBezTo>
                    <a:cubicBezTo>
                      <a:pt x="363" y="295"/>
                      <a:pt x="363" y="295"/>
                      <a:pt x="363" y="295"/>
                    </a:cubicBezTo>
                    <a:cubicBezTo>
                      <a:pt x="363" y="292"/>
                      <a:pt x="362" y="287"/>
                      <a:pt x="363" y="284"/>
                    </a:cubicBezTo>
                    <a:cubicBezTo>
                      <a:pt x="363" y="283"/>
                      <a:pt x="363" y="283"/>
                      <a:pt x="363" y="283"/>
                    </a:cubicBezTo>
                    <a:cubicBezTo>
                      <a:pt x="360" y="280"/>
                      <a:pt x="360" y="280"/>
                      <a:pt x="360" y="280"/>
                    </a:cubicBezTo>
                    <a:cubicBezTo>
                      <a:pt x="363" y="280"/>
                      <a:pt x="363" y="280"/>
                      <a:pt x="363" y="280"/>
                    </a:cubicBezTo>
                    <a:cubicBezTo>
                      <a:pt x="363" y="140"/>
                      <a:pt x="363" y="140"/>
                      <a:pt x="363" y="140"/>
                    </a:cubicBezTo>
                    <a:cubicBezTo>
                      <a:pt x="362" y="131"/>
                      <a:pt x="362" y="123"/>
                      <a:pt x="362" y="115"/>
                    </a:cubicBezTo>
                    <a:cubicBezTo>
                      <a:pt x="362" y="111"/>
                      <a:pt x="362" y="108"/>
                      <a:pt x="362" y="104"/>
                    </a:cubicBezTo>
                    <a:cubicBezTo>
                      <a:pt x="361" y="98"/>
                      <a:pt x="360" y="93"/>
                      <a:pt x="359" y="88"/>
                    </a:cubicBezTo>
                    <a:cubicBezTo>
                      <a:pt x="359" y="87"/>
                      <a:pt x="358" y="87"/>
                      <a:pt x="358" y="86"/>
                    </a:cubicBezTo>
                    <a:cubicBezTo>
                      <a:pt x="358" y="85"/>
                      <a:pt x="358" y="85"/>
                      <a:pt x="358" y="85"/>
                    </a:cubicBezTo>
                    <a:cubicBezTo>
                      <a:pt x="358" y="83"/>
                      <a:pt x="357" y="82"/>
                      <a:pt x="357" y="81"/>
                    </a:cubicBezTo>
                    <a:cubicBezTo>
                      <a:pt x="356" y="80"/>
                      <a:pt x="356" y="79"/>
                      <a:pt x="356" y="78"/>
                    </a:cubicBezTo>
                    <a:cubicBezTo>
                      <a:pt x="356" y="75"/>
                      <a:pt x="358" y="72"/>
                      <a:pt x="359" y="70"/>
                    </a:cubicBezTo>
                    <a:cubicBezTo>
                      <a:pt x="360" y="69"/>
                      <a:pt x="361" y="68"/>
                      <a:pt x="361" y="67"/>
                    </a:cubicBezTo>
                    <a:cubicBezTo>
                      <a:pt x="361" y="67"/>
                      <a:pt x="361" y="67"/>
                      <a:pt x="361" y="67"/>
                    </a:cubicBezTo>
                    <a:cubicBezTo>
                      <a:pt x="362" y="65"/>
                      <a:pt x="362" y="63"/>
                      <a:pt x="362" y="61"/>
                    </a:cubicBezTo>
                    <a:cubicBezTo>
                      <a:pt x="361" y="60"/>
                      <a:pt x="361" y="58"/>
                      <a:pt x="361" y="57"/>
                    </a:cubicBezTo>
                    <a:cubicBezTo>
                      <a:pt x="360" y="56"/>
                      <a:pt x="360" y="54"/>
                      <a:pt x="360" y="52"/>
                    </a:cubicBezTo>
                    <a:cubicBezTo>
                      <a:pt x="359" y="50"/>
                      <a:pt x="359" y="48"/>
                      <a:pt x="360" y="47"/>
                    </a:cubicBezTo>
                    <a:cubicBezTo>
                      <a:pt x="360" y="46"/>
                      <a:pt x="360" y="45"/>
                      <a:pt x="361" y="44"/>
                    </a:cubicBezTo>
                    <a:cubicBezTo>
                      <a:pt x="361" y="42"/>
                      <a:pt x="363" y="40"/>
                      <a:pt x="365" y="38"/>
                    </a:cubicBezTo>
                    <a:cubicBezTo>
                      <a:pt x="366" y="37"/>
                      <a:pt x="366" y="37"/>
                      <a:pt x="366" y="37"/>
                    </a:cubicBezTo>
                    <a:cubicBezTo>
                      <a:pt x="367" y="37"/>
                      <a:pt x="367" y="36"/>
                      <a:pt x="368" y="36"/>
                    </a:cubicBezTo>
                    <a:cubicBezTo>
                      <a:pt x="368" y="36"/>
                      <a:pt x="368" y="36"/>
                      <a:pt x="368" y="36"/>
                    </a:cubicBezTo>
                    <a:cubicBezTo>
                      <a:pt x="367" y="34"/>
                      <a:pt x="366" y="31"/>
                      <a:pt x="364" y="30"/>
                    </a:cubicBezTo>
                    <a:cubicBezTo>
                      <a:pt x="364" y="29"/>
                      <a:pt x="361" y="29"/>
                      <a:pt x="361" y="29"/>
                    </a:cubicBezTo>
                    <a:cubicBezTo>
                      <a:pt x="360" y="29"/>
                      <a:pt x="359" y="29"/>
                      <a:pt x="359" y="29"/>
                    </a:cubicBezTo>
                    <a:cubicBezTo>
                      <a:pt x="358" y="29"/>
                      <a:pt x="357" y="29"/>
                      <a:pt x="356" y="29"/>
                    </a:cubicBezTo>
                    <a:cubicBezTo>
                      <a:pt x="355" y="29"/>
                      <a:pt x="355" y="29"/>
                      <a:pt x="354" y="29"/>
                    </a:cubicBezTo>
                    <a:cubicBezTo>
                      <a:pt x="350" y="29"/>
                      <a:pt x="347" y="28"/>
                      <a:pt x="343" y="27"/>
                    </a:cubicBezTo>
                    <a:cubicBezTo>
                      <a:pt x="337" y="25"/>
                      <a:pt x="331" y="24"/>
                      <a:pt x="324" y="24"/>
                    </a:cubicBezTo>
                    <a:cubicBezTo>
                      <a:pt x="323" y="23"/>
                      <a:pt x="321" y="21"/>
                      <a:pt x="320" y="20"/>
                    </a:cubicBezTo>
                    <a:cubicBezTo>
                      <a:pt x="320" y="18"/>
                      <a:pt x="322" y="15"/>
                      <a:pt x="321" y="13"/>
                    </a:cubicBezTo>
                    <a:cubicBezTo>
                      <a:pt x="320" y="12"/>
                      <a:pt x="316" y="11"/>
                      <a:pt x="314" y="10"/>
                    </a:cubicBezTo>
                    <a:cubicBezTo>
                      <a:pt x="311" y="9"/>
                      <a:pt x="307" y="9"/>
                      <a:pt x="304" y="8"/>
                    </a:cubicBezTo>
                    <a:cubicBezTo>
                      <a:pt x="301" y="7"/>
                      <a:pt x="298" y="5"/>
                      <a:pt x="295" y="5"/>
                    </a:cubicBezTo>
                    <a:cubicBezTo>
                      <a:pt x="295" y="5"/>
                      <a:pt x="294" y="5"/>
                      <a:pt x="294" y="5"/>
                    </a:cubicBezTo>
                    <a:cubicBezTo>
                      <a:pt x="290" y="6"/>
                      <a:pt x="286" y="7"/>
                      <a:pt x="282" y="8"/>
                    </a:cubicBezTo>
                    <a:cubicBezTo>
                      <a:pt x="275" y="10"/>
                      <a:pt x="269" y="12"/>
                      <a:pt x="262" y="14"/>
                    </a:cubicBezTo>
                    <a:cubicBezTo>
                      <a:pt x="260" y="15"/>
                      <a:pt x="258" y="18"/>
                      <a:pt x="256" y="20"/>
                    </a:cubicBezTo>
                    <a:cubicBezTo>
                      <a:pt x="254" y="23"/>
                      <a:pt x="251" y="25"/>
                      <a:pt x="249" y="28"/>
                    </a:cubicBezTo>
                    <a:cubicBezTo>
                      <a:pt x="245" y="32"/>
                      <a:pt x="245" y="39"/>
                      <a:pt x="248" y="44"/>
                    </a:cubicBezTo>
                    <a:cubicBezTo>
                      <a:pt x="249" y="45"/>
                      <a:pt x="249" y="46"/>
                      <a:pt x="250" y="47"/>
                    </a:cubicBezTo>
                    <a:cubicBezTo>
                      <a:pt x="252" y="51"/>
                      <a:pt x="250" y="57"/>
                      <a:pt x="248" y="61"/>
                    </a:cubicBezTo>
                    <a:cubicBezTo>
                      <a:pt x="244" y="66"/>
                      <a:pt x="239" y="71"/>
                      <a:pt x="233" y="73"/>
                    </a:cubicBezTo>
                    <a:cubicBezTo>
                      <a:pt x="231" y="74"/>
                      <a:pt x="229" y="74"/>
                      <a:pt x="227" y="74"/>
                    </a:cubicBezTo>
                    <a:cubicBezTo>
                      <a:pt x="226" y="74"/>
                      <a:pt x="225" y="74"/>
                      <a:pt x="225" y="74"/>
                    </a:cubicBezTo>
                    <a:cubicBezTo>
                      <a:pt x="223" y="74"/>
                      <a:pt x="221" y="73"/>
                      <a:pt x="219" y="72"/>
                    </a:cubicBezTo>
                    <a:cubicBezTo>
                      <a:pt x="213" y="67"/>
                      <a:pt x="206" y="63"/>
                      <a:pt x="200" y="59"/>
                    </a:cubicBezTo>
                    <a:cubicBezTo>
                      <a:pt x="193" y="54"/>
                      <a:pt x="181" y="51"/>
                      <a:pt x="172" y="50"/>
                    </a:cubicBezTo>
                    <a:cubicBezTo>
                      <a:pt x="166" y="49"/>
                      <a:pt x="159" y="50"/>
                      <a:pt x="154" y="47"/>
                    </a:cubicBezTo>
                    <a:cubicBezTo>
                      <a:pt x="148" y="44"/>
                      <a:pt x="144" y="43"/>
                      <a:pt x="141" y="37"/>
                    </a:cubicBezTo>
                    <a:cubicBezTo>
                      <a:pt x="140" y="35"/>
                      <a:pt x="139" y="33"/>
                      <a:pt x="139" y="31"/>
                    </a:cubicBezTo>
                    <a:cubicBezTo>
                      <a:pt x="138" y="27"/>
                      <a:pt x="137" y="21"/>
                      <a:pt x="133" y="19"/>
                    </a:cubicBezTo>
                    <a:cubicBezTo>
                      <a:pt x="132" y="18"/>
                      <a:pt x="130" y="18"/>
                      <a:pt x="128" y="18"/>
                    </a:cubicBezTo>
                    <a:cubicBezTo>
                      <a:pt x="121" y="17"/>
                      <a:pt x="115" y="14"/>
                      <a:pt x="108" y="11"/>
                    </a:cubicBezTo>
                    <a:cubicBezTo>
                      <a:pt x="102" y="7"/>
                      <a:pt x="93" y="8"/>
                      <a:pt x="86" y="7"/>
                    </a:cubicBezTo>
                    <a:cubicBezTo>
                      <a:pt x="86" y="7"/>
                      <a:pt x="85" y="7"/>
                      <a:pt x="85" y="7"/>
                    </a:cubicBezTo>
                    <a:cubicBezTo>
                      <a:pt x="83" y="7"/>
                      <a:pt x="81" y="7"/>
                      <a:pt x="80" y="8"/>
                    </a:cubicBezTo>
                    <a:cubicBezTo>
                      <a:pt x="78" y="8"/>
                      <a:pt x="77" y="8"/>
                      <a:pt x="75" y="8"/>
                    </a:cubicBezTo>
                    <a:cubicBezTo>
                      <a:pt x="73" y="8"/>
                      <a:pt x="72" y="8"/>
                      <a:pt x="70" y="7"/>
                    </a:cubicBezTo>
                    <a:cubicBezTo>
                      <a:pt x="64" y="5"/>
                      <a:pt x="58" y="2"/>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188"/>
              <p:cNvSpPr/>
              <p:nvPr/>
            </p:nvSpPr>
            <p:spPr bwMode="auto">
              <a:xfrm>
                <a:off x="4084" y="578"/>
                <a:ext cx="213" cy="433"/>
              </a:xfrm>
              <a:custGeom>
                <a:gdLst>
                  <a:gd name="T0" fmla="*/ 47 w 90"/>
                  <a:gd name="T1" fmla="*/ 0 h 183"/>
                  <a:gd name="T2" fmla="*/ 30 w 90"/>
                  <a:gd name="T3" fmla="*/ 8 h 183"/>
                  <a:gd name="T4" fmla="*/ 28 w 90"/>
                  <a:gd name="T5" fmla="*/ 9 h 183"/>
                  <a:gd name="T6" fmla="*/ 18 w 90"/>
                  <a:gd name="T7" fmla="*/ 22 h 183"/>
                  <a:gd name="T8" fmla="*/ 19 w 90"/>
                  <a:gd name="T9" fmla="*/ 35 h 183"/>
                  <a:gd name="T10" fmla="*/ 21 w 90"/>
                  <a:gd name="T11" fmla="*/ 47 h 183"/>
                  <a:gd name="T12" fmla="*/ 22 w 90"/>
                  <a:gd name="T13" fmla="*/ 51 h 183"/>
                  <a:gd name="T14" fmla="*/ 23 w 90"/>
                  <a:gd name="T15" fmla="*/ 57 h 183"/>
                  <a:gd name="T16" fmla="*/ 8 w 90"/>
                  <a:gd name="T17" fmla="*/ 81 h 183"/>
                  <a:gd name="T18" fmla="*/ 1 w 90"/>
                  <a:gd name="T19" fmla="*/ 87 h 183"/>
                  <a:gd name="T20" fmla="*/ 5 w 90"/>
                  <a:gd name="T21" fmla="*/ 102 h 183"/>
                  <a:gd name="T22" fmla="*/ 16 w 90"/>
                  <a:gd name="T23" fmla="*/ 114 h 183"/>
                  <a:gd name="T24" fmla="*/ 18 w 90"/>
                  <a:gd name="T25" fmla="*/ 117 h 183"/>
                  <a:gd name="T26" fmla="*/ 20 w 90"/>
                  <a:gd name="T27" fmla="*/ 122 h 183"/>
                  <a:gd name="T28" fmla="*/ 20 w 90"/>
                  <a:gd name="T29" fmla="*/ 125 h 183"/>
                  <a:gd name="T30" fmla="*/ 23 w 90"/>
                  <a:gd name="T31" fmla="*/ 127 h 183"/>
                  <a:gd name="T32" fmla="*/ 32 w 90"/>
                  <a:gd name="T33" fmla="*/ 135 h 183"/>
                  <a:gd name="T34" fmla="*/ 38 w 90"/>
                  <a:gd name="T35" fmla="*/ 142 h 183"/>
                  <a:gd name="T36" fmla="*/ 52 w 90"/>
                  <a:gd name="T37" fmla="*/ 174 h 183"/>
                  <a:gd name="T38" fmla="*/ 53 w 90"/>
                  <a:gd name="T39" fmla="*/ 180 h 183"/>
                  <a:gd name="T40" fmla="*/ 55 w 90"/>
                  <a:gd name="T41" fmla="*/ 178 h 183"/>
                  <a:gd name="T42" fmla="*/ 57 w 90"/>
                  <a:gd name="T43" fmla="*/ 175 h 183"/>
                  <a:gd name="T44" fmla="*/ 59 w 90"/>
                  <a:gd name="T45" fmla="*/ 166 h 183"/>
                  <a:gd name="T46" fmla="*/ 58 w 90"/>
                  <a:gd name="T47" fmla="*/ 159 h 183"/>
                  <a:gd name="T48" fmla="*/ 65 w 90"/>
                  <a:gd name="T49" fmla="*/ 145 h 183"/>
                  <a:gd name="T50" fmla="*/ 67 w 90"/>
                  <a:gd name="T51" fmla="*/ 143 h 183"/>
                  <a:gd name="T52" fmla="*/ 72 w 90"/>
                  <a:gd name="T53" fmla="*/ 139 h 183"/>
                  <a:gd name="T54" fmla="*/ 74 w 90"/>
                  <a:gd name="T55" fmla="*/ 137 h 183"/>
                  <a:gd name="T56" fmla="*/ 75 w 90"/>
                  <a:gd name="T57" fmla="*/ 136 h 183"/>
                  <a:gd name="T58" fmla="*/ 77 w 90"/>
                  <a:gd name="T59" fmla="*/ 134 h 183"/>
                  <a:gd name="T60" fmla="*/ 84 w 90"/>
                  <a:gd name="T61" fmla="*/ 132 h 183"/>
                  <a:gd name="T62" fmla="*/ 89 w 90"/>
                  <a:gd name="T63" fmla="*/ 129 h 183"/>
                  <a:gd name="T64" fmla="*/ 89 w 90"/>
                  <a:gd name="T65" fmla="*/ 112 h 183"/>
                  <a:gd name="T66" fmla="*/ 89 w 90"/>
                  <a:gd name="T67" fmla="*/ 110 h 183"/>
                  <a:gd name="T68" fmla="*/ 84 w 90"/>
                  <a:gd name="T69" fmla="*/ 107 h 183"/>
                  <a:gd name="T70" fmla="*/ 79 w 90"/>
                  <a:gd name="T71" fmla="*/ 98 h 183"/>
                  <a:gd name="T72" fmla="*/ 74 w 90"/>
                  <a:gd name="T73" fmla="*/ 102 h 183"/>
                  <a:gd name="T74" fmla="*/ 73 w 90"/>
                  <a:gd name="T75" fmla="*/ 96 h 183"/>
                  <a:gd name="T76" fmla="*/ 68 w 90"/>
                  <a:gd name="T77" fmla="*/ 97 h 183"/>
                  <a:gd name="T78" fmla="*/ 57 w 90"/>
                  <a:gd name="T79" fmla="*/ 84 h 183"/>
                  <a:gd name="T80" fmla="*/ 80 w 90"/>
                  <a:gd name="T81" fmla="*/ 60 h 183"/>
                  <a:gd name="T82" fmla="*/ 80 w 90"/>
                  <a:gd name="T83" fmla="*/ 47 h 183"/>
                  <a:gd name="T84" fmla="*/ 69 w 90"/>
                  <a:gd name="T85" fmla="*/ 26 h 183"/>
                  <a:gd name="T86" fmla="*/ 81 w 90"/>
                  <a:gd name="T87" fmla="*/ 14 h 183"/>
                  <a:gd name="T88" fmla="*/ 78 w 90"/>
                  <a:gd name="T89" fmla="*/ 7 h 183"/>
                  <a:gd name="T90" fmla="*/ 70 w 90"/>
                  <a:gd name="T91" fmla="*/ 13 h 183"/>
                  <a:gd name="T92" fmla="*/ 66 w 90"/>
                  <a:gd name="T93" fmla="*/ 16 h 183"/>
                  <a:gd name="T94" fmla="*/ 62 w 90"/>
                  <a:gd name="T95" fmla="*/ 7 h 183"/>
                  <a:gd name="T96" fmla="*/ 56 w 90"/>
                  <a:gd name="T97" fmla="*/ 1 h 183"/>
                  <a:gd name="T98" fmla="*/ 49 w 90"/>
                  <a:gd name="T99" fmla="*/ 0 h 1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 h="183">
                    <a:moveTo>
                      <a:pt x="49" y="0"/>
                    </a:moveTo>
                    <a:cubicBezTo>
                      <a:pt x="48" y="0"/>
                      <a:pt x="48" y="0"/>
                      <a:pt x="47" y="0"/>
                    </a:cubicBezTo>
                    <a:cubicBezTo>
                      <a:pt x="43" y="1"/>
                      <a:pt x="39" y="3"/>
                      <a:pt x="35" y="4"/>
                    </a:cubicBezTo>
                    <a:cubicBezTo>
                      <a:pt x="33" y="5"/>
                      <a:pt x="32" y="7"/>
                      <a:pt x="30" y="8"/>
                    </a:cubicBezTo>
                    <a:cubicBezTo>
                      <a:pt x="29" y="8"/>
                      <a:pt x="28" y="9"/>
                      <a:pt x="27" y="9"/>
                    </a:cubicBezTo>
                    <a:cubicBezTo>
                      <a:pt x="28" y="9"/>
                      <a:pt x="28" y="9"/>
                      <a:pt x="28" y="9"/>
                    </a:cubicBezTo>
                    <a:cubicBezTo>
                      <a:pt x="26" y="12"/>
                      <a:pt x="26" y="12"/>
                      <a:pt x="26" y="12"/>
                    </a:cubicBezTo>
                    <a:cubicBezTo>
                      <a:pt x="18" y="22"/>
                      <a:pt x="18" y="22"/>
                      <a:pt x="18" y="22"/>
                    </a:cubicBezTo>
                    <a:cubicBezTo>
                      <a:pt x="20" y="23"/>
                      <a:pt x="21" y="25"/>
                      <a:pt x="20" y="30"/>
                    </a:cubicBezTo>
                    <a:cubicBezTo>
                      <a:pt x="19" y="35"/>
                      <a:pt x="19" y="35"/>
                      <a:pt x="19" y="35"/>
                    </a:cubicBezTo>
                    <a:cubicBezTo>
                      <a:pt x="19" y="38"/>
                      <a:pt x="19" y="41"/>
                      <a:pt x="20" y="44"/>
                    </a:cubicBezTo>
                    <a:cubicBezTo>
                      <a:pt x="20" y="45"/>
                      <a:pt x="21" y="46"/>
                      <a:pt x="21" y="47"/>
                    </a:cubicBezTo>
                    <a:cubicBezTo>
                      <a:pt x="21" y="50"/>
                      <a:pt x="21" y="50"/>
                      <a:pt x="21" y="50"/>
                    </a:cubicBezTo>
                    <a:cubicBezTo>
                      <a:pt x="22" y="50"/>
                      <a:pt x="22" y="51"/>
                      <a:pt x="22" y="51"/>
                    </a:cubicBezTo>
                    <a:cubicBezTo>
                      <a:pt x="22" y="52"/>
                      <a:pt x="22" y="52"/>
                      <a:pt x="22" y="52"/>
                    </a:cubicBezTo>
                    <a:cubicBezTo>
                      <a:pt x="22" y="54"/>
                      <a:pt x="23" y="55"/>
                      <a:pt x="23" y="57"/>
                    </a:cubicBezTo>
                    <a:cubicBezTo>
                      <a:pt x="21" y="62"/>
                      <a:pt x="20" y="67"/>
                      <a:pt x="18" y="71"/>
                    </a:cubicBezTo>
                    <a:cubicBezTo>
                      <a:pt x="15" y="75"/>
                      <a:pt x="12" y="78"/>
                      <a:pt x="8" y="81"/>
                    </a:cubicBezTo>
                    <a:cubicBezTo>
                      <a:pt x="6" y="83"/>
                      <a:pt x="4" y="84"/>
                      <a:pt x="3" y="86"/>
                    </a:cubicBezTo>
                    <a:cubicBezTo>
                      <a:pt x="1" y="87"/>
                      <a:pt x="1" y="87"/>
                      <a:pt x="1" y="87"/>
                    </a:cubicBezTo>
                    <a:cubicBezTo>
                      <a:pt x="0" y="88"/>
                      <a:pt x="0" y="89"/>
                      <a:pt x="1" y="91"/>
                    </a:cubicBezTo>
                    <a:cubicBezTo>
                      <a:pt x="1" y="94"/>
                      <a:pt x="3" y="98"/>
                      <a:pt x="5" y="102"/>
                    </a:cubicBezTo>
                    <a:cubicBezTo>
                      <a:pt x="6" y="104"/>
                      <a:pt x="9" y="106"/>
                      <a:pt x="11" y="108"/>
                    </a:cubicBezTo>
                    <a:cubicBezTo>
                      <a:pt x="13" y="110"/>
                      <a:pt x="15" y="112"/>
                      <a:pt x="16" y="114"/>
                    </a:cubicBezTo>
                    <a:cubicBezTo>
                      <a:pt x="17" y="114"/>
                      <a:pt x="17" y="115"/>
                      <a:pt x="18" y="115"/>
                    </a:cubicBezTo>
                    <a:cubicBezTo>
                      <a:pt x="18" y="116"/>
                      <a:pt x="18" y="116"/>
                      <a:pt x="18" y="117"/>
                    </a:cubicBezTo>
                    <a:cubicBezTo>
                      <a:pt x="18" y="117"/>
                      <a:pt x="18" y="117"/>
                      <a:pt x="18" y="117"/>
                    </a:cubicBezTo>
                    <a:cubicBezTo>
                      <a:pt x="19" y="119"/>
                      <a:pt x="20" y="120"/>
                      <a:pt x="20" y="122"/>
                    </a:cubicBezTo>
                    <a:cubicBezTo>
                      <a:pt x="20" y="123"/>
                      <a:pt x="20" y="123"/>
                      <a:pt x="20" y="123"/>
                    </a:cubicBezTo>
                    <a:cubicBezTo>
                      <a:pt x="20" y="124"/>
                      <a:pt x="20" y="125"/>
                      <a:pt x="20" y="125"/>
                    </a:cubicBezTo>
                    <a:cubicBezTo>
                      <a:pt x="21" y="126"/>
                      <a:pt x="21" y="126"/>
                      <a:pt x="21" y="126"/>
                    </a:cubicBezTo>
                    <a:cubicBezTo>
                      <a:pt x="22" y="127"/>
                      <a:pt x="22" y="127"/>
                      <a:pt x="23" y="127"/>
                    </a:cubicBezTo>
                    <a:cubicBezTo>
                      <a:pt x="30" y="133"/>
                      <a:pt x="30" y="133"/>
                      <a:pt x="30" y="133"/>
                    </a:cubicBezTo>
                    <a:cubicBezTo>
                      <a:pt x="30" y="134"/>
                      <a:pt x="31" y="134"/>
                      <a:pt x="32" y="135"/>
                    </a:cubicBezTo>
                    <a:cubicBezTo>
                      <a:pt x="33" y="135"/>
                      <a:pt x="34" y="136"/>
                      <a:pt x="35" y="137"/>
                    </a:cubicBezTo>
                    <a:cubicBezTo>
                      <a:pt x="37" y="139"/>
                      <a:pt x="38" y="141"/>
                      <a:pt x="38" y="142"/>
                    </a:cubicBezTo>
                    <a:cubicBezTo>
                      <a:pt x="47" y="180"/>
                      <a:pt x="47" y="180"/>
                      <a:pt x="47" y="180"/>
                    </a:cubicBezTo>
                    <a:cubicBezTo>
                      <a:pt x="52" y="174"/>
                      <a:pt x="52" y="174"/>
                      <a:pt x="52" y="174"/>
                    </a:cubicBezTo>
                    <a:cubicBezTo>
                      <a:pt x="49" y="183"/>
                      <a:pt x="49" y="183"/>
                      <a:pt x="49" y="183"/>
                    </a:cubicBezTo>
                    <a:cubicBezTo>
                      <a:pt x="51" y="182"/>
                      <a:pt x="52" y="181"/>
                      <a:pt x="53" y="180"/>
                    </a:cubicBezTo>
                    <a:cubicBezTo>
                      <a:pt x="54" y="179"/>
                      <a:pt x="54" y="179"/>
                      <a:pt x="55" y="178"/>
                    </a:cubicBezTo>
                    <a:cubicBezTo>
                      <a:pt x="55" y="178"/>
                      <a:pt x="55" y="178"/>
                      <a:pt x="55" y="178"/>
                    </a:cubicBezTo>
                    <a:cubicBezTo>
                      <a:pt x="56" y="177"/>
                      <a:pt x="56" y="176"/>
                      <a:pt x="57" y="175"/>
                    </a:cubicBezTo>
                    <a:cubicBezTo>
                      <a:pt x="57" y="175"/>
                      <a:pt x="57" y="175"/>
                      <a:pt x="57" y="175"/>
                    </a:cubicBezTo>
                    <a:cubicBezTo>
                      <a:pt x="59" y="172"/>
                      <a:pt x="60" y="170"/>
                      <a:pt x="60" y="168"/>
                    </a:cubicBezTo>
                    <a:cubicBezTo>
                      <a:pt x="60" y="167"/>
                      <a:pt x="60" y="166"/>
                      <a:pt x="59" y="166"/>
                    </a:cubicBezTo>
                    <a:cubicBezTo>
                      <a:pt x="59" y="165"/>
                      <a:pt x="59" y="165"/>
                      <a:pt x="59" y="165"/>
                    </a:cubicBezTo>
                    <a:cubicBezTo>
                      <a:pt x="59" y="163"/>
                      <a:pt x="58" y="161"/>
                      <a:pt x="58" y="159"/>
                    </a:cubicBezTo>
                    <a:cubicBezTo>
                      <a:pt x="58" y="159"/>
                      <a:pt x="59" y="150"/>
                      <a:pt x="62" y="146"/>
                    </a:cubicBezTo>
                    <a:cubicBezTo>
                      <a:pt x="63" y="146"/>
                      <a:pt x="63" y="145"/>
                      <a:pt x="65" y="145"/>
                    </a:cubicBezTo>
                    <a:cubicBezTo>
                      <a:pt x="65" y="145"/>
                      <a:pt x="65" y="145"/>
                      <a:pt x="65" y="145"/>
                    </a:cubicBezTo>
                    <a:cubicBezTo>
                      <a:pt x="66" y="145"/>
                      <a:pt x="67" y="144"/>
                      <a:pt x="67" y="143"/>
                    </a:cubicBezTo>
                    <a:cubicBezTo>
                      <a:pt x="68" y="141"/>
                      <a:pt x="69" y="140"/>
                      <a:pt x="70" y="139"/>
                    </a:cubicBezTo>
                    <a:cubicBezTo>
                      <a:pt x="71" y="139"/>
                      <a:pt x="71" y="139"/>
                      <a:pt x="72" y="139"/>
                    </a:cubicBezTo>
                    <a:cubicBezTo>
                      <a:pt x="72" y="139"/>
                      <a:pt x="72" y="139"/>
                      <a:pt x="73" y="139"/>
                    </a:cubicBezTo>
                    <a:cubicBezTo>
                      <a:pt x="73" y="138"/>
                      <a:pt x="73" y="138"/>
                      <a:pt x="74" y="137"/>
                    </a:cubicBezTo>
                    <a:cubicBezTo>
                      <a:pt x="74" y="137"/>
                      <a:pt x="74" y="137"/>
                      <a:pt x="74" y="137"/>
                    </a:cubicBezTo>
                    <a:cubicBezTo>
                      <a:pt x="75" y="137"/>
                      <a:pt x="75" y="136"/>
                      <a:pt x="75" y="136"/>
                    </a:cubicBezTo>
                    <a:cubicBezTo>
                      <a:pt x="76" y="135"/>
                      <a:pt x="76" y="135"/>
                      <a:pt x="76" y="135"/>
                    </a:cubicBezTo>
                    <a:cubicBezTo>
                      <a:pt x="77" y="134"/>
                      <a:pt x="77" y="134"/>
                      <a:pt x="77" y="134"/>
                    </a:cubicBezTo>
                    <a:cubicBezTo>
                      <a:pt x="79" y="134"/>
                      <a:pt x="81" y="133"/>
                      <a:pt x="83" y="132"/>
                    </a:cubicBezTo>
                    <a:cubicBezTo>
                      <a:pt x="84" y="132"/>
                      <a:pt x="84" y="132"/>
                      <a:pt x="84" y="132"/>
                    </a:cubicBezTo>
                    <a:cubicBezTo>
                      <a:pt x="86" y="131"/>
                      <a:pt x="87" y="130"/>
                      <a:pt x="88" y="130"/>
                    </a:cubicBezTo>
                    <a:cubicBezTo>
                      <a:pt x="89" y="129"/>
                      <a:pt x="89" y="129"/>
                      <a:pt x="89" y="129"/>
                    </a:cubicBezTo>
                    <a:cubicBezTo>
                      <a:pt x="90" y="113"/>
                      <a:pt x="90" y="113"/>
                      <a:pt x="90" y="113"/>
                    </a:cubicBezTo>
                    <a:cubicBezTo>
                      <a:pt x="89" y="112"/>
                      <a:pt x="89" y="112"/>
                      <a:pt x="89" y="112"/>
                    </a:cubicBezTo>
                    <a:cubicBezTo>
                      <a:pt x="88" y="111"/>
                      <a:pt x="88" y="111"/>
                      <a:pt x="88" y="111"/>
                    </a:cubicBezTo>
                    <a:cubicBezTo>
                      <a:pt x="89" y="110"/>
                      <a:pt x="89" y="110"/>
                      <a:pt x="89" y="110"/>
                    </a:cubicBezTo>
                    <a:cubicBezTo>
                      <a:pt x="88" y="110"/>
                      <a:pt x="88" y="110"/>
                      <a:pt x="88" y="110"/>
                    </a:cubicBezTo>
                    <a:cubicBezTo>
                      <a:pt x="88" y="110"/>
                      <a:pt x="80" y="108"/>
                      <a:pt x="84" y="107"/>
                    </a:cubicBezTo>
                    <a:cubicBezTo>
                      <a:pt x="82" y="105"/>
                      <a:pt x="83" y="99"/>
                      <a:pt x="80" y="98"/>
                    </a:cubicBezTo>
                    <a:cubicBezTo>
                      <a:pt x="80" y="98"/>
                      <a:pt x="79" y="98"/>
                      <a:pt x="79" y="98"/>
                    </a:cubicBezTo>
                    <a:cubicBezTo>
                      <a:pt x="78" y="98"/>
                      <a:pt x="79" y="100"/>
                      <a:pt x="78" y="100"/>
                    </a:cubicBezTo>
                    <a:cubicBezTo>
                      <a:pt x="78" y="101"/>
                      <a:pt x="76" y="102"/>
                      <a:pt x="74" y="102"/>
                    </a:cubicBezTo>
                    <a:cubicBezTo>
                      <a:pt x="74" y="102"/>
                      <a:pt x="73" y="102"/>
                      <a:pt x="73" y="101"/>
                    </a:cubicBezTo>
                    <a:cubicBezTo>
                      <a:pt x="72" y="100"/>
                      <a:pt x="75" y="98"/>
                      <a:pt x="73" y="96"/>
                    </a:cubicBezTo>
                    <a:cubicBezTo>
                      <a:pt x="70" y="97"/>
                      <a:pt x="70" y="97"/>
                      <a:pt x="70" y="97"/>
                    </a:cubicBezTo>
                    <a:cubicBezTo>
                      <a:pt x="70" y="97"/>
                      <a:pt x="69" y="97"/>
                      <a:pt x="68" y="97"/>
                    </a:cubicBezTo>
                    <a:cubicBezTo>
                      <a:pt x="66" y="97"/>
                      <a:pt x="65" y="96"/>
                      <a:pt x="62" y="94"/>
                    </a:cubicBezTo>
                    <a:cubicBezTo>
                      <a:pt x="58" y="92"/>
                      <a:pt x="58" y="88"/>
                      <a:pt x="57" y="84"/>
                    </a:cubicBezTo>
                    <a:cubicBezTo>
                      <a:pt x="56" y="83"/>
                      <a:pt x="70" y="74"/>
                      <a:pt x="72" y="72"/>
                    </a:cubicBezTo>
                    <a:cubicBezTo>
                      <a:pt x="76" y="69"/>
                      <a:pt x="78" y="64"/>
                      <a:pt x="80" y="60"/>
                    </a:cubicBezTo>
                    <a:cubicBezTo>
                      <a:pt x="82" y="57"/>
                      <a:pt x="84" y="57"/>
                      <a:pt x="83" y="54"/>
                    </a:cubicBezTo>
                    <a:cubicBezTo>
                      <a:pt x="82" y="52"/>
                      <a:pt x="82" y="48"/>
                      <a:pt x="80" y="47"/>
                    </a:cubicBezTo>
                    <a:cubicBezTo>
                      <a:pt x="75" y="43"/>
                      <a:pt x="69" y="39"/>
                      <a:pt x="67" y="33"/>
                    </a:cubicBezTo>
                    <a:cubicBezTo>
                      <a:pt x="67" y="31"/>
                      <a:pt x="68" y="27"/>
                      <a:pt x="69" y="26"/>
                    </a:cubicBezTo>
                    <a:cubicBezTo>
                      <a:pt x="71" y="24"/>
                      <a:pt x="74" y="24"/>
                      <a:pt x="76" y="22"/>
                    </a:cubicBezTo>
                    <a:cubicBezTo>
                      <a:pt x="78" y="19"/>
                      <a:pt x="80" y="16"/>
                      <a:pt x="81" y="14"/>
                    </a:cubicBezTo>
                    <a:cubicBezTo>
                      <a:pt x="83" y="12"/>
                      <a:pt x="83" y="6"/>
                      <a:pt x="80" y="6"/>
                    </a:cubicBezTo>
                    <a:cubicBezTo>
                      <a:pt x="79" y="6"/>
                      <a:pt x="79" y="7"/>
                      <a:pt x="78" y="7"/>
                    </a:cubicBezTo>
                    <a:cubicBezTo>
                      <a:pt x="76" y="8"/>
                      <a:pt x="75" y="11"/>
                      <a:pt x="73" y="11"/>
                    </a:cubicBezTo>
                    <a:cubicBezTo>
                      <a:pt x="72" y="12"/>
                      <a:pt x="71" y="12"/>
                      <a:pt x="70" y="13"/>
                    </a:cubicBezTo>
                    <a:cubicBezTo>
                      <a:pt x="69" y="13"/>
                      <a:pt x="69" y="14"/>
                      <a:pt x="69" y="14"/>
                    </a:cubicBezTo>
                    <a:cubicBezTo>
                      <a:pt x="68" y="15"/>
                      <a:pt x="67" y="16"/>
                      <a:pt x="66" y="16"/>
                    </a:cubicBezTo>
                    <a:cubicBezTo>
                      <a:pt x="65" y="16"/>
                      <a:pt x="64" y="15"/>
                      <a:pt x="63" y="14"/>
                    </a:cubicBezTo>
                    <a:cubicBezTo>
                      <a:pt x="65" y="11"/>
                      <a:pt x="64" y="10"/>
                      <a:pt x="62" y="7"/>
                    </a:cubicBezTo>
                    <a:cubicBezTo>
                      <a:pt x="61" y="5"/>
                      <a:pt x="60" y="3"/>
                      <a:pt x="58" y="2"/>
                    </a:cubicBezTo>
                    <a:cubicBezTo>
                      <a:pt x="57" y="1"/>
                      <a:pt x="56" y="1"/>
                      <a:pt x="56" y="1"/>
                    </a:cubicBezTo>
                    <a:cubicBezTo>
                      <a:pt x="54" y="1"/>
                      <a:pt x="53" y="3"/>
                      <a:pt x="52" y="4"/>
                    </a:cubicBezTo>
                    <a:cubicBezTo>
                      <a:pt x="50" y="2"/>
                      <a:pt x="51"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189"/>
              <p:cNvSpPr/>
              <p:nvPr/>
            </p:nvSpPr>
            <p:spPr bwMode="auto">
              <a:xfrm>
                <a:off x="4417" y="1434"/>
                <a:ext cx="572" cy="891"/>
              </a:xfrm>
              <a:custGeom>
                <a:gdLst>
                  <a:gd name="T0" fmla="*/ 37 w 242"/>
                  <a:gd name="T1" fmla="*/ 10 h 377"/>
                  <a:gd name="T2" fmla="*/ 40 w 242"/>
                  <a:gd name="T3" fmla="*/ 33 h 377"/>
                  <a:gd name="T4" fmla="*/ 44 w 242"/>
                  <a:gd name="T5" fmla="*/ 47 h 377"/>
                  <a:gd name="T6" fmla="*/ 48 w 242"/>
                  <a:gd name="T7" fmla="*/ 54 h 377"/>
                  <a:gd name="T8" fmla="*/ 50 w 242"/>
                  <a:gd name="T9" fmla="*/ 62 h 377"/>
                  <a:gd name="T10" fmla="*/ 54 w 242"/>
                  <a:gd name="T11" fmla="*/ 66 h 377"/>
                  <a:gd name="T12" fmla="*/ 57 w 242"/>
                  <a:gd name="T13" fmla="*/ 79 h 377"/>
                  <a:gd name="T14" fmla="*/ 52 w 242"/>
                  <a:gd name="T15" fmla="*/ 94 h 377"/>
                  <a:gd name="T16" fmla="*/ 48 w 242"/>
                  <a:gd name="T17" fmla="*/ 152 h 377"/>
                  <a:gd name="T18" fmla="*/ 44 w 242"/>
                  <a:gd name="T19" fmla="*/ 162 h 377"/>
                  <a:gd name="T20" fmla="*/ 15 w 242"/>
                  <a:gd name="T21" fmla="*/ 196 h 377"/>
                  <a:gd name="T22" fmla="*/ 4 w 242"/>
                  <a:gd name="T23" fmla="*/ 233 h 377"/>
                  <a:gd name="T24" fmla="*/ 13 w 242"/>
                  <a:gd name="T25" fmla="*/ 246 h 377"/>
                  <a:gd name="T26" fmla="*/ 26 w 242"/>
                  <a:gd name="T27" fmla="*/ 255 h 377"/>
                  <a:gd name="T28" fmla="*/ 36 w 242"/>
                  <a:gd name="T29" fmla="*/ 275 h 377"/>
                  <a:gd name="T30" fmla="*/ 39 w 242"/>
                  <a:gd name="T31" fmla="*/ 283 h 377"/>
                  <a:gd name="T32" fmla="*/ 39 w 242"/>
                  <a:gd name="T33" fmla="*/ 290 h 377"/>
                  <a:gd name="T34" fmla="*/ 37 w 242"/>
                  <a:gd name="T35" fmla="*/ 298 h 377"/>
                  <a:gd name="T36" fmla="*/ 49 w 242"/>
                  <a:gd name="T37" fmla="*/ 319 h 377"/>
                  <a:gd name="T38" fmla="*/ 44 w 242"/>
                  <a:gd name="T39" fmla="*/ 326 h 377"/>
                  <a:gd name="T40" fmla="*/ 28 w 242"/>
                  <a:gd name="T41" fmla="*/ 326 h 377"/>
                  <a:gd name="T42" fmla="*/ 24 w 242"/>
                  <a:gd name="T43" fmla="*/ 326 h 377"/>
                  <a:gd name="T44" fmla="*/ 16 w 242"/>
                  <a:gd name="T45" fmla="*/ 326 h 377"/>
                  <a:gd name="T46" fmla="*/ 13 w 242"/>
                  <a:gd name="T47" fmla="*/ 331 h 377"/>
                  <a:gd name="T48" fmla="*/ 18 w 242"/>
                  <a:gd name="T49" fmla="*/ 336 h 377"/>
                  <a:gd name="T50" fmla="*/ 43 w 242"/>
                  <a:gd name="T51" fmla="*/ 363 h 377"/>
                  <a:gd name="T52" fmla="*/ 48 w 242"/>
                  <a:gd name="T53" fmla="*/ 373 h 377"/>
                  <a:gd name="T54" fmla="*/ 53 w 242"/>
                  <a:gd name="T55" fmla="*/ 377 h 377"/>
                  <a:gd name="T56" fmla="*/ 64 w 242"/>
                  <a:gd name="T57" fmla="*/ 375 h 377"/>
                  <a:gd name="T58" fmla="*/ 69 w 242"/>
                  <a:gd name="T59" fmla="*/ 370 h 377"/>
                  <a:gd name="T60" fmla="*/ 77 w 242"/>
                  <a:gd name="T61" fmla="*/ 377 h 377"/>
                  <a:gd name="T62" fmla="*/ 79 w 242"/>
                  <a:gd name="T63" fmla="*/ 375 h 377"/>
                  <a:gd name="T64" fmla="*/ 88 w 242"/>
                  <a:gd name="T65" fmla="*/ 371 h 377"/>
                  <a:gd name="T66" fmla="*/ 102 w 242"/>
                  <a:gd name="T67" fmla="*/ 368 h 377"/>
                  <a:gd name="T68" fmla="*/ 110 w 242"/>
                  <a:gd name="T69" fmla="*/ 366 h 377"/>
                  <a:gd name="T70" fmla="*/ 116 w 242"/>
                  <a:gd name="T71" fmla="*/ 366 h 377"/>
                  <a:gd name="T72" fmla="*/ 123 w 242"/>
                  <a:gd name="T73" fmla="*/ 358 h 377"/>
                  <a:gd name="T74" fmla="*/ 126 w 242"/>
                  <a:gd name="T75" fmla="*/ 354 h 377"/>
                  <a:gd name="T76" fmla="*/ 130 w 242"/>
                  <a:gd name="T77" fmla="*/ 343 h 377"/>
                  <a:gd name="T78" fmla="*/ 157 w 242"/>
                  <a:gd name="T79" fmla="*/ 341 h 377"/>
                  <a:gd name="T80" fmla="*/ 188 w 242"/>
                  <a:gd name="T81" fmla="*/ 308 h 377"/>
                  <a:gd name="T82" fmla="*/ 206 w 242"/>
                  <a:gd name="T83" fmla="*/ 297 h 377"/>
                  <a:gd name="T84" fmla="*/ 217 w 242"/>
                  <a:gd name="T85" fmla="*/ 296 h 377"/>
                  <a:gd name="T86" fmla="*/ 214 w 242"/>
                  <a:gd name="T87" fmla="*/ 290 h 377"/>
                  <a:gd name="T88" fmla="*/ 207 w 242"/>
                  <a:gd name="T89" fmla="*/ 275 h 377"/>
                  <a:gd name="T90" fmla="*/ 200 w 242"/>
                  <a:gd name="T91" fmla="*/ 262 h 377"/>
                  <a:gd name="T92" fmla="*/ 197 w 242"/>
                  <a:gd name="T93" fmla="*/ 262 h 377"/>
                  <a:gd name="T94" fmla="*/ 198 w 242"/>
                  <a:gd name="T95" fmla="*/ 245 h 377"/>
                  <a:gd name="T96" fmla="*/ 200 w 242"/>
                  <a:gd name="T97" fmla="*/ 240 h 377"/>
                  <a:gd name="T98" fmla="*/ 206 w 242"/>
                  <a:gd name="T99" fmla="*/ 223 h 377"/>
                  <a:gd name="T100" fmla="*/ 206 w 242"/>
                  <a:gd name="T101" fmla="*/ 217 h 377"/>
                  <a:gd name="T102" fmla="*/ 210 w 242"/>
                  <a:gd name="T103" fmla="*/ 209 h 377"/>
                  <a:gd name="T104" fmla="*/ 213 w 242"/>
                  <a:gd name="T105" fmla="*/ 203 h 377"/>
                  <a:gd name="T106" fmla="*/ 232 w 242"/>
                  <a:gd name="T107" fmla="*/ 182 h 377"/>
                  <a:gd name="T108" fmla="*/ 163 w 242"/>
                  <a:gd name="T109" fmla="*/ 54 h 377"/>
                  <a:gd name="T110" fmla="*/ 59 w 242"/>
                  <a:gd name="T111" fmla="*/ 1 h 3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1" h="377">
                    <a:moveTo>
                      <a:pt x="57" y="0"/>
                    </a:moveTo>
                    <a:cubicBezTo>
                      <a:pt x="57" y="0"/>
                      <a:pt x="56" y="0"/>
                      <a:pt x="56" y="0"/>
                    </a:cubicBezTo>
                    <a:cubicBezTo>
                      <a:pt x="55" y="1"/>
                      <a:pt x="55" y="1"/>
                      <a:pt x="55" y="1"/>
                    </a:cubicBezTo>
                    <a:cubicBezTo>
                      <a:pt x="37" y="10"/>
                      <a:pt x="37" y="10"/>
                      <a:pt x="37" y="10"/>
                    </a:cubicBezTo>
                    <a:cubicBezTo>
                      <a:pt x="37" y="14"/>
                      <a:pt x="37" y="14"/>
                      <a:pt x="37" y="14"/>
                    </a:cubicBezTo>
                    <a:cubicBezTo>
                      <a:pt x="38" y="18"/>
                      <a:pt x="39" y="23"/>
                      <a:pt x="40" y="27"/>
                    </a:cubicBezTo>
                    <a:cubicBezTo>
                      <a:pt x="40" y="29"/>
                      <a:pt x="40" y="31"/>
                      <a:pt x="40" y="33"/>
                    </a:cubicBezTo>
                    <a:cubicBezTo>
                      <a:pt x="40" y="33"/>
                      <a:pt x="40" y="33"/>
                      <a:pt x="40" y="33"/>
                    </a:cubicBezTo>
                    <a:cubicBezTo>
                      <a:pt x="40" y="34"/>
                      <a:pt x="40" y="34"/>
                      <a:pt x="40" y="35"/>
                    </a:cubicBezTo>
                    <a:cubicBezTo>
                      <a:pt x="40" y="36"/>
                      <a:pt x="40" y="36"/>
                      <a:pt x="40" y="36"/>
                    </a:cubicBezTo>
                    <a:cubicBezTo>
                      <a:pt x="41" y="40"/>
                      <a:pt x="41" y="42"/>
                      <a:pt x="42" y="45"/>
                    </a:cubicBezTo>
                    <a:cubicBezTo>
                      <a:pt x="43" y="45"/>
                      <a:pt x="43" y="46"/>
                      <a:pt x="44" y="47"/>
                    </a:cubicBezTo>
                    <a:cubicBezTo>
                      <a:pt x="44" y="47"/>
                      <a:pt x="44" y="47"/>
                      <a:pt x="44" y="47"/>
                    </a:cubicBezTo>
                    <a:cubicBezTo>
                      <a:pt x="44" y="48"/>
                      <a:pt x="45" y="48"/>
                      <a:pt x="45" y="49"/>
                    </a:cubicBezTo>
                    <a:cubicBezTo>
                      <a:pt x="45" y="49"/>
                      <a:pt x="46" y="50"/>
                      <a:pt x="46" y="50"/>
                    </a:cubicBezTo>
                    <a:cubicBezTo>
                      <a:pt x="47" y="52"/>
                      <a:pt x="48" y="53"/>
                      <a:pt x="48" y="54"/>
                    </a:cubicBezTo>
                    <a:cubicBezTo>
                      <a:pt x="49" y="55"/>
                      <a:pt x="49" y="55"/>
                      <a:pt x="49" y="55"/>
                    </a:cubicBezTo>
                    <a:cubicBezTo>
                      <a:pt x="50" y="56"/>
                      <a:pt x="50" y="58"/>
                      <a:pt x="50" y="59"/>
                    </a:cubicBezTo>
                    <a:cubicBezTo>
                      <a:pt x="50" y="59"/>
                      <a:pt x="50" y="60"/>
                      <a:pt x="50" y="60"/>
                    </a:cubicBezTo>
                    <a:cubicBezTo>
                      <a:pt x="50" y="61"/>
                      <a:pt x="50" y="62"/>
                      <a:pt x="50" y="62"/>
                    </a:cubicBezTo>
                    <a:cubicBezTo>
                      <a:pt x="51" y="63"/>
                      <a:pt x="51" y="63"/>
                      <a:pt x="51" y="63"/>
                    </a:cubicBezTo>
                    <a:cubicBezTo>
                      <a:pt x="51" y="63"/>
                      <a:pt x="52" y="64"/>
                      <a:pt x="53" y="64"/>
                    </a:cubicBezTo>
                    <a:cubicBezTo>
                      <a:pt x="53" y="65"/>
                      <a:pt x="53" y="65"/>
                      <a:pt x="54" y="65"/>
                    </a:cubicBezTo>
                    <a:cubicBezTo>
                      <a:pt x="54" y="66"/>
                      <a:pt x="54" y="66"/>
                      <a:pt x="54" y="66"/>
                    </a:cubicBezTo>
                    <a:cubicBezTo>
                      <a:pt x="56" y="68"/>
                      <a:pt x="58" y="70"/>
                      <a:pt x="59" y="72"/>
                    </a:cubicBezTo>
                    <a:cubicBezTo>
                      <a:pt x="59" y="73"/>
                      <a:pt x="59" y="74"/>
                      <a:pt x="59" y="75"/>
                    </a:cubicBezTo>
                    <a:cubicBezTo>
                      <a:pt x="59" y="75"/>
                      <a:pt x="59" y="75"/>
                      <a:pt x="59" y="75"/>
                    </a:cubicBezTo>
                    <a:cubicBezTo>
                      <a:pt x="58" y="77"/>
                      <a:pt x="57" y="78"/>
                      <a:pt x="57" y="79"/>
                    </a:cubicBezTo>
                    <a:cubicBezTo>
                      <a:pt x="56" y="80"/>
                      <a:pt x="56" y="80"/>
                      <a:pt x="56" y="80"/>
                    </a:cubicBezTo>
                    <a:cubicBezTo>
                      <a:pt x="56" y="80"/>
                      <a:pt x="56" y="80"/>
                      <a:pt x="56" y="80"/>
                    </a:cubicBezTo>
                    <a:cubicBezTo>
                      <a:pt x="54" y="84"/>
                      <a:pt x="53" y="88"/>
                      <a:pt x="53" y="93"/>
                    </a:cubicBezTo>
                    <a:cubicBezTo>
                      <a:pt x="52" y="94"/>
                      <a:pt x="52" y="94"/>
                      <a:pt x="52" y="94"/>
                    </a:cubicBezTo>
                    <a:cubicBezTo>
                      <a:pt x="51" y="108"/>
                      <a:pt x="50" y="122"/>
                      <a:pt x="49" y="135"/>
                    </a:cubicBezTo>
                    <a:cubicBezTo>
                      <a:pt x="49" y="136"/>
                      <a:pt x="49" y="136"/>
                      <a:pt x="49" y="136"/>
                    </a:cubicBezTo>
                    <a:cubicBezTo>
                      <a:pt x="49" y="136"/>
                      <a:pt x="49" y="136"/>
                      <a:pt x="49" y="136"/>
                    </a:cubicBezTo>
                    <a:cubicBezTo>
                      <a:pt x="48" y="152"/>
                      <a:pt x="48" y="152"/>
                      <a:pt x="48" y="152"/>
                    </a:cubicBezTo>
                    <a:cubicBezTo>
                      <a:pt x="48" y="153"/>
                      <a:pt x="48" y="153"/>
                      <a:pt x="48" y="153"/>
                    </a:cubicBezTo>
                    <a:cubicBezTo>
                      <a:pt x="48" y="155"/>
                      <a:pt x="48" y="157"/>
                      <a:pt x="47" y="159"/>
                    </a:cubicBezTo>
                    <a:cubicBezTo>
                      <a:pt x="46" y="160"/>
                      <a:pt x="46" y="160"/>
                      <a:pt x="46" y="160"/>
                    </a:cubicBezTo>
                    <a:cubicBezTo>
                      <a:pt x="46" y="160"/>
                      <a:pt x="45" y="161"/>
                      <a:pt x="44" y="162"/>
                    </a:cubicBezTo>
                    <a:cubicBezTo>
                      <a:pt x="44" y="162"/>
                      <a:pt x="44" y="162"/>
                      <a:pt x="44" y="162"/>
                    </a:cubicBezTo>
                    <a:cubicBezTo>
                      <a:pt x="43" y="163"/>
                      <a:pt x="43" y="163"/>
                      <a:pt x="43" y="163"/>
                    </a:cubicBezTo>
                    <a:cubicBezTo>
                      <a:pt x="26" y="181"/>
                      <a:pt x="26" y="181"/>
                      <a:pt x="26" y="181"/>
                    </a:cubicBezTo>
                    <a:cubicBezTo>
                      <a:pt x="22" y="185"/>
                      <a:pt x="19" y="190"/>
                      <a:pt x="15" y="196"/>
                    </a:cubicBezTo>
                    <a:cubicBezTo>
                      <a:pt x="3" y="216"/>
                      <a:pt x="3" y="216"/>
                      <a:pt x="3" y="216"/>
                    </a:cubicBezTo>
                    <a:cubicBezTo>
                      <a:pt x="2" y="217"/>
                      <a:pt x="1" y="218"/>
                      <a:pt x="0" y="218"/>
                    </a:cubicBezTo>
                    <a:cubicBezTo>
                      <a:pt x="1" y="221"/>
                      <a:pt x="1" y="223"/>
                      <a:pt x="2" y="226"/>
                    </a:cubicBezTo>
                    <a:cubicBezTo>
                      <a:pt x="3" y="228"/>
                      <a:pt x="3" y="230"/>
                      <a:pt x="4" y="233"/>
                    </a:cubicBezTo>
                    <a:cubicBezTo>
                      <a:pt x="5" y="235"/>
                      <a:pt x="5" y="235"/>
                      <a:pt x="5" y="235"/>
                    </a:cubicBezTo>
                    <a:cubicBezTo>
                      <a:pt x="6" y="235"/>
                      <a:pt x="6" y="236"/>
                      <a:pt x="7" y="237"/>
                    </a:cubicBezTo>
                    <a:cubicBezTo>
                      <a:pt x="7" y="238"/>
                      <a:pt x="8" y="238"/>
                      <a:pt x="8" y="239"/>
                    </a:cubicBezTo>
                    <a:cubicBezTo>
                      <a:pt x="13" y="246"/>
                      <a:pt x="13" y="246"/>
                      <a:pt x="13" y="246"/>
                    </a:cubicBezTo>
                    <a:cubicBezTo>
                      <a:pt x="22" y="248"/>
                      <a:pt x="22" y="248"/>
                      <a:pt x="22" y="248"/>
                    </a:cubicBezTo>
                    <a:cubicBezTo>
                      <a:pt x="24" y="249"/>
                      <a:pt x="25" y="251"/>
                      <a:pt x="25" y="254"/>
                    </a:cubicBezTo>
                    <a:cubicBezTo>
                      <a:pt x="25" y="254"/>
                      <a:pt x="25" y="254"/>
                      <a:pt x="25" y="254"/>
                    </a:cubicBezTo>
                    <a:cubicBezTo>
                      <a:pt x="26" y="255"/>
                      <a:pt x="26" y="255"/>
                      <a:pt x="26" y="255"/>
                    </a:cubicBezTo>
                    <a:cubicBezTo>
                      <a:pt x="29" y="257"/>
                      <a:pt x="31" y="259"/>
                      <a:pt x="32" y="260"/>
                    </a:cubicBezTo>
                    <a:cubicBezTo>
                      <a:pt x="32" y="262"/>
                      <a:pt x="33" y="264"/>
                      <a:pt x="33" y="266"/>
                    </a:cubicBezTo>
                    <a:cubicBezTo>
                      <a:pt x="34" y="268"/>
                      <a:pt x="35" y="271"/>
                      <a:pt x="36" y="273"/>
                    </a:cubicBezTo>
                    <a:cubicBezTo>
                      <a:pt x="36" y="275"/>
                      <a:pt x="36" y="275"/>
                      <a:pt x="36" y="275"/>
                    </a:cubicBezTo>
                    <a:cubicBezTo>
                      <a:pt x="37" y="276"/>
                      <a:pt x="38" y="277"/>
                      <a:pt x="38" y="279"/>
                    </a:cubicBezTo>
                    <a:cubicBezTo>
                      <a:pt x="38" y="279"/>
                      <a:pt x="38" y="279"/>
                      <a:pt x="38" y="279"/>
                    </a:cubicBezTo>
                    <a:cubicBezTo>
                      <a:pt x="38" y="280"/>
                      <a:pt x="38" y="281"/>
                      <a:pt x="39" y="282"/>
                    </a:cubicBezTo>
                    <a:cubicBezTo>
                      <a:pt x="39" y="283"/>
                      <a:pt x="39" y="283"/>
                      <a:pt x="39" y="283"/>
                    </a:cubicBezTo>
                    <a:cubicBezTo>
                      <a:pt x="39" y="283"/>
                      <a:pt x="39" y="284"/>
                      <a:pt x="39" y="284"/>
                    </a:cubicBezTo>
                    <a:cubicBezTo>
                      <a:pt x="39" y="284"/>
                      <a:pt x="39" y="284"/>
                      <a:pt x="39" y="284"/>
                    </a:cubicBezTo>
                    <a:cubicBezTo>
                      <a:pt x="39" y="284"/>
                      <a:pt x="39" y="284"/>
                      <a:pt x="39" y="284"/>
                    </a:cubicBezTo>
                    <a:cubicBezTo>
                      <a:pt x="39" y="286"/>
                      <a:pt x="39" y="288"/>
                      <a:pt x="39" y="290"/>
                    </a:cubicBezTo>
                    <a:cubicBezTo>
                      <a:pt x="38" y="291"/>
                      <a:pt x="38" y="292"/>
                      <a:pt x="38" y="293"/>
                    </a:cubicBezTo>
                    <a:cubicBezTo>
                      <a:pt x="38" y="293"/>
                      <a:pt x="38" y="293"/>
                      <a:pt x="38" y="293"/>
                    </a:cubicBezTo>
                    <a:cubicBezTo>
                      <a:pt x="38" y="294"/>
                      <a:pt x="37" y="294"/>
                      <a:pt x="37" y="295"/>
                    </a:cubicBezTo>
                    <a:cubicBezTo>
                      <a:pt x="37" y="296"/>
                      <a:pt x="37" y="297"/>
                      <a:pt x="37" y="298"/>
                    </a:cubicBezTo>
                    <a:cubicBezTo>
                      <a:pt x="38" y="303"/>
                      <a:pt x="40" y="308"/>
                      <a:pt x="43" y="313"/>
                    </a:cubicBezTo>
                    <a:cubicBezTo>
                      <a:pt x="44" y="314"/>
                      <a:pt x="45" y="316"/>
                      <a:pt x="46" y="317"/>
                    </a:cubicBezTo>
                    <a:cubicBezTo>
                      <a:pt x="47" y="318"/>
                      <a:pt x="48" y="318"/>
                      <a:pt x="49" y="319"/>
                    </a:cubicBezTo>
                    <a:cubicBezTo>
                      <a:pt x="49" y="319"/>
                      <a:pt x="49" y="319"/>
                      <a:pt x="49" y="319"/>
                    </a:cubicBezTo>
                    <a:cubicBezTo>
                      <a:pt x="50" y="319"/>
                      <a:pt x="50" y="320"/>
                      <a:pt x="51" y="320"/>
                    </a:cubicBezTo>
                    <a:cubicBezTo>
                      <a:pt x="56" y="324"/>
                      <a:pt x="56" y="324"/>
                      <a:pt x="56" y="324"/>
                    </a:cubicBezTo>
                    <a:cubicBezTo>
                      <a:pt x="49" y="325"/>
                      <a:pt x="49" y="325"/>
                      <a:pt x="49" y="325"/>
                    </a:cubicBezTo>
                    <a:cubicBezTo>
                      <a:pt x="48" y="326"/>
                      <a:pt x="46" y="326"/>
                      <a:pt x="44" y="326"/>
                    </a:cubicBezTo>
                    <a:cubicBezTo>
                      <a:pt x="43" y="326"/>
                      <a:pt x="41" y="326"/>
                      <a:pt x="40" y="326"/>
                    </a:cubicBezTo>
                    <a:cubicBezTo>
                      <a:pt x="39" y="326"/>
                      <a:pt x="38" y="326"/>
                      <a:pt x="37" y="326"/>
                    </a:cubicBezTo>
                    <a:cubicBezTo>
                      <a:pt x="37" y="326"/>
                      <a:pt x="37" y="326"/>
                      <a:pt x="37" y="326"/>
                    </a:cubicBezTo>
                    <a:cubicBezTo>
                      <a:pt x="34" y="326"/>
                      <a:pt x="31" y="326"/>
                      <a:pt x="28" y="326"/>
                    </a:cubicBezTo>
                    <a:cubicBezTo>
                      <a:pt x="28" y="326"/>
                      <a:pt x="28" y="326"/>
                      <a:pt x="27" y="326"/>
                    </a:cubicBezTo>
                    <a:cubicBezTo>
                      <a:pt x="27" y="326"/>
                      <a:pt x="27" y="326"/>
                      <a:pt x="27" y="326"/>
                    </a:cubicBezTo>
                    <a:cubicBezTo>
                      <a:pt x="26" y="326"/>
                      <a:pt x="26" y="326"/>
                      <a:pt x="25" y="326"/>
                    </a:cubicBezTo>
                    <a:cubicBezTo>
                      <a:pt x="24" y="326"/>
                      <a:pt x="24" y="326"/>
                      <a:pt x="24" y="326"/>
                    </a:cubicBezTo>
                    <a:cubicBezTo>
                      <a:pt x="24" y="326"/>
                      <a:pt x="23" y="326"/>
                      <a:pt x="23" y="326"/>
                    </a:cubicBezTo>
                    <a:cubicBezTo>
                      <a:pt x="22" y="326"/>
                      <a:pt x="21" y="326"/>
                      <a:pt x="19" y="326"/>
                    </a:cubicBezTo>
                    <a:cubicBezTo>
                      <a:pt x="19" y="326"/>
                      <a:pt x="18" y="326"/>
                      <a:pt x="17" y="326"/>
                    </a:cubicBezTo>
                    <a:cubicBezTo>
                      <a:pt x="16" y="326"/>
                      <a:pt x="16" y="326"/>
                      <a:pt x="16" y="326"/>
                    </a:cubicBezTo>
                    <a:cubicBezTo>
                      <a:pt x="16" y="326"/>
                      <a:pt x="15" y="326"/>
                      <a:pt x="14" y="327"/>
                    </a:cubicBezTo>
                    <a:cubicBezTo>
                      <a:pt x="14" y="328"/>
                      <a:pt x="14" y="329"/>
                      <a:pt x="13" y="329"/>
                    </a:cubicBezTo>
                    <a:cubicBezTo>
                      <a:pt x="13" y="330"/>
                      <a:pt x="13" y="330"/>
                      <a:pt x="13" y="330"/>
                    </a:cubicBezTo>
                    <a:cubicBezTo>
                      <a:pt x="13" y="331"/>
                      <a:pt x="13" y="331"/>
                      <a:pt x="13" y="331"/>
                    </a:cubicBezTo>
                    <a:cubicBezTo>
                      <a:pt x="14" y="331"/>
                      <a:pt x="14" y="331"/>
                      <a:pt x="14" y="331"/>
                    </a:cubicBezTo>
                    <a:cubicBezTo>
                      <a:pt x="14" y="332"/>
                      <a:pt x="15" y="332"/>
                      <a:pt x="15" y="333"/>
                    </a:cubicBezTo>
                    <a:cubicBezTo>
                      <a:pt x="16" y="334"/>
                      <a:pt x="16" y="334"/>
                      <a:pt x="17" y="335"/>
                    </a:cubicBezTo>
                    <a:cubicBezTo>
                      <a:pt x="18" y="336"/>
                      <a:pt x="18" y="336"/>
                      <a:pt x="18" y="336"/>
                    </a:cubicBezTo>
                    <a:cubicBezTo>
                      <a:pt x="21" y="339"/>
                      <a:pt x="24" y="342"/>
                      <a:pt x="27" y="344"/>
                    </a:cubicBezTo>
                    <a:cubicBezTo>
                      <a:pt x="28" y="345"/>
                      <a:pt x="28" y="345"/>
                      <a:pt x="28" y="345"/>
                    </a:cubicBezTo>
                    <a:cubicBezTo>
                      <a:pt x="31" y="348"/>
                      <a:pt x="35" y="351"/>
                      <a:pt x="38" y="354"/>
                    </a:cubicBezTo>
                    <a:cubicBezTo>
                      <a:pt x="41" y="357"/>
                      <a:pt x="42" y="360"/>
                      <a:pt x="43" y="363"/>
                    </a:cubicBezTo>
                    <a:cubicBezTo>
                      <a:pt x="44" y="364"/>
                      <a:pt x="44" y="364"/>
                      <a:pt x="44" y="364"/>
                    </a:cubicBezTo>
                    <a:cubicBezTo>
                      <a:pt x="44" y="365"/>
                      <a:pt x="45" y="366"/>
                      <a:pt x="45" y="367"/>
                    </a:cubicBezTo>
                    <a:cubicBezTo>
                      <a:pt x="45" y="367"/>
                      <a:pt x="46" y="368"/>
                      <a:pt x="46" y="369"/>
                    </a:cubicBezTo>
                    <a:cubicBezTo>
                      <a:pt x="46" y="370"/>
                      <a:pt x="47" y="372"/>
                      <a:pt x="48" y="373"/>
                    </a:cubicBezTo>
                    <a:cubicBezTo>
                      <a:pt x="50" y="373"/>
                      <a:pt x="50" y="373"/>
                      <a:pt x="50" y="373"/>
                    </a:cubicBezTo>
                    <a:cubicBezTo>
                      <a:pt x="49" y="376"/>
                      <a:pt x="49" y="376"/>
                      <a:pt x="49" y="376"/>
                    </a:cubicBezTo>
                    <a:cubicBezTo>
                      <a:pt x="49" y="377"/>
                      <a:pt x="49" y="377"/>
                      <a:pt x="49" y="377"/>
                    </a:cubicBezTo>
                    <a:cubicBezTo>
                      <a:pt x="50" y="377"/>
                      <a:pt x="52" y="377"/>
                      <a:pt x="53" y="377"/>
                    </a:cubicBezTo>
                    <a:cubicBezTo>
                      <a:pt x="54" y="377"/>
                      <a:pt x="55" y="377"/>
                      <a:pt x="56" y="376"/>
                    </a:cubicBezTo>
                    <a:cubicBezTo>
                      <a:pt x="57" y="376"/>
                      <a:pt x="57" y="376"/>
                      <a:pt x="57" y="376"/>
                    </a:cubicBezTo>
                    <a:cubicBezTo>
                      <a:pt x="59" y="376"/>
                      <a:pt x="60" y="376"/>
                      <a:pt x="61" y="376"/>
                    </a:cubicBezTo>
                    <a:cubicBezTo>
                      <a:pt x="62" y="376"/>
                      <a:pt x="63" y="375"/>
                      <a:pt x="64" y="375"/>
                    </a:cubicBezTo>
                    <a:cubicBezTo>
                      <a:pt x="64" y="375"/>
                      <a:pt x="64" y="375"/>
                      <a:pt x="64" y="375"/>
                    </a:cubicBezTo>
                    <a:cubicBezTo>
                      <a:pt x="64" y="374"/>
                      <a:pt x="65" y="373"/>
                      <a:pt x="66" y="372"/>
                    </a:cubicBezTo>
                    <a:cubicBezTo>
                      <a:pt x="66" y="371"/>
                      <a:pt x="67" y="371"/>
                      <a:pt x="67" y="370"/>
                    </a:cubicBezTo>
                    <a:cubicBezTo>
                      <a:pt x="68" y="370"/>
                      <a:pt x="68" y="370"/>
                      <a:pt x="69" y="370"/>
                    </a:cubicBezTo>
                    <a:cubicBezTo>
                      <a:pt x="69" y="370"/>
                      <a:pt x="69" y="370"/>
                      <a:pt x="69" y="370"/>
                    </a:cubicBezTo>
                    <a:cubicBezTo>
                      <a:pt x="69" y="370"/>
                      <a:pt x="69" y="370"/>
                      <a:pt x="69" y="370"/>
                    </a:cubicBezTo>
                    <a:cubicBezTo>
                      <a:pt x="72" y="370"/>
                      <a:pt x="73" y="372"/>
                      <a:pt x="74" y="373"/>
                    </a:cubicBezTo>
                    <a:cubicBezTo>
                      <a:pt x="77" y="377"/>
                      <a:pt x="77" y="377"/>
                      <a:pt x="77" y="377"/>
                    </a:cubicBezTo>
                    <a:cubicBezTo>
                      <a:pt x="77" y="376"/>
                      <a:pt x="77" y="376"/>
                      <a:pt x="77" y="376"/>
                    </a:cubicBezTo>
                    <a:cubicBezTo>
                      <a:pt x="78" y="376"/>
                      <a:pt x="78" y="376"/>
                      <a:pt x="78" y="376"/>
                    </a:cubicBezTo>
                    <a:cubicBezTo>
                      <a:pt x="79" y="376"/>
                      <a:pt x="79" y="376"/>
                      <a:pt x="79" y="376"/>
                    </a:cubicBezTo>
                    <a:cubicBezTo>
                      <a:pt x="79" y="376"/>
                      <a:pt x="79" y="375"/>
                      <a:pt x="79" y="375"/>
                    </a:cubicBezTo>
                    <a:cubicBezTo>
                      <a:pt x="80" y="375"/>
                      <a:pt x="80" y="375"/>
                      <a:pt x="80" y="375"/>
                    </a:cubicBezTo>
                    <a:cubicBezTo>
                      <a:pt x="81" y="374"/>
                      <a:pt x="82" y="374"/>
                      <a:pt x="83" y="373"/>
                    </a:cubicBezTo>
                    <a:cubicBezTo>
                      <a:pt x="84" y="373"/>
                      <a:pt x="84" y="373"/>
                      <a:pt x="84" y="373"/>
                    </a:cubicBezTo>
                    <a:cubicBezTo>
                      <a:pt x="85" y="372"/>
                      <a:pt x="87" y="372"/>
                      <a:pt x="88" y="371"/>
                    </a:cubicBezTo>
                    <a:cubicBezTo>
                      <a:pt x="90" y="371"/>
                      <a:pt x="90" y="371"/>
                      <a:pt x="90" y="371"/>
                    </a:cubicBezTo>
                    <a:cubicBezTo>
                      <a:pt x="90" y="371"/>
                      <a:pt x="91" y="370"/>
                      <a:pt x="91" y="370"/>
                    </a:cubicBezTo>
                    <a:cubicBezTo>
                      <a:pt x="94" y="369"/>
                      <a:pt x="94" y="369"/>
                      <a:pt x="94" y="369"/>
                    </a:cubicBezTo>
                    <a:cubicBezTo>
                      <a:pt x="97" y="369"/>
                      <a:pt x="99" y="368"/>
                      <a:pt x="102" y="368"/>
                    </a:cubicBezTo>
                    <a:cubicBezTo>
                      <a:pt x="103" y="367"/>
                      <a:pt x="105" y="367"/>
                      <a:pt x="107" y="366"/>
                    </a:cubicBezTo>
                    <a:cubicBezTo>
                      <a:pt x="107" y="366"/>
                      <a:pt x="108" y="366"/>
                      <a:pt x="109" y="366"/>
                    </a:cubicBezTo>
                    <a:cubicBezTo>
                      <a:pt x="109" y="366"/>
                      <a:pt x="109" y="366"/>
                      <a:pt x="109" y="366"/>
                    </a:cubicBezTo>
                    <a:cubicBezTo>
                      <a:pt x="110" y="366"/>
                      <a:pt x="110" y="366"/>
                      <a:pt x="110" y="366"/>
                    </a:cubicBezTo>
                    <a:cubicBezTo>
                      <a:pt x="112" y="366"/>
                      <a:pt x="112" y="366"/>
                      <a:pt x="112" y="366"/>
                    </a:cubicBezTo>
                    <a:cubicBezTo>
                      <a:pt x="112" y="366"/>
                      <a:pt x="113" y="366"/>
                      <a:pt x="114" y="366"/>
                    </a:cubicBezTo>
                    <a:cubicBezTo>
                      <a:pt x="115" y="366"/>
                      <a:pt x="115" y="366"/>
                      <a:pt x="115" y="366"/>
                    </a:cubicBezTo>
                    <a:cubicBezTo>
                      <a:pt x="116" y="366"/>
                      <a:pt x="116" y="366"/>
                      <a:pt x="116" y="366"/>
                    </a:cubicBezTo>
                    <a:cubicBezTo>
                      <a:pt x="116" y="366"/>
                      <a:pt x="116" y="366"/>
                      <a:pt x="116" y="366"/>
                    </a:cubicBezTo>
                    <a:cubicBezTo>
                      <a:pt x="117" y="365"/>
                      <a:pt x="117" y="365"/>
                      <a:pt x="117" y="365"/>
                    </a:cubicBezTo>
                    <a:cubicBezTo>
                      <a:pt x="119" y="363"/>
                      <a:pt x="119" y="363"/>
                      <a:pt x="119" y="363"/>
                    </a:cubicBezTo>
                    <a:cubicBezTo>
                      <a:pt x="120" y="362"/>
                      <a:pt x="122" y="360"/>
                      <a:pt x="123" y="358"/>
                    </a:cubicBezTo>
                    <a:cubicBezTo>
                      <a:pt x="124" y="357"/>
                      <a:pt x="125" y="356"/>
                      <a:pt x="126" y="355"/>
                    </a:cubicBezTo>
                    <a:cubicBezTo>
                      <a:pt x="126" y="355"/>
                      <a:pt x="126" y="355"/>
                      <a:pt x="126" y="355"/>
                    </a:cubicBezTo>
                    <a:cubicBezTo>
                      <a:pt x="126" y="355"/>
                      <a:pt x="126" y="355"/>
                      <a:pt x="126" y="355"/>
                    </a:cubicBezTo>
                    <a:cubicBezTo>
                      <a:pt x="126" y="354"/>
                      <a:pt x="126" y="354"/>
                      <a:pt x="126" y="354"/>
                    </a:cubicBezTo>
                    <a:cubicBezTo>
                      <a:pt x="125" y="354"/>
                      <a:pt x="125" y="354"/>
                      <a:pt x="125" y="354"/>
                    </a:cubicBezTo>
                    <a:cubicBezTo>
                      <a:pt x="124" y="353"/>
                      <a:pt x="122" y="352"/>
                      <a:pt x="121" y="350"/>
                    </a:cubicBezTo>
                    <a:cubicBezTo>
                      <a:pt x="121" y="347"/>
                      <a:pt x="123" y="345"/>
                      <a:pt x="127" y="344"/>
                    </a:cubicBezTo>
                    <a:cubicBezTo>
                      <a:pt x="130" y="343"/>
                      <a:pt x="130" y="343"/>
                      <a:pt x="130" y="343"/>
                    </a:cubicBezTo>
                    <a:cubicBezTo>
                      <a:pt x="130" y="343"/>
                      <a:pt x="130" y="343"/>
                      <a:pt x="130" y="343"/>
                    </a:cubicBezTo>
                    <a:cubicBezTo>
                      <a:pt x="135" y="342"/>
                      <a:pt x="142" y="342"/>
                      <a:pt x="146" y="342"/>
                    </a:cubicBezTo>
                    <a:cubicBezTo>
                      <a:pt x="147" y="342"/>
                      <a:pt x="147" y="342"/>
                      <a:pt x="147" y="342"/>
                    </a:cubicBezTo>
                    <a:cubicBezTo>
                      <a:pt x="150" y="342"/>
                      <a:pt x="154" y="341"/>
                      <a:pt x="157" y="341"/>
                    </a:cubicBezTo>
                    <a:cubicBezTo>
                      <a:pt x="157" y="341"/>
                      <a:pt x="159" y="340"/>
                      <a:pt x="160" y="340"/>
                    </a:cubicBezTo>
                    <a:cubicBezTo>
                      <a:pt x="166" y="336"/>
                      <a:pt x="170" y="332"/>
                      <a:pt x="174" y="327"/>
                    </a:cubicBezTo>
                    <a:cubicBezTo>
                      <a:pt x="188" y="311"/>
                      <a:pt x="188" y="311"/>
                      <a:pt x="188" y="311"/>
                    </a:cubicBezTo>
                    <a:cubicBezTo>
                      <a:pt x="188" y="310"/>
                      <a:pt x="188" y="309"/>
                      <a:pt x="188" y="308"/>
                    </a:cubicBezTo>
                    <a:cubicBezTo>
                      <a:pt x="189" y="307"/>
                      <a:pt x="189" y="306"/>
                      <a:pt x="190" y="305"/>
                    </a:cubicBezTo>
                    <a:cubicBezTo>
                      <a:pt x="192" y="302"/>
                      <a:pt x="197" y="300"/>
                      <a:pt x="202" y="299"/>
                    </a:cubicBezTo>
                    <a:cubicBezTo>
                      <a:pt x="203" y="298"/>
                      <a:pt x="204" y="298"/>
                      <a:pt x="205" y="297"/>
                    </a:cubicBezTo>
                    <a:cubicBezTo>
                      <a:pt x="206" y="297"/>
                      <a:pt x="206" y="297"/>
                      <a:pt x="206" y="297"/>
                    </a:cubicBezTo>
                    <a:cubicBezTo>
                      <a:pt x="208" y="297"/>
                      <a:pt x="208" y="297"/>
                      <a:pt x="208" y="297"/>
                    </a:cubicBezTo>
                    <a:cubicBezTo>
                      <a:pt x="210" y="297"/>
                      <a:pt x="213" y="297"/>
                      <a:pt x="217" y="297"/>
                    </a:cubicBezTo>
                    <a:cubicBezTo>
                      <a:pt x="217" y="297"/>
                      <a:pt x="217" y="297"/>
                      <a:pt x="217" y="297"/>
                    </a:cubicBezTo>
                    <a:cubicBezTo>
                      <a:pt x="217" y="296"/>
                      <a:pt x="217" y="296"/>
                      <a:pt x="217" y="296"/>
                    </a:cubicBezTo>
                    <a:cubicBezTo>
                      <a:pt x="217" y="295"/>
                      <a:pt x="217" y="295"/>
                      <a:pt x="217" y="295"/>
                    </a:cubicBezTo>
                    <a:cubicBezTo>
                      <a:pt x="218" y="294"/>
                      <a:pt x="218" y="294"/>
                      <a:pt x="218" y="294"/>
                    </a:cubicBezTo>
                    <a:cubicBezTo>
                      <a:pt x="217" y="293"/>
                      <a:pt x="217" y="293"/>
                      <a:pt x="217" y="293"/>
                    </a:cubicBezTo>
                    <a:cubicBezTo>
                      <a:pt x="217" y="292"/>
                      <a:pt x="215" y="291"/>
                      <a:pt x="214" y="290"/>
                    </a:cubicBezTo>
                    <a:cubicBezTo>
                      <a:pt x="212" y="289"/>
                      <a:pt x="212" y="289"/>
                      <a:pt x="212" y="289"/>
                    </a:cubicBezTo>
                    <a:cubicBezTo>
                      <a:pt x="208" y="285"/>
                      <a:pt x="208" y="283"/>
                      <a:pt x="209" y="278"/>
                    </a:cubicBezTo>
                    <a:cubicBezTo>
                      <a:pt x="208" y="279"/>
                      <a:pt x="208" y="279"/>
                      <a:pt x="208" y="279"/>
                    </a:cubicBezTo>
                    <a:cubicBezTo>
                      <a:pt x="207" y="275"/>
                      <a:pt x="207" y="275"/>
                      <a:pt x="207" y="275"/>
                    </a:cubicBezTo>
                    <a:cubicBezTo>
                      <a:pt x="206" y="274"/>
                      <a:pt x="206" y="273"/>
                      <a:pt x="206" y="271"/>
                    </a:cubicBezTo>
                    <a:cubicBezTo>
                      <a:pt x="205" y="269"/>
                      <a:pt x="204" y="263"/>
                      <a:pt x="203" y="261"/>
                    </a:cubicBezTo>
                    <a:cubicBezTo>
                      <a:pt x="202" y="261"/>
                      <a:pt x="202" y="261"/>
                      <a:pt x="202" y="261"/>
                    </a:cubicBezTo>
                    <a:cubicBezTo>
                      <a:pt x="202" y="262"/>
                      <a:pt x="201" y="262"/>
                      <a:pt x="200" y="262"/>
                    </a:cubicBezTo>
                    <a:cubicBezTo>
                      <a:pt x="200" y="262"/>
                      <a:pt x="199" y="262"/>
                      <a:pt x="199" y="262"/>
                    </a:cubicBezTo>
                    <a:cubicBezTo>
                      <a:pt x="198" y="269"/>
                      <a:pt x="198" y="269"/>
                      <a:pt x="198" y="269"/>
                    </a:cubicBezTo>
                    <a:cubicBezTo>
                      <a:pt x="197" y="262"/>
                      <a:pt x="197" y="262"/>
                      <a:pt x="197" y="262"/>
                    </a:cubicBezTo>
                    <a:cubicBezTo>
                      <a:pt x="197" y="262"/>
                      <a:pt x="197" y="262"/>
                      <a:pt x="197" y="262"/>
                    </a:cubicBezTo>
                    <a:cubicBezTo>
                      <a:pt x="196" y="262"/>
                      <a:pt x="195" y="262"/>
                      <a:pt x="195" y="261"/>
                    </a:cubicBezTo>
                    <a:cubicBezTo>
                      <a:pt x="194" y="261"/>
                      <a:pt x="194" y="261"/>
                      <a:pt x="194" y="261"/>
                    </a:cubicBezTo>
                    <a:cubicBezTo>
                      <a:pt x="191" y="259"/>
                      <a:pt x="191" y="255"/>
                      <a:pt x="193" y="252"/>
                    </a:cubicBezTo>
                    <a:cubicBezTo>
                      <a:pt x="194" y="249"/>
                      <a:pt x="196" y="247"/>
                      <a:pt x="198" y="245"/>
                    </a:cubicBezTo>
                    <a:cubicBezTo>
                      <a:pt x="199" y="245"/>
                      <a:pt x="199" y="244"/>
                      <a:pt x="200" y="244"/>
                    </a:cubicBezTo>
                    <a:cubicBezTo>
                      <a:pt x="201" y="243"/>
                      <a:pt x="201" y="243"/>
                      <a:pt x="201" y="242"/>
                    </a:cubicBezTo>
                    <a:cubicBezTo>
                      <a:pt x="201" y="242"/>
                      <a:pt x="201" y="242"/>
                      <a:pt x="201" y="242"/>
                    </a:cubicBezTo>
                    <a:cubicBezTo>
                      <a:pt x="201" y="241"/>
                      <a:pt x="201" y="241"/>
                      <a:pt x="200" y="240"/>
                    </a:cubicBezTo>
                    <a:cubicBezTo>
                      <a:pt x="198" y="237"/>
                      <a:pt x="196" y="233"/>
                      <a:pt x="199" y="228"/>
                    </a:cubicBezTo>
                    <a:cubicBezTo>
                      <a:pt x="200" y="228"/>
                      <a:pt x="200" y="227"/>
                      <a:pt x="201" y="226"/>
                    </a:cubicBezTo>
                    <a:cubicBezTo>
                      <a:pt x="202" y="226"/>
                      <a:pt x="203" y="225"/>
                      <a:pt x="204" y="224"/>
                    </a:cubicBezTo>
                    <a:cubicBezTo>
                      <a:pt x="206" y="223"/>
                      <a:pt x="206" y="223"/>
                      <a:pt x="206" y="223"/>
                    </a:cubicBezTo>
                    <a:cubicBezTo>
                      <a:pt x="206" y="223"/>
                      <a:pt x="206" y="223"/>
                      <a:pt x="206" y="223"/>
                    </a:cubicBezTo>
                    <a:cubicBezTo>
                      <a:pt x="206" y="222"/>
                      <a:pt x="206" y="222"/>
                      <a:pt x="205" y="221"/>
                    </a:cubicBezTo>
                    <a:cubicBezTo>
                      <a:pt x="205" y="220"/>
                      <a:pt x="205" y="219"/>
                      <a:pt x="205" y="218"/>
                    </a:cubicBezTo>
                    <a:cubicBezTo>
                      <a:pt x="206" y="217"/>
                      <a:pt x="206" y="217"/>
                      <a:pt x="206" y="217"/>
                    </a:cubicBezTo>
                    <a:cubicBezTo>
                      <a:pt x="206" y="217"/>
                      <a:pt x="206" y="217"/>
                      <a:pt x="206" y="217"/>
                    </a:cubicBezTo>
                    <a:cubicBezTo>
                      <a:pt x="205" y="216"/>
                      <a:pt x="205" y="216"/>
                      <a:pt x="205" y="216"/>
                    </a:cubicBezTo>
                    <a:cubicBezTo>
                      <a:pt x="203" y="212"/>
                      <a:pt x="206" y="211"/>
                      <a:pt x="210" y="209"/>
                    </a:cubicBezTo>
                    <a:cubicBezTo>
                      <a:pt x="210" y="209"/>
                      <a:pt x="210" y="209"/>
                      <a:pt x="210" y="209"/>
                    </a:cubicBezTo>
                    <a:cubicBezTo>
                      <a:pt x="211" y="208"/>
                      <a:pt x="211" y="208"/>
                      <a:pt x="211" y="208"/>
                    </a:cubicBezTo>
                    <a:cubicBezTo>
                      <a:pt x="212" y="207"/>
                      <a:pt x="212" y="207"/>
                      <a:pt x="212" y="207"/>
                    </a:cubicBezTo>
                    <a:cubicBezTo>
                      <a:pt x="212" y="207"/>
                      <a:pt x="212" y="206"/>
                      <a:pt x="212" y="206"/>
                    </a:cubicBezTo>
                    <a:cubicBezTo>
                      <a:pt x="213" y="203"/>
                      <a:pt x="213" y="203"/>
                      <a:pt x="213" y="203"/>
                    </a:cubicBezTo>
                    <a:cubicBezTo>
                      <a:pt x="214" y="202"/>
                      <a:pt x="214" y="200"/>
                      <a:pt x="214" y="199"/>
                    </a:cubicBezTo>
                    <a:cubicBezTo>
                      <a:pt x="215" y="197"/>
                      <a:pt x="215" y="197"/>
                      <a:pt x="215" y="197"/>
                    </a:cubicBezTo>
                    <a:cubicBezTo>
                      <a:pt x="215" y="195"/>
                      <a:pt x="216" y="192"/>
                      <a:pt x="217" y="190"/>
                    </a:cubicBezTo>
                    <a:cubicBezTo>
                      <a:pt x="220" y="184"/>
                      <a:pt x="226" y="182"/>
                      <a:pt x="232" y="182"/>
                    </a:cubicBezTo>
                    <a:cubicBezTo>
                      <a:pt x="235" y="182"/>
                      <a:pt x="237" y="183"/>
                      <a:pt x="240" y="183"/>
                    </a:cubicBezTo>
                    <a:cubicBezTo>
                      <a:pt x="240" y="183"/>
                      <a:pt x="241" y="183"/>
                      <a:pt x="242" y="183"/>
                    </a:cubicBezTo>
                    <a:cubicBezTo>
                      <a:pt x="242" y="96"/>
                      <a:pt x="242" y="96"/>
                      <a:pt x="242" y="96"/>
                    </a:cubicBezTo>
                    <a:cubicBezTo>
                      <a:pt x="163" y="54"/>
                      <a:pt x="163" y="54"/>
                      <a:pt x="163" y="54"/>
                    </a:cubicBezTo>
                    <a:cubicBezTo>
                      <a:pt x="146" y="45"/>
                      <a:pt x="123" y="33"/>
                      <a:pt x="101" y="21"/>
                    </a:cubicBezTo>
                    <a:cubicBezTo>
                      <a:pt x="90" y="16"/>
                      <a:pt x="90" y="16"/>
                      <a:pt x="90" y="16"/>
                    </a:cubicBezTo>
                    <a:cubicBezTo>
                      <a:pt x="82" y="12"/>
                      <a:pt x="75" y="9"/>
                      <a:pt x="67" y="5"/>
                    </a:cubicBezTo>
                    <a:cubicBezTo>
                      <a:pt x="59" y="1"/>
                      <a:pt x="59" y="1"/>
                      <a:pt x="59" y="1"/>
                    </a:cubicBezTo>
                    <a:cubicBezTo>
                      <a:pt x="58" y="1"/>
                      <a:pt x="58" y="0"/>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190"/>
              <p:cNvSpPr/>
              <p:nvPr/>
            </p:nvSpPr>
            <p:spPr bwMode="auto">
              <a:xfrm>
                <a:off x="3682" y="1429"/>
                <a:ext cx="860" cy="659"/>
              </a:xfrm>
              <a:custGeom>
                <a:gdLst>
                  <a:gd name="T0" fmla="*/ 150 w 364"/>
                  <a:gd name="T1" fmla="*/ 81 h 279"/>
                  <a:gd name="T2" fmla="*/ 131 w 364"/>
                  <a:gd name="T3" fmla="*/ 99 h 279"/>
                  <a:gd name="T4" fmla="*/ 94 w 364"/>
                  <a:gd name="T5" fmla="*/ 120 h 279"/>
                  <a:gd name="T6" fmla="*/ 92 w 364"/>
                  <a:gd name="T7" fmla="*/ 172 h 279"/>
                  <a:gd name="T8" fmla="*/ 84 w 364"/>
                  <a:gd name="T9" fmla="*/ 191 h 279"/>
                  <a:gd name="T10" fmla="*/ 71 w 364"/>
                  <a:gd name="T11" fmla="*/ 199 h 279"/>
                  <a:gd name="T12" fmla="*/ 67 w 364"/>
                  <a:gd name="T13" fmla="*/ 199 h 279"/>
                  <a:gd name="T14" fmla="*/ 57 w 364"/>
                  <a:gd name="T15" fmla="*/ 200 h 279"/>
                  <a:gd name="T16" fmla="*/ 12 w 364"/>
                  <a:gd name="T17" fmla="*/ 205 h 279"/>
                  <a:gd name="T18" fmla="*/ 1 w 364"/>
                  <a:gd name="T19" fmla="*/ 209 h 279"/>
                  <a:gd name="T20" fmla="*/ 1 w 364"/>
                  <a:gd name="T21" fmla="*/ 220 h 279"/>
                  <a:gd name="T22" fmla="*/ 7 w 364"/>
                  <a:gd name="T23" fmla="*/ 233 h 279"/>
                  <a:gd name="T24" fmla="*/ 12 w 364"/>
                  <a:gd name="T25" fmla="*/ 235 h 279"/>
                  <a:gd name="T26" fmla="*/ 20 w 364"/>
                  <a:gd name="T27" fmla="*/ 247 h 279"/>
                  <a:gd name="T28" fmla="*/ 18 w 364"/>
                  <a:gd name="T29" fmla="*/ 248 h 279"/>
                  <a:gd name="T30" fmla="*/ 19 w 364"/>
                  <a:gd name="T31" fmla="*/ 252 h 279"/>
                  <a:gd name="T32" fmla="*/ 29 w 364"/>
                  <a:gd name="T33" fmla="*/ 257 h 279"/>
                  <a:gd name="T34" fmla="*/ 41 w 364"/>
                  <a:gd name="T35" fmla="*/ 258 h 279"/>
                  <a:gd name="T36" fmla="*/ 47 w 364"/>
                  <a:gd name="T37" fmla="*/ 267 h 279"/>
                  <a:gd name="T38" fmla="*/ 45 w 364"/>
                  <a:gd name="T39" fmla="*/ 271 h 279"/>
                  <a:gd name="T40" fmla="*/ 51 w 364"/>
                  <a:gd name="T41" fmla="*/ 267 h 279"/>
                  <a:gd name="T42" fmla="*/ 58 w 364"/>
                  <a:gd name="T43" fmla="*/ 265 h 279"/>
                  <a:gd name="T44" fmla="*/ 73 w 364"/>
                  <a:gd name="T45" fmla="*/ 279 h 279"/>
                  <a:gd name="T46" fmla="*/ 75 w 364"/>
                  <a:gd name="T47" fmla="*/ 266 h 279"/>
                  <a:gd name="T48" fmla="*/ 77 w 364"/>
                  <a:gd name="T49" fmla="*/ 261 h 279"/>
                  <a:gd name="T50" fmla="*/ 79 w 364"/>
                  <a:gd name="T51" fmla="*/ 258 h 279"/>
                  <a:gd name="T52" fmla="*/ 85 w 364"/>
                  <a:gd name="T53" fmla="*/ 245 h 279"/>
                  <a:gd name="T54" fmla="*/ 120 w 364"/>
                  <a:gd name="T55" fmla="*/ 229 h 279"/>
                  <a:gd name="T56" fmla="*/ 122 w 364"/>
                  <a:gd name="T57" fmla="*/ 229 h 279"/>
                  <a:gd name="T58" fmla="*/ 133 w 364"/>
                  <a:gd name="T59" fmla="*/ 232 h 279"/>
                  <a:gd name="T60" fmla="*/ 148 w 364"/>
                  <a:gd name="T61" fmla="*/ 240 h 279"/>
                  <a:gd name="T62" fmla="*/ 161 w 364"/>
                  <a:gd name="T63" fmla="*/ 248 h 279"/>
                  <a:gd name="T64" fmla="*/ 177 w 364"/>
                  <a:gd name="T65" fmla="*/ 242 h 279"/>
                  <a:gd name="T66" fmla="*/ 182 w 364"/>
                  <a:gd name="T67" fmla="*/ 243 h 279"/>
                  <a:gd name="T68" fmla="*/ 198 w 364"/>
                  <a:gd name="T69" fmla="*/ 251 h 279"/>
                  <a:gd name="T70" fmla="*/ 212 w 364"/>
                  <a:gd name="T71" fmla="*/ 254 h 279"/>
                  <a:gd name="T72" fmla="*/ 216 w 364"/>
                  <a:gd name="T73" fmla="*/ 255 h 279"/>
                  <a:gd name="T74" fmla="*/ 225 w 364"/>
                  <a:gd name="T75" fmla="*/ 246 h 279"/>
                  <a:gd name="T76" fmla="*/ 253 w 364"/>
                  <a:gd name="T77" fmla="*/ 241 h 279"/>
                  <a:gd name="T78" fmla="*/ 266 w 364"/>
                  <a:gd name="T79" fmla="*/ 242 h 279"/>
                  <a:gd name="T80" fmla="*/ 283 w 364"/>
                  <a:gd name="T81" fmla="*/ 248 h 279"/>
                  <a:gd name="T82" fmla="*/ 293 w 364"/>
                  <a:gd name="T83" fmla="*/ 238 h 279"/>
                  <a:gd name="T84" fmla="*/ 297 w 364"/>
                  <a:gd name="T85" fmla="*/ 236 h 279"/>
                  <a:gd name="T86" fmla="*/ 306 w 364"/>
                  <a:gd name="T87" fmla="*/ 233 h 279"/>
                  <a:gd name="T88" fmla="*/ 306 w 364"/>
                  <a:gd name="T89" fmla="*/ 217 h 279"/>
                  <a:gd name="T90" fmla="*/ 308 w 364"/>
                  <a:gd name="T91" fmla="*/ 215 h 279"/>
                  <a:gd name="T92" fmla="*/ 333 w 364"/>
                  <a:gd name="T93" fmla="*/ 179 h 279"/>
                  <a:gd name="T94" fmla="*/ 351 w 364"/>
                  <a:gd name="T95" fmla="*/ 160 h 279"/>
                  <a:gd name="T96" fmla="*/ 353 w 364"/>
                  <a:gd name="T97" fmla="*/ 155 h 279"/>
                  <a:gd name="T98" fmla="*/ 354 w 364"/>
                  <a:gd name="T99" fmla="*/ 138 h 279"/>
                  <a:gd name="T100" fmla="*/ 362 w 364"/>
                  <a:gd name="T101" fmla="*/ 79 h 279"/>
                  <a:gd name="T102" fmla="*/ 364 w 364"/>
                  <a:gd name="T103" fmla="*/ 75 h 279"/>
                  <a:gd name="T104" fmla="*/ 357 w 364"/>
                  <a:gd name="T105" fmla="*/ 68 h 279"/>
                  <a:gd name="T106" fmla="*/ 354 w 364"/>
                  <a:gd name="T107" fmla="*/ 59 h 279"/>
                  <a:gd name="T108" fmla="*/ 348 w 364"/>
                  <a:gd name="T109" fmla="*/ 50 h 279"/>
                  <a:gd name="T110" fmla="*/ 345 w 364"/>
                  <a:gd name="T111" fmla="*/ 35 h 279"/>
                  <a:gd name="T112" fmla="*/ 342 w 364"/>
                  <a:gd name="T113" fmla="*/ 15 h 279"/>
                  <a:gd name="T114" fmla="*/ 319 w 364"/>
                  <a:gd name="T115" fmla="*/ 17 h 279"/>
                  <a:gd name="T116" fmla="*/ 307 w 364"/>
                  <a:gd name="T117" fmla="*/ 8 h 2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4" h="279">
                    <a:moveTo>
                      <a:pt x="274" y="0"/>
                    </a:moveTo>
                    <a:cubicBezTo>
                      <a:pt x="177" y="60"/>
                      <a:pt x="177" y="60"/>
                      <a:pt x="177" y="60"/>
                    </a:cubicBezTo>
                    <a:cubicBezTo>
                      <a:pt x="172" y="63"/>
                      <a:pt x="167" y="66"/>
                      <a:pt x="162" y="71"/>
                    </a:cubicBezTo>
                    <a:cubicBezTo>
                      <a:pt x="158" y="74"/>
                      <a:pt x="154" y="78"/>
                      <a:pt x="150" y="81"/>
                    </a:cubicBezTo>
                    <a:cubicBezTo>
                      <a:pt x="140" y="90"/>
                      <a:pt x="140" y="90"/>
                      <a:pt x="140" y="90"/>
                    </a:cubicBezTo>
                    <a:cubicBezTo>
                      <a:pt x="138" y="92"/>
                      <a:pt x="136" y="94"/>
                      <a:pt x="134" y="96"/>
                    </a:cubicBezTo>
                    <a:cubicBezTo>
                      <a:pt x="133" y="97"/>
                      <a:pt x="133" y="97"/>
                      <a:pt x="133" y="97"/>
                    </a:cubicBezTo>
                    <a:cubicBezTo>
                      <a:pt x="132" y="97"/>
                      <a:pt x="132" y="98"/>
                      <a:pt x="131" y="99"/>
                    </a:cubicBezTo>
                    <a:cubicBezTo>
                      <a:pt x="128" y="101"/>
                      <a:pt x="122" y="102"/>
                      <a:pt x="117" y="103"/>
                    </a:cubicBezTo>
                    <a:cubicBezTo>
                      <a:pt x="116" y="103"/>
                      <a:pt x="114" y="103"/>
                      <a:pt x="113" y="103"/>
                    </a:cubicBezTo>
                    <a:cubicBezTo>
                      <a:pt x="94" y="107"/>
                      <a:pt x="94" y="107"/>
                      <a:pt x="94" y="107"/>
                    </a:cubicBezTo>
                    <a:cubicBezTo>
                      <a:pt x="94" y="120"/>
                      <a:pt x="94" y="120"/>
                      <a:pt x="94" y="120"/>
                    </a:cubicBezTo>
                    <a:cubicBezTo>
                      <a:pt x="94" y="126"/>
                      <a:pt x="94" y="133"/>
                      <a:pt x="94" y="139"/>
                    </a:cubicBezTo>
                    <a:cubicBezTo>
                      <a:pt x="94" y="145"/>
                      <a:pt x="94" y="145"/>
                      <a:pt x="94" y="145"/>
                    </a:cubicBezTo>
                    <a:cubicBezTo>
                      <a:pt x="94" y="153"/>
                      <a:pt x="94" y="160"/>
                      <a:pt x="93" y="169"/>
                    </a:cubicBezTo>
                    <a:cubicBezTo>
                      <a:pt x="93" y="170"/>
                      <a:pt x="93" y="171"/>
                      <a:pt x="92" y="172"/>
                    </a:cubicBezTo>
                    <a:cubicBezTo>
                      <a:pt x="92" y="175"/>
                      <a:pt x="90" y="178"/>
                      <a:pt x="89" y="180"/>
                    </a:cubicBezTo>
                    <a:cubicBezTo>
                      <a:pt x="88" y="183"/>
                      <a:pt x="88" y="183"/>
                      <a:pt x="88" y="183"/>
                    </a:cubicBezTo>
                    <a:cubicBezTo>
                      <a:pt x="88" y="183"/>
                      <a:pt x="88" y="184"/>
                      <a:pt x="87" y="184"/>
                    </a:cubicBezTo>
                    <a:cubicBezTo>
                      <a:pt x="86" y="187"/>
                      <a:pt x="85" y="189"/>
                      <a:pt x="84" y="191"/>
                    </a:cubicBezTo>
                    <a:cubicBezTo>
                      <a:pt x="83" y="192"/>
                      <a:pt x="83" y="192"/>
                      <a:pt x="82" y="193"/>
                    </a:cubicBezTo>
                    <a:cubicBezTo>
                      <a:pt x="80" y="195"/>
                      <a:pt x="77" y="198"/>
                      <a:pt x="74" y="199"/>
                    </a:cubicBezTo>
                    <a:cubicBezTo>
                      <a:pt x="74" y="199"/>
                      <a:pt x="74" y="199"/>
                      <a:pt x="73" y="199"/>
                    </a:cubicBezTo>
                    <a:cubicBezTo>
                      <a:pt x="72" y="199"/>
                      <a:pt x="71" y="199"/>
                      <a:pt x="71" y="199"/>
                    </a:cubicBezTo>
                    <a:cubicBezTo>
                      <a:pt x="70" y="199"/>
                      <a:pt x="70" y="199"/>
                      <a:pt x="70" y="199"/>
                    </a:cubicBezTo>
                    <a:cubicBezTo>
                      <a:pt x="70" y="199"/>
                      <a:pt x="70" y="199"/>
                      <a:pt x="70" y="199"/>
                    </a:cubicBezTo>
                    <a:cubicBezTo>
                      <a:pt x="69" y="199"/>
                      <a:pt x="69" y="199"/>
                      <a:pt x="69" y="199"/>
                    </a:cubicBezTo>
                    <a:cubicBezTo>
                      <a:pt x="68" y="199"/>
                      <a:pt x="68" y="199"/>
                      <a:pt x="67" y="199"/>
                    </a:cubicBezTo>
                    <a:cubicBezTo>
                      <a:pt x="66" y="199"/>
                      <a:pt x="66" y="199"/>
                      <a:pt x="66" y="199"/>
                    </a:cubicBezTo>
                    <a:cubicBezTo>
                      <a:pt x="65" y="199"/>
                      <a:pt x="64" y="199"/>
                      <a:pt x="63" y="199"/>
                    </a:cubicBezTo>
                    <a:cubicBezTo>
                      <a:pt x="62" y="200"/>
                      <a:pt x="61" y="200"/>
                      <a:pt x="60" y="200"/>
                    </a:cubicBezTo>
                    <a:cubicBezTo>
                      <a:pt x="59" y="200"/>
                      <a:pt x="58" y="200"/>
                      <a:pt x="57" y="200"/>
                    </a:cubicBezTo>
                    <a:cubicBezTo>
                      <a:pt x="56" y="199"/>
                      <a:pt x="56" y="199"/>
                      <a:pt x="56" y="199"/>
                    </a:cubicBezTo>
                    <a:cubicBezTo>
                      <a:pt x="55" y="199"/>
                      <a:pt x="54" y="199"/>
                      <a:pt x="54" y="199"/>
                    </a:cubicBezTo>
                    <a:cubicBezTo>
                      <a:pt x="45" y="200"/>
                      <a:pt x="35" y="200"/>
                      <a:pt x="25" y="201"/>
                    </a:cubicBezTo>
                    <a:cubicBezTo>
                      <a:pt x="21" y="201"/>
                      <a:pt x="16" y="203"/>
                      <a:pt x="12" y="205"/>
                    </a:cubicBezTo>
                    <a:cubicBezTo>
                      <a:pt x="10" y="206"/>
                      <a:pt x="8" y="206"/>
                      <a:pt x="6" y="207"/>
                    </a:cubicBezTo>
                    <a:cubicBezTo>
                      <a:pt x="5" y="207"/>
                      <a:pt x="5" y="208"/>
                      <a:pt x="4" y="208"/>
                    </a:cubicBezTo>
                    <a:cubicBezTo>
                      <a:pt x="3" y="208"/>
                      <a:pt x="2" y="209"/>
                      <a:pt x="1" y="209"/>
                    </a:cubicBezTo>
                    <a:cubicBezTo>
                      <a:pt x="1" y="209"/>
                      <a:pt x="1" y="209"/>
                      <a:pt x="1" y="209"/>
                    </a:cubicBezTo>
                    <a:cubicBezTo>
                      <a:pt x="1" y="210"/>
                      <a:pt x="1" y="210"/>
                      <a:pt x="1" y="210"/>
                    </a:cubicBezTo>
                    <a:cubicBezTo>
                      <a:pt x="0" y="210"/>
                      <a:pt x="0" y="210"/>
                      <a:pt x="0" y="210"/>
                    </a:cubicBezTo>
                    <a:cubicBezTo>
                      <a:pt x="0" y="218"/>
                      <a:pt x="0" y="218"/>
                      <a:pt x="0" y="218"/>
                    </a:cubicBezTo>
                    <a:cubicBezTo>
                      <a:pt x="0" y="219"/>
                      <a:pt x="1" y="220"/>
                      <a:pt x="1" y="220"/>
                    </a:cubicBezTo>
                    <a:cubicBezTo>
                      <a:pt x="1" y="221"/>
                      <a:pt x="1" y="221"/>
                      <a:pt x="1" y="221"/>
                    </a:cubicBezTo>
                    <a:cubicBezTo>
                      <a:pt x="2" y="222"/>
                      <a:pt x="4" y="223"/>
                      <a:pt x="4" y="225"/>
                    </a:cubicBezTo>
                    <a:cubicBezTo>
                      <a:pt x="5" y="226"/>
                      <a:pt x="5" y="228"/>
                      <a:pt x="6" y="229"/>
                    </a:cubicBezTo>
                    <a:cubicBezTo>
                      <a:pt x="6" y="231"/>
                      <a:pt x="6" y="232"/>
                      <a:pt x="7" y="233"/>
                    </a:cubicBezTo>
                    <a:cubicBezTo>
                      <a:pt x="8" y="234"/>
                      <a:pt x="8" y="234"/>
                      <a:pt x="8" y="234"/>
                    </a:cubicBezTo>
                    <a:cubicBezTo>
                      <a:pt x="8" y="234"/>
                      <a:pt x="8" y="234"/>
                      <a:pt x="11" y="235"/>
                    </a:cubicBezTo>
                    <a:cubicBezTo>
                      <a:pt x="11" y="235"/>
                      <a:pt x="11" y="235"/>
                      <a:pt x="11" y="235"/>
                    </a:cubicBezTo>
                    <a:cubicBezTo>
                      <a:pt x="11" y="235"/>
                      <a:pt x="12" y="235"/>
                      <a:pt x="12" y="235"/>
                    </a:cubicBezTo>
                    <a:cubicBezTo>
                      <a:pt x="15" y="236"/>
                      <a:pt x="16" y="237"/>
                      <a:pt x="19" y="239"/>
                    </a:cubicBezTo>
                    <a:cubicBezTo>
                      <a:pt x="21" y="240"/>
                      <a:pt x="22" y="241"/>
                      <a:pt x="23" y="242"/>
                    </a:cubicBezTo>
                    <a:cubicBezTo>
                      <a:pt x="36" y="254"/>
                      <a:pt x="36" y="254"/>
                      <a:pt x="36" y="254"/>
                    </a:cubicBezTo>
                    <a:cubicBezTo>
                      <a:pt x="20" y="247"/>
                      <a:pt x="20" y="247"/>
                      <a:pt x="20" y="247"/>
                    </a:cubicBezTo>
                    <a:cubicBezTo>
                      <a:pt x="20" y="247"/>
                      <a:pt x="20" y="247"/>
                      <a:pt x="20" y="247"/>
                    </a:cubicBezTo>
                    <a:cubicBezTo>
                      <a:pt x="20" y="248"/>
                      <a:pt x="19" y="248"/>
                      <a:pt x="19" y="248"/>
                    </a:cubicBezTo>
                    <a:cubicBezTo>
                      <a:pt x="18" y="248"/>
                      <a:pt x="18" y="248"/>
                      <a:pt x="18" y="248"/>
                    </a:cubicBezTo>
                    <a:cubicBezTo>
                      <a:pt x="18" y="248"/>
                      <a:pt x="18" y="248"/>
                      <a:pt x="18" y="248"/>
                    </a:cubicBezTo>
                    <a:cubicBezTo>
                      <a:pt x="17" y="250"/>
                      <a:pt x="17" y="250"/>
                      <a:pt x="17" y="250"/>
                    </a:cubicBezTo>
                    <a:cubicBezTo>
                      <a:pt x="17" y="250"/>
                      <a:pt x="17" y="250"/>
                      <a:pt x="17" y="250"/>
                    </a:cubicBezTo>
                    <a:cubicBezTo>
                      <a:pt x="18" y="251"/>
                      <a:pt x="18" y="251"/>
                      <a:pt x="18" y="251"/>
                    </a:cubicBezTo>
                    <a:cubicBezTo>
                      <a:pt x="19" y="252"/>
                      <a:pt x="19" y="252"/>
                      <a:pt x="19" y="252"/>
                    </a:cubicBezTo>
                    <a:cubicBezTo>
                      <a:pt x="19" y="252"/>
                      <a:pt x="19" y="252"/>
                      <a:pt x="19" y="252"/>
                    </a:cubicBezTo>
                    <a:cubicBezTo>
                      <a:pt x="21" y="253"/>
                      <a:pt x="23" y="254"/>
                      <a:pt x="25" y="255"/>
                    </a:cubicBezTo>
                    <a:cubicBezTo>
                      <a:pt x="26" y="255"/>
                      <a:pt x="27" y="256"/>
                      <a:pt x="28" y="256"/>
                    </a:cubicBezTo>
                    <a:cubicBezTo>
                      <a:pt x="28" y="256"/>
                      <a:pt x="29" y="257"/>
                      <a:pt x="29" y="257"/>
                    </a:cubicBezTo>
                    <a:cubicBezTo>
                      <a:pt x="31" y="258"/>
                      <a:pt x="32" y="259"/>
                      <a:pt x="32" y="259"/>
                    </a:cubicBezTo>
                    <a:cubicBezTo>
                      <a:pt x="34" y="259"/>
                      <a:pt x="34" y="259"/>
                      <a:pt x="34" y="259"/>
                    </a:cubicBezTo>
                    <a:cubicBezTo>
                      <a:pt x="36" y="258"/>
                      <a:pt x="38" y="258"/>
                      <a:pt x="40" y="258"/>
                    </a:cubicBezTo>
                    <a:cubicBezTo>
                      <a:pt x="40" y="258"/>
                      <a:pt x="40" y="258"/>
                      <a:pt x="41" y="258"/>
                    </a:cubicBezTo>
                    <a:cubicBezTo>
                      <a:pt x="41" y="258"/>
                      <a:pt x="42" y="258"/>
                      <a:pt x="42" y="258"/>
                    </a:cubicBezTo>
                    <a:cubicBezTo>
                      <a:pt x="44" y="259"/>
                      <a:pt x="45" y="260"/>
                      <a:pt x="46" y="261"/>
                    </a:cubicBezTo>
                    <a:cubicBezTo>
                      <a:pt x="46" y="262"/>
                      <a:pt x="47" y="263"/>
                      <a:pt x="47" y="264"/>
                    </a:cubicBezTo>
                    <a:cubicBezTo>
                      <a:pt x="47" y="265"/>
                      <a:pt x="47" y="266"/>
                      <a:pt x="47" y="267"/>
                    </a:cubicBezTo>
                    <a:cubicBezTo>
                      <a:pt x="46" y="268"/>
                      <a:pt x="46" y="269"/>
                      <a:pt x="45" y="269"/>
                    </a:cubicBezTo>
                    <a:cubicBezTo>
                      <a:pt x="44" y="270"/>
                      <a:pt x="44" y="270"/>
                      <a:pt x="44" y="270"/>
                    </a:cubicBezTo>
                    <a:cubicBezTo>
                      <a:pt x="45" y="270"/>
                      <a:pt x="45" y="270"/>
                      <a:pt x="45" y="270"/>
                    </a:cubicBezTo>
                    <a:cubicBezTo>
                      <a:pt x="45" y="271"/>
                      <a:pt x="45" y="271"/>
                      <a:pt x="45" y="271"/>
                    </a:cubicBezTo>
                    <a:cubicBezTo>
                      <a:pt x="45" y="270"/>
                      <a:pt x="46" y="269"/>
                      <a:pt x="47" y="268"/>
                    </a:cubicBezTo>
                    <a:cubicBezTo>
                      <a:pt x="48" y="268"/>
                      <a:pt x="48" y="268"/>
                      <a:pt x="48" y="268"/>
                    </a:cubicBezTo>
                    <a:cubicBezTo>
                      <a:pt x="49" y="267"/>
                      <a:pt x="50" y="267"/>
                      <a:pt x="50" y="267"/>
                    </a:cubicBezTo>
                    <a:cubicBezTo>
                      <a:pt x="51" y="267"/>
                      <a:pt x="51" y="267"/>
                      <a:pt x="51" y="267"/>
                    </a:cubicBezTo>
                    <a:cubicBezTo>
                      <a:pt x="53" y="266"/>
                      <a:pt x="54" y="266"/>
                      <a:pt x="56" y="265"/>
                    </a:cubicBezTo>
                    <a:cubicBezTo>
                      <a:pt x="56" y="265"/>
                      <a:pt x="57" y="265"/>
                      <a:pt x="57" y="265"/>
                    </a:cubicBezTo>
                    <a:cubicBezTo>
                      <a:pt x="57" y="265"/>
                      <a:pt x="57" y="265"/>
                      <a:pt x="57" y="265"/>
                    </a:cubicBezTo>
                    <a:cubicBezTo>
                      <a:pt x="58" y="265"/>
                      <a:pt x="58" y="265"/>
                      <a:pt x="58" y="265"/>
                    </a:cubicBezTo>
                    <a:cubicBezTo>
                      <a:pt x="58" y="265"/>
                      <a:pt x="59" y="265"/>
                      <a:pt x="60" y="265"/>
                    </a:cubicBezTo>
                    <a:cubicBezTo>
                      <a:pt x="61" y="266"/>
                      <a:pt x="61" y="266"/>
                      <a:pt x="61" y="266"/>
                    </a:cubicBezTo>
                    <a:cubicBezTo>
                      <a:pt x="62" y="267"/>
                      <a:pt x="62" y="268"/>
                      <a:pt x="63" y="269"/>
                    </a:cubicBezTo>
                    <a:cubicBezTo>
                      <a:pt x="66" y="272"/>
                      <a:pt x="70" y="276"/>
                      <a:pt x="73" y="279"/>
                    </a:cubicBezTo>
                    <a:cubicBezTo>
                      <a:pt x="73" y="279"/>
                      <a:pt x="73" y="279"/>
                      <a:pt x="73" y="279"/>
                    </a:cubicBezTo>
                    <a:cubicBezTo>
                      <a:pt x="74" y="275"/>
                      <a:pt x="74" y="271"/>
                      <a:pt x="74" y="268"/>
                    </a:cubicBezTo>
                    <a:cubicBezTo>
                      <a:pt x="74" y="267"/>
                      <a:pt x="75" y="267"/>
                      <a:pt x="75" y="266"/>
                    </a:cubicBezTo>
                    <a:cubicBezTo>
                      <a:pt x="75" y="266"/>
                      <a:pt x="75" y="266"/>
                      <a:pt x="75" y="266"/>
                    </a:cubicBezTo>
                    <a:cubicBezTo>
                      <a:pt x="75" y="265"/>
                      <a:pt x="75" y="265"/>
                      <a:pt x="75" y="265"/>
                    </a:cubicBezTo>
                    <a:cubicBezTo>
                      <a:pt x="75" y="264"/>
                      <a:pt x="75" y="263"/>
                      <a:pt x="76" y="263"/>
                    </a:cubicBezTo>
                    <a:cubicBezTo>
                      <a:pt x="76" y="262"/>
                      <a:pt x="76" y="262"/>
                      <a:pt x="76" y="262"/>
                    </a:cubicBezTo>
                    <a:cubicBezTo>
                      <a:pt x="77" y="261"/>
                      <a:pt x="77" y="261"/>
                      <a:pt x="77" y="261"/>
                    </a:cubicBezTo>
                    <a:cubicBezTo>
                      <a:pt x="78" y="259"/>
                      <a:pt x="78" y="259"/>
                      <a:pt x="78" y="259"/>
                    </a:cubicBezTo>
                    <a:cubicBezTo>
                      <a:pt x="74" y="256"/>
                      <a:pt x="74" y="256"/>
                      <a:pt x="74" y="256"/>
                    </a:cubicBezTo>
                    <a:cubicBezTo>
                      <a:pt x="79" y="258"/>
                      <a:pt x="79" y="258"/>
                      <a:pt x="79" y="258"/>
                    </a:cubicBezTo>
                    <a:cubicBezTo>
                      <a:pt x="79" y="258"/>
                      <a:pt x="79" y="258"/>
                      <a:pt x="79" y="258"/>
                    </a:cubicBezTo>
                    <a:cubicBezTo>
                      <a:pt x="80" y="258"/>
                      <a:pt x="80" y="257"/>
                      <a:pt x="80" y="257"/>
                    </a:cubicBezTo>
                    <a:cubicBezTo>
                      <a:pt x="85" y="247"/>
                      <a:pt x="85" y="247"/>
                      <a:pt x="85" y="247"/>
                    </a:cubicBezTo>
                    <a:cubicBezTo>
                      <a:pt x="85" y="247"/>
                      <a:pt x="85" y="247"/>
                      <a:pt x="85" y="246"/>
                    </a:cubicBezTo>
                    <a:cubicBezTo>
                      <a:pt x="85" y="246"/>
                      <a:pt x="85" y="245"/>
                      <a:pt x="85" y="245"/>
                    </a:cubicBezTo>
                    <a:cubicBezTo>
                      <a:pt x="86" y="243"/>
                      <a:pt x="86" y="242"/>
                      <a:pt x="87" y="240"/>
                    </a:cubicBezTo>
                    <a:cubicBezTo>
                      <a:pt x="89" y="238"/>
                      <a:pt x="96" y="234"/>
                      <a:pt x="99" y="233"/>
                    </a:cubicBezTo>
                    <a:cubicBezTo>
                      <a:pt x="102" y="232"/>
                      <a:pt x="104" y="232"/>
                      <a:pt x="106" y="232"/>
                    </a:cubicBezTo>
                    <a:cubicBezTo>
                      <a:pt x="110" y="231"/>
                      <a:pt x="115" y="229"/>
                      <a:pt x="120" y="229"/>
                    </a:cubicBezTo>
                    <a:cubicBezTo>
                      <a:pt x="121" y="229"/>
                      <a:pt x="121" y="229"/>
                      <a:pt x="121" y="229"/>
                    </a:cubicBezTo>
                    <a:cubicBezTo>
                      <a:pt x="122" y="229"/>
                      <a:pt x="122" y="229"/>
                      <a:pt x="122" y="229"/>
                    </a:cubicBezTo>
                    <a:cubicBezTo>
                      <a:pt x="122" y="229"/>
                      <a:pt x="122" y="229"/>
                      <a:pt x="122" y="229"/>
                    </a:cubicBezTo>
                    <a:cubicBezTo>
                      <a:pt x="122" y="229"/>
                      <a:pt x="122" y="229"/>
                      <a:pt x="122" y="229"/>
                    </a:cubicBezTo>
                    <a:cubicBezTo>
                      <a:pt x="123" y="229"/>
                      <a:pt x="124" y="229"/>
                      <a:pt x="125" y="230"/>
                    </a:cubicBezTo>
                    <a:cubicBezTo>
                      <a:pt x="126" y="230"/>
                      <a:pt x="127" y="230"/>
                      <a:pt x="128" y="231"/>
                    </a:cubicBezTo>
                    <a:cubicBezTo>
                      <a:pt x="129" y="231"/>
                      <a:pt x="130" y="232"/>
                      <a:pt x="131" y="232"/>
                    </a:cubicBezTo>
                    <a:cubicBezTo>
                      <a:pt x="131" y="232"/>
                      <a:pt x="132" y="232"/>
                      <a:pt x="133" y="232"/>
                    </a:cubicBezTo>
                    <a:cubicBezTo>
                      <a:pt x="133" y="232"/>
                      <a:pt x="133" y="232"/>
                      <a:pt x="133" y="232"/>
                    </a:cubicBezTo>
                    <a:cubicBezTo>
                      <a:pt x="136" y="233"/>
                      <a:pt x="140" y="233"/>
                      <a:pt x="142" y="235"/>
                    </a:cubicBezTo>
                    <a:cubicBezTo>
                      <a:pt x="144" y="237"/>
                      <a:pt x="144" y="237"/>
                      <a:pt x="144" y="237"/>
                    </a:cubicBezTo>
                    <a:cubicBezTo>
                      <a:pt x="145" y="238"/>
                      <a:pt x="147" y="239"/>
                      <a:pt x="148" y="240"/>
                    </a:cubicBezTo>
                    <a:cubicBezTo>
                      <a:pt x="157" y="250"/>
                      <a:pt x="157" y="250"/>
                      <a:pt x="157" y="250"/>
                    </a:cubicBezTo>
                    <a:cubicBezTo>
                      <a:pt x="158" y="250"/>
                      <a:pt x="158" y="250"/>
                      <a:pt x="158" y="250"/>
                    </a:cubicBezTo>
                    <a:cubicBezTo>
                      <a:pt x="160" y="249"/>
                      <a:pt x="160" y="249"/>
                      <a:pt x="160" y="249"/>
                    </a:cubicBezTo>
                    <a:cubicBezTo>
                      <a:pt x="160" y="248"/>
                      <a:pt x="161" y="248"/>
                      <a:pt x="161" y="248"/>
                    </a:cubicBezTo>
                    <a:cubicBezTo>
                      <a:pt x="162" y="247"/>
                      <a:pt x="163" y="247"/>
                      <a:pt x="164" y="246"/>
                    </a:cubicBezTo>
                    <a:cubicBezTo>
                      <a:pt x="165" y="246"/>
                      <a:pt x="165" y="246"/>
                      <a:pt x="165" y="246"/>
                    </a:cubicBezTo>
                    <a:cubicBezTo>
                      <a:pt x="168" y="244"/>
                      <a:pt x="171" y="243"/>
                      <a:pt x="175" y="242"/>
                    </a:cubicBezTo>
                    <a:cubicBezTo>
                      <a:pt x="176" y="242"/>
                      <a:pt x="177" y="242"/>
                      <a:pt x="177" y="242"/>
                    </a:cubicBezTo>
                    <a:cubicBezTo>
                      <a:pt x="178" y="242"/>
                      <a:pt x="178" y="242"/>
                      <a:pt x="179" y="242"/>
                    </a:cubicBezTo>
                    <a:cubicBezTo>
                      <a:pt x="179" y="242"/>
                      <a:pt x="179" y="242"/>
                      <a:pt x="179" y="242"/>
                    </a:cubicBezTo>
                    <a:cubicBezTo>
                      <a:pt x="180" y="242"/>
                      <a:pt x="180" y="242"/>
                      <a:pt x="181" y="242"/>
                    </a:cubicBezTo>
                    <a:cubicBezTo>
                      <a:pt x="182" y="243"/>
                      <a:pt x="182" y="243"/>
                      <a:pt x="182" y="243"/>
                    </a:cubicBezTo>
                    <a:cubicBezTo>
                      <a:pt x="182" y="243"/>
                      <a:pt x="182" y="243"/>
                      <a:pt x="183" y="243"/>
                    </a:cubicBezTo>
                    <a:cubicBezTo>
                      <a:pt x="185" y="244"/>
                      <a:pt x="187" y="245"/>
                      <a:pt x="189" y="246"/>
                    </a:cubicBezTo>
                    <a:cubicBezTo>
                      <a:pt x="190" y="247"/>
                      <a:pt x="191" y="247"/>
                      <a:pt x="192" y="248"/>
                    </a:cubicBezTo>
                    <a:cubicBezTo>
                      <a:pt x="198" y="251"/>
                      <a:pt x="198" y="251"/>
                      <a:pt x="198" y="251"/>
                    </a:cubicBezTo>
                    <a:cubicBezTo>
                      <a:pt x="201" y="252"/>
                      <a:pt x="205" y="254"/>
                      <a:pt x="210" y="254"/>
                    </a:cubicBezTo>
                    <a:cubicBezTo>
                      <a:pt x="211" y="254"/>
                      <a:pt x="211" y="254"/>
                      <a:pt x="211" y="254"/>
                    </a:cubicBezTo>
                    <a:cubicBezTo>
                      <a:pt x="211" y="254"/>
                      <a:pt x="211" y="254"/>
                      <a:pt x="211" y="254"/>
                    </a:cubicBezTo>
                    <a:cubicBezTo>
                      <a:pt x="212" y="254"/>
                      <a:pt x="212" y="254"/>
                      <a:pt x="212" y="254"/>
                    </a:cubicBezTo>
                    <a:cubicBezTo>
                      <a:pt x="213" y="254"/>
                      <a:pt x="213" y="254"/>
                      <a:pt x="213" y="254"/>
                    </a:cubicBezTo>
                    <a:cubicBezTo>
                      <a:pt x="214" y="254"/>
                      <a:pt x="214" y="254"/>
                      <a:pt x="214" y="254"/>
                    </a:cubicBezTo>
                    <a:cubicBezTo>
                      <a:pt x="215" y="255"/>
                      <a:pt x="215" y="255"/>
                      <a:pt x="216" y="255"/>
                    </a:cubicBezTo>
                    <a:cubicBezTo>
                      <a:pt x="216" y="255"/>
                      <a:pt x="216" y="255"/>
                      <a:pt x="216" y="255"/>
                    </a:cubicBezTo>
                    <a:cubicBezTo>
                      <a:pt x="217" y="254"/>
                      <a:pt x="217" y="254"/>
                      <a:pt x="217" y="254"/>
                    </a:cubicBezTo>
                    <a:cubicBezTo>
                      <a:pt x="217" y="254"/>
                      <a:pt x="217" y="254"/>
                      <a:pt x="218" y="254"/>
                    </a:cubicBezTo>
                    <a:cubicBezTo>
                      <a:pt x="220" y="251"/>
                      <a:pt x="220" y="251"/>
                      <a:pt x="220" y="251"/>
                    </a:cubicBezTo>
                    <a:cubicBezTo>
                      <a:pt x="222" y="249"/>
                      <a:pt x="223" y="248"/>
                      <a:pt x="225" y="246"/>
                    </a:cubicBezTo>
                    <a:cubicBezTo>
                      <a:pt x="227" y="245"/>
                      <a:pt x="230" y="243"/>
                      <a:pt x="234" y="242"/>
                    </a:cubicBezTo>
                    <a:cubicBezTo>
                      <a:pt x="237" y="241"/>
                      <a:pt x="240" y="241"/>
                      <a:pt x="242" y="241"/>
                    </a:cubicBezTo>
                    <a:cubicBezTo>
                      <a:pt x="244" y="241"/>
                      <a:pt x="246" y="241"/>
                      <a:pt x="247" y="241"/>
                    </a:cubicBezTo>
                    <a:cubicBezTo>
                      <a:pt x="249" y="241"/>
                      <a:pt x="251" y="241"/>
                      <a:pt x="253" y="241"/>
                    </a:cubicBezTo>
                    <a:cubicBezTo>
                      <a:pt x="254" y="241"/>
                      <a:pt x="254" y="241"/>
                      <a:pt x="254" y="241"/>
                    </a:cubicBezTo>
                    <a:cubicBezTo>
                      <a:pt x="256" y="241"/>
                      <a:pt x="258" y="241"/>
                      <a:pt x="260" y="241"/>
                    </a:cubicBezTo>
                    <a:cubicBezTo>
                      <a:pt x="261" y="241"/>
                      <a:pt x="261" y="241"/>
                      <a:pt x="261" y="241"/>
                    </a:cubicBezTo>
                    <a:cubicBezTo>
                      <a:pt x="262" y="242"/>
                      <a:pt x="264" y="242"/>
                      <a:pt x="266" y="242"/>
                    </a:cubicBezTo>
                    <a:cubicBezTo>
                      <a:pt x="269" y="243"/>
                      <a:pt x="269" y="243"/>
                      <a:pt x="269" y="243"/>
                    </a:cubicBezTo>
                    <a:cubicBezTo>
                      <a:pt x="270" y="244"/>
                      <a:pt x="271" y="244"/>
                      <a:pt x="271" y="244"/>
                    </a:cubicBezTo>
                    <a:cubicBezTo>
                      <a:pt x="272" y="244"/>
                      <a:pt x="272" y="244"/>
                      <a:pt x="272" y="244"/>
                    </a:cubicBezTo>
                    <a:cubicBezTo>
                      <a:pt x="283" y="248"/>
                      <a:pt x="283" y="248"/>
                      <a:pt x="283" y="248"/>
                    </a:cubicBezTo>
                    <a:cubicBezTo>
                      <a:pt x="289" y="242"/>
                      <a:pt x="289" y="242"/>
                      <a:pt x="289" y="242"/>
                    </a:cubicBezTo>
                    <a:cubicBezTo>
                      <a:pt x="289" y="241"/>
                      <a:pt x="289" y="241"/>
                      <a:pt x="289" y="241"/>
                    </a:cubicBezTo>
                    <a:cubicBezTo>
                      <a:pt x="290" y="241"/>
                      <a:pt x="290" y="241"/>
                      <a:pt x="290" y="241"/>
                    </a:cubicBezTo>
                    <a:cubicBezTo>
                      <a:pt x="290" y="240"/>
                      <a:pt x="292" y="239"/>
                      <a:pt x="293" y="238"/>
                    </a:cubicBezTo>
                    <a:cubicBezTo>
                      <a:pt x="293" y="238"/>
                      <a:pt x="293" y="238"/>
                      <a:pt x="293" y="238"/>
                    </a:cubicBezTo>
                    <a:cubicBezTo>
                      <a:pt x="294" y="238"/>
                      <a:pt x="294" y="238"/>
                      <a:pt x="294" y="238"/>
                    </a:cubicBezTo>
                    <a:cubicBezTo>
                      <a:pt x="295" y="237"/>
                      <a:pt x="295" y="237"/>
                      <a:pt x="295" y="237"/>
                    </a:cubicBezTo>
                    <a:cubicBezTo>
                      <a:pt x="296" y="237"/>
                      <a:pt x="296" y="237"/>
                      <a:pt x="297" y="236"/>
                    </a:cubicBezTo>
                    <a:cubicBezTo>
                      <a:pt x="298" y="236"/>
                      <a:pt x="298" y="236"/>
                      <a:pt x="298" y="236"/>
                    </a:cubicBezTo>
                    <a:cubicBezTo>
                      <a:pt x="298" y="236"/>
                      <a:pt x="299" y="235"/>
                      <a:pt x="299" y="235"/>
                    </a:cubicBezTo>
                    <a:cubicBezTo>
                      <a:pt x="301" y="235"/>
                      <a:pt x="302" y="234"/>
                      <a:pt x="304" y="234"/>
                    </a:cubicBezTo>
                    <a:cubicBezTo>
                      <a:pt x="304" y="233"/>
                      <a:pt x="305" y="233"/>
                      <a:pt x="306" y="233"/>
                    </a:cubicBezTo>
                    <a:cubicBezTo>
                      <a:pt x="307" y="233"/>
                      <a:pt x="308" y="233"/>
                      <a:pt x="308" y="233"/>
                    </a:cubicBezTo>
                    <a:cubicBezTo>
                      <a:pt x="308" y="232"/>
                      <a:pt x="308" y="230"/>
                      <a:pt x="307" y="229"/>
                    </a:cubicBezTo>
                    <a:cubicBezTo>
                      <a:pt x="307" y="226"/>
                      <a:pt x="306" y="223"/>
                      <a:pt x="305" y="219"/>
                    </a:cubicBezTo>
                    <a:cubicBezTo>
                      <a:pt x="305" y="218"/>
                      <a:pt x="305" y="218"/>
                      <a:pt x="306" y="217"/>
                    </a:cubicBezTo>
                    <a:cubicBezTo>
                      <a:pt x="306" y="217"/>
                      <a:pt x="306" y="217"/>
                      <a:pt x="306" y="217"/>
                    </a:cubicBezTo>
                    <a:cubicBezTo>
                      <a:pt x="306" y="216"/>
                      <a:pt x="306" y="216"/>
                      <a:pt x="306" y="216"/>
                    </a:cubicBezTo>
                    <a:cubicBezTo>
                      <a:pt x="308" y="214"/>
                      <a:pt x="308" y="214"/>
                      <a:pt x="308" y="214"/>
                    </a:cubicBezTo>
                    <a:cubicBezTo>
                      <a:pt x="308" y="215"/>
                      <a:pt x="308" y="215"/>
                      <a:pt x="308" y="215"/>
                    </a:cubicBezTo>
                    <a:cubicBezTo>
                      <a:pt x="309" y="214"/>
                      <a:pt x="309" y="214"/>
                      <a:pt x="310" y="214"/>
                    </a:cubicBezTo>
                    <a:cubicBezTo>
                      <a:pt x="310" y="214"/>
                      <a:pt x="310" y="214"/>
                      <a:pt x="310" y="214"/>
                    </a:cubicBezTo>
                    <a:cubicBezTo>
                      <a:pt x="321" y="195"/>
                      <a:pt x="321" y="195"/>
                      <a:pt x="321" y="195"/>
                    </a:cubicBezTo>
                    <a:cubicBezTo>
                      <a:pt x="325" y="188"/>
                      <a:pt x="329" y="184"/>
                      <a:pt x="333" y="179"/>
                    </a:cubicBezTo>
                    <a:cubicBezTo>
                      <a:pt x="334" y="178"/>
                      <a:pt x="334" y="178"/>
                      <a:pt x="334" y="178"/>
                    </a:cubicBezTo>
                    <a:cubicBezTo>
                      <a:pt x="337" y="175"/>
                      <a:pt x="341" y="171"/>
                      <a:pt x="344" y="167"/>
                    </a:cubicBezTo>
                    <a:cubicBezTo>
                      <a:pt x="350" y="161"/>
                      <a:pt x="350" y="161"/>
                      <a:pt x="350" y="161"/>
                    </a:cubicBezTo>
                    <a:cubicBezTo>
                      <a:pt x="350" y="161"/>
                      <a:pt x="351" y="160"/>
                      <a:pt x="351" y="160"/>
                    </a:cubicBezTo>
                    <a:cubicBezTo>
                      <a:pt x="351" y="160"/>
                      <a:pt x="351" y="160"/>
                      <a:pt x="351" y="160"/>
                    </a:cubicBezTo>
                    <a:cubicBezTo>
                      <a:pt x="352" y="159"/>
                      <a:pt x="352" y="159"/>
                      <a:pt x="353" y="158"/>
                    </a:cubicBezTo>
                    <a:cubicBezTo>
                      <a:pt x="353" y="158"/>
                      <a:pt x="353" y="158"/>
                      <a:pt x="353" y="158"/>
                    </a:cubicBezTo>
                    <a:cubicBezTo>
                      <a:pt x="353" y="157"/>
                      <a:pt x="353" y="156"/>
                      <a:pt x="353" y="155"/>
                    </a:cubicBezTo>
                    <a:cubicBezTo>
                      <a:pt x="353" y="155"/>
                      <a:pt x="353" y="154"/>
                      <a:pt x="353" y="154"/>
                    </a:cubicBezTo>
                    <a:cubicBezTo>
                      <a:pt x="354" y="140"/>
                      <a:pt x="354" y="140"/>
                      <a:pt x="354" y="140"/>
                    </a:cubicBezTo>
                    <a:cubicBezTo>
                      <a:pt x="350" y="139"/>
                      <a:pt x="350" y="139"/>
                      <a:pt x="350" y="139"/>
                    </a:cubicBezTo>
                    <a:cubicBezTo>
                      <a:pt x="354" y="138"/>
                      <a:pt x="354" y="138"/>
                      <a:pt x="354" y="138"/>
                    </a:cubicBezTo>
                    <a:cubicBezTo>
                      <a:pt x="354" y="138"/>
                      <a:pt x="354" y="138"/>
                      <a:pt x="354" y="138"/>
                    </a:cubicBezTo>
                    <a:cubicBezTo>
                      <a:pt x="355" y="126"/>
                      <a:pt x="356" y="110"/>
                      <a:pt x="358" y="96"/>
                    </a:cubicBezTo>
                    <a:cubicBezTo>
                      <a:pt x="358" y="94"/>
                      <a:pt x="358" y="94"/>
                      <a:pt x="358" y="94"/>
                    </a:cubicBezTo>
                    <a:cubicBezTo>
                      <a:pt x="358" y="89"/>
                      <a:pt x="359" y="85"/>
                      <a:pt x="362" y="79"/>
                    </a:cubicBezTo>
                    <a:cubicBezTo>
                      <a:pt x="362" y="79"/>
                      <a:pt x="362" y="79"/>
                      <a:pt x="363" y="78"/>
                    </a:cubicBezTo>
                    <a:cubicBezTo>
                      <a:pt x="363" y="77"/>
                      <a:pt x="364" y="77"/>
                      <a:pt x="364" y="76"/>
                    </a:cubicBezTo>
                    <a:cubicBezTo>
                      <a:pt x="364" y="76"/>
                      <a:pt x="364" y="76"/>
                      <a:pt x="364" y="76"/>
                    </a:cubicBezTo>
                    <a:cubicBezTo>
                      <a:pt x="364" y="75"/>
                      <a:pt x="364" y="75"/>
                      <a:pt x="364" y="75"/>
                    </a:cubicBezTo>
                    <a:cubicBezTo>
                      <a:pt x="364" y="75"/>
                      <a:pt x="363" y="74"/>
                      <a:pt x="361" y="72"/>
                    </a:cubicBezTo>
                    <a:cubicBezTo>
                      <a:pt x="360" y="71"/>
                      <a:pt x="360" y="71"/>
                      <a:pt x="359" y="70"/>
                    </a:cubicBezTo>
                    <a:cubicBezTo>
                      <a:pt x="359" y="70"/>
                      <a:pt x="359" y="70"/>
                      <a:pt x="358" y="69"/>
                    </a:cubicBezTo>
                    <a:cubicBezTo>
                      <a:pt x="357" y="68"/>
                      <a:pt x="357" y="68"/>
                      <a:pt x="357" y="68"/>
                    </a:cubicBezTo>
                    <a:cubicBezTo>
                      <a:pt x="357" y="68"/>
                      <a:pt x="357" y="68"/>
                      <a:pt x="357" y="68"/>
                    </a:cubicBezTo>
                    <a:cubicBezTo>
                      <a:pt x="355" y="66"/>
                      <a:pt x="355" y="64"/>
                      <a:pt x="355" y="62"/>
                    </a:cubicBezTo>
                    <a:cubicBezTo>
                      <a:pt x="355" y="61"/>
                      <a:pt x="355" y="60"/>
                      <a:pt x="355" y="60"/>
                    </a:cubicBezTo>
                    <a:cubicBezTo>
                      <a:pt x="354" y="59"/>
                      <a:pt x="354" y="59"/>
                      <a:pt x="354" y="59"/>
                    </a:cubicBezTo>
                    <a:cubicBezTo>
                      <a:pt x="354" y="58"/>
                      <a:pt x="353" y="57"/>
                      <a:pt x="352" y="55"/>
                    </a:cubicBezTo>
                    <a:cubicBezTo>
                      <a:pt x="352" y="54"/>
                      <a:pt x="351" y="53"/>
                      <a:pt x="350" y="53"/>
                    </a:cubicBezTo>
                    <a:cubicBezTo>
                      <a:pt x="350" y="52"/>
                      <a:pt x="350" y="52"/>
                      <a:pt x="350" y="52"/>
                    </a:cubicBezTo>
                    <a:cubicBezTo>
                      <a:pt x="349" y="51"/>
                      <a:pt x="349" y="51"/>
                      <a:pt x="348" y="50"/>
                    </a:cubicBezTo>
                    <a:cubicBezTo>
                      <a:pt x="346" y="46"/>
                      <a:pt x="346" y="42"/>
                      <a:pt x="346" y="39"/>
                    </a:cubicBezTo>
                    <a:cubicBezTo>
                      <a:pt x="345" y="37"/>
                      <a:pt x="345" y="37"/>
                      <a:pt x="345" y="37"/>
                    </a:cubicBezTo>
                    <a:cubicBezTo>
                      <a:pt x="345" y="36"/>
                      <a:pt x="345" y="36"/>
                      <a:pt x="345" y="36"/>
                    </a:cubicBezTo>
                    <a:cubicBezTo>
                      <a:pt x="345" y="35"/>
                      <a:pt x="345" y="35"/>
                      <a:pt x="345" y="35"/>
                    </a:cubicBezTo>
                    <a:cubicBezTo>
                      <a:pt x="345" y="33"/>
                      <a:pt x="345" y="31"/>
                      <a:pt x="345" y="30"/>
                    </a:cubicBezTo>
                    <a:cubicBezTo>
                      <a:pt x="344" y="26"/>
                      <a:pt x="344" y="21"/>
                      <a:pt x="343" y="17"/>
                    </a:cubicBezTo>
                    <a:cubicBezTo>
                      <a:pt x="342" y="16"/>
                      <a:pt x="342" y="16"/>
                      <a:pt x="342" y="16"/>
                    </a:cubicBezTo>
                    <a:cubicBezTo>
                      <a:pt x="342" y="16"/>
                      <a:pt x="342" y="15"/>
                      <a:pt x="342" y="15"/>
                    </a:cubicBezTo>
                    <a:cubicBezTo>
                      <a:pt x="332" y="19"/>
                      <a:pt x="332" y="19"/>
                      <a:pt x="332" y="19"/>
                    </a:cubicBezTo>
                    <a:cubicBezTo>
                      <a:pt x="331" y="20"/>
                      <a:pt x="329" y="21"/>
                      <a:pt x="327" y="21"/>
                    </a:cubicBezTo>
                    <a:cubicBezTo>
                      <a:pt x="325" y="21"/>
                      <a:pt x="324" y="21"/>
                      <a:pt x="322" y="20"/>
                    </a:cubicBezTo>
                    <a:cubicBezTo>
                      <a:pt x="321" y="19"/>
                      <a:pt x="320" y="18"/>
                      <a:pt x="319" y="17"/>
                    </a:cubicBezTo>
                    <a:cubicBezTo>
                      <a:pt x="319" y="17"/>
                      <a:pt x="319" y="17"/>
                      <a:pt x="319" y="17"/>
                    </a:cubicBezTo>
                    <a:cubicBezTo>
                      <a:pt x="318" y="16"/>
                      <a:pt x="318" y="16"/>
                      <a:pt x="317" y="15"/>
                    </a:cubicBezTo>
                    <a:cubicBezTo>
                      <a:pt x="313" y="12"/>
                      <a:pt x="313" y="12"/>
                      <a:pt x="313" y="12"/>
                    </a:cubicBezTo>
                    <a:cubicBezTo>
                      <a:pt x="311" y="10"/>
                      <a:pt x="309" y="8"/>
                      <a:pt x="307" y="8"/>
                    </a:cubicBezTo>
                    <a:cubicBezTo>
                      <a:pt x="274" y="0"/>
                      <a:pt x="274" y="0"/>
                      <a:pt x="2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191"/>
              <p:cNvSpPr/>
              <p:nvPr/>
            </p:nvSpPr>
            <p:spPr bwMode="auto">
              <a:xfrm>
                <a:off x="5043" y="935"/>
                <a:ext cx="608" cy="570"/>
              </a:xfrm>
              <a:custGeom>
                <a:gdLst>
                  <a:gd name="T0" fmla="*/ 22 w 257"/>
                  <a:gd name="T1" fmla="*/ 1 h 241"/>
                  <a:gd name="T2" fmla="*/ 8 w 257"/>
                  <a:gd name="T3" fmla="*/ 2 h 241"/>
                  <a:gd name="T4" fmla="*/ 4 w 257"/>
                  <a:gd name="T5" fmla="*/ 8 h 241"/>
                  <a:gd name="T6" fmla="*/ 3 w 257"/>
                  <a:gd name="T7" fmla="*/ 12 h 241"/>
                  <a:gd name="T8" fmla="*/ 4 w 257"/>
                  <a:gd name="T9" fmla="*/ 17 h 241"/>
                  <a:gd name="T10" fmla="*/ 4 w 257"/>
                  <a:gd name="T11" fmla="*/ 30 h 241"/>
                  <a:gd name="T12" fmla="*/ 2 w 257"/>
                  <a:gd name="T13" fmla="*/ 34 h 241"/>
                  <a:gd name="T14" fmla="*/ 0 w 257"/>
                  <a:gd name="T15" fmla="*/ 40 h 241"/>
                  <a:gd name="T16" fmla="*/ 2 w 257"/>
                  <a:gd name="T17" fmla="*/ 46 h 241"/>
                  <a:gd name="T18" fmla="*/ 5 w 257"/>
                  <a:gd name="T19" fmla="*/ 65 h 241"/>
                  <a:gd name="T20" fmla="*/ 6 w 257"/>
                  <a:gd name="T21" fmla="*/ 97 h 241"/>
                  <a:gd name="T22" fmla="*/ 6 w 257"/>
                  <a:gd name="T23" fmla="*/ 241 h 241"/>
                  <a:gd name="T24" fmla="*/ 152 w 257"/>
                  <a:gd name="T25" fmla="*/ 238 h 241"/>
                  <a:gd name="T26" fmla="*/ 157 w 257"/>
                  <a:gd name="T27" fmla="*/ 236 h 241"/>
                  <a:gd name="T28" fmla="*/ 186 w 257"/>
                  <a:gd name="T29" fmla="*/ 241 h 241"/>
                  <a:gd name="T30" fmla="*/ 189 w 257"/>
                  <a:gd name="T31" fmla="*/ 240 h 241"/>
                  <a:gd name="T32" fmla="*/ 196 w 257"/>
                  <a:gd name="T33" fmla="*/ 241 h 241"/>
                  <a:gd name="T34" fmla="*/ 216 w 257"/>
                  <a:gd name="T35" fmla="*/ 239 h 241"/>
                  <a:gd name="T36" fmla="*/ 226 w 257"/>
                  <a:gd name="T37" fmla="*/ 234 h 241"/>
                  <a:gd name="T38" fmla="*/ 231 w 257"/>
                  <a:gd name="T39" fmla="*/ 231 h 241"/>
                  <a:gd name="T40" fmla="*/ 232 w 257"/>
                  <a:gd name="T41" fmla="*/ 229 h 241"/>
                  <a:gd name="T42" fmla="*/ 240 w 257"/>
                  <a:gd name="T43" fmla="*/ 219 h 241"/>
                  <a:gd name="T44" fmla="*/ 249 w 257"/>
                  <a:gd name="T45" fmla="*/ 215 h 241"/>
                  <a:gd name="T46" fmla="*/ 253 w 257"/>
                  <a:gd name="T47" fmla="*/ 213 h 241"/>
                  <a:gd name="T48" fmla="*/ 252 w 257"/>
                  <a:gd name="T49" fmla="*/ 210 h 241"/>
                  <a:gd name="T50" fmla="*/ 251 w 257"/>
                  <a:gd name="T51" fmla="*/ 195 h 241"/>
                  <a:gd name="T52" fmla="*/ 253 w 257"/>
                  <a:gd name="T53" fmla="*/ 195 h 241"/>
                  <a:gd name="T54" fmla="*/ 257 w 257"/>
                  <a:gd name="T55" fmla="*/ 195 h 241"/>
                  <a:gd name="T56" fmla="*/ 250 w 257"/>
                  <a:gd name="T57" fmla="*/ 191 h 241"/>
                  <a:gd name="T58" fmla="*/ 218 w 257"/>
                  <a:gd name="T59" fmla="*/ 134 h 241"/>
                  <a:gd name="T60" fmla="*/ 214 w 257"/>
                  <a:gd name="T61" fmla="*/ 127 h 241"/>
                  <a:gd name="T62" fmla="*/ 208 w 257"/>
                  <a:gd name="T63" fmla="*/ 105 h 241"/>
                  <a:gd name="T64" fmla="*/ 199 w 257"/>
                  <a:gd name="T65" fmla="*/ 91 h 241"/>
                  <a:gd name="T66" fmla="*/ 189 w 257"/>
                  <a:gd name="T67" fmla="*/ 79 h 241"/>
                  <a:gd name="T68" fmla="*/ 176 w 257"/>
                  <a:gd name="T69" fmla="*/ 52 h 241"/>
                  <a:gd name="T70" fmla="*/ 180 w 257"/>
                  <a:gd name="T71" fmla="*/ 43 h 241"/>
                  <a:gd name="T72" fmla="*/ 185 w 257"/>
                  <a:gd name="T73" fmla="*/ 56 h 241"/>
                  <a:gd name="T74" fmla="*/ 190 w 257"/>
                  <a:gd name="T75" fmla="*/ 62 h 241"/>
                  <a:gd name="T76" fmla="*/ 197 w 257"/>
                  <a:gd name="T77" fmla="*/ 79 h 241"/>
                  <a:gd name="T78" fmla="*/ 221 w 257"/>
                  <a:gd name="T79" fmla="*/ 100 h 241"/>
                  <a:gd name="T80" fmla="*/ 236 w 257"/>
                  <a:gd name="T81" fmla="*/ 56 h 241"/>
                  <a:gd name="T82" fmla="*/ 220 w 257"/>
                  <a:gd name="T83" fmla="*/ 8 h 241"/>
                  <a:gd name="T84" fmla="*/ 210 w 257"/>
                  <a:gd name="T85" fmla="*/ 12 h 241"/>
                  <a:gd name="T86" fmla="*/ 193 w 257"/>
                  <a:gd name="T87" fmla="*/ 15 h 241"/>
                  <a:gd name="T88" fmla="*/ 192 w 257"/>
                  <a:gd name="T89" fmla="*/ 15 h 241"/>
                  <a:gd name="T90" fmla="*/ 186 w 257"/>
                  <a:gd name="T91" fmla="*/ 15 h 241"/>
                  <a:gd name="T92" fmla="*/ 173 w 257"/>
                  <a:gd name="T93" fmla="*/ 9 h 241"/>
                  <a:gd name="T94" fmla="*/ 163 w 257"/>
                  <a:gd name="T95" fmla="*/ 9 h 241"/>
                  <a:gd name="T96" fmla="*/ 166 w 257"/>
                  <a:gd name="T97" fmla="*/ 2 h 241"/>
                  <a:gd name="T98" fmla="*/ 158 w 257"/>
                  <a:gd name="T99" fmla="*/ 4 h 241"/>
                  <a:gd name="T100" fmla="*/ 145 w 257"/>
                  <a:gd name="T101" fmla="*/ 1 h 241"/>
                  <a:gd name="T102" fmla="*/ 125 w 257"/>
                  <a:gd name="T103" fmla="*/ 9 h 241"/>
                  <a:gd name="T104" fmla="*/ 126 w 257"/>
                  <a:gd name="T105" fmla="*/ 10 h 241"/>
                  <a:gd name="T106" fmla="*/ 123 w 257"/>
                  <a:gd name="T107" fmla="*/ 9 h 241"/>
                  <a:gd name="T108" fmla="*/ 118 w 257"/>
                  <a:gd name="T109" fmla="*/ 12 h 241"/>
                  <a:gd name="T110" fmla="*/ 99 w 257"/>
                  <a:gd name="T111" fmla="*/ 20 h 241"/>
                  <a:gd name="T112" fmla="*/ 75 w 257"/>
                  <a:gd name="T113" fmla="*/ 14 h 241"/>
                  <a:gd name="T114" fmla="*/ 60 w 257"/>
                  <a:gd name="T115" fmla="*/ 9 h 241"/>
                  <a:gd name="T116" fmla="*/ 25 w 257"/>
                  <a:gd name="T117" fmla="*/ 0 h 2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7" h="241">
                    <a:moveTo>
                      <a:pt x="25" y="0"/>
                    </a:moveTo>
                    <a:cubicBezTo>
                      <a:pt x="24" y="0"/>
                      <a:pt x="23" y="1"/>
                      <a:pt x="22" y="1"/>
                    </a:cubicBezTo>
                    <a:cubicBezTo>
                      <a:pt x="19" y="1"/>
                      <a:pt x="15" y="3"/>
                      <a:pt x="11" y="3"/>
                    </a:cubicBezTo>
                    <a:cubicBezTo>
                      <a:pt x="10" y="3"/>
                      <a:pt x="9" y="3"/>
                      <a:pt x="8" y="2"/>
                    </a:cubicBezTo>
                    <a:cubicBezTo>
                      <a:pt x="7" y="3"/>
                      <a:pt x="7" y="3"/>
                      <a:pt x="7" y="3"/>
                    </a:cubicBezTo>
                    <a:cubicBezTo>
                      <a:pt x="6" y="5"/>
                      <a:pt x="4" y="6"/>
                      <a:pt x="4" y="8"/>
                    </a:cubicBezTo>
                    <a:cubicBezTo>
                      <a:pt x="3" y="9"/>
                      <a:pt x="3" y="9"/>
                      <a:pt x="3" y="9"/>
                    </a:cubicBezTo>
                    <a:cubicBezTo>
                      <a:pt x="3" y="9"/>
                      <a:pt x="3" y="11"/>
                      <a:pt x="3" y="12"/>
                    </a:cubicBezTo>
                    <a:cubicBezTo>
                      <a:pt x="4" y="13"/>
                      <a:pt x="4" y="15"/>
                      <a:pt x="4" y="16"/>
                    </a:cubicBezTo>
                    <a:cubicBezTo>
                      <a:pt x="4" y="17"/>
                      <a:pt x="4" y="17"/>
                      <a:pt x="4" y="17"/>
                    </a:cubicBezTo>
                    <a:cubicBezTo>
                      <a:pt x="5" y="18"/>
                      <a:pt x="5" y="19"/>
                      <a:pt x="5" y="21"/>
                    </a:cubicBezTo>
                    <a:cubicBezTo>
                      <a:pt x="6" y="23"/>
                      <a:pt x="6" y="26"/>
                      <a:pt x="4" y="30"/>
                    </a:cubicBezTo>
                    <a:cubicBezTo>
                      <a:pt x="4" y="31"/>
                      <a:pt x="4" y="31"/>
                      <a:pt x="4" y="31"/>
                    </a:cubicBezTo>
                    <a:cubicBezTo>
                      <a:pt x="4" y="32"/>
                      <a:pt x="3" y="33"/>
                      <a:pt x="2" y="34"/>
                    </a:cubicBezTo>
                    <a:cubicBezTo>
                      <a:pt x="1" y="35"/>
                      <a:pt x="0" y="37"/>
                      <a:pt x="0" y="38"/>
                    </a:cubicBezTo>
                    <a:cubicBezTo>
                      <a:pt x="0" y="40"/>
                      <a:pt x="0" y="40"/>
                      <a:pt x="0" y="40"/>
                    </a:cubicBezTo>
                    <a:cubicBezTo>
                      <a:pt x="1" y="42"/>
                      <a:pt x="1" y="43"/>
                      <a:pt x="2" y="45"/>
                    </a:cubicBezTo>
                    <a:cubicBezTo>
                      <a:pt x="2" y="45"/>
                      <a:pt x="2" y="46"/>
                      <a:pt x="2" y="46"/>
                    </a:cubicBezTo>
                    <a:cubicBezTo>
                      <a:pt x="2" y="47"/>
                      <a:pt x="2" y="47"/>
                      <a:pt x="2" y="48"/>
                    </a:cubicBezTo>
                    <a:cubicBezTo>
                      <a:pt x="4" y="53"/>
                      <a:pt x="5" y="58"/>
                      <a:pt x="5" y="65"/>
                    </a:cubicBezTo>
                    <a:cubicBezTo>
                      <a:pt x="6" y="68"/>
                      <a:pt x="6" y="72"/>
                      <a:pt x="6" y="75"/>
                    </a:cubicBezTo>
                    <a:cubicBezTo>
                      <a:pt x="6" y="82"/>
                      <a:pt x="6" y="90"/>
                      <a:pt x="6" y="97"/>
                    </a:cubicBezTo>
                    <a:cubicBezTo>
                      <a:pt x="6" y="106"/>
                      <a:pt x="6" y="106"/>
                      <a:pt x="6" y="106"/>
                    </a:cubicBezTo>
                    <a:cubicBezTo>
                      <a:pt x="6" y="241"/>
                      <a:pt x="6" y="241"/>
                      <a:pt x="6" y="241"/>
                    </a:cubicBezTo>
                    <a:cubicBezTo>
                      <a:pt x="151" y="239"/>
                      <a:pt x="151" y="239"/>
                      <a:pt x="151" y="239"/>
                    </a:cubicBezTo>
                    <a:cubicBezTo>
                      <a:pt x="152" y="238"/>
                      <a:pt x="152" y="238"/>
                      <a:pt x="152" y="238"/>
                    </a:cubicBezTo>
                    <a:cubicBezTo>
                      <a:pt x="153" y="237"/>
                      <a:pt x="154" y="235"/>
                      <a:pt x="156" y="235"/>
                    </a:cubicBezTo>
                    <a:cubicBezTo>
                      <a:pt x="156" y="235"/>
                      <a:pt x="157" y="235"/>
                      <a:pt x="157" y="236"/>
                    </a:cubicBezTo>
                    <a:cubicBezTo>
                      <a:pt x="159" y="237"/>
                      <a:pt x="160" y="239"/>
                      <a:pt x="160" y="241"/>
                    </a:cubicBezTo>
                    <a:cubicBezTo>
                      <a:pt x="186" y="241"/>
                      <a:pt x="186" y="241"/>
                      <a:pt x="186" y="241"/>
                    </a:cubicBezTo>
                    <a:cubicBezTo>
                      <a:pt x="187" y="241"/>
                      <a:pt x="188" y="241"/>
                      <a:pt x="188" y="241"/>
                    </a:cubicBezTo>
                    <a:cubicBezTo>
                      <a:pt x="189" y="240"/>
                      <a:pt x="189" y="240"/>
                      <a:pt x="189" y="240"/>
                    </a:cubicBezTo>
                    <a:cubicBezTo>
                      <a:pt x="190" y="240"/>
                      <a:pt x="191" y="240"/>
                      <a:pt x="192" y="240"/>
                    </a:cubicBezTo>
                    <a:cubicBezTo>
                      <a:pt x="194" y="240"/>
                      <a:pt x="195" y="240"/>
                      <a:pt x="196" y="241"/>
                    </a:cubicBezTo>
                    <a:cubicBezTo>
                      <a:pt x="216" y="241"/>
                      <a:pt x="216" y="241"/>
                      <a:pt x="216" y="241"/>
                    </a:cubicBezTo>
                    <a:cubicBezTo>
                      <a:pt x="216" y="240"/>
                      <a:pt x="216" y="240"/>
                      <a:pt x="216" y="239"/>
                    </a:cubicBezTo>
                    <a:cubicBezTo>
                      <a:pt x="216" y="239"/>
                      <a:pt x="217" y="238"/>
                      <a:pt x="218" y="237"/>
                    </a:cubicBezTo>
                    <a:cubicBezTo>
                      <a:pt x="220" y="235"/>
                      <a:pt x="223" y="234"/>
                      <a:pt x="226" y="234"/>
                    </a:cubicBezTo>
                    <a:cubicBezTo>
                      <a:pt x="227" y="234"/>
                      <a:pt x="227" y="234"/>
                      <a:pt x="227" y="234"/>
                    </a:cubicBezTo>
                    <a:cubicBezTo>
                      <a:pt x="229" y="234"/>
                      <a:pt x="230" y="234"/>
                      <a:pt x="231" y="231"/>
                    </a:cubicBezTo>
                    <a:cubicBezTo>
                      <a:pt x="231" y="230"/>
                      <a:pt x="232" y="230"/>
                      <a:pt x="232" y="229"/>
                    </a:cubicBezTo>
                    <a:cubicBezTo>
                      <a:pt x="232" y="229"/>
                      <a:pt x="232" y="229"/>
                      <a:pt x="232" y="229"/>
                    </a:cubicBezTo>
                    <a:cubicBezTo>
                      <a:pt x="233" y="226"/>
                      <a:pt x="234" y="222"/>
                      <a:pt x="237" y="220"/>
                    </a:cubicBezTo>
                    <a:cubicBezTo>
                      <a:pt x="238" y="220"/>
                      <a:pt x="239" y="219"/>
                      <a:pt x="240" y="219"/>
                    </a:cubicBezTo>
                    <a:cubicBezTo>
                      <a:pt x="242" y="218"/>
                      <a:pt x="243" y="217"/>
                      <a:pt x="245" y="217"/>
                    </a:cubicBezTo>
                    <a:cubicBezTo>
                      <a:pt x="246" y="216"/>
                      <a:pt x="247" y="216"/>
                      <a:pt x="249" y="215"/>
                    </a:cubicBezTo>
                    <a:cubicBezTo>
                      <a:pt x="249" y="214"/>
                      <a:pt x="250" y="214"/>
                      <a:pt x="251" y="214"/>
                    </a:cubicBezTo>
                    <a:cubicBezTo>
                      <a:pt x="251" y="213"/>
                      <a:pt x="252" y="213"/>
                      <a:pt x="253" y="213"/>
                    </a:cubicBezTo>
                    <a:cubicBezTo>
                      <a:pt x="253" y="212"/>
                      <a:pt x="253" y="212"/>
                      <a:pt x="253" y="212"/>
                    </a:cubicBezTo>
                    <a:cubicBezTo>
                      <a:pt x="253" y="212"/>
                      <a:pt x="253" y="211"/>
                      <a:pt x="252" y="210"/>
                    </a:cubicBezTo>
                    <a:cubicBezTo>
                      <a:pt x="252" y="207"/>
                      <a:pt x="251" y="204"/>
                      <a:pt x="251" y="201"/>
                    </a:cubicBezTo>
                    <a:cubicBezTo>
                      <a:pt x="251" y="200"/>
                      <a:pt x="249" y="196"/>
                      <a:pt x="251" y="195"/>
                    </a:cubicBezTo>
                    <a:cubicBezTo>
                      <a:pt x="251" y="195"/>
                      <a:pt x="251" y="195"/>
                      <a:pt x="251" y="195"/>
                    </a:cubicBezTo>
                    <a:cubicBezTo>
                      <a:pt x="252" y="195"/>
                      <a:pt x="252" y="195"/>
                      <a:pt x="253" y="195"/>
                    </a:cubicBezTo>
                    <a:cubicBezTo>
                      <a:pt x="254" y="195"/>
                      <a:pt x="255" y="196"/>
                      <a:pt x="256" y="196"/>
                    </a:cubicBezTo>
                    <a:cubicBezTo>
                      <a:pt x="256" y="196"/>
                      <a:pt x="256" y="196"/>
                      <a:pt x="257" y="195"/>
                    </a:cubicBezTo>
                    <a:cubicBezTo>
                      <a:pt x="255" y="195"/>
                      <a:pt x="252" y="191"/>
                      <a:pt x="251" y="191"/>
                    </a:cubicBezTo>
                    <a:cubicBezTo>
                      <a:pt x="251" y="191"/>
                      <a:pt x="251" y="191"/>
                      <a:pt x="250" y="191"/>
                    </a:cubicBezTo>
                    <a:cubicBezTo>
                      <a:pt x="247" y="186"/>
                      <a:pt x="243" y="182"/>
                      <a:pt x="240" y="177"/>
                    </a:cubicBezTo>
                    <a:cubicBezTo>
                      <a:pt x="233" y="163"/>
                      <a:pt x="226" y="148"/>
                      <a:pt x="218" y="134"/>
                    </a:cubicBezTo>
                    <a:cubicBezTo>
                      <a:pt x="217" y="132"/>
                      <a:pt x="216" y="130"/>
                      <a:pt x="215" y="128"/>
                    </a:cubicBezTo>
                    <a:cubicBezTo>
                      <a:pt x="215" y="127"/>
                      <a:pt x="214" y="128"/>
                      <a:pt x="214" y="127"/>
                    </a:cubicBezTo>
                    <a:cubicBezTo>
                      <a:pt x="214" y="126"/>
                      <a:pt x="215" y="125"/>
                      <a:pt x="215" y="124"/>
                    </a:cubicBezTo>
                    <a:cubicBezTo>
                      <a:pt x="215" y="118"/>
                      <a:pt x="210" y="110"/>
                      <a:pt x="208" y="105"/>
                    </a:cubicBezTo>
                    <a:cubicBezTo>
                      <a:pt x="208" y="103"/>
                      <a:pt x="207" y="98"/>
                      <a:pt x="205" y="97"/>
                    </a:cubicBezTo>
                    <a:cubicBezTo>
                      <a:pt x="203" y="95"/>
                      <a:pt x="201" y="93"/>
                      <a:pt x="199" y="91"/>
                    </a:cubicBezTo>
                    <a:cubicBezTo>
                      <a:pt x="198" y="90"/>
                      <a:pt x="196" y="88"/>
                      <a:pt x="195" y="87"/>
                    </a:cubicBezTo>
                    <a:cubicBezTo>
                      <a:pt x="193" y="84"/>
                      <a:pt x="191" y="81"/>
                      <a:pt x="189" y="79"/>
                    </a:cubicBezTo>
                    <a:cubicBezTo>
                      <a:pt x="186" y="75"/>
                      <a:pt x="185" y="69"/>
                      <a:pt x="184" y="65"/>
                    </a:cubicBezTo>
                    <a:cubicBezTo>
                      <a:pt x="182" y="61"/>
                      <a:pt x="177" y="57"/>
                      <a:pt x="176" y="52"/>
                    </a:cubicBezTo>
                    <a:cubicBezTo>
                      <a:pt x="176" y="50"/>
                      <a:pt x="178" y="49"/>
                      <a:pt x="178" y="47"/>
                    </a:cubicBezTo>
                    <a:cubicBezTo>
                      <a:pt x="179" y="46"/>
                      <a:pt x="179" y="44"/>
                      <a:pt x="180" y="43"/>
                    </a:cubicBezTo>
                    <a:cubicBezTo>
                      <a:pt x="180" y="43"/>
                      <a:pt x="180" y="43"/>
                      <a:pt x="181" y="43"/>
                    </a:cubicBezTo>
                    <a:cubicBezTo>
                      <a:pt x="183" y="43"/>
                      <a:pt x="185" y="54"/>
                      <a:pt x="185" y="56"/>
                    </a:cubicBezTo>
                    <a:cubicBezTo>
                      <a:pt x="185" y="56"/>
                      <a:pt x="185" y="56"/>
                      <a:pt x="185" y="56"/>
                    </a:cubicBezTo>
                    <a:cubicBezTo>
                      <a:pt x="187" y="58"/>
                      <a:pt x="188" y="60"/>
                      <a:pt x="190" y="62"/>
                    </a:cubicBezTo>
                    <a:cubicBezTo>
                      <a:pt x="192" y="64"/>
                      <a:pt x="195" y="66"/>
                      <a:pt x="196" y="68"/>
                    </a:cubicBezTo>
                    <a:cubicBezTo>
                      <a:pt x="197" y="71"/>
                      <a:pt x="196" y="76"/>
                      <a:pt x="197" y="79"/>
                    </a:cubicBezTo>
                    <a:cubicBezTo>
                      <a:pt x="199" y="81"/>
                      <a:pt x="201" y="83"/>
                      <a:pt x="202" y="84"/>
                    </a:cubicBezTo>
                    <a:cubicBezTo>
                      <a:pt x="209" y="91"/>
                      <a:pt x="213" y="96"/>
                      <a:pt x="221" y="100"/>
                    </a:cubicBezTo>
                    <a:cubicBezTo>
                      <a:pt x="221" y="100"/>
                      <a:pt x="222" y="99"/>
                      <a:pt x="222" y="99"/>
                    </a:cubicBezTo>
                    <a:cubicBezTo>
                      <a:pt x="226" y="85"/>
                      <a:pt x="231" y="71"/>
                      <a:pt x="236" y="56"/>
                    </a:cubicBezTo>
                    <a:cubicBezTo>
                      <a:pt x="221" y="9"/>
                      <a:pt x="221" y="9"/>
                      <a:pt x="221" y="9"/>
                    </a:cubicBezTo>
                    <a:cubicBezTo>
                      <a:pt x="220" y="8"/>
                      <a:pt x="220" y="8"/>
                      <a:pt x="220" y="8"/>
                    </a:cubicBezTo>
                    <a:cubicBezTo>
                      <a:pt x="220" y="8"/>
                      <a:pt x="220" y="8"/>
                      <a:pt x="220" y="8"/>
                    </a:cubicBezTo>
                    <a:cubicBezTo>
                      <a:pt x="216" y="9"/>
                      <a:pt x="213" y="11"/>
                      <a:pt x="210" y="12"/>
                    </a:cubicBezTo>
                    <a:cubicBezTo>
                      <a:pt x="208" y="13"/>
                      <a:pt x="207" y="13"/>
                      <a:pt x="206" y="13"/>
                    </a:cubicBezTo>
                    <a:cubicBezTo>
                      <a:pt x="201" y="14"/>
                      <a:pt x="197" y="15"/>
                      <a:pt x="193" y="15"/>
                    </a:cubicBezTo>
                    <a:cubicBezTo>
                      <a:pt x="193" y="15"/>
                      <a:pt x="192" y="15"/>
                      <a:pt x="192" y="15"/>
                    </a:cubicBezTo>
                    <a:cubicBezTo>
                      <a:pt x="192" y="15"/>
                      <a:pt x="192" y="15"/>
                      <a:pt x="192" y="15"/>
                    </a:cubicBezTo>
                    <a:cubicBezTo>
                      <a:pt x="191" y="15"/>
                      <a:pt x="190" y="15"/>
                      <a:pt x="189" y="15"/>
                    </a:cubicBezTo>
                    <a:cubicBezTo>
                      <a:pt x="188" y="15"/>
                      <a:pt x="187" y="15"/>
                      <a:pt x="186" y="15"/>
                    </a:cubicBezTo>
                    <a:cubicBezTo>
                      <a:pt x="184" y="15"/>
                      <a:pt x="183" y="15"/>
                      <a:pt x="182" y="14"/>
                    </a:cubicBezTo>
                    <a:cubicBezTo>
                      <a:pt x="179" y="12"/>
                      <a:pt x="176" y="9"/>
                      <a:pt x="173" y="9"/>
                    </a:cubicBezTo>
                    <a:cubicBezTo>
                      <a:pt x="178" y="10"/>
                      <a:pt x="173" y="14"/>
                      <a:pt x="172" y="14"/>
                    </a:cubicBezTo>
                    <a:cubicBezTo>
                      <a:pt x="170" y="13"/>
                      <a:pt x="164" y="10"/>
                      <a:pt x="163" y="9"/>
                    </a:cubicBezTo>
                    <a:cubicBezTo>
                      <a:pt x="163" y="8"/>
                      <a:pt x="166" y="3"/>
                      <a:pt x="166" y="2"/>
                    </a:cubicBezTo>
                    <a:cubicBezTo>
                      <a:pt x="166" y="2"/>
                      <a:pt x="166" y="2"/>
                      <a:pt x="166" y="2"/>
                    </a:cubicBezTo>
                    <a:cubicBezTo>
                      <a:pt x="164" y="2"/>
                      <a:pt x="161" y="4"/>
                      <a:pt x="159" y="4"/>
                    </a:cubicBezTo>
                    <a:cubicBezTo>
                      <a:pt x="159" y="4"/>
                      <a:pt x="159" y="4"/>
                      <a:pt x="158" y="4"/>
                    </a:cubicBezTo>
                    <a:cubicBezTo>
                      <a:pt x="156" y="4"/>
                      <a:pt x="152" y="2"/>
                      <a:pt x="150" y="2"/>
                    </a:cubicBezTo>
                    <a:cubicBezTo>
                      <a:pt x="148" y="1"/>
                      <a:pt x="147" y="1"/>
                      <a:pt x="145" y="1"/>
                    </a:cubicBezTo>
                    <a:cubicBezTo>
                      <a:pt x="144" y="1"/>
                      <a:pt x="144" y="1"/>
                      <a:pt x="142" y="1"/>
                    </a:cubicBezTo>
                    <a:cubicBezTo>
                      <a:pt x="135" y="3"/>
                      <a:pt x="131" y="4"/>
                      <a:pt x="125" y="9"/>
                    </a:cubicBezTo>
                    <a:cubicBezTo>
                      <a:pt x="126" y="9"/>
                      <a:pt x="127" y="10"/>
                      <a:pt x="128" y="10"/>
                    </a:cubicBezTo>
                    <a:cubicBezTo>
                      <a:pt x="127" y="10"/>
                      <a:pt x="127" y="10"/>
                      <a:pt x="126" y="10"/>
                    </a:cubicBezTo>
                    <a:cubicBezTo>
                      <a:pt x="126" y="10"/>
                      <a:pt x="126" y="10"/>
                      <a:pt x="126" y="10"/>
                    </a:cubicBezTo>
                    <a:cubicBezTo>
                      <a:pt x="125" y="10"/>
                      <a:pt x="124" y="9"/>
                      <a:pt x="123" y="9"/>
                    </a:cubicBezTo>
                    <a:cubicBezTo>
                      <a:pt x="123" y="9"/>
                      <a:pt x="123" y="9"/>
                      <a:pt x="123" y="9"/>
                    </a:cubicBezTo>
                    <a:cubicBezTo>
                      <a:pt x="121" y="10"/>
                      <a:pt x="120" y="11"/>
                      <a:pt x="118" y="12"/>
                    </a:cubicBezTo>
                    <a:cubicBezTo>
                      <a:pt x="113" y="15"/>
                      <a:pt x="106" y="19"/>
                      <a:pt x="100" y="20"/>
                    </a:cubicBezTo>
                    <a:cubicBezTo>
                      <a:pt x="99" y="20"/>
                      <a:pt x="99" y="20"/>
                      <a:pt x="99" y="20"/>
                    </a:cubicBezTo>
                    <a:cubicBezTo>
                      <a:pt x="96" y="20"/>
                      <a:pt x="95" y="18"/>
                      <a:pt x="92" y="17"/>
                    </a:cubicBezTo>
                    <a:cubicBezTo>
                      <a:pt x="88" y="15"/>
                      <a:pt x="80" y="15"/>
                      <a:pt x="75" y="14"/>
                    </a:cubicBezTo>
                    <a:cubicBezTo>
                      <a:pt x="72" y="14"/>
                      <a:pt x="68" y="12"/>
                      <a:pt x="64" y="11"/>
                    </a:cubicBezTo>
                    <a:cubicBezTo>
                      <a:pt x="62" y="11"/>
                      <a:pt x="61" y="10"/>
                      <a:pt x="60" y="9"/>
                    </a:cubicBezTo>
                    <a:cubicBezTo>
                      <a:pt x="54" y="7"/>
                      <a:pt x="47" y="6"/>
                      <a:pt x="41" y="4"/>
                    </a:cubicBezTo>
                    <a:cubicBezTo>
                      <a:pt x="36" y="3"/>
                      <a:pt x="31"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192"/>
              <p:cNvSpPr/>
              <p:nvPr/>
            </p:nvSpPr>
            <p:spPr bwMode="auto">
              <a:xfrm flipH="1">
                <a:off x="4939" y="2140"/>
                <a:ext cx="0" cy="3"/>
              </a:xfrm>
              <a:custGeom>
                <a:gdLst>
                  <a:gd name="T0" fmla="*/ 0 h 3"/>
                  <a:gd name="T1" fmla="*/ 3 h 3"/>
                  <a:gd name="T2" fmla="*/ 0 h 3"/>
                  <a:gd name="T3" fmla="*/ 0 h 3"/>
                </a:gdLst>
                <a:cxnLst>
                  <a:cxn ang="0">
                    <a:pos x="0" y="T0"/>
                  </a:cxn>
                  <a:cxn ang="0">
                    <a:pos x="0" y="T1"/>
                  </a:cxn>
                  <a:cxn ang="0">
                    <a:pos x="0" y="T2"/>
                  </a:cxn>
                  <a:cxn ang="0">
                    <a:pos x="0" y="T3"/>
                  </a:cxn>
                </a:cxnLst>
                <a:rect l="0" t="0" r="r" b="b"/>
                <a:pathLst>
                  <a:path h="3">
                    <a:moveTo>
                      <a:pt x="0" y="0"/>
                    </a:moveTo>
                    <a:lnTo>
                      <a:pt x="0"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193"/>
              <p:cNvSpPr/>
              <p:nvPr/>
            </p:nvSpPr>
            <p:spPr bwMode="auto">
              <a:xfrm flipH="1">
                <a:off x="4939" y="2140"/>
                <a:ext cx="0" cy="3"/>
              </a:xfrm>
              <a:custGeom>
                <a:gdLst>
                  <a:gd name="T0" fmla="*/ 0 h 3"/>
                  <a:gd name="T1" fmla="*/ 3 h 3"/>
                  <a:gd name="T2" fmla="*/ 0 h 3"/>
                  <a:gd name="T3" fmla="*/ 0 h 3"/>
                </a:gdLst>
                <a:cxnLst>
                  <a:cxn ang="0">
                    <a:pos x="0" y="T0"/>
                  </a:cxn>
                  <a:cxn ang="0">
                    <a:pos x="0" y="T1"/>
                  </a:cxn>
                  <a:cxn ang="0">
                    <a:pos x="0" y="T2"/>
                  </a:cxn>
                  <a:cxn ang="0">
                    <a:pos x="0" y="T3"/>
                  </a:cxn>
                </a:cxnLst>
                <a:rect l="0" t="0" r="r" b="b"/>
                <a:pathLst>
                  <a:path h="3">
                    <a:moveTo>
                      <a:pt x="0" y="0"/>
                    </a:moveTo>
                    <a:lnTo>
                      <a:pt x="0" y="3"/>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194"/>
              <p:cNvSpPr>
                <a:spLocks noEditPoints="1"/>
              </p:cNvSpPr>
              <p:nvPr/>
            </p:nvSpPr>
            <p:spPr bwMode="auto">
              <a:xfrm>
                <a:off x="4883" y="1450"/>
                <a:ext cx="919" cy="1102"/>
              </a:xfrm>
              <a:custGeom>
                <a:gdLst>
                  <a:gd name="T0" fmla="*/ 319 w 389"/>
                  <a:gd name="T1" fmla="*/ 2 h 466"/>
                  <a:gd name="T2" fmla="*/ 305 w 389"/>
                  <a:gd name="T3" fmla="*/ 13 h 466"/>
                  <a:gd name="T4" fmla="*/ 288 w 389"/>
                  <a:gd name="T5" fmla="*/ 27 h 466"/>
                  <a:gd name="T6" fmla="*/ 221 w 389"/>
                  <a:gd name="T7" fmla="*/ 26 h 466"/>
                  <a:gd name="T8" fmla="*/ 74 w 389"/>
                  <a:gd name="T9" fmla="*/ 37 h 466"/>
                  <a:gd name="T10" fmla="*/ 56 w 389"/>
                  <a:gd name="T11" fmla="*/ 77 h 466"/>
                  <a:gd name="T12" fmla="*/ 51 w 389"/>
                  <a:gd name="T13" fmla="*/ 87 h 466"/>
                  <a:gd name="T14" fmla="*/ 35 w 389"/>
                  <a:gd name="T15" fmla="*/ 181 h 466"/>
                  <a:gd name="T16" fmla="*/ 21 w 389"/>
                  <a:gd name="T17" fmla="*/ 199 h 466"/>
                  <a:gd name="T18" fmla="*/ 14 w 389"/>
                  <a:gd name="T19" fmla="*/ 208 h 466"/>
                  <a:gd name="T20" fmla="*/ 14 w 389"/>
                  <a:gd name="T21" fmla="*/ 213 h 466"/>
                  <a:gd name="T22" fmla="*/ 8 w 389"/>
                  <a:gd name="T23" fmla="*/ 224 h 466"/>
                  <a:gd name="T24" fmla="*/ 5 w 389"/>
                  <a:gd name="T25" fmla="*/ 242 h 466"/>
                  <a:gd name="T26" fmla="*/ 2 w 389"/>
                  <a:gd name="T27" fmla="*/ 250 h 466"/>
                  <a:gd name="T28" fmla="*/ 14 w 389"/>
                  <a:gd name="T29" fmla="*/ 263 h 466"/>
                  <a:gd name="T30" fmla="*/ 18 w 389"/>
                  <a:gd name="T31" fmla="*/ 272 h 466"/>
                  <a:gd name="T32" fmla="*/ 25 w 389"/>
                  <a:gd name="T33" fmla="*/ 292 h 466"/>
                  <a:gd name="T34" fmla="*/ 39 w 389"/>
                  <a:gd name="T35" fmla="*/ 311 h 466"/>
                  <a:gd name="T36" fmla="*/ 40 w 389"/>
                  <a:gd name="T37" fmla="*/ 337 h 466"/>
                  <a:gd name="T38" fmla="*/ 44 w 389"/>
                  <a:gd name="T39" fmla="*/ 343 h 466"/>
                  <a:gd name="T40" fmla="*/ 59 w 389"/>
                  <a:gd name="T41" fmla="*/ 354 h 466"/>
                  <a:gd name="T42" fmla="*/ 79 w 389"/>
                  <a:gd name="T43" fmla="*/ 364 h 466"/>
                  <a:gd name="T44" fmla="*/ 83 w 389"/>
                  <a:gd name="T45" fmla="*/ 372 h 466"/>
                  <a:gd name="T46" fmla="*/ 106 w 389"/>
                  <a:gd name="T47" fmla="*/ 393 h 466"/>
                  <a:gd name="T48" fmla="*/ 106 w 389"/>
                  <a:gd name="T49" fmla="*/ 403 h 466"/>
                  <a:gd name="T50" fmla="*/ 127 w 389"/>
                  <a:gd name="T51" fmla="*/ 418 h 466"/>
                  <a:gd name="T52" fmla="*/ 132 w 389"/>
                  <a:gd name="T53" fmla="*/ 431 h 466"/>
                  <a:gd name="T54" fmla="*/ 158 w 389"/>
                  <a:gd name="T55" fmla="*/ 444 h 466"/>
                  <a:gd name="T56" fmla="*/ 182 w 389"/>
                  <a:gd name="T57" fmla="*/ 441 h 466"/>
                  <a:gd name="T58" fmla="*/ 197 w 389"/>
                  <a:gd name="T59" fmla="*/ 456 h 466"/>
                  <a:gd name="T60" fmla="*/ 209 w 389"/>
                  <a:gd name="T61" fmla="*/ 466 h 466"/>
                  <a:gd name="T62" fmla="*/ 221 w 389"/>
                  <a:gd name="T63" fmla="*/ 461 h 466"/>
                  <a:gd name="T64" fmla="*/ 237 w 389"/>
                  <a:gd name="T65" fmla="*/ 464 h 466"/>
                  <a:gd name="T66" fmla="*/ 261 w 389"/>
                  <a:gd name="T67" fmla="*/ 457 h 466"/>
                  <a:gd name="T68" fmla="*/ 281 w 389"/>
                  <a:gd name="T69" fmla="*/ 450 h 466"/>
                  <a:gd name="T70" fmla="*/ 321 w 389"/>
                  <a:gd name="T71" fmla="*/ 441 h 466"/>
                  <a:gd name="T72" fmla="*/ 322 w 389"/>
                  <a:gd name="T73" fmla="*/ 434 h 466"/>
                  <a:gd name="T74" fmla="*/ 321 w 389"/>
                  <a:gd name="T75" fmla="*/ 428 h 466"/>
                  <a:gd name="T76" fmla="*/ 306 w 389"/>
                  <a:gd name="T77" fmla="*/ 416 h 466"/>
                  <a:gd name="T78" fmla="*/ 283 w 389"/>
                  <a:gd name="T79" fmla="*/ 383 h 466"/>
                  <a:gd name="T80" fmla="*/ 271 w 389"/>
                  <a:gd name="T81" fmla="*/ 372 h 466"/>
                  <a:gd name="T82" fmla="*/ 259 w 389"/>
                  <a:gd name="T83" fmla="*/ 359 h 466"/>
                  <a:gd name="T84" fmla="*/ 275 w 389"/>
                  <a:gd name="T85" fmla="*/ 350 h 466"/>
                  <a:gd name="T86" fmla="*/ 285 w 389"/>
                  <a:gd name="T87" fmla="*/ 319 h 466"/>
                  <a:gd name="T88" fmla="*/ 289 w 389"/>
                  <a:gd name="T89" fmla="*/ 299 h 466"/>
                  <a:gd name="T90" fmla="*/ 297 w 389"/>
                  <a:gd name="T91" fmla="*/ 292 h 466"/>
                  <a:gd name="T92" fmla="*/ 302 w 389"/>
                  <a:gd name="T93" fmla="*/ 294 h 466"/>
                  <a:gd name="T94" fmla="*/ 304 w 389"/>
                  <a:gd name="T95" fmla="*/ 287 h 466"/>
                  <a:gd name="T96" fmla="*/ 314 w 389"/>
                  <a:gd name="T97" fmla="*/ 262 h 466"/>
                  <a:gd name="T98" fmla="*/ 329 w 389"/>
                  <a:gd name="T99" fmla="*/ 249 h 466"/>
                  <a:gd name="T100" fmla="*/ 338 w 389"/>
                  <a:gd name="T101" fmla="*/ 224 h 466"/>
                  <a:gd name="T102" fmla="*/ 344 w 389"/>
                  <a:gd name="T103" fmla="*/ 175 h 466"/>
                  <a:gd name="T104" fmla="*/ 361 w 389"/>
                  <a:gd name="T105" fmla="*/ 144 h 466"/>
                  <a:gd name="T106" fmla="*/ 374 w 389"/>
                  <a:gd name="T107" fmla="*/ 134 h 466"/>
                  <a:gd name="T108" fmla="*/ 383 w 389"/>
                  <a:gd name="T109" fmla="*/ 130 h 466"/>
                  <a:gd name="T110" fmla="*/ 359 w 389"/>
                  <a:gd name="T111" fmla="*/ 81 h 466"/>
                  <a:gd name="T112" fmla="*/ 351 w 389"/>
                  <a:gd name="T113" fmla="*/ 26 h 4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9" h="466">
                    <a:moveTo>
                      <a:pt x="319" y="438"/>
                    </a:moveTo>
                    <a:cubicBezTo>
                      <a:pt x="319" y="438"/>
                      <a:pt x="319" y="438"/>
                      <a:pt x="319" y="437"/>
                    </a:cubicBezTo>
                    <a:cubicBezTo>
                      <a:pt x="319" y="438"/>
                      <a:pt x="319" y="438"/>
                      <a:pt x="319" y="438"/>
                    </a:cubicBezTo>
                    <a:moveTo>
                      <a:pt x="323" y="0"/>
                    </a:moveTo>
                    <a:cubicBezTo>
                      <a:pt x="323" y="0"/>
                      <a:pt x="322" y="0"/>
                      <a:pt x="322" y="0"/>
                    </a:cubicBezTo>
                    <a:cubicBezTo>
                      <a:pt x="321" y="1"/>
                      <a:pt x="321" y="1"/>
                      <a:pt x="321" y="1"/>
                    </a:cubicBezTo>
                    <a:cubicBezTo>
                      <a:pt x="321" y="1"/>
                      <a:pt x="320" y="2"/>
                      <a:pt x="319" y="2"/>
                    </a:cubicBezTo>
                    <a:cubicBezTo>
                      <a:pt x="318" y="3"/>
                      <a:pt x="317" y="3"/>
                      <a:pt x="315" y="4"/>
                    </a:cubicBezTo>
                    <a:cubicBezTo>
                      <a:pt x="315" y="4"/>
                      <a:pt x="315" y="4"/>
                      <a:pt x="315" y="4"/>
                    </a:cubicBezTo>
                    <a:cubicBezTo>
                      <a:pt x="313" y="5"/>
                      <a:pt x="312" y="5"/>
                      <a:pt x="311" y="6"/>
                    </a:cubicBezTo>
                    <a:cubicBezTo>
                      <a:pt x="310" y="6"/>
                      <a:pt x="310" y="6"/>
                      <a:pt x="310" y="6"/>
                    </a:cubicBezTo>
                    <a:cubicBezTo>
                      <a:pt x="310" y="7"/>
                      <a:pt x="309" y="7"/>
                      <a:pt x="308" y="7"/>
                    </a:cubicBezTo>
                    <a:cubicBezTo>
                      <a:pt x="307" y="8"/>
                      <a:pt x="306" y="11"/>
                      <a:pt x="306" y="13"/>
                    </a:cubicBezTo>
                    <a:cubicBezTo>
                      <a:pt x="305" y="13"/>
                      <a:pt x="305" y="13"/>
                      <a:pt x="305" y="13"/>
                    </a:cubicBezTo>
                    <a:cubicBezTo>
                      <a:pt x="305" y="14"/>
                      <a:pt x="305" y="15"/>
                      <a:pt x="305" y="15"/>
                    </a:cubicBezTo>
                    <a:cubicBezTo>
                      <a:pt x="302" y="20"/>
                      <a:pt x="299" y="21"/>
                      <a:pt x="296" y="22"/>
                    </a:cubicBezTo>
                    <a:cubicBezTo>
                      <a:pt x="294" y="22"/>
                      <a:pt x="294" y="22"/>
                      <a:pt x="294" y="22"/>
                    </a:cubicBezTo>
                    <a:cubicBezTo>
                      <a:pt x="293" y="22"/>
                      <a:pt x="290" y="22"/>
                      <a:pt x="290" y="23"/>
                    </a:cubicBezTo>
                    <a:cubicBezTo>
                      <a:pt x="290" y="23"/>
                      <a:pt x="290" y="23"/>
                      <a:pt x="290" y="23"/>
                    </a:cubicBezTo>
                    <a:cubicBezTo>
                      <a:pt x="289" y="24"/>
                      <a:pt x="289" y="25"/>
                      <a:pt x="289" y="26"/>
                    </a:cubicBezTo>
                    <a:cubicBezTo>
                      <a:pt x="288" y="27"/>
                      <a:pt x="288" y="27"/>
                      <a:pt x="288" y="27"/>
                    </a:cubicBezTo>
                    <a:cubicBezTo>
                      <a:pt x="287" y="28"/>
                      <a:pt x="286" y="28"/>
                      <a:pt x="285" y="28"/>
                    </a:cubicBezTo>
                    <a:cubicBezTo>
                      <a:pt x="262" y="28"/>
                      <a:pt x="262" y="28"/>
                      <a:pt x="262" y="28"/>
                    </a:cubicBezTo>
                    <a:cubicBezTo>
                      <a:pt x="262" y="28"/>
                      <a:pt x="261" y="28"/>
                      <a:pt x="260" y="28"/>
                    </a:cubicBezTo>
                    <a:cubicBezTo>
                      <a:pt x="259" y="28"/>
                      <a:pt x="258" y="28"/>
                      <a:pt x="257" y="28"/>
                    </a:cubicBezTo>
                    <a:cubicBezTo>
                      <a:pt x="256" y="28"/>
                      <a:pt x="255" y="28"/>
                      <a:pt x="254" y="28"/>
                    </a:cubicBezTo>
                    <a:cubicBezTo>
                      <a:pt x="222" y="28"/>
                      <a:pt x="222" y="28"/>
                      <a:pt x="222" y="28"/>
                    </a:cubicBezTo>
                    <a:cubicBezTo>
                      <a:pt x="221" y="26"/>
                      <a:pt x="221" y="26"/>
                      <a:pt x="221" y="26"/>
                    </a:cubicBezTo>
                    <a:cubicBezTo>
                      <a:pt x="221" y="26"/>
                      <a:pt x="221" y="26"/>
                      <a:pt x="221" y="26"/>
                    </a:cubicBezTo>
                    <a:cubicBezTo>
                      <a:pt x="220" y="26"/>
                      <a:pt x="220" y="26"/>
                      <a:pt x="220" y="26"/>
                    </a:cubicBezTo>
                    <a:cubicBezTo>
                      <a:pt x="74" y="28"/>
                      <a:pt x="74" y="28"/>
                      <a:pt x="74" y="28"/>
                    </a:cubicBezTo>
                    <a:cubicBezTo>
                      <a:pt x="74" y="29"/>
                      <a:pt x="74" y="29"/>
                      <a:pt x="74" y="29"/>
                    </a:cubicBezTo>
                    <a:cubicBezTo>
                      <a:pt x="74" y="32"/>
                      <a:pt x="74" y="32"/>
                      <a:pt x="74" y="32"/>
                    </a:cubicBezTo>
                    <a:cubicBezTo>
                      <a:pt x="74" y="36"/>
                      <a:pt x="74" y="36"/>
                      <a:pt x="74" y="36"/>
                    </a:cubicBezTo>
                    <a:cubicBezTo>
                      <a:pt x="74" y="37"/>
                      <a:pt x="74" y="37"/>
                      <a:pt x="74" y="37"/>
                    </a:cubicBezTo>
                    <a:cubicBezTo>
                      <a:pt x="74" y="74"/>
                      <a:pt x="74" y="74"/>
                      <a:pt x="74" y="74"/>
                    </a:cubicBezTo>
                    <a:cubicBezTo>
                      <a:pt x="74" y="75"/>
                      <a:pt x="74" y="77"/>
                      <a:pt x="72" y="77"/>
                    </a:cubicBezTo>
                    <a:cubicBezTo>
                      <a:pt x="70" y="78"/>
                      <a:pt x="68" y="78"/>
                      <a:pt x="67" y="78"/>
                    </a:cubicBezTo>
                    <a:cubicBezTo>
                      <a:pt x="65" y="78"/>
                      <a:pt x="64" y="78"/>
                      <a:pt x="62" y="78"/>
                    </a:cubicBezTo>
                    <a:cubicBezTo>
                      <a:pt x="61" y="77"/>
                      <a:pt x="59" y="77"/>
                      <a:pt x="58" y="77"/>
                    </a:cubicBezTo>
                    <a:cubicBezTo>
                      <a:pt x="58" y="77"/>
                      <a:pt x="57" y="77"/>
                      <a:pt x="57" y="77"/>
                    </a:cubicBezTo>
                    <a:cubicBezTo>
                      <a:pt x="57" y="77"/>
                      <a:pt x="56" y="77"/>
                      <a:pt x="56" y="77"/>
                    </a:cubicBezTo>
                    <a:cubicBezTo>
                      <a:pt x="55" y="77"/>
                      <a:pt x="54" y="78"/>
                      <a:pt x="52" y="78"/>
                    </a:cubicBezTo>
                    <a:cubicBezTo>
                      <a:pt x="51" y="78"/>
                      <a:pt x="51" y="78"/>
                      <a:pt x="51" y="78"/>
                    </a:cubicBezTo>
                    <a:cubicBezTo>
                      <a:pt x="51" y="78"/>
                      <a:pt x="51" y="78"/>
                      <a:pt x="51" y="78"/>
                    </a:cubicBezTo>
                    <a:cubicBezTo>
                      <a:pt x="51" y="79"/>
                      <a:pt x="51" y="82"/>
                      <a:pt x="51" y="85"/>
                    </a:cubicBezTo>
                    <a:cubicBezTo>
                      <a:pt x="51" y="86"/>
                      <a:pt x="51" y="86"/>
                      <a:pt x="51" y="86"/>
                    </a:cubicBezTo>
                    <a:cubicBezTo>
                      <a:pt x="51" y="86"/>
                      <a:pt x="51" y="86"/>
                      <a:pt x="51" y="86"/>
                    </a:cubicBezTo>
                    <a:cubicBezTo>
                      <a:pt x="51" y="87"/>
                      <a:pt x="51" y="87"/>
                      <a:pt x="51" y="87"/>
                    </a:cubicBezTo>
                    <a:cubicBezTo>
                      <a:pt x="51" y="91"/>
                      <a:pt x="51" y="91"/>
                      <a:pt x="51" y="91"/>
                    </a:cubicBezTo>
                    <a:cubicBezTo>
                      <a:pt x="51" y="91"/>
                      <a:pt x="51" y="91"/>
                      <a:pt x="51" y="91"/>
                    </a:cubicBezTo>
                    <a:cubicBezTo>
                      <a:pt x="51" y="95"/>
                      <a:pt x="51" y="95"/>
                      <a:pt x="51" y="95"/>
                    </a:cubicBezTo>
                    <a:cubicBezTo>
                      <a:pt x="51" y="182"/>
                      <a:pt x="51" y="182"/>
                      <a:pt x="51" y="182"/>
                    </a:cubicBezTo>
                    <a:cubicBezTo>
                      <a:pt x="48" y="182"/>
                      <a:pt x="48" y="182"/>
                      <a:pt x="48" y="182"/>
                    </a:cubicBezTo>
                    <a:cubicBezTo>
                      <a:pt x="46" y="182"/>
                      <a:pt x="44" y="182"/>
                      <a:pt x="42" y="182"/>
                    </a:cubicBezTo>
                    <a:cubicBezTo>
                      <a:pt x="40" y="181"/>
                      <a:pt x="37" y="181"/>
                      <a:pt x="35" y="181"/>
                    </a:cubicBezTo>
                    <a:cubicBezTo>
                      <a:pt x="30" y="181"/>
                      <a:pt x="27" y="182"/>
                      <a:pt x="25" y="185"/>
                    </a:cubicBezTo>
                    <a:cubicBezTo>
                      <a:pt x="24" y="187"/>
                      <a:pt x="24" y="190"/>
                      <a:pt x="23" y="191"/>
                    </a:cubicBezTo>
                    <a:cubicBezTo>
                      <a:pt x="23" y="193"/>
                      <a:pt x="23" y="193"/>
                      <a:pt x="23" y="193"/>
                    </a:cubicBezTo>
                    <a:cubicBezTo>
                      <a:pt x="23" y="194"/>
                      <a:pt x="22" y="196"/>
                      <a:pt x="22" y="197"/>
                    </a:cubicBezTo>
                    <a:cubicBezTo>
                      <a:pt x="28" y="199"/>
                      <a:pt x="28" y="199"/>
                      <a:pt x="28" y="199"/>
                    </a:cubicBezTo>
                    <a:cubicBezTo>
                      <a:pt x="21" y="199"/>
                      <a:pt x="21" y="199"/>
                      <a:pt x="21" y="199"/>
                    </a:cubicBezTo>
                    <a:cubicBezTo>
                      <a:pt x="21" y="199"/>
                      <a:pt x="21" y="199"/>
                      <a:pt x="21" y="199"/>
                    </a:cubicBezTo>
                    <a:cubicBezTo>
                      <a:pt x="21" y="200"/>
                      <a:pt x="21" y="200"/>
                      <a:pt x="21" y="200"/>
                    </a:cubicBezTo>
                    <a:cubicBezTo>
                      <a:pt x="21" y="201"/>
                      <a:pt x="20" y="202"/>
                      <a:pt x="20" y="203"/>
                    </a:cubicBezTo>
                    <a:cubicBezTo>
                      <a:pt x="20" y="204"/>
                      <a:pt x="19" y="204"/>
                      <a:pt x="18" y="205"/>
                    </a:cubicBezTo>
                    <a:cubicBezTo>
                      <a:pt x="17" y="206"/>
                      <a:pt x="17" y="206"/>
                      <a:pt x="16" y="207"/>
                    </a:cubicBezTo>
                    <a:cubicBezTo>
                      <a:pt x="16" y="207"/>
                      <a:pt x="16" y="207"/>
                      <a:pt x="16" y="207"/>
                    </a:cubicBezTo>
                    <a:cubicBezTo>
                      <a:pt x="16" y="207"/>
                      <a:pt x="16" y="207"/>
                      <a:pt x="16" y="207"/>
                    </a:cubicBezTo>
                    <a:cubicBezTo>
                      <a:pt x="14" y="208"/>
                      <a:pt x="14" y="208"/>
                      <a:pt x="14" y="208"/>
                    </a:cubicBezTo>
                    <a:cubicBezTo>
                      <a:pt x="14" y="208"/>
                      <a:pt x="14" y="208"/>
                      <a:pt x="14" y="208"/>
                    </a:cubicBezTo>
                    <a:cubicBezTo>
                      <a:pt x="14" y="208"/>
                      <a:pt x="14" y="208"/>
                      <a:pt x="14" y="209"/>
                    </a:cubicBezTo>
                    <a:cubicBezTo>
                      <a:pt x="14" y="209"/>
                      <a:pt x="14" y="210"/>
                      <a:pt x="14" y="211"/>
                    </a:cubicBezTo>
                    <a:cubicBezTo>
                      <a:pt x="14" y="211"/>
                      <a:pt x="14" y="211"/>
                      <a:pt x="14" y="211"/>
                    </a:cubicBezTo>
                    <a:cubicBezTo>
                      <a:pt x="14" y="212"/>
                      <a:pt x="14" y="212"/>
                      <a:pt x="14" y="212"/>
                    </a:cubicBezTo>
                    <a:cubicBezTo>
                      <a:pt x="14" y="213"/>
                      <a:pt x="14" y="213"/>
                      <a:pt x="14" y="213"/>
                    </a:cubicBezTo>
                    <a:cubicBezTo>
                      <a:pt x="14" y="213"/>
                      <a:pt x="14" y="213"/>
                      <a:pt x="14" y="213"/>
                    </a:cubicBezTo>
                    <a:cubicBezTo>
                      <a:pt x="15" y="213"/>
                      <a:pt x="15" y="213"/>
                      <a:pt x="15" y="213"/>
                    </a:cubicBezTo>
                    <a:cubicBezTo>
                      <a:pt x="15" y="214"/>
                      <a:pt x="16" y="215"/>
                      <a:pt x="17" y="216"/>
                    </a:cubicBezTo>
                    <a:cubicBezTo>
                      <a:pt x="18" y="220"/>
                      <a:pt x="18" y="220"/>
                      <a:pt x="18" y="220"/>
                    </a:cubicBezTo>
                    <a:cubicBezTo>
                      <a:pt x="14" y="220"/>
                      <a:pt x="14" y="220"/>
                      <a:pt x="14" y="220"/>
                    </a:cubicBezTo>
                    <a:cubicBezTo>
                      <a:pt x="14" y="220"/>
                      <a:pt x="13" y="220"/>
                      <a:pt x="12" y="221"/>
                    </a:cubicBezTo>
                    <a:cubicBezTo>
                      <a:pt x="10" y="223"/>
                      <a:pt x="10" y="223"/>
                      <a:pt x="10" y="223"/>
                    </a:cubicBezTo>
                    <a:cubicBezTo>
                      <a:pt x="9" y="223"/>
                      <a:pt x="8" y="223"/>
                      <a:pt x="8" y="224"/>
                    </a:cubicBezTo>
                    <a:cubicBezTo>
                      <a:pt x="7" y="224"/>
                      <a:pt x="7" y="224"/>
                      <a:pt x="7" y="225"/>
                    </a:cubicBezTo>
                    <a:cubicBezTo>
                      <a:pt x="6" y="226"/>
                      <a:pt x="6" y="227"/>
                      <a:pt x="8" y="230"/>
                    </a:cubicBezTo>
                    <a:cubicBezTo>
                      <a:pt x="9" y="231"/>
                      <a:pt x="9" y="232"/>
                      <a:pt x="10" y="233"/>
                    </a:cubicBezTo>
                    <a:cubicBezTo>
                      <a:pt x="10" y="233"/>
                      <a:pt x="10" y="233"/>
                      <a:pt x="10" y="233"/>
                    </a:cubicBezTo>
                    <a:cubicBezTo>
                      <a:pt x="10" y="234"/>
                      <a:pt x="10" y="234"/>
                      <a:pt x="10" y="234"/>
                    </a:cubicBezTo>
                    <a:cubicBezTo>
                      <a:pt x="11" y="237"/>
                      <a:pt x="8" y="239"/>
                      <a:pt x="7" y="241"/>
                    </a:cubicBezTo>
                    <a:cubicBezTo>
                      <a:pt x="7" y="241"/>
                      <a:pt x="6" y="242"/>
                      <a:pt x="5" y="242"/>
                    </a:cubicBezTo>
                    <a:cubicBezTo>
                      <a:pt x="5" y="243"/>
                      <a:pt x="5" y="243"/>
                      <a:pt x="5" y="243"/>
                    </a:cubicBezTo>
                    <a:cubicBezTo>
                      <a:pt x="4" y="244"/>
                      <a:pt x="2" y="246"/>
                      <a:pt x="1" y="248"/>
                    </a:cubicBezTo>
                    <a:cubicBezTo>
                      <a:pt x="1" y="248"/>
                      <a:pt x="1" y="249"/>
                      <a:pt x="0" y="249"/>
                    </a:cubicBezTo>
                    <a:cubicBezTo>
                      <a:pt x="1" y="249"/>
                      <a:pt x="1" y="249"/>
                      <a:pt x="1" y="249"/>
                    </a:cubicBezTo>
                    <a:cubicBezTo>
                      <a:pt x="1" y="250"/>
                      <a:pt x="1" y="250"/>
                      <a:pt x="1" y="250"/>
                    </a:cubicBezTo>
                    <a:cubicBezTo>
                      <a:pt x="2" y="250"/>
                      <a:pt x="2" y="250"/>
                      <a:pt x="2" y="250"/>
                    </a:cubicBezTo>
                    <a:cubicBezTo>
                      <a:pt x="2" y="250"/>
                      <a:pt x="2" y="250"/>
                      <a:pt x="2" y="250"/>
                    </a:cubicBezTo>
                    <a:cubicBezTo>
                      <a:pt x="2" y="249"/>
                      <a:pt x="2" y="249"/>
                      <a:pt x="2" y="249"/>
                    </a:cubicBezTo>
                    <a:cubicBezTo>
                      <a:pt x="3" y="249"/>
                      <a:pt x="3" y="249"/>
                      <a:pt x="4" y="249"/>
                    </a:cubicBezTo>
                    <a:cubicBezTo>
                      <a:pt x="4" y="248"/>
                      <a:pt x="5" y="247"/>
                      <a:pt x="6" y="247"/>
                    </a:cubicBezTo>
                    <a:cubicBezTo>
                      <a:pt x="7" y="247"/>
                      <a:pt x="7" y="247"/>
                      <a:pt x="7" y="248"/>
                    </a:cubicBezTo>
                    <a:cubicBezTo>
                      <a:pt x="8" y="248"/>
                      <a:pt x="8" y="248"/>
                      <a:pt x="8" y="248"/>
                    </a:cubicBezTo>
                    <a:cubicBezTo>
                      <a:pt x="9" y="248"/>
                      <a:pt x="9" y="248"/>
                      <a:pt x="10" y="249"/>
                    </a:cubicBezTo>
                    <a:cubicBezTo>
                      <a:pt x="12" y="251"/>
                      <a:pt x="13" y="256"/>
                      <a:pt x="14" y="263"/>
                    </a:cubicBezTo>
                    <a:cubicBezTo>
                      <a:pt x="14" y="263"/>
                      <a:pt x="14" y="263"/>
                      <a:pt x="14" y="263"/>
                    </a:cubicBezTo>
                    <a:cubicBezTo>
                      <a:pt x="15" y="263"/>
                      <a:pt x="15" y="263"/>
                      <a:pt x="15" y="263"/>
                    </a:cubicBezTo>
                    <a:cubicBezTo>
                      <a:pt x="15" y="263"/>
                      <a:pt x="16" y="263"/>
                      <a:pt x="17" y="264"/>
                    </a:cubicBezTo>
                    <a:cubicBezTo>
                      <a:pt x="20" y="264"/>
                      <a:pt x="20" y="264"/>
                      <a:pt x="20" y="264"/>
                    </a:cubicBezTo>
                    <a:cubicBezTo>
                      <a:pt x="18" y="268"/>
                      <a:pt x="18" y="268"/>
                      <a:pt x="18" y="268"/>
                    </a:cubicBezTo>
                    <a:cubicBezTo>
                      <a:pt x="18" y="268"/>
                      <a:pt x="18" y="269"/>
                      <a:pt x="18" y="270"/>
                    </a:cubicBezTo>
                    <a:cubicBezTo>
                      <a:pt x="18" y="272"/>
                      <a:pt x="18" y="272"/>
                      <a:pt x="18" y="272"/>
                    </a:cubicBezTo>
                    <a:cubicBezTo>
                      <a:pt x="17" y="276"/>
                      <a:pt x="17" y="276"/>
                      <a:pt x="19" y="278"/>
                    </a:cubicBezTo>
                    <a:cubicBezTo>
                      <a:pt x="20" y="279"/>
                      <a:pt x="20" y="279"/>
                      <a:pt x="20" y="279"/>
                    </a:cubicBezTo>
                    <a:cubicBezTo>
                      <a:pt x="22" y="280"/>
                      <a:pt x="25" y="281"/>
                      <a:pt x="26" y="284"/>
                    </a:cubicBezTo>
                    <a:cubicBezTo>
                      <a:pt x="28" y="286"/>
                      <a:pt x="26" y="288"/>
                      <a:pt x="26" y="290"/>
                    </a:cubicBezTo>
                    <a:cubicBezTo>
                      <a:pt x="26" y="290"/>
                      <a:pt x="26" y="290"/>
                      <a:pt x="26" y="290"/>
                    </a:cubicBezTo>
                    <a:cubicBezTo>
                      <a:pt x="25" y="291"/>
                      <a:pt x="25" y="292"/>
                      <a:pt x="25" y="292"/>
                    </a:cubicBezTo>
                    <a:cubicBezTo>
                      <a:pt x="25" y="292"/>
                      <a:pt x="25" y="292"/>
                      <a:pt x="25" y="292"/>
                    </a:cubicBezTo>
                    <a:cubicBezTo>
                      <a:pt x="24" y="292"/>
                      <a:pt x="24" y="292"/>
                      <a:pt x="24" y="292"/>
                    </a:cubicBezTo>
                    <a:cubicBezTo>
                      <a:pt x="25" y="293"/>
                      <a:pt x="25" y="293"/>
                      <a:pt x="25" y="293"/>
                    </a:cubicBezTo>
                    <a:cubicBezTo>
                      <a:pt x="25" y="293"/>
                      <a:pt x="25" y="293"/>
                      <a:pt x="25" y="293"/>
                    </a:cubicBezTo>
                    <a:cubicBezTo>
                      <a:pt x="30" y="300"/>
                      <a:pt x="30" y="300"/>
                      <a:pt x="30" y="300"/>
                    </a:cubicBezTo>
                    <a:cubicBezTo>
                      <a:pt x="31" y="301"/>
                      <a:pt x="32" y="302"/>
                      <a:pt x="33" y="304"/>
                    </a:cubicBezTo>
                    <a:cubicBezTo>
                      <a:pt x="34" y="305"/>
                      <a:pt x="34" y="305"/>
                      <a:pt x="34" y="305"/>
                    </a:cubicBezTo>
                    <a:cubicBezTo>
                      <a:pt x="36" y="307"/>
                      <a:pt x="37" y="309"/>
                      <a:pt x="39" y="311"/>
                    </a:cubicBezTo>
                    <a:cubicBezTo>
                      <a:pt x="41" y="314"/>
                      <a:pt x="44" y="318"/>
                      <a:pt x="44" y="323"/>
                    </a:cubicBezTo>
                    <a:cubicBezTo>
                      <a:pt x="43" y="324"/>
                      <a:pt x="43" y="324"/>
                      <a:pt x="43" y="325"/>
                    </a:cubicBezTo>
                    <a:cubicBezTo>
                      <a:pt x="43" y="326"/>
                      <a:pt x="43" y="326"/>
                      <a:pt x="43" y="326"/>
                    </a:cubicBezTo>
                    <a:cubicBezTo>
                      <a:pt x="43" y="327"/>
                      <a:pt x="43" y="328"/>
                      <a:pt x="42" y="329"/>
                    </a:cubicBezTo>
                    <a:cubicBezTo>
                      <a:pt x="43" y="330"/>
                      <a:pt x="43" y="330"/>
                      <a:pt x="42" y="331"/>
                    </a:cubicBezTo>
                    <a:cubicBezTo>
                      <a:pt x="43" y="334"/>
                      <a:pt x="41" y="336"/>
                      <a:pt x="40" y="336"/>
                    </a:cubicBezTo>
                    <a:cubicBezTo>
                      <a:pt x="40" y="337"/>
                      <a:pt x="40" y="337"/>
                      <a:pt x="40" y="337"/>
                    </a:cubicBezTo>
                    <a:cubicBezTo>
                      <a:pt x="39" y="337"/>
                      <a:pt x="39" y="338"/>
                      <a:pt x="39" y="338"/>
                    </a:cubicBezTo>
                    <a:cubicBezTo>
                      <a:pt x="39" y="339"/>
                      <a:pt x="39" y="339"/>
                      <a:pt x="39" y="339"/>
                    </a:cubicBezTo>
                    <a:cubicBezTo>
                      <a:pt x="39" y="342"/>
                      <a:pt x="39" y="342"/>
                      <a:pt x="39" y="342"/>
                    </a:cubicBezTo>
                    <a:cubicBezTo>
                      <a:pt x="39" y="343"/>
                      <a:pt x="39" y="343"/>
                      <a:pt x="39" y="343"/>
                    </a:cubicBezTo>
                    <a:cubicBezTo>
                      <a:pt x="40" y="343"/>
                      <a:pt x="40" y="343"/>
                      <a:pt x="41" y="343"/>
                    </a:cubicBezTo>
                    <a:cubicBezTo>
                      <a:pt x="41" y="343"/>
                      <a:pt x="42" y="343"/>
                      <a:pt x="43" y="343"/>
                    </a:cubicBezTo>
                    <a:cubicBezTo>
                      <a:pt x="43" y="343"/>
                      <a:pt x="44" y="343"/>
                      <a:pt x="44" y="343"/>
                    </a:cubicBezTo>
                    <a:cubicBezTo>
                      <a:pt x="45" y="343"/>
                      <a:pt x="45" y="343"/>
                      <a:pt x="46" y="343"/>
                    </a:cubicBezTo>
                    <a:cubicBezTo>
                      <a:pt x="49" y="343"/>
                      <a:pt x="49" y="343"/>
                      <a:pt x="49" y="343"/>
                    </a:cubicBezTo>
                    <a:cubicBezTo>
                      <a:pt x="51" y="343"/>
                      <a:pt x="53" y="343"/>
                      <a:pt x="55" y="346"/>
                    </a:cubicBezTo>
                    <a:cubicBezTo>
                      <a:pt x="55" y="347"/>
                      <a:pt x="55" y="348"/>
                      <a:pt x="56" y="350"/>
                    </a:cubicBezTo>
                    <a:cubicBezTo>
                      <a:pt x="56" y="351"/>
                      <a:pt x="56" y="351"/>
                      <a:pt x="56" y="352"/>
                    </a:cubicBezTo>
                    <a:cubicBezTo>
                      <a:pt x="56" y="353"/>
                      <a:pt x="56" y="353"/>
                      <a:pt x="56" y="354"/>
                    </a:cubicBezTo>
                    <a:cubicBezTo>
                      <a:pt x="57" y="354"/>
                      <a:pt x="58" y="354"/>
                      <a:pt x="59" y="354"/>
                    </a:cubicBezTo>
                    <a:cubicBezTo>
                      <a:pt x="60" y="354"/>
                      <a:pt x="60" y="354"/>
                      <a:pt x="60" y="354"/>
                    </a:cubicBezTo>
                    <a:cubicBezTo>
                      <a:pt x="61" y="355"/>
                      <a:pt x="61" y="355"/>
                      <a:pt x="61" y="355"/>
                    </a:cubicBezTo>
                    <a:cubicBezTo>
                      <a:pt x="62" y="355"/>
                      <a:pt x="62" y="355"/>
                      <a:pt x="62" y="355"/>
                    </a:cubicBezTo>
                    <a:cubicBezTo>
                      <a:pt x="64" y="355"/>
                      <a:pt x="67" y="356"/>
                      <a:pt x="69" y="356"/>
                    </a:cubicBezTo>
                    <a:cubicBezTo>
                      <a:pt x="71" y="357"/>
                      <a:pt x="75" y="360"/>
                      <a:pt x="77" y="362"/>
                    </a:cubicBezTo>
                    <a:cubicBezTo>
                      <a:pt x="78" y="363"/>
                      <a:pt x="78" y="363"/>
                      <a:pt x="78" y="363"/>
                    </a:cubicBezTo>
                    <a:cubicBezTo>
                      <a:pt x="79" y="364"/>
                      <a:pt x="79" y="364"/>
                      <a:pt x="79" y="364"/>
                    </a:cubicBezTo>
                    <a:cubicBezTo>
                      <a:pt x="79" y="364"/>
                      <a:pt x="79" y="364"/>
                      <a:pt x="79" y="364"/>
                    </a:cubicBezTo>
                    <a:cubicBezTo>
                      <a:pt x="80" y="366"/>
                      <a:pt x="80" y="366"/>
                      <a:pt x="80" y="366"/>
                    </a:cubicBezTo>
                    <a:cubicBezTo>
                      <a:pt x="81" y="367"/>
                      <a:pt x="81" y="367"/>
                      <a:pt x="81" y="367"/>
                    </a:cubicBezTo>
                    <a:cubicBezTo>
                      <a:pt x="81" y="368"/>
                      <a:pt x="81" y="368"/>
                      <a:pt x="81" y="368"/>
                    </a:cubicBezTo>
                    <a:cubicBezTo>
                      <a:pt x="81" y="368"/>
                      <a:pt x="81" y="369"/>
                      <a:pt x="81" y="369"/>
                    </a:cubicBezTo>
                    <a:cubicBezTo>
                      <a:pt x="81" y="370"/>
                      <a:pt x="81" y="370"/>
                      <a:pt x="81" y="370"/>
                    </a:cubicBezTo>
                    <a:cubicBezTo>
                      <a:pt x="81" y="371"/>
                      <a:pt x="82" y="371"/>
                      <a:pt x="83" y="372"/>
                    </a:cubicBezTo>
                    <a:cubicBezTo>
                      <a:pt x="103" y="390"/>
                      <a:pt x="103" y="390"/>
                      <a:pt x="103" y="390"/>
                    </a:cubicBezTo>
                    <a:cubicBezTo>
                      <a:pt x="105" y="387"/>
                      <a:pt x="105" y="387"/>
                      <a:pt x="105" y="387"/>
                    </a:cubicBezTo>
                    <a:cubicBezTo>
                      <a:pt x="104" y="391"/>
                      <a:pt x="104" y="391"/>
                      <a:pt x="104" y="391"/>
                    </a:cubicBezTo>
                    <a:cubicBezTo>
                      <a:pt x="105" y="391"/>
                      <a:pt x="105" y="391"/>
                      <a:pt x="105" y="391"/>
                    </a:cubicBezTo>
                    <a:cubicBezTo>
                      <a:pt x="105" y="392"/>
                      <a:pt x="105" y="392"/>
                      <a:pt x="105" y="392"/>
                    </a:cubicBezTo>
                    <a:cubicBezTo>
                      <a:pt x="109" y="389"/>
                      <a:pt x="109" y="389"/>
                      <a:pt x="109" y="389"/>
                    </a:cubicBezTo>
                    <a:cubicBezTo>
                      <a:pt x="106" y="393"/>
                      <a:pt x="106" y="393"/>
                      <a:pt x="106" y="393"/>
                    </a:cubicBezTo>
                    <a:cubicBezTo>
                      <a:pt x="106" y="393"/>
                      <a:pt x="106" y="393"/>
                      <a:pt x="106" y="393"/>
                    </a:cubicBezTo>
                    <a:cubicBezTo>
                      <a:pt x="107" y="395"/>
                      <a:pt x="107" y="396"/>
                      <a:pt x="107" y="397"/>
                    </a:cubicBezTo>
                    <a:cubicBezTo>
                      <a:pt x="107" y="397"/>
                      <a:pt x="106" y="398"/>
                      <a:pt x="106" y="399"/>
                    </a:cubicBezTo>
                    <a:cubicBezTo>
                      <a:pt x="105" y="400"/>
                      <a:pt x="105" y="400"/>
                      <a:pt x="105" y="400"/>
                    </a:cubicBezTo>
                    <a:cubicBezTo>
                      <a:pt x="105" y="400"/>
                      <a:pt x="105" y="401"/>
                      <a:pt x="105" y="401"/>
                    </a:cubicBezTo>
                    <a:cubicBezTo>
                      <a:pt x="105" y="402"/>
                      <a:pt x="106" y="402"/>
                      <a:pt x="106" y="402"/>
                    </a:cubicBezTo>
                    <a:cubicBezTo>
                      <a:pt x="106" y="403"/>
                      <a:pt x="106" y="403"/>
                      <a:pt x="106" y="403"/>
                    </a:cubicBezTo>
                    <a:cubicBezTo>
                      <a:pt x="106" y="403"/>
                      <a:pt x="107" y="404"/>
                      <a:pt x="107" y="404"/>
                    </a:cubicBezTo>
                    <a:cubicBezTo>
                      <a:pt x="107" y="405"/>
                      <a:pt x="107" y="405"/>
                      <a:pt x="107" y="405"/>
                    </a:cubicBezTo>
                    <a:cubicBezTo>
                      <a:pt x="108" y="405"/>
                      <a:pt x="108" y="405"/>
                      <a:pt x="108" y="405"/>
                    </a:cubicBezTo>
                    <a:cubicBezTo>
                      <a:pt x="108" y="406"/>
                      <a:pt x="109" y="406"/>
                      <a:pt x="111" y="407"/>
                    </a:cubicBezTo>
                    <a:cubicBezTo>
                      <a:pt x="112" y="407"/>
                      <a:pt x="112" y="407"/>
                      <a:pt x="112" y="407"/>
                    </a:cubicBezTo>
                    <a:cubicBezTo>
                      <a:pt x="114" y="408"/>
                      <a:pt x="117" y="410"/>
                      <a:pt x="119" y="411"/>
                    </a:cubicBezTo>
                    <a:cubicBezTo>
                      <a:pt x="122" y="413"/>
                      <a:pt x="126" y="415"/>
                      <a:pt x="127" y="418"/>
                    </a:cubicBezTo>
                    <a:cubicBezTo>
                      <a:pt x="128" y="420"/>
                      <a:pt x="128" y="421"/>
                      <a:pt x="128" y="422"/>
                    </a:cubicBezTo>
                    <a:cubicBezTo>
                      <a:pt x="127" y="422"/>
                      <a:pt x="127" y="422"/>
                      <a:pt x="127" y="422"/>
                    </a:cubicBezTo>
                    <a:cubicBezTo>
                      <a:pt x="127" y="422"/>
                      <a:pt x="127" y="422"/>
                      <a:pt x="127" y="422"/>
                    </a:cubicBezTo>
                    <a:cubicBezTo>
                      <a:pt x="128" y="422"/>
                      <a:pt x="128" y="422"/>
                      <a:pt x="128" y="422"/>
                    </a:cubicBezTo>
                    <a:cubicBezTo>
                      <a:pt x="128" y="423"/>
                      <a:pt x="128" y="423"/>
                      <a:pt x="128" y="423"/>
                    </a:cubicBezTo>
                    <a:cubicBezTo>
                      <a:pt x="129" y="425"/>
                      <a:pt x="130" y="427"/>
                      <a:pt x="131" y="430"/>
                    </a:cubicBezTo>
                    <a:cubicBezTo>
                      <a:pt x="132" y="431"/>
                      <a:pt x="132" y="431"/>
                      <a:pt x="132" y="431"/>
                    </a:cubicBezTo>
                    <a:cubicBezTo>
                      <a:pt x="136" y="434"/>
                      <a:pt x="138" y="437"/>
                      <a:pt x="139" y="440"/>
                    </a:cubicBezTo>
                    <a:cubicBezTo>
                      <a:pt x="140" y="442"/>
                      <a:pt x="145" y="444"/>
                      <a:pt x="148" y="446"/>
                    </a:cubicBezTo>
                    <a:cubicBezTo>
                      <a:pt x="149" y="446"/>
                      <a:pt x="150" y="447"/>
                      <a:pt x="150" y="447"/>
                    </a:cubicBezTo>
                    <a:cubicBezTo>
                      <a:pt x="151" y="447"/>
                      <a:pt x="151" y="447"/>
                      <a:pt x="151" y="447"/>
                    </a:cubicBezTo>
                    <a:cubicBezTo>
                      <a:pt x="152" y="447"/>
                      <a:pt x="152" y="447"/>
                      <a:pt x="152" y="447"/>
                    </a:cubicBezTo>
                    <a:cubicBezTo>
                      <a:pt x="152" y="446"/>
                      <a:pt x="153" y="445"/>
                      <a:pt x="155" y="445"/>
                    </a:cubicBezTo>
                    <a:cubicBezTo>
                      <a:pt x="156" y="445"/>
                      <a:pt x="157" y="444"/>
                      <a:pt x="158" y="444"/>
                    </a:cubicBezTo>
                    <a:cubicBezTo>
                      <a:pt x="160" y="444"/>
                      <a:pt x="163" y="445"/>
                      <a:pt x="165" y="445"/>
                    </a:cubicBezTo>
                    <a:cubicBezTo>
                      <a:pt x="167" y="446"/>
                      <a:pt x="169" y="446"/>
                      <a:pt x="170" y="446"/>
                    </a:cubicBezTo>
                    <a:cubicBezTo>
                      <a:pt x="171" y="446"/>
                      <a:pt x="171" y="446"/>
                      <a:pt x="171" y="446"/>
                    </a:cubicBezTo>
                    <a:cubicBezTo>
                      <a:pt x="171" y="446"/>
                      <a:pt x="171" y="446"/>
                      <a:pt x="171" y="446"/>
                    </a:cubicBezTo>
                    <a:cubicBezTo>
                      <a:pt x="171" y="446"/>
                      <a:pt x="171" y="446"/>
                      <a:pt x="171" y="446"/>
                    </a:cubicBezTo>
                    <a:cubicBezTo>
                      <a:pt x="172" y="445"/>
                      <a:pt x="172" y="444"/>
                      <a:pt x="173" y="444"/>
                    </a:cubicBezTo>
                    <a:cubicBezTo>
                      <a:pt x="176" y="442"/>
                      <a:pt x="179" y="442"/>
                      <a:pt x="182" y="441"/>
                    </a:cubicBezTo>
                    <a:cubicBezTo>
                      <a:pt x="183" y="441"/>
                      <a:pt x="184" y="441"/>
                      <a:pt x="185" y="441"/>
                    </a:cubicBezTo>
                    <a:cubicBezTo>
                      <a:pt x="188" y="441"/>
                      <a:pt x="188" y="441"/>
                      <a:pt x="188" y="441"/>
                    </a:cubicBezTo>
                    <a:cubicBezTo>
                      <a:pt x="188" y="444"/>
                      <a:pt x="188" y="444"/>
                      <a:pt x="188" y="444"/>
                    </a:cubicBezTo>
                    <a:cubicBezTo>
                      <a:pt x="188" y="445"/>
                      <a:pt x="188" y="446"/>
                      <a:pt x="188" y="446"/>
                    </a:cubicBezTo>
                    <a:cubicBezTo>
                      <a:pt x="188" y="447"/>
                      <a:pt x="188" y="448"/>
                      <a:pt x="188" y="448"/>
                    </a:cubicBezTo>
                    <a:cubicBezTo>
                      <a:pt x="192" y="452"/>
                      <a:pt x="192" y="452"/>
                      <a:pt x="192" y="452"/>
                    </a:cubicBezTo>
                    <a:cubicBezTo>
                      <a:pt x="194" y="454"/>
                      <a:pt x="195" y="455"/>
                      <a:pt x="197" y="456"/>
                    </a:cubicBezTo>
                    <a:cubicBezTo>
                      <a:pt x="197" y="456"/>
                      <a:pt x="198" y="456"/>
                      <a:pt x="199" y="456"/>
                    </a:cubicBezTo>
                    <a:cubicBezTo>
                      <a:pt x="200" y="457"/>
                      <a:pt x="200" y="457"/>
                      <a:pt x="200" y="457"/>
                    </a:cubicBezTo>
                    <a:cubicBezTo>
                      <a:pt x="201" y="457"/>
                      <a:pt x="203" y="458"/>
                      <a:pt x="205" y="460"/>
                    </a:cubicBezTo>
                    <a:cubicBezTo>
                      <a:pt x="205" y="461"/>
                      <a:pt x="205" y="462"/>
                      <a:pt x="205" y="463"/>
                    </a:cubicBezTo>
                    <a:cubicBezTo>
                      <a:pt x="205" y="464"/>
                      <a:pt x="205" y="464"/>
                      <a:pt x="205" y="465"/>
                    </a:cubicBezTo>
                    <a:cubicBezTo>
                      <a:pt x="206" y="465"/>
                      <a:pt x="206" y="465"/>
                      <a:pt x="206" y="465"/>
                    </a:cubicBezTo>
                    <a:cubicBezTo>
                      <a:pt x="207" y="465"/>
                      <a:pt x="208" y="465"/>
                      <a:pt x="209" y="466"/>
                    </a:cubicBezTo>
                    <a:cubicBezTo>
                      <a:pt x="209" y="465"/>
                      <a:pt x="210" y="465"/>
                      <a:pt x="210" y="464"/>
                    </a:cubicBezTo>
                    <a:cubicBezTo>
                      <a:pt x="211" y="464"/>
                      <a:pt x="211" y="464"/>
                      <a:pt x="211" y="464"/>
                    </a:cubicBezTo>
                    <a:cubicBezTo>
                      <a:pt x="212" y="463"/>
                      <a:pt x="212" y="463"/>
                      <a:pt x="212" y="463"/>
                    </a:cubicBezTo>
                    <a:cubicBezTo>
                      <a:pt x="213" y="462"/>
                      <a:pt x="213" y="462"/>
                      <a:pt x="213" y="462"/>
                    </a:cubicBezTo>
                    <a:cubicBezTo>
                      <a:pt x="214" y="461"/>
                      <a:pt x="215" y="460"/>
                      <a:pt x="216" y="460"/>
                    </a:cubicBezTo>
                    <a:cubicBezTo>
                      <a:pt x="217" y="460"/>
                      <a:pt x="218" y="460"/>
                      <a:pt x="219" y="461"/>
                    </a:cubicBezTo>
                    <a:cubicBezTo>
                      <a:pt x="219" y="461"/>
                      <a:pt x="220" y="461"/>
                      <a:pt x="221" y="461"/>
                    </a:cubicBezTo>
                    <a:cubicBezTo>
                      <a:pt x="222" y="462"/>
                      <a:pt x="223" y="462"/>
                      <a:pt x="224" y="462"/>
                    </a:cubicBezTo>
                    <a:cubicBezTo>
                      <a:pt x="224" y="462"/>
                      <a:pt x="224" y="462"/>
                      <a:pt x="224" y="462"/>
                    </a:cubicBezTo>
                    <a:cubicBezTo>
                      <a:pt x="225" y="462"/>
                      <a:pt x="225" y="462"/>
                      <a:pt x="226" y="462"/>
                    </a:cubicBezTo>
                    <a:cubicBezTo>
                      <a:pt x="232" y="458"/>
                      <a:pt x="232" y="458"/>
                      <a:pt x="232" y="458"/>
                    </a:cubicBezTo>
                    <a:cubicBezTo>
                      <a:pt x="234" y="460"/>
                      <a:pt x="234" y="460"/>
                      <a:pt x="234" y="460"/>
                    </a:cubicBezTo>
                    <a:cubicBezTo>
                      <a:pt x="237" y="464"/>
                      <a:pt x="237" y="464"/>
                      <a:pt x="237" y="464"/>
                    </a:cubicBezTo>
                    <a:cubicBezTo>
                      <a:pt x="237" y="464"/>
                      <a:pt x="237" y="464"/>
                      <a:pt x="237" y="464"/>
                    </a:cubicBezTo>
                    <a:cubicBezTo>
                      <a:pt x="237" y="464"/>
                      <a:pt x="238" y="464"/>
                      <a:pt x="239" y="464"/>
                    </a:cubicBezTo>
                    <a:cubicBezTo>
                      <a:pt x="240" y="465"/>
                      <a:pt x="240" y="465"/>
                      <a:pt x="240" y="465"/>
                    </a:cubicBezTo>
                    <a:cubicBezTo>
                      <a:pt x="240" y="465"/>
                      <a:pt x="240" y="465"/>
                      <a:pt x="240" y="465"/>
                    </a:cubicBezTo>
                    <a:cubicBezTo>
                      <a:pt x="241" y="464"/>
                      <a:pt x="242" y="463"/>
                      <a:pt x="243" y="462"/>
                    </a:cubicBezTo>
                    <a:cubicBezTo>
                      <a:pt x="245" y="461"/>
                      <a:pt x="247" y="460"/>
                      <a:pt x="250" y="459"/>
                    </a:cubicBezTo>
                    <a:cubicBezTo>
                      <a:pt x="250" y="459"/>
                      <a:pt x="255" y="457"/>
                      <a:pt x="259" y="457"/>
                    </a:cubicBezTo>
                    <a:cubicBezTo>
                      <a:pt x="260" y="457"/>
                      <a:pt x="261" y="457"/>
                      <a:pt x="261" y="457"/>
                    </a:cubicBezTo>
                    <a:cubicBezTo>
                      <a:pt x="262" y="458"/>
                      <a:pt x="263" y="458"/>
                      <a:pt x="264" y="459"/>
                    </a:cubicBezTo>
                    <a:cubicBezTo>
                      <a:pt x="265" y="459"/>
                      <a:pt x="266" y="460"/>
                      <a:pt x="268" y="460"/>
                    </a:cubicBezTo>
                    <a:cubicBezTo>
                      <a:pt x="269" y="460"/>
                      <a:pt x="269" y="460"/>
                      <a:pt x="270" y="460"/>
                    </a:cubicBezTo>
                    <a:cubicBezTo>
                      <a:pt x="271" y="460"/>
                      <a:pt x="271" y="460"/>
                      <a:pt x="273" y="458"/>
                    </a:cubicBezTo>
                    <a:cubicBezTo>
                      <a:pt x="280" y="451"/>
                      <a:pt x="280" y="451"/>
                      <a:pt x="280" y="451"/>
                    </a:cubicBezTo>
                    <a:cubicBezTo>
                      <a:pt x="280" y="450"/>
                      <a:pt x="280" y="450"/>
                      <a:pt x="280" y="450"/>
                    </a:cubicBezTo>
                    <a:cubicBezTo>
                      <a:pt x="281" y="450"/>
                      <a:pt x="281" y="450"/>
                      <a:pt x="281" y="450"/>
                    </a:cubicBezTo>
                    <a:cubicBezTo>
                      <a:pt x="285" y="446"/>
                      <a:pt x="285" y="446"/>
                      <a:pt x="285" y="446"/>
                    </a:cubicBezTo>
                    <a:cubicBezTo>
                      <a:pt x="286" y="445"/>
                      <a:pt x="286" y="445"/>
                      <a:pt x="287" y="445"/>
                    </a:cubicBezTo>
                    <a:cubicBezTo>
                      <a:pt x="287" y="444"/>
                      <a:pt x="287" y="444"/>
                      <a:pt x="287" y="444"/>
                    </a:cubicBezTo>
                    <a:cubicBezTo>
                      <a:pt x="288" y="444"/>
                      <a:pt x="288" y="444"/>
                      <a:pt x="288" y="444"/>
                    </a:cubicBezTo>
                    <a:cubicBezTo>
                      <a:pt x="289" y="442"/>
                      <a:pt x="291" y="440"/>
                      <a:pt x="294" y="440"/>
                    </a:cubicBezTo>
                    <a:cubicBezTo>
                      <a:pt x="320" y="440"/>
                      <a:pt x="320" y="440"/>
                      <a:pt x="320" y="440"/>
                    </a:cubicBezTo>
                    <a:cubicBezTo>
                      <a:pt x="320" y="440"/>
                      <a:pt x="320" y="440"/>
                      <a:pt x="321" y="441"/>
                    </a:cubicBezTo>
                    <a:cubicBezTo>
                      <a:pt x="321" y="441"/>
                      <a:pt x="321" y="441"/>
                      <a:pt x="321" y="441"/>
                    </a:cubicBezTo>
                    <a:cubicBezTo>
                      <a:pt x="320" y="440"/>
                      <a:pt x="320" y="440"/>
                      <a:pt x="320" y="440"/>
                    </a:cubicBezTo>
                    <a:cubicBezTo>
                      <a:pt x="320" y="440"/>
                      <a:pt x="320" y="439"/>
                      <a:pt x="319" y="438"/>
                    </a:cubicBezTo>
                    <a:cubicBezTo>
                      <a:pt x="320" y="439"/>
                      <a:pt x="320" y="439"/>
                      <a:pt x="320" y="440"/>
                    </a:cubicBezTo>
                    <a:cubicBezTo>
                      <a:pt x="322" y="440"/>
                      <a:pt x="322" y="440"/>
                      <a:pt x="322" y="440"/>
                    </a:cubicBezTo>
                    <a:cubicBezTo>
                      <a:pt x="322" y="436"/>
                      <a:pt x="322" y="436"/>
                      <a:pt x="322" y="436"/>
                    </a:cubicBezTo>
                    <a:cubicBezTo>
                      <a:pt x="322" y="436"/>
                      <a:pt x="322" y="435"/>
                      <a:pt x="322" y="434"/>
                    </a:cubicBezTo>
                    <a:cubicBezTo>
                      <a:pt x="322" y="433"/>
                      <a:pt x="322" y="433"/>
                      <a:pt x="322" y="433"/>
                    </a:cubicBezTo>
                    <a:cubicBezTo>
                      <a:pt x="322" y="432"/>
                      <a:pt x="322" y="432"/>
                      <a:pt x="322" y="431"/>
                    </a:cubicBezTo>
                    <a:cubicBezTo>
                      <a:pt x="323" y="430"/>
                      <a:pt x="323" y="430"/>
                      <a:pt x="323" y="430"/>
                    </a:cubicBezTo>
                    <a:cubicBezTo>
                      <a:pt x="323" y="429"/>
                      <a:pt x="323" y="429"/>
                      <a:pt x="323" y="428"/>
                    </a:cubicBezTo>
                    <a:cubicBezTo>
                      <a:pt x="323" y="428"/>
                      <a:pt x="323" y="428"/>
                      <a:pt x="323" y="428"/>
                    </a:cubicBezTo>
                    <a:cubicBezTo>
                      <a:pt x="323" y="428"/>
                      <a:pt x="322" y="428"/>
                      <a:pt x="321" y="428"/>
                    </a:cubicBezTo>
                    <a:cubicBezTo>
                      <a:pt x="321" y="428"/>
                      <a:pt x="321" y="428"/>
                      <a:pt x="321" y="428"/>
                    </a:cubicBezTo>
                    <a:cubicBezTo>
                      <a:pt x="320" y="427"/>
                      <a:pt x="320" y="427"/>
                      <a:pt x="320" y="427"/>
                    </a:cubicBezTo>
                    <a:cubicBezTo>
                      <a:pt x="318" y="427"/>
                      <a:pt x="316" y="426"/>
                      <a:pt x="314" y="425"/>
                    </a:cubicBezTo>
                    <a:cubicBezTo>
                      <a:pt x="313" y="425"/>
                      <a:pt x="313" y="425"/>
                      <a:pt x="313" y="424"/>
                    </a:cubicBezTo>
                    <a:cubicBezTo>
                      <a:pt x="312" y="424"/>
                      <a:pt x="312" y="424"/>
                      <a:pt x="311" y="423"/>
                    </a:cubicBezTo>
                    <a:cubicBezTo>
                      <a:pt x="310" y="423"/>
                      <a:pt x="310" y="422"/>
                      <a:pt x="309" y="421"/>
                    </a:cubicBezTo>
                    <a:cubicBezTo>
                      <a:pt x="309" y="421"/>
                      <a:pt x="309" y="421"/>
                      <a:pt x="308" y="420"/>
                    </a:cubicBezTo>
                    <a:cubicBezTo>
                      <a:pt x="307" y="419"/>
                      <a:pt x="306" y="417"/>
                      <a:pt x="306" y="416"/>
                    </a:cubicBezTo>
                    <a:cubicBezTo>
                      <a:pt x="306" y="416"/>
                      <a:pt x="302" y="402"/>
                      <a:pt x="298" y="397"/>
                    </a:cubicBezTo>
                    <a:cubicBezTo>
                      <a:pt x="298" y="397"/>
                      <a:pt x="298" y="396"/>
                      <a:pt x="297" y="396"/>
                    </a:cubicBezTo>
                    <a:cubicBezTo>
                      <a:pt x="296" y="394"/>
                      <a:pt x="296" y="394"/>
                      <a:pt x="296" y="394"/>
                    </a:cubicBezTo>
                    <a:cubicBezTo>
                      <a:pt x="294" y="393"/>
                      <a:pt x="293" y="392"/>
                      <a:pt x="292" y="391"/>
                    </a:cubicBezTo>
                    <a:cubicBezTo>
                      <a:pt x="292" y="390"/>
                      <a:pt x="291" y="390"/>
                      <a:pt x="291" y="390"/>
                    </a:cubicBezTo>
                    <a:cubicBezTo>
                      <a:pt x="288" y="388"/>
                      <a:pt x="285" y="386"/>
                      <a:pt x="283" y="383"/>
                    </a:cubicBezTo>
                    <a:cubicBezTo>
                      <a:pt x="283" y="383"/>
                      <a:pt x="283" y="383"/>
                      <a:pt x="283" y="383"/>
                    </a:cubicBezTo>
                    <a:cubicBezTo>
                      <a:pt x="282" y="382"/>
                      <a:pt x="281" y="382"/>
                      <a:pt x="281" y="381"/>
                    </a:cubicBezTo>
                    <a:cubicBezTo>
                      <a:pt x="280" y="380"/>
                      <a:pt x="280" y="380"/>
                      <a:pt x="279" y="379"/>
                    </a:cubicBezTo>
                    <a:cubicBezTo>
                      <a:pt x="279" y="378"/>
                      <a:pt x="279" y="378"/>
                      <a:pt x="279" y="378"/>
                    </a:cubicBezTo>
                    <a:cubicBezTo>
                      <a:pt x="278" y="377"/>
                      <a:pt x="276" y="374"/>
                      <a:pt x="275" y="373"/>
                    </a:cubicBezTo>
                    <a:cubicBezTo>
                      <a:pt x="275" y="373"/>
                      <a:pt x="275" y="373"/>
                      <a:pt x="275" y="373"/>
                    </a:cubicBezTo>
                    <a:cubicBezTo>
                      <a:pt x="274" y="373"/>
                      <a:pt x="273" y="373"/>
                      <a:pt x="273" y="373"/>
                    </a:cubicBezTo>
                    <a:cubicBezTo>
                      <a:pt x="272" y="373"/>
                      <a:pt x="272" y="373"/>
                      <a:pt x="271" y="372"/>
                    </a:cubicBezTo>
                    <a:cubicBezTo>
                      <a:pt x="270" y="372"/>
                      <a:pt x="270" y="372"/>
                      <a:pt x="270" y="372"/>
                    </a:cubicBezTo>
                    <a:cubicBezTo>
                      <a:pt x="268" y="371"/>
                      <a:pt x="265" y="369"/>
                      <a:pt x="263" y="369"/>
                    </a:cubicBezTo>
                    <a:cubicBezTo>
                      <a:pt x="262" y="368"/>
                      <a:pt x="262" y="368"/>
                      <a:pt x="262" y="368"/>
                    </a:cubicBezTo>
                    <a:cubicBezTo>
                      <a:pt x="261" y="368"/>
                      <a:pt x="260" y="367"/>
                      <a:pt x="259" y="367"/>
                    </a:cubicBezTo>
                    <a:cubicBezTo>
                      <a:pt x="256" y="366"/>
                      <a:pt x="256" y="366"/>
                      <a:pt x="256" y="366"/>
                    </a:cubicBezTo>
                    <a:cubicBezTo>
                      <a:pt x="257" y="363"/>
                      <a:pt x="257" y="363"/>
                      <a:pt x="257" y="363"/>
                    </a:cubicBezTo>
                    <a:cubicBezTo>
                      <a:pt x="258" y="362"/>
                      <a:pt x="258" y="360"/>
                      <a:pt x="259" y="359"/>
                    </a:cubicBezTo>
                    <a:cubicBezTo>
                      <a:pt x="260" y="355"/>
                      <a:pt x="261" y="350"/>
                      <a:pt x="266" y="349"/>
                    </a:cubicBezTo>
                    <a:cubicBezTo>
                      <a:pt x="266" y="349"/>
                      <a:pt x="267" y="349"/>
                      <a:pt x="267" y="349"/>
                    </a:cubicBezTo>
                    <a:cubicBezTo>
                      <a:pt x="268" y="349"/>
                      <a:pt x="269" y="349"/>
                      <a:pt x="269" y="349"/>
                    </a:cubicBezTo>
                    <a:cubicBezTo>
                      <a:pt x="270" y="349"/>
                      <a:pt x="270" y="349"/>
                      <a:pt x="270" y="349"/>
                    </a:cubicBezTo>
                    <a:cubicBezTo>
                      <a:pt x="270" y="349"/>
                      <a:pt x="270" y="349"/>
                      <a:pt x="270" y="349"/>
                    </a:cubicBezTo>
                    <a:cubicBezTo>
                      <a:pt x="270" y="349"/>
                      <a:pt x="270" y="349"/>
                      <a:pt x="270" y="349"/>
                    </a:cubicBezTo>
                    <a:cubicBezTo>
                      <a:pt x="272" y="349"/>
                      <a:pt x="273" y="349"/>
                      <a:pt x="275" y="350"/>
                    </a:cubicBezTo>
                    <a:cubicBezTo>
                      <a:pt x="276" y="350"/>
                      <a:pt x="278" y="350"/>
                      <a:pt x="279" y="350"/>
                    </a:cubicBezTo>
                    <a:cubicBezTo>
                      <a:pt x="280" y="350"/>
                      <a:pt x="281" y="350"/>
                      <a:pt x="281" y="350"/>
                    </a:cubicBezTo>
                    <a:cubicBezTo>
                      <a:pt x="282" y="349"/>
                      <a:pt x="282" y="349"/>
                      <a:pt x="282" y="349"/>
                    </a:cubicBezTo>
                    <a:cubicBezTo>
                      <a:pt x="285" y="347"/>
                      <a:pt x="284" y="338"/>
                      <a:pt x="283" y="333"/>
                    </a:cubicBezTo>
                    <a:cubicBezTo>
                      <a:pt x="283" y="332"/>
                      <a:pt x="283" y="332"/>
                      <a:pt x="283" y="332"/>
                    </a:cubicBezTo>
                    <a:cubicBezTo>
                      <a:pt x="283" y="328"/>
                      <a:pt x="283" y="325"/>
                      <a:pt x="284" y="322"/>
                    </a:cubicBezTo>
                    <a:cubicBezTo>
                      <a:pt x="285" y="321"/>
                      <a:pt x="285" y="320"/>
                      <a:pt x="285" y="319"/>
                    </a:cubicBezTo>
                    <a:cubicBezTo>
                      <a:pt x="286" y="318"/>
                      <a:pt x="286" y="318"/>
                      <a:pt x="286" y="318"/>
                    </a:cubicBezTo>
                    <a:cubicBezTo>
                      <a:pt x="286" y="317"/>
                      <a:pt x="287" y="315"/>
                      <a:pt x="287" y="313"/>
                    </a:cubicBezTo>
                    <a:cubicBezTo>
                      <a:pt x="288" y="311"/>
                      <a:pt x="288" y="311"/>
                      <a:pt x="288" y="311"/>
                    </a:cubicBezTo>
                    <a:cubicBezTo>
                      <a:pt x="288" y="311"/>
                      <a:pt x="288" y="310"/>
                      <a:pt x="288" y="309"/>
                    </a:cubicBezTo>
                    <a:cubicBezTo>
                      <a:pt x="289" y="309"/>
                      <a:pt x="288" y="308"/>
                      <a:pt x="288" y="307"/>
                    </a:cubicBezTo>
                    <a:cubicBezTo>
                      <a:pt x="288" y="305"/>
                      <a:pt x="287" y="303"/>
                      <a:pt x="288" y="300"/>
                    </a:cubicBezTo>
                    <a:cubicBezTo>
                      <a:pt x="288" y="300"/>
                      <a:pt x="288" y="299"/>
                      <a:pt x="289" y="299"/>
                    </a:cubicBezTo>
                    <a:cubicBezTo>
                      <a:pt x="290" y="298"/>
                      <a:pt x="290" y="297"/>
                      <a:pt x="291" y="296"/>
                    </a:cubicBezTo>
                    <a:cubicBezTo>
                      <a:pt x="292" y="294"/>
                      <a:pt x="293" y="293"/>
                      <a:pt x="294" y="293"/>
                    </a:cubicBezTo>
                    <a:cubicBezTo>
                      <a:pt x="295" y="293"/>
                      <a:pt x="295" y="293"/>
                      <a:pt x="295" y="293"/>
                    </a:cubicBezTo>
                    <a:cubicBezTo>
                      <a:pt x="295" y="292"/>
                      <a:pt x="295" y="292"/>
                      <a:pt x="295" y="292"/>
                    </a:cubicBezTo>
                    <a:cubicBezTo>
                      <a:pt x="296" y="292"/>
                      <a:pt x="296" y="292"/>
                      <a:pt x="296" y="292"/>
                    </a:cubicBezTo>
                    <a:cubicBezTo>
                      <a:pt x="297" y="292"/>
                      <a:pt x="297" y="292"/>
                      <a:pt x="297" y="292"/>
                    </a:cubicBezTo>
                    <a:cubicBezTo>
                      <a:pt x="297" y="292"/>
                      <a:pt x="297" y="292"/>
                      <a:pt x="297" y="292"/>
                    </a:cubicBezTo>
                    <a:cubicBezTo>
                      <a:pt x="297" y="292"/>
                      <a:pt x="298" y="292"/>
                      <a:pt x="298" y="292"/>
                    </a:cubicBezTo>
                    <a:cubicBezTo>
                      <a:pt x="298" y="292"/>
                      <a:pt x="298" y="292"/>
                      <a:pt x="298" y="292"/>
                    </a:cubicBezTo>
                    <a:cubicBezTo>
                      <a:pt x="299" y="293"/>
                      <a:pt x="299" y="293"/>
                      <a:pt x="299" y="293"/>
                    </a:cubicBezTo>
                    <a:cubicBezTo>
                      <a:pt x="300" y="293"/>
                      <a:pt x="300" y="293"/>
                      <a:pt x="300" y="293"/>
                    </a:cubicBezTo>
                    <a:cubicBezTo>
                      <a:pt x="300" y="294"/>
                      <a:pt x="301" y="294"/>
                      <a:pt x="301" y="294"/>
                    </a:cubicBezTo>
                    <a:cubicBezTo>
                      <a:pt x="302" y="294"/>
                      <a:pt x="302" y="294"/>
                      <a:pt x="302" y="294"/>
                    </a:cubicBezTo>
                    <a:cubicBezTo>
                      <a:pt x="302" y="294"/>
                      <a:pt x="302" y="294"/>
                      <a:pt x="302" y="294"/>
                    </a:cubicBezTo>
                    <a:cubicBezTo>
                      <a:pt x="302" y="294"/>
                      <a:pt x="303" y="294"/>
                      <a:pt x="303" y="294"/>
                    </a:cubicBezTo>
                    <a:cubicBezTo>
                      <a:pt x="303" y="293"/>
                      <a:pt x="303" y="293"/>
                      <a:pt x="303" y="293"/>
                    </a:cubicBezTo>
                    <a:cubicBezTo>
                      <a:pt x="303" y="293"/>
                      <a:pt x="303" y="293"/>
                      <a:pt x="303" y="293"/>
                    </a:cubicBezTo>
                    <a:cubicBezTo>
                      <a:pt x="303" y="293"/>
                      <a:pt x="303" y="293"/>
                      <a:pt x="303" y="293"/>
                    </a:cubicBezTo>
                    <a:cubicBezTo>
                      <a:pt x="303" y="291"/>
                      <a:pt x="303" y="290"/>
                      <a:pt x="303" y="289"/>
                    </a:cubicBezTo>
                    <a:cubicBezTo>
                      <a:pt x="303" y="289"/>
                      <a:pt x="303" y="289"/>
                      <a:pt x="303" y="289"/>
                    </a:cubicBezTo>
                    <a:cubicBezTo>
                      <a:pt x="304" y="288"/>
                      <a:pt x="304" y="288"/>
                      <a:pt x="304" y="287"/>
                    </a:cubicBezTo>
                    <a:cubicBezTo>
                      <a:pt x="304" y="286"/>
                      <a:pt x="304" y="286"/>
                      <a:pt x="304" y="285"/>
                    </a:cubicBezTo>
                    <a:cubicBezTo>
                      <a:pt x="304" y="284"/>
                      <a:pt x="304" y="284"/>
                      <a:pt x="304" y="284"/>
                    </a:cubicBezTo>
                    <a:cubicBezTo>
                      <a:pt x="304" y="284"/>
                      <a:pt x="304" y="283"/>
                      <a:pt x="305" y="282"/>
                    </a:cubicBezTo>
                    <a:cubicBezTo>
                      <a:pt x="305" y="280"/>
                      <a:pt x="305" y="278"/>
                      <a:pt x="306" y="277"/>
                    </a:cubicBezTo>
                    <a:cubicBezTo>
                      <a:pt x="306" y="275"/>
                      <a:pt x="306" y="275"/>
                      <a:pt x="306" y="275"/>
                    </a:cubicBezTo>
                    <a:cubicBezTo>
                      <a:pt x="307" y="272"/>
                      <a:pt x="308" y="269"/>
                      <a:pt x="311" y="267"/>
                    </a:cubicBezTo>
                    <a:cubicBezTo>
                      <a:pt x="312" y="266"/>
                      <a:pt x="313" y="264"/>
                      <a:pt x="314" y="262"/>
                    </a:cubicBezTo>
                    <a:cubicBezTo>
                      <a:pt x="315" y="260"/>
                      <a:pt x="317" y="258"/>
                      <a:pt x="318" y="256"/>
                    </a:cubicBezTo>
                    <a:cubicBezTo>
                      <a:pt x="318" y="255"/>
                      <a:pt x="318" y="255"/>
                      <a:pt x="318" y="255"/>
                    </a:cubicBezTo>
                    <a:cubicBezTo>
                      <a:pt x="319" y="254"/>
                      <a:pt x="320" y="252"/>
                      <a:pt x="320" y="251"/>
                    </a:cubicBezTo>
                    <a:cubicBezTo>
                      <a:pt x="321" y="250"/>
                      <a:pt x="323" y="249"/>
                      <a:pt x="325" y="248"/>
                    </a:cubicBezTo>
                    <a:cubicBezTo>
                      <a:pt x="326" y="248"/>
                      <a:pt x="326" y="248"/>
                      <a:pt x="326" y="248"/>
                    </a:cubicBezTo>
                    <a:cubicBezTo>
                      <a:pt x="326" y="248"/>
                      <a:pt x="326" y="248"/>
                      <a:pt x="326" y="248"/>
                    </a:cubicBezTo>
                    <a:cubicBezTo>
                      <a:pt x="327" y="248"/>
                      <a:pt x="328" y="249"/>
                      <a:pt x="329" y="249"/>
                    </a:cubicBezTo>
                    <a:cubicBezTo>
                      <a:pt x="329" y="249"/>
                      <a:pt x="330" y="249"/>
                      <a:pt x="331" y="249"/>
                    </a:cubicBezTo>
                    <a:cubicBezTo>
                      <a:pt x="331" y="249"/>
                      <a:pt x="331" y="249"/>
                      <a:pt x="331" y="249"/>
                    </a:cubicBezTo>
                    <a:cubicBezTo>
                      <a:pt x="331" y="249"/>
                      <a:pt x="331" y="249"/>
                      <a:pt x="332" y="249"/>
                    </a:cubicBezTo>
                    <a:cubicBezTo>
                      <a:pt x="332" y="249"/>
                      <a:pt x="332" y="248"/>
                      <a:pt x="333" y="244"/>
                    </a:cubicBezTo>
                    <a:cubicBezTo>
                      <a:pt x="333" y="243"/>
                      <a:pt x="333" y="243"/>
                      <a:pt x="333" y="243"/>
                    </a:cubicBezTo>
                    <a:cubicBezTo>
                      <a:pt x="334" y="239"/>
                      <a:pt x="334" y="239"/>
                      <a:pt x="334" y="239"/>
                    </a:cubicBezTo>
                    <a:cubicBezTo>
                      <a:pt x="336" y="234"/>
                      <a:pt x="337" y="229"/>
                      <a:pt x="338" y="224"/>
                    </a:cubicBezTo>
                    <a:cubicBezTo>
                      <a:pt x="338" y="223"/>
                      <a:pt x="338" y="223"/>
                      <a:pt x="338" y="223"/>
                    </a:cubicBezTo>
                    <a:cubicBezTo>
                      <a:pt x="339" y="221"/>
                      <a:pt x="339" y="218"/>
                      <a:pt x="340" y="216"/>
                    </a:cubicBezTo>
                    <a:cubicBezTo>
                      <a:pt x="340" y="214"/>
                      <a:pt x="340" y="214"/>
                      <a:pt x="340" y="214"/>
                    </a:cubicBezTo>
                    <a:cubicBezTo>
                      <a:pt x="339" y="210"/>
                      <a:pt x="339" y="204"/>
                      <a:pt x="339" y="203"/>
                    </a:cubicBezTo>
                    <a:cubicBezTo>
                      <a:pt x="339" y="203"/>
                      <a:pt x="339" y="202"/>
                      <a:pt x="339" y="201"/>
                    </a:cubicBezTo>
                    <a:cubicBezTo>
                      <a:pt x="338" y="198"/>
                      <a:pt x="338" y="195"/>
                      <a:pt x="338" y="193"/>
                    </a:cubicBezTo>
                    <a:cubicBezTo>
                      <a:pt x="339" y="187"/>
                      <a:pt x="342" y="181"/>
                      <a:pt x="344" y="175"/>
                    </a:cubicBezTo>
                    <a:cubicBezTo>
                      <a:pt x="344" y="175"/>
                      <a:pt x="344" y="175"/>
                      <a:pt x="344" y="175"/>
                    </a:cubicBezTo>
                    <a:cubicBezTo>
                      <a:pt x="346" y="172"/>
                      <a:pt x="347" y="170"/>
                      <a:pt x="348" y="167"/>
                    </a:cubicBezTo>
                    <a:cubicBezTo>
                      <a:pt x="350" y="161"/>
                      <a:pt x="350" y="155"/>
                      <a:pt x="351" y="148"/>
                    </a:cubicBezTo>
                    <a:cubicBezTo>
                      <a:pt x="351" y="143"/>
                      <a:pt x="351" y="143"/>
                      <a:pt x="351" y="143"/>
                    </a:cubicBezTo>
                    <a:cubicBezTo>
                      <a:pt x="354" y="143"/>
                      <a:pt x="354" y="143"/>
                      <a:pt x="354" y="143"/>
                    </a:cubicBezTo>
                    <a:cubicBezTo>
                      <a:pt x="355" y="143"/>
                      <a:pt x="356" y="143"/>
                      <a:pt x="357" y="144"/>
                    </a:cubicBezTo>
                    <a:cubicBezTo>
                      <a:pt x="358" y="144"/>
                      <a:pt x="359" y="144"/>
                      <a:pt x="361" y="144"/>
                    </a:cubicBezTo>
                    <a:cubicBezTo>
                      <a:pt x="361" y="144"/>
                      <a:pt x="362" y="144"/>
                      <a:pt x="362" y="144"/>
                    </a:cubicBezTo>
                    <a:cubicBezTo>
                      <a:pt x="363" y="143"/>
                      <a:pt x="363" y="143"/>
                      <a:pt x="363" y="143"/>
                    </a:cubicBezTo>
                    <a:cubicBezTo>
                      <a:pt x="364" y="142"/>
                      <a:pt x="364" y="142"/>
                      <a:pt x="364" y="142"/>
                    </a:cubicBezTo>
                    <a:cubicBezTo>
                      <a:pt x="364" y="142"/>
                      <a:pt x="364" y="141"/>
                      <a:pt x="365" y="140"/>
                    </a:cubicBezTo>
                    <a:cubicBezTo>
                      <a:pt x="367" y="139"/>
                      <a:pt x="369" y="137"/>
                      <a:pt x="371" y="136"/>
                    </a:cubicBezTo>
                    <a:cubicBezTo>
                      <a:pt x="371" y="136"/>
                      <a:pt x="371" y="136"/>
                      <a:pt x="371" y="136"/>
                    </a:cubicBezTo>
                    <a:cubicBezTo>
                      <a:pt x="372" y="135"/>
                      <a:pt x="373" y="135"/>
                      <a:pt x="374" y="134"/>
                    </a:cubicBezTo>
                    <a:cubicBezTo>
                      <a:pt x="374" y="134"/>
                      <a:pt x="374" y="134"/>
                      <a:pt x="374" y="134"/>
                    </a:cubicBezTo>
                    <a:cubicBezTo>
                      <a:pt x="375" y="133"/>
                      <a:pt x="376" y="133"/>
                      <a:pt x="376" y="133"/>
                    </a:cubicBezTo>
                    <a:cubicBezTo>
                      <a:pt x="378" y="132"/>
                      <a:pt x="379" y="132"/>
                      <a:pt x="380" y="132"/>
                    </a:cubicBezTo>
                    <a:cubicBezTo>
                      <a:pt x="381" y="132"/>
                      <a:pt x="381" y="132"/>
                      <a:pt x="381" y="132"/>
                    </a:cubicBezTo>
                    <a:cubicBezTo>
                      <a:pt x="378" y="127"/>
                      <a:pt x="378" y="127"/>
                      <a:pt x="378" y="127"/>
                    </a:cubicBezTo>
                    <a:cubicBezTo>
                      <a:pt x="382" y="131"/>
                      <a:pt x="382" y="131"/>
                      <a:pt x="382" y="131"/>
                    </a:cubicBezTo>
                    <a:cubicBezTo>
                      <a:pt x="383" y="130"/>
                      <a:pt x="383" y="130"/>
                      <a:pt x="383" y="130"/>
                    </a:cubicBezTo>
                    <a:cubicBezTo>
                      <a:pt x="384" y="129"/>
                      <a:pt x="386" y="127"/>
                      <a:pt x="387" y="125"/>
                    </a:cubicBezTo>
                    <a:cubicBezTo>
                      <a:pt x="387" y="125"/>
                      <a:pt x="387" y="125"/>
                      <a:pt x="387" y="125"/>
                    </a:cubicBezTo>
                    <a:cubicBezTo>
                      <a:pt x="388" y="124"/>
                      <a:pt x="388" y="123"/>
                      <a:pt x="389" y="123"/>
                    </a:cubicBezTo>
                    <a:cubicBezTo>
                      <a:pt x="389" y="122"/>
                      <a:pt x="389" y="122"/>
                      <a:pt x="389" y="122"/>
                    </a:cubicBezTo>
                    <a:cubicBezTo>
                      <a:pt x="388" y="121"/>
                      <a:pt x="387" y="121"/>
                      <a:pt x="387" y="120"/>
                    </a:cubicBezTo>
                    <a:cubicBezTo>
                      <a:pt x="380" y="116"/>
                      <a:pt x="374" y="111"/>
                      <a:pt x="368" y="106"/>
                    </a:cubicBezTo>
                    <a:cubicBezTo>
                      <a:pt x="361" y="101"/>
                      <a:pt x="360" y="88"/>
                      <a:pt x="359" y="81"/>
                    </a:cubicBezTo>
                    <a:cubicBezTo>
                      <a:pt x="359" y="75"/>
                      <a:pt x="360" y="68"/>
                      <a:pt x="359" y="62"/>
                    </a:cubicBezTo>
                    <a:cubicBezTo>
                      <a:pt x="359" y="57"/>
                      <a:pt x="358" y="51"/>
                      <a:pt x="357" y="45"/>
                    </a:cubicBezTo>
                    <a:cubicBezTo>
                      <a:pt x="358" y="47"/>
                      <a:pt x="360" y="49"/>
                      <a:pt x="361" y="50"/>
                    </a:cubicBezTo>
                    <a:cubicBezTo>
                      <a:pt x="361" y="47"/>
                      <a:pt x="357" y="44"/>
                      <a:pt x="356" y="42"/>
                    </a:cubicBezTo>
                    <a:cubicBezTo>
                      <a:pt x="354" y="40"/>
                      <a:pt x="352" y="36"/>
                      <a:pt x="351" y="33"/>
                    </a:cubicBezTo>
                    <a:cubicBezTo>
                      <a:pt x="351" y="32"/>
                      <a:pt x="352" y="26"/>
                      <a:pt x="351" y="26"/>
                    </a:cubicBezTo>
                    <a:cubicBezTo>
                      <a:pt x="351" y="26"/>
                      <a:pt x="351" y="26"/>
                      <a:pt x="351" y="26"/>
                    </a:cubicBezTo>
                    <a:cubicBezTo>
                      <a:pt x="344" y="20"/>
                      <a:pt x="338" y="15"/>
                      <a:pt x="331" y="10"/>
                    </a:cubicBezTo>
                    <a:cubicBezTo>
                      <a:pt x="329" y="8"/>
                      <a:pt x="326" y="4"/>
                      <a:pt x="3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195"/>
              <p:cNvSpPr/>
              <p:nvPr/>
            </p:nvSpPr>
            <p:spPr bwMode="auto">
              <a:xfrm>
                <a:off x="2990" y="1341"/>
                <a:ext cx="900" cy="837"/>
              </a:xfrm>
              <a:custGeom>
                <a:gdLst>
                  <a:gd name="T0" fmla="*/ 143 w 381"/>
                  <a:gd name="T1" fmla="*/ 86 h 354"/>
                  <a:gd name="T2" fmla="*/ 160 w 381"/>
                  <a:gd name="T3" fmla="*/ 219 h 354"/>
                  <a:gd name="T4" fmla="*/ 152 w 381"/>
                  <a:gd name="T5" fmla="*/ 233 h 354"/>
                  <a:gd name="T6" fmla="*/ 125 w 381"/>
                  <a:gd name="T7" fmla="*/ 233 h 354"/>
                  <a:gd name="T8" fmla="*/ 69 w 381"/>
                  <a:gd name="T9" fmla="*/ 233 h 354"/>
                  <a:gd name="T10" fmla="*/ 66 w 381"/>
                  <a:gd name="T11" fmla="*/ 234 h 354"/>
                  <a:gd name="T12" fmla="*/ 33 w 381"/>
                  <a:gd name="T13" fmla="*/ 235 h 354"/>
                  <a:gd name="T14" fmla="*/ 11 w 381"/>
                  <a:gd name="T15" fmla="*/ 231 h 354"/>
                  <a:gd name="T16" fmla="*/ 5 w 381"/>
                  <a:gd name="T17" fmla="*/ 249 h 354"/>
                  <a:gd name="T18" fmla="*/ 5 w 381"/>
                  <a:gd name="T19" fmla="*/ 270 h 354"/>
                  <a:gd name="T20" fmla="*/ 13 w 381"/>
                  <a:gd name="T21" fmla="*/ 279 h 354"/>
                  <a:gd name="T22" fmla="*/ 20 w 381"/>
                  <a:gd name="T23" fmla="*/ 300 h 354"/>
                  <a:gd name="T24" fmla="*/ 17 w 381"/>
                  <a:gd name="T25" fmla="*/ 308 h 354"/>
                  <a:gd name="T26" fmla="*/ 22 w 381"/>
                  <a:gd name="T27" fmla="*/ 309 h 354"/>
                  <a:gd name="T28" fmla="*/ 28 w 381"/>
                  <a:gd name="T29" fmla="*/ 306 h 354"/>
                  <a:gd name="T30" fmla="*/ 47 w 381"/>
                  <a:gd name="T31" fmla="*/ 307 h 354"/>
                  <a:gd name="T32" fmla="*/ 60 w 381"/>
                  <a:gd name="T33" fmla="*/ 307 h 354"/>
                  <a:gd name="T34" fmla="*/ 71 w 381"/>
                  <a:gd name="T35" fmla="*/ 301 h 354"/>
                  <a:gd name="T36" fmla="*/ 80 w 381"/>
                  <a:gd name="T37" fmla="*/ 317 h 354"/>
                  <a:gd name="T38" fmla="*/ 90 w 381"/>
                  <a:gd name="T39" fmla="*/ 329 h 354"/>
                  <a:gd name="T40" fmla="*/ 90 w 381"/>
                  <a:gd name="T41" fmla="*/ 330 h 354"/>
                  <a:gd name="T42" fmla="*/ 88 w 381"/>
                  <a:gd name="T43" fmla="*/ 334 h 354"/>
                  <a:gd name="T44" fmla="*/ 92 w 381"/>
                  <a:gd name="T45" fmla="*/ 337 h 354"/>
                  <a:gd name="T46" fmla="*/ 94 w 381"/>
                  <a:gd name="T47" fmla="*/ 350 h 354"/>
                  <a:gd name="T48" fmla="*/ 99 w 381"/>
                  <a:gd name="T49" fmla="*/ 352 h 354"/>
                  <a:gd name="T50" fmla="*/ 114 w 381"/>
                  <a:gd name="T51" fmla="*/ 353 h 354"/>
                  <a:gd name="T52" fmla="*/ 122 w 381"/>
                  <a:gd name="T53" fmla="*/ 350 h 354"/>
                  <a:gd name="T54" fmla="*/ 126 w 381"/>
                  <a:gd name="T55" fmla="*/ 344 h 354"/>
                  <a:gd name="T56" fmla="*/ 138 w 381"/>
                  <a:gd name="T57" fmla="*/ 339 h 354"/>
                  <a:gd name="T58" fmla="*/ 142 w 381"/>
                  <a:gd name="T59" fmla="*/ 354 h 354"/>
                  <a:gd name="T60" fmla="*/ 149 w 381"/>
                  <a:gd name="T61" fmla="*/ 349 h 354"/>
                  <a:gd name="T62" fmla="*/ 153 w 381"/>
                  <a:gd name="T63" fmla="*/ 344 h 354"/>
                  <a:gd name="T64" fmla="*/ 157 w 381"/>
                  <a:gd name="T65" fmla="*/ 322 h 354"/>
                  <a:gd name="T66" fmla="*/ 170 w 381"/>
                  <a:gd name="T67" fmla="*/ 311 h 354"/>
                  <a:gd name="T68" fmla="*/ 176 w 381"/>
                  <a:gd name="T69" fmla="*/ 297 h 354"/>
                  <a:gd name="T70" fmla="*/ 181 w 381"/>
                  <a:gd name="T71" fmla="*/ 291 h 354"/>
                  <a:gd name="T72" fmla="*/ 193 w 381"/>
                  <a:gd name="T73" fmla="*/ 276 h 354"/>
                  <a:gd name="T74" fmla="*/ 203 w 381"/>
                  <a:gd name="T75" fmla="*/ 282 h 354"/>
                  <a:gd name="T76" fmla="*/ 205 w 381"/>
                  <a:gd name="T77" fmla="*/ 267 h 354"/>
                  <a:gd name="T78" fmla="*/ 214 w 381"/>
                  <a:gd name="T79" fmla="*/ 269 h 354"/>
                  <a:gd name="T80" fmla="*/ 234 w 381"/>
                  <a:gd name="T81" fmla="*/ 259 h 354"/>
                  <a:gd name="T82" fmla="*/ 250 w 381"/>
                  <a:gd name="T83" fmla="*/ 248 h 354"/>
                  <a:gd name="T84" fmla="*/ 269 w 381"/>
                  <a:gd name="T85" fmla="*/ 237 h 354"/>
                  <a:gd name="T86" fmla="*/ 285 w 381"/>
                  <a:gd name="T87" fmla="*/ 239 h 354"/>
                  <a:gd name="T88" fmla="*/ 290 w 381"/>
                  <a:gd name="T89" fmla="*/ 240 h 354"/>
                  <a:gd name="T90" fmla="*/ 295 w 381"/>
                  <a:gd name="T91" fmla="*/ 239 h 354"/>
                  <a:gd name="T92" fmla="*/ 349 w 381"/>
                  <a:gd name="T93" fmla="*/ 231 h 354"/>
                  <a:gd name="T94" fmla="*/ 362 w 381"/>
                  <a:gd name="T95" fmla="*/ 230 h 354"/>
                  <a:gd name="T96" fmla="*/ 372 w 381"/>
                  <a:gd name="T97" fmla="*/ 224 h 354"/>
                  <a:gd name="T98" fmla="*/ 381 w 381"/>
                  <a:gd name="T99" fmla="*/ 176 h 354"/>
                  <a:gd name="T100" fmla="*/ 357 w 381"/>
                  <a:gd name="T101" fmla="*/ 145 h 354"/>
                  <a:gd name="T102" fmla="*/ 358 w 381"/>
                  <a:gd name="T103" fmla="*/ 135 h 354"/>
                  <a:gd name="T104" fmla="*/ 357 w 381"/>
                  <a:gd name="T105" fmla="*/ 128 h 354"/>
                  <a:gd name="T106" fmla="*/ 352 w 381"/>
                  <a:gd name="T107" fmla="*/ 125 h 354"/>
                  <a:gd name="T108" fmla="*/ 336 w 381"/>
                  <a:gd name="T109" fmla="*/ 117 h 354"/>
                  <a:gd name="T110" fmla="*/ 321 w 381"/>
                  <a:gd name="T111" fmla="*/ 112 h 354"/>
                  <a:gd name="T112" fmla="*/ 309 w 381"/>
                  <a:gd name="T113" fmla="*/ 104 h 354"/>
                  <a:gd name="T114" fmla="*/ 286 w 381"/>
                  <a:gd name="T115" fmla="*/ 80 h 354"/>
                  <a:gd name="T116" fmla="*/ 181 w 381"/>
                  <a:gd name="T117" fmla="*/ 8 h 3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1" h="354">
                    <a:moveTo>
                      <a:pt x="169" y="0"/>
                    </a:moveTo>
                    <a:cubicBezTo>
                      <a:pt x="133" y="0"/>
                      <a:pt x="133" y="0"/>
                      <a:pt x="133" y="0"/>
                    </a:cubicBezTo>
                    <a:cubicBezTo>
                      <a:pt x="135" y="18"/>
                      <a:pt x="135" y="18"/>
                      <a:pt x="135" y="18"/>
                    </a:cubicBezTo>
                    <a:cubicBezTo>
                      <a:pt x="135" y="20"/>
                      <a:pt x="135" y="21"/>
                      <a:pt x="135" y="22"/>
                    </a:cubicBezTo>
                    <a:cubicBezTo>
                      <a:pt x="136" y="30"/>
                      <a:pt x="136" y="30"/>
                      <a:pt x="136" y="30"/>
                    </a:cubicBezTo>
                    <a:cubicBezTo>
                      <a:pt x="138" y="49"/>
                      <a:pt x="141" y="67"/>
                      <a:pt x="143" y="86"/>
                    </a:cubicBezTo>
                    <a:cubicBezTo>
                      <a:pt x="146" y="108"/>
                      <a:pt x="148" y="130"/>
                      <a:pt x="151" y="152"/>
                    </a:cubicBezTo>
                    <a:cubicBezTo>
                      <a:pt x="158" y="205"/>
                      <a:pt x="158" y="205"/>
                      <a:pt x="158" y="205"/>
                    </a:cubicBezTo>
                    <a:cubicBezTo>
                      <a:pt x="158" y="206"/>
                      <a:pt x="158" y="206"/>
                      <a:pt x="158" y="206"/>
                    </a:cubicBezTo>
                    <a:cubicBezTo>
                      <a:pt x="159" y="206"/>
                      <a:pt x="159" y="206"/>
                      <a:pt x="159" y="206"/>
                    </a:cubicBezTo>
                    <a:cubicBezTo>
                      <a:pt x="162" y="209"/>
                      <a:pt x="161" y="213"/>
                      <a:pt x="161" y="215"/>
                    </a:cubicBezTo>
                    <a:cubicBezTo>
                      <a:pt x="160" y="219"/>
                      <a:pt x="160" y="219"/>
                      <a:pt x="160" y="219"/>
                    </a:cubicBezTo>
                    <a:cubicBezTo>
                      <a:pt x="160" y="219"/>
                      <a:pt x="160" y="220"/>
                      <a:pt x="160" y="221"/>
                    </a:cubicBezTo>
                    <a:cubicBezTo>
                      <a:pt x="160" y="222"/>
                      <a:pt x="160" y="222"/>
                      <a:pt x="160" y="222"/>
                    </a:cubicBezTo>
                    <a:cubicBezTo>
                      <a:pt x="159" y="228"/>
                      <a:pt x="159" y="231"/>
                      <a:pt x="157" y="232"/>
                    </a:cubicBezTo>
                    <a:cubicBezTo>
                      <a:pt x="156" y="233"/>
                      <a:pt x="156" y="233"/>
                      <a:pt x="155" y="233"/>
                    </a:cubicBezTo>
                    <a:cubicBezTo>
                      <a:pt x="154" y="233"/>
                      <a:pt x="154" y="233"/>
                      <a:pt x="154" y="233"/>
                    </a:cubicBezTo>
                    <a:cubicBezTo>
                      <a:pt x="154" y="233"/>
                      <a:pt x="153" y="233"/>
                      <a:pt x="152" y="233"/>
                    </a:cubicBezTo>
                    <a:cubicBezTo>
                      <a:pt x="151" y="233"/>
                      <a:pt x="151" y="233"/>
                      <a:pt x="151" y="233"/>
                    </a:cubicBezTo>
                    <a:cubicBezTo>
                      <a:pt x="150" y="233"/>
                      <a:pt x="150" y="233"/>
                      <a:pt x="150" y="233"/>
                    </a:cubicBezTo>
                    <a:cubicBezTo>
                      <a:pt x="149" y="233"/>
                      <a:pt x="148" y="233"/>
                      <a:pt x="147" y="233"/>
                    </a:cubicBezTo>
                    <a:cubicBezTo>
                      <a:pt x="146" y="233"/>
                      <a:pt x="146" y="233"/>
                      <a:pt x="145" y="233"/>
                    </a:cubicBezTo>
                    <a:cubicBezTo>
                      <a:pt x="145" y="233"/>
                      <a:pt x="145" y="233"/>
                      <a:pt x="145" y="233"/>
                    </a:cubicBezTo>
                    <a:cubicBezTo>
                      <a:pt x="138" y="233"/>
                      <a:pt x="132" y="233"/>
                      <a:pt x="125" y="233"/>
                    </a:cubicBezTo>
                    <a:cubicBezTo>
                      <a:pt x="120" y="233"/>
                      <a:pt x="115" y="233"/>
                      <a:pt x="110" y="233"/>
                    </a:cubicBezTo>
                    <a:cubicBezTo>
                      <a:pt x="76" y="233"/>
                      <a:pt x="76" y="233"/>
                      <a:pt x="76" y="233"/>
                    </a:cubicBezTo>
                    <a:cubicBezTo>
                      <a:pt x="76" y="233"/>
                      <a:pt x="75" y="233"/>
                      <a:pt x="74" y="233"/>
                    </a:cubicBezTo>
                    <a:cubicBezTo>
                      <a:pt x="74" y="233"/>
                      <a:pt x="74" y="233"/>
                      <a:pt x="74" y="233"/>
                    </a:cubicBezTo>
                    <a:cubicBezTo>
                      <a:pt x="73" y="233"/>
                      <a:pt x="73" y="233"/>
                      <a:pt x="72" y="233"/>
                    </a:cubicBezTo>
                    <a:cubicBezTo>
                      <a:pt x="71" y="233"/>
                      <a:pt x="70" y="233"/>
                      <a:pt x="69" y="233"/>
                    </a:cubicBezTo>
                    <a:cubicBezTo>
                      <a:pt x="69" y="233"/>
                      <a:pt x="69" y="233"/>
                      <a:pt x="69" y="233"/>
                    </a:cubicBezTo>
                    <a:cubicBezTo>
                      <a:pt x="68" y="233"/>
                      <a:pt x="67" y="232"/>
                      <a:pt x="67" y="232"/>
                    </a:cubicBezTo>
                    <a:cubicBezTo>
                      <a:pt x="67" y="232"/>
                      <a:pt x="67" y="232"/>
                      <a:pt x="67" y="232"/>
                    </a:cubicBezTo>
                    <a:cubicBezTo>
                      <a:pt x="66" y="232"/>
                      <a:pt x="66" y="232"/>
                      <a:pt x="66" y="232"/>
                    </a:cubicBezTo>
                    <a:cubicBezTo>
                      <a:pt x="66" y="232"/>
                      <a:pt x="66" y="232"/>
                      <a:pt x="66" y="232"/>
                    </a:cubicBezTo>
                    <a:cubicBezTo>
                      <a:pt x="66" y="234"/>
                      <a:pt x="66" y="234"/>
                      <a:pt x="66" y="234"/>
                    </a:cubicBezTo>
                    <a:cubicBezTo>
                      <a:pt x="39" y="234"/>
                      <a:pt x="39" y="234"/>
                      <a:pt x="39" y="234"/>
                    </a:cubicBezTo>
                    <a:cubicBezTo>
                      <a:pt x="38" y="234"/>
                      <a:pt x="38" y="234"/>
                      <a:pt x="37" y="234"/>
                    </a:cubicBezTo>
                    <a:cubicBezTo>
                      <a:pt x="37" y="234"/>
                      <a:pt x="37" y="234"/>
                      <a:pt x="37" y="234"/>
                    </a:cubicBezTo>
                    <a:cubicBezTo>
                      <a:pt x="36" y="234"/>
                      <a:pt x="35" y="234"/>
                      <a:pt x="35" y="234"/>
                    </a:cubicBezTo>
                    <a:cubicBezTo>
                      <a:pt x="34" y="234"/>
                      <a:pt x="34" y="234"/>
                      <a:pt x="34" y="234"/>
                    </a:cubicBezTo>
                    <a:cubicBezTo>
                      <a:pt x="33" y="235"/>
                      <a:pt x="33" y="235"/>
                      <a:pt x="33" y="235"/>
                    </a:cubicBezTo>
                    <a:cubicBezTo>
                      <a:pt x="32" y="237"/>
                      <a:pt x="31" y="239"/>
                      <a:pt x="30" y="241"/>
                    </a:cubicBezTo>
                    <a:cubicBezTo>
                      <a:pt x="28" y="244"/>
                      <a:pt x="28" y="244"/>
                      <a:pt x="28" y="244"/>
                    </a:cubicBezTo>
                    <a:cubicBezTo>
                      <a:pt x="25" y="241"/>
                      <a:pt x="25" y="241"/>
                      <a:pt x="25" y="241"/>
                    </a:cubicBezTo>
                    <a:cubicBezTo>
                      <a:pt x="22" y="237"/>
                      <a:pt x="18" y="233"/>
                      <a:pt x="14" y="230"/>
                    </a:cubicBezTo>
                    <a:cubicBezTo>
                      <a:pt x="13" y="230"/>
                      <a:pt x="13" y="230"/>
                      <a:pt x="13" y="230"/>
                    </a:cubicBezTo>
                    <a:cubicBezTo>
                      <a:pt x="13" y="230"/>
                      <a:pt x="12" y="230"/>
                      <a:pt x="11" y="231"/>
                    </a:cubicBezTo>
                    <a:cubicBezTo>
                      <a:pt x="11" y="231"/>
                      <a:pt x="11" y="231"/>
                      <a:pt x="11" y="231"/>
                    </a:cubicBezTo>
                    <a:cubicBezTo>
                      <a:pt x="11" y="232"/>
                      <a:pt x="11" y="233"/>
                      <a:pt x="11" y="234"/>
                    </a:cubicBezTo>
                    <a:cubicBezTo>
                      <a:pt x="11" y="237"/>
                      <a:pt x="10" y="240"/>
                      <a:pt x="10" y="242"/>
                    </a:cubicBezTo>
                    <a:cubicBezTo>
                      <a:pt x="9" y="243"/>
                      <a:pt x="9" y="244"/>
                      <a:pt x="9" y="245"/>
                    </a:cubicBezTo>
                    <a:cubicBezTo>
                      <a:pt x="9" y="245"/>
                      <a:pt x="8" y="246"/>
                      <a:pt x="8" y="246"/>
                    </a:cubicBezTo>
                    <a:cubicBezTo>
                      <a:pt x="7" y="247"/>
                      <a:pt x="6" y="248"/>
                      <a:pt x="5" y="249"/>
                    </a:cubicBezTo>
                    <a:cubicBezTo>
                      <a:pt x="4" y="250"/>
                      <a:pt x="4" y="250"/>
                      <a:pt x="4" y="250"/>
                    </a:cubicBezTo>
                    <a:cubicBezTo>
                      <a:pt x="3" y="250"/>
                      <a:pt x="3" y="250"/>
                      <a:pt x="3" y="250"/>
                    </a:cubicBezTo>
                    <a:cubicBezTo>
                      <a:pt x="0" y="251"/>
                      <a:pt x="0" y="251"/>
                      <a:pt x="0" y="251"/>
                    </a:cubicBezTo>
                    <a:cubicBezTo>
                      <a:pt x="4" y="269"/>
                      <a:pt x="4" y="269"/>
                      <a:pt x="4" y="269"/>
                    </a:cubicBezTo>
                    <a:cubicBezTo>
                      <a:pt x="10" y="267"/>
                      <a:pt x="10" y="267"/>
                      <a:pt x="10" y="267"/>
                    </a:cubicBezTo>
                    <a:cubicBezTo>
                      <a:pt x="5" y="270"/>
                      <a:pt x="5" y="270"/>
                      <a:pt x="5" y="270"/>
                    </a:cubicBezTo>
                    <a:cubicBezTo>
                      <a:pt x="5" y="270"/>
                      <a:pt x="5" y="270"/>
                      <a:pt x="5" y="270"/>
                    </a:cubicBezTo>
                    <a:cubicBezTo>
                      <a:pt x="5" y="271"/>
                      <a:pt x="5" y="272"/>
                      <a:pt x="4" y="273"/>
                    </a:cubicBezTo>
                    <a:cubicBezTo>
                      <a:pt x="5" y="275"/>
                      <a:pt x="6" y="276"/>
                      <a:pt x="8" y="277"/>
                    </a:cubicBezTo>
                    <a:cubicBezTo>
                      <a:pt x="8" y="277"/>
                      <a:pt x="8" y="277"/>
                      <a:pt x="9" y="277"/>
                    </a:cubicBezTo>
                    <a:cubicBezTo>
                      <a:pt x="9" y="277"/>
                      <a:pt x="10" y="277"/>
                      <a:pt x="10" y="277"/>
                    </a:cubicBezTo>
                    <a:cubicBezTo>
                      <a:pt x="11" y="278"/>
                      <a:pt x="12" y="278"/>
                      <a:pt x="13" y="279"/>
                    </a:cubicBezTo>
                    <a:cubicBezTo>
                      <a:pt x="16" y="282"/>
                      <a:pt x="18" y="286"/>
                      <a:pt x="19" y="291"/>
                    </a:cubicBezTo>
                    <a:cubicBezTo>
                      <a:pt x="19" y="292"/>
                      <a:pt x="19" y="293"/>
                      <a:pt x="19" y="294"/>
                    </a:cubicBezTo>
                    <a:cubicBezTo>
                      <a:pt x="20" y="295"/>
                      <a:pt x="20" y="295"/>
                      <a:pt x="20" y="295"/>
                    </a:cubicBezTo>
                    <a:cubicBezTo>
                      <a:pt x="20" y="295"/>
                      <a:pt x="20" y="296"/>
                      <a:pt x="20" y="297"/>
                    </a:cubicBezTo>
                    <a:cubicBezTo>
                      <a:pt x="20" y="298"/>
                      <a:pt x="20" y="298"/>
                      <a:pt x="20" y="298"/>
                    </a:cubicBezTo>
                    <a:cubicBezTo>
                      <a:pt x="20" y="299"/>
                      <a:pt x="20" y="299"/>
                      <a:pt x="20" y="300"/>
                    </a:cubicBezTo>
                    <a:cubicBezTo>
                      <a:pt x="20" y="301"/>
                      <a:pt x="20" y="301"/>
                      <a:pt x="20" y="301"/>
                    </a:cubicBezTo>
                    <a:cubicBezTo>
                      <a:pt x="21" y="301"/>
                      <a:pt x="21" y="301"/>
                      <a:pt x="21" y="301"/>
                    </a:cubicBezTo>
                    <a:cubicBezTo>
                      <a:pt x="21" y="301"/>
                      <a:pt x="21" y="301"/>
                      <a:pt x="21" y="301"/>
                    </a:cubicBezTo>
                    <a:cubicBezTo>
                      <a:pt x="21" y="301"/>
                      <a:pt x="21" y="301"/>
                      <a:pt x="21" y="301"/>
                    </a:cubicBezTo>
                    <a:cubicBezTo>
                      <a:pt x="18" y="307"/>
                      <a:pt x="18" y="307"/>
                      <a:pt x="18" y="307"/>
                    </a:cubicBezTo>
                    <a:cubicBezTo>
                      <a:pt x="18" y="307"/>
                      <a:pt x="18" y="308"/>
                      <a:pt x="17" y="308"/>
                    </a:cubicBezTo>
                    <a:cubicBezTo>
                      <a:pt x="17" y="308"/>
                      <a:pt x="17" y="308"/>
                      <a:pt x="17" y="308"/>
                    </a:cubicBezTo>
                    <a:cubicBezTo>
                      <a:pt x="19" y="310"/>
                      <a:pt x="19" y="310"/>
                      <a:pt x="19" y="310"/>
                    </a:cubicBezTo>
                    <a:cubicBezTo>
                      <a:pt x="19" y="310"/>
                      <a:pt x="19" y="310"/>
                      <a:pt x="19" y="310"/>
                    </a:cubicBezTo>
                    <a:cubicBezTo>
                      <a:pt x="20" y="310"/>
                      <a:pt x="20" y="310"/>
                      <a:pt x="20" y="310"/>
                    </a:cubicBezTo>
                    <a:cubicBezTo>
                      <a:pt x="20" y="310"/>
                      <a:pt x="21" y="310"/>
                      <a:pt x="21" y="309"/>
                    </a:cubicBezTo>
                    <a:cubicBezTo>
                      <a:pt x="22" y="309"/>
                      <a:pt x="22" y="309"/>
                      <a:pt x="22" y="309"/>
                    </a:cubicBezTo>
                    <a:cubicBezTo>
                      <a:pt x="24" y="307"/>
                      <a:pt x="25" y="306"/>
                      <a:pt x="26" y="306"/>
                    </a:cubicBezTo>
                    <a:cubicBezTo>
                      <a:pt x="27" y="306"/>
                      <a:pt x="27" y="306"/>
                      <a:pt x="27" y="306"/>
                    </a:cubicBezTo>
                    <a:cubicBezTo>
                      <a:pt x="28" y="306"/>
                      <a:pt x="28" y="306"/>
                      <a:pt x="28" y="306"/>
                    </a:cubicBezTo>
                    <a:cubicBezTo>
                      <a:pt x="28" y="306"/>
                      <a:pt x="28" y="306"/>
                      <a:pt x="28" y="306"/>
                    </a:cubicBezTo>
                    <a:cubicBezTo>
                      <a:pt x="28" y="306"/>
                      <a:pt x="28" y="306"/>
                      <a:pt x="28" y="306"/>
                    </a:cubicBezTo>
                    <a:cubicBezTo>
                      <a:pt x="28" y="306"/>
                      <a:pt x="28" y="306"/>
                      <a:pt x="28" y="306"/>
                    </a:cubicBezTo>
                    <a:cubicBezTo>
                      <a:pt x="29" y="306"/>
                      <a:pt x="30" y="307"/>
                      <a:pt x="32" y="308"/>
                    </a:cubicBezTo>
                    <a:cubicBezTo>
                      <a:pt x="32" y="309"/>
                      <a:pt x="33" y="310"/>
                      <a:pt x="34" y="311"/>
                    </a:cubicBezTo>
                    <a:cubicBezTo>
                      <a:pt x="34" y="311"/>
                      <a:pt x="34" y="311"/>
                      <a:pt x="34" y="311"/>
                    </a:cubicBezTo>
                    <a:cubicBezTo>
                      <a:pt x="37" y="309"/>
                      <a:pt x="44" y="307"/>
                      <a:pt x="47" y="307"/>
                    </a:cubicBezTo>
                    <a:cubicBezTo>
                      <a:pt x="47" y="307"/>
                      <a:pt x="47" y="307"/>
                      <a:pt x="47" y="307"/>
                    </a:cubicBezTo>
                    <a:cubicBezTo>
                      <a:pt x="47" y="307"/>
                      <a:pt x="47" y="307"/>
                      <a:pt x="47" y="307"/>
                    </a:cubicBezTo>
                    <a:cubicBezTo>
                      <a:pt x="48" y="307"/>
                      <a:pt x="48" y="307"/>
                      <a:pt x="48" y="307"/>
                    </a:cubicBezTo>
                    <a:cubicBezTo>
                      <a:pt x="49" y="307"/>
                      <a:pt x="51" y="308"/>
                      <a:pt x="53" y="309"/>
                    </a:cubicBezTo>
                    <a:cubicBezTo>
                      <a:pt x="53" y="309"/>
                      <a:pt x="54" y="309"/>
                      <a:pt x="54" y="310"/>
                    </a:cubicBezTo>
                    <a:cubicBezTo>
                      <a:pt x="54" y="310"/>
                      <a:pt x="54" y="310"/>
                      <a:pt x="54" y="310"/>
                    </a:cubicBezTo>
                    <a:cubicBezTo>
                      <a:pt x="54" y="309"/>
                      <a:pt x="55" y="309"/>
                      <a:pt x="55" y="308"/>
                    </a:cubicBezTo>
                    <a:cubicBezTo>
                      <a:pt x="56" y="308"/>
                      <a:pt x="58" y="307"/>
                      <a:pt x="60" y="307"/>
                    </a:cubicBezTo>
                    <a:cubicBezTo>
                      <a:pt x="60" y="306"/>
                      <a:pt x="62" y="306"/>
                      <a:pt x="63" y="306"/>
                    </a:cubicBezTo>
                    <a:cubicBezTo>
                      <a:pt x="63" y="306"/>
                      <a:pt x="63" y="305"/>
                      <a:pt x="62" y="305"/>
                    </a:cubicBezTo>
                    <a:cubicBezTo>
                      <a:pt x="62" y="304"/>
                      <a:pt x="62" y="303"/>
                      <a:pt x="62" y="301"/>
                    </a:cubicBezTo>
                    <a:cubicBezTo>
                      <a:pt x="63" y="299"/>
                      <a:pt x="63" y="299"/>
                      <a:pt x="63" y="299"/>
                    </a:cubicBezTo>
                    <a:cubicBezTo>
                      <a:pt x="65" y="299"/>
                      <a:pt x="65" y="299"/>
                      <a:pt x="65" y="299"/>
                    </a:cubicBezTo>
                    <a:cubicBezTo>
                      <a:pt x="68" y="299"/>
                      <a:pt x="69" y="300"/>
                      <a:pt x="71" y="301"/>
                    </a:cubicBezTo>
                    <a:cubicBezTo>
                      <a:pt x="75" y="303"/>
                      <a:pt x="77" y="307"/>
                      <a:pt x="78" y="310"/>
                    </a:cubicBezTo>
                    <a:cubicBezTo>
                      <a:pt x="79" y="311"/>
                      <a:pt x="79" y="311"/>
                      <a:pt x="79" y="311"/>
                    </a:cubicBezTo>
                    <a:cubicBezTo>
                      <a:pt x="79" y="311"/>
                      <a:pt x="79" y="312"/>
                      <a:pt x="79" y="312"/>
                    </a:cubicBezTo>
                    <a:cubicBezTo>
                      <a:pt x="80" y="313"/>
                      <a:pt x="80" y="313"/>
                      <a:pt x="80" y="313"/>
                    </a:cubicBezTo>
                    <a:cubicBezTo>
                      <a:pt x="80" y="314"/>
                      <a:pt x="80" y="315"/>
                      <a:pt x="80" y="316"/>
                    </a:cubicBezTo>
                    <a:cubicBezTo>
                      <a:pt x="80" y="316"/>
                      <a:pt x="80" y="316"/>
                      <a:pt x="80" y="317"/>
                    </a:cubicBezTo>
                    <a:cubicBezTo>
                      <a:pt x="80" y="317"/>
                      <a:pt x="80" y="318"/>
                      <a:pt x="80" y="318"/>
                    </a:cubicBezTo>
                    <a:cubicBezTo>
                      <a:pt x="80" y="318"/>
                      <a:pt x="80" y="318"/>
                      <a:pt x="80" y="318"/>
                    </a:cubicBezTo>
                    <a:cubicBezTo>
                      <a:pt x="80" y="319"/>
                      <a:pt x="80" y="319"/>
                      <a:pt x="80" y="319"/>
                    </a:cubicBezTo>
                    <a:cubicBezTo>
                      <a:pt x="80" y="319"/>
                      <a:pt x="81" y="319"/>
                      <a:pt x="81" y="320"/>
                    </a:cubicBezTo>
                    <a:cubicBezTo>
                      <a:pt x="82" y="320"/>
                      <a:pt x="82" y="320"/>
                      <a:pt x="82" y="320"/>
                    </a:cubicBezTo>
                    <a:cubicBezTo>
                      <a:pt x="82" y="320"/>
                      <a:pt x="88" y="325"/>
                      <a:pt x="90" y="329"/>
                    </a:cubicBezTo>
                    <a:cubicBezTo>
                      <a:pt x="90" y="328"/>
                      <a:pt x="90" y="328"/>
                      <a:pt x="90" y="328"/>
                    </a:cubicBezTo>
                    <a:cubicBezTo>
                      <a:pt x="90" y="329"/>
                      <a:pt x="90" y="329"/>
                      <a:pt x="90" y="329"/>
                    </a:cubicBezTo>
                    <a:cubicBezTo>
                      <a:pt x="90" y="329"/>
                      <a:pt x="90" y="329"/>
                      <a:pt x="90" y="329"/>
                    </a:cubicBezTo>
                    <a:cubicBezTo>
                      <a:pt x="89" y="330"/>
                      <a:pt x="89" y="330"/>
                      <a:pt x="89" y="330"/>
                    </a:cubicBezTo>
                    <a:cubicBezTo>
                      <a:pt x="90" y="330"/>
                      <a:pt x="90" y="330"/>
                      <a:pt x="90" y="330"/>
                    </a:cubicBezTo>
                    <a:cubicBezTo>
                      <a:pt x="90" y="330"/>
                      <a:pt x="90" y="330"/>
                      <a:pt x="90" y="330"/>
                    </a:cubicBezTo>
                    <a:cubicBezTo>
                      <a:pt x="90" y="331"/>
                      <a:pt x="90" y="331"/>
                      <a:pt x="90" y="331"/>
                    </a:cubicBezTo>
                    <a:cubicBezTo>
                      <a:pt x="90" y="331"/>
                      <a:pt x="90" y="331"/>
                      <a:pt x="90" y="331"/>
                    </a:cubicBezTo>
                    <a:cubicBezTo>
                      <a:pt x="90" y="332"/>
                      <a:pt x="90" y="332"/>
                      <a:pt x="90" y="332"/>
                    </a:cubicBezTo>
                    <a:cubicBezTo>
                      <a:pt x="89" y="334"/>
                      <a:pt x="89" y="334"/>
                      <a:pt x="89" y="334"/>
                    </a:cubicBezTo>
                    <a:cubicBezTo>
                      <a:pt x="88" y="334"/>
                      <a:pt x="88" y="334"/>
                      <a:pt x="88" y="334"/>
                    </a:cubicBezTo>
                    <a:cubicBezTo>
                      <a:pt x="88" y="334"/>
                      <a:pt x="88" y="334"/>
                      <a:pt x="88" y="334"/>
                    </a:cubicBezTo>
                    <a:cubicBezTo>
                      <a:pt x="88" y="334"/>
                      <a:pt x="88" y="334"/>
                      <a:pt x="88" y="334"/>
                    </a:cubicBezTo>
                    <a:cubicBezTo>
                      <a:pt x="88" y="334"/>
                      <a:pt x="88" y="334"/>
                      <a:pt x="88" y="334"/>
                    </a:cubicBezTo>
                    <a:cubicBezTo>
                      <a:pt x="89" y="334"/>
                      <a:pt x="89" y="334"/>
                      <a:pt x="89" y="334"/>
                    </a:cubicBezTo>
                    <a:cubicBezTo>
                      <a:pt x="90" y="335"/>
                      <a:pt x="90" y="335"/>
                      <a:pt x="90" y="335"/>
                    </a:cubicBezTo>
                    <a:cubicBezTo>
                      <a:pt x="91" y="336"/>
                      <a:pt x="91" y="336"/>
                      <a:pt x="91" y="336"/>
                    </a:cubicBezTo>
                    <a:cubicBezTo>
                      <a:pt x="91" y="336"/>
                      <a:pt x="92" y="337"/>
                      <a:pt x="92" y="337"/>
                    </a:cubicBezTo>
                    <a:cubicBezTo>
                      <a:pt x="92" y="337"/>
                      <a:pt x="92" y="337"/>
                      <a:pt x="92" y="337"/>
                    </a:cubicBezTo>
                    <a:cubicBezTo>
                      <a:pt x="93" y="340"/>
                      <a:pt x="93" y="342"/>
                      <a:pt x="93" y="345"/>
                    </a:cubicBezTo>
                    <a:cubicBezTo>
                      <a:pt x="93" y="346"/>
                      <a:pt x="93" y="347"/>
                      <a:pt x="93" y="348"/>
                    </a:cubicBezTo>
                    <a:cubicBezTo>
                      <a:pt x="93" y="348"/>
                      <a:pt x="93" y="348"/>
                      <a:pt x="93" y="348"/>
                    </a:cubicBezTo>
                    <a:cubicBezTo>
                      <a:pt x="93" y="349"/>
                      <a:pt x="93" y="349"/>
                      <a:pt x="93" y="349"/>
                    </a:cubicBezTo>
                    <a:cubicBezTo>
                      <a:pt x="93" y="349"/>
                      <a:pt x="93" y="350"/>
                      <a:pt x="94" y="350"/>
                    </a:cubicBezTo>
                    <a:cubicBezTo>
                      <a:pt x="94" y="351"/>
                      <a:pt x="95" y="351"/>
                      <a:pt x="95" y="351"/>
                    </a:cubicBezTo>
                    <a:cubicBezTo>
                      <a:pt x="96" y="352"/>
                      <a:pt x="96" y="352"/>
                      <a:pt x="96" y="352"/>
                    </a:cubicBezTo>
                    <a:cubicBezTo>
                      <a:pt x="96" y="352"/>
                      <a:pt x="96" y="353"/>
                      <a:pt x="97" y="353"/>
                    </a:cubicBezTo>
                    <a:cubicBezTo>
                      <a:pt x="97" y="353"/>
                      <a:pt x="97" y="353"/>
                      <a:pt x="97" y="353"/>
                    </a:cubicBezTo>
                    <a:cubicBezTo>
                      <a:pt x="98" y="354"/>
                      <a:pt x="98" y="354"/>
                      <a:pt x="98" y="354"/>
                    </a:cubicBezTo>
                    <a:cubicBezTo>
                      <a:pt x="98" y="353"/>
                      <a:pt x="99" y="353"/>
                      <a:pt x="99" y="352"/>
                    </a:cubicBezTo>
                    <a:cubicBezTo>
                      <a:pt x="99" y="352"/>
                      <a:pt x="100" y="350"/>
                      <a:pt x="101" y="350"/>
                    </a:cubicBezTo>
                    <a:cubicBezTo>
                      <a:pt x="102" y="349"/>
                      <a:pt x="103" y="349"/>
                      <a:pt x="105" y="348"/>
                    </a:cubicBezTo>
                    <a:cubicBezTo>
                      <a:pt x="106" y="348"/>
                      <a:pt x="106" y="348"/>
                      <a:pt x="106" y="348"/>
                    </a:cubicBezTo>
                    <a:cubicBezTo>
                      <a:pt x="108" y="349"/>
                      <a:pt x="110" y="350"/>
                      <a:pt x="112" y="351"/>
                    </a:cubicBezTo>
                    <a:cubicBezTo>
                      <a:pt x="113" y="352"/>
                      <a:pt x="113" y="352"/>
                      <a:pt x="113" y="352"/>
                    </a:cubicBezTo>
                    <a:cubicBezTo>
                      <a:pt x="114" y="353"/>
                      <a:pt x="114" y="353"/>
                      <a:pt x="114" y="353"/>
                    </a:cubicBezTo>
                    <a:cubicBezTo>
                      <a:pt x="114" y="353"/>
                      <a:pt x="114" y="353"/>
                      <a:pt x="114" y="353"/>
                    </a:cubicBezTo>
                    <a:cubicBezTo>
                      <a:pt x="115" y="353"/>
                      <a:pt x="116" y="353"/>
                      <a:pt x="117" y="353"/>
                    </a:cubicBezTo>
                    <a:cubicBezTo>
                      <a:pt x="118" y="353"/>
                      <a:pt x="118" y="352"/>
                      <a:pt x="118" y="352"/>
                    </a:cubicBezTo>
                    <a:cubicBezTo>
                      <a:pt x="119" y="351"/>
                      <a:pt x="119" y="351"/>
                      <a:pt x="120" y="351"/>
                    </a:cubicBezTo>
                    <a:cubicBezTo>
                      <a:pt x="121" y="350"/>
                      <a:pt x="121" y="350"/>
                      <a:pt x="121" y="350"/>
                    </a:cubicBezTo>
                    <a:cubicBezTo>
                      <a:pt x="121" y="350"/>
                      <a:pt x="121" y="350"/>
                      <a:pt x="122" y="350"/>
                    </a:cubicBezTo>
                    <a:cubicBezTo>
                      <a:pt x="122" y="350"/>
                      <a:pt x="122" y="350"/>
                      <a:pt x="122" y="350"/>
                    </a:cubicBezTo>
                    <a:cubicBezTo>
                      <a:pt x="123" y="350"/>
                      <a:pt x="123" y="350"/>
                      <a:pt x="124" y="350"/>
                    </a:cubicBezTo>
                    <a:cubicBezTo>
                      <a:pt x="124" y="350"/>
                      <a:pt x="124" y="350"/>
                      <a:pt x="124" y="350"/>
                    </a:cubicBezTo>
                    <a:cubicBezTo>
                      <a:pt x="124" y="349"/>
                      <a:pt x="124" y="348"/>
                      <a:pt x="125" y="346"/>
                    </a:cubicBezTo>
                    <a:cubicBezTo>
                      <a:pt x="125" y="346"/>
                      <a:pt x="125" y="345"/>
                      <a:pt x="126" y="345"/>
                    </a:cubicBezTo>
                    <a:cubicBezTo>
                      <a:pt x="126" y="344"/>
                      <a:pt x="126" y="344"/>
                      <a:pt x="126" y="344"/>
                    </a:cubicBezTo>
                    <a:cubicBezTo>
                      <a:pt x="126" y="344"/>
                      <a:pt x="127" y="344"/>
                      <a:pt x="127" y="343"/>
                    </a:cubicBezTo>
                    <a:cubicBezTo>
                      <a:pt x="128" y="343"/>
                      <a:pt x="128" y="343"/>
                      <a:pt x="129" y="343"/>
                    </a:cubicBezTo>
                    <a:cubicBezTo>
                      <a:pt x="130" y="343"/>
                      <a:pt x="131" y="343"/>
                      <a:pt x="131" y="344"/>
                    </a:cubicBezTo>
                    <a:cubicBezTo>
                      <a:pt x="132" y="343"/>
                      <a:pt x="133" y="342"/>
                      <a:pt x="134" y="342"/>
                    </a:cubicBezTo>
                    <a:cubicBezTo>
                      <a:pt x="135" y="342"/>
                      <a:pt x="135" y="342"/>
                      <a:pt x="135" y="342"/>
                    </a:cubicBezTo>
                    <a:cubicBezTo>
                      <a:pt x="138" y="339"/>
                      <a:pt x="138" y="339"/>
                      <a:pt x="138" y="339"/>
                    </a:cubicBezTo>
                    <a:cubicBezTo>
                      <a:pt x="140" y="343"/>
                      <a:pt x="140" y="343"/>
                      <a:pt x="140" y="343"/>
                    </a:cubicBezTo>
                    <a:cubicBezTo>
                      <a:pt x="140" y="344"/>
                      <a:pt x="140" y="345"/>
                      <a:pt x="140" y="345"/>
                    </a:cubicBezTo>
                    <a:cubicBezTo>
                      <a:pt x="140" y="346"/>
                      <a:pt x="140" y="347"/>
                      <a:pt x="140" y="348"/>
                    </a:cubicBezTo>
                    <a:cubicBezTo>
                      <a:pt x="140" y="350"/>
                      <a:pt x="141" y="353"/>
                      <a:pt x="141" y="354"/>
                    </a:cubicBezTo>
                    <a:cubicBezTo>
                      <a:pt x="141" y="354"/>
                      <a:pt x="141" y="354"/>
                      <a:pt x="141" y="354"/>
                    </a:cubicBezTo>
                    <a:cubicBezTo>
                      <a:pt x="142" y="354"/>
                      <a:pt x="142" y="354"/>
                      <a:pt x="142" y="354"/>
                    </a:cubicBezTo>
                    <a:cubicBezTo>
                      <a:pt x="142" y="354"/>
                      <a:pt x="143" y="353"/>
                      <a:pt x="143" y="353"/>
                    </a:cubicBezTo>
                    <a:cubicBezTo>
                      <a:pt x="144" y="352"/>
                      <a:pt x="144" y="352"/>
                      <a:pt x="144" y="352"/>
                    </a:cubicBezTo>
                    <a:cubicBezTo>
                      <a:pt x="144" y="351"/>
                      <a:pt x="145" y="351"/>
                      <a:pt x="146" y="350"/>
                    </a:cubicBezTo>
                    <a:cubicBezTo>
                      <a:pt x="146" y="350"/>
                      <a:pt x="146" y="350"/>
                      <a:pt x="146" y="350"/>
                    </a:cubicBezTo>
                    <a:cubicBezTo>
                      <a:pt x="147" y="349"/>
                      <a:pt x="147" y="349"/>
                      <a:pt x="148" y="349"/>
                    </a:cubicBezTo>
                    <a:cubicBezTo>
                      <a:pt x="149" y="349"/>
                      <a:pt x="149" y="349"/>
                      <a:pt x="149" y="349"/>
                    </a:cubicBezTo>
                    <a:cubicBezTo>
                      <a:pt x="149" y="349"/>
                      <a:pt x="149" y="349"/>
                      <a:pt x="149" y="349"/>
                    </a:cubicBezTo>
                    <a:cubicBezTo>
                      <a:pt x="150" y="349"/>
                      <a:pt x="150" y="348"/>
                      <a:pt x="150" y="348"/>
                    </a:cubicBezTo>
                    <a:cubicBezTo>
                      <a:pt x="151" y="348"/>
                      <a:pt x="151" y="348"/>
                      <a:pt x="151" y="348"/>
                    </a:cubicBezTo>
                    <a:cubicBezTo>
                      <a:pt x="152" y="348"/>
                      <a:pt x="152" y="348"/>
                      <a:pt x="152" y="348"/>
                    </a:cubicBezTo>
                    <a:cubicBezTo>
                      <a:pt x="152" y="348"/>
                      <a:pt x="152" y="348"/>
                      <a:pt x="152" y="348"/>
                    </a:cubicBezTo>
                    <a:cubicBezTo>
                      <a:pt x="153" y="346"/>
                      <a:pt x="153" y="345"/>
                      <a:pt x="153" y="344"/>
                    </a:cubicBezTo>
                    <a:cubicBezTo>
                      <a:pt x="153" y="344"/>
                      <a:pt x="153" y="343"/>
                      <a:pt x="153" y="342"/>
                    </a:cubicBezTo>
                    <a:cubicBezTo>
                      <a:pt x="152" y="339"/>
                      <a:pt x="151" y="335"/>
                      <a:pt x="155" y="333"/>
                    </a:cubicBezTo>
                    <a:cubicBezTo>
                      <a:pt x="157" y="332"/>
                      <a:pt x="157" y="332"/>
                      <a:pt x="158" y="329"/>
                    </a:cubicBezTo>
                    <a:cubicBezTo>
                      <a:pt x="158" y="328"/>
                      <a:pt x="158" y="328"/>
                      <a:pt x="158" y="328"/>
                    </a:cubicBezTo>
                    <a:cubicBezTo>
                      <a:pt x="159" y="326"/>
                      <a:pt x="159" y="324"/>
                      <a:pt x="158" y="322"/>
                    </a:cubicBezTo>
                    <a:cubicBezTo>
                      <a:pt x="157" y="322"/>
                      <a:pt x="157" y="322"/>
                      <a:pt x="157" y="322"/>
                    </a:cubicBezTo>
                    <a:cubicBezTo>
                      <a:pt x="157" y="321"/>
                      <a:pt x="157" y="321"/>
                      <a:pt x="156" y="321"/>
                    </a:cubicBezTo>
                    <a:cubicBezTo>
                      <a:pt x="151" y="318"/>
                      <a:pt x="151" y="318"/>
                      <a:pt x="151" y="318"/>
                    </a:cubicBezTo>
                    <a:cubicBezTo>
                      <a:pt x="156" y="316"/>
                      <a:pt x="156" y="316"/>
                      <a:pt x="156" y="316"/>
                    </a:cubicBezTo>
                    <a:cubicBezTo>
                      <a:pt x="157" y="315"/>
                      <a:pt x="159" y="314"/>
                      <a:pt x="160" y="314"/>
                    </a:cubicBezTo>
                    <a:cubicBezTo>
                      <a:pt x="165" y="312"/>
                      <a:pt x="165" y="312"/>
                      <a:pt x="165" y="312"/>
                    </a:cubicBezTo>
                    <a:cubicBezTo>
                      <a:pt x="167" y="311"/>
                      <a:pt x="168" y="311"/>
                      <a:pt x="170" y="311"/>
                    </a:cubicBezTo>
                    <a:cubicBezTo>
                      <a:pt x="171" y="311"/>
                      <a:pt x="172" y="310"/>
                      <a:pt x="173" y="310"/>
                    </a:cubicBezTo>
                    <a:cubicBezTo>
                      <a:pt x="174" y="309"/>
                      <a:pt x="176" y="308"/>
                      <a:pt x="177" y="306"/>
                    </a:cubicBezTo>
                    <a:cubicBezTo>
                      <a:pt x="178" y="305"/>
                      <a:pt x="178" y="305"/>
                      <a:pt x="178" y="305"/>
                    </a:cubicBezTo>
                    <a:cubicBezTo>
                      <a:pt x="178" y="305"/>
                      <a:pt x="178" y="305"/>
                      <a:pt x="178" y="305"/>
                    </a:cubicBezTo>
                    <a:cubicBezTo>
                      <a:pt x="178" y="304"/>
                      <a:pt x="177" y="301"/>
                      <a:pt x="177" y="299"/>
                    </a:cubicBezTo>
                    <a:cubicBezTo>
                      <a:pt x="177" y="298"/>
                      <a:pt x="176" y="297"/>
                      <a:pt x="176" y="297"/>
                    </a:cubicBezTo>
                    <a:cubicBezTo>
                      <a:pt x="176" y="294"/>
                      <a:pt x="176" y="294"/>
                      <a:pt x="176" y="294"/>
                    </a:cubicBezTo>
                    <a:cubicBezTo>
                      <a:pt x="181" y="294"/>
                      <a:pt x="181" y="294"/>
                      <a:pt x="181" y="294"/>
                    </a:cubicBezTo>
                    <a:cubicBezTo>
                      <a:pt x="181" y="294"/>
                      <a:pt x="181" y="294"/>
                      <a:pt x="181" y="294"/>
                    </a:cubicBezTo>
                    <a:cubicBezTo>
                      <a:pt x="181" y="294"/>
                      <a:pt x="182" y="294"/>
                      <a:pt x="182" y="294"/>
                    </a:cubicBezTo>
                    <a:cubicBezTo>
                      <a:pt x="182" y="292"/>
                      <a:pt x="182" y="292"/>
                      <a:pt x="182" y="292"/>
                    </a:cubicBezTo>
                    <a:cubicBezTo>
                      <a:pt x="182" y="292"/>
                      <a:pt x="182" y="291"/>
                      <a:pt x="181" y="291"/>
                    </a:cubicBezTo>
                    <a:cubicBezTo>
                      <a:pt x="181" y="290"/>
                      <a:pt x="181" y="289"/>
                      <a:pt x="181" y="288"/>
                    </a:cubicBezTo>
                    <a:cubicBezTo>
                      <a:pt x="182" y="284"/>
                      <a:pt x="185" y="281"/>
                      <a:pt x="187" y="279"/>
                    </a:cubicBezTo>
                    <a:cubicBezTo>
                      <a:pt x="187" y="278"/>
                      <a:pt x="187" y="278"/>
                      <a:pt x="187" y="278"/>
                    </a:cubicBezTo>
                    <a:cubicBezTo>
                      <a:pt x="188" y="277"/>
                      <a:pt x="188" y="277"/>
                      <a:pt x="189" y="276"/>
                    </a:cubicBezTo>
                    <a:cubicBezTo>
                      <a:pt x="191" y="273"/>
                      <a:pt x="191" y="273"/>
                      <a:pt x="191" y="273"/>
                    </a:cubicBezTo>
                    <a:cubicBezTo>
                      <a:pt x="193" y="276"/>
                      <a:pt x="193" y="276"/>
                      <a:pt x="193" y="276"/>
                    </a:cubicBezTo>
                    <a:cubicBezTo>
                      <a:pt x="194" y="277"/>
                      <a:pt x="194" y="277"/>
                      <a:pt x="195" y="278"/>
                    </a:cubicBezTo>
                    <a:cubicBezTo>
                      <a:pt x="197" y="279"/>
                      <a:pt x="199" y="280"/>
                      <a:pt x="201" y="282"/>
                    </a:cubicBezTo>
                    <a:cubicBezTo>
                      <a:pt x="202" y="282"/>
                      <a:pt x="202" y="282"/>
                      <a:pt x="202" y="282"/>
                    </a:cubicBezTo>
                    <a:cubicBezTo>
                      <a:pt x="203" y="282"/>
                      <a:pt x="203" y="282"/>
                      <a:pt x="203" y="282"/>
                    </a:cubicBezTo>
                    <a:cubicBezTo>
                      <a:pt x="203" y="282"/>
                      <a:pt x="203" y="282"/>
                      <a:pt x="203" y="282"/>
                    </a:cubicBezTo>
                    <a:cubicBezTo>
                      <a:pt x="203" y="282"/>
                      <a:pt x="203" y="282"/>
                      <a:pt x="203" y="282"/>
                    </a:cubicBezTo>
                    <a:cubicBezTo>
                      <a:pt x="204" y="281"/>
                      <a:pt x="204" y="281"/>
                      <a:pt x="204" y="281"/>
                    </a:cubicBezTo>
                    <a:cubicBezTo>
                      <a:pt x="205" y="281"/>
                      <a:pt x="205" y="281"/>
                      <a:pt x="205" y="281"/>
                    </a:cubicBezTo>
                    <a:cubicBezTo>
                      <a:pt x="205" y="281"/>
                      <a:pt x="205" y="281"/>
                      <a:pt x="205" y="281"/>
                    </a:cubicBezTo>
                    <a:cubicBezTo>
                      <a:pt x="205" y="280"/>
                      <a:pt x="205" y="280"/>
                      <a:pt x="205" y="280"/>
                    </a:cubicBezTo>
                    <a:cubicBezTo>
                      <a:pt x="205" y="278"/>
                      <a:pt x="205" y="275"/>
                      <a:pt x="205" y="273"/>
                    </a:cubicBezTo>
                    <a:cubicBezTo>
                      <a:pt x="205" y="267"/>
                      <a:pt x="205" y="267"/>
                      <a:pt x="205" y="267"/>
                    </a:cubicBezTo>
                    <a:cubicBezTo>
                      <a:pt x="209" y="270"/>
                      <a:pt x="209" y="270"/>
                      <a:pt x="209" y="270"/>
                    </a:cubicBezTo>
                    <a:cubicBezTo>
                      <a:pt x="210" y="270"/>
                      <a:pt x="210" y="270"/>
                      <a:pt x="210" y="270"/>
                    </a:cubicBezTo>
                    <a:cubicBezTo>
                      <a:pt x="210" y="271"/>
                      <a:pt x="210" y="271"/>
                      <a:pt x="210" y="271"/>
                    </a:cubicBezTo>
                    <a:cubicBezTo>
                      <a:pt x="211" y="271"/>
                      <a:pt x="212" y="271"/>
                      <a:pt x="212" y="271"/>
                    </a:cubicBezTo>
                    <a:cubicBezTo>
                      <a:pt x="213" y="271"/>
                      <a:pt x="213" y="271"/>
                      <a:pt x="213" y="271"/>
                    </a:cubicBezTo>
                    <a:cubicBezTo>
                      <a:pt x="213" y="271"/>
                      <a:pt x="213" y="270"/>
                      <a:pt x="214" y="269"/>
                    </a:cubicBezTo>
                    <a:cubicBezTo>
                      <a:pt x="216" y="266"/>
                      <a:pt x="216" y="266"/>
                      <a:pt x="216" y="266"/>
                    </a:cubicBezTo>
                    <a:cubicBezTo>
                      <a:pt x="218" y="263"/>
                      <a:pt x="221" y="258"/>
                      <a:pt x="226" y="257"/>
                    </a:cubicBezTo>
                    <a:cubicBezTo>
                      <a:pt x="227" y="257"/>
                      <a:pt x="227" y="257"/>
                      <a:pt x="227" y="257"/>
                    </a:cubicBezTo>
                    <a:cubicBezTo>
                      <a:pt x="229" y="257"/>
                      <a:pt x="231" y="257"/>
                      <a:pt x="232" y="258"/>
                    </a:cubicBezTo>
                    <a:cubicBezTo>
                      <a:pt x="233" y="258"/>
                      <a:pt x="233" y="258"/>
                      <a:pt x="234" y="258"/>
                    </a:cubicBezTo>
                    <a:cubicBezTo>
                      <a:pt x="234" y="259"/>
                      <a:pt x="234" y="259"/>
                      <a:pt x="234" y="259"/>
                    </a:cubicBezTo>
                    <a:cubicBezTo>
                      <a:pt x="235" y="258"/>
                      <a:pt x="235" y="258"/>
                      <a:pt x="235" y="258"/>
                    </a:cubicBezTo>
                    <a:cubicBezTo>
                      <a:pt x="236" y="254"/>
                      <a:pt x="237" y="252"/>
                      <a:pt x="241" y="252"/>
                    </a:cubicBezTo>
                    <a:cubicBezTo>
                      <a:pt x="243" y="251"/>
                      <a:pt x="244" y="251"/>
                      <a:pt x="245" y="250"/>
                    </a:cubicBezTo>
                    <a:cubicBezTo>
                      <a:pt x="246" y="250"/>
                      <a:pt x="246" y="250"/>
                      <a:pt x="246" y="250"/>
                    </a:cubicBezTo>
                    <a:cubicBezTo>
                      <a:pt x="247" y="249"/>
                      <a:pt x="248" y="249"/>
                      <a:pt x="249" y="248"/>
                    </a:cubicBezTo>
                    <a:cubicBezTo>
                      <a:pt x="250" y="248"/>
                      <a:pt x="250" y="248"/>
                      <a:pt x="250" y="248"/>
                    </a:cubicBezTo>
                    <a:cubicBezTo>
                      <a:pt x="253" y="247"/>
                      <a:pt x="255" y="246"/>
                      <a:pt x="257" y="245"/>
                    </a:cubicBezTo>
                    <a:cubicBezTo>
                      <a:pt x="258" y="244"/>
                      <a:pt x="259" y="243"/>
                      <a:pt x="260" y="242"/>
                    </a:cubicBezTo>
                    <a:cubicBezTo>
                      <a:pt x="262" y="241"/>
                      <a:pt x="262" y="241"/>
                      <a:pt x="262" y="241"/>
                    </a:cubicBezTo>
                    <a:cubicBezTo>
                      <a:pt x="262" y="240"/>
                      <a:pt x="263" y="240"/>
                      <a:pt x="263" y="240"/>
                    </a:cubicBezTo>
                    <a:cubicBezTo>
                      <a:pt x="265" y="238"/>
                      <a:pt x="265" y="238"/>
                      <a:pt x="265" y="238"/>
                    </a:cubicBezTo>
                    <a:cubicBezTo>
                      <a:pt x="266" y="237"/>
                      <a:pt x="267" y="237"/>
                      <a:pt x="269" y="237"/>
                    </a:cubicBezTo>
                    <a:cubicBezTo>
                      <a:pt x="270" y="237"/>
                      <a:pt x="271" y="237"/>
                      <a:pt x="272" y="237"/>
                    </a:cubicBezTo>
                    <a:cubicBezTo>
                      <a:pt x="273" y="237"/>
                      <a:pt x="273" y="237"/>
                      <a:pt x="274" y="237"/>
                    </a:cubicBezTo>
                    <a:cubicBezTo>
                      <a:pt x="275" y="237"/>
                      <a:pt x="276" y="237"/>
                      <a:pt x="277" y="238"/>
                    </a:cubicBezTo>
                    <a:cubicBezTo>
                      <a:pt x="278" y="238"/>
                      <a:pt x="278" y="238"/>
                      <a:pt x="278" y="238"/>
                    </a:cubicBezTo>
                    <a:cubicBezTo>
                      <a:pt x="280" y="238"/>
                      <a:pt x="282" y="238"/>
                      <a:pt x="284" y="239"/>
                    </a:cubicBezTo>
                    <a:cubicBezTo>
                      <a:pt x="284" y="239"/>
                      <a:pt x="285" y="239"/>
                      <a:pt x="285" y="239"/>
                    </a:cubicBezTo>
                    <a:cubicBezTo>
                      <a:pt x="286" y="239"/>
                      <a:pt x="286" y="239"/>
                      <a:pt x="286" y="239"/>
                    </a:cubicBezTo>
                    <a:cubicBezTo>
                      <a:pt x="287" y="239"/>
                      <a:pt x="287" y="239"/>
                      <a:pt x="287" y="239"/>
                    </a:cubicBezTo>
                    <a:cubicBezTo>
                      <a:pt x="287" y="239"/>
                      <a:pt x="287" y="239"/>
                      <a:pt x="287" y="239"/>
                    </a:cubicBezTo>
                    <a:cubicBezTo>
                      <a:pt x="288" y="240"/>
                      <a:pt x="288" y="240"/>
                      <a:pt x="289" y="240"/>
                    </a:cubicBezTo>
                    <a:cubicBezTo>
                      <a:pt x="289" y="240"/>
                      <a:pt x="289" y="240"/>
                      <a:pt x="289" y="240"/>
                    </a:cubicBezTo>
                    <a:cubicBezTo>
                      <a:pt x="290" y="240"/>
                      <a:pt x="290" y="240"/>
                      <a:pt x="290" y="240"/>
                    </a:cubicBezTo>
                    <a:cubicBezTo>
                      <a:pt x="290" y="241"/>
                      <a:pt x="290" y="241"/>
                      <a:pt x="290" y="241"/>
                    </a:cubicBezTo>
                    <a:cubicBezTo>
                      <a:pt x="291" y="241"/>
                      <a:pt x="291" y="241"/>
                      <a:pt x="291" y="241"/>
                    </a:cubicBezTo>
                    <a:cubicBezTo>
                      <a:pt x="291" y="241"/>
                      <a:pt x="291" y="241"/>
                      <a:pt x="291" y="241"/>
                    </a:cubicBezTo>
                    <a:cubicBezTo>
                      <a:pt x="292" y="241"/>
                      <a:pt x="292" y="241"/>
                      <a:pt x="292" y="241"/>
                    </a:cubicBezTo>
                    <a:cubicBezTo>
                      <a:pt x="293" y="240"/>
                      <a:pt x="294" y="240"/>
                      <a:pt x="294" y="240"/>
                    </a:cubicBezTo>
                    <a:cubicBezTo>
                      <a:pt x="295" y="239"/>
                      <a:pt x="295" y="239"/>
                      <a:pt x="295" y="239"/>
                    </a:cubicBezTo>
                    <a:cubicBezTo>
                      <a:pt x="296" y="239"/>
                      <a:pt x="296" y="239"/>
                      <a:pt x="297" y="239"/>
                    </a:cubicBezTo>
                    <a:cubicBezTo>
                      <a:pt x="299" y="238"/>
                      <a:pt x="301" y="237"/>
                      <a:pt x="303" y="237"/>
                    </a:cubicBezTo>
                    <a:cubicBezTo>
                      <a:pt x="307" y="235"/>
                      <a:pt x="312" y="233"/>
                      <a:pt x="317" y="232"/>
                    </a:cubicBezTo>
                    <a:cubicBezTo>
                      <a:pt x="328" y="231"/>
                      <a:pt x="337" y="231"/>
                      <a:pt x="346" y="231"/>
                    </a:cubicBezTo>
                    <a:cubicBezTo>
                      <a:pt x="347" y="231"/>
                      <a:pt x="347" y="231"/>
                      <a:pt x="347" y="231"/>
                    </a:cubicBezTo>
                    <a:cubicBezTo>
                      <a:pt x="347" y="231"/>
                      <a:pt x="348" y="231"/>
                      <a:pt x="349" y="231"/>
                    </a:cubicBezTo>
                    <a:cubicBezTo>
                      <a:pt x="350" y="231"/>
                      <a:pt x="350" y="231"/>
                      <a:pt x="350" y="231"/>
                    </a:cubicBezTo>
                    <a:cubicBezTo>
                      <a:pt x="351" y="231"/>
                      <a:pt x="352" y="231"/>
                      <a:pt x="353" y="231"/>
                    </a:cubicBezTo>
                    <a:cubicBezTo>
                      <a:pt x="354" y="231"/>
                      <a:pt x="355" y="231"/>
                      <a:pt x="355" y="231"/>
                    </a:cubicBezTo>
                    <a:cubicBezTo>
                      <a:pt x="356" y="231"/>
                      <a:pt x="357" y="230"/>
                      <a:pt x="358" y="230"/>
                    </a:cubicBezTo>
                    <a:cubicBezTo>
                      <a:pt x="359" y="230"/>
                      <a:pt x="359" y="230"/>
                      <a:pt x="359" y="230"/>
                    </a:cubicBezTo>
                    <a:cubicBezTo>
                      <a:pt x="360" y="230"/>
                      <a:pt x="361" y="230"/>
                      <a:pt x="362" y="230"/>
                    </a:cubicBezTo>
                    <a:cubicBezTo>
                      <a:pt x="363" y="230"/>
                      <a:pt x="363" y="230"/>
                      <a:pt x="363" y="230"/>
                    </a:cubicBezTo>
                    <a:cubicBezTo>
                      <a:pt x="364" y="230"/>
                      <a:pt x="364" y="230"/>
                      <a:pt x="364" y="230"/>
                    </a:cubicBezTo>
                    <a:cubicBezTo>
                      <a:pt x="365" y="230"/>
                      <a:pt x="365" y="230"/>
                      <a:pt x="365" y="230"/>
                    </a:cubicBezTo>
                    <a:cubicBezTo>
                      <a:pt x="366" y="230"/>
                      <a:pt x="366" y="230"/>
                      <a:pt x="366" y="230"/>
                    </a:cubicBezTo>
                    <a:cubicBezTo>
                      <a:pt x="367" y="230"/>
                      <a:pt x="369" y="227"/>
                      <a:pt x="371" y="226"/>
                    </a:cubicBezTo>
                    <a:cubicBezTo>
                      <a:pt x="371" y="225"/>
                      <a:pt x="372" y="224"/>
                      <a:pt x="372" y="224"/>
                    </a:cubicBezTo>
                    <a:cubicBezTo>
                      <a:pt x="374" y="223"/>
                      <a:pt x="374" y="221"/>
                      <a:pt x="375" y="219"/>
                    </a:cubicBezTo>
                    <a:cubicBezTo>
                      <a:pt x="375" y="219"/>
                      <a:pt x="376" y="218"/>
                      <a:pt x="376" y="217"/>
                    </a:cubicBezTo>
                    <a:cubicBezTo>
                      <a:pt x="377" y="215"/>
                      <a:pt x="377" y="215"/>
                      <a:pt x="377" y="215"/>
                    </a:cubicBezTo>
                    <a:cubicBezTo>
                      <a:pt x="378" y="212"/>
                      <a:pt x="380" y="208"/>
                      <a:pt x="380" y="205"/>
                    </a:cubicBezTo>
                    <a:cubicBezTo>
                      <a:pt x="381" y="197"/>
                      <a:pt x="381" y="190"/>
                      <a:pt x="381" y="182"/>
                    </a:cubicBezTo>
                    <a:cubicBezTo>
                      <a:pt x="381" y="176"/>
                      <a:pt x="381" y="176"/>
                      <a:pt x="381" y="176"/>
                    </a:cubicBezTo>
                    <a:cubicBezTo>
                      <a:pt x="381" y="171"/>
                      <a:pt x="381" y="165"/>
                      <a:pt x="381" y="160"/>
                    </a:cubicBezTo>
                    <a:cubicBezTo>
                      <a:pt x="381" y="156"/>
                      <a:pt x="381" y="156"/>
                      <a:pt x="381" y="156"/>
                    </a:cubicBezTo>
                    <a:cubicBezTo>
                      <a:pt x="381" y="152"/>
                      <a:pt x="381" y="149"/>
                      <a:pt x="381" y="145"/>
                    </a:cubicBezTo>
                    <a:cubicBezTo>
                      <a:pt x="375" y="146"/>
                      <a:pt x="375" y="146"/>
                      <a:pt x="375" y="146"/>
                    </a:cubicBezTo>
                    <a:cubicBezTo>
                      <a:pt x="373" y="147"/>
                      <a:pt x="370" y="147"/>
                      <a:pt x="367" y="147"/>
                    </a:cubicBezTo>
                    <a:cubicBezTo>
                      <a:pt x="360" y="147"/>
                      <a:pt x="358" y="146"/>
                      <a:pt x="357" y="145"/>
                    </a:cubicBezTo>
                    <a:cubicBezTo>
                      <a:pt x="357" y="145"/>
                      <a:pt x="357" y="145"/>
                      <a:pt x="356" y="144"/>
                    </a:cubicBezTo>
                    <a:cubicBezTo>
                      <a:pt x="356" y="144"/>
                      <a:pt x="356" y="144"/>
                      <a:pt x="356" y="144"/>
                    </a:cubicBezTo>
                    <a:cubicBezTo>
                      <a:pt x="355" y="144"/>
                      <a:pt x="355" y="143"/>
                      <a:pt x="355" y="143"/>
                    </a:cubicBezTo>
                    <a:cubicBezTo>
                      <a:pt x="354" y="141"/>
                      <a:pt x="355" y="139"/>
                      <a:pt x="357" y="136"/>
                    </a:cubicBezTo>
                    <a:cubicBezTo>
                      <a:pt x="357" y="135"/>
                      <a:pt x="357" y="135"/>
                      <a:pt x="357" y="135"/>
                    </a:cubicBezTo>
                    <a:cubicBezTo>
                      <a:pt x="358" y="135"/>
                      <a:pt x="358" y="135"/>
                      <a:pt x="358" y="135"/>
                    </a:cubicBezTo>
                    <a:cubicBezTo>
                      <a:pt x="358" y="135"/>
                      <a:pt x="358" y="135"/>
                      <a:pt x="358" y="135"/>
                    </a:cubicBezTo>
                    <a:cubicBezTo>
                      <a:pt x="358" y="134"/>
                      <a:pt x="358" y="134"/>
                      <a:pt x="358" y="134"/>
                    </a:cubicBezTo>
                    <a:cubicBezTo>
                      <a:pt x="357" y="133"/>
                      <a:pt x="357" y="133"/>
                      <a:pt x="357" y="132"/>
                    </a:cubicBezTo>
                    <a:cubicBezTo>
                      <a:pt x="357" y="131"/>
                      <a:pt x="357" y="130"/>
                      <a:pt x="357" y="129"/>
                    </a:cubicBezTo>
                    <a:cubicBezTo>
                      <a:pt x="357" y="129"/>
                      <a:pt x="357" y="129"/>
                      <a:pt x="357" y="129"/>
                    </a:cubicBezTo>
                    <a:cubicBezTo>
                      <a:pt x="357" y="128"/>
                      <a:pt x="357" y="128"/>
                      <a:pt x="357" y="128"/>
                    </a:cubicBezTo>
                    <a:cubicBezTo>
                      <a:pt x="357" y="127"/>
                      <a:pt x="357" y="127"/>
                      <a:pt x="357" y="127"/>
                    </a:cubicBezTo>
                    <a:cubicBezTo>
                      <a:pt x="357" y="127"/>
                      <a:pt x="357" y="127"/>
                      <a:pt x="357" y="127"/>
                    </a:cubicBezTo>
                    <a:cubicBezTo>
                      <a:pt x="356" y="126"/>
                      <a:pt x="356" y="126"/>
                      <a:pt x="356" y="126"/>
                    </a:cubicBezTo>
                    <a:cubicBezTo>
                      <a:pt x="355" y="126"/>
                      <a:pt x="355" y="126"/>
                      <a:pt x="355" y="126"/>
                    </a:cubicBezTo>
                    <a:cubicBezTo>
                      <a:pt x="355" y="125"/>
                      <a:pt x="355" y="125"/>
                      <a:pt x="354" y="125"/>
                    </a:cubicBezTo>
                    <a:cubicBezTo>
                      <a:pt x="354" y="125"/>
                      <a:pt x="353" y="125"/>
                      <a:pt x="352" y="125"/>
                    </a:cubicBezTo>
                    <a:cubicBezTo>
                      <a:pt x="352" y="125"/>
                      <a:pt x="352" y="125"/>
                      <a:pt x="352" y="125"/>
                    </a:cubicBezTo>
                    <a:cubicBezTo>
                      <a:pt x="351" y="125"/>
                      <a:pt x="351" y="125"/>
                      <a:pt x="351" y="125"/>
                    </a:cubicBezTo>
                    <a:cubicBezTo>
                      <a:pt x="349" y="124"/>
                      <a:pt x="349" y="124"/>
                      <a:pt x="349" y="124"/>
                    </a:cubicBezTo>
                    <a:cubicBezTo>
                      <a:pt x="345" y="123"/>
                      <a:pt x="342" y="121"/>
                      <a:pt x="338" y="119"/>
                    </a:cubicBezTo>
                    <a:cubicBezTo>
                      <a:pt x="336" y="117"/>
                      <a:pt x="336" y="117"/>
                      <a:pt x="336" y="117"/>
                    </a:cubicBezTo>
                    <a:cubicBezTo>
                      <a:pt x="336" y="117"/>
                      <a:pt x="336" y="117"/>
                      <a:pt x="336" y="117"/>
                    </a:cubicBezTo>
                    <a:cubicBezTo>
                      <a:pt x="336" y="117"/>
                      <a:pt x="336" y="117"/>
                      <a:pt x="336" y="117"/>
                    </a:cubicBezTo>
                    <a:cubicBezTo>
                      <a:pt x="336" y="117"/>
                      <a:pt x="336" y="118"/>
                      <a:pt x="335" y="118"/>
                    </a:cubicBezTo>
                    <a:cubicBezTo>
                      <a:pt x="335" y="118"/>
                      <a:pt x="335" y="118"/>
                      <a:pt x="334" y="118"/>
                    </a:cubicBezTo>
                    <a:cubicBezTo>
                      <a:pt x="334" y="118"/>
                      <a:pt x="334" y="118"/>
                      <a:pt x="333" y="118"/>
                    </a:cubicBezTo>
                    <a:cubicBezTo>
                      <a:pt x="332" y="118"/>
                      <a:pt x="332" y="118"/>
                      <a:pt x="332" y="118"/>
                    </a:cubicBezTo>
                    <a:cubicBezTo>
                      <a:pt x="329" y="117"/>
                      <a:pt x="323" y="116"/>
                      <a:pt x="321" y="112"/>
                    </a:cubicBezTo>
                    <a:cubicBezTo>
                      <a:pt x="320" y="111"/>
                      <a:pt x="320" y="111"/>
                      <a:pt x="320" y="111"/>
                    </a:cubicBezTo>
                    <a:cubicBezTo>
                      <a:pt x="320" y="110"/>
                      <a:pt x="320" y="110"/>
                      <a:pt x="320" y="110"/>
                    </a:cubicBezTo>
                    <a:cubicBezTo>
                      <a:pt x="319" y="108"/>
                      <a:pt x="319" y="108"/>
                      <a:pt x="318" y="108"/>
                    </a:cubicBezTo>
                    <a:cubicBezTo>
                      <a:pt x="317" y="107"/>
                      <a:pt x="317" y="107"/>
                      <a:pt x="317" y="107"/>
                    </a:cubicBezTo>
                    <a:cubicBezTo>
                      <a:pt x="316" y="107"/>
                      <a:pt x="316" y="107"/>
                      <a:pt x="316" y="107"/>
                    </a:cubicBezTo>
                    <a:cubicBezTo>
                      <a:pt x="313" y="106"/>
                      <a:pt x="310" y="106"/>
                      <a:pt x="309" y="104"/>
                    </a:cubicBezTo>
                    <a:cubicBezTo>
                      <a:pt x="308" y="102"/>
                      <a:pt x="309" y="101"/>
                      <a:pt x="309" y="100"/>
                    </a:cubicBezTo>
                    <a:cubicBezTo>
                      <a:pt x="309" y="100"/>
                      <a:pt x="309" y="100"/>
                      <a:pt x="309" y="99"/>
                    </a:cubicBezTo>
                    <a:cubicBezTo>
                      <a:pt x="309" y="98"/>
                      <a:pt x="309" y="98"/>
                      <a:pt x="309" y="98"/>
                    </a:cubicBezTo>
                    <a:cubicBezTo>
                      <a:pt x="309" y="97"/>
                      <a:pt x="309" y="96"/>
                      <a:pt x="309" y="96"/>
                    </a:cubicBezTo>
                    <a:cubicBezTo>
                      <a:pt x="309" y="95"/>
                      <a:pt x="309" y="95"/>
                      <a:pt x="308" y="95"/>
                    </a:cubicBezTo>
                    <a:cubicBezTo>
                      <a:pt x="286" y="80"/>
                      <a:pt x="286" y="80"/>
                      <a:pt x="286" y="80"/>
                    </a:cubicBezTo>
                    <a:cubicBezTo>
                      <a:pt x="270" y="70"/>
                      <a:pt x="253" y="58"/>
                      <a:pt x="239" y="48"/>
                    </a:cubicBezTo>
                    <a:cubicBezTo>
                      <a:pt x="230" y="42"/>
                      <a:pt x="221" y="36"/>
                      <a:pt x="212" y="29"/>
                    </a:cubicBezTo>
                    <a:cubicBezTo>
                      <a:pt x="206" y="25"/>
                      <a:pt x="206" y="25"/>
                      <a:pt x="206" y="25"/>
                    </a:cubicBezTo>
                    <a:cubicBezTo>
                      <a:pt x="200" y="21"/>
                      <a:pt x="194" y="17"/>
                      <a:pt x="188" y="12"/>
                    </a:cubicBezTo>
                    <a:cubicBezTo>
                      <a:pt x="187" y="12"/>
                      <a:pt x="187" y="12"/>
                      <a:pt x="187" y="12"/>
                    </a:cubicBezTo>
                    <a:cubicBezTo>
                      <a:pt x="185" y="10"/>
                      <a:pt x="183" y="9"/>
                      <a:pt x="181" y="8"/>
                    </a:cubicBezTo>
                    <a:cubicBezTo>
                      <a:pt x="175" y="4"/>
                      <a:pt x="175" y="4"/>
                      <a:pt x="175" y="4"/>
                    </a:cubicBezTo>
                    <a:cubicBezTo>
                      <a:pt x="173" y="3"/>
                      <a:pt x="171" y="1"/>
                      <a:pt x="1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Rectangle 196"/>
              <p:cNvSpPr>
                <a:spLocks noChangeArrowheads="1"/>
              </p:cNvSpPr>
              <p:nvPr/>
            </p:nvSpPr>
            <p:spPr bwMode="auto">
              <a:xfrm>
                <a:off x="3453" y="97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Rectangle 197"/>
              <p:cNvSpPr>
                <a:spLocks noChangeArrowheads="1"/>
              </p:cNvSpPr>
              <p:nvPr/>
            </p:nvSpPr>
            <p:spPr bwMode="auto">
              <a:xfrm>
                <a:off x="3453" y="97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198"/>
              <p:cNvSpPr/>
              <p:nvPr/>
            </p:nvSpPr>
            <p:spPr bwMode="auto">
              <a:xfrm>
                <a:off x="2935" y="668"/>
                <a:ext cx="660" cy="501"/>
              </a:xfrm>
              <a:custGeom>
                <a:gdLst>
                  <a:gd name="T0" fmla="*/ 167 w 279"/>
                  <a:gd name="T1" fmla="*/ 4 h 212"/>
                  <a:gd name="T2" fmla="*/ 135 w 279"/>
                  <a:gd name="T3" fmla="*/ 58 h 212"/>
                  <a:gd name="T4" fmla="*/ 119 w 279"/>
                  <a:gd name="T5" fmla="*/ 65 h 212"/>
                  <a:gd name="T6" fmla="*/ 89 w 279"/>
                  <a:gd name="T7" fmla="*/ 89 h 212"/>
                  <a:gd name="T8" fmla="*/ 77 w 279"/>
                  <a:gd name="T9" fmla="*/ 122 h 212"/>
                  <a:gd name="T10" fmla="*/ 76 w 279"/>
                  <a:gd name="T11" fmla="*/ 139 h 212"/>
                  <a:gd name="T12" fmla="*/ 80 w 279"/>
                  <a:gd name="T13" fmla="*/ 152 h 212"/>
                  <a:gd name="T14" fmla="*/ 31 w 279"/>
                  <a:gd name="T15" fmla="*/ 200 h 212"/>
                  <a:gd name="T16" fmla="*/ 2 w 279"/>
                  <a:gd name="T17" fmla="*/ 208 h 212"/>
                  <a:gd name="T18" fmla="*/ 100 w 279"/>
                  <a:gd name="T19" fmla="*/ 190 h 212"/>
                  <a:gd name="T20" fmla="*/ 108 w 279"/>
                  <a:gd name="T21" fmla="*/ 181 h 212"/>
                  <a:gd name="T22" fmla="*/ 115 w 279"/>
                  <a:gd name="T23" fmla="*/ 176 h 212"/>
                  <a:gd name="T24" fmla="*/ 133 w 279"/>
                  <a:gd name="T25" fmla="*/ 166 h 212"/>
                  <a:gd name="T26" fmla="*/ 146 w 279"/>
                  <a:gd name="T27" fmla="*/ 163 h 212"/>
                  <a:gd name="T28" fmla="*/ 150 w 279"/>
                  <a:gd name="T29" fmla="*/ 163 h 212"/>
                  <a:gd name="T30" fmla="*/ 152 w 279"/>
                  <a:gd name="T31" fmla="*/ 160 h 212"/>
                  <a:gd name="T32" fmla="*/ 156 w 279"/>
                  <a:gd name="T33" fmla="*/ 157 h 212"/>
                  <a:gd name="T34" fmla="*/ 177 w 279"/>
                  <a:gd name="T35" fmla="*/ 154 h 212"/>
                  <a:gd name="T36" fmla="*/ 184 w 279"/>
                  <a:gd name="T37" fmla="*/ 148 h 212"/>
                  <a:gd name="T38" fmla="*/ 191 w 279"/>
                  <a:gd name="T39" fmla="*/ 141 h 212"/>
                  <a:gd name="T40" fmla="*/ 219 w 279"/>
                  <a:gd name="T41" fmla="*/ 129 h 212"/>
                  <a:gd name="T42" fmla="*/ 216 w 279"/>
                  <a:gd name="T43" fmla="*/ 120 h 212"/>
                  <a:gd name="T44" fmla="*/ 214 w 279"/>
                  <a:gd name="T45" fmla="*/ 116 h 212"/>
                  <a:gd name="T46" fmla="*/ 219 w 279"/>
                  <a:gd name="T47" fmla="*/ 108 h 212"/>
                  <a:gd name="T48" fmla="*/ 224 w 279"/>
                  <a:gd name="T49" fmla="*/ 109 h 212"/>
                  <a:gd name="T50" fmla="*/ 233 w 279"/>
                  <a:gd name="T51" fmla="*/ 106 h 212"/>
                  <a:gd name="T52" fmla="*/ 245 w 279"/>
                  <a:gd name="T53" fmla="*/ 97 h 212"/>
                  <a:gd name="T54" fmla="*/ 257 w 279"/>
                  <a:gd name="T55" fmla="*/ 97 h 212"/>
                  <a:gd name="T56" fmla="*/ 269 w 279"/>
                  <a:gd name="T57" fmla="*/ 98 h 212"/>
                  <a:gd name="T58" fmla="*/ 278 w 279"/>
                  <a:gd name="T59" fmla="*/ 92 h 212"/>
                  <a:gd name="T60" fmla="*/ 273 w 279"/>
                  <a:gd name="T61" fmla="*/ 84 h 212"/>
                  <a:gd name="T62" fmla="*/ 264 w 279"/>
                  <a:gd name="T63" fmla="*/ 54 h 212"/>
                  <a:gd name="T64" fmla="*/ 264 w 279"/>
                  <a:gd name="T65" fmla="*/ 40 h 212"/>
                  <a:gd name="T66" fmla="*/ 261 w 279"/>
                  <a:gd name="T67" fmla="*/ 34 h 212"/>
                  <a:gd name="T68" fmla="*/ 261 w 279"/>
                  <a:gd name="T69" fmla="*/ 31 h 212"/>
                  <a:gd name="T70" fmla="*/ 258 w 279"/>
                  <a:gd name="T71" fmla="*/ 28 h 212"/>
                  <a:gd name="T72" fmla="*/ 254 w 279"/>
                  <a:gd name="T73" fmla="*/ 24 h 212"/>
                  <a:gd name="T74" fmla="*/ 252 w 279"/>
                  <a:gd name="T75" fmla="*/ 22 h 212"/>
                  <a:gd name="T76" fmla="*/ 239 w 279"/>
                  <a:gd name="T77" fmla="*/ 18 h 212"/>
                  <a:gd name="T78" fmla="*/ 236 w 279"/>
                  <a:gd name="T79" fmla="*/ 13 h 212"/>
                  <a:gd name="T80" fmla="*/ 202 w 279"/>
                  <a:gd name="T81" fmla="*/ 19 h 212"/>
                  <a:gd name="T82" fmla="*/ 186 w 279"/>
                  <a:gd name="T83" fmla="*/ 9 h 212"/>
                  <a:gd name="T84" fmla="*/ 183 w 279"/>
                  <a:gd name="T85" fmla="*/ 0 h 2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9" h="211">
                    <a:moveTo>
                      <a:pt x="180" y="0"/>
                    </a:moveTo>
                    <a:cubicBezTo>
                      <a:pt x="180" y="0"/>
                      <a:pt x="180" y="0"/>
                      <a:pt x="180" y="0"/>
                    </a:cubicBezTo>
                    <a:cubicBezTo>
                      <a:pt x="177" y="1"/>
                      <a:pt x="169" y="1"/>
                      <a:pt x="167" y="4"/>
                    </a:cubicBezTo>
                    <a:cubicBezTo>
                      <a:pt x="166" y="9"/>
                      <a:pt x="164" y="14"/>
                      <a:pt x="162" y="19"/>
                    </a:cubicBezTo>
                    <a:cubicBezTo>
                      <a:pt x="159" y="28"/>
                      <a:pt x="154" y="37"/>
                      <a:pt x="149" y="46"/>
                    </a:cubicBezTo>
                    <a:cubicBezTo>
                      <a:pt x="146" y="51"/>
                      <a:pt x="140" y="55"/>
                      <a:pt x="135" y="58"/>
                    </a:cubicBezTo>
                    <a:cubicBezTo>
                      <a:pt x="134" y="58"/>
                      <a:pt x="134" y="58"/>
                      <a:pt x="134" y="58"/>
                    </a:cubicBezTo>
                    <a:cubicBezTo>
                      <a:pt x="122" y="63"/>
                      <a:pt x="122" y="63"/>
                      <a:pt x="122" y="63"/>
                    </a:cubicBezTo>
                    <a:cubicBezTo>
                      <a:pt x="121" y="64"/>
                      <a:pt x="120" y="64"/>
                      <a:pt x="119" y="65"/>
                    </a:cubicBezTo>
                    <a:cubicBezTo>
                      <a:pt x="114" y="67"/>
                      <a:pt x="109" y="68"/>
                      <a:pt x="105" y="71"/>
                    </a:cubicBezTo>
                    <a:cubicBezTo>
                      <a:pt x="101" y="75"/>
                      <a:pt x="98" y="80"/>
                      <a:pt x="94" y="84"/>
                    </a:cubicBezTo>
                    <a:cubicBezTo>
                      <a:pt x="93" y="86"/>
                      <a:pt x="90" y="87"/>
                      <a:pt x="89" y="89"/>
                    </a:cubicBezTo>
                    <a:cubicBezTo>
                      <a:pt x="88" y="91"/>
                      <a:pt x="88" y="94"/>
                      <a:pt x="87" y="96"/>
                    </a:cubicBezTo>
                    <a:cubicBezTo>
                      <a:pt x="85" y="104"/>
                      <a:pt x="82" y="109"/>
                      <a:pt x="78" y="115"/>
                    </a:cubicBezTo>
                    <a:cubicBezTo>
                      <a:pt x="76" y="119"/>
                      <a:pt x="77" y="119"/>
                      <a:pt x="77" y="122"/>
                    </a:cubicBezTo>
                    <a:cubicBezTo>
                      <a:pt x="76" y="125"/>
                      <a:pt x="76" y="129"/>
                      <a:pt x="76" y="132"/>
                    </a:cubicBezTo>
                    <a:cubicBezTo>
                      <a:pt x="76" y="134"/>
                      <a:pt x="75" y="136"/>
                      <a:pt x="75" y="139"/>
                    </a:cubicBezTo>
                    <a:cubicBezTo>
                      <a:pt x="75" y="139"/>
                      <a:pt x="75" y="139"/>
                      <a:pt x="76" y="139"/>
                    </a:cubicBezTo>
                    <a:cubicBezTo>
                      <a:pt x="76" y="139"/>
                      <a:pt x="76" y="139"/>
                      <a:pt x="76" y="139"/>
                    </a:cubicBezTo>
                    <a:cubicBezTo>
                      <a:pt x="79" y="142"/>
                      <a:pt x="81" y="144"/>
                      <a:pt x="81" y="147"/>
                    </a:cubicBezTo>
                    <a:cubicBezTo>
                      <a:pt x="81" y="149"/>
                      <a:pt x="80" y="151"/>
                      <a:pt x="80" y="152"/>
                    </a:cubicBezTo>
                    <a:cubicBezTo>
                      <a:pt x="77" y="161"/>
                      <a:pt x="69" y="169"/>
                      <a:pt x="63" y="176"/>
                    </a:cubicBezTo>
                    <a:cubicBezTo>
                      <a:pt x="59" y="181"/>
                      <a:pt x="52" y="184"/>
                      <a:pt x="47" y="188"/>
                    </a:cubicBezTo>
                    <a:cubicBezTo>
                      <a:pt x="41" y="192"/>
                      <a:pt x="36" y="196"/>
                      <a:pt x="31" y="200"/>
                    </a:cubicBezTo>
                    <a:cubicBezTo>
                      <a:pt x="29" y="202"/>
                      <a:pt x="26" y="202"/>
                      <a:pt x="24" y="202"/>
                    </a:cubicBezTo>
                    <a:cubicBezTo>
                      <a:pt x="20" y="204"/>
                      <a:pt x="15" y="205"/>
                      <a:pt x="10" y="206"/>
                    </a:cubicBezTo>
                    <a:cubicBezTo>
                      <a:pt x="9" y="206"/>
                      <a:pt x="3" y="207"/>
                      <a:pt x="2" y="208"/>
                    </a:cubicBezTo>
                    <a:cubicBezTo>
                      <a:pt x="2" y="210"/>
                      <a:pt x="1" y="211"/>
                      <a:pt x="0" y="212"/>
                    </a:cubicBezTo>
                    <a:cubicBezTo>
                      <a:pt x="101" y="212"/>
                      <a:pt x="101" y="212"/>
                      <a:pt x="101" y="212"/>
                    </a:cubicBezTo>
                    <a:cubicBezTo>
                      <a:pt x="100" y="190"/>
                      <a:pt x="100" y="190"/>
                      <a:pt x="100" y="190"/>
                    </a:cubicBezTo>
                    <a:cubicBezTo>
                      <a:pt x="100" y="189"/>
                      <a:pt x="101" y="189"/>
                      <a:pt x="101" y="189"/>
                    </a:cubicBezTo>
                    <a:cubicBezTo>
                      <a:pt x="101" y="187"/>
                      <a:pt x="102" y="185"/>
                      <a:pt x="104" y="184"/>
                    </a:cubicBezTo>
                    <a:cubicBezTo>
                      <a:pt x="105" y="183"/>
                      <a:pt x="107" y="182"/>
                      <a:pt x="108" y="181"/>
                    </a:cubicBezTo>
                    <a:cubicBezTo>
                      <a:pt x="111" y="179"/>
                      <a:pt x="111" y="179"/>
                      <a:pt x="111" y="179"/>
                    </a:cubicBezTo>
                    <a:cubicBezTo>
                      <a:pt x="111" y="179"/>
                      <a:pt x="111" y="179"/>
                      <a:pt x="112" y="179"/>
                    </a:cubicBezTo>
                    <a:cubicBezTo>
                      <a:pt x="115" y="176"/>
                      <a:pt x="115" y="176"/>
                      <a:pt x="115" y="176"/>
                    </a:cubicBezTo>
                    <a:cubicBezTo>
                      <a:pt x="118" y="174"/>
                      <a:pt x="121" y="173"/>
                      <a:pt x="123" y="171"/>
                    </a:cubicBezTo>
                    <a:cubicBezTo>
                      <a:pt x="124" y="170"/>
                      <a:pt x="125" y="169"/>
                      <a:pt x="127" y="169"/>
                    </a:cubicBezTo>
                    <a:cubicBezTo>
                      <a:pt x="129" y="167"/>
                      <a:pt x="131" y="167"/>
                      <a:pt x="133" y="166"/>
                    </a:cubicBezTo>
                    <a:cubicBezTo>
                      <a:pt x="135" y="166"/>
                      <a:pt x="136" y="165"/>
                      <a:pt x="137" y="165"/>
                    </a:cubicBezTo>
                    <a:cubicBezTo>
                      <a:pt x="141" y="164"/>
                      <a:pt x="141" y="164"/>
                      <a:pt x="141" y="164"/>
                    </a:cubicBezTo>
                    <a:cubicBezTo>
                      <a:pt x="142" y="164"/>
                      <a:pt x="144" y="163"/>
                      <a:pt x="146" y="163"/>
                    </a:cubicBezTo>
                    <a:cubicBezTo>
                      <a:pt x="146" y="163"/>
                      <a:pt x="147" y="163"/>
                      <a:pt x="147" y="163"/>
                    </a:cubicBezTo>
                    <a:cubicBezTo>
                      <a:pt x="148" y="163"/>
                      <a:pt x="149" y="163"/>
                      <a:pt x="149" y="163"/>
                    </a:cubicBezTo>
                    <a:cubicBezTo>
                      <a:pt x="150" y="163"/>
                      <a:pt x="150" y="163"/>
                      <a:pt x="150" y="163"/>
                    </a:cubicBezTo>
                    <a:cubicBezTo>
                      <a:pt x="151" y="163"/>
                      <a:pt x="151" y="163"/>
                      <a:pt x="151" y="163"/>
                    </a:cubicBezTo>
                    <a:cubicBezTo>
                      <a:pt x="151" y="163"/>
                      <a:pt x="151" y="161"/>
                      <a:pt x="152" y="160"/>
                    </a:cubicBezTo>
                    <a:cubicBezTo>
                      <a:pt x="152" y="160"/>
                      <a:pt x="152" y="160"/>
                      <a:pt x="152" y="160"/>
                    </a:cubicBezTo>
                    <a:cubicBezTo>
                      <a:pt x="152" y="159"/>
                      <a:pt x="152" y="159"/>
                      <a:pt x="152" y="158"/>
                    </a:cubicBezTo>
                    <a:cubicBezTo>
                      <a:pt x="153" y="155"/>
                      <a:pt x="153" y="155"/>
                      <a:pt x="153" y="155"/>
                    </a:cubicBezTo>
                    <a:cubicBezTo>
                      <a:pt x="156" y="157"/>
                      <a:pt x="156" y="157"/>
                      <a:pt x="156" y="157"/>
                    </a:cubicBezTo>
                    <a:cubicBezTo>
                      <a:pt x="156" y="157"/>
                      <a:pt x="157" y="157"/>
                      <a:pt x="157" y="157"/>
                    </a:cubicBezTo>
                    <a:cubicBezTo>
                      <a:pt x="158" y="157"/>
                      <a:pt x="159" y="157"/>
                      <a:pt x="160" y="157"/>
                    </a:cubicBezTo>
                    <a:cubicBezTo>
                      <a:pt x="166" y="157"/>
                      <a:pt x="173" y="156"/>
                      <a:pt x="177" y="154"/>
                    </a:cubicBezTo>
                    <a:cubicBezTo>
                      <a:pt x="178" y="154"/>
                      <a:pt x="179" y="153"/>
                      <a:pt x="180" y="153"/>
                    </a:cubicBezTo>
                    <a:cubicBezTo>
                      <a:pt x="180" y="152"/>
                      <a:pt x="181" y="151"/>
                      <a:pt x="182" y="150"/>
                    </a:cubicBezTo>
                    <a:cubicBezTo>
                      <a:pt x="184" y="148"/>
                      <a:pt x="184" y="148"/>
                      <a:pt x="184" y="148"/>
                    </a:cubicBezTo>
                    <a:cubicBezTo>
                      <a:pt x="184" y="148"/>
                      <a:pt x="184" y="147"/>
                      <a:pt x="185" y="147"/>
                    </a:cubicBezTo>
                    <a:cubicBezTo>
                      <a:pt x="185" y="146"/>
                      <a:pt x="185" y="146"/>
                      <a:pt x="185" y="146"/>
                    </a:cubicBezTo>
                    <a:cubicBezTo>
                      <a:pt x="187" y="144"/>
                      <a:pt x="189" y="142"/>
                      <a:pt x="191" y="141"/>
                    </a:cubicBezTo>
                    <a:cubicBezTo>
                      <a:pt x="216" y="130"/>
                      <a:pt x="216" y="130"/>
                      <a:pt x="216" y="130"/>
                    </a:cubicBezTo>
                    <a:cubicBezTo>
                      <a:pt x="216" y="129"/>
                      <a:pt x="217" y="129"/>
                      <a:pt x="217" y="129"/>
                    </a:cubicBezTo>
                    <a:cubicBezTo>
                      <a:pt x="218" y="129"/>
                      <a:pt x="218" y="129"/>
                      <a:pt x="219" y="129"/>
                    </a:cubicBezTo>
                    <a:cubicBezTo>
                      <a:pt x="217" y="127"/>
                      <a:pt x="217" y="127"/>
                      <a:pt x="217" y="127"/>
                    </a:cubicBezTo>
                    <a:cubicBezTo>
                      <a:pt x="214" y="126"/>
                      <a:pt x="215" y="124"/>
                      <a:pt x="215" y="122"/>
                    </a:cubicBezTo>
                    <a:cubicBezTo>
                      <a:pt x="215" y="121"/>
                      <a:pt x="216" y="120"/>
                      <a:pt x="216" y="120"/>
                    </a:cubicBezTo>
                    <a:cubicBezTo>
                      <a:pt x="215" y="119"/>
                      <a:pt x="215" y="119"/>
                      <a:pt x="215" y="119"/>
                    </a:cubicBezTo>
                    <a:cubicBezTo>
                      <a:pt x="215" y="119"/>
                      <a:pt x="215" y="119"/>
                      <a:pt x="215" y="119"/>
                    </a:cubicBezTo>
                    <a:cubicBezTo>
                      <a:pt x="215" y="118"/>
                      <a:pt x="214" y="117"/>
                      <a:pt x="214" y="116"/>
                    </a:cubicBezTo>
                    <a:cubicBezTo>
                      <a:pt x="214" y="115"/>
                      <a:pt x="214" y="114"/>
                      <a:pt x="214" y="113"/>
                    </a:cubicBezTo>
                    <a:cubicBezTo>
                      <a:pt x="214" y="111"/>
                      <a:pt x="216" y="109"/>
                      <a:pt x="218" y="108"/>
                    </a:cubicBezTo>
                    <a:cubicBezTo>
                      <a:pt x="219" y="108"/>
                      <a:pt x="219" y="108"/>
                      <a:pt x="219" y="108"/>
                    </a:cubicBezTo>
                    <a:cubicBezTo>
                      <a:pt x="220" y="108"/>
                      <a:pt x="221" y="108"/>
                      <a:pt x="222" y="108"/>
                    </a:cubicBezTo>
                    <a:cubicBezTo>
                      <a:pt x="223" y="109"/>
                      <a:pt x="223" y="109"/>
                      <a:pt x="224" y="109"/>
                    </a:cubicBezTo>
                    <a:cubicBezTo>
                      <a:pt x="224" y="109"/>
                      <a:pt x="224" y="109"/>
                      <a:pt x="224" y="109"/>
                    </a:cubicBezTo>
                    <a:cubicBezTo>
                      <a:pt x="225" y="109"/>
                      <a:pt x="225" y="109"/>
                      <a:pt x="225" y="109"/>
                    </a:cubicBezTo>
                    <a:cubicBezTo>
                      <a:pt x="226" y="109"/>
                      <a:pt x="229" y="108"/>
                      <a:pt x="231" y="107"/>
                    </a:cubicBezTo>
                    <a:cubicBezTo>
                      <a:pt x="232" y="106"/>
                      <a:pt x="232" y="106"/>
                      <a:pt x="233" y="106"/>
                    </a:cubicBezTo>
                    <a:cubicBezTo>
                      <a:pt x="234" y="105"/>
                      <a:pt x="235" y="104"/>
                      <a:pt x="235" y="103"/>
                    </a:cubicBezTo>
                    <a:cubicBezTo>
                      <a:pt x="237" y="101"/>
                      <a:pt x="238" y="99"/>
                      <a:pt x="241" y="98"/>
                    </a:cubicBezTo>
                    <a:cubicBezTo>
                      <a:pt x="242" y="98"/>
                      <a:pt x="244" y="97"/>
                      <a:pt x="245" y="97"/>
                    </a:cubicBezTo>
                    <a:cubicBezTo>
                      <a:pt x="246" y="97"/>
                      <a:pt x="247" y="97"/>
                      <a:pt x="247" y="97"/>
                    </a:cubicBezTo>
                    <a:cubicBezTo>
                      <a:pt x="249" y="96"/>
                      <a:pt x="251" y="96"/>
                      <a:pt x="253" y="96"/>
                    </a:cubicBezTo>
                    <a:cubicBezTo>
                      <a:pt x="254" y="96"/>
                      <a:pt x="256" y="96"/>
                      <a:pt x="257" y="97"/>
                    </a:cubicBezTo>
                    <a:cubicBezTo>
                      <a:pt x="258" y="97"/>
                      <a:pt x="258" y="97"/>
                      <a:pt x="258" y="97"/>
                    </a:cubicBezTo>
                    <a:cubicBezTo>
                      <a:pt x="260" y="97"/>
                      <a:pt x="263" y="97"/>
                      <a:pt x="265" y="97"/>
                    </a:cubicBezTo>
                    <a:cubicBezTo>
                      <a:pt x="266" y="97"/>
                      <a:pt x="268" y="97"/>
                      <a:pt x="269" y="98"/>
                    </a:cubicBezTo>
                    <a:cubicBezTo>
                      <a:pt x="271" y="98"/>
                      <a:pt x="273" y="98"/>
                      <a:pt x="275" y="98"/>
                    </a:cubicBezTo>
                    <a:cubicBezTo>
                      <a:pt x="275" y="97"/>
                      <a:pt x="275" y="96"/>
                      <a:pt x="275" y="95"/>
                    </a:cubicBezTo>
                    <a:cubicBezTo>
                      <a:pt x="278" y="92"/>
                      <a:pt x="278" y="92"/>
                      <a:pt x="278" y="92"/>
                    </a:cubicBezTo>
                    <a:cubicBezTo>
                      <a:pt x="279" y="91"/>
                      <a:pt x="279" y="91"/>
                      <a:pt x="279" y="91"/>
                    </a:cubicBezTo>
                    <a:cubicBezTo>
                      <a:pt x="277" y="89"/>
                      <a:pt x="277" y="89"/>
                      <a:pt x="277" y="89"/>
                    </a:cubicBezTo>
                    <a:cubicBezTo>
                      <a:pt x="275" y="88"/>
                      <a:pt x="274" y="86"/>
                      <a:pt x="273" y="84"/>
                    </a:cubicBezTo>
                    <a:cubicBezTo>
                      <a:pt x="264" y="61"/>
                      <a:pt x="264" y="61"/>
                      <a:pt x="264" y="61"/>
                    </a:cubicBezTo>
                    <a:cubicBezTo>
                      <a:pt x="264" y="60"/>
                      <a:pt x="264" y="58"/>
                      <a:pt x="264" y="57"/>
                    </a:cubicBezTo>
                    <a:cubicBezTo>
                      <a:pt x="264" y="56"/>
                      <a:pt x="264" y="55"/>
                      <a:pt x="264" y="54"/>
                    </a:cubicBezTo>
                    <a:cubicBezTo>
                      <a:pt x="265" y="52"/>
                      <a:pt x="266" y="49"/>
                      <a:pt x="265" y="48"/>
                    </a:cubicBezTo>
                    <a:cubicBezTo>
                      <a:pt x="264" y="42"/>
                      <a:pt x="264" y="42"/>
                      <a:pt x="264" y="42"/>
                    </a:cubicBezTo>
                    <a:cubicBezTo>
                      <a:pt x="263" y="41"/>
                      <a:pt x="263" y="41"/>
                      <a:pt x="264" y="40"/>
                    </a:cubicBezTo>
                    <a:cubicBezTo>
                      <a:pt x="264" y="40"/>
                      <a:pt x="264" y="39"/>
                      <a:pt x="264" y="39"/>
                    </a:cubicBezTo>
                    <a:cubicBezTo>
                      <a:pt x="263" y="38"/>
                      <a:pt x="263" y="38"/>
                      <a:pt x="262" y="37"/>
                    </a:cubicBezTo>
                    <a:cubicBezTo>
                      <a:pt x="261" y="36"/>
                      <a:pt x="261" y="35"/>
                      <a:pt x="261" y="34"/>
                    </a:cubicBezTo>
                    <a:cubicBezTo>
                      <a:pt x="261" y="33"/>
                      <a:pt x="261" y="33"/>
                      <a:pt x="262" y="32"/>
                    </a:cubicBezTo>
                    <a:cubicBezTo>
                      <a:pt x="260" y="34"/>
                      <a:pt x="260" y="34"/>
                      <a:pt x="260" y="34"/>
                    </a:cubicBezTo>
                    <a:cubicBezTo>
                      <a:pt x="261" y="31"/>
                      <a:pt x="261" y="31"/>
                      <a:pt x="261" y="31"/>
                    </a:cubicBezTo>
                    <a:cubicBezTo>
                      <a:pt x="260" y="31"/>
                      <a:pt x="260" y="31"/>
                      <a:pt x="260" y="31"/>
                    </a:cubicBezTo>
                    <a:cubicBezTo>
                      <a:pt x="260" y="30"/>
                      <a:pt x="259" y="29"/>
                      <a:pt x="258" y="28"/>
                    </a:cubicBezTo>
                    <a:cubicBezTo>
                      <a:pt x="258" y="28"/>
                      <a:pt x="258" y="28"/>
                      <a:pt x="258" y="28"/>
                    </a:cubicBezTo>
                    <a:cubicBezTo>
                      <a:pt x="257" y="27"/>
                      <a:pt x="257" y="27"/>
                      <a:pt x="256" y="26"/>
                    </a:cubicBezTo>
                    <a:cubicBezTo>
                      <a:pt x="255" y="26"/>
                      <a:pt x="255" y="26"/>
                      <a:pt x="255" y="26"/>
                    </a:cubicBezTo>
                    <a:cubicBezTo>
                      <a:pt x="255" y="25"/>
                      <a:pt x="254" y="25"/>
                      <a:pt x="254" y="24"/>
                    </a:cubicBezTo>
                    <a:cubicBezTo>
                      <a:pt x="253" y="24"/>
                      <a:pt x="253" y="24"/>
                      <a:pt x="253" y="24"/>
                    </a:cubicBezTo>
                    <a:cubicBezTo>
                      <a:pt x="253" y="23"/>
                      <a:pt x="253" y="23"/>
                      <a:pt x="253" y="23"/>
                    </a:cubicBezTo>
                    <a:cubicBezTo>
                      <a:pt x="252" y="22"/>
                      <a:pt x="252" y="22"/>
                      <a:pt x="252" y="22"/>
                    </a:cubicBezTo>
                    <a:cubicBezTo>
                      <a:pt x="253" y="21"/>
                      <a:pt x="253" y="21"/>
                      <a:pt x="253" y="21"/>
                    </a:cubicBezTo>
                    <a:cubicBezTo>
                      <a:pt x="249" y="19"/>
                      <a:pt x="245" y="18"/>
                      <a:pt x="240" y="18"/>
                    </a:cubicBezTo>
                    <a:cubicBezTo>
                      <a:pt x="240" y="18"/>
                      <a:pt x="240" y="18"/>
                      <a:pt x="239" y="18"/>
                    </a:cubicBezTo>
                    <a:cubicBezTo>
                      <a:pt x="240" y="19"/>
                      <a:pt x="240" y="20"/>
                      <a:pt x="240" y="21"/>
                    </a:cubicBezTo>
                    <a:cubicBezTo>
                      <a:pt x="239" y="20"/>
                      <a:pt x="239" y="19"/>
                      <a:pt x="239" y="17"/>
                    </a:cubicBezTo>
                    <a:cubicBezTo>
                      <a:pt x="238" y="14"/>
                      <a:pt x="238" y="13"/>
                      <a:pt x="236" y="13"/>
                    </a:cubicBezTo>
                    <a:cubicBezTo>
                      <a:pt x="235" y="13"/>
                      <a:pt x="235" y="13"/>
                      <a:pt x="234" y="14"/>
                    </a:cubicBezTo>
                    <a:cubicBezTo>
                      <a:pt x="227" y="16"/>
                      <a:pt x="221" y="19"/>
                      <a:pt x="215" y="19"/>
                    </a:cubicBezTo>
                    <a:cubicBezTo>
                      <a:pt x="210" y="19"/>
                      <a:pt x="206" y="19"/>
                      <a:pt x="202" y="19"/>
                    </a:cubicBezTo>
                    <a:cubicBezTo>
                      <a:pt x="202" y="19"/>
                      <a:pt x="202" y="19"/>
                      <a:pt x="201" y="19"/>
                    </a:cubicBezTo>
                    <a:cubicBezTo>
                      <a:pt x="199" y="19"/>
                      <a:pt x="195" y="16"/>
                      <a:pt x="193" y="15"/>
                    </a:cubicBezTo>
                    <a:cubicBezTo>
                      <a:pt x="190" y="13"/>
                      <a:pt x="188" y="13"/>
                      <a:pt x="186" y="9"/>
                    </a:cubicBezTo>
                    <a:cubicBezTo>
                      <a:pt x="184" y="7"/>
                      <a:pt x="183" y="4"/>
                      <a:pt x="181" y="1"/>
                    </a:cubicBezTo>
                    <a:cubicBezTo>
                      <a:pt x="181" y="2"/>
                      <a:pt x="181" y="2"/>
                      <a:pt x="181" y="2"/>
                    </a:cubicBezTo>
                    <a:cubicBezTo>
                      <a:pt x="182" y="1"/>
                      <a:pt x="183" y="1"/>
                      <a:pt x="183" y="0"/>
                    </a:cubicBezTo>
                    <a:cubicBezTo>
                      <a:pt x="182" y="0"/>
                      <a:pt x="181" y="0"/>
                      <a:pt x="1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199"/>
              <p:cNvSpPr/>
              <p:nvPr/>
            </p:nvSpPr>
            <p:spPr bwMode="auto">
              <a:xfrm>
                <a:off x="2716" y="1181"/>
                <a:ext cx="458" cy="366"/>
              </a:xfrm>
              <a:custGeom>
                <a:gdLst>
                  <a:gd name="T0" fmla="*/ 194 w 194"/>
                  <a:gd name="T1" fmla="*/ 0 h 155"/>
                  <a:gd name="T2" fmla="*/ 89 w 194"/>
                  <a:gd name="T3" fmla="*/ 0 h 155"/>
                  <a:gd name="T4" fmla="*/ 77 w 194"/>
                  <a:gd name="T5" fmla="*/ 24 h 155"/>
                  <a:gd name="T6" fmla="*/ 63 w 194"/>
                  <a:gd name="T7" fmla="*/ 32 h 155"/>
                  <a:gd name="T8" fmla="*/ 59 w 194"/>
                  <a:gd name="T9" fmla="*/ 36 h 155"/>
                  <a:gd name="T10" fmla="*/ 53 w 194"/>
                  <a:gd name="T11" fmla="*/ 52 h 155"/>
                  <a:gd name="T12" fmla="*/ 48 w 194"/>
                  <a:gd name="T13" fmla="*/ 74 h 155"/>
                  <a:gd name="T14" fmla="*/ 42 w 194"/>
                  <a:gd name="T15" fmla="*/ 79 h 155"/>
                  <a:gd name="T16" fmla="*/ 36 w 194"/>
                  <a:gd name="T17" fmla="*/ 86 h 155"/>
                  <a:gd name="T18" fmla="*/ 26 w 194"/>
                  <a:gd name="T19" fmla="*/ 98 h 155"/>
                  <a:gd name="T20" fmla="*/ 18 w 194"/>
                  <a:gd name="T21" fmla="*/ 114 h 155"/>
                  <a:gd name="T22" fmla="*/ 15 w 194"/>
                  <a:gd name="T23" fmla="*/ 125 h 155"/>
                  <a:gd name="T24" fmla="*/ 12 w 194"/>
                  <a:gd name="T25" fmla="*/ 132 h 155"/>
                  <a:gd name="T26" fmla="*/ 7 w 194"/>
                  <a:gd name="T27" fmla="*/ 136 h 155"/>
                  <a:gd name="T28" fmla="*/ 1 w 194"/>
                  <a:gd name="T29" fmla="*/ 144 h 155"/>
                  <a:gd name="T30" fmla="*/ 0 w 194"/>
                  <a:gd name="T31" fmla="*/ 152 h 155"/>
                  <a:gd name="T32" fmla="*/ 0 w 194"/>
                  <a:gd name="T33" fmla="*/ 155 h 155"/>
                  <a:gd name="T34" fmla="*/ 2 w 194"/>
                  <a:gd name="T35" fmla="*/ 153 h 155"/>
                  <a:gd name="T36" fmla="*/ 5 w 194"/>
                  <a:gd name="T37" fmla="*/ 153 h 155"/>
                  <a:gd name="T38" fmla="*/ 7 w 194"/>
                  <a:gd name="T39" fmla="*/ 153 h 155"/>
                  <a:gd name="T40" fmla="*/ 7 w 194"/>
                  <a:gd name="T41" fmla="*/ 153 h 155"/>
                  <a:gd name="T42" fmla="*/ 8 w 194"/>
                  <a:gd name="T43" fmla="*/ 153 h 155"/>
                  <a:gd name="T44" fmla="*/ 11 w 194"/>
                  <a:gd name="T45" fmla="*/ 153 h 155"/>
                  <a:gd name="T46" fmla="*/ 13 w 194"/>
                  <a:gd name="T47" fmla="*/ 153 h 155"/>
                  <a:gd name="T48" fmla="*/ 39 w 194"/>
                  <a:gd name="T49" fmla="*/ 153 h 155"/>
                  <a:gd name="T50" fmla="*/ 92 w 194"/>
                  <a:gd name="T51" fmla="*/ 153 h 155"/>
                  <a:gd name="T52" fmla="*/ 91 w 194"/>
                  <a:gd name="T53" fmla="*/ 149 h 155"/>
                  <a:gd name="T54" fmla="*/ 91 w 194"/>
                  <a:gd name="T55" fmla="*/ 149 h 155"/>
                  <a:gd name="T56" fmla="*/ 91 w 194"/>
                  <a:gd name="T57" fmla="*/ 147 h 155"/>
                  <a:gd name="T58" fmla="*/ 90 w 194"/>
                  <a:gd name="T59" fmla="*/ 132 h 155"/>
                  <a:gd name="T60" fmla="*/ 90 w 194"/>
                  <a:gd name="T61" fmla="*/ 127 h 155"/>
                  <a:gd name="T62" fmla="*/ 89 w 194"/>
                  <a:gd name="T63" fmla="*/ 126 h 155"/>
                  <a:gd name="T64" fmla="*/ 89 w 194"/>
                  <a:gd name="T65" fmla="*/ 125 h 155"/>
                  <a:gd name="T66" fmla="*/ 90 w 194"/>
                  <a:gd name="T67" fmla="*/ 117 h 155"/>
                  <a:gd name="T68" fmla="*/ 99 w 194"/>
                  <a:gd name="T69" fmla="*/ 108 h 155"/>
                  <a:gd name="T70" fmla="*/ 101 w 194"/>
                  <a:gd name="T71" fmla="*/ 106 h 155"/>
                  <a:gd name="T72" fmla="*/ 102 w 194"/>
                  <a:gd name="T73" fmla="*/ 106 h 155"/>
                  <a:gd name="T74" fmla="*/ 106 w 194"/>
                  <a:gd name="T75" fmla="*/ 104 h 155"/>
                  <a:gd name="T76" fmla="*/ 111 w 194"/>
                  <a:gd name="T77" fmla="*/ 103 h 155"/>
                  <a:gd name="T78" fmla="*/ 113 w 194"/>
                  <a:gd name="T79" fmla="*/ 102 h 155"/>
                  <a:gd name="T80" fmla="*/ 113 w 194"/>
                  <a:gd name="T81" fmla="*/ 102 h 155"/>
                  <a:gd name="T82" fmla="*/ 115 w 194"/>
                  <a:gd name="T83" fmla="*/ 102 h 155"/>
                  <a:gd name="T84" fmla="*/ 115 w 194"/>
                  <a:gd name="T85" fmla="*/ 93 h 155"/>
                  <a:gd name="T86" fmla="*/ 115 w 194"/>
                  <a:gd name="T87" fmla="*/ 92 h 155"/>
                  <a:gd name="T88" fmla="*/ 115 w 194"/>
                  <a:gd name="T89" fmla="*/ 90 h 155"/>
                  <a:gd name="T90" fmla="*/ 115 w 194"/>
                  <a:gd name="T91" fmla="*/ 43 h 155"/>
                  <a:gd name="T92" fmla="*/ 117 w 194"/>
                  <a:gd name="T93" fmla="*/ 37 h 155"/>
                  <a:gd name="T94" fmla="*/ 118 w 194"/>
                  <a:gd name="T95" fmla="*/ 37 h 155"/>
                  <a:gd name="T96" fmla="*/ 121 w 194"/>
                  <a:gd name="T97" fmla="*/ 37 h 155"/>
                  <a:gd name="T98" fmla="*/ 122 w 194"/>
                  <a:gd name="T99" fmla="*/ 37 h 155"/>
                  <a:gd name="T100" fmla="*/ 123 w 194"/>
                  <a:gd name="T101" fmla="*/ 37 h 155"/>
                  <a:gd name="T102" fmla="*/ 194 w 194"/>
                  <a:gd name="T103" fmla="*/ 37 h 155"/>
                  <a:gd name="T104" fmla="*/ 194 w 194"/>
                  <a:gd name="T105" fmla="*/ 32 h 155"/>
                  <a:gd name="T106" fmla="*/ 194 w 194"/>
                  <a:gd name="T107" fmla="*/ 31 h 155"/>
                  <a:gd name="T108" fmla="*/ 193 w 194"/>
                  <a:gd name="T109" fmla="*/ 28 h 155"/>
                  <a:gd name="T110" fmla="*/ 194 w 194"/>
                  <a:gd name="T111" fmla="*/ 2 h 155"/>
                  <a:gd name="T112" fmla="*/ 194 w 194"/>
                  <a:gd name="T113" fmla="*/ 2 h 155"/>
                  <a:gd name="T114" fmla="*/ 194 w 194"/>
                  <a:gd name="T115" fmla="*/ 0 h 1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155">
                    <a:moveTo>
                      <a:pt x="194" y="0"/>
                    </a:moveTo>
                    <a:cubicBezTo>
                      <a:pt x="89" y="0"/>
                      <a:pt x="89" y="0"/>
                      <a:pt x="89" y="0"/>
                    </a:cubicBezTo>
                    <a:cubicBezTo>
                      <a:pt x="87" y="8"/>
                      <a:pt x="84" y="20"/>
                      <a:pt x="77" y="24"/>
                    </a:cubicBezTo>
                    <a:cubicBezTo>
                      <a:pt x="73" y="27"/>
                      <a:pt x="68" y="30"/>
                      <a:pt x="63" y="32"/>
                    </a:cubicBezTo>
                    <a:cubicBezTo>
                      <a:pt x="62" y="33"/>
                      <a:pt x="60" y="34"/>
                      <a:pt x="59" y="36"/>
                    </a:cubicBezTo>
                    <a:cubicBezTo>
                      <a:pt x="59" y="42"/>
                      <a:pt x="56" y="47"/>
                      <a:pt x="53" y="52"/>
                    </a:cubicBezTo>
                    <a:cubicBezTo>
                      <a:pt x="50" y="59"/>
                      <a:pt x="52" y="68"/>
                      <a:pt x="48" y="74"/>
                    </a:cubicBezTo>
                    <a:cubicBezTo>
                      <a:pt x="47" y="77"/>
                      <a:pt x="44" y="76"/>
                      <a:pt x="42" y="79"/>
                    </a:cubicBezTo>
                    <a:cubicBezTo>
                      <a:pt x="40" y="81"/>
                      <a:pt x="38" y="83"/>
                      <a:pt x="36" y="86"/>
                    </a:cubicBezTo>
                    <a:cubicBezTo>
                      <a:pt x="32" y="90"/>
                      <a:pt x="29" y="93"/>
                      <a:pt x="26" y="98"/>
                    </a:cubicBezTo>
                    <a:cubicBezTo>
                      <a:pt x="24" y="103"/>
                      <a:pt x="20" y="109"/>
                      <a:pt x="18" y="114"/>
                    </a:cubicBezTo>
                    <a:cubicBezTo>
                      <a:pt x="17" y="118"/>
                      <a:pt x="16" y="121"/>
                      <a:pt x="15" y="125"/>
                    </a:cubicBezTo>
                    <a:cubicBezTo>
                      <a:pt x="14" y="127"/>
                      <a:pt x="13" y="130"/>
                      <a:pt x="12" y="132"/>
                    </a:cubicBezTo>
                    <a:cubicBezTo>
                      <a:pt x="11" y="133"/>
                      <a:pt x="8" y="134"/>
                      <a:pt x="7" y="136"/>
                    </a:cubicBezTo>
                    <a:cubicBezTo>
                      <a:pt x="5" y="138"/>
                      <a:pt x="2" y="141"/>
                      <a:pt x="1" y="144"/>
                    </a:cubicBezTo>
                    <a:cubicBezTo>
                      <a:pt x="1" y="146"/>
                      <a:pt x="1" y="149"/>
                      <a:pt x="0" y="152"/>
                    </a:cubicBezTo>
                    <a:cubicBezTo>
                      <a:pt x="0" y="153"/>
                      <a:pt x="0" y="154"/>
                      <a:pt x="0" y="155"/>
                    </a:cubicBezTo>
                    <a:cubicBezTo>
                      <a:pt x="0" y="154"/>
                      <a:pt x="1" y="154"/>
                      <a:pt x="2" y="153"/>
                    </a:cubicBezTo>
                    <a:cubicBezTo>
                      <a:pt x="3" y="153"/>
                      <a:pt x="4" y="153"/>
                      <a:pt x="5" y="153"/>
                    </a:cubicBezTo>
                    <a:cubicBezTo>
                      <a:pt x="5" y="153"/>
                      <a:pt x="6" y="153"/>
                      <a:pt x="7" y="153"/>
                    </a:cubicBezTo>
                    <a:cubicBezTo>
                      <a:pt x="7" y="153"/>
                      <a:pt x="7" y="153"/>
                      <a:pt x="7" y="153"/>
                    </a:cubicBezTo>
                    <a:cubicBezTo>
                      <a:pt x="8" y="153"/>
                      <a:pt x="8" y="153"/>
                      <a:pt x="8" y="153"/>
                    </a:cubicBezTo>
                    <a:cubicBezTo>
                      <a:pt x="9" y="153"/>
                      <a:pt x="10" y="153"/>
                      <a:pt x="11" y="153"/>
                    </a:cubicBezTo>
                    <a:cubicBezTo>
                      <a:pt x="12" y="153"/>
                      <a:pt x="12" y="153"/>
                      <a:pt x="13" y="153"/>
                    </a:cubicBezTo>
                    <a:cubicBezTo>
                      <a:pt x="39" y="153"/>
                      <a:pt x="39" y="153"/>
                      <a:pt x="39" y="153"/>
                    </a:cubicBezTo>
                    <a:cubicBezTo>
                      <a:pt x="57" y="153"/>
                      <a:pt x="74" y="153"/>
                      <a:pt x="92" y="153"/>
                    </a:cubicBezTo>
                    <a:cubicBezTo>
                      <a:pt x="92" y="152"/>
                      <a:pt x="92" y="151"/>
                      <a:pt x="91" y="149"/>
                    </a:cubicBezTo>
                    <a:cubicBezTo>
                      <a:pt x="91" y="149"/>
                      <a:pt x="91" y="149"/>
                      <a:pt x="91" y="149"/>
                    </a:cubicBezTo>
                    <a:cubicBezTo>
                      <a:pt x="91" y="148"/>
                      <a:pt x="91" y="148"/>
                      <a:pt x="91" y="147"/>
                    </a:cubicBezTo>
                    <a:cubicBezTo>
                      <a:pt x="90" y="132"/>
                      <a:pt x="90" y="132"/>
                      <a:pt x="90" y="132"/>
                    </a:cubicBezTo>
                    <a:cubicBezTo>
                      <a:pt x="90" y="130"/>
                      <a:pt x="90" y="129"/>
                      <a:pt x="90" y="127"/>
                    </a:cubicBezTo>
                    <a:cubicBezTo>
                      <a:pt x="89" y="126"/>
                      <a:pt x="89" y="126"/>
                      <a:pt x="89" y="126"/>
                    </a:cubicBezTo>
                    <a:cubicBezTo>
                      <a:pt x="89" y="125"/>
                      <a:pt x="89" y="125"/>
                      <a:pt x="89" y="125"/>
                    </a:cubicBezTo>
                    <a:cubicBezTo>
                      <a:pt x="88" y="121"/>
                      <a:pt x="89" y="119"/>
                      <a:pt x="90" y="117"/>
                    </a:cubicBezTo>
                    <a:cubicBezTo>
                      <a:pt x="93" y="113"/>
                      <a:pt x="96" y="110"/>
                      <a:pt x="99" y="108"/>
                    </a:cubicBezTo>
                    <a:cubicBezTo>
                      <a:pt x="99" y="107"/>
                      <a:pt x="100" y="107"/>
                      <a:pt x="101" y="106"/>
                    </a:cubicBezTo>
                    <a:cubicBezTo>
                      <a:pt x="101" y="106"/>
                      <a:pt x="102" y="106"/>
                      <a:pt x="102" y="106"/>
                    </a:cubicBezTo>
                    <a:cubicBezTo>
                      <a:pt x="104" y="105"/>
                      <a:pt x="105" y="105"/>
                      <a:pt x="106" y="104"/>
                    </a:cubicBezTo>
                    <a:cubicBezTo>
                      <a:pt x="108" y="104"/>
                      <a:pt x="109" y="104"/>
                      <a:pt x="111" y="103"/>
                    </a:cubicBezTo>
                    <a:cubicBezTo>
                      <a:pt x="112" y="103"/>
                      <a:pt x="112" y="103"/>
                      <a:pt x="113" y="102"/>
                    </a:cubicBezTo>
                    <a:cubicBezTo>
                      <a:pt x="113" y="102"/>
                      <a:pt x="113" y="102"/>
                      <a:pt x="113" y="102"/>
                    </a:cubicBezTo>
                    <a:cubicBezTo>
                      <a:pt x="114" y="102"/>
                      <a:pt x="115" y="102"/>
                      <a:pt x="115" y="102"/>
                    </a:cubicBezTo>
                    <a:cubicBezTo>
                      <a:pt x="116" y="100"/>
                      <a:pt x="115" y="95"/>
                      <a:pt x="115" y="93"/>
                    </a:cubicBezTo>
                    <a:cubicBezTo>
                      <a:pt x="115" y="92"/>
                      <a:pt x="115" y="92"/>
                      <a:pt x="115" y="92"/>
                    </a:cubicBezTo>
                    <a:cubicBezTo>
                      <a:pt x="115" y="91"/>
                      <a:pt x="115" y="90"/>
                      <a:pt x="115" y="90"/>
                    </a:cubicBezTo>
                    <a:cubicBezTo>
                      <a:pt x="115" y="43"/>
                      <a:pt x="115" y="43"/>
                      <a:pt x="115" y="43"/>
                    </a:cubicBezTo>
                    <a:cubicBezTo>
                      <a:pt x="115" y="41"/>
                      <a:pt x="115" y="39"/>
                      <a:pt x="117" y="37"/>
                    </a:cubicBezTo>
                    <a:cubicBezTo>
                      <a:pt x="118" y="37"/>
                      <a:pt x="118" y="37"/>
                      <a:pt x="118" y="37"/>
                    </a:cubicBezTo>
                    <a:cubicBezTo>
                      <a:pt x="119" y="37"/>
                      <a:pt x="120" y="37"/>
                      <a:pt x="121" y="37"/>
                    </a:cubicBezTo>
                    <a:cubicBezTo>
                      <a:pt x="122" y="37"/>
                      <a:pt x="122" y="37"/>
                      <a:pt x="122" y="37"/>
                    </a:cubicBezTo>
                    <a:cubicBezTo>
                      <a:pt x="122" y="37"/>
                      <a:pt x="123" y="37"/>
                      <a:pt x="123" y="37"/>
                    </a:cubicBezTo>
                    <a:cubicBezTo>
                      <a:pt x="194" y="37"/>
                      <a:pt x="194" y="37"/>
                      <a:pt x="194" y="37"/>
                    </a:cubicBezTo>
                    <a:cubicBezTo>
                      <a:pt x="194" y="35"/>
                      <a:pt x="194" y="33"/>
                      <a:pt x="194" y="32"/>
                    </a:cubicBezTo>
                    <a:cubicBezTo>
                      <a:pt x="194" y="31"/>
                      <a:pt x="194" y="31"/>
                      <a:pt x="194" y="31"/>
                    </a:cubicBezTo>
                    <a:cubicBezTo>
                      <a:pt x="194" y="30"/>
                      <a:pt x="193" y="29"/>
                      <a:pt x="193" y="28"/>
                    </a:cubicBezTo>
                    <a:cubicBezTo>
                      <a:pt x="194" y="2"/>
                      <a:pt x="194" y="2"/>
                      <a:pt x="194" y="2"/>
                    </a:cubicBezTo>
                    <a:cubicBezTo>
                      <a:pt x="194" y="2"/>
                      <a:pt x="194" y="2"/>
                      <a:pt x="194" y="2"/>
                    </a:cubicBezTo>
                    <a:cubicBezTo>
                      <a:pt x="194" y="0"/>
                      <a:pt x="194" y="0"/>
                      <a:pt x="19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200"/>
              <p:cNvSpPr/>
              <p:nvPr/>
            </p:nvSpPr>
            <p:spPr bwMode="auto">
              <a:xfrm>
                <a:off x="2723" y="1211"/>
                <a:ext cx="645" cy="710"/>
              </a:xfrm>
              <a:custGeom>
                <a:gdLst>
                  <a:gd name="T0" fmla="*/ 196 w 273"/>
                  <a:gd name="T1" fmla="*/ 15 h 300"/>
                  <a:gd name="T2" fmla="*/ 196 w 273"/>
                  <a:gd name="T3" fmla="*/ 26 h 300"/>
                  <a:gd name="T4" fmla="*/ 118 w 273"/>
                  <a:gd name="T5" fmla="*/ 30 h 300"/>
                  <a:gd name="T6" fmla="*/ 118 w 273"/>
                  <a:gd name="T7" fmla="*/ 77 h 300"/>
                  <a:gd name="T8" fmla="*/ 118 w 273"/>
                  <a:gd name="T9" fmla="*/ 91 h 300"/>
                  <a:gd name="T10" fmla="*/ 110 w 273"/>
                  <a:gd name="T11" fmla="*/ 95 h 300"/>
                  <a:gd name="T12" fmla="*/ 101 w 273"/>
                  <a:gd name="T13" fmla="*/ 98 h 300"/>
                  <a:gd name="T14" fmla="*/ 92 w 273"/>
                  <a:gd name="T15" fmla="*/ 107 h 300"/>
                  <a:gd name="T16" fmla="*/ 93 w 273"/>
                  <a:gd name="T17" fmla="*/ 119 h 300"/>
                  <a:gd name="T18" fmla="*/ 94 w 273"/>
                  <a:gd name="T19" fmla="*/ 142 h 300"/>
                  <a:gd name="T20" fmla="*/ 59 w 273"/>
                  <a:gd name="T21" fmla="*/ 146 h 300"/>
                  <a:gd name="T22" fmla="*/ 10 w 273"/>
                  <a:gd name="T23" fmla="*/ 146 h 300"/>
                  <a:gd name="T24" fmla="*/ 2 w 273"/>
                  <a:gd name="T25" fmla="*/ 145 h 300"/>
                  <a:gd name="T26" fmla="*/ 8 w 273"/>
                  <a:gd name="T27" fmla="*/ 162 h 300"/>
                  <a:gd name="T28" fmla="*/ 10 w 273"/>
                  <a:gd name="T29" fmla="*/ 160 h 300"/>
                  <a:gd name="T30" fmla="*/ 16 w 273"/>
                  <a:gd name="T31" fmla="*/ 172 h 300"/>
                  <a:gd name="T32" fmla="*/ 15 w 273"/>
                  <a:gd name="T33" fmla="*/ 180 h 300"/>
                  <a:gd name="T34" fmla="*/ 14 w 273"/>
                  <a:gd name="T35" fmla="*/ 187 h 300"/>
                  <a:gd name="T36" fmla="*/ 19 w 273"/>
                  <a:gd name="T37" fmla="*/ 222 h 300"/>
                  <a:gd name="T38" fmla="*/ 10 w 273"/>
                  <a:gd name="T39" fmla="*/ 261 h 300"/>
                  <a:gd name="T40" fmla="*/ 21 w 273"/>
                  <a:gd name="T41" fmla="*/ 258 h 300"/>
                  <a:gd name="T42" fmla="*/ 26 w 273"/>
                  <a:gd name="T43" fmla="*/ 258 h 300"/>
                  <a:gd name="T44" fmla="*/ 38 w 273"/>
                  <a:gd name="T45" fmla="*/ 255 h 300"/>
                  <a:gd name="T46" fmla="*/ 46 w 273"/>
                  <a:gd name="T47" fmla="*/ 254 h 300"/>
                  <a:gd name="T48" fmla="*/ 56 w 273"/>
                  <a:gd name="T49" fmla="*/ 255 h 300"/>
                  <a:gd name="T50" fmla="*/ 69 w 273"/>
                  <a:gd name="T51" fmla="*/ 262 h 300"/>
                  <a:gd name="T52" fmla="*/ 73 w 273"/>
                  <a:gd name="T53" fmla="*/ 266 h 300"/>
                  <a:gd name="T54" fmla="*/ 76 w 273"/>
                  <a:gd name="T55" fmla="*/ 266 h 300"/>
                  <a:gd name="T56" fmla="*/ 78 w 273"/>
                  <a:gd name="T57" fmla="*/ 266 h 300"/>
                  <a:gd name="T58" fmla="*/ 80 w 273"/>
                  <a:gd name="T59" fmla="*/ 267 h 300"/>
                  <a:gd name="T60" fmla="*/ 87 w 273"/>
                  <a:gd name="T61" fmla="*/ 276 h 300"/>
                  <a:gd name="T62" fmla="*/ 91 w 273"/>
                  <a:gd name="T63" fmla="*/ 281 h 300"/>
                  <a:gd name="T64" fmla="*/ 101 w 273"/>
                  <a:gd name="T65" fmla="*/ 293 h 300"/>
                  <a:gd name="T66" fmla="*/ 105 w 273"/>
                  <a:gd name="T67" fmla="*/ 296 h 300"/>
                  <a:gd name="T68" fmla="*/ 109 w 273"/>
                  <a:gd name="T69" fmla="*/ 299 h 300"/>
                  <a:gd name="T70" fmla="*/ 111 w 273"/>
                  <a:gd name="T71" fmla="*/ 300 h 300"/>
                  <a:gd name="T72" fmla="*/ 116 w 273"/>
                  <a:gd name="T73" fmla="*/ 298 h 300"/>
                  <a:gd name="T74" fmla="*/ 118 w 273"/>
                  <a:gd name="T75" fmla="*/ 288 h 300"/>
                  <a:gd name="T76" fmla="*/ 124 w 273"/>
                  <a:gd name="T77" fmla="*/ 280 h 300"/>
                  <a:gd name="T78" fmla="*/ 140 w 273"/>
                  <a:gd name="T79" fmla="*/ 289 h 300"/>
                  <a:gd name="T80" fmla="*/ 144 w 273"/>
                  <a:gd name="T81" fmla="*/ 284 h 300"/>
                  <a:gd name="T82" fmla="*/ 150 w 273"/>
                  <a:gd name="T83" fmla="*/ 283 h 300"/>
                  <a:gd name="T84" fmla="*/ 173 w 273"/>
                  <a:gd name="T85" fmla="*/ 282 h 300"/>
                  <a:gd name="T86" fmla="*/ 175 w 273"/>
                  <a:gd name="T87" fmla="*/ 279 h 300"/>
                  <a:gd name="T88" fmla="*/ 176 w 273"/>
                  <a:gd name="T89" fmla="*/ 278 h 300"/>
                  <a:gd name="T90" fmla="*/ 178 w 273"/>
                  <a:gd name="T91" fmla="*/ 278 h 300"/>
                  <a:gd name="T92" fmla="*/ 180 w 273"/>
                  <a:gd name="T93" fmla="*/ 279 h 300"/>
                  <a:gd name="T94" fmla="*/ 182 w 273"/>
                  <a:gd name="T95" fmla="*/ 282 h 300"/>
                  <a:gd name="T96" fmla="*/ 185 w 273"/>
                  <a:gd name="T97" fmla="*/ 282 h 300"/>
                  <a:gd name="T98" fmla="*/ 189 w 273"/>
                  <a:gd name="T99" fmla="*/ 282 h 300"/>
                  <a:gd name="T100" fmla="*/ 260 w 273"/>
                  <a:gd name="T101" fmla="*/ 282 h 300"/>
                  <a:gd name="T102" fmla="*/ 263 w 273"/>
                  <a:gd name="T103" fmla="*/ 282 h 300"/>
                  <a:gd name="T104" fmla="*/ 266 w 273"/>
                  <a:gd name="T105" fmla="*/ 283 h 300"/>
                  <a:gd name="T106" fmla="*/ 267 w 273"/>
                  <a:gd name="T107" fmla="*/ 273 h 300"/>
                  <a:gd name="T108" fmla="*/ 268 w 273"/>
                  <a:gd name="T109" fmla="*/ 266 h 300"/>
                  <a:gd name="T110" fmla="*/ 266 w 273"/>
                  <a:gd name="T111" fmla="*/ 264 h 300"/>
                  <a:gd name="T112" fmla="*/ 250 w 273"/>
                  <a:gd name="T113" fmla="*/ 142 h 300"/>
                  <a:gd name="T114" fmla="*/ 240 w 273"/>
                  <a:gd name="T115" fmla="*/ 52 h 300"/>
                  <a:gd name="T116" fmla="*/ 259 w 273"/>
                  <a:gd name="T117" fmla="*/ 39 h 300"/>
                  <a:gd name="T118" fmla="*/ 236 w 273"/>
                  <a:gd name="T119" fmla="*/ 25 h 300"/>
                  <a:gd name="T120" fmla="*/ 196 w 273"/>
                  <a:gd name="T121" fmla="*/ 0 h 3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3" h="300">
                    <a:moveTo>
                      <a:pt x="196" y="0"/>
                    </a:moveTo>
                    <a:cubicBezTo>
                      <a:pt x="196" y="3"/>
                      <a:pt x="196" y="6"/>
                      <a:pt x="196" y="10"/>
                    </a:cubicBezTo>
                    <a:cubicBezTo>
                      <a:pt x="196" y="15"/>
                      <a:pt x="196" y="15"/>
                      <a:pt x="196" y="15"/>
                    </a:cubicBezTo>
                    <a:cubicBezTo>
                      <a:pt x="196" y="16"/>
                      <a:pt x="196" y="16"/>
                      <a:pt x="196" y="17"/>
                    </a:cubicBezTo>
                    <a:cubicBezTo>
                      <a:pt x="196" y="18"/>
                      <a:pt x="196" y="18"/>
                      <a:pt x="196" y="18"/>
                    </a:cubicBezTo>
                    <a:cubicBezTo>
                      <a:pt x="197" y="21"/>
                      <a:pt x="197" y="23"/>
                      <a:pt x="196" y="26"/>
                    </a:cubicBezTo>
                    <a:cubicBezTo>
                      <a:pt x="196" y="27"/>
                      <a:pt x="196" y="30"/>
                      <a:pt x="193" y="30"/>
                    </a:cubicBezTo>
                    <a:cubicBezTo>
                      <a:pt x="120" y="30"/>
                      <a:pt x="120" y="30"/>
                      <a:pt x="120" y="30"/>
                    </a:cubicBezTo>
                    <a:cubicBezTo>
                      <a:pt x="120" y="30"/>
                      <a:pt x="119" y="30"/>
                      <a:pt x="118" y="30"/>
                    </a:cubicBezTo>
                    <a:cubicBezTo>
                      <a:pt x="118" y="30"/>
                      <a:pt x="118" y="30"/>
                      <a:pt x="118" y="30"/>
                    </a:cubicBezTo>
                    <a:cubicBezTo>
                      <a:pt x="118" y="30"/>
                      <a:pt x="118" y="30"/>
                      <a:pt x="118" y="30"/>
                    </a:cubicBezTo>
                    <a:cubicBezTo>
                      <a:pt x="118" y="77"/>
                      <a:pt x="118" y="77"/>
                      <a:pt x="118" y="77"/>
                    </a:cubicBezTo>
                    <a:cubicBezTo>
                      <a:pt x="118" y="77"/>
                      <a:pt x="118" y="78"/>
                      <a:pt x="118" y="79"/>
                    </a:cubicBezTo>
                    <a:cubicBezTo>
                      <a:pt x="118" y="79"/>
                      <a:pt x="118" y="79"/>
                      <a:pt x="118" y="79"/>
                    </a:cubicBezTo>
                    <a:cubicBezTo>
                      <a:pt x="118" y="84"/>
                      <a:pt x="119" y="89"/>
                      <a:pt x="118" y="91"/>
                    </a:cubicBezTo>
                    <a:cubicBezTo>
                      <a:pt x="118" y="92"/>
                      <a:pt x="117" y="92"/>
                      <a:pt x="116" y="93"/>
                    </a:cubicBezTo>
                    <a:cubicBezTo>
                      <a:pt x="115" y="94"/>
                      <a:pt x="114" y="94"/>
                      <a:pt x="112" y="95"/>
                    </a:cubicBezTo>
                    <a:cubicBezTo>
                      <a:pt x="111" y="95"/>
                      <a:pt x="110" y="95"/>
                      <a:pt x="110" y="95"/>
                    </a:cubicBezTo>
                    <a:cubicBezTo>
                      <a:pt x="108" y="96"/>
                      <a:pt x="106" y="97"/>
                      <a:pt x="104" y="97"/>
                    </a:cubicBezTo>
                    <a:cubicBezTo>
                      <a:pt x="104" y="97"/>
                      <a:pt x="103" y="97"/>
                      <a:pt x="102" y="98"/>
                    </a:cubicBezTo>
                    <a:cubicBezTo>
                      <a:pt x="101" y="98"/>
                      <a:pt x="101" y="98"/>
                      <a:pt x="101" y="98"/>
                    </a:cubicBezTo>
                    <a:cubicBezTo>
                      <a:pt x="101" y="98"/>
                      <a:pt x="101" y="98"/>
                      <a:pt x="101" y="98"/>
                    </a:cubicBezTo>
                    <a:cubicBezTo>
                      <a:pt x="100" y="99"/>
                      <a:pt x="99" y="99"/>
                      <a:pt x="99" y="99"/>
                    </a:cubicBezTo>
                    <a:cubicBezTo>
                      <a:pt x="97" y="101"/>
                      <a:pt x="94" y="103"/>
                      <a:pt x="92" y="107"/>
                    </a:cubicBezTo>
                    <a:cubicBezTo>
                      <a:pt x="92" y="108"/>
                      <a:pt x="91" y="109"/>
                      <a:pt x="92" y="111"/>
                    </a:cubicBezTo>
                    <a:cubicBezTo>
                      <a:pt x="92" y="111"/>
                      <a:pt x="92" y="112"/>
                      <a:pt x="92" y="113"/>
                    </a:cubicBezTo>
                    <a:cubicBezTo>
                      <a:pt x="93" y="115"/>
                      <a:pt x="93" y="117"/>
                      <a:pt x="93" y="119"/>
                    </a:cubicBezTo>
                    <a:cubicBezTo>
                      <a:pt x="94" y="134"/>
                      <a:pt x="94" y="134"/>
                      <a:pt x="94" y="134"/>
                    </a:cubicBezTo>
                    <a:cubicBezTo>
                      <a:pt x="94" y="134"/>
                      <a:pt x="94" y="135"/>
                      <a:pt x="94" y="135"/>
                    </a:cubicBezTo>
                    <a:cubicBezTo>
                      <a:pt x="94" y="138"/>
                      <a:pt x="95" y="141"/>
                      <a:pt x="94" y="142"/>
                    </a:cubicBezTo>
                    <a:cubicBezTo>
                      <a:pt x="94" y="146"/>
                      <a:pt x="94" y="146"/>
                      <a:pt x="94" y="146"/>
                    </a:cubicBezTo>
                    <a:cubicBezTo>
                      <a:pt x="91" y="146"/>
                      <a:pt x="91" y="146"/>
                      <a:pt x="91" y="146"/>
                    </a:cubicBezTo>
                    <a:cubicBezTo>
                      <a:pt x="81" y="146"/>
                      <a:pt x="70" y="146"/>
                      <a:pt x="59" y="146"/>
                    </a:cubicBezTo>
                    <a:cubicBezTo>
                      <a:pt x="51" y="146"/>
                      <a:pt x="44" y="146"/>
                      <a:pt x="36" y="146"/>
                    </a:cubicBezTo>
                    <a:cubicBezTo>
                      <a:pt x="12" y="146"/>
                      <a:pt x="12" y="146"/>
                      <a:pt x="12" y="146"/>
                    </a:cubicBezTo>
                    <a:cubicBezTo>
                      <a:pt x="12" y="146"/>
                      <a:pt x="11" y="146"/>
                      <a:pt x="10" y="146"/>
                    </a:cubicBezTo>
                    <a:cubicBezTo>
                      <a:pt x="8" y="146"/>
                      <a:pt x="7" y="146"/>
                      <a:pt x="5" y="146"/>
                    </a:cubicBezTo>
                    <a:cubicBezTo>
                      <a:pt x="5" y="146"/>
                      <a:pt x="4" y="146"/>
                      <a:pt x="3" y="146"/>
                    </a:cubicBezTo>
                    <a:cubicBezTo>
                      <a:pt x="3" y="146"/>
                      <a:pt x="2" y="145"/>
                      <a:pt x="2" y="145"/>
                    </a:cubicBezTo>
                    <a:cubicBezTo>
                      <a:pt x="1" y="145"/>
                      <a:pt x="1" y="145"/>
                      <a:pt x="1" y="146"/>
                    </a:cubicBezTo>
                    <a:cubicBezTo>
                      <a:pt x="1" y="146"/>
                      <a:pt x="1" y="146"/>
                      <a:pt x="0" y="149"/>
                    </a:cubicBezTo>
                    <a:cubicBezTo>
                      <a:pt x="2" y="153"/>
                      <a:pt x="5" y="158"/>
                      <a:pt x="8" y="162"/>
                    </a:cubicBezTo>
                    <a:cubicBezTo>
                      <a:pt x="8" y="160"/>
                      <a:pt x="9" y="159"/>
                      <a:pt x="10" y="159"/>
                    </a:cubicBezTo>
                    <a:cubicBezTo>
                      <a:pt x="10" y="159"/>
                      <a:pt x="11" y="159"/>
                      <a:pt x="11" y="159"/>
                    </a:cubicBezTo>
                    <a:cubicBezTo>
                      <a:pt x="10" y="160"/>
                      <a:pt x="10" y="160"/>
                      <a:pt x="10" y="160"/>
                    </a:cubicBezTo>
                    <a:cubicBezTo>
                      <a:pt x="11" y="162"/>
                      <a:pt x="12" y="163"/>
                      <a:pt x="13" y="165"/>
                    </a:cubicBezTo>
                    <a:cubicBezTo>
                      <a:pt x="14" y="167"/>
                      <a:pt x="16" y="169"/>
                      <a:pt x="16" y="171"/>
                    </a:cubicBezTo>
                    <a:cubicBezTo>
                      <a:pt x="16" y="171"/>
                      <a:pt x="16" y="172"/>
                      <a:pt x="16" y="172"/>
                    </a:cubicBezTo>
                    <a:cubicBezTo>
                      <a:pt x="16" y="173"/>
                      <a:pt x="16" y="175"/>
                      <a:pt x="16" y="176"/>
                    </a:cubicBezTo>
                    <a:cubicBezTo>
                      <a:pt x="16" y="176"/>
                      <a:pt x="15" y="176"/>
                      <a:pt x="15" y="177"/>
                    </a:cubicBezTo>
                    <a:cubicBezTo>
                      <a:pt x="15" y="178"/>
                      <a:pt x="15" y="179"/>
                      <a:pt x="15" y="180"/>
                    </a:cubicBezTo>
                    <a:cubicBezTo>
                      <a:pt x="15" y="181"/>
                      <a:pt x="14" y="182"/>
                      <a:pt x="14" y="183"/>
                    </a:cubicBezTo>
                    <a:cubicBezTo>
                      <a:pt x="12" y="185"/>
                      <a:pt x="10" y="187"/>
                      <a:pt x="10" y="190"/>
                    </a:cubicBezTo>
                    <a:cubicBezTo>
                      <a:pt x="11" y="188"/>
                      <a:pt x="12" y="189"/>
                      <a:pt x="14" y="187"/>
                    </a:cubicBezTo>
                    <a:cubicBezTo>
                      <a:pt x="13" y="189"/>
                      <a:pt x="12" y="190"/>
                      <a:pt x="11" y="191"/>
                    </a:cubicBezTo>
                    <a:cubicBezTo>
                      <a:pt x="8" y="196"/>
                      <a:pt x="15" y="196"/>
                      <a:pt x="16" y="201"/>
                    </a:cubicBezTo>
                    <a:cubicBezTo>
                      <a:pt x="17" y="208"/>
                      <a:pt x="18" y="215"/>
                      <a:pt x="19" y="222"/>
                    </a:cubicBezTo>
                    <a:cubicBezTo>
                      <a:pt x="20" y="229"/>
                      <a:pt x="20" y="235"/>
                      <a:pt x="17" y="242"/>
                    </a:cubicBezTo>
                    <a:cubicBezTo>
                      <a:pt x="16" y="244"/>
                      <a:pt x="15" y="246"/>
                      <a:pt x="14" y="248"/>
                    </a:cubicBezTo>
                    <a:cubicBezTo>
                      <a:pt x="12" y="252"/>
                      <a:pt x="11" y="256"/>
                      <a:pt x="10" y="261"/>
                    </a:cubicBezTo>
                    <a:cubicBezTo>
                      <a:pt x="12" y="259"/>
                      <a:pt x="14" y="258"/>
                      <a:pt x="16" y="257"/>
                    </a:cubicBezTo>
                    <a:cubicBezTo>
                      <a:pt x="17" y="257"/>
                      <a:pt x="17" y="257"/>
                      <a:pt x="18" y="257"/>
                    </a:cubicBezTo>
                    <a:cubicBezTo>
                      <a:pt x="19" y="257"/>
                      <a:pt x="20" y="257"/>
                      <a:pt x="21" y="258"/>
                    </a:cubicBezTo>
                    <a:cubicBezTo>
                      <a:pt x="21" y="258"/>
                      <a:pt x="22" y="258"/>
                      <a:pt x="22" y="258"/>
                    </a:cubicBezTo>
                    <a:cubicBezTo>
                      <a:pt x="23" y="258"/>
                      <a:pt x="24" y="258"/>
                      <a:pt x="25" y="258"/>
                    </a:cubicBezTo>
                    <a:cubicBezTo>
                      <a:pt x="26" y="258"/>
                      <a:pt x="26" y="258"/>
                      <a:pt x="26" y="258"/>
                    </a:cubicBezTo>
                    <a:cubicBezTo>
                      <a:pt x="28" y="258"/>
                      <a:pt x="30" y="257"/>
                      <a:pt x="32" y="257"/>
                    </a:cubicBezTo>
                    <a:cubicBezTo>
                      <a:pt x="33" y="256"/>
                      <a:pt x="35" y="256"/>
                      <a:pt x="36" y="256"/>
                    </a:cubicBezTo>
                    <a:cubicBezTo>
                      <a:pt x="37" y="256"/>
                      <a:pt x="37" y="255"/>
                      <a:pt x="38" y="255"/>
                    </a:cubicBezTo>
                    <a:cubicBezTo>
                      <a:pt x="38" y="255"/>
                      <a:pt x="38" y="255"/>
                      <a:pt x="38" y="255"/>
                    </a:cubicBezTo>
                    <a:cubicBezTo>
                      <a:pt x="40" y="255"/>
                      <a:pt x="42" y="254"/>
                      <a:pt x="44" y="254"/>
                    </a:cubicBezTo>
                    <a:cubicBezTo>
                      <a:pt x="44" y="254"/>
                      <a:pt x="45" y="254"/>
                      <a:pt x="46" y="254"/>
                    </a:cubicBezTo>
                    <a:cubicBezTo>
                      <a:pt x="48" y="255"/>
                      <a:pt x="50" y="255"/>
                      <a:pt x="52" y="255"/>
                    </a:cubicBezTo>
                    <a:cubicBezTo>
                      <a:pt x="52" y="255"/>
                      <a:pt x="53" y="255"/>
                      <a:pt x="53" y="255"/>
                    </a:cubicBezTo>
                    <a:cubicBezTo>
                      <a:pt x="56" y="255"/>
                      <a:pt x="56" y="255"/>
                      <a:pt x="56" y="255"/>
                    </a:cubicBezTo>
                    <a:cubicBezTo>
                      <a:pt x="61" y="255"/>
                      <a:pt x="64" y="257"/>
                      <a:pt x="66" y="259"/>
                    </a:cubicBezTo>
                    <a:cubicBezTo>
                      <a:pt x="67" y="260"/>
                      <a:pt x="67" y="260"/>
                      <a:pt x="67" y="260"/>
                    </a:cubicBezTo>
                    <a:cubicBezTo>
                      <a:pt x="68" y="261"/>
                      <a:pt x="68" y="261"/>
                      <a:pt x="69" y="262"/>
                    </a:cubicBezTo>
                    <a:cubicBezTo>
                      <a:pt x="71" y="263"/>
                      <a:pt x="71" y="264"/>
                      <a:pt x="72" y="265"/>
                    </a:cubicBezTo>
                    <a:cubicBezTo>
                      <a:pt x="72" y="266"/>
                      <a:pt x="72" y="266"/>
                      <a:pt x="72" y="266"/>
                    </a:cubicBezTo>
                    <a:cubicBezTo>
                      <a:pt x="73" y="266"/>
                      <a:pt x="73" y="266"/>
                      <a:pt x="73" y="266"/>
                    </a:cubicBezTo>
                    <a:cubicBezTo>
                      <a:pt x="73" y="266"/>
                      <a:pt x="74" y="266"/>
                      <a:pt x="74" y="266"/>
                    </a:cubicBezTo>
                    <a:cubicBezTo>
                      <a:pt x="74" y="266"/>
                      <a:pt x="75" y="266"/>
                      <a:pt x="75" y="266"/>
                    </a:cubicBezTo>
                    <a:cubicBezTo>
                      <a:pt x="76" y="266"/>
                      <a:pt x="76" y="266"/>
                      <a:pt x="76" y="266"/>
                    </a:cubicBezTo>
                    <a:cubicBezTo>
                      <a:pt x="76" y="266"/>
                      <a:pt x="77" y="266"/>
                      <a:pt x="77" y="266"/>
                    </a:cubicBezTo>
                    <a:cubicBezTo>
                      <a:pt x="77" y="266"/>
                      <a:pt x="78" y="266"/>
                      <a:pt x="78" y="266"/>
                    </a:cubicBezTo>
                    <a:cubicBezTo>
                      <a:pt x="78" y="266"/>
                      <a:pt x="78" y="266"/>
                      <a:pt x="78" y="266"/>
                    </a:cubicBezTo>
                    <a:cubicBezTo>
                      <a:pt x="79" y="266"/>
                      <a:pt x="79" y="266"/>
                      <a:pt x="79" y="266"/>
                    </a:cubicBezTo>
                    <a:cubicBezTo>
                      <a:pt x="80" y="267"/>
                      <a:pt x="80" y="267"/>
                      <a:pt x="80" y="267"/>
                    </a:cubicBezTo>
                    <a:cubicBezTo>
                      <a:pt x="80" y="267"/>
                      <a:pt x="80" y="267"/>
                      <a:pt x="80" y="267"/>
                    </a:cubicBezTo>
                    <a:cubicBezTo>
                      <a:pt x="82" y="268"/>
                      <a:pt x="84" y="269"/>
                      <a:pt x="85" y="272"/>
                    </a:cubicBezTo>
                    <a:cubicBezTo>
                      <a:pt x="86" y="273"/>
                      <a:pt x="86" y="273"/>
                      <a:pt x="86" y="274"/>
                    </a:cubicBezTo>
                    <a:cubicBezTo>
                      <a:pt x="87" y="276"/>
                      <a:pt x="87" y="276"/>
                      <a:pt x="87" y="276"/>
                    </a:cubicBezTo>
                    <a:cubicBezTo>
                      <a:pt x="87" y="277"/>
                      <a:pt x="87" y="279"/>
                      <a:pt x="88" y="280"/>
                    </a:cubicBezTo>
                    <a:cubicBezTo>
                      <a:pt x="88" y="280"/>
                      <a:pt x="89" y="281"/>
                      <a:pt x="90" y="281"/>
                    </a:cubicBezTo>
                    <a:cubicBezTo>
                      <a:pt x="91" y="281"/>
                      <a:pt x="91" y="281"/>
                      <a:pt x="91" y="281"/>
                    </a:cubicBezTo>
                    <a:cubicBezTo>
                      <a:pt x="94" y="283"/>
                      <a:pt x="96" y="286"/>
                      <a:pt x="98" y="288"/>
                    </a:cubicBezTo>
                    <a:cubicBezTo>
                      <a:pt x="99" y="290"/>
                      <a:pt x="99" y="291"/>
                      <a:pt x="100" y="292"/>
                    </a:cubicBezTo>
                    <a:cubicBezTo>
                      <a:pt x="101" y="293"/>
                      <a:pt x="101" y="293"/>
                      <a:pt x="101" y="293"/>
                    </a:cubicBezTo>
                    <a:cubicBezTo>
                      <a:pt x="102" y="293"/>
                      <a:pt x="102" y="293"/>
                      <a:pt x="102" y="293"/>
                    </a:cubicBezTo>
                    <a:cubicBezTo>
                      <a:pt x="102" y="294"/>
                      <a:pt x="103" y="294"/>
                      <a:pt x="103" y="294"/>
                    </a:cubicBezTo>
                    <a:cubicBezTo>
                      <a:pt x="104" y="295"/>
                      <a:pt x="104" y="295"/>
                      <a:pt x="105" y="296"/>
                    </a:cubicBezTo>
                    <a:cubicBezTo>
                      <a:pt x="106" y="297"/>
                      <a:pt x="106" y="297"/>
                      <a:pt x="106" y="297"/>
                    </a:cubicBezTo>
                    <a:cubicBezTo>
                      <a:pt x="107" y="297"/>
                      <a:pt x="107" y="298"/>
                      <a:pt x="108" y="298"/>
                    </a:cubicBezTo>
                    <a:cubicBezTo>
                      <a:pt x="109" y="299"/>
                      <a:pt x="109" y="299"/>
                      <a:pt x="109" y="299"/>
                    </a:cubicBezTo>
                    <a:cubicBezTo>
                      <a:pt x="109" y="299"/>
                      <a:pt x="110" y="299"/>
                      <a:pt x="110" y="300"/>
                    </a:cubicBezTo>
                    <a:cubicBezTo>
                      <a:pt x="110" y="300"/>
                      <a:pt x="110" y="300"/>
                      <a:pt x="110" y="300"/>
                    </a:cubicBezTo>
                    <a:cubicBezTo>
                      <a:pt x="111" y="300"/>
                      <a:pt x="111" y="300"/>
                      <a:pt x="111" y="300"/>
                    </a:cubicBezTo>
                    <a:cubicBezTo>
                      <a:pt x="111" y="300"/>
                      <a:pt x="111" y="300"/>
                      <a:pt x="111" y="300"/>
                    </a:cubicBezTo>
                    <a:cubicBezTo>
                      <a:pt x="115" y="299"/>
                      <a:pt x="115" y="299"/>
                      <a:pt x="115" y="299"/>
                    </a:cubicBezTo>
                    <a:cubicBezTo>
                      <a:pt x="116" y="299"/>
                      <a:pt x="116" y="298"/>
                      <a:pt x="116" y="298"/>
                    </a:cubicBezTo>
                    <a:cubicBezTo>
                      <a:pt x="117" y="297"/>
                      <a:pt x="117" y="297"/>
                      <a:pt x="117" y="297"/>
                    </a:cubicBezTo>
                    <a:cubicBezTo>
                      <a:pt x="117" y="297"/>
                      <a:pt x="117" y="297"/>
                      <a:pt x="117" y="296"/>
                    </a:cubicBezTo>
                    <a:cubicBezTo>
                      <a:pt x="118" y="294"/>
                      <a:pt x="118" y="291"/>
                      <a:pt x="118" y="288"/>
                    </a:cubicBezTo>
                    <a:cubicBezTo>
                      <a:pt x="118" y="287"/>
                      <a:pt x="118" y="286"/>
                      <a:pt x="119" y="285"/>
                    </a:cubicBezTo>
                    <a:cubicBezTo>
                      <a:pt x="119" y="281"/>
                      <a:pt x="122" y="280"/>
                      <a:pt x="124" y="280"/>
                    </a:cubicBezTo>
                    <a:cubicBezTo>
                      <a:pt x="124" y="280"/>
                      <a:pt x="124" y="280"/>
                      <a:pt x="124" y="280"/>
                    </a:cubicBezTo>
                    <a:cubicBezTo>
                      <a:pt x="125" y="277"/>
                      <a:pt x="125" y="277"/>
                      <a:pt x="125" y="277"/>
                    </a:cubicBezTo>
                    <a:cubicBezTo>
                      <a:pt x="128" y="279"/>
                      <a:pt x="128" y="279"/>
                      <a:pt x="128" y="279"/>
                    </a:cubicBezTo>
                    <a:cubicBezTo>
                      <a:pt x="131" y="281"/>
                      <a:pt x="136" y="285"/>
                      <a:pt x="140" y="289"/>
                    </a:cubicBezTo>
                    <a:cubicBezTo>
                      <a:pt x="141" y="289"/>
                      <a:pt x="141" y="288"/>
                      <a:pt x="141" y="288"/>
                    </a:cubicBezTo>
                    <a:cubicBezTo>
                      <a:pt x="142" y="285"/>
                      <a:pt x="142" y="285"/>
                      <a:pt x="142" y="285"/>
                    </a:cubicBezTo>
                    <a:cubicBezTo>
                      <a:pt x="143" y="285"/>
                      <a:pt x="143" y="284"/>
                      <a:pt x="144" y="284"/>
                    </a:cubicBezTo>
                    <a:cubicBezTo>
                      <a:pt x="145" y="283"/>
                      <a:pt x="145" y="283"/>
                      <a:pt x="145" y="283"/>
                    </a:cubicBezTo>
                    <a:cubicBezTo>
                      <a:pt x="146" y="283"/>
                      <a:pt x="147" y="283"/>
                      <a:pt x="148" y="283"/>
                    </a:cubicBezTo>
                    <a:cubicBezTo>
                      <a:pt x="149" y="283"/>
                      <a:pt x="150" y="283"/>
                      <a:pt x="150" y="283"/>
                    </a:cubicBezTo>
                    <a:cubicBezTo>
                      <a:pt x="152" y="283"/>
                      <a:pt x="152" y="283"/>
                      <a:pt x="152" y="283"/>
                    </a:cubicBezTo>
                    <a:cubicBezTo>
                      <a:pt x="173" y="283"/>
                      <a:pt x="173" y="283"/>
                      <a:pt x="173" y="283"/>
                    </a:cubicBezTo>
                    <a:cubicBezTo>
                      <a:pt x="173" y="283"/>
                      <a:pt x="173" y="283"/>
                      <a:pt x="173" y="282"/>
                    </a:cubicBezTo>
                    <a:cubicBezTo>
                      <a:pt x="173" y="281"/>
                      <a:pt x="173" y="281"/>
                      <a:pt x="173" y="281"/>
                    </a:cubicBezTo>
                    <a:cubicBezTo>
                      <a:pt x="174" y="281"/>
                      <a:pt x="174" y="280"/>
                      <a:pt x="174" y="280"/>
                    </a:cubicBezTo>
                    <a:cubicBezTo>
                      <a:pt x="175" y="279"/>
                      <a:pt x="175" y="279"/>
                      <a:pt x="175" y="279"/>
                    </a:cubicBezTo>
                    <a:cubicBezTo>
                      <a:pt x="175" y="279"/>
                      <a:pt x="175" y="279"/>
                      <a:pt x="175" y="279"/>
                    </a:cubicBezTo>
                    <a:cubicBezTo>
                      <a:pt x="175" y="279"/>
                      <a:pt x="175" y="279"/>
                      <a:pt x="175" y="279"/>
                    </a:cubicBezTo>
                    <a:cubicBezTo>
                      <a:pt x="175" y="279"/>
                      <a:pt x="176" y="278"/>
                      <a:pt x="176" y="278"/>
                    </a:cubicBezTo>
                    <a:cubicBezTo>
                      <a:pt x="176" y="278"/>
                      <a:pt x="176" y="278"/>
                      <a:pt x="176" y="278"/>
                    </a:cubicBezTo>
                    <a:cubicBezTo>
                      <a:pt x="177" y="278"/>
                      <a:pt x="177" y="278"/>
                      <a:pt x="177" y="278"/>
                    </a:cubicBezTo>
                    <a:cubicBezTo>
                      <a:pt x="178" y="278"/>
                      <a:pt x="178" y="278"/>
                      <a:pt x="178" y="278"/>
                    </a:cubicBezTo>
                    <a:cubicBezTo>
                      <a:pt x="179" y="278"/>
                      <a:pt x="179" y="278"/>
                      <a:pt x="179" y="278"/>
                    </a:cubicBezTo>
                    <a:cubicBezTo>
                      <a:pt x="179" y="279"/>
                      <a:pt x="179" y="279"/>
                      <a:pt x="179" y="279"/>
                    </a:cubicBezTo>
                    <a:cubicBezTo>
                      <a:pt x="180" y="279"/>
                      <a:pt x="180" y="279"/>
                      <a:pt x="180" y="279"/>
                    </a:cubicBezTo>
                    <a:cubicBezTo>
                      <a:pt x="180" y="280"/>
                      <a:pt x="181" y="280"/>
                      <a:pt x="181" y="281"/>
                    </a:cubicBezTo>
                    <a:cubicBezTo>
                      <a:pt x="181" y="282"/>
                      <a:pt x="181" y="282"/>
                      <a:pt x="181" y="282"/>
                    </a:cubicBezTo>
                    <a:cubicBezTo>
                      <a:pt x="182" y="282"/>
                      <a:pt x="182" y="282"/>
                      <a:pt x="182" y="282"/>
                    </a:cubicBezTo>
                    <a:cubicBezTo>
                      <a:pt x="183" y="283"/>
                      <a:pt x="183" y="283"/>
                      <a:pt x="183" y="283"/>
                    </a:cubicBezTo>
                    <a:cubicBezTo>
                      <a:pt x="183" y="282"/>
                      <a:pt x="183" y="282"/>
                      <a:pt x="183" y="282"/>
                    </a:cubicBezTo>
                    <a:cubicBezTo>
                      <a:pt x="183" y="282"/>
                      <a:pt x="184" y="282"/>
                      <a:pt x="185" y="282"/>
                    </a:cubicBezTo>
                    <a:cubicBezTo>
                      <a:pt x="185" y="282"/>
                      <a:pt x="186" y="282"/>
                      <a:pt x="187" y="282"/>
                    </a:cubicBezTo>
                    <a:cubicBezTo>
                      <a:pt x="187" y="282"/>
                      <a:pt x="187" y="282"/>
                      <a:pt x="187" y="282"/>
                    </a:cubicBezTo>
                    <a:cubicBezTo>
                      <a:pt x="188" y="282"/>
                      <a:pt x="189" y="282"/>
                      <a:pt x="189" y="282"/>
                    </a:cubicBezTo>
                    <a:cubicBezTo>
                      <a:pt x="236" y="282"/>
                      <a:pt x="236" y="282"/>
                      <a:pt x="236" y="282"/>
                    </a:cubicBezTo>
                    <a:cubicBezTo>
                      <a:pt x="243" y="282"/>
                      <a:pt x="251" y="282"/>
                      <a:pt x="258" y="282"/>
                    </a:cubicBezTo>
                    <a:cubicBezTo>
                      <a:pt x="259" y="282"/>
                      <a:pt x="259" y="282"/>
                      <a:pt x="260" y="282"/>
                    </a:cubicBezTo>
                    <a:cubicBezTo>
                      <a:pt x="261" y="282"/>
                      <a:pt x="261" y="282"/>
                      <a:pt x="261" y="282"/>
                    </a:cubicBezTo>
                    <a:cubicBezTo>
                      <a:pt x="261" y="282"/>
                      <a:pt x="262" y="282"/>
                      <a:pt x="262" y="282"/>
                    </a:cubicBezTo>
                    <a:cubicBezTo>
                      <a:pt x="263" y="282"/>
                      <a:pt x="263" y="282"/>
                      <a:pt x="263" y="282"/>
                    </a:cubicBezTo>
                    <a:cubicBezTo>
                      <a:pt x="264" y="282"/>
                      <a:pt x="265" y="283"/>
                      <a:pt x="265" y="283"/>
                    </a:cubicBezTo>
                    <a:cubicBezTo>
                      <a:pt x="265" y="283"/>
                      <a:pt x="265" y="283"/>
                      <a:pt x="265" y="283"/>
                    </a:cubicBezTo>
                    <a:cubicBezTo>
                      <a:pt x="266" y="283"/>
                      <a:pt x="266" y="283"/>
                      <a:pt x="266" y="283"/>
                    </a:cubicBezTo>
                    <a:cubicBezTo>
                      <a:pt x="266" y="283"/>
                      <a:pt x="266" y="283"/>
                      <a:pt x="266" y="283"/>
                    </a:cubicBezTo>
                    <a:cubicBezTo>
                      <a:pt x="266" y="282"/>
                      <a:pt x="267" y="280"/>
                      <a:pt x="267" y="276"/>
                    </a:cubicBezTo>
                    <a:cubicBezTo>
                      <a:pt x="267" y="275"/>
                      <a:pt x="267" y="274"/>
                      <a:pt x="267" y="273"/>
                    </a:cubicBezTo>
                    <a:cubicBezTo>
                      <a:pt x="268" y="269"/>
                      <a:pt x="268" y="269"/>
                      <a:pt x="268" y="269"/>
                    </a:cubicBezTo>
                    <a:cubicBezTo>
                      <a:pt x="268" y="267"/>
                      <a:pt x="268" y="266"/>
                      <a:pt x="268" y="266"/>
                    </a:cubicBezTo>
                    <a:cubicBezTo>
                      <a:pt x="268" y="266"/>
                      <a:pt x="268" y="266"/>
                      <a:pt x="268" y="266"/>
                    </a:cubicBezTo>
                    <a:cubicBezTo>
                      <a:pt x="267" y="265"/>
                      <a:pt x="267" y="265"/>
                      <a:pt x="267" y="265"/>
                    </a:cubicBezTo>
                    <a:cubicBezTo>
                      <a:pt x="267" y="265"/>
                      <a:pt x="267" y="265"/>
                      <a:pt x="267" y="265"/>
                    </a:cubicBezTo>
                    <a:cubicBezTo>
                      <a:pt x="266" y="264"/>
                      <a:pt x="266" y="264"/>
                      <a:pt x="266" y="264"/>
                    </a:cubicBezTo>
                    <a:cubicBezTo>
                      <a:pt x="265" y="263"/>
                      <a:pt x="265" y="262"/>
                      <a:pt x="265" y="261"/>
                    </a:cubicBezTo>
                    <a:cubicBezTo>
                      <a:pt x="259" y="215"/>
                      <a:pt x="259" y="215"/>
                      <a:pt x="259" y="215"/>
                    </a:cubicBezTo>
                    <a:cubicBezTo>
                      <a:pt x="256" y="190"/>
                      <a:pt x="253" y="166"/>
                      <a:pt x="250" y="142"/>
                    </a:cubicBezTo>
                    <a:cubicBezTo>
                      <a:pt x="248" y="123"/>
                      <a:pt x="246" y="104"/>
                      <a:pt x="243" y="86"/>
                    </a:cubicBezTo>
                    <a:cubicBezTo>
                      <a:pt x="241" y="64"/>
                      <a:pt x="241" y="64"/>
                      <a:pt x="241" y="64"/>
                    </a:cubicBezTo>
                    <a:cubicBezTo>
                      <a:pt x="241" y="60"/>
                      <a:pt x="240" y="56"/>
                      <a:pt x="240" y="52"/>
                    </a:cubicBezTo>
                    <a:cubicBezTo>
                      <a:pt x="239" y="49"/>
                      <a:pt x="239" y="49"/>
                      <a:pt x="239" y="49"/>
                    </a:cubicBezTo>
                    <a:cubicBezTo>
                      <a:pt x="273" y="49"/>
                      <a:pt x="273" y="49"/>
                      <a:pt x="273" y="49"/>
                    </a:cubicBezTo>
                    <a:cubicBezTo>
                      <a:pt x="268" y="46"/>
                      <a:pt x="264" y="43"/>
                      <a:pt x="259" y="39"/>
                    </a:cubicBezTo>
                    <a:cubicBezTo>
                      <a:pt x="258" y="39"/>
                      <a:pt x="257" y="38"/>
                      <a:pt x="256" y="37"/>
                    </a:cubicBezTo>
                    <a:cubicBezTo>
                      <a:pt x="250" y="34"/>
                      <a:pt x="244" y="30"/>
                      <a:pt x="238" y="26"/>
                    </a:cubicBezTo>
                    <a:cubicBezTo>
                      <a:pt x="238" y="26"/>
                      <a:pt x="237" y="25"/>
                      <a:pt x="236" y="25"/>
                    </a:cubicBezTo>
                    <a:cubicBezTo>
                      <a:pt x="230" y="21"/>
                      <a:pt x="224" y="17"/>
                      <a:pt x="217" y="13"/>
                    </a:cubicBezTo>
                    <a:cubicBezTo>
                      <a:pt x="217" y="12"/>
                      <a:pt x="217" y="12"/>
                      <a:pt x="217" y="12"/>
                    </a:cubicBezTo>
                    <a:cubicBezTo>
                      <a:pt x="210" y="8"/>
                      <a:pt x="203" y="4"/>
                      <a:pt x="1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201"/>
              <p:cNvSpPr/>
              <p:nvPr/>
            </p:nvSpPr>
            <p:spPr bwMode="auto">
              <a:xfrm>
                <a:off x="2824" y="2145"/>
                <a:ext cx="7" cy="7"/>
              </a:xfrm>
              <a:custGeom>
                <a:gdLst>
                  <a:gd name="T0" fmla="*/ 1 w 3"/>
                  <a:gd name="T1" fmla="*/ 0 h 3"/>
                  <a:gd name="T2" fmla="*/ 2 w 3"/>
                  <a:gd name="T3" fmla="*/ 3 h 3"/>
                  <a:gd name="T4" fmla="*/ 3 w 3"/>
                  <a:gd name="T5" fmla="*/ 1 h 3"/>
                  <a:gd name="T6" fmla="*/ 1 w 3"/>
                  <a:gd name="T7" fmla="*/ 0 h 3"/>
                </a:gdLst>
                <a:cxnLst>
                  <a:cxn ang="0">
                    <a:pos x="T0" y="T1"/>
                  </a:cxn>
                  <a:cxn ang="0">
                    <a:pos x="T2" y="T3"/>
                  </a:cxn>
                  <a:cxn ang="0">
                    <a:pos x="T4" y="T5"/>
                  </a:cxn>
                  <a:cxn ang="0">
                    <a:pos x="T6" y="T7"/>
                  </a:cxn>
                </a:cxnLst>
                <a:rect l="0" t="0" r="r" b="b"/>
                <a:pathLst>
                  <a:path w="3" h="3">
                    <a:moveTo>
                      <a:pt x="1" y="0"/>
                    </a:moveTo>
                    <a:cubicBezTo>
                      <a:pt x="0" y="1"/>
                      <a:pt x="0" y="2"/>
                      <a:pt x="2" y="3"/>
                    </a:cubicBezTo>
                    <a:cubicBezTo>
                      <a:pt x="2" y="2"/>
                      <a:pt x="2" y="1"/>
                      <a:pt x="3"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Rectangle 202"/>
              <p:cNvSpPr>
                <a:spLocks noChangeArrowheads="1"/>
              </p:cNvSpPr>
              <p:nvPr/>
            </p:nvSpPr>
            <p:spPr bwMode="auto">
              <a:xfrm>
                <a:off x="3089" y="227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203"/>
              <p:cNvSpPr/>
              <p:nvPr/>
            </p:nvSpPr>
            <p:spPr bwMode="auto">
              <a:xfrm flipH="1">
                <a:off x="3089" y="227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204"/>
              <p:cNvSpPr>
                <a:spLocks noEditPoints="1"/>
              </p:cNvSpPr>
              <p:nvPr/>
            </p:nvSpPr>
            <p:spPr bwMode="auto">
              <a:xfrm>
                <a:off x="2836" y="2051"/>
                <a:ext cx="388" cy="295"/>
              </a:xfrm>
              <a:custGeom>
                <a:gdLst>
                  <a:gd name="T0" fmla="*/ 3 w 164"/>
                  <a:gd name="T1" fmla="*/ 37 h 125"/>
                  <a:gd name="T2" fmla="*/ 29 w 164"/>
                  <a:gd name="T3" fmla="*/ 9 h 125"/>
                  <a:gd name="T4" fmla="*/ 29 w 164"/>
                  <a:gd name="T5" fmla="*/ 20 h 125"/>
                  <a:gd name="T6" fmla="*/ 25 w 164"/>
                  <a:gd name="T7" fmla="*/ 24 h 125"/>
                  <a:gd name="T8" fmla="*/ 10 w 164"/>
                  <a:gd name="T9" fmla="*/ 27 h 125"/>
                  <a:gd name="T10" fmla="*/ 3 w 164"/>
                  <a:gd name="T11" fmla="*/ 38 h 125"/>
                  <a:gd name="T12" fmla="*/ 8 w 164"/>
                  <a:gd name="T13" fmla="*/ 40 h 125"/>
                  <a:gd name="T14" fmla="*/ 13 w 164"/>
                  <a:gd name="T15" fmla="*/ 58 h 125"/>
                  <a:gd name="T16" fmla="*/ 27 w 164"/>
                  <a:gd name="T17" fmla="*/ 63 h 125"/>
                  <a:gd name="T18" fmla="*/ 35 w 164"/>
                  <a:gd name="T19" fmla="*/ 80 h 125"/>
                  <a:gd name="T20" fmla="*/ 39 w 164"/>
                  <a:gd name="T21" fmla="*/ 78 h 125"/>
                  <a:gd name="T22" fmla="*/ 45 w 164"/>
                  <a:gd name="T23" fmla="*/ 77 h 125"/>
                  <a:gd name="T24" fmla="*/ 49 w 164"/>
                  <a:gd name="T25" fmla="*/ 70 h 125"/>
                  <a:gd name="T26" fmla="*/ 60 w 164"/>
                  <a:gd name="T27" fmla="*/ 61 h 125"/>
                  <a:gd name="T28" fmla="*/ 72 w 164"/>
                  <a:gd name="T29" fmla="*/ 60 h 125"/>
                  <a:gd name="T30" fmla="*/ 89 w 164"/>
                  <a:gd name="T31" fmla="*/ 61 h 125"/>
                  <a:gd name="T32" fmla="*/ 99 w 164"/>
                  <a:gd name="T33" fmla="*/ 81 h 125"/>
                  <a:gd name="T34" fmla="*/ 104 w 164"/>
                  <a:gd name="T35" fmla="*/ 87 h 125"/>
                  <a:gd name="T36" fmla="*/ 107 w 164"/>
                  <a:gd name="T37" fmla="*/ 94 h 125"/>
                  <a:gd name="T38" fmla="*/ 109 w 164"/>
                  <a:gd name="T39" fmla="*/ 94 h 125"/>
                  <a:gd name="T40" fmla="*/ 114 w 164"/>
                  <a:gd name="T41" fmla="*/ 94 h 125"/>
                  <a:gd name="T42" fmla="*/ 122 w 164"/>
                  <a:gd name="T43" fmla="*/ 94 h 125"/>
                  <a:gd name="T44" fmla="*/ 127 w 164"/>
                  <a:gd name="T45" fmla="*/ 99 h 125"/>
                  <a:gd name="T46" fmla="*/ 131 w 164"/>
                  <a:gd name="T47" fmla="*/ 120 h 125"/>
                  <a:gd name="T48" fmla="*/ 139 w 164"/>
                  <a:gd name="T49" fmla="*/ 123 h 125"/>
                  <a:gd name="T50" fmla="*/ 150 w 164"/>
                  <a:gd name="T51" fmla="*/ 114 h 125"/>
                  <a:gd name="T52" fmla="*/ 157 w 164"/>
                  <a:gd name="T53" fmla="*/ 107 h 125"/>
                  <a:gd name="T54" fmla="*/ 154 w 164"/>
                  <a:gd name="T55" fmla="*/ 96 h 125"/>
                  <a:gd name="T56" fmla="*/ 157 w 164"/>
                  <a:gd name="T57" fmla="*/ 94 h 125"/>
                  <a:gd name="T58" fmla="*/ 162 w 164"/>
                  <a:gd name="T59" fmla="*/ 95 h 125"/>
                  <a:gd name="T60" fmla="*/ 164 w 164"/>
                  <a:gd name="T61" fmla="*/ 94 h 125"/>
                  <a:gd name="T62" fmla="*/ 164 w 164"/>
                  <a:gd name="T63" fmla="*/ 83 h 125"/>
                  <a:gd name="T64" fmla="*/ 159 w 164"/>
                  <a:gd name="T65" fmla="*/ 78 h 125"/>
                  <a:gd name="T66" fmla="*/ 155 w 164"/>
                  <a:gd name="T67" fmla="*/ 68 h 125"/>
                  <a:gd name="T68" fmla="*/ 157 w 164"/>
                  <a:gd name="T69" fmla="*/ 57 h 125"/>
                  <a:gd name="T70" fmla="*/ 153 w 164"/>
                  <a:gd name="T71" fmla="*/ 52 h 125"/>
                  <a:gd name="T72" fmla="*/ 152 w 164"/>
                  <a:gd name="T73" fmla="*/ 44 h 125"/>
                  <a:gd name="T74" fmla="*/ 140 w 164"/>
                  <a:gd name="T75" fmla="*/ 43 h 125"/>
                  <a:gd name="T76" fmla="*/ 143 w 164"/>
                  <a:gd name="T77" fmla="*/ 24 h 125"/>
                  <a:gd name="T78" fmla="*/ 140 w 164"/>
                  <a:gd name="T79" fmla="*/ 23 h 125"/>
                  <a:gd name="T80" fmla="*/ 139 w 164"/>
                  <a:gd name="T81" fmla="*/ 17 h 125"/>
                  <a:gd name="T82" fmla="*/ 135 w 164"/>
                  <a:gd name="T83" fmla="*/ 17 h 125"/>
                  <a:gd name="T84" fmla="*/ 126 w 164"/>
                  <a:gd name="T85" fmla="*/ 12 h 125"/>
                  <a:gd name="T86" fmla="*/ 114 w 164"/>
                  <a:gd name="T87" fmla="*/ 13 h 125"/>
                  <a:gd name="T88" fmla="*/ 102 w 164"/>
                  <a:gd name="T89" fmla="*/ 16 h 125"/>
                  <a:gd name="T90" fmla="*/ 92 w 164"/>
                  <a:gd name="T91" fmla="*/ 12 h 125"/>
                  <a:gd name="T92" fmla="*/ 88 w 164"/>
                  <a:gd name="T93" fmla="*/ 15 h 125"/>
                  <a:gd name="T94" fmla="*/ 82 w 164"/>
                  <a:gd name="T95" fmla="*/ 16 h 125"/>
                  <a:gd name="T96" fmla="*/ 76 w 164"/>
                  <a:gd name="T97" fmla="*/ 10 h 125"/>
                  <a:gd name="T98" fmla="*/ 69 w 164"/>
                  <a:gd name="T99" fmla="*/ 7 h 125"/>
                  <a:gd name="T100" fmla="*/ 41 w 164"/>
                  <a:gd name="T101" fmla="*/ 4 h 125"/>
                  <a:gd name="T102" fmla="*/ 32 w 164"/>
                  <a:gd name="T103" fmla="*/ 0 h 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4" h="125">
                    <a:moveTo>
                      <a:pt x="3" y="38"/>
                    </a:moveTo>
                    <a:cubicBezTo>
                      <a:pt x="3" y="37"/>
                      <a:pt x="3" y="37"/>
                      <a:pt x="3" y="37"/>
                    </a:cubicBezTo>
                    <a:cubicBezTo>
                      <a:pt x="3" y="38"/>
                      <a:pt x="3" y="38"/>
                      <a:pt x="3" y="38"/>
                    </a:cubicBezTo>
                    <a:moveTo>
                      <a:pt x="3" y="37"/>
                    </a:moveTo>
                    <a:cubicBezTo>
                      <a:pt x="3" y="37"/>
                      <a:pt x="3" y="37"/>
                      <a:pt x="3" y="37"/>
                    </a:cubicBezTo>
                    <a:cubicBezTo>
                      <a:pt x="3" y="37"/>
                      <a:pt x="3" y="37"/>
                      <a:pt x="3" y="37"/>
                    </a:cubicBezTo>
                    <a:moveTo>
                      <a:pt x="30" y="0"/>
                    </a:moveTo>
                    <a:cubicBezTo>
                      <a:pt x="30" y="1"/>
                      <a:pt x="30" y="1"/>
                      <a:pt x="30" y="1"/>
                    </a:cubicBezTo>
                    <a:cubicBezTo>
                      <a:pt x="30" y="3"/>
                      <a:pt x="30" y="5"/>
                      <a:pt x="30" y="6"/>
                    </a:cubicBezTo>
                    <a:cubicBezTo>
                      <a:pt x="30" y="7"/>
                      <a:pt x="29" y="8"/>
                      <a:pt x="29" y="9"/>
                    </a:cubicBezTo>
                    <a:cubicBezTo>
                      <a:pt x="28" y="10"/>
                      <a:pt x="28" y="10"/>
                      <a:pt x="28" y="10"/>
                    </a:cubicBezTo>
                    <a:cubicBezTo>
                      <a:pt x="26" y="10"/>
                      <a:pt x="26" y="10"/>
                      <a:pt x="26" y="10"/>
                    </a:cubicBezTo>
                    <a:cubicBezTo>
                      <a:pt x="27" y="11"/>
                      <a:pt x="27" y="11"/>
                      <a:pt x="27" y="12"/>
                    </a:cubicBezTo>
                    <a:cubicBezTo>
                      <a:pt x="28" y="13"/>
                      <a:pt x="29" y="17"/>
                      <a:pt x="29" y="20"/>
                    </a:cubicBezTo>
                    <a:cubicBezTo>
                      <a:pt x="29" y="20"/>
                      <a:pt x="29" y="20"/>
                      <a:pt x="29" y="20"/>
                    </a:cubicBezTo>
                    <a:cubicBezTo>
                      <a:pt x="29" y="21"/>
                      <a:pt x="29" y="21"/>
                      <a:pt x="29" y="21"/>
                    </a:cubicBezTo>
                    <a:cubicBezTo>
                      <a:pt x="29" y="21"/>
                      <a:pt x="28" y="22"/>
                      <a:pt x="27" y="23"/>
                    </a:cubicBezTo>
                    <a:cubicBezTo>
                      <a:pt x="27" y="24"/>
                      <a:pt x="27" y="24"/>
                      <a:pt x="27" y="24"/>
                    </a:cubicBezTo>
                    <a:cubicBezTo>
                      <a:pt x="26" y="24"/>
                      <a:pt x="26" y="24"/>
                      <a:pt x="25" y="24"/>
                    </a:cubicBezTo>
                    <a:cubicBezTo>
                      <a:pt x="25" y="24"/>
                      <a:pt x="25" y="24"/>
                      <a:pt x="25" y="24"/>
                    </a:cubicBezTo>
                    <a:cubicBezTo>
                      <a:pt x="24" y="24"/>
                      <a:pt x="24" y="24"/>
                      <a:pt x="24" y="24"/>
                    </a:cubicBezTo>
                    <a:cubicBezTo>
                      <a:pt x="23" y="24"/>
                      <a:pt x="23" y="24"/>
                      <a:pt x="23" y="24"/>
                    </a:cubicBezTo>
                    <a:cubicBezTo>
                      <a:pt x="20" y="25"/>
                      <a:pt x="17" y="26"/>
                      <a:pt x="14" y="26"/>
                    </a:cubicBezTo>
                    <a:cubicBezTo>
                      <a:pt x="13" y="27"/>
                      <a:pt x="13" y="27"/>
                      <a:pt x="13" y="27"/>
                    </a:cubicBezTo>
                    <a:cubicBezTo>
                      <a:pt x="12" y="27"/>
                      <a:pt x="11" y="27"/>
                      <a:pt x="10" y="27"/>
                    </a:cubicBezTo>
                    <a:cubicBezTo>
                      <a:pt x="10" y="27"/>
                      <a:pt x="9" y="27"/>
                      <a:pt x="8" y="28"/>
                    </a:cubicBezTo>
                    <a:cubicBezTo>
                      <a:pt x="6" y="28"/>
                      <a:pt x="5" y="28"/>
                      <a:pt x="5" y="28"/>
                    </a:cubicBezTo>
                    <a:cubicBezTo>
                      <a:pt x="4" y="29"/>
                      <a:pt x="2" y="33"/>
                      <a:pt x="0" y="36"/>
                    </a:cubicBezTo>
                    <a:cubicBezTo>
                      <a:pt x="0" y="37"/>
                      <a:pt x="0" y="37"/>
                      <a:pt x="0" y="37"/>
                    </a:cubicBezTo>
                    <a:cubicBezTo>
                      <a:pt x="1" y="37"/>
                      <a:pt x="2" y="38"/>
                      <a:pt x="3" y="38"/>
                    </a:cubicBezTo>
                    <a:cubicBezTo>
                      <a:pt x="1" y="39"/>
                      <a:pt x="1" y="39"/>
                      <a:pt x="1" y="41"/>
                    </a:cubicBezTo>
                    <a:cubicBezTo>
                      <a:pt x="1" y="42"/>
                      <a:pt x="1" y="43"/>
                      <a:pt x="2" y="43"/>
                    </a:cubicBezTo>
                    <a:cubicBezTo>
                      <a:pt x="3" y="43"/>
                      <a:pt x="3" y="43"/>
                      <a:pt x="4" y="42"/>
                    </a:cubicBezTo>
                    <a:cubicBezTo>
                      <a:pt x="4" y="43"/>
                      <a:pt x="4" y="45"/>
                      <a:pt x="4" y="46"/>
                    </a:cubicBezTo>
                    <a:cubicBezTo>
                      <a:pt x="5" y="44"/>
                      <a:pt x="7" y="42"/>
                      <a:pt x="8" y="40"/>
                    </a:cubicBezTo>
                    <a:cubicBezTo>
                      <a:pt x="7" y="42"/>
                      <a:pt x="4" y="46"/>
                      <a:pt x="5" y="48"/>
                    </a:cubicBezTo>
                    <a:cubicBezTo>
                      <a:pt x="5" y="49"/>
                      <a:pt x="7" y="49"/>
                      <a:pt x="7" y="50"/>
                    </a:cubicBezTo>
                    <a:cubicBezTo>
                      <a:pt x="8" y="52"/>
                      <a:pt x="8" y="54"/>
                      <a:pt x="9" y="56"/>
                    </a:cubicBezTo>
                    <a:cubicBezTo>
                      <a:pt x="9" y="56"/>
                      <a:pt x="10" y="56"/>
                      <a:pt x="10" y="56"/>
                    </a:cubicBezTo>
                    <a:cubicBezTo>
                      <a:pt x="11" y="56"/>
                      <a:pt x="12" y="57"/>
                      <a:pt x="13" y="58"/>
                    </a:cubicBezTo>
                    <a:cubicBezTo>
                      <a:pt x="14" y="59"/>
                      <a:pt x="16" y="60"/>
                      <a:pt x="17" y="60"/>
                    </a:cubicBezTo>
                    <a:cubicBezTo>
                      <a:pt x="17" y="60"/>
                      <a:pt x="17" y="60"/>
                      <a:pt x="17" y="60"/>
                    </a:cubicBezTo>
                    <a:cubicBezTo>
                      <a:pt x="18" y="60"/>
                      <a:pt x="18" y="58"/>
                      <a:pt x="20" y="57"/>
                    </a:cubicBezTo>
                    <a:cubicBezTo>
                      <a:pt x="19" y="59"/>
                      <a:pt x="22" y="65"/>
                      <a:pt x="25" y="65"/>
                    </a:cubicBezTo>
                    <a:cubicBezTo>
                      <a:pt x="26" y="65"/>
                      <a:pt x="27" y="64"/>
                      <a:pt x="27" y="63"/>
                    </a:cubicBezTo>
                    <a:cubicBezTo>
                      <a:pt x="26" y="66"/>
                      <a:pt x="26" y="67"/>
                      <a:pt x="27" y="67"/>
                    </a:cubicBezTo>
                    <a:cubicBezTo>
                      <a:pt x="28" y="67"/>
                      <a:pt x="29" y="67"/>
                      <a:pt x="30" y="67"/>
                    </a:cubicBezTo>
                    <a:cubicBezTo>
                      <a:pt x="29" y="69"/>
                      <a:pt x="27" y="71"/>
                      <a:pt x="27" y="73"/>
                    </a:cubicBezTo>
                    <a:cubicBezTo>
                      <a:pt x="29" y="72"/>
                      <a:pt x="30" y="73"/>
                      <a:pt x="32" y="72"/>
                    </a:cubicBezTo>
                    <a:cubicBezTo>
                      <a:pt x="32" y="73"/>
                      <a:pt x="33" y="78"/>
                      <a:pt x="35" y="80"/>
                    </a:cubicBezTo>
                    <a:cubicBezTo>
                      <a:pt x="36" y="80"/>
                      <a:pt x="36" y="80"/>
                      <a:pt x="36" y="80"/>
                    </a:cubicBezTo>
                    <a:cubicBezTo>
                      <a:pt x="36" y="79"/>
                      <a:pt x="36" y="79"/>
                      <a:pt x="37" y="79"/>
                    </a:cubicBezTo>
                    <a:cubicBezTo>
                      <a:pt x="37" y="78"/>
                      <a:pt x="38" y="78"/>
                      <a:pt x="38" y="78"/>
                    </a:cubicBezTo>
                    <a:cubicBezTo>
                      <a:pt x="38" y="78"/>
                      <a:pt x="38" y="78"/>
                      <a:pt x="38" y="78"/>
                    </a:cubicBezTo>
                    <a:cubicBezTo>
                      <a:pt x="39" y="78"/>
                      <a:pt x="39" y="78"/>
                      <a:pt x="39" y="78"/>
                    </a:cubicBezTo>
                    <a:cubicBezTo>
                      <a:pt x="39" y="78"/>
                      <a:pt x="39" y="78"/>
                      <a:pt x="39" y="78"/>
                    </a:cubicBezTo>
                    <a:cubicBezTo>
                      <a:pt x="40" y="78"/>
                      <a:pt x="40" y="78"/>
                      <a:pt x="40" y="78"/>
                    </a:cubicBezTo>
                    <a:cubicBezTo>
                      <a:pt x="43" y="78"/>
                      <a:pt x="43" y="78"/>
                      <a:pt x="43" y="78"/>
                    </a:cubicBezTo>
                    <a:cubicBezTo>
                      <a:pt x="43" y="78"/>
                      <a:pt x="44" y="78"/>
                      <a:pt x="44" y="77"/>
                    </a:cubicBezTo>
                    <a:cubicBezTo>
                      <a:pt x="45" y="77"/>
                      <a:pt x="45" y="77"/>
                      <a:pt x="45" y="77"/>
                    </a:cubicBezTo>
                    <a:cubicBezTo>
                      <a:pt x="45" y="76"/>
                      <a:pt x="45" y="76"/>
                      <a:pt x="45" y="76"/>
                    </a:cubicBezTo>
                    <a:cubicBezTo>
                      <a:pt x="46" y="75"/>
                      <a:pt x="46" y="75"/>
                      <a:pt x="47" y="74"/>
                    </a:cubicBezTo>
                    <a:cubicBezTo>
                      <a:pt x="47" y="73"/>
                      <a:pt x="47" y="73"/>
                      <a:pt x="47" y="73"/>
                    </a:cubicBezTo>
                    <a:cubicBezTo>
                      <a:pt x="48" y="72"/>
                      <a:pt x="48" y="72"/>
                      <a:pt x="48" y="72"/>
                    </a:cubicBezTo>
                    <a:cubicBezTo>
                      <a:pt x="49" y="72"/>
                      <a:pt x="49" y="71"/>
                      <a:pt x="49" y="70"/>
                    </a:cubicBezTo>
                    <a:cubicBezTo>
                      <a:pt x="50" y="70"/>
                      <a:pt x="50" y="70"/>
                      <a:pt x="50" y="70"/>
                    </a:cubicBezTo>
                    <a:cubicBezTo>
                      <a:pt x="50" y="69"/>
                      <a:pt x="50" y="69"/>
                      <a:pt x="50" y="69"/>
                    </a:cubicBezTo>
                    <a:cubicBezTo>
                      <a:pt x="50" y="69"/>
                      <a:pt x="50" y="69"/>
                      <a:pt x="50" y="69"/>
                    </a:cubicBezTo>
                    <a:cubicBezTo>
                      <a:pt x="51" y="68"/>
                      <a:pt x="52" y="67"/>
                      <a:pt x="52" y="66"/>
                    </a:cubicBezTo>
                    <a:cubicBezTo>
                      <a:pt x="54" y="62"/>
                      <a:pt x="55" y="61"/>
                      <a:pt x="60" y="61"/>
                    </a:cubicBezTo>
                    <a:cubicBezTo>
                      <a:pt x="61" y="61"/>
                      <a:pt x="61" y="61"/>
                      <a:pt x="61" y="61"/>
                    </a:cubicBezTo>
                    <a:cubicBezTo>
                      <a:pt x="62" y="61"/>
                      <a:pt x="62" y="61"/>
                      <a:pt x="62" y="61"/>
                    </a:cubicBezTo>
                    <a:cubicBezTo>
                      <a:pt x="63" y="61"/>
                      <a:pt x="63" y="61"/>
                      <a:pt x="63" y="61"/>
                    </a:cubicBezTo>
                    <a:cubicBezTo>
                      <a:pt x="63" y="61"/>
                      <a:pt x="64" y="61"/>
                      <a:pt x="64" y="61"/>
                    </a:cubicBezTo>
                    <a:cubicBezTo>
                      <a:pt x="67" y="61"/>
                      <a:pt x="70" y="61"/>
                      <a:pt x="72" y="60"/>
                    </a:cubicBezTo>
                    <a:cubicBezTo>
                      <a:pt x="75" y="59"/>
                      <a:pt x="79" y="59"/>
                      <a:pt x="82" y="59"/>
                    </a:cubicBezTo>
                    <a:cubicBezTo>
                      <a:pt x="83" y="59"/>
                      <a:pt x="83" y="59"/>
                      <a:pt x="83" y="59"/>
                    </a:cubicBezTo>
                    <a:cubicBezTo>
                      <a:pt x="83" y="59"/>
                      <a:pt x="83" y="59"/>
                      <a:pt x="84" y="59"/>
                    </a:cubicBezTo>
                    <a:cubicBezTo>
                      <a:pt x="84" y="59"/>
                      <a:pt x="85" y="59"/>
                      <a:pt x="86" y="59"/>
                    </a:cubicBezTo>
                    <a:cubicBezTo>
                      <a:pt x="87" y="59"/>
                      <a:pt x="88" y="60"/>
                      <a:pt x="89" y="61"/>
                    </a:cubicBezTo>
                    <a:cubicBezTo>
                      <a:pt x="90" y="64"/>
                      <a:pt x="92" y="67"/>
                      <a:pt x="93" y="69"/>
                    </a:cubicBezTo>
                    <a:cubicBezTo>
                      <a:pt x="93" y="70"/>
                      <a:pt x="94" y="71"/>
                      <a:pt x="94" y="72"/>
                    </a:cubicBezTo>
                    <a:cubicBezTo>
                      <a:pt x="95" y="72"/>
                      <a:pt x="95" y="72"/>
                      <a:pt x="95" y="72"/>
                    </a:cubicBezTo>
                    <a:cubicBezTo>
                      <a:pt x="96" y="75"/>
                      <a:pt x="97" y="78"/>
                      <a:pt x="98" y="80"/>
                    </a:cubicBezTo>
                    <a:cubicBezTo>
                      <a:pt x="99" y="81"/>
                      <a:pt x="99" y="81"/>
                      <a:pt x="99" y="81"/>
                    </a:cubicBezTo>
                    <a:cubicBezTo>
                      <a:pt x="100" y="81"/>
                      <a:pt x="102" y="82"/>
                      <a:pt x="103" y="83"/>
                    </a:cubicBezTo>
                    <a:cubicBezTo>
                      <a:pt x="103" y="84"/>
                      <a:pt x="103" y="84"/>
                      <a:pt x="103" y="84"/>
                    </a:cubicBezTo>
                    <a:cubicBezTo>
                      <a:pt x="103" y="84"/>
                      <a:pt x="103" y="84"/>
                      <a:pt x="103" y="84"/>
                    </a:cubicBezTo>
                    <a:cubicBezTo>
                      <a:pt x="103" y="85"/>
                      <a:pt x="103" y="85"/>
                      <a:pt x="104" y="86"/>
                    </a:cubicBezTo>
                    <a:cubicBezTo>
                      <a:pt x="104" y="87"/>
                      <a:pt x="104" y="87"/>
                      <a:pt x="104" y="87"/>
                    </a:cubicBezTo>
                    <a:cubicBezTo>
                      <a:pt x="104" y="87"/>
                      <a:pt x="104" y="87"/>
                      <a:pt x="104" y="87"/>
                    </a:cubicBezTo>
                    <a:cubicBezTo>
                      <a:pt x="105" y="89"/>
                      <a:pt x="105" y="89"/>
                      <a:pt x="105" y="89"/>
                    </a:cubicBezTo>
                    <a:cubicBezTo>
                      <a:pt x="105" y="91"/>
                      <a:pt x="106" y="93"/>
                      <a:pt x="105" y="95"/>
                    </a:cubicBezTo>
                    <a:cubicBezTo>
                      <a:pt x="105" y="95"/>
                      <a:pt x="105" y="95"/>
                      <a:pt x="105" y="95"/>
                    </a:cubicBezTo>
                    <a:cubicBezTo>
                      <a:pt x="106" y="95"/>
                      <a:pt x="106" y="94"/>
                      <a:pt x="107" y="94"/>
                    </a:cubicBezTo>
                    <a:cubicBezTo>
                      <a:pt x="108" y="94"/>
                      <a:pt x="108" y="94"/>
                      <a:pt x="108" y="94"/>
                    </a:cubicBezTo>
                    <a:cubicBezTo>
                      <a:pt x="108" y="94"/>
                      <a:pt x="108" y="94"/>
                      <a:pt x="108" y="94"/>
                    </a:cubicBezTo>
                    <a:cubicBezTo>
                      <a:pt x="108" y="94"/>
                      <a:pt x="108" y="94"/>
                      <a:pt x="108" y="94"/>
                    </a:cubicBezTo>
                    <a:cubicBezTo>
                      <a:pt x="108" y="94"/>
                      <a:pt x="108" y="94"/>
                      <a:pt x="108" y="94"/>
                    </a:cubicBezTo>
                    <a:cubicBezTo>
                      <a:pt x="109" y="94"/>
                      <a:pt x="109" y="94"/>
                      <a:pt x="109" y="94"/>
                    </a:cubicBezTo>
                    <a:cubicBezTo>
                      <a:pt x="110" y="94"/>
                      <a:pt x="110" y="94"/>
                      <a:pt x="110" y="94"/>
                    </a:cubicBezTo>
                    <a:cubicBezTo>
                      <a:pt x="110" y="94"/>
                      <a:pt x="110" y="94"/>
                      <a:pt x="110" y="94"/>
                    </a:cubicBezTo>
                    <a:cubicBezTo>
                      <a:pt x="111" y="94"/>
                      <a:pt x="111" y="94"/>
                      <a:pt x="111" y="94"/>
                    </a:cubicBezTo>
                    <a:cubicBezTo>
                      <a:pt x="112" y="94"/>
                      <a:pt x="113" y="94"/>
                      <a:pt x="113" y="94"/>
                    </a:cubicBezTo>
                    <a:cubicBezTo>
                      <a:pt x="114" y="94"/>
                      <a:pt x="114" y="94"/>
                      <a:pt x="114" y="94"/>
                    </a:cubicBezTo>
                    <a:cubicBezTo>
                      <a:pt x="114" y="94"/>
                      <a:pt x="114" y="94"/>
                      <a:pt x="114" y="94"/>
                    </a:cubicBezTo>
                    <a:cubicBezTo>
                      <a:pt x="117" y="94"/>
                      <a:pt x="117" y="94"/>
                      <a:pt x="117" y="94"/>
                    </a:cubicBezTo>
                    <a:cubicBezTo>
                      <a:pt x="118" y="94"/>
                      <a:pt x="118" y="94"/>
                      <a:pt x="118" y="94"/>
                    </a:cubicBezTo>
                    <a:cubicBezTo>
                      <a:pt x="118" y="93"/>
                      <a:pt x="119" y="93"/>
                      <a:pt x="120" y="93"/>
                    </a:cubicBezTo>
                    <a:cubicBezTo>
                      <a:pt x="121" y="93"/>
                      <a:pt x="122" y="94"/>
                      <a:pt x="122" y="94"/>
                    </a:cubicBezTo>
                    <a:cubicBezTo>
                      <a:pt x="123" y="95"/>
                      <a:pt x="123" y="95"/>
                      <a:pt x="123" y="95"/>
                    </a:cubicBezTo>
                    <a:cubicBezTo>
                      <a:pt x="123" y="95"/>
                      <a:pt x="123" y="95"/>
                      <a:pt x="123" y="95"/>
                    </a:cubicBezTo>
                    <a:cubicBezTo>
                      <a:pt x="124" y="96"/>
                      <a:pt x="124" y="96"/>
                      <a:pt x="124" y="96"/>
                    </a:cubicBezTo>
                    <a:cubicBezTo>
                      <a:pt x="125" y="96"/>
                      <a:pt x="126" y="97"/>
                      <a:pt x="126" y="98"/>
                    </a:cubicBezTo>
                    <a:cubicBezTo>
                      <a:pt x="127" y="98"/>
                      <a:pt x="127" y="98"/>
                      <a:pt x="127" y="99"/>
                    </a:cubicBezTo>
                    <a:cubicBezTo>
                      <a:pt x="129" y="101"/>
                      <a:pt x="130" y="103"/>
                      <a:pt x="130" y="106"/>
                    </a:cubicBezTo>
                    <a:cubicBezTo>
                      <a:pt x="130" y="106"/>
                      <a:pt x="130" y="107"/>
                      <a:pt x="131" y="107"/>
                    </a:cubicBezTo>
                    <a:cubicBezTo>
                      <a:pt x="131" y="108"/>
                      <a:pt x="131" y="108"/>
                      <a:pt x="131" y="108"/>
                    </a:cubicBezTo>
                    <a:cubicBezTo>
                      <a:pt x="132" y="111"/>
                      <a:pt x="133" y="114"/>
                      <a:pt x="132" y="116"/>
                    </a:cubicBezTo>
                    <a:cubicBezTo>
                      <a:pt x="131" y="120"/>
                      <a:pt x="131" y="120"/>
                      <a:pt x="131" y="120"/>
                    </a:cubicBezTo>
                    <a:cubicBezTo>
                      <a:pt x="131" y="120"/>
                      <a:pt x="132" y="120"/>
                      <a:pt x="133" y="120"/>
                    </a:cubicBezTo>
                    <a:cubicBezTo>
                      <a:pt x="134" y="121"/>
                      <a:pt x="135" y="123"/>
                      <a:pt x="136" y="124"/>
                    </a:cubicBezTo>
                    <a:cubicBezTo>
                      <a:pt x="136" y="125"/>
                      <a:pt x="136" y="125"/>
                      <a:pt x="136" y="125"/>
                    </a:cubicBezTo>
                    <a:cubicBezTo>
                      <a:pt x="137" y="124"/>
                      <a:pt x="139" y="124"/>
                      <a:pt x="139" y="124"/>
                    </a:cubicBezTo>
                    <a:cubicBezTo>
                      <a:pt x="139" y="123"/>
                      <a:pt x="139" y="123"/>
                      <a:pt x="139" y="123"/>
                    </a:cubicBezTo>
                    <a:cubicBezTo>
                      <a:pt x="139" y="123"/>
                      <a:pt x="140" y="123"/>
                      <a:pt x="140" y="122"/>
                    </a:cubicBezTo>
                    <a:cubicBezTo>
                      <a:pt x="141" y="121"/>
                      <a:pt x="141" y="121"/>
                      <a:pt x="141" y="121"/>
                    </a:cubicBezTo>
                    <a:cubicBezTo>
                      <a:pt x="142" y="118"/>
                      <a:pt x="143" y="116"/>
                      <a:pt x="145" y="114"/>
                    </a:cubicBezTo>
                    <a:cubicBezTo>
                      <a:pt x="148" y="112"/>
                      <a:pt x="148" y="112"/>
                      <a:pt x="148" y="112"/>
                    </a:cubicBezTo>
                    <a:cubicBezTo>
                      <a:pt x="150" y="114"/>
                      <a:pt x="150" y="114"/>
                      <a:pt x="150" y="114"/>
                    </a:cubicBezTo>
                    <a:cubicBezTo>
                      <a:pt x="150" y="115"/>
                      <a:pt x="151" y="116"/>
                      <a:pt x="151" y="116"/>
                    </a:cubicBezTo>
                    <a:cubicBezTo>
                      <a:pt x="151" y="116"/>
                      <a:pt x="151" y="116"/>
                      <a:pt x="151" y="116"/>
                    </a:cubicBezTo>
                    <a:cubicBezTo>
                      <a:pt x="152" y="117"/>
                      <a:pt x="154" y="117"/>
                      <a:pt x="155" y="117"/>
                    </a:cubicBezTo>
                    <a:cubicBezTo>
                      <a:pt x="155" y="116"/>
                      <a:pt x="156" y="114"/>
                      <a:pt x="157" y="109"/>
                    </a:cubicBezTo>
                    <a:cubicBezTo>
                      <a:pt x="157" y="107"/>
                      <a:pt x="157" y="107"/>
                      <a:pt x="157" y="107"/>
                    </a:cubicBezTo>
                    <a:cubicBezTo>
                      <a:pt x="157" y="107"/>
                      <a:pt x="156" y="107"/>
                      <a:pt x="156" y="107"/>
                    </a:cubicBezTo>
                    <a:cubicBezTo>
                      <a:pt x="156" y="107"/>
                      <a:pt x="156" y="107"/>
                      <a:pt x="156" y="107"/>
                    </a:cubicBezTo>
                    <a:cubicBezTo>
                      <a:pt x="155" y="106"/>
                      <a:pt x="155" y="106"/>
                      <a:pt x="155" y="106"/>
                    </a:cubicBezTo>
                    <a:cubicBezTo>
                      <a:pt x="153" y="104"/>
                      <a:pt x="152" y="101"/>
                      <a:pt x="153" y="99"/>
                    </a:cubicBezTo>
                    <a:cubicBezTo>
                      <a:pt x="153" y="98"/>
                      <a:pt x="153" y="97"/>
                      <a:pt x="154" y="96"/>
                    </a:cubicBezTo>
                    <a:cubicBezTo>
                      <a:pt x="154" y="96"/>
                      <a:pt x="154" y="96"/>
                      <a:pt x="154" y="96"/>
                    </a:cubicBezTo>
                    <a:cubicBezTo>
                      <a:pt x="155" y="96"/>
                      <a:pt x="155" y="95"/>
                      <a:pt x="155" y="95"/>
                    </a:cubicBezTo>
                    <a:cubicBezTo>
                      <a:pt x="156" y="95"/>
                      <a:pt x="156" y="95"/>
                      <a:pt x="156" y="95"/>
                    </a:cubicBezTo>
                    <a:cubicBezTo>
                      <a:pt x="156" y="95"/>
                      <a:pt x="156" y="95"/>
                      <a:pt x="157" y="94"/>
                    </a:cubicBezTo>
                    <a:cubicBezTo>
                      <a:pt x="157" y="94"/>
                      <a:pt x="157" y="94"/>
                      <a:pt x="157" y="94"/>
                    </a:cubicBezTo>
                    <a:cubicBezTo>
                      <a:pt x="158" y="94"/>
                      <a:pt x="158" y="94"/>
                      <a:pt x="159" y="94"/>
                    </a:cubicBezTo>
                    <a:cubicBezTo>
                      <a:pt x="159" y="94"/>
                      <a:pt x="159" y="94"/>
                      <a:pt x="159" y="94"/>
                    </a:cubicBezTo>
                    <a:cubicBezTo>
                      <a:pt x="160" y="94"/>
                      <a:pt x="160" y="94"/>
                      <a:pt x="161" y="94"/>
                    </a:cubicBezTo>
                    <a:cubicBezTo>
                      <a:pt x="161" y="94"/>
                      <a:pt x="161" y="94"/>
                      <a:pt x="161" y="94"/>
                    </a:cubicBezTo>
                    <a:cubicBezTo>
                      <a:pt x="162" y="95"/>
                      <a:pt x="162" y="95"/>
                      <a:pt x="162" y="95"/>
                    </a:cubicBezTo>
                    <a:cubicBezTo>
                      <a:pt x="162" y="95"/>
                      <a:pt x="162" y="95"/>
                      <a:pt x="162" y="95"/>
                    </a:cubicBezTo>
                    <a:cubicBezTo>
                      <a:pt x="163" y="95"/>
                      <a:pt x="163" y="95"/>
                      <a:pt x="163" y="95"/>
                    </a:cubicBezTo>
                    <a:cubicBezTo>
                      <a:pt x="163" y="95"/>
                      <a:pt x="163" y="95"/>
                      <a:pt x="163" y="95"/>
                    </a:cubicBezTo>
                    <a:cubicBezTo>
                      <a:pt x="164" y="95"/>
                      <a:pt x="164" y="95"/>
                      <a:pt x="164" y="95"/>
                    </a:cubicBezTo>
                    <a:cubicBezTo>
                      <a:pt x="164" y="94"/>
                      <a:pt x="164" y="94"/>
                      <a:pt x="164" y="94"/>
                    </a:cubicBezTo>
                    <a:cubicBezTo>
                      <a:pt x="163" y="94"/>
                      <a:pt x="163" y="94"/>
                      <a:pt x="163" y="94"/>
                    </a:cubicBezTo>
                    <a:cubicBezTo>
                      <a:pt x="162" y="93"/>
                      <a:pt x="162" y="93"/>
                      <a:pt x="162" y="93"/>
                    </a:cubicBezTo>
                    <a:cubicBezTo>
                      <a:pt x="161" y="92"/>
                      <a:pt x="161" y="92"/>
                      <a:pt x="161" y="92"/>
                    </a:cubicBezTo>
                    <a:cubicBezTo>
                      <a:pt x="158" y="89"/>
                      <a:pt x="161" y="86"/>
                      <a:pt x="163" y="84"/>
                    </a:cubicBezTo>
                    <a:cubicBezTo>
                      <a:pt x="163" y="84"/>
                      <a:pt x="163" y="84"/>
                      <a:pt x="164" y="83"/>
                    </a:cubicBezTo>
                    <a:cubicBezTo>
                      <a:pt x="164" y="83"/>
                      <a:pt x="164" y="83"/>
                      <a:pt x="163" y="80"/>
                    </a:cubicBezTo>
                    <a:cubicBezTo>
                      <a:pt x="163" y="80"/>
                      <a:pt x="163" y="80"/>
                      <a:pt x="163" y="80"/>
                    </a:cubicBezTo>
                    <a:cubicBezTo>
                      <a:pt x="163" y="80"/>
                      <a:pt x="163" y="79"/>
                      <a:pt x="162" y="78"/>
                    </a:cubicBezTo>
                    <a:cubicBezTo>
                      <a:pt x="162" y="78"/>
                      <a:pt x="162" y="78"/>
                      <a:pt x="162" y="78"/>
                    </a:cubicBezTo>
                    <a:cubicBezTo>
                      <a:pt x="161" y="78"/>
                      <a:pt x="160" y="78"/>
                      <a:pt x="159" y="78"/>
                    </a:cubicBezTo>
                    <a:cubicBezTo>
                      <a:pt x="159" y="78"/>
                      <a:pt x="159" y="78"/>
                      <a:pt x="159" y="78"/>
                    </a:cubicBezTo>
                    <a:cubicBezTo>
                      <a:pt x="158" y="77"/>
                      <a:pt x="158" y="77"/>
                      <a:pt x="158" y="77"/>
                    </a:cubicBezTo>
                    <a:cubicBezTo>
                      <a:pt x="157" y="77"/>
                      <a:pt x="157" y="76"/>
                      <a:pt x="156" y="75"/>
                    </a:cubicBezTo>
                    <a:cubicBezTo>
                      <a:pt x="156" y="74"/>
                      <a:pt x="155" y="72"/>
                      <a:pt x="155" y="70"/>
                    </a:cubicBezTo>
                    <a:cubicBezTo>
                      <a:pt x="155" y="68"/>
                      <a:pt x="155" y="68"/>
                      <a:pt x="155" y="68"/>
                    </a:cubicBezTo>
                    <a:cubicBezTo>
                      <a:pt x="155" y="66"/>
                      <a:pt x="154" y="63"/>
                      <a:pt x="155" y="61"/>
                    </a:cubicBezTo>
                    <a:cubicBezTo>
                      <a:pt x="156" y="60"/>
                      <a:pt x="156" y="59"/>
                      <a:pt x="157" y="58"/>
                    </a:cubicBezTo>
                    <a:cubicBezTo>
                      <a:pt x="158" y="57"/>
                      <a:pt x="158" y="57"/>
                      <a:pt x="158" y="57"/>
                    </a:cubicBezTo>
                    <a:cubicBezTo>
                      <a:pt x="158" y="57"/>
                      <a:pt x="158" y="57"/>
                      <a:pt x="158" y="57"/>
                    </a:cubicBezTo>
                    <a:cubicBezTo>
                      <a:pt x="157" y="57"/>
                      <a:pt x="157" y="57"/>
                      <a:pt x="157" y="57"/>
                    </a:cubicBezTo>
                    <a:cubicBezTo>
                      <a:pt x="156" y="56"/>
                      <a:pt x="156" y="56"/>
                      <a:pt x="156" y="56"/>
                    </a:cubicBezTo>
                    <a:cubicBezTo>
                      <a:pt x="156" y="55"/>
                      <a:pt x="156" y="55"/>
                      <a:pt x="156" y="55"/>
                    </a:cubicBezTo>
                    <a:cubicBezTo>
                      <a:pt x="155" y="54"/>
                      <a:pt x="155" y="54"/>
                      <a:pt x="155" y="54"/>
                    </a:cubicBezTo>
                    <a:cubicBezTo>
                      <a:pt x="155" y="54"/>
                      <a:pt x="155" y="54"/>
                      <a:pt x="155" y="54"/>
                    </a:cubicBezTo>
                    <a:cubicBezTo>
                      <a:pt x="154" y="53"/>
                      <a:pt x="153" y="53"/>
                      <a:pt x="153" y="52"/>
                    </a:cubicBezTo>
                    <a:cubicBezTo>
                      <a:pt x="153" y="51"/>
                      <a:pt x="152" y="51"/>
                      <a:pt x="152" y="50"/>
                    </a:cubicBezTo>
                    <a:cubicBezTo>
                      <a:pt x="152" y="50"/>
                      <a:pt x="152" y="50"/>
                      <a:pt x="152" y="50"/>
                    </a:cubicBezTo>
                    <a:cubicBezTo>
                      <a:pt x="152" y="50"/>
                      <a:pt x="152" y="49"/>
                      <a:pt x="152" y="49"/>
                    </a:cubicBezTo>
                    <a:cubicBezTo>
                      <a:pt x="152" y="47"/>
                      <a:pt x="152" y="46"/>
                      <a:pt x="152" y="45"/>
                    </a:cubicBezTo>
                    <a:cubicBezTo>
                      <a:pt x="152" y="44"/>
                      <a:pt x="152" y="44"/>
                      <a:pt x="152" y="44"/>
                    </a:cubicBezTo>
                    <a:cubicBezTo>
                      <a:pt x="152" y="43"/>
                      <a:pt x="152" y="41"/>
                      <a:pt x="151" y="40"/>
                    </a:cubicBezTo>
                    <a:cubicBezTo>
                      <a:pt x="151" y="39"/>
                      <a:pt x="151" y="39"/>
                      <a:pt x="151" y="39"/>
                    </a:cubicBezTo>
                    <a:cubicBezTo>
                      <a:pt x="151" y="40"/>
                      <a:pt x="151" y="40"/>
                      <a:pt x="150" y="40"/>
                    </a:cubicBezTo>
                    <a:cubicBezTo>
                      <a:pt x="149" y="41"/>
                      <a:pt x="147" y="41"/>
                      <a:pt x="146" y="41"/>
                    </a:cubicBezTo>
                    <a:cubicBezTo>
                      <a:pt x="140" y="43"/>
                      <a:pt x="140" y="43"/>
                      <a:pt x="140" y="43"/>
                    </a:cubicBezTo>
                    <a:cubicBezTo>
                      <a:pt x="143" y="36"/>
                      <a:pt x="143" y="36"/>
                      <a:pt x="143" y="36"/>
                    </a:cubicBezTo>
                    <a:cubicBezTo>
                      <a:pt x="145" y="33"/>
                      <a:pt x="146" y="31"/>
                      <a:pt x="148" y="30"/>
                    </a:cubicBezTo>
                    <a:cubicBezTo>
                      <a:pt x="148" y="29"/>
                      <a:pt x="148" y="29"/>
                      <a:pt x="148" y="29"/>
                    </a:cubicBezTo>
                    <a:cubicBezTo>
                      <a:pt x="147" y="28"/>
                      <a:pt x="144" y="25"/>
                      <a:pt x="143" y="25"/>
                    </a:cubicBezTo>
                    <a:cubicBezTo>
                      <a:pt x="143" y="24"/>
                      <a:pt x="143" y="24"/>
                      <a:pt x="143" y="24"/>
                    </a:cubicBezTo>
                    <a:cubicBezTo>
                      <a:pt x="142" y="25"/>
                      <a:pt x="142" y="25"/>
                      <a:pt x="142" y="25"/>
                    </a:cubicBezTo>
                    <a:cubicBezTo>
                      <a:pt x="142" y="24"/>
                      <a:pt x="142" y="24"/>
                      <a:pt x="142" y="24"/>
                    </a:cubicBezTo>
                    <a:cubicBezTo>
                      <a:pt x="141" y="24"/>
                      <a:pt x="141" y="24"/>
                      <a:pt x="141" y="24"/>
                    </a:cubicBezTo>
                    <a:cubicBezTo>
                      <a:pt x="141" y="24"/>
                      <a:pt x="141" y="24"/>
                      <a:pt x="141" y="24"/>
                    </a:cubicBezTo>
                    <a:cubicBezTo>
                      <a:pt x="140" y="23"/>
                      <a:pt x="140" y="23"/>
                      <a:pt x="140" y="23"/>
                    </a:cubicBezTo>
                    <a:cubicBezTo>
                      <a:pt x="140" y="23"/>
                      <a:pt x="140" y="23"/>
                      <a:pt x="140" y="23"/>
                    </a:cubicBezTo>
                    <a:cubicBezTo>
                      <a:pt x="139" y="22"/>
                      <a:pt x="139" y="22"/>
                      <a:pt x="139" y="22"/>
                    </a:cubicBezTo>
                    <a:cubicBezTo>
                      <a:pt x="139" y="21"/>
                      <a:pt x="139" y="21"/>
                      <a:pt x="139" y="21"/>
                    </a:cubicBezTo>
                    <a:cubicBezTo>
                      <a:pt x="139" y="20"/>
                      <a:pt x="139" y="18"/>
                      <a:pt x="139" y="17"/>
                    </a:cubicBezTo>
                    <a:cubicBezTo>
                      <a:pt x="139" y="17"/>
                      <a:pt x="139" y="17"/>
                      <a:pt x="139" y="17"/>
                    </a:cubicBezTo>
                    <a:cubicBezTo>
                      <a:pt x="140" y="16"/>
                      <a:pt x="140" y="16"/>
                      <a:pt x="140" y="16"/>
                    </a:cubicBezTo>
                    <a:cubicBezTo>
                      <a:pt x="140" y="16"/>
                      <a:pt x="140" y="16"/>
                      <a:pt x="140" y="16"/>
                    </a:cubicBezTo>
                    <a:cubicBezTo>
                      <a:pt x="139" y="15"/>
                      <a:pt x="139" y="15"/>
                      <a:pt x="139" y="15"/>
                    </a:cubicBezTo>
                    <a:cubicBezTo>
                      <a:pt x="139" y="15"/>
                      <a:pt x="139" y="15"/>
                      <a:pt x="139" y="15"/>
                    </a:cubicBezTo>
                    <a:cubicBezTo>
                      <a:pt x="135" y="17"/>
                      <a:pt x="135" y="17"/>
                      <a:pt x="135" y="17"/>
                    </a:cubicBezTo>
                    <a:cubicBezTo>
                      <a:pt x="139" y="13"/>
                      <a:pt x="139" y="13"/>
                      <a:pt x="139" y="13"/>
                    </a:cubicBezTo>
                    <a:cubicBezTo>
                      <a:pt x="138" y="13"/>
                      <a:pt x="138" y="13"/>
                      <a:pt x="138" y="13"/>
                    </a:cubicBezTo>
                    <a:cubicBezTo>
                      <a:pt x="137" y="10"/>
                      <a:pt x="135" y="7"/>
                      <a:pt x="133" y="6"/>
                    </a:cubicBezTo>
                    <a:cubicBezTo>
                      <a:pt x="133" y="7"/>
                      <a:pt x="133" y="8"/>
                      <a:pt x="132" y="9"/>
                    </a:cubicBezTo>
                    <a:cubicBezTo>
                      <a:pt x="131" y="11"/>
                      <a:pt x="128" y="12"/>
                      <a:pt x="126" y="12"/>
                    </a:cubicBezTo>
                    <a:cubicBezTo>
                      <a:pt x="126" y="12"/>
                      <a:pt x="125" y="13"/>
                      <a:pt x="124" y="13"/>
                    </a:cubicBezTo>
                    <a:cubicBezTo>
                      <a:pt x="124" y="14"/>
                      <a:pt x="123" y="15"/>
                      <a:pt x="122" y="15"/>
                    </a:cubicBezTo>
                    <a:cubicBezTo>
                      <a:pt x="122" y="16"/>
                      <a:pt x="121" y="16"/>
                      <a:pt x="120" y="16"/>
                    </a:cubicBezTo>
                    <a:cubicBezTo>
                      <a:pt x="118" y="16"/>
                      <a:pt x="117" y="15"/>
                      <a:pt x="115" y="14"/>
                    </a:cubicBezTo>
                    <a:cubicBezTo>
                      <a:pt x="115" y="14"/>
                      <a:pt x="114" y="14"/>
                      <a:pt x="114" y="13"/>
                    </a:cubicBezTo>
                    <a:cubicBezTo>
                      <a:pt x="113" y="13"/>
                      <a:pt x="113" y="13"/>
                      <a:pt x="113" y="13"/>
                    </a:cubicBezTo>
                    <a:cubicBezTo>
                      <a:pt x="113" y="13"/>
                      <a:pt x="113" y="13"/>
                      <a:pt x="113" y="13"/>
                    </a:cubicBezTo>
                    <a:cubicBezTo>
                      <a:pt x="112" y="13"/>
                      <a:pt x="112" y="13"/>
                      <a:pt x="112" y="13"/>
                    </a:cubicBezTo>
                    <a:cubicBezTo>
                      <a:pt x="112" y="13"/>
                      <a:pt x="112" y="13"/>
                      <a:pt x="112" y="13"/>
                    </a:cubicBezTo>
                    <a:cubicBezTo>
                      <a:pt x="110" y="13"/>
                      <a:pt x="104" y="15"/>
                      <a:pt x="102" y="16"/>
                    </a:cubicBezTo>
                    <a:cubicBezTo>
                      <a:pt x="102" y="16"/>
                      <a:pt x="101" y="17"/>
                      <a:pt x="101" y="17"/>
                    </a:cubicBezTo>
                    <a:cubicBezTo>
                      <a:pt x="100" y="22"/>
                      <a:pt x="100" y="22"/>
                      <a:pt x="100" y="22"/>
                    </a:cubicBezTo>
                    <a:cubicBezTo>
                      <a:pt x="96" y="18"/>
                      <a:pt x="96" y="18"/>
                      <a:pt x="96" y="18"/>
                    </a:cubicBezTo>
                    <a:cubicBezTo>
                      <a:pt x="96" y="18"/>
                      <a:pt x="95" y="17"/>
                      <a:pt x="95" y="16"/>
                    </a:cubicBezTo>
                    <a:cubicBezTo>
                      <a:pt x="94" y="15"/>
                      <a:pt x="93" y="13"/>
                      <a:pt x="92" y="12"/>
                    </a:cubicBezTo>
                    <a:cubicBezTo>
                      <a:pt x="92" y="12"/>
                      <a:pt x="92" y="12"/>
                      <a:pt x="92" y="12"/>
                    </a:cubicBezTo>
                    <a:cubicBezTo>
                      <a:pt x="92" y="12"/>
                      <a:pt x="92" y="12"/>
                      <a:pt x="91" y="13"/>
                    </a:cubicBezTo>
                    <a:cubicBezTo>
                      <a:pt x="90" y="14"/>
                      <a:pt x="90" y="14"/>
                      <a:pt x="90" y="14"/>
                    </a:cubicBezTo>
                    <a:cubicBezTo>
                      <a:pt x="89" y="14"/>
                      <a:pt x="89" y="15"/>
                      <a:pt x="88" y="15"/>
                    </a:cubicBezTo>
                    <a:cubicBezTo>
                      <a:pt x="88" y="15"/>
                      <a:pt x="88" y="15"/>
                      <a:pt x="88" y="15"/>
                    </a:cubicBezTo>
                    <a:cubicBezTo>
                      <a:pt x="87" y="16"/>
                      <a:pt x="87" y="16"/>
                      <a:pt x="86" y="16"/>
                    </a:cubicBezTo>
                    <a:cubicBezTo>
                      <a:pt x="86" y="16"/>
                      <a:pt x="86" y="16"/>
                      <a:pt x="86" y="16"/>
                    </a:cubicBezTo>
                    <a:cubicBezTo>
                      <a:pt x="85" y="17"/>
                      <a:pt x="85" y="17"/>
                      <a:pt x="85" y="17"/>
                    </a:cubicBezTo>
                    <a:cubicBezTo>
                      <a:pt x="84" y="17"/>
                      <a:pt x="84" y="17"/>
                      <a:pt x="84" y="17"/>
                    </a:cubicBezTo>
                    <a:cubicBezTo>
                      <a:pt x="82" y="16"/>
                      <a:pt x="82" y="16"/>
                      <a:pt x="82" y="16"/>
                    </a:cubicBezTo>
                    <a:cubicBezTo>
                      <a:pt x="82" y="16"/>
                      <a:pt x="82" y="15"/>
                      <a:pt x="81" y="15"/>
                    </a:cubicBezTo>
                    <a:cubicBezTo>
                      <a:pt x="80" y="14"/>
                      <a:pt x="80" y="14"/>
                      <a:pt x="80" y="14"/>
                    </a:cubicBezTo>
                    <a:cubicBezTo>
                      <a:pt x="78" y="12"/>
                      <a:pt x="78" y="12"/>
                      <a:pt x="78" y="12"/>
                    </a:cubicBezTo>
                    <a:cubicBezTo>
                      <a:pt x="77" y="11"/>
                      <a:pt x="77" y="11"/>
                      <a:pt x="77" y="11"/>
                    </a:cubicBezTo>
                    <a:cubicBezTo>
                      <a:pt x="77" y="11"/>
                      <a:pt x="76" y="10"/>
                      <a:pt x="76" y="10"/>
                    </a:cubicBezTo>
                    <a:cubicBezTo>
                      <a:pt x="76" y="9"/>
                      <a:pt x="76" y="9"/>
                      <a:pt x="76" y="9"/>
                    </a:cubicBezTo>
                    <a:cubicBezTo>
                      <a:pt x="76" y="9"/>
                      <a:pt x="76" y="8"/>
                      <a:pt x="76" y="8"/>
                    </a:cubicBezTo>
                    <a:cubicBezTo>
                      <a:pt x="76" y="7"/>
                      <a:pt x="76" y="7"/>
                      <a:pt x="76" y="7"/>
                    </a:cubicBezTo>
                    <a:cubicBezTo>
                      <a:pt x="76" y="7"/>
                      <a:pt x="76" y="7"/>
                      <a:pt x="76" y="7"/>
                    </a:cubicBezTo>
                    <a:cubicBezTo>
                      <a:pt x="74" y="7"/>
                      <a:pt x="72" y="7"/>
                      <a:pt x="69" y="7"/>
                    </a:cubicBezTo>
                    <a:cubicBezTo>
                      <a:pt x="64" y="8"/>
                      <a:pt x="60" y="8"/>
                      <a:pt x="55" y="8"/>
                    </a:cubicBezTo>
                    <a:cubicBezTo>
                      <a:pt x="55" y="8"/>
                      <a:pt x="55" y="8"/>
                      <a:pt x="55" y="8"/>
                    </a:cubicBezTo>
                    <a:cubicBezTo>
                      <a:pt x="54" y="8"/>
                      <a:pt x="53" y="8"/>
                      <a:pt x="52" y="8"/>
                    </a:cubicBezTo>
                    <a:cubicBezTo>
                      <a:pt x="48" y="7"/>
                      <a:pt x="45" y="6"/>
                      <a:pt x="42" y="4"/>
                    </a:cubicBezTo>
                    <a:cubicBezTo>
                      <a:pt x="41" y="4"/>
                      <a:pt x="41" y="4"/>
                      <a:pt x="41" y="4"/>
                    </a:cubicBezTo>
                    <a:cubicBezTo>
                      <a:pt x="40" y="3"/>
                      <a:pt x="39" y="3"/>
                      <a:pt x="38" y="2"/>
                    </a:cubicBezTo>
                    <a:cubicBezTo>
                      <a:pt x="37" y="2"/>
                      <a:pt x="37" y="2"/>
                      <a:pt x="37" y="2"/>
                    </a:cubicBezTo>
                    <a:cubicBezTo>
                      <a:pt x="36" y="1"/>
                      <a:pt x="36" y="1"/>
                      <a:pt x="35" y="1"/>
                    </a:cubicBezTo>
                    <a:cubicBezTo>
                      <a:pt x="35" y="1"/>
                      <a:pt x="34" y="1"/>
                      <a:pt x="32" y="0"/>
                    </a:cubicBezTo>
                    <a:cubicBezTo>
                      <a:pt x="32" y="0"/>
                      <a:pt x="32" y="0"/>
                      <a:pt x="32" y="0"/>
                    </a:cubicBezTo>
                    <a:cubicBezTo>
                      <a:pt x="31"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7" name="Freeform 206"/>
            <p:cNvSpPr/>
            <p:nvPr/>
          </p:nvSpPr>
          <p:spPr bwMode="auto">
            <a:xfrm>
              <a:off x="3363" y="1916"/>
              <a:ext cx="425" cy="295"/>
            </a:xfrm>
            <a:custGeom>
              <a:gdLst>
                <a:gd name="T0" fmla="*/ 107 w 180"/>
                <a:gd name="T1" fmla="*/ 3 h 125"/>
                <a:gd name="T2" fmla="*/ 94 w 180"/>
                <a:gd name="T3" fmla="*/ 11 h 125"/>
                <a:gd name="T4" fmla="*/ 82 w 180"/>
                <a:gd name="T5" fmla="*/ 16 h 125"/>
                <a:gd name="T6" fmla="*/ 76 w 180"/>
                <a:gd name="T7" fmla="*/ 21 h 125"/>
                <a:gd name="T8" fmla="*/ 72 w 180"/>
                <a:gd name="T9" fmla="*/ 20 h 125"/>
                <a:gd name="T10" fmla="*/ 60 w 180"/>
                <a:gd name="T11" fmla="*/ 31 h 125"/>
                <a:gd name="T12" fmla="*/ 53 w 180"/>
                <a:gd name="T13" fmla="*/ 33 h 125"/>
                <a:gd name="T14" fmla="*/ 53 w 180"/>
                <a:gd name="T15" fmla="*/ 43 h 125"/>
                <a:gd name="T16" fmla="*/ 48 w 180"/>
                <a:gd name="T17" fmla="*/ 44 h 125"/>
                <a:gd name="T18" fmla="*/ 43 w 180"/>
                <a:gd name="T19" fmla="*/ 45 h 125"/>
                <a:gd name="T20" fmla="*/ 33 w 180"/>
                <a:gd name="T21" fmla="*/ 39 h 125"/>
                <a:gd name="T22" fmla="*/ 30 w 180"/>
                <a:gd name="T23" fmla="*/ 52 h 125"/>
                <a:gd name="T24" fmla="*/ 26 w 180"/>
                <a:gd name="T25" fmla="*/ 64 h 125"/>
                <a:gd name="T26" fmla="*/ 17 w 180"/>
                <a:gd name="T27" fmla="*/ 72 h 125"/>
                <a:gd name="T28" fmla="*/ 4 w 180"/>
                <a:gd name="T29" fmla="*/ 76 h 125"/>
                <a:gd name="T30" fmla="*/ 0 w 180"/>
                <a:gd name="T31" fmla="*/ 95 h 125"/>
                <a:gd name="T32" fmla="*/ 0 w 180"/>
                <a:gd name="T33" fmla="*/ 106 h 125"/>
                <a:gd name="T34" fmla="*/ 8 w 180"/>
                <a:gd name="T35" fmla="*/ 111 h 125"/>
                <a:gd name="T36" fmla="*/ 16 w 180"/>
                <a:gd name="T37" fmla="*/ 122 h 125"/>
                <a:gd name="T38" fmla="*/ 36 w 180"/>
                <a:gd name="T39" fmla="*/ 117 h 125"/>
                <a:gd name="T40" fmla="*/ 45 w 180"/>
                <a:gd name="T41" fmla="*/ 117 h 125"/>
                <a:gd name="T42" fmla="*/ 54 w 180"/>
                <a:gd name="T43" fmla="*/ 121 h 125"/>
                <a:gd name="T44" fmla="*/ 55 w 180"/>
                <a:gd name="T45" fmla="*/ 105 h 125"/>
                <a:gd name="T46" fmla="*/ 57 w 180"/>
                <a:gd name="T47" fmla="*/ 89 h 125"/>
                <a:gd name="T48" fmla="*/ 76 w 180"/>
                <a:gd name="T49" fmla="*/ 92 h 125"/>
                <a:gd name="T50" fmla="*/ 107 w 180"/>
                <a:gd name="T51" fmla="*/ 92 h 125"/>
                <a:gd name="T52" fmla="*/ 111 w 180"/>
                <a:gd name="T53" fmla="*/ 92 h 125"/>
                <a:gd name="T54" fmla="*/ 114 w 180"/>
                <a:gd name="T55" fmla="*/ 91 h 125"/>
                <a:gd name="T56" fmla="*/ 119 w 180"/>
                <a:gd name="T57" fmla="*/ 89 h 125"/>
                <a:gd name="T58" fmla="*/ 125 w 180"/>
                <a:gd name="T59" fmla="*/ 89 h 125"/>
                <a:gd name="T60" fmla="*/ 146 w 180"/>
                <a:gd name="T61" fmla="*/ 91 h 125"/>
                <a:gd name="T62" fmla="*/ 154 w 180"/>
                <a:gd name="T63" fmla="*/ 85 h 125"/>
                <a:gd name="T64" fmla="*/ 164 w 180"/>
                <a:gd name="T65" fmla="*/ 81 h 125"/>
                <a:gd name="T66" fmla="*/ 172 w 180"/>
                <a:gd name="T67" fmla="*/ 81 h 125"/>
                <a:gd name="T68" fmla="*/ 180 w 180"/>
                <a:gd name="T69" fmla="*/ 74 h 125"/>
                <a:gd name="T70" fmla="*/ 174 w 180"/>
                <a:gd name="T71" fmla="*/ 66 h 125"/>
                <a:gd name="T72" fmla="*/ 173 w 180"/>
                <a:gd name="T73" fmla="*/ 60 h 125"/>
                <a:gd name="T74" fmla="*/ 176 w 180"/>
                <a:gd name="T75" fmla="*/ 58 h 125"/>
                <a:gd name="T76" fmla="*/ 167 w 180"/>
                <a:gd name="T77" fmla="*/ 59 h 125"/>
                <a:gd name="T78" fmla="*/ 158 w 180"/>
                <a:gd name="T79" fmla="*/ 54 h 125"/>
                <a:gd name="T80" fmla="*/ 149 w 180"/>
                <a:gd name="T81" fmla="*/ 49 h 125"/>
                <a:gd name="T82" fmla="*/ 147 w 180"/>
                <a:gd name="T83" fmla="*/ 47 h 125"/>
                <a:gd name="T84" fmla="*/ 149 w 180"/>
                <a:gd name="T85" fmla="*/ 37 h 125"/>
                <a:gd name="T86" fmla="*/ 138 w 180"/>
                <a:gd name="T87" fmla="*/ 31 h 125"/>
                <a:gd name="T88" fmla="*/ 132 w 180"/>
                <a:gd name="T89" fmla="*/ 18 h 125"/>
                <a:gd name="T90" fmla="*/ 125 w 180"/>
                <a:gd name="T91" fmla="*/ 1 h 125"/>
                <a:gd name="T92" fmla="*/ 119 w 180"/>
                <a:gd name="T93" fmla="*/ 0 h 125"/>
                <a:gd name="T94" fmla="*/ 114 w 180"/>
                <a:gd name="T95" fmla="*/ 0 h 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0" h="125">
                  <a:moveTo>
                    <a:pt x="111" y="0"/>
                  </a:moveTo>
                  <a:cubicBezTo>
                    <a:pt x="111" y="0"/>
                    <a:pt x="111" y="0"/>
                    <a:pt x="111" y="0"/>
                  </a:cubicBezTo>
                  <a:cubicBezTo>
                    <a:pt x="109" y="1"/>
                    <a:pt x="109" y="1"/>
                    <a:pt x="109" y="1"/>
                  </a:cubicBezTo>
                  <a:cubicBezTo>
                    <a:pt x="108" y="2"/>
                    <a:pt x="108" y="2"/>
                    <a:pt x="107" y="3"/>
                  </a:cubicBezTo>
                  <a:cubicBezTo>
                    <a:pt x="106" y="4"/>
                    <a:pt x="106" y="4"/>
                    <a:pt x="106" y="4"/>
                  </a:cubicBezTo>
                  <a:cubicBezTo>
                    <a:pt x="105" y="5"/>
                    <a:pt x="103" y="6"/>
                    <a:pt x="102" y="7"/>
                  </a:cubicBezTo>
                  <a:cubicBezTo>
                    <a:pt x="99" y="8"/>
                    <a:pt x="97" y="9"/>
                    <a:pt x="94" y="10"/>
                  </a:cubicBezTo>
                  <a:cubicBezTo>
                    <a:pt x="94" y="11"/>
                    <a:pt x="94" y="11"/>
                    <a:pt x="94" y="11"/>
                  </a:cubicBezTo>
                  <a:cubicBezTo>
                    <a:pt x="93" y="11"/>
                    <a:pt x="92" y="11"/>
                    <a:pt x="91" y="12"/>
                  </a:cubicBezTo>
                  <a:cubicBezTo>
                    <a:pt x="90" y="12"/>
                    <a:pt x="90" y="12"/>
                    <a:pt x="90" y="12"/>
                  </a:cubicBezTo>
                  <a:cubicBezTo>
                    <a:pt x="88" y="13"/>
                    <a:pt x="86" y="14"/>
                    <a:pt x="84" y="14"/>
                  </a:cubicBezTo>
                  <a:cubicBezTo>
                    <a:pt x="83" y="15"/>
                    <a:pt x="83" y="15"/>
                    <a:pt x="82" y="16"/>
                  </a:cubicBezTo>
                  <a:cubicBezTo>
                    <a:pt x="82" y="17"/>
                    <a:pt x="82" y="18"/>
                    <a:pt x="81" y="19"/>
                  </a:cubicBezTo>
                  <a:cubicBezTo>
                    <a:pt x="81" y="20"/>
                    <a:pt x="80" y="20"/>
                    <a:pt x="79" y="21"/>
                  </a:cubicBezTo>
                  <a:cubicBezTo>
                    <a:pt x="78" y="21"/>
                    <a:pt x="78" y="21"/>
                    <a:pt x="77" y="21"/>
                  </a:cubicBezTo>
                  <a:cubicBezTo>
                    <a:pt x="77" y="21"/>
                    <a:pt x="76" y="21"/>
                    <a:pt x="76" y="21"/>
                  </a:cubicBezTo>
                  <a:cubicBezTo>
                    <a:pt x="76" y="21"/>
                    <a:pt x="75" y="21"/>
                    <a:pt x="75" y="21"/>
                  </a:cubicBezTo>
                  <a:cubicBezTo>
                    <a:pt x="74" y="21"/>
                    <a:pt x="74" y="21"/>
                    <a:pt x="74" y="21"/>
                  </a:cubicBezTo>
                  <a:cubicBezTo>
                    <a:pt x="74" y="21"/>
                    <a:pt x="73" y="21"/>
                    <a:pt x="73" y="20"/>
                  </a:cubicBezTo>
                  <a:cubicBezTo>
                    <a:pt x="72" y="20"/>
                    <a:pt x="72" y="20"/>
                    <a:pt x="72" y="20"/>
                  </a:cubicBezTo>
                  <a:cubicBezTo>
                    <a:pt x="71" y="20"/>
                    <a:pt x="70" y="20"/>
                    <a:pt x="69" y="20"/>
                  </a:cubicBezTo>
                  <a:cubicBezTo>
                    <a:pt x="66" y="20"/>
                    <a:pt x="64" y="23"/>
                    <a:pt x="62" y="26"/>
                  </a:cubicBezTo>
                  <a:cubicBezTo>
                    <a:pt x="60" y="30"/>
                    <a:pt x="60" y="30"/>
                    <a:pt x="60" y="30"/>
                  </a:cubicBezTo>
                  <a:cubicBezTo>
                    <a:pt x="60" y="30"/>
                    <a:pt x="60" y="31"/>
                    <a:pt x="60" y="31"/>
                  </a:cubicBezTo>
                  <a:cubicBezTo>
                    <a:pt x="59" y="33"/>
                    <a:pt x="58" y="34"/>
                    <a:pt x="56" y="34"/>
                  </a:cubicBezTo>
                  <a:cubicBezTo>
                    <a:pt x="55" y="34"/>
                    <a:pt x="55" y="34"/>
                    <a:pt x="54" y="34"/>
                  </a:cubicBezTo>
                  <a:cubicBezTo>
                    <a:pt x="53" y="34"/>
                    <a:pt x="53" y="34"/>
                    <a:pt x="53" y="34"/>
                  </a:cubicBezTo>
                  <a:cubicBezTo>
                    <a:pt x="53" y="33"/>
                    <a:pt x="53" y="33"/>
                    <a:pt x="53" y="33"/>
                  </a:cubicBezTo>
                  <a:cubicBezTo>
                    <a:pt x="53" y="35"/>
                    <a:pt x="53" y="36"/>
                    <a:pt x="53" y="37"/>
                  </a:cubicBezTo>
                  <a:cubicBezTo>
                    <a:pt x="53" y="38"/>
                    <a:pt x="53" y="38"/>
                    <a:pt x="53" y="38"/>
                  </a:cubicBezTo>
                  <a:cubicBezTo>
                    <a:pt x="53" y="38"/>
                    <a:pt x="53" y="39"/>
                    <a:pt x="53" y="40"/>
                  </a:cubicBezTo>
                  <a:cubicBezTo>
                    <a:pt x="53" y="43"/>
                    <a:pt x="53" y="43"/>
                    <a:pt x="53" y="43"/>
                  </a:cubicBezTo>
                  <a:cubicBezTo>
                    <a:pt x="50" y="43"/>
                    <a:pt x="50" y="43"/>
                    <a:pt x="50" y="43"/>
                  </a:cubicBezTo>
                  <a:cubicBezTo>
                    <a:pt x="49" y="43"/>
                    <a:pt x="49" y="43"/>
                    <a:pt x="49" y="43"/>
                  </a:cubicBezTo>
                  <a:cubicBezTo>
                    <a:pt x="48" y="44"/>
                    <a:pt x="48" y="44"/>
                    <a:pt x="48" y="44"/>
                  </a:cubicBezTo>
                  <a:cubicBezTo>
                    <a:pt x="48" y="44"/>
                    <a:pt x="48" y="44"/>
                    <a:pt x="48" y="44"/>
                  </a:cubicBezTo>
                  <a:cubicBezTo>
                    <a:pt x="48" y="45"/>
                    <a:pt x="48" y="45"/>
                    <a:pt x="48" y="45"/>
                  </a:cubicBezTo>
                  <a:cubicBezTo>
                    <a:pt x="48" y="45"/>
                    <a:pt x="48" y="45"/>
                    <a:pt x="48" y="45"/>
                  </a:cubicBezTo>
                  <a:cubicBezTo>
                    <a:pt x="47" y="45"/>
                    <a:pt x="46" y="46"/>
                    <a:pt x="45" y="46"/>
                  </a:cubicBezTo>
                  <a:cubicBezTo>
                    <a:pt x="44" y="46"/>
                    <a:pt x="44" y="45"/>
                    <a:pt x="43" y="45"/>
                  </a:cubicBezTo>
                  <a:cubicBezTo>
                    <a:pt x="43" y="45"/>
                    <a:pt x="43" y="45"/>
                    <a:pt x="43" y="45"/>
                  </a:cubicBezTo>
                  <a:cubicBezTo>
                    <a:pt x="42" y="45"/>
                    <a:pt x="42" y="45"/>
                    <a:pt x="42" y="44"/>
                  </a:cubicBezTo>
                  <a:cubicBezTo>
                    <a:pt x="41" y="44"/>
                    <a:pt x="41" y="44"/>
                    <a:pt x="41" y="44"/>
                  </a:cubicBezTo>
                  <a:cubicBezTo>
                    <a:pt x="38" y="42"/>
                    <a:pt x="35" y="41"/>
                    <a:pt x="33" y="39"/>
                  </a:cubicBezTo>
                  <a:cubicBezTo>
                    <a:pt x="33" y="39"/>
                    <a:pt x="33" y="39"/>
                    <a:pt x="33" y="39"/>
                  </a:cubicBezTo>
                  <a:cubicBezTo>
                    <a:pt x="32" y="41"/>
                    <a:pt x="30" y="43"/>
                    <a:pt x="29" y="46"/>
                  </a:cubicBezTo>
                  <a:cubicBezTo>
                    <a:pt x="30" y="46"/>
                    <a:pt x="30" y="47"/>
                    <a:pt x="30" y="49"/>
                  </a:cubicBezTo>
                  <a:cubicBezTo>
                    <a:pt x="30" y="52"/>
                    <a:pt x="30" y="52"/>
                    <a:pt x="30" y="52"/>
                  </a:cubicBezTo>
                  <a:cubicBezTo>
                    <a:pt x="30" y="53"/>
                    <a:pt x="29" y="55"/>
                    <a:pt x="26" y="56"/>
                  </a:cubicBezTo>
                  <a:cubicBezTo>
                    <a:pt x="26" y="56"/>
                    <a:pt x="25" y="56"/>
                    <a:pt x="25" y="56"/>
                  </a:cubicBezTo>
                  <a:cubicBezTo>
                    <a:pt x="25" y="58"/>
                    <a:pt x="26" y="60"/>
                    <a:pt x="26" y="62"/>
                  </a:cubicBezTo>
                  <a:cubicBezTo>
                    <a:pt x="26" y="62"/>
                    <a:pt x="26" y="63"/>
                    <a:pt x="26" y="64"/>
                  </a:cubicBezTo>
                  <a:cubicBezTo>
                    <a:pt x="26" y="64"/>
                    <a:pt x="26" y="65"/>
                    <a:pt x="25" y="66"/>
                  </a:cubicBezTo>
                  <a:cubicBezTo>
                    <a:pt x="25" y="66"/>
                    <a:pt x="24" y="66"/>
                    <a:pt x="24" y="67"/>
                  </a:cubicBezTo>
                  <a:cubicBezTo>
                    <a:pt x="24" y="67"/>
                    <a:pt x="24" y="67"/>
                    <a:pt x="24" y="67"/>
                  </a:cubicBezTo>
                  <a:cubicBezTo>
                    <a:pt x="22" y="69"/>
                    <a:pt x="20" y="71"/>
                    <a:pt x="17" y="72"/>
                  </a:cubicBezTo>
                  <a:cubicBezTo>
                    <a:pt x="15" y="73"/>
                    <a:pt x="14" y="73"/>
                    <a:pt x="12" y="74"/>
                  </a:cubicBezTo>
                  <a:cubicBezTo>
                    <a:pt x="11" y="74"/>
                    <a:pt x="10" y="74"/>
                    <a:pt x="9" y="74"/>
                  </a:cubicBezTo>
                  <a:cubicBezTo>
                    <a:pt x="8" y="74"/>
                    <a:pt x="8" y="75"/>
                    <a:pt x="7" y="75"/>
                  </a:cubicBezTo>
                  <a:cubicBezTo>
                    <a:pt x="4" y="76"/>
                    <a:pt x="4" y="76"/>
                    <a:pt x="4" y="76"/>
                  </a:cubicBezTo>
                  <a:cubicBezTo>
                    <a:pt x="4" y="76"/>
                    <a:pt x="4" y="76"/>
                    <a:pt x="4" y="76"/>
                  </a:cubicBezTo>
                  <a:cubicBezTo>
                    <a:pt x="6" y="79"/>
                    <a:pt x="7" y="83"/>
                    <a:pt x="6" y="87"/>
                  </a:cubicBezTo>
                  <a:cubicBezTo>
                    <a:pt x="6" y="88"/>
                    <a:pt x="6" y="88"/>
                    <a:pt x="6" y="88"/>
                  </a:cubicBezTo>
                  <a:cubicBezTo>
                    <a:pt x="5" y="91"/>
                    <a:pt x="4" y="93"/>
                    <a:pt x="0" y="95"/>
                  </a:cubicBezTo>
                  <a:cubicBezTo>
                    <a:pt x="0" y="96"/>
                    <a:pt x="0" y="97"/>
                    <a:pt x="0" y="98"/>
                  </a:cubicBezTo>
                  <a:cubicBezTo>
                    <a:pt x="0" y="100"/>
                    <a:pt x="1" y="101"/>
                    <a:pt x="1" y="102"/>
                  </a:cubicBezTo>
                  <a:cubicBezTo>
                    <a:pt x="1" y="102"/>
                    <a:pt x="0" y="104"/>
                    <a:pt x="0" y="105"/>
                  </a:cubicBezTo>
                  <a:cubicBezTo>
                    <a:pt x="0" y="106"/>
                    <a:pt x="0" y="106"/>
                    <a:pt x="0" y="106"/>
                  </a:cubicBezTo>
                  <a:cubicBezTo>
                    <a:pt x="0" y="107"/>
                    <a:pt x="1" y="107"/>
                    <a:pt x="1" y="107"/>
                  </a:cubicBezTo>
                  <a:cubicBezTo>
                    <a:pt x="2" y="107"/>
                    <a:pt x="3" y="108"/>
                    <a:pt x="4" y="108"/>
                  </a:cubicBezTo>
                  <a:cubicBezTo>
                    <a:pt x="4" y="108"/>
                    <a:pt x="4" y="108"/>
                    <a:pt x="4" y="108"/>
                  </a:cubicBezTo>
                  <a:cubicBezTo>
                    <a:pt x="6" y="109"/>
                    <a:pt x="7" y="109"/>
                    <a:pt x="8" y="111"/>
                  </a:cubicBezTo>
                  <a:cubicBezTo>
                    <a:pt x="9" y="112"/>
                    <a:pt x="10" y="112"/>
                    <a:pt x="10" y="113"/>
                  </a:cubicBezTo>
                  <a:cubicBezTo>
                    <a:pt x="11" y="116"/>
                    <a:pt x="11" y="116"/>
                    <a:pt x="11" y="116"/>
                  </a:cubicBezTo>
                  <a:cubicBezTo>
                    <a:pt x="12" y="119"/>
                    <a:pt x="13" y="121"/>
                    <a:pt x="15" y="122"/>
                  </a:cubicBezTo>
                  <a:cubicBezTo>
                    <a:pt x="15" y="122"/>
                    <a:pt x="16" y="122"/>
                    <a:pt x="16" y="122"/>
                  </a:cubicBezTo>
                  <a:cubicBezTo>
                    <a:pt x="17" y="122"/>
                    <a:pt x="17" y="122"/>
                    <a:pt x="17" y="122"/>
                  </a:cubicBezTo>
                  <a:cubicBezTo>
                    <a:pt x="20" y="124"/>
                    <a:pt x="22" y="124"/>
                    <a:pt x="24" y="125"/>
                  </a:cubicBezTo>
                  <a:cubicBezTo>
                    <a:pt x="26" y="122"/>
                    <a:pt x="30" y="120"/>
                    <a:pt x="33" y="118"/>
                  </a:cubicBezTo>
                  <a:cubicBezTo>
                    <a:pt x="34" y="118"/>
                    <a:pt x="35" y="118"/>
                    <a:pt x="36" y="117"/>
                  </a:cubicBezTo>
                  <a:cubicBezTo>
                    <a:pt x="38" y="117"/>
                    <a:pt x="40" y="117"/>
                    <a:pt x="42" y="117"/>
                  </a:cubicBezTo>
                  <a:cubicBezTo>
                    <a:pt x="43" y="117"/>
                    <a:pt x="43" y="117"/>
                    <a:pt x="43" y="117"/>
                  </a:cubicBezTo>
                  <a:cubicBezTo>
                    <a:pt x="44" y="117"/>
                    <a:pt x="44" y="117"/>
                    <a:pt x="44" y="117"/>
                  </a:cubicBezTo>
                  <a:cubicBezTo>
                    <a:pt x="44" y="117"/>
                    <a:pt x="45" y="117"/>
                    <a:pt x="45" y="117"/>
                  </a:cubicBezTo>
                  <a:cubicBezTo>
                    <a:pt x="47" y="117"/>
                    <a:pt x="47" y="117"/>
                    <a:pt x="47" y="117"/>
                  </a:cubicBezTo>
                  <a:cubicBezTo>
                    <a:pt x="47" y="117"/>
                    <a:pt x="47" y="117"/>
                    <a:pt x="47" y="117"/>
                  </a:cubicBezTo>
                  <a:cubicBezTo>
                    <a:pt x="48" y="117"/>
                    <a:pt x="48" y="117"/>
                    <a:pt x="49" y="117"/>
                  </a:cubicBezTo>
                  <a:cubicBezTo>
                    <a:pt x="53" y="118"/>
                    <a:pt x="54" y="120"/>
                    <a:pt x="54" y="121"/>
                  </a:cubicBezTo>
                  <a:cubicBezTo>
                    <a:pt x="54" y="121"/>
                    <a:pt x="55" y="122"/>
                    <a:pt x="56" y="122"/>
                  </a:cubicBezTo>
                  <a:cubicBezTo>
                    <a:pt x="57" y="123"/>
                    <a:pt x="57" y="123"/>
                    <a:pt x="58" y="124"/>
                  </a:cubicBezTo>
                  <a:cubicBezTo>
                    <a:pt x="58" y="123"/>
                    <a:pt x="58" y="122"/>
                    <a:pt x="58" y="122"/>
                  </a:cubicBezTo>
                  <a:cubicBezTo>
                    <a:pt x="58" y="116"/>
                    <a:pt x="56" y="109"/>
                    <a:pt x="55" y="105"/>
                  </a:cubicBezTo>
                  <a:cubicBezTo>
                    <a:pt x="55" y="104"/>
                    <a:pt x="55" y="104"/>
                    <a:pt x="55" y="104"/>
                  </a:cubicBezTo>
                  <a:cubicBezTo>
                    <a:pt x="54" y="101"/>
                    <a:pt x="55" y="98"/>
                    <a:pt x="56" y="96"/>
                  </a:cubicBezTo>
                  <a:cubicBezTo>
                    <a:pt x="56" y="95"/>
                    <a:pt x="57" y="95"/>
                    <a:pt x="57" y="95"/>
                  </a:cubicBezTo>
                  <a:cubicBezTo>
                    <a:pt x="57" y="89"/>
                    <a:pt x="57" y="89"/>
                    <a:pt x="57" y="89"/>
                  </a:cubicBezTo>
                  <a:cubicBezTo>
                    <a:pt x="61" y="92"/>
                    <a:pt x="61" y="92"/>
                    <a:pt x="61" y="92"/>
                  </a:cubicBezTo>
                  <a:cubicBezTo>
                    <a:pt x="62" y="92"/>
                    <a:pt x="64" y="92"/>
                    <a:pt x="69" y="92"/>
                  </a:cubicBezTo>
                  <a:cubicBezTo>
                    <a:pt x="70" y="92"/>
                    <a:pt x="72" y="92"/>
                    <a:pt x="73" y="92"/>
                  </a:cubicBezTo>
                  <a:cubicBezTo>
                    <a:pt x="74" y="92"/>
                    <a:pt x="75" y="92"/>
                    <a:pt x="76" y="92"/>
                  </a:cubicBezTo>
                  <a:cubicBezTo>
                    <a:pt x="76" y="92"/>
                    <a:pt x="76" y="92"/>
                    <a:pt x="76" y="92"/>
                  </a:cubicBezTo>
                  <a:cubicBezTo>
                    <a:pt x="84" y="92"/>
                    <a:pt x="91" y="91"/>
                    <a:pt x="97" y="91"/>
                  </a:cubicBezTo>
                  <a:cubicBezTo>
                    <a:pt x="100" y="91"/>
                    <a:pt x="104" y="91"/>
                    <a:pt x="106" y="92"/>
                  </a:cubicBezTo>
                  <a:cubicBezTo>
                    <a:pt x="107" y="92"/>
                    <a:pt x="107" y="92"/>
                    <a:pt x="107" y="92"/>
                  </a:cubicBezTo>
                  <a:cubicBezTo>
                    <a:pt x="108" y="92"/>
                    <a:pt x="108" y="92"/>
                    <a:pt x="109" y="92"/>
                  </a:cubicBezTo>
                  <a:cubicBezTo>
                    <a:pt x="109" y="92"/>
                    <a:pt x="109" y="92"/>
                    <a:pt x="110" y="92"/>
                  </a:cubicBezTo>
                  <a:cubicBezTo>
                    <a:pt x="110" y="92"/>
                    <a:pt x="110" y="92"/>
                    <a:pt x="110" y="92"/>
                  </a:cubicBezTo>
                  <a:cubicBezTo>
                    <a:pt x="111" y="92"/>
                    <a:pt x="111" y="92"/>
                    <a:pt x="111" y="92"/>
                  </a:cubicBezTo>
                  <a:cubicBezTo>
                    <a:pt x="112" y="92"/>
                    <a:pt x="112" y="92"/>
                    <a:pt x="112" y="92"/>
                  </a:cubicBezTo>
                  <a:cubicBezTo>
                    <a:pt x="113" y="92"/>
                    <a:pt x="113" y="92"/>
                    <a:pt x="113" y="92"/>
                  </a:cubicBezTo>
                  <a:cubicBezTo>
                    <a:pt x="114" y="92"/>
                    <a:pt x="114" y="92"/>
                    <a:pt x="114" y="92"/>
                  </a:cubicBezTo>
                  <a:cubicBezTo>
                    <a:pt x="114" y="91"/>
                    <a:pt x="114" y="91"/>
                    <a:pt x="114" y="91"/>
                  </a:cubicBezTo>
                  <a:cubicBezTo>
                    <a:pt x="115" y="91"/>
                    <a:pt x="115" y="91"/>
                    <a:pt x="115" y="91"/>
                  </a:cubicBezTo>
                  <a:cubicBezTo>
                    <a:pt x="115" y="90"/>
                    <a:pt x="116" y="90"/>
                    <a:pt x="116" y="90"/>
                  </a:cubicBezTo>
                  <a:cubicBezTo>
                    <a:pt x="117" y="90"/>
                    <a:pt x="117" y="90"/>
                    <a:pt x="117" y="90"/>
                  </a:cubicBezTo>
                  <a:cubicBezTo>
                    <a:pt x="117" y="89"/>
                    <a:pt x="118" y="89"/>
                    <a:pt x="119" y="89"/>
                  </a:cubicBezTo>
                  <a:cubicBezTo>
                    <a:pt x="119" y="89"/>
                    <a:pt x="119" y="89"/>
                    <a:pt x="119" y="89"/>
                  </a:cubicBezTo>
                  <a:cubicBezTo>
                    <a:pt x="120" y="89"/>
                    <a:pt x="121" y="88"/>
                    <a:pt x="122" y="88"/>
                  </a:cubicBezTo>
                  <a:cubicBezTo>
                    <a:pt x="122" y="88"/>
                    <a:pt x="122" y="88"/>
                    <a:pt x="122" y="88"/>
                  </a:cubicBezTo>
                  <a:cubicBezTo>
                    <a:pt x="123" y="88"/>
                    <a:pt x="124" y="89"/>
                    <a:pt x="125" y="89"/>
                  </a:cubicBezTo>
                  <a:cubicBezTo>
                    <a:pt x="125" y="89"/>
                    <a:pt x="125" y="89"/>
                    <a:pt x="125" y="89"/>
                  </a:cubicBezTo>
                  <a:cubicBezTo>
                    <a:pt x="125" y="89"/>
                    <a:pt x="125" y="89"/>
                    <a:pt x="125" y="89"/>
                  </a:cubicBezTo>
                  <a:cubicBezTo>
                    <a:pt x="131" y="90"/>
                    <a:pt x="137" y="91"/>
                    <a:pt x="142" y="92"/>
                  </a:cubicBezTo>
                  <a:cubicBezTo>
                    <a:pt x="146" y="91"/>
                    <a:pt x="146" y="91"/>
                    <a:pt x="146" y="91"/>
                  </a:cubicBezTo>
                  <a:cubicBezTo>
                    <a:pt x="147" y="89"/>
                    <a:pt x="147" y="89"/>
                    <a:pt x="147" y="89"/>
                  </a:cubicBezTo>
                  <a:cubicBezTo>
                    <a:pt x="149" y="91"/>
                    <a:pt x="149" y="91"/>
                    <a:pt x="149" y="91"/>
                  </a:cubicBezTo>
                  <a:cubicBezTo>
                    <a:pt x="149" y="90"/>
                    <a:pt x="149" y="90"/>
                    <a:pt x="150" y="89"/>
                  </a:cubicBezTo>
                  <a:cubicBezTo>
                    <a:pt x="151" y="87"/>
                    <a:pt x="153" y="86"/>
                    <a:pt x="154" y="85"/>
                  </a:cubicBezTo>
                  <a:cubicBezTo>
                    <a:pt x="155" y="83"/>
                    <a:pt x="157" y="82"/>
                    <a:pt x="159" y="81"/>
                  </a:cubicBezTo>
                  <a:cubicBezTo>
                    <a:pt x="160" y="81"/>
                    <a:pt x="160" y="81"/>
                    <a:pt x="161" y="81"/>
                  </a:cubicBezTo>
                  <a:cubicBezTo>
                    <a:pt x="162" y="81"/>
                    <a:pt x="163" y="81"/>
                    <a:pt x="164" y="81"/>
                  </a:cubicBezTo>
                  <a:cubicBezTo>
                    <a:pt x="164" y="81"/>
                    <a:pt x="164" y="81"/>
                    <a:pt x="164" y="81"/>
                  </a:cubicBezTo>
                  <a:cubicBezTo>
                    <a:pt x="165" y="81"/>
                    <a:pt x="166" y="81"/>
                    <a:pt x="167" y="81"/>
                  </a:cubicBezTo>
                  <a:cubicBezTo>
                    <a:pt x="168" y="81"/>
                    <a:pt x="169" y="81"/>
                    <a:pt x="169" y="81"/>
                  </a:cubicBezTo>
                  <a:cubicBezTo>
                    <a:pt x="170" y="81"/>
                    <a:pt x="170" y="81"/>
                    <a:pt x="170" y="81"/>
                  </a:cubicBezTo>
                  <a:cubicBezTo>
                    <a:pt x="171" y="81"/>
                    <a:pt x="171" y="81"/>
                    <a:pt x="172" y="81"/>
                  </a:cubicBezTo>
                  <a:cubicBezTo>
                    <a:pt x="172" y="81"/>
                    <a:pt x="172" y="81"/>
                    <a:pt x="172" y="81"/>
                  </a:cubicBezTo>
                  <a:cubicBezTo>
                    <a:pt x="173" y="81"/>
                    <a:pt x="173" y="81"/>
                    <a:pt x="173" y="81"/>
                  </a:cubicBezTo>
                  <a:cubicBezTo>
                    <a:pt x="174" y="81"/>
                    <a:pt x="175" y="80"/>
                    <a:pt x="177" y="79"/>
                  </a:cubicBezTo>
                  <a:cubicBezTo>
                    <a:pt x="177" y="78"/>
                    <a:pt x="179" y="76"/>
                    <a:pt x="180" y="74"/>
                  </a:cubicBezTo>
                  <a:cubicBezTo>
                    <a:pt x="180" y="74"/>
                    <a:pt x="180" y="74"/>
                    <a:pt x="180" y="74"/>
                  </a:cubicBezTo>
                  <a:cubicBezTo>
                    <a:pt x="179" y="73"/>
                    <a:pt x="178" y="72"/>
                    <a:pt x="177" y="71"/>
                  </a:cubicBezTo>
                  <a:cubicBezTo>
                    <a:pt x="177" y="70"/>
                    <a:pt x="177" y="70"/>
                    <a:pt x="177" y="70"/>
                  </a:cubicBezTo>
                  <a:cubicBezTo>
                    <a:pt x="176" y="69"/>
                    <a:pt x="175" y="68"/>
                    <a:pt x="174" y="66"/>
                  </a:cubicBezTo>
                  <a:cubicBezTo>
                    <a:pt x="174" y="66"/>
                    <a:pt x="174" y="66"/>
                    <a:pt x="174" y="66"/>
                  </a:cubicBezTo>
                  <a:cubicBezTo>
                    <a:pt x="173" y="65"/>
                    <a:pt x="173" y="65"/>
                    <a:pt x="172" y="64"/>
                  </a:cubicBezTo>
                  <a:cubicBezTo>
                    <a:pt x="171" y="62"/>
                    <a:pt x="171" y="62"/>
                    <a:pt x="171" y="62"/>
                  </a:cubicBezTo>
                  <a:cubicBezTo>
                    <a:pt x="173" y="60"/>
                    <a:pt x="173" y="60"/>
                    <a:pt x="173" y="60"/>
                  </a:cubicBezTo>
                  <a:cubicBezTo>
                    <a:pt x="173" y="60"/>
                    <a:pt x="174" y="59"/>
                    <a:pt x="174" y="59"/>
                  </a:cubicBezTo>
                  <a:cubicBezTo>
                    <a:pt x="175" y="59"/>
                    <a:pt x="175" y="59"/>
                    <a:pt x="175" y="59"/>
                  </a:cubicBezTo>
                  <a:cubicBezTo>
                    <a:pt x="176" y="58"/>
                    <a:pt x="176" y="58"/>
                    <a:pt x="176" y="58"/>
                  </a:cubicBezTo>
                  <a:cubicBezTo>
                    <a:pt x="176" y="58"/>
                    <a:pt x="176" y="58"/>
                    <a:pt x="176" y="58"/>
                  </a:cubicBezTo>
                  <a:cubicBezTo>
                    <a:pt x="175" y="57"/>
                    <a:pt x="175" y="57"/>
                    <a:pt x="175" y="57"/>
                  </a:cubicBezTo>
                  <a:cubicBezTo>
                    <a:pt x="174" y="58"/>
                    <a:pt x="172" y="58"/>
                    <a:pt x="171" y="58"/>
                  </a:cubicBezTo>
                  <a:cubicBezTo>
                    <a:pt x="168" y="59"/>
                    <a:pt x="168" y="59"/>
                    <a:pt x="168" y="59"/>
                  </a:cubicBezTo>
                  <a:cubicBezTo>
                    <a:pt x="168" y="59"/>
                    <a:pt x="168" y="59"/>
                    <a:pt x="167" y="59"/>
                  </a:cubicBezTo>
                  <a:cubicBezTo>
                    <a:pt x="165" y="59"/>
                    <a:pt x="163" y="58"/>
                    <a:pt x="161" y="56"/>
                  </a:cubicBezTo>
                  <a:cubicBezTo>
                    <a:pt x="161" y="56"/>
                    <a:pt x="160" y="55"/>
                    <a:pt x="160" y="55"/>
                  </a:cubicBezTo>
                  <a:cubicBezTo>
                    <a:pt x="160" y="55"/>
                    <a:pt x="159" y="55"/>
                    <a:pt x="158" y="55"/>
                  </a:cubicBezTo>
                  <a:cubicBezTo>
                    <a:pt x="158" y="54"/>
                    <a:pt x="158" y="54"/>
                    <a:pt x="158" y="54"/>
                  </a:cubicBezTo>
                  <a:cubicBezTo>
                    <a:pt x="156" y="53"/>
                    <a:pt x="153" y="52"/>
                    <a:pt x="151" y="51"/>
                  </a:cubicBezTo>
                  <a:cubicBezTo>
                    <a:pt x="151" y="50"/>
                    <a:pt x="150" y="50"/>
                    <a:pt x="150" y="50"/>
                  </a:cubicBezTo>
                  <a:cubicBezTo>
                    <a:pt x="147" y="53"/>
                    <a:pt x="147" y="53"/>
                    <a:pt x="147" y="53"/>
                  </a:cubicBezTo>
                  <a:cubicBezTo>
                    <a:pt x="149" y="49"/>
                    <a:pt x="149" y="49"/>
                    <a:pt x="149" y="49"/>
                  </a:cubicBezTo>
                  <a:cubicBezTo>
                    <a:pt x="149" y="49"/>
                    <a:pt x="149" y="49"/>
                    <a:pt x="149" y="49"/>
                  </a:cubicBezTo>
                  <a:cubicBezTo>
                    <a:pt x="148" y="48"/>
                    <a:pt x="148" y="48"/>
                    <a:pt x="148" y="48"/>
                  </a:cubicBezTo>
                  <a:cubicBezTo>
                    <a:pt x="144" y="50"/>
                    <a:pt x="144" y="50"/>
                    <a:pt x="144" y="50"/>
                  </a:cubicBezTo>
                  <a:cubicBezTo>
                    <a:pt x="147" y="47"/>
                    <a:pt x="147" y="47"/>
                    <a:pt x="147" y="47"/>
                  </a:cubicBezTo>
                  <a:cubicBezTo>
                    <a:pt x="147" y="47"/>
                    <a:pt x="147" y="47"/>
                    <a:pt x="147" y="47"/>
                  </a:cubicBezTo>
                  <a:cubicBezTo>
                    <a:pt x="147" y="46"/>
                    <a:pt x="147" y="46"/>
                    <a:pt x="147" y="46"/>
                  </a:cubicBezTo>
                  <a:cubicBezTo>
                    <a:pt x="146" y="44"/>
                    <a:pt x="146" y="42"/>
                    <a:pt x="147" y="40"/>
                  </a:cubicBezTo>
                  <a:cubicBezTo>
                    <a:pt x="148" y="39"/>
                    <a:pt x="148" y="38"/>
                    <a:pt x="149" y="37"/>
                  </a:cubicBezTo>
                  <a:cubicBezTo>
                    <a:pt x="148" y="36"/>
                    <a:pt x="146" y="35"/>
                    <a:pt x="145" y="35"/>
                  </a:cubicBezTo>
                  <a:cubicBezTo>
                    <a:pt x="144" y="35"/>
                    <a:pt x="144" y="35"/>
                    <a:pt x="144" y="35"/>
                  </a:cubicBezTo>
                  <a:cubicBezTo>
                    <a:pt x="142" y="34"/>
                    <a:pt x="140" y="34"/>
                    <a:pt x="139" y="33"/>
                  </a:cubicBezTo>
                  <a:cubicBezTo>
                    <a:pt x="138" y="32"/>
                    <a:pt x="138" y="32"/>
                    <a:pt x="138" y="31"/>
                  </a:cubicBezTo>
                  <a:cubicBezTo>
                    <a:pt x="137" y="31"/>
                    <a:pt x="137" y="31"/>
                    <a:pt x="137" y="31"/>
                  </a:cubicBezTo>
                  <a:cubicBezTo>
                    <a:pt x="136" y="29"/>
                    <a:pt x="135" y="27"/>
                    <a:pt x="135" y="25"/>
                  </a:cubicBezTo>
                  <a:cubicBezTo>
                    <a:pt x="135" y="24"/>
                    <a:pt x="134" y="22"/>
                    <a:pt x="134" y="21"/>
                  </a:cubicBezTo>
                  <a:cubicBezTo>
                    <a:pt x="133" y="20"/>
                    <a:pt x="133" y="19"/>
                    <a:pt x="132" y="18"/>
                  </a:cubicBezTo>
                  <a:cubicBezTo>
                    <a:pt x="130" y="16"/>
                    <a:pt x="129" y="14"/>
                    <a:pt x="129" y="13"/>
                  </a:cubicBezTo>
                  <a:cubicBezTo>
                    <a:pt x="129" y="3"/>
                    <a:pt x="129" y="3"/>
                    <a:pt x="129" y="3"/>
                  </a:cubicBezTo>
                  <a:cubicBezTo>
                    <a:pt x="127" y="2"/>
                    <a:pt x="127" y="2"/>
                    <a:pt x="127" y="2"/>
                  </a:cubicBezTo>
                  <a:cubicBezTo>
                    <a:pt x="125" y="1"/>
                    <a:pt x="125" y="1"/>
                    <a:pt x="125" y="1"/>
                  </a:cubicBezTo>
                  <a:cubicBezTo>
                    <a:pt x="125" y="1"/>
                    <a:pt x="124" y="1"/>
                    <a:pt x="124" y="1"/>
                  </a:cubicBezTo>
                  <a:cubicBezTo>
                    <a:pt x="123" y="1"/>
                    <a:pt x="123" y="1"/>
                    <a:pt x="123" y="1"/>
                  </a:cubicBezTo>
                  <a:cubicBezTo>
                    <a:pt x="123" y="1"/>
                    <a:pt x="122" y="1"/>
                    <a:pt x="122" y="1"/>
                  </a:cubicBezTo>
                  <a:cubicBezTo>
                    <a:pt x="121" y="1"/>
                    <a:pt x="120" y="0"/>
                    <a:pt x="119" y="0"/>
                  </a:cubicBezTo>
                  <a:cubicBezTo>
                    <a:pt x="118" y="0"/>
                    <a:pt x="118" y="0"/>
                    <a:pt x="118" y="0"/>
                  </a:cubicBezTo>
                  <a:cubicBezTo>
                    <a:pt x="117" y="0"/>
                    <a:pt x="116" y="0"/>
                    <a:pt x="115" y="0"/>
                  </a:cubicBezTo>
                  <a:cubicBezTo>
                    <a:pt x="115" y="0"/>
                    <a:pt x="115" y="0"/>
                    <a:pt x="114" y="0"/>
                  </a:cubicBezTo>
                  <a:cubicBezTo>
                    <a:pt x="114" y="0"/>
                    <a:pt x="114" y="0"/>
                    <a:pt x="114" y="0"/>
                  </a:cubicBezTo>
                  <a:cubicBezTo>
                    <a:pt x="113" y="0"/>
                    <a:pt x="112" y="0"/>
                    <a:pt x="1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Rectangle 207"/>
            <p:cNvSpPr>
              <a:spLocks noChangeArrowheads="1"/>
            </p:cNvSpPr>
            <p:nvPr/>
          </p:nvSpPr>
          <p:spPr bwMode="auto">
            <a:xfrm>
              <a:off x="3500" y="2209"/>
              <a:ext cx="3"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208"/>
            <p:cNvSpPr/>
            <p:nvPr/>
          </p:nvSpPr>
          <p:spPr bwMode="auto">
            <a:xfrm>
              <a:off x="3500" y="2209"/>
              <a:ext cx="3" cy="0"/>
            </a:xfrm>
            <a:custGeom>
              <a:gdLst>
                <a:gd name="T0" fmla="*/ 3 w 3"/>
                <a:gd name="T1" fmla="*/ 0 w 3"/>
                <a:gd name="T2" fmla="*/ 0 w 3"/>
                <a:gd name="T3" fmla="*/ 3 w 3"/>
              </a:gdLst>
              <a:cxnLst>
                <a:cxn ang="0">
                  <a:pos x="T0" y="0"/>
                </a:cxn>
                <a:cxn ang="0">
                  <a:pos x="T1" y="0"/>
                </a:cxn>
                <a:cxn ang="0">
                  <a:pos x="T2" y="0"/>
                </a:cxn>
                <a:cxn ang="0">
                  <a:pos x="T3" y="0"/>
                </a:cxn>
              </a:cxnLst>
              <a:rect l="0" t="0" r="r" b="b"/>
              <a:pathLst>
                <a:path w="3">
                  <a:moveTo>
                    <a:pt x="3" y="0"/>
                  </a:moveTo>
                  <a:lnTo>
                    <a:pt x="0" y="0"/>
                  </a:lnTo>
                  <a:lnTo>
                    <a:pt x="0"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209"/>
            <p:cNvSpPr/>
            <p:nvPr/>
          </p:nvSpPr>
          <p:spPr bwMode="auto">
            <a:xfrm>
              <a:off x="5507" y="1932"/>
              <a:ext cx="805" cy="624"/>
            </a:xfrm>
            <a:custGeom>
              <a:gdLst>
                <a:gd name="T0" fmla="*/ 109 w 341"/>
                <a:gd name="T1" fmla="*/ 6 h 264"/>
                <a:gd name="T2" fmla="*/ 106 w 341"/>
                <a:gd name="T3" fmla="*/ 10 h 264"/>
                <a:gd name="T4" fmla="*/ 102 w 341"/>
                <a:gd name="T5" fmla="*/ 12 h 264"/>
                <a:gd name="T6" fmla="*/ 100 w 341"/>
                <a:gd name="T7" fmla="*/ 12 h 264"/>
                <a:gd name="T8" fmla="*/ 97 w 341"/>
                <a:gd name="T9" fmla="*/ 10 h 264"/>
                <a:gd name="T10" fmla="*/ 90 w 341"/>
                <a:gd name="T11" fmla="*/ 13 h 264"/>
                <a:gd name="T12" fmla="*/ 80 w 341"/>
                <a:gd name="T13" fmla="*/ 20 h 264"/>
                <a:gd name="T14" fmla="*/ 69 w 341"/>
                <a:gd name="T15" fmla="*/ 50 h 264"/>
                <a:gd name="T16" fmla="*/ 64 w 341"/>
                <a:gd name="T17" fmla="*/ 50 h 264"/>
                <a:gd name="T18" fmla="*/ 60 w 341"/>
                <a:gd name="T19" fmla="*/ 53 h 264"/>
                <a:gd name="T20" fmla="*/ 47 w 341"/>
                <a:gd name="T21" fmla="*/ 74 h 264"/>
                <a:gd name="T22" fmla="*/ 45 w 341"/>
                <a:gd name="T23" fmla="*/ 88 h 264"/>
                <a:gd name="T24" fmla="*/ 40 w 341"/>
                <a:gd name="T25" fmla="*/ 96 h 264"/>
                <a:gd name="T26" fmla="*/ 33 w 341"/>
                <a:gd name="T27" fmla="*/ 94 h 264"/>
                <a:gd name="T28" fmla="*/ 30 w 341"/>
                <a:gd name="T29" fmla="*/ 101 h 264"/>
                <a:gd name="T30" fmla="*/ 26 w 341"/>
                <a:gd name="T31" fmla="*/ 120 h 264"/>
                <a:gd name="T32" fmla="*/ 20 w 341"/>
                <a:gd name="T33" fmla="*/ 151 h 264"/>
                <a:gd name="T34" fmla="*/ 4 w 341"/>
                <a:gd name="T35" fmla="*/ 151 h 264"/>
                <a:gd name="T36" fmla="*/ 1 w 341"/>
                <a:gd name="T37" fmla="*/ 159 h 264"/>
                <a:gd name="T38" fmla="*/ 20 w 341"/>
                <a:gd name="T39" fmla="*/ 171 h 264"/>
                <a:gd name="T40" fmla="*/ 32 w 341"/>
                <a:gd name="T41" fmla="*/ 182 h 264"/>
                <a:gd name="T42" fmla="*/ 49 w 341"/>
                <a:gd name="T43" fmla="*/ 213 h 264"/>
                <a:gd name="T44" fmla="*/ 57 w 341"/>
                <a:gd name="T45" fmla="*/ 218 h 264"/>
                <a:gd name="T46" fmla="*/ 64 w 341"/>
                <a:gd name="T47" fmla="*/ 227 h 264"/>
                <a:gd name="T48" fmla="*/ 66 w 341"/>
                <a:gd name="T49" fmla="*/ 236 h 264"/>
                <a:gd name="T50" fmla="*/ 88 w 341"/>
                <a:gd name="T51" fmla="*/ 242 h 264"/>
                <a:gd name="T52" fmla="*/ 92 w 341"/>
                <a:gd name="T53" fmla="*/ 244 h 264"/>
                <a:gd name="T54" fmla="*/ 113 w 341"/>
                <a:gd name="T55" fmla="*/ 256 h 264"/>
                <a:gd name="T56" fmla="*/ 147 w 341"/>
                <a:gd name="T57" fmla="*/ 263 h 264"/>
                <a:gd name="T58" fmla="*/ 178 w 341"/>
                <a:gd name="T59" fmla="*/ 244 h 264"/>
                <a:gd name="T60" fmla="*/ 184 w 341"/>
                <a:gd name="T61" fmla="*/ 247 h 264"/>
                <a:gd name="T62" fmla="*/ 192 w 341"/>
                <a:gd name="T63" fmla="*/ 252 h 264"/>
                <a:gd name="T64" fmla="*/ 204 w 341"/>
                <a:gd name="T65" fmla="*/ 251 h 264"/>
                <a:gd name="T66" fmla="*/ 221 w 341"/>
                <a:gd name="T67" fmla="*/ 245 h 264"/>
                <a:gd name="T68" fmla="*/ 258 w 341"/>
                <a:gd name="T69" fmla="*/ 228 h 264"/>
                <a:gd name="T70" fmla="*/ 269 w 341"/>
                <a:gd name="T71" fmla="*/ 229 h 264"/>
                <a:gd name="T72" fmla="*/ 276 w 341"/>
                <a:gd name="T73" fmla="*/ 228 h 264"/>
                <a:gd name="T74" fmla="*/ 286 w 341"/>
                <a:gd name="T75" fmla="*/ 217 h 264"/>
                <a:gd name="T76" fmla="*/ 333 w 341"/>
                <a:gd name="T77" fmla="*/ 162 h 264"/>
                <a:gd name="T78" fmla="*/ 269 w 341"/>
                <a:gd name="T79" fmla="*/ 143 h 264"/>
                <a:gd name="T80" fmla="*/ 248 w 341"/>
                <a:gd name="T81" fmla="*/ 133 h 264"/>
                <a:gd name="T82" fmla="*/ 231 w 341"/>
                <a:gd name="T83" fmla="*/ 115 h 264"/>
                <a:gd name="T84" fmla="*/ 224 w 341"/>
                <a:gd name="T85" fmla="*/ 91 h 264"/>
                <a:gd name="T86" fmla="*/ 206 w 341"/>
                <a:gd name="T87" fmla="*/ 92 h 264"/>
                <a:gd name="T88" fmla="*/ 200 w 341"/>
                <a:gd name="T89" fmla="*/ 83 h 264"/>
                <a:gd name="T90" fmla="*/ 199 w 341"/>
                <a:gd name="T91" fmla="*/ 78 h 264"/>
                <a:gd name="T92" fmla="*/ 204 w 341"/>
                <a:gd name="T93" fmla="*/ 65 h 264"/>
                <a:gd name="T94" fmla="*/ 195 w 341"/>
                <a:gd name="T95" fmla="*/ 32 h 264"/>
                <a:gd name="T96" fmla="*/ 171 w 341"/>
                <a:gd name="T97" fmla="*/ 11 h 264"/>
                <a:gd name="T98" fmla="*/ 165 w 341"/>
                <a:gd name="T99" fmla="*/ 8 h 264"/>
                <a:gd name="T100" fmla="*/ 162 w 341"/>
                <a:gd name="T101" fmla="*/ 6 h 264"/>
                <a:gd name="T102" fmla="*/ 150 w 341"/>
                <a:gd name="T103" fmla="*/ 7 h 264"/>
                <a:gd name="T104" fmla="*/ 145 w 341"/>
                <a:gd name="T105" fmla="*/ 8 h 264"/>
                <a:gd name="T106" fmla="*/ 140 w 341"/>
                <a:gd name="T107" fmla="*/ 4 h 264"/>
                <a:gd name="T108" fmla="*/ 131 w 341"/>
                <a:gd name="T109" fmla="*/ 8 h 264"/>
                <a:gd name="T110" fmla="*/ 119 w 341"/>
                <a:gd name="T111" fmla="*/ 4 h 2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1" h="264">
                  <a:moveTo>
                    <a:pt x="112" y="0"/>
                  </a:moveTo>
                  <a:cubicBezTo>
                    <a:pt x="111" y="1"/>
                    <a:pt x="111" y="1"/>
                    <a:pt x="111" y="1"/>
                  </a:cubicBezTo>
                  <a:cubicBezTo>
                    <a:pt x="111" y="1"/>
                    <a:pt x="111" y="1"/>
                    <a:pt x="111" y="1"/>
                  </a:cubicBezTo>
                  <a:cubicBezTo>
                    <a:pt x="109" y="4"/>
                    <a:pt x="109" y="4"/>
                    <a:pt x="109" y="4"/>
                  </a:cubicBezTo>
                  <a:cubicBezTo>
                    <a:pt x="109" y="5"/>
                    <a:pt x="109" y="5"/>
                    <a:pt x="109" y="6"/>
                  </a:cubicBezTo>
                  <a:cubicBezTo>
                    <a:pt x="108" y="6"/>
                    <a:pt x="108" y="6"/>
                    <a:pt x="108" y="6"/>
                  </a:cubicBezTo>
                  <a:cubicBezTo>
                    <a:pt x="108" y="7"/>
                    <a:pt x="108" y="7"/>
                    <a:pt x="108" y="8"/>
                  </a:cubicBezTo>
                  <a:cubicBezTo>
                    <a:pt x="107" y="8"/>
                    <a:pt x="107" y="8"/>
                    <a:pt x="107" y="8"/>
                  </a:cubicBezTo>
                  <a:cubicBezTo>
                    <a:pt x="106" y="9"/>
                    <a:pt x="106" y="9"/>
                    <a:pt x="106" y="9"/>
                  </a:cubicBezTo>
                  <a:cubicBezTo>
                    <a:pt x="106" y="10"/>
                    <a:pt x="106" y="10"/>
                    <a:pt x="106" y="10"/>
                  </a:cubicBezTo>
                  <a:cubicBezTo>
                    <a:pt x="105" y="11"/>
                    <a:pt x="105" y="11"/>
                    <a:pt x="105" y="11"/>
                  </a:cubicBezTo>
                  <a:cubicBezTo>
                    <a:pt x="104" y="11"/>
                    <a:pt x="104" y="11"/>
                    <a:pt x="104" y="11"/>
                  </a:cubicBezTo>
                  <a:cubicBezTo>
                    <a:pt x="103" y="12"/>
                    <a:pt x="103" y="12"/>
                    <a:pt x="103" y="12"/>
                  </a:cubicBezTo>
                  <a:cubicBezTo>
                    <a:pt x="102" y="12"/>
                    <a:pt x="102" y="12"/>
                    <a:pt x="102" y="12"/>
                  </a:cubicBezTo>
                  <a:cubicBezTo>
                    <a:pt x="102" y="12"/>
                    <a:pt x="102" y="12"/>
                    <a:pt x="102" y="12"/>
                  </a:cubicBezTo>
                  <a:cubicBezTo>
                    <a:pt x="102" y="12"/>
                    <a:pt x="102" y="12"/>
                    <a:pt x="102" y="12"/>
                  </a:cubicBezTo>
                  <a:cubicBezTo>
                    <a:pt x="101" y="12"/>
                    <a:pt x="101" y="12"/>
                    <a:pt x="101" y="12"/>
                  </a:cubicBezTo>
                  <a:cubicBezTo>
                    <a:pt x="101" y="12"/>
                    <a:pt x="101" y="12"/>
                    <a:pt x="101" y="12"/>
                  </a:cubicBezTo>
                  <a:cubicBezTo>
                    <a:pt x="100" y="12"/>
                    <a:pt x="100" y="12"/>
                    <a:pt x="100" y="12"/>
                  </a:cubicBezTo>
                  <a:cubicBezTo>
                    <a:pt x="100" y="12"/>
                    <a:pt x="100" y="12"/>
                    <a:pt x="100" y="12"/>
                  </a:cubicBezTo>
                  <a:cubicBezTo>
                    <a:pt x="100" y="12"/>
                    <a:pt x="99" y="12"/>
                    <a:pt x="99" y="12"/>
                  </a:cubicBezTo>
                  <a:cubicBezTo>
                    <a:pt x="99" y="12"/>
                    <a:pt x="99" y="12"/>
                    <a:pt x="99" y="12"/>
                  </a:cubicBezTo>
                  <a:cubicBezTo>
                    <a:pt x="97" y="10"/>
                    <a:pt x="97" y="10"/>
                    <a:pt x="97" y="10"/>
                  </a:cubicBezTo>
                  <a:cubicBezTo>
                    <a:pt x="97" y="10"/>
                    <a:pt x="97" y="10"/>
                    <a:pt x="97" y="10"/>
                  </a:cubicBezTo>
                  <a:cubicBezTo>
                    <a:pt x="97" y="10"/>
                    <a:pt x="97" y="10"/>
                    <a:pt x="97" y="10"/>
                  </a:cubicBezTo>
                  <a:cubicBezTo>
                    <a:pt x="96" y="10"/>
                    <a:pt x="96" y="10"/>
                    <a:pt x="96" y="10"/>
                  </a:cubicBezTo>
                  <a:cubicBezTo>
                    <a:pt x="97" y="10"/>
                    <a:pt x="97" y="10"/>
                    <a:pt x="97" y="10"/>
                  </a:cubicBezTo>
                  <a:cubicBezTo>
                    <a:pt x="96" y="10"/>
                    <a:pt x="96" y="10"/>
                    <a:pt x="96" y="10"/>
                  </a:cubicBezTo>
                  <a:cubicBezTo>
                    <a:pt x="95" y="11"/>
                    <a:pt x="94" y="12"/>
                    <a:pt x="93" y="12"/>
                  </a:cubicBezTo>
                  <a:cubicBezTo>
                    <a:pt x="92" y="13"/>
                    <a:pt x="91" y="13"/>
                    <a:pt x="90" y="13"/>
                  </a:cubicBezTo>
                  <a:cubicBezTo>
                    <a:pt x="89" y="13"/>
                    <a:pt x="89" y="13"/>
                    <a:pt x="89" y="13"/>
                  </a:cubicBezTo>
                  <a:cubicBezTo>
                    <a:pt x="89" y="13"/>
                    <a:pt x="89" y="13"/>
                    <a:pt x="89" y="13"/>
                  </a:cubicBezTo>
                  <a:cubicBezTo>
                    <a:pt x="87" y="13"/>
                    <a:pt x="86" y="13"/>
                    <a:pt x="85" y="13"/>
                  </a:cubicBezTo>
                  <a:cubicBezTo>
                    <a:pt x="81" y="13"/>
                    <a:pt x="81" y="13"/>
                    <a:pt x="81" y="13"/>
                  </a:cubicBezTo>
                  <a:cubicBezTo>
                    <a:pt x="81" y="15"/>
                    <a:pt x="81" y="18"/>
                    <a:pt x="80" y="20"/>
                  </a:cubicBezTo>
                  <a:cubicBezTo>
                    <a:pt x="80" y="21"/>
                    <a:pt x="80" y="21"/>
                    <a:pt x="80" y="21"/>
                  </a:cubicBezTo>
                  <a:cubicBezTo>
                    <a:pt x="79" y="26"/>
                    <a:pt x="77" y="32"/>
                    <a:pt x="76" y="36"/>
                  </a:cubicBezTo>
                  <a:cubicBezTo>
                    <a:pt x="74" y="41"/>
                    <a:pt x="74" y="41"/>
                    <a:pt x="74" y="41"/>
                  </a:cubicBezTo>
                  <a:cubicBezTo>
                    <a:pt x="74" y="45"/>
                    <a:pt x="73" y="48"/>
                    <a:pt x="71" y="49"/>
                  </a:cubicBezTo>
                  <a:cubicBezTo>
                    <a:pt x="71" y="50"/>
                    <a:pt x="70" y="50"/>
                    <a:pt x="69" y="50"/>
                  </a:cubicBezTo>
                  <a:cubicBezTo>
                    <a:pt x="69" y="50"/>
                    <a:pt x="69" y="50"/>
                    <a:pt x="69" y="50"/>
                  </a:cubicBezTo>
                  <a:cubicBezTo>
                    <a:pt x="68" y="50"/>
                    <a:pt x="68" y="51"/>
                    <a:pt x="67" y="51"/>
                  </a:cubicBezTo>
                  <a:cubicBezTo>
                    <a:pt x="67" y="51"/>
                    <a:pt x="67" y="51"/>
                    <a:pt x="67" y="51"/>
                  </a:cubicBezTo>
                  <a:cubicBezTo>
                    <a:pt x="66" y="51"/>
                    <a:pt x="66" y="51"/>
                    <a:pt x="66" y="51"/>
                  </a:cubicBezTo>
                  <a:cubicBezTo>
                    <a:pt x="66" y="51"/>
                    <a:pt x="65" y="50"/>
                    <a:pt x="64" y="50"/>
                  </a:cubicBezTo>
                  <a:cubicBezTo>
                    <a:pt x="63" y="50"/>
                    <a:pt x="63" y="50"/>
                    <a:pt x="63" y="50"/>
                  </a:cubicBezTo>
                  <a:cubicBezTo>
                    <a:pt x="63" y="50"/>
                    <a:pt x="62" y="50"/>
                    <a:pt x="62" y="50"/>
                  </a:cubicBezTo>
                  <a:cubicBezTo>
                    <a:pt x="62" y="50"/>
                    <a:pt x="62" y="50"/>
                    <a:pt x="62" y="50"/>
                  </a:cubicBezTo>
                  <a:cubicBezTo>
                    <a:pt x="61" y="50"/>
                    <a:pt x="61" y="50"/>
                    <a:pt x="61" y="50"/>
                  </a:cubicBezTo>
                  <a:cubicBezTo>
                    <a:pt x="61" y="51"/>
                    <a:pt x="60" y="52"/>
                    <a:pt x="60" y="53"/>
                  </a:cubicBezTo>
                  <a:cubicBezTo>
                    <a:pt x="59" y="54"/>
                    <a:pt x="59" y="54"/>
                    <a:pt x="59" y="54"/>
                  </a:cubicBezTo>
                  <a:cubicBezTo>
                    <a:pt x="57" y="57"/>
                    <a:pt x="56" y="59"/>
                    <a:pt x="55" y="61"/>
                  </a:cubicBezTo>
                  <a:cubicBezTo>
                    <a:pt x="54" y="63"/>
                    <a:pt x="53" y="65"/>
                    <a:pt x="51" y="67"/>
                  </a:cubicBezTo>
                  <a:cubicBezTo>
                    <a:pt x="49" y="69"/>
                    <a:pt x="48" y="70"/>
                    <a:pt x="48" y="72"/>
                  </a:cubicBezTo>
                  <a:cubicBezTo>
                    <a:pt x="47" y="74"/>
                    <a:pt x="47" y="74"/>
                    <a:pt x="47" y="74"/>
                  </a:cubicBezTo>
                  <a:cubicBezTo>
                    <a:pt x="47" y="76"/>
                    <a:pt x="47" y="78"/>
                    <a:pt x="46" y="79"/>
                  </a:cubicBezTo>
                  <a:cubicBezTo>
                    <a:pt x="46" y="81"/>
                    <a:pt x="46" y="81"/>
                    <a:pt x="46" y="81"/>
                  </a:cubicBezTo>
                  <a:cubicBezTo>
                    <a:pt x="46" y="82"/>
                    <a:pt x="46" y="83"/>
                    <a:pt x="46" y="84"/>
                  </a:cubicBezTo>
                  <a:cubicBezTo>
                    <a:pt x="45" y="85"/>
                    <a:pt x="45" y="86"/>
                    <a:pt x="45" y="87"/>
                  </a:cubicBezTo>
                  <a:cubicBezTo>
                    <a:pt x="45" y="87"/>
                    <a:pt x="45" y="87"/>
                    <a:pt x="45" y="88"/>
                  </a:cubicBezTo>
                  <a:cubicBezTo>
                    <a:pt x="45" y="88"/>
                    <a:pt x="45" y="88"/>
                    <a:pt x="45" y="88"/>
                  </a:cubicBezTo>
                  <a:cubicBezTo>
                    <a:pt x="45" y="89"/>
                    <a:pt x="45" y="90"/>
                    <a:pt x="45" y="91"/>
                  </a:cubicBezTo>
                  <a:cubicBezTo>
                    <a:pt x="45" y="91"/>
                    <a:pt x="44" y="92"/>
                    <a:pt x="44" y="93"/>
                  </a:cubicBezTo>
                  <a:cubicBezTo>
                    <a:pt x="43" y="93"/>
                    <a:pt x="43" y="93"/>
                    <a:pt x="43" y="93"/>
                  </a:cubicBezTo>
                  <a:cubicBezTo>
                    <a:pt x="43" y="94"/>
                    <a:pt x="41" y="95"/>
                    <a:pt x="40" y="96"/>
                  </a:cubicBezTo>
                  <a:cubicBezTo>
                    <a:pt x="39" y="96"/>
                    <a:pt x="38" y="96"/>
                    <a:pt x="38" y="96"/>
                  </a:cubicBezTo>
                  <a:cubicBezTo>
                    <a:pt x="37" y="96"/>
                    <a:pt x="37" y="96"/>
                    <a:pt x="37" y="96"/>
                  </a:cubicBezTo>
                  <a:cubicBezTo>
                    <a:pt x="36" y="96"/>
                    <a:pt x="36" y="96"/>
                    <a:pt x="35" y="96"/>
                  </a:cubicBezTo>
                  <a:cubicBezTo>
                    <a:pt x="35" y="96"/>
                    <a:pt x="35" y="96"/>
                    <a:pt x="35" y="96"/>
                  </a:cubicBezTo>
                  <a:cubicBezTo>
                    <a:pt x="34" y="95"/>
                    <a:pt x="33" y="95"/>
                    <a:pt x="33" y="94"/>
                  </a:cubicBezTo>
                  <a:cubicBezTo>
                    <a:pt x="33" y="94"/>
                    <a:pt x="33" y="94"/>
                    <a:pt x="33" y="94"/>
                  </a:cubicBezTo>
                  <a:cubicBezTo>
                    <a:pt x="32" y="95"/>
                    <a:pt x="32" y="95"/>
                    <a:pt x="32" y="95"/>
                  </a:cubicBezTo>
                  <a:cubicBezTo>
                    <a:pt x="31" y="96"/>
                    <a:pt x="30" y="97"/>
                    <a:pt x="30" y="98"/>
                  </a:cubicBezTo>
                  <a:cubicBezTo>
                    <a:pt x="30" y="98"/>
                    <a:pt x="30" y="98"/>
                    <a:pt x="30" y="98"/>
                  </a:cubicBezTo>
                  <a:cubicBezTo>
                    <a:pt x="29" y="99"/>
                    <a:pt x="29" y="100"/>
                    <a:pt x="30" y="101"/>
                  </a:cubicBezTo>
                  <a:cubicBezTo>
                    <a:pt x="30" y="103"/>
                    <a:pt x="31" y="105"/>
                    <a:pt x="30" y="107"/>
                  </a:cubicBezTo>
                  <a:cubicBezTo>
                    <a:pt x="30" y="108"/>
                    <a:pt x="30" y="109"/>
                    <a:pt x="29" y="110"/>
                  </a:cubicBezTo>
                  <a:cubicBezTo>
                    <a:pt x="29" y="111"/>
                    <a:pt x="29" y="111"/>
                    <a:pt x="29" y="111"/>
                  </a:cubicBezTo>
                  <a:cubicBezTo>
                    <a:pt x="28" y="113"/>
                    <a:pt x="28" y="115"/>
                    <a:pt x="27" y="117"/>
                  </a:cubicBezTo>
                  <a:cubicBezTo>
                    <a:pt x="27" y="118"/>
                    <a:pt x="26" y="119"/>
                    <a:pt x="26" y="120"/>
                  </a:cubicBezTo>
                  <a:cubicBezTo>
                    <a:pt x="25" y="122"/>
                    <a:pt x="25" y="125"/>
                    <a:pt x="25" y="128"/>
                  </a:cubicBezTo>
                  <a:cubicBezTo>
                    <a:pt x="25" y="129"/>
                    <a:pt x="25" y="131"/>
                    <a:pt x="25" y="133"/>
                  </a:cubicBezTo>
                  <a:cubicBezTo>
                    <a:pt x="26" y="134"/>
                    <a:pt x="26" y="135"/>
                    <a:pt x="26" y="136"/>
                  </a:cubicBezTo>
                  <a:cubicBezTo>
                    <a:pt x="26" y="143"/>
                    <a:pt x="25" y="147"/>
                    <a:pt x="22" y="150"/>
                  </a:cubicBezTo>
                  <a:cubicBezTo>
                    <a:pt x="21" y="150"/>
                    <a:pt x="21" y="151"/>
                    <a:pt x="20" y="151"/>
                  </a:cubicBezTo>
                  <a:cubicBezTo>
                    <a:pt x="19" y="152"/>
                    <a:pt x="17" y="152"/>
                    <a:pt x="15" y="152"/>
                  </a:cubicBezTo>
                  <a:cubicBezTo>
                    <a:pt x="13" y="152"/>
                    <a:pt x="12" y="152"/>
                    <a:pt x="10" y="151"/>
                  </a:cubicBezTo>
                  <a:cubicBezTo>
                    <a:pt x="8" y="151"/>
                    <a:pt x="7" y="151"/>
                    <a:pt x="6" y="151"/>
                  </a:cubicBezTo>
                  <a:cubicBezTo>
                    <a:pt x="6" y="151"/>
                    <a:pt x="6" y="151"/>
                    <a:pt x="5" y="151"/>
                  </a:cubicBezTo>
                  <a:cubicBezTo>
                    <a:pt x="4" y="151"/>
                    <a:pt x="4" y="151"/>
                    <a:pt x="4" y="151"/>
                  </a:cubicBezTo>
                  <a:cubicBezTo>
                    <a:pt x="4" y="151"/>
                    <a:pt x="4" y="151"/>
                    <a:pt x="4" y="151"/>
                  </a:cubicBezTo>
                  <a:cubicBezTo>
                    <a:pt x="2" y="151"/>
                    <a:pt x="2" y="153"/>
                    <a:pt x="1" y="155"/>
                  </a:cubicBezTo>
                  <a:cubicBezTo>
                    <a:pt x="1" y="155"/>
                    <a:pt x="0" y="156"/>
                    <a:pt x="0" y="157"/>
                  </a:cubicBezTo>
                  <a:cubicBezTo>
                    <a:pt x="0" y="157"/>
                    <a:pt x="0" y="158"/>
                    <a:pt x="0" y="159"/>
                  </a:cubicBezTo>
                  <a:cubicBezTo>
                    <a:pt x="0" y="159"/>
                    <a:pt x="0" y="159"/>
                    <a:pt x="1" y="159"/>
                  </a:cubicBezTo>
                  <a:cubicBezTo>
                    <a:pt x="4" y="160"/>
                    <a:pt x="6" y="161"/>
                    <a:pt x="8" y="163"/>
                  </a:cubicBezTo>
                  <a:cubicBezTo>
                    <a:pt x="10" y="163"/>
                    <a:pt x="10" y="163"/>
                    <a:pt x="10" y="163"/>
                  </a:cubicBezTo>
                  <a:cubicBezTo>
                    <a:pt x="11" y="164"/>
                    <a:pt x="11" y="164"/>
                    <a:pt x="11" y="164"/>
                  </a:cubicBezTo>
                  <a:cubicBezTo>
                    <a:pt x="12" y="164"/>
                    <a:pt x="13" y="164"/>
                    <a:pt x="14" y="164"/>
                  </a:cubicBezTo>
                  <a:cubicBezTo>
                    <a:pt x="16" y="166"/>
                    <a:pt x="18" y="168"/>
                    <a:pt x="20" y="171"/>
                  </a:cubicBezTo>
                  <a:cubicBezTo>
                    <a:pt x="20" y="172"/>
                    <a:pt x="21" y="173"/>
                    <a:pt x="21" y="173"/>
                  </a:cubicBezTo>
                  <a:cubicBezTo>
                    <a:pt x="22" y="174"/>
                    <a:pt x="23" y="175"/>
                    <a:pt x="23" y="175"/>
                  </a:cubicBezTo>
                  <a:cubicBezTo>
                    <a:pt x="23" y="176"/>
                    <a:pt x="23" y="176"/>
                    <a:pt x="23" y="176"/>
                  </a:cubicBezTo>
                  <a:cubicBezTo>
                    <a:pt x="25" y="178"/>
                    <a:pt x="27" y="180"/>
                    <a:pt x="29" y="181"/>
                  </a:cubicBezTo>
                  <a:cubicBezTo>
                    <a:pt x="30" y="181"/>
                    <a:pt x="31" y="181"/>
                    <a:pt x="32" y="182"/>
                  </a:cubicBezTo>
                  <a:cubicBezTo>
                    <a:pt x="33" y="183"/>
                    <a:pt x="34" y="185"/>
                    <a:pt x="36" y="186"/>
                  </a:cubicBezTo>
                  <a:cubicBezTo>
                    <a:pt x="37" y="187"/>
                    <a:pt x="37" y="187"/>
                    <a:pt x="37" y="187"/>
                  </a:cubicBezTo>
                  <a:cubicBezTo>
                    <a:pt x="38" y="188"/>
                    <a:pt x="38" y="189"/>
                    <a:pt x="39" y="190"/>
                  </a:cubicBezTo>
                  <a:cubicBezTo>
                    <a:pt x="43" y="195"/>
                    <a:pt x="47" y="208"/>
                    <a:pt x="47" y="210"/>
                  </a:cubicBezTo>
                  <a:cubicBezTo>
                    <a:pt x="48" y="211"/>
                    <a:pt x="48" y="212"/>
                    <a:pt x="49" y="213"/>
                  </a:cubicBezTo>
                  <a:cubicBezTo>
                    <a:pt x="49" y="213"/>
                    <a:pt x="49" y="213"/>
                    <a:pt x="49" y="213"/>
                  </a:cubicBezTo>
                  <a:cubicBezTo>
                    <a:pt x="50" y="214"/>
                    <a:pt x="50" y="214"/>
                    <a:pt x="51" y="215"/>
                  </a:cubicBezTo>
                  <a:cubicBezTo>
                    <a:pt x="52" y="215"/>
                    <a:pt x="52" y="215"/>
                    <a:pt x="52" y="215"/>
                  </a:cubicBezTo>
                  <a:cubicBezTo>
                    <a:pt x="53" y="216"/>
                    <a:pt x="53" y="216"/>
                    <a:pt x="53" y="216"/>
                  </a:cubicBezTo>
                  <a:cubicBezTo>
                    <a:pt x="54" y="217"/>
                    <a:pt x="55" y="217"/>
                    <a:pt x="57" y="218"/>
                  </a:cubicBezTo>
                  <a:cubicBezTo>
                    <a:pt x="58" y="218"/>
                    <a:pt x="58" y="218"/>
                    <a:pt x="58" y="218"/>
                  </a:cubicBezTo>
                  <a:cubicBezTo>
                    <a:pt x="59" y="218"/>
                    <a:pt x="61" y="218"/>
                    <a:pt x="63" y="219"/>
                  </a:cubicBezTo>
                  <a:cubicBezTo>
                    <a:pt x="64" y="220"/>
                    <a:pt x="65" y="221"/>
                    <a:pt x="65" y="223"/>
                  </a:cubicBezTo>
                  <a:cubicBezTo>
                    <a:pt x="65" y="224"/>
                    <a:pt x="65" y="224"/>
                    <a:pt x="65" y="225"/>
                  </a:cubicBezTo>
                  <a:cubicBezTo>
                    <a:pt x="65" y="225"/>
                    <a:pt x="65" y="226"/>
                    <a:pt x="64" y="227"/>
                  </a:cubicBezTo>
                  <a:cubicBezTo>
                    <a:pt x="64" y="228"/>
                    <a:pt x="64" y="229"/>
                    <a:pt x="64" y="229"/>
                  </a:cubicBezTo>
                  <a:cubicBezTo>
                    <a:pt x="64" y="230"/>
                    <a:pt x="64" y="230"/>
                    <a:pt x="64" y="230"/>
                  </a:cubicBezTo>
                  <a:cubicBezTo>
                    <a:pt x="64" y="231"/>
                    <a:pt x="64" y="231"/>
                    <a:pt x="64" y="232"/>
                  </a:cubicBezTo>
                  <a:cubicBezTo>
                    <a:pt x="64" y="236"/>
                    <a:pt x="64" y="236"/>
                    <a:pt x="64" y="236"/>
                  </a:cubicBezTo>
                  <a:cubicBezTo>
                    <a:pt x="66" y="236"/>
                    <a:pt x="66" y="236"/>
                    <a:pt x="66" y="236"/>
                  </a:cubicBezTo>
                  <a:cubicBezTo>
                    <a:pt x="67" y="237"/>
                    <a:pt x="67" y="237"/>
                    <a:pt x="67" y="237"/>
                  </a:cubicBezTo>
                  <a:cubicBezTo>
                    <a:pt x="68" y="239"/>
                    <a:pt x="69" y="240"/>
                    <a:pt x="69" y="240"/>
                  </a:cubicBezTo>
                  <a:cubicBezTo>
                    <a:pt x="81" y="240"/>
                    <a:pt x="81" y="240"/>
                    <a:pt x="81" y="240"/>
                  </a:cubicBezTo>
                  <a:cubicBezTo>
                    <a:pt x="82" y="240"/>
                    <a:pt x="84" y="240"/>
                    <a:pt x="85" y="241"/>
                  </a:cubicBezTo>
                  <a:cubicBezTo>
                    <a:pt x="86" y="241"/>
                    <a:pt x="87" y="241"/>
                    <a:pt x="88" y="242"/>
                  </a:cubicBezTo>
                  <a:cubicBezTo>
                    <a:pt x="89" y="237"/>
                    <a:pt x="89" y="237"/>
                    <a:pt x="89" y="237"/>
                  </a:cubicBezTo>
                  <a:cubicBezTo>
                    <a:pt x="89" y="242"/>
                    <a:pt x="89" y="242"/>
                    <a:pt x="89" y="242"/>
                  </a:cubicBezTo>
                  <a:cubicBezTo>
                    <a:pt x="89" y="242"/>
                    <a:pt x="89" y="242"/>
                    <a:pt x="89" y="242"/>
                  </a:cubicBezTo>
                  <a:cubicBezTo>
                    <a:pt x="90" y="243"/>
                    <a:pt x="91" y="243"/>
                    <a:pt x="92" y="244"/>
                  </a:cubicBezTo>
                  <a:cubicBezTo>
                    <a:pt x="92" y="244"/>
                    <a:pt x="92" y="244"/>
                    <a:pt x="92" y="244"/>
                  </a:cubicBezTo>
                  <a:cubicBezTo>
                    <a:pt x="94" y="245"/>
                    <a:pt x="95" y="246"/>
                    <a:pt x="97" y="246"/>
                  </a:cubicBezTo>
                  <a:cubicBezTo>
                    <a:pt x="97" y="247"/>
                    <a:pt x="97" y="247"/>
                    <a:pt x="97" y="247"/>
                  </a:cubicBezTo>
                  <a:cubicBezTo>
                    <a:pt x="98" y="247"/>
                    <a:pt x="100" y="248"/>
                    <a:pt x="101" y="249"/>
                  </a:cubicBezTo>
                  <a:cubicBezTo>
                    <a:pt x="103" y="250"/>
                    <a:pt x="103" y="250"/>
                    <a:pt x="103" y="250"/>
                  </a:cubicBezTo>
                  <a:cubicBezTo>
                    <a:pt x="106" y="252"/>
                    <a:pt x="109" y="254"/>
                    <a:pt x="113" y="256"/>
                  </a:cubicBezTo>
                  <a:cubicBezTo>
                    <a:pt x="114" y="257"/>
                    <a:pt x="115" y="258"/>
                    <a:pt x="117" y="259"/>
                  </a:cubicBezTo>
                  <a:cubicBezTo>
                    <a:pt x="120" y="261"/>
                    <a:pt x="126" y="261"/>
                    <a:pt x="131" y="262"/>
                  </a:cubicBezTo>
                  <a:cubicBezTo>
                    <a:pt x="132" y="262"/>
                    <a:pt x="133" y="262"/>
                    <a:pt x="134" y="262"/>
                  </a:cubicBezTo>
                  <a:cubicBezTo>
                    <a:pt x="138" y="262"/>
                    <a:pt x="138" y="262"/>
                    <a:pt x="138" y="262"/>
                  </a:cubicBezTo>
                  <a:cubicBezTo>
                    <a:pt x="141" y="263"/>
                    <a:pt x="144" y="263"/>
                    <a:pt x="147" y="263"/>
                  </a:cubicBezTo>
                  <a:cubicBezTo>
                    <a:pt x="147" y="264"/>
                    <a:pt x="148" y="264"/>
                    <a:pt x="149" y="264"/>
                  </a:cubicBezTo>
                  <a:cubicBezTo>
                    <a:pt x="150" y="263"/>
                    <a:pt x="151" y="261"/>
                    <a:pt x="152" y="260"/>
                  </a:cubicBezTo>
                  <a:cubicBezTo>
                    <a:pt x="154" y="257"/>
                    <a:pt x="155" y="254"/>
                    <a:pt x="158" y="253"/>
                  </a:cubicBezTo>
                  <a:cubicBezTo>
                    <a:pt x="178" y="244"/>
                    <a:pt x="178" y="244"/>
                    <a:pt x="178" y="244"/>
                  </a:cubicBezTo>
                  <a:cubicBezTo>
                    <a:pt x="178" y="244"/>
                    <a:pt x="178" y="244"/>
                    <a:pt x="178" y="244"/>
                  </a:cubicBezTo>
                  <a:cubicBezTo>
                    <a:pt x="178" y="244"/>
                    <a:pt x="178" y="244"/>
                    <a:pt x="178" y="244"/>
                  </a:cubicBezTo>
                  <a:cubicBezTo>
                    <a:pt x="179" y="244"/>
                    <a:pt x="179" y="244"/>
                    <a:pt x="179" y="244"/>
                  </a:cubicBezTo>
                  <a:cubicBezTo>
                    <a:pt x="179" y="244"/>
                    <a:pt x="179" y="244"/>
                    <a:pt x="179" y="244"/>
                  </a:cubicBezTo>
                  <a:cubicBezTo>
                    <a:pt x="180" y="244"/>
                    <a:pt x="181" y="244"/>
                    <a:pt x="181" y="245"/>
                  </a:cubicBezTo>
                  <a:cubicBezTo>
                    <a:pt x="182" y="245"/>
                    <a:pt x="183" y="246"/>
                    <a:pt x="184" y="247"/>
                  </a:cubicBezTo>
                  <a:cubicBezTo>
                    <a:pt x="185" y="249"/>
                    <a:pt x="187" y="250"/>
                    <a:pt x="189" y="251"/>
                  </a:cubicBezTo>
                  <a:cubicBezTo>
                    <a:pt x="189" y="252"/>
                    <a:pt x="190" y="252"/>
                    <a:pt x="190" y="252"/>
                  </a:cubicBezTo>
                  <a:cubicBezTo>
                    <a:pt x="191" y="252"/>
                    <a:pt x="191" y="252"/>
                    <a:pt x="191" y="252"/>
                  </a:cubicBezTo>
                  <a:cubicBezTo>
                    <a:pt x="191" y="252"/>
                    <a:pt x="191" y="252"/>
                    <a:pt x="191" y="252"/>
                  </a:cubicBezTo>
                  <a:cubicBezTo>
                    <a:pt x="192" y="252"/>
                    <a:pt x="192" y="252"/>
                    <a:pt x="192" y="252"/>
                  </a:cubicBezTo>
                  <a:cubicBezTo>
                    <a:pt x="193" y="252"/>
                    <a:pt x="194" y="252"/>
                    <a:pt x="195" y="252"/>
                  </a:cubicBezTo>
                  <a:cubicBezTo>
                    <a:pt x="196" y="252"/>
                    <a:pt x="196" y="252"/>
                    <a:pt x="196" y="252"/>
                  </a:cubicBezTo>
                  <a:cubicBezTo>
                    <a:pt x="197" y="252"/>
                    <a:pt x="199" y="251"/>
                    <a:pt x="200" y="251"/>
                  </a:cubicBezTo>
                  <a:cubicBezTo>
                    <a:pt x="200" y="251"/>
                    <a:pt x="200" y="251"/>
                    <a:pt x="200" y="251"/>
                  </a:cubicBezTo>
                  <a:cubicBezTo>
                    <a:pt x="204" y="251"/>
                    <a:pt x="204" y="251"/>
                    <a:pt x="204" y="251"/>
                  </a:cubicBezTo>
                  <a:cubicBezTo>
                    <a:pt x="204" y="251"/>
                    <a:pt x="205" y="250"/>
                    <a:pt x="206" y="249"/>
                  </a:cubicBezTo>
                  <a:cubicBezTo>
                    <a:pt x="207" y="248"/>
                    <a:pt x="208" y="247"/>
                    <a:pt x="210" y="246"/>
                  </a:cubicBezTo>
                  <a:cubicBezTo>
                    <a:pt x="212" y="245"/>
                    <a:pt x="215" y="245"/>
                    <a:pt x="218" y="245"/>
                  </a:cubicBezTo>
                  <a:cubicBezTo>
                    <a:pt x="218" y="245"/>
                    <a:pt x="218" y="245"/>
                    <a:pt x="218" y="245"/>
                  </a:cubicBezTo>
                  <a:cubicBezTo>
                    <a:pt x="219" y="245"/>
                    <a:pt x="220" y="245"/>
                    <a:pt x="221" y="245"/>
                  </a:cubicBezTo>
                  <a:cubicBezTo>
                    <a:pt x="222" y="244"/>
                    <a:pt x="224" y="244"/>
                    <a:pt x="225" y="243"/>
                  </a:cubicBezTo>
                  <a:cubicBezTo>
                    <a:pt x="226" y="242"/>
                    <a:pt x="228" y="241"/>
                    <a:pt x="230" y="240"/>
                  </a:cubicBezTo>
                  <a:cubicBezTo>
                    <a:pt x="235" y="235"/>
                    <a:pt x="241" y="231"/>
                    <a:pt x="248" y="229"/>
                  </a:cubicBezTo>
                  <a:cubicBezTo>
                    <a:pt x="250" y="229"/>
                    <a:pt x="251" y="229"/>
                    <a:pt x="253" y="228"/>
                  </a:cubicBezTo>
                  <a:cubicBezTo>
                    <a:pt x="254" y="228"/>
                    <a:pt x="256" y="228"/>
                    <a:pt x="258" y="228"/>
                  </a:cubicBezTo>
                  <a:cubicBezTo>
                    <a:pt x="258" y="228"/>
                    <a:pt x="259" y="228"/>
                    <a:pt x="260" y="228"/>
                  </a:cubicBezTo>
                  <a:cubicBezTo>
                    <a:pt x="260" y="228"/>
                    <a:pt x="261" y="228"/>
                    <a:pt x="262" y="228"/>
                  </a:cubicBezTo>
                  <a:cubicBezTo>
                    <a:pt x="262" y="228"/>
                    <a:pt x="263" y="228"/>
                    <a:pt x="264" y="228"/>
                  </a:cubicBezTo>
                  <a:cubicBezTo>
                    <a:pt x="266" y="228"/>
                    <a:pt x="266" y="228"/>
                    <a:pt x="266" y="228"/>
                  </a:cubicBezTo>
                  <a:cubicBezTo>
                    <a:pt x="267" y="228"/>
                    <a:pt x="268" y="229"/>
                    <a:pt x="269" y="229"/>
                  </a:cubicBezTo>
                  <a:cubicBezTo>
                    <a:pt x="270" y="229"/>
                    <a:pt x="271" y="229"/>
                    <a:pt x="272" y="229"/>
                  </a:cubicBezTo>
                  <a:cubicBezTo>
                    <a:pt x="273" y="229"/>
                    <a:pt x="273" y="229"/>
                    <a:pt x="273" y="229"/>
                  </a:cubicBezTo>
                  <a:cubicBezTo>
                    <a:pt x="273" y="229"/>
                    <a:pt x="273" y="229"/>
                    <a:pt x="273" y="229"/>
                  </a:cubicBezTo>
                  <a:cubicBezTo>
                    <a:pt x="274" y="229"/>
                    <a:pt x="274" y="229"/>
                    <a:pt x="275" y="229"/>
                  </a:cubicBezTo>
                  <a:cubicBezTo>
                    <a:pt x="276" y="228"/>
                    <a:pt x="276" y="228"/>
                    <a:pt x="276" y="228"/>
                  </a:cubicBezTo>
                  <a:cubicBezTo>
                    <a:pt x="276" y="228"/>
                    <a:pt x="277" y="228"/>
                    <a:pt x="277" y="227"/>
                  </a:cubicBezTo>
                  <a:cubicBezTo>
                    <a:pt x="278" y="226"/>
                    <a:pt x="279" y="225"/>
                    <a:pt x="280" y="225"/>
                  </a:cubicBezTo>
                  <a:cubicBezTo>
                    <a:pt x="281" y="223"/>
                    <a:pt x="281" y="223"/>
                    <a:pt x="281" y="223"/>
                  </a:cubicBezTo>
                  <a:cubicBezTo>
                    <a:pt x="282" y="222"/>
                    <a:pt x="283" y="221"/>
                    <a:pt x="284" y="220"/>
                  </a:cubicBezTo>
                  <a:cubicBezTo>
                    <a:pt x="286" y="217"/>
                    <a:pt x="286" y="217"/>
                    <a:pt x="286" y="217"/>
                  </a:cubicBezTo>
                  <a:cubicBezTo>
                    <a:pt x="287" y="217"/>
                    <a:pt x="287" y="216"/>
                    <a:pt x="287" y="216"/>
                  </a:cubicBezTo>
                  <a:cubicBezTo>
                    <a:pt x="291" y="212"/>
                    <a:pt x="291" y="212"/>
                    <a:pt x="291" y="212"/>
                  </a:cubicBezTo>
                  <a:cubicBezTo>
                    <a:pt x="306" y="197"/>
                    <a:pt x="319" y="183"/>
                    <a:pt x="331" y="171"/>
                  </a:cubicBezTo>
                  <a:cubicBezTo>
                    <a:pt x="334" y="168"/>
                    <a:pt x="337" y="165"/>
                    <a:pt x="341" y="162"/>
                  </a:cubicBezTo>
                  <a:cubicBezTo>
                    <a:pt x="338" y="162"/>
                    <a:pt x="336" y="162"/>
                    <a:pt x="333" y="162"/>
                  </a:cubicBezTo>
                  <a:cubicBezTo>
                    <a:pt x="330" y="162"/>
                    <a:pt x="328" y="162"/>
                    <a:pt x="325" y="162"/>
                  </a:cubicBezTo>
                  <a:cubicBezTo>
                    <a:pt x="322" y="162"/>
                    <a:pt x="318" y="160"/>
                    <a:pt x="315" y="159"/>
                  </a:cubicBezTo>
                  <a:cubicBezTo>
                    <a:pt x="314" y="158"/>
                    <a:pt x="314" y="158"/>
                    <a:pt x="314" y="158"/>
                  </a:cubicBezTo>
                  <a:cubicBezTo>
                    <a:pt x="313" y="158"/>
                    <a:pt x="312" y="158"/>
                    <a:pt x="311" y="157"/>
                  </a:cubicBezTo>
                  <a:cubicBezTo>
                    <a:pt x="269" y="143"/>
                    <a:pt x="269" y="143"/>
                    <a:pt x="269" y="143"/>
                  </a:cubicBezTo>
                  <a:cubicBezTo>
                    <a:pt x="268" y="142"/>
                    <a:pt x="266" y="142"/>
                    <a:pt x="265" y="142"/>
                  </a:cubicBezTo>
                  <a:cubicBezTo>
                    <a:pt x="264" y="141"/>
                    <a:pt x="264" y="141"/>
                    <a:pt x="264" y="141"/>
                  </a:cubicBezTo>
                  <a:cubicBezTo>
                    <a:pt x="260" y="140"/>
                    <a:pt x="256" y="139"/>
                    <a:pt x="252" y="137"/>
                  </a:cubicBezTo>
                  <a:cubicBezTo>
                    <a:pt x="252" y="136"/>
                    <a:pt x="251" y="136"/>
                    <a:pt x="251" y="136"/>
                  </a:cubicBezTo>
                  <a:cubicBezTo>
                    <a:pt x="248" y="133"/>
                    <a:pt x="248" y="133"/>
                    <a:pt x="248" y="133"/>
                  </a:cubicBezTo>
                  <a:cubicBezTo>
                    <a:pt x="244" y="131"/>
                    <a:pt x="241" y="129"/>
                    <a:pt x="239" y="127"/>
                  </a:cubicBezTo>
                  <a:cubicBezTo>
                    <a:pt x="237" y="125"/>
                    <a:pt x="235" y="122"/>
                    <a:pt x="234" y="119"/>
                  </a:cubicBezTo>
                  <a:cubicBezTo>
                    <a:pt x="233" y="119"/>
                    <a:pt x="233" y="119"/>
                    <a:pt x="233" y="119"/>
                  </a:cubicBezTo>
                  <a:cubicBezTo>
                    <a:pt x="233" y="118"/>
                    <a:pt x="232" y="117"/>
                    <a:pt x="232" y="116"/>
                  </a:cubicBezTo>
                  <a:cubicBezTo>
                    <a:pt x="231" y="115"/>
                    <a:pt x="231" y="115"/>
                    <a:pt x="231" y="115"/>
                  </a:cubicBezTo>
                  <a:cubicBezTo>
                    <a:pt x="229" y="111"/>
                    <a:pt x="227" y="108"/>
                    <a:pt x="224" y="104"/>
                  </a:cubicBezTo>
                  <a:cubicBezTo>
                    <a:pt x="224" y="104"/>
                    <a:pt x="224" y="103"/>
                    <a:pt x="224" y="103"/>
                  </a:cubicBezTo>
                  <a:cubicBezTo>
                    <a:pt x="222" y="100"/>
                    <a:pt x="220" y="98"/>
                    <a:pt x="220" y="96"/>
                  </a:cubicBezTo>
                  <a:cubicBezTo>
                    <a:pt x="220" y="95"/>
                    <a:pt x="220" y="95"/>
                    <a:pt x="222" y="93"/>
                  </a:cubicBezTo>
                  <a:cubicBezTo>
                    <a:pt x="223" y="92"/>
                    <a:pt x="224" y="91"/>
                    <a:pt x="224" y="91"/>
                  </a:cubicBezTo>
                  <a:cubicBezTo>
                    <a:pt x="224" y="90"/>
                    <a:pt x="224" y="90"/>
                    <a:pt x="225" y="89"/>
                  </a:cubicBezTo>
                  <a:cubicBezTo>
                    <a:pt x="224" y="89"/>
                    <a:pt x="223" y="89"/>
                    <a:pt x="223" y="89"/>
                  </a:cubicBezTo>
                  <a:cubicBezTo>
                    <a:pt x="223" y="89"/>
                    <a:pt x="223" y="89"/>
                    <a:pt x="222" y="89"/>
                  </a:cubicBezTo>
                  <a:cubicBezTo>
                    <a:pt x="222" y="89"/>
                    <a:pt x="220" y="89"/>
                    <a:pt x="216" y="90"/>
                  </a:cubicBezTo>
                  <a:cubicBezTo>
                    <a:pt x="213" y="91"/>
                    <a:pt x="209" y="92"/>
                    <a:pt x="206" y="92"/>
                  </a:cubicBezTo>
                  <a:cubicBezTo>
                    <a:pt x="206" y="92"/>
                    <a:pt x="206" y="92"/>
                    <a:pt x="205" y="92"/>
                  </a:cubicBezTo>
                  <a:cubicBezTo>
                    <a:pt x="205" y="95"/>
                    <a:pt x="205" y="95"/>
                    <a:pt x="205" y="95"/>
                  </a:cubicBezTo>
                  <a:cubicBezTo>
                    <a:pt x="205" y="92"/>
                    <a:pt x="205" y="92"/>
                    <a:pt x="205" y="92"/>
                  </a:cubicBezTo>
                  <a:cubicBezTo>
                    <a:pt x="203" y="92"/>
                    <a:pt x="201" y="91"/>
                    <a:pt x="200" y="90"/>
                  </a:cubicBezTo>
                  <a:cubicBezTo>
                    <a:pt x="200" y="89"/>
                    <a:pt x="199" y="87"/>
                    <a:pt x="200" y="83"/>
                  </a:cubicBezTo>
                  <a:cubicBezTo>
                    <a:pt x="200" y="82"/>
                    <a:pt x="200" y="82"/>
                    <a:pt x="200" y="82"/>
                  </a:cubicBezTo>
                  <a:cubicBezTo>
                    <a:pt x="199" y="81"/>
                    <a:pt x="199" y="80"/>
                    <a:pt x="199" y="80"/>
                  </a:cubicBezTo>
                  <a:cubicBezTo>
                    <a:pt x="196" y="80"/>
                    <a:pt x="196" y="80"/>
                    <a:pt x="196" y="80"/>
                  </a:cubicBezTo>
                  <a:cubicBezTo>
                    <a:pt x="199" y="78"/>
                    <a:pt x="199" y="78"/>
                    <a:pt x="199" y="78"/>
                  </a:cubicBezTo>
                  <a:cubicBezTo>
                    <a:pt x="199" y="78"/>
                    <a:pt x="199" y="78"/>
                    <a:pt x="199" y="78"/>
                  </a:cubicBezTo>
                  <a:cubicBezTo>
                    <a:pt x="199" y="77"/>
                    <a:pt x="199" y="77"/>
                    <a:pt x="199" y="76"/>
                  </a:cubicBezTo>
                  <a:cubicBezTo>
                    <a:pt x="199" y="75"/>
                    <a:pt x="199" y="75"/>
                    <a:pt x="199" y="74"/>
                  </a:cubicBezTo>
                  <a:cubicBezTo>
                    <a:pt x="199" y="72"/>
                    <a:pt x="200" y="70"/>
                    <a:pt x="202" y="68"/>
                  </a:cubicBezTo>
                  <a:cubicBezTo>
                    <a:pt x="202" y="68"/>
                    <a:pt x="203" y="67"/>
                    <a:pt x="203" y="67"/>
                  </a:cubicBezTo>
                  <a:cubicBezTo>
                    <a:pt x="203" y="66"/>
                    <a:pt x="204" y="66"/>
                    <a:pt x="204" y="65"/>
                  </a:cubicBezTo>
                  <a:cubicBezTo>
                    <a:pt x="205" y="65"/>
                    <a:pt x="207" y="62"/>
                    <a:pt x="208" y="59"/>
                  </a:cubicBezTo>
                  <a:cubicBezTo>
                    <a:pt x="210" y="56"/>
                    <a:pt x="212" y="54"/>
                    <a:pt x="213" y="52"/>
                  </a:cubicBezTo>
                  <a:cubicBezTo>
                    <a:pt x="206" y="44"/>
                    <a:pt x="206" y="44"/>
                    <a:pt x="206" y="44"/>
                  </a:cubicBezTo>
                  <a:cubicBezTo>
                    <a:pt x="204" y="41"/>
                    <a:pt x="201" y="38"/>
                    <a:pt x="198" y="35"/>
                  </a:cubicBezTo>
                  <a:cubicBezTo>
                    <a:pt x="195" y="32"/>
                    <a:pt x="195" y="32"/>
                    <a:pt x="195" y="32"/>
                  </a:cubicBezTo>
                  <a:cubicBezTo>
                    <a:pt x="191" y="27"/>
                    <a:pt x="186" y="22"/>
                    <a:pt x="181" y="17"/>
                  </a:cubicBezTo>
                  <a:cubicBezTo>
                    <a:pt x="179" y="15"/>
                    <a:pt x="179" y="15"/>
                    <a:pt x="179" y="15"/>
                  </a:cubicBezTo>
                  <a:cubicBezTo>
                    <a:pt x="178" y="14"/>
                    <a:pt x="175" y="13"/>
                    <a:pt x="174" y="12"/>
                  </a:cubicBezTo>
                  <a:cubicBezTo>
                    <a:pt x="173" y="12"/>
                    <a:pt x="173" y="12"/>
                    <a:pt x="173" y="12"/>
                  </a:cubicBezTo>
                  <a:cubicBezTo>
                    <a:pt x="172" y="12"/>
                    <a:pt x="171" y="12"/>
                    <a:pt x="171" y="11"/>
                  </a:cubicBezTo>
                  <a:cubicBezTo>
                    <a:pt x="170" y="11"/>
                    <a:pt x="169" y="11"/>
                    <a:pt x="168" y="10"/>
                  </a:cubicBezTo>
                  <a:cubicBezTo>
                    <a:pt x="168" y="10"/>
                    <a:pt x="168" y="10"/>
                    <a:pt x="168" y="10"/>
                  </a:cubicBezTo>
                  <a:cubicBezTo>
                    <a:pt x="167" y="9"/>
                    <a:pt x="166" y="9"/>
                    <a:pt x="166" y="8"/>
                  </a:cubicBezTo>
                  <a:cubicBezTo>
                    <a:pt x="165" y="8"/>
                    <a:pt x="165" y="8"/>
                    <a:pt x="165" y="8"/>
                  </a:cubicBezTo>
                  <a:cubicBezTo>
                    <a:pt x="165" y="8"/>
                    <a:pt x="165" y="8"/>
                    <a:pt x="165" y="8"/>
                  </a:cubicBezTo>
                  <a:cubicBezTo>
                    <a:pt x="164" y="7"/>
                    <a:pt x="164" y="7"/>
                    <a:pt x="164" y="7"/>
                  </a:cubicBezTo>
                  <a:cubicBezTo>
                    <a:pt x="163" y="6"/>
                    <a:pt x="163" y="6"/>
                    <a:pt x="163" y="6"/>
                  </a:cubicBezTo>
                  <a:cubicBezTo>
                    <a:pt x="163" y="6"/>
                    <a:pt x="163" y="6"/>
                    <a:pt x="163" y="6"/>
                  </a:cubicBezTo>
                  <a:cubicBezTo>
                    <a:pt x="162" y="6"/>
                    <a:pt x="162" y="6"/>
                    <a:pt x="162" y="6"/>
                  </a:cubicBezTo>
                  <a:cubicBezTo>
                    <a:pt x="162" y="6"/>
                    <a:pt x="162" y="6"/>
                    <a:pt x="162" y="6"/>
                  </a:cubicBezTo>
                  <a:cubicBezTo>
                    <a:pt x="161" y="7"/>
                    <a:pt x="159" y="7"/>
                    <a:pt x="158" y="7"/>
                  </a:cubicBezTo>
                  <a:cubicBezTo>
                    <a:pt x="157" y="7"/>
                    <a:pt x="156" y="7"/>
                    <a:pt x="154" y="6"/>
                  </a:cubicBezTo>
                  <a:cubicBezTo>
                    <a:pt x="154" y="6"/>
                    <a:pt x="153" y="6"/>
                    <a:pt x="153" y="5"/>
                  </a:cubicBezTo>
                  <a:cubicBezTo>
                    <a:pt x="152" y="6"/>
                    <a:pt x="152" y="6"/>
                    <a:pt x="151" y="7"/>
                  </a:cubicBezTo>
                  <a:cubicBezTo>
                    <a:pt x="150" y="7"/>
                    <a:pt x="150" y="7"/>
                    <a:pt x="150" y="7"/>
                  </a:cubicBezTo>
                  <a:cubicBezTo>
                    <a:pt x="149" y="7"/>
                    <a:pt x="148" y="7"/>
                    <a:pt x="147" y="7"/>
                  </a:cubicBezTo>
                  <a:cubicBezTo>
                    <a:pt x="146" y="8"/>
                    <a:pt x="146" y="8"/>
                    <a:pt x="145" y="8"/>
                  </a:cubicBezTo>
                  <a:cubicBezTo>
                    <a:pt x="145" y="8"/>
                    <a:pt x="145" y="8"/>
                    <a:pt x="145" y="8"/>
                  </a:cubicBezTo>
                  <a:cubicBezTo>
                    <a:pt x="145" y="8"/>
                    <a:pt x="145" y="8"/>
                    <a:pt x="145" y="8"/>
                  </a:cubicBezTo>
                  <a:cubicBezTo>
                    <a:pt x="145" y="8"/>
                    <a:pt x="145" y="8"/>
                    <a:pt x="145" y="8"/>
                  </a:cubicBezTo>
                  <a:cubicBezTo>
                    <a:pt x="140" y="6"/>
                    <a:pt x="140" y="6"/>
                    <a:pt x="140" y="6"/>
                  </a:cubicBezTo>
                  <a:cubicBezTo>
                    <a:pt x="140" y="5"/>
                    <a:pt x="140" y="5"/>
                    <a:pt x="140" y="5"/>
                  </a:cubicBezTo>
                  <a:cubicBezTo>
                    <a:pt x="140" y="5"/>
                    <a:pt x="140" y="5"/>
                    <a:pt x="140" y="5"/>
                  </a:cubicBezTo>
                  <a:cubicBezTo>
                    <a:pt x="140" y="5"/>
                    <a:pt x="140" y="5"/>
                    <a:pt x="140" y="5"/>
                  </a:cubicBezTo>
                  <a:cubicBezTo>
                    <a:pt x="140" y="4"/>
                    <a:pt x="140" y="4"/>
                    <a:pt x="140" y="4"/>
                  </a:cubicBezTo>
                  <a:cubicBezTo>
                    <a:pt x="140" y="4"/>
                    <a:pt x="140" y="4"/>
                    <a:pt x="140" y="4"/>
                  </a:cubicBezTo>
                  <a:cubicBezTo>
                    <a:pt x="139" y="5"/>
                    <a:pt x="138" y="5"/>
                    <a:pt x="138" y="6"/>
                  </a:cubicBezTo>
                  <a:cubicBezTo>
                    <a:pt x="137" y="6"/>
                    <a:pt x="137" y="6"/>
                    <a:pt x="136" y="6"/>
                  </a:cubicBezTo>
                  <a:cubicBezTo>
                    <a:pt x="135" y="6"/>
                    <a:pt x="134" y="7"/>
                    <a:pt x="134" y="7"/>
                  </a:cubicBezTo>
                  <a:cubicBezTo>
                    <a:pt x="133" y="7"/>
                    <a:pt x="132" y="7"/>
                    <a:pt x="131" y="8"/>
                  </a:cubicBezTo>
                  <a:cubicBezTo>
                    <a:pt x="130" y="8"/>
                    <a:pt x="128" y="8"/>
                    <a:pt x="127" y="9"/>
                  </a:cubicBezTo>
                  <a:cubicBezTo>
                    <a:pt x="125" y="10"/>
                    <a:pt x="125" y="10"/>
                    <a:pt x="125" y="10"/>
                  </a:cubicBezTo>
                  <a:cubicBezTo>
                    <a:pt x="124" y="8"/>
                    <a:pt x="124" y="8"/>
                    <a:pt x="124" y="8"/>
                  </a:cubicBezTo>
                  <a:cubicBezTo>
                    <a:pt x="123" y="7"/>
                    <a:pt x="121" y="6"/>
                    <a:pt x="120" y="5"/>
                  </a:cubicBezTo>
                  <a:cubicBezTo>
                    <a:pt x="119" y="4"/>
                    <a:pt x="119" y="4"/>
                    <a:pt x="119" y="4"/>
                  </a:cubicBezTo>
                  <a:cubicBezTo>
                    <a:pt x="118" y="3"/>
                    <a:pt x="118" y="3"/>
                    <a:pt x="117" y="2"/>
                  </a:cubicBezTo>
                  <a:cubicBezTo>
                    <a:pt x="116" y="2"/>
                    <a:pt x="115" y="2"/>
                    <a:pt x="114" y="1"/>
                  </a:cubicBezTo>
                  <a:cubicBezTo>
                    <a:pt x="113" y="1"/>
                    <a:pt x="112" y="1"/>
                    <a:pt x="1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210"/>
            <p:cNvSpPr/>
            <p:nvPr/>
          </p:nvSpPr>
          <p:spPr bwMode="auto">
            <a:xfrm flipH="1">
              <a:off x="5748" y="1947"/>
              <a:ext cx="0" cy="2"/>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211"/>
            <p:cNvSpPr/>
            <p:nvPr/>
          </p:nvSpPr>
          <p:spPr bwMode="auto">
            <a:xfrm flipH="1">
              <a:off x="5748" y="1947"/>
              <a:ext cx="0" cy="2"/>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212"/>
            <p:cNvSpPr/>
            <p:nvPr/>
          </p:nvSpPr>
          <p:spPr bwMode="auto">
            <a:xfrm>
              <a:off x="5696" y="1750"/>
              <a:ext cx="359" cy="305"/>
            </a:xfrm>
            <a:custGeom>
              <a:gdLst>
                <a:gd name="T0" fmla="*/ 43 w 152"/>
                <a:gd name="T1" fmla="*/ 8 h 129"/>
                <a:gd name="T2" fmla="*/ 42 w 152"/>
                <a:gd name="T3" fmla="*/ 9 h 129"/>
                <a:gd name="T4" fmla="*/ 41 w 152"/>
                <a:gd name="T5" fmla="*/ 10 h 129"/>
                <a:gd name="T6" fmla="*/ 38 w 152"/>
                <a:gd name="T7" fmla="*/ 11 h 129"/>
                <a:gd name="T8" fmla="*/ 33 w 152"/>
                <a:gd name="T9" fmla="*/ 12 h 129"/>
                <a:gd name="T10" fmla="*/ 30 w 152"/>
                <a:gd name="T11" fmla="*/ 14 h 129"/>
                <a:gd name="T12" fmla="*/ 24 w 152"/>
                <a:gd name="T13" fmla="*/ 19 h 129"/>
                <a:gd name="T14" fmla="*/ 22 w 152"/>
                <a:gd name="T15" fmla="*/ 21 h 129"/>
                <a:gd name="T16" fmla="*/ 9 w 152"/>
                <a:gd name="T17" fmla="*/ 42 h 129"/>
                <a:gd name="T18" fmla="*/ 0 w 152"/>
                <a:gd name="T19" fmla="*/ 73 h 129"/>
                <a:gd name="T20" fmla="*/ 1 w 152"/>
                <a:gd name="T21" fmla="*/ 76 h 129"/>
                <a:gd name="T22" fmla="*/ 1 w 152"/>
                <a:gd name="T23" fmla="*/ 81 h 129"/>
                <a:gd name="T24" fmla="*/ 1 w 152"/>
                <a:gd name="T25" fmla="*/ 84 h 129"/>
                <a:gd name="T26" fmla="*/ 2 w 152"/>
                <a:gd name="T27" fmla="*/ 84 h 129"/>
                <a:gd name="T28" fmla="*/ 8 w 152"/>
                <a:gd name="T29" fmla="*/ 84 h 129"/>
                <a:gd name="T30" fmla="*/ 13 w 152"/>
                <a:gd name="T31" fmla="*/ 82 h 129"/>
                <a:gd name="T32" fmla="*/ 19 w 152"/>
                <a:gd name="T33" fmla="*/ 80 h 129"/>
                <a:gd name="T34" fmla="*/ 22 w 152"/>
                <a:gd name="T35" fmla="*/ 83 h 129"/>
                <a:gd name="T36" fmla="*/ 27 w 152"/>
                <a:gd name="T37" fmla="*/ 74 h 129"/>
                <a:gd name="T38" fmla="*/ 31 w 152"/>
                <a:gd name="T39" fmla="*/ 66 h 129"/>
                <a:gd name="T40" fmla="*/ 35 w 152"/>
                <a:gd name="T41" fmla="*/ 72 h 129"/>
                <a:gd name="T42" fmla="*/ 36 w 152"/>
                <a:gd name="T43" fmla="*/ 73 h 129"/>
                <a:gd name="T44" fmla="*/ 45 w 152"/>
                <a:gd name="T45" fmla="*/ 78 h 129"/>
                <a:gd name="T46" fmla="*/ 50 w 152"/>
                <a:gd name="T47" fmla="*/ 79 h 129"/>
                <a:gd name="T48" fmla="*/ 54 w 152"/>
                <a:gd name="T49" fmla="*/ 78 h 129"/>
                <a:gd name="T50" fmla="*/ 58 w 152"/>
                <a:gd name="T51" fmla="*/ 76 h 129"/>
                <a:gd name="T52" fmla="*/ 60 w 152"/>
                <a:gd name="T53" fmla="*/ 75 h 129"/>
                <a:gd name="T54" fmla="*/ 63 w 152"/>
                <a:gd name="T55" fmla="*/ 75 h 129"/>
                <a:gd name="T56" fmla="*/ 69 w 152"/>
                <a:gd name="T57" fmla="*/ 74 h 129"/>
                <a:gd name="T58" fmla="*/ 65 w 152"/>
                <a:gd name="T59" fmla="*/ 79 h 129"/>
                <a:gd name="T60" fmla="*/ 68 w 152"/>
                <a:gd name="T61" fmla="*/ 79 h 129"/>
                <a:gd name="T62" fmla="*/ 70 w 152"/>
                <a:gd name="T63" fmla="*/ 77 h 129"/>
                <a:gd name="T64" fmla="*/ 78 w 152"/>
                <a:gd name="T65" fmla="*/ 78 h 129"/>
                <a:gd name="T66" fmla="*/ 83 w 152"/>
                <a:gd name="T67" fmla="*/ 77 h 129"/>
                <a:gd name="T68" fmla="*/ 91 w 152"/>
                <a:gd name="T69" fmla="*/ 76 h 129"/>
                <a:gd name="T70" fmla="*/ 91 w 152"/>
                <a:gd name="T71" fmla="*/ 82 h 129"/>
                <a:gd name="T72" fmla="*/ 95 w 152"/>
                <a:gd name="T73" fmla="*/ 84 h 129"/>
                <a:gd name="T74" fmla="*/ 123 w 152"/>
                <a:gd name="T75" fmla="*/ 108 h 129"/>
                <a:gd name="T76" fmla="*/ 144 w 152"/>
                <a:gd name="T77" fmla="*/ 129 h 129"/>
                <a:gd name="T78" fmla="*/ 151 w 152"/>
                <a:gd name="T79" fmla="*/ 119 h 129"/>
                <a:gd name="T80" fmla="*/ 136 w 152"/>
                <a:gd name="T81" fmla="*/ 109 h 129"/>
                <a:gd name="T82" fmla="*/ 107 w 152"/>
                <a:gd name="T83" fmla="*/ 78 h 129"/>
                <a:gd name="T84" fmla="*/ 77 w 152"/>
                <a:gd name="T85" fmla="*/ 57 h 129"/>
                <a:gd name="T86" fmla="*/ 75 w 152"/>
                <a:gd name="T87" fmla="*/ 66 h 129"/>
                <a:gd name="T88" fmla="*/ 68 w 152"/>
                <a:gd name="T89" fmla="*/ 54 h 129"/>
                <a:gd name="T90" fmla="*/ 49 w 152"/>
                <a:gd name="T91" fmla="*/ 0 h 1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2" h="129">
                  <a:moveTo>
                    <a:pt x="49" y="0"/>
                  </a:moveTo>
                  <a:cubicBezTo>
                    <a:pt x="49" y="0"/>
                    <a:pt x="48" y="1"/>
                    <a:pt x="48" y="1"/>
                  </a:cubicBezTo>
                  <a:cubicBezTo>
                    <a:pt x="47" y="3"/>
                    <a:pt x="45" y="6"/>
                    <a:pt x="43" y="8"/>
                  </a:cubicBezTo>
                  <a:cubicBezTo>
                    <a:pt x="43" y="8"/>
                    <a:pt x="43" y="8"/>
                    <a:pt x="43" y="8"/>
                  </a:cubicBezTo>
                  <a:cubicBezTo>
                    <a:pt x="42" y="8"/>
                    <a:pt x="42" y="8"/>
                    <a:pt x="42" y="8"/>
                  </a:cubicBezTo>
                  <a:cubicBezTo>
                    <a:pt x="42" y="9"/>
                    <a:pt x="42" y="9"/>
                    <a:pt x="42" y="9"/>
                  </a:cubicBezTo>
                  <a:cubicBezTo>
                    <a:pt x="42" y="9"/>
                    <a:pt x="42" y="9"/>
                    <a:pt x="42" y="9"/>
                  </a:cubicBezTo>
                  <a:cubicBezTo>
                    <a:pt x="41" y="10"/>
                    <a:pt x="41" y="10"/>
                    <a:pt x="41" y="10"/>
                  </a:cubicBezTo>
                  <a:cubicBezTo>
                    <a:pt x="41" y="10"/>
                    <a:pt x="41" y="10"/>
                    <a:pt x="41" y="10"/>
                  </a:cubicBezTo>
                  <a:cubicBezTo>
                    <a:pt x="41" y="10"/>
                    <a:pt x="41" y="10"/>
                    <a:pt x="41" y="10"/>
                  </a:cubicBezTo>
                  <a:cubicBezTo>
                    <a:pt x="40" y="10"/>
                    <a:pt x="40" y="10"/>
                    <a:pt x="39" y="11"/>
                  </a:cubicBezTo>
                  <a:cubicBezTo>
                    <a:pt x="39" y="11"/>
                    <a:pt x="38" y="11"/>
                    <a:pt x="38" y="11"/>
                  </a:cubicBezTo>
                  <a:cubicBezTo>
                    <a:pt x="37" y="11"/>
                    <a:pt x="37" y="11"/>
                    <a:pt x="37" y="11"/>
                  </a:cubicBezTo>
                  <a:cubicBezTo>
                    <a:pt x="36" y="11"/>
                    <a:pt x="35" y="11"/>
                    <a:pt x="34" y="11"/>
                  </a:cubicBezTo>
                  <a:cubicBezTo>
                    <a:pt x="34" y="12"/>
                    <a:pt x="34" y="12"/>
                    <a:pt x="33" y="12"/>
                  </a:cubicBezTo>
                  <a:cubicBezTo>
                    <a:pt x="33" y="12"/>
                    <a:pt x="33" y="12"/>
                    <a:pt x="33" y="12"/>
                  </a:cubicBezTo>
                  <a:cubicBezTo>
                    <a:pt x="32" y="13"/>
                    <a:pt x="31" y="13"/>
                    <a:pt x="31" y="14"/>
                  </a:cubicBezTo>
                  <a:cubicBezTo>
                    <a:pt x="30" y="14"/>
                    <a:pt x="30" y="14"/>
                    <a:pt x="30" y="14"/>
                  </a:cubicBezTo>
                  <a:cubicBezTo>
                    <a:pt x="28" y="15"/>
                    <a:pt x="26" y="16"/>
                    <a:pt x="25" y="17"/>
                  </a:cubicBezTo>
                  <a:cubicBezTo>
                    <a:pt x="25" y="18"/>
                    <a:pt x="25" y="18"/>
                    <a:pt x="25" y="18"/>
                  </a:cubicBezTo>
                  <a:cubicBezTo>
                    <a:pt x="24" y="19"/>
                    <a:pt x="24" y="19"/>
                    <a:pt x="24" y="19"/>
                  </a:cubicBezTo>
                  <a:cubicBezTo>
                    <a:pt x="23" y="19"/>
                    <a:pt x="23" y="19"/>
                    <a:pt x="23" y="19"/>
                  </a:cubicBezTo>
                  <a:cubicBezTo>
                    <a:pt x="23" y="20"/>
                    <a:pt x="23" y="20"/>
                    <a:pt x="23" y="20"/>
                  </a:cubicBezTo>
                  <a:cubicBezTo>
                    <a:pt x="22" y="21"/>
                    <a:pt x="22" y="21"/>
                    <a:pt x="22" y="21"/>
                  </a:cubicBezTo>
                  <a:cubicBezTo>
                    <a:pt x="21" y="22"/>
                    <a:pt x="19" y="23"/>
                    <a:pt x="16" y="23"/>
                  </a:cubicBezTo>
                  <a:cubicBezTo>
                    <a:pt x="15" y="23"/>
                    <a:pt x="14" y="23"/>
                    <a:pt x="12" y="22"/>
                  </a:cubicBezTo>
                  <a:cubicBezTo>
                    <a:pt x="12" y="29"/>
                    <a:pt x="12" y="35"/>
                    <a:pt x="9" y="42"/>
                  </a:cubicBezTo>
                  <a:cubicBezTo>
                    <a:pt x="8" y="45"/>
                    <a:pt x="7" y="48"/>
                    <a:pt x="6" y="50"/>
                  </a:cubicBezTo>
                  <a:cubicBezTo>
                    <a:pt x="3" y="56"/>
                    <a:pt x="1" y="61"/>
                    <a:pt x="0" y="66"/>
                  </a:cubicBezTo>
                  <a:cubicBezTo>
                    <a:pt x="0" y="68"/>
                    <a:pt x="0" y="71"/>
                    <a:pt x="0" y="73"/>
                  </a:cubicBezTo>
                  <a:cubicBezTo>
                    <a:pt x="0" y="73"/>
                    <a:pt x="0" y="73"/>
                    <a:pt x="0" y="73"/>
                  </a:cubicBezTo>
                  <a:cubicBezTo>
                    <a:pt x="0" y="74"/>
                    <a:pt x="1" y="75"/>
                    <a:pt x="1" y="76"/>
                  </a:cubicBezTo>
                  <a:cubicBezTo>
                    <a:pt x="1" y="76"/>
                    <a:pt x="1" y="76"/>
                    <a:pt x="1" y="76"/>
                  </a:cubicBezTo>
                  <a:cubicBezTo>
                    <a:pt x="1" y="77"/>
                    <a:pt x="1" y="78"/>
                    <a:pt x="1" y="80"/>
                  </a:cubicBezTo>
                  <a:cubicBezTo>
                    <a:pt x="1" y="80"/>
                    <a:pt x="1" y="80"/>
                    <a:pt x="1" y="80"/>
                  </a:cubicBezTo>
                  <a:cubicBezTo>
                    <a:pt x="1" y="81"/>
                    <a:pt x="1" y="81"/>
                    <a:pt x="1" y="81"/>
                  </a:cubicBezTo>
                  <a:cubicBezTo>
                    <a:pt x="1" y="82"/>
                    <a:pt x="1" y="82"/>
                    <a:pt x="1" y="82"/>
                  </a:cubicBezTo>
                  <a:cubicBezTo>
                    <a:pt x="1" y="83"/>
                    <a:pt x="1" y="83"/>
                    <a:pt x="1" y="83"/>
                  </a:cubicBezTo>
                  <a:cubicBezTo>
                    <a:pt x="1" y="84"/>
                    <a:pt x="1" y="84"/>
                    <a:pt x="1" y="84"/>
                  </a:cubicBezTo>
                  <a:cubicBezTo>
                    <a:pt x="1" y="84"/>
                    <a:pt x="1" y="84"/>
                    <a:pt x="1" y="84"/>
                  </a:cubicBezTo>
                  <a:cubicBezTo>
                    <a:pt x="1" y="84"/>
                    <a:pt x="1" y="84"/>
                    <a:pt x="1" y="84"/>
                  </a:cubicBezTo>
                  <a:cubicBezTo>
                    <a:pt x="1" y="84"/>
                    <a:pt x="1" y="84"/>
                    <a:pt x="2" y="84"/>
                  </a:cubicBezTo>
                  <a:cubicBezTo>
                    <a:pt x="2" y="84"/>
                    <a:pt x="2" y="84"/>
                    <a:pt x="3" y="84"/>
                  </a:cubicBezTo>
                  <a:cubicBezTo>
                    <a:pt x="5" y="84"/>
                    <a:pt x="5" y="84"/>
                    <a:pt x="5" y="84"/>
                  </a:cubicBezTo>
                  <a:cubicBezTo>
                    <a:pt x="6" y="84"/>
                    <a:pt x="7" y="84"/>
                    <a:pt x="8" y="84"/>
                  </a:cubicBezTo>
                  <a:cubicBezTo>
                    <a:pt x="8" y="84"/>
                    <a:pt x="8" y="84"/>
                    <a:pt x="8" y="84"/>
                  </a:cubicBezTo>
                  <a:cubicBezTo>
                    <a:pt x="9" y="84"/>
                    <a:pt x="10" y="84"/>
                    <a:pt x="11" y="84"/>
                  </a:cubicBezTo>
                  <a:cubicBezTo>
                    <a:pt x="11" y="84"/>
                    <a:pt x="12" y="83"/>
                    <a:pt x="13" y="82"/>
                  </a:cubicBezTo>
                  <a:cubicBezTo>
                    <a:pt x="14" y="81"/>
                    <a:pt x="15" y="80"/>
                    <a:pt x="16" y="80"/>
                  </a:cubicBezTo>
                  <a:cubicBezTo>
                    <a:pt x="18" y="78"/>
                    <a:pt x="18" y="78"/>
                    <a:pt x="18" y="78"/>
                  </a:cubicBezTo>
                  <a:cubicBezTo>
                    <a:pt x="19" y="80"/>
                    <a:pt x="19" y="80"/>
                    <a:pt x="19" y="80"/>
                  </a:cubicBezTo>
                  <a:cubicBezTo>
                    <a:pt x="20" y="81"/>
                    <a:pt x="20" y="82"/>
                    <a:pt x="21" y="82"/>
                  </a:cubicBezTo>
                  <a:cubicBezTo>
                    <a:pt x="21" y="83"/>
                    <a:pt x="21" y="83"/>
                    <a:pt x="21" y="83"/>
                  </a:cubicBezTo>
                  <a:cubicBezTo>
                    <a:pt x="22" y="83"/>
                    <a:pt x="22" y="83"/>
                    <a:pt x="22" y="83"/>
                  </a:cubicBezTo>
                  <a:cubicBezTo>
                    <a:pt x="22" y="83"/>
                    <a:pt x="22" y="83"/>
                    <a:pt x="22" y="83"/>
                  </a:cubicBezTo>
                  <a:cubicBezTo>
                    <a:pt x="22" y="82"/>
                    <a:pt x="22" y="82"/>
                    <a:pt x="22" y="82"/>
                  </a:cubicBezTo>
                  <a:cubicBezTo>
                    <a:pt x="24" y="80"/>
                    <a:pt x="26" y="76"/>
                    <a:pt x="27" y="74"/>
                  </a:cubicBezTo>
                  <a:cubicBezTo>
                    <a:pt x="27" y="74"/>
                    <a:pt x="27" y="74"/>
                    <a:pt x="27" y="74"/>
                  </a:cubicBezTo>
                  <a:cubicBezTo>
                    <a:pt x="28" y="73"/>
                    <a:pt x="28" y="73"/>
                    <a:pt x="28" y="73"/>
                  </a:cubicBezTo>
                  <a:cubicBezTo>
                    <a:pt x="31" y="66"/>
                    <a:pt x="31" y="66"/>
                    <a:pt x="31" y="66"/>
                  </a:cubicBezTo>
                  <a:cubicBezTo>
                    <a:pt x="34" y="70"/>
                    <a:pt x="34" y="70"/>
                    <a:pt x="34" y="70"/>
                  </a:cubicBezTo>
                  <a:cubicBezTo>
                    <a:pt x="34" y="71"/>
                    <a:pt x="34" y="71"/>
                    <a:pt x="34" y="71"/>
                  </a:cubicBezTo>
                  <a:cubicBezTo>
                    <a:pt x="35" y="72"/>
                    <a:pt x="35" y="72"/>
                    <a:pt x="35" y="72"/>
                  </a:cubicBezTo>
                  <a:cubicBezTo>
                    <a:pt x="35" y="72"/>
                    <a:pt x="35" y="72"/>
                    <a:pt x="35" y="72"/>
                  </a:cubicBezTo>
                  <a:cubicBezTo>
                    <a:pt x="36" y="73"/>
                    <a:pt x="36" y="73"/>
                    <a:pt x="36" y="73"/>
                  </a:cubicBezTo>
                  <a:cubicBezTo>
                    <a:pt x="36" y="73"/>
                    <a:pt x="36" y="73"/>
                    <a:pt x="36" y="73"/>
                  </a:cubicBezTo>
                  <a:cubicBezTo>
                    <a:pt x="37" y="73"/>
                    <a:pt x="38" y="74"/>
                    <a:pt x="38" y="74"/>
                  </a:cubicBezTo>
                  <a:cubicBezTo>
                    <a:pt x="40" y="74"/>
                    <a:pt x="42" y="75"/>
                    <a:pt x="44" y="77"/>
                  </a:cubicBezTo>
                  <a:cubicBezTo>
                    <a:pt x="45" y="78"/>
                    <a:pt x="45" y="78"/>
                    <a:pt x="45" y="78"/>
                  </a:cubicBezTo>
                  <a:cubicBezTo>
                    <a:pt x="45" y="78"/>
                    <a:pt x="46" y="79"/>
                    <a:pt x="46" y="79"/>
                  </a:cubicBezTo>
                  <a:cubicBezTo>
                    <a:pt x="46" y="80"/>
                    <a:pt x="46" y="80"/>
                    <a:pt x="46" y="80"/>
                  </a:cubicBezTo>
                  <a:cubicBezTo>
                    <a:pt x="47" y="79"/>
                    <a:pt x="49" y="79"/>
                    <a:pt x="50" y="79"/>
                  </a:cubicBezTo>
                  <a:cubicBezTo>
                    <a:pt x="51" y="79"/>
                    <a:pt x="51" y="79"/>
                    <a:pt x="52" y="78"/>
                  </a:cubicBezTo>
                  <a:cubicBezTo>
                    <a:pt x="52" y="78"/>
                    <a:pt x="53" y="78"/>
                    <a:pt x="53" y="78"/>
                  </a:cubicBezTo>
                  <a:cubicBezTo>
                    <a:pt x="54" y="78"/>
                    <a:pt x="54" y="78"/>
                    <a:pt x="54" y="78"/>
                  </a:cubicBezTo>
                  <a:cubicBezTo>
                    <a:pt x="55" y="77"/>
                    <a:pt x="55" y="77"/>
                    <a:pt x="55" y="77"/>
                  </a:cubicBezTo>
                  <a:cubicBezTo>
                    <a:pt x="56" y="77"/>
                    <a:pt x="56" y="77"/>
                    <a:pt x="57" y="76"/>
                  </a:cubicBezTo>
                  <a:cubicBezTo>
                    <a:pt x="57" y="76"/>
                    <a:pt x="58" y="76"/>
                    <a:pt x="58" y="76"/>
                  </a:cubicBezTo>
                  <a:cubicBezTo>
                    <a:pt x="59" y="75"/>
                    <a:pt x="59" y="75"/>
                    <a:pt x="59" y="75"/>
                  </a:cubicBezTo>
                  <a:cubicBezTo>
                    <a:pt x="59" y="75"/>
                    <a:pt x="60" y="75"/>
                    <a:pt x="60" y="75"/>
                  </a:cubicBezTo>
                  <a:cubicBezTo>
                    <a:pt x="60" y="75"/>
                    <a:pt x="60" y="75"/>
                    <a:pt x="60" y="75"/>
                  </a:cubicBezTo>
                  <a:cubicBezTo>
                    <a:pt x="61" y="75"/>
                    <a:pt x="61" y="75"/>
                    <a:pt x="61" y="75"/>
                  </a:cubicBezTo>
                  <a:cubicBezTo>
                    <a:pt x="61" y="75"/>
                    <a:pt x="61" y="75"/>
                    <a:pt x="61" y="75"/>
                  </a:cubicBezTo>
                  <a:cubicBezTo>
                    <a:pt x="62" y="75"/>
                    <a:pt x="62" y="75"/>
                    <a:pt x="63" y="75"/>
                  </a:cubicBezTo>
                  <a:cubicBezTo>
                    <a:pt x="63" y="76"/>
                    <a:pt x="63" y="76"/>
                    <a:pt x="63" y="76"/>
                  </a:cubicBezTo>
                  <a:cubicBezTo>
                    <a:pt x="64" y="76"/>
                    <a:pt x="64" y="76"/>
                    <a:pt x="64" y="77"/>
                  </a:cubicBezTo>
                  <a:cubicBezTo>
                    <a:pt x="69" y="74"/>
                    <a:pt x="69" y="74"/>
                    <a:pt x="69" y="74"/>
                  </a:cubicBezTo>
                  <a:cubicBezTo>
                    <a:pt x="65" y="78"/>
                    <a:pt x="65" y="78"/>
                    <a:pt x="65" y="78"/>
                  </a:cubicBezTo>
                  <a:cubicBezTo>
                    <a:pt x="65" y="78"/>
                    <a:pt x="65" y="78"/>
                    <a:pt x="65" y="78"/>
                  </a:cubicBezTo>
                  <a:cubicBezTo>
                    <a:pt x="65" y="79"/>
                    <a:pt x="65" y="79"/>
                    <a:pt x="65" y="79"/>
                  </a:cubicBezTo>
                  <a:cubicBezTo>
                    <a:pt x="66" y="79"/>
                    <a:pt x="66" y="79"/>
                    <a:pt x="66" y="79"/>
                  </a:cubicBezTo>
                  <a:cubicBezTo>
                    <a:pt x="67" y="79"/>
                    <a:pt x="67" y="79"/>
                    <a:pt x="67" y="79"/>
                  </a:cubicBezTo>
                  <a:cubicBezTo>
                    <a:pt x="67" y="79"/>
                    <a:pt x="68" y="79"/>
                    <a:pt x="68" y="79"/>
                  </a:cubicBezTo>
                  <a:cubicBezTo>
                    <a:pt x="69" y="78"/>
                    <a:pt x="69" y="78"/>
                    <a:pt x="69" y="78"/>
                  </a:cubicBezTo>
                  <a:cubicBezTo>
                    <a:pt x="69" y="78"/>
                    <a:pt x="69" y="78"/>
                    <a:pt x="69" y="78"/>
                  </a:cubicBezTo>
                  <a:cubicBezTo>
                    <a:pt x="70" y="78"/>
                    <a:pt x="70" y="78"/>
                    <a:pt x="70" y="77"/>
                  </a:cubicBezTo>
                  <a:cubicBezTo>
                    <a:pt x="71" y="77"/>
                    <a:pt x="72" y="76"/>
                    <a:pt x="73" y="76"/>
                  </a:cubicBezTo>
                  <a:cubicBezTo>
                    <a:pt x="73" y="76"/>
                    <a:pt x="74" y="77"/>
                    <a:pt x="75" y="77"/>
                  </a:cubicBezTo>
                  <a:cubicBezTo>
                    <a:pt x="75" y="77"/>
                    <a:pt x="76" y="78"/>
                    <a:pt x="78" y="78"/>
                  </a:cubicBezTo>
                  <a:cubicBezTo>
                    <a:pt x="78" y="78"/>
                    <a:pt x="78" y="78"/>
                    <a:pt x="78" y="78"/>
                  </a:cubicBezTo>
                  <a:cubicBezTo>
                    <a:pt x="78" y="78"/>
                    <a:pt x="79" y="78"/>
                    <a:pt x="80" y="78"/>
                  </a:cubicBezTo>
                  <a:cubicBezTo>
                    <a:pt x="80" y="78"/>
                    <a:pt x="82" y="77"/>
                    <a:pt x="83" y="77"/>
                  </a:cubicBezTo>
                  <a:cubicBezTo>
                    <a:pt x="84" y="77"/>
                    <a:pt x="85" y="77"/>
                    <a:pt x="86" y="78"/>
                  </a:cubicBezTo>
                  <a:cubicBezTo>
                    <a:pt x="88" y="80"/>
                    <a:pt x="88" y="80"/>
                    <a:pt x="88" y="80"/>
                  </a:cubicBezTo>
                  <a:cubicBezTo>
                    <a:pt x="91" y="76"/>
                    <a:pt x="91" y="76"/>
                    <a:pt x="91" y="76"/>
                  </a:cubicBezTo>
                  <a:cubicBezTo>
                    <a:pt x="89" y="80"/>
                    <a:pt x="89" y="80"/>
                    <a:pt x="89" y="80"/>
                  </a:cubicBezTo>
                  <a:cubicBezTo>
                    <a:pt x="90" y="81"/>
                    <a:pt x="90" y="81"/>
                    <a:pt x="90" y="81"/>
                  </a:cubicBezTo>
                  <a:cubicBezTo>
                    <a:pt x="90" y="81"/>
                    <a:pt x="90" y="82"/>
                    <a:pt x="91" y="82"/>
                  </a:cubicBezTo>
                  <a:cubicBezTo>
                    <a:pt x="92" y="82"/>
                    <a:pt x="92" y="83"/>
                    <a:pt x="93" y="83"/>
                  </a:cubicBezTo>
                  <a:cubicBezTo>
                    <a:pt x="93" y="83"/>
                    <a:pt x="94" y="83"/>
                    <a:pt x="95" y="84"/>
                  </a:cubicBezTo>
                  <a:cubicBezTo>
                    <a:pt x="95" y="84"/>
                    <a:pt x="95" y="84"/>
                    <a:pt x="95" y="84"/>
                  </a:cubicBezTo>
                  <a:cubicBezTo>
                    <a:pt x="98" y="85"/>
                    <a:pt x="101" y="86"/>
                    <a:pt x="103" y="88"/>
                  </a:cubicBezTo>
                  <a:cubicBezTo>
                    <a:pt x="109" y="93"/>
                    <a:pt x="114" y="99"/>
                    <a:pt x="119" y="105"/>
                  </a:cubicBezTo>
                  <a:cubicBezTo>
                    <a:pt x="123" y="108"/>
                    <a:pt x="123" y="108"/>
                    <a:pt x="123" y="108"/>
                  </a:cubicBezTo>
                  <a:cubicBezTo>
                    <a:pt x="126" y="111"/>
                    <a:pt x="128" y="114"/>
                    <a:pt x="131" y="117"/>
                  </a:cubicBezTo>
                  <a:cubicBezTo>
                    <a:pt x="139" y="128"/>
                    <a:pt x="139" y="128"/>
                    <a:pt x="139" y="128"/>
                  </a:cubicBezTo>
                  <a:cubicBezTo>
                    <a:pt x="141" y="129"/>
                    <a:pt x="143" y="129"/>
                    <a:pt x="144" y="129"/>
                  </a:cubicBezTo>
                  <a:cubicBezTo>
                    <a:pt x="146" y="127"/>
                    <a:pt x="150" y="123"/>
                    <a:pt x="152" y="122"/>
                  </a:cubicBezTo>
                  <a:cubicBezTo>
                    <a:pt x="152" y="122"/>
                    <a:pt x="152" y="121"/>
                    <a:pt x="152" y="121"/>
                  </a:cubicBezTo>
                  <a:cubicBezTo>
                    <a:pt x="152" y="121"/>
                    <a:pt x="151" y="120"/>
                    <a:pt x="151" y="119"/>
                  </a:cubicBezTo>
                  <a:cubicBezTo>
                    <a:pt x="150" y="120"/>
                    <a:pt x="149" y="121"/>
                    <a:pt x="148" y="121"/>
                  </a:cubicBezTo>
                  <a:cubicBezTo>
                    <a:pt x="144" y="121"/>
                    <a:pt x="141" y="112"/>
                    <a:pt x="136" y="112"/>
                  </a:cubicBezTo>
                  <a:cubicBezTo>
                    <a:pt x="136" y="111"/>
                    <a:pt x="136" y="110"/>
                    <a:pt x="136" y="109"/>
                  </a:cubicBezTo>
                  <a:cubicBezTo>
                    <a:pt x="134" y="104"/>
                    <a:pt x="131" y="100"/>
                    <a:pt x="127" y="97"/>
                  </a:cubicBezTo>
                  <a:cubicBezTo>
                    <a:pt x="125" y="95"/>
                    <a:pt x="121" y="95"/>
                    <a:pt x="120" y="94"/>
                  </a:cubicBezTo>
                  <a:cubicBezTo>
                    <a:pt x="115" y="89"/>
                    <a:pt x="112" y="81"/>
                    <a:pt x="107" y="78"/>
                  </a:cubicBezTo>
                  <a:cubicBezTo>
                    <a:pt x="103" y="75"/>
                    <a:pt x="99" y="73"/>
                    <a:pt x="95" y="71"/>
                  </a:cubicBezTo>
                  <a:cubicBezTo>
                    <a:pt x="92" y="69"/>
                    <a:pt x="86" y="71"/>
                    <a:pt x="84" y="69"/>
                  </a:cubicBezTo>
                  <a:cubicBezTo>
                    <a:pt x="81" y="66"/>
                    <a:pt x="80" y="60"/>
                    <a:pt x="77" y="57"/>
                  </a:cubicBezTo>
                  <a:cubicBezTo>
                    <a:pt x="76" y="58"/>
                    <a:pt x="75" y="59"/>
                    <a:pt x="75" y="60"/>
                  </a:cubicBezTo>
                  <a:cubicBezTo>
                    <a:pt x="75" y="62"/>
                    <a:pt x="77" y="63"/>
                    <a:pt x="77" y="64"/>
                  </a:cubicBezTo>
                  <a:cubicBezTo>
                    <a:pt x="77" y="65"/>
                    <a:pt x="76" y="66"/>
                    <a:pt x="75" y="66"/>
                  </a:cubicBezTo>
                  <a:cubicBezTo>
                    <a:pt x="74" y="66"/>
                    <a:pt x="74" y="66"/>
                    <a:pt x="73" y="65"/>
                  </a:cubicBezTo>
                  <a:cubicBezTo>
                    <a:pt x="73" y="65"/>
                    <a:pt x="74" y="64"/>
                    <a:pt x="74" y="63"/>
                  </a:cubicBezTo>
                  <a:cubicBezTo>
                    <a:pt x="73" y="61"/>
                    <a:pt x="66" y="56"/>
                    <a:pt x="68" y="54"/>
                  </a:cubicBezTo>
                  <a:cubicBezTo>
                    <a:pt x="67" y="50"/>
                    <a:pt x="63" y="46"/>
                    <a:pt x="62" y="42"/>
                  </a:cubicBezTo>
                  <a:cubicBezTo>
                    <a:pt x="61" y="37"/>
                    <a:pt x="61" y="31"/>
                    <a:pt x="60" y="27"/>
                  </a:cubicBezTo>
                  <a:cubicBezTo>
                    <a:pt x="58" y="17"/>
                    <a:pt x="53" y="9"/>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213"/>
            <p:cNvSpPr/>
            <p:nvPr/>
          </p:nvSpPr>
          <p:spPr bwMode="auto">
            <a:xfrm>
              <a:off x="5946" y="2084"/>
              <a:ext cx="574" cy="756"/>
            </a:xfrm>
            <a:custGeom>
              <a:gdLst>
                <a:gd name="T0" fmla="*/ 224 w 243"/>
                <a:gd name="T1" fmla="*/ 2 h 320"/>
                <a:gd name="T2" fmla="*/ 206 w 243"/>
                <a:gd name="T3" fmla="*/ 11 h 320"/>
                <a:gd name="T4" fmla="*/ 151 w 243"/>
                <a:gd name="T5" fmla="*/ 19 h 320"/>
                <a:gd name="T6" fmla="*/ 138 w 243"/>
                <a:gd name="T7" fmla="*/ 26 h 320"/>
                <a:gd name="T8" fmla="*/ 124 w 243"/>
                <a:gd name="T9" fmla="*/ 31 h 320"/>
                <a:gd name="T10" fmla="*/ 114 w 243"/>
                <a:gd name="T11" fmla="*/ 28 h 320"/>
                <a:gd name="T12" fmla="*/ 92 w 243"/>
                <a:gd name="T13" fmla="*/ 37 h 320"/>
                <a:gd name="T14" fmla="*/ 81 w 243"/>
                <a:gd name="T15" fmla="*/ 38 h 320"/>
                <a:gd name="T16" fmla="*/ 60 w 243"/>
                <a:gd name="T17" fmla="*/ 24 h 320"/>
                <a:gd name="T18" fmla="*/ 53 w 243"/>
                <a:gd name="T19" fmla="*/ 14 h 320"/>
                <a:gd name="T20" fmla="*/ 49 w 243"/>
                <a:gd name="T21" fmla="*/ 22 h 320"/>
                <a:gd name="T22" fmla="*/ 43 w 243"/>
                <a:gd name="T23" fmla="*/ 30 h 320"/>
                <a:gd name="T24" fmla="*/ 40 w 243"/>
                <a:gd name="T25" fmla="*/ 33 h 320"/>
                <a:gd name="T26" fmla="*/ 42 w 243"/>
                <a:gd name="T27" fmla="*/ 35 h 320"/>
                <a:gd name="T28" fmla="*/ 50 w 243"/>
                <a:gd name="T29" fmla="*/ 48 h 320"/>
                <a:gd name="T30" fmla="*/ 53 w 243"/>
                <a:gd name="T31" fmla="*/ 52 h 320"/>
                <a:gd name="T32" fmla="*/ 65 w 243"/>
                <a:gd name="T33" fmla="*/ 64 h 320"/>
                <a:gd name="T34" fmla="*/ 70 w 243"/>
                <a:gd name="T35" fmla="*/ 68 h 320"/>
                <a:gd name="T36" fmla="*/ 84 w 243"/>
                <a:gd name="T37" fmla="*/ 73 h 320"/>
                <a:gd name="T38" fmla="*/ 127 w 243"/>
                <a:gd name="T39" fmla="*/ 88 h 320"/>
                <a:gd name="T40" fmla="*/ 140 w 243"/>
                <a:gd name="T41" fmla="*/ 92 h 320"/>
                <a:gd name="T42" fmla="*/ 146 w 243"/>
                <a:gd name="T43" fmla="*/ 93 h 320"/>
                <a:gd name="T44" fmla="*/ 148 w 243"/>
                <a:gd name="T45" fmla="*/ 93 h 320"/>
                <a:gd name="T46" fmla="*/ 155 w 243"/>
                <a:gd name="T47" fmla="*/ 92 h 320"/>
                <a:gd name="T48" fmla="*/ 170 w 243"/>
                <a:gd name="T49" fmla="*/ 92 h 320"/>
                <a:gd name="T50" fmla="*/ 149 w 243"/>
                <a:gd name="T51" fmla="*/ 112 h 320"/>
                <a:gd name="T52" fmla="*/ 106 w 243"/>
                <a:gd name="T53" fmla="*/ 156 h 320"/>
                <a:gd name="T54" fmla="*/ 103 w 243"/>
                <a:gd name="T55" fmla="*/ 160 h 320"/>
                <a:gd name="T56" fmla="*/ 99 w 243"/>
                <a:gd name="T57" fmla="*/ 164 h 320"/>
                <a:gd name="T58" fmla="*/ 93 w 243"/>
                <a:gd name="T59" fmla="*/ 169 h 320"/>
                <a:gd name="T60" fmla="*/ 89 w 243"/>
                <a:gd name="T61" fmla="*/ 170 h 320"/>
                <a:gd name="T62" fmla="*/ 87 w 243"/>
                <a:gd name="T63" fmla="*/ 171 h 320"/>
                <a:gd name="T64" fmla="*/ 82 w 243"/>
                <a:gd name="T65" fmla="*/ 170 h 320"/>
                <a:gd name="T66" fmla="*/ 80 w 243"/>
                <a:gd name="T67" fmla="*/ 170 h 320"/>
                <a:gd name="T68" fmla="*/ 75 w 243"/>
                <a:gd name="T69" fmla="*/ 170 h 320"/>
                <a:gd name="T70" fmla="*/ 72 w 243"/>
                <a:gd name="T71" fmla="*/ 170 h 320"/>
                <a:gd name="T72" fmla="*/ 70 w 243"/>
                <a:gd name="T73" fmla="*/ 170 h 320"/>
                <a:gd name="T74" fmla="*/ 63 w 243"/>
                <a:gd name="T75" fmla="*/ 171 h 320"/>
                <a:gd name="T76" fmla="*/ 42 w 243"/>
                <a:gd name="T77" fmla="*/ 184 h 320"/>
                <a:gd name="T78" fmla="*/ 32 w 243"/>
                <a:gd name="T79" fmla="*/ 187 h 320"/>
                <a:gd name="T80" fmla="*/ 26 w 243"/>
                <a:gd name="T81" fmla="*/ 187 h 320"/>
                <a:gd name="T82" fmla="*/ 22 w 243"/>
                <a:gd name="T83" fmla="*/ 191 h 320"/>
                <a:gd name="T84" fmla="*/ 8 w 243"/>
                <a:gd name="T85" fmla="*/ 209 h 320"/>
                <a:gd name="T86" fmla="*/ 6 w 243"/>
                <a:gd name="T87" fmla="*/ 211 h 320"/>
                <a:gd name="T88" fmla="*/ 1 w 243"/>
                <a:gd name="T89" fmla="*/ 217 h 320"/>
                <a:gd name="T90" fmla="*/ 0 w 243"/>
                <a:gd name="T91" fmla="*/ 222 h 320"/>
                <a:gd name="T92" fmla="*/ 1 w 243"/>
                <a:gd name="T93" fmla="*/ 225 h 320"/>
                <a:gd name="T94" fmla="*/ 1 w 243"/>
                <a:gd name="T95" fmla="*/ 259 h 320"/>
                <a:gd name="T96" fmla="*/ 1 w 243"/>
                <a:gd name="T97" fmla="*/ 288 h 320"/>
                <a:gd name="T98" fmla="*/ 1 w 243"/>
                <a:gd name="T99" fmla="*/ 303 h 320"/>
                <a:gd name="T100" fmla="*/ 7 w 243"/>
                <a:gd name="T101" fmla="*/ 312 h 320"/>
                <a:gd name="T102" fmla="*/ 13 w 243"/>
                <a:gd name="T103" fmla="*/ 320 h 320"/>
                <a:gd name="T104" fmla="*/ 20 w 243"/>
                <a:gd name="T105" fmla="*/ 306 h 320"/>
                <a:gd name="T106" fmla="*/ 84 w 243"/>
                <a:gd name="T107" fmla="*/ 247 h 320"/>
                <a:gd name="T108" fmla="*/ 127 w 243"/>
                <a:gd name="T109" fmla="*/ 213 h 320"/>
                <a:gd name="T110" fmla="*/ 182 w 243"/>
                <a:gd name="T111" fmla="*/ 147 h 320"/>
                <a:gd name="T112" fmla="*/ 204 w 243"/>
                <a:gd name="T113" fmla="*/ 101 h 320"/>
                <a:gd name="T114" fmla="*/ 223 w 243"/>
                <a:gd name="T115" fmla="*/ 71 h 320"/>
                <a:gd name="T116" fmla="*/ 230 w 243"/>
                <a:gd name="T117" fmla="*/ 49 h 320"/>
                <a:gd name="T118" fmla="*/ 243 w 243"/>
                <a:gd name="T119" fmla="*/ 37 h 320"/>
                <a:gd name="T120" fmla="*/ 235 w 243"/>
                <a:gd name="T121" fmla="*/ 36 h 320"/>
                <a:gd name="T122" fmla="*/ 236 w 243"/>
                <a:gd name="T123" fmla="*/ 31 h 320"/>
                <a:gd name="T124" fmla="*/ 240 w 243"/>
                <a:gd name="T125" fmla="*/ 4 h 3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3" h="320">
                  <a:moveTo>
                    <a:pt x="228" y="0"/>
                  </a:moveTo>
                  <a:cubicBezTo>
                    <a:pt x="226" y="0"/>
                    <a:pt x="225" y="1"/>
                    <a:pt x="224" y="2"/>
                  </a:cubicBezTo>
                  <a:cubicBezTo>
                    <a:pt x="222" y="3"/>
                    <a:pt x="223" y="4"/>
                    <a:pt x="222" y="5"/>
                  </a:cubicBezTo>
                  <a:cubicBezTo>
                    <a:pt x="219" y="8"/>
                    <a:pt x="210" y="9"/>
                    <a:pt x="206" y="11"/>
                  </a:cubicBezTo>
                  <a:cubicBezTo>
                    <a:pt x="199" y="13"/>
                    <a:pt x="191" y="15"/>
                    <a:pt x="183" y="18"/>
                  </a:cubicBezTo>
                  <a:cubicBezTo>
                    <a:pt x="173" y="18"/>
                    <a:pt x="162" y="19"/>
                    <a:pt x="151" y="19"/>
                  </a:cubicBezTo>
                  <a:cubicBezTo>
                    <a:pt x="148" y="19"/>
                    <a:pt x="145" y="21"/>
                    <a:pt x="142" y="23"/>
                  </a:cubicBezTo>
                  <a:cubicBezTo>
                    <a:pt x="141" y="24"/>
                    <a:pt x="140" y="25"/>
                    <a:pt x="138" y="26"/>
                  </a:cubicBezTo>
                  <a:cubicBezTo>
                    <a:pt x="134" y="27"/>
                    <a:pt x="129" y="31"/>
                    <a:pt x="125" y="31"/>
                  </a:cubicBezTo>
                  <a:cubicBezTo>
                    <a:pt x="125" y="31"/>
                    <a:pt x="124" y="31"/>
                    <a:pt x="124" y="31"/>
                  </a:cubicBezTo>
                  <a:cubicBezTo>
                    <a:pt x="123" y="31"/>
                    <a:pt x="122" y="29"/>
                    <a:pt x="120" y="29"/>
                  </a:cubicBezTo>
                  <a:cubicBezTo>
                    <a:pt x="119" y="28"/>
                    <a:pt x="116" y="28"/>
                    <a:pt x="114" y="28"/>
                  </a:cubicBezTo>
                  <a:cubicBezTo>
                    <a:pt x="113" y="28"/>
                    <a:pt x="113" y="28"/>
                    <a:pt x="112" y="28"/>
                  </a:cubicBezTo>
                  <a:cubicBezTo>
                    <a:pt x="106" y="31"/>
                    <a:pt x="99" y="34"/>
                    <a:pt x="92" y="37"/>
                  </a:cubicBezTo>
                  <a:cubicBezTo>
                    <a:pt x="90" y="38"/>
                    <a:pt x="85" y="37"/>
                    <a:pt x="82" y="38"/>
                  </a:cubicBezTo>
                  <a:cubicBezTo>
                    <a:pt x="81" y="38"/>
                    <a:pt x="81" y="38"/>
                    <a:pt x="81" y="38"/>
                  </a:cubicBezTo>
                  <a:cubicBezTo>
                    <a:pt x="78" y="38"/>
                    <a:pt x="75" y="37"/>
                    <a:pt x="73" y="35"/>
                  </a:cubicBezTo>
                  <a:cubicBezTo>
                    <a:pt x="69" y="31"/>
                    <a:pt x="64" y="28"/>
                    <a:pt x="60" y="24"/>
                  </a:cubicBezTo>
                  <a:cubicBezTo>
                    <a:pt x="59" y="22"/>
                    <a:pt x="59" y="21"/>
                    <a:pt x="58" y="20"/>
                  </a:cubicBezTo>
                  <a:cubicBezTo>
                    <a:pt x="57" y="17"/>
                    <a:pt x="55" y="16"/>
                    <a:pt x="53" y="14"/>
                  </a:cubicBezTo>
                  <a:cubicBezTo>
                    <a:pt x="52" y="16"/>
                    <a:pt x="51" y="19"/>
                    <a:pt x="49" y="22"/>
                  </a:cubicBezTo>
                  <a:cubicBezTo>
                    <a:pt x="49" y="22"/>
                    <a:pt x="49" y="22"/>
                    <a:pt x="49" y="22"/>
                  </a:cubicBezTo>
                  <a:cubicBezTo>
                    <a:pt x="46" y="25"/>
                    <a:pt x="46" y="25"/>
                    <a:pt x="46" y="25"/>
                  </a:cubicBezTo>
                  <a:cubicBezTo>
                    <a:pt x="45" y="27"/>
                    <a:pt x="44" y="28"/>
                    <a:pt x="43" y="30"/>
                  </a:cubicBezTo>
                  <a:cubicBezTo>
                    <a:pt x="43" y="30"/>
                    <a:pt x="42" y="31"/>
                    <a:pt x="41" y="32"/>
                  </a:cubicBezTo>
                  <a:cubicBezTo>
                    <a:pt x="40" y="33"/>
                    <a:pt x="40" y="33"/>
                    <a:pt x="40" y="33"/>
                  </a:cubicBezTo>
                  <a:cubicBezTo>
                    <a:pt x="40" y="33"/>
                    <a:pt x="40" y="33"/>
                    <a:pt x="40" y="33"/>
                  </a:cubicBezTo>
                  <a:cubicBezTo>
                    <a:pt x="41" y="34"/>
                    <a:pt x="42" y="35"/>
                    <a:pt x="42" y="35"/>
                  </a:cubicBezTo>
                  <a:cubicBezTo>
                    <a:pt x="43" y="36"/>
                    <a:pt x="43" y="37"/>
                    <a:pt x="43" y="37"/>
                  </a:cubicBezTo>
                  <a:cubicBezTo>
                    <a:pt x="46" y="41"/>
                    <a:pt x="48" y="44"/>
                    <a:pt x="50" y="48"/>
                  </a:cubicBezTo>
                  <a:cubicBezTo>
                    <a:pt x="51" y="49"/>
                    <a:pt x="51" y="49"/>
                    <a:pt x="51" y="49"/>
                  </a:cubicBezTo>
                  <a:cubicBezTo>
                    <a:pt x="51" y="50"/>
                    <a:pt x="52" y="51"/>
                    <a:pt x="53" y="52"/>
                  </a:cubicBezTo>
                  <a:cubicBezTo>
                    <a:pt x="54" y="55"/>
                    <a:pt x="56" y="57"/>
                    <a:pt x="57" y="59"/>
                  </a:cubicBezTo>
                  <a:cubicBezTo>
                    <a:pt x="59" y="61"/>
                    <a:pt x="62" y="63"/>
                    <a:pt x="65" y="64"/>
                  </a:cubicBezTo>
                  <a:cubicBezTo>
                    <a:pt x="68" y="67"/>
                    <a:pt x="68" y="67"/>
                    <a:pt x="68" y="67"/>
                  </a:cubicBezTo>
                  <a:cubicBezTo>
                    <a:pt x="69" y="67"/>
                    <a:pt x="69" y="68"/>
                    <a:pt x="70" y="68"/>
                  </a:cubicBezTo>
                  <a:cubicBezTo>
                    <a:pt x="72" y="70"/>
                    <a:pt x="76" y="71"/>
                    <a:pt x="80" y="72"/>
                  </a:cubicBezTo>
                  <a:cubicBezTo>
                    <a:pt x="81" y="72"/>
                    <a:pt x="83" y="73"/>
                    <a:pt x="84" y="73"/>
                  </a:cubicBezTo>
                  <a:cubicBezTo>
                    <a:pt x="84" y="73"/>
                    <a:pt x="84" y="73"/>
                    <a:pt x="84" y="73"/>
                  </a:cubicBezTo>
                  <a:cubicBezTo>
                    <a:pt x="127" y="88"/>
                    <a:pt x="127" y="88"/>
                    <a:pt x="127" y="88"/>
                  </a:cubicBezTo>
                  <a:cubicBezTo>
                    <a:pt x="128" y="88"/>
                    <a:pt x="130" y="89"/>
                    <a:pt x="131" y="89"/>
                  </a:cubicBezTo>
                  <a:cubicBezTo>
                    <a:pt x="134" y="90"/>
                    <a:pt x="137" y="92"/>
                    <a:pt x="140" y="92"/>
                  </a:cubicBezTo>
                  <a:cubicBezTo>
                    <a:pt x="141" y="92"/>
                    <a:pt x="142" y="92"/>
                    <a:pt x="143" y="92"/>
                  </a:cubicBezTo>
                  <a:cubicBezTo>
                    <a:pt x="144" y="93"/>
                    <a:pt x="145" y="93"/>
                    <a:pt x="146" y="93"/>
                  </a:cubicBezTo>
                  <a:cubicBezTo>
                    <a:pt x="147" y="93"/>
                    <a:pt x="147" y="93"/>
                    <a:pt x="147" y="93"/>
                  </a:cubicBezTo>
                  <a:cubicBezTo>
                    <a:pt x="147" y="93"/>
                    <a:pt x="148" y="93"/>
                    <a:pt x="148" y="93"/>
                  </a:cubicBezTo>
                  <a:cubicBezTo>
                    <a:pt x="150" y="93"/>
                    <a:pt x="152" y="92"/>
                    <a:pt x="154" y="92"/>
                  </a:cubicBezTo>
                  <a:cubicBezTo>
                    <a:pt x="155" y="92"/>
                    <a:pt x="155" y="92"/>
                    <a:pt x="155" y="92"/>
                  </a:cubicBezTo>
                  <a:cubicBezTo>
                    <a:pt x="158" y="92"/>
                    <a:pt x="160" y="92"/>
                    <a:pt x="163" y="92"/>
                  </a:cubicBezTo>
                  <a:cubicBezTo>
                    <a:pt x="170" y="92"/>
                    <a:pt x="170" y="92"/>
                    <a:pt x="170" y="92"/>
                  </a:cubicBezTo>
                  <a:cubicBezTo>
                    <a:pt x="165" y="97"/>
                    <a:pt x="165" y="97"/>
                    <a:pt x="165" y="97"/>
                  </a:cubicBezTo>
                  <a:cubicBezTo>
                    <a:pt x="159" y="102"/>
                    <a:pt x="154" y="106"/>
                    <a:pt x="149" y="112"/>
                  </a:cubicBezTo>
                  <a:cubicBezTo>
                    <a:pt x="137" y="123"/>
                    <a:pt x="124" y="136"/>
                    <a:pt x="110" y="152"/>
                  </a:cubicBezTo>
                  <a:cubicBezTo>
                    <a:pt x="106" y="156"/>
                    <a:pt x="106" y="156"/>
                    <a:pt x="106" y="156"/>
                  </a:cubicBezTo>
                  <a:cubicBezTo>
                    <a:pt x="105" y="157"/>
                    <a:pt x="105" y="157"/>
                    <a:pt x="105" y="157"/>
                  </a:cubicBezTo>
                  <a:cubicBezTo>
                    <a:pt x="103" y="160"/>
                    <a:pt x="103" y="160"/>
                    <a:pt x="103" y="160"/>
                  </a:cubicBezTo>
                  <a:cubicBezTo>
                    <a:pt x="102" y="160"/>
                    <a:pt x="101" y="161"/>
                    <a:pt x="101" y="162"/>
                  </a:cubicBezTo>
                  <a:cubicBezTo>
                    <a:pt x="99" y="164"/>
                    <a:pt x="99" y="164"/>
                    <a:pt x="99" y="164"/>
                  </a:cubicBezTo>
                  <a:cubicBezTo>
                    <a:pt x="98" y="165"/>
                    <a:pt x="97" y="166"/>
                    <a:pt x="95" y="167"/>
                  </a:cubicBezTo>
                  <a:cubicBezTo>
                    <a:pt x="95" y="168"/>
                    <a:pt x="94" y="169"/>
                    <a:pt x="93" y="169"/>
                  </a:cubicBezTo>
                  <a:cubicBezTo>
                    <a:pt x="91" y="170"/>
                    <a:pt x="91" y="170"/>
                    <a:pt x="91" y="170"/>
                  </a:cubicBezTo>
                  <a:cubicBezTo>
                    <a:pt x="91" y="170"/>
                    <a:pt x="90" y="170"/>
                    <a:pt x="89" y="170"/>
                  </a:cubicBezTo>
                  <a:cubicBezTo>
                    <a:pt x="89" y="171"/>
                    <a:pt x="89" y="171"/>
                    <a:pt x="89" y="171"/>
                  </a:cubicBezTo>
                  <a:cubicBezTo>
                    <a:pt x="88" y="171"/>
                    <a:pt x="87" y="171"/>
                    <a:pt x="87" y="171"/>
                  </a:cubicBezTo>
                  <a:cubicBezTo>
                    <a:pt x="87" y="171"/>
                    <a:pt x="86" y="171"/>
                    <a:pt x="86" y="171"/>
                  </a:cubicBezTo>
                  <a:cubicBezTo>
                    <a:pt x="85" y="171"/>
                    <a:pt x="84" y="171"/>
                    <a:pt x="82" y="170"/>
                  </a:cubicBezTo>
                  <a:cubicBezTo>
                    <a:pt x="82" y="170"/>
                    <a:pt x="82" y="170"/>
                    <a:pt x="82" y="170"/>
                  </a:cubicBezTo>
                  <a:cubicBezTo>
                    <a:pt x="81" y="170"/>
                    <a:pt x="81" y="170"/>
                    <a:pt x="80" y="170"/>
                  </a:cubicBezTo>
                  <a:cubicBezTo>
                    <a:pt x="79" y="170"/>
                    <a:pt x="79" y="170"/>
                    <a:pt x="79" y="170"/>
                  </a:cubicBezTo>
                  <a:cubicBezTo>
                    <a:pt x="78" y="170"/>
                    <a:pt x="77" y="170"/>
                    <a:pt x="75" y="170"/>
                  </a:cubicBezTo>
                  <a:cubicBezTo>
                    <a:pt x="74" y="170"/>
                    <a:pt x="74" y="170"/>
                    <a:pt x="74" y="170"/>
                  </a:cubicBezTo>
                  <a:cubicBezTo>
                    <a:pt x="73" y="170"/>
                    <a:pt x="72" y="170"/>
                    <a:pt x="72" y="170"/>
                  </a:cubicBezTo>
                  <a:cubicBezTo>
                    <a:pt x="72" y="170"/>
                    <a:pt x="71" y="170"/>
                    <a:pt x="71" y="170"/>
                  </a:cubicBezTo>
                  <a:cubicBezTo>
                    <a:pt x="70" y="170"/>
                    <a:pt x="70" y="170"/>
                    <a:pt x="70" y="170"/>
                  </a:cubicBezTo>
                  <a:cubicBezTo>
                    <a:pt x="70" y="170"/>
                    <a:pt x="69" y="170"/>
                    <a:pt x="68" y="170"/>
                  </a:cubicBezTo>
                  <a:cubicBezTo>
                    <a:pt x="66" y="170"/>
                    <a:pt x="65" y="171"/>
                    <a:pt x="63" y="171"/>
                  </a:cubicBezTo>
                  <a:cubicBezTo>
                    <a:pt x="58" y="172"/>
                    <a:pt x="52" y="176"/>
                    <a:pt x="47" y="180"/>
                  </a:cubicBezTo>
                  <a:cubicBezTo>
                    <a:pt x="45" y="182"/>
                    <a:pt x="44" y="183"/>
                    <a:pt x="42" y="184"/>
                  </a:cubicBezTo>
                  <a:cubicBezTo>
                    <a:pt x="40" y="185"/>
                    <a:pt x="38" y="186"/>
                    <a:pt x="35" y="186"/>
                  </a:cubicBezTo>
                  <a:cubicBezTo>
                    <a:pt x="34" y="186"/>
                    <a:pt x="33" y="186"/>
                    <a:pt x="32" y="187"/>
                  </a:cubicBezTo>
                  <a:cubicBezTo>
                    <a:pt x="32" y="187"/>
                    <a:pt x="32" y="187"/>
                    <a:pt x="32" y="187"/>
                  </a:cubicBezTo>
                  <a:cubicBezTo>
                    <a:pt x="29" y="187"/>
                    <a:pt x="27" y="187"/>
                    <a:pt x="26" y="187"/>
                  </a:cubicBezTo>
                  <a:cubicBezTo>
                    <a:pt x="25" y="188"/>
                    <a:pt x="24" y="189"/>
                    <a:pt x="24" y="189"/>
                  </a:cubicBezTo>
                  <a:cubicBezTo>
                    <a:pt x="23" y="190"/>
                    <a:pt x="22" y="191"/>
                    <a:pt x="22" y="191"/>
                  </a:cubicBezTo>
                  <a:cubicBezTo>
                    <a:pt x="21" y="192"/>
                    <a:pt x="21" y="192"/>
                    <a:pt x="21" y="192"/>
                  </a:cubicBezTo>
                  <a:cubicBezTo>
                    <a:pt x="19" y="195"/>
                    <a:pt x="8" y="209"/>
                    <a:pt x="8" y="209"/>
                  </a:cubicBezTo>
                  <a:cubicBezTo>
                    <a:pt x="6" y="211"/>
                    <a:pt x="6" y="211"/>
                    <a:pt x="6" y="211"/>
                  </a:cubicBezTo>
                  <a:cubicBezTo>
                    <a:pt x="6" y="211"/>
                    <a:pt x="6" y="211"/>
                    <a:pt x="6" y="211"/>
                  </a:cubicBezTo>
                  <a:cubicBezTo>
                    <a:pt x="4" y="214"/>
                    <a:pt x="4" y="214"/>
                    <a:pt x="4" y="214"/>
                  </a:cubicBezTo>
                  <a:cubicBezTo>
                    <a:pt x="3" y="215"/>
                    <a:pt x="2" y="216"/>
                    <a:pt x="1" y="217"/>
                  </a:cubicBezTo>
                  <a:cubicBezTo>
                    <a:pt x="0" y="218"/>
                    <a:pt x="0" y="218"/>
                    <a:pt x="0" y="218"/>
                  </a:cubicBezTo>
                  <a:cubicBezTo>
                    <a:pt x="0" y="219"/>
                    <a:pt x="0" y="221"/>
                    <a:pt x="0" y="222"/>
                  </a:cubicBezTo>
                  <a:cubicBezTo>
                    <a:pt x="0" y="223"/>
                    <a:pt x="0" y="223"/>
                    <a:pt x="0" y="223"/>
                  </a:cubicBezTo>
                  <a:cubicBezTo>
                    <a:pt x="1" y="224"/>
                    <a:pt x="1" y="224"/>
                    <a:pt x="1" y="225"/>
                  </a:cubicBezTo>
                  <a:cubicBezTo>
                    <a:pt x="1" y="236"/>
                    <a:pt x="1" y="236"/>
                    <a:pt x="1" y="236"/>
                  </a:cubicBezTo>
                  <a:cubicBezTo>
                    <a:pt x="1" y="244"/>
                    <a:pt x="1" y="251"/>
                    <a:pt x="1" y="259"/>
                  </a:cubicBezTo>
                  <a:cubicBezTo>
                    <a:pt x="1" y="261"/>
                    <a:pt x="1" y="261"/>
                    <a:pt x="1" y="261"/>
                  </a:cubicBezTo>
                  <a:cubicBezTo>
                    <a:pt x="1" y="270"/>
                    <a:pt x="1" y="279"/>
                    <a:pt x="1" y="288"/>
                  </a:cubicBezTo>
                  <a:cubicBezTo>
                    <a:pt x="1" y="289"/>
                    <a:pt x="1" y="291"/>
                    <a:pt x="0" y="292"/>
                  </a:cubicBezTo>
                  <a:cubicBezTo>
                    <a:pt x="0" y="296"/>
                    <a:pt x="0" y="301"/>
                    <a:pt x="1" y="303"/>
                  </a:cubicBezTo>
                  <a:cubicBezTo>
                    <a:pt x="1" y="304"/>
                    <a:pt x="1" y="304"/>
                    <a:pt x="3" y="306"/>
                  </a:cubicBezTo>
                  <a:cubicBezTo>
                    <a:pt x="4" y="308"/>
                    <a:pt x="6" y="310"/>
                    <a:pt x="7" y="312"/>
                  </a:cubicBezTo>
                  <a:cubicBezTo>
                    <a:pt x="7" y="313"/>
                    <a:pt x="7" y="313"/>
                    <a:pt x="7" y="313"/>
                  </a:cubicBezTo>
                  <a:cubicBezTo>
                    <a:pt x="9" y="315"/>
                    <a:pt x="11" y="317"/>
                    <a:pt x="13" y="320"/>
                  </a:cubicBezTo>
                  <a:cubicBezTo>
                    <a:pt x="15" y="315"/>
                    <a:pt x="18" y="310"/>
                    <a:pt x="20" y="305"/>
                  </a:cubicBezTo>
                  <a:cubicBezTo>
                    <a:pt x="20" y="305"/>
                    <a:pt x="20" y="305"/>
                    <a:pt x="20" y="306"/>
                  </a:cubicBezTo>
                  <a:cubicBezTo>
                    <a:pt x="35" y="293"/>
                    <a:pt x="47" y="276"/>
                    <a:pt x="63" y="263"/>
                  </a:cubicBezTo>
                  <a:cubicBezTo>
                    <a:pt x="70" y="258"/>
                    <a:pt x="77" y="252"/>
                    <a:pt x="84" y="247"/>
                  </a:cubicBezTo>
                  <a:cubicBezTo>
                    <a:pt x="88" y="244"/>
                    <a:pt x="92" y="240"/>
                    <a:pt x="96" y="238"/>
                  </a:cubicBezTo>
                  <a:cubicBezTo>
                    <a:pt x="108" y="231"/>
                    <a:pt x="117" y="222"/>
                    <a:pt x="127" y="213"/>
                  </a:cubicBezTo>
                  <a:cubicBezTo>
                    <a:pt x="138" y="203"/>
                    <a:pt x="148" y="194"/>
                    <a:pt x="157" y="183"/>
                  </a:cubicBezTo>
                  <a:cubicBezTo>
                    <a:pt x="167" y="172"/>
                    <a:pt x="174" y="159"/>
                    <a:pt x="182" y="147"/>
                  </a:cubicBezTo>
                  <a:cubicBezTo>
                    <a:pt x="187" y="139"/>
                    <a:pt x="191" y="129"/>
                    <a:pt x="196" y="120"/>
                  </a:cubicBezTo>
                  <a:cubicBezTo>
                    <a:pt x="199" y="114"/>
                    <a:pt x="202" y="108"/>
                    <a:pt x="204" y="101"/>
                  </a:cubicBezTo>
                  <a:cubicBezTo>
                    <a:pt x="206" y="96"/>
                    <a:pt x="208" y="93"/>
                    <a:pt x="212" y="89"/>
                  </a:cubicBezTo>
                  <a:cubicBezTo>
                    <a:pt x="217" y="84"/>
                    <a:pt x="220" y="77"/>
                    <a:pt x="223" y="71"/>
                  </a:cubicBezTo>
                  <a:cubicBezTo>
                    <a:pt x="225" y="68"/>
                    <a:pt x="229" y="63"/>
                    <a:pt x="229" y="60"/>
                  </a:cubicBezTo>
                  <a:cubicBezTo>
                    <a:pt x="229" y="56"/>
                    <a:pt x="230" y="53"/>
                    <a:pt x="230" y="49"/>
                  </a:cubicBezTo>
                  <a:cubicBezTo>
                    <a:pt x="231" y="45"/>
                    <a:pt x="229" y="40"/>
                    <a:pt x="234" y="38"/>
                  </a:cubicBezTo>
                  <a:cubicBezTo>
                    <a:pt x="237" y="37"/>
                    <a:pt x="240" y="38"/>
                    <a:pt x="243" y="37"/>
                  </a:cubicBezTo>
                  <a:cubicBezTo>
                    <a:pt x="241" y="36"/>
                    <a:pt x="239" y="35"/>
                    <a:pt x="237" y="34"/>
                  </a:cubicBezTo>
                  <a:cubicBezTo>
                    <a:pt x="237" y="35"/>
                    <a:pt x="236" y="35"/>
                    <a:pt x="235" y="36"/>
                  </a:cubicBezTo>
                  <a:cubicBezTo>
                    <a:pt x="235" y="35"/>
                    <a:pt x="237" y="34"/>
                    <a:pt x="237" y="34"/>
                  </a:cubicBezTo>
                  <a:cubicBezTo>
                    <a:pt x="237" y="33"/>
                    <a:pt x="236" y="32"/>
                    <a:pt x="236" y="31"/>
                  </a:cubicBezTo>
                  <a:cubicBezTo>
                    <a:pt x="236" y="27"/>
                    <a:pt x="235" y="22"/>
                    <a:pt x="235" y="18"/>
                  </a:cubicBezTo>
                  <a:cubicBezTo>
                    <a:pt x="235" y="13"/>
                    <a:pt x="238" y="8"/>
                    <a:pt x="240" y="4"/>
                  </a:cubicBezTo>
                  <a:cubicBezTo>
                    <a:pt x="237" y="3"/>
                    <a:pt x="232" y="0"/>
                    <a:pt x="2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214"/>
            <p:cNvSpPr/>
            <p:nvPr/>
          </p:nvSpPr>
          <p:spPr bwMode="auto">
            <a:xfrm>
              <a:off x="5313" y="2530"/>
              <a:ext cx="288" cy="296"/>
            </a:xfrm>
            <a:custGeom>
              <a:gdLst>
                <a:gd name="T0" fmla="*/ 88 w 122"/>
                <a:gd name="T1" fmla="*/ 9 h 125"/>
                <a:gd name="T2" fmla="*/ 78 w 122"/>
                <a:gd name="T3" fmla="*/ 6 h 125"/>
                <a:gd name="T4" fmla="*/ 65 w 122"/>
                <a:gd name="T5" fmla="*/ 9 h 125"/>
                <a:gd name="T6" fmla="*/ 61 w 122"/>
                <a:gd name="T7" fmla="*/ 13 h 125"/>
                <a:gd name="T8" fmla="*/ 55 w 122"/>
                <a:gd name="T9" fmla="*/ 13 h 125"/>
                <a:gd name="T10" fmla="*/ 54 w 122"/>
                <a:gd name="T11" fmla="*/ 13 h 125"/>
                <a:gd name="T12" fmla="*/ 47 w 122"/>
                <a:gd name="T13" fmla="*/ 10 h 125"/>
                <a:gd name="T14" fmla="*/ 38 w 122"/>
                <a:gd name="T15" fmla="*/ 10 h 125"/>
                <a:gd name="T16" fmla="*/ 34 w 122"/>
                <a:gd name="T17" fmla="*/ 9 h 125"/>
                <a:gd name="T18" fmla="*/ 34 w 122"/>
                <a:gd name="T19" fmla="*/ 8 h 125"/>
                <a:gd name="T20" fmla="*/ 34 w 122"/>
                <a:gd name="T21" fmla="*/ 10 h 125"/>
                <a:gd name="T22" fmla="*/ 30 w 122"/>
                <a:gd name="T23" fmla="*/ 13 h 125"/>
                <a:gd name="T24" fmla="*/ 29 w 122"/>
                <a:gd name="T25" fmla="*/ 20 h 125"/>
                <a:gd name="T26" fmla="*/ 28 w 122"/>
                <a:gd name="T27" fmla="*/ 28 h 125"/>
                <a:gd name="T28" fmla="*/ 28 w 122"/>
                <a:gd name="T29" fmla="*/ 34 h 125"/>
                <a:gd name="T30" fmla="*/ 29 w 122"/>
                <a:gd name="T31" fmla="*/ 36 h 125"/>
                <a:gd name="T32" fmla="*/ 33 w 122"/>
                <a:gd name="T33" fmla="*/ 37 h 125"/>
                <a:gd name="T34" fmla="*/ 42 w 122"/>
                <a:gd name="T35" fmla="*/ 42 h 125"/>
                <a:gd name="T36" fmla="*/ 24 w 122"/>
                <a:gd name="T37" fmla="*/ 63 h 125"/>
                <a:gd name="T38" fmla="*/ 11 w 122"/>
                <a:gd name="T39" fmla="*/ 74 h 125"/>
                <a:gd name="T40" fmla="*/ 8 w 122"/>
                <a:gd name="T41" fmla="*/ 82 h 125"/>
                <a:gd name="T42" fmla="*/ 2 w 122"/>
                <a:gd name="T43" fmla="*/ 104 h 125"/>
                <a:gd name="T44" fmla="*/ 0 w 122"/>
                <a:gd name="T45" fmla="*/ 123 h 125"/>
                <a:gd name="T46" fmla="*/ 7 w 122"/>
                <a:gd name="T47" fmla="*/ 125 h 125"/>
                <a:gd name="T48" fmla="*/ 11 w 122"/>
                <a:gd name="T49" fmla="*/ 122 h 125"/>
                <a:gd name="T50" fmla="*/ 18 w 122"/>
                <a:gd name="T51" fmla="*/ 117 h 125"/>
                <a:gd name="T52" fmla="*/ 49 w 122"/>
                <a:gd name="T53" fmla="*/ 115 h 125"/>
                <a:gd name="T54" fmla="*/ 53 w 122"/>
                <a:gd name="T55" fmla="*/ 99 h 125"/>
                <a:gd name="T56" fmla="*/ 73 w 122"/>
                <a:gd name="T57" fmla="*/ 93 h 125"/>
                <a:gd name="T58" fmla="*/ 82 w 122"/>
                <a:gd name="T59" fmla="*/ 84 h 125"/>
                <a:gd name="T60" fmla="*/ 91 w 122"/>
                <a:gd name="T61" fmla="*/ 90 h 125"/>
                <a:gd name="T62" fmla="*/ 97 w 122"/>
                <a:gd name="T63" fmla="*/ 91 h 125"/>
                <a:gd name="T64" fmla="*/ 98 w 122"/>
                <a:gd name="T65" fmla="*/ 90 h 125"/>
                <a:gd name="T66" fmla="*/ 99 w 122"/>
                <a:gd name="T67" fmla="*/ 87 h 125"/>
                <a:gd name="T68" fmla="*/ 101 w 122"/>
                <a:gd name="T69" fmla="*/ 82 h 125"/>
                <a:gd name="T70" fmla="*/ 106 w 122"/>
                <a:gd name="T71" fmla="*/ 75 h 125"/>
                <a:gd name="T72" fmla="*/ 110 w 122"/>
                <a:gd name="T73" fmla="*/ 69 h 125"/>
                <a:gd name="T74" fmla="*/ 112 w 122"/>
                <a:gd name="T75" fmla="*/ 66 h 125"/>
                <a:gd name="T76" fmla="*/ 115 w 122"/>
                <a:gd name="T77" fmla="*/ 65 h 125"/>
                <a:gd name="T78" fmla="*/ 117 w 122"/>
                <a:gd name="T79" fmla="*/ 64 h 125"/>
                <a:gd name="T80" fmla="*/ 118 w 122"/>
                <a:gd name="T81" fmla="*/ 58 h 125"/>
                <a:gd name="T82" fmla="*/ 122 w 122"/>
                <a:gd name="T83" fmla="*/ 49 h 125"/>
                <a:gd name="T84" fmla="*/ 120 w 122"/>
                <a:gd name="T85" fmla="*/ 36 h 125"/>
                <a:gd name="T86" fmla="*/ 115 w 122"/>
                <a:gd name="T87" fmla="*/ 28 h 125"/>
                <a:gd name="T88" fmla="*/ 109 w 122"/>
                <a:gd name="T89" fmla="*/ 10 h 125"/>
                <a:gd name="T90" fmla="*/ 104 w 122"/>
                <a:gd name="T91" fmla="*/ 8 h 125"/>
                <a:gd name="T92" fmla="*/ 100 w 122"/>
                <a:gd name="T93" fmla="*/ 1 h 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 h="125">
                  <a:moveTo>
                    <a:pt x="100" y="0"/>
                  </a:moveTo>
                  <a:cubicBezTo>
                    <a:pt x="95" y="5"/>
                    <a:pt x="95" y="5"/>
                    <a:pt x="95" y="5"/>
                  </a:cubicBezTo>
                  <a:cubicBezTo>
                    <a:pt x="92" y="8"/>
                    <a:pt x="91" y="9"/>
                    <a:pt x="88" y="9"/>
                  </a:cubicBezTo>
                  <a:cubicBezTo>
                    <a:pt x="87" y="9"/>
                    <a:pt x="86" y="9"/>
                    <a:pt x="85" y="9"/>
                  </a:cubicBezTo>
                  <a:cubicBezTo>
                    <a:pt x="83" y="8"/>
                    <a:pt x="82" y="8"/>
                    <a:pt x="79" y="7"/>
                  </a:cubicBezTo>
                  <a:cubicBezTo>
                    <a:pt x="78" y="6"/>
                    <a:pt x="78" y="6"/>
                    <a:pt x="78" y="6"/>
                  </a:cubicBezTo>
                  <a:cubicBezTo>
                    <a:pt x="77" y="6"/>
                    <a:pt x="77" y="6"/>
                    <a:pt x="77" y="6"/>
                  </a:cubicBezTo>
                  <a:cubicBezTo>
                    <a:pt x="75" y="6"/>
                    <a:pt x="73" y="6"/>
                    <a:pt x="69" y="8"/>
                  </a:cubicBezTo>
                  <a:cubicBezTo>
                    <a:pt x="67" y="8"/>
                    <a:pt x="66" y="9"/>
                    <a:pt x="65" y="9"/>
                  </a:cubicBezTo>
                  <a:cubicBezTo>
                    <a:pt x="64" y="10"/>
                    <a:pt x="64" y="10"/>
                    <a:pt x="64" y="10"/>
                  </a:cubicBezTo>
                  <a:cubicBezTo>
                    <a:pt x="64" y="10"/>
                    <a:pt x="63" y="11"/>
                    <a:pt x="62" y="12"/>
                  </a:cubicBezTo>
                  <a:cubicBezTo>
                    <a:pt x="61" y="13"/>
                    <a:pt x="61" y="13"/>
                    <a:pt x="61" y="13"/>
                  </a:cubicBezTo>
                  <a:cubicBezTo>
                    <a:pt x="60" y="14"/>
                    <a:pt x="59" y="14"/>
                    <a:pt x="58" y="14"/>
                  </a:cubicBezTo>
                  <a:cubicBezTo>
                    <a:pt x="57" y="14"/>
                    <a:pt x="56" y="14"/>
                    <a:pt x="55" y="13"/>
                  </a:cubicBezTo>
                  <a:cubicBezTo>
                    <a:pt x="55" y="13"/>
                    <a:pt x="55" y="13"/>
                    <a:pt x="55" y="13"/>
                  </a:cubicBezTo>
                  <a:cubicBezTo>
                    <a:pt x="54" y="13"/>
                    <a:pt x="54" y="13"/>
                    <a:pt x="54" y="13"/>
                  </a:cubicBezTo>
                  <a:cubicBezTo>
                    <a:pt x="54" y="13"/>
                    <a:pt x="54" y="13"/>
                    <a:pt x="54" y="13"/>
                  </a:cubicBezTo>
                  <a:cubicBezTo>
                    <a:pt x="54" y="13"/>
                    <a:pt x="54" y="13"/>
                    <a:pt x="54" y="13"/>
                  </a:cubicBezTo>
                  <a:cubicBezTo>
                    <a:pt x="53" y="13"/>
                    <a:pt x="51" y="12"/>
                    <a:pt x="50" y="11"/>
                  </a:cubicBezTo>
                  <a:cubicBezTo>
                    <a:pt x="49" y="8"/>
                    <a:pt x="49" y="8"/>
                    <a:pt x="49" y="8"/>
                  </a:cubicBezTo>
                  <a:cubicBezTo>
                    <a:pt x="47" y="10"/>
                    <a:pt x="47" y="10"/>
                    <a:pt x="47" y="10"/>
                  </a:cubicBezTo>
                  <a:cubicBezTo>
                    <a:pt x="45" y="11"/>
                    <a:pt x="44" y="11"/>
                    <a:pt x="42" y="11"/>
                  </a:cubicBezTo>
                  <a:cubicBezTo>
                    <a:pt x="42" y="11"/>
                    <a:pt x="41" y="11"/>
                    <a:pt x="40" y="11"/>
                  </a:cubicBezTo>
                  <a:cubicBezTo>
                    <a:pt x="39" y="10"/>
                    <a:pt x="39" y="10"/>
                    <a:pt x="38" y="10"/>
                  </a:cubicBezTo>
                  <a:cubicBezTo>
                    <a:pt x="38" y="10"/>
                    <a:pt x="38" y="10"/>
                    <a:pt x="38" y="10"/>
                  </a:cubicBezTo>
                  <a:cubicBezTo>
                    <a:pt x="37" y="10"/>
                    <a:pt x="36" y="9"/>
                    <a:pt x="35" y="9"/>
                  </a:cubicBezTo>
                  <a:cubicBezTo>
                    <a:pt x="35" y="9"/>
                    <a:pt x="35" y="9"/>
                    <a:pt x="34" y="9"/>
                  </a:cubicBezTo>
                  <a:cubicBezTo>
                    <a:pt x="35" y="9"/>
                    <a:pt x="35" y="9"/>
                    <a:pt x="35" y="9"/>
                  </a:cubicBezTo>
                  <a:cubicBezTo>
                    <a:pt x="34" y="8"/>
                    <a:pt x="34" y="8"/>
                    <a:pt x="34" y="8"/>
                  </a:cubicBezTo>
                  <a:cubicBezTo>
                    <a:pt x="34" y="8"/>
                    <a:pt x="34" y="8"/>
                    <a:pt x="34" y="8"/>
                  </a:cubicBezTo>
                  <a:cubicBezTo>
                    <a:pt x="35" y="9"/>
                    <a:pt x="35" y="9"/>
                    <a:pt x="35" y="9"/>
                  </a:cubicBezTo>
                  <a:cubicBezTo>
                    <a:pt x="34" y="10"/>
                    <a:pt x="34" y="10"/>
                    <a:pt x="34" y="10"/>
                  </a:cubicBezTo>
                  <a:cubicBezTo>
                    <a:pt x="34" y="10"/>
                    <a:pt x="34" y="10"/>
                    <a:pt x="34" y="10"/>
                  </a:cubicBezTo>
                  <a:cubicBezTo>
                    <a:pt x="34" y="10"/>
                    <a:pt x="33" y="10"/>
                    <a:pt x="33" y="11"/>
                  </a:cubicBezTo>
                  <a:cubicBezTo>
                    <a:pt x="33" y="11"/>
                    <a:pt x="32" y="11"/>
                    <a:pt x="32" y="11"/>
                  </a:cubicBezTo>
                  <a:cubicBezTo>
                    <a:pt x="31" y="12"/>
                    <a:pt x="30" y="13"/>
                    <a:pt x="30" y="13"/>
                  </a:cubicBezTo>
                  <a:cubicBezTo>
                    <a:pt x="30" y="14"/>
                    <a:pt x="30" y="14"/>
                    <a:pt x="30" y="14"/>
                  </a:cubicBezTo>
                  <a:cubicBezTo>
                    <a:pt x="31" y="22"/>
                    <a:pt x="31" y="22"/>
                    <a:pt x="31" y="22"/>
                  </a:cubicBezTo>
                  <a:cubicBezTo>
                    <a:pt x="29" y="20"/>
                    <a:pt x="29" y="20"/>
                    <a:pt x="29" y="20"/>
                  </a:cubicBezTo>
                  <a:cubicBezTo>
                    <a:pt x="29" y="20"/>
                    <a:pt x="29" y="21"/>
                    <a:pt x="28" y="21"/>
                  </a:cubicBezTo>
                  <a:cubicBezTo>
                    <a:pt x="28" y="23"/>
                    <a:pt x="28" y="25"/>
                    <a:pt x="28" y="27"/>
                  </a:cubicBezTo>
                  <a:cubicBezTo>
                    <a:pt x="28" y="27"/>
                    <a:pt x="28" y="28"/>
                    <a:pt x="28" y="28"/>
                  </a:cubicBezTo>
                  <a:cubicBezTo>
                    <a:pt x="28" y="30"/>
                    <a:pt x="28" y="31"/>
                    <a:pt x="28" y="32"/>
                  </a:cubicBezTo>
                  <a:cubicBezTo>
                    <a:pt x="28" y="33"/>
                    <a:pt x="28" y="33"/>
                    <a:pt x="28" y="33"/>
                  </a:cubicBezTo>
                  <a:cubicBezTo>
                    <a:pt x="28" y="33"/>
                    <a:pt x="28" y="34"/>
                    <a:pt x="28" y="34"/>
                  </a:cubicBezTo>
                  <a:cubicBezTo>
                    <a:pt x="28" y="35"/>
                    <a:pt x="28" y="36"/>
                    <a:pt x="28" y="36"/>
                  </a:cubicBezTo>
                  <a:cubicBezTo>
                    <a:pt x="28" y="36"/>
                    <a:pt x="28" y="36"/>
                    <a:pt x="28" y="36"/>
                  </a:cubicBezTo>
                  <a:cubicBezTo>
                    <a:pt x="29" y="36"/>
                    <a:pt x="29" y="36"/>
                    <a:pt x="29" y="36"/>
                  </a:cubicBezTo>
                  <a:cubicBezTo>
                    <a:pt x="29" y="36"/>
                    <a:pt x="29" y="36"/>
                    <a:pt x="29" y="36"/>
                  </a:cubicBezTo>
                  <a:cubicBezTo>
                    <a:pt x="31" y="36"/>
                    <a:pt x="31" y="36"/>
                    <a:pt x="31" y="36"/>
                  </a:cubicBezTo>
                  <a:cubicBezTo>
                    <a:pt x="32" y="37"/>
                    <a:pt x="32" y="37"/>
                    <a:pt x="33" y="37"/>
                  </a:cubicBezTo>
                  <a:cubicBezTo>
                    <a:pt x="33" y="38"/>
                    <a:pt x="33" y="38"/>
                    <a:pt x="33" y="38"/>
                  </a:cubicBezTo>
                  <a:cubicBezTo>
                    <a:pt x="34" y="38"/>
                    <a:pt x="35" y="39"/>
                    <a:pt x="36" y="39"/>
                  </a:cubicBezTo>
                  <a:cubicBezTo>
                    <a:pt x="42" y="42"/>
                    <a:pt x="42" y="42"/>
                    <a:pt x="42" y="42"/>
                  </a:cubicBezTo>
                  <a:cubicBezTo>
                    <a:pt x="40" y="45"/>
                    <a:pt x="40" y="45"/>
                    <a:pt x="40" y="45"/>
                  </a:cubicBezTo>
                  <a:cubicBezTo>
                    <a:pt x="39" y="47"/>
                    <a:pt x="37" y="49"/>
                    <a:pt x="35" y="52"/>
                  </a:cubicBezTo>
                  <a:cubicBezTo>
                    <a:pt x="32" y="56"/>
                    <a:pt x="28" y="60"/>
                    <a:pt x="24" y="63"/>
                  </a:cubicBezTo>
                  <a:cubicBezTo>
                    <a:pt x="20" y="67"/>
                    <a:pt x="16" y="71"/>
                    <a:pt x="13" y="74"/>
                  </a:cubicBezTo>
                  <a:cubicBezTo>
                    <a:pt x="15" y="77"/>
                    <a:pt x="15" y="77"/>
                    <a:pt x="15" y="77"/>
                  </a:cubicBezTo>
                  <a:cubicBezTo>
                    <a:pt x="11" y="74"/>
                    <a:pt x="11" y="74"/>
                    <a:pt x="11" y="74"/>
                  </a:cubicBezTo>
                  <a:cubicBezTo>
                    <a:pt x="11" y="75"/>
                    <a:pt x="11" y="75"/>
                    <a:pt x="11" y="75"/>
                  </a:cubicBezTo>
                  <a:cubicBezTo>
                    <a:pt x="10" y="76"/>
                    <a:pt x="10" y="76"/>
                    <a:pt x="9" y="77"/>
                  </a:cubicBezTo>
                  <a:cubicBezTo>
                    <a:pt x="9" y="79"/>
                    <a:pt x="9" y="80"/>
                    <a:pt x="8" y="82"/>
                  </a:cubicBezTo>
                  <a:cubicBezTo>
                    <a:pt x="8" y="84"/>
                    <a:pt x="8" y="86"/>
                    <a:pt x="7" y="88"/>
                  </a:cubicBezTo>
                  <a:cubicBezTo>
                    <a:pt x="6" y="89"/>
                    <a:pt x="6" y="89"/>
                    <a:pt x="6" y="89"/>
                  </a:cubicBezTo>
                  <a:cubicBezTo>
                    <a:pt x="4" y="94"/>
                    <a:pt x="3" y="98"/>
                    <a:pt x="2" y="104"/>
                  </a:cubicBezTo>
                  <a:cubicBezTo>
                    <a:pt x="2" y="106"/>
                    <a:pt x="1" y="108"/>
                    <a:pt x="1" y="110"/>
                  </a:cubicBezTo>
                  <a:cubicBezTo>
                    <a:pt x="0" y="114"/>
                    <a:pt x="0" y="118"/>
                    <a:pt x="0" y="122"/>
                  </a:cubicBezTo>
                  <a:cubicBezTo>
                    <a:pt x="0" y="122"/>
                    <a:pt x="0" y="123"/>
                    <a:pt x="0" y="123"/>
                  </a:cubicBezTo>
                  <a:cubicBezTo>
                    <a:pt x="1" y="123"/>
                    <a:pt x="2" y="123"/>
                    <a:pt x="3" y="123"/>
                  </a:cubicBezTo>
                  <a:cubicBezTo>
                    <a:pt x="4" y="123"/>
                    <a:pt x="4" y="123"/>
                    <a:pt x="5" y="123"/>
                  </a:cubicBezTo>
                  <a:cubicBezTo>
                    <a:pt x="6" y="123"/>
                    <a:pt x="7" y="124"/>
                    <a:pt x="7" y="125"/>
                  </a:cubicBezTo>
                  <a:cubicBezTo>
                    <a:pt x="8" y="125"/>
                    <a:pt x="8" y="125"/>
                    <a:pt x="8" y="125"/>
                  </a:cubicBezTo>
                  <a:cubicBezTo>
                    <a:pt x="8" y="124"/>
                    <a:pt x="9" y="124"/>
                    <a:pt x="10" y="123"/>
                  </a:cubicBezTo>
                  <a:cubicBezTo>
                    <a:pt x="11" y="122"/>
                    <a:pt x="11" y="122"/>
                    <a:pt x="11" y="122"/>
                  </a:cubicBezTo>
                  <a:cubicBezTo>
                    <a:pt x="12" y="121"/>
                    <a:pt x="13" y="120"/>
                    <a:pt x="15" y="119"/>
                  </a:cubicBezTo>
                  <a:cubicBezTo>
                    <a:pt x="14" y="118"/>
                    <a:pt x="14" y="118"/>
                    <a:pt x="14" y="118"/>
                  </a:cubicBezTo>
                  <a:cubicBezTo>
                    <a:pt x="18" y="117"/>
                    <a:pt x="18" y="117"/>
                    <a:pt x="18" y="117"/>
                  </a:cubicBezTo>
                  <a:cubicBezTo>
                    <a:pt x="19" y="116"/>
                    <a:pt x="19" y="116"/>
                    <a:pt x="19" y="116"/>
                  </a:cubicBezTo>
                  <a:cubicBezTo>
                    <a:pt x="20" y="116"/>
                    <a:pt x="20" y="116"/>
                    <a:pt x="20" y="116"/>
                  </a:cubicBezTo>
                  <a:cubicBezTo>
                    <a:pt x="28" y="116"/>
                    <a:pt x="39" y="115"/>
                    <a:pt x="49" y="115"/>
                  </a:cubicBezTo>
                  <a:cubicBezTo>
                    <a:pt x="48" y="114"/>
                    <a:pt x="48" y="112"/>
                    <a:pt x="48" y="111"/>
                  </a:cubicBezTo>
                  <a:cubicBezTo>
                    <a:pt x="50" y="109"/>
                    <a:pt x="52" y="106"/>
                    <a:pt x="54" y="104"/>
                  </a:cubicBezTo>
                  <a:cubicBezTo>
                    <a:pt x="55" y="102"/>
                    <a:pt x="55" y="101"/>
                    <a:pt x="53" y="99"/>
                  </a:cubicBezTo>
                  <a:cubicBezTo>
                    <a:pt x="51" y="94"/>
                    <a:pt x="63" y="94"/>
                    <a:pt x="65" y="93"/>
                  </a:cubicBezTo>
                  <a:cubicBezTo>
                    <a:pt x="69" y="93"/>
                    <a:pt x="68" y="90"/>
                    <a:pt x="70" y="88"/>
                  </a:cubicBezTo>
                  <a:cubicBezTo>
                    <a:pt x="70" y="91"/>
                    <a:pt x="70" y="93"/>
                    <a:pt x="73" y="93"/>
                  </a:cubicBezTo>
                  <a:cubicBezTo>
                    <a:pt x="74" y="93"/>
                    <a:pt x="75" y="93"/>
                    <a:pt x="76" y="93"/>
                  </a:cubicBezTo>
                  <a:cubicBezTo>
                    <a:pt x="77" y="92"/>
                    <a:pt x="77" y="92"/>
                    <a:pt x="79" y="91"/>
                  </a:cubicBezTo>
                  <a:cubicBezTo>
                    <a:pt x="81" y="90"/>
                    <a:pt x="85" y="86"/>
                    <a:pt x="82" y="84"/>
                  </a:cubicBezTo>
                  <a:cubicBezTo>
                    <a:pt x="83" y="84"/>
                    <a:pt x="84" y="84"/>
                    <a:pt x="85" y="84"/>
                  </a:cubicBezTo>
                  <a:cubicBezTo>
                    <a:pt x="86" y="84"/>
                    <a:pt x="87" y="84"/>
                    <a:pt x="88" y="86"/>
                  </a:cubicBezTo>
                  <a:cubicBezTo>
                    <a:pt x="88" y="88"/>
                    <a:pt x="89" y="90"/>
                    <a:pt x="91" y="90"/>
                  </a:cubicBezTo>
                  <a:cubicBezTo>
                    <a:pt x="91" y="90"/>
                    <a:pt x="91" y="90"/>
                    <a:pt x="91" y="90"/>
                  </a:cubicBezTo>
                  <a:cubicBezTo>
                    <a:pt x="92" y="90"/>
                    <a:pt x="94" y="87"/>
                    <a:pt x="94" y="87"/>
                  </a:cubicBezTo>
                  <a:cubicBezTo>
                    <a:pt x="94" y="89"/>
                    <a:pt x="95" y="91"/>
                    <a:pt x="97" y="91"/>
                  </a:cubicBezTo>
                  <a:cubicBezTo>
                    <a:pt x="97" y="91"/>
                    <a:pt x="97" y="91"/>
                    <a:pt x="97" y="91"/>
                  </a:cubicBezTo>
                  <a:cubicBezTo>
                    <a:pt x="98" y="91"/>
                    <a:pt x="98" y="91"/>
                    <a:pt x="98" y="91"/>
                  </a:cubicBezTo>
                  <a:cubicBezTo>
                    <a:pt x="98" y="90"/>
                    <a:pt x="98" y="90"/>
                    <a:pt x="98" y="90"/>
                  </a:cubicBezTo>
                  <a:cubicBezTo>
                    <a:pt x="98" y="90"/>
                    <a:pt x="98" y="89"/>
                    <a:pt x="98" y="89"/>
                  </a:cubicBezTo>
                  <a:cubicBezTo>
                    <a:pt x="98" y="89"/>
                    <a:pt x="98" y="89"/>
                    <a:pt x="98" y="89"/>
                  </a:cubicBezTo>
                  <a:cubicBezTo>
                    <a:pt x="98" y="88"/>
                    <a:pt x="98" y="88"/>
                    <a:pt x="99" y="87"/>
                  </a:cubicBezTo>
                  <a:cubicBezTo>
                    <a:pt x="99" y="87"/>
                    <a:pt x="99" y="87"/>
                    <a:pt x="99" y="87"/>
                  </a:cubicBezTo>
                  <a:cubicBezTo>
                    <a:pt x="100" y="86"/>
                    <a:pt x="100" y="85"/>
                    <a:pt x="101" y="83"/>
                  </a:cubicBezTo>
                  <a:cubicBezTo>
                    <a:pt x="101" y="83"/>
                    <a:pt x="101" y="82"/>
                    <a:pt x="101" y="82"/>
                  </a:cubicBezTo>
                  <a:cubicBezTo>
                    <a:pt x="103" y="80"/>
                    <a:pt x="104" y="79"/>
                    <a:pt x="105" y="77"/>
                  </a:cubicBezTo>
                  <a:cubicBezTo>
                    <a:pt x="106" y="76"/>
                    <a:pt x="106" y="76"/>
                    <a:pt x="106" y="76"/>
                  </a:cubicBezTo>
                  <a:cubicBezTo>
                    <a:pt x="106" y="76"/>
                    <a:pt x="106" y="76"/>
                    <a:pt x="106" y="75"/>
                  </a:cubicBezTo>
                  <a:cubicBezTo>
                    <a:pt x="107" y="74"/>
                    <a:pt x="107" y="74"/>
                    <a:pt x="107" y="74"/>
                  </a:cubicBezTo>
                  <a:cubicBezTo>
                    <a:pt x="107" y="73"/>
                    <a:pt x="107" y="73"/>
                    <a:pt x="107" y="73"/>
                  </a:cubicBezTo>
                  <a:cubicBezTo>
                    <a:pt x="108" y="71"/>
                    <a:pt x="109" y="70"/>
                    <a:pt x="110" y="69"/>
                  </a:cubicBezTo>
                  <a:cubicBezTo>
                    <a:pt x="110" y="68"/>
                    <a:pt x="110" y="68"/>
                    <a:pt x="111" y="68"/>
                  </a:cubicBezTo>
                  <a:cubicBezTo>
                    <a:pt x="111" y="67"/>
                    <a:pt x="111" y="67"/>
                    <a:pt x="111" y="67"/>
                  </a:cubicBezTo>
                  <a:cubicBezTo>
                    <a:pt x="111" y="67"/>
                    <a:pt x="112" y="67"/>
                    <a:pt x="112" y="66"/>
                  </a:cubicBezTo>
                  <a:cubicBezTo>
                    <a:pt x="113" y="66"/>
                    <a:pt x="113" y="66"/>
                    <a:pt x="113" y="66"/>
                  </a:cubicBezTo>
                  <a:cubicBezTo>
                    <a:pt x="113" y="65"/>
                    <a:pt x="113" y="65"/>
                    <a:pt x="113" y="65"/>
                  </a:cubicBezTo>
                  <a:cubicBezTo>
                    <a:pt x="115" y="65"/>
                    <a:pt x="115" y="65"/>
                    <a:pt x="115" y="65"/>
                  </a:cubicBezTo>
                  <a:cubicBezTo>
                    <a:pt x="116" y="64"/>
                    <a:pt x="116" y="64"/>
                    <a:pt x="117" y="64"/>
                  </a:cubicBezTo>
                  <a:cubicBezTo>
                    <a:pt x="117" y="64"/>
                    <a:pt x="117" y="64"/>
                    <a:pt x="117" y="64"/>
                  </a:cubicBezTo>
                  <a:cubicBezTo>
                    <a:pt x="117" y="64"/>
                    <a:pt x="117" y="64"/>
                    <a:pt x="117" y="64"/>
                  </a:cubicBezTo>
                  <a:cubicBezTo>
                    <a:pt x="117" y="63"/>
                    <a:pt x="117" y="63"/>
                    <a:pt x="117" y="62"/>
                  </a:cubicBezTo>
                  <a:cubicBezTo>
                    <a:pt x="117" y="61"/>
                    <a:pt x="118" y="60"/>
                    <a:pt x="118" y="59"/>
                  </a:cubicBezTo>
                  <a:cubicBezTo>
                    <a:pt x="118" y="58"/>
                    <a:pt x="118" y="58"/>
                    <a:pt x="118" y="58"/>
                  </a:cubicBezTo>
                  <a:cubicBezTo>
                    <a:pt x="118" y="58"/>
                    <a:pt x="119" y="57"/>
                    <a:pt x="119" y="57"/>
                  </a:cubicBezTo>
                  <a:cubicBezTo>
                    <a:pt x="120" y="55"/>
                    <a:pt x="120" y="55"/>
                    <a:pt x="120" y="55"/>
                  </a:cubicBezTo>
                  <a:cubicBezTo>
                    <a:pt x="121" y="53"/>
                    <a:pt x="122" y="50"/>
                    <a:pt x="122" y="49"/>
                  </a:cubicBezTo>
                  <a:cubicBezTo>
                    <a:pt x="122" y="48"/>
                    <a:pt x="122" y="48"/>
                    <a:pt x="122" y="48"/>
                  </a:cubicBezTo>
                  <a:cubicBezTo>
                    <a:pt x="122" y="48"/>
                    <a:pt x="122" y="48"/>
                    <a:pt x="122" y="48"/>
                  </a:cubicBezTo>
                  <a:cubicBezTo>
                    <a:pt x="121" y="44"/>
                    <a:pt x="120" y="41"/>
                    <a:pt x="120" y="36"/>
                  </a:cubicBezTo>
                  <a:cubicBezTo>
                    <a:pt x="120" y="35"/>
                    <a:pt x="119" y="34"/>
                    <a:pt x="117" y="31"/>
                  </a:cubicBezTo>
                  <a:cubicBezTo>
                    <a:pt x="117" y="30"/>
                    <a:pt x="116" y="29"/>
                    <a:pt x="116" y="29"/>
                  </a:cubicBezTo>
                  <a:cubicBezTo>
                    <a:pt x="115" y="28"/>
                    <a:pt x="115" y="28"/>
                    <a:pt x="115" y="28"/>
                  </a:cubicBezTo>
                  <a:cubicBezTo>
                    <a:pt x="113" y="25"/>
                    <a:pt x="112" y="23"/>
                    <a:pt x="111" y="20"/>
                  </a:cubicBezTo>
                  <a:cubicBezTo>
                    <a:pt x="111" y="18"/>
                    <a:pt x="111" y="18"/>
                    <a:pt x="111" y="18"/>
                  </a:cubicBezTo>
                  <a:cubicBezTo>
                    <a:pt x="111" y="16"/>
                    <a:pt x="110" y="12"/>
                    <a:pt x="109" y="10"/>
                  </a:cubicBezTo>
                  <a:cubicBezTo>
                    <a:pt x="109" y="10"/>
                    <a:pt x="108" y="10"/>
                    <a:pt x="108" y="10"/>
                  </a:cubicBezTo>
                  <a:cubicBezTo>
                    <a:pt x="107" y="9"/>
                    <a:pt x="107" y="9"/>
                    <a:pt x="107" y="9"/>
                  </a:cubicBezTo>
                  <a:cubicBezTo>
                    <a:pt x="105" y="9"/>
                    <a:pt x="104" y="8"/>
                    <a:pt x="104" y="8"/>
                  </a:cubicBezTo>
                  <a:cubicBezTo>
                    <a:pt x="103" y="7"/>
                    <a:pt x="102" y="6"/>
                    <a:pt x="102" y="5"/>
                  </a:cubicBezTo>
                  <a:cubicBezTo>
                    <a:pt x="101" y="4"/>
                    <a:pt x="101" y="2"/>
                    <a:pt x="100" y="1"/>
                  </a:cubicBezTo>
                  <a:cubicBezTo>
                    <a:pt x="100" y="1"/>
                    <a:pt x="100" y="1"/>
                    <a:pt x="100" y="1"/>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215"/>
            <p:cNvSpPr/>
            <p:nvPr/>
          </p:nvSpPr>
          <p:spPr bwMode="auto">
            <a:xfrm>
              <a:off x="4346" y="2462"/>
              <a:ext cx="1045" cy="1035"/>
            </a:xfrm>
            <a:custGeom>
              <a:gdLst>
                <a:gd name="T0" fmla="*/ 309 w 442"/>
                <a:gd name="T1" fmla="*/ 5 h 438"/>
                <a:gd name="T2" fmla="*/ 286 w 442"/>
                <a:gd name="T3" fmla="*/ 10 h 438"/>
                <a:gd name="T4" fmla="*/ 258 w 442"/>
                <a:gd name="T5" fmla="*/ 18 h 438"/>
                <a:gd name="T6" fmla="*/ 245 w 442"/>
                <a:gd name="T7" fmla="*/ 20 h 438"/>
                <a:gd name="T8" fmla="*/ 231 w 442"/>
                <a:gd name="T9" fmla="*/ 27 h 438"/>
                <a:gd name="T10" fmla="*/ 211 w 442"/>
                <a:gd name="T11" fmla="*/ 25 h 438"/>
                <a:gd name="T12" fmla="*/ 196 w 442"/>
                <a:gd name="T13" fmla="*/ 21 h 438"/>
                <a:gd name="T14" fmla="*/ 174 w 442"/>
                <a:gd name="T15" fmla="*/ 6 h 438"/>
                <a:gd name="T16" fmla="*/ 162 w 442"/>
                <a:gd name="T17" fmla="*/ 10 h 438"/>
                <a:gd name="T18" fmla="*/ 151 w 442"/>
                <a:gd name="T19" fmla="*/ 26 h 438"/>
                <a:gd name="T20" fmla="*/ 152 w 442"/>
                <a:gd name="T21" fmla="*/ 49 h 438"/>
                <a:gd name="T22" fmla="*/ 147 w 442"/>
                <a:gd name="T23" fmla="*/ 58 h 438"/>
                <a:gd name="T24" fmla="*/ 139 w 442"/>
                <a:gd name="T25" fmla="*/ 76 h 438"/>
                <a:gd name="T26" fmla="*/ 134 w 442"/>
                <a:gd name="T27" fmla="*/ 105 h 438"/>
                <a:gd name="T28" fmla="*/ 116 w 442"/>
                <a:gd name="T29" fmla="*/ 150 h 438"/>
                <a:gd name="T30" fmla="*/ 94 w 442"/>
                <a:gd name="T31" fmla="*/ 177 h 438"/>
                <a:gd name="T32" fmla="*/ 98 w 442"/>
                <a:gd name="T33" fmla="*/ 196 h 438"/>
                <a:gd name="T34" fmla="*/ 87 w 442"/>
                <a:gd name="T35" fmla="*/ 216 h 438"/>
                <a:gd name="T36" fmla="*/ 52 w 442"/>
                <a:gd name="T37" fmla="*/ 242 h 438"/>
                <a:gd name="T38" fmla="*/ 41 w 442"/>
                <a:gd name="T39" fmla="*/ 231 h 438"/>
                <a:gd name="T40" fmla="*/ 18 w 442"/>
                <a:gd name="T41" fmla="*/ 236 h 438"/>
                <a:gd name="T42" fmla="*/ 0 w 442"/>
                <a:gd name="T43" fmla="*/ 262 h 438"/>
                <a:gd name="T44" fmla="*/ 30 w 442"/>
                <a:gd name="T45" fmla="*/ 258 h 438"/>
                <a:gd name="T46" fmla="*/ 91 w 442"/>
                <a:gd name="T47" fmla="*/ 259 h 438"/>
                <a:gd name="T48" fmla="*/ 117 w 442"/>
                <a:gd name="T49" fmla="*/ 299 h 438"/>
                <a:gd name="T50" fmla="*/ 139 w 442"/>
                <a:gd name="T51" fmla="*/ 309 h 438"/>
                <a:gd name="T52" fmla="*/ 170 w 442"/>
                <a:gd name="T53" fmla="*/ 287 h 438"/>
                <a:gd name="T54" fmla="*/ 183 w 442"/>
                <a:gd name="T55" fmla="*/ 285 h 438"/>
                <a:gd name="T56" fmla="*/ 194 w 442"/>
                <a:gd name="T57" fmla="*/ 283 h 438"/>
                <a:gd name="T58" fmla="*/ 205 w 442"/>
                <a:gd name="T59" fmla="*/ 292 h 438"/>
                <a:gd name="T60" fmla="*/ 228 w 442"/>
                <a:gd name="T61" fmla="*/ 318 h 438"/>
                <a:gd name="T62" fmla="*/ 227 w 442"/>
                <a:gd name="T63" fmla="*/ 348 h 438"/>
                <a:gd name="T64" fmla="*/ 236 w 442"/>
                <a:gd name="T65" fmla="*/ 385 h 438"/>
                <a:gd name="T66" fmla="*/ 277 w 442"/>
                <a:gd name="T67" fmla="*/ 372 h 438"/>
                <a:gd name="T68" fmla="*/ 295 w 442"/>
                <a:gd name="T69" fmla="*/ 387 h 438"/>
                <a:gd name="T70" fmla="*/ 312 w 442"/>
                <a:gd name="T71" fmla="*/ 398 h 438"/>
                <a:gd name="T72" fmla="*/ 343 w 442"/>
                <a:gd name="T73" fmla="*/ 401 h 438"/>
                <a:gd name="T74" fmla="*/ 359 w 442"/>
                <a:gd name="T75" fmla="*/ 406 h 438"/>
                <a:gd name="T76" fmla="*/ 395 w 442"/>
                <a:gd name="T77" fmla="*/ 437 h 438"/>
                <a:gd name="T78" fmla="*/ 409 w 442"/>
                <a:gd name="T79" fmla="*/ 434 h 438"/>
                <a:gd name="T80" fmla="*/ 400 w 442"/>
                <a:gd name="T81" fmla="*/ 420 h 438"/>
                <a:gd name="T82" fmla="*/ 391 w 442"/>
                <a:gd name="T83" fmla="*/ 417 h 438"/>
                <a:gd name="T84" fmla="*/ 381 w 442"/>
                <a:gd name="T85" fmla="*/ 367 h 438"/>
                <a:gd name="T86" fmla="*/ 380 w 442"/>
                <a:gd name="T87" fmla="*/ 351 h 438"/>
                <a:gd name="T88" fmla="*/ 386 w 442"/>
                <a:gd name="T89" fmla="*/ 330 h 438"/>
                <a:gd name="T90" fmla="*/ 419 w 442"/>
                <a:gd name="T91" fmla="*/ 316 h 438"/>
                <a:gd name="T92" fmla="*/ 397 w 442"/>
                <a:gd name="T93" fmla="*/ 247 h 438"/>
                <a:gd name="T94" fmla="*/ 396 w 442"/>
                <a:gd name="T95" fmla="*/ 209 h 438"/>
                <a:gd name="T96" fmla="*/ 389 w 442"/>
                <a:gd name="T97" fmla="*/ 187 h 438"/>
                <a:gd name="T98" fmla="*/ 397 w 442"/>
                <a:gd name="T99" fmla="*/ 161 h 438"/>
                <a:gd name="T100" fmla="*/ 405 w 442"/>
                <a:gd name="T101" fmla="*/ 132 h 438"/>
                <a:gd name="T102" fmla="*/ 429 w 442"/>
                <a:gd name="T103" fmla="*/ 88 h 438"/>
                <a:gd name="T104" fmla="*/ 432 w 442"/>
                <a:gd name="T105" fmla="*/ 67 h 438"/>
                <a:gd name="T106" fmla="*/ 433 w 442"/>
                <a:gd name="T107" fmla="*/ 43 h 438"/>
                <a:gd name="T108" fmla="*/ 424 w 442"/>
                <a:gd name="T109" fmla="*/ 34 h 438"/>
                <a:gd name="T110" fmla="*/ 402 w 442"/>
                <a:gd name="T111" fmla="*/ 22 h 438"/>
                <a:gd name="T112" fmla="*/ 373 w 442"/>
                <a:gd name="T113" fmla="*/ 23 h 438"/>
                <a:gd name="T114" fmla="*/ 351 w 442"/>
                <a:gd name="T115" fmla="*/ 6 h 438"/>
                <a:gd name="T116" fmla="*/ 332 w 442"/>
                <a:gd name="T117" fmla="*/ 6 h 438"/>
                <a:gd name="T118" fmla="*/ 314 w 442"/>
                <a:gd name="T119" fmla="*/ 2 h 4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2" h="438">
                  <a:moveTo>
                    <a:pt x="311" y="0"/>
                  </a:moveTo>
                  <a:cubicBezTo>
                    <a:pt x="310" y="0"/>
                    <a:pt x="310" y="0"/>
                    <a:pt x="310" y="0"/>
                  </a:cubicBezTo>
                  <a:cubicBezTo>
                    <a:pt x="310" y="0"/>
                    <a:pt x="309" y="0"/>
                    <a:pt x="309" y="0"/>
                  </a:cubicBezTo>
                  <a:cubicBezTo>
                    <a:pt x="309" y="1"/>
                    <a:pt x="309" y="1"/>
                    <a:pt x="309" y="1"/>
                  </a:cubicBezTo>
                  <a:cubicBezTo>
                    <a:pt x="309" y="1"/>
                    <a:pt x="309" y="1"/>
                    <a:pt x="309" y="1"/>
                  </a:cubicBezTo>
                  <a:cubicBezTo>
                    <a:pt x="309" y="2"/>
                    <a:pt x="309" y="2"/>
                    <a:pt x="309" y="3"/>
                  </a:cubicBezTo>
                  <a:cubicBezTo>
                    <a:pt x="310" y="4"/>
                    <a:pt x="310" y="4"/>
                    <a:pt x="310" y="4"/>
                  </a:cubicBezTo>
                  <a:cubicBezTo>
                    <a:pt x="309" y="5"/>
                    <a:pt x="309" y="5"/>
                    <a:pt x="309" y="5"/>
                  </a:cubicBezTo>
                  <a:cubicBezTo>
                    <a:pt x="307" y="8"/>
                    <a:pt x="303" y="9"/>
                    <a:pt x="300" y="9"/>
                  </a:cubicBezTo>
                  <a:cubicBezTo>
                    <a:pt x="300" y="9"/>
                    <a:pt x="300" y="9"/>
                    <a:pt x="300" y="9"/>
                  </a:cubicBezTo>
                  <a:cubicBezTo>
                    <a:pt x="300" y="9"/>
                    <a:pt x="299" y="9"/>
                    <a:pt x="298" y="9"/>
                  </a:cubicBezTo>
                  <a:cubicBezTo>
                    <a:pt x="297" y="10"/>
                    <a:pt x="297" y="10"/>
                    <a:pt x="297" y="10"/>
                  </a:cubicBezTo>
                  <a:cubicBezTo>
                    <a:pt x="296" y="10"/>
                    <a:pt x="294" y="10"/>
                    <a:pt x="292" y="11"/>
                  </a:cubicBezTo>
                  <a:cubicBezTo>
                    <a:pt x="292" y="11"/>
                    <a:pt x="292" y="11"/>
                    <a:pt x="292" y="11"/>
                  </a:cubicBezTo>
                  <a:cubicBezTo>
                    <a:pt x="291" y="11"/>
                    <a:pt x="290" y="11"/>
                    <a:pt x="290" y="10"/>
                  </a:cubicBezTo>
                  <a:cubicBezTo>
                    <a:pt x="286" y="10"/>
                    <a:pt x="286" y="10"/>
                    <a:pt x="286" y="10"/>
                  </a:cubicBezTo>
                  <a:cubicBezTo>
                    <a:pt x="287" y="8"/>
                    <a:pt x="287" y="8"/>
                    <a:pt x="287" y="8"/>
                  </a:cubicBezTo>
                  <a:cubicBezTo>
                    <a:pt x="287" y="7"/>
                    <a:pt x="286" y="7"/>
                    <a:pt x="286" y="7"/>
                  </a:cubicBezTo>
                  <a:cubicBezTo>
                    <a:pt x="286" y="7"/>
                    <a:pt x="285" y="7"/>
                    <a:pt x="285" y="8"/>
                  </a:cubicBezTo>
                  <a:cubicBezTo>
                    <a:pt x="282" y="9"/>
                    <a:pt x="282" y="9"/>
                    <a:pt x="282" y="9"/>
                  </a:cubicBezTo>
                  <a:cubicBezTo>
                    <a:pt x="270" y="15"/>
                    <a:pt x="270" y="15"/>
                    <a:pt x="270" y="15"/>
                  </a:cubicBezTo>
                  <a:cubicBezTo>
                    <a:pt x="269" y="15"/>
                    <a:pt x="269" y="15"/>
                    <a:pt x="268" y="16"/>
                  </a:cubicBezTo>
                  <a:cubicBezTo>
                    <a:pt x="266" y="17"/>
                    <a:pt x="263" y="18"/>
                    <a:pt x="260" y="18"/>
                  </a:cubicBezTo>
                  <a:cubicBezTo>
                    <a:pt x="260" y="18"/>
                    <a:pt x="259" y="18"/>
                    <a:pt x="258" y="18"/>
                  </a:cubicBezTo>
                  <a:cubicBezTo>
                    <a:pt x="256" y="17"/>
                    <a:pt x="255" y="16"/>
                    <a:pt x="253" y="15"/>
                  </a:cubicBezTo>
                  <a:cubicBezTo>
                    <a:pt x="252" y="15"/>
                    <a:pt x="252" y="14"/>
                    <a:pt x="251" y="14"/>
                  </a:cubicBezTo>
                  <a:cubicBezTo>
                    <a:pt x="253" y="18"/>
                    <a:pt x="253" y="18"/>
                    <a:pt x="253" y="18"/>
                  </a:cubicBezTo>
                  <a:cubicBezTo>
                    <a:pt x="249" y="14"/>
                    <a:pt x="249" y="14"/>
                    <a:pt x="249" y="14"/>
                  </a:cubicBezTo>
                  <a:cubicBezTo>
                    <a:pt x="249" y="14"/>
                    <a:pt x="249" y="14"/>
                    <a:pt x="249" y="14"/>
                  </a:cubicBezTo>
                  <a:cubicBezTo>
                    <a:pt x="248" y="16"/>
                    <a:pt x="247" y="17"/>
                    <a:pt x="247" y="18"/>
                  </a:cubicBezTo>
                  <a:cubicBezTo>
                    <a:pt x="246" y="18"/>
                    <a:pt x="246" y="18"/>
                    <a:pt x="246" y="18"/>
                  </a:cubicBezTo>
                  <a:cubicBezTo>
                    <a:pt x="246" y="19"/>
                    <a:pt x="246" y="19"/>
                    <a:pt x="245" y="20"/>
                  </a:cubicBezTo>
                  <a:cubicBezTo>
                    <a:pt x="243" y="23"/>
                    <a:pt x="242" y="25"/>
                    <a:pt x="242" y="25"/>
                  </a:cubicBezTo>
                  <a:cubicBezTo>
                    <a:pt x="242" y="27"/>
                    <a:pt x="242" y="27"/>
                    <a:pt x="242" y="27"/>
                  </a:cubicBezTo>
                  <a:cubicBezTo>
                    <a:pt x="238" y="30"/>
                    <a:pt x="238" y="30"/>
                    <a:pt x="238" y="30"/>
                  </a:cubicBezTo>
                  <a:cubicBezTo>
                    <a:pt x="238" y="29"/>
                    <a:pt x="238" y="29"/>
                    <a:pt x="238" y="29"/>
                  </a:cubicBezTo>
                  <a:cubicBezTo>
                    <a:pt x="238" y="29"/>
                    <a:pt x="237" y="29"/>
                    <a:pt x="237" y="29"/>
                  </a:cubicBezTo>
                  <a:cubicBezTo>
                    <a:pt x="237" y="29"/>
                    <a:pt x="236" y="29"/>
                    <a:pt x="235" y="29"/>
                  </a:cubicBezTo>
                  <a:cubicBezTo>
                    <a:pt x="235" y="28"/>
                    <a:pt x="235" y="28"/>
                    <a:pt x="234" y="28"/>
                  </a:cubicBezTo>
                  <a:cubicBezTo>
                    <a:pt x="233" y="28"/>
                    <a:pt x="232" y="28"/>
                    <a:pt x="231" y="27"/>
                  </a:cubicBezTo>
                  <a:cubicBezTo>
                    <a:pt x="230" y="27"/>
                    <a:pt x="230" y="27"/>
                    <a:pt x="230" y="27"/>
                  </a:cubicBezTo>
                  <a:cubicBezTo>
                    <a:pt x="230" y="27"/>
                    <a:pt x="229" y="27"/>
                    <a:pt x="229" y="27"/>
                  </a:cubicBezTo>
                  <a:cubicBezTo>
                    <a:pt x="228" y="27"/>
                    <a:pt x="228" y="27"/>
                    <a:pt x="228" y="27"/>
                  </a:cubicBezTo>
                  <a:cubicBezTo>
                    <a:pt x="227" y="27"/>
                    <a:pt x="227" y="27"/>
                    <a:pt x="227" y="27"/>
                  </a:cubicBezTo>
                  <a:cubicBezTo>
                    <a:pt x="225" y="27"/>
                    <a:pt x="223" y="27"/>
                    <a:pt x="222" y="26"/>
                  </a:cubicBezTo>
                  <a:cubicBezTo>
                    <a:pt x="219" y="26"/>
                    <a:pt x="219" y="26"/>
                    <a:pt x="219" y="26"/>
                  </a:cubicBezTo>
                  <a:cubicBezTo>
                    <a:pt x="217" y="26"/>
                    <a:pt x="215" y="26"/>
                    <a:pt x="213" y="26"/>
                  </a:cubicBezTo>
                  <a:cubicBezTo>
                    <a:pt x="211" y="25"/>
                    <a:pt x="211" y="25"/>
                    <a:pt x="211" y="25"/>
                  </a:cubicBezTo>
                  <a:cubicBezTo>
                    <a:pt x="210" y="25"/>
                    <a:pt x="210" y="25"/>
                    <a:pt x="209" y="25"/>
                  </a:cubicBezTo>
                  <a:cubicBezTo>
                    <a:pt x="208" y="29"/>
                    <a:pt x="208" y="29"/>
                    <a:pt x="208" y="29"/>
                  </a:cubicBezTo>
                  <a:cubicBezTo>
                    <a:pt x="208" y="24"/>
                    <a:pt x="208" y="24"/>
                    <a:pt x="208" y="24"/>
                  </a:cubicBezTo>
                  <a:cubicBezTo>
                    <a:pt x="207" y="24"/>
                    <a:pt x="207" y="24"/>
                    <a:pt x="207" y="24"/>
                  </a:cubicBezTo>
                  <a:cubicBezTo>
                    <a:pt x="206" y="24"/>
                    <a:pt x="204" y="24"/>
                    <a:pt x="202" y="23"/>
                  </a:cubicBezTo>
                  <a:cubicBezTo>
                    <a:pt x="201" y="23"/>
                    <a:pt x="201" y="23"/>
                    <a:pt x="201" y="23"/>
                  </a:cubicBezTo>
                  <a:cubicBezTo>
                    <a:pt x="200" y="22"/>
                    <a:pt x="199" y="22"/>
                    <a:pt x="197" y="22"/>
                  </a:cubicBezTo>
                  <a:cubicBezTo>
                    <a:pt x="197" y="21"/>
                    <a:pt x="196" y="21"/>
                    <a:pt x="196" y="21"/>
                  </a:cubicBezTo>
                  <a:cubicBezTo>
                    <a:pt x="195" y="21"/>
                    <a:pt x="194" y="21"/>
                    <a:pt x="193" y="21"/>
                  </a:cubicBezTo>
                  <a:cubicBezTo>
                    <a:pt x="191" y="20"/>
                    <a:pt x="189" y="18"/>
                    <a:pt x="187" y="17"/>
                  </a:cubicBezTo>
                  <a:cubicBezTo>
                    <a:pt x="180" y="9"/>
                    <a:pt x="180" y="9"/>
                    <a:pt x="180" y="9"/>
                  </a:cubicBezTo>
                  <a:cubicBezTo>
                    <a:pt x="179" y="9"/>
                    <a:pt x="179" y="9"/>
                    <a:pt x="179" y="9"/>
                  </a:cubicBezTo>
                  <a:cubicBezTo>
                    <a:pt x="178" y="8"/>
                    <a:pt x="178" y="8"/>
                    <a:pt x="178" y="8"/>
                  </a:cubicBezTo>
                  <a:cubicBezTo>
                    <a:pt x="177" y="8"/>
                    <a:pt x="176" y="7"/>
                    <a:pt x="175" y="7"/>
                  </a:cubicBezTo>
                  <a:cubicBezTo>
                    <a:pt x="175" y="6"/>
                    <a:pt x="175" y="6"/>
                    <a:pt x="175" y="6"/>
                  </a:cubicBezTo>
                  <a:cubicBezTo>
                    <a:pt x="174" y="6"/>
                    <a:pt x="174" y="6"/>
                    <a:pt x="174" y="6"/>
                  </a:cubicBezTo>
                  <a:cubicBezTo>
                    <a:pt x="173" y="6"/>
                    <a:pt x="173" y="6"/>
                    <a:pt x="173" y="6"/>
                  </a:cubicBezTo>
                  <a:cubicBezTo>
                    <a:pt x="173" y="6"/>
                    <a:pt x="173" y="6"/>
                    <a:pt x="173" y="6"/>
                  </a:cubicBezTo>
                  <a:cubicBezTo>
                    <a:pt x="172" y="6"/>
                    <a:pt x="172" y="6"/>
                    <a:pt x="172" y="6"/>
                  </a:cubicBezTo>
                  <a:cubicBezTo>
                    <a:pt x="171" y="5"/>
                    <a:pt x="171" y="5"/>
                    <a:pt x="171" y="5"/>
                  </a:cubicBezTo>
                  <a:cubicBezTo>
                    <a:pt x="171" y="5"/>
                    <a:pt x="171" y="5"/>
                    <a:pt x="171" y="5"/>
                  </a:cubicBezTo>
                  <a:cubicBezTo>
                    <a:pt x="171" y="5"/>
                    <a:pt x="171" y="5"/>
                    <a:pt x="170" y="5"/>
                  </a:cubicBezTo>
                  <a:cubicBezTo>
                    <a:pt x="170" y="6"/>
                    <a:pt x="170" y="6"/>
                    <a:pt x="170" y="6"/>
                  </a:cubicBezTo>
                  <a:cubicBezTo>
                    <a:pt x="167" y="6"/>
                    <a:pt x="164" y="8"/>
                    <a:pt x="162" y="10"/>
                  </a:cubicBezTo>
                  <a:cubicBezTo>
                    <a:pt x="161" y="11"/>
                    <a:pt x="160" y="12"/>
                    <a:pt x="160" y="13"/>
                  </a:cubicBezTo>
                  <a:cubicBezTo>
                    <a:pt x="159" y="13"/>
                    <a:pt x="159" y="13"/>
                    <a:pt x="159" y="13"/>
                  </a:cubicBezTo>
                  <a:cubicBezTo>
                    <a:pt x="158" y="15"/>
                    <a:pt x="158" y="16"/>
                    <a:pt x="157" y="17"/>
                  </a:cubicBezTo>
                  <a:cubicBezTo>
                    <a:pt x="156" y="18"/>
                    <a:pt x="156" y="18"/>
                    <a:pt x="156" y="18"/>
                  </a:cubicBezTo>
                  <a:cubicBezTo>
                    <a:pt x="156" y="19"/>
                    <a:pt x="156" y="19"/>
                    <a:pt x="156" y="19"/>
                  </a:cubicBezTo>
                  <a:cubicBezTo>
                    <a:pt x="155" y="20"/>
                    <a:pt x="154" y="22"/>
                    <a:pt x="152" y="23"/>
                  </a:cubicBezTo>
                  <a:cubicBezTo>
                    <a:pt x="152" y="23"/>
                    <a:pt x="151" y="23"/>
                    <a:pt x="151" y="24"/>
                  </a:cubicBezTo>
                  <a:cubicBezTo>
                    <a:pt x="151" y="25"/>
                    <a:pt x="151" y="26"/>
                    <a:pt x="151" y="26"/>
                  </a:cubicBezTo>
                  <a:cubicBezTo>
                    <a:pt x="151" y="28"/>
                    <a:pt x="151" y="29"/>
                    <a:pt x="151" y="30"/>
                  </a:cubicBezTo>
                  <a:cubicBezTo>
                    <a:pt x="151" y="31"/>
                    <a:pt x="151" y="31"/>
                    <a:pt x="151" y="31"/>
                  </a:cubicBezTo>
                  <a:cubicBezTo>
                    <a:pt x="151" y="31"/>
                    <a:pt x="151" y="32"/>
                    <a:pt x="151" y="33"/>
                  </a:cubicBezTo>
                  <a:cubicBezTo>
                    <a:pt x="151" y="34"/>
                    <a:pt x="151" y="36"/>
                    <a:pt x="151" y="38"/>
                  </a:cubicBezTo>
                  <a:cubicBezTo>
                    <a:pt x="151" y="39"/>
                    <a:pt x="151" y="40"/>
                    <a:pt x="151" y="41"/>
                  </a:cubicBezTo>
                  <a:cubicBezTo>
                    <a:pt x="151" y="44"/>
                    <a:pt x="151" y="44"/>
                    <a:pt x="151" y="44"/>
                  </a:cubicBezTo>
                  <a:cubicBezTo>
                    <a:pt x="151" y="44"/>
                    <a:pt x="152" y="45"/>
                    <a:pt x="151" y="46"/>
                  </a:cubicBezTo>
                  <a:cubicBezTo>
                    <a:pt x="152" y="49"/>
                    <a:pt x="152" y="49"/>
                    <a:pt x="152" y="49"/>
                  </a:cubicBezTo>
                  <a:cubicBezTo>
                    <a:pt x="151" y="48"/>
                    <a:pt x="151" y="48"/>
                    <a:pt x="151" y="48"/>
                  </a:cubicBezTo>
                  <a:cubicBezTo>
                    <a:pt x="151" y="49"/>
                    <a:pt x="151" y="50"/>
                    <a:pt x="151" y="50"/>
                  </a:cubicBezTo>
                  <a:cubicBezTo>
                    <a:pt x="151" y="50"/>
                    <a:pt x="150" y="51"/>
                    <a:pt x="150" y="51"/>
                  </a:cubicBezTo>
                  <a:cubicBezTo>
                    <a:pt x="150" y="52"/>
                    <a:pt x="150" y="53"/>
                    <a:pt x="149" y="54"/>
                  </a:cubicBezTo>
                  <a:cubicBezTo>
                    <a:pt x="149" y="54"/>
                    <a:pt x="149" y="55"/>
                    <a:pt x="149" y="55"/>
                  </a:cubicBezTo>
                  <a:cubicBezTo>
                    <a:pt x="148" y="56"/>
                    <a:pt x="148" y="57"/>
                    <a:pt x="147" y="57"/>
                  </a:cubicBezTo>
                  <a:cubicBezTo>
                    <a:pt x="147" y="58"/>
                    <a:pt x="147" y="58"/>
                    <a:pt x="147" y="58"/>
                  </a:cubicBezTo>
                  <a:cubicBezTo>
                    <a:pt x="147" y="58"/>
                    <a:pt x="147" y="58"/>
                    <a:pt x="147" y="58"/>
                  </a:cubicBezTo>
                  <a:cubicBezTo>
                    <a:pt x="146" y="59"/>
                    <a:pt x="146" y="60"/>
                    <a:pt x="145" y="61"/>
                  </a:cubicBezTo>
                  <a:cubicBezTo>
                    <a:pt x="144" y="63"/>
                    <a:pt x="144" y="63"/>
                    <a:pt x="144" y="63"/>
                  </a:cubicBezTo>
                  <a:cubicBezTo>
                    <a:pt x="144" y="63"/>
                    <a:pt x="143" y="64"/>
                    <a:pt x="143" y="65"/>
                  </a:cubicBezTo>
                  <a:cubicBezTo>
                    <a:pt x="147" y="67"/>
                    <a:pt x="147" y="67"/>
                    <a:pt x="147" y="67"/>
                  </a:cubicBezTo>
                  <a:cubicBezTo>
                    <a:pt x="142" y="66"/>
                    <a:pt x="142" y="66"/>
                    <a:pt x="142" y="66"/>
                  </a:cubicBezTo>
                  <a:cubicBezTo>
                    <a:pt x="141" y="67"/>
                    <a:pt x="141" y="67"/>
                    <a:pt x="141" y="67"/>
                  </a:cubicBezTo>
                  <a:cubicBezTo>
                    <a:pt x="140" y="70"/>
                    <a:pt x="139" y="72"/>
                    <a:pt x="139" y="75"/>
                  </a:cubicBezTo>
                  <a:cubicBezTo>
                    <a:pt x="139" y="75"/>
                    <a:pt x="139" y="75"/>
                    <a:pt x="139" y="76"/>
                  </a:cubicBezTo>
                  <a:cubicBezTo>
                    <a:pt x="138" y="76"/>
                    <a:pt x="138" y="76"/>
                    <a:pt x="138" y="76"/>
                  </a:cubicBezTo>
                  <a:cubicBezTo>
                    <a:pt x="138" y="77"/>
                    <a:pt x="138" y="78"/>
                    <a:pt x="138" y="80"/>
                  </a:cubicBezTo>
                  <a:cubicBezTo>
                    <a:pt x="138" y="82"/>
                    <a:pt x="137" y="84"/>
                    <a:pt x="137" y="86"/>
                  </a:cubicBezTo>
                  <a:cubicBezTo>
                    <a:pt x="136" y="89"/>
                    <a:pt x="136" y="89"/>
                    <a:pt x="136" y="89"/>
                  </a:cubicBezTo>
                  <a:cubicBezTo>
                    <a:pt x="135" y="92"/>
                    <a:pt x="135" y="94"/>
                    <a:pt x="134" y="97"/>
                  </a:cubicBezTo>
                  <a:cubicBezTo>
                    <a:pt x="134" y="99"/>
                    <a:pt x="134" y="100"/>
                    <a:pt x="134" y="101"/>
                  </a:cubicBezTo>
                  <a:cubicBezTo>
                    <a:pt x="134" y="102"/>
                    <a:pt x="134" y="103"/>
                    <a:pt x="134" y="105"/>
                  </a:cubicBezTo>
                  <a:cubicBezTo>
                    <a:pt x="134" y="105"/>
                    <a:pt x="134" y="105"/>
                    <a:pt x="134" y="105"/>
                  </a:cubicBezTo>
                  <a:cubicBezTo>
                    <a:pt x="134" y="106"/>
                    <a:pt x="134" y="108"/>
                    <a:pt x="134" y="109"/>
                  </a:cubicBezTo>
                  <a:cubicBezTo>
                    <a:pt x="134" y="110"/>
                    <a:pt x="134" y="111"/>
                    <a:pt x="135" y="111"/>
                  </a:cubicBezTo>
                  <a:cubicBezTo>
                    <a:pt x="135" y="113"/>
                    <a:pt x="135" y="115"/>
                    <a:pt x="134" y="118"/>
                  </a:cubicBezTo>
                  <a:cubicBezTo>
                    <a:pt x="126" y="141"/>
                    <a:pt x="126" y="141"/>
                    <a:pt x="126" y="141"/>
                  </a:cubicBezTo>
                  <a:cubicBezTo>
                    <a:pt x="126" y="144"/>
                    <a:pt x="123" y="145"/>
                    <a:pt x="122" y="146"/>
                  </a:cubicBezTo>
                  <a:cubicBezTo>
                    <a:pt x="121" y="147"/>
                    <a:pt x="121" y="147"/>
                    <a:pt x="120" y="147"/>
                  </a:cubicBezTo>
                  <a:cubicBezTo>
                    <a:pt x="119" y="148"/>
                    <a:pt x="119" y="148"/>
                    <a:pt x="119" y="148"/>
                  </a:cubicBezTo>
                  <a:cubicBezTo>
                    <a:pt x="118" y="148"/>
                    <a:pt x="117" y="149"/>
                    <a:pt x="116" y="150"/>
                  </a:cubicBezTo>
                  <a:cubicBezTo>
                    <a:pt x="115" y="151"/>
                    <a:pt x="113" y="152"/>
                    <a:pt x="111" y="154"/>
                  </a:cubicBezTo>
                  <a:cubicBezTo>
                    <a:pt x="110" y="154"/>
                    <a:pt x="109" y="155"/>
                    <a:pt x="109" y="155"/>
                  </a:cubicBezTo>
                  <a:cubicBezTo>
                    <a:pt x="109" y="156"/>
                    <a:pt x="109" y="156"/>
                    <a:pt x="109" y="156"/>
                  </a:cubicBezTo>
                  <a:cubicBezTo>
                    <a:pt x="108" y="156"/>
                    <a:pt x="108" y="157"/>
                    <a:pt x="107" y="157"/>
                  </a:cubicBezTo>
                  <a:cubicBezTo>
                    <a:pt x="107" y="159"/>
                    <a:pt x="106" y="160"/>
                    <a:pt x="105" y="162"/>
                  </a:cubicBezTo>
                  <a:cubicBezTo>
                    <a:pt x="102" y="167"/>
                    <a:pt x="99" y="171"/>
                    <a:pt x="95" y="176"/>
                  </a:cubicBezTo>
                  <a:cubicBezTo>
                    <a:pt x="95" y="176"/>
                    <a:pt x="95" y="176"/>
                    <a:pt x="95" y="176"/>
                  </a:cubicBezTo>
                  <a:cubicBezTo>
                    <a:pt x="94" y="176"/>
                    <a:pt x="94" y="176"/>
                    <a:pt x="94" y="177"/>
                  </a:cubicBezTo>
                  <a:cubicBezTo>
                    <a:pt x="94" y="178"/>
                    <a:pt x="94" y="178"/>
                    <a:pt x="94" y="178"/>
                  </a:cubicBezTo>
                  <a:cubicBezTo>
                    <a:pt x="94" y="182"/>
                    <a:pt x="94" y="182"/>
                    <a:pt x="94" y="182"/>
                  </a:cubicBezTo>
                  <a:cubicBezTo>
                    <a:pt x="94" y="185"/>
                    <a:pt x="94" y="188"/>
                    <a:pt x="94" y="190"/>
                  </a:cubicBezTo>
                  <a:cubicBezTo>
                    <a:pt x="94" y="191"/>
                    <a:pt x="94" y="192"/>
                    <a:pt x="94" y="193"/>
                  </a:cubicBezTo>
                  <a:cubicBezTo>
                    <a:pt x="94" y="194"/>
                    <a:pt x="94" y="194"/>
                    <a:pt x="94" y="194"/>
                  </a:cubicBezTo>
                  <a:cubicBezTo>
                    <a:pt x="94" y="194"/>
                    <a:pt x="94" y="194"/>
                    <a:pt x="94" y="194"/>
                  </a:cubicBezTo>
                  <a:cubicBezTo>
                    <a:pt x="94" y="196"/>
                    <a:pt x="94" y="196"/>
                    <a:pt x="94" y="196"/>
                  </a:cubicBezTo>
                  <a:cubicBezTo>
                    <a:pt x="98" y="196"/>
                    <a:pt x="98" y="196"/>
                    <a:pt x="98" y="196"/>
                  </a:cubicBezTo>
                  <a:cubicBezTo>
                    <a:pt x="94" y="197"/>
                    <a:pt x="94" y="197"/>
                    <a:pt x="94" y="197"/>
                  </a:cubicBezTo>
                  <a:cubicBezTo>
                    <a:pt x="94" y="198"/>
                    <a:pt x="94" y="198"/>
                    <a:pt x="94" y="198"/>
                  </a:cubicBezTo>
                  <a:cubicBezTo>
                    <a:pt x="95" y="199"/>
                    <a:pt x="95" y="200"/>
                    <a:pt x="95" y="200"/>
                  </a:cubicBezTo>
                  <a:cubicBezTo>
                    <a:pt x="94" y="201"/>
                    <a:pt x="94" y="202"/>
                    <a:pt x="94" y="203"/>
                  </a:cubicBezTo>
                  <a:cubicBezTo>
                    <a:pt x="94" y="203"/>
                    <a:pt x="94" y="203"/>
                    <a:pt x="94" y="204"/>
                  </a:cubicBezTo>
                  <a:cubicBezTo>
                    <a:pt x="94" y="205"/>
                    <a:pt x="93" y="206"/>
                    <a:pt x="93" y="207"/>
                  </a:cubicBezTo>
                  <a:cubicBezTo>
                    <a:pt x="91" y="209"/>
                    <a:pt x="91" y="209"/>
                    <a:pt x="91" y="209"/>
                  </a:cubicBezTo>
                  <a:cubicBezTo>
                    <a:pt x="90" y="211"/>
                    <a:pt x="89" y="214"/>
                    <a:pt x="87" y="216"/>
                  </a:cubicBezTo>
                  <a:cubicBezTo>
                    <a:pt x="85" y="220"/>
                    <a:pt x="80" y="223"/>
                    <a:pt x="76" y="225"/>
                  </a:cubicBezTo>
                  <a:cubicBezTo>
                    <a:pt x="75" y="226"/>
                    <a:pt x="74" y="227"/>
                    <a:pt x="72" y="227"/>
                  </a:cubicBezTo>
                  <a:cubicBezTo>
                    <a:pt x="69" y="230"/>
                    <a:pt x="66" y="233"/>
                    <a:pt x="63" y="236"/>
                  </a:cubicBezTo>
                  <a:cubicBezTo>
                    <a:pt x="63" y="237"/>
                    <a:pt x="63" y="237"/>
                    <a:pt x="63" y="237"/>
                  </a:cubicBezTo>
                  <a:cubicBezTo>
                    <a:pt x="61" y="239"/>
                    <a:pt x="59" y="241"/>
                    <a:pt x="56" y="242"/>
                  </a:cubicBezTo>
                  <a:cubicBezTo>
                    <a:pt x="56" y="242"/>
                    <a:pt x="55" y="242"/>
                    <a:pt x="55" y="242"/>
                  </a:cubicBezTo>
                  <a:cubicBezTo>
                    <a:pt x="54" y="242"/>
                    <a:pt x="54" y="242"/>
                    <a:pt x="54" y="242"/>
                  </a:cubicBezTo>
                  <a:cubicBezTo>
                    <a:pt x="53" y="242"/>
                    <a:pt x="53" y="242"/>
                    <a:pt x="52" y="242"/>
                  </a:cubicBezTo>
                  <a:cubicBezTo>
                    <a:pt x="52" y="242"/>
                    <a:pt x="52" y="242"/>
                    <a:pt x="52" y="242"/>
                  </a:cubicBezTo>
                  <a:cubicBezTo>
                    <a:pt x="51" y="242"/>
                    <a:pt x="50" y="241"/>
                    <a:pt x="50" y="241"/>
                  </a:cubicBezTo>
                  <a:cubicBezTo>
                    <a:pt x="46" y="241"/>
                    <a:pt x="46" y="239"/>
                    <a:pt x="46" y="229"/>
                  </a:cubicBezTo>
                  <a:cubicBezTo>
                    <a:pt x="46" y="229"/>
                    <a:pt x="46" y="229"/>
                    <a:pt x="46" y="229"/>
                  </a:cubicBezTo>
                  <a:cubicBezTo>
                    <a:pt x="46" y="229"/>
                    <a:pt x="46" y="229"/>
                    <a:pt x="45" y="229"/>
                  </a:cubicBezTo>
                  <a:cubicBezTo>
                    <a:pt x="44" y="230"/>
                    <a:pt x="43" y="230"/>
                    <a:pt x="43" y="230"/>
                  </a:cubicBezTo>
                  <a:cubicBezTo>
                    <a:pt x="43" y="230"/>
                    <a:pt x="42" y="230"/>
                    <a:pt x="42" y="230"/>
                  </a:cubicBezTo>
                  <a:cubicBezTo>
                    <a:pt x="42" y="230"/>
                    <a:pt x="42" y="230"/>
                    <a:pt x="41" y="231"/>
                  </a:cubicBezTo>
                  <a:cubicBezTo>
                    <a:pt x="39" y="231"/>
                    <a:pt x="38" y="231"/>
                    <a:pt x="37" y="231"/>
                  </a:cubicBezTo>
                  <a:cubicBezTo>
                    <a:pt x="36" y="231"/>
                    <a:pt x="36" y="231"/>
                    <a:pt x="36" y="231"/>
                  </a:cubicBezTo>
                  <a:cubicBezTo>
                    <a:pt x="36" y="232"/>
                    <a:pt x="36" y="232"/>
                    <a:pt x="36" y="232"/>
                  </a:cubicBezTo>
                  <a:cubicBezTo>
                    <a:pt x="35" y="235"/>
                    <a:pt x="32" y="238"/>
                    <a:pt x="30" y="239"/>
                  </a:cubicBezTo>
                  <a:cubicBezTo>
                    <a:pt x="28" y="240"/>
                    <a:pt x="27" y="241"/>
                    <a:pt x="26" y="241"/>
                  </a:cubicBezTo>
                  <a:cubicBezTo>
                    <a:pt x="24" y="241"/>
                    <a:pt x="22" y="239"/>
                    <a:pt x="21" y="238"/>
                  </a:cubicBezTo>
                  <a:cubicBezTo>
                    <a:pt x="20" y="238"/>
                    <a:pt x="20" y="237"/>
                    <a:pt x="19" y="237"/>
                  </a:cubicBezTo>
                  <a:cubicBezTo>
                    <a:pt x="18" y="236"/>
                    <a:pt x="18" y="236"/>
                    <a:pt x="18" y="236"/>
                  </a:cubicBezTo>
                  <a:cubicBezTo>
                    <a:pt x="18" y="236"/>
                    <a:pt x="18" y="236"/>
                    <a:pt x="18" y="236"/>
                  </a:cubicBezTo>
                  <a:cubicBezTo>
                    <a:pt x="14" y="238"/>
                    <a:pt x="11" y="240"/>
                    <a:pt x="7" y="243"/>
                  </a:cubicBezTo>
                  <a:cubicBezTo>
                    <a:pt x="7" y="243"/>
                    <a:pt x="7" y="243"/>
                    <a:pt x="7" y="243"/>
                  </a:cubicBezTo>
                  <a:cubicBezTo>
                    <a:pt x="9" y="244"/>
                    <a:pt x="9" y="244"/>
                    <a:pt x="9" y="244"/>
                  </a:cubicBezTo>
                  <a:cubicBezTo>
                    <a:pt x="6" y="244"/>
                    <a:pt x="6" y="244"/>
                    <a:pt x="6" y="244"/>
                  </a:cubicBezTo>
                  <a:cubicBezTo>
                    <a:pt x="7" y="245"/>
                    <a:pt x="7" y="246"/>
                    <a:pt x="7" y="247"/>
                  </a:cubicBezTo>
                  <a:cubicBezTo>
                    <a:pt x="8" y="254"/>
                    <a:pt x="9" y="258"/>
                    <a:pt x="7" y="260"/>
                  </a:cubicBezTo>
                  <a:cubicBezTo>
                    <a:pt x="6" y="261"/>
                    <a:pt x="5" y="261"/>
                    <a:pt x="0" y="262"/>
                  </a:cubicBezTo>
                  <a:cubicBezTo>
                    <a:pt x="2" y="262"/>
                    <a:pt x="2" y="262"/>
                    <a:pt x="2" y="262"/>
                  </a:cubicBezTo>
                  <a:cubicBezTo>
                    <a:pt x="4" y="262"/>
                    <a:pt x="5" y="261"/>
                    <a:pt x="7" y="261"/>
                  </a:cubicBezTo>
                  <a:cubicBezTo>
                    <a:pt x="9" y="259"/>
                    <a:pt x="11" y="258"/>
                    <a:pt x="15" y="258"/>
                  </a:cubicBezTo>
                  <a:cubicBezTo>
                    <a:pt x="15" y="258"/>
                    <a:pt x="16" y="258"/>
                    <a:pt x="16" y="258"/>
                  </a:cubicBezTo>
                  <a:cubicBezTo>
                    <a:pt x="19" y="258"/>
                    <a:pt x="23" y="258"/>
                    <a:pt x="26" y="258"/>
                  </a:cubicBezTo>
                  <a:cubicBezTo>
                    <a:pt x="27" y="258"/>
                    <a:pt x="27" y="258"/>
                    <a:pt x="27" y="258"/>
                  </a:cubicBezTo>
                  <a:cubicBezTo>
                    <a:pt x="28" y="258"/>
                    <a:pt x="28" y="258"/>
                    <a:pt x="28" y="258"/>
                  </a:cubicBezTo>
                  <a:cubicBezTo>
                    <a:pt x="28" y="258"/>
                    <a:pt x="29" y="258"/>
                    <a:pt x="30" y="258"/>
                  </a:cubicBezTo>
                  <a:cubicBezTo>
                    <a:pt x="32" y="258"/>
                    <a:pt x="34" y="258"/>
                    <a:pt x="36" y="259"/>
                  </a:cubicBezTo>
                  <a:cubicBezTo>
                    <a:pt x="38" y="259"/>
                    <a:pt x="40" y="259"/>
                    <a:pt x="42" y="259"/>
                  </a:cubicBezTo>
                  <a:cubicBezTo>
                    <a:pt x="46" y="259"/>
                    <a:pt x="46" y="259"/>
                    <a:pt x="46" y="259"/>
                  </a:cubicBezTo>
                  <a:cubicBezTo>
                    <a:pt x="49" y="259"/>
                    <a:pt x="52" y="259"/>
                    <a:pt x="55" y="259"/>
                  </a:cubicBezTo>
                  <a:cubicBezTo>
                    <a:pt x="56" y="259"/>
                    <a:pt x="57" y="259"/>
                    <a:pt x="58" y="259"/>
                  </a:cubicBezTo>
                  <a:cubicBezTo>
                    <a:pt x="85" y="259"/>
                    <a:pt x="85" y="259"/>
                    <a:pt x="85" y="259"/>
                  </a:cubicBezTo>
                  <a:cubicBezTo>
                    <a:pt x="86" y="259"/>
                    <a:pt x="87" y="259"/>
                    <a:pt x="87" y="259"/>
                  </a:cubicBezTo>
                  <a:cubicBezTo>
                    <a:pt x="89" y="259"/>
                    <a:pt x="90" y="259"/>
                    <a:pt x="91" y="259"/>
                  </a:cubicBezTo>
                  <a:cubicBezTo>
                    <a:pt x="92" y="259"/>
                    <a:pt x="92" y="259"/>
                    <a:pt x="93" y="259"/>
                  </a:cubicBezTo>
                  <a:cubicBezTo>
                    <a:pt x="94" y="259"/>
                    <a:pt x="94" y="259"/>
                    <a:pt x="94" y="259"/>
                  </a:cubicBezTo>
                  <a:cubicBezTo>
                    <a:pt x="94" y="259"/>
                    <a:pt x="95" y="259"/>
                    <a:pt x="95" y="259"/>
                  </a:cubicBezTo>
                  <a:cubicBezTo>
                    <a:pt x="98" y="259"/>
                    <a:pt x="100" y="259"/>
                    <a:pt x="101" y="260"/>
                  </a:cubicBezTo>
                  <a:cubicBezTo>
                    <a:pt x="105" y="261"/>
                    <a:pt x="106" y="266"/>
                    <a:pt x="106" y="269"/>
                  </a:cubicBezTo>
                  <a:cubicBezTo>
                    <a:pt x="107" y="270"/>
                    <a:pt x="107" y="272"/>
                    <a:pt x="107" y="273"/>
                  </a:cubicBezTo>
                  <a:cubicBezTo>
                    <a:pt x="108" y="280"/>
                    <a:pt x="110" y="286"/>
                    <a:pt x="113" y="292"/>
                  </a:cubicBezTo>
                  <a:cubicBezTo>
                    <a:pt x="114" y="294"/>
                    <a:pt x="116" y="297"/>
                    <a:pt x="117" y="299"/>
                  </a:cubicBezTo>
                  <a:cubicBezTo>
                    <a:pt x="118" y="299"/>
                    <a:pt x="118" y="300"/>
                    <a:pt x="119" y="302"/>
                  </a:cubicBezTo>
                  <a:cubicBezTo>
                    <a:pt x="123" y="309"/>
                    <a:pt x="123" y="309"/>
                    <a:pt x="123" y="309"/>
                  </a:cubicBezTo>
                  <a:cubicBezTo>
                    <a:pt x="125" y="311"/>
                    <a:pt x="125" y="311"/>
                    <a:pt x="128" y="311"/>
                  </a:cubicBezTo>
                  <a:cubicBezTo>
                    <a:pt x="135" y="312"/>
                    <a:pt x="135" y="312"/>
                    <a:pt x="135" y="312"/>
                  </a:cubicBezTo>
                  <a:cubicBezTo>
                    <a:pt x="135" y="311"/>
                    <a:pt x="136" y="310"/>
                    <a:pt x="137" y="310"/>
                  </a:cubicBezTo>
                  <a:cubicBezTo>
                    <a:pt x="137" y="310"/>
                    <a:pt x="137" y="310"/>
                    <a:pt x="137" y="310"/>
                  </a:cubicBezTo>
                  <a:cubicBezTo>
                    <a:pt x="138" y="309"/>
                    <a:pt x="138" y="309"/>
                    <a:pt x="138" y="309"/>
                  </a:cubicBezTo>
                  <a:cubicBezTo>
                    <a:pt x="139" y="309"/>
                    <a:pt x="139" y="309"/>
                    <a:pt x="139" y="309"/>
                  </a:cubicBezTo>
                  <a:cubicBezTo>
                    <a:pt x="141" y="308"/>
                    <a:pt x="144" y="308"/>
                    <a:pt x="147" y="308"/>
                  </a:cubicBezTo>
                  <a:cubicBezTo>
                    <a:pt x="148" y="308"/>
                    <a:pt x="149" y="308"/>
                    <a:pt x="149" y="308"/>
                  </a:cubicBezTo>
                  <a:cubicBezTo>
                    <a:pt x="164" y="309"/>
                    <a:pt x="164" y="309"/>
                    <a:pt x="164" y="309"/>
                  </a:cubicBezTo>
                  <a:cubicBezTo>
                    <a:pt x="164" y="309"/>
                    <a:pt x="164" y="309"/>
                    <a:pt x="164" y="308"/>
                  </a:cubicBezTo>
                  <a:cubicBezTo>
                    <a:pt x="164" y="307"/>
                    <a:pt x="164" y="307"/>
                    <a:pt x="164" y="307"/>
                  </a:cubicBezTo>
                  <a:cubicBezTo>
                    <a:pt x="164" y="307"/>
                    <a:pt x="164" y="306"/>
                    <a:pt x="164" y="306"/>
                  </a:cubicBezTo>
                  <a:cubicBezTo>
                    <a:pt x="166" y="298"/>
                    <a:pt x="166" y="298"/>
                    <a:pt x="166" y="298"/>
                  </a:cubicBezTo>
                  <a:cubicBezTo>
                    <a:pt x="167" y="290"/>
                    <a:pt x="168" y="287"/>
                    <a:pt x="170" y="287"/>
                  </a:cubicBezTo>
                  <a:cubicBezTo>
                    <a:pt x="171" y="287"/>
                    <a:pt x="171" y="287"/>
                    <a:pt x="171" y="287"/>
                  </a:cubicBezTo>
                  <a:cubicBezTo>
                    <a:pt x="172" y="286"/>
                    <a:pt x="173" y="286"/>
                    <a:pt x="174" y="286"/>
                  </a:cubicBezTo>
                  <a:cubicBezTo>
                    <a:pt x="174" y="286"/>
                    <a:pt x="174" y="286"/>
                    <a:pt x="174" y="286"/>
                  </a:cubicBezTo>
                  <a:cubicBezTo>
                    <a:pt x="175" y="286"/>
                    <a:pt x="175" y="286"/>
                    <a:pt x="176" y="286"/>
                  </a:cubicBezTo>
                  <a:cubicBezTo>
                    <a:pt x="177" y="286"/>
                    <a:pt x="177" y="286"/>
                    <a:pt x="177" y="286"/>
                  </a:cubicBezTo>
                  <a:cubicBezTo>
                    <a:pt x="174" y="270"/>
                    <a:pt x="174" y="270"/>
                    <a:pt x="174" y="270"/>
                  </a:cubicBezTo>
                  <a:cubicBezTo>
                    <a:pt x="182" y="285"/>
                    <a:pt x="182" y="285"/>
                    <a:pt x="182" y="285"/>
                  </a:cubicBezTo>
                  <a:cubicBezTo>
                    <a:pt x="183" y="285"/>
                    <a:pt x="183" y="285"/>
                    <a:pt x="183" y="285"/>
                  </a:cubicBezTo>
                  <a:cubicBezTo>
                    <a:pt x="184" y="285"/>
                    <a:pt x="185" y="285"/>
                    <a:pt x="186" y="285"/>
                  </a:cubicBezTo>
                  <a:cubicBezTo>
                    <a:pt x="186" y="285"/>
                    <a:pt x="186" y="285"/>
                    <a:pt x="186" y="285"/>
                  </a:cubicBezTo>
                  <a:cubicBezTo>
                    <a:pt x="186" y="285"/>
                    <a:pt x="187" y="284"/>
                    <a:pt x="187" y="284"/>
                  </a:cubicBezTo>
                  <a:cubicBezTo>
                    <a:pt x="188" y="284"/>
                    <a:pt x="188" y="284"/>
                    <a:pt x="188" y="284"/>
                  </a:cubicBezTo>
                  <a:cubicBezTo>
                    <a:pt x="189" y="283"/>
                    <a:pt x="189" y="283"/>
                    <a:pt x="190" y="283"/>
                  </a:cubicBezTo>
                  <a:cubicBezTo>
                    <a:pt x="190" y="283"/>
                    <a:pt x="190" y="283"/>
                    <a:pt x="190" y="283"/>
                  </a:cubicBezTo>
                  <a:cubicBezTo>
                    <a:pt x="191" y="284"/>
                    <a:pt x="191" y="284"/>
                    <a:pt x="191" y="284"/>
                  </a:cubicBezTo>
                  <a:cubicBezTo>
                    <a:pt x="192" y="283"/>
                    <a:pt x="193" y="283"/>
                    <a:pt x="194" y="283"/>
                  </a:cubicBezTo>
                  <a:cubicBezTo>
                    <a:pt x="196" y="283"/>
                    <a:pt x="196" y="284"/>
                    <a:pt x="197" y="284"/>
                  </a:cubicBezTo>
                  <a:cubicBezTo>
                    <a:pt x="199" y="287"/>
                    <a:pt x="198" y="290"/>
                    <a:pt x="197" y="291"/>
                  </a:cubicBezTo>
                  <a:cubicBezTo>
                    <a:pt x="197" y="292"/>
                    <a:pt x="197" y="292"/>
                    <a:pt x="197" y="292"/>
                  </a:cubicBezTo>
                  <a:cubicBezTo>
                    <a:pt x="196" y="292"/>
                    <a:pt x="196" y="292"/>
                    <a:pt x="196" y="292"/>
                  </a:cubicBezTo>
                  <a:cubicBezTo>
                    <a:pt x="197" y="293"/>
                    <a:pt x="198" y="293"/>
                    <a:pt x="198" y="293"/>
                  </a:cubicBezTo>
                  <a:cubicBezTo>
                    <a:pt x="199" y="293"/>
                    <a:pt x="201" y="293"/>
                    <a:pt x="201" y="292"/>
                  </a:cubicBezTo>
                  <a:cubicBezTo>
                    <a:pt x="202" y="292"/>
                    <a:pt x="202" y="292"/>
                    <a:pt x="202" y="292"/>
                  </a:cubicBezTo>
                  <a:cubicBezTo>
                    <a:pt x="203" y="292"/>
                    <a:pt x="204" y="292"/>
                    <a:pt x="205" y="292"/>
                  </a:cubicBezTo>
                  <a:cubicBezTo>
                    <a:pt x="217" y="292"/>
                    <a:pt x="217" y="292"/>
                    <a:pt x="217" y="292"/>
                  </a:cubicBezTo>
                  <a:cubicBezTo>
                    <a:pt x="217" y="292"/>
                    <a:pt x="217" y="292"/>
                    <a:pt x="218" y="292"/>
                  </a:cubicBezTo>
                  <a:cubicBezTo>
                    <a:pt x="219" y="292"/>
                    <a:pt x="219" y="292"/>
                    <a:pt x="219" y="292"/>
                  </a:cubicBezTo>
                  <a:cubicBezTo>
                    <a:pt x="220" y="292"/>
                    <a:pt x="220" y="292"/>
                    <a:pt x="221" y="292"/>
                  </a:cubicBezTo>
                  <a:cubicBezTo>
                    <a:pt x="222" y="292"/>
                    <a:pt x="223" y="292"/>
                    <a:pt x="223" y="293"/>
                  </a:cubicBezTo>
                  <a:cubicBezTo>
                    <a:pt x="227" y="295"/>
                    <a:pt x="227" y="299"/>
                    <a:pt x="227" y="301"/>
                  </a:cubicBezTo>
                  <a:cubicBezTo>
                    <a:pt x="227" y="303"/>
                    <a:pt x="227" y="304"/>
                    <a:pt x="226" y="306"/>
                  </a:cubicBezTo>
                  <a:cubicBezTo>
                    <a:pt x="225" y="311"/>
                    <a:pt x="225" y="312"/>
                    <a:pt x="228" y="318"/>
                  </a:cubicBezTo>
                  <a:cubicBezTo>
                    <a:pt x="229" y="321"/>
                    <a:pt x="229" y="324"/>
                    <a:pt x="228" y="327"/>
                  </a:cubicBezTo>
                  <a:cubicBezTo>
                    <a:pt x="228" y="328"/>
                    <a:pt x="228" y="328"/>
                    <a:pt x="228" y="329"/>
                  </a:cubicBezTo>
                  <a:cubicBezTo>
                    <a:pt x="228" y="330"/>
                    <a:pt x="228" y="331"/>
                    <a:pt x="228" y="331"/>
                  </a:cubicBezTo>
                  <a:cubicBezTo>
                    <a:pt x="228" y="332"/>
                    <a:pt x="228" y="332"/>
                    <a:pt x="228" y="332"/>
                  </a:cubicBezTo>
                  <a:cubicBezTo>
                    <a:pt x="227" y="335"/>
                    <a:pt x="227" y="337"/>
                    <a:pt x="227" y="339"/>
                  </a:cubicBezTo>
                  <a:cubicBezTo>
                    <a:pt x="226" y="344"/>
                    <a:pt x="226" y="344"/>
                    <a:pt x="226" y="344"/>
                  </a:cubicBezTo>
                  <a:cubicBezTo>
                    <a:pt x="226" y="345"/>
                    <a:pt x="226" y="346"/>
                    <a:pt x="226" y="347"/>
                  </a:cubicBezTo>
                  <a:cubicBezTo>
                    <a:pt x="227" y="347"/>
                    <a:pt x="227" y="348"/>
                    <a:pt x="227" y="348"/>
                  </a:cubicBezTo>
                  <a:cubicBezTo>
                    <a:pt x="227" y="350"/>
                    <a:pt x="229" y="351"/>
                    <a:pt x="230" y="352"/>
                  </a:cubicBezTo>
                  <a:cubicBezTo>
                    <a:pt x="232" y="353"/>
                    <a:pt x="233" y="355"/>
                    <a:pt x="234" y="356"/>
                  </a:cubicBezTo>
                  <a:cubicBezTo>
                    <a:pt x="234" y="357"/>
                    <a:pt x="235" y="358"/>
                    <a:pt x="235" y="359"/>
                  </a:cubicBezTo>
                  <a:cubicBezTo>
                    <a:pt x="236" y="361"/>
                    <a:pt x="237" y="364"/>
                    <a:pt x="237" y="368"/>
                  </a:cubicBezTo>
                  <a:cubicBezTo>
                    <a:pt x="238" y="371"/>
                    <a:pt x="238" y="373"/>
                    <a:pt x="238" y="374"/>
                  </a:cubicBezTo>
                  <a:cubicBezTo>
                    <a:pt x="238" y="376"/>
                    <a:pt x="237" y="378"/>
                    <a:pt x="236" y="379"/>
                  </a:cubicBezTo>
                  <a:cubicBezTo>
                    <a:pt x="235" y="380"/>
                    <a:pt x="235" y="380"/>
                    <a:pt x="235" y="380"/>
                  </a:cubicBezTo>
                  <a:cubicBezTo>
                    <a:pt x="235" y="381"/>
                    <a:pt x="235" y="383"/>
                    <a:pt x="236" y="385"/>
                  </a:cubicBezTo>
                  <a:cubicBezTo>
                    <a:pt x="242" y="383"/>
                    <a:pt x="249" y="382"/>
                    <a:pt x="255" y="382"/>
                  </a:cubicBezTo>
                  <a:cubicBezTo>
                    <a:pt x="257" y="382"/>
                    <a:pt x="259" y="382"/>
                    <a:pt x="261" y="381"/>
                  </a:cubicBezTo>
                  <a:cubicBezTo>
                    <a:pt x="262" y="381"/>
                    <a:pt x="263" y="381"/>
                    <a:pt x="265" y="381"/>
                  </a:cubicBezTo>
                  <a:cubicBezTo>
                    <a:pt x="266" y="381"/>
                    <a:pt x="268" y="381"/>
                    <a:pt x="270" y="381"/>
                  </a:cubicBezTo>
                  <a:cubicBezTo>
                    <a:pt x="271" y="381"/>
                    <a:pt x="271" y="381"/>
                    <a:pt x="272" y="379"/>
                  </a:cubicBezTo>
                  <a:cubicBezTo>
                    <a:pt x="271" y="374"/>
                    <a:pt x="271" y="374"/>
                    <a:pt x="271" y="374"/>
                  </a:cubicBezTo>
                  <a:cubicBezTo>
                    <a:pt x="274" y="376"/>
                    <a:pt x="274" y="376"/>
                    <a:pt x="274" y="376"/>
                  </a:cubicBezTo>
                  <a:cubicBezTo>
                    <a:pt x="277" y="372"/>
                    <a:pt x="277" y="372"/>
                    <a:pt x="277" y="372"/>
                  </a:cubicBezTo>
                  <a:cubicBezTo>
                    <a:pt x="277" y="379"/>
                    <a:pt x="277" y="379"/>
                    <a:pt x="277" y="379"/>
                  </a:cubicBezTo>
                  <a:cubicBezTo>
                    <a:pt x="278" y="379"/>
                    <a:pt x="279" y="380"/>
                    <a:pt x="280" y="380"/>
                  </a:cubicBezTo>
                  <a:cubicBezTo>
                    <a:pt x="283" y="382"/>
                    <a:pt x="286" y="384"/>
                    <a:pt x="287" y="387"/>
                  </a:cubicBezTo>
                  <a:cubicBezTo>
                    <a:pt x="287" y="388"/>
                    <a:pt x="288" y="389"/>
                    <a:pt x="287" y="391"/>
                  </a:cubicBezTo>
                  <a:cubicBezTo>
                    <a:pt x="288" y="390"/>
                    <a:pt x="288" y="390"/>
                    <a:pt x="289" y="390"/>
                  </a:cubicBezTo>
                  <a:cubicBezTo>
                    <a:pt x="290" y="390"/>
                    <a:pt x="290" y="390"/>
                    <a:pt x="290" y="390"/>
                  </a:cubicBezTo>
                  <a:cubicBezTo>
                    <a:pt x="291" y="389"/>
                    <a:pt x="292" y="388"/>
                    <a:pt x="293" y="388"/>
                  </a:cubicBezTo>
                  <a:cubicBezTo>
                    <a:pt x="294" y="388"/>
                    <a:pt x="295" y="387"/>
                    <a:pt x="295" y="387"/>
                  </a:cubicBezTo>
                  <a:cubicBezTo>
                    <a:pt x="297" y="387"/>
                    <a:pt x="298" y="387"/>
                    <a:pt x="299" y="387"/>
                  </a:cubicBezTo>
                  <a:cubicBezTo>
                    <a:pt x="299" y="387"/>
                    <a:pt x="299" y="387"/>
                    <a:pt x="299" y="387"/>
                  </a:cubicBezTo>
                  <a:cubicBezTo>
                    <a:pt x="301" y="387"/>
                    <a:pt x="302" y="387"/>
                    <a:pt x="303" y="386"/>
                  </a:cubicBezTo>
                  <a:cubicBezTo>
                    <a:pt x="303" y="386"/>
                    <a:pt x="304" y="386"/>
                    <a:pt x="304" y="386"/>
                  </a:cubicBezTo>
                  <a:cubicBezTo>
                    <a:pt x="309" y="383"/>
                    <a:pt x="309" y="383"/>
                    <a:pt x="309" y="383"/>
                  </a:cubicBezTo>
                  <a:cubicBezTo>
                    <a:pt x="309" y="392"/>
                    <a:pt x="309" y="392"/>
                    <a:pt x="309" y="392"/>
                  </a:cubicBezTo>
                  <a:cubicBezTo>
                    <a:pt x="309" y="394"/>
                    <a:pt x="309" y="395"/>
                    <a:pt x="310" y="396"/>
                  </a:cubicBezTo>
                  <a:cubicBezTo>
                    <a:pt x="310" y="397"/>
                    <a:pt x="311" y="398"/>
                    <a:pt x="312" y="398"/>
                  </a:cubicBezTo>
                  <a:cubicBezTo>
                    <a:pt x="314" y="400"/>
                    <a:pt x="314" y="400"/>
                    <a:pt x="314" y="400"/>
                  </a:cubicBezTo>
                  <a:cubicBezTo>
                    <a:pt x="314" y="400"/>
                    <a:pt x="314" y="400"/>
                    <a:pt x="314" y="400"/>
                  </a:cubicBezTo>
                  <a:cubicBezTo>
                    <a:pt x="314" y="400"/>
                    <a:pt x="315" y="400"/>
                    <a:pt x="316" y="400"/>
                  </a:cubicBezTo>
                  <a:cubicBezTo>
                    <a:pt x="316" y="400"/>
                    <a:pt x="316" y="400"/>
                    <a:pt x="316" y="400"/>
                  </a:cubicBezTo>
                  <a:cubicBezTo>
                    <a:pt x="317" y="400"/>
                    <a:pt x="318" y="400"/>
                    <a:pt x="319" y="400"/>
                  </a:cubicBezTo>
                  <a:cubicBezTo>
                    <a:pt x="342" y="403"/>
                    <a:pt x="342" y="403"/>
                    <a:pt x="342" y="403"/>
                  </a:cubicBezTo>
                  <a:cubicBezTo>
                    <a:pt x="342" y="403"/>
                    <a:pt x="342" y="403"/>
                    <a:pt x="342" y="402"/>
                  </a:cubicBezTo>
                  <a:cubicBezTo>
                    <a:pt x="343" y="401"/>
                    <a:pt x="343" y="401"/>
                    <a:pt x="343" y="401"/>
                  </a:cubicBezTo>
                  <a:cubicBezTo>
                    <a:pt x="343" y="400"/>
                    <a:pt x="343" y="400"/>
                    <a:pt x="343" y="400"/>
                  </a:cubicBezTo>
                  <a:cubicBezTo>
                    <a:pt x="342" y="400"/>
                    <a:pt x="342" y="400"/>
                    <a:pt x="342" y="400"/>
                  </a:cubicBezTo>
                  <a:cubicBezTo>
                    <a:pt x="344" y="397"/>
                    <a:pt x="344" y="397"/>
                    <a:pt x="344" y="397"/>
                  </a:cubicBezTo>
                  <a:cubicBezTo>
                    <a:pt x="345" y="395"/>
                    <a:pt x="347" y="394"/>
                    <a:pt x="348" y="394"/>
                  </a:cubicBezTo>
                  <a:cubicBezTo>
                    <a:pt x="349" y="394"/>
                    <a:pt x="349" y="394"/>
                    <a:pt x="349" y="394"/>
                  </a:cubicBezTo>
                  <a:cubicBezTo>
                    <a:pt x="353" y="394"/>
                    <a:pt x="355" y="399"/>
                    <a:pt x="357" y="402"/>
                  </a:cubicBezTo>
                  <a:cubicBezTo>
                    <a:pt x="357" y="403"/>
                    <a:pt x="358" y="404"/>
                    <a:pt x="358" y="404"/>
                  </a:cubicBezTo>
                  <a:cubicBezTo>
                    <a:pt x="358" y="405"/>
                    <a:pt x="359" y="405"/>
                    <a:pt x="359" y="406"/>
                  </a:cubicBezTo>
                  <a:cubicBezTo>
                    <a:pt x="360" y="409"/>
                    <a:pt x="361" y="410"/>
                    <a:pt x="361" y="410"/>
                  </a:cubicBezTo>
                  <a:cubicBezTo>
                    <a:pt x="362" y="410"/>
                    <a:pt x="363" y="410"/>
                    <a:pt x="363" y="410"/>
                  </a:cubicBezTo>
                  <a:cubicBezTo>
                    <a:pt x="364" y="410"/>
                    <a:pt x="365" y="410"/>
                    <a:pt x="366" y="410"/>
                  </a:cubicBezTo>
                  <a:cubicBezTo>
                    <a:pt x="368" y="411"/>
                    <a:pt x="370" y="412"/>
                    <a:pt x="371" y="412"/>
                  </a:cubicBezTo>
                  <a:cubicBezTo>
                    <a:pt x="373" y="413"/>
                    <a:pt x="374" y="414"/>
                    <a:pt x="375" y="414"/>
                  </a:cubicBezTo>
                  <a:cubicBezTo>
                    <a:pt x="375" y="414"/>
                    <a:pt x="375" y="414"/>
                    <a:pt x="375" y="414"/>
                  </a:cubicBezTo>
                  <a:cubicBezTo>
                    <a:pt x="377" y="415"/>
                    <a:pt x="379" y="415"/>
                    <a:pt x="380" y="417"/>
                  </a:cubicBezTo>
                  <a:cubicBezTo>
                    <a:pt x="395" y="437"/>
                    <a:pt x="395" y="437"/>
                    <a:pt x="395" y="437"/>
                  </a:cubicBezTo>
                  <a:cubicBezTo>
                    <a:pt x="396" y="438"/>
                    <a:pt x="396" y="438"/>
                    <a:pt x="397" y="438"/>
                  </a:cubicBezTo>
                  <a:cubicBezTo>
                    <a:pt x="397" y="438"/>
                    <a:pt x="397" y="438"/>
                    <a:pt x="399" y="437"/>
                  </a:cubicBezTo>
                  <a:cubicBezTo>
                    <a:pt x="399" y="437"/>
                    <a:pt x="399" y="437"/>
                    <a:pt x="399" y="437"/>
                  </a:cubicBezTo>
                  <a:cubicBezTo>
                    <a:pt x="400" y="437"/>
                    <a:pt x="400" y="437"/>
                    <a:pt x="400" y="437"/>
                  </a:cubicBezTo>
                  <a:cubicBezTo>
                    <a:pt x="400" y="437"/>
                    <a:pt x="401" y="436"/>
                    <a:pt x="401" y="436"/>
                  </a:cubicBezTo>
                  <a:cubicBezTo>
                    <a:pt x="403" y="434"/>
                    <a:pt x="404" y="434"/>
                    <a:pt x="406" y="434"/>
                  </a:cubicBezTo>
                  <a:cubicBezTo>
                    <a:pt x="406" y="434"/>
                    <a:pt x="406" y="434"/>
                    <a:pt x="406" y="434"/>
                  </a:cubicBezTo>
                  <a:cubicBezTo>
                    <a:pt x="406" y="434"/>
                    <a:pt x="408" y="434"/>
                    <a:pt x="409" y="434"/>
                  </a:cubicBezTo>
                  <a:cubicBezTo>
                    <a:pt x="409" y="414"/>
                    <a:pt x="409" y="414"/>
                    <a:pt x="409" y="414"/>
                  </a:cubicBezTo>
                  <a:cubicBezTo>
                    <a:pt x="408" y="414"/>
                    <a:pt x="408" y="414"/>
                    <a:pt x="408" y="414"/>
                  </a:cubicBezTo>
                  <a:cubicBezTo>
                    <a:pt x="408" y="414"/>
                    <a:pt x="407" y="415"/>
                    <a:pt x="406" y="415"/>
                  </a:cubicBezTo>
                  <a:cubicBezTo>
                    <a:pt x="406" y="415"/>
                    <a:pt x="406" y="415"/>
                    <a:pt x="406" y="415"/>
                  </a:cubicBezTo>
                  <a:cubicBezTo>
                    <a:pt x="406" y="416"/>
                    <a:pt x="406" y="418"/>
                    <a:pt x="405" y="419"/>
                  </a:cubicBezTo>
                  <a:cubicBezTo>
                    <a:pt x="405" y="420"/>
                    <a:pt x="404" y="420"/>
                    <a:pt x="403" y="420"/>
                  </a:cubicBezTo>
                  <a:cubicBezTo>
                    <a:pt x="403" y="420"/>
                    <a:pt x="403" y="420"/>
                    <a:pt x="402" y="420"/>
                  </a:cubicBezTo>
                  <a:cubicBezTo>
                    <a:pt x="401" y="420"/>
                    <a:pt x="401" y="420"/>
                    <a:pt x="400" y="420"/>
                  </a:cubicBezTo>
                  <a:cubicBezTo>
                    <a:pt x="400" y="420"/>
                    <a:pt x="400" y="420"/>
                    <a:pt x="400" y="420"/>
                  </a:cubicBezTo>
                  <a:cubicBezTo>
                    <a:pt x="399" y="420"/>
                    <a:pt x="398" y="419"/>
                    <a:pt x="398" y="419"/>
                  </a:cubicBezTo>
                  <a:cubicBezTo>
                    <a:pt x="397" y="419"/>
                    <a:pt x="397" y="419"/>
                    <a:pt x="397" y="419"/>
                  </a:cubicBezTo>
                  <a:cubicBezTo>
                    <a:pt x="396" y="419"/>
                    <a:pt x="396" y="419"/>
                    <a:pt x="396" y="419"/>
                  </a:cubicBezTo>
                  <a:cubicBezTo>
                    <a:pt x="396" y="419"/>
                    <a:pt x="396" y="419"/>
                    <a:pt x="395" y="419"/>
                  </a:cubicBezTo>
                  <a:cubicBezTo>
                    <a:pt x="395" y="419"/>
                    <a:pt x="395" y="419"/>
                    <a:pt x="394" y="419"/>
                  </a:cubicBezTo>
                  <a:cubicBezTo>
                    <a:pt x="394" y="419"/>
                    <a:pt x="394" y="419"/>
                    <a:pt x="394" y="419"/>
                  </a:cubicBezTo>
                  <a:cubicBezTo>
                    <a:pt x="392" y="419"/>
                    <a:pt x="392" y="418"/>
                    <a:pt x="391" y="417"/>
                  </a:cubicBezTo>
                  <a:cubicBezTo>
                    <a:pt x="391" y="417"/>
                    <a:pt x="391" y="417"/>
                    <a:pt x="390" y="416"/>
                  </a:cubicBezTo>
                  <a:cubicBezTo>
                    <a:pt x="390" y="416"/>
                    <a:pt x="390" y="415"/>
                    <a:pt x="389" y="415"/>
                  </a:cubicBezTo>
                  <a:cubicBezTo>
                    <a:pt x="389" y="414"/>
                    <a:pt x="389" y="414"/>
                    <a:pt x="389" y="414"/>
                  </a:cubicBezTo>
                  <a:cubicBezTo>
                    <a:pt x="387" y="411"/>
                    <a:pt x="384" y="409"/>
                    <a:pt x="381" y="407"/>
                  </a:cubicBezTo>
                  <a:cubicBezTo>
                    <a:pt x="378" y="405"/>
                    <a:pt x="378" y="404"/>
                    <a:pt x="376" y="401"/>
                  </a:cubicBezTo>
                  <a:cubicBezTo>
                    <a:pt x="374" y="395"/>
                    <a:pt x="376" y="388"/>
                    <a:pt x="378" y="382"/>
                  </a:cubicBezTo>
                  <a:cubicBezTo>
                    <a:pt x="379" y="380"/>
                    <a:pt x="379" y="379"/>
                    <a:pt x="379" y="377"/>
                  </a:cubicBezTo>
                  <a:cubicBezTo>
                    <a:pt x="381" y="373"/>
                    <a:pt x="381" y="370"/>
                    <a:pt x="381" y="367"/>
                  </a:cubicBezTo>
                  <a:cubicBezTo>
                    <a:pt x="381" y="366"/>
                    <a:pt x="381" y="366"/>
                    <a:pt x="381" y="366"/>
                  </a:cubicBezTo>
                  <a:cubicBezTo>
                    <a:pt x="380" y="366"/>
                    <a:pt x="380" y="366"/>
                    <a:pt x="380" y="366"/>
                  </a:cubicBezTo>
                  <a:cubicBezTo>
                    <a:pt x="380" y="364"/>
                    <a:pt x="380" y="363"/>
                    <a:pt x="381" y="361"/>
                  </a:cubicBezTo>
                  <a:cubicBezTo>
                    <a:pt x="381" y="360"/>
                    <a:pt x="381" y="360"/>
                    <a:pt x="381" y="360"/>
                  </a:cubicBezTo>
                  <a:cubicBezTo>
                    <a:pt x="381" y="359"/>
                    <a:pt x="381" y="358"/>
                    <a:pt x="381" y="357"/>
                  </a:cubicBezTo>
                  <a:cubicBezTo>
                    <a:pt x="381" y="356"/>
                    <a:pt x="382" y="356"/>
                    <a:pt x="382" y="355"/>
                  </a:cubicBezTo>
                  <a:cubicBezTo>
                    <a:pt x="382" y="354"/>
                    <a:pt x="381" y="354"/>
                    <a:pt x="381" y="352"/>
                  </a:cubicBezTo>
                  <a:cubicBezTo>
                    <a:pt x="380" y="351"/>
                    <a:pt x="380" y="351"/>
                    <a:pt x="380" y="351"/>
                  </a:cubicBezTo>
                  <a:cubicBezTo>
                    <a:pt x="380" y="350"/>
                    <a:pt x="380" y="350"/>
                    <a:pt x="380" y="350"/>
                  </a:cubicBezTo>
                  <a:cubicBezTo>
                    <a:pt x="380" y="350"/>
                    <a:pt x="380" y="350"/>
                    <a:pt x="380" y="350"/>
                  </a:cubicBezTo>
                  <a:cubicBezTo>
                    <a:pt x="380" y="349"/>
                    <a:pt x="379" y="348"/>
                    <a:pt x="379" y="348"/>
                  </a:cubicBezTo>
                  <a:cubicBezTo>
                    <a:pt x="379" y="347"/>
                    <a:pt x="379" y="347"/>
                    <a:pt x="379" y="346"/>
                  </a:cubicBezTo>
                  <a:cubicBezTo>
                    <a:pt x="378" y="346"/>
                    <a:pt x="377" y="346"/>
                    <a:pt x="376" y="345"/>
                  </a:cubicBezTo>
                  <a:cubicBezTo>
                    <a:pt x="375" y="343"/>
                    <a:pt x="375" y="341"/>
                    <a:pt x="377" y="339"/>
                  </a:cubicBezTo>
                  <a:cubicBezTo>
                    <a:pt x="378" y="337"/>
                    <a:pt x="382" y="334"/>
                    <a:pt x="384" y="332"/>
                  </a:cubicBezTo>
                  <a:cubicBezTo>
                    <a:pt x="385" y="331"/>
                    <a:pt x="385" y="331"/>
                    <a:pt x="386" y="330"/>
                  </a:cubicBezTo>
                  <a:cubicBezTo>
                    <a:pt x="386" y="330"/>
                    <a:pt x="386" y="330"/>
                    <a:pt x="386" y="330"/>
                  </a:cubicBezTo>
                  <a:cubicBezTo>
                    <a:pt x="387" y="329"/>
                    <a:pt x="388" y="328"/>
                    <a:pt x="389" y="327"/>
                  </a:cubicBezTo>
                  <a:cubicBezTo>
                    <a:pt x="389" y="327"/>
                    <a:pt x="389" y="327"/>
                    <a:pt x="389" y="327"/>
                  </a:cubicBezTo>
                  <a:cubicBezTo>
                    <a:pt x="388" y="326"/>
                    <a:pt x="388" y="326"/>
                    <a:pt x="388" y="326"/>
                  </a:cubicBezTo>
                  <a:cubicBezTo>
                    <a:pt x="388" y="325"/>
                    <a:pt x="388" y="325"/>
                    <a:pt x="388" y="325"/>
                  </a:cubicBezTo>
                  <a:cubicBezTo>
                    <a:pt x="385" y="322"/>
                    <a:pt x="385" y="322"/>
                    <a:pt x="385" y="322"/>
                  </a:cubicBezTo>
                  <a:cubicBezTo>
                    <a:pt x="390" y="321"/>
                    <a:pt x="390" y="321"/>
                    <a:pt x="390" y="321"/>
                  </a:cubicBezTo>
                  <a:cubicBezTo>
                    <a:pt x="399" y="319"/>
                    <a:pt x="410" y="317"/>
                    <a:pt x="419" y="316"/>
                  </a:cubicBezTo>
                  <a:cubicBezTo>
                    <a:pt x="427" y="315"/>
                    <a:pt x="427" y="315"/>
                    <a:pt x="427" y="315"/>
                  </a:cubicBezTo>
                  <a:cubicBezTo>
                    <a:pt x="425" y="311"/>
                    <a:pt x="423" y="308"/>
                    <a:pt x="421" y="303"/>
                  </a:cubicBezTo>
                  <a:cubicBezTo>
                    <a:pt x="420" y="299"/>
                    <a:pt x="420" y="296"/>
                    <a:pt x="417" y="293"/>
                  </a:cubicBezTo>
                  <a:cubicBezTo>
                    <a:pt x="411" y="285"/>
                    <a:pt x="405" y="277"/>
                    <a:pt x="399" y="270"/>
                  </a:cubicBezTo>
                  <a:cubicBezTo>
                    <a:pt x="398" y="268"/>
                    <a:pt x="397" y="267"/>
                    <a:pt x="397" y="265"/>
                  </a:cubicBezTo>
                  <a:cubicBezTo>
                    <a:pt x="397" y="263"/>
                    <a:pt x="397" y="264"/>
                    <a:pt x="398" y="262"/>
                  </a:cubicBezTo>
                  <a:cubicBezTo>
                    <a:pt x="399" y="262"/>
                    <a:pt x="400" y="261"/>
                    <a:pt x="400" y="260"/>
                  </a:cubicBezTo>
                  <a:cubicBezTo>
                    <a:pt x="402" y="257"/>
                    <a:pt x="398" y="250"/>
                    <a:pt x="397" y="247"/>
                  </a:cubicBezTo>
                  <a:cubicBezTo>
                    <a:pt x="395" y="240"/>
                    <a:pt x="396" y="236"/>
                    <a:pt x="397" y="229"/>
                  </a:cubicBezTo>
                  <a:cubicBezTo>
                    <a:pt x="398" y="227"/>
                    <a:pt x="399" y="222"/>
                    <a:pt x="398" y="219"/>
                  </a:cubicBezTo>
                  <a:cubicBezTo>
                    <a:pt x="397" y="220"/>
                    <a:pt x="397" y="224"/>
                    <a:pt x="396" y="225"/>
                  </a:cubicBezTo>
                  <a:cubicBezTo>
                    <a:pt x="396" y="225"/>
                    <a:pt x="395" y="225"/>
                    <a:pt x="395" y="225"/>
                  </a:cubicBezTo>
                  <a:cubicBezTo>
                    <a:pt x="394" y="225"/>
                    <a:pt x="394" y="223"/>
                    <a:pt x="394" y="222"/>
                  </a:cubicBezTo>
                  <a:cubicBezTo>
                    <a:pt x="395" y="218"/>
                    <a:pt x="395" y="215"/>
                    <a:pt x="396" y="212"/>
                  </a:cubicBezTo>
                  <a:cubicBezTo>
                    <a:pt x="396" y="211"/>
                    <a:pt x="396" y="210"/>
                    <a:pt x="397" y="209"/>
                  </a:cubicBezTo>
                  <a:cubicBezTo>
                    <a:pt x="396" y="209"/>
                    <a:pt x="396" y="209"/>
                    <a:pt x="396" y="209"/>
                  </a:cubicBezTo>
                  <a:cubicBezTo>
                    <a:pt x="395" y="207"/>
                    <a:pt x="395" y="207"/>
                    <a:pt x="395" y="207"/>
                  </a:cubicBezTo>
                  <a:cubicBezTo>
                    <a:pt x="395" y="207"/>
                    <a:pt x="395" y="207"/>
                    <a:pt x="395" y="207"/>
                  </a:cubicBezTo>
                  <a:cubicBezTo>
                    <a:pt x="395" y="205"/>
                    <a:pt x="395" y="205"/>
                    <a:pt x="395" y="205"/>
                  </a:cubicBezTo>
                  <a:cubicBezTo>
                    <a:pt x="393" y="206"/>
                    <a:pt x="393" y="206"/>
                    <a:pt x="393" y="206"/>
                  </a:cubicBezTo>
                  <a:cubicBezTo>
                    <a:pt x="395" y="201"/>
                    <a:pt x="395" y="201"/>
                    <a:pt x="395" y="201"/>
                  </a:cubicBezTo>
                  <a:cubicBezTo>
                    <a:pt x="395" y="198"/>
                    <a:pt x="395" y="197"/>
                    <a:pt x="394" y="195"/>
                  </a:cubicBezTo>
                  <a:cubicBezTo>
                    <a:pt x="394" y="196"/>
                    <a:pt x="394" y="196"/>
                    <a:pt x="394" y="196"/>
                  </a:cubicBezTo>
                  <a:cubicBezTo>
                    <a:pt x="389" y="187"/>
                    <a:pt x="389" y="187"/>
                    <a:pt x="389" y="187"/>
                  </a:cubicBezTo>
                  <a:cubicBezTo>
                    <a:pt x="388" y="185"/>
                    <a:pt x="387" y="183"/>
                    <a:pt x="388" y="181"/>
                  </a:cubicBezTo>
                  <a:cubicBezTo>
                    <a:pt x="388" y="179"/>
                    <a:pt x="389" y="178"/>
                    <a:pt x="390" y="177"/>
                  </a:cubicBezTo>
                  <a:cubicBezTo>
                    <a:pt x="391" y="177"/>
                    <a:pt x="391" y="177"/>
                    <a:pt x="391" y="177"/>
                  </a:cubicBezTo>
                  <a:cubicBezTo>
                    <a:pt x="391" y="177"/>
                    <a:pt x="392" y="176"/>
                    <a:pt x="392" y="176"/>
                  </a:cubicBezTo>
                  <a:cubicBezTo>
                    <a:pt x="393" y="175"/>
                    <a:pt x="393" y="174"/>
                    <a:pt x="393" y="173"/>
                  </a:cubicBezTo>
                  <a:cubicBezTo>
                    <a:pt x="393" y="173"/>
                    <a:pt x="394" y="171"/>
                    <a:pt x="394" y="170"/>
                  </a:cubicBezTo>
                  <a:cubicBezTo>
                    <a:pt x="394" y="166"/>
                    <a:pt x="394" y="163"/>
                    <a:pt x="396" y="161"/>
                  </a:cubicBezTo>
                  <a:cubicBezTo>
                    <a:pt x="397" y="161"/>
                    <a:pt x="397" y="161"/>
                    <a:pt x="397" y="161"/>
                  </a:cubicBezTo>
                  <a:cubicBezTo>
                    <a:pt x="395" y="159"/>
                    <a:pt x="395" y="159"/>
                    <a:pt x="395" y="159"/>
                  </a:cubicBezTo>
                  <a:cubicBezTo>
                    <a:pt x="398" y="160"/>
                    <a:pt x="398" y="160"/>
                    <a:pt x="398" y="160"/>
                  </a:cubicBezTo>
                  <a:cubicBezTo>
                    <a:pt x="398" y="159"/>
                    <a:pt x="398" y="159"/>
                    <a:pt x="398" y="159"/>
                  </a:cubicBezTo>
                  <a:cubicBezTo>
                    <a:pt x="399" y="158"/>
                    <a:pt x="400" y="157"/>
                    <a:pt x="402" y="156"/>
                  </a:cubicBezTo>
                  <a:cubicBezTo>
                    <a:pt x="402" y="156"/>
                    <a:pt x="403" y="155"/>
                    <a:pt x="403" y="155"/>
                  </a:cubicBezTo>
                  <a:cubicBezTo>
                    <a:pt x="404" y="154"/>
                    <a:pt x="403" y="153"/>
                    <a:pt x="403" y="151"/>
                  </a:cubicBezTo>
                  <a:cubicBezTo>
                    <a:pt x="403" y="147"/>
                    <a:pt x="404" y="142"/>
                    <a:pt x="404" y="138"/>
                  </a:cubicBezTo>
                  <a:cubicBezTo>
                    <a:pt x="405" y="136"/>
                    <a:pt x="405" y="134"/>
                    <a:pt x="405" y="132"/>
                  </a:cubicBezTo>
                  <a:cubicBezTo>
                    <a:pt x="406" y="126"/>
                    <a:pt x="408" y="121"/>
                    <a:pt x="410" y="116"/>
                  </a:cubicBezTo>
                  <a:cubicBezTo>
                    <a:pt x="410" y="115"/>
                    <a:pt x="410" y="115"/>
                    <a:pt x="410" y="115"/>
                  </a:cubicBezTo>
                  <a:cubicBezTo>
                    <a:pt x="411" y="113"/>
                    <a:pt x="411" y="112"/>
                    <a:pt x="412" y="110"/>
                  </a:cubicBezTo>
                  <a:cubicBezTo>
                    <a:pt x="412" y="108"/>
                    <a:pt x="412" y="106"/>
                    <a:pt x="413" y="105"/>
                  </a:cubicBezTo>
                  <a:cubicBezTo>
                    <a:pt x="413" y="102"/>
                    <a:pt x="414" y="101"/>
                    <a:pt x="416" y="100"/>
                  </a:cubicBezTo>
                  <a:cubicBezTo>
                    <a:pt x="416" y="100"/>
                    <a:pt x="416" y="100"/>
                    <a:pt x="416" y="100"/>
                  </a:cubicBezTo>
                  <a:cubicBezTo>
                    <a:pt x="417" y="98"/>
                    <a:pt x="417" y="98"/>
                    <a:pt x="417" y="98"/>
                  </a:cubicBezTo>
                  <a:cubicBezTo>
                    <a:pt x="421" y="95"/>
                    <a:pt x="425" y="92"/>
                    <a:pt x="429" y="88"/>
                  </a:cubicBezTo>
                  <a:cubicBezTo>
                    <a:pt x="430" y="88"/>
                    <a:pt x="430" y="88"/>
                    <a:pt x="430" y="88"/>
                  </a:cubicBezTo>
                  <a:cubicBezTo>
                    <a:pt x="433" y="84"/>
                    <a:pt x="437" y="81"/>
                    <a:pt x="440" y="77"/>
                  </a:cubicBezTo>
                  <a:cubicBezTo>
                    <a:pt x="441" y="76"/>
                    <a:pt x="442" y="75"/>
                    <a:pt x="442" y="73"/>
                  </a:cubicBezTo>
                  <a:cubicBezTo>
                    <a:pt x="442" y="73"/>
                    <a:pt x="441" y="72"/>
                    <a:pt x="440" y="72"/>
                  </a:cubicBezTo>
                  <a:cubicBezTo>
                    <a:pt x="439" y="72"/>
                    <a:pt x="439" y="71"/>
                    <a:pt x="438" y="71"/>
                  </a:cubicBezTo>
                  <a:cubicBezTo>
                    <a:pt x="438" y="71"/>
                    <a:pt x="438" y="71"/>
                    <a:pt x="437" y="71"/>
                  </a:cubicBezTo>
                  <a:cubicBezTo>
                    <a:pt x="437" y="71"/>
                    <a:pt x="436" y="71"/>
                    <a:pt x="436" y="71"/>
                  </a:cubicBezTo>
                  <a:cubicBezTo>
                    <a:pt x="434" y="70"/>
                    <a:pt x="432" y="69"/>
                    <a:pt x="432" y="67"/>
                  </a:cubicBezTo>
                  <a:cubicBezTo>
                    <a:pt x="431" y="66"/>
                    <a:pt x="431" y="64"/>
                    <a:pt x="431" y="63"/>
                  </a:cubicBezTo>
                  <a:cubicBezTo>
                    <a:pt x="431" y="62"/>
                    <a:pt x="431" y="61"/>
                    <a:pt x="431" y="61"/>
                  </a:cubicBezTo>
                  <a:cubicBezTo>
                    <a:pt x="431" y="60"/>
                    <a:pt x="431" y="60"/>
                    <a:pt x="431" y="60"/>
                  </a:cubicBezTo>
                  <a:cubicBezTo>
                    <a:pt x="431" y="59"/>
                    <a:pt x="432" y="58"/>
                    <a:pt x="432" y="58"/>
                  </a:cubicBezTo>
                  <a:cubicBezTo>
                    <a:pt x="432" y="57"/>
                    <a:pt x="432" y="57"/>
                    <a:pt x="431" y="56"/>
                  </a:cubicBezTo>
                  <a:cubicBezTo>
                    <a:pt x="431" y="54"/>
                    <a:pt x="431" y="51"/>
                    <a:pt x="432" y="48"/>
                  </a:cubicBezTo>
                  <a:cubicBezTo>
                    <a:pt x="432" y="48"/>
                    <a:pt x="432" y="48"/>
                    <a:pt x="432" y="48"/>
                  </a:cubicBezTo>
                  <a:cubicBezTo>
                    <a:pt x="433" y="46"/>
                    <a:pt x="433" y="45"/>
                    <a:pt x="433" y="43"/>
                  </a:cubicBezTo>
                  <a:cubicBezTo>
                    <a:pt x="433" y="43"/>
                    <a:pt x="433" y="43"/>
                    <a:pt x="433" y="43"/>
                  </a:cubicBezTo>
                  <a:cubicBezTo>
                    <a:pt x="433" y="43"/>
                    <a:pt x="433" y="43"/>
                    <a:pt x="433" y="43"/>
                  </a:cubicBezTo>
                  <a:cubicBezTo>
                    <a:pt x="432" y="43"/>
                    <a:pt x="432" y="43"/>
                    <a:pt x="432" y="43"/>
                  </a:cubicBezTo>
                  <a:cubicBezTo>
                    <a:pt x="430" y="42"/>
                    <a:pt x="426" y="41"/>
                    <a:pt x="427" y="37"/>
                  </a:cubicBezTo>
                  <a:cubicBezTo>
                    <a:pt x="427" y="36"/>
                    <a:pt x="427" y="36"/>
                    <a:pt x="426" y="36"/>
                  </a:cubicBezTo>
                  <a:cubicBezTo>
                    <a:pt x="426" y="35"/>
                    <a:pt x="426" y="35"/>
                    <a:pt x="426" y="35"/>
                  </a:cubicBezTo>
                  <a:cubicBezTo>
                    <a:pt x="426" y="35"/>
                    <a:pt x="426" y="34"/>
                    <a:pt x="425" y="34"/>
                  </a:cubicBezTo>
                  <a:cubicBezTo>
                    <a:pt x="424" y="34"/>
                    <a:pt x="424" y="34"/>
                    <a:pt x="424" y="34"/>
                  </a:cubicBezTo>
                  <a:cubicBezTo>
                    <a:pt x="423" y="34"/>
                    <a:pt x="422" y="33"/>
                    <a:pt x="422" y="33"/>
                  </a:cubicBezTo>
                  <a:cubicBezTo>
                    <a:pt x="419" y="32"/>
                    <a:pt x="417" y="30"/>
                    <a:pt x="414" y="28"/>
                  </a:cubicBezTo>
                  <a:cubicBezTo>
                    <a:pt x="412" y="25"/>
                    <a:pt x="412" y="25"/>
                    <a:pt x="412" y="25"/>
                  </a:cubicBezTo>
                  <a:cubicBezTo>
                    <a:pt x="412" y="25"/>
                    <a:pt x="411" y="24"/>
                    <a:pt x="411" y="24"/>
                  </a:cubicBezTo>
                  <a:cubicBezTo>
                    <a:pt x="410" y="23"/>
                    <a:pt x="409" y="21"/>
                    <a:pt x="409" y="19"/>
                  </a:cubicBezTo>
                  <a:cubicBezTo>
                    <a:pt x="407" y="19"/>
                    <a:pt x="405" y="19"/>
                    <a:pt x="404" y="20"/>
                  </a:cubicBezTo>
                  <a:cubicBezTo>
                    <a:pt x="403" y="20"/>
                    <a:pt x="403" y="20"/>
                    <a:pt x="403" y="20"/>
                  </a:cubicBezTo>
                  <a:cubicBezTo>
                    <a:pt x="403" y="21"/>
                    <a:pt x="403" y="22"/>
                    <a:pt x="402" y="22"/>
                  </a:cubicBezTo>
                  <a:cubicBezTo>
                    <a:pt x="401" y="24"/>
                    <a:pt x="399" y="24"/>
                    <a:pt x="397" y="24"/>
                  </a:cubicBezTo>
                  <a:cubicBezTo>
                    <a:pt x="395" y="24"/>
                    <a:pt x="393" y="24"/>
                    <a:pt x="391" y="23"/>
                  </a:cubicBezTo>
                  <a:cubicBezTo>
                    <a:pt x="389" y="23"/>
                    <a:pt x="387" y="22"/>
                    <a:pt x="385" y="22"/>
                  </a:cubicBezTo>
                  <a:cubicBezTo>
                    <a:pt x="385" y="22"/>
                    <a:pt x="384" y="22"/>
                    <a:pt x="384" y="22"/>
                  </a:cubicBezTo>
                  <a:cubicBezTo>
                    <a:pt x="383" y="23"/>
                    <a:pt x="383" y="23"/>
                    <a:pt x="383" y="23"/>
                  </a:cubicBezTo>
                  <a:cubicBezTo>
                    <a:pt x="382" y="24"/>
                    <a:pt x="380" y="25"/>
                    <a:pt x="378" y="25"/>
                  </a:cubicBezTo>
                  <a:cubicBezTo>
                    <a:pt x="377" y="25"/>
                    <a:pt x="376" y="25"/>
                    <a:pt x="375" y="24"/>
                  </a:cubicBezTo>
                  <a:cubicBezTo>
                    <a:pt x="374" y="24"/>
                    <a:pt x="373" y="24"/>
                    <a:pt x="373" y="23"/>
                  </a:cubicBezTo>
                  <a:cubicBezTo>
                    <a:pt x="368" y="21"/>
                    <a:pt x="363" y="19"/>
                    <a:pt x="361" y="14"/>
                  </a:cubicBezTo>
                  <a:cubicBezTo>
                    <a:pt x="360" y="12"/>
                    <a:pt x="358" y="10"/>
                    <a:pt x="355" y="8"/>
                  </a:cubicBezTo>
                  <a:cubicBezTo>
                    <a:pt x="355" y="8"/>
                    <a:pt x="355" y="8"/>
                    <a:pt x="355" y="8"/>
                  </a:cubicBezTo>
                  <a:cubicBezTo>
                    <a:pt x="354" y="8"/>
                    <a:pt x="354" y="8"/>
                    <a:pt x="354" y="8"/>
                  </a:cubicBezTo>
                  <a:cubicBezTo>
                    <a:pt x="354" y="7"/>
                    <a:pt x="354" y="7"/>
                    <a:pt x="354" y="7"/>
                  </a:cubicBezTo>
                  <a:cubicBezTo>
                    <a:pt x="353" y="7"/>
                    <a:pt x="353" y="7"/>
                    <a:pt x="353" y="7"/>
                  </a:cubicBezTo>
                  <a:cubicBezTo>
                    <a:pt x="353" y="7"/>
                    <a:pt x="352" y="7"/>
                    <a:pt x="352" y="6"/>
                  </a:cubicBezTo>
                  <a:cubicBezTo>
                    <a:pt x="351" y="6"/>
                    <a:pt x="351" y="6"/>
                    <a:pt x="351" y="6"/>
                  </a:cubicBezTo>
                  <a:cubicBezTo>
                    <a:pt x="350" y="5"/>
                    <a:pt x="349" y="5"/>
                    <a:pt x="349" y="5"/>
                  </a:cubicBezTo>
                  <a:cubicBezTo>
                    <a:pt x="347" y="4"/>
                    <a:pt x="347" y="4"/>
                    <a:pt x="347" y="4"/>
                  </a:cubicBezTo>
                  <a:cubicBezTo>
                    <a:pt x="347" y="4"/>
                    <a:pt x="347" y="4"/>
                    <a:pt x="347" y="4"/>
                  </a:cubicBezTo>
                  <a:cubicBezTo>
                    <a:pt x="346" y="4"/>
                    <a:pt x="344" y="5"/>
                    <a:pt x="342" y="5"/>
                  </a:cubicBezTo>
                  <a:cubicBezTo>
                    <a:pt x="340" y="6"/>
                    <a:pt x="340" y="6"/>
                    <a:pt x="340" y="6"/>
                  </a:cubicBezTo>
                  <a:cubicBezTo>
                    <a:pt x="338" y="7"/>
                    <a:pt x="336" y="7"/>
                    <a:pt x="335" y="7"/>
                  </a:cubicBezTo>
                  <a:cubicBezTo>
                    <a:pt x="335" y="7"/>
                    <a:pt x="335" y="7"/>
                    <a:pt x="335" y="7"/>
                  </a:cubicBezTo>
                  <a:cubicBezTo>
                    <a:pt x="334" y="7"/>
                    <a:pt x="333" y="7"/>
                    <a:pt x="332" y="6"/>
                  </a:cubicBezTo>
                  <a:cubicBezTo>
                    <a:pt x="332" y="6"/>
                    <a:pt x="332" y="6"/>
                    <a:pt x="332" y="6"/>
                  </a:cubicBezTo>
                  <a:cubicBezTo>
                    <a:pt x="331" y="6"/>
                    <a:pt x="330" y="6"/>
                    <a:pt x="329" y="5"/>
                  </a:cubicBezTo>
                  <a:cubicBezTo>
                    <a:pt x="327" y="4"/>
                    <a:pt x="326" y="4"/>
                    <a:pt x="325" y="3"/>
                  </a:cubicBezTo>
                  <a:cubicBezTo>
                    <a:pt x="325" y="3"/>
                    <a:pt x="325" y="3"/>
                    <a:pt x="324" y="3"/>
                  </a:cubicBezTo>
                  <a:cubicBezTo>
                    <a:pt x="324" y="3"/>
                    <a:pt x="324" y="3"/>
                    <a:pt x="323" y="4"/>
                  </a:cubicBezTo>
                  <a:cubicBezTo>
                    <a:pt x="322" y="4"/>
                    <a:pt x="321" y="4"/>
                    <a:pt x="321" y="4"/>
                  </a:cubicBezTo>
                  <a:cubicBezTo>
                    <a:pt x="320" y="4"/>
                    <a:pt x="320" y="4"/>
                    <a:pt x="320" y="4"/>
                  </a:cubicBezTo>
                  <a:cubicBezTo>
                    <a:pt x="317" y="4"/>
                    <a:pt x="315" y="3"/>
                    <a:pt x="314" y="2"/>
                  </a:cubicBezTo>
                  <a:cubicBezTo>
                    <a:pt x="313" y="1"/>
                    <a:pt x="312" y="1"/>
                    <a:pt x="312" y="0"/>
                  </a:cubicBezTo>
                  <a:cubicBezTo>
                    <a:pt x="311" y="0"/>
                    <a:pt x="311" y="0"/>
                    <a:pt x="3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16"/>
            <p:cNvSpPr/>
            <p:nvPr/>
          </p:nvSpPr>
          <p:spPr bwMode="auto">
            <a:xfrm flipH="1">
              <a:off x="4344" y="3081"/>
              <a:ext cx="0" cy="5"/>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cubicBezTo>
                    <a:pt x="0" y="0"/>
                    <a:pt x="0" y="0"/>
                    <a:pt x="0" y="0"/>
                  </a:cubicBezTo>
                  <a:cubicBezTo>
                    <a:pt x="0" y="1"/>
                    <a:pt x="0" y="1"/>
                    <a:pt x="0" y="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17"/>
            <p:cNvSpPr/>
            <p:nvPr/>
          </p:nvSpPr>
          <p:spPr bwMode="auto">
            <a:xfrm>
              <a:off x="4474" y="2150"/>
              <a:ext cx="702" cy="461"/>
            </a:xfrm>
            <a:custGeom>
              <a:gdLst>
                <a:gd name="T0" fmla="*/ 170 w 297"/>
                <a:gd name="T1" fmla="*/ 6 h 195"/>
                <a:gd name="T2" fmla="*/ 139 w 297"/>
                <a:gd name="T3" fmla="*/ 41 h 195"/>
                <a:gd name="T4" fmla="*/ 109 w 297"/>
                <a:gd name="T5" fmla="*/ 51 h 195"/>
                <a:gd name="T6" fmla="*/ 108 w 297"/>
                <a:gd name="T7" fmla="*/ 53 h 195"/>
                <a:gd name="T8" fmla="*/ 99 w 297"/>
                <a:gd name="T9" fmla="*/ 65 h 195"/>
                <a:gd name="T10" fmla="*/ 93 w 297"/>
                <a:gd name="T11" fmla="*/ 69 h 195"/>
                <a:gd name="T12" fmla="*/ 84 w 297"/>
                <a:gd name="T13" fmla="*/ 69 h 195"/>
                <a:gd name="T14" fmla="*/ 68 w 297"/>
                <a:gd name="T15" fmla="*/ 73 h 195"/>
                <a:gd name="T16" fmla="*/ 58 w 297"/>
                <a:gd name="T17" fmla="*/ 77 h 195"/>
                <a:gd name="T18" fmla="*/ 52 w 297"/>
                <a:gd name="T19" fmla="*/ 80 h 195"/>
                <a:gd name="T20" fmla="*/ 45 w 297"/>
                <a:gd name="T21" fmla="*/ 74 h 195"/>
                <a:gd name="T22" fmla="*/ 34 w 297"/>
                <a:gd name="T23" fmla="*/ 79 h 195"/>
                <a:gd name="T24" fmla="*/ 21 w 297"/>
                <a:gd name="T25" fmla="*/ 82 h 195"/>
                <a:gd name="T26" fmla="*/ 11 w 297"/>
                <a:gd name="T27" fmla="*/ 98 h 195"/>
                <a:gd name="T28" fmla="*/ 1 w 297"/>
                <a:gd name="T29" fmla="*/ 114 h 195"/>
                <a:gd name="T30" fmla="*/ 3 w 297"/>
                <a:gd name="T31" fmla="*/ 126 h 195"/>
                <a:gd name="T32" fmla="*/ 3 w 297"/>
                <a:gd name="T33" fmla="*/ 134 h 195"/>
                <a:gd name="T34" fmla="*/ 14 w 297"/>
                <a:gd name="T35" fmla="*/ 155 h 195"/>
                <a:gd name="T36" fmla="*/ 24 w 297"/>
                <a:gd name="T37" fmla="*/ 173 h 195"/>
                <a:gd name="T38" fmla="*/ 37 w 297"/>
                <a:gd name="T39" fmla="*/ 186 h 195"/>
                <a:gd name="T40" fmla="*/ 40 w 297"/>
                <a:gd name="T41" fmla="*/ 193 h 195"/>
                <a:gd name="T42" fmla="*/ 43 w 297"/>
                <a:gd name="T43" fmla="*/ 177 h 195"/>
                <a:gd name="T44" fmla="*/ 48 w 297"/>
                <a:gd name="T45" fmla="*/ 170 h 195"/>
                <a:gd name="T46" fmla="*/ 60 w 297"/>
                <a:gd name="T47" fmla="*/ 167 h 195"/>
                <a:gd name="T48" fmla="*/ 81 w 297"/>
                <a:gd name="T49" fmla="*/ 167 h 195"/>
                <a:gd name="T50" fmla="*/ 89 w 297"/>
                <a:gd name="T51" fmla="*/ 168 h 195"/>
                <a:gd name="T52" fmla="*/ 91 w 297"/>
                <a:gd name="T53" fmla="*/ 162 h 195"/>
                <a:gd name="T54" fmla="*/ 90 w 297"/>
                <a:gd name="T55" fmla="*/ 153 h 195"/>
                <a:gd name="T56" fmla="*/ 97 w 297"/>
                <a:gd name="T57" fmla="*/ 148 h 195"/>
                <a:gd name="T58" fmla="*/ 115 w 297"/>
                <a:gd name="T59" fmla="*/ 132 h 195"/>
                <a:gd name="T60" fmla="*/ 120 w 297"/>
                <a:gd name="T61" fmla="*/ 132 h 195"/>
                <a:gd name="T62" fmla="*/ 126 w 297"/>
                <a:gd name="T63" fmla="*/ 135 h 195"/>
                <a:gd name="T64" fmla="*/ 143 w 297"/>
                <a:gd name="T65" fmla="*/ 148 h 195"/>
                <a:gd name="T66" fmla="*/ 154 w 297"/>
                <a:gd name="T67" fmla="*/ 151 h 195"/>
                <a:gd name="T68" fmla="*/ 160 w 297"/>
                <a:gd name="T69" fmla="*/ 152 h 195"/>
                <a:gd name="T70" fmla="*/ 177 w 297"/>
                <a:gd name="T71" fmla="*/ 153 h 195"/>
                <a:gd name="T72" fmla="*/ 187 w 297"/>
                <a:gd name="T73" fmla="*/ 148 h 195"/>
                <a:gd name="T74" fmla="*/ 191 w 297"/>
                <a:gd name="T75" fmla="*/ 142 h 195"/>
                <a:gd name="T76" fmla="*/ 195 w 297"/>
                <a:gd name="T77" fmla="*/ 140 h 195"/>
                <a:gd name="T78" fmla="*/ 206 w 297"/>
                <a:gd name="T79" fmla="*/ 144 h 195"/>
                <a:gd name="T80" fmla="*/ 227 w 297"/>
                <a:gd name="T81" fmla="*/ 135 h 195"/>
                <a:gd name="T82" fmla="*/ 232 w 297"/>
                <a:gd name="T83" fmla="*/ 133 h 195"/>
                <a:gd name="T84" fmla="*/ 241 w 297"/>
                <a:gd name="T85" fmla="*/ 136 h 195"/>
                <a:gd name="T86" fmla="*/ 250 w 297"/>
                <a:gd name="T87" fmla="*/ 130 h 195"/>
                <a:gd name="T88" fmla="*/ 257 w 297"/>
                <a:gd name="T89" fmla="*/ 126 h 195"/>
                <a:gd name="T90" fmla="*/ 264 w 297"/>
                <a:gd name="T91" fmla="*/ 130 h 195"/>
                <a:gd name="T92" fmla="*/ 270 w 297"/>
                <a:gd name="T93" fmla="*/ 130 h 195"/>
                <a:gd name="T94" fmla="*/ 280 w 297"/>
                <a:gd name="T95" fmla="*/ 133 h 195"/>
                <a:gd name="T96" fmla="*/ 284 w 297"/>
                <a:gd name="T97" fmla="*/ 133 h 195"/>
                <a:gd name="T98" fmla="*/ 297 w 297"/>
                <a:gd name="T99" fmla="*/ 131 h 195"/>
                <a:gd name="T100" fmla="*/ 283 w 297"/>
                <a:gd name="T101" fmla="*/ 117 h 195"/>
                <a:gd name="T102" fmla="*/ 276 w 297"/>
                <a:gd name="T103" fmla="*/ 113 h 195"/>
                <a:gd name="T104" fmla="*/ 273 w 297"/>
                <a:gd name="T105" fmla="*/ 101 h 195"/>
                <a:gd name="T106" fmla="*/ 248 w 297"/>
                <a:gd name="T107" fmla="*/ 73 h 195"/>
                <a:gd name="T108" fmla="*/ 247 w 297"/>
                <a:gd name="T109" fmla="*/ 71 h 195"/>
                <a:gd name="T110" fmla="*/ 225 w 297"/>
                <a:gd name="T111" fmla="*/ 61 h 195"/>
                <a:gd name="T112" fmla="*/ 219 w 297"/>
                <a:gd name="T113" fmla="*/ 53 h 195"/>
                <a:gd name="T114" fmla="*/ 212 w 297"/>
                <a:gd name="T115" fmla="*/ 53 h 195"/>
                <a:gd name="T116" fmla="*/ 206 w 297"/>
                <a:gd name="T117" fmla="*/ 46 h 195"/>
                <a:gd name="T118" fmla="*/ 210 w 297"/>
                <a:gd name="T119" fmla="*/ 36 h 195"/>
                <a:gd name="T120" fmla="*/ 207 w 297"/>
                <a:gd name="T121" fmla="*/ 18 h 195"/>
                <a:gd name="T122" fmla="*/ 190 w 297"/>
                <a:gd name="T123" fmla="*/ 0 h 1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7" h="195">
                  <a:moveTo>
                    <a:pt x="183" y="0"/>
                  </a:moveTo>
                  <a:cubicBezTo>
                    <a:pt x="183" y="0"/>
                    <a:pt x="183" y="0"/>
                    <a:pt x="183" y="0"/>
                  </a:cubicBezTo>
                  <a:cubicBezTo>
                    <a:pt x="182" y="0"/>
                    <a:pt x="181" y="0"/>
                    <a:pt x="180" y="1"/>
                  </a:cubicBezTo>
                  <a:cubicBezTo>
                    <a:pt x="177" y="2"/>
                    <a:pt x="172" y="4"/>
                    <a:pt x="170" y="6"/>
                  </a:cubicBezTo>
                  <a:cubicBezTo>
                    <a:pt x="170" y="6"/>
                    <a:pt x="170" y="6"/>
                    <a:pt x="170" y="6"/>
                  </a:cubicBezTo>
                  <a:cubicBezTo>
                    <a:pt x="170" y="7"/>
                    <a:pt x="170" y="7"/>
                    <a:pt x="170" y="7"/>
                  </a:cubicBezTo>
                  <a:cubicBezTo>
                    <a:pt x="170" y="7"/>
                    <a:pt x="170" y="7"/>
                    <a:pt x="170" y="7"/>
                  </a:cubicBezTo>
                  <a:cubicBezTo>
                    <a:pt x="170" y="8"/>
                    <a:pt x="170" y="9"/>
                    <a:pt x="169" y="11"/>
                  </a:cubicBezTo>
                  <a:cubicBezTo>
                    <a:pt x="155" y="28"/>
                    <a:pt x="155" y="28"/>
                    <a:pt x="155" y="28"/>
                  </a:cubicBezTo>
                  <a:cubicBezTo>
                    <a:pt x="150" y="33"/>
                    <a:pt x="146" y="37"/>
                    <a:pt x="139" y="41"/>
                  </a:cubicBezTo>
                  <a:cubicBezTo>
                    <a:pt x="138" y="43"/>
                    <a:pt x="136" y="43"/>
                    <a:pt x="134" y="44"/>
                  </a:cubicBezTo>
                  <a:cubicBezTo>
                    <a:pt x="131" y="44"/>
                    <a:pt x="128" y="44"/>
                    <a:pt x="124" y="45"/>
                  </a:cubicBezTo>
                  <a:cubicBezTo>
                    <a:pt x="122" y="45"/>
                    <a:pt x="122" y="45"/>
                    <a:pt x="122" y="45"/>
                  </a:cubicBezTo>
                  <a:cubicBezTo>
                    <a:pt x="119" y="45"/>
                    <a:pt x="113" y="45"/>
                    <a:pt x="108" y="46"/>
                  </a:cubicBezTo>
                  <a:cubicBezTo>
                    <a:pt x="109" y="51"/>
                    <a:pt x="109" y="51"/>
                    <a:pt x="109" y="51"/>
                  </a:cubicBezTo>
                  <a:cubicBezTo>
                    <a:pt x="107" y="46"/>
                    <a:pt x="107" y="46"/>
                    <a:pt x="107" y="46"/>
                  </a:cubicBezTo>
                  <a:cubicBezTo>
                    <a:pt x="105" y="46"/>
                    <a:pt x="105" y="46"/>
                    <a:pt x="105" y="46"/>
                  </a:cubicBezTo>
                  <a:cubicBezTo>
                    <a:pt x="105" y="46"/>
                    <a:pt x="105" y="46"/>
                    <a:pt x="105" y="46"/>
                  </a:cubicBezTo>
                  <a:cubicBezTo>
                    <a:pt x="105" y="47"/>
                    <a:pt x="105" y="47"/>
                    <a:pt x="105" y="47"/>
                  </a:cubicBezTo>
                  <a:cubicBezTo>
                    <a:pt x="107" y="48"/>
                    <a:pt x="108" y="50"/>
                    <a:pt x="108" y="53"/>
                  </a:cubicBezTo>
                  <a:cubicBezTo>
                    <a:pt x="108" y="53"/>
                    <a:pt x="108" y="53"/>
                    <a:pt x="108" y="53"/>
                  </a:cubicBezTo>
                  <a:cubicBezTo>
                    <a:pt x="107" y="54"/>
                    <a:pt x="107" y="55"/>
                    <a:pt x="106" y="56"/>
                  </a:cubicBezTo>
                  <a:cubicBezTo>
                    <a:pt x="105" y="57"/>
                    <a:pt x="105" y="58"/>
                    <a:pt x="104" y="59"/>
                  </a:cubicBezTo>
                  <a:cubicBezTo>
                    <a:pt x="104" y="59"/>
                    <a:pt x="104" y="59"/>
                    <a:pt x="104" y="59"/>
                  </a:cubicBezTo>
                  <a:cubicBezTo>
                    <a:pt x="102" y="61"/>
                    <a:pt x="101" y="63"/>
                    <a:pt x="99" y="65"/>
                  </a:cubicBezTo>
                  <a:cubicBezTo>
                    <a:pt x="97" y="66"/>
                    <a:pt x="97" y="66"/>
                    <a:pt x="97" y="66"/>
                  </a:cubicBezTo>
                  <a:cubicBezTo>
                    <a:pt x="96" y="67"/>
                    <a:pt x="96" y="67"/>
                    <a:pt x="95" y="67"/>
                  </a:cubicBezTo>
                  <a:cubicBezTo>
                    <a:pt x="95" y="68"/>
                    <a:pt x="95" y="68"/>
                    <a:pt x="95" y="68"/>
                  </a:cubicBezTo>
                  <a:cubicBezTo>
                    <a:pt x="95" y="68"/>
                    <a:pt x="94" y="68"/>
                    <a:pt x="94" y="68"/>
                  </a:cubicBezTo>
                  <a:cubicBezTo>
                    <a:pt x="93" y="69"/>
                    <a:pt x="93" y="69"/>
                    <a:pt x="93" y="69"/>
                  </a:cubicBezTo>
                  <a:cubicBezTo>
                    <a:pt x="92" y="69"/>
                    <a:pt x="92" y="69"/>
                    <a:pt x="91" y="69"/>
                  </a:cubicBezTo>
                  <a:cubicBezTo>
                    <a:pt x="90" y="69"/>
                    <a:pt x="90" y="69"/>
                    <a:pt x="90" y="69"/>
                  </a:cubicBezTo>
                  <a:cubicBezTo>
                    <a:pt x="90" y="69"/>
                    <a:pt x="89" y="69"/>
                    <a:pt x="88" y="69"/>
                  </a:cubicBezTo>
                  <a:cubicBezTo>
                    <a:pt x="85" y="69"/>
                    <a:pt x="85" y="69"/>
                    <a:pt x="85" y="69"/>
                  </a:cubicBezTo>
                  <a:cubicBezTo>
                    <a:pt x="84" y="69"/>
                    <a:pt x="84" y="69"/>
                    <a:pt x="84" y="69"/>
                  </a:cubicBezTo>
                  <a:cubicBezTo>
                    <a:pt x="83" y="69"/>
                    <a:pt x="83" y="69"/>
                    <a:pt x="83" y="69"/>
                  </a:cubicBezTo>
                  <a:cubicBezTo>
                    <a:pt x="82" y="69"/>
                    <a:pt x="81" y="70"/>
                    <a:pt x="79" y="70"/>
                  </a:cubicBezTo>
                  <a:cubicBezTo>
                    <a:pt x="76" y="71"/>
                    <a:pt x="74" y="71"/>
                    <a:pt x="71" y="72"/>
                  </a:cubicBezTo>
                  <a:cubicBezTo>
                    <a:pt x="69" y="73"/>
                    <a:pt x="69" y="73"/>
                    <a:pt x="69" y="73"/>
                  </a:cubicBezTo>
                  <a:cubicBezTo>
                    <a:pt x="68" y="73"/>
                    <a:pt x="68" y="73"/>
                    <a:pt x="68" y="73"/>
                  </a:cubicBezTo>
                  <a:cubicBezTo>
                    <a:pt x="66" y="74"/>
                    <a:pt x="66" y="74"/>
                    <a:pt x="66" y="74"/>
                  </a:cubicBezTo>
                  <a:cubicBezTo>
                    <a:pt x="65" y="74"/>
                    <a:pt x="64" y="74"/>
                    <a:pt x="62" y="75"/>
                  </a:cubicBezTo>
                  <a:cubicBezTo>
                    <a:pt x="61" y="76"/>
                    <a:pt x="61" y="76"/>
                    <a:pt x="61" y="76"/>
                  </a:cubicBezTo>
                  <a:cubicBezTo>
                    <a:pt x="61" y="76"/>
                    <a:pt x="60" y="76"/>
                    <a:pt x="59" y="77"/>
                  </a:cubicBezTo>
                  <a:cubicBezTo>
                    <a:pt x="58" y="77"/>
                    <a:pt x="58" y="77"/>
                    <a:pt x="58" y="77"/>
                  </a:cubicBezTo>
                  <a:cubicBezTo>
                    <a:pt x="57" y="78"/>
                    <a:pt x="57" y="78"/>
                    <a:pt x="57" y="78"/>
                  </a:cubicBezTo>
                  <a:cubicBezTo>
                    <a:pt x="56" y="78"/>
                    <a:pt x="56" y="78"/>
                    <a:pt x="56" y="78"/>
                  </a:cubicBezTo>
                  <a:cubicBezTo>
                    <a:pt x="55" y="79"/>
                    <a:pt x="55" y="79"/>
                    <a:pt x="54" y="80"/>
                  </a:cubicBezTo>
                  <a:cubicBezTo>
                    <a:pt x="53" y="80"/>
                    <a:pt x="53" y="80"/>
                    <a:pt x="53" y="80"/>
                  </a:cubicBezTo>
                  <a:cubicBezTo>
                    <a:pt x="52" y="80"/>
                    <a:pt x="52" y="80"/>
                    <a:pt x="52" y="80"/>
                  </a:cubicBezTo>
                  <a:cubicBezTo>
                    <a:pt x="52" y="80"/>
                    <a:pt x="52" y="80"/>
                    <a:pt x="52" y="80"/>
                  </a:cubicBezTo>
                  <a:cubicBezTo>
                    <a:pt x="52" y="80"/>
                    <a:pt x="51" y="80"/>
                    <a:pt x="51" y="80"/>
                  </a:cubicBezTo>
                  <a:cubicBezTo>
                    <a:pt x="51" y="80"/>
                    <a:pt x="51" y="80"/>
                    <a:pt x="51" y="80"/>
                  </a:cubicBezTo>
                  <a:cubicBezTo>
                    <a:pt x="50" y="79"/>
                    <a:pt x="50" y="79"/>
                    <a:pt x="50" y="79"/>
                  </a:cubicBezTo>
                  <a:cubicBezTo>
                    <a:pt x="45" y="74"/>
                    <a:pt x="45" y="74"/>
                    <a:pt x="45" y="74"/>
                  </a:cubicBezTo>
                  <a:cubicBezTo>
                    <a:pt x="45" y="74"/>
                    <a:pt x="45" y="74"/>
                    <a:pt x="45" y="74"/>
                  </a:cubicBezTo>
                  <a:cubicBezTo>
                    <a:pt x="45" y="75"/>
                    <a:pt x="44" y="76"/>
                    <a:pt x="44" y="76"/>
                  </a:cubicBezTo>
                  <a:cubicBezTo>
                    <a:pt x="43" y="77"/>
                    <a:pt x="43" y="77"/>
                    <a:pt x="43" y="77"/>
                  </a:cubicBezTo>
                  <a:cubicBezTo>
                    <a:pt x="42" y="78"/>
                    <a:pt x="39" y="78"/>
                    <a:pt x="38" y="78"/>
                  </a:cubicBezTo>
                  <a:cubicBezTo>
                    <a:pt x="37" y="79"/>
                    <a:pt x="36" y="79"/>
                    <a:pt x="34" y="79"/>
                  </a:cubicBezTo>
                  <a:cubicBezTo>
                    <a:pt x="30" y="80"/>
                    <a:pt x="30" y="80"/>
                    <a:pt x="30" y="80"/>
                  </a:cubicBezTo>
                  <a:cubicBezTo>
                    <a:pt x="28" y="80"/>
                    <a:pt x="27" y="80"/>
                    <a:pt x="25" y="80"/>
                  </a:cubicBezTo>
                  <a:cubicBezTo>
                    <a:pt x="22" y="81"/>
                    <a:pt x="22" y="81"/>
                    <a:pt x="22" y="81"/>
                  </a:cubicBezTo>
                  <a:cubicBezTo>
                    <a:pt x="22" y="81"/>
                    <a:pt x="22" y="81"/>
                    <a:pt x="22" y="81"/>
                  </a:cubicBezTo>
                  <a:cubicBezTo>
                    <a:pt x="21" y="82"/>
                    <a:pt x="21" y="82"/>
                    <a:pt x="21" y="82"/>
                  </a:cubicBezTo>
                  <a:cubicBezTo>
                    <a:pt x="20" y="83"/>
                    <a:pt x="19" y="84"/>
                    <a:pt x="18" y="86"/>
                  </a:cubicBezTo>
                  <a:cubicBezTo>
                    <a:pt x="17" y="87"/>
                    <a:pt x="17" y="87"/>
                    <a:pt x="17" y="87"/>
                  </a:cubicBezTo>
                  <a:cubicBezTo>
                    <a:pt x="16" y="89"/>
                    <a:pt x="14" y="92"/>
                    <a:pt x="13" y="94"/>
                  </a:cubicBezTo>
                  <a:cubicBezTo>
                    <a:pt x="13" y="95"/>
                    <a:pt x="13" y="95"/>
                    <a:pt x="13" y="95"/>
                  </a:cubicBezTo>
                  <a:cubicBezTo>
                    <a:pt x="12" y="96"/>
                    <a:pt x="12" y="97"/>
                    <a:pt x="11" y="98"/>
                  </a:cubicBezTo>
                  <a:cubicBezTo>
                    <a:pt x="11" y="99"/>
                    <a:pt x="10" y="100"/>
                    <a:pt x="10" y="101"/>
                  </a:cubicBezTo>
                  <a:cubicBezTo>
                    <a:pt x="9" y="102"/>
                    <a:pt x="9" y="102"/>
                    <a:pt x="9" y="102"/>
                  </a:cubicBezTo>
                  <a:cubicBezTo>
                    <a:pt x="9" y="103"/>
                    <a:pt x="8" y="103"/>
                    <a:pt x="8" y="104"/>
                  </a:cubicBezTo>
                  <a:cubicBezTo>
                    <a:pt x="6" y="109"/>
                    <a:pt x="4" y="111"/>
                    <a:pt x="0" y="113"/>
                  </a:cubicBezTo>
                  <a:cubicBezTo>
                    <a:pt x="1" y="113"/>
                    <a:pt x="1" y="114"/>
                    <a:pt x="1" y="114"/>
                  </a:cubicBezTo>
                  <a:cubicBezTo>
                    <a:pt x="2" y="115"/>
                    <a:pt x="2" y="115"/>
                    <a:pt x="2" y="115"/>
                  </a:cubicBezTo>
                  <a:cubicBezTo>
                    <a:pt x="2" y="115"/>
                    <a:pt x="2" y="116"/>
                    <a:pt x="3" y="117"/>
                  </a:cubicBezTo>
                  <a:cubicBezTo>
                    <a:pt x="3" y="117"/>
                    <a:pt x="3" y="118"/>
                    <a:pt x="3" y="120"/>
                  </a:cubicBezTo>
                  <a:cubicBezTo>
                    <a:pt x="3" y="121"/>
                    <a:pt x="3" y="123"/>
                    <a:pt x="3" y="124"/>
                  </a:cubicBezTo>
                  <a:cubicBezTo>
                    <a:pt x="3" y="126"/>
                    <a:pt x="3" y="126"/>
                    <a:pt x="3" y="126"/>
                  </a:cubicBezTo>
                  <a:cubicBezTo>
                    <a:pt x="3" y="127"/>
                    <a:pt x="2" y="128"/>
                    <a:pt x="2" y="129"/>
                  </a:cubicBezTo>
                  <a:cubicBezTo>
                    <a:pt x="2" y="130"/>
                    <a:pt x="2" y="130"/>
                    <a:pt x="2" y="130"/>
                  </a:cubicBezTo>
                  <a:cubicBezTo>
                    <a:pt x="2" y="130"/>
                    <a:pt x="2" y="130"/>
                    <a:pt x="2" y="132"/>
                  </a:cubicBezTo>
                  <a:cubicBezTo>
                    <a:pt x="3" y="133"/>
                    <a:pt x="3" y="133"/>
                    <a:pt x="3" y="133"/>
                  </a:cubicBezTo>
                  <a:cubicBezTo>
                    <a:pt x="3" y="133"/>
                    <a:pt x="3" y="133"/>
                    <a:pt x="3" y="134"/>
                  </a:cubicBezTo>
                  <a:cubicBezTo>
                    <a:pt x="4" y="137"/>
                    <a:pt x="5" y="140"/>
                    <a:pt x="6" y="143"/>
                  </a:cubicBezTo>
                  <a:cubicBezTo>
                    <a:pt x="6" y="146"/>
                    <a:pt x="6" y="146"/>
                    <a:pt x="6" y="146"/>
                  </a:cubicBezTo>
                  <a:cubicBezTo>
                    <a:pt x="6" y="146"/>
                    <a:pt x="7" y="147"/>
                    <a:pt x="9" y="149"/>
                  </a:cubicBezTo>
                  <a:cubicBezTo>
                    <a:pt x="10" y="150"/>
                    <a:pt x="11" y="151"/>
                    <a:pt x="11" y="152"/>
                  </a:cubicBezTo>
                  <a:cubicBezTo>
                    <a:pt x="14" y="155"/>
                    <a:pt x="14" y="155"/>
                    <a:pt x="14" y="155"/>
                  </a:cubicBezTo>
                  <a:cubicBezTo>
                    <a:pt x="14" y="156"/>
                    <a:pt x="15" y="157"/>
                    <a:pt x="16" y="159"/>
                  </a:cubicBezTo>
                  <a:cubicBezTo>
                    <a:pt x="18" y="162"/>
                    <a:pt x="18" y="162"/>
                    <a:pt x="18" y="162"/>
                  </a:cubicBezTo>
                  <a:cubicBezTo>
                    <a:pt x="15" y="163"/>
                    <a:pt x="15" y="163"/>
                    <a:pt x="15" y="163"/>
                  </a:cubicBezTo>
                  <a:cubicBezTo>
                    <a:pt x="17" y="166"/>
                    <a:pt x="19" y="169"/>
                    <a:pt x="22" y="171"/>
                  </a:cubicBezTo>
                  <a:cubicBezTo>
                    <a:pt x="24" y="173"/>
                    <a:pt x="24" y="173"/>
                    <a:pt x="24" y="173"/>
                  </a:cubicBezTo>
                  <a:cubicBezTo>
                    <a:pt x="25" y="174"/>
                    <a:pt x="25" y="174"/>
                    <a:pt x="25" y="174"/>
                  </a:cubicBezTo>
                  <a:cubicBezTo>
                    <a:pt x="26" y="175"/>
                    <a:pt x="26" y="175"/>
                    <a:pt x="26" y="175"/>
                  </a:cubicBezTo>
                  <a:cubicBezTo>
                    <a:pt x="29" y="177"/>
                    <a:pt x="32" y="180"/>
                    <a:pt x="35" y="182"/>
                  </a:cubicBezTo>
                  <a:cubicBezTo>
                    <a:pt x="36" y="183"/>
                    <a:pt x="36" y="184"/>
                    <a:pt x="37" y="185"/>
                  </a:cubicBezTo>
                  <a:cubicBezTo>
                    <a:pt x="37" y="186"/>
                    <a:pt x="37" y="186"/>
                    <a:pt x="37" y="186"/>
                  </a:cubicBezTo>
                  <a:cubicBezTo>
                    <a:pt x="38" y="186"/>
                    <a:pt x="38" y="186"/>
                    <a:pt x="38" y="186"/>
                  </a:cubicBezTo>
                  <a:cubicBezTo>
                    <a:pt x="38" y="188"/>
                    <a:pt x="38" y="189"/>
                    <a:pt x="38" y="190"/>
                  </a:cubicBezTo>
                  <a:cubicBezTo>
                    <a:pt x="38" y="192"/>
                    <a:pt x="38" y="193"/>
                    <a:pt x="39" y="195"/>
                  </a:cubicBezTo>
                  <a:cubicBezTo>
                    <a:pt x="39" y="195"/>
                    <a:pt x="39" y="194"/>
                    <a:pt x="39" y="194"/>
                  </a:cubicBezTo>
                  <a:cubicBezTo>
                    <a:pt x="40" y="193"/>
                    <a:pt x="40" y="193"/>
                    <a:pt x="40" y="193"/>
                  </a:cubicBezTo>
                  <a:cubicBezTo>
                    <a:pt x="40" y="191"/>
                    <a:pt x="40" y="190"/>
                    <a:pt x="41" y="189"/>
                  </a:cubicBezTo>
                  <a:cubicBezTo>
                    <a:pt x="41" y="187"/>
                    <a:pt x="42" y="185"/>
                    <a:pt x="42" y="184"/>
                  </a:cubicBezTo>
                  <a:cubicBezTo>
                    <a:pt x="42" y="183"/>
                    <a:pt x="42" y="183"/>
                    <a:pt x="42" y="182"/>
                  </a:cubicBezTo>
                  <a:cubicBezTo>
                    <a:pt x="42" y="181"/>
                    <a:pt x="42" y="180"/>
                    <a:pt x="42" y="178"/>
                  </a:cubicBezTo>
                  <a:cubicBezTo>
                    <a:pt x="43" y="177"/>
                    <a:pt x="43" y="177"/>
                    <a:pt x="43" y="177"/>
                  </a:cubicBezTo>
                  <a:cubicBezTo>
                    <a:pt x="43" y="177"/>
                    <a:pt x="43" y="176"/>
                    <a:pt x="43" y="176"/>
                  </a:cubicBezTo>
                  <a:cubicBezTo>
                    <a:pt x="43" y="175"/>
                    <a:pt x="43" y="175"/>
                    <a:pt x="43" y="175"/>
                  </a:cubicBezTo>
                  <a:cubicBezTo>
                    <a:pt x="43" y="174"/>
                    <a:pt x="43" y="174"/>
                    <a:pt x="43" y="174"/>
                  </a:cubicBezTo>
                  <a:cubicBezTo>
                    <a:pt x="44" y="174"/>
                    <a:pt x="44" y="174"/>
                    <a:pt x="44" y="174"/>
                  </a:cubicBezTo>
                  <a:cubicBezTo>
                    <a:pt x="45" y="172"/>
                    <a:pt x="47" y="171"/>
                    <a:pt x="48" y="170"/>
                  </a:cubicBezTo>
                  <a:cubicBezTo>
                    <a:pt x="50" y="170"/>
                    <a:pt x="51" y="169"/>
                    <a:pt x="53" y="169"/>
                  </a:cubicBezTo>
                  <a:cubicBezTo>
                    <a:pt x="52" y="164"/>
                    <a:pt x="52" y="164"/>
                    <a:pt x="52" y="164"/>
                  </a:cubicBezTo>
                  <a:cubicBezTo>
                    <a:pt x="55" y="169"/>
                    <a:pt x="55" y="169"/>
                    <a:pt x="55" y="169"/>
                  </a:cubicBezTo>
                  <a:cubicBezTo>
                    <a:pt x="55" y="169"/>
                    <a:pt x="55" y="169"/>
                    <a:pt x="55" y="169"/>
                  </a:cubicBezTo>
                  <a:cubicBezTo>
                    <a:pt x="57" y="168"/>
                    <a:pt x="58" y="168"/>
                    <a:pt x="60" y="167"/>
                  </a:cubicBezTo>
                  <a:cubicBezTo>
                    <a:pt x="64" y="167"/>
                    <a:pt x="67" y="166"/>
                    <a:pt x="71" y="166"/>
                  </a:cubicBezTo>
                  <a:cubicBezTo>
                    <a:pt x="72" y="166"/>
                    <a:pt x="74" y="166"/>
                    <a:pt x="75" y="167"/>
                  </a:cubicBezTo>
                  <a:cubicBezTo>
                    <a:pt x="76" y="167"/>
                    <a:pt x="77" y="167"/>
                    <a:pt x="78" y="167"/>
                  </a:cubicBezTo>
                  <a:cubicBezTo>
                    <a:pt x="79" y="167"/>
                    <a:pt x="79" y="167"/>
                    <a:pt x="79" y="167"/>
                  </a:cubicBezTo>
                  <a:cubicBezTo>
                    <a:pt x="80" y="167"/>
                    <a:pt x="80" y="167"/>
                    <a:pt x="81" y="167"/>
                  </a:cubicBezTo>
                  <a:cubicBezTo>
                    <a:pt x="82" y="167"/>
                    <a:pt x="82" y="167"/>
                    <a:pt x="82" y="167"/>
                  </a:cubicBezTo>
                  <a:cubicBezTo>
                    <a:pt x="83" y="168"/>
                    <a:pt x="83" y="168"/>
                    <a:pt x="83" y="168"/>
                  </a:cubicBezTo>
                  <a:cubicBezTo>
                    <a:pt x="85" y="168"/>
                    <a:pt x="86" y="168"/>
                    <a:pt x="87" y="168"/>
                  </a:cubicBezTo>
                  <a:cubicBezTo>
                    <a:pt x="88" y="168"/>
                    <a:pt x="89" y="168"/>
                    <a:pt x="89" y="168"/>
                  </a:cubicBezTo>
                  <a:cubicBezTo>
                    <a:pt x="89" y="168"/>
                    <a:pt x="89" y="168"/>
                    <a:pt x="89" y="168"/>
                  </a:cubicBezTo>
                  <a:cubicBezTo>
                    <a:pt x="91" y="166"/>
                    <a:pt x="91" y="166"/>
                    <a:pt x="91" y="166"/>
                  </a:cubicBezTo>
                  <a:cubicBezTo>
                    <a:pt x="91" y="167"/>
                    <a:pt x="91" y="167"/>
                    <a:pt x="91" y="167"/>
                  </a:cubicBezTo>
                  <a:cubicBezTo>
                    <a:pt x="91" y="166"/>
                    <a:pt x="91" y="166"/>
                    <a:pt x="91" y="165"/>
                  </a:cubicBezTo>
                  <a:cubicBezTo>
                    <a:pt x="91" y="164"/>
                    <a:pt x="91" y="163"/>
                    <a:pt x="91" y="162"/>
                  </a:cubicBezTo>
                  <a:cubicBezTo>
                    <a:pt x="91" y="162"/>
                    <a:pt x="91" y="162"/>
                    <a:pt x="91" y="162"/>
                  </a:cubicBezTo>
                  <a:cubicBezTo>
                    <a:pt x="91" y="161"/>
                    <a:pt x="91" y="160"/>
                    <a:pt x="91" y="159"/>
                  </a:cubicBezTo>
                  <a:cubicBezTo>
                    <a:pt x="91" y="159"/>
                    <a:pt x="91" y="159"/>
                    <a:pt x="91" y="159"/>
                  </a:cubicBezTo>
                  <a:cubicBezTo>
                    <a:pt x="91" y="158"/>
                    <a:pt x="91" y="158"/>
                    <a:pt x="91" y="157"/>
                  </a:cubicBezTo>
                  <a:cubicBezTo>
                    <a:pt x="91" y="157"/>
                    <a:pt x="91" y="157"/>
                    <a:pt x="91" y="157"/>
                  </a:cubicBezTo>
                  <a:cubicBezTo>
                    <a:pt x="90" y="157"/>
                    <a:pt x="89" y="155"/>
                    <a:pt x="90" y="153"/>
                  </a:cubicBezTo>
                  <a:cubicBezTo>
                    <a:pt x="90" y="152"/>
                    <a:pt x="90" y="152"/>
                    <a:pt x="91" y="151"/>
                  </a:cubicBezTo>
                  <a:cubicBezTo>
                    <a:pt x="92" y="150"/>
                    <a:pt x="93" y="150"/>
                    <a:pt x="95" y="150"/>
                  </a:cubicBezTo>
                  <a:cubicBezTo>
                    <a:pt x="95" y="150"/>
                    <a:pt x="95" y="150"/>
                    <a:pt x="95" y="150"/>
                  </a:cubicBezTo>
                  <a:cubicBezTo>
                    <a:pt x="96" y="150"/>
                    <a:pt x="96" y="150"/>
                    <a:pt x="96" y="150"/>
                  </a:cubicBezTo>
                  <a:cubicBezTo>
                    <a:pt x="96" y="150"/>
                    <a:pt x="96" y="149"/>
                    <a:pt x="97" y="148"/>
                  </a:cubicBezTo>
                  <a:cubicBezTo>
                    <a:pt x="98" y="146"/>
                    <a:pt x="98" y="146"/>
                    <a:pt x="98" y="146"/>
                  </a:cubicBezTo>
                  <a:cubicBezTo>
                    <a:pt x="99" y="145"/>
                    <a:pt x="100" y="143"/>
                    <a:pt x="101" y="142"/>
                  </a:cubicBezTo>
                  <a:cubicBezTo>
                    <a:pt x="101" y="141"/>
                    <a:pt x="101" y="141"/>
                    <a:pt x="101" y="141"/>
                  </a:cubicBezTo>
                  <a:cubicBezTo>
                    <a:pt x="102" y="140"/>
                    <a:pt x="103" y="139"/>
                    <a:pt x="104" y="138"/>
                  </a:cubicBezTo>
                  <a:cubicBezTo>
                    <a:pt x="107" y="135"/>
                    <a:pt x="111" y="133"/>
                    <a:pt x="115" y="132"/>
                  </a:cubicBezTo>
                  <a:cubicBezTo>
                    <a:pt x="115" y="132"/>
                    <a:pt x="116" y="132"/>
                    <a:pt x="117" y="132"/>
                  </a:cubicBezTo>
                  <a:cubicBezTo>
                    <a:pt x="117" y="132"/>
                    <a:pt x="117" y="132"/>
                    <a:pt x="117" y="132"/>
                  </a:cubicBezTo>
                  <a:cubicBezTo>
                    <a:pt x="118" y="132"/>
                    <a:pt x="118" y="132"/>
                    <a:pt x="118" y="132"/>
                  </a:cubicBezTo>
                  <a:cubicBezTo>
                    <a:pt x="118" y="132"/>
                    <a:pt x="118" y="132"/>
                    <a:pt x="119" y="132"/>
                  </a:cubicBezTo>
                  <a:cubicBezTo>
                    <a:pt x="119" y="132"/>
                    <a:pt x="120" y="132"/>
                    <a:pt x="120" y="132"/>
                  </a:cubicBezTo>
                  <a:cubicBezTo>
                    <a:pt x="122" y="132"/>
                    <a:pt x="122" y="132"/>
                    <a:pt x="122" y="132"/>
                  </a:cubicBezTo>
                  <a:cubicBezTo>
                    <a:pt x="122" y="133"/>
                    <a:pt x="122" y="133"/>
                    <a:pt x="122" y="133"/>
                  </a:cubicBezTo>
                  <a:cubicBezTo>
                    <a:pt x="123" y="133"/>
                    <a:pt x="124" y="133"/>
                    <a:pt x="124" y="134"/>
                  </a:cubicBezTo>
                  <a:cubicBezTo>
                    <a:pt x="125" y="134"/>
                    <a:pt x="125" y="134"/>
                    <a:pt x="125" y="134"/>
                  </a:cubicBezTo>
                  <a:cubicBezTo>
                    <a:pt x="125" y="134"/>
                    <a:pt x="126" y="135"/>
                    <a:pt x="126" y="135"/>
                  </a:cubicBezTo>
                  <a:cubicBezTo>
                    <a:pt x="127" y="135"/>
                    <a:pt x="128" y="136"/>
                    <a:pt x="130" y="137"/>
                  </a:cubicBezTo>
                  <a:cubicBezTo>
                    <a:pt x="138" y="145"/>
                    <a:pt x="138" y="145"/>
                    <a:pt x="138" y="145"/>
                  </a:cubicBezTo>
                  <a:cubicBezTo>
                    <a:pt x="138" y="146"/>
                    <a:pt x="140" y="147"/>
                    <a:pt x="141" y="147"/>
                  </a:cubicBezTo>
                  <a:cubicBezTo>
                    <a:pt x="141" y="147"/>
                    <a:pt x="141" y="147"/>
                    <a:pt x="141" y="147"/>
                  </a:cubicBezTo>
                  <a:cubicBezTo>
                    <a:pt x="142" y="147"/>
                    <a:pt x="142" y="147"/>
                    <a:pt x="143" y="148"/>
                  </a:cubicBezTo>
                  <a:cubicBezTo>
                    <a:pt x="143" y="148"/>
                    <a:pt x="144" y="148"/>
                    <a:pt x="145" y="148"/>
                  </a:cubicBezTo>
                  <a:cubicBezTo>
                    <a:pt x="146" y="148"/>
                    <a:pt x="147" y="149"/>
                    <a:pt x="149" y="149"/>
                  </a:cubicBezTo>
                  <a:cubicBezTo>
                    <a:pt x="149" y="149"/>
                    <a:pt x="149" y="149"/>
                    <a:pt x="149" y="149"/>
                  </a:cubicBezTo>
                  <a:cubicBezTo>
                    <a:pt x="151" y="150"/>
                    <a:pt x="153" y="150"/>
                    <a:pt x="154" y="151"/>
                  </a:cubicBezTo>
                  <a:cubicBezTo>
                    <a:pt x="154" y="151"/>
                    <a:pt x="154" y="151"/>
                    <a:pt x="154" y="151"/>
                  </a:cubicBezTo>
                  <a:cubicBezTo>
                    <a:pt x="155" y="151"/>
                    <a:pt x="155" y="151"/>
                    <a:pt x="155" y="151"/>
                  </a:cubicBezTo>
                  <a:cubicBezTo>
                    <a:pt x="156" y="151"/>
                    <a:pt x="156" y="151"/>
                    <a:pt x="156" y="151"/>
                  </a:cubicBezTo>
                  <a:cubicBezTo>
                    <a:pt x="156" y="151"/>
                    <a:pt x="156" y="151"/>
                    <a:pt x="156" y="151"/>
                  </a:cubicBezTo>
                  <a:cubicBezTo>
                    <a:pt x="157" y="151"/>
                    <a:pt x="158" y="151"/>
                    <a:pt x="159" y="152"/>
                  </a:cubicBezTo>
                  <a:cubicBezTo>
                    <a:pt x="160" y="152"/>
                    <a:pt x="160" y="152"/>
                    <a:pt x="160" y="152"/>
                  </a:cubicBezTo>
                  <a:cubicBezTo>
                    <a:pt x="162" y="152"/>
                    <a:pt x="164" y="152"/>
                    <a:pt x="165" y="153"/>
                  </a:cubicBezTo>
                  <a:cubicBezTo>
                    <a:pt x="166" y="153"/>
                    <a:pt x="167" y="153"/>
                    <a:pt x="168" y="153"/>
                  </a:cubicBezTo>
                  <a:cubicBezTo>
                    <a:pt x="170" y="153"/>
                    <a:pt x="172" y="153"/>
                    <a:pt x="174" y="153"/>
                  </a:cubicBezTo>
                  <a:cubicBezTo>
                    <a:pt x="176" y="153"/>
                    <a:pt x="176" y="153"/>
                    <a:pt x="176" y="153"/>
                  </a:cubicBezTo>
                  <a:cubicBezTo>
                    <a:pt x="177" y="153"/>
                    <a:pt x="177" y="153"/>
                    <a:pt x="177" y="153"/>
                  </a:cubicBezTo>
                  <a:cubicBezTo>
                    <a:pt x="178" y="154"/>
                    <a:pt x="178" y="154"/>
                    <a:pt x="178" y="154"/>
                  </a:cubicBezTo>
                  <a:cubicBezTo>
                    <a:pt x="180" y="154"/>
                    <a:pt x="182" y="155"/>
                    <a:pt x="183" y="155"/>
                  </a:cubicBezTo>
                  <a:cubicBezTo>
                    <a:pt x="183" y="154"/>
                    <a:pt x="183" y="153"/>
                    <a:pt x="184" y="153"/>
                  </a:cubicBezTo>
                  <a:cubicBezTo>
                    <a:pt x="184" y="151"/>
                    <a:pt x="185" y="150"/>
                    <a:pt x="186" y="149"/>
                  </a:cubicBezTo>
                  <a:cubicBezTo>
                    <a:pt x="187" y="148"/>
                    <a:pt x="187" y="148"/>
                    <a:pt x="187" y="148"/>
                  </a:cubicBezTo>
                  <a:cubicBezTo>
                    <a:pt x="187" y="148"/>
                    <a:pt x="187" y="147"/>
                    <a:pt x="187" y="147"/>
                  </a:cubicBezTo>
                  <a:cubicBezTo>
                    <a:pt x="188" y="147"/>
                    <a:pt x="188" y="147"/>
                    <a:pt x="188" y="147"/>
                  </a:cubicBezTo>
                  <a:cubicBezTo>
                    <a:pt x="188" y="146"/>
                    <a:pt x="189" y="144"/>
                    <a:pt x="190" y="143"/>
                  </a:cubicBezTo>
                  <a:cubicBezTo>
                    <a:pt x="191" y="142"/>
                    <a:pt x="191" y="142"/>
                    <a:pt x="191" y="142"/>
                  </a:cubicBezTo>
                  <a:cubicBezTo>
                    <a:pt x="191" y="142"/>
                    <a:pt x="191" y="142"/>
                    <a:pt x="191" y="142"/>
                  </a:cubicBezTo>
                  <a:cubicBezTo>
                    <a:pt x="192" y="141"/>
                    <a:pt x="192" y="141"/>
                    <a:pt x="192" y="141"/>
                  </a:cubicBezTo>
                  <a:cubicBezTo>
                    <a:pt x="193" y="141"/>
                    <a:pt x="193" y="141"/>
                    <a:pt x="193" y="141"/>
                  </a:cubicBezTo>
                  <a:cubicBezTo>
                    <a:pt x="193" y="140"/>
                    <a:pt x="193" y="140"/>
                    <a:pt x="193" y="140"/>
                  </a:cubicBezTo>
                  <a:cubicBezTo>
                    <a:pt x="194" y="140"/>
                    <a:pt x="194" y="140"/>
                    <a:pt x="194" y="140"/>
                  </a:cubicBezTo>
                  <a:cubicBezTo>
                    <a:pt x="194" y="140"/>
                    <a:pt x="194" y="140"/>
                    <a:pt x="195" y="140"/>
                  </a:cubicBezTo>
                  <a:cubicBezTo>
                    <a:pt x="196" y="139"/>
                    <a:pt x="196" y="139"/>
                    <a:pt x="196" y="139"/>
                  </a:cubicBezTo>
                  <a:cubicBezTo>
                    <a:pt x="196" y="139"/>
                    <a:pt x="196" y="139"/>
                    <a:pt x="196" y="139"/>
                  </a:cubicBezTo>
                  <a:cubicBezTo>
                    <a:pt x="196" y="139"/>
                    <a:pt x="197" y="140"/>
                    <a:pt x="197" y="140"/>
                  </a:cubicBezTo>
                  <a:cubicBezTo>
                    <a:pt x="199" y="140"/>
                    <a:pt x="201" y="141"/>
                    <a:pt x="202" y="142"/>
                  </a:cubicBezTo>
                  <a:cubicBezTo>
                    <a:pt x="203" y="143"/>
                    <a:pt x="205" y="144"/>
                    <a:pt x="206" y="144"/>
                  </a:cubicBezTo>
                  <a:cubicBezTo>
                    <a:pt x="206" y="144"/>
                    <a:pt x="206" y="144"/>
                    <a:pt x="206" y="144"/>
                  </a:cubicBezTo>
                  <a:cubicBezTo>
                    <a:pt x="208" y="144"/>
                    <a:pt x="210" y="143"/>
                    <a:pt x="211" y="142"/>
                  </a:cubicBezTo>
                  <a:cubicBezTo>
                    <a:pt x="212" y="142"/>
                    <a:pt x="213" y="142"/>
                    <a:pt x="213" y="141"/>
                  </a:cubicBezTo>
                  <a:cubicBezTo>
                    <a:pt x="226" y="135"/>
                    <a:pt x="226" y="135"/>
                    <a:pt x="226" y="135"/>
                  </a:cubicBezTo>
                  <a:cubicBezTo>
                    <a:pt x="226" y="135"/>
                    <a:pt x="226" y="135"/>
                    <a:pt x="227" y="135"/>
                  </a:cubicBezTo>
                  <a:cubicBezTo>
                    <a:pt x="227" y="135"/>
                    <a:pt x="227" y="135"/>
                    <a:pt x="227" y="135"/>
                  </a:cubicBezTo>
                  <a:cubicBezTo>
                    <a:pt x="228" y="134"/>
                    <a:pt x="229" y="134"/>
                    <a:pt x="230" y="133"/>
                  </a:cubicBezTo>
                  <a:cubicBezTo>
                    <a:pt x="230" y="133"/>
                    <a:pt x="231" y="133"/>
                    <a:pt x="231" y="133"/>
                  </a:cubicBezTo>
                  <a:cubicBezTo>
                    <a:pt x="231" y="133"/>
                    <a:pt x="231" y="133"/>
                    <a:pt x="231" y="133"/>
                  </a:cubicBezTo>
                  <a:cubicBezTo>
                    <a:pt x="232" y="133"/>
                    <a:pt x="232" y="133"/>
                    <a:pt x="232" y="133"/>
                  </a:cubicBezTo>
                  <a:cubicBezTo>
                    <a:pt x="233" y="133"/>
                    <a:pt x="233" y="133"/>
                    <a:pt x="233" y="133"/>
                  </a:cubicBezTo>
                  <a:cubicBezTo>
                    <a:pt x="234" y="133"/>
                    <a:pt x="234" y="133"/>
                    <a:pt x="234" y="133"/>
                  </a:cubicBezTo>
                  <a:cubicBezTo>
                    <a:pt x="234" y="134"/>
                    <a:pt x="235" y="134"/>
                    <a:pt x="235" y="134"/>
                  </a:cubicBezTo>
                  <a:cubicBezTo>
                    <a:pt x="236" y="135"/>
                    <a:pt x="238" y="136"/>
                    <a:pt x="238" y="137"/>
                  </a:cubicBezTo>
                  <a:cubicBezTo>
                    <a:pt x="239" y="137"/>
                    <a:pt x="240" y="136"/>
                    <a:pt x="241" y="136"/>
                  </a:cubicBezTo>
                  <a:cubicBezTo>
                    <a:pt x="242" y="136"/>
                    <a:pt x="242" y="136"/>
                    <a:pt x="242" y="136"/>
                  </a:cubicBezTo>
                  <a:cubicBezTo>
                    <a:pt x="242" y="136"/>
                    <a:pt x="243" y="136"/>
                    <a:pt x="243" y="136"/>
                  </a:cubicBezTo>
                  <a:cubicBezTo>
                    <a:pt x="244" y="136"/>
                    <a:pt x="245" y="136"/>
                    <a:pt x="246" y="135"/>
                  </a:cubicBezTo>
                  <a:cubicBezTo>
                    <a:pt x="247" y="135"/>
                    <a:pt x="249" y="135"/>
                    <a:pt x="249" y="134"/>
                  </a:cubicBezTo>
                  <a:cubicBezTo>
                    <a:pt x="249" y="133"/>
                    <a:pt x="249" y="132"/>
                    <a:pt x="250" y="130"/>
                  </a:cubicBezTo>
                  <a:cubicBezTo>
                    <a:pt x="251" y="129"/>
                    <a:pt x="251" y="128"/>
                    <a:pt x="252" y="128"/>
                  </a:cubicBezTo>
                  <a:cubicBezTo>
                    <a:pt x="253" y="127"/>
                    <a:pt x="253" y="127"/>
                    <a:pt x="253" y="127"/>
                  </a:cubicBezTo>
                  <a:cubicBezTo>
                    <a:pt x="253" y="127"/>
                    <a:pt x="254" y="127"/>
                    <a:pt x="255" y="127"/>
                  </a:cubicBezTo>
                  <a:cubicBezTo>
                    <a:pt x="256" y="127"/>
                    <a:pt x="256" y="127"/>
                    <a:pt x="256" y="127"/>
                  </a:cubicBezTo>
                  <a:cubicBezTo>
                    <a:pt x="256" y="127"/>
                    <a:pt x="256" y="126"/>
                    <a:pt x="257" y="126"/>
                  </a:cubicBezTo>
                  <a:cubicBezTo>
                    <a:pt x="257" y="126"/>
                    <a:pt x="257" y="126"/>
                    <a:pt x="258" y="127"/>
                  </a:cubicBezTo>
                  <a:cubicBezTo>
                    <a:pt x="258" y="127"/>
                    <a:pt x="258" y="127"/>
                    <a:pt x="259" y="127"/>
                  </a:cubicBezTo>
                  <a:cubicBezTo>
                    <a:pt x="259" y="127"/>
                    <a:pt x="260" y="127"/>
                    <a:pt x="261" y="127"/>
                  </a:cubicBezTo>
                  <a:cubicBezTo>
                    <a:pt x="262" y="128"/>
                    <a:pt x="262" y="128"/>
                    <a:pt x="263" y="129"/>
                  </a:cubicBezTo>
                  <a:cubicBezTo>
                    <a:pt x="264" y="129"/>
                    <a:pt x="264" y="130"/>
                    <a:pt x="264" y="130"/>
                  </a:cubicBezTo>
                  <a:cubicBezTo>
                    <a:pt x="265" y="130"/>
                    <a:pt x="265" y="130"/>
                    <a:pt x="265" y="130"/>
                  </a:cubicBezTo>
                  <a:cubicBezTo>
                    <a:pt x="266" y="130"/>
                    <a:pt x="266" y="130"/>
                    <a:pt x="266" y="130"/>
                  </a:cubicBezTo>
                  <a:cubicBezTo>
                    <a:pt x="266" y="130"/>
                    <a:pt x="266" y="130"/>
                    <a:pt x="266" y="130"/>
                  </a:cubicBezTo>
                  <a:cubicBezTo>
                    <a:pt x="267" y="130"/>
                    <a:pt x="267" y="130"/>
                    <a:pt x="267" y="130"/>
                  </a:cubicBezTo>
                  <a:cubicBezTo>
                    <a:pt x="268" y="130"/>
                    <a:pt x="269" y="130"/>
                    <a:pt x="270" y="130"/>
                  </a:cubicBezTo>
                  <a:cubicBezTo>
                    <a:pt x="271" y="130"/>
                    <a:pt x="272" y="130"/>
                    <a:pt x="273" y="130"/>
                  </a:cubicBezTo>
                  <a:cubicBezTo>
                    <a:pt x="274" y="130"/>
                    <a:pt x="276" y="131"/>
                    <a:pt x="277" y="132"/>
                  </a:cubicBezTo>
                  <a:cubicBezTo>
                    <a:pt x="278" y="132"/>
                    <a:pt x="279" y="133"/>
                    <a:pt x="280" y="133"/>
                  </a:cubicBezTo>
                  <a:cubicBezTo>
                    <a:pt x="280" y="133"/>
                    <a:pt x="280" y="133"/>
                    <a:pt x="280" y="133"/>
                  </a:cubicBezTo>
                  <a:cubicBezTo>
                    <a:pt x="280" y="133"/>
                    <a:pt x="280" y="133"/>
                    <a:pt x="280" y="133"/>
                  </a:cubicBezTo>
                  <a:cubicBezTo>
                    <a:pt x="280" y="134"/>
                    <a:pt x="280" y="134"/>
                    <a:pt x="280" y="134"/>
                  </a:cubicBezTo>
                  <a:cubicBezTo>
                    <a:pt x="281" y="133"/>
                    <a:pt x="281" y="133"/>
                    <a:pt x="281" y="133"/>
                  </a:cubicBezTo>
                  <a:cubicBezTo>
                    <a:pt x="281" y="133"/>
                    <a:pt x="281" y="133"/>
                    <a:pt x="281" y="133"/>
                  </a:cubicBezTo>
                  <a:cubicBezTo>
                    <a:pt x="282" y="133"/>
                    <a:pt x="282" y="133"/>
                    <a:pt x="282" y="133"/>
                  </a:cubicBezTo>
                  <a:cubicBezTo>
                    <a:pt x="283" y="133"/>
                    <a:pt x="284" y="133"/>
                    <a:pt x="284" y="133"/>
                  </a:cubicBezTo>
                  <a:cubicBezTo>
                    <a:pt x="285" y="133"/>
                    <a:pt x="285" y="133"/>
                    <a:pt x="285" y="133"/>
                  </a:cubicBezTo>
                  <a:cubicBezTo>
                    <a:pt x="286" y="132"/>
                    <a:pt x="286" y="132"/>
                    <a:pt x="286" y="132"/>
                  </a:cubicBezTo>
                  <a:cubicBezTo>
                    <a:pt x="288" y="131"/>
                    <a:pt x="291" y="130"/>
                    <a:pt x="293" y="130"/>
                  </a:cubicBezTo>
                  <a:cubicBezTo>
                    <a:pt x="294" y="130"/>
                    <a:pt x="295" y="130"/>
                    <a:pt x="296" y="131"/>
                  </a:cubicBezTo>
                  <a:cubicBezTo>
                    <a:pt x="297" y="131"/>
                    <a:pt x="297" y="131"/>
                    <a:pt x="297" y="131"/>
                  </a:cubicBezTo>
                  <a:cubicBezTo>
                    <a:pt x="296" y="130"/>
                    <a:pt x="296" y="129"/>
                    <a:pt x="296" y="128"/>
                  </a:cubicBezTo>
                  <a:cubicBezTo>
                    <a:pt x="296" y="127"/>
                    <a:pt x="295" y="127"/>
                    <a:pt x="295" y="126"/>
                  </a:cubicBezTo>
                  <a:cubicBezTo>
                    <a:pt x="295" y="125"/>
                    <a:pt x="295" y="125"/>
                    <a:pt x="295" y="125"/>
                  </a:cubicBezTo>
                  <a:cubicBezTo>
                    <a:pt x="294" y="123"/>
                    <a:pt x="291" y="121"/>
                    <a:pt x="289" y="120"/>
                  </a:cubicBezTo>
                  <a:cubicBezTo>
                    <a:pt x="287" y="119"/>
                    <a:pt x="285" y="117"/>
                    <a:pt x="283" y="117"/>
                  </a:cubicBezTo>
                  <a:cubicBezTo>
                    <a:pt x="281" y="116"/>
                    <a:pt x="281" y="116"/>
                    <a:pt x="281" y="116"/>
                  </a:cubicBezTo>
                  <a:cubicBezTo>
                    <a:pt x="280" y="116"/>
                    <a:pt x="279" y="115"/>
                    <a:pt x="277" y="114"/>
                  </a:cubicBezTo>
                  <a:cubicBezTo>
                    <a:pt x="277" y="113"/>
                    <a:pt x="277" y="113"/>
                    <a:pt x="277" y="113"/>
                  </a:cubicBezTo>
                  <a:cubicBezTo>
                    <a:pt x="276" y="113"/>
                    <a:pt x="276" y="113"/>
                    <a:pt x="276" y="113"/>
                  </a:cubicBezTo>
                  <a:cubicBezTo>
                    <a:pt x="276" y="113"/>
                    <a:pt x="276" y="113"/>
                    <a:pt x="276" y="113"/>
                  </a:cubicBezTo>
                  <a:cubicBezTo>
                    <a:pt x="275" y="112"/>
                    <a:pt x="275" y="111"/>
                    <a:pt x="274" y="110"/>
                  </a:cubicBezTo>
                  <a:cubicBezTo>
                    <a:pt x="274" y="110"/>
                    <a:pt x="274" y="110"/>
                    <a:pt x="274" y="109"/>
                  </a:cubicBezTo>
                  <a:cubicBezTo>
                    <a:pt x="274" y="109"/>
                    <a:pt x="273" y="108"/>
                    <a:pt x="273" y="107"/>
                  </a:cubicBezTo>
                  <a:cubicBezTo>
                    <a:pt x="272" y="106"/>
                    <a:pt x="272" y="104"/>
                    <a:pt x="272" y="103"/>
                  </a:cubicBezTo>
                  <a:cubicBezTo>
                    <a:pt x="273" y="102"/>
                    <a:pt x="273" y="102"/>
                    <a:pt x="273" y="101"/>
                  </a:cubicBezTo>
                  <a:cubicBezTo>
                    <a:pt x="274" y="100"/>
                    <a:pt x="274" y="100"/>
                    <a:pt x="274" y="100"/>
                  </a:cubicBezTo>
                  <a:cubicBezTo>
                    <a:pt x="274" y="100"/>
                    <a:pt x="274" y="100"/>
                    <a:pt x="274" y="100"/>
                  </a:cubicBezTo>
                  <a:cubicBezTo>
                    <a:pt x="252" y="81"/>
                    <a:pt x="252" y="81"/>
                    <a:pt x="252" y="81"/>
                  </a:cubicBezTo>
                  <a:cubicBezTo>
                    <a:pt x="251" y="79"/>
                    <a:pt x="249" y="78"/>
                    <a:pt x="249" y="76"/>
                  </a:cubicBezTo>
                  <a:cubicBezTo>
                    <a:pt x="248" y="75"/>
                    <a:pt x="248" y="74"/>
                    <a:pt x="248" y="73"/>
                  </a:cubicBezTo>
                  <a:cubicBezTo>
                    <a:pt x="248" y="73"/>
                    <a:pt x="248" y="73"/>
                    <a:pt x="248" y="73"/>
                  </a:cubicBezTo>
                  <a:cubicBezTo>
                    <a:pt x="248" y="73"/>
                    <a:pt x="248" y="73"/>
                    <a:pt x="248" y="73"/>
                  </a:cubicBezTo>
                  <a:cubicBezTo>
                    <a:pt x="248" y="72"/>
                    <a:pt x="248" y="72"/>
                    <a:pt x="248" y="72"/>
                  </a:cubicBezTo>
                  <a:cubicBezTo>
                    <a:pt x="247" y="71"/>
                    <a:pt x="247" y="71"/>
                    <a:pt x="247" y="71"/>
                  </a:cubicBezTo>
                  <a:cubicBezTo>
                    <a:pt x="247" y="71"/>
                    <a:pt x="247" y="71"/>
                    <a:pt x="247" y="71"/>
                  </a:cubicBezTo>
                  <a:cubicBezTo>
                    <a:pt x="246" y="70"/>
                    <a:pt x="246" y="70"/>
                    <a:pt x="246" y="70"/>
                  </a:cubicBezTo>
                  <a:cubicBezTo>
                    <a:pt x="244" y="68"/>
                    <a:pt x="241" y="66"/>
                    <a:pt x="240" y="66"/>
                  </a:cubicBezTo>
                  <a:cubicBezTo>
                    <a:pt x="238" y="65"/>
                    <a:pt x="236" y="65"/>
                    <a:pt x="234" y="65"/>
                  </a:cubicBezTo>
                  <a:cubicBezTo>
                    <a:pt x="231" y="64"/>
                    <a:pt x="231" y="64"/>
                    <a:pt x="231" y="64"/>
                  </a:cubicBezTo>
                  <a:cubicBezTo>
                    <a:pt x="228" y="63"/>
                    <a:pt x="226" y="63"/>
                    <a:pt x="225" y="61"/>
                  </a:cubicBezTo>
                  <a:cubicBezTo>
                    <a:pt x="224" y="60"/>
                    <a:pt x="224" y="59"/>
                    <a:pt x="223" y="57"/>
                  </a:cubicBezTo>
                  <a:cubicBezTo>
                    <a:pt x="223" y="56"/>
                    <a:pt x="223" y="56"/>
                    <a:pt x="223" y="55"/>
                  </a:cubicBezTo>
                  <a:cubicBezTo>
                    <a:pt x="223" y="54"/>
                    <a:pt x="223" y="53"/>
                    <a:pt x="223" y="53"/>
                  </a:cubicBezTo>
                  <a:cubicBezTo>
                    <a:pt x="222" y="53"/>
                    <a:pt x="222" y="53"/>
                    <a:pt x="222" y="53"/>
                  </a:cubicBezTo>
                  <a:cubicBezTo>
                    <a:pt x="219" y="53"/>
                    <a:pt x="219" y="53"/>
                    <a:pt x="219" y="53"/>
                  </a:cubicBezTo>
                  <a:cubicBezTo>
                    <a:pt x="218" y="53"/>
                    <a:pt x="218" y="53"/>
                    <a:pt x="217" y="53"/>
                  </a:cubicBezTo>
                  <a:cubicBezTo>
                    <a:pt x="217" y="53"/>
                    <a:pt x="216" y="53"/>
                    <a:pt x="215" y="53"/>
                  </a:cubicBezTo>
                  <a:cubicBezTo>
                    <a:pt x="215" y="53"/>
                    <a:pt x="215" y="53"/>
                    <a:pt x="215" y="53"/>
                  </a:cubicBezTo>
                  <a:cubicBezTo>
                    <a:pt x="214" y="52"/>
                    <a:pt x="214" y="52"/>
                    <a:pt x="213" y="52"/>
                  </a:cubicBezTo>
                  <a:cubicBezTo>
                    <a:pt x="213" y="52"/>
                    <a:pt x="213" y="52"/>
                    <a:pt x="212" y="53"/>
                  </a:cubicBezTo>
                  <a:cubicBezTo>
                    <a:pt x="212" y="53"/>
                    <a:pt x="212" y="53"/>
                    <a:pt x="212" y="53"/>
                  </a:cubicBezTo>
                  <a:cubicBezTo>
                    <a:pt x="212" y="53"/>
                    <a:pt x="212" y="53"/>
                    <a:pt x="212" y="53"/>
                  </a:cubicBezTo>
                  <a:cubicBezTo>
                    <a:pt x="209" y="54"/>
                    <a:pt x="209" y="54"/>
                    <a:pt x="209" y="54"/>
                  </a:cubicBezTo>
                  <a:cubicBezTo>
                    <a:pt x="208" y="51"/>
                    <a:pt x="208" y="51"/>
                    <a:pt x="208" y="51"/>
                  </a:cubicBezTo>
                  <a:cubicBezTo>
                    <a:pt x="207" y="49"/>
                    <a:pt x="207" y="48"/>
                    <a:pt x="206" y="46"/>
                  </a:cubicBezTo>
                  <a:cubicBezTo>
                    <a:pt x="206" y="43"/>
                    <a:pt x="206" y="43"/>
                    <a:pt x="206" y="43"/>
                  </a:cubicBezTo>
                  <a:cubicBezTo>
                    <a:pt x="206" y="40"/>
                    <a:pt x="206" y="40"/>
                    <a:pt x="208" y="37"/>
                  </a:cubicBezTo>
                  <a:cubicBezTo>
                    <a:pt x="208" y="37"/>
                    <a:pt x="209" y="37"/>
                    <a:pt x="209" y="36"/>
                  </a:cubicBezTo>
                  <a:cubicBezTo>
                    <a:pt x="209" y="36"/>
                    <a:pt x="209" y="36"/>
                    <a:pt x="209" y="36"/>
                  </a:cubicBezTo>
                  <a:cubicBezTo>
                    <a:pt x="210" y="36"/>
                    <a:pt x="210" y="36"/>
                    <a:pt x="210" y="36"/>
                  </a:cubicBezTo>
                  <a:cubicBezTo>
                    <a:pt x="210" y="35"/>
                    <a:pt x="210" y="34"/>
                    <a:pt x="210" y="33"/>
                  </a:cubicBezTo>
                  <a:cubicBezTo>
                    <a:pt x="210" y="32"/>
                    <a:pt x="210" y="30"/>
                    <a:pt x="210" y="29"/>
                  </a:cubicBezTo>
                  <a:cubicBezTo>
                    <a:pt x="210" y="29"/>
                    <a:pt x="210" y="29"/>
                    <a:pt x="210" y="29"/>
                  </a:cubicBezTo>
                  <a:cubicBezTo>
                    <a:pt x="211" y="28"/>
                    <a:pt x="211" y="27"/>
                    <a:pt x="211" y="26"/>
                  </a:cubicBezTo>
                  <a:cubicBezTo>
                    <a:pt x="211" y="23"/>
                    <a:pt x="208" y="19"/>
                    <a:pt x="207" y="18"/>
                  </a:cubicBezTo>
                  <a:cubicBezTo>
                    <a:pt x="206" y="16"/>
                    <a:pt x="204" y="15"/>
                    <a:pt x="203" y="13"/>
                  </a:cubicBezTo>
                  <a:cubicBezTo>
                    <a:pt x="202" y="12"/>
                    <a:pt x="202" y="12"/>
                    <a:pt x="202" y="12"/>
                  </a:cubicBezTo>
                  <a:cubicBezTo>
                    <a:pt x="201" y="11"/>
                    <a:pt x="199" y="9"/>
                    <a:pt x="198" y="7"/>
                  </a:cubicBezTo>
                  <a:cubicBezTo>
                    <a:pt x="193" y="0"/>
                    <a:pt x="193" y="0"/>
                    <a:pt x="193" y="0"/>
                  </a:cubicBezTo>
                  <a:cubicBezTo>
                    <a:pt x="190" y="0"/>
                    <a:pt x="190" y="0"/>
                    <a:pt x="190" y="0"/>
                  </a:cubicBezTo>
                  <a:cubicBezTo>
                    <a:pt x="189" y="0"/>
                    <a:pt x="189" y="0"/>
                    <a:pt x="188" y="0"/>
                  </a:cubicBezTo>
                  <a:cubicBezTo>
                    <a:pt x="186" y="0"/>
                    <a:pt x="184" y="0"/>
                    <a:pt x="1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18"/>
            <p:cNvSpPr/>
            <p:nvPr/>
          </p:nvSpPr>
          <p:spPr bwMode="auto">
            <a:xfrm>
              <a:off x="4287" y="2556"/>
              <a:ext cx="409" cy="471"/>
            </a:xfrm>
            <a:custGeom>
              <a:gdLst>
                <a:gd name="T0" fmla="*/ 134 w 173"/>
                <a:gd name="T1" fmla="*/ 2 h 199"/>
                <a:gd name="T2" fmla="*/ 128 w 173"/>
                <a:gd name="T3" fmla="*/ 5 h 199"/>
                <a:gd name="T4" fmla="*/ 125 w 173"/>
                <a:gd name="T5" fmla="*/ 18 h 199"/>
                <a:gd name="T6" fmla="*/ 116 w 173"/>
                <a:gd name="T7" fmla="*/ 38 h 199"/>
                <a:gd name="T8" fmla="*/ 110 w 173"/>
                <a:gd name="T9" fmla="*/ 46 h 199"/>
                <a:gd name="T10" fmla="*/ 103 w 173"/>
                <a:gd name="T11" fmla="*/ 41 h 199"/>
                <a:gd name="T12" fmla="*/ 94 w 173"/>
                <a:gd name="T13" fmla="*/ 40 h 199"/>
                <a:gd name="T14" fmla="*/ 84 w 173"/>
                <a:gd name="T15" fmla="*/ 38 h 199"/>
                <a:gd name="T16" fmla="*/ 72 w 173"/>
                <a:gd name="T17" fmla="*/ 35 h 199"/>
                <a:gd name="T18" fmla="*/ 51 w 173"/>
                <a:gd name="T19" fmla="*/ 36 h 199"/>
                <a:gd name="T20" fmla="*/ 48 w 173"/>
                <a:gd name="T21" fmla="*/ 40 h 199"/>
                <a:gd name="T22" fmla="*/ 57 w 173"/>
                <a:gd name="T23" fmla="*/ 48 h 199"/>
                <a:gd name="T24" fmla="*/ 62 w 173"/>
                <a:gd name="T25" fmla="*/ 47 h 199"/>
                <a:gd name="T26" fmla="*/ 68 w 173"/>
                <a:gd name="T27" fmla="*/ 48 h 199"/>
                <a:gd name="T28" fmla="*/ 77 w 173"/>
                <a:gd name="T29" fmla="*/ 66 h 199"/>
                <a:gd name="T30" fmla="*/ 68 w 173"/>
                <a:gd name="T31" fmla="*/ 79 h 199"/>
                <a:gd name="T32" fmla="*/ 65 w 173"/>
                <a:gd name="T33" fmla="*/ 88 h 199"/>
                <a:gd name="T34" fmla="*/ 79 w 173"/>
                <a:gd name="T35" fmla="*/ 104 h 199"/>
                <a:gd name="T36" fmla="*/ 78 w 173"/>
                <a:gd name="T37" fmla="*/ 109 h 199"/>
                <a:gd name="T38" fmla="*/ 79 w 173"/>
                <a:gd name="T39" fmla="*/ 117 h 199"/>
                <a:gd name="T40" fmla="*/ 74 w 173"/>
                <a:gd name="T41" fmla="*/ 134 h 199"/>
                <a:gd name="T42" fmla="*/ 63 w 173"/>
                <a:gd name="T43" fmla="*/ 145 h 199"/>
                <a:gd name="T44" fmla="*/ 59 w 173"/>
                <a:gd name="T45" fmla="*/ 139 h 199"/>
                <a:gd name="T46" fmla="*/ 45 w 173"/>
                <a:gd name="T47" fmla="*/ 142 h 199"/>
                <a:gd name="T48" fmla="*/ 35 w 173"/>
                <a:gd name="T49" fmla="*/ 134 h 199"/>
                <a:gd name="T50" fmla="*/ 33 w 173"/>
                <a:gd name="T51" fmla="*/ 131 h 199"/>
                <a:gd name="T52" fmla="*/ 27 w 173"/>
                <a:gd name="T53" fmla="*/ 140 h 199"/>
                <a:gd name="T54" fmla="*/ 17 w 173"/>
                <a:gd name="T55" fmla="*/ 142 h 199"/>
                <a:gd name="T56" fmla="*/ 15 w 173"/>
                <a:gd name="T57" fmla="*/ 142 h 199"/>
                <a:gd name="T58" fmla="*/ 11 w 173"/>
                <a:gd name="T59" fmla="*/ 146 h 199"/>
                <a:gd name="T60" fmla="*/ 15 w 173"/>
                <a:gd name="T61" fmla="*/ 153 h 199"/>
                <a:gd name="T62" fmla="*/ 15 w 173"/>
                <a:gd name="T63" fmla="*/ 157 h 199"/>
                <a:gd name="T64" fmla="*/ 20 w 173"/>
                <a:gd name="T65" fmla="*/ 162 h 199"/>
                <a:gd name="T66" fmla="*/ 18 w 173"/>
                <a:gd name="T67" fmla="*/ 165 h 199"/>
                <a:gd name="T68" fmla="*/ 18 w 173"/>
                <a:gd name="T69" fmla="*/ 170 h 199"/>
                <a:gd name="T70" fmla="*/ 9 w 173"/>
                <a:gd name="T71" fmla="*/ 172 h 199"/>
                <a:gd name="T72" fmla="*/ 6 w 173"/>
                <a:gd name="T73" fmla="*/ 170 h 199"/>
                <a:gd name="T74" fmla="*/ 0 w 173"/>
                <a:gd name="T75" fmla="*/ 177 h 199"/>
                <a:gd name="T76" fmla="*/ 17 w 173"/>
                <a:gd name="T77" fmla="*/ 199 h 199"/>
                <a:gd name="T78" fmla="*/ 27 w 173"/>
                <a:gd name="T79" fmla="*/ 191 h 199"/>
                <a:gd name="T80" fmla="*/ 34 w 173"/>
                <a:gd name="T81" fmla="*/ 185 h 199"/>
                <a:gd name="T82" fmla="*/ 48 w 173"/>
                <a:gd name="T83" fmla="*/ 192 h 199"/>
                <a:gd name="T84" fmla="*/ 50 w 173"/>
                <a:gd name="T85" fmla="*/ 194 h 199"/>
                <a:gd name="T86" fmla="*/ 55 w 173"/>
                <a:gd name="T87" fmla="*/ 190 h 199"/>
                <a:gd name="T88" fmla="*/ 60 w 173"/>
                <a:gd name="T89" fmla="*/ 186 h 199"/>
                <a:gd name="T90" fmla="*/ 68 w 173"/>
                <a:gd name="T91" fmla="*/ 184 h 199"/>
                <a:gd name="T92" fmla="*/ 77 w 173"/>
                <a:gd name="T93" fmla="*/ 184 h 199"/>
                <a:gd name="T94" fmla="*/ 77 w 173"/>
                <a:gd name="T95" fmla="*/ 196 h 199"/>
                <a:gd name="T96" fmla="*/ 83 w 173"/>
                <a:gd name="T97" fmla="*/ 193 h 199"/>
                <a:gd name="T98" fmla="*/ 107 w 173"/>
                <a:gd name="T99" fmla="*/ 173 h 199"/>
                <a:gd name="T100" fmla="*/ 114 w 173"/>
                <a:gd name="T101" fmla="*/ 161 h 199"/>
                <a:gd name="T102" fmla="*/ 114 w 173"/>
                <a:gd name="T103" fmla="*/ 158 h 199"/>
                <a:gd name="T104" fmla="*/ 113 w 173"/>
                <a:gd name="T105" fmla="*/ 154 h 199"/>
                <a:gd name="T106" fmla="*/ 113 w 173"/>
                <a:gd name="T107" fmla="*/ 135 h 199"/>
                <a:gd name="T108" fmla="*/ 127 w 173"/>
                <a:gd name="T109" fmla="*/ 115 h 199"/>
                <a:gd name="T110" fmla="*/ 137 w 173"/>
                <a:gd name="T111" fmla="*/ 106 h 199"/>
                <a:gd name="T112" fmla="*/ 144 w 173"/>
                <a:gd name="T113" fmla="*/ 101 h 199"/>
                <a:gd name="T114" fmla="*/ 153 w 173"/>
                <a:gd name="T115" fmla="*/ 69 h 199"/>
                <a:gd name="T116" fmla="*/ 153 w 173"/>
                <a:gd name="T117" fmla="*/ 56 h 199"/>
                <a:gd name="T118" fmla="*/ 158 w 173"/>
                <a:gd name="T119" fmla="*/ 36 h 199"/>
                <a:gd name="T120" fmla="*/ 156 w 173"/>
                <a:gd name="T121" fmla="*/ 21 h 199"/>
                <a:gd name="T122" fmla="*/ 169 w 173"/>
                <a:gd name="T123" fmla="*/ 1 h 199"/>
                <a:gd name="T124" fmla="*/ 154 w 173"/>
                <a:gd name="T125" fmla="*/ 0 h 1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99">
                  <a:moveTo>
                    <a:pt x="150" y="0"/>
                  </a:moveTo>
                  <a:cubicBezTo>
                    <a:pt x="146" y="0"/>
                    <a:pt x="143" y="0"/>
                    <a:pt x="140" y="1"/>
                  </a:cubicBezTo>
                  <a:cubicBezTo>
                    <a:pt x="139" y="1"/>
                    <a:pt x="137" y="2"/>
                    <a:pt x="135" y="2"/>
                  </a:cubicBezTo>
                  <a:cubicBezTo>
                    <a:pt x="134" y="2"/>
                    <a:pt x="134" y="2"/>
                    <a:pt x="134" y="2"/>
                  </a:cubicBezTo>
                  <a:cubicBezTo>
                    <a:pt x="134" y="2"/>
                    <a:pt x="134" y="2"/>
                    <a:pt x="134" y="2"/>
                  </a:cubicBezTo>
                  <a:cubicBezTo>
                    <a:pt x="132" y="3"/>
                    <a:pt x="131" y="3"/>
                    <a:pt x="129" y="4"/>
                  </a:cubicBezTo>
                  <a:cubicBezTo>
                    <a:pt x="128" y="4"/>
                    <a:pt x="128" y="4"/>
                    <a:pt x="128" y="4"/>
                  </a:cubicBezTo>
                  <a:cubicBezTo>
                    <a:pt x="128" y="5"/>
                    <a:pt x="128" y="5"/>
                    <a:pt x="128" y="5"/>
                  </a:cubicBezTo>
                  <a:cubicBezTo>
                    <a:pt x="127" y="6"/>
                    <a:pt x="127" y="7"/>
                    <a:pt x="127" y="8"/>
                  </a:cubicBezTo>
                  <a:cubicBezTo>
                    <a:pt x="127" y="8"/>
                    <a:pt x="127" y="9"/>
                    <a:pt x="127" y="10"/>
                  </a:cubicBezTo>
                  <a:cubicBezTo>
                    <a:pt x="127" y="11"/>
                    <a:pt x="127" y="11"/>
                    <a:pt x="126" y="12"/>
                  </a:cubicBezTo>
                  <a:cubicBezTo>
                    <a:pt x="126" y="14"/>
                    <a:pt x="126" y="16"/>
                    <a:pt x="125" y="18"/>
                  </a:cubicBezTo>
                  <a:cubicBezTo>
                    <a:pt x="125" y="22"/>
                    <a:pt x="122" y="28"/>
                    <a:pt x="120" y="32"/>
                  </a:cubicBezTo>
                  <a:cubicBezTo>
                    <a:pt x="120" y="32"/>
                    <a:pt x="120" y="32"/>
                    <a:pt x="120" y="32"/>
                  </a:cubicBezTo>
                  <a:cubicBezTo>
                    <a:pt x="119" y="33"/>
                    <a:pt x="119" y="33"/>
                    <a:pt x="119" y="33"/>
                  </a:cubicBezTo>
                  <a:cubicBezTo>
                    <a:pt x="116" y="38"/>
                    <a:pt x="116" y="38"/>
                    <a:pt x="116" y="38"/>
                  </a:cubicBezTo>
                  <a:cubicBezTo>
                    <a:pt x="116" y="40"/>
                    <a:pt x="116" y="40"/>
                    <a:pt x="116" y="40"/>
                  </a:cubicBezTo>
                  <a:cubicBezTo>
                    <a:pt x="116" y="42"/>
                    <a:pt x="116" y="43"/>
                    <a:pt x="116" y="45"/>
                  </a:cubicBezTo>
                  <a:cubicBezTo>
                    <a:pt x="116" y="51"/>
                    <a:pt x="116" y="51"/>
                    <a:pt x="116" y="51"/>
                  </a:cubicBezTo>
                  <a:cubicBezTo>
                    <a:pt x="110" y="46"/>
                    <a:pt x="110" y="46"/>
                    <a:pt x="110" y="46"/>
                  </a:cubicBezTo>
                  <a:cubicBezTo>
                    <a:pt x="110" y="45"/>
                    <a:pt x="110" y="45"/>
                    <a:pt x="108" y="44"/>
                  </a:cubicBezTo>
                  <a:cubicBezTo>
                    <a:pt x="108" y="44"/>
                    <a:pt x="107" y="43"/>
                    <a:pt x="106" y="42"/>
                  </a:cubicBezTo>
                  <a:cubicBezTo>
                    <a:pt x="106" y="42"/>
                    <a:pt x="105" y="41"/>
                    <a:pt x="105" y="41"/>
                  </a:cubicBezTo>
                  <a:cubicBezTo>
                    <a:pt x="104" y="41"/>
                    <a:pt x="104" y="41"/>
                    <a:pt x="103" y="41"/>
                  </a:cubicBezTo>
                  <a:cubicBezTo>
                    <a:pt x="102" y="41"/>
                    <a:pt x="102" y="41"/>
                    <a:pt x="101" y="41"/>
                  </a:cubicBezTo>
                  <a:cubicBezTo>
                    <a:pt x="100" y="41"/>
                    <a:pt x="100" y="41"/>
                    <a:pt x="99" y="41"/>
                  </a:cubicBezTo>
                  <a:cubicBezTo>
                    <a:pt x="99" y="41"/>
                    <a:pt x="99" y="41"/>
                    <a:pt x="98" y="41"/>
                  </a:cubicBezTo>
                  <a:cubicBezTo>
                    <a:pt x="96" y="41"/>
                    <a:pt x="95" y="40"/>
                    <a:pt x="94" y="40"/>
                  </a:cubicBezTo>
                  <a:cubicBezTo>
                    <a:pt x="93" y="40"/>
                    <a:pt x="93" y="40"/>
                    <a:pt x="93" y="40"/>
                  </a:cubicBezTo>
                  <a:cubicBezTo>
                    <a:pt x="92" y="40"/>
                    <a:pt x="92" y="40"/>
                    <a:pt x="92" y="40"/>
                  </a:cubicBezTo>
                  <a:cubicBezTo>
                    <a:pt x="92" y="40"/>
                    <a:pt x="91" y="40"/>
                    <a:pt x="90" y="40"/>
                  </a:cubicBezTo>
                  <a:cubicBezTo>
                    <a:pt x="87" y="40"/>
                    <a:pt x="85" y="40"/>
                    <a:pt x="84" y="38"/>
                  </a:cubicBezTo>
                  <a:cubicBezTo>
                    <a:pt x="83" y="38"/>
                    <a:pt x="82" y="38"/>
                    <a:pt x="82" y="37"/>
                  </a:cubicBezTo>
                  <a:cubicBezTo>
                    <a:pt x="81" y="37"/>
                    <a:pt x="80" y="37"/>
                    <a:pt x="79" y="36"/>
                  </a:cubicBezTo>
                  <a:cubicBezTo>
                    <a:pt x="79" y="36"/>
                    <a:pt x="78" y="35"/>
                    <a:pt x="78" y="35"/>
                  </a:cubicBezTo>
                  <a:cubicBezTo>
                    <a:pt x="72" y="35"/>
                    <a:pt x="72" y="35"/>
                    <a:pt x="72" y="35"/>
                  </a:cubicBezTo>
                  <a:cubicBezTo>
                    <a:pt x="67" y="35"/>
                    <a:pt x="62" y="35"/>
                    <a:pt x="57" y="36"/>
                  </a:cubicBezTo>
                  <a:cubicBezTo>
                    <a:pt x="56" y="36"/>
                    <a:pt x="56" y="36"/>
                    <a:pt x="55" y="36"/>
                  </a:cubicBezTo>
                  <a:cubicBezTo>
                    <a:pt x="54" y="36"/>
                    <a:pt x="53" y="36"/>
                    <a:pt x="52" y="36"/>
                  </a:cubicBezTo>
                  <a:cubicBezTo>
                    <a:pt x="52" y="36"/>
                    <a:pt x="52" y="36"/>
                    <a:pt x="51" y="36"/>
                  </a:cubicBezTo>
                  <a:cubicBezTo>
                    <a:pt x="51" y="36"/>
                    <a:pt x="50" y="36"/>
                    <a:pt x="50" y="36"/>
                  </a:cubicBezTo>
                  <a:cubicBezTo>
                    <a:pt x="49" y="37"/>
                    <a:pt x="49" y="37"/>
                    <a:pt x="49" y="37"/>
                  </a:cubicBezTo>
                  <a:cubicBezTo>
                    <a:pt x="49" y="38"/>
                    <a:pt x="49" y="38"/>
                    <a:pt x="49" y="39"/>
                  </a:cubicBezTo>
                  <a:cubicBezTo>
                    <a:pt x="48" y="40"/>
                    <a:pt x="48" y="40"/>
                    <a:pt x="48" y="40"/>
                  </a:cubicBezTo>
                  <a:cubicBezTo>
                    <a:pt x="47" y="43"/>
                    <a:pt x="48" y="46"/>
                    <a:pt x="48" y="50"/>
                  </a:cubicBezTo>
                  <a:cubicBezTo>
                    <a:pt x="48" y="51"/>
                    <a:pt x="48" y="51"/>
                    <a:pt x="48" y="51"/>
                  </a:cubicBezTo>
                  <a:cubicBezTo>
                    <a:pt x="49" y="51"/>
                    <a:pt x="49" y="51"/>
                    <a:pt x="49" y="51"/>
                  </a:cubicBezTo>
                  <a:cubicBezTo>
                    <a:pt x="51" y="50"/>
                    <a:pt x="54" y="49"/>
                    <a:pt x="57" y="48"/>
                  </a:cubicBezTo>
                  <a:cubicBezTo>
                    <a:pt x="58" y="48"/>
                    <a:pt x="60" y="47"/>
                    <a:pt x="61" y="47"/>
                  </a:cubicBezTo>
                  <a:cubicBezTo>
                    <a:pt x="62" y="47"/>
                    <a:pt x="62" y="47"/>
                    <a:pt x="62" y="47"/>
                  </a:cubicBezTo>
                  <a:cubicBezTo>
                    <a:pt x="62" y="48"/>
                    <a:pt x="62" y="48"/>
                    <a:pt x="62" y="48"/>
                  </a:cubicBezTo>
                  <a:cubicBezTo>
                    <a:pt x="62" y="47"/>
                    <a:pt x="62" y="47"/>
                    <a:pt x="62" y="47"/>
                  </a:cubicBezTo>
                  <a:cubicBezTo>
                    <a:pt x="63" y="47"/>
                    <a:pt x="65" y="48"/>
                    <a:pt x="66" y="48"/>
                  </a:cubicBezTo>
                  <a:cubicBezTo>
                    <a:pt x="67" y="48"/>
                    <a:pt x="67" y="48"/>
                    <a:pt x="67" y="48"/>
                  </a:cubicBezTo>
                  <a:cubicBezTo>
                    <a:pt x="68" y="48"/>
                    <a:pt x="68" y="48"/>
                    <a:pt x="68" y="48"/>
                  </a:cubicBezTo>
                  <a:cubicBezTo>
                    <a:pt x="68" y="48"/>
                    <a:pt x="68" y="48"/>
                    <a:pt x="68" y="48"/>
                  </a:cubicBezTo>
                  <a:cubicBezTo>
                    <a:pt x="70" y="48"/>
                    <a:pt x="72" y="48"/>
                    <a:pt x="73" y="51"/>
                  </a:cubicBezTo>
                  <a:cubicBezTo>
                    <a:pt x="77" y="59"/>
                    <a:pt x="77" y="59"/>
                    <a:pt x="77" y="59"/>
                  </a:cubicBezTo>
                  <a:cubicBezTo>
                    <a:pt x="77" y="60"/>
                    <a:pt x="77" y="61"/>
                    <a:pt x="78" y="61"/>
                  </a:cubicBezTo>
                  <a:cubicBezTo>
                    <a:pt x="78" y="64"/>
                    <a:pt x="78" y="65"/>
                    <a:pt x="77" y="66"/>
                  </a:cubicBezTo>
                  <a:cubicBezTo>
                    <a:pt x="76" y="70"/>
                    <a:pt x="74" y="71"/>
                    <a:pt x="72" y="72"/>
                  </a:cubicBezTo>
                  <a:cubicBezTo>
                    <a:pt x="70" y="74"/>
                    <a:pt x="70" y="74"/>
                    <a:pt x="70" y="74"/>
                  </a:cubicBezTo>
                  <a:cubicBezTo>
                    <a:pt x="69" y="75"/>
                    <a:pt x="69" y="77"/>
                    <a:pt x="68" y="79"/>
                  </a:cubicBezTo>
                  <a:cubicBezTo>
                    <a:pt x="68" y="79"/>
                    <a:pt x="68" y="79"/>
                    <a:pt x="68" y="79"/>
                  </a:cubicBezTo>
                  <a:cubicBezTo>
                    <a:pt x="68" y="80"/>
                    <a:pt x="68" y="80"/>
                    <a:pt x="67" y="80"/>
                  </a:cubicBezTo>
                  <a:cubicBezTo>
                    <a:pt x="67" y="82"/>
                    <a:pt x="67" y="82"/>
                    <a:pt x="67" y="82"/>
                  </a:cubicBezTo>
                  <a:cubicBezTo>
                    <a:pt x="66" y="83"/>
                    <a:pt x="65" y="86"/>
                    <a:pt x="65" y="88"/>
                  </a:cubicBezTo>
                  <a:cubicBezTo>
                    <a:pt x="65" y="88"/>
                    <a:pt x="65" y="88"/>
                    <a:pt x="65" y="88"/>
                  </a:cubicBezTo>
                  <a:cubicBezTo>
                    <a:pt x="65" y="89"/>
                    <a:pt x="68" y="90"/>
                    <a:pt x="70" y="90"/>
                  </a:cubicBezTo>
                  <a:cubicBezTo>
                    <a:pt x="74" y="92"/>
                    <a:pt x="79" y="94"/>
                    <a:pt x="80" y="98"/>
                  </a:cubicBezTo>
                  <a:cubicBezTo>
                    <a:pt x="80" y="99"/>
                    <a:pt x="79" y="101"/>
                    <a:pt x="79" y="103"/>
                  </a:cubicBezTo>
                  <a:cubicBezTo>
                    <a:pt x="79" y="104"/>
                    <a:pt x="79" y="104"/>
                    <a:pt x="79" y="104"/>
                  </a:cubicBezTo>
                  <a:cubicBezTo>
                    <a:pt x="78" y="105"/>
                    <a:pt x="78" y="106"/>
                    <a:pt x="78" y="106"/>
                  </a:cubicBezTo>
                  <a:cubicBezTo>
                    <a:pt x="78" y="107"/>
                    <a:pt x="78" y="107"/>
                    <a:pt x="78" y="107"/>
                  </a:cubicBezTo>
                  <a:cubicBezTo>
                    <a:pt x="78" y="107"/>
                    <a:pt x="78" y="108"/>
                    <a:pt x="78" y="109"/>
                  </a:cubicBezTo>
                  <a:cubicBezTo>
                    <a:pt x="78" y="109"/>
                    <a:pt x="78" y="109"/>
                    <a:pt x="78" y="109"/>
                  </a:cubicBezTo>
                  <a:cubicBezTo>
                    <a:pt x="79" y="110"/>
                    <a:pt x="79" y="111"/>
                    <a:pt x="79" y="112"/>
                  </a:cubicBezTo>
                  <a:cubicBezTo>
                    <a:pt x="79" y="112"/>
                    <a:pt x="79" y="113"/>
                    <a:pt x="79" y="113"/>
                  </a:cubicBezTo>
                  <a:cubicBezTo>
                    <a:pt x="79" y="114"/>
                    <a:pt x="79" y="114"/>
                    <a:pt x="79" y="114"/>
                  </a:cubicBezTo>
                  <a:cubicBezTo>
                    <a:pt x="79" y="115"/>
                    <a:pt x="79" y="116"/>
                    <a:pt x="79" y="117"/>
                  </a:cubicBezTo>
                  <a:cubicBezTo>
                    <a:pt x="79" y="119"/>
                    <a:pt x="79" y="120"/>
                    <a:pt x="78" y="121"/>
                  </a:cubicBezTo>
                  <a:cubicBezTo>
                    <a:pt x="78" y="122"/>
                    <a:pt x="78" y="122"/>
                    <a:pt x="78" y="122"/>
                  </a:cubicBezTo>
                  <a:cubicBezTo>
                    <a:pt x="78" y="123"/>
                    <a:pt x="78" y="124"/>
                    <a:pt x="78" y="125"/>
                  </a:cubicBezTo>
                  <a:cubicBezTo>
                    <a:pt x="77" y="128"/>
                    <a:pt x="76" y="131"/>
                    <a:pt x="74" y="134"/>
                  </a:cubicBezTo>
                  <a:cubicBezTo>
                    <a:pt x="71" y="142"/>
                    <a:pt x="71" y="142"/>
                    <a:pt x="71" y="142"/>
                  </a:cubicBezTo>
                  <a:cubicBezTo>
                    <a:pt x="69" y="144"/>
                    <a:pt x="68" y="145"/>
                    <a:pt x="66" y="145"/>
                  </a:cubicBezTo>
                  <a:cubicBezTo>
                    <a:pt x="66" y="145"/>
                    <a:pt x="65" y="145"/>
                    <a:pt x="65" y="145"/>
                  </a:cubicBezTo>
                  <a:cubicBezTo>
                    <a:pt x="64" y="145"/>
                    <a:pt x="64" y="145"/>
                    <a:pt x="63" y="145"/>
                  </a:cubicBezTo>
                  <a:cubicBezTo>
                    <a:pt x="62" y="144"/>
                    <a:pt x="59" y="144"/>
                    <a:pt x="59" y="142"/>
                  </a:cubicBezTo>
                  <a:cubicBezTo>
                    <a:pt x="58" y="140"/>
                    <a:pt x="58" y="140"/>
                    <a:pt x="58" y="140"/>
                  </a:cubicBezTo>
                  <a:cubicBezTo>
                    <a:pt x="59" y="139"/>
                    <a:pt x="59" y="139"/>
                    <a:pt x="59" y="139"/>
                  </a:cubicBezTo>
                  <a:cubicBezTo>
                    <a:pt x="59" y="139"/>
                    <a:pt x="59" y="139"/>
                    <a:pt x="59" y="139"/>
                  </a:cubicBezTo>
                  <a:cubicBezTo>
                    <a:pt x="58" y="140"/>
                    <a:pt x="58" y="140"/>
                    <a:pt x="57" y="140"/>
                  </a:cubicBezTo>
                  <a:cubicBezTo>
                    <a:pt x="55" y="142"/>
                    <a:pt x="52" y="142"/>
                    <a:pt x="49" y="142"/>
                  </a:cubicBezTo>
                  <a:cubicBezTo>
                    <a:pt x="48" y="142"/>
                    <a:pt x="47" y="142"/>
                    <a:pt x="46" y="142"/>
                  </a:cubicBezTo>
                  <a:cubicBezTo>
                    <a:pt x="45" y="142"/>
                    <a:pt x="45" y="142"/>
                    <a:pt x="45" y="142"/>
                  </a:cubicBezTo>
                  <a:cubicBezTo>
                    <a:pt x="45" y="142"/>
                    <a:pt x="44" y="142"/>
                    <a:pt x="44" y="142"/>
                  </a:cubicBezTo>
                  <a:cubicBezTo>
                    <a:pt x="43" y="142"/>
                    <a:pt x="43" y="142"/>
                    <a:pt x="43" y="142"/>
                  </a:cubicBezTo>
                  <a:cubicBezTo>
                    <a:pt x="42" y="142"/>
                    <a:pt x="42" y="142"/>
                    <a:pt x="42" y="142"/>
                  </a:cubicBezTo>
                  <a:cubicBezTo>
                    <a:pt x="38" y="142"/>
                    <a:pt x="37" y="137"/>
                    <a:pt x="35" y="134"/>
                  </a:cubicBezTo>
                  <a:cubicBezTo>
                    <a:pt x="36" y="133"/>
                    <a:pt x="36" y="133"/>
                    <a:pt x="36" y="133"/>
                  </a:cubicBezTo>
                  <a:cubicBezTo>
                    <a:pt x="35" y="134"/>
                    <a:pt x="35" y="134"/>
                    <a:pt x="35" y="134"/>
                  </a:cubicBezTo>
                  <a:cubicBezTo>
                    <a:pt x="35" y="133"/>
                    <a:pt x="34" y="131"/>
                    <a:pt x="34" y="131"/>
                  </a:cubicBezTo>
                  <a:cubicBezTo>
                    <a:pt x="33" y="131"/>
                    <a:pt x="33" y="131"/>
                    <a:pt x="33" y="131"/>
                  </a:cubicBezTo>
                  <a:cubicBezTo>
                    <a:pt x="33" y="131"/>
                    <a:pt x="32" y="130"/>
                    <a:pt x="31" y="130"/>
                  </a:cubicBezTo>
                  <a:cubicBezTo>
                    <a:pt x="31" y="130"/>
                    <a:pt x="31" y="130"/>
                    <a:pt x="31" y="130"/>
                  </a:cubicBezTo>
                  <a:cubicBezTo>
                    <a:pt x="30" y="131"/>
                    <a:pt x="30" y="131"/>
                    <a:pt x="30" y="131"/>
                  </a:cubicBezTo>
                  <a:cubicBezTo>
                    <a:pt x="30" y="136"/>
                    <a:pt x="29" y="139"/>
                    <a:pt x="27" y="140"/>
                  </a:cubicBezTo>
                  <a:cubicBezTo>
                    <a:pt x="26" y="140"/>
                    <a:pt x="25" y="140"/>
                    <a:pt x="25" y="141"/>
                  </a:cubicBezTo>
                  <a:cubicBezTo>
                    <a:pt x="24" y="141"/>
                    <a:pt x="24" y="141"/>
                    <a:pt x="24" y="141"/>
                  </a:cubicBezTo>
                  <a:cubicBezTo>
                    <a:pt x="21" y="142"/>
                    <a:pt x="19" y="142"/>
                    <a:pt x="18" y="142"/>
                  </a:cubicBezTo>
                  <a:cubicBezTo>
                    <a:pt x="17" y="142"/>
                    <a:pt x="17" y="142"/>
                    <a:pt x="17" y="142"/>
                  </a:cubicBezTo>
                  <a:cubicBezTo>
                    <a:pt x="16" y="142"/>
                    <a:pt x="16" y="142"/>
                    <a:pt x="16" y="142"/>
                  </a:cubicBezTo>
                  <a:cubicBezTo>
                    <a:pt x="16" y="142"/>
                    <a:pt x="16" y="142"/>
                    <a:pt x="16" y="142"/>
                  </a:cubicBezTo>
                  <a:cubicBezTo>
                    <a:pt x="16" y="142"/>
                    <a:pt x="16" y="142"/>
                    <a:pt x="16" y="142"/>
                  </a:cubicBezTo>
                  <a:cubicBezTo>
                    <a:pt x="15" y="142"/>
                    <a:pt x="15" y="142"/>
                    <a:pt x="15" y="142"/>
                  </a:cubicBezTo>
                  <a:cubicBezTo>
                    <a:pt x="14" y="142"/>
                    <a:pt x="13" y="143"/>
                    <a:pt x="12" y="143"/>
                  </a:cubicBezTo>
                  <a:cubicBezTo>
                    <a:pt x="12" y="143"/>
                    <a:pt x="11" y="143"/>
                    <a:pt x="11" y="143"/>
                  </a:cubicBezTo>
                  <a:cubicBezTo>
                    <a:pt x="11" y="143"/>
                    <a:pt x="12" y="144"/>
                    <a:pt x="12" y="145"/>
                  </a:cubicBezTo>
                  <a:cubicBezTo>
                    <a:pt x="12" y="145"/>
                    <a:pt x="11" y="146"/>
                    <a:pt x="11" y="146"/>
                  </a:cubicBezTo>
                  <a:cubicBezTo>
                    <a:pt x="11" y="147"/>
                    <a:pt x="11" y="147"/>
                    <a:pt x="11" y="148"/>
                  </a:cubicBezTo>
                  <a:cubicBezTo>
                    <a:pt x="10" y="149"/>
                    <a:pt x="10" y="149"/>
                    <a:pt x="10" y="149"/>
                  </a:cubicBezTo>
                  <a:cubicBezTo>
                    <a:pt x="12" y="150"/>
                    <a:pt x="12" y="150"/>
                    <a:pt x="12" y="150"/>
                  </a:cubicBezTo>
                  <a:cubicBezTo>
                    <a:pt x="13" y="151"/>
                    <a:pt x="14" y="151"/>
                    <a:pt x="15" y="153"/>
                  </a:cubicBezTo>
                  <a:cubicBezTo>
                    <a:pt x="17" y="155"/>
                    <a:pt x="17" y="155"/>
                    <a:pt x="17" y="155"/>
                  </a:cubicBezTo>
                  <a:cubicBezTo>
                    <a:pt x="15" y="157"/>
                    <a:pt x="15" y="157"/>
                    <a:pt x="15" y="157"/>
                  </a:cubicBezTo>
                  <a:cubicBezTo>
                    <a:pt x="14" y="157"/>
                    <a:pt x="14" y="157"/>
                    <a:pt x="14" y="157"/>
                  </a:cubicBezTo>
                  <a:cubicBezTo>
                    <a:pt x="15" y="157"/>
                    <a:pt x="15" y="157"/>
                    <a:pt x="15" y="157"/>
                  </a:cubicBezTo>
                  <a:cubicBezTo>
                    <a:pt x="15" y="157"/>
                    <a:pt x="15" y="157"/>
                    <a:pt x="15" y="157"/>
                  </a:cubicBezTo>
                  <a:cubicBezTo>
                    <a:pt x="17" y="158"/>
                    <a:pt x="17" y="159"/>
                    <a:pt x="18" y="159"/>
                  </a:cubicBezTo>
                  <a:cubicBezTo>
                    <a:pt x="19" y="160"/>
                    <a:pt x="19" y="160"/>
                    <a:pt x="19" y="160"/>
                  </a:cubicBezTo>
                  <a:cubicBezTo>
                    <a:pt x="19" y="161"/>
                    <a:pt x="20" y="161"/>
                    <a:pt x="20" y="162"/>
                  </a:cubicBezTo>
                  <a:cubicBezTo>
                    <a:pt x="20" y="164"/>
                    <a:pt x="20" y="164"/>
                    <a:pt x="20" y="164"/>
                  </a:cubicBezTo>
                  <a:cubicBezTo>
                    <a:pt x="18" y="165"/>
                    <a:pt x="18" y="165"/>
                    <a:pt x="18" y="165"/>
                  </a:cubicBezTo>
                  <a:cubicBezTo>
                    <a:pt x="18" y="165"/>
                    <a:pt x="18" y="165"/>
                    <a:pt x="18" y="165"/>
                  </a:cubicBezTo>
                  <a:cubicBezTo>
                    <a:pt x="18" y="165"/>
                    <a:pt x="18" y="165"/>
                    <a:pt x="18" y="165"/>
                  </a:cubicBezTo>
                  <a:cubicBezTo>
                    <a:pt x="18" y="166"/>
                    <a:pt x="18" y="166"/>
                    <a:pt x="18" y="166"/>
                  </a:cubicBezTo>
                  <a:cubicBezTo>
                    <a:pt x="18" y="166"/>
                    <a:pt x="18" y="166"/>
                    <a:pt x="18" y="166"/>
                  </a:cubicBezTo>
                  <a:cubicBezTo>
                    <a:pt x="18" y="167"/>
                    <a:pt x="18" y="168"/>
                    <a:pt x="18" y="169"/>
                  </a:cubicBezTo>
                  <a:cubicBezTo>
                    <a:pt x="18" y="170"/>
                    <a:pt x="18" y="170"/>
                    <a:pt x="18" y="170"/>
                  </a:cubicBezTo>
                  <a:cubicBezTo>
                    <a:pt x="18" y="171"/>
                    <a:pt x="18" y="171"/>
                    <a:pt x="18" y="171"/>
                  </a:cubicBezTo>
                  <a:cubicBezTo>
                    <a:pt x="17" y="172"/>
                    <a:pt x="16" y="173"/>
                    <a:pt x="15" y="173"/>
                  </a:cubicBezTo>
                  <a:cubicBezTo>
                    <a:pt x="15" y="173"/>
                    <a:pt x="15" y="173"/>
                    <a:pt x="14" y="173"/>
                  </a:cubicBezTo>
                  <a:cubicBezTo>
                    <a:pt x="12" y="173"/>
                    <a:pt x="11" y="172"/>
                    <a:pt x="9" y="172"/>
                  </a:cubicBezTo>
                  <a:cubicBezTo>
                    <a:pt x="9" y="171"/>
                    <a:pt x="9" y="171"/>
                    <a:pt x="9" y="171"/>
                  </a:cubicBezTo>
                  <a:cubicBezTo>
                    <a:pt x="9" y="171"/>
                    <a:pt x="8" y="171"/>
                    <a:pt x="8" y="171"/>
                  </a:cubicBezTo>
                  <a:cubicBezTo>
                    <a:pt x="7" y="170"/>
                    <a:pt x="7" y="170"/>
                    <a:pt x="6" y="169"/>
                  </a:cubicBezTo>
                  <a:cubicBezTo>
                    <a:pt x="6" y="170"/>
                    <a:pt x="6" y="170"/>
                    <a:pt x="6" y="170"/>
                  </a:cubicBezTo>
                  <a:cubicBezTo>
                    <a:pt x="5" y="170"/>
                    <a:pt x="5" y="170"/>
                    <a:pt x="5" y="170"/>
                  </a:cubicBezTo>
                  <a:cubicBezTo>
                    <a:pt x="4" y="171"/>
                    <a:pt x="4" y="171"/>
                    <a:pt x="4" y="171"/>
                  </a:cubicBezTo>
                  <a:cubicBezTo>
                    <a:pt x="3" y="171"/>
                    <a:pt x="2" y="172"/>
                    <a:pt x="2" y="172"/>
                  </a:cubicBezTo>
                  <a:cubicBezTo>
                    <a:pt x="1" y="173"/>
                    <a:pt x="1" y="175"/>
                    <a:pt x="0" y="177"/>
                  </a:cubicBezTo>
                  <a:cubicBezTo>
                    <a:pt x="0" y="178"/>
                    <a:pt x="0" y="178"/>
                    <a:pt x="0" y="178"/>
                  </a:cubicBezTo>
                  <a:cubicBezTo>
                    <a:pt x="1" y="179"/>
                    <a:pt x="1" y="179"/>
                    <a:pt x="1" y="179"/>
                  </a:cubicBezTo>
                  <a:cubicBezTo>
                    <a:pt x="4" y="181"/>
                    <a:pt x="6" y="185"/>
                    <a:pt x="9" y="187"/>
                  </a:cubicBezTo>
                  <a:cubicBezTo>
                    <a:pt x="13" y="191"/>
                    <a:pt x="15" y="195"/>
                    <a:pt x="17" y="199"/>
                  </a:cubicBezTo>
                  <a:cubicBezTo>
                    <a:pt x="18" y="198"/>
                    <a:pt x="18" y="198"/>
                    <a:pt x="18" y="198"/>
                  </a:cubicBezTo>
                  <a:cubicBezTo>
                    <a:pt x="19" y="197"/>
                    <a:pt x="20" y="196"/>
                    <a:pt x="21" y="195"/>
                  </a:cubicBezTo>
                  <a:cubicBezTo>
                    <a:pt x="22" y="194"/>
                    <a:pt x="22" y="194"/>
                    <a:pt x="22" y="194"/>
                  </a:cubicBezTo>
                  <a:cubicBezTo>
                    <a:pt x="24" y="193"/>
                    <a:pt x="25" y="192"/>
                    <a:pt x="27" y="191"/>
                  </a:cubicBezTo>
                  <a:cubicBezTo>
                    <a:pt x="28" y="191"/>
                    <a:pt x="28" y="191"/>
                    <a:pt x="28" y="191"/>
                  </a:cubicBezTo>
                  <a:cubicBezTo>
                    <a:pt x="29" y="190"/>
                    <a:pt x="31" y="188"/>
                    <a:pt x="33" y="186"/>
                  </a:cubicBezTo>
                  <a:cubicBezTo>
                    <a:pt x="30" y="183"/>
                    <a:pt x="30" y="183"/>
                    <a:pt x="30" y="183"/>
                  </a:cubicBezTo>
                  <a:cubicBezTo>
                    <a:pt x="34" y="185"/>
                    <a:pt x="34" y="185"/>
                    <a:pt x="34" y="185"/>
                  </a:cubicBezTo>
                  <a:cubicBezTo>
                    <a:pt x="35" y="183"/>
                    <a:pt x="35" y="183"/>
                    <a:pt x="35" y="183"/>
                  </a:cubicBezTo>
                  <a:cubicBezTo>
                    <a:pt x="40" y="187"/>
                    <a:pt x="40" y="187"/>
                    <a:pt x="40" y="187"/>
                  </a:cubicBezTo>
                  <a:cubicBezTo>
                    <a:pt x="42" y="188"/>
                    <a:pt x="43" y="188"/>
                    <a:pt x="44" y="189"/>
                  </a:cubicBezTo>
                  <a:cubicBezTo>
                    <a:pt x="48" y="192"/>
                    <a:pt x="48" y="192"/>
                    <a:pt x="48" y="192"/>
                  </a:cubicBezTo>
                  <a:cubicBezTo>
                    <a:pt x="48" y="192"/>
                    <a:pt x="48" y="192"/>
                    <a:pt x="49" y="193"/>
                  </a:cubicBezTo>
                  <a:cubicBezTo>
                    <a:pt x="49" y="193"/>
                    <a:pt x="49" y="193"/>
                    <a:pt x="49" y="193"/>
                  </a:cubicBezTo>
                  <a:cubicBezTo>
                    <a:pt x="49" y="193"/>
                    <a:pt x="49" y="193"/>
                    <a:pt x="49" y="193"/>
                  </a:cubicBezTo>
                  <a:cubicBezTo>
                    <a:pt x="50" y="194"/>
                    <a:pt x="50" y="194"/>
                    <a:pt x="50" y="194"/>
                  </a:cubicBezTo>
                  <a:cubicBezTo>
                    <a:pt x="50" y="194"/>
                    <a:pt x="51" y="195"/>
                    <a:pt x="51" y="195"/>
                  </a:cubicBezTo>
                  <a:cubicBezTo>
                    <a:pt x="52" y="194"/>
                    <a:pt x="52" y="194"/>
                    <a:pt x="52" y="194"/>
                  </a:cubicBezTo>
                  <a:cubicBezTo>
                    <a:pt x="53" y="194"/>
                    <a:pt x="54" y="192"/>
                    <a:pt x="55" y="190"/>
                  </a:cubicBezTo>
                  <a:cubicBezTo>
                    <a:pt x="55" y="190"/>
                    <a:pt x="55" y="190"/>
                    <a:pt x="55" y="190"/>
                  </a:cubicBezTo>
                  <a:cubicBezTo>
                    <a:pt x="55" y="189"/>
                    <a:pt x="55" y="189"/>
                    <a:pt x="55" y="189"/>
                  </a:cubicBezTo>
                  <a:cubicBezTo>
                    <a:pt x="55" y="186"/>
                    <a:pt x="55" y="186"/>
                    <a:pt x="55" y="186"/>
                  </a:cubicBezTo>
                  <a:cubicBezTo>
                    <a:pt x="58" y="185"/>
                    <a:pt x="58" y="185"/>
                    <a:pt x="58" y="185"/>
                  </a:cubicBezTo>
                  <a:cubicBezTo>
                    <a:pt x="59" y="185"/>
                    <a:pt x="60" y="186"/>
                    <a:pt x="60" y="186"/>
                  </a:cubicBezTo>
                  <a:cubicBezTo>
                    <a:pt x="61" y="186"/>
                    <a:pt x="61" y="186"/>
                    <a:pt x="62" y="186"/>
                  </a:cubicBezTo>
                  <a:cubicBezTo>
                    <a:pt x="62" y="186"/>
                    <a:pt x="63" y="186"/>
                    <a:pt x="64" y="185"/>
                  </a:cubicBezTo>
                  <a:cubicBezTo>
                    <a:pt x="64" y="185"/>
                    <a:pt x="65" y="184"/>
                    <a:pt x="65" y="184"/>
                  </a:cubicBezTo>
                  <a:cubicBezTo>
                    <a:pt x="66" y="184"/>
                    <a:pt x="68" y="184"/>
                    <a:pt x="68" y="184"/>
                  </a:cubicBezTo>
                  <a:cubicBezTo>
                    <a:pt x="69" y="184"/>
                    <a:pt x="69" y="183"/>
                    <a:pt x="70" y="183"/>
                  </a:cubicBezTo>
                  <a:cubicBezTo>
                    <a:pt x="71" y="182"/>
                    <a:pt x="72" y="182"/>
                    <a:pt x="73" y="181"/>
                  </a:cubicBezTo>
                  <a:cubicBezTo>
                    <a:pt x="77" y="180"/>
                    <a:pt x="77" y="180"/>
                    <a:pt x="77" y="180"/>
                  </a:cubicBezTo>
                  <a:cubicBezTo>
                    <a:pt x="77" y="184"/>
                    <a:pt x="77" y="184"/>
                    <a:pt x="77" y="184"/>
                  </a:cubicBezTo>
                  <a:cubicBezTo>
                    <a:pt x="77" y="185"/>
                    <a:pt x="77" y="186"/>
                    <a:pt x="77" y="189"/>
                  </a:cubicBezTo>
                  <a:cubicBezTo>
                    <a:pt x="77" y="190"/>
                    <a:pt x="77" y="190"/>
                    <a:pt x="77" y="190"/>
                  </a:cubicBezTo>
                  <a:cubicBezTo>
                    <a:pt x="77" y="192"/>
                    <a:pt x="77" y="194"/>
                    <a:pt x="77" y="196"/>
                  </a:cubicBezTo>
                  <a:cubicBezTo>
                    <a:pt x="77" y="196"/>
                    <a:pt x="77" y="196"/>
                    <a:pt x="77" y="196"/>
                  </a:cubicBezTo>
                  <a:cubicBezTo>
                    <a:pt x="78" y="196"/>
                    <a:pt x="78" y="196"/>
                    <a:pt x="78" y="196"/>
                  </a:cubicBezTo>
                  <a:cubicBezTo>
                    <a:pt x="78" y="196"/>
                    <a:pt x="79" y="196"/>
                    <a:pt x="80" y="196"/>
                  </a:cubicBezTo>
                  <a:cubicBezTo>
                    <a:pt x="80" y="196"/>
                    <a:pt x="80" y="196"/>
                    <a:pt x="80" y="196"/>
                  </a:cubicBezTo>
                  <a:cubicBezTo>
                    <a:pt x="81" y="196"/>
                    <a:pt x="83" y="194"/>
                    <a:pt x="83" y="193"/>
                  </a:cubicBezTo>
                  <a:cubicBezTo>
                    <a:pt x="84" y="193"/>
                    <a:pt x="84" y="193"/>
                    <a:pt x="84" y="193"/>
                  </a:cubicBezTo>
                  <a:cubicBezTo>
                    <a:pt x="87" y="189"/>
                    <a:pt x="90" y="185"/>
                    <a:pt x="94" y="182"/>
                  </a:cubicBezTo>
                  <a:cubicBezTo>
                    <a:pt x="95" y="182"/>
                    <a:pt x="97" y="181"/>
                    <a:pt x="98" y="180"/>
                  </a:cubicBezTo>
                  <a:cubicBezTo>
                    <a:pt x="102" y="178"/>
                    <a:pt x="106" y="176"/>
                    <a:pt x="107" y="173"/>
                  </a:cubicBezTo>
                  <a:cubicBezTo>
                    <a:pt x="109" y="171"/>
                    <a:pt x="110" y="169"/>
                    <a:pt x="111" y="166"/>
                  </a:cubicBezTo>
                  <a:cubicBezTo>
                    <a:pt x="113" y="164"/>
                    <a:pt x="113" y="164"/>
                    <a:pt x="113" y="164"/>
                  </a:cubicBezTo>
                  <a:cubicBezTo>
                    <a:pt x="113" y="163"/>
                    <a:pt x="113" y="163"/>
                    <a:pt x="113" y="162"/>
                  </a:cubicBezTo>
                  <a:cubicBezTo>
                    <a:pt x="114" y="161"/>
                    <a:pt x="114" y="161"/>
                    <a:pt x="114" y="161"/>
                  </a:cubicBezTo>
                  <a:cubicBezTo>
                    <a:pt x="114" y="161"/>
                    <a:pt x="114" y="161"/>
                    <a:pt x="114" y="160"/>
                  </a:cubicBezTo>
                  <a:cubicBezTo>
                    <a:pt x="114" y="160"/>
                    <a:pt x="114" y="159"/>
                    <a:pt x="114" y="158"/>
                  </a:cubicBezTo>
                  <a:cubicBezTo>
                    <a:pt x="114" y="158"/>
                    <a:pt x="114" y="158"/>
                    <a:pt x="114" y="158"/>
                  </a:cubicBezTo>
                  <a:cubicBezTo>
                    <a:pt x="114" y="158"/>
                    <a:pt x="114" y="158"/>
                    <a:pt x="114" y="158"/>
                  </a:cubicBezTo>
                  <a:cubicBezTo>
                    <a:pt x="114" y="156"/>
                    <a:pt x="114" y="156"/>
                    <a:pt x="114" y="156"/>
                  </a:cubicBezTo>
                  <a:cubicBezTo>
                    <a:pt x="110" y="156"/>
                    <a:pt x="110" y="156"/>
                    <a:pt x="110" y="156"/>
                  </a:cubicBezTo>
                  <a:cubicBezTo>
                    <a:pt x="113" y="155"/>
                    <a:pt x="113" y="155"/>
                    <a:pt x="113" y="155"/>
                  </a:cubicBezTo>
                  <a:cubicBezTo>
                    <a:pt x="113" y="154"/>
                    <a:pt x="113" y="154"/>
                    <a:pt x="113" y="154"/>
                  </a:cubicBezTo>
                  <a:cubicBezTo>
                    <a:pt x="113" y="153"/>
                    <a:pt x="113" y="152"/>
                    <a:pt x="113" y="150"/>
                  </a:cubicBezTo>
                  <a:cubicBezTo>
                    <a:pt x="113" y="148"/>
                    <a:pt x="113" y="145"/>
                    <a:pt x="113" y="142"/>
                  </a:cubicBezTo>
                  <a:cubicBezTo>
                    <a:pt x="113" y="138"/>
                    <a:pt x="113" y="138"/>
                    <a:pt x="113" y="138"/>
                  </a:cubicBezTo>
                  <a:cubicBezTo>
                    <a:pt x="113" y="137"/>
                    <a:pt x="113" y="136"/>
                    <a:pt x="113" y="135"/>
                  </a:cubicBezTo>
                  <a:cubicBezTo>
                    <a:pt x="114" y="134"/>
                    <a:pt x="114" y="133"/>
                    <a:pt x="115" y="133"/>
                  </a:cubicBezTo>
                  <a:cubicBezTo>
                    <a:pt x="115" y="132"/>
                    <a:pt x="115" y="132"/>
                    <a:pt x="116" y="131"/>
                  </a:cubicBezTo>
                  <a:cubicBezTo>
                    <a:pt x="120" y="128"/>
                    <a:pt x="122" y="124"/>
                    <a:pt x="125" y="120"/>
                  </a:cubicBezTo>
                  <a:cubicBezTo>
                    <a:pt x="126" y="118"/>
                    <a:pt x="126" y="116"/>
                    <a:pt x="127" y="115"/>
                  </a:cubicBezTo>
                  <a:cubicBezTo>
                    <a:pt x="128" y="114"/>
                    <a:pt x="128" y="113"/>
                    <a:pt x="129" y="112"/>
                  </a:cubicBezTo>
                  <a:cubicBezTo>
                    <a:pt x="129" y="112"/>
                    <a:pt x="129" y="112"/>
                    <a:pt x="130" y="111"/>
                  </a:cubicBezTo>
                  <a:cubicBezTo>
                    <a:pt x="130" y="111"/>
                    <a:pt x="131" y="110"/>
                    <a:pt x="132" y="109"/>
                  </a:cubicBezTo>
                  <a:cubicBezTo>
                    <a:pt x="134" y="108"/>
                    <a:pt x="135" y="107"/>
                    <a:pt x="137" y="106"/>
                  </a:cubicBezTo>
                  <a:cubicBezTo>
                    <a:pt x="138" y="105"/>
                    <a:pt x="138" y="105"/>
                    <a:pt x="138" y="105"/>
                  </a:cubicBezTo>
                  <a:cubicBezTo>
                    <a:pt x="139" y="104"/>
                    <a:pt x="140" y="104"/>
                    <a:pt x="141" y="103"/>
                  </a:cubicBezTo>
                  <a:cubicBezTo>
                    <a:pt x="142" y="102"/>
                    <a:pt x="142" y="102"/>
                    <a:pt x="142" y="102"/>
                  </a:cubicBezTo>
                  <a:cubicBezTo>
                    <a:pt x="143" y="102"/>
                    <a:pt x="143" y="102"/>
                    <a:pt x="144" y="101"/>
                  </a:cubicBezTo>
                  <a:cubicBezTo>
                    <a:pt x="145" y="101"/>
                    <a:pt x="146" y="100"/>
                    <a:pt x="146" y="99"/>
                  </a:cubicBezTo>
                  <a:cubicBezTo>
                    <a:pt x="154" y="76"/>
                    <a:pt x="154" y="76"/>
                    <a:pt x="154" y="76"/>
                  </a:cubicBezTo>
                  <a:cubicBezTo>
                    <a:pt x="154" y="75"/>
                    <a:pt x="154" y="74"/>
                    <a:pt x="154" y="73"/>
                  </a:cubicBezTo>
                  <a:cubicBezTo>
                    <a:pt x="154" y="72"/>
                    <a:pt x="154" y="71"/>
                    <a:pt x="153" y="69"/>
                  </a:cubicBezTo>
                  <a:cubicBezTo>
                    <a:pt x="153" y="68"/>
                    <a:pt x="153" y="67"/>
                    <a:pt x="153" y="65"/>
                  </a:cubicBezTo>
                  <a:cubicBezTo>
                    <a:pt x="153" y="64"/>
                    <a:pt x="153" y="64"/>
                    <a:pt x="153" y="64"/>
                  </a:cubicBezTo>
                  <a:cubicBezTo>
                    <a:pt x="153" y="63"/>
                    <a:pt x="153" y="62"/>
                    <a:pt x="153" y="61"/>
                  </a:cubicBezTo>
                  <a:cubicBezTo>
                    <a:pt x="153" y="60"/>
                    <a:pt x="153" y="58"/>
                    <a:pt x="153" y="56"/>
                  </a:cubicBezTo>
                  <a:cubicBezTo>
                    <a:pt x="154" y="53"/>
                    <a:pt x="155" y="50"/>
                    <a:pt x="156" y="47"/>
                  </a:cubicBezTo>
                  <a:cubicBezTo>
                    <a:pt x="156" y="45"/>
                    <a:pt x="156" y="45"/>
                    <a:pt x="156" y="45"/>
                  </a:cubicBezTo>
                  <a:cubicBezTo>
                    <a:pt x="157" y="43"/>
                    <a:pt x="157" y="41"/>
                    <a:pt x="158" y="39"/>
                  </a:cubicBezTo>
                  <a:cubicBezTo>
                    <a:pt x="158" y="38"/>
                    <a:pt x="158" y="37"/>
                    <a:pt x="158" y="36"/>
                  </a:cubicBezTo>
                  <a:cubicBezTo>
                    <a:pt x="158" y="35"/>
                    <a:pt x="158" y="35"/>
                    <a:pt x="158" y="34"/>
                  </a:cubicBezTo>
                  <a:cubicBezTo>
                    <a:pt x="158" y="30"/>
                    <a:pt x="160" y="27"/>
                    <a:pt x="161" y="24"/>
                  </a:cubicBezTo>
                  <a:cubicBezTo>
                    <a:pt x="161" y="24"/>
                    <a:pt x="161" y="24"/>
                    <a:pt x="161" y="24"/>
                  </a:cubicBezTo>
                  <a:cubicBezTo>
                    <a:pt x="156" y="21"/>
                    <a:pt x="156" y="21"/>
                    <a:pt x="156" y="21"/>
                  </a:cubicBezTo>
                  <a:cubicBezTo>
                    <a:pt x="162" y="23"/>
                    <a:pt x="162" y="23"/>
                    <a:pt x="162" y="23"/>
                  </a:cubicBezTo>
                  <a:cubicBezTo>
                    <a:pt x="162" y="23"/>
                    <a:pt x="162" y="23"/>
                    <a:pt x="162" y="23"/>
                  </a:cubicBezTo>
                  <a:cubicBezTo>
                    <a:pt x="163" y="21"/>
                    <a:pt x="164" y="20"/>
                    <a:pt x="165" y="18"/>
                  </a:cubicBezTo>
                  <a:cubicBezTo>
                    <a:pt x="169" y="12"/>
                    <a:pt x="173" y="6"/>
                    <a:pt x="169" y="1"/>
                  </a:cubicBezTo>
                  <a:cubicBezTo>
                    <a:pt x="168" y="2"/>
                    <a:pt x="167" y="2"/>
                    <a:pt x="166" y="2"/>
                  </a:cubicBezTo>
                  <a:cubicBezTo>
                    <a:pt x="163" y="2"/>
                    <a:pt x="160" y="1"/>
                    <a:pt x="157" y="1"/>
                  </a:cubicBezTo>
                  <a:cubicBezTo>
                    <a:pt x="156" y="1"/>
                    <a:pt x="156" y="1"/>
                    <a:pt x="156" y="1"/>
                  </a:cubicBezTo>
                  <a:cubicBezTo>
                    <a:pt x="155" y="0"/>
                    <a:pt x="154" y="0"/>
                    <a:pt x="154" y="0"/>
                  </a:cubicBezTo>
                  <a:cubicBezTo>
                    <a:pt x="152" y="0"/>
                    <a:pt x="151" y="0"/>
                    <a:pt x="1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19"/>
            <p:cNvSpPr/>
            <p:nvPr/>
          </p:nvSpPr>
          <p:spPr bwMode="auto">
            <a:xfrm>
              <a:off x="4313" y="3086"/>
              <a:ext cx="681" cy="671"/>
            </a:xfrm>
            <a:custGeom>
              <a:gdLst>
                <a:gd name="T0" fmla="*/ 16 w 288"/>
                <a:gd name="T1" fmla="*/ 4 h 284"/>
                <a:gd name="T2" fmla="*/ 32 w 288"/>
                <a:gd name="T3" fmla="*/ 41 h 284"/>
                <a:gd name="T4" fmla="*/ 34 w 288"/>
                <a:gd name="T5" fmla="*/ 80 h 284"/>
                <a:gd name="T6" fmla="*/ 42 w 288"/>
                <a:gd name="T7" fmla="*/ 152 h 284"/>
                <a:gd name="T8" fmla="*/ 11 w 288"/>
                <a:gd name="T9" fmla="*/ 213 h 284"/>
                <a:gd name="T10" fmla="*/ 1 w 288"/>
                <a:gd name="T11" fmla="*/ 267 h 284"/>
                <a:gd name="T12" fmla="*/ 18 w 288"/>
                <a:gd name="T13" fmla="*/ 266 h 284"/>
                <a:gd name="T14" fmla="*/ 30 w 288"/>
                <a:gd name="T15" fmla="*/ 261 h 284"/>
                <a:gd name="T16" fmla="*/ 36 w 288"/>
                <a:gd name="T17" fmla="*/ 260 h 284"/>
                <a:gd name="T18" fmla="*/ 46 w 288"/>
                <a:gd name="T19" fmla="*/ 265 h 284"/>
                <a:gd name="T20" fmla="*/ 50 w 288"/>
                <a:gd name="T21" fmla="*/ 268 h 284"/>
                <a:gd name="T22" fmla="*/ 59 w 288"/>
                <a:gd name="T23" fmla="*/ 270 h 284"/>
                <a:gd name="T24" fmla="*/ 88 w 288"/>
                <a:gd name="T25" fmla="*/ 270 h 284"/>
                <a:gd name="T26" fmla="*/ 147 w 288"/>
                <a:gd name="T27" fmla="*/ 270 h 284"/>
                <a:gd name="T28" fmla="*/ 162 w 288"/>
                <a:gd name="T29" fmla="*/ 272 h 284"/>
                <a:gd name="T30" fmla="*/ 174 w 288"/>
                <a:gd name="T31" fmla="*/ 280 h 284"/>
                <a:gd name="T32" fmla="*/ 185 w 288"/>
                <a:gd name="T33" fmla="*/ 281 h 284"/>
                <a:gd name="T34" fmla="*/ 201 w 288"/>
                <a:gd name="T35" fmla="*/ 282 h 284"/>
                <a:gd name="T36" fmla="*/ 270 w 288"/>
                <a:gd name="T37" fmla="*/ 277 h 284"/>
                <a:gd name="T38" fmla="*/ 239 w 288"/>
                <a:gd name="T39" fmla="*/ 243 h 284"/>
                <a:gd name="T40" fmla="*/ 239 w 288"/>
                <a:gd name="T41" fmla="*/ 171 h 284"/>
                <a:gd name="T42" fmla="*/ 250 w 288"/>
                <a:gd name="T43" fmla="*/ 163 h 284"/>
                <a:gd name="T44" fmla="*/ 284 w 288"/>
                <a:gd name="T45" fmla="*/ 164 h 284"/>
                <a:gd name="T46" fmla="*/ 287 w 288"/>
                <a:gd name="T47" fmla="*/ 153 h 284"/>
                <a:gd name="T48" fmla="*/ 286 w 288"/>
                <a:gd name="T49" fmla="*/ 122 h 284"/>
                <a:gd name="T50" fmla="*/ 276 w 288"/>
                <a:gd name="T51" fmla="*/ 123 h 284"/>
                <a:gd name="T52" fmla="*/ 245 w 288"/>
                <a:gd name="T53" fmla="*/ 125 h 284"/>
                <a:gd name="T54" fmla="*/ 245 w 288"/>
                <a:gd name="T55" fmla="*/ 112 h 284"/>
                <a:gd name="T56" fmla="*/ 246 w 288"/>
                <a:gd name="T57" fmla="*/ 110 h 284"/>
                <a:gd name="T58" fmla="*/ 243 w 288"/>
                <a:gd name="T59" fmla="*/ 96 h 284"/>
                <a:gd name="T60" fmla="*/ 235 w 288"/>
                <a:gd name="T61" fmla="*/ 84 h 284"/>
                <a:gd name="T62" fmla="*/ 235 w 288"/>
                <a:gd name="T63" fmla="*/ 75 h 284"/>
                <a:gd name="T64" fmla="*/ 237 w 288"/>
                <a:gd name="T65" fmla="*/ 61 h 284"/>
                <a:gd name="T66" fmla="*/ 235 w 288"/>
                <a:gd name="T67" fmla="*/ 34 h 284"/>
                <a:gd name="T68" fmla="*/ 219 w 288"/>
                <a:gd name="T69" fmla="*/ 34 h 284"/>
                <a:gd name="T70" fmla="*/ 205 w 288"/>
                <a:gd name="T71" fmla="*/ 31 h 284"/>
                <a:gd name="T72" fmla="*/ 205 w 288"/>
                <a:gd name="T73" fmla="*/ 25 h 284"/>
                <a:gd name="T74" fmla="*/ 197 w 288"/>
                <a:gd name="T75" fmla="*/ 27 h 284"/>
                <a:gd name="T76" fmla="*/ 192 w 288"/>
                <a:gd name="T77" fmla="*/ 28 h 284"/>
                <a:gd name="T78" fmla="*/ 187 w 288"/>
                <a:gd name="T79" fmla="*/ 28 h 284"/>
                <a:gd name="T80" fmla="*/ 184 w 288"/>
                <a:gd name="T81" fmla="*/ 44 h 284"/>
                <a:gd name="T82" fmla="*/ 163 w 288"/>
                <a:gd name="T83" fmla="*/ 50 h 284"/>
                <a:gd name="T84" fmla="*/ 154 w 288"/>
                <a:gd name="T85" fmla="*/ 51 h 284"/>
                <a:gd name="T86" fmla="*/ 142 w 288"/>
                <a:gd name="T87" fmla="*/ 53 h 284"/>
                <a:gd name="T88" fmla="*/ 126 w 288"/>
                <a:gd name="T89" fmla="*/ 38 h 284"/>
                <a:gd name="T90" fmla="*/ 109 w 288"/>
                <a:gd name="T91" fmla="*/ 1 h 284"/>
                <a:gd name="T92" fmla="*/ 99 w 288"/>
                <a:gd name="T93" fmla="*/ 0 h 284"/>
                <a:gd name="T94" fmla="*/ 56 w 288"/>
                <a:gd name="T95" fmla="*/ 1 h 284"/>
                <a:gd name="T96" fmla="*/ 41 w 288"/>
                <a:gd name="T97" fmla="*/ 0 h 2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84">
                  <a:moveTo>
                    <a:pt x="29" y="0"/>
                  </a:moveTo>
                  <a:cubicBezTo>
                    <a:pt x="27" y="0"/>
                    <a:pt x="26" y="0"/>
                    <a:pt x="24" y="1"/>
                  </a:cubicBezTo>
                  <a:cubicBezTo>
                    <a:pt x="22" y="3"/>
                    <a:pt x="19" y="4"/>
                    <a:pt x="17" y="4"/>
                  </a:cubicBezTo>
                  <a:cubicBezTo>
                    <a:pt x="16" y="4"/>
                    <a:pt x="16" y="4"/>
                    <a:pt x="16" y="4"/>
                  </a:cubicBezTo>
                  <a:cubicBezTo>
                    <a:pt x="13" y="4"/>
                    <a:pt x="13" y="4"/>
                    <a:pt x="13" y="4"/>
                  </a:cubicBezTo>
                  <a:cubicBezTo>
                    <a:pt x="15" y="7"/>
                    <a:pt x="16" y="10"/>
                    <a:pt x="18" y="13"/>
                  </a:cubicBezTo>
                  <a:cubicBezTo>
                    <a:pt x="19" y="15"/>
                    <a:pt x="21" y="17"/>
                    <a:pt x="23" y="20"/>
                  </a:cubicBezTo>
                  <a:cubicBezTo>
                    <a:pt x="27" y="27"/>
                    <a:pt x="29" y="34"/>
                    <a:pt x="32" y="41"/>
                  </a:cubicBezTo>
                  <a:cubicBezTo>
                    <a:pt x="34" y="46"/>
                    <a:pt x="39" y="52"/>
                    <a:pt x="39" y="58"/>
                  </a:cubicBezTo>
                  <a:cubicBezTo>
                    <a:pt x="39" y="61"/>
                    <a:pt x="39" y="65"/>
                    <a:pt x="37" y="67"/>
                  </a:cubicBezTo>
                  <a:cubicBezTo>
                    <a:pt x="35" y="69"/>
                    <a:pt x="32" y="71"/>
                    <a:pt x="30" y="73"/>
                  </a:cubicBezTo>
                  <a:cubicBezTo>
                    <a:pt x="29" y="75"/>
                    <a:pt x="33" y="79"/>
                    <a:pt x="34" y="80"/>
                  </a:cubicBezTo>
                  <a:cubicBezTo>
                    <a:pt x="36" y="87"/>
                    <a:pt x="39" y="95"/>
                    <a:pt x="42" y="101"/>
                  </a:cubicBezTo>
                  <a:cubicBezTo>
                    <a:pt x="44" y="107"/>
                    <a:pt x="49" y="112"/>
                    <a:pt x="49" y="118"/>
                  </a:cubicBezTo>
                  <a:cubicBezTo>
                    <a:pt x="49" y="125"/>
                    <a:pt x="50" y="133"/>
                    <a:pt x="48" y="139"/>
                  </a:cubicBezTo>
                  <a:cubicBezTo>
                    <a:pt x="46" y="144"/>
                    <a:pt x="44" y="148"/>
                    <a:pt x="42" y="152"/>
                  </a:cubicBezTo>
                  <a:cubicBezTo>
                    <a:pt x="41" y="156"/>
                    <a:pt x="40" y="156"/>
                    <a:pt x="37" y="157"/>
                  </a:cubicBezTo>
                  <a:cubicBezTo>
                    <a:pt x="31" y="159"/>
                    <a:pt x="26" y="166"/>
                    <a:pt x="23" y="171"/>
                  </a:cubicBezTo>
                  <a:cubicBezTo>
                    <a:pt x="20" y="176"/>
                    <a:pt x="19" y="180"/>
                    <a:pt x="18" y="185"/>
                  </a:cubicBezTo>
                  <a:cubicBezTo>
                    <a:pt x="16" y="194"/>
                    <a:pt x="13" y="203"/>
                    <a:pt x="11" y="213"/>
                  </a:cubicBezTo>
                  <a:cubicBezTo>
                    <a:pt x="10" y="217"/>
                    <a:pt x="9" y="225"/>
                    <a:pt x="6" y="229"/>
                  </a:cubicBezTo>
                  <a:cubicBezTo>
                    <a:pt x="5" y="231"/>
                    <a:pt x="1" y="234"/>
                    <a:pt x="0" y="236"/>
                  </a:cubicBezTo>
                  <a:cubicBezTo>
                    <a:pt x="0" y="237"/>
                    <a:pt x="2" y="238"/>
                    <a:pt x="2" y="239"/>
                  </a:cubicBezTo>
                  <a:cubicBezTo>
                    <a:pt x="2" y="248"/>
                    <a:pt x="1" y="257"/>
                    <a:pt x="1" y="267"/>
                  </a:cubicBezTo>
                  <a:cubicBezTo>
                    <a:pt x="2" y="267"/>
                    <a:pt x="2" y="267"/>
                    <a:pt x="3" y="267"/>
                  </a:cubicBezTo>
                  <a:cubicBezTo>
                    <a:pt x="5" y="267"/>
                    <a:pt x="6" y="267"/>
                    <a:pt x="7" y="267"/>
                  </a:cubicBezTo>
                  <a:cubicBezTo>
                    <a:pt x="9" y="267"/>
                    <a:pt x="11" y="267"/>
                    <a:pt x="12" y="267"/>
                  </a:cubicBezTo>
                  <a:cubicBezTo>
                    <a:pt x="14" y="267"/>
                    <a:pt x="16" y="267"/>
                    <a:pt x="18" y="266"/>
                  </a:cubicBezTo>
                  <a:cubicBezTo>
                    <a:pt x="20" y="266"/>
                    <a:pt x="22" y="265"/>
                    <a:pt x="24" y="264"/>
                  </a:cubicBezTo>
                  <a:cubicBezTo>
                    <a:pt x="25" y="263"/>
                    <a:pt x="26" y="262"/>
                    <a:pt x="27" y="262"/>
                  </a:cubicBezTo>
                  <a:cubicBezTo>
                    <a:pt x="28" y="261"/>
                    <a:pt x="29" y="261"/>
                    <a:pt x="30" y="261"/>
                  </a:cubicBezTo>
                  <a:cubicBezTo>
                    <a:pt x="30" y="261"/>
                    <a:pt x="30" y="261"/>
                    <a:pt x="30" y="261"/>
                  </a:cubicBezTo>
                  <a:cubicBezTo>
                    <a:pt x="30" y="256"/>
                    <a:pt x="30" y="256"/>
                    <a:pt x="30" y="256"/>
                  </a:cubicBezTo>
                  <a:cubicBezTo>
                    <a:pt x="32" y="260"/>
                    <a:pt x="32" y="260"/>
                    <a:pt x="32" y="260"/>
                  </a:cubicBezTo>
                  <a:cubicBezTo>
                    <a:pt x="32" y="260"/>
                    <a:pt x="32" y="260"/>
                    <a:pt x="32" y="260"/>
                  </a:cubicBezTo>
                  <a:cubicBezTo>
                    <a:pt x="33" y="260"/>
                    <a:pt x="35" y="260"/>
                    <a:pt x="36" y="260"/>
                  </a:cubicBezTo>
                  <a:cubicBezTo>
                    <a:pt x="39" y="260"/>
                    <a:pt x="39" y="260"/>
                    <a:pt x="39" y="260"/>
                  </a:cubicBezTo>
                  <a:cubicBezTo>
                    <a:pt x="40" y="260"/>
                    <a:pt x="40" y="260"/>
                    <a:pt x="40" y="260"/>
                  </a:cubicBezTo>
                  <a:cubicBezTo>
                    <a:pt x="42" y="261"/>
                    <a:pt x="44" y="263"/>
                    <a:pt x="46" y="265"/>
                  </a:cubicBezTo>
                  <a:cubicBezTo>
                    <a:pt x="46" y="265"/>
                    <a:pt x="46" y="265"/>
                    <a:pt x="46" y="265"/>
                  </a:cubicBezTo>
                  <a:cubicBezTo>
                    <a:pt x="47" y="265"/>
                    <a:pt x="47" y="266"/>
                    <a:pt x="48" y="266"/>
                  </a:cubicBezTo>
                  <a:cubicBezTo>
                    <a:pt x="49" y="267"/>
                    <a:pt x="49" y="267"/>
                    <a:pt x="49" y="267"/>
                  </a:cubicBezTo>
                  <a:cubicBezTo>
                    <a:pt x="49" y="267"/>
                    <a:pt x="49" y="267"/>
                    <a:pt x="50" y="268"/>
                  </a:cubicBezTo>
                  <a:cubicBezTo>
                    <a:pt x="50" y="268"/>
                    <a:pt x="50" y="268"/>
                    <a:pt x="50" y="268"/>
                  </a:cubicBezTo>
                  <a:cubicBezTo>
                    <a:pt x="51" y="269"/>
                    <a:pt x="53" y="270"/>
                    <a:pt x="54" y="271"/>
                  </a:cubicBezTo>
                  <a:cubicBezTo>
                    <a:pt x="54" y="271"/>
                    <a:pt x="54" y="271"/>
                    <a:pt x="54" y="271"/>
                  </a:cubicBezTo>
                  <a:cubicBezTo>
                    <a:pt x="54" y="271"/>
                    <a:pt x="55" y="270"/>
                    <a:pt x="55" y="270"/>
                  </a:cubicBezTo>
                  <a:cubicBezTo>
                    <a:pt x="57" y="270"/>
                    <a:pt x="58" y="270"/>
                    <a:pt x="59" y="270"/>
                  </a:cubicBezTo>
                  <a:cubicBezTo>
                    <a:pt x="59" y="270"/>
                    <a:pt x="59" y="270"/>
                    <a:pt x="59" y="270"/>
                  </a:cubicBezTo>
                  <a:cubicBezTo>
                    <a:pt x="60" y="270"/>
                    <a:pt x="62" y="270"/>
                    <a:pt x="63" y="270"/>
                  </a:cubicBezTo>
                  <a:cubicBezTo>
                    <a:pt x="70" y="270"/>
                    <a:pt x="70" y="270"/>
                    <a:pt x="70" y="270"/>
                  </a:cubicBezTo>
                  <a:cubicBezTo>
                    <a:pt x="76" y="270"/>
                    <a:pt x="82" y="270"/>
                    <a:pt x="88" y="270"/>
                  </a:cubicBezTo>
                  <a:cubicBezTo>
                    <a:pt x="99" y="270"/>
                    <a:pt x="99" y="270"/>
                    <a:pt x="99" y="270"/>
                  </a:cubicBezTo>
                  <a:cubicBezTo>
                    <a:pt x="103" y="270"/>
                    <a:pt x="108" y="270"/>
                    <a:pt x="113" y="270"/>
                  </a:cubicBezTo>
                  <a:cubicBezTo>
                    <a:pt x="123" y="270"/>
                    <a:pt x="133" y="270"/>
                    <a:pt x="144" y="270"/>
                  </a:cubicBezTo>
                  <a:cubicBezTo>
                    <a:pt x="145" y="270"/>
                    <a:pt x="146" y="270"/>
                    <a:pt x="147" y="270"/>
                  </a:cubicBezTo>
                  <a:cubicBezTo>
                    <a:pt x="147" y="270"/>
                    <a:pt x="147" y="270"/>
                    <a:pt x="147" y="270"/>
                  </a:cubicBezTo>
                  <a:cubicBezTo>
                    <a:pt x="149" y="269"/>
                    <a:pt x="151" y="269"/>
                    <a:pt x="153" y="269"/>
                  </a:cubicBezTo>
                  <a:cubicBezTo>
                    <a:pt x="156" y="269"/>
                    <a:pt x="158" y="270"/>
                    <a:pt x="160" y="271"/>
                  </a:cubicBezTo>
                  <a:cubicBezTo>
                    <a:pt x="161" y="271"/>
                    <a:pt x="161" y="272"/>
                    <a:pt x="162" y="272"/>
                  </a:cubicBezTo>
                  <a:cubicBezTo>
                    <a:pt x="162" y="272"/>
                    <a:pt x="163" y="273"/>
                    <a:pt x="163" y="274"/>
                  </a:cubicBezTo>
                  <a:cubicBezTo>
                    <a:pt x="163" y="274"/>
                    <a:pt x="164" y="275"/>
                    <a:pt x="164" y="275"/>
                  </a:cubicBezTo>
                  <a:cubicBezTo>
                    <a:pt x="166" y="277"/>
                    <a:pt x="167" y="278"/>
                    <a:pt x="169" y="279"/>
                  </a:cubicBezTo>
                  <a:cubicBezTo>
                    <a:pt x="171" y="280"/>
                    <a:pt x="172" y="280"/>
                    <a:pt x="174" y="280"/>
                  </a:cubicBezTo>
                  <a:cubicBezTo>
                    <a:pt x="176" y="280"/>
                    <a:pt x="176" y="280"/>
                    <a:pt x="176" y="280"/>
                  </a:cubicBezTo>
                  <a:cubicBezTo>
                    <a:pt x="177" y="280"/>
                    <a:pt x="177" y="280"/>
                    <a:pt x="177" y="280"/>
                  </a:cubicBezTo>
                  <a:cubicBezTo>
                    <a:pt x="181" y="281"/>
                    <a:pt x="181" y="281"/>
                    <a:pt x="181" y="281"/>
                  </a:cubicBezTo>
                  <a:cubicBezTo>
                    <a:pt x="182" y="281"/>
                    <a:pt x="183" y="281"/>
                    <a:pt x="185" y="281"/>
                  </a:cubicBezTo>
                  <a:cubicBezTo>
                    <a:pt x="186" y="281"/>
                    <a:pt x="187" y="281"/>
                    <a:pt x="188" y="281"/>
                  </a:cubicBezTo>
                  <a:cubicBezTo>
                    <a:pt x="191" y="281"/>
                    <a:pt x="191" y="281"/>
                    <a:pt x="191" y="281"/>
                  </a:cubicBezTo>
                  <a:cubicBezTo>
                    <a:pt x="192" y="281"/>
                    <a:pt x="193" y="281"/>
                    <a:pt x="194" y="281"/>
                  </a:cubicBezTo>
                  <a:cubicBezTo>
                    <a:pt x="201" y="282"/>
                    <a:pt x="201" y="282"/>
                    <a:pt x="201" y="282"/>
                  </a:cubicBezTo>
                  <a:cubicBezTo>
                    <a:pt x="209" y="283"/>
                    <a:pt x="217" y="284"/>
                    <a:pt x="226" y="284"/>
                  </a:cubicBezTo>
                  <a:cubicBezTo>
                    <a:pt x="229" y="284"/>
                    <a:pt x="232" y="284"/>
                    <a:pt x="236" y="283"/>
                  </a:cubicBezTo>
                  <a:cubicBezTo>
                    <a:pt x="270" y="277"/>
                    <a:pt x="270" y="277"/>
                    <a:pt x="270" y="277"/>
                  </a:cubicBezTo>
                  <a:cubicBezTo>
                    <a:pt x="270" y="277"/>
                    <a:pt x="270" y="277"/>
                    <a:pt x="270" y="277"/>
                  </a:cubicBezTo>
                  <a:cubicBezTo>
                    <a:pt x="245" y="255"/>
                    <a:pt x="245" y="255"/>
                    <a:pt x="245" y="255"/>
                  </a:cubicBezTo>
                  <a:cubicBezTo>
                    <a:pt x="242" y="252"/>
                    <a:pt x="241" y="249"/>
                    <a:pt x="240" y="245"/>
                  </a:cubicBezTo>
                  <a:cubicBezTo>
                    <a:pt x="236" y="245"/>
                    <a:pt x="236" y="245"/>
                    <a:pt x="236" y="245"/>
                  </a:cubicBezTo>
                  <a:cubicBezTo>
                    <a:pt x="239" y="243"/>
                    <a:pt x="239" y="243"/>
                    <a:pt x="239" y="243"/>
                  </a:cubicBezTo>
                  <a:cubicBezTo>
                    <a:pt x="239" y="242"/>
                    <a:pt x="239" y="242"/>
                    <a:pt x="239" y="242"/>
                  </a:cubicBezTo>
                  <a:cubicBezTo>
                    <a:pt x="239" y="239"/>
                    <a:pt x="239" y="237"/>
                    <a:pt x="239" y="234"/>
                  </a:cubicBezTo>
                  <a:cubicBezTo>
                    <a:pt x="239" y="232"/>
                    <a:pt x="239" y="232"/>
                    <a:pt x="239" y="232"/>
                  </a:cubicBezTo>
                  <a:cubicBezTo>
                    <a:pt x="239" y="171"/>
                    <a:pt x="239" y="171"/>
                    <a:pt x="239" y="171"/>
                  </a:cubicBezTo>
                  <a:cubicBezTo>
                    <a:pt x="239" y="170"/>
                    <a:pt x="239" y="169"/>
                    <a:pt x="239" y="169"/>
                  </a:cubicBezTo>
                  <a:cubicBezTo>
                    <a:pt x="239" y="168"/>
                    <a:pt x="239" y="167"/>
                    <a:pt x="240" y="166"/>
                  </a:cubicBezTo>
                  <a:cubicBezTo>
                    <a:pt x="241" y="164"/>
                    <a:pt x="243" y="164"/>
                    <a:pt x="246" y="164"/>
                  </a:cubicBezTo>
                  <a:cubicBezTo>
                    <a:pt x="247" y="164"/>
                    <a:pt x="249" y="163"/>
                    <a:pt x="250" y="163"/>
                  </a:cubicBezTo>
                  <a:cubicBezTo>
                    <a:pt x="254" y="163"/>
                    <a:pt x="258" y="164"/>
                    <a:pt x="261" y="164"/>
                  </a:cubicBezTo>
                  <a:cubicBezTo>
                    <a:pt x="262" y="164"/>
                    <a:pt x="262" y="164"/>
                    <a:pt x="262" y="164"/>
                  </a:cubicBezTo>
                  <a:cubicBezTo>
                    <a:pt x="263" y="164"/>
                    <a:pt x="264" y="164"/>
                    <a:pt x="265" y="164"/>
                  </a:cubicBezTo>
                  <a:cubicBezTo>
                    <a:pt x="284" y="164"/>
                    <a:pt x="284" y="164"/>
                    <a:pt x="284" y="164"/>
                  </a:cubicBezTo>
                  <a:cubicBezTo>
                    <a:pt x="284" y="163"/>
                    <a:pt x="283" y="162"/>
                    <a:pt x="284" y="160"/>
                  </a:cubicBezTo>
                  <a:cubicBezTo>
                    <a:pt x="284" y="159"/>
                    <a:pt x="284" y="159"/>
                    <a:pt x="284" y="159"/>
                  </a:cubicBezTo>
                  <a:cubicBezTo>
                    <a:pt x="285" y="158"/>
                    <a:pt x="285" y="156"/>
                    <a:pt x="286" y="155"/>
                  </a:cubicBezTo>
                  <a:cubicBezTo>
                    <a:pt x="286" y="154"/>
                    <a:pt x="287" y="154"/>
                    <a:pt x="287" y="153"/>
                  </a:cubicBezTo>
                  <a:cubicBezTo>
                    <a:pt x="287" y="153"/>
                    <a:pt x="287" y="152"/>
                    <a:pt x="287" y="152"/>
                  </a:cubicBezTo>
                  <a:cubicBezTo>
                    <a:pt x="288" y="149"/>
                    <a:pt x="287" y="145"/>
                    <a:pt x="287" y="141"/>
                  </a:cubicBezTo>
                  <a:cubicBezTo>
                    <a:pt x="287" y="140"/>
                    <a:pt x="287" y="138"/>
                    <a:pt x="287" y="136"/>
                  </a:cubicBezTo>
                  <a:cubicBezTo>
                    <a:pt x="286" y="122"/>
                    <a:pt x="286" y="122"/>
                    <a:pt x="286" y="122"/>
                  </a:cubicBezTo>
                  <a:cubicBezTo>
                    <a:pt x="285" y="122"/>
                    <a:pt x="285" y="122"/>
                    <a:pt x="285" y="122"/>
                  </a:cubicBezTo>
                  <a:cubicBezTo>
                    <a:pt x="283" y="123"/>
                    <a:pt x="281" y="123"/>
                    <a:pt x="279" y="123"/>
                  </a:cubicBezTo>
                  <a:cubicBezTo>
                    <a:pt x="278" y="123"/>
                    <a:pt x="278" y="123"/>
                    <a:pt x="278" y="123"/>
                  </a:cubicBezTo>
                  <a:cubicBezTo>
                    <a:pt x="277" y="123"/>
                    <a:pt x="276" y="123"/>
                    <a:pt x="276" y="123"/>
                  </a:cubicBezTo>
                  <a:cubicBezTo>
                    <a:pt x="274" y="123"/>
                    <a:pt x="272" y="124"/>
                    <a:pt x="270" y="124"/>
                  </a:cubicBezTo>
                  <a:cubicBezTo>
                    <a:pt x="262" y="124"/>
                    <a:pt x="255" y="125"/>
                    <a:pt x="249" y="128"/>
                  </a:cubicBezTo>
                  <a:cubicBezTo>
                    <a:pt x="246" y="129"/>
                    <a:pt x="246" y="129"/>
                    <a:pt x="246" y="129"/>
                  </a:cubicBezTo>
                  <a:cubicBezTo>
                    <a:pt x="245" y="125"/>
                    <a:pt x="245" y="125"/>
                    <a:pt x="245" y="125"/>
                  </a:cubicBezTo>
                  <a:cubicBezTo>
                    <a:pt x="245" y="125"/>
                    <a:pt x="244" y="124"/>
                    <a:pt x="244" y="123"/>
                  </a:cubicBezTo>
                  <a:cubicBezTo>
                    <a:pt x="244" y="123"/>
                    <a:pt x="244" y="123"/>
                    <a:pt x="244" y="123"/>
                  </a:cubicBezTo>
                  <a:cubicBezTo>
                    <a:pt x="243" y="121"/>
                    <a:pt x="243" y="118"/>
                    <a:pt x="243" y="115"/>
                  </a:cubicBezTo>
                  <a:cubicBezTo>
                    <a:pt x="243" y="114"/>
                    <a:pt x="244" y="113"/>
                    <a:pt x="245" y="112"/>
                  </a:cubicBezTo>
                  <a:cubicBezTo>
                    <a:pt x="245" y="111"/>
                    <a:pt x="245" y="111"/>
                    <a:pt x="245" y="111"/>
                  </a:cubicBezTo>
                  <a:cubicBezTo>
                    <a:pt x="246" y="111"/>
                    <a:pt x="246" y="110"/>
                    <a:pt x="246" y="110"/>
                  </a:cubicBezTo>
                  <a:cubicBezTo>
                    <a:pt x="246" y="110"/>
                    <a:pt x="246" y="110"/>
                    <a:pt x="246" y="110"/>
                  </a:cubicBezTo>
                  <a:cubicBezTo>
                    <a:pt x="246" y="110"/>
                    <a:pt x="246" y="110"/>
                    <a:pt x="246" y="110"/>
                  </a:cubicBezTo>
                  <a:cubicBezTo>
                    <a:pt x="246" y="109"/>
                    <a:pt x="246" y="109"/>
                    <a:pt x="246" y="109"/>
                  </a:cubicBezTo>
                  <a:cubicBezTo>
                    <a:pt x="246" y="109"/>
                    <a:pt x="246" y="108"/>
                    <a:pt x="245" y="105"/>
                  </a:cubicBezTo>
                  <a:cubicBezTo>
                    <a:pt x="245" y="102"/>
                    <a:pt x="245" y="99"/>
                    <a:pt x="244" y="97"/>
                  </a:cubicBezTo>
                  <a:cubicBezTo>
                    <a:pt x="243" y="96"/>
                    <a:pt x="243" y="96"/>
                    <a:pt x="243" y="96"/>
                  </a:cubicBezTo>
                  <a:cubicBezTo>
                    <a:pt x="243" y="95"/>
                    <a:pt x="243" y="95"/>
                    <a:pt x="243" y="95"/>
                  </a:cubicBezTo>
                  <a:cubicBezTo>
                    <a:pt x="243" y="94"/>
                    <a:pt x="242" y="93"/>
                    <a:pt x="241" y="93"/>
                  </a:cubicBezTo>
                  <a:cubicBezTo>
                    <a:pt x="239" y="91"/>
                    <a:pt x="237" y="89"/>
                    <a:pt x="236" y="87"/>
                  </a:cubicBezTo>
                  <a:cubicBezTo>
                    <a:pt x="235" y="86"/>
                    <a:pt x="235" y="85"/>
                    <a:pt x="235" y="84"/>
                  </a:cubicBezTo>
                  <a:cubicBezTo>
                    <a:pt x="234" y="83"/>
                    <a:pt x="234" y="81"/>
                    <a:pt x="234" y="80"/>
                  </a:cubicBezTo>
                  <a:cubicBezTo>
                    <a:pt x="235" y="79"/>
                    <a:pt x="235" y="79"/>
                    <a:pt x="235" y="79"/>
                  </a:cubicBezTo>
                  <a:cubicBezTo>
                    <a:pt x="235" y="79"/>
                    <a:pt x="235" y="79"/>
                    <a:pt x="235" y="79"/>
                  </a:cubicBezTo>
                  <a:cubicBezTo>
                    <a:pt x="235" y="75"/>
                    <a:pt x="235" y="75"/>
                    <a:pt x="235" y="75"/>
                  </a:cubicBezTo>
                  <a:cubicBezTo>
                    <a:pt x="236" y="72"/>
                    <a:pt x="236" y="70"/>
                    <a:pt x="236" y="68"/>
                  </a:cubicBezTo>
                  <a:cubicBezTo>
                    <a:pt x="236" y="64"/>
                    <a:pt x="236" y="64"/>
                    <a:pt x="236" y="64"/>
                  </a:cubicBezTo>
                  <a:cubicBezTo>
                    <a:pt x="236" y="64"/>
                    <a:pt x="236" y="63"/>
                    <a:pt x="237" y="62"/>
                  </a:cubicBezTo>
                  <a:cubicBezTo>
                    <a:pt x="237" y="61"/>
                    <a:pt x="237" y="61"/>
                    <a:pt x="237" y="61"/>
                  </a:cubicBezTo>
                  <a:cubicBezTo>
                    <a:pt x="237" y="61"/>
                    <a:pt x="237" y="58"/>
                    <a:pt x="237" y="57"/>
                  </a:cubicBezTo>
                  <a:cubicBezTo>
                    <a:pt x="234" y="50"/>
                    <a:pt x="233" y="48"/>
                    <a:pt x="235" y="40"/>
                  </a:cubicBezTo>
                  <a:cubicBezTo>
                    <a:pt x="235" y="40"/>
                    <a:pt x="235" y="38"/>
                    <a:pt x="235" y="37"/>
                  </a:cubicBezTo>
                  <a:cubicBezTo>
                    <a:pt x="235" y="35"/>
                    <a:pt x="235" y="34"/>
                    <a:pt x="235" y="34"/>
                  </a:cubicBezTo>
                  <a:cubicBezTo>
                    <a:pt x="234" y="34"/>
                    <a:pt x="234" y="34"/>
                    <a:pt x="234" y="34"/>
                  </a:cubicBezTo>
                  <a:cubicBezTo>
                    <a:pt x="232" y="34"/>
                    <a:pt x="232" y="34"/>
                    <a:pt x="232" y="34"/>
                  </a:cubicBezTo>
                  <a:cubicBezTo>
                    <a:pt x="232" y="34"/>
                    <a:pt x="231" y="34"/>
                    <a:pt x="231" y="34"/>
                  </a:cubicBezTo>
                  <a:cubicBezTo>
                    <a:pt x="219" y="34"/>
                    <a:pt x="219" y="34"/>
                    <a:pt x="219" y="34"/>
                  </a:cubicBezTo>
                  <a:cubicBezTo>
                    <a:pt x="218" y="34"/>
                    <a:pt x="217" y="34"/>
                    <a:pt x="216" y="34"/>
                  </a:cubicBezTo>
                  <a:cubicBezTo>
                    <a:pt x="215" y="34"/>
                    <a:pt x="214" y="34"/>
                    <a:pt x="212" y="34"/>
                  </a:cubicBezTo>
                  <a:cubicBezTo>
                    <a:pt x="211" y="34"/>
                    <a:pt x="209" y="34"/>
                    <a:pt x="208" y="34"/>
                  </a:cubicBezTo>
                  <a:cubicBezTo>
                    <a:pt x="206" y="33"/>
                    <a:pt x="205" y="32"/>
                    <a:pt x="205" y="31"/>
                  </a:cubicBezTo>
                  <a:cubicBezTo>
                    <a:pt x="204" y="29"/>
                    <a:pt x="205" y="27"/>
                    <a:pt x="205" y="26"/>
                  </a:cubicBezTo>
                  <a:cubicBezTo>
                    <a:pt x="205" y="25"/>
                    <a:pt x="205" y="25"/>
                    <a:pt x="205" y="25"/>
                  </a:cubicBezTo>
                  <a:cubicBezTo>
                    <a:pt x="205" y="25"/>
                    <a:pt x="205" y="25"/>
                    <a:pt x="205" y="25"/>
                  </a:cubicBezTo>
                  <a:cubicBezTo>
                    <a:pt x="205" y="25"/>
                    <a:pt x="205" y="25"/>
                    <a:pt x="205" y="25"/>
                  </a:cubicBezTo>
                  <a:cubicBezTo>
                    <a:pt x="205" y="25"/>
                    <a:pt x="204" y="25"/>
                    <a:pt x="204" y="25"/>
                  </a:cubicBezTo>
                  <a:cubicBezTo>
                    <a:pt x="204" y="25"/>
                    <a:pt x="204" y="25"/>
                    <a:pt x="204" y="25"/>
                  </a:cubicBezTo>
                  <a:cubicBezTo>
                    <a:pt x="203" y="26"/>
                    <a:pt x="202" y="27"/>
                    <a:pt x="200" y="27"/>
                  </a:cubicBezTo>
                  <a:cubicBezTo>
                    <a:pt x="199" y="27"/>
                    <a:pt x="198" y="27"/>
                    <a:pt x="197" y="27"/>
                  </a:cubicBezTo>
                  <a:cubicBezTo>
                    <a:pt x="194" y="27"/>
                    <a:pt x="194" y="27"/>
                    <a:pt x="194" y="27"/>
                  </a:cubicBezTo>
                  <a:cubicBezTo>
                    <a:pt x="194" y="27"/>
                    <a:pt x="194" y="27"/>
                    <a:pt x="194" y="27"/>
                  </a:cubicBezTo>
                  <a:cubicBezTo>
                    <a:pt x="194" y="28"/>
                    <a:pt x="193" y="28"/>
                    <a:pt x="193" y="28"/>
                  </a:cubicBezTo>
                  <a:cubicBezTo>
                    <a:pt x="193" y="28"/>
                    <a:pt x="192" y="28"/>
                    <a:pt x="192" y="28"/>
                  </a:cubicBezTo>
                  <a:cubicBezTo>
                    <a:pt x="191" y="28"/>
                    <a:pt x="191" y="28"/>
                    <a:pt x="191" y="28"/>
                  </a:cubicBezTo>
                  <a:cubicBezTo>
                    <a:pt x="190" y="28"/>
                    <a:pt x="189" y="28"/>
                    <a:pt x="188" y="28"/>
                  </a:cubicBezTo>
                  <a:cubicBezTo>
                    <a:pt x="188" y="28"/>
                    <a:pt x="187" y="28"/>
                    <a:pt x="187" y="28"/>
                  </a:cubicBezTo>
                  <a:cubicBezTo>
                    <a:pt x="187" y="28"/>
                    <a:pt x="187" y="28"/>
                    <a:pt x="187" y="28"/>
                  </a:cubicBezTo>
                  <a:cubicBezTo>
                    <a:pt x="187" y="29"/>
                    <a:pt x="186" y="31"/>
                    <a:pt x="186" y="35"/>
                  </a:cubicBezTo>
                  <a:cubicBezTo>
                    <a:pt x="185" y="37"/>
                    <a:pt x="185" y="37"/>
                    <a:pt x="185" y="37"/>
                  </a:cubicBezTo>
                  <a:cubicBezTo>
                    <a:pt x="184" y="43"/>
                    <a:pt x="184" y="43"/>
                    <a:pt x="184" y="43"/>
                  </a:cubicBezTo>
                  <a:cubicBezTo>
                    <a:pt x="184" y="43"/>
                    <a:pt x="184" y="44"/>
                    <a:pt x="184" y="44"/>
                  </a:cubicBezTo>
                  <a:cubicBezTo>
                    <a:pt x="184" y="45"/>
                    <a:pt x="184" y="45"/>
                    <a:pt x="184" y="45"/>
                  </a:cubicBezTo>
                  <a:cubicBezTo>
                    <a:pt x="184" y="46"/>
                    <a:pt x="183" y="51"/>
                    <a:pt x="179" y="51"/>
                  </a:cubicBezTo>
                  <a:cubicBezTo>
                    <a:pt x="178" y="51"/>
                    <a:pt x="178" y="51"/>
                    <a:pt x="178" y="51"/>
                  </a:cubicBezTo>
                  <a:cubicBezTo>
                    <a:pt x="163" y="50"/>
                    <a:pt x="163" y="50"/>
                    <a:pt x="163" y="50"/>
                  </a:cubicBezTo>
                  <a:cubicBezTo>
                    <a:pt x="162" y="50"/>
                    <a:pt x="162" y="50"/>
                    <a:pt x="161" y="50"/>
                  </a:cubicBezTo>
                  <a:cubicBezTo>
                    <a:pt x="161" y="50"/>
                    <a:pt x="161" y="50"/>
                    <a:pt x="160" y="50"/>
                  </a:cubicBezTo>
                  <a:cubicBezTo>
                    <a:pt x="158" y="50"/>
                    <a:pt x="157" y="50"/>
                    <a:pt x="155" y="50"/>
                  </a:cubicBezTo>
                  <a:cubicBezTo>
                    <a:pt x="154" y="51"/>
                    <a:pt x="154" y="51"/>
                    <a:pt x="154" y="51"/>
                  </a:cubicBezTo>
                  <a:cubicBezTo>
                    <a:pt x="154" y="51"/>
                    <a:pt x="154" y="51"/>
                    <a:pt x="154" y="51"/>
                  </a:cubicBezTo>
                  <a:cubicBezTo>
                    <a:pt x="153" y="53"/>
                    <a:pt x="151" y="54"/>
                    <a:pt x="150" y="54"/>
                  </a:cubicBezTo>
                  <a:cubicBezTo>
                    <a:pt x="149" y="54"/>
                    <a:pt x="149" y="54"/>
                    <a:pt x="149" y="53"/>
                  </a:cubicBezTo>
                  <a:cubicBezTo>
                    <a:pt x="142" y="53"/>
                    <a:pt x="142" y="53"/>
                    <a:pt x="142" y="53"/>
                  </a:cubicBezTo>
                  <a:cubicBezTo>
                    <a:pt x="136" y="53"/>
                    <a:pt x="135" y="52"/>
                    <a:pt x="132" y="47"/>
                  </a:cubicBezTo>
                  <a:cubicBezTo>
                    <a:pt x="128" y="40"/>
                    <a:pt x="128" y="40"/>
                    <a:pt x="128" y="40"/>
                  </a:cubicBezTo>
                  <a:cubicBezTo>
                    <a:pt x="128" y="40"/>
                    <a:pt x="127" y="39"/>
                    <a:pt x="127" y="38"/>
                  </a:cubicBezTo>
                  <a:cubicBezTo>
                    <a:pt x="126" y="38"/>
                    <a:pt x="126" y="38"/>
                    <a:pt x="126" y="38"/>
                  </a:cubicBezTo>
                  <a:cubicBezTo>
                    <a:pt x="125" y="36"/>
                    <a:pt x="123" y="33"/>
                    <a:pt x="122" y="30"/>
                  </a:cubicBezTo>
                  <a:cubicBezTo>
                    <a:pt x="119" y="23"/>
                    <a:pt x="117" y="18"/>
                    <a:pt x="115" y="10"/>
                  </a:cubicBezTo>
                  <a:cubicBezTo>
                    <a:pt x="114" y="2"/>
                    <a:pt x="113" y="1"/>
                    <a:pt x="113" y="1"/>
                  </a:cubicBezTo>
                  <a:cubicBezTo>
                    <a:pt x="113" y="1"/>
                    <a:pt x="112" y="1"/>
                    <a:pt x="109" y="1"/>
                  </a:cubicBezTo>
                  <a:cubicBezTo>
                    <a:pt x="107" y="1"/>
                    <a:pt x="107" y="1"/>
                    <a:pt x="107" y="1"/>
                  </a:cubicBezTo>
                  <a:cubicBezTo>
                    <a:pt x="106" y="1"/>
                    <a:pt x="105" y="1"/>
                    <a:pt x="104" y="1"/>
                  </a:cubicBezTo>
                  <a:cubicBezTo>
                    <a:pt x="103" y="0"/>
                    <a:pt x="103" y="0"/>
                    <a:pt x="101" y="0"/>
                  </a:cubicBezTo>
                  <a:cubicBezTo>
                    <a:pt x="101" y="0"/>
                    <a:pt x="100" y="0"/>
                    <a:pt x="99" y="0"/>
                  </a:cubicBezTo>
                  <a:cubicBezTo>
                    <a:pt x="73" y="1"/>
                    <a:pt x="73" y="1"/>
                    <a:pt x="73" y="1"/>
                  </a:cubicBezTo>
                  <a:cubicBezTo>
                    <a:pt x="72" y="1"/>
                    <a:pt x="71" y="1"/>
                    <a:pt x="69" y="1"/>
                  </a:cubicBezTo>
                  <a:cubicBezTo>
                    <a:pt x="65" y="1"/>
                    <a:pt x="61" y="1"/>
                    <a:pt x="58" y="1"/>
                  </a:cubicBezTo>
                  <a:cubicBezTo>
                    <a:pt x="56" y="1"/>
                    <a:pt x="56" y="1"/>
                    <a:pt x="56" y="1"/>
                  </a:cubicBezTo>
                  <a:cubicBezTo>
                    <a:pt x="54" y="1"/>
                    <a:pt x="52" y="0"/>
                    <a:pt x="49" y="0"/>
                  </a:cubicBezTo>
                  <a:cubicBezTo>
                    <a:pt x="47" y="0"/>
                    <a:pt x="45" y="0"/>
                    <a:pt x="43" y="0"/>
                  </a:cubicBezTo>
                  <a:cubicBezTo>
                    <a:pt x="41" y="0"/>
                    <a:pt x="41" y="0"/>
                    <a:pt x="41" y="0"/>
                  </a:cubicBezTo>
                  <a:cubicBezTo>
                    <a:pt x="41" y="0"/>
                    <a:pt x="41" y="0"/>
                    <a:pt x="41" y="0"/>
                  </a:cubicBezTo>
                  <a:cubicBezTo>
                    <a:pt x="37" y="0"/>
                    <a:pt x="33" y="0"/>
                    <a:pt x="29" y="0"/>
                  </a:cubicBezTo>
                  <a:cubicBezTo>
                    <a:pt x="29" y="0"/>
                    <a:pt x="29"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20"/>
            <p:cNvSpPr/>
            <p:nvPr/>
          </p:nvSpPr>
          <p:spPr bwMode="auto">
            <a:xfrm>
              <a:off x="4892" y="3218"/>
              <a:ext cx="633" cy="544"/>
            </a:xfrm>
            <a:custGeom>
              <a:gdLst>
                <a:gd name="T0" fmla="*/ 163 w 268"/>
                <a:gd name="T1" fmla="*/ 6 h 230"/>
                <a:gd name="T2" fmla="*/ 157 w 268"/>
                <a:gd name="T3" fmla="*/ 16 h 230"/>
                <a:gd name="T4" fmla="*/ 154 w 268"/>
                <a:gd name="T5" fmla="*/ 26 h 230"/>
                <a:gd name="T6" fmla="*/ 155 w 268"/>
                <a:gd name="T7" fmla="*/ 29 h 230"/>
                <a:gd name="T8" fmla="*/ 156 w 268"/>
                <a:gd name="T9" fmla="*/ 39 h 230"/>
                <a:gd name="T10" fmla="*/ 155 w 268"/>
                <a:gd name="T11" fmla="*/ 46 h 230"/>
                <a:gd name="T12" fmla="*/ 154 w 268"/>
                <a:gd name="T13" fmla="*/ 83 h 230"/>
                <a:gd name="T14" fmla="*/ 164 w 268"/>
                <a:gd name="T15" fmla="*/ 93 h 230"/>
                <a:gd name="T16" fmla="*/ 167 w 268"/>
                <a:gd name="T17" fmla="*/ 93 h 230"/>
                <a:gd name="T18" fmla="*/ 177 w 268"/>
                <a:gd name="T19" fmla="*/ 89 h 230"/>
                <a:gd name="T20" fmla="*/ 182 w 268"/>
                <a:gd name="T21" fmla="*/ 124 h 230"/>
                <a:gd name="T22" fmla="*/ 178 w 268"/>
                <a:gd name="T23" fmla="*/ 125 h 230"/>
                <a:gd name="T24" fmla="*/ 173 w 268"/>
                <a:gd name="T25" fmla="*/ 121 h 230"/>
                <a:gd name="T26" fmla="*/ 160 w 268"/>
                <a:gd name="T27" fmla="*/ 121 h 230"/>
                <a:gd name="T28" fmla="*/ 138 w 268"/>
                <a:gd name="T29" fmla="*/ 98 h 230"/>
                <a:gd name="T30" fmla="*/ 123 w 268"/>
                <a:gd name="T31" fmla="*/ 89 h 230"/>
                <a:gd name="T32" fmla="*/ 118 w 268"/>
                <a:gd name="T33" fmla="*/ 80 h 230"/>
                <a:gd name="T34" fmla="*/ 112 w 268"/>
                <a:gd name="T35" fmla="*/ 89 h 230"/>
                <a:gd name="T36" fmla="*/ 85 w 268"/>
                <a:gd name="T37" fmla="*/ 86 h 230"/>
                <a:gd name="T38" fmla="*/ 72 w 268"/>
                <a:gd name="T39" fmla="*/ 72 h 230"/>
                <a:gd name="T40" fmla="*/ 64 w 268"/>
                <a:gd name="T41" fmla="*/ 73 h 230"/>
                <a:gd name="T42" fmla="*/ 52 w 268"/>
                <a:gd name="T43" fmla="*/ 77 h 230"/>
                <a:gd name="T44" fmla="*/ 51 w 268"/>
                <a:gd name="T45" fmla="*/ 69 h 230"/>
                <a:gd name="T46" fmla="*/ 48 w 268"/>
                <a:gd name="T47" fmla="*/ 85 h 230"/>
                <a:gd name="T48" fmla="*/ 45 w 268"/>
                <a:gd name="T49" fmla="*/ 105 h 230"/>
                <a:gd name="T50" fmla="*/ 48 w 268"/>
                <a:gd name="T51" fmla="*/ 114 h 230"/>
                <a:gd name="T52" fmla="*/ 1 w 268"/>
                <a:gd name="T53" fmla="*/ 113 h 230"/>
                <a:gd name="T54" fmla="*/ 0 w 268"/>
                <a:gd name="T55" fmla="*/ 116 h 230"/>
                <a:gd name="T56" fmla="*/ 0 w 268"/>
                <a:gd name="T57" fmla="*/ 185 h 230"/>
                <a:gd name="T58" fmla="*/ 29 w 268"/>
                <a:gd name="T59" fmla="*/ 217 h 230"/>
                <a:gd name="T60" fmla="*/ 32 w 268"/>
                <a:gd name="T61" fmla="*/ 219 h 230"/>
                <a:gd name="T62" fmla="*/ 49 w 268"/>
                <a:gd name="T63" fmla="*/ 216 h 230"/>
                <a:gd name="T64" fmla="*/ 70 w 268"/>
                <a:gd name="T65" fmla="*/ 220 h 230"/>
                <a:gd name="T66" fmla="*/ 75 w 268"/>
                <a:gd name="T67" fmla="*/ 223 h 230"/>
                <a:gd name="T68" fmla="*/ 103 w 268"/>
                <a:gd name="T69" fmla="*/ 230 h 230"/>
                <a:gd name="T70" fmla="*/ 108 w 268"/>
                <a:gd name="T71" fmla="*/ 230 h 230"/>
                <a:gd name="T72" fmla="*/ 115 w 268"/>
                <a:gd name="T73" fmla="*/ 226 h 230"/>
                <a:gd name="T74" fmla="*/ 123 w 268"/>
                <a:gd name="T75" fmla="*/ 217 h 230"/>
                <a:gd name="T76" fmla="*/ 126 w 268"/>
                <a:gd name="T77" fmla="*/ 214 h 230"/>
                <a:gd name="T78" fmla="*/ 133 w 268"/>
                <a:gd name="T79" fmla="*/ 205 h 230"/>
                <a:gd name="T80" fmla="*/ 145 w 268"/>
                <a:gd name="T81" fmla="*/ 199 h 230"/>
                <a:gd name="T82" fmla="*/ 155 w 268"/>
                <a:gd name="T83" fmla="*/ 189 h 230"/>
                <a:gd name="T84" fmla="*/ 158 w 268"/>
                <a:gd name="T85" fmla="*/ 181 h 230"/>
                <a:gd name="T86" fmla="*/ 180 w 268"/>
                <a:gd name="T87" fmla="*/ 171 h 230"/>
                <a:gd name="T88" fmla="*/ 191 w 268"/>
                <a:gd name="T89" fmla="*/ 172 h 230"/>
                <a:gd name="T90" fmla="*/ 188 w 268"/>
                <a:gd name="T91" fmla="*/ 158 h 230"/>
                <a:gd name="T92" fmla="*/ 251 w 268"/>
                <a:gd name="T93" fmla="*/ 134 h 230"/>
                <a:gd name="T94" fmla="*/ 246 w 268"/>
                <a:gd name="T95" fmla="*/ 126 h 230"/>
                <a:gd name="T96" fmla="*/ 250 w 268"/>
                <a:gd name="T97" fmla="*/ 120 h 230"/>
                <a:gd name="T98" fmla="*/ 254 w 268"/>
                <a:gd name="T99" fmla="*/ 103 h 230"/>
                <a:gd name="T100" fmla="*/ 257 w 268"/>
                <a:gd name="T101" fmla="*/ 98 h 230"/>
                <a:gd name="T102" fmla="*/ 260 w 268"/>
                <a:gd name="T103" fmla="*/ 98 h 230"/>
                <a:gd name="T104" fmla="*/ 259 w 268"/>
                <a:gd name="T105" fmla="*/ 84 h 230"/>
                <a:gd name="T106" fmla="*/ 259 w 268"/>
                <a:gd name="T107" fmla="*/ 71 h 230"/>
                <a:gd name="T108" fmla="*/ 260 w 268"/>
                <a:gd name="T109" fmla="*/ 63 h 230"/>
                <a:gd name="T110" fmla="*/ 261 w 268"/>
                <a:gd name="T111" fmla="*/ 57 h 230"/>
                <a:gd name="T112" fmla="*/ 268 w 268"/>
                <a:gd name="T113" fmla="*/ 52 h 230"/>
                <a:gd name="T114" fmla="*/ 252 w 268"/>
                <a:gd name="T115" fmla="*/ 27 h 230"/>
                <a:gd name="T116" fmla="*/ 229 w 268"/>
                <a:gd name="T117" fmla="*/ 19 h 230"/>
                <a:gd name="T118" fmla="*/ 223 w 268"/>
                <a:gd name="T119" fmla="*/ 15 h 230"/>
                <a:gd name="T120" fmla="*/ 211 w 268"/>
                <a:gd name="T121" fmla="*/ 11 h 230"/>
                <a:gd name="T122" fmla="*/ 200 w 268"/>
                <a:gd name="T123" fmla="*/ 4 h 2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8" h="230">
                  <a:moveTo>
                    <a:pt x="197" y="0"/>
                  </a:moveTo>
                  <a:cubicBezTo>
                    <a:pt x="189" y="2"/>
                    <a:pt x="189" y="2"/>
                    <a:pt x="189" y="2"/>
                  </a:cubicBezTo>
                  <a:cubicBezTo>
                    <a:pt x="181" y="3"/>
                    <a:pt x="172" y="4"/>
                    <a:pt x="163" y="6"/>
                  </a:cubicBezTo>
                  <a:cubicBezTo>
                    <a:pt x="163" y="6"/>
                    <a:pt x="163" y="6"/>
                    <a:pt x="163" y="6"/>
                  </a:cubicBezTo>
                  <a:cubicBezTo>
                    <a:pt x="163" y="6"/>
                    <a:pt x="163" y="7"/>
                    <a:pt x="163" y="8"/>
                  </a:cubicBezTo>
                  <a:cubicBezTo>
                    <a:pt x="163" y="10"/>
                    <a:pt x="161" y="12"/>
                    <a:pt x="159" y="14"/>
                  </a:cubicBezTo>
                  <a:cubicBezTo>
                    <a:pt x="159" y="15"/>
                    <a:pt x="159" y="15"/>
                    <a:pt x="159" y="15"/>
                  </a:cubicBezTo>
                  <a:cubicBezTo>
                    <a:pt x="158" y="15"/>
                    <a:pt x="158" y="15"/>
                    <a:pt x="157" y="16"/>
                  </a:cubicBezTo>
                  <a:cubicBezTo>
                    <a:pt x="155" y="18"/>
                    <a:pt x="153" y="20"/>
                    <a:pt x="151" y="21"/>
                  </a:cubicBezTo>
                  <a:cubicBezTo>
                    <a:pt x="152" y="22"/>
                    <a:pt x="152" y="22"/>
                    <a:pt x="152" y="22"/>
                  </a:cubicBezTo>
                  <a:cubicBezTo>
                    <a:pt x="155" y="25"/>
                    <a:pt x="155" y="25"/>
                    <a:pt x="155" y="25"/>
                  </a:cubicBezTo>
                  <a:cubicBezTo>
                    <a:pt x="154" y="26"/>
                    <a:pt x="154" y="26"/>
                    <a:pt x="154" y="26"/>
                  </a:cubicBezTo>
                  <a:cubicBezTo>
                    <a:pt x="154" y="26"/>
                    <a:pt x="154" y="26"/>
                    <a:pt x="154" y="26"/>
                  </a:cubicBezTo>
                  <a:cubicBezTo>
                    <a:pt x="154" y="27"/>
                    <a:pt x="154" y="27"/>
                    <a:pt x="154" y="27"/>
                  </a:cubicBezTo>
                  <a:cubicBezTo>
                    <a:pt x="154" y="27"/>
                    <a:pt x="154" y="27"/>
                    <a:pt x="154" y="27"/>
                  </a:cubicBezTo>
                  <a:cubicBezTo>
                    <a:pt x="154" y="28"/>
                    <a:pt x="155" y="28"/>
                    <a:pt x="155" y="29"/>
                  </a:cubicBezTo>
                  <a:cubicBezTo>
                    <a:pt x="155" y="30"/>
                    <a:pt x="155" y="30"/>
                    <a:pt x="155" y="30"/>
                  </a:cubicBezTo>
                  <a:cubicBezTo>
                    <a:pt x="156" y="32"/>
                    <a:pt x="157" y="33"/>
                    <a:pt x="156" y="36"/>
                  </a:cubicBezTo>
                  <a:cubicBezTo>
                    <a:pt x="156" y="36"/>
                    <a:pt x="156" y="37"/>
                    <a:pt x="156" y="38"/>
                  </a:cubicBezTo>
                  <a:cubicBezTo>
                    <a:pt x="156" y="39"/>
                    <a:pt x="156" y="39"/>
                    <a:pt x="156" y="39"/>
                  </a:cubicBezTo>
                  <a:cubicBezTo>
                    <a:pt x="156" y="40"/>
                    <a:pt x="156" y="41"/>
                    <a:pt x="155" y="42"/>
                  </a:cubicBezTo>
                  <a:cubicBezTo>
                    <a:pt x="155" y="44"/>
                    <a:pt x="155" y="44"/>
                    <a:pt x="155" y="44"/>
                  </a:cubicBezTo>
                  <a:cubicBezTo>
                    <a:pt x="155" y="45"/>
                    <a:pt x="155" y="45"/>
                    <a:pt x="155" y="45"/>
                  </a:cubicBezTo>
                  <a:cubicBezTo>
                    <a:pt x="155" y="46"/>
                    <a:pt x="155" y="46"/>
                    <a:pt x="155" y="46"/>
                  </a:cubicBezTo>
                  <a:cubicBezTo>
                    <a:pt x="156" y="50"/>
                    <a:pt x="155" y="54"/>
                    <a:pt x="154" y="59"/>
                  </a:cubicBezTo>
                  <a:cubicBezTo>
                    <a:pt x="154" y="61"/>
                    <a:pt x="153" y="62"/>
                    <a:pt x="152" y="64"/>
                  </a:cubicBezTo>
                  <a:cubicBezTo>
                    <a:pt x="151" y="69"/>
                    <a:pt x="149" y="74"/>
                    <a:pt x="151" y="79"/>
                  </a:cubicBezTo>
                  <a:cubicBezTo>
                    <a:pt x="152" y="81"/>
                    <a:pt x="152" y="81"/>
                    <a:pt x="154" y="83"/>
                  </a:cubicBezTo>
                  <a:cubicBezTo>
                    <a:pt x="157" y="85"/>
                    <a:pt x="160" y="87"/>
                    <a:pt x="162" y="90"/>
                  </a:cubicBezTo>
                  <a:cubicBezTo>
                    <a:pt x="163" y="91"/>
                    <a:pt x="163" y="91"/>
                    <a:pt x="163" y="92"/>
                  </a:cubicBezTo>
                  <a:cubicBezTo>
                    <a:pt x="164" y="93"/>
                    <a:pt x="164" y="93"/>
                    <a:pt x="164" y="93"/>
                  </a:cubicBezTo>
                  <a:cubicBezTo>
                    <a:pt x="164" y="93"/>
                    <a:pt x="164" y="93"/>
                    <a:pt x="164" y="93"/>
                  </a:cubicBezTo>
                  <a:cubicBezTo>
                    <a:pt x="165" y="93"/>
                    <a:pt x="165" y="93"/>
                    <a:pt x="165" y="93"/>
                  </a:cubicBezTo>
                  <a:cubicBezTo>
                    <a:pt x="165" y="93"/>
                    <a:pt x="165" y="93"/>
                    <a:pt x="165" y="93"/>
                  </a:cubicBezTo>
                  <a:cubicBezTo>
                    <a:pt x="165" y="93"/>
                    <a:pt x="166" y="93"/>
                    <a:pt x="166" y="93"/>
                  </a:cubicBezTo>
                  <a:cubicBezTo>
                    <a:pt x="167" y="93"/>
                    <a:pt x="167" y="93"/>
                    <a:pt x="167" y="93"/>
                  </a:cubicBezTo>
                  <a:cubicBezTo>
                    <a:pt x="168" y="93"/>
                    <a:pt x="169" y="94"/>
                    <a:pt x="169" y="94"/>
                  </a:cubicBezTo>
                  <a:cubicBezTo>
                    <a:pt x="170" y="94"/>
                    <a:pt x="170" y="94"/>
                    <a:pt x="170" y="94"/>
                  </a:cubicBezTo>
                  <a:cubicBezTo>
                    <a:pt x="170" y="93"/>
                    <a:pt x="170" y="92"/>
                    <a:pt x="171" y="91"/>
                  </a:cubicBezTo>
                  <a:cubicBezTo>
                    <a:pt x="173" y="89"/>
                    <a:pt x="175" y="89"/>
                    <a:pt x="177" y="89"/>
                  </a:cubicBezTo>
                  <a:cubicBezTo>
                    <a:pt x="178" y="89"/>
                    <a:pt x="179" y="89"/>
                    <a:pt x="179" y="88"/>
                  </a:cubicBezTo>
                  <a:cubicBezTo>
                    <a:pt x="183" y="86"/>
                    <a:pt x="183" y="86"/>
                    <a:pt x="183" y="86"/>
                  </a:cubicBezTo>
                  <a:cubicBezTo>
                    <a:pt x="184" y="123"/>
                    <a:pt x="184" y="123"/>
                    <a:pt x="184" y="123"/>
                  </a:cubicBezTo>
                  <a:cubicBezTo>
                    <a:pt x="182" y="124"/>
                    <a:pt x="182" y="124"/>
                    <a:pt x="182" y="124"/>
                  </a:cubicBezTo>
                  <a:cubicBezTo>
                    <a:pt x="181" y="125"/>
                    <a:pt x="181" y="125"/>
                    <a:pt x="180" y="125"/>
                  </a:cubicBezTo>
                  <a:cubicBezTo>
                    <a:pt x="179" y="125"/>
                    <a:pt x="179" y="125"/>
                    <a:pt x="179" y="125"/>
                  </a:cubicBezTo>
                  <a:cubicBezTo>
                    <a:pt x="179" y="125"/>
                    <a:pt x="178" y="125"/>
                    <a:pt x="178" y="125"/>
                  </a:cubicBezTo>
                  <a:cubicBezTo>
                    <a:pt x="178" y="125"/>
                    <a:pt x="178" y="125"/>
                    <a:pt x="178" y="125"/>
                  </a:cubicBezTo>
                  <a:cubicBezTo>
                    <a:pt x="177" y="124"/>
                    <a:pt x="177" y="124"/>
                    <a:pt x="176" y="124"/>
                  </a:cubicBezTo>
                  <a:cubicBezTo>
                    <a:pt x="175" y="124"/>
                    <a:pt x="174" y="123"/>
                    <a:pt x="174" y="121"/>
                  </a:cubicBezTo>
                  <a:cubicBezTo>
                    <a:pt x="174" y="120"/>
                    <a:pt x="174" y="120"/>
                    <a:pt x="174" y="120"/>
                  </a:cubicBezTo>
                  <a:cubicBezTo>
                    <a:pt x="173" y="121"/>
                    <a:pt x="173" y="121"/>
                    <a:pt x="173" y="121"/>
                  </a:cubicBezTo>
                  <a:cubicBezTo>
                    <a:pt x="172" y="121"/>
                    <a:pt x="172" y="122"/>
                    <a:pt x="171" y="122"/>
                  </a:cubicBezTo>
                  <a:cubicBezTo>
                    <a:pt x="171" y="122"/>
                    <a:pt x="171" y="122"/>
                    <a:pt x="170" y="122"/>
                  </a:cubicBezTo>
                  <a:cubicBezTo>
                    <a:pt x="169" y="123"/>
                    <a:pt x="167" y="124"/>
                    <a:pt x="165" y="124"/>
                  </a:cubicBezTo>
                  <a:cubicBezTo>
                    <a:pt x="164" y="124"/>
                    <a:pt x="162" y="123"/>
                    <a:pt x="160" y="121"/>
                  </a:cubicBezTo>
                  <a:cubicBezTo>
                    <a:pt x="145" y="100"/>
                    <a:pt x="145" y="100"/>
                    <a:pt x="145" y="100"/>
                  </a:cubicBezTo>
                  <a:cubicBezTo>
                    <a:pt x="145" y="100"/>
                    <a:pt x="144" y="100"/>
                    <a:pt x="143" y="100"/>
                  </a:cubicBezTo>
                  <a:cubicBezTo>
                    <a:pt x="142" y="100"/>
                    <a:pt x="142" y="100"/>
                    <a:pt x="142" y="100"/>
                  </a:cubicBezTo>
                  <a:cubicBezTo>
                    <a:pt x="141" y="99"/>
                    <a:pt x="139" y="98"/>
                    <a:pt x="138" y="98"/>
                  </a:cubicBezTo>
                  <a:cubicBezTo>
                    <a:pt x="137" y="97"/>
                    <a:pt x="135" y="96"/>
                    <a:pt x="134" y="96"/>
                  </a:cubicBezTo>
                  <a:cubicBezTo>
                    <a:pt x="134" y="96"/>
                    <a:pt x="133" y="96"/>
                    <a:pt x="132" y="96"/>
                  </a:cubicBezTo>
                  <a:cubicBezTo>
                    <a:pt x="131" y="96"/>
                    <a:pt x="130" y="96"/>
                    <a:pt x="129" y="96"/>
                  </a:cubicBezTo>
                  <a:cubicBezTo>
                    <a:pt x="126" y="95"/>
                    <a:pt x="124" y="92"/>
                    <a:pt x="123" y="89"/>
                  </a:cubicBezTo>
                  <a:cubicBezTo>
                    <a:pt x="123" y="88"/>
                    <a:pt x="123" y="88"/>
                    <a:pt x="123" y="88"/>
                  </a:cubicBezTo>
                  <a:cubicBezTo>
                    <a:pt x="122" y="88"/>
                    <a:pt x="122" y="87"/>
                    <a:pt x="122" y="87"/>
                  </a:cubicBezTo>
                  <a:cubicBezTo>
                    <a:pt x="122" y="86"/>
                    <a:pt x="121" y="86"/>
                    <a:pt x="121" y="85"/>
                  </a:cubicBezTo>
                  <a:cubicBezTo>
                    <a:pt x="119" y="82"/>
                    <a:pt x="118" y="81"/>
                    <a:pt x="118" y="80"/>
                  </a:cubicBezTo>
                  <a:cubicBezTo>
                    <a:pt x="118" y="81"/>
                    <a:pt x="118" y="81"/>
                    <a:pt x="118" y="81"/>
                  </a:cubicBezTo>
                  <a:cubicBezTo>
                    <a:pt x="117" y="83"/>
                    <a:pt x="117" y="83"/>
                    <a:pt x="117" y="83"/>
                  </a:cubicBezTo>
                  <a:cubicBezTo>
                    <a:pt x="117" y="84"/>
                    <a:pt x="117" y="87"/>
                    <a:pt x="115" y="88"/>
                  </a:cubicBezTo>
                  <a:cubicBezTo>
                    <a:pt x="114" y="89"/>
                    <a:pt x="113" y="89"/>
                    <a:pt x="112" y="89"/>
                  </a:cubicBezTo>
                  <a:cubicBezTo>
                    <a:pt x="112" y="89"/>
                    <a:pt x="111" y="89"/>
                    <a:pt x="111" y="89"/>
                  </a:cubicBezTo>
                  <a:cubicBezTo>
                    <a:pt x="87" y="86"/>
                    <a:pt x="87" y="86"/>
                    <a:pt x="87" y="86"/>
                  </a:cubicBezTo>
                  <a:cubicBezTo>
                    <a:pt x="87" y="86"/>
                    <a:pt x="86" y="86"/>
                    <a:pt x="86" y="86"/>
                  </a:cubicBezTo>
                  <a:cubicBezTo>
                    <a:pt x="85" y="86"/>
                    <a:pt x="85" y="86"/>
                    <a:pt x="85" y="86"/>
                  </a:cubicBezTo>
                  <a:cubicBezTo>
                    <a:pt x="83" y="86"/>
                    <a:pt x="80" y="85"/>
                    <a:pt x="78" y="84"/>
                  </a:cubicBezTo>
                  <a:cubicBezTo>
                    <a:pt x="77" y="84"/>
                    <a:pt x="77" y="83"/>
                    <a:pt x="76" y="82"/>
                  </a:cubicBezTo>
                  <a:cubicBezTo>
                    <a:pt x="75" y="81"/>
                    <a:pt x="75" y="81"/>
                    <a:pt x="74" y="80"/>
                  </a:cubicBezTo>
                  <a:cubicBezTo>
                    <a:pt x="72" y="77"/>
                    <a:pt x="72" y="75"/>
                    <a:pt x="72" y="72"/>
                  </a:cubicBezTo>
                  <a:cubicBezTo>
                    <a:pt x="71" y="72"/>
                    <a:pt x="70" y="72"/>
                    <a:pt x="69" y="73"/>
                  </a:cubicBezTo>
                  <a:cubicBezTo>
                    <a:pt x="68" y="73"/>
                    <a:pt x="68" y="73"/>
                    <a:pt x="68" y="73"/>
                  </a:cubicBezTo>
                  <a:cubicBezTo>
                    <a:pt x="67" y="73"/>
                    <a:pt x="66" y="73"/>
                    <a:pt x="65" y="73"/>
                  </a:cubicBezTo>
                  <a:cubicBezTo>
                    <a:pt x="65" y="73"/>
                    <a:pt x="65" y="73"/>
                    <a:pt x="64" y="73"/>
                  </a:cubicBezTo>
                  <a:cubicBezTo>
                    <a:pt x="63" y="74"/>
                    <a:pt x="63" y="74"/>
                    <a:pt x="62" y="75"/>
                  </a:cubicBezTo>
                  <a:cubicBezTo>
                    <a:pt x="60" y="75"/>
                    <a:pt x="60" y="75"/>
                    <a:pt x="60" y="75"/>
                  </a:cubicBezTo>
                  <a:cubicBezTo>
                    <a:pt x="60" y="76"/>
                    <a:pt x="56" y="77"/>
                    <a:pt x="54" y="77"/>
                  </a:cubicBezTo>
                  <a:cubicBezTo>
                    <a:pt x="53" y="77"/>
                    <a:pt x="52" y="77"/>
                    <a:pt x="52" y="77"/>
                  </a:cubicBezTo>
                  <a:cubicBezTo>
                    <a:pt x="50" y="76"/>
                    <a:pt x="49" y="75"/>
                    <a:pt x="48" y="73"/>
                  </a:cubicBezTo>
                  <a:cubicBezTo>
                    <a:pt x="48" y="71"/>
                    <a:pt x="48" y="71"/>
                    <a:pt x="48" y="71"/>
                  </a:cubicBezTo>
                  <a:cubicBezTo>
                    <a:pt x="50" y="70"/>
                    <a:pt x="50" y="70"/>
                    <a:pt x="50" y="70"/>
                  </a:cubicBezTo>
                  <a:cubicBezTo>
                    <a:pt x="50" y="70"/>
                    <a:pt x="50" y="69"/>
                    <a:pt x="51" y="69"/>
                  </a:cubicBezTo>
                  <a:cubicBezTo>
                    <a:pt x="51" y="69"/>
                    <a:pt x="51" y="69"/>
                    <a:pt x="51" y="69"/>
                  </a:cubicBezTo>
                  <a:cubicBezTo>
                    <a:pt x="50" y="68"/>
                    <a:pt x="48" y="67"/>
                    <a:pt x="47" y="66"/>
                  </a:cubicBezTo>
                  <a:cubicBezTo>
                    <a:pt x="47" y="80"/>
                    <a:pt x="47" y="80"/>
                    <a:pt x="47" y="80"/>
                  </a:cubicBezTo>
                  <a:cubicBezTo>
                    <a:pt x="47" y="81"/>
                    <a:pt x="48" y="83"/>
                    <a:pt x="48" y="85"/>
                  </a:cubicBezTo>
                  <a:cubicBezTo>
                    <a:pt x="48" y="89"/>
                    <a:pt x="49" y="94"/>
                    <a:pt x="48" y="97"/>
                  </a:cubicBezTo>
                  <a:cubicBezTo>
                    <a:pt x="48" y="98"/>
                    <a:pt x="47" y="99"/>
                    <a:pt x="47" y="100"/>
                  </a:cubicBezTo>
                  <a:cubicBezTo>
                    <a:pt x="47" y="100"/>
                    <a:pt x="46" y="101"/>
                    <a:pt x="46" y="102"/>
                  </a:cubicBezTo>
                  <a:cubicBezTo>
                    <a:pt x="46" y="103"/>
                    <a:pt x="45" y="104"/>
                    <a:pt x="45" y="105"/>
                  </a:cubicBezTo>
                  <a:cubicBezTo>
                    <a:pt x="45" y="105"/>
                    <a:pt x="45" y="105"/>
                    <a:pt x="45" y="105"/>
                  </a:cubicBezTo>
                  <a:cubicBezTo>
                    <a:pt x="44" y="106"/>
                    <a:pt x="44" y="106"/>
                    <a:pt x="45" y="107"/>
                  </a:cubicBezTo>
                  <a:cubicBezTo>
                    <a:pt x="46" y="108"/>
                    <a:pt x="46" y="109"/>
                    <a:pt x="47" y="110"/>
                  </a:cubicBezTo>
                  <a:cubicBezTo>
                    <a:pt x="48" y="114"/>
                    <a:pt x="48" y="114"/>
                    <a:pt x="48" y="114"/>
                  </a:cubicBezTo>
                  <a:cubicBezTo>
                    <a:pt x="20" y="114"/>
                    <a:pt x="20" y="114"/>
                    <a:pt x="20" y="114"/>
                  </a:cubicBezTo>
                  <a:cubicBezTo>
                    <a:pt x="19" y="114"/>
                    <a:pt x="17" y="114"/>
                    <a:pt x="15" y="114"/>
                  </a:cubicBezTo>
                  <a:cubicBezTo>
                    <a:pt x="12" y="113"/>
                    <a:pt x="8" y="113"/>
                    <a:pt x="5" y="113"/>
                  </a:cubicBezTo>
                  <a:cubicBezTo>
                    <a:pt x="4" y="113"/>
                    <a:pt x="2" y="113"/>
                    <a:pt x="1" y="113"/>
                  </a:cubicBezTo>
                  <a:cubicBezTo>
                    <a:pt x="0" y="113"/>
                    <a:pt x="0" y="114"/>
                    <a:pt x="0" y="114"/>
                  </a:cubicBezTo>
                  <a:cubicBezTo>
                    <a:pt x="0" y="114"/>
                    <a:pt x="0" y="114"/>
                    <a:pt x="0" y="115"/>
                  </a:cubicBezTo>
                  <a:cubicBezTo>
                    <a:pt x="0" y="115"/>
                    <a:pt x="0" y="115"/>
                    <a:pt x="0" y="115"/>
                  </a:cubicBezTo>
                  <a:cubicBezTo>
                    <a:pt x="0" y="115"/>
                    <a:pt x="0" y="116"/>
                    <a:pt x="0" y="116"/>
                  </a:cubicBezTo>
                  <a:cubicBezTo>
                    <a:pt x="0" y="124"/>
                    <a:pt x="0" y="124"/>
                    <a:pt x="0" y="124"/>
                  </a:cubicBezTo>
                  <a:cubicBezTo>
                    <a:pt x="0" y="176"/>
                    <a:pt x="0" y="176"/>
                    <a:pt x="0" y="176"/>
                  </a:cubicBezTo>
                  <a:cubicBezTo>
                    <a:pt x="0" y="178"/>
                    <a:pt x="0" y="178"/>
                    <a:pt x="0" y="178"/>
                  </a:cubicBezTo>
                  <a:cubicBezTo>
                    <a:pt x="0" y="181"/>
                    <a:pt x="0" y="183"/>
                    <a:pt x="0" y="185"/>
                  </a:cubicBezTo>
                  <a:cubicBezTo>
                    <a:pt x="0" y="187"/>
                    <a:pt x="0" y="187"/>
                    <a:pt x="0" y="187"/>
                  </a:cubicBezTo>
                  <a:cubicBezTo>
                    <a:pt x="1" y="190"/>
                    <a:pt x="2" y="193"/>
                    <a:pt x="4" y="195"/>
                  </a:cubicBezTo>
                  <a:cubicBezTo>
                    <a:pt x="29" y="216"/>
                    <a:pt x="29" y="216"/>
                    <a:pt x="29" y="216"/>
                  </a:cubicBezTo>
                  <a:cubicBezTo>
                    <a:pt x="29" y="217"/>
                    <a:pt x="29" y="217"/>
                    <a:pt x="29" y="217"/>
                  </a:cubicBezTo>
                  <a:cubicBezTo>
                    <a:pt x="30" y="217"/>
                    <a:pt x="30" y="217"/>
                    <a:pt x="30" y="217"/>
                  </a:cubicBezTo>
                  <a:cubicBezTo>
                    <a:pt x="30" y="218"/>
                    <a:pt x="30" y="218"/>
                    <a:pt x="30" y="218"/>
                  </a:cubicBezTo>
                  <a:cubicBezTo>
                    <a:pt x="32" y="219"/>
                    <a:pt x="32" y="219"/>
                    <a:pt x="32" y="219"/>
                  </a:cubicBezTo>
                  <a:cubicBezTo>
                    <a:pt x="32" y="219"/>
                    <a:pt x="32" y="219"/>
                    <a:pt x="32" y="219"/>
                  </a:cubicBezTo>
                  <a:cubicBezTo>
                    <a:pt x="32" y="219"/>
                    <a:pt x="32" y="219"/>
                    <a:pt x="32" y="219"/>
                  </a:cubicBezTo>
                  <a:cubicBezTo>
                    <a:pt x="33" y="219"/>
                    <a:pt x="35" y="219"/>
                    <a:pt x="36" y="218"/>
                  </a:cubicBezTo>
                  <a:cubicBezTo>
                    <a:pt x="37" y="218"/>
                    <a:pt x="37" y="218"/>
                    <a:pt x="37" y="218"/>
                  </a:cubicBezTo>
                  <a:cubicBezTo>
                    <a:pt x="40" y="217"/>
                    <a:pt x="45" y="216"/>
                    <a:pt x="49" y="216"/>
                  </a:cubicBezTo>
                  <a:cubicBezTo>
                    <a:pt x="50" y="216"/>
                    <a:pt x="50" y="216"/>
                    <a:pt x="51" y="216"/>
                  </a:cubicBezTo>
                  <a:cubicBezTo>
                    <a:pt x="52" y="216"/>
                    <a:pt x="53" y="216"/>
                    <a:pt x="54" y="216"/>
                  </a:cubicBezTo>
                  <a:cubicBezTo>
                    <a:pt x="58" y="216"/>
                    <a:pt x="62" y="217"/>
                    <a:pt x="66" y="218"/>
                  </a:cubicBezTo>
                  <a:cubicBezTo>
                    <a:pt x="68" y="218"/>
                    <a:pt x="69" y="219"/>
                    <a:pt x="70" y="220"/>
                  </a:cubicBezTo>
                  <a:cubicBezTo>
                    <a:pt x="71" y="220"/>
                    <a:pt x="71" y="220"/>
                    <a:pt x="71" y="220"/>
                  </a:cubicBezTo>
                  <a:cubicBezTo>
                    <a:pt x="71" y="221"/>
                    <a:pt x="72" y="221"/>
                    <a:pt x="72" y="221"/>
                  </a:cubicBezTo>
                  <a:cubicBezTo>
                    <a:pt x="72" y="221"/>
                    <a:pt x="72" y="221"/>
                    <a:pt x="72" y="221"/>
                  </a:cubicBezTo>
                  <a:cubicBezTo>
                    <a:pt x="75" y="223"/>
                    <a:pt x="75" y="223"/>
                    <a:pt x="75" y="223"/>
                  </a:cubicBezTo>
                  <a:cubicBezTo>
                    <a:pt x="75" y="224"/>
                    <a:pt x="75" y="224"/>
                    <a:pt x="75" y="224"/>
                  </a:cubicBezTo>
                  <a:cubicBezTo>
                    <a:pt x="75" y="224"/>
                    <a:pt x="75" y="224"/>
                    <a:pt x="75" y="224"/>
                  </a:cubicBezTo>
                  <a:cubicBezTo>
                    <a:pt x="101" y="229"/>
                    <a:pt x="101" y="229"/>
                    <a:pt x="101" y="229"/>
                  </a:cubicBezTo>
                  <a:cubicBezTo>
                    <a:pt x="102" y="229"/>
                    <a:pt x="102" y="229"/>
                    <a:pt x="103" y="230"/>
                  </a:cubicBezTo>
                  <a:cubicBezTo>
                    <a:pt x="104" y="230"/>
                    <a:pt x="105" y="230"/>
                    <a:pt x="105" y="230"/>
                  </a:cubicBezTo>
                  <a:cubicBezTo>
                    <a:pt x="106" y="230"/>
                    <a:pt x="106" y="230"/>
                    <a:pt x="106" y="230"/>
                  </a:cubicBezTo>
                  <a:cubicBezTo>
                    <a:pt x="105" y="225"/>
                    <a:pt x="105" y="225"/>
                    <a:pt x="105" y="225"/>
                  </a:cubicBezTo>
                  <a:cubicBezTo>
                    <a:pt x="108" y="230"/>
                    <a:pt x="108" y="230"/>
                    <a:pt x="108" y="230"/>
                  </a:cubicBezTo>
                  <a:cubicBezTo>
                    <a:pt x="108" y="230"/>
                    <a:pt x="108" y="230"/>
                    <a:pt x="108" y="230"/>
                  </a:cubicBezTo>
                  <a:cubicBezTo>
                    <a:pt x="109" y="229"/>
                    <a:pt x="109" y="229"/>
                    <a:pt x="110" y="229"/>
                  </a:cubicBezTo>
                  <a:cubicBezTo>
                    <a:pt x="111" y="229"/>
                    <a:pt x="111" y="229"/>
                    <a:pt x="112" y="229"/>
                  </a:cubicBezTo>
                  <a:cubicBezTo>
                    <a:pt x="113" y="228"/>
                    <a:pt x="114" y="227"/>
                    <a:pt x="115" y="226"/>
                  </a:cubicBezTo>
                  <a:cubicBezTo>
                    <a:pt x="115" y="226"/>
                    <a:pt x="115" y="225"/>
                    <a:pt x="116" y="225"/>
                  </a:cubicBezTo>
                  <a:cubicBezTo>
                    <a:pt x="116" y="224"/>
                    <a:pt x="117" y="223"/>
                    <a:pt x="118" y="222"/>
                  </a:cubicBezTo>
                  <a:cubicBezTo>
                    <a:pt x="118" y="222"/>
                    <a:pt x="118" y="222"/>
                    <a:pt x="118" y="222"/>
                  </a:cubicBezTo>
                  <a:cubicBezTo>
                    <a:pt x="120" y="220"/>
                    <a:pt x="121" y="219"/>
                    <a:pt x="123" y="217"/>
                  </a:cubicBezTo>
                  <a:cubicBezTo>
                    <a:pt x="123" y="217"/>
                    <a:pt x="123" y="217"/>
                    <a:pt x="123" y="217"/>
                  </a:cubicBezTo>
                  <a:cubicBezTo>
                    <a:pt x="124" y="216"/>
                    <a:pt x="124" y="216"/>
                    <a:pt x="124" y="216"/>
                  </a:cubicBezTo>
                  <a:cubicBezTo>
                    <a:pt x="124" y="216"/>
                    <a:pt x="125" y="215"/>
                    <a:pt x="125" y="215"/>
                  </a:cubicBezTo>
                  <a:cubicBezTo>
                    <a:pt x="126" y="214"/>
                    <a:pt x="126" y="214"/>
                    <a:pt x="126" y="214"/>
                  </a:cubicBezTo>
                  <a:cubicBezTo>
                    <a:pt x="126" y="214"/>
                    <a:pt x="126" y="213"/>
                    <a:pt x="127" y="212"/>
                  </a:cubicBezTo>
                  <a:cubicBezTo>
                    <a:pt x="127" y="212"/>
                    <a:pt x="127" y="212"/>
                    <a:pt x="127" y="212"/>
                  </a:cubicBezTo>
                  <a:cubicBezTo>
                    <a:pt x="127" y="211"/>
                    <a:pt x="128" y="211"/>
                    <a:pt x="128" y="210"/>
                  </a:cubicBezTo>
                  <a:cubicBezTo>
                    <a:pt x="129" y="208"/>
                    <a:pt x="131" y="206"/>
                    <a:pt x="133" y="205"/>
                  </a:cubicBezTo>
                  <a:cubicBezTo>
                    <a:pt x="134" y="204"/>
                    <a:pt x="136" y="202"/>
                    <a:pt x="138" y="201"/>
                  </a:cubicBezTo>
                  <a:cubicBezTo>
                    <a:pt x="140" y="200"/>
                    <a:pt x="140" y="200"/>
                    <a:pt x="140" y="200"/>
                  </a:cubicBezTo>
                  <a:cubicBezTo>
                    <a:pt x="141" y="200"/>
                    <a:pt x="141" y="200"/>
                    <a:pt x="141" y="200"/>
                  </a:cubicBezTo>
                  <a:cubicBezTo>
                    <a:pt x="142" y="200"/>
                    <a:pt x="143" y="199"/>
                    <a:pt x="145" y="199"/>
                  </a:cubicBezTo>
                  <a:cubicBezTo>
                    <a:pt x="145" y="198"/>
                    <a:pt x="145" y="198"/>
                    <a:pt x="145" y="198"/>
                  </a:cubicBezTo>
                  <a:cubicBezTo>
                    <a:pt x="150" y="197"/>
                    <a:pt x="155" y="195"/>
                    <a:pt x="155" y="191"/>
                  </a:cubicBezTo>
                  <a:cubicBezTo>
                    <a:pt x="155" y="190"/>
                    <a:pt x="155" y="190"/>
                    <a:pt x="155" y="190"/>
                  </a:cubicBezTo>
                  <a:cubicBezTo>
                    <a:pt x="155" y="189"/>
                    <a:pt x="155" y="189"/>
                    <a:pt x="155" y="189"/>
                  </a:cubicBezTo>
                  <a:cubicBezTo>
                    <a:pt x="155" y="188"/>
                    <a:pt x="155" y="188"/>
                    <a:pt x="155" y="187"/>
                  </a:cubicBezTo>
                  <a:cubicBezTo>
                    <a:pt x="156" y="186"/>
                    <a:pt x="156" y="186"/>
                    <a:pt x="156" y="186"/>
                  </a:cubicBezTo>
                  <a:cubicBezTo>
                    <a:pt x="156" y="185"/>
                    <a:pt x="157" y="183"/>
                    <a:pt x="158" y="181"/>
                  </a:cubicBezTo>
                  <a:cubicBezTo>
                    <a:pt x="158" y="181"/>
                    <a:pt x="158" y="181"/>
                    <a:pt x="158" y="181"/>
                  </a:cubicBezTo>
                  <a:cubicBezTo>
                    <a:pt x="159" y="180"/>
                    <a:pt x="159" y="180"/>
                    <a:pt x="159" y="180"/>
                  </a:cubicBezTo>
                  <a:cubicBezTo>
                    <a:pt x="160" y="179"/>
                    <a:pt x="161" y="179"/>
                    <a:pt x="162" y="178"/>
                  </a:cubicBezTo>
                  <a:cubicBezTo>
                    <a:pt x="163" y="177"/>
                    <a:pt x="163" y="177"/>
                    <a:pt x="163" y="177"/>
                  </a:cubicBezTo>
                  <a:cubicBezTo>
                    <a:pt x="168" y="175"/>
                    <a:pt x="174" y="172"/>
                    <a:pt x="180" y="171"/>
                  </a:cubicBezTo>
                  <a:cubicBezTo>
                    <a:pt x="181" y="171"/>
                    <a:pt x="182" y="171"/>
                    <a:pt x="182" y="171"/>
                  </a:cubicBezTo>
                  <a:cubicBezTo>
                    <a:pt x="183" y="171"/>
                    <a:pt x="183" y="171"/>
                    <a:pt x="184" y="171"/>
                  </a:cubicBezTo>
                  <a:cubicBezTo>
                    <a:pt x="185" y="171"/>
                    <a:pt x="186" y="171"/>
                    <a:pt x="187" y="171"/>
                  </a:cubicBezTo>
                  <a:cubicBezTo>
                    <a:pt x="189" y="171"/>
                    <a:pt x="190" y="172"/>
                    <a:pt x="191" y="172"/>
                  </a:cubicBezTo>
                  <a:cubicBezTo>
                    <a:pt x="191" y="171"/>
                    <a:pt x="191" y="171"/>
                    <a:pt x="191" y="171"/>
                  </a:cubicBezTo>
                  <a:cubicBezTo>
                    <a:pt x="190" y="168"/>
                    <a:pt x="188" y="164"/>
                    <a:pt x="188" y="161"/>
                  </a:cubicBezTo>
                  <a:cubicBezTo>
                    <a:pt x="187" y="160"/>
                    <a:pt x="187" y="160"/>
                    <a:pt x="187" y="159"/>
                  </a:cubicBezTo>
                  <a:cubicBezTo>
                    <a:pt x="187" y="159"/>
                    <a:pt x="187" y="158"/>
                    <a:pt x="188" y="158"/>
                  </a:cubicBezTo>
                  <a:cubicBezTo>
                    <a:pt x="188" y="156"/>
                    <a:pt x="190" y="156"/>
                    <a:pt x="191" y="155"/>
                  </a:cubicBezTo>
                  <a:cubicBezTo>
                    <a:pt x="252" y="135"/>
                    <a:pt x="252" y="135"/>
                    <a:pt x="252" y="135"/>
                  </a:cubicBezTo>
                  <a:cubicBezTo>
                    <a:pt x="252" y="135"/>
                    <a:pt x="252" y="135"/>
                    <a:pt x="252" y="135"/>
                  </a:cubicBezTo>
                  <a:cubicBezTo>
                    <a:pt x="251" y="134"/>
                    <a:pt x="251" y="134"/>
                    <a:pt x="251" y="134"/>
                  </a:cubicBezTo>
                  <a:cubicBezTo>
                    <a:pt x="251" y="133"/>
                    <a:pt x="250" y="133"/>
                    <a:pt x="250" y="132"/>
                  </a:cubicBezTo>
                  <a:cubicBezTo>
                    <a:pt x="248" y="130"/>
                    <a:pt x="248" y="130"/>
                    <a:pt x="248" y="130"/>
                  </a:cubicBezTo>
                  <a:cubicBezTo>
                    <a:pt x="248" y="129"/>
                    <a:pt x="247" y="129"/>
                    <a:pt x="247" y="128"/>
                  </a:cubicBezTo>
                  <a:cubicBezTo>
                    <a:pt x="246" y="127"/>
                    <a:pt x="246" y="126"/>
                    <a:pt x="246" y="126"/>
                  </a:cubicBezTo>
                  <a:cubicBezTo>
                    <a:pt x="246" y="125"/>
                    <a:pt x="246" y="124"/>
                    <a:pt x="247" y="123"/>
                  </a:cubicBezTo>
                  <a:cubicBezTo>
                    <a:pt x="248" y="122"/>
                    <a:pt x="249" y="122"/>
                    <a:pt x="250" y="121"/>
                  </a:cubicBezTo>
                  <a:cubicBezTo>
                    <a:pt x="250" y="121"/>
                    <a:pt x="250" y="121"/>
                    <a:pt x="250" y="121"/>
                  </a:cubicBezTo>
                  <a:cubicBezTo>
                    <a:pt x="250" y="120"/>
                    <a:pt x="250" y="120"/>
                    <a:pt x="250" y="120"/>
                  </a:cubicBezTo>
                  <a:cubicBezTo>
                    <a:pt x="251" y="120"/>
                    <a:pt x="251" y="119"/>
                    <a:pt x="251" y="119"/>
                  </a:cubicBezTo>
                  <a:cubicBezTo>
                    <a:pt x="251" y="118"/>
                    <a:pt x="251" y="118"/>
                    <a:pt x="251" y="118"/>
                  </a:cubicBezTo>
                  <a:cubicBezTo>
                    <a:pt x="252" y="115"/>
                    <a:pt x="253" y="111"/>
                    <a:pt x="253" y="108"/>
                  </a:cubicBezTo>
                  <a:cubicBezTo>
                    <a:pt x="254" y="106"/>
                    <a:pt x="254" y="105"/>
                    <a:pt x="254" y="103"/>
                  </a:cubicBezTo>
                  <a:cubicBezTo>
                    <a:pt x="254" y="102"/>
                    <a:pt x="254" y="102"/>
                    <a:pt x="254" y="102"/>
                  </a:cubicBezTo>
                  <a:cubicBezTo>
                    <a:pt x="254" y="101"/>
                    <a:pt x="254" y="101"/>
                    <a:pt x="255" y="100"/>
                  </a:cubicBezTo>
                  <a:cubicBezTo>
                    <a:pt x="255" y="98"/>
                    <a:pt x="255" y="98"/>
                    <a:pt x="255" y="98"/>
                  </a:cubicBezTo>
                  <a:cubicBezTo>
                    <a:pt x="257" y="98"/>
                    <a:pt x="257" y="98"/>
                    <a:pt x="257" y="98"/>
                  </a:cubicBezTo>
                  <a:cubicBezTo>
                    <a:pt x="257" y="98"/>
                    <a:pt x="258" y="98"/>
                    <a:pt x="258" y="98"/>
                  </a:cubicBezTo>
                  <a:cubicBezTo>
                    <a:pt x="258" y="98"/>
                    <a:pt x="258" y="98"/>
                    <a:pt x="259" y="98"/>
                  </a:cubicBezTo>
                  <a:cubicBezTo>
                    <a:pt x="259" y="98"/>
                    <a:pt x="259" y="98"/>
                    <a:pt x="260" y="98"/>
                  </a:cubicBezTo>
                  <a:cubicBezTo>
                    <a:pt x="260" y="98"/>
                    <a:pt x="260" y="98"/>
                    <a:pt x="260" y="98"/>
                  </a:cubicBezTo>
                  <a:cubicBezTo>
                    <a:pt x="261" y="98"/>
                    <a:pt x="262" y="97"/>
                    <a:pt x="264" y="96"/>
                  </a:cubicBezTo>
                  <a:cubicBezTo>
                    <a:pt x="261" y="94"/>
                    <a:pt x="260" y="92"/>
                    <a:pt x="259" y="88"/>
                  </a:cubicBezTo>
                  <a:cubicBezTo>
                    <a:pt x="259" y="86"/>
                    <a:pt x="259" y="86"/>
                    <a:pt x="259" y="86"/>
                  </a:cubicBezTo>
                  <a:cubicBezTo>
                    <a:pt x="259" y="85"/>
                    <a:pt x="259" y="85"/>
                    <a:pt x="259" y="84"/>
                  </a:cubicBezTo>
                  <a:cubicBezTo>
                    <a:pt x="259" y="83"/>
                    <a:pt x="259" y="83"/>
                    <a:pt x="259" y="83"/>
                  </a:cubicBezTo>
                  <a:cubicBezTo>
                    <a:pt x="259" y="81"/>
                    <a:pt x="259" y="79"/>
                    <a:pt x="259" y="77"/>
                  </a:cubicBezTo>
                  <a:cubicBezTo>
                    <a:pt x="259" y="76"/>
                    <a:pt x="259" y="76"/>
                    <a:pt x="259" y="75"/>
                  </a:cubicBezTo>
                  <a:cubicBezTo>
                    <a:pt x="259" y="74"/>
                    <a:pt x="259" y="72"/>
                    <a:pt x="259" y="71"/>
                  </a:cubicBezTo>
                  <a:cubicBezTo>
                    <a:pt x="260" y="69"/>
                    <a:pt x="260" y="67"/>
                    <a:pt x="260" y="65"/>
                  </a:cubicBezTo>
                  <a:cubicBezTo>
                    <a:pt x="260" y="65"/>
                    <a:pt x="260" y="64"/>
                    <a:pt x="260" y="64"/>
                  </a:cubicBezTo>
                  <a:cubicBezTo>
                    <a:pt x="260" y="63"/>
                    <a:pt x="260" y="63"/>
                    <a:pt x="260" y="63"/>
                  </a:cubicBezTo>
                  <a:cubicBezTo>
                    <a:pt x="260" y="63"/>
                    <a:pt x="260" y="63"/>
                    <a:pt x="260" y="63"/>
                  </a:cubicBezTo>
                  <a:cubicBezTo>
                    <a:pt x="260" y="63"/>
                    <a:pt x="260" y="62"/>
                    <a:pt x="260" y="62"/>
                  </a:cubicBezTo>
                  <a:cubicBezTo>
                    <a:pt x="260" y="61"/>
                    <a:pt x="260" y="61"/>
                    <a:pt x="260" y="61"/>
                  </a:cubicBezTo>
                  <a:cubicBezTo>
                    <a:pt x="260" y="60"/>
                    <a:pt x="260" y="60"/>
                    <a:pt x="260" y="60"/>
                  </a:cubicBezTo>
                  <a:cubicBezTo>
                    <a:pt x="260" y="59"/>
                    <a:pt x="261" y="58"/>
                    <a:pt x="261" y="57"/>
                  </a:cubicBezTo>
                  <a:cubicBezTo>
                    <a:pt x="262" y="57"/>
                    <a:pt x="262" y="57"/>
                    <a:pt x="262" y="57"/>
                  </a:cubicBezTo>
                  <a:cubicBezTo>
                    <a:pt x="263" y="56"/>
                    <a:pt x="263" y="56"/>
                    <a:pt x="263" y="56"/>
                  </a:cubicBezTo>
                  <a:cubicBezTo>
                    <a:pt x="268" y="52"/>
                    <a:pt x="268" y="52"/>
                    <a:pt x="268" y="52"/>
                  </a:cubicBezTo>
                  <a:cubicBezTo>
                    <a:pt x="268" y="52"/>
                    <a:pt x="268" y="52"/>
                    <a:pt x="268" y="52"/>
                  </a:cubicBezTo>
                  <a:cubicBezTo>
                    <a:pt x="264" y="48"/>
                    <a:pt x="261" y="44"/>
                    <a:pt x="261" y="38"/>
                  </a:cubicBezTo>
                  <a:cubicBezTo>
                    <a:pt x="261" y="36"/>
                    <a:pt x="260" y="35"/>
                    <a:pt x="260" y="34"/>
                  </a:cubicBezTo>
                  <a:cubicBezTo>
                    <a:pt x="259" y="32"/>
                    <a:pt x="256" y="30"/>
                    <a:pt x="253" y="27"/>
                  </a:cubicBezTo>
                  <a:cubicBezTo>
                    <a:pt x="252" y="27"/>
                    <a:pt x="252" y="27"/>
                    <a:pt x="252" y="27"/>
                  </a:cubicBezTo>
                  <a:cubicBezTo>
                    <a:pt x="250" y="26"/>
                    <a:pt x="247" y="25"/>
                    <a:pt x="244" y="24"/>
                  </a:cubicBezTo>
                  <a:cubicBezTo>
                    <a:pt x="244" y="24"/>
                    <a:pt x="244" y="24"/>
                    <a:pt x="244" y="24"/>
                  </a:cubicBezTo>
                  <a:cubicBezTo>
                    <a:pt x="239" y="23"/>
                    <a:pt x="234" y="21"/>
                    <a:pt x="230" y="19"/>
                  </a:cubicBezTo>
                  <a:cubicBezTo>
                    <a:pt x="229" y="19"/>
                    <a:pt x="229" y="19"/>
                    <a:pt x="229" y="19"/>
                  </a:cubicBezTo>
                  <a:cubicBezTo>
                    <a:pt x="228" y="18"/>
                    <a:pt x="228" y="18"/>
                    <a:pt x="228" y="18"/>
                  </a:cubicBezTo>
                  <a:cubicBezTo>
                    <a:pt x="227" y="17"/>
                    <a:pt x="227" y="17"/>
                    <a:pt x="227" y="17"/>
                  </a:cubicBezTo>
                  <a:cubicBezTo>
                    <a:pt x="227" y="17"/>
                    <a:pt x="227" y="17"/>
                    <a:pt x="227" y="17"/>
                  </a:cubicBezTo>
                  <a:cubicBezTo>
                    <a:pt x="226" y="17"/>
                    <a:pt x="224" y="16"/>
                    <a:pt x="223" y="15"/>
                  </a:cubicBezTo>
                  <a:cubicBezTo>
                    <a:pt x="221" y="14"/>
                    <a:pt x="219" y="13"/>
                    <a:pt x="217" y="12"/>
                  </a:cubicBezTo>
                  <a:cubicBezTo>
                    <a:pt x="217" y="12"/>
                    <a:pt x="217" y="12"/>
                    <a:pt x="217" y="12"/>
                  </a:cubicBezTo>
                  <a:cubicBezTo>
                    <a:pt x="216" y="11"/>
                    <a:pt x="214" y="11"/>
                    <a:pt x="212" y="11"/>
                  </a:cubicBezTo>
                  <a:cubicBezTo>
                    <a:pt x="211" y="11"/>
                    <a:pt x="211" y="11"/>
                    <a:pt x="211" y="11"/>
                  </a:cubicBezTo>
                  <a:cubicBezTo>
                    <a:pt x="211" y="10"/>
                    <a:pt x="211" y="10"/>
                    <a:pt x="211" y="10"/>
                  </a:cubicBezTo>
                  <a:cubicBezTo>
                    <a:pt x="211" y="11"/>
                    <a:pt x="211" y="11"/>
                    <a:pt x="211" y="11"/>
                  </a:cubicBezTo>
                  <a:cubicBezTo>
                    <a:pt x="211" y="11"/>
                    <a:pt x="210" y="11"/>
                    <a:pt x="210" y="11"/>
                  </a:cubicBezTo>
                  <a:cubicBezTo>
                    <a:pt x="207" y="11"/>
                    <a:pt x="204" y="6"/>
                    <a:pt x="200" y="4"/>
                  </a:cubicBezTo>
                  <a:cubicBezTo>
                    <a:pt x="200" y="4"/>
                    <a:pt x="200" y="6"/>
                    <a:pt x="199" y="6"/>
                  </a:cubicBezTo>
                  <a:cubicBezTo>
                    <a:pt x="199" y="6"/>
                    <a:pt x="199" y="6"/>
                    <a:pt x="198" y="6"/>
                  </a:cubicBezTo>
                  <a:cubicBezTo>
                    <a:pt x="195" y="5"/>
                    <a:pt x="196" y="3"/>
                    <a:pt x="1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221"/>
            <p:cNvSpPr/>
            <p:nvPr/>
          </p:nvSpPr>
          <p:spPr bwMode="auto">
            <a:xfrm>
              <a:off x="5081" y="3637"/>
              <a:ext cx="411" cy="376"/>
            </a:xfrm>
            <a:custGeom>
              <a:gdLst>
                <a:gd name="T0" fmla="*/ 86 w 174"/>
                <a:gd name="T1" fmla="*/ 6 h 159"/>
                <a:gd name="T2" fmla="*/ 81 w 174"/>
                <a:gd name="T3" fmla="*/ 12 h 159"/>
                <a:gd name="T4" fmla="*/ 81 w 174"/>
                <a:gd name="T5" fmla="*/ 15 h 159"/>
                <a:gd name="T6" fmla="*/ 63 w 174"/>
                <a:gd name="T7" fmla="*/ 29 h 159"/>
                <a:gd name="T8" fmla="*/ 56 w 174"/>
                <a:gd name="T9" fmla="*/ 32 h 159"/>
                <a:gd name="T10" fmla="*/ 52 w 174"/>
                <a:gd name="T11" fmla="*/ 38 h 159"/>
                <a:gd name="T12" fmla="*/ 48 w 174"/>
                <a:gd name="T13" fmla="*/ 43 h 159"/>
                <a:gd name="T14" fmla="*/ 40 w 174"/>
                <a:gd name="T15" fmla="*/ 52 h 159"/>
                <a:gd name="T16" fmla="*/ 31 w 174"/>
                <a:gd name="T17" fmla="*/ 58 h 159"/>
                <a:gd name="T18" fmla="*/ 30 w 174"/>
                <a:gd name="T19" fmla="*/ 58 h 159"/>
                <a:gd name="T20" fmla="*/ 28 w 174"/>
                <a:gd name="T21" fmla="*/ 59 h 159"/>
                <a:gd name="T22" fmla="*/ 22 w 174"/>
                <a:gd name="T23" fmla="*/ 58 h 159"/>
                <a:gd name="T24" fmla="*/ 4 w 174"/>
                <a:gd name="T25" fmla="*/ 55 h 159"/>
                <a:gd name="T26" fmla="*/ 7 w 174"/>
                <a:gd name="T27" fmla="*/ 67 h 159"/>
                <a:gd name="T28" fmla="*/ 16 w 174"/>
                <a:gd name="T29" fmla="*/ 87 h 159"/>
                <a:gd name="T30" fmla="*/ 32 w 174"/>
                <a:gd name="T31" fmla="*/ 99 h 159"/>
                <a:gd name="T32" fmla="*/ 44 w 174"/>
                <a:gd name="T33" fmla="*/ 107 h 159"/>
                <a:gd name="T34" fmla="*/ 44 w 174"/>
                <a:gd name="T35" fmla="*/ 112 h 159"/>
                <a:gd name="T36" fmla="*/ 47 w 174"/>
                <a:gd name="T37" fmla="*/ 113 h 159"/>
                <a:gd name="T38" fmla="*/ 54 w 174"/>
                <a:gd name="T39" fmla="*/ 119 h 159"/>
                <a:gd name="T40" fmla="*/ 54 w 174"/>
                <a:gd name="T41" fmla="*/ 124 h 159"/>
                <a:gd name="T42" fmla="*/ 58 w 174"/>
                <a:gd name="T43" fmla="*/ 134 h 159"/>
                <a:gd name="T44" fmla="*/ 69 w 174"/>
                <a:gd name="T45" fmla="*/ 141 h 159"/>
                <a:gd name="T46" fmla="*/ 86 w 174"/>
                <a:gd name="T47" fmla="*/ 147 h 159"/>
                <a:gd name="T48" fmla="*/ 87 w 174"/>
                <a:gd name="T49" fmla="*/ 150 h 159"/>
                <a:gd name="T50" fmla="*/ 99 w 174"/>
                <a:gd name="T51" fmla="*/ 155 h 159"/>
                <a:gd name="T52" fmla="*/ 127 w 174"/>
                <a:gd name="T53" fmla="*/ 157 h 159"/>
                <a:gd name="T54" fmla="*/ 135 w 174"/>
                <a:gd name="T55" fmla="*/ 159 h 159"/>
                <a:gd name="T56" fmla="*/ 137 w 174"/>
                <a:gd name="T57" fmla="*/ 157 h 159"/>
                <a:gd name="T58" fmla="*/ 148 w 174"/>
                <a:gd name="T59" fmla="*/ 145 h 159"/>
                <a:gd name="T60" fmla="*/ 159 w 174"/>
                <a:gd name="T61" fmla="*/ 134 h 159"/>
                <a:gd name="T62" fmla="*/ 160 w 174"/>
                <a:gd name="T63" fmla="*/ 122 h 159"/>
                <a:gd name="T64" fmla="*/ 167 w 174"/>
                <a:gd name="T65" fmla="*/ 113 h 159"/>
                <a:gd name="T66" fmla="*/ 174 w 174"/>
                <a:gd name="T67" fmla="*/ 99 h 159"/>
                <a:gd name="T68" fmla="*/ 171 w 174"/>
                <a:gd name="T69" fmla="*/ 98 h 159"/>
                <a:gd name="T70" fmla="*/ 170 w 174"/>
                <a:gd name="T71" fmla="*/ 82 h 159"/>
                <a:gd name="T72" fmla="*/ 169 w 174"/>
                <a:gd name="T73" fmla="*/ 80 h 159"/>
                <a:gd name="T74" fmla="*/ 168 w 174"/>
                <a:gd name="T75" fmla="*/ 72 h 159"/>
                <a:gd name="T76" fmla="*/ 172 w 174"/>
                <a:gd name="T77" fmla="*/ 64 h 159"/>
                <a:gd name="T78" fmla="*/ 173 w 174"/>
                <a:gd name="T79" fmla="*/ 62 h 159"/>
                <a:gd name="T80" fmla="*/ 174 w 174"/>
                <a:gd name="T81" fmla="*/ 45 h 159"/>
                <a:gd name="T82" fmla="*/ 172 w 174"/>
                <a:gd name="T83" fmla="*/ 29 h 159"/>
                <a:gd name="T84" fmla="*/ 171 w 174"/>
                <a:gd name="T85" fmla="*/ 26 h 159"/>
                <a:gd name="T86" fmla="*/ 131 w 174"/>
                <a:gd name="T87" fmla="*/ 11 h 159"/>
                <a:gd name="T88" fmla="*/ 124 w 174"/>
                <a:gd name="T89" fmla="*/ 10 h 159"/>
                <a:gd name="T90" fmla="*/ 112 w 174"/>
                <a:gd name="T91" fmla="*/ 0 h 159"/>
                <a:gd name="T92" fmla="*/ 107 w 174"/>
                <a:gd name="T93" fmla="*/ 0 h 1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4" h="159">
                  <a:moveTo>
                    <a:pt x="102" y="0"/>
                  </a:moveTo>
                  <a:cubicBezTo>
                    <a:pt x="102" y="0"/>
                    <a:pt x="101" y="0"/>
                    <a:pt x="101" y="0"/>
                  </a:cubicBezTo>
                  <a:cubicBezTo>
                    <a:pt x="96" y="0"/>
                    <a:pt x="91" y="3"/>
                    <a:pt x="86" y="6"/>
                  </a:cubicBezTo>
                  <a:cubicBezTo>
                    <a:pt x="85" y="6"/>
                    <a:pt x="84" y="7"/>
                    <a:pt x="82" y="7"/>
                  </a:cubicBezTo>
                  <a:cubicBezTo>
                    <a:pt x="82" y="8"/>
                    <a:pt x="82" y="10"/>
                    <a:pt x="81" y="11"/>
                  </a:cubicBezTo>
                  <a:cubicBezTo>
                    <a:pt x="81" y="12"/>
                    <a:pt x="81" y="12"/>
                    <a:pt x="81" y="12"/>
                  </a:cubicBezTo>
                  <a:cubicBezTo>
                    <a:pt x="81" y="13"/>
                    <a:pt x="81" y="13"/>
                    <a:pt x="81" y="13"/>
                  </a:cubicBezTo>
                  <a:cubicBezTo>
                    <a:pt x="81" y="13"/>
                    <a:pt x="81" y="13"/>
                    <a:pt x="81" y="13"/>
                  </a:cubicBezTo>
                  <a:cubicBezTo>
                    <a:pt x="81" y="14"/>
                    <a:pt x="81" y="14"/>
                    <a:pt x="81" y="15"/>
                  </a:cubicBezTo>
                  <a:cubicBezTo>
                    <a:pt x="80" y="22"/>
                    <a:pt x="72" y="25"/>
                    <a:pt x="67" y="27"/>
                  </a:cubicBezTo>
                  <a:cubicBezTo>
                    <a:pt x="66" y="27"/>
                    <a:pt x="64" y="28"/>
                    <a:pt x="63" y="28"/>
                  </a:cubicBezTo>
                  <a:cubicBezTo>
                    <a:pt x="63" y="29"/>
                    <a:pt x="63" y="29"/>
                    <a:pt x="63" y="29"/>
                  </a:cubicBezTo>
                  <a:cubicBezTo>
                    <a:pt x="62" y="29"/>
                    <a:pt x="62" y="29"/>
                    <a:pt x="62" y="29"/>
                  </a:cubicBezTo>
                  <a:cubicBezTo>
                    <a:pt x="61" y="29"/>
                    <a:pt x="61" y="30"/>
                    <a:pt x="60" y="30"/>
                  </a:cubicBezTo>
                  <a:cubicBezTo>
                    <a:pt x="59" y="30"/>
                    <a:pt x="58" y="31"/>
                    <a:pt x="56" y="32"/>
                  </a:cubicBezTo>
                  <a:cubicBezTo>
                    <a:pt x="55" y="34"/>
                    <a:pt x="54" y="35"/>
                    <a:pt x="53" y="36"/>
                  </a:cubicBezTo>
                  <a:cubicBezTo>
                    <a:pt x="53" y="36"/>
                    <a:pt x="52" y="37"/>
                    <a:pt x="52" y="38"/>
                  </a:cubicBezTo>
                  <a:cubicBezTo>
                    <a:pt x="52" y="38"/>
                    <a:pt x="52" y="38"/>
                    <a:pt x="52" y="38"/>
                  </a:cubicBezTo>
                  <a:cubicBezTo>
                    <a:pt x="52" y="39"/>
                    <a:pt x="51" y="40"/>
                    <a:pt x="51" y="40"/>
                  </a:cubicBezTo>
                  <a:cubicBezTo>
                    <a:pt x="50" y="41"/>
                    <a:pt x="50" y="41"/>
                    <a:pt x="50" y="41"/>
                  </a:cubicBezTo>
                  <a:cubicBezTo>
                    <a:pt x="49" y="42"/>
                    <a:pt x="49" y="43"/>
                    <a:pt x="48" y="43"/>
                  </a:cubicBezTo>
                  <a:cubicBezTo>
                    <a:pt x="47" y="45"/>
                    <a:pt x="47" y="45"/>
                    <a:pt x="47" y="45"/>
                  </a:cubicBezTo>
                  <a:cubicBezTo>
                    <a:pt x="44" y="47"/>
                    <a:pt x="42" y="49"/>
                    <a:pt x="40" y="51"/>
                  </a:cubicBezTo>
                  <a:cubicBezTo>
                    <a:pt x="40" y="52"/>
                    <a:pt x="40" y="52"/>
                    <a:pt x="40" y="52"/>
                  </a:cubicBezTo>
                  <a:cubicBezTo>
                    <a:pt x="38" y="54"/>
                    <a:pt x="36" y="56"/>
                    <a:pt x="34" y="57"/>
                  </a:cubicBezTo>
                  <a:cubicBezTo>
                    <a:pt x="33" y="57"/>
                    <a:pt x="32" y="57"/>
                    <a:pt x="32" y="58"/>
                  </a:cubicBezTo>
                  <a:cubicBezTo>
                    <a:pt x="31" y="58"/>
                    <a:pt x="31" y="58"/>
                    <a:pt x="31" y="58"/>
                  </a:cubicBezTo>
                  <a:cubicBezTo>
                    <a:pt x="30" y="58"/>
                    <a:pt x="30" y="58"/>
                    <a:pt x="30" y="58"/>
                  </a:cubicBezTo>
                  <a:cubicBezTo>
                    <a:pt x="30" y="58"/>
                    <a:pt x="30" y="58"/>
                    <a:pt x="30" y="58"/>
                  </a:cubicBezTo>
                  <a:cubicBezTo>
                    <a:pt x="30" y="58"/>
                    <a:pt x="30" y="58"/>
                    <a:pt x="30" y="58"/>
                  </a:cubicBezTo>
                  <a:cubicBezTo>
                    <a:pt x="29" y="58"/>
                    <a:pt x="29" y="58"/>
                    <a:pt x="29" y="58"/>
                  </a:cubicBezTo>
                  <a:cubicBezTo>
                    <a:pt x="28" y="59"/>
                    <a:pt x="28" y="59"/>
                    <a:pt x="28" y="59"/>
                  </a:cubicBezTo>
                  <a:cubicBezTo>
                    <a:pt x="28" y="59"/>
                    <a:pt x="28" y="59"/>
                    <a:pt x="28" y="59"/>
                  </a:cubicBezTo>
                  <a:cubicBezTo>
                    <a:pt x="28" y="59"/>
                    <a:pt x="27" y="59"/>
                    <a:pt x="26" y="59"/>
                  </a:cubicBezTo>
                  <a:cubicBezTo>
                    <a:pt x="26" y="59"/>
                    <a:pt x="26" y="59"/>
                    <a:pt x="26" y="59"/>
                  </a:cubicBezTo>
                  <a:cubicBezTo>
                    <a:pt x="25" y="59"/>
                    <a:pt x="23" y="59"/>
                    <a:pt x="22" y="58"/>
                  </a:cubicBezTo>
                  <a:cubicBezTo>
                    <a:pt x="20" y="58"/>
                    <a:pt x="20" y="58"/>
                    <a:pt x="20" y="58"/>
                  </a:cubicBezTo>
                  <a:cubicBezTo>
                    <a:pt x="3" y="55"/>
                    <a:pt x="3" y="55"/>
                    <a:pt x="3" y="55"/>
                  </a:cubicBezTo>
                  <a:cubicBezTo>
                    <a:pt x="4" y="55"/>
                    <a:pt x="4" y="55"/>
                    <a:pt x="4" y="55"/>
                  </a:cubicBezTo>
                  <a:cubicBezTo>
                    <a:pt x="0" y="54"/>
                    <a:pt x="0" y="54"/>
                    <a:pt x="0" y="54"/>
                  </a:cubicBezTo>
                  <a:cubicBezTo>
                    <a:pt x="5" y="63"/>
                    <a:pt x="5" y="63"/>
                    <a:pt x="5" y="63"/>
                  </a:cubicBezTo>
                  <a:cubicBezTo>
                    <a:pt x="6" y="64"/>
                    <a:pt x="6" y="66"/>
                    <a:pt x="7" y="67"/>
                  </a:cubicBezTo>
                  <a:cubicBezTo>
                    <a:pt x="10" y="71"/>
                    <a:pt x="13" y="76"/>
                    <a:pt x="14" y="81"/>
                  </a:cubicBezTo>
                  <a:cubicBezTo>
                    <a:pt x="15" y="82"/>
                    <a:pt x="15" y="82"/>
                    <a:pt x="15" y="83"/>
                  </a:cubicBezTo>
                  <a:cubicBezTo>
                    <a:pt x="16" y="87"/>
                    <a:pt x="16" y="87"/>
                    <a:pt x="16" y="87"/>
                  </a:cubicBezTo>
                  <a:cubicBezTo>
                    <a:pt x="17" y="89"/>
                    <a:pt x="18" y="90"/>
                    <a:pt x="19" y="91"/>
                  </a:cubicBezTo>
                  <a:cubicBezTo>
                    <a:pt x="20" y="92"/>
                    <a:pt x="22" y="93"/>
                    <a:pt x="23" y="94"/>
                  </a:cubicBezTo>
                  <a:cubicBezTo>
                    <a:pt x="26" y="96"/>
                    <a:pt x="29" y="98"/>
                    <a:pt x="32" y="99"/>
                  </a:cubicBezTo>
                  <a:cubicBezTo>
                    <a:pt x="33" y="99"/>
                    <a:pt x="33" y="99"/>
                    <a:pt x="33" y="99"/>
                  </a:cubicBezTo>
                  <a:cubicBezTo>
                    <a:pt x="35" y="100"/>
                    <a:pt x="38" y="101"/>
                    <a:pt x="40" y="103"/>
                  </a:cubicBezTo>
                  <a:cubicBezTo>
                    <a:pt x="42" y="104"/>
                    <a:pt x="43" y="105"/>
                    <a:pt x="44" y="107"/>
                  </a:cubicBezTo>
                  <a:cubicBezTo>
                    <a:pt x="44" y="108"/>
                    <a:pt x="44" y="108"/>
                    <a:pt x="44" y="109"/>
                  </a:cubicBezTo>
                  <a:cubicBezTo>
                    <a:pt x="44" y="109"/>
                    <a:pt x="44" y="109"/>
                    <a:pt x="44" y="109"/>
                  </a:cubicBezTo>
                  <a:cubicBezTo>
                    <a:pt x="44" y="110"/>
                    <a:pt x="44" y="111"/>
                    <a:pt x="44" y="112"/>
                  </a:cubicBezTo>
                  <a:cubicBezTo>
                    <a:pt x="44" y="113"/>
                    <a:pt x="44" y="113"/>
                    <a:pt x="44" y="113"/>
                  </a:cubicBezTo>
                  <a:cubicBezTo>
                    <a:pt x="44" y="113"/>
                    <a:pt x="44" y="113"/>
                    <a:pt x="44" y="113"/>
                  </a:cubicBezTo>
                  <a:cubicBezTo>
                    <a:pt x="47" y="113"/>
                    <a:pt x="47" y="113"/>
                    <a:pt x="47" y="113"/>
                  </a:cubicBezTo>
                  <a:cubicBezTo>
                    <a:pt x="50" y="113"/>
                    <a:pt x="53" y="113"/>
                    <a:pt x="54" y="115"/>
                  </a:cubicBezTo>
                  <a:cubicBezTo>
                    <a:pt x="54" y="116"/>
                    <a:pt x="55" y="117"/>
                    <a:pt x="54" y="118"/>
                  </a:cubicBezTo>
                  <a:cubicBezTo>
                    <a:pt x="54" y="119"/>
                    <a:pt x="54" y="119"/>
                    <a:pt x="54" y="119"/>
                  </a:cubicBezTo>
                  <a:cubicBezTo>
                    <a:pt x="54" y="120"/>
                    <a:pt x="54" y="120"/>
                    <a:pt x="54" y="120"/>
                  </a:cubicBezTo>
                  <a:cubicBezTo>
                    <a:pt x="54" y="121"/>
                    <a:pt x="54" y="122"/>
                    <a:pt x="54" y="123"/>
                  </a:cubicBezTo>
                  <a:cubicBezTo>
                    <a:pt x="54" y="124"/>
                    <a:pt x="54" y="124"/>
                    <a:pt x="54" y="124"/>
                  </a:cubicBezTo>
                  <a:cubicBezTo>
                    <a:pt x="54" y="126"/>
                    <a:pt x="55" y="128"/>
                    <a:pt x="56" y="130"/>
                  </a:cubicBezTo>
                  <a:cubicBezTo>
                    <a:pt x="56" y="131"/>
                    <a:pt x="56" y="131"/>
                    <a:pt x="56" y="131"/>
                  </a:cubicBezTo>
                  <a:cubicBezTo>
                    <a:pt x="57" y="131"/>
                    <a:pt x="57" y="132"/>
                    <a:pt x="58" y="134"/>
                  </a:cubicBezTo>
                  <a:cubicBezTo>
                    <a:pt x="58" y="135"/>
                    <a:pt x="59" y="139"/>
                    <a:pt x="60" y="139"/>
                  </a:cubicBezTo>
                  <a:cubicBezTo>
                    <a:pt x="61" y="140"/>
                    <a:pt x="64" y="140"/>
                    <a:pt x="66" y="141"/>
                  </a:cubicBezTo>
                  <a:cubicBezTo>
                    <a:pt x="67" y="141"/>
                    <a:pt x="68" y="141"/>
                    <a:pt x="69" y="141"/>
                  </a:cubicBezTo>
                  <a:cubicBezTo>
                    <a:pt x="70" y="141"/>
                    <a:pt x="71" y="141"/>
                    <a:pt x="72" y="142"/>
                  </a:cubicBezTo>
                  <a:cubicBezTo>
                    <a:pt x="76" y="142"/>
                    <a:pt x="81" y="143"/>
                    <a:pt x="84" y="145"/>
                  </a:cubicBezTo>
                  <a:cubicBezTo>
                    <a:pt x="85" y="145"/>
                    <a:pt x="86" y="146"/>
                    <a:pt x="86" y="147"/>
                  </a:cubicBezTo>
                  <a:cubicBezTo>
                    <a:pt x="86" y="147"/>
                    <a:pt x="87" y="148"/>
                    <a:pt x="86" y="150"/>
                  </a:cubicBezTo>
                  <a:cubicBezTo>
                    <a:pt x="86" y="150"/>
                    <a:pt x="86" y="150"/>
                    <a:pt x="86" y="150"/>
                  </a:cubicBezTo>
                  <a:cubicBezTo>
                    <a:pt x="87" y="150"/>
                    <a:pt x="87" y="150"/>
                    <a:pt x="87" y="150"/>
                  </a:cubicBezTo>
                  <a:cubicBezTo>
                    <a:pt x="91" y="154"/>
                    <a:pt x="91" y="154"/>
                    <a:pt x="91" y="154"/>
                  </a:cubicBezTo>
                  <a:cubicBezTo>
                    <a:pt x="92" y="154"/>
                    <a:pt x="92" y="154"/>
                    <a:pt x="92" y="154"/>
                  </a:cubicBezTo>
                  <a:cubicBezTo>
                    <a:pt x="94" y="154"/>
                    <a:pt x="97" y="155"/>
                    <a:pt x="99" y="155"/>
                  </a:cubicBezTo>
                  <a:cubicBezTo>
                    <a:pt x="102" y="155"/>
                    <a:pt x="102" y="155"/>
                    <a:pt x="102" y="155"/>
                  </a:cubicBezTo>
                  <a:cubicBezTo>
                    <a:pt x="110" y="155"/>
                    <a:pt x="118" y="155"/>
                    <a:pt x="126" y="157"/>
                  </a:cubicBezTo>
                  <a:cubicBezTo>
                    <a:pt x="127" y="157"/>
                    <a:pt x="127" y="157"/>
                    <a:pt x="127" y="157"/>
                  </a:cubicBezTo>
                  <a:cubicBezTo>
                    <a:pt x="129" y="157"/>
                    <a:pt x="132" y="157"/>
                    <a:pt x="135" y="159"/>
                  </a:cubicBezTo>
                  <a:cubicBezTo>
                    <a:pt x="135" y="159"/>
                    <a:pt x="135" y="159"/>
                    <a:pt x="135" y="159"/>
                  </a:cubicBezTo>
                  <a:cubicBezTo>
                    <a:pt x="135" y="159"/>
                    <a:pt x="135" y="159"/>
                    <a:pt x="135" y="159"/>
                  </a:cubicBezTo>
                  <a:cubicBezTo>
                    <a:pt x="136" y="158"/>
                    <a:pt x="136" y="158"/>
                    <a:pt x="136" y="158"/>
                  </a:cubicBezTo>
                  <a:cubicBezTo>
                    <a:pt x="136" y="158"/>
                    <a:pt x="137" y="157"/>
                    <a:pt x="137" y="157"/>
                  </a:cubicBezTo>
                  <a:cubicBezTo>
                    <a:pt x="137" y="157"/>
                    <a:pt x="137" y="157"/>
                    <a:pt x="137" y="157"/>
                  </a:cubicBezTo>
                  <a:cubicBezTo>
                    <a:pt x="137" y="157"/>
                    <a:pt x="137" y="157"/>
                    <a:pt x="137" y="157"/>
                  </a:cubicBezTo>
                  <a:cubicBezTo>
                    <a:pt x="147" y="147"/>
                    <a:pt x="147" y="147"/>
                    <a:pt x="147" y="147"/>
                  </a:cubicBezTo>
                  <a:cubicBezTo>
                    <a:pt x="147" y="146"/>
                    <a:pt x="148" y="146"/>
                    <a:pt x="148" y="145"/>
                  </a:cubicBezTo>
                  <a:cubicBezTo>
                    <a:pt x="149" y="145"/>
                    <a:pt x="149" y="145"/>
                    <a:pt x="149" y="145"/>
                  </a:cubicBezTo>
                  <a:cubicBezTo>
                    <a:pt x="151" y="142"/>
                    <a:pt x="154" y="139"/>
                    <a:pt x="156" y="136"/>
                  </a:cubicBezTo>
                  <a:cubicBezTo>
                    <a:pt x="157" y="136"/>
                    <a:pt x="158" y="135"/>
                    <a:pt x="159" y="134"/>
                  </a:cubicBezTo>
                  <a:cubicBezTo>
                    <a:pt x="158" y="133"/>
                    <a:pt x="158" y="132"/>
                    <a:pt x="158" y="131"/>
                  </a:cubicBezTo>
                  <a:cubicBezTo>
                    <a:pt x="158" y="129"/>
                    <a:pt x="159" y="126"/>
                    <a:pt x="160" y="124"/>
                  </a:cubicBezTo>
                  <a:cubicBezTo>
                    <a:pt x="160" y="122"/>
                    <a:pt x="160" y="122"/>
                    <a:pt x="160" y="122"/>
                  </a:cubicBezTo>
                  <a:cubicBezTo>
                    <a:pt x="161" y="119"/>
                    <a:pt x="161" y="116"/>
                    <a:pt x="164" y="115"/>
                  </a:cubicBezTo>
                  <a:cubicBezTo>
                    <a:pt x="165" y="114"/>
                    <a:pt x="166" y="114"/>
                    <a:pt x="166" y="114"/>
                  </a:cubicBezTo>
                  <a:cubicBezTo>
                    <a:pt x="166" y="113"/>
                    <a:pt x="167" y="113"/>
                    <a:pt x="167" y="113"/>
                  </a:cubicBezTo>
                  <a:cubicBezTo>
                    <a:pt x="167" y="112"/>
                    <a:pt x="169" y="110"/>
                    <a:pt x="171" y="107"/>
                  </a:cubicBezTo>
                  <a:cubicBezTo>
                    <a:pt x="172" y="105"/>
                    <a:pt x="173" y="103"/>
                    <a:pt x="173" y="101"/>
                  </a:cubicBezTo>
                  <a:cubicBezTo>
                    <a:pt x="174" y="100"/>
                    <a:pt x="174" y="99"/>
                    <a:pt x="174" y="99"/>
                  </a:cubicBezTo>
                  <a:cubicBezTo>
                    <a:pt x="173" y="99"/>
                    <a:pt x="173" y="99"/>
                    <a:pt x="173" y="99"/>
                  </a:cubicBezTo>
                  <a:cubicBezTo>
                    <a:pt x="173" y="99"/>
                    <a:pt x="173" y="99"/>
                    <a:pt x="173" y="99"/>
                  </a:cubicBezTo>
                  <a:cubicBezTo>
                    <a:pt x="172" y="99"/>
                    <a:pt x="171" y="98"/>
                    <a:pt x="171" y="98"/>
                  </a:cubicBezTo>
                  <a:cubicBezTo>
                    <a:pt x="169" y="97"/>
                    <a:pt x="169" y="95"/>
                    <a:pt x="169" y="93"/>
                  </a:cubicBezTo>
                  <a:cubicBezTo>
                    <a:pt x="169" y="92"/>
                    <a:pt x="169" y="90"/>
                    <a:pt x="169" y="87"/>
                  </a:cubicBezTo>
                  <a:cubicBezTo>
                    <a:pt x="170" y="85"/>
                    <a:pt x="170" y="83"/>
                    <a:pt x="170" y="82"/>
                  </a:cubicBezTo>
                  <a:cubicBezTo>
                    <a:pt x="169" y="81"/>
                    <a:pt x="169" y="81"/>
                    <a:pt x="169" y="81"/>
                  </a:cubicBezTo>
                  <a:cubicBezTo>
                    <a:pt x="169" y="81"/>
                    <a:pt x="169" y="81"/>
                    <a:pt x="169" y="81"/>
                  </a:cubicBezTo>
                  <a:cubicBezTo>
                    <a:pt x="169" y="80"/>
                    <a:pt x="169" y="80"/>
                    <a:pt x="169" y="80"/>
                  </a:cubicBezTo>
                  <a:cubicBezTo>
                    <a:pt x="168" y="80"/>
                    <a:pt x="167" y="79"/>
                    <a:pt x="167" y="78"/>
                  </a:cubicBezTo>
                  <a:cubicBezTo>
                    <a:pt x="166" y="77"/>
                    <a:pt x="165" y="75"/>
                    <a:pt x="167" y="73"/>
                  </a:cubicBezTo>
                  <a:cubicBezTo>
                    <a:pt x="168" y="72"/>
                    <a:pt x="168" y="72"/>
                    <a:pt x="168" y="72"/>
                  </a:cubicBezTo>
                  <a:cubicBezTo>
                    <a:pt x="169" y="72"/>
                    <a:pt x="169" y="71"/>
                    <a:pt x="170" y="70"/>
                  </a:cubicBezTo>
                  <a:cubicBezTo>
                    <a:pt x="170" y="69"/>
                    <a:pt x="170" y="67"/>
                    <a:pt x="171" y="66"/>
                  </a:cubicBezTo>
                  <a:cubicBezTo>
                    <a:pt x="171" y="65"/>
                    <a:pt x="172" y="65"/>
                    <a:pt x="172" y="64"/>
                  </a:cubicBezTo>
                  <a:cubicBezTo>
                    <a:pt x="173" y="63"/>
                    <a:pt x="173" y="63"/>
                    <a:pt x="173" y="63"/>
                  </a:cubicBezTo>
                  <a:cubicBezTo>
                    <a:pt x="173" y="63"/>
                    <a:pt x="173" y="63"/>
                    <a:pt x="173" y="62"/>
                  </a:cubicBezTo>
                  <a:cubicBezTo>
                    <a:pt x="173" y="62"/>
                    <a:pt x="173" y="62"/>
                    <a:pt x="173" y="62"/>
                  </a:cubicBezTo>
                  <a:cubicBezTo>
                    <a:pt x="174" y="60"/>
                    <a:pt x="174" y="58"/>
                    <a:pt x="174" y="56"/>
                  </a:cubicBezTo>
                  <a:cubicBezTo>
                    <a:pt x="174" y="54"/>
                    <a:pt x="174" y="52"/>
                    <a:pt x="174" y="50"/>
                  </a:cubicBezTo>
                  <a:cubicBezTo>
                    <a:pt x="174" y="48"/>
                    <a:pt x="174" y="47"/>
                    <a:pt x="174" y="45"/>
                  </a:cubicBezTo>
                  <a:cubicBezTo>
                    <a:pt x="174" y="42"/>
                    <a:pt x="173" y="39"/>
                    <a:pt x="173" y="35"/>
                  </a:cubicBezTo>
                  <a:cubicBezTo>
                    <a:pt x="172" y="34"/>
                    <a:pt x="172" y="33"/>
                    <a:pt x="172" y="32"/>
                  </a:cubicBezTo>
                  <a:cubicBezTo>
                    <a:pt x="172" y="31"/>
                    <a:pt x="172" y="30"/>
                    <a:pt x="172" y="29"/>
                  </a:cubicBezTo>
                  <a:cubicBezTo>
                    <a:pt x="172" y="28"/>
                    <a:pt x="172" y="28"/>
                    <a:pt x="172" y="28"/>
                  </a:cubicBezTo>
                  <a:cubicBezTo>
                    <a:pt x="171" y="28"/>
                    <a:pt x="171" y="28"/>
                    <a:pt x="171" y="27"/>
                  </a:cubicBezTo>
                  <a:cubicBezTo>
                    <a:pt x="171" y="26"/>
                    <a:pt x="171" y="26"/>
                    <a:pt x="171" y="26"/>
                  </a:cubicBezTo>
                  <a:cubicBezTo>
                    <a:pt x="167" y="26"/>
                    <a:pt x="162" y="24"/>
                    <a:pt x="158" y="22"/>
                  </a:cubicBezTo>
                  <a:cubicBezTo>
                    <a:pt x="156" y="21"/>
                    <a:pt x="155" y="20"/>
                    <a:pt x="154" y="20"/>
                  </a:cubicBezTo>
                  <a:cubicBezTo>
                    <a:pt x="131" y="11"/>
                    <a:pt x="131" y="11"/>
                    <a:pt x="131" y="11"/>
                  </a:cubicBezTo>
                  <a:cubicBezTo>
                    <a:pt x="130" y="10"/>
                    <a:pt x="129" y="10"/>
                    <a:pt x="128" y="10"/>
                  </a:cubicBezTo>
                  <a:cubicBezTo>
                    <a:pt x="128" y="10"/>
                    <a:pt x="126" y="10"/>
                    <a:pt x="125" y="10"/>
                  </a:cubicBezTo>
                  <a:cubicBezTo>
                    <a:pt x="125" y="10"/>
                    <a:pt x="125" y="10"/>
                    <a:pt x="124" y="10"/>
                  </a:cubicBezTo>
                  <a:cubicBezTo>
                    <a:pt x="124" y="10"/>
                    <a:pt x="124" y="10"/>
                    <a:pt x="124" y="10"/>
                  </a:cubicBezTo>
                  <a:cubicBezTo>
                    <a:pt x="118" y="10"/>
                    <a:pt x="115" y="9"/>
                    <a:pt x="114" y="7"/>
                  </a:cubicBezTo>
                  <a:cubicBezTo>
                    <a:pt x="112" y="5"/>
                    <a:pt x="112" y="3"/>
                    <a:pt x="112" y="0"/>
                  </a:cubicBezTo>
                  <a:cubicBezTo>
                    <a:pt x="111" y="0"/>
                    <a:pt x="111" y="0"/>
                    <a:pt x="110" y="0"/>
                  </a:cubicBezTo>
                  <a:cubicBezTo>
                    <a:pt x="109" y="0"/>
                    <a:pt x="108" y="0"/>
                    <a:pt x="107" y="0"/>
                  </a:cubicBezTo>
                  <a:cubicBezTo>
                    <a:pt x="107" y="0"/>
                    <a:pt x="107" y="0"/>
                    <a:pt x="107" y="0"/>
                  </a:cubicBezTo>
                  <a:cubicBezTo>
                    <a:pt x="105" y="0"/>
                    <a:pt x="104" y="0"/>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222"/>
            <p:cNvSpPr/>
            <p:nvPr/>
          </p:nvSpPr>
          <p:spPr bwMode="auto">
            <a:xfrm>
              <a:off x="4781" y="3762"/>
              <a:ext cx="496" cy="515"/>
            </a:xfrm>
            <a:custGeom>
              <a:gdLst>
                <a:gd name="T0" fmla="*/ 92 w 210"/>
                <a:gd name="T1" fmla="*/ 9 h 218"/>
                <a:gd name="T2" fmla="*/ 82 w 210"/>
                <a:gd name="T3" fmla="*/ 16 h 218"/>
                <a:gd name="T4" fmla="*/ 75 w 210"/>
                <a:gd name="T5" fmla="*/ 8 h 218"/>
                <a:gd name="T6" fmla="*/ 73 w 210"/>
                <a:gd name="T7" fmla="*/ 5 h 218"/>
                <a:gd name="T8" fmla="*/ 23 w 210"/>
                <a:gd name="T9" fmla="*/ 12 h 218"/>
                <a:gd name="T10" fmla="*/ 23 w 210"/>
                <a:gd name="T11" fmla="*/ 48 h 218"/>
                <a:gd name="T12" fmla="*/ 23 w 210"/>
                <a:gd name="T13" fmla="*/ 93 h 218"/>
                <a:gd name="T14" fmla="*/ 18 w 210"/>
                <a:gd name="T15" fmla="*/ 102 h 218"/>
                <a:gd name="T16" fmla="*/ 0 w 210"/>
                <a:gd name="T17" fmla="*/ 102 h 218"/>
                <a:gd name="T18" fmla="*/ 2 w 210"/>
                <a:gd name="T19" fmla="*/ 169 h 218"/>
                <a:gd name="T20" fmla="*/ 15 w 210"/>
                <a:gd name="T21" fmla="*/ 185 h 218"/>
                <a:gd name="T22" fmla="*/ 20 w 210"/>
                <a:gd name="T23" fmla="*/ 201 h 218"/>
                <a:gd name="T24" fmla="*/ 17 w 210"/>
                <a:gd name="T25" fmla="*/ 208 h 218"/>
                <a:gd name="T26" fmla="*/ 15 w 210"/>
                <a:gd name="T27" fmla="*/ 215 h 218"/>
                <a:gd name="T28" fmla="*/ 15 w 210"/>
                <a:gd name="T29" fmla="*/ 217 h 218"/>
                <a:gd name="T30" fmla="*/ 20 w 210"/>
                <a:gd name="T31" fmla="*/ 217 h 218"/>
                <a:gd name="T32" fmla="*/ 24 w 210"/>
                <a:gd name="T33" fmla="*/ 218 h 218"/>
                <a:gd name="T34" fmla="*/ 29 w 210"/>
                <a:gd name="T35" fmla="*/ 217 h 218"/>
                <a:gd name="T36" fmla="*/ 34 w 210"/>
                <a:gd name="T37" fmla="*/ 218 h 218"/>
                <a:gd name="T38" fmla="*/ 39 w 210"/>
                <a:gd name="T39" fmla="*/ 215 h 218"/>
                <a:gd name="T40" fmla="*/ 41 w 210"/>
                <a:gd name="T41" fmla="*/ 213 h 218"/>
                <a:gd name="T42" fmla="*/ 56 w 210"/>
                <a:gd name="T43" fmla="*/ 200 h 218"/>
                <a:gd name="T44" fmla="*/ 58 w 210"/>
                <a:gd name="T45" fmla="*/ 197 h 218"/>
                <a:gd name="T46" fmla="*/ 58 w 210"/>
                <a:gd name="T47" fmla="*/ 194 h 218"/>
                <a:gd name="T48" fmla="*/ 60 w 210"/>
                <a:gd name="T49" fmla="*/ 190 h 218"/>
                <a:gd name="T50" fmla="*/ 60 w 210"/>
                <a:gd name="T51" fmla="*/ 188 h 218"/>
                <a:gd name="T52" fmla="*/ 67 w 210"/>
                <a:gd name="T53" fmla="*/ 179 h 218"/>
                <a:gd name="T54" fmla="*/ 87 w 210"/>
                <a:gd name="T55" fmla="*/ 184 h 218"/>
                <a:gd name="T56" fmla="*/ 93 w 210"/>
                <a:gd name="T57" fmla="*/ 186 h 218"/>
                <a:gd name="T58" fmla="*/ 113 w 210"/>
                <a:gd name="T59" fmla="*/ 191 h 218"/>
                <a:gd name="T60" fmla="*/ 122 w 210"/>
                <a:gd name="T61" fmla="*/ 190 h 218"/>
                <a:gd name="T62" fmla="*/ 127 w 210"/>
                <a:gd name="T63" fmla="*/ 185 h 218"/>
                <a:gd name="T64" fmla="*/ 132 w 210"/>
                <a:gd name="T65" fmla="*/ 170 h 218"/>
                <a:gd name="T66" fmla="*/ 135 w 210"/>
                <a:gd name="T67" fmla="*/ 164 h 218"/>
                <a:gd name="T68" fmla="*/ 150 w 210"/>
                <a:gd name="T69" fmla="*/ 159 h 218"/>
                <a:gd name="T70" fmla="*/ 153 w 210"/>
                <a:gd name="T71" fmla="*/ 156 h 218"/>
                <a:gd name="T72" fmla="*/ 156 w 210"/>
                <a:gd name="T73" fmla="*/ 150 h 218"/>
                <a:gd name="T74" fmla="*/ 157 w 210"/>
                <a:gd name="T75" fmla="*/ 146 h 218"/>
                <a:gd name="T76" fmla="*/ 174 w 210"/>
                <a:gd name="T77" fmla="*/ 129 h 218"/>
                <a:gd name="T78" fmla="*/ 193 w 210"/>
                <a:gd name="T79" fmla="*/ 111 h 218"/>
                <a:gd name="T80" fmla="*/ 196 w 210"/>
                <a:gd name="T81" fmla="*/ 111 h 218"/>
                <a:gd name="T82" fmla="*/ 205 w 210"/>
                <a:gd name="T83" fmla="*/ 107 h 218"/>
                <a:gd name="T84" fmla="*/ 208 w 210"/>
                <a:gd name="T85" fmla="*/ 100 h 218"/>
                <a:gd name="T86" fmla="*/ 207 w 210"/>
                <a:gd name="T87" fmla="*/ 98 h 218"/>
                <a:gd name="T88" fmla="*/ 197 w 210"/>
                <a:gd name="T89" fmla="*/ 94 h 218"/>
                <a:gd name="T90" fmla="*/ 192 w 210"/>
                <a:gd name="T91" fmla="*/ 93 h 218"/>
                <a:gd name="T92" fmla="*/ 178 w 210"/>
                <a:gd name="T93" fmla="*/ 80 h 218"/>
                <a:gd name="T94" fmla="*/ 176 w 210"/>
                <a:gd name="T95" fmla="*/ 67 h 218"/>
                <a:gd name="T96" fmla="*/ 173 w 210"/>
                <a:gd name="T97" fmla="*/ 66 h 218"/>
                <a:gd name="T98" fmla="*/ 166 w 210"/>
                <a:gd name="T99" fmla="*/ 59 h 218"/>
                <a:gd name="T100" fmla="*/ 165 w 210"/>
                <a:gd name="T101" fmla="*/ 56 h 218"/>
                <a:gd name="T102" fmla="*/ 157 w 210"/>
                <a:gd name="T103" fmla="*/ 51 h 218"/>
                <a:gd name="T104" fmla="*/ 138 w 210"/>
                <a:gd name="T105" fmla="*/ 36 h 218"/>
                <a:gd name="T106" fmla="*/ 127 w 210"/>
                <a:gd name="T107" fmla="*/ 13 h 2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0" h="218">
                  <a:moveTo>
                    <a:pt x="119" y="0"/>
                  </a:moveTo>
                  <a:cubicBezTo>
                    <a:pt x="109" y="0"/>
                    <a:pt x="101" y="3"/>
                    <a:pt x="93" y="8"/>
                  </a:cubicBezTo>
                  <a:cubicBezTo>
                    <a:pt x="92" y="9"/>
                    <a:pt x="92" y="9"/>
                    <a:pt x="92" y="9"/>
                  </a:cubicBezTo>
                  <a:cubicBezTo>
                    <a:pt x="92" y="9"/>
                    <a:pt x="91" y="10"/>
                    <a:pt x="91" y="10"/>
                  </a:cubicBezTo>
                  <a:cubicBezTo>
                    <a:pt x="87" y="14"/>
                    <a:pt x="85" y="16"/>
                    <a:pt x="83" y="16"/>
                  </a:cubicBezTo>
                  <a:cubicBezTo>
                    <a:pt x="82" y="16"/>
                    <a:pt x="82" y="16"/>
                    <a:pt x="82" y="16"/>
                  </a:cubicBezTo>
                  <a:cubicBezTo>
                    <a:pt x="81" y="16"/>
                    <a:pt x="80" y="15"/>
                    <a:pt x="79" y="15"/>
                  </a:cubicBezTo>
                  <a:cubicBezTo>
                    <a:pt x="78" y="14"/>
                    <a:pt x="78" y="14"/>
                    <a:pt x="78" y="13"/>
                  </a:cubicBezTo>
                  <a:cubicBezTo>
                    <a:pt x="77" y="12"/>
                    <a:pt x="76" y="10"/>
                    <a:pt x="75" y="8"/>
                  </a:cubicBezTo>
                  <a:cubicBezTo>
                    <a:pt x="75" y="8"/>
                    <a:pt x="74" y="7"/>
                    <a:pt x="74" y="7"/>
                  </a:cubicBezTo>
                  <a:cubicBezTo>
                    <a:pt x="74" y="6"/>
                    <a:pt x="74" y="6"/>
                    <a:pt x="73" y="5"/>
                  </a:cubicBezTo>
                  <a:cubicBezTo>
                    <a:pt x="73" y="5"/>
                    <a:pt x="73" y="5"/>
                    <a:pt x="73" y="5"/>
                  </a:cubicBezTo>
                  <a:cubicBezTo>
                    <a:pt x="73" y="5"/>
                    <a:pt x="73" y="5"/>
                    <a:pt x="73" y="5"/>
                  </a:cubicBezTo>
                  <a:cubicBezTo>
                    <a:pt x="73" y="5"/>
                    <a:pt x="72" y="5"/>
                    <a:pt x="72" y="5"/>
                  </a:cubicBezTo>
                  <a:cubicBezTo>
                    <a:pt x="23" y="12"/>
                    <a:pt x="23" y="12"/>
                    <a:pt x="23" y="12"/>
                  </a:cubicBezTo>
                  <a:cubicBezTo>
                    <a:pt x="23" y="13"/>
                    <a:pt x="23" y="13"/>
                    <a:pt x="23" y="13"/>
                  </a:cubicBezTo>
                  <a:cubicBezTo>
                    <a:pt x="23" y="46"/>
                    <a:pt x="23" y="46"/>
                    <a:pt x="23" y="46"/>
                  </a:cubicBezTo>
                  <a:cubicBezTo>
                    <a:pt x="23" y="47"/>
                    <a:pt x="23" y="47"/>
                    <a:pt x="23" y="48"/>
                  </a:cubicBezTo>
                  <a:cubicBezTo>
                    <a:pt x="23" y="59"/>
                    <a:pt x="23" y="70"/>
                    <a:pt x="23" y="81"/>
                  </a:cubicBezTo>
                  <a:cubicBezTo>
                    <a:pt x="23" y="92"/>
                    <a:pt x="23" y="92"/>
                    <a:pt x="23" y="92"/>
                  </a:cubicBezTo>
                  <a:cubicBezTo>
                    <a:pt x="23" y="93"/>
                    <a:pt x="23" y="93"/>
                    <a:pt x="23" y="93"/>
                  </a:cubicBezTo>
                  <a:cubicBezTo>
                    <a:pt x="23" y="95"/>
                    <a:pt x="23" y="96"/>
                    <a:pt x="23" y="97"/>
                  </a:cubicBezTo>
                  <a:cubicBezTo>
                    <a:pt x="23" y="97"/>
                    <a:pt x="23" y="97"/>
                    <a:pt x="23" y="97"/>
                  </a:cubicBezTo>
                  <a:cubicBezTo>
                    <a:pt x="23" y="99"/>
                    <a:pt x="23" y="101"/>
                    <a:pt x="18" y="102"/>
                  </a:cubicBezTo>
                  <a:cubicBezTo>
                    <a:pt x="15" y="103"/>
                    <a:pt x="13" y="103"/>
                    <a:pt x="10" y="103"/>
                  </a:cubicBezTo>
                  <a:cubicBezTo>
                    <a:pt x="8" y="103"/>
                    <a:pt x="5" y="103"/>
                    <a:pt x="3" y="103"/>
                  </a:cubicBezTo>
                  <a:cubicBezTo>
                    <a:pt x="2" y="103"/>
                    <a:pt x="1" y="102"/>
                    <a:pt x="0" y="102"/>
                  </a:cubicBezTo>
                  <a:cubicBezTo>
                    <a:pt x="0" y="103"/>
                    <a:pt x="0" y="103"/>
                    <a:pt x="0" y="104"/>
                  </a:cubicBezTo>
                  <a:cubicBezTo>
                    <a:pt x="0" y="167"/>
                    <a:pt x="0" y="167"/>
                    <a:pt x="0" y="167"/>
                  </a:cubicBezTo>
                  <a:cubicBezTo>
                    <a:pt x="2" y="169"/>
                    <a:pt x="2" y="169"/>
                    <a:pt x="2" y="169"/>
                  </a:cubicBezTo>
                  <a:cubicBezTo>
                    <a:pt x="4" y="170"/>
                    <a:pt x="6" y="171"/>
                    <a:pt x="8" y="173"/>
                  </a:cubicBezTo>
                  <a:cubicBezTo>
                    <a:pt x="10" y="175"/>
                    <a:pt x="13" y="179"/>
                    <a:pt x="14" y="182"/>
                  </a:cubicBezTo>
                  <a:cubicBezTo>
                    <a:pt x="15" y="185"/>
                    <a:pt x="15" y="185"/>
                    <a:pt x="15" y="185"/>
                  </a:cubicBezTo>
                  <a:cubicBezTo>
                    <a:pt x="16" y="186"/>
                    <a:pt x="16" y="186"/>
                    <a:pt x="16" y="187"/>
                  </a:cubicBezTo>
                  <a:cubicBezTo>
                    <a:pt x="16" y="188"/>
                    <a:pt x="16" y="188"/>
                    <a:pt x="16" y="188"/>
                  </a:cubicBezTo>
                  <a:cubicBezTo>
                    <a:pt x="18" y="193"/>
                    <a:pt x="20" y="198"/>
                    <a:pt x="20" y="201"/>
                  </a:cubicBezTo>
                  <a:cubicBezTo>
                    <a:pt x="20" y="202"/>
                    <a:pt x="20" y="203"/>
                    <a:pt x="20" y="204"/>
                  </a:cubicBezTo>
                  <a:cubicBezTo>
                    <a:pt x="19" y="205"/>
                    <a:pt x="18" y="206"/>
                    <a:pt x="17" y="208"/>
                  </a:cubicBezTo>
                  <a:cubicBezTo>
                    <a:pt x="17" y="208"/>
                    <a:pt x="17" y="208"/>
                    <a:pt x="17" y="208"/>
                  </a:cubicBezTo>
                  <a:cubicBezTo>
                    <a:pt x="17" y="209"/>
                    <a:pt x="16" y="209"/>
                    <a:pt x="16" y="210"/>
                  </a:cubicBezTo>
                  <a:cubicBezTo>
                    <a:pt x="15" y="211"/>
                    <a:pt x="15" y="212"/>
                    <a:pt x="15" y="214"/>
                  </a:cubicBezTo>
                  <a:cubicBezTo>
                    <a:pt x="15" y="214"/>
                    <a:pt x="15" y="214"/>
                    <a:pt x="15" y="215"/>
                  </a:cubicBezTo>
                  <a:cubicBezTo>
                    <a:pt x="15" y="215"/>
                    <a:pt x="15" y="215"/>
                    <a:pt x="15" y="216"/>
                  </a:cubicBezTo>
                  <a:cubicBezTo>
                    <a:pt x="15" y="217"/>
                    <a:pt x="15" y="217"/>
                    <a:pt x="15" y="217"/>
                  </a:cubicBezTo>
                  <a:cubicBezTo>
                    <a:pt x="15" y="217"/>
                    <a:pt x="15" y="217"/>
                    <a:pt x="15" y="217"/>
                  </a:cubicBezTo>
                  <a:cubicBezTo>
                    <a:pt x="15" y="217"/>
                    <a:pt x="15" y="217"/>
                    <a:pt x="15" y="217"/>
                  </a:cubicBezTo>
                  <a:cubicBezTo>
                    <a:pt x="16" y="217"/>
                    <a:pt x="17" y="217"/>
                    <a:pt x="18" y="217"/>
                  </a:cubicBezTo>
                  <a:cubicBezTo>
                    <a:pt x="19" y="217"/>
                    <a:pt x="19" y="217"/>
                    <a:pt x="20" y="217"/>
                  </a:cubicBezTo>
                  <a:cubicBezTo>
                    <a:pt x="20" y="217"/>
                    <a:pt x="21" y="217"/>
                    <a:pt x="21" y="217"/>
                  </a:cubicBezTo>
                  <a:cubicBezTo>
                    <a:pt x="22" y="217"/>
                    <a:pt x="22" y="217"/>
                    <a:pt x="22" y="217"/>
                  </a:cubicBezTo>
                  <a:cubicBezTo>
                    <a:pt x="23" y="217"/>
                    <a:pt x="24" y="218"/>
                    <a:pt x="24" y="218"/>
                  </a:cubicBezTo>
                  <a:cubicBezTo>
                    <a:pt x="25" y="218"/>
                    <a:pt x="25" y="217"/>
                    <a:pt x="26" y="217"/>
                  </a:cubicBezTo>
                  <a:cubicBezTo>
                    <a:pt x="26" y="217"/>
                    <a:pt x="27" y="217"/>
                    <a:pt x="27" y="217"/>
                  </a:cubicBezTo>
                  <a:cubicBezTo>
                    <a:pt x="28" y="217"/>
                    <a:pt x="28" y="217"/>
                    <a:pt x="29" y="217"/>
                  </a:cubicBezTo>
                  <a:cubicBezTo>
                    <a:pt x="29" y="217"/>
                    <a:pt x="29" y="217"/>
                    <a:pt x="29" y="217"/>
                  </a:cubicBezTo>
                  <a:cubicBezTo>
                    <a:pt x="30" y="217"/>
                    <a:pt x="31" y="218"/>
                    <a:pt x="32" y="218"/>
                  </a:cubicBezTo>
                  <a:cubicBezTo>
                    <a:pt x="33" y="218"/>
                    <a:pt x="33" y="218"/>
                    <a:pt x="34" y="218"/>
                  </a:cubicBezTo>
                  <a:cubicBezTo>
                    <a:pt x="34" y="218"/>
                    <a:pt x="34" y="218"/>
                    <a:pt x="35" y="218"/>
                  </a:cubicBezTo>
                  <a:cubicBezTo>
                    <a:pt x="35" y="218"/>
                    <a:pt x="35" y="218"/>
                    <a:pt x="35" y="218"/>
                  </a:cubicBezTo>
                  <a:cubicBezTo>
                    <a:pt x="36" y="218"/>
                    <a:pt x="37" y="217"/>
                    <a:pt x="39" y="215"/>
                  </a:cubicBezTo>
                  <a:cubicBezTo>
                    <a:pt x="39" y="215"/>
                    <a:pt x="40" y="214"/>
                    <a:pt x="40" y="214"/>
                  </a:cubicBezTo>
                  <a:cubicBezTo>
                    <a:pt x="41" y="214"/>
                    <a:pt x="41" y="214"/>
                    <a:pt x="41" y="214"/>
                  </a:cubicBezTo>
                  <a:cubicBezTo>
                    <a:pt x="41" y="213"/>
                    <a:pt x="41" y="213"/>
                    <a:pt x="41" y="213"/>
                  </a:cubicBezTo>
                  <a:cubicBezTo>
                    <a:pt x="42" y="213"/>
                    <a:pt x="42" y="213"/>
                    <a:pt x="42" y="213"/>
                  </a:cubicBezTo>
                  <a:cubicBezTo>
                    <a:pt x="42" y="212"/>
                    <a:pt x="43" y="212"/>
                    <a:pt x="43" y="211"/>
                  </a:cubicBezTo>
                  <a:cubicBezTo>
                    <a:pt x="56" y="200"/>
                    <a:pt x="56" y="200"/>
                    <a:pt x="56" y="200"/>
                  </a:cubicBezTo>
                  <a:cubicBezTo>
                    <a:pt x="57" y="200"/>
                    <a:pt x="57" y="199"/>
                    <a:pt x="57" y="199"/>
                  </a:cubicBezTo>
                  <a:cubicBezTo>
                    <a:pt x="58" y="198"/>
                    <a:pt x="58" y="198"/>
                    <a:pt x="58" y="198"/>
                  </a:cubicBezTo>
                  <a:cubicBezTo>
                    <a:pt x="58" y="198"/>
                    <a:pt x="58" y="197"/>
                    <a:pt x="58" y="197"/>
                  </a:cubicBezTo>
                  <a:cubicBezTo>
                    <a:pt x="58" y="197"/>
                    <a:pt x="58" y="196"/>
                    <a:pt x="58" y="196"/>
                  </a:cubicBezTo>
                  <a:cubicBezTo>
                    <a:pt x="58" y="195"/>
                    <a:pt x="58" y="195"/>
                    <a:pt x="58" y="194"/>
                  </a:cubicBezTo>
                  <a:cubicBezTo>
                    <a:pt x="58" y="194"/>
                    <a:pt x="58" y="194"/>
                    <a:pt x="58" y="194"/>
                  </a:cubicBezTo>
                  <a:cubicBezTo>
                    <a:pt x="58" y="193"/>
                    <a:pt x="58" y="193"/>
                    <a:pt x="59" y="192"/>
                  </a:cubicBezTo>
                  <a:cubicBezTo>
                    <a:pt x="59" y="192"/>
                    <a:pt x="60" y="191"/>
                    <a:pt x="60" y="190"/>
                  </a:cubicBezTo>
                  <a:cubicBezTo>
                    <a:pt x="60" y="190"/>
                    <a:pt x="60" y="190"/>
                    <a:pt x="60" y="190"/>
                  </a:cubicBezTo>
                  <a:cubicBezTo>
                    <a:pt x="60" y="190"/>
                    <a:pt x="60" y="190"/>
                    <a:pt x="60" y="190"/>
                  </a:cubicBezTo>
                  <a:cubicBezTo>
                    <a:pt x="60" y="189"/>
                    <a:pt x="60" y="189"/>
                    <a:pt x="60" y="189"/>
                  </a:cubicBezTo>
                  <a:cubicBezTo>
                    <a:pt x="60" y="188"/>
                    <a:pt x="60" y="188"/>
                    <a:pt x="60" y="188"/>
                  </a:cubicBezTo>
                  <a:cubicBezTo>
                    <a:pt x="60" y="187"/>
                    <a:pt x="60" y="187"/>
                    <a:pt x="61" y="186"/>
                  </a:cubicBezTo>
                  <a:cubicBezTo>
                    <a:pt x="61" y="186"/>
                    <a:pt x="61" y="186"/>
                    <a:pt x="61" y="185"/>
                  </a:cubicBezTo>
                  <a:cubicBezTo>
                    <a:pt x="62" y="183"/>
                    <a:pt x="65" y="180"/>
                    <a:pt x="67" y="179"/>
                  </a:cubicBezTo>
                  <a:cubicBezTo>
                    <a:pt x="68" y="178"/>
                    <a:pt x="70" y="178"/>
                    <a:pt x="71" y="178"/>
                  </a:cubicBezTo>
                  <a:cubicBezTo>
                    <a:pt x="74" y="178"/>
                    <a:pt x="77" y="179"/>
                    <a:pt x="79" y="180"/>
                  </a:cubicBezTo>
                  <a:cubicBezTo>
                    <a:pt x="82" y="181"/>
                    <a:pt x="84" y="182"/>
                    <a:pt x="87" y="184"/>
                  </a:cubicBezTo>
                  <a:cubicBezTo>
                    <a:pt x="88" y="184"/>
                    <a:pt x="88" y="184"/>
                    <a:pt x="88" y="184"/>
                  </a:cubicBezTo>
                  <a:cubicBezTo>
                    <a:pt x="90" y="185"/>
                    <a:pt x="91" y="185"/>
                    <a:pt x="92" y="186"/>
                  </a:cubicBezTo>
                  <a:cubicBezTo>
                    <a:pt x="93" y="186"/>
                    <a:pt x="93" y="186"/>
                    <a:pt x="93" y="186"/>
                  </a:cubicBezTo>
                  <a:cubicBezTo>
                    <a:pt x="97" y="188"/>
                    <a:pt x="101" y="189"/>
                    <a:pt x="105" y="191"/>
                  </a:cubicBezTo>
                  <a:cubicBezTo>
                    <a:pt x="106" y="191"/>
                    <a:pt x="108" y="192"/>
                    <a:pt x="110" y="192"/>
                  </a:cubicBezTo>
                  <a:cubicBezTo>
                    <a:pt x="111" y="192"/>
                    <a:pt x="112" y="191"/>
                    <a:pt x="113" y="191"/>
                  </a:cubicBezTo>
                  <a:cubicBezTo>
                    <a:pt x="115" y="191"/>
                    <a:pt x="116" y="191"/>
                    <a:pt x="118" y="190"/>
                  </a:cubicBezTo>
                  <a:cubicBezTo>
                    <a:pt x="120" y="190"/>
                    <a:pt x="120" y="190"/>
                    <a:pt x="120" y="190"/>
                  </a:cubicBezTo>
                  <a:cubicBezTo>
                    <a:pt x="121" y="190"/>
                    <a:pt x="121" y="190"/>
                    <a:pt x="122" y="190"/>
                  </a:cubicBezTo>
                  <a:cubicBezTo>
                    <a:pt x="123" y="189"/>
                    <a:pt x="124" y="188"/>
                    <a:pt x="125" y="187"/>
                  </a:cubicBezTo>
                  <a:cubicBezTo>
                    <a:pt x="126" y="186"/>
                    <a:pt x="126" y="186"/>
                    <a:pt x="126" y="186"/>
                  </a:cubicBezTo>
                  <a:cubicBezTo>
                    <a:pt x="126" y="185"/>
                    <a:pt x="127" y="185"/>
                    <a:pt x="127" y="185"/>
                  </a:cubicBezTo>
                  <a:cubicBezTo>
                    <a:pt x="129" y="182"/>
                    <a:pt x="130" y="177"/>
                    <a:pt x="132" y="172"/>
                  </a:cubicBezTo>
                  <a:cubicBezTo>
                    <a:pt x="132" y="171"/>
                    <a:pt x="132" y="171"/>
                    <a:pt x="132" y="170"/>
                  </a:cubicBezTo>
                  <a:cubicBezTo>
                    <a:pt x="132" y="170"/>
                    <a:pt x="132" y="170"/>
                    <a:pt x="132" y="170"/>
                  </a:cubicBezTo>
                  <a:cubicBezTo>
                    <a:pt x="132" y="170"/>
                    <a:pt x="132" y="169"/>
                    <a:pt x="132" y="169"/>
                  </a:cubicBezTo>
                  <a:cubicBezTo>
                    <a:pt x="132" y="167"/>
                    <a:pt x="133" y="166"/>
                    <a:pt x="134" y="165"/>
                  </a:cubicBezTo>
                  <a:cubicBezTo>
                    <a:pt x="135" y="164"/>
                    <a:pt x="135" y="164"/>
                    <a:pt x="135" y="164"/>
                  </a:cubicBezTo>
                  <a:cubicBezTo>
                    <a:pt x="135" y="164"/>
                    <a:pt x="135" y="164"/>
                    <a:pt x="135" y="164"/>
                  </a:cubicBezTo>
                  <a:cubicBezTo>
                    <a:pt x="137" y="164"/>
                    <a:pt x="139" y="163"/>
                    <a:pt x="142" y="163"/>
                  </a:cubicBezTo>
                  <a:cubicBezTo>
                    <a:pt x="146" y="162"/>
                    <a:pt x="147" y="162"/>
                    <a:pt x="150" y="159"/>
                  </a:cubicBezTo>
                  <a:cubicBezTo>
                    <a:pt x="150" y="158"/>
                    <a:pt x="151" y="158"/>
                    <a:pt x="151" y="158"/>
                  </a:cubicBezTo>
                  <a:cubicBezTo>
                    <a:pt x="152" y="157"/>
                    <a:pt x="152" y="157"/>
                    <a:pt x="152" y="157"/>
                  </a:cubicBezTo>
                  <a:cubicBezTo>
                    <a:pt x="153" y="156"/>
                    <a:pt x="153" y="156"/>
                    <a:pt x="153" y="156"/>
                  </a:cubicBezTo>
                  <a:cubicBezTo>
                    <a:pt x="153" y="156"/>
                    <a:pt x="154" y="155"/>
                    <a:pt x="154" y="155"/>
                  </a:cubicBezTo>
                  <a:cubicBezTo>
                    <a:pt x="155" y="154"/>
                    <a:pt x="155" y="153"/>
                    <a:pt x="156" y="152"/>
                  </a:cubicBezTo>
                  <a:cubicBezTo>
                    <a:pt x="156" y="152"/>
                    <a:pt x="156" y="151"/>
                    <a:pt x="156" y="150"/>
                  </a:cubicBezTo>
                  <a:cubicBezTo>
                    <a:pt x="156" y="149"/>
                    <a:pt x="156" y="149"/>
                    <a:pt x="156" y="149"/>
                  </a:cubicBezTo>
                  <a:cubicBezTo>
                    <a:pt x="156" y="149"/>
                    <a:pt x="156" y="148"/>
                    <a:pt x="157" y="147"/>
                  </a:cubicBezTo>
                  <a:cubicBezTo>
                    <a:pt x="157" y="147"/>
                    <a:pt x="157" y="147"/>
                    <a:pt x="157" y="146"/>
                  </a:cubicBezTo>
                  <a:cubicBezTo>
                    <a:pt x="157" y="144"/>
                    <a:pt x="157" y="144"/>
                    <a:pt x="157" y="144"/>
                  </a:cubicBezTo>
                  <a:cubicBezTo>
                    <a:pt x="159" y="139"/>
                    <a:pt x="165" y="135"/>
                    <a:pt x="170" y="131"/>
                  </a:cubicBezTo>
                  <a:cubicBezTo>
                    <a:pt x="172" y="130"/>
                    <a:pt x="173" y="130"/>
                    <a:pt x="174" y="129"/>
                  </a:cubicBezTo>
                  <a:cubicBezTo>
                    <a:pt x="179" y="125"/>
                    <a:pt x="182" y="122"/>
                    <a:pt x="185" y="119"/>
                  </a:cubicBezTo>
                  <a:cubicBezTo>
                    <a:pt x="185" y="118"/>
                    <a:pt x="185" y="118"/>
                    <a:pt x="185" y="118"/>
                  </a:cubicBezTo>
                  <a:cubicBezTo>
                    <a:pt x="187" y="115"/>
                    <a:pt x="190" y="112"/>
                    <a:pt x="193" y="111"/>
                  </a:cubicBezTo>
                  <a:cubicBezTo>
                    <a:pt x="193" y="111"/>
                    <a:pt x="194" y="111"/>
                    <a:pt x="194" y="111"/>
                  </a:cubicBezTo>
                  <a:cubicBezTo>
                    <a:pt x="195" y="111"/>
                    <a:pt x="195" y="111"/>
                    <a:pt x="195" y="111"/>
                  </a:cubicBezTo>
                  <a:cubicBezTo>
                    <a:pt x="196" y="111"/>
                    <a:pt x="196" y="111"/>
                    <a:pt x="196" y="111"/>
                  </a:cubicBezTo>
                  <a:cubicBezTo>
                    <a:pt x="198" y="110"/>
                    <a:pt x="200" y="110"/>
                    <a:pt x="202" y="109"/>
                  </a:cubicBezTo>
                  <a:cubicBezTo>
                    <a:pt x="203" y="109"/>
                    <a:pt x="203" y="109"/>
                    <a:pt x="203" y="109"/>
                  </a:cubicBezTo>
                  <a:cubicBezTo>
                    <a:pt x="204" y="108"/>
                    <a:pt x="205" y="108"/>
                    <a:pt x="205" y="107"/>
                  </a:cubicBezTo>
                  <a:cubicBezTo>
                    <a:pt x="205" y="106"/>
                    <a:pt x="206" y="104"/>
                    <a:pt x="208" y="103"/>
                  </a:cubicBezTo>
                  <a:cubicBezTo>
                    <a:pt x="208" y="102"/>
                    <a:pt x="209" y="102"/>
                    <a:pt x="210" y="102"/>
                  </a:cubicBezTo>
                  <a:cubicBezTo>
                    <a:pt x="209" y="101"/>
                    <a:pt x="209" y="101"/>
                    <a:pt x="208" y="100"/>
                  </a:cubicBezTo>
                  <a:cubicBezTo>
                    <a:pt x="208" y="100"/>
                    <a:pt x="208" y="100"/>
                    <a:pt x="208" y="100"/>
                  </a:cubicBezTo>
                  <a:cubicBezTo>
                    <a:pt x="208" y="99"/>
                    <a:pt x="208" y="99"/>
                    <a:pt x="208" y="99"/>
                  </a:cubicBezTo>
                  <a:cubicBezTo>
                    <a:pt x="207" y="98"/>
                    <a:pt x="207" y="98"/>
                    <a:pt x="207" y="98"/>
                  </a:cubicBezTo>
                  <a:cubicBezTo>
                    <a:pt x="207" y="97"/>
                    <a:pt x="207" y="97"/>
                    <a:pt x="207" y="96"/>
                  </a:cubicBezTo>
                  <a:cubicBezTo>
                    <a:pt x="205" y="95"/>
                    <a:pt x="201" y="95"/>
                    <a:pt x="198" y="94"/>
                  </a:cubicBezTo>
                  <a:cubicBezTo>
                    <a:pt x="197" y="94"/>
                    <a:pt x="197" y="94"/>
                    <a:pt x="197" y="94"/>
                  </a:cubicBezTo>
                  <a:cubicBezTo>
                    <a:pt x="196" y="94"/>
                    <a:pt x="195" y="94"/>
                    <a:pt x="195" y="94"/>
                  </a:cubicBezTo>
                  <a:cubicBezTo>
                    <a:pt x="194" y="94"/>
                    <a:pt x="193" y="94"/>
                    <a:pt x="193" y="93"/>
                  </a:cubicBezTo>
                  <a:cubicBezTo>
                    <a:pt x="192" y="93"/>
                    <a:pt x="192" y="93"/>
                    <a:pt x="192" y="93"/>
                  </a:cubicBezTo>
                  <a:cubicBezTo>
                    <a:pt x="189" y="93"/>
                    <a:pt x="186" y="93"/>
                    <a:pt x="184" y="91"/>
                  </a:cubicBezTo>
                  <a:cubicBezTo>
                    <a:pt x="181" y="89"/>
                    <a:pt x="180" y="86"/>
                    <a:pt x="179" y="83"/>
                  </a:cubicBezTo>
                  <a:cubicBezTo>
                    <a:pt x="179" y="82"/>
                    <a:pt x="178" y="81"/>
                    <a:pt x="178" y="80"/>
                  </a:cubicBezTo>
                  <a:cubicBezTo>
                    <a:pt x="178" y="79"/>
                    <a:pt x="178" y="79"/>
                    <a:pt x="178" y="79"/>
                  </a:cubicBezTo>
                  <a:cubicBezTo>
                    <a:pt x="177" y="77"/>
                    <a:pt x="175" y="74"/>
                    <a:pt x="175" y="71"/>
                  </a:cubicBezTo>
                  <a:cubicBezTo>
                    <a:pt x="176" y="67"/>
                    <a:pt x="176" y="67"/>
                    <a:pt x="176" y="67"/>
                  </a:cubicBezTo>
                  <a:cubicBezTo>
                    <a:pt x="176" y="67"/>
                    <a:pt x="176" y="66"/>
                    <a:pt x="176" y="66"/>
                  </a:cubicBezTo>
                  <a:cubicBezTo>
                    <a:pt x="175" y="66"/>
                    <a:pt x="175" y="66"/>
                    <a:pt x="174" y="66"/>
                  </a:cubicBezTo>
                  <a:cubicBezTo>
                    <a:pt x="174" y="66"/>
                    <a:pt x="173" y="66"/>
                    <a:pt x="173" y="66"/>
                  </a:cubicBezTo>
                  <a:cubicBezTo>
                    <a:pt x="172" y="66"/>
                    <a:pt x="172" y="66"/>
                    <a:pt x="171" y="66"/>
                  </a:cubicBezTo>
                  <a:cubicBezTo>
                    <a:pt x="169" y="65"/>
                    <a:pt x="168" y="65"/>
                    <a:pt x="167" y="64"/>
                  </a:cubicBezTo>
                  <a:cubicBezTo>
                    <a:pt x="165" y="63"/>
                    <a:pt x="165" y="61"/>
                    <a:pt x="166" y="59"/>
                  </a:cubicBezTo>
                  <a:cubicBezTo>
                    <a:pt x="166" y="58"/>
                    <a:pt x="166" y="58"/>
                    <a:pt x="166" y="57"/>
                  </a:cubicBezTo>
                  <a:cubicBezTo>
                    <a:pt x="165" y="57"/>
                    <a:pt x="165" y="57"/>
                    <a:pt x="165" y="57"/>
                  </a:cubicBezTo>
                  <a:cubicBezTo>
                    <a:pt x="165" y="57"/>
                    <a:pt x="165" y="56"/>
                    <a:pt x="165" y="56"/>
                  </a:cubicBezTo>
                  <a:cubicBezTo>
                    <a:pt x="165" y="55"/>
                    <a:pt x="165" y="55"/>
                    <a:pt x="164" y="55"/>
                  </a:cubicBezTo>
                  <a:cubicBezTo>
                    <a:pt x="162" y="53"/>
                    <a:pt x="160" y="53"/>
                    <a:pt x="158" y="52"/>
                  </a:cubicBezTo>
                  <a:cubicBezTo>
                    <a:pt x="157" y="51"/>
                    <a:pt x="157" y="51"/>
                    <a:pt x="157" y="51"/>
                  </a:cubicBezTo>
                  <a:cubicBezTo>
                    <a:pt x="154" y="50"/>
                    <a:pt x="150" y="48"/>
                    <a:pt x="147" y="46"/>
                  </a:cubicBezTo>
                  <a:cubicBezTo>
                    <a:pt x="145" y="45"/>
                    <a:pt x="143" y="43"/>
                    <a:pt x="141" y="42"/>
                  </a:cubicBezTo>
                  <a:cubicBezTo>
                    <a:pt x="140" y="40"/>
                    <a:pt x="139" y="39"/>
                    <a:pt x="138" y="36"/>
                  </a:cubicBezTo>
                  <a:cubicBezTo>
                    <a:pt x="136" y="30"/>
                    <a:pt x="136" y="30"/>
                    <a:pt x="136" y="30"/>
                  </a:cubicBezTo>
                  <a:cubicBezTo>
                    <a:pt x="135" y="25"/>
                    <a:pt x="132" y="21"/>
                    <a:pt x="129" y="17"/>
                  </a:cubicBezTo>
                  <a:cubicBezTo>
                    <a:pt x="128" y="16"/>
                    <a:pt x="128" y="14"/>
                    <a:pt x="127" y="13"/>
                  </a:cubicBezTo>
                  <a:cubicBezTo>
                    <a:pt x="119" y="0"/>
                    <a:pt x="119"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Rectangle 223"/>
            <p:cNvSpPr>
              <a:spLocks noChangeArrowheads="1"/>
            </p:cNvSpPr>
            <p:nvPr/>
          </p:nvSpPr>
          <p:spPr bwMode="auto">
            <a:xfrm>
              <a:off x="4963" y="376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224"/>
            <p:cNvSpPr/>
            <p:nvPr/>
          </p:nvSpPr>
          <p:spPr bwMode="auto">
            <a:xfrm flipH="1">
              <a:off x="4963" y="376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225"/>
            <p:cNvSpPr/>
            <p:nvPr/>
          </p:nvSpPr>
          <p:spPr bwMode="auto">
            <a:xfrm>
              <a:off x="4315" y="3715"/>
              <a:ext cx="735" cy="688"/>
            </a:xfrm>
            <a:custGeom>
              <a:gdLst>
                <a:gd name="T0" fmla="*/ 33 w 311"/>
                <a:gd name="T1" fmla="*/ 0 h 291"/>
                <a:gd name="T2" fmla="*/ 28 w 311"/>
                <a:gd name="T3" fmla="*/ 1 h 291"/>
                <a:gd name="T4" fmla="*/ 11 w 311"/>
                <a:gd name="T5" fmla="*/ 7 h 291"/>
                <a:gd name="T6" fmla="*/ 0 w 311"/>
                <a:gd name="T7" fmla="*/ 6 h 291"/>
                <a:gd name="T8" fmla="*/ 34 w 311"/>
                <a:gd name="T9" fmla="*/ 79 h 291"/>
                <a:gd name="T10" fmla="*/ 65 w 311"/>
                <a:gd name="T11" fmla="*/ 143 h 291"/>
                <a:gd name="T12" fmla="*/ 66 w 311"/>
                <a:gd name="T13" fmla="*/ 179 h 291"/>
                <a:gd name="T14" fmla="*/ 79 w 311"/>
                <a:gd name="T15" fmla="*/ 239 h 291"/>
                <a:gd name="T16" fmla="*/ 107 w 311"/>
                <a:gd name="T17" fmla="*/ 283 h 291"/>
                <a:gd name="T18" fmla="*/ 113 w 311"/>
                <a:gd name="T19" fmla="*/ 278 h 291"/>
                <a:gd name="T20" fmla="*/ 116 w 311"/>
                <a:gd name="T21" fmla="*/ 274 h 291"/>
                <a:gd name="T22" fmla="*/ 119 w 311"/>
                <a:gd name="T23" fmla="*/ 270 h 291"/>
                <a:gd name="T24" fmla="*/ 126 w 311"/>
                <a:gd name="T25" fmla="*/ 269 h 291"/>
                <a:gd name="T26" fmla="*/ 131 w 311"/>
                <a:gd name="T27" fmla="*/ 274 h 291"/>
                <a:gd name="T28" fmla="*/ 134 w 311"/>
                <a:gd name="T29" fmla="*/ 276 h 291"/>
                <a:gd name="T30" fmla="*/ 134 w 311"/>
                <a:gd name="T31" fmla="*/ 282 h 291"/>
                <a:gd name="T32" fmla="*/ 136 w 311"/>
                <a:gd name="T33" fmla="*/ 286 h 291"/>
                <a:gd name="T34" fmla="*/ 141 w 311"/>
                <a:gd name="T35" fmla="*/ 287 h 291"/>
                <a:gd name="T36" fmla="*/ 157 w 311"/>
                <a:gd name="T37" fmla="*/ 290 h 291"/>
                <a:gd name="T38" fmla="*/ 173 w 311"/>
                <a:gd name="T39" fmla="*/ 290 h 291"/>
                <a:gd name="T40" fmla="*/ 183 w 311"/>
                <a:gd name="T41" fmla="*/ 280 h 291"/>
                <a:gd name="T42" fmla="*/ 191 w 311"/>
                <a:gd name="T43" fmla="*/ 274 h 291"/>
                <a:gd name="T44" fmla="*/ 191 w 311"/>
                <a:gd name="T45" fmla="*/ 194 h 291"/>
                <a:gd name="T46" fmla="*/ 190 w 311"/>
                <a:gd name="T47" fmla="*/ 189 h 291"/>
                <a:gd name="T48" fmla="*/ 191 w 311"/>
                <a:gd name="T49" fmla="*/ 119 h 291"/>
                <a:gd name="T50" fmla="*/ 199 w 311"/>
                <a:gd name="T51" fmla="*/ 117 h 291"/>
                <a:gd name="T52" fmla="*/ 213 w 311"/>
                <a:gd name="T53" fmla="*/ 116 h 291"/>
                <a:gd name="T54" fmla="*/ 214 w 311"/>
                <a:gd name="T55" fmla="*/ 112 h 291"/>
                <a:gd name="T56" fmla="*/ 214 w 311"/>
                <a:gd name="T57" fmla="*/ 66 h 291"/>
                <a:gd name="T58" fmla="*/ 216 w 311"/>
                <a:gd name="T59" fmla="*/ 28 h 291"/>
                <a:gd name="T60" fmla="*/ 268 w 311"/>
                <a:gd name="T61" fmla="*/ 19 h 291"/>
                <a:gd name="T62" fmla="*/ 275 w 311"/>
                <a:gd name="T63" fmla="*/ 23 h 291"/>
                <a:gd name="T64" fmla="*/ 277 w 311"/>
                <a:gd name="T65" fmla="*/ 26 h 291"/>
                <a:gd name="T66" fmla="*/ 284 w 311"/>
                <a:gd name="T67" fmla="*/ 26 h 291"/>
                <a:gd name="T68" fmla="*/ 286 w 311"/>
                <a:gd name="T69" fmla="*/ 24 h 291"/>
                <a:gd name="T70" fmla="*/ 310 w 311"/>
                <a:gd name="T71" fmla="*/ 14 h 291"/>
                <a:gd name="T72" fmla="*/ 298 w 311"/>
                <a:gd name="T73" fmla="*/ 12 h 291"/>
                <a:gd name="T74" fmla="*/ 282 w 311"/>
                <a:gd name="T75" fmla="*/ 14 h 291"/>
                <a:gd name="T76" fmla="*/ 235 w 311"/>
                <a:gd name="T77" fmla="*/ 23 h 291"/>
                <a:gd name="T78" fmla="*/ 192 w 311"/>
                <a:gd name="T79" fmla="*/ 21 h 291"/>
                <a:gd name="T80" fmla="*/ 184 w 311"/>
                <a:gd name="T81" fmla="*/ 20 h 291"/>
                <a:gd name="T82" fmla="*/ 176 w 311"/>
                <a:gd name="T83" fmla="*/ 20 h 291"/>
                <a:gd name="T84" fmla="*/ 165 w 311"/>
                <a:gd name="T85" fmla="*/ 18 h 291"/>
                <a:gd name="T86" fmla="*/ 157 w 311"/>
                <a:gd name="T87" fmla="*/ 11 h 291"/>
                <a:gd name="T88" fmla="*/ 156 w 311"/>
                <a:gd name="T89" fmla="*/ 10 h 291"/>
                <a:gd name="T90" fmla="*/ 143 w 311"/>
                <a:gd name="T91" fmla="*/ 10 h 291"/>
                <a:gd name="T92" fmla="*/ 102 w 311"/>
                <a:gd name="T93" fmla="*/ 10 h 291"/>
                <a:gd name="T94" fmla="*/ 64 w 311"/>
                <a:gd name="T95" fmla="*/ 10 h 291"/>
                <a:gd name="T96" fmla="*/ 56 w 311"/>
                <a:gd name="T97" fmla="*/ 10 h 291"/>
                <a:gd name="T98" fmla="*/ 45 w 311"/>
                <a:gd name="T99" fmla="*/ 7 h 291"/>
                <a:gd name="T100" fmla="*/ 42 w 311"/>
                <a:gd name="T101" fmla="*/ 3 h 291"/>
                <a:gd name="T102" fmla="*/ 37 w 311"/>
                <a:gd name="T103" fmla="*/ 0 h 2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1" h="291">
                  <a:moveTo>
                    <a:pt x="37" y="0"/>
                  </a:moveTo>
                  <a:cubicBezTo>
                    <a:pt x="35" y="0"/>
                    <a:pt x="35" y="0"/>
                    <a:pt x="35" y="0"/>
                  </a:cubicBezTo>
                  <a:cubicBezTo>
                    <a:pt x="34" y="0"/>
                    <a:pt x="34" y="0"/>
                    <a:pt x="33" y="0"/>
                  </a:cubicBezTo>
                  <a:cubicBezTo>
                    <a:pt x="32" y="0"/>
                    <a:pt x="32" y="0"/>
                    <a:pt x="32" y="0"/>
                  </a:cubicBezTo>
                  <a:cubicBezTo>
                    <a:pt x="31" y="0"/>
                    <a:pt x="31" y="0"/>
                    <a:pt x="30" y="0"/>
                  </a:cubicBezTo>
                  <a:cubicBezTo>
                    <a:pt x="30" y="1"/>
                    <a:pt x="29" y="1"/>
                    <a:pt x="28" y="1"/>
                  </a:cubicBezTo>
                  <a:cubicBezTo>
                    <a:pt x="28" y="2"/>
                    <a:pt x="27" y="2"/>
                    <a:pt x="26" y="3"/>
                  </a:cubicBezTo>
                  <a:cubicBezTo>
                    <a:pt x="24" y="4"/>
                    <a:pt x="21" y="6"/>
                    <a:pt x="18" y="6"/>
                  </a:cubicBezTo>
                  <a:cubicBezTo>
                    <a:pt x="16" y="6"/>
                    <a:pt x="13" y="7"/>
                    <a:pt x="11" y="7"/>
                  </a:cubicBezTo>
                  <a:cubicBezTo>
                    <a:pt x="9" y="7"/>
                    <a:pt x="8" y="6"/>
                    <a:pt x="6" y="6"/>
                  </a:cubicBezTo>
                  <a:cubicBezTo>
                    <a:pt x="4" y="6"/>
                    <a:pt x="3" y="6"/>
                    <a:pt x="2" y="6"/>
                  </a:cubicBezTo>
                  <a:cubicBezTo>
                    <a:pt x="1" y="6"/>
                    <a:pt x="1" y="6"/>
                    <a:pt x="0" y="6"/>
                  </a:cubicBezTo>
                  <a:cubicBezTo>
                    <a:pt x="0" y="6"/>
                    <a:pt x="0" y="6"/>
                    <a:pt x="0" y="6"/>
                  </a:cubicBezTo>
                  <a:cubicBezTo>
                    <a:pt x="0" y="16"/>
                    <a:pt x="0" y="28"/>
                    <a:pt x="8" y="35"/>
                  </a:cubicBezTo>
                  <a:cubicBezTo>
                    <a:pt x="20" y="46"/>
                    <a:pt x="27" y="65"/>
                    <a:pt x="34" y="79"/>
                  </a:cubicBezTo>
                  <a:cubicBezTo>
                    <a:pt x="40" y="91"/>
                    <a:pt x="46" y="103"/>
                    <a:pt x="53" y="115"/>
                  </a:cubicBezTo>
                  <a:cubicBezTo>
                    <a:pt x="57" y="122"/>
                    <a:pt x="61" y="129"/>
                    <a:pt x="65" y="136"/>
                  </a:cubicBezTo>
                  <a:cubicBezTo>
                    <a:pt x="66" y="138"/>
                    <a:pt x="65" y="142"/>
                    <a:pt x="65" y="143"/>
                  </a:cubicBezTo>
                  <a:cubicBezTo>
                    <a:pt x="64" y="148"/>
                    <a:pt x="64" y="152"/>
                    <a:pt x="64" y="156"/>
                  </a:cubicBezTo>
                  <a:cubicBezTo>
                    <a:pt x="64" y="162"/>
                    <a:pt x="63" y="168"/>
                    <a:pt x="64" y="173"/>
                  </a:cubicBezTo>
                  <a:cubicBezTo>
                    <a:pt x="64" y="175"/>
                    <a:pt x="65" y="177"/>
                    <a:pt x="66" y="179"/>
                  </a:cubicBezTo>
                  <a:cubicBezTo>
                    <a:pt x="67" y="184"/>
                    <a:pt x="69" y="188"/>
                    <a:pt x="72" y="193"/>
                  </a:cubicBezTo>
                  <a:cubicBezTo>
                    <a:pt x="74" y="198"/>
                    <a:pt x="72" y="206"/>
                    <a:pt x="72" y="212"/>
                  </a:cubicBezTo>
                  <a:cubicBezTo>
                    <a:pt x="73" y="221"/>
                    <a:pt x="77" y="230"/>
                    <a:pt x="79" y="239"/>
                  </a:cubicBezTo>
                  <a:cubicBezTo>
                    <a:pt x="82" y="247"/>
                    <a:pt x="84" y="256"/>
                    <a:pt x="89" y="263"/>
                  </a:cubicBezTo>
                  <a:cubicBezTo>
                    <a:pt x="92" y="267"/>
                    <a:pt x="94" y="271"/>
                    <a:pt x="98" y="275"/>
                  </a:cubicBezTo>
                  <a:cubicBezTo>
                    <a:pt x="102" y="277"/>
                    <a:pt x="104" y="281"/>
                    <a:pt x="107" y="283"/>
                  </a:cubicBezTo>
                  <a:cubicBezTo>
                    <a:pt x="108" y="284"/>
                    <a:pt x="108" y="284"/>
                    <a:pt x="108" y="284"/>
                  </a:cubicBezTo>
                  <a:cubicBezTo>
                    <a:pt x="110" y="281"/>
                    <a:pt x="110" y="281"/>
                    <a:pt x="110" y="281"/>
                  </a:cubicBezTo>
                  <a:cubicBezTo>
                    <a:pt x="111" y="281"/>
                    <a:pt x="112" y="280"/>
                    <a:pt x="113" y="278"/>
                  </a:cubicBezTo>
                  <a:cubicBezTo>
                    <a:pt x="113" y="278"/>
                    <a:pt x="114" y="277"/>
                    <a:pt x="114" y="276"/>
                  </a:cubicBezTo>
                  <a:cubicBezTo>
                    <a:pt x="115" y="276"/>
                    <a:pt x="115" y="275"/>
                    <a:pt x="115" y="275"/>
                  </a:cubicBezTo>
                  <a:cubicBezTo>
                    <a:pt x="116" y="274"/>
                    <a:pt x="116" y="274"/>
                    <a:pt x="116" y="274"/>
                  </a:cubicBezTo>
                  <a:cubicBezTo>
                    <a:pt x="116" y="273"/>
                    <a:pt x="117" y="272"/>
                    <a:pt x="117" y="272"/>
                  </a:cubicBezTo>
                  <a:cubicBezTo>
                    <a:pt x="118" y="271"/>
                    <a:pt x="118" y="270"/>
                    <a:pt x="119" y="270"/>
                  </a:cubicBezTo>
                  <a:cubicBezTo>
                    <a:pt x="119" y="270"/>
                    <a:pt x="119" y="270"/>
                    <a:pt x="119" y="270"/>
                  </a:cubicBezTo>
                  <a:cubicBezTo>
                    <a:pt x="120" y="269"/>
                    <a:pt x="121" y="269"/>
                    <a:pt x="122" y="269"/>
                  </a:cubicBezTo>
                  <a:cubicBezTo>
                    <a:pt x="123" y="269"/>
                    <a:pt x="123" y="269"/>
                    <a:pt x="123" y="269"/>
                  </a:cubicBezTo>
                  <a:cubicBezTo>
                    <a:pt x="126" y="269"/>
                    <a:pt x="126" y="269"/>
                    <a:pt x="126" y="269"/>
                  </a:cubicBezTo>
                  <a:cubicBezTo>
                    <a:pt x="129" y="270"/>
                    <a:pt x="130" y="272"/>
                    <a:pt x="130" y="273"/>
                  </a:cubicBezTo>
                  <a:cubicBezTo>
                    <a:pt x="130" y="274"/>
                    <a:pt x="130" y="274"/>
                    <a:pt x="130" y="274"/>
                  </a:cubicBezTo>
                  <a:cubicBezTo>
                    <a:pt x="131" y="274"/>
                    <a:pt x="131" y="274"/>
                    <a:pt x="131" y="274"/>
                  </a:cubicBezTo>
                  <a:cubicBezTo>
                    <a:pt x="131" y="274"/>
                    <a:pt x="131" y="274"/>
                    <a:pt x="131" y="274"/>
                  </a:cubicBezTo>
                  <a:cubicBezTo>
                    <a:pt x="131" y="274"/>
                    <a:pt x="131" y="274"/>
                    <a:pt x="131" y="274"/>
                  </a:cubicBezTo>
                  <a:cubicBezTo>
                    <a:pt x="132" y="275"/>
                    <a:pt x="133" y="275"/>
                    <a:pt x="134" y="276"/>
                  </a:cubicBezTo>
                  <a:cubicBezTo>
                    <a:pt x="135" y="277"/>
                    <a:pt x="135" y="277"/>
                    <a:pt x="135" y="277"/>
                  </a:cubicBezTo>
                  <a:cubicBezTo>
                    <a:pt x="135" y="278"/>
                    <a:pt x="135" y="278"/>
                    <a:pt x="135" y="279"/>
                  </a:cubicBezTo>
                  <a:cubicBezTo>
                    <a:pt x="135" y="281"/>
                    <a:pt x="135" y="282"/>
                    <a:pt x="134" y="282"/>
                  </a:cubicBezTo>
                  <a:cubicBezTo>
                    <a:pt x="134" y="282"/>
                    <a:pt x="134" y="282"/>
                    <a:pt x="134" y="282"/>
                  </a:cubicBezTo>
                  <a:cubicBezTo>
                    <a:pt x="135" y="283"/>
                    <a:pt x="136" y="284"/>
                    <a:pt x="136" y="284"/>
                  </a:cubicBezTo>
                  <a:cubicBezTo>
                    <a:pt x="136" y="285"/>
                    <a:pt x="136" y="285"/>
                    <a:pt x="136" y="286"/>
                  </a:cubicBezTo>
                  <a:cubicBezTo>
                    <a:pt x="136" y="286"/>
                    <a:pt x="137" y="286"/>
                    <a:pt x="137" y="286"/>
                  </a:cubicBezTo>
                  <a:cubicBezTo>
                    <a:pt x="138" y="286"/>
                    <a:pt x="138" y="286"/>
                    <a:pt x="138" y="286"/>
                  </a:cubicBezTo>
                  <a:cubicBezTo>
                    <a:pt x="139" y="287"/>
                    <a:pt x="140" y="287"/>
                    <a:pt x="141" y="287"/>
                  </a:cubicBezTo>
                  <a:cubicBezTo>
                    <a:pt x="142" y="287"/>
                    <a:pt x="142" y="287"/>
                    <a:pt x="142" y="287"/>
                  </a:cubicBezTo>
                  <a:cubicBezTo>
                    <a:pt x="146" y="289"/>
                    <a:pt x="150" y="290"/>
                    <a:pt x="154" y="290"/>
                  </a:cubicBezTo>
                  <a:cubicBezTo>
                    <a:pt x="154" y="290"/>
                    <a:pt x="156" y="290"/>
                    <a:pt x="157" y="290"/>
                  </a:cubicBezTo>
                  <a:cubicBezTo>
                    <a:pt x="158" y="290"/>
                    <a:pt x="158" y="290"/>
                    <a:pt x="158" y="290"/>
                  </a:cubicBezTo>
                  <a:cubicBezTo>
                    <a:pt x="160" y="291"/>
                    <a:pt x="164" y="291"/>
                    <a:pt x="168" y="291"/>
                  </a:cubicBezTo>
                  <a:cubicBezTo>
                    <a:pt x="170" y="291"/>
                    <a:pt x="171" y="291"/>
                    <a:pt x="173" y="290"/>
                  </a:cubicBezTo>
                  <a:cubicBezTo>
                    <a:pt x="173" y="290"/>
                    <a:pt x="173" y="290"/>
                    <a:pt x="173" y="290"/>
                  </a:cubicBezTo>
                  <a:cubicBezTo>
                    <a:pt x="174" y="289"/>
                    <a:pt x="175" y="287"/>
                    <a:pt x="176" y="285"/>
                  </a:cubicBezTo>
                  <a:cubicBezTo>
                    <a:pt x="178" y="283"/>
                    <a:pt x="181" y="282"/>
                    <a:pt x="183" y="280"/>
                  </a:cubicBezTo>
                  <a:cubicBezTo>
                    <a:pt x="185" y="280"/>
                    <a:pt x="186" y="280"/>
                    <a:pt x="188" y="279"/>
                  </a:cubicBezTo>
                  <a:cubicBezTo>
                    <a:pt x="190" y="279"/>
                    <a:pt x="191" y="279"/>
                    <a:pt x="191" y="279"/>
                  </a:cubicBezTo>
                  <a:cubicBezTo>
                    <a:pt x="191" y="278"/>
                    <a:pt x="191" y="277"/>
                    <a:pt x="191" y="274"/>
                  </a:cubicBezTo>
                  <a:cubicBezTo>
                    <a:pt x="191" y="273"/>
                    <a:pt x="191" y="273"/>
                    <a:pt x="191" y="272"/>
                  </a:cubicBezTo>
                  <a:cubicBezTo>
                    <a:pt x="191" y="199"/>
                    <a:pt x="191" y="199"/>
                    <a:pt x="191" y="199"/>
                  </a:cubicBezTo>
                  <a:cubicBezTo>
                    <a:pt x="191" y="197"/>
                    <a:pt x="191" y="196"/>
                    <a:pt x="191" y="194"/>
                  </a:cubicBezTo>
                  <a:cubicBezTo>
                    <a:pt x="191" y="193"/>
                    <a:pt x="191" y="193"/>
                    <a:pt x="191" y="193"/>
                  </a:cubicBezTo>
                  <a:cubicBezTo>
                    <a:pt x="191" y="192"/>
                    <a:pt x="191" y="191"/>
                    <a:pt x="190" y="189"/>
                  </a:cubicBezTo>
                  <a:cubicBezTo>
                    <a:pt x="190" y="189"/>
                    <a:pt x="190" y="189"/>
                    <a:pt x="190" y="189"/>
                  </a:cubicBezTo>
                  <a:cubicBezTo>
                    <a:pt x="191" y="186"/>
                    <a:pt x="191" y="186"/>
                    <a:pt x="191" y="186"/>
                  </a:cubicBezTo>
                  <a:cubicBezTo>
                    <a:pt x="191" y="124"/>
                    <a:pt x="191" y="124"/>
                    <a:pt x="191" y="124"/>
                  </a:cubicBezTo>
                  <a:cubicBezTo>
                    <a:pt x="191" y="121"/>
                    <a:pt x="191" y="120"/>
                    <a:pt x="191" y="119"/>
                  </a:cubicBezTo>
                  <a:cubicBezTo>
                    <a:pt x="192" y="118"/>
                    <a:pt x="192" y="118"/>
                    <a:pt x="192" y="118"/>
                  </a:cubicBezTo>
                  <a:cubicBezTo>
                    <a:pt x="192" y="117"/>
                    <a:pt x="193" y="117"/>
                    <a:pt x="195" y="117"/>
                  </a:cubicBezTo>
                  <a:cubicBezTo>
                    <a:pt x="196" y="117"/>
                    <a:pt x="198" y="117"/>
                    <a:pt x="199" y="117"/>
                  </a:cubicBezTo>
                  <a:cubicBezTo>
                    <a:pt x="200" y="117"/>
                    <a:pt x="200" y="117"/>
                    <a:pt x="200" y="117"/>
                  </a:cubicBezTo>
                  <a:cubicBezTo>
                    <a:pt x="202" y="117"/>
                    <a:pt x="205" y="117"/>
                    <a:pt x="207" y="117"/>
                  </a:cubicBezTo>
                  <a:cubicBezTo>
                    <a:pt x="209" y="117"/>
                    <a:pt x="211" y="117"/>
                    <a:pt x="213" y="116"/>
                  </a:cubicBezTo>
                  <a:cubicBezTo>
                    <a:pt x="214" y="116"/>
                    <a:pt x="214" y="116"/>
                    <a:pt x="214" y="116"/>
                  </a:cubicBezTo>
                  <a:cubicBezTo>
                    <a:pt x="215" y="115"/>
                    <a:pt x="215" y="115"/>
                    <a:pt x="215" y="114"/>
                  </a:cubicBezTo>
                  <a:cubicBezTo>
                    <a:pt x="214" y="113"/>
                    <a:pt x="214" y="113"/>
                    <a:pt x="214" y="112"/>
                  </a:cubicBezTo>
                  <a:cubicBezTo>
                    <a:pt x="214" y="101"/>
                    <a:pt x="214" y="101"/>
                    <a:pt x="214" y="101"/>
                  </a:cubicBezTo>
                  <a:cubicBezTo>
                    <a:pt x="214" y="90"/>
                    <a:pt x="214" y="79"/>
                    <a:pt x="214" y="68"/>
                  </a:cubicBezTo>
                  <a:cubicBezTo>
                    <a:pt x="214" y="66"/>
                    <a:pt x="214" y="66"/>
                    <a:pt x="214" y="66"/>
                  </a:cubicBezTo>
                  <a:cubicBezTo>
                    <a:pt x="214" y="55"/>
                    <a:pt x="214" y="44"/>
                    <a:pt x="214" y="32"/>
                  </a:cubicBezTo>
                  <a:cubicBezTo>
                    <a:pt x="214" y="30"/>
                    <a:pt x="215" y="29"/>
                    <a:pt x="215" y="29"/>
                  </a:cubicBezTo>
                  <a:cubicBezTo>
                    <a:pt x="216" y="28"/>
                    <a:pt x="216" y="28"/>
                    <a:pt x="216" y="28"/>
                  </a:cubicBezTo>
                  <a:cubicBezTo>
                    <a:pt x="216" y="27"/>
                    <a:pt x="217" y="27"/>
                    <a:pt x="217" y="26"/>
                  </a:cubicBezTo>
                  <a:cubicBezTo>
                    <a:pt x="218" y="26"/>
                    <a:pt x="218" y="26"/>
                    <a:pt x="218" y="26"/>
                  </a:cubicBezTo>
                  <a:cubicBezTo>
                    <a:pt x="268" y="19"/>
                    <a:pt x="268" y="19"/>
                    <a:pt x="268" y="19"/>
                  </a:cubicBezTo>
                  <a:cubicBezTo>
                    <a:pt x="268" y="19"/>
                    <a:pt x="269" y="19"/>
                    <a:pt x="270" y="19"/>
                  </a:cubicBezTo>
                  <a:cubicBezTo>
                    <a:pt x="271" y="19"/>
                    <a:pt x="273" y="19"/>
                    <a:pt x="275" y="21"/>
                  </a:cubicBezTo>
                  <a:cubicBezTo>
                    <a:pt x="275" y="22"/>
                    <a:pt x="275" y="22"/>
                    <a:pt x="275" y="23"/>
                  </a:cubicBezTo>
                  <a:cubicBezTo>
                    <a:pt x="276" y="23"/>
                    <a:pt x="276" y="23"/>
                    <a:pt x="276" y="23"/>
                  </a:cubicBezTo>
                  <a:cubicBezTo>
                    <a:pt x="276" y="24"/>
                    <a:pt x="276" y="24"/>
                    <a:pt x="276" y="24"/>
                  </a:cubicBezTo>
                  <a:cubicBezTo>
                    <a:pt x="276" y="24"/>
                    <a:pt x="277" y="25"/>
                    <a:pt x="277" y="26"/>
                  </a:cubicBezTo>
                  <a:cubicBezTo>
                    <a:pt x="278" y="27"/>
                    <a:pt x="278" y="29"/>
                    <a:pt x="279" y="30"/>
                  </a:cubicBezTo>
                  <a:cubicBezTo>
                    <a:pt x="279" y="30"/>
                    <a:pt x="279" y="30"/>
                    <a:pt x="279" y="30"/>
                  </a:cubicBezTo>
                  <a:cubicBezTo>
                    <a:pt x="280" y="30"/>
                    <a:pt x="281" y="28"/>
                    <a:pt x="284" y="26"/>
                  </a:cubicBezTo>
                  <a:cubicBezTo>
                    <a:pt x="284" y="26"/>
                    <a:pt x="285" y="25"/>
                    <a:pt x="285" y="25"/>
                  </a:cubicBezTo>
                  <a:cubicBezTo>
                    <a:pt x="282" y="21"/>
                    <a:pt x="282" y="21"/>
                    <a:pt x="282" y="21"/>
                  </a:cubicBezTo>
                  <a:cubicBezTo>
                    <a:pt x="286" y="24"/>
                    <a:pt x="286" y="24"/>
                    <a:pt x="286" y="24"/>
                  </a:cubicBezTo>
                  <a:cubicBezTo>
                    <a:pt x="286" y="24"/>
                    <a:pt x="286" y="24"/>
                    <a:pt x="286" y="24"/>
                  </a:cubicBezTo>
                  <a:cubicBezTo>
                    <a:pt x="294" y="18"/>
                    <a:pt x="302" y="15"/>
                    <a:pt x="311" y="15"/>
                  </a:cubicBezTo>
                  <a:cubicBezTo>
                    <a:pt x="310" y="14"/>
                    <a:pt x="310" y="14"/>
                    <a:pt x="310" y="14"/>
                  </a:cubicBezTo>
                  <a:cubicBezTo>
                    <a:pt x="310" y="14"/>
                    <a:pt x="309" y="14"/>
                    <a:pt x="308" y="13"/>
                  </a:cubicBezTo>
                  <a:cubicBezTo>
                    <a:pt x="305" y="12"/>
                    <a:pt x="302" y="12"/>
                    <a:pt x="298" y="12"/>
                  </a:cubicBezTo>
                  <a:cubicBezTo>
                    <a:pt x="298" y="12"/>
                    <a:pt x="298" y="12"/>
                    <a:pt x="298" y="12"/>
                  </a:cubicBezTo>
                  <a:cubicBezTo>
                    <a:pt x="297" y="12"/>
                    <a:pt x="295" y="12"/>
                    <a:pt x="294" y="12"/>
                  </a:cubicBezTo>
                  <a:cubicBezTo>
                    <a:pt x="294" y="12"/>
                    <a:pt x="294" y="12"/>
                    <a:pt x="293" y="12"/>
                  </a:cubicBezTo>
                  <a:cubicBezTo>
                    <a:pt x="290" y="12"/>
                    <a:pt x="286" y="13"/>
                    <a:pt x="282" y="14"/>
                  </a:cubicBezTo>
                  <a:cubicBezTo>
                    <a:pt x="280" y="14"/>
                    <a:pt x="279" y="15"/>
                    <a:pt x="277" y="15"/>
                  </a:cubicBezTo>
                  <a:cubicBezTo>
                    <a:pt x="275" y="15"/>
                    <a:pt x="275" y="15"/>
                    <a:pt x="275" y="15"/>
                  </a:cubicBezTo>
                  <a:cubicBezTo>
                    <a:pt x="235" y="23"/>
                    <a:pt x="235" y="23"/>
                    <a:pt x="235" y="23"/>
                  </a:cubicBezTo>
                  <a:cubicBezTo>
                    <a:pt x="232" y="23"/>
                    <a:pt x="229" y="24"/>
                    <a:pt x="225" y="24"/>
                  </a:cubicBezTo>
                  <a:cubicBezTo>
                    <a:pt x="216" y="24"/>
                    <a:pt x="208" y="23"/>
                    <a:pt x="199" y="22"/>
                  </a:cubicBezTo>
                  <a:cubicBezTo>
                    <a:pt x="192" y="21"/>
                    <a:pt x="192" y="21"/>
                    <a:pt x="192" y="21"/>
                  </a:cubicBezTo>
                  <a:cubicBezTo>
                    <a:pt x="191" y="21"/>
                    <a:pt x="191" y="21"/>
                    <a:pt x="190" y="21"/>
                  </a:cubicBezTo>
                  <a:cubicBezTo>
                    <a:pt x="188" y="21"/>
                    <a:pt x="188" y="21"/>
                    <a:pt x="188" y="21"/>
                  </a:cubicBezTo>
                  <a:cubicBezTo>
                    <a:pt x="186" y="21"/>
                    <a:pt x="185" y="21"/>
                    <a:pt x="184" y="20"/>
                  </a:cubicBezTo>
                  <a:cubicBezTo>
                    <a:pt x="182" y="20"/>
                    <a:pt x="181" y="20"/>
                    <a:pt x="180" y="20"/>
                  </a:cubicBezTo>
                  <a:cubicBezTo>
                    <a:pt x="177" y="20"/>
                    <a:pt x="177" y="20"/>
                    <a:pt x="177" y="20"/>
                  </a:cubicBezTo>
                  <a:cubicBezTo>
                    <a:pt x="177" y="20"/>
                    <a:pt x="176" y="20"/>
                    <a:pt x="176" y="20"/>
                  </a:cubicBezTo>
                  <a:cubicBezTo>
                    <a:pt x="175" y="20"/>
                    <a:pt x="175" y="20"/>
                    <a:pt x="175" y="20"/>
                  </a:cubicBezTo>
                  <a:cubicBezTo>
                    <a:pt x="173" y="20"/>
                    <a:pt x="173" y="20"/>
                    <a:pt x="173" y="20"/>
                  </a:cubicBezTo>
                  <a:cubicBezTo>
                    <a:pt x="170" y="20"/>
                    <a:pt x="168" y="19"/>
                    <a:pt x="165" y="18"/>
                  </a:cubicBezTo>
                  <a:cubicBezTo>
                    <a:pt x="163" y="17"/>
                    <a:pt x="161" y="15"/>
                    <a:pt x="160" y="14"/>
                  </a:cubicBezTo>
                  <a:cubicBezTo>
                    <a:pt x="159" y="13"/>
                    <a:pt x="158" y="12"/>
                    <a:pt x="158" y="12"/>
                  </a:cubicBezTo>
                  <a:cubicBezTo>
                    <a:pt x="157" y="11"/>
                    <a:pt x="157" y="11"/>
                    <a:pt x="157" y="11"/>
                  </a:cubicBezTo>
                  <a:cubicBezTo>
                    <a:pt x="157" y="11"/>
                    <a:pt x="157" y="10"/>
                    <a:pt x="156" y="10"/>
                  </a:cubicBezTo>
                  <a:cubicBezTo>
                    <a:pt x="156" y="10"/>
                    <a:pt x="156" y="10"/>
                    <a:pt x="156" y="10"/>
                  </a:cubicBezTo>
                  <a:cubicBezTo>
                    <a:pt x="156" y="10"/>
                    <a:pt x="156" y="10"/>
                    <a:pt x="156" y="10"/>
                  </a:cubicBezTo>
                  <a:cubicBezTo>
                    <a:pt x="155" y="9"/>
                    <a:pt x="154" y="9"/>
                    <a:pt x="152" y="9"/>
                  </a:cubicBezTo>
                  <a:cubicBezTo>
                    <a:pt x="150" y="9"/>
                    <a:pt x="148" y="9"/>
                    <a:pt x="147" y="9"/>
                  </a:cubicBezTo>
                  <a:cubicBezTo>
                    <a:pt x="145" y="9"/>
                    <a:pt x="144" y="10"/>
                    <a:pt x="143" y="10"/>
                  </a:cubicBezTo>
                  <a:cubicBezTo>
                    <a:pt x="135" y="10"/>
                    <a:pt x="127" y="10"/>
                    <a:pt x="118" y="10"/>
                  </a:cubicBezTo>
                  <a:cubicBezTo>
                    <a:pt x="116" y="10"/>
                    <a:pt x="114" y="10"/>
                    <a:pt x="112" y="10"/>
                  </a:cubicBezTo>
                  <a:cubicBezTo>
                    <a:pt x="109" y="10"/>
                    <a:pt x="105" y="10"/>
                    <a:pt x="102" y="10"/>
                  </a:cubicBezTo>
                  <a:cubicBezTo>
                    <a:pt x="81" y="10"/>
                    <a:pt x="81" y="10"/>
                    <a:pt x="81" y="10"/>
                  </a:cubicBezTo>
                  <a:cubicBezTo>
                    <a:pt x="77" y="10"/>
                    <a:pt x="73" y="10"/>
                    <a:pt x="69" y="10"/>
                  </a:cubicBezTo>
                  <a:cubicBezTo>
                    <a:pt x="64" y="10"/>
                    <a:pt x="64" y="10"/>
                    <a:pt x="64" y="10"/>
                  </a:cubicBezTo>
                  <a:cubicBezTo>
                    <a:pt x="62" y="10"/>
                    <a:pt x="60" y="9"/>
                    <a:pt x="58" y="9"/>
                  </a:cubicBezTo>
                  <a:cubicBezTo>
                    <a:pt x="58" y="9"/>
                    <a:pt x="58" y="9"/>
                    <a:pt x="58" y="9"/>
                  </a:cubicBezTo>
                  <a:cubicBezTo>
                    <a:pt x="57" y="9"/>
                    <a:pt x="57" y="10"/>
                    <a:pt x="56" y="10"/>
                  </a:cubicBezTo>
                  <a:cubicBezTo>
                    <a:pt x="55" y="10"/>
                    <a:pt x="54" y="10"/>
                    <a:pt x="53" y="10"/>
                  </a:cubicBezTo>
                  <a:cubicBezTo>
                    <a:pt x="52" y="10"/>
                    <a:pt x="52" y="10"/>
                    <a:pt x="51" y="10"/>
                  </a:cubicBezTo>
                  <a:cubicBezTo>
                    <a:pt x="49" y="10"/>
                    <a:pt x="47" y="8"/>
                    <a:pt x="45" y="7"/>
                  </a:cubicBezTo>
                  <a:cubicBezTo>
                    <a:pt x="45" y="6"/>
                    <a:pt x="45" y="6"/>
                    <a:pt x="44" y="6"/>
                  </a:cubicBezTo>
                  <a:cubicBezTo>
                    <a:pt x="43" y="5"/>
                    <a:pt x="43" y="5"/>
                    <a:pt x="43" y="5"/>
                  </a:cubicBezTo>
                  <a:cubicBezTo>
                    <a:pt x="43" y="4"/>
                    <a:pt x="42" y="4"/>
                    <a:pt x="42" y="3"/>
                  </a:cubicBezTo>
                  <a:cubicBezTo>
                    <a:pt x="41" y="3"/>
                    <a:pt x="41" y="3"/>
                    <a:pt x="41" y="3"/>
                  </a:cubicBezTo>
                  <a:cubicBezTo>
                    <a:pt x="40" y="2"/>
                    <a:pt x="38" y="0"/>
                    <a:pt x="37" y="0"/>
                  </a:cubicBezTo>
                  <a:cubicBezTo>
                    <a:pt x="37"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226"/>
            <p:cNvSpPr/>
            <p:nvPr/>
          </p:nvSpPr>
          <p:spPr bwMode="auto">
            <a:xfrm>
              <a:off x="5490" y="3292"/>
              <a:ext cx="158" cy="397"/>
            </a:xfrm>
            <a:custGeom>
              <a:gdLst>
                <a:gd name="T0" fmla="*/ 14 w 67"/>
                <a:gd name="T1" fmla="*/ 6 h 168"/>
                <a:gd name="T2" fmla="*/ 22 w 67"/>
                <a:gd name="T3" fmla="*/ 20 h 168"/>
                <a:gd name="T4" fmla="*/ 13 w 67"/>
                <a:gd name="T5" fmla="*/ 30 h 168"/>
                <a:gd name="T6" fmla="*/ 13 w 67"/>
                <a:gd name="T7" fmla="*/ 32 h 168"/>
                <a:gd name="T8" fmla="*/ 12 w 67"/>
                <a:gd name="T9" fmla="*/ 41 h 168"/>
                <a:gd name="T10" fmla="*/ 11 w 67"/>
                <a:gd name="T11" fmla="*/ 46 h 168"/>
                <a:gd name="T12" fmla="*/ 12 w 67"/>
                <a:gd name="T13" fmla="*/ 52 h 168"/>
                <a:gd name="T14" fmla="*/ 12 w 67"/>
                <a:gd name="T15" fmla="*/ 55 h 168"/>
                <a:gd name="T16" fmla="*/ 12 w 67"/>
                <a:gd name="T17" fmla="*/ 56 h 168"/>
                <a:gd name="T18" fmla="*/ 15 w 67"/>
                <a:gd name="T19" fmla="*/ 61 h 168"/>
                <a:gd name="T20" fmla="*/ 17 w 67"/>
                <a:gd name="T21" fmla="*/ 68 h 168"/>
                <a:gd name="T22" fmla="*/ 15 w 67"/>
                <a:gd name="T23" fmla="*/ 69 h 168"/>
                <a:gd name="T24" fmla="*/ 7 w 67"/>
                <a:gd name="T25" fmla="*/ 73 h 168"/>
                <a:gd name="T26" fmla="*/ 6 w 67"/>
                <a:gd name="T27" fmla="*/ 77 h 168"/>
                <a:gd name="T28" fmla="*/ 4 w 67"/>
                <a:gd name="T29" fmla="*/ 89 h 168"/>
                <a:gd name="T30" fmla="*/ 1 w 67"/>
                <a:gd name="T31" fmla="*/ 94 h 168"/>
                <a:gd name="T32" fmla="*/ 0 w 67"/>
                <a:gd name="T33" fmla="*/ 96 h 168"/>
                <a:gd name="T34" fmla="*/ 3 w 67"/>
                <a:gd name="T35" fmla="*/ 99 h 168"/>
                <a:gd name="T36" fmla="*/ 4 w 67"/>
                <a:gd name="T37" fmla="*/ 101 h 168"/>
                <a:gd name="T38" fmla="*/ 6 w 67"/>
                <a:gd name="T39" fmla="*/ 100 h 168"/>
                <a:gd name="T40" fmla="*/ 8 w 67"/>
                <a:gd name="T41" fmla="*/ 101 h 168"/>
                <a:gd name="T42" fmla="*/ 17 w 67"/>
                <a:gd name="T43" fmla="*/ 107 h 168"/>
                <a:gd name="T44" fmla="*/ 18 w 67"/>
                <a:gd name="T45" fmla="*/ 113 h 168"/>
                <a:gd name="T46" fmla="*/ 26 w 67"/>
                <a:gd name="T47" fmla="*/ 113 h 168"/>
                <a:gd name="T48" fmla="*/ 38 w 67"/>
                <a:gd name="T49" fmla="*/ 113 h 168"/>
                <a:gd name="T50" fmla="*/ 43 w 67"/>
                <a:gd name="T51" fmla="*/ 126 h 168"/>
                <a:gd name="T52" fmla="*/ 43 w 67"/>
                <a:gd name="T53" fmla="*/ 129 h 168"/>
                <a:gd name="T54" fmla="*/ 41 w 67"/>
                <a:gd name="T55" fmla="*/ 138 h 168"/>
                <a:gd name="T56" fmla="*/ 36 w 67"/>
                <a:gd name="T57" fmla="*/ 148 h 168"/>
                <a:gd name="T58" fmla="*/ 38 w 67"/>
                <a:gd name="T59" fmla="*/ 155 h 168"/>
                <a:gd name="T60" fmla="*/ 39 w 67"/>
                <a:gd name="T61" fmla="*/ 156 h 168"/>
                <a:gd name="T62" fmla="*/ 40 w 67"/>
                <a:gd name="T63" fmla="*/ 158 h 168"/>
                <a:gd name="T64" fmla="*/ 47 w 67"/>
                <a:gd name="T65" fmla="*/ 164 h 168"/>
                <a:gd name="T66" fmla="*/ 48 w 67"/>
                <a:gd name="T67" fmla="*/ 165 h 168"/>
                <a:gd name="T68" fmla="*/ 50 w 67"/>
                <a:gd name="T69" fmla="*/ 166 h 168"/>
                <a:gd name="T70" fmla="*/ 51 w 67"/>
                <a:gd name="T71" fmla="*/ 164 h 168"/>
                <a:gd name="T72" fmla="*/ 56 w 67"/>
                <a:gd name="T73" fmla="*/ 155 h 168"/>
                <a:gd name="T74" fmla="*/ 58 w 67"/>
                <a:gd name="T75" fmla="*/ 154 h 168"/>
                <a:gd name="T76" fmla="*/ 61 w 67"/>
                <a:gd name="T77" fmla="*/ 153 h 168"/>
                <a:gd name="T78" fmla="*/ 64 w 67"/>
                <a:gd name="T79" fmla="*/ 152 h 168"/>
                <a:gd name="T80" fmla="*/ 66 w 67"/>
                <a:gd name="T81" fmla="*/ 150 h 168"/>
                <a:gd name="T82" fmla="*/ 67 w 67"/>
                <a:gd name="T83" fmla="*/ 140 h 168"/>
                <a:gd name="T84" fmla="*/ 67 w 67"/>
                <a:gd name="T85" fmla="*/ 134 h 168"/>
                <a:gd name="T86" fmla="*/ 67 w 67"/>
                <a:gd name="T87" fmla="*/ 133 h 168"/>
                <a:gd name="T88" fmla="*/ 67 w 67"/>
                <a:gd name="T89" fmla="*/ 130 h 168"/>
                <a:gd name="T90" fmla="*/ 67 w 67"/>
                <a:gd name="T91" fmla="*/ 124 h 168"/>
                <a:gd name="T92" fmla="*/ 63 w 67"/>
                <a:gd name="T93" fmla="*/ 116 h 168"/>
                <a:gd name="T94" fmla="*/ 53 w 67"/>
                <a:gd name="T95" fmla="*/ 103 h 168"/>
                <a:gd name="T96" fmla="*/ 56 w 67"/>
                <a:gd name="T97" fmla="*/ 112 h 168"/>
                <a:gd name="T98" fmla="*/ 47 w 67"/>
                <a:gd name="T99" fmla="*/ 104 h 168"/>
                <a:gd name="T100" fmla="*/ 39 w 67"/>
                <a:gd name="T101" fmla="*/ 105 h 168"/>
                <a:gd name="T102" fmla="*/ 33 w 67"/>
                <a:gd name="T103" fmla="*/ 102 h 168"/>
                <a:gd name="T104" fmla="*/ 39 w 67"/>
                <a:gd name="T105" fmla="*/ 95 h 168"/>
                <a:gd name="T106" fmla="*/ 34 w 67"/>
                <a:gd name="T107" fmla="*/ 79 h 168"/>
                <a:gd name="T108" fmla="*/ 33 w 67"/>
                <a:gd name="T109" fmla="*/ 50 h 168"/>
                <a:gd name="T110" fmla="*/ 31 w 67"/>
                <a:gd name="T111" fmla="*/ 22 h 168"/>
                <a:gd name="T112" fmla="*/ 26 w 67"/>
                <a:gd name="T113" fmla="*/ 5 h 168"/>
                <a:gd name="T114" fmla="*/ 25 w 67"/>
                <a:gd name="T115" fmla="*/ 5 h 168"/>
                <a:gd name="T116" fmla="*/ 23 w 67"/>
                <a:gd name="T117" fmla="*/ 4 h 168"/>
                <a:gd name="T118" fmla="*/ 21 w 67"/>
                <a:gd name="T119" fmla="*/ 4 h 168"/>
                <a:gd name="T120" fmla="*/ 19 w 67"/>
                <a:gd name="T121" fmla="*/ 3 h 168"/>
                <a:gd name="T122" fmla="*/ 14 w 67"/>
                <a:gd name="T123" fmla="*/ 1 h 1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 h="168">
                  <a:moveTo>
                    <a:pt x="11" y="0"/>
                  </a:moveTo>
                  <a:cubicBezTo>
                    <a:pt x="13" y="2"/>
                    <a:pt x="13" y="4"/>
                    <a:pt x="14" y="6"/>
                  </a:cubicBezTo>
                  <a:cubicBezTo>
                    <a:pt x="14" y="10"/>
                    <a:pt x="16" y="13"/>
                    <a:pt x="19" y="17"/>
                  </a:cubicBezTo>
                  <a:cubicBezTo>
                    <a:pt x="20" y="18"/>
                    <a:pt x="21" y="19"/>
                    <a:pt x="22" y="20"/>
                  </a:cubicBezTo>
                  <a:cubicBezTo>
                    <a:pt x="23" y="23"/>
                    <a:pt x="23" y="23"/>
                    <a:pt x="23" y="23"/>
                  </a:cubicBezTo>
                  <a:cubicBezTo>
                    <a:pt x="13" y="30"/>
                    <a:pt x="13" y="30"/>
                    <a:pt x="13" y="30"/>
                  </a:cubicBezTo>
                  <a:cubicBezTo>
                    <a:pt x="13" y="30"/>
                    <a:pt x="13" y="30"/>
                    <a:pt x="13" y="30"/>
                  </a:cubicBezTo>
                  <a:cubicBezTo>
                    <a:pt x="13" y="31"/>
                    <a:pt x="13" y="31"/>
                    <a:pt x="13" y="32"/>
                  </a:cubicBezTo>
                  <a:cubicBezTo>
                    <a:pt x="13" y="32"/>
                    <a:pt x="13" y="33"/>
                    <a:pt x="13" y="34"/>
                  </a:cubicBezTo>
                  <a:cubicBezTo>
                    <a:pt x="13" y="36"/>
                    <a:pt x="13" y="39"/>
                    <a:pt x="12" y="41"/>
                  </a:cubicBezTo>
                  <a:cubicBezTo>
                    <a:pt x="12" y="42"/>
                    <a:pt x="12" y="43"/>
                    <a:pt x="11" y="44"/>
                  </a:cubicBezTo>
                  <a:cubicBezTo>
                    <a:pt x="11" y="45"/>
                    <a:pt x="11" y="45"/>
                    <a:pt x="11" y="46"/>
                  </a:cubicBezTo>
                  <a:cubicBezTo>
                    <a:pt x="11" y="48"/>
                    <a:pt x="12" y="49"/>
                    <a:pt x="12" y="51"/>
                  </a:cubicBezTo>
                  <a:cubicBezTo>
                    <a:pt x="12" y="52"/>
                    <a:pt x="12" y="52"/>
                    <a:pt x="12" y="52"/>
                  </a:cubicBezTo>
                  <a:cubicBezTo>
                    <a:pt x="12" y="53"/>
                    <a:pt x="12" y="54"/>
                    <a:pt x="12" y="55"/>
                  </a:cubicBezTo>
                  <a:cubicBezTo>
                    <a:pt x="12" y="55"/>
                    <a:pt x="12" y="55"/>
                    <a:pt x="12" y="55"/>
                  </a:cubicBezTo>
                  <a:cubicBezTo>
                    <a:pt x="17" y="54"/>
                    <a:pt x="17" y="54"/>
                    <a:pt x="17" y="54"/>
                  </a:cubicBezTo>
                  <a:cubicBezTo>
                    <a:pt x="12" y="56"/>
                    <a:pt x="12" y="56"/>
                    <a:pt x="12" y="56"/>
                  </a:cubicBezTo>
                  <a:cubicBezTo>
                    <a:pt x="12" y="56"/>
                    <a:pt x="12" y="56"/>
                    <a:pt x="12" y="56"/>
                  </a:cubicBezTo>
                  <a:cubicBezTo>
                    <a:pt x="12" y="58"/>
                    <a:pt x="13" y="59"/>
                    <a:pt x="15" y="61"/>
                  </a:cubicBezTo>
                  <a:cubicBezTo>
                    <a:pt x="20" y="66"/>
                    <a:pt x="20" y="66"/>
                    <a:pt x="20" y="66"/>
                  </a:cubicBezTo>
                  <a:cubicBezTo>
                    <a:pt x="17" y="68"/>
                    <a:pt x="17" y="68"/>
                    <a:pt x="17" y="68"/>
                  </a:cubicBezTo>
                  <a:cubicBezTo>
                    <a:pt x="16" y="68"/>
                    <a:pt x="16" y="68"/>
                    <a:pt x="15" y="69"/>
                  </a:cubicBezTo>
                  <a:cubicBezTo>
                    <a:pt x="15" y="69"/>
                    <a:pt x="15" y="69"/>
                    <a:pt x="15" y="69"/>
                  </a:cubicBezTo>
                  <a:cubicBezTo>
                    <a:pt x="13" y="70"/>
                    <a:pt x="11" y="72"/>
                    <a:pt x="9" y="73"/>
                  </a:cubicBezTo>
                  <a:cubicBezTo>
                    <a:pt x="8" y="73"/>
                    <a:pt x="7" y="73"/>
                    <a:pt x="7" y="73"/>
                  </a:cubicBezTo>
                  <a:cubicBezTo>
                    <a:pt x="7" y="73"/>
                    <a:pt x="7" y="73"/>
                    <a:pt x="7" y="73"/>
                  </a:cubicBezTo>
                  <a:cubicBezTo>
                    <a:pt x="6" y="74"/>
                    <a:pt x="6" y="76"/>
                    <a:pt x="6" y="77"/>
                  </a:cubicBezTo>
                  <a:cubicBezTo>
                    <a:pt x="6" y="78"/>
                    <a:pt x="6" y="78"/>
                    <a:pt x="6" y="78"/>
                  </a:cubicBezTo>
                  <a:cubicBezTo>
                    <a:pt x="6" y="82"/>
                    <a:pt x="5" y="86"/>
                    <a:pt x="4" y="89"/>
                  </a:cubicBezTo>
                  <a:cubicBezTo>
                    <a:pt x="3" y="90"/>
                    <a:pt x="3" y="91"/>
                    <a:pt x="2" y="92"/>
                  </a:cubicBezTo>
                  <a:cubicBezTo>
                    <a:pt x="2" y="93"/>
                    <a:pt x="1" y="94"/>
                    <a:pt x="1" y="94"/>
                  </a:cubicBezTo>
                  <a:cubicBezTo>
                    <a:pt x="0" y="95"/>
                    <a:pt x="0" y="95"/>
                    <a:pt x="0" y="95"/>
                  </a:cubicBezTo>
                  <a:cubicBezTo>
                    <a:pt x="0" y="96"/>
                    <a:pt x="0" y="96"/>
                    <a:pt x="0" y="96"/>
                  </a:cubicBezTo>
                  <a:cubicBezTo>
                    <a:pt x="1" y="97"/>
                    <a:pt x="1" y="97"/>
                    <a:pt x="1" y="97"/>
                  </a:cubicBezTo>
                  <a:cubicBezTo>
                    <a:pt x="2" y="98"/>
                    <a:pt x="2" y="99"/>
                    <a:pt x="3" y="99"/>
                  </a:cubicBezTo>
                  <a:cubicBezTo>
                    <a:pt x="3" y="100"/>
                    <a:pt x="3" y="100"/>
                    <a:pt x="4" y="101"/>
                  </a:cubicBezTo>
                  <a:cubicBezTo>
                    <a:pt x="4" y="101"/>
                    <a:pt x="4" y="101"/>
                    <a:pt x="4" y="101"/>
                  </a:cubicBezTo>
                  <a:cubicBezTo>
                    <a:pt x="4" y="101"/>
                    <a:pt x="5" y="100"/>
                    <a:pt x="6" y="100"/>
                  </a:cubicBezTo>
                  <a:cubicBezTo>
                    <a:pt x="6" y="100"/>
                    <a:pt x="6" y="100"/>
                    <a:pt x="6" y="100"/>
                  </a:cubicBezTo>
                  <a:cubicBezTo>
                    <a:pt x="7" y="100"/>
                    <a:pt x="8" y="101"/>
                    <a:pt x="8" y="101"/>
                  </a:cubicBezTo>
                  <a:cubicBezTo>
                    <a:pt x="8" y="101"/>
                    <a:pt x="8" y="101"/>
                    <a:pt x="8" y="101"/>
                  </a:cubicBezTo>
                  <a:cubicBezTo>
                    <a:pt x="10" y="102"/>
                    <a:pt x="10" y="102"/>
                    <a:pt x="10" y="102"/>
                  </a:cubicBezTo>
                  <a:cubicBezTo>
                    <a:pt x="17" y="107"/>
                    <a:pt x="17" y="107"/>
                    <a:pt x="17" y="107"/>
                  </a:cubicBezTo>
                  <a:cubicBezTo>
                    <a:pt x="14" y="107"/>
                    <a:pt x="14" y="107"/>
                    <a:pt x="14" y="107"/>
                  </a:cubicBezTo>
                  <a:cubicBezTo>
                    <a:pt x="15" y="109"/>
                    <a:pt x="17" y="112"/>
                    <a:pt x="18" y="113"/>
                  </a:cubicBezTo>
                  <a:cubicBezTo>
                    <a:pt x="19" y="114"/>
                    <a:pt x="19" y="114"/>
                    <a:pt x="19" y="114"/>
                  </a:cubicBezTo>
                  <a:cubicBezTo>
                    <a:pt x="26" y="113"/>
                    <a:pt x="26" y="113"/>
                    <a:pt x="26" y="113"/>
                  </a:cubicBezTo>
                  <a:cubicBezTo>
                    <a:pt x="29" y="112"/>
                    <a:pt x="32" y="111"/>
                    <a:pt x="34" y="111"/>
                  </a:cubicBezTo>
                  <a:cubicBezTo>
                    <a:pt x="36" y="111"/>
                    <a:pt x="38" y="111"/>
                    <a:pt x="38" y="113"/>
                  </a:cubicBezTo>
                  <a:cubicBezTo>
                    <a:pt x="39" y="114"/>
                    <a:pt x="39" y="116"/>
                    <a:pt x="40" y="117"/>
                  </a:cubicBezTo>
                  <a:cubicBezTo>
                    <a:pt x="41" y="120"/>
                    <a:pt x="42" y="123"/>
                    <a:pt x="43" y="126"/>
                  </a:cubicBezTo>
                  <a:cubicBezTo>
                    <a:pt x="43" y="127"/>
                    <a:pt x="43" y="127"/>
                    <a:pt x="43" y="127"/>
                  </a:cubicBezTo>
                  <a:cubicBezTo>
                    <a:pt x="43" y="127"/>
                    <a:pt x="43" y="128"/>
                    <a:pt x="43" y="129"/>
                  </a:cubicBezTo>
                  <a:cubicBezTo>
                    <a:pt x="43" y="132"/>
                    <a:pt x="42" y="134"/>
                    <a:pt x="41" y="137"/>
                  </a:cubicBezTo>
                  <a:cubicBezTo>
                    <a:pt x="41" y="138"/>
                    <a:pt x="41" y="138"/>
                    <a:pt x="41" y="138"/>
                  </a:cubicBezTo>
                  <a:cubicBezTo>
                    <a:pt x="41" y="138"/>
                    <a:pt x="40" y="139"/>
                    <a:pt x="40" y="140"/>
                  </a:cubicBezTo>
                  <a:cubicBezTo>
                    <a:pt x="39" y="143"/>
                    <a:pt x="38" y="147"/>
                    <a:pt x="36" y="148"/>
                  </a:cubicBezTo>
                  <a:cubicBezTo>
                    <a:pt x="35" y="149"/>
                    <a:pt x="35" y="149"/>
                    <a:pt x="35" y="149"/>
                  </a:cubicBezTo>
                  <a:cubicBezTo>
                    <a:pt x="35" y="151"/>
                    <a:pt x="37" y="153"/>
                    <a:pt x="38" y="155"/>
                  </a:cubicBezTo>
                  <a:cubicBezTo>
                    <a:pt x="38" y="156"/>
                    <a:pt x="38" y="156"/>
                    <a:pt x="38" y="156"/>
                  </a:cubicBezTo>
                  <a:cubicBezTo>
                    <a:pt x="39" y="156"/>
                    <a:pt x="39" y="156"/>
                    <a:pt x="39" y="156"/>
                  </a:cubicBezTo>
                  <a:cubicBezTo>
                    <a:pt x="40" y="157"/>
                    <a:pt x="40" y="157"/>
                    <a:pt x="40" y="157"/>
                  </a:cubicBezTo>
                  <a:cubicBezTo>
                    <a:pt x="40" y="158"/>
                    <a:pt x="40" y="158"/>
                    <a:pt x="40" y="158"/>
                  </a:cubicBezTo>
                  <a:cubicBezTo>
                    <a:pt x="41" y="159"/>
                    <a:pt x="43" y="161"/>
                    <a:pt x="45" y="162"/>
                  </a:cubicBezTo>
                  <a:cubicBezTo>
                    <a:pt x="47" y="164"/>
                    <a:pt x="47" y="164"/>
                    <a:pt x="47" y="164"/>
                  </a:cubicBezTo>
                  <a:cubicBezTo>
                    <a:pt x="48" y="165"/>
                    <a:pt x="48" y="165"/>
                    <a:pt x="48" y="165"/>
                  </a:cubicBezTo>
                  <a:cubicBezTo>
                    <a:pt x="48" y="165"/>
                    <a:pt x="48" y="165"/>
                    <a:pt x="48" y="165"/>
                  </a:cubicBezTo>
                  <a:cubicBezTo>
                    <a:pt x="49" y="166"/>
                    <a:pt x="50" y="167"/>
                    <a:pt x="50" y="168"/>
                  </a:cubicBezTo>
                  <a:cubicBezTo>
                    <a:pt x="50" y="167"/>
                    <a:pt x="50" y="166"/>
                    <a:pt x="50" y="166"/>
                  </a:cubicBezTo>
                  <a:cubicBezTo>
                    <a:pt x="50" y="165"/>
                    <a:pt x="50" y="165"/>
                    <a:pt x="50" y="165"/>
                  </a:cubicBezTo>
                  <a:cubicBezTo>
                    <a:pt x="51" y="164"/>
                    <a:pt x="51" y="164"/>
                    <a:pt x="51" y="164"/>
                  </a:cubicBezTo>
                  <a:cubicBezTo>
                    <a:pt x="51" y="163"/>
                    <a:pt x="53" y="160"/>
                    <a:pt x="54" y="158"/>
                  </a:cubicBezTo>
                  <a:cubicBezTo>
                    <a:pt x="54" y="157"/>
                    <a:pt x="55" y="156"/>
                    <a:pt x="56" y="155"/>
                  </a:cubicBezTo>
                  <a:cubicBezTo>
                    <a:pt x="56" y="155"/>
                    <a:pt x="56" y="154"/>
                    <a:pt x="57" y="154"/>
                  </a:cubicBezTo>
                  <a:cubicBezTo>
                    <a:pt x="58" y="154"/>
                    <a:pt x="58" y="154"/>
                    <a:pt x="58" y="154"/>
                  </a:cubicBezTo>
                  <a:cubicBezTo>
                    <a:pt x="58" y="154"/>
                    <a:pt x="59" y="154"/>
                    <a:pt x="60" y="153"/>
                  </a:cubicBezTo>
                  <a:cubicBezTo>
                    <a:pt x="61" y="153"/>
                    <a:pt x="61" y="153"/>
                    <a:pt x="61" y="153"/>
                  </a:cubicBezTo>
                  <a:cubicBezTo>
                    <a:pt x="62" y="153"/>
                    <a:pt x="62" y="153"/>
                    <a:pt x="63" y="152"/>
                  </a:cubicBezTo>
                  <a:cubicBezTo>
                    <a:pt x="64" y="152"/>
                    <a:pt x="64" y="152"/>
                    <a:pt x="64" y="152"/>
                  </a:cubicBezTo>
                  <a:cubicBezTo>
                    <a:pt x="64" y="152"/>
                    <a:pt x="65" y="152"/>
                    <a:pt x="65" y="152"/>
                  </a:cubicBezTo>
                  <a:cubicBezTo>
                    <a:pt x="66" y="151"/>
                    <a:pt x="66" y="151"/>
                    <a:pt x="66" y="150"/>
                  </a:cubicBezTo>
                  <a:cubicBezTo>
                    <a:pt x="67" y="141"/>
                    <a:pt x="67" y="141"/>
                    <a:pt x="67" y="141"/>
                  </a:cubicBezTo>
                  <a:cubicBezTo>
                    <a:pt x="67" y="141"/>
                    <a:pt x="67" y="140"/>
                    <a:pt x="67" y="140"/>
                  </a:cubicBezTo>
                  <a:cubicBezTo>
                    <a:pt x="67" y="139"/>
                    <a:pt x="67" y="138"/>
                    <a:pt x="67" y="137"/>
                  </a:cubicBezTo>
                  <a:cubicBezTo>
                    <a:pt x="67" y="136"/>
                    <a:pt x="67" y="135"/>
                    <a:pt x="67" y="134"/>
                  </a:cubicBezTo>
                  <a:cubicBezTo>
                    <a:pt x="67" y="133"/>
                    <a:pt x="67" y="133"/>
                    <a:pt x="67" y="133"/>
                  </a:cubicBezTo>
                  <a:cubicBezTo>
                    <a:pt x="67" y="133"/>
                    <a:pt x="67" y="133"/>
                    <a:pt x="67" y="133"/>
                  </a:cubicBezTo>
                  <a:cubicBezTo>
                    <a:pt x="67" y="132"/>
                    <a:pt x="67" y="132"/>
                    <a:pt x="67" y="132"/>
                  </a:cubicBezTo>
                  <a:cubicBezTo>
                    <a:pt x="67" y="132"/>
                    <a:pt x="67" y="131"/>
                    <a:pt x="67" y="130"/>
                  </a:cubicBezTo>
                  <a:cubicBezTo>
                    <a:pt x="67" y="129"/>
                    <a:pt x="67" y="129"/>
                    <a:pt x="67" y="129"/>
                  </a:cubicBezTo>
                  <a:cubicBezTo>
                    <a:pt x="67" y="127"/>
                    <a:pt x="67" y="126"/>
                    <a:pt x="67" y="124"/>
                  </a:cubicBezTo>
                  <a:cubicBezTo>
                    <a:pt x="67" y="121"/>
                    <a:pt x="67" y="120"/>
                    <a:pt x="65" y="118"/>
                  </a:cubicBezTo>
                  <a:cubicBezTo>
                    <a:pt x="63" y="116"/>
                    <a:pt x="63" y="116"/>
                    <a:pt x="63" y="116"/>
                  </a:cubicBezTo>
                  <a:cubicBezTo>
                    <a:pt x="63" y="116"/>
                    <a:pt x="63" y="116"/>
                    <a:pt x="63" y="116"/>
                  </a:cubicBezTo>
                  <a:cubicBezTo>
                    <a:pt x="53" y="103"/>
                    <a:pt x="53" y="103"/>
                    <a:pt x="53" y="103"/>
                  </a:cubicBezTo>
                  <a:cubicBezTo>
                    <a:pt x="53" y="103"/>
                    <a:pt x="53" y="103"/>
                    <a:pt x="53" y="103"/>
                  </a:cubicBezTo>
                  <a:cubicBezTo>
                    <a:pt x="54" y="106"/>
                    <a:pt x="55" y="109"/>
                    <a:pt x="56" y="112"/>
                  </a:cubicBezTo>
                  <a:cubicBezTo>
                    <a:pt x="54" y="111"/>
                    <a:pt x="51" y="109"/>
                    <a:pt x="49" y="108"/>
                  </a:cubicBezTo>
                  <a:cubicBezTo>
                    <a:pt x="48" y="107"/>
                    <a:pt x="48" y="105"/>
                    <a:pt x="47" y="104"/>
                  </a:cubicBezTo>
                  <a:cubicBezTo>
                    <a:pt x="46" y="106"/>
                    <a:pt x="45" y="108"/>
                    <a:pt x="44" y="110"/>
                  </a:cubicBezTo>
                  <a:cubicBezTo>
                    <a:pt x="43" y="109"/>
                    <a:pt x="39" y="107"/>
                    <a:pt x="39" y="105"/>
                  </a:cubicBezTo>
                  <a:cubicBezTo>
                    <a:pt x="40" y="103"/>
                    <a:pt x="41" y="101"/>
                    <a:pt x="40" y="98"/>
                  </a:cubicBezTo>
                  <a:cubicBezTo>
                    <a:pt x="33" y="102"/>
                    <a:pt x="33" y="102"/>
                    <a:pt x="33" y="102"/>
                  </a:cubicBezTo>
                  <a:cubicBezTo>
                    <a:pt x="39" y="95"/>
                    <a:pt x="39" y="95"/>
                    <a:pt x="39" y="95"/>
                  </a:cubicBezTo>
                  <a:cubicBezTo>
                    <a:pt x="39" y="95"/>
                    <a:pt x="39" y="95"/>
                    <a:pt x="39" y="95"/>
                  </a:cubicBezTo>
                  <a:cubicBezTo>
                    <a:pt x="36" y="92"/>
                    <a:pt x="34" y="91"/>
                    <a:pt x="34" y="87"/>
                  </a:cubicBezTo>
                  <a:cubicBezTo>
                    <a:pt x="34" y="84"/>
                    <a:pt x="34" y="82"/>
                    <a:pt x="34" y="79"/>
                  </a:cubicBezTo>
                  <a:cubicBezTo>
                    <a:pt x="33" y="73"/>
                    <a:pt x="28" y="68"/>
                    <a:pt x="27" y="62"/>
                  </a:cubicBezTo>
                  <a:cubicBezTo>
                    <a:pt x="26" y="58"/>
                    <a:pt x="32" y="53"/>
                    <a:pt x="33" y="50"/>
                  </a:cubicBezTo>
                  <a:cubicBezTo>
                    <a:pt x="35" y="45"/>
                    <a:pt x="32" y="37"/>
                    <a:pt x="32" y="32"/>
                  </a:cubicBezTo>
                  <a:cubicBezTo>
                    <a:pt x="31" y="29"/>
                    <a:pt x="30" y="25"/>
                    <a:pt x="31" y="22"/>
                  </a:cubicBezTo>
                  <a:cubicBezTo>
                    <a:pt x="31" y="19"/>
                    <a:pt x="33" y="20"/>
                    <a:pt x="31" y="16"/>
                  </a:cubicBezTo>
                  <a:cubicBezTo>
                    <a:pt x="30" y="12"/>
                    <a:pt x="28" y="9"/>
                    <a:pt x="26" y="5"/>
                  </a:cubicBezTo>
                  <a:cubicBezTo>
                    <a:pt x="26" y="4"/>
                    <a:pt x="25" y="4"/>
                    <a:pt x="25" y="3"/>
                  </a:cubicBezTo>
                  <a:cubicBezTo>
                    <a:pt x="25" y="5"/>
                    <a:pt x="25" y="5"/>
                    <a:pt x="25" y="5"/>
                  </a:cubicBezTo>
                  <a:cubicBezTo>
                    <a:pt x="24" y="4"/>
                    <a:pt x="24" y="4"/>
                    <a:pt x="24" y="4"/>
                  </a:cubicBezTo>
                  <a:cubicBezTo>
                    <a:pt x="23" y="4"/>
                    <a:pt x="23" y="4"/>
                    <a:pt x="23" y="4"/>
                  </a:cubicBezTo>
                  <a:cubicBezTo>
                    <a:pt x="23" y="4"/>
                    <a:pt x="23" y="4"/>
                    <a:pt x="23" y="4"/>
                  </a:cubicBezTo>
                  <a:cubicBezTo>
                    <a:pt x="22" y="4"/>
                    <a:pt x="22" y="4"/>
                    <a:pt x="21" y="4"/>
                  </a:cubicBezTo>
                  <a:cubicBezTo>
                    <a:pt x="21" y="3"/>
                    <a:pt x="20" y="3"/>
                    <a:pt x="19" y="3"/>
                  </a:cubicBezTo>
                  <a:cubicBezTo>
                    <a:pt x="19" y="3"/>
                    <a:pt x="19" y="3"/>
                    <a:pt x="19" y="3"/>
                  </a:cubicBezTo>
                  <a:cubicBezTo>
                    <a:pt x="18" y="2"/>
                    <a:pt x="17" y="2"/>
                    <a:pt x="16" y="1"/>
                  </a:cubicBezTo>
                  <a:cubicBezTo>
                    <a:pt x="14" y="1"/>
                    <a:pt x="14" y="1"/>
                    <a:pt x="14" y="1"/>
                  </a:cubicBezTo>
                  <a:cubicBezTo>
                    <a:pt x="13"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Rectangle 227"/>
            <p:cNvSpPr>
              <a:spLocks noChangeArrowheads="1"/>
            </p:cNvSpPr>
            <p:nvPr/>
          </p:nvSpPr>
          <p:spPr bwMode="auto">
            <a:xfrm>
              <a:off x="4497" y="210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228"/>
            <p:cNvSpPr/>
            <p:nvPr/>
          </p:nvSpPr>
          <p:spPr bwMode="auto">
            <a:xfrm flipH="1">
              <a:off x="4497" y="2105"/>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229"/>
            <p:cNvSpPr/>
            <p:nvPr/>
          </p:nvSpPr>
          <p:spPr bwMode="auto">
            <a:xfrm>
              <a:off x="4136" y="2495"/>
              <a:ext cx="7" cy="9"/>
            </a:xfrm>
            <a:custGeom>
              <a:gdLst>
                <a:gd name="T0" fmla="*/ 3 w 3"/>
                <a:gd name="T1" fmla="*/ 0 h 4"/>
                <a:gd name="T2" fmla="*/ 3 w 3"/>
                <a:gd name="T3" fmla="*/ 0 h 4"/>
                <a:gd name="T4" fmla="*/ 1 w 3"/>
                <a:gd name="T5" fmla="*/ 2 h 4"/>
                <a:gd name="T6" fmla="*/ 0 w 3"/>
                <a:gd name="T7" fmla="*/ 2 h 4"/>
                <a:gd name="T8" fmla="*/ 1 w 3"/>
                <a:gd name="T9" fmla="*/ 3 h 4"/>
                <a:gd name="T10" fmla="*/ 2 w 3"/>
                <a:gd name="T11" fmla="*/ 4 h 4"/>
                <a:gd name="T12" fmla="*/ 3 w 3"/>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3" y="0"/>
                    <a:pt x="3" y="0"/>
                    <a:pt x="3" y="0"/>
                  </a:cubicBezTo>
                  <a:cubicBezTo>
                    <a:pt x="3" y="0"/>
                    <a:pt x="2" y="1"/>
                    <a:pt x="1" y="2"/>
                  </a:cubicBezTo>
                  <a:cubicBezTo>
                    <a:pt x="0" y="2"/>
                    <a:pt x="0" y="2"/>
                    <a:pt x="0" y="2"/>
                  </a:cubicBezTo>
                  <a:cubicBezTo>
                    <a:pt x="0" y="3"/>
                    <a:pt x="1" y="3"/>
                    <a:pt x="1" y="3"/>
                  </a:cubicBezTo>
                  <a:cubicBezTo>
                    <a:pt x="1" y="3"/>
                    <a:pt x="1" y="4"/>
                    <a:pt x="2" y="4"/>
                  </a:cubicBezTo>
                  <a:cubicBezTo>
                    <a:pt x="3" y="4"/>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230"/>
            <p:cNvSpPr/>
            <p:nvPr/>
          </p:nvSpPr>
          <p:spPr bwMode="auto">
            <a:xfrm>
              <a:off x="4145" y="2032"/>
              <a:ext cx="409" cy="614"/>
            </a:xfrm>
            <a:custGeom>
              <a:gdLst>
                <a:gd name="T0" fmla="*/ 134 w 173"/>
                <a:gd name="T1" fmla="*/ 11 h 260"/>
                <a:gd name="T2" fmla="*/ 141 w 173"/>
                <a:gd name="T3" fmla="*/ 16 h 260"/>
                <a:gd name="T4" fmla="*/ 142 w 173"/>
                <a:gd name="T5" fmla="*/ 25 h 260"/>
                <a:gd name="T6" fmla="*/ 133 w 173"/>
                <a:gd name="T7" fmla="*/ 41 h 260"/>
                <a:gd name="T8" fmla="*/ 126 w 173"/>
                <a:gd name="T9" fmla="*/ 42 h 260"/>
                <a:gd name="T10" fmla="*/ 122 w 173"/>
                <a:gd name="T11" fmla="*/ 48 h 260"/>
                <a:gd name="T12" fmla="*/ 117 w 173"/>
                <a:gd name="T13" fmla="*/ 55 h 260"/>
                <a:gd name="T14" fmla="*/ 112 w 173"/>
                <a:gd name="T15" fmla="*/ 69 h 260"/>
                <a:gd name="T16" fmla="*/ 110 w 173"/>
                <a:gd name="T17" fmla="*/ 75 h 260"/>
                <a:gd name="T18" fmla="*/ 104 w 173"/>
                <a:gd name="T19" fmla="*/ 84 h 260"/>
                <a:gd name="T20" fmla="*/ 97 w 173"/>
                <a:gd name="T21" fmla="*/ 101 h 260"/>
                <a:gd name="T22" fmla="*/ 85 w 173"/>
                <a:gd name="T23" fmla="*/ 116 h 260"/>
                <a:gd name="T24" fmla="*/ 76 w 173"/>
                <a:gd name="T25" fmla="*/ 136 h 260"/>
                <a:gd name="T26" fmla="*/ 71 w 173"/>
                <a:gd name="T27" fmla="*/ 147 h 260"/>
                <a:gd name="T28" fmla="*/ 61 w 173"/>
                <a:gd name="T29" fmla="*/ 156 h 260"/>
                <a:gd name="T30" fmla="*/ 45 w 173"/>
                <a:gd name="T31" fmla="*/ 144 h 260"/>
                <a:gd name="T32" fmla="*/ 37 w 173"/>
                <a:gd name="T33" fmla="*/ 144 h 260"/>
                <a:gd name="T34" fmla="*/ 27 w 173"/>
                <a:gd name="T35" fmla="*/ 150 h 260"/>
                <a:gd name="T36" fmla="*/ 19 w 173"/>
                <a:gd name="T37" fmla="*/ 158 h 260"/>
                <a:gd name="T38" fmla="*/ 6 w 173"/>
                <a:gd name="T39" fmla="*/ 174 h 260"/>
                <a:gd name="T40" fmla="*/ 2 w 173"/>
                <a:gd name="T41" fmla="*/ 189 h 260"/>
                <a:gd name="T42" fmla="*/ 3 w 173"/>
                <a:gd name="T43" fmla="*/ 196 h 260"/>
                <a:gd name="T44" fmla="*/ 18 w 173"/>
                <a:gd name="T45" fmla="*/ 210 h 260"/>
                <a:gd name="T46" fmla="*/ 23 w 173"/>
                <a:gd name="T47" fmla="*/ 213 h 260"/>
                <a:gd name="T48" fmla="*/ 28 w 173"/>
                <a:gd name="T49" fmla="*/ 238 h 260"/>
                <a:gd name="T50" fmla="*/ 29 w 173"/>
                <a:gd name="T51" fmla="*/ 249 h 260"/>
                <a:gd name="T52" fmla="*/ 59 w 173"/>
                <a:gd name="T53" fmla="*/ 252 h 260"/>
                <a:gd name="T54" fmla="*/ 68 w 173"/>
                <a:gd name="T55" fmla="*/ 248 h 260"/>
                <a:gd name="T56" fmla="*/ 79 w 173"/>
                <a:gd name="T57" fmla="*/ 249 h 260"/>
                <a:gd name="T58" fmla="*/ 104 w 173"/>
                <a:gd name="T59" fmla="*/ 249 h 260"/>
                <a:gd name="T60" fmla="*/ 108 w 173"/>
                <a:gd name="T61" fmla="*/ 251 h 260"/>
                <a:gd name="T62" fmla="*/ 117 w 173"/>
                <a:gd name="T63" fmla="*/ 252 h 260"/>
                <a:gd name="T64" fmla="*/ 143 w 173"/>
                <a:gd name="T65" fmla="*/ 253 h 260"/>
                <a:gd name="T66" fmla="*/ 145 w 173"/>
                <a:gd name="T67" fmla="*/ 254 h 260"/>
                <a:gd name="T68" fmla="*/ 152 w 173"/>
                <a:gd name="T69" fmla="*/ 256 h 260"/>
                <a:gd name="T70" fmla="*/ 159 w 173"/>
                <a:gd name="T71" fmla="*/ 257 h 260"/>
                <a:gd name="T72" fmla="*/ 170 w 173"/>
                <a:gd name="T73" fmla="*/ 260 h 260"/>
                <a:gd name="T74" fmla="*/ 173 w 173"/>
                <a:gd name="T75" fmla="*/ 251 h 260"/>
                <a:gd name="T76" fmla="*/ 170 w 173"/>
                <a:gd name="T77" fmla="*/ 237 h 260"/>
                <a:gd name="T78" fmla="*/ 145 w 173"/>
                <a:gd name="T79" fmla="*/ 209 h 260"/>
                <a:gd name="T80" fmla="*/ 139 w 173"/>
                <a:gd name="T81" fmla="*/ 194 h 260"/>
                <a:gd name="T82" fmla="*/ 136 w 173"/>
                <a:gd name="T83" fmla="*/ 176 h 260"/>
                <a:gd name="T84" fmla="*/ 136 w 173"/>
                <a:gd name="T85" fmla="*/ 168 h 260"/>
                <a:gd name="T86" fmla="*/ 135 w 173"/>
                <a:gd name="T87" fmla="*/ 159 h 260"/>
                <a:gd name="T88" fmla="*/ 147 w 173"/>
                <a:gd name="T89" fmla="*/ 141 h 260"/>
                <a:gd name="T90" fmla="*/ 156 w 173"/>
                <a:gd name="T91" fmla="*/ 127 h 260"/>
                <a:gd name="T92" fmla="*/ 158 w 173"/>
                <a:gd name="T93" fmla="*/ 124 h 260"/>
                <a:gd name="T94" fmla="*/ 153 w 173"/>
                <a:gd name="T95" fmla="*/ 113 h 260"/>
                <a:gd name="T96" fmla="*/ 126 w 173"/>
                <a:gd name="T97" fmla="*/ 84 h 260"/>
                <a:gd name="T98" fmla="*/ 131 w 173"/>
                <a:gd name="T99" fmla="*/ 67 h 260"/>
                <a:gd name="T100" fmla="*/ 140 w 173"/>
                <a:gd name="T101" fmla="*/ 67 h 260"/>
                <a:gd name="T102" fmla="*/ 149 w 173"/>
                <a:gd name="T103" fmla="*/ 61 h 260"/>
                <a:gd name="T104" fmla="*/ 153 w 173"/>
                <a:gd name="T105" fmla="*/ 63 h 260"/>
                <a:gd name="T106" fmla="*/ 148 w 173"/>
                <a:gd name="T107" fmla="*/ 32 h 260"/>
                <a:gd name="T108" fmla="*/ 147 w 173"/>
                <a:gd name="T109" fmla="*/ 27 h 260"/>
                <a:gd name="T110" fmla="*/ 141 w 173"/>
                <a:gd name="T111" fmla="*/ 9 h 260"/>
                <a:gd name="T112" fmla="*/ 135 w 173"/>
                <a:gd name="T113" fmla="*/ 2 h 2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 h="260">
                  <a:moveTo>
                    <a:pt x="130" y="0"/>
                  </a:moveTo>
                  <a:cubicBezTo>
                    <a:pt x="131" y="8"/>
                    <a:pt x="131" y="8"/>
                    <a:pt x="131" y="8"/>
                  </a:cubicBezTo>
                  <a:cubicBezTo>
                    <a:pt x="131" y="9"/>
                    <a:pt x="132" y="9"/>
                    <a:pt x="132" y="9"/>
                  </a:cubicBezTo>
                  <a:cubicBezTo>
                    <a:pt x="132" y="10"/>
                    <a:pt x="132" y="10"/>
                    <a:pt x="132" y="10"/>
                  </a:cubicBezTo>
                  <a:cubicBezTo>
                    <a:pt x="132" y="10"/>
                    <a:pt x="133" y="10"/>
                    <a:pt x="134" y="11"/>
                  </a:cubicBezTo>
                  <a:cubicBezTo>
                    <a:pt x="135" y="11"/>
                    <a:pt x="135" y="11"/>
                    <a:pt x="135" y="11"/>
                  </a:cubicBezTo>
                  <a:cubicBezTo>
                    <a:pt x="136" y="11"/>
                    <a:pt x="137" y="12"/>
                    <a:pt x="137" y="12"/>
                  </a:cubicBezTo>
                  <a:cubicBezTo>
                    <a:pt x="137" y="12"/>
                    <a:pt x="137" y="12"/>
                    <a:pt x="137" y="12"/>
                  </a:cubicBezTo>
                  <a:cubicBezTo>
                    <a:pt x="139" y="13"/>
                    <a:pt x="140" y="15"/>
                    <a:pt x="141" y="16"/>
                  </a:cubicBezTo>
                  <a:cubicBezTo>
                    <a:pt x="141" y="16"/>
                    <a:pt x="141" y="16"/>
                    <a:pt x="141" y="16"/>
                  </a:cubicBezTo>
                  <a:cubicBezTo>
                    <a:pt x="142" y="17"/>
                    <a:pt x="142" y="17"/>
                    <a:pt x="142" y="17"/>
                  </a:cubicBezTo>
                  <a:cubicBezTo>
                    <a:pt x="142" y="17"/>
                    <a:pt x="142" y="17"/>
                    <a:pt x="142" y="17"/>
                  </a:cubicBezTo>
                  <a:cubicBezTo>
                    <a:pt x="142" y="19"/>
                    <a:pt x="142" y="21"/>
                    <a:pt x="142" y="22"/>
                  </a:cubicBezTo>
                  <a:cubicBezTo>
                    <a:pt x="142" y="23"/>
                    <a:pt x="142" y="23"/>
                    <a:pt x="142" y="23"/>
                  </a:cubicBezTo>
                  <a:cubicBezTo>
                    <a:pt x="142" y="25"/>
                    <a:pt x="142" y="25"/>
                    <a:pt x="142" y="25"/>
                  </a:cubicBezTo>
                  <a:cubicBezTo>
                    <a:pt x="142" y="27"/>
                    <a:pt x="142" y="28"/>
                    <a:pt x="142" y="30"/>
                  </a:cubicBezTo>
                  <a:cubicBezTo>
                    <a:pt x="143" y="32"/>
                    <a:pt x="142" y="34"/>
                    <a:pt x="140" y="36"/>
                  </a:cubicBezTo>
                  <a:cubicBezTo>
                    <a:pt x="139" y="37"/>
                    <a:pt x="138" y="37"/>
                    <a:pt x="137" y="38"/>
                  </a:cubicBezTo>
                  <a:cubicBezTo>
                    <a:pt x="137" y="38"/>
                    <a:pt x="137" y="38"/>
                    <a:pt x="137" y="38"/>
                  </a:cubicBezTo>
                  <a:cubicBezTo>
                    <a:pt x="135" y="39"/>
                    <a:pt x="134" y="40"/>
                    <a:pt x="133" y="41"/>
                  </a:cubicBezTo>
                  <a:cubicBezTo>
                    <a:pt x="132" y="41"/>
                    <a:pt x="132" y="41"/>
                    <a:pt x="132" y="41"/>
                  </a:cubicBezTo>
                  <a:cubicBezTo>
                    <a:pt x="131" y="42"/>
                    <a:pt x="129" y="42"/>
                    <a:pt x="128" y="42"/>
                  </a:cubicBezTo>
                  <a:cubicBezTo>
                    <a:pt x="128" y="42"/>
                    <a:pt x="127" y="42"/>
                    <a:pt x="127" y="42"/>
                  </a:cubicBezTo>
                  <a:cubicBezTo>
                    <a:pt x="126" y="42"/>
                    <a:pt x="126" y="42"/>
                    <a:pt x="126" y="42"/>
                  </a:cubicBezTo>
                  <a:cubicBezTo>
                    <a:pt x="126" y="42"/>
                    <a:pt x="126" y="42"/>
                    <a:pt x="126" y="42"/>
                  </a:cubicBezTo>
                  <a:cubicBezTo>
                    <a:pt x="126" y="42"/>
                    <a:pt x="126" y="42"/>
                    <a:pt x="126" y="42"/>
                  </a:cubicBezTo>
                  <a:cubicBezTo>
                    <a:pt x="125" y="43"/>
                    <a:pt x="125" y="43"/>
                    <a:pt x="125" y="43"/>
                  </a:cubicBezTo>
                  <a:cubicBezTo>
                    <a:pt x="125" y="43"/>
                    <a:pt x="124" y="44"/>
                    <a:pt x="124" y="44"/>
                  </a:cubicBezTo>
                  <a:cubicBezTo>
                    <a:pt x="123" y="45"/>
                    <a:pt x="123" y="46"/>
                    <a:pt x="123" y="47"/>
                  </a:cubicBezTo>
                  <a:cubicBezTo>
                    <a:pt x="122" y="48"/>
                    <a:pt x="122" y="48"/>
                    <a:pt x="122" y="48"/>
                  </a:cubicBezTo>
                  <a:cubicBezTo>
                    <a:pt x="122" y="48"/>
                    <a:pt x="122" y="48"/>
                    <a:pt x="122" y="48"/>
                  </a:cubicBezTo>
                  <a:cubicBezTo>
                    <a:pt x="122" y="48"/>
                    <a:pt x="122" y="48"/>
                    <a:pt x="122" y="48"/>
                  </a:cubicBezTo>
                  <a:cubicBezTo>
                    <a:pt x="121" y="50"/>
                    <a:pt x="121" y="50"/>
                    <a:pt x="121" y="50"/>
                  </a:cubicBezTo>
                  <a:cubicBezTo>
                    <a:pt x="120" y="51"/>
                    <a:pt x="120" y="51"/>
                    <a:pt x="119" y="52"/>
                  </a:cubicBezTo>
                  <a:cubicBezTo>
                    <a:pt x="118" y="53"/>
                    <a:pt x="117" y="54"/>
                    <a:pt x="117" y="55"/>
                  </a:cubicBezTo>
                  <a:cubicBezTo>
                    <a:pt x="117" y="57"/>
                    <a:pt x="117" y="57"/>
                    <a:pt x="117" y="57"/>
                  </a:cubicBezTo>
                  <a:cubicBezTo>
                    <a:pt x="116" y="58"/>
                    <a:pt x="116" y="59"/>
                    <a:pt x="116" y="60"/>
                  </a:cubicBezTo>
                  <a:cubicBezTo>
                    <a:pt x="115" y="61"/>
                    <a:pt x="115" y="61"/>
                    <a:pt x="115" y="61"/>
                  </a:cubicBezTo>
                  <a:cubicBezTo>
                    <a:pt x="115" y="63"/>
                    <a:pt x="114" y="64"/>
                    <a:pt x="114" y="66"/>
                  </a:cubicBezTo>
                  <a:cubicBezTo>
                    <a:pt x="113" y="68"/>
                    <a:pt x="112" y="69"/>
                    <a:pt x="112" y="69"/>
                  </a:cubicBezTo>
                  <a:cubicBezTo>
                    <a:pt x="111" y="70"/>
                    <a:pt x="111" y="70"/>
                    <a:pt x="111" y="70"/>
                  </a:cubicBezTo>
                  <a:cubicBezTo>
                    <a:pt x="110" y="71"/>
                    <a:pt x="110" y="71"/>
                    <a:pt x="110" y="72"/>
                  </a:cubicBezTo>
                  <a:cubicBezTo>
                    <a:pt x="110" y="73"/>
                    <a:pt x="110" y="73"/>
                    <a:pt x="110" y="73"/>
                  </a:cubicBezTo>
                  <a:cubicBezTo>
                    <a:pt x="110" y="73"/>
                    <a:pt x="110" y="74"/>
                    <a:pt x="110" y="74"/>
                  </a:cubicBezTo>
                  <a:cubicBezTo>
                    <a:pt x="110" y="75"/>
                    <a:pt x="110" y="75"/>
                    <a:pt x="110" y="75"/>
                  </a:cubicBezTo>
                  <a:cubicBezTo>
                    <a:pt x="110" y="78"/>
                    <a:pt x="110" y="81"/>
                    <a:pt x="107" y="83"/>
                  </a:cubicBezTo>
                  <a:cubicBezTo>
                    <a:pt x="106" y="83"/>
                    <a:pt x="106" y="83"/>
                    <a:pt x="106" y="83"/>
                  </a:cubicBezTo>
                  <a:cubicBezTo>
                    <a:pt x="105" y="84"/>
                    <a:pt x="105" y="84"/>
                    <a:pt x="105" y="84"/>
                  </a:cubicBezTo>
                  <a:cubicBezTo>
                    <a:pt x="105" y="84"/>
                    <a:pt x="105" y="84"/>
                    <a:pt x="105" y="84"/>
                  </a:cubicBezTo>
                  <a:cubicBezTo>
                    <a:pt x="104" y="84"/>
                    <a:pt x="104" y="84"/>
                    <a:pt x="104" y="84"/>
                  </a:cubicBezTo>
                  <a:cubicBezTo>
                    <a:pt x="104" y="84"/>
                    <a:pt x="103" y="84"/>
                    <a:pt x="103" y="85"/>
                  </a:cubicBezTo>
                  <a:cubicBezTo>
                    <a:pt x="102" y="85"/>
                    <a:pt x="102" y="86"/>
                    <a:pt x="102" y="87"/>
                  </a:cubicBezTo>
                  <a:cubicBezTo>
                    <a:pt x="101" y="89"/>
                    <a:pt x="101" y="90"/>
                    <a:pt x="101" y="92"/>
                  </a:cubicBezTo>
                  <a:cubicBezTo>
                    <a:pt x="100" y="94"/>
                    <a:pt x="100" y="96"/>
                    <a:pt x="99" y="99"/>
                  </a:cubicBezTo>
                  <a:cubicBezTo>
                    <a:pt x="98" y="100"/>
                    <a:pt x="98" y="100"/>
                    <a:pt x="97" y="101"/>
                  </a:cubicBezTo>
                  <a:cubicBezTo>
                    <a:pt x="96" y="103"/>
                    <a:pt x="93" y="104"/>
                    <a:pt x="91" y="106"/>
                  </a:cubicBezTo>
                  <a:cubicBezTo>
                    <a:pt x="89" y="107"/>
                    <a:pt x="87" y="108"/>
                    <a:pt x="86" y="109"/>
                  </a:cubicBezTo>
                  <a:cubicBezTo>
                    <a:pt x="86" y="109"/>
                    <a:pt x="86" y="109"/>
                    <a:pt x="86" y="109"/>
                  </a:cubicBezTo>
                  <a:cubicBezTo>
                    <a:pt x="86" y="109"/>
                    <a:pt x="86" y="110"/>
                    <a:pt x="86" y="111"/>
                  </a:cubicBezTo>
                  <a:cubicBezTo>
                    <a:pt x="86" y="112"/>
                    <a:pt x="86" y="114"/>
                    <a:pt x="85" y="116"/>
                  </a:cubicBezTo>
                  <a:cubicBezTo>
                    <a:pt x="79" y="128"/>
                    <a:pt x="79" y="128"/>
                    <a:pt x="79" y="128"/>
                  </a:cubicBezTo>
                  <a:cubicBezTo>
                    <a:pt x="78" y="130"/>
                    <a:pt x="78" y="131"/>
                    <a:pt x="77" y="133"/>
                  </a:cubicBezTo>
                  <a:cubicBezTo>
                    <a:pt x="76" y="135"/>
                    <a:pt x="76" y="135"/>
                    <a:pt x="76" y="135"/>
                  </a:cubicBezTo>
                  <a:cubicBezTo>
                    <a:pt x="76" y="135"/>
                    <a:pt x="76" y="135"/>
                    <a:pt x="76" y="135"/>
                  </a:cubicBezTo>
                  <a:cubicBezTo>
                    <a:pt x="76" y="136"/>
                    <a:pt x="76" y="136"/>
                    <a:pt x="76" y="136"/>
                  </a:cubicBezTo>
                  <a:cubicBezTo>
                    <a:pt x="77" y="136"/>
                    <a:pt x="77" y="137"/>
                    <a:pt x="78" y="138"/>
                  </a:cubicBezTo>
                  <a:cubicBezTo>
                    <a:pt x="79" y="143"/>
                    <a:pt x="79" y="143"/>
                    <a:pt x="79" y="143"/>
                  </a:cubicBezTo>
                  <a:cubicBezTo>
                    <a:pt x="74" y="142"/>
                    <a:pt x="74" y="142"/>
                    <a:pt x="74" y="142"/>
                  </a:cubicBezTo>
                  <a:cubicBezTo>
                    <a:pt x="73" y="142"/>
                    <a:pt x="72" y="146"/>
                    <a:pt x="71" y="147"/>
                  </a:cubicBezTo>
                  <a:cubicBezTo>
                    <a:pt x="71" y="147"/>
                    <a:pt x="71" y="147"/>
                    <a:pt x="71" y="147"/>
                  </a:cubicBezTo>
                  <a:cubicBezTo>
                    <a:pt x="69" y="151"/>
                    <a:pt x="67" y="154"/>
                    <a:pt x="64" y="155"/>
                  </a:cubicBezTo>
                  <a:cubicBezTo>
                    <a:pt x="63" y="156"/>
                    <a:pt x="63" y="156"/>
                    <a:pt x="63" y="156"/>
                  </a:cubicBezTo>
                  <a:cubicBezTo>
                    <a:pt x="63" y="156"/>
                    <a:pt x="63" y="156"/>
                    <a:pt x="63" y="156"/>
                  </a:cubicBezTo>
                  <a:cubicBezTo>
                    <a:pt x="62" y="156"/>
                    <a:pt x="62" y="156"/>
                    <a:pt x="62" y="156"/>
                  </a:cubicBezTo>
                  <a:cubicBezTo>
                    <a:pt x="61" y="156"/>
                    <a:pt x="61" y="156"/>
                    <a:pt x="61" y="156"/>
                  </a:cubicBezTo>
                  <a:cubicBezTo>
                    <a:pt x="61" y="156"/>
                    <a:pt x="60" y="156"/>
                    <a:pt x="60" y="156"/>
                  </a:cubicBezTo>
                  <a:cubicBezTo>
                    <a:pt x="58" y="156"/>
                    <a:pt x="56" y="155"/>
                    <a:pt x="56" y="155"/>
                  </a:cubicBezTo>
                  <a:cubicBezTo>
                    <a:pt x="50" y="146"/>
                    <a:pt x="50" y="146"/>
                    <a:pt x="50" y="146"/>
                  </a:cubicBezTo>
                  <a:cubicBezTo>
                    <a:pt x="49" y="145"/>
                    <a:pt x="48" y="143"/>
                    <a:pt x="46" y="142"/>
                  </a:cubicBezTo>
                  <a:cubicBezTo>
                    <a:pt x="46" y="143"/>
                    <a:pt x="45" y="143"/>
                    <a:pt x="45" y="144"/>
                  </a:cubicBezTo>
                  <a:cubicBezTo>
                    <a:pt x="44" y="144"/>
                    <a:pt x="44" y="144"/>
                    <a:pt x="44" y="145"/>
                  </a:cubicBezTo>
                  <a:cubicBezTo>
                    <a:pt x="43" y="146"/>
                    <a:pt x="42" y="146"/>
                    <a:pt x="42" y="146"/>
                  </a:cubicBezTo>
                  <a:cubicBezTo>
                    <a:pt x="41" y="146"/>
                    <a:pt x="41" y="146"/>
                    <a:pt x="41" y="146"/>
                  </a:cubicBezTo>
                  <a:cubicBezTo>
                    <a:pt x="40" y="146"/>
                    <a:pt x="40" y="146"/>
                    <a:pt x="40" y="146"/>
                  </a:cubicBezTo>
                  <a:cubicBezTo>
                    <a:pt x="39" y="145"/>
                    <a:pt x="38" y="145"/>
                    <a:pt x="37" y="144"/>
                  </a:cubicBezTo>
                  <a:cubicBezTo>
                    <a:pt x="36" y="144"/>
                    <a:pt x="35" y="143"/>
                    <a:pt x="35" y="143"/>
                  </a:cubicBezTo>
                  <a:cubicBezTo>
                    <a:pt x="35" y="143"/>
                    <a:pt x="34" y="143"/>
                    <a:pt x="34" y="143"/>
                  </a:cubicBezTo>
                  <a:cubicBezTo>
                    <a:pt x="34" y="143"/>
                    <a:pt x="33" y="144"/>
                    <a:pt x="29" y="148"/>
                  </a:cubicBezTo>
                  <a:cubicBezTo>
                    <a:pt x="29" y="149"/>
                    <a:pt x="28" y="150"/>
                    <a:pt x="28" y="150"/>
                  </a:cubicBezTo>
                  <a:cubicBezTo>
                    <a:pt x="27" y="150"/>
                    <a:pt x="27" y="150"/>
                    <a:pt x="27" y="150"/>
                  </a:cubicBezTo>
                  <a:cubicBezTo>
                    <a:pt x="27" y="151"/>
                    <a:pt x="27" y="151"/>
                    <a:pt x="27" y="151"/>
                  </a:cubicBezTo>
                  <a:cubicBezTo>
                    <a:pt x="27" y="151"/>
                    <a:pt x="27" y="151"/>
                    <a:pt x="27" y="151"/>
                  </a:cubicBezTo>
                  <a:cubicBezTo>
                    <a:pt x="26" y="153"/>
                    <a:pt x="25" y="155"/>
                    <a:pt x="23" y="155"/>
                  </a:cubicBezTo>
                  <a:cubicBezTo>
                    <a:pt x="23" y="155"/>
                    <a:pt x="23" y="155"/>
                    <a:pt x="23" y="155"/>
                  </a:cubicBezTo>
                  <a:cubicBezTo>
                    <a:pt x="21" y="156"/>
                    <a:pt x="20" y="157"/>
                    <a:pt x="19" y="158"/>
                  </a:cubicBezTo>
                  <a:cubicBezTo>
                    <a:pt x="12" y="166"/>
                    <a:pt x="12" y="166"/>
                    <a:pt x="12" y="166"/>
                  </a:cubicBezTo>
                  <a:cubicBezTo>
                    <a:pt x="10" y="167"/>
                    <a:pt x="9" y="168"/>
                    <a:pt x="8" y="169"/>
                  </a:cubicBezTo>
                  <a:cubicBezTo>
                    <a:pt x="7" y="169"/>
                    <a:pt x="7" y="169"/>
                    <a:pt x="7" y="169"/>
                  </a:cubicBezTo>
                  <a:cubicBezTo>
                    <a:pt x="7" y="170"/>
                    <a:pt x="6" y="170"/>
                    <a:pt x="6" y="170"/>
                  </a:cubicBezTo>
                  <a:cubicBezTo>
                    <a:pt x="6" y="171"/>
                    <a:pt x="6" y="173"/>
                    <a:pt x="6" y="174"/>
                  </a:cubicBezTo>
                  <a:cubicBezTo>
                    <a:pt x="6" y="177"/>
                    <a:pt x="6" y="179"/>
                    <a:pt x="5" y="181"/>
                  </a:cubicBezTo>
                  <a:cubicBezTo>
                    <a:pt x="5" y="181"/>
                    <a:pt x="5" y="182"/>
                    <a:pt x="5" y="183"/>
                  </a:cubicBezTo>
                  <a:cubicBezTo>
                    <a:pt x="4" y="185"/>
                    <a:pt x="4" y="185"/>
                    <a:pt x="4" y="185"/>
                  </a:cubicBezTo>
                  <a:cubicBezTo>
                    <a:pt x="4" y="186"/>
                    <a:pt x="3" y="187"/>
                    <a:pt x="2" y="188"/>
                  </a:cubicBezTo>
                  <a:cubicBezTo>
                    <a:pt x="2" y="189"/>
                    <a:pt x="2" y="189"/>
                    <a:pt x="2" y="189"/>
                  </a:cubicBezTo>
                  <a:cubicBezTo>
                    <a:pt x="1" y="190"/>
                    <a:pt x="1" y="192"/>
                    <a:pt x="0" y="193"/>
                  </a:cubicBezTo>
                  <a:cubicBezTo>
                    <a:pt x="0" y="194"/>
                    <a:pt x="0" y="194"/>
                    <a:pt x="0" y="195"/>
                  </a:cubicBezTo>
                  <a:cubicBezTo>
                    <a:pt x="0" y="195"/>
                    <a:pt x="0" y="195"/>
                    <a:pt x="0" y="195"/>
                  </a:cubicBezTo>
                  <a:cubicBezTo>
                    <a:pt x="1" y="196"/>
                    <a:pt x="2" y="197"/>
                    <a:pt x="3" y="198"/>
                  </a:cubicBezTo>
                  <a:cubicBezTo>
                    <a:pt x="3" y="197"/>
                    <a:pt x="3" y="197"/>
                    <a:pt x="3" y="196"/>
                  </a:cubicBezTo>
                  <a:cubicBezTo>
                    <a:pt x="4" y="199"/>
                    <a:pt x="4" y="202"/>
                    <a:pt x="5" y="205"/>
                  </a:cubicBezTo>
                  <a:cubicBezTo>
                    <a:pt x="7" y="209"/>
                    <a:pt x="7" y="210"/>
                    <a:pt x="12" y="211"/>
                  </a:cubicBezTo>
                  <a:cubicBezTo>
                    <a:pt x="14" y="212"/>
                    <a:pt x="15" y="213"/>
                    <a:pt x="16" y="213"/>
                  </a:cubicBezTo>
                  <a:cubicBezTo>
                    <a:pt x="17" y="213"/>
                    <a:pt x="18" y="212"/>
                    <a:pt x="19" y="212"/>
                  </a:cubicBezTo>
                  <a:cubicBezTo>
                    <a:pt x="20" y="211"/>
                    <a:pt x="18" y="210"/>
                    <a:pt x="18" y="210"/>
                  </a:cubicBezTo>
                  <a:cubicBezTo>
                    <a:pt x="18" y="209"/>
                    <a:pt x="18" y="209"/>
                    <a:pt x="19" y="209"/>
                  </a:cubicBezTo>
                  <a:cubicBezTo>
                    <a:pt x="19" y="209"/>
                    <a:pt x="19" y="210"/>
                    <a:pt x="19" y="210"/>
                  </a:cubicBezTo>
                  <a:cubicBezTo>
                    <a:pt x="21" y="209"/>
                    <a:pt x="23" y="209"/>
                    <a:pt x="25" y="208"/>
                  </a:cubicBezTo>
                  <a:cubicBezTo>
                    <a:pt x="24" y="209"/>
                    <a:pt x="23" y="211"/>
                    <a:pt x="22" y="212"/>
                  </a:cubicBezTo>
                  <a:cubicBezTo>
                    <a:pt x="22" y="212"/>
                    <a:pt x="23" y="213"/>
                    <a:pt x="23" y="213"/>
                  </a:cubicBezTo>
                  <a:cubicBezTo>
                    <a:pt x="24" y="213"/>
                    <a:pt x="24" y="212"/>
                    <a:pt x="25" y="212"/>
                  </a:cubicBezTo>
                  <a:cubicBezTo>
                    <a:pt x="23" y="215"/>
                    <a:pt x="23" y="215"/>
                    <a:pt x="20" y="216"/>
                  </a:cubicBezTo>
                  <a:cubicBezTo>
                    <a:pt x="20" y="217"/>
                    <a:pt x="21" y="217"/>
                    <a:pt x="21" y="218"/>
                  </a:cubicBezTo>
                  <a:cubicBezTo>
                    <a:pt x="22" y="222"/>
                    <a:pt x="25" y="225"/>
                    <a:pt x="28" y="228"/>
                  </a:cubicBezTo>
                  <a:cubicBezTo>
                    <a:pt x="30" y="230"/>
                    <a:pt x="28" y="236"/>
                    <a:pt x="28" y="238"/>
                  </a:cubicBezTo>
                  <a:cubicBezTo>
                    <a:pt x="27" y="241"/>
                    <a:pt x="27" y="244"/>
                    <a:pt x="26" y="247"/>
                  </a:cubicBezTo>
                  <a:cubicBezTo>
                    <a:pt x="26" y="248"/>
                    <a:pt x="26" y="248"/>
                    <a:pt x="26" y="248"/>
                  </a:cubicBezTo>
                  <a:cubicBezTo>
                    <a:pt x="27" y="248"/>
                    <a:pt x="27" y="248"/>
                    <a:pt x="27" y="248"/>
                  </a:cubicBezTo>
                  <a:cubicBezTo>
                    <a:pt x="28" y="248"/>
                    <a:pt x="28" y="248"/>
                    <a:pt x="29" y="248"/>
                  </a:cubicBezTo>
                  <a:cubicBezTo>
                    <a:pt x="29" y="249"/>
                    <a:pt x="29" y="249"/>
                    <a:pt x="29" y="249"/>
                  </a:cubicBezTo>
                  <a:cubicBezTo>
                    <a:pt x="30" y="250"/>
                    <a:pt x="32" y="252"/>
                    <a:pt x="40" y="252"/>
                  </a:cubicBezTo>
                  <a:cubicBezTo>
                    <a:pt x="52" y="252"/>
                    <a:pt x="52" y="252"/>
                    <a:pt x="52" y="252"/>
                  </a:cubicBezTo>
                  <a:cubicBezTo>
                    <a:pt x="53" y="252"/>
                    <a:pt x="54" y="252"/>
                    <a:pt x="55" y="252"/>
                  </a:cubicBezTo>
                  <a:cubicBezTo>
                    <a:pt x="55" y="252"/>
                    <a:pt x="55" y="252"/>
                    <a:pt x="55" y="252"/>
                  </a:cubicBezTo>
                  <a:cubicBezTo>
                    <a:pt x="56" y="252"/>
                    <a:pt x="58" y="252"/>
                    <a:pt x="59" y="252"/>
                  </a:cubicBezTo>
                  <a:cubicBezTo>
                    <a:pt x="59" y="252"/>
                    <a:pt x="60" y="252"/>
                    <a:pt x="60" y="252"/>
                  </a:cubicBezTo>
                  <a:cubicBezTo>
                    <a:pt x="60" y="251"/>
                    <a:pt x="61" y="250"/>
                    <a:pt x="62" y="249"/>
                  </a:cubicBezTo>
                  <a:cubicBezTo>
                    <a:pt x="63" y="248"/>
                    <a:pt x="64" y="248"/>
                    <a:pt x="66" y="248"/>
                  </a:cubicBezTo>
                  <a:cubicBezTo>
                    <a:pt x="66" y="248"/>
                    <a:pt x="66" y="248"/>
                    <a:pt x="67" y="248"/>
                  </a:cubicBezTo>
                  <a:cubicBezTo>
                    <a:pt x="67" y="248"/>
                    <a:pt x="68" y="248"/>
                    <a:pt x="68" y="248"/>
                  </a:cubicBezTo>
                  <a:cubicBezTo>
                    <a:pt x="68" y="248"/>
                    <a:pt x="68" y="248"/>
                    <a:pt x="69" y="248"/>
                  </a:cubicBezTo>
                  <a:cubicBezTo>
                    <a:pt x="70" y="248"/>
                    <a:pt x="71" y="248"/>
                    <a:pt x="72" y="248"/>
                  </a:cubicBezTo>
                  <a:cubicBezTo>
                    <a:pt x="74" y="249"/>
                    <a:pt x="75" y="249"/>
                    <a:pt x="76" y="249"/>
                  </a:cubicBezTo>
                  <a:cubicBezTo>
                    <a:pt x="77" y="249"/>
                    <a:pt x="77" y="249"/>
                    <a:pt x="77" y="249"/>
                  </a:cubicBezTo>
                  <a:cubicBezTo>
                    <a:pt x="79" y="249"/>
                    <a:pt x="79" y="249"/>
                    <a:pt x="79" y="249"/>
                  </a:cubicBezTo>
                  <a:cubicBezTo>
                    <a:pt x="82" y="249"/>
                    <a:pt x="86" y="249"/>
                    <a:pt x="90" y="249"/>
                  </a:cubicBezTo>
                  <a:cubicBezTo>
                    <a:pt x="92" y="249"/>
                    <a:pt x="92" y="249"/>
                    <a:pt x="92" y="249"/>
                  </a:cubicBezTo>
                  <a:cubicBezTo>
                    <a:pt x="96" y="249"/>
                    <a:pt x="99" y="249"/>
                    <a:pt x="103" y="249"/>
                  </a:cubicBezTo>
                  <a:cubicBezTo>
                    <a:pt x="103" y="249"/>
                    <a:pt x="103" y="249"/>
                    <a:pt x="103" y="249"/>
                  </a:cubicBezTo>
                  <a:cubicBezTo>
                    <a:pt x="103" y="249"/>
                    <a:pt x="103" y="249"/>
                    <a:pt x="104" y="249"/>
                  </a:cubicBezTo>
                  <a:cubicBezTo>
                    <a:pt x="104" y="249"/>
                    <a:pt x="104" y="249"/>
                    <a:pt x="104" y="249"/>
                  </a:cubicBezTo>
                  <a:cubicBezTo>
                    <a:pt x="105" y="249"/>
                    <a:pt x="105" y="249"/>
                    <a:pt x="106" y="250"/>
                  </a:cubicBezTo>
                  <a:cubicBezTo>
                    <a:pt x="106" y="250"/>
                    <a:pt x="106" y="250"/>
                    <a:pt x="106" y="250"/>
                  </a:cubicBezTo>
                  <a:cubicBezTo>
                    <a:pt x="107" y="250"/>
                    <a:pt x="107" y="250"/>
                    <a:pt x="108" y="250"/>
                  </a:cubicBezTo>
                  <a:cubicBezTo>
                    <a:pt x="108" y="251"/>
                    <a:pt x="108" y="251"/>
                    <a:pt x="108" y="251"/>
                  </a:cubicBezTo>
                  <a:cubicBezTo>
                    <a:pt x="108" y="251"/>
                    <a:pt x="109" y="251"/>
                    <a:pt x="109" y="251"/>
                  </a:cubicBezTo>
                  <a:cubicBezTo>
                    <a:pt x="115" y="249"/>
                    <a:pt x="115" y="249"/>
                    <a:pt x="115" y="249"/>
                  </a:cubicBezTo>
                  <a:cubicBezTo>
                    <a:pt x="113" y="252"/>
                    <a:pt x="113" y="252"/>
                    <a:pt x="113" y="252"/>
                  </a:cubicBezTo>
                  <a:cubicBezTo>
                    <a:pt x="114" y="252"/>
                    <a:pt x="114" y="252"/>
                    <a:pt x="115" y="252"/>
                  </a:cubicBezTo>
                  <a:cubicBezTo>
                    <a:pt x="116" y="252"/>
                    <a:pt x="116" y="252"/>
                    <a:pt x="117" y="252"/>
                  </a:cubicBezTo>
                  <a:cubicBezTo>
                    <a:pt x="122" y="252"/>
                    <a:pt x="127" y="252"/>
                    <a:pt x="132" y="251"/>
                  </a:cubicBezTo>
                  <a:cubicBezTo>
                    <a:pt x="138" y="251"/>
                    <a:pt x="138" y="251"/>
                    <a:pt x="138" y="251"/>
                  </a:cubicBezTo>
                  <a:cubicBezTo>
                    <a:pt x="139" y="251"/>
                    <a:pt x="139" y="251"/>
                    <a:pt x="139" y="251"/>
                  </a:cubicBezTo>
                  <a:cubicBezTo>
                    <a:pt x="139" y="251"/>
                    <a:pt x="140" y="251"/>
                    <a:pt x="141" y="252"/>
                  </a:cubicBezTo>
                  <a:cubicBezTo>
                    <a:pt x="141" y="252"/>
                    <a:pt x="142" y="253"/>
                    <a:pt x="143" y="253"/>
                  </a:cubicBezTo>
                  <a:cubicBezTo>
                    <a:pt x="143" y="254"/>
                    <a:pt x="143" y="254"/>
                    <a:pt x="143" y="254"/>
                  </a:cubicBezTo>
                  <a:cubicBezTo>
                    <a:pt x="144" y="254"/>
                    <a:pt x="144" y="254"/>
                    <a:pt x="144" y="254"/>
                  </a:cubicBezTo>
                  <a:cubicBezTo>
                    <a:pt x="144" y="254"/>
                    <a:pt x="144" y="254"/>
                    <a:pt x="144" y="254"/>
                  </a:cubicBezTo>
                  <a:cubicBezTo>
                    <a:pt x="144" y="254"/>
                    <a:pt x="144" y="254"/>
                    <a:pt x="145" y="254"/>
                  </a:cubicBezTo>
                  <a:cubicBezTo>
                    <a:pt x="145" y="254"/>
                    <a:pt x="145" y="254"/>
                    <a:pt x="145" y="254"/>
                  </a:cubicBezTo>
                  <a:cubicBezTo>
                    <a:pt x="146" y="254"/>
                    <a:pt x="146" y="254"/>
                    <a:pt x="147" y="254"/>
                  </a:cubicBezTo>
                  <a:cubicBezTo>
                    <a:pt x="151" y="255"/>
                    <a:pt x="151" y="255"/>
                    <a:pt x="151" y="255"/>
                  </a:cubicBezTo>
                  <a:cubicBezTo>
                    <a:pt x="150" y="256"/>
                    <a:pt x="150" y="256"/>
                    <a:pt x="150" y="256"/>
                  </a:cubicBezTo>
                  <a:cubicBezTo>
                    <a:pt x="150" y="256"/>
                    <a:pt x="150" y="256"/>
                    <a:pt x="150" y="256"/>
                  </a:cubicBezTo>
                  <a:cubicBezTo>
                    <a:pt x="151" y="256"/>
                    <a:pt x="151" y="256"/>
                    <a:pt x="152" y="256"/>
                  </a:cubicBezTo>
                  <a:cubicBezTo>
                    <a:pt x="152" y="256"/>
                    <a:pt x="152" y="256"/>
                    <a:pt x="152" y="256"/>
                  </a:cubicBezTo>
                  <a:cubicBezTo>
                    <a:pt x="153" y="256"/>
                    <a:pt x="153" y="256"/>
                    <a:pt x="153" y="256"/>
                  </a:cubicBezTo>
                  <a:cubicBezTo>
                    <a:pt x="154" y="256"/>
                    <a:pt x="155" y="256"/>
                    <a:pt x="155" y="256"/>
                  </a:cubicBezTo>
                  <a:cubicBezTo>
                    <a:pt x="156" y="256"/>
                    <a:pt x="157" y="257"/>
                    <a:pt x="157" y="257"/>
                  </a:cubicBezTo>
                  <a:cubicBezTo>
                    <a:pt x="158" y="257"/>
                    <a:pt x="158" y="257"/>
                    <a:pt x="159" y="257"/>
                  </a:cubicBezTo>
                  <a:cubicBezTo>
                    <a:pt x="159" y="257"/>
                    <a:pt x="159" y="257"/>
                    <a:pt x="159" y="257"/>
                  </a:cubicBezTo>
                  <a:cubicBezTo>
                    <a:pt x="159" y="257"/>
                    <a:pt x="160" y="257"/>
                    <a:pt x="160" y="257"/>
                  </a:cubicBezTo>
                  <a:cubicBezTo>
                    <a:pt x="161" y="257"/>
                    <a:pt x="162" y="257"/>
                    <a:pt x="163" y="257"/>
                  </a:cubicBezTo>
                  <a:cubicBezTo>
                    <a:pt x="164" y="257"/>
                    <a:pt x="166" y="257"/>
                    <a:pt x="167" y="258"/>
                  </a:cubicBezTo>
                  <a:cubicBezTo>
                    <a:pt x="168" y="259"/>
                    <a:pt x="169" y="259"/>
                    <a:pt x="170" y="260"/>
                  </a:cubicBezTo>
                  <a:cubicBezTo>
                    <a:pt x="171" y="260"/>
                    <a:pt x="171" y="260"/>
                    <a:pt x="171" y="260"/>
                  </a:cubicBezTo>
                  <a:cubicBezTo>
                    <a:pt x="171" y="260"/>
                    <a:pt x="171" y="259"/>
                    <a:pt x="171" y="259"/>
                  </a:cubicBezTo>
                  <a:cubicBezTo>
                    <a:pt x="171" y="255"/>
                    <a:pt x="171" y="254"/>
                    <a:pt x="173" y="252"/>
                  </a:cubicBezTo>
                  <a:cubicBezTo>
                    <a:pt x="173" y="252"/>
                    <a:pt x="173" y="252"/>
                    <a:pt x="173" y="252"/>
                  </a:cubicBezTo>
                  <a:cubicBezTo>
                    <a:pt x="173" y="252"/>
                    <a:pt x="173" y="251"/>
                    <a:pt x="173" y="251"/>
                  </a:cubicBezTo>
                  <a:cubicBezTo>
                    <a:pt x="173" y="249"/>
                    <a:pt x="173" y="249"/>
                    <a:pt x="173" y="249"/>
                  </a:cubicBezTo>
                  <a:cubicBezTo>
                    <a:pt x="172" y="246"/>
                    <a:pt x="171" y="243"/>
                    <a:pt x="171" y="240"/>
                  </a:cubicBezTo>
                  <a:cubicBezTo>
                    <a:pt x="171" y="239"/>
                    <a:pt x="171" y="239"/>
                    <a:pt x="171" y="239"/>
                  </a:cubicBezTo>
                  <a:cubicBezTo>
                    <a:pt x="171" y="238"/>
                    <a:pt x="171" y="238"/>
                    <a:pt x="171" y="238"/>
                  </a:cubicBezTo>
                  <a:cubicBezTo>
                    <a:pt x="171" y="238"/>
                    <a:pt x="170" y="237"/>
                    <a:pt x="170" y="237"/>
                  </a:cubicBezTo>
                  <a:cubicBezTo>
                    <a:pt x="167" y="234"/>
                    <a:pt x="164" y="231"/>
                    <a:pt x="161" y="229"/>
                  </a:cubicBezTo>
                  <a:cubicBezTo>
                    <a:pt x="161" y="229"/>
                    <a:pt x="160" y="228"/>
                    <a:pt x="160" y="228"/>
                  </a:cubicBezTo>
                  <a:cubicBezTo>
                    <a:pt x="157" y="226"/>
                    <a:pt x="157" y="226"/>
                    <a:pt x="157" y="226"/>
                  </a:cubicBezTo>
                  <a:cubicBezTo>
                    <a:pt x="153" y="222"/>
                    <a:pt x="150" y="218"/>
                    <a:pt x="148" y="214"/>
                  </a:cubicBezTo>
                  <a:cubicBezTo>
                    <a:pt x="145" y="209"/>
                    <a:pt x="145" y="209"/>
                    <a:pt x="145" y="209"/>
                  </a:cubicBezTo>
                  <a:cubicBezTo>
                    <a:pt x="148" y="208"/>
                    <a:pt x="148" y="208"/>
                    <a:pt x="148" y="208"/>
                  </a:cubicBezTo>
                  <a:cubicBezTo>
                    <a:pt x="145" y="205"/>
                    <a:pt x="145" y="205"/>
                    <a:pt x="145" y="205"/>
                  </a:cubicBezTo>
                  <a:cubicBezTo>
                    <a:pt x="145" y="204"/>
                    <a:pt x="144" y="204"/>
                    <a:pt x="144" y="203"/>
                  </a:cubicBezTo>
                  <a:cubicBezTo>
                    <a:pt x="141" y="200"/>
                    <a:pt x="140" y="199"/>
                    <a:pt x="139" y="197"/>
                  </a:cubicBezTo>
                  <a:cubicBezTo>
                    <a:pt x="139" y="194"/>
                    <a:pt x="139" y="194"/>
                    <a:pt x="139" y="194"/>
                  </a:cubicBezTo>
                  <a:cubicBezTo>
                    <a:pt x="138" y="191"/>
                    <a:pt x="138" y="189"/>
                    <a:pt x="137" y="186"/>
                  </a:cubicBezTo>
                  <a:cubicBezTo>
                    <a:pt x="137" y="185"/>
                    <a:pt x="137" y="185"/>
                    <a:pt x="136" y="185"/>
                  </a:cubicBezTo>
                  <a:cubicBezTo>
                    <a:pt x="136" y="183"/>
                    <a:pt x="135" y="181"/>
                    <a:pt x="135" y="180"/>
                  </a:cubicBezTo>
                  <a:cubicBezTo>
                    <a:pt x="135" y="178"/>
                    <a:pt x="135" y="177"/>
                    <a:pt x="136" y="176"/>
                  </a:cubicBezTo>
                  <a:cubicBezTo>
                    <a:pt x="136" y="176"/>
                    <a:pt x="136" y="176"/>
                    <a:pt x="136" y="176"/>
                  </a:cubicBezTo>
                  <a:cubicBezTo>
                    <a:pt x="136" y="175"/>
                    <a:pt x="136" y="175"/>
                    <a:pt x="136" y="175"/>
                  </a:cubicBezTo>
                  <a:cubicBezTo>
                    <a:pt x="136" y="173"/>
                    <a:pt x="136" y="173"/>
                    <a:pt x="136" y="173"/>
                  </a:cubicBezTo>
                  <a:cubicBezTo>
                    <a:pt x="136" y="172"/>
                    <a:pt x="136" y="171"/>
                    <a:pt x="136" y="170"/>
                  </a:cubicBezTo>
                  <a:cubicBezTo>
                    <a:pt x="136" y="169"/>
                    <a:pt x="136" y="169"/>
                    <a:pt x="136" y="169"/>
                  </a:cubicBezTo>
                  <a:cubicBezTo>
                    <a:pt x="136" y="168"/>
                    <a:pt x="136" y="168"/>
                    <a:pt x="136" y="168"/>
                  </a:cubicBezTo>
                  <a:cubicBezTo>
                    <a:pt x="136" y="167"/>
                    <a:pt x="136" y="167"/>
                    <a:pt x="136" y="167"/>
                  </a:cubicBezTo>
                  <a:cubicBezTo>
                    <a:pt x="135" y="167"/>
                    <a:pt x="135" y="167"/>
                    <a:pt x="134" y="166"/>
                  </a:cubicBezTo>
                  <a:cubicBezTo>
                    <a:pt x="134" y="165"/>
                    <a:pt x="133" y="165"/>
                    <a:pt x="132" y="164"/>
                  </a:cubicBezTo>
                  <a:cubicBezTo>
                    <a:pt x="130" y="161"/>
                    <a:pt x="130" y="161"/>
                    <a:pt x="130" y="161"/>
                  </a:cubicBezTo>
                  <a:cubicBezTo>
                    <a:pt x="135" y="159"/>
                    <a:pt x="135" y="159"/>
                    <a:pt x="135" y="159"/>
                  </a:cubicBezTo>
                  <a:cubicBezTo>
                    <a:pt x="139" y="156"/>
                    <a:pt x="140" y="156"/>
                    <a:pt x="142" y="152"/>
                  </a:cubicBezTo>
                  <a:cubicBezTo>
                    <a:pt x="142" y="151"/>
                    <a:pt x="143" y="150"/>
                    <a:pt x="143" y="149"/>
                  </a:cubicBezTo>
                  <a:cubicBezTo>
                    <a:pt x="144" y="148"/>
                    <a:pt x="144" y="148"/>
                    <a:pt x="144" y="148"/>
                  </a:cubicBezTo>
                  <a:cubicBezTo>
                    <a:pt x="144" y="147"/>
                    <a:pt x="144" y="146"/>
                    <a:pt x="145" y="145"/>
                  </a:cubicBezTo>
                  <a:cubicBezTo>
                    <a:pt x="146" y="144"/>
                    <a:pt x="146" y="143"/>
                    <a:pt x="147" y="141"/>
                  </a:cubicBezTo>
                  <a:cubicBezTo>
                    <a:pt x="147" y="141"/>
                    <a:pt x="147" y="141"/>
                    <a:pt x="147" y="141"/>
                  </a:cubicBezTo>
                  <a:cubicBezTo>
                    <a:pt x="148" y="139"/>
                    <a:pt x="150" y="136"/>
                    <a:pt x="151" y="134"/>
                  </a:cubicBezTo>
                  <a:cubicBezTo>
                    <a:pt x="152" y="133"/>
                    <a:pt x="152" y="133"/>
                    <a:pt x="152" y="133"/>
                  </a:cubicBezTo>
                  <a:cubicBezTo>
                    <a:pt x="153" y="131"/>
                    <a:pt x="154" y="129"/>
                    <a:pt x="156" y="128"/>
                  </a:cubicBezTo>
                  <a:cubicBezTo>
                    <a:pt x="156" y="127"/>
                    <a:pt x="156" y="127"/>
                    <a:pt x="156" y="127"/>
                  </a:cubicBezTo>
                  <a:cubicBezTo>
                    <a:pt x="157" y="127"/>
                    <a:pt x="157" y="127"/>
                    <a:pt x="157" y="127"/>
                  </a:cubicBezTo>
                  <a:cubicBezTo>
                    <a:pt x="157" y="127"/>
                    <a:pt x="157" y="127"/>
                    <a:pt x="157" y="127"/>
                  </a:cubicBezTo>
                  <a:cubicBezTo>
                    <a:pt x="157" y="126"/>
                    <a:pt x="157" y="126"/>
                    <a:pt x="157" y="126"/>
                  </a:cubicBezTo>
                  <a:cubicBezTo>
                    <a:pt x="158" y="125"/>
                    <a:pt x="158" y="125"/>
                    <a:pt x="158" y="125"/>
                  </a:cubicBezTo>
                  <a:cubicBezTo>
                    <a:pt x="158" y="125"/>
                    <a:pt x="158" y="124"/>
                    <a:pt x="158" y="124"/>
                  </a:cubicBezTo>
                  <a:cubicBezTo>
                    <a:pt x="158" y="123"/>
                    <a:pt x="158" y="123"/>
                    <a:pt x="158" y="123"/>
                  </a:cubicBezTo>
                  <a:cubicBezTo>
                    <a:pt x="157" y="122"/>
                    <a:pt x="156" y="120"/>
                    <a:pt x="155" y="118"/>
                  </a:cubicBezTo>
                  <a:cubicBezTo>
                    <a:pt x="155" y="117"/>
                    <a:pt x="155" y="117"/>
                    <a:pt x="155" y="117"/>
                  </a:cubicBezTo>
                  <a:cubicBezTo>
                    <a:pt x="154" y="116"/>
                    <a:pt x="154" y="115"/>
                    <a:pt x="154" y="114"/>
                  </a:cubicBezTo>
                  <a:cubicBezTo>
                    <a:pt x="153" y="113"/>
                    <a:pt x="153" y="113"/>
                    <a:pt x="153" y="113"/>
                  </a:cubicBezTo>
                  <a:cubicBezTo>
                    <a:pt x="152" y="110"/>
                    <a:pt x="151" y="107"/>
                    <a:pt x="149" y="106"/>
                  </a:cubicBezTo>
                  <a:cubicBezTo>
                    <a:pt x="146" y="102"/>
                    <a:pt x="142" y="99"/>
                    <a:pt x="139" y="96"/>
                  </a:cubicBezTo>
                  <a:cubicBezTo>
                    <a:pt x="136" y="93"/>
                    <a:pt x="132" y="90"/>
                    <a:pt x="129" y="87"/>
                  </a:cubicBezTo>
                  <a:cubicBezTo>
                    <a:pt x="127" y="85"/>
                    <a:pt x="127" y="85"/>
                    <a:pt x="127" y="85"/>
                  </a:cubicBezTo>
                  <a:cubicBezTo>
                    <a:pt x="127" y="85"/>
                    <a:pt x="126" y="84"/>
                    <a:pt x="126" y="84"/>
                  </a:cubicBezTo>
                  <a:cubicBezTo>
                    <a:pt x="125" y="83"/>
                    <a:pt x="125" y="83"/>
                    <a:pt x="124" y="82"/>
                  </a:cubicBezTo>
                  <a:cubicBezTo>
                    <a:pt x="124" y="82"/>
                    <a:pt x="124" y="82"/>
                    <a:pt x="124" y="82"/>
                  </a:cubicBezTo>
                  <a:cubicBezTo>
                    <a:pt x="121" y="79"/>
                    <a:pt x="121" y="77"/>
                    <a:pt x="124" y="73"/>
                  </a:cubicBezTo>
                  <a:cubicBezTo>
                    <a:pt x="124" y="72"/>
                    <a:pt x="124" y="72"/>
                    <a:pt x="124" y="72"/>
                  </a:cubicBezTo>
                  <a:cubicBezTo>
                    <a:pt x="126" y="70"/>
                    <a:pt x="127" y="67"/>
                    <a:pt x="131" y="67"/>
                  </a:cubicBezTo>
                  <a:cubicBezTo>
                    <a:pt x="132" y="67"/>
                    <a:pt x="132" y="67"/>
                    <a:pt x="132" y="67"/>
                  </a:cubicBezTo>
                  <a:cubicBezTo>
                    <a:pt x="133" y="67"/>
                    <a:pt x="133" y="67"/>
                    <a:pt x="134" y="67"/>
                  </a:cubicBezTo>
                  <a:cubicBezTo>
                    <a:pt x="136" y="67"/>
                    <a:pt x="137" y="67"/>
                    <a:pt x="139" y="67"/>
                  </a:cubicBezTo>
                  <a:cubicBezTo>
                    <a:pt x="140" y="67"/>
                    <a:pt x="140" y="67"/>
                    <a:pt x="140" y="67"/>
                  </a:cubicBezTo>
                  <a:cubicBezTo>
                    <a:pt x="140" y="67"/>
                    <a:pt x="140" y="67"/>
                    <a:pt x="140" y="67"/>
                  </a:cubicBezTo>
                  <a:cubicBezTo>
                    <a:pt x="141" y="67"/>
                    <a:pt x="142" y="68"/>
                    <a:pt x="142" y="68"/>
                  </a:cubicBezTo>
                  <a:cubicBezTo>
                    <a:pt x="142" y="68"/>
                    <a:pt x="142" y="68"/>
                    <a:pt x="142" y="68"/>
                  </a:cubicBezTo>
                  <a:cubicBezTo>
                    <a:pt x="143" y="68"/>
                    <a:pt x="143" y="68"/>
                    <a:pt x="144" y="68"/>
                  </a:cubicBezTo>
                  <a:cubicBezTo>
                    <a:pt x="146" y="68"/>
                    <a:pt x="148" y="67"/>
                    <a:pt x="150" y="67"/>
                  </a:cubicBezTo>
                  <a:cubicBezTo>
                    <a:pt x="149" y="61"/>
                    <a:pt x="149" y="61"/>
                    <a:pt x="149" y="61"/>
                  </a:cubicBezTo>
                  <a:cubicBezTo>
                    <a:pt x="152" y="67"/>
                    <a:pt x="152" y="67"/>
                    <a:pt x="152" y="67"/>
                  </a:cubicBezTo>
                  <a:cubicBezTo>
                    <a:pt x="152" y="67"/>
                    <a:pt x="152" y="67"/>
                    <a:pt x="152" y="67"/>
                  </a:cubicBezTo>
                  <a:cubicBezTo>
                    <a:pt x="153" y="67"/>
                    <a:pt x="154" y="67"/>
                    <a:pt x="155" y="67"/>
                  </a:cubicBezTo>
                  <a:cubicBezTo>
                    <a:pt x="156" y="67"/>
                    <a:pt x="156" y="67"/>
                    <a:pt x="156" y="67"/>
                  </a:cubicBezTo>
                  <a:cubicBezTo>
                    <a:pt x="155" y="66"/>
                    <a:pt x="154" y="64"/>
                    <a:pt x="153" y="63"/>
                  </a:cubicBezTo>
                  <a:cubicBezTo>
                    <a:pt x="150" y="58"/>
                    <a:pt x="148" y="52"/>
                    <a:pt x="146" y="46"/>
                  </a:cubicBezTo>
                  <a:cubicBezTo>
                    <a:pt x="146" y="45"/>
                    <a:pt x="146" y="43"/>
                    <a:pt x="147" y="40"/>
                  </a:cubicBezTo>
                  <a:cubicBezTo>
                    <a:pt x="147" y="40"/>
                    <a:pt x="147" y="39"/>
                    <a:pt x="147" y="38"/>
                  </a:cubicBezTo>
                  <a:cubicBezTo>
                    <a:pt x="147" y="37"/>
                    <a:pt x="148" y="37"/>
                    <a:pt x="148" y="36"/>
                  </a:cubicBezTo>
                  <a:cubicBezTo>
                    <a:pt x="148" y="34"/>
                    <a:pt x="148" y="33"/>
                    <a:pt x="148" y="32"/>
                  </a:cubicBezTo>
                  <a:cubicBezTo>
                    <a:pt x="148" y="32"/>
                    <a:pt x="148" y="32"/>
                    <a:pt x="148" y="32"/>
                  </a:cubicBezTo>
                  <a:cubicBezTo>
                    <a:pt x="148" y="31"/>
                    <a:pt x="148" y="31"/>
                    <a:pt x="148" y="31"/>
                  </a:cubicBezTo>
                  <a:cubicBezTo>
                    <a:pt x="148" y="31"/>
                    <a:pt x="148" y="31"/>
                    <a:pt x="148" y="31"/>
                  </a:cubicBezTo>
                  <a:cubicBezTo>
                    <a:pt x="148" y="30"/>
                    <a:pt x="148" y="30"/>
                    <a:pt x="148" y="30"/>
                  </a:cubicBezTo>
                  <a:cubicBezTo>
                    <a:pt x="148" y="29"/>
                    <a:pt x="147" y="28"/>
                    <a:pt x="147" y="27"/>
                  </a:cubicBezTo>
                  <a:cubicBezTo>
                    <a:pt x="147" y="26"/>
                    <a:pt x="147" y="25"/>
                    <a:pt x="146" y="25"/>
                  </a:cubicBezTo>
                  <a:cubicBezTo>
                    <a:pt x="145" y="22"/>
                    <a:pt x="145" y="22"/>
                    <a:pt x="145" y="22"/>
                  </a:cubicBezTo>
                  <a:cubicBezTo>
                    <a:pt x="144" y="20"/>
                    <a:pt x="143" y="17"/>
                    <a:pt x="142" y="14"/>
                  </a:cubicBezTo>
                  <a:cubicBezTo>
                    <a:pt x="142" y="12"/>
                    <a:pt x="142" y="11"/>
                    <a:pt x="141" y="9"/>
                  </a:cubicBezTo>
                  <a:cubicBezTo>
                    <a:pt x="141" y="9"/>
                    <a:pt x="141" y="9"/>
                    <a:pt x="141" y="9"/>
                  </a:cubicBezTo>
                  <a:cubicBezTo>
                    <a:pt x="141" y="9"/>
                    <a:pt x="141" y="9"/>
                    <a:pt x="138" y="7"/>
                  </a:cubicBezTo>
                  <a:cubicBezTo>
                    <a:pt x="138" y="7"/>
                    <a:pt x="138" y="7"/>
                    <a:pt x="138" y="7"/>
                  </a:cubicBezTo>
                  <a:cubicBezTo>
                    <a:pt x="137" y="6"/>
                    <a:pt x="136" y="6"/>
                    <a:pt x="136" y="5"/>
                  </a:cubicBezTo>
                  <a:cubicBezTo>
                    <a:pt x="135" y="5"/>
                    <a:pt x="135" y="4"/>
                    <a:pt x="135" y="3"/>
                  </a:cubicBezTo>
                  <a:cubicBezTo>
                    <a:pt x="135" y="2"/>
                    <a:pt x="135" y="2"/>
                    <a:pt x="135" y="2"/>
                  </a:cubicBezTo>
                  <a:cubicBezTo>
                    <a:pt x="134" y="2"/>
                    <a:pt x="134" y="1"/>
                    <a:pt x="134" y="0"/>
                  </a:cubicBezTo>
                  <a:cubicBezTo>
                    <a:pt x="130" y="0"/>
                    <a:pt x="130" y="0"/>
                    <a:pt x="1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231"/>
            <p:cNvSpPr>
              <a:spLocks noEditPoints="1"/>
            </p:cNvSpPr>
            <p:nvPr/>
          </p:nvSpPr>
          <p:spPr bwMode="auto">
            <a:xfrm>
              <a:off x="3817" y="1984"/>
              <a:ext cx="652" cy="532"/>
            </a:xfrm>
            <a:custGeom>
              <a:gdLst>
                <a:gd name="T0" fmla="*/ 64 w 276"/>
                <a:gd name="T1" fmla="*/ 0 h 225"/>
                <a:gd name="T2" fmla="*/ 34 w 276"/>
                <a:gd name="T3" fmla="*/ 10 h 225"/>
                <a:gd name="T4" fmla="*/ 33 w 276"/>
                <a:gd name="T5" fmla="*/ 15 h 225"/>
                <a:gd name="T6" fmla="*/ 25 w 276"/>
                <a:gd name="T7" fmla="*/ 29 h 225"/>
                <a:gd name="T8" fmla="*/ 22 w 276"/>
                <a:gd name="T9" fmla="*/ 44 h 225"/>
                <a:gd name="T10" fmla="*/ 21 w 276"/>
                <a:gd name="T11" fmla="*/ 53 h 225"/>
                <a:gd name="T12" fmla="*/ 23 w 276"/>
                <a:gd name="T13" fmla="*/ 59 h 225"/>
                <a:gd name="T14" fmla="*/ 27 w 276"/>
                <a:gd name="T15" fmla="*/ 73 h 225"/>
                <a:gd name="T16" fmla="*/ 22 w 276"/>
                <a:gd name="T17" fmla="*/ 83 h 225"/>
                <a:gd name="T18" fmla="*/ 11 w 276"/>
                <a:gd name="T19" fmla="*/ 109 h 225"/>
                <a:gd name="T20" fmla="*/ 2 w 276"/>
                <a:gd name="T21" fmla="*/ 114 h 225"/>
                <a:gd name="T22" fmla="*/ 1 w 276"/>
                <a:gd name="T23" fmla="*/ 139 h 225"/>
                <a:gd name="T24" fmla="*/ 2 w 276"/>
                <a:gd name="T25" fmla="*/ 163 h 225"/>
                <a:gd name="T26" fmla="*/ 6 w 276"/>
                <a:gd name="T27" fmla="*/ 174 h 225"/>
                <a:gd name="T28" fmla="*/ 25 w 276"/>
                <a:gd name="T29" fmla="*/ 170 h 225"/>
                <a:gd name="T30" fmla="*/ 37 w 276"/>
                <a:gd name="T31" fmla="*/ 176 h 225"/>
                <a:gd name="T32" fmla="*/ 59 w 276"/>
                <a:gd name="T33" fmla="*/ 186 h 225"/>
                <a:gd name="T34" fmla="*/ 60 w 276"/>
                <a:gd name="T35" fmla="*/ 191 h 225"/>
                <a:gd name="T36" fmla="*/ 65 w 276"/>
                <a:gd name="T37" fmla="*/ 196 h 225"/>
                <a:gd name="T38" fmla="*/ 79 w 276"/>
                <a:gd name="T39" fmla="*/ 225 h 225"/>
                <a:gd name="T40" fmla="*/ 84 w 276"/>
                <a:gd name="T41" fmla="*/ 224 h 225"/>
                <a:gd name="T42" fmla="*/ 96 w 276"/>
                <a:gd name="T43" fmla="*/ 223 h 225"/>
                <a:gd name="T44" fmla="*/ 100 w 276"/>
                <a:gd name="T45" fmla="*/ 222 h 225"/>
                <a:gd name="T46" fmla="*/ 99 w 276"/>
                <a:gd name="T47" fmla="*/ 218 h 225"/>
                <a:gd name="T48" fmla="*/ 101 w 276"/>
                <a:gd name="T49" fmla="*/ 215 h 225"/>
                <a:gd name="T50" fmla="*/ 112 w 276"/>
                <a:gd name="T51" fmla="*/ 215 h 225"/>
                <a:gd name="T52" fmla="*/ 130 w 276"/>
                <a:gd name="T53" fmla="*/ 217 h 225"/>
                <a:gd name="T54" fmla="*/ 133 w 276"/>
                <a:gd name="T55" fmla="*/ 212 h 225"/>
                <a:gd name="T56" fmla="*/ 139 w 276"/>
                <a:gd name="T57" fmla="*/ 199 h 225"/>
                <a:gd name="T58" fmla="*/ 146 w 276"/>
                <a:gd name="T59" fmla="*/ 182 h 225"/>
                <a:gd name="T60" fmla="*/ 161 w 276"/>
                <a:gd name="T61" fmla="*/ 169 h 225"/>
                <a:gd name="T62" fmla="*/ 174 w 276"/>
                <a:gd name="T63" fmla="*/ 157 h 225"/>
                <a:gd name="T64" fmla="*/ 182 w 276"/>
                <a:gd name="T65" fmla="*/ 153 h 225"/>
                <a:gd name="T66" fmla="*/ 200 w 276"/>
                <a:gd name="T67" fmla="*/ 170 h 225"/>
                <a:gd name="T68" fmla="*/ 210 w 276"/>
                <a:gd name="T69" fmla="*/ 151 h 225"/>
                <a:gd name="T70" fmla="*/ 220 w 276"/>
                <a:gd name="T71" fmla="*/ 126 h 225"/>
                <a:gd name="T72" fmla="*/ 234 w 276"/>
                <a:gd name="T73" fmla="*/ 111 h 225"/>
                <a:gd name="T74" fmla="*/ 243 w 276"/>
                <a:gd name="T75" fmla="*/ 98 h 225"/>
                <a:gd name="T76" fmla="*/ 243 w 276"/>
                <a:gd name="T77" fmla="*/ 91 h 225"/>
                <a:gd name="T78" fmla="*/ 250 w 276"/>
                <a:gd name="T79" fmla="*/ 75 h 225"/>
                <a:gd name="T80" fmla="*/ 256 w 276"/>
                <a:gd name="T81" fmla="*/ 66 h 225"/>
                <a:gd name="T82" fmla="*/ 260 w 276"/>
                <a:gd name="T83" fmla="*/ 58 h 225"/>
                <a:gd name="T84" fmla="*/ 267 w 276"/>
                <a:gd name="T85" fmla="*/ 57 h 225"/>
                <a:gd name="T86" fmla="*/ 275 w 276"/>
                <a:gd name="T87" fmla="*/ 52 h 225"/>
                <a:gd name="T88" fmla="*/ 275 w 276"/>
                <a:gd name="T89" fmla="*/ 39 h 225"/>
                <a:gd name="T90" fmla="*/ 265 w 276"/>
                <a:gd name="T91" fmla="*/ 31 h 225"/>
                <a:gd name="T92" fmla="*/ 254 w 276"/>
                <a:gd name="T93" fmla="*/ 5 h 225"/>
                <a:gd name="T94" fmla="*/ 250 w 276"/>
                <a:gd name="T95" fmla="*/ 4 h 225"/>
                <a:gd name="T96" fmla="*/ 243 w 276"/>
                <a:gd name="T97" fmla="*/ 6 h 225"/>
                <a:gd name="T98" fmla="*/ 228 w 276"/>
                <a:gd name="T99" fmla="*/ 18 h 225"/>
                <a:gd name="T100" fmla="*/ 203 w 276"/>
                <a:gd name="T101" fmla="*/ 12 h 225"/>
                <a:gd name="T102" fmla="*/ 189 w 276"/>
                <a:gd name="T103" fmla="*/ 12 h 225"/>
                <a:gd name="T104" fmla="*/ 165 w 276"/>
                <a:gd name="T105" fmla="*/ 23 h 225"/>
                <a:gd name="T106" fmla="*/ 159 w 276"/>
                <a:gd name="T107" fmla="*/ 25 h 225"/>
                <a:gd name="T108" fmla="*/ 152 w 276"/>
                <a:gd name="T109" fmla="*/ 25 h 225"/>
                <a:gd name="T110" fmla="*/ 124 w 276"/>
                <a:gd name="T111" fmla="*/ 13 h 225"/>
                <a:gd name="T112" fmla="*/ 120 w 276"/>
                <a:gd name="T113" fmla="*/ 13 h 225"/>
                <a:gd name="T114" fmla="*/ 105 w 276"/>
                <a:gd name="T115" fmla="*/ 19 h 225"/>
                <a:gd name="T116" fmla="*/ 83 w 276"/>
                <a:gd name="T117" fmla="*/ 6 h 225"/>
                <a:gd name="T118" fmla="*/ 69 w 276"/>
                <a:gd name="T119" fmla="*/ 1 h 2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6" h="225">
                  <a:moveTo>
                    <a:pt x="65" y="196"/>
                  </a:moveTo>
                  <a:cubicBezTo>
                    <a:pt x="66" y="196"/>
                    <a:pt x="66" y="196"/>
                    <a:pt x="67" y="195"/>
                  </a:cubicBezTo>
                  <a:cubicBezTo>
                    <a:pt x="66" y="196"/>
                    <a:pt x="66" y="196"/>
                    <a:pt x="65" y="196"/>
                  </a:cubicBezTo>
                  <a:moveTo>
                    <a:pt x="65" y="0"/>
                  </a:moveTo>
                  <a:cubicBezTo>
                    <a:pt x="64" y="0"/>
                    <a:pt x="64" y="0"/>
                    <a:pt x="64" y="0"/>
                  </a:cubicBezTo>
                  <a:cubicBezTo>
                    <a:pt x="63" y="0"/>
                    <a:pt x="63" y="0"/>
                    <a:pt x="63" y="0"/>
                  </a:cubicBezTo>
                  <a:cubicBezTo>
                    <a:pt x="59" y="0"/>
                    <a:pt x="54" y="1"/>
                    <a:pt x="50" y="2"/>
                  </a:cubicBezTo>
                  <a:cubicBezTo>
                    <a:pt x="48" y="3"/>
                    <a:pt x="46" y="3"/>
                    <a:pt x="44" y="3"/>
                  </a:cubicBezTo>
                  <a:cubicBezTo>
                    <a:pt x="41" y="4"/>
                    <a:pt x="35" y="8"/>
                    <a:pt x="34" y="9"/>
                  </a:cubicBezTo>
                  <a:cubicBezTo>
                    <a:pt x="34" y="10"/>
                    <a:pt x="34" y="10"/>
                    <a:pt x="34" y="10"/>
                  </a:cubicBezTo>
                  <a:cubicBezTo>
                    <a:pt x="34" y="11"/>
                    <a:pt x="34" y="11"/>
                    <a:pt x="34" y="11"/>
                  </a:cubicBezTo>
                  <a:cubicBezTo>
                    <a:pt x="34" y="11"/>
                    <a:pt x="34" y="12"/>
                    <a:pt x="34" y="12"/>
                  </a:cubicBezTo>
                  <a:cubicBezTo>
                    <a:pt x="34" y="13"/>
                    <a:pt x="34" y="13"/>
                    <a:pt x="34" y="13"/>
                  </a:cubicBezTo>
                  <a:cubicBezTo>
                    <a:pt x="34" y="13"/>
                    <a:pt x="34" y="14"/>
                    <a:pt x="34" y="14"/>
                  </a:cubicBezTo>
                  <a:cubicBezTo>
                    <a:pt x="33" y="15"/>
                    <a:pt x="33" y="15"/>
                    <a:pt x="33" y="15"/>
                  </a:cubicBezTo>
                  <a:cubicBezTo>
                    <a:pt x="28" y="25"/>
                    <a:pt x="28" y="25"/>
                    <a:pt x="28" y="25"/>
                  </a:cubicBezTo>
                  <a:cubicBezTo>
                    <a:pt x="28" y="25"/>
                    <a:pt x="27" y="26"/>
                    <a:pt x="27" y="26"/>
                  </a:cubicBezTo>
                  <a:cubicBezTo>
                    <a:pt x="27" y="27"/>
                    <a:pt x="27" y="27"/>
                    <a:pt x="27" y="27"/>
                  </a:cubicBezTo>
                  <a:cubicBezTo>
                    <a:pt x="26" y="27"/>
                    <a:pt x="26" y="27"/>
                    <a:pt x="26" y="28"/>
                  </a:cubicBezTo>
                  <a:cubicBezTo>
                    <a:pt x="25" y="29"/>
                    <a:pt x="25" y="29"/>
                    <a:pt x="25" y="29"/>
                  </a:cubicBezTo>
                  <a:cubicBezTo>
                    <a:pt x="24" y="30"/>
                    <a:pt x="24" y="30"/>
                    <a:pt x="24" y="30"/>
                  </a:cubicBezTo>
                  <a:cubicBezTo>
                    <a:pt x="24" y="30"/>
                    <a:pt x="24" y="30"/>
                    <a:pt x="24" y="31"/>
                  </a:cubicBezTo>
                  <a:cubicBezTo>
                    <a:pt x="24" y="31"/>
                    <a:pt x="24" y="31"/>
                    <a:pt x="23" y="32"/>
                  </a:cubicBezTo>
                  <a:cubicBezTo>
                    <a:pt x="23" y="33"/>
                    <a:pt x="23" y="33"/>
                    <a:pt x="23" y="33"/>
                  </a:cubicBezTo>
                  <a:cubicBezTo>
                    <a:pt x="23" y="37"/>
                    <a:pt x="22" y="41"/>
                    <a:pt x="22" y="44"/>
                  </a:cubicBezTo>
                  <a:cubicBezTo>
                    <a:pt x="22" y="46"/>
                    <a:pt x="22" y="47"/>
                    <a:pt x="22" y="49"/>
                  </a:cubicBezTo>
                  <a:cubicBezTo>
                    <a:pt x="22" y="49"/>
                    <a:pt x="22" y="50"/>
                    <a:pt x="22" y="50"/>
                  </a:cubicBezTo>
                  <a:cubicBezTo>
                    <a:pt x="21" y="50"/>
                    <a:pt x="21" y="50"/>
                    <a:pt x="21" y="50"/>
                  </a:cubicBezTo>
                  <a:cubicBezTo>
                    <a:pt x="21" y="51"/>
                    <a:pt x="21" y="51"/>
                    <a:pt x="21" y="52"/>
                  </a:cubicBezTo>
                  <a:cubicBezTo>
                    <a:pt x="21" y="52"/>
                    <a:pt x="21" y="53"/>
                    <a:pt x="21" y="53"/>
                  </a:cubicBezTo>
                  <a:cubicBezTo>
                    <a:pt x="24" y="54"/>
                    <a:pt x="24" y="54"/>
                    <a:pt x="24" y="54"/>
                  </a:cubicBezTo>
                  <a:cubicBezTo>
                    <a:pt x="20" y="55"/>
                    <a:pt x="20" y="55"/>
                    <a:pt x="20" y="55"/>
                  </a:cubicBezTo>
                  <a:cubicBezTo>
                    <a:pt x="20" y="55"/>
                    <a:pt x="20" y="55"/>
                    <a:pt x="20" y="55"/>
                  </a:cubicBezTo>
                  <a:cubicBezTo>
                    <a:pt x="20" y="56"/>
                    <a:pt x="20" y="57"/>
                    <a:pt x="22" y="59"/>
                  </a:cubicBezTo>
                  <a:cubicBezTo>
                    <a:pt x="23" y="59"/>
                    <a:pt x="23" y="59"/>
                    <a:pt x="23" y="59"/>
                  </a:cubicBezTo>
                  <a:cubicBezTo>
                    <a:pt x="24" y="61"/>
                    <a:pt x="25" y="63"/>
                    <a:pt x="26" y="65"/>
                  </a:cubicBezTo>
                  <a:cubicBezTo>
                    <a:pt x="26" y="65"/>
                    <a:pt x="26" y="66"/>
                    <a:pt x="26" y="67"/>
                  </a:cubicBezTo>
                  <a:cubicBezTo>
                    <a:pt x="27" y="69"/>
                    <a:pt x="27" y="69"/>
                    <a:pt x="27" y="69"/>
                  </a:cubicBezTo>
                  <a:cubicBezTo>
                    <a:pt x="27" y="70"/>
                    <a:pt x="27" y="71"/>
                    <a:pt x="27" y="72"/>
                  </a:cubicBezTo>
                  <a:cubicBezTo>
                    <a:pt x="27" y="73"/>
                    <a:pt x="27" y="73"/>
                    <a:pt x="27" y="73"/>
                  </a:cubicBezTo>
                  <a:cubicBezTo>
                    <a:pt x="27" y="76"/>
                    <a:pt x="26" y="77"/>
                    <a:pt x="25" y="79"/>
                  </a:cubicBezTo>
                  <a:cubicBezTo>
                    <a:pt x="23" y="80"/>
                    <a:pt x="23" y="80"/>
                    <a:pt x="23" y="80"/>
                  </a:cubicBezTo>
                  <a:cubicBezTo>
                    <a:pt x="23" y="81"/>
                    <a:pt x="23" y="81"/>
                    <a:pt x="22" y="81"/>
                  </a:cubicBezTo>
                  <a:cubicBezTo>
                    <a:pt x="22" y="82"/>
                    <a:pt x="22" y="82"/>
                    <a:pt x="22" y="82"/>
                  </a:cubicBezTo>
                  <a:cubicBezTo>
                    <a:pt x="22" y="82"/>
                    <a:pt x="22" y="82"/>
                    <a:pt x="22" y="83"/>
                  </a:cubicBezTo>
                  <a:cubicBezTo>
                    <a:pt x="22" y="84"/>
                    <a:pt x="22" y="84"/>
                    <a:pt x="22" y="85"/>
                  </a:cubicBezTo>
                  <a:cubicBezTo>
                    <a:pt x="23" y="87"/>
                    <a:pt x="22" y="89"/>
                    <a:pt x="20" y="92"/>
                  </a:cubicBezTo>
                  <a:cubicBezTo>
                    <a:pt x="15" y="99"/>
                    <a:pt x="15" y="99"/>
                    <a:pt x="15" y="99"/>
                  </a:cubicBezTo>
                  <a:cubicBezTo>
                    <a:pt x="14" y="100"/>
                    <a:pt x="13" y="102"/>
                    <a:pt x="13" y="102"/>
                  </a:cubicBezTo>
                  <a:cubicBezTo>
                    <a:pt x="12" y="105"/>
                    <a:pt x="11" y="107"/>
                    <a:pt x="11" y="109"/>
                  </a:cubicBezTo>
                  <a:cubicBezTo>
                    <a:pt x="10" y="111"/>
                    <a:pt x="9" y="113"/>
                    <a:pt x="6" y="114"/>
                  </a:cubicBezTo>
                  <a:cubicBezTo>
                    <a:pt x="5" y="114"/>
                    <a:pt x="5" y="114"/>
                    <a:pt x="4" y="114"/>
                  </a:cubicBezTo>
                  <a:cubicBezTo>
                    <a:pt x="4" y="114"/>
                    <a:pt x="3" y="114"/>
                    <a:pt x="2" y="114"/>
                  </a:cubicBezTo>
                  <a:cubicBezTo>
                    <a:pt x="2" y="114"/>
                    <a:pt x="2" y="114"/>
                    <a:pt x="2" y="114"/>
                  </a:cubicBezTo>
                  <a:cubicBezTo>
                    <a:pt x="2" y="114"/>
                    <a:pt x="2" y="114"/>
                    <a:pt x="2" y="114"/>
                  </a:cubicBezTo>
                  <a:cubicBezTo>
                    <a:pt x="2" y="115"/>
                    <a:pt x="2" y="117"/>
                    <a:pt x="2" y="119"/>
                  </a:cubicBezTo>
                  <a:cubicBezTo>
                    <a:pt x="1" y="123"/>
                    <a:pt x="1" y="126"/>
                    <a:pt x="1" y="130"/>
                  </a:cubicBezTo>
                  <a:cubicBezTo>
                    <a:pt x="1" y="131"/>
                    <a:pt x="1" y="132"/>
                    <a:pt x="1" y="133"/>
                  </a:cubicBezTo>
                  <a:cubicBezTo>
                    <a:pt x="0" y="137"/>
                    <a:pt x="0" y="138"/>
                    <a:pt x="0" y="138"/>
                  </a:cubicBezTo>
                  <a:cubicBezTo>
                    <a:pt x="1" y="139"/>
                    <a:pt x="1" y="139"/>
                    <a:pt x="1" y="139"/>
                  </a:cubicBezTo>
                  <a:cubicBezTo>
                    <a:pt x="1" y="140"/>
                    <a:pt x="1" y="140"/>
                    <a:pt x="1" y="140"/>
                  </a:cubicBezTo>
                  <a:cubicBezTo>
                    <a:pt x="1" y="143"/>
                    <a:pt x="1" y="145"/>
                    <a:pt x="2" y="148"/>
                  </a:cubicBezTo>
                  <a:cubicBezTo>
                    <a:pt x="2" y="149"/>
                    <a:pt x="2" y="150"/>
                    <a:pt x="2" y="152"/>
                  </a:cubicBezTo>
                  <a:cubicBezTo>
                    <a:pt x="2" y="155"/>
                    <a:pt x="2" y="157"/>
                    <a:pt x="2" y="160"/>
                  </a:cubicBezTo>
                  <a:cubicBezTo>
                    <a:pt x="1" y="161"/>
                    <a:pt x="2" y="162"/>
                    <a:pt x="2" y="163"/>
                  </a:cubicBezTo>
                  <a:cubicBezTo>
                    <a:pt x="2" y="165"/>
                    <a:pt x="3" y="167"/>
                    <a:pt x="2" y="169"/>
                  </a:cubicBezTo>
                  <a:cubicBezTo>
                    <a:pt x="2" y="171"/>
                    <a:pt x="1" y="174"/>
                    <a:pt x="1" y="176"/>
                  </a:cubicBezTo>
                  <a:cubicBezTo>
                    <a:pt x="3" y="176"/>
                    <a:pt x="4" y="176"/>
                    <a:pt x="5" y="176"/>
                  </a:cubicBezTo>
                  <a:cubicBezTo>
                    <a:pt x="6" y="176"/>
                    <a:pt x="6" y="176"/>
                    <a:pt x="7" y="176"/>
                  </a:cubicBezTo>
                  <a:cubicBezTo>
                    <a:pt x="6" y="175"/>
                    <a:pt x="6" y="174"/>
                    <a:pt x="6" y="174"/>
                  </a:cubicBezTo>
                  <a:cubicBezTo>
                    <a:pt x="6" y="170"/>
                    <a:pt x="9" y="167"/>
                    <a:pt x="13" y="167"/>
                  </a:cubicBezTo>
                  <a:cubicBezTo>
                    <a:pt x="16" y="167"/>
                    <a:pt x="18" y="169"/>
                    <a:pt x="19" y="172"/>
                  </a:cubicBezTo>
                  <a:cubicBezTo>
                    <a:pt x="20" y="171"/>
                    <a:pt x="22" y="170"/>
                    <a:pt x="24" y="170"/>
                  </a:cubicBezTo>
                  <a:cubicBezTo>
                    <a:pt x="24" y="170"/>
                    <a:pt x="25" y="170"/>
                    <a:pt x="25" y="170"/>
                  </a:cubicBezTo>
                  <a:cubicBezTo>
                    <a:pt x="25" y="170"/>
                    <a:pt x="25" y="170"/>
                    <a:pt x="25" y="170"/>
                  </a:cubicBezTo>
                  <a:cubicBezTo>
                    <a:pt x="23" y="170"/>
                    <a:pt x="22" y="171"/>
                    <a:pt x="21" y="172"/>
                  </a:cubicBezTo>
                  <a:cubicBezTo>
                    <a:pt x="20" y="172"/>
                    <a:pt x="19" y="172"/>
                    <a:pt x="19" y="172"/>
                  </a:cubicBezTo>
                  <a:cubicBezTo>
                    <a:pt x="19" y="173"/>
                    <a:pt x="19" y="173"/>
                    <a:pt x="19" y="173"/>
                  </a:cubicBezTo>
                  <a:cubicBezTo>
                    <a:pt x="21" y="174"/>
                    <a:pt x="26" y="174"/>
                    <a:pt x="26" y="174"/>
                  </a:cubicBezTo>
                  <a:cubicBezTo>
                    <a:pt x="30" y="175"/>
                    <a:pt x="34" y="175"/>
                    <a:pt x="37" y="176"/>
                  </a:cubicBezTo>
                  <a:cubicBezTo>
                    <a:pt x="41" y="177"/>
                    <a:pt x="43" y="180"/>
                    <a:pt x="46" y="182"/>
                  </a:cubicBezTo>
                  <a:cubicBezTo>
                    <a:pt x="47" y="184"/>
                    <a:pt x="49" y="185"/>
                    <a:pt x="51" y="187"/>
                  </a:cubicBezTo>
                  <a:cubicBezTo>
                    <a:pt x="52" y="187"/>
                    <a:pt x="53" y="189"/>
                    <a:pt x="53" y="189"/>
                  </a:cubicBezTo>
                  <a:cubicBezTo>
                    <a:pt x="53" y="189"/>
                    <a:pt x="53" y="189"/>
                    <a:pt x="53" y="189"/>
                  </a:cubicBezTo>
                  <a:cubicBezTo>
                    <a:pt x="55" y="189"/>
                    <a:pt x="57" y="187"/>
                    <a:pt x="59" y="186"/>
                  </a:cubicBezTo>
                  <a:cubicBezTo>
                    <a:pt x="57" y="187"/>
                    <a:pt x="56" y="188"/>
                    <a:pt x="55" y="189"/>
                  </a:cubicBezTo>
                  <a:cubicBezTo>
                    <a:pt x="55" y="189"/>
                    <a:pt x="55" y="189"/>
                    <a:pt x="55" y="189"/>
                  </a:cubicBezTo>
                  <a:cubicBezTo>
                    <a:pt x="54" y="189"/>
                    <a:pt x="54" y="190"/>
                    <a:pt x="54" y="191"/>
                  </a:cubicBezTo>
                  <a:cubicBezTo>
                    <a:pt x="55" y="192"/>
                    <a:pt x="56" y="193"/>
                    <a:pt x="57" y="193"/>
                  </a:cubicBezTo>
                  <a:cubicBezTo>
                    <a:pt x="59" y="193"/>
                    <a:pt x="60" y="192"/>
                    <a:pt x="60" y="191"/>
                  </a:cubicBezTo>
                  <a:cubicBezTo>
                    <a:pt x="61" y="192"/>
                    <a:pt x="62" y="193"/>
                    <a:pt x="63" y="193"/>
                  </a:cubicBezTo>
                  <a:cubicBezTo>
                    <a:pt x="61" y="194"/>
                    <a:pt x="59" y="193"/>
                    <a:pt x="58" y="194"/>
                  </a:cubicBezTo>
                  <a:cubicBezTo>
                    <a:pt x="57" y="194"/>
                    <a:pt x="56" y="194"/>
                    <a:pt x="57" y="195"/>
                  </a:cubicBezTo>
                  <a:cubicBezTo>
                    <a:pt x="59" y="197"/>
                    <a:pt x="60" y="198"/>
                    <a:pt x="61" y="198"/>
                  </a:cubicBezTo>
                  <a:cubicBezTo>
                    <a:pt x="62" y="198"/>
                    <a:pt x="63" y="197"/>
                    <a:pt x="65" y="196"/>
                  </a:cubicBezTo>
                  <a:cubicBezTo>
                    <a:pt x="65" y="197"/>
                    <a:pt x="65" y="198"/>
                    <a:pt x="65" y="199"/>
                  </a:cubicBezTo>
                  <a:cubicBezTo>
                    <a:pt x="65" y="199"/>
                    <a:pt x="65" y="199"/>
                    <a:pt x="65" y="199"/>
                  </a:cubicBezTo>
                  <a:cubicBezTo>
                    <a:pt x="61" y="199"/>
                    <a:pt x="63" y="208"/>
                    <a:pt x="64" y="210"/>
                  </a:cubicBezTo>
                  <a:cubicBezTo>
                    <a:pt x="65" y="214"/>
                    <a:pt x="65" y="216"/>
                    <a:pt x="68" y="218"/>
                  </a:cubicBezTo>
                  <a:cubicBezTo>
                    <a:pt x="71" y="221"/>
                    <a:pt x="75" y="225"/>
                    <a:pt x="79" y="225"/>
                  </a:cubicBezTo>
                  <a:cubicBezTo>
                    <a:pt x="79" y="225"/>
                    <a:pt x="80" y="225"/>
                    <a:pt x="80" y="225"/>
                  </a:cubicBezTo>
                  <a:cubicBezTo>
                    <a:pt x="80" y="223"/>
                    <a:pt x="81" y="222"/>
                    <a:pt x="83" y="221"/>
                  </a:cubicBezTo>
                  <a:cubicBezTo>
                    <a:pt x="82" y="222"/>
                    <a:pt x="82" y="223"/>
                    <a:pt x="82" y="224"/>
                  </a:cubicBezTo>
                  <a:cubicBezTo>
                    <a:pt x="82" y="224"/>
                    <a:pt x="83" y="224"/>
                    <a:pt x="83" y="224"/>
                  </a:cubicBezTo>
                  <a:cubicBezTo>
                    <a:pt x="83" y="224"/>
                    <a:pt x="84" y="224"/>
                    <a:pt x="84" y="224"/>
                  </a:cubicBezTo>
                  <a:cubicBezTo>
                    <a:pt x="84" y="224"/>
                    <a:pt x="84" y="224"/>
                    <a:pt x="85" y="224"/>
                  </a:cubicBezTo>
                  <a:cubicBezTo>
                    <a:pt x="88" y="224"/>
                    <a:pt x="87" y="222"/>
                    <a:pt x="89" y="219"/>
                  </a:cubicBezTo>
                  <a:cubicBezTo>
                    <a:pt x="90" y="221"/>
                    <a:pt x="90" y="222"/>
                    <a:pt x="92" y="223"/>
                  </a:cubicBezTo>
                  <a:cubicBezTo>
                    <a:pt x="91" y="221"/>
                    <a:pt x="92" y="219"/>
                    <a:pt x="93" y="217"/>
                  </a:cubicBezTo>
                  <a:cubicBezTo>
                    <a:pt x="93" y="220"/>
                    <a:pt x="91" y="221"/>
                    <a:pt x="96" y="223"/>
                  </a:cubicBezTo>
                  <a:cubicBezTo>
                    <a:pt x="95" y="222"/>
                    <a:pt x="94" y="220"/>
                    <a:pt x="94" y="219"/>
                  </a:cubicBezTo>
                  <a:cubicBezTo>
                    <a:pt x="94" y="218"/>
                    <a:pt x="94" y="217"/>
                    <a:pt x="94" y="216"/>
                  </a:cubicBezTo>
                  <a:cubicBezTo>
                    <a:pt x="94" y="215"/>
                    <a:pt x="93" y="213"/>
                    <a:pt x="93" y="212"/>
                  </a:cubicBezTo>
                  <a:cubicBezTo>
                    <a:pt x="93" y="212"/>
                    <a:pt x="95" y="215"/>
                    <a:pt x="95" y="216"/>
                  </a:cubicBezTo>
                  <a:cubicBezTo>
                    <a:pt x="96" y="219"/>
                    <a:pt x="94" y="221"/>
                    <a:pt x="100" y="222"/>
                  </a:cubicBezTo>
                  <a:cubicBezTo>
                    <a:pt x="98" y="220"/>
                    <a:pt x="99" y="218"/>
                    <a:pt x="97" y="216"/>
                  </a:cubicBezTo>
                  <a:cubicBezTo>
                    <a:pt x="97" y="216"/>
                    <a:pt x="98" y="216"/>
                    <a:pt x="98" y="217"/>
                  </a:cubicBezTo>
                  <a:cubicBezTo>
                    <a:pt x="98" y="216"/>
                    <a:pt x="98" y="215"/>
                    <a:pt x="98" y="214"/>
                  </a:cubicBezTo>
                  <a:cubicBezTo>
                    <a:pt x="100" y="215"/>
                    <a:pt x="99" y="216"/>
                    <a:pt x="100" y="217"/>
                  </a:cubicBezTo>
                  <a:cubicBezTo>
                    <a:pt x="100" y="217"/>
                    <a:pt x="99" y="218"/>
                    <a:pt x="99" y="218"/>
                  </a:cubicBezTo>
                  <a:cubicBezTo>
                    <a:pt x="99" y="219"/>
                    <a:pt x="102" y="220"/>
                    <a:pt x="103" y="220"/>
                  </a:cubicBezTo>
                  <a:cubicBezTo>
                    <a:pt x="103" y="220"/>
                    <a:pt x="103" y="220"/>
                    <a:pt x="103" y="220"/>
                  </a:cubicBezTo>
                  <a:cubicBezTo>
                    <a:pt x="104" y="219"/>
                    <a:pt x="102" y="217"/>
                    <a:pt x="101" y="215"/>
                  </a:cubicBezTo>
                  <a:cubicBezTo>
                    <a:pt x="101" y="215"/>
                    <a:pt x="101" y="215"/>
                    <a:pt x="101" y="215"/>
                  </a:cubicBezTo>
                  <a:cubicBezTo>
                    <a:pt x="101" y="215"/>
                    <a:pt x="101" y="215"/>
                    <a:pt x="101" y="215"/>
                  </a:cubicBezTo>
                  <a:cubicBezTo>
                    <a:pt x="101" y="215"/>
                    <a:pt x="101" y="215"/>
                    <a:pt x="101" y="215"/>
                  </a:cubicBezTo>
                  <a:cubicBezTo>
                    <a:pt x="102" y="215"/>
                    <a:pt x="102" y="215"/>
                    <a:pt x="103" y="216"/>
                  </a:cubicBezTo>
                  <a:cubicBezTo>
                    <a:pt x="104" y="216"/>
                    <a:pt x="105" y="217"/>
                    <a:pt x="107" y="218"/>
                  </a:cubicBezTo>
                  <a:cubicBezTo>
                    <a:pt x="108" y="218"/>
                    <a:pt x="109" y="218"/>
                    <a:pt x="109" y="218"/>
                  </a:cubicBezTo>
                  <a:cubicBezTo>
                    <a:pt x="111" y="218"/>
                    <a:pt x="111" y="217"/>
                    <a:pt x="112" y="215"/>
                  </a:cubicBezTo>
                  <a:cubicBezTo>
                    <a:pt x="113" y="216"/>
                    <a:pt x="114" y="220"/>
                    <a:pt x="116" y="220"/>
                  </a:cubicBezTo>
                  <a:cubicBezTo>
                    <a:pt x="116" y="220"/>
                    <a:pt x="116" y="220"/>
                    <a:pt x="117" y="219"/>
                  </a:cubicBezTo>
                  <a:cubicBezTo>
                    <a:pt x="116" y="219"/>
                    <a:pt x="116" y="219"/>
                    <a:pt x="116" y="219"/>
                  </a:cubicBezTo>
                  <a:cubicBezTo>
                    <a:pt x="117" y="219"/>
                    <a:pt x="119" y="219"/>
                    <a:pt x="121" y="219"/>
                  </a:cubicBezTo>
                  <a:cubicBezTo>
                    <a:pt x="125" y="219"/>
                    <a:pt x="129" y="219"/>
                    <a:pt x="130" y="217"/>
                  </a:cubicBezTo>
                  <a:cubicBezTo>
                    <a:pt x="132" y="215"/>
                    <a:pt x="128" y="211"/>
                    <a:pt x="127" y="208"/>
                  </a:cubicBezTo>
                  <a:cubicBezTo>
                    <a:pt x="128" y="209"/>
                    <a:pt x="130" y="212"/>
                    <a:pt x="132" y="213"/>
                  </a:cubicBezTo>
                  <a:cubicBezTo>
                    <a:pt x="132" y="213"/>
                    <a:pt x="132" y="213"/>
                    <a:pt x="132" y="213"/>
                  </a:cubicBezTo>
                  <a:cubicBezTo>
                    <a:pt x="133" y="212"/>
                    <a:pt x="133" y="212"/>
                    <a:pt x="133" y="212"/>
                  </a:cubicBezTo>
                  <a:cubicBezTo>
                    <a:pt x="133" y="212"/>
                    <a:pt x="133" y="212"/>
                    <a:pt x="133" y="212"/>
                  </a:cubicBezTo>
                  <a:cubicBezTo>
                    <a:pt x="133" y="212"/>
                    <a:pt x="134" y="211"/>
                    <a:pt x="134" y="211"/>
                  </a:cubicBezTo>
                  <a:cubicBezTo>
                    <a:pt x="134" y="209"/>
                    <a:pt x="135" y="208"/>
                    <a:pt x="136" y="206"/>
                  </a:cubicBezTo>
                  <a:cubicBezTo>
                    <a:pt x="137" y="205"/>
                    <a:pt x="137" y="204"/>
                    <a:pt x="138" y="203"/>
                  </a:cubicBezTo>
                  <a:cubicBezTo>
                    <a:pt x="138" y="201"/>
                    <a:pt x="138" y="201"/>
                    <a:pt x="138" y="201"/>
                  </a:cubicBezTo>
                  <a:cubicBezTo>
                    <a:pt x="139" y="200"/>
                    <a:pt x="139" y="199"/>
                    <a:pt x="139" y="199"/>
                  </a:cubicBezTo>
                  <a:cubicBezTo>
                    <a:pt x="139" y="198"/>
                    <a:pt x="139" y="196"/>
                    <a:pt x="139" y="195"/>
                  </a:cubicBezTo>
                  <a:cubicBezTo>
                    <a:pt x="139" y="192"/>
                    <a:pt x="139" y="189"/>
                    <a:pt x="140" y="186"/>
                  </a:cubicBezTo>
                  <a:cubicBezTo>
                    <a:pt x="141" y="185"/>
                    <a:pt x="142" y="185"/>
                    <a:pt x="143" y="184"/>
                  </a:cubicBezTo>
                  <a:cubicBezTo>
                    <a:pt x="143" y="184"/>
                    <a:pt x="144" y="184"/>
                    <a:pt x="144" y="184"/>
                  </a:cubicBezTo>
                  <a:cubicBezTo>
                    <a:pt x="145" y="183"/>
                    <a:pt x="146" y="183"/>
                    <a:pt x="146" y="182"/>
                  </a:cubicBezTo>
                  <a:cubicBezTo>
                    <a:pt x="154" y="174"/>
                    <a:pt x="154" y="174"/>
                    <a:pt x="154" y="174"/>
                  </a:cubicBezTo>
                  <a:cubicBezTo>
                    <a:pt x="155" y="172"/>
                    <a:pt x="157" y="171"/>
                    <a:pt x="158" y="170"/>
                  </a:cubicBezTo>
                  <a:cubicBezTo>
                    <a:pt x="159" y="170"/>
                    <a:pt x="159" y="170"/>
                    <a:pt x="159" y="170"/>
                  </a:cubicBezTo>
                  <a:cubicBezTo>
                    <a:pt x="160" y="169"/>
                    <a:pt x="160" y="169"/>
                    <a:pt x="161" y="169"/>
                  </a:cubicBezTo>
                  <a:cubicBezTo>
                    <a:pt x="161" y="169"/>
                    <a:pt x="161" y="169"/>
                    <a:pt x="161" y="169"/>
                  </a:cubicBezTo>
                  <a:cubicBezTo>
                    <a:pt x="161" y="168"/>
                    <a:pt x="161" y="167"/>
                    <a:pt x="162" y="167"/>
                  </a:cubicBezTo>
                  <a:cubicBezTo>
                    <a:pt x="162" y="166"/>
                    <a:pt x="162" y="166"/>
                    <a:pt x="162" y="166"/>
                  </a:cubicBezTo>
                  <a:cubicBezTo>
                    <a:pt x="163" y="166"/>
                    <a:pt x="163" y="165"/>
                    <a:pt x="164" y="164"/>
                  </a:cubicBezTo>
                  <a:cubicBezTo>
                    <a:pt x="167" y="161"/>
                    <a:pt x="170" y="158"/>
                    <a:pt x="173" y="158"/>
                  </a:cubicBezTo>
                  <a:cubicBezTo>
                    <a:pt x="173" y="158"/>
                    <a:pt x="173" y="157"/>
                    <a:pt x="174" y="157"/>
                  </a:cubicBezTo>
                  <a:cubicBezTo>
                    <a:pt x="176" y="157"/>
                    <a:pt x="178" y="159"/>
                    <a:pt x="179" y="160"/>
                  </a:cubicBezTo>
                  <a:cubicBezTo>
                    <a:pt x="180" y="160"/>
                    <a:pt x="180" y="160"/>
                    <a:pt x="180" y="160"/>
                  </a:cubicBezTo>
                  <a:cubicBezTo>
                    <a:pt x="180" y="159"/>
                    <a:pt x="180" y="159"/>
                    <a:pt x="180" y="159"/>
                  </a:cubicBezTo>
                  <a:cubicBezTo>
                    <a:pt x="180" y="159"/>
                    <a:pt x="180" y="158"/>
                    <a:pt x="180" y="158"/>
                  </a:cubicBezTo>
                  <a:cubicBezTo>
                    <a:pt x="182" y="153"/>
                    <a:pt x="182" y="153"/>
                    <a:pt x="182" y="153"/>
                  </a:cubicBezTo>
                  <a:cubicBezTo>
                    <a:pt x="185" y="155"/>
                    <a:pt x="185" y="155"/>
                    <a:pt x="185" y="155"/>
                  </a:cubicBezTo>
                  <a:cubicBezTo>
                    <a:pt x="189" y="157"/>
                    <a:pt x="192" y="160"/>
                    <a:pt x="194" y="163"/>
                  </a:cubicBezTo>
                  <a:cubicBezTo>
                    <a:pt x="199" y="171"/>
                    <a:pt x="199" y="171"/>
                    <a:pt x="199" y="171"/>
                  </a:cubicBezTo>
                  <a:cubicBezTo>
                    <a:pt x="199" y="170"/>
                    <a:pt x="200" y="170"/>
                    <a:pt x="200" y="170"/>
                  </a:cubicBezTo>
                  <a:cubicBezTo>
                    <a:pt x="200" y="170"/>
                    <a:pt x="200" y="170"/>
                    <a:pt x="200" y="170"/>
                  </a:cubicBezTo>
                  <a:cubicBezTo>
                    <a:pt x="201" y="170"/>
                    <a:pt x="201" y="170"/>
                    <a:pt x="202" y="170"/>
                  </a:cubicBezTo>
                  <a:cubicBezTo>
                    <a:pt x="202" y="169"/>
                    <a:pt x="204" y="166"/>
                    <a:pt x="205" y="165"/>
                  </a:cubicBezTo>
                  <a:cubicBezTo>
                    <a:pt x="206" y="162"/>
                    <a:pt x="208" y="159"/>
                    <a:pt x="210" y="157"/>
                  </a:cubicBezTo>
                  <a:cubicBezTo>
                    <a:pt x="209" y="156"/>
                    <a:pt x="209" y="155"/>
                    <a:pt x="209" y="153"/>
                  </a:cubicBezTo>
                  <a:cubicBezTo>
                    <a:pt x="210" y="151"/>
                    <a:pt x="210" y="151"/>
                    <a:pt x="210" y="151"/>
                  </a:cubicBezTo>
                  <a:cubicBezTo>
                    <a:pt x="211" y="148"/>
                    <a:pt x="212" y="147"/>
                    <a:pt x="213" y="145"/>
                  </a:cubicBezTo>
                  <a:cubicBezTo>
                    <a:pt x="219" y="133"/>
                    <a:pt x="219" y="133"/>
                    <a:pt x="219" y="133"/>
                  </a:cubicBezTo>
                  <a:cubicBezTo>
                    <a:pt x="219" y="133"/>
                    <a:pt x="219" y="132"/>
                    <a:pt x="219" y="131"/>
                  </a:cubicBezTo>
                  <a:cubicBezTo>
                    <a:pt x="219" y="130"/>
                    <a:pt x="219" y="129"/>
                    <a:pt x="220" y="127"/>
                  </a:cubicBezTo>
                  <a:cubicBezTo>
                    <a:pt x="220" y="126"/>
                    <a:pt x="220" y="126"/>
                    <a:pt x="220" y="126"/>
                  </a:cubicBezTo>
                  <a:cubicBezTo>
                    <a:pt x="220" y="126"/>
                    <a:pt x="220" y="126"/>
                    <a:pt x="220" y="126"/>
                  </a:cubicBezTo>
                  <a:cubicBezTo>
                    <a:pt x="222" y="123"/>
                    <a:pt x="225" y="122"/>
                    <a:pt x="227" y="120"/>
                  </a:cubicBezTo>
                  <a:cubicBezTo>
                    <a:pt x="229" y="119"/>
                    <a:pt x="231" y="119"/>
                    <a:pt x="232" y="118"/>
                  </a:cubicBezTo>
                  <a:cubicBezTo>
                    <a:pt x="232" y="117"/>
                    <a:pt x="232" y="117"/>
                    <a:pt x="233" y="116"/>
                  </a:cubicBezTo>
                  <a:cubicBezTo>
                    <a:pt x="233" y="115"/>
                    <a:pt x="234" y="113"/>
                    <a:pt x="234" y="111"/>
                  </a:cubicBezTo>
                  <a:cubicBezTo>
                    <a:pt x="234" y="109"/>
                    <a:pt x="235" y="107"/>
                    <a:pt x="235" y="105"/>
                  </a:cubicBezTo>
                  <a:cubicBezTo>
                    <a:pt x="235" y="104"/>
                    <a:pt x="237" y="102"/>
                    <a:pt x="238" y="100"/>
                  </a:cubicBezTo>
                  <a:cubicBezTo>
                    <a:pt x="239" y="100"/>
                    <a:pt x="239" y="100"/>
                    <a:pt x="240" y="99"/>
                  </a:cubicBezTo>
                  <a:cubicBezTo>
                    <a:pt x="240" y="99"/>
                    <a:pt x="240" y="99"/>
                    <a:pt x="241" y="98"/>
                  </a:cubicBezTo>
                  <a:cubicBezTo>
                    <a:pt x="242" y="98"/>
                    <a:pt x="242" y="98"/>
                    <a:pt x="243" y="98"/>
                  </a:cubicBezTo>
                  <a:cubicBezTo>
                    <a:pt x="243" y="97"/>
                    <a:pt x="243" y="96"/>
                    <a:pt x="243" y="95"/>
                  </a:cubicBezTo>
                  <a:cubicBezTo>
                    <a:pt x="243" y="94"/>
                    <a:pt x="243" y="94"/>
                    <a:pt x="243" y="94"/>
                  </a:cubicBezTo>
                  <a:cubicBezTo>
                    <a:pt x="243" y="94"/>
                    <a:pt x="243" y="93"/>
                    <a:pt x="243" y="92"/>
                  </a:cubicBezTo>
                  <a:cubicBezTo>
                    <a:pt x="243" y="92"/>
                    <a:pt x="243" y="92"/>
                    <a:pt x="243" y="92"/>
                  </a:cubicBezTo>
                  <a:cubicBezTo>
                    <a:pt x="243" y="91"/>
                    <a:pt x="243" y="91"/>
                    <a:pt x="243" y="91"/>
                  </a:cubicBezTo>
                  <a:cubicBezTo>
                    <a:pt x="244" y="89"/>
                    <a:pt x="245" y="87"/>
                    <a:pt x="246" y="86"/>
                  </a:cubicBezTo>
                  <a:cubicBezTo>
                    <a:pt x="247" y="85"/>
                    <a:pt x="247" y="85"/>
                    <a:pt x="247" y="84"/>
                  </a:cubicBezTo>
                  <a:cubicBezTo>
                    <a:pt x="248" y="83"/>
                    <a:pt x="248" y="82"/>
                    <a:pt x="249" y="80"/>
                  </a:cubicBezTo>
                  <a:cubicBezTo>
                    <a:pt x="249" y="79"/>
                    <a:pt x="249" y="79"/>
                    <a:pt x="249" y="79"/>
                  </a:cubicBezTo>
                  <a:cubicBezTo>
                    <a:pt x="249" y="78"/>
                    <a:pt x="250" y="76"/>
                    <a:pt x="250" y="75"/>
                  </a:cubicBezTo>
                  <a:cubicBezTo>
                    <a:pt x="251" y="73"/>
                    <a:pt x="251" y="73"/>
                    <a:pt x="251" y="73"/>
                  </a:cubicBezTo>
                  <a:cubicBezTo>
                    <a:pt x="251" y="71"/>
                    <a:pt x="252" y="70"/>
                    <a:pt x="253" y="68"/>
                  </a:cubicBezTo>
                  <a:cubicBezTo>
                    <a:pt x="254" y="68"/>
                    <a:pt x="254" y="67"/>
                    <a:pt x="255" y="67"/>
                  </a:cubicBezTo>
                  <a:cubicBezTo>
                    <a:pt x="250" y="64"/>
                    <a:pt x="250" y="64"/>
                    <a:pt x="250" y="64"/>
                  </a:cubicBezTo>
                  <a:cubicBezTo>
                    <a:pt x="256" y="66"/>
                    <a:pt x="256" y="66"/>
                    <a:pt x="256" y="66"/>
                  </a:cubicBezTo>
                  <a:cubicBezTo>
                    <a:pt x="256" y="66"/>
                    <a:pt x="256" y="66"/>
                    <a:pt x="256" y="66"/>
                  </a:cubicBezTo>
                  <a:cubicBezTo>
                    <a:pt x="256" y="65"/>
                    <a:pt x="256" y="65"/>
                    <a:pt x="256" y="65"/>
                  </a:cubicBezTo>
                  <a:cubicBezTo>
                    <a:pt x="257" y="64"/>
                    <a:pt x="257" y="64"/>
                    <a:pt x="257" y="64"/>
                  </a:cubicBezTo>
                  <a:cubicBezTo>
                    <a:pt x="257" y="63"/>
                    <a:pt x="257" y="62"/>
                    <a:pt x="258" y="61"/>
                  </a:cubicBezTo>
                  <a:cubicBezTo>
                    <a:pt x="259" y="60"/>
                    <a:pt x="259" y="59"/>
                    <a:pt x="260" y="58"/>
                  </a:cubicBezTo>
                  <a:cubicBezTo>
                    <a:pt x="261" y="58"/>
                    <a:pt x="261" y="58"/>
                    <a:pt x="261" y="58"/>
                  </a:cubicBezTo>
                  <a:cubicBezTo>
                    <a:pt x="262" y="57"/>
                    <a:pt x="262" y="57"/>
                    <a:pt x="262" y="57"/>
                  </a:cubicBezTo>
                  <a:cubicBezTo>
                    <a:pt x="263" y="57"/>
                    <a:pt x="263" y="56"/>
                    <a:pt x="264" y="56"/>
                  </a:cubicBezTo>
                  <a:cubicBezTo>
                    <a:pt x="264" y="56"/>
                    <a:pt x="265" y="56"/>
                    <a:pt x="265" y="56"/>
                  </a:cubicBezTo>
                  <a:cubicBezTo>
                    <a:pt x="266" y="56"/>
                    <a:pt x="267" y="56"/>
                    <a:pt x="267" y="57"/>
                  </a:cubicBezTo>
                  <a:cubicBezTo>
                    <a:pt x="268" y="56"/>
                    <a:pt x="268" y="56"/>
                    <a:pt x="268" y="56"/>
                  </a:cubicBezTo>
                  <a:cubicBezTo>
                    <a:pt x="270" y="55"/>
                    <a:pt x="270" y="55"/>
                    <a:pt x="270" y="55"/>
                  </a:cubicBezTo>
                  <a:cubicBezTo>
                    <a:pt x="271" y="55"/>
                    <a:pt x="272" y="54"/>
                    <a:pt x="273" y="54"/>
                  </a:cubicBezTo>
                  <a:cubicBezTo>
                    <a:pt x="273" y="53"/>
                    <a:pt x="273" y="53"/>
                    <a:pt x="273" y="53"/>
                  </a:cubicBezTo>
                  <a:cubicBezTo>
                    <a:pt x="274" y="53"/>
                    <a:pt x="275" y="52"/>
                    <a:pt x="275" y="52"/>
                  </a:cubicBezTo>
                  <a:cubicBezTo>
                    <a:pt x="276" y="51"/>
                    <a:pt x="276" y="51"/>
                    <a:pt x="276" y="50"/>
                  </a:cubicBezTo>
                  <a:cubicBezTo>
                    <a:pt x="275" y="48"/>
                    <a:pt x="276" y="47"/>
                    <a:pt x="276" y="45"/>
                  </a:cubicBezTo>
                  <a:cubicBezTo>
                    <a:pt x="276" y="43"/>
                    <a:pt x="276" y="43"/>
                    <a:pt x="276" y="43"/>
                  </a:cubicBezTo>
                  <a:cubicBezTo>
                    <a:pt x="276" y="43"/>
                    <a:pt x="276" y="43"/>
                    <a:pt x="276" y="42"/>
                  </a:cubicBezTo>
                  <a:cubicBezTo>
                    <a:pt x="276" y="41"/>
                    <a:pt x="276" y="40"/>
                    <a:pt x="275" y="39"/>
                  </a:cubicBezTo>
                  <a:cubicBezTo>
                    <a:pt x="275" y="39"/>
                    <a:pt x="275" y="39"/>
                    <a:pt x="275" y="39"/>
                  </a:cubicBezTo>
                  <a:cubicBezTo>
                    <a:pt x="275" y="38"/>
                    <a:pt x="274" y="37"/>
                    <a:pt x="273" y="37"/>
                  </a:cubicBezTo>
                  <a:cubicBezTo>
                    <a:pt x="273" y="37"/>
                    <a:pt x="273" y="37"/>
                    <a:pt x="272" y="36"/>
                  </a:cubicBezTo>
                  <a:cubicBezTo>
                    <a:pt x="271" y="36"/>
                    <a:pt x="271" y="36"/>
                    <a:pt x="271" y="36"/>
                  </a:cubicBezTo>
                  <a:cubicBezTo>
                    <a:pt x="268" y="35"/>
                    <a:pt x="266" y="34"/>
                    <a:pt x="265" y="31"/>
                  </a:cubicBezTo>
                  <a:cubicBezTo>
                    <a:pt x="265" y="30"/>
                    <a:pt x="265" y="30"/>
                    <a:pt x="265" y="29"/>
                  </a:cubicBezTo>
                  <a:cubicBezTo>
                    <a:pt x="263" y="17"/>
                    <a:pt x="263" y="17"/>
                    <a:pt x="263" y="17"/>
                  </a:cubicBezTo>
                  <a:cubicBezTo>
                    <a:pt x="257" y="9"/>
                    <a:pt x="257" y="9"/>
                    <a:pt x="257" y="9"/>
                  </a:cubicBezTo>
                  <a:cubicBezTo>
                    <a:pt x="257" y="9"/>
                    <a:pt x="256" y="8"/>
                    <a:pt x="256" y="7"/>
                  </a:cubicBezTo>
                  <a:cubicBezTo>
                    <a:pt x="255" y="6"/>
                    <a:pt x="255" y="6"/>
                    <a:pt x="254" y="5"/>
                  </a:cubicBezTo>
                  <a:cubicBezTo>
                    <a:pt x="254" y="4"/>
                    <a:pt x="254" y="4"/>
                    <a:pt x="254" y="4"/>
                  </a:cubicBezTo>
                  <a:cubicBezTo>
                    <a:pt x="253" y="4"/>
                    <a:pt x="253" y="4"/>
                    <a:pt x="253" y="4"/>
                  </a:cubicBezTo>
                  <a:cubicBezTo>
                    <a:pt x="253" y="4"/>
                    <a:pt x="253" y="4"/>
                    <a:pt x="253" y="4"/>
                  </a:cubicBezTo>
                  <a:cubicBezTo>
                    <a:pt x="252" y="4"/>
                    <a:pt x="252" y="4"/>
                    <a:pt x="252" y="4"/>
                  </a:cubicBezTo>
                  <a:cubicBezTo>
                    <a:pt x="252" y="4"/>
                    <a:pt x="251" y="4"/>
                    <a:pt x="250" y="4"/>
                  </a:cubicBezTo>
                  <a:cubicBezTo>
                    <a:pt x="250" y="4"/>
                    <a:pt x="250" y="4"/>
                    <a:pt x="250" y="4"/>
                  </a:cubicBezTo>
                  <a:cubicBezTo>
                    <a:pt x="249" y="4"/>
                    <a:pt x="249" y="4"/>
                    <a:pt x="248" y="4"/>
                  </a:cubicBezTo>
                  <a:cubicBezTo>
                    <a:pt x="247" y="4"/>
                    <a:pt x="246" y="5"/>
                    <a:pt x="245" y="6"/>
                  </a:cubicBezTo>
                  <a:cubicBezTo>
                    <a:pt x="244" y="6"/>
                    <a:pt x="244" y="6"/>
                    <a:pt x="244" y="6"/>
                  </a:cubicBezTo>
                  <a:cubicBezTo>
                    <a:pt x="243" y="6"/>
                    <a:pt x="243" y="6"/>
                    <a:pt x="243" y="6"/>
                  </a:cubicBezTo>
                  <a:cubicBezTo>
                    <a:pt x="242" y="7"/>
                    <a:pt x="241" y="7"/>
                    <a:pt x="241" y="8"/>
                  </a:cubicBezTo>
                  <a:cubicBezTo>
                    <a:pt x="240" y="8"/>
                    <a:pt x="240" y="8"/>
                    <a:pt x="240" y="8"/>
                  </a:cubicBezTo>
                  <a:cubicBezTo>
                    <a:pt x="239" y="8"/>
                    <a:pt x="239" y="8"/>
                    <a:pt x="239" y="8"/>
                  </a:cubicBezTo>
                  <a:cubicBezTo>
                    <a:pt x="238" y="9"/>
                    <a:pt x="237" y="10"/>
                    <a:pt x="237" y="10"/>
                  </a:cubicBezTo>
                  <a:cubicBezTo>
                    <a:pt x="228" y="18"/>
                    <a:pt x="228" y="18"/>
                    <a:pt x="228" y="18"/>
                  </a:cubicBezTo>
                  <a:cubicBezTo>
                    <a:pt x="227" y="19"/>
                    <a:pt x="227" y="19"/>
                    <a:pt x="226" y="19"/>
                  </a:cubicBezTo>
                  <a:cubicBezTo>
                    <a:pt x="226" y="19"/>
                    <a:pt x="226" y="19"/>
                    <a:pt x="226" y="19"/>
                  </a:cubicBezTo>
                  <a:cubicBezTo>
                    <a:pt x="225" y="19"/>
                    <a:pt x="225" y="19"/>
                    <a:pt x="225" y="19"/>
                  </a:cubicBezTo>
                  <a:cubicBezTo>
                    <a:pt x="207" y="13"/>
                    <a:pt x="207" y="13"/>
                    <a:pt x="207" y="13"/>
                  </a:cubicBezTo>
                  <a:cubicBezTo>
                    <a:pt x="206" y="13"/>
                    <a:pt x="204" y="12"/>
                    <a:pt x="203" y="12"/>
                  </a:cubicBezTo>
                  <a:cubicBezTo>
                    <a:pt x="202" y="12"/>
                    <a:pt x="202" y="12"/>
                    <a:pt x="202" y="12"/>
                  </a:cubicBezTo>
                  <a:cubicBezTo>
                    <a:pt x="201" y="12"/>
                    <a:pt x="199" y="12"/>
                    <a:pt x="197" y="12"/>
                  </a:cubicBezTo>
                  <a:cubicBezTo>
                    <a:pt x="195" y="12"/>
                    <a:pt x="195" y="12"/>
                    <a:pt x="195" y="12"/>
                  </a:cubicBezTo>
                  <a:cubicBezTo>
                    <a:pt x="194" y="12"/>
                    <a:pt x="192" y="12"/>
                    <a:pt x="191" y="12"/>
                  </a:cubicBezTo>
                  <a:cubicBezTo>
                    <a:pt x="189" y="12"/>
                    <a:pt x="189" y="12"/>
                    <a:pt x="189" y="12"/>
                  </a:cubicBezTo>
                  <a:cubicBezTo>
                    <a:pt x="188" y="12"/>
                    <a:pt x="186" y="12"/>
                    <a:pt x="185" y="12"/>
                  </a:cubicBezTo>
                  <a:cubicBezTo>
                    <a:pt x="183" y="12"/>
                    <a:pt x="181" y="12"/>
                    <a:pt x="179" y="13"/>
                  </a:cubicBezTo>
                  <a:cubicBezTo>
                    <a:pt x="175" y="14"/>
                    <a:pt x="173" y="15"/>
                    <a:pt x="171" y="16"/>
                  </a:cubicBezTo>
                  <a:cubicBezTo>
                    <a:pt x="170" y="17"/>
                    <a:pt x="169" y="18"/>
                    <a:pt x="168" y="20"/>
                  </a:cubicBezTo>
                  <a:cubicBezTo>
                    <a:pt x="165" y="23"/>
                    <a:pt x="165" y="23"/>
                    <a:pt x="165" y="23"/>
                  </a:cubicBezTo>
                  <a:cubicBezTo>
                    <a:pt x="164" y="24"/>
                    <a:pt x="163" y="24"/>
                    <a:pt x="163" y="24"/>
                  </a:cubicBezTo>
                  <a:cubicBezTo>
                    <a:pt x="162" y="25"/>
                    <a:pt x="162" y="25"/>
                    <a:pt x="162" y="25"/>
                  </a:cubicBezTo>
                  <a:cubicBezTo>
                    <a:pt x="162" y="25"/>
                    <a:pt x="161" y="25"/>
                    <a:pt x="161" y="25"/>
                  </a:cubicBezTo>
                  <a:cubicBezTo>
                    <a:pt x="160" y="25"/>
                    <a:pt x="159" y="25"/>
                    <a:pt x="159" y="25"/>
                  </a:cubicBezTo>
                  <a:cubicBezTo>
                    <a:pt x="159" y="25"/>
                    <a:pt x="159" y="25"/>
                    <a:pt x="159" y="25"/>
                  </a:cubicBezTo>
                  <a:cubicBezTo>
                    <a:pt x="158" y="25"/>
                    <a:pt x="157" y="25"/>
                    <a:pt x="156" y="25"/>
                  </a:cubicBezTo>
                  <a:cubicBezTo>
                    <a:pt x="156" y="25"/>
                    <a:pt x="155" y="25"/>
                    <a:pt x="155" y="25"/>
                  </a:cubicBezTo>
                  <a:cubicBezTo>
                    <a:pt x="154" y="25"/>
                    <a:pt x="154" y="25"/>
                    <a:pt x="154" y="25"/>
                  </a:cubicBezTo>
                  <a:cubicBezTo>
                    <a:pt x="153" y="25"/>
                    <a:pt x="153" y="25"/>
                    <a:pt x="153" y="25"/>
                  </a:cubicBezTo>
                  <a:cubicBezTo>
                    <a:pt x="152" y="25"/>
                    <a:pt x="152" y="25"/>
                    <a:pt x="152" y="25"/>
                  </a:cubicBezTo>
                  <a:cubicBezTo>
                    <a:pt x="147" y="25"/>
                    <a:pt x="142" y="23"/>
                    <a:pt x="138" y="21"/>
                  </a:cubicBezTo>
                  <a:cubicBezTo>
                    <a:pt x="133" y="18"/>
                    <a:pt x="133" y="18"/>
                    <a:pt x="133" y="18"/>
                  </a:cubicBezTo>
                  <a:cubicBezTo>
                    <a:pt x="132" y="18"/>
                    <a:pt x="131" y="17"/>
                    <a:pt x="130" y="17"/>
                  </a:cubicBezTo>
                  <a:cubicBezTo>
                    <a:pt x="129" y="16"/>
                    <a:pt x="129" y="16"/>
                    <a:pt x="129" y="16"/>
                  </a:cubicBezTo>
                  <a:cubicBezTo>
                    <a:pt x="127" y="15"/>
                    <a:pt x="126" y="14"/>
                    <a:pt x="124" y="13"/>
                  </a:cubicBezTo>
                  <a:cubicBezTo>
                    <a:pt x="123" y="13"/>
                    <a:pt x="123" y="13"/>
                    <a:pt x="123" y="13"/>
                  </a:cubicBezTo>
                  <a:cubicBezTo>
                    <a:pt x="122" y="16"/>
                    <a:pt x="122" y="16"/>
                    <a:pt x="122" y="16"/>
                  </a:cubicBezTo>
                  <a:cubicBezTo>
                    <a:pt x="122" y="13"/>
                    <a:pt x="122" y="13"/>
                    <a:pt x="122" y="13"/>
                  </a:cubicBezTo>
                  <a:cubicBezTo>
                    <a:pt x="121" y="13"/>
                    <a:pt x="121" y="13"/>
                    <a:pt x="121" y="13"/>
                  </a:cubicBezTo>
                  <a:cubicBezTo>
                    <a:pt x="121" y="13"/>
                    <a:pt x="121" y="13"/>
                    <a:pt x="120" y="13"/>
                  </a:cubicBezTo>
                  <a:cubicBezTo>
                    <a:pt x="120" y="13"/>
                    <a:pt x="119" y="13"/>
                    <a:pt x="119" y="13"/>
                  </a:cubicBezTo>
                  <a:cubicBezTo>
                    <a:pt x="116" y="13"/>
                    <a:pt x="113" y="15"/>
                    <a:pt x="110" y="16"/>
                  </a:cubicBezTo>
                  <a:cubicBezTo>
                    <a:pt x="109" y="17"/>
                    <a:pt x="108" y="17"/>
                    <a:pt x="107" y="18"/>
                  </a:cubicBezTo>
                  <a:cubicBezTo>
                    <a:pt x="107" y="18"/>
                    <a:pt x="106" y="18"/>
                    <a:pt x="106" y="19"/>
                  </a:cubicBezTo>
                  <a:cubicBezTo>
                    <a:pt x="105" y="19"/>
                    <a:pt x="105" y="19"/>
                    <a:pt x="105" y="19"/>
                  </a:cubicBezTo>
                  <a:cubicBezTo>
                    <a:pt x="104" y="20"/>
                    <a:pt x="103" y="20"/>
                    <a:pt x="103" y="20"/>
                  </a:cubicBezTo>
                  <a:cubicBezTo>
                    <a:pt x="102" y="20"/>
                    <a:pt x="101" y="21"/>
                    <a:pt x="100" y="21"/>
                  </a:cubicBezTo>
                  <a:cubicBezTo>
                    <a:pt x="99" y="21"/>
                    <a:pt x="97" y="20"/>
                    <a:pt x="96" y="19"/>
                  </a:cubicBezTo>
                  <a:cubicBezTo>
                    <a:pt x="87" y="9"/>
                    <a:pt x="87" y="9"/>
                    <a:pt x="87" y="9"/>
                  </a:cubicBezTo>
                  <a:cubicBezTo>
                    <a:pt x="86" y="8"/>
                    <a:pt x="85" y="7"/>
                    <a:pt x="83" y="6"/>
                  </a:cubicBezTo>
                  <a:cubicBezTo>
                    <a:pt x="82" y="5"/>
                    <a:pt x="82" y="5"/>
                    <a:pt x="82" y="5"/>
                  </a:cubicBezTo>
                  <a:cubicBezTo>
                    <a:pt x="80" y="4"/>
                    <a:pt x="78" y="3"/>
                    <a:pt x="75" y="3"/>
                  </a:cubicBezTo>
                  <a:cubicBezTo>
                    <a:pt x="74" y="3"/>
                    <a:pt x="73" y="3"/>
                    <a:pt x="72" y="2"/>
                  </a:cubicBezTo>
                  <a:cubicBezTo>
                    <a:pt x="71" y="2"/>
                    <a:pt x="70" y="2"/>
                    <a:pt x="69" y="1"/>
                  </a:cubicBezTo>
                  <a:cubicBezTo>
                    <a:pt x="69" y="1"/>
                    <a:pt x="69" y="1"/>
                    <a:pt x="69" y="1"/>
                  </a:cubicBezTo>
                  <a:cubicBezTo>
                    <a:pt x="68" y="1"/>
                    <a:pt x="66" y="0"/>
                    <a:pt x="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232"/>
            <p:cNvSpPr>
              <a:spLocks noEditPoints="1"/>
            </p:cNvSpPr>
            <p:nvPr/>
          </p:nvSpPr>
          <p:spPr bwMode="auto">
            <a:xfrm>
              <a:off x="4145" y="2632"/>
              <a:ext cx="317" cy="336"/>
            </a:xfrm>
            <a:custGeom>
              <a:gdLst>
                <a:gd name="T0" fmla="*/ 31 w 134"/>
                <a:gd name="T1" fmla="*/ 113 h 142"/>
                <a:gd name="T2" fmla="*/ 34 w 134"/>
                <a:gd name="T3" fmla="*/ 112 h 142"/>
                <a:gd name="T4" fmla="*/ 25 w 134"/>
                <a:gd name="T5" fmla="*/ 110 h 142"/>
                <a:gd name="T6" fmla="*/ 67 w 134"/>
                <a:gd name="T7" fmla="*/ 0 h 142"/>
                <a:gd name="T8" fmla="*/ 65 w 134"/>
                <a:gd name="T9" fmla="*/ 1 h 142"/>
                <a:gd name="T10" fmla="*/ 65 w 134"/>
                <a:gd name="T11" fmla="*/ 14 h 142"/>
                <a:gd name="T12" fmla="*/ 53 w 134"/>
                <a:gd name="T13" fmla="*/ 31 h 142"/>
                <a:gd name="T14" fmla="*/ 26 w 134"/>
                <a:gd name="T15" fmla="*/ 30 h 142"/>
                <a:gd name="T16" fmla="*/ 22 w 134"/>
                <a:gd name="T17" fmla="*/ 29 h 142"/>
                <a:gd name="T18" fmla="*/ 21 w 134"/>
                <a:gd name="T19" fmla="*/ 40 h 142"/>
                <a:gd name="T20" fmla="*/ 20 w 134"/>
                <a:gd name="T21" fmla="*/ 38 h 142"/>
                <a:gd name="T22" fmla="*/ 18 w 134"/>
                <a:gd name="T23" fmla="*/ 43 h 142"/>
                <a:gd name="T24" fmla="*/ 28 w 134"/>
                <a:gd name="T25" fmla="*/ 47 h 142"/>
                <a:gd name="T26" fmla="*/ 22 w 134"/>
                <a:gd name="T27" fmla="*/ 48 h 142"/>
                <a:gd name="T28" fmla="*/ 18 w 134"/>
                <a:gd name="T29" fmla="*/ 48 h 142"/>
                <a:gd name="T30" fmla="*/ 15 w 134"/>
                <a:gd name="T31" fmla="*/ 49 h 142"/>
                <a:gd name="T32" fmla="*/ 4 w 134"/>
                <a:gd name="T33" fmla="*/ 70 h 142"/>
                <a:gd name="T34" fmla="*/ 12 w 134"/>
                <a:gd name="T35" fmla="*/ 84 h 142"/>
                <a:gd name="T36" fmla="*/ 18 w 134"/>
                <a:gd name="T37" fmla="*/ 89 h 142"/>
                <a:gd name="T38" fmla="*/ 13 w 134"/>
                <a:gd name="T39" fmla="*/ 88 h 142"/>
                <a:gd name="T40" fmla="*/ 16 w 134"/>
                <a:gd name="T41" fmla="*/ 96 h 142"/>
                <a:gd name="T42" fmla="*/ 55 w 134"/>
                <a:gd name="T43" fmla="*/ 142 h 142"/>
                <a:gd name="T44" fmla="*/ 63 w 134"/>
                <a:gd name="T45" fmla="*/ 133 h 142"/>
                <a:gd name="T46" fmla="*/ 72 w 134"/>
                <a:gd name="T47" fmla="*/ 134 h 142"/>
                <a:gd name="T48" fmla="*/ 73 w 134"/>
                <a:gd name="T49" fmla="*/ 131 h 142"/>
                <a:gd name="T50" fmla="*/ 69 w 134"/>
                <a:gd name="T51" fmla="*/ 123 h 142"/>
                <a:gd name="T52" fmla="*/ 64 w 134"/>
                <a:gd name="T53" fmla="*/ 117 h 142"/>
                <a:gd name="T54" fmla="*/ 65 w 134"/>
                <a:gd name="T55" fmla="*/ 111 h 142"/>
                <a:gd name="T56" fmla="*/ 68 w 134"/>
                <a:gd name="T57" fmla="*/ 104 h 142"/>
                <a:gd name="T58" fmla="*/ 77 w 134"/>
                <a:gd name="T59" fmla="*/ 104 h 142"/>
                <a:gd name="T60" fmla="*/ 81 w 134"/>
                <a:gd name="T61" fmla="*/ 104 h 142"/>
                <a:gd name="T62" fmla="*/ 85 w 134"/>
                <a:gd name="T63" fmla="*/ 98 h 142"/>
                <a:gd name="T64" fmla="*/ 90 w 134"/>
                <a:gd name="T65" fmla="*/ 93 h 142"/>
                <a:gd name="T66" fmla="*/ 101 w 134"/>
                <a:gd name="T67" fmla="*/ 100 h 142"/>
                <a:gd name="T68" fmla="*/ 108 w 134"/>
                <a:gd name="T69" fmla="*/ 104 h 142"/>
                <a:gd name="T70" fmla="*/ 121 w 134"/>
                <a:gd name="T71" fmla="*/ 99 h 142"/>
                <a:gd name="T72" fmla="*/ 129 w 134"/>
                <a:gd name="T73" fmla="*/ 99 h 142"/>
                <a:gd name="T74" fmla="*/ 133 w 134"/>
                <a:gd name="T75" fmla="*/ 85 h 142"/>
                <a:gd name="T76" fmla="*/ 133 w 134"/>
                <a:gd name="T77" fmla="*/ 81 h 142"/>
                <a:gd name="T78" fmla="*/ 132 w 134"/>
                <a:gd name="T79" fmla="*/ 73 h 142"/>
                <a:gd name="T80" fmla="*/ 134 w 134"/>
                <a:gd name="T81" fmla="*/ 67 h 142"/>
                <a:gd name="T82" fmla="*/ 119 w 134"/>
                <a:gd name="T83" fmla="*/ 56 h 142"/>
                <a:gd name="T84" fmla="*/ 126 w 134"/>
                <a:gd name="T85" fmla="*/ 38 h 142"/>
                <a:gd name="T86" fmla="*/ 132 w 134"/>
                <a:gd name="T87" fmla="*/ 31 h 142"/>
                <a:gd name="T88" fmla="*/ 126 w 134"/>
                <a:gd name="T89" fmla="*/ 22 h 142"/>
                <a:gd name="T90" fmla="*/ 111 w 134"/>
                <a:gd name="T91" fmla="*/ 24 h 142"/>
                <a:gd name="T92" fmla="*/ 103 w 134"/>
                <a:gd name="T93" fmla="*/ 6 h 142"/>
                <a:gd name="T94" fmla="*/ 104 w 134"/>
                <a:gd name="T95" fmla="*/ 1 h 142"/>
                <a:gd name="T96" fmla="*/ 79 w 134"/>
                <a:gd name="T97" fmla="*/ 0 h 142"/>
                <a:gd name="T98" fmla="*/ 73 w 134"/>
                <a:gd name="T99" fmla="*/ 0 h 142"/>
                <a:gd name="T100" fmla="*/ 68 w 134"/>
                <a:gd name="T101" fmla="*/ 0 h 1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142">
                  <a:moveTo>
                    <a:pt x="31" y="113"/>
                  </a:moveTo>
                  <a:cubicBezTo>
                    <a:pt x="31" y="113"/>
                    <a:pt x="30" y="113"/>
                    <a:pt x="30" y="113"/>
                  </a:cubicBezTo>
                  <a:cubicBezTo>
                    <a:pt x="30" y="113"/>
                    <a:pt x="31" y="113"/>
                    <a:pt x="31" y="113"/>
                  </a:cubicBezTo>
                  <a:moveTo>
                    <a:pt x="31" y="113"/>
                  </a:moveTo>
                  <a:cubicBezTo>
                    <a:pt x="32" y="113"/>
                    <a:pt x="33" y="113"/>
                    <a:pt x="33" y="112"/>
                  </a:cubicBezTo>
                  <a:cubicBezTo>
                    <a:pt x="34" y="112"/>
                    <a:pt x="34" y="112"/>
                    <a:pt x="34" y="112"/>
                  </a:cubicBezTo>
                  <a:cubicBezTo>
                    <a:pt x="34" y="112"/>
                    <a:pt x="34" y="112"/>
                    <a:pt x="34" y="112"/>
                  </a:cubicBezTo>
                  <a:cubicBezTo>
                    <a:pt x="34" y="112"/>
                    <a:pt x="34" y="112"/>
                    <a:pt x="34" y="112"/>
                  </a:cubicBezTo>
                  <a:cubicBezTo>
                    <a:pt x="33" y="112"/>
                    <a:pt x="33" y="112"/>
                    <a:pt x="33" y="112"/>
                  </a:cubicBezTo>
                  <a:cubicBezTo>
                    <a:pt x="33" y="113"/>
                    <a:pt x="32" y="113"/>
                    <a:pt x="31" y="113"/>
                  </a:cubicBezTo>
                  <a:cubicBezTo>
                    <a:pt x="31" y="113"/>
                    <a:pt x="31" y="113"/>
                    <a:pt x="31" y="113"/>
                  </a:cubicBezTo>
                  <a:moveTo>
                    <a:pt x="25" y="110"/>
                  </a:moveTo>
                  <a:cubicBezTo>
                    <a:pt x="26" y="109"/>
                    <a:pt x="26" y="109"/>
                    <a:pt x="26" y="109"/>
                  </a:cubicBezTo>
                  <a:cubicBezTo>
                    <a:pt x="26" y="109"/>
                    <a:pt x="26" y="109"/>
                    <a:pt x="26" y="109"/>
                  </a:cubicBezTo>
                  <a:cubicBezTo>
                    <a:pt x="25" y="110"/>
                    <a:pt x="25" y="110"/>
                    <a:pt x="25" y="110"/>
                  </a:cubicBezTo>
                  <a:moveTo>
                    <a:pt x="67" y="0"/>
                  </a:moveTo>
                  <a:cubicBezTo>
                    <a:pt x="67" y="0"/>
                    <a:pt x="67" y="0"/>
                    <a:pt x="67" y="0"/>
                  </a:cubicBezTo>
                  <a:cubicBezTo>
                    <a:pt x="65" y="0"/>
                    <a:pt x="65" y="0"/>
                    <a:pt x="65" y="0"/>
                  </a:cubicBezTo>
                  <a:cubicBezTo>
                    <a:pt x="65" y="1"/>
                    <a:pt x="65" y="1"/>
                    <a:pt x="65" y="1"/>
                  </a:cubicBezTo>
                  <a:cubicBezTo>
                    <a:pt x="65" y="1"/>
                    <a:pt x="65" y="1"/>
                    <a:pt x="65" y="1"/>
                  </a:cubicBezTo>
                  <a:cubicBezTo>
                    <a:pt x="65" y="2"/>
                    <a:pt x="65" y="2"/>
                    <a:pt x="65" y="3"/>
                  </a:cubicBezTo>
                  <a:cubicBezTo>
                    <a:pt x="65" y="7"/>
                    <a:pt x="65" y="7"/>
                    <a:pt x="65" y="7"/>
                  </a:cubicBezTo>
                  <a:cubicBezTo>
                    <a:pt x="65" y="8"/>
                    <a:pt x="65" y="10"/>
                    <a:pt x="65" y="11"/>
                  </a:cubicBezTo>
                  <a:cubicBezTo>
                    <a:pt x="65" y="14"/>
                    <a:pt x="65" y="14"/>
                    <a:pt x="65" y="14"/>
                  </a:cubicBezTo>
                  <a:cubicBezTo>
                    <a:pt x="66" y="24"/>
                    <a:pt x="66" y="28"/>
                    <a:pt x="64" y="30"/>
                  </a:cubicBezTo>
                  <a:cubicBezTo>
                    <a:pt x="63" y="31"/>
                    <a:pt x="62" y="31"/>
                    <a:pt x="60" y="31"/>
                  </a:cubicBezTo>
                  <a:cubicBezTo>
                    <a:pt x="58" y="31"/>
                    <a:pt x="57" y="31"/>
                    <a:pt x="55" y="31"/>
                  </a:cubicBezTo>
                  <a:cubicBezTo>
                    <a:pt x="54" y="31"/>
                    <a:pt x="53" y="31"/>
                    <a:pt x="53" y="31"/>
                  </a:cubicBezTo>
                  <a:cubicBezTo>
                    <a:pt x="38" y="31"/>
                    <a:pt x="38" y="31"/>
                    <a:pt x="38" y="31"/>
                  </a:cubicBezTo>
                  <a:cubicBezTo>
                    <a:pt x="37" y="31"/>
                    <a:pt x="36" y="31"/>
                    <a:pt x="35" y="31"/>
                  </a:cubicBezTo>
                  <a:cubicBezTo>
                    <a:pt x="34" y="31"/>
                    <a:pt x="33" y="31"/>
                    <a:pt x="31" y="31"/>
                  </a:cubicBezTo>
                  <a:cubicBezTo>
                    <a:pt x="30" y="31"/>
                    <a:pt x="28" y="31"/>
                    <a:pt x="26" y="30"/>
                  </a:cubicBezTo>
                  <a:cubicBezTo>
                    <a:pt x="26" y="30"/>
                    <a:pt x="26" y="30"/>
                    <a:pt x="26" y="30"/>
                  </a:cubicBezTo>
                  <a:cubicBezTo>
                    <a:pt x="23" y="30"/>
                    <a:pt x="23" y="30"/>
                    <a:pt x="23" y="30"/>
                  </a:cubicBezTo>
                  <a:cubicBezTo>
                    <a:pt x="23" y="29"/>
                    <a:pt x="23" y="29"/>
                    <a:pt x="23" y="29"/>
                  </a:cubicBezTo>
                  <a:cubicBezTo>
                    <a:pt x="22" y="29"/>
                    <a:pt x="22" y="29"/>
                    <a:pt x="22" y="29"/>
                  </a:cubicBezTo>
                  <a:cubicBezTo>
                    <a:pt x="22" y="28"/>
                    <a:pt x="22" y="28"/>
                    <a:pt x="22" y="28"/>
                  </a:cubicBezTo>
                  <a:cubicBezTo>
                    <a:pt x="21" y="28"/>
                    <a:pt x="20" y="29"/>
                    <a:pt x="20" y="29"/>
                  </a:cubicBezTo>
                  <a:cubicBezTo>
                    <a:pt x="20" y="29"/>
                    <a:pt x="21" y="31"/>
                    <a:pt x="21" y="32"/>
                  </a:cubicBezTo>
                  <a:cubicBezTo>
                    <a:pt x="22" y="34"/>
                    <a:pt x="22" y="37"/>
                    <a:pt x="21" y="40"/>
                  </a:cubicBezTo>
                  <a:cubicBezTo>
                    <a:pt x="21" y="40"/>
                    <a:pt x="21" y="39"/>
                    <a:pt x="21" y="38"/>
                  </a:cubicBezTo>
                  <a:cubicBezTo>
                    <a:pt x="21" y="38"/>
                    <a:pt x="21" y="38"/>
                    <a:pt x="21" y="38"/>
                  </a:cubicBezTo>
                  <a:cubicBezTo>
                    <a:pt x="20" y="38"/>
                    <a:pt x="20" y="38"/>
                    <a:pt x="20" y="38"/>
                  </a:cubicBezTo>
                  <a:cubicBezTo>
                    <a:pt x="20" y="38"/>
                    <a:pt x="20" y="38"/>
                    <a:pt x="20" y="38"/>
                  </a:cubicBezTo>
                  <a:cubicBezTo>
                    <a:pt x="20" y="38"/>
                    <a:pt x="20" y="38"/>
                    <a:pt x="20" y="37"/>
                  </a:cubicBezTo>
                  <a:cubicBezTo>
                    <a:pt x="18" y="37"/>
                    <a:pt x="16" y="38"/>
                    <a:pt x="14" y="39"/>
                  </a:cubicBezTo>
                  <a:cubicBezTo>
                    <a:pt x="15" y="39"/>
                    <a:pt x="15" y="39"/>
                    <a:pt x="15" y="39"/>
                  </a:cubicBezTo>
                  <a:cubicBezTo>
                    <a:pt x="17" y="39"/>
                    <a:pt x="17" y="41"/>
                    <a:pt x="18" y="43"/>
                  </a:cubicBezTo>
                  <a:cubicBezTo>
                    <a:pt x="19" y="45"/>
                    <a:pt x="19" y="44"/>
                    <a:pt x="21" y="45"/>
                  </a:cubicBezTo>
                  <a:cubicBezTo>
                    <a:pt x="22" y="45"/>
                    <a:pt x="23" y="46"/>
                    <a:pt x="24" y="47"/>
                  </a:cubicBezTo>
                  <a:cubicBezTo>
                    <a:pt x="25" y="47"/>
                    <a:pt x="26" y="47"/>
                    <a:pt x="26" y="47"/>
                  </a:cubicBezTo>
                  <a:cubicBezTo>
                    <a:pt x="27" y="47"/>
                    <a:pt x="27" y="47"/>
                    <a:pt x="28" y="47"/>
                  </a:cubicBezTo>
                  <a:cubicBezTo>
                    <a:pt x="28" y="47"/>
                    <a:pt x="29" y="47"/>
                    <a:pt x="29" y="47"/>
                  </a:cubicBezTo>
                  <a:cubicBezTo>
                    <a:pt x="30" y="47"/>
                    <a:pt x="30" y="47"/>
                    <a:pt x="31" y="47"/>
                  </a:cubicBezTo>
                  <a:cubicBezTo>
                    <a:pt x="27" y="48"/>
                    <a:pt x="28" y="48"/>
                    <a:pt x="26" y="51"/>
                  </a:cubicBezTo>
                  <a:cubicBezTo>
                    <a:pt x="24" y="49"/>
                    <a:pt x="23" y="48"/>
                    <a:pt x="22" y="48"/>
                  </a:cubicBezTo>
                  <a:cubicBezTo>
                    <a:pt x="21" y="48"/>
                    <a:pt x="21" y="48"/>
                    <a:pt x="21" y="48"/>
                  </a:cubicBezTo>
                  <a:cubicBezTo>
                    <a:pt x="20" y="48"/>
                    <a:pt x="20" y="48"/>
                    <a:pt x="20" y="48"/>
                  </a:cubicBezTo>
                  <a:cubicBezTo>
                    <a:pt x="19" y="49"/>
                    <a:pt x="19" y="49"/>
                    <a:pt x="19" y="49"/>
                  </a:cubicBezTo>
                  <a:cubicBezTo>
                    <a:pt x="18" y="48"/>
                    <a:pt x="18" y="48"/>
                    <a:pt x="18" y="48"/>
                  </a:cubicBezTo>
                  <a:cubicBezTo>
                    <a:pt x="17" y="48"/>
                    <a:pt x="17" y="47"/>
                    <a:pt x="17" y="47"/>
                  </a:cubicBezTo>
                  <a:cubicBezTo>
                    <a:pt x="16" y="47"/>
                    <a:pt x="16" y="47"/>
                    <a:pt x="16" y="47"/>
                  </a:cubicBezTo>
                  <a:cubicBezTo>
                    <a:pt x="16" y="46"/>
                    <a:pt x="15" y="45"/>
                    <a:pt x="14" y="44"/>
                  </a:cubicBezTo>
                  <a:cubicBezTo>
                    <a:pt x="14" y="46"/>
                    <a:pt x="15" y="48"/>
                    <a:pt x="15" y="49"/>
                  </a:cubicBezTo>
                  <a:cubicBezTo>
                    <a:pt x="15" y="58"/>
                    <a:pt x="11" y="65"/>
                    <a:pt x="7" y="72"/>
                  </a:cubicBezTo>
                  <a:cubicBezTo>
                    <a:pt x="7" y="70"/>
                    <a:pt x="7" y="70"/>
                    <a:pt x="6" y="70"/>
                  </a:cubicBezTo>
                  <a:cubicBezTo>
                    <a:pt x="6" y="70"/>
                    <a:pt x="6" y="70"/>
                    <a:pt x="5" y="70"/>
                  </a:cubicBezTo>
                  <a:cubicBezTo>
                    <a:pt x="5" y="70"/>
                    <a:pt x="4" y="70"/>
                    <a:pt x="4" y="70"/>
                  </a:cubicBezTo>
                  <a:cubicBezTo>
                    <a:pt x="4" y="70"/>
                    <a:pt x="3" y="70"/>
                    <a:pt x="3" y="70"/>
                  </a:cubicBezTo>
                  <a:cubicBezTo>
                    <a:pt x="2" y="70"/>
                    <a:pt x="1" y="66"/>
                    <a:pt x="0" y="65"/>
                  </a:cubicBezTo>
                  <a:cubicBezTo>
                    <a:pt x="3" y="71"/>
                    <a:pt x="5" y="79"/>
                    <a:pt x="9" y="83"/>
                  </a:cubicBezTo>
                  <a:cubicBezTo>
                    <a:pt x="11" y="84"/>
                    <a:pt x="11" y="84"/>
                    <a:pt x="12" y="84"/>
                  </a:cubicBezTo>
                  <a:cubicBezTo>
                    <a:pt x="13" y="84"/>
                    <a:pt x="13" y="83"/>
                    <a:pt x="15" y="82"/>
                  </a:cubicBezTo>
                  <a:cubicBezTo>
                    <a:pt x="16" y="84"/>
                    <a:pt x="13" y="87"/>
                    <a:pt x="14" y="89"/>
                  </a:cubicBezTo>
                  <a:cubicBezTo>
                    <a:pt x="14" y="89"/>
                    <a:pt x="19" y="89"/>
                    <a:pt x="20" y="89"/>
                  </a:cubicBezTo>
                  <a:cubicBezTo>
                    <a:pt x="19" y="89"/>
                    <a:pt x="19" y="89"/>
                    <a:pt x="18" y="89"/>
                  </a:cubicBezTo>
                  <a:cubicBezTo>
                    <a:pt x="18" y="89"/>
                    <a:pt x="17" y="89"/>
                    <a:pt x="17" y="90"/>
                  </a:cubicBezTo>
                  <a:cubicBezTo>
                    <a:pt x="16" y="90"/>
                    <a:pt x="16" y="90"/>
                    <a:pt x="16" y="90"/>
                  </a:cubicBezTo>
                  <a:cubicBezTo>
                    <a:pt x="15" y="90"/>
                    <a:pt x="15" y="90"/>
                    <a:pt x="14" y="90"/>
                  </a:cubicBezTo>
                  <a:cubicBezTo>
                    <a:pt x="14" y="89"/>
                    <a:pt x="13" y="88"/>
                    <a:pt x="13" y="88"/>
                  </a:cubicBezTo>
                  <a:cubicBezTo>
                    <a:pt x="12" y="90"/>
                    <a:pt x="13" y="94"/>
                    <a:pt x="14" y="95"/>
                  </a:cubicBezTo>
                  <a:cubicBezTo>
                    <a:pt x="14" y="96"/>
                    <a:pt x="14" y="96"/>
                    <a:pt x="15" y="96"/>
                  </a:cubicBezTo>
                  <a:cubicBezTo>
                    <a:pt x="15" y="96"/>
                    <a:pt x="15" y="96"/>
                    <a:pt x="15" y="96"/>
                  </a:cubicBezTo>
                  <a:cubicBezTo>
                    <a:pt x="15" y="96"/>
                    <a:pt x="16" y="96"/>
                    <a:pt x="16" y="96"/>
                  </a:cubicBezTo>
                  <a:cubicBezTo>
                    <a:pt x="16" y="96"/>
                    <a:pt x="16" y="96"/>
                    <a:pt x="16" y="96"/>
                  </a:cubicBezTo>
                  <a:cubicBezTo>
                    <a:pt x="23" y="98"/>
                    <a:pt x="18" y="105"/>
                    <a:pt x="22" y="108"/>
                  </a:cubicBezTo>
                  <a:cubicBezTo>
                    <a:pt x="22" y="107"/>
                    <a:pt x="22" y="107"/>
                    <a:pt x="22" y="107"/>
                  </a:cubicBezTo>
                  <a:cubicBezTo>
                    <a:pt x="32" y="119"/>
                    <a:pt x="44" y="130"/>
                    <a:pt x="55" y="142"/>
                  </a:cubicBezTo>
                  <a:cubicBezTo>
                    <a:pt x="56" y="140"/>
                    <a:pt x="57" y="138"/>
                    <a:pt x="57" y="137"/>
                  </a:cubicBezTo>
                  <a:cubicBezTo>
                    <a:pt x="58" y="136"/>
                    <a:pt x="59" y="135"/>
                    <a:pt x="61" y="134"/>
                  </a:cubicBezTo>
                  <a:cubicBezTo>
                    <a:pt x="62" y="133"/>
                    <a:pt x="62" y="133"/>
                    <a:pt x="62" y="133"/>
                  </a:cubicBezTo>
                  <a:cubicBezTo>
                    <a:pt x="62" y="133"/>
                    <a:pt x="63" y="133"/>
                    <a:pt x="63" y="133"/>
                  </a:cubicBezTo>
                  <a:cubicBezTo>
                    <a:pt x="64" y="132"/>
                    <a:pt x="64" y="131"/>
                    <a:pt x="65" y="131"/>
                  </a:cubicBezTo>
                  <a:cubicBezTo>
                    <a:pt x="65" y="131"/>
                    <a:pt x="66" y="131"/>
                    <a:pt x="66" y="131"/>
                  </a:cubicBezTo>
                  <a:cubicBezTo>
                    <a:pt x="67" y="131"/>
                    <a:pt x="69" y="132"/>
                    <a:pt x="71" y="134"/>
                  </a:cubicBezTo>
                  <a:cubicBezTo>
                    <a:pt x="72" y="134"/>
                    <a:pt x="72" y="134"/>
                    <a:pt x="72" y="134"/>
                  </a:cubicBezTo>
                  <a:cubicBezTo>
                    <a:pt x="72" y="134"/>
                    <a:pt x="72" y="134"/>
                    <a:pt x="72" y="134"/>
                  </a:cubicBezTo>
                  <a:cubicBezTo>
                    <a:pt x="72" y="134"/>
                    <a:pt x="72" y="134"/>
                    <a:pt x="72" y="134"/>
                  </a:cubicBezTo>
                  <a:cubicBezTo>
                    <a:pt x="72" y="134"/>
                    <a:pt x="72" y="133"/>
                    <a:pt x="72" y="132"/>
                  </a:cubicBezTo>
                  <a:cubicBezTo>
                    <a:pt x="72" y="132"/>
                    <a:pt x="73" y="131"/>
                    <a:pt x="73" y="131"/>
                  </a:cubicBezTo>
                  <a:cubicBezTo>
                    <a:pt x="73" y="131"/>
                    <a:pt x="73" y="131"/>
                    <a:pt x="73" y="131"/>
                  </a:cubicBezTo>
                  <a:cubicBezTo>
                    <a:pt x="72" y="130"/>
                    <a:pt x="70" y="130"/>
                    <a:pt x="69" y="129"/>
                  </a:cubicBezTo>
                  <a:cubicBezTo>
                    <a:pt x="69" y="128"/>
                    <a:pt x="68" y="127"/>
                    <a:pt x="68" y="126"/>
                  </a:cubicBezTo>
                  <a:cubicBezTo>
                    <a:pt x="68" y="125"/>
                    <a:pt x="68" y="124"/>
                    <a:pt x="69" y="123"/>
                  </a:cubicBezTo>
                  <a:cubicBezTo>
                    <a:pt x="66" y="121"/>
                    <a:pt x="66" y="121"/>
                    <a:pt x="66" y="121"/>
                  </a:cubicBezTo>
                  <a:cubicBezTo>
                    <a:pt x="65" y="120"/>
                    <a:pt x="65" y="120"/>
                    <a:pt x="65" y="120"/>
                  </a:cubicBezTo>
                  <a:cubicBezTo>
                    <a:pt x="65" y="119"/>
                    <a:pt x="65" y="118"/>
                    <a:pt x="64" y="118"/>
                  </a:cubicBezTo>
                  <a:cubicBezTo>
                    <a:pt x="64" y="117"/>
                    <a:pt x="64" y="117"/>
                    <a:pt x="64" y="117"/>
                  </a:cubicBezTo>
                  <a:cubicBezTo>
                    <a:pt x="64" y="116"/>
                    <a:pt x="65" y="115"/>
                    <a:pt x="65" y="114"/>
                  </a:cubicBezTo>
                  <a:cubicBezTo>
                    <a:pt x="66" y="113"/>
                    <a:pt x="66" y="113"/>
                    <a:pt x="66" y="113"/>
                  </a:cubicBezTo>
                  <a:cubicBezTo>
                    <a:pt x="66" y="112"/>
                    <a:pt x="66" y="112"/>
                    <a:pt x="66" y="112"/>
                  </a:cubicBezTo>
                  <a:cubicBezTo>
                    <a:pt x="65" y="112"/>
                    <a:pt x="65" y="111"/>
                    <a:pt x="65" y="111"/>
                  </a:cubicBezTo>
                  <a:cubicBezTo>
                    <a:pt x="65" y="110"/>
                    <a:pt x="65" y="110"/>
                    <a:pt x="65" y="110"/>
                  </a:cubicBezTo>
                  <a:cubicBezTo>
                    <a:pt x="65" y="109"/>
                    <a:pt x="65" y="108"/>
                    <a:pt x="65" y="108"/>
                  </a:cubicBezTo>
                  <a:cubicBezTo>
                    <a:pt x="62" y="103"/>
                    <a:pt x="62" y="103"/>
                    <a:pt x="62" y="103"/>
                  </a:cubicBezTo>
                  <a:cubicBezTo>
                    <a:pt x="68" y="104"/>
                    <a:pt x="68" y="104"/>
                    <a:pt x="68" y="104"/>
                  </a:cubicBezTo>
                  <a:cubicBezTo>
                    <a:pt x="69" y="104"/>
                    <a:pt x="70" y="104"/>
                    <a:pt x="71" y="105"/>
                  </a:cubicBezTo>
                  <a:cubicBezTo>
                    <a:pt x="72" y="105"/>
                    <a:pt x="72" y="105"/>
                    <a:pt x="72" y="105"/>
                  </a:cubicBezTo>
                  <a:cubicBezTo>
                    <a:pt x="72" y="105"/>
                    <a:pt x="73" y="105"/>
                    <a:pt x="74" y="104"/>
                  </a:cubicBezTo>
                  <a:cubicBezTo>
                    <a:pt x="74" y="104"/>
                    <a:pt x="76" y="104"/>
                    <a:pt x="77" y="104"/>
                  </a:cubicBezTo>
                  <a:cubicBezTo>
                    <a:pt x="77" y="104"/>
                    <a:pt x="77" y="104"/>
                    <a:pt x="77" y="104"/>
                  </a:cubicBezTo>
                  <a:cubicBezTo>
                    <a:pt x="79" y="104"/>
                    <a:pt x="79" y="104"/>
                    <a:pt x="79" y="104"/>
                  </a:cubicBezTo>
                  <a:cubicBezTo>
                    <a:pt x="79" y="105"/>
                    <a:pt x="79" y="105"/>
                    <a:pt x="79" y="105"/>
                  </a:cubicBezTo>
                  <a:cubicBezTo>
                    <a:pt x="80" y="104"/>
                    <a:pt x="81" y="104"/>
                    <a:pt x="81" y="104"/>
                  </a:cubicBezTo>
                  <a:cubicBezTo>
                    <a:pt x="82" y="104"/>
                    <a:pt x="82" y="104"/>
                    <a:pt x="82" y="104"/>
                  </a:cubicBezTo>
                  <a:cubicBezTo>
                    <a:pt x="83" y="103"/>
                    <a:pt x="83" y="103"/>
                    <a:pt x="84" y="103"/>
                  </a:cubicBezTo>
                  <a:cubicBezTo>
                    <a:pt x="84" y="102"/>
                    <a:pt x="84" y="101"/>
                    <a:pt x="85" y="98"/>
                  </a:cubicBezTo>
                  <a:cubicBezTo>
                    <a:pt x="85" y="98"/>
                    <a:pt x="85" y="98"/>
                    <a:pt x="85" y="98"/>
                  </a:cubicBezTo>
                  <a:cubicBezTo>
                    <a:pt x="85" y="97"/>
                    <a:pt x="85" y="97"/>
                    <a:pt x="85" y="96"/>
                  </a:cubicBezTo>
                  <a:cubicBezTo>
                    <a:pt x="85" y="96"/>
                    <a:pt x="85" y="96"/>
                    <a:pt x="85" y="96"/>
                  </a:cubicBezTo>
                  <a:cubicBezTo>
                    <a:pt x="86" y="95"/>
                    <a:pt x="86" y="93"/>
                    <a:pt x="89" y="93"/>
                  </a:cubicBezTo>
                  <a:cubicBezTo>
                    <a:pt x="90" y="93"/>
                    <a:pt x="90" y="93"/>
                    <a:pt x="90" y="93"/>
                  </a:cubicBezTo>
                  <a:cubicBezTo>
                    <a:pt x="91" y="93"/>
                    <a:pt x="91" y="93"/>
                    <a:pt x="92" y="93"/>
                  </a:cubicBezTo>
                  <a:cubicBezTo>
                    <a:pt x="92" y="93"/>
                    <a:pt x="93" y="93"/>
                    <a:pt x="94" y="93"/>
                  </a:cubicBezTo>
                  <a:cubicBezTo>
                    <a:pt x="94" y="93"/>
                    <a:pt x="95" y="93"/>
                    <a:pt x="95" y="93"/>
                  </a:cubicBezTo>
                  <a:cubicBezTo>
                    <a:pt x="98" y="93"/>
                    <a:pt x="100" y="97"/>
                    <a:pt x="101" y="100"/>
                  </a:cubicBezTo>
                  <a:cubicBezTo>
                    <a:pt x="102" y="103"/>
                    <a:pt x="102" y="104"/>
                    <a:pt x="103" y="104"/>
                  </a:cubicBezTo>
                  <a:cubicBezTo>
                    <a:pt x="103" y="104"/>
                    <a:pt x="103" y="104"/>
                    <a:pt x="104" y="104"/>
                  </a:cubicBezTo>
                  <a:cubicBezTo>
                    <a:pt x="105" y="104"/>
                    <a:pt x="105" y="104"/>
                    <a:pt x="106" y="104"/>
                  </a:cubicBezTo>
                  <a:cubicBezTo>
                    <a:pt x="107" y="104"/>
                    <a:pt x="108" y="104"/>
                    <a:pt x="108" y="104"/>
                  </a:cubicBezTo>
                  <a:cubicBezTo>
                    <a:pt x="111" y="104"/>
                    <a:pt x="113" y="104"/>
                    <a:pt x="114" y="104"/>
                  </a:cubicBezTo>
                  <a:cubicBezTo>
                    <a:pt x="114" y="103"/>
                    <a:pt x="116" y="102"/>
                    <a:pt x="116" y="100"/>
                  </a:cubicBezTo>
                  <a:cubicBezTo>
                    <a:pt x="118" y="95"/>
                    <a:pt x="118" y="95"/>
                    <a:pt x="118" y="95"/>
                  </a:cubicBezTo>
                  <a:cubicBezTo>
                    <a:pt x="121" y="99"/>
                    <a:pt x="121" y="99"/>
                    <a:pt x="121" y="99"/>
                  </a:cubicBezTo>
                  <a:cubicBezTo>
                    <a:pt x="123" y="102"/>
                    <a:pt x="124" y="104"/>
                    <a:pt x="125" y="107"/>
                  </a:cubicBezTo>
                  <a:cubicBezTo>
                    <a:pt x="125" y="107"/>
                    <a:pt x="125" y="107"/>
                    <a:pt x="125" y="107"/>
                  </a:cubicBezTo>
                  <a:cubicBezTo>
                    <a:pt x="125" y="107"/>
                    <a:pt x="125" y="107"/>
                    <a:pt x="125" y="107"/>
                  </a:cubicBezTo>
                  <a:cubicBezTo>
                    <a:pt x="129" y="99"/>
                    <a:pt x="129" y="99"/>
                    <a:pt x="129" y="99"/>
                  </a:cubicBezTo>
                  <a:cubicBezTo>
                    <a:pt x="130" y="97"/>
                    <a:pt x="131" y="94"/>
                    <a:pt x="132" y="91"/>
                  </a:cubicBezTo>
                  <a:cubicBezTo>
                    <a:pt x="132" y="91"/>
                    <a:pt x="132" y="90"/>
                    <a:pt x="132" y="89"/>
                  </a:cubicBezTo>
                  <a:cubicBezTo>
                    <a:pt x="133" y="88"/>
                    <a:pt x="133" y="88"/>
                    <a:pt x="133" y="88"/>
                  </a:cubicBezTo>
                  <a:cubicBezTo>
                    <a:pt x="133" y="87"/>
                    <a:pt x="133" y="86"/>
                    <a:pt x="133" y="85"/>
                  </a:cubicBezTo>
                  <a:cubicBezTo>
                    <a:pt x="133" y="84"/>
                    <a:pt x="133" y="84"/>
                    <a:pt x="133" y="84"/>
                  </a:cubicBezTo>
                  <a:cubicBezTo>
                    <a:pt x="133" y="84"/>
                    <a:pt x="133" y="83"/>
                    <a:pt x="133" y="82"/>
                  </a:cubicBezTo>
                  <a:cubicBezTo>
                    <a:pt x="133" y="81"/>
                    <a:pt x="133" y="81"/>
                    <a:pt x="133" y="81"/>
                  </a:cubicBezTo>
                  <a:cubicBezTo>
                    <a:pt x="133" y="81"/>
                    <a:pt x="133" y="81"/>
                    <a:pt x="133" y="81"/>
                  </a:cubicBezTo>
                  <a:cubicBezTo>
                    <a:pt x="133" y="80"/>
                    <a:pt x="133" y="80"/>
                    <a:pt x="133" y="79"/>
                  </a:cubicBezTo>
                  <a:cubicBezTo>
                    <a:pt x="133" y="79"/>
                    <a:pt x="133" y="79"/>
                    <a:pt x="133" y="79"/>
                  </a:cubicBezTo>
                  <a:cubicBezTo>
                    <a:pt x="132" y="77"/>
                    <a:pt x="132" y="76"/>
                    <a:pt x="132" y="74"/>
                  </a:cubicBezTo>
                  <a:cubicBezTo>
                    <a:pt x="132" y="73"/>
                    <a:pt x="132" y="73"/>
                    <a:pt x="132" y="73"/>
                  </a:cubicBezTo>
                  <a:cubicBezTo>
                    <a:pt x="132" y="72"/>
                    <a:pt x="133" y="71"/>
                    <a:pt x="133" y="71"/>
                  </a:cubicBezTo>
                  <a:cubicBezTo>
                    <a:pt x="133" y="71"/>
                    <a:pt x="133" y="71"/>
                    <a:pt x="133" y="70"/>
                  </a:cubicBezTo>
                  <a:cubicBezTo>
                    <a:pt x="133" y="70"/>
                    <a:pt x="133" y="70"/>
                    <a:pt x="133" y="70"/>
                  </a:cubicBezTo>
                  <a:cubicBezTo>
                    <a:pt x="134" y="68"/>
                    <a:pt x="134" y="67"/>
                    <a:pt x="134" y="67"/>
                  </a:cubicBezTo>
                  <a:cubicBezTo>
                    <a:pt x="134" y="66"/>
                    <a:pt x="129" y="64"/>
                    <a:pt x="128" y="64"/>
                  </a:cubicBezTo>
                  <a:cubicBezTo>
                    <a:pt x="125" y="63"/>
                    <a:pt x="122" y="61"/>
                    <a:pt x="120" y="59"/>
                  </a:cubicBezTo>
                  <a:cubicBezTo>
                    <a:pt x="120" y="59"/>
                    <a:pt x="119" y="58"/>
                    <a:pt x="119" y="57"/>
                  </a:cubicBezTo>
                  <a:cubicBezTo>
                    <a:pt x="119" y="57"/>
                    <a:pt x="119" y="57"/>
                    <a:pt x="119" y="56"/>
                  </a:cubicBezTo>
                  <a:cubicBezTo>
                    <a:pt x="119" y="56"/>
                    <a:pt x="119" y="56"/>
                    <a:pt x="119" y="56"/>
                  </a:cubicBezTo>
                  <a:cubicBezTo>
                    <a:pt x="119" y="53"/>
                    <a:pt x="121" y="50"/>
                    <a:pt x="122" y="47"/>
                  </a:cubicBezTo>
                  <a:cubicBezTo>
                    <a:pt x="122" y="45"/>
                    <a:pt x="122" y="45"/>
                    <a:pt x="122" y="45"/>
                  </a:cubicBezTo>
                  <a:cubicBezTo>
                    <a:pt x="123" y="43"/>
                    <a:pt x="124" y="40"/>
                    <a:pt x="126" y="38"/>
                  </a:cubicBezTo>
                  <a:cubicBezTo>
                    <a:pt x="126" y="38"/>
                    <a:pt x="127" y="37"/>
                    <a:pt x="127" y="37"/>
                  </a:cubicBezTo>
                  <a:cubicBezTo>
                    <a:pt x="129" y="36"/>
                    <a:pt x="129" y="36"/>
                    <a:pt x="129" y="36"/>
                  </a:cubicBezTo>
                  <a:cubicBezTo>
                    <a:pt x="130" y="35"/>
                    <a:pt x="131" y="34"/>
                    <a:pt x="132" y="32"/>
                  </a:cubicBezTo>
                  <a:cubicBezTo>
                    <a:pt x="132" y="31"/>
                    <a:pt x="132" y="31"/>
                    <a:pt x="132" y="31"/>
                  </a:cubicBezTo>
                  <a:cubicBezTo>
                    <a:pt x="132" y="31"/>
                    <a:pt x="132" y="30"/>
                    <a:pt x="132" y="30"/>
                  </a:cubicBezTo>
                  <a:cubicBezTo>
                    <a:pt x="128" y="22"/>
                    <a:pt x="128" y="22"/>
                    <a:pt x="128" y="22"/>
                  </a:cubicBezTo>
                  <a:cubicBezTo>
                    <a:pt x="128" y="22"/>
                    <a:pt x="128" y="22"/>
                    <a:pt x="128" y="22"/>
                  </a:cubicBezTo>
                  <a:cubicBezTo>
                    <a:pt x="127" y="22"/>
                    <a:pt x="127" y="22"/>
                    <a:pt x="126" y="22"/>
                  </a:cubicBezTo>
                  <a:cubicBezTo>
                    <a:pt x="125" y="22"/>
                    <a:pt x="125" y="22"/>
                    <a:pt x="125" y="22"/>
                  </a:cubicBezTo>
                  <a:cubicBezTo>
                    <a:pt x="124" y="21"/>
                    <a:pt x="123" y="21"/>
                    <a:pt x="122" y="21"/>
                  </a:cubicBezTo>
                  <a:cubicBezTo>
                    <a:pt x="121" y="21"/>
                    <a:pt x="120" y="21"/>
                    <a:pt x="119" y="22"/>
                  </a:cubicBezTo>
                  <a:cubicBezTo>
                    <a:pt x="116" y="22"/>
                    <a:pt x="114" y="23"/>
                    <a:pt x="111" y="24"/>
                  </a:cubicBezTo>
                  <a:cubicBezTo>
                    <a:pt x="103" y="27"/>
                    <a:pt x="103" y="27"/>
                    <a:pt x="103" y="27"/>
                  </a:cubicBezTo>
                  <a:cubicBezTo>
                    <a:pt x="103" y="23"/>
                    <a:pt x="103" y="23"/>
                    <a:pt x="103" y="23"/>
                  </a:cubicBezTo>
                  <a:cubicBezTo>
                    <a:pt x="103" y="21"/>
                    <a:pt x="102" y="20"/>
                    <a:pt x="102" y="18"/>
                  </a:cubicBezTo>
                  <a:cubicBezTo>
                    <a:pt x="102" y="14"/>
                    <a:pt x="102" y="10"/>
                    <a:pt x="103" y="6"/>
                  </a:cubicBezTo>
                  <a:cubicBezTo>
                    <a:pt x="103" y="5"/>
                    <a:pt x="103" y="5"/>
                    <a:pt x="103" y="5"/>
                  </a:cubicBezTo>
                  <a:cubicBezTo>
                    <a:pt x="104" y="4"/>
                    <a:pt x="104" y="3"/>
                    <a:pt x="104" y="3"/>
                  </a:cubicBezTo>
                  <a:cubicBezTo>
                    <a:pt x="104" y="3"/>
                    <a:pt x="104" y="3"/>
                    <a:pt x="104" y="3"/>
                  </a:cubicBezTo>
                  <a:cubicBezTo>
                    <a:pt x="104" y="1"/>
                    <a:pt x="104" y="1"/>
                    <a:pt x="104" y="1"/>
                  </a:cubicBezTo>
                  <a:cubicBezTo>
                    <a:pt x="104" y="1"/>
                    <a:pt x="104" y="1"/>
                    <a:pt x="104" y="1"/>
                  </a:cubicBezTo>
                  <a:cubicBezTo>
                    <a:pt x="104" y="1"/>
                    <a:pt x="103" y="1"/>
                    <a:pt x="103" y="1"/>
                  </a:cubicBezTo>
                  <a:cubicBezTo>
                    <a:pt x="98" y="1"/>
                    <a:pt x="94" y="1"/>
                    <a:pt x="89" y="1"/>
                  </a:cubicBezTo>
                  <a:cubicBezTo>
                    <a:pt x="86" y="1"/>
                    <a:pt x="82" y="1"/>
                    <a:pt x="79" y="0"/>
                  </a:cubicBezTo>
                  <a:cubicBezTo>
                    <a:pt x="77" y="0"/>
                    <a:pt x="77" y="0"/>
                    <a:pt x="77" y="0"/>
                  </a:cubicBezTo>
                  <a:cubicBezTo>
                    <a:pt x="76" y="0"/>
                    <a:pt x="76" y="0"/>
                    <a:pt x="76" y="0"/>
                  </a:cubicBezTo>
                  <a:cubicBezTo>
                    <a:pt x="76" y="0"/>
                    <a:pt x="76" y="0"/>
                    <a:pt x="76" y="0"/>
                  </a:cubicBezTo>
                  <a:cubicBezTo>
                    <a:pt x="75" y="0"/>
                    <a:pt x="74" y="0"/>
                    <a:pt x="73" y="0"/>
                  </a:cubicBezTo>
                  <a:cubicBezTo>
                    <a:pt x="72" y="0"/>
                    <a:pt x="72" y="0"/>
                    <a:pt x="72" y="0"/>
                  </a:cubicBezTo>
                  <a:cubicBezTo>
                    <a:pt x="71" y="0"/>
                    <a:pt x="69" y="0"/>
                    <a:pt x="68" y="0"/>
                  </a:cubicBezTo>
                  <a:cubicBezTo>
                    <a:pt x="68" y="0"/>
                    <a:pt x="68" y="0"/>
                    <a:pt x="68" y="0"/>
                  </a:cubicBezTo>
                  <a:cubicBezTo>
                    <a:pt x="68" y="0"/>
                    <a:pt x="68" y="0"/>
                    <a:pt x="68"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233"/>
            <p:cNvSpPr/>
            <p:nvPr/>
          </p:nvSpPr>
          <p:spPr bwMode="auto">
            <a:xfrm>
              <a:off x="4181" y="2632"/>
              <a:ext cx="106" cy="64"/>
            </a:xfrm>
            <a:custGeom>
              <a:gdLst>
                <a:gd name="T0" fmla="*/ 11 w 45"/>
                <a:gd name="T1" fmla="*/ 0 h 27"/>
                <a:gd name="T2" fmla="*/ 8 w 45"/>
                <a:gd name="T3" fmla="*/ 10 h 27"/>
                <a:gd name="T4" fmla="*/ 8 w 45"/>
                <a:gd name="T5" fmla="*/ 10 h 27"/>
                <a:gd name="T6" fmla="*/ 18 w 45"/>
                <a:gd name="T7" fmla="*/ 14 h 27"/>
                <a:gd name="T8" fmla="*/ 17 w 45"/>
                <a:gd name="T9" fmla="*/ 16 h 27"/>
                <a:gd name="T10" fmla="*/ 7 w 45"/>
                <a:gd name="T11" fmla="*/ 12 h 27"/>
                <a:gd name="T12" fmla="*/ 8 w 45"/>
                <a:gd name="T13" fmla="*/ 14 h 27"/>
                <a:gd name="T14" fmla="*/ 9 w 45"/>
                <a:gd name="T15" fmla="*/ 14 h 27"/>
                <a:gd name="T16" fmla="*/ 7 w 45"/>
                <a:gd name="T17" fmla="*/ 15 h 27"/>
                <a:gd name="T18" fmla="*/ 3 w 45"/>
                <a:gd name="T19" fmla="*/ 20 h 27"/>
                <a:gd name="T20" fmla="*/ 2 w 45"/>
                <a:gd name="T21" fmla="*/ 25 h 27"/>
                <a:gd name="T22" fmla="*/ 3 w 45"/>
                <a:gd name="T23" fmla="*/ 25 h 27"/>
                <a:gd name="T24" fmla="*/ 3 w 45"/>
                <a:gd name="T25" fmla="*/ 25 h 27"/>
                <a:gd name="T26" fmla="*/ 4 w 45"/>
                <a:gd name="T27" fmla="*/ 25 h 27"/>
                <a:gd name="T28" fmla="*/ 4 w 45"/>
                <a:gd name="T29" fmla="*/ 25 h 27"/>
                <a:gd name="T30" fmla="*/ 5 w 45"/>
                <a:gd name="T31" fmla="*/ 27 h 27"/>
                <a:gd name="T32" fmla="*/ 6 w 45"/>
                <a:gd name="T33" fmla="*/ 27 h 27"/>
                <a:gd name="T34" fmla="*/ 7 w 45"/>
                <a:gd name="T35" fmla="*/ 26 h 27"/>
                <a:gd name="T36" fmla="*/ 7 w 45"/>
                <a:gd name="T37" fmla="*/ 25 h 27"/>
                <a:gd name="T38" fmla="*/ 10 w 45"/>
                <a:gd name="T39" fmla="*/ 25 h 27"/>
                <a:gd name="T40" fmla="*/ 11 w 45"/>
                <a:gd name="T41" fmla="*/ 25 h 27"/>
                <a:gd name="T42" fmla="*/ 12 w 45"/>
                <a:gd name="T43" fmla="*/ 25 h 27"/>
                <a:gd name="T44" fmla="*/ 13 w 45"/>
                <a:gd name="T45" fmla="*/ 25 h 27"/>
                <a:gd name="T46" fmla="*/ 16 w 45"/>
                <a:gd name="T47" fmla="*/ 25 h 27"/>
                <a:gd name="T48" fmla="*/ 19 w 45"/>
                <a:gd name="T49" fmla="*/ 25 h 27"/>
                <a:gd name="T50" fmla="*/ 20 w 45"/>
                <a:gd name="T51" fmla="*/ 25 h 27"/>
                <a:gd name="T52" fmla="*/ 23 w 45"/>
                <a:gd name="T53" fmla="*/ 25 h 27"/>
                <a:gd name="T54" fmla="*/ 38 w 45"/>
                <a:gd name="T55" fmla="*/ 25 h 27"/>
                <a:gd name="T56" fmla="*/ 39 w 45"/>
                <a:gd name="T57" fmla="*/ 25 h 27"/>
                <a:gd name="T58" fmla="*/ 40 w 45"/>
                <a:gd name="T59" fmla="*/ 25 h 27"/>
                <a:gd name="T60" fmla="*/ 45 w 45"/>
                <a:gd name="T61" fmla="*/ 25 h 27"/>
                <a:gd name="T62" fmla="*/ 45 w 45"/>
                <a:gd name="T63" fmla="*/ 25 h 27"/>
                <a:gd name="T64" fmla="*/ 45 w 45"/>
                <a:gd name="T65" fmla="*/ 15 h 27"/>
                <a:gd name="T66" fmla="*/ 45 w 45"/>
                <a:gd name="T67" fmla="*/ 15 h 27"/>
                <a:gd name="T68" fmla="*/ 44 w 45"/>
                <a:gd name="T69" fmla="*/ 11 h 27"/>
                <a:gd name="T70" fmla="*/ 44 w 45"/>
                <a:gd name="T71" fmla="*/ 7 h 27"/>
                <a:gd name="T72" fmla="*/ 44 w 45"/>
                <a:gd name="T73" fmla="*/ 4 h 27"/>
                <a:gd name="T74" fmla="*/ 39 w 45"/>
                <a:gd name="T75" fmla="*/ 4 h 27"/>
                <a:gd name="T76" fmla="*/ 37 w 45"/>
                <a:gd name="T77" fmla="*/ 3 h 27"/>
                <a:gd name="T78" fmla="*/ 25 w 45"/>
                <a:gd name="T79" fmla="*/ 3 h 27"/>
                <a:gd name="T80" fmla="*/ 11 w 45"/>
                <a:gd name="T81"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 h="27">
                  <a:moveTo>
                    <a:pt x="11" y="0"/>
                  </a:moveTo>
                  <a:cubicBezTo>
                    <a:pt x="11" y="4"/>
                    <a:pt x="11" y="6"/>
                    <a:pt x="8" y="10"/>
                  </a:cubicBezTo>
                  <a:cubicBezTo>
                    <a:pt x="8" y="10"/>
                    <a:pt x="8" y="10"/>
                    <a:pt x="8" y="10"/>
                  </a:cubicBezTo>
                  <a:cubicBezTo>
                    <a:pt x="18" y="14"/>
                    <a:pt x="18" y="14"/>
                    <a:pt x="18" y="14"/>
                  </a:cubicBezTo>
                  <a:cubicBezTo>
                    <a:pt x="17" y="16"/>
                    <a:pt x="17" y="16"/>
                    <a:pt x="17" y="16"/>
                  </a:cubicBezTo>
                  <a:cubicBezTo>
                    <a:pt x="7" y="12"/>
                    <a:pt x="7" y="12"/>
                    <a:pt x="7" y="12"/>
                  </a:cubicBezTo>
                  <a:cubicBezTo>
                    <a:pt x="7" y="13"/>
                    <a:pt x="7" y="14"/>
                    <a:pt x="8" y="14"/>
                  </a:cubicBezTo>
                  <a:cubicBezTo>
                    <a:pt x="8" y="14"/>
                    <a:pt x="9" y="14"/>
                    <a:pt x="9" y="14"/>
                  </a:cubicBezTo>
                  <a:cubicBezTo>
                    <a:pt x="9" y="14"/>
                    <a:pt x="7" y="14"/>
                    <a:pt x="7" y="15"/>
                  </a:cubicBezTo>
                  <a:cubicBezTo>
                    <a:pt x="6" y="16"/>
                    <a:pt x="4" y="18"/>
                    <a:pt x="3" y="20"/>
                  </a:cubicBezTo>
                  <a:cubicBezTo>
                    <a:pt x="0" y="24"/>
                    <a:pt x="0" y="24"/>
                    <a:pt x="2" y="25"/>
                  </a:cubicBezTo>
                  <a:cubicBezTo>
                    <a:pt x="3" y="25"/>
                    <a:pt x="3" y="25"/>
                    <a:pt x="3" y="25"/>
                  </a:cubicBezTo>
                  <a:cubicBezTo>
                    <a:pt x="3" y="25"/>
                    <a:pt x="3" y="25"/>
                    <a:pt x="3" y="25"/>
                  </a:cubicBezTo>
                  <a:cubicBezTo>
                    <a:pt x="4" y="25"/>
                    <a:pt x="4" y="25"/>
                    <a:pt x="4" y="25"/>
                  </a:cubicBezTo>
                  <a:cubicBezTo>
                    <a:pt x="4" y="25"/>
                    <a:pt x="4" y="25"/>
                    <a:pt x="4" y="25"/>
                  </a:cubicBezTo>
                  <a:cubicBezTo>
                    <a:pt x="5" y="25"/>
                    <a:pt x="5" y="27"/>
                    <a:pt x="5" y="27"/>
                  </a:cubicBezTo>
                  <a:cubicBezTo>
                    <a:pt x="6" y="27"/>
                    <a:pt x="6" y="27"/>
                    <a:pt x="6" y="27"/>
                  </a:cubicBezTo>
                  <a:cubicBezTo>
                    <a:pt x="6" y="27"/>
                    <a:pt x="6" y="27"/>
                    <a:pt x="7" y="26"/>
                  </a:cubicBezTo>
                  <a:cubicBezTo>
                    <a:pt x="7" y="25"/>
                    <a:pt x="7" y="25"/>
                    <a:pt x="7" y="25"/>
                  </a:cubicBezTo>
                  <a:cubicBezTo>
                    <a:pt x="10" y="25"/>
                    <a:pt x="10" y="25"/>
                    <a:pt x="10" y="25"/>
                  </a:cubicBezTo>
                  <a:cubicBezTo>
                    <a:pt x="11" y="25"/>
                    <a:pt x="11" y="25"/>
                    <a:pt x="11" y="25"/>
                  </a:cubicBezTo>
                  <a:cubicBezTo>
                    <a:pt x="11" y="25"/>
                    <a:pt x="12" y="25"/>
                    <a:pt x="12" y="25"/>
                  </a:cubicBezTo>
                  <a:cubicBezTo>
                    <a:pt x="13" y="25"/>
                    <a:pt x="13" y="25"/>
                    <a:pt x="13" y="25"/>
                  </a:cubicBezTo>
                  <a:cubicBezTo>
                    <a:pt x="14" y="25"/>
                    <a:pt x="15" y="25"/>
                    <a:pt x="16" y="25"/>
                  </a:cubicBezTo>
                  <a:cubicBezTo>
                    <a:pt x="17" y="25"/>
                    <a:pt x="18" y="25"/>
                    <a:pt x="19" y="25"/>
                  </a:cubicBezTo>
                  <a:cubicBezTo>
                    <a:pt x="20" y="25"/>
                    <a:pt x="20" y="25"/>
                    <a:pt x="20" y="25"/>
                  </a:cubicBezTo>
                  <a:cubicBezTo>
                    <a:pt x="21" y="25"/>
                    <a:pt x="22" y="25"/>
                    <a:pt x="23" y="25"/>
                  </a:cubicBezTo>
                  <a:cubicBezTo>
                    <a:pt x="38" y="25"/>
                    <a:pt x="38" y="25"/>
                    <a:pt x="38" y="25"/>
                  </a:cubicBezTo>
                  <a:cubicBezTo>
                    <a:pt x="38" y="25"/>
                    <a:pt x="39" y="25"/>
                    <a:pt x="39" y="25"/>
                  </a:cubicBezTo>
                  <a:cubicBezTo>
                    <a:pt x="40" y="25"/>
                    <a:pt x="40" y="25"/>
                    <a:pt x="40" y="25"/>
                  </a:cubicBezTo>
                  <a:cubicBezTo>
                    <a:pt x="42" y="25"/>
                    <a:pt x="44" y="25"/>
                    <a:pt x="45" y="25"/>
                  </a:cubicBezTo>
                  <a:cubicBezTo>
                    <a:pt x="45" y="25"/>
                    <a:pt x="45" y="25"/>
                    <a:pt x="45" y="25"/>
                  </a:cubicBezTo>
                  <a:cubicBezTo>
                    <a:pt x="45" y="24"/>
                    <a:pt x="45" y="22"/>
                    <a:pt x="45" y="15"/>
                  </a:cubicBezTo>
                  <a:cubicBezTo>
                    <a:pt x="45" y="15"/>
                    <a:pt x="45" y="15"/>
                    <a:pt x="45" y="15"/>
                  </a:cubicBezTo>
                  <a:cubicBezTo>
                    <a:pt x="44" y="11"/>
                    <a:pt x="44" y="11"/>
                    <a:pt x="44" y="11"/>
                  </a:cubicBezTo>
                  <a:cubicBezTo>
                    <a:pt x="44" y="10"/>
                    <a:pt x="44" y="8"/>
                    <a:pt x="44" y="7"/>
                  </a:cubicBezTo>
                  <a:cubicBezTo>
                    <a:pt x="44" y="4"/>
                    <a:pt x="44" y="4"/>
                    <a:pt x="44" y="4"/>
                  </a:cubicBezTo>
                  <a:cubicBezTo>
                    <a:pt x="43" y="4"/>
                    <a:pt x="41" y="4"/>
                    <a:pt x="39" y="4"/>
                  </a:cubicBezTo>
                  <a:cubicBezTo>
                    <a:pt x="39" y="3"/>
                    <a:pt x="38" y="3"/>
                    <a:pt x="37" y="3"/>
                  </a:cubicBezTo>
                  <a:cubicBezTo>
                    <a:pt x="25" y="3"/>
                    <a:pt x="25" y="3"/>
                    <a:pt x="25" y="3"/>
                  </a:cubicBezTo>
                  <a:cubicBezTo>
                    <a:pt x="18" y="3"/>
                    <a:pt x="14"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234"/>
            <p:cNvSpPr/>
            <p:nvPr/>
          </p:nvSpPr>
          <p:spPr bwMode="auto">
            <a:xfrm>
              <a:off x="4332" y="3008"/>
              <a:ext cx="45" cy="61"/>
            </a:xfrm>
            <a:custGeom>
              <a:gdLst>
                <a:gd name="T0" fmla="*/ 17 w 19"/>
                <a:gd name="T1" fmla="*/ 0 h 26"/>
                <a:gd name="T2" fmla="*/ 12 w 19"/>
                <a:gd name="T3" fmla="*/ 4 h 26"/>
                <a:gd name="T4" fmla="*/ 11 w 19"/>
                <a:gd name="T5" fmla="*/ 5 h 26"/>
                <a:gd name="T6" fmla="*/ 7 w 19"/>
                <a:gd name="T7" fmla="*/ 8 h 26"/>
                <a:gd name="T8" fmla="*/ 6 w 19"/>
                <a:gd name="T9" fmla="*/ 9 h 26"/>
                <a:gd name="T10" fmla="*/ 3 w 19"/>
                <a:gd name="T11" fmla="*/ 11 h 26"/>
                <a:gd name="T12" fmla="*/ 1 w 19"/>
                <a:gd name="T13" fmla="*/ 13 h 26"/>
                <a:gd name="T14" fmla="*/ 0 w 19"/>
                <a:gd name="T15" fmla="*/ 13 h 26"/>
                <a:gd name="T16" fmla="*/ 2 w 19"/>
                <a:gd name="T17" fmla="*/ 17 h 26"/>
                <a:gd name="T18" fmla="*/ 3 w 19"/>
                <a:gd name="T19" fmla="*/ 17 h 26"/>
                <a:gd name="T20" fmla="*/ 3 w 19"/>
                <a:gd name="T21" fmla="*/ 26 h 26"/>
                <a:gd name="T22" fmla="*/ 4 w 19"/>
                <a:gd name="T23" fmla="*/ 26 h 26"/>
                <a:gd name="T24" fmla="*/ 8 w 19"/>
                <a:gd name="T25" fmla="*/ 25 h 26"/>
                <a:gd name="T26" fmla="*/ 7 w 19"/>
                <a:gd name="T27" fmla="*/ 17 h 26"/>
                <a:gd name="T28" fmla="*/ 7 w 19"/>
                <a:gd name="T29" fmla="*/ 14 h 26"/>
                <a:gd name="T30" fmla="*/ 7 w 19"/>
                <a:gd name="T31" fmla="*/ 13 h 26"/>
                <a:gd name="T32" fmla="*/ 7 w 19"/>
                <a:gd name="T33" fmla="*/ 13 h 26"/>
                <a:gd name="T34" fmla="*/ 7 w 19"/>
                <a:gd name="T35" fmla="*/ 12 h 26"/>
                <a:gd name="T36" fmla="*/ 8 w 19"/>
                <a:gd name="T37" fmla="*/ 10 h 26"/>
                <a:gd name="T38" fmla="*/ 10 w 19"/>
                <a:gd name="T39" fmla="*/ 8 h 26"/>
                <a:gd name="T40" fmla="*/ 15 w 19"/>
                <a:gd name="T41" fmla="*/ 4 h 26"/>
                <a:gd name="T42" fmla="*/ 15 w 19"/>
                <a:gd name="T43" fmla="*/ 4 h 26"/>
                <a:gd name="T44" fmla="*/ 19 w 19"/>
                <a:gd name="T45" fmla="*/ 1 h 26"/>
                <a:gd name="T46" fmla="*/ 18 w 19"/>
                <a:gd name="T47" fmla="*/ 0 h 26"/>
                <a:gd name="T48" fmla="*/ 17 w 19"/>
                <a:gd name="T49"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7" y="0"/>
                  </a:moveTo>
                  <a:cubicBezTo>
                    <a:pt x="15" y="2"/>
                    <a:pt x="13" y="3"/>
                    <a:pt x="12" y="4"/>
                  </a:cubicBezTo>
                  <a:cubicBezTo>
                    <a:pt x="11" y="5"/>
                    <a:pt x="11" y="5"/>
                    <a:pt x="11" y="5"/>
                  </a:cubicBezTo>
                  <a:cubicBezTo>
                    <a:pt x="10" y="6"/>
                    <a:pt x="8" y="7"/>
                    <a:pt x="7" y="8"/>
                  </a:cubicBezTo>
                  <a:cubicBezTo>
                    <a:pt x="6" y="9"/>
                    <a:pt x="6" y="9"/>
                    <a:pt x="6" y="9"/>
                  </a:cubicBezTo>
                  <a:cubicBezTo>
                    <a:pt x="5" y="9"/>
                    <a:pt x="4" y="10"/>
                    <a:pt x="3" y="11"/>
                  </a:cubicBezTo>
                  <a:cubicBezTo>
                    <a:pt x="1" y="13"/>
                    <a:pt x="1" y="13"/>
                    <a:pt x="1" y="13"/>
                  </a:cubicBezTo>
                  <a:cubicBezTo>
                    <a:pt x="0" y="13"/>
                    <a:pt x="0" y="13"/>
                    <a:pt x="0" y="13"/>
                  </a:cubicBezTo>
                  <a:cubicBezTo>
                    <a:pt x="1" y="15"/>
                    <a:pt x="2" y="16"/>
                    <a:pt x="2" y="17"/>
                  </a:cubicBezTo>
                  <a:cubicBezTo>
                    <a:pt x="3" y="17"/>
                    <a:pt x="3" y="17"/>
                    <a:pt x="3" y="17"/>
                  </a:cubicBezTo>
                  <a:cubicBezTo>
                    <a:pt x="3" y="20"/>
                    <a:pt x="3" y="23"/>
                    <a:pt x="3" y="26"/>
                  </a:cubicBezTo>
                  <a:cubicBezTo>
                    <a:pt x="4" y="26"/>
                    <a:pt x="4" y="26"/>
                    <a:pt x="4" y="26"/>
                  </a:cubicBezTo>
                  <a:cubicBezTo>
                    <a:pt x="6" y="25"/>
                    <a:pt x="7" y="25"/>
                    <a:pt x="8" y="25"/>
                  </a:cubicBezTo>
                  <a:cubicBezTo>
                    <a:pt x="8" y="24"/>
                    <a:pt x="8" y="21"/>
                    <a:pt x="7" y="17"/>
                  </a:cubicBezTo>
                  <a:cubicBezTo>
                    <a:pt x="7" y="15"/>
                    <a:pt x="7" y="14"/>
                    <a:pt x="7" y="14"/>
                  </a:cubicBezTo>
                  <a:cubicBezTo>
                    <a:pt x="7" y="13"/>
                    <a:pt x="7" y="13"/>
                    <a:pt x="7" y="13"/>
                  </a:cubicBezTo>
                  <a:cubicBezTo>
                    <a:pt x="7" y="13"/>
                    <a:pt x="7" y="13"/>
                    <a:pt x="7" y="13"/>
                  </a:cubicBezTo>
                  <a:cubicBezTo>
                    <a:pt x="7" y="12"/>
                    <a:pt x="7" y="12"/>
                    <a:pt x="7" y="12"/>
                  </a:cubicBezTo>
                  <a:cubicBezTo>
                    <a:pt x="7" y="11"/>
                    <a:pt x="7" y="11"/>
                    <a:pt x="8" y="10"/>
                  </a:cubicBezTo>
                  <a:cubicBezTo>
                    <a:pt x="8" y="9"/>
                    <a:pt x="9" y="8"/>
                    <a:pt x="10" y="8"/>
                  </a:cubicBezTo>
                  <a:cubicBezTo>
                    <a:pt x="11" y="6"/>
                    <a:pt x="13" y="5"/>
                    <a:pt x="15" y="4"/>
                  </a:cubicBezTo>
                  <a:cubicBezTo>
                    <a:pt x="15" y="4"/>
                    <a:pt x="15" y="4"/>
                    <a:pt x="15" y="4"/>
                  </a:cubicBezTo>
                  <a:cubicBezTo>
                    <a:pt x="16" y="3"/>
                    <a:pt x="18" y="2"/>
                    <a:pt x="19" y="1"/>
                  </a:cubicBezTo>
                  <a:cubicBezTo>
                    <a:pt x="18" y="0"/>
                    <a:pt x="18" y="0"/>
                    <a:pt x="18" y="0"/>
                  </a:cubicBez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235"/>
            <p:cNvSpPr/>
            <p:nvPr/>
          </p:nvSpPr>
          <p:spPr bwMode="auto">
            <a:xfrm>
              <a:off x="3713" y="2070"/>
              <a:ext cx="156" cy="335"/>
            </a:xfrm>
            <a:custGeom>
              <a:gdLst>
                <a:gd name="T0" fmla="*/ 44 w 66"/>
                <a:gd name="T1" fmla="*/ 0 h 142"/>
                <a:gd name="T2" fmla="*/ 39 w 66"/>
                <a:gd name="T3" fmla="*/ 2 h 142"/>
                <a:gd name="T4" fmla="*/ 37 w 66"/>
                <a:gd name="T5" fmla="*/ 2 h 142"/>
                <a:gd name="T6" fmla="*/ 38 w 66"/>
                <a:gd name="T7" fmla="*/ 7 h 142"/>
                <a:gd name="T8" fmla="*/ 38 w 66"/>
                <a:gd name="T9" fmla="*/ 10 h 142"/>
                <a:gd name="T10" fmla="*/ 38 w 66"/>
                <a:gd name="T11" fmla="*/ 13 h 142"/>
                <a:gd name="T12" fmla="*/ 32 w 66"/>
                <a:gd name="T13" fmla="*/ 18 h 142"/>
                <a:gd name="T14" fmla="*/ 29 w 66"/>
                <a:gd name="T15" fmla="*/ 20 h 142"/>
                <a:gd name="T16" fmla="*/ 28 w 66"/>
                <a:gd name="T17" fmla="*/ 21 h 142"/>
                <a:gd name="T18" fmla="*/ 25 w 66"/>
                <a:gd name="T19" fmla="*/ 22 h 142"/>
                <a:gd name="T20" fmla="*/ 23 w 66"/>
                <a:gd name="T21" fmla="*/ 22 h 142"/>
                <a:gd name="T22" fmla="*/ 21 w 66"/>
                <a:gd name="T23" fmla="*/ 22 h 142"/>
                <a:gd name="T24" fmla="*/ 18 w 66"/>
                <a:gd name="T25" fmla="*/ 22 h 142"/>
                <a:gd name="T26" fmla="*/ 14 w 66"/>
                <a:gd name="T27" fmla="*/ 22 h 142"/>
                <a:gd name="T28" fmla="*/ 10 w 66"/>
                <a:gd name="T29" fmla="*/ 24 h 142"/>
                <a:gd name="T30" fmla="*/ 7 w 66"/>
                <a:gd name="T31" fmla="*/ 27 h 142"/>
                <a:gd name="T32" fmla="*/ 5 w 66"/>
                <a:gd name="T33" fmla="*/ 31 h 142"/>
                <a:gd name="T34" fmla="*/ 1 w 66"/>
                <a:gd name="T35" fmla="*/ 34 h 142"/>
                <a:gd name="T36" fmla="*/ 0 w 66"/>
                <a:gd name="T37" fmla="*/ 39 h 142"/>
                <a:gd name="T38" fmla="*/ 2 w 66"/>
                <a:gd name="T39" fmla="*/ 45 h 142"/>
                <a:gd name="T40" fmla="*/ 8 w 66"/>
                <a:gd name="T41" fmla="*/ 49 h 142"/>
                <a:gd name="T42" fmla="*/ 11 w 66"/>
                <a:gd name="T43" fmla="*/ 51 h 142"/>
                <a:gd name="T44" fmla="*/ 14 w 66"/>
                <a:gd name="T45" fmla="*/ 62 h 142"/>
                <a:gd name="T46" fmla="*/ 14 w 66"/>
                <a:gd name="T47" fmla="*/ 66 h 142"/>
                <a:gd name="T48" fmla="*/ 14 w 66"/>
                <a:gd name="T49" fmla="*/ 68 h 142"/>
                <a:gd name="T50" fmla="*/ 16 w 66"/>
                <a:gd name="T51" fmla="*/ 70 h 142"/>
                <a:gd name="T52" fmla="*/ 18 w 66"/>
                <a:gd name="T53" fmla="*/ 73 h 142"/>
                <a:gd name="T54" fmla="*/ 19 w 66"/>
                <a:gd name="T55" fmla="*/ 88 h 142"/>
                <a:gd name="T56" fmla="*/ 20 w 66"/>
                <a:gd name="T57" fmla="*/ 97 h 142"/>
                <a:gd name="T58" fmla="*/ 19 w 66"/>
                <a:gd name="T59" fmla="*/ 120 h 142"/>
                <a:gd name="T60" fmla="*/ 19 w 66"/>
                <a:gd name="T61" fmla="*/ 126 h 142"/>
                <a:gd name="T62" fmla="*/ 19 w 66"/>
                <a:gd name="T63" fmla="*/ 130 h 142"/>
                <a:gd name="T64" fmla="*/ 19 w 66"/>
                <a:gd name="T65" fmla="*/ 131 h 142"/>
                <a:gd name="T66" fmla="*/ 19 w 66"/>
                <a:gd name="T67" fmla="*/ 132 h 142"/>
                <a:gd name="T68" fmla="*/ 27 w 66"/>
                <a:gd name="T69" fmla="*/ 134 h 142"/>
                <a:gd name="T70" fmla="*/ 23 w 66"/>
                <a:gd name="T71" fmla="*/ 138 h 142"/>
                <a:gd name="T72" fmla="*/ 31 w 66"/>
                <a:gd name="T73" fmla="*/ 141 h 142"/>
                <a:gd name="T74" fmla="*/ 40 w 66"/>
                <a:gd name="T75" fmla="*/ 140 h 142"/>
                <a:gd name="T76" fmla="*/ 40 w 66"/>
                <a:gd name="T77" fmla="*/ 128 h 142"/>
                <a:gd name="T78" fmla="*/ 40 w 66"/>
                <a:gd name="T79" fmla="*/ 116 h 142"/>
                <a:gd name="T80" fmla="*/ 39 w 66"/>
                <a:gd name="T81" fmla="*/ 105 h 142"/>
                <a:gd name="T82" fmla="*/ 39 w 66"/>
                <a:gd name="T83" fmla="*/ 95 h 142"/>
                <a:gd name="T84" fmla="*/ 40 w 66"/>
                <a:gd name="T85" fmla="*/ 83 h 142"/>
                <a:gd name="T86" fmla="*/ 39 w 66"/>
                <a:gd name="T87" fmla="*/ 78 h 142"/>
                <a:gd name="T88" fmla="*/ 42 w 66"/>
                <a:gd name="T89" fmla="*/ 73 h 142"/>
                <a:gd name="T90" fmla="*/ 47 w 66"/>
                <a:gd name="T91" fmla="*/ 73 h 142"/>
                <a:gd name="T92" fmla="*/ 49 w 66"/>
                <a:gd name="T93" fmla="*/ 73 h 142"/>
                <a:gd name="T94" fmla="*/ 49 w 66"/>
                <a:gd name="T95" fmla="*/ 71 h 142"/>
                <a:gd name="T96" fmla="*/ 54 w 66"/>
                <a:gd name="T97" fmla="*/ 59 h 142"/>
                <a:gd name="T98" fmla="*/ 60 w 66"/>
                <a:gd name="T99" fmla="*/ 51 h 142"/>
                <a:gd name="T100" fmla="*/ 60 w 66"/>
                <a:gd name="T101" fmla="*/ 46 h 142"/>
                <a:gd name="T102" fmla="*/ 61 w 66"/>
                <a:gd name="T103" fmla="*/ 43 h 142"/>
                <a:gd name="T104" fmla="*/ 64 w 66"/>
                <a:gd name="T105" fmla="*/ 40 h 142"/>
                <a:gd name="T106" fmla="*/ 66 w 66"/>
                <a:gd name="T107" fmla="*/ 37 h 142"/>
                <a:gd name="T108" fmla="*/ 65 w 66"/>
                <a:gd name="T109" fmla="*/ 35 h 142"/>
                <a:gd name="T110" fmla="*/ 64 w 66"/>
                <a:gd name="T111" fmla="*/ 30 h 142"/>
                <a:gd name="T112" fmla="*/ 62 w 66"/>
                <a:gd name="T113" fmla="*/ 27 h 142"/>
                <a:gd name="T114" fmla="*/ 59 w 66"/>
                <a:gd name="T115" fmla="*/ 16 h 142"/>
                <a:gd name="T116" fmla="*/ 57 w 66"/>
                <a:gd name="T117" fmla="*/ 13 h 142"/>
                <a:gd name="T118" fmla="*/ 45 w 66"/>
                <a:gd name="T119" fmla="*/ 0 h 1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142">
                  <a:moveTo>
                    <a:pt x="44" y="0"/>
                  </a:moveTo>
                  <a:cubicBezTo>
                    <a:pt x="44" y="0"/>
                    <a:pt x="44" y="0"/>
                    <a:pt x="44" y="0"/>
                  </a:cubicBezTo>
                  <a:cubicBezTo>
                    <a:pt x="43" y="1"/>
                    <a:pt x="41" y="1"/>
                    <a:pt x="40" y="1"/>
                  </a:cubicBezTo>
                  <a:cubicBezTo>
                    <a:pt x="39" y="2"/>
                    <a:pt x="39" y="2"/>
                    <a:pt x="39" y="2"/>
                  </a:cubicBezTo>
                  <a:cubicBezTo>
                    <a:pt x="38" y="2"/>
                    <a:pt x="38" y="2"/>
                    <a:pt x="37" y="2"/>
                  </a:cubicBezTo>
                  <a:cubicBezTo>
                    <a:pt x="37" y="2"/>
                    <a:pt x="37" y="2"/>
                    <a:pt x="37" y="2"/>
                  </a:cubicBezTo>
                  <a:cubicBezTo>
                    <a:pt x="37" y="3"/>
                    <a:pt x="37" y="5"/>
                    <a:pt x="37" y="6"/>
                  </a:cubicBezTo>
                  <a:cubicBezTo>
                    <a:pt x="38" y="7"/>
                    <a:pt x="38" y="7"/>
                    <a:pt x="38" y="7"/>
                  </a:cubicBezTo>
                  <a:cubicBezTo>
                    <a:pt x="38" y="8"/>
                    <a:pt x="38" y="8"/>
                    <a:pt x="38" y="8"/>
                  </a:cubicBezTo>
                  <a:cubicBezTo>
                    <a:pt x="38" y="9"/>
                    <a:pt x="38" y="9"/>
                    <a:pt x="38" y="10"/>
                  </a:cubicBezTo>
                  <a:cubicBezTo>
                    <a:pt x="38" y="10"/>
                    <a:pt x="38" y="10"/>
                    <a:pt x="38" y="10"/>
                  </a:cubicBezTo>
                  <a:cubicBezTo>
                    <a:pt x="38" y="13"/>
                    <a:pt x="38" y="13"/>
                    <a:pt x="38" y="13"/>
                  </a:cubicBezTo>
                  <a:cubicBezTo>
                    <a:pt x="37" y="12"/>
                    <a:pt x="37" y="12"/>
                    <a:pt x="37" y="12"/>
                  </a:cubicBezTo>
                  <a:cubicBezTo>
                    <a:pt x="36" y="15"/>
                    <a:pt x="33" y="18"/>
                    <a:pt x="32" y="18"/>
                  </a:cubicBezTo>
                  <a:cubicBezTo>
                    <a:pt x="31" y="19"/>
                    <a:pt x="31" y="19"/>
                    <a:pt x="30" y="20"/>
                  </a:cubicBezTo>
                  <a:cubicBezTo>
                    <a:pt x="29" y="20"/>
                    <a:pt x="29" y="20"/>
                    <a:pt x="29" y="20"/>
                  </a:cubicBezTo>
                  <a:cubicBezTo>
                    <a:pt x="29" y="21"/>
                    <a:pt x="29" y="21"/>
                    <a:pt x="29" y="21"/>
                  </a:cubicBezTo>
                  <a:cubicBezTo>
                    <a:pt x="29" y="21"/>
                    <a:pt x="28" y="21"/>
                    <a:pt x="28" y="21"/>
                  </a:cubicBezTo>
                  <a:cubicBezTo>
                    <a:pt x="27" y="22"/>
                    <a:pt x="27" y="22"/>
                    <a:pt x="26" y="22"/>
                  </a:cubicBezTo>
                  <a:cubicBezTo>
                    <a:pt x="26" y="22"/>
                    <a:pt x="25" y="22"/>
                    <a:pt x="25" y="22"/>
                  </a:cubicBezTo>
                  <a:cubicBezTo>
                    <a:pt x="25" y="22"/>
                    <a:pt x="24" y="22"/>
                    <a:pt x="24" y="22"/>
                  </a:cubicBezTo>
                  <a:cubicBezTo>
                    <a:pt x="23" y="22"/>
                    <a:pt x="23" y="22"/>
                    <a:pt x="23" y="22"/>
                  </a:cubicBezTo>
                  <a:cubicBezTo>
                    <a:pt x="23" y="22"/>
                    <a:pt x="22" y="22"/>
                    <a:pt x="22" y="22"/>
                  </a:cubicBezTo>
                  <a:cubicBezTo>
                    <a:pt x="22" y="22"/>
                    <a:pt x="22" y="22"/>
                    <a:pt x="21" y="22"/>
                  </a:cubicBezTo>
                  <a:cubicBezTo>
                    <a:pt x="20" y="22"/>
                    <a:pt x="19" y="22"/>
                    <a:pt x="18" y="22"/>
                  </a:cubicBezTo>
                  <a:cubicBezTo>
                    <a:pt x="18" y="22"/>
                    <a:pt x="18" y="22"/>
                    <a:pt x="18" y="22"/>
                  </a:cubicBezTo>
                  <a:cubicBezTo>
                    <a:pt x="17" y="22"/>
                    <a:pt x="16" y="22"/>
                    <a:pt x="15" y="22"/>
                  </a:cubicBezTo>
                  <a:cubicBezTo>
                    <a:pt x="14" y="22"/>
                    <a:pt x="14" y="22"/>
                    <a:pt x="14" y="22"/>
                  </a:cubicBezTo>
                  <a:cubicBezTo>
                    <a:pt x="13" y="22"/>
                    <a:pt x="13" y="22"/>
                    <a:pt x="13" y="22"/>
                  </a:cubicBezTo>
                  <a:cubicBezTo>
                    <a:pt x="12" y="22"/>
                    <a:pt x="11" y="23"/>
                    <a:pt x="10" y="24"/>
                  </a:cubicBezTo>
                  <a:cubicBezTo>
                    <a:pt x="10" y="24"/>
                    <a:pt x="10" y="24"/>
                    <a:pt x="10" y="24"/>
                  </a:cubicBezTo>
                  <a:cubicBezTo>
                    <a:pt x="9" y="25"/>
                    <a:pt x="7" y="26"/>
                    <a:pt x="7" y="27"/>
                  </a:cubicBezTo>
                  <a:cubicBezTo>
                    <a:pt x="10" y="30"/>
                    <a:pt x="10" y="30"/>
                    <a:pt x="10" y="30"/>
                  </a:cubicBezTo>
                  <a:cubicBezTo>
                    <a:pt x="5" y="31"/>
                    <a:pt x="5" y="31"/>
                    <a:pt x="5" y="31"/>
                  </a:cubicBezTo>
                  <a:cubicBezTo>
                    <a:pt x="4" y="32"/>
                    <a:pt x="3" y="32"/>
                    <a:pt x="2" y="32"/>
                  </a:cubicBezTo>
                  <a:cubicBezTo>
                    <a:pt x="1" y="34"/>
                    <a:pt x="1" y="34"/>
                    <a:pt x="1" y="34"/>
                  </a:cubicBezTo>
                  <a:cubicBezTo>
                    <a:pt x="1" y="34"/>
                    <a:pt x="1" y="34"/>
                    <a:pt x="1" y="34"/>
                  </a:cubicBezTo>
                  <a:cubicBezTo>
                    <a:pt x="1" y="36"/>
                    <a:pt x="0" y="37"/>
                    <a:pt x="0" y="39"/>
                  </a:cubicBezTo>
                  <a:cubicBezTo>
                    <a:pt x="0" y="39"/>
                    <a:pt x="0" y="40"/>
                    <a:pt x="0" y="41"/>
                  </a:cubicBezTo>
                  <a:cubicBezTo>
                    <a:pt x="0" y="42"/>
                    <a:pt x="1" y="44"/>
                    <a:pt x="2" y="45"/>
                  </a:cubicBezTo>
                  <a:cubicBezTo>
                    <a:pt x="3" y="46"/>
                    <a:pt x="5" y="47"/>
                    <a:pt x="7" y="48"/>
                  </a:cubicBezTo>
                  <a:cubicBezTo>
                    <a:pt x="8" y="49"/>
                    <a:pt x="8" y="49"/>
                    <a:pt x="8" y="49"/>
                  </a:cubicBezTo>
                  <a:cubicBezTo>
                    <a:pt x="9" y="49"/>
                    <a:pt x="10" y="50"/>
                    <a:pt x="10" y="50"/>
                  </a:cubicBezTo>
                  <a:cubicBezTo>
                    <a:pt x="11" y="51"/>
                    <a:pt x="11" y="51"/>
                    <a:pt x="11" y="51"/>
                  </a:cubicBezTo>
                  <a:cubicBezTo>
                    <a:pt x="11" y="51"/>
                    <a:pt x="11" y="51"/>
                    <a:pt x="11" y="51"/>
                  </a:cubicBezTo>
                  <a:cubicBezTo>
                    <a:pt x="14" y="52"/>
                    <a:pt x="14" y="56"/>
                    <a:pt x="14" y="62"/>
                  </a:cubicBezTo>
                  <a:cubicBezTo>
                    <a:pt x="14" y="63"/>
                    <a:pt x="14" y="64"/>
                    <a:pt x="14" y="65"/>
                  </a:cubicBezTo>
                  <a:cubicBezTo>
                    <a:pt x="14" y="66"/>
                    <a:pt x="14" y="66"/>
                    <a:pt x="14" y="66"/>
                  </a:cubicBezTo>
                  <a:cubicBezTo>
                    <a:pt x="14" y="66"/>
                    <a:pt x="14" y="67"/>
                    <a:pt x="14" y="67"/>
                  </a:cubicBezTo>
                  <a:cubicBezTo>
                    <a:pt x="14" y="68"/>
                    <a:pt x="14" y="68"/>
                    <a:pt x="14" y="68"/>
                  </a:cubicBezTo>
                  <a:cubicBezTo>
                    <a:pt x="15" y="69"/>
                    <a:pt x="15" y="69"/>
                    <a:pt x="15" y="69"/>
                  </a:cubicBezTo>
                  <a:cubicBezTo>
                    <a:pt x="15" y="69"/>
                    <a:pt x="15" y="70"/>
                    <a:pt x="16" y="70"/>
                  </a:cubicBezTo>
                  <a:cubicBezTo>
                    <a:pt x="16" y="70"/>
                    <a:pt x="16" y="70"/>
                    <a:pt x="16" y="70"/>
                  </a:cubicBezTo>
                  <a:cubicBezTo>
                    <a:pt x="17" y="71"/>
                    <a:pt x="17" y="72"/>
                    <a:pt x="18" y="73"/>
                  </a:cubicBezTo>
                  <a:cubicBezTo>
                    <a:pt x="20" y="76"/>
                    <a:pt x="20" y="81"/>
                    <a:pt x="20" y="86"/>
                  </a:cubicBezTo>
                  <a:cubicBezTo>
                    <a:pt x="19" y="88"/>
                    <a:pt x="19" y="88"/>
                    <a:pt x="19" y="88"/>
                  </a:cubicBezTo>
                  <a:cubicBezTo>
                    <a:pt x="19" y="90"/>
                    <a:pt x="19" y="93"/>
                    <a:pt x="20" y="95"/>
                  </a:cubicBezTo>
                  <a:cubicBezTo>
                    <a:pt x="20" y="97"/>
                    <a:pt x="20" y="97"/>
                    <a:pt x="20" y="97"/>
                  </a:cubicBezTo>
                  <a:cubicBezTo>
                    <a:pt x="20" y="102"/>
                    <a:pt x="21" y="108"/>
                    <a:pt x="20" y="113"/>
                  </a:cubicBezTo>
                  <a:cubicBezTo>
                    <a:pt x="20" y="115"/>
                    <a:pt x="20" y="117"/>
                    <a:pt x="19" y="120"/>
                  </a:cubicBezTo>
                  <a:cubicBezTo>
                    <a:pt x="19" y="123"/>
                    <a:pt x="19" y="123"/>
                    <a:pt x="19" y="123"/>
                  </a:cubicBezTo>
                  <a:cubicBezTo>
                    <a:pt x="19" y="124"/>
                    <a:pt x="19" y="125"/>
                    <a:pt x="19" y="126"/>
                  </a:cubicBezTo>
                  <a:cubicBezTo>
                    <a:pt x="19" y="127"/>
                    <a:pt x="19" y="128"/>
                    <a:pt x="19" y="129"/>
                  </a:cubicBezTo>
                  <a:cubicBezTo>
                    <a:pt x="19" y="129"/>
                    <a:pt x="19" y="130"/>
                    <a:pt x="19" y="130"/>
                  </a:cubicBezTo>
                  <a:cubicBezTo>
                    <a:pt x="19" y="131"/>
                    <a:pt x="19" y="131"/>
                    <a:pt x="19" y="131"/>
                  </a:cubicBezTo>
                  <a:cubicBezTo>
                    <a:pt x="19" y="131"/>
                    <a:pt x="19" y="131"/>
                    <a:pt x="19" y="131"/>
                  </a:cubicBezTo>
                  <a:cubicBezTo>
                    <a:pt x="19" y="132"/>
                    <a:pt x="19" y="132"/>
                    <a:pt x="19" y="132"/>
                  </a:cubicBezTo>
                  <a:cubicBezTo>
                    <a:pt x="19" y="132"/>
                    <a:pt x="19" y="132"/>
                    <a:pt x="19" y="132"/>
                  </a:cubicBezTo>
                  <a:cubicBezTo>
                    <a:pt x="20" y="133"/>
                    <a:pt x="21" y="135"/>
                    <a:pt x="22" y="136"/>
                  </a:cubicBezTo>
                  <a:cubicBezTo>
                    <a:pt x="27" y="134"/>
                    <a:pt x="27" y="134"/>
                    <a:pt x="27" y="134"/>
                  </a:cubicBezTo>
                  <a:cubicBezTo>
                    <a:pt x="23" y="138"/>
                    <a:pt x="23" y="138"/>
                    <a:pt x="23" y="138"/>
                  </a:cubicBezTo>
                  <a:cubicBezTo>
                    <a:pt x="23" y="138"/>
                    <a:pt x="23" y="138"/>
                    <a:pt x="23" y="138"/>
                  </a:cubicBezTo>
                  <a:cubicBezTo>
                    <a:pt x="23" y="140"/>
                    <a:pt x="23" y="141"/>
                    <a:pt x="23" y="142"/>
                  </a:cubicBezTo>
                  <a:cubicBezTo>
                    <a:pt x="26" y="142"/>
                    <a:pt x="28" y="141"/>
                    <a:pt x="31" y="141"/>
                  </a:cubicBezTo>
                  <a:cubicBezTo>
                    <a:pt x="32" y="140"/>
                    <a:pt x="37" y="141"/>
                    <a:pt x="40" y="140"/>
                  </a:cubicBezTo>
                  <a:cubicBezTo>
                    <a:pt x="40" y="140"/>
                    <a:pt x="40" y="140"/>
                    <a:pt x="40" y="140"/>
                  </a:cubicBezTo>
                  <a:cubicBezTo>
                    <a:pt x="39" y="138"/>
                    <a:pt x="40" y="134"/>
                    <a:pt x="40" y="132"/>
                  </a:cubicBezTo>
                  <a:cubicBezTo>
                    <a:pt x="41" y="131"/>
                    <a:pt x="40" y="130"/>
                    <a:pt x="40" y="128"/>
                  </a:cubicBezTo>
                  <a:cubicBezTo>
                    <a:pt x="40" y="127"/>
                    <a:pt x="40" y="125"/>
                    <a:pt x="40" y="123"/>
                  </a:cubicBezTo>
                  <a:cubicBezTo>
                    <a:pt x="40" y="121"/>
                    <a:pt x="40" y="119"/>
                    <a:pt x="40" y="116"/>
                  </a:cubicBezTo>
                  <a:cubicBezTo>
                    <a:pt x="40" y="111"/>
                    <a:pt x="40" y="111"/>
                    <a:pt x="40" y="111"/>
                  </a:cubicBezTo>
                  <a:cubicBezTo>
                    <a:pt x="39" y="109"/>
                    <a:pt x="39" y="107"/>
                    <a:pt x="39" y="105"/>
                  </a:cubicBezTo>
                  <a:cubicBezTo>
                    <a:pt x="38" y="103"/>
                    <a:pt x="38" y="100"/>
                    <a:pt x="39" y="96"/>
                  </a:cubicBezTo>
                  <a:cubicBezTo>
                    <a:pt x="39" y="95"/>
                    <a:pt x="39" y="95"/>
                    <a:pt x="39" y="95"/>
                  </a:cubicBezTo>
                  <a:cubicBezTo>
                    <a:pt x="39" y="95"/>
                    <a:pt x="39" y="94"/>
                    <a:pt x="39" y="94"/>
                  </a:cubicBezTo>
                  <a:cubicBezTo>
                    <a:pt x="39" y="90"/>
                    <a:pt x="40" y="86"/>
                    <a:pt x="40" y="83"/>
                  </a:cubicBezTo>
                  <a:cubicBezTo>
                    <a:pt x="40" y="81"/>
                    <a:pt x="40" y="79"/>
                    <a:pt x="40" y="78"/>
                  </a:cubicBezTo>
                  <a:cubicBezTo>
                    <a:pt x="39" y="78"/>
                    <a:pt x="39" y="78"/>
                    <a:pt x="39" y="78"/>
                  </a:cubicBezTo>
                  <a:cubicBezTo>
                    <a:pt x="40" y="78"/>
                    <a:pt x="40" y="78"/>
                    <a:pt x="40" y="78"/>
                  </a:cubicBezTo>
                  <a:cubicBezTo>
                    <a:pt x="40" y="76"/>
                    <a:pt x="41" y="74"/>
                    <a:pt x="42" y="73"/>
                  </a:cubicBezTo>
                  <a:cubicBezTo>
                    <a:pt x="43" y="73"/>
                    <a:pt x="44" y="72"/>
                    <a:pt x="45" y="72"/>
                  </a:cubicBezTo>
                  <a:cubicBezTo>
                    <a:pt x="46" y="72"/>
                    <a:pt x="46" y="72"/>
                    <a:pt x="47" y="73"/>
                  </a:cubicBezTo>
                  <a:cubicBezTo>
                    <a:pt x="47" y="73"/>
                    <a:pt x="48" y="73"/>
                    <a:pt x="48" y="73"/>
                  </a:cubicBezTo>
                  <a:cubicBezTo>
                    <a:pt x="48" y="73"/>
                    <a:pt x="49" y="73"/>
                    <a:pt x="49" y="73"/>
                  </a:cubicBezTo>
                  <a:cubicBezTo>
                    <a:pt x="49" y="73"/>
                    <a:pt x="49" y="73"/>
                    <a:pt x="49" y="73"/>
                  </a:cubicBezTo>
                  <a:cubicBezTo>
                    <a:pt x="49" y="73"/>
                    <a:pt x="49" y="72"/>
                    <a:pt x="49" y="71"/>
                  </a:cubicBezTo>
                  <a:cubicBezTo>
                    <a:pt x="50" y="69"/>
                    <a:pt x="51" y="67"/>
                    <a:pt x="52" y="64"/>
                  </a:cubicBezTo>
                  <a:cubicBezTo>
                    <a:pt x="52" y="63"/>
                    <a:pt x="53" y="61"/>
                    <a:pt x="54" y="59"/>
                  </a:cubicBezTo>
                  <a:cubicBezTo>
                    <a:pt x="60" y="52"/>
                    <a:pt x="60" y="52"/>
                    <a:pt x="60" y="52"/>
                  </a:cubicBezTo>
                  <a:cubicBezTo>
                    <a:pt x="60" y="51"/>
                    <a:pt x="60" y="51"/>
                    <a:pt x="60" y="51"/>
                  </a:cubicBezTo>
                  <a:cubicBezTo>
                    <a:pt x="60" y="50"/>
                    <a:pt x="60" y="50"/>
                    <a:pt x="60" y="50"/>
                  </a:cubicBezTo>
                  <a:cubicBezTo>
                    <a:pt x="60" y="50"/>
                    <a:pt x="60" y="48"/>
                    <a:pt x="60" y="46"/>
                  </a:cubicBezTo>
                  <a:cubicBezTo>
                    <a:pt x="60" y="45"/>
                    <a:pt x="60" y="44"/>
                    <a:pt x="61" y="44"/>
                  </a:cubicBezTo>
                  <a:cubicBezTo>
                    <a:pt x="61" y="43"/>
                    <a:pt x="61" y="43"/>
                    <a:pt x="61" y="43"/>
                  </a:cubicBezTo>
                  <a:cubicBezTo>
                    <a:pt x="62" y="42"/>
                    <a:pt x="62" y="41"/>
                    <a:pt x="63" y="40"/>
                  </a:cubicBezTo>
                  <a:cubicBezTo>
                    <a:pt x="64" y="40"/>
                    <a:pt x="64" y="40"/>
                    <a:pt x="64" y="40"/>
                  </a:cubicBezTo>
                  <a:cubicBezTo>
                    <a:pt x="64" y="39"/>
                    <a:pt x="64" y="39"/>
                    <a:pt x="64" y="39"/>
                  </a:cubicBezTo>
                  <a:cubicBezTo>
                    <a:pt x="65" y="38"/>
                    <a:pt x="65" y="37"/>
                    <a:pt x="66" y="37"/>
                  </a:cubicBezTo>
                  <a:cubicBezTo>
                    <a:pt x="66" y="37"/>
                    <a:pt x="66" y="37"/>
                    <a:pt x="66" y="37"/>
                  </a:cubicBezTo>
                  <a:cubicBezTo>
                    <a:pt x="65" y="36"/>
                    <a:pt x="65" y="36"/>
                    <a:pt x="65" y="35"/>
                  </a:cubicBezTo>
                  <a:cubicBezTo>
                    <a:pt x="65" y="33"/>
                    <a:pt x="65" y="33"/>
                    <a:pt x="65" y="33"/>
                  </a:cubicBezTo>
                  <a:cubicBezTo>
                    <a:pt x="64" y="32"/>
                    <a:pt x="64" y="31"/>
                    <a:pt x="64" y="30"/>
                  </a:cubicBezTo>
                  <a:cubicBezTo>
                    <a:pt x="64" y="29"/>
                    <a:pt x="63" y="28"/>
                    <a:pt x="62" y="27"/>
                  </a:cubicBezTo>
                  <a:cubicBezTo>
                    <a:pt x="62" y="27"/>
                    <a:pt x="62" y="27"/>
                    <a:pt x="62" y="27"/>
                  </a:cubicBezTo>
                  <a:cubicBezTo>
                    <a:pt x="60" y="25"/>
                    <a:pt x="57" y="21"/>
                    <a:pt x="58" y="17"/>
                  </a:cubicBezTo>
                  <a:cubicBezTo>
                    <a:pt x="59" y="16"/>
                    <a:pt x="59" y="16"/>
                    <a:pt x="59" y="16"/>
                  </a:cubicBezTo>
                  <a:cubicBezTo>
                    <a:pt x="59" y="16"/>
                    <a:pt x="59" y="15"/>
                    <a:pt x="59" y="14"/>
                  </a:cubicBezTo>
                  <a:cubicBezTo>
                    <a:pt x="59" y="14"/>
                    <a:pt x="59" y="14"/>
                    <a:pt x="57" y="13"/>
                  </a:cubicBezTo>
                  <a:cubicBezTo>
                    <a:pt x="53" y="10"/>
                    <a:pt x="49" y="5"/>
                    <a:pt x="46" y="2"/>
                  </a:cubicBezTo>
                  <a:cubicBezTo>
                    <a:pt x="46" y="1"/>
                    <a:pt x="45" y="1"/>
                    <a:pt x="45" y="0"/>
                  </a:cubicBezTo>
                  <a:cubicBezTo>
                    <a:pt x="44" y="0"/>
                    <a:pt x="44"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36"/>
            <p:cNvSpPr/>
            <p:nvPr/>
          </p:nvSpPr>
          <p:spPr bwMode="auto">
            <a:xfrm>
              <a:off x="3663" y="2143"/>
              <a:ext cx="90" cy="269"/>
            </a:xfrm>
            <a:custGeom>
              <a:gdLst>
                <a:gd name="T0" fmla="*/ 2 w 38"/>
                <a:gd name="T1" fmla="*/ 0 h 114"/>
                <a:gd name="T2" fmla="*/ 2 w 38"/>
                <a:gd name="T3" fmla="*/ 6 h 114"/>
                <a:gd name="T4" fmla="*/ 10 w 38"/>
                <a:gd name="T5" fmla="*/ 26 h 114"/>
                <a:gd name="T6" fmla="*/ 9 w 38"/>
                <a:gd name="T7" fmla="*/ 29 h 114"/>
                <a:gd name="T8" fmla="*/ 16 w 38"/>
                <a:gd name="T9" fmla="*/ 30 h 114"/>
                <a:gd name="T10" fmla="*/ 12 w 38"/>
                <a:gd name="T11" fmla="*/ 40 h 114"/>
                <a:gd name="T12" fmla="*/ 13 w 38"/>
                <a:gd name="T13" fmla="*/ 44 h 114"/>
                <a:gd name="T14" fmla="*/ 14 w 38"/>
                <a:gd name="T15" fmla="*/ 48 h 114"/>
                <a:gd name="T16" fmla="*/ 12 w 38"/>
                <a:gd name="T17" fmla="*/ 52 h 114"/>
                <a:gd name="T18" fmla="*/ 17 w 38"/>
                <a:gd name="T19" fmla="*/ 57 h 114"/>
                <a:gd name="T20" fmla="*/ 16 w 38"/>
                <a:gd name="T21" fmla="*/ 67 h 114"/>
                <a:gd name="T22" fmla="*/ 15 w 38"/>
                <a:gd name="T23" fmla="*/ 80 h 114"/>
                <a:gd name="T24" fmla="*/ 14 w 38"/>
                <a:gd name="T25" fmla="*/ 81 h 114"/>
                <a:gd name="T26" fmla="*/ 17 w 38"/>
                <a:gd name="T27" fmla="*/ 91 h 114"/>
                <a:gd name="T28" fmla="*/ 16 w 38"/>
                <a:gd name="T29" fmla="*/ 93 h 114"/>
                <a:gd name="T30" fmla="*/ 15 w 38"/>
                <a:gd name="T31" fmla="*/ 95 h 114"/>
                <a:gd name="T32" fmla="*/ 29 w 38"/>
                <a:gd name="T33" fmla="*/ 112 h 114"/>
                <a:gd name="T34" fmla="*/ 29 w 38"/>
                <a:gd name="T35" fmla="*/ 114 h 114"/>
                <a:gd name="T36" fmla="*/ 36 w 38"/>
                <a:gd name="T37" fmla="*/ 112 h 114"/>
                <a:gd name="T38" fmla="*/ 38 w 38"/>
                <a:gd name="T39" fmla="*/ 109 h 114"/>
                <a:gd name="T40" fmla="*/ 38 w 38"/>
                <a:gd name="T41" fmla="*/ 109 h 114"/>
                <a:gd name="T42" fmla="*/ 35 w 38"/>
                <a:gd name="T43" fmla="*/ 104 h 114"/>
                <a:gd name="T44" fmla="*/ 34 w 38"/>
                <a:gd name="T45" fmla="*/ 103 h 114"/>
                <a:gd name="T46" fmla="*/ 34 w 38"/>
                <a:gd name="T47" fmla="*/ 99 h 114"/>
                <a:gd name="T48" fmla="*/ 34 w 38"/>
                <a:gd name="T49" fmla="*/ 96 h 114"/>
                <a:gd name="T50" fmla="*/ 34 w 38"/>
                <a:gd name="T51" fmla="*/ 89 h 114"/>
                <a:gd name="T52" fmla="*/ 35 w 38"/>
                <a:gd name="T53" fmla="*/ 67 h 114"/>
                <a:gd name="T54" fmla="*/ 35 w 38"/>
                <a:gd name="T55" fmla="*/ 56 h 114"/>
                <a:gd name="T56" fmla="*/ 34 w 38"/>
                <a:gd name="T57" fmla="*/ 45 h 114"/>
                <a:gd name="T58" fmla="*/ 32 w 38"/>
                <a:gd name="T59" fmla="*/ 43 h 114"/>
                <a:gd name="T60" fmla="*/ 30 w 38"/>
                <a:gd name="T61" fmla="*/ 39 h 114"/>
                <a:gd name="T62" fmla="*/ 29 w 38"/>
                <a:gd name="T63" fmla="*/ 36 h 114"/>
                <a:gd name="T64" fmla="*/ 29 w 38"/>
                <a:gd name="T65" fmla="*/ 31 h 114"/>
                <a:gd name="T66" fmla="*/ 29 w 38"/>
                <a:gd name="T67" fmla="*/ 25 h 114"/>
                <a:gd name="T68" fmla="*/ 28 w 38"/>
                <a:gd name="T69" fmla="*/ 24 h 114"/>
                <a:gd name="T70" fmla="*/ 25 w 38"/>
                <a:gd name="T71" fmla="*/ 22 h 114"/>
                <a:gd name="T72" fmla="*/ 15 w 38"/>
                <a:gd name="T73" fmla="*/ 11 h 114"/>
                <a:gd name="T74" fmla="*/ 17 w 38"/>
                <a:gd name="T75" fmla="*/ 1 h 114"/>
                <a:gd name="T76" fmla="*/ 2 w 38"/>
                <a:gd name="T77" fmla="*/ 0 h 1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114">
                  <a:moveTo>
                    <a:pt x="2" y="0"/>
                  </a:moveTo>
                  <a:cubicBezTo>
                    <a:pt x="2" y="0"/>
                    <a:pt x="2" y="0"/>
                    <a:pt x="2" y="0"/>
                  </a:cubicBezTo>
                  <a:cubicBezTo>
                    <a:pt x="2" y="1"/>
                    <a:pt x="2" y="1"/>
                    <a:pt x="1" y="2"/>
                  </a:cubicBezTo>
                  <a:cubicBezTo>
                    <a:pt x="0" y="5"/>
                    <a:pt x="0" y="5"/>
                    <a:pt x="2" y="6"/>
                  </a:cubicBezTo>
                  <a:cubicBezTo>
                    <a:pt x="9" y="12"/>
                    <a:pt x="9" y="12"/>
                    <a:pt x="9" y="12"/>
                  </a:cubicBezTo>
                  <a:cubicBezTo>
                    <a:pt x="14" y="17"/>
                    <a:pt x="11" y="24"/>
                    <a:pt x="10" y="26"/>
                  </a:cubicBezTo>
                  <a:cubicBezTo>
                    <a:pt x="10" y="27"/>
                    <a:pt x="10" y="27"/>
                    <a:pt x="9" y="28"/>
                  </a:cubicBezTo>
                  <a:cubicBezTo>
                    <a:pt x="9" y="29"/>
                    <a:pt x="9" y="29"/>
                    <a:pt x="9" y="29"/>
                  </a:cubicBezTo>
                  <a:cubicBezTo>
                    <a:pt x="9" y="30"/>
                    <a:pt x="9" y="30"/>
                    <a:pt x="9" y="30"/>
                  </a:cubicBezTo>
                  <a:cubicBezTo>
                    <a:pt x="16" y="30"/>
                    <a:pt x="16" y="30"/>
                    <a:pt x="16" y="30"/>
                  </a:cubicBezTo>
                  <a:cubicBezTo>
                    <a:pt x="10" y="34"/>
                    <a:pt x="10" y="34"/>
                    <a:pt x="10" y="34"/>
                  </a:cubicBezTo>
                  <a:cubicBezTo>
                    <a:pt x="11" y="36"/>
                    <a:pt x="11" y="38"/>
                    <a:pt x="12" y="40"/>
                  </a:cubicBezTo>
                  <a:cubicBezTo>
                    <a:pt x="12" y="43"/>
                    <a:pt x="12" y="43"/>
                    <a:pt x="12" y="43"/>
                  </a:cubicBezTo>
                  <a:cubicBezTo>
                    <a:pt x="13" y="43"/>
                    <a:pt x="13" y="44"/>
                    <a:pt x="13" y="44"/>
                  </a:cubicBezTo>
                  <a:cubicBezTo>
                    <a:pt x="13" y="45"/>
                    <a:pt x="13" y="45"/>
                    <a:pt x="13" y="45"/>
                  </a:cubicBezTo>
                  <a:cubicBezTo>
                    <a:pt x="13" y="46"/>
                    <a:pt x="14" y="47"/>
                    <a:pt x="14" y="48"/>
                  </a:cubicBezTo>
                  <a:cubicBezTo>
                    <a:pt x="14" y="49"/>
                    <a:pt x="14" y="49"/>
                    <a:pt x="14" y="49"/>
                  </a:cubicBezTo>
                  <a:cubicBezTo>
                    <a:pt x="14" y="50"/>
                    <a:pt x="13" y="51"/>
                    <a:pt x="12" y="52"/>
                  </a:cubicBezTo>
                  <a:cubicBezTo>
                    <a:pt x="13" y="53"/>
                    <a:pt x="14" y="53"/>
                    <a:pt x="14" y="54"/>
                  </a:cubicBezTo>
                  <a:cubicBezTo>
                    <a:pt x="15" y="55"/>
                    <a:pt x="16" y="56"/>
                    <a:pt x="17" y="57"/>
                  </a:cubicBezTo>
                  <a:cubicBezTo>
                    <a:pt x="20" y="60"/>
                    <a:pt x="18" y="63"/>
                    <a:pt x="17" y="65"/>
                  </a:cubicBezTo>
                  <a:cubicBezTo>
                    <a:pt x="17" y="66"/>
                    <a:pt x="16" y="67"/>
                    <a:pt x="16" y="67"/>
                  </a:cubicBezTo>
                  <a:cubicBezTo>
                    <a:pt x="16" y="68"/>
                    <a:pt x="16" y="68"/>
                    <a:pt x="16" y="68"/>
                  </a:cubicBezTo>
                  <a:cubicBezTo>
                    <a:pt x="17" y="72"/>
                    <a:pt x="16" y="75"/>
                    <a:pt x="15" y="80"/>
                  </a:cubicBezTo>
                  <a:cubicBezTo>
                    <a:pt x="15" y="80"/>
                    <a:pt x="14" y="80"/>
                    <a:pt x="14" y="81"/>
                  </a:cubicBezTo>
                  <a:cubicBezTo>
                    <a:pt x="14" y="81"/>
                    <a:pt x="14" y="81"/>
                    <a:pt x="14" y="81"/>
                  </a:cubicBezTo>
                  <a:cubicBezTo>
                    <a:pt x="15" y="81"/>
                    <a:pt x="17" y="82"/>
                    <a:pt x="17" y="84"/>
                  </a:cubicBezTo>
                  <a:cubicBezTo>
                    <a:pt x="18" y="85"/>
                    <a:pt x="17" y="88"/>
                    <a:pt x="17" y="91"/>
                  </a:cubicBezTo>
                  <a:cubicBezTo>
                    <a:pt x="16" y="92"/>
                    <a:pt x="16" y="92"/>
                    <a:pt x="16" y="92"/>
                  </a:cubicBezTo>
                  <a:cubicBezTo>
                    <a:pt x="16" y="93"/>
                    <a:pt x="16" y="93"/>
                    <a:pt x="16" y="93"/>
                  </a:cubicBezTo>
                  <a:cubicBezTo>
                    <a:pt x="16" y="94"/>
                    <a:pt x="16" y="94"/>
                    <a:pt x="15" y="95"/>
                  </a:cubicBezTo>
                  <a:cubicBezTo>
                    <a:pt x="15" y="95"/>
                    <a:pt x="15" y="95"/>
                    <a:pt x="15" y="95"/>
                  </a:cubicBezTo>
                  <a:cubicBezTo>
                    <a:pt x="17" y="101"/>
                    <a:pt x="20" y="105"/>
                    <a:pt x="26" y="110"/>
                  </a:cubicBezTo>
                  <a:cubicBezTo>
                    <a:pt x="26" y="110"/>
                    <a:pt x="27" y="111"/>
                    <a:pt x="29" y="112"/>
                  </a:cubicBezTo>
                  <a:cubicBezTo>
                    <a:pt x="30" y="112"/>
                    <a:pt x="30" y="112"/>
                    <a:pt x="30" y="112"/>
                  </a:cubicBezTo>
                  <a:cubicBezTo>
                    <a:pt x="29" y="114"/>
                    <a:pt x="29" y="114"/>
                    <a:pt x="29" y="114"/>
                  </a:cubicBezTo>
                  <a:cubicBezTo>
                    <a:pt x="30" y="114"/>
                    <a:pt x="31" y="114"/>
                    <a:pt x="32" y="113"/>
                  </a:cubicBezTo>
                  <a:cubicBezTo>
                    <a:pt x="33" y="113"/>
                    <a:pt x="35" y="113"/>
                    <a:pt x="36" y="112"/>
                  </a:cubicBezTo>
                  <a:cubicBezTo>
                    <a:pt x="35" y="111"/>
                    <a:pt x="35" y="111"/>
                    <a:pt x="35" y="111"/>
                  </a:cubicBezTo>
                  <a:cubicBezTo>
                    <a:pt x="38" y="109"/>
                    <a:pt x="38" y="109"/>
                    <a:pt x="38" y="109"/>
                  </a:cubicBezTo>
                  <a:cubicBezTo>
                    <a:pt x="38" y="109"/>
                    <a:pt x="38" y="109"/>
                    <a:pt x="38" y="109"/>
                  </a:cubicBezTo>
                  <a:cubicBezTo>
                    <a:pt x="38" y="109"/>
                    <a:pt x="38" y="109"/>
                    <a:pt x="38" y="109"/>
                  </a:cubicBezTo>
                  <a:cubicBezTo>
                    <a:pt x="37" y="107"/>
                    <a:pt x="36" y="106"/>
                    <a:pt x="36" y="105"/>
                  </a:cubicBezTo>
                  <a:cubicBezTo>
                    <a:pt x="35" y="104"/>
                    <a:pt x="35" y="104"/>
                    <a:pt x="35" y="104"/>
                  </a:cubicBezTo>
                  <a:cubicBezTo>
                    <a:pt x="35" y="104"/>
                    <a:pt x="35" y="103"/>
                    <a:pt x="35" y="103"/>
                  </a:cubicBezTo>
                  <a:cubicBezTo>
                    <a:pt x="34" y="103"/>
                    <a:pt x="34" y="103"/>
                    <a:pt x="34" y="103"/>
                  </a:cubicBezTo>
                  <a:cubicBezTo>
                    <a:pt x="34" y="102"/>
                    <a:pt x="34" y="102"/>
                    <a:pt x="34" y="100"/>
                  </a:cubicBezTo>
                  <a:cubicBezTo>
                    <a:pt x="34" y="100"/>
                    <a:pt x="34" y="99"/>
                    <a:pt x="34" y="99"/>
                  </a:cubicBezTo>
                  <a:cubicBezTo>
                    <a:pt x="34" y="98"/>
                    <a:pt x="34" y="98"/>
                    <a:pt x="34" y="98"/>
                  </a:cubicBezTo>
                  <a:cubicBezTo>
                    <a:pt x="34" y="97"/>
                    <a:pt x="34" y="97"/>
                    <a:pt x="34" y="96"/>
                  </a:cubicBezTo>
                  <a:cubicBezTo>
                    <a:pt x="34" y="95"/>
                    <a:pt x="34" y="93"/>
                    <a:pt x="34" y="91"/>
                  </a:cubicBezTo>
                  <a:cubicBezTo>
                    <a:pt x="34" y="89"/>
                    <a:pt x="34" y="89"/>
                    <a:pt x="34" y="89"/>
                  </a:cubicBezTo>
                  <a:cubicBezTo>
                    <a:pt x="35" y="86"/>
                    <a:pt x="35" y="84"/>
                    <a:pt x="35" y="81"/>
                  </a:cubicBezTo>
                  <a:cubicBezTo>
                    <a:pt x="36" y="77"/>
                    <a:pt x="35" y="71"/>
                    <a:pt x="35" y="67"/>
                  </a:cubicBezTo>
                  <a:cubicBezTo>
                    <a:pt x="35" y="65"/>
                    <a:pt x="35" y="65"/>
                    <a:pt x="35" y="65"/>
                  </a:cubicBezTo>
                  <a:cubicBezTo>
                    <a:pt x="35" y="62"/>
                    <a:pt x="35" y="59"/>
                    <a:pt x="35" y="56"/>
                  </a:cubicBezTo>
                  <a:cubicBezTo>
                    <a:pt x="35" y="54"/>
                    <a:pt x="35" y="54"/>
                    <a:pt x="35" y="54"/>
                  </a:cubicBezTo>
                  <a:cubicBezTo>
                    <a:pt x="35" y="51"/>
                    <a:pt x="35" y="47"/>
                    <a:pt x="34" y="45"/>
                  </a:cubicBezTo>
                  <a:cubicBezTo>
                    <a:pt x="34" y="44"/>
                    <a:pt x="33" y="44"/>
                    <a:pt x="33" y="43"/>
                  </a:cubicBezTo>
                  <a:cubicBezTo>
                    <a:pt x="32" y="43"/>
                    <a:pt x="32" y="43"/>
                    <a:pt x="32" y="43"/>
                  </a:cubicBezTo>
                  <a:cubicBezTo>
                    <a:pt x="32" y="42"/>
                    <a:pt x="31" y="42"/>
                    <a:pt x="31" y="41"/>
                  </a:cubicBezTo>
                  <a:cubicBezTo>
                    <a:pt x="31" y="40"/>
                    <a:pt x="30" y="40"/>
                    <a:pt x="30" y="39"/>
                  </a:cubicBezTo>
                  <a:cubicBezTo>
                    <a:pt x="30" y="39"/>
                    <a:pt x="29" y="38"/>
                    <a:pt x="29" y="37"/>
                  </a:cubicBezTo>
                  <a:cubicBezTo>
                    <a:pt x="29" y="36"/>
                    <a:pt x="29" y="36"/>
                    <a:pt x="29" y="36"/>
                  </a:cubicBezTo>
                  <a:cubicBezTo>
                    <a:pt x="29" y="35"/>
                    <a:pt x="29" y="35"/>
                    <a:pt x="29" y="35"/>
                  </a:cubicBezTo>
                  <a:cubicBezTo>
                    <a:pt x="29" y="33"/>
                    <a:pt x="29" y="32"/>
                    <a:pt x="29" y="31"/>
                  </a:cubicBezTo>
                  <a:cubicBezTo>
                    <a:pt x="29" y="30"/>
                    <a:pt x="29" y="30"/>
                    <a:pt x="29" y="30"/>
                  </a:cubicBezTo>
                  <a:cubicBezTo>
                    <a:pt x="29" y="29"/>
                    <a:pt x="29" y="26"/>
                    <a:pt x="29" y="25"/>
                  </a:cubicBezTo>
                  <a:cubicBezTo>
                    <a:pt x="28" y="24"/>
                    <a:pt x="28" y="24"/>
                    <a:pt x="28" y="24"/>
                  </a:cubicBezTo>
                  <a:cubicBezTo>
                    <a:pt x="28" y="24"/>
                    <a:pt x="28" y="24"/>
                    <a:pt x="28" y="24"/>
                  </a:cubicBezTo>
                  <a:cubicBezTo>
                    <a:pt x="27" y="24"/>
                    <a:pt x="27" y="23"/>
                    <a:pt x="26" y="23"/>
                  </a:cubicBezTo>
                  <a:cubicBezTo>
                    <a:pt x="25" y="22"/>
                    <a:pt x="25" y="22"/>
                    <a:pt x="25" y="22"/>
                  </a:cubicBezTo>
                  <a:cubicBezTo>
                    <a:pt x="23" y="21"/>
                    <a:pt x="21" y="19"/>
                    <a:pt x="19" y="18"/>
                  </a:cubicBezTo>
                  <a:cubicBezTo>
                    <a:pt x="17" y="16"/>
                    <a:pt x="16" y="13"/>
                    <a:pt x="15" y="11"/>
                  </a:cubicBezTo>
                  <a:cubicBezTo>
                    <a:pt x="15" y="9"/>
                    <a:pt x="15" y="8"/>
                    <a:pt x="15" y="7"/>
                  </a:cubicBezTo>
                  <a:cubicBezTo>
                    <a:pt x="16" y="5"/>
                    <a:pt x="16" y="3"/>
                    <a:pt x="17" y="1"/>
                  </a:cubicBezTo>
                  <a:cubicBezTo>
                    <a:pt x="15" y="1"/>
                    <a:pt x="15" y="1"/>
                    <a:pt x="15" y="1"/>
                  </a:cubicBezTo>
                  <a:cubicBezTo>
                    <a:pt x="11" y="1"/>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37"/>
            <p:cNvSpPr/>
            <p:nvPr/>
          </p:nvSpPr>
          <p:spPr bwMode="auto">
            <a:xfrm>
              <a:off x="3488" y="2138"/>
              <a:ext cx="237" cy="352"/>
            </a:xfrm>
            <a:custGeom>
              <a:gdLst>
                <a:gd name="T0" fmla="*/ 64 w 100"/>
                <a:gd name="T1" fmla="*/ 2 h 149"/>
                <a:gd name="T2" fmla="*/ 63 w 100"/>
                <a:gd name="T3" fmla="*/ 3 h 149"/>
                <a:gd name="T4" fmla="*/ 62 w 100"/>
                <a:gd name="T5" fmla="*/ 2 h 149"/>
                <a:gd name="T6" fmla="*/ 61 w 100"/>
                <a:gd name="T7" fmla="*/ 4 h 149"/>
                <a:gd name="T8" fmla="*/ 60 w 100"/>
                <a:gd name="T9" fmla="*/ 4 h 149"/>
                <a:gd name="T10" fmla="*/ 56 w 100"/>
                <a:gd name="T11" fmla="*/ 4 h 149"/>
                <a:gd name="T12" fmla="*/ 44 w 100"/>
                <a:gd name="T13" fmla="*/ 3 h 149"/>
                <a:gd name="T14" fmla="*/ 22 w 100"/>
                <a:gd name="T15" fmla="*/ 4 h 149"/>
                <a:gd name="T16" fmla="*/ 9 w 100"/>
                <a:gd name="T17" fmla="*/ 4 h 149"/>
                <a:gd name="T18" fmla="*/ 7 w 100"/>
                <a:gd name="T19" fmla="*/ 8 h 149"/>
                <a:gd name="T20" fmla="*/ 11 w 100"/>
                <a:gd name="T21" fmla="*/ 25 h 149"/>
                <a:gd name="T22" fmla="*/ 13 w 100"/>
                <a:gd name="T23" fmla="*/ 29 h 149"/>
                <a:gd name="T24" fmla="*/ 13 w 100"/>
                <a:gd name="T25" fmla="*/ 36 h 149"/>
                <a:gd name="T26" fmla="*/ 13 w 100"/>
                <a:gd name="T27" fmla="*/ 36 h 149"/>
                <a:gd name="T28" fmla="*/ 13 w 100"/>
                <a:gd name="T29" fmla="*/ 38 h 149"/>
                <a:gd name="T30" fmla="*/ 13 w 100"/>
                <a:gd name="T31" fmla="*/ 38 h 149"/>
                <a:gd name="T32" fmla="*/ 11 w 100"/>
                <a:gd name="T33" fmla="*/ 44 h 149"/>
                <a:gd name="T34" fmla="*/ 11 w 100"/>
                <a:gd name="T35" fmla="*/ 46 h 149"/>
                <a:gd name="T36" fmla="*/ 12 w 100"/>
                <a:gd name="T37" fmla="*/ 48 h 149"/>
                <a:gd name="T38" fmla="*/ 17 w 100"/>
                <a:gd name="T39" fmla="*/ 61 h 149"/>
                <a:gd name="T40" fmla="*/ 12 w 100"/>
                <a:gd name="T41" fmla="*/ 75 h 149"/>
                <a:gd name="T42" fmla="*/ 9 w 100"/>
                <a:gd name="T43" fmla="*/ 79 h 149"/>
                <a:gd name="T44" fmla="*/ 7 w 100"/>
                <a:gd name="T45" fmla="*/ 85 h 149"/>
                <a:gd name="T46" fmla="*/ 4 w 100"/>
                <a:gd name="T47" fmla="*/ 92 h 149"/>
                <a:gd name="T48" fmla="*/ 1 w 100"/>
                <a:gd name="T49" fmla="*/ 106 h 149"/>
                <a:gd name="T50" fmla="*/ 5 w 100"/>
                <a:gd name="T51" fmla="*/ 123 h 149"/>
                <a:gd name="T52" fmla="*/ 6 w 100"/>
                <a:gd name="T53" fmla="*/ 126 h 149"/>
                <a:gd name="T54" fmla="*/ 11 w 100"/>
                <a:gd name="T55" fmla="*/ 132 h 149"/>
                <a:gd name="T56" fmla="*/ 11 w 100"/>
                <a:gd name="T57" fmla="*/ 135 h 149"/>
                <a:gd name="T58" fmla="*/ 11 w 100"/>
                <a:gd name="T59" fmla="*/ 137 h 149"/>
                <a:gd name="T60" fmla="*/ 12 w 100"/>
                <a:gd name="T61" fmla="*/ 140 h 149"/>
                <a:gd name="T62" fmla="*/ 10 w 100"/>
                <a:gd name="T63" fmla="*/ 143 h 149"/>
                <a:gd name="T64" fmla="*/ 7 w 100"/>
                <a:gd name="T65" fmla="*/ 143 h 149"/>
                <a:gd name="T66" fmla="*/ 25 w 100"/>
                <a:gd name="T67" fmla="*/ 149 h 149"/>
                <a:gd name="T68" fmla="*/ 31 w 100"/>
                <a:gd name="T69" fmla="*/ 146 h 149"/>
                <a:gd name="T70" fmla="*/ 54 w 100"/>
                <a:gd name="T71" fmla="*/ 138 h 149"/>
                <a:gd name="T72" fmla="*/ 88 w 100"/>
                <a:gd name="T73" fmla="*/ 123 h 149"/>
                <a:gd name="T74" fmla="*/ 88 w 100"/>
                <a:gd name="T75" fmla="*/ 123 h 149"/>
                <a:gd name="T76" fmla="*/ 96 w 100"/>
                <a:gd name="T77" fmla="*/ 124 h 149"/>
                <a:gd name="T78" fmla="*/ 100 w 100"/>
                <a:gd name="T79" fmla="*/ 119 h 149"/>
                <a:gd name="T80" fmla="*/ 83 w 100"/>
                <a:gd name="T81" fmla="*/ 97 h 149"/>
                <a:gd name="T82" fmla="*/ 84 w 100"/>
                <a:gd name="T83" fmla="*/ 93 h 149"/>
                <a:gd name="T84" fmla="*/ 85 w 100"/>
                <a:gd name="T85" fmla="*/ 91 h 149"/>
                <a:gd name="T86" fmla="*/ 83 w 100"/>
                <a:gd name="T87" fmla="*/ 85 h 149"/>
                <a:gd name="T88" fmla="*/ 83 w 100"/>
                <a:gd name="T89" fmla="*/ 80 h 149"/>
                <a:gd name="T90" fmla="*/ 85 w 100"/>
                <a:gd name="T91" fmla="*/ 70 h 149"/>
                <a:gd name="T92" fmla="*/ 86 w 100"/>
                <a:gd name="T93" fmla="*/ 64 h 149"/>
                <a:gd name="T94" fmla="*/ 85 w 100"/>
                <a:gd name="T95" fmla="*/ 61 h 149"/>
                <a:gd name="T96" fmla="*/ 80 w 100"/>
                <a:gd name="T97" fmla="*/ 56 h 149"/>
                <a:gd name="T98" fmla="*/ 81 w 100"/>
                <a:gd name="T99" fmla="*/ 51 h 149"/>
                <a:gd name="T100" fmla="*/ 82 w 100"/>
                <a:gd name="T101" fmla="*/ 49 h 149"/>
                <a:gd name="T102" fmla="*/ 80 w 100"/>
                <a:gd name="T103" fmla="*/ 41 h 149"/>
                <a:gd name="T104" fmla="*/ 76 w 100"/>
                <a:gd name="T105" fmla="*/ 37 h 149"/>
                <a:gd name="T106" fmla="*/ 78 w 100"/>
                <a:gd name="T107" fmla="*/ 28 h 149"/>
                <a:gd name="T108" fmla="*/ 79 w 100"/>
                <a:gd name="T109" fmla="*/ 18 h 149"/>
                <a:gd name="T110" fmla="*/ 70 w 100"/>
                <a:gd name="T111" fmla="*/ 2 h 149"/>
                <a:gd name="T112" fmla="*/ 70 w 100"/>
                <a:gd name="T113" fmla="*/ 1 h 1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49">
                  <a:moveTo>
                    <a:pt x="69" y="0"/>
                  </a:moveTo>
                  <a:cubicBezTo>
                    <a:pt x="67" y="0"/>
                    <a:pt x="65" y="2"/>
                    <a:pt x="64" y="2"/>
                  </a:cubicBezTo>
                  <a:cubicBezTo>
                    <a:pt x="63" y="3"/>
                    <a:pt x="63" y="3"/>
                    <a:pt x="63" y="3"/>
                  </a:cubicBezTo>
                  <a:cubicBezTo>
                    <a:pt x="63" y="3"/>
                    <a:pt x="63" y="3"/>
                    <a:pt x="63" y="3"/>
                  </a:cubicBezTo>
                  <a:cubicBezTo>
                    <a:pt x="62" y="3"/>
                    <a:pt x="62" y="3"/>
                    <a:pt x="62" y="3"/>
                  </a:cubicBezTo>
                  <a:cubicBezTo>
                    <a:pt x="62" y="2"/>
                    <a:pt x="62" y="2"/>
                    <a:pt x="62" y="2"/>
                  </a:cubicBezTo>
                  <a:cubicBezTo>
                    <a:pt x="62" y="3"/>
                    <a:pt x="62" y="3"/>
                    <a:pt x="62" y="3"/>
                  </a:cubicBezTo>
                  <a:cubicBezTo>
                    <a:pt x="61" y="3"/>
                    <a:pt x="61" y="3"/>
                    <a:pt x="61" y="4"/>
                  </a:cubicBezTo>
                  <a:cubicBezTo>
                    <a:pt x="60" y="2"/>
                    <a:pt x="60" y="2"/>
                    <a:pt x="60" y="2"/>
                  </a:cubicBezTo>
                  <a:cubicBezTo>
                    <a:pt x="60" y="4"/>
                    <a:pt x="60" y="4"/>
                    <a:pt x="60" y="4"/>
                  </a:cubicBezTo>
                  <a:cubicBezTo>
                    <a:pt x="60" y="4"/>
                    <a:pt x="59" y="4"/>
                    <a:pt x="59" y="4"/>
                  </a:cubicBezTo>
                  <a:cubicBezTo>
                    <a:pt x="58" y="4"/>
                    <a:pt x="57" y="4"/>
                    <a:pt x="56" y="4"/>
                  </a:cubicBezTo>
                  <a:cubicBezTo>
                    <a:pt x="51" y="3"/>
                    <a:pt x="51" y="3"/>
                    <a:pt x="51" y="3"/>
                  </a:cubicBezTo>
                  <a:cubicBezTo>
                    <a:pt x="49" y="3"/>
                    <a:pt x="47" y="3"/>
                    <a:pt x="44" y="3"/>
                  </a:cubicBezTo>
                  <a:cubicBezTo>
                    <a:pt x="39" y="3"/>
                    <a:pt x="32" y="3"/>
                    <a:pt x="24" y="4"/>
                  </a:cubicBezTo>
                  <a:cubicBezTo>
                    <a:pt x="23" y="4"/>
                    <a:pt x="23" y="4"/>
                    <a:pt x="22" y="4"/>
                  </a:cubicBezTo>
                  <a:cubicBezTo>
                    <a:pt x="20" y="4"/>
                    <a:pt x="18" y="4"/>
                    <a:pt x="16" y="4"/>
                  </a:cubicBezTo>
                  <a:cubicBezTo>
                    <a:pt x="13" y="4"/>
                    <a:pt x="10" y="4"/>
                    <a:pt x="9" y="4"/>
                  </a:cubicBezTo>
                  <a:cubicBezTo>
                    <a:pt x="8" y="5"/>
                    <a:pt x="8" y="5"/>
                    <a:pt x="8" y="5"/>
                  </a:cubicBezTo>
                  <a:cubicBezTo>
                    <a:pt x="8" y="6"/>
                    <a:pt x="7" y="7"/>
                    <a:pt x="7" y="8"/>
                  </a:cubicBezTo>
                  <a:cubicBezTo>
                    <a:pt x="8" y="10"/>
                    <a:pt x="8" y="10"/>
                    <a:pt x="8" y="10"/>
                  </a:cubicBezTo>
                  <a:cubicBezTo>
                    <a:pt x="9" y="13"/>
                    <a:pt x="10" y="19"/>
                    <a:pt x="11" y="25"/>
                  </a:cubicBezTo>
                  <a:cubicBezTo>
                    <a:pt x="13" y="16"/>
                    <a:pt x="13" y="16"/>
                    <a:pt x="13" y="16"/>
                  </a:cubicBezTo>
                  <a:cubicBezTo>
                    <a:pt x="13" y="29"/>
                    <a:pt x="13" y="29"/>
                    <a:pt x="13" y="29"/>
                  </a:cubicBezTo>
                  <a:cubicBezTo>
                    <a:pt x="14" y="27"/>
                    <a:pt x="14" y="27"/>
                    <a:pt x="14" y="27"/>
                  </a:cubicBezTo>
                  <a:cubicBezTo>
                    <a:pt x="13" y="36"/>
                    <a:pt x="13" y="36"/>
                    <a:pt x="13" y="36"/>
                  </a:cubicBezTo>
                  <a:cubicBezTo>
                    <a:pt x="13" y="36"/>
                    <a:pt x="13" y="36"/>
                    <a:pt x="13" y="36"/>
                  </a:cubicBezTo>
                  <a:cubicBezTo>
                    <a:pt x="13" y="36"/>
                    <a:pt x="13" y="36"/>
                    <a:pt x="13" y="36"/>
                  </a:cubicBezTo>
                  <a:cubicBezTo>
                    <a:pt x="13" y="37"/>
                    <a:pt x="13" y="37"/>
                    <a:pt x="13" y="37"/>
                  </a:cubicBezTo>
                  <a:cubicBezTo>
                    <a:pt x="13" y="38"/>
                    <a:pt x="13" y="38"/>
                    <a:pt x="13" y="38"/>
                  </a:cubicBezTo>
                  <a:cubicBezTo>
                    <a:pt x="13" y="38"/>
                    <a:pt x="13" y="38"/>
                    <a:pt x="13" y="38"/>
                  </a:cubicBezTo>
                  <a:cubicBezTo>
                    <a:pt x="13" y="38"/>
                    <a:pt x="13" y="38"/>
                    <a:pt x="13" y="38"/>
                  </a:cubicBezTo>
                  <a:cubicBezTo>
                    <a:pt x="12" y="40"/>
                    <a:pt x="12" y="40"/>
                    <a:pt x="12" y="40"/>
                  </a:cubicBezTo>
                  <a:cubicBezTo>
                    <a:pt x="12" y="41"/>
                    <a:pt x="11" y="43"/>
                    <a:pt x="11" y="44"/>
                  </a:cubicBezTo>
                  <a:cubicBezTo>
                    <a:pt x="11" y="45"/>
                    <a:pt x="11" y="45"/>
                    <a:pt x="11" y="46"/>
                  </a:cubicBezTo>
                  <a:cubicBezTo>
                    <a:pt x="11" y="46"/>
                    <a:pt x="11" y="46"/>
                    <a:pt x="11" y="46"/>
                  </a:cubicBezTo>
                  <a:cubicBezTo>
                    <a:pt x="11" y="47"/>
                    <a:pt x="11" y="47"/>
                    <a:pt x="11" y="47"/>
                  </a:cubicBezTo>
                  <a:cubicBezTo>
                    <a:pt x="12" y="47"/>
                    <a:pt x="12" y="48"/>
                    <a:pt x="12" y="48"/>
                  </a:cubicBezTo>
                  <a:cubicBezTo>
                    <a:pt x="14" y="51"/>
                    <a:pt x="14" y="51"/>
                    <a:pt x="14" y="51"/>
                  </a:cubicBezTo>
                  <a:cubicBezTo>
                    <a:pt x="15" y="54"/>
                    <a:pt x="16" y="57"/>
                    <a:pt x="17" y="61"/>
                  </a:cubicBezTo>
                  <a:cubicBezTo>
                    <a:pt x="17" y="65"/>
                    <a:pt x="18" y="68"/>
                    <a:pt x="14" y="72"/>
                  </a:cubicBezTo>
                  <a:cubicBezTo>
                    <a:pt x="13" y="73"/>
                    <a:pt x="13" y="74"/>
                    <a:pt x="12" y="75"/>
                  </a:cubicBezTo>
                  <a:cubicBezTo>
                    <a:pt x="11" y="77"/>
                    <a:pt x="11" y="77"/>
                    <a:pt x="11" y="77"/>
                  </a:cubicBezTo>
                  <a:cubicBezTo>
                    <a:pt x="10" y="77"/>
                    <a:pt x="9" y="78"/>
                    <a:pt x="9" y="79"/>
                  </a:cubicBezTo>
                  <a:cubicBezTo>
                    <a:pt x="8" y="80"/>
                    <a:pt x="7" y="83"/>
                    <a:pt x="7" y="84"/>
                  </a:cubicBezTo>
                  <a:cubicBezTo>
                    <a:pt x="7" y="85"/>
                    <a:pt x="7" y="85"/>
                    <a:pt x="7" y="85"/>
                  </a:cubicBezTo>
                  <a:cubicBezTo>
                    <a:pt x="7" y="85"/>
                    <a:pt x="6" y="86"/>
                    <a:pt x="6" y="87"/>
                  </a:cubicBezTo>
                  <a:cubicBezTo>
                    <a:pt x="6" y="88"/>
                    <a:pt x="5" y="90"/>
                    <a:pt x="4" y="92"/>
                  </a:cubicBezTo>
                  <a:cubicBezTo>
                    <a:pt x="2" y="96"/>
                    <a:pt x="0" y="100"/>
                    <a:pt x="1" y="104"/>
                  </a:cubicBezTo>
                  <a:cubicBezTo>
                    <a:pt x="1" y="106"/>
                    <a:pt x="1" y="106"/>
                    <a:pt x="1" y="106"/>
                  </a:cubicBezTo>
                  <a:cubicBezTo>
                    <a:pt x="1" y="112"/>
                    <a:pt x="2" y="118"/>
                    <a:pt x="5" y="122"/>
                  </a:cubicBezTo>
                  <a:cubicBezTo>
                    <a:pt x="5" y="123"/>
                    <a:pt x="5" y="123"/>
                    <a:pt x="5" y="123"/>
                  </a:cubicBezTo>
                  <a:cubicBezTo>
                    <a:pt x="5" y="124"/>
                    <a:pt x="5" y="124"/>
                    <a:pt x="5" y="124"/>
                  </a:cubicBezTo>
                  <a:cubicBezTo>
                    <a:pt x="6" y="125"/>
                    <a:pt x="6" y="125"/>
                    <a:pt x="6" y="126"/>
                  </a:cubicBezTo>
                  <a:cubicBezTo>
                    <a:pt x="8" y="127"/>
                    <a:pt x="8" y="127"/>
                    <a:pt x="8" y="127"/>
                  </a:cubicBezTo>
                  <a:cubicBezTo>
                    <a:pt x="9" y="129"/>
                    <a:pt x="11" y="130"/>
                    <a:pt x="11" y="132"/>
                  </a:cubicBezTo>
                  <a:cubicBezTo>
                    <a:pt x="11" y="133"/>
                    <a:pt x="11" y="133"/>
                    <a:pt x="11" y="133"/>
                  </a:cubicBezTo>
                  <a:cubicBezTo>
                    <a:pt x="12" y="134"/>
                    <a:pt x="11" y="135"/>
                    <a:pt x="11" y="135"/>
                  </a:cubicBezTo>
                  <a:cubicBezTo>
                    <a:pt x="11" y="136"/>
                    <a:pt x="11" y="136"/>
                    <a:pt x="11" y="136"/>
                  </a:cubicBezTo>
                  <a:cubicBezTo>
                    <a:pt x="11" y="136"/>
                    <a:pt x="11" y="137"/>
                    <a:pt x="11" y="137"/>
                  </a:cubicBezTo>
                  <a:cubicBezTo>
                    <a:pt x="11" y="138"/>
                    <a:pt x="12" y="138"/>
                    <a:pt x="12" y="139"/>
                  </a:cubicBezTo>
                  <a:cubicBezTo>
                    <a:pt x="12" y="140"/>
                    <a:pt x="12" y="140"/>
                    <a:pt x="12" y="140"/>
                  </a:cubicBezTo>
                  <a:cubicBezTo>
                    <a:pt x="11" y="142"/>
                    <a:pt x="11" y="142"/>
                    <a:pt x="11" y="142"/>
                  </a:cubicBezTo>
                  <a:cubicBezTo>
                    <a:pt x="11" y="142"/>
                    <a:pt x="10" y="142"/>
                    <a:pt x="10" y="143"/>
                  </a:cubicBezTo>
                  <a:cubicBezTo>
                    <a:pt x="9" y="143"/>
                    <a:pt x="9" y="143"/>
                    <a:pt x="9" y="143"/>
                  </a:cubicBezTo>
                  <a:cubicBezTo>
                    <a:pt x="8" y="143"/>
                    <a:pt x="8" y="143"/>
                    <a:pt x="7" y="143"/>
                  </a:cubicBezTo>
                  <a:cubicBezTo>
                    <a:pt x="11" y="145"/>
                    <a:pt x="15" y="146"/>
                    <a:pt x="19" y="147"/>
                  </a:cubicBezTo>
                  <a:cubicBezTo>
                    <a:pt x="21" y="148"/>
                    <a:pt x="23" y="149"/>
                    <a:pt x="25" y="149"/>
                  </a:cubicBezTo>
                  <a:cubicBezTo>
                    <a:pt x="26" y="149"/>
                    <a:pt x="26" y="149"/>
                    <a:pt x="27" y="149"/>
                  </a:cubicBezTo>
                  <a:cubicBezTo>
                    <a:pt x="28" y="148"/>
                    <a:pt x="30" y="147"/>
                    <a:pt x="31" y="146"/>
                  </a:cubicBezTo>
                  <a:cubicBezTo>
                    <a:pt x="33" y="145"/>
                    <a:pt x="34" y="143"/>
                    <a:pt x="36" y="142"/>
                  </a:cubicBezTo>
                  <a:cubicBezTo>
                    <a:pt x="42" y="140"/>
                    <a:pt x="49" y="140"/>
                    <a:pt x="54" y="138"/>
                  </a:cubicBezTo>
                  <a:cubicBezTo>
                    <a:pt x="59" y="136"/>
                    <a:pt x="63" y="132"/>
                    <a:pt x="68" y="130"/>
                  </a:cubicBezTo>
                  <a:cubicBezTo>
                    <a:pt x="75" y="128"/>
                    <a:pt x="82" y="125"/>
                    <a:pt x="88" y="123"/>
                  </a:cubicBezTo>
                  <a:cubicBezTo>
                    <a:pt x="85" y="121"/>
                    <a:pt x="82" y="119"/>
                    <a:pt x="78" y="117"/>
                  </a:cubicBezTo>
                  <a:cubicBezTo>
                    <a:pt x="84" y="118"/>
                    <a:pt x="87" y="117"/>
                    <a:pt x="88" y="123"/>
                  </a:cubicBezTo>
                  <a:cubicBezTo>
                    <a:pt x="89" y="124"/>
                    <a:pt x="91" y="125"/>
                    <a:pt x="92" y="125"/>
                  </a:cubicBezTo>
                  <a:cubicBezTo>
                    <a:pt x="94" y="125"/>
                    <a:pt x="95" y="124"/>
                    <a:pt x="96" y="124"/>
                  </a:cubicBezTo>
                  <a:cubicBezTo>
                    <a:pt x="98" y="123"/>
                    <a:pt x="99" y="121"/>
                    <a:pt x="100" y="119"/>
                  </a:cubicBezTo>
                  <a:cubicBezTo>
                    <a:pt x="100" y="119"/>
                    <a:pt x="100" y="119"/>
                    <a:pt x="100" y="119"/>
                  </a:cubicBezTo>
                  <a:cubicBezTo>
                    <a:pt x="98" y="118"/>
                    <a:pt x="96" y="117"/>
                    <a:pt x="96" y="116"/>
                  </a:cubicBezTo>
                  <a:cubicBezTo>
                    <a:pt x="89" y="110"/>
                    <a:pt x="86" y="105"/>
                    <a:pt x="83" y="97"/>
                  </a:cubicBezTo>
                  <a:cubicBezTo>
                    <a:pt x="82" y="94"/>
                    <a:pt x="82" y="94"/>
                    <a:pt x="82" y="94"/>
                  </a:cubicBezTo>
                  <a:cubicBezTo>
                    <a:pt x="84" y="93"/>
                    <a:pt x="84" y="93"/>
                    <a:pt x="84" y="93"/>
                  </a:cubicBezTo>
                  <a:cubicBezTo>
                    <a:pt x="85" y="93"/>
                    <a:pt x="85" y="92"/>
                    <a:pt x="85" y="92"/>
                  </a:cubicBezTo>
                  <a:cubicBezTo>
                    <a:pt x="85" y="91"/>
                    <a:pt x="85" y="91"/>
                    <a:pt x="85" y="91"/>
                  </a:cubicBezTo>
                  <a:cubicBezTo>
                    <a:pt x="85" y="90"/>
                    <a:pt x="86" y="89"/>
                    <a:pt x="86" y="88"/>
                  </a:cubicBezTo>
                  <a:cubicBezTo>
                    <a:pt x="85" y="88"/>
                    <a:pt x="83" y="87"/>
                    <a:pt x="83" y="85"/>
                  </a:cubicBezTo>
                  <a:cubicBezTo>
                    <a:pt x="82" y="84"/>
                    <a:pt x="82" y="83"/>
                    <a:pt x="82" y="82"/>
                  </a:cubicBezTo>
                  <a:cubicBezTo>
                    <a:pt x="83" y="80"/>
                    <a:pt x="83" y="80"/>
                    <a:pt x="83" y="80"/>
                  </a:cubicBezTo>
                  <a:cubicBezTo>
                    <a:pt x="83" y="80"/>
                    <a:pt x="83" y="80"/>
                    <a:pt x="83" y="80"/>
                  </a:cubicBezTo>
                  <a:cubicBezTo>
                    <a:pt x="85" y="76"/>
                    <a:pt x="85" y="74"/>
                    <a:pt x="85" y="70"/>
                  </a:cubicBezTo>
                  <a:cubicBezTo>
                    <a:pt x="85" y="70"/>
                    <a:pt x="85" y="69"/>
                    <a:pt x="85" y="68"/>
                  </a:cubicBezTo>
                  <a:cubicBezTo>
                    <a:pt x="85" y="67"/>
                    <a:pt x="86" y="65"/>
                    <a:pt x="86" y="64"/>
                  </a:cubicBezTo>
                  <a:cubicBezTo>
                    <a:pt x="87" y="63"/>
                    <a:pt x="87" y="63"/>
                    <a:pt x="86" y="62"/>
                  </a:cubicBezTo>
                  <a:cubicBezTo>
                    <a:pt x="86" y="62"/>
                    <a:pt x="85" y="61"/>
                    <a:pt x="85" y="61"/>
                  </a:cubicBezTo>
                  <a:cubicBezTo>
                    <a:pt x="84" y="60"/>
                    <a:pt x="84" y="60"/>
                    <a:pt x="84" y="60"/>
                  </a:cubicBezTo>
                  <a:cubicBezTo>
                    <a:pt x="83" y="59"/>
                    <a:pt x="81" y="57"/>
                    <a:pt x="80" y="56"/>
                  </a:cubicBezTo>
                  <a:cubicBezTo>
                    <a:pt x="78" y="53"/>
                    <a:pt x="78" y="53"/>
                    <a:pt x="78" y="53"/>
                  </a:cubicBezTo>
                  <a:cubicBezTo>
                    <a:pt x="81" y="51"/>
                    <a:pt x="81" y="51"/>
                    <a:pt x="81" y="51"/>
                  </a:cubicBezTo>
                  <a:cubicBezTo>
                    <a:pt x="81" y="51"/>
                    <a:pt x="82" y="51"/>
                    <a:pt x="82" y="50"/>
                  </a:cubicBezTo>
                  <a:cubicBezTo>
                    <a:pt x="82" y="50"/>
                    <a:pt x="82" y="49"/>
                    <a:pt x="82" y="49"/>
                  </a:cubicBezTo>
                  <a:cubicBezTo>
                    <a:pt x="81" y="48"/>
                    <a:pt x="81" y="47"/>
                    <a:pt x="81" y="46"/>
                  </a:cubicBezTo>
                  <a:cubicBezTo>
                    <a:pt x="80" y="41"/>
                    <a:pt x="80" y="41"/>
                    <a:pt x="80" y="41"/>
                  </a:cubicBezTo>
                  <a:cubicBezTo>
                    <a:pt x="79" y="41"/>
                    <a:pt x="78" y="41"/>
                    <a:pt x="78" y="41"/>
                  </a:cubicBezTo>
                  <a:cubicBezTo>
                    <a:pt x="77" y="40"/>
                    <a:pt x="76" y="39"/>
                    <a:pt x="76" y="37"/>
                  </a:cubicBezTo>
                  <a:cubicBezTo>
                    <a:pt x="76" y="36"/>
                    <a:pt x="76" y="35"/>
                    <a:pt x="77" y="35"/>
                  </a:cubicBezTo>
                  <a:cubicBezTo>
                    <a:pt x="76" y="32"/>
                    <a:pt x="77" y="30"/>
                    <a:pt x="78" y="28"/>
                  </a:cubicBezTo>
                  <a:cubicBezTo>
                    <a:pt x="78" y="27"/>
                    <a:pt x="78" y="27"/>
                    <a:pt x="79" y="26"/>
                  </a:cubicBezTo>
                  <a:cubicBezTo>
                    <a:pt x="80" y="22"/>
                    <a:pt x="80" y="20"/>
                    <a:pt x="79" y="18"/>
                  </a:cubicBezTo>
                  <a:cubicBezTo>
                    <a:pt x="72" y="12"/>
                    <a:pt x="72" y="12"/>
                    <a:pt x="72" y="12"/>
                  </a:cubicBezTo>
                  <a:cubicBezTo>
                    <a:pt x="67" y="8"/>
                    <a:pt x="69" y="5"/>
                    <a:pt x="70" y="2"/>
                  </a:cubicBezTo>
                  <a:cubicBezTo>
                    <a:pt x="70" y="1"/>
                    <a:pt x="70" y="1"/>
                    <a:pt x="70" y="1"/>
                  </a:cubicBezTo>
                  <a:cubicBezTo>
                    <a:pt x="70" y="1"/>
                    <a:pt x="70" y="1"/>
                    <a:pt x="70" y="1"/>
                  </a:cubicBezTo>
                  <a:cubicBezTo>
                    <a:pt x="69" y="0"/>
                    <a:pt x="69"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38"/>
            <p:cNvSpPr/>
            <p:nvPr/>
          </p:nvSpPr>
          <p:spPr bwMode="auto">
            <a:xfrm>
              <a:off x="3209" y="2287"/>
              <a:ext cx="5" cy="5"/>
            </a:xfrm>
            <a:custGeom>
              <a:gdLst>
                <a:gd name="T0" fmla="*/ 1 w 2"/>
                <a:gd name="T1" fmla="*/ 0 h 2"/>
                <a:gd name="T2" fmla="*/ 0 w 2"/>
                <a:gd name="T3" fmla="*/ 0 h 2"/>
                <a:gd name="T4" fmla="*/ 0 w 2"/>
                <a:gd name="T5" fmla="*/ 0 h 2"/>
                <a:gd name="T6" fmla="*/ 1 w 2"/>
                <a:gd name="T7" fmla="*/ 2 h 2"/>
                <a:gd name="T8" fmla="*/ 1 w 2"/>
                <a:gd name="T9" fmla="*/ 2 h 2"/>
                <a:gd name="T10" fmla="*/ 2 w 2"/>
                <a:gd name="T11" fmla="*/ 2 h 2"/>
                <a:gd name="T12" fmla="*/ 2 w 2"/>
                <a:gd name="T13" fmla="*/ 0 h 2"/>
                <a:gd name="T14" fmla="*/ 1 w 2"/>
                <a:gd name="T15" fmla="*/ 0 h 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0" y="0"/>
                  </a:cubicBezTo>
                  <a:cubicBezTo>
                    <a:pt x="0" y="0"/>
                    <a:pt x="0" y="0"/>
                    <a:pt x="0" y="0"/>
                  </a:cubicBezTo>
                  <a:cubicBezTo>
                    <a:pt x="0" y="1"/>
                    <a:pt x="0" y="1"/>
                    <a:pt x="1" y="2"/>
                  </a:cubicBezTo>
                  <a:cubicBezTo>
                    <a:pt x="1" y="2"/>
                    <a:pt x="1" y="2"/>
                    <a:pt x="1" y="2"/>
                  </a:cubicBezTo>
                  <a:cubicBezTo>
                    <a:pt x="2" y="2"/>
                    <a:pt x="2" y="2"/>
                    <a:pt x="2" y="2"/>
                  </a:cubicBezTo>
                  <a:cubicBezTo>
                    <a:pt x="2"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239"/>
            <p:cNvSpPr>
              <a:spLocks noEditPoints="1"/>
            </p:cNvSpPr>
            <p:nvPr/>
          </p:nvSpPr>
          <p:spPr bwMode="auto">
            <a:xfrm>
              <a:off x="3193" y="2166"/>
              <a:ext cx="324" cy="343"/>
            </a:xfrm>
            <a:custGeom>
              <a:gdLst>
                <a:gd name="T0" fmla="*/ 77 w 137"/>
                <a:gd name="T1" fmla="*/ 127 h 145"/>
                <a:gd name="T2" fmla="*/ 79 w 137"/>
                <a:gd name="T3" fmla="*/ 126 h 145"/>
                <a:gd name="T4" fmla="*/ 110 w 137"/>
                <a:gd name="T5" fmla="*/ 124 h 145"/>
                <a:gd name="T6" fmla="*/ 110 w 137"/>
                <a:gd name="T7" fmla="*/ 124 h 145"/>
                <a:gd name="T8" fmla="*/ 42 w 137"/>
                <a:gd name="T9" fmla="*/ 7 h 145"/>
                <a:gd name="T10" fmla="*/ 37 w 137"/>
                <a:gd name="T11" fmla="*/ 7 h 145"/>
                <a:gd name="T12" fmla="*/ 35 w 137"/>
                <a:gd name="T13" fmla="*/ 10 h 145"/>
                <a:gd name="T14" fmla="*/ 28 w 137"/>
                <a:gd name="T15" fmla="*/ 10 h 145"/>
                <a:gd name="T16" fmla="*/ 19 w 137"/>
                <a:gd name="T17" fmla="*/ 5 h 145"/>
                <a:gd name="T18" fmla="*/ 18 w 137"/>
                <a:gd name="T19" fmla="*/ 7 h 145"/>
                <a:gd name="T20" fmla="*/ 10 w 137"/>
                <a:gd name="T21" fmla="*/ 13 h 145"/>
                <a:gd name="T22" fmla="*/ 11 w 137"/>
                <a:gd name="T23" fmla="*/ 24 h 145"/>
                <a:gd name="T24" fmla="*/ 14 w 137"/>
                <a:gd name="T25" fmla="*/ 23 h 145"/>
                <a:gd name="T26" fmla="*/ 17 w 137"/>
                <a:gd name="T27" fmla="*/ 38 h 145"/>
                <a:gd name="T28" fmla="*/ 21 w 137"/>
                <a:gd name="T29" fmla="*/ 50 h 145"/>
                <a:gd name="T30" fmla="*/ 16 w 137"/>
                <a:gd name="T31" fmla="*/ 54 h 145"/>
                <a:gd name="T32" fmla="*/ 12 w 137"/>
                <a:gd name="T33" fmla="*/ 52 h 145"/>
                <a:gd name="T34" fmla="*/ 10 w 137"/>
                <a:gd name="T35" fmla="*/ 52 h 145"/>
                <a:gd name="T36" fmla="*/ 17 w 137"/>
                <a:gd name="T37" fmla="*/ 65 h 145"/>
                <a:gd name="T38" fmla="*/ 5 w 137"/>
                <a:gd name="T39" fmla="*/ 73 h 145"/>
                <a:gd name="T40" fmla="*/ 4 w 137"/>
                <a:gd name="T41" fmla="*/ 75 h 145"/>
                <a:gd name="T42" fmla="*/ 6 w 137"/>
                <a:gd name="T43" fmla="*/ 81 h 145"/>
                <a:gd name="T44" fmla="*/ 6 w 137"/>
                <a:gd name="T45" fmla="*/ 85 h 145"/>
                <a:gd name="T46" fmla="*/ 5 w 137"/>
                <a:gd name="T47" fmla="*/ 88 h 145"/>
                <a:gd name="T48" fmla="*/ 3 w 137"/>
                <a:gd name="T49" fmla="*/ 92 h 145"/>
                <a:gd name="T50" fmla="*/ 5 w 137"/>
                <a:gd name="T51" fmla="*/ 97 h 145"/>
                <a:gd name="T52" fmla="*/ 10 w 137"/>
                <a:gd name="T53" fmla="*/ 97 h 145"/>
                <a:gd name="T54" fmla="*/ 27 w 137"/>
                <a:gd name="T55" fmla="*/ 116 h 145"/>
                <a:gd name="T56" fmla="*/ 24 w 137"/>
                <a:gd name="T57" fmla="*/ 144 h 145"/>
                <a:gd name="T58" fmla="*/ 63 w 137"/>
                <a:gd name="T59" fmla="*/ 130 h 145"/>
                <a:gd name="T60" fmla="*/ 104 w 137"/>
                <a:gd name="T61" fmla="*/ 125 h 145"/>
                <a:gd name="T62" fmla="*/ 85 w 137"/>
                <a:gd name="T63" fmla="*/ 126 h 145"/>
                <a:gd name="T64" fmla="*/ 101 w 137"/>
                <a:gd name="T65" fmla="*/ 124 h 145"/>
                <a:gd name="T66" fmla="*/ 104 w 137"/>
                <a:gd name="T67" fmla="*/ 125 h 145"/>
                <a:gd name="T68" fmla="*/ 121 w 137"/>
                <a:gd name="T69" fmla="*/ 128 h 145"/>
                <a:gd name="T70" fmla="*/ 124 w 137"/>
                <a:gd name="T71" fmla="*/ 127 h 145"/>
                <a:gd name="T72" fmla="*/ 131 w 137"/>
                <a:gd name="T73" fmla="*/ 125 h 145"/>
                <a:gd name="T74" fmla="*/ 127 w 137"/>
                <a:gd name="T75" fmla="*/ 117 h 145"/>
                <a:gd name="T76" fmla="*/ 120 w 137"/>
                <a:gd name="T77" fmla="*/ 95 h 145"/>
                <a:gd name="T78" fmla="*/ 126 w 137"/>
                <a:gd name="T79" fmla="*/ 73 h 145"/>
                <a:gd name="T80" fmla="*/ 131 w 137"/>
                <a:gd name="T81" fmla="*/ 61 h 145"/>
                <a:gd name="T82" fmla="*/ 134 w 137"/>
                <a:gd name="T83" fmla="*/ 42 h 145"/>
                <a:gd name="T84" fmla="*/ 131 w 137"/>
                <a:gd name="T85" fmla="*/ 37 h 145"/>
                <a:gd name="T86" fmla="*/ 131 w 137"/>
                <a:gd name="T87" fmla="*/ 31 h 145"/>
                <a:gd name="T88" fmla="*/ 128 w 137"/>
                <a:gd name="T89" fmla="*/ 25 h 145"/>
                <a:gd name="T90" fmla="*/ 121 w 137"/>
                <a:gd name="T91" fmla="*/ 17 h 145"/>
                <a:gd name="T92" fmla="*/ 116 w 137"/>
                <a:gd name="T93" fmla="*/ 17 h 145"/>
                <a:gd name="T94" fmla="*/ 99 w 137"/>
                <a:gd name="T95" fmla="*/ 23 h 145"/>
                <a:gd name="T96" fmla="*/ 95 w 137"/>
                <a:gd name="T97" fmla="*/ 25 h 145"/>
                <a:gd name="T98" fmla="*/ 77 w 137"/>
                <a:gd name="T99" fmla="*/ 12 h 145"/>
                <a:gd name="T100" fmla="*/ 74 w 137"/>
                <a:gd name="T101" fmla="*/ 8 h 145"/>
                <a:gd name="T102" fmla="*/ 63 w 137"/>
                <a:gd name="T103" fmla="*/ 6 h 145"/>
                <a:gd name="T104" fmla="*/ 51 w 137"/>
                <a:gd name="T105" fmla="*/ 9 h 1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45">
                  <a:moveTo>
                    <a:pt x="77" y="127"/>
                  </a:moveTo>
                  <a:cubicBezTo>
                    <a:pt x="77" y="127"/>
                    <a:pt x="76" y="127"/>
                    <a:pt x="76" y="127"/>
                  </a:cubicBezTo>
                  <a:cubicBezTo>
                    <a:pt x="76" y="127"/>
                    <a:pt x="77" y="127"/>
                    <a:pt x="77" y="127"/>
                  </a:cubicBezTo>
                  <a:moveTo>
                    <a:pt x="77" y="127"/>
                  </a:moveTo>
                  <a:cubicBezTo>
                    <a:pt x="77" y="127"/>
                    <a:pt x="77" y="127"/>
                    <a:pt x="78" y="127"/>
                  </a:cubicBezTo>
                  <a:cubicBezTo>
                    <a:pt x="77" y="127"/>
                    <a:pt x="77" y="127"/>
                    <a:pt x="77" y="127"/>
                  </a:cubicBezTo>
                  <a:cubicBezTo>
                    <a:pt x="77" y="127"/>
                    <a:pt x="77" y="127"/>
                    <a:pt x="77" y="127"/>
                  </a:cubicBezTo>
                  <a:moveTo>
                    <a:pt x="79" y="126"/>
                  </a:moveTo>
                  <a:cubicBezTo>
                    <a:pt x="79" y="126"/>
                    <a:pt x="79" y="126"/>
                    <a:pt x="79" y="126"/>
                  </a:cubicBezTo>
                  <a:moveTo>
                    <a:pt x="109" y="124"/>
                  </a:moveTo>
                  <a:cubicBezTo>
                    <a:pt x="110" y="124"/>
                    <a:pt x="110" y="124"/>
                    <a:pt x="110" y="124"/>
                  </a:cubicBezTo>
                  <a:cubicBezTo>
                    <a:pt x="110" y="124"/>
                    <a:pt x="110" y="124"/>
                    <a:pt x="110" y="124"/>
                  </a:cubicBezTo>
                  <a:cubicBezTo>
                    <a:pt x="109" y="124"/>
                    <a:pt x="109" y="124"/>
                    <a:pt x="109" y="124"/>
                  </a:cubicBezTo>
                  <a:moveTo>
                    <a:pt x="110" y="124"/>
                  </a:moveTo>
                  <a:cubicBezTo>
                    <a:pt x="110" y="123"/>
                    <a:pt x="109" y="122"/>
                    <a:pt x="109" y="122"/>
                  </a:cubicBezTo>
                  <a:cubicBezTo>
                    <a:pt x="109" y="122"/>
                    <a:pt x="110" y="123"/>
                    <a:pt x="110" y="124"/>
                  </a:cubicBezTo>
                  <a:moveTo>
                    <a:pt x="44" y="0"/>
                  </a:moveTo>
                  <a:cubicBezTo>
                    <a:pt x="44" y="1"/>
                    <a:pt x="44" y="2"/>
                    <a:pt x="44" y="2"/>
                  </a:cubicBezTo>
                  <a:cubicBezTo>
                    <a:pt x="45" y="7"/>
                    <a:pt x="45" y="7"/>
                    <a:pt x="45" y="7"/>
                  </a:cubicBezTo>
                  <a:cubicBezTo>
                    <a:pt x="42" y="7"/>
                    <a:pt x="42" y="7"/>
                    <a:pt x="42" y="7"/>
                  </a:cubicBezTo>
                  <a:cubicBezTo>
                    <a:pt x="41" y="7"/>
                    <a:pt x="40" y="7"/>
                    <a:pt x="40" y="7"/>
                  </a:cubicBezTo>
                  <a:cubicBezTo>
                    <a:pt x="39" y="7"/>
                    <a:pt x="39" y="7"/>
                    <a:pt x="39" y="7"/>
                  </a:cubicBezTo>
                  <a:cubicBezTo>
                    <a:pt x="39" y="7"/>
                    <a:pt x="38" y="7"/>
                    <a:pt x="38" y="7"/>
                  </a:cubicBezTo>
                  <a:cubicBezTo>
                    <a:pt x="37" y="7"/>
                    <a:pt x="37" y="7"/>
                    <a:pt x="37" y="7"/>
                  </a:cubicBezTo>
                  <a:cubicBezTo>
                    <a:pt x="37" y="7"/>
                    <a:pt x="37" y="7"/>
                    <a:pt x="37" y="7"/>
                  </a:cubicBezTo>
                  <a:cubicBezTo>
                    <a:pt x="36" y="7"/>
                    <a:pt x="36" y="7"/>
                    <a:pt x="36" y="7"/>
                  </a:cubicBezTo>
                  <a:cubicBezTo>
                    <a:pt x="36" y="8"/>
                    <a:pt x="36" y="8"/>
                    <a:pt x="36" y="8"/>
                  </a:cubicBezTo>
                  <a:cubicBezTo>
                    <a:pt x="36" y="9"/>
                    <a:pt x="36" y="10"/>
                    <a:pt x="35" y="10"/>
                  </a:cubicBezTo>
                  <a:cubicBezTo>
                    <a:pt x="33" y="15"/>
                    <a:pt x="33" y="15"/>
                    <a:pt x="33" y="15"/>
                  </a:cubicBezTo>
                  <a:cubicBezTo>
                    <a:pt x="30" y="10"/>
                    <a:pt x="30" y="10"/>
                    <a:pt x="30" y="10"/>
                  </a:cubicBezTo>
                  <a:cubicBezTo>
                    <a:pt x="29" y="10"/>
                    <a:pt x="29" y="10"/>
                    <a:pt x="29" y="10"/>
                  </a:cubicBezTo>
                  <a:cubicBezTo>
                    <a:pt x="29" y="10"/>
                    <a:pt x="29" y="10"/>
                    <a:pt x="28" y="10"/>
                  </a:cubicBezTo>
                  <a:cubicBezTo>
                    <a:pt x="27" y="10"/>
                    <a:pt x="26" y="10"/>
                    <a:pt x="24" y="9"/>
                  </a:cubicBezTo>
                  <a:cubicBezTo>
                    <a:pt x="24" y="9"/>
                    <a:pt x="23" y="8"/>
                    <a:pt x="23" y="7"/>
                  </a:cubicBezTo>
                  <a:cubicBezTo>
                    <a:pt x="22" y="7"/>
                    <a:pt x="22" y="7"/>
                    <a:pt x="22" y="7"/>
                  </a:cubicBezTo>
                  <a:cubicBezTo>
                    <a:pt x="21" y="6"/>
                    <a:pt x="20" y="5"/>
                    <a:pt x="19" y="5"/>
                  </a:cubicBezTo>
                  <a:cubicBezTo>
                    <a:pt x="19" y="5"/>
                    <a:pt x="19" y="5"/>
                    <a:pt x="19" y="5"/>
                  </a:cubicBezTo>
                  <a:cubicBezTo>
                    <a:pt x="19" y="5"/>
                    <a:pt x="19" y="5"/>
                    <a:pt x="19" y="5"/>
                  </a:cubicBezTo>
                  <a:cubicBezTo>
                    <a:pt x="19" y="7"/>
                    <a:pt x="19" y="7"/>
                    <a:pt x="19" y="7"/>
                  </a:cubicBezTo>
                  <a:cubicBezTo>
                    <a:pt x="18" y="7"/>
                    <a:pt x="18" y="7"/>
                    <a:pt x="18" y="7"/>
                  </a:cubicBezTo>
                  <a:cubicBezTo>
                    <a:pt x="18" y="7"/>
                    <a:pt x="18" y="7"/>
                    <a:pt x="18" y="7"/>
                  </a:cubicBezTo>
                  <a:cubicBezTo>
                    <a:pt x="17" y="8"/>
                    <a:pt x="17" y="8"/>
                    <a:pt x="17" y="8"/>
                  </a:cubicBezTo>
                  <a:cubicBezTo>
                    <a:pt x="14" y="10"/>
                    <a:pt x="14" y="10"/>
                    <a:pt x="14" y="10"/>
                  </a:cubicBezTo>
                  <a:cubicBezTo>
                    <a:pt x="12" y="11"/>
                    <a:pt x="11" y="12"/>
                    <a:pt x="10" y="13"/>
                  </a:cubicBezTo>
                  <a:cubicBezTo>
                    <a:pt x="10" y="13"/>
                    <a:pt x="10" y="13"/>
                    <a:pt x="10" y="14"/>
                  </a:cubicBezTo>
                  <a:cubicBezTo>
                    <a:pt x="9" y="15"/>
                    <a:pt x="9" y="17"/>
                    <a:pt x="9" y="19"/>
                  </a:cubicBezTo>
                  <a:cubicBezTo>
                    <a:pt x="9" y="20"/>
                    <a:pt x="9" y="20"/>
                    <a:pt x="9" y="20"/>
                  </a:cubicBezTo>
                  <a:cubicBezTo>
                    <a:pt x="10" y="21"/>
                    <a:pt x="10" y="23"/>
                    <a:pt x="11" y="24"/>
                  </a:cubicBezTo>
                  <a:cubicBezTo>
                    <a:pt x="11" y="24"/>
                    <a:pt x="11" y="24"/>
                    <a:pt x="11" y="24"/>
                  </a:cubicBezTo>
                  <a:cubicBezTo>
                    <a:pt x="11" y="24"/>
                    <a:pt x="12" y="24"/>
                    <a:pt x="12" y="24"/>
                  </a:cubicBezTo>
                  <a:cubicBezTo>
                    <a:pt x="12" y="24"/>
                    <a:pt x="13" y="23"/>
                    <a:pt x="13" y="23"/>
                  </a:cubicBezTo>
                  <a:cubicBezTo>
                    <a:pt x="13" y="23"/>
                    <a:pt x="14" y="23"/>
                    <a:pt x="14" y="23"/>
                  </a:cubicBezTo>
                  <a:cubicBezTo>
                    <a:pt x="17" y="24"/>
                    <a:pt x="17" y="24"/>
                    <a:pt x="17" y="24"/>
                  </a:cubicBezTo>
                  <a:cubicBezTo>
                    <a:pt x="17" y="26"/>
                    <a:pt x="17" y="26"/>
                    <a:pt x="17" y="26"/>
                  </a:cubicBezTo>
                  <a:cubicBezTo>
                    <a:pt x="17" y="27"/>
                    <a:pt x="17" y="28"/>
                    <a:pt x="17" y="29"/>
                  </a:cubicBezTo>
                  <a:cubicBezTo>
                    <a:pt x="18" y="31"/>
                    <a:pt x="20" y="35"/>
                    <a:pt x="17" y="38"/>
                  </a:cubicBezTo>
                  <a:cubicBezTo>
                    <a:pt x="17" y="38"/>
                    <a:pt x="16" y="39"/>
                    <a:pt x="16" y="39"/>
                  </a:cubicBezTo>
                  <a:cubicBezTo>
                    <a:pt x="16" y="40"/>
                    <a:pt x="16" y="40"/>
                    <a:pt x="16" y="40"/>
                  </a:cubicBezTo>
                  <a:cubicBezTo>
                    <a:pt x="16" y="40"/>
                    <a:pt x="16" y="40"/>
                    <a:pt x="16" y="40"/>
                  </a:cubicBezTo>
                  <a:cubicBezTo>
                    <a:pt x="18" y="42"/>
                    <a:pt x="20" y="45"/>
                    <a:pt x="21" y="50"/>
                  </a:cubicBezTo>
                  <a:cubicBezTo>
                    <a:pt x="22" y="52"/>
                    <a:pt x="22" y="52"/>
                    <a:pt x="22" y="52"/>
                  </a:cubicBezTo>
                  <a:cubicBezTo>
                    <a:pt x="19" y="54"/>
                    <a:pt x="19" y="54"/>
                    <a:pt x="19" y="54"/>
                  </a:cubicBezTo>
                  <a:cubicBezTo>
                    <a:pt x="19" y="54"/>
                    <a:pt x="18" y="54"/>
                    <a:pt x="17" y="54"/>
                  </a:cubicBezTo>
                  <a:cubicBezTo>
                    <a:pt x="17" y="54"/>
                    <a:pt x="16" y="54"/>
                    <a:pt x="16" y="54"/>
                  </a:cubicBezTo>
                  <a:cubicBezTo>
                    <a:pt x="15" y="54"/>
                    <a:pt x="15" y="54"/>
                    <a:pt x="15" y="54"/>
                  </a:cubicBezTo>
                  <a:cubicBezTo>
                    <a:pt x="14" y="53"/>
                    <a:pt x="14" y="53"/>
                    <a:pt x="14" y="53"/>
                  </a:cubicBezTo>
                  <a:cubicBezTo>
                    <a:pt x="13" y="52"/>
                    <a:pt x="13" y="52"/>
                    <a:pt x="13" y="52"/>
                  </a:cubicBezTo>
                  <a:cubicBezTo>
                    <a:pt x="12" y="52"/>
                    <a:pt x="12" y="52"/>
                    <a:pt x="12" y="52"/>
                  </a:cubicBezTo>
                  <a:cubicBezTo>
                    <a:pt x="11" y="52"/>
                    <a:pt x="11" y="52"/>
                    <a:pt x="11" y="52"/>
                  </a:cubicBezTo>
                  <a:cubicBezTo>
                    <a:pt x="11" y="52"/>
                    <a:pt x="11" y="51"/>
                    <a:pt x="10" y="51"/>
                  </a:cubicBezTo>
                  <a:cubicBezTo>
                    <a:pt x="10" y="51"/>
                    <a:pt x="10" y="51"/>
                    <a:pt x="10" y="51"/>
                  </a:cubicBezTo>
                  <a:cubicBezTo>
                    <a:pt x="10" y="52"/>
                    <a:pt x="10" y="52"/>
                    <a:pt x="10" y="52"/>
                  </a:cubicBezTo>
                  <a:cubicBezTo>
                    <a:pt x="10" y="52"/>
                    <a:pt x="10" y="52"/>
                    <a:pt x="10" y="52"/>
                  </a:cubicBezTo>
                  <a:cubicBezTo>
                    <a:pt x="12" y="54"/>
                    <a:pt x="12" y="54"/>
                    <a:pt x="12" y="54"/>
                  </a:cubicBezTo>
                  <a:cubicBezTo>
                    <a:pt x="12" y="55"/>
                    <a:pt x="13" y="56"/>
                    <a:pt x="13" y="57"/>
                  </a:cubicBezTo>
                  <a:cubicBezTo>
                    <a:pt x="17" y="65"/>
                    <a:pt x="17" y="65"/>
                    <a:pt x="17" y="65"/>
                  </a:cubicBezTo>
                  <a:cubicBezTo>
                    <a:pt x="11" y="63"/>
                    <a:pt x="11" y="63"/>
                    <a:pt x="11" y="63"/>
                  </a:cubicBezTo>
                  <a:cubicBezTo>
                    <a:pt x="11" y="67"/>
                    <a:pt x="9" y="72"/>
                    <a:pt x="6" y="73"/>
                  </a:cubicBezTo>
                  <a:cubicBezTo>
                    <a:pt x="5" y="73"/>
                    <a:pt x="5" y="73"/>
                    <a:pt x="5" y="73"/>
                  </a:cubicBezTo>
                  <a:cubicBezTo>
                    <a:pt x="5" y="73"/>
                    <a:pt x="5" y="73"/>
                    <a:pt x="5" y="73"/>
                  </a:cubicBezTo>
                  <a:cubicBezTo>
                    <a:pt x="5" y="74"/>
                    <a:pt x="5" y="74"/>
                    <a:pt x="4" y="74"/>
                  </a:cubicBezTo>
                  <a:cubicBezTo>
                    <a:pt x="3" y="74"/>
                    <a:pt x="3" y="74"/>
                    <a:pt x="3" y="74"/>
                  </a:cubicBezTo>
                  <a:cubicBezTo>
                    <a:pt x="4" y="74"/>
                    <a:pt x="4" y="75"/>
                    <a:pt x="4" y="75"/>
                  </a:cubicBezTo>
                  <a:cubicBezTo>
                    <a:pt x="4" y="75"/>
                    <a:pt x="4" y="75"/>
                    <a:pt x="4" y="75"/>
                  </a:cubicBezTo>
                  <a:cubicBezTo>
                    <a:pt x="4" y="76"/>
                    <a:pt x="5" y="77"/>
                    <a:pt x="5" y="78"/>
                  </a:cubicBezTo>
                  <a:cubicBezTo>
                    <a:pt x="5" y="79"/>
                    <a:pt x="5" y="79"/>
                    <a:pt x="5" y="79"/>
                  </a:cubicBezTo>
                  <a:cubicBezTo>
                    <a:pt x="5" y="80"/>
                    <a:pt x="5" y="80"/>
                    <a:pt x="5" y="80"/>
                  </a:cubicBezTo>
                  <a:cubicBezTo>
                    <a:pt x="6" y="81"/>
                    <a:pt x="6" y="81"/>
                    <a:pt x="6" y="81"/>
                  </a:cubicBezTo>
                  <a:cubicBezTo>
                    <a:pt x="6" y="82"/>
                    <a:pt x="6" y="82"/>
                    <a:pt x="6" y="82"/>
                  </a:cubicBezTo>
                  <a:cubicBezTo>
                    <a:pt x="6" y="83"/>
                    <a:pt x="6" y="83"/>
                    <a:pt x="6" y="83"/>
                  </a:cubicBezTo>
                  <a:cubicBezTo>
                    <a:pt x="6" y="84"/>
                    <a:pt x="6" y="84"/>
                    <a:pt x="6" y="84"/>
                  </a:cubicBezTo>
                  <a:cubicBezTo>
                    <a:pt x="6" y="85"/>
                    <a:pt x="6" y="85"/>
                    <a:pt x="6" y="85"/>
                  </a:cubicBezTo>
                  <a:cubicBezTo>
                    <a:pt x="5" y="86"/>
                    <a:pt x="5" y="86"/>
                    <a:pt x="5" y="86"/>
                  </a:cubicBezTo>
                  <a:cubicBezTo>
                    <a:pt x="5" y="86"/>
                    <a:pt x="5" y="86"/>
                    <a:pt x="5" y="86"/>
                  </a:cubicBezTo>
                  <a:cubicBezTo>
                    <a:pt x="5" y="87"/>
                    <a:pt x="5" y="87"/>
                    <a:pt x="5" y="87"/>
                  </a:cubicBezTo>
                  <a:cubicBezTo>
                    <a:pt x="5" y="87"/>
                    <a:pt x="5" y="88"/>
                    <a:pt x="5" y="88"/>
                  </a:cubicBezTo>
                  <a:cubicBezTo>
                    <a:pt x="4" y="89"/>
                    <a:pt x="4" y="89"/>
                    <a:pt x="4" y="89"/>
                  </a:cubicBezTo>
                  <a:cubicBezTo>
                    <a:pt x="4" y="90"/>
                    <a:pt x="4" y="90"/>
                    <a:pt x="4" y="90"/>
                  </a:cubicBezTo>
                  <a:cubicBezTo>
                    <a:pt x="4" y="91"/>
                    <a:pt x="3" y="91"/>
                    <a:pt x="3" y="92"/>
                  </a:cubicBezTo>
                  <a:cubicBezTo>
                    <a:pt x="3" y="92"/>
                    <a:pt x="3" y="92"/>
                    <a:pt x="3" y="92"/>
                  </a:cubicBezTo>
                  <a:cubicBezTo>
                    <a:pt x="2" y="93"/>
                    <a:pt x="2" y="93"/>
                    <a:pt x="2" y="93"/>
                  </a:cubicBezTo>
                  <a:cubicBezTo>
                    <a:pt x="2" y="93"/>
                    <a:pt x="1" y="94"/>
                    <a:pt x="0" y="95"/>
                  </a:cubicBezTo>
                  <a:cubicBezTo>
                    <a:pt x="2" y="96"/>
                    <a:pt x="3" y="96"/>
                    <a:pt x="4" y="97"/>
                  </a:cubicBezTo>
                  <a:cubicBezTo>
                    <a:pt x="5" y="97"/>
                    <a:pt x="5" y="97"/>
                    <a:pt x="5" y="97"/>
                  </a:cubicBezTo>
                  <a:cubicBezTo>
                    <a:pt x="5" y="97"/>
                    <a:pt x="6" y="97"/>
                    <a:pt x="6" y="97"/>
                  </a:cubicBezTo>
                  <a:cubicBezTo>
                    <a:pt x="6" y="97"/>
                    <a:pt x="7" y="97"/>
                    <a:pt x="7" y="97"/>
                  </a:cubicBezTo>
                  <a:cubicBezTo>
                    <a:pt x="7" y="97"/>
                    <a:pt x="8" y="97"/>
                    <a:pt x="8" y="97"/>
                  </a:cubicBezTo>
                  <a:cubicBezTo>
                    <a:pt x="8" y="97"/>
                    <a:pt x="9" y="97"/>
                    <a:pt x="10" y="97"/>
                  </a:cubicBezTo>
                  <a:cubicBezTo>
                    <a:pt x="13" y="98"/>
                    <a:pt x="15" y="99"/>
                    <a:pt x="17" y="101"/>
                  </a:cubicBezTo>
                  <a:cubicBezTo>
                    <a:pt x="20" y="103"/>
                    <a:pt x="20" y="103"/>
                    <a:pt x="20" y="103"/>
                  </a:cubicBezTo>
                  <a:cubicBezTo>
                    <a:pt x="20" y="104"/>
                    <a:pt x="21" y="105"/>
                    <a:pt x="22" y="105"/>
                  </a:cubicBezTo>
                  <a:cubicBezTo>
                    <a:pt x="25" y="108"/>
                    <a:pt x="27" y="112"/>
                    <a:pt x="27" y="116"/>
                  </a:cubicBezTo>
                  <a:cubicBezTo>
                    <a:pt x="28" y="123"/>
                    <a:pt x="25" y="129"/>
                    <a:pt x="23" y="135"/>
                  </a:cubicBezTo>
                  <a:cubicBezTo>
                    <a:pt x="22" y="136"/>
                    <a:pt x="22" y="136"/>
                    <a:pt x="22" y="136"/>
                  </a:cubicBezTo>
                  <a:cubicBezTo>
                    <a:pt x="22" y="136"/>
                    <a:pt x="22" y="138"/>
                    <a:pt x="24" y="143"/>
                  </a:cubicBezTo>
                  <a:cubicBezTo>
                    <a:pt x="24" y="144"/>
                    <a:pt x="24" y="144"/>
                    <a:pt x="24" y="144"/>
                  </a:cubicBezTo>
                  <a:cubicBezTo>
                    <a:pt x="24" y="144"/>
                    <a:pt x="24" y="145"/>
                    <a:pt x="24" y="145"/>
                  </a:cubicBezTo>
                  <a:cubicBezTo>
                    <a:pt x="25" y="144"/>
                    <a:pt x="27" y="144"/>
                    <a:pt x="27" y="143"/>
                  </a:cubicBezTo>
                  <a:cubicBezTo>
                    <a:pt x="33" y="140"/>
                    <a:pt x="41" y="138"/>
                    <a:pt x="47" y="135"/>
                  </a:cubicBezTo>
                  <a:cubicBezTo>
                    <a:pt x="52" y="133"/>
                    <a:pt x="57" y="131"/>
                    <a:pt x="63" y="130"/>
                  </a:cubicBezTo>
                  <a:cubicBezTo>
                    <a:pt x="68" y="129"/>
                    <a:pt x="74" y="129"/>
                    <a:pt x="80" y="128"/>
                  </a:cubicBezTo>
                  <a:cubicBezTo>
                    <a:pt x="80" y="127"/>
                    <a:pt x="80" y="127"/>
                    <a:pt x="80" y="127"/>
                  </a:cubicBezTo>
                  <a:cubicBezTo>
                    <a:pt x="83" y="127"/>
                    <a:pt x="85" y="127"/>
                    <a:pt x="88" y="127"/>
                  </a:cubicBezTo>
                  <a:cubicBezTo>
                    <a:pt x="94" y="127"/>
                    <a:pt x="99" y="126"/>
                    <a:pt x="104" y="125"/>
                  </a:cubicBezTo>
                  <a:cubicBezTo>
                    <a:pt x="103" y="124"/>
                    <a:pt x="102" y="124"/>
                    <a:pt x="101" y="124"/>
                  </a:cubicBezTo>
                  <a:cubicBezTo>
                    <a:pt x="99" y="124"/>
                    <a:pt x="96" y="125"/>
                    <a:pt x="94" y="125"/>
                  </a:cubicBezTo>
                  <a:cubicBezTo>
                    <a:pt x="91" y="126"/>
                    <a:pt x="89" y="127"/>
                    <a:pt x="87" y="127"/>
                  </a:cubicBezTo>
                  <a:cubicBezTo>
                    <a:pt x="86" y="127"/>
                    <a:pt x="86" y="127"/>
                    <a:pt x="85" y="126"/>
                  </a:cubicBezTo>
                  <a:cubicBezTo>
                    <a:pt x="89" y="125"/>
                    <a:pt x="93" y="124"/>
                    <a:pt x="97" y="124"/>
                  </a:cubicBezTo>
                  <a:cubicBezTo>
                    <a:pt x="97" y="124"/>
                    <a:pt x="97" y="124"/>
                    <a:pt x="98" y="124"/>
                  </a:cubicBezTo>
                  <a:cubicBezTo>
                    <a:pt x="98" y="124"/>
                    <a:pt x="98" y="124"/>
                    <a:pt x="98" y="124"/>
                  </a:cubicBezTo>
                  <a:cubicBezTo>
                    <a:pt x="99" y="124"/>
                    <a:pt x="100" y="124"/>
                    <a:pt x="101" y="124"/>
                  </a:cubicBezTo>
                  <a:cubicBezTo>
                    <a:pt x="102" y="124"/>
                    <a:pt x="103" y="124"/>
                    <a:pt x="104" y="124"/>
                  </a:cubicBezTo>
                  <a:cubicBezTo>
                    <a:pt x="106" y="124"/>
                    <a:pt x="109" y="124"/>
                    <a:pt x="109" y="125"/>
                  </a:cubicBezTo>
                  <a:cubicBezTo>
                    <a:pt x="108" y="125"/>
                    <a:pt x="106" y="125"/>
                    <a:pt x="105" y="125"/>
                  </a:cubicBezTo>
                  <a:cubicBezTo>
                    <a:pt x="104" y="125"/>
                    <a:pt x="104" y="125"/>
                    <a:pt x="104" y="125"/>
                  </a:cubicBezTo>
                  <a:cubicBezTo>
                    <a:pt x="106" y="126"/>
                    <a:pt x="107" y="126"/>
                    <a:pt x="109" y="126"/>
                  </a:cubicBezTo>
                  <a:cubicBezTo>
                    <a:pt x="111" y="126"/>
                    <a:pt x="116" y="128"/>
                    <a:pt x="119" y="128"/>
                  </a:cubicBezTo>
                  <a:cubicBezTo>
                    <a:pt x="120" y="128"/>
                    <a:pt x="121" y="128"/>
                    <a:pt x="121" y="127"/>
                  </a:cubicBezTo>
                  <a:cubicBezTo>
                    <a:pt x="121" y="128"/>
                    <a:pt x="121" y="128"/>
                    <a:pt x="121" y="128"/>
                  </a:cubicBezTo>
                  <a:cubicBezTo>
                    <a:pt x="121" y="128"/>
                    <a:pt x="121" y="126"/>
                    <a:pt x="121" y="126"/>
                  </a:cubicBezTo>
                  <a:cubicBezTo>
                    <a:pt x="121" y="125"/>
                    <a:pt x="122" y="123"/>
                    <a:pt x="123" y="123"/>
                  </a:cubicBezTo>
                  <a:cubicBezTo>
                    <a:pt x="123" y="123"/>
                    <a:pt x="124" y="123"/>
                    <a:pt x="124" y="124"/>
                  </a:cubicBezTo>
                  <a:cubicBezTo>
                    <a:pt x="125" y="124"/>
                    <a:pt x="124" y="126"/>
                    <a:pt x="124" y="127"/>
                  </a:cubicBezTo>
                  <a:cubicBezTo>
                    <a:pt x="125" y="125"/>
                    <a:pt x="125" y="125"/>
                    <a:pt x="125" y="125"/>
                  </a:cubicBezTo>
                  <a:cubicBezTo>
                    <a:pt x="126" y="125"/>
                    <a:pt x="126" y="125"/>
                    <a:pt x="126" y="125"/>
                  </a:cubicBezTo>
                  <a:cubicBezTo>
                    <a:pt x="127" y="125"/>
                    <a:pt x="128" y="125"/>
                    <a:pt x="129" y="125"/>
                  </a:cubicBezTo>
                  <a:cubicBezTo>
                    <a:pt x="130" y="125"/>
                    <a:pt x="130" y="125"/>
                    <a:pt x="131" y="125"/>
                  </a:cubicBezTo>
                  <a:cubicBezTo>
                    <a:pt x="131" y="125"/>
                    <a:pt x="131" y="124"/>
                    <a:pt x="131" y="123"/>
                  </a:cubicBezTo>
                  <a:cubicBezTo>
                    <a:pt x="131" y="123"/>
                    <a:pt x="131" y="122"/>
                    <a:pt x="131" y="122"/>
                  </a:cubicBezTo>
                  <a:cubicBezTo>
                    <a:pt x="130" y="121"/>
                    <a:pt x="129" y="120"/>
                    <a:pt x="128" y="119"/>
                  </a:cubicBezTo>
                  <a:cubicBezTo>
                    <a:pt x="128" y="118"/>
                    <a:pt x="127" y="118"/>
                    <a:pt x="127" y="117"/>
                  </a:cubicBezTo>
                  <a:cubicBezTo>
                    <a:pt x="127" y="117"/>
                    <a:pt x="126" y="116"/>
                    <a:pt x="126" y="115"/>
                  </a:cubicBezTo>
                  <a:cubicBezTo>
                    <a:pt x="125" y="115"/>
                    <a:pt x="125" y="114"/>
                    <a:pt x="125" y="114"/>
                  </a:cubicBezTo>
                  <a:cubicBezTo>
                    <a:pt x="124" y="113"/>
                    <a:pt x="124" y="113"/>
                    <a:pt x="124" y="113"/>
                  </a:cubicBezTo>
                  <a:cubicBezTo>
                    <a:pt x="122" y="107"/>
                    <a:pt x="121" y="101"/>
                    <a:pt x="120" y="95"/>
                  </a:cubicBezTo>
                  <a:cubicBezTo>
                    <a:pt x="120" y="92"/>
                    <a:pt x="120" y="92"/>
                    <a:pt x="120" y="92"/>
                  </a:cubicBezTo>
                  <a:cubicBezTo>
                    <a:pt x="119" y="87"/>
                    <a:pt x="122" y="82"/>
                    <a:pt x="124" y="78"/>
                  </a:cubicBezTo>
                  <a:cubicBezTo>
                    <a:pt x="124" y="77"/>
                    <a:pt x="124" y="77"/>
                    <a:pt x="124" y="77"/>
                  </a:cubicBezTo>
                  <a:cubicBezTo>
                    <a:pt x="125" y="75"/>
                    <a:pt x="125" y="74"/>
                    <a:pt x="126" y="73"/>
                  </a:cubicBezTo>
                  <a:cubicBezTo>
                    <a:pt x="126" y="72"/>
                    <a:pt x="126" y="71"/>
                    <a:pt x="126" y="71"/>
                  </a:cubicBezTo>
                  <a:cubicBezTo>
                    <a:pt x="126" y="70"/>
                    <a:pt x="126" y="70"/>
                    <a:pt x="126" y="70"/>
                  </a:cubicBezTo>
                  <a:cubicBezTo>
                    <a:pt x="127" y="68"/>
                    <a:pt x="128" y="66"/>
                    <a:pt x="129" y="64"/>
                  </a:cubicBezTo>
                  <a:cubicBezTo>
                    <a:pt x="130" y="63"/>
                    <a:pt x="131" y="62"/>
                    <a:pt x="131" y="61"/>
                  </a:cubicBezTo>
                  <a:cubicBezTo>
                    <a:pt x="133" y="59"/>
                    <a:pt x="133" y="59"/>
                    <a:pt x="133" y="59"/>
                  </a:cubicBezTo>
                  <a:cubicBezTo>
                    <a:pt x="134" y="58"/>
                    <a:pt x="134" y="58"/>
                    <a:pt x="135" y="57"/>
                  </a:cubicBezTo>
                  <a:cubicBezTo>
                    <a:pt x="137" y="54"/>
                    <a:pt x="137" y="53"/>
                    <a:pt x="136" y="50"/>
                  </a:cubicBezTo>
                  <a:cubicBezTo>
                    <a:pt x="135" y="46"/>
                    <a:pt x="135" y="44"/>
                    <a:pt x="134" y="42"/>
                  </a:cubicBezTo>
                  <a:cubicBezTo>
                    <a:pt x="134" y="42"/>
                    <a:pt x="134" y="42"/>
                    <a:pt x="134" y="42"/>
                  </a:cubicBezTo>
                  <a:cubicBezTo>
                    <a:pt x="133" y="41"/>
                    <a:pt x="133" y="40"/>
                    <a:pt x="133" y="40"/>
                  </a:cubicBezTo>
                  <a:cubicBezTo>
                    <a:pt x="132" y="39"/>
                    <a:pt x="132" y="39"/>
                    <a:pt x="132" y="39"/>
                  </a:cubicBezTo>
                  <a:cubicBezTo>
                    <a:pt x="132" y="38"/>
                    <a:pt x="131" y="38"/>
                    <a:pt x="131" y="37"/>
                  </a:cubicBezTo>
                  <a:cubicBezTo>
                    <a:pt x="131" y="36"/>
                    <a:pt x="131" y="36"/>
                    <a:pt x="131" y="35"/>
                  </a:cubicBezTo>
                  <a:cubicBezTo>
                    <a:pt x="130" y="34"/>
                    <a:pt x="130" y="34"/>
                    <a:pt x="130" y="34"/>
                  </a:cubicBezTo>
                  <a:cubicBezTo>
                    <a:pt x="130" y="33"/>
                    <a:pt x="130" y="32"/>
                    <a:pt x="130" y="32"/>
                  </a:cubicBezTo>
                  <a:cubicBezTo>
                    <a:pt x="131" y="31"/>
                    <a:pt x="131" y="31"/>
                    <a:pt x="131" y="31"/>
                  </a:cubicBezTo>
                  <a:cubicBezTo>
                    <a:pt x="131" y="30"/>
                    <a:pt x="131" y="29"/>
                    <a:pt x="131" y="29"/>
                  </a:cubicBezTo>
                  <a:cubicBezTo>
                    <a:pt x="131" y="28"/>
                    <a:pt x="131" y="28"/>
                    <a:pt x="131" y="28"/>
                  </a:cubicBezTo>
                  <a:cubicBezTo>
                    <a:pt x="131" y="28"/>
                    <a:pt x="131" y="28"/>
                    <a:pt x="131" y="28"/>
                  </a:cubicBezTo>
                  <a:cubicBezTo>
                    <a:pt x="129" y="28"/>
                    <a:pt x="129" y="26"/>
                    <a:pt x="128" y="25"/>
                  </a:cubicBezTo>
                  <a:cubicBezTo>
                    <a:pt x="128" y="25"/>
                    <a:pt x="127" y="24"/>
                    <a:pt x="127" y="23"/>
                  </a:cubicBezTo>
                  <a:cubicBezTo>
                    <a:pt x="127" y="23"/>
                    <a:pt x="127" y="23"/>
                    <a:pt x="127" y="23"/>
                  </a:cubicBezTo>
                  <a:cubicBezTo>
                    <a:pt x="127" y="22"/>
                    <a:pt x="126" y="22"/>
                    <a:pt x="125" y="21"/>
                  </a:cubicBezTo>
                  <a:cubicBezTo>
                    <a:pt x="123" y="20"/>
                    <a:pt x="121" y="19"/>
                    <a:pt x="121" y="17"/>
                  </a:cubicBezTo>
                  <a:cubicBezTo>
                    <a:pt x="120" y="17"/>
                    <a:pt x="120" y="17"/>
                    <a:pt x="120" y="17"/>
                  </a:cubicBezTo>
                  <a:cubicBezTo>
                    <a:pt x="120" y="17"/>
                    <a:pt x="119" y="17"/>
                    <a:pt x="118" y="17"/>
                  </a:cubicBezTo>
                  <a:cubicBezTo>
                    <a:pt x="118" y="17"/>
                    <a:pt x="118" y="17"/>
                    <a:pt x="118" y="17"/>
                  </a:cubicBezTo>
                  <a:cubicBezTo>
                    <a:pt x="116" y="17"/>
                    <a:pt x="116" y="17"/>
                    <a:pt x="116" y="17"/>
                  </a:cubicBezTo>
                  <a:cubicBezTo>
                    <a:pt x="116" y="17"/>
                    <a:pt x="115" y="17"/>
                    <a:pt x="115" y="17"/>
                  </a:cubicBezTo>
                  <a:cubicBezTo>
                    <a:pt x="115" y="17"/>
                    <a:pt x="114" y="17"/>
                    <a:pt x="114" y="17"/>
                  </a:cubicBezTo>
                  <a:cubicBezTo>
                    <a:pt x="112" y="17"/>
                    <a:pt x="109" y="17"/>
                    <a:pt x="107" y="18"/>
                  </a:cubicBezTo>
                  <a:cubicBezTo>
                    <a:pt x="104" y="19"/>
                    <a:pt x="101" y="21"/>
                    <a:pt x="99" y="23"/>
                  </a:cubicBezTo>
                  <a:cubicBezTo>
                    <a:pt x="98" y="25"/>
                    <a:pt x="98" y="25"/>
                    <a:pt x="98" y="25"/>
                  </a:cubicBezTo>
                  <a:cubicBezTo>
                    <a:pt x="97" y="25"/>
                    <a:pt x="97" y="25"/>
                    <a:pt x="97" y="25"/>
                  </a:cubicBezTo>
                  <a:cubicBezTo>
                    <a:pt x="96" y="25"/>
                    <a:pt x="96" y="25"/>
                    <a:pt x="96" y="25"/>
                  </a:cubicBezTo>
                  <a:cubicBezTo>
                    <a:pt x="95" y="25"/>
                    <a:pt x="95" y="25"/>
                    <a:pt x="95" y="25"/>
                  </a:cubicBezTo>
                  <a:cubicBezTo>
                    <a:pt x="94" y="24"/>
                    <a:pt x="92" y="24"/>
                    <a:pt x="89" y="23"/>
                  </a:cubicBezTo>
                  <a:cubicBezTo>
                    <a:pt x="89" y="22"/>
                    <a:pt x="88" y="22"/>
                    <a:pt x="88" y="22"/>
                  </a:cubicBezTo>
                  <a:cubicBezTo>
                    <a:pt x="87" y="22"/>
                    <a:pt x="86" y="22"/>
                    <a:pt x="85" y="21"/>
                  </a:cubicBezTo>
                  <a:cubicBezTo>
                    <a:pt x="81" y="19"/>
                    <a:pt x="79" y="16"/>
                    <a:pt x="77" y="12"/>
                  </a:cubicBezTo>
                  <a:cubicBezTo>
                    <a:pt x="77" y="10"/>
                    <a:pt x="77" y="10"/>
                    <a:pt x="77" y="10"/>
                  </a:cubicBezTo>
                  <a:cubicBezTo>
                    <a:pt x="76" y="9"/>
                    <a:pt x="76" y="9"/>
                    <a:pt x="76" y="8"/>
                  </a:cubicBezTo>
                  <a:cubicBezTo>
                    <a:pt x="76" y="8"/>
                    <a:pt x="76" y="8"/>
                    <a:pt x="76" y="8"/>
                  </a:cubicBezTo>
                  <a:cubicBezTo>
                    <a:pt x="75" y="8"/>
                    <a:pt x="75" y="8"/>
                    <a:pt x="74" y="8"/>
                  </a:cubicBezTo>
                  <a:cubicBezTo>
                    <a:pt x="73" y="7"/>
                    <a:pt x="72" y="7"/>
                    <a:pt x="71" y="6"/>
                  </a:cubicBezTo>
                  <a:cubicBezTo>
                    <a:pt x="70" y="6"/>
                    <a:pt x="70" y="6"/>
                    <a:pt x="69" y="6"/>
                  </a:cubicBezTo>
                  <a:cubicBezTo>
                    <a:pt x="67" y="5"/>
                    <a:pt x="67" y="5"/>
                    <a:pt x="67" y="5"/>
                  </a:cubicBezTo>
                  <a:cubicBezTo>
                    <a:pt x="64" y="5"/>
                    <a:pt x="64" y="5"/>
                    <a:pt x="63" y="6"/>
                  </a:cubicBezTo>
                  <a:cubicBezTo>
                    <a:pt x="63" y="6"/>
                    <a:pt x="62" y="6"/>
                    <a:pt x="62" y="7"/>
                  </a:cubicBezTo>
                  <a:cubicBezTo>
                    <a:pt x="61" y="8"/>
                    <a:pt x="60" y="10"/>
                    <a:pt x="58" y="11"/>
                  </a:cubicBezTo>
                  <a:cubicBezTo>
                    <a:pt x="57" y="11"/>
                    <a:pt x="56" y="11"/>
                    <a:pt x="55" y="11"/>
                  </a:cubicBezTo>
                  <a:cubicBezTo>
                    <a:pt x="54" y="11"/>
                    <a:pt x="52" y="10"/>
                    <a:pt x="51" y="9"/>
                  </a:cubicBezTo>
                  <a:cubicBezTo>
                    <a:pt x="49" y="7"/>
                    <a:pt x="49" y="4"/>
                    <a:pt x="49" y="2"/>
                  </a:cubicBezTo>
                  <a:cubicBezTo>
                    <a:pt x="47" y="1"/>
                    <a:pt x="47" y="1"/>
                    <a:pt x="47" y="1"/>
                  </a:cubicBezTo>
                  <a:cubicBezTo>
                    <a:pt x="46" y="1"/>
                    <a:pt x="45" y="1"/>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240"/>
            <p:cNvSpPr/>
            <p:nvPr/>
          </p:nvSpPr>
          <p:spPr bwMode="auto">
            <a:xfrm>
              <a:off x="3028" y="2285"/>
              <a:ext cx="217" cy="224"/>
            </a:xfrm>
            <a:custGeom>
              <a:gdLst>
                <a:gd name="T0" fmla="*/ 36 w 92"/>
                <a:gd name="T1" fmla="*/ 1 h 95"/>
                <a:gd name="T2" fmla="*/ 34 w 92"/>
                <a:gd name="T3" fmla="*/ 1 h 95"/>
                <a:gd name="T4" fmla="*/ 32 w 92"/>
                <a:gd name="T5" fmla="*/ 1 h 95"/>
                <a:gd name="T6" fmla="*/ 29 w 92"/>
                <a:gd name="T7" fmla="*/ 1 h 95"/>
                <a:gd name="T8" fmla="*/ 28 w 92"/>
                <a:gd name="T9" fmla="*/ 7 h 95"/>
                <a:gd name="T10" fmla="*/ 22 w 92"/>
                <a:gd name="T11" fmla="*/ 10 h 95"/>
                <a:gd name="T12" fmla="*/ 20 w 92"/>
                <a:gd name="T13" fmla="*/ 18 h 95"/>
                <a:gd name="T14" fmla="*/ 11 w 92"/>
                <a:gd name="T15" fmla="*/ 26 h 95"/>
                <a:gd name="T16" fmla="*/ 5 w 92"/>
                <a:gd name="T17" fmla="*/ 32 h 95"/>
                <a:gd name="T18" fmla="*/ 0 w 92"/>
                <a:gd name="T19" fmla="*/ 37 h 95"/>
                <a:gd name="T20" fmla="*/ 20 w 92"/>
                <a:gd name="T21" fmla="*/ 52 h 95"/>
                <a:gd name="T22" fmla="*/ 64 w 92"/>
                <a:gd name="T23" fmla="*/ 85 h 95"/>
                <a:gd name="T24" fmla="*/ 88 w 92"/>
                <a:gd name="T25" fmla="*/ 95 h 95"/>
                <a:gd name="T26" fmla="*/ 88 w 92"/>
                <a:gd name="T27" fmla="*/ 95 h 95"/>
                <a:gd name="T28" fmla="*/ 88 w 92"/>
                <a:gd name="T29" fmla="*/ 82 h 95"/>
                <a:gd name="T30" fmla="*/ 91 w 92"/>
                <a:gd name="T31" fmla="*/ 67 h 95"/>
                <a:gd name="T32" fmla="*/ 86 w 92"/>
                <a:gd name="T33" fmla="*/ 57 h 95"/>
                <a:gd name="T34" fmla="*/ 79 w 92"/>
                <a:gd name="T35" fmla="*/ 53 h 95"/>
                <a:gd name="T36" fmla="*/ 78 w 92"/>
                <a:gd name="T37" fmla="*/ 53 h 95"/>
                <a:gd name="T38" fmla="*/ 76 w 92"/>
                <a:gd name="T39" fmla="*/ 53 h 95"/>
                <a:gd name="T40" fmla="*/ 72 w 92"/>
                <a:gd name="T41" fmla="*/ 52 h 95"/>
                <a:gd name="T42" fmla="*/ 67 w 92"/>
                <a:gd name="T43" fmla="*/ 49 h 95"/>
                <a:gd name="T44" fmla="*/ 61 w 92"/>
                <a:gd name="T45" fmla="*/ 46 h 95"/>
                <a:gd name="T46" fmla="*/ 67 w 92"/>
                <a:gd name="T47" fmla="*/ 24 h 95"/>
                <a:gd name="T48" fmla="*/ 65 w 92"/>
                <a:gd name="T49" fmla="*/ 24 h 95"/>
                <a:gd name="T50" fmla="*/ 63 w 92"/>
                <a:gd name="T51" fmla="*/ 28 h 95"/>
                <a:gd name="T52" fmla="*/ 55 w 92"/>
                <a:gd name="T53" fmla="*/ 32 h 95"/>
                <a:gd name="T54" fmla="*/ 53 w 92"/>
                <a:gd name="T55" fmla="*/ 32 h 95"/>
                <a:gd name="T56" fmla="*/ 52 w 92"/>
                <a:gd name="T57" fmla="*/ 30 h 95"/>
                <a:gd name="T58" fmla="*/ 49 w 92"/>
                <a:gd name="T59" fmla="*/ 27 h 95"/>
                <a:gd name="T60" fmla="*/ 46 w 92"/>
                <a:gd name="T61" fmla="*/ 27 h 95"/>
                <a:gd name="T62" fmla="*/ 45 w 92"/>
                <a:gd name="T63" fmla="*/ 15 h 95"/>
                <a:gd name="T64" fmla="*/ 43 w 92"/>
                <a:gd name="T65" fmla="*/ 8 h 95"/>
                <a:gd name="T66" fmla="*/ 41 w 92"/>
                <a:gd name="T67" fmla="*/ 3 h 95"/>
                <a:gd name="T68" fmla="*/ 39 w 92"/>
                <a:gd name="T69" fmla="*/ 1 h 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2" h="95">
                  <a:moveTo>
                    <a:pt x="38" y="0"/>
                  </a:moveTo>
                  <a:cubicBezTo>
                    <a:pt x="38" y="1"/>
                    <a:pt x="37" y="1"/>
                    <a:pt x="36" y="1"/>
                  </a:cubicBezTo>
                  <a:cubicBezTo>
                    <a:pt x="36" y="1"/>
                    <a:pt x="35" y="1"/>
                    <a:pt x="35" y="1"/>
                  </a:cubicBezTo>
                  <a:cubicBezTo>
                    <a:pt x="34" y="1"/>
                    <a:pt x="34" y="1"/>
                    <a:pt x="34" y="1"/>
                  </a:cubicBezTo>
                  <a:cubicBezTo>
                    <a:pt x="33" y="1"/>
                    <a:pt x="33" y="1"/>
                    <a:pt x="33" y="1"/>
                  </a:cubicBezTo>
                  <a:cubicBezTo>
                    <a:pt x="33" y="1"/>
                    <a:pt x="32" y="1"/>
                    <a:pt x="32" y="1"/>
                  </a:cubicBezTo>
                  <a:cubicBezTo>
                    <a:pt x="31" y="1"/>
                    <a:pt x="31" y="1"/>
                    <a:pt x="30" y="1"/>
                  </a:cubicBezTo>
                  <a:cubicBezTo>
                    <a:pt x="29" y="1"/>
                    <a:pt x="29" y="1"/>
                    <a:pt x="29" y="1"/>
                  </a:cubicBezTo>
                  <a:cubicBezTo>
                    <a:pt x="29" y="2"/>
                    <a:pt x="29" y="3"/>
                    <a:pt x="29" y="3"/>
                  </a:cubicBezTo>
                  <a:cubicBezTo>
                    <a:pt x="29" y="5"/>
                    <a:pt x="29" y="6"/>
                    <a:pt x="28" y="7"/>
                  </a:cubicBezTo>
                  <a:cubicBezTo>
                    <a:pt x="27" y="8"/>
                    <a:pt x="25" y="9"/>
                    <a:pt x="24" y="9"/>
                  </a:cubicBezTo>
                  <a:cubicBezTo>
                    <a:pt x="23" y="9"/>
                    <a:pt x="23" y="9"/>
                    <a:pt x="22" y="10"/>
                  </a:cubicBezTo>
                  <a:cubicBezTo>
                    <a:pt x="22" y="10"/>
                    <a:pt x="22" y="11"/>
                    <a:pt x="22" y="12"/>
                  </a:cubicBezTo>
                  <a:cubicBezTo>
                    <a:pt x="22" y="14"/>
                    <a:pt x="21" y="16"/>
                    <a:pt x="20" y="18"/>
                  </a:cubicBezTo>
                  <a:cubicBezTo>
                    <a:pt x="18" y="21"/>
                    <a:pt x="15" y="23"/>
                    <a:pt x="12" y="26"/>
                  </a:cubicBezTo>
                  <a:cubicBezTo>
                    <a:pt x="11" y="26"/>
                    <a:pt x="11" y="26"/>
                    <a:pt x="11" y="26"/>
                  </a:cubicBezTo>
                  <a:cubicBezTo>
                    <a:pt x="10" y="26"/>
                    <a:pt x="10" y="27"/>
                    <a:pt x="9" y="27"/>
                  </a:cubicBezTo>
                  <a:cubicBezTo>
                    <a:pt x="8" y="29"/>
                    <a:pt x="6" y="30"/>
                    <a:pt x="5" y="32"/>
                  </a:cubicBezTo>
                  <a:cubicBezTo>
                    <a:pt x="3" y="34"/>
                    <a:pt x="2" y="36"/>
                    <a:pt x="0" y="37"/>
                  </a:cubicBezTo>
                  <a:cubicBezTo>
                    <a:pt x="0" y="37"/>
                    <a:pt x="0" y="37"/>
                    <a:pt x="0" y="37"/>
                  </a:cubicBezTo>
                  <a:cubicBezTo>
                    <a:pt x="3" y="40"/>
                    <a:pt x="6" y="42"/>
                    <a:pt x="9" y="44"/>
                  </a:cubicBezTo>
                  <a:cubicBezTo>
                    <a:pt x="12" y="47"/>
                    <a:pt x="16" y="52"/>
                    <a:pt x="20" y="52"/>
                  </a:cubicBezTo>
                  <a:cubicBezTo>
                    <a:pt x="29" y="55"/>
                    <a:pt x="36" y="64"/>
                    <a:pt x="42" y="70"/>
                  </a:cubicBezTo>
                  <a:cubicBezTo>
                    <a:pt x="48" y="76"/>
                    <a:pt x="56" y="82"/>
                    <a:pt x="64" y="85"/>
                  </a:cubicBezTo>
                  <a:cubicBezTo>
                    <a:pt x="69" y="88"/>
                    <a:pt x="75" y="90"/>
                    <a:pt x="80" y="92"/>
                  </a:cubicBezTo>
                  <a:cubicBezTo>
                    <a:pt x="83" y="93"/>
                    <a:pt x="85" y="95"/>
                    <a:pt x="88" y="95"/>
                  </a:cubicBezTo>
                  <a:cubicBezTo>
                    <a:pt x="88" y="95"/>
                    <a:pt x="88" y="95"/>
                    <a:pt x="88" y="95"/>
                  </a:cubicBezTo>
                  <a:cubicBezTo>
                    <a:pt x="88" y="95"/>
                    <a:pt x="88" y="95"/>
                    <a:pt x="88" y="95"/>
                  </a:cubicBezTo>
                  <a:cubicBezTo>
                    <a:pt x="87" y="90"/>
                    <a:pt x="86" y="86"/>
                    <a:pt x="87" y="84"/>
                  </a:cubicBezTo>
                  <a:cubicBezTo>
                    <a:pt x="88" y="82"/>
                    <a:pt x="88" y="82"/>
                    <a:pt x="88" y="82"/>
                  </a:cubicBezTo>
                  <a:cubicBezTo>
                    <a:pt x="88" y="82"/>
                    <a:pt x="88" y="82"/>
                    <a:pt x="88" y="82"/>
                  </a:cubicBezTo>
                  <a:cubicBezTo>
                    <a:pt x="90" y="76"/>
                    <a:pt x="92" y="72"/>
                    <a:pt x="91" y="67"/>
                  </a:cubicBezTo>
                  <a:cubicBezTo>
                    <a:pt x="91" y="64"/>
                    <a:pt x="90" y="61"/>
                    <a:pt x="88" y="59"/>
                  </a:cubicBezTo>
                  <a:cubicBezTo>
                    <a:pt x="87" y="59"/>
                    <a:pt x="86" y="58"/>
                    <a:pt x="86" y="57"/>
                  </a:cubicBezTo>
                  <a:cubicBezTo>
                    <a:pt x="83" y="55"/>
                    <a:pt x="83" y="55"/>
                    <a:pt x="83" y="55"/>
                  </a:cubicBezTo>
                  <a:cubicBezTo>
                    <a:pt x="81" y="54"/>
                    <a:pt x="80" y="53"/>
                    <a:pt x="79" y="53"/>
                  </a:cubicBezTo>
                  <a:cubicBezTo>
                    <a:pt x="79" y="53"/>
                    <a:pt x="78" y="53"/>
                    <a:pt x="78" y="53"/>
                  </a:cubicBezTo>
                  <a:cubicBezTo>
                    <a:pt x="78" y="53"/>
                    <a:pt x="78" y="53"/>
                    <a:pt x="78" y="53"/>
                  </a:cubicBezTo>
                  <a:cubicBezTo>
                    <a:pt x="77" y="53"/>
                    <a:pt x="77" y="53"/>
                    <a:pt x="77" y="53"/>
                  </a:cubicBezTo>
                  <a:cubicBezTo>
                    <a:pt x="77" y="53"/>
                    <a:pt x="76" y="53"/>
                    <a:pt x="76" y="53"/>
                  </a:cubicBezTo>
                  <a:cubicBezTo>
                    <a:pt x="75" y="53"/>
                    <a:pt x="74" y="53"/>
                    <a:pt x="73" y="52"/>
                  </a:cubicBezTo>
                  <a:cubicBezTo>
                    <a:pt x="72" y="52"/>
                    <a:pt x="72" y="52"/>
                    <a:pt x="72" y="52"/>
                  </a:cubicBezTo>
                  <a:cubicBezTo>
                    <a:pt x="71" y="52"/>
                    <a:pt x="69" y="50"/>
                    <a:pt x="67" y="49"/>
                  </a:cubicBezTo>
                  <a:cubicBezTo>
                    <a:pt x="67" y="49"/>
                    <a:pt x="67" y="49"/>
                    <a:pt x="67" y="49"/>
                  </a:cubicBezTo>
                  <a:cubicBezTo>
                    <a:pt x="66" y="49"/>
                    <a:pt x="65" y="48"/>
                    <a:pt x="64" y="48"/>
                  </a:cubicBezTo>
                  <a:cubicBezTo>
                    <a:pt x="61" y="46"/>
                    <a:pt x="61" y="46"/>
                    <a:pt x="61" y="46"/>
                  </a:cubicBezTo>
                  <a:cubicBezTo>
                    <a:pt x="64" y="43"/>
                    <a:pt x="64" y="43"/>
                    <a:pt x="64" y="43"/>
                  </a:cubicBezTo>
                  <a:cubicBezTo>
                    <a:pt x="72" y="36"/>
                    <a:pt x="71" y="33"/>
                    <a:pt x="67" y="24"/>
                  </a:cubicBezTo>
                  <a:cubicBezTo>
                    <a:pt x="67" y="23"/>
                    <a:pt x="67" y="23"/>
                    <a:pt x="66" y="22"/>
                  </a:cubicBezTo>
                  <a:cubicBezTo>
                    <a:pt x="66" y="23"/>
                    <a:pt x="65" y="23"/>
                    <a:pt x="65" y="24"/>
                  </a:cubicBezTo>
                  <a:cubicBezTo>
                    <a:pt x="64" y="26"/>
                    <a:pt x="64" y="26"/>
                    <a:pt x="64" y="26"/>
                  </a:cubicBezTo>
                  <a:cubicBezTo>
                    <a:pt x="64" y="26"/>
                    <a:pt x="64" y="27"/>
                    <a:pt x="63" y="28"/>
                  </a:cubicBezTo>
                  <a:cubicBezTo>
                    <a:pt x="61" y="30"/>
                    <a:pt x="59" y="31"/>
                    <a:pt x="57" y="31"/>
                  </a:cubicBezTo>
                  <a:cubicBezTo>
                    <a:pt x="56" y="31"/>
                    <a:pt x="55" y="32"/>
                    <a:pt x="55" y="32"/>
                  </a:cubicBezTo>
                  <a:cubicBezTo>
                    <a:pt x="55" y="32"/>
                    <a:pt x="55" y="32"/>
                    <a:pt x="54" y="32"/>
                  </a:cubicBezTo>
                  <a:cubicBezTo>
                    <a:pt x="54" y="32"/>
                    <a:pt x="54" y="32"/>
                    <a:pt x="53" y="32"/>
                  </a:cubicBezTo>
                  <a:cubicBezTo>
                    <a:pt x="53" y="31"/>
                    <a:pt x="53" y="31"/>
                    <a:pt x="53" y="31"/>
                  </a:cubicBezTo>
                  <a:cubicBezTo>
                    <a:pt x="53" y="31"/>
                    <a:pt x="52" y="31"/>
                    <a:pt x="52" y="30"/>
                  </a:cubicBezTo>
                  <a:cubicBezTo>
                    <a:pt x="51" y="30"/>
                    <a:pt x="50" y="29"/>
                    <a:pt x="50" y="28"/>
                  </a:cubicBezTo>
                  <a:cubicBezTo>
                    <a:pt x="49" y="27"/>
                    <a:pt x="49" y="27"/>
                    <a:pt x="49" y="27"/>
                  </a:cubicBezTo>
                  <a:cubicBezTo>
                    <a:pt x="49" y="27"/>
                    <a:pt x="49" y="27"/>
                    <a:pt x="49" y="27"/>
                  </a:cubicBezTo>
                  <a:cubicBezTo>
                    <a:pt x="48" y="27"/>
                    <a:pt x="48" y="27"/>
                    <a:pt x="46" y="27"/>
                  </a:cubicBezTo>
                  <a:cubicBezTo>
                    <a:pt x="40" y="31"/>
                    <a:pt x="40" y="31"/>
                    <a:pt x="40" y="31"/>
                  </a:cubicBezTo>
                  <a:cubicBezTo>
                    <a:pt x="45" y="15"/>
                    <a:pt x="45" y="15"/>
                    <a:pt x="45" y="15"/>
                  </a:cubicBezTo>
                  <a:cubicBezTo>
                    <a:pt x="45" y="15"/>
                    <a:pt x="45" y="14"/>
                    <a:pt x="44" y="10"/>
                  </a:cubicBezTo>
                  <a:cubicBezTo>
                    <a:pt x="44" y="9"/>
                    <a:pt x="44" y="8"/>
                    <a:pt x="43" y="8"/>
                  </a:cubicBezTo>
                  <a:cubicBezTo>
                    <a:pt x="43" y="5"/>
                    <a:pt x="43" y="4"/>
                    <a:pt x="42" y="3"/>
                  </a:cubicBezTo>
                  <a:cubicBezTo>
                    <a:pt x="41" y="3"/>
                    <a:pt x="41" y="3"/>
                    <a:pt x="41" y="3"/>
                  </a:cubicBezTo>
                  <a:cubicBezTo>
                    <a:pt x="41" y="2"/>
                    <a:pt x="40" y="2"/>
                    <a:pt x="39" y="1"/>
                  </a:cubicBezTo>
                  <a:cubicBezTo>
                    <a:pt x="39" y="1"/>
                    <a:pt x="39" y="1"/>
                    <a:pt x="39" y="1"/>
                  </a:cubicBezTo>
                  <a:cubicBezTo>
                    <a:pt x="38" y="0"/>
                    <a:pt x="38"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241"/>
            <p:cNvSpPr/>
            <p:nvPr/>
          </p:nvSpPr>
          <p:spPr bwMode="auto">
            <a:xfrm>
              <a:off x="2924" y="2202"/>
              <a:ext cx="148" cy="163"/>
            </a:xfrm>
            <a:custGeom>
              <a:gdLst>
                <a:gd name="T0" fmla="*/ 46 w 63"/>
                <a:gd name="T1" fmla="*/ 0 h 69"/>
                <a:gd name="T2" fmla="*/ 45 w 63"/>
                <a:gd name="T3" fmla="*/ 0 h 69"/>
                <a:gd name="T4" fmla="*/ 27 w 63"/>
                <a:gd name="T5" fmla="*/ 3 h 69"/>
                <a:gd name="T6" fmla="*/ 25 w 63"/>
                <a:gd name="T7" fmla="*/ 3 h 69"/>
                <a:gd name="T8" fmla="*/ 22 w 63"/>
                <a:gd name="T9" fmla="*/ 3 h 69"/>
                <a:gd name="T10" fmla="*/ 9 w 63"/>
                <a:gd name="T11" fmla="*/ 20 h 69"/>
                <a:gd name="T12" fmla="*/ 8 w 63"/>
                <a:gd name="T13" fmla="*/ 21 h 69"/>
                <a:gd name="T14" fmla="*/ 5 w 63"/>
                <a:gd name="T15" fmla="*/ 22 h 69"/>
                <a:gd name="T16" fmla="*/ 6 w 63"/>
                <a:gd name="T17" fmla="*/ 25 h 69"/>
                <a:gd name="T18" fmla="*/ 5 w 63"/>
                <a:gd name="T19" fmla="*/ 31 h 69"/>
                <a:gd name="T20" fmla="*/ 9 w 63"/>
                <a:gd name="T21" fmla="*/ 29 h 69"/>
                <a:gd name="T22" fmla="*/ 7 w 63"/>
                <a:gd name="T23" fmla="*/ 32 h 69"/>
                <a:gd name="T24" fmla="*/ 0 w 63"/>
                <a:gd name="T25" fmla="*/ 33 h 69"/>
                <a:gd name="T26" fmla="*/ 3 w 63"/>
                <a:gd name="T27" fmla="*/ 41 h 69"/>
                <a:gd name="T28" fmla="*/ 14 w 63"/>
                <a:gd name="T29" fmla="*/ 52 h 69"/>
                <a:gd name="T30" fmla="*/ 19 w 63"/>
                <a:gd name="T31" fmla="*/ 51 h 69"/>
                <a:gd name="T32" fmla="*/ 23 w 63"/>
                <a:gd name="T33" fmla="*/ 55 h 69"/>
                <a:gd name="T34" fmla="*/ 26 w 63"/>
                <a:gd name="T35" fmla="*/ 55 h 69"/>
                <a:gd name="T36" fmla="*/ 21 w 63"/>
                <a:gd name="T37" fmla="*/ 59 h 69"/>
                <a:gd name="T38" fmla="*/ 18 w 63"/>
                <a:gd name="T39" fmla="*/ 59 h 69"/>
                <a:gd name="T40" fmla="*/ 32 w 63"/>
                <a:gd name="T41" fmla="*/ 65 h 69"/>
                <a:gd name="T42" fmla="*/ 41 w 63"/>
                <a:gd name="T43" fmla="*/ 67 h 69"/>
                <a:gd name="T44" fmla="*/ 50 w 63"/>
                <a:gd name="T45" fmla="*/ 58 h 69"/>
                <a:gd name="T46" fmla="*/ 52 w 63"/>
                <a:gd name="T47" fmla="*/ 56 h 69"/>
                <a:gd name="T48" fmla="*/ 60 w 63"/>
                <a:gd name="T49" fmla="*/ 47 h 69"/>
                <a:gd name="T50" fmla="*/ 63 w 63"/>
                <a:gd name="T51" fmla="*/ 40 h 69"/>
                <a:gd name="T52" fmla="*/ 63 w 63"/>
                <a:gd name="T53" fmla="*/ 40 h 69"/>
                <a:gd name="T54" fmla="*/ 62 w 63"/>
                <a:gd name="T55" fmla="*/ 28 h 69"/>
                <a:gd name="T56" fmla="*/ 62 w 63"/>
                <a:gd name="T57" fmla="*/ 27 h 69"/>
                <a:gd name="T58" fmla="*/ 62 w 63"/>
                <a:gd name="T59" fmla="*/ 25 h 69"/>
                <a:gd name="T60" fmla="*/ 61 w 63"/>
                <a:gd name="T61" fmla="*/ 24 h 69"/>
                <a:gd name="T62" fmla="*/ 60 w 63"/>
                <a:gd name="T63" fmla="*/ 22 h 69"/>
                <a:gd name="T64" fmla="*/ 56 w 63"/>
                <a:gd name="T65" fmla="*/ 19 h 69"/>
                <a:gd name="T66" fmla="*/ 52 w 63"/>
                <a:gd name="T67" fmla="*/ 10 h 69"/>
                <a:gd name="T68" fmla="*/ 51 w 63"/>
                <a:gd name="T69" fmla="*/ 7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69">
                  <a:moveTo>
                    <a:pt x="47" y="0"/>
                  </a:moveTo>
                  <a:cubicBezTo>
                    <a:pt x="47" y="0"/>
                    <a:pt x="46" y="0"/>
                    <a:pt x="46" y="0"/>
                  </a:cubicBezTo>
                  <a:cubicBezTo>
                    <a:pt x="45" y="0"/>
                    <a:pt x="45" y="0"/>
                    <a:pt x="45" y="0"/>
                  </a:cubicBezTo>
                  <a:cubicBezTo>
                    <a:pt x="45" y="0"/>
                    <a:pt x="45" y="0"/>
                    <a:pt x="45" y="0"/>
                  </a:cubicBezTo>
                  <a:cubicBezTo>
                    <a:pt x="42" y="0"/>
                    <a:pt x="40" y="1"/>
                    <a:pt x="37" y="2"/>
                  </a:cubicBezTo>
                  <a:cubicBezTo>
                    <a:pt x="34" y="2"/>
                    <a:pt x="31" y="3"/>
                    <a:pt x="27" y="3"/>
                  </a:cubicBezTo>
                  <a:cubicBezTo>
                    <a:pt x="27" y="3"/>
                    <a:pt x="26" y="3"/>
                    <a:pt x="25" y="3"/>
                  </a:cubicBezTo>
                  <a:cubicBezTo>
                    <a:pt x="25" y="3"/>
                    <a:pt x="25" y="3"/>
                    <a:pt x="25" y="3"/>
                  </a:cubicBezTo>
                  <a:cubicBezTo>
                    <a:pt x="24" y="3"/>
                    <a:pt x="24" y="3"/>
                    <a:pt x="23" y="3"/>
                  </a:cubicBezTo>
                  <a:cubicBezTo>
                    <a:pt x="23" y="3"/>
                    <a:pt x="23" y="3"/>
                    <a:pt x="22" y="3"/>
                  </a:cubicBezTo>
                  <a:cubicBezTo>
                    <a:pt x="21" y="3"/>
                    <a:pt x="21" y="3"/>
                    <a:pt x="20" y="4"/>
                  </a:cubicBezTo>
                  <a:cubicBezTo>
                    <a:pt x="18" y="9"/>
                    <a:pt x="14" y="14"/>
                    <a:pt x="9" y="20"/>
                  </a:cubicBezTo>
                  <a:cubicBezTo>
                    <a:pt x="8" y="20"/>
                    <a:pt x="8" y="20"/>
                    <a:pt x="8" y="20"/>
                  </a:cubicBezTo>
                  <a:cubicBezTo>
                    <a:pt x="8" y="21"/>
                    <a:pt x="8" y="21"/>
                    <a:pt x="8" y="21"/>
                  </a:cubicBezTo>
                  <a:cubicBezTo>
                    <a:pt x="7" y="21"/>
                    <a:pt x="6" y="22"/>
                    <a:pt x="6" y="22"/>
                  </a:cubicBezTo>
                  <a:cubicBezTo>
                    <a:pt x="5" y="22"/>
                    <a:pt x="5" y="22"/>
                    <a:pt x="5" y="22"/>
                  </a:cubicBezTo>
                  <a:cubicBezTo>
                    <a:pt x="5" y="23"/>
                    <a:pt x="4" y="23"/>
                    <a:pt x="3" y="23"/>
                  </a:cubicBezTo>
                  <a:cubicBezTo>
                    <a:pt x="4" y="23"/>
                    <a:pt x="5" y="24"/>
                    <a:pt x="6" y="25"/>
                  </a:cubicBezTo>
                  <a:cubicBezTo>
                    <a:pt x="6" y="25"/>
                    <a:pt x="6" y="25"/>
                    <a:pt x="6" y="25"/>
                  </a:cubicBezTo>
                  <a:cubicBezTo>
                    <a:pt x="3" y="25"/>
                    <a:pt x="1" y="29"/>
                    <a:pt x="5" y="31"/>
                  </a:cubicBezTo>
                  <a:cubicBezTo>
                    <a:pt x="5" y="31"/>
                    <a:pt x="5" y="31"/>
                    <a:pt x="5" y="31"/>
                  </a:cubicBezTo>
                  <a:cubicBezTo>
                    <a:pt x="7" y="31"/>
                    <a:pt x="9" y="30"/>
                    <a:pt x="9" y="29"/>
                  </a:cubicBezTo>
                  <a:cubicBezTo>
                    <a:pt x="9" y="31"/>
                    <a:pt x="9" y="31"/>
                    <a:pt x="8" y="32"/>
                  </a:cubicBezTo>
                  <a:cubicBezTo>
                    <a:pt x="7" y="32"/>
                    <a:pt x="7" y="32"/>
                    <a:pt x="7" y="32"/>
                  </a:cubicBezTo>
                  <a:cubicBezTo>
                    <a:pt x="6" y="33"/>
                    <a:pt x="6" y="34"/>
                    <a:pt x="5" y="36"/>
                  </a:cubicBezTo>
                  <a:cubicBezTo>
                    <a:pt x="4" y="35"/>
                    <a:pt x="2" y="34"/>
                    <a:pt x="0" y="33"/>
                  </a:cubicBezTo>
                  <a:cubicBezTo>
                    <a:pt x="0" y="35"/>
                    <a:pt x="0" y="35"/>
                    <a:pt x="1" y="36"/>
                  </a:cubicBezTo>
                  <a:cubicBezTo>
                    <a:pt x="1" y="38"/>
                    <a:pt x="2" y="39"/>
                    <a:pt x="3" y="41"/>
                  </a:cubicBezTo>
                  <a:cubicBezTo>
                    <a:pt x="4" y="40"/>
                    <a:pt x="5" y="39"/>
                    <a:pt x="7" y="39"/>
                  </a:cubicBezTo>
                  <a:cubicBezTo>
                    <a:pt x="8" y="44"/>
                    <a:pt x="8" y="50"/>
                    <a:pt x="14" y="52"/>
                  </a:cubicBezTo>
                  <a:cubicBezTo>
                    <a:pt x="14" y="52"/>
                    <a:pt x="15" y="52"/>
                    <a:pt x="16" y="52"/>
                  </a:cubicBezTo>
                  <a:cubicBezTo>
                    <a:pt x="17" y="52"/>
                    <a:pt x="17" y="52"/>
                    <a:pt x="19" y="51"/>
                  </a:cubicBezTo>
                  <a:cubicBezTo>
                    <a:pt x="19" y="54"/>
                    <a:pt x="19" y="55"/>
                    <a:pt x="21" y="55"/>
                  </a:cubicBezTo>
                  <a:cubicBezTo>
                    <a:pt x="21" y="55"/>
                    <a:pt x="22" y="55"/>
                    <a:pt x="23" y="55"/>
                  </a:cubicBezTo>
                  <a:cubicBezTo>
                    <a:pt x="23" y="55"/>
                    <a:pt x="24" y="55"/>
                    <a:pt x="25" y="55"/>
                  </a:cubicBezTo>
                  <a:cubicBezTo>
                    <a:pt x="25" y="55"/>
                    <a:pt x="26" y="55"/>
                    <a:pt x="26" y="55"/>
                  </a:cubicBezTo>
                  <a:cubicBezTo>
                    <a:pt x="24" y="56"/>
                    <a:pt x="22" y="56"/>
                    <a:pt x="20" y="56"/>
                  </a:cubicBezTo>
                  <a:cubicBezTo>
                    <a:pt x="20" y="57"/>
                    <a:pt x="21" y="58"/>
                    <a:pt x="21" y="59"/>
                  </a:cubicBezTo>
                  <a:cubicBezTo>
                    <a:pt x="21" y="59"/>
                    <a:pt x="21" y="59"/>
                    <a:pt x="20" y="59"/>
                  </a:cubicBezTo>
                  <a:cubicBezTo>
                    <a:pt x="20" y="59"/>
                    <a:pt x="19" y="59"/>
                    <a:pt x="18" y="59"/>
                  </a:cubicBezTo>
                  <a:cubicBezTo>
                    <a:pt x="19" y="60"/>
                    <a:pt x="19" y="60"/>
                    <a:pt x="20" y="60"/>
                  </a:cubicBezTo>
                  <a:cubicBezTo>
                    <a:pt x="24" y="62"/>
                    <a:pt x="28" y="62"/>
                    <a:pt x="32" y="65"/>
                  </a:cubicBezTo>
                  <a:cubicBezTo>
                    <a:pt x="34" y="66"/>
                    <a:pt x="37" y="67"/>
                    <a:pt x="39" y="69"/>
                  </a:cubicBezTo>
                  <a:cubicBezTo>
                    <a:pt x="41" y="67"/>
                    <a:pt x="41" y="67"/>
                    <a:pt x="41" y="67"/>
                  </a:cubicBezTo>
                  <a:cubicBezTo>
                    <a:pt x="41" y="67"/>
                    <a:pt x="42" y="66"/>
                    <a:pt x="44" y="63"/>
                  </a:cubicBezTo>
                  <a:cubicBezTo>
                    <a:pt x="46" y="61"/>
                    <a:pt x="48" y="59"/>
                    <a:pt x="50" y="58"/>
                  </a:cubicBezTo>
                  <a:cubicBezTo>
                    <a:pt x="50" y="57"/>
                    <a:pt x="51" y="57"/>
                    <a:pt x="52" y="56"/>
                  </a:cubicBezTo>
                  <a:cubicBezTo>
                    <a:pt x="52" y="56"/>
                    <a:pt x="52" y="56"/>
                    <a:pt x="52" y="56"/>
                  </a:cubicBezTo>
                  <a:cubicBezTo>
                    <a:pt x="55" y="54"/>
                    <a:pt x="58" y="52"/>
                    <a:pt x="59" y="50"/>
                  </a:cubicBezTo>
                  <a:cubicBezTo>
                    <a:pt x="60" y="49"/>
                    <a:pt x="60" y="48"/>
                    <a:pt x="60" y="47"/>
                  </a:cubicBezTo>
                  <a:cubicBezTo>
                    <a:pt x="60" y="45"/>
                    <a:pt x="61" y="42"/>
                    <a:pt x="62" y="40"/>
                  </a:cubicBezTo>
                  <a:cubicBezTo>
                    <a:pt x="63" y="40"/>
                    <a:pt x="63" y="40"/>
                    <a:pt x="63" y="40"/>
                  </a:cubicBezTo>
                  <a:cubicBezTo>
                    <a:pt x="63" y="40"/>
                    <a:pt x="63" y="40"/>
                    <a:pt x="63" y="40"/>
                  </a:cubicBezTo>
                  <a:cubicBezTo>
                    <a:pt x="63" y="40"/>
                    <a:pt x="63" y="40"/>
                    <a:pt x="63" y="40"/>
                  </a:cubicBezTo>
                  <a:cubicBezTo>
                    <a:pt x="54" y="45"/>
                    <a:pt x="54" y="45"/>
                    <a:pt x="54" y="45"/>
                  </a:cubicBezTo>
                  <a:cubicBezTo>
                    <a:pt x="62" y="28"/>
                    <a:pt x="62" y="28"/>
                    <a:pt x="62" y="28"/>
                  </a:cubicBezTo>
                  <a:cubicBezTo>
                    <a:pt x="62" y="28"/>
                    <a:pt x="62" y="28"/>
                    <a:pt x="62" y="28"/>
                  </a:cubicBezTo>
                  <a:cubicBezTo>
                    <a:pt x="62" y="27"/>
                    <a:pt x="62" y="27"/>
                    <a:pt x="62" y="27"/>
                  </a:cubicBezTo>
                  <a:cubicBezTo>
                    <a:pt x="62" y="27"/>
                    <a:pt x="62" y="26"/>
                    <a:pt x="62" y="26"/>
                  </a:cubicBezTo>
                  <a:cubicBezTo>
                    <a:pt x="62" y="25"/>
                    <a:pt x="62" y="25"/>
                    <a:pt x="62" y="25"/>
                  </a:cubicBezTo>
                  <a:cubicBezTo>
                    <a:pt x="61" y="24"/>
                    <a:pt x="61" y="24"/>
                    <a:pt x="61" y="24"/>
                  </a:cubicBezTo>
                  <a:cubicBezTo>
                    <a:pt x="61" y="24"/>
                    <a:pt x="61" y="24"/>
                    <a:pt x="61" y="24"/>
                  </a:cubicBezTo>
                  <a:cubicBezTo>
                    <a:pt x="61" y="23"/>
                    <a:pt x="61" y="23"/>
                    <a:pt x="61" y="22"/>
                  </a:cubicBezTo>
                  <a:cubicBezTo>
                    <a:pt x="60" y="22"/>
                    <a:pt x="60" y="22"/>
                    <a:pt x="60" y="22"/>
                  </a:cubicBezTo>
                  <a:cubicBezTo>
                    <a:pt x="60" y="22"/>
                    <a:pt x="59" y="22"/>
                    <a:pt x="58" y="21"/>
                  </a:cubicBezTo>
                  <a:cubicBezTo>
                    <a:pt x="58" y="21"/>
                    <a:pt x="57" y="20"/>
                    <a:pt x="56" y="19"/>
                  </a:cubicBezTo>
                  <a:cubicBezTo>
                    <a:pt x="55" y="17"/>
                    <a:pt x="53" y="13"/>
                    <a:pt x="52" y="10"/>
                  </a:cubicBezTo>
                  <a:cubicBezTo>
                    <a:pt x="52" y="10"/>
                    <a:pt x="52" y="10"/>
                    <a:pt x="52" y="10"/>
                  </a:cubicBezTo>
                  <a:cubicBezTo>
                    <a:pt x="51" y="9"/>
                    <a:pt x="51" y="8"/>
                    <a:pt x="51" y="8"/>
                  </a:cubicBezTo>
                  <a:cubicBezTo>
                    <a:pt x="51" y="7"/>
                    <a:pt x="51" y="7"/>
                    <a:pt x="51" y="7"/>
                  </a:cubicBezTo>
                  <a:cubicBezTo>
                    <a:pt x="50" y="5"/>
                    <a:pt x="48" y="3"/>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42"/>
            <p:cNvSpPr/>
            <p:nvPr/>
          </p:nvSpPr>
          <p:spPr bwMode="auto">
            <a:xfrm>
              <a:off x="2753" y="2051"/>
              <a:ext cx="140" cy="82"/>
            </a:xfrm>
            <a:custGeom>
              <a:gdLst>
                <a:gd name="T0" fmla="*/ 40 w 59"/>
                <a:gd name="T1" fmla="*/ 0 h 35"/>
                <a:gd name="T2" fmla="*/ 36 w 59"/>
                <a:gd name="T3" fmla="*/ 0 h 35"/>
                <a:gd name="T4" fmla="*/ 34 w 59"/>
                <a:gd name="T5" fmla="*/ 0 h 35"/>
                <a:gd name="T6" fmla="*/ 4 w 59"/>
                <a:gd name="T7" fmla="*/ 7 h 35"/>
                <a:gd name="T8" fmla="*/ 1 w 59"/>
                <a:gd name="T9" fmla="*/ 10 h 35"/>
                <a:gd name="T10" fmla="*/ 3 w 59"/>
                <a:gd name="T11" fmla="*/ 15 h 35"/>
                <a:gd name="T12" fmla="*/ 5 w 59"/>
                <a:gd name="T13" fmla="*/ 16 h 35"/>
                <a:gd name="T14" fmla="*/ 6 w 59"/>
                <a:gd name="T15" fmla="*/ 16 h 35"/>
                <a:gd name="T16" fmla="*/ 15 w 59"/>
                <a:gd name="T17" fmla="*/ 14 h 35"/>
                <a:gd name="T18" fmla="*/ 8 w 59"/>
                <a:gd name="T19" fmla="*/ 19 h 35"/>
                <a:gd name="T20" fmla="*/ 10 w 59"/>
                <a:gd name="T21" fmla="*/ 20 h 35"/>
                <a:gd name="T22" fmla="*/ 14 w 59"/>
                <a:gd name="T23" fmla="*/ 19 h 35"/>
                <a:gd name="T24" fmla="*/ 20 w 59"/>
                <a:gd name="T25" fmla="*/ 16 h 35"/>
                <a:gd name="T26" fmla="*/ 30 w 59"/>
                <a:gd name="T27" fmla="*/ 15 h 35"/>
                <a:gd name="T28" fmla="*/ 31 w 59"/>
                <a:gd name="T29" fmla="*/ 15 h 35"/>
                <a:gd name="T30" fmla="*/ 33 w 59"/>
                <a:gd name="T31" fmla="*/ 19 h 35"/>
                <a:gd name="T32" fmla="*/ 27 w 59"/>
                <a:gd name="T33" fmla="*/ 16 h 35"/>
                <a:gd name="T34" fmla="*/ 22 w 59"/>
                <a:gd name="T35" fmla="*/ 18 h 35"/>
                <a:gd name="T36" fmla="*/ 21 w 59"/>
                <a:gd name="T37" fmla="*/ 24 h 35"/>
                <a:gd name="T38" fmla="*/ 25 w 59"/>
                <a:gd name="T39" fmla="*/ 22 h 35"/>
                <a:gd name="T40" fmla="*/ 31 w 59"/>
                <a:gd name="T41" fmla="*/ 24 h 35"/>
                <a:gd name="T42" fmla="*/ 29 w 59"/>
                <a:gd name="T43" fmla="*/ 25 h 35"/>
                <a:gd name="T44" fmla="*/ 29 w 59"/>
                <a:gd name="T45" fmla="*/ 23 h 35"/>
                <a:gd name="T46" fmla="*/ 28 w 59"/>
                <a:gd name="T47" fmla="*/ 23 h 35"/>
                <a:gd name="T48" fmla="*/ 26 w 59"/>
                <a:gd name="T49" fmla="*/ 24 h 35"/>
                <a:gd name="T50" fmla="*/ 26 w 59"/>
                <a:gd name="T51" fmla="*/ 23 h 35"/>
                <a:gd name="T52" fmla="*/ 20 w 59"/>
                <a:gd name="T53" fmla="*/ 30 h 35"/>
                <a:gd name="T54" fmla="*/ 22 w 59"/>
                <a:gd name="T55" fmla="*/ 28 h 35"/>
                <a:gd name="T56" fmla="*/ 23 w 59"/>
                <a:gd name="T57" fmla="*/ 28 h 35"/>
                <a:gd name="T58" fmla="*/ 24 w 59"/>
                <a:gd name="T59" fmla="*/ 28 h 35"/>
                <a:gd name="T60" fmla="*/ 22 w 59"/>
                <a:gd name="T61" fmla="*/ 31 h 35"/>
                <a:gd name="T62" fmla="*/ 26 w 59"/>
                <a:gd name="T63" fmla="*/ 35 h 35"/>
                <a:gd name="T64" fmla="*/ 30 w 59"/>
                <a:gd name="T65" fmla="*/ 34 h 35"/>
                <a:gd name="T66" fmla="*/ 30 w 59"/>
                <a:gd name="T67" fmla="*/ 34 h 35"/>
                <a:gd name="T68" fmla="*/ 37 w 59"/>
                <a:gd name="T69" fmla="*/ 23 h 35"/>
                <a:gd name="T70" fmla="*/ 42 w 59"/>
                <a:gd name="T71" fmla="*/ 22 h 35"/>
                <a:gd name="T72" fmla="*/ 44 w 59"/>
                <a:gd name="T73" fmla="*/ 22 h 35"/>
                <a:gd name="T74" fmla="*/ 46 w 59"/>
                <a:gd name="T75" fmla="*/ 21 h 35"/>
                <a:gd name="T76" fmla="*/ 48 w 59"/>
                <a:gd name="T77" fmla="*/ 21 h 35"/>
                <a:gd name="T78" fmla="*/ 56 w 59"/>
                <a:gd name="T79" fmla="*/ 19 h 35"/>
                <a:gd name="T80" fmla="*/ 57 w 59"/>
                <a:gd name="T81" fmla="*/ 18 h 35"/>
                <a:gd name="T82" fmla="*/ 58 w 59"/>
                <a:gd name="T83" fmla="*/ 18 h 35"/>
                <a:gd name="T84" fmla="*/ 57 w 59"/>
                <a:gd name="T85" fmla="*/ 15 h 35"/>
                <a:gd name="T86" fmla="*/ 56 w 59"/>
                <a:gd name="T87" fmla="*/ 13 h 35"/>
                <a:gd name="T88" fmla="*/ 47 w 59"/>
                <a:gd name="T89" fmla="*/ 13 h 35"/>
                <a:gd name="T90" fmla="*/ 54 w 59"/>
                <a:gd name="T91" fmla="*/ 8 h 35"/>
                <a:gd name="T92" fmla="*/ 59 w 59"/>
                <a:gd name="T93" fmla="*/ 5 h 35"/>
                <a:gd name="T94" fmla="*/ 59 w 59"/>
                <a:gd name="T95" fmla="*/ 5 h 35"/>
                <a:gd name="T96" fmla="*/ 59 w 59"/>
                <a:gd name="T97" fmla="*/ 3 h 35"/>
                <a:gd name="T98" fmla="*/ 59 w 59"/>
                <a:gd name="T99" fmla="*/ 0 h 35"/>
                <a:gd name="T100" fmla="*/ 57 w 59"/>
                <a:gd name="T101" fmla="*/ 0 h 35"/>
                <a:gd name="T102" fmla="*/ 52 w 59"/>
                <a:gd name="T103" fmla="*/ 1 h 35"/>
                <a:gd name="T104" fmla="*/ 51 w 59"/>
                <a:gd name="T105" fmla="*/ 1 h 35"/>
                <a:gd name="T106" fmla="*/ 46 w 59"/>
                <a:gd name="T107" fmla="*/ 0 h 35"/>
                <a:gd name="T108" fmla="*/ 40 w 59"/>
                <a:gd name="T109"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 h="35">
                  <a:moveTo>
                    <a:pt x="40" y="0"/>
                  </a:moveTo>
                  <a:cubicBezTo>
                    <a:pt x="39" y="0"/>
                    <a:pt x="37" y="0"/>
                    <a:pt x="36" y="0"/>
                  </a:cubicBezTo>
                  <a:cubicBezTo>
                    <a:pt x="34" y="0"/>
                    <a:pt x="34" y="0"/>
                    <a:pt x="34" y="0"/>
                  </a:cubicBezTo>
                  <a:cubicBezTo>
                    <a:pt x="26" y="2"/>
                    <a:pt x="16" y="5"/>
                    <a:pt x="4" y="7"/>
                  </a:cubicBezTo>
                  <a:cubicBezTo>
                    <a:pt x="3" y="8"/>
                    <a:pt x="1" y="9"/>
                    <a:pt x="1" y="10"/>
                  </a:cubicBezTo>
                  <a:cubicBezTo>
                    <a:pt x="0" y="11"/>
                    <a:pt x="2" y="13"/>
                    <a:pt x="3" y="15"/>
                  </a:cubicBezTo>
                  <a:cubicBezTo>
                    <a:pt x="4" y="16"/>
                    <a:pt x="4" y="16"/>
                    <a:pt x="5" y="16"/>
                  </a:cubicBezTo>
                  <a:cubicBezTo>
                    <a:pt x="5" y="16"/>
                    <a:pt x="6" y="16"/>
                    <a:pt x="6" y="16"/>
                  </a:cubicBezTo>
                  <a:cubicBezTo>
                    <a:pt x="9" y="16"/>
                    <a:pt x="12" y="14"/>
                    <a:pt x="15" y="14"/>
                  </a:cubicBezTo>
                  <a:cubicBezTo>
                    <a:pt x="11" y="15"/>
                    <a:pt x="10" y="16"/>
                    <a:pt x="8" y="19"/>
                  </a:cubicBezTo>
                  <a:cubicBezTo>
                    <a:pt x="9" y="19"/>
                    <a:pt x="10" y="20"/>
                    <a:pt x="10" y="20"/>
                  </a:cubicBezTo>
                  <a:cubicBezTo>
                    <a:pt x="12" y="20"/>
                    <a:pt x="13" y="19"/>
                    <a:pt x="14" y="19"/>
                  </a:cubicBezTo>
                  <a:cubicBezTo>
                    <a:pt x="17" y="19"/>
                    <a:pt x="18" y="17"/>
                    <a:pt x="20" y="16"/>
                  </a:cubicBezTo>
                  <a:cubicBezTo>
                    <a:pt x="23" y="16"/>
                    <a:pt x="27" y="15"/>
                    <a:pt x="30" y="15"/>
                  </a:cubicBezTo>
                  <a:cubicBezTo>
                    <a:pt x="30" y="15"/>
                    <a:pt x="31" y="15"/>
                    <a:pt x="31" y="15"/>
                  </a:cubicBezTo>
                  <a:cubicBezTo>
                    <a:pt x="33" y="15"/>
                    <a:pt x="33" y="18"/>
                    <a:pt x="33" y="19"/>
                  </a:cubicBezTo>
                  <a:cubicBezTo>
                    <a:pt x="31" y="17"/>
                    <a:pt x="29" y="16"/>
                    <a:pt x="27" y="16"/>
                  </a:cubicBezTo>
                  <a:cubicBezTo>
                    <a:pt x="25" y="16"/>
                    <a:pt x="24" y="16"/>
                    <a:pt x="22" y="18"/>
                  </a:cubicBezTo>
                  <a:cubicBezTo>
                    <a:pt x="19" y="20"/>
                    <a:pt x="21" y="21"/>
                    <a:pt x="21" y="24"/>
                  </a:cubicBezTo>
                  <a:cubicBezTo>
                    <a:pt x="22" y="22"/>
                    <a:pt x="24" y="22"/>
                    <a:pt x="25" y="22"/>
                  </a:cubicBezTo>
                  <a:cubicBezTo>
                    <a:pt x="27" y="22"/>
                    <a:pt x="29" y="23"/>
                    <a:pt x="31" y="24"/>
                  </a:cubicBezTo>
                  <a:cubicBezTo>
                    <a:pt x="30" y="24"/>
                    <a:pt x="29" y="24"/>
                    <a:pt x="29" y="25"/>
                  </a:cubicBezTo>
                  <a:cubicBezTo>
                    <a:pt x="29" y="24"/>
                    <a:pt x="29" y="23"/>
                    <a:pt x="29" y="23"/>
                  </a:cubicBezTo>
                  <a:cubicBezTo>
                    <a:pt x="29" y="23"/>
                    <a:pt x="28" y="23"/>
                    <a:pt x="28" y="23"/>
                  </a:cubicBezTo>
                  <a:cubicBezTo>
                    <a:pt x="27" y="23"/>
                    <a:pt x="27" y="23"/>
                    <a:pt x="26" y="24"/>
                  </a:cubicBezTo>
                  <a:cubicBezTo>
                    <a:pt x="26" y="24"/>
                    <a:pt x="26" y="24"/>
                    <a:pt x="26" y="23"/>
                  </a:cubicBezTo>
                  <a:cubicBezTo>
                    <a:pt x="24" y="25"/>
                    <a:pt x="21" y="27"/>
                    <a:pt x="20" y="30"/>
                  </a:cubicBezTo>
                  <a:cubicBezTo>
                    <a:pt x="21" y="29"/>
                    <a:pt x="22" y="29"/>
                    <a:pt x="22" y="28"/>
                  </a:cubicBezTo>
                  <a:cubicBezTo>
                    <a:pt x="23" y="28"/>
                    <a:pt x="23" y="28"/>
                    <a:pt x="23" y="28"/>
                  </a:cubicBezTo>
                  <a:cubicBezTo>
                    <a:pt x="24" y="28"/>
                    <a:pt x="24" y="28"/>
                    <a:pt x="24" y="28"/>
                  </a:cubicBezTo>
                  <a:cubicBezTo>
                    <a:pt x="22" y="29"/>
                    <a:pt x="21" y="30"/>
                    <a:pt x="22" y="31"/>
                  </a:cubicBezTo>
                  <a:cubicBezTo>
                    <a:pt x="25" y="32"/>
                    <a:pt x="28" y="31"/>
                    <a:pt x="26" y="35"/>
                  </a:cubicBezTo>
                  <a:cubicBezTo>
                    <a:pt x="28" y="35"/>
                    <a:pt x="29" y="35"/>
                    <a:pt x="30" y="34"/>
                  </a:cubicBezTo>
                  <a:cubicBezTo>
                    <a:pt x="30" y="34"/>
                    <a:pt x="30" y="34"/>
                    <a:pt x="30" y="34"/>
                  </a:cubicBezTo>
                  <a:cubicBezTo>
                    <a:pt x="32" y="30"/>
                    <a:pt x="34" y="25"/>
                    <a:pt x="37" y="23"/>
                  </a:cubicBezTo>
                  <a:cubicBezTo>
                    <a:pt x="38" y="22"/>
                    <a:pt x="40" y="22"/>
                    <a:pt x="42" y="22"/>
                  </a:cubicBezTo>
                  <a:cubicBezTo>
                    <a:pt x="43" y="22"/>
                    <a:pt x="43" y="22"/>
                    <a:pt x="44" y="22"/>
                  </a:cubicBezTo>
                  <a:cubicBezTo>
                    <a:pt x="45" y="21"/>
                    <a:pt x="45" y="21"/>
                    <a:pt x="46" y="21"/>
                  </a:cubicBezTo>
                  <a:cubicBezTo>
                    <a:pt x="48" y="21"/>
                    <a:pt x="48" y="21"/>
                    <a:pt x="48" y="21"/>
                  </a:cubicBezTo>
                  <a:cubicBezTo>
                    <a:pt x="50" y="20"/>
                    <a:pt x="53" y="20"/>
                    <a:pt x="56" y="19"/>
                  </a:cubicBezTo>
                  <a:cubicBezTo>
                    <a:pt x="56" y="19"/>
                    <a:pt x="56" y="18"/>
                    <a:pt x="57" y="18"/>
                  </a:cubicBezTo>
                  <a:cubicBezTo>
                    <a:pt x="58" y="18"/>
                    <a:pt x="58" y="18"/>
                    <a:pt x="58" y="18"/>
                  </a:cubicBezTo>
                  <a:cubicBezTo>
                    <a:pt x="58" y="16"/>
                    <a:pt x="57" y="15"/>
                    <a:pt x="57" y="15"/>
                  </a:cubicBezTo>
                  <a:cubicBezTo>
                    <a:pt x="56" y="13"/>
                    <a:pt x="56" y="13"/>
                    <a:pt x="56" y="13"/>
                  </a:cubicBezTo>
                  <a:cubicBezTo>
                    <a:pt x="47" y="13"/>
                    <a:pt x="47" y="13"/>
                    <a:pt x="47" y="13"/>
                  </a:cubicBezTo>
                  <a:cubicBezTo>
                    <a:pt x="54" y="8"/>
                    <a:pt x="54" y="8"/>
                    <a:pt x="54" y="8"/>
                  </a:cubicBezTo>
                  <a:cubicBezTo>
                    <a:pt x="56" y="7"/>
                    <a:pt x="57" y="6"/>
                    <a:pt x="59" y="5"/>
                  </a:cubicBezTo>
                  <a:cubicBezTo>
                    <a:pt x="59" y="5"/>
                    <a:pt x="59" y="5"/>
                    <a:pt x="59" y="5"/>
                  </a:cubicBezTo>
                  <a:cubicBezTo>
                    <a:pt x="59" y="4"/>
                    <a:pt x="59" y="4"/>
                    <a:pt x="59" y="3"/>
                  </a:cubicBezTo>
                  <a:cubicBezTo>
                    <a:pt x="59" y="0"/>
                    <a:pt x="59" y="0"/>
                    <a:pt x="59" y="0"/>
                  </a:cubicBezTo>
                  <a:cubicBezTo>
                    <a:pt x="58" y="0"/>
                    <a:pt x="58" y="0"/>
                    <a:pt x="57" y="0"/>
                  </a:cubicBezTo>
                  <a:cubicBezTo>
                    <a:pt x="55" y="0"/>
                    <a:pt x="54" y="0"/>
                    <a:pt x="52" y="1"/>
                  </a:cubicBezTo>
                  <a:cubicBezTo>
                    <a:pt x="51" y="1"/>
                    <a:pt x="51" y="1"/>
                    <a:pt x="51" y="1"/>
                  </a:cubicBezTo>
                  <a:cubicBezTo>
                    <a:pt x="50" y="0"/>
                    <a:pt x="48" y="0"/>
                    <a:pt x="46" y="0"/>
                  </a:cubicBezTo>
                  <a:cubicBezTo>
                    <a:pt x="44" y="0"/>
                    <a:pt x="42"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243"/>
            <p:cNvSpPr/>
            <p:nvPr/>
          </p:nvSpPr>
          <p:spPr bwMode="auto">
            <a:xfrm>
              <a:off x="2742" y="2067"/>
              <a:ext cx="21" cy="5"/>
            </a:xfrm>
            <a:custGeom>
              <a:gdLst>
                <a:gd name="T0" fmla="*/ 9 w 9"/>
                <a:gd name="T1" fmla="*/ 0 h 2"/>
                <a:gd name="T2" fmla="*/ 0 w 9"/>
                <a:gd name="T3" fmla="*/ 1 h 2"/>
                <a:gd name="T4" fmla="*/ 3 w 9"/>
                <a:gd name="T5" fmla="*/ 2 h 2"/>
                <a:gd name="T6" fmla="*/ 9 w 9"/>
                <a:gd name="T7" fmla="*/ 0 h 2"/>
              </a:gdLst>
              <a:cxnLst>
                <a:cxn ang="0">
                  <a:pos x="T0" y="T1"/>
                </a:cxn>
                <a:cxn ang="0">
                  <a:pos x="T2" y="T3"/>
                </a:cxn>
                <a:cxn ang="0">
                  <a:pos x="T4" y="T5"/>
                </a:cxn>
                <a:cxn ang="0">
                  <a:pos x="T6" y="T7"/>
                </a:cxn>
              </a:cxnLst>
              <a:rect l="0" t="0" r="r" b="b"/>
              <a:pathLst>
                <a:path w="9" h="2">
                  <a:moveTo>
                    <a:pt x="9" y="0"/>
                  </a:moveTo>
                  <a:cubicBezTo>
                    <a:pt x="6" y="0"/>
                    <a:pt x="3" y="1"/>
                    <a:pt x="0" y="1"/>
                  </a:cubicBezTo>
                  <a:cubicBezTo>
                    <a:pt x="1" y="2"/>
                    <a:pt x="2" y="2"/>
                    <a:pt x="3" y="2"/>
                  </a:cubicBezTo>
                  <a:cubicBezTo>
                    <a:pt x="5" y="2"/>
                    <a:pt x="6"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244"/>
            <p:cNvSpPr/>
            <p:nvPr/>
          </p:nvSpPr>
          <p:spPr bwMode="auto">
            <a:xfrm>
              <a:off x="5282" y="2890"/>
              <a:ext cx="97" cy="106"/>
            </a:xfrm>
            <a:custGeom>
              <a:gdLst>
                <a:gd name="T0" fmla="*/ 29 w 41"/>
                <a:gd name="T1" fmla="*/ 0 h 45"/>
                <a:gd name="T2" fmla="*/ 24 w 41"/>
                <a:gd name="T3" fmla="*/ 2 h 45"/>
                <a:gd name="T4" fmla="*/ 22 w 41"/>
                <a:gd name="T5" fmla="*/ 1 h 45"/>
                <a:gd name="T6" fmla="*/ 18 w 41"/>
                <a:gd name="T7" fmla="*/ 8 h 45"/>
                <a:gd name="T8" fmla="*/ 17 w 41"/>
                <a:gd name="T9" fmla="*/ 9 h 45"/>
                <a:gd name="T10" fmla="*/ 14 w 41"/>
                <a:gd name="T11" fmla="*/ 10 h 45"/>
                <a:gd name="T12" fmla="*/ 14 w 41"/>
                <a:gd name="T13" fmla="*/ 10 h 45"/>
                <a:gd name="T14" fmla="*/ 13 w 41"/>
                <a:gd name="T15" fmla="*/ 10 h 45"/>
                <a:gd name="T16" fmla="*/ 13 w 41"/>
                <a:gd name="T17" fmla="*/ 11 h 45"/>
                <a:gd name="T18" fmla="*/ 12 w 41"/>
                <a:gd name="T19" fmla="*/ 11 h 45"/>
                <a:gd name="T20" fmla="*/ 12 w 41"/>
                <a:gd name="T21" fmla="*/ 11 h 45"/>
                <a:gd name="T22" fmla="*/ 12 w 41"/>
                <a:gd name="T23" fmla="*/ 11 h 45"/>
                <a:gd name="T24" fmla="*/ 10 w 41"/>
                <a:gd name="T25" fmla="*/ 11 h 45"/>
                <a:gd name="T26" fmla="*/ 9 w 41"/>
                <a:gd name="T27" fmla="*/ 11 h 45"/>
                <a:gd name="T28" fmla="*/ 3 w 41"/>
                <a:gd name="T29" fmla="*/ 9 h 45"/>
                <a:gd name="T30" fmla="*/ 1 w 41"/>
                <a:gd name="T31" fmla="*/ 7 h 45"/>
                <a:gd name="T32" fmla="*/ 1 w 41"/>
                <a:gd name="T33" fmla="*/ 7 h 45"/>
                <a:gd name="T34" fmla="*/ 0 w 41"/>
                <a:gd name="T35" fmla="*/ 7 h 45"/>
                <a:gd name="T36" fmla="*/ 0 w 41"/>
                <a:gd name="T37" fmla="*/ 7 h 45"/>
                <a:gd name="T38" fmla="*/ 1 w 41"/>
                <a:gd name="T39" fmla="*/ 7 h 45"/>
                <a:gd name="T40" fmla="*/ 1 w 41"/>
                <a:gd name="T41" fmla="*/ 8 h 45"/>
                <a:gd name="T42" fmla="*/ 2 w 41"/>
                <a:gd name="T43" fmla="*/ 9 h 45"/>
                <a:gd name="T44" fmla="*/ 2 w 41"/>
                <a:gd name="T45" fmla="*/ 9 h 45"/>
                <a:gd name="T46" fmla="*/ 3 w 41"/>
                <a:gd name="T47" fmla="*/ 10 h 45"/>
                <a:gd name="T48" fmla="*/ 5 w 41"/>
                <a:gd name="T49" fmla="*/ 18 h 45"/>
                <a:gd name="T50" fmla="*/ 5 w 41"/>
                <a:gd name="T51" fmla="*/ 18 h 45"/>
                <a:gd name="T52" fmla="*/ 5 w 41"/>
                <a:gd name="T53" fmla="*/ 19 h 45"/>
                <a:gd name="T54" fmla="*/ 5 w 41"/>
                <a:gd name="T55" fmla="*/ 21 h 45"/>
                <a:gd name="T56" fmla="*/ 4 w 41"/>
                <a:gd name="T57" fmla="*/ 23 h 45"/>
                <a:gd name="T58" fmla="*/ 4 w 41"/>
                <a:gd name="T59" fmla="*/ 24 h 45"/>
                <a:gd name="T60" fmla="*/ 5 w 41"/>
                <a:gd name="T61" fmla="*/ 25 h 45"/>
                <a:gd name="T62" fmla="*/ 3 w 41"/>
                <a:gd name="T63" fmla="*/ 25 h 45"/>
                <a:gd name="T64" fmla="*/ 3 w 41"/>
                <a:gd name="T65" fmla="*/ 25 h 45"/>
                <a:gd name="T66" fmla="*/ 4 w 41"/>
                <a:gd name="T67" fmla="*/ 27 h 45"/>
                <a:gd name="T68" fmla="*/ 3 w 41"/>
                <a:gd name="T69" fmla="*/ 27 h 45"/>
                <a:gd name="T70" fmla="*/ 5 w 41"/>
                <a:gd name="T71" fmla="*/ 32 h 45"/>
                <a:gd name="T72" fmla="*/ 11 w 41"/>
                <a:gd name="T73" fmla="*/ 45 h 45"/>
                <a:gd name="T74" fmla="*/ 11 w 41"/>
                <a:gd name="T75" fmla="*/ 45 h 45"/>
                <a:gd name="T76" fmla="*/ 14 w 41"/>
                <a:gd name="T77" fmla="*/ 45 h 45"/>
                <a:gd name="T78" fmla="*/ 15 w 41"/>
                <a:gd name="T79" fmla="*/ 45 h 45"/>
                <a:gd name="T80" fmla="*/ 22 w 41"/>
                <a:gd name="T81" fmla="*/ 44 h 45"/>
                <a:gd name="T82" fmla="*/ 26 w 41"/>
                <a:gd name="T83" fmla="*/ 44 h 45"/>
                <a:gd name="T84" fmla="*/ 31 w 41"/>
                <a:gd name="T85" fmla="*/ 38 h 45"/>
                <a:gd name="T86" fmla="*/ 32 w 41"/>
                <a:gd name="T87" fmla="*/ 36 h 45"/>
                <a:gd name="T88" fmla="*/ 33 w 41"/>
                <a:gd name="T89" fmla="*/ 32 h 45"/>
                <a:gd name="T90" fmla="*/ 36 w 41"/>
                <a:gd name="T91" fmla="*/ 24 h 45"/>
                <a:gd name="T92" fmla="*/ 37 w 41"/>
                <a:gd name="T93" fmla="*/ 23 h 45"/>
                <a:gd name="T94" fmla="*/ 37 w 41"/>
                <a:gd name="T95" fmla="*/ 23 h 45"/>
                <a:gd name="T96" fmla="*/ 37 w 41"/>
                <a:gd name="T97" fmla="*/ 21 h 45"/>
                <a:gd name="T98" fmla="*/ 39 w 41"/>
                <a:gd name="T99" fmla="*/ 20 h 45"/>
                <a:gd name="T100" fmla="*/ 41 w 41"/>
                <a:gd name="T101" fmla="*/ 18 h 45"/>
                <a:gd name="T102" fmla="*/ 39 w 41"/>
                <a:gd name="T103" fmla="*/ 12 h 45"/>
                <a:gd name="T104" fmla="*/ 38 w 41"/>
                <a:gd name="T105" fmla="*/ 10 h 45"/>
                <a:gd name="T106" fmla="*/ 35 w 41"/>
                <a:gd name="T107" fmla="*/ 10 h 45"/>
                <a:gd name="T108" fmla="*/ 35 w 41"/>
                <a:gd name="T109" fmla="*/ 7 h 45"/>
                <a:gd name="T110" fmla="*/ 35 w 41"/>
                <a:gd name="T111" fmla="*/ 6 h 45"/>
                <a:gd name="T112" fmla="*/ 34 w 41"/>
                <a:gd name="T113" fmla="*/ 2 h 45"/>
                <a:gd name="T114" fmla="*/ 34 w 41"/>
                <a:gd name="T115" fmla="*/ 2 h 45"/>
                <a:gd name="T116" fmla="*/ 34 w 41"/>
                <a:gd name="T117" fmla="*/ 2 h 45"/>
                <a:gd name="T118" fmla="*/ 33 w 41"/>
                <a:gd name="T119" fmla="*/ 2 h 45"/>
                <a:gd name="T120" fmla="*/ 32 w 41"/>
                <a:gd name="T121" fmla="*/ 2 h 45"/>
                <a:gd name="T122" fmla="*/ 31 w 41"/>
                <a:gd name="T123" fmla="*/ 1 h 45"/>
                <a:gd name="T124" fmla="*/ 29 w 41"/>
                <a:gd name="T125"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45">
                  <a:moveTo>
                    <a:pt x="29" y="0"/>
                  </a:moveTo>
                  <a:cubicBezTo>
                    <a:pt x="27" y="1"/>
                    <a:pt x="25" y="2"/>
                    <a:pt x="24" y="2"/>
                  </a:cubicBezTo>
                  <a:cubicBezTo>
                    <a:pt x="23" y="2"/>
                    <a:pt x="23" y="2"/>
                    <a:pt x="22" y="1"/>
                  </a:cubicBezTo>
                  <a:cubicBezTo>
                    <a:pt x="22" y="4"/>
                    <a:pt x="21" y="7"/>
                    <a:pt x="18" y="8"/>
                  </a:cubicBezTo>
                  <a:cubicBezTo>
                    <a:pt x="17" y="9"/>
                    <a:pt x="17" y="9"/>
                    <a:pt x="17" y="9"/>
                  </a:cubicBezTo>
                  <a:cubicBezTo>
                    <a:pt x="17" y="9"/>
                    <a:pt x="15" y="10"/>
                    <a:pt x="14" y="10"/>
                  </a:cubicBezTo>
                  <a:cubicBezTo>
                    <a:pt x="14" y="10"/>
                    <a:pt x="14" y="10"/>
                    <a:pt x="14" y="10"/>
                  </a:cubicBezTo>
                  <a:cubicBezTo>
                    <a:pt x="13" y="10"/>
                    <a:pt x="13" y="10"/>
                    <a:pt x="13" y="10"/>
                  </a:cubicBezTo>
                  <a:cubicBezTo>
                    <a:pt x="13" y="11"/>
                    <a:pt x="13" y="11"/>
                    <a:pt x="13" y="11"/>
                  </a:cubicBezTo>
                  <a:cubicBezTo>
                    <a:pt x="12" y="11"/>
                    <a:pt x="12" y="11"/>
                    <a:pt x="12" y="11"/>
                  </a:cubicBezTo>
                  <a:cubicBezTo>
                    <a:pt x="12" y="11"/>
                    <a:pt x="12" y="11"/>
                    <a:pt x="12" y="11"/>
                  </a:cubicBezTo>
                  <a:cubicBezTo>
                    <a:pt x="12" y="11"/>
                    <a:pt x="12" y="11"/>
                    <a:pt x="12" y="11"/>
                  </a:cubicBezTo>
                  <a:cubicBezTo>
                    <a:pt x="11" y="11"/>
                    <a:pt x="11" y="11"/>
                    <a:pt x="10" y="11"/>
                  </a:cubicBezTo>
                  <a:cubicBezTo>
                    <a:pt x="10" y="11"/>
                    <a:pt x="10" y="11"/>
                    <a:pt x="9" y="11"/>
                  </a:cubicBezTo>
                  <a:cubicBezTo>
                    <a:pt x="6" y="11"/>
                    <a:pt x="4" y="10"/>
                    <a:pt x="3" y="9"/>
                  </a:cubicBezTo>
                  <a:cubicBezTo>
                    <a:pt x="2" y="8"/>
                    <a:pt x="2" y="7"/>
                    <a:pt x="1" y="7"/>
                  </a:cubicBezTo>
                  <a:cubicBezTo>
                    <a:pt x="1" y="7"/>
                    <a:pt x="1" y="7"/>
                    <a:pt x="1" y="7"/>
                  </a:cubicBezTo>
                  <a:cubicBezTo>
                    <a:pt x="1" y="7"/>
                    <a:pt x="1" y="7"/>
                    <a:pt x="0" y="7"/>
                  </a:cubicBezTo>
                  <a:cubicBezTo>
                    <a:pt x="0" y="7"/>
                    <a:pt x="0" y="7"/>
                    <a:pt x="0" y="7"/>
                  </a:cubicBezTo>
                  <a:cubicBezTo>
                    <a:pt x="1" y="7"/>
                    <a:pt x="1" y="7"/>
                    <a:pt x="1" y="7"/>
                  </a:cubicBezTo>
                  <a:cubicBezTo>
                    <a:pt x="1" y="7"/>
                    <a:pt x="1" y="8"/>
                    <a:pt x="1" y="8"/>
                  </a:cubicBezTo>
                  <a:cubicBezTo>
                    <a:pt x="2" y="9"/>
                    <a:pt x="2" y="9"/>
                    <a:pt x="2" y="9"/>
                  </a:cubicBezTo>
                  <a:cubicBezTo>
                    <a:pt x="2" y="9"/>
                    <a:pt x="2" y="9"/>
                    <a:pt x="2" y="9"/>
                  </a:cubicBezTo>
                  <a:cubicBezTo>
                    <a:pt x="3" y="10"/>
                    <a:pt x="3" y="10"/>
                    <a:pt x="3" y="10"/>
                  </a:cubicBezTo>
                  <a:cubicBezTo>
                    <a:pt x="4" y="13"/>
                    <a:pt x="5" y="15"/>
                    <a:pt x="5" y="18"/>
                  </a:cubicBezTo>
                  <a:cubicBezTo>
                    <a:pt x="5" y="18"/>
                    <a:pt x="5" y="18"/>
                    <a:pt x="5" y="18"/>
                  </a:cubicBezTo>
                  <a:cubicBezTo>
                    <a:pt x="5" y="19"/>
                    <a:pt x="5" y="19"/>
                    <a:pt x="5" y="19"/>
                  </a:cubicBezTo>
                  <a:cubicBezTo>
                    <a:pt x="5" y="21"/>
                    <a:pt x="5" y="21"/>
                    <a:pt x="5" y="21"/>
                  </a:cubicBezTo>
                  <a:cubicBezTo>
                    <a:pt x="5" y="22"/>
                    <a:pt x="5" y="23"/>
                    <a:pt x="4" y="23"/>
                  </a:cubicBezTo>
                  <a:cubicBezTo>
                    <a:pt x="4" y="24"/>
                    <a:pt x="4" y="24"/>
                    <a:pt x="4" y="24"/>
                  </a:cubicBezTo>
                  <a:cubicBezTo>
                    <a:pt x="5" y="25"/>
                    <a:pt x="5" y="25"/>
                    <a:pt x="5" y="25"/>
                  </a:cubicBezTo>
                  <a:cubicBezTo>
                    <a:pt x="3" y="25"/>
                    <a:pt x="3" y="25"/>
                    <a:pt x="3" y="25"/>
                  </a:cubicBezTo>
                  <a:cubicBezTo>
                    <a:pt x="3" y="25"/>
                    <a:pt x="3" y="25"/>
                    <a:pt x="3" y="25"/>
                  </a:cubicBezTo>
                  <a:cubicBezTo>
                    <a:pt x="4" y="27"/>
                    <a:pt x="4" y="27"/>
                    <a:pt x="4" y="27"/>
                  </a:cubicBezTo>
                  <a:cubicBezTo>
                    <a:pt x="3" y="27"/>
                    <a:pt x="3" y="27"/>
                    <a:pt x="3" y="27"/>
                  </a:cubicBezTo>
                  <a:cubicBezTo>
                    <a:pt x="4" y="29"/>
                    <a:pt x="5" y="31"/>
                    <a:pt x="5" y="32"/>
                  </a:cubicBezTo>
                  <a:cubicBezTo>
                    <a:pt x="7" y="36"/>
                    <a:pt x="9" y="41"/>
                    <a:pt x="11" y="45"/>
                  </a:cubicBezTo>
                  <a:cubicBezTo>
                    <a:pt x="11" y="45"/>
                    <a:pt x="11" y="45"/>
                    <a:pt x="11" y="45"/>
                  </a:cubicBezTo>
                  <a:cubicBezTo>
                    <a:pt x="14" y="45"/>
                    <a:pt x="14" y="45"/>
                    <a:pt x="14" y="45"/>
                  </a:cubicBezTo>
                  <a:cubicBezTo>
                    <a:pt x="15" y="45"/>
                    <a:pt x="15" y="45"/>
                    <a:pt x="15" y="45"/>
                  </a:cubicBezTo>
                  <a:cubicBezTo>
                    <a:pt x="15" y="45"/>
                    <a:pt x="16" y="45"/>
                    <a:pt x="22" y="44"/>
                  </a:cubicBezTo>
                  <a:cubicBezTo>
                    <a:pt x="24" y="44"/>
                    <a:pt x="25" y="44"/>
                    <a:pt x="26" y="44"/>
                  </a:cubicBezTo>
                  <a:cubicBezTo>
                    <a:pt x="29" y="42"/>
                    <a:pt x="29" y="41"/>
                    <a:pt x="31" y="38"/>
                  </a:cubicBezTo>
                  <a:cubicBezTo>
                    <a:pt x="32" y="36"/>
                    <a:pt x="32" y="36"/>
                    <a:pt x="32" y="36"/>
                  </a:cubicBezTo>
                  <a:cubicBezTo>
                    <a:pt x="33" y="35"/>
                    <a:pt x="33" y="33"/>
                    <a:pt x="33" y="32"/>
                  </a:cubicBezTo>
                  <a:cubicBezTo>
                    <a:pt x="33" y="29"/>
                    <a:pt x="33" y="26"/>
                    <a:pt x="36" y="24"/>
                  </a:cubicBezTo>
                  <a:cubicBezTo>
                    <a:pt x="37" y="23"/>
                    <a:pt x="37" y="23"/>
                    <a:pt x="37" y="23"/>
                  </a:cubicBezTo>
                  <a:cubicBezTo>
                    <a:pt x="37" y="23"/>
                    <a:pt x="37" y="23"/>
                    <a:pt x="37" y="23"/>
                  </a:cubicBezTo>
                  <a:cubicBezTo>
                    <a:pt x="37" y="21"/>
                    <a:pt x="37" y="21"/>
                    <a:pt x="37" y="21"/>
                  </a:cubicBezTo>
                  <a:cubicBezTo>
                    <a:pt x="39" y="20"/>
                    <a:pt x="39" y="20"/>
                    <a:pt x="39" y="20"/>
                  </a:cubicBezTo>
                  <a:cubicBezTo>
                    <a:pt x="39" y="20"/>
                    <a:pt x="40" y="18"/>
                    <a:pt x="41" y="18"/>
                  </a:cubicBezTo>
                  <a:cubicBezTo>
                    <a:pt x="40" y="17"/>
                    <a:pt x="40" y="14"/>
                    <a:pt x="39" y="12"/>
                  </a:cubicBezTo>
                  <a:cubicBezTo>
                    <a:pt x="38" y="11"/>
                    <a:pt x="38" y="11"/>
                    <a:pt x="38" y="10"/>
                  </a:cubicBezTo>
                  <a:cubicBezTo>
                    <a:pt x="35" y="10"/>
                    <a:pt x="35" y="10"/>
                    <a:pt x="35" y="10"/>
                  </a:cubicBezTo>
                  <a:cubicBezTo>
                    <a:pt x="35" y="7"/>
                    <a:pt x="35" y="7"/>
                    <a:pt x="35" y="7"/>
                  </a:cubicBezTo>
                  <a:cubicBezTo>
                    <a:pt x="35" y="6"/>
                    <a:pt x="35" y="6"/>
                    <a:pt x="35" y="6"/>
                  </a:cubicBezTo>
                  <a:cubicBezTo>
                    <a:pt x="35" y="5"/>
                    <a:pt x="34" y="4"/>
                    <a:pt x="34" y="2"/>
                  </a:cubicBezTo>
                  <a:cubicBezTo>
                    <a:pt x="34" y="2"/>
                    <a:pt x="34" y="2"/>
                    <a:pt x="34" y="2"/>
                  </a:cubicBezTo>
                  <a:cubicBezTo>
                    <a:pt x="34" y="2"/>
                    <a:pt x="34" y="2"/>
                    <a:pt x="34" y="2"/>
                  </a:cubicBezTo>
                  <a:cubicBezTo>
                    <a:pt x="33" y="2"/>
                    <a:pt x="33" y="2"/>
                    <a:pt x="33" y="2"/>
                  </a:cubicBezTo>
                  <a:cubicBezTo>
                    <a:pt x="32" y="2"/>
                    <a:pt x="32" y="2"/>
                    <a:pt x="32" y="2"/>
                  </a:cubicBezTo>
                  <a:cubicBezTo>
                    <a:pt x="32" y="1"/>
                    <a:pt x="32" y="1"/>
                    <a:pt x="31" y="1"/>
                  </a:cubicBezTo>
                  <a:cubicBezTo>
                    <a:pt x="31" y="1"/>
                    <a:pt x="30" y="1"/>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45"/>
            <p:cNvSpPr/>
            <p:nvPr/>
          </p:nvSpPr>
          <p:spPr bwMode="auto">
            <a:xfrm>
              <a:off x="5277" y="2824"/>
              <a:ext cx="95" cy="80"/>
            </a:xfrm>
            <a:custGeom>
              <a:gdLst>
                <a:gd name="T0" fmla="*/ 33 w 40"/>
                <a:gd name="T1" fmla="*/ 0 h 34"/>
                <a:gd name="T2" fmla="*/ 29 w 40"/>
                <a:gd name="T3" fmla="*/ 2 h 34"/>
                <a:gd name="T4" fmla="*/ 29 w 40"/>
                <a:gd name="T5" fmla="*/ 3 h 34"/>
                <a:gd name="T6" fmla="*/ 26 w 40"/>
                <a:gd name="T7" fmla="*/ 5 h 34"/>
                <a:gd name="T8" fmla="*/ 23 w 40"/>
                <a:gd name="T9" fmla="*/ 7 h 34"/>
                <a:gd name="T10" fmla="*/ 22 w 40"/>
                <a:gd name="T11" fmla="*/ 7 h 34"/>
                <a:gd name="T12" fmla="*/ 18 w 40"/>
                <a:gd name="T13" fmla="*/ 5 h 34"/>
                <a:gd name="T14" fmla="*/ 17 w 40"/>
                <a:gd name="T15" fmla="*/ 4 h 34"/>
                <a:gd name="T16" fmla="*/ 16 w 40"/>
                <a:gd name="T17" fmla="*/ 5 h 34"/>
                <a:gd name="T18" fmla="*/ 15 w 40"/>
                <a:gd name="T19" fmla="*/ 5 h 34"/>
                <a:gd name="T20" fmla="*/ 12 w 40"/>
                <a:gd name="T21" fmla="*/ 7 h 34"/>
                <a:gd name="T22" fmla="*/ 11 w 40"/>
                <a:gd name="T23" fmla="*/ 8 h 34"/>
                <a:gd name="T24" fmla="*/ 10 w 40"/>
                <a:gd name="T25" fmla="*/ 9 h 34"/>
                <a:gd name="T26" fmla="*/ 8 w 40"/>
                <a:gd name="T27" fmla="*/ 11 h 34"/>
                <a:gd name="T28" fmla="*/ 8 w 40"/>
                <a:gd name="T29" fmla="*/ 11 h 34"/>
                <a:gd name="T30" fmla="*/ 8 w 40"/>
                <a:gd name="T31" fmla="*/ 11 h 34"/>
                <a:gd name="T32" fmla="*/ 6 w 40"/>
                <a:gd name="T33" fmla="*/ 12 h 34"/>
                <a:gd name="T34" fmla="*/ 5 w 40"/>
                <a:gd name="T35" fmla="*/ 17 h 34"/>
                <a:gd name="T36" fmla="*/ 5 w 40"/>
                <a:gd name="T37" fmla="*/ 22 h 34"/>
                <a:gd name="T38" fmla="*/ 3 w 40"/>
                <a:gd name="T39" fmla="*/ 26 h 34"/>
                <a:gd name="T40" fmla="*/ 0 w 40"/>
                <a:gd name="T41" fmla="*/ 29 h 34"/>
                <a:gd name="T42" fmla="*/ 0 w 40"/>
                <a:gd name="T43" fmla="*/ 29 h 34"/>
                <a:gd name="T44" fmla="*/ 0 w 40"/>
                <a:gd name="T45" fmla="*/ 29 h 34"/>
                <a:gd name="T46" fmla="*/ 2 w 40"/>
                <a:gd name="T47" fmla="*/ 29 h 34"/>
                <a:gd name="T48" fmla="*/ 3 w 40"/>
                <a:gd name="T49" fmla="*/ 29 h 34"/>
                <a:gd name="T50" fmla="*/ 5 w 40"/>
                <a:gd name="T51" fmla="*/ 29 h 34"/>
                <a:gd name="T52" fmla="*/ 7 w 40"/>
                <a:gd name="T53" fmla="*/ 25 h 34"/>
                <a:gd name="T54" fmla="*/ 6 w 40"/>
                <a:gd name="T55" fmla="*/ 30 h 34"/>
                <a:gd name="T56" fmla="*/ 6 w 40"/>
                <a:gd name="T57" fmla="*/ 30 h 34"/>
                <a:gd name="T58" fmla="*/ 9 w 40"/>
                <a:gd name="T59" fmla="*/ 32 h 34"/>
                <a:gd name="T60" fmla="*/ 11 w 40"/>
                <a:gd name="T61" fmla="*/ 34 h 34"/>
                <a:gd name="T62" fmla="*/ 10 w 40"/>
                <a:gd name="T63" fmla="*/ 31 h 34"/>
                <a:gd name="T64" fmla="*/ 12 w 40"/>
                <a:gd name="T65" fmla="*/ 33 h 34"/>
                <a:gd name="T66" fmla="*/ 13 w 40"/>
                <a:gd name="T67" fmla="*/ 33 h 34"/>
                <a:gd name="T68" fmla="*/ 13 w 40"/>
                <a:gd name="T69" fmla="*/ 34 h 34"/>
                <a:gd name="T70" fmla="*/ 13 w 40"/>
                <a:gd name="T71" fmla="*/ 34 h 34"/>
                <a:gd name="T72" fmla="*/ 13 w 40"/>
                <a:gd name="T73" fmla="*/ 33 h 34"/>
                <a:gd name="T74" fmla="*/ 16 w 40"/>
                <a:gd name="T75" fmla="*/ 31 h 34"/>
                <a:gd name="T76" fmla="*/ 17 w 40"/>
                <a:gd name="T77" fmla="*/ 31 h 34"/>
                <a:gd name="T78" fmla="*/ 18 w 40"/>
                <a:gd name="T79" fmla="*/ 27 h 34"/>
                <a:gd name="T80" fmla="*/ 18 w 40"/>
                <a:gd name="T81" fmla="*/ 25 h 34"/>
                <a:gd name="T82" fmla="*/ 19 w 40"/>
                <a:gd name="T83" fmla="*/ 20 h 34"/>
                <a:gd name="T84" fmla="*/ 22 w 40"/>
                <a:gd name="T85" fmla="*/ 22 h 34"/>
                <a:gd name="T86" fmla="*/ 26 w 40"/>
                <a:gd name="T87" fmla="*/ 24 h 34"/>
                <a:gd name="T88" fmla="*/ 29 w 40"/>
                <a:gd name="T89" fmla="*/ 23 h 34"/>
                <a:gd name="T90" fmla="*/ 31 w 40"/>
                <a:gd name="T91" fmla="*/ 23 h 34"/>
                <a:gd name="T92" fmla="*/ 31 w 40"/>
                <a:gd name="T93" fmla="*/ 23 h 34"/>
                <a:gd name="T94" fmla="*/ 35 w 40"/>
                <a:gd name="T95" fmla="*/ 24 h 34"/>
                <a:gd name="T96" fmla="*/ 35 w 40"/>
                <a:gd name="T97" fmla="*/ 24 h 34"/>
                <a:gd name="T98" fmla="*/ 36 w 40"/>
                <a:gd name="T99" fmla="*/ 24 h 34"/>
                <a:gd name="T100" fmla="*/ 38 w 40"/>
                <a:gd name="T101" fmla="*/ 24 h 34"/>
                <a:gd name="T102" fmla="*/ 39 w 40"/>
                <a:gd name="T103" fmla="*/ 23 h 34"/>
                <a:gd name="T104" fmla="*/ 39 w 40"/>
                <a:gd name="T105" fmla="*/ 23 h 34"/>
                <a:gd name="T106" fmla="*/ 39 w 40"/>
                <a:gd name="T107" fmla="*/ 23 h 34"/>
                <a:gd name="T108" fmla="*/ 40 w 40"/>
                <a:gd name="T109" fmla="*/ 23 h 34"/>
                <a:gd name="T110" fmla="*/ 40 w 40"/>
                <a:gd name="T111" fmla="*/ 20 h 34"/>
                <a:gd name="T112" fmla="*/ 40 w 40"/>
                <a:gd name="T113" fmla="*/ 19 h 34"/>
                <a:gd name="T114" fmla="*/ 39 w 40"/>
                <a:gd name="T115" fmla="*/ 15 h 34"/>
                <a:gd name="T116" fmla="*/ 38 w 40"/>
                <a:gd name="T117" fmla="*/ 11 h 34"/>
                <a:gd name="T118" fmla="*/ 37 w 40"/>
                <a:gd name="T119" fmla="*/ 7 h 34"/>
                <a:gd name="T120" fmla="*/ 33 w 40"/>
                <a:gd name="T121" fmla="*/ 0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 h="34">
                  <a:moveTo>
                    <a:pt x="33" y="0"/>
                  </a:moveTo>
                  <a:cubicBezTo>
                    <a:pt x="32" y="0"/>
                    <a:pt x="31" y="1"/>
                    <a:pt x="29" y="2"/>
                  </a:cubicBezTo>
                  <a:cubicBezTo>
                    <a:pt x="29" y="3"/>
                    <a:pt x="29" y="3"/>
                    <a:pt x="29" y="3"/>
                  </a:cubicBezTo>
                  <a:cubicBezTo>
                    <a:pt x="28" y="4"/>
                    <a:pt x="27" y="5"/>
                    <a:pt x="26" y="5"/>
                  </a:cubicBezTo>
                  <a:cubicBezTo>
                    <a:pt x="25" y="6"/>
                    <a:pt x="24" y="7"/>
                    <a:pt x="23" y="7"/>
                  </a:cubicBezTo>
                  <a:cubicBezTo>
                    <a:pt x="22" y="7"/>
                    <a:pt x="22" y="7"/>
                    <a:pt x="22" y="7"/>
                  </a:cubicBezTo>
                  <a:cubicBezTo>
                    <a:pt x="21" y="7"/>
                    <a:pt x="19" y="7"/>
                    <a:pt x="18" y="5"/>
                  </a:cubicBezTo>
                  <a:cubicBezTo>
                    <a:pt x="18" y="5"/>
                    <a:pt x="18" y="5"/>
                    <a:pt x="17" y="4"/>
                  </a:cubicBezTo>
                  <a:cubicBezTo>
                    <a:pt x="16" y="5"/>
                    <a:pt x="16" y="5"/>
                    <a:pt x="16" y="5"/>
                  </a:cubicBezTo>
                  <a:cubicBezTo>
                    <a:pt x="15" y="5"/>
                    <a:pt x="15" y="5"/>
                    <a:pt x="15" y="5"/>
                  </a:cubicBezTo>
                  <a:cubicBezTo>
                    <a:pt x="15" y="6"/>
                    <a:pt x="13" y="7"/>
                    <a:pt x="12" y="7"/>
                  </a:cubicBezTo>
                  <a:cubicBezTo>
                    <a:pt x="11" y="8"/>
                    <a:pt x="11" y="8"/>
                    <a:pt x="11" y="8"/>
                  </a:cubicBezTo>
                  <a:cubicBezTo>
                    <a:pt x="10" y="9"/>
                    <a:pt x="10" y="9"/>
                    <a:pt x="10" y="9"/>
                  </a:cubicBezTo>
                  <a:cubicBezTo>
                    <a:pt x="10" y="9"/>
                    <a:pt x="9" y="10"/>
                    <a:pt x="8" y="11"/>
                  </a:cubicBezTo>
                  <a:cubicBezTo>
                    <a:pt x="8" y="11"/>
                    <a:pt x="8" y="11"/>
                    <a:pt x="8" y="11"/>
                  </a:cubicBezTo>
                  <a:cubicBezTo>
                    <a:pt x="8" y="11"/>
                    <a:pt x="8" y="11"/>
                    <a:pt x="8" y="11"/>
                  </a:cubicBezTo>
                  <a:cubicBezTo>
                    <a:pt x="6" y="12"/>
                    <a:pt x="6" y="12"/>
                    <a:pt x="6" y="12"/>
                  </a:cubicBezTo>
                  <a:cubicBezTo>
                    <a:pt x="6" y="13"/>
                    <a:pt x="5" y="16"/>
                    <a:pt x="5" y="17"/>
                  </a:cubicBezTo>
                  <a:cubicBezTo>
                    <a:pt x="5" y="19"/>
                    <a:pt x="5" y="20"/>
                    <a:pt x="5" y="22"/>
                  </a:cubicBezTo>
                  <a:cubicBezTo>
                    <a:pt x="4" y="24"/>
                    <a:pt x="3" y="25"/>
                    <a:pt x="3" y="26"/>
                  </a:cubicBezTo>
                  <a:cubicBezTo>
                    <a:pt x="2" y="27"/>
                    <a:pt x="1" y="28"/>
                    <a:pt x="0" y="29"/>
                  </a:cubicBezTo>
                  <a:cubicBezTo>
                    <a:pt x="0" y="29"/>
                    <a:pt x="0" y="29"/>
                    <a:pt x="0" y="29"/>
                  </a:cubicBezTo>
                  <a:cubicBezTo>
                    <a:pt x="0" y="29"/>
                    <a:pt x="0" y="29"/>
                    <a:pt x="0" y="29"/>
                  </a:cubicBezTo>
                  <a:cubicBezTo>
                    <a:pt x="1" y="29"/>
                    <a:pt x="1" y="29"/>
                    <a:pt x="2" y="29"/>
                  </a:cubicBezTo>
                  <a:cubicBezTo>
                    <a:pt x="2" y="29"/>
                    <a:pt x="2" y="29"/>
                    <a:pt x="3" y="29"/>
                  </a:cubicBezTo>
                  <a:cubicBezTo>
                    <a:pt x="3" y="29"/>
                    <a:pt x="4" y="29"/>
                    <a:pt x="5" y="29"/>
                  </a:cubicBezTo>
                  <a:cubicBezTo>
                    <a:pt x="7" y="25"/>
                    <a:pt x="7" y="25"/>
                    <a:pt x="7" y="25"/>
                  </a:cubicBezTo>
                  <a:cubicBezTo>
                    <a:pt x="6" y="30"/>
                    <a:pt x="6" y="30"/>
                    <a:pt x="6" y="30"/>
                  </a:cubicBezTo>
                  <a:cubicBezTo>
                    <a:pt x="6" y="30"/>
                    <a:pt x="6" y="30"/>
                    <a:pt x="6" y="30"/>
                  </a:cubicBezTo>
                  <a:cubicBezTo>
                    <a:pt x="7" y="31"/>
                    <a:pt x="8" y="32"/>
                    <a:pt x="9" y="32"/>
                  </a:cubicBezTo>
                  <a:cubicBezTo>
                    <a:pt x="10" y="33"/>
                    <a:pt x="11" y="34"/>
                    <a:pt x="11" y="34"/>
                  </a:cubicBezTo>
                  <a:cubicBezTo>
                    <a:pt x="10" y="31"/>
                    <a:pt x="10" y="31"/>
                    <a:pt x="10" y="31"/>
                  </a:cubicBezTo>
                  <a:cubicBezTo>
                    <a:pt x="12" y="33"/>
                    <a:pt x="12" y="33"/>
                    <a:pt x="12" y="33"/>
                  </a:cubicBezTo>
                  <a:cubicBezTo>
                    <a:pt x="13" y="33"/>
                    <a:pt x="13" y="33"/>
                    <a:pt x="13" y="33"/>
                  </a:cubicBezTo>
                  <a:cubicBezTo>
                    <a:pt x="13" y="34"/>
                    <a:pt x="13" y="34"/>
                    <a:pt x="13" y="34"/>
                  </a:cubicBezTo>
                  <a:cubicBezTo>
                    <a:pt x="13" y="34"/>
                    <a:pt x="13" y="34"/>
                    <a:pt x="13" y="34"/>
                  </a:cubicBezTo>
                  <a:cubicBezTo>
                    <a:pt x="13" y="33"/>
                    <a:pt x="13" y="33"/>
                    <a:pt x="13" y="33"/>
                  </a:cubicBezTo>
                  <a:cubicBezTo>
                    <a:pt x="14" y="33"/>
                    <a:pt x="16" y="32"/>
                    <a:pt x="16" y="31"/>
                  </a:cubicBezTo>
                  <a:cubicBezTo>
                    <a:pt x="17" y="31"/>
                    <a:pt x="17" y="31"/>
                    <a:pt x="17" y="31"/>
                  </a:cubicBezTo>
                  <a:cubicBezTo>
                    <a:pt x="18" y="31"/>
                    <a:pt x="18" y="28"/>
                    <a:pt x="18" y="27"/>
                  </a:cubicBezTo>
                  <a:cubicBezTo>
                    <a:pt x="18" y="26"/>
                    <a:pt x="18" y="25"/>
                    <a:pt x="18" y="25"/>
                  </a:cubicBezTo>
                  <a:cubicBezTo>
                    <a:pt x="19" y="20"/>
                    <a:pt x="19" y="20"/>
                    <a:pt x="19" y="20"/>
                  </a:cubicBezTo>
                  <a:cubicBezTo>
                    <a:pt x="22" y="22"/>
                    <a:pt x="22" y="22"/>
                    <a:pt x="22" y="22"/>
                  </a:cubicBezTo>
                  <a:cubicBezTo>
                    <a:pt x="24" y="23"/>
                    <a:pt x="25" y="24"/>
                    <a:pt x="26" y="24"/>
                  </a:cubicBezTo>
                  <a:cubicBezTo>
                    <a:pt x="27" y="24"/>
                    <a:pt x="28" y="24"/>
                    <a:pt x="29" y="23"/>
                  </a:cubicBezTo>
                  <a:cubicBezTo>
                    <a:pt x="29" y="23"/>
                    <a:pt x="30" y="23"/>
                    <a:pt x="31" y="23"/>
                  </a:cubicBezTo>
                  <a:cubicBezTo>
                    <a:pt x="31" y="23"/>
                    <a:pt x="31" y="23"/>
                    <a:pt x="31" y="23"/>
                  </a:cubicBezTo>
                  <a:cubicBezTo>
                    <a:pt x="33" y="23"/>
                    <a:pt x="34" y="23"/>
                    <a:pt x="35" y="24"/>
                  </a:cubicBezTo>
                  <a:cubicBezTo>
                    <a:pt x="35" y="24"/>
                    <a:pt x="35" y="24"/>
                    <a:pt x="35" y="24"/>
                  </a:cubicBezTo>
                  <a:cubicBezTo>
                    <a:pt x="36" y="24"/>
                    <a:pt x="36" y="24"/>
                    <a:pt x="36" y="24"/>
                  </a:cubicBezTo>
                  <a:cubicBezTo>
                    <a:pt x="38" y="24"/>
                    <a:pt x="38" y="24"/>
                    <a:pt x="38" y="24"/>
                  </a:cubicBezTo>
                  <a:cubicBezTo>
                    <a:pt x="38" y="24"/>
                    <a:pt x="38" y="23"/>
                    <a:pt x="39" y="23"/>
                  </a:cubicBezTo>
                  <a:cubicBezTo>
                    <a:pt x="39" y="23"/>
                    <a:pt x="39" y="23"/>
                    <a:pt x="39" y="23"/>
                  </a:cubicBezTo>
                  <a:cubicBezTo>
                    <a:pt x="39" y="23"/>
                    <a:pt x="39" y="23"/>
                    <a:pt x="39" y="23"/>
                  </a:cubicBezTo>
                  <a:cubicBezTo>
                    <a:pt x="40" y="23"/>
                    <a:pt x="40" y="23"/>
                    <a:pt x="40" y="23"/>
                  </a:cubicBezTo>
                  <a:cubicBezTo>
                    <a:pt x="40" y="21"/>
                    <a:pt x="40" y="21"/>
                    <a:pt x="40" y="20"/>
                  </a:cubicBezTo>
                  <a:cubicBezTo>
                    <a:pt x="40" y="19"/>
                    <a:pt x="40" y="19"/>
                    <a:pt x="40" y="19"/>
                  </a:cubicBezTo>
                  <a:cubicBezTo>
                    <a:pt x="39" y="18"/>
                    <a:pt x="39" y="17"/>
                    <a:pt x="39" y="15"/>
                  </a:cubicBezTo>
                  <a:cubicBezTo>
                    <a:pt x="39" y="14"/>
                    <a:pt x="39" y="12"/>
                    <a:pt x="38" y="11"/>
                  </a:cubicBezTo>
                  <a:cubicBezTo>
                    <a:pt x="38" y="10"/>
                    <a:pt x="38" y="9"/>
                    <a:pt x="37" y="7"/>
                  </a:cubicBezTo>
                  <a:cubicBezTo>
                    <a:pt x="33" y="0"/>
                    <a:pt x="33"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246"/>
            <p:cNvSpPr>
              <a:spLocks noEditPoints="1"/>
            </p:cNvSpPr>
            <p:nvPr/>
          </p:nvSpPr>
          <p:spPr bwMode="auto">
            <a:xfrm>
              <a:off x="2687" y="1826"/>
              <a:ext cx="336" cy="232"/>
            </a:xfrm>
            <a:custGeom>
              <a:gdLst>
                <a:gd name="T0" fmla="*/ 30 w 142"/>
                <a:gd name="T1" fmla="*/ 94 h 98"/>
                <a:gd name="T2" fmla="*/ 30 w 142"/>
                <a:gd name="T3" fmla="*/ 94 h 98"/>
                <a:gd name="T4" fmla="*/ 30 w 142"/>
                <a:gd name="T5" fmla="*/ 94 h 98"/>
                <a:gd name="T6" fmla="*/ 23 w 142"/>
                <a:gd name="T7" fmla="*/ 94 h 98"/>
                <a:gd name="T8" fmla="*/ 26 w 142"/>
                <a:gd name="T9" fmla="*/ 95 h 98"/>
                <a:gd name="T10" fmla="*/ 52 w 142"/>
                <a:gd name="T11" fmla="*/ 1 h 98"/>
                <a:gd name="T12" fmla="*/ 41 w 142"/>
                <a:gd name="T13" fmla="*/ 4 h 98"/>
                <a:gd name="T14" fmla="*/ 34 w 142"/>
                <a:gd name="T15" fmla="*/ 4 h 98"/>
                <a:gd name="T16" fmla="*/ 25 w 142"/>
                <a:gd name="T17" fmla="*/ 14 h 98"/>
                <a:gd name="T18" fmla="*/ 15 w 142"/>
                <a:gd name="T19" fmla="*/ 30 h 98"/>
                <a:gd name="T20" fmla="*/ 2 w 142"/>
                <a:gd name="T21" fmla="*/ 45 h 98"/>
                <a:gd name="T22" fmla="*/ 14 w 142"/>
                <a:gd name="T23" fmla="*/ 54 h 98"/>
                <a:gd name="T24" fmla="*/ 20 w 142"/>
                <a:gd name="T25" fmla="*/ 61 h 98"/>
                <a:gd name="T26" fmla="*/ 21 w 142"/>
                <a:gd name="T27" fmla="*/ 65 h 98"/>
                <a:gd name="T28" fmla="*/ 47 w 142"/>
                <a:gd name="T29" fmla="*/ 67 h 98"/>
                <a:gd name="T30" fmla="*/ 55 w 142"/>
                <a:gd name="T31" fmla="*/ 63 h 98"/>
                <a:gd name="T32" fmla="*/ 62 w 142"/>
                <a:gd name="T33" fmla="*/ 63 h 98"/>
                <a:gd name="T34" fmla="*/ 72 w 142"/>
                <a:gd name="T35" fmla="*/ 69 h 98"/>
                <a:gd name="T36" fmla="*/ 76 w 142"/>
                <a:gd name="T37" fmla="*/ 70 h 98"/>
                <a:gd name="T38" fmla="*/ 80 w 142"/>
                <a:gd name="T39" fmla="*/ 70 h 98"/>
                <a:gd name="T40" fmla="*/ 85 w 142"/>
                <a:gd name="T41" fmla="*/ 65 h 98"/>
                <a:gd name="T42" fmla="*/ 88 w 142"/>
                <a:gd name="T43" fmla="*/ 64 h 98"/>
                <a:gd name="T44" fmla="*/ 90 w 142"/>
                <a:gd name="T45" fmla="*/ 74 h 98"/>
                <a:gd name="T46" fmla="*/ 88 w 142"/>
                <a:gd name="T47" fmla="*/ 79 h 98"/>
                <a:gd name="T48" fmla="*/ 86 w 142"/>
                <a:gd name="T49" fmla="*/ 80 h 98"/>
                <a:gd name="T50" fmla="*/ 76 w 142"/>
                <a:gd name="T51" fmla="*/ 82 h 98"/>
                <a:gd name="T52" fmla="*/ 58 w 142"/>
                <a:gd name="T53" fmla="*/ 75 h 98"/>
                <a:gd name="T54" fmla="*/ 46 w 142"/>
                <a:gd name="T55" fmla="*/ 81 h 98"/>
                <a:gd name="T56" fmla="*/ 43 w 142"/>
                <a:gd name="T57" fmla="*/ 81 h 98"/>
                <a:gd name="T58" fmla="*/ 38 w 142"/>
                <a:gd name="T59" fmla="*/ 84 h 98"/>
                <a:gd name="T60" fmla="*/ 18 w 142"/>
                <a:gd name="T61" fmla="*/ 86 h 98"/>
                <a:gd name="T62" fmla="*/ 23 w 142"/>
                <a:gd name="T63" fmla="*/ 94 h 98"/>
                <a:gd name="T64" fmla="*/ 17 w 142"/>
                <a:gd name="T65" fmla="*/ 98 h 98"/>
                <a:gd name="T66" fmla="*/ 63 w 142"/>
                <a:gd name="T67" fmla="*/ 90 h 98"/>
                <a:gd name="T68" fmla="*/ 79 w 142"/>
                <a:gd name="T69" fmla="*/ 90 h 98"/>
                <a:gd name="T70" fmla="*/ 86 w 142"/>
                <a:gd name="T71" fmla="*/ 89 h 98"/>
                <a:gd name="T72" fmla="*/ 100 w 142"/>
                <a:gd name="T73" fmla="*/ 91 h 98"/>
                <a:gd name="T74" fmla="*/ 103 w 142"/>
                <a:gd name="T75" fmla="*/ 92 h 98"/>
                <a:gd name="T76" fmla="*/ 118 w 142"/>
                <a:gd name="T77" fmla="*/ 97 h 98"/>
                <a:gd name="T78" fmla="*/ 139 w 142"/>
                <a:gd name="T79" fmla="*/ 96 h 98"/>
                <a:gd name="T80" fmla="*/ 138 w 142"/>
                <a:gd name="T81" fmla="*/ 79 h 98"/>
                <a:gd name="T82" fmla="*/ 126 w 142"/>
                <a:gd name="T83" fmla="*/ 70 h 98"/>
                <a:gd name="T84" fmla="*/ 121 w 142"/>
                <a:gd name="T85" fmla="*/ 44 h 98"/>
                <a:gd name="T86" fmla="*/ 116 w 142"/>
                <a:gd name="T87" fmla="*/ 40 h 98"/>
                <a:gd name="T88" fmla="*/ 113 w 142"/>
                <a:gd name="T89" fmla="*/ 37 h 98"/>
                <a:gd name="T90" fmla="*/ 108 w 142"/>
                <a:gd name="T91" fmla="*/ 32 h 98"/>
                <a:gd name="T92" fmla="*/ 98 w 142"/>
                <a:gd name="T93" fmla="*/ 23 h 98"/>
                <a:gd name="T94" fmla="*/ 95 w 142"/>
                <a:gd name="T95" fmla="*/ 15 h 98"/>
                <a:gd name="T96" fmla="*/ 92 w 142"/>
                <a:gd name="T97" fmla="*/ 12 h 98"/>
                <a:gd name="T98" fmla="*/ 87 w 142"/>
                <a:gd name="T99" fmla="*/ 12 h 98"/>
                <a:gd name="T100" fmla="*/ 85 w 142"/>
                <a:gd name="T101" fmla="*/ 11 h 98"/>
                <a:gd name="T102" fmla="*/ 78 w 142"/>
                <a:gd name="T103" fmla="*/ 4 h 98"/>
                <a:gd name="T104" fmla="*/ 69 w 142"/>
                <a:gd name="T105" fmla="*/ 0 h 98"/>
                <a:gd name="T106" fmla="*/ 59 w 142"/>
                <a:gd name="T107" fmla="*/ 0 h 9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98">
                  <a:moveTo>
                    <a:pt x="30" y="94"/>
                  </a:moveTo>
                  <a:cubicBezTo>
                    <a:pt x="30" y="94"/>
                    <a:pt x="30" y="94"/>
                    <a:pt x="30" y="94"/>
                  </a:cubicBezTo>
                  <a:cubicBezTo>
                    <a:pt x="30" y="94"/>
                    <a:pt x="30" y="94"/>
                    <a:pt x="30" y="94"/>
                  </a:cubicBezTo>
                  <a:moveTo>
                    <a:pt x="30" y="94"/>
                  </a:moveTo>
                  <a:cubicBezTo>
                    <a:pt x="30" y="94"/>
                    <a:pt x="30" y="94"/>
                    <a:pt x="30" y="94"/>
                  </a:cubicBezTo>
                  <a:cubicBezTo>
                    <a:pt x="30" y="94"/>
                    <a:pt x="30" y="94"/>
                    <a:pt x="30" y="94"/>
                  </a:cubicBezTo>
                  <a:moveTo>
                    <a:pt x="29" y="94"/>
                  </a:moveTo>
                  <a:cubicBezTo>
                    <a:pt x="30" y="94"/>
                    <a:pt x="30" y="94"/>
                    <a:pt x="30" y="94"/>
                  </a:cubicBezTo>
                  <a:cubicBezTo>
                    <a:pt x="30" y="94"/>
                    <a:pt x="30" y="94"/>
                    <a:pt x="30" y="94"/>
                  </a:cubicBezTo>
                  <a:cubicBezTo>
                    <a:pt x="30" y="94"/>
                    <a:pt x="30" y="94"/>
                    <a:pt x="29" y="94"/>
                  </a:cubicBezTo>
                  <a:moveTo>
                    <a:pt x="26" y="95"/>
                  </a:moveTo>
                  <a:cubicBezTo>
                    <a:pt x="26" y="95"/>
                    <a:pt x="25" y="95"/>
                    <a:pt x="23" y="94"/>
                  </a:cubicBezTo>
                  <a:cubicBezTo>
                    <a:pt x="25" y="95"/>
                    <a:pt x="26" y="95"/>
                    <a:pt x="26" y="95"/>
                  </a:cubicBezTo>
                  <a:cubicBezTo>
                    <a:pt x="27" y="95"/>
                    <a:pt x="27" y="95"/>
                    <a:pt x="28" y="94"/>
                  </a:cubicBezTo>
                  <a:cubicBezTo>
                    <a:pt x="27" y="95"/>
                    <a:pt x="27" y="95"/>
                    <a:pt x="26" y="95"/>
                  </a:cubicBezTo>
                  <a:moveTo>
                    <a:pt x="59" y="0"/>
                  </a:moveTo>
                  <a:cubicBezTo>
                    <a:pt x="57" y="0"/>
                    <a:pt x="56" y="0"/>
                    <a:pt x="55" y="1"/>
                  </a:cubicBezTo>
                  <a:cubicBezTo>
                    <a:pt x="54" y="1"/>
                    <a:pt x="53" y="1"/>
                    <a:pt x="52" y="1"/>
                  </a:cubicBezTo>
                  <a:cubicBezTo>
                    <a:pt x="51" y="2"/>
                    <a:pt x="50" y="2"/>
                    <a:pt x="49" y="2"/>
                  </a:cubicBezTo>
                  <a:cubicBezTo>
                    <a:pt x="48" y="2"/>
                    <a:pt x="48" y="2"/>
                    <a:pt x="48" y="2"/>
                  </a:cubicBezTo>
                  <a:cubicBezTo>
                    <a:pt x="46" y="3"/>
                    <a:pt x="44" y="4"/>
                    <a:pt x="41" y="4"/>
                  </a:cubicBezTo>
                  <a:cubicBezTo>
                    <a:pt x="40" y="4"/>
                    <a:pt x="40" y="4"/>
                    <a:pt x="40" y="4"/>
                  </a:cubicBezTo>
                  <a:cubicBezTo>
                    <a:pt x="39" y="4"/>
                    <a:pt x="38" y="4"/>
                    <a:pt x="37" y="4"/>
                  </a:cubicBezTo>
                  <a:cubicBezTo>
                    <a:pt x="36" y="4"/>
                    <a:pt x="35" y="4"/>
                    <a:pt x="34" y="4"/>
                  </a:cubicBezTo>
                  <a:cubicBezTo>
                    <a:pt x="33" y="4"/>
                    <a:pt x="32" y="3"/>
                    <a:pt x="32" y="3"/>
                  </a:cubicBezTo>
                  <a:cubicBezTo>
                    <a:pt x="29" y="4"/>
                    <a:pt x="28" y="8"/>
                    <a:pt x="26" y="11"/>
                  </a:cubicBezTo>
                  <a:cubicBezTo>
                    <a:pt x="25" y="14"/>
                    <a:pt x="25" y="14"/>
                    <a:pt x="25" y="14"/>
                  </a:cubicBezTo>
                  <a:cubicBezTo>
                    <a:pt x="23" y="13"/>
                    <a:pt x="23" y="13"/>
                    <a:pt x="23" y="13"/>
                  </a:cubicBezTo>
                  <a:cubicBezTo>
                    <a:pt x="23" y="17"/>
                    <a:pt x="23" y="19"/>
                    <a:pt x="21" y="22"/>
                  </a:cubicBezTo>
                  <a:cubicBezTo>
                    <a:pt x="19" y="25"/>
                    <a:pt x="17" y="27"/>
                    <a:pt x="15" y="30"/>
                  </a:cubicBezTo>
                  <a:cubicBezTo>
                    <a:pt x="13" y="33"/>
                    <a:pt x="11" y="37"/>
                    <a:pt x="8" y="39"/>
                  </a:cubicBezTo>
                  <a:cubicBezTo>
                    <a:pt x="6" y="41"/>
                    <a:pt x="2" y="42"/>
                    <a:pt x="0" y="43"/>
                  </a:cubicBezTo>
                  <a:cubicBezTo>
                    <a:pt x="0" y="44"/>
                    <a:pt x="1" y="44"/>
                    <a:pt x="2" y="45"/>
                  </a:cubicBezTo>
                  <a:cubicBezTo>
                    <a:pt x="2" y="44"/>
                    <a:pt x="2" y="43"/>
                    <a:pt x="3" y="43"/>
                  </a:cubicBezTo>
                  <a:cubicBezTo>
                    <a:pt x="4" y="43"/>
                    <a:pt x="5" y="44"/>
                    <a:pt x="6" y="44"/>
                  </a:cubicBezTo>
                  <a:cubicBezTo>
                    <a:pt x="10" y="46"/>
                    <a:pt x="12" y="50"/>
                    <a:pt x="14" y="54"/>
                  </a:cubicBezTo>
                  <a:cubicBezTo>
                    <a:pt x="16" y="58"/>
                    <a:pt x="17" y="60"/>
                    <a:pt x="18" y="65"/>
                  </a:cubicBezTo>
                  <a:cubicBezTo>
                    <a:pt x="18" y="63"/>
                    <a:pt x="17" y="61"/>
                    <a:pt x="20" y="61"/>
                  </a:cubicBezTo>
                  <a:cubicBezTo>
                    <a:pt x="20" y="61"/>
                    <a:pt x="20" y="61"/>
                    <a:pt x="20" y="61"/>
                  </a:cubicBezTo>
                  <a:cubicBezTo>
                    <a:pt x="19" y="62"/>
                    <a:pt x="17" y="64"/>
                    <a:pt x="19" y="65"/>
                  </a:cubicBezTo>
                  <a:cubicBezTo>
                    <a:pt x="19" y="66"/>
                    <a:pt x="19" y="66"/>
                    <a:pt x="20" y="66"/>
                  </a:cubicBezTo>
                  <a:cubicBezTo>
                    <a:pt x="20" y="66"/>
                    <a:pt x="20" y="65"/>
                    <a:pt x="21" y="65"/>
                  </a:cubicBezTo>
                  <a:cubicBezTo>
                    <a:pt x="21" y="66"/>
                    <a:pt x="21" y="67"/>
                    <a:pt x="21" y="68"/>
                  </a:cubicBezTo>
                  <a:cubicBezTo>
                    <a:pt x="22" y="68"/>
                    <a:pt x="22" y="68"/>
                    <a:pt x="22" y="68"/>
                  </a:cubicBezTo>
                  <a:cubicBezTo>
                    <a:pt x="23" y="68"/>
                    <a:pt x="33" y="68"/>
                    <a:pt x="47" y="67"/>
                  </a:cubicBezTo>
                  <a:cubicBezTo>
                    <a:pt x="47" y="67"/>
                    <a:pt x="47" y="67"/>
                    <a:pt x="47" y="67"/>
                  </a:cubicBezTo>
                  <a:cubicBezTo>
                    <a:pt x="48" y="65"/>
                    <a:pt x="49" y="64"/>
                    <a:pt x="51" y="63"/>
                  </a:cubicBezTo>
                  <a:cubicBezTo>
                    <a:pt x="52" y="63"/>
                    <a:pt x="54" y="63"/>
                    <a:pt x="55" y="63"/>
                  </a:cubicBezTo>
                  <a:cubicBezTo>
                    <a:pt x="56" y="63"/>
                    <a:pt x="58" y="63"/>
                    <a:pt x="59" y="63"/>
                  </a:cubicBezTo>
                  <a:cubicBezTo>
                    <a:pt x="60" y="63"/>
                    <a:pt x="60" y="63"/>
                    <a:pt x="60" y="63"/>
                  </a:cubicBezTo>
                  <a:cubicBezTo>
                    <a:pt x="61" y="63"/>
                    <a:pt x="61" y="63"/>
                    <a:pt x="62" y="63"/>
                  </a:cubicBezTo>
                  <a:cubicBezTo>
                    <a:pt x="65" y="63"/>
                    <a:pt x="68" y="65"/>
                    <a:pt x="70" y="67"/>
                  </a:cubicBezTo>
                  <a:cubicBezTo>
                    <a:pt x="70" y="67"/>
                    <a:pt x="70" y="67"/>
                    <a:pt x="70" y="67"/>
                  </a:cubicBezTo>
                  <a:cubicBezTo>
                    <a:pt x="71" y="68"/>
                    <a:pt x="71" y="68"/>
                    <a:pt x="72" y="69"/>
                  </a:cubicBezTo>
                  <a:cubicBezTo>
                    <a:pt x="72" y="69"/>
                    <a:pt x="73" y="69"/>
                    <a:pt x="73" y="69"/>
                  </a:cubicBezTo>
                  <a:cubicBezTo>
                    <a:pt x="75" y="70"/>
                    <a:pt x="75" y="70"/>
                    <a:pt x="75" y="70"/>
                  </a:cubicBezTo>
                  <a:cubicBezTo>
                    <a:pt x="75" y="70"/>
                    <a:pt x="76" y="70"/>
                    <a:pt x="76" y="70"/>
                  </a:cubicBezTo>
                  <a:cubicBezTo>
                    <a:pt x="77" y="70"/>
                    <a:pt x="77" y="70"/>
                    <a:pt x="77" y="70"/>
                  </a:cubicBezTo>
                  <a:cubicBezTo>
                    <a:pt x="79" y="70"/>
                    <a:pt x="79" y="70"/>
                    <a:pt x="79" y="70"/>
                  </a:cubicBezTo>
                  <a:cubicBezTo>
                    <a:pt x="79" y="70"/>
                    <a:pt x="79" y="70"/>
                    <a:pt x="80" y="70"/>
                  </a:cubicBezTo>
                  <a:cubicBezTo>
                    <a:pt x="80" y="70"/>
                    <a:pt x="81" y="70"/>
                    <a:pt x="82" y="70"/>
                  </a:cubicBezTo>
                  <a:cubicBezTo>
                    <a:pt x="83" y="70"/>
                    <a:pt x="83" y="70"/>
                    <a:pt x="84" y="70"/>
                  </a:cubicBezTo>
                  <a:cubicBezTo>
                    <a:pt x="85" y="65"/>
                    <a:pt x="85" y="65"/>
                    <a:pt x="85" y="65"/>
                  </a:cubicBezTo>
                  <a:cubicBezTo>
                    <a:pt x="85" y="70"/>
                    <a:pt x="85" y="70"/>
                    <a:pt x="85" y="70"/>
                  </a:cubicBezTo>
                  <a:cubicBezTo>
                    <a:pt x="85" y="70"/>
                    <a:pt x="85" y="70"/>
                    <a:pt x="85" y="70"/>
                  </a:cubicBezTo>
                  <a:cubicBezTo>
                    <a:pt x="88" y="64"/>
                    <a:pt x="88" y="64"/>
                    <a:pt x="88" y="64"/>
                  </a:cubicBezTo>
                  <a:cubicBezTo>
                    <a:pt x="87" y="70"/>
                    <a:pt x="87" y="70"/>
                    <a:pt x="87" y="70"/>
                  </a:cubicBezTo>
                  <a:cubicBezTo>
                    <a:pt x="88" y="71"/>
                    <a:pt x="88" y="71"/>
                    <a:pt x="88" y="71"/>
                  </a:cubicBezTo>
                  <a:cubicBezTo>
                    <a:pt x="89" y="72"/>
                    <a:pt x="89" y="73"/>
                    <a:pt x="90" y="74"/>
                  </a:cubicBezTo>
                  <a:cubicBezTo>
                    <a:pt x="90" y="74"/>
                    <a:pt x="90" y="74"/>
                    <a:pt x="90" y="74"/>
                  </a:cubicBezTo>
                  <a:cubicBezTo>
                    <a:pt x="90" y="75"/>
                    <a:pt x="90" y="76"/>
                    <a:pt x="89" y="77"/>
                  </a:cubicBezTo>
                  <a:cubicBezTo>
                    <a:pt x="89" y="78"/>
                    <a:pt x="89" y="78"/>
                    <a:pt x="88" y="79"/>
                  </a:cubicBezTo>
                  <a:cubicBezTo>
                    <a:pt x="88" y="79"/>
                    <a:pt x="88" y="79"/>
                    <a:pt x="88" y="79"/>
                  </a:cubicBezTo>
                  <a:cubicBezTo>
                    <a:pt x="88" y="79"/>
                    <a:pt x="88" y="79"/>
                    <a:pt x="88" y="79"/>
                  </a:cubicBezTo>
                  <a:cubicBezTo>
                    <a:pt x="87" y="80"/>
                    <a:pt x="87" y="80"/>
                    <a:pt x="86" y="80"/>
                  </a:cubicBezTo>
                  <a:cubicBezTo>
                    <a:pt x="86" y="80"/>
                    <a:pt x="85" y="80"/>
                    <a:pt x="85" y="80"/>
                  </a:cubicBezTo>
                  <a:cubicBezTo>
                    <a:pt x="83" y="81"/>
                    <a:pt x="83" y="81"/>
                    <a:pt x="83" y="81"/>
                  </a:cubicBezTo>
                  <a:cubicBezTo>
                    <a:pt x="81" y="82"/>
                    <a:pt x="79" y="82"/>
                    <a:pt x="76" y="82"/>
                  </a:cubicBezTo>
                  <a:cubicBezTo>
                    <a:pt x="75" y="82"/>
                    <a:pt x="74" y="82"/>
                    <a:pt x="73" y="82"/>
                  </a:cubicBezTo>
                  <a:cubicBezTo>
                    <a:pt x="70" y="81"/>
                    <a:pt x="67" y="80"/>
                    <a:pt x="65" y="78"/>
                  </a:cubicBezTo>
                  <a:cubicBezTo>
                    <a:pt x="62" y="77"/>
                    <a:pt x="60" y="76"/>
                    <a:pt x="58" y="75"/>
                  </a:cubicBezTo>
                  <a:cubicBezTo>
                    <a:pt x="57" y="75"/>
                    <a:pt x="57" y="75"/>
                    <a:pt x="57" y="75"/>
                  </a:cubicBezTo>
                  <a:cubicBezTo>
                    <a:pt x="56" y="76"/>
                    <a:pt x="56" y="77"/>
                    <a:pt x="55" y="77"/>
                  </a:cubicBezTo>
                  <a:cubicBezTo>
                    <a:pt x="53" y="79"/>
                    <a:pt x="50" y="80"/>
                    <a:pt x="46" y="81"/>
                  </a:cubicBezTo>
                  <a:cubicBezTo>
                    <a:pt x="46" y="81"/>
                    <a:pt x="45" y="81"/>
                    <a:pt x="45" y="81"/>
                  </a:cubicBezTo>
                  <a:cubicBezTo>
                    <a:pt x="44" y="81"/>
                    <a:pt x="44" y="81"/>
                    <a:pt x="44" y="81"/>
                  </a:cubicBezTo>
                  <a:cubicBezTo>
                    <a:pt x="43" y="81"/>
                    <a:pt x="43" y="81"/>
                    <a:pt x="43" y="81"/>
                  </a:cubicBezTo>
                  <a:cubicBezTo>
                    <a:pt x="43" y="81"/>
                    <a:pt x="42" y="81"/>
                    <a:pt x="42" y="82"/>
                  </a:cubicBezTo>
                  <a:cubicBezTo>
                    <a:pt x="42" y="82"/>
                    <a:pt x="42" y="82"/>
                    <a:pt x="42" y="82"/>
                  </a:cubicBezTo>
                  <a:cubicBezTo>
                    <a:pt x="41" y="83"/>
                    <a:pt x="40" y="84"/>
                    <a:pt x="38" y="84"/>
                  </a:cubicBezTo>
                  <a:cubicBezTo>
                    <a:pt x="22" y="86"/>
                    <a:pt x="22" y="86"/>
                    <a:pt x="22" y="86"/>
                  </a:cubicBezTo>
                  <a:cubicBezTo>
                    <a:pt x="21" y="86"/>
                    <a:pt x="19" y="86"/>
                    <a:pt x="18" y="86"/>
                  </a:cubicBezTo>
                  <a:cubicBezTo>
                    <a:pt x="18" y="86"/>
                    <a:pt x="18" y="86"/>
                    <a:pt x="18" y="86"/>
                  </a:cubicBezTo>
                  <a:cubicBezTo>
                    <a:pt x="18" y="89"/>
                    <a:pt x="18" y="92"/>
                    <a:pt x="18" y="95"/>
                  </a:cubicBezTo>
                  <a:cubicBezTo>
                    <a:pt x="20" y="95"/>
                    <a:pt x="20" y="93"/>
                    <a:pt x="22" y="93"/>
                  </a:cubicBezTo>
                  <a:cubicBezTo>
                    <a:pt x="22" y="93"/>
                    <a:pt x="23" y="93"/>
                    <a:pt x="23" y="94"/>
                  </a:cubicBezTo>
                  <a:cubicBezTo>
                    <a:pt x="23" y="94"/>
                    <a:pt x="23" y="94"/>
                    <a:pt x="23" y="94"/>
                  </a:cubicBezTo>
                  <a:cubicBezTo>
                    <a:pt x="21" y="94"/>
                    <a:pt x="17" y="96"/>
                    <a:pt x="17" y="98"/>
                  </a:cubicBezTo>
                  <a:cubicBezTo>
                    <a:pt x="17" y="98"/>
                    <a:pt x="17" y="98"/>
                    <a:pt x="17" y="98"/>
                  </a:cubicBezTo>
                  <a:cubicBezTo>
                    <a:pt x="18" y="98"/>
                    <a:pt x="18" y="98"/>
                    <a:pt x="18" y="98"/>
                  </a:cubicBezTo>
                  <a:cubicBezTo>
                    <a:pt x="34" y="96"/>
                    <a:pt x="49" y="93"/>
                    <a:pt x="62" y="90"/>
                  </a:cubicBezTo>
                  <a:cubicBezTo>
                    <a:pt x="63" y="90"/>
                    <a:pt x="63" y="90"/>
                    <a:pt x="63" y="90"/>
                  </a:cubicBezTo>
                  <a:cubicBezTo>
                    <a:pt x="65" y="89"/>
                    <a:pt x="66" y="89"/>
                    <a:pt x="68" y="89"/>
                  </a:cubicBezTo>
                  <a:cubicBezTo>
                    <a:pt x="70" y="89"/>
                    <a:pt x="72" y="89"/>
                    <a:pt x="74" y="89"/>
                  </a:cubicBezTo>
                  <a:cubicBezTo>
                    <a:pt x="76" y="90"/>
                    <a:pt x="78" y="90"/>
                    <a:pt x="79" y="90"/>
                  </a:cubicBezTo>
                  <a:cubicBezTo>
                    <a:pt x="80" y="90"/>
                    <a:pt x="80" y="90"/>
                    <a:pt x="80" y="90"/>
                  </a:cubicBezTo>
                  <a:cubicBezTo>
                    <a:pt x="81" y="90"/>
                    <a:pt x="83" y="90"/>
                    <a:pt x="85" y="90"/>
                  </a:cubicBezTo>
                  <a:cubicBezTo>
                    <a:pt x="86" y="89"/>
                    <a:pt x="86" y="89"/>
                    <a:pt x="86" y="89"/>
                  </a:cubicBezTo>
                  <a:cubicBezTo>
                    <a:pt x="86" y="89"/>
                    <a:pt x="86" y="89"/>
                    <a:pt x="86" y="89"/>
                  </a:cubicBezTo>
                  <a:cubicBezTo>
                    <a:pt x="90" y="89"/>
                    <a:pt x="90" y="89"/>
                    <a:pt x="90" y="89"/>
                  </a:cubicBezTo>
                  <a:cubicBezTo>
                    <a:pt x="95" y="89"/>
                    <a:pt x="98" y="90"/>
                    <a:pt x="100" y="91"/>
                  </a:cubicBezTo>
                  <a:cubicBezTo>
                    <a:pt x="101" y="91"/>
                    <a:pt x="101" y="91"/>
                    <a:pt x="102" y="91"/>
                  </a:cubicBezTo>
                  <a:cubicBezTo>
                    <a:pt x="102" y="92"/>
                    <a:pt x="102" y="92"/>
                    <a:pt x="102" y="92"/>
                  </a:cubicBezTo>
                  <a:cubicBezTo>
                    <a:pt x="103" y="92"/>
                    <a:pt x="103" y="92"/>
                    <a:pt x="103" y="92"/>
                  </a:cubicBezTo>
                  <a:cubicBezTo>
                    <a:pt x="104" y="92"/>
                    <a:pt x="106" y="93"/>
                    <a:pt x="107" y="94"/>
                  </a:cubicBezTo>
                  <a:cubicBezTo>
                    <a:pt x="110" y="95"/>
                    <a:pt x="113" y="96"/>
                    <a:pt x="116" y="97"/>
                  </a:cubicBezTo>
                  <a:cubicBezTo>
                    <a:pt x="117" y="97"/>
                    <a:pt x="117" y="97"/>
                    <a:pt x="118" y="97"/>
                  </a:cubicBezTo>
                  <a:cubicBezTo>
                    <a:pt x="121" y="97"/>
                    <a:pt x="124" y="97"/>
                    <a:pt x="127" y="97"/>
                  </a:cubicBezTo>
                  <a:cubicBezTo>
                    <a:pt x="132" y="97"/>
                    <a:pt x="132" y="97"/>
                    <a:pt x="132" y="97"/>
                  </a:cubicBezTo>
                  <a:cubicBezTo>
                    <a:pt x="134" y="96"/>
                    <a:pt x="137" y="96"/>
                    <a:pt x="139" y="96"/>
                  </a:cubicBezTo>
                  <a:cubicBezTo>
                    <a:pt x="142" y="96"/>
                    <a:pt x="142" y="96"/>
                    <a:pt x="142" y="96"/>
                  </a:cubicBezTo>
                  <a:cubicBezTo>
                    <a:pt x="142" y="94"/>
                    <a:pt x="142" y="91"/>
                    <a:pt x="141" y="87"/>
                  </a:cubicBezTo>
                  <a:cubicBezTo>
                    <a:pt x="141" y="84"/>
                    <a:pt x="140" y="81"/>
                    <a:pt x="138" y="79"/>
                  </a:cubicBezTo>
                  <a:cubicBezTo>
                    <a:pt x="138" y="82"/>
                    <a:pt x="138" y="82"/>
                    <a:pt x="138" y="82"/>
                  </a:cubicBezTo>
                  <a:cubicBezTo>
                    <a:pt x="134" y="79"/>
                    <a:pt x="134" y="79"/>
                    <a:pt x="134" y="79"/>
                  </a:cubicBezTo>
                  <a:cubicBezTo>
                    <a:pt x="131" y="76"/>
                    <a:pt x="128" y="73"/>
                    <a:pt x="126" y="70"/>
                  </a:cubicBezTo>
                  <a:cubicBezTo>
                    <a:pt x="123" y="66"/>
                    <a:pt x="123" y="66"/>
                    <a:pt x="123" y="66"/>
                  </a:cubicBezTo>
                  <a:cubicBezTo>
                    <a:pt x="127" y="65"/>
                    <a:pt x="127" y="65"/>
                    <a:pt x="127" y="65"/>
                  </a:cubicBezTo>
                  <a:cubicBezTo>
                    <a:pt x="121" y="44"/>
                    <a:pt x="121" y="44"/>
                    <a:pt x="121" y="44"/>
                  </a:cubicBezTo>
                  <a:cubicBezTo>
                    <a:pt x="121" y="44"/>
                    <a:pt x="121" y="44"/>
                    <a:pt x="121" y="44"/>
                  </a:cubicBezTo>
                  <a:cubicBezTo>
                    <a:pt x="115" y="40"/>
                    <a:pt x="115" y="40"/>
                    <a:pt x="115" y="40"/>
                  </a:cubicBezTo>
                  <a:cubicBezTo>
                    <a:pt x="116" y="40"/>
                    <a:pt x="116" y="40"/>
                    <a:pt x="116" y="40"/>
                  </a:cubicBezTo>
                  <a:cubicBezTo>
                    <a:pt x="116" y="40"/>
                    <a:pt x="116" y="40"/>
                    <a:pt x="116" y="40"/>
                  </a:cubicBezTo>
                  <a:cubicBezTo>
                    <a:pt x="115" y="40"/>
                    <a:pt x="115" y="39"/>
                    <a:pt x="114" y="39"/>
                  </a:cubicBezTo>
                  <a:cubicBezTo>
                    <a:pt x="114" y="38"/>
                    <a:pt x="113" y="38"/>
                    <a:pt x="113" y="37"/>
                  </a:cubicBezTo>
                  <a:cubicBezTo>
                    <a:pt x="112" y="37"/>
                    <a:pt x="112" y="37"/>
                    <a:pt x="112" y="37"/>
                  </a:cubicBezTo>
                  <a:cubicBezTo>
                    <a:pt x="112" y="37"/>
                    <a:pt x="112" y="36"/>
                    <a:pt x="111" y="36"/>
                  </a:cubicBezTo>
                  <a:cubicBezTo>
                    <a:pt x="110" y="35"/>
                    <a:pt x="109" y="34"/>
                    <a:pt x="108" y="32"/>
                  </a:cubicBezTo>
                  <a:cubicBezTo>
                    <a:pt x="108" y="32"/>
                    <a:pt x="108" y="32"/>
                    <a:pt x="108" y="32"/>
                  </a:cubicBezTo>
                  <a:cubicBezTo>
                    <a:pt x="106" y="30"/>
                    <a:pt x="105" y="28"/>
                    <a:pt x="102" y="26"/>
                  </a:cubicBezTo>
                  <a:cubicBezTo>
                    <a:pt x="101" y="25"/>
                    <a:pt x="99" y="25"/>
                    <a:pt x="98" y="23"/>
                  </a:cubicBezTo>
                  <a:cubicBezTo>
                    <a:pt x="97" y="22"/>
                    <a:pt x="96" y="19"/>
                    <a:pt x="96" y="17"/>
                  </a:cubicBezTo>
                  <a:cubicBezTo>
                    <a:pt x="96" y="16"/>
                    <a:pt x="96" y="16"/>
                    <a:pt x="96" y="16"/>
                  </a:cubicBezTo>
                  <a:cubicBezTo>
                    <a:pt x="96" y="16"/>
                    <a:pt x="95" y="15"/>
                    <a:pt x="95" y="15"/>
                  </a:cubicBezTo>
                  <a:cubicBezTo>
                    <a:pt x="95" y="14"/>
                    <a:pt x="94" y="13"/>
                    <a:pt x="93" y="12"/>
                  </a:cubicBezTo>
                  <a:cubicBezTo>
                    <a:pt x="92" y="18"/>
                    <a:pt x="92" y="18"/>
                    <a:pt x="92" y="18"/>
                  </a:cubicBezTo>
                  <a:cubicBezTo>
                    <a:pt x="92" y="12"/>
                    <a:pt x="92" y="12"/>
                    <a:pt x="92" y="12"/>
                  </a:cubicBezTo>
                  <a:cubicBezTo>
                    <a:pt x="90" y="12"/>
                    <a:pt x="90" y="12"/>
                    <a:pt x="90" y="12"/>
                  </a:cubicBezTo>
                  <a:cubicBezTo>
                    <a:pt x="90" y="12"/>
                    <a:pt x="90" y="12"/>
                    <a:pt x="90" y="12"/>
                  </a:cubicBezTo>
                  <a:cubicBezTo>
                    <a:pt x="89" y="12"/>
                    <a:pt x="88" y="12"/>
                    <a:pt x="87" y="12"/>
                  </a:cubicBezTo>
                  <a:cubicBezTo>
                    <a:pt x="87" y="12"/>
                    <a:pt x="87" y="12"/>
                    <a:pt x="87" y="12"/>
                  </a:cubicBezTo>
                  <a:cubicBezTo>
                    <a:pt x="86" y="12"/>
                    <a:pt x="86" y="12"/>
                    <a:pt x="85" y="12"/>
                  </a:cubicBezTo>
                  <a:cubicBezTo>
                    <a:pt x="85" y="11"/>
                    <a:pt x="85" y="11"/>
                    <a:pt x="85" y="11"/>
                  </a:cubicBezTo>
                  <a:cubicBezTo>
                    <a:pt x="82" y="10"/>
                    <a:pt x="82" y="8"/>
                    <a:pt x="81" y="7"/>
                  </a:cubicBezTo>
                  <a:cubicBezTo>
                    <a:pt x="81" y="6"/>
                    <a:pt x="81" y="6"/>
                    <a:pt x="81" y="6"/>
                  </a:cubicBezTo>
                  <a:cubicBezTo>
                    <a:pt x="80" y="6"/>
                    <a:pt x="79" y="5"/>
                    <a:pt x="78" y="4"/>
                  </a:cubicBezTo>
                  <a:cubicBezTo>
                    <a:pt x="77" y="4"/>
                    <a:pt x="77" y="4"/>
                    <a:pt x="77" y="4"/>
                  </a:cubicBezTo>
                  <a:cubicBezTo>
                    <a:pt x="75" y="1"/>
                    <a:pt x="74" y="0"/>
                    <a:pt x="71" y="0"/>
                  </a:cubicBezTo>
                  <a:cubicBezTo>
                    <a:pt x="69" y="0"/>
                    <a:pt x="69" y="0"/>
                    <a:pt x="69" y="0"/>
                  </a:cubicBezTo>
                  <a:cubicBezTo>
                    <a:pt x="68" y="0"/>
                    <a:pt x="67" y="0"/>
                    <a:pt x="66" y="0"/>
                  </a:cubicBezTo>
                  <a:cubicBezTo>
                    <a:pt x="64" y="0"/>
                    <a:pt x="62" y="0"/>
                    <a:pt x="60" y="0"/>
                  </a:cubicBezTo>
                  <a:cubicBezTo>
                    <a:pt x="60"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47"/>
            <p:cNvSpPr/>
            <p:nvPr/>
          </p:nvSpPr>
          <p:spPr bwMode="auto">
            <a:xfrm>
              <a:off x="2744" y="1989"/>
              <a:ext cx="135" cy="19"/>
            </a:xfrm>
            <a:custGeom>
              <a:gdLst>
                <a:gd name="T0" fmla="*/ 31 w 57"/>
                <a:gd name="T1" fmla="*/ 0 h 8"/>
                <a:gd name="T2" fmla="*/ 29 w 57"/>
                <a:gd name="T3" fmla="*/ 0 h 8"/>
                <a:gd name="T4" fmla="*/ 27 w 57"/>
                <a:gd name="T5" fmla="*/ 1 h 8"/>
                <a:gd name="T6" fmla="*/ 27 w 57"/>
                <a:gd name="T7" fmla="*/ 2 h 8"/>
                <a:gd name="T8" fmla="*/ 26 w 57"/>
                <a:gd name="T9" fmla="*/ 3 h 8"/>
                <a:gd name="T10" fmla="*/ 24 w 57"/>
                <a:gd name="T11" fmla="*/ 4 h 8"/>
                <a:gd name="T12" fmla="*/ 24 w 57"/>
                <a:gd name="T13" fmla="*/ 3 h 8"/>
                <a:gd name="T14" fmla="*/ 0 w 57"/>
                <a:gd name="T15" fmla="*/ 5 h 8"/>
                <a:gd name="T16" fmla="*/ 4 w 57"/>
                <a:gd name="T17" fmla="*/ 8 h 8"/>
                <a:gd name="T18" fmla="*/ 5 w 57"/>
                <a:gd name="T19" fmla="*/ 8 h 8"/>
                <a:gd name="T20" fmla="*/ 7 w 57"/>
                <a:gd name="T21" fmla="*/ 6 h 8"/>
                <a:gd name="T22" fmla="*/ 27 w 57"/>
                <a:gd name="T23" fmla="*/ 4 h 8"/>
                <a:gd name="T24" fmla="*/ 28 w 57"/>
                <a:gd name="T25" fmla="*/ 3 h 8"/>
                <a:gd name="T26" fmla="*/ 32 w 57"/>
                <a:gd name="T27" fmla="*/ 0 h 8"/>
                <a:gd name="T28" fmla="*/ 35 w 57"/>
                <a:gd name="T29" fmla="*/ 1 h 8"/>
                <a:gd name="T30" fmla="*/ 43 w 57"/>
                <a:gd name="T31" fmla="*/ 4 h 8"/>
                <a:gd name="T32" fmla="*/ 43 w 57"/>
                <a:gd name="T33" fmla="*/ 4 h 8"/>
                <a:gd name="T34" fmla="*/ 51 w 57"/>
                <a:gd name="T35" fmla="*/ 7 h 8"/>
                <a:gd name="T36" fmla="*/ 52 w 57"/>
                <a:gd name="T37" fmla="*/ 7 h 8"/>
                <a:gd name="T38" fmla="*/ 57 w 57"/>
                <a:gd name="T39" fmla="*/ 6 h 8"/>
                <a:gd name="T40" fmla="*/ 57 w 57"/>
                <a:gd name="T41" fmla="*/ 6 h 8"/>
                <a:gd name="T42" fmla="*/ 56 w 57"/>
                <a:gd name="T43" fmla="*/ 6 h 8"/>
                <a:gd name="T44" fmla="*/ 55 w 57"/>
                <a:gd name="T45" fmla="*/ 6 h 8"/>
                <a:gd name="T46" fmla="*/ 54 w 57"/>
                <a:gd name="T47" fmla="*/ 6 h 8"/>
                <a:gd name="T48" fmla="*/ 53 w 57"/>
                <a:gd name="T49" fmla="*/ 6 h 8"/>
                <a:gd name="T50" fmla="*/ 53 w 57"/>
                <a:gd name="T51" fmla="*/ 6 h 8"/>
                <a:gd name="T52" fmla="*/ 50 w 57"/>
                <a:gd name="T53" fmla="*/ 6 h 8"/>
                <a:gd name="T54" fmla="*/ 49 w 57"/>
                <a:gd name="T55" fmla="*/ 6 h 8"/>
                <a:gd name="T56" fmla="*/ 49 w 57"/>
                <a:gd name="T57" fmla="*/ 6 h 8"/>
                <a:gd name="T58" fmla="*/ 48 w 57"/>
                <a:gd name="T59" fmla="*/ 6 h 8"/>
                <a:gd name="T60" fmla="*/ 45 w 57"/>
                <a:gd name="T61" fmla="*/ 5 h 8"/>
                <a:gd name="T62" fmla="*/ 43 w 57"/>
                <a:gd name="T63" fmla="*/ 3 h 8"/>
                <a:gd name="T64" fmla="*/ 38 w 57"/>
                <a:gd name="T65" fmla="*/ 0 h 8"/>
                <a:gd name="T66" fmla="*/ 35 w 57"/>
                <a:gd name="T67" fmla="*/ 0 h 8"/>
                <a:gd name="T68" fmla="*/ 31 w 57"/>
                <a:gd name="T6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 h="8">
                  <a:moveTo>
                    <a:pt x="31" y="0"/>
                  </a:moveTo>
                  <a:cubicBezTo>
                    <a:pt x="30" y="0"/>
                    <a:pt x="29" y="0"/>
                    <a:pt x="29" y="0"/>
                  </a:cubicBezTo>
                  <a:cubicBezTo>
                    <a:pt x="29" y="0"/>
                    <a:pt x="28" y="1"/>
                    <a:pt x="27" y="1"/>
                  </a:cubicBezTo>
                  <a:cubicBezTo>
                    <a:pt x="27" y="2"/>
                    <a:pt x="27" y="2"/>
                    <a:pt x="27" y="2"/>
                  </a:cubicBezTo>
                  <a:cubicBezTo>
                    <a:pt x="26" y="3"/>
                    <a:pt x="26" y="3"/>
                    <a:pt x="26" y="3"/>
                  </a:cubicBezTo>
                  <a:cubicBezTo>
                    <a:pt x="24" y="4"/>
                    <a:pt x="24" y="4"/>
                    <a:pt x="24" y="4"/>
                  </a:cubicBezTo>
                  <a:cubicBezTo>
                    <a:pt x="24" y="3"/>
                    <a:pt x="24" y="3"/>
                    <a:pt x="24" y="3"/>
                  </a:cubicBezTo>
                  <a:cubicBezTo>
                    <a:pt x="13" y="4"/>
                    <a:pt x="4" y="5"/>
                    <a:pt x="0" y="5"/>
                  </a:cubicBezTo>
                  <a:cubicBezTo>
                    <a:pt x="1" y="6"/>
                    <a:pt x="2" y="8"/>
                    <a:pt x="4" y="8"/>
                  </a:cubicBezTo>
                  <a:cubicBezTo>
                    <a:pt x="4" y="8"/>
                    <a:pt x="4" y="8"/>
                    <a:pt x="5" y="8"/>
                  </a:cubicBezTo>
                  <a:cubicBezTo>
                    <a:pt x="6" y="7"/>
                    <a:pt x="6" y="6"/>
                    <a:pt x="7" y="6"/>
                  </a:cubicBezTo>
                  <a:cubicBezTo>
                    <a:pt x="13" y="4"/>
                    <a:pt x="21" y="4"/>
                    <a:pt x="27" y="4"/>
                  </a:cubicBezTo>
                  <a:cubicBezTo>
                    <a:pt x="27" y="4"/>
                    <a:pt x="28" y="3"/>
                    <a:pt x="28" y="3"/>
                  </a:cubicBezTo>
                  <a:cubicBezTo>
                    <a:pt x="29" y="1"/>
                    <a:pt x="31" y="0"/>
                    <a:pt x="32" y="0"/>
                  </a:cubicBezTo>
                  <a:cubicBezTo>
                    <a:pt x="33" y="0"/>
                    <a:pt x="34" y="1"/>
                    <a:pt x="35" y="1"/>
                  </a:cubicBezTo>
                  <a:cubicBezTo>
                    <a:pt x="38" y="2"/>
                    <a:pt x="40" y="3"/>
                    <a:pt x="43" y="4"/>
                  </a:cubicBezTo>
                  <a:cubicBezTo>
                    <a:pt x="43" y="4"/>
                    <a:pt x="43" y="4"/>
                    <a:pt x="43" y="4"/>
                  </a:cubicBezTo>
                  <a:cubicBezTo>
                    <a:pt x="46" y="5"/>
                    <a:pt x="48" y="7"/>
                    <a:pt x="51" y="7"/>
                  </a:cubicBezTo>
                  <a:cubicBezTo>
                    <a:pt x="51" y="7"/>
                    <a:pt x="52" y="7"/>
                    <a:pt x="52" y="7"/>
                  </a:cubicBezTo>
                  <a:cubicBezTo>
                    <a:pt x="54" y="7"/>
                    <a:pt x="55" y="7"/>
                    <a:pt x="57" y="6"/>
                  </a:cubicBezTo>
                  <a:cubicBezTo>
                    <a:pt x="57" y="6"/>
                    <a:pt x="57" y="6"/>
                    <a:pt x="57" y="6"/>
                  </a:cubicBezTo>
                  <a:cubicBezTo>
                    <a:pt x="57" y="6"/>
                    <a:pt x="56" y="6"/>
                    <a:pt x="56" y="6"/>
                  </a:cubicBezTo>
                  <a:cubicBezTo>
                    <a:pt x="56" y="6"/>
                    <a:pt x="55" y="6"/>
                    <a:pt x="55" y="6"/>
                  </a:cubicBezTo>
                  <a:cubicBezTo>
                    <a:pt x="55" y="6"/>
                    <a:pt x="55" y="6"/>
                    <a:pt x="54" y="6"/>
                  </a:cubicBezTo>
                  <a:cubicBezTo>
                    <a:pt x="53" y="6"/>
                    <a:pt x="53" y="6"/>
                    <a:pt x="53" y="6"/>
                  </a:cubicBezTo>
                  <a:cubicBezTo>
                    <a:pt x="53" y="6"/>
                    <a:pt x="53" y="6"/>
                    <a:pt x="53" y="6"/>
                  </a:cubicBezTo>
                  <a:cubicBezTo>
                    <a:pt x="52" y="6"/>
                    <a:pt x="51" y="6"/>
                    <a:pt x="50" y="6"/>
                  </a:cubicBezTo>
                  <a:cubicBezTo>
                    <a:pt x="49" y="6"/>
                    <a:pt x="49" y="6"/>
                    <a:pt x="49" y="6"/>
                  </a:cubicBezTo>
                  <a:cubicBezTo>
                    <a:pt x="49" y="6"/>
                    <a:pt x="49" y="6"/>
                    <a:pt x="49" y="6"/>
                  </a:cubicBezTo>
                  <a:cubicBezTo>
                    <a:pt x="48" y="6"/>
                    <a:pt x="48" y="6"/>
                    <a:pt x="48" y="6"/>
                  </a:cubicBezTo>
                  <a:cubicBezTo>
                    <a:pt x="47" y="6"/>
                    <a:pt x="46" y="5"/>
                    <a:pt x="45" y="5"/>
                  </a:cubicBezTo>
                  <a:cubicBezTo>
                    <a:pt x="44" y="4"/>
                    <a:pt x="43" y="4"/>
                    <a:pt x="43" y="3"/>
                  </a:cubicBezTo>
                  <a:cubicBezTo>
                    <a:pt x="41" y="2"/>
                    <a:pt x="39" y="0"/>
                    <a:pt x="38" y="0"/>
                  </a:cubicBezTo>
                  <a:cubicBezTo>
                    <a:pt x="37" y="0"/>
                    <a:pt x="36" y="0"/>
                    <a:pt x="35" y="0"/>
                  </a:cubicBezTo>
                  <a:cubicBezTo>
                    <a:pt x="34" y="0"/>
                    <a:pt x="32"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248"/>
            <p:cNvSpPr/>
            <p:nvPr/>
          </p:nvSpPr>
          <p:spPr bwMode="auto">
            <a:xfrm>
              <a:off x="2725" y="1999"/>
              <a:ext cx="83" cy="16"/>
            </a:xfrm>
            <a:custGeom>
              <a:gdLst>
                <a:gd name="T0" fmla="*/ 35 w 35"/>
                <a:gd name="T1" fmla="*/ 0 h 7"/>
                <a:gd name="T2" fmla="*/ 19 w 35"/>
                <a:gd name="T3" fmla="*/ 2 h 7"/>
                <a:gd name="T4" fmla="*/ 16 w 35"/>
                <a:gd name="T5" fmla="*/ 5 h 7"/>
                <a:gd name="T6" fmla="*/ 11 w 35"/>
                <a:gd name="T7" fmla="*/ 6 h 7"/>
                <a:gd name="T8" fmla="*/ 6 w 35"/>
                <a:gd name="T9" fmla="*/ 4 h 7"/>
                <a:gd name="T10" fmla="*/ 4 w 35"/>
                <a:gd name="T11" fmla="*/ 1 h 7"/>
                <a:gd name="T12" fmla="*/ 2 w 35"/>
                <a:gd name="T13" fmla="*/ 1 h 7"/>
                <a:gd name="T14" fmla="*/ 1 w 35"/>
                <a:gd name="T15" fmla="*/ 7 h 7"/>
                <a:gd name="T16" fmla="*/ 1 w 35"/>
                <a:gd name="T17" fmla="*/ 7 h 7"/>
                <a:gd name="T18" fmla="*/ 2 w 35"/>
                <a:gd name="T19" fmla="*/ 7 h 7"/>
                <a:gd name="T20" fmla="*/ 6 w 35"/>
                <a:gd name="T21" fmla="*/ 7 h 7"/>
                <a:gd name="T22" fmla="*/ 21 w 35"/>
                <a:gd name="T23" fmla="*/ 5 h 7"/>
                <a:gd name="T24" fmla="*/ 21 w 35"/>
                <a:gd name="T25" fmla="*/ 5 h 7"/>
                <a:gd name="T26" fmla="*/ 22 w 35"/>
                <a:gd name="T27" fmla="*/ 4 h 7"/>
                <a:gd name="T28" fmla="*/ 24 w 35"/>
                <a:gd name="T29" fmla="*/ 3 h 7"/>
                <a:gd name="T30" fmla="*/ 26 w 35"/>
                <a:gd name="T31" fmla="*/ 2 h 7"/>
                <a:gd name="T32" fmla="*/ 27 w 35"/>
                <a:gd name="T33" fmla="*/ 2 h 7"/>
                <a:gd name="T34" fmla="*/ 27 w 35"/>
                <a:gd name="T35" fmla="*/ 2 h 7"/>
                <a:gd name="T36" fmla="*/ 30 w 35"/>
                <a:gd name="T37" fmla="*/ 2 h 7"/>
                <a:gd name="T38" fmla="*/ 35 w 35"/>
                <a:gd name="T39" fmla="*/ 1 h 7"/>
                <a:gd name="T40" fmla="*/ 35 w 35"/>
                <a:gd name="T4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7">
                  <a:moveTo>
                    <a:pt x="35" y="0"/>
                  </a:moveTo>
                  <a:cubicBezTo>
                    <a:pt x="30" y="1"/>
                    <a:pt x="25" y="1"/>
                    <a:pt x="19" y="2"/>
                  </a:cubicBezTo>
                  <a:cubicBezTo>
                    <a:pt x="17" y="2"/>
                    <a:pt x="13" y="2"/>
                    <a:pt x="16" y="5"/>
                  </a:cubicBezTo>
                  <a:cubicBezTo>
                    <a:pt x="14" y="6"/>
                    <a:pt x="12" y="6"/>
                    <a:pt x="11" y="6"/>
                  </a:cubicBezTo>
                  <a:cubicBezTo>
                    <a:pt x="9" y="6"/>
                    <a:pt x="8" y="6"/>
                    <a:pt x="6" y="4"/>
                  </a:cubicBezTo>
                  <a:cubicBezTo>
                    <a:pt x="5" y="3"/>
                    <a:pt x="5" y="1"/>
                    <a:pt x="4" y="1"/>
                  </a:cubicBezTo>
                  <a:cubicBezTo>
                    <a:pt x="3" y="1"/>
                    <a:pt x="3" y="1"/>
                    <a:pt x="2" y="1"/>
                  </a:cubicBezTo>
                  <a:cubicBezTo>
                    <a:pt x="0" y="3"/>
                    <a:pt x="1" y="4"/>
                    <a:pt x="1" y="7"/>
                  </a:cubicBezTo>
                  <a:cubicBezTo>
                    <a:pt x="1" y="7"/>
                    <a:pt x="1" y="7"/>
                    <a:pt x="1" y="7"/>
                  </a:cubicBezTo>
                  <a:cubicBezTo>
                    <a:pt x="2" y="7"/>
                    <a:pt x="2" y="7"/>
                    <a:pt x="2" y="7"/>
                  </a:cubicBezTo>
                  <a:cubicBezTo>
                    <a:pt x="3" y="7"/>
                    <a:pt x="5" y="7"/>
                    <a:pt x="6" y="7"/>
                  </a:cubicBezTo>
                  <a:cubicBezTo>
                    <a:pt x="21" y="5"/>
                    <a:pt x="21" y="5"/>
                    <a:pt x="21" y="5"/>
                  </a:cubicBezTo>
                  <a:cubicBezTo>
                    <a:pt x="21" y="5"/>
                    <a:pt x="21" y="5"/>
                    <a:pt x="21" y="5"/>
                  </a:cubicBezTo>
                  <a:cubicBezTo>
                    <a:pt x="22" y="4"/>
                    <a:pt x="22" y="4"/>
                    <a:pt x="22" y="4"/>
                  </a:cubicBezTo>
                  <a:cubicBezTo>
                    <a:pt x="22" y="4"/>
                    <a:pt x="23" y="3"/>
                    <a:pt x="24" y="3"/>
                  </a:cubicBezTo>
                  <a:cubicBezTo>
                    <a:pt x="25" y="3"/>
                    <a:pt x="26" y="3"/>
                    <a:pt x="26" y="2"/>
                  </a:cubicBezTo>
                  <a:cubicBezTo>
                    <a:pt x="27" y="2"/>
                    <a:pt x="27" y="2"/>
                    <a:pt x="27" y="2"/>
                  </a:cubicBezTo>
                  <a:cubicBezTo>
                    <a:pt x="27" y="2"/>
                    <a:pt x="27" y="2"/>
                    <a:pt x="27" y="2"/>
                  </a:cubicBezTo>
                  <a:cubicBezTo>
                    <a:pt x="28" y="2"/>
                    <a:pt x="29" y="2"/>
                    <a:pt x="30" y="2"/>
                  </a:cubicBezTo>
                  <a:cubicBezTo>
                    <a:pt x="34" y="1"/>
                    <a:pt x="35" y="1"/>
                    <a:pt x="35" y="1"/>
                  </a:cubicBezTo>
                  <a:cubicBezTo>
                    <a:pt x="35" y="0"/>
                    <a:pt x="35"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49"/>
            <p:cNvSpPr/>
            <p:nvPr/>
          </p:nvSpPr>
          <p:spPr bwMode="auto">
            <a:xfrm>
              <a:off x="3146" y="153"/>
              <a:ext cx="699" cy="508"/>
            </a:xfrm>
            <a:custGeom>
              <a:gdLst>
                <a:gd name="T0" fmla="*/ 25 w 296"/>
                <a:gd name="T1" fmla="*/ 8 h 215"/>
                <a:gd name="T2" fmla="*/ 15 w 296"/>
                <a:gd name="T3" fmla="*/ 13 h 215"/>
                <a:gd name="T4" fmla="*/ 4 w 296"/>
                <a:gd name="T5" fmla="*/ 17 h 215"/>
                <a:gd name="T6" fmla="*/ 0 w 296"/>
                <a:gd name="T7" fmla="*/ 23 h 215"/>
                <a:gd name="T8" fmla="*/ 10 w 296"/>
                <a:gd name="T9" fmla="*/ 37 h 215"/>
                <a:gd name="T10" fmla="*/ 14 w 296"/>
                <a:gd name="T11" fmla="*/ 38 h 215"/>
                <a:gd name="T12" fmla="*/ 10 w 296"/>
                <a:gd name="T13" fmla="*/ 47 h 215"/>
                <a:gd name="T14" fmla="*/ 25 w 296"/>
                <a:gd name="T15" fmla="*/ 43 h 215"/>
                <a:gd name="T16" fmla="*/ 33 w 296"/>
                <a:gd name="T17" fmla="*/ 50 h 215"/>
                <a:gd name="T18" fmla="*/ 44 w 296"/>
                <a:gd name="T19" fmla="*/ 51 h 215"/>
                <a:gd name="T20" fmla="*/ 55 w 296"/>
                <a:gd name="T21" fmla="*/ 49 h 215"/>
                <a:gd name="T22" fmla="*/ 59 w 296"/>
                <a:gd name="T23" fmla="*/ 49 h 215"/>
                <a:gd name="T24" fmla="*/ 68 w 296"/>
                <a:gd name="T25" fmla="*/ 54 h 215"/>
                <a:gd name="T26" fmla="*/ 71 w 296"/>
                <a:gd name="T27" fmla="*/ 58 h 215"/>
                <a:gd name="T28" fmla="*/ 64 w 296"/>
                <a:gd name="T29" fmla="*/ 75 h 215"/>
                <a:gd name="T30" fmla="*/ 59 w 296"/>
                <a:gd name="T31" fmla="*/ 81 h 215"/>
                <a:gd name="T32" fmla="*/ 60 w 296"/>
                <a:gd name="T33" fmla="*/ 99 h 215"/>
                <a:gd name="T34" fmla="*/ 48 w 296"/>
                <a:gd name="T35" fmla="*/ 121 h 215"/>
                <a:gd name="T36" fmla="*/ 52 w 296"/>
                <a:gd name="T37" fmla="*/ 127 h 215"/>
                <a:gd name="T38" fmla="*/ 53 w 296"/>
                <a:gd name="T39" fmla="*/ 140 h 215"/>
                <a:gd name="T40" fmla="*/ 49 w 296"/>
                <a:gd name="T41" fmla="*/ 148 h 215"/>
                <a:gd name="T42" fmla="*/ 58 w 296"/>
                <a:gd name="T43" fmla="*/ 152 h 215"/>
                <a:gd name="T44" fmla="*/ 50 w 296"/>
                <a:gd name="T45" fmla="*/ 164 h 215"/>
                <a:gd name="T46" fmla="*/ 52 w 296"/>
                <a:gd name="T47" fmla="*/ 182 h 215"/>
                <a:gd name="T48" fmla="*/ 62 w 296"/>
                <a:gd name="T49" fmla="*/ 189 h 215"/>
                <a:gd name="T50" fmla="*/ 71 w 296"/>
                <a:gd name="T51" fmla="*/ 191 h 215"/>
                <a:gd name="T52" fmla="*/ 86 w 296"/>
                <a:gd name="T53" fmla="*/ 215 h 215"/>
                <a:gd name="T54" fmla="*/ 97 w 296"/>
                <a:gd name="T55" fmla="*/ 206 h 215"/>
                <a:gd name="T56" fmla="*/ 127 w 296"/>
                <a:gd name="T57" fmla="*/ 196 h 215"/>
                <a:gd name="T58" fmla="*/ 154 w 296"/>
                <a:gd name="T59" fmla="*/ 197 h 215"/>
                <a:gd name="T60" fmla="*/ 173 w 296"/>
                <a:gd name="T61" fmla="*/ 189 h 215"/>
                <a:gd name="T62" fmla="*/ 196 w 296"/>
                <a:gd name="T63" fmla="*/ 173 h 215"/>
                <a:gd name="T64" fmla="*/ 202 w 296"/>
                <a:gd name="T65" fmla="*/ 162 h 215"/>
                <a:gd name="T66" fmla="*/ 236 w 296"/>
                <a:gd name="T67" fmla="*/ 84 h 215"/>
                <a:gd name="T68" fmla="*/ 263 w 296"/>
                <a:gd name="T69" fmla="*/ 68 h 215"/>
                <a:gd name="T70" fmla="*/ 292 w 296"/>
                <a:gd name="T71" fmla="*/ 46 h 215"/>
                <a:gd name="T72" fmla="*/ 292 w 296"/>
                <a:gd name="T73" fmla="*/ 41 h 215"/>
                <a:gd name="T74" fmla="*/ 275 w 296"/>
                <a:gd name="T75" fmla="*/ 43 h 215"/>
                <a:gd name="T76" fmla="*/ 257 w 296"/>
                <a:gd name="T77" fmla="*/ 36 h 215"/>
                <a:gd name="T78" fmla="*/ 237 w 296"/>
                <a:gd name="T79" fmla="*/ 30 h 215"/>
                <a:gd name="T80" fmla="*/ 223 w 296"/>
                <a:gd name="T81" fmla="*/ 34 h 215"/>
                <a:gd name="T82" fmla="*/ 212 w 296"/>
                <a:gd name="T83" fmla="*/ 31 h 215"/>
                <a:gd name="T84" fmla="*/ 202 w 296"/>
                <a:gd name="T85" fmla="*/ 28 h 215"/>
                <a:gd name="T86" fmla="*/ 190 w 296"/>
                <a:gd name="T87" fmla="*/ 24 h 215"/>
                <a:gd name="T88" fmla="*/ 183 w 296"/>
                <a:gd name="T89" fmla="*/ 16 h 215"/>
                <a:gd name="T90" fmla="*/ 174 w 296"/>
                <a:gd name="T91" fmla="*/ 13 h 215"/>
                <a:gd name="T92" fmla="*/ 161 w 296"/>
                <a:gd name="T93" fmla="*/ 13 h 215"/>
                <a:gd name="T94" fmla="*/ 136 w 296"/>
                <a:gd name="T95" fmla="*/ 8 h 215"/>
                <a:gd name="T96" fmla="*/ 100 w 296"/>
                <a:gd name="T97" fmla="*/ 8 h 215"/>
                <a:gd name="T98" fmla="*/ 62 w 296"/>
                <a:gd name="T99" fmla="*/ 6 h 215"/>
                <a:gd name="T100" fmla="*/ 34 w 296"/>
                <a:gd name="T101" fmla="*/ 2 h 2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6" h="215">
                  <a:moveTo>
                    <a:pt x="33" y="0"/>
                  </a:moveTo>
                  <a:cubicBezTo>
                    <a:pt x="30" y="1"/>
                    <a:pt x="28" y="2"/>
                    <a:pt x="26" y="4"/>
                  </a:cubicBezTo>
                  <a:cubicBezTo>
                    <a:pt x="25" y="5"/>
                    <a:pt x="24" y="6"/>
                    <a:pt x="23" y="6"/>
                  </a:cubicBezTo>
                  <a:cubicBezTo>
                    <a:pt x="23" y="6"/>
                    <a:pt x="23" y="6"/>
                    <a:pt x="23" y="6"/>
                  </a:cubicBezTo>
                  <a:cubicBezTo>
                    <a:pt x="23" y="7"/>
                    <a:pt x="24" y="8"/>
                    <a:pt x="25" y="8"/>
                  </a:cubicBezTo>
                  <a:cubicBezTo>
                    <a:pt x="25" y="8"/>
                    <a:pt x="26" y="8"/>
                    <a:pt x="26" y="7"/>
                  </a:cubicBezTo>
                  <a:cubicBezTo>
                    <a:pt x="26" y="8"/>
                    <a:pt x="26" y="9"/>
                    <a:pt x="26" y="10"/>
                  </a:cubicBezTo>
                  <a:cubicBezTo>
                    <a:pt x="24" y="11"/>
                    <a:pt x="22" y="10"/>
                    <a:pt x="21" y="12"/>
                  </a:cubicBezTo>
                  <a:cubicBezTo>
                    <a:pt x="21" y="11"/>
                    <a:pt x="21" y="11"/>
                    <a:pt x="21" y="11"/>
                  </a:cubicBezTo>
                  <a:cubicBezTo>
                    <a:pt x="19" y="11"/>
                    <a:pt x="17" y="13"/>
                    <a:pt x="15" y="13"/>
                  </a:cubicBezTo>
                  <a:cubicBezTo>
                    <a:pt x="15" y="13"/>
                    <a:pt x="15" y="13"/>
                    <a:pt x="14" y="13"/>
                  </a:cubicBezTo>
                  <a:cubicBezTo>
                    <a:pt x="13" y="13"/>
                    <a:pt x="12" y="13"/>
                    <a:pt x="11" y="12"/>
                  </a:cubicBezTo>
                  <a:cubicBezTo>
                    <a:pt x="11" y="12"/>
                    <a:pt x="11" y="12"/>
                    <a:pt x="10" y="12"/>
                  </a:cubicBezTo>
                  <a:cubicBezTo>
                    <a:pt x="8" y="12"/>
                    <a:pt x="7" y="15"/>
                    <a:pt x="5" y="17"/>
                  </a:cubicBezTo>
                  <a:cubicBezTo>
                    <a:pt x="5" y="17"/>
                    <a:pt x="4" y="17"/>
                    <a:pt x="4" y="17"/>
                  </a:cubicBezTo>
                  <a:cubicBezTo>
                    <a:pt x="4" y="17"/>
                    <a:pt x="4" y="17"/>
                    <a:pt x="4" y="17"/>
                  </a:cubicBezTo>
                  <a:cubicBezTo>
                    <a:pt x="4" y="17"/>
                    <a:pt x="3" y="16"/>
                    <a:pt x="3" y="16"/>
                  </a:cubicBezTo>
                  <a:cubicBezTo>
                    <a:pt x="3" y="16"/>
                    <a:pt x="3" y="17"/>
                    <a:pt x="2" y="17"/>
                  </a:cubicBezTo>
                  <a:cubicBezTo>
                    <a:pt x="1" y="18"/>
                    <a:pt x="1" y="20"/>
                    <a:pt x="0" y="20"/>
                  </a:cubicBezTo>
                  <a:cubicBezTo>
                    <a:pt x="0" y="22"/>
                    <a:pt x="0" y="23"/>
                    <a:pt x="0" y="23"/>
                  </a:cubicBezTo>
                  <a:cubicBezTo>
                    <a:pt x="0" y="25"/>
                    <a:pt x="2" y="26"/>
                    <a:pt x="3" y="28"/>
                  </a:cubicBezTo>
                  <a:cubicBezTo>
                    <a:pt x="6" y="31"/>
                    <a:pt x="6" y="31"/>
                    <a:pt x="5" y="34"/>
                  </a:cubicBezTo>
                  <a:cubicBezTo>
                    <a:pt x="5" y="34"/>
                    <a:pt x="5" y="34"/>
                    <a:pt x="5" y="34"/>
                  </a:cubicBezTo>
                  <a:cubicBezTo>
                    <a:pt x="8" y="34"/>
                    <a:pt x="11" y="32"/>
                    <a:pt x="13" y="30"/>
                  </a:cubicBezTo>
                  <a:cubicBezTo>
                    <a:pt x="12" y="32"/>
                    <a:pt x="11" y="36"/>
                    <a:pt x="10" y="37"/>
                  </a:cubicBezTo>
                  <a:cubicBezTo>
                    <a:pt x="10" y="37"/>
                    <a:pt x="9" y="36"/>
                    <a:pt x="9" y="36"/>
                  </a:cubicBezTo>
                  <a:cubicBezTo>
                    <a:pt x="9" y="36"/>
                    <a:pt x="9" y="36"/>
                    <a:pt x="8" y="37"/>
                  </a:cubicBezTo>
                  <a:cubicBezTo>
                    <a:pt x="9" y="38"/>
                    <a:pt x="10" y="39"/>
                    <a:pt x="11" y="39"/>
                  </a:cubicBezTo>
                  <a:cubicBezTo>
                    <a:pt x="11" y="39"/>
                    <a:pt x="12" y="38"/>
                    <a:pt x="12" y="38"/>
                  </a:cubicBezTo>
                  <a:cubicBezTo>
                    <a:pt x="13" y="38"/>
                    <a:pt x="13" y="38"/>
                    <a:pt x="14" y="38"/>
                  </a:cubicBezTo>
                  <a:cubicBezTo>
                    <a:pt x="14" y="38"/>
                    <a:pt x="14" y="38"/>
                    <a:pt x="14" y="38"/>
                  </a:cubicBezTo>
                  <a:cubicBezTo>
                    <a:pt x="13" y="40"/>
                    <a:pt x="11" y="41"/>
                    <a:pt x="10" y="42"/>
                  </a:cubicBezTo>
                  <a:cubicBezTo>
                    <a:pt x="10" y="43"/>
                    <a:pt x="10" y="43"/>
                    <a:pt x="11" y="43"/>
                  </a:cubicBezTo>
                  <a:cubicBezTo>
                    <a:pt x="12" y="43"/>
                    <a:pt x="14" y="42"/>
                    <a:pt x="14" y="42"/>
                  </a:cubicBezTo>
                  <a:cubicBezTo>
                    <a:pt x="13" y="44"/>
                    <a:pt x="11" y="45"/>
                    <a:pt x="10" y="47"/>
                  </a:cubicBezTo>
                  <a:cubicBezTo>
                    <a:pt x="9" y="48"/>
                    <a:pt x="9" y="49"/>
                    <a:pt x="9" y="51"/>
                  </a:cubicBezTo>
                  <a:cubicBezTo>
                    <a:pt x="12" y="49"/>
                    <a:pt x="16" y="46"/>
                    <a:pt x="18" y="46"/>
                  </a:cubicBezTo>
                  <a:cubicBezTo>
                    <a:pt x="20" y="45"/>
                    <a:pt x="21" y="45"/>
                    <a:pt x="22" y="45"/>
                  </a:cubicBezTo>
                  <a:cubicBezTo>
                    <a:pt x="22" y="45"/>
                    <a:pt x="22" y="45"/>
                    <a:pt x="22" y="45"/>
                  </a:cubicBezTo>
                  <a:cubicBezTo>
                    <a:pt x="23" y="44"/>
                    <a:pt x="24" y="44"/>
                    <a:pt x="25" y="43"/>
                  </a:cubicBezTo>
                  <a:cubicBezTo>
                    <a:pt x="27" y="43"/>
                    <a:pt x="27" y="43"/>
                    <a:pt x="27" y="43"/>
                  </a:cubicBezTo>
                  <a:cubicBezTo>
                    <a:pt x="28" y="45"/>
                    <a:pt x="28" y="45"/>
                    <a:pt x="28" y="45"/>
                  </a:cubicBezTo>
                  <a:cubicBezTo>
                    <a:pt x="29" y="46"/>
                    <a:pt x="31" y="47"/>
                    <a:pt x="30" y="50"/>
                  </a:cubicBezTo>
                  <a:cubicBezTo>
                    <a:pt x="30" y="50"/>
                    <a:pt x="30" y="50"/>
                    <a:pt x="30" y="50"/>
                  </a:cubicBezTo>
                  <a:cubicBezTo>
                    <a:pt x="31" y="50"/>
                    <a:pt x="32" y="50"/>
                    <a:pt x="33" y="50"/>
                  </a:cubicBezTo>
                  <a:cubicBezTo>
                    <a:pt x="34" y="50"/>
                    <a:pt x="36" y="50"/>
                    <a:pt x="37" y="51"/>
                  </a:cubicBezTo>
                  <a:cubicBezTo>
                    <a:pt x="38" y="51"/>
                    <a:pt x="38" y="51"/>
                    <a:pt x="38" y="51"/>
                  </a:cubicBezTo>
                  <a:cubicBezTo>
                    <a:pt x="39" y="52"/>
                    <a:pt x="39" y="52"/>
                    <a:pt x="40" y="52"/>
                  </a:cubicBezTo>
                  <a:cubicBezTo>
                    <a:pt x="40" y="52"/>
                    <a:pt x="40" y="52"/>
                    <a:pt x="40" y="52"/>
                  </a:cubicBezTo>
                  <a:cubicBezTo>
                    <a:pt x="41" y="52"/>
                    <a:pt x="42" y="52"/>
                    <a:pt x="44" y="51"/>
                  </a:cubicBezTo>
                  <a:cubicBezTo>
                    <a:pt x="45" y="51"/>
                    <a:pt x="46" y="51"/>
                    <a:pt x="47" y="51"/>
                  </a:cubicBezTo>
                  <a:cubicBezTo>
                    <a:pt x="47" y="51"/>
                    <a:pt x="47" y="51"/>
                    <a:pt x="47" y="51"/>
                  </a:cubicBezTo>
                  <a:cubicBezTo>
                    <a:pt x="49" y="50"/>
                    <a:pt x="49" y="50"/>
                    <a:pt x="51" y="49"/>
                  </a:cubicBezTo>
                  <a:cubicBezTo>
                    <a:pt x="52" y="49"/>
                    <a:pt x="53" y="49"/>
                    <a:pt x="53" y="49"/>
                  </a:cubicBezTo>
                  <a:cubicBezTo>
                    <a:pt x="54" y="49"/>
                    <a:pt x="55" y="49"/>
                    <a:pt x="55" y="49"/>
                  </a:cubicBezTo>
                  <a:cubicBezTo>
                    <a:pt x="55" y="49"/>
                    <a:pt x="55" y="49"/>
                    <a:pt x="55" y="49"/>
                  </a:cubicBezTo>
                  <a:cubicBezTo>
                    <a:pt x="56" y="49"/>
                    <a:pt x="56" y="49"/>
                    <a:pt x="56" y="49"/>
                  </a:cubicBezTo>
                  <a:cubicBezTo>
                    <a:pt x="56" y="49"/>
                    <a:pt x="56" y="49"/>
                    <a:pt x="57" y="49"/>
                  </a:cubicBezTo>
                  <a:cubicBezTo>
                    <a:pt x="57" y="49"/>
                    <a:pt x="58" y="49"/>
                    <a:pt x="59" y="49"/>
                  </a:cubicBezTo>
                  <a:cubicBezTo>
                    <a:pt x="59" y="49"/>
                    <a:pt x="59" y="49"/>
                    <a:pt x="59" y="49"/>
                  </a:cubicBezTo>
                  <a:cubicBezTo>
                    <a:pt x="60" y="48"/>
                    <a:pt x="61" y="48"/>
                    <a:pt x="61" y="48"/>
                  </a:cubicBezTo>
                  <a:cubicBezTo>
                    <a:pt x="62" y="48"/>
                    <a:pt x="62" y="48"/>
                    <a:pt x="62" y="48"/>
                  </a:cubicBezTo>
                  <a:cubicBezTo>
                    <a:pt x="62" y="48"/>
                    <a:pt x="62" y="48"/>
                    <a:pt x="62" y="48"/>
                  </a:cubicBezTo>
                  <a:cubicBezTo>
                    <a:pt x="64" y="48"/>
                    <a:pt x="65" y="49"/>
                    <a:pt x="66" y="49"/>
                  </a:cubicBezTo>
                  <a:cubicBezTo>
                    <a:pt x="67" y="50"/>
                    <a:pt x="67" y="52"/>
                    <a:pt x="68" y="54"/>
                  </a:cubicBezTo>
                  <a:cubicBezTo>
                    <a:pt x="68" y="55"/>
                    <a:pt x="68" y="55"/>
                    <a:pt x="68" y="55"/>
                  </a:cubicBezTo>
                  <a:cubicBezTo>
                    <a:pt x="67" y="56"/>
                    <a:pt x="67" y="56"/>
                    <a:pt x="67" y="56"/>
                  </a:cubicBezTo>
                  <a:cubicBezTo>
                    <a:pt x="68" y="57"/>
                    <a:pt x="68" y="57"/>
                    <a:pt x="68" y="57"/>
                  </a:cubicBezTo>
                  <a:cubicBezTo>
                    <a:pt x="69" y="57"/>
                    <a:pt x="69" y="57"/>
                    <a:pt x="69" y="57"/>
                  </a:cubicBezTo>
                  <a:cubicBezTo>
                    <a:pt x="71" y="58"/>
                    <a:pt x="71" y="58"/>
                    <a:pt x="71" y="58"/>
                  </a:cubicBezTo>
                  <a:cubicBezTo>
                    <a:pt x="73" y="59"/>
                    <a:pt x="74" y="59"/>
                    <a:pt x="75" y="61"/>
                  </a:cubicBezTo>
                  <a:cubicBezTo>
                    <a:pt x="75" y="63"/>
                    <a:pt x="74" y="64"/>
                    <a:pt x="74" y="66"/>
                  </a:cubicBezTo>
                  <a:cubicBezTo>
                    <a:pt x="72" y="68"/>
                    <a:pt x="71" y="70"/>
                    <a:pt x="69" y="71"/>
                  </a:cubicBezTo>
                  <a:cubicBezTo>
                    <a:pt x="68" y="72"/>
                    <a:pt x="68" y="72"/>
                    <a:pt x="68" y="72"/>
                  </a:cubicBezTo>
                  <a:cubicBezTo>
                    <a:pt x="67" y="73"/>
                    <a:pt x="65" y="74"/>
                    <a:pt x="64" y="75"/>
                  </a:cubicBezTo>
                  <a:cubicBezTo>
                    <a:pt x="63" y="75"/>
                    <a:pt x="61" y="76"/>
                    <a:pt x="60" y="77"/>
                  </a:cubicBezTo>
                  <a:cubicBezTo>
                    <a:pt x="60" y="77"/>
                    <a:pt x="60" y="77"/>
                    <a:pt x="60" y="77"/>
                  </a:cubicBezTo>
                  <a:cubicBezTo>
                    <a:pt x="63" y="82"/>
                    <a:pt x="63" y="82"/>
                    <a:pt x="63" y="82"/>
                  </a:cubicBezTo>
                  <a:cubicBezTo>
                    <a:pt x="59" y="78"/>
                    <a:pt x="59" y="78"/>
                    <a:pt x="59" y="78"/>
                  </a:cubicBezTo>
                  <a:cubicBezTo>
                    <a:pt x="59" y="79"/>
                    <a:pt x="59" y="79"/>
                    <a:pt x="59" y="81"/>
                  </a:cubicBezTo>
                  <a:cubicBezTo>
                    <a:pt x="60" y="81"/>
                    <a:pt x="60" y="82"/>
                    <a:pt x="60" y="83"/>
                  </a:cubicBezTo>
                  <a:cubicBezTo>
                    <a:pt x="61" y="86"/>
                    <a:pt x="61" y="89"/>
                    <a:pt x="61" y="92"/>
                  </a:cubicBezTo>
                  <a:cubicBezTo>
                    <a:pt x="60" y="94"/>
                    <a:pt x="60" y="94"/>
                    <a:pt x="60" y="94"/>
                  </a:cubicBezTo>
                  <a:cubicBezTo>
                    <a:pt x="60" y="95"/>
                    <a:pt x="60" y="96"/>
                    <a:pt x="60" y="97"/>
                  </a:cubicBezTo>
                  <a:cubicBezTo>
                    <a:pt x="60" y="99"/>
                    <a:pt x="60" y="99"/>
                    <a:pt x="60" y="99"/>
                  </a:cubicBezTo>
                  <a:cubicBezTo>
                    <a:pt x="60" y="100"/>
                    <a:pt x="59" y="101"/>
                    <a:pt x="58" y="101"/>
                  </a:cubicBezTo>
                  <a:cubicBezTo>
                    <a:pt x="58" y="104"/>
                    <a:pt x="58" y="115"/>
                    <a:pt x="54" y="118"/>
                  </a:cubicBezTo>
                  <a:cubicBezTo>
                    <a:pt x="53" y="119"/>
                    <a:pt x="51" y="119"/>
                    <a:pt x="49" y="119"/>
                  </a:cubicBezTo>
                  <a:cubicBezTo>
                    <a:pt x="48" y="119"/>
                    <a:pt x="47" y="119"/>
                    <a:pt x="46" y="119"/>
                  </a:cubicBezTo>
                  <a:cubicBezTo>
                    <a:pt x="48" y="121"/>
                    <a:pt x="48" y="121"/>
                    <a:pt x="48" y="121"/>
                  </a:cubicBezTo>
                  <a:cubicBezTo>
                    <a:pt x="48" y="122"/>
                    <a:pt x="48" y="123"/>
                    <a:pt x="49" y="123"/>
                  </a:cubicBezTo>
                  <a:cubicBezTo>
                    <a:pt x="50" y="124"/>
                    <a:pt x="50" y="125"/>
                    <a:pt x="50" y="126"/>
                  </a:cubicBezTo>
                  <a:cubicBezTo>
                    <a:pt x="51" y="127"/>
                    <a:pt x="51" y="127"/>
                    <a:pt x="51" y="127"/>
                  </a:cubicBezTo>
                  <a:cubicBezTo>
                    <a:pt x="51" y="127"/>
                    <a:pt x="51" y="127"/>
                    <a:pt x="51" y="127"/>
                  </a:cubicBezTo>
                  <a:cubicBezTo>
                    <a:pt x="51" y="127"/>
                    <a:pt x="51" y="127"/>
                    <a:pt x="52" y="127"/>
                  </a:cubicBezTo>
                  <a:cubicBezTo>
                    <a:pt x="54" y="128"/>
                    <a:pt x="56" y="129"/>
                    <a:pt x="57" y="132"/>
                  </a:cubicBezTo>
                  <a:cubicBezTo>
                    <a:pt x="57" y="133"/>
                    <a:pt x="57" y="133"/>
                    <a:pt x="57" y="134"/>
                  </a:cubicBezTo>
                  <a:cubicBezTo>
                    <a:pt x="57" y="135"/>
                    <a:pt x="56" y="136"/>
                    <a:pt x="56" y="137"/>
                  </a:cubicBezTo>
                  <a:cubicBezTo>
                    <a:pt x="55" y="138"/>
                    <a:pt x="54" y="139"/>
                    <a:pt x="54" y="140"/>
                  </a:cubicBezTo>
                  <a:cubicBezTo>
                    <a:pt x="53" y="140"/>
                    <a:pt x="53" y="140"/>
                    <a:pt x="53" y="140"/>
                  </a:cubicBezTo>
                  <a:cubicBezTo>
                    <a:pt x="53" y="140"/>
                    <a:pt x="53" y="140"/>
                    <a:pt x="53" y="140"/>
                  </a:cubicBezTo>
                  <a:cubicBezTo>
                    <a:pt x="52" y="141"/>
                    <a:pt x="52" y="141"/>
                    <a:pt x="52" y="141"/>
                  </a:cubicBezTo>
                  <a:cubicBezTo>
                    <a:pt x="52" y="141"/>
                    <a:pt x="52" y="141"/>
                    <a:pt x="52" y="141"/>
                  </a:cubicBezTo>
                  <a:cubicBezTo>
                    <a:pt x="51" y="143"/>
                    <a:pt x="50" y="144"/>
                    <a:pt x="50" y="146"/>
                  </a:cubicBezTo>
                  <a:cubicBezTo>
                    <a:pt x="50" y="147"/>
                    <a:pt x="49" y="147"/>
                    <a:pt x="49" y="148"/>
                  </a:cubicBezTo>
                  <a:cubicBezTo>
                    <a:pt x="49" y="148"/>
                    <a:pt x="50" y="149"/>
                    <a:pt x="51" y="151"/>
                  </a:cubicBezTo>
                  <a:cubicBezTo>
                    <a:pt x="52" y="151"/>
                    <a:pt x="52" y="152"/>
                    <a:pt x="52" y="152"/>
                  </a:cubicBezTo>
                  <a:cubicBezTo>
                    <a:pt x="53" y="153"/>
                    <a:pt x="53" y="153"/>
                    <a:pt x="53" y="153"/>
                  </a:cubicBezTo>
                  <a:cubicBezTo>
                    <a:pt x="54" y="153"/>
                    <a:pt x="54" y="153"/>
                    <a:pt x="54" y="153"/>
                  </a:cubicBezTo>
                  <a:cubicBezTo>
                    <a:pt x="58" y="152"/>
                    <a:pt x="58" y="152"/>
                    <a:pt x="58" y="152"/>
                  </a:cubicBezTo>
                  <a:cubicBezTo>
                    <a:pt x="58" y="156"/>
                    <a:pt x="58" y="156"/>
                    <a:pt x="58" y="156"/>
                  </a:cubicBezTo>
                  <a:cubicBezTo>
                    <a:pt x="58" y="157"/>
                    <a:pt x="57" y="158"/>
                    <a:pt x="57" y="159"/>
                  </a:cubicBezTo>
                  <a:cubicBezTo>
                    <a:pt x="56" y="160"/>
                    <a:pt x="56" y="160"/>
                    <a:pt x="56" y="160"/>
                  </a:cubicBezTo>
                  <a:cubicBezTo>
                    <a:pt x="55" y="161"/>
                    <a:pt x="53" y="162"/>
                    <a:pt x="51" y="163"/>
                  </a:cubicBezTo>
                  <a:cubicBezTo>
                    <a:pt x="51" y="163"/>
                    <a:pt x="50" y="164"/>
                    <a:pt x="50" y="164"/>
                  </a:cubicBezTo>
                  <a:cubicBezTo>
                    <a:pt x="49" y="164"/>
                    <a:pt x="47" y="167"/>
                    <a:pt x="46" y="169"/>
                  </a:cubicBezTo>
                  <a:cubicBezTo>
                    <a:pt x="45" y="172"/>
                    <a:pt x="44" y="174"/>
                    <a:pt x="45" y="175"/>
                  </a:cubicBezTo>
                  <a:cubicBezTo>
                    <a:pt x="45" y="176"/>
                    <a:pt x="46" y="180"/>
                    <a:pt x="46" y="180"/>
                  </a:cubicBezTo>
                  <a:cubicBezTo>
                    <a:pt x="46" y="182"/>
                    <a:pt x="46" y="182"/>
                    <a:pt x="46" y="182"/>
                  </a:cubicBezTo>
                  <a:cubicBezTo>
                    <a:pt x="48" y="182"/>
                    <a:pt x="50" y="182"/>
                    <a:pt x="52" y="182"/>
                  </a:cubicBezTo>
                  <a:cubicBezTo>
                    <a:pt x="52" y="182"/>
                    <a:pt x="53" y="182"/>
                    <a:pt x="53" y="182"/>
                  </a:cubicBezTo>
                  <a:cubicBezTo>
                    <a:pt x="54" y="182"/>
                    <a:pt x="55" y="182"/>
                    <a:pt x="54" y="181"/>
                  </a:cubicBezTo>
                  <a:cubicBezTo>
                    <a:pt x="54" y="181"/>
                    <a:pt x="54" y="181"/>
                    <a:pt x="54" y="181"/>
                  </a:cubicBezTo>
                  <a:cubicBezTo>
                    <a:pt x="55" y="181"/>
                    <a:pt x="56" y="181"/>
                    <a:pt x="56" y="181"/>
                  </a:cubicBezTo>
                  <a:cubicBezTo>
                    <a:pt x="54" y="184"/>
                    <a:pt x="60" y="187"/>
                    <a:pt x="62" y="189"/>
                  </a:cubicBezTo>
                  <a:cubicBezTo>
                    <a:pt x="64" y="190"/>
                    <a:pt x="65" y="192"/>
                    <a:pt x="67" y="193"/>
                  </a:cubicBezTo>
                  <a:cubicBezTo>
                    <a:pt x="67" y="193"/>
                    <a:pt x="67" y="193"/>
                    <a:pt x="68" y="193"/>
                  </a:cubicBezTo>
                  <a:cubicBezTo>
                    <a:pt x="68" y="193"/>
                    <a:pt x="68" y="192"/>
                    <a:pt x="69" y="192"/>
                  </a:cubicBezTo>
                  <a:cubicBezTo>
                    <a:pt x="69" y="192"/>
                    <a:pt x="70" y="191"/>
                    <a:pt x="70" y="191"/>
                  </a:cubicBezTo>
                  <a:cubicBezTo>
                    <a:pt x="71" y="191"/>
                    <a:pt x="71" y="191"/>
                    <a:pt x="71" y="191"/>
                  </a:cubicBezTo>
                  <a:cubicBezTo>
                    <a:pt x="70" y="191"/>
                    <a:pt x="68" y="194"/>
                    <a:pt x="68" y="195"/>
                  </a:cubicBezTo>
                  <a:cubicBezTo>
                    <a:pt x="68" y="195"/>
                    <a:pt x="67" y="195"/>
                    <a:pt x="67" y="196"/>
                  </a:cubicBezTo>
                  <a:cubicBezTo>
                    <a:pt x="67" y="197"/>
                    <a:pt x="69" y="200"/>
                    <a:pt x="70" y="201"/>
                  </a:cubicBezTo>
                  <a:cubicBezTo>
                    <a:pt x="74" y="207"/>
                    <a:pt x="78" y="214"/>
                    <a:pt x="86" y="215"/>
                  </a:cubicBezTo>
                  <a:cubicBezTo>
                    <a:pt x="86" y="215"/>
                    <a:pt x="86" y="215"/>
                    <a:pt x="86" y="215"/>
                  </a:cubicBezTo>
                  <a:cubicBezTo>
                    <a:pt x="88" y="215"/>
                    <a:pt x="91" y="213"/>
                    <a:pt x="93" y="211"/>
                  </a:cubicBezTo>
                  <a:cubicBezTo>
                    <a:pt x="93" y="212"/>
                    <a:pt x="93" y="212"/>
                    <a:pt x="93" y="212"/>
                  </a:cubicBezTo>
                  <a:cubicBezTo>
                    <a:pt x="93" y="211"/>
                    <a:pt x="93" y="211"/>
                    <a:pt x="93" y="211"/>
                  </a:cubicBezTo>
                  <a:cubicBezTo>
                    <a:pt x="93" y="211"/>
                    <a:pt x="93" y="211"/>
                    <a:pt x="93" y="211"/>
                  </a:cubicBezTo>
                  <a:cubicBezTo>
                    <a:pt x="95" y="209"/>
                    <a:pt x="94" y="207"/>
                    <a:pt x="97" y="206"/>
                  </a:cubicBezTo>
                  <a:cubicBezTo>
                    <a:pt x="101" y="204"/>
                    <a:pt x="104" y="202"/>
                    <a:pt x="108" y="201"/>
                  </a:cubicBezTo>
                  <a:cubicBezTo>
                    <a:pt x="110" y="200"/>
                    <a:pt x="112" y="197"/>
                    <a:pt x="114" y="196"/>
                  </a:cubicBezTo>
                  <a:cubicBezTo>
                    <a:pt x="116" y="196"/>
                    <a:pt x="118" y="195"/>
                    <a:pt x="121" y="195"/>
                  </a:cubicBezTo>
                  <a:cubicBezTo>
                    <a:pt x="122" y="195"/>
                    <a:pt x="123" y="195"/>
                    <a:pt x="124" y="195"/>
                  </a:cubicBezTo>
                  <a:cubicBezTo>
                    <a:pt x="125" y="195"/>
                    <a:pt x="126" y="196"/>
                    <a:pt x="127" y="196"/>
                  </a:cubicBezTo>
                  <a:cubicBezTo>
                    <a:pt x="128" y="196"/>
                    <a:pt x="128" y="196"/>
                    <a:pt x="128" y="196"/>
                  </a:cubicBezTo>
                  <a:cubicBezTo>
                    <a:pt x="132" y="195"/>
                    <a:pt x="136" y="195"/>
                    <a:pt x="140" y="195"/>
                  </a:cubicBezTo>
                  <a:cubicBezTo>
                    <a:pt x="142" y="195"/>
                    <a:pt x="145" y="195"/>
                    <a:pt x="147" y="195"/>
                  </a:cubicBezTo>
                  <a:cubicBezTo>
                    <a:pt x="149" y="196"/>
                    <a:pt x="151" y="197"/>
                    <a:pt x="153" y="197"/>
                  </a:cubicBezTo>
                  <a:cubicBezTo>
                    <a:pt x="153" y="197"/>
                    <a:pt x="153" y="197"/>
                    <a:pt x="154" y="197"/>
                  </a:cubicBezTo>
                  <a:cubicBezTo>
                    <a:pt x="156" y="197"/>
                    <a:pt x="159" y="195"/>
                    <a:pt x="162" y="194"/>
                  </a:cubicBezTo>
                  <a:cubicBezTo>
                    <a:pt x="163" y="194"/>
                    <a:pt x="163" y="193"/>
                    <a:pt x="164" y="193"/>
                  </a:cubicBezTo>
                  <a:cubicBezTo>
                    <a:pt x="165" y="193"/>
                    <a:pt x="164" y="194"/>
                    <a:pt x="166" y="195"/>
                  </a:cubicBezTo>
                  <a:cubicBezTo>
                    <a:pt x="166" y="195"/>
                    <a:pt x="167" y="195"/>
                    <a:pt x="167" y="195"/>
                  </a:cubicBezTo>
                  <a:cubicBezTo>
                    <a:pt x="170" y="195"/>
                    <a:pt x="171" y="191"/>
                    <a:pt x="173" y="189"/>
                  </a:cubicBezTo>
                  <a:cubicBezTo>
                    <a:pt x="175" y="185"/>
                    <a:pt x="177" y="182"/>
                    <a:pt x="180" y="178"/>
                  </a:cubicBezTo>
                  <a:cubicBezTo>
                    <a:pt x="181" y="177"/>
                    <a:pt x="187" y="176"/>
                    <a:pt x="189" y="175"/>
                  </a:cubicBezTo>
                  <a:cubicBezTo>
                    <a:pt x="191" y="174"/>
                    <a:pt x="193" y="173"/>
                    <a:pt x="195" y="173"/>
                  </a:cubicBezTo>
                  <a:cubicBezTo>
                    <a:pt x="195" y="173"/>
                    <a:pt x="195" y="173"/>
                    <a:pt x="195" y="173"/>
                  </a:cubicBezTo>
                  <a:cubicBezTo>
                    <a:pt x="195" y="173"/>
                    <a:pt x="195" y="173"/>
                    <a:pt x="196" y="173"/>
                  </a:cubicBezTo>
                  <a:cubicBezTo>
                    <a:pt x="196" y="173"/>
                    <a:pt x="196" y="173"/>
                    <a:pt x="196" y="173"/>
                  </a:cubicBezTo>
                  <a:cubicBezTo>
                    <a:pt x="196" y="173"/>
                    <a:pt x="196" y="173"/>
                    <a:pt x="196" y="173"/>
                  </a:cubicBezTo>
                  <a:cubicBezTo>
                    <a:pt x="198" y="173"/>
                    <a:pt x="199" y="173"/>
                    <a:pt x="201" y="172"/>
                  </a:cubicBezTo>
                  <a:cubicBezTo>
                    <a:pt x="200" y="172"/>
                    <a:pt x="198" y="170"/>
                    <a:pt x="198" y="169"/>
                  </a:cubicBezTo>
                  <a:cubicBezTo>
                    <a:pt x="199" y="167"/>
                    <a:pt x="201" y="164"/>
                    <a:pt x="202" y="162"/>
                  </a:cubicBezTo>
                  <a:cubicBezTo>
                    <a:pt x="202" y="160"/>
                    <a:pt x="203" y="158"/>
                    <a:pt x="204" y="157"/>
                  </a:cubicBezTo>
                  <a:cubicBezTo>
                    <a:pt x="208" y="149"/>
                    <a:pt x="217" y="145"/>
                    <a:pt x="224" y="141"/>
                  </a:cubicBezTo>
                  <a:cubicBezTo>
                    <a:pt x="217" y="137"/>
                    <a:pt x="212" y="132"/>
                    <a:pt x="211" y="124"/>
                  </a:cubicBezTo>
                  <a:cubicBezTo>
                    <a:pt x="210" y="118"/>
                    <a:pt x="216" y="110"/>
                    <a:pt x="220" y="106"/>
                  </a:cubicBezTo>
                  <a:cubicBezTo>
                    <a:pt x="225" y="99"/>
                    <a:pt x="232" y="92"/>
                    <a:pt x="236" y="84"/>
                  </a:cubicBezTo>
                  <a:cubicBezTo>
                    <a:pt x="235" y="84"/>
                    <a:pt x="235" y="84"/>
                    <a:pt x="235" y="84"/>
                  </a:cubicBezTo>
                  <a:cubicBezTo>
                    <a:pt x="236" y="83"/>
                    <a:pt x="238" y="79"/>
                    <a:pt x="240" y="78"/>
                  </a:cubicBezTo>
                  <a:cubicBezTo>
                    <a:pt x="245" y="75"/>
                    <a:pt x="252" y="74"/>
                    <a:pt x="257" y="73"/>
                  </a:cubicBezTo>
                  <a:cubicBezTo>
                    <a:pt x="259" y="72"/>
                    <a:pt x="261" y="71"/>
                    <a:pt x="264" y="70"/>
                  </a:cubicBezTo>
                  <a:cubicBezTo>
                    <a:pt x="263" y="69"/>
                    <a:pt x="263" y="68"/>
                    <a:pt x="263" y="68"/>
                  </a:cubicBezTo>
                  <a:cubicBezTo>
                    <a:pt x="263" y="64"/>
                    <a:pt x="266" y="61"/>
                    <a:pt x="270" y="61"/>
                  </a:cubicBezTo>
                  <a:cubicBezTo>
                    <a:pt x="272" y="61"/>
                    <a:pt x="274" y="62"/>
                    <a:pt x="275" y="64"/>
                  </a:cubicBezTo>
                  <a:cubicBezTo>
                    <a:pt x="276" y="64"/>
                    <a:pt x="276" y="64"/>
                    <a:pt x="277" y="63"/>
                  </a:cubicBezTo>
                  <a:cubicBezTo>
                    <a:pt x="281" y="61"/>
                    <a:pt x="290" y="58"/>
                    <a:pt x="293" y="54"/>
                  </a:cubicBezTo>
                  <a:cubicBezTo>
                    <a:pt x="294" y="51"/>
                    <a:pt x="292" y="49"/>
                    <a:pt x="292" y="46"/>
                  </a:cubicBezTo>
                  <a:cubicBezTo>
                    <a:pt x="292" y="43"/>
                    <a:pt x="294" y="43"/>
                    <a:pt x="296" y="41"/>
                  </a:cubicBezTo>
                  <a:cubicBezTo>
                    <a:pt x="296" y="41"/>
                    <a:pt x="295" y="40"/>
                    <a:pt x="295" y="40"/>
                  </a:cubicBezTo>
                  <a:cubicBezTo>
                    <a:pt x="295" y="40"/>
                    <a:pt x="295" y="40"/>
                    <a:pt x="295" y="40"/>
                  </a:cubicBezTo>
                  <a:cubicBezTo>
                    <a:pt x="292" y="41"/>
                    <a:pt x="292" y="41"/>
                    <a:pt x="292" y="41"/>
                  </a:cubicBezTo>
                  <a:cubicBezTo>
                    <a:pt x="292" y="41"/>
                    <a:pt x="292" y="41"/>
                    <a:pt x="292" y="41"/>
                  </a:cubicBezTo>
                  <a:cubicBezTo>
                    <a:pt x="283" y="43"/>
                    <a:pt x="283" y="43"/>
                    <a:pt x="283" y="43"/>
                  </a:cubicBezTo>
                  <a:cubicBezTo>
                    <a:pt x="282" y="43"/>
                    <a:pt x="282" y="43"/>
                    <a:pt x="281" y="43"/>
                  </a:cubicBezTo>
                  <a:cubicBezTo>
                    <a:pt x="280" y="43"/>
                    <a:pt x="280" y="43"/>
                    <a:pt x="280" y="43"/>
                  </a:cubicBezTo>
                  <a:cubicBezTo>
                    <a:pt x="280" y="43"/>
                    <a:pt x="279" y="44"/>
                    <a:pt x="278" y="44"/>
                  </a:cubicBezTo>
                  <a:cubicBezTo>
                    <a:pt x="277" y="44"/>
                    <a:pt x="276" y="43"/>
                    <a:pt x="275" y="43"/>
                  </a:cubicBezTo>
                  <a:cubicBezTo>
                    <a:pt x="271" y="43"/>
                    <a:pt x="267" y="42"/>
                    <a:pt x="264" y="41"/>
                  </a:cubicBezTo>
                  <a:cubicBezTo>
                    <a:pt x="263" y="41"/>
                    <a:pt x="263" y="41"/>
                    <a:pt x="263" y="41"/>
                  </a:cubicBezTo>
                  <a:cubicBezTo>
                    <a:pt x="262" y="41"/>
                    <a:pt x="262" y="41"/>
                    <a:pt x="262" y="41"/>
                  </a:cubicBezTo>
                  <a:cubicBezTo>
                    <a:pt x="259" y="40"/>
                    <a:pt x="258" y="39"/>
                    <a:pt x="257" y="37"/>
                  </a:cubicBezTo>
                  <a:cubicBezTo>
                    <a:pt x="257" y="36"/>
                    <a:pt x="257" y="36"/>
                    <a:pt x="257" y="36"/>
                  </a:cubicBezTo>
                  <a:cubicBezTo>
                    <a:pt x="252" y="36"/>
                    <a:pt x="248" y="34"/>
                    <a:pt x="243" y="32"/>
                  </a:cubicBezTo>
                  <a:cubicBezTo>
                    <a:pt x="243" y="32"/>
                    <a:pt x="242" y="32"/>
                    <a:pt x="241" y="31"/>
                  </a:cubicBezTo>
                  <a:cubicBezTo>
                    <a:pt x="239" y="30"/>
                    <a:pt x="239" y="30"/>
                    <a:pt x="239" y="30"/>
                  </a:cubicBezTo>
                  <a:cubicBezTo>
                    <a:pt x="238" y="30"/>
                    <a:pt x="238" y="30"/>
                    <a:pt x="237" y="29"/>
                  </a:cubicBezTo>
                  <a:cubicBezTo>
                    <a:pt x="237" y="30"/>
                    <a:pt x="237" y="30"/>
                    <a:pt x="237" y="30"/>
                  </a:cubicBezTo>
                  <a:cubicBezTo>
                    <a:pt x="237" y="31"/>
                    <a:pt x="237" y="31"/>
                    <a:pt x="237" y="31"/>
                  </a:cubicBezTo>
                  <a:cubicBezTo>
                    <a:pt x="237" y="34"/>
                    <a:pt x="237" y="34"/>
                    <a:pt x="237" y="34"/>
                  </a:cubicBezTo>
                  <a:cubicBezTo>
                    <a:pt x="234" y="34"/>
                    <a:pt x="234" y="34"/>
                    <a:pt x="234" y="34"/>
                  </a:cubicBezTo>
                  <a:cubicBezTo>
                    <a:pt x="232" y="34"/>
                    <a:pt x="231" y="34"/>
                    <a:pt x="229" y="34"/>
                  </a:cubicBezTo>
                  <a:cubicBezTo>
                    <a:pt x="227" y="34"/>
                    <a:pt x="225" y="34"/>
                    <a:pt x="223" y="34"/>
                  </a:cubicBezTo>
                  <a:cubicBezTo>
                    <a:pt x="219" y="34"/>
                    <a:pt x="219" y="34"/>
                    <a:pt x="219" y="34"/>
                  </a:cubicBezTo>
                  <a:cubicBezTo>
                    <a:pt x="219" y="34"/>
                    <a:pt x="219" y="34"/>
                    <a:pt x="218" y="34"/>
                  </a:cubicBezTo>
                  <a:cubicBezTo>
                    <a:pt x="218" y="34"/>
                    <a:pt x="218" y="34"/>
                    <a:pt x="218" y="34"/>
                  </a:cubicBezTo>
                  <a:cubicBezTo>
                    <a:pt x="216" y="33"/>
                    <a:pt x="216" y="33"/>
                    <a:pt x="215" y="33"/>
                  </a:cubicBezTo>
                  <a:cubicBezTo>
                    <a:pt x="214" y="32"/>
                    <a:pt x="213" y="31"/>
                    <a:pt x="212" y="31"/>
                  </a:cubicBezTo>
                  <a:cubicBezTo>
                    <a:pt x="212" y="30"/>
                    <a:pt x="211" y="30"/>
                    <a:pt x="211" y="30"/>
                  </a:cubicBezTo>
                  <a:cubicBezTo>
                    <a:pt x="210" y="30"/>
                    <a:pt x="210" y="30"/>
                    <a:pt x="210" y="30"/>
                  </a:cubicBezTo>
                  <a:cubicBezTo>
                    <a:pt x="210" y="30"/>
                    <a:pt x="210" y="30"/>
                    <a:pt x="209" y="30"/>
                  </a:cubicBezTo>
                  <a:cubicBezTo>
                    <a:pt x="208" y="30"/>
                    <a:pt x="207" y="30"/>
                    <a:pt x="206" y="30"/>
                  </a:cubicBezTo>
                  <a:cubicBezTo>
                    <a:pt x="204" y="30"/>
                    <a:pt x="203" y="29"/>
                    <a:pt x="202" y="28"/>
                  </a:cubicBezTo>
                  <a:cubicBezTo>
                    <a:pt x="201" y="28"/>
                    <a:pt x="201" y="27"/>
                    <a:pt x="200" y="27"/>
                  </a:cubicBezTo>
                  <a:cubicBezTo>
                    <a:pt x="199" y="26"/>
                    <a:pt x="199" y="26"/>
                    <a:pt x="199" y="26"/>
                  </a:cubicBezTo>
                  <a:cubicBezTo>
                    <a:pt x="199" y="26"/>
                    <a:pt x="199" y="26"/>
                    <a:pt x="198" y="26"/>
                  </a:cubicBezTo>
                  <a:cubicBezTo>
                    <a:pt x="197" y="26"/>
                    <a:pt x="195" y="25"/>
                    <a:pt x="193" y="25"/>
                  </a:cubicBezTo>
                  <a:cubicBezTo>
                    <a:pt x="192" y="25"/>
                    <a:pt x="191" y="25"/>
                    <a:pt x="190" y="24"/>
                  </a:cubicBezTo>
                  <a:cubicBezTo>
                    <a:pt x="190" y="24"/>
                    <a:pt x="189" y="24"/>
                    <a:pt x="189" y="24"/>
                  </a:cubicBezTo>
                  <a:cubicBezTo>
                    <a:pt x="188" y="24"/>
                    <a:pt x="188" y="24"/>
                    <a:pt x="188" y="24"/>
                  </a:cubicBezTo>
                  <a:cubicBezTo>
                    <a:pt x="187" y="24"/>
                    <a:pt x="185" y="24"/>
                    <a:pt x="184" y="23"/>
                  </a:cubicBezTo>
                  <a:cubicBezTo>
                    <a:pt x="181" y="21"/>
                    <a:pt x="182" y="18"/>
                    <a:pt x="183" y="16"/>
                  </a:cubicBezTo>
                  <a:cubicBezTo>
                    <a:pt x="183" y="16"/>
                    <a:pt x="183" y="16"/>
                    <a:pt x="183" y="16"/>
                  </a:cubicBezTo>
                  <a:cubicBezTo>
                    <a:pt x="182" y="17"/>
                    <a:pt x="182" y="17"/>
                    <a:pt x="182" y="17"/>
                  </a:cubicBezTo>
                  <a:cubicBezTo>
                    <a:pt x="181" y="17"/>
                    <a:pt x="181" y="17"/>
                    <a:pt x="181" y="17"/>
                  </a:cubicBezTo>
                  <a:cubicBezTo>
                    <a:pt x="180" y="17"/>
                    <a:pt x="180" y="17"/>
                    <a:pt x="180" y="17"/>
                  </a:cubicBezTo>
                  <a:cubicBezTo>
                    <a:pt x="177" y="16"/>
                    <a:pt x="176" y="15"/>
                    <a:pt x="174" y="14"/>
                  </a:cubicBezTo>
                  <a:cubicBezTo>
                    <a:pt x="174" y="13"/>
                    <a:pt x="174" y="13"/>
                    <a:pt x="174" y="13"/>
                  </a:cubicBezTo>
                  <a:cubicBezTo>
                    <a:pt x="175" y="12"/>
                    <a:pt x="175" y="12"/>
                    <a:pt x="175" y="12"/>
                  </a:cubicBezTo>
                  <a:cubicBezTo>
                    <a:pt x="174" y="12"/>
                    <a:pt x="174" y="11"/>
                    <a:pt x="173" y="11"/>
                  </a:cubicBezTo>
                  <a:cubicBezTo>
                    <a:pt x="171" y="11"/>
                    <a:pt x="169" y="12"/>
                    <a:pt x="168" y="12"/>
                  </a:cubicBezTo>
                  <a:cubicBezTo>
                    <a:pt x="166" y="12"/>
                    <a:pt x="164" y="13"/>
                    <a:pt x="163" y="13"/>
                  </a:cubicBezTo>
                  <a:cubicBezTo>
                    <a:pt x="162" y="13"/>
                    <a:pt x="162" y="13"/>
                    <a:pt x="161" y="13"/>
                  </a:cubicBezTo>
                  <a:cubicBezTo>
                    <a:pt x="157" y="12"/>
                    <a:pt x="155" y="10"/>
                    <a:pt x="152" y="10"/>
                  </a:cubicBezTo>
                  <a:cubicBezTo>
                    <a:pt x="151" y="10"/>
                    <a:pt x="150" y="10"/>
                    <a:pt x="149" y="10"/>
                  </a:cubicBezTo>
                  <a:cubicBezTo>
                    <a:pt x="147" y="11"/>
                    <a:pt x="146" y="11"/>
                    <a:pt x="145" y="11"/>
                  </a:cubicBezTo>
                  <a:cubicBezTo>
                    <a:pt x="143" y="11"/>
                    <a:pt x="142" y="11"/>
                    <a:pt x="139" y="9"/>
                  </a:cubicBezTo>
                  <a:cubicBezTo>
                    <a:pt x="138" y="9"/>
                    <a:pt x="137" y="8"/>
                    <a:pt x="136" y="8"/>
                  </a:cubicBezTo>
                  <a:cubicBezTo>
                    <a:pt x="135" y="8"/>
                    <a:pt x="134" y="8"/>
                    <a:pt x="133" y="8"/>
                  </a:cubicBezTo>
                  <a:cubicBezTo>
                    <a:pt x="129" y="8"/>
                    <a:pt x="126" y="9"/>
                    <a:pt x="122" y="9"/>
                  </a:cubicBezTo>
                  <a:cubicBezTo>
                    <a:pt x="120" y="9"/>
                    <a:pt x="116" y="11"/>
                    <a:pt x="113" y="11"/>
                  </a:cubicBezTo>
                  <a:cubicBezTo>
                    <a:pt x="113" y="11"/>
                    <a:pt x="112" y="11"/>
                    <a:pt x="112" y="10"/>
                  </a:cubicBezTo>
                  <a:cubicBezTo>
                    <a:pt x="108" y="10"/>
                    <a:pt x="104" y="9"/>
                    <a:pt x="100" y="8"/>
                  </a:cubicBezTo>
                  <a:cubicBezTo>
                    <a:pt x="96" y="7"/>
                    <a:pt x="91" y="6"/>
                    <a:pt x="87" y="6"/>
                  </a:cubicBezTo>
                  <a:cubicBezTo>
                    <a:pt x="83" y="5"/>
                    <a:pt x="83" y="4"/>
                    <a:pt x="81" y="3"/>
                  </a:cubicBezTo>
                  <a:cubicBezTo>
                    <a:pt x="81" y="3"/>
                    <a:pt x="80" y="3"/>
                    <a:pt x="80" y="3"/>
                  </a:cubicBezTo>
                  <a:cubicBezTo>
                    <a:pt x="79" y="3"/>
                    <a:pt x="77" y="4"/>
                    <a:pt x="76" y="4"/>
                  </a:cubicBezTo>
                  <a:cubicBezTo>
                    <a:pt x="71" y="5"/>
                    <a:pt x="66" y="6"/>
                    <a:pt x="62" y="6"/>
                  </a:cubicBezTo>
                  <a:cubicBezTo>
                    <a:pt x="60" y="7"/>
                    <a:pt x="56" y="8"/>
                    <a:pt x="54" y="8"/>
                  </a:cubicBezTo>
                  <a:cubicBezTo>
                    <a:pt x="53" y="8"/>
                    <a:pt x="53" y="8"/>
                    <a:pt x="53" y="8"/>
                  </a:cubicBezTo>
                  <a:cubicBezTo>
                    <a:pt x="49" y="7"/>
                    <a:pt x="46" y="4"/>
                    <a:pt x="43" y="2"/>
                  </a:cubicBezTo>
                  <a:cubicBezTo>
                    <a:pt x="42" y="1"/>
                    <a:pt x="41" y="1"/>
                    <a:pt x="39" y="1"/>
                  </a:cubicBezTo>
                  <a:cubicBezTo>
                    <a:pt x="38" y="1"/>
                    <a:pt x="36" y="2"/>
                    <a:pt x="34" y="2"/>
                  </a:cubicBezTo>
                  <a:cubicBezTo>
                    <a:pt x="34" y="3"/>
                    <a:pt x="34" y="3"/>
                    <a:pt x="33" y="3"/>
                  </a:cubicBezTo>
                  <a:cubicBezTo>
                    <a:pt x="32" y="3"/>
                    <a:pt x="33" y="1"/>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250"/>
            <p:cNvSpPr/>
            <p:nvPr/>
          </p:nvSpPr>
          <p:spPr bwMode="auto">
            <a:xfrm>
              <a:off x="3569" y="-27"/>
              <a:ext cx="512" cy="269"/>
            </a:xfrm>
            <a:custGeom>
              <a:gdLst>
                <a:gd name="T0" fmla="*/ 13 w 217"/>
                <a:gd name="T1" fmla="*/ 2 h 114"/>
                <a:gd name="T2" fmla="*/ 12 w 217"/>
                <a:gd name="T3" fmla="*/ 17 h 114"/>
                <a:gd name="T4" fmla="*/ 13 w 217"/>
                <a:gd name="T5" fmla="*/ 25 h 114"/>
                <a:gd name="T6" fmla="*/ 15 w 217"/>
                <a:gd name="T7" fmla="*/ 49 h 114"/>
                <a:gd name="T8" fmla="*/ 1 w 217"/>
                <a:gd name="T9" fmla="*/ 84 h 114"/>
                <a:gd name="T10" fmla="*/ 4 w 217"/>
                <a:gd name="T11" fmla="*/ 87 h 114"/>
                <a:gd name="T12" fmla="*/ 10 w 217"/>
                <a:gd name="T13" fmla="*/ 94 h 114"/>
                <a:gd name="T14" fmla="*/ 15 w 217"/>
                <a:gd name="T15" fmla="*/ 95 h 114"/>
                <a:gd name="T16" fmla="*/ 24 w 217"/>
                <a:gd name="T17" fmla="*/ 98 h 114"/>
                <a:gd name="T18" fmla="*/ 28 w 217"/>
                <a:gd name="T19" fmla="*/ 101 h 114"/>
                <a:gd name="T20" fmla="*/ 32 w 217"/>
                <a:gd name="T21" fmla="*/ 100 h 114"/>
                <a:gd name="T22" fmla="*/ 37 w 217"/>
                <a:gd name="T23" fmla="*/ 102 h 114"/>
                <a:gd name="T24" fmla="*/ 44 w 217"/>
                <a:gd name="T25" fmla="*/ 104 h 114"/>
                <a:gd name="T26" fmla="*/ 54 w 217"/>
                <a:gd name="T27" fmla="*/ 100 h 114"/>
                <a:gd name="T28" fmla="*/ 63 w 217"/>
                <a:gd name="T29" fmla="*/ 101 h 114"/>
                <a:gd name="T30" fmla="*/ 82 w 217"/>
                <a:gd name="T31" fmla="*/ 107 h 114"/>
                <a:gd name="T32" fmla="*/ 85 w 217"/>
                <a:gd name="T33" fmla="*/ 111 h 114"/>
                <a:gd name="T34" fmla="*/ 97 w 217"/>
                <a:gd name="T35" fmla="*/ 114 h 114"/>
                <a:gd name="T36" fmla="*/ 101 w 217"/>
                <a:gd name="T37" fmla="*/ 114 h 114"/>
                <a:gd name="T38" fmla="*/ 111 w 217"/>
                <a:gd name="T39" fmla="*/ 103 h 114"/>
                <a:gd name="T40" fmla="*/ 130 w 217"/>
                <a:gd name="T41" fmla="*/ 84 h 114"/>
                <a:gd name="T42" fmla="*/ 143 w 217"/>
                <a:gd name="T43" fmla="*/ 84 h 114"/>
                <a:gd name="T44" fmla="*/ 147 w 217"/>
                <a:gd name="T45" fmla="*/ 84 h 114"/>
                <a:gd name="T46" fmla="*/ 150 w 217"/>
                <a:gd name="T47" fmla="*/ 84 h 114"/>
                <a:gd name="T48" fmla="*/ 158 w 217"/>
                <a:gd name="T49" fmla="*/ 85 h 114"/>
                <a:gd name="T50" fmla="*/ 163 w 217"/>
                <a:gd name="T51" fmla="*/ 87 h 114"/>
                <a:gd name="T52" fmla="*/ 171 w 217"/>
                <a:gd name="T53" fmla="*/ 92 h 114"/>
                <a:gd name="T54" fmla="*/ 175 w 217"/>
                <a:gd name="T55" fmla="*/ 95 h 114"/>
                <a:gd name="T56" fmla="*/ 182 w 217"/>
                <a:gd name="T57" fmla="*/ 95 h 114"/>
                <a:gd name="T58" fmla="*/ 201 w 217"/>
                <a:gd name="T59" fmla="*/ 85 h 114"/>
                <a:gd name="T60" fmla="*/ 215 w 217"/>
                <a:gd name="T61" fmla="*/ 76 h 114"/>
                <a:gd name="T62" fmla="*/ 216 w 217"/>
                <a:gd name="T63" fmla="*/ 71 h 114"/>
                <a:gd name="T64" fmla="*/ 202 w 217"/>
                <a:gd name="T65" fmla="*/ 62 h 114"/>
                <a:gd name="T66" fmla="*/ 190 w 217"/>
                <a:gd name="T67" fmla="*/ 35 h 114"/>
                <a:gd name="T68" fmla="*/ 204 w 217"/>
                <a:gd name="T69" fmla="*/ 31 h 114"/>
                <a:gd name="T70" fmla="*/ 203 w 217"/>
                <a:gd name="T71" fmla="*/ 28 h 114"/>
                <a:gd name="T72" fmla="*/ 201 w 217"/>
                <a:gd name="T73" fmla="*/ 13 h 114"/>
                <a:gd name="T74" fmla="*/ 200 w 217"/>
                <a:gd name="T75" fmla="*/ 11 h 114"/>
                <a:gd name="T76" fmla="*/ 197 w 217"/>
                <a:gd name="T77" fmla="*/ 1 h 114"/>
                <a:gd name="T78" fmla="*/ 195 w 217"/>
                <a:gd name="T79" fmla="*/ 0 h 114"/>
                <a:gd name="T80" fmla="*/ 190 w 217"/>
                <a:gd name="T81" fmla="*/ 2 h 114"/>
                <a:gd name="T82" fmla="*/ 185 w 217"/>
                <a:gd name="T83" fmla="*/ 6 h 114"/>
                <a:gd name="T84" fmla="*/ 181 w 217"/>
                <a:gd name="T85" fmla="*/ 10 h 114"/>
                <a:gd name="T86" fmla="*/ 178 w 217"/>
                <a:gd name="T87" fmla="*/ 4 h 114"/>
                <a:gd name="T88" fmla="*/ 180 w 217"/>
                <a:gd name="T89" fmla="*/ 1 h 1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6" h="114">
                  <a:moveTo>
                    <a:pt x="180" y="0"/>
                  </a:moveTo>
                  <a:cubicBezTo>
                    <a:pt x="4" y="0"/>
                    <a:pt x="4" y="0"/>
                    <a:pt x="4" y="0"/>
                  </a:cubicBezTo>
                  <a:cubicBezTo>
                    <a:pt x="7" y="0"/>
                    <a:pt x="11" y="1"/>
                    <a:pt x="13" y="2"/>
                  </a:cubicBezTo>
                  <a:cubicBezTo>
                    <a:pt x="10" y="6"/>
                    <a:pt x="11" y="7"/>
                    <a:pt x="13" y="13"/>
                  </a:cubicBezTo>
                  <a:cubicBezTo>
                    <a:pt x="13" y="15"/>
                    <a:pt x="12" y="15"/>
                    <a:pt x="13" y="18"/>
                  </a:cubicBezTo>
                  <a:cubicBezTo>
                    <a:pt x="13" y="17"/>
                    <a:pt x="12" y="17"/>
                    <a:pt x="12" y="17"/>
                  </a:cubicBezTo>
                  <a:cubicBezTo>
                    <a:pt x="11" y="17"/>
                    <a:pt x="11" y="17"/>
                    <a:pt x="10" y="18"/>
                  </a:cubicBezTo>
                  <a:cubicBezTo>
                    <a:pt x="10" y="19"/>
                    <a:pt x="11" y="22"/>
                    <a:pt x="14" y="24"/>
                  </a:cubicBezTo>
                  <a:cubicBezTo>
                    <a:pt x="14" y="24"/>
                    <a:pt x="13" y="24"/>
                    <a:pt x="13" y="25"/>
                  </a:cubicBezTo>
                  <a:cubicBezTo>
                    <a:pt x="11" y="28"/>
                    <a:pt x="13" y="34"/>
                    <a:pt x="13" y="37"/>
                  </a:cubicBezTo>
                  <a:cubicBezTo>
                    <a:pt x="13" y="40"/>
                    <a:pt x="13" y="44"/>
                    <a:pt x="13" y="47"/>
                  </a:cubicBezTo>
                  <a:cubicBezTo>
                    <a:pt x="13" y="48"/>
                    <a:pt x="15" y="49"/>
                    <a:pt x="15" y="49"/>
                  </a:cubicBezTo>
                  <a:cubicBezTo>
                    <a:pt x="14" y="52"/>
                    <a:pt x="11" y="53"/>
                    <a:pt x="10" y="55"/>
                  </a:cubicBezTo>
                  <a:cubicBezTo>
                    <a:pt x="9" y="58"/>
                    <a:pt x="8" y="61"/>
                    <a:pt x="8" y="64"/>
                  </a:cubicBezTo>
                  <a:cubicBezTo>
                    <a:pt x="7" y="70"/>
                    <a:pt x="6" y="80"/>
                    <a:pt x="1" y="84"/>
                  </a:cubicBezTo>
                  <a:cubicBezTo>
                    <a:pt x="1" y="85"/>
                    <a:pt x="0" y="85"/>
                    <a:pt x="0" y="86"/>
                  </a:cubicBezTo>
                  <a:cubicBezTo>
                    <a:pt x="0" y="86"/>
                    <a:pt x="1" y="87"/>
                    <a:pt x="1" y="87"/>
                  </a:cubicBezTo>
                  <a:cubicBezTo>
                    <a:pt x="2" y="87"/>
                    <a:pt x="3" y="87"/>
                    <a:pt x="4" y="87"/>
                  </a:cubicBezTo>
                  <a:cubicBezTo>
                    <a:pt x="6" y="87"/>
                    <a:pt x="8" y="88"/>
                    <a:pt x="9" y="90"/>
                  </a:cubicBezTo>
                  <a:cubicBezTo>
                    <a:pt x="10" y="92"/>
                    <a:pt x="10" y="93"/>
                    <a:pt x="9" y="94"/>
                  </a:cubicBezTo>
                  <a:cubicBezTo>
                    <a:pt x="10" y="94"/>
                    <a:pt x="10" y="94"/>
                    <a:pt x="10" y="94"/>
                  </a:cubicBezTo>
                  <a:cubicBezTo>
                    <a:pt x="11" y="95"/>
                    <a:pt x="11" y="95"/>
                    <a:pt x="12" y="95"/>
                  </a:cubicBezTo>
                  <a:cubicBezTo>
                    <a:pt x="13" y="95"/>
                    <a:pt x="14" y="95"/>
                    <a:pt x="15" y="95"/>
                  </a:cubicBezTo>
                  <a:cubicBezTo>
                    <a:pt x="15" y="95"/>
                    <a:pt x="15" y="95"/>
                    <a:pt x="15" y="95"/>
                  </a:cubicBezTo>
                  <a:cubicBezTo>
                    <a:pt x="17" y="96"/>
                    <a:pt x="19" y="96"/>
                    <a:pt x="21" y="97"/>
                  </a:cubicBezTo>
                  <a:cubicBezTo>
                    <a:pt x="22" y="97"/>
                    <a:pt x="22" y="97"/>
                    <a:pt x="23" y="97"/>
                  </a:cubicBezTo>
                  <a:cubicBezTo>
                    <a:pt x="24" y="98"/>
                    <a:pt x="24" y="98"/>
                    <a:pt x="24" y="98"/>
                  </a:cubicBezTo>
                  <a:cubicBezTo>
                    <a:pt x="25" y="98"/>
                    <a:pt x="26" y="99"/>
                    <a:pt x="27" y="100"/>
                  </a:cubicBezTo>
                  <a:cubicBezTo>
                    <a:pt x="27" y="101"/>
                    <a:pt x="27" y="101"/>
                    <a:pt x="27" y="101"/>
                  </a:cubicBezTo>
                  <a:cubicBezTo>
                    <a:pt x="27" y="101"/>
                    <a:pt x="28" y="101"/>
                    <a:pt x="28" y="101"/>
                  </a:cubicBezTo>
                  <a:cubicBezTo>
                    <a:pt x="28" y="101"/>
                    <a:pt x="28" y="100"/>
                    <a:pt x="29" y="100"/>
                  </a:cubicBezTo>
                  <a:cubicBezTo>
                    <a:pt x="30" y="100"/>
                    <a:pt x="30" y="100"/>
                    <a:pt x="31" y="100"/>
                  </a:cubicBezTo>
                  <a:cubicBezTo>
                    <a:pt x="32" y="100"/>
                    <a:pt x="32" y="100"/>
                    <a:pt x="32" y="100"/>
                  </a:cubicBezTo>
                  <a:cubicBezTo>
                    <a:pt x="33" y="100"/>
                    <a:pt x="33" y="100"/>
                    <a:pt x="33" y="100"/>
                  </a:cubicBezTo>
                  <a:cubicBezTo>
                    <a:pt x="33" y="100"/>
                    <a:pt x="34" y="100"/>
                    <a:pt x="35" y="101"/>
                  </a:cubicBezTo>
                  <a:cubicBezTo>
                    <a:pt x="35" y="101"/>
                    <a:pt x="36" y="102"/>
                    <a:pt x="37" y="102"/>
                  </a:cubicBezTo>
                  <a:cubicBezTo>
                    <a:pt x="37" y="103"/>
                    <a:pt x="38" y="103"/>
                    <a:pt x="39" y="104"/>
                  </a:cubicBezTo>
                  <a:cubicBezTo>
                    <a:pt x="40" y="104"/>
                    <a:pt x="40" y="104"/>
                    <a:pt x="40" y="104"/>
                  </a:cubicBezTo>
                  <a:cubicBezTo>
                    <a:pt x="44" y="104"/>
                    <a:pt x="44" y="104"/>
                    <a:pt x="44" y="104"/>
                  </a:cubicBezTo>
                  <a:cubicBezTo>
                    <a:pt x="46" y="104"/>
                    <a:pt x="48" y="104"/>
                    <a:pt x="50" y="104"/>
                  </a:cubicBezTo>
                  <a:cubicBezTo>
                    <a:pt x="51" y="104"/>
                    <a:pt x="51" y="104"/>
                    <a:pt x="52" y="104"/>
                  </a:cubicBezTo>
                  <a:cubicBezTo>
                    <a:pt x="52" y="102"/>
                    <a:pt x="52" y="101"/>
                    <a:pt x="54" y="100"/>
                  </a:cubicBezTo>
                  <a:cubicBezTo>
                    <a:pt x="54" y="100"/>
                    <a:pt x="55" y="99"/>
                    <a:pt x="56" y="99"/>
                  </a:cubicBezTo>
                  <a:cubicBezTo>
                    <a:pt x="57" y="99"/>
                    <a:pt x="57" y="99"/>
                    <a:pt x="58" y="99"/>
                  </a:cubicBezTo>
                  <a:cubicBezTo>
                    <a:pt x="59" y="99"/>
                    <a:pt x="61" y="100"/>
                    <a:pt x="63" y="101"/>
                  </a:cubicBezTo>
                  <a:cubicBezTo>
                    <a:pt x="65" y="102"/>
                    <a:pt x="65" y="102"/>
                    <a:pt x="65" y="102"/>
                  </a:cubicBezTo>
                  <a:cubicBezTo>
                    <a:pt x="65" y="102"/>
                    <a:pt x="66" y="103"/>
                    <a:pt x="67" y="103"/>
                  </a:cubicBezTo>
                  <a:cubicBezTo>
                    <a:pt x="72" y="105"/>
                    <a:pt x="76" y="107"/>
                    <a:pt x="82" y="107"/>
                  </a:cubicBezTo>
                  <a:cubicBezTo>
                    <a:pt x="86" y="108"/>
                    <a:pt x="86" y="108"/>
                    <a:pt x="86" y="108"/>
                  </a:cubicBezTo>
                  <a:cubicBezTo>
                    <a:pt x="84" y="111"/>
                    <a:pt x="84" y="111"/>
                    <a:pt x="84" y="111"/>
                  </a:cubicBezTo>
                  <a:cubicBezTo>
                    <a:pt x="85" y="111"/>
                    <a:pt x="85" y="111"/>
                    <a:pt x="85" y="111"/>
                  </a:cubicBezTo>
                  <a:cubicBezTo>
                    <a:pt x="85" y="111"/>
                    <a:pt x="85" y="111"/>
                    <a:pt x="85" y="111"/>
                  </a:cubicBezTo>
                  <a:cubicBezTo>
                    <a:pt x="86" y="111"/>
                    <a:pt x="86" y="112"/>
                    <a:pt x="87" y="112"/>
                  </a:cubicBezTo>
                  <a:cubicBezTo>
                    <a:pt x="88" y="112"/>
                    <a:pt x="91" y="113"/>
                    <a:pt x="97" y="114"/>
                  </a:cubicBezTo>
                  <a:cubicBezTo>
                    <a:pt x="98" y="114"/>
                    <a:pt x="98" y="114"/>
                    <a:pt x="99" y="114"/>
                  </a:cubicBezTo>
                  <a:cubicBezTo>
                    <a:pt x="100" y="114"/>
                    <a:pt x="100" y="114"/>
                    <a:pt x="101" y="114"/>
                  </a:cubicBezTo>
                  <a:cubicBezTo>
                    <a:pt x="101" y="114"/>
                    <a:pt x="101" y="114"/>
                    <a:pt x="101" y="114"/>
                  </a:cubicBezTo>
                  <a:cubicBezTo>
                    <a:pt x="102" y="114"/>
                    <a:pt x="102" y="113"/>
                    <a:pt x="103" y="113"/>
                  </a:cubicBezTo>
                  <a:cubicBezTo>
                    <a:pt x="113" y="111"/>
                    <a:pt x="113" y="111"/>
                    <a:pt x="113" y="111"/>
                  </a:cubicBezTo>
                  <a:cubicBezTo>
                    <a:pt x="112" y="108"/>
                    <a:pt x="112" y="106"/>
                    <a:pt x="111" y="103"/>
                  </a:cubicBezTo>
                  <a:cubicBezTo>
                    <a:pt x="111" y="102"/>
                    <a:pt x="109" y="102"/>
                    <a:pt x="110" y="101"/>
                  </a:cubicBezTo>
                  <a:cubicBezTo>
                    <a:pt x="111" y="99"/>
                    <a:pt x="112" y="98"/>
                    <a:pt x="113" y="96"/>
                  </a:cubicBezTo>
                  <a:cubicBezTo>
                    <a:pt x="117" y="89"/>
                    <a:pt x="124" y="88"/>
                    <a:pt x="130" y="84"/>
                  </a:cubicBezTo>
                  <a:cubicBezTo>
                    <a:pt x="132" y="83"/>
                    <a:pt x="133" y="82"/>
                    <a:pt x="135" y="82"/>
                  </a:cubicBezTo>
                  <a:cubicBezTo>
                    <a:pt x="136" y="82"/>
                    <a:pt x="136" y="82"/>
                    <a:pt x="137" y="83"/>
                  </a:cubicBezTo>
                  <a:cubicBezTo>
                    <a:pt x="139" y="84"/>
                    <a:pt x="141" y="84"/>
                    <a:pt x="143" y="84"/>
                  </a:cubicBezTo>
                  <a:cubicBezTo>
                    <a:pt x="144" y="84"/>
                    <a:pt x="144" y="84"/>
                    <a:pt x="145" y="84"/>
                  </a:cubicBezTo>
                  <a:cubicBezTo>
                    <a:pt x="145" y="84"/>
                    <a:pt x="146" y="84"/>
                    <a:pt x="147" y="84"/>
                  </a:cubicBezTo>
                  <a:cubicBezTo>
                    <a:pt x="147" y="84"/>
                    <a:pt x="147" y="84"/>
                    <a:pt x="147" y="84"/>
                  </a:cubicBezTo>
                  <a:cubicBezTo>
                    <a:pt x="147" y="84"/>
                    <a:pt x="148" y="84"/>
                    <a:pt x="148" y="84"/>
                  </a:cubicBezTo>
                  <a:cubicBezTo>
                    <a:pt x="149" y="84"/>
                    <a:pt x="149" y="84"/>
                    <a:pt x="150" y="84"/>
                  </a:cubicBezTo>
                  <a:cubicBezTo>
                    <a:pt x="150" y="84"/>
                    <a:pt x="150" y="84"/>
                    <a:pt x="150" y="84"/>
                  </a:cubicBezTo>
                  <a:cubicBezTo>
                    <a:pt x="151" y="84"/>
                    <a:pt x="150" y="85"/>
                    <a:pt x="151" y="86"/>
                  </a:cubicBezTo>
                  <a:cubicBezTo>
                    <a:pt x="152" y="86"/>
                    <a:pt x="153" y="86"/>
                    <a:pt x="153" y="86"/>
                  </a:cubicBezTo>
                  <a:cubicBezTo>
                    <a:pt x="155" y="86"/>
                    <a:pt x="156" y="86"/>
                    <a:pt x="158" y="85"/>
                  </a:cubicBezTo>
                  <a:cubicBezTo>
                    <a:pt x="157" y="87"/>
                    <a:pt x="158" y="88"/>
                    <a:pt x="159" y="88"/>
                  </a:cubicBezTo>
                  <a:cubicBezTo>
                    <a:pt x="160" y="88"/>
                    <a:pt x="160" y="88"/>
                    <a:pt x="161" y="88"/>
                  </a:cubicBezTo>
                  <a:cubicBezTo>
                    <a:pt x="162" y="87"/>
                    <a:pt x="162" y="87"/>
                    <a:pt x="163" y="87"/>
                  </a:cubicBezTo>
                  <a:cubicBezTo>
                    <a:pt x="164" y="87"/>
                    <a:pt x="164" y="87"/>
                    <a:pt x="164" y="88"/>
                  </a:cubicBezTo>
                  <a:cubicBezTo>
                    <a:pt x="165" y="88"/>
                    <a:pt x="164" y="91"/>
                    <a:pt x="165" y="91"/>
                  </a:cubicBezTo>
                  <a:cubicBezTo>
                    <a:pt x="167" y="92"/>
                    <a:pt x="169" y="92"/>
                    <a:pt x="171" y="92"/>
                  </a:cubicBezTo>
                  <a:cubicBezTo>
                    <a:pt x="173" y="92"/>
                    <a:pt x="174" y="93"/>
                    <a:pt x="175" y="94"/>
                  </a:cubicBezTo>
                  <a:cubicBezTo>
                    <a:pt x="176" y="94"/>
                    <a:pt x="176" y="95"/>
                    <a:pt x="175" y="95"/>
                  </a:cubicBezTo>
                  <a:cubicBezTo>
                    <a:pt x="175" y="95"/>
                    <a:pt x="175" y="95"/>
                    <a:pt x="175" y="95"/>
                  </a:cubicBezTo>
                  <a:cubicBezTo>
                    <a:pt x="176" y="96"/>
                    <a:pt x="177" y="96"/>
                    <a:pt x="177" y="96"/>
                  </a:cubicBezTo>
                  <a:cubicBezTo>
                    <a:pt x="178" y="96"/>
                    <a:pt x="179" y="96"/>
                    <a:pt x="180" y="95"/>
                  </a:cubicBezTo>
                  <a:cubicBezTo>
                    <a:pt x="181" y="95"/>
                    <a:pt x="182" y="95"/>
                    <a:pt x="182" y="95"/>
                  </a:cubicBezTo>
                  <a:cubicBezTo>
                    <a:pt x="183" y="95"/>
                    <a:pt x="184" y="95"/>
                    <a:pt x="183" y="96"/>
                  </a:cubicBezTo>
                  <a:cubicBezTo>
                    <a:pt x="183" y="96"/>
                    <a:pt x="183" y="96"/>
                    <a:pt x="183" y="96"/>
                  </a:cubicBezTo>
                  <a:cubicBezTo>
                    <a:pt x="190" y="96"/>
                    <a:pt x="196" y="89"/>
                    <a:pt x="201" y="85"/>
                  </a:cubicBezTo>
                  <a:cubicBezTo>
                    <a:pt x="203" y="83"/>
                    <a:pt x="203" y="82"/>
                    <a:pt x="207" y="82"/>
                  </a:cubicBezTo>
                  <a:cubicBezTo>
                    <a:pt x="209" y="82"/>
                    <a:pt x="211" y="79"/>
                    <a:pt x="213" y="78"/>
                  </a:cubicBezTo>
                  <a:cubicBezTo>
                    <a:pt x="213" y="77"/>
                    <a:pt x="214" y="76"/>
                    <a:pt x="215" y="76"/>
                  </a:cubicBezTo>
                  <a:cubicBezTo>
                    <a:pt x="214" y="75"/>
                    <a:pt x="214" y="75"/>
                    <a:pt x="214" y="75"/>
                  </a:cubicBezTo>
                  <a:cubicBezTo>
                    <a:pt x="214" y="74"/>
                    <a:pt x="214" y="74"/>
                    <a:pt x="214" y="74"/>
                  </a:cubicBezTo>
                  <a:cubicBezTo>
                    <a:pt x="215" y="73"/>
                    <a:pt x="215" y="72"/>
                    <a:pt x="216" y="71"/>
                  </a:cubicBezTo>
                  <a:cubicBezTo>
                    <a:pt x="216" y="70"/>
                    <a:pt x="216" y="70"/>
                    <a:pt x="216" y="70"/>
                  </a:cubicBezTo>
                  <a:cubicBezTo>
                    <a:pt x="216" y="69"/>
                    <a:pt x="217" y="69"/>
                    <a:pt x="217" y="68"/>
                  </a:cubicBezTo>
                  <a:cubicBezTo>
                    <a:pt x="202" y="62"/>
                    <a:pt x="202" y="62"/>
                    <a:pt x="202" y="62"/>
                  </a:cubicBezTo>
                  <a:cubicBezTo>
                    <a:pt x="200" y="61"/>
                    <a:pt x="199" y="59"/>
                    <a:pt x="199" y="57"/>
                  </a:cubicBezTo>
                  <a:cubicBezTo>
                    <a:pt x="198" y="54"/>
                    <a:pt x="200" y="50"/>
                    <a:pt x="201" y="48"/>
                  </a:cubicBezTo>
                  <a:cubicBezTo>
                    <a:pt x="190" y="35"/>
                    <a:pt x="190" y="35"/>
                    <a:pt x="190" y="35"/>
                  </a:cubicBezTo>
                  <a:cubicBezTo>
                    <a:pt x="194" y="34"/>
                    <a:pt x="194" y="34"/>
                    <a:pt x="194" y="34"/>
                  </a:cubicBezTo>
                  <a:cubicBezTo>
                    <a:pt x="195" y="34"/>
                    <a:pt x="196" y="33"/>
                    <a:pt x="198" y="33"/>
                  </a:cubicBezTo>
                  <a:cubicBezTo>
                    <a:pt x="200" y="33"/>
                    <a:pt x="202" y="32"/>
                    <a:pt x="204" y="31"/>
                  </a:cubicBezTo>
                  <a:cubicBezTo>
                    <a:pt x="204" y="31"/>
                    <a:pt x="204" y="30"/>
                    <a:pt x="204" y="30"/>
                  </a:cubicBezTo>
                  <a:cubicBezTo>
                    <a:pt x="205" y="29"/>
                    <a:pt x="205" y="29"/>
                    <a:pt x="205" y="29"/>
                  </a:cubicBezTo>
                  <a:cubicBezTo>
                    <a:pt x="204" y="28"/>
                    <a:pt x="204" y="28"/>
                    <a:pt x="203" y="28"/>
                  </a:cubicBezTo>
                  <a:cubicBezTo>
                    <a:pt x="198" y="21"/>
                    <a:pt x="198" y="21"/>
                    <a:pt x="198" y="21"/>
                  </a:cubicBezTo>
                  <a:cubicBezTo>
                    <a:pt x="197" y="20"/>
                    <a:pt x="197" y="18"/>
                    <a:pt x="197" y="17"/>
                  </a:cubicBezTo>
                  <a:cubicBezTo>
                    <a:pt x="197" y="15"/>
                    <a:pt x="199" y="13"/>
                    <a:pt x="201" y="13"/>
                  </a:cubicBezTo>
                  <a:cubicBezTo>
                    <a:pt x="201" y="12"/>
                    <a:pt x="201" y="12"/>
                    <a:pt x="201" y="12"/>
                  </a:cubicBezTo>
                  <a:cubicBezTo>
                    <a:pt x="200" y="11"/>
                    <a:pt x="200" y="11"/>
                    <a:pt x="200" y="11"/>
                  </a:cubicBezTo>
                  <a:cubicBezTo>
                    <a:pt x="200" y="11"/>
                    <a:pt x="200" y="11"/>
                    <a:pt x="200" y="11"/>
                  </a:cubicBezTo>
                  <a:cubicBezTo>
                    <a:pt x="198" y="8"/>
                    <a:pt x="197" y="7"/>
                    <a:pt x="197" y="7"/>
                  </a:cubicBezTo>
                  <a:cubicBezTo>
                    <a:pt x="197" y="6"/>
                    <a:pt x="197" y="5"/>
                    <a:pt x="197" y="4"/>
                  </a:cubicBezTo>
                  <a:cubicBezTo>
                    <a:pt x="197" y="2"/>
                    <a:pt x="197" y="1"/>
                    <a:pt x="197" y="1"/>
                  </a:cubicBezTo>
                  <a:cubicBezTo>
                    <a:pt x="197" y="1"/>
                    <a:pt x="197" y="0"/>
                    <a:pt x="195" y="0"/>
                  </a:cubicBezTo>
                  <a:cubicBezTo>
                    <a:pt x="195" y="0"/>
                    <a:pt x="195" y="0"/>
                    <a:pt x="195" y="0"/>
                  </a:cubicBezTo>
                  <a:cubicBezTo>
                    <a:pt x="195" y="0"/>
                    <a:pt x="195" y="0"/>
                    <a:pt x="195" y="0"/>
                  </a:cubicBezTo>
                  <a:cubicBezTo>
                    <a:pt x="194" y="0"/>
                    <a:pt x="193" y="1"/>
                    <a:pt x="192" y="1"/>
                  </a:cubicBezTo>
                  <a:cubicBezTo>
                    <a:pt x="192" y="1"/>
                    <a:pt x="192" y="1"/>
                    <a:pt x="192" y="1"/>
                  </a:cubicBezTo>
                  <a:cubicBezTo>
                    <a:pt x="191" y="1"/>
                    <a:pt x="190" y="2"/>
                    <a:pt x="190" y="2"/>
                  </a:cubicBezTo>
                  <a:cubicBezTo>
                    <a:pt x="189" y="1"/>
                    <a:pt x="189" y="1"/>
                    <a:pt x="189" y="1"/>
                  </a:cubicBezTo>
                  <a:cubicBezTo>
                    <a:pt x="189" y="2"/>
                    <a:pt x="189" y="2"/>
                    <a:pt x="189" y="2"/>
                  </a:cubicBezTo>
                  <a:cubicBezTo>
                    <a:pt x="188" y="4"/>
                    <a:pt x="186" y="5"/>
                    <a:pt x="185" y="6"/>
                  </a:cubicBezTo>
                  <a:cubicBezTo>
                    <a:pt x="183" y="7"/>
                    <a:pt x="183" y="7"/>
                    <a:pt x="183" y="7"/>
                  </a:cubicBezTo>
                  <a:cubicBezTo>
                    <a:pt x="183" y="8"/>
                    <a:pt x="182" y="9"/>
                    <a:pt x="181" y="9"/>
                  </a:cubicBezTo>
                  <a:cubicBezTo>
                    <a:pt x="181" y="10"/>
                    <a:pt x="181" y="10"/>
                    <a:pt x="181" y="10"/>
                  </a:cubicBezTo>
                  <a:cubicBezTo>
                    <a:pt x="177" y="6"/>
                    <a:pt x="177" y="6"/>
                    <a:pt x="177" y="6"/>
                  </a:cubicBezTo>
                  <a:cubicBezTo>
                    <a:pt x="177" y="5"/>
                    <a:pt x="177" y="5"/>
                    <a:pt x="177" y="5"/>
                  </a:cubicBezTo>
                  <a:cubicBezTo>
                    <a:pt x="178" y="5"/>
                    <a:pt x="178" y="4"/>
                    <a:pt x="178" y="4"/>
                  </a:cubicBezTo>
                  <a:cubicBezTo>
                    <a:pt x="179" y="4"/>
                    <a:pt x="179" y="4"/>
                    <a:pt x="179" y="4"/>
                  </a:cubicBezTo>
                  <a:cubicBezTo>
                    <a:pt x="180" y="2"/>
                    <a:pt x="181" y="1"/>
                    <a:pt x="181" y="1"/>
                  </a:cubicBezTo>
                  <a:cubicBezTo>
                    <a:pt x="180" y="1"/>
                    <a:pt x="180" y="1"/>
                    <a:pt x="180" y="1"/>
                  </a:cubicBezTo>
                  <a:cubicBezTo>
                    <a:pt x="180" y="0"/>
                    <a:pt x="180" y="0"/>
                    <a:pt x="1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251"/>
            <p:cNvSpPr>
              <a:spLocks noEditPoints="1"/>
            </p:cNvSpPr>
            <p:nvPr/>
          </p:nvSpPr>
          <p:spPr bwMode="auto">
            <a:xfrm>
              <a:off x="4048" y="-27"/>
              <a:ext cx="168" cy="24"/>
            </a:xfrm>
            <a:custGeom>
              <a:gdLst>
                <a:gd name="T0" fmla="*/ 27 w 71"/>
                <a:gd name="T1" fmla="*/ 0 h 10"/>
                <a:gd name="T2" fmla="*/ 0 w 71"/>
                <a:gd name="T3" fmla="*/ 0 h 10"/>
                <a:gd name="T4" fmla="*/ 0 w 71"/>
                <a:gd name="T5" fmla="*/ 4 h 10"/>
                <a:gd name="T6" fmla="*/ 0 w 71"/>
                <a:gd name="T7" fmla="*/ 5 h 10"/>
                <a:gd name="T8" fmla="*/ 0 w 71"/>
                <a:gd name="T9" fmla="*/ 6 h 10"/>
                <a:gd name="T10" fmla="*/ 0 w 71"/>
                <a:gd name="T11" fmla="*/ 6 h 10"/>
                <a:gd name="T12" fmla="*/ 1 w 71"/>
                <a:gd name="T13" fmla="*/ 7 h 10"/>
                <a:gd name="T14" fmla="*/ 3 w 71"/>
                <a:gd name="T15" fmla="*/ 9 h 10"/>
                <a:gd name="T16" fmla="*/ 3 w 71"/>
                <a:gd name="T17" fmla="*/ 10 h 10"/>
                <a:gd name="T18" fmla="*/ 5 w 71"/>
                <a:gd name="T19" fmla="*/ 10 h 10"/>
                <a:gd name="T20" fmla="*/ 12 w 71"/>
                <a:gd name="T21" fmla="*/ 9 h 10"/>
                <a:gd name="T22" fmla="*/ 14 w 71"/>
                <a:gd name="T23" fmla="*/ 9 h 10"/>
                <a:gd name="T24" fmla="*/ 19 w 71"/>
                <a:gd name="T25" fmla="*/ 10 h 10"/>
                <a:gd name="T26" fmla="*/ 20 w 71"/>
                <a:gd name="T27" fmla="*/ 10 h 10"/>
                <a:gd name="T28" fmla="*/ 20 w 71"/>
                <a:gd name="T29" fmla="*/ 10 h 10"/>
                <a:gd name="T30" fmla="*/ 21 w 71"/>
                <a:gd name="T31" fmla="*/ 9 h 10"/>
                <a:gd name="T32" fmla="*/ 24 w 71"/>
                <a:gd name="T33" fmla="*/ 5 h 10"/>
                <a:gd name="T34" fmla="*/ 27 w 71"/>
                <a:gd name="T35" fmla="*/ 0 h 10"/>
                <a:gd name="T36" fmla="*/ 51 w 71"/>
                <a:gd name="T37" fmla="*/ 0 h 10"/>
                <a:gd name="T38" fmla="*/ 38 w 71"/>
                <a:gd name="T39" fmla="*/ 0 h 10"/>
                <a:gd name="T40" fmla="*/ 38 w 71"/>
                <a:gd name="T41" fmla="*/ 0 h 10"/>
                <a:gd name="T42" fmla="*/ 38 w 71"/>
                <a:gd name="T43" fmla="*/ 2 h 10"/>
                <a:gd name="T44" fmla="*/ 41 w 71"/>
                <a:gd name="T45" fmla="*/ 4 h 10"/>
                <a:gd name="T46" fmla="*/ 42 w 71"/>
                <a:gd name="T47" fmla="*/ 5 h 10"/>
                <a:gd name="T48" fmla="*/ 43 w 71"/>
                <a:gd name="T49" fmla="*/ 5 h 10"/>
                <a:gd name="T50" fmla="*/ 47 w 71"/>
                <a:gd name="T51" fmla="*/ 8 h 10"/>
                <a:gd name="T52" fmla="*/ 49 w 71"/>
                <a:gd name="T53" fmla="*/ 5 h 10"/>
                <a:gd name="T54" fmla="*/ 50 w 71"/>
                <a:gd name="T55" fmla="*/ 4 h 10"/>
                <a:gd name="T56" fmla="*/ 51 w 71"/>
                <a:gd name="T57" fmla="*/ 0 h 10"/>
                <a:gd name="T58" fmla="*/ 71 w 71"/>
                <a:gd name="T59" fmla="*/ 0 h 10"/>
                <a:gd name="T60" fmla="*/ 68 w 71"/>
                <a:gd name="T61" fmla="*/ 0 h 10"/>
                <a:gd name="T62" fmla="*/ 71 w 71"/>
                <a:gd name="T63" fmla="*/ 1 h 10"/>
                <a:gd name="T64" fmla="*/ 71 w 71"/>
                <a:gd name="T65" fmla="*/ 0 h 10"/>
                <a:gd name="T66" fmla="*/ 71 w 71"/>
                <a:gd name="T67" fmla="*/ 0 h 10"/>
                <a:gd name="T68" fmla="*/ 71 w 71"/>
                <a:gd name="T6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10">
                  <a:moveTo>
                    <a:pt x="27" y="0"/>
                  </a:moveTo>
                  <a:cubicBezTo>
                    <a:pt x="0" y="0"/>
                    <a:pt x="0" y="0"/>
                    <a:pt x="0" y="0"/>
                  </a:cubicBezTo>
                  <a:cubicBezTo>
                    <a:pt x="0" y="1"/>
                    <a:pt x="0" y="2"/>
                    <a:pt x="0" y="4"/>
                  </a:cubicBezTo>
                  <a:cubicBezTo>
                    <a:pt x="0" y="5"/>
                    <a:pt x="0" y="5"/>
                    <a:pt x="0" y="5"/>
                  </a:cubicBezTo>
                  <a:cubicBezTo>
                    <a:pt x="0" y="5"/>
                    <a:pt x="0" y="5"/>
                    <a:pt x="0" y="6"/>
                  </a:cubicBezTo>
                  <a:cubicBezTo>
                    <a:pt x="0" y="6"/>
                    <a:pt x="0" y="6"/>
                    <a:pt x="0" y="6"/>
                  </a:cubicBezTo>
                  <a:cubicBezTo>
                    <a:pt x="1" y="6"/>
                    <a:pt x="1" y="7"/>
                    <a:pt x="1" y="7"/>
                  </a:cubicBezTo>
                  <a:cubicBezTo>
                    <a:pt x="2" y="8"/>
                    <a:pt x="2" y="8"/>
                    <a:pt x="3" y="9"/>
                  </a:cubicBezTo>
                  <a:cubicBezTo>
                    <a:pt x="3" y="9"/>
                    <a:pt x="3" y="9"/>
                    <a:pt x="3" y="10"/>
                  </a:cubicBezTo>
                  <a:cubicBezTo>
                    <a:pt x="4" y="10"/>
                    <a:pt x="4" y="10"/>
                    <a:pt x="5" y="10"/>
                  </a:cubicBezTo>
                  <a:cubicBezTo>
                    <a:pt x="7" y="10"/>
                    <a:pt x="10" y="10"/>
                    <a:pt x="12" y="9"/>
                  </a:cubicBezTo>
                  <a:cubicBezTo>
                    <a:pt x="13" y="9"/>
                    <a:pt x="13" y="9"/>
                    <a:pt x="14" y="9"/>
                  </a:cubicBezTo>
                  <a:cubicBezTo>
                    <a:pt x="16" y="9"/>
                    <a:pt x="18" y="9"/>
                    <a:pt x="19" y="10"/>
                  </a:cubicBezTo>
                  <a:cubicBezTo>
                    <a:pt x="20" y="10"/>
                    <a:pt x="20" y="10"/>
                    <a:pt x="20" y="10"/>
                  </a:cubicBezTo>
                  <a:cubicBezTo>
                    <a:pt x="20" y="10"/>
                    <a:pt x="20" y="10"/>
                    <a:pt x="20" y="10"/>
                  </a:cubicBezTo>
                  <a:cubicBezTo>
                    <a:pt x="21" y="9"/>
                    <a:pt x="21" y="9"/>
                    <a:pt x="21" y="9"/>
                  </a:cubicBezTo>
                  <a:cubicBezTo>
                    <a:pt x="22" y="7"/>
                    <a:pt x="23" y="6"/>
                    <a:pt x="24" y="5"/>
                  </a:cubicBezTo>
                  <a:cubicBezTo>
                    <a:pt x="24" y="4"/>
                    <a:pt x="25" y="2"/>
                    <a:pt x="27" y="0"/>
                  </a:cubicBezTo>
                  <a:moveTo>
                    <a:pt x="51" y="0"/>
                  </a:moveTo>
                  <a:cubicBezTo>
                    <a:pt x="38" y="0"/>
                    <a:pt x="38" y="0"/>
                    <a:pt x="38" y="0"/>
                  </a:cubicBezTo>
                  <a:cubicBezTo>
                    <a:pt x="38" y="0"/>
                    <a:pt x="38" y="0"/>
                    <a:pt x="38" y="0"/>
                  </a:cubicBezTo>
                  <a:cubicBezTo>
                    <a:pt x="38" y="1"/>
                    <a:pt x="38" y="2"/>
                    <a:pt x="38" y="2"/>
                  </a:cubicBezTo>
                  <a:cubicBezTo>
                    <a:pt x="38" y="3"/>
                    <a:pt x="39" y="3"/>
                    <a:pt x="41" y="4"/>
                  </a:cubicBezTo>
                  <a:cubicBezTo>
                    <a:pt x="41" y="4"/>
                    <a:pt x="42" y="5"/>
                    <a:pt x="42" y="5"/>
                  </a:cubicBezTo>
                  <a:cubicBezTo>
                    <a:pt x="43" y="5"/>
                    <a:pt x="43" y="5"/>
                    <a:pt x="43" y="5"/>
                  </a:cubicBezTo>
                  <a:cubicBezTo>
                    <a:pt x="44" y="5"/>
                    <a:pt x="46" y="6"/>
                    <a:pt x="47" y="8"/>
                  </a:cubicBezTo>
                  <a:cubicBezTo>
                    <a:pt x="48" y="7"/>
                    <a:pt x="48" y="6"/>
                    <a:pt x="49" y="5"/>
                  </a:cubicBezTo>
                  <a:cubicBezTo>
                    <a:pt x="50" y="4"/>
                    <a:pt x="50" y="4"/>
                    <a:pt x="50" y="4"/>
                  </a:cubicBezTo>
                  <a:cubicBezTo>
                    <a:pt x="51" y="2"/>
                    <a:pt x="51" y="1"/>
                    <a:pt x="51" y="0"/>
                  </a:cubicBezTo>
                  <a:moveTo>
                    <a:pt x="71" y="0"/>
                  </a:moveTo>
                  <a:cubicBezTo>
                    <a:pt x="68" y="0"/>
                    <a:pt x="68" y="0"/>
                    <a:pt x="68" y="0"/>
                  </a:cubicBezTo>
                  <a:cubicBezTo>
                    <a:pt x="69" y="0"/>
                    <a:pt x="70" y="0"/>
                    <a:pt x="71" y="1"/>
                  </a:cubicBezTo>
                  <a:cubicBezTo>
                    <a:pt x="71" y="0"/>
                    <a:pt x="71" y="0"/>
                    <a:pt x="71" y="0"/>
                  </a:cubicBezTo>
                  <a:cubicBezTo>
                    <a:pt x="71" y="0"/>
                    <a:pt x="71" y="0"/>
                    <a:pt x="71"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252"/>
            <p:cNvSpPr/>
            <p:nvPr/>
          </p:nvSpPr>
          <p:spPr bwMode="auto">
            <a:xfrm>
              <a:off x="4044" y="-27"/>
              <a:ext cx="650" cy="567"/>
            </a:xfrm>
            <a:custGeom>
              <a:gdLst>
                <a:gd name="T0" fmla="*/ 80 w 275"/>
                <a:gd name="T1" fmla="*/ 1 h 240"/>
                <a:gd name="T2" fmla="*/ 78 w 275"/>
                <a:gd name="T3" fmla="*/ 6 h 240"/>
                <a:gd name="T4" fmla="*/ 76 w 275"/>
                <a:gd name="T5" fmla="*/ 7 h 240"/>
                <a:gd name="T6" fmla="*/ 57 w 275"/>
                <a:gd name="T7" fmla="*/ 7 h 240"/>
                <a:gd name="T8" fmla="*/ 54 w 275"/>
                <a:gd name="T9" fmla="*/ 11 h 240"/>
                <a:gd name="T10" fmla="*/ 43 w 275"/>
                <a:gd name="T11" fmla="*/ 26 h 240"/>
                <a:gd name="T12" fmla="*/ 44 w 275"/>
                <a:gd name="T13" fmla="*/ 12 h 240"/>
                <a:gd name="T14" fmla="*/ 41 w 275"/>
                <a:gd name="T15" fmla="*/ 10 h 240"/>
                <a:gd name="T16" fmla="*/ 34 w 275"/>
                <a:gd name="T17" fmla="*/ 3 h 240"/>
                <a:gd name="T18" fmla="*/ 26 w 275"/>
                <a:gd name="T19" fmla="*/ 14 h 240"/>
                <a:gd name="T20" fmla="*/ 20 w 275"/>
                <a:gd name="T21" fmla="*/ 15 h 240"/>
                <a:gd name="T22" fmla="*/ 7 w 275"/>
                <a:gd name="T23" fmla="*/ 16 h 240"/>
                <a:gd name="T24" fmla="*/ 3 w 275"/>
                <a:gd name="T25" fmla="*/ 17 h 240"/>
                <a:gd name="T26" fmla="*/ 7 w 275"/>
                <a:gd name="T27" fmla="*/ 24 h 240"/>
                <a:gd name="T28" fmla="*/ 9 w 275"/>
                <a:gd name="T29" fmla="*/ 32 h 240"/>
                <a:gd name="T30" fmla="*/ 9 w 275"/>
                <a:gd name="T31" fmla="*/ 49 h 240"/>
                <a:gd name="T32" fmla="*/ 4 w 275"/>
                <a:gd name="T33" fmla="*/ 57 h 240"/>
                <a:gd name="T34" fmla="*/ 20 w 275"/>
                <a:gd name="T35" fmla="*/ 72 h 240"/>
                <a:gd name="T36" fmla="*/ 41 w 275"/>
                <a:gd name="T37" fmla="*/ 59 h 240"/>
                <a:gd name="T38" fmla="*/ 70 w 275"/>
                <a:gd name="T39" fmla="*/ 66 h 240"/>
                <a:gd name="T40" fmla="*/ 86 w 275"/>
                <a:gd name="T41" fmla="*/ 98 h 240"/>
                <a:gd name="T42" fmla="*/ 89 w 275"/>
                <a:gd name="T43" fmla="*/ 100 h 240"/>
                <a:gd name="T44" fmla="*/ 97 w 275"/>
                <a:gd name="T45" fmla="*/ 108 h 240"/>
                <a:gd name="T46" fmla="*/ 99 w 275"/>
                <a:gd name="T47" fmla="*/ 115 h 240"/>
                <a:gd name="T48" fmla="*/ 104 w 275"/>
                <a:gd name="T49" fmla="*/ 115 h 240"/>
                <a:gd name="T50" fmla="*/ 126 w 275"/>
                <a:gd name="T51" fmla="*/ 132 h 240"/>
                <a:gd name="T52" fmla="*/ 144 w 275"/>
                <a:gd name="T53" fmla="*/ 146 h 240"/>
                <a:gd name="T54" fmla="*/ 153 w 275"/>
                <a:gd name="T55" fmla="*/ 148 h 240"/>
                <a:gd name="T56" fmla="*/ 170 w 275"/>
                <a:gd name="T57" fmla="*/ 157 h 240"/>
                <a:gd name="T58" fmla="*/ 184 w 275"/>
                <a:gd name="T59" fmla="*/ 164 h 240"/>
                <a:gd name="T60" fmla="*/ 191 w 275"/>
                <a:gd name="T61" fmla="*/ 172 h 240"/>
                <a:gd name="T62" fmla="*/ 200 w 275"/>
                <a:gd name="T63" fmla="*/ 182 h 240"/>
                <a:gd name="T64" fmla="*/ 209 w 275"/>
                <a:gd name="T65" fmla="*/ 184 h 240"/>
                <a:gd name="T66" fmla="*/ 220 w 275"/>
                <a:gd name="T67" fmla="*/ 213 h 240"/>
                <a:gd name="T68" fmla="*/ 211 w 275"/>
                <a:gd name="T69" fmla="*/ 220 h 240"/>
                <a:gd name="T70" fmla="*/ 210 w 275"/>
                <a:gd name="T71" fmla="*/ 239 h 240"/>
                <a:gd name="T72" fmla="*/ 221 w 275"/>
                <a:gd name="T73" fmla="*/ 233 h 240"/>
                <a:gd name="T74" fmla="*/ 236 w 275"/>
                <a:gd name="T75" fmla="*/ 212 h 240"/>
                <a:gd name="T76" fmla="*/ 241 w 275"/>
                <a:gd name="T77" fmla="*/ 212 h 240"/>
                <a:gd name="T78" fmla="*/ 232 w 275"/>
                <a:gd name="T79" fmla="*/ 193 h 240"/>
                <a:gd name="T80" fmla="*/ 230 w 275"/>
                <a:gd name="T81" fmla="*/ 193 h 240"/>
                <a:gd name="T82" fmla="*/ 238 w 275"/>
                <a:gd name="T83" fmla="*/ 169 h 240"/>
                <a:gd name="T84" fmla="*/ 253 w 275"/>
                <a:gd name="T85" fmla="*/ 173 h 240"/>
                <a:gd name="T86" fmla="*/ 273 w 275"/>
                <a:gd name="T87" fmla="*/ 181 h 240"/>
                <a:gd name="T88" fmla="*/ 239 w 275"/>
                <a:gd name="T89" fmla="*/ 154 h 240"/>
                <a:gd name="T90" fmla="*/ 218 w 275"/>
                <a:gd name="T91" fmla="*/ 129 h 240"/>
                <a:gd name="T92" fmla="*/ 177 w 275"/>
                <a:gd name="T93" fmla="*/ 117 h 240"/>
                <a:gd name="T94" fmla="*/ 141 w 275"/>
                <a:gd name="T95" fmla="*/ 72 h 240"/>
                <a:gd name="T96" fmla="*/ 129 w 275"/>
                <a:gd name="T97" fmla="*/ 46 h 240"/>
                <a:gd name="T98" fmla="*/ 124 w 275"/>
                <a:gd name="T99" fmla="*/ 31 h 240"/>
                <a:gd name="T100" fmla="*/ 130 w 275"/>
                <a:gd name="T101" fmla="*/ 28 h 240"/>
                <a:gd name="T102" fmla="*/ 148 w 275"/>
                <a:gd name="T103" fmla="*/ 18 h 240"/>
                <a:gd name="T104" fmla="*/ 154 w 275"/>
                <a:gd name="T105" fmla="*/ 19 h 240"/>
                <a:gd name="T106" fmla="*/ 156 w 275"/>
                <a:gd name="T107" fmla="*/ 18 h 240"/>
                <a:gd name="T108" fmla="*/ 156 w 275"/>
                <a:gd name="T109" fmla="*/ 13 h 240"/>
                <a:gd name="T110" fmla="*/ 155 w 275"/>
                <a:gd name="T111" fmla="*/ 7 h 240"/>
                <a:gd name="T112" fmla="*/ 148 w 275"/>
                <a:gd name="T113" fmla="*/ 2 h 2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5" h="240">
                  <a:moveTo>
                    <a:pt x="152" y="0"/>
                  </a:moveTo>
                  <a:cubicBezTo>
                    <a:pt x="80" y="0"/>
                    <a:pt x="80" y="0"/>
                    <a:pt x="80" y="0"/>
                  </a:cubicBezTo>
                  <a:cubicBezTo>
                    <a:pt x="80" y="0"/>
                    <a:pt x="80" y="0"/>
                    <a:pt x="80" y="1"/>
                  </a:cubicBezTo>
                  <a:cubicBezTo>
                    <a:pt x="80" y="2"/>
                    <a:pt x="81" y="3"/>
                    <a:pt x="80" y="5"/>
                  </a:cubicBezTo>
                  <a:cubicBezTo>
                    <a:pt x="79" y="6"/>
                    <a:pt x="79" y="6"/>
                    <a:pt x="79" y="6"/>
                  </a:cubicBezTo>
                  <a:cubicBezTo>
                    <a:pt x="78" y="6"/>
                    <a:pt x="78" y="6"/>
                    <a:pt x="78" y="6"/>
                  </a:cubicBezTo>
                  <a:cubicBezTo>
                    <a:pt x="77" y="7"/>
                    <a:pt x="77" y="7"/>
                    <a:pt x="77" y="7"/>
                  </a:cubicBezTo>
                  <a:cubicBezTo>
                    <a:pt x="77" y="7"/>
                    <a:pt x="77" y="7"/>
                    <a:pt x="77" y="7"/>
                  </a:cubicBezTo>
                  <a:cubicBezTo>
                    <a:pt x="76" y="7"/>
                    <a:pt x="76" y="7"/>
                    <a:pt x="76" y="7"/>
                  </a:cubicBezTo>
                  <a:cubicBezTo>
                    <a:pt x="76" y="7"/>
                    <a:pt x="76" y="7"/>
                    <a:pt x="76" y="7"/>
                  </a:cubicBezTo>
                  <a:cubicBezTo>
                    <a:pt x="72" y="7"/>
                    <a:pt x="65" y="4"/>
                    <a:pt x="59" y="1"/>
                  </a:cubicBezTo>
                  <a:cubicBezTo>
                    <a:pt x="59" y="3"/>
                    <a:pt x="58" y="5"/>
                    <a:pt x="57" y="7"/>
                  </a:cubicBezTo>
                  <a:cubicBezTo>
                    <a:pt x="56" y="8"/>
                    <a:pt x="56" y="8"/>
                    <a:pt x="56" y="8"/>
                  </a:cubicBezTo>
                  <a:cubicBezTo>
                    <a:pt x="56" y="8"/>
                    <a:pt x="55" y="9"/>
                    <a:pt x="55" y="9"/>
                  </a:cubicBezTo>
                  <a:cubicBezTo>
                    <a:pt x="54" y="10"/>
                    <a:pt x="54" y="10"/>
                    <a:pt x="54" y="11"/>
                  </a:cubicBezTo>
                  <a:cubicBezTo>
                    <a:pt x="54" y="13"/>
                    <a:pt x="54" y="13"/>
                    <a:pt x="54" y="13"/>
                  </a:cubicBezTo>
                  <a:cubicBezTo>
                    <a:pt x="53" y="15"/>
                    <a:pt x="52" y="16"/>
                    <a:pt x="51" y="17"/>
                  </a:cubicBezTo>
                  <a:cubicBezTo>
                    <a:pt x="43" y="26"/>
                    <a:pt x="43" y="26"/>
                    <a:pt x="43" y="26"/>
                  </a:cubicBezTo>
                  <a:cubicBezTo>
                    <a:pt x="45" y="15"/>
                    <a:pt x="45" y="15"/>
                    <a:pt x="45" y="15"/>
                  </a:cubicBezTo>
                  <a:cubicBezTo>
                    <a:pt x="45" y="15"/>
                    <a:pt x="45" y="15"/>
                    <a:pt x="45" y="15"/>
                  </a:cubicBezTo>
                  <a:cubicBezTo>
                    <a:pt x="45" y="14"/>
                    <a:pt x="45" y="13"/>
                    <a:pt x="44" y="12"/>
                  </a:cubicBezTo>
                  <a:cubicBezTo>
                    <a:pt x="44" y="11"/>
                    <a:pt x="44" y="11"/>
                    <a:pt x="44" y="11"/>
                  </a:cubicBezTo>
                  <a:cubicBezTo>
                    <a:pt x="44" y="11"/>
                    <a:pt x="44" y="11"/>
                    <a:pt x="44" y="11"/>
                  </a:cubicBezTo>
                  <a:cubicBezTo>
                    <a:pt x="43" y="11"/>
                    <a:pt x="42" y="10"/>
                    <a:pt x="41" y="10"/>
                  </a:cubicBezTo>
                  <a:cubicBezTo>
                    <a:pt x="41" y="10"/>
                    <a:pt x="41" y="9"/>
                    <a:pt x="40" y="9"/>
                  </a:cubicBezTo>
                  <a:cubicBezTo>
                    <a:pt x="37" y="8"/>
                    <a:pt x="35" y="7"/>
                    <a:pt x="34" y="5"/>
                  </a:cubicBezTo>
                  <a:cubicBezTo>
                    <a:pt x="34" y="4"/>
                    <a:pt x="34" y="4"/>
                    <a:pt x="34" y="3"/>
                  </a:cubicBezTo>
                  <a:cubicBezTo>
                    <a:pt x="33" y="4"/>
                    <a:pt x="32" y="6"/>
                    <a:pt x="31" y="7"/>
                  </a:cubicBezTo>
                  <a:cubicBezTo>
                    <a:pt x="30" y="10"/>
                    <a:pt x="29" y="11"/>
                    <a:pt x="28" y="13"/>
                  </a:cubicBezTo>
                  <a:cubicBezTo>
                    <a:pt x="26" y="14"/>
                    <a:pt x="26" y="14"/>
                    <a:pt x="26" y="14"/>
                  </a:cubicBezTo>
                  <a:cubicBezTo>
                    <a:pt x="26" y="15"/>
                    <a:pt x="25" y="16"/>
                    <a:pt x="23" y="16"/>
                  </a:cubicBezTo>
                  <a:cubicBezTo>
                    <a:pt x="21" y="16"/>
                    <a:pt x="21" y="16"/>
                    <a:pt x="21" y="16"/>
                  </a:cubicBezTo>
                  <a:cubicBezTo>
                    <a:pt x="21" y="16"/>
                    <a:pt x="20" y="16"/>
                    <a:pt x="20" y="15"/>
                  </a:cubicBezTo>
                  <a:cubicBezTo>
                    <a:pt x="18" y="15"/>
                    <a:pt x="17" y="15"/>
                    <a:pt x="16" y="15"/>
                  </a:cubicBezTo>
                  <a:cubicBezTo>
                    <a:pt x="15" y="15"/>
                    <a:pt x="15" y="15"/>
                    <a:pt x="15" y="15"/>
                  </a:cubicBezTo>
                  <a:cubicBezTo>
                    <a:pt x="13" y="16"/>
                    <a:pt x="10" y="16"/>
                    <a:pt x="7" y="16"/>
                  </a:cubicBezTo>
                  <a:cubicBezTo>
                    <a:pt x="6" y="16"/>
                    <a:pt x="6" y="16"/>
                    <a:pt x="6" y="16"/>
                  </a:cubicBezTo>
                  <a:cubicBezTo>
                    <a:pt x="6" y="16"/>
                    <a:pt x="5" y="16"/>
                    <a:pt x="4" y="16"/>
                  </a:cubicBezTo>
                  <a:cubicBezTo>
                    <a:pt x="4" y="17"/>
                    <a:pt x="3" y="17"/>
                    <a:pt x="3" y="17"/>
                  </a:cubicBezTo>
                  <a:cubicBezTo>
                    <a:pt x="2" y="18"/>
                    <a:pt x="2" y="18"/>
                    <a:pt x="2" y="18"/>
                  </a:cubicBezTo>
                  <a:cubicBezTo>
                    <a:pt x="7" y="24"/>
                    <a:pt x="7" y="24"/>
                    <a:pt x="7" y="24"/>
                  </a:cubicBezTo>
                  <a:cubicBezTo>
                    <a:pt x="7" y="24"/>
                    <a:pt x="7" y="24"/>
                    <a:pt x="7" y="24"/>
                  </a:cubicBezTo>
                  <a:cubicBezTo>
                    <a:pt x="8" y="25"/>
                    <a:pt x="10" y="26"/>
                    <a:pt x="10" y="28"/>
                  </a:cubicBezTo>
                  <a:cubicBezTo>
                    <a:pt x="10" y="29"/>
                    <a:pt x="10" y="30"/>
                    <a:pt x="9" y="31"/>
                  </a:cubicBezTo>
                  <a:cubicBezTo>
                    <a:pt x="9" y="32"/>
                    <a:pt x="9" y="32"/>
                    <a:pt x="9" y="32"/>
                  </a:cubicBezTo>
                  <a:cubicBezTo>
                    <a:pt x="9" y="33"/>
                    <a:pt x="9" y="34"/>
                    <a:pt x="8" y="34"/>
                  </a:cubicBezTo>
                  <a:cubicBezTo>
                    <a:pt x="7" y="36"/>
                    <a:pt x="4" y="37"/>
                    <a:pt x="0" y="38"/>
                  </a:cubicBezTo>
                  <a:cubicBezTo>
                    <a:pt x="9" y="49"/>
                    <a:pt x="9" y="49"/>
                    <a:pt x="9" y="49"/>
                  </a:cubicBezTo>
                  <a:cubicBezTo>
                    <a:pt x="6" y="51"/>
                    <a:pt x="6" y="51"/>
                    <a:pt x="6" y="51"/>
                  </a:cubicBezTo>
                  <a:cubicBezTo>
                    <a:pt x="5" y="52"/>
                    <a:pt x="3" y="55"/>
                    <a:pt x="3" y="56"/>
                  </a:cubicBezTo>
                  <a:cubicBezTo>
                    <a:pt x="3" y="57"/>
                    <a:pt x="4" y="57"/>
                    <a:pt x="4" y="57"/>
                  </a:cubicBezTo>
                  <a:cubicBezTo>
                    <a:pt x="24" y="65"/>
                    <a:pt x="24" y="65"/>
                    <a:pt x="24" y="65"/>
                  </a:cubicBezTo>
                  <a:cubicBezTo>
                    <a:pt x="22" y="68"/>
                    <a:pt x="22" y="68"/>
                    <a:pt x="22" y="68"/>
                  </a:cubicBezTo>
                  <a:cubicBezTo>
                    <a:pt x="22" y="69"/>
                    <a:pt x="21" y="71"/>
                    <a:pt x="20" y="72"/>
                  </a:cubicBezTo>
                  <a:cubicBezTo>
                    <a:pt x="20" y="73"/>
                    <a:pt x="20" y="74"/>
                    <a:pt x="19" y="75"/>
                  </a:cubicBezTo>
                  <a:cubicBezTo>
                    <a:pt x="23" y="74"/>
                    <a:pt x="28" y="73"/>
                    <a:pt x="30" y="71"/>
                  </a:cubicBezTo>
                  <a:cubicBezTo>
                    <a:pt x="33" y="67"/>
                    <a:pt x="37" y="63"/>
                    <a:pt x="41" y="59"/>
                  </a:cubicBezTo>
                  <a:cubicBezTo>
                    <a:pt x="41" y="58"/>
                    <a:pt x="42" y="58"/>
                    <a:pt x="42" y="58"/>
                  </a:cubicBezTo>
                  <a:cubicBezTo>
                    <a:pt x="46" y="58"/>
                    <a:pt x="54" y="60"/>
                    <a:pt x="55" y="61"/>
                  </a:cubicBezTo>
                  <a:cubicBezTo>
                    <a:pt x="60" y="62"/>
                    <a:pt x="65" y="64"/>
                    <a:pt x="70" y="66"/>
                  </a:cubicBezTo>
                  <a:cubicBezTo>
                    <a:pt x="74" y="68"/>
                    <a:pt x="79" y="70"/>
                    <a:pt x="80" y="75"/>
                  </a:cubicBezTo>
                  <a:cubicBezTo>
                    <a:pt x="80" y="81"/>
                    <a:pt x="82" y="86"/>
                    <a:pt x="84" y="92"/>
                  </a:cubicBezTo>
                  <a:cubicBezTo>
                    <a:pt x="85" y="94"/>
                    <a:pt x="85" y="96"/>
                    <a:pt x="86" y="98"/>
                  </a:cubicBezTo>
                  <a:cubicBezTo>
                    <a:pt x="86" y="98"/>
                    <a:pt x="84" y="98"/>
                    <a:pt x="85" y="99"/>
                  </a:cubicBezTo>
                  <a:cubicBezTo>
                    <a:pt x="85" y="100"/>
                    <a:pt x="87" y="100"/>
                    <a:pt x="88" y="100"/>
                  </a:cubicBezTo>
                  <a:cubicBezTo>
                    <a:pt x="88" y="100"/>
                    <a:pt x="89" y="100"/>
                    <a:pt x="89" y="100"/>
                  </a:cubicBezTo>
                  <a:cubicBezTo>
                    <a:pt x="89" y="100"/>
                    <a:pt x="90" y="100"/>
                    <a:pt x="90" y="100"/>
                  </a:cubicBezTo>
                  <a:cubicBezTo>
                    <a:pt x="90" y="100"/>
                    <a:pt x="90" y="100"/>
                    <a:pt x="90" y="100"/>
                  </a:cubicBezTo>
                  <a:cubicBezTo>
                    <a:pt x="92" y="100"/>
                    <a:pt x="96" y="106"/>
                    <a:pt x="97" y="108"/>
                  </a:cubicBezTo>
                  <a:cubicBezTo>
                    <a:pt x="98" y="109"/>
                    <a:pt x="101" y="112"/>
                    <a:pt x="101" y="114"/>
                  </a:cubicBezTo>
                  <a:cubicBezTo>
                    <a:pt x="100" y="114"/>
                    <a:pt x="100" y="114"/>
                    <a:pt x="100" y="114"/>
                  </a:cubicBezTo>
                  <a:cubicBezTo>
                    <a:pt x="100" y="114"/>
                    <a:pt x="99" y="114"/>
                    <a:pt x="99" y="115"/>
                  </a:cubicBezTo>
                  <a:cubicBezTo>
                    <a:pt x="100" y="115"/>
                    <a:pt x="102" y="115"/>
                    <a:pt x="103" y="115"/>
                  </a:cubicBezTo>
                  <a:cubicBezTo>
                    <a:pt x="103" y="115"/>
                    <a:pt x="103" y="115"/>
                    <a:pt x="104" y="115"/>
                  </a:cubicBezTo>
                  <a:cubicBezTo>
                    <a:pt x="104" y="115"/>
                    <a:pt x="104" y="115"/>
                    <a:pt x="104" y="115"/>
                  </a:cubicBezTo>
                  <a:cubicBezTo>
                    <a:pt x="104" y="115"/>
                    <a:pt x="105" y="115"/>
                    <a:pt x="105" y="115"/>
                  </a:cubicBezTo>
                  <a:cubicBezTo>
                    <a:pt x="110" y="116"/>
                    <a:pt x="114" y="122"/>
                    <a:pt x="118" y="125"/>
                  </a:cubicBezTo>
                  <a:cubicBezTo>
                    <a:pt x="121" y="128"/>
                    <a:pt x="124" y="130"/>
                    <a:pt x="126" y="132"/>
                  </a:cubicBezTo>
                  <a:cubicBezTo>
                    <a:pt x="130" y="135"/>
                    <a:pt x="130" y="135"/>
                    <a:pt x="130" y="135"/>
                  </a:cubicBezTo>
                  <a:cubicBezTo>
                    <a:pt x="133" y="137"/>
                    <a:pt x="135" y="140"/>
                    <a:pt x="138" y="142"/>
                  </a:cubicBezTo>
                  <a:cubicBezTo>
                    <a:pt x="140" y="144"/>
                    <a:pt x="142" y="145"/>
                    <a:pt x="144" y="146"/>
                  </a:cubicBezTo>
                  <a:cubicBezTo>
                    <a:pt x="145" y="148"/>
                    <a:pt x="145" y="148"/>
                    <a:pt x="145" y="148"/>
                  </a:cubicBezTo>
                  <a:cubicBezTo>
                    <a:pt x="146" y="148"/>
                    <a:pt x="147" y="149"/>
                    <a:pt x="148" y="149"/>
                  </a:cubicBezTo>
                  <a:cubicBezTo>
                    <a:pt x="150" y="149"/>
                    <a:pt x="151" y="148"/>
                    <a:pt x="153" y="148"/>
                  </a:cubicBezTo>
                  <a:cubicBezTo>
                    <a:pt x="155" y="148"/>
                    <a:pt x="156" y="147"/>
                    <a:pt x="158" y="147"/>
                  </a:cubicBezTo>
                  <a:cubicBezTo>
                    <a:pt x="160" y="147"/>
                    <a:pt x="162" y="148"/>
                    <a:pt x="163" y="150"/>
                  </a:cubicBezTo>
                  <a:cubicBezTo>
                    <a:pt x="165" y="153"/>
                    <a:pt x="167" y="156"/>
                    <a:pt x="170" y="157"/>
                  </a:cubicBezTo>
                  <a:cubicBezTo>
                    <a:pt x="173" y="159"/>
                    <a:pt x="175" y="160"/>
                    <a:pt x="178" y="161"/>
                  </a:cubicBezTo>
                  <a:cubicBezTo>
                    <a:pt x="177" y="163"/>
                    <a:pt x="176" y="164"/>
                    <a:pt x="175" y="166"/>
                  </a:cubicBezTo>
                  <a:cubicBezTo>
                    <a:pt x="178" y="165"/>
                    <a:pt x="181" y="165"/>
                    <a:pt x="184" y="164"/>
                  </a:cubicBezTo>
                  <a:cubicBezTo>
                    <a:pt x="184" y="164"/>
                    <a:pt x="185" y="163"/>
                    <a:pt x="185" y="163"/>
                  </a:cubicBezTo>
                  <a:cubicBezTo>
                    <a:pt x="185" y="163"/>
                    <a:pt x="186" y="163"/>
                    <a:pt x="186" y="163"/>
                  </a:cubicBezTo>
                  <a:cubicBezTo>
                    <a:pt x="188" y="164"/>
                    <a:pt x="191" y="171"/>
                    <a:pt x="191" y="172"/>
                  </a:cubicBezTo>
                  <a:cubicBezTo>
                    <a:pt x="191" y="173"/>
                    <a:pt x="190" y="174"/>
                    <a:pt x="190" y="174"/>
                  </a:cubicBezTo>
                  <a:cubicBezTo>
                    <a:pt x="189" y="176"/>
                    <a:pt x="189" y="175"/>
                    <a:pt x="192" y="177"/>
                  </a:cubicBezTo>
                  <a:cubicBezTo>
                    <a:pt x="194" y="179"/>
                    <a:pt x="197" y="182"/>
                    <a:pt x="200" y="182"/>
                  </a:cubicBezTo>
                  <a:cubicBezTo>
                    <a:pt x="200" y="182"/>
                    <a:pt x="201" y="182"/>
                    <a:pt x="201" y="182"/>
                  </a:cubicBezTo>
                  <a:cubicBezTo>
                    <a:pt x="203" y="182"/>
                    <a:pt x="204" y="181"/>
                    <a:pt x="205" y="181"/>
                  </a:cubicBezTo>
                  <a:cubicBezTo>
                    <a:pt x="207" y="181"/>
                    <a:pt x="208" y="182"/>
                    <a:pt x="209" y="184"/>
                  </a:cubicBezTo>
                  <a:cubicBezTo>
                    <a:pt x="210" y="187"/>
                    <a:pt x="211" y="190"/>
                    <a:pt x="211" y="192"/>
                  </a:cubicBezTo>
                  <a:cubicBezTo>
                    <a:pt x="214" y="198"/>
                    <a:pt x="215" y="205"/>
                    <a:pt x="218" y="211"/>
                  </a:cubicBezTo>
                  <a:cubicBezTo>
                    <a:pt x="219" y="212"/>
                    <a:pt x="220" y="211"/>
                    <a:pt x="220" y="213"/>
                  </a:cubicBezTo>
                  <a:cubicBezTo>
                    <a:pt x="220" y="216"/>
                    <a:pt x="217" y="216"/>
                    <a:pt x="215" y="217"/>
                  </a:cubicBezTo>
                  <a:cubicBezTo>
                    <a:pt x="214" y="218"/>
                    <a:pt x="212" y="218"/>
                    <a:pt x="212" y="219"/>
                  </a:cubicBezTo>
                  <a:cubicBezTo>
                    <a:pt x="212" y="219"/>
                    <a:pt x="211" y="219"/>
                    <a:pt x="211" y="220"/>
                  </a:cubicBezTo>
                  <a:cubicBezTo>
                    <a:pt x="211" y="221"/>
                    <a:pt x="213" y="222"/>
                    <a:pt x="213" y="223"/>
                  </a:cubicBezTo>
                  <a:cubicBezTo>
                    <a:pt x="213" y="224"/>
                    <a:pt x="211" y="226"/>
                    <a:pt x="210" y="227"/>
                  </a:cubicBezTo>
                  <a:cubicBezTo>
                    <a:pt x="208" y="230"/>
                    <a:pt x="203" y="238"/>
                    <a:pt x="210" y="239"/>
                  </a:cubicBezTo>
                  <a:cubicBezTo>
                    <a:pt x="210" y="240"/>
                    <a:pt x="211" y="240"/>
                    <a:pt x="213" y="240"/>
                  </a:cubicBezTo>
                  <a:cubicBezTo>
                    <a:pt x="214" y="240"/>
                    <a:pt x="215" y="240"/>
                    <a:pt x="216" y="239"/>
                  </a:cubicBezTo>
                  <a:cubicBezTo>
                    <a:pt x="218" y="239"/>
                    <a:pt x="220" y="235"/>
                    <a:pt x="221" y="233"/>
                  </a:cubicBezTo>
                  <a:cubicBezTo>
                    <a:pt x="223" y="231"/>
                    <a:pt x="228" y="227"/>
                    <a:pt x="228" y="225"/>
                  </a:cubicBezTo>
                  <a:cubicBezTo>
                    <a:pt x="229" y="223"/>
                    <a:pt x="227" y="219"/>
                    <a:pt x="227" y="218"/>
                  </a:cubicBezTo>
                  <a:cubicBezTo>
                    <a:pt x="228" y="215"/>
                    <a:pt x="233" y="212"/>
                    <a:pt x="236" y="212"/>
                  </a:cubicBezTo>
                  <a:cubicBezTo>
                    <a:pt x="237" y="212"/>
                    <a:pt x="237" y="212"/>
                    <a:pt x="237" y="212"/>
                  </a:cubicBezTo>
                  <a:cubicBezTo>
                    <a:pt x="238" y="212"/>
                    <a:pt x="240" y="212"/>
                    <a:pt x="241" y="213"/>
                  </a:cubicBezTo>
                  <a:cubicBezTo>
                    <a:pt x="241" y="212"/>
                    <a:pt x="241" y="212"/>
                    <a:pt x="241" y="212"/>
                  </a:cubicBezTo>
                  <a:cubicBezTo>
                    <a:pt x="244" y="210"/>
                    <a:pt x="242" y="205"/>
                    <a:pt x="242" y="202"/>
                  </a:cubicBezTo>
                  <a:cubicBezTo>
                    <a:pt x="241" y="198"/>
                    <a:pt x="238" y="196"/>
                    <a:pt x="234" y="194"/>
                  </a:cubicBezTo>
                  <a:cubicBezTo>
                    <a:pt x="233" y="194"/>
                    <a:pt x="233" y="193"/>
                    <a:pt x="232" y="193"/>
                  </a:cubicBezTo>
                  <a:cubicBezTo>
                    <a:pt x="232" y="193"/>
                    <a:pt x="231" y="193"/>
                    <a:pt x="231" y="193"/>
                  </a:cubicBezTo>
                  <a:cubicBezTo>
                    <a:pt x="231" y="193"/>
                    <a:pt x="231" y="193"/>
                    <a:pt x="230" y="193"/>
                  </a:cubicBezTo>
                  <a:cubicBezTo>
                    <a:pt x="230" y="193"/>
                    <a:pt x="230" y="193"/>
                    <a:pt x="230" y="193"/>
                  </a:cubicBezTo>
                  <a:cubicBezTo>
                    <a:pt x="229" y="193"/>
                    <a:pt x="229" y="193"/>
                    <a:pt x="229" y="192"/>
                  </a:cubicBezTo>
                  <a:cubicBezTo>
                    <a:pt x="226" y="191"/>
                    <a:pt x="228" y="189"/>
                    <a:pt x="228" y="186"/>
                  </a:cubicBezTo>
                  <a:cubicBezTo>
                    <a:pt x="230" y="179"/>
                    <a:pt x="232" y="174"/>
                    <a:pt x="238" y="169"/>
                  </a:cubicBezTo>
                  <a:cubicBezTo>
                    <a:pt x="238" y="168"/>
                    <a:pt x="240" y="168"/>
                    <a:pt x="241" y="168"/>
                  </a:cubicBezTo>
                  <a:cubicBezTo>
                    <a:pt x="244" y="168"/>
                    <a:pt x="246" y="169"/>
                    <a:pt x="243" y="171"/>
                  </a:cubicBezTo>
                  <a:cubicBezTo>
                    <a:pt x="246" y="172"/>
                    <a:pt x="250" y="172"/>
                    <a:pt x="253" y="173"/>
                  </a:cubicBezTo>
                  <a:cubicBezTo>
                    <a:pt x="257" y="174"/>
                    <a:pt x="257" y="176"/>
                    <a:pt x="260" y="179"/>
                  </a:cubicBezTo>
                  <a:cubicBezTo>
                    <a:pt x="263" y="184"/>
                    <a:pt x="265" y="185"/>
                    <a:pt x="271" y="188"/>
                  </a:cubicBezTo>
                  <a:cubicBezTo>
                    <a:pt x="271" y="184"/>
                    <a:pt x="272" y="183"/>
                    <a:pt x="273" y="181"/>
                  </a:cubicBezTo>
                  <a:cubicBezTo>
                    <a:pt x="275" y="176"/>
                    <a:pt x="267" y="171"/>
                    <a:pt x="264" y="168"/>
                  </a:cubicBezTo>
                  <a:cubicBezTo>
                    <a:pt x="260" y="164"/>
                    <a:pt x="254" y="162"/>
                    <a:pt x="250" y="159"/>
                  </a:cubicBezTo>
                  <a:cubicBezTo>
                    <a:pt x="247" y="157"/>
                    <a:pt x="243" y="155"/>
                    <a:pt x="239" y="154"/>
                  </a:cubicBezTo>
                  <a:cubicBezTo>
                    <a:pt x="229" y="149"/>
                    <a:pt x="219" y="146"/>
                    <a:pt x="213" y="137"/>
                  </a:cubicBezTo>
                  <a:cubicBezTo>
                    <a:pt x="215" y="136"/>
                    <a:pt x="219" y="133"/>
                    <a:pt x="219" y="131"/>
                  </a:cubicBezTo>
                  <a:cubicBezTo>
                    <a:pt x="219" y="130"/>
                    <a:pt x="219" y="129"/>
                    <a:pt x="218" y="129"/>
                  </a:cubicBezTo>
                  <a:cubicBezTo>
                    <a:pt x="210" y="129"/>
                    <a:pt x="202" y="128"/>
                    <a:pt x="195" y="128"/>
                  </a:cubicBezTo>
                  <a:cubicBezTo>
                    <a:pt x="192" y="128"/>
                    <a:pt x="188" y="125"/>
                    <a:pt x="186" y="124"/>
                  </a:cubicBezTo>
                  <a:cubicBezTo>
                    <a:pt x="183" y="122"/>
                    <a:pt x="180" y="119"/>
                    <a:pt x="177" y="117"/>
                  </a:cubicBezTo>
                  <a:cubicBezTo>
                    <a:pt x="172" y="112"/>
                    <a:pt x="169" y="108"/>
                    <a:pt x="166" y="101"/>
                  </a:cubicBezTo>
                  <a:cubicBezTo>
                    <a:pt x="163" y="97"/>
                    <a:pt x="163" y="88"/>
                    <a:pt x="159" y="85"/>
                  </a:cubicBezTo>
                  <a:cubicBezTo>
                    <a:pt x="153" y="80"/>
                    <a:pt x="148" y="76"/>
                    <a:pt x="141" y="72"/>
                  </a:cubicBezTo>
                  <a:cubicBezTo>
                    <a:pt x="136" y="68"/>
                    <a:pt x="130" y="65"/>
                    <a:pt x="129" y="58"/>
                  </a:cubicBezTo>
                  <a:cubicBezTo>
                    <a:pt x="128" y="54"/>
                    <a:pt x="127" y="49"/>
                    <a:pt x="127" y="46"/>
                  </a:cubicBezTo>
                  <a:cubicBezTo>
                    <a:pt x="128" y="46"/>
                    <a:pt x="128" y="46"/>
                    <a:pt x="129" y="46"/>
                  </a:cubicBezTo>
                  <a:cubicBezTo>
                    <a:pt x="131" y="46"/>
                    <a:pt x="132" y="45"/>
                    <a:pt x="132" y="43"/>
                  </a:cubicBezTo>
                  <a:cubicBezTo>
                    <a:pt x="133" y="41"/>
                    <a:pt x="132" y="40"/>
                    <a:pt x="130" y="38"/>
                  </a:cubicBezTo>
                  <a:cubicBezTo>
                    <a:pt x="129" y="37"/>
                    <a:pt x="124" y="33"/>
                    <a:pt x="124" y="31"/>
                  </a:cubicBezTo>
                  <a:cubicBezTo>
                    <a:pt x="124" y="30"/>
                    <a:pt x="126" y="27"/>
                    <a:pt x="127" y="27"/>
                  </a:cubicBezTo>
                  <a:cubicBezTo>
                    <a:pt x="128" y="26"/>
                    <a:pt x="130" y="25"/>
                    <a:pt x="131" y="24"/>
                  </a:cubicBezTo>
                  <a:cubicBezTo>
                    <a:pt x="131" y="25"/>
                    <a:pt x="131" y="27"/>
                    <a:pt x="130" y="28"/>
                  </a:cubicBezTo>
                  <a:cubicBezTo>
                    <a:pt x="133" y="27"/>
                    <a:pt x="135" y="26"/>
                    <a:pt x="138" y="25"/>
                  </a:cubicBezTo>
                  <a:cubicBezTo>
                    <a:pt x="140" y="24"/>
                    <a:pt x="145" y="23"/>
                    <a:pt x="146" y="21"/>
                  </a:cubicBezTo>
                  <a:cubicBezTo>
                    <a:pt x="148" y="19"/>
                    <a:pt x="146" y="19"/>
                    <a:pt x="148" y="18"/>
                  </a:cubicBezTo>
                  <a:cubicBezTo>
                    <a:pt x="149" y="18"/>
                    <a:pt x="149" y="18"/>
                    <a:pt x="149" y="18"/>
                  </a:cubicBezTo>
                  <a:cubicBezTo>
                    <a:pt x="150" y="18"/>
                    <a:pt x="151" y="18"/>
                    <a:pt x="152" y="18"/>
                  </a:cubicBezTo>
                  <a:cubicBezTo>
                    <a:pt x="152" y="18"/>
                    <a:pt x="153" y="19"/>
                    <a:pt x="154" y="19"/>
                  </a:cubicBezTo>
                  <a:cubicBezTo>
                    <a:pt x="154" y="19"/>
                    <a:pt x="155" y="19"/>
                    <a:pt x="156" y="18"/>
                  </a:cubicBezTo>
                  <a:cubicBezTo>
                    <a:pt x="156" y="18"/>
                    <a:pt x="156" y="18"/>
                    <a:pt x="156" y="18"/>
                  </a:cubicBezTo>
                  <a:cubicBezTo>
                    <a:pt x="156" y="18"/>
                    <a:pt x="156" y="18"/>
                    <a:pt x="156" y="18"/>
                  </a:cubicBezTo>
                  <a:cubicBezTo>
                    <a:pt x="156" y="17"/>
                    <a:pt x="156" y="17"/>
                    <a:pt x="156" y="17"/>
                  </a:cubicBezTo>
                  <a:cubicBezTo>
                    <a:pt x="155" y="16"/>
                    <a:pt x="155" y="15"/>
                    <a:pt x="156" y="14"/>
                  </a:cubicBezTo>
                  <a:cubicBezTo>
                    <a:pt x="156" y="13"/>
                    <a:pt x="156" y="13"/>
                    <a:pt x="156" y="13"/>
                  </a:cubicBezTo>
                  <a:cubicBezTo>
                    <a:pt x="156" y="13"/>
                    <a:pt x="155" y="12"/>
                    <a:pt x="154" y="12"/>
                  </a:cubicBezTo>
                  <a:cubicBezTo>
                    <a:pt x="150" y="9"/>
                    <a:pt x="150" y="9"/>
                    <a:pt x="150" y="9"/>
                  </a:cubicBezTo>
                  <a:cubicBezTo>
                    <a:pt x="155" y="7"/>
                    <a:pt x="155" y="7"/>
                    <a:pt x="155" y="7"/>
                  </a:cubicBezTo>
                  <a:cubicBezTo>
                    <a:pt x="155" y="6"/>
                    <a:pt x="155" y="6"/>
                    <a:pt x="155" y="6"/>
                  </a:cubicBezTo>
                  <a:cubicBezTo>
                    <a:pt x="155" y="6"/>
                    <a:pt x="155" y="6"/>
                    <a:pt x="155" y="6"/>
                  </a:cubicBezTo>
                  <a:cubicBezTo>
                    <a:pt x="148" y="2"/>
                    <a:pt x="148" y="2"/>
                    <a:pt x="148" y="2"/>
                  </a:cubicBezTo>
                  <a:cubicBezTo>
                    <a:pt x="152" y="0"/>
                    <a:pt x="152" y="0"/>
                    <a:pt x="152" y="0"/>
                  </a:cubicBezTo>
                  <a:cubicBezTo>
                    <a:pt x="152" y="0"/>
                    <a:pt x="152" y="0"/>
                    <a:pt x="1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253"/>
            <p:cNvSpPr/>
            <p:nvPr/>
          </p:nvSpPr>
          <p:spPr bwMode="auto">
            <a:xfrm>
              <a:off x="4419" y="-27"/>
              <a:ext cx="128" cy="57"/>
            </a:xfrm>
            <a:custGeom>
              <a:gdLst>
                <a:gd name="T0" fmla="*/ 28 w 54"/>
                <a:gd name="T1" fmla="*/ 0 h 24"/>
                <a:gd name="T2" fmla="*/ 22 w 54"/>
                <a:gd name="T3" fmla="*/ 3 h 24"/>
                <a:gd name="T4" fmla="*/ 18 w 54"/>
                <a:gd name="T5" fmla="*/ 1 h 24"/>
                <a:gd name="T6" fmla="*/ 17 w 54"/>
                <a:gd name="T7" fmla="*/ 1 h 24"/>
                <a:gd name="T8" fmla="*/ 15 w 54"/>
                <a:gd name="T9" fmla="*/ 1 h 24"/>
                <a:gd name="T10" fmla="*/ 12 w 54"/>
                <a:gd name="T11" fmla="*/ 1 h 24"/>
                <a:gd name="T12" fmla="*/ 9 w 54"/>
                <a:gd name="T13" fmla="*/ 0 h 24"/>
                <a:gd name="T14" fmla="*/ 3 w 54"/>
                <a:gd name="T15" fmla="*/ 0 h 24"/>
                <a:gd name="T16" fmla="*/ 2 w 54"/>
                <a:gd name="T17" fmla="*/ 3 h 24"/>
                <a:gd name="T18" fmla="*/ 3 w 54"/>
                <a:gd name="T19" fmla="*/ 8 h 24"/>
                <a:gd name="T20" fmla="*/ 2 w 54"/>
                <a:gd name="T21" fmla="*/ 9 h 24"/>
                <a:gd name="T22" fmla="*/ 2 w 54"/>
                <a:gd name="T23" fmla="*/ 11 h 24"/>
                <a:gd name="T24" fmla="*/ 2 w 54"/>
                <a:gd name="T25" fmla="*/ 15 h 24"/>
                <a:gd name="T26" fmla="*/ 4 w 54"/>
                <a:gd name="T27" fmla="*/ 16 h 24"/>
                <a:gd name="T28" fmla="*/ 8 w 54"/>
                <a:gd name="T29" fmla="*/ 19 h 24"/>
                <a:gd name="T30" fmla="*/ 9 w 54"/>
                <a:gd name="T31" fmla="*/ 23 h 24"/>
                <a:gd name="T32" fmla="*/ 11 w 54"/>
                <a:gd name="T33" fmla="*/ 23 h 24"/>
                <a:gd name="T34" fmla="*/ 19 w 54"/>
                <a:gd name="T35" fmla="*/ 19 h 24"/>
                <a:gd name="T36" fmla="*/ 24 w 54"/>
                <a:gd name="T37" fmla="*/ 19 h 24"/>
                <a:gd name="T38" fmla="*/ 26 w 54"/>
                <a:gd name="T39" fmla="*/ 20 h 24"/>
                <a:gd name="T40" fmla="*/ 30 w 54"/>
                <a:gd name="T41" fmla="*/ 23 h 24"/>
                <a:gd name="T42" fmla="*/ 31 w 54"/>
                <a:gd name="T43" fmla="*/ 23 h 24"/>
                <a:gd name="T44" fmla="*/ 33 w 54"/>
                <a:gd name="T45" fmla="*/ 23 h 24"/>
                <a:gd name="T46" fmla="*/ 36 w 54"/>
                <a:gd name="T47" fmla="*/ 24 h 24"/>
                <a:gd name="T48" fmla="*/ 37 w 54"/>
                <a:gd name="T49" fmla="*/ 22 h 24"/>
                <a:gd name="T50" fmla="*/ 37 w 54"/>
                <a:gd name="T51" fmla="*/ 17 h 24"/>
                <a:gd name="T52" fmla="*/ 45 w 54"/>
                <a:gd name="T53" fmla="*/ 12 h 24"/>
                <a:gd name="T54" fmla="*/ 44 w 54"/>
                <a:gd name="T55" fmla="*/ 8 h 24"/>
                <a:gd name="T56" fmla="*/ 45 w 54"/>
                <a:gd name="T57" fmla="*/ 3 h 24"/>
                <a:gd name="T58" fmla="*/ 48 w 54"/>
                <a:gd name="T59" fmla="*/ 2 h 24"/>
                <a:gd name="T60" fmla="*/ 51 w 54"/>
                <a:gd name="T61" fmla="*/ 1 h 24"/>
                <a:gd name="T62" fmla="*/ 53 w 54"/>
                <a:gd name="T63" fmla="*/ 0 h 24"/>
                <a:gd name="T64" fmla="*/ 54 w 54"/>
                <a:gd name="T65"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24">
                  <a:moveTo>
                    <a:pt x="54" y="0"/>
                  </a:moveTo>
                  <a:cubicBezTo>
                    <a:pt x="28" y="0"/>
                    <a:pt x="28" y="0"/>
                    <a:pt x="28" y="0"/>
                  </a:cubicBezTo>
                  <a:cubicBezTo>
                    <a:pt x="25" y="1"/>
                    <a:pt x="23" y="2"/>
                    <a:pt x="22" y="3"/>
                  </a:cubicBezTo>
                  <a:cubicBezTo>
                    <a:pt x="22" y="3"/>
                    <a:pt x="22" y="3"/>
                    <a:pt x="22" y="3"/>
                  </a:cubicBezTo>
                  <a:cubicBezTo>
                    <a:pt x="21" y="2"/>
                    <a:pt x="21" y="2"/>
                    <a:pt x="21" y="2"/>
                  </a:cubicBezTo>
                  <a:cubicBezTo>
                    <a:pt x="20" y="2"/>
                    <a:pt x="19" y="2"/>
                    <a:pt x="18" y="1"/>
                  </a:cubicBezTo>
                  <a:cubicBezTo>
                    <a:pt x="17" y="1"/>
                    <a:pt x="17" y="1"/>
                    <a:pt x="17" y="1"/>
                  </a:cubicBezTo>
                  <a:cubicBezTo>
                    <a:pt x="17" y="1"/>
                    <a:pt x="17" y="1"/>
                    <a:pt x="17" y="1"/>
                  </a:cubicBezTo>
                  <a:cubicBezTo>
                    <a:pt x="17" y="1"/>
                    <a:pt x="16" y="1"/>
                    <a:pt x="16" y="1"/>
                  </a:cubicBezTo>
                  <a:cubicBezTo>
                    <a:pt x="16" y="1"/>
                    <a:pt x="15" y="1"/>
                    <a:pt x="15" y="1"/>
                  </a:cubicBezTo>
                  <a:cubicBezTo>
                    <a:pt x="15" y="1"/>
                    <a:pt x="15" y="1"/>
                    <a:pt x="15" y="1"/>
                  </a:cubicBezTo>
                  <a:cubicBezTo>
                    <a:pt x="14" y="1"/>
                    <a:pt x="13" y="1"/>
                    <a:pt x="12" y="1"/>
                  </a:cubicBezTo>
                  <a:cubicBezTo>
                    <a:pt x="12" y="1"/>
                    <a:pt x="11" y="0"/>
                    <a:pt x="10" y="0"/>
                  </a:cubicBezTo>
                  <a:cubicBezTo>
                    <a:pt x="9" y="0"/>
                    <a:pt x="9" y="0"/>
                    <a:pt x="9" y="0"/>
                  </a:cubicBezTo>
                  <a:cubicBezTo>
                    <a:pt x="8" y="0"/>
                    <a:pt x="8" y="0"/>
                    <a:pt x="8" y="0"/>
                  </a:cubicBezTo>
                  <a:cubicBezTo>
                    <a:pt x="3" y="0"/>
                    <a:pt x="3" y="0"/>
                    <a:pt x="3" y="0"/>
                  </a:cubicBezTo>
                  <a:cubicBezTo>
                    <a:pt x="3" y="1"/>
                    <a:pt x="2" y="1"/>
                    <a:pt x="0" y="2"/>
                  </a:cubicBezTo>
                  <a:cubicBezTo>
                    <a:pt x="1" y="3"/>
                    <a:pt x="2" y="3"/>
                    <a:pt x="2" y="3"/>
                  </a:cubicBezTo>
                  <a:cubicBezTo>
                    <a:pt x="6" y="5"/>
                    <a:pt x="6" y="5"/>
                    <a:pt x="6" y="5"/>
                  </a:cubicBezTo>
                  <a:cubicBezTo>
                    <a:pt x="3" y="8"/>
                    <a:pt x="3" y="8"/>
                    <a:pt x="3" y="8"/>
                  </a:cubicBezTo>
                  <a:cubicBezTo>
                    <a:pt x="2" y="8"/>
                    <a:pt x="2" y="8"/>
                    <a:pt x="2" y="8"/>
                  </a:cubicBezTo>
                  <a:cubicBezTo>
                    <a:pt x="2" y="9"/>
                    <a:pt x="2" y="9"/>
                    <a:pt x="2" y="9"/>
                  </a:cubicBezTo>
                  <a:cubicBezTo>
                    <a:pt x="1" y="9"/>
                    <a:pt x="1" y="9"/>
                    <a:pt x="1" y="9"/>
                  </a:cubicBezTo>
                  <a:cubicBezTo>
                    <a:pt x="2" y="10"/>
                    <a:pt x="2" y="10"/>
                    <a:pt x="2" y="11"/>
                  </a:cubicBezTo>
                  <a:cubicBezTo>
                    <a:pt x="2" y="12"/>
                    <a:pt x="3" y="13"/>
                    <a:pt x="2" y="14"/>
                  </a:cubicBezTo>
                  <a:cubicBezTo>
                    <a:pt x="2" y="15"/>
                    <a:pt x="2" y="15"/>
                    <a:pt x="2" y="15"/>
                  </a:cubicBezTo>
                  <a:cubicBezTo>
                    <a:pt x="2" y="15"/>
                    <a:pt x="2" y="15"/>
                    <a:pt x="2" y="15"/>
                  </a:cubicBezTo>
                  <a:cubicBezTo>
                    <a:pt x="3" y="15"/>
                    <a:pt x="4" y="15"/>
                    <a:pt x="4" y="16"/>
                  </a:cubicBezTo>
                  <a:cubicBezTo>
                    <a:pt x="5" y="16"/>
                    <a:pt x="6" y="17"/>
                    <a:pt x="7" y="18"/>
                  </a:cubicBezTo>
                  <a:cubicBezTo>
                    <a:pt x="8" y="19"/>
                    <a:pt x="8" y="19"/>
                    <a:pt x="8" y="19"/>
                  </a:cubicBezTo>
                  <a:cubicBezTo>
                    <a:pt x="8" y="19"/>
                    <a:pt x="8" y="19"/>
                    <a:pt x="8" y="20"/>
                  </a:cubicBezTo>
                  <a:cubicBezTo>
                    <a:pt x="9" y="20"/>
                    <a:pt x="9" y="22"/>
                    <a:pt x="9" y="23"/>
                  </a:cubicBezTo>
                  <a:cubicBezTo>
                    <a:pt x="9" y="23"/>
                    <a:pt x="9" y="23"/>
                    <a:pt x="9" y="23"/>
                  </a:cubicBezTo>
                  <a:cubicBezTo>
                    <a:pt x="10" y="23"/>
                    <a:pt x="10" y="23"/>
                    <a:pt x="11" y="23"/>
                  </a:cubicBezTo>
                  <a:cubicBezTo>
                    <a:pt x="11" y="23"/>
                    <a:pt x="12" y="23"/>
                    <a:pt x="12" y="23"/>
                  </a:cubicBezTo>
                  <a:cubicBezTo>
                    <a:pt x="15" y="23"/>
                    <a:pt x="18" y="21"/>
                    <a:pt x="19" y="19"/>
                  </a:cubicBezTo>
                  <a:cubicBezTo>
                    <a:pt x="21" y="16"/>
                    <a:pt x="21" y="16"/>
                    <a:pt x="21" y="16"/>
                  </a:cubicBezTo>
                  <a:cubicBezTo>
                    <a:pt x="24" y="19"/>
                    <a:pt x="24" y="19"/>
                    <a:pt x="24" y="19"/>
                  </a:cubicBezTo>
                  <a:cubicBezTo>
                    <a:pt x="25" y="19"/>
                    <a:pt x="25" y="20"/>
                    <a:pt x="25" y="20"/>
                  </a:cubicBezTo>
                  <a:cubicBezTo>
                    <a:pt x="26" y="20"/>
                    <a:pt x="26" y="20"/>
                    <a:pt x="26" y="20"/>
                  </a:cubicBezTo>
                  <a:cubicBezTo>
                    <a:pt x="26" y="21"/>
                    <a:pt x="27" y="22"/>
                    <a:pt x="28" y="23"/>
                  </a:cubicBezTo>
                  <a:cubicBezTo>
                    <a:pt x="29" y="23"/>
                    <a:pt x="29" y="23"/>
                    <a:pt x="30" y="23"/>
                  </a:cubicBezTo>
                  <a:cubicBezTo>
                    <a:pt x="30" y="23"/>
                    <a:pt x="30" y="23"/>
                    <a:pt x="30" y="23"/>
                  </a:cubicBezTo>
                  <a:cubicBezTo>
                    <a:pt x="31" y="23"/>
                    <a:pt x="31" y="23"/>
                    <a:pt x="31" y="23"/>
                  </a:cubicBezTo>
                  <a:cubicBezTo>
                    <a:pt x="31" y="23"/>
                    <a:pt x="32" y="23"/>
                    <a:pt x="32" y="23"/>
                  </a:cubicBezTo>
                  <a:cubicBezTo>
                    <a:pt x="33" y="23"/>
                    <a:pt x="33" y="23"/>
                    <a:pt x="33" y="23"/>
                  </a:cubicBezTo>
                  <a:cubicBezTo>
                    <a:pt x="34" y="23"/>
                    <a:pt x="35" y="23"/>
                    <a:pt x="36" y="24"/>
                  </a:cubicBezTo>
                  <a:cubicBezTo>
                    <a:pt x="36" y="24"/>
                    <a:pt x="36" y="24"/>
                    <a:pt x="36" y="24"/>
                  </a:cubicBezTo>
                  <a:cubicBezTo>
                    <a:pt x="36" y="23"/>
                    <a:pt x="36" y="23"/>
                    <a:pt x="36" y="23"/>
                  </a:cubicBezTo>
                  <a:cubicBezTo>
                    <a:pt x="37" y="22"/>
                    <a:pt x="37" y="22"/>
                    <a:pt x="37" y="22"/>
                  </a:cubicBezTo>
                  <a:cubicBezTo>
                    <a:pt x="33" y="20"/>
                    <a:pt x="33" y="20"/>
                    <a:pt x="33" y="20"/>
                  </a:cubicBezTo>
                  <a:cubicBezTo>
                    <a:pt x="37" y="17"/>
                    <a:pt x="37" y="17"/>
                    <a:pt x="37" y="17"/>
                  </a:cubicBezTo>
                  <a:cubicBezTo>
                    <a:pt x="38" y="16"/>
                    <a:pt x="39" y="15"/>
                    <a:pt x="41" y="14"/>
                  </a:cubicBezTo>
                  <a:cubicBezTo>
                    <a:pt x="42" y="14"/>
                    <a:pt x="44" y="13"/>
                    <a:pt x="45" y="12"/>
                  </a:cubicBezTo>
                  <a:cubicBezTo>
                    <a:pt x="45" y="11"/>
                    <a:pt x="45" y="11"/>
                    <a:pt x="45" y="11"/>
                  </a:cubicBezTo>
                  <a:cubicBezTo>
                    <a:pt x="45" y="10"/>
                    <a:pt x="44" y="9"/>
                    <a:pt x="44" y="8"/>
                  </a:cubicBezTo>
                  <a:cubicBezTo>
                    <a:pt x="44" y="7"/>
                    <a:pt x="44" y="5"/>
                    <a:pt x="45" y="4"/>
                  </a:cubicBezTo>
                  <a:cubicBezTo>
                    <a:pt x="45" y="3"/>
                    <a:pt x="45" y="3"/>
                    <a:pt x="45" y="3"/>
                  </a:cubicBezTo>
                  <a:cubicBezTo>
                    <a:pt x="46" y="3"/>
                    <a:pt x="46" y="2"/>
                    <a:pt x="47" y="2"/>
                  </a:cubicBezTo>
                  <a:cubicBezTo>
                    <a:pt x="48" y="2"/>
                    <a:pt x="48" y="2"/>
                    <a:pt x="48" y="2"/>
                  </a:cubicBezTo>
                  <a:cubicBezTo>
                    <a:pt x="48" y="1"/>
                    <a:pt x="49" y="1"/>
                    <a:pt x="49" y="1"/>
                  </a:cubicBezTo>
                  <a:cubicBezTo>
                    <a:pt x="50" y="1"/>
                    <a:pt x="50" y="1"/>
                    <a:pt x="51" y="1"/>
                  </a:cubicBezTo>
                  <a:cubicBezTo>
                    <a:pt x="51" y="1"/>
                    <a:pt x="51" y="1"/>
                    <a:pt x="51" y="1"/>
                  </a:cubicBezTo>
                  <a:cubicBezTo>
                    <a:pt x="52" y="0"/>
                    <a:pt x="53" y="0"/>
                    <a:pt x="53" y="0"/>
                  </a:cubicBezTo>
                  <a:cubicBezTo>
                    <a:pt x="54" y="0"/>
                    <a:pt x="54" y="0"/>
                    <a:pt x="54" y="0"/>
                  </a:cubicBezTo>
                  <a:cubicBezTo>
                    <a:pt x="54" y="0"/>
                    <a:pt x="54" y="0"/>
                    <a:pt x="54" y="0"/>
                  </a:cubicBez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254"/>
            <p:cNvSpPr/>
            <p:nvPr/>
          </p:nvSpPr>
          <p:spPr bwMode="auto">
            <a:xfrm>
              <a:off x="4712" y="63"/>
              <a:ext cx="5" cy="7"/>
            </a:xfrm>
            <a:custGeom>
              <a:gdLst>
                <a:gd name="T0" fmla="*/ 1 w 2"/>
                <a:gd name="T1" fmla="*/ 0 h 3"/>
                <a:gd name="T2" fmla="*/ 0 w 2"/>
                <a:gd name="T3" fmla="*/ 2 h 3"/>
                <a:gd name="T4" fmla="*/ 1 w 2"/>
                <a:gd name="T5" fmla="*/ 3 h 3"/>
                <a:gd name="T6" fmla="*/ 2 w 2"/>
                <a:gd name="T7" fmla="*/ 3 h 3"/>
                <a:gd name="T8" fmla="*/ 1 w 2"/>
                <a:gd name="T9" fmla="*/ 0 h 3"/>
              </a:gdLst>
              <a:cxnLst>
                <a:cxn ang="0">
                  <a:pos x="T0" y="T1"/>
                </a:cxn>
                <a:cxn ang="0">
                  <a:pos x="T2" y="T3"/>
                </a:cxn>
                <a:cxn ang="0">
                  <a:pos x="T4" y="T5"/>
                </a:cxn>
                <a:cxn ang="0">
                  <a:pos x="T6" y="T7"/>
                </a:cxn>
                <a:cxn ang="0">
                  <a:pos x="T8" y="T9"/>
                </a:cxn>
              </a:cxnLst>
              <a:rect l="0" t="0" r="r" b="b"/>
              <a:pathLst>
                <a:path w="2" h="3">
                  <a:moveTo>
                    <a:pt x="1" y="0"/>
                  </a:moveTo>
                  <a:cubicBezTo>
                    <a:pt x="0" y="2"/>
                    <a:pt x="0" y="2"/>
                    <a:pt x="0" y="2"/>
                  </a:cubicBezTo>
                  <a:cubicBezTo>
                    <a:pt x="1" y="3"/>
                    <a:pt x="1" y="3"/>
                    <a:pt x="1" y="3"/>
                  </a:cubicBezTo>
                  <a:cubicBezTo>
                    <a:pt x="2" y="3"/>
                    <a:pt x="2" y="3"/>
                    <a:pt x="2" y="3"/>
                  </a:cubicBezTo>
                  <a:cubicBezTo>
                    <a:pt x="2"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Rectangle 255"/>
            <p:cNvSpPr>
              <a:spLocks noChangeArrowheads="1"/>
            </p:cNvSpPr>
            <p:nvPr/>
          </p:nvSpPr>
          <p:spPr bwMode="auto">
            <a:xfrm>
              <a:off x="4722" y="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Rectangle 256"/>
            <p:cNvSpPr>
              <a:spLocks noChangeArrowheads="1"/>
            </p:cNvSpPr>
            <p:nvPr/>
          </p:nvSpPr>
          <p:spPr bwMode="auto">
            <a:xfrm>
              <a:off x="4722" y="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257"/>
            <p:cNvSpPr/>
            <p:nvPr/>
          </p:nvSpPr>
          <p:spPr bwMode="auto">
            <a:xfrm>
              <a:off x="4412" y="-27"/>
              <a:ext cx="310" cy="232"/>
            </a:xfrm>
            <a:custGeom>
              <a:gdLst>
                <a:gd name="T0" fmla="*/ 69 w 131"/>
                <a:gd name="T1" fmla="*/ 3 h 98"/>
                <a:gd name="T2" fmla="*/ 64 w 131"/>
                <a:gd name="T3" fmla="*/ 3 h 98"/>
                <a:gd name="T4" fmla="*/ 59 w 131"/>
                <a:gd name="T5" fmla="*/ 5 h 98"/>
                <a:gd name="T6" fmla="*/ 54 w 131"/>
                <a:gd name="T7" fmla="*/ 7 h 98"/>
                <a:gd name="T8" fmla="*/ 53 w 131"/>
                <a:gd name="T9" fmla="*/ 7 h 98"/>
                <a:gd name="T10" fmla="*/ 55 w 131"/>
                <a:gd name="T11" fmla="*/ 11 h 98"/>
                <a:gd name="T12" fmla="*/ 46 w 131"/>
                <a:gd name="T13" fmla="*/ 20 h 98"/>
                <a:gd name="T14" fmla="*/ 46 w 131"/>
                <a:gd name="T15" fmla="*/ 25 h 98"/>
                <a:gd name="T16" fmla="*/ 42 w 131"/>
                <a:gd name="T17" fmla="*/ 30 h 98"/>
                <a:gd name="T18" fmla="*/ 39 w 131"/>
                <a:gd name="T19" fmla="*/ 30 h 98"/>
                <a:gd name="T20" fmla="*/ 33 w 131"/>
                <a:gd name="T21" fmla="*/ 28 h 98"/>
                <a:gd name="T22" fmla="*/ 29 w 131"/>
                <a:gd name="T23" fmla="*/ 28 h 98"/>
                <a:gd name="T24" fmla="*/ 12 w 131"/>
                <a:gd name="T25" fmla="*/ 28 h 98"/>
                <a:gd name="T26" fmla="*/ 2 w 131"/>
                <a:gd name="T27" fmla="*/ 30 h 98"/>
                <a:gd name="T28" fmla="*/ 2 w 131"/>
                <a:gd name="T29" fmla="*/ 33 h 98"/>
                <a:gd name="T30" fmla="*/ 7 w 131"/>
                <a:gd name="T31" fmla="*/ 44 h 98"/>
                <a:gd name="T32" fmla="*/ 16 w 131"/>
                <a:gd name="T33" fmla="*/ 40 h 98"/>
                <a:gd name="T34" fmla="*/ 25 w 131"/>
                <a:gd name="T35" fmla="*/ 34 h 98"/>
                <a:gd name="T36" fmla="*/ 38 w 131"/>
                <a:gd name="T37" fmla="*/ 55 h 98"/>
                <a:gd name="T38" fmla="*/ 40 w 131"/>
                <a:gd name="T39" fmla="*/ 62 h 98"/>
                <a:gd name="T40" fmla="*/ 50 w 131"/>
                <a:gd name="T41" fmla="*/ 74 h 98"/>
                <a:gd name="T42" fmla="*/ 62 w 131"/>
                <a:gd name="T43" fmla="*/ 83 h 98"/>
                <a:gd name="T44" fmla="*/ 67 w 131"/>
                <a:gd name="T45" fmla="*/ 82 h 98"/>
                <a:gd name="T46" fmla="*/ 94 w 131"/>
                <a:gd name="T47" fmla="*/ 98 h 98"/>
                <a:gd name="T48" fmla="*/ 87 w 131"/>
                <a:gd name="T49" fmla="*/ 87 h 98"/>
                <a:gd name="T50" fmla="*/ 73 w 131"/>
                <a:gd name="T51" fmla="*/ 75 h 98"/>
                <a:gd name="T52" fmla="*/ 65 w 131"/>
                <a:gd name="T53" fmla="*/ 68 h 98"/>
                <a:gd name="T54" fmla="*/ 60 w 131"/>
                <a:gd name="T55" fmla="*/ 60 h 98"/>
                <a:gd name="T56" fmla="*/ 57 w 131"/>
                <a:gd name="T57" fmla="*/ 52 h 98"/>
                <a:gd name="T58" fmla="*/ 51 w 131"/>
                <a:gd name="T59" fmla="*/ 49 h 98"/>
                <a:gd name="T60" fmla="*/ 51 w 131"/>
                <a:gd name="T61" fmla="*/ 40 h 98"/>
                <a:gd name="T62" fmla="*/ 56 w 131"/>
                <a:gd name="T63" fmla="*/ 31 h 98"/>
                <a:gd name="T64" fmla="*/ 60 w 131"/>
                <a:gd name="T65" fmla="*/ 32 h 98"/>
                <a:gd name="T66" fmla="*/ 71 w 131"/>
                <a:gd name="T67" fmla="*/ 31 h 98"/>
                <a:gd name="T68" fmla="*/ 76 w 131"/>
                <a:gd name="T69" fmla="*/ 31 h 98"/>
                <a:gd name="T70" fmla="*/ 78 w 131"/>
                <a:gd name="T71" fmla="*/ 31 h 98"/>
                <a:gd name="T72" fmla="*/ 82 w 131"/>
                <a:gd name="T73" fmla="*/ 30 h 98"/>
                <a:gd name="T74" fmla="*/ 83 w 131"/>
                <a:gd name="T75" fmla="*/ 31 h 98"/>
                <a:gd name="T76" fmla="*/ 116 w 131"/>
                <a:gd name="T77" fmla="*/ 35 h 98"/>
                <a:gd name="T78" fmla="*/ 124 w 131"/>
                <a:gd name="T79" fmla="*/ 37 h 98"/>
                <a:gd name="T80" fmla="*/ 130 w 131"/>
                <a:gd name="T81" fmla="*/ 32 h 98"/>
                <a:gd name="T82" fmla="*/ 125 w 131"/>
                <a:gd name="T83" fmla="*/ 26 h 98"/>
                <a:gd name="T84" fmla="*/ 116 w 131"/>
                <a:gd name="T85" fmla="*/ 26 h 98"/>
                <a:gd name="T86" fmla="*/ 110 w 131"/>
                <a:gd name="T87" fmla="*/ 21 h 98"/>
                <a:gd name="T88" fmla="*/ 104 w 131"/>
                <a:gd name="T89" fmla="*/ 20 h 98"/>
                <a:gd name="T90" fmla="*/ 93 w 131"/>
                <a:gd name="T91" fmla="*/ 16 h 98"/>
                <a:gd name="T92" fmla="*/ 90 w 131"/>
                <a:gd name="T93" fmla="*/ 14 h 9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1" h="98">
                  <a:moveTo>
                    <a:pt x="71" y="0"/>
                  </a:moveTo>
                  <a:cubicBezTo>
                    <a:pt x="68" y="0"/>
                    <a:pt x="68" y="0"/>
                    <a:pt x="68" y="0"/>
                  </a:cubicBezTo>
                  <a:cubicBezTo>
                    <a:pt x="69" y="3"/>
                    <a:pt x="69" y="3"/>
                    <a:pt x="69" y="3"/>
                  </a:cubicBezTo>
                  <a:cubicBezTo>
                    <a:pt x="65" y="3"/>
                    <a:pt x="65" y="3"/>
                    <a:pt x="65" y="3"/>
                  </a:cubicBezTo>
                  <a:cubicBezTo>
                    <a:pt x="65" y="3"/>
                    <a:pt x="65" y="3"/>
                    <a:pt x="65" y="3"/>
                  </a:cubicBezTo>
                  <a:cubicBezTo>
                    <a:pt x="65" y="3"/>
                    <a:pt x="65" y="3"/>
                    <a:pt x="64" y="3"/>
                  </a:cubicBezTo>
                  <a:cubicBezTo>
                    <a:pt x="63" y="3"/>
                    <a:pt x="63" y="3"/>
                    <a:pt x="63" y="3"/>
                  </a:cubicBezTo>
                  <a:cubicBezTo>
                    <a:pt x="63" y="2"/>
                    <a:pt x="63" y="2"/>
                    <a:pt x="63" y="2"/>
                  </a:cubicBezTo>
                  <a:cubicBezTo>
                    <a:pt x="62" y="4"/>
                    <a:pt x="60" y="5"/>
                    <a:pt x="59" y="5"/>
                  </a:cubicBezTo>
                  <a:cubicBezTo>
                    <a:pt x="59" y="5"/>
                    <a:pt x="58" y="5"/>
                    <a:pt x="58" y="5"/>
                  </a:cubicBezTo>
                  <a:cubicBezTo>
                    <a:pt x="57" y="6"/>
                    <a:pt x="57" y="6"/>
                    <a:pt x="56" y="6"/>
                  </a:cubicBezTo>
                  <a:cubicBezTo>
                    <a:pt x="54" y="7"/>
                    <a:pt x="54" y="7"/>
                    <a:pt x="54" y="7"/>
                  </a:cubicBezTo>
                  <a:cubicBezTo>
                    <a:pt x="53" y="7"/>
                    <a:pt x="53" y="7"/>
                    <a:pt x="53" y="7"/>
                  </a:cubicBezTo>
                  <a:cubicBezTo>
                    <a:pt x="53" y="7"/>
                    <a:pt x="53" y="7"/>
                    <a:pt x="53" y="7"/>
                  </a:cubicBezTo>
                  <a:cubicBezTo>
                    <a:pt x="53" y="7"/>
                    <a:pt x="53" y="7"/>
                    <a:pt x="53" y="7"/>
                  </a:cubicBezTo>
                  <a:cubicBezTo>
                    <a:pt x="54" y="7"/>
                    <a:pt x="55" y="8"/>
                    <a:pt x="55" y="9"/>
                  </a:cubicBezTo>
                  <a:cubicBezTo>
                    <a:pt x="55" y="11"/>
                    <a:pt x="55" y="11"/>
                    <a:pt x="55" y="11"/>
                  </a:cubicBezTo>
                  <a:cubicBezTo>
                    <a:pt x="55" y="11"/>
                    <a:pt x="55" y="11"/>
                    <a:pt x="55" y="11"/>
                  </a:cubicBezTo>
                  <a:cubicBezTo>
                    <a:pt x="54" y="13"/>
                    <a:pt x="53" y="14"/>
                    <a:pt x="52" y="15"/>
                  </a:cubicBezTo>
                  <a:cubicBezTo>
                    <a:pt x="50" y="17"/>
                    <a:pt x="48" y="19"/>
                    <a:pt x="47" y="19"/>
                  </a:cubicBezTo>
                  <a:cubicBezTo>
                    <a:pt x="46" y="20"/>
                    <a:pt x="46" y="20"/>
                    <a:pt x="46" y="20"/>
                  </a:cubicBezTo>
                  <a:cubicBezTo>
                    <a:pt x="47" y="20"/>
                    <a:pt x="47" y="20"/>
                    <a:pt x="47" y="20"/>
                  </a:cubicBezTo>
                  <a:cubicBezTo>
                    <a:pt x="47" y="22"/>
                    <a:pt x="46" y="24"/>
                    <a:pt x="45" y="24"/>
                  </a:cubicBezTo>
                  <a:cubicBezTo>
                    <a:pt x="45" y="24"/>
                    <a:pt x="46" y="25"/>
                    <a:pt x="46" y="25"/>
                  </a:cubicBezTo>
                  <a:cubicBezTo>
                    <a:pt x="46" y="27"/>
                    <a:pt x="44" y="28"/>
                    <a:pt x="44" y="29"/>
                  </a:cubicBezTo>
                  <a:cubicBezTo>
                    <a:pt x="43" y="29"/>
                    <a:pt x="43" y="29"/>
                    <a:pt x="43" y="29"/>
                  </a:cubicBezTo>
                  <a:cubicBezTo>
                    <a:pt x="42" y="30"/>
                    <a:pt x="42" y="30"/>
                    <a:pt x="42" y="30"/>
                  </a:cubicBezTo>
                  <a:cubicBezTo>
                    <a:pt x="41" y="30"/>
                    <a:pt x="41" y="30"/>
                    <a:pt x="41" y="30"/>
                  </a:cubicBezTo>
                  <a:cubicBezTo>
                    <a:pt x="40" y="30"/>
                    <a:pt x="40" y="30"/>
                    <a:pt x="39" y="30"/>
                  </a:cubicBezTo>
                  <a:cubicBezTo>
                    <a:pt x="39" y="30"/>
                    <a:pt x="39" y="30"/>
                    <a:pt x="39" y="30"/>
                  </a:cubicBezTo>
                  <a:cubicBezTo>
                    <a:pt x="38" y="30"/>
                    <a:pt x="38" y="30"/>
                    <a:pt x="38" y="30"/>
                  </a:cubicBezTo>
                  <a:cubicBezTo>
                    <a:pt x="38" y="29"/>
                    <a:pt x="37" y="29"/>
                    <a:pt x="36" y="29"/>
                  </a:cubicBezTo>
                  <a:cubicBezTo>
                    <a:pt x="35" y="28"/>
                    <a:pt x="34" y="28"/>
                    <a:pt x="33" y="28"/>
                  </a:cubicBezTo>
                  <a:cubicBezTo>
                    <a:pt x="33" y="28"/>
                    <a:pt x="32" y="28"/>
                    <a:pt x="31" y="28"/>
                  </a:cubicBezTo>
                  <a:cubicBezTo>
                    <a:pt x="31" y="28"/>
                    <a:pt x="31" y="28"/>
                    <a:pt x="31" y="28"/>
                  </a:cubicBezTo>
                  <a:cubicBezTo>
                    <a:pt x="30" y="28"/>
                    <a:pt x="29" y="28"/>
                    <a:pt x="29" y="28"/>
                  </a:cubicBezTo>
                  <a:cubicBezTo>
                    <a:pt x="27" y="27"/>
                    <a:pt x="26" y="26"/>
                    <a:pt x="25" y="25"/>
                  </a:cubicBezTo>
                  <a:cubicBezTo>
                    <a:pt x="23" y="27"/>
                    <a:pt x="19" y="29"/>
                    <a:pt x="15" y="29"/>
                  </a:cubicBezTo>
                  <a:cubicBezTo>
                    <a:pt x="14" y="29"/>
                    <a:pt x="13" y="29"/>
                    <a:pt x="12" y="28"/>
                  </a:cubicBezTo>
                  <a:cubicBezTo>
                    <a:pt x="12" y="28"/>
                    <a:pt x="11" y="28"/>
                    <a:pt x="11" y="28"/>
                  </a:cubicBezTo>
                  <a:cubicBezTo>
                    <a:pt x="9" y="28"/>
                    <a:pt x="5" y="29"/>
                    <a:pt x="3" y="29"/>
                  </a:cubicBezTo>
                  <a:cubicBezTo>
                    <a:pt x="2" y="30"/>
                    <a:pt x="2" y="30"/>
                    <a:pt x="2" y="30"/>
                  </a:cubicBezTo>
                  <a:cubicBezTo>
                    <a:pt x="1" y="28"/>
                    <a:pt x="1" y="28"/>
                    <a:pt x="1" y="28"/>
                  </a:cubicBezTo>
                  <a:cubicBezTo>
                    <a:pt x="1" y="28"/>
                    <a:pt x="1" y="28"/>
                    <a:pt x="1" y="28"/>
                  </a:cubicBezTo>
                  <a:cubicBezTo>
                    <a:pt x="0" y="30"/>
                    <a:pt x="2" y="32"/>
                    <a:pt x="2" y="33"/>
                  </a:cubicBezTo>
                  <a:cubicBezTo>
                    <a:pt x="2" y="35"/>
                    <a:pt x="2" y="36"/>
                    <a:pt x="3" y="38"/>
                  </a:cubicBezTo>
                  <a:cubicBezTo>
                    <a:pt x="4" y="40"/>
                    <a:pt x="7" y="41"/>
                    <a:pt x="7" y="44"/>
                  </a:cubicBezTo>
                  <a:cubicBezTo>
                    <a:pt x="7" y="44"/>
                    <a:pt x="7" y="44"/>
                    <a:pt x="7" y="44"/>
                  </a:cubicBezTo>
                  <a:cubicBezTo>
                    <a:pt x="8" y="45"/>
                    <a:pt x="9" y="46"/>
                    <a:pt x="9" y="47"/>
                  </a:cubicBezTo>
                  <a:cubicBezTo>
                    <a:pt x="10" y="44"/>
                    <a:pt x="11" y="40"/>
                    <a:pt x="14" y="40"/>
                  </a:cubicBezTo>
                  <a:cubicBezTo>
                    <a:pt x="14" y="40"/>
                    <a:pt x="15" y="40"/>
                    <a:pt x="16" y="40"/>
                  </a:cubicBezTo>
                  <a:cubicBezTo>
                    <a:pt x="16" y="38"/>
                    <a:pt x="17" y="33"/>
                    <a:pt x="18" y="31"/>
                  </a:cubicBezTo>
                  <a:cubicBezTo>
                    <a:pt x="19" y="31"/>
                    <a:pt x="19" y="31"/>
                    <a:pt x="20" y="31"/>
                  </a:cubicBezTo>
                  <a:cubicBezTo>
                    <a:pt x="21" y="31"/>
                    <a:pt x="23" y="32"/>
                    <a:pt x="25" y="34"/>
                  </a:cubicBezTo>
                  <a:cubicBezTo>
                    <a:pt x="25" y="34"/>
                    <a:pt x="25" y="34"/>
                    <a:pt x="25" y="34"/>
                  </a:cubicBezTo>
                  <a:cubicBezTo>
                    <a:pt x="26" y="34"/>
                    <a:pt x="33" y="39"/>
                    <a:pt x="33" y="40"/>
                  </a:cubicBezTo>
                  <a:cubicBezTo>
                    <a:pt x="34" y="46"/>
                    <a:pt x="34" y="51"/>
                    <a:pt x="38" y="55"/>
                  </a:cubicBezTo>
                  <a:cubicBezTo>
                    <a:pt x="42" y="59"/>
                    <a:pt x="47" y="60"/>
                    <a:pt x="49" y="65"/>
                  </a:cubicBezTo>
                  <a:cubicBezTo>
                    <a:pt x="49" y="65"/>
                    <a:pt x="43" y="60"/>
                    <a:pt x="41" y="60"/>
                  </a:cubicBezTo>
                  <a:cubicBezTo>
                    <a:pt x="40" y="60"/>
                    <a:pt x="40" y="61"/>
                    <a:pt x="40" y="62"/>
                  </a:cubicBezTo>
                  <a:cubicBezTo>
                    <a:pt x="39" y="61"/>
                    <a:pt x="39" y="61"/>
                    <a:pt x="39" y="61"/>
                  </a:cubicBezTo>
                  <a:cubicBezTo>
                    <a:pt x="38" y="61"/>
                    <a:pt x="39" y="64"/>
                    <a:pt x="40" y="65"/>
                  </a:cubicBezTo>
                  <a:cubicBezTo>
                    <a:pt x="43" y="68"/>
                    <a:pt x="47" y="72"/>
                    <a:pt x="50" y="74"/>
                  </a:cubicBezTo>
                  <a:cubicBezTo>
                    <a:pt x="52" y="75"/>
                    <a:pt x="57" y="77"/>
                    <a:pt x="58" y="79"/>
                  </a:cubicBezTo>
                  <a:cubicBezTo>
                    <a:pt x="59" y="82"/>
                    <a:pt x="58" y="83"/>
                    <a:pt x="60" y="83"/>
                  </a:cubicBezTo>
                  <a:cubicBezTo>
                    <a:pt x="61" y="83"/>
                    <a:pt x="61" y="83"/>
                    <a:pt x="62" y="83"/>
                  </a:cubicBezTo>
                  <a:cubicBezTo>
                    <a:pt x="63" y="83"/>
                    <a:pt x="64" y="83"/>
                    <a:pt x="65" y="83"/>
                  </a:cubicBezTo>
                  <a:cubicBezTo>
                    <a:pt x="66" y="83"/>
                    <a:pt x="66" y="82"/>
                    <a:pt x="67" y="82"/>
                  </a:cubicBezTo>
                  <a:cubicBezTo>
                    <a:pt x="67" y="82"/>
                    <a:pt x="67" y="82"/>
                    <a:pt x="67" y="82"/>
                  </a:cubicBezTo>
                  <a:cubicBezTo>
                    <a:pt x="72" y="82"/>
                    <a:pt x="76" y="86"/>
                    <a:pt x="79" y="88"/>
                  </a:cubicBezTo>
                  <a:cubicBezTo>
                    <a:pt x="83" y="91"/>
                    <a:pt x="87" y="93"/>
                    <a:pt x="90" y="95"/>
                  </a:cubicBezTo>
                  <a:cubicBezTo>
                    <a:pt x="91" y="96"/>
                    <a:pt x="92" y="97"/>
                    <a:pt x="94" y="98"/>
                  </a:cubicBezTo>
                  <a:cubicBezTo>
                    <a:pt x="93" y="97"/>
                    <a:pt x="93" y="97"/>
                    <a:pt x="93" y="97"/>
                  </a:cubicBezTo>
                  <a:cubicBezTo>
                    <a:pt x="92" y="97"/>
                    <a:pt x="91" y="96"/>
                    <a:pt x="90" y="94"/>
                  </a:cubicBezTo>
                  <a:cubicBezTo>
                    <a:pt x="87" y="87"/>
                    <a:pt x="87" y="87"/>
                    <a:pt x="87" y="87"/>
                  </a:cubicBezTo>
                  <a:cubicBezTo>
                    <a:pt x="86" y="86"/>
                    <a:pt x="84" y="84"/>
                    <a:pt x="82" y="83"/>
                  </a:cubicBezTo>
                  <a:cubicBezTo>
                    <a:pt x="82" y="82"/>
                    <a:pt x="81" y="82"/>
                    <a:pt x="80" y="81"/>
                  </a:cubicBezTo>
                  <a:cubicBezTo>
                    <a:pt x="78" y="79"/>
                    <a:pt x="75" y="77"/>
                    <a:pt x="73" y="75"/>
                  </a:cubicBezTo>
                  <a:cubicBezTo>
                    <a:pt x="72" y="74"/>
                    <a:pt x="72" y="74"/>
                    <a:pt x="72" y="74"/>
                  </a:cubicBezTo>
                  <a:cubicBezTo>
                    <a:pt x="69" y="72"/>
                    <a:pt x="68" y="71"/>
                    <a:pt x="66" y="69"/>
                  </a:cubicBezTo>
                  <a:cubicBezTo>
                    <a:pt x="65" y="68"/>
                    <a:pt x="65" y="68"/>
                    <a:pt x="65" y="68"/>
                  </a:cubicBezTo>
                  <a:cubicBezTo>
                    <a:pt x="63" y="66"/>
                    <a:pt x="62" y="63"/>
                    <a:pt x="61" y="61"/>
                  </a:cubicBezTo>
                  <a:cubicBezTo>
                    <a:pt x="61" y="61"/>
                    <a:pt x="61" y="61"/>
                    <a:pt x="61" y="61"/>
                  </a:cubicBezTo>
                  <a:cubicBezTo>
                    <a:pt x="60" y="61"/>
                    <a:pt x="60" y="60"/>
                    <a:pt x="60" y="60"/>
                  </a:cubicBezTo>
                  <a:cubicBezTo>
                    <a:pt x="59" y="57"/>
                    <a:pt x="59" y="57"/>
                    <a:pt x="59" y="57"/>
                  </a:cubicBezTo>
                  <a:cubicBezTo>
                    <a:pt x="59" y="56"/>
                    <a:pt x="58" y="54"/>
                    <a:pt x="57" y="53"/>
                  </a:cubicBezTo>
                  <a:cubicBezTo>
                    <a:pt x="57" y="52"/>
                    <a:pt x="57" y="52"/>
                    <a:pt x="57" y="52"/>
                  </a:cubicBezTo>
                  <a:cubicBezTo>
                    <a:pt x="56" y="52"/>
                    <a:pt x="56" y="52"/>
                    <a:pt x="56" y="52"/>
                  </a:cubicBezTo>
                  <a:cubicBezTo>
                    <a:pt x="55" y="51"/>
                    <a:pt x="54" y="51"/>
                    <a:pt x="54" y="50"/>
                  </a:cubicBezTo>
                  <a:cubicBezTo>
                    <a:pt x="53" y="50"/>
                    <a:pt x="52" y="50"/>
                    <a:pt x="51" y="49"/>
                  </a:cubicBezTo>
                  <a:cubicBezTo>
                    <a:pt x="49" y="46"/>
                    <a:pt x="50" y="43"/>
                    <a:pt x="50" y="42"/>
                  </a:cubicBezTo>
                  <a:cubicBezTo>
                    <a:pt x="50" y="42"/>
                    <a:pt x="50" y="41"/>
                    <a:pt x="51" y="40"/>
                  </a:cubicBezTo>
                  <a:cubicBezTo>
                    <a:pt x="51" y="40"/>
                    <a:pt x="51" y="40"/>
                    <a:pt x="51" y="40"/>
                  </a:cubicBezTo>
                  <a:cubicBezTo>
                    <a:pt x="51" y="39"/>
                    <a:pt x="51" y="38"/>
                    <a:pt x="51" y="37"/>
                  </a:cubicBezTo>
                  <a:cubicBezTo>
                    <a:pt x="51" y="34"/>
                    <a:pt x="53" y="32"/>
                    <a:pt x="54" y="32"/>
                  </a:cubicBezTo>
                  <a:cubicBezTo>
                    <a:pt x="55" y="31"/>
                    <a:pt x="55" y="31"/>
                    <a:pt x="56" y="31"/>
                  </a:cubicBezTo>
                  <a:cubicBezTo>
                    <a:pt x="56" y="31"/>
                    <a:pt x="56" y="31"/>
                    <a:pt x="56" y="31"/>
                  </a:cubicBezTo>
                  <a:cubicBezTo>
                    <a:pt x="57" y="31"/>
                    <a:pt x="58" y="31"/>
                    <a:pt x="59" y="31"/>
                  </a:cubicBezTo>
                  <a:cubicBezTo>
                    <a:pt x="59" y="31"/>
                    <a:pt x="60" y="31"/>
                    <a:pt x="60" y="32"/>
                  </a:cubicBezTo>
                  <a:cubicBezTo>
                    <a:pt x="63" y="32"/>
                    <a:pt x="65" y="34"/>
                    <a:pt x="66" y="36"/>
                  </a:cubicBezTo>
                  <a:cubicBezTo>
                    <a:pt x="67" y="35"/>
                    <a:pt x="67" y="35"/>
                    <a:pt x="67" y="35"/>
                  </a:cubicBezTo>
                  <a:cubicBezTo>
                    <a:pt x="68" y="33"/>
                    <a:pt x="69" y="32"/>
                    <a:pt x="71" y="31"/>
                  </a:cubicBezTo>
                  <a:cubicBezTo>
                    <a:pt x="72" y="31"/>
                    <a:pt x="72" y="31"/>
                    <a:pt x="72" y="31"/>
                  </a:cubicBezTo>
                  <a:cubicBezTo>
                    <a:pt x="73" y="31"/>
                    <a:pt x="73" y="31"/>
                    <a:pt x="74" y="31"/>
                  </a:cubicBezTo>
                  <a:cubicBezTo>
                    <a:pt x="74" y="31"/>
                    <a:pt x="75" y="31"/>
                    <a:pt x="76" y="31"/>
                  </a:cubicBezTo>
                  <a:cubicBezTo>
                    <a:pt x="76" y="31"/>
                    <a:pt x="76" y="31"/>
                    <a:pt x="76" y="31"/>
                  </a:cubicBezTo>
                  <a:cubicBezTo>
                    <a:pt x="77" y="31"/>
                    <a:pt x="77" y="31"/>
                    <a:pt x="77" y="31"/>
                  </a:cubicBezTo>
                  <a:cubicBezTo>
                    <a:pt x="77" y="31"/>
                    <a:pt x="78" y="31"/>
                    <a:pt x="78" y="31"/>
                  </a:cubicBezTo>
                  <a:cubicBezTo>
                    <a:pt x="78" y="31"/>
                    <a:pt x="78" y="31"/>
                    <a:pt x="78" y="31"/>
                  </a:cubicBezTo>
                  <a:cubicBezTo>
                    <a:pt x="79" y="28"/>
                    <a:pt x="79" y="28"/>
                    <a:pt x="79" y="28"/>
                  </a:cubicBezTo>
                  <a:cubicBezTo>
                    <a:pt x="82" y="30"/>
                    <a:pt x="82" y="30"/>
                    <a:pt x="82" y="30"/>
                  </a:cubicBezTo>
                  <a:cubicBezTo>
                    <a:pt x="82" y="30"/>
                    <a:pt x="82" y="30"/>
                    <a:pt x="82" y="30"/>
                  </a:cubicBezTo>
                  <a:cubicBezTo>
                    <a:pt x="83" y="30"/>
                    <a:pt x="83" y="30"/>
                    <a:pt x="83" y="30"/>
                  </a:cubicBezTo>
                  <a:cubicBezTo>
                    <a:pt x="83" y="31"/>
                    <a:pt x="83" y="31"/>
                    <a:pt x="83" y="31"/>
                  </a:cubicBezTo>
                  <a:cubicBezTo>
                    <a:pt x="85" y="32"/>
                    <a:pt x="88" y="32"/>
                    <a:pt x="90" y="33"/>
                  </a:cubicBezTo>
                  <a:cubicBezTo>
                    <a:pt x="106" y="35"/>
                    <a:pt x="106" y="35"/>
                    <a:pt x="106" y="35"/>
                  </a:cubicBezTo>
                  <a:cubicBezTo>
                    <a:pt x="110" y="35"/>
                    <a:pt x="113" y="35"/>
                    <a:pt x="116" y="35"/>
                  </a:cubicBezTo>
                  <a:cubicBezTo>
                    <a:pt x="117" y="35"/>
                    <a:pt x="118" y="35"/>
                    <a:pt x="118" y="35"/>
                  </a:cubicBezTo>
                  <a:cubicBezTo>
                    <a:pt x="120" y="35"/>
                    <a:pt x="122" y="36"/>
                    <a:pt x="123" y="37"/>
                  </a:cubicBezTo>
                  <a:cubicBezTo>
                    <a:pt x="123" y="37"/>
                    <a:pt x="124" y="37"/>
                    <a:pt x="124" y="37"/>
                  </a:cubicBezTo>
                  <a:cubicBezTo>
                    <a:pt x="128" y="37"/>
                    <a:pt x="128" y="37"/>
                    <a:pt x="128" y="37"/>
                  </a:cubicBezTo>
                  <a:cubicBezTo>
                    <a:pt x="128" y="35"/>
                    <a:pt x="129" y="34"/>
                    <a:pt x="130" y="33"/>
                  </a:cubicBezTo>
                  <a:cubicBezTo>
                    <a:pt x="130" y="32"/>
                    <a:pt x="130" y="32"/>
                    <a:pt x="130" y="32"/>
                  </a:cubicBezTo>
                  <a:cubicBezTo>
                    <a:pt x="131" y="32"/>
                    <a:pt x="131" y="32"/>
                    <a:pt x="131" y="32"/>
                  </a:cubicBezTo>
                  <a:cubicBezTo>
                    <a:pt x="123" y="27"/>
                    <a:pt x="123" y="27"/>
                    <a:pt x="123" y="27"/>
                  </a:cubicBezTo>
                  <a:cubicBezTo>
                    <a:pt x="125" y="26"/>
                    <a:pt x="125" y="26"/>
                    <a:pt x="125" y="26"/>
                  </a:cubicBezTo>
                  <a:cubicBezTo>
                    <a:pt x="124" y="24"/>
                    <a:pt x="124" y="23"/>
                    <a:pt x="124" y="22"/>
                  </a:cubicBezTo>
                  <a:cubicBezTo>
                    <a:pt x="125" y="19"/>
                    <a:pt x="125" y="19"/>
                    <a:pt x="125" y="19"/>
                  </a:cubicBezTo>
                  <a:cubicBezTo>
                    <a:pt x="116" y="26"/>
                    <a:pt x="116" y="26"/>
                    <a:pt x="116" y="26"/>
                  </a:cubicBezTo>
                  <a:cubicBezTo>
                    <a:pt x="120" y="19"/>
                    <a:pt x="120" y="19"/>
                    <a:pt x="120" y="19"/>
                  </a:cubicBezTo>
                  <a:cubicBezTo>
                    <a:pt x="118" y="20"/>
                    <a:pt x="115" y="21"/>
                    <a:pt x="112" y="21"/>
                  </a:cubicBezTo>
                  <a:cubicBezTo>
                    <a:pt x="111" y="21"/>
                    <a:pt x="111" y="21"/>
                    <a:pt x="110" y="21"/>
                  </a:cubicBezTo>
                  <a:cubicBezTo>
                    <a:pt x="109" y="21"/>
                    <a:pt x="108" y="21"/>
                    <a:pt x="107" y="20"/>
                  </a:cubicBezTo>
                  <a:cubicBezTo>
                    <a:pt x="106" y="20"/>
                    <a:pt x="106" y="20"/>
                    <a:pt x="106" y="20"/>
                  </a:cubicBezTo>
                  <a:cubicBezTo>
                    <a:pt x="105" y="20"/>
                    <a:pt x="105" y="20"/>
                    <a:pt x="104" y="20"/>
                  </a:cubicBezTo>
                  <a:cubicBezTo>
                    <a:pt x="100" y="20"/>
                    <a:pt x="96" y="18"/>
                    <a:pt x="93" y="16"/>
                  </a:cubicBezTo>
                  <a:cubicBezTo>
                    <a:pt x="94" y="15"/>
                    <a:pt x="94" y="15"/>
                    <a:pt x="94" y="15"/>
                  </a:cubicBezTo>
                  <a:cubicBezTo>
                    <a:pt x="93" y="16"/>
                    <a:pt x="93" y="16"/>
                    <a:pt x="93" y="16"/>
                  </a:cubicBezTo>
                  <a:cubicBezTo>
                    <a:pt x="92" y="16"/>
                    <a:pt x="92" y="16"/>
                    <a:pt x="92" y="16"/>
                  </a:cubicBezTo>
                  <a:cubicBezTo>
                    <a:pt x="91" y="15"/>
                    <a:pt x="91" y="15"/>
                    <a:pt x="91" y="15"/>
                  </a:cubicBezTo>
                  <a:cubicBezTo>
                    <a:pt x="91" y="15"/>
                    <a:pt x="90" y="15"/>
                    <a:pt x="90" y="14"/>
                  </a:cubicBezTo>
                  <a:cubicBezTo>
                    <a:pt x="86" y="13"/>
                    <a:pt x="80" y="9"/>
                    <a:pt x="77" y="4"/>
                  </a:cubicBezTo>
                  <a:cubicBezTo>
                    <a:pt x="75" y="2"/>
                    <a:pt x="75" y="1"/>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258"/>
            <p:cNvSpPr/>
            <p:nvPr/>
          </p:nvSpPr>
          <p:spPr bwMode="auto">
            <a:xfrm flipH="1">
              <a:off x="4696" y="70"/>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59"/>
            <p:cNvSpPr/>
            <p:nvPr/>
          </p:nvSpPr>
          <p:spPr bwMode="auto">
            <a:xfrm flipH="1">
              <a:off x="4696" y="70"/>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260"/>
            <p:cNvSpPr/>
            <p:nvPr/>
          </p:nvSpPr>
          <p:spPr bwMode="auto">
            <a:xfrm>
              <a:off x="4542" y="58"/>
              <a:ext cx="196" cy="180"/>
            </a:xfrm>
            <a:custGeom>
              <a:gdLst>
                <a:gd name="T0" fmla="*/ 24 w 83"/>
                <a:gd name="T1" fmla="*/ 0 h 76"/>
                <a:gd name="T2" fmla="*/ 20 w 83"/>
                <a:gd name="T3" fmla="*/ 0 h 76"/>
                <a:gd name="T4" fmla="*/ 18 w 83"/>
                <a:gd name="T5" fmla="*/ 0 h 76"/>
                <a:gd name="T6" fmla="*/ 15 w 83"/>
                <a:gd name="T7" fmla="*/ 4 h 76"/>
                <a:gd name="T8" fmla="*/ 13 w 83"/>
                <a:gd name="T9" fmla="*/ 9 h 76"/>
                <a:gd name="T10" fmla="*/ 8 w 83"/>
                <a:gd name="T11" fmla="*/ 5 h 76"/>
                <a:gd name="T12" fmla="*/ 4 w 83"/>
                <a:gd name="T13" fmla="*/ 1 h 76"/>
                <a:gd name="T14" fmla="*/ 2 w 83"/>
                <a:gd name="T15" fmla="*/ 1 h 76"/>
                <a:gd name="T16" fmla="*/ 1 w 83"/>
                <a:gd name="T17" fmla="*/ 5 h 76"/>
                <a:gd name="T18" fmla="*/ 1 w 83"/>
                <a:gd name="T19" fmla="*/ 9 h 76"/>
                <a:gd name="T20" fmla="*/ 3 w 83"/>
                <a:gd name="T21" fmla="*/ 10 h 76"/>
                <a:gd name="T22" fmla="*/ 7 w 83"/>
                <a:gd name="T23" fmla="*/ 13 h 76"/>
                <a:gd name="T24" fmla="*/ 10 w 83"/>
                <a:gd name="T25" fmla="*/ 20 h 76"/>
                <a:gd name="T26" fmla="*/ 11 w 83"/>
                <a:gd name="T27" fmla="*/ 22 h 76"/>
                <a:gd name="T28" fmla="*/ 14 w 83"/>
                <a:gd name="T29" fmla="*/ 28 h 76"/>
                <a:gd name="T30" fmla="*/ 20 w 83"/>
                <a:gd name="T31" fmla="*/ 33 h 76"/>
                <a:gd name="T32" fmla="*/ 29 w 83"/>
                <a:gd name="T33" fmla="*/ 41 h 76"/>
                <a:gd name="T34" fmla="*/ 31 w 83"/>
                <a:gd name="T35" fmla="*/ 42 h 76"/>
                <a:gd name="T36" fmla="*/ 41 w 83"/>
                <a:gd name="T37" fmla="*/ 56 h 76"/>
                <a:gd name="T38" fmla="*/ 44 w 83"/>
                <a:gd name="T39" fmla="*/ 58 h 76"/>
                <a:gd name="T40" fmla="*/ 46 w 83"/>
                <a:gd name="T41" fmla="*/ 62 h 76"/>
                <a:gd name="T42" fmla="*/ 44 w 83"/>
                <a:gd name="T43" fmla="*/ 66 h 76"/>
                <a:gd name="T44" fmla="*/ 44 w 83"/>
                <a:gd name="T45" fmla="*/ 66 h 76"/>
                <a:gd name="T46" fmla="*/ 41 w 83"/>
                <a:gd name="T47" fmla="*/ 66 h 76"/>
                <a:gd name="T48" fmla="*/ 59 w 83"/>
                <a:gd name="T49" fmla="*/ 76 h 76"/>
                <a:gd name="T50" fmla="*/ 61 w 83"/>
                <a:gd name="T51" fmla="*/ 71 h 76"/>
                <a:gd name="T52" fmla="*/ 61 w 83"/>
                <a:gd name="T53" fmla="*/ 70 h 76"/>
                <a:gd name="T54" fmla="*/ 60 w 83"/>
                <a:gd name="T55" fmla="*/ 64 h 76"/>
                <a:gd name="T56" fmla="*/ 67 w 83"/>
                <a:gd name="T57" fmla="*/ 51 h 76"/>
                <a:gd name="T58" fmla="*/ 71 w 83"/>
                <a:gd name="T59" fmla="*/ 49 h 76"/>
                <a:gd name="T60" fmla="*/ 71 w 83"/>
                <a:gd name="T61" fmla="*/ 45 h 76"/>
                <a:gd name="T62" fmla="*/ 75 w 83"/>
                <a:gd name="T63" fmla="*/ 43 h 76"/>
                <a:gd name="T64" fmla="*/ 77 w 83"/>
                <a:gd name="T65" fmla="*/ 44 h 76"/>
                <a:gd name="T66" fmla="*/ 78 w 83"/>
                <a:gd name="T67" fmla="*/ 44 h 76"/>
                <a:gd name="T68" fmla="*/ 79 w 83"/>
                <a:gd name="T69" fmla="*/ 44 h 76"/>
                <a:gd name="T70" fmla="*/ 83 w 83"/>
                <a:gd name="T71" fmla="*/ 41 h 76"/>
                <a:gd name="T72" fmla="*/ 81 w 83"/>
                <a:gd name="T73" fmla="*/ 39 h 76"/>
                <a:gd name="T74" fmla="*/ 74 w 83"/>
                <a:gd name="T75" fmla="*/ 28 h 76"/>
                <a:gd name="T76" fmla="*/ 82 w 83"/>
                <a:gd name="T77" fmla="*/ 31 h 76"/>
                <a:gd name="T78" fmla="*/ 81 w 83"/>
                <a:gd name="T79" fmla="*/ 28 h 76"/>
                <a:gd name="T80" fmla="*/ 79 w 83"/>
                <a:gd name="T81" fmla="*/ 28 h 76"/>
                <a:gd name="T82" fmla="*/ 76 w 83"/>
                <a:gd name="T83" fmla="*/ 26 h 76"/>
                <a:gd name="T84" fmla="*/ 76 w 83"/>
                <a:gd name="T85" fmla="*/ 15 h 76"/>
                <a:gd name="T86" fmla="*/ 78 w 83"/>
                <a:gd name="T87" fmla="*/ 11 h 76"/>
                <a:gd name="T88" fmla="*/ 77 w 83"/>
                <a:gd name="T89" fmla="*/ 11 h 76"/>
                <a:gd name="T90" fmla="*/ 77 w 83"/>
                <a:gd name="T91" fmla="*/ 11 h 76"/>
                <a:gd name="T92" fmla="*/ 76 w 83"/>
                <a:gd name="T93" fmla="*/ 11 h 76"/>
                <a:gd name="T94" fmla="*/ 66 w 83"/>
                <a:gd name="T95" fmla="*/ 7 h 76"/>
                <a:gd name="T96" fmla="*/ 65 w 83"/>
                <a:gd name="T97" fmla="*/ 5 h 76"/>
                <a:gd name="T98" fmla="*/ 63 w 83"/>
                <a:gd name="T99" fmla="*/ 5 h 76"/>
                <a:gd name="T100" fmla="*/ 62 w 83"/>
                <a:gd name="T101" fmla="*/ 5 h 76"/>
                <a:gd name="T102" fmla="*/ 34 w 83"/>
                <a:gd name="T103" fmla="*/ 3 h 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 h="76">
                  <a:moveTo>
                    <a:pt x="26" y="0"/>
                  </a:moveTo>
                  <a:cubicBezTo>
                    <a:pt x="25" y="0"/>
                    <a:pt x="25" y="0"/>
                    <a:pt x="24" y="0"/>
                  </a:cubicBezTo>
                  <a:cubicBezTo>
                    <a:pt x="23" y="1"/>
                    <a:pt x="23" y="1"/>
                    <a:pt x="22" y="1"/>
                  </a:cubicBezTo>
                  <a:cubicBezTo>
                    <a:pt x="21" y="1"/>
                    <a:pt x="21" y="1"/>
                    <a:pt x="20" y="0"/>
                  </a:cubicBezTo>
                  <a:cubicBezTo>
                    <a:pt x="20" y="0"/>
                    <a:pt x="19" y="0"/>
                    <a:pt x="19" y="0"/>
                  </a:cubicBezTo>
                  <a:cubicBezTo>
                    <a:pt x="19" y="0"/>
                    <a:pt x="18" y="0"/>
                    <a:pt x="18" y="0"/>
                  </a:cubicBezTo>
                  <a:cubicBezTo>
                    <a:pt x="18" y="1"/>
                    <a:pt x="17" y="1"/>
                    <a:pt x="17" y="2"/>
                  </a:cubicBezTo>
                  <a:cubicBezTo>
                    <a:pt x="16" y="2"/>
                    <a:pt x="16" y="3"/>
                    <a:pt x="15" y="4"/>
                  </a:cubicBezTo>
                  <a:cubicBezTo>
                    <a:pt x="15" y="5"/>
                    <a:pt x="15" y="5"/>
                    <a:pt x="14" y="6"/>
                  </a:cubicBezTo>
                  <a:cubicBezTo>
                    <a:pt x="13" y="9"/>
                    <a:pt x="13" y="9"/>
                    <a:pt x="13" y="9"/>
                  </a:cubicBezTo>
                  <a:cubicBezTo>
                    <a:pt x="10" y="6"/>
                    <a:pt x="10" y="6"/>
                    <a:pt x="10" y="6"/>
                  </a:cubicBezTo>
                  <a:cubicBezTo>
                    <a:pt x="10" y="6"/>
                    <a:pt x="9" y="5"/>
                    <a:pt x="8" y="5"/>
                  </a:cubicBezTo>
                  <a:cubicBezTo>
                    <a:pt x="8" y="5"/>
                    <a:pt x="8" y="5"/>
                    <a:pt x="8" y="5"/>
                  </a:cubicBezTo>
                  <a:cubicBezTo>
                    <a:pt x="7" y="3"/>
                    <a:pt x="5" y="2"/>
                    <a:pt x="4" y="1"/>
                  </a:cubicBezTo>
                  <a:cubicBezTo>
                    <a:pt x="3" y="1"/>
                    <a:pt x="3" y="1"/>
                    <a:pt x="3" y="1"/>
                  </a:cubicBezTo>
                  <a:cubicBezTo>
                    <a:pt x="2" y="1"/>
                    <a:pt x="2" y="1"/>
                    <a:pt x="2" y="1"/>
                  </a:cubicBezTo>
                  <a:cubicBezTo>
                    <a:pt x="2" y="1"/>
                    <a:pt x="2" y="1"/>
                    <a:pt x="2" y="1"/>
                  </a:cubicBezTo>
                  <a:cubicBezTo>
                    <a:pt x="2" y="2"/>
                    <a:pt x="1" y="4"/>
                    <a:pt x="1" y="5"/>
                  </a:cubicBezTo>
                  <a:cubicBezTo>
                    <a:pt x="1" y="6"/>
                    <a:pt x="1" y="6"/>
                    <a:pt x="1" y="7"/>
                  </a:cubicBezTo>
                  <a:cubicBezTo>
                    <a:pt x="0" y="9"/>
                    <a:pt x="1" y="9"/>
                    <a:pt x="1" y="9"/>
                  </a:cubicBezTo>
                  <a:cubicBezTo>
                    <a:pt x="1" y="9"/>
                    <a:pt x="1" y="9"/>
                    <a:pt x="1" y="9"/>
                  </a:cubicBezTo>
                  <a:cubicBezTo>
                    <a:pt x="2" y="10"/>
                    <a:pt x="3" y="10"/>
                    <a:pt x="3" y="10"/>
                  </a:cubicBezTo>
                  <a:cubicBezTo>
                    <a:pt x="4" y="11"/>
                    <a:pt x="5" y="11"/>
                    <a:pt x="6" y="12"/>
                  </a:cubicBezTo>
                  <a:cubicBezTo>
                    <a:pt x="6" y="12"/>
                    <a:pt x="6" y="13"/>
                    <a:pt x="7" y="13"/>
                  </a:cubicBezTo>
                  <a:cubicBezTo>
                    <a:pt x="7" y="13"/>
                    <a:pt x="7" y="14"/>
                    <a:pt x="8" y="14"/>
                  </a:cubicBezTo>
                  <a:cubicBezTo>
                    <a:pt x="8" y="16"/>
                    <a:pt x="9" y="18"/>
                    <a:pt x="10" y="20"/>
                  </a:cubicBezTo>
                  <a:cubicBezTo>
                    <a:pt x="10" y="20"/>
                    <a:pt x="10" y="21"/>
                    <a:pt x="10" y="21"/>
                  </a:cubicBezTo>
                  <a:cubicBezTo>
                    <a:pt x="10" y="22"/>
                    <a:pt x="11" y="22"/>
                    <a:pt x="11" y="22"/>
                  </a:cubicBezTo>
                  <a:cubicBezTo>
                    <a:pt x="11" y="23"/>
                    <a:pt x="11" y="23"/>
                    <a:pt x="11" y="23"/>
                  </a:cubicBezTo>
                  <a:cubicBezTo>
                    <a:pt x="12" y="25"/>
                    <a:pt x="13" y="27"/>
                    <a:pt x="14" y="28"/>
                  </a:cubicBezTo>
                  <a:cubicBezTo>
                    <a:pt x="15" y="29"/>
                    <a:pt x="15" y="29"/>
                    <a:pt x="15" y="29"/>
                  </a:cubicBezTo>
                  <a:cubicBezTo>
                    <a:pt x="17" y="30"/>
                    <a:pt x="18" y="32"/>
                    <a:pt x="20" y="33"/>
                  </a:cubicBezTo>
                  <a:cubicBezTo>
                    <a:pt x="21" y="34"/>
                    <a:pt x="21" y="34"/>
                    <a:pt x="21" y="34"/>
                  </a:cubicBezTo>
                  <a:cubicBezTo>
                    <a:pt x="24" y="36"/>
                    <a:pt x="26" y="38"/>
                    <a:pt x="29" y="41"/>
                  </a:cubicBezTo>
                  <a:cubicBezTo>
                    <a:pt x="30" y="41"/>
                    <a:pt x="30" y="41"/>
                    <a:pt x="31" y="42"/>
                  </a:cubicBezTo>
                  <a:cubicBezTo>
                    <a:pt x="31" y="42"/>
                    <a:pt x="31" y="42"/>
                    <a:pt x="31" y="42"/>
                  </a:cubicBezTo>
                  <a:cubicBezTo>
                    <a:pt x="33" y="44"/>
                    <a:pt x="36" y="46"/>
                    <a:pt x="37" y="49"/>
                  </a:cubicBezTo>
                  <a:cubicBezTo>
                    <a:pt x="41" y="56"/>
                    <a:pt x="41" y="56"/>
                    <a:pt x="41" y="56"/>
                  </a:cubicBezTo>
                  <a:cubicBezTo>
                    <a:pt x="42" y="56"/>
                    <a:pt x="42" y="56"/>
                    <a:pt x="42" y="56"/>
                  </a:cubicBezTo>
                  <a:cubicBezTo>
                    <a:pt x="42" y="57"/>
                    <a:pt x="44" y="57"/>
                    <a:pt x="44" y="58"/>
                  </a:cubicBezTo>
                  <a:cubicBezTo>
                    <a:pt x="45" y="59"/>
                    <a:pt x="45" y="60"/>
                    <a:pt x="46" y="61"/>
                  </a:cubicBezTo>
                  <a:cubicBezTo>
                    <a:pt x="46" y="62"/>
                    <a:pt x="46" y="62"/>
                    <a:pt x="46" y="62"/>
                  </a:cubicBezTo>
                  <a:cubicBezTo>
                    <a:pt x="46" y="64"/>
                    <a:pt x="45" y="65"/>
                    <a:pt x="43" y="66"/>
                  </a:cubicBezTo>
                  <a:cubicBezTo>
                    <a:pt x="44" y="66"/>
                    <a:pt x="44" y="66"/>
                    <a:pt x="44" y="66"/>
                  </a:cubicBezTo>
                  <a:cubicBezTo>
                    <a:pt x="44" y="66"/>
                    <a:pt x="44" y="66"/>
                    <a:pt x="44" y="66"/>
                  </a:cubicBezTo>
                  <a:cubicBezTo>
                    <a:pt x="44" y="66"/>
                    <a:pt x="44" y="66"/>
                    <a:pt x="44" y="66"/>
                  </a:cubicBezTo>
                  <a:cubicBezTo>
                    <a:pt x="44" y="66"/>
                    <a:pt x="43" y="66"/>
                    <a:pt x="43" y="66"/>
                  </a:cubicBezTo>
                  <a:cubicBezTo>
                    <a:pt x="43" y="66"/>
                    <a:pt x="42" y="66"/>
                    <a:pt x="41" y="66"/>
                  </a:cubicBezTo>
                  <a:cubicBezTo>
                    <a:pt x="40" y="67"/>
                    <a:pt x="40" y="67"/>
                    <a:pt x="40" y="67"/>
                  </a:cubicBezTo>
                  <a:cubicBezTo>
                    <a:pt x="47" y="70"/>
                    <a:pt x="53" y="73"/>
                    <a:pt x="59" y="76"/>
                  </a:cubicBezTo>
                  <a:cubicBezTo>
                    <a:pt x="58" y="73"/>
                    <a:pt x="58" y="73"/>
                    <a:pt x="58" y="73"/>
                  </a:cubicBezTo>
                  <a:cubicBezTo>
                    <a:pt x="61" y="71"/>
                    <a:pt x="61" y="71"/>
                    <a:pt x="61" y="71"/>
                  </a:cubicBezTo>
                  <a:cubicBezTo>
                    <a:pt x="61" y="71"/>
                    <a:pt x="61" y="71"/>
                    <a:pt x="61" y="71"/>
                  </a:cubicBezTo>
                  <a:cubicBezTo>
                    <a:pt x="61" y="71"/>
                    <a:pt x="61" y="70"/>
                    <a:pt x="61" y="70"/>
                  </a:cubicBezTo>
                  <a:cubicBezTo>
                    <a:pt x="61" y="69"/>
                    <a:pt x="61" y="68"/>
                    <a:pt x="60" y="67"/>
                  </a:cubicBezTo>
                  <a:cubicBezTo>
                    <a:pt x="60" y="66"/>
                    <a:pt x="60" y="65"/>
                    <a:pt x="60" y="64"/>
                  </a:cubicBezTo>
                  <a:cubicBezTo>
                    <a:pt x="60" y="61"/>
                    <a:pt x="61" y="57"/>
                    <a:pt x="64" y="54"/>
                  </a:cubicBezTo>
                  <a:cubicBezTo>
                    <a:pt x="65" y="53"/>
                    <a:pt x="66" y="52"/>
                    <a:pt x="67" y="51"/>
                  </a:cubicBezTo>
                  <a:cubicBezTo>
                    <a:pt x="68" y="51"/>
                    <a:pt x="68" y="51"/>
                    <a:pt x="68" y="51"/>
                  </a:cubicBezTo>
                  <a:cubicBezTo>
                    <a:pt x="68" y="50"/>
                    <a:pt x="69" y="49"/>
                    <a:pt x="71" y="49"/>
                  </a:cubicBezTo>
                  <a:cubicBezTo>
                    <a:pt x="69" y="47"/>
                    <a:pt x="69" y="47"/>
                    <a:pt x="69" y="47"/>
                  </a:cubicBezTo>
                  <a:cubicBezTo>
                    <a:pt x="71" y="45"/>
                    <a:pt x="71" y="45"/>
                    <a:pt x="71" y="45"/>
                  </a:cubicBezTo>
                  <a:cubicBezTo>
                    <a:pt x="71" y="44"/>
                    <a:pt x="73" y="44"/>
                    <a:pt x="73" y="44"/>
                  </a:cubicBezTo>
                  <a:cubicBezTo>
                    <a:pt x="74" y="43"/>
                    <a:pt x="74" y="43"/>
                    <a:pt x="75" y="43"/>
                  </a:cubicBezTo>
                  <a:cubicBezTo>
                    <a:pt x="75" y="43"/>
                    <a:pt x="76" y="44"/>
                    <a:pt x="76" y="44"/>
                  </a:cubicBezTo>
                  <a:cubicBezTo>
                    <a:pt x="77" y="44"/>
                    <a:pt x="77" y="44"/>
                    <a:pt x="77" y="44"/>
                  </a:cubicBezTo>
                  <a:cubicBezTo>
                    <a:pt x="77" y="44"/>
                    <a:pt x="77" y="44"/>
                    <a:pt x="77" y="44"/>
                  </a:cubicBezTo>
                  <a:cubicBezTo>
                    <a:pt x="78" y="44"/>
                    <a:pt x="78" y="44"/>
                    <a:pt x="78" y="44"/>
                  </a:cubicBezTo>
                  <a:cubicBezTo>
                    <a:pt x="78" y="44"/>
                    <a:pt x="78" y="44"/>
                    <a:pt x="78" y="44"/>
                  </a:cubicBezTo>
                  <a:cubicBezTo>
                    <a:pt x="79" y="44"/>
                    <a:pt x="79" y="44"/>
                    <a:pt x="79" y="44"/>
                  </a:cubicBezTo>
                  <a:cubicBezTo>
                    <a:pt x="81" y="43"/>
                    <a:pt x="83" y="42"/>
                    <a:pt x="83" y="41"/>
                  </a:cubicBezTo>
                  <a:cubicBezTo>
                    <a:pt x="83" y="41"/>
                    <a:pt x="83" y="41"/>
                    <a:pt x="83" y="41"/>
                  </a:cubicBezTo>
                  <a:cubicBezTo>
                    <a:pt x="83" y="41"/>
                    <a:pt x="83" y="41"/>
                    <a:pt x="83" y="41"/>
                  </a:cubicBezTo>
                  <a:cubicBezTo>
                    <a:pt x="83" y="41"/>
                    <a:pt x="82" y="39"/>
                    <a:pt x="81" y="39"/>
                  </a:cubicBezTo>
                  <a:cubicBezTo>
                    <a:pt x="80" y="37"/>
                    <a:pt x="78" y="36"/>
                    <a:pt x="78" y="34"/>
                  </a:cubicBezTo>
                  <a:cubicBezTo>
                    <a:pt x="74" y="28"/>
                    <a:pt x="74" y="28"/>
                    <a:pt x="74" y="28"/>
                  </a:cubicBezTo>
                  <a:cubicBezTo>
                    <a:pt x="81" y="30"/>
                    <a:pt x="81" y="30"/>
                    <a:pt x="81" y="30"/>
                  </a:cubicBezTo>
                  <a:cubicBezTo>
                    <a:pt x="81" y="30"/>
                    <a:pt x="82" y="31"/>
                    <a:pt x="82" y="31"/>
                  </a:cubicBezTo>
                  <a:cubicBezTo>
                    <a:pt x="82" y="30"/>
                    <a:pt x="82" y="30"/>
                    <a:pt x="82" y="30"/>
                  </a:cubicBezTo>
                  <a:cubicBezTo>
                    <a:pt x="81" y="29"/>
                    <a:pt x="81" y="29"/>
                    <a:pt x="81" y="28"/>
                  </a:cubicBezTo>
                  <a:cubicBezTo>
                    <a:pt x="80" y="28"/>
                    <a:pt x="80" y="28"/>
                    <a:pt x="80" y="28"/>
                  </a:cubicBezTo>
                  <a:cubicBezTo>
                    <a:pt x="79" y="28"/>
                    <a:pt x="79" y="28"/>
                    <a:pt x="79" y="28"/>
                  </a:cubicBezTo>
                  <a:cubicBezTo>
                    <a:pt x="79" y="28"/>
                    <a:pt x="79" y="28"/>
                    <a:pt x="79" y="28"/>
                  </a:cubicBezTo>
                  <a:cubicBezTo>
                    <a:pt x="77" y="27"/>
                    <a:pt x="77" y="27"/>
                    <a:pt x="76" y="26"/>
                  </a:cubicBezTo>
                  <a:cubicBezTo>
                    <a:pt x="74" y="24"/>
                    <a:pt x="74" y="21"/>
                    <a:pt x="74" y="19"/>
                  </a:cubicBezTo>
                  <a:cubicBezTo>
                    <a:pt x="74" y="18"/>
                    <a:pt x="75" y="17"/>
                    <a:pt x="76" y="15"/>
                  </a:cubicBezTo>
                  <a:cubicBezTo>
                    <a:pt x="76" y="15"/>
                    <a:pt x="76" y="15"/>
                    <a:pt x="76" y="15"/>
                  </a:cubicBezTo>
                  <a:cubicBezTo>
                    <a:pt x="77" y="14"/>
                    <a:pt x="78" y="13"/>
                    <a:pt x="78" y="11"/>
                  </a:cubicBezTo>
                  <a:cubicBezTo>
                    <a:pt x="78" y="11"/>
                    <a:pt x="78" y="11"/>
                    <a:pt x="78" y="11"/>
                  </a:cubicBezTo>
                  <a:cubicBezTo>
                    <a:pt x="77" y="11"/>
                    <a:pt x="77" y="11"/>
                    <a:pt x="77" y="11"/>
                  </a:cubicBezTo>
                  <a:cubicBezTo>
                    <a:pt x="77" y="11"/>
                    <a:pt x="77" y="11"/>
                    <a:pt x="77" y="11"/>
                  </a:cubicBezTo>
                  <a:cubicBezTo>
                    <a:pt x="77" y="11"/>
                    <a:pt x="77" y="11"/>
                    <a:pt x="77" y="11"/>
                  </a:cubicBezTo>
                  <a:cubicBezTo>
                    <a:pt x="76" y="11"/>
                    <a:pt x="76" y="11"/>
                    <a:pt x="76" y="11"/>
                  </a:cubicBezTo>
                  <a:cubicBezTo>
                    <a:pt x="76" y="11"/>
                    <a:pt x="76" y="11"/>
                    <a:pt x="76" y="11"/>
                  </a:cubicBezTo>
                  <a:cubicBezTo>
                    <a:pt x="74" y="11"/>
                    <a:pt x="73" y="11"/>
                    <a:pt x="73" y="11"/>
                  </a:cubicBezTo>
                  <a:cubicBezTo>
                    <a:pt x="70" y="10"/>
                    <a:pt x="67" y="9"/>
                    <a:pt x="66" y="7"/>
                  </a:cubicBezTo>
                  <a:cubicBezTo>
                    <a:pt x="66" y="6"/>
                    <a:pt x="66" y="6"/>
                    <a:pt x="66" y="6"/>
                  </a:cubicBezTo>
                  <a:cubicBezTo>
                    <a:pt x="66" y="6"/>
                    <a:pt x="65" y="6"/>
                    <a:pt x="65" y="5"/>
                  </a:cubicBezTo>
                  <a:cubicBezTo>
                    <a:pt x="64" y="5"/>
                    <a:pt x="64" y="5"/>
                    <a:pt x="64" y="5"/>
                  </a:cubicBezTo>
                  <a:cubicBezTo>
                    <a:pt x="63" y="5"/>
                    <a:pt x="63" y="5"/>
                    <a:pt x="63" y="5"/>
                  </a:cubicBezTo>
                  <a:cubicBezTo>
                    <a:pt x="63" y="5"/>
                    <a:pt x="63" y="5"/>
                    <a:pt x="63" y="5"/>
                  </a:cubicBezTo>
                  <a:cubicBezTo>
                    <a:pt x="62" y="5"/>
                    <a:pt x="62" y="5"/>
                    <a:pt x="62" y="5"/>
                  </a:cubicBezTo>
                  <a:cubicBezTo>
                    <a:pt x="58" y="5"/>
                    <a:pt x="54" y="5"/>
                    <a:pt x="51" y="4"/>
                  </a:cubicBezTo>
                  <a:cubicBezTo>
                    <a:pt x="34" y="3"/>
                    <a:pt x="34" y="3"/>
                    <a:pt x="34" y="3"/>
                  </a:cubicBezTo>
                  <a:cubicBezTo>
                    <a:pt x="31" y="2"/>
                    <a:pt x="28" y="1"/>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61"/>
            <p:cNvSpPr/>
            <p:nvPr/>
          </p:nvSpPr>
          <p:spPr bwMode="auto">
            <a:xfrm>
              <a:off x="4620" y="207"/>
              <a:ext cx="17" cy="7"/>
            </a:xfrm>
            <a:custGeom>
              <a:gdLst>
                <a:gd name="T0" fmla="*/ 0 w 7"/>
                <a:gd name="T1" fmla="*/ 0 h 3"/>
                <a:gd name="T2" fmla="*/ 7 w 7"/>
                <a:gd name="T3" fmla="*/ 3 h 3"/>
                <a:gd name="T4" fmla="*/ 7 w 7"/>
                <a:gd name="T5" fmla="*/ 2 h 3"/>
                <a:gd name="T6" fmla="*/ 0 w 7"/>
                <a:gd name="T7" fmla="*/ 0 h 3"/>
              </a:gdLst>
              <a:cxnLst>
                <a:cxn ang="0">
                  <a:pos x="T0" y="T1"/>
                </a:cxn>
                <a:cxn ang="0">
                  <a:pos x="T2" y="T3"/>
                </a:cxn>
                <a:cxn ang="0">
                  <a:pos x="T4" y="T5"/>
                </a:cxn>
                <a:cxn ang="0">
                  <a:pos x="T6" y="T7"/>
                </a:cxn>
              </a:cxnLst>
              <a:rect l="0" t="0" r="r" b="b"/>
              <a:pathLst>
                <a:path w="7" h="3">
                  <a:moveTo>
                    <a:pt x="0" y="0"/>
                  </a:moveTo>
                  <a:cubicBezTo>
                    <a:pt x="3" y="1"/>
                    <a:pt x="5" y="2"/>
                    <a:pt x="7" y="3"/>
                  </a:cubicBezTo>
                  <a:cubicBezTo>
                    <a:pt x="7" y="2"/>
                    <a:pt x="7" y="2"/>
                    <a:pt x="7" y="2"/>
                  </a:cubicBezTo>
                  <a:cubicBezTo>
                    <a:pt x="5"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62"/>
            <p:cNvSpPr/>
            <p:nvPr/>
          </p:nvSpPr>
          <p:spPr bwMode="auto">
            <a:xfrm>
              <a:off x="4689" y="240"/>
              <a:ext cx="2" cy="2"/>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0"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63"/>
            <p:cNvSpPr/>
            <p:nvPr/>
          </p:nvSpPr>
          <p:spPr bwMode="auto">
            <a:xfrm>
              <a:off x="4689" y="240"/>
              <a:ext cx="2" cy="2"/>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0" y="0"/>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Rectangle 264"/>
            <p:cNvSpPr>
              <a:spLocks noChangeArrowheads="1"/>
            </p:cNvSpPr>
            <p:nvPr/>
          </p:nvSpPr>
          <p:spPr bwMode="auto">
            <a:xfrm>
              <a:off x="4776" y="21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265"/>
            <p:cNvSpPr/>
            <p:nvPr/>
          </p:nvSpPr>
          <p:spPr bwMode="auto">
            <a:xfrm flipH="1">
              <a:off x="4776" y="21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266"/>
            <p:cNvSpPr/>
            <p:nvPr/>
          </p:nvSpPr>
          <p:spPr bwMode="auto">
            <a:xfrm>
              <a:off x="4691" y="176"/>
              <a:ext cx="88" cy="99"/>
            </a:xfrm>
            <a:custGeom>
              <a:gdLst>
                <a:gd name="T0" fmla="*/ 15 w 37"/>
                <a:gd name="T1" fmla="*/ 0 h 42"/>
                <a:gd name="T2" fmla="*/ 15 w 37"/>
                <a:gd name="T3" fmla="*/ 0 h 42"/>
                <a:gd name="T4" fmla="*/ 15 w 37"/>
                <a:gd name="T5" fmla="*/ 1 h 42"/>
                <a:gd name="T6" fmla="*/ 18 w 37"/>
                <a:gd name="T7" fmla="*/ 3 h 42"/>
                <a:gd name="T8" fmla="*/ 14 w 37"/>
                <a:gd name="T9" fmla="*/ 5 h 42"/>
                <a:gd name="T10" fmla="*/ 12 w 37"/>
                <a:gd name="T11" fmla="*/ 6 h 42"/>
                <a:gd name="T12" fmla="*/ 11 w 37"/>
                <a:gd name="T13" fmla="*/ 6 h 42"/>
                <a:gd name="T14" fmla="*/ 9 w 37"/>
                <a:gd name="T15" fmla="*/ 5 h 42"/>
                <a:gd name="T16" fmla="*/ 9 w 37"/>
                <a:gd name="T17" fmla="*/ 5 h 42"/>
                <a:gd name="T18" fmla="*/ 8 w 37"/>
                <a:gd name="T19" fmla="*/ 5 h 42"/>
                <a:gd name="T20" fmla="*/ 8 w 37"/>
                <a:gd name="T21" fmla="*/ 6 h 42"/>
                <a:gd name="T22" fmla="*/ 5 w 37"/>
                <a:gd name="T23" fmla="*/ 8 h 42"/>
                <a:gd name="T24" fmla="*/ 2 w 37"/>
                <a:gd name="T25" fmla="*/ 13 h 42"/>
                <a:gd name="T26" fmla="*/ 3 w 37"/>
                <a:gd name="T27" fmla="*/ 15 h 42"/>
                <a:gd name="T28" fmla="*/ 4 w 37"/>
                <a:gd name="T29" fmla="*/ 18 h 42"/>
                <a:gd name="T30" fmla="*/ 4 w 37"/>
                <a:gd name="T31" fmla="*/ 23 h 42"/>
                <a:gd name="T32" fmla="*/ 1 w 37"/>
                <a:gd name="T33" fmla="*/ 26 h 42"/>
                <a:gd name="T34" fmla="*/ 0 w 37"/>
                <a:gd name="T35" fmla="*/ 27 h 42"/>
                <a:gd name="T36" fmla="*/ 1 w 37"/>
                <a:gd name="T37" fmla="*/ 27 h 42"/>
                <a:gd name="T38" fmla="*/ 4 w 37"/>
                <a:gd name="T39" fmla="*/ 27 h 42"/>
                <a:gd name="T40" fmla="*/ 4 w 37"/>
                <a:gd name="T41" fmla="*/ 27 h 42"/>
                <a:gd name="T42" fmla="*/ 4 w 37"/>
                <a:gd name="T43" fmla="*/ 26 h 42"/>
                <a:gd name="T44" fmla="*/ 5 w 37"/>
                <a:gd name="T45" fmla="*/ 26 h 42"/>
                <a:gd name="T46" fmla="*/ 6 w 37"/>
                <a:gd name="T47" fmla="*/ 26 h 42"/>
                <a:gd name="T48" fmla="*/ 4 w 37"/>
                <a:gd name="T49" fmla="*/ 29 h 42"/>
                <a:gd name="T50" fmla="*/ 3 w 37"/>
                <a:gd name="T51" fmla="*/ 28 h 42"/>
                <a:gd name="T52" fmla="*/ 2 w 37"/>
                <a:gd name="T53" fmla="*/ 28 h 42"/>
                <a:gd name="T54" fmla="*/ 1 w 37"/>
                <a:gd name="T55" fmla="*/ 28 h 42"/>
                <a:gd name="T56" fmla="*/ 17 w 37"/>
                <a:gd name="T57" fmla="*/ 42 h 42"/>
                <a:gd name="T58" fmla="*/ 17 w 37"/>
                <a:gd name="T59" fmla="*/ 41 h 42"/>
                <a:gd name="T60" fmla="*/ 17 w 37"/>
                <a:gd name="T61" fmla="*/ 38 h 42"/>
                <a:gd name="T62" fmla="*/ 16 w 37"/>
                <a:gd name="T63" fmla="*/ 34 h 42"/>
                <a:gd name="T64" fmla="*/ 18 w 37"/>
                <a:gd name="T65" fmla="*/ 30 h 42"/>
                <a:gd name="T66" fmla="*/ 19 w 37"/>
                <a:gd name="T67" fmla="*/ 29 h 42"/>
                <a:gd name="T68" fmla="*/ 20 w 37"/>
                <a:gd name="T69" fmla="*/ 27 h 42"/>
                <a:gd name="T70" fmla="*/ 20 w 37"/>
                <a:gd name="T71" fmla="*/ 27 h 42"/>
                <a:gd name="T72" fmla="*/ 24 w 37"/>
                <a:gd name="T73" fmla="*/ 21 h 42"/>
                <a:gd name="T74" fmla="*/ 26 w 37"/>
                <a:gd name="T75" fmla="*/ 19 h 42"/>
                <a:gd name="T76" fmla="*/ 29 w 37"/>
                <a:gd name="T77" fmla="*/ 18 h 42"/>
                <a:gd name="T78" fmla="*/ 30 w 37"/>
                <a:gd name="T79" fmla="*/ 20 h 42"/>
                <a:gd name="T80" fmla="*/ 31 w 37"/>
                <a:gd name="T81" fmla="*/ 22 h 42"/>
                <a:gd name="T82" fmla="*/ 32 w 37"/>
                <a:gd name="T83" fmla="*/ 23 h 42"/>
                <a:gd name="T84" fmla="*/ 32 w 37"/>
                <a:gd name="T85" fmla="*/ 23 h 42"/>
                <a:gd name="T86" fmla="*/ 33 w 37"/>
                <a:gd name="T87" fmla="*/ 23 h 42"/>
                <a:gd name="T88" fmla="*/ 33 w 37"/>
                <a:gd name="T89" fmla="*/ 23 h 42"/>
                <a:gd name="T90" fmla="*/ 33 w 37"/>
                <a:gd name="T91" fmla="*/ 20 h 42"/>
                <a:gd name="T92" fmla="*/ 35 w 37"/>
                <a:gd name="T93" fmla="*/ 16 h 42"/>
                <a:gd name="T94" fmla="*/ 35 w 37"/>
                <a:gd name="T95" fmla="*/ 16 h 42"/>
                <a:gd name="T96" fmla="*/ 36 w 37"/>
                <a:gd name="T97" fmla="*/ 16 h 42"/>
                <a:gd name="T98" fmla="*/ 37 w 37"/>
                <a:gd name="T99" fmla="*/ 15 h 42"/>
                <a:gd name="T100" fmla="*/ 37 w 37"/>
                <a:gd name="T101" fmla="*/ 15 h 42"/>
                <a:gd name="T102" fmla="*/ 16 w 37"/>
                <a:gd name="T103" fmla="*/ 0 h 42"/>
                <a:gd name="T104" fmla="*/ 15 w 37"/>
                <a:gd name="T105" fmla="*/ 0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 h="42">
                  <a:moveTo>
                    <a:pt x="15" y="0"/>
                  </a:moveTo>
                  <a:cubicBezTo>
                    <a:pt x="15" y="0"/>
                    <a:pt x="15" y="0"/>
                    <a:pt x="15" y="0"/>
                  </a:cubicBezTo>
                  <a:cubicBezTo>
                    <a:pt x="15" y="0"/>
                    <a:pt x="15" y="0"/>
                    <a:pt x="15" y="1"/>
                  </a:cubicBezTo>
                  <a:cubicBezTo>
                    <a:pt x="18" y="3"/>
                    <a:pt x="18" y="3"/>
                    <a:pt x="18" y="3"/>
                  </a:cubicBezTo>
                  <a:cubicBezTo>
                    <a:pt x="14" y="5"/>
                    <a:pt x="14" y="5"/>
                    <a:pt x="14" y="5"/>
                  </a:cubicBezTo>
                  <a:cubicBezTo>
                    <a:pt x="14" y="6"/>
                    <a:pt x="13" y="6"/>
                    <a:pt x="12" y="6"/>
                  </a:cubicBezTo>
                  <a:cubicBezTo>
                    <a:pt x="11" y="6"/>
                    <a:pt x="11" y="6"/>
                    <a:pt x="11" y="6"/>
                  </a:cubicBezTo>
                  <a:cubicBezTo>
                    <a:pt x="10" y="5"/>
                    <a:pt x="9" y="5"/>
                    <a:pt x="9" y="5"/>
                  </a:cubicBezTo>
                  <a:cubicBezTo>
                    <a:pt x="9" y="5"/>
                    <a:pt x="9" y="5"/>
                    <a:pt x="9" y="5"/>
                  </a:cubicBezTo>
                  <a:cubicBezTo>
                    <a:pt x="8" y="5"/>
                    <a:pt x="8" y="5"/>
                    <a:pt x="8" y="5"/>
                  </a:cubicBezTo>
                  <a:cubicBezTo>
                    <a:pt x="8" y="6"/>
                    <a:pt x="8" y="6"/>
                    <a:pt x="8" y="6"/>
                  </a:cubicBezTo>
                  <a:cubicBezTo>
                    <a:pt x="7" y="6"/>
                    <a:pt x="6" y="7"/>
                    <a:pt x="5" y="8"/>
                  </a:cubicBezTo>
                  <a:cubicBezTo>
                    <a:pt x="3" y="10"/>
                    <a:pt x="2" y="12"/>
                    <a:pt x="2" y="13"/>
                  </a:cubicBezTo>
                  <a:cubicBezTo>
                    <a:pt x="2" y="14"/>
                    <a:pt x="3" y="15"/>
                    <a:pt x="3" y="15"/>
                  </a:cubicBezTo>
                  <a:cubicBezTo>
                    <a:pt x="3" y="16"/>
                    <a:pt x="3" y="17"/>
                    <a:pt x="4" y="18"/>
                  </a:cubicBezTo>
                  <a:cubicBezTo>
                    <a:pt x="4" y="20"/>
                    <a:pt x="4" y="21"/>
                    <a:pt x="4" y="23"/>
                  </a:cubicBezTo>
                  <a:cubicBezTo>
                    <a:pt x="3" y="25"/>
                    <a:pt x="2" y="26"/>
                    <a:pt x="1" y="26"/>
                  </a:cubicBezTo>
                  <a:cubicBezTo>
                    <a:pt x="0" y="27"/>
                    <a:pt x="0" y="27"/>
                    <a:pt x="0" y="27"/>
                  </a:cubicBezTo>
                  <a:cubicBezTo>
                    <a:pt x="0" y="27"/>
                    <a:pt x="1" y="27"/>
                    <a:pt x="1" y="27"/>
                  </a:cubicBezTo>
                  <a:cubicBezTo>
                    <a:pt x="2" y="27"/>
                    <a:pt x="3" y="27"/>
                    <a:pt x="4" y="27"/>
                  </a:cubicBezTo>
                  <a:cubicBezTo>
                    <a:pt x="4" y="27"/>
                    <a:pt x="4" y="27"/>
                    <a:pt x="4" y="27"/>
                  </a:cubicBezTo>
                  <a:cubicBezTo>
                    <a:pt x="4" y="27"/>
                    <a:pt x="4" y="26"/>
                    <a:pt x="4" y="26"/>
                  </a:cubicBezTo>
                  <a:cubicBezTo>
                    <a:pt x="4" y="26"/>
                    <a:pt x="4" y="26"/>
                    <a:pt x="5" y="26"/>
                  </a:cubicBezTo>
                  <a:cubicBezTo>
                    <a:pt x="5" y="26"/>
                    <a:pt x="5" y="26"/>
                    <a:pt x="6" y="26"/>
                  </a:cubicBezTo>
                  <a:cubicBezTo>
                    <a:pt x="5" y="28"/>
                    <a:pt x="4" y="29"/>
                    <a:pt x="4" y="29"/>
                  </a:cubicBezTo>
                  <a:cubicBezTo>
                    <a:pt x="4" y="29"/>
                    <a:pt x="3" y="29"/>
                    <a:pt x="3" y="28"/>
                  </a:cubicBezTo>
                  <a:cubicBezTo>
                    <a:pt x="3" y="28"/>
                    <a:pt x="2" y="28"/>
                    <a:pt x="2" y="28"/>
                  </a:cubicBezTo>
                  <a:cubicBezTo>
                    <a:pt x="1" y="28"/>
                    <a:pt x="1" y="28"/>
                    <a:pt x="1" y="28"/>
                  </a:cubicBezTo>
                  <a:cubicBezTo>
                    <a:pt x="6" y="33"/>
                    <a:pt x="12" y="38"/>
                    <a:pt x="17" y="42"/>
                  </a:cubicBezTo>
                  <a:cubicBezTo>
                    <a:pt x="17" y="42"/>
                    <a:pt x="17" y="41"/>
                    <a:pt x="17" y="41"/>
                  </a:cubicBezTo>
                  <a:cubicBezTo>
                    <a:pt x="17" y="40"/>
                    <a:pt x="17" y="38"/>
                    <a:pt x="17" y="38"/>
                  </a:cubicBezTo>
                  <a:cubicBezTo>
                    <a:pt x="16" y="37"/>
                    <a:pt x="15" y="35"/>
                    <a:pt x="16" y="34"/>
                  </a:cubicBezTo>
                  <a:cubicBezTo>
                    <a:pt x="16" y="32"/>
                    <a:pt x="17" y="31"/>
                    <a:pt x="18" y="30"/>
                  </a:cubicBezTo>
                  <a:cubicBezTo>
                    <a:pt x="19" y="29"/>
                    <a:pt x="19" y="29"/>
                    <a:pt x="19" y="29"/>
                  </a:cubicBezTo>
                  <a:cubicBezTo>
                    <a:pt x="19" y="29"/>
                    <a:pt x="20" y="28"/>
                    <a:pt x="20" y="27"/>
                  </a:cubicBezTo>
                  <a:cubicBezTo>
                    <a:pt x="20" y="27"/>
                    <a:pt x="20" y="27"/>
                    <a:pt x="20" y="27"/>
                  </a:cubicBezTo>
                  <a:cubicBezTo>
                    <a:pt x="21" y="25"/>
                    <a:pt x="23" y="23"/>
                    <a:pt x="24" y="21"/>
                  </a:cubicBezTo>
                  <a:cubicBezTo>
                    <a:pt x="25" y="20"/>
                    <a:pt x="25" y="20"/>
                    <a:pt x="26" y="19"/>
                  </a:cubicBezTo>
                  <a:cubicBezTo>
                    <a:pt x="29" y="18"/>
                    <a:pt x="29" y="18"/>
                    <a:pt x="29" y="18"/>
                  </a:cubicBezTo>
                  <a:cubicBezTo>
                    <a:pt x="30" y="20"/>
                    <a:pt x="30" y="20"/>
                    <a:pt x="30" y="20"/>
                  </a:cubicBezTo>
                  <a:cubicBezTo>
                    <a:pt x="31" y="21"/>
                    <a:pt x="31" y="22"/>
                    <a:pt x="31" y="22"/>
                  </a:cubicBezTo>
                  <a:cubicBezTo>
                    <a:pt x="32" y="23"/>
                    <a:pt x="32" y="23"/>
                    <a:pt x="32" y="23"/>
                  </a:cubicBezTo>
                  <a:cubicBezTo>
                    <a:pt x="32" y="23"/>
                    <a:pt x="32" y="23"/>
                    <a:pt x="32" y="23"/>
                  </a:cubicBezTo>
                  <a:cubicBezTo>
                    <a:pt x="32" y="23"/>
                    <a:pt x="33" y="23"/>
                    <a:pt x="33" y="23"/>
                  </a:cubicBezTo>
                  <a:cubicBezTo>
                    <a:pt x="33" y="23"/>
                    <a:pt x="33" y="23"/>
                    <a:pt x="33" y="23"/>
                  </a:cubicBezTo>
                  <a:cubicBezTo>
                    <a:pt x="33" y="22"/>
                    <a:pt x="33" y="21"/>
                    <a:pt x="33" y="20"/>
                  </a:cubicBezTo>
                  <a:cubicBezTo>
                    <a:pt x="33" y="18"/>
                    <a:pt x="34" y="17"/>
                    <a:pt x="35" y="16"/>
                  </a:cubicBezTo>
                  <a:cubicBezTo>
                    <a:pt x="35" y="16"/>
                    <a:pt x="35" y="16"/>
                    <a:pt x="35" y="16"/>
                  </a:cubicBezTo>
                  <a:cubicBezTo>
                    <a:pt x="36" y="16"/>
                    <a:pt x="36" y="16"/>
                    <a:pt x="36" y="16"/>
                  </a:cubicBezTo>
                  <a:cubicBezTo>
                    <a:pt x="37" y="15"/>
                    <a:pt x="37" y="15"/>
                    <a:pt x="37" y="15"/>
                  </a:cubicBezTo>
                  <a:cubicBezTo>
                    <a:pt x="37" y="15"/>
                    <a:pt x="37" y="15"/>
                    <a:pt x="37" y="15"/>
                  </a:cubicBezTo>
                  <a:cubicBezTo>
                    <a:pt x="16" y="0"/>
                    <a:pt x="16" y="0"/>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67"/>
            <p:cNvSpPr>
              <a:spLocks noEditPoints="1"/>
            </p:cNvSpPr>
            <p:nvPr/>
          </p:nvSpPr>
          <p:spPr bwMode="auto">
            <a:xfrm>
              <a:off x="4734" y="240"/>
              <a:ext cx="90" cy="180"/>
            </a:xfrm>
            <a:custGeom>
              <a:gdLst>
                <a:gd name="T0" fmla="*/ 38 w 38"/>
                <a:gd name="T1" fmla="*/ 51 h 76"/>
                <a:gd name="T2" fmla="*/ 9 w 38"/>
                <a:gd name="T3" fmla="*/ 0 h 76"/>
                <a:gd name="T4" fmla="*/ 7 w 38"/>
                <a:gd name="T5" fmla="*/ 4 h 76"/>
                <a:gd name="T6" fmla="*/ 4 w 38"/>
                <a:gd name="T7" fmla="*/ 7 h 76"/>
                <a:gd name="T8" fmla="*/ 5 w 38"/>
                <a:gd name="T9" fmla="*/ 14 h 76"/>
                <a:gd name="T10" fmla="*/ 5 w 38"/>
                <a:gd name="T11" fmla="*/ 16 h 76"/>
                <a:gd name="T12" fmla="*/ 5 w 38"/>
                <a:gd name="T13" fmla="*/ 18 h 76"/>
                <a:gd name="T14" fmla="*/ 6 w 38"/>
                <a:gd name="T15" fmla="*/ 25 h 76"/>
                <a:gd name="T16" fmla="*/ 6 w 38"/>
                <a:gd name="T17" fmla="*/ 25 h 76"/>
                <a:gd name="T18" fmla="*/ 3 w 38"/>
                <a:gd name="T19" fmla="*/ 30 h 76"/>
                <a:gd name="T20" fmla="*/ 4 w 38"/>
                <a:gd name="T21" fmla="*/ 45 h 76"/>
                <a:gd name="T22" fmla="*/ 4 w 38"/>
                <a:gd name="T23" fmla="*/ 60 h 76"/>
                <a:gd name="T24" fmla="*/ 0 w 38"/>
                <a:gd name="T25" fmla="*/ 58 h 76"/>
                <a:gd name="T26" fmla="*/ 15 w 38"/>
                <a:gd name="T27" fmla="*/ 72 h 76"/>
                <a:gd name="T28" fmla="*/ 18 w 38"/>
                <a:gd name="T29" fmla="*/ 75 h 76"/>
                <a:gd name="T30" fmla="*/ 21 w 38"/>
                <a:gd name="T31" fmla="*/ 76 h 76"/>
                <a:gd name="T32" fmla="*/ 22 w 38"/>
                <a:gd name="T33" fmla="*/ 72 h 76"/>
                <a:gd name="T34" fmla="*/ 22 w 38"/>
                <a:gd name="T35" fmla="*/ 70 h 76"/>
                <a:gd name="T36" fmla="*/ 24 w 38"/>
                <a:gd name="T37" fmla="*/ 66 h 76"/>
                <a:gd name="T38" fmla="*/ 29 w 38"/>
                <a:gd name="T39" fmla="*/ 64 h 76"/>
                <a:gd name="T40" fmla="*/ 29 w 38"/>
                <a:gd name="T41" fmla="*/ 64 h 76"/>
                <a:gd name="T42" fmla="*/ 31 w 38"/>
                <a:gd name="T43" fmla="*/ 61 h 76"/>
                <a:gd name="T44" fmla="*/ 37 w 38"/>
                <a:gd name="T45" fmla="*/ 52 h 76"/>
                <a:gd name="T46" fmla="*/ 38 w 38"/>
                <a:gd name="T47" fmla="*/ 51 h 76"/>
                <a:gd name="T48" fmla="*/ 37 w 38"/>
                <a:gd name="T49" fmla="*/ 47 h 76"/>
                <a:gd name="T50" fmla="*/ 37 w 38"/>
                <a:gd name="T51" fmla="*/ 47 h 76"/>
                <a:gd name="T52" fmla="*/ 33 w 38"/>
                <a:gd name="T53" fmla="*/ 44 h 76"/>
                <a:gd name="T54" fmla="*/ 30 w 38"/>
                <a:gd name="T55" fmla="*/ 41 h 76"/>
                <a:gd name="T56" fmla="*/ 27 w 38"/>
                <a:gd name="T57" fmla="*/ 36 h 76"/>
                <a:gd name="T58" fmla="*/ 27 w 38"/>
                <a:gd name="T59" fmla="*/ 31 h 76"/>
                <a:gd name="T60" fmla="*/ 26 w 38"/>
                <a:gd name="T61" fmla="*/ 29 h 76"/>
                <a:gd name="T62" fmla="*/ 24 w 38"/>
                <a:gd name="T63" fmla="*/ 23 h 76"/>
                <a:gd name="T64" fmla="*/ 27 w 38"/>
                <a:gd name="T65" fmla="*/ 22 h 76"/>
                <a:gd name="T66" fmla="*/ 27 w 38"/>
                <a:gd name="T67" fmla="*/ 20 h 76"/>
                <a:gd name="T68" fmla="*/ 27 w 38"/>
                <a:gd name="T69" fmla="*/ 20 h 76"/>
                <a:gd name="T70" fmla="*/ 28 w 38"/>
                <a:gd name="T71" fmla="*/ 17 h 76"/>
                <a:gd name="T72" fmla="*/ 27 w 38"/>
                <a:gd name="T73" fmla="*/ 13 h 76"/>
                <a:gd name="T74" fmla="*/ 26 w 38"/>
                <a:gd name="T75" fmla="*/ 9 h 76"/>
                <a:gd name="T76" fmla="*/ 24 w 38"/>
                <a:gd name="T77" fmla="*/ 7 h 76"/>
                <a:gd name="T78" fmla="*/ 22 w 38"/>
                <a:gd name="T79" fmla="*/ 6 h 76"/>
                <a:gd name="T80" fmla="*/ 21 w 38"/>
                <a:gd name="T81" fmla="*/ 4 h 76"/>
                <a:gd name="T82" fmla="*/ 19 w 38"/>
                <a:gd name="T83" fmla="*/ 2 h 76"/>
                <a:gd name="T84" fmla="*/ 18 w 38"/>
                <a:gd name="T85" fmla="*/ 1 h 76"/>
                <a:gd name="T86" fmla="*/ 9 w 38"/>
                <a:gd name="T87" fmla="*/ 0 h 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 h="76">
                  <a:moveTo>
                    <a:pt x="38" y="51"/>
                  </a:moveTo>
                  <a:cubicBezTo>
                    <a:pt x="38" y="51"/>
                    <a:pt x="38" y="51"/>
                    <a:pt x="38" y="51"/>
                  </a:cubicBezTo>
                  <a:cubicBezTo>
                    <a:pt x="38" y="51"/>
                    <a:pt x="38" y="51"/>
                    <a:pt x="38" y="51"/>
                  </a:cubicBezTo>
                  <a:moveTo>
                    <a:pt x="9" y="0"/>
                  </a:moveTo>
                  <a:cubicBezTo>
                    <a:pt x="8" y="1"/>
                    <a:pt x="8" y="2"/>
                    <a:pt x="7" y="3"/>
                  </a:cubicBezTo>
                  <a:cubicBezTo>
                    <a:pt x="7" y="4"/>
                    <a:pt x="7" y="4"/>
                    <a:pt x="7" y="4"/>
                  </a:cubicBezTo>
                  <a:cubicBezTo>
                    <a:pt x="6" y="4"/>
                    <a:pt x="6" y="5"/>
                    <a:pt x="6" y="5"/>
                  </a:cubicBezTo>
                  <a:cubicBezTo>
                    <a:pt x="5" y="6"/>
                    <a:pt x="5" y="6"/>
                    <a:pt x="4" y="7"/>
                  </a:cubicBezTo>
                  <a:cubicBezTo>
                    <a:pt x="4" y="8"/>
                    <a:pt x="4" y="8"/>
                    <a:pt x="4" y="8"/>
                  </a:cubicBezTo>
                  <a:cubicBezTo>
                    <a:pt x="5" y="10"/>
                    <a:pt x="5" y="12"/>
                    <a:pt x="5" y="14"/>
                  </a:cubicBezTo>
                  <a:cubicBezTo>
                    <a:pt x="5" y="15"/>
                    <a:pt x="5" y="16"/>
                    <a:pt x="5" y="16"/>
                  </a:cubicBezTo>
                  <a:cubicBezTo>
                    <a:pt x="5" y="16"/>
                    <a:pt x="5" y="16"/>
                    <a:pt x="5" y="16"/>
                  </a:cubicBezTo>
                  <a:cubicBezTo>
                    <a:pt x="5" y="17"/>
                    <a:pt x="5" y="17"/>
                    <a:pt x="5" y="17"/>
                  </a:cubicBezTo>
                  <a:cubicBezTo>
                    <a:pt x="5" y="17"/>
                    <a:pt x="5" y="18"/>
                    <a:pt x="5" y="18"/>
                  </a:cubicBezTo>
                  <a:cubicBezTo>
                    <a:pt x="6" y="18"/>
                    <a:pt x="6" y="19"/>
                    <a:pt x="6" y="21"/>
                  </a:cubicBezTo>
                  <a:cubicBezTo>
                    <a:pt x="7" y="22"/>
                    <a:pt x="7" y="25"/>
                    <a:pt x="6" y="25"/>
                  </a:cubicBezTo>
                  <a:cubicBezTo>
                    <a:pt x="6" y="25"/>
                    <a:pt x="6" y="25"/>
                    <a:pt x="6" y="25"/>
                  </a:cubicBezTo>
                  <a:cubicBezTo>
                    <a:pt x="6" y="25"/>
                    <a:pt x="6" y="25"/>
                    <a:pt x="6" y="25"/>
                  </a:cubicBezTo>
                  <a:cubicBezTo>
                    <a:pt x="3" y="25"/>
                    <a:pt x="4" y="28"/>
                    <a:pt x="3" y="30"/>
                  </a:cubicBezTo>
                  <a:cubicBezTo>
                    <a:pt x="3" y="30"/>
                    <a:pt x="3" y="30"/>
                    <a:pt x="3" y="30"/>
                  </a:cubicBezTo>
                  <a:cubicBezTo>
                    <a:pt x="5" y="34"/>
                    <a:pt x="5" y="34"/>
                    <a:pt x="4" y="38"/>
                  </a:cubicBezTo>
                  <a:cubicBezTo>
                    <a:pt x="4" y="40"/>
                    <a:pt x="4" y="42"/>
                    <a:pt x="4" y="45"/>
                  </a:cubicBezTo>
                  <a:cubicBezTo>
                    <a:pt x="2" y="45"/>
                    <a:pt x="0" y="50"/>
                    <a:pt x="1" y="52"/>
                  </a:cubicBezTo>
                  <a:cubicBezTo>
                    <a:pt x="2" y="55"/>
                    <a:pt x="3" y="57"/>
                    <a:pt x="4" y="60"/>
                  </a:cubicBezTo>
                  <a:cubicBezTo>
                    <a:pt x="3" y="60"/>
                    <a:pt x="1" y="58"/>
                    <a:pt x="0" y="58"/>
                  </a:cubicBezTo>
                  <a:cubicBezTo>
                    <a:pt x="0" y="58"/>
                    <a:pt x="0" y="58"/>
                    <a:pt x="0" y="58"/>
                  </a:cubicBezTo>
                  <a:cubicBezTo>
                    <a:pt x="3" y="62"/>
                    <a:pt x="5" y="63"/>
                    <a:pt x="9" y="65"/>
                  </a:cubicBezTo>
                  <a:cubicBezTo>
                    <a:pt x="13" y="67"/>
                    <a:pt x="13" y="68"/>
                    <a:pt x="15" y="72"/>
                  </a:cubicBezTo>
                  <a:cubicBezTo>
                    <a:pt x="15" y="73"/>
                    <a:pt x="15" y="74"/>
                    <a:pt x="16" y="75"/>
                  </a:cubicBezTo>
                  <a:cubicBezTo>
                    <a:pt x="18" y="75"/>
                    <a:pt x="18" y="75"/>
                    <a:pt x="18" y="75"/>
                  </a:cubicBezTo>
                  <a:cubicBezTo>
                    <a:pt x="19" y="75"/>
                    <a:pt x="19" y="75"/>
                    <a:pt x="19" y="75"/>
                  </a:cubicBezTo>
                  <a:cubicBezTo>
                    <a:pt x="20" y="75"/>
                    <a:pt x="20" y="76"/>
                    <a:pt x="21" y="76"/>
                  </a:cubicBezTo>
                  <a:cubicBezTo>
                    <a:pt x="21" y="75"/>
                    <a:pt x="21" y="74"/>
                    <a:pt x="21" y="73"/>
                  </a:cubicBezTo>
                  <a:cubicBezTo>
                    <a:pt x="22" y="72"/>
                    <a:pt x="22" y="72"/>
                    <a:pt x="22" y="72"/>
                  </a:cubicBezTo>
                  <a:cubicBezTo>
                    <a:pt x="22" y="72"/>
                    <a:pt x="22" y="72"/>
                    <a:pt x="22" y="71"/>
                  </a:cubicBezTo>
                  <a:cubicBezTo>
                    <a:pt x="22" y="71"/>
                    <a:pt x="22" y="70"/>
                    <a:pt x="22" y="70"/>
                  </a:cubicBezTo>
                  <a:cubicBezTo>
                    <a:pt x="22" y="68"/>
                    <a:pt x="23" y="67"/>
                    <a:pt x="23" y="67"/>
                  </a:cubicBezTo>
                  <a:cubicBezTo>
                    <a:pt x="23" y="67"/>
                    <a:pt x="24" y="67"/>
                    <a:pt x="24" y="66"/>
                  </a:cubicBezTo>
                  <a:cubicBezTo>
                    <a:pt x="25" y="66"/>
                    <a:pt x="25" y="65"/>
                    <a:pt x="27" y="64"/>
                  </a:cubicBezTo>
                  <a:cubicBezTo>
                    <a:pt x="27" y="64"/>
                    <a:pt x="28" y="64"/>
                    <a:pt x="29" y="64"/>
                  </a:cubicBezTo>
                  <a:cubicBezTo>
                    <a:pt x="29" y="64"/>
                    <a:pt x="29" y="64"/>
                    <a:pt x="29" y="64"/>
                  </a:cubicBezTo>
                  <a:cubicBezTo>
                    <a:pt x="29" y="64"/>
                    <a:pt x="29" y="64"/>
                    <a:pt x="29" y="64"/>
                  </a:cubicBezTo>
                  <a:cubicBezTo>
                    <a:pt x="30" y="63"/>
                    <a:pt x="30" y="62"/>
                    <a:pt x="30" y="61"/>
                  </a:cubicBezTo>
                  <a:cubicBezTo>
                    <a:pt x="31" y="61"/>
                    <a:pt x="31" y="61"/>
                    <a:pt x="31" y="61"/>
                  </a:cubicBezTo>
                  <a:cubicBezTo>
                    <a:pt x="31" y="59"/>
                    <a:pt x="32" y="57"/>
                    <a:pt x="33" y="55"/>
                  </a:cubicBezTo>
                  <a:cubicBezTo>
                    <a:pt x="35" y="53"/>
                    <a:pt x="36" y="53"/>
                    <a:pt x="37" y="52"/>
                  </a:cubicBezTo>
                  <a:cubicBezTo>
                    <a:pt x="38" y="51"/>
                    <a:pt x="38" y="51"/>
                    <a:pt x="38" y="51"/>
                  </a:cubicBezTo>
                  <a:cubicBezTo>
                    <a:pt x="38" y="51"/>
                    <a:pt x="38" y="51"/>
                    <a:pt x="38" y="51"/>
                  </a:cubicBezTo>
                  <a:cubicBezTo>
                    <a:pt x="38" y="51"/>
                    <a:pt x="38" y="51"/>
                    <a:pt x="38" y="51"/>
                  </a:cubicBezTo>
                  <a:cubicBezTo>
                    <a:pt x="37" y="49"/>
                    <a:pt x="37" y="48"/>
                    <a:pt x="37" y="47"/>
                  </a:cubicBezTo>
                  <a:cubicBezTo>
                    <a:pt x="37" y="47"/>
                    <a:pt x="37" y="47"/>
                    <a:pt x="37" y="47"/>
                  </a:cubicBezTo>
                  <a:cubicBezTo>
                    <a:pt x="37" y="47"/>
                    <a:pt x="37" y="47"/>
                    <a:pt x="37" y="47"/>
                  </a:cubicBezTo>
                  <a:cubicBezTo>
                    <a:pt x="35" y="48"/>
                    <a:pt x="35" y="48"/>
                    <a:pt x="35" y="48"/>
                  </a:cubicBezTo>
                  <a:cubicBezTo>
                    <a:pt x="33" y="44"/>
                    <a:pt x="33" y="44"/>
                    <a:pt x="33" y="44"/>
                  </a:cubicBezTo>
                  <a:cubicBezTo>
                    <a:pt x="32" y="43"/>
                    <a:pt x="31" y="42"/>
                    <a:pt x="31" y="41"/>
                  </a:cubicBezTo>
                  <a:cubicBezTo>
                    <a:pt x="30" y="41"/>
                    <a:pt x="30" y="41"/>
                    <a:pt x="30" y="41"/>
                  </a:cubicBezTo>
                  <a:cubicBezTo>
                    <a:pt x="29" y="40"/>
                    <a:pt x="29" y="40"/>
                    <a:pt x="29" y="40"/>
                  </a:cubicBezTo>
                  <a:cubicBezTo>
                    <a:pt x="28" y="39"/>
                    <a:pt x="27" y="38"/>
                    <a:pt x="27" y="36"/>
                  </a:cubicBezTo>
                  <a:cubicBezTo>
                    <a:pt x="26" y="36"/>
                    <a:pt x="26" y="36"/>
                    <a:pt x="26" y="36"/>
                  </a:cubicBezTo>
                  <a:cubicBezTo>
                    <a:pt x="26" y="33"/>
                    <a:pt x="26" y="32"/>
                    <a:pt x="27" y="31"/>
                  </a:cubicBezTo>
                  <a:cubicBezTo>
                    <a:pt x="27" y="30"/>
                    <a:pt x="27" y="30"/>
                    <a:pt x="27" y="30"/>
                  </a:cubicBezTo>
                  <a:cubicBezTo>
                    <a:pt x="27" y="30"/>
                    <a:pt x="27" y="30"/>
                    <a:pt x="26" y="29"/>
                  </a:cubicBezTo>
                  <a:cubicBezTo>
                    <a:pt x="26" y="28"/>
                    <a:pt x="25" y="27"/>
                    <a:pt x="25" y="27"/>
                  </a:cubicBezTo>
                  <a:cubicBezTo>
                    <a:pt x="24" y="23"/>
                    <a:pt x="24" y="23"/>
                    <a:pt x="24" y="23"/>
                  </a:cubicBezTo>
                  <a:cubicBezTo>
                    <a:pt x="27" y="23"/>
                    <a:pt x="27" y="23"/>
                    <a:pt x="27" y="23"/>
                  </a:cubicBezTo>
                  <a:cubicBezTo>
                    <a:pt x="27" y="22"/>
                    <a:pt x="27" y="22"/>
                    <a:pt x="27" y="22"/>
                  </a:cubicBezTo>
                  <a:cubicBezTo>
                    <a:pt x="27" y="22"/>
                    <a:pt x="27" y="21"/>
                    <a:pt x="27" y="21"/>
                  </a:cubicBezTo>
                  <a:cubicBezTo>
                    <a:pt x="27" y="20"/>
                    <a:pt x="27" y="20"/>
                    <a:pt x="27" y="20"/>
                  </a:cubicBezTo>
                  <a:cubicBezTo>
                    <a:pt x="27" y="20"/>
                    <a:pt x="27" y="20"/>
                    <a:pt x="27" y="20"/>
                  </a:cubicBezTo>
                  <a:cubicBezTo>
                    <a:pt x="27" y="20"/>
                    <a:pt x="27" y="20"/>
                    <a:pt x="27" y="20"/>
                  </a:cubicBezTo>
                  <a:cubicBezTo>
                    <a:pt x="27" y="17"/>
                    <a:pt x="27" y="17"/>
                    <a:pt x="27" y="17"/>
                  </a:cubicBezTo>
                  <a:cubicBezTo>
                    <a:pt x="28" y="17"/>
                    <a:pt x="28" y="17"/>
                    <a:pt x="28" y="17"/>
                  </a:cubicBezTo>
                  <a:cubicBezTo>
                    <a:pt x="27" y="14"/>
                    <a:pt x="27" y="14"/>
                    <a:pt x="27" y="14"/>
                  </a:cubicBezTo>
                  <a:cubicBezTo>
                    <a:pt x="27" y="14"/>
                    <a:pt x="27" y="13"/>
                    <a:pt x="27" y="13"/>
                  </a:cubicBezTo>
                  <a:cubicBezTo>
                    <a:pt x="27" y="11"/>
                    <a:pt x="27" y="10"/>
                    <a:pt x="27" y="9"/>
                  </a:cubicBezTo>
                  <a:cubicBezTo>
                    <a:pt x="26" y="9"/>
                    <a:pt x="26" y="9"/>
                    <a:pt x="26" y="9"/>
                  </a:cubicBezTo>
                  <a:cubicBezTo>
                    <a:pt x="26" y="8"/>
                    <a:pt x="26" y="8"/>
                    <a:pt x="26" y="8"/>
                  </a:cubicBezTo>
                  <a:cubicBezTo>
                    <a:pt x="25" y="8"/>
                    <a:pt x="25" y="8"/>
                    <a:pt x="24" y="7"/>
                  </a:cubicBezTo>
                  <a:cubicBezTo>
                    <a:pt x="24" y="7"/>
                    <a:pt x="23" y="7"/>
                    <a:pt x="23" y="6"/>
                  </a:cubicBezTo>
                  <a:cubicBezTo>
                    <a:pt x="22" y="6"/>
                    <a:pt x="22" y="6"/>
                    <a:pt x="22" y="6"/>
                  </a:cubicBezTo>
                  <a:cubicBezTo>
                    <a:pt x="22" y="5"/>
                    <a:pt x="22" y="5"/>
                    <a:pt x="22" y="5"/>
                  </a:cubicBezTo>
                  <a:cubicBezTo>
                    <a:pt x="21" y="5"/>
                    <a:pt x="21" y="5"/>
                    <a:pt x="21" y="4"/>
                  </a:cubicBezTo>
                  <a:cubicBezTo>
                    <a:pt x="20" y="4"/>
                    <a:pt x="20" y="4"/>
                    <a:pt x="20" y="4"/>
                  </a:cubicBezTo>
                  <a:cubicBezTo>
                    <a:pt x="20" y="3"/>
                    <a:pt x="19" y="3"/>
                    <a:pt x="19" y="2"/>
                  </a:cubicBezTo>
                  <a:cubicBezTo>
                    <a:pt x="18" y="2"/>
                    <a:pt x="18" y="2"/>
                    <a:pt x="18" y="2"/>
                  </a:cubicBezTo>
                  <a:cubicBezTo>
                    <a:pt x="18" y="1"/>
                    <a:pt x="18" y="1"/>
                    <a:pt x="18" y="1"/>
                  </a:cubicBezTo>
                  <a:cubicBezTo>
                    <a:pt x="16" y="2"/>
                    <a:pt x="14" y="2"/>
                    <a:pt x="13" y="2"/>
                  </a:cubicBezTo>
                  <a:cubicBezTo>
                    <a:pt x="12" y="2"/>
                    <a:pt x="10" y="2"/>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268"/>
            <p:cNvSpPr/>
            <p:nvPr/>
          </p:nvSpPr>
          <p:spPr bwMode="auto">
            <a:xfrm>
              <a:off x="4783" y="193"/>
              <a:ext cx="81" cy="78"/>
            </a:xfrm>
            <a:custGeom>
              <a:gdLst>
                <a:gd name="T0" fmla="*/ 14 w 34"/>
                <a:gd name="T1" fmla="*/ 0 h 33"/>
                <a:gd name="T2" fmla="*/ 15 w 34"/>
                <a:gd name="T3" fmla="*/ 4 h 33"/>
                <a:gd name="T4" fmla="*/ 12 w 34"/>
                <a:gd name="T5" fmla="*/ 7 h 33"/>
                <a:gd name="T6" fmla="*/ 9 w 34"/>
                <a:gd name="T7" fmla="*/ 8 h 33"/>
                <a:gd name="T8" fmla="*/ 9 w 34"/>
                <a:gd name="T9" fmla="*/ 8 h 33"/>
                <a:gd name="T10" fmla="*/ 9 w 34"/>
                <a:gd name="T11" fmla="*/ 8 h 33"/>
                <a:gd name="T12" fmla="*/ 9 w 34"/>
                <a:gd name="T13" fmla="*/ 9 h 33"/>
                <a:gd name="T14" fmla="*/ 11 w 34"/>
                <a:gd name="T15" fmla="*/ 11 h 33"/>
                <a:gd name="T16" fmla="*/ 5 w 34"/>
                <a:gd name="T17" fmla="*/ 12 h 33"/>
                <a:gd name="T18" fmla="*/ 2 w 34"/>
                <a:gd name="T19" fmla="*/ 13 h 33"/>
                <a:gd name="T20" fmla="*/ 0 w 34"/>
                <a:gd name="T21" fmla="*/ 14 h 33"/>
                <a:gd name="T22" fmla="*/ 0 w 34"/>
                <a:gd name="T23" fmla="*/ 16 h 33"/>
                <a:gd name="T24" fmla="*/ 1 w 34"/>
                <a:gd name="T25" fmla="*/ 17 h 33"/>
                <a:gd name="T26" fmla="*/ 6 w 34"/>
                <a:gd name="T27" fmla="*/ 22 h 33"/>
                <a:gd name="T28" fmla="*/ 9 w 34"/>
                <a:gd name="T29" fmla="*/ 24 h 33"/>
                <a:gd name="T30" fmla="*/ 10 w 34"/>
                <a:gd name="T31" fmla="*/ 25 h 33"/>
                <a:gd name="T32" fmla="*/ 10 w 34"/>
                <a:gd name="T33" fmla="*/ 25 h 33"/>
                <a:gd name="T34" fmla="*/ 10 w 34"/>
                <a:gd name="T35" fmla="*/ 26 h 33"/>
                <a:gd name="T36" fmla="*/ 11 w 34"/>
                <a:gd name="T37" fmla="*/ 27 h 33"/>
                <a:gd name="T38" fmla="*/ 12 w 34"/>
                <a:gd name="T39" fmla="*/ 32 h 33"/>
                <a:gd name="T40" fmla="*/ 12 w 34"/>
                <a:gd name="T41" fmla="*/ 33 h 33"/>
                <a:gd name="T42" fmla="*/ 13 w 34"/>
                <a:gd name="T43" fmla="*/ 32 h 33"/>
                <a:gd name="T44" fmla="*/ 15 w 34"/>
                <a:gd name="T45" fmla="*/ 29 h 33"/>
                <a:gd name="T46" fmla="*/ 16 w 34"/>
                <a:gd name="T47" fmla="*/ 28 h 33"/>
                <a:gd name="T48" fmla="*/ 18 w 34"/>
                <a:gd name="T49" fmla="*/ 27 h 33"/>
                <a:gd name="T50" fmla="*/ 18 w 34"/>
                <a:gd name="T51" fmla="*/ 27 h 33"/>
                <a:gd name="T52" fmla="*/ 17 w 34"/>
                <a:gd name="T53" fmla="*/ 20 h 33"/>
                <a:gd name="T54" fmla="*/ 20 w 34"/>
                <a:gd name="T55" fmla="*/ 26 h 33"/>
                <a:gd name="T56" fmla="*/ 20 w 34"/>
                <a:gd name="T57" fmla="*/ 26 h 33"/>
                <a:gd name="T58" fmla="*/ 20 w 34"/>
                <a:gd name="T59" fmla="*/ 26 h 33"/>
                <a:gd name="T60" fmla="*/ 21 w 34"/>
                <a:gd name="T61" fmla="*/ 26 h 33"/>
                <a:gd name="T62" fmla="*/ 24 w 34"/>
                <a:gd name="T63" fmla="*/ 27 h 33"/>
                <a:gd name="T64" fmla="*/ 25 w 34"/>
                <a:gd name="T65" fmla="*/ 27 h 33"/>
                <a:gd name="T66" fmla="*/ 28 w 34"/>
                <a:gd name="T67" fmla="*/ 24 h 33"/>
                <a:gd name="T68" fmla="*/ 30 w 34"/>
                <a:gd name="T69" fmla="*/ 24 h 33"/>
                <a:gd name="T70" fmla="*/ 31 w 34"/>
                <a:gd name="T71" fmla="*/ 24 h 33"/>
                <a:gd name="T72" fmla="*/ 31 w 34"/>
                <a:gd name="T73" fmla="*/ 23 h 33"/>
                <a:gd name="T74" fmla="*/ 32 w 34"/>
                <a:gd name="T75" fmla="*/ 20 h 33"/>
                <a:gd name="T76" fmla="*/ 34 w 34"/>
                <a:gd name="T77" fmla="*/ 17 h 33"/>
                <a:gd name="T78" fmla="*/ 34 w 34"/>
                <a:gd name="T79" fmla="*/ 17 h 33"/>
                <a:gd name="T80" fmla="*/ 28 w 34"/>
                <a:gd name="T81" fmla="*/ 13 h 33"/>
                <a:gd name="T82" fmla="*/ 27 w 34"/>
                <a:gd name="T83" fmla="*/ 10 h 33"/>
                <a:gd name="T84" fmla="*/ 27 w 34"/>
                <a:gd name="T85" fmla="*/ 10 h 33"/>
                <a:gd name="T86" fmla="*/ 27 w 34"/>
                <a:gd name="T87" fmla="*/ 8 h 33"/>
                <a:gd name="T88" fmla="*/ 26 w 34"/>
                <a:gd name="T89" fmla="*/ 8 h 33"/>
                <a:gd name="T90" fmla="*/ 20 w 34"/>
                <a:gd name="T91" fmla="*/ 1 h 33"/>
                <a:gd name="T92" fmla="*/ 18 w 34"/>
                <a:gd name="T93" fmla="*/ 0 h 33"/>
                <a:gd name="T94" fmla="*/ 16 w 34"/>
                <a:gd name="T95" fmla="*/ 0 h 33"/>
                <a:gd name="T96" fmla="*/ 15 w 34"/>
                <a:gd name="T97" fmla="*/ 0 h 33"/>
                <a:gd name="T98" fmla="*/ 14 w 34"/>
                <a:gd name="T99"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3">
                  <a:moveTo>
                    <a:pt x="14" y="0"/>
                  </a:moveTo>
                  <a:cubicBezTo>
                    <a:pt x="15" y="1"/>
                    <a:pt x="16" y="2"/>
                    <a:pt x="15" y="4"/>
                  </a:cubicBezTo>
                  <a:cubicBezTo>
                    <a:pt x="15" y="6"/>
                    <a:pt x="13" y="7"/>
                    <a:pt x="12" y="7"/>
                  </a:cubicBezTo>
                  <a:cubicBezTo>
                    <a:pt x="11" y="8"/>
                    <a:pt x="10" y="8"/>
                    <a:pt x="9" y="8"/>
                  </a:cubicBezTo>
                  <a:cubicBezTo>
                    <a:pt x="9" y="8"/>
                    <a:pt x="9" y="8"/>
                    <a:pt x="9" y="8"/>
                  </a:cubicBezTo>
                  <a:cubicBezTo>
                    <a:pt x="9" y="8"/>
                    <a:pt x="9" y="8"/>
                    <a:pt x="9" y="8"/>
                  </a:cubicBezTo>
                  <a:cubicBezTo>
                    <a:pt x="9" y="9"/>
                    <a:pt x="9" y="9"/>
                    <a:pt x="9" y="9"/>
                  </a:cubicBezTo>
                  <a:cubicBezTo>
                    <a:pt x="11" y="11"/>
                    <a:pt x="11" y="11"/>
                    <a:pt x="11" y="11"/>
                  </a:cubicBezTo>
                  <a:cubicBezTo>
                    <a:pt x="5" y="12"/>
                    <a:pt x="5" y="12"/>
                    <a:pt x="5" y="12"/>
                  </a:cubicBezTo>
                  <a:cubicBezTo>
                    <a:pt x="4" y="13"/>
                    <a:pt x="3" y="13"/>
                    <a:pt x="2" y="13"/>
                  </a:cubicBezTo>
                  <a:cubicBezTo>
                    <a:pt x="1" y="13"/>
                    <a:pt x="0" y="14"/>
                    <a:pt x="0" y="14"/>
                  </a:cubicBezTo>
                  <a:cubicBezTo>
                    <a:pt x="0" y="15"/>
                    <a:pt x="0" y="15"/>
                    <a:pt x="0" y="16"/>
                  </a:cubicBezTo>
                  <a:cubicBezTo>
                    <a:pt x="1" y="17"/>
                    <a:pt x="1" y="17"/>
                    <a:pt x="1" y="17"/>
                  </a:cubicBezTo>
                  <a:cubicBezTo>
                    <a:pt x="2" y="19"/>
                    <a:pt x="5" y="21"/>
                    <a:pt x="6" y="22"/>
                  </a:cubicBezTo>
                  <a:cubicBezTo>
                    <a:pt x="7" y="23"/>
                    <a:pt x="8" y="23"/>
                    <a:pt x="9" y="24"/>
                  </a:cubicBezTo>
                  <a:cubicBezTo>
                    <a:pt x="9" y="24"/>
                    <a:pt x="9" y="25"/>
                    <a:pt x="10" y="25"/>
                  </a:cubicBezTo>
                  <a:cubicBezTo>
                    <a:pt x="10" y="25"/>
                    <a:pt x="10" y="25"/>
                    <a:pt x="10" y="25"/>
                  </a:cubicBezTo>
                  <a:cubicBezTo>
                    <a:pt x="10" y="26"/>
                    <a:pt x="10" y="26"/>
                    <a:pt x="10" y="26"/>
                  </a:cubicBezTo>
                  <a:cubicBezTo>
                    <a:pt x="10" y="26"/>
                    <a:pt x="11" y="27"/>
                    <a:pt x="11" y="27"/>
                  </a:cubicBezTo>
                  <a:cubicBezTo>
                    <a:pt x="12" y="29"/>
                    <a:pt x="12" y="30"/>
                    <a:pt x="12" y="32"/>
                  </a:cubicBezTo>
                  <a:cubicBezTo>
                    <a:pt x="12" y="32"/>
                    <a:pt x="12" y="33"/>
                    <a:pt x="12" y="33"/>
                  </a:cubicBezTo>
                  <a:cubicBezTo>
                    <a:pt x="12" y="33"/>
                    <a:pt x="13" y="32"/>
                    <a:pt x="13" y="32"/>
                  </a:cubicBezTo>
                  <a:cubicBezTo>
                    <a:pt x="13" y="31"/>
                    <a:pt x="14" y="30"/>
                    <a:pt x="15" y="29"/>
                  </a:cubicBezTo>
                  <a:cubicBezTo>
                    <a:pt x="16" y="28"/>
                    <a:pt x="16" y="28"/>
                    <a:pt x="16" y="28"/>
                  </a:cubicBezTo>
                  <a:cubicBezTo>
                    <a:pt x="16" y="27"/>
                    <a:pt x="17" y="27"/>
                    <a:pt x="18" y="27"/>
                  </a:cubicBezTo>
                  <a:cubicBezTo>
                    <a:pt x="18" y="27"/>
                    <a:pt x="18" y="27"/>
                    <a:pt x="18" y="27"/>
                  </a:cubicBezTo>
                  <a:cubicBezTo>
                    <a:pt x="17" y="20"/>
                    <a:pt x="17" y="20"/>
                    <a:pt x="17" y="20"/>
                  </a:cubicBezTo>
                  <a:cubicBezTo>
                    <a:pt x="20" y="26"/>
                    <a:pt x="20" y="26"/>
                    <a:pt x="20" y="26"/>
                  </a:cubicBezTo>
                  <a:cubicBezTo>
                    <a:pt x="20" y="26"/>
                    <a:pt x="20" y="26"/>
                    <a:pt x="20" y="26"/>
                  </a:cubicBezTo>
                  <a:cubicBezTo>
                    <a:pt x="20" y="26"/>
                    <a:pt x="20" y="26"/>
                    <a:pt x="20" y="26"/>
                  </a:cubicBezTo>
                  <a:cubicBezTo>
                    <a:pt x="20" y="26"/>
                    <a:pt x="21" y="26"/>
                    <a:pt x="21" y="26"/>
                  </a:cubicBezTo>
                  <a:cubicBezTo>
                    <a:pt x="22" y="26"/>
                    <a:pt x="24" y="27"/>
                    <a:pt x="24" y="27"/>
                  </a:cubicBezTo>
                  <a:cubicBezTo>
                    <a:pt x="25" y="27"/>
                    <a:pt x="25" y="27"/>
                    <a:pt x="25" y="27"/>
                  </a:cubicBezTo>
                  <a:cubicBezTo>
                    <a:pt x="25" y="26"/>
                    <a:pt x="26" y="25"/>
                    <a:pt x="28" y="24"/>
                  </a:cubicBezTo>
                  <a:cubicBezTo>
                    <a:pt x="29" y="24"/>
                    <a:pt x="30" y="24"/>
                    <a:pt x="30" y="24"/>
                  </a:cubicBezTo>
                  <a:cubicBezTo>
                    <a:pt x="31" y="24"/>
                    <a:pt x="31" y="24"/>
                    <a:pt x="31" y="24"/>
                  </a:cubicBezTo>
                  <a:cubicBezTo>
                    <a:pt x="31" y="23"/>
                    <a:pt x="31" y="23"/>
                    <a:pt x="31" y="23"/>
                  </a:cubicBezTo>
                  <a:cubicBezTo>
                    <a:pt x="31" y="22"/>
                    <a:pt x="32" y="21"/>
                    <a:pt x="32" y="20"/>
                  </a:cubicBezTo>
                  <a:cubicBezTo>
                    <a:pt x="33" y="19"/>
                    <a:pt x="34" y="18"/>
                    <a:pt x="34" y="17"/>
                  </a:cubicBezTo>
                  <a:cubicBezTo>
                    <a:pt x="34" y="17"/>
                    <a:pt x="34" y="17"/>
                    <a:pt x="34" y="17"/>
                  </a:cubicBezTo>
                  <a:cubicBezTo>
                    <a:pt x="33" y="17"/>
                    <a:pt x="30" y="16"/>
                    <a:pt x="28" y="13"/>
                  </a:cubicBezTo>
                  <a:cubicBezTo>
                    <a:pt x="28" y="12"/>
                    <a:pt x="27" y="11"/>
                    <a:pt x="27" y="10"/>
                  </a:cubicBezTo>
                  <a:cubicBezTo>
                    <a:pt x="27" y="10"/>
                    <a:pt x="27" y="10"/>
                    <a:pt x="27" y="10"/>
                  </a:cubicBezTo>
                  <a:cubicBezTo>
                    <a:pt x="27" y="10"/>
                    <a:pt x="27" y="9"/>
                    <a:pt x="27" y="8"/>
                  </a:cubicBezTo>
                  <a:cubicBezTo>
                    <a:pt x="26" y="8"/>
                    <a:pt x="26" y="8"/>
                    <a:pt x="26" y="8"/>
                  </a:cubicBezTo>
                  <a:cubicBezTo>
                    <a:pt x="22" y="8"/>
                    <a:pt x="20" y="5"/>
                    <a:pt x="20" y="1"/>
                  </a:cubicBezTo>
                  <a:cubicBezTo>
                    <a:pt x="20" y="1"/>
                    <a:pt x="19" y="1"/>
                    <a:pt x="18" y="0"/>
                  </a:cubicBezTo>
                  <a:cubicBezTo>
                    <a:pt x="17" y="0"/>
                    <a:pt x="17" y="0"/>
                    <a:pt x="16" y="0"/>
                  </a:cubicBezTo>
                  <a:cubicBezTo>
                    <a:pt x="15" y="0"/>
                    <a:pt x="15" y="0"/>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269"/>
            <p:cNvSpPr/>
            <p:nvPr/>
          </p:nvSpPr>
          <p:spPr bwMode="auto">
            <a:xfrm>
              <a:off x="4809" y="257"/>
              <a:ext cx="126" cy="85"/>
            </a:xfrm>
            <a:custGeom>
              <a:gdLst>
                <a:gd name="T0" fmla="*/ 34 w 53"/>
                <a:gd name="T1" fmla="*/ 1 h 36"/>
                <a:gd name="T2" fmla="*/ 27 w 53"/>
                <a:gd name="T3" fmla="*/ 2 h 36"/>
                <a:gd name="T4" fmla="*/ 24 w 53"/>
                <a:gd name="T5" fmla="*/ 2 h 36"/>
                <a:gd name="T6" fmla="*/ 21 w 53"/>
                <a:gd name="T7" fmla="*/ 2 h 36"/>
                <a:gd name="T8" fmla="*/ 20 w 53"/>
                <a:gd name="T9" fmla="*/ 3 h 36"/>
                <a:gd name="T10" fmla="*/ 15 w 53"/>
                <a:gd name="T11" fmla="*/ 7 h 36"/>
                <a:gd name="T12" fmla="*/ 9 w 53"/>
                <a:gd name="T13" fmla="*/ 5 h 36"/>
                <a:gd name="T14" fmla="*/ 9 w 53"/>
                <a:gd name="T15" fmla="*/ 5 h 36"/>
                <a:gd name="T16" fmla="*/ 7 w 53"/>
                <a:gd name="T17" fmla="*/ 8 h 36"/>
                <a:gd name="T18" fmla="*/ 3 w 53"/>
                <a:gd name="T19" fmla="*/ 13 h 36"/>
                <a:gd name="T20" fmla="*/ 1 w 53"/>
                <a:gd name="T21" fmla="*/ 14 h 36"/>
                <a:gd name="T22" fmla="*/ 1 w 53"/>
                <a:gd name="T23" fmla="*/ 18 h 36"/>
                <a:gd name="T24" fmla="*/ 1 w 53"/>
                <a:gd name="T25" fmla="*/ 23 h 36"/>
                <a:gd name="T26" fmla="*/ 0 w 53"/>
                <a:gd name="T27" fmla="*/ 27 h 36"/>
                <a:gd name="T28" fmla="*/ 2 w 53"/>
                <a:gd name="T29" fmla="*/ 30 h 36"/>
                <a:gd name="T30" fmla="*/ 6 w 53"/>
                <a:gd name="T31" fmla="*/ 34 h 36"/>
                <a:gd name="T32" fmla="*/ 8 w 53"/>
                <a:gd name="T33" fmla="*/ 35 h 36"/>
                <a:gd name="T34" fmla="*/ 9 w 53"/>
                <a:gd name="T35" fmla="*/ 36 h 36"/>
                <a:gd name="T36" fmla="*/ 10 w 53"/>
                <a:gd name="T37" fmla="*/ 35 h 36"/>
                <a:gd name="T38" fmla="*/ 14 w 53"/>
                <a:gd name="T39" fmla="*/ 35 h 36"/>
                <a:gd name="T40" fmla="*/ 18 w 53"/>
                <a:gd name="T41" fmla="*/ 34 h 36"/>
                <a:gd name="T42" fmla="*/ 23 w 53"/>
                <a:gd name="T43" fmla="*/ 34 h 36"/>
                <a:gd name="T44" fmla="*/ 26 w 53"/>
                <a:gd name="T45" fmla="*/ 33 h 36"/>
                <a:gd name="T46" fmla="*/ 28 w 53"/>
                <a:gd name="T47" fmla="*/ 30 h 36"/>
                <a:gd name="T48" fmla="*/ 36 w 53"/>
                <a:gd name="T49" fmla="*/ 27 h 36"/>
                <a:gd name="T50" fmla="*/ 41 w 53"/>
                <a:gd name="T51" fmla="*/ 28 h 36"/>
                <a:gd name="T52" fmla="*/ 43 w 53"/>
                <a:gd name="T53" fmla="*/ 28 h 36"/>
                <a:gd name="T54" fmla="*/ 46 w 53"/>
                <a:gd name="T55" fmla="*/ 27 h 36"/>
                <a:gd name="T56" fmla="*/ 47 w 53"/>
                <a:gd name="T57" fmla="*/ 24 h 36"/>
                <a:gd name="T58" fmla="*/ 50 w 53"/>
                <a:gd name="T59" fmla="*/ 22 h 36"/>
                <a:gd name="T60" fmla="*/ 52 w 53"/>
                <a:gd name="T61" fmla="*/ 21 h 36"/>
                <a:gd name="T62" fmla="*/ 53 w 53"/>
                <a:gd name="T63" fmla="*/ 15 h 36"/>
                <a:gd name="T64" fmla="*/ 53 w 53"/>
                <a:gd name="T65" fmla="*/ 14 h 36"/>
                <a:gd name="T66" fmla="*/ 47 w 53"/>
                <a:gd name="T67" fmla="*/ 7 h 36"/>
                <a:gd name="T68" fmla="*/ 46 w 53"/>
                <a:gd name="T69" fmla="*/ 7 h 36"/>
                <a:gd name="T70" fmla="*/ 45 w 53"/>
                <a:gd name="T71" fmla="*/ 6 h 36"/>
                <a:gd name="T72" fmla="*/ 39 w 53"/>
                <a:gd name="T73"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36">
                  <a:moveTo>
                    <a:pt x="39" y="0"/>
                  </a:moveTo>
                  <a:cubicBezTo>
                    <a:pt x="34" y="1"/>
                    <a:pt x="34" y="1"/>
                    <a:pt x="34" y="1"/>
                  </a:cubicBezTo>
                  <a:cubicBezTo>
                    <a:pt x="35" y="1"/>
                    <a:pt x="35" y="1"/>
                    <a:pt x="35" y="1"/>
                  </a:cubicBezTo>
                  <a:cubicBezTo>
                    <a:pt x="32" y="1"/>
                    <a:pt x="30" y="1"/>
                    <a:pt x="27" y="2"/>
                  </a:cubicBezTo>
                  <a:cubicBezTo>
                    <a:pt x="25" y="2"/>
                    <a:pt x="25" y="2"/>
                    <a:pt x="25" y="2"/>
                  </a:cubicBezTo>
                  <a:cubicBezTo>
                    <a:pt x="24" y="2"/>
                    <a:pt x="24" y="2"/>
                    <a:pt x="24" y="2"/>
                  </a:cubicBezTo>
                  <a:cubicBezTo>
                    <a:pt x="24" y="2"/>
                    <a:pt x="24" y="2"/>
                    <a:pt x="24" y="2"/>
                  </a:cubicBezTo>
                  <a:cubicBezTo>
                    <a:pt x="21" y="2"/>
                    <a:pt x="21" y="2"/>
                    <a:pt x="21" y="2"/>
                  </a:cubicBezTo>
                  <a:cubicBezTo>
                    <a:pt x="20" y="2"/>
                    <a:pt x="20" y="2"/>
                    <a:pt x="20" y="2"/>
                  </a:cubicBezTo>
                  <a:cubicBezTo>
                    <a:pt x="20" y="2"/>
                    <a:pt x="20" y="2"/>
                    <a:pt x="20" y="3"/>
                  </a:cubicBezTo>
                  <a:cubicBezTo>
                    <a:pt x="19" y="3"/>
                    <a:pt x="19" y="5"/>
                    <a:pt x="17" y="6"/>
                  </a:cubicBezTo>
                  <a:cubicBezTo>
                    <a:pt x="17" y="6"/>
                    <a:pt x="16" y="7"/>
                    <a:pt x="15" y="7"/>
                  </a:cubicBezTo>
                  <a:cubicBezTo>
                    <a:pt x="14" y="7"/>
                    <a:pt x="12" y="6"/>
                    <a:pt x="11" y="6"/>
                  </a:cubicBezTo>
                  <a:cubicBezTo>
                    <a:pt x="11" y="5"/>
                    <a:pt x="10" y="5"/>
                    <a:pt x="9" y="5"/>
                  </a:cubicBezTo>
                  <a:cubicBezTo>
                    <a:pt x="9" y="5"/>
                    <a:pt x="9" y="5"/>
                    <a:pt x="9" y="5"/>
                  </a:cubicBezTo>
                  <a:cubicBezTo>
                    <a:pt x="9" y="5"/>
                    <a:pt x="9" y="5"/>
                    <a:pt x="9" y="5"/>
                  </a:cubicBezTo>
                  <a:cubicBezTo>
                    <a:pt x="8" y="6"/>
                    <a:pt x="8" y="6"/>
                    <a:pt x="8" y="6"/>
                  </a:cubicBezTo>
                  <a:cubicBezTo>
                    <a:pt x="8" y="6"/>
                    <a:pt x="7" y="7"/>
                    <a:pt x="7" y="8"/>
                  </a:cubicBezTo>
                  <a:cubicBezTo>
                    <a:pt x="6" y="9"/>
                    <a:pt x="6" y="9"/>
                    <a:pt x="5" y="10"/>
                  </a:cubicBezTo>
                  <a:cubicBezTo>
                    <a:pt x="5" y="11"/>
                    <a:pt x="4" y="12"/>
                    <a:pt x="3" y="13"/>
                  </a:cubicBezTo>
                  <a:cubicBezTo>
                    <a:pt x="3" y="13"/>
                    <a:pt x="2" y="13"/>
                    <a:pt x="1" y="13"/>
                  </a:cubicBezTo>
                  <a:cubicBezTo>
                    <a:pt x="1" y="14"/>
                    <a:pt x="1" y="14"/>
                    <a:pt x="1" y="14"/>
                  </a:cubicBezTo>
                  <a:cubicBezTo>
                    <a:pt x="1" y="15"/>
                    <a:pt x="1" y="15"/>
                    <a:pt x="1" y="15"/>
                  </a:cubicBezTo>
                  <a:cubicBezTo>
                    <a:pt x="1" y="16"/>
                    <a:pt x="1" y="17"/>
                    <a:pt x="1" y="18"/>
                  </a:cubicBezTo>
                  <a:cubicBezTo>
                    <a:pt x="0" y="20"/>
                    <a:pt x="0" y="20"/>
                    <a:pt x="0" y="20"/>
                  </a:cubicBezTo>
                  <a:cubicBezTo>
                    <a:pt x="0" y="21"/>
                    <a:pt x="1" y="22"/>
                    <a:pt x="1" y="23"/>
                  </a:cubicBezTo>
                  <a:cubicBezTo>
                    <a:pt x="1" y="24"/>
                    <a:pt x="0" y="25"/>
                    <a:pt x="0" y="26"/>
                  </a:cubicBezTo>
                  <a:cubicBezTo>
                    <a:pt x="0" y="27"/>
                    <a:pt x="0" y="27"/>
                    <a:pt x="0" y="27"/>
                  </a:cubicBezTo>
                  <a:cubicBezTo>
                    <a:pt x="0" y="28"/>
                    <a:pt x="1" y="28"/>
                    <a:pt x="1" y="29"/>
                  </a:cubicBezTo>
                  <a:cubicBezTo>
                    <a:pt x="2" y="29"/>
                    <a:pt x="2" y="29"/>
                    <a:pt x="2" y="30"/>
                  </a:cubicBezTo>
                  <a:cubicBezTo>
                    <a:pt x="4" y="31"/>
                    <a:pt x="4" y="32"/>
                    <a:pt x="5" y="34"/>
                  </a:cubicBezTo>
                  <a:cubicBezTo>
                    <a:pt x="6" y="34"/>
                    <a:pt x="6" y="34"/>
                    <a:pt x="6" y="34"/>
                  </a:cubicBezTo>
                  <a:cubicBezTo>
                    <a:pt x="7" y="34"/>
                    <a:pt x="7" y="34"/>
                    <a:pt x="8" y="35"/>
                  </a:cubicBezTo>
                  <a:cubicBezTo>
                    <a:pt x="8" y="35"/>
                    <a:pt x="8" y="35"/>
                    <a:pt x="8" y="35"/>
                  </a:cubicBezTo>
                  <a:cubicBezTo>
                    <a:pt x="9" y="35"/>
                    <a:pt x="9" y="35"/>
                    <a:pt x="9" y="35"/>
                  </a:cubicBezTo>
                  <a:cubicBezTo>
                    <a:pt x="9" y="36"/>
                    <a:pt x="9" y="36"/>
                    <a:pt x="9" y="36"/>
                  </a:cubicBezTo>
                  <a:cubicBezTo>
                    <a:pt x="9" y="36"/>
                    <a:pt x="9" y="36"/>
                    <a:pt x="9" y="36"/>
                  </a:cubicBezTo>
                  <a:cubicBezTo>
                    <a:pt x="10" y="36"/>
                    <a:pt x="10" y="36"/>
                    <a:pt x="10" y="35"/>
                  </a:cubicBezTo>
                  <a:cubicBezTo>
                    <a:pt x="11" y="35"/>
                    <a:pt x="11" y="35"/>
                    <a:pt x="12" y="35"/>
                  </a:cubicBezTo>
                  <a:cubicBezTo>
                    <a:pt x="14" y="35"/>
                    <a:pt x="14" y="35"/>
                    <a:pt x="14" y="35"/>
                  </a:cubicBezTo>
                  <a:cubicBezTo>
                    <a:pt x="15" y="35"/>
                    <a:pt x="15" y="35"/>
                    <a:pt x="15" y="35"/>
                  </a:cubicBezTo>
                  <a:cubicBezTo>
                    <a:pt x="18" y="34"/>
                    <a:pt x="18" y="34"/>
                    <a:pt x="18" y="34"/>
                  </a:cubicBezTo>
                  <a:cubicBezTo>
                    <a:pt x="19" y="34"/>
                    <a:pt x="20" y="34"/>
                    <a:pt x="22" y="34"/>
                  </a:cubicBezTo>
                  <a:cubicBezTo>
                    <a:pt x="22" y="34"/>
                    <a:pt x="23" y="34"/>
                    <a:pt x="23" y="34"/>
                  </a:cubicBezTo>
                  <a:cubicBezTo>
                    <a:pt x="26" y="33"/>
                    <a:pt x="26" y="33"/>
                    <a:pt x="26" y="33"/>
                  </a:cubicBezTo>
                  <a:cubicBezTo>
                    <a:pt x="26" y="33"/>
                    <a:pt x="26" y="33"/>
                    <a:pt x="26" y="33"/>
                  </a:cubicBezTo>
                  <a:cubicBezTo>
                    <a:pt x="26" y="33"/>
                    <a:pt x="26" y="33"/>
                    <a:pt x="26" y="33"/>
                  </a:cubicBezTo>
                  <a:cubicBezTo>
                    <a:pt x="26" y="32"/>
                    <a:pt x="27" y="31"/>
                    <a:pt x="28" y="30"/>
                  </a:cubicBezTo>
                  <a:cubicBezTo>
                    <a:pt x="29" y="29"/>
                    <a:pt x="31" y="28"/>
                    <a:pt x="32" y="28"/>
                  </a:cubicBezTo>
                  <a:cubicBezTo>
                    <a:pt x="33" y="27"/>
                    <a:pt x="34" y="27"/>
                    <a:pt x="36" y="27"/>
                  </a:cubicBezTo>
                  <a:cubicBezTo>
                    <a:pt x="36" y="27"/>
                    <a:pt x="37" y="27"/>
                    <a:pt x="37" y="27"/>
                  </a:cubicBezTo>
                  <a:cubicBezTo>
                    <a:pt x="38" y="27"/>
                    <a:pt x="40" y="27"/>
                    <a:pt x="41" y="28"/>
                  </a:cubicBezTo>
                  <a:cubicBezTo>
                    <a:pt x="42" y="28"/>
                    <a:pt x="42" y="28"/>
                    <a:pt x="42" y="28"/>
                  </a:cubicBezTo>
                  <a:cubicBezTo>
                    <a:pt x="43" y="28"/>
                    <a:pt x="43" y="28"/>
                    <a:pt x="43" y="28"/>
                  </a:cubicBezTo>
                  <a:cubicBezTo>
                    <a:pt x="44" y="28"/>
                    <a:pt x="45" y="28"/>
                    <a:pt x="45" y="28"/>
                  </a:cubicBezTo>
                  <a:cubicBezTo>
                    <a:pt x="45" y="27"/>
                    <a:pt x="46" y="27"/>
                    <a:pt x="46" y="27"/>
                  </a:cubicBezTo>
                  <a:cubicBezTo>
                    <a:pt x="46" y="26"/>
                    <a:pt x="46" y="26"/>
                    <a:pt x="46" y="26"/>
                  </a:cubicBezTo>
                  <a:cubicBezTo>
                    <a:pt x="46" y="26"/>
                    <a:pt x="47" y="25"/>
                    <a:pt x="47" y="24"/>
                  </a:cubicBezTo>
                  <a:cubicBezTo>
                    <a:pt x="48" y="23"/>
                    <a:pt x="49" y="22"/>
                    <a:pt x="50" y="22"/>
                  </a:cubicBezTo>
                  <a:cubicBezTo>
                    <a:pt x="50" y="22"/>
                    <a:pt x="50" y="22"/>
                    <a:pt x="50" y="22"/>
                  </a:cubicBezTo>
                  <a:cubicBezTo>
                    <a:pt x="52" y="22"/>
                    <a:pt x="52" y="22"/>
                    <a:pt x="52" y="22"/>
                  </a:cubicBezTo>
                  <a:cubicBezTo>
                    <a:pt x="52" y="21"/>
                    <a:pt x="52" y="21"/>
                    <a:pt x="52" y="21"/>
                  </a:cubicBezTo>
                  <a:cubicBezTo>
                    <a:pt x="52" y="20"/>
                    <a:pt x="53" y="16"/>
                    <a:pt x="53" y="15"/>
                  </a:cubicBezTo>
                  <a:cubicBezTo>
                    <a:pt x="53" y="15"/>
                    <a:pt x="53" y="15"/>
                    <a:pt x="53" y="15"/>
                  </a:cubicBezTo>
                  <a:cubicBezTo>
                    <a:pt x="53" y="14"/>
                    <a:pt x="53" y="14"/>
                    <a:pt x="53" y="14"/>
                  </a:cubicBezTo>
                  <a:cubicBezTo>
                    <a:pt x="53" y="14"/>
                    <a:pt x="53" y="14"/>
                    <a:pt x="53" y="14"/>
                  </a:cubicBezTo>
                  <a:cubicBezTo>
                    <a:pt x="53" y="14"/>
                    <a:pt x="53" y="13"/>
                    <a:pt x="47" y="8"/>
                  </a:cubicBezTo>
                  <a:cubicBezTo>
                    <a:pt x="47" y="7"/>
                    <a:pt x="47" y="7"/>
                    <a:pt x="47" y="7"/>
                  </a:cubicBezTo>
                  <a:cubicBezTo>
                    <a:pt x="43" y="11"/>
                    <a:pt x="43" y="11"/>
                    <a:pt x="43" y="11"/>
                  </a:cubicBezTo>
                  <a:cubicBezTo>
                    <a:pt x="46" y="7"/>
                    <a:pt x="46" y="7"/>
                    <a:pt x="46" y="7"/>
                  </a:cubicBezTo>
                  <a:cubicBezTo>
                    <a:pt x="45" y="6"/>
                    <a:pt x="45" y="6"/>
                    <a:pt x="45" y="6"/>
                  </a:cubicBezTo>
                  <a:cubicBezTo>
                    <a:pt x="45" y="6"/>
                    <a:pt x="45" y="6"/>
                    <a:pt x="45" y="6"/>
                  </a:cubicBezTo>
                  <a:cubicBezTo>
                    <a:pt x="44" y="5"/>
                    <a:pt x="44" y="5"/>
                    <a:pt x="44" y="5"/>
                  </a:cubicBezTo>
                  <a:cubicBezTo>
                    <a:pt x="43" y="4"/>
                    <a:pt x="41" y="2"/>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70"/>
            <p:cNvSpPr/>
            <p:nvPr/>
          </p:nvSpPr>
          <p:spPr bwMode="auto">
            <a:xfrm>
              <a:off x="4779" y="297"/>
              <a:ext cx="356" cy="340"/>
            </a:xfrm>
            <a:custGeom>
              <a:gdLst>
                <a:gd name="T0" fmla="*/ 145 w 151"/>
                <a:gd name="T1" fmla="*/ 8 h 144"/>
                <a:gd name="T2" fmla="*/ 129 w 151"/>
                <a:gd name="T3" fmla="*/ 12 h 144"/>
                <a:gd name="T4" fmla="*/ 120 w 151"/>
                <a:gd name="T5" fmla="*/ 13 h 144"/>
                <a:gd name="T6" fmla="*/ 116 w 151"/>
                <a:gd name="T7" fmla="*/ 11 h 144"/>
                <a:gd name="T8" fmla="*/ 104 w 151"/>
                <a:gd name="T9" fmla="*/ 4 h 144"/>
                <a:gd name="T10" fmla="*/ 98 w 151"/>
                <a:gd name="T11" fmla="*/ 5 h 144"/>
                <a:gd name="T12" fmla="*/ 84 w 151"/>
                <a:gd name="T13" fmla="*/ 10 h 144"/>
                <a:gd name="T14" fmla="*/ 65 w 151"/>
                <a:gd name="T15" fmla="*/ 11 h 144"/>
                <a:gd name="T16" fmla="*/ 54 w 151"/>
                <a:gd name="T17" fmla="*/ 17 h 144"/>
                <a:gd name="T18" fmla="*/ 49 w 151"/>
                <a:gd name="T19" fmla="*/ 16 h 144"/>
                <a:gd name="T20" fmla="*/ 44 w 151"/>
                <a:gd name="T21" fmla="*/ 18 h 144"/>
                <a:gd name="T22" fmla="*/ 38 w 151"/>
                <a:gd name="T23" fmla="*/ 22 h 144"/>
                <a:gd name="T24" fmla="*/ 29 w 151"/>
                <a:gd name="T25" fmla="*/ 23 h 144"/>
                <a:gd name="T26" fmla="*/ 24 w 151"/>
                <a:gd name="T27" fmla="*/ 24 h 144"/>
                <a:gd name="T28" fmla="*/ 17 w 151"/>
                <a:gd name="T29" fmla="*/ 39 h 144"/>
                <a:gd name="T30" fmla="*/ 11 w 151"/>
                <a:gd name="T31" fmla="*/ 46 h 144"/>
                <a:gd name="T32" fmla="*/ 9 w 151"/>
                <a:gd name="T33" fmla="*/ 46 h 144"/>
                <a:gd name="T34" fmla="*/ 12 w 151"/>
                <a:gd name="T35" fmla="*/ 55 h 144"/>
                <a:gd name="T36" fmla="*/ 3 w 151"/>
                <a:gd name="T37" fmla="*/ 58 h 144"/>
                <a:gd name="T38" fmla="*/ 14 w 151"/>
                <a:gd name="T39" fmla="*/ 72 h 144"/>
                <a:gd name="T40" fmla="*/ 24 w 151"/>
                <a:gd name="T41" fmla="*/ 73 h 144"/>
                <a:gd name="T42" fmla="*/ 19 w 151"/>
                <a:gd name="T43" fmla="*/ 75 h 144"/>
                <a:gd name="T44" fmla="*/ 16 w 151"/>
                <a:gd name="T45" fmla="*/ 77 h 144"/>
                <a:gd name="T46" fmla="*/ 23 w 151"/>
                <a:gd name="T47" fmla="*/ 89 h 144"/>
                <a:gd name="T48" fmla="*/ 33 w 151"/>
                <a:gd name="T49" fmla="*/ 92 h 144"/>
                <a:gd name="T50" fmla="*/ 54 w 151"/>
                <a:gd name="T51" fmla="*/ 90 h 144"/>
                <a:gd name="T52" fmla="*/ 73 w 151"/>
                <a:gd name="T53" fmla="*/ 96 h 144"/>
                <a:gd name="T54" fmla="*/ 50 w 151"/>
                <a:gd name="T55" fmla="*/ 94 h 144"/>
                <a:gd name="T56" fmla="*/ 24 w 151"/>
                <a:gd name="T57" fmla="*/ 103 h 144"/>
                <a:gd name="T58" fmla="*/ 37 w 151"/>
                <a:gd name="T59" fmla="*/ 129 h 144"/>
                <a:gd name="T60" fmla="*/ 44 w 151"/>
                <a:gd name="T61" fmla="*/ 127 h 144"/>
                <a:gd name="T62" fmla="*/ 58 w 151"/>
                <a:gd name="T63" fmla="*/ 136 h 144"/>
                <a:gd name="T64" fmla="*/ 62 w 151"/>
                <a:gd name="T65" fmla="*/ 113 h 144"/>
                <a:gd name="T66" fmla="*/ 78 w 151"/>
                <a:gd name="T67" fmla="*/ 112 h 144"/>
                <a:gd name="T68" fmla="*/ 74 w 151"/>
                <a:gd name="T69" fmla="*/ 111 h 144"/>
                <a:gd name="T70" fmla="*/ 82 w 151"/>
                <a:gd name="T71" fmla="*/ 99 h 144"/>
                <a:gd name="T72" fmla="*/ 84 w 151"/>
                <a:gd name="T73" fmla="*/ 102 h 144"/>
                <a:gd name="T74" fmla="*/ 89 w 151"/>
                <a:gd name="T75" fmla="*/ 106 h 144"/>
                <a:gd name="T76" fmla="*/ 94 w 151"/>
                <a:gd name="T77" fmla="*/ 105 h 144"/>
                <a:gd name="T78" fmla="*/ 66 w 151"/>
                <a:gd name="T79" fmla="*/ 79 h 144"/>
                <a:gd name="T80" fmla="*/ 65 w 151"/>
                <a:gd name="T81" fmla="*/ 68 h 144"/>
                <a:gd name="T82" fmla="*/ 73 w 151"/>
                <a:gd name="T83" fmla="*/ 67 h 144"/>
                <a:gd name="T84" fmla="*/ 70 w 151"/>
                <a:gd name="T85" fmla="*/ 70 h 144"/>
                <a:gd name="T86" fmla="*/ 60 w 151"/>
                <a:gd name="T87" fmla="*/ 45 h 144"/>
                <a:gd name="T88" fmla="*/ 65 w 151"/>
                <a:gd name="T89" fmla="*/ 28 h 144"/>
                <a:gd name="T90" fmla="*/ 65 w 151"/>
                <a:gd name="T91" fmla="*/ 31 h 144"/>
                <a:gd name="T92" fmla="*/ 75 w 151"/>
                <a:gd name="T93" fmla="*/ 38 h 144"/>
                <a:gd name="T94" fmla="*/ 81 w 151"/>
                <a:gd name="T95" fmla="*/ 47 h 144"/>
                <a:gd name="T96" fmla="*/ 81 w 151"/>
                <a:gd name="T97" fmla="*/ 39 h 144"/>
                <a:gd name="T98" fmla="*/ 91 w 151"/>
                <a:gd name="T99" fmla="*/ 47 h 144"/>
                <a:gd name="T100" fmla="*/ 95 w 151"/>
                <a:gd name="T101" fmla="*/ 37 h 144"/>
                <a:gd name="T102" fmla="*/ 106 w 151"/>
                <a:gd name="T103" fmla="*/ 19 h 144"/>
                <a:gd name="T104" fmla="*/ 119 w 151"/>
                <a:gd name="T105" fmla="*/ 17 h 144"/>
                <a:gd name="T106" fmla="*/ 142 w 151"/>
                <a:gd name="T107" fmla="*/ 19 h 144"/>
                <a:gd name="T108" fmla="*/ 144 w 151"/>
                <a:gd name="T109" fmla="*/ 15 h 144"/>
                <a:gd name="T110" fmla="*/ 144 w 151"/>
                <a:gd name="T111" fmla="*/ 10 h 144"/>
                <a:gd name="T112" fmla="*/ 151 w 151"/>
                <a:gd name="T113" fmla="*/ 3 h 144"/>
                <a:gd name="T114" fmla="*/ 149 w 151"/>
                <a:gd name="T115" fmla="*/ 1 h 144"/>
                <a:gd name="T116" fmla="*/ 147 w 151"/>
                <a:gd name="T117" fmla="*/ 0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1" h="144">
                  <a:moveTo>
                    <a:pt x="145" y="0"/>
                  </a:moveTo>
                  <a:cubicBezTo>
                    <a:pt x="146" y="2"/>
                    <a:pt x="145" y="4"/>
                    <a:pt x="145" y="6"/>
                  </a:cubicBezTo>
                  <a:cubicBezTo>
                    <a:pt x="145" y="7"/>
                    <a:pt x="145" y="7"/>
                    <a:pt x="145" y="7"/>
                  </a:cubicBezTo>
                  <a:cubicBezTo>
                    <a:pt x="145" y="8"/>
                    <a:pt x="145" y="8"/>
                    <a:pt x="145" y="8"/>
                  </a:cubicBezTo>
                  <a:cubicBezTo>
                    <a:pt x="143" y="10"/>
                    <a:pt x="140" y="11"/>
                    <a:pt x="137" y="11"/>
                  </a:cubicBezTo>
                  <a:cubicBezTo>
                    <a:pt x="135" y="12"/>
                    <a:pt x="134" y="12"/>
                    <a:pt x="132" y="12"/>
                  </a:cubicBezTo>
                  <a:cubicBezTo>
                    <a:pt x="129" y="12"/>
                    <a:pt x="129" y="12"/>
                    <a:pt x="129" y="12"/>
                  </a:cubicBezTo>
                  <a:cubicBezTo>
                    <a:pt x="129" y="12"/>
                    <a:pt x="129" y="12"/>
                    <a:pt x="129" y="12"/>
                  </a:cubicBezTo>
                  <a:cubicBezTo>
                    <a:pt x="124" y="13"/>
                    <a:pt x="124" y="13"/>
                    <a:pt x="124" y="13"/>
                  </a:cubicBezTo>
                  <a:cubicBezTo>
                    <a:pt x="123" y="13"/>
                    <a:pt x="123" y="13"/>
                    <a:pt x="123" y="13"/>
                  </a:cubicBezTo>
                  <a:cubicBezTo>
                    <a:pt x="123" y="13"/>
                    <a:pt x="123" y="13"/>
                    <a:pt x="123" y="13"/>
                  </a:cubicBezTo>
                  <a:cubicBezTo>
                    <a:pt x="122" y="13"/>
                    <a:pt x="121" y="13"/>
                    <a:pt x="120" y="13"/>
                  </a:cubicBezTo>
                  <a:cubicBezTo>
                    <a:pt x="119" y="12"/>
                    <a:pt x="119" y="12"/>
                    <a:pt x="119" y="12"/>
                  </a:cubicBezTo>
                  <a:cubicBezTo>
                    <a:pt x="119" y="12"/>
                    <a:pt x="119" y="12"/>
                    <a:pt x="119" y="12"/>
                  </a:cubicBezTo>
                  <a:cubicBezTo>
                    <a:pt x="118" y="11"/>
                    <a:pt x="117" y="11"/>
                    <a:pt x="116" y="11"/>
                  </a:cubicBezTo>
                  <a:cubicBezTo>
                    <a:pt x="116" y="11"/>
                    <a:pt x="116" y="11"/>
                    <a:pt x="116" y="11"/>
                  </a:cubicBezTo>
                  <a:cubicBezTo>
                    <a:pt x="115" y="11"/>
                    <a:pt x="115" y="11"/>
                    <a:pt x="114" y="11"/>
                  </a:cubicBezTo>
                  <a:cubicBezTo>
                    <a:pt x="112" y="10"/>
                    <a:pt x="110" y="10"/>
                    <a:pt x="108" y="8"/>
                  </a:cubicBezTo>
                  <a:cubicBezTo>
                    <a:pt x="106" y="7"/>
                    <a:pt x="106" y="7"/>
                    <a:pt x="106" y="7"/>
                  </a:cubicBezTo>
                  <a:cubicBezTo>
                    <a:pt x="105" y="6"/>
                    <a:pt x="104" y="5"/>
                    <a:pt x="104" y="4"/>
                  </a:cubicBezTo>
                  <a:cubicBezTo>
                    <a:pt x="103" y="4"/>
                    <a:pt x="103" y="4"/>
                    <a:pt x="103" y="4"/>
                  </a:cubicBezTo>
                  <a:cubicBezTo>
                    <a:pt x="103" y="4"/>
                    <a:pt x="103" y="4"/>
                    <a:pt x="103" y="4"/>
                  </a:cubicBezTo>
                  <a:cubicBezTo>
                    <a:pt x="102" y="4"/>
                    <a:pt x="101" y="4"/>
                    <a:pt x="100" y="5"/>
                  </a:cubicBezTo>
                  <a:cubicBezTo>
                    <a:pt x="98" y="5"/>
                    <a:pt x="98" y="5"/>
                    <a:pt x="98" y="5"/>
                  </a:cubicBezTo>
                  <a:cubicBezTo>
                    <a:pt x="96" y="5"/>
                    <a:pt x="94" y="6"/>
                    <a:pt x="92" y="7"/>
                  </a:cubicBezTo>
                  <a:cubicBezTo>
                    <a:pt x="88" y="8"/>
                    <a:pt x="88" y="8"/>
                    <a:pt x="88" y="8"/>
                  </a:cubicBezTo>
                  <a:cubicBezTo>
                    <a:pt x="87" y="9"/>
                    <a:pt x="86" y="9"/>
                    <a:pt x="84" y="9"/>
                  </a:cubicBezTo>
                  <a:cubicBezTo>
                    <a:pt x="84" y="10"/>
                    <a:pt x="84" y="10"/>
                    <a:pt x="84" y="10"/>
                  </a:cubicBezTo>
                  <a:cubicBezTo>
                    <a:pt x="80" y="10"/>
                    <a:pt x="76" y="10"/>
                    <a:pt x="72" y="10"/>
                  </a:cubicBezTo>
                  <a:cubicBezTo>
                    <a:pt x="71" y="10"/>
                    <a:pt x="71" y="10"/>
                    <a:pt x="71" y="10"/>
                  </a:cubicBezTo>
                  <a:cubicBezTo>
                    <a:pt x="70" y="11"/>
                    <a:pt x="68" y="11"/>
                    <a:pt x="67" y="11"/>
                  </a:cubicBezTo>
                  <a:cubicBezTo>
                    <a:pt x="65" y="11"/>
                    <a:pt x="65" y="11"/>
                    <a:pt x="65" y="11"/>
                  </a:cubicBezTo>
                  <a:cubicBezTo>
                    <a:pt x="65" y="11"/>
                    <a:pt x="64" y="12"/>
                    <a:pt x="64" y="12"/>
                  </a:cubicBezTo>
                  <a:cubicBezTo>
                    <a:pt x="64" y="13"/>
                    <a:pt x="63" y="14"/>
                    <a:pt x="62" y="14"/>
                  </a:cubicBezTo>
                  <a:cubicBezTo>
                    <a:pt x="61" y="16"/>
                    <a:pt x="59" y="17"/>
                    <a:pt x="56" y="17"/>
                  </a:cubicBezTo>
                  <a:cubicBezTo>
                    <a:pt x="56" y="17"/>
                    <a:pt x="55" y="17"/>
                    <a:pt x="54" y="17"/>
                  </a:cubicBezTo>
                  <a:cubicBezTo>
                    <a:pt x="52" y="16"/>
                    <a:pt x="52" y="16"/>
                    <a:pt x="52" y="16"/>
                  </a:cubicBezTo>
                  <a:cubicBezTo>
                    <a:pt x="52" y="16"/>
                    <a:pt x="50" y="16"/>
                    <a:pt x="50" y="16"/>
                  </a:cubicBezTo>
                  <a:cubicBezTo>
                    <a:pt x="50" y="16"/>
                    <a:pt x="50" y="16"/>
                    <a:pt x="50" y="16"/>
                  </a:cubicBezTo>
                  <a:cubicBezTo>
                    <a:pt x="49" y="16"/>
                    <a:pt x="49" y="16"/>
                    <a:pt x="49" y="16"/>
                  </a:cubicBezTo>
                  <a:cubicBezTo>
                    <a:pt x="48" y="16"/>
                    <a:pt x="48" y="16"/>
                    <a:pt x="47" y="16"/>
                  </a:cubicBezTo>
                  <a:cubicBezTo>
                    <a:pt x="45" y="17"/>
                    <a:pt x="45" y="17"/>
                    <a:pt x="45" y="17"/>
                  </a:cubicBezTo>
                  <a:cubicBezTo>
                    <a:pt x="45" y="17"/>
                    <a:pt x="45" y="17"/>
                    <a:pt x="45" y="17"/>
                  </a:cubicBezTo>
                  <a:cubicBezTo>
                    <a:pt x="44" y="18"/>
                    <a:pt x="44" y="18"/>
                    <a:pt x="44" y="18"/>
                  </a:cubicBezTo>
                  <a:cubicBezTo>
                    <a:pt x="44" y="19"/>
                    <a:pt x="44" y="19"/>
                    <a:pt x="43" y="20"/>
                  </a:cubicBezTo>
                  <a:cubicBezTo>
                    <a:pt x="43" y="20"/>
                    <a:pt x="43" y="21"/>
                    <a:pt x="43" y="21"/>
                  </a:cubicBezTo>
                  <a:cubicBezTo>
                    <a:pt x="42" y="21"/>
                    <a:pt x="41" y="22"/>
                    <a:pt x="40" y="22"/>
                  </a:cubicBezTo>
                  <a:cubicBezTo>
                    <a:pt x="39" y="22"/>
                    <a:pt x="39" y="22"/>
                    <a:pt x="38" y="22"/>
                  </a:cubicBezTo>
                  <a:cubicBezTo>
                    <a:pt x="36" y="23"/>
                    <a:pt x="36" y="23"/>
                    <a:pt x="36" y="23"/>
                  </a:cubicBezTo>
                  <a:cubicBezTo>
                    <a:pt x="35" y="23"/>
                    <a:pt x="35" y="23"/>
                    <a:pt x="35" y="23"/>
                  </a:cubicBezTo>
                  <a:cubicBezTo>
                    <a:pt x="34" y="23"/>
                    <a:pt x="33" y="23"/>
                    <a:pt x="32" y="23"/>
                  </a:cubicBezTo>
                  <a:cubicBezTo>
                    <a:pt x="29" y="23"/>
                    <a:pt x="29" y="23"/>
                    <a:pt x="29" y="23"/>
                  </a:cubicBezTo>
                  <a:cubicBezTo>
                    <a:pt x="28" y="24"/>
                    <a:pt x="28" y="24"/>
                    <a:pt x="27" y="24"/>
                  </a:cubicBezTo>
                  <a:cubicBezTo>
                    <a:pt x="27" y="24"/>
                    <a:pt x="27" y="24"/>
                    <a:pt x="26" y="24"/>
                  </a:cubicBezTo>
                  <a:cubicBezTo>
                    <a:pt x="25" y="24"/>
                    <a:pt x="25" y="24"/>
                    <a:pt x="24" y="24"/>
                  </a:cubicBezTo>
                  <a:cubicBezTo>
                    <a:pt x="24" y="24"/>
                    <a:pt x="24" y="24"/>
                    <a:pt x="24" y="24"/>
                  </a:cubicBezTo>
                  <a:cubicBezTo>
                    <a:pt x="24" y="24"/>
                    <a:pt x="24" y="24"/>
                    <a:pt x="24" y="24"/>
                  </a:cubicBezTo>
                  <a:cubicBezTo>
                    <a:pt x="26" y="29"/>
                    <a:pt x="24" y="31"/>
                    <a:pt x="21" y="33"/>
                  </a:cubicBezTo>
                  <a:cubicBezTo>
                    <a:pt x="20" y="33"/>
                    <a:pt x="20" y="34"/>
                    <a:pt x="19" y="35"/>
                  </a:cubicBezTo>
                  <a:cubicBezTo>
                    <a:pt x="18" y="36"/>
                    <a:pt x="18" y="38"/>
                    <a:pt x="17" y="39"/>
                  </a:cubicBezTo>
                  <a:cubicBezTo>
                    <a:pt x="17" y="40"/>
                    <a:pt x="17" y="40"/>
                    <a:pt x="17" y="40"/>
                  </a:cubicBezTo>
                  <a:cubicBezTo>
                    <a:pt x="16" y="41"/>
                    <a:pt x="16" y="42"/>
                    <a:pt x="15" y="43"/>
                  </a:cubicBezTo>
                  <a:cubicBezTo>
                    <a:pt x="15" y="44"/>
                    <a:pt x="15" y="44"/>
                    <a:pt x="15" y="44"/>
                  </a:cubicBezTo>
                  <a:cubicBezTo>
                    <a:pt x="14" y="46"/>
                    <a:pt x="12" y="46"/>
                    <a:pt x="11" y="46"/>
                  </a:cubicBezTo>
                  <a:cubicBezTo>
                    <a:pt x="11" y="46"/>
                    <a:pt x="10" y="46"/>
                    <a:pt x="10" y="46"/>
                  </a:cubicBezTo>
                  <a:cubicBezTo>
                    <a:pt x="10" y="46"/>
                    <a:pt x="10" y="46"/>
                    <a:pt x="10" y="46"/>
                  </a:cubicBezTo>
                  <a:cubicBezTo>
                    <a:pt x="10" y="46"/>
                    <a:pt x="10" y="46"/>
                    <a:pt x="10" y="46"/>
                  </a:cubicBezTo>
                  <a:cubicBezTo>
                    <a:pt x="10" y="46"/>
                    <a:pt x="9" y="46"/>
                    <a:pt x="9" y="46"/>
                  </a:cubicBezTo>
                  <a:cubicBezTo>
                    <a:pt x="9" y="47"/>
                    <a:pt x="9" y="47"/>
                    <a:pt x="9" y="47"/>
                  </a:cubicBezTo>
                  <a:cubicBezTo>
                    <a:pt x="9" y="47"/>
                    <a:pt x="9" y="48"/>
                    <a:pt x="10" y="48"/>
                  </a:cubicBezTo>
                  <a:cubicBezTo>
                    <a:pt x="10" y="49"/>
                    <a:pt x="10" y="49"/>
                    <a:pt x="10" y="49"/>
                  </a:cubicBezTo>
                  <a:cubicBezTo>
                    <a:pt x="12" y="55"/>
                    <a:pt x="12" y="55"/>
                    <a:pt x="12" y="55"/>
                  </a:cubicBezTo>
                  <a:cubicBezTo>
                    <a:pt x="7" y="54"/>
                    <a:pt x="7" y="54"/>
                    <a:pt x="7" y="54"/>
                  </a:cubicBezTo>
                  <a:cubicBezTo>
                    <a:pt x="7" y="54"/>
                    <a:pt x="7" y="54"/>
                    <a:pt x="7" y="54"/>
                  </a:cubicBezTo>
                  <a:cubicBezTo>
                    <a:pt x="7" y="55"/>
                    <a:pt x="6" y="56"/>
                    <a:pt x="5" y="57"/>
                  </a:cubicBezTo>
                  <a:cubicBezTo>
                    <a:pt x="4" y="57"/>
                    <a:pt x="4" y="57"/>
                    <a:pt x="3" y="58"/>
                  </a:cubicBezTo>
                  <a:cubicBezTo>
                    <a:pt x="3" y="58"/>
                    <a:pt x="3" y="58"/>
                    <a:pt x="3" y="58"/>
                  </a:cubicBezTo>
                  <a:cubicBezTo>
                    <a:pt x="2" y="58"/>
                    <a:pt x="1" y="57"/>
                    <a:pt x="0" y="57"/>
                  </a:cubicBezTo>
                  <a:cubicBezTo>
                    <a:pt x="2" y="60"/>
                    <a:pt x="3" y="62"/>
                    <a:pt x="5" y="64"/>
                  </a:cubicBezTo>
                  <a:cubicBezTo>
                    <a:pt x="8" y="67"/>
                    <a:pt x="12" y="69"/>
                    <a:pt x="14" y="72"/>
                  </a:cubicBezTo>
                  <a:cubicBezTo>
                    <a:pt x="15" y="72"/>
                    <a:pt x="15" y="73"/>
                    <a:pt x="15" y="74"/>
                  </a:cubicBezTo>
                  <a:cubicBezTo>
                    <a:pt x="16" y="73"/>
                    <a:pt x="16" y="70"/>
                    <a:pt x="18" y="70"/>
                  </a:cubicBezTo>
                  <a:cubicBezTo>
                    <a:pt x="18" y="70"/>
                    <a:pt x="18" y="70"/>
                    <a:pt x="18" y="70"/>
                  </a:cubicBezTo>
                  <a:cubicBezTo>
                    <a:pt x="20" y="71"/>
                    <a:pt x="24" y="71"/>
                    <a:pt x="24" y="73"/>
                  </a:cubicBezTo>
                  <a:cubicBezTo>
                    <a:pt x="24" y="74"/>
                    <a:pt x="24" y="76"/>
                    <a:pt x="23" y="77"/>
                  </a:cubicBezTo>
                  <a:cubicBezTo>
                    <a:pt x="22" y="76"/>
                    <a:pt x="21" y="75"/>
                    <a:pt x="20" y="75"/>
                  </a:cubicBezTo>
                  <a:cubicBezTo>
                    <a:pt x="20" y="75"/>
                    <a:pt x="20" y="74"/>
                    <a:pt x="20" y="74"/>
                  </a:cubicBezTo>
                  <a:cubicBezTo>
                    <a:pt x="20" y="74"/>
                    <a:pt x="19" y="75"/>
                    <a:pt x="19" y="75"/>
                  </a:cubicBezTo>
                  <a:cubicBezTo>
                    <a:pt x="19" y="75"/>
                    <a:pt x="19" y="75"/>
                    <a:pt x="19" y="75"/>
                  </a:cubicBezTo>
                  <a:cubicBezTo>
                    <a:pt x="19" y="75"/>
                    <a:pt x="19" y="75"/>
                    <a:pt x="19" y="75"/>
                  </a:cubicBezTo>
                  <a:cubicBezTo>
                    <a:pt x="18" y="75"/>
                    <a:pt x="17" y="75"/>
                    <a:pt x="16" y="75"/>
                  </a:cubicBezTo>
                  <a:cubicBezTo>
                    <a:pt x="16" y="75"/>
                    <a:pt x="15" y="75"/>
                    <a:pt x="16" y="77"/>
                  </a:cubicBezTo>
                  <a:cubicBezTo>
                    <a:pt x="14" y="77"/>
                    <a:pt x="16" y="79"/>
                    <a:pt x="16" y="80"/>
                  </a:cubicBezTo>
                  <a:cubicBezTo>
                    <a:pt x="18" y="82"/>
                    <a:pt x="20" y="84"/>
                    <a:pt x="22" y="86"/>
                  </a:cubicBezTo>
                  <a:cubicBezTo>
                    <a:pt x="22" y="87"/>
                    <a:pt x="23" y="88"/>
                    <a:pt x="24" y="89"/>
                  </a:cubicBezTo>
                  <a:cubicBezTo>
                    <a:pt x="23" y="89"/>
                    <a:pt x="23" y="89"/>
                    <a:pt x="23" y="89"/>
                  </a:cubicBezTo>
                  <a:cubicBezTo>
                    <a:pt x="24" y="90"/>
                    <a:pt x="24" y="90"/>
                    <a:pt x="24" y="91"/>
                  </a:cubicBezTo>
                  <a:cubicBezTo>
                    <a:pt x="26" y="90"/>
                    <a:pt x="28" y="89"/>
                    <a:pt x="29" y="88"/>
                  </a:cubicBezTo>
                  <a:cubicBezTo>
                    <a:pt x="29" y="87"/>
                    <a:pt x="29" y="87"/>
                    <a:pt x="29" y="87"/>
                  </a:cubicBezTo>
                  <a:cubicBezTo>
                    <a:pt x="30" y="88"/>
                    <a:pt x="33" y="91"/>
                    <a:pt x="33" y="92"/>
                  </a:cubicBezTo>
                  <a:cubicBezTo>
                    <a:pt x="35" y="92"/>
                    <a:pt x="38" y="91"/>
                    <a:pt x="41" y="90"/>
                  </a:cubicBezTo>
                  <a:cubicBezTo>
                    <a:pt x="42" y="90"/>
                    <a:pt x="44" y="90"/>
                    <a:pt x="45" y="90"/>
                  </a:cubicBezTo>
                  <a:cubicBezTo>
                    <a:pt x="47" y="90"/>
                    <a:pt x="50" y="90"/>
                    <a:pt x="52" y="90"/>
                  </a:cubicBezTo>
                  <a:cubicBezTo>
                    <a:pt x="53" y="90"/>
                    <a:pt x="53" y="90"/>
                    <a:pt x="54" y="90"/>
                  </a:cubicBezTo>
                  <a:cubicBezTo>
                    <a:pt x="54" y="90"/>
                    <a:pt x="54" y="90"/>
                    <a:pt x="54" y="90"/>
                  </a:cubicBezTo>
                  <a:cubicBezTo>
                    <a:pt x="55" y="90"/>
                    <a:pt x="55" y="90"/>
                    <a:pt x="55" y="90"/>
                  </a:cubicBezTo>
                  <a:cubicBezTo>
                    <a:pt x="57" y="90"/>
                    <a:pt x="60" y="90"/>
                    <a:pt x="62" y="91"/>
                  </a:cubicBezTo>
                  <a:cubicBezTo>
                    <a:pt x="66" y="93"/>
                    <a:pt x="70" y="94"/>
                    <a:pt x="73" y="96"/>
                  </a:cubicBezTo>
                  <a:cubicBezTo>
                    <a:pt x="73" y="98"/>
                    <a:pt x="69" y="101"/>
                    <a:pt x="67" y="102"/>
                  </a:cubicBezTo>
                  <a:cubicBezTo>
                    <a:pt x="66" y="102"/>
                    <a:pt x="66" y="102"/>
                    <a:pt x="66" y="102"/>
                  </a:cubicBezTo>
                  <a:cubicBezTo>
                    <a:pt x="65" y="102"/>
                    <a:pt x="63" y="101"/>
                    <a:pt x="62" y="100"/>
                  </a:cubicBezTo>
                  <a:cubicBezTo>
                    <a:pt x="58" y="98"/>
                    <a:pt x="54" y="96"/>
                    <a:pt x="50" y="94"/>
                  </a:cubicBezTo>
                  <a:cubicBezTo>
                    <a:pt x="47" y="93"/>
                    <a:pt x="45" y="91"/>
                    <a:pt x="43" y="91"/>
                  </a:cubicBezTo>
                  <a:cubicBezTo>
                    <a:pt x="38" y="91"/>
                    <a:pt x="32" y="95"/>
                    <a:pt x="29" y="99"/>
                  </a:cubicBezTo>
                  <a:cubicBezTo>
                    <a:pt x="28" y="100"/>
                    <a:pt x="28" y="100"/>
                    <a:pt x="28" y="101"/>
                  </a:cubicBezTo>
                  <a:cubicBezTo>
                    <a:pt x="26" y="102"/>
                    <a:pt x="24" y="102"/>
                    <a:pt x="24" y="103"/>
                  </a:cubicBezTo>
                  <a:cubicBezTo>
                    <a:pt x="23" y="105"/>
                    <a:pt x="28" y="108"/>
                    <a:pt x="29" y="109"/>
                  </a:cubicBezTo>
                  <a:cubicBezTo>
                    <a:pt x="33" y="113"/>
                    <a:pt x="39" y="115"/>
                    <a:pt x="36" y="121"/>
                  </a:cubicBezTo>
                  <a:cubicBezTo>
                    <a:pt x="36" y="123"/>
                    <a:pt x="34" y="122"/>
                    <a:pt x="35" y="125"/>
                  </a:cubicBezTo>
                  <a:cubicBezTo>
                    <a:pt x="35" y="126"/>
                    <a:pt x="36" y="128"/>
                    <a:pt x="37" y="129"/>
                  </a:cubicBezTo>
                  <a:cubicBezTo>
                    <a:pt x="38" y="130"/>
                    <a:pt x="37" y="132"/>
                    <a:pt x="38" y="132"/>
                  </a:cubicBezTo>
                  <a:cubicBezTo>
                    <a:pt x="38" y="132"/>
                    <a:pt x="38" y="132"/>
                    <a:pt x="39" y="132"/>
                  </a:cubicBezTo>
                  <a:cubicBezTo>
                    <a:pt x="41" y="132"/>
                    <a:pt x="43" y="129"/>
                    <a:pt x="43" y="129"/>
                  </a:cubicBezTo>
                  <a:cubicBezTo>
                    <a:pt x="44" y="128"/>
                    <a:pt x="44" y="128"/>
                    <a:pt x="44" y="127"/>
                  </a:cubicBezTo>
                  <a:cubicBezTo>
                    <a:pt x="45" y="127"/>
                    <a:pt x="46" y="127"/>
                    <a:pt x="46" y="127"/>
                  </a:cubicBezTo>
                  <a:cubicBezTo>
                    <a:pt x="51" y="127"/>
                    <a:pt x="55" y="141"/>
                    <a:pt x="56" y="144"/>
                  </a:cubicBezTo>
                  <a:cubicBezTo>
                    <a:pt x="57" y="142"/>
                    <a:pt x="56" y="140"/>
                    <a:pt x="56" y="139"/>
                  </a:cubicBezTo>
                  <a:cubicBezTo>
                    <a:pt x="56" y="138"/>
                    <a:pt x="57" y="137"/>
                    <a:pt x="58" y="136"/>
                  </a:cubicBezTo>
                  <a:cubicBezTo>
                    <a:pt x="58" y="136"/>
                    <a:pt x="58" y="134"/>
                    <a:pt x="58" y="133"/>
                  </a:cubicBezTo>
                  <a:cubicBezTo>
                    <a:pt x="59" y="133"/>
                    <a:pt x="59" y="133"/>
                    <a:pt x="60" y="133"/>
                  </a:cubicBezTo>
                  <a:cubicBezTo>
                    <a:pt x="63" y="133"/>
                    <a:pt x="71" y="141"/>
                    <a:pt x="73" y="143"/>
                  </a:cubicBezTo>
                  <a:cubicBezTo>
                    <a:pt x="70" y="132"/>
                    <a:pt x="67" y="123"/>
                    <a:pt x="62" y="113"/>
                  </a:cubicBezTo>
                  <a:cubicBezTo>
                    <a:pt x="65" y="115"/>
                    <a:pt x="70" y="117"/>
                    <a:pt x="71" y="119"/>
                  </a:cubicBezTo>
                  <a:cubicBezTo>
                    <a:pt x="72" y="119"/>
                    <a:pt x="72" y="119"/>
                    <a:pt x="72" y="119"/>
                  </a:cubicBezTo>
                  <a:cubicBezTo>
                    <a:pt x="73" y="119"/>
                    <a:pt x="74" y="119"/>
                    <a:pt x="76" y="118"/>
                  </a:cubicBezTo>
                  <a:cubicBezTo>
                    <a:pt x="79" y="116"/>
                    <a:pt x="80" y="116"/>
                    <a:pt x="78" y="112"/>
                  </a:cubicBezTo>
                  <a:cubicBezTo>
                    <a:pt x="78" y="111"/>
                    <a:pt x="78" y="111"/>
                    <a:pt x="78" y="111"/>
                  </a:cubicBezTo>
                  <a:cubicBezTo>
                    <a:pt x="78" y="110"/>
                    <a:pt x="78" y="110"/>
                    <a:pt x="77" y="110"/>
                  </a:cubicBezTo>
                  <a:cubicBezTo>
                    <a:pt x="76" y="110"/>
                    <a:pt x="75" y="111"/>
                    <a:pt x="74" y="111"/>
                  </a:cubicBezTo>
                  <a:cubicBezTo>
                    <a:pt x="74" y="111"/>
                    <a:pt x="74" y="111"/>
                    <a:pt x="74" y="111"/>
                  </a:cubicBezTo>
                  <a:cubicBezTo>
                    <a:pt x="73" y="111"/>
                    <a:pt x="71" y="106"/>
                    <a:pt x="70" y="105"/>
                  </a:cubicBezTo>
                  <a:cubicBezTo>
                    <a:pt x="70" y="105"/>
                    <a:pt x="68" y="105"/>
                    <a:pt x="68" y="104"/>
                  </a:cubicBezTo>
                  <a:cubicBezTo>
                    <a:pt x="69" y="101"/>
                    <a:pt x="76" y="102"/>
                    <a:pt x="78" y="101"/>
                  </a:cubicBezTo>
                  <a:cubicBezTo>
                    <a:pt x="79" y="101"/>
                    <a:pt x="80" y="99"/>
                    <a:pt x="82" y="99"/>
                  </a:cubicBezTo>
                  <a:cubicBezTo>
                    <a:pt x="82" y="99"/>
                    <a:pt x="82" y="99"/>
                    <a:pt x="82" y="99"/>
                  </a:cubicBezTo>
                  <a:cubicBezTo>
                    <a:pt x="83" y="100"/>
                    <a:pt x="81" y="101"/>
                    <a:pt x="84" y="102"/>
                  </a:cubicBezTo>
                  <a:cubicBezTo>
                    <a:pt x="83" y="102"/>
                    <a:pt x="83" y="102"/>
                    <a:pt x="83" y="102"/>
                  </a:cubicBezTo>
                  <a:cubicBezTo>
                    <a:pt x="84" y="102"/>
                    <a:pt x="84" y="102"/>
                    <a:pt x="84" y="102"/>
                  </a:cubicBezTo>
                  <a:cubicBezTo>
                    <a:pt x="84" y="102"/>
                    <a:pt x="85" y="102"/>
                    <a:pt x="85" y="102"/>
                  </a:cubicBezTo>
                  <a:cubicBezTo>
                    <a:pt x="86" y="103"/>
                    <a:pt x="86" y="105"/>
                    <a:pt x="87" y="106"/>
                  </a:cubicBezTo>
                  <a:cubicBezTo>
                    <a:pt x="87" y="106"/>
                    <a:pt x="87" y="106"/>
                    <a:pt x="88" y="106"/>
                  </a:cubicBezTo>
                  <a:cubicBezTo>
                    <a:pt x="88" y="106"/>
                    <a:pt x="89" y="106"/>
                    <a:pt x="89" y="106"/>
                  </a:cubicBezTo>
                  <a:cubicBezTo>
                    <a:pt x="90" y="106"/>
                    <a:pt x="90" y="107"/>
                    <a:pt x="90" y="108"/>
                  </a:cubicBezTo>
                  <a:cubicBezTo>
                    <a:pt x="91" y="108"/>
                    <a:pt x="90" y="109"/>
                    <a:pt x="91" y="109"/>
                  </a:cubicBezTo>
                  <a:cubicBezTo>
                    <a:pt x="92" y="109"/>
                    <a:pt x="92" y="109"/>
                    <a:pt x="92" y="109"/>
                  </a:cubicBezTo>
                  <a:cubicBezTo>
                    <a:pt x="94" y="109"/>
                    <a:pt x="94" y="107"/>
                    <a:pt x="94" y="105"/>
                  </a:cubicBezTo>
                  <a:cubicBezTo>
                    <a:pt x="93" y="103"/>
                    <a:pt x="91" y="97"/>
                    <a:pt x="93" y="97"/>
                  </a:cubicBezTo>
                  <a:cubicBezTo>
                    <a:pt x="93" y="97"/>
                    <a:pt x="93" y="97"/>
                    <a:pt x="93" y="97"/>
                  </a:cubicBezTo>
                  <a:cubicBezTo>
                    <a:pt x="95" y="94"/>
                    <a:pt x="76" y="87"/>
                    <a:pt x="74" y="85"/>
                  </a:cubicBezTo>
                  <a:cubicBezTo>
                    <a:pt x="71" y="83"/>
                    <a:pt x="69" y="80"/>
                    <a:pt x="66" y="79"/>
                  </a:cubicBezTo>
                  <a:cubicBezTo>
                    <a:pt x="65" y="79"/>
                    <a:pt x="63" y="78"/>
                    <a:pt x="62" y="78"/>
                  </a:cubicBezTo>
                  <a:cubicBezTo>
                    <a:pt x="61" y="78"/>
                    <a:pt x="59" y="78"/>
                    <a:pt x="57" y="77"/>
                  </a:cubicBezTo>
                  <a:cubicBezTo>
                    <a:pt x="61" y="75"/>
                    <a:pt x="65" y="74"/>
                    <a:pt x="69" y="73"/>
                  </a:cubicBezTo>
                  <a:cubicBezTo>
                    <a:pt x="68" y="71"/>
                    <a:pt x="67" y="69"/>
                    <a:pt x="65" y="68"/>
                  </a:cubicBezTo>
                  <a:cubicBezTo>
                    <a:pt x="65" y="69"/>
                    <a:pt x="65" y="69"/>
                    <a:pt x="65" y="69"/>
                  </a:cubicBezTo>
                  <a:cubicBezTo>
                    <a:pt x="63" y="66"/>
                    <a:pt x="66" y="64"/>
                    <a:pt x="69" y="64"/>
                  </a:cubicBezTo>
                  <a:cubicBezTo>
                    <a:pt x="69" y="64"/>
                    <a:pt x="70" y="64"/>
                    <a:pt x="71" y="64"/>
                  </a:cubicBezTo>
                  <a:cubicBezTo>
                    <a:pt x="72" y="65"/>
                    <a:pt x="72" y="65"/>
                    <a:pt x="73" y="67"/>
                  </a:cubicBezTo>
                  <a:cubicBezTo>
                    <a:pt x="73" y="68"/>
                    <a:pt x="74" y="68"/>
                    <a:pt x="72" y="69"/>
                  </a:cubicBezTo>
                  <a:cubicBezTo>
                    <a:pt x="72" y="70"/>
                    <a:pt x="71" y="70"/>
                    <a:pt x="71" y="70"/>
                  </a:cubicBezTo>
                  <a:cubicBezTo>
                    <a:pt x="71" y="70"/>
                    <a:pt x="70" y="70"/>
                    <a:pt x="70" y="69"/>
                  </a:cubicBezTo>
                  <a:cubicBezTo>
                    <a:pt x="70" y="70"/>
                    <a:pt x="70" y="70"/>
                    <a:pt x="70" y="70"/>
                  </a:cubicBezTo>
                  <a:cubicBezTo>
                    <a:pt x="70" y="70"/>
                    <a:pt x="71" y="70"/>
                    <a:pt x="71" y="70"/>
                  </a:cubicBezTo>
                  <a:cubicBezTo>
                    <a:pt x="72" y="70"/>
                    <a:pt x="73" y="70"/>
                    <a:pt x="74" y="69"/>
                  </a:cubicBezTo>
                  <a:cubicBezTo>
                    <a:pt x="76" y="68"/>
                    <a:pt x="77" y="69"/>
                    <a:pt x="75" y="66"/>
                  </a:cubicBezTo>
                  <a:cubicBezTo>
                    <a:pt x="69" y="59"/>
                    <a:pt x="65" y="52"/>
                    <a:pt x="60" y="45"/>
                  </a:cubicBezTo>
                  <a:cubicBezTo>
                    <a:pt x="58" y="43"/>
                    <a:pt x="58" y="42"/>
                    <a:pt x="58" y="40"/>
                  </a:cubicBezTo>
                  <a:cubicBezTo>
                    <a:pt x="58" y="38"/>
                    <a:pt x="60" y="31"/>
                    <a:pt x="62" y="30"/>
                  </a:cubicBezTo>
                  <a:cubicBezTo>
                    <a:pt x="63" y="30"/>
                    <a:pt x="64" y="29"/>
                    <a:pt x="65" y="29"/>
                  </a:cubicBezTo>
                  <a:cubicBezTo>
                    <a:pt x="65" y="28"/>
                    <a:pt x="65" y="28"/>
                    <a:pt x="65" y="28"/>
                  </a:cubicBezTo>
                  <a:cubicBezTo>
                    <a:pt x="65" y="28"/>
                    <a:pt x="66" y="28"/>
                    <a:pt x="66" y="28"/>
                  </a:cubicBezTo>
                  <a:cubicBezTo>
                    <a:pt x="67" y="28"/>
                    <a:pt x="65" y="30"/>
                    <a:pt x="65" y="31"/>
                  </a:cubicBezTo>
                  <a:cubicBezTo>
                    <a:pt x="65" y="31"/>
                    <a:pt x="65" y="31"/>
                    <a:pt x="65" y="31"/>
                  </a:cubicBezTo>
                  <a:cubicBezTo>
                    <a:pt x="65" y="31"/>
                    <a:pt x="65" y="31"/>
                    <a:pt x="65" y="31"/>
                  </a:cubicBezTo>
                  <a:cubicBezTo>
                    <a:pt x="65" y="31"/>
                    <a:pt x="65" y="31"/>
                    <a:pt x="64" y="31"/>
                  </a:cubicBezTo>
                  <a:cubicBezTo>
                    <a:pt x="64" y="31"/>
                    <a:pt x="64" y="31"/>
                    <a:pt x="64" y="31"/>
                  </a:cubicBezTo>
                  <a:cubicBezTo>
                    <a:pt x="64" y="33"/>
                    <a:pt x="68" y="35"/>
                    <a:pt x="69" y="36"/>
                  </a:cubicBezTo>
                  <a:cubicBezTo>
                    <a:pt x="70" y="37"/>
                    <a:pt x="73" y="37"/>
                    <a:pt x="75" y="38"/>
                  </a:cubicBezTo>
                  <a:cubicBezTo>
                    <a:pt x="77" y="40"/>
                    <a:pt x="75" y="41"/>
                    <a:pt x="76" y="43"/>
                  </a:cubicBezTo>
                  <a:cubicBezTo>
                    <a:pt x="76" y="44"/>
                    <a:pt x="78" y="45"/>
                    <a:pt x="77" y="46"/>
                  </a:cubicBezTo>
                  <a:cubicBezTo>
                    <a:pt x="77" y="46"/>
                    <a:pt x="78" y="46"/>
                    <a:pt x="78" y="46"/>
                  </a:cubicBezTo>
                  <a:cubicBezTo>
                    <a:pt x="79" y="46"/>
                    <a:pt x="80" y="47"/>
                    <a:pt x="81" y="47"/>
                  </a:cubicBezTo>
                  <a:cubicBezTo>
                    <a:pt x="83" y="47"/>
                    <a:pt x="84" y="48"/>
                    <a:pt x="85" y="48"/>
                  </a:cubicBezTo>
                  <a:cubicBezTo>
                    <a:pt x="85" y="48"/>
                    <a:pt x="85" y="48"/>
                    <a:pt x="86" y="47"/>
                  </a:cubicBezTo>
                  <a:cubicBezTo>
                    <a:pt x="83" y="44"/>
                    <a:pt x="78" y="44"/>
                    <a:pt x="76" y="40"/>
                  </a:cubicBezTo>
                  <a:cubicBezTo>
                    <a:pt x="78" y="39"/>
                    <a:pt x="79" y="39"/>
                    <a:pt x="81" y="39"/>
                  </a:cubicBezTo>
                  <a:cubicBezTo>
                    <a:pt x="83" y="39"/>
                    <a:pt x="85" y="39"/>
                    <a:pt x="86" y="42"/>
                  </a:cubicBezTo>
                  <a:cubicBezTo>
                    <a:pt x="87" y="43"/>
                    <a:pt x="87" y="44"/>
                    <a:pt x="88" y="45"/>
                  </a:cubicBezTo>
                  <a:cubicBezTo>
                    <a:pt x="90" y="46"/>
                    <a:pt x="90" y="46"/>
                    <a:pt x="90" y="46"/>
                  </a:cubicBezTo>
                  <a:cubicBezTo>
                    <a:pt x="90" y="46"/>
                    <a:pt x="90" y="47"/>
                    <a:pt x="91" y="47"/>
                  </a:cubicBezTo>
                  <a:cubicBezTo>
                    <a:pt x="91" y="47"/>
                    <a:pt x="91" y="47"/>
                    <a:pt x="91" y="47"/>
                  </a:cubicBezTo>
                  <a:cubicBezTo>
                    <a:pt x="91" y="45"/>
                    <a:pt x="80" y="35"/>
                    <a:pt x="89" y="35"/>
                  </a:cubicBezTo>
                  <a:cubicBezTo>
                    <a:pt x="89" y="35"/>
                    <a:pt x="89" y="35"/>
                    <a:pt x="89" y="35"/>
                  </a:cubicBezTo>
                  <a:cubicBezTo>
                    <a:pt x="91" y="35"/>
                    <a:pt x="92" y="37"/>
                    <a:pt x="95" y="37"/>
                  </a:cubicBezTo>
                  <a:cubicBezTo>
                    <a:pt x="95" y="37"/>
                    <a:pt x="95" y="37"/>
                    <a:pt x="95" y="37"/>
                  </a:cubicBezTo>
                  <a:cubicBezTo>
                    <a:pt x="89" y="34"/>
                    <a:pt x="88" y="31"/>
                    <a:pt x="86" y="24"/>
                  </a:cubicBezTo>
                  <a:cubicBezTo>
                    <a:pt x="91" y="23"/>
                    <a:pt x="98" y="19"/>
                    <a:pt x="103" y="19"/>
                  </a:cubicBezTo>
                  <a:cubicBezTo>
                    <a:pt x="104" y="19"/>
                    <a:pt x="105" y="19"/>
                    <a:pt x="106" y="19"/>
                  </a:cubicBezTo>
                  <a:cubicBezTo>
                    <a:pt x="108" y="20"/>
                    <a:pt x="109" y="21"/>
                    <a:pt x="111" y="21"/>
                  </a:cubicBezTo>
                  <a:cubicBezTo>
                    <a:pt x="112" y="21"/>
                    <a:pt x="112" y="21"/>
                    <a:pt x="113" y="20"/>
                  </a:cubicBezTo>
                  <a:cubicBezTo>
                    <a:pt x="114" y="20"/>
                    <a:pt x="118" y="17"/>
                    <a:pt x="119" y="17"/>
                  </a:cubicBezTo>
                  <a:cubicBezTo>
                    <a:pt x="119" y="17"/>
                    <a:pt x="119" y="17"/>
                    <a:pt x="119" y="17"/>
                  </a:cubicBezTo>
                  <a:cubicBezTo>
                    <a:pt x="123" y="19"/>
                    <a:pt x="128" y="20"/>
                    <a:pt x="132" y="22"/>
                  </a:cubicBezTo>
                  <a:cubicBezTo>
                    <a:pt x="134" y="22"/>
                    <a:pt x="135" y="23"/>
                    <a:pt x="137" y="24"/>
                  </a:cubicBezTo>
                  <a:cubicBezTo>
                    <a:pt x="138" y="23"/>
                    <a:pt x="138" y="23"/>
                    <a:pt x="138" y="23"/>
                  </a:cubicBezTo>
                  <a:cubicBezTo>
                    <a:pt x="139" y="22"/>
                    <a:pt x="141" y="19"/>
                    <a:pt x="142" y="19"/>
                  </a:cubicBezTo>
                  <a:cubicBezTo>
                    <a:pt x="143" y="18"/>
                    <a:pt x="143" y="18"/>
                    <a:pt x="143" y="18"/>
                  </a:cubicBezTo>
                  <a:cubicBezTo>
                    <a:pt x="143" y="17"/>
                    <a:pt x="144" y="17"/>
                    <a:pt x="144" y="16"/>
                  </a:cubicBezTo>
                  <a:cubicBezTo>
                    <a:pt x="144" y="15"/>
                    <a:pt x="144" y="15"/>
                    <a:pt x="144" y="15"/>
                  </a:cubicBezTo>
                  <a:cubicBezTo>
                    <a:pt x="144" y="15"/>
                    <a:pt x="144" y="15"/>
                    <a:pt x="144" y="15"/>
                  </a:cubicBezTo>
                  <a:cubicBezTo>
                    <a:pt x="144" y="14"/>
                    <a:pt x="144" y="14"/>
                    <a:pt x="144" y="14"/>
                  </a:cubicBezTo>
                  <a:cubicBezTo>
                    <a:pt x="144" y="14"/>
                    <a:pt x="144" y="14"/>
                    <a:pt x="144" y="14"/>
                  </a:cubicBezTo>
                  <a:cubicBezTo>
                    <a:pt x="144" y="14"/>
                    <a:pt x="144" y="14"/>
                    <a:pt x="144" y="14"/>
                  </a:cubicBezTo>
                  <a:cubicBezTo>
                    <a:pt x="144" y="13"/>
                    <a:pt x="144" y="11"/>
                    <a:pt x="144" y="10"/>
                  </a:cubicBezTo>
                  <a:cubicBezTo>
                    <a:pt x="145" y="9"/>
                    <a:pt x="146" y="8"/>
                    <a:pt x="147" y="7"/>
                  </a:cubicBezTo>
                  <a:cubicBezTo>
                    <a:pt x="148" y="6"/>
                    <a:pt x="148" y="6"/>
                    <a:pt x="148" y="6"/>
                  </a:cubicBezTo>
                  <a:cubicBezTo>
                    <a:pt x="150" y="5"/>
                    <a:pt x="151" y="5"/>
                    <a:pt x="151" y="4"/>
                  </a:cubicBezTo>
                  <a:cubicBezTo>
                    <a:pt x="151" y="3"/>
                    <a:pt x="151" y="3"/>
                    <a:pt x="151" y="3"/>
                  </a:cubicBezTo>
                  <a:cubicBezTo>
                    <a:pt x="151" y="3"/>
                    <a:pt x="151" y="3"/>
                    <a:pt x="151" y="3"/>
                  </a:cubicBezTo>
                  <a:cubicBezTo>
                    <a:pt x="150" y="2"/>
                    <a:pt x="150" y="2"/>
                    <a:pt x="150" y="2"/>
                  </a:cubicBezTo>
                  <a:cubicBezTo>
                    <a:pt x="150" y="2"/>
                    <a:pt x="150" y="2"/>
                    <a:pt x="150" y="2"/>
                  </a:cubicBezTo>
                  <a:cubicBezTo>
                    <a:pt x="149" y="1"/>
                    <a:pt x="149" y="1"/>
                    <a:pt x="149" y="1"/>
                  </a:cubicBezTo>
                  <a:cubicBezTo>
                    <a:pt x="148" y="1"/>
                    <a:pt x="148" y="1"/>
                    <a:pt x="148" y="1"/>
                  </a:cubicBezTo>
                  <a:cubicBezTo>
                    <a:pt x="148" y="1"/>
                    <a:pt x="148" y="1"/>
                    <a:pt x="148" y="1"/>
                  </a:cubicBezTo>
                  <a:cubicBezTo>
                    <a:pt x="147" y="0"/>
                    <a:pt x="147" y="0"/>
                    <a:pt x="147" y="0"/>
                  </a:cubicBezTo>
                  <a:cubicBezTo>
                    <a:pt x="147" y="0"/>
                    <a:pt x="147" y="0"/>
                    <a:pt x="147" y="0"/>
                  </a:cubicBezTo>
                  <a:cubicBezTo>
                    <a:pt x="145" y="0"/>
                    <a:pt x="145" y="0"/>
                    <a:pt x="1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271"/>
            <p:cNvSpPr/>
            <p:nvPr/>
          </p:nvSpPr>
          <p:spPr bwMode="auto">
            <a:xfrm>
              <a:off x="4913" y="129"/>
              <a:ext cx="338" cy="184"/>
            </a:xfrm>
            <a:custGeom>
              <a:gdLst>
                <a:gd name="T0" fmla="*/ 3 w 143"/>
                <a:gd name="T1" fmla="*/ 4 h 78"/>
                <a:gd name="T2" fmla="*/ 0 w 143"/>
                <a:gd name="T3" fmla="*/ 9 h 78"/>
                <a:gd name="T4" fmla="*/ 4 w 143"/>
                <a:gd name="T5" fmla="*/ 18 h 78"/>
                <a:gd name="T6" fmla="*/ 10 w 143"/>
                <a:gd name="T7" fmla="*/ 22 h 78"/>
                <a:gd name="T8" fmla="*/ 13 w 143"/>
                <a:gd name="T9" fmla="*/ 29 h 78"/>
                <a:gd name="T10" fmla="*/ 4 w 143"/>
                <a:gd name="T11" fmla="*/ 37 h 78"/>
                <a:gd name="T12" fmla="*/ 1 w 143"/>
                <a:gd name="T13" fmla="*/ 38 h 78"/>
                <a:gd name="T14" fmla="*/ 2 w 143"/>
                <a:gd name="T15" fmla="*/ 42 h 78"/>
                <a:gd name="T16" fmla="*/ 1 w 143"/>
                <a:gd name="T17" fmla="*/ 51 h 78"/>
                <a:gd name="T18" fmla="*/ 4 w 143"/>
                <a:gd name="T19" fmla="*/ 55 h 78"/>
                <a:gd name="T20" fmla="*/ 6 w 143"/>
                <a:gd name="T21" fmla="*/ 56 h 78"/>
                <a:gd name="T22" fmla="*/ 7 w 143"/>
                <a:gd name="T23" fmla="*/ 58 h 78"/>
                <a:gd name="T24" fmla="*/ 15 w 143"/>
                <a:gd name="T25" fmla="*/ 76 h 78"/>
                <a:gd name="T26" fmla="*/ 29 w 143"/>
                <a:gd name="T27" fmla="*/ 74 h 78"/>
                <a:gd name="T28" fmla="*/ 40 w 143"/>
                <a:gd name="T29" fmla="*/ 70 h 78"/>
                <a:gd name="T30" fmla="*/ 47 w 143"/>
                <a:gd name="T31" fmla="*/ 70 h 78"/>
                <a:gd name="T32" fmla="*/ 54 w 143"/>
                <a:gd name="T33" fmla="*/ 74 h 78"/>
                <a:gd name="T34" fmla="*/ 60 w 143"/>
                <a:gd name="T35" fmla="*/ 77 h 78"/>
                <a:gd name="T36" fmla="*/ 66 w 143"/>
                <a:gd name="T37" fmla="*/ 78 h 78"/>
                <a:gd name="T38" fmla="*/ 75 w 143"/>
                <a:gd name="T39" fmla="*/ 77 h 78"/>
                <a:gd name="T40" fmla="*/ 83 w 143"/>
                <a:gd name="T41" fmla="*/ 73 h 78"/>
                <a:gd name="T42" fmla="*/ 83 w 143"/>
                <a:gd name="T43" fmla="*/ 66 h 78"/>
                <a:gd name="T44" fmla="*/ 89 w 143"/>
                <a:gd name="T45" fmla="*/ 65 h 78"/>
                <a:gd name="T46" fmla="*/ 92 w 143"/>
                <a:gd name="T47" fmla="*/ 63 h 78"/>
                <a:gd name="T48" fmla="*/ 101 w 143"/>
                <a:gd name="T49" fmla="*/ 58 h 78"/>
                <a:gd name="T50" fmla="*/ 115 w 143"/>
                <a:gd name="T51" fmla="*/ 56 h 78"/>
                <a:gd name="T52" fmla="*/ 118 w 143"/>
                <a:gd name="T53" fmla="*/ 58 h 78"/>
                <a:gd name="T54" fmla="*/ 122 w 143"/>
                <a:gd name="T55" fmla="*/ 48 h 78"/>
                <a:gd name="T56" fmla="*/ 120 w 143"/>
                <a:gd name="T57" fmla="*/ 47 h 78"/>
                <a:gd name="T58" fmla="*/ 117 w 143"/>
                <a:gd name="T59" fmla="*/ 47 h 78"/>
                <a:gd name="T60" fmla="*/ 126 w 143"/>
                <a:gd name="T61" fmla="*/ 37 h 78"/>
                <a:gd name="T62" fmla="*/ 137 w 143"/>
                <a:gd name="T63" fmla="*/ 20 h 78"/>
                <a:gd name="T64" fmla="*/ 121 w 143"/>
                <a:gd name="T65" fmla="*/ 6 h 78"/>
                <a:gd name="T66" fmla="*/ 112 w 143"/>
                <a:gd name="T67" fmla="*/ 3 h 78"/>
                <a:gd name="T68" fmla="*/ 109 w 143"/>
                <a:gd name="T69" fmla="*/ 3 h 78"/>
                <a:gd name="T70" fmla="*/ 88 w 143"/>
                <a:gd name="T71" fmla="*/ 8 h 78"/>
                <a:gd name="T72" fmla="*/ 68 w 143"/>
                <a:gd name="T73" fmla="*/ 17 h 78"/>
                <a:gd name="T74" fmla="*/ 53 w 143"/>
                <a:gd name="T75" fmla="*/ 14 h 78"/>
                <a:gd name="T76" fmla="*/ 38 w 143"/>
                <a:gd name="T77" fmla="*/ 15 h 78"/>
                <a:gd name="T78" fmla="*/ 19 w 143"/>
                <a:gd name="T79" fmla="*/ 11 h 78"/>
                <a:gd name="T80" fmla="*/ 13 w 143"/>
                <a:gd name="T81" fmla="*/ 12 h 78"/>
                <a:gd name="T82" fmla="*/ 6 w 143"/>
                <a:gd name="T83" fmla="*/ 5 h 78"/>
                <a:gd name="T84" fmla="*/ 8 w 143"/>
                <a:gd name="T85" fmla="*/ 2 h 78"/>
                <a:gd name="T86" fmla="*/ 5 w 143"/>
                <a:gd name="T87" fmla="*/ 1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78">
                  <a:moveTo>
                    <a:pt x="5" y="0"/>
                  </a:moveTo>
                  <a:cubicBezTo>
                    <a:pt x="5" y="1"/>
                    <a:pt x="5" y="1"/>
                    <a:pt x="4" y="2"/>
                  </a:cubicBezTo>
                  <a:cubicBezTo>
                    <a:pt x="3" y="4"/>
                    <a:pt x="3" y="4"/>
                    <a:pt x="3" y="4"/>
                  </a:cubicBezTo>
                  <a:cubicBezTo>
                    <a:pt x="1" y="8"/>
                    <a:pt x="1" y="8"/>
                    <a:pt x="1" y="8"/>
                  </a:cubicBezTo>
                  <a:cubicBezTo>
                    <a:pt x="1" y="8"/>
                    <a:pt x="1" y="8"/>
                    <a:pt x="1" y="8"/>
                  </a:cubicBezTo>
                  <a:cubicBezTo>
                    <a:pt x="0" y="9"/>
                    <a:pt x="0" y="9"/>
                    <a:pt x="0" y="9"/>
                  </a:cubicBezTo>
                  <a:cubicBezTo>
                    <a:pt x="0" y="10"/>
                    <a:pt x="1" y="11"/>
                    <a:pt x="1" y="11"/>
                  </a:cubicBezTo>
                  <a:cubicBezTo>
                    <a:pt x="1" y="13"/>
                    <a:pt x="2" y="15"/>
                    <a:pt x="3" y="16"/>
                  </a:cubicBezTo>
                  <a:cubicBezTo>
                    <a:pt x="3" y="16"/>
                    <a:pt x="4" y="17"/>
                    <a:pt x="4" y="18"/>
                  </a:cubicBezTo>
                  <a:cubicBezTo>
                    <a:pt x="5" y="18"/>
                    <a:pt x="6" y="19"/>
                    <a:pt x="7" y="20"/>
                  </a:cubicBezTo>
                  <a:cubicBezTo>
                    <a:pt x="8" y="20"/>
                    <a:pt x="8" y="21"/>
                    <a:pt x="9" y="21"/>
                  </a:cubicBezTo>
                  <a:cubicBezTo>
                    <a:pt x="10" y="22"/>
                    <a:pt x="10" y="22"/>
                    <a:pt x="10" y="22"/>
                  </a:cubicBezTo>
                  <a:cubicBezTo>
                    <a:pt x="11" y="23"/>
                    <a:pt x="12" y="23"/>
                    <a:pt x="13" y="24"/>
                  </a:cubicBezTo>
                  <a:cubicBezTo>
                    <a:pt x="16" y="26"/>
                    <a:pt x="16" y="26"/>
                    <a:pt x="16" y="26"/>
                  </a:cubicBezTo>
                  <a:cubicBezTo>
                    <a:pt x="13" y="29"/>
                    <a:pt x="13" y="29"/>
                    <a:pt x="13" y="29"/>
                  </a:cubicBezTo>
                  <a:cubicBezTo>
                    <a:pt x="12" y="29"/>
                    <a:pt x="12" y="30"/>
                    <a:pt x="11" y="31"/>
                  </a:cubicBezTo>
                  <a:cubicBezTo>
                    <a:pt x="10" y="32"/>
                    <a:pt x="10" y="32"/>
                    <a:pt x="10" y="32"/>
                  </a:cubicBezTo>
                  <a:cubicBezTo>
                    <a:pt x="8" y="33"/>
                    <a:pt x="6" y="35"/>
                    <a:pt x="4" y="37"/>
                  </a:cubicBezTo>
                  <a:cubicBezTo>
                    <a:pt x="3" y="37"/>
                    <a:pt x="3" y="38"/>
                    <a:pt x="2" y="38"/>
                  </a:cubicBezTo>
                  <a:cubicBezTo>
                    <a:pt x="2" y="38"/>
                    <a:pt x="1" y="38"/>
                    <a:pt x="1" y="38"/>
                  </a:cubicBezTo>
                  <a:cubicBezTo>
                    <a:pt x="1" y="38"/>
                    <a:pt x="1" y="38"/>
                    <a:pt x="1" y="38"/>
                  </a:cubicBezTo>
                  <a:cubicBezTo>
                    <a:pt x="1" y="39"/>
                    <a:pt x="1" y="39"/>
                    <a:pt x="1" y="40"/>
                  </a:cubicBezTo>
                  <a:cubicBezTo>
                    <a:pt x="1" y="40"/>
                    <a:pt x="1" y="41"/>
                    <a:pt x="2" y="42"/>
                  </a:cubicBezTo>
                  <a:cubicBezTo>
                    <a:pt x="2" y="42"/>
                    <a:pt x="2" y="42"/>
                    <a:pt x="2" y="42"/>
                  </a:cubicBezTo>
                  <a:cubicBezTo>
                    <a:pt x="2" y="43"/>
                    <a:pt x="2" y="43"/>
                    <a:pt x="2" y="43"/>
                  </a:cubicBezTo>
                  <a:cubicBezTo>
                    <a:pt x="3" y="44"/>
                    <a:pt x="4" y="45"/>
                    <a:pt x="4" y="46"/>
                  </a:cubicBezTo>
                  <a:cubicBezTo>
                    <a:pt x="4" y="48"/>
                    <a:pt x="2" y="50"/>
                    <a:pt x="1" y="51"/>
                  </a:cubicBezTo>
                  <a:cubicBezTo>
                    <a:pt x="1" y="52"/>
                    <a:pt x="1" y="52"/>
                    <a:pt x="1" y="52"/>
                  </a:cubicBezTo>
                  <a:cubicBezTo>
                    <a:pt x="2" y="53"/>
                    <a:pt x="2" y="53"/>
                    <a:pt x="2" y="53"/>
                  </a:cubicBezTo>
                  <a:cubicBezTo>
                    <a:pt x="3" y="54"/>
                    <a:pt x="3" y="54"/>
                    <a:pt x="4" y="55"/>
                  </a:cubicBezTo>
                  <a:cubicBezTo>
                    <a:pt x="5" y="55"/>
                    <a:pt x="5" y="55"/>
                    <a:pt x="5" y="55"/>
                  </a:cubicBezTo>
                  <a:cubicBezTo>
                    <a:pt x="9" y="50"/>
                    <a:pt x="9" y="50"/>
                    <a:pt x="9" y="50"/>
                  </a:cubicBezTo>
                  <a:cubicBezTo>
                    <a:pt x="6" y="56"/>
                    <a:pt x="6" y="56"/>
                    <a:pt x="6" y="56"/>
                  </a:cubicBezTo>
                  <a:cubicBezTo>
                    <a:pt x="6" y="57"/>
                    <a:pt x="6" y="57"/>
                    <a:pt x="6" y="57"/>
                  </a:cubicBezTo>
                  <a:cubicBezTo>
                    <a:pt x="6" y="57"/>
                    <a:pt x="6" y="57"/>
                    <a:pt x="6" y="57"/>
                  </a:cubicBezTo>
                  <a:cubicBezTo>
                    <a:pt x="7" y="58"/>
                    <a:pt x="7" y="58"/>
                    <a:pt x="7" y="58"/>
                  </a:cubicBezTo>
                  <a:cubicBezTo>
                    <a:pt x="11" y="61"/>
                    <a:pt x="15" y="65"/>
                    <a:pt x="15" y="69"/>
                  </a:cubicBezTo>
                  <a:cubicBezTo>
                    <a:pt x="15" y="70"/>
                    <a:pt x="14" y="72"/>
                    <a:pt x="13" y="76"/>
                  </a:cubicBezTo>
                  <a:cubicBezTo>
                    <a:pt x="14" y="76"/>
                    <a:pt x="15" y="76"/>
                    <a:pt x="15" y="76"/>
                  </a:cubicBezTo>
                  <a:cubicBezTo>
                    <a:pt x="16" y="76"/>
                    <a:pt x="16" y="76"/>
                    <a:pt x="16" y="76"/>
                  </a:cubicBezTo>
                  <a:cubicBezTo>
                    <a:pt x="19" y="76"/>
                    <a:pt x="22" y="75"/>
                    <a:pt x="25" y="75"/>
                  </a:cubicBezTo>
                  <a:cubicBezTo>
                    <a:pt x="26" y="75"/>
                    <a:pt x="27" y="74"/>
                    <a:pt x="29" y="74"/>
                  </a:cubicBezTo>
                  <a:cubicBezTo>
                    <a:pt x="29" y="74"/>
                    <a:pt x="29" y="74"/>
                    <a:pt x="29" y="74"/>
                  </a:cubicBezTo>
                  <a:cubicBezTo>
                    <a:pt x="30" y="73"/>
                    <a:pt x="32" y="73"/>
                    <a:pt x="33" y="72"/>
                  </a:cubicBezTo>
                  <a:cubicBezTo>
                    <a:pt x="35" y="71"/>
                    <a:pt x="38" y="70"/>
                    <a:pt x="40" y="70"/>
                  </a:cubicBezTo>
                  <a:cubicBezTo>
                    <a:pt x="41" y="70"/>
                    <a:pt x="41" y="70"/>
                    <a:pt x="42" y="70"/>
                  </a:cubicBezTo>
                  <a:cubicBezTo>
                    <a:pt x="43" y="70"/>
                    <a:pt x="44" y="70"/>
                    <a:pt x="46" y="70"/>
                  </a:cubicBezTo>
                  <a:cubicBezTo>
                    <a:pt x="46" y="70"/>
                    <a:pt x="47" y="70"/>
                    <a:pt x="47" y="70"/>
                  </a:cubicBezTo>
                  <a:cubicBezTo>
                    <a:pt x="48" y="70"/>
                    <a:pt x="48" y="70"/>
                    <a:pt x="49" y="70"/>
                  </a:cubicBezTo>
                  <a:cubicBezTo>
                    <a:pt x="49" y="70"/>
                    <a:pt x="49" y="70"/>
                    <a:pt x="49" y="70"/>
                  </a:cubicBezTo>
                  <a:cubicBezTo>
                    <a:pt x="51" y="71"/>
                    <a:pt x="52" y="73"/>
                    <a:pt x="54" y="74"/>
                  </a:cubicBezTo>
                  <a:cubicBezTo>
                    <a:pt x="54" y="75"/>
                    <a:pt x="54" y="75"/>
                    <a:pt x="54" y="75"/>
                  </a:cubicBezTo>
                  <a:cubicBezTo>
                    <a:pt x="55" y="75"/>
                    <a:pt x="56" y="76"/>
                    <a:pt x="58" y="76"/>
                  </a:cubicBezTo>
                  <a:cubicBezTo>
                    <a:pt x="59" y="76"/>
                    <a:pt x="60" y="76"/>
                    <a:pt x="60" y="77"/>
                  </a:cubicBezTo>
                  <a:cubicBezTo>
                    <a:pt x="61" y="77"/>
                    <a:pt x="63" y="77"/>
                    <a:pt x="64" y="77"/>
                  </a:cubicBezTo>
                  <a:cubicBezTo>
                    <a:pt x="65" y="77"/>
                    <a:pt x="65" y="78"/>
                    <a:pt x="65" y="78"/>
                  </a:cubicBezTo>
                  <a:cubicBezTo>
                    <a:pt x="66" y="78"/>
                    <a:pt x="66" y="78"/>
                    <a:pt x="66" y="78"/>
                  </a:cubicBezTo>
                  <a:cubicBezTo>
                    <a:pt x="71" y="78"/>
                    <a:pt x="71" y="78"/>
                    <a:pt x="71" y="78"/>
                  </a:cubicBezTo>
                  <a:cubicBezTo>
                    <a:pt x="71" y="78"/>
                    <a:pt x="72" y="78"/>
                    <a:pt x="72" y="78"/>
                  </a:cubicBezTo>
                  <a:cubicBezTo>
                    <a:pt x="75" y="77"/>
                    <a:pt x="75" y="77"/>
                    <a:pt x="75" y="77"/>
                  </a:cubicBezTo>
                  <a:cubicBezTo>
                    <a:pt x="76" y="77"/>
                    <a:pt x="78" y="77"/>
                    <a:pt x="79" y="77"/>
                  </a:cubicBezTo>
                  <a:cubicBezTo>
                    <a:pt x="80" y="77"/>
                    <a:pt x="82" y="76"/>
                    <a:pt x="83" y="76"/>
                  </a:cubicBezTo>
                  <a:cubicBezTo>
                    <a:pt x="83" y="75"/>
                    <a:pt x="83" y="74"/>
                    <a:pt x="83" y="73"/>
                  </a:cubicBezTo>
                  <a:cubicBezTo>
                    <a:pt x="82" y="73"/>
                    <a:pt x="82" y="72"/>
                    <a:pt x="82" y="72"/>
                  </a:cubicBezTo>
                  <a:cubicBezTo>
                    <a:pt x="81" y="72"/>
                    <a:pt x="81" y="70"/>
                    <a:pt x="81" y="69"/>
                  </a:cubicBezTo>
                  <a:cubicBezTo>
                    <a:pt x="81" y="68"/>
                    <a:pt x="81" y="66"/>
                    <a:pt x="83" y="66"/>
                  </a:cubicBezTo>
                  <a:cubicBezTo>
                    <a:pt x="84" y="65"/>
                    <a:pt x="85" y="65"/>
                    <a:pt x="86" y="65"/>
                  </a:cubicBezTo>
                  <a:cubicBezTo>
                    <a:pt x="87" y="65"/>
                    <a:pt x="87" y="65"/>
                    <a:pt x="88" y="65"/>
                  </a:cubicBezTo>
                  <a:cubicBezTo>
                    <a:pt x="89" y="65"/>
                    <a:pt x="89" y="65"/>
                    <a:pt x="89" y="65"/>
                  </a:cubicBezTo>
                  <a:cubicBezTo>
                    <a:pt x="90" y="65"/>
                    <a:pt x="90" y="65"/>
                    <a:pt x="91" y="64"/>
                  </a:cubicBezTo>
                  <a:cubicBezTo>
                    <a:pt x="91" y="64"/>
                    <a:pt x="91" y="64"/>
                    <a:pt x="91" y="64"/>
                  </a:cubicBezTo>
                  <a:cubicBezTo>
                    <a:pt x="92" y="63"/>
                    <a:pt x="92" y="63"/>
                    <a:pt x="92" y="63"/>
                  </a:cubicBezTo>
                  <a:cubicBezTo>
                    <a:pt x="92" y="63"/>
                    <a:pt x="92" y="63"/>
                    <a:pt x="92" y="63"/>
                  </a:cubicBezTo>
                  <a:cubicBezTo>
                    <a:pt x="93" y="62"/>
                    <a:pt x="94" y="61"/>
                    <a:pt x="95" y="60"/>
                  </a:cubicBezTo>
                  <a:cubicBezTo>
                    <a:pt x="101" y="58"/>
                    <a:pt x="101" y="58"/>
                    <a:pt x="101" y="58"/>
                  </a:cubicBezTo>
                  <a:cubicBezTo>
                    <a:pt x="104" y="57"/>
                    <a:pt x="106" y="57"/>
                    <a:pt x="109" y="56"/>
                  </a:cubicBezTo>
                  <a:cubicBezTo>
                    <a:pt x="114" y="55"/>
                    <a:pt x="114" y="55"/>
                    <a:pt x="114" y="55"/>
                  </a:cubicBezTo>
                  <a:cubicBezTo>
                    <a:pt x="115" y="56"/>
                    <a:pt x="115" y="56"/>
                    <a:pt x="115" y="56"/>
                  </a:cubicBezTo>
                  <a:cubicBezTo>
                    <a:pt x="116" y="57"/>
                    <a:pt x="116" y="57"/>
                    <a:pt x="116" y="57"/>
                  </a:cubicBezTo>
                  <a:cubicBezTo>
                    <a:pt x="116" y="57"/>
                    <a:pt x="116" y="57"/>
                    <a:pt x="116" y="57"/>
                  </a:cubicBezTo>
                  <a:cubicBezTo>
                    <a:pt x="116" y="57"/>
                    <a:pt x="117" y="58"/>
                    <a:pt x="118" y="58"/>
                  </a:cubicBezTo>
                  <a:cubicBezTo>
                    <a:pt x="119" y="59"/>
                    <a:pt x="119" y="59"/>
                    <a:pt x="119" y="59"/>
                  </a:cubicBezTo>
                  <a:cubicBezTo>
                    <a:pt x="127" y="58"/>
                    <a:pt x="127" y="58"/>
                    <a:pt x="127" y="58"/>
                  </a:cubicBezTo>
                  <a:cubicBezTo>
                    <a:pt x="125" y="55"/>
                    <a:pt x="123" y="52"/>
                    <a:pt x="122" y="48"/>
                  </a:cubicBezTo>
                  <a:cubicBezTo>
                    <a:pt x="121" y="48"/>
                    <a:pt x="121" y="48"/>
                    <a:pt x="121" y="48"/>
                  </a:cubicBezTo>
                  <a:cubicBezTo>
                    <a:pt x="121" y="48"/>
                    <a:pt x="121" y="48"/>
                    <a:pt x="120" y="47"/>
                  </a:cubicBezTo>
                  <a:cubicBezTo>
                    <a:pt x="120" y="47"/>
                    <a:pt x="120" y="47"/>
                    <a:pt x="120" y="47"/>
                  </a:cubicBezTo>
                  <a:cubicBezTo>
                    <a:pt x="120" y="47"/>
                    <a:pt x="119" y="47"/>
                    <a:pt x="119" y="47"/>
                  </a:cubicBezTo>
                  <a:cubicBezTo>
                    <a:pt x="119" y="48"/>
                    <a:pt x="118" y="48"/>
                    <a:pt x="118" y="48"/>
                  </a:cubicBezTo>
                  <a:cubicBezTo>
                    <a:pt x="117" y="48"/>
                    <a:pt x="117" y="48"/>
                    <a:pt x="117" y="47"/>
                  </a:cubicBezTo>
                  <a:cubicBezTo>
                    <a:pt x="116" y="48"/>
                    <a:pt x="116" y="48"/>
                    <a:pt x="116" y="48"/>
                  </a:cubicBezTo>
                  <a:cubicBezTo>
                    <a:pt x="116" y="46"/>
                    <a:pt x="122" y="43"/>
                    <a:pt x="124" y="42"/>
                  </a:cubicBezTo>
                  <a:cubicBezTo>
                    <a:pt x="126" y="40"/>
                    <a:pt x="127" y="40"/>
                    <a:pt x="126" y="37"/>
                  </a:cubicBezTo>
                  <a:cubicBezTo>
                    <a:pt x="126" y="35"/>
                    <a:pt x="126" y="33"/>
                    <a:pt x="126" y="32"/>
                  </a:cubicBezTo>
                  <a:cubicBezTo>
                    <a:pt x="126" y="30"/>
                    <a:pt x="129" y="28"/>
                    <a:pt x="127" y="26"/>
                  </a:cubicBezTo>
                  <a:cubicBezTo>
                    <a:pt x="130" y="24"/>
                    <a:pt x="134" y="20"/>
                    <a:pt x="137" y="20"/>
                  </a:cubicBezTo>
                  <a:cubicBezTo>
                    <a:pt x="138" y="20"/>
                    <a:pt x="139" y="21"/>
                    <a:pt x="140" y="21"/>
                  </a:cubicBezTo>
                  <a:cubicBezTo>
                    <a:pt x="141" y="20"/>
                    <a:pt x="142" y="16"/>
                    <a:pt x="143" y="13"/>
                  </a:cubicBezTo>
                  <a:cubicBezTo>
                    <a:pt x="121" y="6"/>
                    <a:pt x="121" y="6"/>
                    <a:pt x="121" y="6"/>
                  </a:cubicBezTo>
                  <a:cubicBezTo>
                    <a:pt x="119" y="6"/>
                    <a:pt x="117" y="5"/>
                    <a:pt x="115" y="4"/>
                  </a:cubicBezTo>
                  <a:cubicBezTo>
                    <a:pt x="113" y="3"/>
                    <a:pt x="113" y="3"/>
                    <a:pt x="113" y="3"/>
                  </a:cubicBezTo>
                  <a:cubicBezTo>
                    <a:pt x="112" y="3"/>
                    <a:pt x="112" y="3"/>
                    <a:pt x="112" y="3"/>
                  </a:cubicBezTo>
                  <a:cubicBezTo>
                    <a:pt x="111" y="3"/>
                    <a:pt x="111" y="3"/>
                    <a:pt x="111" y="3"/>
                  </a:cubicBezTo>
                  <a:cubicBezTo>
                    <a:pt x="111" y="3"/>
                    <a:pt x="111" y="3"/>
                    <a:pt x="110" y="3"/>
                  </a:cubicBezTo>
                  <a:cubicBezTo>
                    <a:pt x="110" y="3"/>
                    <a:pt x="110" y="3"/>
                    <a:pt x="109" y="3"/>
                  </a:cubicBezTo>
                  <a:cubicBezTo>
                    <a:pt x="94" y="5"/>
                    <a:pt x="94" y="5"/>
                    <a:pt x="94" y="5"/>
                  </a:cubicBezTo>
                  <a:cubicBezTo>
                    <a:pt x="92" y="5"/>
                    <a:pt x="91" y="6"/>
                    <a:pt x="90" y="7"/>
                  </a:cubicBezTo>
                  <a:cubicBezTo>
                    <a:pt x="89" y="7"/>
                    <a:pt x="88" y="7"/>
                    <a:pt x="88" y="8"/>
                  </a:cubicBezTo>
                  <a:cubicBezTo>
                    <a:pt x="87" y="8"/>
                    <a:pt x="86" y="9"/>
                    <a:pt x="85" y="10"/>
                  </a:cubicBezTo>
                  <a:cubicBezTo>
                    <a:pt x="81" y="13"/>
                    <a:pt x="75" y="16"/>
                    <a:pt x="70" y="16"/>
                  </a:cubicBezTo>
                  <a:cubicBezTo>
                    <a:pt x="69" y="16"/>
                    <a:pt x="69" y="17"/>
                    <a:pt x="68" y="17"/>
                  </a:cubicBezTo>
                  <a:cubicBezTo>
                    <a:pt x="65" y="17"/>
                    <a:pt x="62" y="16"/>
                    <a:pt x="59" y="15"/>
                  </a:cubicBezTo>
                  <a:cubicBezTo>
                    <a:pt x="58" y="15"/>
                    <a:pt x="57" y="15"/>
                    <a:pt x="56" y="15"/>
                  </a:cubicBezTo>
                  <a:cubicBezTo>
                    <a:pt x="55" y="14"/>
                    <a:pt x="54" y="14"/>
                    <a:pt x="53" y="14"/>
                  </a:cubicBezTo>
                  <a:cubicBezTo>
                    <a:pt x="52" y="14"/>
                    <a:pt x="49" y="13"/>
                    <a:pt x="49" y="13"/>
                  </a:cubicBezTo>
                  <a:cubicBezTo>
                    <a:pt x="45" y="14"/>
                    <a:pt x="43" y="15"/>
                    <a:pt x="39" y="15"/>
                  </a:cubicBezTo>
                  <a:cubicBezTo>
                    <a:pt x="38" y="15"/>
                    <a:pt x="38" y="15"/>
                    <a:pt x="38" y="15"/>
                  </a:cubicBezTo>
                  <a:cubicBezTo>
                    <a:pt x="34" y="15"/>
                    <a:pt x="31" y="13"/>
                    <a:pt x="28" y="12"/>
                  </a:cubicBezTo>
                  <a:cubicBezTo>
                    <a:pt x="26" y="12"/>
                    <a:pt x="26" y="12"/>
                    <a:pt x="26" y="12"/>
                  </a:cubicBezTo>
                  <a:cubicBezTo>
                    <a:pt x="23" y="11"/>
                    <a:pt x="21" y="11"/>
                    <a:pt x="19" y="11"/>
                  </a:cubicBezTo>
                  <a:cubicBezTo>
                    <a:pt x="19" y="11"/>
                    <a:pt x="18" y="11"/>
                    <a:pt x="18" y="11"/>
                  </a:cubicBezTo>
                  <a:cubicBezTo>
                    <a:pt x="16" y="11"/>
                    <a:pt x="16" y="11"/>
                    <a:pt x="16" y="11"/>
                  </a:cubicBezTo>
                  <a:cubicBezTo>
                    <a:pt x="15" y="11"/>
                    <a:pt x="14" y="12"/>
                    <a:pt x="13" y="12"/>
                  </a:cubicBezTo>
                  <a:cubicBezTo>
                    <a:pt x="12" y="12"/>
                    <a:pt x="11" y="12"/>
                    <a:pt x="10" y="11"/>
                  </a:cubicBezTo>
                  <a:cubicBezTo>
                    <a:pt x="9" y="11"/>
                    <a:pt x="7" y="11"/>
                    <a:pt x="7" y="10"/>
                  </a:cubicBezTo>
                  <a:cubicBezTo>
                    <a:pt x="5" y="8"/>
                    <a:pt x="6" y="6"/>
                    <a:pt x="6" y="5"/>
                  </a:cubicBezTo>
                  <a:cubicBezTo>
                    <a:pt x="6" y="4"/>
                    <a:pt x="7" y="3"/>
                    <a:pt x="8" y="2"/>
                  </a:cubicBezTo>
                  <a:cubicBezTo>
                    <a:pt x="8" y="2"/>
                    <a:pt x="8" y="2"/>
                    <a:pt x="8" y="2"/>
                  </a:cubicBezTo>
                  <a:cubicBezTo>
                    <a:pt x="8" y="2"/>
                    <a:pt x="8" y="2"/>
                    <a:pt x="8" y="2"/>
                  </a:cubicBezTo>
                  <a:cubicBezTo>
                    <a:pt x="7" y="1"/>
                    <a:pt x="7" y="1"/>
                    <a:pt x="7" y="1"/>
                  </a:cubicBezTo>
                  <a:cubicBezTo>
                    <a:pt x="6" y="1"/>
                    <a:pt x="6" y="1"/>
                    <a:pt x="6" y="1"/>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72"/>
            <p:cNvSpPr/>
            <p:nvPr/>
          </p:nvSpPr>
          <p:spPr bwMode="auto">
            <a:xfrm>
              <a:off x="5112" y="273"/>
              <a:ext cx="168" cy="128"/>
            </a:xfrm>
            <a:custGeom>
              <a:gdLst>
                <a:gd name="T0" fmla="*/ 28 w 71"/>
                <a:gd name="T1" fmla="*/ 0 h 54"/>
                <a:gd name="T2" fmla="*/ 27 w 71"/>
                <a:gd name="T3" fmla="*/ 1 h 54"/>
                <a:gd name="T4" fmla="*/ 19 w 71"/>
                <a:gd name="T5" fmla="*/ 3 h 54"/>
                <a:gd name="T6" fmla="*/ 14 w 71"/>
                <a:gd name="T7" fmla="*/ 4 h 54"/>
                <a:gd name="T8" fmla="*/ 13 w 71"/>
                <a:gd name="T9" fmla="*/ 5 h 54"/>
                <a:gd name="T10" fmla="*/ 12 w 71"/>
                <a:gd name="T11" fmla="*/ 6 h 54"/>
                <a:gd name="T12" fmla="*/ 12 w 71"/>
                <a:gd name="T13" fmla="*/ 7 h 54"/>
                <a:gd name="T14" fmla="*/ 13 w 71"/>
                <a:gd name="T15" fmla="*/ 7 h 54"/>
                <a:gd name="T16" fmla="*/ 13 w 71"/>
                <a:gd name="T17" fmla="*/ 8 h 54"/>
                <a:gd name="T18" fmla="*/ 14 w 71"/>
                <a:gd name="T19" fmla="*/ 10 h 54"/>
                <a:gd name="T20" fmla="*/ 15 w 71"/>
                <a:gd name="T21" fmla="*/ 16 h 54"/>
                <a:gd name="T22" fmla="*/ 10 w 71"/>
                <a:gd name="T23" fmla="*/ 21 h 54"/>
                <a:gd name="T24" fmla="*/ 9 w 71"/>
                <a:gd name="T25" fmla="*/ 22 h 54"/>
                <a:gd name="T26" fmla="*/ 9 w 71"/>
                <a:gd name="T27" fmla="*/ 22 h 54"/>
                <a:gd name="T28" fmla="*/ 9 w 71"/>
                <a:gd name="T29" fmla="*/ 23 h 54"/>
                <a:gd name="T30" fmla="*/ 9 w 71"/>
                <a:gd name="T31" fmla="*/ 24 h 54"/>
                <a:gd name="T32" fmla="*/ 8 w 71"/>
                <a:gd name="T33" fmla="*/ 29 h 54"/>
                <a:gd name="T34" fmla="*/ 8 w 71"/>
                <a:gd name="T35" fmla="*/ 29 h 54"/>
                <a:gd name="T36" fmla="*/ 6 w 71"/>
                <a:gd name="T37" fmla="*/ 31 h 54"/>
                <a:gd name="T38" fmla="*/ 6 w 71"/>
                <a:gd name="T39" fmla="*/ 32 h 54"/>
                <a:gd name="T40" fmla="*/ 1 w 71"/>
                <a:gd name="T41" fmla="*/ 38 h 54"/>
                <a:gd name="T42" fmla="*/ 0 w 71"/>
                <a:gd name="T43" fmla="*/ 38 h 54"/>
                <a:gd name="T44" fmla="*/ 4 w 71"/>
                <a:gd name="T45" fmla="*/ 39 h 54"/>
                <a:gd name="T46" fmla="*/ 11 w 71"/>
                <a:gd name="T47" fmla="*/ 38 h 54"/>
                <a:gd name="T48" fmla="*/ 14 w 71"/>
                <a:gd name="T49" fmla="*/ 37 h 54"/>
                <a:gd name="T50" fmla="*/ 16 w 71"/>
                <a:gd name="T51" fmla="*/ 39 h 54"/>
                <a:gd name="T52" fmla="*/ 12 w 71"/>
                <a:gd name="T53" fmla="*/ 41 h 54"/>
                <a:gd name="T54" fmla="*/ 3 w 71"/>
                <a:gd name="T55" fmla="*/ 46 h 54"/>
                <a:gd name="T56" fmla="*/ 2 w 71"/>
                <a:gd name="T57" fmla="*/ 54 h 54"/>
                <a:gd name="T58" fmla="*/ 27 w 71"/>
                <a:gd name="T59" fmla="*/ 35 h 54"/>
                <a:gd name="T60" fmla="*/ 39 w 71"/>
                <a:gd name="T61" fmla="*/ 27 h 54"/>
                <a:gd name="T62" fmla="*/ 51 w 71"/>
                <a:gd name="T63" fmla="*/ 26 h 54"/>
                <a:gd name="T64" fmla="*/ 55 w 71"/>
                <a:gd name="T65" fmla="*/ 26 h 54"/>
                <a:gd name="T66" fmla="*/ 62 w 71"/>
                <a:gd name="T67" fmla="*/ 28 h 54"/>
                <a:gd name="T68" fmla="*/ 61 w 71"/>
                <a:gd name="T69" fmla="*/ 27 h 54"/>
                <a:gd name="T70" fmla="*/ 68 w 71"/>
                <a:gd name="T71" fmla="*/ 20 h 54"/>
                <a:gd name="T72" fmla="*/ 71 w 71"/>
                <a:gd name="T73" fmla="*/ 21 h 54"/>
                <a:gd name="T74" fmla="*/ 71 w 71"/>
                <a:gd name="T75" fmla="*/ 21 h 54"/>
                <a:gd name="T76" fmla="*/ 65 w 71"/>
                <a:gd name="T77" fmla="*/ 19 h 54"/>
                <a:gd name="T78" fmla="*/ 50 w 71"/>
                <a:gd name="T79" fmla="*/ 12 h 54"/>
                <a:gd name="T80" fmla="*/ 46 w 71"/>
                <a:gd name="T81" fmla="*/ 2 h 54"/>
                <a:gd name="T82" fmla="*/ 36 w 71"/>
                <a:gd name="T83" fmla="*/ 4 h 54"/>
                <a:gd name="T84" fmla="*/ 35 w 71"/>
                <a:gd name="T85" fmla="*/ 4 h 54"/>
                <a:gd name="T86" fmla="*/ 29 w 71"/>
                <a:gd name="T87" fmla="*/ 1 h 54"/>
                <a:gd name="T88" fmla="*/ 28 w 71"/>
                <a:gd name="T89" fmla="*/ 0 h 54"/>
                <a:gd name="T90" fmla="*/ 28 w 71"/>
                <a:gd name="T91" fmla="*/ 0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54">
                  <a:moveTo>
                    <a:pt x="28" y="0"/>
                  </a:moveTo>
                  <a:cubicBezTo>
                    <a:pt x="27" y="1"/>
                    <a:pt x="27" y="1"/>
                    <a:pt x="27" y="1"/>
                  </a:cubicBezTo>
                  <a:cubicBezTo>
                    <a:pt x="24" y="1"/>
                    <a:pt x="22" y="2"/>
                    <a:pt x="19" y="3"/>
                  </a:cubicBezTo>
                  <a:cubicBezTo>
                    <a:pt x="14" y="4"/>
                    <a:pt x="14" y="4"/>
                    <a:pt x="14" y="4"/>
                  </a:cubicBezTo>
                  <a:cubicBezTo>
                    <a:pt x="13" y="5"/>
                    <a:pt x="13" y="5"/>
                    <a:pt x="13" y="5"/>
                  </a:cubicBezTo>
                  <a:cubicBezTo>
                    <a:pt x="12" y="6"/>
                    <a:pt x="12" y="6"/>
                    <a:pt x="12" y="6"/>
                  </a:cubicBezTo>
                  <a:cubicBezTo>
                    <a:pt x="12" y="7"/>
                    <a:pt x="12" y="7"/>
                    <a:pt x="12" y="7"/>
                  </a:cubicBezTo>
                  <a:cubicBezTo>
                    <a:pt x="13" y="7"/>
                    <a:pt x="13" y="7"/>
                    <a:pt x="13" y="7"/>
                  </a:cubicBezTo>
                  <a:cubicBezTo>
                    <a:pt x="13" y="8"/>
                    <a:pt x="13" y="8"/>
                    <a:pt x="13" y="8"/>
                  </a:cubicBezTo>
                  <a:cubicBezTo>
                    <a:pt x="13" y="8"/>
                    <a:pt x="14" y="9"/>
                    <a:pt x="14" y="10"/>
                  </a:cubicBezTo>
                  <a:cubicBezTo>
                    <a:pt x="16" y="11"/>
                    <a:pt x="16" y="14"/>
                    <a:pt x="15" y="16"/>
                  </a:cubicBezTo>
                  <a:cubicBezTo>
                    <a:pt x="14" y="19"/>
                    <a:pt x="12" y="20"/>
                    <a:pt x="10" y="21"/>
                  </a:cubicBezTo>
                  <a:cubicBezTo>
                    <a:pt x="9" y="22"/>
                    <a:pt x="9" y="22"/>
                    <a:pt x="9" y="22"/>
                  </a:cubicBezTo>
                  <a:cubicBezTo>
                    <a:pt x="9" y="22"/>
                    <a:pt x="9" y="22"/>
                    <a:pt x="9" y="22"/>
                  </a:cubicBezTo>
                  <a:cubicBezTo>
                    <a:pt x="9" y="23"/>
                    <a:pt x="9" y="23"/>
                    <a:pt x="9" y="23"/>
                  </a:cubicBezTo>
                  <a:cubicBezTo>
                    <a:pt x="9" y="24"/>
                    <a:pt x="9" y="24"/>
                    <a:pt x="9" y="24"/>
                  </a:cubicBezTo>
                  <a:cubicBezTo>
                    <a:pt x="9" y="25"/>
                    <a:pt x="9" y="27"/>
                    <a:pt x="8" y="29"/>
                  </a:cubicBezTo>
                  <a:cubicBezTo>
                    <a:pt x="8" y="29"/>
                    <a:pt x="8" y="29"/>
                    <a:pt x="8" y="29"/>
                  </a:cubicBezTo>
                  <a:cubicBezTo>
                    <a:pt x="8" y="29"/>
                    <a:pt x="7" y="30"/>
                    <a:pt x="6" y="31"/>
                  </a:cubicBezTo>
                  <a:cubicBezTo>
                    <a:pt x="6" y="32"/>
                    <a:pt x="6" y="32"/>
                    <a:pt x="6" y="32"/>
                  </a:cubicBezTo>
                  <a:cubicBezTo>
                    <a:pt x="5" y="33"/>
                    <a:pt x="2" y="36"/>
                    <a:pt x="1" y="38"/>
                  </a:cubicBezTo>
                  <a:cubicBezTo>
                    <a:pt x="0" y="38"/>
                    <a:pt x="0" y="38"/>
                    <a:pt x="0" y="38"/>
                  </a:cubicBezTo>
                  <a:cubicBezTo>
                    <a:pt x="1" y="38"/>
                    <a:pt x="2" y="39"/>
                    <a:pt x="4" y="39"/>
                  </a:cubicBezTo>
                  <a:cubicBezTo>
                    <a:pt x="6" y="39"/>
                    <a:pt x="9" y="38"/>
                    <a:pt x="11" y="38"/>
                  </a:cubicBezTo>
                  <a:cubicBezTo>
                    <a:pt x="12" y="38"/>
                    <a:pt x="13" y="37"/>
                    <a:pt x="14" y="37"/>
                  </a:cubicBezTo>
                  <a:cubicBezTo>
                    <a:pt x="15" y="37"/>
                    <a:pt x="16" y="37"/>
                    <a:pt x="16" y="39"/>
                  </a:cubicBezTo>
                  <a:cubicBezTo>
                    <a:pt x="16" y="40"/>
                    <a:pt x="13" y="41"/>
                    <a:pt x="12" y="41"/>
                  </a:cubicBezTo>
                  <a:cubicBezTo>
                    <a:pt x="10" y="42"/>
                    <a:pt x="5" y="44"/>
                    <a:pt x="3" y="46"/>
                  </a:cubicBezTo>
                  <a:cubicBezTo>
                    <a:pt x="2" y="48"/>
                    <a:pt x="2" y="52"/>
                    <a:pt x="2" y="54"/>
                  </a:cubicBezTo>
                  <a:cubicBezTo>
                    <a:pt x="10" y="47"/>
                    <a:pt x="19" y="41"/>
                    <a:pt x="27" y="35"/>
                  </a:cubicBezTo>
                  <a:cubicBezTo>
                    <a:pt x="30" y="33"/>
                    <a:pt x="35" y="27"/>
                    <a:pt x="39" y="27"/>
                  </a:cubicBezTo>
                  <a:cubicBezTo>
                    <a:pt x="43" y="27"/>
                    <a:pt x="47" y="26"/>
                    <a:pt x="51" y="26"/>
                  </a:cubicBezTo>
                  <a:cubicBezTo>
                    <a:pt x="53" y="26"/>
                    <a:pt x="54" y="26"/>
                    <a:pt x="55" y="26"/>
                  </a:cubicBezTo>
                  <a:cubicBezTo>
                    <a:pt x="57" y="26"/>
                    <a:pt x="59" y="27"/>
                    <a:pt x="62" y="28"/>
                  </a:cubicBezTo>
                  <a:cubicBezTo>
                    <a:pt x="61" y="27"/>
                    <a:pt x="61" y="27"/>
                    <a:pt x="61" y="27"/>
                  </a:cubicBezTo>
                  <a:cubicBezTo>
                    <a:pt x="61" y="23"/>
                    <a:pt x="64" y="20"/>
                    <a:pt x="68" y="20"/>
                  </a:cubicBezTo>
                  <a:cubicBezTo>
                    <a:pt x="69" y="20"/>
                    <a:pt x="70" y="21"/>
                    <a:pt x="71" y="21"/>
                  </a:cubicBezTo>
                  <a:cubicBezTo>
                    <a:pt x="71" y="21"/>
                    <a:pt x="71" y="21"/>
                    <a:pt x="71" y="21"/>
                  </a:cubicBezTo>
                  <a:cubicBezTo>
                    <a:pt x="71" y="20"/>
                    <a:pt x="66" y="20"/>
                    <a:pt x="65" y="19"/>
                  </a:cubicBezTo>
                  <a:cubicBezTo>
                    <a:pt x="60" y="18"/>
                    <a:pt x="55" y="15"/>
                    <a:pt x="50" y="12"/>
                  </a:cubicBezTo>
                  <a:cubicBezTo>
                    <a:pt x="46" y="10"/>
                    <a:pt x="46" y="6"/>
                    <a:pt x="46" y="2"/>
                  </a:cubicBezTo>
                  <a:cubicBezTo>
                    <a:pt x="36" y="4"/>
                    <a:pt x="36" y="4"/>
                    <a:pt x="36" y="4"/>
                  </a:cubicBezTo>
                  <a:cubicBezTo>
                    <a:pt x="36" y="4"/>
                    <a:pt x="35" y="4"/>
                    <a:pt x="35" y="4"/>
                  </a:cubicBezTo>
                  <a:cubicBezTo>
                    <a:pt x="33" y="4"/>
                    <a:pt x="31" y="3"/>
                    <a:pt x="29" y="1"/>
                  </a:cubicBezTo>
                  <a:cubicBezTo>
                    <a:pt x="29" y="1"/>
                    <a:pt x="29" y="0"/>
                    <a:pt x="28" y="0"/>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273"/>
            <p:cNvSpPr/>
            <p:nvPr/>
          </p:nvSpPr>
          <p:spPr bwMode="auto">
            <a:xfrm>
              <a:off x="4717" y="-6"/>
              <a:ext cx="213" cy="253"/>
            </a:xfrm>
            <a:custGeom>
              <a:gdLst>
                <a:gd name="T0" fmla="*/ 17 w 90"/>
                <a:gd name="T1" fmla="*/ 0 h 107"/>
                <a:gd name="T2" fmla="*/ 2 w 90"/>
                <a:gd name="T3" fmla="*/ 8 h 107"/>
                <a:gd name="T4" fmla="*/ 1 w 90"/>
                <a:gd name="T5" fmla="*/ 13 h 107"/>
                <a:gd name="T6" fmla="*/ 5 w 90"/>
                <a:gd name="T7" fmla="*/ 18 h 107"/>
                <a:gd name="T8" fmla="*/ 8 w 90"/>
                <a:gd name="T9" fmla="*/ 27 h 107"/>
                <a:gd name="T10" fmla="*/ 5 w 90"/>
                <a:gd name="T11" fmla="*/ 32 h 107"/>
                <a:gd name="T12" fmla="*/ 11 w 90"/>
                <a:gd name="T13" fmla="*/ 37 h 107"/>
                <a:gd name="T14" fmla="*/ 9 w 90"/>
                <a:gd name="T15" fmla="*/ 41 h 107"/>
                <a:gd name="T16" fmla="*/ 6 w 90"/>
                <a:gd name="T17" fmla="*/ 47 h 107"/>
                <a:gd name="T18" fmla="*/ 7 w 90"/>
                <a:gd name="T19" fmla="*/ 49 h 107"/>
                <a:gd name="T20" fmla="*/ 12 w 90"/>
                <a:gd name="T21" fmla="*/ 53 h 107"/>
                <a:gd name="T22" fmla="*/ 14 w 90"/>
                <a:gd name="T23" fmla="*/ 54 h 107"/>
                <a:gd name="T24" fmla="*/ 17 w 90"/>
                <a:gd name="T25" fmla="*/ 61 h 107"/>
                <a:gd name="T26" fmla="*/ 14 w 90"/>
                <a:gd name="T27" fmla="*/ 63 h 107"/>
                <a:gd name="T28" fmla="*/ 13 w 90"/>
                <a:gd name="T29" fmla="*/ 64 h 107"/>
                <a:gd name="T30" fmla="*/ 15 w 90"/>
                <a:gd name="T31" fmla="*/ 68 h 107"/>
                <a:gd name="T32" fmla="*/ 14 w 90"/>
                <a:gd name="T33" fmla="*/ 72 h 107"/>
                <a:gd name="T34" fmla="*/ 11 w 90"/>
                <a:gd name="T35" fmla="*/ 74 h 107"/>
                <a:gd name="T36" fmla="*/ 37 w 90"/>
                <a:gd name="T37" fmla="*/ 86 h 107"/>
                <a:gd name="T38" fmla="*/ 38 w 90"/>
                <a:gd name="T39" fmla="*/ 79 h 107"/>
                <a:gd name="T40" fmla="*/ 41 w 90"/>
                <a:gd name="T41" fmla="*/ 78 h 107"/>
                <a:gd name="T42" fmla="*/ 45 w 90"/>
                <a:gd name="T43" fmla="*/ 78 h 107"/>
                <a:gd name="T44" fmla="*/ 55 w 90"/>
                <a:gd name="T45" fmla="*/ 87 h 107"/>
                <a:gd name="T46" fmla="*/ 63 w 90"/>
                <a:gd name="T47" fmla="*/ 95 h 107"/>
                <a:gd name="T48" fmla="*/ 66 w 90"/>
                <a:gd name="T49" fmla="*/ 107 h 107"/>
                <a:gd name="T50" fmla="*/ 78 w 90"/>
                <a:gd name="T51" fmla="*/ 105 h 107"/>
                <a:gd name="T52" fmla="*/ 79 w 90"/>
                <a:gd name="T53" fmla="*/ 105 h 107"/>
                <a:gd name="T54" fmla="*/ 78 w 90"/>
                <a:gd name="T55" fmla="*/ 98 h 107"/>
                <a:gd name="T56" fmla="*/ 82 w 90"/>
                <a:gd name="T57" fmla="*/ 90 h 107"/>
                <a:gd name="T58" fmla="*/ 90 w 90"/>
                <a:gd name="T59" fmla="*/ 84 h 107"/>
                <a:gd name="T60" fmla="*/ 86 w 90"/>
                <a:gd name="T61" fmla="*/ 81 h 107"/>
                <a:gd name="T62" fmla="*/ 78 w 90"/>
                <a:gd name="T63" fmla="*/ 70 h 107"/>
                <a:gd name="T64" fmla="*/ 77 w 90"/>
                <a:gd name="T65" fmla="*/ 65 h 107"/>
                <a:gd name="T66" fmla="*/ 83 w 90"/>
                <a:gd name="T67" fmla="*/ 54 h 107"/>
                <a:gd name="T68" fmla="*/ 81 w 90"/>
                <a:gd name="T69" fmla="*/ 45 h 107"/>
                <a:gd name="T70" fmla="*/ 78 w 90"/>
                <a:gd name="T71" fmla="*/ 47 h 107"/>
                <a:gd name="T72" fmla="*/ 77 w 90"/>
                <a:gd name="T73" fmla="*/ 48 h 107"/>
                <a:gd name="T74" fmla="*/ 75 w 90"/>
                <a:gd name="T75" fmla="*/ 49 h 107"/>
                <a:gd name="T76" fmla="*/ 73 w 90"/>
                <a:gd name="T77" fmla="*/ 48 h 107"/>
                <a:gd name="T78" fmla="*/ 49 w 90"/>
                <a:gd name="T79" fmla="*/ 37 h 107"/>
                <a:gd name="T80" fmla="*/ 57 w 90"/>
                <a:gd name="T81" fmla="*/ 32 h 107"/>
                <a:gd name="T82" fmla="*/ 49 w 90"/>
                <a:gd name="T83" fmla="*/ 24 h 107"/>
                <a:gd name="T84" fmla="*/ 44 w 90"/>
                <a:gd name="T85" fmla="*/ 22 h 107"/>
                <a:gd name="T86" fmla="*/ 42 w 90"/>
                <a:gd name="T87" fmla="*/ 21 h 107"/>
                <a:gd name="T88" fmla="*/ 41 w 90"/>
                <a:gd name="T89" fmla="*/ 20 h 107"/>
                <a:gd name="T90" fmla="*/ 39 w 90"/>
                <a:gd name="T91" fmla="*/ 17 h 107"/>
                <a:gd name="T92" fmla="*/ 38 w 90"/>
                <a:gd name="T93" fmla="*/ 13 h 107"/>
                <a:gd name="T94" fmla="*/ 25 w 90"/>
                <a:gd name="T95" fmla="*/ 0 h 1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107">
                  <a:moveTo>
                    <a:pt x="22" y="0"/>
                  </a:moveTo>
                  <a:cubicBezTo>
                    <a:pt x="18" y="0"/>
                    <a:pt x="18" y="0"/>
                    <a:pt x="18" y="0"/>
                  </a:cubicBezTo>
                  <a:cubicBezTo>
                    <a:pt x="17" y="0"/>
                    <a:pt x="17" y="0"/>
                    <a:pt x="17" y="0"/>
                  </a:cubicBezTo>
                  <a:cubicBezTo>
                    <a:pt x="16" y="0"/>
                    <a:pt x="16" y="0"/>
                    <a:pt x="16" y="0"/>
                  </a:cubicBezTo>
                  <a:cubicBezTo>
                    <a:pt x="0" y="6"/>
                    <a:pt x="0" y="6"/>
                    <a:pt x="0" y="6"/>
                  </a:cubicBezTo>
                  <a:cubicBezTo>
                    <a:pt x="1" y="7"/>
                    <a:pt x="1" y="7"/>
                    <a:pt x="2" y="8"/>
                  </a:cubicBezTo>
                  <a:cubicBezTo>
                    <a:pt x="2" y="9"/>
                    <a:pt x="2" y="9"/>
                    <a:pt x="2" y="9"/>
                  </a:cubicBezTo>
                  <a:cubicBezTo>
                    <a:pt x="1" y="13"/>
                    <a:pt x="1" y="13"/>
                    <a:pt x="1" y="13"/>
                  </a:cubicBezTo>
                  <a:cubicBezTo>
                    <a:pt x="1" y="13"/>
                    <a:pt x="1" y="13"/>
                    <a:pt x="1" y="13"/>
                  </a:cubicBezTo>
                  <a:cubicBezTo>
                    <a:pt x="3" y="14"/>
                    <a:pt x="3" y="14"/>
                    <a:pt x="3" y="14"/>
                  </a:cubicBezTo>
                  <a:cubicBezTo>
                    <a:pt x="3" y="14"/>
                    <a:pt x="5" y="15"/>
                    <a:pt x="5" y="17"/>
                  </a:cubicBezTo>
                  <a:cubicBezTo>
                    <a:pt x="5" y="18"/>
                    <a:pt x="5" y="18"/>
                    <a:pt x="5" y="18"/>
                  </a:cubicBezTo>
                  <a:cubicBezTo>
                    <a:pt x="17" y="26"/>
                    <a:pt x="17" y="26"/>
                    <a:pt x="17" y="26"/>
                  </a:cubicBezTo>
                  <a:cubicBezTo>
                    <a:pt x="10" y="27"/>
                    <a:pt x="10" y="27"/>
                    <a:pt x="10" y="27"/>
                  </a:cubicBezTo>
                  <a:cubicBezTo>
                    <a:pt x="10" y="27"/>
                    <a:pt x="9" y="27"/>
                    <a:pt x="8" y="27"/>
                  </a:cubicBezTo>
                  <a:cubicBezTo>
                    <a:pt x="6" y="28"/>
                    <a:pt x="6" y="28"/>
                    <a:pt x="5" y="28"/>
                  </a:cubicBezTo>
                  <a:cubicBezTo>
                    <a:pt x="5" y="28"/>
                    <a:pt x="5" y="28"/>
                    <a:pt x="5" y="29"/>
                  </a:cubicBezTo>
                  <a:cubicBezTo>
                    <a:pt x="5" y="30"/>
                    <a:pt x="5" y="31"/>
                    <a:pt x="5" y="32"/>
                  </a:cubicBezTo>
                  <a:cubicBezTo>
                    <a:pt x="6" y="32"/>
                    <a:pt x="7" y="32"/>
                    <a:pt x="8" y="32"/>
                  </a:cubicBezTo>
                  <a:cubicBezTo>
                    <a:pt x="13" y="31"/>
                    <a:pt x="13" y="31"/>
                    <a:pt x="13" y="31"/>
                  </a:cubicBezTo>
                  <a:cubicBezTo>
                    <a:pt x="11" y="37"/>
                    <a:pt x="11" y="37"/>
                    <a:pt x="11" y="37"/>
                  </a:cubicBezTo>
                  <a:cubicBezTo>
                    <a:pt x="10" y="38"/>
                    <a:pt x="10" y="39"/>
                    <a:pt x="10" y="40"/>
                  </a:cubicBezTo>
                  <a:cubicBezTo>
                    <a:pt x="10" y="41"/>
                    <a:pt x="10" y="41"/>
                    <a:pt x="10" y="41"/>
                  </a:cubicBezTo>
                  <a:cubicBezTo>
                    <a:pt x="9" y="41"/>
                    <a:pt x="9" y="41"/>
                    <a:pt x="9" y="41"/>
                  </a:cubicBezTo>
                  <a:cubicBezTo>
                    <a:pt x="8" y="43"/>
                    <a:pt x="8" y="44"/>
                    <a:pt x="7" y="45"/>
                  </a:cubicBezTo>
                  <a:cubicBezTo>
                    <a:pt x="7" y="46"/>
                    <a:pt x="7" y="46"/>
                    <a:pt x="7" y="46"/>
                  </a:cubicBezTo>
                  <a:cubicBezTo>
                    <a:pt x="6" y="47"/>
                    <a:pt x="6" y="47"/>
                    <a:pt x="6" y="47"/>
                  </a:cubicBezTo>
                  <a:cubicBezTo>
                    <a:pt x="6" y="48"/>
                    <a:pt x="6" y="49"/>
                    <a:pt x="6" y="49"/>
                  </a:cubicBezTo>
                  <a:cubicBezTo>
                    <a:pt x="7" y="50"/>
                    <a:pt x="7" y="50"/>
                    <a:pt x="7" y="50"/>
                  </a:cubicBezTo>
                  <a:cubicBezTo>
                    <a:pt x="7" y="49"/>
                    <a:pt x="7" y="49"/>
                    <a:pt x="7" y="49"/>
                  </a:cubicBezTo>
                  <a:cubicBezTo>
                    <a:pt x="7" y="49"/>
                    <a:pt x="8" y="49"/>
                    <a:pt x="8" y="50"/>
                  </a:cubicBezTo>
                  <a:cubicBezTo>
                    <a:pt x="9" y="50"/>
                    <a:pt x="9" y="50"/>
                    <a:pt x="10" y="50"/>
                  </a:cubicBezTo>
                  <a:cubicBezTo>
                    <a:pt x="11" y="51"/>
                    <a:pt x="11" y="52"/>
                    <a:pt x="12" y="53"/>
                  </a:cubicBezTo>
                  <a:cubicBezTo>
                    <a:pt x="13" y="54"/>
                    <a:pt x="13" y="54"/>
                    <a:pt x="13" y="54"/>
                  </a:cubicBezTo>
                  <a:cubicBezTo>
                    <a:pt x="14" y="55"/>
                    <a:pt x="14" y="55"/>
                    <a:pt x="14" y="55"/>
                  </a:cubicBezTo>
                  <a:cubicBezTo>
                    <a:pt x="14" y="54"/>
                    <a:pt x="14" y="54"/>
                    <a:pt x="14" y="54"/>
                  </a:cubicBezTo>
                  <a:cubicBezTo>
                    <a:pt x="16" y="56"/>
                    <a:pt x="16" y="56"/>
                    <a:pt x="16" y="56"/>
                  </a:cubicBezTo>
                  <a:cubicBezTo>
                    <a:pt x="17" y="57"/>
                    <a:pt x="18" y="58"/>
                    <a:pt x="17" y="60"/>
                  </a:cubicBezTo>
                  <a:cubicBezTo>
                    <a:pt x="17" y="61"/>
                    <a:pt x="17" y="61"/>
                    <a:pt x="17" y="61"/>
                  </a:cubicBezTo>
                  <a:cubicBezTo>
                    <a:pt x="16" y="62"/>
                    <a:pt x="16" y="62"/>
                    <a:pt x="16" y="62"/>
                  </a:cubicBezTo>
                  <a:cubicBezTo>
                    <a:pt x="16" y="62"/>
                    <a:pt x="16" y="62"/>
                    <a:pt x="15" y="62"/>
                  </a:cubicBezTo>
                  <a:cubicBezTo>
                    <a:pt x="15" y="63"/>
                    <a:pt x="15" y="63"/>
                    <a:pt x="14" y="63"/>
                  </a:cubicBezTo>
                  <a:cubicBezTo>
                    <a:pt x="14" y="63"/>
                    <a:pt x="14" y="63"/>
                    <a:pt x="14" y="63"/>
                  </a:cubicBezTo>
                  <a:cubicBezTo>
                    <a:pt x="13" y="63"/>
                    <a:pt x="13" y="63"/>
                    <a:pt x="13" y="63"/>
                  </a:cubicBezTo>
                  <a:cubicBezTo>
                    <a:pt x="13" y="64"/>
                    <a:pt x="13" y="64"/>
                    <a:pt x="13" y="64"/>
                  </a:cubicBezTo>
                  <a:cubicBezTo>
                    <a:pt x="14" y="65"/>
                    <a:pt x="14" y="65"/>
                    <a:pt x="15" y="66"/>
                  </a:cubicBezTo>
                  <a:cubicBezTo>
                    <a:pt x="15" y="67"/>
                    <a:pt x="15" y="67"/>
                    <a:pt x="15" y="67"/>
                  </a:cubicBezTo>
                  <a:cubicBezTo>
                    <a:pt x="15" y="68"/>
                    <a:pt x="15" y="68"/>
                    <a:pt x="15" y="68"/>
                  </a:cubicBezTo>
                  <a:cubicBezTo>
                    <a:pt x="15" y="69"/>
                    <a:pt x="15" y="69"/>
                    <a:pt x="15" y="69"/>
                  </a:cubicBezTo>
                  <a:cubicBezTo>
                    <a:pt x="15" y="70"/>
                    <a:pt x="15" y="71"/>
                    <a:pt x="14" y="71"/>
                  </a:cubicBezTo>
                  <a:cubicBezTo>
                    <a:pt x="14" y="72"/>
                    <a:pt x="14" y="72"/>
                    <a:pt x="14" y="72"/>
                  </a:cubicBezTo>
                  <a:cubicBezTo>
                    <a:pt x="13" y="72"/>
                    <a:pt x="13" y="73"/>
                    <a:pt x="12" y="74"/>
                  </a:cubicBezTo>
                  <a:cubicBezTo>
                    <a:pt x="11" y="74"/>
                    <a:pt x="11" y="74"/>
                    <a:pt x="11" y="74"/>
                  </a:cubicBezTo>
                  <a:cubicBezTo>
                    <a:pt x="11" y="74"/>
                    <a:pt x="11" y="74"/>
                    <a:pt x="11" y="74"/>
                  </a:cubicBezTo>
                  <a:cubicBezTo>
                    <a:pt x="32" y="89"/>
                    <a:pt x="32" y="89"/>
                    <a:pt x="32" y="89"/>
                  </a:cubicBezTo>
                  <a:cubicBezTo>
                    <a:pt x="32" y="88"/>
                    <a:pt x="33" y="86"/>
                    <a:pt x="37" y="86"/>
                  </a:cubicBezTo>
                  <a:cubicBezTo>
                    <a:pt x="37" y="86"/>
                    <a:pt x="37" y="86"/>
                    <a:pt x="37" y="86"/>
                  </a:cubicBezTo>
                  <a:cubicBezTo>
                    <a:pt x="37" y="86"/>
                    <a:pt x="37" y="86"/>
                    <a:pt x="37" y="86"/>
                  </a:cubicBezTo>
                  <a:cubicBezTo>
                    <a:pt x="36" y="84"/>
                    <a:pt x="35" y="83"/>
                    <a:pt x="36" y="82"/>
                  </a:cubicBezTo>
                  <a:cubicBezTo>
                    <a:pt x="36" y="80"/>
                    <a:pt x="37" y="80"/>
                    <a:pt x="38" y="79"/>
                  </a:cubicBezTo>
                  <a:cubicBezTo>
                    <a:pt x="38" y="79"/>
                    <a:pt x="38" y="79"/>
                    <a:pt x="38" y="79"/>
                  </a:cubicBezTo>
                  <a:cubicBezTo>
                    <a:pt x="39" y="79"/>
                    <a:pt x="39" y="78"/>
                    <a:pt x="40" y="78"/>
                  </a:cubicBezTo>
                  <a:cubicBezTo>
                    <a:pt x="40" y="78"/>
                    <a:pt x="40" y="78"/>
                    <a:pt x="41" y="78"/>
                  </a:cubicBezTo>
                  <a:cubicBezTo>
                    <a:pt x="42" y="78"/>
                    <a:pt x="42" y="78"/>
                    <a:pt x="42" y="78"/>
                  </a:cubicBezTo>
                  <a:cubicBezTo>
                    <a:pt x="42" y="78"/>
                    <a:pt x="42" y="78"/>
                    <a:pt x="42" y="78"/>
                  </a:cubicBezTo>
                  <a:cubicBezTo>
                    <a:pt x="43" y="78"/>
                    <a:pt x="44" y="78"/>
                    <a:pt x="45" y="78"/>
                  </a:cubicBezTo>
                  <a:cubicBezTo>
                    <a:pt x="45" y="79"/>
                    <a:pt x="46" y="79"/>
                    <a:pt x="47" y="79"/>
                  </a:cubicBezTo>
                  <a:cubicBezTo>
                    <a:pt x="53" y="80"/>
                    <a:pt x="54" y="83"/>
                    <a:pt x="54" y="84"/>
                  </a:cubicBezTo>
                  <a:cubicBezTo>
                    <a:pt x="54" y="86"/>
                    <a:pt x="54" y="87"/>
                    <a:pt x="55" y="87"/>
                  </a:cubicBezTo>
                  <a:cubicBezTo>
                    <a:pt x="59" y="87"/>
                    <a:pt x="60" y="90"/>
                    <a:pt x="61" y="92"/>
                  </a:cubicBezTo>
                  <a:cubicBezTo>
                    <a:pt x="61" y="93"/>
                    <a:pt x="61" y="94"/>
                    <a:pt x="61" y="94"/>
                  </a:cubicBezTo>
                  <a:cubicBezTo>
                    <a:pt x="62" y="95"/>
                    <a:pt x="62" y="95"/>
                    <a:pt x="63" y="95"/>
                  </a:cubicBezTo>
                  <a:cubicBezTo>
                    <a:pt x="64" y="96"/>
                    <a:pt x="65" y="96"/>
                    <a:pt x="66" y="96"/>
                  </a:cubicBezTo>
                  <a:cubicBezTo>
                    <a:pt x="67" y="97"/>
                    <a:pt x="68" y="98"/>
                    <a:pt x="68" y="99"/>
                  </a:cubicBezTo>
                  <a:cubicBezTo>
                    <a:pt x="69" y="102"/>
                    <a:pt x="67" y="105"/>
                    <a:pt x="66" y="107"/>
                  </a:cubicBezTo>
                  <a:cubicBezTo>
                    <a:pt x="66" y="107"/>
                    <a:pt x="66" y="107"/>
                    <a:pt x="66" y="107"/>
                  </a:cubicBezTo>
                  <a:cubicBezTo>
                    <a:pt x="69" y="106"/>
                    <a:pt x="73" y="106"/>
                    <a:pt x="77" y="106"/>
                  </a:cubicBezTo>
                  <a:cubicBezTo>
                    <a:pt x="78" y="105"/>
                    <a:pt x="78" y="105"/>
                    <a:pt x="78" y="105"/>
                  </a:cubicBezTo>
                  <a:cubicBezTo>
                    <a:pt x="78" y="105"/>
                    <a:pt x="78" y="105"/>
                    <a:pt x="78" y="105"/>
                  </a:cubicBezTo>
                  <a:cubicBezTo>
                    <a:pt x="78" y="105"/>
                    <a:pt x="78" y="105"/>
                    <a:pt x="78" y="105"/>
                  </a:cubicBezTo>
                  <a:cubicBezTo>
                    <a:pt x="79" y="105"/>
                    <a:pt x="79" y="105"/>
                    <a:pt x="79" y="105"/>
                  </a:cubicBezTo>
                  <a:cubicBezTo>
                    <a:pt x="80" y="104"/>
                    <a:pt x="80" y="103"/>
                    <a:pt x="81" y="103"/>
                  </a:cubicBezTo>
                  <a:cubicBezTo>
                    <a:pt x="80" y="101"/>
                    <a:pt x="80" y="101"/>
                    <a:pt x="80" y="101"/>
                  </a:cubicBezTo>
                  <a:cubicBezTo>
                    <a:pt x="79" y="100"/>
                    <a:pt x="79" y="99"/>
                    <a:pt x="78" y="98"/>
                  </a:cubicBezTo>
                  <a:cubicBezTo>
                    <a:pt x="78" y="96"/>
                    <a:pt x="78" y="94"/>
                    <a:pt x="79" y="93"/>
                  </a:cubicBezTo>
                  <a:cubicBezTo>
                    <a:pt x="80" y="92"/>
                    <a:pt x="80" y="92"/>
                    <a:pt x="80" y="91"/>
                  </a:cubicBezTo>
                  <a:cubicBezTo>
                    <a:pt x="81" y="90"/>
                    <a:pt x="82" y="90"/>
                    <a:pt x="82" y="90"/>
                  </a:cubicBezTo>
                  <a:cubicBezTo>
                    <a:pt x="83" y="89"/>
                    <a:pt x="83" y="89"/>
                    <a:pt x="83" y="89"/>
                  </a:cubicBezTo>
                  <a:cubicBezTo>
                    <a:pt x="85" y="88"/>
                    <a:pt x="87" y="86"/>
                    <a:pt x="89" y="84"/>
                  </a:cubicBezTo>
                  <a:cubicBezTo>
                    <a:pt x="90" y="84"/>
                    <a:pt x="90" y="84"/>
                    <a:pt x="90" y="84"/>
                  </a:cubicBezTo>
                  <a:cubicBezTo>
                    <a:pt x="89" y="83"/>
                    <a:pt x="89" y="83"/>
                    <a:pt x="89" y="83"/>
                  </a:cubicBezTo>
                  <a:cubicBezTo>
                    <a:pt x="88" y="82"/>
                    <a:pt x="87" y="82"/>
                    <a:pt x="87" y="82"/>
                  </a:cubicBezTo>
                  <a:cubicBezTo>
                    <a:pt x="86" y="81"/>
                    <a:pt x="86" y="81"/>
                    <a:pt x="86" y="81"/>
                  </a:cubicBezTo>
                  <a:cubicBezTo>
                    <a:pt x="85" y="80"/>
                    <a:pt x="84" y="80"/>
                    <a:pt x="84" y="79"/>
                  </a:cubicBezTo>
                  <a:cubicBezTo>
                    <a:pt x="82" y="78"/>
                    <a:pt x="82" y="77"/>
                    <a:pt x="81" y="76"/>
                  </a:cubicBezTo>
                  <a:cubicBezTo>
                    <a:pt x="80" y="74"/>
                    <a:pt x="79" y="73"/>
                    <a:pt x="78" y="70"/>
                  </a:cubicBezTo>
                  <a:cubicBezTo>
                    <a:pt x="78" y="70"/>
                    <a:pt x="78" y="70"/>
                    <a:pt x="78" y="70"/>
                  </a:cubicBezTo>
                  <a:cubicBezTo>
                    <a:pt x="78" y="70"/>
                    <a:pt x="78" y="69"/>
                    <a:pt x="78" y="68"/>
                  </a:cubicBezTo>
                  <a:cubicBezTo>
                    <a:pt x="77" y="67"/>
                    <a:pt x="77" y="66"/>
                    <a:pt x="77" y="65"/>
                  </a:cubicBezTo>
                  <a:cubicBezTo>
                    <a:pt x="78" y="65"/>
                    <a:pt x="78" y="65"/>
                    <a:pt x="78" y="65"/>
                  </a:cubicBezTo>
                  <a:cubicBezTo>
                    <a:pt x="83" y="55"/>
                    <a:pt x="83" y="55"/>
                    <a:pt x="83" y="55"/>
                  </a:cubicBezTo>
                  <a:cubicBezTo>
                    <a:pt x="83" y="55"/>
                    <a:pt x="83" y="55"/>
                    <a:pt x="83" y="54"/>
                  </a:cubicBezTo>
                  <a:cubicBezTo>
                    <a:pt x="81" y="53"/>
                    <a:pt x="80" y="51"/>
                    <a:pt x="80" y="48"/>
                  </a:cubicBezTo>
                  <a:cubicBezTo>
                    <a:pt x="80" y="47"/>
                    <a:pt x="80" y="46"/>
                    <a:pt x="81" y="45"/>
                  </a:cubicBezTo>
                  <a:cubicBezTo>
                    <a:pt x="81" y="45"/>
                    <a:pt x="81" y="45"/>
                    <a:pt x="81" y="45"/>
                  </a:cubicBezTo>
                  <a:cubicBezTo>
                    <a:pt x="81" y="45"/>
                    <a:pt x="81" y="45"/>
                    <a:pt x="81" y="45"/>
                  </a:cubicBezTo>
                  <a:cubicBezTo>
                    <a:pt x="80" y="46"/>
                    <a:pt x="80" y="46"/>
                    <a:pt x="79" y="47"/>
                  </a:cubicBezTo>
                  <a:cubicBezTo>
                    <a:pt x="78" y="47"/>
                    <a:pt x="78" y="47"/>
                    <a:pt x="78" y="47"/>
                  </a:cubicBezTo>
                  <a:cubicBezTo>
                    <a:pt x="77" y="47"/>
                    <a:pt x="77" y="47"/>
                    <a:pt x="77" y="47"/>
                  </a:cubicBezTo>
                  <a:cubicBezTo>
                    <a:pt x="78" y="48"/>
                    <a:pt x="78" y="48"/>
                    <a:pt x="78" y="48"/>
                  </a:cubicBezTo>
                  <a:cubicBezTo>
                    <a:pt x="77" y="48"/>
                    <a:pt x="77" y="48"/>
                    <a:pt x="77" y="48"/>
                  </a:cubicBezTo>
                  <a:cubicBezTo>
                    <a:pt x="77" y="48"/>
                    <a:pt x="77" y="49"/>
                    <a:pt x="76" y="49"/>
                  </a:cubicBezTo>
                  <a:cubicBezTo>
                    <a:pt x="76" y="49"/>
                    <a:pt x="76" y="49"/>
                    <a:pt x="76" y="49"/>
                  </a:cubicBezTo>
                  <a:cubicBezTo>
                    <a:pt x="75" y="49"/>
                    <a:pt x="75" y="49"/>
                    <a:pt x="75" y="49"/>
                  </a:cubicBezTo>
                  <a:cubicBezTo>
                    <a:pt x="74" y="49"/>
                    <a:pt x="74" y="49"/>
                    <a:pt x="74" y="49"/>
                  </a:cubicBezTo>
                  <a:cubicBezTo>
                    <a:pt x="74" y="49"/>
                    <a:pt x="74" y="49"/>
                    <a:pt x="73" y="49"/>
                  </a:cubicBezTo>
                  <a:cubicBezTo>
                    <a:pt x="73" y="48"/>
                    <a:pt x="73" y="48"/>
                    <a:pt x="73" y="48"/>
                  </a:cubicBezTo>
                  <a:cubicBezTo>
                    <a:pt x="72" y="48"/>
                    <a:pt x="72" y="48"/>
                    <a:pt x="72" y="48"/>
                  </a:cubicBezTo>
                  <a:cubicBezTo>
                    <a:pt x="71" y="47"/>
                    <a:pt x="70" y="46"/>
                    <a:pt x="68" y="45"/>
                  </a:cubicBezTo>
                  <a:cubicBezTo>
                    <a:pt x="49" y="37"/>
                    <a:pt x="49" y="37"/>
                    <a:pt x="49" y="37"/>
                  </a:cubicBezTo>
                  <a:cubicBezTo>
                    <a:pt x="55" y="34"/>
                    <a:pt x="55" y="34"/>
                    <a:pt x="55" y="34"/>
                  </a:cubicBezTo>
                  <a:cubicBezTo>
                    <a:pt x="55" y="33"/>
                    <a:pt x="56" y="33"/>
                    <a:pt x="57" y="33"/>
                  </a:cubicBezTo>
                  <a:cubicBezTo>
                    <a:pt x="57" y="32"/>
                    <a:pt x="57" y="32"/>
                    <a:pt x="57" y="32"/>
                  </a:cubicBezTo>
                  <a:cubicBezTo>
                    <a:pt x="57" y="31"/>
                    <a:pt x="57" y="30"/>
                    <a:pt x="57" y="29"/>
                  </a:cubicBezTo>
                  <a:cubicBezTo>
                    <a:pt x="56" y="28"/>
                    <a:pt x="56" y="28"/>
                    <a:pt x="56" y="28"/>
                  </a:cubicBezTo>
                  <a:cubicBezTo>
                    <a:pt x="49" y="24"/>
                    <a:pt x="49" y="24"/>
                    <a:pt x="49" y="24"/>
                  </a:cubicBezTo>
                  <a:cubicBezTo>
                    <a:pt x="49" y="24"/>
                    <a:pt x="48" y="24"/>
                    <a:pt x="47" y="23"/>
                  </a:cubicBezTo>
                  <a:cubicBezTo>
                    <a:pt x="46" y="23"/>
                    <a:pt x="46" y="23"/>
                    <a:pt x="46" y="23"/>
                  </a:cubicBezTo>
                  <a:cubicBezTo>
                    <a:pt x="46" y="23"/>
                    <a:pt x="45" y="23"/>
                    <a:pt x="44" y="22"/>
                  </a:cubicBezTo>
                  <a:cubicBezTo>
                    <a:pt x="44" y="22"/>
                    <a:pt x="44" y="22"/>
                    <a:pt x="44" y="22"/>
                  </a:cubicBezTo>
                  <a:cubicBezTo>
                    <a:pt x="43" y="22"/>
                    <a:pt x="43" y="22"/>
                    <a:pt x="43" y="22"/>
                  </a:cubicBezTo>
                  <a:cubicBezTo>
                    <a:pt x="43" y="21"/>
                    <a:pt x="43" y="21"/>
                    <a:pt x="42" y="21"/>
                  </a:cubicBezTo>
                  <a:cubicBezTo>
                    <a:pt x="42" y="20"/>
                    <a:pt x="42" y="20"/>
                    <a:pt x="42" y="20"/>
                  </a:cubicBezTo>
                  <a:cubicBezTo>
                    <a:pt x="41" y="20"/>
                    <a:pt x="41" y="20"/>
                    <a:pt x="41" y="20"/>
                  </a:cubicBezTo>
                  <a:cubicBezTo>
                    <a:pt x="41" y="20"/>
                    <a:pt x="41" y="20"/>
                    <a:pt x="41" y="20"/>
                  </a:cubicBezTo>
                  <a:cubicBezTo>
                    <a:pt x="41" y="20"/>
                    <a:pt x="41" y="20"/>
                    <a:pt x="41" y="20"/>
                  </a:cubicBezTo>
                  <a:cubicBezTo>
                    <a:pt x="40" y="18"/>
                    <a:pt x="40" y="18"/>
                    <a:pt x="40" y="18"/>
                  </a:cubicBezTo>
                  <a:cubicBezTo>
                    <a:pt x="39" y="17"/>
                    <a:pt x="39" y="17"/>
                    <a:pt x="39" y="17"/>
                  </a:cubicBezTo>
                  <a:cubicBezTo>
                    <a:pt x="39" y="17"/>
                    <a:pt x="39" y="17"/>
                    <a:pt x="39" y="17"/>
                  </a:cubicBezTo>
                  <a:cubicBezTo>
                    <a:pt x="40" y="15"/>
                    <a:pt x="40" y="15"/>
                    <a:pt x="40" y="15"/>
                  </a:cubicBezTo>
                  <a:cubicBezTo>
                    <a:pt x="39" y="15"/>
                    <a:pt x="39" y="14"/>
                    <a:pt x="38" y="13"/>
                  </a:cubicBezTo>
                  <a:cubicBezTo>
                    <a:pt x="38" y="13"/>
                    <a:pt x="37" y="12"/>
                    <a:pt x="37" y="12"/>
                  </a:cubicBezTo>
                  <a:cubicBezTo>
                    <a:pt x="28" y="1"/>
                    <a:pt x="28" y="1"/>
                    <a:pt x="28" y="1"/>
                  </a:cubicBezTo>
                  <a:cubicBezTo>
                    <a:pt x="27" y="1"/>
                    <a:pt x="26" y="0"/>
                    <a:pt x="25" y="0"/>
                  </a:cubicBezTo>
                  <a:cubicBezTo>
                    <a:pt x="24" y="0"/>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Rectangle 274"/>
            <p:cNvSpPr>
              <a:spLocks noChangeArrowheads="1"/>
            </p:cNvSpPr>
            <p:nvPr/>
          </p:nvSpPr>
          <p:spPr bwMode="auto">
            <a:xfrm>
              <a:off x="4715" y="6"/>
              <a:ext cx="2"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75"/>
            <p:cNvSpPr/>
            <p:nvPr/>
          </p:nvSpPr>
          <p:spPr bwMode="auto">
            <a:xfrm>
              <a:off x="4715" y="6"/>
              <a:ext cx="2" cy="0"/>
            </a:xfrm>
            <a:custGeom>
              <a:gdLst>
                <a:gd name="T0" fmla="*/ 0 w 2"/>
                <a:gd name="T1" fmla="*/ 2 w 2"/>
                <a:gd name="T2" fmla="*/ 2 w 2"/>
                <a:gd name="T3" fmla="*/ 0 w 2"/>
              </a:gdLst>
              <a:cxnLst>
                <a:cxn ang="0">
                  <a:pos x="T0" y="0"/>
                </a:cxn>
                <a:cxn ang="0">
                  <a:pos x="T1" y="0"/>
                </a:cxn>
                <a:cxn ang="0">
                  <a:pos x="T2" y="0"/>
                </a:cxn>
                <a:cxn ang="0">
                  <a:pos x="T3" y="0"/>
                </a:cxn>
              </a:cxnLst>
              <a:rect l="0" t="0" r="r" b="b"/>
              <a:pathLst>
                <a:path w="2">
                  <a:moveTo>
                    <a:pt x="0" y="0"/>
                  </a:move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276"/>
            <p:cNvSpPr/>
            <p:nvPr/>
          </p:nvSpPr>
          <p:spPr bwMode="auto">
            <a:xfrm>
              <a:off x="4800" y="-27"/>
              <a:ext cx="510" cy="182"/>
            </a:xfrm>
            <a:custGeom>
              <a:gdLst>
                <a:gd name="T0" fmla="*/ 22 w 216"/>
                <a:gd name="T1" fmla="*/ 0 h 77"/>
                <a:gd name="T2" fmla="*/ 14 w 216"/>
                <a:gd name="T3" fmla="*/ 5 h 77"/>
                <a:gd name="T4" fmla="*/ 9 w 216"/>
                <a:gd name="T5" fmla="*/ 6 h 77"/>
                <a:gd name="T6" fmla="*/ 5 w 216"/>
                <a:gd name="T7" fmla="*/ 9 h 77"/>
                <a:gd name="T8" fmla="*/ 6 w 216"/>
                <a:gd name="T9" fmla="*/ 17 h 77"/>
                <a:gd name="T10" fmla="*/ 10 w 216"/>
                <a:gd name="T11" fmla="*/ 22 h 77"/>
                <a:gd name="T12" fmla="*/ 10 w 216"/>
                <a:gd name="T13" fmla="*/ 25 h 77"/>
                <a:gd name="T14" fmla="*/ 17 w 216"/>
                <a:gd name="T15" fmla="*/ 28 h 77"/>
                <a:gd name="T16" fmla="*/ 27 w 216"/>
                <a:gd name="T17" fmla="*/ 37 h 77"/>
                <a:gd name="T18" fmla="*/ 28 w 216"/>
                <a:gd name="T19" fmla="*/ 40 h 77"/>
                <a:gd name="T20" fmla="*/ 35 w 216"/>
                <a:gd name="T21" fmla="*/ 48 h 77"/>
                <a:gd name="T22" fmla="*/ 42 w 216"/>
                <a:gd name="T23" fmla="*/ 50 h 77"/>
                <a:gd name="T24" fmla="*/ 48 w 216"/>
                <a:gd name="T25" fmla="*/ 46 h 77"/>
                <a:gd name="T26" fmla="*/ 54 w 216"/>
                <a:gd name="T27" fmla="*/ 49 h 77"/>
                <a:gd name="T28" fmla="*/ 56 w 216"/>
                <a:gd name="T29" fmla="*/ 51 h 77"/>
                <a:gd name="T30" fmla="*/ 56 w 216"/>
                <a:gd name="T31" fmla="*/ 53 h 77"/>
                <a:gd name="T32" fmla="*/ 56 w 216"/>
                <a:gd name="T33" fmla="*/ 55 h 77"/>
                <a:gd name="T34" fmla="*/ 55 w 216"/>
                <a:gd name="T35" fmla="*/ 57 h 77"/>
                <a:gd name="T36" fmla="*/ 53 w 216"/>
                <a:gd name="T37" fmla="*/ 57 h 77"/>
                <a:gd name="T38" fmla="*/ 51 w 216"/>
                <a:gd name="T39" fmla="*/ 56 h 77"/>
                <a:gd name="T40" fmla="*/ 51 w 216"/>
                <a:gd name="T41" fmla="*/ 57 h 77"/>
                <a:gd name="T42" fmla="*/ 53 w 216"/>
                <a:gd name="T43" fmla="*/ 60 h 77"/>
                <a:gd name="T44" fmla="*/ 54 w 216"/>
                <a:gd name="T45" fmla="*/ 61 h 77"/>
                <a:gd name="T46" fmla="*/ 61 w 216"/>
                <a:gd name="T47" fmla="*/ 69 h 77"/>
                <a:gd name="T48" fmla="*/ 60 w 216"/>
                <a:gd name="T49" fmla="*/ 72 h 77"/>
                <a:gd name="T50" fmla="*/ 62 w 216"/>
                <a:gd name="T51" fmla="*/ 72 h 77"/>
                <a:gd name="T52" fmla="*/ 67 w 216"/>
                <a:gd name="T53" fmla="*/ 71 h 77"/>
                <a:gd name="T54" fmla="*/ 78 w 216"/>
                <a:gd name="T55" fmla="*/ 73 h 77"/>
                <a:gd name="T56" fmla="*/ 95 w 216"/>
                <a:gd name="T57" fmla="*/ 73 h 77"/>
                <a:gd name="T58" fmla="*/ 103 w 216"/>
                <a:gd name="T59" fmla="*/ 74 h 77"/>
                <a:gd name="T60" fmla="*/ 109 w 216"/>
                <a:gd name="T61" fmla="*/ 76 h 77"/>
                <a:gd name="T62" fmla="*/ 109 w 216"/>
                <a:gd name="T63" fmla="*/ 76 h 77"/>
                <a:gd name="T64" fmla="*/ 117 w 216"/>
                <a:gd name="T65" fmla="*/ 77 h 77"/>
                <a:gd name="T66" fmla="*/ 130 w 216"/>
                <a:gd name="T67" fmla="*/ 71 h 77"/>
                <a:gd name="T68" fmla="*/ 133 w 216"/>
                <a:gd name="T69" fmla="*/ 69 h 77"/>
                <a:gd name="T70" fmla="*/ 141 w 216"/>
                <a:gd name="T71" fmla="*/ 65 h 77"/>
                <a:gd name="T72" fmla="*/ 158 w 216"/>
                <a:gd name="T73" fmla="*/ 63 h 77"/>
                <a:gd name="T74" fmla="*/ 160 w 216"/>
                <a:gd name="T75" fmla="*/ 63 h 77"/>
                <a:gd name="T76" fmla="*/ 165 w 216"/>
                <a:gd name="T77" fmla="*/ 65 h 77"/>
                <a:gd name="T78" fmla="*/ 191 w 216"/>
                <a:gd name="T79" fmla="*/ 73 h 77"/>
                <a:gd name="T80" fmla="*/ 198 w 216"/>
                <a:gd name="T81" fmla="*/ 53 h 77"/>
                <a:gd name="T82" fmla="*/ 195 w 216"/>
                <a:gd name="T83" fmla="*/ 51 h 77"/>
                <a:gd name="T84" fmla="*/ 200 w 216"/>
                <a:gd name="T85" fmla="*/ 49 h 77"/>
                <a:gd name="T86" fmla="*/ 198 w 216"/>
                <a:gd name="T87" fmla="*/ 49 h 77"/>
                <a:gd name="T88" fmla="*/ 196 w 216"/>
                <a:gd name="T89" fmla="*/ 49 h 77"/>
                <a:gd name="T90" fmla="*/ 203 w 216"/>
                <a:gd name="T91" fmla="*/ 41 h 77"/>
                <a:gd name="T92" fmla="*/ 210 w 216"/>
                <a:gd name="T93" fmla="*/ 45 h 77"/>
                <a:gd name="T94" fmla="*/ 216 w 216"/>
                <a:gd name="T95" fmla="*/ 41 h 77"/>
                <a:gd name="T96" fmla="*/ 215 w 216"/>
                <a:gd name="T97" fmla="*/ 36 h 77"/>
                <a:gd name="T98" fmla="*/ 213 w 216"/>
                <a:gd name="T99" fmla="*/ 32 h 77"/>
                <a:gd name="T100" fmla="*/ 203 w 216"/>
                <a:gd name="T101" fmla="*/ 33 h 77"/>
                <a:gd name="T102" fmla="*/ 199 w 216"/>
                <a:gd name="T103" fmla="*/ 34 h 77"/>
                <a:gd name="T104" fmla="*/ 195 w 216"/>
                <a:gd name="T105" fmla="*/ 37 h 77"/>
                <a:gd name="T106" fmla="*/ 192 w 216"/>
                <a:gd name="T107" fmla="*/ 36 h 77"/>
                <a:gd name="T108" fmla="*/ 183 w 216"/>
                <a:gd name="T109" fmla="*/ 32 h 77"/>
                <a:gd name="T110" fmla="*/ 181 w 216"/>
                <a:gd name="T111" fmla="*/ 30 h 77"/>
                <a:gd name="T112" fmla="*/ 178 w 216"/>
                <a:gd name="T113" fmla="*/ 27 h 77"/>
                <a:gd name="T114" fmla="*/ 177 w 216"/>
                <a:gd name="T115" fmla="*/ 27 h 77"/>
                <a:gd name="T116" fmla="*/ 176 w 216"/>
                <a:gd name="T117" fmla="*/ 22 h 77"/>
                <a:gd name="T118" fmla="*/ 176 w 216"/>
                <a:gd name="T119" fmla="*/ 14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 h="77">
                  <a:moveTo>
                    <a:pt x="179" y="0"/>
                  </a:moveTo>
                  <a:cubicBezTo>
                    <a:pt x="22" y="0"/>
                    <a:pt x="22" y="0"/>
                    <a:pt x="22" y="0"/>
                  </a:cubicBezTo>
                  <a:cubicBezTo>
                    <a:pt x="22" y="0"/>
                    <a:pt x="22" y="0"/>
                    <a:pt x="22" y="0"/>
                  </a:cubicBezTo>
                  <a:cubicBezTo>
                    <a:pt x="20" y="2"/>
                    <a:pt x="18" y="5"/>
                    <a:pt x="14" y="5"/>
                  </a:cubicBezTo>
                  <a:cubicBezTo>
                    <a:pt x="13" y="5"/>
                    <a:pt x="12" y="5"/>
                    <a:pt x="11" y="6"/>
                  </a:cubicBezTo>
                  <a:cubicBezTo>
                    <a:pt x="10" y="6"/>
                    <a:pt x="10" y="6"/>
                    <a:pt x="9" y="6"/>
                  </a:cubicBezTo>
                  <a:cubicBezTo>
                    <a:pt x="9" y="6"/>
                    <a:pt x="9" y="6"/>
                    <a:pt x="9" y="6"/>
                  </a:cubicBezTo>
                  <a:cubicBezTo>
                    <a:pt x="8" y="7"/>
                    <a:pt x="7" y="9"/>
                    <a:pt x="5" y="9"/>
                  </a:cubicBezTo>
                  <a:cubicBezTo>
                    <a:pt x="3" y="9"/>
                    <a:pt x="2" y="10"/>
                    <a:pt x="0" y="10"/>
                  </a:cubicBezTo>
                  <a:cubicBezTo>
                    <a:pt x="6" y="17"/>
                    <a:pt x="6" y="17"/>
                    <a:pt x="6" y="17"/>
                  </a:cubicBezTo>
                  <a:cubicBezTo>
                    <a:pt x="7" y="18"/>
                    <a:pt x="7" y="18"/>
                    <a:pt x="7" y="18"/>
                  </a:cubicBezTo>
                  <a:cubicBezTo>
                    <a:pt x="8" y="19"/>
                    <a:pt x="9" y="21"/>
                    <a:pt x="10" y="22"/>
                  </a:cubicBezTo>
                  <a:cubicBezTo>
                    <a:pt x="10" y="22"/>
                    <a:pt x="10" y="22"/>
                    <a:pt x="10" y="23"/>
                  </a:cubicBezTo>
                  <a:cubicBezTo>
                    <a:pt x="11" y="24"/>
                    <a:pt x="10" y="25"/>
                    <a:pt x="10" y="25"/>
                  </a:cubicBezTo>
                  <a:cubicBezTo>
                    <a:pt x="12" y="26"/>
                    <a:pt x="14" y="27"/>
                    <a:pt x="16" y="28"/>
                  </a:cubicBezTo>
                  <a:cubicBezTo>
                    <a:pt x="17" y="28"/>
                    <a:pt x="17" y="28"/>
                    <a:pt x="17" y="28"/>
                  </a:cubicBezTo>
                  <a:cubicBezTo>
                    <a:pt x="26" y="33"/>
                    <a:pt x="26" y="33"/>
                    <a:pt x="26" y="33"/>
                  </a:cubicBezTo>
                  <a:cubicBezTo>
                    <a:pt x="27" y="35"/>
                    <a:pt x="27" y="36"/>
                    <a:pt x="27" y="37"/>
                  </a:cubicBezTo>
                  <a:cubicBezTo>
                    <a:pt x="27" y="38"/>
                    <a:pt x="28" y="39"/>
                    <a:pt x="28" y="40"/>
                  </a:cubicBezTo>
                  <a:cubicBezTo>
                    <a:pt x="28" y="40"/>
                    <a:pt x="28" y="40"/>
                    <a:pt x="28" y="40"/>
                  </a:cubicBezTo>
                  <a:cubicBezTo>
                    <a:pt x="28" y="42"/>
                    <a:pt x="28" y="44"/>
                    <a:pt x="27" y="45"/>
                  </a:cubicBezTo>
                  <a:cubicBezTo>
                    <a:pt x="35" y="48"/>
                    <a:pt x="35" y="48"/>
                    <a:pt x="35" y="48"/>
                  </a:cubicBezTo>
                  <a:cubicBezTo>
                    <a:pt x="37" y="49"/>
                    <a:pt x="39" y="50"/>
                    <a:pt x="40" y="51"/>
                  </a:cubicBezTo>
                  <a:cubicBezTo>
                    <a:pt x="41" y="51"/>
                    <a:pt x="41" y="50"/>
                    <a:pt x="42" y="50"/>
                  </a:cubicBezTo>
                  <a:cubicBezTo>
                    <a:pt x="44" y="48"/>
                    <a:pt x="46" y="47"/>
                    <a:pt x="48" y="47"/>
                  </a:cubicBezTo>
                  <a:cubicBezTo>
                    <a:pt x="48" y="46"/>
                    <a:pt x="48" y="46"/>
                    <a:pt x="48" y="46"/>
                  </a:cubicBezTo>
                  <a:cubicBezTo>
                    <a:pt x="49" y="47"/>
                    <a:pt x="49" y="47"/>
                    <a:pt x="49" y="47"/>
                  </a:cubicBezTo>
                  <a:cubicBezTo>
                    <a:pt x="51" y="47"/>
                    <a:pt x="53" y="48"/>
                    <a:pt x="54" y="49"/>
                  </a:cubicBezTo>
                  <a:cubicBezTo>
                    <a:pt x="55" y="50"/>
                    <a:pt x="55" y="50"/>
                    <a:pt x="55" y="50"/>
                  </a:cubicBezTo>
                  <a:cubicBezTo>
                    <a:pt x="55" y="51"/>
                    <a:pt x="56" y="51"/>
                    <a:pt x="56" y="51"/>
                  </a:cubicBezTo>
                  <a:cubicBezTo>
                    <a:pt x="56" y="52"/>
                    <a:pt x="56" y="52"/>
                    <a:pt x="56" y="52"/>
                  </a:cubicBezTo>
                  <a:cubicBezTo>
                    <a:pt x="56" y="52"/>
                    <a:pt x="56" y="53"/>
                    <a:pt x="56" y="53"/>
                  </a:cubicBezTo>
                  <a:cubicBezTo>
                    <a:pt x="56" y="53"/>
                    <a:pt x="56" y="54"/>
                    <a:pt x="56" y="54"/>
                  </a:cubicBezTo>
                  <a:cubicBezTo>
                    <a:pt x="56" y="55"/>
                    <a:pt x="56" y="55"/>
                    <a:pt x="56" y="55"/>
                  </a:cubicBezTo>
                  <a:cubicBezTo>
                    <a:pt x="56" y="55"/>
                    <a:pt x="56" y="55"/>
                    <a:pt x="56" y="55"/>
                  </a:cubicBezTo>
                  <a:cubicBezTo>
                    <a:pt x="55" y="57"/>
                    <a:pt x="55" y="57"/>
                    <a:pt x="55" y="57"/>
                  </a:cubicBezTo>
                  <a:cubicBezTo>
                    <a:pt x="53" y="57"/>
                    <a:pt x="53" y="57"/>
                    <a:pt x="53" y="57"/>
                  </a:cubicBezTo>
                  <a:cubicBezTo>
                    <a:pt x="53" y="57"/>
                    <a:pt x="53" y="57"/>
                    <a:pt x="53" y="57"/>
                  </a:cubicBezTo>
                  <a:cubicBezTo>
                    <a:pt x="52" y="57"/>
                    <a:pt x="52" y="56"/>
                    <a:pt x="51" y="56"/>
                  </a:cubicBezTo>
                  <a:cubicBezTo>
                    <a:pt x="51" y="56"/>
                    <a:pt x="51" y="56"/>
                    <a:pt x="51" y="56"/>
                  </a:cubicBezTo>
                  <a:cubicBezTo>
                    <a:pt x="51" y="57"/>
                    <a:pt x="51" y="57"/>
                    <a:pt x="51" y="57"/>
                  </a:cubicBezTo>
                  <a:cubicBezTo>
                    <a:pt x="51" y="57"/>
                    <a:pt x="51" y="57"/>
                    <a:pt x="51" y="57"/>
                  </a:cubicBezTo>
                  <a:cubicBezTo>
                    <a:pt x="51" y="58"/>
                    <a:pt x="51" y="58"/>
                    <a:pt x="52" y="59"/>
                  </a:cubicBezTo>
                  <a:cubicBezTo>
                    <a:pt x="53" y="60"/>
                    <a:pt x="53" y="60"/>
                    <a:pt x="53" y="60"/>
                  </a:cubicBezTo>
                  <a:cubicBezTo>
                    <a:pt x="53" y="60"/>
                    <a:pt x="53" y="60"/>
                    <a:pt x="53" y="60"/>
                  </a:cubicBezTo>
                  <a:cubicBezTo>
                    <a:pt x="54" y="61"/>
                    <a:pt x="54" y="61"/>
                    <a:pt x="54" y="61"/>
                  </a:cubicBezTo>
                  <a:cubicBezTo>
                    <a:pt x="61" y="63"/>
                    <a:pt x="63" y="65"/>
                    <a:pt x="62" y="68"/>
                  </a:cubicBezTo>
                  <a:cubicBezTo>
                    <a:pt x="62" y="68"/>
                    <a:pt x="62" y="69"/>
                    <a:pt x="61" y="69"/>
                  </a:cubicBezTo>
                  <a:cubicBezTo>
                    <a:pt x="61" y="70"/>
                    <a:pt x="61" y="70"/>
                    <a:pt x="61" y="70"/>
                  </a:cubicBezTo>
                  <a:cubicBezTo>
                    <a:pt x="61" y="70"/>
                    <a:pt x="60" y="71"/>
                    <a:pt x="60" y="72"/>
                  </a:cubicBezTo>
                  <a:cubicBezTo>
                    <a:pt x="61" y="72"/>
                    <a:pt x="61" y="72"/>
                    <a:pt x="61" y="72"/>
                  </a:cubicBezTo>
                  <a:cubicBezTo>
                    <a:pt x="61" y="72"/>
                    <a:pt x="62" y="72"/>
                    <a:pt x="62" y="72"/>
                  </a:cubicBezTo>
                  <a:cubicBezTo>
                    <a:pt x="65" y="71"/>
                    <a:pt x="65" y="71"/>
                    <a:pt x="65" y="71"/>
                  </a:cubicBezTo>
                  <a:cubicBezTo>
                    <a:pt x="66" y="71"/>
                    <a:pt x="66" y="71"/>
                    <a:pt x="67" y="71"/>
                  </a:cubicBezTo>
                  <a:cubicBezTo>
                    <a:pt x="70" y="71"/>
                    <a:pt x="72" y="71"/>
                    <a:pt x="75" y="72"/>
                  </a:cubicBezTo>
                  <a:cubicBezTo>
                    <a:pt x="78" y="73"/>
                    <a:pt x="78" y="73"/>
                    <a:pt x="78" y="73"/>
                  </a:cubicBezTo>
                  <a:cubicBezTo>
                    <a:pt x="81" y="74"/>
                    <a:pt x="83" y="75"/>
                    <a:pt x="86" y="75"/>
                  </a:cubicBezTo>
                  <a:cubicBezTo>
                    <a:pt x="90" y="75"/>
                    <a:pt x="92" y="75"/>
                    <a:pt x="95" y="73"/>
                  </a:cubicBezTo>
                  <a:cubicBezTo>
                    <a:pt x="96" y="73"/>
                    <a:pt x="96" y="73"/>
                    <a:pt x="97" y="73"/>
                  </a:cubicBezTo>
                  <a:cubicBezTo>
                    <a:pt x="98" y="73"/>
                    <a:pt x="100" y="74"/>
                    <a:pt x="103" y="74"/>
                  </a:cubicBezTo>
                  <a:cubicBezTo>
                    <a:pt x="103" y="75"/>
                    <a:pt x="104" y="75"/>
                    <a:pt x="105" y="75"/>
                  </a:cubicBezTo>
                  <a:cubicBezTo>
                    <a:pt x="106" y="75"/>
                    <a:pt x="107" y="75"/>
                    <a:pt x="109" y="76"/>
                  </a:cubicBezTo>
                  <a:cubicBezTo>
                    <a:pt x="109" y="77"/>
                    <a:pt x="109" y="77"/>
                    <a:pt x="109" y="77"/>
                  </a:cubicBezTo>
                  <a:cubicBezTo>
                    <a:pt x="109" y="76"/>
                    <a:pt x="109" y="76"/>
                    <a:pt x="109" y="76"/>
                  </a:cubicBezTo>
                  <a:cubicBezTo>
                    <a:pt x="111" y="76"/>
                    <a:pt x="114" y="77"/>
                    <a:pt x="116" y="77"/>
                  </a:cubicBezTo>
                  <a:cubicBezTo>
                    <a:pt x="116" y="77"/>
                    <a:pt x="117" y="77"/>
                    <a:pt x="117" y="77"/>
                  </a:cubicBezTo>
                  <a:cubicBezTo>
                    <a:pt x="118" y="77"/>
                    <a:pt x="118" y="77"/>
                    <a:pt x="118" y="77"/>
                  </a:cubicBezTo>
                  <a:cubicBezTo>
                    <a:pt x="122" y="77"/>
                    <a:pt x="126" y="73"/>
                    <a:pt x="130" y="71"/>
                  </a:cubicBezTo>
                  <a:cubicBezTo>
                    <a:pt x="131" y="70"/>
                    <a:pt x="131" y="70"/>
                    <a:pt x="131" y="70"/>
                  </a:cubicBezTo>
                  <a:cubicBezTo>
                    <a:pt x="131" y="70"/>
                    <a:pt x="132" y="69"/>
                    <a:pt x="133" y="69"/>
                  </a:cubicBezTo>
                  <a:cubicBezTo>
                    <a:pt x="133" y="69"/>
                    <a:pt x="134" y="68"/>
                    <a:pt x="134" y="68"/>
                  </a:cubicBezTo>
                  <a:cubicBezTo>
                    <a:pt x="136" y="67"/>
                    <a:pt x="138" y="65"/>
                    <a:pt x="141" y="65"/>
                  </a:cubicBezTo>
                  <a:cubicBezTo>
                    <a:pt x="156" y="63"/>
                    <a:pt x="156" y="63"/>
                    <a:pt x="156" y="63"/>
                  </a:cubicBezTo>
                  <a:cubicBezTo>
                    <a:pt x="157" y="63"/>
                    <a:pt x="158" y="63"/>
                    <a:pt x="158" y="63"/>
                  </a:cubicBezTo>
                  <a:cubicBezTo>
                    <a:pt x="159" y="63"/>
                    <a:pt x="159" y="63"/>
                    <a:pt x="159" y="63"/>
                  </a:cubicBezTo>
                  <a:cubicBezTo>
                    <a:pt x="160" y="63"/>
                    <a:pt x="160" y="63"/>
                    <a:pt x="160" y="63"/>
                  </a:cubicBezTo>
                  <a:cubicBezTo>
                    <a:pt x="161" y="63"/>
                    <a:pt x="162" y="63"/>
                    <a:pt x="163" y="64"/>
                  </a:cubicBezTo>
                  <a:cubicBezTo>
                    <a:pt x="165" y="65"/>
                    <a:pt x="165" y="65"/>
                    <a:pt x="165" y="65"/>
                  </a:cubicBezTo>
                  <a:cubicBezTo>
                    <a:pt x="167" y="65"/>
                    <a:pt x="169" y="66"/>
                    <a:pt x="171" y="67"/>
                  </a:cubicBezTo>
                  <a:cubicBezTo>
                    <a:pt x="191" y="73"/>
                    <a:pt x="191" y="73"/>
                    <a:pt x="191" y="73"/>
                  </a:cubicBezTo>
                  <a:cubicBezTo>
                    <a:pt x="191" y="69"/>
                    <a:pt x="191" y="63"/>
                    <a:pt x="193" y="59"/>
                  </a:cubicBezTo>
                  <a:cubicBezTo>
                    <a:pt x="194" y="57"/>
                    <a:pt x="197" y="55"/>
                    <a:pt x="198" y="53"/>
                  </a:cubicBezTo>
                  <a:cubicBezTo>
                    <a:pt x="197" y="53"/>
                    <a:pt x="197" y="53"/>
                    <a:pt x="196" y="53"/>
                  </a:cubicBezTo>
                  <a:cubicBezTo>
                    <a:pt x="195" y="53"/>
                    <a:pt x="194" y="52"/>
                    <a:pt x="195" y="51"/>
                  </a:cubicBezTo>
                  <a:cubicBezTo>
                    <a:pt x="195" y="52"/>
                    <a:pt x="195" y="52"/>
                    <a:pt x="195" y="52"/>
                  </a:cubicBezTo>
                  <a:cubicBezTo>
                    <a:pt x="197" y="51"/>
                    <a:pt x="199" y="50"/>
                    <a:pt x="200" y="49"/>
                  </a:cubicBezTo>
                  <a:cubicBezTo>
                    <a:pt x="200" y="49"/>
                    <a:pt x="200" y="49"/>
                    <a:pt x="199" y="49"/>
                  </a:cubicBezTo>
                  <a:cubicBezTo>
                    <a:pt x="199" y="49"/>
                    <a:pt x="199" y="49"/>
                    <a:pt x="198" y="49"/>
                  </a:cubicBezTo>
                  <a:cubicBezTo>
                    <a:pt x="198" y="49"/>
                    <a:pt x="198" y="49"/>
                    <a:pt x="197" y="49"/>
                  </a:cubicBezTo>
                  <a:cubicBezTo>
                    <a:pt x="197" y="49"/>
                    <a:pt x="196" y="49"/>
                    <a:pt x="196" y="49"/>
                  </a:cubicBezTo>
                  <a:cubicBezTo>
                    <a:pt x="196" y="49"/>
                    <a:pt x="200" y="40"/>
                    <a:pt x="202" y="40"/>
                  </a:cubicBezTo>
                  <a:cubicBezTo>
                    <a:pt x="202" y="40"/>
                    <a:pt x="203" y="40"/>
                    <a:pt x="203" y="41"/>
                  </a:cubicBezTo>
                  <a:cubicBezTo>
                    <a:pt x="204" y="43"/>
                    <a:pt x="199" y="43"/>
                    <a:pt x="204" y="44"/>
                  </a:cubicBezTo>
                  <a:cubicBezTo>
                    <a:pt x="206" y="45"/>
                    <a:pt x="208" y="45"/>
                    <a:pt x="210" y="45"/>
                  </a:cubicBezTo>
                  <a:cubicBezTo>
                    <a:pt x="212" y="45"/>
                    <a:pt x="214" y="45"/>
                    <a:pt x="215" y="43"/>
                  </a:cubicBezTo>
                  <a:cubicBezTo>
                    <a:pt x="216" y="43"/>
                    <a:pt x="216" y="41"/>
                    <a:pt x="216" y="41"/>
                  </a:cubicBezTo>
                  <a:cubicBezTo>
                    <a:pt x="216" y="39"/>
                    <a:pt x="216" y="37"/>
                    <a:pt x="216" y="35"/>
                  </a:cubicBezTo>
                  <a:cubicBezTo>
                    <a:pt x="215" y="36"/>
                    <a:pt x="215" y="36"/>
                    <a:pt x="215" y="36"/>
                  </a:cubicBezTo>
                  <a:cubicBezTo>
                    <a:pt x="215" y="34"/>
                    <a:pt x="215" y="34"/>
                    <a:pt x="215" y="34"/>
                  </a:cubicBezTo>
                  <a:cubicBezTo>
                    <a:pt x="214" y="33"/>
                    <a:pt x="214" y="32"/>
                    <a:pt x="213" y="32"/>
                  </a:cubicBezTo>
                  <a:cubicBezTo>
                    <a:pt x="213" y="31"/>
                    <a:pt x="211" y="31"/>
                    <a:pt x="211" y="31"/>
                  </a:cubicBezTo>
                  <a:cubicBezTo>
                    <a:pt x="208" y="31"/>
                    <a:pt x="204" y="32"/>
                    <a:pt x="203" y="33"/>
                  </a:cubicBezTo>
                  <a:cubicBezTo>
                    <a:pt x="202" y="34"/>
                    <a:pt x="202" y="34"/>
                    <a:pt x="202" y="34"/>
                  </a:cubicBezTo>
                  <a:cubicBezTo>
                    <a:pt x="201" y="34"/>
                    <a:pt x="200" y="34"/>
                    <a:pt x="199" y="34"/>
                  </a:cubicBezTo>
                  <a:cubicBezTo>
                    <a:pt x="197" y="36"/>
                    <a:pt x="197" y="36"/>
                    <a:pt x="197" y="36"/>
                  </a:cubicBezTo>
                  <a:cubicBezTo>
                    <a:pt x="196" y="36"/>
                    <a:pt x="196" y="36"/>
                    <a:pt x="195" y="37"/>
                  </a:cubicBezTo>
                  <a:cubicBezTo>
                    <a:pt x="195" y="37"/>
                    <a:pt x="195" y="37"/>
                    <a:pt x="195" y="37"/>
                  </a:cubicBezTo>
                  <a:cubicBezTo>
                    <a:pt x="193" y="37"/>
                    <a:pt x="193" y="36"/>
                    <a:pt x="192" y="36"/>
                  </a:cubicBezTo>
                  <a:cubicBezTo>
                    <a:pt x="190" y="36"/>
                    <a:pt x="189" y="35"/>
                    <a:pt x="187" y="34"/>
                  </a:cubicBezTo>
                  <a:cubicBezTo>
                    <a:pt x="186" y="33"/>
                    <a:pt x="184" y="32"/>
                    <a:pt x="183" y="32"/>
                  </a:cubicBezTo>
                  <a:cubicBezTo>
                    <a:pt x="183" y="31"/>
                    <a:pt x="183" y="31"/>
                    <a:pt x="183" y="31"/>
                  </a:cubicBezTo>
                  <a:cubicBezTo>
                    <a:pt x="182" y="30"/>
                    <a:pt x="181" y="30"/>
                    <a:pt x="181" y="30"/>
                  </a:cubicBezTo>
                  <a:cubicBezTo>
                    <a:pt x="177" y="28"/>
                    <a:pt x="177" y="28"/>
                    <a:pt x="177" y="28"/>
                  </a:cubicBezTo>
                  <a:cubicBezTo>
                    <a:pt x="178" y="27"/>
                    <a:pt x="178" y="27"/>
                    <a:pt x="178" y="27"/>
                  </a:cubicBezTo>
                  <a:cubicBezTo>
                    <a:pt x="178" y="27"/>
                    <a:pt x="178" y="27"/>
                    <a:pt x="178" y="27"/>
                  </a:cubicBezTo>
                  <a:cubicBezTo>
                    <a:pt x="177" y="27"/>
                    <a:pt x="177" y="27"/>
                    <a:pt x="177" y="27"/>
                  </a:cubicBezTo>
                  <a:cubicBezTo>
                    <a:pt x="177" y="26"/>
                    <a:pt x="177" y="25"/>
                    <a:pt x="176" y="25"/>
                  </a:cubicBezTo>
                  <a:cubicBezTo>
                    <a:pt x="176" y="24"/>
                    <a:pt x="176" y="23"/>
                    <a:pt x="176" y="22"/>
                  </a:cubicBezTo>
                  <a:cubicBezTo>
                    <a:pt x="176" y="20"/>
                    <a:pt x="176" y="18"/>
                    <a:pt x="176" y="16"/>
                  </a:cubicBezTo>
                  <a:cubicBezTo>
                    <a:pt x="176" y="15"/>
                    <a:pt x="176" y="14"/>
                    <a:pt x="176" y="14"/>
                  </a:cubicBezTo>
                  <a:cubicBezTo>
                    <a:pt x="177" y="8"/>
                    <a:pt x="178" y="5"/>
                    <a:pt x="1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277"/>
            <p:cNvSpPr>
              <a:spLocks noEditPoints="1"/>
            </p:cNvSpPr>
            <p:nvPr/>
          </p:nvSpPr>
          <p:spPr bwMode="auto">
            <a:xfrm>
              <a:off x="4604" y="-27"/>
              <a:ext cx="229" cy="35"/>
            </a:xfrm>
            <a:custGeom>
              <a:gdLst>
                <a:gd name="T0" fmla="*/ 58 w 97"/>
                <a:gd name="T1" fmla="*/ 0 h 15"/>
                <a:gd name="T2" fmla="*/ 0 w 97"/>
                <a:gd name="T3" fmla="*/ 0 h 15"/>
                <a:gd name="T4" fmla="*/ 1 w 97"/>
                <a:gd name="T5" fmla="*/ 1 h 15"/>
                <a:gd name="T6" fmla="*/ 11 w 97"/>
                <a:gd name="T7" fmla="*/ 9 h 15"/>
                <a:gd name="T8" fmla="*/ 14 w 97"/>
                <a:gd name="T9" fmla="*/ 10 h 15"/>
                <a:gd name="T10" fmla="*/ 15 w 97"/>
                <a:gd name="T11" fmla="*/ 11 h 15"/>
                <a:gd name="T12" fmla="*/ 24 w 97"/>
                <a:gd name="T13" fmla="*/ 14 h 15"/>
                <a:gd name="T14" fmla="*/ 24 w 97"/>
                <a:gd name="T15" fmla="*/ 14 h 15"/>
                <a:gd name="T16" fmla="*/ 26 w 97"/>
                <a:gd name="T17" fmla="*/ 15 h 15"/>
                <a:gd name="T18" fmla="*/ 26 w 97"/>
                <a:gd name="T19" fmla="*/ 15 h 15"/>
                <a:gd name="T20" fmla="*/ 30 w 97"/>
                <a:gd name="T21" fmla="*/ 15 h 15"/>
                <a:gd name="T22" fmla="*/ 30 w 97"/>
                <a:gd name="T23" fmla="*/ 15 h 15"/>
                <a:gd name="T24" fmla="*/ 32 w 97"/>
                <a:gd name="T25" fmla="*/ 15 h 15"/>
                <a:gd name="T26" fmla="*/ 34 w 97"/>
                <a:gd name="T27" fmla="*/ 14 h 15"/>
                <a:gd name="T28" fmla="*/ 35 w 97"/>
                <a:gd name="T29" fmla="*/ 14 h 15"/>
                <a:gd name="T30" fmla="*/ 35 w 97"/>
                <a:gd name="T31" fmla="*/ 14 h 15"/>
                <a:gd name="T32" fmla="*/ 37 w 97"/>
                <a:gd name="T33" fmla="*/ 13 h 15"/>
                <a:gd name="T34" fmla="*/ 40 w 97"/>
                <a:gd name="T35" fmla="*/ 12 h 15"/>
                <a:gd name="T36" fmla="*/ 41 w 97"/>
                <a:gd name="T37" fmla="*/ 12 h 15"/>
                <a:gd name="T38" fmla="*/ 45 w 97"/>
                <a:gd name="T39" fmla="*/ 10 h 15"/>
                <a:gd name="T40" fmla="*/ 58 w 97"/>
                <a:gd name="T41" fmla="*/ 0 h 15"/>
                <a:gd name="T42" fmla="*/ 97 w 97"/>
                <a:gd name="T43" fmla="*/ 0 h 15"/>
                <a:gd name="T44" fmla="*/ 58 w 97"/>
                <a:gd name="T45" fmla="*/ 0 h 15"/>
                <a:gd name="T46" fmla="*/ 53 w 97"/>
                <a:gd name="T47" fmla="*/ 7 h 15"/>
                <a:gd name="T48" fmla="*/ 65 w 97"/>
                <a:gd name="T49" fmla="*/ 3 h 15"/>
                <a:gd name="T50" fmla="*/ 66 w 97"/>
                <a:gd name="T51" fmla="*/ 3 h 15"/>
                <a:gd name="T52" fmla="*/ 70 w 97"/>
                <a:gd name="T53" fmla="*/ 3 h 15"/>
                <a:gd name="T54" fmla="*/ 71 w 97"/>
                <a:gd name="T55" fmla="*/ 3 h 15"/>
                <a:gd name="T56" fmla="*/ 74 w 97"/>
                <a:gd name="T57" fmla="*/ 3 h 15"/>
                <a:gd name="T58" fmla="*/ 74 w 97"/>
                <a:gd name="T59" fmla="*/ 4 h 15"/>
                <a:gd name="T60" fmla="*/ 78 w 97"/>
                <a:gd name="T61" fmla="*/ 4 h 15"/>
                <a:gd name="T62" fmla="*/ 78 w 97"/>
                <a:gd name="T63" fmla="*/ 5 h 15"/>
                <a:gd name="T64" fmla="*/ 83 w 97"/>
                <a:gd name="T65" fmla="*/ 4 h 15"/>
                <a:gd name="T66" fmla="*/ 86 w 97"/>
                <a:gd name="T67" fmla="*/ 4 h 15"/>
                <a:gd name="T68" fmla="*/ 88 w 97"/>
                <a:gd name="T69" fmla="*/ 3 h 15"/>
                <a:gd name="T70" fmla="*/ 89 w 97"/>
                <a:gd name="T71" fmla="*/ 1 h 15"/>
                <a:gd name="T72" fmla="*/ 90 w 97"/>
                <a:gd name="T73" fmla="*/ 0 h 15"/>
                <a:gd name="T74" fmla="*/ 93 w 97"/>
                <a:gd name="T75" fmla="*/ 0 h 15"/>
                <a:gd name="T76" fmla="*/ 97 w 97"/>
                <a:gd name="T77" fmla="*/ 0 h 15"/>
                <a:gd name="T78" fmla="*/ 97 w 97"/>
                <a:gd name="T7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7" h="15">
                  <a:moveTo>
                    <a:pt x="58" y="0"/>
                  </a:moveTo>
                  <a:cubicBezTo>
                    <a:pt x="0" y="0"/>
                    <a:pt x="0" y="0"/>
                    <a:pt x="0" y="0"/>
                  </a:cubicBezTo>
                  <a:cubicBezTo>
                    <a:pt x="0" y="0"/>
                    <a:pt x="1" y="0"/>
                    <a:pt x="1" y="1"/>
                  </a:cubicBezTo>
                  <a:cubicBezTo>
                    <a:pt x="3" y="4"/>
                    <a:pt x="8" y="8"/>
                    <a:pt x="11" y="9"/>
                  </a:cubicBezTo>
                  <a:cubicBezTo>
                    <a:pt x="12" y="10"/>
                    <a:pt x="13" y="10"/>
                    <a:pt x="14" y="10"/>
                  </a:cubicBezTo>
                  <a:cubicBezTo>
                    <a:pt x="15" y="11"/>
                    <a:pt x="15" y="11"/>
                    <a:pt x="15" y="11"/>
                  </a:cubicBezTo>
                  <a:cubicBezTo>
                    <a:pt x="18" y="13"/>
                    <a:pt x="21" y="14"/>
                    <a:pt x="24" y="14"/>
                  </a:cubicBezTo>
                  <a:cubicBezTo>
                    <a:pt x="24" y="14"/>
                    <a:pt x="24" y="14"/>
                    <a:pt x="24" y="14"/>
                  </a:cubicBezTo>
                  <a:cubicBezTo>
                    <a:pt x="25" y="14"/>
                    <a:pt x="25" y="15"/>
                    <a:pt x="26" y="15"/>
                  </a:cubicBezTo>
                  <a:cubicBezTo>
                    <a:pt x="26" y="15"/>
                    <a:pt x="26" y="15"/>
                    <a:pt x="26" y="15"/>
                  </a:cubicBezTo>
                  <a:cubicBezTo>
                    <a:pt x="27" y="15"/>
                    <a:pt x="28" y="15"/>
                    <a:pt x="30" y="15"/>
                  </a:cubicBezTo>
                  <a:cubicBezTo>
                    <a:pt x="30" y="15"/>
                    <a:pt x="30" y="15"/>
                    <a:pt x="30" y="15"/>
                  </a:cubicBezTo>
                  <a:cubicBezTo>
                    <a:pt x="31" y="15"/>
                    <a:pt x="31" y="15"/>
                    <a:pt x="32" y="15"/>
                  </a:cubicBezTo>
                  <a:cubicBezTo>
                    <a:pt x="33" y="15"/>
                    <a:pt x="34" y="15"/>
                    <a:pt x="34" y="14"/>
                  </a:cubicBezTo>
                  <a:cubicBezTo>
                    <a:pt x="35" y="14"/>
                    <a:pt x="35" y="14"/>
                    <a:pt x="35" y="14"/>
                  </a:cubicBezTo>
                  <a:cubicBezTo>
                    <a:pt x="35" y="14"/>
                    <a:pt x="35" y="14"/>
                    <a:pt x="35" y="14"/>
                  </a:cubicBezTo>
                  <a:cubicBezTo>
                    <a:pt x="36" y="14"/>
                    <a:pt x="36" y="14"/>
                    <a:pt x="37" y="13"/>
                  </a:cubicBezTo>
                  <a:cubicBezTo>
                    <a:pt x="38" y="13"/>
                    <a:pt x="39" y="13"/>
                    <a:pt x="40" y="12"/>
                  </a:cubicBezTo>
                  <a:cubicBezTo>
                    <a:pt x="41" y="12"/>
                    <a:pt x="41" y="12"/>
                    <a:pt x="41" y="12"/>
                  </a:cubicBezTo>
                  <a:cubicBezTo>
                    <a:pt x="42" y="11"/>
                    <a:pt x="44" y="11"/>
                    <a:pt x="45" y="10"/>
                  </a:cubicBezTo>
                  <a:cubicBezTo>
                    <a:pt x="58" y="0"/>
                    <a:pt x="58" y="0"/>
                    <a:pt x="58" y="0"/>
                  </a:cubicBezTo>
                  <a:moveTo>
                    <a:pt x="97" y="0"/>
                  </a:moveTo>
                  <a:cubicBezTo>
                    <a:pt x="58" y="0"/>
                    <a:pt x="58" y="0"/>
                    <a:pt x="58" y="0"/>
                  </a:cubicBezTo>
                  <a:cubicBezTo>
                    <a:pt x="53" y="7"/>
                    <a:pt x="53" y="7"/>
                    <a:pt x="53" y="7"/>
                  </a:cubicBezTo>
                  <a:cubicBezTo>
                    <a:pt x="65" y="3"/>
                    <a:pt x="65" y="3"/>
                    <a:pt x="65" y="3"/>
                  </a:cubicBezTo>
                  <a:cubicBezTo>
                    <a:pt x="66" y="3"/>
                    <a:pt x="66" y="3"/>
                    <a:pt x="66" y="3"/>
                  </a:cubicBezTo>
                  <a:cubicBezTo>
                    <a:pt x="70" y="3"/>
                    <a:pt x="70" y="3"/>
                    <a:pt x="70" y="3"/>
                  </a:cubicBezTo>
                  <a:cubicBezTo>
                    <a:pt x="71" y="3"/>
                    <a:pt x="71" y="3"/>
                    <a:pt x="71" y="3"/>
                  </a:cubicBezTo>
                  <a:cubicBezTo>
                    <a:pt x="72" y="3"/>
                    <a:pt x="73" y="3"/>
                    <a:pt x="74" y="3"/>
                  </a:cubicBezTo>
                  <a:cubicBezTo>
                    <a:pt x="74" y="4"/>
                    <a:pt x="74" y="4"/>
                    <a:pt x="74" y="4"/>
                  </a:cubicBezTo>
                  <a:cubicBezTo>
                    <a:pt x="75" y="4"/>
                    <a:pt x="77" y="4"/>
                    <a:pt x="78" y="4"/>
                  </a:cubicBezTo>
                  <a:cubicBezTo>
                    <a:pt x="78" y="5"/>
                    <a:pt x="78" y="5"/>
                    <a:pt x="78" y="5"/>
                  </a:cubicBezTo>
                  <a:cubicBezTo>
                    <a:pt x="83" y="4"/>
                    <a:pt x="83" y="4"/>
                    <a:pt x="83" y="4"/>
                  </a:cubicBezTo>
                  <a:cubicBezTo>
                    <a:pt x="85" y="4"/>
                    <a:pt x="86" y="4"/>
                    <a:pt x="86" y="4"/>
                  </a:cubicBezTo>
                  <a:cubicBezTo>
                    <a:pt x="86" y="4"/>
                    <a:pt x="87" y="3"/>
                    <a:pt x="88" y="3"/>
                  </a:cubicBezTo>
                  <a:cubicBezTo>
                    <a:pt x="88" y="2"/>
                    <a:pt x="88" y="1"/>
                    <a:pt x="89" y="1"/>
                  </a:cubicBezTo>
                  <a:cubicBezTo>
                    <a:pt x="90" y="0"/>
                    <a:pt x="90" y="0"/>
                    <a:pt x="90" y="0"/>
                  </a:cubicBezTo>
                  <a:cubicBezTo>
                    <a:pt x="91" y="0"/>
                    <a:pt x="92" y="0"/>
                    <a:pt x="93" y="0"/>
                  </a:cubicBezTo>
                  <a:cubicBezTo>
                    <a:pt x="94" y="0"/>
                    <a:pt x="96" y="0"/>
                    <a:pt x="97" y="0"/>
                  </a:cubicBez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78"/>
            <p:cNvSpPr/>
            <p:nvPr/>
          </p:nvSpPr>
          <p:spPr bwMode="auto">
            <a:xfrm>
              <a:off x="5230" y="-27"/>
              <a:ext cx="35" cy="54"/>
            </a:xfrm>
            <a:custGeom>
              <a:gdLst>
                <a:gd name="T0" fmla="*/ 15 w 15"/>
                <a:gd name="T1" fmla="*/ 0 h 23"/>
                <a:gd name="T2" fmla="*/ 3 w 15"/>
                <a:gd name="T3" fmla="*/ 0 h 23"/>
                <a:gd name="T4" fmla="*/ 3 w 15"/>
                <a:gd name="T5" fmla="*/ 1 h 23"/>
                <a:gd name="T6" fmla="*/ 0 w 15"/>
                <a:gd name="T7" fmla="*/ 14 h 23"/>
                <a:gd name="T8" fmla="*/ 0 w 15"/>
                <a:gd name="T9" fmla="*/ 16 h 23"/>
                <a:gd name="T10" fmla="*/ 0 w 15"/>
                <a:gd name="T11" fmla="*/ 17 h 23"/>
                <a:gd name="T12" fmla="*/ 0 w 15"/>
                <a:gd name="T13" fmla="*/ 21 h 23"/>
                <a:gd name="T14" fmla="*/ 0 w 15"/>
                <a:gd name="T15" fmla="*/ 23 h 23"/>
                <a:gd name="T16" fmla="*/ 0 w 15"/>
                <a:gd name="T17" fmla="*/ 23 h 23"/>
                <a:gd name="T18" fmla="*/ 2 w 15"/>
                <a:gd name="T19" fmla="*/ 22 h 23"/>
                <a:gd name="T20" fmla="*/ 2 w 15"/>
                <a:gd name="T21" fmla="*/ 22 h 23"/>
                <a:gd name="T22" fmla="*/ 4 w 15"/>
                <a:gd name="T23" fmla="*/ 21 h 23"/>
                <a:gd name="T24" fmla="*/ 5 w 15"/>
                <a:gd name="T25" fmla="*/ 18 h 23"/>
                <a:gd name="T26" fmla="*/ 8 w 15"/>
                <a:gd name="T27" fmla="*/ 15 h 23"/>
                <a:gd name="T28" fmla="*/ 8 w 15"/>
                <a:gd name="T29" fmla="*/ 15 h 23"/>
                <a:gd name="T30" fmla="*/ 9 w 15"/>
                <a:gd name="T31" fmla="*/ 14 h 23"/>
                <a:gd name="T32" fmla="*/ 10 w 15"/>
                <a:gd name="T33" fmla="*/ 14 h 23"/>
                <a:gd name="T34" fmla="*/ 10 w 15"/>
                <a:gd name="T35" fmla="*/ 13 h 23"/>
                <a:gd name="T36" fmla="*/ 11 w 15"/>
                <a:gd name="T37" fmla="*/ 11 h 23"/>
                <a:gd name="T38" fmla="*/ 14 w 15"/>
                <a:gd name="T39" fmla="*/ 9 h 23"/>
                <a:gd name="T40" fmla="*/ 14 w 15"/>
                <a:gd name="T41" fmla="*/ 9 h 23"/>
                <a:gd name="T42" fmla="*/ 14 w 15"/>
                <a:gd name="T43" fmla="*/ 8 h 23"/>
                <a:gd name="T44" fmla="*/ 15 w 15"/>
                <a:gd name="T45" fmla="*/ 8 h 23"/>
                <a:gd name="T46" fmla="*/ 15 w 15"/>
                <a:gd name="T47" fmla="*/ 6 h 23"/>
                <a:gd name="T48" fmla="*/ 15 w 15"/>
                <a:gd name="T49" fmla="*/ 5 h 23"/>
                <a:gd name="T50" fmla="*/ 15 w 15"/>
                <a:gd name="T51" fmla="*/ 5 h 23"/>
                <a:gd name="T52" fmla="*/ 15 w 15"/>
                <a:gd name="T53" fmla="*/ 4 h 23"/>
                <a:gd name="T54" fmla="*/ 15 w 15"/>
                <a:gd name="T55" fmla="*/ 0 h 23"/>
                <a:gd name="T56" fmla="*/ 15 w 15"/>
                <a:gd name="T57"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23">
                  <a:moveTo>
                    <a:pt x="15" y="0"/>
                  </a:moveTo>
                  <a:cubicBezTo>
                    <a:pt x="3" y="0"/>
                    <a:pt x="3" y="0"/>
                    <a:pt x="3" y="0"/>
                  </a:cubicBezTo>
                  <a:cubicBezTo>
                    <a:pt x="3" y="0"/>
                    <a:pt x="3" y="1"/>
                    <a:pt x="3" y="1"/>
                  </a:cubicBezTo>
                  <a:cubicBezTo>
                    <a:pt x="1" y="6"/>
                    <a:pt x="0" y="9"/>
                    <a:pt x="0" y="14"/>
                  </a:cubicBezTo>
                  <a:cubicBezTo>
                    <a:pt x="0" y="14"/>
                    <a:pt x="0" y="15"/>
                    <a:pt x="0" y="16"/>
                  </a:cubicBezTo>
                  <a:cubicBezTo>
                    <a:pt x="0" y="17"/>
                    <a:pt x="0" y="17"/>
                    <a:pt x="0" y="17"/>
                  </a:cubicBezTo>
                  <a:cubicBezTo>
                    <a:pt x="0" y="18"/>
                    <a:pt x="0" y="20"/>
                    <a:pt x="0" y="21"/>
                  </a:cubicBezTo>
                  <a:cubicBezTo>
                    <a:pt x="0" y="22"/>
                    <a:pt x="0" y="23"/>
                    <a:pt x="0" y="23"/>
                  </a:cubicBezTo>
                  <a:cubicBezTo>
                    <a:pt x="0" y="23"/>
                    <a:pt x="0" y="23"/>
                    <a:pt x="0" y="23"/>
                  </a:cubicBezTo>
                  <a:cubicBezTo>
                    <a:pt x="1" y="23"/>
                    <a:pt x="1" y="23"/>
                    <a:pt x="2" y="22"/>
                  </a:cubicBezTo>
                  <a:cubicBezTo>
                    <a:pt x="2" y="22"/>
                    <a:pt x="2" y="22"/>
                    <a:pt x="2" y="22"/>
                  </a:cubicBezTo>
                  <a:cubicBezTo>
                    <a:pt x="3" y="22"/>
                    <a:pt x="3" y="21"/>
                    <a:pt x="4" y="21"/>
                  </a:cubicBezTo>
                  <a:cubicBezTo>
                    <a:pt x="4" y="20"/>
                    <a:pt x="4" y="19"/>
                    <a:pt x="5" y="18"/>
                  </a:cubicBezTo>
                  <a:cubicBezTo>
                    <a:pt x="6" y="17"/>
                    <a:pt x="7" y="16"/>
                    <a:pt x="8" y="15"/>
                  </a:cubicBezTo>
                  <a:cubicBezTo>
                    <a:pt x="8" y="15"/>
                    <a:pt x="8" y="15"/>
                    <a:pt x="8" y="15"/>
                  </a:cubicBezTo>
                  <a:cubicBezTo>
                    <a:pt x="9" y="14"/>
                    <a:pt x="9" y="14"/>
                    <a:pt x="9" y="14"/>
                  </a:cubicBezTo>
                  <a:cubicBezTo>
                    <a:pt x="10" y="14"/>
                    <a:pt x="10" y="14"/>
                    <a:pt x="10" y="14"/>
                  </a:cubicBezTo>
                  <a:cubicBezTo>
                    <a:pt x="10" y="13"/>
                    <a:pt x="10" y="13"/>
                    <a:pt x="10" y="13"/>
                  </a:cubicBezTo>
                  <a:cubicBezTo>
                    <a:pt x="10" y="13"/>
                    <a:pt x="11" y="12"/>
                    <a:pt x="11" y="11"/>
                  </a:cubicBezTo>
                  <a:cubicBezTo>
                    <a:pt x="12" y="10"/>
                    <a:pt x="12" y="9"/>
                    <a:pt x="14" y="9"/>
                  </a:cubicBezTo>
                  <a:cubicBezTo>
                    <a:pt x="14" y="9"/>
                    <a:pt x="14" y="9"/>
                    <a:pt x="14" y="9"/>
                  </a:cubicBezTo>
                  <a:cubicBezTo>
                    <a:pt x="14" y="8"/>
                    <a:pt x="14" y="8"/>
                    <a:pt x="14" y="8"/>
                  </a:cubicBezTo>
                  <a:cubicBezTo>
                    <a:pt x="14" y="8"/>
                    <a:pt x="14" y="8"/>
                    <a:pt x="15" y="8"/>
                  </a:cubicBezTo>
                  <a:cubicBezTo>
                    <a:pt x="15" y="6"/>
                    <a:pt x="15" y="6"/>
                    <a:pt x="15" y="6"/>
                  </a:cubicBezTo>
                  <a:cubicBezTo>
                    <a:pt x="15" y="6"/>
                    <a:pt x="15" y="6"/>
                    <a:pt x="15" y="5"/>
                  </a:cubicBezTo>
                  <a:cubicBezTo>
                    <a:pt x="15" y="5"/>
                    <a:pt x="15" y="5"/>
                    <a:pt x="15" y="5"/>
                  </a:cubicBezTo>
                  <a:cubicBezTo>
                    <a:pt x="15" y="4"/>
                    <a:pt x="15" y="4"/>
                    <a:pt x="15" y="4"/>
                  </a:cubicBezTo>
                  <a:cubicBezTo>
                    <a:pt x="15" y="2"/>
                    <a:pt x="15" y="1"/>
                    <a:pt x="15" y="0"/>
                  </a:cubicBezTo>
                  <a:cubicBezTo>
                    <a:pt x="15"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79"/>
            <p:cNvSpPr/>
            <p:nvPr/>
          </p:nvSpPr>
          <p:spPr bwMode="auto">
            <a:xfrm>
              <a:off x="6452" y="-27"/>
              <a:ext cx="1226" cy="383"/>
            </a:xfrm>
            <a:custGeom>
              <a:gdLst>
                <a:gd name="T0" fmla="*/ 68 w 519"/>
                <a:gd name="T1" fmla="*/ 26 h 162"/>
                <a:gd name="T2" fmla="*/ 90 w 519"/>
                <a:gd name="T3" fmla="*/ 25 h 162"/>
                <a:gd name="T4" fmla="*/ 93 w 519"/>
                <a:gd name="T5" fmla="*/ 40 h 162"/>
                <a:gd name="T6" fmla="*/ 85 w 519"/>
                <a:gd name="T7" fmla="*/ 42 h 162"/>
                <a:gd name="T8" fmla="*/ 79 w 519"/>
                <a:gd name="T9" fmla="*/ 42 h 162"/>
                <a:gd name="T10" fmla="*/ 78 w 519"/>
                <a:gd name="T11" fmla="*/ 34 h 162"/>
                <a:gd name="T12" fmla="*/ 36 w 519"/>
                <a:gd name="T13" fmla="*/ 28 h 162"/>
                <a:gd name="T14" fmla="*/ 24 w 519"/>
                <a:gd name="T15" fmla="*/ 39 h 162"/>
                <a:gd name="T16" fmla="*/ 27 w 519"/>
                <a:gd name="T17" fmla="*/ 52 h 162"/>
                <a:gd name="T18" fmla="*/ 32 w 519"/>
                <a:gd name="T19" fmla="*/ 54 h 162"/>
                <a:gd name="T20" fmla="*/ 27 w 519"/>
                <a:gd name="T21" fmla="*/ 53 h 162"/>
                <a:gd name="T22" fmla="*/ 11 w 519"/>
                <a:gd name="T23" fmla="*/ 51 h 162"/>
                <a:gd name="T24" fmla="*/ 6 w 519"/>
                <a:gd name="T25" fmla="*/ 61 h 162"/>
                <a:gd name="T26" fmla="*/ 25 w 519"/>
                <a:gd name="T27" fmla="*/ 93 h 162"/>
                <a:gd name="T28" fmla="*/ 41 w 519"/>
                <a:gd name="T29" fmla="*/ 102 h 162"/>
                <a:gd name="T30" fmla="*/ 48 w 519"/>
                <a:gd name="T31" fmla="*/ 102 h 162"/>
                <a:gd name="T32" fmla="*/ 50 w 519"/>
                <a:gd name="T33" fmla="*/ 103 h 162"/>
                <a:gd name="T34" fmla="*/ 60 w 519"/>
                <a:gd name="T35" fmla="*/ 106 h 162"/>
                <a:gd name="T36" fmla="*/ 53 w 519"/>
                <a:gd name="T37" fmla="*/ 130 h 162"/>
                <a:gd name="T38" fmla="*/ 86 w 519"/>
                <a:gd name="T39" fmla="*/ 114 h 162"/>
                <a:gd name="T40" fmla="*/ 107 w 519"/>
                <a:gd name="T41" fmla="*/ 123 h 162"/>
                <a:gd name="T42" fmla="*/ 120 w 519"/>
                <a:gd name="T43" fmla="*/ 137 h 162"/>
                <a:gd name="T44" fmla="*/ 134 w 519"/>
                <a:gd name="T45" fmla="*/ 142 h 162"/>
                <a:gd name="T46" fmla="*/ 144 w 519"/>
                <a:gd name="T47" fmla="*/ 35 h 162"/>
                <a:gd name="T48" fmla="*/ 195 w 519"/>
                <a:gd name="T49" fmla="*/ 21 h 162"/>
                <a:gd name="T50" fmla="*/ 205 w 519"/>
                <a:gd name="T51" fmla="*/ 14 h 162"/>
                <a:gd name="T52" fmla="*/ 207 w 519"/>
                <a:gd name="T53" fmla="*/ 14 h 162"/>
                <a:gd name="T54" fmla="*/ 210 w 519"/>
                <a:gd name="T55" fmla="*/ 14 h 162"/>
                <a:gd name="T56" fmla="*/ 213 w 519"/>
                <a:gd name="T57" fmla="*/ 16 h 162"/>
                <a:gd name="T58" fmla="*/ 217 w 519"/>
                <a:gd name="T59" fmla="*/ 22 h 162"/>
                <a:gd name="T60" fmla="*/ 224 w 519"/>
                <a:gd name="T61" fmla="*/ 14 h 162"/>
                <a:gd name="T62" fmla="*/ 221 w 519"/>
                <a:gd name="T63" fmla="*/ 3 h 162"/>
                <a:gd name="T64" fmla="*/ 225 w 519"/>
                <a:gd name="T65" fmla="*/ 11 h 162"/>
                <a:gd name="T66" fmla="*/ 233 w 519"/>
                <a:gd name="T67" fmla="*/ 10 h 162"/>
                <a:gd name="T68" fmla="*/ 243 w 519"/>
                <a:gd name="T69" fmla="*/ 14 h 162"/>
                <a:gd name="T70" fmla="*/ 228 w 519"/>
                <a:gd name="T71" fmla="*/ 15 h 162"/>
                <a:gd name="T72" fmla="*/ 228 w 519"/>
                <a:gd name="T73" fmla="*/ 17 h 162"/>
                <a:gd name="T74" fmla="*/ 229 w 519"/>
                <a:gd name="T75" fmla="*/ 25 h 162"/>
                <a:gd name="T76" fmla="*/ 239 w 519"/>
                <a:gd name="T77" fmla="*/ 44 h 162"/>
                <a:gd name="T78" fmla="*/ 277 w 519"/>
                <a:gd name="T79" fmla="*/ 78 h 162"/>
                <a:gd name="T80" fmla="*/ 292 w 519"/>
                <a:gd name="T81" fmla="*/ 79 h 162"/>
                <a:gd name="T82" fmla="*/ 328 w 519"/>
                <a:gd name="T83" fmla="*/ 78 h 162"/>
                <a:gd name="T84" fmla="*/ 347 w 519"/>
                <a:gd name="T85" fmla="*/ 74 h 162"/>
                <a:gd name="T86" fmla="*/ 358 w 519"/>
                <a:gd name="T87" fmla="*/ 83 h 162"/>
                <a:gd name="T88" fmla="*/ 371 w 519"/>
                <a:gd name="T89" fmla="*/ 97 h 162"/>
                <a:gd name="T90" fmla="*/ 378 w 519"/>
                <a:gd name="T91" fmla="*/ 106 h 162"/>
                <a:gd name="T92" fmla="*/ 376 w 519"/>
                <a:gd name="T93" fmla="*/ 121 h 162"/>
                <a:gd name="T94" fmla="*/ 379 w 519"/>
                <a:gd name="T95" fmla="*/ 123 h 162"/>
                <a:gd name="T96" fmla="*/ 388 w 519"/>
                <a:gd name="T97" fmla="*/ 130 h 162"/>
                <a:gd name="T98" fmla="*/ 392 w 519"/>
                <a:gd name="T99" fmla="*/ 147 h 162"/>
                <a:gd name="T100" fmla="*/ 417 w 519"/>
                <a:gd name="T101" fmla="*/ 146 h 162"/>
                <a:gd name="T102" fmla="*/ 421 w 519"/>
                <a:gd name="T103" fmla="*/ 148 h 162"/>
                <a:gd name="T104" fmla="*/ 424 w 519"/>
                <a:gd name="T105" fmla="*/ 159 h 162"/>
                <a:gd name="T106" fmla="*/ 438 w 519"/>
                <a:gd name="T107" fmla="*/ 148 h 162"/>
                <a:gd name="T108" fmla="*/ 446 w 519"/>
                <a:gd name="T109" fmla="*/ 142 h 162"/>
                <a:gd name="T110" fmla="*/ 485 w 519"/>
                <a:gd name="T111" fmla="*/ 118 h 162"/>
                <a:gd name="T112" fmla="*/ 492 w 519"/>
                <a:gd name="T113" fmla="*/ 107 h 162"/>
                <a:gd name="T114" fmla="*/ 503 w 519"/>
                <a:gd name="T115" fmla="*/ 102 h 162"/>
                <a:gd name="T116" fmla="*/ 519 w 519"/>
                <a:gd name="T117" fmla="*/ 0 h 1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9" h="162">
                  <a:moveTo>
                    <a:pt x="519" y="0"/>
                  </a:moveTo>
                  <a:cubicBezTo>
                    <a:pt x="72" y="0"/>
                    <a:pt x="72" y="0"/>
                    <a:pt x="72" y="0"/>
                  </a:cubicBezTo>
                  <a:cubicBezTo>
                    <a:pt x="73" y="2"/>
                    <a:pt x="73" y="4"/>
                    <a:pt x="72" y="7"/>
                  </a:cubicBezTo>
                  <a:cubicBezTo>
                    <a:pt x="72" y="12"/>
                    <a:pt x="68" y="16"/>
                    <a:pt x="67" y="21"/>
                  </a:cubicBezTo>
                  <a:cubicBezTo>
                    <a:pt x="67" y="23"/>
                    <a:pt x="67" y="24"/>
                    <a:pt x="68" y="26"/>
                  </a:cubicBezTo>
                  <a:cubicBezTo>
                    <a:pt x="70" y="29"/>
                    <a:pt x="70" y="28"/>
                    <a:pt x="73" y="29"/>
                  </a:cubicBezTo>
                  <a:cubicBezTo>
                    <a:pt x="75" y="30"/>
                    <a:pt x="77" y="31"/>
                    <a:pt x="80" y="31"/>
                  </a:cubicBezTo>
                  <a:cubicBezTo>
                    <a:pt x="80" y="31"/>
                    <a:pt x="81" y="31"/>
                    <a:pt x="82" y="31"/>
                  </a:cubicBezTo>
                  <a:cubicBezTo>
                    <a:pt x="84" y="30"/>
                    <a:pt x="87" y="30"/>
                    <a:pt x="88" y="28"/>
                  </a:cubicBezTo>
                  <a:cubicBezTo>
                    <a:pt x="89" y="27"/>
                    <a:pt x="89" y="25"/>
                    <a:pt x="90" y="25"/>
                  </a:cubicBezTo>
                  <a:cubicBezTo>
                    <a:pt x="91" y="25"/>
                    <a:pt x="91" y="25"/>
                    <a:pt x="91" y="25"/>
                  </a:cubicBezTo>
                  <a:cubicBezTo>
                    <a:pt x="97" y="25"/>
                    <a:pt x="94" y="32"/>
                    <a:pt x="96" y="35"/>
                  </a:cubicBezTo>
                  <a:cubicBezTo>
                    <a:pt x="96" y="36"/>
                    <a:pt x="98" y="37"/>
                    <a:pt x="98" y="38"/>
                  </a:cubicBezTo>
                  <a:cubicBezTo>
                    <a:pt x="98" y="40"/>
                    <a:pt x="95" y="40"/>
                    <a:pt x="93" y="40"/>
                  </a:cubicBezTo>
                  <a:cubicBezTo>
                    <a:pt x="93" y="40"/>
                    <a:pt x="93" y="40"/>
                    <a:pt x="93" y="40"/>
                  </a:cubicBezTo>
                  <a:cubicBezTo>
                    <a:pt x="92" y="40"/>
                    <a:pt x="92" y="40"/>
                    <a:pt x="92" y="40"/>
                  </a:cubicBezTo>
                  <a:cubicBezTo>
                    <a:pt x="91" y="40"/>
                    <a:pt x="90" y="41"/>
                    <a:pt x="89" y="41"/>
                  </a:cubicBezTo>
                  <a:cubicBezTo>
                    <a:pt x="88" y="42"/>
                    <a:pt x="88" y="42"/>
                    <a:pt x="87" y="42"/>
                  </a:cubicBezTo>
                  <a:cubicBezTo>
                    <a:pt x="87" y="42"/>
                    <a:pt x="86" y="42"/>
                    <a:pt x="86" y="42"/>
                  </a:cubicBezTo>
                  <a:cubicBezTo>
                    <a:pt x="86" y="42"/>
                    <a:pt x="86" y="42"/>
                    <a:pt x="85" y="42"/>
                  </a:cubicBezTo>
                  <a:cubicBezTo>
                    <a:pt x="85" y="42"/>
                    <a:pt x="84" y="42"/>
                    <a:pt x="84" y="42"/>
                  </a:cubicBezTo>
                  <a:cubicBezTo>
                    <a:pt x="80" y="42"/>
                    <a:pt x="78" y="46"/>
                    <a:pt x="77" y="49"/>
                  </a:cubicBezTo>
                  <a:cubicBezTo>
                    <a:pt x="76" y="50"/>
                    <a:pt x="73" y="57"/>
                    <a:pt x="72" y="57"/>
                  </a:cubicBezTo>
                  <a:cubicBezTo>
                    <a:pt x="70" y="57"/>
                    <a:pt x="71" y="54"/>
                    <a:pt x="71" y="53"/>
                  </a:cubicBezTo>
                  <a:cubicBezTo>
                    <a:pt x="74" y="49"/>
                    <a:pt x="76" y="45"/>
                    <a:pt x="79" y="42"/>
                  </a:cubicBezTo>
                  <a:cubicBezTo>
                    <a:pt x="82" y="39"/>
                    <a:pt x="84" y="40"/>
                    <a:pt x="87" y="39"/>
                  </a:cubicBezTo>
                  <a:cubicBezTo>
                    <a:pt x="91" y="38"/>
                    <a:pt x="91" y="33"/>
                    <a:pt x="88" y="33"/>
                  </a:cubicBezTo>
                  <a:cubicBezTo>
                    <a:pt x="87" y="33"/>
                    <a:pt x="87" y="33"/>
                    <a:pt x="86" y="33"/>
                  </a:cubicBezTo>
                  <a:cubicBezTo>
                    <a:pt x="84" y="34"/>
                    <a:pt x="83" y="34"/>
                    <a:pt x="82" y="34"/>
                  </a:cubicBezTo>
                  <a:cubicBezTo>
                    <a:pt x="81" y="34"/>
                    <a:pt x="80" y="34"/>
                    <a:pt x="78" y="34"/>
                  </a:cubicBezTo>
                  <a:cubicBezTo>
                    <a:pt x="75" y="33"/>
                    <a:pt x="71" y="33"/>
                    <a:pt x="68" y="33"/>
                  </a:cubicBezTo>
                  <a:cubicBezTo>
                    <a:pt x="64" y="33"/>
                    <a:pt x="60" y="32"/>
                    <a:pt x="55" y="31"/>
                  </a:cubicBezTo>
                  <a:cubicBezTo>
                    <a:pt x="50" y="30"/>
                    <a:pt x="44" y="31"/>
                    <a:pt x="39" y="29"/>
                  </a:cubicBezTo>
                  <a:cubicBezTo>
                    <a:pt x="38" y="28"/>
                    <a:pt x="38" y="27"/>
                    <a:pt x="37" y="27"/>
                  </a:cubicBezTo>
                  <a:cubicBezTo>
                    <a:pt x="37" y="27"/>
                    <a:pt x="36" y="28"/>
                    <a:pt x="36" y="28"/>
                  </a:cubicBezTo>
                  <a:cubicBezTo>
                    <a:pt x="36" y="29"/>
                    <a:pt x="34" y="30"/>
                    <a:pt x="33" y="31"/>
                  </a:cubicBezTo>
                  <a:cubicBezTo>
                    <a:pt x="33" y="31"/>
                    <a:pt x="33" y="31"/>
                    <a:pt x="33" y="31"/>
                  </a:cubicBezTo>
                  <a:cubicBezTo>
                    <a:pt x="31" y="31"/>
                    <a:pt x="29" y="29"/>
                    <a:pt x="29" y="29"/>
                  </a:cubicBezTo>
                  <a:cubicBezTo>
                    <a:pt x="29" y="29"/>
                    <a:pt x="27" y="32"/>
                    <a:pt x="27" y="33"/>
                  </a:cubicBezTo>
                  <a:cubicBezTo>
                    <a:pt x="25" y="34"/>
                    <a:pt x="25" y="38"/>
                    <a:pt x="24" y="39"/>
                  </a:cubicBezTo>
                  <a:cubicBezTo>
                    <a:pt x="21" y="40"/>
                    <a:pt x="21" y="40"/>
                    <a:pt x="21" y="40"/>
                  </a:cubicBezTo>
                  <a:cubicBezTo>
                    <a:pt x="20" y="41"/>
                    <a:pt x="17" y="40"/>
                    <a:pt x="19" y="42"/>
                  </a:cubicBezTo>
                  <a:cubicBezTo>
                    <a:pt x="21" y="45"/>
                    <a:pt x="23" y="46"/>
                    <a:pt x="25" y="49"/>
                  </a:cubicBezTo>
                  <a:cubicBezTo>
                    <a:pt x="25" y="49"/>
                    <a:pt x="26" y="51"/>
                    <a:pt x="26" y="52"/>
                  </a:cubicBezTo>
                  <a:cubicBezTo>
                    <a:pt x="27" y="52"/>
                    <a:pt x="27" y="52"/>
                    <a:pt x="27" y="52"/>
                  </a:cubicBezTo>
                  <a:cubicBezTo>
                    <a:pt x="27" y="52"/>
                    <a:pt x="27" y="52"/>
                    <a:pt x="28" y="52"/>
                  </a:cubicBezTo>
                  <a:cubicBezTo>
                    <a:pt x="28" y="52"/>
                    <a:pt x="28" y="52"/>
                    <a:pt x="28" y="52"/>
                  </a:cubicBezTo>
                  <a:cubicBezTo>
                    <a:pt x="28" y="52"/>
                    <a:pt x="29" y="52"/>
                    <a:pt x="29" y="52"/>
                  </a:cubicBezTo>
                  <a:cubicBezTo>
                    <a:pt x="29" y="52"/>
                    <a:pt x="32" y="52"/>
                    <a:pt x="32" y="53"/>
                  </a:cubicBezTo>
                  <a:cubicBezTo>
                    <a:pt x="32" y="54"/>
                    <a:pt x="32" y="54"/>
                    <a:pt x="32" y="54"/>
                  </a:cubicBezTo>
                  <a:cubicBezTo>
                    <a:pt x="32" y="54"/>
                    <a:pt x="32" y="54"/>
                    <a:pt x="32" y="54"/>
                  </a:cubicBezTo>
                  <a:cubicBezTo>
                    <a:pt x="32" y="54"/>
                    <a:pt x="31" y="54"/>
                    <a:pt x="31" y="54"/>
                  </a:cubicBezTo>
                  <a:cubicBezTo>
                    <a:pt x="30" y="54"/>
                    <a:pt x="30" y="54"/>
                    <a:pt x="29" y="54"/>
                  </a:cubicBezTo>
                  <a:cubicBezTo>
                    <a:pt x="28" y="54"/>
                    <a:pt x="28" y="54"/>
                    <a:pt x="28" y="54"/>
                  </a:cubicBezTo>
                  <a:cubicBezTo>
                    <a:pt x="27" y="53"/>
                    <a:pt x="27" y="53"/>
                    <a:pt x="27" y="53"/>
                  </a:cubicBezTo>
                  <a:cubicBezTo>
                    <a:pt x="26" y="53"/>
                    <a:pt x="25" y="55"/>
                    <a:pt x="25" y="55"/>
                  </a:cubicBezTo>
                  <a:cubicBezTo>
                    <a:pt x="24" y="55"/>
                    <a:pt x="23" y="55"/>
                    <a:pt x="23" y="55"/>
                  </a:cubicBezTo>
                  <a:cubicBezTo>
                    <a:pt x="21" y="55"/>
                    <a:pt x="20" y="54"/>
                    <a:pt x="18" y="53"/>
                  </a:cubicBezTo>
                  <a:cubicBezTo>
                    <a:pt x="16" y="52"/>
                    <a:pt x="15" y="51"/>
                    <a:pt x="14" y="51"/>
                  </a:cubicBezTo>
                  <a:cubicBezTo>
                    <a:pt x="14" y="51"/>
                    <a:pt x="13" y="51"/>
                    <a:pt x="11" y="51"/>
                  </a:cubicBezTo>
                  <a:cubicBezTo>
                    <a:pt x="10" y="51"/>
                    <a:pt x="7" y="50"/>
                    <a:pt x="5" y="50"/>
                  </a:cubicBezTo>
                  <a:cubicBezTo>
                    <a:pt x="4" y="50"/>
                    <a:pt x="4" y="50"/>
                    <a:pt x="4" y="50"/>
                  </a:cubicBezTo>
                  <a:cubicBezTo>
                    <a:pt x="2" y="51"/>
                    <a:pt x="2" y="52"/>
                    <a:pt x="2" y="53"/>
                  </a:cubicBezTo>
                  <a:cubicBezTo>
                    <a:pt x="1" y="53"/>
                    <a:pt x="1" y="53"/>
                    <a:pt x="1" y="53"/>
                  </a:cubicBezTo>
                  <a:cubicBezTo>
                    <a:pt x="0" y="57"/>
                    <a:pt x="1" y="60"/>
                    <a:pt x="6" y="61"/>
                  </a:cubicBezTo>
                  <a:cubicBezTo>
                    <a:pt x="8" y="61"/>
                    <a:pt x="9" y="61"/>
                    <a:pt x="11" y="61"/>
                  </a:cubicBezTo>
                  <a:cubicBezTo>
                    <a:pt x="18" y="63"/>
                    <a:pt x="19" y="72"/>
                    <a:pt x="22" y="79"/>
                  </a:cubicBezTo>
                  <a:cubicBezTo>
                    <a:pt x="23" y="82"/>
                    <a:pt x="25" y="86"/>
                    <a:pt x="26" y="89"/>
                  </a:cubicBezTo>
                  <a:cubicBezTo>
                    <a:pt x="27" y="90"/>
                    <a:pt x="26" y="90"/>
                    <a:pt x="26" y="91"/>
                  </a:cubicBezTo>
                  <a:cubicBezTo>
                    <a:pt x="26" y="92"/>
                    <a:pt x="25" y="93"/>
                    <a:pt x="25" y="93"/>
                  </a:cubicBezTo>
                  <a:cubicBezTo>
                    <a:pt x="26" y="93"/>
                    <a:pt x="26" y="93"/>
                    <a:pt x="27" y="93"/>
                  </a:cubicBezTo>
                  <a:cubicBezTo>
                    <a:pt x="28" y="93"/>
                    <a:pt x="29" y="93"/>
                    <a:pt x="30" y="93"/>
                  </a:cubicBezTo>
                  <a:cubicBezTo>
                    <a:pt x="31" y="93"/>
                    <a:pt x="32" y="93"/>
                    <a:pt x="33" y="93"/>
                  </a:cubicBezTo>
                  <a:cubicBezTo>
                    <a:pt x="33" y="93"/>
                    <a:pt x="33" y="93"/>
                    <a:pt x="33" y="93"/>
                  </a:cubicBezTo>
                  <a:cubicBezTo>
                    <a:pt x="37" y="94"/>
                    <a:pt x="37" y="99"/>
                    <a:pt x="41" y="102"/>
                  </a:cubicBezTo>
                  <a:cubicBezTo>
                    <a:pt x="41" y="102"/>
                    <a:pt x="42" y="102"/>
                    <a:pt x="42" y="102"/>
                  </a:cubicBezTo>
                  <a:cubicBezTo>
                    <a:pt x="42" y="102"/>
                    <a:pt x="43" y="102"/>
                    <a:pt x="43" y="102"/>
                  </a:cubicBezTo>
                  <a:cubicBezTo>
                    <a:pt x="44" y="101"/>
                    <a:pt x="45" y="101"/>
                    <a:pt x="45" y="101"/>
                  </a:cubicBezTo>
                  <a:cubicBezTo>
                    <a:pt x="45" y="101"/>
                    <a:pt x="46" y="101"/>
                    <a:pt x="46" y="101"/>
                  </a:cubicBezTo>
                  <a:cubicBezTo>
                    <a:pt x="47" y="101"/>
                    <a:pt x="47" y="101"/>
                    <a:pt x="48" y="102"/>
                  </a:cubicBezTo>
                  <a:cubicBezTo>
                    <a:pt x="48" y="102"/>
                    <a:pt x="49" y="103"/>
                    <a:pt x="49" y="103"/>
                  </a:cubicBezTo>
                  <a:cubicBezTo>
                    <a:pt x="49" y="104"/>
                    <a:pt x="50" y="104"/>
                    <a:pt x="50" y="104"/>
                  </a:cubicBezTo>
                  <a:cubicBezTo>
                    <a:pt x="50" y="104"/>
                    <a:pt x="50" y="104"/>
                    <a:pt x="50" y="103"/>
                  </a:cubicBezTo>
                  <a:cubicBezTo>
                    <a:pt x="50" y="103"/>
                    <a:pt x="50" y="103"/>
                    <a:pt x="50" y="103"/>
                  </a:cubicBezTo>
                  <a:cubicBezTo>
                    <a:pt x="50" y="103"/>
                    <a:pt x="50" y="103"/>
                    <a:pt x="50" y="103"/>
                  </a:cubicBezTo>
                  <a:cubicBezTo>
                    <a:pt x="50" y="103"/>
                    <a:pt x="51" y="103"/>
                    <a:pt x="51" y="103"/>
                  </a:cubicBezTo>
                  <a:cubicBezTo>
                    <a:pt x="51" y="103"/>
                    <a:pt x="52" y="103"/>
                    <a:pt x="52" y="103"/>
                  </a:cubicBezTo>
                  <a:cubicBezTo>
                    <a:pt x="53" y="103"/>
                    <a:pt x="53" y="103"/>
                    <a:pt x="53" y="103"/>
                  </a:cubicBezTo>
                  <a:cubicBezTo>
                    <a:pt x="54" y="103"/>
                    <a:pt x="55" y="103"/>
                    <a:pt x="55" y="103"/>
                  </a:cubicBezTo>
                  <a:cubicBezTo>
                    <a:pt x="57" y="104"/>
                    <a:pt x="58" y="105"/>
                    <a:pt x="60" y="106"/>
                  </a:cubicBezTo>
                  <a:cubicBezTo>
                    <a:pt x="59" y="106"/>
                    <a:pt x="58" y="107"/>
                    <a:pt x="58" y="107"/>
                  </a:cubicBezTo>
                  <a:cubicBezTo>
                    <a:pt x="57" y="107"/>
                    <a:pt x="57" y="107"/>
                    <a:pt x="57" y="107"/>
                  </a:cubicBezTo>
                  <a:cubicBezTo>
                    <a:pt x="60" y="110"/>
                    <a:pt x="58" y="112"/>
                    <a:pt x="56" y="117"/>
                  </a:cubicBezTo>
                  <a:cubicBezTo>
                    <a:pt x="55" y="118"/>
                    <a:pt x="53" y="121"/>
                    <a:pt x="53" y="122"/>
                  </a:cubicBezTo>
                  <a:cubicBezTo>
                    <a:pt x="52" y="125"/>
                    <a:pt x="53" y="127"/>
                    <a:pt x="53" y="130"/>
                  </a:cubicBezTo>
                  <a:cubicBezTo>
                    <a:pt x="53" y="129"/>
                    <a:pt x="54" y="129"/>
                    <a:pt x="55" y="128"/>
                  </a:cubicBezTo>
                  <a:cubicBezTo>
                    <a:pt x="56" y="127"/>
                    <a:pt x="57" y="126"/>
                    <a:pt x="59" y="124"/>
                  </a:cubicBezTo>
                  <a:cubicBezTo>
                    <a:pt x="60" y="123"/>
                    <a:pt x="62" y="122"/>
                    <a:pt x="64" y="121"/>
                  </a:cubicBezTo>
                  <a:cubicBezTo>
                    <a:pt x="68" y="118"/>
                    <a:pt x="74" y="116"/>
                    <a:pt x="79" y="115"/>
                  </a:cubicBezTo>
                  <a:cubicBezTo>
                    <a:pt x="82" y="115"/>
                    <a:pt x="84" y="115"/>
                    <a:pt x="86" y="114"/>
                  </a:cubicBezTo>
                  <a:cubicBezTo>
                    <a:pt x="88" y="114"/>
                    <a:pt x="88" y="114"/>
                    <a:pt x="88" y="114"/>
                  </a:cubicBezTo>
                  <a:cubicBezTo>
                    <a:pt x="89" y="114"/>
                    <a:pt x="90" y="114"/>
                    <a:pt x="91" y="114"/>
                  </a:cubicBezTo>
                  <a:cubicBezTo>
                    <a:pt x="92" y="114"/>
                    <a:pt x="93" y="114"/>
                    <a:pt x="93" y="114"/>
                  </a:cubicBezTo>
                  <a:cubicBezTo>
                    <a:pt x="95" y="114"/>
                    <a:pt x="97" y="115"/>
                    <a:pt x="98" y="116"/>
                  </a:cubicBezTo>
                  <a:cubicBezTo>
                    <a:pt x="101" y="118"/>
                    <a:pt x="104" y="120"/>
                    <a:pt x="107" y="123"/>
                  </a:cubicBezTo>
                  <a:cubicBezTo>
                    <a:pt x="107" y="124"/>
                    <a:pt x="107" y="124"/>
                    <a:pt x="107" y="124"/>
                  </a:cubicBezTo>
                  <a:cubicBezTo>
                    <a:pt x="108" y="125"/>
                    <a:pt x="110" y="126"/>
                    <a:pt x="111" y="127"/>
                  </a:cubicBezTo>
                  <a:cubicBezTo>
                    <a:pt x="112" y="128"/>
                    <a:pt x="112" y="128"/>
                    <a:pt x="112" y="128"/>
                  </a:cubicBezTo>
                  <a:cubicBezTo>
                    <a:pt x="114" y="130"/>
                    <a:pt x="116" y="131"/>
                    <a:pt x="118" y="133"/>
                  </a:cubicBezTo>
                  <a:cubicBezTo>
                    <a:pt x="119" y="134"/>
                    <a:pt x="119" y="135"/>
                    <a:pt x="120" y="137"/>
                  </a:cubicBezTo>
                  <a:cubicBezTo>
                    <a:pt x="120" y="137"/>
                    <a:pt x="120" y="137"/>
                    <a:pt x="120" y="137"/>
                  </a:cubicBezTo>
                  <a:cubicBezTo>
                    <a:pt x="122" y="139"/>
                    <a:pt x="123" y="141"/>
                    <a:pt x="125" y="142"/>
                  </a:cubicBezTo>
                  <a:cubicBezTo>
                    <a:pt x="125" y="142"/>
                    <a:pt x="126" y="143"/>
                    <a:pt x="126" y="143"/>
                  </a:cubicBezTo>
                  <a:cubicBezTo>
                    <a:pt x="127" y="143"/>
                    <a:pt x="128" y="143"/>
                    <a:pt x="129" y="143"/>
                  </a:cubicBezTo>
                  <a:cubicBezTo>
                    <a:pt x="131" y="143"/>
                    <a:pt x="132" y="142"/>
                    <a:pt x="134" y="142"/>
                  </a:cubicBezTo>
                  <a:cubicBezTo>
                    <a:pt x="134" y="90"/>
                    <a:pt x="134" y="90"/>
                    <a:pt x="134" y="90"/>
                  </a:cubicBezTo>
                  <a:cubicBezTo>
                    <a:pt x="134" y="74"/>
                    <a:pt x="134" y="58"/>
                    <a:pt x="134" y="42"/>
                  </a:cubicBezTo>
                  <a:cubicBezTo>
                    <a:pt x="134" y="41"/>
                    <a:pt x="134" y="41"/>
                    <a:pt x="134" y="41"/>
                  </a:cubicBezTo>
                  <a:cubicBezTo>
                    <a:pt x="134" y="39"/>
                    <a:pt x="135" y="37"/>
                    <a:pt x="138" y="37"/>
                  </a:cubicBezTo>
                  <a:cubicBezTo>
                    <a:pt x="140" y="36"/>
                    <a:pt x="142" y="35"/>
                    <a:pt x="144" y="35"/>
                  </a:cubicBezTo>
                  <a:cubicBezTo>
                    <a:pt x="145" y="35"/>
                    <a:pt x="146" y="35"/>
                    <a:pt x="146" y="34"/>
                  </a:cubicBezTo>
                  <a:cubicBezTo>
                    <a:pt x="156" y="32"/>
                    <a:pt x="167" y="29"/>
                    <a:pt x="177" y="26"/>
                  </a:cubicBezTo>
                  <a:cubicBezTo>
                    <a:pt x="187" y="23"/>
                    <a:pt x="187" y="23"/>
                    <a:pt x="187" y="23"/>
                  </a:cubicBezTo>
                  <a:cubicBezTo>
                    <a:pt x="189" y="23"/>
                    <a:pt x="191" y="22"/>
                    <a:pt x="193" y="22"/>
                  </a:cubicBezTo>
                  <a:cubicBezTo>
                    <a:pt x="195" y="21"/>
                    <a:pt x="195" y="21"/>
                    <a:pt x="195" y="21"/>
                  </a:cubicBezTo>
                  <a:cubicBezTo>
                    <a:pt x="196" y="21"/>
                    <a:pt x="196" y="21"/>
                    <a:pt x="196" y="21"/>
                  </a:cubicBezTo>
                  <a:cubicBezTo>
                    <a:pt x="197" y="21"/>
                    <a:pt x="198" y="21"/>
                    <a:pt x="199" y="22"/>
                  </a:cubicBezTo>
                  <a:cubicBezTo>
                    <a:pt x="199" y="20"/>
                    <a:pt x="199" y="19"/>
                    <a:pt x="200" y="17"/>
                  </a:cubicBezTo>
                  <a:cubicBezTo>
                    <a:pt x="201" y="16"/>
                    <a:pt x="203" y="15"/>
                    <a:pt x="204" y="14"/>
                  </a:cubicBezTo>
                  <a:cubicBezTo>
                    <a:pt x="204" y="14"/>
                    <a:pt x="204" y="14"/>
                    <a:pt x="205" y="14"/>
                  </a:cubicBezTo>
                  <a:cubicBezTo>
                    <a:pt x="205" y="14"/>
                    <a:pt x="206" y="14"/>
                    <a:pt x="206" y="14"/>
                  </a:cubicBezTo>
                  <a:cubicBezTo>
                    <a:pt x="206" y="14"/>
                    <a:pt x="206" y="14"/>
                    <a:pt x="206" y="14"/>
                  </a:cubicBezTo>
                  <a:cubicBezTo>
                    <a:pt x="207" y="14"/>
                    <a:pt x="207" y="14"/>
                    <a:pt x="207" y="14"/>
                  </a:cubicBezTo>
                  <a:cubicBezTo>
                    <a:pt x="207" y="14"/>
                    <a:pt x="207" y="14"/>
                    <a:pt x="207" y="14"/>
                  </a:cubicBezTo>
                  <a:cubicBezTo>
                    <a:pt x="207" y="14"/>
                    <a:pt x="207" y="14"/>
                    <a:pt x="207" y="14"/>
                  </a:cubicBezTo>
                  <a:cubicBezTo>
                    <a:pt x="207" y="13"/>
                    <a:pt x="207" y="13"/>
                    <a:pt x="207" y="13"/>
                  </a:cubicBezTo>
                  <a:cubicBezTo>
                    <a:pt x="208" y="14"/>
                    <a:pt x="208" y="14"/>
                    <a:pt x="209" y="14"/>
                  </a:cubicBezTo>
                  <a:cubicBezTo>
                    <a:pt x="209" y="14"/>
                    <a:pt x="209" y="14"/>
                    <a:pt x="209" y="14"/>
                  </a:cubicBezTo>
                  <a:cubicBezTo>
                    <a:pt x="209" y="14"/>
                    <a:pt x="209" y="14"/>
                    <a:pt x="209" y="14"/>
                  </a:cubicBezTo>
                  <a:cubicBezTo>
                    <a:pt x="210" y="14"/>
                    <a:pt x="210" y="14"/>
                    <a:pt x="210" y="14"/>
                  </a:cubicBezTo>
                  <a:cubicBezTo>
                    <a:pt x="211" y="14"/>
                    <a:pt x="211" y="14"/>
                    <a:pt x="211" y="14"/>
                  </a:cubicBezTo>
                  <a:cubicBezTo>
                    <a:pt x="211" y="14"/>
                    <a:pt x="211" y="14"/>
                    <a:pt x="212" y="14"/>
                  </a:cubicBezTo>
                  <a:cubicBezTo>
                    <a:pt x="212" y="14"/>
                    <a:pt x="213" y="12"/>
                    <a:pt x="214" y="12"/>
                  </a:cubicBezTo>
                  <a:cubicBezTo>
                    <a:pt x="214" y="12"/>
                    <a:pt x="214" y="12"/>
                    <a:pt x="214" y="12"/>
                  </a:cubicBezTo>
                  <a:cubicBezTo>
                    <a:pt x="217" y="12"/>
                    <a:pt x="214" y="15"/>
                    <a:pt x="213" y="16"/>
                  </a:cubicBezTo>
                  <a:cubicBezTo>
                    <a:pt x="213" y="18"/>
                    <a:pt x="212" y="20"/>
                    <a:pt x="214" y="21"/>
                  </a:cubicBezTo>
                  <a:cubicBezTo>
                    <a:pt x="214" y="21"/>
                    <a:pt x="214" y="21"/>
                    <a:pt x="214" y="21"/>
                  </a:cubicBezTo>
                  <a:cubicBezTo>
                    <a:pt x="214" y="21"/>
                    <a:pt x="215" y="21"/>
                    <a:pt x="215" y="20"/>
                  </a:cubicBezTo>
                  <a:cubicBezTo>
                    <a:pt x="216" y="20"/>
                    <a:pt x="216" y="20"/>
                    <a:pt x="217" y="20"/>
                  </a:cubicBezTo>
                  <a:cubicBezTo>
                    <a:pt x="217" y="20"/>
                    <a:pt x="218" y="20"/>
                    <a:pt x="217" y="22"/>
                  </a:cubicBezTo>
                  <a:cubicBezTo>
                    <a:pt x="218" y="21"/>
                    <a:pt x="219" y="20"/>
                    <a:pt x="220" y="19"/>
                  </a:cubicBezTo>
                  <a:cubicBezTo>
                    <a:pt x="220" y="19"/>
                    <a:pt x="220" y="19"/>
                    <a:pt x="220" y="19"/>
                  </a:cubicBezTo>
                  <a:cubicBezTo>
                    <a:pt x="221" y="19"/>
                    <a:pt x="222" y="20"/>
                    <a:pt x="222" y="20"/>
                  </a:cubicBezTo>
                  <a:cubicBezTo>
                    <a:pt x="223" y="19"/>
                    <a:pt x="222" y="18"/>
                    <a:pt x="222" y="17"/>
                  </a:cubicBezTo>
                  <a:cubicBezTo>
                    <a:pt x="222" y="16"/>
                    <a:pt x="223" y="15"/>
                    <a:pt x="224" y="14"/>
                  </a:cubicBezTo>
                  <a:cubicBezTo>
                    <a:pt x="225" y="11"/>
                    <a:pt x="224" y="10"/>
                    <a:pt x="223" y="7"/>
                  </a:cubicBezTo>
                  <a:cubicBezTo>
                    <a:pt x="222" y="6"/>
                    <a:pt x="221" y="5"/>
                    <a:pt x="220" y="4"/>
                  </a:cubicBezTo>
                  <a:cubicBezTo>
                    <a:pt x="220" y="3"/>
                    <a:pt x="220" y="3"/>
                    <a:pt x="220" y="3"/>
                  </a:cubicBezTo>
                  <a:cubicBezTo>
                    <a:pt x="220" y="3"/>
                    <a:pt x="220" y="3"/>
                    <a:pt x="220" y="3"/>
                  </a:cubicBezTo>
                  <a:cubicBezTo>
                    <a:pt x="220" y="3"/>
                    <a:pt x="221" y="3"/>
                    <a:pt x="221" y="3"/>
                  </a:cubicBezTo>
                  <a:cubicBezTo>
                    <a:pt x="221" y="3"/>
                    <a:pt x="221" y="3"/>
                    <a:pt x="221" y="3"/>
                  </a:cubicBezTo>
                  <a:cubicBezTo>
                    <a:pt x="222" y="3"/>
                    <a:pt x="223" y="3"/>
                    <a:pt x="223" y="3"/>
                  </a:cubicBezTo>
                  <a:cubicBezTo>
                    <a:pt x="225" y="3"/>
                    <a:pt x="226" y="4"/>
                    <a:pt x="226" y="6"/>
                  </a:cubicBezTo>
                  <a:cubicBezTo>
                    <a:pt x="227" y="6"/>
                    <a:pt x="227" y="8"/>
                    <a:pt x="226" y="9"/>
                  </a:cubicBezTo>
                  <a:cubicBezTo>
                    <a:pt x="226" y="10"/>
                    <a:pt x="223" y="10"/>
                    <a:pt x="225" y="11"/>
                  </a:cubicBezTo>
                  <a:cubicBezTo>
                    <a:pt x="226" y="12"/>
                    <a:pt x="226" y="12"/>
                    <a:pt x="226" y="12"/>
                  </a:cubicBezTo>
                  <a:cubicBezTo>
                    <a:pt x="227" y="12"/>
                    <a:pt x="229" y="10"/>
                    <a:pt x="229" y="10"/>
                  </a:cubicBezTo>
                  <a:cubicBezTo>
                    <a:pt x="230" y="10"/>
                    <a:pt x="230" y="10"/>
                    <a:pt x="231" y="10"/>
                  </a:cubicBezTo>
                  <a:cubicBezTo>
                    <a:pt x="231" y="10"/>
                    <a:pt x="231" y="10"/>
                    <a:pt x="232" y="10"/>
                  </a:cubicBezTo>
                  <a:cubicBezTo>
                    <a:pt x="232" y="10"/>
                    <a:pt x="232" y="10"/>
                    <a:pt x="233" y="10"/>
                  </a:cubicBezTo>
                  <a:cubicBezTo>
                    <a:pt x="233" y="10"/>
                    <a:pt x="233" y="10"/>
                    <a:pt x="233" y="10"/>
                  </a:cubicBezTo>
                  <a:cubicBezTo>
                    <a:pt x="235" y="10"/>
                    <a:pt x="236" y="9"/>
                    <a:pt x="238" y="9"/>
                  </a:cubicBezTo>
                  <a:cubicBezTo>
                    <a:pt x="238" y="9"/>
                    <a:pt x="239" y="9"/>
                    <a:pt x="239" y="10"/>
                  </a:cubicBezTo>
                  <a:cubicBezTo>
                    <a:pt x="242" y="10"/>
                    <a:pt x="246" y="10"/>
                    <a:pt x="248" y="11"/>
                  </a:cubicBezTo>
                  <a:cubicBezTo>
                    <a:pt x="247" y="13"/>
                    <a:pt x="245" y="12"/>
                    <a:pt x="243" y="14"/>
                  </a:cubicBezTo>
                  <a:cubicBezTo>
                    <a:pt x="242" y="16"/>
                    <a:pt x="242" y="16"/>
                    <a:pt x="241" y="16"/>
                  </a:cubicBezTo>
                  <a:cubicBezTo>
                    <a:pt x="240" y="16"/>
                    <a:pt x="240" y="16"/>
                    <a:pt x="239" y="16"/>
                  </a:cubicBezTo>
                  <a:cubicBezTo>
                    <a:pt x="237" y="16"/>
                    <a:pt x="235" y="15"/>
                    <a:pt x="233" y="15"/>
                  </a:cubicBezTo>
                  <a:cubicBezTo>
                    <a:pt x="232" y="15"/>
                    <a:pt x="231" y="15"/>
                    <a:pt x="229" y="15"/>
                  </a:cubicBezTo>
                  <a:cubicBezTo>
                    <a:pt x="229" y="15"/>
                    <a:pt x="228" y="15"/>
                    <a:pt x="228" y="15"/>
                  </a:cubicBezTo>
                  <a:cubicBezTo>
                    <a:pt x="229" y="14"/>
                    <a:pt x="229" y="14"/>
                    <a:pt x="229" y="14"/>
                  </a:cubicBezTo>
                  <a:cubicBezTo>
                    <a:pt x="228" y="14"/>
                    <a:pt x="227" y="14"/>
                    <a:pt x="226" y="14"/>
                  </a:cubicBezTo>
                  <a:cubicBezTo>
                    <a:pt x="226" y="14"/>
                    <a:pt x="226" y="14"/>
                    <a:pt x="226" y="14"/>
                  </a:cubicBezTo>
                  <a:cubicBezTo>
                    <a:pt x="227" y="14"/>
                    <a:pt x="227" y="15"/>
                    <a:pt x="226" y="16"/>
                  </a:cubicBezTo>
                  <a:cubicBezTo>
                    <a:pt x="227" y="16"/>
                    <a:pt x="227" y="16"/>
                    <a:pt x="228" y="17"/>
                  </a:cubicBezTo>
                  <a:cubicBezTo>
                    <a:pt x="227" y="17"/>
                    <a:pt x="225" y="17"/>
                    <a:pt x="225" y="17"/>
                  </a:cubicBezTo>
                  <a:cubicBezTo>
                    <a:pt x="225" y="17"/>
                    <a:pt x="228" y="18"/>
                    <a:pt x="225" y="19"/>
                  </a:cubicBezTo>
                  <a:cubicBezTo>
                    <a:pt x="227" y="20"/>
                    <a:pt x="222" y="23"/>
                    <a:pt x="225" y="25"/>
                  </a:cubicBezTo>
                  <a:cubicBezTo>
                    <a:pt x="226" y="25"/>
                    <a:pt x="226" y="25"/>
                    <a:pt x="227" y="25"/>
                  </a:cubicBezTo>
                  <a:cubicBezTo>
                    <a:pt x="227" y="25"/>
                    <a:pt x="228" y="25"/>
                    <a:pt x="229" y="25"/>
                  </a:cubicBezTo>
                  <a:cubicBezTo>
                    <a:pt x="229" y="25"/>
                    <a:pt x="230" y="24"/>
                    <a:pt x="231" y="24"/>
                  </a:cubicBezTo>
                  <a:cubicBezTo>
                    <a:pt x="232" y="24"/>
                    <a:pt x="233" y="25"/>
                    <a:pt x="233" y="26"/>
                  </a:cubicBezTo>
                  <a:cubicBezTo>
                    <a:pt x="235" y="30"/>
                    <a:pt x="234" y="37"/>
                    <a:pt x="234" y="41"/>
                  </a:cubicBezTo>
                  <a:cubicBezTo>
                    <a:pt x="236" y="42"/>
                    <a:pt x="236" y="42"/>
                    <a:pt x="236" y="42"/>
                  </a:cubicBezTo>
                  <a:cubicBezTo>
                    <a:pt x="236" y="43"/>
                    <a:pt x="238" y="43"/>
                    <a:pt x="239" y="44"/>
                  </a:cubicBezTo>
                  <a:cubicBezTo>
                    <a:pt x="249" y="50"/>
                    <a:pt x="257" y="55"/>
                    <a:pt x="260" y="59"/>
                  </a:cubicBezTo>
                  <a:cubicBezTo>
                    <a:pt x="262" y="62"/>
                    <a:pt x="266" y="67"/>
                    <a:pt x="266" y="67"/>
                  </a:cubicBezTo>
                  <a:cubicBezTo>
                    <a:pt x="269" y="70"/>
                    <a:pt x="272" y="73"/>
                    <a:pt x="274" y="76"/>
                  </a:cubicBezTo>
                  <a:cubicBezTo>
                    <a:pt x="275" y="76"/>
                    <a:pt x="275" y="77"/>
                    <a:pt x="276" y="77"/>
                  </a:cubicBezTo>
                  <a:cubicBezTo>
                    <a:pt x="277" y="78"/>
                    <a:pt x="277" y="78"/>
                    <a:pt x="277" y="78"/>
                  </a:cubicBezTo>
                  <a:cubicBezTo>
                    <a:pt x="277" y="78"/>
                    <a:pt x="278" y="79"/>
                    <a:pt x="278" y="80"/>
                  </a:cubicBezTo>
                  <a:cubicBezTo>
                    <a:pt x="279" y="80"/>
                    <a:pt x="279" y="80"/>
                    <a:pt x="280" y="80"/>
                  </a:cubicBezTo>
                  <a:cubicBezTo>
                    <a:pt x="280" y="81"/>
                    <a:pt x="281" y="81"/>
                    <a:pt x="281" y="81"/>
                  </a:cubicBezTo>
                  <a:cubicBezTo>
                    <a:pt x="281" y="81"/>
                    <a:pt x="281" y="81"/>
                    <a:pt x="281" y="81"/>
                  </a:cubicBezTo>
                  <a:cubicBezTo>
                    <a:pt x="285" y="80"/>
                    <a:pt x="288" y="80"/>
                    <a:pt x="292" y="79"/>
                  </a:cubicBezTo>
                  <a:cubicBezTo>
                    <a:pt x="296" y="78"/>
                    <a:pt x="301" y="77"/>
                    <a:pt x="306" y="77"/>
                  </a:cubicBezTo>
                  <a:cubicBezTo>
                    <a:pt x="307" y="77"/>
                    <a:pt x="308" y="77"/>
                    <a:pt x="310" y="77"/>
                  </a:cubicBezTo>
                  <a:cubicBezTo>
                    <a:pt x="313" y="77"/>
                    <a:pt x="317" y="77"/>
                    <a:pt x="320" y="77"/>
                  </a:cubicBezTo>
                  <a:cubicBezTo>
                    <a:pt x="321" y="77"/>
                    <a:pt x="321" y="77"/>
                    <a:pt x="321" y="77"/>
                  </a:cubicBezTo>
                  <a:cubicBezTo>
                    <a:pt x="324" y="78"/>
                    <a:pt x="326" y="78"/>
                    <a:pt x="328" y="78"/>
                  </a:cubicBezTo>
                  <a:cubicBezTo>
                    <a:pt x="335" y="78"/>
                    <a:pt x="335" y="78"/>
                    <a:pt x="335" y="78"/>
                  </a:cubicBezTo>
                  <a:cubicBezTo>
                    <a:pt x="337" y="78"/>
                    <a:pt x="338" y="78"/>
                    <a:pt x="339" y="77"/>
                  </a:cubicBezTo>
                  <a:cubicBezTo>
                    <a:pt x="340" y="77"/>
                    <a:pt x="340" y="77"/>
                    <a:pt x="340" y="77"/>
                  </a:cubicBezTo>
                  <a:cubicBezTo>
                    <a:pt x="341" y="76"/>
                    <a:pt x="341" y="76"/>
                    <a:pt x="341" y="76"/>
                  </a:cubicBezTo>
                  <a:cubicBezTo>
                    <a:pt x="343" y="75"/>
                    <a:pt x="345" y="74"/>
                    <a:pt x="347" y="74"/>
                  </a:cubicBezTo>
                  <a:cubicBezTo>
                    <a:pt x="347" y="74"/>
                    <a:pt x="347" y="74"/>
                    <a:pt x="347" y="74"/>
                  </a:cubicBezTo>
                  <a:cubicBezTo>
                    <a:pt x="349" y="74"/>
                    <a:pt x="350" y="75"/>
                    <a:pt x="351" y="77"/>
                  </a:cubicBezTo>
                  <a:cubicBezTo>
                    <a:pt x="352" y="78"/>
                    <a:pt x="354" y="79"/>
                    <a:pt x="355" y="81"/>
                  </a:cubicBezTo>
                  <a:cubicBezTo>
                    <a:pt x="358" y="83"/>
                    <a:pt x="358" y="83"/>
                    <a:pt x="358" y="83"/>
                  </a:cubicBezTo>
                  <a:cubicBezTo>
                    <a:pt x="358" y="83"/>
                    <a:pt x="358" y="83"/>
                    <a:pt x="358" y="83"/>
                  </a:cubicBezTo>
                  <a:cubicBezTo>
                    <a:pt x="360" y="85"/>
                    <a:pt x="360" y="85"/>
                    <a:pt x="360" y="85"/>
                  </a:cubicBezTo>
                  <a:cubicBezTo>
                    <a:pt x="362" y="87"/>
                    <a:pt x="365" y="89"/>
                    <a:pt x="367" y="92"/>
                  </a:cubicBezTo>
                  <a:cubicBezTo>
                    <a:pt x="369" y="94"/>
                    <a:pt x="369" y="94"/>
                    <a:pt x="369" y="94"/>
                  </a:cubicBezTo>
                  <a:cubicBezTo>
                    <a:pt x="369" y="95"/>
                    <a:pt x="370" y="95"/>
                    <a:pt x="370" y="95"/>
                  </a:cubicBezTo>
                  <a:cubicBezTo>
                    <a:pt x="370" y="96"/>
                    <a:pt x="371" y="96"/>
                    <a:pt x="371" y="97"/>
                  </a:cubicBezTo>
                  <a:cubicBezTo>
                    <a:pt x="373" y="96"/>
                    <a:pt x="373" y="96"/>
                    <a:pt x="373" y="96"/>
                  </a:cubicBezTo>
                  <a:cubicBezTo>
                    <a:pt x="374" y="96"/>
                    <a:pt x="374" y="96"/>
                    <a:pt x="375" y="96"/>
                  </a:cubicBezTo>
                  <a:cubicBezTo>
                    <a:pt x="376" y="96"/>
                    <a:pt x="377" y="96"/>
                    <a:pt x="377" y="97"/>
                  </a:cubicBezTo>
                  <a:cubicBezTo>
                    <a:pt x="379" y="98"/>
                    <a:pt x="379" y="101"/>
                    <a:pt x="378" y="106"/>
                  </a:cubicBezTo>
                  <a:cubicBezTo>
                    <a:pt x="378" y="106"/>
                    <a:pt x="378" y="106"/>
                    <a:pt x="378" y="106"/>
                  </a:cubicBezTo>
                  <a:cubicBezTo>
                    <a:pt x="378" y="108"/>
                    <a:pt x="377" y="110"/>
                    <a:pt x="377" y="111"/>
                  </a:cubicBezTo>
                  <a:cubicBezTo>
                    <a:pt x="377" y="113"/>
                    <a:pt x="377" y="115"/>
                    <a:pt x="377" y="117"/>
                  </a:cubicBezTo>
                  <a:cubicBezTo>
                    <a:pt x="377" y="117"/>
                    <a:pt x="376" y="118"/>
                    <a:pt x="376" y="119"/>
                  </a:cubicBezTo>
                  <a:cubicBezTo>
                    <a:pt x="376" y="119"/>
                    <a:pt x="376" y="119"/>
                    <a:pt x="376" y="119"/>
                  </a:cubicBezTo>
                  <a:cubicBezTo>
                    <a:pt x="376" y="120"/>
                    <a:pt x="376" y="121"/>
                    <a:pt x="376" y="121"/>
                  </a:cubicBezTo>
                  <a:cubicBezTo>
                    <a:pt x="376" y="122"/>
                    <a:pt x="376" y="123"/>
                    <a:pt x="376" y="123"/>
                  </a:cubicBezTo>
                  <a:cubicBezTo>
                    <a:pt x="377" y="123"/>
                    <a:pt x="377" y="123"/>
                    <a:pt x="377" y="123"/>
                  </a:cubicBezTo>
                  <a:cubicBezTo>
                    <a:pt x="377" y="123"/>
                    <a:pt x="377" y="123"/>
                    <a:pt x="377" y="123"/>
                  </a:cubicBezTo>
                  <a:cubicBezTo>
                    <a:pt x="377" y="123"/>
                    <a:pt x="378" y="123"/>
                    <a:pt x="378" y="123"/>
                  </a:cubicBezTo>
                  <a:cubicBezTo>
                    <a:pt x="379" y="123"/>
                    <a:pt x="379" y="123"/>
                    <a:pt x="379" y="123"/>
                  </a:cubicBezTo>
                  <a:cubicBezTo>
                    <a:pt x="380" y="123"/>
                    <a:pt x="381" y="123"/>
                    <a:pt x="382" y="123"/>
                  </a:cubicBezTo>
                  <a:cubicBezTo>
                    <a:pt x="384" y="123"/>
                    <a:pt x="385" y="123"/>
                    <a:pt x="386" y="124"/>
                  </a:cubicBezTo>
                  <a:cubicBezTo>
                    <a:pt x="387" y="125"/>
                    <a:pt x="388" y="126"/>
                    <a:pt x="388" y="127"/>
                  </a:cubicBezTo>
                  <a:cubicBezTo>
                    <a:pt x="388" y="128"/>
                    <a:pt x="388" y="129"/>
                    <a:pt x="388" y="130"/>
                  </a:cubicBezTo>
                  <a:cubicBezTo>
                    <a:pt x="388" y="130"/>
                    <a:pt x="388" y="130"/>
                    <a:pt x="388" y="130"/>
                  </a:cubicBezTo>
                  <a:cubicBezTo>
                    <a:pt x="388" y="131"/>
                    <a:pt x="388" y="131"/>
                    <a:pt x="388" y="131"/>
                  </a:cubicBezTo>
                  <a:cubicBezTo>
                    <a:pt x="388" y="134"/>
                    <a:pt x="389" y="137"/>
                    <a:pt x="390" y="140"/>
                  </a:cubicBezTo>
                  <a:cubicBezTo>
                    <a:pt x="391" y="143"/>
                    <a:pt x="391" y="143"/>
                    <a:pt x="391" y="143"/>
                  </a:cubicBezTo>
                  <a:cubicBezTo>
                    <a:pt x="391" y="144"/>
                    <a:pt x="391" y="144"/>
                    <a:pt x="391" y="144"/>
                  </a:cubicBezTo>
                  <a:cubicBezTo>
                    <a:pt x="392" y="147"/>
                    <a:pt x="392" y="147"/>
                    <a:pt x="392" y="147"/>
                  </a:cubicBezTo>
                  <a:cubicBezTo>
                    <a:pt x="410" y="146"/>
                    <a:pt x="410" y="146"/>
                    <a:pt x="410" y="146"/>
                  </a:cubicBezTo>
                  <a:cubicBezTo>
                    <a:pt x="411" y="146"/>
                    <a:pt x="411" y="146"/>
                    <a:pt x="412" y="146"/>
                  </a:cubicBezTo>
                  <a:cubicBezTo>
                    <a:pt x="413" y="146"/>
                    <a:pt x="414" y="146"/>
                    <a:pt x="415" y="146"/>
                  </a:cubicBezTo>
                  <a:cubicBezTo>
                    <a:pt x="416" y="146"/>
                    <a:pt x="417" y="146"/>
                    <a:pt x="417" y="146"/>
                  </a:cubicBezTo>
                  <a:cubicBezTo>
                    <a:pt x="417" y="146"/>
                    <a:pt x="417" y="146"/>
                    <a:pt x="417" y="146"/>
                  </a:cubicBezTo>
                  <a:cubicBezTo>
                    <a:pt x="418" y="146"/>
                    <a:pt x="419" y="146"/>
                    <a:pt x="419" y="146"/>
                  </a:cubicBezTo>
                  <a:cubicBezTo>
                    <a:pt x="420" y="147"/>
                    <a:pt x="420" y="147"/>
                    <a:pt x="420" y="147"/>
                  </a:cubicBezTo>
                  <a:cubicBezTo>
                    <a:pt x="420" y="148"/>
                    <a:pt x="420" y="148"/>
                    <a:pt x="420" y="148"/>
                  </a:cubicBezTo>
                  <a:cubicBezTo>
                    <a:pt x="420" y="148"/>
                    <a:pt x="420" y="148"/>
                    <a:pt x="420" y="148"/>
                  </a:cubicBezTo>
                  <a:cubicBezTo>
                    <a:pt x="421" y="148"/>
                    <a:pt x="421" y="148"/>
                    <a:pt x="421" y="148"/>
                  </a:cubicBezTo>
                  <a:cubicBezTo>
                    <a:pt x="421" y="149"/>
                    <a:pt x="421" y="149"/>
                    <a:pt x="421" y="149"/>
                  </a:cubicBezTo>
                  <a:cubicBezTo>
                    <a:pt x="422" y="149"/>
                    <a:pt x="423" y="150"/>
                    <a:pt x="424" y="150"/>
                  </a:cubicBezTo>
                  <a:cubicBezTo>
                    <a:pt x="424" y="151"/>
                    <a:pt x="425" y="151"/>
                    <a:pt x="425" y="153"/>
                  </a:cubicBezTo>
                  <a:cubicBezTo>
                    <a:pt x="425" y="154"/>
                    <a:pt x="425" y="154"/>
                    <a:pt x="425" y="154"/>
                  </a:cubicBezTo>
                  <a:cubicBezTo>
                    <a:pt x="426" y="155"/>
                    <a:pt x="425" y="157"/>
                    <a:pt x="424" y="159"/>
                  </a:cubicBezTo>
                  <a:cubicBezTo>
                    <a:pt x="426" y="160"/>
                    <a:pt x="428" y="161"/>
                    <a:pt x="431" y="162"/>
                  </a:cubicBezTo>
                  <a:cubicBezTo>
                    <a:pt x="432" y="162"/>
                    <a:pt x="432" y="162"/>
                    <a:pt x="432" y="162"/>
                  </a:cubicBezTo>
                  <a:cubicBezTo>
                    <a:pt x="432" y="162"/>
                    <a:pt x="432" y="161"/>
                    <a:pt x="432" y="160"/>
                  </a:cubicBezTo>
                  <a:cubicBezTo>
                    <a:pt x="432" y="158"/>
                    <a:pt x="432" y="158"/>
                    <a:pt x="432" y="158"/>
                  </a:cubicBezTo>
                  <a:cubicBezTo>
                    <a:pt x="432" y="153"/>
                    <a:pt x="435" y="150"/>
                    <a:pt x="438" y="148"/>
                  </a:cubicBezTo>
                  <a:cubicBezTo>
                    <a:pt x="439" y="148"/>
                    <a:pt x="440" y="148"/>
                    <a:pt x="440" y="147"/>
                  </a:cubicBezTo>
                  <a:cubicBezTo>
                    <a:pt x="441" y="147"/>
                    <a:pt x="441" y="147"/>
                    <a:pt x="441" y="147"/>
                  </a:cubicBezTo>
                  <a:cubicBezTo>
                    <a:pt x="442" y="146"/>
                    <a:pt x="442" y="146"/>
                    <a:pt x="442" y="146"/>
                  </a:cubicBezTo>
                  <a:cubicBezTo>
                    <a:pt x="442" y="145"/>
                    <a:pt x="442" y="145"/>
                    <a:pt x="442" y="145"/>
                  </a:cubicBezTo>
                  <a:cubicBezTo>
                    <a:pt x="443" y="144"/>
                    <a:pt x="445" y="143"/>
                    <a:pt x="446" y="142"/>
                  </a:cubicBezTo>
                  <a:cubicBezTo>
                    <a:pt x="446" y="142"/>
                    <a:pt x="446" y="142"/>
                    <a:pt x="446" y="142"/>
                  </a:cubicBezTo>
                  <a:cubicBezTo>
                    <a:pt x="447" y="141"/>
                    <a:pt x="447" y="141"/>
                    <a:pt x="447" y="141"/>
                  </a:cubicBezTo>
                  <a:cubicBezTo>
                    <a:pt x="450" y="139"/>
                    <a:pt x="452" y="138"/>
                    <a:pt x="454" y="136"/>
                  </a:cubicBezTo>
                  <a:cubicBezTo>
                    <a:pt x="457" y="134"/>
                    <a:pt x="460" y="132"/>
                    <a:pt x="464" y="130"/>
                  </a:cubicBezTo>
                  <a:cubicBezTo>
                    <a:pt x="485" y="118"/>
                    <a:pt x="485" y="118"/>
                    <a:pt x="485" y="118"/>
                  </a:cubicBezTo>
                  <a:cubicBezTo>
                    <a:pt x="484" y="117"/>
                    <a:pt x="485" y="117"/>
                    <a:pt x="485" y="116"/>
                  </a:cubicBezTo>
                  <a:cubicBezTo>
                    <a:pt x="485" y="115"/>
                    <a:pt x="486" y="114"/>
                    <a:pt x="487" y="113"/>
                  </a:cubicBezTo>
                  <a:cubicBezTo>
                    <a:pt x="487" y="112"/>
                    <a:pt x="489" y="111"/>
                    <a:pt x="490" y="110"/>
                  </a:cubicBezTo>
                  <a:cubicBezTo>
                    <a:pt x="491" y="108"/>
                    <a:pt x="491" y="108"/>
                    <a:pt x="491" y="108"/>
                  </a:cubicBezTo>
                  <a:cubicBezTo>
                    <a:pt x="492" y="108"/>
                    <a:pt x="492" y="108"/>
                    <a:pt x="492" y="107"/>
                  </a:cubicBezTo>
                  <a:cubicBezTo>
                    <a:pt x="493" y="106"/>
                    <a:pt x="494" y="104"/>
                    <a:pt x="496" y="103"/>
                  </a:cubicBezTo>
                  <a:cubicBezTo>
                    <a:pt x="496" y="103"/>
                    <a:pt x="497" y="103"/>
                    <a:pt x="497" y="102"/>
                  </a:cubicBezTo>
                  <a:cubicBezTo>
                    <a:pt x="498" y="102"/>
                    <a:pt x="499" y="102"/>
                    <a:pt x="500" y="102"/>
                  </a:cubicBezTo>
                  <a:cubicBezTo>
                    <a:pt x="501" y="102"/>
                    <a:pt x="502" y="102"/>
                    <a:pt x="502" y="102"/>
                  </a:cubicBezTo>
                  <a:cubicBezTo>
                    <a:pt x="503" y="102"/>
                    <a:pt x="503" y="102"/>
                    <a:pt x="503" y="102"/>
                  </a:cubicBezTo>
                  <a:cubicBezTo>
                    <a:pt x="504" y="102"/>
                    <a:pt x="504" y="102"/>
                    <a:pt x="504" y="102"/>
                  </a:cubicBezTo>
                  <a:cubicBezTo>
                    <a:pt x="516" y="102"/>
                    <a:pt x="516" y="102"/>
                    <a:pt x="516" y="102"/>
                  </a:cubicBezTo>
                  <a:cubicBezTo>
                    <a:pt x="516" y="102"/>
                    <a:pt x="516" y="102"/>
                    <a:pt x="516" y="102"/>
                  </a:cubicBezTo>
                  <a:cubicBezTo>
                    <a:pt x="517" y="102"/>
                    <a:pt x="518" y="102"/>
                    <a:pt x="519" y="102"/>
                  </a:cubicBezTo>
                  <a:cubicBezTo>
                    <a:pt x="519" y="0"/>
                    <a:pt x="519" y="0"/>
                    <a:pt x="5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280"/>
            <p:cNvSpPr/>
            <p:nvPr/>
          </p:nvSpPr>
          <p:spPr bwMode="auto">
            <a:xfrm>
              <a:off x="7454" y="1136"/>
              <a:ext cx="224" cy="449"/>
            </a:xfrm>
            <a:custGeom>
              <a:gdLst>
                <a:gd name="T0" fmla="*/ 82 w 95"/>
                <a:gd name="T1" fmla="*/ 14 h 190"/>
                <a:gd name="T2" fmla="*/ 74 w 95"/>
                <a:gd name="T3" fmla="*/ 15 h 190"/>
                <a:gd name="T4" fmla="*/ 72 w 95"/>
                <a:gd name="T5" fmla="*/ 15 h 190"/>
                <a:gd name="T6" fmla="*/ 63 w 95"/>
                <a:gd name="T7" fmla="*/ 18 h 190"/>
                <a:gd name="T8" fmla="*/ 58 w 95"/>
                <a:gd name="T9" fmla="*/ 16 h 190"/>
                <a:gd name="T10" fmla="*/ 55 w 95"/>
                <a:gd name="T11" fmla="*/ 11 h 190"/>
                <a:gd name="T12" fmla="*/ 53 w 95"/>
                <a:gd name="T13" fmla="*/ 10 h 190"/>
                <a:gd name="T14" fmla="*/ 51 w 95"/>
                <a:gd name="T15" fmla="*/ 12 h 190"/>
                <a:gd name="T16" fmla="*/ 48 w 95"/>
                <a:gd name="T17" fmla="*/ 15 h 190"/>
                <a:gd name="T18" fmla="*/ 46 w 95"/>
                <a:gd name="T19" fmla="*/ 18 h 190"/>
                <a:gd name="T20" fmla="*/ 33 w 95"/>
                <a:gd name="T21" fmla="*/ 38 h 190"/>
                <a:gd name="T22" fmla="*/ 38 w 95"/>
                <a:gd name="T23" fmla="*/ 41 h 190"/>
                <a:gd name="T24" fmla="*/ 47 w 95"/>
                <a:gd name="T25" fmla="*/ 42 h 190"/>
                <a:gd name="T26" fmla="*/ 49 w 95"/>
                <a:gd name="T27" fmla="*/ 57 h 190"/>
                <a:gd name="T28" fmla="*/ 51 w 95"/>
                <a:gd name="T29" fmla="*/ 63 h 190"/>
                <a:gd name="T30" fmla="*/ 53 w 95"/>
                <a:gd name="T31" fmla="*/ 64 h 190"/>
                <a:gd name="T32" fmla="*/ 54 w 95"/>
                <a:gd name="T33" fmla="*/ 64 h 190"/>
                <a:gd name="T34" fmla="*/ 57 w 95"/>
                <a:gd name="T35" fmla="*/ 63 h 190"/>
                <a:gd name="T36" fmla="*/ 63 w 95"/>
                <a:gd name="T37" fmla="*/ 74 h 190"/>
                <a:gd name="T38" fmla="*/ 64 w 95"/>
                <a:gd name="T39" fmla="*/ 77 h 190"/>
                <a:gd name="T40" fmla="*/ 69 w 95"/>
                <a:gd name="T41" fmla="*/ 94 h 190"/>
                <a:gd name="T42" fmla="*/ 70 w 95"/>
                <a:gd name="T43" fmla="*/ 96 h 190"/>
                <a:gd name="T44" fmla="*/ 69 w 95"/>
                <a:gd name="T45" fmla="*/ 101 h 190"/>
                <a:gd name="T46" fmla="*/ 65 w 95"/>
                <a:gd name="T47" fmla="*/ 103 h 190"/>
                <a:gd name="T48" fmla="*/ 64 w 95"/>
                <a:gd name="T49" fmla="*/ 105 h 190"/>
                <a:gd name="T50" fmla="*/ 55 w 95"/>
                <a:gd name="T51" fmla="*/ 103 h 190"/>
                <a:gd name="T52" fmla="*/ 54 w 95"/>
                <a:gd name="T53" fmla="*/ 102 h 190"/>
                <a:gd name="T54" fmla="*/ 47 w 95"/>
                <a:gd name="T55" fmla="*/ 104 h 190"/>
                <a:gd name="T56" fmla="*/ 41 w 95"/>
                <a:gd name="T57" fmla="*/ 107 h 190"/>
                <a:gd name="T58" fmla="*/ 34 w 95"/>
                <a:gd name="T59" fmla="*/ 106 h 190"/>
                <a:gd name="T60" fmla="*/ 16 w 95"/>
                <a:gd name="T61" fmla="*/ 108 h 190"/>
                <a:gd name="T62" fmla="*/ 15 w 95"/>
                <a:gd name="T63" fmla="*/ 111 h 190"/>
                <a:gd name="T64" fmla="*/ 10 w 95"/>
                <a:gd name="T65" fmla="*/ 113 h 190"/>
                <a:gd name="T66" fmla="*/ 0 w 95"/>
                <a:gd name="T67" fmla="*/ 119 h 190"/>
                <a:gd name="T68" fmla="*/ 14 w 95"/>
                <a:gd name="T69" fmla="*/ 113 h 190"/>
                <a:gd name="T70" fmla="*/ 9 w 95"/>
                <a:gd name="T71" fmla="*/ 115 h 190"/>
                <a:gd name="T72" fmla="*/ 6 w 95"/>
                <a:gd name="T73" fmla="*/ 119 h 190"/>
                <a:gd name="T74" fmla="*/ 13 w 95"/>
                <a:gd name="T75" fmla="*/ 131 h 190"/>
                <a:gd name="T76" fmla="*/ 25 w 95"/>
                <a:gd name="T77" fmla="*/ 138 h 190"/>
                <a:gd name="T78" fmla="*/ 34 w 95"/>
                <a:gd name="T79" fmla="*/ 140 h 190"/>
                <a:gd name="T80" fmla="*/ 45 w 95"/>
                <a:gd name="T81" fmla="*/ 135 h 190"/>
                <a:gd name="T82" fmla="*/ 51 w 95"/>
                <a:gd name="T83" fmla="*/ 135 h 190"/>
                <a:gd name="T84" fmla="*/ 46 w 95"/>
                <a:gd name="T85" fmla="*/ 145 h 190"/>
                <a:gd name="T86" fmla="*/ 31 w 95"/>
                <a:gd name="T87" fmla="*/ 150 h 190"/>
                <a:gd name="T88" fmla="*/ 23 w 95"/>
                <a:gd name="T89" fmla="*/ 149 h 190"/>
                <a:gd name="T90" fmla="*/ 20 w 95"/>
                <a:gd name="T91" fmla="*/ 155 h 190"/>
                <a:gd name="T92" fmla="*/ 27 w 95"/>
                <a:gd name="T93" fmla="*/ 162 h 190"/>
                <a:gd name="T94" fmla="*/ 41 w 95"/>
                <a:gd name="T95" fmla="*/ 175 h 190"/>
                <a:gd name="T96" fmla="*/ 50 w 95"/>
                <a:gd name="T97" fmla="*/ 185 h 190"/>
                <a:gd name="T98" fmla="*/ 64 w 95"/>
                <a:gd name="T99" fmla="*/ 190 h 190"/>
                <a:gd name="T100" fmla="*/ 76 w 95"/>
                <a:gd name="T101" fmla="*/ 185 h 190"/>
                <a:gd name="T102" fmla="*/ 95 w 95"/>
                <a:gd name="T103" fmla="*/ 172 h 190"/>
                <a:gd name="T104" fmla="*/ 89 w 95"/>
                <a:gd name="T105" fmla="*/ 162 h 190"/>
                <a:gd name="T106" fmla="*/ 93 w 95"/>
                <a:gd name="T107" fmla="*/ 162 h 190"/>
                <a:gd name="T108" fmla="*/ 95 w 95"/>
                <a:gd name="T109" fmla="*/ 157 h 190"/>
                <a:gd name="T110" fmla="*/ 93 w 95"/>
                <a:gd name="T111" fmla="*/ 152 h 190"/>
                <a:gd name="T112" fmla="*/ 95 w 95"/>
                <a:gd name="T113" fmla="*/ 0 h 1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 h="190">
                  <a:moveTo>
                    <a:pt x="95" y="0"/>
                  </a:moveTo>
                  <a:cubicBezTo>
                    <a:pt x="85" y="13"/>
                    <a:pt x="85" y="13"/>
                    <a:pt x="85" y="13"/>
                  </a:cubicBezTo>
                  <a:cubicBezTo>
                    <a:pt x="84" y="13"/>
                    <a:pt x="83" y="14"/>
                    <a:pt x="82" y="14"/>
                  </a:cubicBezTo>
                  <a:cubicBezTo>
                    <a:pt x="81" y="14"/>
                    <a:pt x="79" y="15"/>
                    <a:pt x="76" y="15"/>
                  </a:cubicBezTo>
                  <a:cubicBezTo>
                    <a:pt x="76" y="15"/>
                    <a:pt x="76" y="15"/>
                    <a:pt x="76" y="15"/>
                  </a:cubicBezTo>
                  <a:cubicBezTo>
                    <a:pt x="75" y="15"/>
                    <a:pt x="75" y="15"/>
                    <a:pt x="74" y="15"/>
                  </a:cubicBezTo>
                  <a:cubicBezTo>
                    <a:pt x="74" y="15"/>
                    <a:pt x="73" y="15"/>
                    <a:pt x="73" y="15"/>
                  </a:cubicBezTo>
                  <a:cubicBezTo>
                    <a:pt x="72" y="16"/>
                    <a:pt x="72" y="16"/>
                    <a:pt x="72" y="16"/>
                  </a:cubicBezTo>
                  <a:cubicBezTo>
                    <a:pt x="72" y="15"/>
                    <a:pt x="72" y="15"/>
                    <a:pt x="72" y="15"/>
                  </a:cubicBezTo>
                  <a:cubicBezTo>
                    <a:pt x="70" y="16"/>
                    <a:pt x="68" y="16"/>
                    <a:pt x="67" y="17"/>
                  </a:cubicBezTo>
                  <a:cubicBezTo>
                    <a:pt x="66" y="18"/>
                    <a:pt x="66" y="18"/>
                    <a:pt x="66" y="18"/>
                  </a:cubicBezTo>
                  <a:cubicBezTo>
                    <a:pt x="65" y="18"/>
                    <a:pt x="64" y="18"/>
                    <a:pt x="63" y="18"/>
                  </a:cubicBezTo>
                  <a:cubicBezTo>
                    <a:pt x="61" y="18"/>
                    <a:pt x="60" y="18"/>
                    <a:pt x="59" y="17"/>
                  </a:cubicBezTo>
                  <a:cubicBezTo>
                    <a:pt x="59" y="17"/>
                    <a:pt x="59" y="17"/>
                    <a:pt x="59" y="17"/>
                  </a:cubicBezTo>
                  <a:cubicBezTo>
                    <a:pt x="58" y="16"/>
                    <a:pt x="58" y="16"/>
                    <a:pt x="58" y="16"/>
                  </a:cubicBezTo>
                  <a:cubicBezTo>
                    <a:pt x="57" y="15"/>
                    <a:pt x="56" y="14"/>
                    <a:pt x="56" y="13"/>
                  </a:cubicBezTo>
                  <a:cubicBezTo>
                    <a:pt x="56" y="12"/>
                    <a:pt x="55" y="12"/>
                    <a:pt x="55" y="11"/>
                  </a:cubicBezTo>
                  <a:cubicBezTo>
                    <a:pt x="55" y="11"/>
                    <a:pt x="55" y="11"/>
                    <a:pt x="55" y="11"/>
                  </a:cubicBezTo>
                  <a:cubicBezTo>
                    <a:pt x="54" y="11"/>
                    <a:pt x="54" y="11"/>
                    <a:pt x="54" y="11"/>
                  </a:cubicBezTo>
                  <a:cubicBezTo>
                    <a:pt x="54" y="10"/>
                    <a:pt x="54" y="10"/>
                    <a:pt x="54" y="10"/>
                  </a:cubicBezTo>
                  <a:cubicBezTo>
                    <a:pt x="53" y="10"/>
                    <a:pt x="53" y="10"/>
                    <a:pt x="53" y="10"/>
                  </a:cubicBezTo>
                  <a:cubicBezTo>
                    <a:pt x="53" y="11"/>
                    <a:pt x="53" y="11"/>
                    <a:pt x="53" y="11"/>
                  </a:cubicBezTo>
                  <a:cubicBezTo>
                    <a:pt x="52" y="11"/>
                    <a:pt x="52" y="11"/>
                    <a:pt x="52" y="11"/>
                  </a:cubicBezTo>
                  <a:cubicBezTo>
                    <a:pt x="51" y="12"/>
                    <a:pt x="51" y="12"/>
                    <a:pt x="51" y="12"/>
                  </a:cubicBezTo>
                  <a:cubicBezTo>
                    <a:pt x="51" y="12"/>
                    <a:pt x="51" y="12"/>
                    <a:pt x="51" y="12"/>
                  </a:cubicBezTo>
                  <a:cubicBezTo>
                    <a:pt x="50" y="13"/>
                    <a:pt x="50" y="13"/>
                    <a:pt x="50" y="13"/>
                  </a:cubicBezTo>
                  <a:cubicBezTo>
                    <a:pt x="48" y="15"/>
                    <a:pt x="48" y="15"/>
                    <a:pt x="48" y="15"/>
                  </a:cubicBezTo>
                  <a:cubicBezTo>
                    <a:pt x="48" y="15"/>
                    <a:pt x="48" y="15"/>
                    <a:pt x="48" y="15"/>
                  </a:cubicBezTo>
                  <a:cubicBezTo>
                    <a:pt x="47" y="16"/>
                    <a:pt x="47" y="16"/>
                    <a:pt x="47" y="16"/>
                  </a:cubicBezTo>
                  <a:cubicBezTo>
                    <a:pt x="47" y="17"/>
                    <a:pt x="46" y="17"/>
                    <a:pt x="46" y="18"/>
                  </a:cubicBezTo>
                  <a:cubicBezTo>
                    <a:pt x="45" y="19"/>
                    <a:pt x="43" y="21"/>
                    <a:pt x="42" y="22"/>
                  </a:cubicBezTo>
                  <a:cubicBezTo>
                    <a:pt x="40" y="25"/>
                    <a:pt x="37" y="28"/>
                    <a:pt x="35" y="31"/>
                  </a:cubicBezTo>
                  <a:cubicBezTo>
                    <a:pt x="33" y="34"/>
                    <a:pt x="33" y="36"/>
                    <a:pt x="33" y="38"/>
                  </a:cubicBezTo>
                  <a:cubicBezTo>
                    <a:pt x="33" y="38"/>
                    <a:pt x="33" y="38"/>
                    <a:pt x="33" y="38"/>
                  </a:cubicBezTo>
                  <a:cubicBezTo>
                    <a:pt x="34" y="39"/>
                    <a:pt x="35" y="40"/>
                    <a:pt x="37" y="40"/>
                  </a:cubicBezTo>
                  <a:cubicBezTo>
                    <a:pt x="38" y="41"/>
                    <a:pt x="38" y="41"/>
                    <a:pt x="38" y="41"/>
                  </a:cubicBezTo>
                  <a:cubicBezTo>
                    <a:pt x="39" y="41"/>
                    <a:pt x="41" y="41"/>
                    <a:pt x="42" y="41"/>
                  </a:cubicBezTo>
                  <a:cubicBezTo>
                    <a:pt x="43" y="41"/>
                    <a:pt x="43" y="41"/>
                    <a:pt x="44" y="41"/>
                  </a:cubicBezTo>
                  <a:cubicBezTo>
                    <a:pt x="45" y="41"/>
                    <a:pt x="46" y="42"/>
                    <a:pt x="47" y="42"/>
                  </a:cubicBezTo>
                  <a:cubicBezTo>
                    <a:pt x="48" y="43"/>
                    <a:pt x="49" y="45"/>
                    <a:pt x="49" y="46"/>
                  </a:cubicBezTo>
                  <a:cubicBezTo>
                    <a:pt x="49" y="48"/>
                    <a:pt x="49" y="50"/>
                    <a:pt x="49" y="52"/>
                  </a:cubicBezTo>
                  <a:cubicBezTo>
                    <a:pt x="49" y="54"/>
                    <a:pt x="48" y="55"/>
                    <a:pt x="49" y="57"/>
                  </a:cubicBezTo>
                  <a:cubicBezTo>
                    <a:pt x="49" y="57"/>
                    <a:pt x="49" y="58"/>
                    <a:pt x="49" y="58"/>
                  </a:cubicBezTo>
                  <a:cubicBezTo>
                    <a:pt x="49" y="59"/>
                    <a:pt x="49" y="59"/>
                    <a:pt x="49" y="59"/>
                  </a:cubicBezTo>
                  <a:cubicBezTo>
                    <a:pt x="50" y="61"/>
                    <a:pt x="50" y="63"/>
                    <a:pt x="51" y="63"/>
                  </a:cubicBezTo>
                  <a:cubicBezTo>
                    <a:pt x="52" y="64"/>
                    <a:pt x="52" y="64"/>
                    <a:pt x="52" y="64"/>
                  </a:cubicBezTo>
                  <a:cubicBezTo>
                    <a:pt x="52" y="64"/>
                    <a:pt x="52" y="64"/>
                    <a:pt x="53" y="64"/>
                  </a:cubicBezTo>
                  <a:cubicBezTo>
                    <a:pt x="53" y="64"/>
                    <a:pt x="53" y="64"/>
                    <a:pt x="53" y="64"/>
                  </a:cubicBezTo>
                  <a:cubicBezTo>
                    <a:pt x="54" y="64"/>
                    <a:pt x="54" y="64"/>
                    <a:pt x="54" y="64"/>
                  </a:cubicBezTo>
                  <a:cubicBezTo>
                    <a:pt x="54" y="64"/>
                    <a:pt x="54" y="64"/>
                    <a:pt x="54" y="64"/>
                  </a:cubicBezTo>
                  <a:cubicBezTo>
                    <a:pt x="54" y="64"/>
                    <a:pt x="54" y="64"/>
                    <a:pt x="54" y="64"/>
                  </a:cubicBezTo>
                  <a:cubicBezTo>
                    <a:pt x="55" y="63"/>
                    <a:pt x="55" y="63"/>
                    <a:pt x="55" y="63"/>
                  </a:cubicBezTo>
                  <a:cubicBezTo>
                    <a:pt x="56" y="63"/>
                    <a:pt x="56" y="63"/>
                    <a:pt x="57" y="63"/>
                  </a:cubicBezTo>
                  <a:cubicBezTo>
                    <a:pt x="57" y="63"/>
                    <a:pt x="57" y="63"/>
                    <a:pt x="57" y="63"/>
                  </a:cubicBezTo>
                  <a:cubicBezTo>
                    <a:pt x="59" y="64"/>
                    <a:pt x="60" y="65"/>
                    <a:pt x="61" y="67"/>
                  </a:cubicBezTo>
                  <a:cubicBezTo>
                    <a:pt x="61" y="68"/>
                    <a:pt x="62" y="69"/>
                    <a:pt x="62" y="70"/>
                  </a:cubicBezTo>
                  <a:cubicBezTo>
                    <a:pt x="62" y="71"/>
                    <a:pt x="62" y="73"/>
                    <a:pt x="63" y="74"/>
                  </a:cubicBezTo>
                  <a:cubicBezTo>
                    <a:pt x="63" y="75"/>
                    <a:pt x="63" y="75"/>
                    <a:pt x="64" y="76"/>
                  </a:cubicBezTo>
                  <a:cubicBezTo>
                    <a:pt x="64" y="77"/>
                    <a:pt x="64" y="77"/>
                    <a:pt x="64" y="77"/>
                  </a:cubicBezTo>
                  <a:cubicBezTo>
                    <a:pt x="64" y="77"/>
                    <a:pt x="64" y="77"/>
                    <a:pt x="64" y="77"/>
                  </a:cubicBezTo>
                  <a:cubicBezTo>
                    <a:pt x="69" y="88"/>
                    <a:pt x="69" y="88"/>
                    <a:pt x="69" y="88"/>
                  </a:cubicBezTo>
                  <a:cubicBezTo>
                    <a:pt x="70" y="89"/>
                    <a:pt x="70" y="90"/>
                    <a:pt x="70" y="92"/>
                  </a:cubicBezTo>
                  <a:cubicBezTo>
                    <a:pt x="70" y="93"/>
                    <a:pt x="69" y="94"/>
                    <a:pt x="69" y="94"/>
                  </a:cubicBezTo>
                  <a:cubicBezTo>
                    <a:pt x="69" y="95"/>
                    <a:pt x="69" y="95"/>
                    <a:pt x="69" y="95"/>
                  </a:cubicBezTo>
                  <a:cubicBezTo>
                    <a:pt x="69" y="96"/>
                    <a:pt x="69" y="96"/>
                    <a:pt x="69" y="96"/>
                  </a:cubicBezTo>
                  <a:cubicBezTo>
                    <a:pt x="70" y="96"/>
                    <a:pt x="70" y="96"/>
                    <a:pt x="70" y="96"/>
                  </a:cubicBezTo>
                  <a:cubicBezTo>
                    <a:pt x="71" y="97"/>
                    <a:pt x="71" y="97"/>
                    <a:pt x="71" y="97"/>
                  </a:cubicBezTo>
                  <a:cubicBezTo>
                    <a:pt x="71" y="98"/>
                    <a:pt x="71" y="98"/>
                    <a:pt x="71" y="98"/>
                  </a:cubicBezTo>
                  <a:cubicBezTo>
                    <a:pt x="71" y="100"/>
                    <a:pt x="69" y="101"/>
                    <a:pt x="69" y="101"/>
                  </a:cubicBezTo>
                  <a:cubicBezTo>
                    <a:pt x="68" y="102"/>
                    <a:pt x="67" y="102"/>
                    <a:pt x="67" y="103"/>
                  </a:cubicBezTo>
                  <a:cubicBezTo>
                    <a:pt x="66" y="103"/>
                    <a:pt x="66" y="103"/>
                    <a:pt x="65" y="103"/>
                  </a:cubicBezTo>
                  <a:cubicBezTo>
                    <a:pt x="65" y="103"/>
                    <a:pt x="65" y="103"/>
                    <a:pt x="65" y="103"/>
                  </a:cubicBezTo>
                  <a:cubicBezTo>
                    <a:pt x="65" y="103"/>
                    <a:pt x="65" y="103"/>
                    <a:pt x="65" y="103"/>
                  </a:cubicBezTo>
                  <a:cubicBezTo>
                    <a:pt x="65" y="104"/>
                    <a:pt x="65" y="104"/>
                    <a:pt x="65" y="104"/>
                  </a:cubicBezTo>
                  <a:cubicBezTo>
                    <a:pt x="64" y="105"/>
                    <a:pt x="64" y="105"/>
                    <a:pt x="64" y="105"/>
                  </a:cubicBezTo>
                  <a:cubicBezTo>
                    <a:pt x="63" y="105"/>
                    <a:pt x="62" y="105"/>
                    <a:pt x="61" y="105"/>
                  </a:cubicBezTo>
                  <a:cubicBezTo>
                    <a:pt x="60" y="105"/>
                    <a:pt x="60" y="105"/>
                    <a:pt x="60" y="105"/>
                  </a:cubicBezTo>
                  <a:cubicBezTo>
                    <a:pt x="58" y="105"/>
                    <a:pt x="57" y="104"/>
                    <a:pt x="55" y="103"/>
                  </a:cubicBezTo>
                  <a:cubicBezTo>
                    <a:pt x="55" y="103"/>
                    <a:pt x="55" y="103"/>
                    <a:pt x="54" y="102"/>
                  </a:cubicBezTo>
                  <a:cubicBezTo>
                    <a:pt x="54" y="102"/>
                    <a:pt x="54" y="102"/>
                    <a:pt x="54" y="102"/>
                  </a:cubicBezTo>
                  <a:cubicBezTo>
                    <a:pt x="54" y="102"/>
                    <a:pt x="54" y="102"/>
                    <a:pt x="54" y="102"/>
                  </a:cubicBezTo>
                  <a:cubicBezTo>
                    <a:pt x="52" y="102"/>
                    <a:pt x="52" y="102"/>
                    <a:pt x="52" y="102"/>
                  </a:cubicBezTo>
                  <a:cubicBezTo>
                    <a:pt x="50" y="103"/>
                    <a:pt x="48" y="103"/>
                    <a:pt x="47" y="104"/>
                  </a:cubicBezTo>
                  <a:cubicBezTo>
                    <a:pt x="47" y="104"/>
                    <a:pt x="47" y="104"/>
                    <a:pt x="47" y="104"/>
                  </a:cubicBezTo>
                  <a:cubicBezTo>
                    <a:pt x="46" y="106"/>
                    <a:pt x="46" y="106"/>
                    <a:pt x="46" y="106"/>
                  </a:cubicBezTo>
                  <a:cubicBezTo>
                    <a:pt x="45" y="107"/>
                    <a:pt x="45" y="107"/>
                    <a:pt x="45" y="107"/>
                  </a:cubicBezTo>
                  <a:cubicBezTo>
                    <a:pt x="44" y="107"/>
                    <a:pt x="42" y="107"/>
                    <a:pt x="41" y="107"/>
                  </a:cubicBezTo>
                  <a:cubicBezTo>
                    <a:pt x="41" y="107"/>
                    <a:pt x="40" y="107"/>
                    <a:pt x="40" y="107"/>
                  </a:cubicBezTo>
                  <a:cubicBezTo>
                    <a:pt x="38" y="107"/>
                    <a:pt x="37" y="107"/>
                    <a:pt x="36" y="107"/>
                  </a:cubicBezTo>
                  <a:cubicBezTo>
                    <a:pt x="36" y="107"/>
                    <a:pt x="35" y="107"/>
                    <a:pt x="34" y="106"/>
                  </a:cubicBezTo>
                  <a:cubicBezTo>
                    <a:pt x="27" y="106"/>
                    <a:pt x="27" y="106"/>
                    <a:pt x="27" y="106"/>
                  </a:cubicBezTo>
                  <a:cubicBezTo>
                    <a:pt x="23" y="105"/>
                    <a:pt x="20" y="105"/>
                    <a:pt x="16" y="104"/>
                  </a:cubicBezTo>
                  <a:cubicBezTo>
                    <a:pt x="16" y="106"/>
                    <a:pt x="16" y="107"/>
                    <a:pt x="16" y="108"/>
                  </a:cubicBezTo>
                  <a:cubicBezTo>
                    <a:pt x="16" y="109"/>
                    <a:pt x="16" y="109"/>
                    <a:pt x="16" y="109"/>
                  </a:cubicBezTo>
                  <a:cubicBezTo>
                    <a:pt x="16" y="109"/>
                    <a:pt x="15" y="110"/>
                    <a:pt x="15" y="110"/>
                  </a:cubicBezTo>
                  <a:cubicBezTo>
                    <a:pt x="15" y="111"/>
                    <a:pt x="15" y="111"/>
                    <a:pt x="15" y="111"/>
                  </a:cubicBezTo>
                  <a:cubicBezTo>
                    <a:pt x="14" y="112"/>
                    <a:pt x="13" y="112"/>
                    <a:pt x="13" y="112"/>
                  </a:cubicBezTo>
                  <a:cubicBezTo>
                    <a:pt x="12" y="113"/>
                    <a:pt x="11" y="113"/>
                    <a:pt x="10" y="113"/>
                  </a:cubicBezTo>
                  <a:cubicBezTo>
                    <a:pt x="10" y="113"/>
                    <a:pt x="10" y="113"/>
                    <a:pt x="10" y="113"/>
                  </a:cubicBezTo>
                  <a:cubicBezTo>
                    <a:pt x="10" y="113"/>
                    <a:pt x="9" y="113"/>
                    <a:pt x="9" y="112"/>
                  </a:cubicBezTo>
                  <a:cubicBezTo>
                    <a:pt x="8" y="112"/>
                    <a:pt x="8" y="112"/>
                    <a:pt x="8" y="112"/>
                  </a:cubicBezTo>
                  <a:cubicBezTo>
                    <a:pt x="0" y="119"/>
                    <a:pt x="0" y="119"/>
                    <a:pt x="0" y="119"/>
                  </a:cubicBezTo>
                  <a:cubicBezTo>
                    <a:pt x="0" y="119"/>
                    <a:pt x="0" y="119"/>
                    <a:pt x="1" y="119"/>
                  </a:cubicBezTo>
                  <a:cubicBezTo>
                    <a:pt x="2" y="119"/>
                    <a:pt x="3" y="119"/>
                    <a:pt x="4" y="118"/>
                  </a:cubicBezTo>
                  <a:cubicBezTo>
                    <a:pt x="7" y="116"/>
                    <a:pt x="10" y="114"/>
                    <a:pt x="14" y="113"/>
                  </a:cubicBezTo>
                  <a:cubicBezTo>
                    <a:pt x="14" y="112"/>
                    <a:pt x="14" y="112"/>
                    <a:pt x="14" y="112"/>
                  </a:cubicBezTo>
                  <a:cubicBezTo>
                    <a:pt x="13" y="113"/>
                    <a:pt x="13" y="113"/>
                    <a:pt x="13" y="113"/>
                  </a:cubicBezTo>
                  <a:cubicBezTo>
                    <a:pt x="12" y="114"/>
                    <a:pt x="11" y="114"/>
                    <a:pt x="9" y="115"/>
                  </a:cubicBezTo>
                  <a:cubicBezTo>
                    <a:pt x="8" y="116"/>
                    <a:pt x="7" y="118"/>
                    <a:pt x="6" y="118"/>
                  </a:cubicBezTo>
                  <a:cubicBezTo>
                    <a:pt x="6" y="118"/>
                    <a:pt x="6" y="118"/>
                    <a:pt x="6" y="118"/>
                  </a:cubicBezTo>
                  <a:cubicBezTo>
                    <a:pt x="6" y="119"/>
                    <a:pt x="6" y="119"/>
                    <a:pt x="6" y="119"/>
                  </a:cubicBezTo>
                  <a:cubicBezTo>
                    <a:pt x="6" y="119"/>
                    <a:pt x="6" y="119"/>
                    <a:pt x="6" y="120"/>
                  </a:cubicBezTo>
                  <a:cubicBezTo>
                    <a:pt x="7" y="122"/>
                    <a:pt x="8" y="124"/>
                    <a:pt x="9" y="126"/>
                  </a:cubicBezTo>
                  <a:cubicBezTo>
                    <a:pt x="10" y="128"/>
                    <a:pt x="11" y="130"/>
                    <a:pt x="13" y="131"/>
                  </a:cubicBezTo>
                  <a:cubicBezTo>
                    <a:pt x="14" y="132"/>
                    <a:pt x="14" y="132"/>
                    <a:pt x="15" y="133"/>
                  </a:cubicBezTo>
                  <a:cubicBezTo>
                    <a:pt x="16" y="134"/>
                    <a:pt x="17" y="134"/>
                    <a:pt x="19" y="135"/>
                  </a:cubicBezTo>
                  <a:cubicBezTo>
                    <a:pt x="21" y="136"/>
                    <a:pt x="23" y="137"/>
                    <a:pt x="25" y="138"/>
                  </a:cubicBezTo>
                  <a:cubicBezTo>
                    <a:pt x="26" y="138"/>
                    <a:pt x="26" y="138"/>
                    <a:pt x="27" y="138"/>
                  </a:cubicBezTo>
                  <a:cubicBezTo>
                    <a:pt x="28" y="139"/>
                    <a:pt x="30" y="139"/>
                    <a:pt x="32" y="140"/>
                  </a:cubicBezTo>
                  <a:cubicBezTo>
                    <a:pt x="33" y="140"/>
                    <a:pt x="34" y="140"/>
                    <a:pt x="34" y="140"/>
                  </a:cubicBezTo>
                  <a:cubicBezTo>
                    <a:pt x="35" y="140"/>
                    <a:pt x="35" y="140"/>
                    <a:pt x="35" y="140"/>
                  </a:cubicBezTo>
                  <a:cubicBezTo>
                    <a:pt x="37" y="140"/>
                    <a:pt x="38" y="138"/>
                    <a:pt x="40" y="137"/>
                  </a:cubicBezTo>
                  <a:cubicBezTo>
                    <a:pt x="42" y="137"/>
                    <a:pt x="46" y="136"/>
                    <a:pt x="45" y="135"/>
                  </a:cubicBezTo>
                  <a:cubicBezTo>
                    <a:pt x="46" y="135"/>
                    <a:pt x="46" y="135"/>
                    <a:pt x="46" y="135"/>
                  </a:cubicBezTo>
                  <a:cubicBezTo>
                    <a:pt x="47" y="135"/>
                    <a:pt x="49" y="136"/>
                    <a:pt x="50" y="136"/>
                  </a:cubicBezTo>
                  <a:cubicBezTo>
                    <a:pt x="50" y="136"/>
                    <a:pt x="51" y="136"/>
                    <a:pt x="51" y="135"/>
                  </a:cubicBezTo>
                  <a:cubicBezTo>
                    <a:pt x="52" y="135"/>
                    <a:pt x="52" y="132"/>
                    <a:pt x="54" y="131"/>
                  </a:cubicBezTo>
                  <a:cubicBezTo>
                    <a:pt x="52" y="133"/>
                    <a:pt x="51" y="137"/>
                    <a:pt x="49" y="141"/>
                  </a:cubicBezTo>
                  <a:cubicBezTo>
                    <a:pt x="48" y="143"/>
                    <a:pt x="47" y="144"/>
                    <a:pt x="46" y="145"/>
                  </a:cubicBezTo>
                  <a:cubicBezTo>
                    <a:pt x="45" y="145"/>
                    <a:pt x="44" y="146"/>
                    <a:pt x="44" y="146"/>
                  </a:cubicBezTo>
                  <a:cubicBezTo>
                    <a:pt x="40" y="148"/>
                    <a:pt x="35" y="149"/>
                    <a:pt x="32" y="150"/>
                  </a:cubicBezTo>
                  <a:cubicBezTo>
                    <a:pt x="32" y="150"/>
                    <a:pt x="31" y="150"/>
                    <a:pt x="31" y="150"/>
                  </a:cubicBezTo>
                  <a:cubicBezTo>
                    <a:pt x="29" y="150"/>
                    <a:pt x="26" y="151"/>
                    <a:pt x="24" y="151"/>
                  </a:cubicBezTo>
                  <a:cubicBezTo>
                    <a:pt x="22" y="151"/>
                    <a:pt x="22" y="151"/>
                    <a:pt x="23" y="149"/>
                  </a:cubicBezTo>
                  <a:cubicBezTo>
                    <a:pt x="23" y="149"/>
                    <a:pt x="23" y="149"/>
                    <a:pt x="23" y="149"/>
                  </a:cubicBezTo>
                  <a:cubicBezTo>
                    <a:pt x="22" y="148"/>
                    <a:pt x="21" y="148"/>
                    <a:pt x="20" y="148"/>
                  </a:cubicBezTo>
                  <a:cubicBezTo>
                    <a:pt x="18" y="148"/>
                    <a:pt x="17" y="150"/>
                    <a:pt x="19" y="153"/>
                  </a:cubicBezTo>
                  <a:cubicBezTo>
                    <a:pt x="19" y="154"/>
                    <a:pt x="19" y="154"/>
                    <a:pt x="20" y="155"/>
                  </a:cubicBezTo>
                  <a:cubicBezTo>
                    <a:pt x="21" y="156"/>
                    <a:pt x="22" y="157"/>
                    <a:pt x="23" y="158"/>
                  </a:cubicBezTo>
                  <a:cubicBezTo>
                    <a:pt x="24" y="159"/>
                    <a:pt x="25" y="160"/>
                    <a:pt x="26" y="161"/>
                  </a:cubicBezTo>
                  <a:cubicBezTo>
                    <a:pt x="26" y="162"/>
                    <a:pt x="27" y="162"/>
                    <a:pt x="27" y="162"/>
                  </a:cubicBezTo>
                  <a:cubicBezTo>
                    <a:pt x="29" y="164"/>
                    <a:pt x="31" y="165"/>
                    <a:pt x="32" y="167"/>
                  </a:cubicBezTo>
                  <a:cubicBezTo>
                    <a:pt x="34" y="168"/>
                    <a:pt x="35" y="170"/>
                    <a:pt x="37" y="171"/>
                  </a:cubicBezTo>
                  <a:cubicBezTo>
                    <a:pt x="38" y="173"/>
                    <a:pt x="39" y="174"/>
                    <a:pt x="41" y="175"/>
                  </a:cubicBezTo>
                  <a:cubicBezTo>
                    <a:pt x="41" y="176"/>
                    <a:pt x="41" y="176"/>
                    <a:pt x="41" y="176"/>
                  </a:cubicBezTo>
                  <a:cubicBezTo>
                    <a:pt x="43" y="177"/>
                    <a:pt x="44" y="179"/>
                    <a:pt x="46" y="181"/>
                  </a:cubicBezTo>
                  <a:cubicBezTo>
                    <a:pt x="47" y="182"/>
                    <a:pt x="49" y="184"/>
                    <a:pt x="50" y="185"/>
                  </a:cubicBezTo>
                  <a:cubicBezTo>
                    <a:pt x="52" y="187"/>
                    <a:pt x="54" y="188"/>
                    <a:pt x="55" y="188"/>
                  </a:cubicBezTo>
                  <a:cubicBezTo>
                    <a:pt x="55" y="188"/>
                    <a:pt x="56" y="188"/>
                    <a:pt x="56" y="188"/>
                  </a:cubicBezTo>
                  <a:cubicBezTo>
                    <a:pt x="58" y="189"/>
                    <a:pt x="62" y="190"/>
                    <a:pt x="64" y="190"/>
                  </a:cubicBezTo>
                  <a:cubicBezTo>
                    <a:pt x="64" y="190"/>
                    <a:pt x="64" y="190"/>
                    <a:pt x="65" y="190"/>
                  </a:cubicBezTo>
                  <a:cubicBezTo>
                    <a:pt x="65" y="190"/>
                    <a:pt x="65" y="190"/>
                    <a:pt x="65" y="190"/>
                  </a:cubicBezTo>
                  <a:cubicBezTo>
                    <a:pt x="69" y="188"/>
                    <a:pt x="73" y="187"/>
                    <a:pt x="76" y="185"/>
                  </a:cubicBezTo>
                  <a:cubicBezTo>
                    <a:pt x="77" y="185"/>
                    <a:pt x="77" y="185"/>
                    <a:pt x="78" y="185"/>
                  </a:cubicBezTo>
                  <a:cubicBezTo>
                    <a:pt x="83" y="183"/>
                    <a:pt x="89" y="181"/>
                    <a:pt x="92" y="178"/>
                  </a:cubicBezTo>
                  <a:cubicBezTo>
                    <a:pt x="93" y="176"/>
                    <a:pt x="94" y="174"/>
                    <a:pt x="95" y="172"/>
                  </a:cubicBezTo>
                  <a:cubicBezTo>
                    <a:pt x="95" y="165"/>
                    <a:pt x="95" y="165"/>
                    <a:pt x="95" y="165"/>
                  </a:cubicBezTo>
                  <a:cubicBezTo>
                    <a:pt x="93" y="164"/>
                    <a:pt x="92" y="164"/>
                    <a:pt x="91" y="163"/>
                  </a:cubicBezTo>
                  <a:cubicBezTo>
                    <a:pt x="90" y="163"/>
                    <a:pt x="90" y="163"/>
                    <a:pt x="89" y="162"/>
                  </a:cubicBezTo>
                  <a:cubicBezTo>
                    <a:pt x="90" y="161"/>
                    <a:pt x="91" y="161"/>
                    <a:pt x="91" y="161"/>
                  </a:cubicBezTo>
                  <a:cubicBezTo>
                    <a:pt x="92" y="161"/>
                    <a:pt x="92" y="161"/>
                    <a:pt x="92" y="161"/>
                  </a:cubicBezTo>
                  <a:cubicBezTo>
                    <a:pt x="93" y="162"/>
                    <a:pt x="93" y="162"/>
                    <a:pt x="93" y="162"/>
                  </a:cubicBezTo>
                  <a:cubicBezTo>
                    <a:pt x="93" y="162"/>
                    <a:pt x="93" y="161"/>
                    <a:pt x="93" y="161"/>
                  </a:cubicBezTo>
                  <a:cubicBezTo>
                    <a:pt x="92" y="161"/>
                    <a:pt x="92" y="160"/>
                    <a:pt x="91" y="159"/>
                  </a:cubicBezTo>
                  <a:cubicBezTo>
                    <a:pt x="92" y="159"/>
                    <a:pt x="93" y="158"/>
                    <a:pt x="95" y="157"/>
                  </a:cubicBezTo>
                  <a:cubicBezTo>
                    <a:pt x="95" y="152"/>
                    <a:pt x="95" y="152"/>
                    <a:pt x="95" y="152"/>
                  </a:cubicBezTo>
                  <a:cubicBezTo>
                    <a:pt x="94" y="152"/>
                    <a:pt x="94" y="152"/>
                    <a:pt x="93" y="152"/>
                  </a:cubicBezTo>
                  <a:cubicBezTo>
                    <a:pt x="93" y="152"/>
                    <a:pt x="93" y="152"/>
                    <a:pt x="93" y="152"/>
                  </a:cubicBezTo>
                  <a:cubicBezTo>
                    <a:pt x="93" y="152"/>
                    <a:pt x="93" y="152"/>
                    <a:pt x="93" y="152"/>
                  </a:cubicBezTo>
                  <a:cubicBezTo>
                    <a:pt x="94" y="152"/>
                    <a:pt x="94" y="152"/>
                    <a:pt x="95" y="152"/>
                  </a:cubicBezTo>
                  <a:cubicBezTo>
                    <a:pt x="95" y="0"/>
                    <a:pt x="95" y="0"/>
                    <a:pt x="9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281"/>
            <p:cNvSpPr>
              <a:spLocks noChangeArrowheads="1"/>
            </p:cNvSpPr>
            <p:nvPr/>
          </p:nvSpPr>
          <p:spPr bwMode="auto">
            <a:xfrm>
              <a:off x="7451" y="141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282"/>
            <p:cNvSpPr/>
            <p:nvPr/>
          </p:nvSpPr>
          <p:spPr bwMode="auto">
            <a:xfrm flipH="1">
              <a:off x="7451" y="141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283"/>
            <p:cNvSpPr>
              <a:spLocks noChangeArrowheads="1"/>
            </p:cNvSpPr>
            <p:nvPr/>
          </p:nvSpPr>
          <p:spPr bwMode="auto">
            <a:xfrm>
              <a:off x="7489" y="93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284"/>
            <p:cNvSpPr/>
            <p:nvPr/>
          </p:nvSpPr>
          <p:spPr bwMode="auto">
            <a:xfrm flipH="1">
              <a:off x="7489" y="93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285"/>
            <p:cNvSpPr>
              <a:spLocks noEditPoints="1"/>
            </p:cNvSpPr>
            <p:nvPr/>
          </p:nvSpPr>
          <p:spPr bwMode="auto">
            <a:xfrm>
              <a:off x="7062" y="630"/>
              <a:ext cx="616" cy="780"/>
            </a:xfrm>
            <a:custGeom>
              <a:gdLst>
                <a:gd name="T0" fmla="*/ 254 w 261"/>
                <a:gd name="T1" fmla="*/ 4 h 330"/>
                <a:gd name="T2" fmla="*/ 244 w 261"/>
                <a:gd name="T3" fmla="*/ 17 h 330"/>
                <a:gd name="T4" fmla="*/ 247 w 261"/>
                <a:gd name="T5" fmla="*/ 23 h 330"/>
                <a:gd name="T6" fmla="*/ 250 w 261"/>
                <a:gd name="T7" fmla="*/ 35 h 330"/>
                <a:gd name="T8" fmla="*/ 241 w 261"/>
                <a:gd name="T9" fmla="*/ 45 h 330"/>
                <a:gd name="T10" fmla="*/ 236 w 261"/>
                <a:gd name="T11" fmla="*/ 55 h 330"/>
                <a:gd name="T12" fmla="*/ 236 w 261"/>
                <a:gd name="T13" fmla="*/ 64 h 330"/>
                <a:gd name="T14" fmla="*/ 209 w 261"/>
                <a:gd name="T15" fmla="*/ 69 h 330"/>
                <a:gd name="T16" fmla="*/ 216 w 261"/>
                <a:gd name="T17" fmla="*/ 88 h 330"/>
                <a:gd name="T18" fmla="*/ 204 w 261"/>
                <a:gd name="T19" fmla="*/ 94 h 330"/>
                <a:gd name="T20" fmla="*/ 200 w 261"/>
                <a:gd name="T21" fmla="*/ 93 h 330"/>
                <a:gd name="T22" fmla="*/ 198 w 261"/>
                <a:gd name="T23" fmla="*/ 103 h 330"/>
                <a:gd name="T24" fmla="*/ 193 w 261"/>
                <a:gd name="T25" fmla="*/ 124 h 330"/>
                <a:gd name="T26" fmla="*/ 181 w 261"/>
                <a:gd name="T27" fmla="*/ 131 h 330"/>
                <a:gd name="T28" fmla="*/ 174 w 261"/>
                <a:gd name="T29" fmla="*/ 127 h 330"/>
                <a:gd name="T30" fmla="*/ 167 w 261"/>
                <a:gd name="T31" fmla="*/ 128 h 330"/>
                <a:gd name="T32" fmla="*/ 158 w 261"/>
                <a:gd name="T33" fmla="*/ 138 h 330"/>
                <a:gd name="T34" fmla="*/ 138 w 261"/>
                <a:gd name="T35" fmla="*/ 140 h 330"/>
                <a:gd name="T36" fmla="*/ 131 w 261"/>
                <a:gd name="T37" fmla="*/ 145 h 330"/>
                <a:gd name="T38" fmla="*/ 124 w 261"/>
                <a:gd name="T39" fmla="*/ 160 h 330"/>
                <a:gd name="T40" fmla="*/ 123 w 261"/>
                <a:gd name="T41" fmla="*/ 176 h 330"/>
                <a:gd name="T42" fmla="*/ 88 w 261"/>
                <a:gd name="T43" fmla="*/ 183 h 330"/>
                <a:gd name="T44" fmla="*/ 72 w 261"/>
                <a:gd name="T45" fmla="*/ 188 h 330"/>
                <a:gd name="T46" fmla="*/ 65 w 261"/>
                <a:gd name="T47" fmla="*/ 189 h 330"/>
                <a:gd name="T48" fmla="*/ 47 w 261"/>
                <a:gd name="T49" fmla="*/ 188 h 330"/>
                <a:gd name="T50" fmla="*/ 37 w 261"/>
                <a:gd name="T51" fmla="*/ 189 h 330"/>
                <a:gd name="T52" fmla="*/ 5 w 261"/>
                <a:gd name="T53" fmla="*/ 186 h 330"/>
                <a:gd name="T54" fmla="*/ 29 w 261"/>
                <a:gd name="T55" fmla="*/ 210 h 330"/>
                <a:gd name="T56" fmla="*/ 41 w 261"/>
                <a:gd name="T57" fmla="*/ 224 h 330"/>
                <a:gd name="T58" fmla="*/ 41 w 261"/>
                <a:gd name="T59" fmla="*/ 239 h 330"/>
                <a:gd name="T60" fmla="*/ 51 w 261"/>
                <a:gd name="T61" fmla="*/ 254 h 330"/>
                <a:gd name="T62" fmla="*/ 30 w 261"/>
                <a:gd name="T63" fmla="*/ 262 h 330"/>
                <a:gd name="T64" fmla="*/ 19 w 261"/>
                <a:gd name="T65" fmla="*/ 272 h 330"/>
                <a:gd name="T66" fmla="*/ 15 w 261"/>
                <a:gd name="T67" fmla="*/ 297 h 330"/>
                <a:gd name="T68" fmla="*/ 39 w 261"/>
                <a:gd name="T69" fmla="*/ 292 h 330"/>
                <a:gd name="T70" fmla="*/ 70 w 261"/>
                <a:gd name="T71" fmla="*/ 287 h 330"/>
                <a:gd name="T72" fmla="*/ 84 w 261"/>
                <a:gd name="T73" fmla="*/ 293 h 330"/>
                <a:gd name="T74" fmla="*/ 126 w 261"/>
                <a:gd name="T75" fmla="*/ 287 h 330"/>
                <a:gd name="T76" fmla="*/ 125 w 261"/>
                <a:gd name="T77" fmla="*/ 283 h 330"/>
                <a:gd name="T78" fmla="*/ 138 w 261"/>
                <a:gd name="T79" fmla="*/ 300 h 330"/>
                <a:gd name="T80" fmla="*/ 155 w 261"/>
                <a:gd name="T81" fmla="*/ 321 h 330"/>
                <a:gd name="T82" fmla="*/ 165 w 261"/>
                <a:gd name="T83" fmla="*/ 326 h 330"/>
                <a:gd name="T84" fmla="*/ 176 w 261"/>
                <a:gd name="T85" fmla="*/ 314 h 330"/>
                <a:gd name="T86" fmla="*/ 201 w 261"/>
                <a:gd name="T87" fmla="*/ 315 h 330"/>
                <a:gd name="T88" fmla="*/ 209 w 261"/>
                <a:gd name="T89" fmla="*/ 314 h 330"/>
                <a:gd name="T90" fmla="*/ 225 w 261"/>
                <a:gd name="T91" fmla="*/ 311 h 330"/>
                <a:gd name="T92" fmla="*/ 229 w 261"/>
                <a:gd name="T93" fmla="*/ 309 h 330"/>
                <a:gd name="T94" fmla="*/ 221 w 261"/>
                <a:gd name="T95" fmla="*/ 296 h 330"/>
                <a:gd name="T96" fmla="*/ 220 w 261"/>
                <a:gd name="T97" fmla="*/ 284 h 330"/>
                <a:gd name="T98" fmla="*/ 214 w 261"/>
                <a:gd name="T99" fmla="*/ 282 h 330"/>
                <a:gd name="T100" fmla="*/ 209 w 261"/>
                <a:gd name="T101" fmla="*/ 264 h 330"/>
                <a:gd name="T102" fmla="*/ 203 w 261"/>
                <a:gd name="T103" fmla="*/ 265 h 330"/>
                <a:gd name="T104" fmla="*/ 204 w 261"/>
                <a:gd name="T105" fmla="*/ 232 h 330"/>
                <a:gd name="T106" fmla="*/ 212 w 261"/>
                <a:gd name="T107" fmla="*/ 223 h 330"/>
                <a:gd name="T108" fmla="*/ 216 w 261"/>
                <a:gd name="T109" fmla="*/ 219 h 330"/>
                <a:gd name="T110" fmla="*/ 222 w 261"/>
                <a:gd name="T111" fmla="*/ 219 h 330"/>
                <a:gd name="T112" fmla="*/ 229 w 261"/>
                <a:gd name="T113" fmla="*/ 226 h 330"/>
                <a:gd name="T114" fmla="*/ 238 w 261"/>
                <a:gd name="T115" fmla="*/ 223 h 330"/>
                <a:gd name="T116" fmla="*/ 261 w 261"/>
                <a:gd name="T117" fmla="*/ 205 h 3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1" h="330">
                  <a:moveTo>
                    <a:pt x="126" y="287"/>
                  </a:moveTo>
                  <a:cubicBezTo>
                    <a:pt x="126" y="287"/>
                    <a:pt x="126" y="287"/>
                    <a:pt x="126" y="287"/>
                  </a:cubicBezTo>
                  <a:cubicBezTo>
                    <a:pt x="126" y="287"/>
                    <a:pt x="126" y="287"/>
                    <a:pt x="126" y="287"/>
                  </a:cubicBezTo>
                  <a:moveTo>
                    <a:pt x="261" y="0"/>
                  </a:moveTo>
                  <a:cubicBezTo>
                    <a:pt x="259" y="0"/>
                    <a:pt x="259" y="0"/>
                    <a:pt x="259" y="0"/>
                  </a:cubicBezTo>
                  <a:cubicBezTo>
                    <a:pt x="257" y="2"/>
                    <a:pt x="256" y="3"/>
                    <a:pt x="254" y="4"/>
                  </a:cubicBezTo>
                  <a:cubicBezTo>
                    <a:pt x="253" y="4"/>
                    <a:pt x="252" y="5"/>
                    <a:pt x="252" y="5"/>
                  </a:cubicBezTo>
                  <a:cubicBezTo>
                    <a:pt x="251" y="5"/>
                    <a:pt x="251" y="5"/>
                    <a:pt x="251" y="5"/>
                  </a:cubicBezTo>
                  <a:cubicBezTo>
                    <a:pt x="250" y="5"/>
                    <a:pt x="249" y="4"/>
                    <a:pt x="248" y="4"/>
                  </a:cubicBezTo>
                  <a:cubicBezTo>
                    <a:pt x="248" y="4"/>
                    <a:pt x="248" y="4"/>
                    <a:pt x="248" y="4"/>
                  </a:cubicBezTo>
                  <a:cubicBezTo>
                    <a:pt x="245" y="7"/>
                    <a:pt x="243" y="9"/>
                    <a:pt x="240" y="12"/>
                  </a:cubicBezTo>
                  <a:cubicBezTo>
                    <a:pt x="242" y="14"/>
                    <a:pt x="243" y="15"/>
                    <a:pt x="244" y="17"/>
                  </a:cubicBezTo>
                  <a:cubicBezTo>
                    <a:pt x="244" y="17"/>
                    <a:pt x="244" y="18"/>
                    <a:pt x="244" y="18"/>
                  </a:cubicBezTo>
                  <a:cubicBezTo>
                    <a:pt x="244" y="18"/>
                    <a:pt x="245" y="19"/>
                    <a:pt x="245" y="19"/>
                  </a:cubicBezTo>
                  <a:cubicBezTo>
                    <a:pt x="246" y="20"/>
                    <a:pt x="246" y="21"/>
                    <a:pt x="247" y="21"/>
                  </a:cubicBezTo>
                  <a:cubicBezTo>
                    <a:pt x="247" y="22"/>
                    <a:pt x="247" y="22"/>
                    <a:pt x="247" y="22"/>
                  </a:cubicBezTo>
                  <a:cubicBezTo>
                    <a:pt x="250" y="20"/>
                    <a:pt x="250" y="20"/>
                    <a:pt x="250" y="20"/>
                  </a:cubicBezTo>
                  <a:cubicBezTo>
                    <a:pt x="247" y="23"/>
                    <a:pt x="247" y="23"/>
                    <a:pt x="247" y="23"/>
                  </a:cubicBezTo>
                  <a:cubicBezTo>
                    <a:pt x="248" y="24"/>
                    <a:pt x="248" y="24"/>
                    <a:pt x="248" y="24"/>
                  </a:cubicBezTo>
                  <a:cubicBezTo>
                    <a:pt x="249" y="26"/>
                    <a:pt x="249" y="28"/>
                    <a:pt x="249" y="30"/>
                  </a:cubicBezTo>
                  <a:cubicBezTo>
                    <a:pt x="248" y="31"/>
                    <a:pt x="248" y="31"/>
                    <a:pt x="248" y="31"/>
                  </a:cubicBezTo>
                  <a:cubicBezTo>
                    <a:pt x="249" y="32"/>
                    <a:pt x="249" y="32"/>
                    <a:pt x="249" y="32"/>
                  </a:cubicBezTo>
                  <a:cubicBezTo>
                    <a:pt x="249" y="33"/>
                    <a:pt x="249" y="33"/>
                    <a:pt x="249" y="33"/>
                  </a:cubicBezTo>
                  <a:cubicBezTo>
                    <a:pt x="250" y="33"/>
                    <a:pt x="250" y="34"/>
                    <a:pt x="250" y="35"/>
                  </a:cubicBezTo>
                  <a:cubicBezTo>
                    <a:pt x="250" y="36"/>
                    <a:pt x="250" y="36"/>
                    <a:pt x="250" y="36"/>
                  </a:cubicBezTo>
                  <a:cubicBezTo>
                    <a:pt x="249" y="36"/>
                    <a:pt x="249" y="37"/>
                    <a:pt x="249" y="37"/>
                  </a:cubicBezTo>
                  <a:cubicBezTo>
                    <a:pt x="248" y="38"/>
                    <a:pt x="248" y="38"/>
                    <a:pt x="248" y="38"/>
                  </a:cubicBezTo>
                  <a:cubicBezTo>
                    <a:pt x="247" y="39"/>
                    <a:pt x="247" y="39"/>
                    <a:pt x="247" y="39"/>
                  </a:cubicBezTo>
                  <a:cubicBezTo>
                    <a:pt x="246" y="43"/>
                    <a:pt x="244" y="44"/>
                    <a:pt x="243" y="44"/>
                  </a:cubicBezTo>
                  <a:cubicBezTo>
                    <a:pt x="242" y="45"/>
                    <a:pt x="241" y="45"/>
                    <a:pt x="241" y="45"/>
                  </a:cubicBezTo>
                  <a:cubicBezTo>
                    <a:pt x="240" y="46"/>
                    <a:pt x="240" y="46"/>
                    <a:pt x="240" y="47"/>
                  </a:cubicBezTo>
                  <a:cubicBezTo>
                    <a:pt x="239" y="48"/>
                    <a:pt x="238" y="49"/>
                    <a:pt x="237" y="51"/>
                  </a:cubicBezTo>
                  <a:cubicBezTo>
                    <a:pt x="236" y="51"/>
                    <a:pt x="235" y="52"/>
                    <a:pt x="235" y="52"/>
                  </a:cubicBezTo>
                  <a:cubicBezTo>
                    <a:pt x="234" y="53"/>
                    <a:pt x="235" y="53"/>
                    <a:pt x="235" y="53"/>
                  </a:cubicBezTo>
                  <a:cubicBezTo>
                    <a:pt x="235" y="54"/>
                    <a:pt x="236" y="55"/>
                    <a:pt x="236" y="55"/>
                  </a:cubicBezTo>
                  <a:cubicBezTo>
                    <a:pt x="236" y="55"/>
                    <a:pt x="236" y="55"/>
                    <a:pt x="236" y="55"/>
                  </a:cubicBezTo>
                  <a:cubicBezTo>
                    <a:pt x="237" y="56"/>
                    <a:pt x="237" y="56"/>
                    <a:pt x="237" y="57"/>
                  </a:cubicBezTo>
                  <a:cubicBezTo>
                    <a:pt x="238" y="58"/>
                    <a:pt x="238" y="59"/>
                    <a:pt x="238" y="60"/>
                  </a:cubicBezTo>
                  <a:cubicBezTo>
                    <a:pt x="238" y="60"/>
                    <a:pt x="238" y="61"/>
                    <a:pt x="237" y="62"/>
                  </a:cubicBezTo>
                  <a:cubicBezTo>
                    <a:pt x="237" y="63"/>
                    <a:pt x="237" y="63"/>
                    <a:pt x="237" y="63"/>
                  </a:cubicBezTo>
                  <a:cubicBezTo>
                    <a:pt x="237" y="63"/>
                    <a:pt x="237" y="63"/>
                    <a:pt x="237" y="63"/>
                  </a:cubicBezTo>
                  <a:cubicBezTo>
                    <a:pt x="237" y="64"/>
                    <a:pt x="236" y="64"/>
                    <a:pt x="236" y="64"/>
                  </a:cubicBezTo>
                  <a:cubicBezTo>
                    <a:pt x="235" y="66"/>
                    <a:pt x="234" y="67"/>
                    <a:pt x="233" y="68"/>
                  </a:cubicBezTo>
                  <a:cubicBezTo>
                    <a:pt x="230" y="70"/>
                    <a:pt x="226" y="71"/>
                    <a:pt x="222" y="71"/>
                  </a:cubicBezTo>
                  <a:cubicBezTo>
                    <a:pt x="221" y="71"/>
                    <a:pt x="220" y="71"/>
                    <a:pt x="219" y="71"/>
                  </a:cubicBezTo>
                  <a:cubicBezTo>
                    <a:pt x="218" y="71"/>
                    <a:pt x="218" y="71"/>
                    <a:pt x="218" y="71"/>
                  </a:cubicBezTo>
                  <a:cubicBezTo>
                    <a:pt x="217" y="71"/>
                    <a:pt x="216" y="70"/>
                    <a:pt x="215" y="70"/>
                  </a:cubicBezTo>
                  <a:cubicBezTo>
                    <a:pt x="212" y="69"/>
                    <a:pt x="210" y="69"/>
                    <a:pt x="209" y="69"/>
                  </a:cubicBezTo>
                  <a:cubicBezTo>
                    <a:pt x="210" y="71"/>
                    <a:pt x="210" y="71"/>
                    <a:pt x="210" y="71"/>
                  </a:cubicBezTo>
                  <a:cubicBezTo>
                    <a:pt x="211" y="71"/>
                    <a:pt x="212" y="72"/>
                    <a:pt x="212" y="72"/>
                  </a:cubicBezTo>
                  <a:cubicBezTo>
                    <a:pt x="214" y="76"/>
                    <a:pt x="214" y="76"/>
                    <a:pt x="214" y="76"/>
                  </a:cubicBezTo>
                  <a:cubicBezTo>
                    <a:pt x="218" y="82"/>
                    <a:pt x="220" y="85"/>
                    <a:pt x="218" y="87"/>
                  </a:cubicBezTo>
                  <a:cubicBezTo>
                    <a:pt x="217" y="87"/>
                    <a:pt x="217" y="87"/>
                    <a:pt x="217" y="87"/>
                  </a:cubicBezTo>
                  <a:cubicBezTo>
                    <a:pt x="216" y="88"/>
                    <a:pt x="216" y="88"/>
                    <a:pt x="216" y="88"/>
                  </a:cubicBezTo>
                  <a:cubicBezTo>
                    <a:pt x="216" y="88"/>
                    <a:pt x="216" y="88"/>
                    <a:pt x="216" y="88"/>
                  </a:cubicBezTo>
                  <a:cubicBezTo>
                    <a:pt x="214" y="89"/>
                    <a:pt x="211" y="92"/>
                    <a:pt x="208" y="93"/>
                  </a:cubicBezTo>
                  <a:cubicBezTo>
                    <a:pt x="209" y="98"/>
                    <a:pt x="209" y="98"/>
                    <a:pt x="209" y="98"/>
                  </a:cubicBezTo>
                  <a:cubicBezTo>
                    <a:pt x="207" y="93"/>
                    <a:pt x="207" y="93"/>
                    <a:pt x="207" y="93"/>
                  </a:cubicBezTo>
                  <a:cubicBezTo>
                    <a:pt x="206" y="93"/>
                    <a:pt x="206" y="93"/>
                    <a:pt x="206" y="93"/>
                  </a:cubicBezTo>
                  <a:cubicBezTo>
                    <a:pt x="205" y="94"/>
                    <a:pt x="205" y="94"/>
                    <a:pt x="204" y="94"/>
                  </a:cubicBezTo>
                  <a:cubicBezTo>
                    <a:pt x="203" y="94"/>
                    <a:pt x="203" y="94"/>
                    <a:pt x="203" y="94"/>
                  </a:cubicBezTo>
                  <a:cubicBezTo>
                    <a:pt x="203" y="94"/>
                    <a:pt x="203" y="94"/>
                    <a:pt x="203" y="94"/>
                  </a:cubicBezTo>
                  <a:cubicBezTo>
                    <a:pt x="202" y="94"/>
                    <a:pt x="202" y="94"/>
                    <a:pt x="202" y="94"/>
                  </a:cubicBezTo>
                  <a:cubicBezTo>
                    <a:pt x="202" y="94"/>
                    <a:pt x="202" y="94"/>
                    <a:pt x="202" y="94"/>
                  </a:cubicBezTo>
                  <a:cubicBezTo>
                    <a:pt x="202" y="94"/>
                    <a:pt x="201" y="94"/>
                    <a:pt x="201" y="94"/>
                  </a:cubicBezTo>
                  <a:cubicBezTo>
                    <a:pt x="200" y="93"/>
                    <a:pt x="200" y="93"/>
                    <a:pt x="200" y="93"/>
                  </a:cubicBezTo>
                  <a:cubicBezTo>
                    <a:pt x="200" y="94"/>
                    <a:pt x="200" y="94"/>
                    <a:pt x="200" y="94"/>
                  </a:cubicBezTo>
                  <a:cubicBezTo>
                    <a:pt x="200" y="94"/>
                    <a:pt x="200" y="94"/>
                    <a:pt x="200" y="94"/>
                  </a:cubicBezTo>
                  <a:cubicBezTo>
                    <a:pt x="199" y="95"/>
                    <a:pt x="199" y="97"/>
                    <a:pt x="199" y="98"/>
                  </a:cubicBezTo>
                  <a:cubicBezTo>
                    <a:pt x="198" y="99"/>
                    <a:pt x="198" y="100"/>
                    <a:pt x="198" y="101"/>
                  </a:cubicBezTo>
                  <a:cubicBezTo>
                    <a:pt x="198" y="102"/>
                    <a:pt x="198" y="102"/>
                    <a:pt x="198" y="102"/>
                  </a:cubicBezTo>
                  <a:cubicBezTo>
                    <a:pt x="198" y="102"/>
                    <a:pt x="198" y="103"/>
                    <a:pt x="198" y="103"/>
                  </a:cubicBezTo>
                  <a:cubicBezTo>
                    <a:pt x="197" y="105"/>
                    <a:pt x="196" y="106"/>
                    <a:pt x="194" y="107"/>
                  </a:cubicBezTo>
                  <a:cubicBezTo>
                    <a:pt x="194" y="108"/>
                    <a:pt x="194" y="108"/>
                    <a:pt x="194" y="108"/>
                  </a:cubicBezTo>
                  <a:cubicBezTo>
                    <a:pt x="195" y="115"/>
                    <a:pt x="195" y="115"/>
                    <a:pt x="195" y="115"/>
                  </a:cubicBezTo>
                  <a:cubicBezTo>
                    <a:pt x="195" y="115"/>
                    <a:pt x="195" y="115"/>
                    <a:pt x="195" y="115"/>
                  </a:cubicBezTo>
                  <a:cubicBezTo>
                    <a:pt x="195" y="119"/>
                    <a:pt x="195" y="119"/>
                    <a:pt x="195" y="119"/>
                  </a:cubicBezTo>
                  <a:cubicBezTo>
                    <a:pt x="195" y="122"/>
                    <a:pt x="194" y="123"/>
                    <a:pt x="193" y="124"/>
                  </a:cubicBezTo>
                  <a:cubicBezTo>
                    <a:pt x="190" y="126"/>
                    <a:pt x="188" y="128"/>
                    <a:pt x="186" y="130"/>
                  </a:cubicBezTo>
                  <a:cubicBezTo>
                    <a:pt x="185" y="131"/>
                    <a:pt x="185" y="131"/>
                    <a:pt x="185" y="131"/>
                  </a:cubicBezTo>
                  <a:cubicBezTo>
                    <a:pt x="184" y="131"/>
                    <a:pt x="183" y="131"/>
                    <a:pt x="183" y="131"/>
                  </a:cubicBezTo>
                  <a:cubicBezTo>
                    <a:pt x="182" y="131"/>
                    <a:pt x="182" y="131"/>
                    <a:pt x="182" y="131"/>
                  </a:cubicBezTo>
                  <a:cubicBezTo>
                    <a:pt x="182" y="131"/>
                    <a:pt x="182" y="131"/>
                    <a:pt x="182" y="131"/>
                  </a:cubicBezTo>
                  <a:cubicBezTo>
                    <a:pt x="182" y="131"/>
                    <a:pt x="181" y="131"/>
                    <a:pt x="181" y="131"/>
                  </a:cubicBezTo>
                  <a:cubicBezTo>
                    <a:pt x="180" y="131"/>
                    <a:pt x="180" y="131"/>
                    <a:pt x="180" y="131"/>
                  </a:cubicBezTo>
                  <a:cubicBezTo>
                    <a:pt x="179" y="131"/>
                    <a:pt x="179" y="131"/>
                    <a:pt x="179" y="131"/>
                  </a:cubicBezTo>
                  <a:cubicBezTo>
                    <a:pt x="179" y="130"/>
                    <a:pt x="178" y="130"/>
                    <a:pt x="177" y="130"/>
                  </a:cubicBezTo>
                  <a:cubicBezTo>
                    <a:pt x="177" y="129"/>
                    <a:pt x="177" y="129"/>
                    <a:pt x="177" y="129"/>
                  </a:cubicBezTo>
                  <a:cubicBezTo>
                    <a:pt x="176" y="128"/>
                    <a:pt x="175" y="128"/>
                    <a:pt x="174" y="127"/>
                  </a:cubicBezTo>
                  <a:cubicBezTo>
                    <a:pt x="174" y="127"/>
                    <a:pt x="174" y="127"/>
                    <a:pt x="174" y="127"/>
                  </a:cubicBezTo>
                  <a:cubicBezTo>
                    <a:pt x="174" y="127"/>
                    <a:pt x="173" y="127"/>
                    <a:pt x="173" y="127"/>
                  </a:cubicBezTo>
                  <a:cubicBezTo>
                    <a:pt x="173" y="127"/>
                    <a:pt x="173" y="127"/>
                    <a:pt x="172" y="127"/>
                  </a:cubicBezTo>
                  <a:cubicBezTo>
                    <a:pt x="172" y="127"/>
                    <a:pt x="171" y="127"/>
                    <a:pt x="170" y="127"/>
                  </a:cubicBezTo>
                  <a:cubicBezTo>
                    <a:pt x="169" y="127"/>
                    <a:pt x="169" y="127"/>
                    <a:pt x="169" y="127"/>
                  </a:cubicBezTo>
                  <a:cubicBezTo>
                    <a:pt x="169" y="128"/>
                    <a:pt x="168" y="128"/>
                    <a:pt x="168" y="128"/>
                  </a:cubicBezTo>
                  <a:cubicBezTo>
                    <a:pt x="167" y="128"/>
                    <a:pt x="167" y="128"/>
                    <a:pt x="167" y="128"/>
                  </a:cubicBezTo>
                  <a:cubicBezTo>
                    <a:pt x="166" y="128"/>
                    <a:pt x="166" y="128"/>
                    <a:pt x="165" y="129"/>
                  </a:cubicBezTo>
                  <a:cubicBezTo>
                    <a:pt x="164" y="129"/>
                    <a:pt x="164" y="129"/>
                    <a:pt x="163" y="130"/>
                  </a:cubicBezTo>
                  <a:cubicBezTo>
                    <a:pt x="162" y="130"/>
                    <a:pt x="162" y="130"/>
                    <a:pt x="162" y="130"/>
                  </a:cubicBezTo>
                  <a:cubicBezTo>
                    <a:pt x="160" y="131"/>
                    <a:pt x="159" y="132"/>
                    <a:pt x="158" y="133"/>
                  </a:cubicBezTo>
                  <a:cubicBezTo>
                    <a:pt x="162" y="136"/>
                    <a:pt x="162" y="136"/>
                    <a:pt x="162" y="136"/>
                  </a:cubicBezTo>
                  <a:cubicBezTo>
                    <a:pt x="158" y="138"/>
                    <a:pt x="158" y="138"/>
                    <a:pt x="158" y="138"/>
                  </a:cubicBezTo>
                  <a:cubicBezTo>
                    <a:pt x="157" y="139"/>
                    <a:pt x="156" y="139"/>
                    <a:pt x="155" y="139"/>
                  </a:cubicBezTo>
                  <a:cubicBezTo>
                    <a:pt x="153" y="140"/>
                    <a:pt x="151" y="141"/>
                    <a:pt x="149" y="142"/>
                  </a:cubicBezTo>
                  <a:cubicBezTo>
                    <a:pt x="148" y="142"/>
                    <a:pt x="148" y="142"/>
                    <a:pt x="148" y="142"/>
                  </a:cubicBezTo>
                  <a:cubicBezTo>
                    <a:pt x="148" y="142"/>
                    <a:pt x="147" y="142"/>
                    <a:pt x="146" y="142"/>
                  </a:cubicBezTo>
                  <a:cubicBezTo>
                    <a:pt x="144" y="142"/>
                    <a:pt x="142" y="142"/>
                    <a:pt x="139" y="141"/>
                  </a:cubicBezTo>
                  <a:cubicBezTo>
                    <a:pt x="138" y="140"/>
                    <a:pt x="138" y="140"/>
                    <a:pt x="138" y="140"/>
                  </a:cubicBezTo>
                  <a:cubicBezTo>
                    <a:pt x="138" y="140"/>
                    <a:pt x="138" y="140"/>
                    <a:pt x="138" y="140"/>
                  </a:cubicBezTo>
                  <a:cubicBezTo>
                    <a:pt x="137" y="140"/>
                    <a:pt x="137" y="140"/>
                    <a:pt x="136" y="141"/>
                  </a:cubicBezTo>
                  <a:cubicBezTo>
                    <a:pt x="136" y="141"/>
                    <a:pt x="136" y="141"/>
                    <a:pt x="135" y="141"/>
                  </a:cubicBezTo>
                  <a:cubicBezTo>
                    <a:pt x="135" y="141"/>
                    <a:pt x="134" y="142"/>
                    <a:pt x="134" y="142"/>
                  </a:cubicBezTo>
                  <a:cubicBezTo>
                    <a:pt x="133" y="142"/>
                    <a:pt x="133" y="142"/>
                    <a:pt x="133" y="142"/>
                  </a:cubicBezTo>
                  <a:cubicBezTo>
                    <a:pt x="132" y="143"/>
                    <a:pt x="131" y="144"/>
                    <a:pt x="131" y="145"/>
                  </a:cubicBezTo>
                  <a:cubicBezTo>
                    <a:pt x="129" y="146"/>
                    <a:pt x="128" y="147"/>
                    <a:pt x="127" y="148"/>
                  </a:cubicBezTo>
                  <a:cubicBezTo>
                    <a:pt x="127" y="148"/>
                    <a:pt x="127" y="148"/>
                    <a:pt x="127" y="148"/>
                  </a:cubicBezTo>
                  <a:cubicBezTo>
                    <a:pt x="127" y="148"/>
                    <a:pt x="126" y="149"/>
                    <a:pt x="126" y="150"/>
                  </a:cubicBezTo>
                  <a:cubicBezTo>
                    <a:pt x="126" y="150"/>
                    <a:pt x="126" y="150"/>
                    <a:pt x="126" y="151"/>
                  </a:cubicBezTo>
                  <a:cubicBezTo>
                    <a:pt x="125" y="152"/>
                    <a:pt x="125" y="152"/>
                    <a:pt x="125" y="152"/>
                  </a:cubicBezTo>
                  <a:cubicBezTo>
                    <a:pt x="125" y="155"/>
                    <a:pt x="124" y="157"/>
                    <a:pt x="124" y="160"/>
                  </a:cubicBezTo>
                  <a:cubicBezTo>
                    <a:pt x="125" y="161"/>
                    <a:pt x="124" y="162"/>
                    <a:pt x="124" y="163"/>
                  </a:cubicBezTo>
                  <a:cubicBezTo>
                    <a:pt x="124" y="164"/>
                    <a:pt x="124" y="166"/>
                    <a:pt x="123" y="167"/>
                  </a:cubicBezTo>
                  <a:cubicBezTo>
                    <a:pt x="123" y="168"/>
                    <a:pt x="123" y="168"/>
                    <a:pt x="123" y="168"/>
                  </a:cubicBezTo>
                  <a:cubicBezTo>
                    <a:pt x="123" y="168"/>
                    <a:pt x="123" y="168"/>
                    <a:pt x="123" y="168"/>
                  </a:cubicBezTo>
                  <a:cubicBezTo>
                    <a:pt x="124" y="169"/>
                    <a:pt x="124" y="170"/>
                    <a:pt x="124" y="171"/>
                  </a:cubicBezTo>
                  <a:cubicBezTo>
                    <a:pt x="124" y="172"/>
                    <a:pt x="124" y="174"/>
                    <a:pt x="123" y="176"/>
                  </a:cubicBezTo>
                  <a:cubicBezTo>
                    <a:pt x="122" y="178"/>
                    <a:pt x="120" y="178"/>
                    <a:pt x="118" y="178"/>
                  </a:cubicBezTo>
                  <a:cubicBezTo>
                    <a:pt x="116" y="179"/>
                    <a:pt x="116" y="179"/>
                    <a:pt x="116" y="179"/>
                  </a:cubicBezTo>
                  <a:cubicBezTo>
                    <a:pt x="114" y="180"/>
                    <a:pt x="112" y="180"/>
                    <a:pt x="110" y="181"/>
                  </a:cubicBezTo>
                  <a:cubicBezTo>
                    <a:pt x="107" y="182"/>
                    <a:pt x="105" y="182"/>
                    <a:pt x="102" y="183"/>
                  </a:cubicBezTo>
                  <a:cubicBezTo>
                    <a:pt x="95" y="183"/>
                    <a:pt x="95" y="183"/>
                    <a:pt x="95" y="183"/>
                  </a:cubicBezTo>
                  <a:cubicBezTo>
                    <a:pt x="93" y="183"/>
                    <a:pt x="91" y="183"/>
                    <a:pt x="88" y="183"/>
                  </a:cubicBezTo>
                  <a:cubicBezTo>
                    <a:pt x="86" y="184"/>
                    <a:pt x="83" y="184"/>
                    <a:pt x="80" y="185"/>
                  </a:cubicBezTo>
                  <a:cubicBezTo>
                    <a:pt x="79" y="185"/>
                    <a:pt x="79" y="185"/>
                    <a:pt x="78" y="185"/>
                  </a:cubicBezTo>
                  <a:cubicBezTo>
                    <a:pt x="77" y="186"/>
                    <a:pt x="76" y="186"/>
                    <a:pt x="76" y="187"/>
                  </a:cubicBezTo>
                  <a:cubicBezTo>
                    <a:pt x="74" y="188"/>
                    <a:pt x="74" y="188"/>
                    <a:pt x="74" y="188"/>
                  </a:cubicBezTo>
                  <a:cubicBezTo>
                    <a:pt x="74" y="188"/>
                    <a:pt x="74" y="188"/>
                    <a:pt x="73" y="188"/>
                  </a:cubicBezTo>
                  <a:cubicBezTo>
                    <a:pt x="73" y="188"/>
                    <a:pt x="73" y="188"/>
                    <a:pt x="72" y="188"/>
                  </a:cubicBezTo>
                  <a:cubicBezTo>
                    <a:pt x="71" y="189"/>
                    <a:pt x="71" y="189"/>
                    <a:pt x="71" y="189"/>
                  </a:cubicBezTo>
                  <a:cubicBezTo>
                    <a:pt x="71" y="189"/>
                    <a:pt x="70" y="189"/>
                    <a:pt x="70" y="189"/>
                  </a:cubicBezTo>
                  <a:cubicBezTo>
                    <a:pt x="69" y="189"/>
                    <a:pt x="69" y="189"/>
                    <a:pt x="69" y="189"/>
                  </a:cubicBezTo>
                  <a:cubicBezTo>
                    <a:pt x="69" y="189"/>
                    <a:pt x="69" y="189"/>
                    <a:pt x="69" y="189"/>
                  </a:cubicBezTo>
                  <a:cubicBezTo>
                    <a:pt x="68" y="189"/>
                    <a:pt x="67" y="189"/>
                    <a:pt x="67" y="189"/>
                  </a:cubicBezTo>
                  <a:cubicBezTo>
                    <a:pt x="66" y="189"/>
                    <a:pt x="66" y="189"/>
                    <a:pt x="65" y="189"/>
                  </a:cubicBezTo>
                  <a:cubicBezTo>
                    <a:pt x="63" y="188"/>
                    <a:pt x="63" y="188"/>
                    <a:pt x="63" y="188"/>
                  </a:cubicBezTo>
                  <a:cubicBezTo>
                    <a:pt x="62" y="188"/>
                    <a:pt x="61" y="188"/>
                    <a:pt x="60" y="188"/>
                  </a:cubicBezTo>
                  <a:cubicBezTo>
                    <a:pt x="59" y="187"/>
                    <a:pt x="59" y="187"/>
                    <a:pt x="59" y="187"/>
                  </a:cubicBezTo>
                  <a:cubicBezTo>
                    <a:pt x="59" y="187"/>
                    <a:pt x="58" y="187"/>
                    <a:pt x="57" y="187"/>
                  </a:cubicBezTo>
                  <a:cubicBezTo>
                    <a:pt x="57" y="187"/>
                    <a:pt x="57" y="187"/>
                    <a:pt x="57" y="187"/>
                  </a:cubicBezTo>
                  <a:cubicBezTo>
                    <a:pt x="47" y="188"/>
                    <a:pt x="47" y="188"/>
                    <a:pt x="47" y="188"/>
                  </a:cubicBezTo>
                  <a:cubicBezTo>
                    <a:pt x="48" y="193"/>
                    <a:pt x="48" y="193"/>
                    <a:pt x="48" y="193"/>
                  </a:cubicBezTo>
                  <a:cubicBezTo>
                    <a:pt x="46" y="188"/>
                    <a:pt x="46" y="188"/>
                    <a:pt x="46" y="188"/>
                  </a:cubicBezTo>
                  <a:cubicBezTo>
                    <a:pt x="42" y="188"/>
                    <a:pt x="42" y="188"/>
                    <a:pt x="42" y="188"/>
                  </a:cubicBezTo>
                  <a:cubicBezTo>
                    <a:pt x="41" y="188"/>
                    <a:pt x="41" y="188"/>
                    <a:pt x="40" y="189"/>
                  </a:cubicBezTo>
                  <a:cubicBezTo>
                    <a:pt x="40" y="189"/>
                    <a:pt x="40" y="189"/>
                    <a:pt x="40" y="189"/>
                  </a:cubicBezTo>
                  <a:cubicBezTo>
                    <a:pt x="39" y="189"/>
                    <a:pt x="38" y="189"/>
                    <a:pt x="37" y="189"/>
                  </a:cubicBezTo>
                  <a:cubicBezTo>
                    <a:pt x="37" y="189"/>
                    <a:pt x="36" y="189"/>
                    <a:pt x="36" y="189"/>
                  </a:cubicBezTo>
                  <a:cubicBezTo>
                    <a:pt x="35" y="189"/>
                    <a:pt x="34" y="189"/>
                    <a:pt x="33" y="189"/>
                  </a:cubicBezTo>
                  <a:cubicBezTo>
                    <a:pt x="0" y="180"/>
                    <a:pt x="0" y="180"/>
                    <a:pt x="0" y="180"/>
                  </a:cubicBezTo>
                  <a:cubicBezTo>
                    <a:pt x="1" y="181"/>
                    <a:pt x="2" y="182"/>
                    <a:pt x="3" y="183"/>
                  </a:cubicBezTo>
                  <a:cubicBezTo>
                    <a:pt x="3" y="183"/>
                    <a:pt x="3" y="183"/>
                    <a:pt x="4" y="184"/>
                  </a:cubicBezTo>
                  <a:cubicBezTo>
                    <a:pt x="4" y="185"/>
                    <a:pt x="4" y="185"/>
                    <a:pt x="5" y="186"/>
                  </a:cubicBezTo>
                  <a:cubicBezTo>
                    <a:pt x="7" y="189"/>
                    <a:pt x="9" y="192"/>
                    <a:pt x="12" y="195"/>
                  </a:cubicBezTo>
                  <a:cubicBezTo>
                    <a:pt x="14" y="198"/>
                    <a:pt x="17" y="202"/>
                    <a:pt x="19" y="205"/>
                  </a:cubicBezTo>
                  <a:cubicBezTo>
                    <a:pt x="20" y="207"/>
                    <a:pt x="22" y="208"/>
                    <a:pt x="24" y="208"/>
                  </a:cubicBezTo>
                  <a:cubicBezTo>
                    <a:pt x="25" y="209"/>
                    <a:pt x="26" y="209"/>
                    <a:pt x="27" y="209"/>
                  </a:cubicBezTo>
                  <a:cubicBezTo>
                    <a:pt x="28" y="210"/>
                    <a:pt x="28" y="210"/>
                    <a:pt x="28" y="210"/>
                  </a:cubicBezTo>
                  <a:cubicBezTo>
                    <a:pt x="28" y="210"/>
                    <a:pt x="29" y="210"/>
                    <a:pt x="29" y="210"/>
                  </a:cubicBezTo>
                  <a:cubicBezTo>
                    <a:pt x="30" y="210"/>
                    <a:pt x="30" y="210"/>
                    <a:pt x="30" y="210"/>
                  </a:cubicBezTo>
                  <a:cubicBezTo>
                    <a:pt x="31" y="211"/>
                    <a:pt x="31" y="211"/>
                    <a:pt x="32" y="211"/>
                  </a:cubicBezTo>
                  <a:cubicBezTo>
                    <a:pt x="34" y="212"/>
                    <a:pt x="35" y="212"/>
                    <a:pt x="36" y="213"/>
                  </a:cubicBezTo>
                  <a:cubicBezTo>
                    <a:pt x="39" y="214"/>
                    <a:pt x="40" y="215"/>
                    <a:pt x="41" y="216"/>
                  </a:cubicBezTo>
                  <a:cubicBezTo>
                    <a:pt x="42" y="218"/>
                    <a:pt x="42" y="220"/>
                    <a:pt x="41" y="223"/>
                  </a:cubicBezTo>
                  <a:cubicBezTo>
                    <a:pt x="41" y="224"/>
                    <a:pt x="41" y="224"/>
                    <a:pt x="41" y="224"/>
                  </a:cubicBezTo>
                  <a:cubicBezTo>
                    <a:pt x="46" y="224"/>
                    <a:pt x="46" y="224"/>
                    <a:pt x="46" y="224"/>
                  </a:cubicBezTo>
                  <a:cubicBezTo>
                    <a:pt x="41" y="225"/>
                    <a:pt x="41" y="225"/>
                    <a:pt x="41" y="225"/>
                  </a:cubicBezTo>
                  <a:cubicBezTo>
                    <a:pt x="41" y="234"/>
                    <a:pt x="41" y="234"/>
                    <a:pt x="41" y="234"/>
                  </a:cubicBezTo>
                  <a:cubicBezTo>
                    <a:pt x="41" y="234"/>
                    <a:pt x="41" y="235"/>
                    <a:pt x="41" y="235"/>
                  </a:cubicBezTo>
                  <a:cubicBezTo>
                    <a:pt x="41" y="236"/>
                    <a:pt x="41" y="238"/>
                    <a:pt x="41" y="239"/>
                  </a:cubicBezTo>
                  <a:cubicBezTo>
                    <a:pt x="41" y="239"/>
                    <a:pt x="41" y="239"/>
                    <a:pt x="41" y="239"/>
                  </a:cubicBezTo>
                  <a:cubicBezTo>
                    <a:pt x="42" y="239"/>
                    <a:pt x="42" y="239"/>
                    <a:pt x="42" y="239"/>
                  </a:cubicBezTo>
                  <a:cubicBezTo>
                    <a:pt x="45" y="239"/>
                    <a:pt x="45" y="239"/>
                    <a:pt x="45" y="239"/>
                  </a:cubicBezTo>
                  <a:cubicBezTo>
                    <a:pt x="47" y="239"/>
                    <a:pt x="48" y="239"/>
                    <a:pt x="51" y="239"/>
                  </a:cubicBezTo>
                  <a:cubicBezTo>
                    <a:pt x="54" y="240"/>
                    <a:pt x="54" y="240"/>
                    <a:pt x="54" y="240"/>
                  </a:cubicBezTo>
                  <a:cubicBezTo>
                    <a:pt x="53" y="243"/>
                    <a:pt x="53" y="243"/>
                    <a:pt x="53" y="243"/>
                  </a:cubicBezTo>
                  <a:cubicBezTo>
                    <a:pt x="52" y="247"/>
                    <a:pt x="51" y="250"/>
                    <a:pt x="51" y="254"/>
                  </a:cubicBezTo>
                  <a:cubicBezTo>
                    <a:pt x="50" y="256"/>
                    <a:pt x="50" y="256"/>
                    <a:pt x="50" y="256"/>
                  </a:cubicBezTo>
                  <a:cubicBezTo>
                    <a:pt x="50" y="257"/>
                    <a:pt x="49" y="258"/>
                    <a:pt x="48" y="259"/>
                  </a:cubicBezTo>
                  <a:cubicBezTo>
                    <a:pt x="46" y="260"/>
                    <a:pt x="44" y="261"/>
                    <a:pt x="42" y="261"/>
                  </a:cubicBezTo>
                  <a:cubicBezTo>
                    <a:pt x="41" y="261"/>
                    <a:pt x="41" y="261"/>
                    <a:pt x="41" y="261"/>
                  </a:cubicBezTo>
                  <a:cubicBezTo>
                    <a:pt x="41" y="261"/>
                    <a:pt x="40" y="261"/>
                    <a:pt x="40" y="261"/>
                  </a:cubicBezTo>
                  <a:cubicBezTo>
                    <a:pt x="30" y="262"/>
                    <a:pt x="30" y="262"/>
                    <a:pt x="30" y="262"/>
                  </a:cubicBezTo>
                  <a:cubicBezTo>
                    <a:pt x="29" y="263"/>
                    <a:pt x="28" y="263"/>
                    <a:pt x="28" y="263"/>
                  </a:cubicBezTo>
                  <a:cubicBezTo>
                    <a:pt x="27" y="264"/>
                    <a:pt x="26" y="265"/>
                    <a:pt x="25" y="265"/>
                  </a:cubicBezTo>
                  <a:cubicBezTo>
                    <a:pt x="24" y="266"/>
                    <a:pt x="24" y="266"/>
                    <a:pt x="24" y="266"/>
                  </a:cubicBezTo>
                  <a:cubicBezTo>
                    <a:pt x="23" y="267"/>
                    <a:pt x="22" y="268"/>
                    <a:pt x="22" y="268"/>
                  </a:cubicBezTo>
                  <a:cubicBezTo>
                    <a:pt x="21" y="269"/>
                    <a:pt x="21" y="269"/>
                    <a:pt x="21" y="269"/>
                  </a:cubicBezTo>
                  <a:cubicBezTo>
                    <a:pt x="19" y="269"/>
                    <a:pt x="19" y="269"/>
                    <a:pt x="19" y="272"/>
                  </a:cubicBezTo>
                  <a:cubicBezTo>
                    <a:pt x="18" y="277"/>
                    <a:pt x="17" y="281"/>
                    <a:pt x="16" y="285"/>
                  </a:cubicBezTo>
                  <a:cubicBezTo>
                    <a:pt x="15" y="287"/>
                    <a:pt x="15" y="287"/>
                    <a:pt x="15" y="287"/>
                  </a:cubicBezTo>
                  <a:cubicBezTo>
                    <a:pt x="15" y="287"/>
                    <a:pt x="15" y="288"/>
                    <a:pt x="15" y="288"/>
                  </a:cubicBezTo>
                  <a:cubicBezTo>
                    <a:pt x="15" y="290"/>
                    <a:pt x="15" y="291"/>
                    <a:pt x="14" y="293"/>
                  </a:cubicBezTo>
                  <a:cubicBezTo>
                    <a:pt x="14" y="293"/>
                    <a:pt x="14" y="293"/>
                    <a:pt x="14" y="293"/>
                  </a:cubicBezTo>
                  <a:cubicBezTo>
                    <a:pt x="15" y="294"/>
                    <a:pt x="14" y="294"/>
                    <a:pt x="15" y="297"/>
                  </a:cubicBezTo>
                  <a:cubicBezTo>
                    <a:pt x="15" y="297"/>
                    <a:pt x="15" y="297"/>
                    <a:pt x="15" y="297"/>
                  </a:cubicBezTo>
                  <a:cubicBezTo>
                    <a:pt x="17" y="297"/>
                    <a:pt x="18" y="296"/>
                    <a:pt x="21" y="295"/>
                  </a:cubicBezTo>
                  <a:cubicBezTo>
                    <a:pt x="23" y="295"/>
                    <a:pt x="25" y="293"/>
                    <a:pt x="26" y="293"/>
                  </a:cubicBezTo>
                  <a:cubicBezTo>
                    <a:pt x="27" y="293"/>
                    <a:pt x="27" y="294"/>
                    <a:pt x="28" y="296"/>
                  </a:cubicBezTo>
                  <a:cubicBezTo>
                    <a:pt x="32" y="293"/>
                    <a:pt x="33" y="292"/>
                    <a:pt x="37" y="292"/>
                  </a:cubicBezTo>
                  <a:cubicBezTo>
                    <a:pt x="38" y="292"/>
                    <a:pt x="38" y="292"/>
                    <a:pt x="39" y="292"/>
                  </a:cubicBezTo>
                  <a:cubicBezTo>
                    <a:pt x="43" y="292"/>
                    <a:pt x="47" y="292"/>
                    <a:pt x="51" y="293"/>
                  </a:cubicBezTo>
                  <a:cubicBezTo>
                    <a:pt x="51" y="293"/>
                    <a:pt x="53" y="293"/>
                    <a:pt x="54" y="293"/>
                  </a:cubicBezTo>
                  <a:cubicBezTo>
                    <a:pt x="55" y="293"/>
                    <a:pt x="56" y="293"/>
                    <a:pt x="55" y="292"/>
                  </a:cubicBezTo>
                  <a:cubicBezTo>
                    <a:pt x="59" y="290"/>
                    <a:pt x="63" y="289"/>
                    <a:pt x="67" y="289"/>
                  </a:cubicBezTo>
                  <a:cubicBezTo>
                    <a:pt x="68" y="289"/>
                    <a:pt x="68" y="289"/>
                    <a:pt x="69" y="289"/>
                  </a:cubicBezTo>
                  <a:cubicBezTo>
                    <a:pt x="68" y="288"/>
                    <a:pt x="68" y="287"/>
                    <a:pt x="70" y="287"/>
                  </a:cubicBezTo>
                  <a:cubicBezTo>
                    <a:pt x="70" y="287"/>
                    <a:pt x="70" y="287"/>
                    <a:pt x="71" y="287"/>
                  </a:cubicBezTo>
                  <a:cubicBezTo>
                    <a:pt x="69" y="287"/>
                    <a:pt x="69" y="288"/>
                    <a:pt x="69" y="289"/>
                  </a:cubicBezTo>
                  <a:cubicBezTo>
                    <a:pt x="70" y="290"/>
                    <a:pt x="72" y="290"/>
                    <a:pt x="73" y="290"/>
                  </a:cubicBezTo>
                  <a:cubicBezTo>
                    <a:pt x="75" y="291"/>
                    <a:pt x="77" y="291"/>
                    <a:pt x="79" y="291"/>
                  </a:cubicBezTo>
                  <a:cubicBezTo>
                    <a:pt x="80" y="292"/>
                    <a:pt x="82" y="294"/>
                    <a:pt x="83" y="294"/>
                  </a:cubicBezTo>
                  <a:cubicBezTo>
                    <a:pt x="83" y="294"/>
                    <a:pt x="83" y="293"/>
                    <a:pt x="84" y="293"/>
                  </a:cubicBezTo>
                  <a:cubicBezTo>
                    <a:pt x="83" y="293"/>
                    <a:pt x="83" y="293"/>
                    <a:pt x="83" y="293"/>
                  </a:cubicBezTo>
                  <a:cubicBezTo>
                    <a:pt x="94" y="289"/>
                    <a:pt x="104" y="288"/>
                    <a:pt x="116" y="288"/>
                  </a:cubicBezTo>
                  <a:cubicBezTo>
                    <a:pt x="116" y="288"/>
                    <a:pt x="116" y="288"/>
                    <a:pt x="116" y="288"/>
                  </a:cubicBezTo>
                  <a:cubicBezTo>
                    <a:pt x="117" y="288"/>
                    <a:pt x="118" y="288"/>
                    <a:pt x="119" y="288"/>
                  </a:cubicBezTo>
                  <a:cubicBezTo>
                    <a:pt x="120" y="288"/>
                    <a:pt x="121" y="288"/>
                    <a:pt x="122" y="288"/>
                  </a:cubicBezTo>
                  <a:cubicBezTo>
                    <a:pt x="124" y="288"/>
                    <a:pt x="125" y="288"/>
                    <a:pt x="126" y="287"/>
                  </a:cubicBezTo>
                  <a:cubicBezTo>
                    <a:pt x="126" y="287"/>
                    <a:pt x="126" y="287"/>
                    <a:pt x="126" y="287"/>
                  </a:cubicBezTo>
                  <a:cubicBezTo>
                    <a:pt x="126" y="287"/>
                    <a:pt x="126" y="286"/>
                    <a:pt x="126" y="286"/>
                  </a:cubicBezTo>
                  <a:cubicBezTo>
                    <a:pt x="125" y="286"/>
                    <a:pt x="125" y="286"/>
                    <a:pt x="125" y="286"/>
                  </a:cubicBezTo>
                  <a:cubicBezTo>
                    <a:pt x="124" y="286"/>
                    <a:pt x="124" y="285"/>
                    <a:pt x="123" y="285"/>
                  </a:cubicBezTo>
                  <a:cubicBezTo>
                    <a:pt x="123" y="284"/>
                    <a:pt x="124" y="283"/>
                    <a:pt x="125" y="283"/>
                  </a:cubicBezTo>
                  <a:cubicBezTo>
                    <a:pt x="125" y="283"/>
                    <a:pt x="125" y="283"/>
                    <a:pt x="125" y="283"/>
                  </a:cubicBezTo>
                  <a:cubicBezTo>
                    <a:pt x="125" y="283"/>
                    <a:pt x="127" y="285"/>
                    <a:pt x="127" y="286"/>
                  </a:cubicBezTo>
                  <a:cubicBezTo>
                    <a:pt x="128" y="288"/>
                    <a:pt x="127" y="288"/>
                    <a:pt x="128" y="290"/>
                  </a:cubicBezTo>
                  <a:cubicBezTo>
                    <a:pt x="130" y="293"/>
                    <a:pt x="131" y="292"/>
                    <a:pt x="131" y="295"/>
                  </a:cubicBezTo>
                  <a:cubicBezTo>
                    <a:pt x="131" y="296"/>
                    <a:pt x="130" y="300"/>
                    <a:pt x="131" y="301"/>
                  </a:cubicBezTo>
                  <a:cubicBezTo>
                    <a:pt x="131" y="301"/>
                    <a:pt x="132" y="301"/>
                    <a:pt x="133" y="301"/>
                  </a:cubicBezTo>
                  <a:cubicBezTo>
                    <a:pt x="138" y="300"/>
                    <a:pt x="138" y="300"/>
                    <a:pt x="138" y="300"/>
                  </a:cubicBezTo>
                  <a:cubicBezTo>
                    <a:pt x="140" y="304"/>
                    <a:pt x="140" y="304"/>
                    <a:pt x="140" y="304"/>
                  </a:cubicBezTo>
                  <a:cubicBezTo>
                    <a:pt x="142" y="306"/>
                    <a:pt x="142" y="306"/>
                    <a:pt x="142" y="306"/>
                  </a:cubicBezTo>
                  <a:cubicBezTo>
                    <a:pt x="143" y="309"/>
                    <a:pt x="143" y="311"/>
                    <a:pt x="144" y="313"/>
                  </a:cubicBezTo>
                  <a:cubicBezTo>
                    <a:pt x="145" y="318"/>
                    <a:pt x="145" y="321"/>
                    <a:pt x="149" y="321"/>
                  </a:cubicBezTo>
                  <a:cubicBezTo>
                    <a:pt x="150" y="321"/>
                    <a:pt x="150" y="321"/>
                    <a:pt x="151" y="321"/>
                  </a:cubicBezTo>
                  <a:cubicBezTo>
                    <a:pt x="152" y="321"/>
                    <a:pt x="153" y="321"/>
                    <a:pt x="155" y="321"/>
                  </a:cubicBezTo>
                  <a:cubicBezTo>
                    <a:pt x="160" y="321"/>
                    <a:pt x="164" y="323"/>
                    <a:pt x="162" y="330"/>
                  </a:cubicBezTo>
                  <a:cubicBezTo>
                    <a:pt x="163" y="329"/>
                    <a:pt x="163" y="329"/>
                    <a:pt x="164" y="328"/>
                  </a:cubicBezTo>
                  <a:cubicBezTo>
                    <a:pt x="163" y="327"/>
                    <a:pt x="163" y="327"/>
                    <a:pt x="163" y="327"/>
                  </a:cubicBezTo>
                  <a:cubicBezTo>
                    <a:pt x="164" y="327"/>
                    <a:pt x="164" y="327"/>
                    <a:pt x="164" y="327"/>
                  </a:cubicBezTo>
                  <a:cubicBezTo>
                    <a:pt x="165" y="326"/>
                    <a:pt x="165" y="326"/>
                    <a:pt x="165" y="326"/>
                  </a:cubicBezTo>
                  <a:cubicBezTo>
                    <a:pt x="165" y="326"/>
                    <a:pt x="165" y="326"/>
                    <a:pt x="165" y="326"/>
                  </a:cubicBezTo>
                  <a:cubicBezTo>
                    <a:pt x="172" y="321"/>
                    <a:pt x="172" y="321"/>
                    <a:pt x="172" y="321"/>
                  </a:cubicBezTo>
                  <a:cubicBezTo>
                    <a:pt x="173" y="321"/>
                    <a:pt x="173" y="321"/>
                    <a:pt x="173" y="321"/>
                  </a:cubicBezTo>
                  <a:cubicBezTo>
                    <a:pt x="174" y="321"/>
                    <a:pt x="174" y="321"/>
                    <a:pt x="175" y="321"/>
                  </a:cubicBezTo>
                  <a:cubicBezTo>
                    <a:pt x="176" y="321"/>
                    <a:pt x="176" y="321"/>
                    <a:pt x="176" y="321"/>
                  </a:cubicBezTo>
                  <a:cubicBezTo>
                    <a:pt x="176" y="320"/>
                    <a:pt x="176" y="319"/>
                    <a:pt x="176" y="318"/>
                  </a:cubicBezTo>
                  <a:cubicBezTo>
                    <a:pt x="176" y="316"/>
                    <a:pt x="176" y="315"/>
                    <a:pt x="176" y="314"/>
                  </a:cubicBezTo>
                  <a:cubicBezTo>
                    <a:pt x="177" y="312"/>
                    <a:pt x="177" y="312"/>
                    <a:pt x="177" y="312"/>
                  </a:cubicBezTo>
                  <a:cubicBezTo>
                    <a:pt x="180" y="312"/>
                    <a:pt x="180" y="312"/>
                    <a:pt x="180" y="312"/>
                  </a:cubicBezTo>
                  <a:cubicBezTo>
                    <a:pt x="184" y="312"/>
                    <a:pt x="189" y="313"/>
                    <a:pt x="193" y="314"/>
                  </a:cubicBezTo>
                  <a:cubicBezTo>
                    <a:pt x="194" y="309"/>
                    <a:pt x="194" y="309"/>
                    <a:pt x="194" y="309"/>
                  </a:cubicBezTo>
                  <a:cubicBezTo>
                    <a:pt x="194" y="314"/>
                    <a:pt x="194" y="314"/>
                    <a:pt x="194" y="314"/>
                  </a:cubicBezTo>
                  <a:cubicBezTo>
                    <a:pt x="201" y="315"/>
                    <a:pt x="201" y="315"/>
                    <a:pt x="201" y="315"/>
                  </a:cubicBezTo>
                  <a:cubicBezTo>
                    <a:pt x="202" y="315"/>
                    <a:pt x="203" y="315"/>
                    <a:pt x="203" y="315"/>
                  </a:cubicBezTo>
                  <a:cubicBezTo>
                    <a:pt x="204" y="315"/>
                    <a:pt x="205" y="315"/>
                    <a:pt x="206" y="316"/>
                  </a:cubicBezTo>
                  <a:cubicBezTo>
                    <a:pt x="206" y="316"/>
                    <a:pt x="207" y="316"/>
                    <a:pt x="207" y="316"/>
                  </a:cubicBezTo>
                  <a:cubicBezTo>
                    <a:pt x="207" y="316"/>
                    <a:pt x="207" y="316"/>
                    <a:pt x="208" y="316"/>
                  </a:cubicBezTo>
                  <a:cubicBezTo>
                    <a:pt x="208" y="315"/>
                    <a:pt x="208" y="315"/>
                    <a:pt x="208" y="315"/>
                  </a:cubicBezTo>
                  <a:cubicBezTo>
                    <a:pt x="208" y="315"/>
                    <a:pt x="208" y="314"/>
                    <a:pt x="209" y="314"/>
                  </a:cubicBezTo>
                  <a:cubicBezTo>
                    <a:pt x="211" y="312"/>
                    <a:pt x="214" y="311"/>
                    <a:pt x="216" y="311"/>
                  </a:cubicBezTo>
                  <a:cubicBezTo>
                    <a:pt x="217" y="311"/>
                    <a:pt x="217" y="311"/>
                    <a:pt x="217" y="311"/>
                  </a:cubicBezTo>
                  <a:cubicBezTo>
                    <a:pt x="217" y="310"/>
                    <a:pt x="218" y="310"/>
                    <a:pt x="218" y="310"/>
                  </a:cubicBezTo>
                  <a:cubicBezTo>
                    <a:pt x="219" y="310"/>
                    <a:pt x="219" y="310"/>
                    <a:pt x="219" y="310"/>
                  </a:cubicBezTo>
                  <a:cubicBezTo>
                    <a:pt x="220" y="310"/>
                    <a:pt x="221" y="309"/>
                    <a:pt x="222" y="309"/>
                  </a:cubicBezTo>
                  <a:cubicBezTo>
                    <a:pt x="223" y="309"/>
                    <a:pt x="224" y="310"/>
                    <a:pt x="225" y="311"/>
                  </a:cubicBezTo>
                  <a:cubicBezTo>
                    <a:pt x="225" y="311"/>
                    <a:pt x="225" y="312"/>
                    <a:pt x="225" y="313"/>
                  </a:cubicBezTo>
                  <a:cubicBezTo>
                    <a:pt x="226" y="313"/>
                    <a:pt x="226" y="313"/>
                    <a:pt x="226" y="313"/>
                  </a:cubicBezTo>
                  <a:cubicBezTo>
                    <a:pt x="227" y="313"/>
                    <a:pt x="227" y="313"/>
                    <a:pt x="227" y="313"/>
                  </a:cubicBezTo>
                  <a:cubicBezTo>
                    <a:pt x="227" y="312"/>
                    <a:pt x="227" y="312"/>
                    <a:pt x="227" y="312"/>
                  </a:cubicBezTo>
                  <a:cubicBezTo>
                    <a:pt x="228" y="312"/>
                    <a:pt x="228" y="312"/>
                    <a:pt x="229" y="312"/>
                  </a:cubicBezTo>
                  <a:cubicBezTo>
                    <a:pt x="229" y="311"/>
                    <a:pt x="228" y="310"/>
                    <a:pt x="229" y="309"/>
                  </a:cubicBezTo>
                  <a:cubicBezTo>
                    <a:pt x="229" y="308"/>
                    <a:pt x="229" y="308"/>
                    <a:pt x="229" y="307"/>
                  </a:cubicBezTo>
                  <a:cubicBezTo>
                    <a:pt x="229" y="306"/>
                    <a:pt x="230" y="306"/>
                    <a:pt x="230" y="305"/>
                  </a:cubicBezTo>
                  <a:cubicBezTo>
                    <a:pt x="230" y="305"/>
                    <a:pt x="230" y="305"/>
                    <a:pt x="230" y="304"/>
                  </a:cubicBezTo>
                  <a:cubicBezTo>
                    <a:pt x="226" y="296"/>
                    <a:pt x="226" y="296"/>
                    <a:pt x="226" y="296"/>
                  </a:cubicBezTo>
                  <a:cubicBezTo>
                    <a:pt x="226" y="295"/>
                    <a:pt x="225" y="295"/>
                    <a:pt x="225" y="294"/>
                  </a:cubicBezTo>
                  <a:cubicBezTo>
                    <a:pt x="221" y="296"/>
                    <a:pt x="221" y="296"/>
                    <a:pt x="221" y="296"/>
                  </a:cubicBezTo>
                  <a:cubicBezTo>
                    <a:pt x="224" y="293"/>
                    <a:pt x="224" y="293"/>
                    <a:pt x="224" y="293"/>
                  </a:cubicBezTo>
                  <a:cubicBezTo>
                    <a:pt x="224" y="292"/>
                    <a:pt x="224" y="292"/>
                    <a:pt x="224" y="292"/>
                  </a:cubicBezTo>
                  <a:cubicBezTo>
                    <a:pt x="224" y="291"/>
                    <a:pt x="224" y="291"/>
                    <a:pt x="223" y="290"/>
                  </a:cubicBezTo>
                  <a:cubicBezTo>
                    <a:pt x="223" y="288"/>
                    <a:pt x="222" y="287"/>
                    <a:pt x="222" y="285"/>
                  </a:cubicBezTo>
                  <a:cubicBezTo>
                    <a:pt x="222" y="284"/>
                    <a:pt x="222" y="284"/>
                    <a:pt x="222" y="283"/>
                  </a:cubicBezTo>
                  <a:cubicBezTo>
                    <a:pt x="221" y="283"/>
                    <a:pt x="221" y="284"/>
                    <a:pt x="220" y="284"/>
                  </a:cubicBezTo>
                  <a:cubicBezTo>
                    <a:pt x="220" y="284"/>
                    <a:pt x="220" y="284"/>
                    <a:pt x="220" y="284"/>
                  </a:cubicBezTo>
                  <a:cubicBezTo>
                    <a:pt x="218" y="284"/>
                    <a:pt x="218" y="284"/>
                    <a:pt x="217" y="284"/>
                  </a:cubicBezTo>
                  <a:cubicBezTo>
                    <a:pt x="217" y="283"/>
                    <a:pt x="217" y="283"/>
                    <a:pt x="217" y="283"/>
                  </a:cubicBezTo>
                  <a:cubicBezTo>
                    <a:pt x="216" y="283"/>
                    <a:pt x="216" y="283"/>
                    <a:pt x="215" y="283"/>
                  </a:cubicBezTo>
                  <a:cubicBezTo>
                    <a:pt x="215" y="283"/>
                    <a:pt x="215" y="283"/>
                    <a:pt x="215" y="283"/>
                  </a:cubicBezTo>
                  <a:cubicBezTo>
                    <a:pt x="214" y="282"/>
                    <a:pt x="214" y="282"/>
                    <a:pt x="214" y="282"/>
                  </a:cubicBezTo>
                  <a:cubicBezTo>
                    <a:pt x="214" y="282"/>
                    <a:pt x="214" y="282"/>
                    <a:pt x="214" y="282"/>
                  </a:cubicBezTo>
                  <a:cubicBezTo>
                    <a:pt x="213" y="282"/>
                    <a:pt x="213" y="282"/>
                    <a:pt x="213" y="282"/>
                  </a:cubicBezTo>
                  <a:cubicBezTo>
                    <a:pt x="211" y="280"/>
                    <a:pt x="210" y="277"/>
                    <a:pt x="210" y="274"/>
                  </a:cubicBezTo>
                  <a:cubicBezTo>
                    <a:pt x="210" y="274"/>
                    <a:pt x="209" y="273"/>
                    <a:pt x="209" y="272"/>
                  </a:cubicBezTo>
                  <a:cubicBezTo>
                    <a:pt x="208" y="270"/>
                    <a:pt x="209" y="267"/>
                    <a:pt x="209" y="265"/>
                  </a:cubicBezTo>
                  <a:cubicBezTo>
                    <a:pt x="209" y="264"/>
                    <a:pt x="209" y="264"/>
                    <a:pt x="209" y="264"/>
                  </a:cubicBezTo>
                  <a:cubicBezTo>
                    <a:pt x="209" y="263"/>
                    <a:pt x="210" y="262"/>
                    <a:pt x="210" y="261"/>
                  </a:cubicBezTo>
                  <a:cubicBezTo>
                    <a:pt x="209" y="261"/>
                    <a:pt x="209" y="261"/>
                    <a:pt x="209" y="261"/>
                  </a:cubicBezTo>
                  <a:cubicBezTo>
                    <a:pt x="209" y="261"/>
                    <a:pt x="209" y="261"/>
                    <a:pt x="209" y="261"/>
                  </a:cubicBezTo>
                  <a:cubicBezTo>
                    <a:pt x="208" y="261"/>
                    <a:pt x="208" y="261"/>
                    <a:pt x="208" y="261"/>
                  </a:cubicBezTo>
                  <a:cubicBezTo>
                    <a:pt x="207" y="261"/>
                    <a:pt x="205" y="261"/>
                    <a:pt x="204" y="260"/>
                  </a:cubicBezTo>
                  <a:cubicBezTo>
                    <a:pt x="203" y="265"/>
                    <a:pt x="203" y="265"/>
                    <a:pt x="203" y="265"/>
                  </a:cubicBezTo>
                  <a:cubicBezTo>
                    <a:pt x="202" y="260"/>
                    <a:pt x="202" y="260"/>
                    <a:pt x="202" y="260"/>
                  </a:cubicBezTo>
                  <a:cubicBezTo>
                    <a:pt x="202" y="260"/>
                    <a:pt x="202" y="260"/>
                    <a:pt x="202" y="260"/>
                  </a:cubicBezTo>
                  <a:cubicBezTo>
                    <a:pt x="199" y="259"/>
                    <a:pt x="196" y="258"/>
                    <a:pt x="195" y="256"/>
                  </a:cubicBezTo>
                  <a:cubicBezTo>
                    <a:pt x="194" y="255"/>
                    <a:pt x="194" y="254"/>
                    <a:pt x="193" y="253"/>
                  </a:cubicBezTo>
                  <a:cubicBezTo>
                    <a:pt x="192" y="250"/>
                    <a:pt x="193" y="246"/>
                    <a:pt x="196" y="242"/>
                  </a:cubicBezTo>
                  <a:cubicBezTo>
                    <a:pt x="198" y="238"/>
                    <a:pt x="201" y="235"/>
                    <a:pt x="204" y="232"/>
                  </a:cubicBezTo>
                  <a:cubicBezTo>
                    <a:pt x="205" y="231"/>
                    <a:pt x="205" y="231"/>
                    <a:pt x="205" y="231"/>
                  </a:cubicBezTo>
                  <a:cubicBezTo>
                    <a:pt x="205" y="230"/>
                    <a:pt x="206" y="229"/>
                    <a:pt x="207" y="228"/>
                  </a:cubicBezTo>
                  <a:cubicBezTo>
                    <a:pt x="207" y="228"/>
                    <a:pt x="208" y="227"/>
                    <a:pt x="209" y="226"/>
                  </a:cubicBezTo>
                  <a:cubicBezTo>
                    <a:pt x="209" y="226"/>
                    <a:pt x="209" y="226"/>
                    <a:pt x="209" y="226"/>
                  </a:cubicBezTo>
                  <a:cubicBezTo>
                    <a:pt x="209" y="225"/>
                    <a:pt x="210" y="225"/>
                    <a:pt x="210" y="225"/>
                  </a:cubicBezTo>
                  <a:cubicBezTo>
                    <a:pt x="212" y="223"/>
                    <a:pt x="212" y="223"/>
                    <a:pt x="212" y="223"/>
                  </a:cubicBezTo>
                  <a:cubicBezTo>
                    <a:pt x="213" y="222"/>
                    <a:pt x="213" y="222"/>
                    <a:pt x="213" y="222"/>
                  </a:cubicBezTo>
                  <a:cubicBezTo>
                    <a:pt x="213" y="222"/>
                    <a:pt x="213" y="222"/>
                    <a:pt x="213" y="222"/>
                  </a:cubicBezTo>
                  <a:cubicBezTo>
                    <a:pt x="210" y="218"/>
                    <a:pt x="210" y="218"/>
                    <a:pt x="210" y="218"/>
                  </a:cubicBezTo>
                  <a:cubicBezTo>
                    <a:pt x="214" y="221"/>
                    <a:pt x="214" y="221"/>
                    <a:pt x="214" y="221"/>
                  </a:cubicBezTo>
                  <a:cubicBezTo>
                    <a:pt x="214" y="221"/>
                    <a:pt x="214" y="221"/>
                    <a:pt x="214" y="221"/>
                  </a:cubicBezTo>
                  <a:cubicBezTo>
                    <a:pt x="215" y="220"/>
                    <a:pt x="216" y="220"/>
                    <a:pt x="216" y="219"/>
                  </a:cubicBezTo>
                  <a:cubicBezTo>
                    <a:pt x="217" y="219"/>
                    <a:pt x="217" y="219"/>
                    <a:pt x="217" y="219"/>
                  </a:cubicBezTo>
                  <a:cubicBezTo>
                    <a:pt x="217" y="219"/>
                    <a:pt x="218" y="219"/>
                    <a:pt x="219" y="219"/>
                  </a:cubicBezTo>
                  <a:cubicBezTo>
                    <a:pt x="219" y="216"/>
                    <a:pt x="219" y="216"/>
                    <a:pt x="219" y="216"/>
                  </a:cubicBezTo>
                  <a:cubicBezTo>
                    <a:pt x="220" y="219"/>
                    <a:pt x="220" y="219"/>
                    <a:pt x="220" y="219"/>
                  </a:cubicBezTo>
                  <a:cubicBezTo>
                    <a:pt x="220" y="219"/>
                    <a:pt x="221" y="219"/>
                    <a:pt x="221" y="219"/>
                  </a:cubicBezTo>
                  <a:cubicBezTo>
                    <a:pt x="221" y="219"/>
                    <a:pt x="222" y="219"/>
                    <a:pt x="222" y="219"/>
                  </a:cubicBezTo>
                  <a:cubicBezTo>
                    <a:pt x="223" y="219"/>
                    <a:pt x="223" y="220"/>
                    <a:pt x="224" y="220"/>
                  </a:cubicBezTo>
                  <a:cubicBezTo>
                    <a:pt x="224" y="220"/>
                    <a:pt x="225" y="221"/>
                    <a:pt x="225" y="221"/>
                  </a:cubicBezTo>
                  <a:cubicBezTo>
                    <a:pt x="226" y="222"/>
                    <a:pt x="226" y="223"/>
                    <a:pt x="227" y="224"/>
                  </a:cubicBezTo>
                  <a:cubicBezTo>
                    <a:pt x="227" y="224"/>
                    <a:pt x="227" y="224"/>
                    <a:pt x="227" y="224"/>
                  </a:cubicBezTo>
                  <a:cubicBezTo>
                    <a:pt x="227" y="225"/>
                    <a:pt x="228" y="226"/>
                    <a:pt x="228" y="226"/>
                  </a:cubicBezTo>
                  <a:cubicBezTo>
                    <a:pt x="228" y="226"/>
                    <a:pt x="229" y="226"/>
                    <a:pt x="229" y="226"/>
                  </a:cubicBezTo>
                  <a:cubicBezTo>
                    <a:pt x="229" y="226"/>
                    <a:pt x="229" y="226"/>
                    <a:pt x="230" y="226"/>
                  </a:cubicBezTo>
                  <a:cubicBezTo>
                    <a:pt x="230" y="226"/>
                    <a:pt x="230" y="226"/>
                    <a:pt x="230" y="226"/>
                  </a:cubicBezTo>
                  <a:cubicBezTo>
                    <a:pt x="232" y="225"/>
                    <a:pt x="234" y="224"/>
                    <a:pt x="236" y="224"/>
                  </a:cubicBezTo>
                  <a:cubicBezTo>
                    <a:pt x="237" y="224"/>
                    <a:pt x="237" y="224"/>
                    <a:pt x="237" y="224"/>
                  </a:cubicBezTo>
                  <a:cubicBezTo>
                    <a:pt x="237" y="219"/>
                    <a:pt x="237" y="219"/>
                    <a:pt x="237" y="219"/>
                  </a:cubicBezTo>
                  <a:cubicBezTo>
                    <a:pt x="238" y="223"/>
                    <a:pt x="238" y="223"/>
                    <a:pt x="238" y="223"/>
                  </a:cubicBezTo>
                  <a:cubicBezTo>
                    <a:pt x="240" y="223"/>
                    <a:pt x="240" y="223"/>
                    <a:pt x="240" y="223"/>
                  </a:cubicBezTo>
                  <a:cubicBezTo>
                    <a:pt x="240" y="223"/>
                    <a:pt x="240" y="223"/>
                    <a:pt x="241" y="223"/>
                  </a:cubicBezTo>
                  <a:cubicBezTo>
                    <a:pt x="242" y="223"/>
                    <a:pt x="242" y="223"/>
                    <a:pt x="242" y="223"/>
                  </a:cubicBezTo>
                  <a:cubicBezTo>
                    <a:pt x="243" y="223"/>
                    <a:pt x="246" y="223"/>
                    <a:pt x="247" y="222"/>
                  </a:cubicBezTo>
                  <a:cubicBezTo>
                    <a:pt x="248" y="222"/>
                    <a:pt x="248" y="222"/>
                    <a:pt x="248" y="222"/>
                  </a:cubicBezTo>
                  <a:cubicBezTo>
                    <a:pt x="261" y="205"/>
                    <a:pt x="261" y="205"/>
                    <a:pt x="261" y="205"/>
                  </a:cubicBezTo>
                  <a:cubicBezTo>
                    <a:pt x="261" y="0"/>
                    <a:pt x="261" y="0"/>
                    <a:pt x="2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286"/>
            <p:cNvSpPr/>
            <p:nvPr/>
          </p:nvSpPr>
          <p:spPr bwMode="auto">
            <a:xfrm>
              <a:off x="7033" y="512"/>
              <a:ext cx="645" cy="551"/>
            </a:xfrm>
            <a:custGeom>
              <a:gdLst>
                <a:gd name="T0" fmla="*/ 230 w 273"/>
                <a:gd name="T1" fmla="*/ 10 h 233"/>
                <a:gd name="T2" fmla="*/ 228 w 273"/>
                <a:gd name="T3" fmla="*/ 21 h 233"/>
                <a:gd name="T4" fmla="*/ 222 w 273"/>
                <a:gd name="T5" fmla="*/ 25 h 233"/>
                <a:gd name="T6" fmla="*/ 210 w 273"/>
                <a:gd name="T7" fmla="*/ 26 h 233"/>
                <a:gd name="T8" fmla="*/ 207 w 273"/>
                <a:gd name="T9" fmla="*/ 35 h 233"/>
                <a:gd name="T10" fmla="*/ 195 w 273"/>
                <a:gd name="T11" fmla="*/ 31 h 233"/>
                <a:gd name="T12" fmla="*/ 184 w 273"/>
                <a:gd name="T13" fmla="*/ 35 h 233"/>
                <a:gd name="T14" fmla="*/ 174 w 273"/>
                <a:gd name="T15" fmla="*/ 41 h 233"/>
                <a:gd name="T16" fmla="*/ 165 w 273"/>
                <a:gd name="T17" fmla="*/ 34 h 233"/>
                <a:gd name="T18" fmla="*/ 156 w 273"/>
                <a:gd name="T19" fmla="*/ 34 h 233"/>
                <a:gd name="T20" fmla="*/ 142 w 273"/>
                <a:gd name="T21" fmla="*/ 30 h 233"/>
                <a:gd name="T22" fmla="*/ 137 w 273"/>
                <a:gd name="T23" fmla="*/ 30 h 233"/>
                <a:gd name="T24" fmla="*/ 125 w 273"/>
                <a:gd name="T25" fmla="*/ 27 h 233"/>
                <a:gd name="T26" fmla="*/ 110 w 273"/>
                <a:gd name="T27" fmla="*/ 33 h 233"/>
                <a:gd name="T28" fmla="*/ 93 w 273"/>
                <a:gd name="T29" fmla="*/ 57 h 233"/>
                <a:gd name="T30" fmla="*/ 63 w 273"/>
                <a:gd name="T31" fmla="*/ 71 h 233"/>
                <a:gd name="T32" fmla="*/ 54 w 273"/>
                <a:gd name="T33" fmla="*/ 84 h 233"/>
                <a:gd name="T34" fmla="*/ 40 w 273"/>
                <a:gd name="T35" fmla="*/ 89 h 233"/>
                <a:gd name="T36" fmla="*/ 32 w 273"/>
                <a:gd name="T37" fmla="*/ 83 h 233"/>
                <a:gd name="T38" fmla="*/ 20 w 273"/>
                <a:gd name="T39" fmla="*/ 79 h 233"/>
                <a:gd name="T40" fmla="*/ 13 w 273"/>
                <a:gd name="T41" fmla="*/ 94 h 233"/>
                <a:gd name="T42" fmla="*/ 9 w 273"/>
                <a:gd name="T43" fmla="*/ 107 h 233"/>
                <a:gd name="T44" fmla="*/ 2 w 273"/>
                <a:gd name="T45" fmla="*/ 125 h 233"/>
                <a:gd name="T46" fmla="*/ 9 w 273"/>
                <a:gd name="T47" fmla="*/ 132 h 233"/>
                <a:gd name="T48" fmla="*/ 7 w 273"/>
                <a:gd name="T49" fmla="*/ 159 h 233"/>
                <a:gd name="T50" fmla="*/ 7 w 273"/>
                <a:gd name="T51" fmla="*/ 174 h 233"/>
                <a:gd name="T52" fmla="*/ 9 w 273"/>
                <a:gd name="T53" fmla="*/ 180 h 233"/>
                <a:gd name="T54" fmla="*/ 29 w 273"/>
                <a:gd name="T55" fmla="*/ 201 h 233"/>
                <a:gd name="T56" fmla="*/ 47 w 273"/>
                <a:gd name="T57" fmla="*/ 233 h 233"/>
                <a:gd name="T58" fmla="*/ 58 w 273"/>
                <a:gd name="T59" fmla="*/ 232 h 233"/>
                <a:gd name="T60" fmla="*/ 72 w 273"/>
                <a:gd name="T61" fmla="*/ 232 h 233"/>
                <a:gd name="T62" fmla="*/ 81 w 273"/>
                <a:gd name="T63" fmla="*/ 233 h 233"/>
                <a:gd name="T64" fmla="*/ 112 w 273"/>
                <a:gd name="T65" fmla="*/ 227 h 233"/>
                <a:gd name="T66" fmla="*/ 131 w 273"/>
                <a:gd name="T67" fmla="*/ 222 h 233"/>
                <a:gd name="T68" fmla="*/ 132 w 273"/>
                <a:gd name="T69" fmla="*/ 198 h 233"/>
                <a:gd name="T70" fmla="*/ 142 w 273"/>
                <a:gd name="T71" fmla="*/ 187 h 233"/>
                <a:gd name="T72" fmla="*/ 150 w 273"/>
                <a:gd name="T73" fmla="*/ 185 h 233"/>
                <a:gd name="T74" fmla="*/ 158 w 273"/>
                <a:gd name="T75" fmla="*/ 187 h 233"/>
                <a:gd name="T76" fmla="*/ 171 w 273"/>
                <a:gd name="T77" fmla="*/ 176 h 233"/>
                <a:gd name="T78" fmla="*/ 180 w 273"/>
                <a:gd name="T79" fmla="*/ 172 h 233"/>
                <a:gd name="T80" fmla="*/ 189 w 273"/>
                <a:gd name="T81" fmla="*/ 172 h 233"/>
                <a:gd name="T82" fmla="*/ 196 w 273"/>
                <a:gd name="T83" fmla="*/ 174 h 233"/>
                <a:gd name="T84" fmla="*/ 201 w 273"/>
                <a:gd name="T85" fmla="*/ 155 h 233"/>
                <a:gd name="T86" fmla="*/ 205 w 273"/>
                <a:gd name="T87" fmla="*/ 147 h 233"/>
                <a:gd name="T88" fmla="*/ 214 w 273"/>
                <a:gd name="T89" fmla="*/ 138 h 233"/>
                <a:gd name="T90" fmla="*/ 219 w 273"/>
                <a:gd name="T91" fmla="*/ 125 h 233"/>
                <a:gd name="T92" fmla="*/ 217 w 273"/>
                <a:gd name="T93" fmla="*/ 114 h 233"/>
                <a:gd name="T94" fmla="*/ 234 w 273"/>
                <a:gd name="T95" fmla="*/ 115 h 233"/>
                <a:gd name="T96" fmla="*/ 244 w 273"/>
                <a:gd name="T97" fmla="*/ 109 h 233"/>
                <a:gd name="T98" fmla="*/ 249 w 273"/>
                <a:gd name="T99" fmla="*/ 91 h 233"/>
                <a:gd name="T100" fmla="*/ 255 w 273"/>
                <a:gd name="T101" fmla="*/ 83 h 233"/>
                <a:gd name="T102" fmla="*/ 252 w 273"/>
                <a:gd name="T103" fmla="*/ 73 h 233"/>
                <a:gd name="T104" fmla="*/ 247 w 273"/>
                <a:gd name="T105" fmla="*/ 65 h 233"/>
                <a:gd name="T106" fmla="*/ 259 w 273"/>
                <a:gd name="T107" fmla="*/ 48 h 233"/>
                <a:gd name="T108" fmla="*/ 273 w 273"/>
                <a:gd name="T109" fmla="*/ 43 h 233"/>
                <a:gd name="T110" fmla="*/ 258 w 273"/>
                <a:gd name="T111" fmla="*/ 47 h 233"/>
                <a:gd name="T112" fmla="*/ 252 w 273"/>
                <a:gd name="T113" fmla="*/ 30 h 233"/>
                <a:gd name="T114" fmla="*/ 250 w 273"/>
                <a:gd name="T115" fmla="*/ 12 h 233"/>
                <a:gd name="T116" fmla="*/ 247 w 273"/>
                <a:gd name="T117" fmla="*/ 4 h 2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3" h="233">
                  <a:moveTo>
                    <a:pt x="243" y="0"/>
                  </a:moveTo>
                  <a:cubicBezTo>
                    <a:pt x="243" y="0"/>
                    <a:pt x="243" y="0"/>
                    <a:pt x="243" y="0"/>
                  </a:cubicBezTo>
                  <a:cubicBezTo>
                    <a:pt x="241" y="0"/>
                    <a:pt x="240" y="0"/>
                    <a:pt x="240" y="0"/>
                  </a:cubicBezTo>
                  <a:cubicBezTo>
                    <a:pt x="238" y="2"/>
                    <a:pt x="236" y="4"/>
                    <a:pt x="235" y="6"/>
                  </a:cubicBezTo>
                  <a:cubicBezTo>
                    <a:pt x="234" y="7"/>
                    <a:pt x="232" y="8"/>
                    <a:pt x="231" y="10"/>
                  </a:cubicBezTo>
                  <a:cubicBezTo>
                    <a:pt x="230" y="10"/>
                    <a:pt x="230" y="10"/>
                    <a:pt x="230" y="10"/>
                  </a:cubicBezTo>
                  <a:cubicBezTo>
                    <a:pt x="229" y="11"/>
                    <a:pt x="228" y="12"/>
                    <a:pt x="227" y="13"/>
                  </a:cubicBezTo>
                  <a:cubicBezTo>
                    <a:pt x="227" y="13"/>
                    <a:pt x="227" y="13"/>
                    <a:pt x="227" y="13"/>
                  </a:cubicBezTo>
                  <a:cubicBezTo>
                    <a:pt x="228" y="13"/>
                    <a:pt x="228" y="13"/>
                    <a:pt x="228" y="13"/>
                  </a:cubicBezTo>
                  <a:cubicBezTo>
                    <a:pt x="228" y="14"/>
                    <a:pt x="229" y="15"/>
                    <a:pt x="229" y="16"/>
                  </a:cubicBezTo>
                  <a:cubicBezTo>
                    <a:pt x="230" y="17"/>
                    <a:pt x="230" y="17"/>
                    <a:pt x="230" y="18"/>
                  </a:cubicBezTo>
                  <a:cubicBezTo>
                    <a:pt x="229" y="19"/>
                    <a:pt x="229" y="20"/>
                    <a:pt x="228" y="21"/>
                  </a:cubicBezTo>
                  <a:cubicBezTo>
                    <a:pt x="228" y="22"/>
                    <a:pt x="227" y="23"/>
                    <a:pt x="226" y="24"/>
                  </a:cubicBezTo>
                  <a:cubicBezTo>
                    <a:pt x="225" y="24"/>
                    <a:pt x="225" y="24"/>
                    <a:pt x="225" y="24"/>
                  </a:cubicBezTo>
                  <a:cubicBezTo>
                    <a:pt x="227" y="29"/>
                    <a:pt x="227" y="29"/>
                    <a:pt x="227" y="29"/>
                  </a:cubicBezTo>
                  <a:cubicBezTo>
                    <a:pt x="224" y="24"/>
                    <a:pt x="224" y="24"/>
                    <a:pt x="224" y="24"/>
                  </a:cubicBezTo>
                  <a:cubicBezTo>
                    <a:pt x="224" y="24"/>
                    <a:pt x="224" y="24"/>
                    <a:pt x="224" y="24"/>
                  </a:cubicBezTo>
                  <a:cubicBezTo>
                    <a:pt x="223" y="25"/>
                    <a:pt x="223" y="25"/>
                    <a:pt x="222" y="25"/>
                  </a:cubicBezTo>
                  <a:cubicBezTo>
                    <a:pt x="222" y="25"/>
                    <a:pt x="222" y="25"/>
                    <a:pt x="222" y="25"/>
                  </a:cubicBezTo>
                  <a:cubicBezTo>
                    <a:pt x="221" y="25"/>
                    <a:pt x="219" y="24"/>
                    <a:pt x="218" y="24"/>
                  </a:cubicBezTo>
                  <a:cubicBezTo>
                    <a:pt x="217" y="24"/>
                    <a:pt x="217" y="24"/>
                    <a:pt x="216" y="24"/>
                  </a:cubicBezTo>
                  <a:cubicBezTo>
                    <a:pt x="215" y="24"/>
                    <a:pt x="213" y="23"/>
                    <a:pt x="211" y="23"/>
                  </a:cubicBezTo>
                  <a:cubicBezTo>
                    <a:pt x="211" y="24"/>
                    <a:pt x="211" y="24"/>
                    <a:pt x="211" y="24"/>
                  </a:cubicBezTo>
                  <a:cubicBezTo>
                    <a:pt x="211" y="24"/>
                    <a:pt x="211" y="25"/>
                    <a:pt x="210" y="26"/>
                  </a:cubicBezTo>
                  <a:cubicBezTo>
                    <a:pt x="210" y="29"/>
                    <a:pt x="210" y="29"/>
                    <a:pt x="210" y="29"/>
                  </a:cubicBezTo>
                  <a:cubicBezTo>
                    <a:pt x="210" y="29"/>
                    <a:pt x="210" y="29"/>
                    <a:pt x="209" y="30"/>
                  </a:cubicBezTo>
                  <a:cubicBezTo>
                    <a:pt x="209" y="30"/>
                    <a:pt x="209" y="31"/>
                    <a:pt x="209" y="32"/>
                  </a:cubicBezTo>
                  <a:cubicBezTo>
                    <a:pt x="209" y="32"/>
                    <a:pt x="208" y="33"/>
                    <a:pt x="208" y="34"/>
                  </a:cubicBezTo>
                  <a:cubicBezTo>
                    <a:pt x="213" y="37"/>
                    <a:pt x="213" y="37"/>
                    <a:pt x="213" y="37"/>
                  </a:cubicBezTo>
                  <a:cubicBezTo>
                    <a:pt x="207" y="35"/>
                    <a:pt x="207" y="35"/>
                    <a:pt x="207" y="35"/>
                  </a:cubicBezTo>
                  <a:cubicBezTo>
                    <a:pt x="206" y="35"/>
                    <a:pt x="206" y="36"/>
                    <a:pt x="205" y="36"/>
                  </a:cubicBezTo>
                  <a:cubicBezTo>
                    <a:pt x="204" y="36"/>
                    <a:pt x="204" y="36"/>
                    <a:pt x="203" y="36"/>
                  </a:cubicBezTo>
                  <a:cubicBezTo>
                    <a:pt x="203" y="36"/>
                    <a:pt x="202" y="36"/>
                    <a:pt x="202" y="36"/>
                  </a:cubicBezTo>
                  <a:cubicBezTo>
                    <a:pt x="200" y="35"/>
                    <a:pt x="199" y="34"/>
                    <a:pt x="198" y="33"/>
                  </a:cubicBezTo>
                  <a:cubicBezTo>
                    <a:pt x="195" y="31"/>
                    <a:pt x="195" y="31"/>
                    <a:pt x="195" y="31"/>
                  </a:cubicBezTo>
                  <a:cubicBezTo>
                    <a:pt x="195" y="31"/>
                    <a:pt x="195" y="31"/>
                    <a:pt x="195" y="31"/>
                  </a:cubicBezTo>
                  <a:cubicBezTo>
                    <a:pt x="195" y="31"/>
                    <a:pt x="195" y="31"/>
                    <a:pt x="194" y="31"/>
                  </a:cubicBezTo>
                  <a:cubicBezTo>
                    <a:pt x="193" y="32"/>
                    <a:pt x="193" y="32"/>
                    <a:pt x="193" y="32"/>
                  </a:cubicBezTo>
                  <a:cubicBezTo>
                    <a:pt x="193" y="32"/>
                    <a:pt x="193" y="32"/>
                    <a:pt x="193" y="32"/>
                  </a:cubicBezTo>
                  <a:cubicBezTo>
                    <a:pt x="192" y="32"/>
                    <a:pt x="191" y="32"/>
                    <a:pt x="191" y="33"/>
                  </a:cubicBezTo>
                  <a:cubicBezTo>
                    <a:pt x="189" y="34"/>
                    <a:pt x="186" y="34"/>
                    <a:pt x="184" y="35"/>
                  </a:cubicBezTo>
                  <a:cubicBezTo>
                    <a:pt x="184" y="35"/>
                    <a:pt x="184" y="35"/>
                    <a:pt x="184" y="35"/>
                  </a:cubicBezTo>
                  <a:cubicBezTo>
                    <a:pt x="183" y="35"/>
                    <a:pt x="183" y="36"/>
                    <a:pt x="183" y="36"/>
                  </a:cubicBezTo>
                  <a:cubicBezTo>
                    <a:pt x="181" y="37"/>
                    <a:pt x="180" y="38"/>
                    <a:pt x="179" y="38"/>
                  </a:cubicBezTo>
                  <a:cubicBezTo>
                    <a:pt x="179" y="39"/>
                    <a:pt x="179" y="39"/>
                    <a:pt x="179" y="39"/>
                  </a:cubicBezTo>
                  <a:cubicBezTo>
                    <a:pt x="180" y="39"/>
                    <a:pt x="180" y="39"/>
                    <a:pt x="180" y="39"/>
                  </a:cubicBezTo>
                  <a:cubicBezTo>
                    <a:pt x="178" y="39"/>
                    <a:pt x="178" y="39"/>
                    <a:pt x="178" y="39"/>
                  </a:cubicBezTo>
                  <a:cubicBezTo>
                    <a:pt x="177" y="40"/>
                    <a:pt x="176" y="41"/>
                    <a:pt x="174" y="41"/>
                  </a:cubicBezTo>
                  <a:cubicBezTo>
                    <a:pt x="174" y="41"/>
                    <a:pt x="174" y="41"/>
                    <a:pt x="174" y="41"/>
                  </a:cubicBezTo>
                  <a:cubicBezTo>
                    <a:pt x="172" y="41"/>
                    <a:pt x="171" y="40"/>
                    <a:pt x="170" y="39"/>
                  </a:cubicBezTo>
                  <a:cubicBezTo>
                    <a:pt x="167" y="37"/>
                    <a:pt x="167" y="37"/>
                    <a:pt x="167" y="37"/>
                  </a:cubicBezTo>
                  <a:cubicBezTo>
                    <a:pt x="166" y="36"/>
                    <a:pt x="166" y="35"/>
                    <a:pt x="166" y="35"/>
                  </a:cubicBezTo>
                  <a:cubicBezTo>
                    <a:pt x="166" y="34"/>
                    <a:pt x="166" y="34"/>
                    <a:pt x="166" y="34"/>
                  </a:cubicBezTo>
                  <a:cubicBezTo>
                    <a:pt x="165" y="34"/>
                    <a:pt x="165" y="34"/>
                    <a:pt x="165" y="34"/>
                  </a:cubicBezTo>
                  <a:cubicBezTo>
                    <a:pt x="165" y="34"/>
                    <a:pt x="165" y="34"/>
                    <a:pt x="165" y="34"/>
                  </a:cubicBezTo>
                  <a:cubicBezTo>
                    <a:pt x="164" y="34"/>
                    <a:pt x="164" y="34"/>
                    <a:pt x="163" y="34"/>
                  </a:cubicBezTo>
                  <a:cubicBezTo>
                    <a:pt x="162" y="34"/>
                    <a:pt x="161" y="34"/>
                    <a:pt x="160" y="34"/>
                  </a:cubicBezTo>
                  <a:cubicBezTo>
                    <a:pt x="160" y="34"/>
                    <a:pt x="160" y="34"/>
                    <a:pt x="160" y="34"/>
                  </a:cubicBezTo>
                  <a:cubicBezTo>
                    <a:pt x="159" y="34"/>
                    <a:pt x="158" y="34"/>
                    <a:pt x="157" y="34"/>
                  </a:cubicBezTo>
                  <a:cubicBezTo>
                    <a:pt x="156" y="34"/>
                    <a:pt x="156" y="34"/>
                    <a:pt x="156" y="34"/>
                  </a:cubicBezTo>
                  <a:cubicBezTo>
                    <a:pt x="154" y="34"/>
                    <a:pt x="153" y="33"/>
                    <a:pt x="152" y="32"/>
                  </a:cubicBezTo>
                  <a:cubicBezTo>
                    <a:pt x="152" y="32"/>
                    <a:pt x="152" y="31"/>
                    <a:pt x="151" y="31"/>
                  </a:cubicBezTo>
                  <a:cubicBezTo>
                    <a:pt x="150" y="30"/>
                    <a:pt x="149" y="30"/>
                    <a:pt x="148" y="30"/>
                  </a:cubicBezTo>
                  <a:cubicBezTo>
                    <a:pt x="148" y="30"/>
                    <a:pt x="147" y="30"/>
                    <a:pt x="146" y="30"/>
                  </a:cubicBezTo>
                  <a:cubicBezTo>
                    <a:pt x="142" y="29"/>
                    <a:pt x="142" y="29"/>
                    <a:pt x="142" y="29"/>
                  </a:cubicBezTo>
                  <a:cubicBezTo>
                    <a:pt x="142" y="30"/>
                    <a:pt x="142" y="30"/>
                    <a:pt x="142" y="30"/>
                  </a:cubicBezTo>
                  <a:cubicBezTo>
                    <a:pt x="139" y="30"/>
                    <a:pt x="139" y="30"/>
                    <a:pt x="139" y="30"/>
                  </a:cubicBezTo>
                  <a:cubicBezTo>
                    <a:pt x="139" y="30"/>
                    <a:pt x="139" y="30"/>
                    <a:pt x="139" y="30"/>
                  </a:cubicBezTo>
                  <a:cubicBezTo>
                    <a:pt x="138" y="30"/>
                    <a:pt x="138" y="30"/>
                    <a:pt x="138" y="30"/>
                  </a:cubicBezTo>
                  <a:cubicBezTo>
                    <a:pt x="138" y="30"/>
                    <a:pt x="138" y="30"/>
                    <a:pt x="138" y="30"/>
                  </a:cubicBezTo>
                  <a:cubicBezTo>
                    <a:pt x="137" y="30"/>
                    <a:pt x="137" y="30"/>
                    <a:pt x="137" y="30"/>
                  </a:cubicBezTo>
                  <a:cubicBezTo>
                    <a:pt x="137" y="30"/>
                    <a:pt x="137" y="30"/>
                    <a:pt x="137" y="30"/>
                  </a:cubicBezTo>
                  <a:cubicBezTo>
                    <a:pt x="136" y="30"/>
                    <a:pt x="135" y="30"/>
                    <a:pt x="134" y="30"/>
                  </a:cubicBezTo>
                  <a:cubicBezTo>
                    <a:pt x="134" y="30"/>
                    <a:pt x="134" y="30"/>
                    <a:pt x="133" y="30"/>
                  </a:cubicBezTo>
                  <a:cubicBezTo>
                    <a:pt x="132" y="30"/>
                    <a:pt x="131" y="29"/>
                    <a:pt x="130" y="29"/>
                  </a:cubicBezTo>
                  <a:cubicBezTo>
                    <a:pt x="130" y="29"/>
                    <a:pt x="130" y="29"/>
                    <a:pt x="130" y="29"/>
                  </a:cubicBezTo>
                  <a:cubicBezTo>
                    <a:pt x="129" y="29"/>
                    <a:pt x="128" y="28"/>
                    <a:pt x="127" y="28"/>
                  </a:cubicBezTo>
                  <a:cubicBezTo>
                    <a:pt x="125" y="27"/>
                    <a:pt x="125" y="27"/>
                    <a:pt x="125" y="27"/>
                  </a:cubicBezTo>
                  <a:cubicBezTo>
                    <a:pt x="125" y="27"/>
                    <a:pt x="124" y="27"/>
                    <a:pt x="124" y="26"/>
                  </a:cubicBezTo>
                  <a:cubicBezTo>
                    <a:pt x="122" y="25"/>
                    <a:pt x="122" y="25"/>
                    <a:pt x="122" y="25"/>
                  </a:cubicBezTo>
                  <a:cubicBezTo>
                    <a:pt x="121" y="26"/>
                    <a:pt x="121" y="26"/>
                    <a:pt x="121" y="26"/>
                  </a:cubicBezTo>
                  <a:cubicBezTo>
                    <a:pt x="120" y="29"/>
                    <a:pt x="118" y="31"/>
                    <a:pt x="115" y="32"/>
                  </a:cubicBezTo>
                  <a:cubicBezTo>
                    <a:pt x="115" y="33"/>
                    <a:pt x="114" y="33"/>
                    <a:pt x="112" y="33"/>
                  </a:cubicBezTo>
                  <a:cubicBezTo>
                    <a:pt x="112" y="33"/>
                    <a:pt x="111" y="33"/>
                    <a:pt x="110" y="33"/>
                  </a:cubicBezTo>
                  <a:cubicBezTo>
                    <a:pt x="110" y="33"/>
                    <a:pt x="110" y="33"/>
                    <a:pt x="110" y="33"/>
                  </a:cubicBezTo>
                  <a:cubicBezTo>
                    <a:pt x="97" y="46"/>
                    <a:pt x="97" y="46"/>
                    <a:pt x="97" y="46"/>
                  </a:cubicBezTo>
                  <a:cubicBezTo>
                    <a:pt x="97" y="47"/>
                    <a:pt x="97" y="47"/>
                    <a:pt x="97" y="47"/>
                  </a:cubicBezTo>
                  <a:cubicBezTo>
                    <a:pt x="96" y="47"/>
                    <a:pt x="96" y="48"/>
                    <a:pt x="96" y="48"/>
                  </a:cubicBezTo>
                  <a:cubicBezTo>
                    <a:pt x="96" y="51"/>
                    <a:pt x="96" y="54"/>
                    <a:pt x="93" y="57"/>
                  </a:cubicBezTo>
                  <a:cubicBezTo>
                    <a:pt x="93" y="57"/>
                    <a:pt x="93" y="57"/>
                    <a:pt x="93" y="57"/>
                  </a:cubicBezTo>
                  <a:cubicBezTo>
                    <a:pt x="90" y="60"/>
                    <a:pt x="88" y="61"/>
                    <a:pt x="84" y="63"/>
                  </a:cubicBezTo>
                  <a:cubicBezTo>
                    <a:pt x="82" y="63"/>
                    <a:pt x="80" y="65"/>
                    <a:pt x="77" y="65"/>
                  </a:cubicBezTo>
                  <a:cubicBezTo>
                    <a:pt x="75" y="66"/>
                    <a:pt x="75" y="66"/>
                    <a:pt x="75" y="66"/>
                  </a:cubicBezTo>
                  <a:cubicBezTo>
                    <a:pt x="73" y="67"/>
                    <a:pt x="71" y="68"/>
                    <a:pt x="69" y="69"/>
                  </a:cubicBezTo>
                  <a:cubicBezTo>
                    <a:pt x="67" y="69"/>
                    <a:pt x="66" y="70"/>
                    <a:pt x="64" y="70"/>
                  </a:cubicBezTo>
                  <a:cubicBezTo>
                    <a:pt x="63" y="71"/>
                    <a:pt x="63" y="71"/>
                    <a:pt x="63" y="71"/>
                  </a:cubicBezTo>
                  <a:cubicBezTo>
                    <a:pt x="63" y="71"/>
                    <a:pt x="63" y="71"/>
                    <a:pt x="63" y="71"/>
                  </a:cubicBezTo>
                  <a:cubicBezTo>
                    <a:pt x="64" y="73"/>
                    <a:pt x="62" y="75"/>
                    <a:pt x="61" y="77"/>
                  </a:cubicBezTo>
                  <a:cubicBezTo>
                    <a:pt x="60" y="78"/>
                    <a:pt x="60" y="78"/>
                    <a:pt x="60" y="78"/>
                  </a:cubicBezTo>
                  <a:cubicBezTo>
                    <a:pt x="59" y="79"/>
                    <a:pt x="57" y="82"/>
                    <a:pt x="55" y="83"/>
                  </a:cubicBezTo>
                  <a:cubicBezTo>
                    <a:pt x="54" y="84"/>
                    <a:pt x="54" y="84"/>
                    <a:pt x="54" y="84"/>
                  </a:cubicBezTo>
                  <a:cubicBezTo>
                    <a:pt x="54" y="84"/>
                    <a:pt x="54" y="84"/>
                    <a:pt x="54" y="84"/>
                  </a:cubicBezTo>
                  <a:cubicBezTo>
                    <a:pt x="53" y="84"/>
                    <a:pt x="52" y="84"/>
                    <a:pt x="52" y="84"/>
                  </a:cubicBezTo>
                  <a:cubicBezTo>
                    <a:pt x="51" y="85"/>
                    <a:pt x="50" y="85"/>
                    <a:pt x="49" y="85"/>
                  </a:cubicBezTo>
                  <a:cubicBezTo>
                    <a:pt x="47" y="85"/>
                    <a:pt x="47" y="85"/>
                    <a:pt x="47" y="85"/>
                  </a:cubicBezTo>
                  <a:cubicBezTo>
                    <a:pt x="46" y="85"/>
                    <a:pt x="44" y="85"/>
                    <a:pt x="43" y="86"/>
                  </a:cubicBezTo>
                  <a:cubicBezTo>
                    <a:pt x="43" y="87"/>
                    <a:pt x="43" y="87"/>
                    <a:pt x="43" y="87"/>
                  </a:cubicBezTo>
                  <a:cubicBezTo>
                    <a:pt x="42" y="88"/>
                    <a:pt x="42" y="89"/>
                    <a:pt x="40" y="89"/>
                  </a:cubicBezTo>
                  <a:cubicBezTo>
                    <a:pt x="40" y="89"/>
                    <a:pt x="40" y="89"/>
                    <a:pt x="40" y="89"/>
                  </a:cubicBezTo>
                  <a:cubicBezTo>
                    <a:pt x="38" y="89"/>
                    <a:pt x="37" y="88"/>
                    <a:pt x="35" y="86"/>
                  </a:cubicBezTo>
                  <a:cubicBezTo>
                    <a:pt x="34" y="86"/>
                    <a:pt x="34" y="85"/>
                    <a:pt x="34" y="85"/>
                  </a:cubicBezTo>
                  <a:cubicBezTo>
                    <a:pt x="33" y="84"/>
                    <a:pt x="33" y="84"/>
                    <a:pt x="32" y="84"/>
                  </a:cubicBezTo>
                  <a:cubicBezTo>
                    <a:pt x="32" y="83"/>
                    <a:pt x="32" y="83"/>
                    <a:pt x="32" y="83"/>
                  </a:cubicBezTo>
                  <a:cubicBezTo>
                    <a:pt x="32" y="83"/>
                    <a:pt x="32" y="83"/>
                    <a:pt x="32" y="83"/>
                  </a:cubicBezTo>
                  <a:cubicBezTo>
                    <a:pt x="31" y="82"/>
                    <a:pt x="31" y="82"/>
                    <a:pt x="31" y="82"/>
                  </a:cubicBezTo>
                  <a:cubicBezTo>
                    <a:pt x="30" y="81"/>
                    <a:pt x="29" y="81"/>
                    <a:pt x="27" y="80"/>
                  </a:cubicBezTo>
                  <a:cubicBezTo>
                    <a:pt x="27" y="80"/>
                    <a:pt x="27" y="80"/>
                    <a:pt x="27" y="80"/>
                  </a:cubicBezTo>
                  <a:cubicBezTo>
                    <a:pt x="27" y="80"/>
                    <a:pt x="26" y="80"/>
                    <a:pt x="25" y="80"/>
                  </a:cubicBezTo>
                  <a:cubicBezTo>
                    <a:pt x="24" y="80"/>
                    <a:pt x="23" y="79"/>
                    <a:pt x="22" y="79"/>
                  </a:cubicBezTo>
                  <a:cubicBezTo>
                    <a:pt x="20" y="79"/>
                    <a:pt x="20" y="79"/>
                    <a:pt x="20" y="79"/>
                  </a:cubicBezTo>
                  <a:cubicBezTo>
                    <a:pt x="19" y="78"/>
                    <a:pt x="19" y="78"/>
                    <a:pt x="19" y="78"/>
                  </a:cubicBezTo>
                  <a:cubicBezTo>
                    <a:pt x="16" y="82"/>
                    <a:pt x="16" y="82"/>
                    <a:pt x="16" y="82"/>
                  </a:cubicBezTo>
                  <a:cubicBezTo>
                    <a:pt x="14" y="88"/>
                    <a:pt x="14" y="88"/>
                    <a:pt x="14" y="88"/>
                  </a:cubicBezTo>
                  <a:cubicBezTo>
                    <a:pt x="14" y="89"/>
                    <a:pt x="14" y="90"/>
                    <a:pt x="14" y="91"/>
                  </a:cubicBezTo>
                  <a:cubicBezTo>
                    <a:pt x="14" y="93"/>
                    <a:pt x="14" y="93"/>
                    <a:pt x="14" y="93"/>
                  </a:cubicBezTo>
                  <a:cubicBezTo>
                    <a:pt x="13" y="94"/>
                    <a:pt x="13" y="94"/>
                    <a:pt x="13" y="94"/>
                  </a:cubicBezTo>
                  <a:cubicBezTo>
                    <a:pt x="13" y="94"/>
                    <a:pt x="13" y="94"/>
                    <a:pt x="13" y="94"/>
                  </a:cubicBezTo>
                  <a:cubicBezTo>
                    <a:pt x="12" y="97"/>
                    <a:pt x="12" y="98"/>
                    <a:pt x="9" y="100"/>
                  </a:cubicBezTo>
                  <a:cubicBezTo>
                    <a:pt x="8" y="101"/>
                    <a:pt x="8" y="101"/>
                    <a:pt x="8" y="101"/>
                  </a:cubicBezTo>
                  <a:cubicBezTo>
                    <a:pt x="7" y="102"/>
                    <a:pt x="7" y="102"/>
                    <a:pt x="6" y="103"/>
                  </a:cubicBezTo>
                  <a:cubicBezTo>
                    <a:pt x="7" y="104"/>
                    <a:pt x="7" y="104"/>
                    <a:pt x="7" y="105"/>
                  </a:cubicBezTo>
                  <a:cubicBezTo>
                    <a:pt x="9" y="107"/>
                    <a:pt x="9" y="107"/>
                    <a:pt x="9" y="107"/>
                  </a:cubicBezTo>
                  <a:cubicBezTo>
                    <a:pt x="0" y="116"/>
                    <a:pt x="0" y="116"/>
                    <a:pt x="0" y="116"/>
                  </a:cubicBezTo>
                  <a:cubicBezTo>
                    <a:pt x="0" y="117"/>
                    <a:pt x="0" y="118"/>
                    <a:pt x="0" y="120"/>
                  </a:cubicBezTo>
                  <a:cubicBezTo>
                    <a:pt x="0" y="121"/>
                    <a:pt x="0" y="122"/>
                    <a:pt x="0" y="123"/>
                  </a:cubicBezTo>
                  <a:cubicBezTo>
                    <a:pt x="0" y="124"/>
                    <a:pt x="0" y="124"/>
                    <a:pt x="0" y="124"/>
                  </a:cubicBezTo>
                  <a:cubicBezTo>
                    <a:pt x="0" y="124"/>
                    <a:pt x="0" y="125"/>
                    <a:pt x="0" y="125"/>
                  </a:cubicBezTo>
                  <a:cubicBezTo>
                    <a:pt x="0" y="125"/>
                    <a:pt x="1" y="125"/>
                    <a:pt x="2" y="125"/>
                  </a:cubicBezTo>
                  <a:cubicBezTo>
                    <a:pt x="3" y="126"/>
                    <a:pt x="3" y="126"/>
                    <a:pt x="3" y="126"/>
                  </a:cubicBezTo>
                  <a:cubicBezTo>
                    <a:pt x="3" y="126"/>
                    <a:pt x="4" y="126"/>
                    <a:pt x="5" y="126"/>
                  </a:cubicBezTo>
                  <a:cubicBezTo>
                    <a:pt x="5" y="126"/>
                    <a:pt x="5" y="126"/>
                    <a:pt x="5" y="126"/>
                  </a:cubicBezTo>
                  <a:cubicBezTo>
                    <a:pt x="6" y="126"/>
                    <a:pt x="7" y="127"/>
                    <a:pt x="8" y="127"/>
                  </a:cubicBezTo>
                  <a:cubicBezTo>
                    <a:pt x="12" y="128"/>
                    <a:pt x="12" y="128"/>
                    <a:pt x="12" y="128"/>
                  </a:cubicBezTo>
                  <a:cubicBezTo>
                    <a:pt x="9" y="132"/>
                    <a:pt x="9" y="132"/>
                    <a:pt x="9" y="132"/>
                  </a:cubicBezTo>
                  <a:cubicBezTo>
                    <a:pt x="9" y="132"/>
                    <a:pt x="8" y="133"/>
                    <a:pt x="7" y="134"/>
                  </a:cubicBezTo>
                  <a:cubicBezTo>
                    <a:pt x="7" y="134"/>
                    <a:pt x="7" y="134"/>
                    <a:pt x="7" y="134"/>
                  </a:cubicBezTo>
                  <a:cubicBezTo>
                    <a:pt x="4" y="137"/>
                    <a:pt x="2" y="139"/>
                    <a:pt x="2" y="139"/>
                  </a:cubicBezTo>
                  <a:cubicBezTo>
                    <a:pt x="6" y="155"/>
                    <a:pt x="6" y="155"/>
                    <a:pt x="6" y="155"/>
                  </a:cubicBezTo>
                  <a:cubicBezTo>
                    <a:pt x="6" y="155"/>
                    <a:pt x="6" y="156"/>
                    <a:pt x="6" y="157"/>
                  </a:cubicBezTo>
                  <a:cubicBezTo>
                    <a:pt x="7" y="159"/>
                    <a:pt x="7" y="159"/>
                    <a:pt x="7" y="159"/>
                  </a:cubicBezTo>
                  <a:cubicBezTo>
                    <a:pt x="7" y="160"/>
                    <a:pt x="8" y="161"/>
                    <a:pt x="8" y="162"/>
                  </a:cubicBezTo>
                  <a:cubicBezTo>
                    <a:pt x="8" y="164"/>
                    <a:pt x="8" y="165"/>
                    <a:pt x="7" y="167"/>
                  </a:cubicBezTo>
                  <a:cubicBezTo>
                    <a:pt x="7" y="168"/>
                    <a:pt x="7" y="170"/>
                    <a:pt x="7" y="171"/>
                  </a:cubicBezTo>
                  <a:cubicBezTo>
                    <a:pt x="7" y="172"/>
                    <a:pt x="7" y="172"/>
                    <a:pt x="7" y="172"/>
                  </a:cubicBezTo>
                  <a:cubicBezTo>
                    <a:pt x="7" y="172"/>
                    <a:pt x="7" y="173"/>
                    <a:pt x="7" y="173"/>
                  </a:cubicBezTo>
                  <a:cubicBezTo>
                    <a:pt x="7" y="174"/>
                    <a:pt x="7" y="174"/>
                    <a:pt x="7" y="174"/>
                  </a:cubicBezTo>
                  <a:cubicBezTo>
                    <a:pt x="12" y="174"/>
                    <a:pt x="12" y="174"/>
                    <a:pt x="12" y="174"/>
                  </a:cubicBezTo>
                  <a:cubicBezTo>
                    <a:pt x="7" y="175"/>
                    <a:pt x="7" y="175"/>
                    <a:pt x="7" y="175"/>
                  </a:cubicBezTo>
                  <a:cubicBezTo>
                    <a:pt x="7" y="176"/>
                    <a:pt x="7" y="176"/>
                    <a:pt x="7" y="176"/>
                  </a:cubicBezTo>
                  <a:cubicBezTo>
                    <a:pt x="7" y="177"/>
                    <a:pt x="7" y="178"/>
                    <a:pt x="7" y="178"/>
                  </a:cubicBezTo>
                  <a:cubicBezTo>
                    <a:pt x="7" y="179"/>
                    <a:pt x="7" y="179"/>
                    <a:pt x="7" y="180"/>
                  </a:cubicBezTo>
                  <a:cubicBezTo>
                    <a:pt x="8" y="180"/>
                    <a:pt x="8" y="180"/>
                    <a:pt x="9" y="180"/>
                  </a:cubicBezTo>
                  <a:cubicBezTo>
                    <a:pt x="21" y="182"/>
                    <a:pt x="21" y="182"/>
                    <a:pt x="21" y="182"/>
                  </a:cubicBezTo>
                  <a:cubicBezTo>
                    <a:pt x="24" y="182"/>
                    <a:pt x="25" y="183"/>
                    <a:pt x="26" y="184"/>
                  </a:cubicBezTo>
                  <a:cubicBezTo>
                    <a:pt x="28" y="188"/>
                    <a:pt x="28" y="188"/>
                    <a:pt x="28" y="188"/>
                  </a:cubicBezTo>
                  <a:cubicBezTo>
                    <a:pt x="29" y="188"/>
                    <a:pt x="29" y="189"/>
                    <a:pt x="29" y="189"/>
                  </a:cubicBezTo>
                  <a:cubicBezTo>
                    <a:pt x="30" y="191"/>
                    <a:pt x="30" y="192"/>
                    <a:pt x="31" y="193"/>
                  </a:cubicBezTo>
                  <a:cubicBezTo>
                    <a:pt x="31" y="196"/>
                    <a:pt x="31" y="198"/>
                    <a:pt x="29" y="201"/>
                  </a:cubicBezTo>
                  <a:cubicBezTo>
                    <a:pt x="27" y="204"/>
                    <a:pt x="25" y="206"/>
                    <a:pt x="24" y="207"/>
                  </a:cubicBezTo>
                  <a:cubicBezTo>
                    <a:pt x="23" y="208"/>
                    <a:pt x="23" y="209"/>
                    <a:pt x="22" y="210"/>
                  </a:cubicBezTo>
                  <a:cubicBezTo>
                    <a:pt x="20" y="213"/>
                    <a:pt x="20" y="213"/>
                    <a:pt x="20" y="213"/>
                  </a:cubicBezTo>
                  <a:cubicBezTo>
                    <a:pt x="18" y="214"/>
                    <a:pt x="17" y="216"/>
                    <a:pt x="15" y="217"/>
                  </a:cubicBezTo>
                  <a:cubicBezTo>
                    <a:pt x="11" y="223"/>
                    <a:pt x="11" y="223"/>
                    <a:pt x="11" y="223"/>
                  </a:cubicBezTo>
                  <a:cubicBezTo>
                    <a:pt x="47" y="233"/>
                    <a:pt x="47" y="233"/>
                    <a:pt x="47" y="233"/>
                  </a:cubicBezTo>
                  <a:cubicBezTo>
                    <a:pt x="47" y="233"/>
                    <a:pt x="48" y="233"/>
                    <a:pt x="48" y="233"/>
                  </a:cubicBezTo>
                  <a:cubicBezTo>
                    <a:pt x="48" y="233"/>
                    <a:pt x="48" y="233"/>
                    <a:pt x="48" y="233"/>
                  </a:cubicBezTo>
                  <a:cubicBezTo>
                    <a:pt x="49" y="233"/>
                    <a:pt x="50" y="233"/>
                    <a:pt x="51" y="233"/>
                  </a:cubicBezTo>
                  <a:cubicBezTo>
                    <a:pt x="51" y="233"/>
                    <a:pt x="51" y="233"/>
                    <a:pt x="51" y="233"/>
                  </a:cubicBezTo>
                  <a:cubicBezTo>
                    <a:pt x="52" y="233"/>
                    <a:pt x="53" y="233"/>
                    <a:pt x="54" y="233"/>
                  </a:cubicBezTo>
                  <a:cubicBezTo>
                    <a:pt x="58" y="232"/>
                    <a:pt x="58" y="232"/>
                    <a:pt x="58" y="232"/>
                  </a:cubicBezTo>
                  <a:cubicBezTo>
                    <a:pt x="58" y="232"/>
                    <a:pt x="58" y="232"/>
                    <a:pt x="58" y="232"/>
                  </a:cubicBezTo>
                  <a:cubicBezTo>
                    <a:pt x="69" y="231"/>
                    <a:pt x="69" y="231"/>
                    <a:pt x="69" y="231"/>
                  </a:cubicBezTo>
                  <a:cubicBezTo>
                    <a:pt x="69" y="231"/>
                    <a:pt x="69" y="231"/>
                    <a:pt x="70" y="231"/>
                  </a:cubicBezTo>
                  <a:cubicBezTo>
                    <a:pt x="70" y="231"/>
                    <a:pt x="71" y="232"/>
                    <a:pt x="71" y="232"/>
                  </a:cubicBezTo>
                  <a:cubicBezTo>
                    <a:pt x="72" y="232"/>
                    <a:pt x="72" y="232"/>
                    <a:pt x="72" y="232"/>
                  </a:cubicBezTo>
                  <a:cubicBezTo>
                    <a:pt x="72" y="232"/>
                    <a:pt x="72" y="232"/>
                    <a:pt x="72" y="232"/>
                  </a:cubicBezTo>
                  <a:cubicBezTo>
                    <a:pt x="73" y="232"/>
                    <a:pt x="73" y="232"/>
                    <a:pt x="73" y="232"/>
                  </a:cubicBezTo>
                  <a:cubicBezTo>
                    <a:pt x="74" y="232"/>
                    <a:pt x="75" y="232"/>
                    <a:pt x="76" y="233"/>
                  </a:cubicBezTo>
                  <a:cubicBezTo>
                    <a:pt x="76" y="233"/>
                    <a:pt x="77" y="233"/>
                    <a:pt x="77" y="233"/>
                  </a:cubicBezTo>
                  <a:cubicBezTo>
                    <a:pt x="78" y="233"/>
                    <a:pt x="78" y="233"/>
                    <a:pt x="78" y="233"/>
                  </a:cubicBezTo>
                  <a:cubicBezTo>
                    <a:pt x="79" y="233"/>
                    <a:pt x="79" y="233"/>
                    <a:pt x="80" y="233"/>
                  </a:cubicBezTo>
                  <a:cubicBezTo>
                    <a:pt x="80" y="233"/>
                    <a:pt x="80" y="233"/>
                    <a:pt x="81" y="233"/>
                  </a:cubicBezTo>
                  <a:cubicBezTo>
                    <a:pt x="82" y="233"/>
                    <a:pt x="83" y="232"/>
                    <a:pt x="85" y="232"/>
                  </a:cubicBezTo>
                  <a:cubicBezTo>
                    <a:pt x="86" y="231"/>
                    <a:pt x="87" y="231"/>
                    <a:pt x="88" y="230"/>
                  </a:cubicBezTo>
                  <a:cubicBezTo>
                    <a:pt x="88" y="230"/>
                    <a:pt x="89" y="229"/>
                    <a:pt x="90" y="229"/>
                  </a:cubicBezTo>
                  <a:cubicBezTo>
                    <a:pt x="94" y="228"/>
                    <a:pt x="97" y="228"/>
                    <a:pt x="100" y="228"/>
                  </a:cubicBezTo>
                  <a:cubicBezTo>
                    <a:pt x="102" y="228"/>
                    <a:pt x="105" y="227"/>
                    <a:pt x="107" y="227"/>
                  </a:cubicBezTo>
                  <a:cubicBezTo>
                    <a:pt x="112" y="227"/>
                    <a:pt x="112" y="227"/>
                    <a:pt x="112" y="227"/>
                  </a:cubicBezTo>
                  <a:cubicBezTo>
                    <a:pt x="112" y="227"/>
                    <a:pt x="113" y="227"/>
                    <a:pt x="113" y="227"/>
                  </a:cubicBezTo>
                  <a:cubicBezTo>
                    <a:pt x="116" y="227"/>
                    <a:pt x="118" y="226"/>
                    <a:pt x="120" y="225"/>
                  </a:cubicBezTo>
                  <a:cubicBezTo>
                    <a:pt x="122" y="225"/>
                    <a:pt x="124" y="224"/>
                    <a:pt x="126" y="223"/>
                  </a:cubicBezTo>
                  <a:cubicBezTo>
                    <a:pt x="129" y="223"/>
                    <a:pt x="129" y="223"/>
                    <a:pt x="129" y="223"/>
                  </a:cubicBezTo>
                  <a:cubicBezTo>
                    <a:pt x="129" y="223"/>
                    <a:pt x="130" y="222"/>
                    <a:pt x="130" y="222"/>
                  </a:cubicBezTo>
                  <a:cubicBezTo>
                    <a:pt x="131" y="222"/>
                    <a:pt x="131" y="222"/>
                    <a:pt x="131" y="222"/>
                  </a:cubicBezTo>
                  <a:cubicBezTo>
                    <a:pt x="129" y="220"/>
                    <a:pt x="129" y="218"/>
                    <a:pt x="130" y="216"/>
                  </a:cubicBezTo>
                  <a:cubicBezTo>
                    <a:pt x="130" y="216"/>
                    <a:pt x="130" y="216"/>
                    <a:pt x="130" y="216"/>
                  </a:cubicBezTo>
                  <a:cubicBezTo>
                    <a:pt x="130" y="214"/>
                    <a:pt x="130" y="213"/>
                    <a:pt x="130" y="212"/>
                  </a:cubicBezTo>
                  <a:cubicBezTo>
                    <a:pt x="131" y="211"/>
                    <a:pt x="131" y="211"/>
                    <a:pt x="131" y="210"/>
                  </a:cubicBezTo>
                  <a:cubicBezTo>
                    <a:pt x="131" y="207"/>
                    <a:pt x="131" y="204"/>
                    <a:pt x="132" y="201"/>
                  </a:cubicBezTo>
                  <a:cubicBezTo>
                    <a:pt x="132" y="198"/>
                    <a:pt x="132" y="198"/>
                    <a:pt x="132" y="198"/>
                  </a:cubicBezTo>
                  <a:cubicBezTo>
                    <a:pt x="132" y="198"/>
                    <a:pt x="133" y="198"/>
                    <a:pt x="133" y="197"/>
                  </a:cubicBezTo>
                  <a:cubicBezTo>
                    <a:pt x="133" y="196"/>
                    <a:pt x="134" y="195"/>
                    <a:pt x="135" y="194"/>
                  </a:cubicBezTo>
                  <a:cubicBezTo>
                    <a:pt x="135" y="194"/>
                    <a:pt x="135" y="194"/>
                    <a:pt x="135" y="194"/>
                  </a:cubicBezTo>
                  <a:cubicBezTo>
                    <a:pt x="136" y="193"/>
                    <a:pt x="137" y="192"/>
                    <a:pt x="139" y="190"/>
                  </a:cubicBezTo>
                  <a:cubicBezTo>
                    <a:pt x="140" y="189"/>
                    <a:pt x="141" y="188"/>
                    <a:pt x="142" y="188"/>
                  </a:cubicBezTo>
                  <a:cubicBezTo>
                    <a:pt x="142" y="187"/>
                    <a:pt x="142" y="187"/>
                    <a:pt x="142" y="187"/>
                  </a:cubicBezTo>
                  <a:cubicBezTo>
                    <a:pt x="143" y="187"/>
                    <a:pt x="143" y="187"/>
                    <a:pt x="144" y="186"/>
                  </a:cubicBezTo>
                  <a:cubicBezTo>
                    <a:pt x="140" y="184"/>
                    <a:pt x="140" y="184"/>
                    <a:pt x="140" y="184"/>
                  </a:cubicBezTo>
                  <a:cubicBezTo>
                    <a:pt x="145" y="186"/>
                    <a:pt x="145" y="186"/>
                    <a:pt x="145" y="186"/>
                  </a:cubicBezTo>
                  <a:cubicBezTo>
                    <a:pt x="145" y="186"/>
                    <a:pt x="145" y="186"/>
                    <a:pt x="145" y="186"/>
                  </a:cubicBezTo>
                  <a:cubicBezTo>
                    <a:pt x="146" y="185"/>
                    <a:pt x="148" y="185"/>
                    <a:pt x="149" y="185"/>
                  </a:cubicBezTo>
                  <a:cubicBezTo>
                    <a:pt x="149" y="185"/>
                    <a:pt x="149" y="185"/>
                    <a:pt x="150" y="185"/>
                  </a:cubicBezTo>
                  <a:cubicBezTo>
                    <a:pt x="150" y="185"/>
                    <a:pt x="151" y="185"/>
                    <a:pt x="151" y="185"/>
                  </a:cubicBezTo>
                  <a:cubicBezTo>
                    <a:pt x="153" y="185"/>
                    <a:pt x="153" y="185"/>
                    <a:pt x="153" y="185"/>
                  </a:cubicBezTo>
                  <a:cubicBezTo>
                    <a:pt x="153" y="185"/>
                    <a:pt x="154" y="186"/>
                    <a:pt x="155" y="186"/>
                  </a:cubicBezTo>
                  <a:cubicBezTo>
                    <a:pt x="155" y="186"/>
                    <a:pt x="155" y="186"/>
                    <a:pt x="155" y="186"/>
                  </a:cubicBezTo>
                  <a:cubicBezTo>
                    <a:pt x="156" y="186"/>
                    <a:pt x="156" y="186"/>
                    <a:pt x="156" y="186"/>
                  </a:cubicBezTo>
                  <a:cubicBezTo>
                    <a:pt x="157" y="186"/>
                    <a:pt x="157" y="187"/>
                    <a:pt x="158" y="187"/>
                  </a:cubicBezTo>
                  <a:cubicBezTo>
                    <a:pt x="158" y="187"/>
                    <a:pt x="158" y="187"/>
                    <a:pt x="158" y="187"/>
                  </a:cubicBezTo>
                  <a:cubicBezTo>
                    <a:pt x="160" y="186"/>
                    <a:pt x="160" y="186"/>
                    <a:pt x="160" y="186"/>
                  </a:cubicBezTo>
                  <a:cubicBezTo>
                    <a:pt x="161" y="186"/>
                    <a:pt x="162" y="185"/>
                    <a:pt x="163" y="185"/>
                  </a:cubicBezTo>
                  <a:cubicBezTo>
                    <a:pt x="156" y="179"/>
                    <a:pt x="156" y="179"/>
                    <a:pt x="156" y="179"/>
                  </a:cubicBezTo>
                  <a:cubicBezTo>
                    <a:pt x="163" y="178"/>
                    <a:pt x="163" y="178"/>
                    <a:pt x="163" y="178"/>
                  </a:cubicBezTo>
                  <a:cubicBezTo>
                    <a:pt x="166" y="178"/>
                    <a:pt x="167" y="178"/>
                    <a:pt x="171" y="176"/>
                  </a:cubicBezTo>
                  <a:cubicBezTo>
                    <a:pt x="171" y="175"/>
                    <a:pt x="171" y="175"/>
                    <a:pt x="171" y="175"/>
                  </a:cubicBezTo>
                  <a:cubicBezTo>
                    <a:pt x="171" y="175"/>
                    <a:pt x="172" y="175"/>
                    <a:pt x="172" y="175"/>
                  </a:cubicBezTo>
                  <a:cubicBezTo>
                    <a:pt x="173" y="174"/>
                    <a:pt x="174" y="174"/>
                    <a:pt x="175" y="173"/>
                  </a:cubicBezTo>
                  <a:cubicBezTo>
                    <a:pt x="175" y="173"/>
                    <a:pt x="176" y="173"/>
                    <a:pt x="176" y="173"/>
                  </a:cubicBezTo>
                  <a:cubicBezTo>
                    <a:pt x="177" y="172"/>
                    <a:pt x="178" y="172"/>
                    <a:pt x="179" y="172"/>
                  </a:cubicBezTo>
                  <a:cubicBezTo>
                    <a:pt x="179" y="172"/>
                    <a:pt x="180" y="172"/>
                    <a:pt x="180" y="172"/>
                  </a:cubicBezTo>
                  <a:cubicBezTo>
                    <a:pt x="181" y="172"/>
                    <a:pt x="181" y="172"/>
                    <a:pt x="181" y="172"/>
                  </a:cubicBezTo>
                  <a:cubicBezTo>
                    <a:pt x="182" y="171"/>
                    <a:pt x="183" y="171"/>
                    <a:pt x="184" y="171"/>
                  </a:cubicBezTo>
                  <a:cubicBezTo>
                    <a:pt x="184" y="171"/>
                    <a:pt x="184" y="171"/>
                    <a:pt x="185" y="171"/>
                  </a:cubicBezTo>
                  <a:cubicBezTo>
                    <a:pt x="185" y="171"/>
                    <a:pt x="186" y="171"/>
                    <a:pt x="186" y="171"/>
                  </a:cubicBezTo>
                  <a:cubicBezTo>
                    <a:pt x="187" y="171"/>
                    <a:pt x="187" y="171"/>
                    <a:pt x="187" y="171"/>
                  </a:cubicBezTo>
                  <a:cubicBezTo>
                    <a:pt x="187" y="171"/>
                    <a:pt x="188" y="172"/>
                    <a:pt x="189" y="172"/>
                  </a:cubicBezTo>
                  <a:cubicBezTo>
                    <a:pt x="190" y="173"/>
                    <a:pt x="190" y="173"/>
                    <a:pt x="190" y="173"/>
                  </a:cubicBezTo>
                  <a:cubicBezTo>
                    <a:pt x="190" y="173"/>
                    <a:pt x="191" y="174"/>
                    <a:pt x="192" y="174"/>
                  </a:cubicBezTo>
                  <a:cubicBezTo>
                    <a:pt x="193" y="175"/>
                    <a:pt x="193" y="175"/>
                    <a:pt x="193" y="175"/>
                  </a:cubicBezTo>
                  <a:cubicBezTo>
                    <a:pt x="193" y="175"/>
                    <a:pt x="194" y="175"/>
                    <a:pt x="194" y="176"/>
                  </a:cubicBezTo>
                  <a:cubicBezTo>
                    <a:pt x="194" y="176"/>
                    <a:pt x="194" y="176"/>
                    <a:pt x="194" y="176"/>
                  </a:cubicBezTo>
                  <a:cubicBezTo>
                    <a:pt x="196" y="174"/>
                    <a:pt x="196" y="174"/>
                    <a:pt x="196" y="174"/>
                  </a:cubicBezTo>
                  <a:cubicBezTo>
                    <a:pt x="197" y="173"/>
                    <a:pt x="199" y="171"/>
                    <a:pt x="201" y="170"/>
                  </a:cubicBezTo>
                  <a:cubicBezTo>
                    <a:pt x="201" y="169"/>
                    <a:pt x="201" y="169"/>
                    <a:pt x="201" y="169"/>
                  </a:cubicBezTo>
                  <a:cubicBezTo>
                    <a:pt x="200" y="162"/>
                    <a:pt x="200" y="162"/>
                    <a:pt x="200" y="162"/>
                  </a:cubicBezTo>
                  <a:cubicBezTo>
                    <a:pt x="200" y="162"/>
                    <a:pt x="200" y="162"/>
                    <a:pt x="200" y="162"/>
                  </a:cubicBezTo>
                  <a:cubicBezTo>
                    <a:pt x="200" y="157"/>
                    <a:pt x="200" y="157"/>
                    <a:pt x="200" y="157"/>
                  </a:cubicBezTo>
                  <a:cubicBezTo>
                    <a:pt x="200" y="156"/>
                    <a:pt x="200" y="155"/>
                    <a:pt x="201" y="155"/>
                  </a:cubicBezTo>
                  <a:cubicBezTo>
                    <a:pt x="201" y="154"/>
                    <a:pt x="201" y="154"/>
                    <a:pt x="201" y="154"/>
                  </a:cubicBezTo>
                  <a:cubicBezTo>
                    <a:pt x="202" y="153"/>
                    <a:pt x="202" y="153"/>
                    <a:pt x="203" y="153"/>
                  </a:cubicBezTo>
                  <a:cubicBezTo>
                    <a:pt x="204" y="152"/>
                    <a:pt x="204" y="152"/>
                    <a:pt x="204" y="152"/>
                  </a:cubicBezTo>
                  <a:cubicBezTo>
                    <a:pt x="204" y="151"/>
                    <a:pt x="204" y="151"/>
                    <a:pt x="204" y="151"/>
                  </a:cubicBezTo>
                  <a:cubicBezTo>
                    <a:pt x="204" y="150"/>
                    <a:pt x="204" y="150"/>
                    <a:pt x="204" y="150"/>
                  </a:cubicBezTo>
                  <a:cubicBezTo>
                    <a:pt x="205" y="149"/>
                    <a:pt x="205" y="148"/>
                    <a:pt x="205" y="147"/>
                  </a:cubicBezTo>
                  <a:cubicBezTo>
                    <a:pt x="205" y="145"/>
                    <a:pt x="206" y="142"/>
                    <a:pt x="208" y="140"/>
                  </a:cubicBezTo>
                  <a:cubicBezTo>
                    <a:pt x="208" y="139"/>
                    <a:pt x="208" y="139"/>
                    <a:pt x="208" y="139"/>
                  </a:cubicBezTo>
                  <a:cubicBezTo>
                    <a:pt x="209" y="139"/>
                    <a:pt x="210" y="138"/>
                    <a:pt x="211" y="138"/>
                  </a:cubicBezTo>
                  <a:cubicBezTo>
                    <a:pt x="211" y="138"/>
                    <a:pt x="211" y="138"/>
                    <a:pt x="211" y="138"/>
                  </a:cubicBezTo>
                  <a:cubicBezTo>
                    <a:pt x="212" y="138"/>
                    <a:pt x="212" y="138"/>
                    <a:pt x="213" y="138"/>
                  </a:cubicBezTo>
                  <a:cubicBezTo>
                    <a:pt x="214" y="138"/>
                    <a:pt x="214" y="138"/>
                    <a:pt x="214" y="138"/>
                  </a:cubicBezTo>
                  <a:cubicBezTo>
                    <a:pt x="215" y="138"/>
                    <a:pt x="216" y="138"/>
                    <a:pt x="217" y="138"/>
                  </a:cubicBezTo>
                  <a:cubicBezTo>
                    <a:pt x="217" y="138"/>
                    <a:pt x="217" y="138"/>
                    <a:pt x="217" y="138"/>
                  </a:cubicBezTo>
                  <a:cubicBezTo>
                    <a:pt x="219" y="137"/>
                    <a:pt x="223" y="135"/>
                    <a:pt x="224" y="134"/>
                  </a:cubicBezTo>
                  <a:cubicBezTo>
                    <a:pt x="224" y="134"/>
                    <a:pt x="224" y="134"/>
                    <a:pt x="224" y="134"/>
                  </a:cubicBezTo>
                  <a:cubicBezTo>
                    <a:pt x="224" y="133"/>
                    <a:pt x="223" y="131"/>
                    <a:pt x="221" y="129"/>
                  </a:cubicBezTo>
                  <a:cubicBezTo>
                    <a:pt x="219" y="125"/>
                    <a:pt x="219" y="125"/>
                    <a:pt x="219" y="125"/>
                  </a:cubicBezTo>
                  <a:cubicBezTo>
                    <a:pt x="219" y="125"/>
                    <a:pt x="219" y="125"/>
                    <a:pt x="219" y="125"/>
                  </a:cubicBezTo>
                  <a:cubicBezTo>
                    <a:pt x="219" y="125"/>
                    <a:pt x="219" y="125"/>
                    <a:pt x="219" y="125"/>
                  </a:cubicBezTo>
                  <a:cubicBezTo>
                    <a:pt x="218" y="124"/>
                    <a:pt x="218" y="124"/>
                    <a:pt x="218" y="124"/>
                  </a:cubicBezTo>
                  <a:cubicBezTo>
                    <a:pt x="216" y="121"/>
                    <a:pt x="216" y="121"/>
                    <a:pt x="216" y="121"/>
                  </a:cubicBezTo>
                  <a:cubicBezTo>
                    <a:pt x="214" y="117"/>
                    <a:pt x="215" y="115"/>
                    <a:pt x="216" y="114"/>
                  </a:cubicBezTo>
                  <a:cubicBezTo>
                    <a:pt x="217" y="114"/>
                    <a:pt x="217" y="114"/>
                    <a:pt x="217" y="114"/>
                  </a:cubicBezTo>
                  <a:cubicBezTo>
                    <a:pt x="218" y="113"/>
                    <a:pt x="219" y="113"/>
                    <a:pt x="220" y="113"/>
                  </a:cubicBezTo>
                  <a:cubicBezTo>
                    <a:pt x="223" y="113"/>
                    <a:pt x="225" y="113"/>
                    <a:pt x="229" y="114"/>
                  </a:cubicBezTo>
                  <a:cubicBezTo>
                    <a:pt x="229" y="114"/>
                    <a:pt x="229" y="114"/>
                    <a:pt x="229" y="114"/>
                  </a:cubicBezTo>
                  <a:cubicBezTo>
                    <a:pt x="230" y="115"/>
                    <a:pt x="231" y="115"/>
                    <a:pt x="231" y="115"/>
                  </a:cubicBezTo>
                  <a:cubicBezTo>
                    <a:pt x="232" y="115"/>
                    <a:pt x="232" y="115"/>
                    <a:pt x="232" y="115"/>
                  </a:cubicBezTo>
                  <a:cubicBezTo>
                    <a:pt x="233" y="115"/>
                    <a:pt x="233" y="115"/>
                    <a:pt x="234" y="115"/>
                  </a:cubicBezTo>
                  <a:cubicBezTo>
                    <a:pt x="234" y="115"/>
                    <a:pt x="235" y="115"/>
                    <a:pt x="235" y="115"/>
                  </a:cubicBezTo>
                  <a:cubicBezTo>
                    <a:pt x="237" y="115"/>
                    <a:pt x="240" y="114"/>
                    <a:pt x="241" y="113"/>
                  </a:cubicBezTo>
                  <a:cubicBezTo>
                    <a:pt x="242" y="113"/>
                    <a:pt x="243" y="112"/>
                    <a:pt x="243" y="111"/>
                  </a:cubicBezTo>
                  <a:cubicBezTo>
                    <a:pt x="243" y="111"/>
                    <a:pt x="244" y="111"/>
                    <a:pt x="244" y="111"/>
                  </a:cubicBezTo>
                  <a:cubicBezTo>
                    <a:pt x="244" y="110"/>
                    <a:pt x="244" y="110"/>
                    <a:pt x="244" y="110"/>
                  </a:cubicBezTo>
                  <a:cubicBezTo>
                    <a:pt x="244" y="110"/>
                    <a:pt x="244" y="110"/>
                    <a:pt x="244" y="109"/>
                  </a:cubicBezTo>
                  <a:cubicBezTo>
                    <a:pt x="244" y="109"/>
                    <a:pt x="244" y="109"/>
                    <a:pt x="244" y="109"/>
                  </a:cubicBezTo>
                  <a:cubicBezTo>
                    <a:pt x="243" y="109"/>
                    <a:pt x="242" y="108"/>
                    <a:pt x="242" y="106"/>
                  </a:cubicBezTo>
                  <a:cubicBezTo>
                    <a:pt x="240" y="103"/>
                    <a:pt x="241" y="101"/>
                    <a:pt x="243" y="98"/>
                  </a:cubicBezTo>
                  <a:cubicBezTo>
                    <a:pt x="243" y="98"/>
                    <a:pt x="244" y="97"/>
                    <a:pt x="245" y="96"/>
                  </a:cubicBezTo>
                  <a:cubicBezTo>
                    <a:pt x="246" y="95"/>
                    <a:pt x="246" y="95"/>
                    <a:pt x="247" y="94"/>
                  </a:cubicBezTo>
                  <a:cubicBezTo>
                    <a:pt x="247" y="93"/>
                    <a:pt x="248" y="92"/>
                    <a:pt x="249" y="91"/>
                  </a:cubicBezTo>
                  <a:cubicBezTo>
                    <a:pt x="250" y="90"/>
                    <a:pt x="251" y="89"/>
                    <a:pt x="252" y="89"/>
                  </a:cubicBezTo>
                  <a:cubicBezTo>
                    <a:pt x="253" y="89"/>
                    <a:pt x="253" y="89"/>
                    <a:pt x="253" y="89"/>
                  </a:cubicBezTo>
                  <a:cubicBezTo>
                    <a:pt x="253" y="89"/>
                    <a:pt x="253" y="89"/>
                    <a:pt x="253" y="88"/>
                  </a:cubicBezTo>
                  <a:cubicBezTo>
                    <a:pt x="254" y="86"/>
                    <a:pt x="255" y="85"/>
                    <a:pt x="255" y="85"/>
                  </a:cubicBezTo>
                  <a:cubicBezTo>
                    <a:pt x="255" y="84"/>
                    <a:pt x="255" y="84"/>
                    <a:pt x="255" y="83"/>
                  </a:cubicBezTo>
                  <a:cubicBezTo>
                    <a:pt x="255" y="83"/>
                    <a:pt x="255" y="83"/>
                    <a:pt x="255" y="83"/>
                  </a:cubicBezTo>
                  <a:cubicBezTo>
                    <a:pt x="255" y="82"/>
                    <a:pt x="255" y="81"/>
                    <a:pt x="255" y="79"/>
                  </a:cubicBezTo>
                  <a:cubicBezTo>
                    <a:pt x="255" y="79"/>
                    <a:pt x="255" y="77"/>
                    <a:pt x="255" y="77"/>
                  </a:cubicBezTo>
                  <a:cubicBezTo>
                    <a:pt x="254" y="75"/>
                    <a:pt x="254" y="75"/>
                    <a:pt x="254" y="75"/>
                  </a:cubicBezTo>
                  <a:cubicBezTo>
                    <a:pt x="254" y="75"/>
                    <a:pt x="254" y="75"/>
                    <a:pt x="254" y="75"/>
                  </a:cubicBezTo>
                  <a:cubicBezTo>
                    <a:pt x="254" y="74"/>
                    <a:pt x="254" y="74"/>
                    <a:pt x="254" y="74"/>
                  </a:cubicBezTo>
                  <a:cubicBezTo>
                    <a:pt x="252" y="73"/>
                    <a:pt x="252" y="73"/>
                    <a:pt x="252" y="73"/>
                  </a:cubicBezTo>
                  <a:cubicBezTo>
                    <a:pt x="252" y="72"/>
                    <a:pt x="252" y="72"/>
                    <a:pt x="251" y="71"/>
                  </a:cubicBezTo>
                  <a:cubicBezTo>
                    <a:pt x="251" y="70"/>
                    <a:pt x="251" y="70"/>
                    <a:pt x="251" y="70"/>
                  </a:cubicBezTo>
                  <a:cubicBezTo>
                    <a:pt x="251" y="70"/>
                    <a:pt x="251" y="70"/>
                    <a:pt x="251" y="70"/>
                  </a:cubicBezTo>
                  <a:cubicBezTo>
                    <a:pt x="250" y="68"/>
                    <a:pt x="249" y="66"/>
                    <a:pt x="247" y="65"/>
                  </a:cubicBezTo>
                  <a:cubicBezTo>
                    <a:pt x="247" y="65"/>
                    <a:pt x="247" y="65"/>
                    <a:pt x="247" y="65"/>
                  </a:cubicBezTo>
                  <a:cubicBezTo>
                    <a:pt x="247" y="65"/>
                    <a:pt x="247" y="65"/>
                    <a:pt x="247" y="65"/>
                  </a:cubicBezTo>
                  <a:cubicBezTo>
                    <a:pt x="244" y="63"/>
                    <a:pt x="244" y="63"/>
                    <a:pt x="244" y="63"/>
                  </a:cubicBezTo>
                  <a:cubicBezTo>
                    <a:pt x="246" y="60"/>
                    <a:pt x="246" y="60"/>
                    <a:pt x="246" y="60"/>
                  </a:cubicBezTo>
                  <a:cubicBezTo>
                    <a:pt x="249" y="56"/>
                    <a:pt x="253" y="52"/>
                    <a:pt x="257" y="49"/>
                  </a:cubicBezTo>
                  <a:cubicBezTo>
                    <a:pt x="258" y="48"/>
                    <a:pt x="258" y="48"/>
                    <a:pt x="258" y="48"/>
                  </a:cubicBezTo>
                  <a:cubicBezTo>
                    <a:pt x="259" y="48"/>
                    <a:pt x="259" y="48"/>
                    <a:pt x="259" y="48"/>
                  </a:cubicBezTo>
                  <a:cubicBezTo>
                    <a:pt x="259" y="48"/>
                    <a:pt x="259" y="48"/>
                    <a:pt x="259" y="48"/>
                  </a:cubicBezTo>
                  <a:cubicBezTo>
                    <a:pt x="260" y="48"/>
                    <a:pt x="261" y="48"/>
                    <a:pt x="261" y="48"/>
                  </a:cubicBezTo>
                  <a:cubicBezTo>
                    <a:pt x="262" y="49"/>
                    <a:pt x="262" y="49"/>
                    <a:pt x="262" y="49"/>
                  </a:cubicBezTo>
                  <a:cubicBezTo>
                    <a:pt x="263" y="49"/>
                    <a:pt x="263" y="49"/>
                    <a:pt x="263" y="49"/>
                  </a:cubicBezTo>
                  <a:cubicBezTo>
                    <a:pt x="264" y="48"/>
                    <a:pt x="265" y="47"/>
                    <a:pt x="267" y="46"/>
                  </a:cubicBezTo>
                  <a:cubicBezTo>
                    <a:pt x="270" y="44"/>
                    <a:pt x="270" y="44"/>
                    <a:pt x="270" y="44"/>
                  </a:cubicBezTo>
                  <a:cubicBezTo>
                    <a:pt x="271" y="44"/>
                    <a:pt x="272" y="43"/>
                    <a:pt x="273" y="43"/>
                  </a:cubicBezTo>
                  <a:cubicBezTo>
                    <a:pt x="273" y="43"/>
                    <a:pt x="273" y="43"/>
                    <a:pt x="273" y="43"/>
                  </a:cubicBezTo>
                  <a:cubicBezTo>
                    <a:pt x="270" y="44"/>
                    <a:pt x="267" y="45"/>
                    <a:pt x="264" y="46"/>
                  </a:cubicBezTo>
                  <a:cubicBezTo>
                    <a:pt x="261" y="47"/>
                    <a:pt x="261" y="47"/>
                    <a:pt x="261" y="47"/>
                  </a:cubicBezTo>
                  <a:cubicBezTo>
                    <a:pt x="261" y="47"/>
                    <a:pt x="260" y="47"/>
                    <a:pt x="260" y="47"/>
                  </a:cubicBezTo>
                  <a:cubicBezTo>
                    <a:pt x="259" y="47"/>
                    <a:pt x="259" y="47"/>
                    <a:pt x="259" y="47"/>
                  </a:cubicBezTo>
                  <a:cubicBezTo>
                    <a:pt x="259" y="47"/>
                    <a:pt x="258" y="47"/>
                    <a:pt x="258" y="47"/>
                  </a:cubicBezTo>
                  <a:cubicBezTo>
                    <a:pt x="256" y="46"/>
                    <a:pt x="255" y="44"/>
                    <a:pt x="254" y="42"/>
                  </a:cubicBezTo>
                  <a:cubicBezTo>
                    <a:pt x="253" y="41"/>
                    <a:pt x="253" y="41"/>
                    <a:pt x="253" y="41"/>
                  </a:cubicBezTo>
                  <a:cubicBezTo>
                    <a:pt x="253" y="40"/>
                    <a:pt x="253" y="40"/>
                    <a:pt x="253" y="40"/>
                  </a:cubicBezTo>
                  <a:cubicBezTo>
                    <a:pt x="252" y="39"/>
                    <a:pt x="251" y="37"/>
                    <a:pt x="251" y="35"/>
                  </a:cubicBezTo>
                  <a:cubicBezTo>
                    <a:pt x="251" y="34"/>
                    <a:pt x="251" y="33"/>
                    <a:pt x="251" y="32"/>
                  </a:cubicBezTo>
                  <a:cubicBezTo>
                    <a:pt x="252" y="31"/>
                    <a:pt x="252" y="31"/>
                    <a:pt x="252" y="30"/>
                  </a:cubicBezTo>
                  <a:cubicBezTo>
                    <a:pt x="252" y="29"/>
                    <a:pt x="252" y="29"/>
                    <a:pt x="252" y="29"/>
                  </a:cubicBezTo>
                  <a:cubicBezTo>
                    <a:pt x="253" y="26"/>
                    <a:pt x="253" y="23"/>
                    <a:pt x="254" y="19"/>
                  </a:cubicBezTo>
                  <a:cubicBezTo>
                    <a:pt x="254" y="17"/>
                    <a:pt x="254" y="15"/>
                    <a:pt x="254" y="13"/>
                  </a:cubicBezTo>
                  <a:cubicBezTo>
                    <a:pt x="253" y="13"/>
                    <a:pt x="252" y="13"/>
                    <a:pt x="252" y="13"/>
                  </a:cubicBezTo>
                  <a:cubicBezTo>
                    <a:pt x="251" y="13"/>
                    <a:pt x="251" y="13"/>
                    <a:pt x="251" y="13"/>
                  </a:cubicBezTo>
                  <a:cubicBezTo>
                    <a:pt x="251" y="13"/>
                    <a:pt x="250" y="12"/>
                    <a:pt x="250" y="12"/>
                  </a:cubicBezTo>
                  <a:cubicBezTo>
                    <a:pt x="246" y="12"/>
                    <a:pt x="246" y="12"/>
                    <a:pt x="246" y="12"/>
                  </a:cubicBezTo>
                  <a:cubicBezTo>
                    <a:pt x="248" y="8"/>
                    <a:pt x="248" y="8"/>
                    <a:pt x="248" y="8"/>
                  </a:cubicBezTo>
                  <a:cubicBezTo>
                    <a:pt x="248" y="7"/>
                    <a:pt x="248" y="6"/>
                    <a:pt x="249" y="6"/>
                  </a:cubicBezTo>
                  <a:cubicBezTo>
                    <a:pt x="248" y="6"/>
                    <a:pt x="248" y="6"/>
                    <a:pt x="248" y="6"/>
                  </a:cubicBezTo>
                  <a:cubicBezTo>
                    <a:pt x="248" y="5"/>
                    <a:pt x="248" y="5"/>
                    <a:pt x="247" y="4"/>
                  </a:cubicBezTo>
                  <a:cubicBezTo>
                    <a:pt x="247" y="4"/>
                    <a:pt x="247" y="4"/>
                    <a:pt x="247" y="4"/>
                  </a:cubicBezTo>
                  <a:cubicBezTo>
                    <a:pt x="242" y="8"/>
                    <a:pt x="242" y="8"/>
                    <a:pt x="242" y="8"/>
                  </a:cubicBezTo>
                  <a:cubicBezTo>
                    <a:pt x="246" y="2"/>
                    <a:pt x="246" y="2"/>
                    <a:pt x="246" y="2"/>
                  </a:cubicBezTo>
                  <a:cubicBezTo>
                    <a:pt x="245" y="1"/>
                    <a:pt x="245" y="1"/>
                    <a:pt x="244" y="1"/>
                  </a:cubicBezTo>
                  <a:cubicBezTo>
                    <a:pt x="244" y="0"/>
                    <a:pt x="243" y="0"/>
                    <a:pt x="2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287"/>
            <p:cNvSpPr>
              <a:spLocks noEditPoints="1"/>
            </p:cNvSpPr>
            <p:nvPr/>
          </p:nvSpPr>
          <p:spPr bwMode="auto">
            <a:xfrm>
              <a:off x="6119" y="427"/>
              <a:ext cx="1054" cy="900"/>
            </a:xfrm>
            <a:custGeom>
              <a:gdLst>
                <a:gd name="T0" fmla="*/ 113 w 446"/>
                <a:gd name="T1" fmla="*/ 247 h 381"/>
                <a:gd name="T2" fmla="*/ 7 w 446"/>
                <a:gd name="T3" fmla="*/ 32 h 381"/>
                <a:gd name="T4" fmla="*/ 12 w 446"/>
                <a:gd name="T5" fmla="*/ 51 h 381"/>
                <a:gd name="T6" fmla="*/ 17 w 446"/>
                <a:gd name="T7" fmla="*/ 68 h 381"/>
                <a:gd name="T8" fmla="*/ 21 w 446"/>
                <a:gd name="T9" fmla="*/ 77 h 381"/>
                <a:gd name="T10" fmla="*/ 27 w 446"/>
                <a:gd name="T11" fmla="*/ 87 h 381"/>
                <a:gd name="T12" fmla="*/ 39 w 446"/>
                <a:gd name="T13" fmla="*/ 101 h 381"/>
                <a:gd name="T14" fmla="*/ 52 w 446"/>
                <a:gd name="T15" fmla="*/ 107 h 381"/>
                <a:gd name="T16" fmla="*/ 50 w 446"/>
                <a:gd name="T17" fmla="*/ 121 h 381"/>
                <a:gd name="T18" fmla="*/ 39 w 446"/>
                <a:gd name="T19" fmla="*/ 138 h 381"/>
                <a:gd name="T20" fmla="*/ 32 w 446"/>
                <a:gd name="T21" fmla="*/ 153 h 381"/>
                <a:gd name="T22" fmla="*/ 39 w 446"/>
                <a:gd name="T23" fmla="*/ 160 h 381"/>
                <a:gd name="T24" fmla="*/ 48 w 446"/>
                <a:gd name="T25" fmla="*/ 177 h 381"/>
                <a:gd name="T26" fmla="*/ 78 w 446"/>
                <a:gd name="T27" fmla="*/ 192 h 381"/>
                <a:gd name="T28" fmla="*/ 88 w 446"/>
                <a:gd name="T29" fmla="*/ 215 h 381"/>
                <a:gd name="T30" fmla="*/ 92 w 446"/>
                <a:gd name="T31" fmla="*/ 230 h 381"/>
                <a:gd name="T32" fmla="*/ 102 w 446"/>
                <a:gd name="T33" fmla="*/ 251 h 381"/>
                <a:gd name="T34" fmla="*/ 118 w 446"/>
                <a:gd name="T35" fmla="*/ 250 h 381"/>
                <a:gd name="T36" fmla="*/ 137 w 446"/>
                <a:gd name="T37" fmla="*/ 253 h 381"/>
                <a:gd name="T38" fmla="*/ 159 w 446"/>
                <a:gd name="T39" fmla="*/ 285 h 381"/>
                <a:gd name="T40" fmla="*/ 179 w 446"/>
                <a:gd name="T41" fmla="*/ 312 h 381"/>
                <a:gd name="T42" fmla="*/ 201 w 446"/>
                <a:gd name="T43" fmla="*/ 325 h 381"/>
                <a:gd name="T44" fmla="*/ 229 w 446"/>
                <a:gd name="T45" fmla="*/ 342 h 381"/>
                <a:gd name="T46" fmla="*/ 277 w 446"/>
                <a:gd name="T47" fmla="*/ 331 h 381"/>
                <a:gd name="T48" fmla="*/ 304 w 446"/>
                <a:gd name="T49" fmla="*/ 351 h 381"/>
                <a:gd name="T50" fmla="*/ 342 w 446"/>
                <a:gd name="T51" fmla="*/ 370 h 381"/>
                <a:gd name="T52" fmla="*/ 372 w 446"/>
                <a:gd name="T53" fmla="*/ 373 h 381"/>
                <a:gd name="T54" fmla="*/ 401 w 446"/>
                <a:gd name="T55" fmla="*/ 381 h 381"/>
                <a:gd name="T56" fmla="*/ 412 w 446"/>
                <a:gd name="T57" fmla="*/ 357 h 381"/>
                <a:gd name="T58" fmla="*/ 443 w 446"/>
                <a:gd name="T59" fmla="*/ 340 h 381"/>
                <a:gd name="T60" fmla="*/ 434 w 446"/>
                <a:gd name="T61" fmla="*/ 326 h 381"/>
                <a:gd name="T62" fmla="*/ 427 w 446"/>
                <a:gd name="T63" fmla="*/ 302 h 381"/>
                <a:gd name="T64" fmla="*/ 386 w 446"/>
                <a:gd name="T65" fmla="*/ 262 h 381"/>
                <a:gd name="T66" fmla="*/ 407 w 446"/>
                <a:gd name="T67" fmla="*/ 240 h 381"/>
                <a:gd name="T68" fmla="*/ 389 w 446"/>
                <a:gd name="T69" fmla="*/ 218 h 381"/>
                <a:gd name="T70" fmla="*/ 388 w 446"/>
                <a:gd name="T71" fmla="*/ 195 h 381"/>
                <a:gd name="T72" fmla="*/ 381 w 446"/>
                <a:gd name="T73" fmla="*/ 160 h 381"/>
                <a:gd name="T74" fmla="*/ 391 w 446"/>
                <a:gd name="T75" fmla="*/ 133 h 381"/>
                <a:gd name="T76" fmla="*/ 401 w 446"/>
                <a:gd name="T77" fmla="*/ 112 h 381"/>
                <a:gd name="T78" fmla="*/ 397 w 446"/>
                <a:gd name="T79" fmla="*/ 91 h 381"/>
                <a:gd name="T80" fmla="*/ 383 w 446"/>
                <a:gd name="T81" fmla="*/ 85 h 381"/>
                <a:gd name="T82" fmla="*/ 370 w 446"/>
                <a:gd name="T83" fmla="*/ 74 h 381"/>
                <a:gd name="T84" fmla="*/ 356 w 446"/>
                <a:gd name="T85" fmla="*/ 62 h 381"/>
                <a:gd name="T86" fmla="*/ 334 w 446"/>
                <a:gd name="T87" fmla="*/ 58 h 381"/>
                <a:gd name="T88" fmla="*/ 312 w 446"/>
                <a:gd name="T89" fmla="*/ 50 h 381"/>
                <a:gd name="T90" fmla="*/ 297 w 446"/>
                <a:gd name="T91" fmla="*/ 41 h 381"/>
                <a:gd name="T92" fmla="*/ 281 w 446"/>
                <a:gd name="T93" fmla="*/ 51 h 381"/>
                <a:gd name="T94" fmla="*/ 222 w 446"/>
                <a:gd name="T95" fmla="*/ 76 h 381"/>
                <a:gd name="T96" fmla="*/ 178 w 446"/>
                <a:gd name="T97" fmla="*/ 83 h 381"/>
                <a:gd name="T98" fmla="*/ 142 w 446"/>
                <a:gd name="T99" fmla="*/ 64 h 381"/>
                <a:gd name="T100" fmla="*/ 111 w 446"/>
                <a:gd name="T101" fmla="*/ 36 h 381"/>
                <a:gd name="T102" fmla="*/ 104 w 446"/>
                <a:gd name="T103" fmla="*/ 37 h 381"/>
                <a:gd name="T104" fmla="*/ 85 w 446"/>
                <a:gd name="T105" fmla="*/ 21 h 381"/>
                <a:gd name="T106" fmla="*/ 84 w 446"/>
                <a:gd name="T107" fmla="*/ 4 h 381"/>
                <a:gd name="T108" fmla="*/ 57 w 446"/>
                <a:gd name="T109" fmla="*/ 23 h 381"/>
                <a:gd name="T110" fmla="*/ 50 w 446"/>
                <a:gd name="T111" fmla="*/ 24 h 381"/>
                <a:gd name="T112" fmla="*/ 13 w 446"/>
                <a:gd name="T113" fmla="*/ 4 h 3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6" h="381">
                  <a:moveTo>
                    <a:pt x="113" y="247"/>
                  </a:moveTo>
                  <a:cubicBezTo>
                    <a:pt x="114" y="246"/>
                    <a:pt x="114" y="245"/>
                    <a:pt x="112" y="244"/>
                  </a:cubicBezTo>
                  <a:cubicBezTo>
                    <a:pt x="113" y="244"/>
                    <a:pt x="114" y="244"/>
                    <a:pt x="115" y="244"/>
                  </a:cubicBezTo>
                  <a:cubicBezTo>
                    <a:pt x="116" y="244"/>
                    <a:pt x="117" y="244"/>
                    <a:pt x="117" y="244"/>
                  </a:cubicBezTo>
                  <a:cubicBezTo>
                    <a:pt x="119" y="244"/>
                    <a:pt x="120" y="245"/>
                    <a:pt x="119" y="246"/>
                  </a:cubicBezTo>
                  <a:cubicBezTo>
                    <a:pt x="119" y="247"/>
                    <a:pt x="118" y="247"/>
                    <a:pt x="118" y="247"/>
                  </a:cubicBezTo>
                  <a:cubicBezTo>
                    <a:pt x="117" y="247"/>
                    <a:pt x="115" y="247"/>
                    <a:pt x="114" y="247"/>
                  </a:cubicBezTo>
                  <a:cubicBezTo>
                    <a:pt x="114" y="247"/>
                    <a:pt x="114" y="247"/>
                    <a:pt x="113" y="247"/>
                  </a:cubicBezTo>
                  <a:cubicBezTo>
                    <a:pt x="113" y="247"/>
                    <a:pt x="113" y="247"/>
                    <a:pt x="113" y="247"/>
                  </a:cubicBezTo>
                  <a:moveTo>
                    <a:pt x="10" y="0"/>
                  </a:moveTo>
                  <a:cubicBezTo>
                    <a:pt x="9" y="0"/>
                    <a:pt x="9" y="0"/>
                    <a:pt x="9" y="0"/>
                  </a:cubicBezTo>
                  <a:cubicBezTo>
                    <a:pt x="9" y="1"/>
                    <a:pt x="9" y="1"/>
                    <a:pt x="9" y="1"/>
                  </a:cubicBezTo>
                  <a:cubicBezTo>
                    <a:pt x="10" y="6"/>
                    <a:pt x="7" y="8"/>
                    <a:pt x="5" y="9"/>
                  </a:cubicBezTo>
                  <a:cubicBezTo>
                    <a:pt x="4" y="10"/>
                    <a:pt x="2" y="10"/>
                    <a:pt x="0" y="10"/>
                  </a:cubicBezTo>
                  <a:cubicBezTo>
                    <a:pt x="0" y="11"/>
                    <a:pt x="0" y="11"/>
                    <a:pt x="0" y="11"/>
                  </a:cubicBezTo>
                  <a:cubicBezTo>
                    <a:pt x="1" y="13"/>
                    <a:pt x="1" y="14"/>
                    <a:pt x="1" y="15"/>
                  </a:cubicBezTo>
                  <a:cubicBezTo>
                    <a:pt x="2" y="17"/>
                    <a:pt x="3" y="19"/>
                    <a:pt x="4" y="20"/>
                  </a:cubicBezTo>
                  <a:cubicBezTo>
                    <a:pt x="6" y="22"/>
                    <a:pt x="7" y="27"/>
                    <a:pt x="7" y="32"/>
                  </a:cubicBezTo>
                  <a:cubicBezTo>
                    <a:pt x="8" y="32"/>
                    <a:pt x="8" y="33"/>
                    <a:pt x="9" y="34"/>
                  </a:cubicBezTo>
                  <a:cubicBezTo>
                    <a:pt x="11" y="36"/>
                    <a:pt x="9" y="40"/>
                    <a:pt x="8" y="41"/>
                  </a:cubicBezTo>
                  <a:cubicBezTo>
                    <a:pt x="7" y="42"/>
                    <a:pt x="5" y="45"/>
                    <a:pt x="5" y="45"/>
                  </a:cubicBezTo>
                  <a:cubicBezTo>
                    <a:pt x="5" y="45"/>
                    <a:pt x="5" y="45"/>
                    <a:pt x="5" y="45"/>
                  </a:cubicBezTo>
                  <a:cubicBezTo>
                    <a:pt x="5" y="46"/>
                    <a:pt x="5" y="46"/>
                    <a:pt x="5" y="46"/>
                  </a:cubicBezTo>
                  <a:cubicBezTo>
                    <a:pt x="6" y="46"/>
                    <a:pt x="6" y="46"/>
                    <a:pt x="7" y="48"/>
                  </a:cubicBezTo>
                  <a:cubicBezTo>
                    <a:pt x="8" y="48"/>
                    <a:pt x="9" y="48"/>
                    <a:pt x="11" y="49"/>
                  </a:cubicBezTo>
                  <a:cubicBezTo>
                    <a:pt x="11" y="49"/>
                    <a:pt x="11" y="50"/>
                    <a:pt x="12" y="50"/>
                  </a:cubicBezTo>
                  <a:cubicBezTo>
                    <a:pt x="12" y="51"/>
                    <a:pt x="12" y="51"/>
                    <a:pt x="12" y="51"/>
                  </a:cubicBezTo>
                  <a:cubicBezTo>
                    <a:pt x="13" y="52"/>
                    <a:pt x="13" y="53"/>
                    <a:pt x="13" y="54"/>
                  </a:cubicBezTo>
                  <a:cubicBezTo>
                    <a:pt x="13" y="55"/>
                    <a:pt x="13" y="55"/>
                    <a:pt x="13" y="56"/>
                  </a:cubicBezTo>
                  <a:cubicBezTo>
                    <a:pt x="13" y="57"/>
                    <a:pt x="13" y="57"/>
                    <a:pt x="13" y="57"/>
                  </a:cubicBezTo>
                  <a:cubicBezTo>
                    <a:pt x="12" y="57"/>
                    <a:pt x="12" y="58"/>
                    <a:pt x="12" y="58"/>
                  </a:cubicBezTo>
                  <a:cubicBezTo>
                    <a:pt x="13" y="59"/>
                    <a:pt x="13" y="59"/>
                    <a:pt x="13" y="59"/>
                  </a:cubicBezTo>
                  <a:cubicBezTo>
                    <a:pt x="15" y="60"/>
                    <a:pt x="16" y="61"/>
                    <a:pt x="17" y="63"/>
                  </a:cubicBezTo>
                  <a:cubicBezTo>
                    <a:pt x="17" y="63"/>
                    <a:pt x="17" y="63"/>
                    <a:pt x="17" y="63"/>
                  </a:cubicBezTo>
                  <a:cubicBezTo>
                    <a:pt x="18" y="65"/>
                    <a:pt x="17" y="67"/>
                    <a:pt x="17" y="68"/>
                  </a:cubicBezTo>
                  <a:cubicBezTo>
                    <a:pt x="17" y="68"/>
                    <a:pt x="17" y="68"/>
                    <a:pt x="17" y="68"/>
                  </a:cubicBezTo>
                  <a:cubicBezTo>
                    <a:pt x="17" y="69"/>
                    <a:pt x="18" y="70"/>
                    <a:pt x="18" y="70"/>
                  </a:cubicBezTo>
                  <a:cubicBezTo>
                    <a:pt x="19" y="73"/>
                    <a:pt x="19" y="73"/>
                    <a:pt x="20" y="74"/>
                  </a:cubicBezTo>
                  <a:cubicBezTo>
                    <a:pt x="20" y="74"/>
                    <a:pt x="19" y="75"/>
                    <a:pt x="19" y="76"/>
                  </a:cubicBezTo>
                  <a:cubicBezTo>
                    <a:pt x="19" y="76"/>
                    <a:pt x="19" y="76"/>
                    <a:pt x="19" y="76"/>
                  </a:cubicBezTo>
                  <a:cubicBezTo>
                    <a:pt x="20" y="76"/>
                    <a:pt x="20" y="76"/>
                    <a:pt x="20" y="76"/>
                  </a:cubicBezTo>
                  <a:cubicBezTo>
                    <a:pt x="20" y="75"/>
                    <a:pt x="20" y="75"/>
                    <a:pt x="20" y="75"/>
                  </a:cubicBezTo>
                  <a:cubicBezTo>
                    <a:pt x="20" y="76"/>
                    <a:pt x="20" y="76"/>
                    <a:pt x="20" y="76"/>
                  </a:cubicBezTo>
                  <a:cubicBezTo>
                    <a:pt x="20" y="77"/>
                    <a:pt x="20" y="77"/>
                    <a:pt x="20" y="77"/>
                  </a:cubicBezTo>
                  <a:cubicBezTo>
                    <a:pt x="21" y="77"/>
                    <a:pt x="21" y="77"/>
                    <a:pt x="21" y="77"/>
                  </a:cubicBezTo>
                  <a:cubicBezTo>
                    <a:pt x="23" y="78"/>
                    <a:pt x="23" y="80"/>
                    <a:pt x="23" y="81"/>
                  </a:cubicBezTo>
                  <a:cubicBezTo>
                    <a:pt x="23" y="82"/>
                    <a:pt x="23" y="82"/>
                    <a:pt x="23" y="83"/>
                  </a:cubicBezTo>
                  <a:cubicBezTo>
                    <a:pt x="23" y="83"/>
                    <a:pt x="23" y="83"/>
                    <a:pt x="23" y="83"/>
                  </a:cubicBezTo>
                  <a:cubicBezTo>
                    <a:pt x="23" y="84"/>
                    <a:pt x="23" y="84"/>
                    <a:pt x="23" y="84"/>
                  </a:cubicBezTo>
                  <a:cubicBezTo>
                    <a:pt x="24" y="84"/>
                    <a:pt x="24" y="84"/>
                    <a:pt x="24" y="84"/>
                  </a:cubicBezTo>
                  <a:cubicBezTo>
                    <a:pt x="24" y="84"/>
                    <a:pt x="26" y="85"/>
                    <a:pt x="27" y="86"/>
                  </a:cubicBezTo>
                  <a:cubicBezTo>
                    <a:pt x="32" y="85"/>
                    <a:pt x="32" y="85"/>
                    <a:pt x="32" y="85"/>
                  </a:cubicBezTo>
                  <a:cubicBezTo>
                    <a:pt x="27" y="87"/>
                    <a:pt x="27" y="87"/>
                    <a:pt x="27" y="87"/>
                  </a:cubicBezTo>
                  <a:cubicBezTo>
                    <a:pt x="27" y="87"/>
                    <a:pt x="27" y="87"/>
                    <a:pt x="27" y="87"/>
                  </a:cubicBezTo>
                  <a:cubicBezTo>
                    <a:pt x="28" y="88"/>
                    <a:pt x="28" y="88"/>
                    <a:pt x="28" y="89"/>
                  </a:cubicBezTo>
                  <a:cubicBezTo>
                    <a:pt x="29" y="90"/>
                    <a:pt x="29" y="92"/>
                    <a:pt x="30" y="95"/>
                  </a:cubicBezTo>
                  <a:cubicBezTo>
                    <a:pt x="30" y="96"/>
                    <a:pt x="30" y="96"/>
                    <a:pt x="30" y="96"/>
                  </a:cubicBezTo>
                  <a:cubicBezTo>
                    <a:pt x="30" y="96"/>
                    <a:pt x="30" y="96"/>
                    <a:pt x="30" y="96"/>
                  </a:cubicBezTo>
                  <a:cubicBezTo>
                    <a:pt x="31" y="96"/>
                    <a:pt x="31" y="96"/>
                    <a:pt x="32" y="96"/>
                  </a:cubicBezTo>
                  <a:cubicBezTo>
                    <a:pt x="33" y="96"/>
                    <a:pt x="34" y="97"/>
                    <a:pt x="35" y="98"/>
                  </a:cubicBezTo>
                  <a:cubicBezTo>
                    <a:pt x="36" y="99"/>
                    <a:pt x="37" y="100"/>
                    <a:pt x="38" y="101"/>
                  </a:cubicBezTo>
                  <a:cubicBezTo>
                    <a:pt x="38" y="101"/>
                    <a:pt x="38" y="101"/>
                    <a:pt x="38" y="101"/>
                  </a:cubicBezTo>
                  <a:cubicBezTo>
                    <a:pt x="39" y="101"/>
                    <a:pt x="39" y="101"/>
                    <a:pt x="39" y="101"/>
                  </a:cubicBezTo>
                  <a:cubicBezTo>
                    <a:pt x="40" y="101"/>
                    <a:pt x="40" y="101"/>
                    <a:pt x="42" y="101"/>
                  </a:cubicBezTo>
                  <a:cubicBezTo>
                    <a:pt x="43" y="101"/>
                    <a:pt x="43" y="101"/>
                    <a:pt x="43" y="101"/>
                  </a:cubicBezTo>
                  <a:cubicBezTo>
                    <a:pt x="43" y="101"/>
                    <a:pt x="43" y="101"/>
                    <a:pt x="43" y="101"/>
                  </a:cubicBezTo>
                  <a:cubicBezTo>
                    <a:pt x="44" y="101"/>
                    <a:pt x="44" y="101"/>
                    <a:pt x="44" y="101"/>
                  </a:cubicBezTo>
                  <a:cubicBezTo>
                    <a:pt x="44" y="101"/>
                    <a:pt x="45" y="101"/>
                    <a:pt x="45" y="101"/>
                  </a:cubicBezTo>
                  <a:cubicBezTo>
                    <a:pt x="46" y="101"/>
                    <a:pt x="47" y="101"/>
                    <a:pt x="48" y="101"/>
                  </a:cubicBezTo>
                  <a:cubicBezTo>
                    <a:pt x="49" y="101"/>
                    <a:pt x="49" y="101"/>
                    <a:pt x="50" y="101"/>
                  </a:cubicBezTo>
                  <a:cubicBezTo>
                    <a:pt x="59" y="104"/>
                    <a:pt x="59" y="104"/>
                    <a:pt x="59" y="104"/>
                  </a:cubicBezTo>
                  <a:cubicBezTo>
                    <a:pt x="52" y="107"/>
                    <a:pt x="52" y="107"/>
                    <a:pt x="52" y="107"/>
                  </a:cubicBezTo>
                  <a:cubicBezTo>
                    <a:pt x="51" y="108"/>
                    <a:pt x="50" y="108"/>
                    <a:pt x="49" y="108"/>
                  </a:cubicBezTo>
                  <a:cubicBezTo>
                    <a:pt x="47" y="109"/>
                    <a:pt x="46" y="110"/>
                    <a:pt x="46" y="110"/>
                  </a:cubicBezTo>
                  <a:cubicBezTo>
                    <a:pt x="46" y="110"/>
                    <a:pt x="46" y="110"/>
                    <a:pt x="46" y="110"/>
                  </a:cubicBezTo>
                  <a:cubicBezTo>
                    <a:pt x="46" y="111"/>
                    <a:pt x="46" y="111"/>
                    <a:pt x="46" y="111"/>
                  </a:cubicBezTo>
                  <a:cubicBezTo>
                    <a:pt x="46" y="112"/>
                    <a:pt x="46" y="112"/>
                    <a:pt x="46" y="112"/>
                  </a:cubicBezTo>
                  <a:cubicBezTo>
                    <a:pt x="46" y="112"/>
                    <a:pt x="46" y="113"/>
                    <a:pt x="46" y="113"/>
                  </a:cubicBezTo>
                  <a:cubicBezTo>
                    <a:pt x="46" y="114"/>
                    <a:pt x="47" y="114"/>
                    <a:pt x="47" y="114"/>
                  </a:cubicBezTo>
                  <a:cubicBezTo>
                    <a:pt x="47" y="115"/>
                    <a:pt x="47" y="115"/>
                    <a:pt x="47" y="115"/>
                  </a:cubicBezTo>
                  <a:cubicBezTo>
                    <a:pt x="48" y="116"/>
                    <a:pt x="50" y="118"/>
                    <a:pt x="50" y="121"/>
                  </a:cubicBezTo>
                  <a:cubicBezTo>
                    <a:pt x="50" y="121"/>
                    <a:pt x="50" y="122"/>
                    <a:pt x="50" y="122"/>
                  </a:cubicBezTo>
                  <a:cubicBezTo>
                    <a:pt x="49" y="123"/>
                    <a:pt x="49" y="123"/>
                    <a:pt x="49" y="123"/>
                  </a:cubicBezTo>
                  <a:cubicBezTo>
                    <a:pt x="49" y="125"/>
                    <a:pt x="49" y="125"/>
                    <a:pt x="49" y="125"/>
                  </a:cubicBezTo>
                  <a:cubicBezTo>
                    <a:pt x="47" y="126"/>
                    <a:pt x="47" y="126"/>
                    <a:pt x="47" y="126"/>
                  </a:cubicBezTo>
                  <a:cubicBezTo>
                    <a:pt x="47" y="126"/>
                    <a:pt x="46" y="126"/>
                    <a:pt x="45" y="126"/>
                  </a:cubicBezTo>
                  <a:cubicBezTo>
                    <a:pt x="44" y="127"/>
                    <a:pt x="43" y="127"/>
                    <a:pt x="42" y="127"/>
                  </a:cubicBezTo>
                  <a:cubicBezTo>
                    <a:pt x="40" y="130"/>
                    <a:pt x="40" y="131"/>
                    <a:pt x="40" y="133"/>
                  </a:cubicBezTo>
                  <a:cubicBezTo>
                    <a:pt x="39" y="136"/>
                    <a:pt x="39" y="136"/>
                    <a:pt x="39" y="136"/>
                  </a:cubicBezTo>
                  <a:cubicBezTo>
                    <a:pt x="39" y="137"/>
                    <a:pt x="39" y="138"/>
                    <a:pt x="39" y="138"/>
                  </a:cubicBezTo>
                  <a:cubicBezTo>
                    <a:pt x="38" y="139"/>
                    <a:pt x="37" y="141"/>
                    <a:pt x="35" y="141"/>
                  </a:cubicBezTo>
                  <a:cubicBezTo>
                    <a:pt x="35" y="141"/>
                    <a:pt x="35" y="141"/>
                    <a:pt x="34" y="141"/>
                  </a:cubicBezTo>
                  <a:cubicBezTo>
                    <a:pt x="34" y="141"/>
                    <a:pt x="34" y="141"/>
                    <a:pt x="34" y="141"/>
                  </a:cubicBezTo>
                  <a:cubicBezTo>
                    <a:pt x="34" y="141"/>
                    <a:pt x="34" y="141"/>
                    <a:pt x="34" y="141"/>
                  </a:cubicBezTo>
                  <a:cubicBezTo>
                    <a:pt x="34" y="141"/>
                    <a:pt x="34" y="142"/>
                    <a:pt x="35" y="142"/>
                  </a:cubicBezTo>
                  <a:cubicBezTo>
                    <a:pt x="36" y="143"/>
                    <a:pt x="36" y="145"/>
                    <a:pt x="35" y="146"/>
                  </a:cubicBezTo>
                  <a:cubicBezTo>
                    <a:pt x="35" y="146"/>
                    <a:pt x="35" y="147"/>
                    <a:pt x="35" y="147"/>
                  </a:cubicBezTo>
                  <a:cubicBezTo>
                    <a:pt x="34" y="148"/>
                    <a:pt x="34" y="148"/>
                    <a:pt x="34" y="148"/>
                  </a:cubicBezTo>
                  <a:cubicBezTo>
                    <a:pt x="34" y="150"/>
                    <a:pt x="33" y="151"/>
                    <a:pt x="32" y="153"/>
                  </a:cubicBezTo>
                  <a:cubicBezTo>
                    <a:pt x="32" y="153"/>
                    <a:pt x="32" y="153"/>
                    <a:pt x="32" y="153"/>
                  </a:cubicBezTo>
                  <a:cubicBezTo>
                    <a:pt x="39" y="153"/>
                    <a:pt x="39" y="153"/>
                    <a:pt x="39" y="153"/>
                  </a:cubicBezTo>
                  <a:cubicBezTo>
                    <a:pt x="35" y="157"/>
                    <a:pt x="35" y="157"/>
                    <a:pt x="35" y="157"/>
                  </a:cubicBezTo>
                  <a:cubicBezTo>
                    <a:pt x="37" y="158"/>
                    <a:pt x="37" y="158"/>
                    <a:pt x="37" y="158"/>
                  </a:cubicBezTo>
                  <a:cubicBezTo>
                    <a:pt x="41" y="154"/>
                    <a:pt x="41" y="154"/>
                    <a:pt x="41" y="154"/>
                  </a:cubicBezTo>
                  <a:cubicBezTo>
                    <a:pt x="38" y="160"/>
                    <a:pt x="38" y="160"/>
                    <a:pt x="38" y="160"/>
                  </a:cubicBezTo>
                  <a:cubicBezTo>
                    <a:pt x="38" y="160"/>
                    <a:pt x="38" y="160"/>
                    <a:pt x="38" y="160"/>
                  </a:cubicBezTo>
                  <a:cubicBezTo>
                    <a:pt x="38" y="160"/>
                    <a:pt x="38" y="160"/>
                    <a:pt x="39" y="160"/>
                  </a:cubicBezTo>
                  <a:cubicBezTo>
                    <a:pt x="39" y="160"/>
                    <a:pt x="39" y="160"/>
                    <a:pt x="39" y="160"/>
                  </a:cubicBezTo>
                  <a:cubicBezTo>
                    <a:pt x="41" y="161"/>
                    <a:pt x="42" y="161"/>
                    <a:pt x="44" y="162"/>
                  </a:cubicBezTo>
                  <a:cubicBezTo>
                    <a:pt x="44" y="163"/>
                    <a:pt x="44" y="163"/>
                    <a:pt x="44" y="164"/>
                  </a:cubicBezTo>
                  <a:cubicBezTo>
                    <a:pt x="44" y="165"/>
                    <a:pt x="45" y="166"/>
                    <a:pt x="45" y="167"/>
                  </a:cubicBezTo>
                  <a:cubicBezTo>
                    <a:pt x="45" y="168"/>
                    <a:pt x="45" y="168"/>
                    <a:pt x="45" y="168"/>
                  </a:cubicBezTo>
                  <a:cubicBezTo>
                    <a:pt x="45" y="169"/>
                    <a:pt x="45" y="170"/>
                    <a:pt x="45" y="171"/>
                  </a:cubicBezTo>
                  <a:cubicBezTo>
                    <a:pt x="46" y="172"/>
                    <a:pt x="46" y="172"/>
                    <a:pt x="46" y="172"/>
                  </a:cubicBezTo>
                  <a:cubicBezTo>
                    <a:pt x="46" y="173"/>
                    <a:pt x="46" y="175"/>
                    <a:pt x="47" y="176"/>
                  </a:cubicBezTo>
                  <a:cubicBezTo>
                    <a:pt x="47" y="177"/>
                    <a:pt x="47" y="177"/>
                    <a:pt x="47" y="177"/>
                  </a:cubicBezTo>
                  <a:cubicBezTo>
                    <a:pt x="48" y="177"/>
                    <a:pt x="48" y="177"/>
                    <a:pt x="48" y="177"/>
                  </a:cubicBezTo>
                  <a:cubicBezTo>
                    <a:pt x="48" y="177"/>
                    <a:pt x="49" y="177"/>
                    <a:pt x="50" y="177"/>
                  </a:cubicBezTo>
                  <a:cubicBezTo>
                    <a:pt x="51" y="177"/>
                    <a:pt x="52" y="178"/>
                    <a:pt x="54" y="178"/>
                  </a:cubicBezTo>
                  <a:cubicBezTo>
                    <a:pt x="56" y="179"/>
                    <a:pt x="57" y="180"/>
                    <a:pt x="59" y="181"/>
                  </a:cubicBezTo>
                  <a:cubicBezTo>
                    <a:pt x="69" y="189"/>
                    <a:pt x="69" y="189"/>
                    <a:pt x="69" y="189"/>
                  </a:cubicBezTo>
                  <a:cubicBezTo>
                    <a:pt x="70" y="190"/>
                    <a:pt x="70" y="190"/>
                    <a:pt x="70" y="190"/>
                  </a:cubicBezTo>
                  <a:cubicBezTo>
                    <a:pt x="70" y="190"/>
                    <a:pt x="70" y="190"/>
                    <a:pt x="70" y="190"/>
                  </a:cubicBezTo>
                  <a:cubicBezTo>
                    <a:pt x="70" y="190"/>
                    <a:pt x="71" y="189"/>
                    <a:pt x="72" y="189"/>
                  </a:cubicBezTo>
                  <a:cubicBezTo>
                    <a:pt x="72" y="189"/>
                    <a:pt x="73" y="189"/>
                    <a:pt x="74" y="190"/>
                  </a:cubicBezTo>
                  <a:cubicBezTo>
                    <a:pt x="75" y="190"/>
                    <a:pt x="76" y="191"/>
                    <a:pt x="78" y="192"/>
                  </a:cubicBezTo>
                  <a:cubicBezTo>
                    <a:pt x="79" y="194"/>
                    <a:pt x="81" y="197"/>
                    <a:pt x="82" y="198"/>
                  </a:cubicBezTo>
                  <a:cubicBezTo>
                    <a:pt x="83" y="200"/>
                    <a:pt x="83" y="200"/>
                    <a:pt x="83" y="200"/>
                  </a:cubicBezTo>
                  <a:cubicBezTo>
                    <a:pt x="84" y="201"/>
                    <a:pt x="85" y="202"/>
                    <a:pt x="85" y="203"/>
                  </a:cubicBezTo>
                  <a:cubicBezTo>
                    <a:pt x="88" y="207"/>
                    <a:pt x="89" y="209"/>
                    <a:pt x="89" y="211"/>
                  </a:cubicBezTo>
                  <a:cubicBezTo>
                    <a:pt x="89" y="211"/>
                    <a:pt x="89" y="211"/>
                    <a:pt x="89" y="211"/>
                  </a:cubicBezTo>
                  <a:cubicBezTo>
                    <a:pt x="89" y="211"/>
                    <a:pt x="89" y="211"/>
                    <a:pt x="89" y="211"/>
                  </a:cubicBezTo>
                  <a:cubicBezTo>
                    <a:pt x="89" y="212"/>
                    <a:pt x="89" y="213"/>
                    <a:pt x="89" y="213"/>
                  </a:cubicBezTo>
                  <a:cubicBezTo>
                    <a:pt x="89" y="213"/>
                    <a:pt x="89" y="213"/>
                    <a:pt x="89" y="213"/>
                  </a:cubicBezTo>
                  <a:cubicBezTo>
                    <a:pt x="88" y="215"/>
                    <a:pt x="88" y="215"/>
                    <a:pt x="88" y="215"/>
                  </a:cubicBezTo>
                  <a:cubicBezTo>
                    <a:pt x="88" y="216"/>
                    <a:pt x="87" y="217"/>
                    <a:pt x="87" y="218"/>
                  </a:cubicBezTo>
                  <a:cubicBezTo>
                    <a:pt x="86" y="219"/>
                    <a:pt x="86" y="219"/>
                    <a:pt x="86" y="219"/>
                  </a:cubicBezTo>
                  <a:cubicBezTo>
                    <a:pt x="86" y="219"/>
                    <a:pt x="86" y="219"/>
                    <a:pt x="86" y="219"/>
                  </a:cubicBezTo>
                  <a:cubicBezTo>
                    <a:pt x="86" y="221"/>
                    <a:pt x="86" y="222"/>
                    <a:pt x="86" y="224"/>
                  </a:cubicBezTo>
                  <a:cubicBezTo>
                    <a:pt x="86" y="225"/>
                    <a:pt x="85" y="227"/>
                    <a:pt x="85" y="228"/>
                  </a:cubicBezTo>
                  <a:cubicBezTo>
                    <a:pt x="86" y="228"/>
                    <a:pt x="87" y="228"/>
                    <a:pt x="88" y="228"/>
                  </a:cubicBezTo>
                  <a:cubicBezTo>
                    <a:pt x="89" y="228"/>
                    <a:pt x="90" y="228"/>
                    <a:pt x="91" y="229"/>
                  </a:cubicBezTo>
                  <a:cubicBezTo>
                    <a:pt x="92" y="229"/>
                    <a:pt x="92" y="229"/>
                    <a:pt x="92" y="229"/>
                  </a:cubicBezTo>
                  <a:cubicBezTo>
                    <a:pt x="92" y="230"/>
                    <a:pt x="92" y="230"/>
                    <a:pt x="92" y="230"/>
                  </a:cubicBezTo>
                  <a:cubicBezTo>
                    <a:pt x="93" y="231"/>
                    <a:pt x="93" y="231"/>
                    <a:pt x="93" y="232"/>
                  </a:cubicBezTo>
                  <a:cubicBezTo>
                    <a:pt x="93" y="232"/>
                    <a:pt x="94" y="233"/>
                    <a:pt x="94" y="233"/>
                  </a:cubicBezTo>
                  <a:cubicBezTo>
                    <a:pt x="94" y="236"/>
                    <a:pt x="94" y="238"/>
                    <a:pt x="93" y="240"/>
                  </a:cubicBezTo>
                  <a:cubicBezTo>
                    <a:pt x="93" y="241"/>
                    <a:pt x="93" y="242"/>
                    <a:pt x="93" y="243"/>
                  </a:cubicBezTo>
                  <a:cubicBezTo>
                    <a:pt x="94" y="243"/>
                    <a:pt x="94" y="243"/>
                    <a:pt x="94" y="243"/>
                  </a:cubicBezTo>
                  <a:cubicBezTo>
                    <a:pt x="95" y="244"/>
                    <a:pt x="96" y="244"/>
                    <a:pt x="97" y="246"/>
                  </a:cubicBezTo>
                  <a:cubicBezTo>
                    <a:pt x="98" y="247"/>
                    <a:pt x="99" y="248"/>
                    <a:pt x="100" y="249"/>
                  </a:cubicBezTo>
                  <a:cubicBezTo>
                    <a:pt x="101" y="250"/>
                    <a:pt x="101" y="250"/>
                    <a:pt x="102" y="251"/>
                  </a:cubicBezTo>
                  <a:cubicBezTo>
                    <a:pt x="102" y="251"/>
                    <a:pt x="102" y="251"/>
                    <a:pt x="102" y="251"/>
                  </a:cubicBezTo>
                  <a:cubicBezTo>
                    <a:pt x="102" y="252"/>
                    <a:pt x="104" y="253"/>
                    <a:pt x="106" y="255"/>
                  </a:cubicBezTo>
                  <a:cubicBezTo>
                    <a:pt x="109" y="257"/>
                    <a:pt x="109" y="257"/>
                    <a:pt x="109" y="257"/>
                  </a:cubicBezTo>
                  <a:cubicBezTo>
                    <a:pt x="110" y="257"/>
                    <a:pt x="111" y="256"/>
                    <a:pt x="111" y="256"/>
                  </a:cubicBezTo>
                  <a:cubicBezTo>
                    <a:pt x="112" y="255"/>
                    <a:pt x="112" y="253"/>
                    <a:pt x="112" y="252"/>
                  </a:cubicBezTo>
                  <a:cubicBezTo>
                    <a:pt x="112" y="252"/>
                    <a:pt x="111" y="251"/>
                    <a:pt x="111" y="250"/>
                  </a:cubicBezTo>
                  <a:cubicBezTo>
                    <a:pt x="110" y="250"/>
                    <a:pt x="110" y="249"/>
                    <a:pt x="110" y="249"/>
                  </a:cubicBezTo>
                  <a:cubicBezTo>
                    <a:pt x="111" y="248"/>
                    <a:pt x="112" y="248"/>
                    <a:pt x="113" y="248"/>
                  </a:cubicBezTo>
                  <a:cubicBezTo>
                    <a:pt x="113" y="248"/>
                    <a:pt x="113" y="248"/>
                    <a:pt x="114" y="248"/>
                  </a:cubicBezTo>
                  <a:cubicBezTo>
                    <a:pt x="115" y="248"/>
                    <a:pt x="116" y="249"/>
                    <a:pt x="118" y="250"/>
                  </a:cubicBezTo>
                  <a:cubicBezTo>
                    <a:pt x="119" y="250"/>
                    <a:pt x="119" y="250"/>
                    <a:pt x="120" y="251"/>
                  </a:cubicBezTo>
                  <a:cubicBezTo>
                    <a:pt x="122" y="252"/>
                    <a:pt x="124" y="253"/>
                    <a:pt x="125" y="254"/>
                  </a:cubicBezTo>
                  <a:cubicBezTo>
                    <a:pt x="126" y="255"/>
                    <a:pt x="126" y="255"/>
                    <a:pt x="126" y="255"/>
                  </a:cubicBezTo>
                  <a:cubicBezTo>
                    <a:pt x="126" y="256"/>
                    <a:pt x="126" y="257"/>
                    <a:pt x="126" y="257"/>
                  </a:cubicBezTo>
                  <a:cubicBezTo>
                    <a:pt x="127" y="257"/>
                    <a:pt x="127" y="256"/>
                    <a:pt x="127" y="256"/>
                  </a:cubicBezTo>
                  <a:cubicBezTo>
                    <a:pt x="128" y="256"/>
                    <a:pt x="129" y="255"/>
                    <a:pt x="130" y="255"/>
                  </a:cubicBezTo>
                  <a:cubicBezTo>
                    <a:pt x="132" y="254"/>
                    <a:pt x="134" y="254"/>
                    <a:pt x="135" y="253"/>
                  </a:cubicBezTo>
                  <a:cubicBezTo>
                    <a:pt x="136" y="253"/>
                    <a:pt x="136" y="253"/>
                    <a:pt x="137" y="253"/>
                  </a:cubicBezTo>
                  <a:cubicBezTo>
                    <a:pt x="137" y="253"/>
                    <a:pt x="137" y="253"/>
                    <a:pt x="137" y="253"/>
                  </a:cubicBezTo>
                  <a:cubicBezTo>
                    <a:pt x="139" y="253"/>
                    <a:pt x="140" y="255"/>
                    <a:pt x="141" y="257"/>
                  </a:cubicBezTo>
                  <a:cubicBezTo>
                    <a:pt x="142" y="258"/>
                    <a:pt x="142" y="259"/>
                    <a:pt x="143" y="260"/>
                  </a:cubicBezTo>
                  <a:cubicBezTo>
                    <a:pt x="143" y="261"/>
                    <a:pt x="144" y="262"/>
                    <a:pt x="144" y="263"/>
                  </a:cubicBezTo>
                  <a:cubicBezTo>
                    <a:pt x="146" y="264"/>
                    <a:pt x="147" y="266"/>
                    <a:pt x="149" y="267"/>
                  </a:cubicBezTo>
                  <a:cubicBezTo>
                    <a:pt x="150" y="269"/>
                    <a:pt x="152" y="271"/>
                    <a:pt x="152" y="273"/>
                  </a:cubicBezTo>
                  <a:cubicBezTo>
                    <a:pt x="153" y="275"/>
                    <a:pt x="153" y="276"/>
                    <a:pt x="152" y="278"/>
                  </a:cubicBezTo>
                  <a:cubicBezTo>
                    <a:pt x="153" y="279"/>
                    <a:pt x="154" y="279"/>
                    <a:pt x="155" y="279"/>
                  </a:cubicBezTo>
                  <a:cubicBezTo>
                    <a:pt x="157" y="280"/>
                    <a:pt x="158" y="281"/>
                    <a:pt x="159" y="284"/>
                  </a:cubicBezTo>
                  <a:cubicBezTo>
                    <a:pt x="159" y="285"/>
                    <a:pt x="159" y="285"/>
                    <a:pt x="159" y="285"/>
                  </a:cubicBezTo>
                  <a:cubicBezTo>
                    <a:pt x="159" y="287"/>
                    <a:pt x="160" y="289"/>
                    <a:pt x="161" y="292"/>
                  </a:cubicBezTo>
                  <a:cubicBezTo>
                    <a:pt x="162" y="294"/>
                    <a:pt x="163" y="296"/>
                    <a:pt x="164" y="298"/>
                  </a:cubicBezTo>
                  <a:cubicBezTo>
                    <a:pt x="165" y="300"/>
                    <a:pt x="166" y="302"/>
                    <a:pt x="167" y="304"/>
                  </a:cubicBezTo>
                  <a:cubicBezTo>
                    <a:pt x="167" y="304"/>
                    <a:pt x="167" y="304"/>
                    <a:pt x="167" y="304"/>
                  </a:cubicBezTo>
                  <a:cubicBezTo>
                    <a:pt x="168" y="306"/>
                    <a:pt x="169" y="308"/>
                    <a:pt x="170" y="310"/>
                  </a:cubicBezTo>
                  <a:cubicBezTo>
                    <a:pt x="172" y="310"/>
                    <a:pt x="173" y="311"/>
                    <a:pt x="174" y="312"/>
                  </a:cubicBezTo>
                  <a:cubicBezTo>
                    <a:pt x="175" y="312"/>
                    <a:pt x="176" y="312"/>
                    <a:pt x="177" y="312"/>
                  </a:cubicBezTo>
                  <a:cubicBezTo>
                    <a:pt x="177" y="312"/>
                    <a:pt x="178" y="312"/>
                    <a:pt x="178" y="312"/>
                  </a:cubicBezTo>
                  <a:cubicBezTo>
                    <a:pt x="178" y="312"/>
                    <a:pt x="179" y="312"/>
                    <a:pt x="179" y="312"/>
                  </a:cubicBezTo>
                  <a:cubicBezTo>
                    <a:pt x="179" y="312"/>
                    <a:pt x="179" y="312"/>
                    <a:pt x="180" y="312"/>
                  </a:cubicBezTo>
                  <a:cubicBezTo>
                    <a:pt x="181" y="312"/>
                    <a:pt x="183" y="312"/>
                    <a:pt x="184" y="313"/>
                  </a:cubicBezTo>
                  <a:cubicBezTo>
                    <a:pt x="184" y="313"/>
                    <a:pt x="185" y="313"/>
                    <a:pt x="185" y="313"/>
                  </a:cubicBezTo>
                  <a:cubicBezTo>
                    <a:pt x="187" y="314"/>
                    <a:pt x="189" y="315"/>
                    <a:pt x="191" y="316"/>
                  </a:cubicBezTo>
                  <a:cubicBezTo>
                    <a:pt x="192" y="317"/>
                    <a:pt x="192" y="317"/>
                    <a:pt x="192" y="317"/>
                  </a:cubicBezTo>
                  <a:cubicBezTo>
                    <a:pt x="193" y="317"/>
                    <a:pt x="193" y="317"/>
                    <a:pt x="193" y="317"/>
                  </a:cubicBezTo>
                  <a:cubicBezTo>
                    <a:pt x="194" y="317"/>
                    <a:pt x="195" y="318"/>
                    <a:pt x="195" y="318"/>
                  </a:cubicBezTo>
                  <a:cubicBezTo>
                    <a:pt x="196" y="319"/>
                    <a:pt x="196" y="319"/>
                    <a:pt x="197" y="320"/>
                  </a:cubicBezTo>
                  <a:cubicBezTo>
                    <a:pt x="198" y="321"/>
                    <a:pt x="199" y="323"/>
                    <a:pt x="201" y="325"/>
                  </a:cubicBezTo>
                  <a:cubicBezTo>
                    <a:pt x="202" y="327"/>
                    <a:pt x="203" y="328"/>
                    <a:pt x="206" y="329"/>
                  </a:cubicBezTo>
                  <a:cubicBezTo>
                    <a:pt x="206" y="329"/>
                    <a:pt x="206" y="329"/>
                    <a:pt x="206" y="329"/>
                  </a:cubicBezTo>
                  <a:cubicBezTo>
                    <a:pt x="208" y="330"/>
                    <a:pt x="209" y="331"/>
                    <a:pt x="212" y="332"/>
                  </a:cubicBezTo>
                  <a:cubicBezTo>
                    <a:pt x="212" y="332"/>
                    <a:pt x="212" y="332"/>
                    <a:pt x="212" y="332"/>
                  </a:cubicBezTo>
                  <a:cubicBezTo>
                    <a:pt x="215" y="333"/>
                    <a:pt x="216" y="334"/>
                    <a:pt x="218" y="335"/>
                  </a:cubicBezTo>
                  <a:cubicBezTo>
                    <a:pt x="218" y="336"/>
                    <a:pt x="218" y="336"/>
                    <a:pt x="218" y="336"/>
                  </a:cubicBezTo>
                  <a:cubicBezTo>
                    <a:pt x="220" y="337"/>
                    <a:pt x="220" y="339"/>
                    <a:pt x="222" y="340"/>
                  </a:cubicBezTo>
                  <a:cubicBezTo>
                    <a:pt x="223" y="340"/>
                    <a:pt x="223" y="340"/>
                    <a:pt x="223" y="340"/>
                  </a:cubicBezTo>
                  <a:cubicBezTo>
                    <a:pt x="225" y="341"/>
                    <a:pt x="227" y="342"/>
                    <a:pt x="229" y="342"/>
                  </a:cubicBezTo>
                  <a:cubicBezTo>
                    <a:pt x="232" y="342"/>
                    <a:pt x="235" y="343"/>
                    <a:pt x="237" y="343"/>
                  </a:cubicBezTo>
                  <a:cubicBezTo>
                    <a:pt x="238" y="343"/>
                    <a:pt x="239" y="343"/>
                    <a:pt x="239" y="343"/>
                  </a:cubicBezTo>
                  <a:cubicBezTo>
                    <a:pt x="241" y="344"/>
                    <a:pt x="243" y="344"/>
                    <a:pt x="245" y="345"/>
                  </a:cubicBezTo>
                  <a:cubicBezTo>
                    <a:pt x="245" y="345"/>
                    <a:pt x="245" y="346"/>
                    <a:pt x="245" y="346"/>
                  </a:cubicBezTo>
                  <a:cubicBezTo>
                    <a:pt x="249" y="345"/>
                    <a:pt x="252" y="344"/>
                    <a:pt x="255" y="343"/>
                  </a:cubicBezTo>
                  <a:cubicBezTo>
                    <a:pt x="257" y="343"/>
                    <a:pt x="258" y="342"/>
                    <a:pt x="259" y="342"/>
                  </a:cubicBezTo>
                  <a:cubicBezTo>
                    <a:pt x="261" y="341"/>
                    <a:pt x="263" y="340"/>
                    <a:pt x="266" y="340"/>
                  </a:cubicBezTo>
                  <a:cubicBezTo>
                    <a:pt x="267" y="339"/>
                    <a:pt x="267" y="336"/>
                    <a:pt x="268" y="336"/>
                  </a:cubicBezTo>
                  <a:cubicBezTo>
                    <a:pt x="270" y="333"/>
                    <a:pt x="273" y="332"/>
                    <a:pt x="277" y="331"/>
                  </a:cubicBezTo>
                  <a:cubicBezTo>
                    <a:pt x="280" y="330"/>
                    <a:pt x="283" y="330"/>
                    <a:pt x="285" y="330"/>
                  </a:cubicBezTo>
                  <a:cubicBezTo>
                    <a:pt x="286" y="330"/>
                    <a:pt x="286" y="330"/>
                    <a:pt x="287" y="330"/>
                  </a:cubicBezTo>
                  <a:cubicBezTo>
                    <a:pt x="287" y="330"/>
                    <a:pt x="287" y="330"/>
                    <a:pt x="287" y="330"/>
                  </a:cubicBezTo>
                  <a:cubicBezTo>
                    <a:pt x="289" y="330"/>
                    <a:pt x="293" y="330"/>
                    <a:pt x="295" y="331"/>
                  </a:cubicBezTo>
                  <a:cubicBezTo>
                    <a:pt x="297" y="331"/>
                    <a:pt x="299" y="332"/>
                    <a:pt x="300" y="334"/>
                  </a:cubicBezTo>
                  <a:cubicBezTo>
                    <a:pt x="300" y="334"/>
                    <a:pt x="300" y="334"/>
                    <a:pt x="300" y="334"/>
                  </a:cubicBezTo>
                  <a:cubicBezTo>
                    <a:pt x="302" y="336"/>
                    <a:pt x="302" y="339"/>
                    <a:pt x="303" y="342"/>
                  </a:cubicBezTo>
                  <a:cubicBezTo>
                    <a:pt x="303" y="344"/>
                    <a:pt x="303" y="347"/>
                    <a:pt x="304" y="349"/>
                  </a:cubicBezTo>
                  <a:cubicBezTo>
                    <a:pt x="304" y="350"/>
                    <a:pt x="304" y="351"/>
                    <a:pt x="304" y="351"/>
                  </a:cubicBezTo>
                  <a:cubicBezTo>
                    <a:pt x="305" y="353"/>
                    <a:pt x="305" y="355"/>
                    <a:pt x="306" y="357"/>
                  </a:cubicBezTo>
                  <a:cubicBezTo>
                    <a:pt x="306" y="359"/>
                    <a:pt x="307" y="361"/>
                    <a:pt x="308" y="363"/>
                  </a:cubicBezTo>
                  <a:cubicBezTo>
                    <a:pt x="308" y="363"/>
                    <a:pt x="308" y="363"/>
                    <a:pt x="308" y="363"/>
                  </a:cubicBezTo>
                  <a:cubicBezTo>
                    <a:pt x="310" y="365"/>
                    <a:pt x="312" y="365"/>
                    <a:pt x="315" y="366"/>
                  </a:cubicBezTo>
                  <a:cubicBezTo>
                    <a:pt x="316" y="366"/>
                    <a:pt x="316" y="366"/>
                    <a:pt x="316" y="366"/>
                  </a:cubicBezTo>
                  <a:cubicBezTo>
                    <a:pt x="318" y="366"/>
                    <a:pt x="321" y="366"/>
                    <a:pt x="323" y="367"/>
                  </a:cubicBezTo>
                  <a:cubicBezTo>
                    <a:pt x="326" y="367"/>
                    <a:pt x="328" y="368"/>
                    <a:pt x="331" y="368"/>
                  </a:cubicBezTo>
                  <a:cubicBezTo>
                    <a:pt x="334" y="368"/>
                    <a:pt x="336" y="369"/>
                    <a:pt x="339" y="369"/>
                  </a:cubicBezTo>
                  <a:cubicBezTo>
                    <a:pt x="340" y="369"/>
                    <a:pt x="341" y="369"/>
                    <a:pt x="342" y="370"/>
                  </a:cubicBezTo>
                  <a:cubicBezTo>
                    <a:pt x="343" y="370"/>
                    <a:pt x="344" y="370"/>
                    <a:pt x="345" y="371"/>
                  </a:cubicBezTo>
                  <a:cubicBezTo>
                    <a:pt x="346" y="371"/>
                    <a:pt x="346" y="371"/>
                    <a:pt x="346" y="371"/>
                  </a:cubicBezTo>
                  <a:cubicBezTo>
                    <a:pt x="348" y="373"/>
                    <a:pt x="349" y="373"/>
                    <a:pt x="351" y="373"/>
                  </a:cubicBezTo>
                  <a:cubicBezTo>
                    <a:pt x="352" y="373"/>
                    <a:pt x="352" y="373"/>
                    <a:pt x="353" y="373"/>
                  </a:cubicBezTo>
                  <a:cubicBezTo>
                    <a:pt x="353" y="373"/>
                    <a:pt x="354" y="373"/>
                    <a:pt x="354" y="373"/>
                  </a:cubicBezTo>
                  <a:cubicBezTo>
                    <a:pt x="357" y="372"/>
                    <a:pt x="359" y="372"/>
                    <a:pt x="361" y="372"/>
                  </a:cubicBezTo>
                  <a:cubicBezTo>
                    <a:pt x="362" y="372"/>
                    <a:pt x="362" y="372"/>
                    <a:pt x="363" y="372"/>
                  </a:cubicBezTo>
                  <a:cubicBezTo>
                    <a:pt x="365" y="372"/>
                    <a:pt x="366" y="372"/>
                    <a:pt x="368" y="373"/>
                  </a:cubicBezTo>
                  <a:cubicBezTo>
                    <a:pt x="369" y="373"/>
                    <a:pt x="370" y="373"/>
                    <a:pt x="372" y="373"/>
                  </a:cubicBezTo>
                  <a:cubicBezTo>
                    <a:pt x="375" y="373"/>
                    <a:pt x="378" y="373"/>
                    <a:pt x="381" y="373"/>
                  </a:cubicBezTo>
                  <a:cubicBezTo>
                    <a:pt x="381" y="373"/>
                    <a:pt x="382" y="373"/>
                    <a:pt x="383" y="373"/>
                  </a:cubicBezTo>
                  <a:cubicBezTo>
                    <a:pt x="383" y="373"/>
                    <a:pt x="383" y="373"/>
                    <a:pt x="383" y="373"/>
                  </a:cubicBezTo>
                  <a:cubicBezTo>
                    <a:pt x="385" y="374"/>
                    <a:pt x="385" y="374"/>
                    <a:pt x="386" y="376"/>
                  </a:cubicBezTo>
                  <a:cubicBezTo>
                    <a:pt x="387" y="376"/>
                    <a:pt x="387" y="376"/>
                    <a:pt x="387" y="376"/>
                  </a:cubicBezTo>
                  <a:cubicBezTo>
                    <a:pt x="388" y="378"/>
                    <a:pt x="390" y="378"/>
                    <a:pt x="393" y="379"/>
                  </a:cubicBezTo>
                  <a:cubicBezTo>
                    <a:pt x="395" y="380"/>
                    <a:pt x="398" y="380"/>
                    <a:pt x="400" y="381"/>
                  </a:cubicBezTo>
                  <a:cubicBezTo>
                    <a:pt x="400" y="381"/>
                    <a:pt x="400" y="381"/>
                    <a:pt x="400" y="381"/>
                  </a:cubicBezTo>
                  <a:cubicBezTo>
                    <a:pt x="401" y="381"/>
                    <a:pt x="401" y="381"/>
                    <a:pt x="401" y="381"/>
                  </a:cubicBezTo>
                  <a:cubicBezTo>
                    <a:pt x="403" y="381"/>
                    <a:pt x="405" y="380"/>
                    <a:pt x="407" y="380"/>
                  </a:cubicBezTo>
                  <a:cubicBezTo>
                    <a:pt x="407" y="379"/>
                    <a:pt x="407" y="378"/>
                    <a:pt x="407" y="378"/>
                  </a:cubicBezTo>
                  <a:cubicBezTo>
                    <a:pt x="407" y="377"/>
                    <a:pt x="407" y="377"/>
                    <a:pt x="407" y="377"/>
                  </a:cubicBezTo>
                  <a:cubicBezTo>
                    <a:pt x="408" y="377"/>
                    <a:pt x="408" y="377"/>
                    <a:pt x="408" y="377"/>
                  </a:cubicBezTo>
                  <a:cubicBezTo>
                    <a:pt x="408" y="376"/>
                    <a:pt x="408" y="374"/>
                    <a:pt x="408" y="373"/>
                  </a:cubicBezTo>
                  <a:cubicBezTo>
                    <a:pt x="408" y="373"/>
                    <a:pt x="408" y="373"/>
                    <a:pt x="408" y="373"/>
                  </a:cubicBezTo>
                  <a:cubicBezTo>
                    <a:pt x="409" y="372"/>
                    <a:pt x="409" y="372"/>
                    <a:pt x="409" y="371"/>
                  </a:cubicBezTo>
                  <a:cubicBezTo>
                    <a:pt x="409" y="370"/>
                    <a:pt x="409" y="370"/>
                    <a:pt x="409" y="370"/>
                  </a:cubicBezTo>
                  <a:cubicBezTo>
                    <a:pt x="410" y="365"/>
                    <a:pt x="411" y="361"/>
                    <a:pt x="412" y="357"/>
                  </a:cubicBezTo>
                  <a:cubicBezTo>
                    <a:pt x="413" y="352"/>
                    <a:pt x="414" y="351"/>
                    <a:pt x="417" y="349"/>
                  </a:cubicBezTo>
                  <a:cubicBezTo>
                    <a:pt x="418" y="349"/>
                    <a:pt x="418" y="349"/>
                    <a:pt x="418" y="349"/>
                  </a:cubicBezTo>
                  <a:cubicBezTo>
                    <a:pt x="418" y="349"/>
                    <a:pt x="419" y="348"/>
                    <a:pt x="420" y="347"/>
                  </a:cubicBezTo>
                  <a:cubicBezTo>
                    <a:pt x="420" y="347"/>
                    <a:pt x="420" y="347"/>
                    <a:pt x="420" y="347"/>
                  </a:cubicBezTo>
                  <a:cubicBezTo>
                    <a:pt x="421" y="346"/>
                    <a:pt x="422" y="345"/>
                    <a:pt x="423" y="345"/>
                  </a:cubicBezTo>
                  <a:cubicBezTo>
                    <a:pt x="425" y="344"/>
                    <a:pt x="427" y="343"/>
                    <a:pt x="428" y="343"/>
                  </a:cubicBezTo>
                  <a:cubicBezTo>
                    <a:pt x="438" y="341"/>
                    <a:pt x="438" y="341"/>
                    <a:pt x="438" y="341"/>
                  </a:cubicBezTo>
                  <a:cubicBezTo>
                    <a:pt x="439" y="341"/>
                    <a:pt x="440" y="341"/>
                    <a:pt x="441" y="341"/>
                  </a:cubicBezTo>
                  <a:cubicBezTo>
                    <a:pt x="442" y="341"/>
                    <a:pt x="443" y="341"/>
                    <a:pt x="443" y="340"/>
                  </a:cubicBezTo>
                  <a:cubicBezTo>
                    <a:pt x="445" y="335"/>
                    <a:pt x="445" y="335"/>
                    <a:pt x="445" y="335"/>
                  </a:cubicBezTo>
                  <a:cubicBezTo>
                    <a:pt x="445" y="334"/>
                    <a:pt x="445" y="332"/>
                    <a:pt x="446" y="331"/>
                  </a:cubicBezTo>
                  <a:cubicBezTo>
                    <a:pt x="446" y="331"/>
                    <a:pt x="445" y="331"/>
                    <a:pt x="445" y="331"/>
                  </a:cubicBezTo>
                  <a:cubicBezTo>
                    <a:pt x="445" y="331"/>
                    <a:pt x="445" y="331"/>
                    <a:pt x="444" y="331"/>
                  </a:cubicBezTo>
                  <a:cubicBezTo>
                    <a:pt x="444" y="331"/>
                    <a:pt x="443" y="331"/>
                    <a:pt x="443" y="331"/>
                  </a:cubicBezTo>
                  <a:cubicBezTo>
                    <a:pt x="442" y="331"/>
                    <a:pt x="442" y="331"/>
                    <a:pt x="442" y="331"/>
                  </a:cubicBezTo>
                  <a:cubicBezTo>
                    <a:pt x="441" y="331"/>
                    <a:pt x="441" y="331"/>
                    <a:pt x="440" y="331"/>
                  </a:cubicBezTo>
                  <a:cubicBezTo>
                    <a:pt x="440" y="331"/>
                    <a:pt x="440" y="331"/>
                    <a:pt x="440" y="331"/>
                  </a:cubicBezTo>
                  <a:cubicBezTo>
                    <a:pt x="437" y="330"/>
                    <a:pt x="435" y="329"/>
                    <a:pt x="434" y="326"/>
                  </a:cubicBezTo>
                  <a:cubicBezTo>
                    <a:pt x="434" y="324"/>
                    <a:pt x="434" y="322"/>
                    <a:pt x="434" y="321"/>
                  </a:cubicBezTo>
                  <a:cubicBezTo>
                    <a:pt x="434" y="320"/>
                    <a:pt x="434" y="320"/>
                    <a:pt x="434" y="320"/>
                  </a:cubicBezTo>
                  <a:cubicBezTo>
                    <a:pt x="435" y="311"/>
                    <a:pt x="435" y="311"/>
                    <a:pt x="435" y="311"/>
                  </a:cubicBezTo>
                  <a:cubicBezTo>
                    <a:pt x="435" y="310"/>
                    <a:pt x="435" y="309"/>
                    <a:pt x="435" y="309"/>
                  </a:cubicBezTo>
                  <a:cubicBezTo>
                    <a:pt x="435" y="307"/>
                    <a:pt x="435" y="306"/>
                    <a:pt x="435" y="305"/>
                  </a:cubicBezTo>
                  <a:cubicBezTo>
                    <a:pt x="435" y="305"/>
                    <a:pt x="434" y="305"/>
                    <a:pt x="433" y="304"/>
                  </a:cubicBezTo>
                  <a:cubicBezTo>
                    <a:pt x="433" y="304"/>
                    <a:pt x="433" y="304"/>
                    <a:pt x="433" y="304"/>
                  </a:cubicBezTo>
                  <a:cubicBezTo>
                    <a:pt x="432" y="304"/>
                    <a:pt x="431" y="303"/>
                    <a:pt x="430" y="303"/>
                  </a:cubicBezTo>
                  <a:cubicBezTo>
                    <a:pt x="428" y="302"/>
                    <a:pt x="427" y="302"/>
                    <a:pt x="427" y="302"/>
                  </a:cubicBezTo>
                  <a:cubicBezTo>
                    <a:pt x="426" y="301"/>
                    <a:pt x="425" y="301"/>
                    <a:pt x="425" y="301"/>
                  </a:cubicBezTo>
                  <a:cubicBezTo>
                    <a:pt x="424" y="301"/>
                    <a:pt x="424" y="301"/>
                    <a:pt x="424" y="301"/>
                  </a:cubicBezTo>
                  <a:cubicBezTo>
                    <a:pt x="423" y="300"/>
                    <a:pt x="422" y="300"/>
                    <a:pt x="421" y="300"/>
                  </a:cubicBezTo>
                  <a:cubicBezTo>
                    <a:pt x="419" y="299"/>
                    <a:pt x="415" y="297"/>
                    <a:pt x="414" y="295"/>
                  </a:cubicBezTo>
                  <a:cubicBezTo>
                    <a:pt x="411" y="291"/>
                    <a:pt x="409" y="288"/>
                    <a:pt x="407" y="285"/>
                  </a:cubicBezTo>
                  <a:cubicBezTo>
                    <a:pt x="406" y="284"/>
                    <a:pt x="406" y="284"/>
                    <a:pt x="406" y="284"/>
                  </a:cubicBezTo>
                  <a:cubicBezTo>
                    <a:pt x="401" y="278"/>
                    <a:pt x="396" y="271"/>
                    <a:pt x="391" y="263"/>
                  </a:cubicBezTo>
                  <a:cubicBezTo>
                    <a:pt x="390" y="263"/>
                    <a:pt x="390" y="263"/>
                    <a:pt x="390" y="263"/>
                  </a:cubicBezTo>
                  <a:cubicBezTo>
                    <a:pt x="386" y="262"/>
                    <a:pt x="386" y="262"/>
                    <a:pt x="386" y="262"/>
                  </a:cubicBezTo>
                  <a:cubicBezTo>
                    <a:pt x="390" y="259"/>
                    <a:pt x="390" y="259"/>
                    <a:pt x="390" y="259"/>
                  </a:cubicBezTo>
                  <a:cubicBezTo>
                    <a:pt x="390" y="259"/>
                    <a:pt x="390" y="259"/>
                    <a:pt x="390" y="259"/>
                  </a:cubicBezTo>
                  <a:cubicBezTo>
                    <a:pt x="391" y="258"/>
                    <a:pt x="391" y="258"/>
                    <a:pt x="391" y="258"/>
                  </a:cubicBezTo>
                  <a:cubicBezTo>
                    <a:pt x="392" y="257"/>
                    <a:pt x="393" y="255"/>
                    <a:pt x="394" y="254"/>
                  </a:cubicBezTo>
                  <a:cubicBezTo>
                    <a:pt x="399" y="248"/>
                    <a:pt x="399" y="248"/>
                    <a:pt x="399" y="248"/>
                  </a:cubicBezTo>
                  <a:cubicBezTo>
                    <a:pt x="400" y="247"/>
                    <a:pt x="401" y="246"/>
                    <a:pt x="402" y="245"/>
                  </a:cubicBezTo>
                  <a:cubicBezTo>
                    <a:pt x="403" y="244"/>
                    <a:pt x="403" y="244"/>
                    <a:pt x="403" y="244"/>
                  </a:cubicBezTo>
                  <a:cubicBezTo>
                    <a:pt x="404" y="243"/>
                    <a:pt x="404" y="243"/>
                    <a:pt x="404" y="242"/>
                  </a:cubicBezTo>
                  <a:cubicBezTo>
                    <a:pt x="405" y="241"/>
                    <a:pt x="406" y="240"/>
                    <a:pt x="407" y="240"/>
                  </a:cubicBezTo>
                  <a:cubicBezTo>
                    <a:pt x="408" y="238"/>
                    <a:pt x="410" y="236"/>
                    <a:pt x="411" y="234"/>
                  </a:cubicBezTo>
                  <a:cubicBezTo>
                    <a:pt x="412" y="233"/>
                    <a:pt x="412" y="231"/>
                    <a:pt x="412" y="230"/>
                  </a:cubicBezTo>
                  <a:cubicBezTo>
                    <a:pt x="412" y="230"/>
                    <a:pt x="412" y="229"/>
                    <a:pt x="411" y="229"/>
                  </a:cubicBezTo>
                  <a:cubicBezTo>
                    <a:pt x="411" y="228"/>
                    <a:pt x="411" y="228"/>
                    <a:pt x="410" y="227"/>
                  </a:cubicBezTo>
                  <a:cubicBezTo>
                    <a:pt x="408" y="224"/>
                    <a:pt x="408" y="224"/>
                    <a:pt x="408" y="224"/>
                  </a:cubicBezTo>
                  <a:cubicBezTo>
                    <a:pt x="408" y="224"/>
                    <a:pt x="408" y="224"/>
                    <a:pt x="407" y="223"/>
                  </a:cubicBezTo>
                  <a:cubicBezTo>
                    <a:pt x="395" y="222"/>
                    <a:pt x="395" y="222"/>
                    <a:pt x="395" y="222"/>
                  </a:cubicBezTo>
                  <a:cubicBezTo>
                    <a:pt x="394" y="222"/>
                    <a:pt x="394" y="222"/>
                    <a:pt x="394" y="222"/>
                  </a:cubicBezTo>
                  <a:cubicBezTo>
                    <a:pt x="393" y="221"/>
                    <a:pt x="390" y="221"/>
                    <a:pt x="389" y="218"/>
                  </a:cubicBezTo>
                  <a:cubicBezTo>
                    <a:pt x="389" y="218"/>
                    <a:pt x="389" y="217"/>
                    <a:pt x="389" y="217"/>
                  </a:cubicBezTo>
                  <a:cubicBezTo>
                    <a:pt x="389" y="216"/>
                    <a:pt x="389" y="215"/>
                    <a:pt x="389" y="214"/>
                  </a:cubicBezTo>
                  <a:cubicBezTo>
                    <a:pt x="389" y="214"/>
                    <a:pt x="389" y="214"/>
                    <a:pt x="389" y="214"/>
                  </a:cubicBezTo>
                  <a:cubicBezTo>
                    <a:pt x="389" y="213"/>
                    <a:pt x="389" y="213"/>
                    <a:pt x="389" y="212"/>
                  </a:cubicBezTo>
                  <a:cubicBezTo>
                    <a:pt x="388" y="208"/>
                    <a:pt x="388" y="208"/>
                    <a:pt x="388" y="208"/>
                  </a:cubicBezTo>
                  <a:cubicBezTo>
                    <a:pt x="388" y="206"/>
                    <a:pt x="388" y="204"/>
                    <a:pt x="389" y="202"/>
                  </a:cubicBezTo>
                  <a:cubicBezTo>
                    <a:pt x="389" y="201"/>
                    <a:pt x="389" y="200"/>
                    <a:pt x="389" y="198"/>
                  </a:cubicBezTo>
                  <a:cubicBezTo>
                    <a:pt x="389" y="198"/>
                    <a:pt x="389" y="197"/>
                    <a:pt x="389" y="196"/>
                  </a:cubicBezTo>
                  <a:cubicBezTo>
                    <a:pt x="388" y="195"/>
                    <a:pt x="388" y="195"/>
                    <a:pt x="388" y="195"/>
                  </a:cubicBezTo>
                  <a:cubicBezTo>
                    <a:pt x="388" y="194"/>
                    <a:pt x="387" y="193"/>
                    <a:pt x="387" y="192"/>
                  </a:cubicBezTo>
                  <a:cubicBezTo>
                    <a:pt x="385" y="184"/>
                    <a:pt x="385" y="184"/>
                    <a:pt x="385" y="184"/>
                  </a:cubicBezTo>
                  <a:cubicBezTo>
                    <a:pt x="385" y="183"/>
                    <a:pt x="385" y="183"/>
                    <a:pt x="385" y="182"/>
                  </a:cubicBezTo>
                  <a:cubicBezTo>
                    <a:pt x="383" y="176"/>
                    <a:pt x="383" y="176"/>
                    <a:pt x="383" y="176"/>
                  </a:cubicBezTo>
                  <a:cubicBezTo>
                    <a:pt x="383" y="173"/>
                    <a:pt x="385" y="170"/>
                    <a:pt x="388" y="167"/>
                  </a:cubicBezTo>
                  <a:cubicBezTo>
                    <a:pt x="388" y="167"/>
                    <a:pt x="388" y="167"/>
                    <a:pt x="388" y="167"/>
                  </a:cubicBezTo>
                  <a:cubicBezTo>
                    <a:pt x="386" y="167"/>
                    <a:pt x="384" y="166"/>
                    <a:pt x="383" y="164"/>
                  </a:cubicBezTo>
                  <a:cubicBezTo>
                    <a:pt x="382" y="163"/>
                    <a:pt x="382" y="162"/>
                    <a:pt x="381" y="161"/>
                  </a:cubicBezTo>
                  <a:cubicBezTo>
                    <a:pt x="381" y="160"/>
                    <a:pt x="381" y="160"/>
                    <a:pt x="381" y="160"/>
                  </a:cubicBezTo>
                  <a:cubicBezTo>
                    <a:pt x="381" y="159"/>
                    <a:pt x="381" y="157"/>
                    <a:pt x="381" y="156"/>
                  </a:cubicBezTo>
                  <a:cubicBezTo>
                    <a:pt x="381" y="153"/>
                    <a:pt x="381" y="151"/>
                    <a:pt x="381" y="150"/>
                  </a:cubicBezTo>
                  <a:cubicBezTo>
                    <a:pt x="381" y="150"/>
                    <a:pt x="381" y="150"/>
                    <a:pt x="381" y="150"/>
                  </a:cubicBezTo>
                  <a:cubicBezTo>
                    <a:pt x="380" y="150"/>
                    <a:pt x="380" y="150"/>
                    <a:pt x="380" y="150"/>
                  </a:cubicBezTo>
                  <a:cubicBezTo>
                    <a:pt x="388" y="142"/>
                    <a:pt x="388" y="142"/>
                    <a:pt x="388" y="142"/>
                  </a:cubicBezTo>
                  <a:cubicBezTo>
                    <a:pt x="388" y="142"/>
                    <a:pt x="387" y="141"/>
                    <a:pt x="387" y="141"/>
                  </a:cubicBezTo>
                  <a:cubicBezTo>
                    <a:pt x="385" y="139"/>
                    <a:pt x="385" y="139"/>
                    <a:pt x="385" y="139"/>
                  </a:cubicBezTo>
                  <a:cubicBezTo>
                    <a:pt x="387" y="137"/>
                    <a:pt x="387" y="137"/>
                    <a:pt x="387" y="137"/>
                  </a:cubicBezTo>
                  <a:cubicBezTo>
                    <a:pt x="388" y="136"/>
                    <a:pt x="389" y="134"/>
                    <a:pt x="391" y="133"/>
                  </a:cubicBezTo>
                  <a:cubicBezTo>
                    <a:pt x="392" y="132"/>
                    <a:pt x="392" y="132"/>
                    <a:pt x="392" y="132"/>
                  </a:cubicBezTo>
                  <a:cubicBezTo>
                    <a:pt x="394" y="130"/>
                    <a:pt x="394" y="130"/>
                    <a:pt x="394" y="129"/>
                  </a:cubicBezTo>
                  <a:cubicBezTo>
                    <a:pt x="394" y="127"/>
                    <a:pt x="394" y="127"/>
                    <a:pt x="394" y="127"/>
                  </a:cubicBezTo>
                  <a:cubicBezTo>
                    <a:pt x="395" y="126"/>
                    <a:pt x="395" y="126"/>
                    <a:pt x="395" y="126"/>
                  </a:cubicBezTo>
                  <a:cubicBezTo>
                    <a:pt x="395" y="126"/>
                    <a:pt x="395" y="126"/>
                    <a:pt x="395" y="126"/>
                  </a:cubicBezTo>
                  <a:cubicBezTo>
                    <a:pt x="395" y="125"/>
                    <a:pt x="395" y="124"/>
                    <a:pt x="396" y="123"/>
                  </a:cubicBezTo>
                  <a:cubicBezTo>
                    <a:pt x="398" y="115"/>
                    <a:pt x="398" y="115"/>
                    <a:pt x="398" y="115"/>
                  </a:cubicBezTo>
                  <a:cubicBezTo>
                    <a:pt x="401" y="112"/>
                    <a:pt x="401" y="112"/>
                    <a:pt x="401" y="112"/>
                  </a:cubicBezTo>
                  <a:cubicBezTo>
                    <a:pt x="401" y="112"/>
                    <a:pt x="401" y="112"/>
                    <a:pt x="401" y="112"/>
                  </a:cubicBezTo>
                  <a:cubicBezTo>
                    <a:pt x="400" y="111"/>
                    <a:pt x="400" y="111"/>
                    <a:pt x="399" y="110"/>
                  </a:cubicBezTo>
                  <a:cubicBezTo>
                    <a:pt x="399" y="109"/>
                    <a:pt x="399" y="109"/>
                    <a:pt x="399" y="109"/>
                  </a:cubicBezTo>
                  <a:cubicBezTo>
                    <a:pt x="399" y="108"/>
                    <a:pt x="399" y="107"/>
                    <a:pt x="399" y="107"/>
                  </a:cubicBezTo>
                  <a:cubicBezTo>
                    <a:pt x="398" y="106"/>
                    <a:pt x="398" y="106"/>
                    <a:pt x="398" y="105"/>
                  </a:cubicBezTo>
                  <a:cubicBezTo>
                    <a:pt x="397" y="103"/>
                    <a:pt x="397" y="103"/>
                    <a:pt x="397" y="103"/>
                  </a:cubicBezTo>
                  <a:cubicBezTo>
                    <a:pt x="397" y="100"/>
                    <a:pt x="397" y="97"/>
                    <a:pt x="397" y="95"/>
                  </a:cubicBezTo>
                  <a:cubicBezTo>
                    <a:pt x="397" y="94"/>
                    <a:pt x="397" y="94"/>
                    <a:pt x="397" y="94"/>
                  </a:cubicBezTo>
                  <a:cubicBezTo>
                    <a:pt x="397" y="93"/>
                    <a:pt x="397" y="92"/>
                    <a:pt x="397" y="92"/>
                  </a:cubicBezTo>
                  <a:cubicBezTo>
                    <a:pt x="397" y="91"/>
                    <a:pt x="397" y="91"/>
                    <a:pt x="397" y="91"/>
                  </a:cubicBezTo>
                  <a:cubicBezTo>
                    <a:pt x="397" y="89"/>
                    <a:pt x="397" y="86"/>
                    <a:pt x="397" y="85"/>
                  </a:cubicBezTo>
                  <a:cubicBezTo>
                    <a:pt x="397" y="85"/>
                    <a:pt x="397" y="85"/>
                    <a:pt x="397" y="85"/>
                  </a:cubicBezTo>
                  <a:cubicBezTo>
                    <a:pt x="396" y="84"/>
                    <a:pt x="394" y="84"/>
                    <a:pt x="393" y="84"/>
                  </a:cubicBezTo>
                  <a:cubicBezTo>
                    <a:pt x="393" y="84"/>
                    <a:pt x="392" y="84"/>
                    <a:pt x="391" y="84"/>
                  </a:cubicBezTo>
                  <a:cubicBezTo>
                    <a:pt x="389" y="84"/>
                    <a:pt x="389" y="84"/>
                    <a:pt x="389" y="84"/>
                  </a:cubicBezTo>
                  <a:cubicBezTo>
                    <a:pt x="387" y="85"/>
                    <a:pt x="386" y="85"/>
                    <a:pt x="385" y="85"/>
                  </a:cubicBezTo>
                  <a:cubicBezTo>
                    <a:pt x="385" y="88"/>
                    <a:pt x="385" y="88"/>
                    <a:pt x="385" y="88"/>
                  </a:cubicBezTo>
                  <a:cubicBezTo>
                    <a:pt x="384" y="85"/>
                    <a:pt x="384" y="85"/>
                    <a:pt x="384" y="85"/>
                  </a:cubicBezTo>
                  <a:cubicBezTo>
                    <a:pt x="383" y="85"/>
                    <a:pt x="383" y="85"/>
                    <a:pt x="383" y="85"/>
                  </a:cubicBezTo>
                  <a:cubicBezTo>
                    <a:pt x="382" y="85"/>
                    <a:pt x="380" y="84"/>
                    <a:pt x="379" y="84"/>
                  </a:cubicBezTo>
                  <a:cubicBezTo>
                    <a:pt x="379" y="84"/>
                    <a:pt x="378" y="83"/>
                    <a:pt x="378" y="83"/>
                  </a:cubicBezTo>
                  <a:cubicBezTo>
                    <a:pt x="377" y="82"/>
                    <a:pt x="377" y="82"/>
                    <a:pt x="377" y="82"/>
                  </a:cubicBezTo>
                  <a:cubicBezTo>
                    <a:pt x="376" y="82"/>
                    <a:pt x="376" y="81"/>
                    <a:pt x="375" y="80"/>
                  </a:cubicBezTo>
                  <a:cubicBezTo>
                    <a:pt x="374" y="78"/>
                    <a:pt x="374" y="78"/>
                    <a:pt x="374" y="78"/>
                  </a:cubicBezTo>
                  <a:cubicBezTo>
                    <a:pt x="373" y="77"/>
                    <a:pt x="373" y="77"/>
                    <a:pt x="372" y="76"/>
                  </a:cubicBezTo>
                  <a:cubicBezTo>
                    <a:pt x="372" y="75"/>
                    <a:pt x="372" y="75"/>
                    <a:pt x="372" y="75"/>
                  </a:cubicBezTo>
                  <a:cubicBezTo>
                    <a:pt x="372" y="75"/>
                    <a:pt x="371" y="75"/>
                    <a:pt x="371" y="74"/>
                  </a:cubicBezTo>
                  <a:cubicBezTo>
                    <a:pt x="370" y="74"/>
                    <a:pt x="370" y="74"/>
                    <a:pt x="370" y="74"/>
                  </a:cubicBezTo>
                  <a:cubicBezTo>
                    <a:pt x="369" y="73"/>
                    <a:pt x="367" y="73"/>
                    <a:pt x="365" y="72"/>
                  </a:cubicBezTo>
                  <a:cubicBezTo>
                    <a:pt x="365" y="72"/>
                    <a:pt x="365" y="72"/>
                    <a:pt x="365" y="72"/>
                  </a:cubicBezTo>
                  <a:cubicBezTo>
                    <a:pt x="364" y="72"/>
                    <a:pt x="363" y="72"/>
                    <a:pt x="362" y="72"/>
                  </a:cubicBezTo>
                  <a:cubicBezTo>
                    <a:pt x="362" y="71"/>
                    <a:pt x="362" y="71"/>
                    <a:pt x="362" y="71"/>
                  </a:cubicBezTo>
                  <a:cubicBezTo>
                    <a:pt x="361" y="71"/>
                    <a:pt x="361" y="71"/>
                    <a:pt x="361" y="71"/>
                  </a:cubicBezTo>
                  <a:cubicBezTo>
                    <a:pt x="360" y="70"/>
                    <a:pt x="360" y="70"/>
                    <a:pt x="360" y="70"/>
                  </a:cubicBezTo>
                  <a:cubicBezTo>
                    <a:pt x="360" y="69"/>
                    <a:pt x="360" y="69"/>
                    <a:pt x="359" y="68"/>
                  </a:cubicBezTo>
                  <a:cubicBezTo>
                    <a:pt x="358" y="66"/>
                    <a:pt x="358" y="66"/>
                    <a:pt x="358" y="66"/>
                  </a:cubicBezTo>
                  <a:cubicBezTo>
                    <a:pt x="357" y="65"/>
                    <a:pt x="357" y="63"/>
                    <a:pt x="356" y="62"/>
                  </a:cubicBezTo>
                  <a:cubicBezTo>
                    <a:pt x="355" y="61"/>
                    <a:pt x="355" y="61"/>
                    <a:pt x="355" y="61"/>
                  </a:cubicBezTo>
                  <a:cubicBezTo>
                    <a:pt x="354" y="59"/>
                    <a:pt x="351" y="58"/>
                    <a:pt x="347" y="58"/>
                  </a:cubicBezTo>
                  <a:cubicBezTo>
                    <a:pt x="347" y="58"/>
                    <a:pt x="346" y="58"/>
                    <a:pt x="346" y="58"/>
                  </a:cubicBezTo>
                  <a:cubicBezTo>
                    <a:pt x="345" y="58"/>
                    <a:pt x="344" y="58"/>
                    <a:pt x="343" y="58"/>
                  </a:cubicBezTo>
                  <a:cubicBezTo>
                    <a:pt x="337" y="58"/>
                    <a:pt x="337" y="58"/>
                    <a:pt x="337" y="58"/>
                  </a:cubicBezTo>
                  <a:cubicBezTo>
                    <a:pt x="337" y="58"/>
                    <a:pt x="337" y="58"/>
                    <a:pt x="337" y="58"/>
                  </a:cubicBezTo>
                  <a:cubicBezTo>
                    <a:pt x="336" y="58"/>
                    <a:pt x="336" y="58"/>
                    <a:pt x="336" y="58"/>
                  </a:cubicBezTo>
                  <a:cubicBezTo>
                    <a:pt x="334" y="58"/>
                    <a:pt x="334" y="58"/>
                    <a:pt x="334" y="58"/>
                  </a:cubicBezTo>
                  <a:cubicBezTo>
                    <a:pt x="334" y="58"/>
                    <a:pt x="334" y="58"/>
                    <a:pt x="334" y="58"/>
                  </a:cubicBezTo>
                  <a:cubicBezTo>
                    <a:pt x="333" y="58"/>
                    <a:pt x="333" y="58"/>
                    <a:pt x="332" y="58"/>
                  </a:cubicBezTo>
                  <a:cubicBezTo>
                    <a:pt x="331" y="57"/>
                    <a:pt x="331" y="57"/>
                    <a:pt x="330" y="57"/>
                  </a:cubicBezTo>
                  <a:cubicBezTo>
                    <a:pt x="329" y="57"/>
                    <a:pt x="329" y="57"/>
                    <a:pt x="329" y="56"/>
                  </a:cubicBezTo>
                  <a:cubicBezTo>
                    <a:pt x="325" y="53"/>
                    <a:pt x="325" y="53"/>
                    <a:pt x="325" y="53"/>
                  </a:cubicBezTo>
                  <a:cubicBezTo>
                    <a:pt x="324" y="53"/>
                    <a:pt x="323" y="52"/>
                    <a:pt x="322" y="52"/>
                  </a:cubicBezTo>
                  <a:cubicBezTo>
                    <a:pt x="320" y="51"/>
                    <a:pt x="320" y="51"/>
                    <a:pt x="320" y="51"/>
                  </a:cubicBezTo>
                  <a:cubicBezTo>
                    <a:pt x="320" y="51"/>
                    <a:pt x="319" y="51"/>
                    <a:pt x="318" y="51"/>
                  </a:cubicBezTo>
                  <a:cubicBezTo>
                    <a:pt x="316" y="50"/>
                    <a:pt x="315" y="50"/>
                    <a:pt x="313" y="50"/>
                  </a:cubicBezTo>
                  <a:cubicBezTo>
                    <a:pt x="312" y="50"/>
                    <a:pt x="312" y="50"/>
                    <a:pt x="312" y="50"/>
                  </a:cubicBezTo>
                  <a:cubicBezTo>
                    <a:pt x="310" y="49"/>
                    <a:pt x="308" y="48"/>
                    <a:pt x="307" y="46"/>
                  </a:cubicBezTo>
                  <a:cubicBezTo>
                    <a:pt x="307" y="45"/>
                    <a:pt x="307" y="45"/>
                    <a:pt x="307" y="45"/>
                  </a:cubicBezTo>
                  <a:cubicBezTo>
                    <a:pt x="302" y="48"/>
                    <a:pt x="302" y="48"/>
                    <a:pt x="302" y="48"/>
                  </a:cubicBezTo>
                  <a:cubicBezTo>
                    <a:pt x="306" y="44"/>
                    <a:pt x="306" y="44"/>
                    <a:pt x="306" y="44"/>
                  </a:cubicBezTo>
                  <a:cubicBezTo>
                    <a:pt x="306" y="44"/>
                    <a:pt x="306" y="44"/>
                    <a:pt x="306" y="44"/>
                  </a:cubicBezTo>
                  <a:cubicBezTo>
                    <a:pt x="305" y="41"/>
                    <a:pt x="305" y="41"/>
                    <a:pt x="304" y="41"/>
                  </a:cubicBezTo>
                  <a:cubicBezTo>
                    <a:pt x="303" y="41"/>
                    <a:pt x="302" y="41"/>
                    <a:pt x="301" y="41"/>
                  </a:cubicBezTo>
                  <a:cubicBezTo>
                    <a:pt x="300" y="41"/>
                    <a:pt x="300" y="41"/>
                    <a:pt x="300" y="41"/>
                  </a:cubicBezTo>
                  <a:cubicBezTo>
                    <a:pt x="299" y="41"/>
                    <a:pt x="298" y="41"/>
                    <a:pt x="297" y="41"/>
                  </a:cubicBezTo>
                  <a:cubicBezTo>
                    <a:pt x="296" y="41"/>
                    <a:pt x="296" y="41"/>
                    <a:pt x="296" y="41"/>
                  </a:cubicBezTo>
                  <a:cubicBezTo>
                    <a:pt x="296" y="41"/>
                    <a:pt x="295" y="41"/>
                    <a:pt x="295" y="41"/>
                  </a:cubicBezTo>
                  <a:cubicBezTo>
                    <a:pt x="293" y="41"/>
                    <a:pt x="292" y="41"/>
                    <a:pt x="291" y="41"/>
                  </a:cubicBezTo>
                  <a:cubicBezTo>
                    <a:pt x="290" y="41"/>
                    <a:pt x="290" y="41"/>
                    <a:pt x="290" y="41"/>
                  </a:cubicBezTo>
                  <a:cubicBezTo>
                    <a:pt x="290" y="41"/>
                    <a:pt x="290" y="41"/>
                    <a:pt x="290" y="41"/>
                  </a:cubicBezTo>
                  <a:cubicBezTo>
                    <a:pt x="289" y="41"/>
                    <a:pt x="289" y="41"/>
                    <a:pt x="289" y="41"/>
                  </a:cubicBezTo>
                  <a:cubicBezTo>
                    <a:pt x="287" y="44"/>
                    <a:pt x="285" y="46"/>
                    <a:pt x="282" y="46"/>
                  </a:cubicBezTo>
                  <a:cubicBezTo>
                    <a:pt x="281" y="46"/>
                    <a:pt x="281" y="46"/>
                    <a:pt x="281" y="46"/>
                  </a:cubicBezTo>
                  <a:cubicBezTo>
                    <a:pt x="281" y="51"/>
                    <a:pt x="281" y="51"/>
                    <a:pt x="281" y="51"/>
                  </a:cubicBezTo>
                  <a:cubicBezTo>
                    <a:pt x="280" y="46"/>
                    <a:pt x="280" y="46"/>
                    <a:pt x="280" y="46"/>
                  </a:cubicBezTo>
                  <a:cubicBezTo>
                    <a:pt x="278" y="46"/>
                    <a:pt x="277" y="46"/>
                    <a:pt x="275" y="46"/>
                  </a:cubicBezTo>
                  <a:cubicBezTo>
                    <a:pt x="275" y="46"/>
                    <a:pt x="274" y="46"/>
                    <a:pt x="273" y="46"/>
                  </a:cubicBezTo>
                  <a:cubicBezTo>
                    <a:pt x="269" y="46"/>
                    <a:pt x="266" y="47"/>
                    <a:pt x="263" y="48"/>
                  </a:cubicBezTo>
                  <a:cubicBezTo>
                    <a:pt x="232" y="78"/>
                    <a:pt x="232" y="78"/>
                    <a:pt x="232" y="78"/>
                  </a:cubicBezTo>
                  <a:cubicBezTo>
                    <a:pt x="231" y="77"/>
                    <a:pt x="231" y="77"/>
                    <a:pt x="231" y="77"/>
                  </a:cubicBezTo>
                  <a:cubicBezTo>
                    <a:pt x="230" y="77"/>
                    <a:pt x="230" y="77"/>
                    <a:pt x="229" y="77"/>
                  </a:cubicBezTo>
                  <a:cubicBezTo>
                    <a:pt x="229" y="77"/>
                    <a:pt x="228" y="77"/>
                    <a:pt x="228" y="77"/>
                  </a:cubicBezTo>
                  <a:cubicBezTo>
                    <a:pt x="226" y="77"/>
                    <a:pt x="224" y="77"/>
                    <a:pt x="222" y="76"/>
                  </a:cubicBezTo>
                  <a:cubicBezTo>
                    <a:pt x="222" y="76"/>
                    <a:pt x="223" y="76"/>
                    <a:pt x="223" y="76"/>
                  </a:cubicBezTo>
                  <a:cubicBezTo>
                    <a:pt x="225" y="76"/>
                    <a:pt x="226" y="75"/>
                    <a:pt x="228" y="75"/>
                  </a:cubicBezTo>
                  <a:cubicBezTo>
                    <a:pt x="226" y="75"/>
                    <a:pt x="224" y="75"/>
                    <a:pt x="222" y="75"/>
                  </a:cubicBezTo>
                  <a:cubicBezTo>
                    <a:pt x="218" y="76"/>
                    <a:pt x="215" y="76"/>
                    <a:pt x="211" y="77"/>
                  </a:cubicBezTo>
                  <a:cubicBezTo>
                    <a:pt x="207" y="78"/>
                    <a:pt x="203" y="79"/>
                    <a:pt x="200" y="80"/>
                  </a:cubicBezTo>
                  <a:cubicBezTo>
                    <a:pt x="198" y="80"/>
                    <a:pt x="196" y="80"/>
                    <a:pt x="194" y="81"/>
                  </a:cubicBezTo>
                  <a:cubicBezTo>
                    <a:pt x="192" y="81"/>
                    <a:pt x="190" y="82"/>
                    <a:pt x="188" y="82"/>
                  </a:cubicBezTo>
                  <a:cubicBezTo>
                    <a:pt x="186" y="83"/>
                    <a:pt x="184" y="83"/>
                    <a:pt x="182" y="83"/>
                  </a:cubicBezTo>
                  <a:cubicBezTo>
                    <a:pt x="180" y="83"/>
                    <a:pt x="179" y="83"/>
                    <a:pt x="178" y="83"/>
                  </a:cubicBezTo>
                  <a:cubicBezTo>
                    <a:pt x="177" y="83"/>
                    <a:pt x="176" y="83"/>
                    <a:pt x="175" y="82"/>
                  </a:cubicBezTo>
                  <a:cubicBezTo>
                    <a:pt x="173" y="82"/>
                    <a:pt x="172" y="81"/>
                    <a:pt x="171" y="81"/>
                  </a:cubicBezTo>
                  <a:cubicBezTo>
                    <a:pt x="168" y="80"/>
                    <a:pt x="166" y="80"/>
                    <a:pt x="164" y="79"/>
                  </a:cubicBezTo>
                  <a:cubicBezTo>
                    <a:pt x="162" y="78"/>
                    <a:pt x="159" y="77"/>
                    <a:pt x="157" y="76"/>
                  </a:cubicBezTo>
                  <a:cubicBezTo>
                    <a:pt x="157" y="76"/>
                    <a:pt x="157" y="76"/>
                    <a:pt x="157" y="76"/>
                  </a:cubicBezTo>
                  <a:cubicBezTo>
                    <a:pt x="155" y="76"/>
                    <a:pt x="153" y="75"/>
                    <a:pt x="151" y="73"/>
                  </a:cubicBezTo>
                  <a:cubicBezTo>
                    <a:pt x="149" y="72"/>
                    <a:pt x="147" y="71"/>
                    <a:pt x="146" y="70"/>
                  </a:cubicBezTo>
                  <a:cubicBezTo>
                    <a:pt x="145" y="68"/>
                    <a:pt x="144" y="67"/>
                    <a:pt x="143" y="66"/>
                  </a:cubicBezTo>
                  <a:cubicBezTo>
                    <a:pt x="143" y="66"/>
                    <a:pt x="142" y="65"/>
                    <a:pt x="142" y="64"/>
                  </a:cubicBezTo>
                  <a:cubicBezTo>
                    <a:pt x="140" y="63"/>
                    <a:pt x="138" y="62"/>
                    <a:pt x="136" y="61"/>
                  </a:cubicBezTo>
                  <a:cubicBezTo>
                    <a:pt x="133" y="61"/>
                    <a:pt x="130" y="60"/>
                    <a:pt x="128" y="59"/>
                  </a:cubicBezTo>
                  <a:cubicBezTo>
                    <a:pt x="128" y="59"/>
                    <a:pt x="128" y="59"/>
                    <a:pt x="128" y="59"/>
                  </a:cubicBezTo>
                  <a:cubicBezTo>
                    <a:pt x="126" y="59"/>
                    <a:pt x="123" y="58"/>
                    <a:pt x="121" y="58"/>
                  </a:cubicBezTo>
                  <a:cubicBezTo>
                    <a:pt x="119" y="57"/>
                    <a:pt x="117" y="56"/>
                    <a:pt x="115" y="54"/>
                  </a:cubicBezTo>
                  <a:cubicBezTo>
                    <a:pt x="115" y="54"/>
                    <a:pt x="114" y="53"/>
                    <a:pt x="114" y="52"/>
                  </a:cubicBezTo>
                  <a:cubicBezTo>
                    <a:pt x="114" y="50"/>
                    <a:pt x="113" y="49"/>
                    <a:pt x="113" y="48"/>
                  </a:cubicBezTo>
                  <a:cubicBezTo>
                    <a:pt x="112" y="45"/>
                    <a:pt x="112" y="43"/>
                    <a:pt x="111" y="40"/>
                  </a:cubicBezTo>
                  <a:cubicBezTo>
                    <a:pt x="111" y="39"/>
                    <a:pt x="111" y="37"/>
                    <a:pt x="111" y="36"/>
                  </a:cubicBezTo>
                  <a:cubicBezTo>
                    <a:pt x="109" y="36"/>
                    <a:pt x="109" y="36"/>
                    <a:pt x="109" y="36"/>
                  </a:cubicBezTo>
                  <a:cubicBezTo>
                    <a:pt x="109" y="36"/>
                    <a:pt x="108" y="36"/>
                    <a:pt x="108" y="36"/>
                  </a:cubicBezTo>
                  <a:cubicBezTo>
                    <a:pt x="108" y="36"/>
                    <a:pt x="108" y="36"/>
                    <a:pt x="108" y="36"/>
                  </a:cubicBezTo>
                  <a:cubicBezTo>
                    <a:pt x="107" y="37"/>
                    <a:pt x="106" y="37"/>
                    <a:pt x="106" y="37"/>
                  </a:cubicBezTo>
                  <a:cubicBezTo>
                    <a:pt x="106" y="37"/>
                    <a:pt x="106" y="37"/>
                    <a:pt x="106" y="37"/>
                  </a:cubicBezTo>
                  <a:cubicBezTo>
                    <a:pt x="105" y="37"/>
                    <a:pt x="105" y="37"/>
                    <a:pt x="105" y="37"/>
                  </a:cubicBezTo>
                  <a:cubicBezTo>
                    <a:pt x="105" y="37"/>
                    <a:pt x="105" y="37"/>
                    <a:pt x="104" y="37"/>
                  </a:cubicBezTo>
                  <a:cubicBezTo>
                    <a:pt x="104" y="37"/>
                    <a:pt x="104" y="37"/>
                    <a:pt x="104" y="37"/>
                  </a:cubicBezTo>
                  <a:cubicBezTo>
                    <a:pt x="104" y="37"/>
                    <a:pt x="104" y="37"/>
                    <a:pt x="104" y="37"/>
                  </a:cubicBezTo>
                  <a:cubicBezTo>
                    <a:pt x="103" y="37"/>
                    <a:pt x="103" y="37"/>
                    <a:pt x="102" y="36"/>
                  </a:cubicBezTo>
                  <a:cubicBezTo>
                    <a:pt x="101" y="36"/>
                    <a:pt x="100" y="34"/>
                    <a:pt x="100" y="33"/>
                  </a:cubicBezTo>
                  <a:cubicBezTo>
                    <a:pt x="99" y="33"/>
                    <a:pt x="99" y="32"/>
                    <a:pt x="99" y="32"/>
                  </a:cubicBezTo>
                  <a:cubicBezTo>
                    <a:pt x="99" y="32"/>
                    <a:pt x="98" y="32"/>
                    <a:pt x="98" y="31"/>
                  </a:cubicBezTo>
                  <a:cubicBezTo>
                    <a:pt x="96" y="31"/>
                    <a:pt x="96" y="30"/>
                    <a:pt x="95" y="29"/>
                  </a:cubicBezTo>
                  <a:cubicBezTo>
                    <a:pt x="94" y="29"/>
                    <a:pt x="94" y="29"/>
                    <a:pt x="93" y="28"/>
                  </a:cubicBezTo>
                  <a:cubicBezTo>
                    <a:pt x="93" y="28"/>
                    <a:pt x="93" y="28"/>
                    <a:pt x="93" y="28"/>
                  </a:cubicBezTo>
                  <a:cubicBezTo>
                    <a:pt x="93" y="27"/>
                    <a:pt x="93" y="27"/>
                    <a:pt x="93" y="27"/>
                  </a:cubicBezTo>
                  <a:cubicBezTo>
                    <a:pt x="85" y="21"/>
                    <a:pt x="85" y="21"/>
                    <a:pt x="85" y="21"/>
                  </a:cubicBezTo>
                  <a:cubicBezTo>
                    <a:pt x="93" y="16"/>
                    <a:pt x="93" y="16"/>
                    <a:pt x="93" y="16"/>
                  </a:cubicBezTo>
                  <a:cubicBezTo>
                    <a:pt x="91" y="15"/>
                    <a:pt x="90" y="13"/>
                    <a:pt x="91" y="10"/>
                  </a:cubicBezTo>
                  <a:cubicBezTo>
                    <a:pt x="92" y="10"/>
                    <a:pt x="92" y="9"/>
                    <a:pt x="93" y="8"/>
                  </a:cubicBezTo>
                  <a:cubicBezTo>
                    <a:pt x="93" y="7"/>
                    <a:pt x="93" y="7"/>
                    <a:pt x="93" y="7"/>
                  </a:cubicBezTo>
                  <a:cubicBezTo>
                    <a:pt x="93" y="7"/>
                    <a:pt x="93" y="7"/>
                    <a:pt x="93" y="7"/>
                  </a:cubicBezTo>
                  <a:cubicBezTo>
                    <a:pt x="92" y="5"/>
                    <a:pt x="92" y="5"/>
                    <a:pt x="92" y="5"/>
                  </a:cubicBezTo>
                  <a:cubicBezTo>
                    <a:pt x="90" y="2"/>
                    <a:pt x="89" y="1"/>
                    <a:pt x="89" y="1"/>
                  </a:cubicBezTo>
                  <a:cubicBezTo>
                    <a:pt x="88" y="1"/>
                    <a:pt x="87" y="2"/>
                    <a:pt x="84" y="3"/>
                  </a:cubicBezTo>
                  <a:cubicBezTo>
                    <a:pt x="84" y="4"/>
                    <a:pt x="84" y="4"/>
                    <a:pt x="84" y="4"/>
                  </a:cubicBezTo>
                  <a:cubicBezTo>
                    <a:pt x="80" y="6"/>
                    <a:pt x="77" y="8"/>
                    <a:pt x="74" y="10"/>
                  </a:cubicBezTo>
                  <a:cubicBezTo>
                    <a:pt x="72" y="11"/>
                    <a:pt x="72" y="11"/>
                    <a:pt x="72" y="11"/>
                  </a:cubicBezTo>
                  <a:cubicBezTo>
                    <a:pt x="71" y="12"/>
                    <a:pt x="70" y="12"/>
                    <a:pt x="69" y="13"/>
                  </a:cubicBezTo>
                  <a:cubicBezTo>
                    <a:pt x="67" y="14"/>
                    <a:pt x="66" y="15"/>
                    <a:pt x="64" y="17"/>
                  </a:cubicBezTo>
                  <a:cubicBezTo>
                    <a:pt x="64" y="17"/>
                    <a:pt x="63" y="18"/>
                    <a:pt x="63" y="18"/>
                  </a:cubicBezTo>
                  <a:cubicBezTo>
                    <a:pt x="62" y="19"/>
                    <a:pt x="62" y="19"/>
                    <a:pt x="62" y="19"/>
                  </a:cubicBezTo>
                  <a:cubicBezTo>
                    <a:pt x="60" y="21"/>
                    <a:pt x="60" y="21"/>
                    <a:pt x="60" y="21"/>
                  </a:cubicBezTo>
                  <a:cubicBezTo>
                    <a:pt x="59" y="21"/>
                    <a:pt x="59" y="22"/>
                    <a:pt x="58" y="23"/>
                  </a:cubicBezTo>
                  <a:cubicBezTo>
                    <a:pt x="57" y="23"/>
                    <a:pt x="57" y="23"/>
                    <a:pt x="57" y="23"/>
                  </a:cubicBezTo>
                  <a:cubicBezTo>
                    <a:pt x="54" y="29"/>
                    <a:pt x="54" y="29"/>
                    <a:pt x="54" y="29"/>
                  </a:cubicBezTo>
                  <a:cubicBezTo>
                    <a:pt x="54" y="27"/>
                    <a:pt x="54" y="27"/>
                    <a:pt x="54" y="27"/>
                  </a:cubicBezTo>
                  <a:cubicBezTo>
                    <a:pt x="54" y="27"/>
                    <a:pt x="54" y="27"/>
                    <a:pt x="54" y="27"/>
                  </a:cubicBezTo>
                  <a:cubicBezTo>
                    <a:pt x="53" y="24"/>
                    <a:pt x="53" y="24"/>
                    <a:pt x="53" y="24"/>
                  </a:cubicBezTo>
                  <a:cubicBezTo>
                    <a:pt x="53" y="24"/>
                    <a:pt x="53" y="24"/>
                    <a:pt x="53" y="24"/>
                  </a:cubicBezTo>
                  <a:cubicBezTo>
                    <a:pt x="53" y="24"/>
                    <a:pt x="53" y="24"/>
                    <a:pt x="53" y="24"/>
                  </a:cubicBezTo>
                  <a:cubicBezTo>
                    <a:pt x="53" y="24"/>
                    <a:pt x="53" y="24"/>
                    <a:pt x="53" y="24"/>
                  </a:cubicBezTo>
                  <a:cubicBezTo>
                    <a:pt x="52" y="24"/>
                    <a:pt x="51" y="24"/>
                    <a:pt x="51" y="24"/>
                  </a:cubicBezTo>
                  <a:cubicBezTo>
                    <a:pt x="50" y="24"/>
                    <a:pt x="50" y="24"/>
                    <a:pt x="50" y="24"/>
                  </a:cubicBezTo>
                  <a:cubicBezTo>
                    <a:pt x="50" y="25"/>
                    <a:pt x="50" y="25"/>
                    <a:pt x="50" y="25"/>
                  </a:cubicBezTo>
                  <a:cubicBezTo>
                    <a:pt x="47" y="25"/>
                    <a:pt x="47" y="25"/>
                    <a:pt x="47" y="25"/>
                  </a:cubicBezTo>
                  <a:cubicBezTo>
                    <a:pt x="47" y="25"/>
                    <a:pt x="43" y="24"/>
                    <a:pt x="40" y="24"/>
                  </a:cubicBezTo>
                  <a:cubicBezTo>
                    <a:pt x="36" y="24"/>
                    <a:pt x="28" y="21"/>
                    <a:pt x="26" y="19"/>
                  </a:cubicBezTo>
                  <a:cubicBezTo>
                    <a:pt x="26" y="18"/>
                    <a:pt x="24" y="16"/>
                    <a:pt x="23" y="15"/>
                  </a:cubicBezTo>
                  <a:cubicBezTo>
                    <a:pt x="23" y="15"/>
                    <a:pt x="23" y="15"/>
                    <a:pt x="23" y="15"/>
                  </a:cubicBezTo>
                  <a:cubicBezTo>
                    <a:pt x="22" y="14"/>
                    <a:pt x="21" y="14"/>
                    <a:pt x="21" y="13"/>
                  </a:cubicBezTo>
                  <a:cubicBezTo>
                    <a:pt x="17" y="9"/>
                    <a:pt x="14" y="6"/>
                    <a:pt x="13" y="4"/>
                  </a:cubicBezTo>
                  <a:cubicBezTo>
                    <a:pt x="13" y="4"/>
                    <a:pt x="13" y="4"/>
                    <a:pt x="13" y="4"/>
                  </a:cubicBezTo>
                  <a:cubicBezTo>
                    <a:pt x="12" y="4"/>
                    <a:pt x="12" y="4"/>
                    <a:pt x="12" y="4"/>
                  </a:cubicBezTo>
                  <a:cubicBezTo>
                    <a:pt x="12" y="3"/>
                    <a:pt x="12" y="3"/>
                    <a:pt x="12" y="3"/>
                  </a:cubicBezTo>
                  <a:cubicBezTo>
                    <a:pt x="12" y="2"/>
                    <a:pt x="12" y="2"/>
                    <a:pt x="12" y="2"/>
                  </a:cubicBezTo>
                  <a:cubicBezTo>
                    <a:pt x="12" y="2"/>
                    <a:pt x="12" y="2"/>
                    <a:pt x="12" y="2"/>
                  </a:cubicBezTo>
                  <a:cubicBezTo>
                    <a:pt x="11" y="1"/>
                    <a:pt x="11" y="1"/>
                    <a:pt x="11" y="1"/>
                  </a:cubicBezTo>
                  <a:cubicBezTo>
                    <a:pt x="10" y="0"/>
                    <a:pt x="10" y="0"/>
                    <a:pt x="10"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288"/>
            <p:cNvSpPr/>
            <p:nvPr/>
          </p:nvSpPr>
          <p:spPr bwMode="auto">
            <a:xfrm>
              <a:off x="6582" y="268"/>
              <a:ext cx="31" cy="67"/>
            </a:xfrm>
            <a:custGeom>
              <a:gdLst>
                <a:gd name="T0" fmla="*/ 13 w 13"/>
                <a:gd name="T1" fmla="*/ 0 h 28"/>
                <a:gd name="T2" fmla="*/ 12 w 13"/>
                <a:gd name="T3" fmla="*/ 1 h 28"/>
                <a:gd name="T4" fmla="*/ 8 w 13"/>
                <a:gd name="T5" fmla="*/ 4 h 28"/>
                <a:gd name="T6" fmla="*/ 4 w 13"/>
                <a:gd name="T7" fmla="*/ 7 h 28"/>
                <a:gd name="T8" fmla="*/ 1 w 13"/>
                <a:gd name="T9" fmla="*/ 10 h 28"/>
                <a:gd name="T10" fmla="*/ 0 w 13"/>
                <a:gd name="T11" fmla="*/ 11 h 28"/>
                <a:gd name="T12" fmla="*/ 9 w 13"/>
                <a:gd name="T13" fmla="*/ 28 h 28"/>
                <a:gd name="T14" fmla="*/ 7 w 13"/>
                <a:gd name="T15" fmla="*/ 20 h 28"/>
                <a:gd name="T16" fmla="*/ 9 w 13"/>
                <a:gd name="T17" fmla="*/ 13 h 28"/>
                <a:gd name="T18" fmla="*/ 8 w 13"/>
                <a:gd name="T19" fmla="*/ 10 h 28"/>
                <a:gd name="T20" fmla="*/ 7 w 13"/>
                <a:gd name="T21" fmla="*/ 10 h 28"/>
                <a:gd name="T22" fmla="*/ 6 w 13"/>
                <a:gd name="T23" fmla="*/ 10 h 28"/>
                <a:gd name="T24" fmla="*/ 8 w 13"/>
                <a:gd name="T25" fmla="*/ 7 h 28"/>
                <a:gd name="T26" fmla="*/ 12 w 13"/>
                <a:gd name="T27" fmla="*/ 1 h 28"/>
                <a:gd name="T28" fmla="*/ 13 w 13"/>
                <a:gd name="T29"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8">
                  <a:moveTo>
                    <a:pt x="13" y="0"/>
                  </a:moveTo>
                  <a:cubicBezTo>
                    <a:pt x="12" y="1"/>
                    <a:pt x="12" y="1"/>
                    <a:pt x="12" y="1"/>
                  </a:cubicBezTo>
                  <a:cubicBezTo>
                    <a:pt x="10" y="1"/>
                    <a:pt x="9" y="3"/>
                    <a:pt x="8" y="4"/>
                  </a:cubicBezTo>
                  <a:cubicBezTo>
                    <a:pt x="6" y="5"/>
                    <a:pt x="5" y="6"/>
                    <a:pt x="4" y="7"/>
                  </a:cubicBezTo>
                  <a:cubicBezTo>
                    <a:pt x="1" y="10"/>
                    <a:pt x="1" y="10"/>
                    <a:pt x="1" y="10"/>
                  </a:cubicBezTo>
                  <a:cubicBezTo>
                    <a:pt x="0" y="10"/>
                    <a:pt x="0" y="11"/>
                    <a:pt x="0" y="11"/>
                  </a:cubicBezTo>
                  <a:cubicBezTo>
                    <a:pt x="3" y="17"/>
                    <a:pt x="6" y="22"/>
                    <a:pt x="9" y="28"/>
                  </a:cubicBezTo>
                  <a:cubicBezTo>
                    <a:pt x="8" y="25"/>
                    <a:pt x="7" y="23"/>
                    <a:pt x="7" y="20"/>
                  </a:cubicBezTo>
                  <a:cubicBezTo>
                    <a:pt x="7" y="17"/>
                    <a:pt x="9" y="15"/>
                    <a:pt x="9" y="13"/>
                  </a:cubicBezTo>
                  <a:cubicBezTo>
                    <a:pt x="9" y="11"/>
                    <a:pt x="9" y="10"/>
                    <a:pt x="8" y="10"/>
                  </a:cubicBezTo>
                  <a:cubicBezTo>
                    <a:pt x="8" y="10"/>
                    <a:pt x="8" y="10"/>
                    <a:pt x="7" y="10"/>
                  </a:cubicBezTo>
                  <a:cubicBezTo>
                    <a:pt x="7" y="10"/>
                    <a:pt x="6" y="10"/>
                    <a:pt x="6" y="10"/>
                  </a:cubicBezTo>
                  <a:cubicBezTo>
                    <a:pt x="5" y="10"/>
                    <a:pt x="7" y="7"/>
                    <a:pt x="8" y="7"/>
                  </a:cubicBezTo>
                  <a:cubicBezTo>
                    <a:pt x="9" y="5"/>
                    <a:pt x="10" y="3"/>
                    <a:pt x="12" y="1"/>
                  </a:cubicBezTo>
                  <a:cubicBezTo>
                    <a:pt x="12" y="1"/>
                    <a:pt x="12"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289"/>
            <p:cNvSpPr/>
            <p:nvPr/>
          </p:nvSpPr>
          <p:spPr bwMode="auto">
            <a:xfrm>
              <a:off x="6591" y="228"/>
              <a:ext cx="771" cy="478"/>
            </a:xfrm>
            <a:custGeom>
              <a:gdLst>
                <a:gd name="T0" fmla="*/ 136 w 326"/>
                <a:gd name="T1" fmla="*/ 12 h 202"/>
                <a:gd name="T2" fmla="*/ 127 w 326"/>
                <a:gd name="T3" fmla="*/ 7 h 202"/>
                <a:gd name="T4" fmla="*/ 108 w 326"/>
                <a:gd name="T5" fmla="*/ 19 h 202"/>
                <a:gd name="T6" fmla="*/ 105 w 326"/>
                <a:gd name="T7" fmla="*/ 29 h 202"/>
                <a:gd name="T8" fmla="*/ 89 w 326"/>
                <a:gd name="T9" fmla="*/ 40 h 202"/>
                <a:gd name="T10" fmla="*/ 71 w 326"/>
                <a:gd name="T11" fmla="*/ 40 h 202"/>
                <a:gd name="T12" fmla="*/ 62 w 326"/>
                <a:gd name="T13" fmla="*/ 38 h 202"/>
                <a:gd name="T14" fmla="*/ 44 w 326"/>
                <a:gd name="T15" fmla="*/ 20 h 202"/>
                <a:gd name="T16" fmla="*/ 30 w 326"/>
                <a:gd name="T17" fmla="*/ 12 h 202"/>
                <a:gd name="T18" fmla="*/ 25 w 326"/>
                <a:gd name="T19" fmla="*/ 15 h 202"/>
                <a:gd name="T20" fmla="*/ 44 w 326"/>
                <a:gd name="T21" fmla="*/ 50 h 202"/>
                <a:gd name="T22" fmla="*/ 39 w 326"/>
                <a:gd name="T23" fmla="*/ 55 h 202"/>
                <a:gd name="T24" fmla="*/ 26 w 326"/>
                <a:gd name="T25" fmla="*/ 57 h 202"/>
                <a:gd name="T26" fmla="*/ 18 w 326"/>
                <a:gd name="T27" fmla="*/ 54 h 202"/>
                <a:gd name="T28" fmla="*/ 6 w 326"/>
                <a:gd name="T29" fmla="*/ 74 h 202"/>
                <a:gd name="T30" fmla="*/ 14 w 326"/>
                <a:gd name="T31" fmla="*/ 75 h 202"/>
                <a:gd name="T32" fmla="*/ 17 w 326"/>
                <a:gd name="T33" fmla="*/ 74 h 202"/>
                <a:gd name="T34" fmla="*/ 14 w 326"/>
                <a:gd name="T35" fmla="*/ 87 h 202"/>
                <a:gd name="T36" fmla="*/ 12 w 326"/>
                <a:gd name="T37" fmla="*/ 92 h 202"/>
                <a:gd name="T38" fmla="*/ 30 w 326"/>
                <a:gd name="T39" fmla="*/ 152 h 202"/>
                <a:gd name="T40" fmla="*/ 81 w 326"/>
                <a:gd name="T41" fmla="*/ 124 h 202"/>
                <a:gd name="T42" fmla="*/ 89 w 326"/>
                <a:gd name="T43" fmla="*/ 119 h 202"/>
                <a:gd name="T44" fmla="*/ 105 w 326"/>
                <a:gd name="T45" fmla="*/ 119 h 202"/>
                <a:gd name="T46" fmla="*/ 123 w 326"/>
                <a:gd name="T47" fmla="*/ 130 h 202"/>
                <a:gd name="T48" fmla="*/ 132 w 326"/>
                <a:gd name="T49" fmla="*/ 136 h 202"/>
                <a:gd name="T50" fmla="*/ 137 w 326"/>
                <a:gd name="T51" fmla="*/ 136 h 202"/>
                <a:gd name="T52" fmla="*/ 156 w 326"/>
                <a:gd name="T53" fmla="*/ 138 h 202"/>
                <a:gd name="T54" fmla="*/ 166 w 326"/>
                <a:gd name="T55" fmla="*/ 151 h 202"/>
                <a:gd name="T56" fmla="*/ 181 w 326"/>
                <a:gd name="T57" fmla="*/ 162 h 202"/>
                <a:gd name="T58" fmla="*/ 191 w 326"/>
                <a:gd name="T59" fmla="*/ 163 h 202"/>
                <a:gd name="T60" fmla="*/ 202 w 326"/>
                <a:gd name="T61" fmla="*/ 167 h 202"/>
                <a:gd name="T62" fmla="*/ 205 w 326"/>
                <a:gd name="T63" fmla="*/ 192 h 202"/>
                <a:gd name="T64" fmla="*/ 213 w 326"/>
                <a:gd name="T65" fmla="*/ 194 h 202"/>
                <a:gd name="T66" fmla="*/ 226 w 326"/>
                <a:gd name="T67" fmla="*/ 202 h 202"/>
                <a:gd name="T68" fmla="*/ 242 w 326"/>
                <a:gd name="T69" fmla="*/ 194 h 202"/>
                <a:gd name="T70" fmla="*/ 254 w 326"/>
                <a:gd name="T71" fmla="*/ 183 h 202"/>
                <a:gd name="T72" fmla="*/ 278 w 326"/>
                <a:gd name="T73" fmla="*/ 168 h 202"/>
                <a:gd name="T74" fmla="*/ 296 w 326"/>
                <a:gd name="T75" fmla="*/ 147 h 202"/>
                <a:gd name="T76" fmla="*/ 306 w 326"/>
                <a:gd name="T77" fmla="*/ 140 h 202"/>
                <a:gd name="T78" fmla="*/ 313 w 326"/>
                <a:gd name="T79" fmla="*/ 141 h 202"/>
                <a:gd name="T80" fmla="*/ 320 w 326"/>
                <a:gd name="T81" fmla="*/ 144 h 202"/>
                <a:gd name="T82" fmla="*/ 324 w 326"/>
                <a:gd name="T83" fmla="*/ 141 h 202"/>
                <a:gd name="T84" fmla="*/ 322 w 326"/>
                <a:gd name="T85" fmla="*/ 130 h 202"/>
                <a:gd name="T86" fmla="*/ 307 w 326"/>
                <a:gd name="T87" fmla="*/ 126 h 202"/>
                <a:gd name="T88" fmla="*/ 285 w 326"/>
                <a:gd name="T89" fmla="*/ 113 h 202"/>
                <a:gd name="T90" fmla="*/ 243 w 326"/>
                <a:gd name="T91" fmla="*/ 87 h 202"/>
                <a:gd name="T92" fmla="*/ 228 w 326"/>
                <a:gd name="T93" fmla="*/ 76 h 202"/>
                <a:gd name="T94" fmla="*/ 223 w 326"/>
                <a:gd name="T95" fmla="*/ 64 h 202"/>
                <a:gd name="T96" fmla="*/ 201 w 326"/>
                <a:gd name="T97" fmla="*/ 44 h 202"/>
                <a:gd name="T98" fmla="*/ 184 w 326"/>
                <a:gd name="T99" fmla="*/ 42 h 202"/>
                <a:gd name="T100" fmla="*/ 171 w 326"/>
                <a:gd name="T101" fmla="*/ 32 h 202"/>
                <a:gd name="T102" fmla="*/ 169 w 326"/>
                <a:gd name="T103" fmla="*/ 22 h 202"/>
                <a:gd name="T104" fmla="*/ 164 w 326"/>
                <a:gd name="T105" fmla="*/ 12 h 202"/>
                <a:gd name="T106" fmla="*/ 152 w 326"/>
                <a:gd name="T107" fmla="*/ 8 h 202"/>
                <a:gd name="T108" fmla="*/ 149 w 326"/>
                <a:gd name="T109" fmla="*/ 6 h 2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201">
                  <a:moveTo>
                    <a:pt x="140" y="0"/>
                  </a:moveTo>
                  <a:cubicBezTo>
                    <a:pt x="139" y="0"/>
                    <a:pt x="139" y="0"/>
                    <a:pt x="139" y="0"/>
                  </a:cubicBezTo>
                  <a:cubicBezTo>
                    <a:pt x="137" y="3"/>
                    <a:pt x="136" y="3"/>
                    <a:pt x="137" y="4"/>
                  </a:cubicBezTo>
                  <a:cubicBezTo>
                    <a:pt x="137" y="5"/>
                    <a:pt x="138" y="6"/>
                    <a:pt x="139" y="7"/>
                  </a:cubicBezTo>
                  <a:cubicBezTo>
                    <a:pt x="151" y="21"/>
                    <a:pt x="151" y="21"/>
                    <a:pt x="151" y="21"/>
                  </a:cubicBezTo>
                  <a:cubicBezTo>
                    <a:pt x="136" y="12"/>
                    <a:pt x="136" y="12"/>
                    <a:pt x="136" y="12"/>
                  </a:cubicBezTo>
                  <a:cubicBezTo>
                    <a:pt x="135" y="11"/>
                    <a:pt x="134" y="10"/>
                    <a:pt x="133" y="10"/>
                  </a:cubicBezTo>
                  <a:cubicBezTo>
                    <a:pt x="133" y="9"/>
                    <a:pt x="133" y="9"/>
                    <a:pt x="133" y="9"/>
                  </a:cubicBezTo>
                  <a:cubicBezTo>
                    <a:pt x="132" y="8"/>
                    <a:pt x="131" y="8"/>
                    <a:pt x="130" y="8"/>
                  </a:cubicBezTo>
                  <a:cubicBezTo>
                    <a:pt x="129" y="8"/>
                    <a:pt x="129" y="8"/>
                    <a:pt x="129" y="8"/>
                  </a:cubicBezTo>
                  <a:cubicBezTo>
                    <a:pt x="129" y="7"/>
                    <a:pt x="128" y="7"/>
                    <a:pt x="128" y="7"/>
                  </a:cubicBezTo>
                  <a:cubicBezTo>
                    <a:pt x="127" y="7"/>
                    <a:pt x="127" y="7"/>
                    <a:pt x="127" y="7"/>
                  </a:cubicBezTo>
                  <a:cubicBezTo>
                    <a:pt x="127" y="8"/>
                    <a:pt x="127" y="8"/>
                    <a:pt x="126" y="9"/>
                  </a:cubicBezTo>
                  <a:cubicBezTo>
                    <a:pt x="126" y="10"/>
                    <a:pt x="126" y="11"/>
                    <a:pt x="126" y="11"/>
                  </a:cubicBezTo>
                  <a:cubicBezTo>
                    <a:pt x="124" y="15"/>
                    <a:pt x="121" y="16"/>
                    <a:pt x="118" y="17"/>
                  </a:cubicBezTo>
                  <a:cubicBezTo>
                    <a:pt x="117" y="17"/>
                    <a:pt x="116" y="17"/>
                    <a:pt x="115" y="17"/>
                  </a:cubicBezTo>
                  <a:cubicBezTo>
                    <a:pt x="112" y="18"/>
                    <a:pt x="110" y="18"/>
                    <a:pt x="109" y="19"/>
                  </a:cubicBezTo>
                  <a:cubicBezTo>
                    <a:pt x="108" y="19"/>
                    <a:pt x="108" y="19"/>
                    <a:pt x="108" y="19"/>
                  </a:cubicBezTo>
                  <a:cubicBezTo>
                    <a:pt x="108" y="19"/>
                    <a:pt x="108" y="19"/>
                    <a:pt x="108" y="19"/>
                  </a:cubicBezTo>
                  <a:cubicBezTo>
                    <a:pt x="107" y="20"/>
                    <a:pt x="106" y="23"/>
                    <a:pt x="106" y="24"/>
                  </a:cubicBezTo>
                  <a:cubicBezTo>
                    <a:pt x="105" y="25"/>
                    <a:pt x="105" y="27"/>
                    <a:pt x="105" y="27"/>
                  </a:cubicBezTo>
                  <a:cubicBezTo>
                    <a:pt x="104" y="28"/>
                    <a:pt x="104" y="28"/>
                    <a:pt x="104" y="28"/>
                  </a:cubicBezTo>
                  <a:cubicBezTo>
                    <a:pt x="105" y="29"/>
                    <a:pt x="105" y="29"/>
                    <a:pt x="105" y="29"/>
                  </a:cubicBezTo>
                  <a:cubicBezTo>
                    <a:pt x="105" y="29"/>
                    <a:pt x="105" y="29"/>
                    <a:pt x="105" y="29"/>
                  </a:cubicBezTo>
                  <a:cubicBezTo>
                    <a:pt x="105" y="30"/>
                    <a:pt x="105" y="31"/>
                    <a:pt x="105" y="32"/>
                  </a:cubicBezTo>
                  <a:cubicBezTo>
                    <a:pt x="105" y="32"/>
                    <a:pt x="106" y="33"/>
                    <a:pt x="106" y="33"/>
                  </a:cubicBezTo>
                  <a:cubicBezTo>
                    <a:pt x="106" y="33"/>
                    <a:pt x="106" y="33"/>
                    <a:pt x="106" y="33"/>
                  </a:cubicBezTo>
                  <a:cubicBezTo>
                    <a:pt x="123" y="35"/>
                    <a:pt x="123" y="35"/>
                    <a:pt x="123" y="35"/>
                  </a:cubicBezTo>
                  <a:cubicBezTo>
                    <a:pt x="106" y="39"/>
                    <a:pt x="106" y="39"/>
                    <a:pt x="106" y="39"/>
                  </a:cubicBezTo>
                  <a:cubicBezTo>
                    <a:pt x="100" y="40"/>
                    <a:pt x="94" y="40"/>
                    <a:pt x="89" y="40"/>
                  </a:cubicBezTo>
                  <a:cubicBezTo>
                    <a:pt x="85" y="40"/>
                    <a:pt x="81" y="40"/>
                    <a:pt x="78" y="40"/>
                  </a:cubicBezTo>
                  <a:cubicBezTo>
                    <a:pt x="77" y="40"/>
                    <a:pt x="77" y="40"/>
                    <a:pt x="77" y="40"/>
                  </a:cubicBezTo>
                  <a:cubicBezTo>
                    <a:pt x="77" y="40"/>
                    <a:pt x="77" y="40"/>
                    <a:pt x="76" y="40"/>
                  </a:cubicBezTo>
                  <a:cubicBezTo>
                    <a:pt x="75" y="41"/>
                    <a:pt x="75" y="41"/>
                    <a:pt x="75" y="41"/>
                  </a:cubicBezTo>
                  <a:cubicBezTo>
                    <a:pt x="75" y="40"/>
                    <a:pt x="75" y="40"/>
                    <a:pt x="75" y="40"/>
                  </a:cubicBezTo>
                  <a:cubicBezTo>
                    <a:pt x="74" y="40"/>
                    <a:pt x="72" y="40"/>
                    <a:pt x="71" y="40"/>
                  </a:cubicBezTo>
                  <a:cubicBezTo>
                    <a:pt x="69" y="41"/>
                    <a:pt x="68" y="41"/>
                    <a:pt x="66" y="41"/>
                  </a:cubicBezTo>
                  <a:cubicBezTo>
                    <a:pt x="66" y="41"/>
                    <a:pt x="66" y="41"/>
                    <a:pt x="66" y="41"/>
                  </a:cubicBezTo>
                  <a:cubicBezTo>
                    <a:pt x="65" y="41"/>
                    <a:pt x="65" y="41"/>
                    <a:pt x="65" y="41"/>
                  </a:cubicBezTo>
                  <a:cubicBezTo>
                    <a:pt x="64" y="41"/>
                    <a:pt x="64" y="41"/>
                    <a:pt x="63" y="40"/>
                  </a:cubicBezTo>
                  <a:cubicBezTo>
                    <a:pt x="63" y="40"/>
                    <a:pt x="63" y="40"/>
                    <a:pt x="63" y="40"/>
                  </a:cubicBezTo>
                  <a:cubicBezTo>
                    <a:pt x="62" y="39"/>
                    <a:pt x="62" y="39"/>
                    <a:pt x="62" y="38"/>
                  </a:cubicBezTo>
                  <a:cubicBezTo>
                    <a:pt x="60" y="36"/>
                    <a:pt x="58" y="34"/>
                    <a:pt x="57" y="33"/>
                  </a:cubicBezTo>
                  <a:cubicBezTo>
                    <a:pt x="56" y="32"/>
                    <a:pt x="56" y="32"/>
                    <a:pt x="56" y="32"/>
                  </a:cubicBezTo>
                  <a:cubicBezTo>
                    <a:pt x="55" y="31"/>
                    <a:pt x="55" y="30"/>
                    <a:pt x="54" y="29"/>
                  </a:cubicBezTo>
                  <a:cubicBezTo>
                    <a:pt x="53" y="27"/>
                    <a:pt x="51" y="26"/>
                    <a:pt x="50" y="25"/>
                  </a:cubicBezTo>
                  <a:cubicBezTo>
                    <a:pt x="48" y="23"/>
                    <a:pt x="48" y="23"/>
                    <a:pt x="48" y="23"/>
                  </a:cubicBezTo>
                  <a:cubicBezTo>
                    <a:pt x="47" y="22"/>
                    <a:pt x="45" y="21"/>
                    <a:pt x="44" y="20"/>
                  </a:cubicBezTo>
                  <a:cubicBezTo>
                    <a:pt x="41" y="17"/>
                    <a:pt x="39" y="14"/>
                    <a:pt x="36" y="13"/>
                  </a:cubicBezTo>
                  <a:cubicBezTo>
                    <a:pt x="35" y="13"/>
                    <a:pt x="35" y="13"/>
                    <a:pt x="35" y="13"/>
                  </a:cubicBezTo>
                  <a:cubicBezTo>
                    <a:pt x="35" y="12"/>
                    <a:pt x="34" y="12"/>
                    <a:pt x="34" y="11"/>
                  </a:cubicBezTo>
                  <a:cubicBezTo>
                    <a:pt x="33" y="11"/>
                    <a:pt x="33" y="11"/>
                    <a:pt x="33" y="11"/>
                  </a:cubicBezTo>
                  <a:cubicBezTo>
                    <a:pt x="32" y="11"/>
                    <a:pt x="32" y="11"/>
                    <a:pt x="32" y="11"/>
                  </a:cubicBezTo>
                  <a:cubicBezTo>
                    <a:pt x="31" y="11"/>
                    <a:pt x="31" y="12"/>
                    <a:pt x="30" y="12"/>
                  </a:cubicBezTo>
                  <a:cubicBezTo>
                    <a:pt x="29" y="12"/>
                    <a:pt x="29" y="12"/>
                    <a:pt x="29" y="12"/>
                  </a:cubicBezTo>
                  <a:cubicBezTo>
                    <a:pt x="27" y="12"/>
                    <a:pt x="24" y="13"/>
                    <a:pt x="21" y="13"/>
                  </a:cubicBezTo>
                  <a:cubicBezTo>
                    <a:pt x="17" y="14"/>
                    <a:pt x="14" y="15"/>
                    <a:pt x="10" y="16"/>
                  </a:cubicBezTo>
                  <a:cubicBezTo>
                    <a:pt x="12" y="16"/>
                    <a:pt x="14" y="16"/>
                    <a:pt x="16" y="15"/>
                  </a:cubicBezTo>
                  <a:cubicBezTo>
                    <a:pt x="18" y="15"/>
                    <a:pt x="20" y="14"/>
                    <a:pt x="23" y="14"/>
                  </a:cubicBezTo>
                  <a:cubicBezTo>
                    <a:pt x="24" y="14"/>
                    <a:pt x="24" y="14"/>
                    <a:pt x="25" y="15"/>
                  </a:cubicBezTo>
                  <a:cubicBezTo>
                    <a:pt x="30" y="16"/>
                    <a:pt x="28" y="18"/>
                    <a:pt x="28" y="21"/>
                  </a:cubicBezTo>
                  <a:cubicBezTo>
                    <a:pt x="29" y="23"/>
                    <a:pt x="31" y="25"/>
                    <a:pt x="31" y="27"/>
                  </a:cubicBezTo>
                  <a:cubicBezTo>
                    <a:pt x="32" y="30"/>
                    <a:pt x="32" y="31"/>
                    <a:pt x="33" y="33"/>
                  </a:cubicBezTo>
                  <a:cubicBezTo>
                    <a:pt x="37" y="37"/>
                    <a:pt x="42" y="39"/>
                    <a:pt x="46" y="42"/>
                  </a:cubicBezTo>
                  <a:cubicBezTo>
                    <a:pt x="47" y="43"/>
                    <a:pt x="50" y="46"/>
                    <a:pt x="48" y="48"/>
                  </a:cubicBezTo>
                  <a:cubicBezTo>
                    <a:pt x="48" y="50"/>
                    <a:pt x="46" y="50"/>
                    <a:pt x="44" y="50"/>
                  </a:cubicBezTo>
                  <a:cubicBezTo>
                    <a:pt x="44" y="50"/>
                    <a:pt x="43" y="50"/>
                    <a:pt x="42" y="50"/>
                  </a:cubicBezTo>
                  <a:cubicBezTo>
                    <a:pt x="42" y="50"/>
                    <a:pt x="41" y="50"/>
                    <a:pt x="40" y="50"/>
                  </a:cubicBezTo>
                  <a:cubicBezTo>
                    <a:pt x="39" y="50"/>
                    <a:pt x="38" y="50"/>
                    <a:pt x="37" y="52"/>
                  </a:cubicBezTo>
                  <a:cubicBezTo>
                    <a:pt x="37" y="53"/>
                    <a:pt x="39" y="55"/>
                    <a:pt x="40" y="55"/>
                  </a:cubicBezTo>
                  <a:cubicBezTo>
                    <a:pt x="40" y="55"/>
                    <a:pt x="40" y="55"/>
                    <a:pt x="40" y="55"/>
                  </a:cubicBezTo>
                  <a:cubicBezTo>
                    <a:pt x="39" y="55"/>
                    <a:pt x="39" y="55"/>
                    <a:pt x="39" y="55"/>
                  </a:cubicBezTo>
                  <a:cubicBezTo>
                    <a:pt x="40" y="55"/>
                    <a:pt x="40" y="55"/>
                    <a:pt x="40" y="55"/>
                  </a:cubicBezTo>
                  <a:cubicBezTo>
                    <a:pt x="39" y="56"/>
                    <a:pt x="37" y="56"/>
                    <a:pt x="36" y="56"/>
                  </a:cubicBezTo>
                  <a:cubicBezTo>
                    <a:pt x="36" y="56"/>
                    <a:pt x="35" y="56"/>
                    <a:pt x="35" y="56"/>
                  </a:cubicBezTo>
                  <a:cubicBezTo>
                    <a:pt x="34" y="56"/>
                    <a:pt x="34" y="56"/>
                    <a:pt x="33" y="56"/>
                  </a:cubicBezTo>
                  <a:cubicBezTo>
                    <a:pt x="32" y="56"/>
                    <a:pt x="30" y="56"/>
                    <a:pt x="29" y="56"/>
                  </a:cubicBezTo>
                  <a:cubicBezTo>
                    <a:pt x="28" y="56"/>
                    <a:pt x="27" y="57"/>
                    <a:pt x="26" y="57"/>
                  </a:cubicBezTo>
                  <a:cubicBezTo>
                    <a:pt x="25" y="57"/>
                    <a:pt x="25" y="57"/>
                    <a:pt x="25" y="57"/>
                  </a:cubicBezTo>
                  <a:cubicBezTo>
                    <a:pt x="23" y="56"/>
                    <a:pt x="24" y="53"/>
                    <a:pt x="23" y="51"/>
                  </a:cubicBezTo>
                  <a:cubicBezTo>
                    <a:pt x="22" y="51"/>
                    <a:pt x="22" y="50"/>
                    <a:pt x="22" y="50"/>
                  </a:cubicBezTo>
                  <a:cubicBezTo>
                    <a:pt x="22" y="50"/>
                    <a:pt x="22" y="51"/>
                    <a:pt x="20" y="53"/>
                  </a:cubicBezTo>
                  <a:cubicBezTo>
                    <a:pt x="20" y="53"/>
                    <a:pt x="19" y="54"/>
                    <a:pt x="18" y="54"/>
                  </a:cubicBezTo>
                  <a:cubicBezTo>
                    <a:pt x="18" y="54"/>
                    <a:pt x="18" y="54"/>
                    <a:pt x="18" y="54"/>
                  </a:cubicBezTo>
                  <a:cubicBezTo>
                    <a:pt x="16" y="54"/>
                    <a:pt x="13" y="53"/>
                    <a:pt x="12" y="53"/>
                  </a:cubicBezTo>
                  <a:cubicBezTo>
                    <a:pt x="9" y="52"/>
                    <a:pt x="7" y="48"/>
                    <a:pt x="5" y="45"/>
                  </a:cubicBezTo>
                  <a:cubicBezTo>
                    <a:pt x="5" y="50"/>
                    <a:pt x="4" y="54"/>
                    <a:pt x="2" y="58"/>
                  </a:cubicBezTo>
                  <a:cubicBezTo>
                    <a:pt x="1" y="60"/>
                    <a:pt x="0" y="63"/>
                    <a:pt x="0" y="65"/>
                  </a:cubicBezTo>
                  <a:cubicBezTo>
                    <a:pt x="0" y="67"/>
                    <a:pt x="1" y="69"/>
                    <a:pt x="2" y="70"/>
                  </a:cubicBezTo>
                  <a:cubicBezTo>
                    <a:pt x="2" y="74"/>
                    <a:pt x="1" y="74"/>
                    <a:pt x="6" y="74"/>
                  </a:cubicBezTo>
                  <a:cubicBezTo>
                    <a:pt x="7" y="74"/>
                    <a:pt x="7" y="74"/>
                    <a:pt x="7" y="74"/>
                  </a:cubicBezTo>
                  <a:cubicBezTo>
                    <a:pt x="8" y="74"/>
                    <a:pt x="8" y="74"/>
                    <a:pt x="9" y="74"/>
                  </a:cubicBezTo>
                  <a:cubicBezTo>
                    <a:pt x="9" y="74"/>
                    <a:pt x="10" y="74"/>
                    <a:pt x="10" y="74"/>
                  </a:cubicBezTo>
                  <a:cubicBezTo>
                    <a:pt x="10" y="74"/>
                    <a:pt x="10" y="74"/>
                    <a:pt x="11" y="74"/>
                  </a:cubicBezTo>
                  <a:cubicBezTo>
                    <a:pt x="12" y="74"/>
                    <a:pt x="12" y="74"/>
                    <a:pt x="13" y="75"/>
                  </a:cubicBezTo>
                  <a:cubicBezTo>
                    <a:pt x="14" y="75"/>
                    <a:pt x="14" y="75"/>
                    <a:pt x="14" y="75"/>
                  </a:cubicBezTo>
                  <a:cubicBezTo>
                    <a:pt x="14" y="75"/>
                    <a:pt x="15" y="75"/>
                    <a:pt x="15" y="75"/>
                  </a:cubicBezTo>
                  <a:cubicBezTo>
                    <a:pt x="15" y="75"/>
                    <a:pt x="15" y="75"/>
                    <a:pt x="15" y="75"/>
                  </a:cubicBezTo>
                  <a:cubicBezTo>
                    <a:pt x="16" y="75"/>
                    <a:pt x="16" y="75"/>
                    <a:pt x="16" y="75"/>
                  </a:cubicBezTo>
                  <a:cubicBezTo>
                    <a:pt x="16" y="75"/>
                    <a:pt x="16" y="75"/>
                    <a:pt x="16" y="75"/>
                  </a:cubicBezTo>
                  <a:cubicBezTo>
                    <a:pt x="16" y="75"/>
                    <a:pt x="16" y="75"/>
                    <a:pt x="16" y="75"/>
                  </a:cubicBezTo>
                  <a:cubicBezTo>
                    <a:pt x="17" y="75"/>
                    <a:pt x="17" y="74"/>
                    <a:pt x="17" y="74"/>
                  </a:cubicBezTo>
                  <a:cubicBezTo>
                    <a:pt x="17" y="74"/>
                    <a:pt x="17" y="75"/>
                    <a:pt x="17" y="75"/>
                  </a:cubicBezTo>
                  <a:cubicBezTo>
                    <a:pt x="18" y="75"/>
                    <a:pt x="17" y="79"/>
                    <a:pt x="17" y="80"/>
                  </a:cubicBezTo>
                  <a:cubicBezTo>
                    <a:pt x="17" y="83"/>
                    <a:pt x="21" y="84"/>
                    <a:pt x="24" y="86"/>
                  </a:cubicBezTo>
                  <a:cubicBezTo>
                    <a:pt x="22" y="87"/>
                    <a:pt x="21" y="87"/>
                    <a:pt x="19" y="88"/>
                  </a:cubicBezTo>
                  <a:cubicBezTo>
                    <a:pt x="19" y="87"/>
                    <a:pt x="19" y="86"/>
                    <a:pt x="19" y="84"/>
                  </a:cubicBezTo>
                  <a:cubicBezTo>
                    <a:pt x="18" y="85"/>
                    <a:pt x="16" y="87"/>
                    <a:pt x="14" y="87"/>
                  </a:cubicBezTo>
                  <a:cubicBezTo>
                    <a:pt x="14" y="87"/>
                    <a:pt x="13" y="87"/>
                    <a:pt x="13" y="87"/>
                  </a:cubicBezTo>
                  <a:cubicBezTo>
                    <a:pt x="12" y="86"/>
                    <a:pt x="14" y="83"/>
                    <a:pt x="15" y="83"/>
                  </a:cubicBezTo>
                  <a:cubicBezTo>
                    <a:pt x="14" y="83"/>
                    <a:pt x="11" y="87"/>
                    <a:pt x="10" y="89"/>
                  </a:cubicBezTo>
                  <a:cubicBezTo>
                    <a:pt x="9" y="91"/>
                    <a:pt x="11" y="93"/>
                    <a:pt x="11" y="96"/>
                  </a:cubicBezTo>
                  <a:cubicBezTo>
                    <a:pt x="12" y="94"/>
                    <a:pt x="12" y="92"/>
                    <a:pt x="11" y="92"/>
                  </a:cubicBezTo>
                  <a:cubicBezTo>
                    <a:pt x="11" y="92"/>
                    <a:pt x="12" y="92"/>
                    <a:pt x="12" y="92"/>
                  </a:cubicBezTo>
                  <a:cubicBezTo>
                    <a:pt x="18" y="92"/>
                    <a:pt x="22" y="97"/>
                    <a:pt x="26" y="101"/>
                  </a:cubicBezTo>
                  <a:cubicBezTo>
                    <a:pt x="29" y="103"/>
                    <a:pt x="30" y="103"/>
                    <a:pt x="29" y="106"/>
                  </a:cubicBezTo>
                  <a:cubicBezTo>
                    <a:pt x="28" y="108"/>
                    <a:pt x="28" y="110"/>
                    <a:pt x="27" y="113"/>
                  </a:cubicBezTo>
                  <a:cubicBezTo>
                    <a:pt x="26" y="120"/>
                    <a:pt x="26" y="129"/>
                    <a:pt x="27" y="137"/>
                  </a:cubicBezTo>
                  <a:cubicBezTo>
                    <a:pt x="27" y="138"/>
                    <a:pt x="27" y="146"/>
                    <a:pt x="29" y="147"/>
                  </a:cubicBezTo>
                  <a:cubicBezTo>
                    <a:pt x="29" y="149"/>
                    <a:pt x="29" y="150"/>
                    <a:pt x="30" y="152"/>
                  </a:cubicBezTo>
                  <a:cubicBezTo>
                    <a:pt x="30" y="153"/>
                    <a:pt x="30" y="155"/>
                    <a:pt x="30" y="156"/>
                  </a:cubicBezTo>
                  <a:cubicBezTo>
                    <a:pt x="60" y="127"/>
                    <a:pt x="60" y="127"/>
                    <a:pt x="60" y="127"/>
                  </a:cubicBezTo>
                  <a:cubicBezTo>
                    <a:pt x="63" y="125"/>
                    <a:pt x="68" y="124"/>
                    <a:pt x="73" y="124"/>
                  </a:cubicBezTo>
                  <a:cubicBezTo>
                    <a:pt x="74" y="124"/>
                    <a:pt x="74" y="124"/>
                    <a:pt x="75" y="124"/>
                  </a:cubicBezTo>
                  <a:cubicBezTo>
                    <a:pt x="77" y="124"/>
                    <a:pt x="78" y="124"/>
                    <a:pt x="80" y="124"/>
                  </a:cubicBezTo>
                  <a:cubicBezTo>
                    <a:pt x="81" y="124"/>
                    <a:pt x="81" y="124"/>
                    <a:pt x="81" y="124"/>
                  </a:cubicBezTo>
                  <a:cubicBezTo>
                    <a:pt x="82" y="124"/>
                    <a:pt x="82" y="124"/>
                    <a:pt x="82" y="124"/>
                  </a:cubicBezTo>
                  <a:cubicBezTo>
                    <a:pt x="83" y="124"/>
                    <a:pt x="83" y="124"/>
                    <a:pt x="85" y="122"/>
                  </a:cubicBezTo>
                  <a:cubicBezTo>
                    <a:pt x="86" y="121"/>
                    <a:pt x="86" y="121"/>
                    <a:pt x="86" y="120"/>
                  </a:cubicBezTo>
                  <a:cubicBezTo>
                    <a:pt x="87" y="120"/>
                    <a:pt x="87" y="120"/>
                    <a:pt x="87" y="120"/>
                  </a:cubicBezTo>
                  <a:cubicBezTo>
                    <a:pt x="87" y="120"/>
                    <a:pt x="88" y="120"/>
                    <a:pt x="89" y="119"/>
                  </a:cubicBezTo>
                  <a:cubicBezTo>
                    <a:pt x="89" y="119"/>
                    <a:pt x="89" y="119"/>
                    <a:pt x="89" y="119"/>
                  </a:cubicBezTo>
                  <a:cubicBezTo>
                    <a:pt x="91" y="119"/>
                    <a:pt x="93" y="119"/>
                    <a:pt x="94" y="119"/>
                  </a:cubicBezTo>
                  <a:cubicBezTo>
                    <a:pt x="95" y="119"/>
                    <a:pt x="95" y="119"/>
                    <a:pt x="95" y="119"/>
                  </a:cubicBezTo>
                  <a:cubicBezTo>
                    <a:pt x="96" y="119"/>
                    <a:pt x="96" y="119"/>
                    <a:pt x="96" y="119"/>
                  </a:cubicBezTo>
                  <a:cubicBezTo>
                    <a:pt x="98" y="119"/>
                    <a:pt x="100" y="119"/>
                    <a:pt x="101" y="119"/>
                  </a:cubicBezTo>
                  <a:cubicBezTo>
                    <a:pt x="102" y="119"/>
                    <a:pt x="102" y="119"/>
                    <a:pt x="102" y="119"/>
                  </a:cubicBezTo>
                  <a:cubicBezTo>
                    <a:pt x="103" y="119"/>
                    <a:pt x="104" y="119"/>
                    <a:pt x="105" y="119"/>
                  </a:cubicBezTo>
                  <a:cubicBezTo>
                    <a:pt x="109" y="120"/>
                    <a:pt x="111" y="123"/>
                    <a:pt x="112" y="126"/>
                  </a:cubicBezTo>
                  <a:cubicBezTo>
                    <a:pt x="112" y="126"/>
                    <a:pt x="112" y="126"/>
                    <a:pt x="112" y="126"/>
                  </a:cubicBezTo>
                  <a:cubicBezTo>
                    <a:pt x="112" y="127"/>
                    <a:pt x="113" y="128"/>
                    <a:pt x="114" y="128"/>
                  </a:cubicBezTo>
                  <a:cubicBezTo>
                    <a:pt x="116" y="128"/>
                    <a:pt x="117" y="129"/>
                    <a:pt x="119" y="129"/>
                  </a:cubicBezTo>
                  <a:cubicBezTo>
                    <a:pt x="120" y="129"/>
                    <a:pt x="121" y="129"/>
                    <a:pt x="122" y="130"/>
                  </a:cubicBezTo>
                  <a:cubicBezTo>
                    <a:pt x="123" y="130"/>
                    <a:pt x="123" y="130"/>
                    <a:pt x="123" y="130"/>
                  </a:cubicBezTo>
                  <a:cubicBezTo>
                    <a:pt x="124" y="130"/>
                    <a:pt x="124" y="130"/>
                    <a:pt x="124" y="130"/>
                  </a:cubicBezTo>
                  <a:cubicBezTo>
                    <a:pt x="126" y="131"/>
                    <a:pt x="127" y="132"/>
                    <a:pt x="128" y="133"/>
                  </a:cubicBezTo>
                  <a:cubicBezTo>
                    <a:pt x="129" y="134"/>
                    <a:pt x="129" y="134"/>
                    <a:pt x="129" y="134"/>
                  </a:cubicBezTo>
                  <a:cubicBezTo>
                    <a:pt x="130" y="134"/>
                    <a:pt x="130" y="134"/>
                    <a:pt x="131" y="135"/>
                  </a:cubicBezTo>
                  <a:cubicBezTo>
                    <a:pt x="132" y="135"/>
                    <a:pt x="132" y="135"/>
                    <a:pt x="132" y="135"/>
                  </a:cubicBezTo>
                  <a:cubicBezTo>
                    <a:pt x="132" y="136"/>
                    <a:pt x="132" y="136"/>
                    <a:pt x="132" y="136"/>
                  </a:cubicBezTo>
                  <a:cubicBezTo>
                    <a:pt x="132" y="136"/>
                    <a:pt x="133" y="136"/>
                    <a:pt x="133" y="136"/>
                  </a:cubicBezTo>
                  <a:cubicBezTo>
                    <a:pt x="134" y="136"/>
                    <a:pt x="134" y="136"/>
                    <a:pt x="134" y="136"/>
                  </a:cubicBezTo>
                  <a:cubicBezTo>
                    <a:pt x="135" y="136"/>
                    <a:pt x="135" y="136"/>
                    <a:pt x="135" y="136"/>
                  </a:cubicBezTo>
                  <a:cubicBezTo>
                    <a:pt x="136" y="136"/>
                    <a:pt x="136" y="136"/>
                    <a:pt x="136" y="136"/>
                  </a:cubicBezTo>
                  <a:cubicBezTo>
                    <a:pt x="136" y="136"/>
                    <a:pt x="136" y="136"/>
                    <a:pt x="137" y="136"/>
                  </a:cubicBezTo>
                  <a:cubicBezTo>
                    <a:pt x="137" y="136"/>
                    <a:pt x="137" y="136"/>
                    <a:pt x="137" y="136"/>
                  </a:cubicBezTo>
                  <a:cubicBezTo>
                    <a:pt x="143" y="136"/>
                    <a:pt x="143" y="136"/>
                    <a:pt x="143" y="136"/>
                  </a:cubicBezTo>
                  <a:cubicBezTo>
                    <a:pt x="144" y="136"/>
                    <a:pt x="144" y="136"/>
                    <a:pt x="145" y="136"/>
                  </a:cubicBezTo>
                  <a:cubicBezTo>
                    <a:pt x="148" y="136"/>
                    <a:pt x="151" y="136"/>
                    <a:pt x="154" y="137"/>
                  </a:cubicBezTo>
                  <a:cubicBezTo>
                    <a:pt x="154" y="137"/>
                    <a:pt x="155" y="138"/>
                    <a:pt x="155" y="138"/>
                  </a:cubicBezTo>
                  <a:cubicBezTo>
                    <a:pt x="155" y="138"/>
                    <a:pt x="155" y="138"/>
                    <a:pt x="155" y="138"/>
                  </a:cubicBezTo>
                  <a:cubicBezTo>
                    <a:pt x="156" y="138"/>
                    <a:pt x="156" y="138"/>
                    <a:pt x="156" y="138"/>
                  </a:cubicBezTo>
                  <a:cubicBezTo>
                    <a:pt x="158" y="139"/>
                    <a:pt x="159" y="140"/>
                    <a:pt x="160" y="142"/>
                  </a:cubicBezTo>
                  <a:cubicBezTo>
                    <a:pt x="160" y="142"/>
                    <a:pt x="160" y="142"/>
                    <a:pt x="160" y="142"/>
                  </a:cubicBezTo>
                  <a:cubicBezTo>
                    <a:pt x="161" y="144"/>
                    <a:pt x="162" y="145"/>
                    <a:pt x="163" y="147"/>
                  </a:cubicBezTo>
                  <a:cubicBezTo>
                    <a:pt x="164" y="148"/>
                    <a:pt x="164" y="148"/>
                    <a:pt x="164" y="148"/>
                  </a:cubicBezTo>
                  <a:cubicBezTo>
                    <a:pt x="164" y="149"/>
                    <a:pt x="164" y="150"/>
                    <a:pt x="165" y="150"/>
                  </a:cubicBezTo>
                  <a:cubicBezTo>
                    <a:pt x="166" y="151"/>
                    <a:pt x="166" y="151"/>
                    <a:pt x="166" y="151"/>
                  </a:cubicBezTo>
                  <a:cubicBezTo>
                    <a:pt x="169" y="151"/>
                    <a:pt x="171" y="152"/>
                    <a:pt x="173" y="153"/>
                  </a:cubicBezTo>
                  <a:cubicBezTo>
                    <a:pt x="175" y="153"/>
                    <a:pt x="175" y="154"/>
                    <a:pt x="176" y="155"/>
                  </a:cubicBezTo>
                  <a:cubicBezTo>
                    <a:pt x="177" y="156"/>
                    <a:pt x="177" y="156"/>
                    <a:pt x="177" y="156"/>
                  </a:cubicBezTo>
                  <a:cubicBezTo>
                    <a:pt x="177" y="157"/>
                    <a:pt x="178" y="158"/>
                    <a:pt x="179" y="159"/>
                  </a:cubicBezTo>
                  <a:cubicBezTo>
                    <a:pt x="180" y="160"/>
                    <a:pt x="180" y="160"/>
                    <a:pt x="180" y="160"/>
                  </a:cubicBezTo>
                  <a:cubicBezTo>
                    <a:pt x="180" y="162"/>
                    <a:pt x="181" y="162"/>
                    <a:pt x="181" y="162"/>
                  </a:cubicBezTo>
                  <a:cubicBezTo>
                    <a:pt x="181" y="163"/>
                    <a:pt x="181" y="163"/>
                    <a:pt x="181" y="163"/>
                  </a:cubicBezTo>
                  <a:cubicBezTo>
                    <a:pt x="182" y="163"/>
                    <a:pt x="182" y="163"/>
                    <a:pt x="184" y="163"/>
                  </a:cubicBezTo>
                  <a:cubicBezTo>
                    <a:pt x="184" y="163"/>
                    <a:pt x="184" y="163"/>
                    <a:pt x="184" y="163"/>
                  </a:cubicBezTo>
                  <a:cubicBezTo>
                    <a:pt x="185" y="163"/>
                    <a:pt x="187" y="163"/>
                    <a:pt x="188" y="163"/>
                  </a:cubicBezTo>
                  <a:cubicBezTo>
                    <a:pt x="189" y="163"/>
                    <a:pt x="189" y="163"/>
                    <a:pt x="189" y="163"/>
                  </a:cubicBezTo>
                  <a:cubicBezTo>
                    <a:pt x="190" y="163"/>
                    <a:pt x="190" y="163"/>
                    <a:pt x="191" y="163"/>
                  </a:cubicBezTo>
                  <a:cubicBezTo>
                    <a:pt x="192" y="163"/>
                    <a:pt x="193" y="163"/>
                    <a:pt x="193" y="163"/>
                  </a:cubicBezTo>
                  <a:cubicBezTo>
                    <a:pt x="195" y="163"/>
                    <a:pt x="196" y="163"/>
                    <a:pt x="198" y="163"/>
                  </a:cubicBezTo>
                  <a:cubicBezTo>
                    <a:pt x="198" y="163"/>
                    <a:pt x="198" y="163"/>
                    <a:pt x="198" y="163"/>
                  </a:cubicBezTo>
                  <a:cubicBezTo>
                    <a:pt x="199" y="163"/>
                    <a:pt x="200" y="163"/>
                    <a:pt x="201" y="164"/>
                  </a:cubicBezTo>
                  <a:cubicBezTo>
                    <a:pt x="202" y="164"/>
                    <a:pt x="202" y="165"/>
                    <a:pt x="202" y="166"/>
                  </a:cubicBezTo>
                  <a:cubicBezTo>
                    <a:pt x="202" y="167"/>
                    <a:pt x="202" y="167"/>
                    <a:pt x="202" y="167"/>
                  </a:cubicBezTo>
                  <a:cubicBezTo>
                    <a:pt x="203" y="170"/>
                    <a:pt x="203" y="172"/>
                    <a:pt x="203" y="175"/>
                  </a:cubicBezTo>
                  <a:cubicBezTo>
                    <a:pt x="203" y="176"/>
                    <a:pt x="203" y="177"/>
                    <a:pt x="203" y="178"/>
                  </a:cubicBezTo>
                  <a:cubicBezTo>
                    <a:pt x="203" y="179"/>
                    <a:pt x="203" y="179"/>
                    <a:pt x="203" y="179"/>
                  </a:cubicBezTo>
                  <a:cubicBezTo>
                    <a:pt x="203" y="181"/>
                    <a:pt x="203" y="183"/>
                    <a:pt x="203" y="186"/>
                  </a:cubicBezTo>
                  <a:cubicBezTo>
                    <a:pt x="204" y="189"/>
                    <a:pt x="204" y="189"/>
                    <a:pt x="204" y="189"/>
                  </a:cubicBezTo>
                  <a:cubicBezTo>
                    <a:pt x="204" y="190"/>
                    <a:pt x="205" y="191"/>
                    <a:pt x="205" y="192"/>
                  </a:cubicBezTo>
                  <a:cubicBezTo>
                    <a:pt x="205" y="192"/>
                    <a:pt x="205" y="192"/>
                    <a:pt x="205" y="192"/>
                  </a:cubicBezTo>
                  <a:cubicBezTo>
                    <a:pt x="206" y="192"/>
                    <a:pt x="206" y="192"/>
                    <a:pt x="206" y="192"/>
                  </a:cubicBezTo>
                  <a:cubicBezTo>
                    <a:pt x="208" y="193"/>
                    <a:pt x="208" y="193"/>
                    <a:pt x="208" y="193"/>
                  </a:cubicBezTo>
                  <a:cubicBezTo>
                    <a:pt x="208" y="193"/>
                    <a:pt x="208" y="193"/>
                    <a:pt x="208" y="193"/>
                  </a:cubicBezTo>
                  <a:cubicBezTo>
                    <a:pt x="210" y="193"/>
                    <a:pt x="211" y="194"/>
                    <a:pt x="213" y="194"/>
                  </a:cubicBezTo>
                  <a:cubicBezTo>
                    <a:pt x="213" y="194"/>
                    <a:pt x="213" y="194"/>
                    <a:pt x="213" y="194"/>
                  </a:cubicBezTo>
                  <a:cubicBezTo>
                    <a:pt x="214" y="194"/>
                    <a:pt x="215" y="194"/>
                    <a:pt x="216" y="195"/>
                  </a:cubicBezTo>
                  <a:cubicBezTo>
                    <a:pt x="218" y="195"/>
                    <a:pt x="220" y="196"/>
                    <a:pt x="221" y="197"/>
                  </a:cubicBezTo>
                  <a:cubicBezTo>
                    <a:pt x="222" y="198"/>
                    <a:pt x="222" y="198"/>
                    <a:pt x="223" y="198"/>
                  </a:cubicBezTo>
                  <a:cubicBezTo>
                    <a:pt x="224" y="200"/>
                    <a:pt x="224" y="200"/>
                    <a:pt x="224" y="200"/>
                  </a:cubicBezTo>
                  <a:cubicBezTo>
                    <a:pt x="225" y="201"/>
                    <a:pt x="225" y="201"/>
                    <a:pt x="226" y="202"/>
                  </a:cubicBezTo>
                  <a:cubicBezTo>
                    <a:pt x="226" y="202"/>
                    <a:pt x="226" y="202"/>
                    <a:pt x="226" y="202"/>
                  </a:cubicBezTo>
                  <a:cubicBezTo>
                    <a:pt x="226" y="202"/>
                    <a:pt x="226" y="202"/>
                    <a:pt x="226" y="202"/>
                  </a:cubicBezTo>
                  <a:cubicBezTo>
                    <a:pt x="229" y="200"/>
                    <a:pt x="232" y="199"/>
                    <a:pt x="234" y="199"/>
                  </a:cubicBezTo>
                  <a:cubicBezTo>
                    <a:pt x="236" y="199"/>
                    <a:pt x="236" y="199"/>
                    <a:pt x="236" y="199"/>
                  </a:cubicBezTo>
                  <a:cubicBezTo>
                    <a:pt x="237" y="199"/>
                    <a:pt x="237" y="199"/>
                    <a:pt x="237" y="199"/>
                  </a:cubicBezTo>
                  <a:cubicBezTo>
                    <a:pt x="238" y="199"/>
                    <a:pt x="238" y="199"/>
                    <a:pt x="238" y="199"/>
                  </a:cubicBezTo>
                  <a:cubicBezTo>
                    <a:pt x="239" y="199"/>
                    <a:pt x="240" y="197"/>
                    <a:pt x="242" y="194"/>
                  </a:cubicBezTo>
                  <a:cubicBezTo>
                    <a:pt x="243" y="193"/>
                    <a:pt x="243" y="193"/>
                    <a:pt x="243" y="193"/>
                  </a:cubicBezTo>
                  <a:cubicBezTo>
                    <a:pt x="244" y="193"/>
                    <a:pt x="244" y="192"/>
                    <a:pt x="245" y="191"/>
                  </a:cubicBezTo>
                  <a:cubicBezTo>
                    <a:pt x="243" y="189"/>
                    <a:pt x="243" y="189"/>
                    <a:pt x="243" y="189"/>
                  </a:cubicBezTo>
                  <a:cubicBezTo>
                    <a:pt x="249" y="184"/>
                    <a:pt x="249" y="184"/>
                    <a:pt x="249" y="184"/>
                  </a:cubicBezTo>
                  <a:cubicBezTo>
                    <a:pt x="250" y="184"/>
                    <a:pt x="250" y="184"/>
                    <a:pt x="250" y="184"/>
                  </a:cubicBezTo>
                  <a:cubicBezTo>
                    <a:pt x="251" y="184"/>
                    <a:pt x="253" y="184"/>
                    <a:pt x="254" y="183"/>
                  </a:cubicBezTo>
                  <a:cubicBezTo>
                    <a:pt x="255" y="183"/>
                    <a:pt x="256" y="182"/>
                    <a:pt x="258" y="182"/>
                  </a:cubicBezTo>
                  <a:cubicBezTo>
                    <a:pt x="262" y="180"/>
                    <a:pt x="262" y="180"/>
                    <a:pt x="262" y="180"/>
                  </a:cubicBezTo>
                  <a:cubicBezTo>
                    <a:pt x="265" y="179"/>
                    <a:pt x="267" y="178"/>
                    <a:pt x="269" y="177"/>
                  </a:cubicBezTo>
                  <a:cubicBezTo>
                    <a:pt x="272" y="176"/>
                    <a:pt x="273" y="175"/>
                    <a:pt x="276" y="173"/>
                  </a:cubicBezTo>
                  <a:cubicBezTo>
                    <a:pt x="277" y="172"/>
                    <a:pt x="277" y="172"/>
                    <a:pt x="277" y="172"/>
                  </a:cubicBezTo>
                  <a:cubicBezTo>
                    <a:pt x="277" y="172"/>
                    <a:pt x="278" y="171"/>
                    <a:pt x="278" y="168"/>
                  </a:cubicBezTo>
                  <a:cubicBezTo>
                    <a:pt x="278" y="168"/>
                    <a:pt x="278" y="167"/>
                    <a:pt x="278" y="166"/>
                  </a:cubicBezTo>
                  <a:cubicBezTo>
                    <a:pt x="278" y="165"/>
                    <a:pt x="278" y="165"/>
                    <a:pt x="278" y="165"/>
                  </a:cubicBezTo>
                  <a:cubicBezTo>
                    <a:pt x="278" y="165"/>
                    <a:pt x="278" y="164"/>
                    <a:pt x="278" y="164"/>
                  </a:cubicBezTo>
                  <a:cubicBezTo>
                    <a:pt x="279" y="163"/>
                    <a:pt x="279" y="163"/>
                    <a:pt x="279" y="163"/>
                  </a:cubicBezTo>
                  <a:cubicBezTo>
                    <a:pt x="294" y="147"/>
                    <a:pt x="294" y="147"/>
                    <a:pt x="294" y="147"/>
                  </a:cubicBezTo>
                  <a:cubicBezTo>
                    <a:pt x="296" y="147"/>
                    <a:pt x="296" y="147"/>
                    <a:pt x="296" y="147"/>
                  </a:cubicBezTo>
                  <a:cubicBezTo>
                    <a:pt x="296" y="147"/>
                    <a:pt x="297" y="147"/>
                    <a:pt x="298" y="147"/>
                  </a:cubicBezTo>
                  <a:cubicBezTo>
                    <a:pt x="298" y="147"/>
                    <a:pt x="298" y="147"/>
                    <a:pt x="298" y="147"/>
                  </a:cubicBezTo>
                  <a:cubicBezTo>
                    <a:pt x="299" y="147"/>
                    <a:pt x="300" y="147"/>
                    <a:pt x="300" y="147"/>
                  </a:cubicBezTo>
                  <a:cubicBezTo>
                    <a:pt x="301" y="147"/>
                    <a:pt x="302" y="144"/>
                    <a:pt x="303" y="143"/>
                  </a:cubicBezTo>
                  <a:cubicBezTo>
                    <a:pt x="305" y="141"/>
                    <a:pt x="305" y="141"/>
                    <a:pt x="305" y="141"/>
                  </a:cubicBezTo>
                  <a:cubicBezTo>
                    <a:pt x="305" y="140"/>
                    <a:pt x="306" y="140"/>
                    <a:pt x="306" y="140"/>
                  </a:cubicBezTo>
                  <a:cubicBezTo>
                    <a:pt x="307" y="140"/>
                    <a:pt x="307" y="140"/>
                    <a:pt x="307" y="140"/>
                  </a:cubicBezTo>
                  <a:cubicBezTo>
                    <a:pt x="308" y="139"/>
                    <a:pt x="308" y="139"/>
                    <a:pt x="308" y="139"/>
                  </a:cubicBezTo>
                  <a:cubicBezTo>
                    <a:pt x="308" y="139"/>
                    <a:pt x="308" y="139"/>
                    <a:pt x="308" y="139"/>
                  </a:cubicBezTo>
                  <a:cubicBezTo>
                    <a:pt x="310" y="139"/>
                    <a:pt x="310" y="139"/>
                    <a:pt x="310" y="139"/>
                  </a:cubicBezTo>
                  <a:cubicBezTo>
                    <a:pt x="311" y="140"/>
                    <a:pt x="312" y="140"/>
                    <a:pt x="313" y="141"/>
                  </a:cubicBezTo>
                  <a:cubicBezTo>
                    <a:pt x="313" y="141"/>
                    <a:pt x="313" y="141"/>
                    <a:pt x="313" y="141"/>
                  </a:cubicBezTo>
                  <a:cubicBezTo>
                    <a:pt x="314" y="141"/>
                    <a:pt x="314" y="141"/>
                    <a:pt x="314" y="142"/>
                  </a:cubicBezTo>
                  <a:cubicBezTo>
                    <a:pt x="315" y="142"/>
                    <a:pt x="316" y="142"/>
                    <a:pt x="316" y="142"/>
                  </a:cubicBezTo>
                  <a:cubicBezTo>
                    <a:pt x="318" y="143"/>
                    <a:pt x="318" y="143"/>
                    <a:pt x="318" y="143"/>
                  </a:cubicBezTo>
                  <a:cubicBezTo>
                    <a:pt x="318" y="143"/>
                    <a:pt x="319" y="144"/>
                    <a:pt x="319" y="144"/>
                  </a:cubicBezTo>
                  <a:cubicBezTo>
                    <a:pt x="319" y="144"/>
                    <a:pt x="320" y="144"/>
                    <a:pt x="320" y="144"/>
                  </a:cubicBezTo>
                  <a:cubicBezTo>
                    <a:pt x="320" y="144"/>
                    <a:pt x="320" y="144"/>
                    <a:pt x="320" y="144"/>
                  </a:cubicBezTo>
                  <a:cubicBezTo>
                    <a:pt x="321" y="144"/>
                    <a:pt x="321" y="144"/>
                    <a:pt x="321" y="144"/>
                  </a:cubicBezTo>
                  <a:cubicBezTo>
                    <a:pt x="323" y="144"/>
                    <a:pt x="323" y="144"/>
                    <a:pt x="323" y="144"/>
                  </a:cubicBezTo>
                  <a:cubicBezTo>
                    <a:pt x="323" y="144"/>
                    <a:pt x="323" y="144"/>
                    <a:pt x="323" y="144"/>
                  </a:cubicBezTo>
                  <a:cubicBezTo>
                    <a:pt x="324" y="144"/>
                    <a:pt x="324" y="144"/>
                    <a:pt x="324" y="144"/>
                  </a:cubicBezTo>
                  <a:cubicBezTo>
                    <a:pt x="324" y="143"/>
                    <a:pt x="324" y="142"/>
                    <a:pt x="324" y="141"/>
                  </a:cubicBezTo>
                  <a:cubicBezTo>
                    <a:pt x="324" y="141"/>
                    <a:pt x="324" y="141"/>
                    <a:pt x="324" y="141"/>
                  </a:cubicBezTo>
                  <a:cubicBezTo>
                    <a:pt x="324" y="141"/>
                    <a:pt x="324" y="140"/>
                    <a:pt x="324" y="140"/>
                  </a:cubicBezTo>
                  <a:cubicBezTo>
                    <a:pt x="325" y="136"/>
                    <a:pt x="325" y="136"/>
                    <a:pt x="325" y="136"/>
                  </a:cubicBezTo>
                  <a:cubicBezTo>
                    <a:pt x="325" y="136"/>
                    <a:pt x="325" y="135"/>
                    <a:pt x="325" y="134"/>
                  </a:cubicBezTo>
                  <a:cubicBezTo>
                    <a:pt x="326" y="133"/>
                    <a:pt x="326" y="133"/>
                    <a:pt x="326" y="133"/>
                  </a:cubicBezTo>
                  <a:cubicBezTo>
                    <a:pt x="326" y="133"/>
                    <a:pt x="326" y="132"/>
                    <a:pt x="326" y="131"/>
                  </a:cubicBezTo>
                  <a:cubicBezTo>
                    <a:pt x="322" y="130"/>
                    <a:pt x="322" y="130"/>
                    <a:pt x="322" y="130"/>
                  </a:cubicBezTo>
                  <a:cubicBezTo>
                    <a:pt x="320" y="129"/>
                    <a:pt x="319" y="128"/>
                    <a:pt x="317" y="127"/>
                  </a:cubicBezTo>
                  <a:cubicBezTo>
                    <a:pt x="316" y="127"/>
                    <a:pt x="316" y="127"/>
                    <a:pt x="316" y="127"/>
                  </a:cubicBezTo>
                  <a:cubicBezTo>
                    <a:pt x="312" y="125"/>
                    <a:pt x="311" y="124"/>
                    <a:pt x="311" y="124"/>
                  </a:cubicBezTo>
                  <a:cubicBezTo>
                    <a:pt x="311" y="125"/>
                    <a:pt x="311" y="125"/>
                    <a:pt x="311" y="125"/>
                  </a:cubicBezTo>
                  <a:cubicBezTo>
                    <a:pt x="310" y="125"/>
                    <a:pt x="309" y="125"/>
                    <a:pt x="308" y="126"/>
                  </a:cubicBezTo>
                  <a:cubicBezTo>
                    <a:pt x="308" y="126"/>
                    <a:pt x="307" y="126"/>
                    <a:pt x="307" y="126"/>
                  </a:cubicBezTo>
                  <a:cubicBezTo>
                    <a:pt x="304" y="126"/>
                    <a:pt x="301" y="124"/>
                    <a:pt x="299" y="123"/>
                  </a:cubicBezTo>
                  <a:cubicBezTo>
                    <a:pt x="298" y="122"/>
                    <a:pt x="298" y="122"/>
                    <a:pt x="298" y="122"/>
                  </a:cubicBezTo>
                  <a:cubicBezTo>
                    <a:pt x="298" y="121"/>
                    <a:pt x="297" y="121"/>
                    <a:pt x="296" y="120"/>
                  </a:cubicBezTo>
                  <a:cubicBezTo>
                    <a:pt x="294" y="119"/>
                    <a:pt x="292" y="118"/>
                    <a:pt x="290" y="116"/>
                  </a:cubicBezTo>
                  <a:cubicBezTo>
                    <a:pt x="289" y="116"/>
                    <a:pt x="289" y="115"/>
                    <a:pt x="288" y="115"/>
                  </a:cubicBezTo>
                  <a:cubicBezTo>
                    <a:pt x="286" y="114"/>
                    <a:pt x="286" y="114"/>
                    <a:pt x="285" y="113"/>
                  </a:cubicBezTo>
                  <a:cubicBezTo>
                    <a:pt x="281" y="111"/>
                    <a:pt x="278" y="110"/>
                    <a:pt x="275" y="107"/>
                  </a:cubicBezTo>
                  <a:cubicBezTo>
                    <a:pt x="271" y="104"/>
                    <a:pt x="267" y="101"/>
                    <a:pt x="262" y="99"/>
                  </a:cubicBezTo>
                  <a:cubicBezTo>
                    <a:pt x="259" y="98"/>
                    <a:pt x="259" y="98"/>
                    <a:pt x="259" y="98"/>
                  </a:cubicBezTo>
                  <a:cubicBezTo>
                    <a:pt x="258" y="97"/>
                    <a:pt x="257" y="97"/>
                    <a:pt x="256" y="96"/>
                  </a:cubicBezTo>
                  <a:cubicBezTo>
                    <a:pt x="252" y="94"/>
                    <a:pt x="248" y="91"/>
                    <a:pt x="245" y="88"/>
                  </a:cubicBezTo>
                  <a:cubicBezTo>
                    <a:pt x="243" y="87"/>
                    <a:pt x="243" y="87"/>
                    <a:pt x="243" y="87"/>
                  </a:cubicBezTo>
                  <a:cubicBezTo>
                    <a:pt x="242" y="87"/>
                    <a:pt x="242" y="86"/>
                    <a:pt x="241" y="85"/>
                  </a:cubicBezTo>
                  <a:cubicBezTo>
                    <a:pt x="237" y="83"/>
                    <a:pt x="237" y="83"/>
                    <a:pt x="237" y="83"/>
                  </a:cubicBezTo>
                  <a:cubicBezTo>
                    <a:pt x="236" y="82"/>
                    <a:pt x="235" y="82"/>
                    <a:pt x="235" y="81"/>
                  </a:cubicBezTo>
                  <a:cubicBezTo>
                    <a:pt x="234" y="81"/>
                    <a:pt x="234" y="81"/>
                    <a:pt x="234" y="81"/>
                  </a:cubicBezTo>
                  <a:cubicBezTo>
                    <a:pt x="233" y="80"/>
                    <a:pt x="230" y="79"/>
                    <a:pt x="229" y="77"/>
                  </a:cubicBezTo>
                  <a:cubicBezTo>
                    <a:pt x="229" y="77"/>
                    <a:pt x="229" y="76"/>
                    <a:pt x="228" y="76"/>
                  </a:cubicBezTo>
                  <a:cubicBezTo>
                    <a:pt x="228" y="76"/>
                    <a:pt x="228" y="76"/>
                    <a:pt x="228" y="76"/>
                  </a:cubicBezTo>
                  <a:cubicBezTo>
                    <a:pt x="228" y="75"/>
                    <a:pt x="228" y="75"/>
                    <a:pt x="228" y="75"/>
                  </a:cubicBezTo>
                  <a:cubicBezTo>
                    <a:pt x="227" y="73"/>
                    <a:pt x="227" y="72"/>
                    <a:pt x="226" y="70"/>
                  </a:cubicBezTo>
                  <a:cubicBezTo>
                    <a:pt x="226" y="69"/>
                    <a:pt x="226" y="69"/>
                    <a:pt x="226" y="68"/>
                  </a:cubicBezTo>
                  <a:cubicBezTo>
                    <a:pt x="225" y="67"/>
                    <a:pt x="225" y="67"/>
                    <a:pt x="225" y="67"/>
                  </a:cubicBezTo>
                  <a:cubicBezTo>
                    <a:pt x="225" y="66"/>
                    <a:pt x="224" y="65"/>
                    <a:pt x="223" y="64"/>
                  </a:cubicBezTo>
                  <a:cubicBezTo>
                    <a:pt x="222" y="64"/>
                    <a:pt x="221" y="62"/>
                    <a:pt x="220" y="60"/>
                  </a:cubicBezTo>
                  <a:cubicBezTo>
                    <a:pt x="220" y="59"/>
                    <a:pt x="219" y="58"/>
                    <a:pt x="218" y="56"/>
                  </a:cubicBezTo>
                  <a:cubicBezTo>
                    <a:pt x="216" y="51"/>
                    <a:pt x="214" y="46"/>
                    <a:pt x="211" y="43"/>
                  </a:cubicBezTo>
                  <a:cubicBezTo>
                    <a:pt x="209" y="41"/>
                    <a:pt x="208" y="41"/>
                    <a:pt x="207" y="41"/>
                  </a:cubicBezTo>
                  <a:cubicBezTo>
                    <a:pt x="207" y="41"/>
                    <a:pt x="207" y="41"/>
                    <a:pt x="207" y="42"/>
                  </a:cubicBezTo>
                  <a:cubicBezTo>
                    <a:pt x="205" y="43"/>
                    <a:pt x="203" y="44"/>
                    <a:pt x="201" y="44"/>
                  </a:cubicBezTo>
                  <a:cubicBezTo>
                    <a:pt x="198" y="44"/>
                    <a:pt x="198" y="44"/>
                    <a:pt x="198" y="44"/>
                  </a:cubicBezTo>
                  <a:cubicBezTo>
                    <a:pt x="197" y="44"/>
                    <a:pt x="196" y="44"/>
                    <a:pt x="195" y="43"/>
                  </a:cubicBezTo>
                  <a:cubicBezTo>
                    <a:pt x="193" y="43"/>
                    <a:pt x="190" y="42"/>
                    <a:pt x="188" y="42"/>
                  </a:cubicBezTo>
                  <a:cubicBezTo>
                    <a:pt x="188" y="42"/>
                    <a:pt x="188" y="42"/>
                    <a:pt x="187" y="42"/>
                  </a:cubicBezTo>
                  <a:cubicBezTo>
                    <a:pt x="187" y="42"/>
                    <a:pt x="186" y="42"/>
                    <a:pt x="186" y="42"/>
                  </a:cubicBezTo>
                  <a:cubicBezTo>
                    <a:pt x="185" y="42"/>
                    <a:pt x="184" y="42"/>
                    <a:pt x="184" y="42"/>
                  </a:cubicBezTo>
                  <a:cubicBezTo>
                    <a:pt x="182" y="42"/>
                    <a:pt x="180" y="42"/>
                    <a:pt x="178" y="40"/>
                  </a:cubicBezTo>
                  <a:cubicBezTo>
                    <a:pt x="177" y="40"/>
                    <a:pt x="177" y="40"/>
                    <a:pt x="177" y="40"/>
                  </a:cubicBezTo>
                  <a:cubicBezTo>
                    <a:pt x="177" y="40"/>
                    <a:pt x="176" y="39"/>
                    <a:pt x="176" y="39"/>
                  </a:cubicBezTo>
                  <a:cubicBezTo>
                    <a:pt x="174" y="38"/>
                    <a:pt x="174" y="38"/>
                    <a:pt x="174" y="38"/>
                  </a:cubicBezTo>
                  <a:cubicBezTo>
                    <a:pt x="174" y="38"/>
                    <a:pt x="174" y="38"/>
                    <a:pt x="174" y="38"/>
                  </a:cubicBezTo>
                  <a:cubicBezTo>
                    <a:pt x="173" y="37"/>
                    <a:pt x="170" y="35"/>
                    <a:pt x="171" y="32"/>
                  </a:cubicBezTo>
                  <a:cubicBezTo>
                    <a:pt x="172" y="30"/>
                    <a:pt x="172" y="30"/>
                    <a:pt x="172" y="30"/>
                  </a:cubicBezTo>
                  <a:cubicBezTo>
                    <a:pt x="172" y="29"/>
                    <a:pt x="172" y="29"/>
                    <a:pt x="172" y="29"/>
                  </a:cubicBezTo>
                  <a:cubicBezTo>
                    <a:pt x="172" y="29"/>
                    <a:pt x="172" y="29"/>
                    <a:pt x="172" y="28"/>
                  </a:cubicBezTo>
                  <a:cubicBezTo>
                    <a:pt x="169" y="25"/>
                    <a:pt x="169" y="25"/>
                    <a:pt x="169" y="25"/>
                  </a:cubicBezTo>
                  <a:cubicBezTo>
                    <a:pt x="173" y="24"/>
                    <a:pt x="173" y="24"/>
                    <a:pt x="173" y="24"/>
                  </a:cubicBezTo>
                  <a:cubicBezTo>
                    <a:pt x="172" y="23"/>
                    <a:pt x="171" y="22"/>
                    <a:pt x="169" y="22"/>
                  </a:cubicBezTo>
                  <a:cubicBezTo>
                    <a:pt x="163" y="19"/>
                    <a:pt x="163" y="19"/>
                    <a:pt x="163" y="19"/>
                  </a:cubicBezTo>
                  <a:cubicBezTo>
                    <a:pt x="169" y="17"/>
                    <a:pt x="169" y="17"/>
                    <a:pt x="169" y="17"/>
                  </a:cubicBezTo>
                  <a:cubicBezTo>
                    <a:pt x="169" y="16"/>
                    <a:pt x="169" y="16"/>
                    <a:pt x="169" y="16"/>
                  </a:cubicBezTo>
                  <a:cubicBezTo>
                    <a:pt x="169" y="16"/>
                    <a:pt x="169" y="16"/>
                    <a:pt x="169" y="16"/>
                  </a:cubicBezTo>
                  <a:cubicBezTo>
                    <a:pt x="169" y="16"/>
                    <a:pt x="169" y="15"/>
                    <a:pt x="169" y="14"/>
                  </a:cubicBezTo>
                  <a:cubicBezTo>
                    <a:pt x="167" y="13"/>
                    <a:pt x="165" y="13"/>
                    <a:pt x="164" y="12"/>
                  </a:cubicBezTo>
                  <a:cubicBezTo>
                    <a:pt x="163" y="12"/>
                    <a:pt x="163" y="12"/>
                    <a:pt x="163" y="12"/>
                  </a:cubicBezTo>
                  <a:cubicBezTo>
                    <a:pt x="162" y="12"/>
                    <a:pt x="159" y="12"/>
                    <a:pt x="157" y="12"/>
                  </a:cubicBezTo>
                  <a:cubicBezTo>
                    <a:pt x="157" y="12"/>
                    <a:pt x="157" y="12"/>
                    <a:pt x="157" y="12"/>
                  </a:cubicBezTo>
                  <a:cubicBezTo>
                    <a:pt x="156" y="12"/>
                    <a:pt x="156" y="12"/>
                    <a:pt x="156" y="12"/>
                  </a:cubicBezTo>
                  <a:cubicBezTo>
                    <a:pt x="155" y="12"/>
                    <a:pt x="154" y="11"/>
                    <a:pt x="153" y="10"/>
                  </a:cubicBezTo>
                  <a:cubicBezTo>
                    <a:pt x="153" y="9"/>
                    <a:pt x="152" y="9"/>
                    <a:pt x="152" y="8"/>
                  </a:cubicBezTo>
                  <a:cubicBezTo>
                    <a:pt x="151" y="7"/>
                    <a:pt x="151" y="7"/>
                    <a:pt x="151" y="7"/>
                  </a:cubicBezTo>
                  <a:cubicBezTo>
                    <a:pt x="151" y="7"/>
                    <a:pt x="151" y="7"/>
                    <a:pt x="150" y="6"/>
                  </a:cubicBezTo>
                  <a:cubicBezTo>
                    <a:pt x="150" y="6"/>
                    <a:pt x="150" y="6"/>
                    <a:pt x="150" y="6"/>
                  </a:cubicBezTo>
                  <a:cubicBezTo>
                    <a:pt x="150" y="6"/>
                    <a:pt x="150" y="6"/>
                    <a:pt x="150" y="6"/>
                  </a:cubicBezTo>
                  <a:cubicBezTo>
                    <a:pt x="150" y="6"/>
                    <a:pt x="149" y="6"/>
                    <a:pt x="149" y="6"/>
                  </a:cubicBezTo>
                  <a:cubicBezTo>
                    <a:pt x="149" y="6"/>
                    <a:pt x="149" y="6"/>
                    <a:pt x="149" y="6"/>
                  </a:cubicBezTo>
                  <a:cubicBezTo>
                    <a:pt x="148" y="6"/>
                    <a:pt x="148" y="6"/>
                    <a:pt x="148" y="6"/>
                  </a:cubicBezTo>
                  <a:cubicBezTo>
                    <a:pt x="148" y="6"/>
                    <a:pt x="147" y="6"/>
                    <a:pt x="147" y="6"/>
                  </a:cubicBezTo>
                  <a:cubicBezTo>
                    <a:pt x="146" y="5"/>
                    <a:pt x="145" y="5"/>
                    <a:pt x="144" y="5"/>
                  </a:cubicBezTo>
                  <a:cubicBezTo>
                    <a:pt x="143" y="3"/>
                    <a:pt x="141" y="2"/>
                    <a:pt x="140" y="0"/>
                  </a:cubicBezTo>
                  <a:cubicBezTo>
                    <a:pt x="140" y="0"/>
                    <a:pt x="140" y="0"/>
                    <a:pt x="1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290"/>
            <p:cNvSpPr/>
            <p:nvPr/>
          </p:nvSpPr>
          <p:spPr bwMode="auto">
            <a:xfrm>
              <a:off x="7518" y="396"/>
              <a:ext cx="2"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291"/>
            <p:cNvSpPr/>
            <p:nvPr/>
          </p:nvSpPr>
          <p:spPr bwMode="auto">
            <a:xfrm>
              <a:off x="7518" y="396"/>
              <a:ext cx="2"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292"/>
            <p:cNvSpPr/>
            <p:nvPr/>
          </p:nvSpPr>
          <p:spPr bwMode="auto">
            <a:xfrm>
              <a:off x="7416" y="396"/>
              <a:ext cx="262" cy="213"/>
            </a:xfrm>
            <a:custGeom>
              <a:gdLst>
                <a:gd name="T0" fmla="*/ 36 w 111"/>
                <a:gd name="T1" fmla="*/ 4 h 90"/>
                <a:gd name="T2" fmla="*/ 34 w 111"/>
                <a:gd name="T3" fmla="*/ 4 h 90"/>
                <a:gd name="T4" fmla="*/ 33 w 111"/>
                <a:gd name="T5" fmla="*/ 20 h 90"/>
                <a:gd name="T6" fmla="*/ 29 w 111"/>
                <a:gd name="T7" fmla="*/ 10 h 90"/>
                <a:gd name="T8" fmla="*/ 22 w 111"/>
                <a:gd name="T9" fmla="*/ 19 h 90"/>
                <a:gd name="T10" fmla="*/ 15 w 111"/>
                <a:gd name="T11" fmla="*/ 18 h 90"/>
                <a:gd name="T12" fmla="*/ 5 w 111"/>
                <a:gd name="T13" fmla="*/ 17 h 90"/>
                <a:gd name="T14" fmla="*/ 3 w 111"/>
                <a:gd name="T15" fmla="*/ 18 h 90"/>
                <a:gd name="T16" fmla="*/ 0 w 111"/>
                <a:gd name="T17" fmla="*/ 22 h 90"/>
                <a:gd name="T18" fmla="*/ 3 w 111"/>
                <a:gd name="T19" fmla="*/ 26 h 90"/>
                <a:gd name="T20" fmla="*/ 18 w 111"/>
                <a:gd name="T21" fmla="*/ 32 h 90"/>
                <a:gd name="T22" fmla="*/ 17 w 111"/>
                <a:gd name="T23" fmla="*/ 44 h 90"/>
                <a:gd name="T24" fmla="*/ 20 w 111"/>
                <a:gd name="T25" fmla="*/ 47 h 90"/>
                <a:gd name="T26" fmla="*/ 14 w 111"/>
                <a:gd name="T27" fmla="*/ 68 h 90"/>
                <a:gd name="T28" fmla="*/ 10 w 111"/>
                <a:gd name="T29" fmla="*/ 76 h 90"/>
                <a:gd name="T30" fmla="*/ 12 w 111"/>
                <a:gd name="T31" fmla="*/ 83 h 90"/>
                <a:gd name="T32" fmla="*/ 17 w 111"/>
                <a:gd name="T33" fmla="*/ 80 h 90"/>
                <a:gd name="T34" fmla="*/ 28 w 111"/>
                <a:gd name="T35" fmla="*/ 76 h 90"/>
                <a:gd name="T36" fmla="*/ 30 w 111"/>
                <a:gd name="T37" fmla="*/ 75 h 90"/>
                <a:gd name="T38" fmla="*/ 38 w 111"/>
                <a:gd name="T39" fmla="*/ 76 h 90"/>
                <a:gd name="T40" fmla="*/ 42 w 111"/>
                <a:gd name="T41" fmla="*/ 79 h 90"/>
                <a:gd name="T42" fmla="*/ 42 w 111"/>
                <a:gd name="T43" fmla="*/ 76 h 90"/>
                <a:gd name="T44" fmla="*/ 44 w 111"/>
                <a:gd name="T45" fmla="*/ 69 h 90"/>
                <a:gd name="T46" fmla="*/ 57 w 111"/>
                <a:gd name="T47" fmla="*/ 67 h 90"/>
                <a:gd name="T48" fmla="*/ 61 w 111"/>
                <a:gd name="T49" fmla="*/ 68 h 90"/>
                <a:gd name="T50" fmla="*/ 61 w 111"/>
                <a:gd name="T51" fmla="*/ 66 h 90"/>
                <a:gd name="T52" fmla="*/ 61 w 111"/>
                <a:gd name="T53" fmla="*/ 57 h 90"/>
                <a:gd name="T54" fmla="*/ 69 w 111"/>
                <a:gd name="T55" fmla="*/ 52 h 90"/>
                <a:gd name="T56" fmla="*/ 80 w 111"/>
                <a:gd name="T57" fmla="*/ 43 h 90"/>
                <a:gd name="T58" fmla="*/ 86 w 111"/>
                <a:gd name="T59" fmla="*/ 45 h 90"/>
                <a:gd name="T60" fmla="*/ 90 w 111"/>
                <a:gd name="T61" fmla="*/ 45 h 90"/>
                <a:gd name="T62" fmla="*/ 90 w 111"/>
                <a:gd name="T63" fmla="*/ 50 h 90"/>
                <a:gd name="T64" fmla="*/ 96 w 111"/>
                <a:gd name="T65" fmla="*/ 57 h 90"/>
                <a:gd name="T66" fmla="*/ 96 w 111"/>
                <a:gd name="T67" fmla="*/ 79 h 90"/>
                <a:gd name="T68" fmla="*/ 96 w 111"/>
                <a:gd name="T69" fmla="*/ 80 h 90"/>
                <a:gd name="T70" fmla="*/ 96 w 111"/>
                <a:gd name="T71" fmla="*/ 86 h 90"/>
                <a:gd name="T72" fmla="*/ 98 w 111"/>
                <a:gd name="T73" fmla="*/ 90 h 90"/>
                <a:gd name="T74" fmla="*/ 111 w 111"/>
                <a:gd name="T75" fmla="*/ 86 h 90"/>
                <a:gd name="T76" fmla="*/ 104 w 111"/>
                <a:gd name="T77" fmla="*/ 26 h 90"/>
                <a:gd name="T78" fmla="*/ 99 w 111"/>
                <a:gd name="T79" fmla="*/ 26 h 90"/>
                <a:gd name="T80" fmla="*/ 96 w 111"/>
                <a:gd name="T81" fmla="*/ 21 h 90"/>
                <a:gd name="T82" fmla="*/ 92 w 111"/>
                <a:gd name="T83" fmla="*/ 19 h 90"/>
                <a:gd name="T84" fmla="*/ 82 w 111"/>
                <a:gd name="T85" fmla="*/ 22 h 90"/>
                <a:gd name="T86" fmla="*/ 82 w 111"/>
                <a:gd name="T87" fmla="*/ 22 h 90"/>
                <a:gd name="T88" fmla="*/ 58 w 111"/>
                <a:gd name="T89" fmla="*/ 18 h 90"/>
                <a:gd name="T90" fmla="*/ 39 w 111"/>
                <a:gd name="T91" fmla="*/ 16 h 90"/>
                <a:gd name="T92" fmla="*/ 39 w 111"/>
                <a:gd name="T93" fmla="*/ 1 h 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90">
                  <a:moveTo>
                    <a:pt x="38" y="0"/>
                  </a:moveTo>
                  <a:cubicBezTo>
                    <a:pt x="38" y="1"/>
                    <a:pt x="37" y="2"/>
                    <a:pt x="37" y="3"/>
                  </a:cubicBezTo>
                  <a:cubicBezTo>
                    <a:pt x="36" y="4"/>
                    <a:pt x="36" y="4"/>
                    <a:pt x="36" y="4"/>
                  </a:cubicBezTo>
                  <a:cubicBezTo>
                    <a:pt x="35" y="4"/>
                    <a:pt x="35" y="4"/>
                    <a:pt x="35" y="4"/>
                  </a:cubicBezTo>
                  <a:cubicBezTo>
                    <a:pt x="34" y="4"/>
                    <a:pt x="34" y="4"/>
                    <a:pt x="34" y="4"/>
                  </a:cubicBezTo>
                  <a:cubicBezTo>
                    <a:pt x="34" y="4"/>
                    <a:pt x="34" y="4"/>
                    <a:pt x="34" y="4"/>
                  </a:cubicBezTo>
                  <a:cubicBezTo>
                    <a:pt x="34" y="5"/>
                    <a:pt x="34" y="5"/>
                    <a:pt x="34" y="5"/>
                  </a:cubicBezTo>
                  <a:cubicBezTo>
                    <a:pt x="34" y="6"/>
                    <a:pt x="34" y="6"/>
                    <a:pt x="34" y="7"/>
                  </a:cubicBezTo>
                  <a:cubicBezTo>
                    <a:pt x="33" y="20"/>
                    <a:pt x="33" y="20"/>
                    <a:pt x="33" y="20"/>
                  </a:cubicBezTo>
                  <a:cubicBezTo>
                    <a:pt x="29" y="9"/>
                    <a:pt x="29" y="9"/>
                    <a:pt x="29" y="9"/>
                  </a:cubicBezTo>
                  <a:cubicBezTo>
                    <a:pt x="29" y="9"/>
                    <a:pt x="29" y="9"/>
                    <a:pt x="29" y="9"/>
                  </a:cubicBezTo>
                  <a:cubicBezTo>
                    <a:pt x="29" y="10"/>
                    <a:pt x="29" y="10"/>
                    <a:pt x="29" y="10"/>
                  </a:cubicBezTo>
                  <a:cubicBezTo>
                    <a:pt x="27" y="15"/>
                    <a:pt x="26" y="18"/>
                    <a:pt x="24" y="18"/>
                  </a:cubicBezTo>
                  <a:cubicBezTo>
                    <a:pt x="24" y="19"/>
                    <a:pt x="24" y="19"/>
                    <a:pt x="24" y="19"/>
                  </a:cubicBezTo>
                  <a:cubicBezTo>
                    <a:pt x="23" y="19"/>
                    <a:pt x="23" y="19"/>
                    <a:pt x="22" y="19"/>
                  </a:cubicBezTo>
                  <a:cubicBezTo>
                    <a:pt x="21" y="19"/>
                    <a:pt x="21" y="19"/>
                    <a:pt x="20" y="19"/>
                  </a:cubicBezTo>
                  <a:cubicBezTo>
                    <a:pt x="19" y="19"/>
                    <a:pt x="19" y="19"/>
                    <a:pt x="19" y="19"/>
                  </a:cubicBezTo>
                  <a:cubicBezTo>
                    <a:pt x="18" y="19"/>
                    <a:pt x="17" y="18"/>
                    <a:pt x="15" y="18"/>
                  </a:cubicBezTo>
                  <a:cubicBezTo>
                    <a:pt x="13" y="18"/>
                    <a:pt x="10" y="17"/>
                    <a:pt x="7" y="17"/>
                  </a:cubicBezTo>
                  <a:cubicBezTo>
                    <a:pt x="6" y="17"/>
                    <a:pt x="6" y="17"/>
                    <a:pt x="5" y="17"/>
                  </a:cubicBezTo>
                  <a:cubicBezTo>
                    <a:pt x="5" y="17"/>
                    <a:pt x="5" y="17"/>
                    <a:pt x="5" y="17"/>
                  </a:cubicBezTo>
                  <a:cubicBezTo>
                    <a:pt x="4" y="17"/>
                    <a:pt x="4" y="17"/>
                    <a:pt x="4" y="17"/>
                  </a:cubicBezTo>
                  <a:cubicBezTo>
                    <a:pt x="4" y="17"/>
                    <a:pt x="4" y="17"/>
                    <a:pt x="4" y="17"/>
                  </a:cubicBezTo>
                  <a:cubicBezTo>
                    <a:pt x="4" y="17"/>
                    <a:pt x="3" y="18"/>
                    <a:pt x="3" y="18"/>
                  </a:cubicBezTo>
                  <a:cubicBezTo>
                    <a:pt x="2" y="18"/>
                    <a:pt x="2" y="18"/>
                    <a:pt x="2" y="18"/>
                  </a:cubicBezTo>
                  <a:cubicBezTo>
                    <a:pt x="1" y="19"/>
                    <a:pt x="0" y="20"/>
                    <a:pt x="0" y="22"/>
                  </a:cubicBezTo>
                  <a:cubicBezTo>
                    <a:pt x="0" y="22"/>
                    <a:pt x="0" y="22"/>
                    <a:pt x="0" y="22"/>
                  </a:cubicBezTo>
                  <a:cubicBezTo>
                    <a:pt x="0" y="23"/>
                    <a:pt x="1" y="23"/>
                    <a:pt x="1" y="24"/>
                  </a:cubicBezTo>
                  <a:cubicBezTo>
                    <a:pt x="2" y="24"/>
                    <a:pt x="2" y="24"/>
                    <a:pt x="2" y="24"/>
                  </a:cubicBezTo>
                  <a:cubicBezTo>
                    <a:pt x="2" y="25"/>
                    <a:pt x="3" y="25"/>
                    <a:pt x="3" y="26"/>
                  </a:cubicBezTo>
                  <a:cubicBezTo>
                    <a:pt x="5" y="28"/>
                    <a:pt x="5" y="28"/>
                    <a:pt x="9" y="28"/>
                  </a:cubicBezTo>
                  <a:cubicBezTo>
                    <a:pt x="9" y="28"/>
                    <a:pt x="10" y="28"/>
                    <a:pt x="12" y="28"/>
                  </a:cubicBezTo>
                  <a:cubicBezTo>
                    <a:pt x="14" y="29"/>
                    <a:pt x="17" y="30"/>
                    <a:pt x="18" y="32"/>
                  </a:cubicBezTo>
                  <a:cubicBezTo>
                    <a:pt x="18" y="33"/>
                    <a:pt x="18" y="33"/>
                    <a:pt x="19" y="34"/>
                  </a:cubicBezTo>
                  <a:cubicBezTo>
                    <a:pt x="19" y="36"/>
                    <a:pt x="18" y="38"/>
                    <a:pt x="18" y="41"/>
                  </a:cubicBezTo>
                  <a:cubicBezTo>
                    <a:pt x="17" y="44"/>
                    <a:pt x="17" y="44"/>
                    <a:pt x="17" y="44"/>
                  </a:cubicBezTo>
                  <a:cubicBezTo>
                    <a:pt x="17" y="44"/>
                    <a:pt x="17" y="45"/>
                    <a:pt x="18" y="45"/>
                  </a:cubicBezTo>
                  <a:cubicBezTo>
                    <a:pt x="18" y="46"/>
                    <a:pt x="18" y="46"/>
                    <a:pt x="18" y="46"/>
                  </a:cubicBezTo>
                  <a:cubicBezTo>
                    <a:pt x="20" y="47"/>
                    <a:pt x="20" y="47"/>
                    <a:pt x="20" y="47"/>
                  </a:cubicBezTo>
                  <a:cubicBezTo>
                    <a:pt x="20" y="48"/>
                    <a:pt x="21" y="49"/>
                    <a:pt x="22" y="50"/>
                  </a:cubicBezTo>
                  <a:cubicBezTo>
                    <a:pt x="25" y="54"/>
                    <a:pt x="20" y="61"/>
                    <a:pt x="15" y="66"/>
                  </a:cubicBezTo>
                  <a:cubicBezTo>
                    <a:pt x="15" y="67"/>
                    <a:pt x="14" y="68"/>
                    <a:pt x="14" y="68"/>
                  </a:cubicBezTo>
                  <a:cubicBezTo>
                    <a:pt x="13" y="70"/>
                    <a:pt x="13" y="70"/>
                    <a:pt x="13" y="70"/>
                  </a:cubicBezTo>
                  <a:cubicBezTo>
                    <a:pt x="12" y="71"/>
                    <a:pt x="11" y="72"/>
                    <a:pt x="10" y="74"/>
                  </a:cubicBezTo>
                  <a:cubicBezTo>
                    <a:pt x="10" y="74"/>
                    <a:pt x="10" y="75"/>
                    <a:pt x="10" y="76"/>
                  </a:cubicBezTo>
                  <a:cubicBezTo>
                    <a:pt x="10" y="78"/>
                    <a:pt x="10" y="79"/>
                    <a:pt x="9" y="80"/>
                  </a:cubicBezTo>
                  <a:cubicBezTo>
                    <a:pt x="9" y="81"/>
                    <a:pt x="9" y="81"/>
                    <a:pt x="9" y="82"/>
                  </a:cubicBezTo>
                  <a:cubicBezTo>
                    <a:pt x="12" y="83"/>
                    <a:pt x="12" y="83"/>
                    <a:pt x="12" y="83"/>
                  </a:cubicBezTo>
                  <a:cubicBezTo>
                    <a:pt x="12" y="84"/>
                    <a:pt x="12" y="84"/>
                    <a:pt x="12" y="84"/>
                  </a:cubicBezTo>
                  <a:cubicBezTo>
                    <a:pt x="13" y="83"/>
                    <a:pt x="13" y="83"/>
                    <a:pt x="13" y="83"/>
                  </a:cubicBezTo>
                  <a:cubicBezTo>
                    <a:pt x="15" y="82"/>
                    <a:pt x="17" y="81"/>
                    <a:pt x="17" y="80"/>
                  </a:cubicBezTo>
                  <a:cubicBezTo>
                    <a:pt x="18" y="80"/>
                    <a:pt x="19" y="79"/>
                    <a:pt x="20" y="79"/>
                  </a:cubicBezTo>
                  <a:cubicBezTo>
                    <a:pt x="22" y="78"/>
                    <a:pt x="24" y="77"/>
                    <a:pt x="27" y="76"/>
                  </a:cubicBezTo>
                  <a:cubicBezTo>
                    <a:pt x="27" y="76"/>
                    <a:pt x="27" y="76"/>
                    <a:pt x="28" y="76"/>
                  </a:cubicBezTo>
                  <a:cubicBezTo>
                    <a:pt x="29" y="77"/>
                    <a:pt x="29" y="77"/>
                    <a:pt x="29" y="77"/>
                  </a:cubicBezTo>
                  <a:cubicBezTo>
                    <a:pt x="28" y="76"/>
                    <a:pt x="28" y="76"/>
                    <a:pt x="28" y="76"/>
                  </a:cubicBezTo>
                  <a:cubicBezTo>
                    <a:pt x="29" y="75"/>
                    <a:pt x="29" y="75"/>
                    <a:pt x="30" y="75"/>
                  </a:cubicBezTo>
                  <a:cubicBezTo>
                    <a:pt x="31" y="74"/>
                    <a:pt x="32" y="74"/>
                    <a:pt x="33" y="74"/>
                  </a:cubicBezTo>
                  <a:cubicBezTo>
                    <a:pt x="34" y="74"/>
                    <a:pt x="35" y="74"/>
                    <a:pt x="37" y="75"/>
                  </a:cubicBezTo>
                  <a:cubicBezTo>
                    <a:pt x="37" y="76"/>
                    <a:pt x="37" y="76"/>
                    <a:pt x="38" y="76"/>
                  </a:cubicBezTo>
                  <a:cubicBezTo>
                    <a:pt x="40" y="78"/>
                    <a:pt x="40" y="78"/>
                    <a:pt x="40" y="78"/>
                  </a:cubicBezTo>
                  <a:cubicBezTo>
                    <a:pt x="40" y="79"/>
                    <a:pt x="41" y="79"/>
                    <a:pt x="41" y="80"/>
                  </a:cubicBezTo>
                  <a:cubicBezTo>
                    <a:pt x="42" y="79"/>
                    <a:pt x="42" y="79"/>
                    <a:pt x="42" y="79"/>
                  </a:cubicBezTo>
                  <a:cubicBezTo>
                    <a:pt x="42" y="78"/>
                    <a:pt x="42" y="78"/>
                    <a:pt x="42" y="78"/>
                  </a:cubicBezTo>
                  <a:cubicBezTo>
                    <a:pt x="42" y="78"/>
                    <a:pt x="42" y="78"/>
                    <a:pt x="42" y="78"/>
                  </a:cubicBezTo>
                  <a:cubicBezTo>
                    <a:pt x="42" y="77"/>
                    <a:pt x="42" y="76"/>
                    <a:pt x="42" y="76"/>
                  </a:cubicBezTo>
                  <a:cubicBezTo>
                    <a:pt x="43" y="74"/>
                    <a:pt x="43" y="74"/>
                    <a:pt x="43" y="74"/>
                  </a:cubicBezTo>
                  <a:cubicBezTo>
                    <a:pt x="43" y="73"/>
                    <a:pt x="43" y="71"/>
                    <a:pt x="44" y="70"/>
                  </a:cubicBezTo>
                  <a:cubicBezTo>
                    <a:pt x="44" y="69"/>
                    <a:pt x="44" y="69"/>
                    <a:pt x="44" y="69"/>
                  </a:cubicBezTo>
                  <a:cubicBezTo>
                    <a:pt x="45" y="67"/>
                    <a:pt x="47" y="66"/>
                    <a:pt x="50" y="66"/>
                  </a:cubicBezTo>
                  <a:cubicBezTo>
                    <a:pt x="52" y="66"/>
                    <a:pt x="54" y="67"/>
                    <a:pt x="55" y="67"/>
                  </a:cubicBezTo>
                  <a:cubicBezTo>
                    <a:pt x="56" y="67"/>
                    <a:pt x="56" y="67"/>
                    <a:pt x="57" y="67"/>
                  </a:cubicBezTo>
                  <a:cubicBezTo>
                    <a:pt x="58" y="68"/>
                    <a:pt x="59" y="68"/>
                    <a:pt x="60" y="68"/>
                  </a:cubicBezTo>
                  <a:cubicBezTo>
                    <a:pt x="61" y="68"/>
                    <a:pt x="61" y="68"/>
                    <a:pt x="61" y="68"/>
                  </a:cubicBezTo>
                  <a:cubicBezTo>
                    <a:pt x="61" y="68"/>
                    <a:pt x="61" y="68"/>
                    <a:pt x="61" y="68"/>
                  </a:cubicBezTo>
                  <a:cubicBezTo>
                    <a:pt x="61" y="67"/>
                    <a:pt x="61" y="67"/>
                    <a:pt x="61" y="67"/>
                  </a:cubicBezTo>
                  <a:cubicBezTo>
                    <a:pt x="62" y="67"/>
                    <a:pt x="62" y="67"/>
                    <a:pt x="62" y="67"/>
                  </a:cubicBezTo>
                  <a:cubicBezTo>
                    <a:pt x="61" y="66"/>
                    <a:pt x="61" y="66"/>
                    <a:pt x="61" y="66"/>
                  </a:cubicBezTo>
                  <a:cubicBezTo>
                    <a:pt x="61" y="65"/>
                    <a:pt x="61" y="65"/>
                    <a:pt x="61" y="65"/>
                  </a:cubicBezTo>
                  <a:cubicBezTo>
                    <a:pt x="60" y="64"/>
                    <a:pt x="59" y="63"/>
                    <a:pt x="59" y="62"/>
                  </a:cubicBezTo>
                  <a:cubicBezTo>
                    <a:pt x="59" y="61"/>
                    <a:pt x="59" y="59"/>
                    <a:pt x="61" y="57"/>
                  </a:cubicBezTo>
                  <a:cubicBezTo>
                    <a:pt x="62" y="57"/>
                    <a:pt x="64" y="55"/>
                    <a:pt x="65" y="54"/>
                  </a:cubicBezTo>
                  <a:cubicBezTo>
                    <a:pt x="66" y="54"/>
                    <a:pt x="67" y="52"/>
                    <a:pt x="68" y="51"/>
                  </a:cubicBezTo>
                  <a:cubicBezTo>
                    <a:pt x="69" y="52"/>
                    <a:pt x="69" y="52"/>
                    <a:pt x="69" y="52"/>
                  </a:cubicBezTo>
                  <a:cubicBezTo>
                    <a:pt x="68" y="51"/>
                    <a:pt x="68" y="51"/>
                    <a:pt x="68" y="51"/>
                  </a:cubicBezTo>
                  <a:cubicBezTo>
                    <a:pt x="70" y="49"/>
                    <a:pt x="72" y="46"/>
                    <a:pt x="74" y="45"/>
                  </a:cubicBezTo>
                  <a:cubicBezTo>
                    <a:pt x="76" y="43"/>
                    <a:pt x="78" y="43"/>
                    <a:pt x="80" y="43"/>
                  </a:cubicBezTo>
                  <a:cubicBezTo>
                    <a:pt x="81" y="43"/>
                    <a:pt x="81" y="43"/>
                    <a:pt x="81" y="43"/>
                  </a:cubicBezTo>
                  <a:cubicBezTo>
                    <a:pt x="83" y="43"/>
                    <a:pt x="83" y="43"/>
                    <a:pt x="83" y="43"/>
                  </a:cubicBezTo>
                  <a:cubicBezTo>
                    <a:pt x="84" y="44"/>
                    <a:pt x="85" y="44"/>
                    <a:pt x="86" y="45"/>
                  </a:cubicBezTo>
                  <a:cubicBezTo>
                    <a:pt x="87" y="46"/>
                    <a:pt x="87" y="46"/>
                    <a:pt x="87" y="47"/>
                  </a:cubicBezTo>
                  <a:cubicBezTo>
                    <a:pt x="92" y="43"/>
                    <a:pt x="92" y="43"/>
                    <a:pt x="92" y="43"/>
                  </a:cubicBezTo>
                  <a:cubicBezTo>
                    <a:pt x="90" y="45"/>
                    <a:pt x="90" y="45"/>
                    <a:pt x="90" y="45"/>
                  </a:cubicBezTo>
                  <a:cubicBezTo>
                    <a:pt x="91" y="44"/>
                    <a:pt x="91" y="44"/>
                    <a:pt x="91" y="44"/>
                  </a:cubicBezTo>
                  <a:cubicBezTo>
                    <a:pt x="89" y="48"/>
                    <a:pt x="89" y="48"/>
                    <a:pt x="89" y="48"/>
                  </a:cubicBezTo>
                  <a:cubicBezTo>
                    <a:pt x="90" y="50"/>
                    <a:pt x="90" y="50"/>
                    <a:pt x="90" y="50"/>
                  </a:cubicBezTo>
                  <a:cubicBezTo>
                    <a:pt x="90" y="50"/>
                    <a:pt x="91" y="51"/>
                    <a:pt x="91" y="51"/>
                  </a:cubicBezTo>
                  <a:cubicBezTo>
                    <a:pt x="92" y="53"/>
                    <a:pt x="93" y="54"/>
                    <a:pt x="92" y="56"/>
                  </a:cubicBezTo>
                  <a:cubicBezTo>
                    <a:pt x="93" y="56"/>
                    <a:pt x="95" y="57"/>
                    <a:pt x="96" y="57"/>
                  </a:cubicBezTo>
                  <a:cubicBezTo>
                    <a:pt x="97" y="58"/>
                    <a:pt x="98" y="60"/>
                    <a:pt x="98" y="61"/>
                  </a:cubicBezTo>
                  <a:cubicBezTo>
                    <a:pt x="98" y="64"/>
                    <a:pt x="98" y="66"/>
                    <a:pt x="97" y="69"/>
                  </a:cubicBezTo>
                  <a:cubicBezTo>
                    <a:pt x="97" y="73"/>
                    <a:pt x="97" y="76"/>
                    <a:pt x="96" y="79"/>
                  </a:cubicBezTo>
                  <a:cubicBezTo>
                    <a:pt x="102" y="80"/>
                    <a:pt x="102" y="80"/>
                    <a:pt x="102" y="80"/>
                  </a:cubicBezTo>
                  <a:cubicBezTo>
                    <a:pt x="96" y="80"/>
                    <a:pt x="96" y="80"/>
                    <a:pt x="96" y="80"/>
                  </a:cubicBezTo>
                  <a:cubicBezTo>
                    <a:pt x="96" y="80"/>
                    <a:pt x="96" y="80"/>
                    <a:pt x="96" y="80"/>
                  </a:cubicBezTo>
                  <a:cubicBezTo>
                    <a:pt x="95" y="81"/>
                    <a:pt x="95" y="82"/>
                    <a:pt x="95" y="82"/>
                  </a:cubicBezTo>
                  <a:cubicBezTo>
                    <a:pt x="95" y="83"/>
                    <a:pt x="95" y="83"/>
                    <a:pt x="95" y="84"/>
                  </a:cubicBezTo>
                  <a:cubicBezTo>
                    <a:pt x="95" y="85"/>
                    <a:pt x="95" y="86"/>
                    <a:pt x="96" y="86"/>
                  </a:cubicBezTo>
                  <a:cubicBezTo>
                    <a:pt x="96" y="87"/>
                    <a:pt x="97" y="88"/>
                    <a:pt x="97" y="88"/>
                  </a:cubicBezTo>
                  <a:cubicBezTo>
                    <a:pt x="97" y="89"/>
                    <a:pt x="97" y="89"/>
                    <a:pt x="97" y="89"/>
                  </a:cubicBezTo>
                  <a:cubicBezTo>
                    <a:pt x="97" y="89"/>
                    <a:pt x="98" y="90"/>
                    <a:pt x="98" y="90"/>
                  </a:cubicBezTo>
                  <a:cubicBezTo>
                    <a:pt x="109" y="86"/>
                    <a:pt x="109" y="86"/>
                    <a:pt x="109" y="86"/>
                  </a:cubicBezTo>
                  <a:cubicBezTo>
                    <a:pt x="110" y="86"/>
                    <a:pt x="110" y="86"/>
                    <a:pt x="110" y="86"/>
                  </a:cubicBezTo>
                  <a:cubicBezTo>
                    <a:pt x="111" y="86"/>
                    <a:pt x="111" y="86"/>
                    <a:pt x="111" y="86"/>
                  </a:cubicBezTo>
                  <a:cubicBezTo>
                    <a:pt x="111" y="29"/>
                    <a:pt x="111" y="29"/>
                    <a:pt x="111" y="29"/>
                  </a:cubicBezTo>
                  <a:cubicBezTo>
                    <a:pt x="109" y="28"/>
                    <a:pt x="109" y="28"/>
                    <a:pt x="109" y="28"/>
                  </a:cubicBezTo>
                  <a:cubicBezTo>
                    <a:pt x="108" y="27"/>
                    <a:pt x="105" y="26"/>
                    <a:pt x="104" y="26"/>
                  </a:cubicBezTo>
                  <a:cubicBezTo>
                    <a:pt x="103" y="26"/>
                    <a:pt x="103" y="26"/>
                    <a:pt x="103" y="26"/>
                  </a:cubicBezTo>
                  <a:cubicBezTo>
                    <a:pt x="99" y="26"/>
                    <a:pt x="99" y="26"/>
                    <a:pt x="99" y="26"/>
                  </a:cubicBezTo>
                  <a:cubicBezTo>
                    <a:pt x="99" y="26"/>
                    <a:pt x="99" y="26"/>
                    <a:pt x="99" y="26"/>
                  </a:cubicBezTo>
                  <a:cubicBezTo>
                    <a:pt x="97" y="24"/>
                    <a:pt x="97" y="22"/>
                    <a:pt x="97" y="21"/>
                  </a:cubicBezTo>
                  <a:cubicBezTo>
                    <a:pt x="96" y="21"/>
                    <a:pt x="96" y="21"/>
                    <a:pt x="96" y="21"/>
                  </a:cubicBezTo>
                  <a:cubicBezTo>
                    <a:pt x="96" y="21"/>
                    <a:pt x="96" y="21"/>
                    <a:pt x="96" y="21"/>
                  </a:cubicBezTo>
                  <a:cubicBezTo>
                    <a:pt x="96" y="21"/>
                    <a:pt x="95" y="21"/>
                    <a:pt x="95" y="21"/>
                  </a:cubicBezTo>
                  <a:cubicBezTo>
                    <a:pt x="94" y="21"/>
                    <a:pt x="94" y="21"/>
                    <a:pt x="94" y="21"/>
                  </a:cubicBezTo>
                  <a:cubicBezTo>
                    <a:pt x="93" y="20"/>
                    <a:pt x="93" y="20"/>
                    <a:pt x="92" y="19"/>
                  </a:cubicBezTo>
                  <a:cubicBezTo>
                    <a:pt x="92" y="19"/>
                    <a:pt x="92" y="19"/>
                    <a:pt x="92" y="19"/>
                  </a:cubicBezTo>
                  <a:cubicBezTo>
                    <a:pt x="88" y="21"/>
                    <a:pt x="86" y="22"/>
                    <a:pt x="83" y="22"/>
                  </a:cubicBezTo>
                  <a:cubicBezTo>
                    <a:pt x="83" y="22"/>
                    <a:pt x="83" y="22"/>
                    <a:pt x="82" y="22"/>
                  </a:cubicBezTo>
                  <a:cubicBezTo>
                    <a:pt x="82" y="22"/>
                    <a:pt x="82" y="22"/>
                    <a:pt x="82" y="22"/>
                  </a:cubicBezTo>
                  <a:cubicBezTo>
                    <a:pt x="82" y="22"/>
                    <a:pt x="82" y="22"/>
                    <a:pt x="82" y="22"/>
                  </a:cubicBezTo>
                  <a:cubicBezTo>
                    <a:pt x="82" y="22"/>
                    <a:pt x="82" y="22"/>
                    <a:pt x="82" y="22"/>
                  </a:cubicBezTo>
                  <a:cubicBezTo>
                    <a:pt x="81" y="22"/>
                    <a:pt x="81" y="22"/>
                    <a:pt x="81" y="22"/>
                  </a:cubicBezTo>
                  <a:cubicBezTo>
                    <a:pt x="77" y="21"/>
                    <a:pt x="73" y="20"/>
                    <a:pt x="69" y="19"/>
                  </a:cubicBezTo>
                  <a:cubicBezTo>
                    <a:pt x="65" y="19"/>
                    <a:pt x="62" y="18"/>
                    <a:pt x="58" y="18"/>
                  </a:cubicBezTo>
                  <a:cubicBezTo>
                    <a:pt x="53" y="18"/>
                    <a:pt x="48" y="19"/>
                    <a:pt x="43" y="19"/>
                  </a:cubicBezTo>
                  <a:cubicBezTo>
                    <a:pt x="39" y="19"/>
                    <a:pt x="39" y="19"/>
                    <a:pt x="39" y="19"/>
                  </a:cubicBezTo>
                  <a:cubicBezTo>
                    <a:pt x="39" y="16"/>
                    <a:pt x="39" y="16"/>
                    <a:pt x="39" y="16"/>
                  </a:cubicBezTo>
                  <a:cubicBezTo>
                    <a:pt x="39" y="13"/>
                    <a:pt x="39" y="10"/>
                    <a:pt x="39" y="7"/>
                  </a:cubicBezTo>
                  <a:cubicBezTo>
                    <a:pt x="40" y="1"/>
                    <a:pt x="40" y="1"/>
                    <a:pt x="40" y="1"/>
                  </a:cubicBezTo>
                  <a:cubicBezTo>
                    <a:pt x="39" y="1"/>
                    <a:pt x="39" y="1"/>
                    <a:pt x="39" y="1"/>
                  </a:cubicBezTo>
                  <a:cubicBezTo>
                    <a:pt x="39" y="1"/>
                    <a:pt x="38"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293"/>
            <p:cNvSpPr/>
            <p:nvPr/>
          </p:nvSpPr>
          <p:spPr bwMode="auto">
            <a:xfrm>
              <a:off x="7515" y="344"/>
              <a:ext cx="74" cy="52"/>
            </a:xfrm>
            <a:custGeom>
              <a:gdLst>
                <a:gd name="T0" fmla="*/ 27 w 31"/>
                <a:gd name="T1" fmla="*/ 0 h 22"/>
                <a:gd name="T2" fmla="*/ 27 w 31"/>
                <a:gd name="T3" fmla="*/ 0 h 22"/>
                <a:gd name="T4" fmla="*/ 26 w 31"/>
                <a:gd name="T5" fmla="*/ 1 h 22"/>
                <a:gd name="T6" fmla="*/ 25 w 31"/>
                <a:gd name="T7" fmla="*/ 2 h 22"/>
                <a:gd name="T8" fmla="*/ 23 w 31"/>
                <a:gd name="T9" fmla="*/ 3 h 22"/>
                <a:gd name="T10" fmla="*/ 23 w 31"/>
                <a:gd name="T11" fmla="*/ 3 h 22"/>
                <a:gd name="T12" fmla="*/ 19 w 31"/>
                <a:gd name="T13" fmla="*/ 6 h 22"/>
                <a:gd name="T14" fmla="*/ 18 w 31"/>
                <a:gd name="T15" fmla="*/ 7 h 22"/>
                <a:gd name="T16" fmla="*/ 16 w 31"/>
                <a:gd name="T17" fmla="*/ 7 h 22"/>
                <a:gd name="T18" fmla="*/ 14 w 31"/>
                <a:gd name="T19" fmla="*/ 8 h 22"/>
                <a:gd name="T20" fmla="*/ 9 w 31"/>
                <a:gd name="T21" fmla="*/ 10 h 22"/>
                <a:gd name="T22" fmla="*/ 6 w 31"/>
                <a:gd name="T23" fmla="*/ 9 h 22"/>
                <a:gd name="T24" fmla="*/ 6 w 31"/>
                <a:gd name="T25" fmla="*/ 9 h 22"/>
                <a:gd name="T26" fmla="*/ 5 w 31"/>
                <a:gd name="T27" fmla="*/ 9 h 22"/>
                <a:gd name="T28" fmla="*/ 2 w 31"/>
                <a:gd name="T29" fmla="*/ 7 h 22"/>
                <a:gd name="T30" fmla="*/ 2 w 31"/>
                <a:gd name="T31" fmla="*/ 8 h 22"/>
                <a:gd name="T32" fmla="*/ 1 w 31"/>
                <a:gd name="T33" fmla="*/ 10 h 22"/>
                <a:gd name="T34" fmla="*/ 2 w 31"/>
                <a:gd name="T35" fmla="*/ 16 h 22"/>
                <a:gd name="T36" fmla="*/ 2 w 31"/>
                <a:gd name="T37" fmla="*/ 17 h 22"/>
                <a:gd name="T38" fmla="*/ 3 w 31"/>
                <a:gd name="T39" fmla="*/ 19 h 22"/>
                <a:gd name="T40" fmla="*/ 3 w 31"/>
                <a:gd name="T41" fmla="*/ 21 h 22"/>
                <a:gd name="T42" fmla="*/ 6 w 31"/>
                <a:gd name="T43" fmla="*/ 19 h 22"/>
                <a:gd name="T44" fmla="*/ 7 w 31"/>
                <a:gd name="T45" fmla="*/ 18 h 22"/>
                <a:gd name="T46" fmla="*/ 8 w 31"/>
                <a:gd name="T47" fmla="*/ 18 h 22"/>
                <a:gd name="T48" fmla="*/ 15 w 31"/>
                <a:gd name="T49" fmla="*/ 17 h 22"/>
                <a:gd name="T50" fmla="*/ 30 w 31"/>
                <a:gd name="T51" fmla="*/ 22 h 22"/>
                <a:gd name="T52" fmla="*/ 31 w 31"/>
                <a:gd name="T53" fmla="*/ 21 h 22"/>
                <a:gd name="T54" fmla="*/ 30 w 31"/>
                <a:gd name="T55" fmla="*/ 21 h 22"/>
                <a:gd name="T56" fmla="*/ 30 w 31"/>
                <a:gd name="T57" fmla="*/ 21 h 22"/>
                <a:gd name="T58" fmla="*/ 24 w 31"/>
                <a:gd name="T59" fmla="*/ 16 h 22"/>
                <a:gd name="T60" fmla="*/ 20 w 31"/>
                <a:gd name="T61" fmla="*/ 14 h 22"/>
                <a:gd name="T62" fmla="*/ 23 w 31"/>
                <a:gd name="T63" fmla="*/ 11 h 22"/>
                <a:gd name="T64" fmla="*/ 31 w 31"/>
                <a:gd name="T65" fmla="*/ 5 h 22"/>
                <a:gd name="T66" fmla="*/ 27 w 31"/>
                <a:gd name="T67"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22">
                  <a:moveTo>
                    <a:pt x="27" y="0"/>
                  </a:moveTo>
                  <a:cubicBezTo>
                    <a:pt x="27" y="0"/>
                    <a:pt x="27" y="0"/>
                    <a:pt x="27" y="0"/>
                  </a:cubicBezTo>
                  <a:cubicBezTo>
                    <a:pt x="26" y="1"/>
                    <a:pt x="26" y="1"/>
                    <a:pt x="26" y="1"/>
                  </a:cubicBezTo>
                  <a:cubicBezTo>
                    <a:pt x="26" y="1"/>
                    <a:pt x="25" y="1"/>
                    <a:pt x="25" y="2"/>
                  </a:cubicBezTo>
                  <a:cubicBezTo>
                    <a:pt x="24" y="2"/>
                    <a:pt x="24" y="2"/>
                    <a:pt x="23" y="3"/>
                  </a:cubicBezTo>
                  <a:cubicBezTo>
                    <a:pt x="23" y="3"/>
                    <a:pt x="23" y="3"/>
                    <a:pt x="23" y="3"/>
                  </a:cubicBezTo>
                  <a:cubicBezTo>
                    <a:pt x="21" y="4"/>
                    <a:pt x="20" y="5"/>
                    <a:pt x="19" y="6"/>
                  </a:cubicBezTo>
                  <a:cubicBezTo>
                    <a:pt x="18" y="7"/>
                    <a:pt x="18" y="7"/>
                    <a:pt x="18" y="7"/>
                  </a:cubicBezTo>
                  <a:cubicBezTo>
                    <a:pt x="17" y="7"/>
                    <a:pt x="17" y="7"/>
                    <a:pt x="16" y="7"/>
                  </a:cubicBezTo>
                  <a:cubicBezTo>
                    <a:pt x="16" y="7"/>
                    <a:pt x="15" y="8"/>
                    <a:pt x="14" y="8"/>
                  </a:cubicBezTo>
                  <a:cubicBezTo>
                    <a:pt x="13" y="9"/>
                    <a:pt x="11" y="10"/>
                    <a:pt x="9" y="10"/>
                  </a:cubicBezTo>
                  <a:cubicBezTo>
                    <a:pt x="8" y="10"/>
                    <a:pt x="7" y="10"/>
                    <a:pt x="6" y="9"/>
                  </a:cubicBezTo>
                  <a:cubicBezTo>
                    <a:pt x="6" y="9"/>
                    <a:pt x="6" y="9"/>
                    <a:pt x="6" y="9"/>
                  </a:cubicBezTo>
                  <a:cubicBezTo>
                    <a:pt x="5" y="9"/>
                    <a:pt x="5" y="9"/>
                    <a:pt x="5" y="9"/>
                  </a:cubicBezTo>
                  <a:cubicBezTo>
                    <a:pt x="4" y="8"/>
                    <a:pt x="3" y="8"/>
                    <a:pt x="2" y="7"/>
                  </a:cubicBezTo>
                  <a:cubicBezTo>
                    <a:pt x="2" y="8"/>
                    <a:pt x="2" y="8"/>
                    <a:pt x="2" y="8"/>
                  </a:cubicBezTo>
                  <a:cubicBezTo>
                    <a:pt x="1" y="9"/>
                    <a:pt x="1" y="10"/>
                    <a:pt x="1" y="10"/>
                  </a:cubicBezTo>
                  <a:cubicBezTo>
                    <a:pt x="0" y="11"/>
                    <a:pt x="1" y="14"/>
                    <a:pt x="2" y="16"/>
                  </a:cubicBezTo>
                  <a:cubicBezTo>
                    <a:pt x="2" y="17"/>
                    <a:pt x="2" y="17"/>
                    <a:pt x="2" y="17"/>
                  </a:cubicBezTo>
                  <a:cubicBezTo>
                    <a:pt x="2" y="17"/>
                    <a:pt x="2" y="18"/>
                    <a:pt x="3" y="19"/>
                  </a:cubicBezTo>
                  <a:cubicBezTo>
                    <a:pt x="3" y="21"/>
                    <a:pt x="3" y="21"/>
                    <a:pt x="3" y="21"/>
                  </a:cubicBezTo>
                  <a:cubicBezTo>
                    <a:pt x="4" y="20"/>
                    <a:pt x="5" y="19"/>
                    <a:pt x="6" y="19"/>
                  </a:cubicBezTo>
                  <a:cubicBezTo>
                    <a:pt x="6" y="19"/>
                    <a:pt x="7" y="19"/>
                    <a:pt x="7" y="18"/>
                  </a:cubicBezTo>
                  <a:cubicBezTo>
                    <a:pt x="8" y="18"/>
                    <a:pt x="8" y="18"/>
                    <a:pt x="8" y="18"/>
                  </a:cubicBezTo>
                  <a:cubicBezTo>
                    <a:pt x="11" y="17"/>
                    <a:pt x="13" y="17"/>
                    <a:pt x="15" y="17"/>
                  </a:cubicBezTo>
                  <a:cubicBezTo>
                    <a:pt x="20" y="17"/>
                    <a:pt x="27" y="20"/>
                    <a:pt x="30" y="22"/>
                  </a:cubicBezTo>
                  <a:cubicBezTo>
                    <a:pt x="31" y="21"/>
                    <a:pt x="31" y="21"/>
                    <a:pt x="31" y="21"/>
                  </a:cubicBezTo>
                  <a:cubicBezTo>
                    <a:pt x="30" y="21"/>
                    <a:pt x="30" y="21"/>
                    <a:pt x="30" y="21"/>
                  </a:cubicBezTo>
                  <a:cubicBezTo>
                    <a:pt x="30" y="21"/>
                    <a:pt x="30" y="21"/>
                    <a:pt x="30" y="21"/>
                  </a:cubicBezTo>
                  <a:cubicBezTo>
                    <a:pt x="28" y="19"/>
                    <a:pt x="26" y="18"/>
                    <a:pt x="24" y="16"/>
                  </a:cubicBezTo>
                  <a:cubicBezTo>
                    <a:pt x="20" y="14"/>
                    <a:pt x="20" y="14"/>
                    <a:pt x="20" y="14"/>
                  </a:cubicBezTo>
                  <a:cubicBezTo>
                    <a:pt x="23" y="11"/>
                    <a:pt x="23" y="11"/>
                    <a:pt x="23" y="11"/>
                  </a:cubicBezTo>
                  <a:cubicBezTo>
                    <a:pt x="25" y="9"/>
                    <a:pt x="28" y="7"/>
                    <a:pt x="31" y="5"/>
                  </a:cubicBez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294"/>
            <p:cNvSpPr>
              <a:spLocks noEditPoints="1"/>
            </p:cNvSpPr>
            <p:nvPr/>
          </p:nvSpPr>
          <p:spPr bwMode="auto">
            <a:xfrm>
              <a:off x="7522" y="228"/>
              <a:ext cx="156" cy="220"/>
            </a:xfrm>
            <a:custGeom>
              <a:gdLst>
                <a:gd name="T0" fmla="*/ 65 w 66"/>
                <a:gd name="T1" fmla="*/ 65 h 93"/>
                <a:gd name="T2" fmla="*/ 61 w 66"/>
                <a:gd name="T3" fmla="*/ 70 h 93"/>
                <a:gd name="T4" fmla="*/ 54 w 66"/>
                <a:gd name="T5" fmla="*/ 72 h 93"/>
                <a:gd name="T6" fmla="*/ 47 w 66"/>
                <a:gd name="T7" fmla="*/ 70 h 93"/>
                <a:gd name="T8" fmla="*/ 45 w 66"/>
                <a:gd name="T9" fmla="*/ 69 h 93"/>
                <a:gd name="T10" fmla="*/ 44 w 66"/>
                <a:gd name="T11" fmla="*/ 69 h 93"/>
                <a:gd name="T12" fmla="*/ 42 w 66"/>
                <a:gd name="T13" fmla="*/ 69 h 93"/>
                <a:gd name="T14" fmla="*/ 39 w 66"/>
                <a:gd name="T15" fmla="*/ 69 h 93"/>
                <a:gd name="T16" fmla="*/ 37 w 66"/>
                <a:gd name="T17" fmla="*/ 70 h 93"/>
                <a:gd name="T18" fmla="*/ 34 w 66"/>
                <a:gd name="T19" fmla="*/ 73 h 93"/>
                <a:gd name="T20" fmla="*/ 32 w 66"/>
                <a:gd name="T21" fmla="*/ 74 h 93"/>
                <a:gd name="T22" fmla="*/ 31 w 66"/>
                <a:gd name="T23" fmla="*/ 75 h 93"/>
                <a:gd name="T24" fmla="*/ 29 w 66"/>
                <a:gd name="T25" fmla="*/ 76 h 93"/>
                <a:gd name="T26" fmla="*/ 28 w 66"/>
                <a:gd name="T27" fmla="*/ 77 h 93"/>
                <a:gd name="T28" fmla="*/ 28 w 66"/>
                <a:gd name="T29" fmla="*/ 78 h 93"/>
                <a:gd name="T30" fmla="*/ 27 w 66"/>
                <a:gd name="T31" fmla="*/ 78 h 93"/>
                <a:gd name="T32" fmla="*/ 22 w 66"/>
                <a:gd name="T33" fmla="*/ 79 h 93"/>
                <a:gd name="T34" fmla="*/ 22 w 66"/>
                <a:gd name="T35" fmla="*/ 75 h 93"/>
                <a:gd name="T36" fmla="*/ 7 w 66"/>
                <a:gd name="T37" fmla="*/ 73 h 93"/>
                <a:gd name="T38" fmla="*/ 4 w 66"/>
                <a:gd name="T39" fmla="*/ 74 h 93"/>
                <a:gd name="T40" fmla="*/ 3 w 66"/>
                <a:gd name="T41" fmla="*/ 76 h 93"/>
                <a:gd name="T42" fmla="*/ 0 w 66"/>
                <a:gd name="T43" fmla="*/ 80 h 93"/>
                <a:gd name="T44" fmla="*/ 13 w 66"/>
                <a:gd name="T45" fmla="*/ 84 h 93"/>
                <a:gd name="T46" fmla="*/ 37 w 66"/>
                <a:gd name="T47" fmla="*/ 87 h 93"/>
                <a:gd name="T48" fmla="*/ 38 w 66"/>
                <a:gd name="T49" fmla="*/ 87 h 93"/>
                <a:gd name="T50" fmla="*/ 45 w 66"/>
                <a:gd name="T51" fmla="*/ 84 h 93"/>
                <a:gd name="T52" fmla="*/ 51 w 66"/>
                <a:gd name="T53" fmla="*/ 81 h 93"/>
                <a:gd name="T54" fmla="*/ 52 w 66"/>
                <a:gd name="T55" fmla="*/ 86 h 93"/>
                <a:gd name="T56" fmla="*/ 58 w 66"/>
                <a:gd name="T57" fmla="*/ 91 h 93"/>
                <a:gd name="T58" fmla="*/ 66 w 66"/>
                <a:gd name="T59" fmla="*/ 93 h 93"/>
                <a:gd name="T60" fmla="*/ 66 w 66"/>
                <a:gd name="T61" fmla="*/ 65 h 93"/>
                <a:gd name="T62" fmla="*/ 63 w 66"/>
                <a:gd name="T63" fmla="*/ 0 h 93"/>
                <a:gd name="T64" fmla="*/ 51 w 66"/>
                <a:gd name="T65" fmla="*/ 0 h 93"/>
                <a:gd name="T66" fmla="*/ 48 w 66"/>
                <a:gd name="T67" fmla="*/ 0 h 93"/>
                <a:gd name="T68" fmla="*/ 47 w 66"/>
                <a:gd name="T69" fmla="*/ 0 h 93"/>
                <a:gd name="T70" fmla="*/ 44 w 66"/>
                <a:gd name="T71" fmla="*/ 3 h 93"/>
                <a:gd name="T72" fmla="*/ 44 w 66"/>
                <a:gd name="T73" fmla="*/ 3 h 93"/>
                <a:gd name="T74" fmla="*/ 41 w 66"/>
                <a:gd name="T75" fmla="*/ 6 h 93"/>
                <a:gd name="T76" fmla="*/ 39 w 66"/>
                <a:gd name="T77" fmla="*/ 9 h 93"/>
                <a:gd name="T78" fmla="*/ 42 w 66"/>
                <a:gd name="T79" fmla="*/ 9 h 93"/>
                <a:gd name="T80" fmla="*/ 51 w 66"/>
                <a:gd name="T81" fmla="*/ 11 h 93"/>
                <a:gd name="T82" fmla="*/ 23 w 66"/>
                <a:gd name="T83" fmla="*/ 30 h 93"/>
                <a:gd name="T84" fmla="*/ 24 w 66"/>
                <a:gd name="T85" fmla="*/ 30 h 93"/>
                <a:gd name="T86" fmla="*/ 26 w 66"/>
                <a:gd name="T87" fmla="*/ 31 h 93"/>
                <a:gd name="T88" fmla="*/ 32 w 66"/>
                <a:gd name="T89" fmla="*/ 32 h 93"/>
                <a:gd name="T90" fmla="*/ 34 w 66"/>
                <a:gd name="T91" fmla="*/ 37 h 93"/>
                <a:gd name="T92" fmla="*/ 44 w 66"/>
                <a:gd name="T93" fmla="*/ 39 h 93"/>
                <a:gd name="T94" fmla="*/ 46 w 66"/>
                <a:gd name="T95" fmla="*/ 32 h 93"/>
                <a:gd name="T96" fmla="*/ 49 w 66"/>
                <a:gd name="T97" fmla="*/ 29 h 93"/>
                <a:gd name="T98" fmla="*/ 61 w 66"/>
                <a:gd name="T99" fmla="*/ 37 h 93"/>
                <a:gd name="T100" fmla="*/ 61 w 66"/>
                <a:gd name="T101" fmla="*/ 38 h 93"/>
                <a:gd name="T102" fmla="*/ 66 w 66"/>
                <a:gd name="T103" fmla="*/ 38 h 93"/>
                <a:gd name="T104" fmla="*/ 66 w 66"/>
                <a:gd name="T105" fmla="*/ 0 h 93"/>
                <a:gd name="T106" fmla="*/ 63 w 66"/>
                <a:gd name="T107"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 h="93">
                  <a:moveTo>
                    <a:pt x="65" y="65"/>
                  </a:moveTo>
                  <a:cubicBezTo>
                    <a:pt x="65" y="65"/>
                    <a:pt x="65" y="65"/>
                    <a:pt x="65" y="65"/>
                  </a:cubicBezTo>
                  <a:cubicBezTo>
                    <a:pt x="64" y="66"/>
                    <a:pt x="64" y="66"/>
                    <a:pt x="64" y="66"/>
                  </a:cubicBezTo>
                  <a:cubicBezTo>
                    <a:pt x="64" y="68"/>
                    <a:pt x="63" y="69"/>
                    <a:pt x="61" y="70"/>
                  </a:cubicBezTo>
                  <a:cubicBezTo>
                    <a:pt x="60" y="71"/>
                    <a:pt x="60" y="71"/>
                    <a:pt x="60" y="71"/>
                  </a:cubicBezTo>
                  <a:cubicBezTo>
                    <a:pt x="58" y="71"/>
                    <a:pt x="56" y="72"/>
                    <a:pt x="54" y="72"/>
                  </a:cubicBezTo>
                  <a:cubicBezTo>
                    <a:pt x="53" y="72"/>
                    <a:pt x="51" y="72"/>
                    <a:pt x="50" y="71"/>
                  </a:cubicBezTo>
                  <a:cubicBezTo>
                    <a:pt x="49" y="70"/>
                    <a:pt x="48" y="70"/>
                    <a:pt x="47" y="70"/>
                  </a:cubicBezTo>
                  <a:cubicBezTo>
                    <a:pt x="46" y="69"/>
                    <a:pt x="46" y="69"/>
                    <a:pt x="46" y="69"/>
                  </a:cubicBezTo>
                  <a:cubicBezTo>
                    <a:pt x="46" y="69"/>
                    <a:pt x="45" y="69"/>
                    <a:pt x="45" y="69"/>
                  </a:cubicBezTo>
                  <a:cubicBezTo>
                    <a:pt x="45" y="69"/>
                    <a:pt x="45" y="69"/>
                    <a:pt x="45" y="69"/>
                  </a:cubicBezTo>
                  <a:cubicBezTo>
                    <a:pt x="45" y="69"/>
                    <a:pt x="44" y="69"/>
                    <a:pt x="44" y="69"/>
                  </a:cubicBezTo>
                  <a:cubicBezTo>
                    <a:pt x="44" y="69"/>
                    <a:pt x="44" y="69"/>
                    <a:pt x="44" y="69"/>
                  </a:cubicBezTo>
                  <a:cubicBezTo>
                    <a:pt x="43" y="69"/>
                    <a:pt x="42" y="69"/>
                    <a:pt x="42" y="69"/>
                  </a:cubicBezTo>
                  <a:cubicBezTo>
                    <a:pt x="41" y="69"/>
                    <a:pt x="40" y="69"/>
                    <a:pt x="40" y="69"/>
                  </a:cubicBezTo>
                  <a:cubicBezTo>
                    <a:pt x="39" y="69"/>
                    <a:pt x="39" y="69"/>
                    <a:pt x="39" y="69"/>
                  </a:cubicBezTo>
                  <a:cubicBezTo>
                    <a:pt x="38" y="70"/>
                    <a:pt x="38" y="70"/>
                    <a:pt x="38" y="70"/>
                  </a:cubicBezTo>
                  <a:cubicBezTo>
                    <a:pt x="37" y="70"/>
                    <a:pt x="37" y="70"/>
                    <a:pt x="37" y="70"/>
                  </a:cubicBezTo>
                  <a:cubicBezTo>
                    <a:pt x="35" y="72"/>
                    <a:pt x="35" y="72"/>
                    <a:pt x="35" y="72"/>
                  </a:cubicBezTo>
                  <a:cubicBezTo>
                    <a:pt x="34" y="73"/>
                    <a:pt x="34" y="73"/>
                    <a:pt x="34" y="73"/>
                  </a:cubicBezTo>
                  <a:cubicBezTo>
                    <a:pt x="34" y="73"/>
                    <a:pt x="34" y="73"/>
                    <a:pt x="34" y="73"/>
                  </a:cubicBezTo>
                  <a:cubicBezTo>
                    <a:pt x="33" y="73"/>
                    <a:pt x="33" y="74"/>
                    <a:pt x="32" y="74"/>
                  </a:cubicBezTo>
                  <a:cubicBezTo>
                    <a:pt x="32" y="75"/>
                    <a:pt x="32" y="75"/>
                    <a:pt x="32" y="75"/>
                  </a:cubicBezTo>
                  <a:cubicBezTo>
                    <a:pt x="31" y="75"/>
                    <a:pt x="31" y="75"/>
                    <a:pt x="31" y="75"/>
                  </a:cubicBezTo>
                  <a:cubicBezTo>
                    <a:pt x="30" y="76"/>
                    <a:pt x="30" y="76"/>
                    <a:pt x="30" y="76"/>
                  </a:cubicBezTo>
                  <a:cubicBezTo>
                    <a:pt x="29" y="76"/>
                    <a:pt x="29" y="76"/>
                    <a:pt x="29" y="76"/>
                  </a:cubicBezTo>
                  <a:cubicBezTo>
                    <a:pt x="29" y="77"/>
                    <a:pt x="29" y="77"/>
                    <a:pt x="29" y="77"/>
                  </a:cubicBezTo>
                  <a:cubicBezTo>
                    <a:pt x="28" y="77"/>
                    <a:pt x="28" y="77"/>
                    <a:pt x="28" y="77"/>
                  </a:cubicBezTo>
                  <a:cubicBezTo>
                    <a:pt x="28" y="78"/>
                    <a:pt x="28" y="78"/>
                    <a:pt x="28" y="78"/>
                  </a:cubicBezTo>
                  <a:cubicBezTo>
                    <a:pt x="28" y="78"/>
                    <a:pt x="28" y="78"/>
                    <a:pt x="28" y="78"/>
                  </a:cubicBezTo>
                  <a:cubicBezTo>
                    <a:pt x="27" y="78"/>
                    <a:pt x="27" y="78"/>
                    <a:pt x="27" y="78"/>
                  </a:cubicBezTo>
                  <a:cubicBezTo>
                    <a:pt x="27" y="78"/>
                    <a:pt x="27" y="78"/>
                    <a:pt x="27" y="78"/>
                  </a:cubicBezTo>
                  <a:cubicBezTo>
                    <a:pt x="26" y="79"/>
                    <a:pt x="25" y="79"/>
                    <a:pt x="24" y="79"/>
                  </a:cubicBezTo>
                  <a:cubicBezTo>
                    <a:pt x="22" y="79"/>
                    <a:pt x="22" y="79"/>
                    <a:pt x="22" y="79"/>
                  </a:cubicBezTo>
                  <a:cubicBezTo>
                    <a:pt x="21" y="76"/>
                    <a:pt x="21" y="76"/>
                    <a:pt x="21" y="76"/>
                  </a:cubicBezTo>
                  <a:cubicBezTo>
                    <a:pt x="21" y="76"/>
                    <a:pt x="21" y="75"/>
                    <a:pt x="22" y="75"/>
                  </a:cubicBezTo>
                  <a:cubicBezTo>
                    <a:pt x="18" y="73"/>
                    <a:pt x="14" y="71"/>
                    <a:pt x="12" y="71"/>
                  </a:cubicBezTo>
                  <a:cubicBezTo>
                    <a:pt x="11" y="71"/>
                    <a:pt x="9" y="72"/>
                    <a:pt x="7" y="73"/>
                  </a:cubicBezTo>
                  <a:cubicBezTo>
                    <a:pt x="7" y="73"/>
                    <a:pt x="7" y="73"/>
                    <a:pt x="7" y="73"/>
                  </a:cubicBezTo>
                  <a:cubicBezTo>
                    <a:pt x="6" y="73"/>
                    <a:pt x="5" y="73"/>
                    <a:pt x="4" y="74"/>
                  </a:cubicBezTo>
                  <a:cubicBezTo>
                    <a:pt x="4" y="74"/>
                    <a:pt x="4" y="74"/>
                    <a:pt x="4" y="74"/>
                  </a:cubicBezTo>
                  <a:cubicBezTo>
                    <a:pt x="4" y="74"/>
                    <a:pt x="4" y="74"/>
                    <a:pt x="3" y="76"/>
                  </a:cubicBezTo>
                  <a:cubicBezTo>
                    <a:pt x="2" y="77"/>
                    <a:pt x="2" y="77"/>
                    <a:pt x="2" y="78"/>
                  </a:cubicBezTo>
                  <a:cubicBezTo>
                    <a:pt x="0" y="80"/>
                    <a:pt x="0" y="80"/>
                    <a:pt x="0" y="80"/>
                  </a:cubicBezTo>
                  <a:cubicBezTo>
                    <a:pt x="0" y="84"/>
                    <a:pt x="0" y="84"/>
                    <a:pt x="0" y="84"/>
                  </a:cubicBezTo>
                  <a:cubicBezTo>
                    <a:pt x="4" y="84"/>
                    <a:pt x="8" y="84"/>
                    <a:pt x="13" y="84"/>
                  </a:cubicBezTo>
                  <a:cubicBezTo>
                    <a:pt x="17" y="84"/>
                    <a:pt x="21" y="84"/>
                    <a:pt x="25" y="84"/>
                  </a:cubicBezTo>
                  <a:cubicBezTo>
                    <a:pt x="29" y="85"/>
                    <a:pt x="33" y="86"/>
                    <a:pt x="37" y="87"/>
                  </a:cubicBezTo>
                  <a:cubicBezTo>
                    <a:pt x="38" y="83"/>
                    <a:pt x="38" y="83"/>
                    <a:pt x="38" y="83"/>
                  </a:cubicBezTo>
                  <a:cubicBezTo>
                    <a:pt x="38" y="87"/>
                    <a:pt x="38" y="87"/>
                    <a:pt x="38" y="87"/>
                  </a:cubicBezTo>
                  <a:cubicBezTo>
                    <a:pt x="39" y="87"/>
                    <a:pt x="43" y="85"/>
                    <a:pt x="44" y="84"/>
                  </a:cubicBezTo>
                  <a:cubicBezTo>
                    <a:pt x="45" y="84"/>
                    <a:pt x="45" y="84"/>
                    <a:pt x="45" y="84"/>
                  </a:cubicBezTo>
                  <a:cubicBezTo>
                    <a:pt x="46" y="83"/>
                    <a:pt x="47" y="83"/>
                    <a:pt x="48" y="83"/>
                  </a:cubicBezTo>
                  <a:cubicBezTo>
                    <a:pt x="51" y="81"/>
                    <a:pt x="51" y="81"/>
                    <a:pt x="51" y="81"/>
                  </a:cubicBezTo>
                  <a:cubicBezTo>
                    <a:pt x="52" y="86"/>
                    <a:pt x="52" y="86"/>
                    <a:pt x="52" y="86"/>
                  </a:cubicBezTo>
                  <a:cubicBezTo>
                    <a:pt x="52" y="86"/>
                    <a:pt x="52" y="86"/>
                    <a:pt x="52" y="86"/>
                  </a:cubicBezTo>
                  <a:cubicBezTo>
                    <a:pt x="57" y="86"/>
                    <a:pt x="57" y="90"/>
                    <a:pt x="58" y="91"/>
                  </a:cubicBezTo>
                  <a:cubicBezTo>
                    <a:pt x="58" y="91"/>
                    <a:pt x="58" y="91"/>
                    <a:pt x="58" y="91"/>
                  </a:cubicBezTo>
                  <a:cubicBezTo>
                    <a:pt x="59" y="91"/>
                    <a:pt x="59" y="91"/>
                    <a:pt x="59" y="91"/>
                  </a:cubicBezTo>
                  <a:cubicBezTo>
                    <a:pt x="62" y="92"/>
                    <a:pt x="64" y="92"/>
                    <a:pt x="66" y="93"/>
                  </a:cubicBezTo>
                  <a:cubicBezTo>
                    <a:pt x="66" y="93"/>
                    <a:pt x="66" y="93"/>
                    <a:pt x="66" y="93"/>
                  </a:cubicBezTo>
                  <a:cubicBezTo>
                    <a:pt x="66" y="65"/>
                    <a:pt x="66" y="65"/>
                    <a:pt x="66" y="65"/>
                  </a:cubicBezTo>
                  <a:cubicBezTo>
                    <a:pt x="65" y="65"/>
                    <a:pt x="65" y="65"/>
                    <a:pt x="65" y="65"/>
                  </a:cubicBezTo>
                  <a:moveTo>
                    <a:pt x="63" y="0"/>
                  </a:moveTo>
                  <a:cubicBezTo>
                    <a:pt x="51" y="0"/>
                    <a:pt x="51" y="0"/>
                    <a:pt x="51" y="0"/>
                  </a:cubicBezTo>
                  <a:cubicBezTo>
                    <a:pt x="51" y="0"/>
                    <a:pt x="51" y="0"/>
                    <a:pt x="51" y="0"/>
                  </a:cubicBezTo>
                  <a:cubicBezTo>
                    <a:pt x="51" y="0"/>
                    <a:pt x="50" y="0"/>
                    <a:pt x="50" y="0"/>
                  </a:cubicBezTo>
                  <a:cubicBezTo>
                    <a:pt x="49" y="0"/>
                    <a:pt x="48" y="0"/>
                    <a:pt x="48" y="0"/>
                  </a:cubicBezTo>
                  <a:cubicBezTo>
                    <a:pt x="47" y="0"/>
                    <a:pt x="47" y="0"/>
                    <a:pt x="47" y="0"/>
                  </a:cubicBezTo>
                  <a:cubicBezTo>
                    <a:pt x="47" y="0"/>
                    <a:pt x="47" y="0"/>
                    <a:pt x="47" y="0"/>
                  </a:cubicBezTo>
                  <a:cubicBezTo>
                    <a:pt x="46" y="0"/>
                    <a:pt x="46" y="0"/>
                    <a:pt x="46" y="0"/>
                  </a:cubicBezTo>
                  <a:cubicBezTo>
                    <a:pt x="45" y="1"/>
                    <a:pt x="45" y="2"/>
                    <a:pt x="44" y="3"/>
                  </a:cubicBezTo>
                  <a:cubicBezTo>
                    <a:pt x="43" y="2"/>
                    <a:pt x="43" y="2"/>
                    <a:pt x="43" y="2"/>
                  </a:cubicBezTo>
                  <a:cubicBezTo>
                    <a:pt x="44" y="3"/>
                    <a:pt x="44" y="3"/>
                    <a:pt x="44" y="3"/>
                  </a:cubicBezTo>
                  <a:cubicBezTo>
                    <a:pt x="43" y="3"/>
                    <a:pt x="43" y="4"/>
                    <a:pt x="43" y="4"/>
                  </a:cubicBezTo>
                  <a:cubicBezTo>
                    <a:pt x="41" y="6"/>
                    <a:pt x="41" y="6"/>
                    <a:pt x="41" y="6"/>
                  </a:cubicBezTo>
                  <a:cubicBezTo>
                    <a:pt x="40" y="7"/>
                    <a:pt x="39" y="8"/>
                    <a:pt x="38" y="8"/>
                  </a:cubicBezTo>
                  <a:cubicBezTo>
                    <a:pt x="39" y="9"/>
                    <a:pt x="39" y="9"/>
                    <a:pt x="39" y="9"/>
                  </a:cubicBezTo>
                  <a:cubicBezTo>
                    <a:pt x="39" y="9"/>
                    <a:pt x="39" y="9"/>
                    <a:pt x="39" y="9"/>
                  </a:cubicBezTo>
                  <a:cubicBezTo>
                    <a:pt x="39" y="9"/>
                    <a:pt x="40" y="9"/>
                    <a:pt x="42" y="9"/>
                  </a:cubicBezTo>
                  <a:cubicBezTo>
                    <a:pt x="43" y="9"/>
                    <a:pt x="43" y="9"/>
                    <a:pt x="44" y="10"/>
                  </a:cubicBezTo>
                  <a:cubicBezTo>
                    <a:pt x="51" y="11"/>
                    <a:pt x="51" y="11"/>
                    <a:pt x="51" y="11"/>
                  </a:cubicBezTo>
                  <a:cubicBezTo>
                    <a:pt x="41" y="17"/>
                    <a:pt x="41" y="17"/>
                    <a:pt x="41" y="17"/>
                  </a:cubicBezTo>
                  <a:cubicBezTo>
                    <a:pt x="38" y="19"/>
                    <a:pt x="28" y="26"/>
                    <a:pt x="23" y="30"/>
                  </a:cubicBezTo>
                  <a:cubicBezTo>
                    <a:pt x="23" y="30"/>
                    <a:pt x="23" y="30"/>
                    <a:pt x="23" y="30"/>
                  </a:cubicBezTo>
                  <a:cubicBezTo>
                    <a:pt x="23" y="30"/>
                    <a:pt x="23" y="30"/>
                    <a:pt x="24" y="30"/>
                  </a:cubicBezTo>
                  <a:cubicBezTo>
                    <a:pt x="24" y="30"/>
                    <a:pt x="24" y="30"/>
                    <a:pt x="24" y="30"/>
                  </a:cubicBezTo>
                  <a:cubicBezTo>
                    <a:pt x="25" y="31"/>
                    <a:pt x="25" y="31"/>
                    <a:pt x="26" y="31"/>
                  </a:cubicBezTo>
                  <a:cubicBezTo>
                    <a:pt x="31" y="29"/>
                    <a:pt x="31" y="29"/>
                    <a:pt x="31" y="29"/>
                  </a:cubicBezTo>
                  <a:cubicBezTo>
                    <a:pt x="32" y="32"/>
                    <a:pt x="32" y="32"/>
                    <a:pt x="32" y="32"/>
                  </a:cubicBezTo>
                  <a:cubicBezTo>
                    <a:pt x="33" y="33"/>
                    <a:pt x="33" y="33"/>
                    <a:pt x="33" y="34"/>
                  </a:cubicBezTo>
                  <a:cubicBezTo>
                    <a:pt x="33" y="36"/>
                    <a:pt x="34" y="36"/>
                    <a:pt x="34" y="37"/>
                  </a:cubicBezTo>
                  <a:cubicBezTo>
                    <a:pt x="35" y="37"/>
                    <a:pt x="35" y="37"/>
                    <a:pt x="35" y="37"/>
                  </a:cubicBezTo>
                  <a:cubicBezTo>
                    <a:pt x="38" y="38"/>
                    <a:pt x="41" y="39"/>
                    <a:pt x="44" y="39"/>
                  </a:cubicBezTo>
                  <a:cubicBezTo>
                    <a:pt x="44" y="38"/>
                    <a:pt x="44" y="37"/>
                    <a:pt x="45" y="36"/>
                  </a:cubicBezTo>
                  <a:cubicBezTo>
                    <a:pt x="46" y="32"/>
                    <a:pt x="46" y="32"/>
                    <a:pt x="46" y="32"/>
                  </a:cubicBezTo>
                  <a:cubicBezTo>
                    <a:pt x="48" y="34"/>
                    <a:pt x="48" y="34"/>
                    <a:pt x="48" y="34"/>
                  </a:cubicBezTo>
                  <a:cubicBezTo>
                    <a:pt x="49" y="29"/>
                    <a:pt x="49" y="29"/>
                    <a:pt x="49" y="29"/>
                  </a:cubicBezTo>
                  <a:cubicBezTo>
                    <a:pt x="52" y="30"/>
                    <a:pt x="52" y="30"/>
                    <a:pt x="52" y="30"/>
                  </a:cubicBezTo>
                  <a:cubicBezTo>
                    <a:pt x="57" y="31"/>
                    <a:pt x="59" y="34"/>
                    <a:pt x="61" y="37"/>
                  </a:cubicBezTo>
                  <a:cubicBezTo>
                    <a:pt x="61" y="38"/>
                    <a:pt x="61" y="38"/>
                    <a:pt x="61" y="38"/>
                  </a:cubicBezTo>
                  <a:cubicBezTo>
                    <a:pt x="61" y="38"/>
                    <a:pt x="61" y="38"/>
                    <a:pt x="61" y="38"/>
                  </a:cubicBezTo>
                  <a:cubicBezTo>
                    <a:pt x="62" y="38"/>
                    <a:pt x="63" y="38"/>
                    <a:pt x="63" y="38"/>
                  </a:cubicBezTo>
                  <a:cubicBezTo>
                    <a:pt x="64" y="38"/>
                    <a:pt x="65" y="38"/>
                    <a:pt x="66" y="38"/>
                  </a:cubicBezTo>
                  <a:cubicBezTo>
                    <a:pt x="66" y="0"/>
                    <a:pt x="66" y="0"/>
                    <a:pt x="66" y="0"/>
                  </a:cubicBezTo>
                  <a:cubicBezTo>
                    <a:pt x="66" y="0"/>
                    <a:pt x="66" y="0"/>
                    <a:pt x="66" y="0"/>
                  </a:cubicBezTo>
                  <a:cubicBezTo>
                    <a:pt x="65" y="0"/>
                    <a:pt x="65" y="0"/>
                    <a:pt x="65" y="0"/>
                  </a:cubicBezTo>
                  <a:cubicBezTo>
                    <a:pt x="64" y="0"/>
                    <a:pt x="64"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295"/>
            <p:cNvSpPr>
              <a:spLocks noChangeArrowheads="1"/>
            </p:cNvSpPr>
            <p:nvPr/>
          </p:nvSpPr>
          <p:spPr bwMode="auto">
            <a:xfrm>
              <a:off x="7631" y="22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296"/>
            <p:cNvSpPr>
              <a:spLocks noChangeArrowheads="1"/>
            </p:cNvSpPr>
            <p:nvPr/>
          </p:nvSpPr>
          <p:spPr bwMode="auto">
            <a:xfrm>
              <a:off x="7631" y="22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297"/>
            <p:cNvSpPr>
              <a:spLocks noEditPoints="1"/>
            </p:cNvSpPr>
            <p:nvPr/>
          </p:nvSpPr>
          <p:spPr bwMode="auto">
            <a:xfrm>
              <a:off x="6783" y="13"/>
              <a:ext cx="895" cy="567"/>
            </a:xfrm>
            <a:custGeom>
              <a:gdLst>
                <a:gd name="T0" fmla="*/ 75 w 379"/>
                <a:gd name="T1" fmla="*/ 11 h 240"/>
                <a:gd name="T2" fmla="*/ 67 w 379"/>
                <a:gd name="T3" fmla="*/ 1 h 240"/>
                <a:gd name="T4" fmla="*/ 62 w 379"/>
                <a:gd name="T5" fmla="*/ 9 h 240"/>
                <a:gd name="T6" fmla="*/ 60 w 379"/>
                <a:gd name="T7" fmla="*/ 25 h 240"/>
                <a:gd name="T8" fmla="*/ 61 w 379"/>
                <a:gd name="T9" fmla="*/ 32 h 240"/>
                <a:gd name="T10" fmla="*/ 52 w 379"/>
                <a:gd name="T11" fmla="*/ 41 h 240"/>
                <a:gd name="T12" fmla="*/ 57 w 379"/>
                <a:gd name="T13" fmla="*/ 10 h 240"/>
                <a:gd name="T14" fmla="*/ 0 w 379"/>
                <a:gd name="T15" fmla="*/ 25 h 240"/>
                <a:gd name="T16" fmla="*/ 9 w 379"/>
                <a:gd name="T17" fmla="*/ 126 h 240"/>
                <a:gd name="T18" fmla="*/ 19 w 379"/>
                <a:gd name="T19" fmla="*/ 125 h 240"/>
                <a:gd name="T20" fmla="*/ 33 w 379"/>
                <a:gd name="T21" fmla="*/ 103 h 240"/>
                <a:gd name="T22" fmla="*/ 50 w 379"/>
                <a:gd name="T23" fmla="*/ 93 h 240"/>
                <a:gd name="T24" fmla="*/ 67 w 379"/>
                <a:gd name="T25" fmla="*/ 91 h 240"/>
                <a:gd name="T26" fmla="*/ 84 w 379"/>
                <a:gd name="T27" fmla="*/ 98 h 240"/>
                <a:gd name="T28" fmla="*/ 99 w 379"/>
                <a:gd name="T29" fmla="*/ 118 h 240"/>
                <a:gd name="T30" fmla="*/ 99 w 379"/>
                <a:gd name="T31" fmla="*/ 126 h 240"/>
                <a:gd name="T32" fmla="*/ 120 w 379"/>
                <a:gd name="T33" fmla="*/ 130 h 240"/>
                <a:gd name="T34" fmla="*/ 145 w 379"/>
                <a:gd name="T35" fmla="*/ 149 h 240"/>
                <a:gd name="T36" fmla="*/ 157 w 379"/>
                <a:gd name="T37" fmla="*/ 167 h 240"/>
                <a:gd name="T38" fmla="*/ 206 w 379"/>
                <a:gd name="T39" fmla="*/ 199 h 240"/>
                <a:gd name="T40" fmla="*/ 226 w 379"/>
                <a:gd name="T41" fmla="*/ 211 h 240"/>
                <a:gd name="T42" fmla="*/ 251 w 379"/>
                <a:gd name="T43" fmla="*/ 222 h 240"/>
                <a:gd name="T44" fmla="*/ 255 w 379"/>
                <a:gd name="T45" fmla="*/ 235 h 240"/>
                <a:gd name="T46" fmla="*/ 268 w 379"/>
                <a:gd name="T47" fmla="*/ 240 h 240"/>
                <a:gd name="T48" fmla="*/ 273 w 379"/>
                <a:gd name="T49" fmla="*/ 234 h 240"/>
                <a:gd name="T50" fmla="*/ 284 w 379"/>
                <a:gd name="T51" fmla="*/ 214 h 240"/>
                <a:gd name="T52" fmla="*/ 276 w 379"/>
                <a:gd name="T53" fmla="*/ 195 h 240"/>
                <a:gd name="T54" fmla="*/ 268 w 379"/>
                <a:gd name="T55" fmla="*/ 175 h 240"/>
                <a:gd name="T56" fmla="*/ 289 w 379"/>
                <a:gd name="T57" fmla="*/ 175 h 240"/>
                <a:gd name="T58" fmla="*/ 303 w 379"/>
                <a:gd name="T59" fmla="*/ 156 h 240"/>
                <a:gd name="T60" fmla="*/ 311 w 379"/>
                <a:gd name="T61" fmla="*/ 141 h 240"/>
                <a:gd name="T62" fmla="*/ 319 w 379"/>
                <a:gd name="T63" fmla="*/ 144 h 240"/>
                <a:gd name="T64" fmla="*/ 329 w 379"/>
                <a:gd name="T65" fmla="*/ 139 h 240"/>
                <a:gd name="T66" fmla="*/ 347 w 379"/>
                <a:gd name="T67" fmla="*/ 147 h 240"/>
                <a:gd name="T68" fmla="*/ 351 w 379"/>
                <a:gd name="T69" fmla="*/ 155 h 240"/>
                <a:gd name="T70" fmla="*/ 370 w 379"/>
                <a:gd name="T71" fmla="*/ 157 h 240"/>
                <a:gd name="T72" fmla="*/ 377 w 379"/>
                <a:gd name="T73" fmla="*/ 150 h 240"/>
                <a:gd name="T74" fmla="*/ 375 w 379"/>
                <a:gd name="T75" fmla="*/ 137 h 240"/>
                <a:gd name="T76" fmla="*/ 367 w 379"/>
                <a:gd name="T77" fmla="*/ 128 h 240"/>
                <a:gd name="T78" fmla="*/ 363 w 379"/>
                <a:gd name="T79" fmla="*/ 137 h 240"/>
                <a:gd name="T80" fmla="*/ 341 w 379"/>
                <a:gd name="T81" fmla="*/ 128 h 240"/>
                <a:gd name="T82" fmla="*/ 330 w 379"/>
                <a:gd name="T83" fmla="*/ 126 h 240"/>
                <a:gd name="T84" fmla="*/ 311 w 379"/>
                <a:gd name="T85" fmla="*/ 128 h 240"/>
                <a:gd name="T86" fmla="*/ 297 w 379"/>
                <a:gd name="T87" fmla="*/ 142 h 240"/>
                <a:gd name="T88" fmla="*/ 292 w 379"/>
                <a:gd name="T89" fmla="*/ 151 h 240"/>
                <a:gd name="T90" fmla="*/ 278 w 379"/>
                <a:gd name="T91" fmla="*/ 140 h 240"/>
                <a:gd name="T92" fmla="*/ 273 w 379"/>
                <a:gd name="T93" fmla="*/ 135 h 240"/>
                <a:gd name="T94" fmla="*/ 245 w 379"/>
                <a:gd name="T95" fmla="*/ 127 h 240"/>
                <a:gd name="T96" fmla="*/ 237 w 379"/>
                <a:gd name="T97" fmla="*/ 112 h 240"/>
                <a:gd name="T98" fmla="*/ 231 w 379"/>
                <a:gd name="T99" fmla="*/ 94 h 240"/>
                <a:gd name="T100" fmla="*/ 224 w 379"/>
                <a:gd name="T101" fmla="*/ 80 h 240"/>
                <a:gd name="T102" fmla="*/ 204 w 379"/>
                <a:gd name="T103" fmla="*/ 64 h 240"/>
                <a:gd name="T104" fmla="*/ 181 w 379"/>
                <a:gd name="T105" fmla="*/ 66 h 240"/>
                <a:gd name="T106" fmla="*/ 135 w 379"/>
                <a:gd name="T107" fmla="*/ 67 h 240"/>
                <a:gd name="T108" fmla="*/ 94 w 379"/>
                <a:gd name="T109" fmla="*/ 31 h 240"/>
                <a:gd name="T110" fmla="*/ 84 w 379"/>
                <a:gd name="T111" fmla="*/ 50 h 240"/>
                <a:gd name="T112" fmla="*/ 79 w 379"/>
                <a:gd name="T113" fmla="*/ 19 h 240"/>
                <a:gd name="T114" fmla="*/ 77 w 379"/>
                <a:gd name="T115" fmla="*/ 11 h 2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9" h="240">
                  <a:moveTo>
                    <a:pt x="75" y="11"/>
                  </a:moveTo>
                  <a:cubicBezTo>
                    <a:pt x="75" y="11"/>
                    <a:pt x="75" y="11"/>
                    <a:pt x="75" y="11"/>
                  </a:cubicBezTo>
                  <a:cubicBezTo>
                    <a:pt x="75" y="11"/>
                    <a:pt x="75" y="11"/>
                    <a:pt x="75" y="11"/>
                  </a:cubicBezTo>
                  <a:cubicBezTo>
                    <a:pt x="75" y="11"/>
                    <a:pt x="75" y="11"/>
                    <a:pt x="75" y="11"/>
                  </a:cubicBezTo>
                  <a:moveTo>
                    <a:pt x="75" y="13"/>
                  </a:moveTo>
                  <a:cubicBezTo>
                    <a:pt x="75" y="13"/>
                    <a:pt x="75" y="13"/>
                    <a:pt x="75" y="13"/>
                  </a:cubicBezTo>
                  <a:cubicBezTo>
                    <a:pt x="75" y="12"/>
                    <a:pt x="75" y="10"/>
                    <a:pt x="75" y="8"/>
                  </a:cubicBezTo>
                  <a:cubicBezTo>
                    <a:pt x="77" y="9"/>
                    <a:pt x="75" y="9"/>
                    <a:pt x="75" y="11"/>
                  </a:cubicBezTo>
                  <a:cubicBezTo>
                    <a:pt x="75" y="11"/>
                    <a:pt x="75" y="11"/>
                    <a:pt x="75" y="12"/>
                  </a:cubicBezTo>
                  <a:cubicBezTo>
                    <a:pt x="75" y="13"/>
                    <a:pt x="75" y="13"/>
                    <a:pt x="75" y="13"/>
                  </a:cubicBezTo>
                  <a:moveTo>
                    <a:pt x="70" y="0"/>
                  </a:moveTo>
                  <a:cubicBezTo>
                    <a:pt x="69" y="0"/>
                    <a:pt x="69" y="1"/>
                    <a:pt x="69" y="2"/>
                  </a:cubicBezTo>
                  <a:cubicBezTo>
                    <a:pt x="69" y="3"/>
                    <a:pt x="69" y="4"/>
                    <a:pt x="68" y="4"/>
                  </a:cubicBezTo>
                  <a:cubicBezTo>
                    <a:pt x="68" y="4"/>
                    <a:pt x="68" y="4"/>
                    <a:pt x="68" y="4"/>
                  </a:cubicBezTo>
                  <a:cubicBezTo>
                    <a:pt x="67" y="3"/>
                    <a:pt x="69" y="1"/>
                    <a:pt x="68" y="1"/>
                  </a:cubicBezTo>
                  <a:cubicBezTo>
                    <a:pt x="68" y="1"/>
                    <a:pt x="68" y="1"/>
                    <a:pt x="67" y="1"/>
                  </a:cubicBezTo>
                  <a:cubicBezTo>
                    <a:pt x="66" y="1"/>
                    <a:pt x="67" y="4"/>
                    <a:pt x="67" y="4"/>
                  </a:cubicBezTo>
                  <a:cubicBezTo>
                    <a:pt x="67" y="6"/>
                    <a:pt x="65" y="7"/>
                    <a:pt x="64" y="8"/>
                  </a:cubicBezTo>
                  <a:cubicBezTo>
                    <a:pt x="64" y="8"/>
                    <a:pt x="64" y="8"/>
                    <a:pt x="64" y="8"/>
                  </a:cubicBezTo>
                  <a:cubicBezTo>
                    <a:pt x="62" y="9"/>
                    <a:pt x="62" y="9"/>
                    <a:pt x="62" y="9"/>
                  </a:cubicBezTo>
                  <a:cubicBezTo>
                    <a:pt x="62" y="9"/>
                    <a:pt x="62" y="9"/>
                    <a:pt x="62" y="9"/>
                  </a:cubicBezTo>
                  <a:cubicBezTo>
                    <a:pt x="62" y="9"/>
                    <a:pt x="62" y="9"/>
                    <a:pt x="62" y="9"/>
                  </a:cubicBezTo>
                  <a:cubicBezTo>
                    <a:pt x="62" y="9"/>
                    <a:pt x="62" y="9"/>
                    <a:pt x="62" y="9"/>
                  </a:cubicBezTo>
                  <a:cubicBezTo>
                    <a:pt x="62" y="9"/>
                    <a:pt x="62" y="9"/>
                    <a:pt x="62" y="9"/>
                  </a:cubicBezTo>
                  <a:cubicBezTo>
                    <a:pt x="62" y="9"/>
                    <a:pt x="62" y="9"/>
                    <a:pt x="62" y="9"/>
                  </a:cubicBezTo>
                  <a:cubicBezTo>
                    <a:pt x="61" y="11"/>
                    <a:pt x="61" y="11"/>
                    <a:pt x="61" y="11"/>
                  </a:cubicBezTo>
                  <a:cubicBezTo>
                    <a:pt x="61" y="11"/>
                    <a:pt x="61" y="11"/>
                    <a:pt x="61" y="11"/>
                  </a:cubicBezTo>
                  <a:cubicBezTo>
                    <a:pt x="60" y="13"/>
                    <a:pt x="60" y="14"/>
                    <a:pt x="60" y="16"/>
                  </a:cubicBezTo>
                  <a:cubicBezTo>
                    <a:pt x="61" y="17"/>
                    <a:pt x="62" y="18"/>
                    <a:pt x="62" y="19"/>
                  </a:cubicBezTo>
                  <a:cubicBezTo>
                    <a:pt x="62" y="20"/>
                    <a:pt x="60" y="21"/>
                    <a:pt x="59" y="22"/>
                  </a:cubicBezTo>
                  <a:cubicBezTo>
                    <a:pt x="59" y="23"/>
                    <a:pt x="58" y="25"/>
                    <a:pt x="59" y="25"/>
                  </a:cubicBezTo>
                  <a:cubicBezTo>
                    <a:pt x="60" y="25"/>
                    <a:pt x="60" y="25"/>
                    <a:pt x="60" y="25"/>
                  </a:cubicBezTo>
                  <a:cubicBezTo>
                    <a:pt x="61" y="24"/>
                    <a:pt x="63" y="23"/>
                    <a:pt x="63" y="23"/>
                  </a:cubicBezTo>
                  <a:cubicBezTo>
                    <a:pt x="63" y="23"/>
                    <a:pt x="63" y="23"/>
                    <a:pt x="62" y="24"/>
                  </a:cubicBezTo>
                  <a:cubicBezTo>
                    <a:pt x="63" y="25"/>
                    <a:pt x="62" y="25"/>
                    <a:pt x="61" y="26"/>
                  </a:cubicBezTo>
                  <a:cubicBezTo>
                    <a:pt x="61" y="26"/>
                    <a:pt x="61" y="27"/>
                    <a:pt x="61" y="28"/>
                  </a:cubicBezTo>
                  <a:cubicBezTo>
                    <a:pt x="61" y="31"/>
                    <a:pt x="63" y="30"/>
                    <a:pt x="63" y="32"/>
                  </a:cubicBezTo>
                  <a:cubicBezTo>
                    <a:pt x="63" y="32"/>
                    <a:pt x="63" y="32"/>
                    <a:pt x="62" y="32"/>
                  </a:cubicBezTo>
                  <a:cubicBezTo>
                    <a:pt x="62" y="32"/>
                    <a:pt x="62" y="32"/>
                    <a:pt x="62" y="32"/>
                  </a:cubicBezTo>
                  <a:cubicBezTo>
                    <a:pt x="61" y="32"/>
                    <a:pt x="61" y="32"/>
                    <a:pt x="61" y="32"/>
                  </a:cubicBezTo>
                  <a:cubicBezTo>
                    <a:pt x="61" y="32"/>
                    <a:pt x="61" y="32"/>
                    <a:pt x="60" y="32"/>
                  </a:cubicBezTo>
                  <a:cubicBezTo>
                    <a:pt x="60" y="32"/>
                    <a:pt x="59" y="31"/>
                    <a:pt x="59" y="31"/>
                  </a:cubicBezTo>
                  <a:cubicBezTo>
                    <a:pt x="58" y="31"/>
                    <a:pt x="58" y="31"/>
                    <a:pt x="58" y="32"/>
                  </a:cubicBezTo>
                  <a:cubicBezTo>
                    <a:pt x="58" y="33"/>
                    <a:pt x="58" y="33"/>
                    <a:pt x="58" y="33"/>
                  </a:cubicBezTo>
                  <a:cubicBezTo>
                    <a:pt x="58" y="33"/>
                    <a:pt x="59" y="33"/>
                    <a:pt x="59" y="33"/>
                  </a:cubicBezTo>
                  <a:cubicBezTo>
                    <a:pt x="59" y="33"/>
                    <a:pt x="59" y="33"/>
                    <a:pt x="59" y="33"/>
                  </a:cubicBezTo>
                  <a:cubicBezTo>
                    <a:pt x="59" y="33"/>
                    <a:pt x="60" y="34"/>
                    <a:pt x="59" y="35"/>
                  </a:cubicBezTo>
                  <a:cubicBezTo>
                    <a:pt x="58" y="38"/>
                    <a:pt x="54" y="41"/>
                    <a:pt x="52" y="41"/>
                  </a:cubicBezTo>
                  <a:cubicBezTo>
                    <a:pt x="50" y="41"/>
                    <a:pt x="49" y="40"/>
                    <a:pt x="49" y="37"/>
                  </a:cubicBezTo>
                  <a:cubicBezTo>
                    <a:pt x="50" y="36"/>
                    <a:pt x="51" y="36"/>
                    <a:pt x="51" y="34"/>
                  </a:cubicBezTo>
                  <a:cubicBezTo>
                    <a:pt x="51" y="33"/>
                    <a:pt x="50" y="32"/>
                    <a:pt x="49" y="31"/>
                  </a:cubicBezTo>
                  <a:cubicBezTo>
                    <a:pt x="48" y="28"/>
                    <a:pt x="50" y="27"/>
                    <a:pt x="51" y="24"/>
                  </a:cubicBezTo>
                  <a:cubicBezTo>
                    <a:pt x="51" y="22"/>
                    <a:pt x="52" y="19"/>
                    <a:pt x="53" y="18"/>
                  </a:cubicBezTo>
                  <a:cubicBezTo>
                    <a:pt x="53" y="17"/>
                    <a:pt x="53" y="16"/>
                    <a:pt x="54" y="14"/>
                  </a:cubicBezTo>
                  <a:cubicBezTo>
                    <a:pt x="55" y="13"/>
                    <a:pt x="56" y="13"/>
                    <a:pt x="57" y="12"/>
                  </a:cubicBezTo>
                  <a:cubicBezTo>
                    <a:pt x="57" y="11"/>
                    <a:pt x="57" y="11"/>
                    <a:pt x="57" y="10"/>
                  </a:cubicBezTo>
                  <a:cubicBezTo>
                    <a:pt x="57" y="10"/>
                    <a:pt x="57" y="10"/>
                    <a:pt x="57" y="10"/>
                  </a:cubicBezTo>
                  <a:cubicBezTo>
                    <a:pt x="54" y="10"/>
                    <a:pt x="54" y="10"/>
                    <a:pt x="54" y="10"/>
                  </a:cubicBezTo>
                  <a:cubicBezTo>
                    <a:pt x="53" y="11"/>
                    <a:pt x="51" y="11"/>
                    <a:pt x="49" y="12"/>
                  </a:cubicBezTo>
                  <a:cubicBezTo>
                    <a:pt x="47" y="12"/>
                    <a:pt x="47" y="12"/>
                    <a:pt x="47" y="12"/>
                  </a:cubicBezTo>
                  <a:cubicBezTo>
                    <a:pt x="41" y="14"/>
                    <a:pt x="41" y="14"/>
                    <a:pt x="41" y="14"/>
                  </a:cubicBezTo>
                  <a:cubicBezTo>
                    <a:pt x="29" y="17"/>
                    <a:pt x="18" y="20"/>
                    <a:pt x="8" y="23"/>
                  </a:cubicBezTo>
                  <a:cubicBezTo>
                    <a:pt x="7" y="23"/>
                    <a:pt x="6" y="23"/>
                    <a:pt x="5" y="24"/>
                  </a:cubicBezTo>
                  <a:cubicBezTo>
                    <a:pt x="3" y="24"/>
                    <a:pt x="1" y="24"/>
                    <a:pt x="0" y="25"/>
                  </a:cubicBezTo>
                  <a:cubicBezTo>
                    <a:pt x="0" y="25"/>
                    <a:pt x="0" y="25"/>
                    <a:pt x="0" y="25"/>
                  </a:cubicBezTo>
                  <a:cubicBezTo>
                    <a:pt x="0" y="26"/>
                    <a:pt x="0" y="26"/>
                    <a:pt x="0" y="26"/>
                  </a:cubicBezTo>
                  <a:cubicBezTo>
                    <a:pt x="0" y="41"/>
                    <a:pt x="0" y="57"/>
                    <a:pt x="0" y="73"/>
                  </a:cubicBezTo>
                  <a:cubicBezTo>
                    <a:pt x="0" y="125"/>
                    <a:pt x="0" y="125"/>
                    <a:pt x="0" y="125"/>
                  </a:cubicBezTo>
                  <a:cubicBezTo>
                    <a:pt x="6" y="125"/>
                    <a:pt x="6" y="125"/>
                    <a:pt x="6" y="125"/>
                  </a:cubicBezTo>
                  <a:cubicBezTo>
                    <a:pt x="5" y="126"/>
                    <a:pt x="5" y="126"/>
                    <a:pt x="5" y="126"/>
                  </a:cubicBezTo>
                  <a:cubicBezTo>
                    <a:pt x="5" y="126"/>
                    <a:pt x="5" y="126"/>
                    <a:pt x="5" y="126"/>
                  </a:cubicBezTo>
                  <a:cubicBezTo>
                    <a:pt x="6" y="126"/>
                    <a:pt x="8" y="126"/>
                    <a:pt x="9" y="126"/>
                  </a:cubicBezTo>
                  <a:cubicBezTo>
                    <a:pt x="9" y="126"/>
                    <a:pt x="9" y="126"/>
                    <a:pt x="9" y="126"/>
                  </a:cubicBezTo>
                  <a:cubicBezTo>
                    <a:pt x="9" y="126"/>
                    <a:pt x="10" y="126"/>
                    <a:pt x="10" y="126"/>
                  </a:cubicBezTo>
                  <a:cubicBezTo>
                    <a:pt x="10" y="126"/>
                    <a:pt x="10" y="126"/>
                    <a:pt x="10" y="126"/>
                  </a:cubicBezTo>
                  <a:cubicBezTo>
                    <a:pt x="10" y="126"/>
                    <a:pt x="10" y="126"/>
                    <a:pt x="10" y="126"/>
                  </a:cubicBezTo>
                  <a:cubicBezTo>
                    <a:pt x="11" y="126"/>
                    <a:pt x="12" y="126"/>
                    <a:pt x="13" y="126"/>
                  </a:cubicBezTo>
                  <a:cubicBezTo>
                    <a:pt x="15" y="125"/>
                    <a:pt x="15" y="125"/>
                    <a:pt x="15" y="125"/>
                  </a:cubicBezTo>
                  <a:cubicBezTo>
                    <a:pt x="17" y="125"/>
                    <a:pt x="18" y="125"/>
                    <a:pt x="19" y="125"/>
                  </a:cubicBezTo>
                  <a:cubicBezTo>
                    <a:pt x="19" y="125"/>
                    <a:pt x="19" y="125"/>
                    <a:pt x="19" y="125"/>
                  </a:cubicBezTo>
                  <a:cubicBezTo>
                    <a:pt x="18" y="124"/>
                    <a:pt x="18" y="122"/>
                    <a:pt x="18" y="121"/>
                  </a:cubicBezTo>
                  <a:cubicBezTo>
                    <a:pt x="17" y="119"/>
                    <a:pt x="17" y="118"/>
                    <a:pt x="18" y="116"/>
                  </a:cubicBezTo>
                  <a:cubicBezTo>
                    <a:pt x="19" y="115"/>
                    <a:pt x="19" y="115"/>
                    <a:pt x="19" y="114"/>
                  </a:cubicBezTo>
                  <a:cubicBezTo>
                    <a:pt x="20" y="111"/>
                    <a:pt x="21" y="108"/>
                    <a:pt x="23" y="106"/>
                  </a:cubicBezTo>
                  <a:cubicBezTo>
                    <a:pt x="24" y="105"/>
                    <a:pt x="24" y="105"/>
                    <a:pt x="24" y="105"/>
                  </a:cubicBezTo>
                  <a:cubicBezTo>
                    <a:pt x="25" y="105"/>
                    <a:pt x="25" y="105"/>
                    <a:pt x="26" y="104"/>
                  </a:cubicBezTo>
                  <a:cubicBezTo>
                    <a:pt x="28" y="104"/>
                    <a:pt x="30" y="103"/>
                    <a:pt x="33" y="103"/>
                  </a:cubicBezTo>
                  <a:cubicBezTo>
                    <a:pt x="33" y="103"/>
                    <a:pt x="33" y="103"/>
                    <a:pt x="33" y="103"/>
                  </a:cubicBezTo>
                  <a:cubicBezTo>
                    <a:pt x="34" y="103"/>
                    <a:pt x="35" y="102"/>
                    <a:pt x="36" y="102"/>
                  </a:cubicBezTo>
                  <a:cubicBezTo>
                    <a:pt x="39" y="101"/>
                    <a:pt x="39" y="101"/>
                    <a:pt x="39" y="100"/>
                  </a:cubicBezTo>
                  <a:cubicBezTo>
                    <a:pt x="40" y="99"/>
                    <a:pt x="40" y="99"/>
                    <a:pt x="40" y="98"/>
                  </a:cubicBezTo>
                  <a:cubicBezTo>
                    <a:pt x="41" y="96"/>
                    <a:pt x="42" y="93"/>
                    <a:pt x="45" y="92"/>
                  </a:cubicBezTo>
                  <a:cubicBezTo>
                    <a:pt x="45" y="92"/>
                    <a:pt x="46" y="92"/>
                    <a:pt x="46" y="92"/>
                  </a:cubicBezTo>
                  <a:cubicBezTo>
                    <a:pt x="47" y="92"/>
                    <a:pt x="47" y="92"/>
                    <a:pt x="48" y="93"/>
                  </a:cubicBezTo>
                  <a:cubicBezTo>
                    <a:pt x="48" y="93"/>
                    <a:pt x="49" y="93"/>
                    <a:pt x="49" y="93"/>
                  </a:cubicBezTo>
                  <a:cubicBezTo>
                    <a:pt x="50" y="93"/>
                    <a:pt x="50" y="93"/>
                    <a:pt x="50" y="93"/>
                  </a:cubicBezTo>
                  <a:cubicBezTo>
                    <a:pt x="51" y="90"/>
                    <a:pt x="53" y="88"/>
                    <a:pt x="54" y="87"/>
                  </a:cubicBezTo>
                  <a:cubicBezTo>
                    <a:pt x="55" y="86"/>
                    <a:pt x="56" y="86"/>
                    <a:pt x="56" y="85"/>
                  </a:cubicBezTo>
                  <a:cubicBezTo>
                    <a:pt x="58" y="83"/>
                    <a:pt x="58" y="83"/>
                    <a:pt x="58" y="83"/>
                  </a:cubicBezTo>
                  <a:cubicBezTo>
                    <a:pt x="61" y="85"/>
                    <a:pt x="61" y="85"/>
                    <a:pt x="61" y="85"/>
                  </a:cubicBezTo>
                  <a:cubicBezTo>
                    <a:pt x="61" y="85"/>
                    <a:pt x="61" y="85"/>
                    <a:pt x="62" y="86"/>
                  </a:cubicBezTo>
                  <a:cubicBezTo>
                    <a:pt x="63" y="87"/>
                    <a:pt x="63" y="87"/>
                    <a:pt x="63" y="87"/>
                  </a:cubicBezTo>
                  <a:cubicBezTo>
                    <a:pt x="64" y="88"/>
                    <a:pt x="66" y="90"/>
                    <a:pt x="67" y="91"/>
                  </a:cubicBezTo>
                  <a:cubicBezTo>
                    <a:pt x="67" y="91"/>
                    <a:pt x="67" y="91"/>
                    <a:pt x="67" y="91"/>
                  </a:cubicBezTo>
                  <a:cubicBezTo>
                    <a:pt x="68" y="91"/>
                    <a:pt x="68" y="91"/>
                    <a:pt x="68" y="91"/>
                  </a:cubicBezTo>
                  <a:cubicBezTo>
                    <a:pt x="69" y="91"/>
                    <a:pt x="69" y="91"/>
                    <a:pt x="70" y="91"/>
                  </a:cubicBezTo>
                  <a:cubicBezTo>
                    <a:pt x="71" y="91"/>
                    <a:pt x="73" y="92"/>
                    <a:pt x="73" y="93"/>
                  </a:cubicBezTo>
                  <a:cubicBezTo>
                    <a:pt x="75" y="96"/>
                    <a:pt x="75" y="96"/>
                    <a:pt x="75" y="96"/>
                  </a:cubicBezTo>
                  <a:cubicBezTo>
                    <a:pt x="76" y="96"/>
                    <a:pt x="76" y="97"/>
                    <a:pt x="76" y="97"/>
                  </a:cubicBezTo>
                  <a:cubicBezTo>
                    <a:pt x="77" y="97"/>
                    <a:pt x="77" y="97"/>
                    <a:pt x="77" y="97"/>
                  </a:cubicBezTo>
                  <a:cubicBezTo>
                    <a:pt x="77" y="97"/>
                    <a:pt x="77" y="97"/>
                    <a:pt x="77" y="97"/>
                  </a:cubicBezTo>
                  <a:cubicBezTo>
                    <a:pt x="79" y="98"/>
                    <a:pt x="82" y="97"/>
                    <a:pt x="84" y="98"/>
                  </a:cubicBezTo>
                  <a:cubicBezTo>
                    <a:pt x="84" y="98"/>
                    <a:pt x="84" y="98"/>
                    <a:pt x="84" y="98"/>
                  </a:cubicBezTo>
                  <a:cubicBezTo>
                    <a:pt x="87" y="98"/>
                    <a:pt x="91" y="100"/>
                    <a:pt x="94" y="101"/>
                  </a:cubicBezTo>
                  <a:cubicBezTo>
                    <a:pt x="99" y="104"/>
                    <a:pt x="99" y="104"/>
                    <a:pt x="99" y="104"/>
                  </a:cubicBezTo>
                  <a:cubicBezTo>
                    <a:pt x="94" y="106"/>
                    <a:pt x="94" y="106"/>
                    <a:pt x="94" y="106"/>
                  </a:cubicBezTo>
                  <a:cubicBezTo>
                    <a:pt x="94" y="107"/>
                    <a:pt x="94" y="108"/>
                    <a:pt x="94" y="109"/>
                  </a:cubicBezTo>
                  <a:cubicBezTo>
                    <a:pt x="96" y="110"/>
                    <a:pt x="98" y="112"/>
                    <a:pt x="99" y="113"/>
                  </a:cubicBezTo>
                  <a:cubicBezTo>
                    <a:pt x="102" y="116"/>
                    <a:pt x="102" y="116"/>
                    <a:pt x="102" y="116"/>
                  </a:cubicBezTo>
                  <a:cubicBezTo>
                    <a:pt x="99" y="118"/>
                    <a:pt x="99" y="118"/>
                    <a:pt x="99" y="118"/>
                  </a:cubicBezTo>
                  <a:cubicBezTo>
                    <a:pt x="98" y="118"/>
                    <a:pt x="98" y="118"/>
                    <a:pt x="97" y="119"/>
                  </a:cubicBezTo>
                  <a:cubicBezTo>
                    <a:pt x="97" y="119"/>
                    <a:pt x="97" y="120"/>
                    <a:pt x="97" y="121"/>
                  </a:cubicBezTo>
                  <a:cubicBezTo>
                    <a:pt x="97" y="122"/>
                    <a:pt x="97" y="122"/>
                    <a:pt x="97" y="122"/>
                  </a:cubicBezTo>
                  <a:cubicBezTo>
                    <a:pt x="97" y="122"/>
                    <a:pt x="97" y="123"/>
                    <a:pt x="97" y="123"/>
                  </a:cubicBezTo>
                  <a:cubicBezTo>
                    <a:pt x="96" y="124"/>
                    <a:pt x="96" y="124"/>
                    <a:pt x="96" y="124"/>
                  </a:cubicBezTo>
                  <a:cubicBezTo>
                    <a:pt x="96" y="124"/>
                    <a:pt x="96" y="124"/>
                    <a:pt x="96" y="124"/>
                  </a:cubicBezTo>
                  <a:cubicBezTo>
                    <a:pt x="98" y="125"/>
                    <a:pt x="98" y="125"/>
                    <a:pt x="98" y="125"/>
                  </a:cubicBezTo>
                  <a:cubicBezTo>
                    <a:pt x="98" y="125"/>
                    <a:pt x="99" y="126"/>
                    <a:pt x="99" y="126"/>
                  </a:cubicBezTo>
                  <a:cubicBezTo>
                    <a:pt x="100" y="126"/>
                    <a:pt x="100" y="126"/>
                    <a:pt x="100" y="126"/>
                  </a:cubicBezTo>
                  <a:cubicBezTo>
                    <a:pt x="101" y="127"/>
                    <a:pt x="102" y="127"/>
                    <a:pt x="103" y="127"/>
                  </a:cubicBezTo>
                  <a:cubicBezTo>
                    <a:pt x="103" y="127"/>
                    <a:pt x="104" y="127"/>
                    <a:pt x="104" y="127"/>
                  </a:cubicBezTo>
                  <a:cubicBezTo>
                    <a:pt x="105" y="127"/>
                    <a:pt x="106" y="127"/>
                    <a:pt x="107" y="127"/>
                  </a:cubicBezTo>
                  <a:cubicBezTo>
                    <a:pt x="107" y="127"/>
                    <a:pt x="107" y="127"/>
                    <a:pt x="108" y="127"/>
                  </a:cubicBezTo>
                  <a:cubicBezTo>
                    <a:pt x="110" y="127"/>
                    <a:pt x="113" y="128"/>
                    <a:pt x="115" y="129"/>
                  </a:cubicBezTo>
                  <a:cubicBezTo>
                    <a:pt x="116" y="129"/>
                    <a:pt x="117" y="129"/>
                    <a:pt x="118" y="129"/>
                  </a:cubicBezTo>
                  <a:cubicBezTo>
                    <a:pt x="120" y="130"/>
                    <a:pt x="120" y="130"/>
                    <a:pt x="120" y="130"/>
                  </a:cubicBezTo>
                  <a:cubicBezTo>
                    <a:pt x="120" y="130"/>
                    <a:pt x="121" y="129"/>
                    <a:pt x="121" y="129"/>
                  </a:cubicBezTo>
                  <a:cubicBezTo>
                    <a:pt x="121" y="128"/>
                    <a:pt x="122" y="128"/>
                    <a:pt x="122" y="127"/>
                  </a:cubicBezTo>
                  <a:cubicBezTo>
                    <a:pt x="123" y="127"/>
                    <a:pt x="124" y="126"/>
                    <a:pt x="124" y="126"/>
                  </a:cubicBezTo>
                  <a:cubicBezTo>
                    <a:pt x="125" y="126"/>
                    <a:pt x="126" y="126"/>
                    <a:pt x="126" y="126"/>
                  </a:cubicBezTo>
                  <a:cubicBezTo>
                    <a:pt x="129" y="126"/>
                    <a:pt x="132" y="127"/>
                    <a:pt x="134" y="130"/>
                  </a:cubicBezTo>
                  <a:cubicBezTo>
                    <a:pt x="138" y="133"/>
                    <a:pt x="141" y="140"/>
                    <a:pt x="143" y="145"/>
                  </a:cubicBezTo>
                  <a:cubicBezTo>
                    <a:pt x="143" y="146"/>
                    <a:pt x="143" y="146"/>
                    <a:pt x="143" y="146"/>
                  </a:cubicBezTo>
                  <a:cubicBezTo>
                    <a:pt x="144" y="147"/>
                    <a:pt x="144" y="148"/>
                    <a:pt x="145" y="149"/>
                  </a:cubicBezTo>
                  <a:cubicBezTo>
                    <a:pt x="145" y="150"/>
                    <a:pt x="146" y="150"/>
                    <a:pt x="146" y="151"/>
                  </a:cubicBezTo>
                  <a:cubicBezTo>
                    <a:pt x="148" y="152"/>
                    <a:pt x="149" y="154"/>
                    <a:pt x="150" y="156"/>
                  </a:cubicBezTo>
                  <a:cubicBezTo>
                    <a:pt x="150" y="157"/>
                    <a:pt x="150" y="157"/>
                    <a:pt x="150" y="157"/>
                  </a:cubicBezTo>
                  <a:cubicBezTo>
                    <a:pt x="150" y="158"/>
                    <a:pt x="151" y="159"/>
                    <a:pt x="151" y="160"/>
                  </a:cubicBezTo>
                  <a:cubicBezTo>
                    <a:pt x="151" y="160"/>
                    <a:pt x="151" y="160"/>
                    <a:pt x="151" y="160"/>
                  </a:cubicBezTo>
                  <a:cubicBezTo>
                    <a:pt x="151" y="161"/>
                    <a:pt x="152" y="163"/>
                    <a:pt x="152" y="164"/>
                  </a:cubicBezTo>
                  <a:cubicBezTo>
                    <a:pt x="153" y="164"/>
                    <a:pt x="153" y="164"/>
                    <a:pt x="153" y="164"/>
                  </a:cubicBezTo>
                  <a:cubicBezTo>
                    <a:pt x="153" y="165"/>
                    <a:pt x="155" y="166"/>
                    <a:pt x="157" y="167"/>
                  </a:cubicBezTo>
                  <a:cubicBezTo>
                    <a:pt x="157" y="168"/>
                    <a:pt x="158" y="168"/>
                    <a:pt x="159" y="169"/>
                  </a:cubicBezTo>
                  <a:cubicBezTo>
                    <a:pt x="163" y="172"/>
                    <a:pt x="163" y="172"/>
                    <a:pt x="163" y="172"/>
                  </a:cubicBezTo>
                  <a:cubicBezTo>
                    <a:pt x="164" y="173"/>
                    <a:pt x="166" y="174"/>
                    <a:pt x="167" y="175"/>
                  </a:cubicBezTo>
                  <a:cubicBezTo>
                    <a:pt x="170" y="177"/>
                    <a:pt x="174" y="180"/>
                    <a:pt x="178" y="182"/>
                  </a:cubicBezTo>
                  <a:cubicBezTo>
                    <a:pt x="179" y="183"/>
                    <a:pt x="180" y="183"/>
                    <a:pt x="181" y="184"/>
                  </a:cubicBezTo>
                  <a:cubicBezTo>
                    <a:pt x="184" y="185"/>
                    <a:pt x="184" y="185"/>
                    <a:pt x="184" y="185"/>
                  </a:cubicBezTo>
                  <a:cubicBezTo>
                    <a:pt x="189" y="187"/>
                    <a:pt x="194" y="190"/>
                    <a:pt x="198" y="194"/>
                  </a:cubicBezTo>
                  <a:cubicBezTo>
                    <a:pt x="200" y="196"/>
                    <a:pt x="203" y="197"/>
                    <a:pt x="206" y="199"/>
                  </a:cubicBezTo>
                  <a:cubicBezTo>
                    <a:pt x="209" y="201"/>
                    <a:pt x="209" y="201"/>
                    <a:pt x="209" y="201"/>
                  </a:cubicBezTo>
                  <a:cubicBezTo>
                    <a:pt x="210" y="201"/>
                    <a:pt x="211" y="202"/>
                    <a:pt x="212" y="202"/>
                  </a:cubicBezTo>
                  <a:cubicBezTo>
                    <a:pt x="214" y="204"/>
                    <a:pt x="216" y="205"/>
                    <a:pt x="218" y="206"/>
                  </a:cubicBezTo>
                  <a:cubicBezTo>
                    <a:pt x="219" y="207"/>
                    <a:pt x="219" y="207"/>
                    <a:pt x="219" y="207"/>
                  </a:cubicBezTo>
                  <a:cubicBezTo>
                    <a:pt x="220" y="208"/>
                    <a:pt x="220" y="208"/>
                    <a:pt x="221" y="208"/>
                  </a:cubicBezTo>
                  <a:cubicBezTo>
                    <a:pt x="222" y="209"/>
                    <a:pt x="222" y="209"/>
                    <a:pt x="222" y="209"/>
                  </a:cubicBezTo>
                  <a:cubicBezTo>
                    <a:pt x="224" y="210"/>
                    <a:pt x="225" y="211"/>
                    <a:pt x="226" y="211"/>
                  </a:cubicBezTo>
                  <a:cubicBezTo>
                    <a:pt x="226" y="211"/>
                    <a:pt x="226" y="211"/>
                    <a:pt x="226" y="211"/>
                  </a:cubicBezTo>
                  <a:cubicBezTo>
                    <a:pt x="227" y="211"/>
                    <a:pt x="227" y="211"/>
                    <a:pt x="227" y="211"/>
                  </a:cubicBezTo>
                  <a:cubicBezTo>
                    <a:pt x="228" y="210"/>
                    <a:pt x="228" y="210"/>
                    <a:pt x="228" y="210"/>
                  </a:cubicBezTo>
                  <a:cubicBezTo>
                    <a:pt x="229" y="210"/>
                    <a:pt x="229" y="210"/>
                    <a:pt x="230" y="210"/>
                  </a:cubicBezTo>
                  <a:cubicBezTo>
                    <a:pt x="233" y="210"/>
                    <a:pt x="236" y="211"/>
                    <a:pt x="238" y="213"/>
                  </a:cubicBezTo>
                  <a:cubicBezTo>
                    <a:pt x="239" y="213"/>
                    <a:pt x="239" y="213"/>
                    <a:pt x="239" y="213"/>
                  </a:cubicBezTo>
                  <a:cubicBezTo>
                    <a:pt x="240" y="214"/>
                    <a:pt x="242" y="215"/>
                    <a:pt x="243" y="215"/>
                  </a:cubicBezTo>
                  <a:cubicBezTo>
                    <a:pt x="249" y="218"/>
                    <a:pt x="249" y="218"/>
                    <a:pt x="249" y="218"/>
                  </a:cubicBezTo>
                  <a:cubicBezTo>
                    <a:pt x="251" y="219"/>
                    <a:pt x="251" y="221"/>
                    <a:pt x="251" y="222"/>
                  </a:cubicBezTo>
                  <a:cubicBezTo>
                    <a:pt x="251" y="222"/>
                    <a:pt x="251" y="223"/>
                    <a:pt x="251" y="223"/>
                  </a:cubicBezTo>
                  <a:cubicBezTo>
                    <a:pt x="250" y="224"/>
                    <a:pt x="250" y="225"/>
                    <a:pt x="250" y="225"/>
                  </a:cubicBezTo>
                  <a:cubicBezTo>
                    <a:pt x="250" y="226"/>
                    <a:pt x="250" y="226"/>
                    <a:pt x="250" y="226"/>
                  </a:cubicBezTo>
                  <a:cubicBezTo>
                    <a:pt x="250" y="227"/>
                    <a:pt x="250" y="228"/>
                    <a:pt x="250" y="228"/>
                  </a:cubicBezTo>
                  <a:cubicBezTo>
                    <a:pt x="249" y="233"/>
                    <a:pt x="249" y="233"/>
                    <a:pt x="249" y="233"/>
                  </a:cubicBezTo>
                  <a:cubicBezTo>
                    <a:pt x="249" y="234"/>
                    <a:pt x="249" y="234"/>
                    <a:pt x="249" y="235"/>
                  </a:cubicBezTo>
                  <a:cubicBezTo>
                    <a:pt x="252" y="235"/>
                    <a:pt x="252" y="235"/>
                    <a:pt x="252" y="235"/>
                  </a:cubicBezTo>
                  <a:cubicBezTo>
                    <a:pt x="253" y="235"/>
                    <a:pt x="254" y="235"/>
                    <a:pt x="255" y="235"/>
                  </a:cubicBezTo>
                  <a:cubicBezTo>
                    <a:pt x="258" y="235"/>
                    <a:pt x="259" y="236"/>
                    <a:pt x="262" y="238"/>
                  </a:cubicBezTo>
                  <a:cubicBezTo>
                    <a:pt x="262" y="239"/>
                    <a:pt x="262" y="239"/>
                    <a:pt x="262" y="239"/>
                  </a:cubicBezTo>
                  <a:cubicBezTo>
                    <a:pt x="263" y="239"/>
                    <a:pt x="263" y="239"/>
                    <a:pt x="263" y="239"/>
                  </a:cubicBezTo>
                  <a:cubicBezTo>
                    <a:pt x="263" y="239"/>
                    <a:pt x="263" y="239"/>
                    <a:pt x="263" y="239"/>
                  </a:cubicBezTo>
                  <a:cubicBezTo>
                    <a:pt x="263" y="239"/>
                    <a:pt x="263" y="239"/>
                    <a:pt x="263" y="239"/>
                  </a:cubicBezTo>
                  <a:cubicBezTo>
                    <a:pt x="264" y="239"/>
                    <a:pt x="264" y="239"/>
                    <a:pt x="264" y="239"/>
                  </a:cubicBezTo>
                  <a:cubicBezTo>
                    <a:pt x="264" y="240"/>
                    <a:pt x="265" y="240"/>
                    <a:pt x="266" y="240"/>
                  </a:cubicBezTo>
                  <a:cubicBezTo>
                    <a:pt x="267" y="240"/>
                    <a:pt x="267" y="240"/>
                    <a:pt x="268" y="240"/>
                  </a:cubicBezTo>
                  <a:cubicBezTo>
                    <a:pt x="270" y="239"/>
                    <a:pt x="270" y="239"/>
                    <a:pt x="271" y="239"/>
                  </a:cubicBezTo>
                  <a:cubicBezTo>
                    <a:pt x="271" y="238"/>
                    <a:pt x="271" y="238"/>
                    <a:pt x="271" y="238"/>
                  </a:cubicBezTo>
                  <a:cubicBezTo>
                    <a:pt x="272" y="238"/>
                    <a:pt x="272" y="238"/>
                    <a:pt x="272" y="238"/>
                  </a:cubicBezTo>
                  <a:cubicBezTo>
                    <a:pt x="272" y="238"/>
                    <a:pt x="272" y="238"/>
                    <a:pt x="273" y="237"/>
                  </a:cubicBezTo>
                  <a:cubicBezTo>
                    <a:pt x="272" y="237"/>
                    <a:pt x="272" y="237"/>
                    <a:pt x="272" y="237"/>
                  </a:cubicBezTo>
                  <a:cubicBezTo>
                    <a:pt x="272" y="236"/>
                    <a:pt x="272" y="236"/>
                    <a:pt x="272" y="236"/>
                  </a:cubicBezTo>
                  <a:cubicBezTo>
                    <a:pt x="272" y="235"/>
                    <a:pt x="273" y="234"/>
                    <a:pt x="273" y="234"/>
                  </a:cubicBezTo>
                  <a:cubicBezTo>
                    <a:pt x="273" y="234"/>
                    <a:pt x="273" y="234"/>
                    <a:pt x="273" y="234"/>
                  </a:cubicBezTo>
                  <a:cubicBezTo>
                    <a:pt x="273" y="233"/>
                    <a:pt x="273" y="233"/>
                    <a:pt x="273" y="233"/>
                  </a:cubicBezTo>
                  <a:cubicBezTo>
                    <a:pt x="274" y="231"/>
                    <a:pt x="275" y="230"/>
                    <a:pt x="276" y="229"/>
                  </a:cubicBezTo>
                  <a:cubicBezTo>
                    <a:pt x="277" y="227"/>
                    <a:pt x="277" y="227"/>
                    <a:pt x="277" y="227"/>
                  </a:cubicBezTo>
                  <a:cubicBezTo>
                    <a:pt x="277" y="227"/>
                    <a:pt x="278" y="226"/>
                    <a:pt x="278" y="226"/>
                  </a:cubicBezTo>
                  <a:cubicBezTo>
                    <a:pt x="279" y="225"/>
                    <a:pt x="279" y="225"/>
                    <a:pt x="279" y="225"/>
                  </a:cubicBezTo>
                  <a:cubicBezTo>
                    <a:pt x="284" y="218"/>
                    <a:pt x="285" y="216"/>
                    <a:pt x="285" y="215"/>
                  </a:cubicBezTo>
                  <a:cubicBezTo>
                    <a:pt x="285" y="215"/>
                    <a:pt x="285" y="215"/>
                    <a:pt x="285" y="215"/>
                  </a:cubicBezTo>
                  <a:cubicBezTo>
                    <a:pt x="285" y="214"/>
                    <a:pt x="284" y="214"/>
                    <a:pt x="284" y="214"/>
                  </a:cubicBezTo>
                  <a:cubicBezTo>
                    <a:pt x="283" y="213"/>
                    <a:pt x="283" y="213"/>
                    <a:pt x="282" y="212"/>
                  </a:cubicBezTo>
                  <a:cubicBezTo>
                    <a:pt x="282" y="212"/>
                    <a:pt x="282" y="212"/>
                    <a:pt x="282" y="212"/>
                  </a:cubicBezTo>
                  <a:cubicBezTo>
                    <a:pt x="282" y="212"/>
                    <a:pt x="281" y="211"/>
                    <a:pt x="281" y="211"/>
                  </a:cubicBezTo>
                  <a:cubicBezTo>
                    <a:pt x="280" y="210"/>
                    <a:pt x="280" y="209"/>
                    <a:pt x="279" y="207"/>
                  </a:cubicBezTo>
                  <a:cubicBezTo>
                    <a:pt x="279" y="207"/>
                    <a:pt x="279" y="206"/>
                    <a:pt x="279" y="205"/>
                  </a:cubicBezTo>
                  <a:cubicBezTo>
                    <a:pt x="280" y="202"/>
                    <a:pt x="280" y="202"/>
                    <a:pt x="280" y="202"/>
                  </a:cubicBezTo>
                  <a:cubicBezTo>
                    <a:pt x="281" y="198"/>
                    <a:pt x="281" y="197"/>
                    <a:pt x="281" y="197"/>
                  </a:cubicBezTo>
                  <a:cubicBezTo>
                    <a:pt x="281" y="196"/>
                    <a:pt x="278" y="196"/>
                    <a:pt x="276" y="195"/>
                  </a:cubicBezTo>
                  <a:cubicBezTo>
                    <a:pt x="272" y="195"/>
                    <a:pt x="271" y="195"/>
                    <a:pt x="267" y="192"/>
                  </a:cubicBezTo>
                  <a:cubicBezTo>
                    <a:pt x="266" y="191"/>
                    <a:pt x="266" y="191"/>
                    <a:pt x="266" y="191"/>
                  </a:cubicBezTo>
                  <a:cubicBezTo>
                    <a:pt x="265" y="190"/>
                    <a:pt x="265" y="190"/>
                    <a:pt x="265" y="190"/>
                  </a:cubicBezTo>
                  <a:cubicBezTo>
                    <a:pt x="265" y="189"/>
                    <a:pt x="264" y="189"/>
                    <a:pt x="264" y="189"/>
                  </a:cubicBezTo>
                  <a:cubicBezTo>
                    <a:pt x="263" y="187"/>
                    <a:pt x="262" y="185"/>
                    <a:pt x="262" y="183"/>
                  </a:cubicBezTo>
                  <a:cubicBezTo>
                    <a:pt x="262" y="183"/>
                    <a:pt x="262" y="183"/>
                    <a:pt x="262" y="183"/>
                  </a:cubicBezTo>
                  <a:cubicBezTo>
                    <a:pt x="263" y="180"/>
                    <a:pt x="264" y="178"/>
                    <a:pt x="267" y="175"/>
                  </a:cubicBezTo>
                  <a:cubicBezTo>
                    <a:pt x="268" y="175"/>
                    <a:pt x="268" y="175"/>
                    <a:pt x="268" y="175"/>
                  </a:cubicBezTo>
                  <a:cubicBezTo>
                    <a:pt x="269" y="174"/>
                    <a:pt x="270" y="174"/>
                    <a:pt x="271" y="173"/>
                  </a:cubicBezTo>
                  <a:cubicBezTo>
                    <a:pt x="271" y="173"/>
                    <a:pt x="271" y="173"/>
                    <a:pt x="271" y="173"/>
                  </a:cubicBezTo>
                  <a:cubicBezTo>
                    <a:pt x="272" y="173"/>
                    <a:pt x="273" y="173"/>
                    <a:pt x="274" y="173"/>
                  </a:cubicBezTo>
                  <a:cubicBezTo>
                    <a:pt x="274" y="173"/>
                    <a:pt x="275" y="173"/>
                    <a:pt x="276" y="173"/>
                  </a:cubicBezTo>
                  <a:cubicBezTo>
                    <a:pt x="279" y="174"/>
                    <a:pt x="281" y="174"/>
                    <a:pt x="284" y="174"/>
                  </a:cubicBezTo>
                  <a:cubicBezTo>
                    <a:pt x="286" y="175"/>
                    <a:pt x="287" y="175"/>
                    <a:pt x="287" y="175"/>
                  </a:cubicBezTo>
                  <a:cubicBezTo>
                    <a:pt x="288" y="175"/>
                    <a:pt x="288" y="175"/>
                    <a:pt x="289" y="175"/>
                  </a:cubicBezTo>
                  <a:cubicBezTo>
                    <a:pt x="289" y="175"/>
                    <a:pt x="289" y="175"/>
                    <a:pt x="289" y="175"/>
                  </a:cubicBezTo>
                  <a:cubicBezTo>
                    <a:pt x="290" y="175"/>
                    <a:pt x="290" y="175"/>
                    <a:pt x="290" y="175"/>
                  </a:cubicBezTo>
                  <a:cubicBezTo>
                    <a:pt x="290" y="174"/>
                    <a:pt x="290" y="173"/>
                    <a:pt x="291" y="170"/>
                  </a:cubicBezTo>
                  <a:cubicBezTo>
                    <a:pt x="291" y="170"/>
                    <a:pt x="291" y="170"/>
                    <a:pt x="291" y="170"/>
                  </a:cubicBezTo>
                  <a:cubicBezTo>
                    <a:pt x="292" y="168"/>
                    <a:pt x="293" y="166"/>
                    <a:pt x="294" y="165"/>
                  </a:cubicBezTo>
                  <a:cubicBezTo>
                    <a:pt x="294" y="165"/>
                    <a:pt x="295" y="165"/>
                    <a:pt x="295" y="164"/>
                  </a:cubicBezTo>
                  <a:cubicBezTo>
                    <a:pt x="294" y="164"/>
                    <a:pt x="292" y="163"/>
                    <a:pt x="292" y="161"/>
                  </a:cubicBezTo>
                  <a:cubicBezTo>
                    <a:pt x="290" y="158"/>
                    <a:pt x="290" y="158"/>
                    <a:pt x="290" y="158"/>
                  </a:cubicBezTo>
                  <a:cubicBezTo>
                    <a:pt x="303" y="156"/>
                    <a:pt x="303" y="156"/>
                    <a:pt x="303" y="156"/>
                  </a:cubicBezTo>
                  <a:cubicBezTo>
                    <a:pt x="303" y="156"/>
                    <a:pt x="303" y="156"/>
                    <a:pt x="304" y="156"/>
                  </a:cubicBezTo>
                  <a:cubicBezTo>
                    <a:pt x="305" y="156"/>
                    <a:pt x="305" y="156"/>
                    <a:pt x="306" y="156"/>
                  </a:cubicBezTo>
                  <a:cubicBezTo>
                    <a:pt x="305" y="154"/>
                    <a:pt x="305" y="151"/>
                    <a:pt x="305" y="149"/>
                  </a:cubicBezTo>
                  <a:cubicBezTo>
                    <a:pt x="306" y="147"/>
                    <a:pt x="306" y="146"/>
                    <a:pt x="307" y="144"/>
                  </a:cubicBezTo>
                  <a:cubicBezTo>
                    <a:pt x="308" y="143"/>
                    <a:pt x="308" y="143"/>
                    <a:pt x="308" y="143"/>
                  </a:cubicBezTo>
                  <a:cubicBezTo>
                    <a:pt x="308" y="143"/>
                    <a:pt x="308" y="143"/>
                    <a:pt x="308" y="143"/>
                  </a:cubicBezTo>
                  <a:cubicBezTo>
                    <a:pt x="309" y="141"/>
                    <a:pt x="309" y="141"/>
                    <a:pt x="309" y="141"/>
                  </a:cubicBezTo>
                  <a:cubicBezTo>
                    <a:pt x="311" y="141"/>
                    <a:pt x="311" y="141"/>
                    <a:pt x="311" y="141"/>
                  </a:cubicBezTo>
                  <a:cubicBezTo>
                    <a:pt x="311" y="141"/>
                    <a:pt x="311" y="141"/>
                    <a:pt x="311" y="141"/>
                  </a:cubicBezTo>
                  <a:cubicBezTo>
                    <a:pt x="312" y="141"/>
                    <a:pt x="312" y="141"/>
                    <a:pt x="312" y="141"/>
                  </a:cubicBezTo>
                  <a:cubicBezTo>
                    <a:pt x="313" y="141"/>
                    <a:pt x="313" y="141"/>
                    <a:pt x="313" y="141"/>
                  </a:cubicBezTo>
                  <a:cubicBezTo>
                    <a:pt x="313" y="141"/>
                    <a:pt x="314" y="142"/>
                    <a:pt x="314" y="142"/>
                  </a:cubicBezTo>
                  <a:cubicBezTo>
                    <a:pt x="315" y="142"/>
                    <a:pt x="315" y="142"/>
                    <a:pt x="315" y="142"/>
                  </a:cubicBezTo>
                  <a:cubicBezTo>
                    <a:pt x="316" y="142"/>
                    <a:pt x="316" y="142"/>
                    <a:pt x="316" y="142"/>
                  </a:cubicBezTo>
                  <a:cubicBezTo>
                    <a:pt x="316" y="143"/>
                    <a:pt x="317" y="143"/>
                    <a:pt x="318" y="143"/>
                  </a:cubicBezTo>
                  <a:cubicBezTo>
                    <a:pt x="318" y="144"/>
                    <a:pt x="318" y="144"/>
                    <a:pt x="319" y="144"/>
                  </a:cubicBezTo>
                  <a:cubicBezTo>
                    <a:pt x="319" y="144"/>
                    <a:pt x="319" y="144"/>
                    <a:pt x="319" y="144"/>
                  </a:cubicBezTo>
                  <a:cubicBezTo>
                    <a:pt x="319" y="144"/>
                    <a:pt x="319" y="144"/>
                    <a:pt x="319" y="144"/>
                  </a:cubicBezTo>
                  <a:cubicBezTo>
                    <a:pt x="320" y="144"/>
                    <a:pt x="320" y="144"/>
                    <a:pt x="320" y="144"/>
                  </a:cubicBezTo>
                  <a:cubicBezTo>
                    <a:pt x="320" y="144"/>
                    <a:pt x="321" y="144"/>
                    <a:pt x="321" y="143"/>
                  </a:cubicBezTo>
                  <a:cubicBezTo>
                    <a:pt x="322" y="143"/>
                    <a:pt x="323" y="142"/>
                    <a:pt x="325" y="142"/>
                  </a:cubicBezTo>
                  <a:cubicBezTo>
                    <a:pt x="325" y="142"/>
                    <a:pt x="325" y="142"/>
                    <a:pt x="325" y="142"/>
                  </a:cubicBezTo>
                  <a:cubicBezTo>
                    <a:pt x="326" y="141"/>
                    <a:pt x="326" y="141"/>
                    <a:pt x="326" y="141"/>
                  </a:cubicBezTo>
                  <a:cubicBezTo>
                    <a:pt x="327" y="140"/>
                    <a:pt x="328" y="139"/>
                    <a:pt x="329" y="139"/>
                  </a:cubicBezTo>
                  <a:cubicBezTo>
                    <a:pt x="330" y="138"/>
                    <a:pt x="330" y="138"/>
                    <a:pt x="330" y="138"/>
                  </a:cubicBezTo>
                  <a:cubicBezTo>
                    <a:pt x="331" y="138"/>
                    <a:pt x="331" y="137"/>
                    <a:pt x="331" y="137"/>
                  </a:cubicBezTo>
                  <a:cubicBezTo>
                    <a:pt x="332" y="136"/>
                    <a:pt x="332" y="136"/>
                    <a:pt x="333" y="136"/>
                  </a:cubicBezTo>
                  <a:cubicBezTo>
                    <a:pt x="334" y="135"/>
                    <a:pt x="334" y="135"/>
                    <a:pt x="335" y="134"/>
                  </a:cubicBezTo>
                  <a:cubicBezTo>
                    <a:pt x="335" y="134"/>
                    <a:pt x="335" y="134"/>
                    <a:pt x="335" y="134"/>
                  </a:cubicBezTo>
                  <a:cubicBezTo>
                    <a:pt x="338" y="132"/>
                    <a:pt x="338" y="132"/>
                    <a:pt x="338" y="132"/>
                  </a:cubicBezTo>
                  <a:cubicBezTo>
                    <a:pt x="349" y="145"/>
                    <a:pt x="349" y="145"/>
                    <a:pt x="349" y="145"/>
                  </a:cubicBezTo>
                  <a:cubicBezTo>
                    <a:pt x="347" y="147"/>
                    <a:pt x="347" y="147"/>
                    <a:pt x="347" y="147"/>
                  </a:cubicBezTo>
                  <a:cubicBezTo>
                    <a:pt x="345" y="149"/>
                    <a:pt x="342" y="151"/>
                    <a:pt x="340" y="153"/>
                  </a:cubicBezTo>
                  <a:cubicBezTo>
                    <a:pt x="341" y="154"/>
                    <a:pt x="342" y="155"/>
                    <a:pt x="343" y="156"/>
                  </a:cubicBezTo>
                  <a:cubicBezTo>
                    <a:pt x="344" y="156"/>
                    <a:pt x="344" y="156"/>
                    <a:pt x="346" y="156"/>
                  </a:cubicBezTo>
                  <a:cubicBezTo>
                    <a:pt x="346" y="156"/>
                    <a:pt x="346" y="156"/>
                    <a:pt x="346" y="156"/>
                  </a:cubicBezTo>
                  <a:cubicBezTo>
                    <a:pt x="347" y="156"/>
                    <a:pt x="347" y="156"/>
                    <a:pt x="348" y="156"/>
                  </a:cubicBezTo>
                  <a:cubicBezTo>
                    <a:pt x="349" y="155"/>
                    <a:pt x="349" y="155"/>
                    <a:pt x="349" y="155"/>
                  </a:cubicBezTo>
                  <a:cubicBezTo>
                    <a:pt x="349" y="155"/>
                    <a:pt x="349" y="155"/>
                    <a:pt x="349" y="155"/>
                  </a:cubicBezTo>
                  <a:cubicBezTo>
                    <a:pt x="350" y="155"/>
                    <a:pt x="351" y="155"/>
                    <a:pt x="351" y="155"/>
                  </a:cubicBezTo>
                  <a:cubicBezTo>
                    <a:pt x="352" y="154"/>
                    <a:pt x="352" y="154"/>
                    <a:pt x="352" y="154"/>
                  </a:cubicBezTo>
                  <a:cubicBezTo>
                    <a:pt x="353" y="154"/>
                    <a:pt x="355" y="154"/>
                    <a:pt x="357" y="154"/>
                  </a:cubicBezTo>
                  <a:cubicBezTo>
                    <a:pt x="358" y="154"/>
                    <a:pt x="358" y="154"/>
                    <a:pt x="358" y="154"/>
                  </a:cubicBezTo>
                  <a:cubicBezTo>
                    <a:pt x="359" y="154"/>
                    <a:pt x="359" y="154"/>
                    <a:pt x="360" y="154"/>
                  </a:cubicBezTo>
                  <a:cubicBezTo>
                    <a:pt x="361" y="155"/>
                    <a:pt x="362" y="155"/>
                    <a:pt x="363" y="156"/>
                  </a:cubicBezTo>
                  <a:cubicBezTo>
                    <a:pt x="364" y="156"/>
                    <a:pt x="365" y="156"/>
                    <a:pt x="365" y="157"/>
                  </a:cubicBezTo>
                  <a:cubicBezTo>
                    <a:pt x="366" y="157"/>
                    <a:pt x="367" y="158"/>
                    <a:pt x="367" y="158"/>
                  </a:cubicBezTo>
                  <a:cubicBezTo>
                    <a:pt x="368" y="158"/>
                    <a:pt x="369" y="157"/>
                    <a:pt x="370" y="157"/>
                  </a:cubicBezTo>
                  <a:cubicBezTo>
                    <a:pt x="370" y="156"/>
                    <a:pt x="370" y="156"/>
                    <a:pt x="370" y="156"/>
                  </a:cubicBezTo>
                  <a:cubicBezTo>
                    <a:pt x="371" y="156"/>
                    <a:pt x="371" y="156"/>
                    <a:pt x="371" y="156"/>
                  </a:cubicBezTo>
                  <a:cubicBezTo>
                    <a:pt x="372" y="155"/>
                    <a:pt x="372" y="155"/>
                    <a:pt x="372" y="155"/>
                  </a:cubicBezTo>
                  <a:cubicBezTo>
                    <a:pt x="372" y="155"/>
                    <a:pt x="372" y="154"/>
                    <a:pt x="372" y="154"/>
                  </a:cubicBezTo>
                  <a:cubicBezTo>
                    <a:pt x="373" y="153"/>
                    <a:pt x="374" y="152"/>
                    <a:pt x="374" y="151"/>
                  </a:cubicBezTo>
                  <a:cubicBezTo>
                    <a:pt x="376" y="150"/>
                    <a:pt x="376" y="150"/>
                    <a:pt x="376" y="150"/>
                  </a:cubicBezTo>
                  <a:cubicBezTo>
                    <a:pt x="376" y="150"/>
                    <a:pt x="376" y="150"/>
                    <a:pt x="376" y="150"/>
                  </a:cubicBezTo>
                  <a:cubicBezTo>
                    <a:pt x="377" y="150"/>
                    <a:pt x="377" y="150"/>
                    <a:pt x="377" y="150"/>
                  </a:cubicBezTo>
                  <a:cubicBezTo>
                    <a:pt x="377" y="151"/>
                    <a:pt x="377" y="151"/>
                    <a:pt x="377" y="151"/>
                  </a:cubicBezTo>
                  <a:cubicBezTo>
                    <a:pt x="377" y="150"/>
                    <a:pt x="377" y="150"/>
                    <a:pt x="377" y="150"/>
                  </a:cubicBezTo>
                  <a:cubicBezTo>
                    <a:pt x="377" y="150"/>
                    <a:pt x="377" y="150"/>
                    <a:pt x="378" y="150"/>
                  </a:cubicBezTo>
                  <a:cubicBezTo>
                    <a:pt x="378" y="150"/>
                    <a:pt x="378" y="150"/>
                    <a:pt x="378" y="150"/>
                  </a:cubicBezTo>
                  <a:cubicBezTo>
                    <a:pt x="378" y="150"/>
                    <a:pt x="379" y="150"/>
                    <a:pt x="379" y="150"/>
                  </a:cubicBezTo>
                  <a:cubicBezTo>
                    <a:pt x="379" y="140"/>
                    <a:pt x="379" y="140"/>
                    <a:pt x="379" y="140"/>
                  </a:cubicBezTo>
                  <a:cubicBezTo>
                    <a:pt x="375" y="141"/>
                    <a:pt x="375" y="141"/>
                    <a:pt x="375" y="141"/>
                  </a:cubicBezTo>
                  <a:cubicBezTo>
                    <a:pt x="375" y="137"/>
                    <a:pt x="375" y="137"/>
                    <a:pt x="375" y="137"/>
                  </a:cubicBezTo>
                  <a:cubicBezTo>
                    <a:pt x="375" y="137"/>
                    <a:pt x="375" y="137"/>
                    <a:pt x="375" y="136"/>
                  </a:cubicBezTo>
                  <a:cubicBezTo>
                    <a:pt x="375" y="136"/>
                    <a:pt x="375" y="135"/>
                    <a:pt x="375" y="135"/>
                  </a:cubicBezTo>
                  <a:cubicBezTo>
                    <a:pt x="374" y="135"/>
                    <a:pt x="374" y="135"/>
                    <a:pt x="374" y="135"/>
                  </a:cubicBezTo>
                  <a:cubicBezTo>
                    <a:pt x="374" y="135"/>
                    <a:pt x="374" y="135"/>
                    <a:pt x="374" y="135"/>
                  </a:cubicBezTo>
                  <a:cubicBezTo>
                    <a:pt x="373" y="135"/>
                    <a:pt x="373" y="135"/>
                    <a:pt x="373" y="135"/>
                  </a:cubicBezTo>
                  <a:cubicBezTo>
                    <a:pt x="372" y="135"/>
                    <a:pt x="371" y="134"/>
                    <a:pt x="370" y="133"/>
                  </a:cubicBezTo>
                  <a:cubicBezTo>
                    <a:pt x="370" y="132"/>
                    <a:pt x="369" y="132"/>
                    <a:pt x="369" y="131"/>
                  </a:cubicBezTo>
                  <a:cubicBezTo>
                    <a:pt x="368" y="130"/>
                    <a:pt x="368" y="129"/>
                    <a:pt x="367" y="128"/>
                  </a:cubicBezTo>
                  <a:cubicBezTo>
                    <a:pt x="367" y="131"/>
                    <a:pt x="367" y="131"/>
                    <a:pt x="367" y="131"/>
                  </a:cubicBezTo>
                  <a:cubicBezTo>
                    <a:pt x="364" y="131"/>
                    <a:pt x="364" y="131"/>
                    <a:pt x="364" y="131"/>
                  </a:cubicBezTo>
                  <a:cubicBezTo>
                    <a:pt x="364" y="131"/>
                    <a:pt x="364" y="131"/>
                    <a:pt x="364" y="131"/>
                  </a:cubicBezTo>
                  <a:cubicBezTo>
                    <a:pt x="364" y="131"/>
                    <a:pt x="364" y="131"/>
                    <a:pt x="363" y="131"/>
                  </a:cubicBezTo>
                  <a:cubicBezTo>
                    <a:pt x="363" y="131"/>
                    <a:pt x="363" y="131"/>
                    <a:pt x="363" y="131"/>
                  </a:cubicBezTo>
                  <a:cubicBezTo>
                    <a:pt x="363" y="132"/>
                    <a:pt x="363" y="132"/>
                    <a:pt x="363" y="132"/>
                  </a:cubicBezTo>
                  <a:cubicBezTo>
                    <a:pt x="363" y="133"/>
                    <a:pt x="363" y="133"/>
                    <a:pt x="363" y="134"/>
                  </a:cubicBezTo>
                  <a:cubicBezTo>
                    <a:pt x="363" y="137"/>
                    <a:pt x="363" y="137"/>
                    <a:pt x="363" y="137"/>
                  </a:cubicBezTo>
                  <a:cubicBezTo>
                    <a:pt x="360" y="136"/>
                    <a:pt x="360" y="136"/>
                    <a:pt x="360" y="136"/>
                  </a:cubicBezTo>
                  <a:cubicBezTo>
                    <a:pt x="359" y="136"/>
                    <a:pt x="359" y="136"/>
                    <a:pt x="358" y="136"/>
                  </a:cubicBezTo>
                  <a:cubicBezTo>
                    <a:pt x="358" y="136"/>
                    <a:pt x="357" y="136"/>
                    <a:pt x="357" y="136"/>
                  </a:cubicBezTo>
                  <a:cubicBezTo>
                    <a:pt x="356" y="136"/>
                    <a:pt x="356" y="136"/>
                    <a:pt x="356" y="136"/>
                  </a:cubicBezTo>
                  <a:cubicBezTo>
                    <a:pt x="355" y="136"/>
                    <a:pt x="355" y="136"/>
                    <a:pt x="354" y="136"/>
                  </a:cubicBezTo>
                  <a:cubicBezTo>
                    <a:pt x="351" y="135"/>
                    <a:pt x="348" y="135"/>
                    <a:pt x="345" y="133"/>
                  </a:cubicBezTo>
                  <a:cubicBezTo>
                    <a:pt x="343" y="132"/>
                    <a:pt x="342" y="130"/>
                    <a:pt x="341" y="128"/>
                  </a:cubicBezTo>
                  <a:cubicBezTo>
                    <a:pt x="341" y="128"/>
                    <a:pt x="341" y="128"/>
                    <a:pt x="341" y="128"/>
                  </a:cubicBezTo>
                  <a:cubicBezTo>
                    <a:pt x="339" y="128"/>
                    <a:pt x="339" y="128"/>
                    <a:pt x="339" y="128"/>
                  </a:cubicBezTo>
                  <a:cubicBezTo>
                    <a:pt x="339" y="128"/>
                    <a:pt x="338" y="128"/>
                    <a:pt x="338" y="128"/>
                  </a:cubicBezTo>
                  <a:cubicBezTo>
                    <a:pt x="337" y="128"/>
                    <a:pt x="335" y="128"/>
                    <a:pt x="334" y="126"/>
                  </a:cubicBezTo>
                  <a:cubicBezTo>
                    <a:pt x="334" y="126"/>
                    <a:pt x="334" y="126"/>
                    <a:pt x="334" y="126"/>
                  </a:cubicBezTo>
                  <a:cubicBezTo>
                    <a:pt x="333" y="126"/>
                    <a:pt x="333" y="126"/>
                    <a:pt x="333" y="126"/>
                  </a:cubicBezTo>
                  <a:cubicBezTo>
                    <a:pt x="333" y="126"/>
                    <a:pt x="333" y="126"/>
                    <a:pt x="333" y="126"/>
                  </a:cubicBezTo>
                  <a:cubicBezTo>
                    <a:pt x="333" y="126"/>
                    <a:pt x="332" y="126"/>
                    <a:pt x="332" y="126"/>
                  </a:cubicBezTo>
                  <a:cubicBezTo>
                    <a:pt x="332" y="126"/>
                    <a:pt x="331" y="126"/>
                    <a:pt x="330" y="126"/>
                  </a:cubicBezTo>
                  <a:cubicBezTo>
                    <a:pt x="330" y="125"/>
                    <a:pt x="330" y="125"/>
                    <a:pt x="330" y="125"/>
                  </a:cubicBezTo>
                  <a:cubicBezTo>
                    <a:pt x="329" y="125"/>
                    <a:pt x="329" y="124"/>
                    <a:pt x="328" y="124"/>
                  </a:cubicBezTo>
                  <a:cubicBezTo>
                    <a:pt x="327" y="121"/>
                    <a:pt x="329" y="119"/>
                    <a:pt x="331" y="117"/>
                  </a:cubicBezTo>
                  <a:cubicBezTo>
                    <a:pt x="333" y="115"/>
                    <a:pt x="337" y="113"/>
                    <a:pt x="340" y="110"/>
                  </a:cubicBezTo>
                  <a:cubicBezTo>
                    <a:pt x="327" y="118"/>
                    <a:pt x="327" y="118"/>
                    <a:pt x="327" y="118"/>
                  </a:cubicBezTo>
                  <a:cubicBezTo>
                    <a:pt x="324" y="119"/>
                    <a:pt x="321" y="121"/>
                    <a:pt x="317" y="124"/>
                  </a:cubicBezTo>
                  <a:cubicBezTo>
                    <a:pt x="316" y="125"/>
                    <a:pt x="316" y="125"/>
                    <a:pt x="316" y="125"/>
                  </a:cubicBezTo>
                  <a:cubicBezTo>
                    <a:pt x="315" y="126"/>
                    <a:pt x="313" y="127"/>
                    <a:pt x="311" y="128"/>
                  </a:cubicBezTo>
                  <a:cubicBezTo>
                    <a:pt x="315" y="133"/>
                    <a:pt x="315" y="133"/>
                    <a:pt x="315" y="133"/>
                  </a:cubicBezTo>
                  <a:cubicBezTo>
                    <a:pt x="310" y="129"/>
                    <a:pt x="310" y="129"/>
                    <a:pt x="310" y="129"/>
                  </a:cubicBezTo>
                  <a:cubicBezTo>
                    <a:pt x="310" y="129"/>
                    <a:pt x="310" y="129"/>
                    <a:pt x="310" y="129"/>
                  </a:cubicBezTo>
                  <a:cubicBezTo>
                    <a:pt x="309" y="130"/>
                    <a:pt x="308" y="131"/>
                    <a:pt x="307" y="132"/>
                  </a:cubicBezTo>
                  <a:cubicBezTo>
                    <a:pt x="306" y="133"/>
                    <a:pt x="306" y="134"/>
                    <a:pt x="304" y="135"/>
                  </a:cubicBezTo>
                  <a:cubicBezTo>
                    <a:pt x="302" y="136"/>
                    <a:pt x="302" y="136"/>
                    <a:pt x="302" y="136"/>
                  </a:cubicBezTo>
                  <a:cubicBezTo>
                    <a:pt x="299" y="138"/>
                    <a:pt x="298" y="140"/>
                    <a:pt x="297" y="141"/>
                  </a:cubicBezTo>
                  <a:cubicBezTo>
                    <a:pt x="297" y="142"/>
                    <a:pt x="297" y="142"/>
                    <a:pt x="297" y="142"/>
                  </a:cubicBezTo>
                  <a:cubicBezTo>
                    <a:pt x="297" y="143"/>
                    <a:pt x="297" y="143"/>
                    <a:pt x="297" y="143"/>
                  </a:cubicBezTo>
                  <a:cubicBezTo>
                    <a:pt x="297" y="146"/>
                    <a:pt x="297" y="149"/>
                    <a:pt x="295" y="150"/>
                  </a:cubicBezTo>
                  <a:cubicBezTo>
                    <a:pt x="295" y="151"/>
                    <a:pt x="294" y="151"/>
                    <a:pt x="294" y="151"/>
                  </a:cubicBezTo>
                  <a:cubicBezTo>
                    <a:pt x="293" y="151"/>
                    <a:pt x="293" y="151"/>
                    <a:pt x="293" y="151"/>
                  </a:cubicBezTo>
                  <a:cubicBezTo>
                    <a:pt x="293" y="150"/>
                    <a:pt x="293" y="150"/>
                    <a:pt x="293" y="150"/>
                  </a:cubicBezTo>
                  <a:cubicBezTo>
                    <a:pt x="293" y="151"/>
                    <a:pt x="293" y="151"/>
                    <a:pt x="293" y="151"/>
                  </a:cubicBezTo>
                  <a:cubicBezTo>
                    <a:pt x="292" y="151"/>
                    <a:pt x="292" y="151"/>
                    <a:pt x="292" y="151"/>
                  </a:cubicBezTo>
                  <a:cubicBezTo>
                    <a:pt x="292" y="151"/>
                    <a:pt x="292" y="151"/>
                    <a:pt x="292" y="151"/>
                  </a:cubicBezTo>
                  <a:cubicBezTo>
                    <a:pt x="291" y="151"/>
                    <a:pt x="291" y="151"/>
                    <a:pt x="291" y="151"/>
                  </a:cubicBezTo>
                  <a:cubicBezTo>
                    <a:pt x="291" y="150"/>
                    <a:pt x="291" y="150"/>
                    <a:pt x="291" y="150"/>
                  </a:cubicBezTo>
                  <a:cubicBezTo>
                    <a:pt x="291" y="150"/>
                    <a:pt x="291" y="150"/>
                    <a:pt x="291" y="150"/>
                  </a:cubicBezTo>
                  <a:cubicBezTo>
                    <a:pt x="290" y="151"/>
                    <a:pt x="290" y="151"/>
                    <a:pt x="290" y="151"/>
                  </a:cubicBezTo>
                  <a:cubicBezTo>
                    <a:pt x="290" y="151"/>
                    <a:pt x="289" y="151"/>
                    <a:pt x="289" y="151"/>
                  </a:cubicBezTo>
                  <a:cubicBezTo>
                    <a:pt x="285" y="149"/>
                    <a:pt x="282" y="147"/>
                    <a:pt x="278" y="145"/>
                  </a:cubicBezTo>
                  <a:cubicBezTo>
                    <a:pt x="275" y="143"/>
                    <a:pt x="275" y="143"/>
                    <a:pt x="275" y="143"/>
                  </a:cubicBezTo>
                  <a:cubicBezTo>
                    <a:pt x="278" y="140"/>
                    <a:pt x="278" y="140"/>
                    <a:pt x="278" y="140"/>
                  </a:cubicBezTo>
                  <a:cubicBezTo>
                    <a:pt x="278" y="140"/>
                    <a:pt x="279" y="139"/>
                    <a:pt x="280" y="138"/>
                  </a:cubicBezTo>
                  <a:cubicBezTo>
                    <a:pt x="279" y="137"/>
                    <a:pt x="279" y="137"/>
                    <a:pt x="279" y="137"/>
                  </a:cubicBezTo>
                  <a:cubicBezTo>
                    <a:pt x="279" y="137"/>
                    <a:pt x="279" y="137"/>
                    <a:pt x="279" y="137"/>
                  </a:cubicBezTo>
                  <a:cubicBezTo>
                    <a:pt x="278" y="137"/>
                    <a:pt x="278" y="137"/>
                    <a:pt x="278" y="137"/>
                  </a:cubicBezTo>
                  <a:cubicBezTo>
                    <a:pt x="278" y="136"/>
                    <a:pt x="277" y="136"/>
                    <a:pt x="277" y="136"/>
                  </a:cubicBezTo>
                  <a:cubicBezTo>
                    <a:pt x="277" y="136"/>
                    <a:pt x="276" y="135"/>
                    <a:pt x="276" y="135"/>
                  </a:cubicBezTo>
                  <a:cubicBezTo>
                    <a:pt x="276" y="135"/>
                    <a:pt x="276" y="135"/>
                    <a:pt x="275" y="135"/>
                  </a:cubicBezTo>
                  <a:cubicBezTo>
                    <a:pt x="274" y="135"/>
                    <a:pt x="273" y="135"/>
                    <a:pt x="273" y="135"/>
                  </a:cubicBezTo>
                  <a:cubicBezTo>
                    <a:pt x="272" y="135"/>
                    <a:pt x="272" y="135"/>
                    <a:pt x="272" y="135"/>
                  </a:cubicBezTo>
                  <a:cubicBezTo>
                    <a:pt x="271" y="135"/>
                    <a:pt x="271" y="135"/>
                    <a:pt x="271" y="135"/>
                  </a:cubicBezTo>
                  <a:cubicBezTo>
                    <a:pt x="250" y="136"/>
                    <a:pt x="250" y="136"/>
                    <a:pt x="250" y="136"/>
                  </a:cubicBezTo>
                  <a:cubicBezTo>
                    <a:pt x="250" y="136"/>
                    <a:pt x="250" y="136"/>
                    <a:pt x="250" y="136"/>
                  </a:cubicBezTo>
                  <a:cubicBezTo>
                    <a:pt x="249" y="135"/>
                    <a:pt x="247" y="134"/>
                    <a:pt x="247" y="133"/>
                  </a:cubicBezTo>
                  <a:cubicBezTo>
                    <a:pt x="247" y="132"/>
                    <a:pt x="246" y="131"/>
                    <a:pt x="246" y="130"/>
                  </a:cubicBezTo>
                  <a:cubicBezTo>
                    <a:pt x="246" y="128"/>
                    <a:pt x="246" y="128"/>
                    <a:pt x="246" y="128"/>
                  </a:cubicBezTo>
                  <a:cubicBezTo>
                    <a:pt x="245" y="127"/>
                    <a:pt x="245" y="127"/>
                    <a:pt x="245" y="127"/>
                  </a:cubicBezTo>
                  <a:cubicBezTo>
                    <a:pt x="244" y="124"/>
                    <a:pt x="244" y="124"/>
                    <a:pt x="244" y="124"/>
                  </a:cubicBezTo>
                  <a:cubicBezTo>
                    <a:pt x="244" y="121"/>
                    <a:pt x="243" y="118"/>
                    <a:pt x="242" y="115"/>
                  </a:cubicBezTo>
                  <a:cubicBezTo>
                    <a:pt x="242" y="114"/>
                    <a:pt x="242" y="114"/>
                    <a:pt x="242" y="113"/>
                  </a:cubicBezTo>
                  <a:cubicBezTo>
                    <a:pt x="242" y="113"/>
                    <a:pt x="242" y="113"/>
                    <a:pt x="242" y="113"/>
                  </a:cubicBezTo>
                  <a:cubicBezTo>
                    <a:pt x="242" y="113"/>
                    <a:pt x="242" y="112"/>
                    <a:pt x="242" y="112"/>
                  </a:cubicBezTo>
                  <a:cubicBezTo>
                    <a:pt x="241" y="112"/>
                    <a:pt x="241" y="112"/>
                    <a:pt x="241" y="112"/>
                  </a:cubicBezTo>
                  <a:cubicBezTo>
                    <a:pt x="241" y="112"/>
                    <a:pt x="240" y="112"/>
                    <a:pt x="240" y="112"/>
                  </a:cubicBezTo>
                  <a:cubicBezTo>
                    <a:pt x="239" y="112"/>
                    <a:pt x="238" y="112"/>
                    <a:pt x="237" y="112"/>
                  </a:cubicBezTo>
                  <a:cubicBezTo>
                    <a:pt x="237" y="112"/>
                    <a:pt x="236" y="112"/>
                    <a:pt x="236" y="112"/>
                  </a:cubicBezTo>
                  <a:cubicBezTo>
                    <a:pt x="236" y="112"/>
                    <a:pt x="236" y="112"/>
                    <a:pt x="236" y="112"/>
                  </a:cubicBezTo>
                  <a:cubicBezTo>
                    <a:pt x="235" y="112"/>
                    <a:pt x="235" y="112"/>
                    <a:pt x="235" y="112"/>
                  </a:cubicBezTo>
                  <a:cubicBezTo>
                    <a:pt x="233" y="112"/>
                    <a:pt x="231" y="111"/>
                    <a:pt x="231" y="109"/>
                  </a:cubicBezTo>
                  <a:cubicBezTo>
                    <a:pt x="230" y="108"/>
                    <a:pt x="230" y="106"/>
                    <a:pt x="230" y="104"/>
                  </a:cubicBezTo>
                  <a:cubicBezTo>
                    <a:pt x="230" y="103"/>
                    <a:pt x="230" y="102"/>
                    <a:pt x="231" y="101"/>
                  </a:cubicBezTo>
                  <a:cubicBezTo>
                    <a:pt x="231" y="100"/>
                    <a:pt x="231" y="100"/>
                    <a:pt x="231" y="100"/>
                  </a:cubicBezTo>
                  <a:cubicBezTo>
                    <a:pt x="231" y="98"/>
                    <a:pt x="231" y="96"/>
                    <a:pt x="231" y="94"/>
                  </a:cubicBezTo>
                  <a:cubicBezTo>
                    <a:pt x="232" y="92"/>
                    <a:pt x="232" y="91"/>
                    <a:pt x="232" y="89"/>
                  </a:cubicBezTo>
                  <a:cubicBezTo>
                    <a:pt x="232" y="88"/>
                    <a:pt x="232" y="88"/>
                    <a:pt x="232" y="88"/>
                  </a:cubicBezTo>
                  <a:cubicBezTo>
                    <a:pt x="232" y="87"/>
                    <a:pt x="233" y="86"/>
                    <a:pt x="233" y="85"/>
                  </a:cubicBezTo>
                  <a:cubicBezTo>
                    <a:pt x="232" y="85"/>
                    <a:pt x="232" y="85"/>
                    <a:pt x="231" y="85"/>
                  </a:cubicBezTo>
                  <a:cubicBezTo>
                    <a:pt x="228" y="85"/>
                    <a:pt x="226" y="83"/>
                    <a:pt x="225" y="82"/>
                  </a:cubicBezTo>
                  <a:cubicBezTo>
                    <a:pt x="225" y="81"/>
                    <a:pt x="225" y="81"/>
                    <a:pt x="225" y="81"/>
                  </a:cubicBezTo>
                  <a:cubicBezTo>
                    <a:pt x="224" y="81"/>
                    <a:pt x="224" y="81"/>
                    <a:pt x="224" y="81"/>
                  </a:cubicBezTo>
                  <a:cubicBezTo>
                    <a:pt x="224" y="80"/>
                    <a:pt x="224" y="80"/>
                    <a:pt x="224" y="80"/>
                  </a:cubicBezTo>
                  <a:cubicBezTo>
                    <a:pt x="223" y="79"/>
                    <a:pt x="223" y="79"/>
                    <a:pt x="223" y="79"/>
                  </a:cubicBezTo>
                  <a:cubicBezTo>
                    <a:pt x="221" y="76"/>
                    <a:pt x="219" y="74"/>
                    <a:pt x="216" y="72"/>
                  </a:cubicBezTo>
                  <a:cubicBezTo>
                    <a:pt x="214" y="71"/>
                    <a:pt x="214" y="71"/>
                    <a:pt x="214" y="71"/>
                  </a:cubicBezTo>
                  <a:cubicBezTo>
                    <a:pt x="214" y="70"/>
                    <a:pt x="213" y="70"/>
                    <a:pt x="213" y="69"/>
                  </a:cubicBezTo>
                  <a:cubicBezTo>
                    <a:pt x="211" y="67"/>
                    <a:pt x="211" y="67"/>
                    <a:pt x="211" y="67"/>
                  </a:cubicBezTo>
                  <a:cubicBezTo>
                    <a:pt x="210" y="66"/>
                    <a:pt x="209" y="65"/>
                    <a:pt x="208" y="64"/>
                  </a:cubicBezTo>
                  <a:cubicBezTo>
                    <a:pt x="207" y="64"/>
                    <a:pt x="207" y="63"/>
                    <a:pt x="206" y="63"/>
                  </a:cubicBezTo>
                  <a:cubicBezTo>
                    <a:pt x="205" y="63"/>
                    <a:pt x="204" y="64"/>
                    <a:pt x="204" y="64"/>
                  </a:cubicBezTo>
                  <a:cubicBezTo>
                    <a:pt x="203" y="65"/>
                    <a:pt x="203" y="65"/>
                    <a:pt x="203" y="65"/>
                  </a:cubicBezTo>
                  <a:cubicBezTo>
                    <a:pt x="206" y="69"/>
                    <a:pt x="206" y="69"/>
                    <a:pt x="206" y="69"/>
                  </a:cubicBezTo>
                  <a:cubicBezTo>
                    <a:pt x="202" y="65"/>
                    <a:pt x="202" y="65"/>
                    <a:pt x="202" y="65"/>
                  </a:cubicBezTo>
                  <a:cubicBezTo>
                    <a:pt x="201" y="66"/>
                    <a:pt x="201" y="66"/>
                    <a:pt x="201" y="66"/>
                  </a:cubicBezTo>
                  <a:cubicBezTo>
                    <a:pt x="200" y="66"/>
                    <a:pt x="198" y="67"/>
                    <a:pt x="196" y="67"/>
                  </a:cubicBezTo>
                  <a:cubicBezTo>
                    <a:pt x="195" y="67"/>
                    <a:pt x="195" y="67"/>
                    <a:pt x="195" y="67"/>
                  </a:cubicBezTo>
                  <a:cubicBezTo>
                    <a:pt x="188" y="67"/>
                    <a:pt x="188" y="67"/>
                    <a:pt x="188" y="67"/>
                  </a:cubicBezTo>
                  <a:cubicBezTo>
                    <a:pt x="186" y="66"/>
                    <a:pt x="183" y="66"/>
                    <a:pt x="181" y="66"/>
                  </a:cubicBezTo>
                  <a:cubicBezTo>
                    <a:pt x="177" y="66"/>
                    <a:pt x="173" y="65"/>
                    <a:pt x="170" y="65"/>
                  </a:cubicBezTo>
                  <a:cubicBezTo>
                    <a:pt x="169" y="65"/>
                    <a:pt x="167" y="66"/>
                    <a:pt x="166" y="66"/>
                  </a:cubicBezTo>
                  <a:cubicBezTo>
                    <a:pt x="162" y="66"/>
                    <a:pt x="158" y="67"/>
                    <a:pt x="153" y="68"/>
                  </a:cubicBezTo>
                  <a:cubicBezTo>
                    <a:pt x="149" y="68"/>
                    <a:pt x="146" y="69"/>
                    <a:pt x="142" y="69"/>
                  </a:cubicBezTo>
                  <a:cubicBezTo>
                    <a:pt x="142" y="69"/>
                    <a:pt x="141" y="69"/>
                    <a:pt x="141" y="69"/>
                  </a:cubicBezTo>
                  <a:cubicBezTo>
                    <a:pt x="140" y="69"/>
                    <a:pt x="139" y="69"/>
                    <a:pt x="138" y="69"/>
                  </a:cubicBezTo>
                  <a:cubicBezTo>
                    <a:pt x="138" y="69"/>
                    <a:pt x="138" y="69"/>
                    <a:pt x="138" y="69"/>
                  </a:cubicBezTo>
                  <a:cubicBezTo>
                    <a:pt x="137" y="69"/>
                    <a:pt x="136" y="68"/>
                    <a:pt x="135" y="67"/>
                  </a:cubicBezTo>
                  <a:cubicBezTo>
                    <a:pt x="134" y="67"/>
                    <a:pt x="134" y="67"/>
                    <a:pt x="134" y="67"/>
                  </a:cubicBezTo>
                  <a:cubicBezTo>
                    <a:pt x="134" y="66"/>
                    <a:pt x="133" y="66"/>
                    <a:pt x="132" y="65"/>
                  </a:cubicBezTo>
                  <a:cubicBezTo>
                    <a:pt x="131" y="64"/>
                    <a:pt x="131" y="64"/>
                    <a:pt x="131" y="64"/>
                  </a:cubicBezTo>
                  <a:cubicBezTo>
                    <a:pt x="131" y="63"/>
                    <a:pt x="131" y="63"/>
                    <a:pt x="130" y="63"/>
                  </a:cubicBezTo>
                  <a:cubicBezTo>
                    <a:pt x="128" y="60"/>
                    <a:pt x="125" y="57"/>
                    <a:pt x="122" y="54"/>
                  </a:cubicBezTo>
                  <a:cubicBezTo>
                    <a:pt x="122" y="54"/>
                    <a:pt x="117" y="49"/>
                    <a:pt x="115" y="45"/>
                  </a:cubicBezTo>
                  <a:cubicBezTo>
                    <a:pt x="113" y="42"/>
                    <a:pt x="101" y="35"/>
                    <a:pt x="96" y="32"/>
                  </a:cubicBezTo>
                  <a:cubicBezTo>
                    <a:pt x="94" y="31"/>
                    <a:pt x="94" y="31"/>
                    <a:pt x="94" y="31"/>
                  </a:cubicBezTo>
                  <a:cubicBezTo>
                    <a:pt x="94" y="35"/>
                    <a:pt x="94" y="39"/>
                    <a:pt x="93" y="42"/>
                  </a:cubicBezTo>
                  <a:cubicBezTo>
                    <a:pt x="93" y="43"/>
                    <a:pt x="93" y="44"/>
                    <a:pt x="92" y="45"/>
                  </a:cubicBezTo>
                  <a:cubicBezTo>
                    <a:pt x="91" y="46"/>
                    <a:pt x="88" y="47"/>
                    <a:pt x="88" y="48"/>
                  </a:cubicBezTo>
                  <a:cubicBezTo>
                    <a:pt x="88" y="48"/>
                    <a:pt x="89" y="51"/>
                    <a:pt x="89" y="51"/>
                  </a:cubicBezTo>
                  <a:cubicBezTo>
                    <a:pt x="88" y="51"/>
                    <a:pt x="88" y="51"/>
                    <a:pt x="88" y="51"/>
                  </a:cubicBezTo>
                  <a:cubicBezTo>
                    <a:pt x="87" y="51"/>
                    <a:pt x="87" y="49"/>
                    <a:pt x="86" y="49"/>
                  </a:cubicBezTo>
                  <a:cubicBezTo>
                    <a:pt x="86" y="49"/>
                    <a:pt x="86" y="49"/>
                    <a:pt x="86" y="49"/>
                  </a:cubicBezTo>
                  <a:cubicBezTo>
                    <a:pt x="85" y="49"/>
                    <a:pt x="85" y="49"/>
                    <a:pt x="84" y="50"/>
                  </a:cubicBezTo>
                  <a:cubicBezTo>
                    <a:pt x="83" y="50"/>
                    <a:pt x="83" y="50"/>
                    <a:pt x="82" y="50"/>
                  </a:cubicBezTo>
                  <a:cubicBezTo>
                    <a:pt x="82" y="50"/>
                    <a:pt x="82" y="50"/>
                    <a:pt x="81" y="50"/>
                  </a:cubicBezTo>
                  <a:cubicBezTo>
                    <a:pt x="78" y="50"/>
                    <a:pt x="80" y="48"/>
                    <a:pt x="78" y="46"/>
                  </a:cubicBezTo>
                  <a:cubicBezTo>
                    <a:pt x="75" y="43"/>
                    <a:pt x="73" y="40"/>
                    <a:pt x="72" y="35"/>
                  </a:cubicBezTo>
                  <a:cubicBezTo>
                    <a:pt x="71" y="30"/>
                    <a:pt x="75" y="26"/>
                    <a:pt x="77" y="20"/>
                  </a:cubicBezTo>
                  <a:cubicBezTo>
                    <a:pt x="78" y="21"/>
                    <a:pt x="78" y="21"/>
                    <a:pt x="78" y="21"/>
                  </a:cubicBezTo>
                  <a:cubicBezTo>
                    <a:pt x="78" y="19"/>
                    <a:pt x="78" y="19"/>
                    <a:pt x="78" y="19"/>
                  </a:cubicBezTo>
                  <a:cubicBezTo>
                    <a:pt x="79" y="19"/>
                    <a:pt x="79" y="19"/>
                    <a:pt x="79" y="19"/>
                  </a:cubicBezTo>
                  <a:cubicBezTo>
                    <a:pt x="83" y="21"/>
                    <a:pt x="87" y="24"/>
                    <a:pt x="91" y="26"/>
                  </a:cubicBezTo>
                  <a:cubicBezTo>
                    <a:pt x="87" y="24"/>
                    <a:pt x="83" y="21"/>
                    <a:pt x="79" y="19"/>
                  </a:cubicBezTo>
                  <a:cubicBezTo>
                    <a:pt x="79" y="19"/>
                    <a:pt x="79" y="18"/>
                    <a:pt x="79" y="18"/>
                  </a:cubicBezTo>
                  <a:cubicBezTo>
                    <a:pt x="79" y="17"/>
                    <a:pt x="79" y="17"/>
                    <a:pt x="79" y="17"/>
                  </a:cubicBezTo>
                  <a:cubicBezTo>
                    <a:pt x="78" y="17"/>
                    <a:pt x="78" y="17"/>
                    <a:pt x="78" y="17"/>
                  </a:cubicBezTo>
                  <a:cubicBezTo>
                    <a:pt x="79" y="16"/>
                    <a:pt x="79" y="16"/>
                    <a:pt x="79" y="15"/>
                  </a:cubicBezTo>
                  <a:cubicBezTo>
                    <a:pt x="78" y="16"/>
                    <a:pt x="78" y="16"/>
                    <a:pt x="78" y="16"/>
                  </a:cubicBezTo>
                  <a:cubicBezTo>
                    <a:pt x="77" y="15"/>
                    <a:pt x="77" y="12"/>
                    <a:pt x="77" y="11"/>
                  </a:cubicBezTo>
                  <a:cubicBezTo>
                    <a:pt x="77" y="9"/>
                    <a:pt x="77" y="7"/>
                    <a:pt x="76" y="7"/>
                  </a:cubicBezTo>
                  <a:cubicBezTo>
                    <a:pt x="76" y="7"/>
                    <a:pt x="76" y="7"/>
                    <a:pt x="75" y="8"/>
                  </a:cubicBezTo>
                  <a:cubicBezTo>
                    <a:pt x="75" y="7"/>
                    <a:pt x="75" y="6"/>
                    <a:pt x="75" y="6"/>
                  </a:cubicBezTo>
                  <a:cubicBezTo>
                    <a:pt x="74" y="5"/>
                    <a:pt x="73" y="5"/>
                    <a:pt x="72" y="4"/>
                  </a:cubicBezTo>
                  <a:cubicBezTo>
                    <a:pt x="72" y="3"/>
                    <a:pt x="72" y="1"/>
                    <a:pt x="71" y="0"/>
                  </a:cubicBezTo>
                  <a:cubicBezTo>
                    <a:pt x="71" y="0"/>
                    <a:pt x="70" y="0"/>
                    <a:pt x="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298"/>
            <p:cNvSpPr>
              <a:spLocks noEditPoints="1"/>
            </p:cNvSpPr>
            <p:nvPr/>
          </p:nvSpPr>
          <p:spPr bwMode="auto">
            <a:xfrm>
              <a:off x="6563" y="1344"/>
              <a:ext cx="425" cy="475"/>
            </a:xfrm>
            <a:custGeom>
              <a:gdLst>
                <a:gd name="T0" fmla="*/ 133 w 180"/>
                <a:gd name="T1" fmla="*/ 143 h 201"/>
                <a:gd name="T2" fmla="*/ 100 w 180"/>
                <a:gd name="T3" fmla="*/ 0 h 201"/>
                <a:gd name="T4" fmla="*/ 94 w 180"/>
                <a:gd name="T5" fmla="*/ 4 h 201"/>
                <a:gd name="T6" fmla="*/ 89 w 180"/>
                <a:gd name="T7" fmla="*/ 5 h 201"/>
                <a:gd name="T8" fmla="*/ 88 w 180"/>
                <a:gd name="T9" fmla="*/ 13 h 201"/>
                <a:gd name="T10" fmla="*/ 89 w 180"/>
                <a:gd name="T11" fmla="*/ 14 h 201"/>
                <a:gd name="T12" fmla="*/ 95 w 180"/>
                <a:gd name="T13" fmla="*/ 21 h 201"/>
                <a:gd name="T14" fmla="*/ 84 w 180"/>
                <a:gd name="T15" fmla="*/ 23 h 201"/>
                <a:gd name="T16" fmla="*/ 84 w 180"/>
                <a:gd name="T17" fmla="*/ 28 h 201"/>
                <a:gd name="T18" fmla="*/ 82 w 180"/>
                <a:gd name="T19" fmla="*/ 23 h 201"/>
                <a:gd name="T20" fmla="*/ 79 w 180"/>
                <a:gd name="T21" fmla="*/ 28 h 201"/>
                <a:gd name="T22" fmla="*/ 77 w 180"/>
                <a:gd name="T23" fmla="*/ 40 h 201"/>
                <a:gd name="T24" fmla="*/ 75 w 180"/>
                <a:gd name="T25" fmla="*/ 49 h 201"/>
                <a:gd name="T26" fmla="*/ 74 w 180"/>
                <a:gd name="T27" fmla="*/ 52 h 201"/>
                <a:gd name="T28" fmla="*/ 77 w 180"/>
                <a:gd name="T29" fmla="*/ 56 h 201"/>
                <a:gd name="T30" fmla="*/ 80 w 180"/>
                <a:gd name="T31" fmla="*/ 62 h 201"/>
                <a:gd name="T32" fmla="*/ 82 w 180"/>
                <a:gd name="T33" fmla="*/ 67 h 201"/>
                <a:gd name="T34" fmla="*/ 82 w 180"/>
                <a:gd name="T35" fmla="*/ 77 h 201"/>
                <a:gd name="T36" fmla="*/ 77 w 180"/>
                <a:gd name="T37" fmla="*/ 96 h 201"/>
                <a:gd name="T38" fmla="*/ 74 w 180"/>
                <a:gd name="T39" fmla="*/ 105 h 201"/>
                <a:gd name="T40" fmla="*/ 73 w 180"/>
                <a:gd name="T41" fmla="*/ 107 h 201"/>
                <a:gd name="T42" fmla="*/ 72 w 180"/>
                <a:gd name="T43" fmla="*/ 111 h 201"/>
                <a:gd name="T44" fmla="*/ 72 w 180"/>
                <a:gd name="T45" fmla="*/ 113 h 201"/>
                <a:gd name="T46" fmla="*/ 68 w 180"/>
                <a:gd name="T47" fmla="*/ 122 h 201"/>
                <a:gd name="T48" fmla="*/ 67 w 180"/>
                <a:gd name="T49" fmla="*/ 123 h 201"/>
                <a:gd name="T50" fmla="*/ 40 w 180"/>
                <a:gd name="T51" fmla="*/ 132 h 201"/>
                <a:gd name="T52" fmla="*/ 0 w 180"/>
                <a:gd name="T53" fmla="*/ 146 h 201"/>
                <a:gd name="T54" fmla="*/ 25 w 180"/>
                <a:gd name="T55" fmla="*/ 201 h 201"/>
                <a:gd name="T56" fmla="*/ 52 w 180"/>
                <a:gd name="T57" fmla="*/ 192 h 201"/>
                <a:gd name="T58" fmla="*/ 58 w 180"/>
                <a:gd name="T59" fmla="*/ 193 h 201"/>
                <a:gd name="T60" fmla="*/ 66 w 180"/>
                <a:gd name="T61" fmla="*/ 193 h 201"/>
                <a:gd name="T62" fmla="*/ 79 w 180"/>
                <a:gd name="T63" fmla="*/ 172 h 201"/>
                <a:gd name="T64" fmla="*/ 93 w 180"/>
                <a:gd name="T65" fmla="*/ 170 h 201"/>
                <a:gd name="T66" fmla="*/ 103 w 180"/>
                <a:gd name="T67" fmla="*/ 164 h 201"/>
                <a:gd name="T68" fmla="*/ 109 w 180"/>
                <a:gd name="T69" fmla="*/ 150 h 201"/>
                <a:gd name="T70" fmla="*/ 133 w 180"/>
                <a:gd name="T71" fmla="*/ 143 h 201"/>
                <a:gd name="T72" fmla="*/ 133 w 180"/>
                <a:gd name="T73" fmla="*/ 142 h 201"/>
                <a:gd name="T74" fmla="*/ 132 w 180"/>
                <a:gd name="T75" fmla="*/ 140 h 201"/>
                <a:gd name="T76" fmla="*/ 131 w 180"/>
                <a:gd name="T77" fmla="*/ 134 h 201"/>
                <a:gd name="T78" fmla="*/ 133 w 180"/>
                <a:gd name="T79" fmla="*/ 120 h 201"/>
                <a:gd name="T80" fmla="*/ 142 w 180"/>
                <a:gd name="T81" fmla="*/ 105 h 201"/>
                <a:gd name="T82" fmla="*/ 144 w 180"/>
                <a:gd name="T83" fmla="*/ 110 h 201"/>
                <a:gd name="T84" fmla="*/ 149 w 180"/>
                <a:gd name="T85" fmla="*/ 107 h 201"/>
                <a:gd name="T86" fmla="*/ 162 w 180"/>
                <a:gd name="T87" fmla="*/ 89 h 201"/>
                <a:gd name="T88" fmla="*/ 176 w 180"/>
                <a:gd name="T89" fmla="*/ 71 h 201"/>
                <a:gd name="T90" fmla="*/ 176 w 180"/>
                <a:gd name="T91" fmla="*/ 57 h 201"/>
                <a:gd name="T92" fmla="*/ 167 w 180"/>
                <a:gd name="T93" fmla="*/ 50 h 201"/>
                <a:gd name="T94" fmla="*/ 156 w 180"/>
                <a:gd name="T95" fmla="*/ 36 h 201"/>
                <a:gd name="T96" fmla="*/ 150 w 180"/>
                <a:gd name="T97" fmla="*/ 30 h 201"/>
                <a:gd name="T98" fmla="*/ 147 w 180"/>
                <a:gd name="T99" fmla="*/ 30 h 201"/>
                <a:gd name="T100" fmla="*/ 132 w 180"/>
                <a:gd name="T101" fmla="*/ 27 h 201"/>
                <a:gd name="T102" fmla="*/ 109 w 180"/>
                <a:gd name="T103" fmla="*/ 14 h 201"/>
                <a:gd name="T104" fmla="*/ 102 w 180"/>
                <a:gd name="T105" fmla="*/ 4 h 201"/>
                <a:gd name="T106" fmla="*/ 100 w 180"/>
                <a:gd name="T107" fmla="*/ 0 h 2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201">
                  <a:moveTo>
                    <a:pt x="133" y="143"/>
                  </a:moveTo>
                  <a:cubicBezTo>
                    <a:pt x="133" y="143"/>
                    <a:pt x="133" y="143"/>
                    <a:pt x="133" y="143"/>
                  </a:cubicBezTo>
                  <a:cubicBezTo>
                    <a:pt x="133" y="143"/>
                    <a:pt x="133" y="143"/>
                    <a:pt x="133" y="143"/>
                  </a:cubicBezTo>
                  <a:moveTo>
                    <a:pt x="100" y="0"/>
                  </a:moveTo>
                  <a:cubicBezTo>
                    <a:pt x="99" y="2"/>
                    <a:pt x="98" y="2"/>
                    <a:pt x="97" y="3"/>
                  </a:cubicBezTo>
                  <a:cubicBezTo>
                    <a:pt x="96" y="3"/>
                    <a:pt x="95" y="4"/>
                    <a:pt x="94" y="4"/>
                  </a:cubicBezTo>
                  <a:cubicBezTo>
                    <a:pt x="90" y="8"/>
                    <a:pt x="90" y="8"/>
                    <a:pt x="90" y="8"/>
                  </a:cubicBezTo>
                  <a:cubicBezTo>
                    <a:pt x="89" y="5"/>
                    <a:pt x="89" y="5"/>
                    <a:pt x="89" y="5"/>
                  </a:cubicBezTo>
                  <a:cubicBezTo>
                    <a:pt x="89" y="5"/>
                    <a:pt x="89" y="5"/>
                    <a:pt x="89" y="5"/>
                  </a:cubicBezTo>
                  <a:cubicBezTo>
                    <a:pt x="88" y="7"/>
                    <a:pt x="88" y="10"/>
                    <a:pt x="88" y="13"/>
                  </a:cubicBezTo>
                  <a:cubicBezTo>
                    <a:pt x="88" y="14"/>
                    <a:pt x="88" y="14"/>
                    <a:pt x="88" y="14"/>
                  </a:cubicBezTo>
                  <a:cubicBezTo>
                    <a:pt x="89" y="14"/>
                    <a:pt x="89" y="14"/>
                    <a:pt x="89" y="14"/>
                  </a:cubicBezTo>
                  <a:cubicBezTo>
                    <a:pt x="91" y="16"/>
                    <a:pt x="92" y="17"/>
                    <a:pt x="93" y="18"/>
                  </a:cubicBezTo>
                  <a:cubicBezTo>
                    <a:pt x="95" y="21"/>
                    <a:pt x="95" y="21"/>
                    <a:pt x="95" y="21"/>
                  </a:cubicBezTo>
                  <a:cubicBezTo>
                    <a:pt x="89" y="22"/>
                    <a:pt x="89" y="22"/>
                    <a:pt x="89" y="22"/>
                  </a:cubicBezTo>
                  <a:cubicBezTo>
                    <a:pt x="87" y="23"/>
                    <a:pt x="86" y="23"/>
                    <a:pt x="84" y="23"/>
                  </a:cubicBezTo>
                  <a:cubicBezTo>
                    <a:pt x="84" y="23"/>
                    <a:pt x="84" y="23"/>
                    <a:pt x="84" y="23"/>
                  </a:cubicBezTo>
                  <a:cubicBezTo>
                    <a:pt x="84" y="28"/>
                    <a:pt x="84" y="28"/>
                    <a:pt x="84" y="28"/>
                  </a:cubicBezTo>
                  <a:cubicBezTo>
                    <a:pt x="82" y="23"/>
                    <a:pt x="82" y="23"/>
                    <a:pt x="82" y="23"/>
                  </a:cubicBezTo>
                  <a:cubicBezTo>
                    <a:pt x="82" y="23"/>
                    <a:pt x="82" y="23"/>
                    <a:pt x="82" y="23"/>
                  </a:cubicBezTo>
                  <a:cubicBezTo>
                    <a:pt x="80" y="24"/>
                    <a:pt x="80" y="25"/>
                    <a:pt x="79" y="27"/>
                  </a:cubicBezTo>
                  <a:cubicBezTo>
                    <a:pt x="79" y="28"/>
                    <a:pt x="79" y="28"/>
                    <a:pt x="79" y="28"/>
                  </a:cubicBezTo>
                  <a:cubicBezTo>
                    <a:pt x="79" y="29"/>
                    <a:pt x="79" y="30"/>
                    <a:pt x="79" y="31"/>
                  </a:cubicBezTo>
                  <a:cubicBezTo>
                    <a:pt x="78" y="34"/>
                    <a:pt x="77" y="37"/>
                    <a:pt x="77" y="40"/>
                  </a:cubicBezTo>
                  <a:cubicBezTo>
                    <a:pt x="75" y="47"/>
                    <a:pt x="75" y="47"/>
                    <a:pt x="75" y="47"/>
                  </a:cubicBezTo>
                  <a:cubicBezTo>
                    <a:pt x="75" y="48"/>
                    <a:pt x="75" y="48"/>
                    <a:pt x="75" y="49"/>
                  </a:cubicBezTo>
                  <a:cubicBezTo>
                    <a:pt x="75" y="50"/>
                    <a:pt x="75" y="50"/>
                    <a:pt x="75" y="50"/>
                  </a:cubicBezTo>
                  <a:cubicBezTo>
                    <a:pt x="75" y="50"/>
                    <a:pt x="74" y="52"/>
                    <a:pt x="74" y="52"/>
                  </a:cubicBezTo>
                  <a:cubicBezTo>
                    <a:pt x="75" y="54"/>
                    <a:pt x="76" y="55"/>
                    <a:pt x="76" y="56"/>
                  </a:cubicBezTo>
                  <a:cubicBezTo>
                    <a:pt x="77" y="56"/>
                    <a:pt x="77" y="56"/>
                    <a:pt x="77" y="56"/>
                  </a:cubicBezTo>
                  <a:cubicBezTo>
                    <a:pt x="77" y="58"/>
                    <a:pt x="78" y="59"/>
                    <a:pt x="79" y="61"/>
                  </a:cubicBezTo>
                  <a:cubicBezTo>
                    <a:pt x="80" y="62"/>
                    <a:pt x="80" y="62"/>
                    <a:pt x="80" y="62"/>
                  </a:cubicBezTo>
                  <a:cubicBezTo>
                    <a:pt x="80" y="64"/>
                    <a:pt x="81" y="65"/>
                    <a:pt x="81" y="66"/>
                  </a:cubicBezTo>
                  <a:cubicBezTo>
                    <a:pt x="81" y="66"/>
                    <a:pt x="81" y="67"/>
                    <a:pt x="82" y="67"/>
                  </a:cubicBezTo>
                  <a:cubicBezTo>
                    <a:pt x="82" y="69"/>
                    <a:pt x="83" y="71"/>
                    <a:pt x="83" y="73"/>
                  </a:cubicBezTo>
                  <a:cubicBezTo>
                    <a:pt x="83" y="74"/>
                    <a:pt x="82" y="76"/>
                    <a:pt x="82" y="77"/>
                  </a:cubicBezTo>
                  <a:cubicBezTo>
                    <a:pt x="82" y="81"/>
                    <a:pt x="81" y="83"/>
                    <a:pt x="80" y="86"/>
                  </a:cubicBezTo>
                  <a:cubicBezTo>
                    <a:pt x="77" y="96"/>
                    <a:pt x="77" y="96"/>
                    <a:pt x="77" y="96"/>
                  </a:cubicBezTo>
                  <a:cubicBezTo>
                    <a:pt x="76" y="98"/>
                    <a:pt x="75" y="101"/>
                    <a:pt x="74" y="104"/>
                  </a:cubicBezTo>
                  <a:cubicBezTo>
                    <a:pt x="74" y="105"/>
                    <a:pt x="74" y="105"/>
                    <a:pt x="74" y="105"/>
                  </a:cubicBezTo>
                  <a:cubicBezTo>
                    <a:pt x="74" y="106"/>
                    <a:pt x="74" y="106"/>
                    <a:pt x="74" y="106"/>
                  </a:cubicBezTo>
                  <a:cubicBezTo>
                    <a:pt x="73" y="107"/>
                    <a:pt x="73" y="107"/>
                    <a:pt x="73" y="107"/>
                  </a:cubicBezTo>
                  <a:cubicBezTo>
                    <a:pt x="73" y="109"/>
                    <a:pt x="73" y="109"/>
                    <a:pt x="73" y="109"/>
                  </a:cubicBezTo>
                  <a:cubicBezTo>
                    <a:pt x="73" y="110"/>
                    <a:pt x="72" y="111"/>
                    <a:pt x="72" y="111"/>
                  </a:cubicBezTo>
                  <a:cubicBezTo>
                    <a:pt x="72" y="112"/>
                    <a:pt x="72" y="112"/>
                    <a:pt x="72" y="112"/>
                  </a:cubicBezTo>
                  <a:cubicBezTo>
                    <a:pt x="72" y="113"/>
                    <a:pt x="72" y="113"/>
                    <a:pt x="72" y="113"/>
                  </a:cubicBezTo>
                  <a:cubicBezTo>
                    <a:pt x="71" y="115"/>
                    <a:pt x="71" y="118"/>
                    <a:pt x="70" y="119"/>
                  </a:cubicBezTo>
                  <a:cubicBezTo>
                    <a:pt x="69" y="120"/>
                    <a:pt x="69" y="121"/>
                    <a:pt x="68" y="122"/>
                  </a:cubicBezTo>
                  <a:cubicBezTo>
                    <a:pt x="69" y="125"/>
                    <a:pt x="69" y="125"/>
                    <a:pt x="69" y="125"/>
                  </a:cubicBezTo>
                  <a:cubicBezTo>
                    <a:pt x="67" y="123"/>
                    <a:pt x="67" y="123"/>
                    <a:pt x="67" y="123"/>
                  </a:cubicBezTo>
                  <a:cubicBezTo>
                    <a:pt x="63" y="124"/>
                    <a:pt x="63" y="124"/>
                    <a:pt x="63" y="124"/>
                  </a:cubicBezTo>
                  <a:cubicBezTo>
                    <a:pt x="55" y="127"/>
                    <a:pt x="48" y="129"/>
                    <a:pt x="40" y="132"/>
                  </a:cubicBezTo>
                  <a:cubicBezTo>
                    <a:pt x="3" y="145"/>
                    <a:pt x="3" y="145"/>
                    <a:pt x="3" y="145"/>
                  </a:cubicBezTo>
                  <a:cubicBezTo>
                    <a:pt x="1" y="145"/>
                    <a:pt x="1" y="145"/>
                    <a:pt x="0" y="146"/>
                  </a:cubicBezTo>
                  <a:cubicBezTo>
                    <a:pt x="7" y="162"/>
                    <a:pt x="7" y="162"/>
                    <a:pt x="7" y="162"/>
                  </a:cubicBezTo>
                  <a:cubicBezTo>
                    <a:pt x="13" y="175"/>
                    <a:pt x="19" y="188"/>
                    <a:pt x="25" y="201"/>
                  </a:cubicBezTo>
                  <a:cubicBezTo>
                    <a:pt x="28" y="200"/>
                    <a:pt x="33" y="197"/>
                    <a:pt x="35" y="196"/>
                  </a:cubicBezTo>
                  <a:cubicBezTo>
                    <a:pt x="41" y="194"/>
                    <a:pt x="46" y="192"/>
                    <a:pt x="52" y="192"/>
                  </a:cubicBezTo>
                  <a:cubicBezTo>
                    <a:pt x="52" y="192"/>
                    <a:pt x="52" y="192"/>
                    <a:pt x="52" y="192"/>
                  </a:cubicBezTo>
                  <a:cubicBezTo>
                    <a:pt x="54" y="192"/>
                    <a:pt x="56" y="192"/>
                    <a:pt x="58" y="193"/>
                  </a:cubicBezTo>
                  <a:cubicBezTo>
                    <a:pt x="60" y="193"/>
                    <a:pt x="62" y="193"/>
                    <a:pt x="63" y="193"/>
                  </a:cubicBezTo>
                  <a:cubicBezTo>
                    <a:pt x="64" y="193"/>
                    <a:pt x="65" y="193"/>
                    <a:pt x="66" y="193"/>
                  </a:cubicBezTo>
                  <a:cubicBezTo>
                    <a:pt x="66" y="193"/>
                    <a:pt x="67" y="192"/>
                    <a:pt x="67" y="192"/>
                  </a:cubicBezTo>
                  <a:cubicBezTo>
                    <a:pt x="75" y="188"/>
                    <a:pt x="70" y="175"/>
                    <a:pt x="79" y="172"/>
                  </a:cubicBezTo>
                  <a:cubicBezTo>
                    <a:pt x="81" y="171"/>
                    <a:pt x="84" y="171"/>
                    <a:pt x="86" y="171"/>
                  </a:cubicBezTo>
                  <a:cubicBezTo>
                    <a:pt x="88" y="171"/>
                    <a:pt x="91" y="171"/>
                    <a:pt x="93" y="170"/>
                  </a:cubicBezTo>
                  <a:cubicBezTo>
                    <a:pt x="96" y="169"/>
                    <a:pt x="100" y="168"/>
                    <a:pt x="102" y="166"/>
                  </a:cubicBezTo>
                  <a:cubicBezTo>
                    <a:pt x="103" y="164"/>
                    <a:pt x="102" y="165"/>
                    <a:pt x="103" y="164"/>
                  </a:cubicBezTo>
                  <a:cubicBezTo>
                    <a:pt x="104" y="162"/>
                    <a:pt x="104" y="161"/>
                    <a:pt x="104" y="160"/>
                  </a:cubicBezTo>
                  <a:cubicBezTo>
                    <a:pt x="106" y="157"/>
                    <a:pt x="107" y="153"/>
                    <a:pt x="109" y="150"/>
                  </a:cubicBezTo>
                  <a:cubicBezTo>
                    <a:pt x="109" y="149"/>
                    <a:pt x="115" y="149"/>
                    <a:pt x="116" y="148"/>
                  </a:cubicBezTo>
                  <a:cubicBezTo>
                    <a:pt x="120" y="147"/>
                    <a:pt x="132" y="146"/>
                    <a:pt x="133" y="143"/>
                  </a:cubicBezTo>
                  <a:cubicBezTo>
                    <a:pt x="133" y="143"/>
                    <a:pt x="133" y="143"/>
                    <a:pt x="133" y="143"/>
                  </a:cubicBezTo>
                  <a:cubicBezTo>
                    <a:pt x="133" y="143"/>
                    <a:pt x="133" y="142"/>
                    <a:pt x="133" y="142"/>
                  </a:cubicBezTo>
                  <a:cubicBezTo>
                    <a:pt x="132" y="141"/>
                    <a:pt x="132" y="140"/>
                    <a:pt x="132" y="140"/>
                  </a:cubicBezTo>
                  <a:cubicBezTo>
                    <a:pt x="132" y="140"/>
                    <a:pt x="132" y="140"/>
                    <a:pt x="132" y="140"/>
                  </a:cubicBezTo>
                  <a:cubicBezTo>
                    <a:pt x="132" y="139"/>
                    <a:pt x="131" y="139"/>
                    <a:pt x="131" y="137"/>
                  </a:cubicBezTo>
                  <a:cubicBezTo>
                    <a:pt x="131" y="136"/>
                    <a:pt x="132" y="135"/>
                    <a:pt x="131" y="134"/>
                  </a:cubicBezTo>
                  <a:cubicBezTo>
                    <a:pt x="131" y="132"/>
                    <a:pt x="130" y="130"/>
                    <a:pt x="130" y="128"/>
                  </a:cubicBezTo>
                  <a:cubicBezTo>
                    <a:pt x="130" y="125"/>
                    <a:pt x="132" y="122"/>
                    <a:pt x="133" y="120"/>
                  </a:cubicBezTo>
                  <a:cubicBezTo>
                    <a:pt x="134" y="116"/>
                    <a:pt x="137" y="106"/>
                    <a:pt x="141" y="105"/>
                  </a:cubicBezTo>
                  <a:cubicBezTo>
                    <a:pt x="141" y="105"/>
                    <a:pt x="142" y="105"/>
                    <a:pt x="142" y="105"/>
                  </a:cubicBezTo>
                  <a:cubicBezTo>
                    <a:pt x="143" y="105"/>
                    <a:pt x="144" y="106"/>
                    <a:pt x="142" y="107"/>
                  </a:cubicBezTo>
                  <a:cubicBezTo>
                    <a:pt x="140" y="110"/>
                    <a:pt x="142" y="110"/>
                    <a:pt x="144" y="110"/>
                  </a:cubicBezTo>
                  <a:cubicBezTo>
                    <a:pt x="145" y="110"/>
                    <a:pt x="145" y="110"/>
                    <a:pt x="146" y="110"/>
                  </a:cubicBezTo>
                  <a:cubicBezTo>
                    <a:pt x="149" y="109"/>
                    <a:pt x="148" y="109"/>
                    <a:pt x="149" y="107"/>
                  </a:cubicBezTo>
                  <a:cubicBezTo>
                    <a:pt x="151" y="105"/>
                    <a:pt x="152" y="103"/>
                    <a:pt x="154" y="101"/>
                  </a:cubicBezTo>
                  <a:cubicBezTo>
                    <a:pt x="157" y="97"/>
                    <a:pt x="158" y="92"/>
                    <a:pt x="162" y="89"/>
                  </a:cubicBezTo>
                  <a:cubicBezTo>
                    <a:pt x="166" y="86"/>
                    <a:pt x="168" y="85"/>
                    <a:pt x="170" y="81"/>
                  </a:cubicBezTo>
                  <a:cubicBezTo>
                    <a:pt x="172" y="78"/>
                    <a:pt x="176" y="74"/>
                    <a:pt x="176" y="71"/>
                  </a:cubicBezTo>
                  <a:cubicBezTo>
                    <a:pt x="178" y="67"/>
                    <a:pt x="180" y="65"/>
                    <a:pt x="180" y="61"/>
                  </a:cubicBezTo>
                  <a:cubicBezTo>
                    <a:pt x="180" y="58"/>
                    <a:pt x="179" y="57"/>
                    <a:pt x="176" y="57"/>
                  </a:cubicBezTo>
                  <a:cubicBezTo>
                    <a:pt x="173" y="57"/>
                    <a:pt x="172" y="56"/>
                    <a:pt x="171" y="54"/>
                  </a:cubicBezTo>
                  <a:cubicBezTo>
                    <a:pt x="169" y="53"/>
                    <a:pt x="168" y="51"/>
                    <a:pt x="167" y="50"/>
                  </a:cubicBezTo>
                  <a:cubicBezTo>
                    <a:pt x="165" y="48"/>
                    <a:pt x="164" y="46"/>
                    <a:pt x="162" y="44"/>
                  </a:cubicBezTo>
                  <a:cubicBezTo>
                    <a:pt x="160" y="41"/>
                    <a:pt x="158" y="38"/>
                    <a:pt x="156" y="36"/>
                  </a:cubicBezTo>
                  <a:cubicBezTo>
                    <a:pt x="154" y="34"/>
                    <a:pt x="152" y="30"/>
                    <a:pt x="151" y="30"/>
                  </a:cubicBezTo>
                  <a:cubicBezTo>
                    <a:pt x="150" y="30"/>
                    <a:pt x="150" y="30"/>
                    <a:pt x="150" y="30"/>
                  </a:cubicBezTo>
                  <a:cubicBezTo>
                    <a:pt x="149" y="30"/>
                    <a:pt x="148" y="30"/>
                    <a:pt x="147" y="30"/>
                  </a:cubicBezTo>
                  <a:cubicBezTo>
                    <a:pt x="147" y="30"/>
                    <a:pt x="147" y="30"/>
                    <a:pt x="147" y="30"/>
                  </a:cubicBezTo>
                  <a:cubicBezTo>
                    <a:pt x="145" y="30"/>
                    <a:pt x="144" y="30"/>
                    <a:pt x="142" y="29"/>
                  </a:cubicBezTo>
                  <a:cubicBezTo>
                    <a:pt x="138" y="27"/>
                    <a:pt x="136" y="28"/>
                    <a:pt x="132" y="27"/>
                  </a:cubicBezTo>
                  <a:cubicBezTo>
                    <a:pt x="127" y="24"/>
                    <a:pt x="119" y="24"/>
                    <a:pt x="114" y="20"/>
                  </a:cubicBezTo>
                  <a:cubicBezTo>
                    <a:pt x="112" y="18"/>
                    <a:pt x="111" y="16"/>
                    <a:pt x="109" y="14"/>
                  </a:cubicBezTo>
                  <a:cubicBezTo>
                    <a:pt x="108" y="12"/>
                    <a:pt x="105" y="11"/>
                    <a:pt x="104" y="8"/>
                  </a:cubicBezTo>
                  <a:cubicBezTo>
                    <a:pt x="103" y="7"/>
                    <a:pt x="102" y="5"/>
                    <a:pt x="102" y="4"/>
                  </a:cubicBezTo>
                  <a:cubicBezTo>
                    <a:pt x="101" y="3"/>
                    <a:pt x="101" y="2"/>
                    <a:pt x="100" y="1"/>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299"/>
            <p:cNvSpPr/>
            <p:nvPr/>
          </p:nvSpPr>
          <p:spPr bwMode="auto">
            <a:xfrm>
              <a:off x="6031" y="1691"/>
              <a:ext cx="577" cy="355"/>
            </a:xfrm>
            <a:custGeom>
              <a:gdLst>
                <a:gd name="T0" fmla="*/ 209 w 244"/>
                <a:gd name="T1" fmla="*/ 2 h 150"/>
                <a:gd name="T2" fmla="*/ 174 w 244"/>
                <a:gd name="T3" fmla="*/ 7 h 150"/>
                <a:gd name="T4" fmla="*/ 144 w 244"/>
                <a:gd name="T5" fmla="*/ 14 h 150"/>
                <a:gd name="T6" fmla="*/ 133 w 244"/>
                <a:gd name="T7" fmla="*/ 20 h 150"/>
                <a:gd name="T8" fmla="*/ 111 w 244"/>
                <a:gd name="T9" fmla="*/ 48 h 150"/>
                <a:gd name="T10" fmla="*/ 107 w 244"/>
                <a:gd name="T11" fmla="*/ 49 h 150"/>
                <a:gd name="T12" fmla="*/ 105 w 244"/>
                <a:gd name="T13" fmla="*/ 49 h 150"/>
                <a:gd name="T14" fmla="*/ 99 w 244"/>
                <a:gd name="T15" fmla="*/ 46 h 150"/>
                <a:gd name="T16" fmla="*/ 96 w 244"/>
                <a:gd name="T17" fmla="*/ 42 h 150"/>
                <a:gd name="T18" fmla="*/ 94 w 244"/>
                <a:gd name="T19" fmla="*/ 41 h 150"/>
                <a:gd name="T20" fmla="*/ 81 w 244"/>
                <a:gd name="T21" fmla="*/ 40 h 150"/>
                <a:gd name="T22" fmla="*/ 55 w 244"/>
                <a:gd name="T23" fmla="*/ 38 h 150"/>
                <a:gd name="T24" fmla="*/ 43 w 244"/>
                <a:gd name="T25" fmla="*/ 40 h 150"/>
                <a:gd name="T26" fmla="*/ 39 w 244"/>
                <a:gd name="T27" fmla="*/ 40 h 150"/>
                <a:gd name="T28" fmla="*/ 33 w 244"/>
                <a:gd name="T29" fmla="*/ 41 h 150"/>
                <a:gd name="T30" fmla="*/ 28 w 244"/>
                <a:gd name="T31" fmla="*/ 40 h 150"/>
                <a:gd name="T32" fmla="*/ 23 w 244"/>
                <a:gd name="T33" fmla="*/ 37 h 150"/>
                <a:gd name="T34" fmla="*/ 19 w 244"/>
                <a:gd name="T35" fmla="*/ 37 h 150"/>
                <a:gd name="T36" fmla="*/ 18 w 244"/>
                <a:gd name="T37" fmla="*/ 37 h 150"/>
                <a:gd name="T38" fmla="*/ 15 w 244"/>
                <a:gd name="T39" fmla="*/ 44 h 150"/>
                <a:gd name="T40" fmla="*/ 15 w 244"/>
                <a:gd name="T41" fmla="*/ 45 h 150"/>
                <a:gd name="T42" fmla="*/ 15 w 244"/>
                <a:gd name="T43" fmla="*/ 47 h 150"/>
                <a:gd name="T44" fmla="*/ 16 w 244"/>
                <a:gd name="T45" fmla="*/ 49 h 150"/>
                <a:gd name="T46" fmla="*/ 13 w 244"/>
                <a:gd name="T47" fmla="*/ 58 h 150"/>
                <a:gd name="T48" fmla="*/ 8 w 244"/>
                <a:gd name="T49" fmla="*/ 61 h 150"/>
                <a:gd name="T50" fmla="*/ 5 w 244"/>
                <a:gd name="T51" fmla="*/ 64 h 150"/>
                <a:gd name="T52" fmla="*/ 5 w 244"/>
                <a:gd name="T53" fmla="*/ 72 h 150"/>
                <a:gd name="T54" fmla="*/ 4 w 244"/>
                <a:gd name="T55" fmla="*/ 81 h 150"/>
                <a:gd name="T56" fmla="*/ 3 w 244"/>
                <a:gd name="T57" fmla="*/ 87 h 150"/>
                <a:gd name="T58" fmla="*/ 1 w 244"/>
                <a:gd name="T59" fmla="*/ 89 h 150"/>
                <a:gd name="T60" fmla="*/ 2 w 244"/>
                <a:gd name="T61" fmla="*/ 89 h 150"/>
                <a:gd name="T62" fmla="*/ 4 w 244"/>
                <a:gd name="T63" fmla="*/ 90 h 150"/>
                <a:gd name="T64" fmla="*/ 9 w 244"/>
                <a:gd name="T65" fmla="*/ 109 h 150"/>
                <a:gd name="T66" fmla="*/ 15 w 244"/>
                <a:gd name="T67" fmla="*/ 133 h 150"/>
                <a:gd name="T68" fmla="*/ 20 w 244"/>
                <a:gd name="T69" fmla="*/ 149 h 150"/>
                <a:gd name="T70" fmla="*/ 35 w 244"/>
                <a:gd name="T71" fmla="*/ 150 h 150"/>
                <a:gd name="T72" fmla="*/ 41 w 244"/>
                <a:gd name="T73" fmla="*/ 150 h 150"/>
                <a:gd name="T74" fmla="*/ 45 w 244"/>
                <a:gd name="T75" fmla="*/ 148 h 150"/>
                <a:gd name="T76" fmla="*/ 49 w 244"/>
                <a:gd name="T77" fmla="*/ 147 h 150"/>
                <a:gd name="T78" fmla="*/ 58 w 244"/>
                <a:gd name="T79" fmla="*/ 148 h 150"/>
                <a:gd name="T80" fmla="*/ 78 w 244"/>
                <a:gd name="T81" fmla="*/ 133 h 150"/>
                <a:gd name="T82" fmla="*/ 122 w 244"/>
                <a:gd name="T83" fmla="*/ 119 h 150"/>
                <a:gd name="T84" fmla="*/ 133 w 244"/>
                <a:gd name="T85" fmla="*/ 118 h 150"/>
                <a:gd name="T86" fmla="*/ 143 w 244"/>
                <a:gd name="T87" fmla="*/ 117 h 150"/>
                <a:gd name="T88" fmla="*/ 160 w 244"/>
                <a:gd name="T89" fmla="*/ 102 h 150"/>
                <a:gd name="T90" fmla="*/ 189 w 244"/>
                <a:gd name="T91" fmla="*/ 93 h 150"/>
                <a:gd name="T92" fmla="*/ 219 w 244"/>
                <a:gd name="T93" fmla="*/ 82 h 150"/>
                <a:gd name="T94" fmla="*/ 226 w 244"/>
                <a:gd name="T95" fmla="*/ 76 h 150"/>
                <a:gd name="T96" fmla="*/ 225 w 244"/>
                <a:gd name="T97" fmla="*/ 73 h 150"/>
                <a:gd name="T98" fmla="*/ 237 w 244"/>
                <a:gd name="T99" fmla="*/ 58 h 150"/>
                <a:gd name="T100" fmla="*/ 226 w 244"/>
                <a:gd name="T101" fmla="*/ 16 h 1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150">
                  <a:moveTo>
                    <a:pt x="219" y="0"/>
                  </a:moveTo>
                  <a:cubicBezTo>
                    <a:pt x="215" y="1"/>
                    <a:pt x="212" y="2"/>
                    <a:pt x="209" y="2"/>
                  </a:cubicBezTo>
                  <a:cubicBezTo>
                    <a:pt x="198" y="4"/>
                    <a:pt x="187" y="5"/>
                    <a:pt x="178" y="7"/>
                  </a:cubicBezTo>
                  <a:cubicBezTo>
                    <a:pt x="174" y="7"/>
                    <a:pt x="174" y="7"/>
                    <a:pt x="174" y="7"/>
                  </a:cubicBezTo>
                  <a:cubicBezTo>
                    <a:pt x="165" y="7"/>
                    <a:pt x="156" y="8"/>
                    <a:pt x="149" y="12"/>
                  </a:cubicBezTo>
                  <a:cubicBezTo>
                    <a:pt x="148" y="12"/>
                    <a:pt x="146" y="13"/>
                    <a:pt x="144" y="14"/>
                  </a:cubicBezTo>
                  <a:cubicBezTo>
                    <a:pt x="140" y="15"/>
                    <a:pt x="136" y="17"/>
                    <a:pt x="134" y="19"/>
                  </a:cubicBezTo>
                  <a:cubicBezTo>
                    <a:pt x="133" y="20"/>
                    <a:pt x="133" y="20"/>
                    <a:pt x="133" y="20"/>
                  </a:cubicBezTo>
                  <a:cubicBezTo>
                    <a:pt x="118" y="42"/>
                    <a:pt x="118" y="42"/>
                    <a:pt x="118" y="42"/>
                  </a:cubicBezTo>
                  <a:cubicBezTo>
                    <a:pt x="116" y="44"/>
                    <a:pt x="114" y="46"/>
                    <a:pt x="111" y="48"/>
                  </a:cubicBezTo>
                  <a:cubicBezTo>
                    <a:pt x="110" y="48"/>
                    <a:pt x="109" y="48"/>
                    <a:pt x="108" y="49"/>
                  </a:cubicBezTo>
                  <a:cubicBezTo>
                    <a:pt x="107" y="49"/>
                    <a:pt x="107" y="49"/>
                    <a:pt x="107" y="49"/>
                  </a:cubicBezTo>
                  <a:cubicBezTo>
                    <a:pt x="107" y="49"/>
                    <a:pt x="106" y="49"/>
                    <a:pt x="105" y="49"/>
                  </a:cubicBezTo>
                  <a:cubicBezTo>
                    <a:pt x="105" y="49"/>
                    <a:pt x="105" y="49"/>
                    <a:pt x="105" y="49"/>
                  </a:cubicBezTo>
                  <a:cubicBezTo>
                    <a:pt x="104" y="49"/>
                    <a:pt x="104" y="49"/>
                    <a:pt x="104" y="49"/>
                  </a:cubicBezTo>
                  <a:cubicBezTo>
                    <a:pt x="102" y="49"/>
                    <a:pt x="100" y="48"/>
                    <a:pt x="99" y="46"/>
                  </a:cubicBezTo>
                  <a:cubicBezTo>
                    <a:pt x="99" y="46"/>
                    <a:pt x="98" y="45"/>
                    <a:pt x="98" y="45"/>
                  </a:cubicBezTo>
                  <a:cubicBezTo>
                    <a:pt x="97" y="43"/>
                    <a:pt x="96" y="42"/>
                    <a:pt x="96" y="42"/>
                  </a:cubicBezTo>
                  <a:cubicBezTo>
                    <a:pt x="95" y="42"/>
                    <a:pt x="95" y="42"/>
                    <a:pt x="95" y="42"/>
                  </a:cubicBezTo>
                  <a:cubicBezTo>
                    <a:pt x="94" y="41"/>
                    <a:pt x="94" y="41"/>
                    <a:pt x="94" y="41"/>
                  </a:cubicBezTo>
                  <a:cubicBezTo>
                    <a:pt x="90" y="41"/>
                    <a:pt x="86" y="41"/>
                    <a:pt x="82" y="40"/>
                  </a:cubicBezTo>
                  <a:cubicBezTo>
                    <a:pt x="81" y="40"/>
                    <a:pt x="81" y="40"/>
                    <a:pt x="81" y="40"/>
                  </a:cubicBezTo>
                  <a:cubicBezTo>
                    <a:pt x="74" y="39"/>
                    <a:pt x="67" y="38"/>
                    <a:pt x="60" y="38"/>
                  </a:cubicBezTo>
                  <a:cubicBezTo>
                    <a:pt x="58" y="38"/>
                    <a:pt x="57" y="38"/>
                    <a:pt x="55" y="38"/>
                  </a:cubicBezTo>
                  <a:cubicBezTo>
                    <a:pt x="52" y="38"/>
                    <a:pt x="49" y="39"/>
                    <a:pt x="45" y="39"/>
                  </a:cubicBezTo>
                  <a:cubicBezTo>
                    <a:pt x="43" y="40"/>
                    <a:pt x="43" y="40"/>
                    <a:pt x="43" y="40"/>
                  </a:cubicBezTo>
                  <a:cubicBezTo>
                    <a:pt x="42" y="40"/>
                    <a:pt x="41" y="40"/>
                    <a:pt x="41" y="40"/>
                  </a:cubicBezTo>
                  <a:cubicBezTo>
                    <a:pt x="40" y="40"/>
                    <a:pt x="39" y="40"/>
                    <a:pt x="39" y="40"/>
                  </a:cubicBezTo>
                  <a:cubicBezTo>
                    <a:pt x="37" y="41"/>
                    <a:pt x="37" y="41"/>
                    <a:pt x="37" y="41"/>
                  </a:cubicBezTo>
                  <a:cubicBezTo>
                    <a:pt x="36" y="41"/>
                    <a:pt x="35" y="41"/>
                    <a:pt x="33" y="41"/>
                  </a:cubicBezTo>
                  <a:cubicBezTo>
                    <a:pt x="32" y="41"/>
                    <a:pt x="30" y="41"/>
                    <a:pt x="29" y="41"/>
                  </a:cubicBezTo>
                  <a:cubicBezTo>
                    <a:pt x="28" y="40"/>
                    <a:pt x="28" y="40"/>
                    <a:pt x="28" y="40"/>
                  </a:cubicBezTo>
                  <a:cubicBezTo>
                    <a:pt x="26" y="40"/>
                    <a:pt x="24" y="39"/>
                    <a:pt x="23" y="37"/>
                  </a:cubicBezTo>
                  <a:cubicBezTo>
                    <a:pt x="23" y="37"/>
                    <a:pt x="23" y="37"/>
                    <a:pt x="23" y="37"/>
                  </a:cubicBezTo>
                  <a:cubicBezTo>
                    <a:pt x="22" y="37"/>
                    <a:pt x="22" y="37"/>
                    <a:pt x="21" y="37"/>
                  </a:cubicBezTo>
                  <a:cubicBezTo>
                    <a:pt x="21" y="37"/>
                    <a:pt x="20" y="37"/>
                    <a:pt x="19" y="37"/>
                  </a:cubicBezTo>
                  <a:cubicBezTo>
                    <a:pt x="19" y="37"/>
                    <a:pt x="19" y="37"/>
                    <a:pt x="19" y="37"/>
                  </a:cubicBezTo>
                  <a:cubicBezTo>
                    <a:pt x="18" y="37"/>
                    <a:pt x="18" y="37"/>
                    <a:pt x="18" y="37"/>
                  </a:cubicBezTo>
                  <a:cubicBezTo>
                    <a:pt x="18" y="38"/>
                    <a:pt x="17" y="39"/>
                    <a:pt x="16" y="42"/>
                  </a:cubicBezTo>
                  <a:cubicBezTo>
                    <a:pt x="15" y="43"/>
                    <a:pt x="15" y="44"/>
                    <a:pt x="15" y="44"/>
                  </a:cubicBezTo>
                  <a:cubicBezTo>
                    <a:pt x="15" y="44"/>
                    <a:pt x="15" y="45"/>
                    <a:pt x="15" y="45"/>
                  </a:cubicBezTo>
                  <a:cubicBezTo>
                    <a:pt x="15" y="45"/>
                    <a:pt x="15" y="45"/>
                    <a:pt x="15" y="45"/>
                  </a:cubicBezTo>
                  <a:cubicBezTo>
                    <a:pt x="15" y="46"/>
                    <a:pt x="15" y="46"/>
                    <a:pt x="15" y="46"/>
                  </a:cubicBezTo>
                  <a:cubicBezTo>
                    <a:pt x="15" y="47"/>
                    <a:pt x="15" y="47"/>
                    <a:pt x="15" y="47"/>
                  </a:cubicBezTo>
                  <a:cubicBezTo>
                    <a:pt x="15" y="47"/>
                    <a:pt x="15" y="48"/>
                    <a:pt x="15" y="49"/>
                  </a:cubicBezTo>
                  <a:cubicBezTo>
                    <a:pt x="16" y="49"/>
                    <a:pt x="16" y="49"/>
                    <a:pt x="16" y="49"/>
                  </a:cubicBezTo>
                  <a:cubicBezTo>
                    <a:pt x="16" y="52"/>
                    <a:pt x="17" y="55"/>
                    <a:pt x="15" y="57"/>
                  </a:cubicBezTo>
                  <a:cubicBezTo>
                    <a:pt x="14" y="57"/>
                    <a:pt x="14" y="57"/>
                    <a:pt x="13" y="58"/>
                  </a:cubicBezTo>
                  <a:cubicBezTo>
                    <a:pt x="12" y="58"/>
                    <a:pt x="12" y="58"/>
                    <a:pt x="12" y="58"/>
                  </a:cubicBezTo>
                  <a:cubicBezTo>
                    <a:pt x="8" y="60"/>
                    <a:pt x="8" y="61"/>
                    <a:pt x="8" y="61"/>
                  </a:cubicBezTo>
                  <a:cubicBezTo>
                    <a:pt x="7" y="62"/>
                    <a:pt x="7" y="62"/>
                    <a:pt x="7" y="62"/>
                  </a:cubicBezTo>
                  <a:cubicBezTo>
                    <a:pt x="5" y="64"/>
                    <a:pt x="5" y="64"/>
                    <a:pt x="5" y="64"/>
                  </a:cubicBezTo>
                  <a:cubicBezTo>
                    <a:pt x="4" y="64"/>
                    <a:pt x="4" y="64"/>
                    <a:pt x="4" y="64"/>
                  </a:cubicBezTo>
                  <a:cubicBezTo>
                    <a:pt x="5" y="66"/>
                    <a:pt x="5" y="69"/>
                    <a:pt x="5" y="72"/>
                  </a:cubicBezTo>
                  <a:cubicBezTo>
                    <a:pt x="5" y="73"/>
                    <a:pt x="4" y="74"/>
                    <a:pt x="4" y="75"/>
                  </a:cubicBezTo>
                  <a:cubicBezTo>
                    <a:pt x="4" y="77"/>
                    <a:pt x="4" y="79"/>
                    <a:pt x="4" y="81"/>
                  </a:cubicBezTo>
                  <a:cubicBezTo>
                    <a:pt x="4" y="84"/>
                    <a:pt x="4" y="86"/>
                    <a:pt x="4" y="89"/>
                  </a:cubicBezTo>
                  <a:cubicBezTo>
                    <a:pt x="4" y="89"/>
                    <a:pt x="4" y="87"/>
                    <a:pt x="3" y="87"/>
                  </a:cubicBezTo>
                  <a:cubicBezTo>
                    <a:pt x="3" y="87"/>
                    <a:pt x="3" y="87"/>
                    <a:pt x="3" y="87"/>
                  </a:cubicBezTo>
                  <a:cubicBezTo>
                    <a:pt x="0" y="88"/>
                    <a:pt x="0" y="89"/>
                    <a:pt x="1" y="89"/>
                  </a:cubicBezTo>
                  <a:cubicBezTo>
                    <a:pt x="1" y="89"/>
                    <a:pt x="1" y="89"/>
                    <a:pt x="1" y="89"/>
                  </a:cubicBezTo>
                  <a:cubicBezTo>
                    <a:pt x="2" y="89"/>
                    <a:pt x="2" y="89"/>
                    <a:pt x="2" y="89"/>
                  </a:cubicBezTo>
                  <a:cubicBezTo>
                    <a:pt x="2" y="89"/>
                    <a:pt x="2" y="89"/>
                    <a:pt x="3" y="89"/>
                  </a:cubicBezTo>
                  <a:cubicBezTo>
                    <a:pt x="3" y="89"/>
                    <a:pt x="4" y="89"/>
                    <a:pt x="4" y="90"/>
                  </a:cubicBezTo>
                  <a:cubicBezTo>
                    <a:pt x="6" y="91"/>
                    <a:pt x="6" y="98"/>
                    <a:pt x="7" y="100"/>
                  </a:cubicBezTo>
                  <a:cubicBezTo>
                    <a:pt x="7" y="103"/>
                    <a:pt x="8" y="106"/>
                    <a:pt x="9" y="109"/>
                  </a:cubicBezTo>
                  <a:cubicBezTo>
                    <a:pt x="10" y="114"/>
                    <a:pt x="11" y="118"/>
                    <a:pt x="14" y="122"/>
                  </a:cubicBezTo>
                  <a:cubicBezTo>
                    <a:pt x="16" y="127"/>
                    <a:pt x="15" y="128"/>
                    <a:pt x="15" y="133"/>
                  </a:cubicBezTo>
                  <a:cubicBezTo>
                    <a:pt x="15" y="134"/>
                    <a:pt x="14" y="135"/>
                    <a:pt x="15" y="136"/>
                  </a:cubicBezTo>
                  <a:cubicBezTo>
                    <a:pt x="16" y="141"/>
                    <a:pt x="18" y="145"/>
                    <a:pt x="20" y="149"/>
                  </a:cubicBezTo>
                  <a:cubicBezTo>
                    <a:pt x="20" y="150"/>
                    <a:pt x="23" y="150"/>
                    <a:pt x="27" y="150"/>
                  </a:cubicBezTo>
                  <a:cubicBezTo>
                    <a:pt x="29" y="150"/>
                    <a:pt x="33" y="150"/>
                    <a:pt x="35" y="150"/>
                  </a:cubicBezTo>
                  <a:cubicBezTo>
                    <a:pt x="38" y="150"/>
                    <a:pt x="41" y="150"/>
                    <a:pt x="41" y="150"/>
                  </a:cubicBezTo>
                  <a:cubicBezTo>
                    <a:pt x="41" y="150"/>
                    <a:pt x="41" y="150"/>
                    <a:pt x="41" y="150"/>
                  </a:cubicBezTo>
                  <a:cubicBezTo>
                    <a:pt x="42" y="150"/>
                    <a:pt x="42" y="150"/>
                    <a:pt x="42" y="150"/>
                  </a:cubicBezTo>
                  <a:cubicBezTo>
                    <a:pt x="43" y="150"/>
                    <a:pt x="44" y="149"/>
                    <a:pt x="45" y="148"/>
                  </a:cubicBezTo>
                  <a:cubicBezTo>
                    <a:pt x="47" y="148"/>
                    <a:pt x="48" y="147"/>
                    <a:pt x="49" y="147"/>
                  </a:cubicBezTo>
                  <a:cubicBezTo>
                    <a:pt x="49" y="147"/>
                    <a:pt x="49" y="147"/>
                    <a:pt x="49" y="147"/>
                  </a:cubicBezTo>
                  <a:cubicBezTo>
                    <a:pt x="52" y="147"/>
                    <a:pt x="54" y="148"/>
                    <a:pt x="56" y="148"/>
                  </a:cubicBezTo>
                  <a:cubicBezTo>
                    <a:pt x="57" y="148"/>
                    <a:pt x="57" y="148"/>
                    <a:pt x="58" y="148"/>
                  </a:cubicBezTo>
                  <a:cubicBezTo>
                    <a:pt x="57" y="142"/>
                    <a:pt x="65" y="140"/>
                    <a:pt x="69" y="136"/>
                  </a:cubicBezTo>
                  <a:cubicBezTo>
                    <a:pt x="72" y="133"/>
                    <a:pt x="74" y="133"/>
                    <a:pt x="78" y="133"/>
                  </a:cubicBezTo>
                  <a:cubicBezTo>
                    <a:pt x="87" y="131"/>
                    <a:pt x="97" y="129"/>
                    <a:pt x="106" y="128"/>
                  </a:cubicBezTo>
                  <a:cubicBezTo>
                    <a:pt x="112" y="126"/>
                    <a:pt x="117" y="123"/>
                    <a:pt x="122" y="119"/>
                  </a:cubicBezTo>
                  <a:cubicBezTo>
                    <a:pt x="125" y="118"/>
                    <a:pt x="126" y="117"/>
                    <a:pt x="128" y="117"/>
                  </a:cubicBezTo>
                  <a:cubicBezTo>
                    <a:pt x="129" y="117"/>
                    <a:pt x="131" y="118"/>
                    <a:pt x="133" y="118"/>
                  </a:cubicBezTo>
                  <a:cubicBezTo>
                    <a:pt x="133" y="118"/>
                    <a:pt x="134" y="118"/>
                    <a:pt x="136" y="118"/>
                  </a:cubicBezTo>
                  <a:cubicBezTo>
                    <a:pt x="138" y="118"/>
                    <a:pt x="142" y="118"/>
                    <a:pt x="143" y="117"/>
                  </a:cubicBezTo>
                  <a:cubicBezTo>
                    <a:pt x="145" y="114"/>
                    <a:pt x="148" y="111"/>
                    <a:pt x="150" y="108"/>
                  </a:cubicBezTo>
                  <a:cubicBezTo>
                    <a:pt x="153" y="105"/>
                    <a:pt x="156" y="104"/>
                    <a:pt x="160" y="102"/>
                  </a:cubicBezTo>
                  <a:cubicBezTo>
                    <a:pt x="163" y="101"/>
                    <a:pt x="166" y="100"/>
                    <a:pt x="169" y="99"/>
                  </a:cubicBezTo>
                  <a:cubicBezTo>
                    <a:pt x="176" y="97"/>
                    <a:pt x="182" y="95"/>
                    <a:pt x="189" y="93"/>
                  </a:cubicBezTo>
                  <a:cubicBezTo>
                    <a:pt x="195" y="91"/>
                    <a:pt x="200" y="91"/>
                    <a:pt x="206" y="88"/>
                  </a:cubicBezTo>
                  <a:cubicBezTo>
                    <a:pt x="210" y="86"/>
                    <a:pt x="214" y="84"/>
                    <a:pt x="219" y="82"/>
                  </a:cubicBezTo>
                  <a:cubicBezTo>
                    <a:pt x="220" y="82"/>
                    <a:pt x="226" y="80"/>
                    <a:pt x="226" y="79"/>
                  </a:cubicBezTo>
                  <a:cubicBezTo>
                    <a:pt x="227" y="78"/>
                    <a:pt x="226" y="77"/>
                    <a:pt x="226" y="76"/>
                  </a:cubicBezTo>
                  <a:cubicBezTo>
                    <a:pt x="226" y="75"/>
                    <a:pt x="226" y="74"/>
                    <a:pt x="226" y="74"/>
                  </a:cubicBezTo>
                  <a:cubicBezTo>
                    <a:pt x="226" y="73"/>
                    <a:pt x="225" y="73"/>
                    <a:pt x="225" y="73"/>
                  </a:cubicBezTo>
                  <a:cubicBezTo>
                    <a:pt x="225" y="69"/>
                    <a:pt x="228" y="66"/>
                    <a:pt x="230" y="63"/>
                  </a:cubicBezTo>
                  <a:cubicBezTo>
                    <a:pt x="232" y="60"/>
                    <a:pt x="233" y="59"/>
                    <a:pt x="237" y="58"/>
                  </a:cubicBezTo>
                  <a:cubicBezTo>
                    <a:pt x="239" y="57"/>
                    <a:pt x="242" y="56"/>
                    <a:pt x="244" y="55"/>
                  </a:cubicBezTo>
                  <a:cubicBezTo>
                    <a:pt x="238" y="43"/>
                    <a:pt x="232" y="29"/>
                    <a:pt x="226" y="16"/>
                  </a:cubicBezTo>
                  <a:cubicBezTo>
                    <a:pt x="219" y="0"/>
                    <a:pt x="219" y="0"/>
                    <a:pt x="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300"/>
            <p:cNvSpPr/>
            <p:nvPr/>
          </p:nvSpPr>
          <p:spPr bwMode="auto">
            <a:xfrm>
              <a:off x="6544" y="1278"/>
              <a:ext cx="253" cy="184"/>
            </a:xfrm>
            <a:custGeom>
              <a:gdLst>
                <a:gd name="T0" fmla="*/ 97 w 107"/>
                <a:gd name="T1" fmla="*/ 0 h 78"/>
                <a:gd name="T2" fmla="*/ 92 w 107"/>
                <a:gd name="T3" fmla="*/ 7 h 78"/>
                <a:gd name="T4" fmla="*/ 86 w 107"/>
                <a:gd name="T5" fmla="*/ 13 h 78"/>
                <a:gd name="T6" fmla="*/ 70 w 107"/>
                <a:gd name="T7" fmla="*/ 28 h 78"/>
                <a:gd name="T8" fmla="*/ 65 w 107"/>
                <a:gd name="T9" fmla="*/ 34 h 78"/>
                <a:gd name="T10" fmla="*/ 60 w 107"/>
                <a:gd name="T11" fmla="*/ 42 h 78"/>
                <a:gd name="T12" fmla="*/ 58 w 107"/>
                <a:gd name="T13" fmla="*/ 43 h 78"/>
                <a:gd name="T14" fmla="*/ 53 w 107"/>
                <a:gd name="T15" fmla="*/ 42 h 78"/>
                <a:gd name="T16" fmla="*/ 45 w 107"/>
                <a:gd name="T17" fmla="*/ 47 h 78"/>
                <a:gd name="T18" fmla="*/ 44 w 107"/>
                <a:gd name="T19" fmla="*/ 48 h 78"/>
                <a:gd name="T20" fmla="*/ 39 w 107"/>
                <a:gd name="T21" fmla="*/ 47 h 78"/>
                <a:gd name="T22" fmla="*/ 31 w 107"/>
                <a:gd name="T23" fmla="*/ 46 h 78"/>
                <a:gd name="T24" fmla="*/ 21 w 107"/>
                <a:gd name="T25" fmla="*/ 47 h 78"/>
                <a:gd name="T26" fmla="*/ 4 w 107"/>
                <a:gd name="T27" fmla="*/ 50 h 78"/>
                <a:gd name="T28" fmla="*/ 0 w 107"/>
                <a:gd name="T29" fmla="*/ 49 h 78"/>
                <a:gd name="T30" fmla="*/ 3 w 107"/>
                <a:gd name="T31" fmla="*/ 52 h 78"/>
                <a:gd name="T32" fmla="*/ 4 w 107"/>
                <a:gd name="T33" fmla="*/ 54 h 78"/>
                <a:gd name="T34" fmla="*/ 7 w 107"/>
                <a:gd name="T35" fmla="*/ 58 h 78"/>
                <a:gd name="T36" fmla="*/ 11 w 107"/>
                <a:gd name="T37" fmla="*/ 62 h 78"/>
                <a:gd name="T38" fmla="*/ 19 w 107"/>
                <a:gd name="T39" fmla="*/ 72 h 78"/>
                <a:gd name="T40" fmla="*/ 77 w 107"/>
                <a:gd name="T41" fmla="*/ 78 h 78"/>
                <a:gd name="T42" fmla="*/ 77 w 107"/>
                <a:gd name="T43" fmla="*/ 75 h 78"/>
                <a:gd name="T44" fmla="*/ 78 w 107"/>
                <a:gd name="T45" fmla="*/ 74 h 78"/>
                <a:gd name="T46" fmla="*/ 79 w 107"/>
                <a:gd name="T47" fmla="*/ 68 h 78"/>
                <a:gd name="T48" fmla="*/ 81 w 107"/>
                <a:gd name="T49" fmla="*/ 58 h 78"/>
                <a:gd name="T50" fmla="*/ 81 w 107"/>
                <a:gd name="T51" fmla="*/ 56 h 78"/>
                <a:gd name="T52" fmla="*/ 81 w 107"/>
                <a:gd name="T53" fmla="*/ 55 h 78"/>
                <a:gd name="T54" fmla="*/ 82 w 107"/>
                <a:gd name="T55" fmla="*/ 54 h 78"/>
                <a:gd name="T56" fmla="*/ 87 w 107"/>
                <a:gd name="T57" fmla="*/ 46 h 78"/>
                <a:gd name="T58" fmla="*/ 89 w 107"/>
                <a:gd name="T59" fmla="*/ 45 h 78"/>
                <a:gd name="T60" fmla="*/ 90 w 107"/>
                <a:gd name="T61" fmla="*/ 45 h 78"/>
                <a:gd name="T62" fmla="*/ 91 w 107"/>
                <a:gd name="T63" fmla="*/ 45 h 78"/>
                <a:gd name="T64" fmla="*/ 91 w 107"/>
                <a:gd name="T65" fmla="*/ 45 h 78"/>
                <a:gd name="T66" fmla="*/ 91 w 107"/>
                <a:gd name="T67" fmla="*/ 45 h 78"/>
                <a:gd name="T68" fmla="*/ 90 w 107"/>
                <a:gd name="T69" fmla="*/ 43 h 78"/>
                <a:gd name="T70" fmla="*/ 92 w 107"/>
                <a:gd name="T71" fmla="*/ 29 h 78"/>
                <a:gd name="T72" fmla="*/ 93 w 107"/>
                <a:gd name="T73" fmla="*/ 27 h 78"/>
                <a:gd name="T74" fmla="*/ 99 w 107"/>
                <a:gd name="T75" fmla="*/ 27 h 78"/>
                <a:gd name="T76" fmla="*/ 103 w 107"/>
                <a:gd name="T77" fmla="*/ 25 h 78"/>
                <a:gd name="T78" fmla="*/ 104 w 107"/>
                <a:gd name="T79" fmla="*/ 22 h 78"/>
                <a:gd name="T80" fmla="*/ 105 w 107"/>
                <a:gd name="T81" fmla="*/ 21 h 78"/>
                <a:gd name="T82" fmla="*/ 106 w 107"/>
                <a:gd name="T83" fmla="*/ 22 h 78"/>
                <a:gd name="T84" fmla="*/ 106 w 107"/>
                <a:gd name="T85" fmla="*/ 21 h 78"/>
                <a:gd name="T86" fmla="*/ 107 w 107"/>
                <a:gd name="T87" fmla="*/ 21 h 78"/>
                <a:gd name="T88" fmla="*/ 107 w 107"/>
                <a:gd name="T89" fmla="*/ 15 h 78"/>
                <a:gd name="T90" fmla="*/ 105 w 107"/>
                <a:gd name="T91" fmla="*/ 11 h 78"/>
                <a:gd name="T92" fmla="*/ 103 w 107"/>
                <a:gd name="T93" fmla="*/ 11 h 78"/>
                <a:gd name="T94" fmla="*/ 101 w 107"/>
                <a:gd name="T95" fmla="*/ 11 h 78"/>
                <a:gd name="T96" fmla="*/ 97 w 107"/>
                <a:gd name="T97" fmla="*/ 0 h 78"/>
                <a:gd name="T98" fmla="*/ 97 w 107"/>
                <a:gd name="T99" fmla="*/ 0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78">
                  <a:moveTo>
                    <a:pt x="97" y="0"/>
                  </a:moveTo>
                  <a:cubicBezTo>
                    <a:pt x="96" y="2"/>
                    <a:pt x="94" y="5"/>
                    <a:pt x="92" y="7"/>
                  </a:cubicBezTo>
                  <a:cubicBezTo>
                    <a:pt x="91" y="9"/>
                    <a:pt x="87" y="11"/>
                    <a:pt x="86" y="13"/>
                  </a:cubicBezTo>
                  <a:cubicBezTo>
                    <a:pt x="80" y="18"/>
                    <a:pt x="76" y="24"/>
                    <a:pt x="70" y="28"/>
                  </a:cubicBezTo>
                  <a:cubicBezTo>
                    <a:pt x="67" y="30"/>
                    <a:pt x="66" y="31"/>
                    <a:pt x="65" y="34"/>
                  </a:cubicBezTo>
                  <a:cubicBezTo>
                    <a:pt x="63" y="37"/>
                    <a:pt x="62" y="41"/>
                    <a:pt x="60" y="42"/>
                  </a:cubicBezTo>
                  <a:cubicBezTo>
                    <a:pt x="59" y="43"/>
                    <a:pt x="58" y="43"/>
                    <a:pt x="58" y="43"/>
                  </a:cubicBezTo>
                  <a:cubicBezTo>
                    <a:pt x="56" y="43"/>
                    <a:pt x="54" y="42"/>
                    <a:pt x="53" y="42"/>
                  </a:cubicBezTo>
                  <a:cubicBezTo>
                    <a:pt x="56" y="45"/>
                    <a:pt x="48" y="47"/>
                    <a:pt x="45" y="47"/>
                  </a:cubicBezTo>
                  <a:cubicBezTo>
                    <a:pt x="45" y="48"/>
                    <a:pt x="44" y="48"/>
                    <a:pt x="44" y="48"/>
                  </a:cubicBezTo>
                  <a:cubicBezTo>
                    <a:pt x="42" y="48"/>
                    <a:pt x="41" y="47"/>
                    <a:pt x="39" y="47"/>
                  </a:cubicBezTo>
                  <a:cubicBezTo>
                    <a:pt x="37" y="46"/>
                    <a:pt x="34" y="46"/>
                    <a:pt x="31" y="46"/>
                  </a:cubicBezTo>
                  <a:cubicBezTo>
                    <a:pt x="27" y="46"/>
                    <a:pt x="24" y="46"/>
                    <a:pt x="21" y="47"/>
                  </a:cubicBezTo>
                  <a:cubicBezTo>
                    <a:pt x="18" y="47"/>
                    <a:pt x="10" y="50"/>
                    <a:pt x="4" y="50"/>
                  </a:cubicBezTo>
                  <a:cubicBezTo>
                    <a:pt x="3" y="50"/>
                    <a:pt x="1" y="50"/>
                    <a:pt x="0" y="49"/>
                  </a:cubicBezTo>
                  <a:cubicBezTo>
                    <a:pt x="1" y="50"/>
                    <a:pt x="2" y="51"/>
                    <a:pt x="3" y="52"/>
                  </a:cubicBezTo>
                  <a:cubicBezTo>
                    <a:pt x="4" y="54"/>
                    <a:pt x="4" y="54"/>
                    <a:pt x="4" y="54"/>
                  </a:cubicBezTo>
                  <a:cubicBezTo>
                    <a:pt x="5" y="55"/>
                    <a:pt x="7" y="58"/>
                    <a:pt x="7" y="58"/>
                  </a:cubicBezTo>
                  <a:cubicBezTo>
                    <a:pt x="11" y="62"/>
                    <a:pt x="11" y="62"/>
                    <a:pt x="11" y="62"/>
                  </a:cubicBezTo>
                  <a:cubicBezTo>
                    <a:pt x="13" y="66"/>
                    <a:pt x="16" y="69"/>
                    <a:pt x="19" y="72"/>
                  </a:cubicBezTo>
                  <a:cubicBezTo>
                    <a:pt x="77" y="78"/>
                    <a:pt x="77" y="78"/>
                    <a:pt x="77" y="78"/>
                  </a:cubicBezTo>
                  <a:cubicBezTo>
                    <a:pt x="77" y="77"/>
                    <a:pt x="77" y="76"/>
                    <a:pt x="77" y="75"/>
                  </a:cubicBezTo>
                  <a:cubicBezTo>
                    <a:pt x="78" y="75"/>
                    <a:pt x="78" y="74"/>
                    <a:pt x="78" y="74"/>
                  </a:cubicBezTo>
                  <a:cubicBezTo>
                    <a:pt x="79" y="68"/>
                    <a:pt x="79" y="68"/>
                    <a:pt x="79" y="68"/>
                  </a:cubicBezTo>
                  <a:cubicBezTo>
                    <a:pt x="80" y="65"/>
                    <a:pt x="80" y="61"/>
                    <a:pt x="81" y="58"/>
                  </a:cubicBezTo>
                  <a:cubicBezTo>
                    <a:pt x="81" y="57"/>
                    <a:pt x="81" y="57"/>
                    <a:pt x="81" y="56"/>
                  </a:cubicBezTo>
                  <a:cubicBezTo>
                    <a:pt x="81" y="55"/>
                    <a:pt x="81" y="55"/>
                    <a:pt x="81" y="55"/>
                  </a:cubicBezTo>
                  <a:cubicBezTo>
                    <a:pt x="82" y="55"/>
                    <a:pt x="82" y="54"/>
                    <a:pt x="82" y="54"/>
                  </a:cubicBezTo>
                  <a:cubicBezTo>
                    <a:pt x="82" y="51"/>
                    <a:pt x="83" y="48"/>
                    <a:pt x="87" y="46"/>
                  </a:cubicBezTo>
                  <a:cubicBezTo>
                    <a:pt x="88" y="46"/>
                    <a:pt x="89" y="45"/>
                    <a:pt x="89" y="45"/>
                  </a:cubicBezTo>
                  <a:cubicBezTo>
                    <a:pt x="90" y="45"/>
                    <a:pt x="90" y="45"/>
                    <a:pt x="90" y="45"/>
                  </a:cubicBezTo>
                  <a:cubicBezTo>
                    <a:pt x="91" y="45"/>
                    <a:pt x="91" y="45"/>
                    <a:pt x="91" y="45"/>
                  </a:cubicBezTo>
                  <a:cubicBezTo>
                    <a:pt x="91" y="45"/>
                    <a:pt x="91" y="45"/>
                    <a:pt x="91" y="45"/>
                  </a:cubicBezTo>
                  <a:cubicBezTo>
                    <a:pt x="91" y="45"/>
                    <a:pt x="91" y="45"/>
                    <a:pt x="91" y="45"/>
                  </a:cubicBezTo>
                  <a:cubicBezTo>
                    <a:pt x="90" y="44"/>
                    <a:pt x="90" y="44"/>
                    <a:pt x="90" y="43"/>
                  </a:cubicBezTo>
                  <a:cubicBezTo>
                    <a:pt x="90" y="37"/>
                    <a:pt x="91" y="33"/>
                    <a:pt x="92" y="29"/>
                  </a:cubicBezTo>
                  <a:cubicBezTo>
                    <a:pt x="93" y="27"/>
                    <a:pt x="93" y="27"/>
                    <a:pt x="93" y="27"/>
                  </a:cubicBezTo>
                  <a:cubicBezTo>
                    <a:pt x="99" y="27"/>
                    <a:pt x="99" y="27"/>
                    <a:pt x="99" y="27"/>
                  </a:cubicBezTo>
                  <a:cubicBezTo>
                    <a:pt x="101" y="26"/>
                    <a:pt x="102" y="25"/>
                    <a:pt x="103" y="25"/>
                  </a:cubicBezTo>
                  <a:cubicBezTo>
                    <a:pt x="103" y="25"/>
                    <a:pt x="104" y="24"/>
                    <a:pt x="104" y="22"/>
                  </a:cubicBezTo>
                  <a:cubicBezTo>
                    <a:pt x="105" y="21"/>
                    <a:pt x="105" y="21"/>
                    <a:pt x="105" y="21"/>
                  </a:cubicBezTo>
                  <a:cubicBezTo>
                    <a:pt x="106" y="22"/>
                    <a:pt x="106" y="22"/>
                    <a:pt x="106" y="22"/>
                  </a:cubicBezTo>
                  <a:cubicBezTo>
                    <a:pt x="106" y="21"/>
                    <a:pt x="106" y="21"/>
                    <a:pt x="106" y="21"/>
                  </a:cubicBezTo>
                  <a:cubicBezTo>
                    <a:pt x="107" y="21"/>
                    <a:pt x="107" y="21"/>
                    <a:pt x="107" y="21"/>
                  </a:cubicBezTo>
                  <a:cubicBezTo>
                    <a:pt x="107" y="19"/>
                    <a:pt x="107" y="16"/>
                    <a:pt x="107" y="15"/>
                  </a:cubicBezTo>
                  <a:cubicBezTo>
                    <a:pt x="106" y="14"/>
                    <a:pt x="106" y="12"/>
                    <a:pt x="105" y="11"/>
                  </a:cubicBezTo>
                  <a:cubicBezTo>
                    <a:pt x="104" y="11"/>
                    <a:pt x="104" y="11"/>
                    <a:pt x="103" y="11"/>
                  </a:cubicBezTo>
                  <a:cubicBezTo>
                    <a:pt x="102" y="11"/>
                    <a:pt x="102" y="11"/>
                    <a:pt x="101" y="11"/>
                  </a:cubicBezTo>
                  <a:cubicBezTo>
                    <a:pt x="98" y="9"/>
                    <a:pt x="98" y="4"/>
                    <a:pt x="97" y="0"/>
                  </a:cubicBez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301"/>
            <p:cNvSpPr/>
            <p:nvPr/>
          </p:nvSpPr>
          <p:spPr bwMode="auto">
            <a:xfrm>
              <a:off x="5580" y="911"/>
              <a:ext cx="1165" cy="915"/>
            </a:xfrm>
            <a:custGeom>
              <a:gdLst>
                <a:gd name="T0" fmla="*/ 96 w 493"/>
                <a:gd name="T1" fmla="*/ 5 h 387"/>
                <a:gd name="T2" fmla="*/ 79 w 493"/>
                <a:gd name="T3" fmla="*/ 31 h 387"/>
                <a:gd name="T4" fmla="*/ 83 w 493"/>
                <a:gd name="T5" fmla="*/ 35 h 387"/>
                <a:gd name="T6" fmla="*/ 65 w 493"/>
                <a:gd name="T7" fmla="*/ 56 h 387"/>
                <a:gd name="T8" fmla="*/ 59 w 493"/>
                <a:gd name="T9" fmla="*/ 57 h 387"/>
                <a:gd name="T10" fmla="*/ 44 w 493"/>
                <a:gd name="T11" fmla="*/ 70 h 387"/>
                <a:gd name="T12" fmla="*/ 29 w 493"/>
                <a:gd name="T13" fmla="*/ 75 h 387"/>
                <a:gd name="T14" fmla="*/ 12 w 493"/>
                <a:gd name="T15" fmla="*/ 72 h 387"/>
                <a:gd name="T16" fmla="*/ 3 w 493"/>
                <a:gd name="T17" fmla="*/ 103 h 387"/>
                <a:gd name="T18" fmla="*/ 6 w 493"/>
                <a:gd name="T19" fmla="*/ 101 h 387"/>
                <a:gd name="T20" fmla="*/ 10 w 493"/>
                <a:gd name="T21" fmla="*/ 101 h 387"/>
                <a:gd name="T22" fmla="*/ 33 w 493"/>
                <a:gd name="T23" fmla="*/ 128 h 387"/>
                <a:gd name="T24" fmla="*/ 65 w 493"/>
                <a:gd name="T25" fmla="*/ 176 h 387"/>
                <a:gd name="T26" fmla="*/ 90 w 493"/>
                <a:gd name="T27" fmla="*/ 207 h 387"/>
                <a:gd name="T28" fmla="*/ 109 w 493"/>
                <a:gd name="T29" fmla="*/ 244 h 387"/>
                <a:gd name="T30" fmla="*/ 116 w 493"/>
                <a:gd name="T31" fmla="*/ 284 h 387"/>
                <a:gd name="T32" fmla="*/ 138 w 493"/>
                <a:gd name="T33" fmla="*/ 301 h 387"/>
                <a:gd name="T34" fmla="*/ 181 w 493"/>
                <a:gd name="T35" fmla="*/ 362 h 387"/>
                <a:gd name="T36" fmla="*/ 200 w 493"/>
                <a:gd name="T37" fmla="*/ 383 h 387"/>
                <a:gd name="T38" fmla="*/ 200 w 493"/>
                <a:gd name="T39" fmla="*/ 375 h 387"/>
                <a:gd name="T40" fmla="*/ 209 w 493"/>
                <a:gd name="T41" fmla="*/ 361 h 387"/>
                <a:gd name="T42" fmla="*/ 221 w 493"/>
                <a:gd name="T43" fmla="*/ 365 h 387"/>
                <a:gd name="T44" fmla="*/ 227 w 493"/>
                <a:gd name="T45" fmla="*/ 365 h 387"/>
                <a:gd name="T46" fmla="*/ 246 w 493"/>
                <a:gd name="T47" fmla="*/ 363 h 387"/>
                <a:gd name="T48" fmla="*/ 286 w 493"/>
                <a:gd name="T49" fmla="*/ 366 h 387"/>
                <a:gd name="T50" fmla="*/ 294 w 493"/>
                <a:gd name="T51" fmla="*/ 372 h 387"/>
                <a:gd name="T52" fmla="*/ 297 w 493"/>
                <a:gd name="T53" fmla="*/ 373 h 387"/>
                <a:gd name="T54" fmla="*/ 321 w 493"/>
                <a:gd name="T55" fmla="*/ 345 h 387"/>
                <a:gd name="T56" fmla="*/ 365 w 493"/>
                <a:gd name="T57" fmla="*/ 331 h 387"/>
                <a:gd name="T58" fmla="*/ 412 w 493"/>
                <a:gd name="T59" fmla="*/ 324 h 387"/>
                <a:gd name="T60" fmla="*/ 480 w 493"/>
                <a:gd name="T61" fmla="*/ 300 h 387"/>
                <a:gd name="T62" fmla="*/ 483 w 493"/>
                <a:gd name="T63" fmla="*/ 292 h 387"/>
                <a:gd name="T64" fmla="*/ 491 w 493"/>
                <a:gd name="T65" fmla="*/ 267 h 387"/>
                <a:gd name="T66" fmla="*/ 492 w 493"/>
                <a:gd name="T67" fmla="*/ 252 h 387"/>
                <a:gd name="T68" fmla="*/ 487 w 493"/>
                <a:gd name="T69" fmla="*/ 242 h 387"/>
                <a:gd name="T70" fmla="*/ 425 w 493"/>
                <a:gd name="T71" fmla="*/ 233 h 387"/>
                <a:gd name="T72" fmla="*/ 406 w 493"/>
                <a:gd name="T73" fmla="*/ 211 h 387"/>
                <a:gd name="T74" fmla="*/ 396 w 493"/>
                <a:gd name="T75" fmla="*/ 193 h 387"/>
                <a:gd name="T76" fmla="*/ 399 w 493"/>
                <a:gd name="T77" fmla="*/ 188 h 387"/>
                <a:gd name="T78" fmla="*/ 394 w 493"/>
                <a:gd name="T79" fmla="*/ 189 h 387"/>
                <a:gd name="T80" fmla="*/ 389 w 493"/>
                <a:gd name="T81" fmla="*/ 189 h 387"/>
                <a:gd name="T82" fmla="*/ 384 w 493"/>
                <a:gd name="T83" fmla="*/ 185 h 387"/>
                <a:gd name="T84" fmla="*/ 364 w 493"/>
                <a:gd name="T85" fmla="*/ 154 h 387"/>
                <a:gd name="T86" fmla="*/ 369 w 493"/>
                <a:gd name="T87" fmla="*/ 144 h 387"/>
                <a:gd name="T88" fmla="*/ 363 w 493"/>
                <a:gd name="T89" fmla="*/ 132 h 387"/>
                <a:gd name="T90" fmla="*/ 353 w 493"/>
                <a:gd name="T91" fmla="*/ 125 h 387"/>
                <a:gd name="T92" fmla="*/ 345 w 493"/>
                <a:gd name="T93" fmla="*/ 115 h 387"/>
                <a:gd name="T94" fmla="*/ 336 w 493"/>
                <a:gd name="T95" fmla="*/ 111 h 387"/>
                <a:gd name="T96" fmla="*/ 327 w 493"/>
                <a:gd name="T97" fmla="*/ 92 h 387"/>
                <a:gd name="T98" fmla="*/ 323 w 493"/>
                <a:gd name="T99" fmla="*/ 93 h 387"/>
                <a:gd name="T100" fmla="*/ 305 w 493"/>
                <a:gd name="T101" fmla="*/ 86 h 387"/>
                <a:gd name="T102" fmla="*/ 305 w 493"/>
                <a:gd name="T103" fmla="*/ 85 h 387"/>
                <a:gd name="T104" fmla="*/ 304 w 493"/>
                <a:gd name="T105" fmla="*/ 83 h 387"/>
                <a:gd name="T106" fmla="*/ 283 w 493"/>
                <a:gd name="T107" fmla="*/ 78 h 387"/>
                <a:gd name="T108" fmla="*/ 277 w 493"/>
                <a:gd name="T109" fmla="*/ 79 h 387"/>
                <a:gd name="T110" fmla="*/ 227 w 493"/>
                <a:gd name="T111" fmla="*/ 65 h 387"/>
                <a:gd name="T112" fmla="*/ 177 w 493"/>
                <a:gd name="T113" fmla="*/ 27 h 387"/>
                <a:gd name="T114" fmla="*/ 143 w 493"/>
                <a:gd name="T115" fmla="*/ 7 h 3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2" h="387">
                  <a:moveTo>
                    <a:pt x="110" y="0"/>
                  </a:moveTo>
                  <a:cubicBezTo>
                    <a:pt x="109" y="0"/>
                    <a:pt x="109" y="0"/>
                    <a:pt x="109" y="0"/>
                  </a:cubicBezTo>
                  <a:cubicBezTo>
                    <a:pt x="105" y="2"/>
                    <a:pt x="101" y="3"/>
                    <a:pt x="97" y="5"/>
                  </a:cubicBezTo>
                  <a:cubicBezTo>
                    <a:pt x="96" y="5"/>
                    <a:pt x="96" y="5"/>
                    <a:pt x="96" y="5"/>
                  </a:cubicBezTo>
                  <a:cubicBezTo>
                    <a:pt x="94" y="5"/>
                    <a:pt x="92" y="6"/>
                    <a:pt x="91" y="7"/>
                  </a:cubicBezTo>
                  <a:cubicBezTo>
                    <a:pt x="83" y="9"/>
                    <a:pt x="75" y="12"/>
                    <a:pt x="67" y="14"/>
                  </a:cubicBezTo>
                  <a:cubicBezTo>
                    <a:pt x="64" y="15"/>
                    <a:pt x="64" y="15"/>
                    <a:pt x="64" y="15"/>
                  </a:cubicBezTo>
                  <a:cubicBezTo>
                    <a:pt x="69" y="20"/>
                    <a:pt x="74" y="25"/>
                    <a:pt x="79" y="31"/>
                  </a:cubicBezTo>
                  <a:cubicBezTo>
                    <a:pt x="79" y="31"/>
                    <a:pt x="80" y="32"/>
                    <a:pt x="80" y="32"/>
                  </a:cubicBezTo>
                  <a:cubicBezTo>
                    <a:pt x="81" y="33"/>
                    <a:pt x="81" y="33"/>
                    <a:pt x="81" y="33"/>
                  </a:cubicBezTo>
                  <a:cubicBezTo>
                    <a:pt x="81" y="33"/>
                    <a:pt x="82" y="34"/>
                    <a:pt x="82" y="34"/>
                  </a:cubicBezTo>
                  <a:cubicBezTo>
                    <a:pt x="83" y="34"/>
                    <a:pt x="83" y="35"/>
                    <a:pt x="83" y="35"/>
                  </a:cubicBezTo>
                  <a:cubicBezTo>
                    <a:pt x="85" y="37"/>
                    <a:pt x="85" y="38"/>
                    <a:pt x="85" y="39"/>
                  </a:cubicBezTo>
                  <a:cubicBezTo>
                    <a:pt x="85" y="40"/>
                    <a:pt x="85" y="42"/>
                    <a:pt x="74" y="52"/>
                  </a:cubicBezTo>
                  <a:cubicBezTo>
                    <a:pt x="73" y="53"/>
                    <a:pt x="73" y="54"/>
                    <a:pt x="72" y="54"/>
                  </a:cubicBezTo>
                  <a:cubicBezTo>
                    <a:pt x="70" y="56"/>
                    <a:pt x="67" y="56"/>
                    <a:pt x="65" y="56"/>
                  </a:cubicBezTo>
                  <a:cubicBezTo>
                    <a:pt x="64" y="56"/>
                    <a:pt x="64" y="56"/>
                    <a:pt x="64" y="56"/>
                  </a:cubicBezTo>
                  <a:cubicBezTo>
                    <a:pt x="63" y="56"/>
                    <a:pt x="63" y="57"/>
                    <a:pt x="62" y="57"/>
                  </a:cubicBezTo>
                  <a:cubicBezTo>
                    <a:pt x="61" y="57"/>
                    <a:pt x="60" y="57"/>
                    <a:pt x="60" y="57"/>
                  </a:cubicBezTo>
                  <a:cubicBezTo>
                    <a:pt x="59" y="57"/>
                    <a:pt x="59" y="57"/>
                    <a:pt x="59" y="57"/>
                  </a:cubicBezTo>
                  <a:cubicBezTo>
                    <a:pt x="58" y="57"/>
                    <a:pt x="57" y="58"/>
                    <a:pt x="56" y="58"/>
                  </a:cubicBezTo>
                  <a:cubicBezTo>
                    <a:pt x="53" y="59"/>
                    <a:pt x="51" y="61"/>
                    <a:pt x="49" y="63"/>
                  </a:cubicBezTo>
                  <a:cubicBezTo>
                    <a:pt x="49" y="64"/>
                    <a:pt x="48" y="65"/>
                    <a:pt x="47" y="66"/>
                  </a:cubicBezTo>
                  <a:cubicBezTo>
                    <a:pt x="44" y="70"/>
                    <a:pt x="44" y="70"/>
                    <a:pt x="44" y="70"/>
                  </a:cubicBezTo>
                  <a:cubicBezTo>
                    <a:pt x="42" y="73"/>
                    <a:pt x="40" y="74"/>
                    <a:pt x="39" y="75"/>
                  </a:cubicBezTo>
                  <a:cubicBezTo>
                    <a:pt x="38" y="76"/>
                    <a:pt x="37" y="76"/>
                    <a:pt x="36" y="76"/>
                  </a:cubicBezTo>
                  <a:cubicBezTo>
                    <a:pt x="35" y="76"/>
                    <a:pt x="33" y="75"/>
                    <a:pt x="30" y="75"/>
                  </a:cubicBezTo>
                  <a:cubicBezTo>
                    <a:pt x="29" y="75"/>
                    <a:pt x="29" y="75"/>
                    <a:pt x="29" y="75"/>
                  </a:cubicBezTo>
                  <a:cubicBezTo>
                    <a:pt x="29" y="74"/>
                    <a:pt x="29" y="74"/>
                    <a:pt x="29" y="74"/>
                  </a:cubicBezTo>
                  <a:cubicBezTo>
                    <a:pt x="14" y="72"/>
                    <a:pt x="14" y="72"/>
                    <a:pt x="14" y="72"/>
                  </a:cubicBezTo>
                  <a:cubicBezTo>
                    <a:pt x="13" y="72"/>
                    <a:pt x="13" y="72"/>
                    <a:pt x="13" y="72"/>
                  </a:cubicBezTo>
                  <a:cubicBezTo>
                    <a:pt x="12" y="72"/>
                    <a:pt x="12" y="72"/>
                    <a:pt x="12" y="72"/>
                  </a:cubicBezTo>
                  <a:cubicBezTo>
                    <a:pt x="11" y="73"/>
                    <a:pt x="11" y="73"/>
                    <a:pt x="11" y="73"/>
                  </a:cubicBezTo>
                  <a:cubicBezTo>
                    <a:pt x="10" y="73"/>
                    <a:pt x="10" y="73"/>
                    <a:pt x="10" y="73"/>
                  </a:cubicBezTo>
                  <a:cubicBezTo>
                    <a:pt x="8" y="79"/>
                    <a:pt x="7" y="86"/>
                    <a:pt x="4" y="92"/>
                  </a:cubicBezTo>
                  <a:cubicBezTo>
                    <a:pt x="4" y="93"/>
                    <a:pt x="0" y="102"/>
                    <a:pt x="3" y="103"/>
                  </a:cubicBezTo>
                  <a:cubicBezTo>
                    <a:pt x="3" y="103"/>
                    <a:pt x="3" y="103"/>
                    <a:pt x="3" y="103"/>
                  </a:cubicBezTo>
                  <a:cubicBezTo>
                    <a:pt x="4" y="103"/>
                    <a:pt x="3" y="101"/>
                    <a:pt x="4" y="101"/>
                  </a:cubicBezTo>
                  <a:cubicBezTo>
                    <a:pt x="4" y="100"/>
                    <a:pt x="4" y="100"/>
                    <a:pt x="5" y="100"/>
                  </a:cubicBezTo>
                  <a:cubicBezTo>
                    <a:pt x="5" y="100"/>
                    <a:pt x="5" y="101"/>
                    <a:pt x="6" y="101"/>
                  </a:cubicBezTo>
                  <a:cubicBezTo>
                    <a:pt x="6" y="101"/>
                    <a:pt x="7" y="101"/>
                    <a:pt x="7" y="101"/>
                  </a:cubicBezTo>
                  <a:cubicBezTo>
                    <a:pt x="7" y="101"/>
                    <a:pt x="7" y="101"/>
                    <a:pt x="8" y="101"/>
                  </a:cubicBezTo>
                  <a:cubicBezTo>
                    <a:pt x="8" y="101"/>
                    <a:pt x="8" y="101"/>
                    <a:pt x="9" y="101"/>
                  </a:cubicBezTo>
                  <a:cubicBezTo>
                    <a:pt x="9" y="101"/>
                    <a:pt x="10" y="101"/>
                    <a:pt x="10" y="101"/>
                  </a:cubicBezTo>
                  <a:cubicBezTo>
                    <a:pt x="10" y="101"/>
                    <a:pt x="11" y="100"/>
                    <a:pt x="12" y="100"/>
                  </a:cubicBezTo>
                  <a:cubicBezTo>
                    <a:pt x="12" y="100"/>
                    <a:pt x="12" y="100"/>
                    <a:pt x="12" y="100"/>
                  </a:cubicBezTo>
                  <a:cubicBezTo>
                    <a:pt x="14" y="100"/>
                    <a:pt x="15" y="102"/>
                    <a:pt x="17" y="104"/>
                  </a:cubicBezTo>
                  <a:cubicBezTo>
                    <a:pt x="23" y="111"/>
                    <a:pt x="27" y="121"/>
                    <a:pt x="33" y="128"/>
                  </a:cubicBezTo>
                  <a:cubicBezTo>
                    <a:pt x="39" y="136"/>
                    <a:pt x="43" y="148"/>
                    <a:pt x="51" y="153"/>
                  </a:cubicBezTo>
                  <a:cubicBezTo>
                    <a:pt x="52" y="154"/>
                    <a:pt x="52" y="155"/>
                    <a:pt x="52" y="157"/>
                  </a:cubicBezTo>
                  <a:cubicBezTo>
                    <a:pt x="52" y="160"/>
                    <a:pt x="53" y="161"/>
                    <a:pt x="56" y="164"/>
                  </a:cubicBezTo>
                  <a:cubicBezTo>
                    <a:pt x="59" y="167"/>
                    <a:pt x="63" y="172"/>
                    <a:pt x="65" y="176"/>
                  </a:cubicBezTo>
                  <a:cubicBezTo>
                    <a:pt x="66" y="179"/>
                    <a:pt x="66" y="183"/>
                    <a:pt x="67" y="186"/>
                  </a:cubicBezTo>
                  <a:cubicBezTo>
                    <a:pt x="68" y="190"/>
                    <a:pt x="69" y="192"/>
                    <a:pt x="71" y="195"/>
                  </a:cubicBezTo>
                  <a:cubicBezTo>
                    <a:pt x="73" y="198"/>
                    <a:pt x="76" y="198"/>
                    <a:pt x="79" y="198"/>
                  </a:cubicBezTo>
                  <a:cubicBezTo>
                    <a:pt x="83" y="199"/>
                    <a:pt x="87" y="204"/>
                    <a:pt x="90" y="207"/>
                  </a:cubicBezTo>
                  <a:cubicBezTo>
                    <a:pt x="92" y="208"/>
                    <a:pt x="92" y="209"/>
                    <a:pt x="94" y="211"/>
                  </a:cubicBezTo>
                  <a:cubicBezTo>
                    <a:pt x="97" y="216"/>
                    <a:pt x="99" y="221"/>
                    <a:pt x="102" y="226"/>
                  </a:cubicBezTo>
                  <a:cubicBezTo>
                    <a:pt x="104" y="231"/>
                    <a:pt x="106" y="235"/>
                    <a:pt x="108" y="240"/>
                  </a:cubicBezTo>
                  <a:cubicBezTo>
                    <a:pt x="108" y="241"/>
                    <a:pt x="109" y="243"/>
                    <a:pt x="109" y="244"/>
                  </a:cubicBezTo>
                  <a:cubicBezTo>
                    <a:pt x="109" y="245"/>
                    <a:pt x="108" y="246"/>
                    <a:pt x="108" y="247"/>
                  </a:cubicBezTo>
                  <a:cubicBezTo>
                    <a:pt x="106" y="250"/>
                    <a:pt x="108" y="254"/>
                    <a:pt x="108" y="258"/>
                  </a:cubicBezTo>
                  <a:cubicBezTo>
                    <a:pt x="109" y="264"/>
                    <a:pt x="108" y="272"/>
                    <a:pt x="111" y="277"/>
                  </a:cubicBezTo>
                  <a:cubicBezTo>
                    <a:pt x="112" y="280"/>
                    <a:pt x="114" y="281"/>
                    <a:pt x="116" y="284"/>
                  </a:cubicBezTo>
                  <a:cubicBezTo>
                    <a:pt x="119" y="289"/>
                    <a:pt x="122" y="293"/>
                    <a:pt x="127" y="296"/>
                  </a:cubicBezTo>
                  <a:cubicBezTo>
                    <a:pt x="127" y="295"/>
                    <a:pt x="127" y="295"/>
                    <a:pt x="127" y="295"/>
                  </a:cubicBezTo>
                  <a:cubicBezTo>
                    <a:pt x="129" y="296"/>
                    <a:pt x="130" y="296"/>
                    <a:pt x="132" y="296"/>
                  </a:cubicBezTo>
                  <a:cubicBezTo>
                    <a:pt x="133" y="297"/>
                    <a:pt x="136" y="300"/>
                    <a:pt x="138" y="301"/>
                  </a:cubicBezTo>
                  <a:cubicBezTo>
                    <a:pt x="140" y="302"/>
                    <a:pt x="140" y="303"/>
                    <a:pt x="141" y="305"/>
                  </a:cubicBezTo>
                  <a:cubicBezTo>
                    <a:pt x="146" y="313"/>
                    <a:pt x="151" y="321"/>
                    <a:pt x="155" y="329"/>
                  </a:cubicBezTo>
                  <a:cubicBezTo>
                    <a:pt x="159" y="335"/>
                    <a:pt x="163" y="341"/>
                    <a:pt x="167" y="348"/>
                  </a:cubicBezTo>
                  <a:cubicBezTo>
                    <a:pt x="170" y="353"/>
                    <a:pt x="176" y="358"/>
                    <a:pt x="181" y="362"/>
                  </a:cubicBezTo>
                  <a:cubicBezTo>
                    <a:pt x="185" y="366"/>
                    <a:pt x="183" y="369"/>
                    <a:pt x="185" y="375"/>
                  </a:cubicBezTo>
                  <a:cubicBezTo>
                    <a:pt x="185" y="375"/>
                    <a:pt x="185" y="375"/>
                    <a:pt x="185" y="375"/>
                  </a:cubicBezTo>
                  <a:cubicBezTo>
                    <a:pt x="191" y="375"/>
                    <a:pt x="193" y="382"/>
                    <a:pt x="194" y="387"/>
                  </a:cubicBezTo>
                  <a:cubicBezTo>
                    <a:pt x="195" y="386"/>
                    <a:pt x="197" y="385"/>
                    <a:pt x="200" y="383"/>
                  </a:cubicBezTo>
                  <a:cubicBezTo>
                    <a:pt x="201" y="383"/>
                    <a:pt x="201" y="383"/>
                    <a:pt x="201" y="382"/>
                  </a:cubicBezTo>
                  <a:cubicBezTo>
                    <a:pt x="201" y="382"/>
                    <a:pt x="201" y="382"/>
                    <a:pt x="201" y="381"/>
                  </a:cubicBezTo>
                  <a:cubicBezTo>
                    <a:pt x="201" y="380"/>
                    <a:pt x="200" y="379"/>
                    <a:pt x="200" y="378"/>
                  </a:cubicBezTo>
                  <a:cubicBezTo>
                    <a:pt x="200" y="377"/>
                    <a:pt x="200" y="376"/>
                    <a:pt x="200" y="375"/>
                  </a:cubicBezTo>
                  <a:cubicBezTo>
                    <a:pt x="200" y="375"/>
                    <a:pt x="200" y="374"/>
                    <a:pt x="200" y="373"/>
                  </a:cubicBezTo>
                  <a:cubicBezTo>
                    <a:pt x="201" y="372"/>
                    <a:pt x="201" y="371"/>
                    <a:pt x="202" y="370"/>
                  </a:cubicBezTo>
                  <a:cubicBezTo>
                    <a:pt x="204" y="362"/>
                    <a:pt x="206" y="361"/>
                    <a:pt x="208" y="361"/>
                  </a:cubicBezTo>
                  <a:cubicBezTo>
                    <a:pt x="209" y="361"/>
                    <a:pt x="209" y="361"/>
                    <a:pt x="209" y="361"/>
                  </a:cubicBezTo>
                  <a:cubicBezTo>
                    <a:pt x="210" y="361"/>
                    <a:pt x="211" y="361"/>
                    <a:pt x="212" y="361"/>
                  </a:cubicBezTo>
                  <a:cubicBezTo>
                    <a:pt x="214" y="361"/>
                    <a:pt x="215" y="361"/>
                    <a:pt x="216" y="362"/>
                  </a:cubicBezTo>
                  <a:cubicBezTo>
                    <a:pt x="217" y="362"/>
                    <a:pt x="218" y="363"/>
                    <a:pt x="218" y="363"/>
                  </a:cubicBezTo>
                  <a:cubicBezTo>
                    <a:pt x="219" y="364"/>
                    <a:pt x="220" y="364"/>
                    <a:pt x="221" y="365"/>
                  </a:cubicBezTo>
                  <a:cubicBezTo>
                    <a:pt x="221" y="365"/>
                    <a:pt x="221" y="365"/>
                    <a:pt x="221" y="365"/>
                  </a:cubicBezTo>
                  <a:cubicBezTo>
                    <a:pt x="221" y="365"/>
                    <a:pt x="222" y="365"/>
                    <a:pt x="222" y="365"/>
                  </a:cubicBezTo>
                  <a:cubicBezTo>
                    <a:pt x="223" y="365"/>
                    <a:pt x="224" y="365"/>
                    <a:pt x="224" y="365"/>
                  </a:cubicBezTo>
                  <a:cubicBezTo>
                    <a:pt x="225" y="365"/>
                    <a:pt x="226" y="365"/>
                    <a:pt x="227" y="365"/>
                  </a:cubicBezTo>
                  <a:cubicBezTo>
                    <a:pt x="228" y="365"/>
                    <a:pt x="228" y="365"/>
                    <a:pt x="228" y="365"/>
                  </a:cubicBezTo>
                  <a:cubicBezTo>
                    <a:pt x="229" y="365"/>
                    <a:pt x="230" y="364"/>
                    <a:pt x="231" y="364"/>
                  </a:cubicBezTo>
                  <a:cubicBezTo>
                    <a:pt x="232" y="364"/>
                    <a:pt x="234" y="364"/>
                    <a:pt x="235" y="364"/>
                  </a:cubicBezTo>
                  <a:cubicBezTo>
                    <a:pt x="239" y="363"/>
                    <a:pt x="242" y="363"/>
                    <a:pt x="246" y="363"/>
                  </a:cubicBezTo>
                  <a:cubicBezTo>
                    <a:pt x="248" y="362"/>
                    <a:pt x="249" y="362"/>
                    <a:pt x="251" y="362"/>
                  </a:cubicBezTo>
                  <a:cubicBezTo>
                    <a:pt x="258" y="362"/>
                    <a:pt x="266" y="363"/>
                    <a:pt x="273" y="364"/>
                  </a:cubicBezTo>
                  <a:cubicBezTo>
                    <a:pt x="278" y="365"/>
                    <a:pt x="282" y="365"/>
                    <a:pt x="285" y="366"/>
                  </a:cubicBezTo>
                  <a:cubicBezTo>
                    <a:pt x="286" y="366"/>
                    <a:pt x="286" y="366"/>
                    <a:pt x="286" y="366"/>
                  </a:cubicBezTo>
                  <a:cubicBezTo>
                    <a:pt x="287" y="366"/>
                    <a:pt x="287" y="366"/>
                    <a:pt x="287" y="366"/>
                  </a:cubicBezTo>
                  <a:cubicBezTo>
                    <a:pt x="288" y="366"/>
                    <a:pt x="288" y="366"/>
                    <a:pt x="288" y="366"/>
                  </a:cubicBezTo>
                  <a:cubicBezTo>
                    <a:pt x="291" y="367"/>
                    <a:pt x="293" y="370"/>
                    <a:pt x="294" y="372"/>
                  </a:cubicBezTo>
                  <a:cubicBezTo>
                    <a:pt x="294" y="372"/>
                    <a:pt x="294" y="372"/>
                    <a:pt x="294" y="372"/>
                  </a:cubicBezTo>
                  <a:cubicBezTo>
                    <a:pt x="294" y="372"/>
                    <a:pt x="295" y="373"/>
                    <a:pt x="295" y="373"/>
                  </a:cubicBezTo>
                  <a:cubicBezTo>
                    <a:pt x="295" y="373"/>
                    <a:pt x="295" y="373"/>
                    <a:pt x="295" y="373"/>
                  </a:cubicBezTo>
                  <a:cubicBezTo>
                    <a:pt x="296" y="373"/>
                    <a:pt x="296" y="373"/>
                    <a:pt x="296" y="373"/>
                  </a:cubicBezTo>
                  <a:cubicBezTo>
                    <a:pt x="297" y="373"/>
                    <a:pt x="297" y="373"/>
                    <a:pt x="297" y="373"/>
                  </a:cubicBezTo>
                  <a:cubicBezTo>
                    <a:pt x="298" y="373"/>
                    <a:pt x="299" y="373"/>
                    <a:pt x="300" y="372"/>
                  </a:cubicBezTo>
                  <a:cubicBezTo>
                    <a:pt x="302" y="371"/>
                    <a:pt x="303" y="370"/>
                    <a:pt x="304" y="369"/>
                  </a:cubicBezTo>
                  <a:cubicBezTo>
                    <a:pt x="319" y="346"/>
                    <a:pt x="319" y="346"/>
                    <a:pt x="319" y="346"/>
                  </a:cubicBezTo>
                  <a:cubicBezTo>
                    <a:pt x="320" y="346"/>
                    <a:pt x="320" y="345"/>
                    <a:pt x="321" y="345"/>
                  </a:cubicBezTo>
                  <a:cubicBezTo>
                    <a:pt x="324" y="342"/>
                    <a:pt x="329" y="340"/>
                    <a:pt x="333" y="339"/>
                  </a:cubicBezTo>
                  <a:cubicBezTo>
                    <a:pt x="333" y="338"/>
                    <a:pt x="333" y="338"/>
                    <a:pt x="333" y="338"/>
                  </a:cubicBezTo>
                  <a:cubicBezTo>
                    <a:pt x="335" y="338"/>
                    <a:pt x="336" y="337"/>
                    <a:pt x="338" y="336"/>
                  </a:cubicBezTo>
                  <a:cubicBezTo>
                    <a:pt x="346" y="332"/>
                    <a:pt x="355" y="332"/>
                    <a:pt x="365" y="331"/>
                  </a:cubicBezTo>
                  <a:cubicBezTo>
                    <a:pt x="369" y="331"/>
                    <a:pt x="369" y="331"/>
                    <a:pt x="369" y="331"/>
                  </a:cubicBezTo>
                  <a:cubicBezTo>
                    <a:pt x="377" y="330"/>
                    <a:pt x="388" y="328"/>
                    <a:pt x="399" y="326"/>
                  </a:cubicBezTo>
                  <a:cubicBezTo>
                    <a:pt x="402" y="326"/>
                    <a:pt x="406" y="325"/>
                    <a:pt x="411" y="324"/>
                  </a:cubicBezTo>
                  <a:cubicBezTo>
                    <a:pt x="412" y="324"/>
                    <a:pt x="412" y="324"/>
                    <a:pt x="412" y="324"/>
                  </a:cubicBezTo>
                  <a:cubicBezTo>
                    <a:pt x="414" y="323"/>
                    <a:pt x="415" y="323"/>
                    <a:pt x="417" y="322"/>
                  </a:cubicBezTo>
                  <a:cubicBezTo>
                    <a:pt x="453" y="310"/>
                    <a:pt x="453" y="310"/>
                    <a:pt x="453" y="310"/>
                  </a:cubicBezTo>
                  <a:cubicBezTo>
                    <a:pt x="461" y="307"/>
                    <a:pt x="469" y="304"/>
                    <a:pt x="477" y="302"/>
                  </a:cubicBezTo>
                  <a:cubicBezTo>
                    <a:pt x="480" y="300"/>
                    <a:pt x="480" y="300"/>
                    <a:pt x="480" y="300"/>
                  </a:cubicBezTo>
                  <a:cubicBezTo>
                    <a:pt x="481" y="299"/>
                    <a:pt x="481" y="299"/>
                    <a:pt x="481" y="299"/>
                  </a:cubicBezTo>
                  <a:cubicBezTo>
                    <a:pt x="481" y="298"/>
                    <a:pt x="481" y="297"/>
                    <a:pt x="482" y="296"/>
                  </a:cubicBezTo>
                  <a:cubicBezTo>
                    <a:pt x="482" y="295"/>
                    <a:pt x="482" y="295"/>
                    <a:pt x="482" y="295"/>
                  </a:cubicBezTo>
                  <a:cubicBezTo>
                    <a:pt x="482" y="294"/>
                    <a:pt x="482" y="293"/>
                    <a:pt x="483" y="292"/>
                  </a:cubicBezTo>
                  <a:cubicBezTo>
                    <a:pt x="483" y="291"/>
                    <a:pt x="483" y="290"/>
                    <a:pt x="484" y="288"/>
                  </a:cubicBezTo>
                  <a:cubicBezTo>
                    <a:pt x="484" y="288"/>
                    <a:pt x="484" y="287"/>
                    <a:pt x="484" y="287"/>
                  </a:cubicBezTo>
                  <a:cubicBezTo>
                    <a:pt x="485" y="285"/>
                    <a:pt x="486" y="283"/>
                    <a:pt x="486" y="280"/>
                  </a:cubicBezTo>
                  <a:cubicBezTo>
                    <a:pt x="491" y="267"/>
                    <a:pt x="491" y="267"/>
                    <a:pt x="491" y="267"/>
                  </a:cubicBezTo>
                  <a:cubicBezTo>
                    <a:pt x="491" y="265"/>
                    <a:pt x="492" y="262"/>
                    <a:pt x="493" y="260"/>
                  </a:cubicBezTo>
                  <a:cubicBezTo>
                    <a:pt x="493" y="258"/>
                    <a:pt x="493" y="257"/>
                    <a:pt x="493" y="256"/>
                  </a:cubicBezTo>
                  <a:cubicBezTo>
                    <a:pt x="493" y="255"/>
                    <a:pt x="493" y="253"/>
                    <a:pt x="492" y="252"/>
                  </a:cubicBezTo>
                  <a:cubicBezTo>
                    <a:pt x="492" y="252"/>
                    <a:pt x="492" y="252"/>
                    <a:pt x="492" y="252"/>
                  </a:cubicBezTo>
                  <a:cubicBezTo>
                    <a:pt x="492" y="251"/>
                    <a:pt x="492" y="251"/>
                    <a:pt x="492" y="251"/>
                  </a:cubicBezTo>
                  <a:cubicBezTo>
                    <a:pt x="491" y="250"/>
                    <a:pt x="491" y="249"/>
                    <a:pt x="490" y="248"/>
                  </a:cubicBezTo>
                  <a:cubicBezTo>
                    <a:pt x="490" y="246"/>
                    <a:pt x="490" y="246"/>
                    <a:pt x="490" y="246"/>
                  </a:cubicBezTo>
                  <a:cubicBezTo>
                    <a:pt x="489" y="245"/>
                    <a:pt x="488" y="244"/>
                    <a:pt x="487" y="242"/>
                  </a:cubicBezTo>
                  <a:cubicBezTo>
                    <a:pt x="487" y="242"/>
                    <a:pt x="487" y="242"/>
                    <a:pt x="487" y="242"/>
                  </a:cubicBezTo>
                  <a:cubicBezTo>
                    <a:pt x="487" y="241"/>
                    <a:pt x="486" y="240"/>
                    <a:pt x="486" y="239"/>
                  </a:cubicBezTo>
                  <a:cubicBezTo>
                    <a:pt x="485" y="239"/>
                    <a:pt x="485" y="239"/>
                    <a:pt x="485" y="239"/>
                  </a:cubicBezTo>
                  <a:cubicBezTo>
                    <a:pt x="425" y="233"/>
                    <a:pt x="425" y="233"/>
                    <a:pt x="425" y="233"/>
                  </a:cubicBezTo>
                  <a:cubicBezTo>
                    <a:pt x="424" y="232"/>
                    <a:pt x="423" y="232"/>
                    <a:pt x="423" y="231"/>
                  </a:cubicBezTo>
                  <a:cubicBezTo>
                    <a:pt x="419" y="228"/>
                    <a:pt x="416" y="224"/>
                    <a:pt x="413" y="220"/>
                  </a:cubicBezTo>
                  <a:cubicBezTo>
                    <a:pt x="408" y="213"/>
                    <a:pt x="408" y="213"/>
                    <a:pt x="408" y="213"/>
                  </a:cubicBezTo>
                  <a:cubicBezTo>
                    <a:pt x="406" y="211"/>
                    <a:pt x="406" y="211"/>
                    <a:pt x="406" y="211"/>
                  </a:cubicBezTo>
                  <a:cubicBezTo>
                    <a:pt x="403" y="208"/>
                    <a:pt x="400" y="204"/>
                    <a:pt x="399" y="201"/>
                  </a:cubicBezTo>
                  <a:cubicBezTo>
                    <a:pt x="398" y="197"/>
                    <a:pt x="398" y="197"/>
                    <a:pt x="398" y="197"/>
                  </a:cubicBezTo>
                  <a:cubicBezTo>
                    <a:pt x="397" y="197"/>
                    <a:pt x="396" y="197"/>
                    <a:pt x="395" y="196"/>
                  </a:cubicBezTo>
                  <a:cubicBezTo>
                    <a:pt x="395" y="196"/>
                    <a:pt x="395" y="194"/>
                    <a:pt x="396" y="193"/>
                  </a:cubicBezTo>
                  <a:cubicBezTo>
                    <a:pt x="397" y="192"/>
                    <a:pt x="398" y="192"/>
                    <a:pt x="399" y="190"/>
                  </a:cubicBezTo>
                  <a:cubicBezTo>
                    <a:pt x="399" y="190"/>
                    <a:pt x="399" y="190"/>
                    <a:pt x="399" y="190"/>
                  </a:cubicBezTo>
                  <a:cubicBezTo>
                    <a:pt x="399" y="188"/>
                    <a:pt x="399" y="188"/>
                    <a:pt x="399" y="188"/>
                  </a:cubicBezTo>
                  <a:cubicBezTo>
                    <a:pt x="399" y="188"/>
                    <a:pt x="399" y="188"/>
                    <a:pt x="399" y="188"/>
                  </a:cubicBezTo>
                  <a:cubicBezTo>
                    <a:pt x="398" y="188"/>
                    <a:pt x="397" y="189"/>
                    <a:pt x="397" y="189"/>
                  </a:cubicBezTo>
                  <a:cubicBezTo>
                    <a:pt x="396" y="189"/>
                    <a:pt x="396" y="189"/>
                    <a:pt x="396" y="189"/>
                  </a:cubicBezTo>
                  <a:cubicBezTo>
                    <a:pt x="396" y="189"/>
                    <a:pt x="395" y="189"/>
                    <a:pt x="395" y="189"/>
                  </a:cubicBezTo>
                  <a:cubicBezTo>
                    <a:pt x="395" y="189"/>
                    <a:pt x="394" y="189"/>
                    <a:pt x="394" y="189"/>
                  </a:cubicBezTo>
                  <a:cubicBezTo>
                    <a:pt x="393" y="189"/>
                    <a:pt x="392" y="189"/>
                    <a:pt x="391" y="189"/>
                  </a:cubicBezTo>
                  <a:cubicBezTo>
                    <a:pt x="390" y="189"/>
                    <a:pt x="390" y="189"/>
                    <a:pt x="389" y="189"/>
                  </a:cubicBezTo>
                  <a:cubicBezTo>
                    <a:pt x="389" y="189"/>
                    <a:pt x="389" y="189"/>
                    <a:pt x="389" y="189"/>
                  </a:cubicBezTo>
                  <a:cubicBezTo>
                    <a:pt x="389" y="189"/>
                    <a:pt x="389" y="189"/>
                    <a:pt x="389" y="189"/>
                  </a:cubicBezTo>
                  <a:cubicBezTo>
                    <a:pt x="388" y="189"/>
                    <a:pt x="388" y="189"/>
                    <a:pt x="388" y="189"/>
                  </a:cubicBezTo>
                  <a:cubicBezTo>
                    <a:pt x="388" y="189"/>
                    <a:pt x="388" y="189"/>
                    <a:pt x="388" y="189"/>
                  </a:cubicBezTo>
                  <a:cubicBezTo>
                    <a:pt x="387" y="189"/>
                    <a:pt x="387" y="189"/>
                    <a:pt x="387" y="189"/>
                  </a:cubicBezTo>
                  <a:cubicBezTo>
                    <a:pt x="386" y="188"/>
                    <a:pt x="385" y="187"/>
                    <a:pt x="384" y="185"/>
                  </a:cubicBezTo>
                  <a:cubicBezTo>
                    <a:pt x="384" y="184"/>
                    <a:pt x="384" y="184"/>
                    <a:pt x="384" y="184"/>
                  </a:cubicBezTo>
                  <a:cubicBezTo>
                    <a:pt x="383" y="184"/>
                    <a:pt x="383" y="184"/>
                    <a:pt x="383" y="184"/>
                  </a:cubicBezTo>
                  <a:cubicBezTo>
                    <a:pt x="380" y="179"/>
                    <a:pt x="377" y="174"/>
                    <a:pt x="374" y="168"/>
                  </a:cubicBezTo>
                  <a:cubicBezTo>
                    <a:pt x="371" y="164"/>
                    <a:pt x="366" y="159"/>
                    <a:pt x="364" y="154"/>
                  </a:cubicBezTo>
                  <a:cubicBezTo>
                    <a:pt x="364" y="153"/>
                    <a:pt x="364" y="150"/>
                    <a:pt x="365" y="150"/>
                  </a:cubicBezTo>
                  <a:cubicBezTo>
                    <a:pt x="365" y="149"/>
                    <a:pt x="365" y="149"/>
                    <a:pt x="365" y="149"/>
                  </a:cubicBezTo>
                  <a:cubicBezTo>
                    <a:pt x="366" y="149"/>
                    <a:pt x="367" y="152"/>
                    <a:pt x="368" y="153"/>
                  </a:cubicBezTo>
                  <a:cubicBezTo>
                    <a:pt x="369" y="151"/>
                    <a:pt x="370" y="146"/>
                    <a:pt x="369" y="144"/>
                  </a:cubicBezTo>
                  <a:cubicBezTo>
                    <a:pt x="368" y="141"/>
                    <a:pt x="363" y="140"/>
                    <a:pt x="365" y="135"/>
                  </a:cubicBezTo>
                  <a:cubicBezTo>
                    <a:pt x="365" y="137"/>
                    <a:pt x="366" y="137"/>
                    <a:pt x="368" y="137"/>
                  </a:cubicBezTo>
                  <a:cubicBezTo>
                    <a:pt x="368" y="137"/>
                    <a:pt x="368" y="137"/>
                    <a:pt x="368" y="137"/>
                  </a:cubicBezTo>
                  <a:cubicBezTo>
                    <a:pt x="366" y="136"/>
                    <a:pt x="365" y="133"/>
                    <a:pt x="363" y="132"/>
                  </a:cubicBezTo>
                  <a:cubicBezTo>
                    <a:pt x="362" y="132"/>
                    <a:pt x="360" y="132"/>
                    <a:pt x="359" y="131"/>
                  </a:cubicBezTo>
                  <a:cubicBezTo>
                    <a:pt x="357" y="129"/>
                    <a:pt x="356" y="124"/>
                    <a:pt x="353" y="124"/>
                  </a:cubicBezTo>
                  <a:cubicBezTo>
                    <a:pt x="353" y="124"/>
                    <a:pt x="353" y="124"/>
                    <a:pt x="353" y="124"/>
                  </a:cubicBezTo>
                  <a:cubicBezTo>
                    <a:pt x="353" y="124"/>
                    <a:pt x="353" y="125"/>
                    <a:pt x="353" y="125"/>
                  </a:cubicBezTo>
                  <a:cubicBezTo>
                    <a:pt x="350" y="125"/>
                    <a:pt x="348" y="119"/>
                    <a:pt x="344" y="117"/>
                  </a:cubicBezTo>
                  <a:cubicBezTo>
                    <a:pt x="345" y="117"/>
                    <a:pt x="347" y="117"/>
                    <a:pt x="348" y="116"/>
                  </a:cubicBezTo>
                  <a:cubicBezTo>
                    <a:pt x="347" y="115"/>
                    <a:pt x="347" y="115"/>
                    <a:pt x="346" y="115"/>
                  </a:cubicBezTo>
                  <a:cubicBezTo>
                    <a:pt x="346" y="115"/>
                    <a:pt x="345" y="115"/>
                    <a:pt x="345" y="115"/>
                  </a:cubicBezTo>
                  <a:cubicBezTo>
                    <a:pt x="345" y="115"/>
                    <a:pt x="345" y="115"/>
                    <a:pt x="345" y="115"/>
                  </a:cubicBezTo>
                  <a:cubicBezTo>
                    <a:pt x="344" y="115"/>
                    <a:pt x="344" y="115"/>
                    <a:pt x="343" y="115"/>
                  </a:cubicBezTo>
                  <a:cubicBezTo>
                    <a:pt x="342" y="114"/>
                    <a:pt x="342" y="113"/>
                    <a:pt x="341" y="113"/>
                  </a:cubicBezTo>
                  <a:cubicBezTo>
                    <a:pt x="338" y="112"/>
                    <a:pt x="338" y="114"/>
                    <a:pt x="336" y="111"/>
                  </a:cubicBezTo>
                  <a:cubicBezTo>
                    <a:pt x="335" y="109"/>
                    <a:pt x="335" y="105"/>
                    <a:pt x="333" y="103"/>
                  </a:cubicBezTo>
                  <a:cubicBezTo>
                    <a:pt x="332" y="99"/>
                    <a:pt x="330" y="96"/>
                    <a:pt x="329" y="92"/>
                  </a:cubicBezTo>
                  <a:cubicBezTo>
                    <a:pt x="328" y="93"/>
                    <a:pt x="328" y="93"/>
                    <a:pt x="328" y="93"/>
                  </a:cubicBezTo>
                  <a:cubicBezTo>
                    <a:pt x="327" y="92"/>
                    <a:pt x="327" y="92"/>
                    <a:pt x="327" y="92"/>
                  </a:cubicBezTo>
                  <a:cubicBezTo>
                    <a:pt x="326" y="92"/>
                    <a:pt x="326" y="92"/>
                    <a:pt x="326" y="92"/>
                  </a:cubicBezTo>
                  <a:cubicBezTo>
                    <a:pt x="326" y="92"/>
                    <a:pt x="326" y="92"/>
                    <a:pt x="326" y="92"/>
                  </a:cubicBezTo>
                  <a:cubicBezTo>
                    <a:pt x="325" y="92"/>
                    <a:pt x="324" y="92"/>
                    <a:pt x="323" y="93"/>
                  </a:cubicBezTo>
                  <a:cubicBezTo>
                    <a:pt x="323" y="93"/>
                    <a:pt x="323" y="93"/>
                    <a:pt x="323" y="93"/>
                  </a:cubicBezTo>
                  <a:cubicBezTo>
                    <a:pt x="321" y="93"/>
                    <a:pt x="319" y="93"/>
                    <a:pt x="317" y="93"/>
                  </a:cubicBezTo>
                  <a:cubicBezTo>
                    <a:pt x="314" y="93"/>
                    <a:pt x="312" y="92"/>
                    <a:pt x="310" y="91"/>
                  </a:cubicBezTo>
                  <a:cubicBezTo>
                    <a:pt x="308" y="91"/>
                    <a:pt x="307" y="90"/>
                    <a:pt x="306" y="88"/>
                  </a:cubicBezTo>
                  <a:cubicBezTo>
                    <a:pt x="305" y="87"/>
                    <a:pt x="305" y="87"/>
                    <a:pt x="305" y="86"/>
                  </a:cubicBezTo>
                  <a:cubicBezTo>
                    <a:pt x="305" y="86"/>
                    <a:pt x="305" y="86"/>
                    <a:pt x="305" y="86"/>
                  </a:cubicBezTo>
                  <a:cubicBezTo>
                    <a:pt x="305" y="86"/>
                    <a:pt x="305" y="86"/>
                    <a:pt x="305" y="86"/>
                  </a:cubicBezTo>
                  <a:cubicBezTo>
                    <a:pt x="305" y="85"/>
                    <a:pt x="305" y="85"/>
                    <a:pt x="305" y="85"/>
                  </a:cubicBezTo>
                  <a:cubicBezTo>
                    <a:pt x="305" y="85"/>
                    <a:pt x="305" y="85"/>
                    <a:pt x="305" y="85"/>
                  </a:cubicBezTo>
                  <a:cubicBezTo>
                    <a:pt x="304" y="84"/>
                    <a:pt x="304" y="84"/>
                    <a:pt x="304" y="84"/>
                  </a:cubicBezTo>
                  <a:cubicBezTo>
                    <a:pt x="304" y="84"/>
                    <a:pt x="304" y="84"/>
                    <a:pt x="304" y="84"/>
                  </a:cubicBezTo>
                  <a:cubicBezTo>
                    <a:pt x="304" y="83"/>
                    <a:pt x="304" y="83"/>
                    <a:pt x="304" y="83"/>
                  </a:cubicBezTo>
                  <a:cubicBezTo>
                    <a:pt x="304" y="83"/>
                    <a:pt x="304" y="83"/>
                    <a:pt x="304" y="83"/>
                  </a:cubicBezTo>
                  <a:cubicBezTo>
                    <a:pt x="285" y="78"/>
                    <a:pt x="285" y="78"/>
                    <a:pt x="285" y="78"/>
                  </a:cubicBezTo>
                  <a:cubicBezTo>
                    <a:pt x="284" y="78"/>
                    <a:pt x="284" y="78"/>
                    <a:pt x="284" y="78"/>
                  </a:cubicBezTo>
                  <a:cubicBezTo>
                    <a:pt x="283" y="78"/>
                    <a:pt x="283" y="78"/>
                    <a:pt x="283" y="78"/>
                  </a:cubicBezTo>
                  <a:cubicBezTo>
                    <a:pt x="283" y="78"/>
                    <a:pt x="283" y="78"/>
                    <a:pt x="283" y="78"/>
                  </a:cubicBezTo>
                  <a:cubicBezTo>
                    <a:pt x="282" y="79"/>
                    <a:pt x="281" y="79"/>
                    <a:pt x="281" y="79"/>
                  </a:cubicBezTo>
                  <a:cubicBezTo>
                    <a:pt x="280" y="79"/>
                    <a:pt x="280" y="79"/>
                    <a:pt x="280" y="79"/>
                  </a:cubicBezTo>
                  <a:cubicBezTo>
                    <a:pt x="279" y="79"/>
                    <a:pt x="278" y="79"/>
                    <a:pt x="277" y="79"/>
                  </a:cubicBezTo>
                  <a:cubicBezTo>
                    <a:pt x="277" y="79"/>
                    <a:pt x="277" y="79"/>
                    <a:pt x="277" y="79"/>
                  </a:cubicBezTo>
                  <a:cubicBezTo>
                    <a:pt x="276" y="79"/>
                    <a:pt x="276" y="79"/>
                    <a:pt x="276" y="79"/>
                  </a:cubicBezTo>
                  <a:cubicBezTo>
                    <a:pt x="244" y="76"/>
                    <a:pt x="244" y="76"/>
                    <a:pt x="244" y="76"/>
                  </a:cubicBezTo>
                  <a:cubicBezTo>
                    <a:pt x="242" y="76"/>
                    <a:pt x="240" y="75"/>
                    <a:pt x="238" y="74"/>
                  </a:cubicBezTo>
                  <a:cubicBezTo>
                    <a:pt x="234" y="71"/>
                    <a:pt x="230" y="68"/>
                    <a:pt x="227" y="65"/>
                  </a:cubicBezTo>
                  <a:cubicBezTo>
                    <a:pt x="224" y="63"/>
                    <a:pt x="221" y="61"/>
                    <a:pt x="218" y="59"/>
                  </a:cubicBezTo>
                  <a:cubicBezTo>
                    <a:pt x="202" y="47"/>
                    <a:pt x="202" y="47"/>
                    <a:pt x="202" y="47"/>
                  </a:cubicBezTo>
                  <a:cubicBezTo>
                    <a:pt x="199" y="44"/>
                    <a:pt x="196" y="41"/>
                    <a:pt x="193" y="39"/>
                  </a:cubicBezTo>
                  <a:cubicBezTo>
                    <a:pt x="188" y="34"/>
                    <a:pt x="182" y="30"/>
                    <a:pt x="177" y="27"/>
                  </a:cubicBezTo>
                  <a:cubicBezTo>
                    <a:pt x="171" y="23"/>
                    <a:pt x="171" y="23"/>
                    <a:pt x="171" y="23"/>
                  </a:cubicBezTo>
                  <a:cubicBezTo>
                    <a:pt x="169" y="22"/>
                    <a:pt x="167" y="21"/>
                    <a:pt x="165" y="20"/>
                  </a:cubicBezTo>
                  <a:cubicBezTo>
                    <a:pt x="159" y="17"/>
                    <a:pt x="152" y="13"/>
                    <a:pt x="145" y="9"/>
                  </a:cubicBezTo>
                  <a:cubicBezTo>
                    <a:pt x="145" y="8"/>
                    <a:pt x="144" y="8"/>
                    <a:pt x="143" y="7"/>
                  </a:cubicBezTo>
                  <a:cubicBezTo>
                    <a:pt x="142" y="6"/>
                    <a:pt x="140" y="5"/>
                    <a:pt x="139" y="4"/>
                  </a:cubicBezTo>
                  <a:cubicBezTo>
                    <a:pt x="110" y="0"/>
                    <a:pt x="110" y="0"/>
                    <a:pt x="1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302"/>
            <p:cNvSpPr/>
            <p:nvPr/>
          </p:nvSpPr>
          <p:spPr bwMode="auto">
            <a:xfrm>
              <a:off x="6783" y="1254"/>
              <a:ext cx="21" cy="38"/>
            </a:xfrm>
            <a:custGeom>
              <a:gdLst>
                <a:gd name="T0" fmla="*/ 6 w 9"/>
                <a:gd name="T1" fmla="*/ 0 h 16"/>
                <a:gd name="T2" fmla="*/ 0 w 9"/>
                <a:gd name="T3" fmla="*/ 5 h 16"/>
                <a:gd name="T4" fmla="*/ 2 w 9"/>
                <a:gd name="T5" fmla="*/ 5 h 16"/>
                <a:gd name="T6" fmla="*/ 2 w 9"/>
                <a:gd name="T7" fmla="*/ 6 h 16"/>
                <a:gd name="T8" fmla="*/ 2 w 9"/>
                <a:gd name="T9" fmla="*/ 8 h 16"/>
                <a:gd name="T10" fmla="*/ 2 w 9"/>
                <a:gd name="T11" fmla="*/ 10 h 16"/>
                <a:gd name="T12" fmla="*/ 3 w 9"/>
                <a:gd name="T13" fmla="*/ 15 h 16"/>
                <a:gd name="T14" fmla="*/ 3 w 9"/>
                <a:gd name="T15" fmla="*/ 14 h 16"/>
                <a:gd name="T16" fmla="*/ 4 w 9"/>
                <a:gd name="T17" fmla="*/ 16 h 16"/>
                <a:gd name="T18" fmla="*/ 8 w 9"/>
                <a:gd name="T19" fmla="*/ 7 h 16"/>
                <a:gd name="T20" fmla="*/ 5 w 9"/>
                <a:gd name="T21" fmla="*/ 4 h 16"/>
                <a:gd name="T22" fmla="*/ 9 w 9"/>
                <a:gd name="T23" fmla="*/ 1 h 16"/>
                <a:gd name="T24" fmla="*/ 6 w 9"/>
                <a:gd name="T25"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6" y="0"/>
                  </a:moveTo>
                  <a:cubicBezTo>
                    <a:pt x="3" y="0"/>
                    <a:pt x="2" y="2"/>
                    <a:pt x="0" y="5"/>
                  </a:cubicBezTo>
                  <a:cubicBezTo>
                    <a:pt x="2" y="5"/>
                    <a:pt x="2" y="5"/>
                    <a:pt x="2" y="5"/>
                  </a:cubicBezTo>
                  <a:cubicBezTo>
                    <a:pt x="2" y="6"/>
                    <a:pt x="2" y="6"/>
                    <a:pt x="2" y="6"/>
                  </a:cubicBezTo>
                  <a:cubicBezTo>
                    <a:pt x="2" y="6"/>
                    <a:pt x="2" y="7"/>
                    <a:pt x="2" y="8"/>
                  </a:cubicBezTo>
                  <a:cubicBezTo>
                    <a:pt x="2" y="10"/>
                    <a:pt x="2" y="10"/>
                    <a:pt x="2" y="10"/>
                  </a:cubicBezTo>
                  <a:cubicBezTo>
                    <a:pt x="2" y="12"/>
                    <a:pt x="3" y="14"/>
                    <a:pt x="3" y="15"/>
                  </a:cubicBezTo>
                  <a:cubicBezTo>
                    <a:pt x="3" y="14"/>
                    <a:pt x="3" y="14"/>
                    <a:pt x="3" y="14"/>
                  </a:cubicBezTo>
                  <a:cubicBezTo>
                    <a:pt x="4" y="16"/>
                    <a:pt x="4" y="16"/>
                    <a:pt x="4" y="16"/>
                  </a:cubicBezTo>
                  <a:cubicBezTo>
                    <a:pt x="6" y="13"/>
                    <a:pt x="7" y="8"/>
                    <a:pt x="8" y="7"/>
                  </a:cubicBezTo>
                  <a:cubicBezTo>
                    <a:pt x="6" y="6"/>
                    <a:pt x="5" y="6"/>
                    <a:pt x="5" y="4"/>
                  </a:cubicBezTo>
                  <a:cubicBezTo>
                    <a:pt x="6" y="3"/>
                    <a:pt x="8" y="2"/>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303"/>
            <p:cNvSpPr/>
            <p:nvPr/>
          </p:nvSpPr>
          <p:spPr bwMode="auto">
            <a:xfrm>
              <a:off x="5892" y="171"/>
              <a:ext cx="357" cy="152"/>
            </a:xfrm>
            <a:custGeom>
              <a:gdLst>
                <a:gd name="T0" fmla="*/ 0 w 151"/>
                <a:gd name="T1" fmla="*/ 4 h 64"/>
                <a:gd name="T2" fmla="*/ 10 w 151"/>
                <a:gd name="T3" fmla="*/ 10 h 64"/>
                <a:gd name="T4" fmla="*/ 33 w 151"/>
                <a:gd name="T5" fmla="*/ 27 h 64"/>
                <a:gd name="T6" fmla="*/ 39 w 151"/>
                <a:gd name="T7" fmla="*/ 46 h 64"/>
                <a:gd name="T8" fmla="*/ 35 w 151"/>
                <a:gd name="T9" fmla="*/ 53 h 64"/>
                <a:gd name="T10" fmla="*/ 41 w 151"/>
                <a:gd name="T11" fmla="*/ 54 h 64"/>
                <a:gd name="T12" fmla="*/ 46 w 151"/>
                <a:gd name="T13" fmla="*/ 54 h 64"/>
                <a:gd name="T14" fmla="*/ 55 w 151"/>
                <a:gd name="T15" fmla="*/ 55 h 64"/>
                <a:gd name="T16" fmla="*/ 61 w 151"/>
                <a:gd name="T17" fmla="*/ 51 h 64"/>
                <a:gd name="T18" fmla="*/ 68 w 151"/>
                <a:gd name="T19" fmla="*/ 56 h 64"/>
                <a:gd name="T20" fmla="*/ 69 w 151"/>
                <a:gd name="T21" fmla="*/ 56 h 64"/>
                <a:gd name="T22" fmla="*/ 71 w 151"/>
                <a:gd name="T23" fmla="*/ 57 h 64"/>
                <a:gd name="T24" fmla="*/ 76 w 151"/>
                <a:gd name="T25" fmla="*/ 60 h 64"/>
                <a:gd name="T26" fmla="*/ 79 w 151"/>
                <a:gd name="T27" fmla="*/ 63 h 64"/>
                <a:gd name="T28" fmla="*/ 80 w 151"/>
                <a:gd name="T29" fmla="*/ 64 h 64"/>
                <a:gd name="T30" fmla="*/ 83 w 151"/>
                <a:gd name="T31" fmla="*/ 64 h 64"/>
                <a:gd name="T32" fmla="*/ 102 w 151"/>
                <a:gd name="T33" fmla="*/ 61 h 64"/>
                <a:gd name="T34" fmla="*/ 106 w 151"/>
                <a:gd name="T35" fmla="*/ 61 h 64"/>
                <a:gd name="T36" fmla="*/ 109 w 151"/>
                <a:gd name="T37" fmla="*/ 61 h 64"/>
                <a:gd name="T38" fmla="*/ 109 w 151"/>
                <a:gd name="T39" fmla="*/ 60 h 64"/>
                <a:gd name="T40" fmla="*/ 117 w 151"/>
                <a:gd name="T41" fmla="*/ 57 h 64"/>
                <a:gd name="T42" fmla="*/ 123 w 151"/>
                <a:gd name="T43" fmla="*/ 55 h 64"/>
                <a:gd name="T44" fmla="*/ 131 w 151"/>
                <a:gd name="T45" fmla="*/ 58 h 64"/>
                <a:gd name="T46" fmla="*/ 134 w 151"/>
                <a:gd name="T47" fmla="*/ 61 h 64"/>
                <a:gd name="T48" fmla="*/ 148 w 151"/>
                <a:gd name="T49" fmla="*/ 64 h 64"/>
                <a:gd name="T50" fmla="*/ 151 w 151"/>
                <a:gd name="T51" fmla="*/ 62 h 64"/>
                <a:gd name="T52" fmla="*/ 142 w 151"/>
                <a:gd name="T53" fmla="*/ 55 h 64"/>
                <a:gd name="T54" fmla="*/ 145 w 151"/>
                <a:gd name="T55" fmla="*/ 46 h 64"/>
                <a:gd name="T56" fmla="*/ 130 w 151"/>
                <a:gd name="T57" fmla="*/ 40 h 64"/>
                <a:gd name="T58" fmla="*/ 128 w 151"/>
                <a:gd name="T59" fmla="*/ 31 h 64"/>
                <a:gd name="T60" fmla="*/ 114 w 151"/>
                <a:gd name="T61" fmla="*/ 24 h 64"/>
                <a:gd name="T62" fmla="*/ 111 w 151"/>
                <a:gd name="T63" fmla="*/ 33 h 64"/>
                <a:gd name="T64" fmla="*/ 105 w 151"/>
                <a:gd name="T65" fmla="*/ 24 h 64"/>
                <a:gd name="T66" fmla="*/ 99 w 151"/>
                <a:gd name="T67" fmla="*/ 26 h 64"/>
                <a:gd name="T68" fmla="*/ 89 w 151"/>
                <a:gd name="T69" fmla="*/ 28 h 64"/>
                <a:gd name="T70" fmla="*/ 82 w 151"/>
                <a:gd name="T71" fmla="*/ 24 h 64"/>
                <a:gd name="T72" fmla="*/ 83 w 151"/>
                <a:gd name="T73" fmla="*/ 22 h 64"/>
                <a:gd name="T74" fmla="*/ 55 w 151"/>
                <a:gd name="T75" fmla="*/ 10 h 64"/>
                <a:gd name="T76" fmla="*/ 46 w 151"/>
                <a:gd name="T77" fmla="*/ 11 h 64"/>
                <a:gd name="T78" fmla="*/ 12 w 151"/>
                <a:gd name="T79" fmla="*/ 2 h 64"/>
                <a:gd name="T80" fmla="*/ 9 w 151"/>
                <a:gd name="T81" fmla="*/ 2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1" h="64">
                  <a:moveTo>
                    <a:pt x="1" y="0"/>
                  </a:moveTo>
                  <a:cubicBezTo>
                    <a:pt x="1" y="1"/>
                    <a:pt x="1" y="2"/>
                    <a:pt x="0" y="4"/>
                  </a:cubicBezTo>
                  <a:cubicBezTo>
                    <a:pt x="0" y="5"/>
                    <a:pt x="0" y="5"/>
                    <a:pt x="0" y="5"/>
                  </a:cubicBezTo>
                  <a:cubicBezTo>
                    <a:pt x="3" y="7"/>
                    <a:pt x="6" y="9"/>
                    <a:pt x="10" y="10"/>
                  </a:cubicBezTo>
                  <a:cubicBezTo>
                    <a:pt x="15" y="12"/>
                    <a:pt x="21" y="12"/>
                    <a:pt x="23" y="17"/>
                  </a:cubicBezTo>
                  <a:cubicBezTo>
                    <a:pt x="25" y="22"/>
                    <a:pt x="32" y="21"/>
                    <a:pt x="33" y="27"/>
                  </a:cubicBezTo>
                  <a:cubicBezTo>
                    <a:pt x="34" y="30"/>
                    <a:pt x="35" y="38"/>
                    <a:pt x="39" y="38"/>
                  </a:cubicBezTo>
                  <a:cubicBezTo>
                    <a:pt x="37" y="41"/>
                    <a:pt x="40" y="43"/>
                    <a:pt x="39" y="46"/>
                  </a:cubicBezTo>
                  <a:cubicBezTo>
                    <a:pt x="38" y="49"/>
                    <a:pt x="37" y="51"/>
                    <a:pt x="35" y="53"/>
                  </a:cubicBezTo>
                  <a:cubicBezTo>
                    <a:pt x="35" y="53"/>
                    <a:pt x="35" y="53"/>
                    <a:pt x="35" y="53"/>
                  </a:cubicBezTo>
                  <a:cubicBezTo>
                    <a:pt x="36" y="54"/>
                    <a:pt x="37" y="54"/>
                    <a:pt x="38" y="54"/>
                  </a:cubicBezTo>
                  <a:cubicBezTo>
                    <a:pt x="39" y="54"/>
                    <a:pt x="40" y="54"/>
                    <a:pt x="41" y="54"/>
                  </a:cubicBezTo>
                  <a:cubicBezTo>
                    <a:pt x="42" y="53"/>
                    <a:pt x="43" y="53"/>
                    <a:pt x="44" y="53"/>
                  </a:cubicBezTo>
                  <a:cubicBezTo>
                    <a:pt x="44" y="53"/>
                    <a:pt x="45" y="53"/>
                    <a:pt x="46" y="54"/>
                  </a:cubicBezTo>
                  <a:cubicBezTo>
                    <a:pt x="48" y="54"/>
                    <a:pt x="48" y="54"/>
                    <a:pt x="48" y="54"/>
                  </a:cubicBezTo>
                  <a:cubicBezTo>
                    <a:pt x="50" y="54"/>
                    <a:pt x="52" y="54"/>
                    <a:pt x="55" y="55"/>
                  </a:cubicBezTo>
                  <a:cubicBezTo>
                    <a:pt x="55" y="53"/>
                    <a:pt x="57" y="52"/>
                    <a:pt x="59" y="51"/>
                  </a:cubicBezTo>
                  <a:cubicBezTo>
                    <a:pt x="59" y="51"/>
                    <a:pt x="60" y="51"/>
                    <a:pt x="61" y="51"/>
                  </a:cubicBezTo>
                  <a:cubicBezTo>
                    <a:pt x="64" y="51"/>
                    <a:pt x="66" y="52"/>
                    <a:pt x="69" y="55"/>
                  </a:cubicBezTo>
                  <a:cubicBezTo>
                    <a:pt x="68" y="56"/>
                    <a:pt x="68" y="56"/>
                    <a:pt x="68" y="56"/>
                  </a:cubicBezTo>
                  <a:cubicBezTo>
                    <a:pt x="69" y="55"/>
                    <a:pt x="69" y="55"/>
                    <a:pt x="69" y="55"/>
                  </a:cubicBezTo>
                  <a:cubicBezTo>
                    <a:pt x="69" y="56"/>
                    <a:pt x="69" y="56"/>
                    <a:pt x="69" y="56"/>
                  </a:cubicBezTo>
                  <a:cubicBezTo>
                    <a:pt x="70" y="56"/>
                    <a:pt x="70" y="56"/>
                    <a:pt x="70" y="57"/>
                  </a:cubicBezTo>
                  <a:cubicBezTo>
                    <a:pt x="71" y="57"/>
                    <a:pt x="71" y="57"/>
                    <a:pt x="71" y="57"/>
                  </a:cubicBezTo>
                  <a:cubicBezTo>
                    <a:pt x="72" y="58"/>
                    <a:pt x="72" y="58"/>
                    <a:pt x="72" y="58"/>
                  </a:cubicBezTo>
                  <a:cubicBezTo>
                    <a:pt x="73" y="59"/>
                    <a:pt x="75" y="60"/>
                    <a:pt x="76" y="60"/>
                  </a:cubicBezTo>
                  <a:cubicBezTo>
                    <a:pt x="77" y="61"/>
                    <a:pt x="77" y="61"/>
                    <a:pt x="77" y="61"/>
                  </a:cubicBezTo>
                  <a:cubicBezTo>
                    <a:pt x="78" y="62"/>
                    <a:pt x="79" y="63"/>
                    <a:pt x="79" y="63"/>
                  </a:cubicBezTo>
                  <a:cubicBezTo>
                    <a:pt x="80" y="64"/>
                    <a:pt x="80" y="64"/>
                    <a:pt x="80" y="64"/>
                  </a:cubicBezTo>
                  <a:cubicBezTo>
                    <a:pt x="80" y="64"/>
                    <a:pt x="80" y="64"/>
                    <a:pt x="80" y="64"/>
                  </a:cubicBezTo>
                  <a:cubicBezTo>
                    <a:pt x="81" y="64"/>
                    <a:pt x="81" y="64"/>
                    <a:pt x="81" y="64"/>
                  </a:cubicBezTo>
                  <a:cubicBezTo>
                    <a:pt x="83" y="64"/>
                    <a:pt x="83" y="64"/>
                    <a:pt x="83" y="64"/>
                  </a:cubicBezTo>
                  <a:cubicBezTo>
                    <a:pt x="88" y="63"/>
                    <a:pt x="93" y="63"/>
                    <a:pt x="98" y="62"/>
                  </a:cubicBezTo>
                  <a:cubicBezTo>
                    <a:pt x="99" y="62"/>
                    <a:pt x="101" y="61"/>
                    <a:pt x="102" y="61"/>
                  </a:cubicBezTo>
                  <a:cubicBezTo>
                    <a:pt x="103" y="61"/>
                    <a:pt x="104" y="61"/>
                    <a:pt x="105" y="61"/>
                  </a:cubicBezTo>
                  <a:cubicBezTo>
                    <a:pt x="106" y="61"/>
                    <a:pt x="106" y="61"/>
                    <a:pt x="106" y="61"/>
                  </a:cubicBezTo>
                  <a:cubicBezTo>
                    <a:pt x="107" y="61"/>
                    <a:pt x="108" y="61"/>
                    <a:pt x="108" y="61"/>
                  </a:cubicBezTo>
                  <a:cubicBezTo>
                    <a:pt x="109" y="61"/>
                    <a:pt x="109" y="61"/>
                    <a:pt x="109" y="61"/>
                  </a:cubicBezTo>
                  <a:cubicBezTo>
                    <a:pt x="110" y="61"/>
                    <a:pt x="110" y="61"/>
                    <a:pt x="110" y="61"/>
                  </a:cubicBezTo>
                  <a:cubicBezTo>
                    <a:pt x="109" y="60"/>
                    <a:pt x="109" y="60"/>
                    <a:pt x="109" y="60"/>
                  </a:cubicBezTo>
                  <a:cubicBezTo>
                    <a:pt x="114" y="59"/>
                    <a:pt x="114" y="59"/>
                    <a:pt x="114" y="59"/>
                  </a:cubicBezTo>
                  <a:cubicBezTo>
                    <a:pt x="115" y="59"/>
                    <a:pt x="116" y="58"/>
                    <a:pt x="117" y="57"/>
                  </a:cubicBezTo>
                  <a:cubicBezTo>
                    <a:pt x="119" y="56"/>
                    <a:pt x="119" y="56"/>
                    <a:pt x="119" y="56"/>
                  </a:cubicBezTo>
                  <a:cubicBezTo>
                    <a:pt x="120" y="55"/>
                    <a:pt x="122" y="55"/>
                    <a:pt x="123" y="55"/>
                  </a:cubicBezTo>
                  <a:cubicBezTo>
                    <a:pt x="123" y="55"/>
                    <a:pt x="124" y="55"/>
                    <a:pt x="124" y="55"/>
                  </a:cubicBezTo>
                  <a:cubicBezTo>
                    <a:pt x="127" y="56"/>
                    <a:pt x="129" y="57"/>
                    <a:pt x="131" y="58"/>
                  </a:cubicBezTo>
                  <a:cubicBezTo>
                    <a:pt x="132" y="59"/>
                    <a:pt x="132" y="59"/>
                    <a:pt x="132" y="59"/>
                  </a:cubicBezTo>
                  <a:cubicBezTo>
                    <a:pt x="132" y="59"/>
                    <a:pt x="133" y="60"/>
                    <a:pt x="134" y="61"/>
                  </a:cubicBezTo>
                  <a:cubicBezTo>
                    <a:pt x="135" y="61"/>
                    <a:pt x="135" y="61"/>
                    <a:pt x="136" y="61"/>
                  </a:cubicBezTo>
                  <a:cubicBezTo>
                    <a:pt x="140" y="63"/>
                    <a:pt x="144" y="63"/>
                    <a:pt x="148" y="64"/>
                  </a:cubicBezTo>
                  <a:cubicBezTo>
                    <a:pt x="149" y="64"/>
                    <a:pt x="150" y="64"/>
                    <a:pt x="151" y="64"/>
                  </a:cubicBezTo>
                  <a:cubicBezTo>
                    <a:pt x="151" y="62"/>
                    <a:pt x="151" y="62"/>
                    <a:pt x="151" y="62"/>
                  </a:cubicBezTo>
                  <a:cubicBezTo>
                    <a:pt x="149" y="61"/>
                    <a:pt x="147" y="59"/>
                    <a:pt x="146" y="58"/>
                  </a:cubicBezTo>
                  <a:cubicBezTo>
                    <a:pt x="145" y="57"/>
                    <a:pt x="144" y="56"/>
                    <a:pt x="142" y="55"/>
                  </a:cubicBezTo>
                  <a:cubicBezTo>
                    <a:pt x="139" y="54"/>
                    <a:pt x="139" y="54"/>
                    <a:pt x="139" y="54"/>
                  </a:cubicBezTo>
                  <a:cubicBezTo>
                    <a:pt x="145" y="46"/>
                    <a:pt x="145" y="46"/>
                    <a:pt x="145" y="46"/>
                  </a:cubicBezTo>
                  <a:cubicBezTo>
                    <a:pt x="144" y="46"/>
                    <a:pt x="144" y="46"/>
                    <a:pt x="143" y="45"/>
                  </a:cubicBezTo>
                  <a:cubicBezTo>
                    <a:pt x="139" y="45"/>
                    <a:pt x="130" y="40"/>
                    <a:pt x="130" y="40"/>
                  </a:cubicBezTo>
                  <a:cubicBezTo>
                    <a:pt x="129" y="39"/>
                    <a:pt x="128" y="38"/>
                    <a:pt x="128" y="36"/>
                  </a:cubicBezTo>
                  <a:cubicBezTo>
                    <a:pt x="127" y="35"/>
                    <a:pt x="128" y="33"/>
                    <a:pt x="128" y="31"/>
                  </a:cubicBezTo>
                  <a:cubicBezTo>
                    <a:pt x="124" y="29"/>
                    <a:pt x="117" y="27"/>
                    <a:pt x="114" y="25"/>
                  </a:cubicBezTo>
                  <a:cubicBezTo>
                    <a:pt x="114" y="24"/>
                    <a:pt x="114" y="24"/>
                    <a:pt x="114" y="24"/>
                  </a:cubicBezTo>
                  <a:cubicBezTo>
                    <a:pt x="114" y="25"/>
                    <a:pt x="113" y="25"/>
                    <a:pt x="113" y="26"/>
                  </a:cubicBezTo>
                  <a:cubicBezTo>
                    <a:pt x="111" y="33"/>
                    <a:pt x="111" y="33"/>
                    <a:pt x="111" y="33"/>
                  </a:cubicBezTo>
                  <a:cubicBezTo>
                    <a:pt x="108" y="26"/>
                    <a:pt x="108" y="26"/>
                    <a:pt x="108" y="26"/>
                  </a:cubicBezTo>
                  <a:cubicBezTo>
                    <a:pt x="107" y="25"/>
                    <a:pt x="106" y="24"/>
                    <a:pt x="105" y="24"/>
                  </a:cubicBezTo>
                  <a:cubicBezTo>
                    <a:pt x="105" y="24"/>
                    <a:pt x="105" y="24"/>
                    <a:pt x="105" y="24"/>
                  </a:cubicBezTo>
                  <a:cubicBezTo>
                    <a:pt x="103" y="24"/>
                    <a:pt x="101" y="25"/>
                    <a:pt x="99" y="26"/>
                  </a:cubicBezTo>
                  <a:cubicBezTo>
                    <a:pt x="96" y="28"/>
                    <a:pt x="93" y="29"/>
                    <a:pt x="91" y="29"/>
                  </a:cubicBezTo>
                  <a:cubicBezTo>
                    <a:pt x="90" y="29"/>
                    <a:pt x="89" y="29"/>
                    <a:pt x="89" y="28"/>
                  </a:cubicBezTo>
                  <a:cubicBezTo>
                    <a:pt x="89" y="28"/>
                    <a:pt x="84" y="27"/>
                    <a:pt x="83" y="25"/>
                  </a:cubicBezTo>
                  <a:cubicBezTo>
                    <a:pt x="82" y="24"/>
                    <a:pt x="82" y="24"/>
                    <a:pt x="82" y="24"/>
                  </a:cubicBezTo>
                  <a:cubicBezTo>
                    <a:pt x="83" y="22"/>
                    <a:pt x="83" y="22"/>
                    <a:pt x="83" y="22"/>
                  </a:cubicBezTo>
                  <a:cubicBezTo>
                    <a:pt x="83" y="22"/>
                    <a:pt x="83" y="22"/>
                    <a:pt x="83" y="22"/>
                  </a:cubicBezTo>
                  <a:cubicBezTo>
                    <a:pt x="78" y="21"/>
                    <a:pt x="67" y="16"/>
                    <a:pt x="65" y="13"/>
                  </a:cubicBezTo>
                  <a:cubicBezTo>
                    <a:pt x="64" y="12"/>
                    <a:pt x="60" y="10"/>
                    <a:pt x="55" y="10"/>
                  </a:cubicBezTo>
                  <a:cubicBezTo>
                    <a:pt x="54" y="10"/>
                    <a:pt x="52" y="10"/>
                    <a:pt x="51" y="10"/>
                  </a:cubicBezTo>
                  <a:cubicBezTo>
                    <a:pt x="50" y="11"/>
                    <a:pt x="48" y="11"/>
                    <a:pt x="46" y="11"/>
                  </a:cubicBezTo>
                  <a:cubicBezTo>
                    <a:pt x="37" y="11"/>
                    <a:pt x="21" y="6"/>
                    <a:pt x="18" y="4"/>
                  </a:cubicBezTo>
                  <a:cubicBezTo>
                    <a:pt x="16" y="3"/>
                    <a:pt x="13" y="2"/>
                    <a:pt x="12" y="2"/>
                  </a:cubicBezTo>
                  <a:cubicBezTo>
                    <a:pt x="12" y="2"/>
                    <a:pt x="12" y="2"/>
                    <a:pt x="11" y="2"/>
                  </a:cubicBezTo>
                  <a:cubicBezTo>
                    <a:pt x="11" y="2"/>
                    <a:pt x="10" y="2"/>
                    <a:pt x="9" y="2"/>
                  </a:cubicBezTo>
                  <a:cubicBezTo>
                    <a:pt x="7" y="2"/>
                    <a:pt x="4"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304"/>
            <p:cNvSpPr/>
            <p:nvPr/>
          </p:nvSpPr>
          <p:spPr bwMode="auto">
            <a:xfrm>
              <a:off x="6400" y="-20"/>
              <a:ext cx="2" cy="0"/>
            </a:xfrm>
            <a:custGeom>
              <a:gdLst>
                <a:gd name="T0" fmla="*/ 0 w 1"/>
                <a:gd name="T1" fmla="*/ 0 w 1"/>
                <a:gd name="T2" fmla="*/ 1 w 1"/>
                <a:gd name="T3" fmla="*/ 0 w 1"/>
              </a:gd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305"/>
            <p:cNvSpPr>
              <a:spLocks noEditPoints="1"/>
            </p:cNvSpPr>
            <p:nvPr/>
          </p:nvSpPr>
          <p:spPr bwMode="auto">
            <a:xfrm>
              <a:off x="5696" y="-27"/>
              <a:ext cx="697" cy="345"/>
            </a:xfrm>
            <a:custGeom>
              <a:gdLst>
                <a:gd name="T0" fmla="*/ 2 w 295"/>
                <a:gd name="T1" fmla="*/ 30 h 146"/>
                <a:gd name="T2" fmla="*/ 288 w 295"/>
                <a:gd name="T3" fmla="*/ 0 h 146"/>
                <a:gd name="T4" fmla="*/ 46 w 295"/>
                <a:gd name="T5" fmla="*/ 10 h 146"/>
                <a:gd name="T6" fmla="*/ 40 w 295"/>
                <a:gd name="T7" fmla="*/ 7 h 146"/>
                <a:gd name="T8" fmla="*/ 35 w 295"/>
                <a:gd name="T9" fmla="*/ 16 h 146"/>
                <a:gd name="T10" fmla="*/ 35 w 295"/>
                <a:gd name="T11" fmla="*/ 9 h 146"/>
                <a:gd name="T12" fmla="*/ 32 w 295"/>
                <a:gd name="T13" fmla="*/ 11 h 146"/>
                <a:gd name="T14" fmla="*/ 24 w 295"/>
                <a:gd name="T15" fmla="*/ 21 h 146"/>
                <a:gd name="T16" fmla="*/ 24 w 295"/>
                <a:gd name="T17" fmla="*/ 31 h 146"/>
                <a:gd name="T18" fmla="*/ 7 w 295"/>
                <a:gd name="T19" fmla="*/ 28 h 146"/>
                <a:gd name="T20" fmla="*/ 4 w 295"/>
                <a:gd name="T21" fmla="*/ 29 h 146"/>
                <a:gd name="T22" fmla="*/ 8 w 295"/>
                <a:gd name="T23" fmla="*/ 31 h 146"/>
                <a:gd name="T24" fmla="*/ 0 w 295"/>
                <a:gd name="T25" fmla="*/ 34 h 146"/>
                <a:gd name="T26" fmla="*/ 21 w 295"/>
                <a:gd name="T27" fmla="*/ 49 h 146"/>
                <a:gd name="T28" fmla="*/ 28 w 295"/>
                <a:gd name="T29" fmla="*/ 49 h 146"/>
                <a:gd name="T30" fmla="*/ 33 w 295"/>
                <a:gd name="T31" fmla="*/ 52 h 146"/>
                <a:gd name="T32" fmla="*/ 47 w 295"/>
                <a:gd name="T33" fmla="*/ 60 h 146"/>
                <a:gd name="T34" fmla="*/ 78 w 295"/>
                <a:gd name="T35" fmla="*/ 85 h 146"/>
                <a:gd name="T36" fmla="*/ 84 w 295"/>
                <a:gd name="T37" fmla="*/ 78 h 146"/>
                <a:gd name="T38" fmla="*/ 85 w 295"/>
                <a:gd name="T39" fmla="*/ 79 h 146"/>
                <a:gd name="T40" fmla="*/ 93 w 295"/>
                <a:gd name="T41" fmla="*/ 80 h 146"/>
                <a:gd name="T42" fmla="*/ 104 w 295"/>
                <a:gd name="T43" fmla="*/ 83 h 146"/>
                <a:gd name="T44" fmla="*/ 129 w 295"/>
                <a:gd name="T45" fmla="*/ 89 h 146"/>
                <a:gd name="T46" fmla="*/ 138 w 295"/>
                <a:gd name="T47" fmla="*/ 88 h 146"/>
                <a:gd name="T48" fmla="*/ 167 w 295"/>
                <a:gd name="T49" fmla="*/ 100 h 146"/>
                <a:gd name="T50" fmla="*/ 172 w 295"/>
                <a:gd name="T51" fmla="*/ 106 h 146"/>
                <a:gd name="T52" fmla="*/ 175 w 295"/>
                <a:gd name="T53" fmla="*/ 107 h 146"/>
                <a:gd name="T54" fmla="*/ 188 w 295"/>
                <a:gd name="T55" fmla="*/ 102 h 146"/>
                <a:gd name="T56" fmla="*/ 193 w 295"/>
                <a:gd name="T57" fmla="*/ 104 h 146"/>
                <a:gd name="T58" fmla="*/ 196 w 295"/>
                <a:gd name="T59" fmla="*/ 102 h 146"/>
                <a:gd name="T60" fmla="*/ 216 w 295"/>
                <a:gd name="T61" fmla="*/ 110 h 146"/>
                <a:gd name="T62" fmla="*/ 218 w 295"/>
                <a:gd name="T63" fmla="*/ 114 h 146"/>
                <a:gd name="T64" fmla="*/ 227 w 295"/>
                <a:gd name="T65" fmla="*/ 123 h 146"/>
                <a:gd name="T66" fmla="*/ 229 w 295"/>
                <a:gd name="T67" fmla="*/ 124 h 146"/>
                <a:gd name="T68" fmla="*/ 231 w 295"/>
                <a:gd name="T69" fmla="*/ 126 h 146"/>
                <a:gd name="T70" fmla="*/ 236 w 295"/>
                <a:gd name="T71" fmla="*/ 126 h 146"/>
                <a:gd name="T72" fmla="*/ 246 w 295"/>
                <a:gd name="T73" fmla="*/ 133 h 146"/>
                <a:gd name="T74" fmla="*/ 253 w 295"/>
                <a:gd name="T75" fmla="*/ 141 h 146"/>
                <a:gd name="T76" fmla="*/ 263 w 295"/>
                <a:gd name="T77" fmla="*/ 146 h 146"/>
                <a:gd name="T78" fmla="*/ 270 w 295"/>
                <a:gd name="T79" fmla="*/ 138 h 146"/>
                <a:gd name="T80" fmla="*/ 274 w 295"/>
                <a:gd name="T81" fmla="*/ 135 h 146"/>
                <a:gd name="T82" fmla="*/ 280 w 295"/>
                <a:gd name="T83" fmla="*/ 128 h 146"/>
                <a:gd name="T84" fmla="*/ 268 w 295"/>
                <a:gd name="T85" fmla="*/ 113 h 146"/>
                <a:gd name="T86" fmla="*/ 260 w 295"/>
                <a:gd name="T87" fmla="*/ 101 h 146"/>
                <a:gd name="T88" fmla="*/ 260 w 295"/>
                <a:gd name="T89" fmla="*/ 77 h 146"/>
                <a:gd name="T90" fmla="*/ 260 w 295"/>
                <a:gd name="T91" fmla="*/ 73 h 146"/>
                <a:gd name="T92" fmla="*/ 254 w 295"/>
                <a:gd name="T93" fmla="*/ 80 h 146"/>
                <a:gd name="T94" fmla="*/ 255 w 295"/>
                <a:gd name="T95" fmla="*/ 71 h 146"/>
                <a:gd name="T96" fmla="*/ 239 w 295"/>
                <a:gd name="T97" fmla="*/ 57 h 146"/>
                <a:gd name="T98" fmla="*/ 253 w 295"/>
                <a:gd name="T99" fmla="*/ 34 h 146"/>
                <a:gd name="T100" fmla="*/ 256 w 295"/>
                <a:gd name="T101" fmla="*/ 23 h 146"/>
                <a:gd name="T102" fmla="*/ 256 w 295"/>
                <a:gd name="T103" fmla="*/ 23 h 146"/>
                <a:gd name="T104" fmla="*/ 260 w 295"/>
                <a:gd name="T105" fmla="*/ 24 h 146"/>
                <a:gd name="T106" fmla="*/ 265 w 295"/>
                <a:gd name="T107" fmla="*/ 22 h 146"/>
                <a:gd name="T108" fmla="*/ 271 w 295"/>
                <a:gd name="T109" fmla="*/ 19 h 146"/>
                <a:gd name="T110" fmla="*/ 275 w 295"/>
                <a:gd name="T111" fmla="*/ 18 h 146"/>
                <a:gd name="T112" fmla="*/ 282 w 295"/>
                <a:gd name="T113" fmla="*/ 12 h 146"/>
                <a:gd name="T114" fmla="*/ 285 w 295"/>
                <a:gd name="T115" fmla="*/ 9 h 146"/>
                <a:gd name="T116" fmla="*/ 290 w 295"/>
                <a:gd name="T117" fmla="*/ 7 h 146"/>
                <a:gd name="T118" fmla="*/ 294 w 295"/>
                <a:gd name="T119" fmla="*/ 7 h 146"/>
                <a:gd name="T120" fmla="*/ 293 w 295"/>
                <a:gd name="T121" fmla="*/ 2 h 146"/>
                <a:gd name="T122" fmla="*/ 287 w 295"/>
                <a:gd name="T123" fmla="*/ 4 h 1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5" h="146">
                  <a:moveTo>
                    <a:pt x="2" y="30"/>
                  </a:moveTo>
                  <a:cubicBezTo>
                    <a:pt x="2" y="30"/>
                    <a:pt x="2" y="30"/>
                    <a:pt x="2" y="30"/>
                  </a:cubicBezTo>
                  <a:cubicBezTo>
                    <a:pt x="2" y="30"/>
                    <a:pt x="2" y="30"/>
                    <a:pt x="2" y="30"/>
                  </a:cubicBezTo>
                  <a:moveTo>
                    <a:pt x="288" y="0"/>
                  </a:moveTo>
                  <a:cubicBezTo>
                    <a:pt x="33" y="0"/>
                    <a:pt x="33" y="0"/>
                    <a:pt x="33" y="0"/>
                  </a:cubicBezTo>
                  <a:cubicBezTo>
                    <a:pt x="38" y="2"/>
                    <a:pt x="47" y="6"/>
                    <a:pt x="46" y="10"/>
                  </a:cubicBezTo>
                  <a:cubicBezTo>
                    <a:pt x="45" y="10"/>
                    <a:pt x="43" y="9"/>
                    <a:pt x="41" y="8"/>
                  </a:cubicBezTo>
                  <a:cubicBezTo>
                    <a:pt x="40" y="7"/>
                    <a:pt x="40" y="7"/>
                    <a:pt x="40" y="7"/>
                  </a:cubicBezTo>
                  <a:cubicBezTo>
                    <a:pt x="40" y="7"/>
                    <a:pt x="40" y="7"/>
                    <a:pt x="40" y="7"/>
                  </a:cubicBezTo>
                  <a:cubicBezTo>
                    <a:pt x="36" y="7"/>
                    <a:pt x="35" y="13"/>
                    <a:pt x="35" y="16"/>
                  </a:cubicBezTo>
                  <a:cubicBezTo>
                    <a:pt x="35" y="14"/>
                    <a:pt x="35" y="11"/>
                    <a:pt x="34" y="10"/>
                  </a:cubicBezTo>
                  <a:cubicBezTo>
                    <a:pt x="35" y="10"/>
                    <a:pt x="35" y="10"/>
                    <a:pt x="35" y="9"/>
                  </a:cubicBezTo>
                  <a:cubicBezTo>
                    <a:pt x="35" y="9"/>
                    <a:pt x="35" y="9"/>
                    <a:pt x="35" y="9"/>
                  </a:cubicBezTo>
                  <a:cubicBezTo>
                    <a:pt x="34" y="9"/>
                    <a:pt x="33" y="10"/>
                    <a:pt x="32" y="11"/>
                  </a:cubicBezTo>
                  <a:cubicBezTo>
                    <a:pt x="32" y="11"/>
                    <a:pt x="27" y="22"/>
                    <a:pt x="25" y="22"/>
                  </a:cubicBezTo>
                  <a:cubicBezTo>
                    <a:pt x="25" y="22"/>
                    <a:pt x="24" y="21"/>
                    <a:pt x="24" y="21"/>
                  </a:cubicBezTo>
                  <a:cubicBezTo>
                    <a:pt x="23" y="23"/>
                    <a:pt x="31" y="31"/>
                    <a:pt x="24" y="31"/>
                  </a:cubicBezTo>
                  <a:cubicBezTo>
                    <a:pt x="24" y="31"/>
                    <a:pt x="24" y="31"/>
                    <a:pt x="24" y="31"/>
                  </a:cubicBezTo>
                  <a:cubicBezTo>
                    <a:pt x="19" y="31"/>
                    <a:pt x="15" y="30"/>
                    <a:pt x="11" y="29"/>
                  </a:cubicBezTo>
                  <a:cubicBezTo>
                    <a:pt x="9" y="28"/>
                    <a:pt x="8" y="28"/>
                    <a:pt x="7" y="28"/>
                  </a:cubicBezTo>
                  <a:cubicBezTo>
                    <a:pt x="5" y="28"/>
                    <a:pt x="4" y="29"/>
                    <a:pt x="2" y="30"/>
                  </a:cubicBezTo>
                  <a:cubicBezTo>
                    <a:pt x="3" y="30"/>
                    <a:pt x="4" y="29"/>
                    <a:pt x="4" y="29"/>
                  </a:cubicBezTo>
                  <a:cubicBezTo>
                    <a:pt x="5" y="29"/>
                    <a:pt x="5" y="30"/>
                    <a:pt x="6" y="30"/>
                  </a:cubicBezTo>
                  <a:cubicBezTo>
                    <a:pt x="7" y="31"/>
                    <a:pt x="7" y="31"/>
                    <a:pt x="8" y="31"/>
                  </a:cubicBezTo>
                  <a:cubicBezTo>
                    <a:pt x="8" y="31"/>
                    <a:pt x="9" y="31"/>
                    <a:pt x="9" y="31"/>
                  </a:cubicBezTo>
                  <a:cubicBezTo>
                    <a:pt x="6" y="34"/>
                    <a:pt x="3" y="34"/>
                    <a:pt x="0" y="34"/>
                  </a:cubicBezTo>
                  <a:cubicBezTo>
                    <a:pt x="3" y="36"/>
                    <a:pt x="7" y="38"/>
                    <a:pt x="10" y="39"/>
                  </a:cubicBezTo>
                  <a:cubicBezTo>
                    <a:pt x="14" y="40"/>
                    <a:pt x="18" y="46"/>
                    <a:pt x="21" y="49"/>
                  </a:cubicBezTo>
                  <a:cubicBezTo>
                    <a:pt x="21" y="50"/>
                    <a:pt x="22" y="50"/>
                    <a:pt x="22" y="50"/>
                  </a:cubicBezTo>
                  <a:cubicBezTo>
                    <a:pt x="24" y="50"/>
                    <a:pt x="27" y="49"/>
                    <a:pt x="28" y="49"/>
                  </a:cubicBezTo>
                  <a:cubicBezTo>
                    <a:pt x="28" y="49"/>
                    <a:pt x="28" y="49"/>
                    <a:pt x="28" y="49"/>
                  </a:cubicBezTo>
                  <a:cubicBezTo>
                    <a:pt x="31" y="49"/>
                    <a:pt x="31" y="50"/>
                    <a:pt x="33" y="52"/>
                  </a:cubicBezTo>
                  <a:cubicBezTo>
                    <a:pt x="34" y="53"/>
                    <a:pt x="36" y="56"/>
                    <a:pt x="37" y="57"/>
                  </a:cubicBezTo>
                  <a:cubicBezTo>
                    <a:pt x="40" y="59"/>
                    <a:pt x="44" y="59"/>
                    <a:pt x="47" y="60"/>
                  </a:cubicBezTo>
                  <a:cubicBezTo>
                    <a:pt x="51" y="61"/>
                    <a:pt x="55" y="65"/>
                    <a:pt x="59" y="68"/>
                  </a:cubicBezTo>
                  <a:cubicBezTo>
                    <a:pt x="66" y="73"/>
                    <a:pt x="72" y="79"/>
                    <a:pt x="78" y="85"/>
                  </a:cubicBezTo>
                  <a:cubicBezTo>
                    <a:pt x="79" y="81"/>
                    <a:pt x="81" y="79"/>
                    <a:pt x="82" y="79"/>
                  </a:cubicBezTo>
                  <a:cubicBezTo>
                    <a:pt x="83" y="79"/>
                    <a:pt x="83" y="78"/>
                    <a:pt x="84" y="78"/>
                  </a:cubicBezTo>
                  <a:cubicBezTo>
                    <a:pt x="84" y="78"/>
                    <a:pt x="85" y="78"/>
                    <a:pt x="85" y="79"/>
                  </a:cubicBezTo>
                  <a:cubicBezTo>
                    <a:pt x="85" y="79"/>
                    <a:pt x="85" y="79"/>
                    <a:pt x="85" y="79"/>
                  </a:cubicBezTo>
                  <a:cubicBezTo>
                    <a:pt x="89" y="80"/>
                    <a:pt x="91" y="80"/>
                    <a:pt x="92" y="80"/>
                  </a:cubicBezTo>
                  <a:cubicBezTo>
                    <a:pt x="93" y="80"/>
                    <a:pt x="93" y="80"/>
                    <a:pt x="93" y="80"/>
                  </a:cubicBezTo>
                  <a:cubicBezTo>
                    <a:pt x="94" y="80"/>
                    <a:pt x="94" y="80"/>
                    <a:pt x="95" y="80"/>
                  </a:cubicBezTo>
                  <a:cubicBezTo>
                    <a:pt x="98" y="80"/>
                    <a:pt x="102" y="82"/>
                    <a:pt x="104" y="83"/>
                  </a:cubicBezTo>
                  <a:cubicBezTo>
                    <a:pt x="104" y="83"/>
                    <a:pt x="105" y="84"/>
                    <a:pt x="107" y="84"/>
                  </a:cubicBezTo>
                  <a:cubicBezTo>
                    <a:pt x="112" y="86"/>
                    <a:pt x="123" y="89"/>
                    <a:pt x="129" y="89"/>
                  </a:cubicBezTo>
                  <a:cubicBezTo>
                    <a:pt x="130" y="89"/>
                    <a:pt x="131" y="89"/>
                    <a:pt x="132" y="89"/>
                  </a:cubicBezTo>
                  <a:cubicBezTo>
                    <a:pt x="134" y="88"/>
                    <a:pt x="136" y="88"/>
                    <a:pt x="138" y="88"/>
                  </a:cubicBezTo>
                  <a:cubicBezTo>
                    <a:pt x="144" y="88"/>
                    <a:pt x="150" y="91"/>
                    <a:pt x="152" y="93"/>
                  </a:cubicBezTo>
                  <a:cubicBezTo>
                    <a:pt x="154" y="95"/>
                    <a:pt x="165" y="100"/>
                    <a:pt x="167" y="100"/>
                  </a:cubicBezTo>
                  <a:cubicBezTo>
                    <a:pt x="169" y="100"/>
                    <a:pt x="170" y="101"/>
                    <a:pt x="171" y="102"/>
                  </a:cubicBezTo>
                  <a:cubicBezTo>
                    <a:pt x="172" y="104"/>
                    <a:pt x="172" y="105"/>
                    <a:pt x="172" y="106"/>
                  </a:cubicBezTo>
                  <a:cubicBezTo>
                    <a:pt x="172" y="106"/>
                    <a:pt x="173" y="107"/>
                    <a:pt x="173" y="107"/>
                  </a:cubicBezTo>
                  <a:cubicBezTo>
                    <a:pt x="174" y="107"/>
                    <a:pt x="174" y="107"/>
                    <a:pt x="175" y="107"/>
                  </a:cubicBezTo>
                  <a:cubicBezTo>
                    <a:pt x="176" y="107"/>
                    <a:pt x="177" y="107"/>
                    <a:pt x="179" y="105"/>
                  </a:cubicBezTo>
                  <a:cubicBezTo>
                    <a:pt x="182" y="103"/>
                    <a:pt x="185" y="102"/>
                    <a:pt x="188" y="102"/>
                  </a:cubicBezTo>
                  <a:cubicBezTo>
                    <a:pt x="188" y="102"/>
                    <a:pt x="189" y="102"/>
                    <a:pt x="190" y="103"/>
                  </a:cubicBezTo>
                  <a:cubicBezTo>
                    <a:pt x="191" y="103"/>
                    <a:pt x="192" y="103"/>
                    <a:pt x="193" y="104"/>
                  </a:cubicBezTo>
                  <a:cubicBezTo>
                    <a:pt x="193" y="103"/>
                    <a:pt x="194" y="103"/>
                    <a:pt x="195" y="103"/>
                  </a:cubicBezTo>
                  <a:cubicBezTo>
                    <a:pt x="195" y="102"/>
                    <a:pt x="196" y="102"/>
                    <a:pt x="196" y="102"/>
                  </a:cubicBezTo>
                  <a:cubicBezTo>
                    <a:pt x="198" y="102"/>
                    <a:pt x="199" y="103"/>
                    <a:pt x="201" y="104"/>
                  </a:cubicBezTo>
                  <a:cubicBezTo>
                    <a:pt x="204" y="106"/>
                    <a:pt x="214" y="110"/>
                    <a:pt x="216" y="110"/>
                  </a:cubicBezTo>
                  <a:cubicBezTo>
                    <a:pt x="221" y="110"/>
                    <a:pt x="221" y="110"/>
                    <a:pt x="221" y="110"/>
                  </a:cubicBezTo>
                  <a:cubicBezTo>
                    <a:pt x="218" y="114"/>
                    <a:pt x="218" y="114"/>
                    <a:pt x="218" y="114"/>
                  </a:cubicBezTo>
                  <a:cubicBezTo>
                    <a:pt x="217" y="117"/>
                    <a:pt x="216" y="118"/>
                    <a:pt x="216" y="119"/>
                  </a:cubicBezTo>
                  <a:cubicBezTo>
                    <a:pt x="219" y="121"/>
                    <a:pt x="226" y="123"/>
                    <a:pt x="227" y="123"/>
                  </a:cubicBezTo>
                  <a:cubicBezTo>
                    <a:pt x="228" y="123"/>
                    <a:pt x="228" y="123"/>
                    <a:pt x="228" y="123"/>
                  </a:cubicBezTo>
                  <a:cubicBezTo>
                    <a:pt x="229" y="124"/>
                    <a:pt x="229" y="124"/>
                    <a:pt x="229" y="124"/>
                  </a:cubicBezTo>
                  <a:cubicBezTo>
                    <a:pt x="229" y="124"/>
                    <a:pt x="230" y="125"/>
                    <a:pt x="231" y="126"/>
                  </a:cubicBezTo>
                  <a:cubicBezTo>
                    <a:pt x="231" y="126"/>
                    <a:pt x="231" y="126"/>
                    <a:pt x="231" y="126"/>
                  </a:cubicBezTo>
                  <a:cubicBezTo>
                    <a:pt x="232" y="126"/>
                    <a:pt x="232" y="126"/>
                    <a:pt x="232" y="126"/>
                  </a:cubicBezTo>
                  <a:cubicBezTo>
                    <a:pt x="234" y="126"/>
                    <a:pt x="235" y="126"/>
                    <a:pt x="236" y="126"/>
                  </a:cubicBezTo>
                  <a:cubicBezTo>
                    <a:pt x="236" y="127"/>
                    <a:pt x="236" y="127"/>
                    <a:pt x="237" y="127"/>
                  </a:cubicBezTo>
                  <a:cubicBezTo>
                    <a:pt x="241" y="127"/>
                    <a:pt x="245" y="130"/>
                    <a:pt x="246" y="133"/>
                  </a:cubicBezTo>
                  <a:cubicBezTo>
                    <a:pt x="247" y="135"/>
                    <a:pt x="248" y="137"/>
                    <a:pt x="249" y="137"/>
                  </a:cubicBezTo>
                  <a:cubicBezTo>
                    <a:pt x="251" y="138"/>
                    <a:pt x="253" y="141"/>
                    <a:pt x="253" y="141"/>
                  </a:cubicBezTo>
                  <a:cubicBezTo>
                    <a:pt x="254" y="142"/>
                    <a:pt x="255" y="144"/>
                    <a:pt x="259" y="145"/>
                  </a:cubicBezTo>
                  <a:cubicBezTo>
                    <a:pt x="261" y="145"/>
                    <a:pt x="262" y="146"/>
                    <a:pt x="263" y="146"/>
                  </a:cubicBezTo>
                  <a:cubicBezTo>
                    <a:pt x="265" y="146"/>
                    <a:pt x="265" y="145"/>
                    <a:pt x="266" y="144"/>
                  </a:cubicBezTo>
                  <a:cubicBezTo>
                    <a:pt x="267" y="140"/>
                    <a:pt x="269" y="139"/>
                    <a:pt x="270" y="138"/>
                  </a:cubicBezTo>
                  <a:cubicBezTo>
                    <a:pt x="271" y="138"/>
                    <a:pt x="271" y="137"/>
                    <a:pt x="272" y="137"/>
                  </a:cubicBezTo>
                  <a:cubicBezTo>
                    <a:pt x="272" y="137"/>
                    <a:pt x="273" y="136"/>
                    <a:pt x="274" y="135"/>
                  </a:cubicBezTo>
                  <a:cubicBezTo>
                    <a:pt x="275" y="134"/>
                    <a:pt x="279" y="131"/>
                    <a:pt x="280" y="129"/>
                  </a:cubicBezTo>
                  <a:cubicBezTo>
                    <a:pt x="280" y="128"/>
                    <a:pt x="280" y="128"/>
                    <a:pt x="280" y="128"/>
                  </a:cubicBezTo>
                  <a:cubicBezTo>
                    <a:pt x="280" y="128"/>
                    <a:pt x="280" y="128"/>
                    <a:pt x="280" y="128"/>
                  </a:cubicBezTo>
                  <a:cubicBezTo>
                    <a:pt x="274" y="124"/>
                    <a:pt x="272" y="118"/>
                    <a:pt x="268" y="113"/>
                  </a:cubicBezTo>
                  <a:cubicBezTo>
                    <a:pt x="266" y="111"/>
                    <a:pt x="264" y="109"/>
                    <a:pt x="262" y="105"/>
                  </a:cubicBezTo>
                  <a:cubicBezTo>
                    <a:pt x="262" y="104"/>
                    <a:pt x="261" y="102"/>
                    <a:pt x="260" y="101"/>
                  </a:cubicBezTo>
                  <a:cubicBezTo>
                    <a:pt x="260" y="100"/>
                    <a:pt x="258" y="100"/>
                    <a:pt x="258" y="99"/>
                  </a:cubicBezTo>
                  <a:cubicBezTo>
                    <a:pt x="259" y="92"/>
                    <a:pt x="259" y="84"/>
                    <a:pt x="260" y="77"/>
                  </a:cubicBezTo>
                  <a:cubicBezTo>
                    <a:pt x="260" y="76"/>
                    <a:pt x="260" y="74"/>
                    <a:pt x="261" y="73"/>
                  </a:cubicBezTo>
                  <a:cubicBezTo>
                    <a:pt x="261" y="73"/>
                    <a:pt x="260" y="73"/>
                    <a:pt x="260" y="73"/>
                  </a:cubicBezTo>
                  <a:cubicBezTo>
                    <a:pt x="257" y="73"/>
                    <a:pt x="256" y="79"/>
                    <a:pt x="256" y="82"/>
                  </a:cubicBezTo>
                  <a:cubicBezTo>
                    <a:pt x="255" y="82"/>
                    <a:pt x="254" y="81"/>
                    <a:pt x="254" y="80"/>
                  </a:cubicBezTo>
                  <a:cubicBezTo>
                    <a:pt x="255" y="80"/>
                    <a:pt x="256" y="77"/>
                    <a:pt x="256" y="76"/>
                  </a:cubicBezTo>
                  <a:cubicBezTo>
                    <a:pt x="257" y="75"/>
                    <a:pt x="256" y="73"/>
                    <a:pt x="255" y="71"/>
                  </a:cubicBezTo>
                  <a:cubicBezTo>
                    <a:pt x="252" y="66"/>
                    <a:pt x="251" y="63"/>
                    <a:pt x="246" y="60"/>
                  </a:cubicBezTo>
                  <a:cubicBezTo>
                    <a:pt x="244" y="59"/>
                    <a:pt x="241" y="59"/>
                    <a:pt x="239" y="57"/>
                  </a:cubicBezTo>
                  <a:cubicBezTo>
                    <a:pt x="235" y="55"/>
                    <a:pt x="241" y="49"/>
                    <a:pt x="243" y="47"/>
                  </a:cubicBezTo>
                  <a:cubicBezTo>
                    <a:pt x="248" y="42"/>
                    <a:pt x="250" y="40"/>
                    <a:pt x="253" y="34"/>
                  </a:cubicBezTo>
                  <a:cubicBezTo>
                    <a:pt x="254" y="31"/>
                    <a:pt x="255" y="28"/>
                    <a:pt x="256" y="24"/>
                  </a:cubicBezTo>
                  <a:cubicBezTo>
                    <a:pt x="256" y="24"/>
                    <a:pt x="256" y="23"/>
                    <a:pt x="256" y="23"/>
                  </a:cubicBezTo>
                  <a:cubicBezTo>
                    <a:pt x="257" y="24"/>
                    <a:pt x="257" y="24"/>
                    <a:pt x="257" y="24"/>
                  </a:cubicBezTo>
                  <a:cubicBezTo>
                    <a:pt x="256" y="23"/>
                    <a:pt x="256" y="23"/>
                    <a:pt x="256" y="23"/>
                  </a:cubicBezTo>
                  <a:cubicBezTo>
                    <a:pt x="257" y="21"/>
                    <a:pt x="257" y="21"/>
                    <a:pt x="257" y="21"/>
                  </a:cubicBezTo>
                  <a:cubicBezTo>
                    <a:pt x="258" y="22"/>
                    <a:pt x="260" y="23"/>
                    <a:pt x="260" y="24"/>
                  </a:cubicBezTo>
                  <a:cubicBezTo>
                    <a:pt x="261" y="22"/>
                    <a:pt x="260" y="20"/>
                    <a:pt x="259" y="18"/>
                  </a:cubicBezTo>
                  <a:cubicBezTo>
                    <a:pt x="261" y="20"/>
                    <a:pt x="263" y="21"/>
                    <a:pt x="265" y="22"/>
                  </a:cubicBezTo>
                  <a:cubicBezTo>
                    <a:pt x="266" y="20"/>
                    <a:pt x="266" y="19"/>
                    <a:pt x="268" y="19"/>
                  </a:cubicBezTo>
                  <a:cubicBezTo>
                    <a:pt x="269" y="19"/>
                    <a:pt x="270" y="19"/>
                    <a:pt x="271" y="19"/>
                  </a:cubicBezTo>
                  <a:cubicBezTo>
                    <a:pt x="271" y="19"/>
                    <a:pt x="272" y="19"/>
                    <a:pt x="272" y="19"/>
                  </a:cubicBezTo>
                  <a:cubicBezTo>
                    <a:pt x="273" y="19"/>
                    <a:pt x="274" y="19"/>
                    <a:pt x="275" y="18"/>
                  </a:cubicBezTo>
                  <a:cubicBezTo>
                    <a:pt x="277" y="16"/>
                    <a:pt x="280" y="14"/>
                    <a:pt x="282" y="12"/>
                  </a:cubicBezTo>
                  <a:cubicBezTo>
                    <a:pt x="282" y="12"/>
                    <a:pt x="282" y="12"/>
                    <a:pt x="282" y="12"/>
                  </a:cubicBezTo>
                  <a:cubicBezTo>
                    <a:pt x="283" y="12"/>
                    <a:pt x="286" y="15"/>
                    <a:pt x="287" y="16"/>
                  </a:cubicBezTo>
                  <a:cubicBezTo>
                    <a:pt x="286" y="14"/>
                    <a:pt x="286" y="11"/>
                    <a:pt x="285" y="9"/>
                  </a:cubicBezTo>
                  <a:cubicBezTo>
                    <a:pt x="285" y="7"/>
                    <a:pt x="287" y="7"/>
                    <a:pt x="288" y="7"/>
                  </a:cubicBezTo>
                  <a:cubicBezTo>
                    <a:pt x="289" y="7"/>
                    <a:pt x="289" y="7"/>
                    <a:pt x="290" y="7"/>
                  </a:cubicBezTo>
                  <a:cubicBezTo>
                    <a:pt x="291" y="7"/>
                    <a:pt x="291" y="7"/>
                    <a:pt x="292" y="7"/>
                  </a:cubicBezTo>
                  <a:cubicBezTo>
                    <a:pt x="293" y="7"/>
                    <a:pt x="294" y="7"/>
                    <a:pt x="294" y="7"/>
                  </a:cubicBezTo>
                  <a:cubicBezTo>
                    <a:pt x="295" y="6"/>
                    <a:pt x="295" y="4"/>
                    <a:pt x="295" y="3"/>
                  </a:cubicBezTo>
                  <a:cubicBezTo>
                    <a:pt x="295" y="3"/>
                    <a:pt x="294" y="2"/>
                    <a:pt x="293" y="2"/>
                  </a:cubicBezTo>
                  <a:cubicBezTo>
                    <a:pt x="292" y="1"/>
                    <a:pt x="291" y="1"/>
                    <a:pt x="289" y="0"/>
                  </a:cubicBezTo>
                  <a:cubicBezTo>
                    <a:pt x="287" y="4"/>
                    <a:pt x="287" y="4"/>
                    <a:pt x="287" y="4"/>
                  </a:cubicBezTo>
                  <a:cubicBezTo>
                    <a:pt x="288" y="0"/>
                    <a:pt x="288" y="0"/>
                    <a:pt x="2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306"/>
            <p:cNvSpPr/>
            <p:nvPr/>
          </p:nvSpPr>
          <p:spPr bwMode="auto">
            <a:xfrm>
              <a:off x="5381" y="4223"/>
              <a:ext cx="59" cy="78"/>
            </a:xfrm>
            <a:custGeom>
              <a:gdLst>
                <a:gd name="T0" fmla="*/ 12 w 25"/>
                <a:gd name="T1" fmla="*/ 0 h 33"/>
                <a:gd name="T2" fmla="*/ 12 w 25"/>
                <a:gd name="T3" fmla="*/ 1 h 33"/>
                <a:gd name="T4" fmla="*/ 3 w 25"/>
                <a:gd name="T5" fmla="*/ 11 h 33"/>
                <a:gd name="T6" fmla="*/ 0 w 25"/>
                <a:gd name="T7" fmla="*/ 17 h 33"/>
                <a:gd name="T8" fmla="*/ 0 w 25"/>
                <a:gd name="T9" fmla="*/ 20 h 33"/>
                <a:gd name="T10" fmla="*/ 1 w 25"/>
                <a:gd name="T11" fmla="*/ 22 h 33"/>
                <a:gd name="T12" fmla="*/ 5 w 25"/>
                <a:gd name="T13" fmla="*/ 27 h 33"/>
                <a:gd name="T14" fmla="*/ 9 w 25"/>
                <a:gd name="T15" fmla="*/ 32 h 33"/>
                <a:gd name="T16" fmla="*/ 9 w 25"/>
                <a:gd name="T17" fmla="*/ 32 h 33"/>
                <a:gd name="T18" fmla="*/ 22 w 25"/>
                <a:gd name="T19" fmla="*/ 33 h 33"/>
                <a:gd name="T20" fmla="*/ 23 w 25"/>
                <a:gd name="T21" fmla="*/ 23 h 33"/>
                <a:gd name="T22" fmla="*/ 24 w 25"/>
                <a:gd name="T23" fmla="*/ 20 h 33"/>
                <a:gd name="T24" fmla="*/ 25 w 25"/>
                <a:gd name="T25" fmla="*/ 21 h 33"/>
                <a:gd name="T26" fmla="*/ 24 w 25"/>
                <a:gd name="T27" fmla="*/ 6 h 33"/>
                <a:gd name="T28" fmla="*/ 24 w 25"/>
                <a:gd name="T29" fmla="*/ 6 h 33"/>
                <a:gd name="T30" fmla="*/ 21 w 25"/>
                <a:gd name="T31" fmla="*/ 5 h 33"/>
                <a:gd name="T32" fmla="*/ 21 w 25"/>
                <a:gd name="T33" fmla="*/ 5 h 33"/>
                <a:gd name="T34" fmla="*/ 21 w 25"/>
                <a:gd name="T35" fmla="*/ 5 h 33"/>
                <a:gd name="T36" fmla="*/ 18 w 25"/>
                <a:gd name="T37" fmla="*/ 4 h 33"/>
                <a:gd name="T38" fmla="*/ 12 w 25"/>
                <a:gd name="T39" fmla="*/ 1 h 33"/>
                <a:gd name="T40" fmla="*/ 12 w 25"/>
                <a:gd name="T41"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33">
                  <a:moveTo>
                    <a:pt x="12" y="0"/>
                  </a:moveTo>
                  <a:cubicBezTo>
                    <a:pt x="12" y="1"/>
                    <a:pt x="12" y="1"/>
                    <a:pt x="12" y="1"/>
                  </a:cubicBezTo>
                  <a:cubicBezTo>
                    <a:pt x="8" y="4"/>
                    <a:pt x="6" y="6"/>
                    <a:pt x="3" y="11"/>
                  </a:cubicBezTo>
                  <a:cubicBezTo>
                    <a:pt x="2" y="12"/>
                    <a:pt x="1" y="15"/>
                    <a:pt x="0" y="17"/>
                  </a:cubicBezTo>
                  <a:cubicBezTo>
                    <a:pt x="0" y="20"/>
                    <a:pt x="0" y="20"/>
                    <a:pt x="0" y="20"/>
                  </a:cubicBezTo>
                  <a:cubicBezTo>
                    <a:pt x="0" y="21"/>
                    <a:pt x="1" y="21"/>
                    <a:pt x="1" y="22"/>
                  </a:cubicBezTo>
                  <a:cubicBezTo>
                    <a:pt x="3" y="23"/>
                    <a:pt x="4" y="25"/>
                    <a:pt x="5" y="27"/>
                  </a:cubicBezTo>
                  <a:cubicBezTo>
                    <a:pt x="9" y="32"/>
                    <a:pt x="9" y="32"/>
                    <a:pt x="9" y="32"/>
                  </a:cubicBezTo>
                  <a:cubicBezTo>
                    <a:pt x="9" y="32"/>
                    <a:pt x="9" y="32"/>
                    <a:pt x="9" y="32"/>
                  </a:cubicBezTo>
                  <a:cubicBezTo>
                    <a:pt x="22" y="33"/>
                    <a:pt x="22" y="33"/>
                    <a:pt x="22" y="33"/>
                  </a:cubicBezTo>
                  <a:cubicBezTo>
                    <a:pt x="21" y="30"/>
                    <a:pt x="22" y="27"/>
                    <a:pt x="23" y="23"/>
                  </a:cubicBezTo>
                  <a:cubicBezTo>
                    <a:pt x="24" y="20"/>
                    <a:pt x="24" y="20"/>
                    <a:pt x="24" y="20"/>
                  </a:cubicBezTo>
                  <a:cubicBezTo>
                    <a:pt x="25" y="21"/>
                    <a:pt x="25" y="21"/>
                    <a:pt x="25" y="21"/>
                  </a:cubicBezTo>
                  <a:cubicBezTo>
                    <a:pt x="24" y="6"/>
                    <a:pt x="24" y="6"/>
                    <a:pt x="24" y="6"/>
                  </a:cubicBezTo>
                  <a:cubicBezTo>
                    <a:pt x="24" y="6"/>
                    <a:pt x="24" y="6"/>
                    <a:pt x="24" y="6"/>
                  </a:cubicBezTo>
                  <a:cubicBezTo>
                    <a:pt x="21" y="5"/>
                    <a:pt x="21" y="5"/>
                    <a:pt x="21" y="5"/>
                  </a:cubicBezTo>
                  <a:cubicBezTo>
                    <a:pt x="21" y="5"/>
                    <a:pt x="21" y="5"/>
                    <a:pt x="21" y="5"/>
                  </a:cubicBezTo>
                  <a:cubicBezTo>
                    <a:pt x="21" y="5"/>
                    <a:pt x="21" y="5"/>
                    <a:pt x="21" y="5"/>
                  </a:cubicBezTo>
                  <a:cubicBezTo>
                    <a:pt x="19" y="5"/>
                    <a:pt x="19" y="5"/>
                    <a:pt x="18" y="4"/>
                  </a:cubicBezTo>
                  <a:cubicBezTo>
                    <a:pt x="16" y="4"/>
                    <a:pt x="14" y="2"/>
                    <a:pt x="12" y="1"/>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307"/>
            <p:cNvSpPr/>
            <p:nvPr/>
          </p:nvSpPr>
          <p:spPr bwMode="auto">
            <a:xfrm>
              <a:off x="5169" y="4391"/>
              <a:ext cx="125" cy="118"/>
            </a:xfrm>
            <a:custGeom>
              <a:gdLst>
                <a:gd name="T0" fmla="*/ 36 w 53"/>
                <a:gd name="T1" fmla="*/ 0 h 50"/>
                <a:gd name="T2" fmla="*/ 36 w 53"/>
                <a:gd name="T3" fmla="*/ 0 h 50"/>
                <a:gd name="T4" fmla="*/ 27 w 53"/>
                <a:gd name="T5" fmla="*/ 3 h 50"/>
                <a:gd name="T6" fmla="*/ 23 w 53"/>
                <a:gd name="T7" fmla="*/ 5 h 50"/>
                <a:gd name="T8" fmla="*/ 21 w 53"/>
                <a:gd name="T9" fmla="*/ 6 h 50"/>
                <a:gd name="T10" fmla="*/ 20 w 53"/>
                <a:gd name="T11" fmla="*/ 6 h 50"/>
                <a:gd name="T12" fmla="*/ 16 w 53"/>
                <a:gd name="T13" fmla="*/ 9 h 50"/>
                <a:gd name="T14" fmla="*/ 15 w 53"/>
                <a:gd name="T15" fmla="*/ 10 h 50"/>
                <a:gd name="T16" fmla="*/ 10 w 53"/>
                <a:gd name="T17" fmla="*/ 17 h 50"/>
                <a:gd name="T18" fmla="*/ 7 w 53"/>
                <a:gd name="T19" fmla="*/ 22 h 50"/>
                <a:gd name="T20" fmla="*/ 4 w 53"/>
                <a:gd name="T21" fmla="*/ 24 h 50"/>
                <a:gd name="T22" fmla="*/ 3 w 53"/>
                <a:gd name="T23" fmla="*/ 25 h 50"/>
                <a:gd name="T24" fmla="*/ 0 w 53"/>
                <a:gd name="T25" fmla="*/ 26 h 50"/>
                <a:gd name="T26" fmla="*/ 0 w 53"/>
                <a:gd name="T27" fmla="*/ 26 h 50"/>
                <a:gd name="T28" fmla="*/ 0 w 53"/>
                <a:gd name="T29" fmla="*/ 26 h 50"/>
                <a:gd name="T30" fmla="*/ 0 w 53"/>
                <a:gd name="T31" fmla="*/ 26 h 50"/>
                <a:gd name="T32" fmla="*/ 0 w 53"/>
                <a:gd name="T33" fmla="*/ 26 h 50"/>
                <a:gd name="T34" fmla="*/ 2 w 53"/>
                <a:gd name="T35" fmla="*/ 30 h 50"/>
                <a:gd name="T36" fmla="*/ 4 w 53"/>
                <a:gd name="T37" fmla="*/ 32 h 50"/>
                <a:gd name="T38" fmla="*/ 6 w 53"/>
                <a:gd name="T39" fmla="*/ 37 h 50"/>
                <a:gd name="T40" fmla="*/ 8 w 53"/>
                <a:gd name="T41" fmla="*/ 42 h 50"/>
                <a:gd name="T42" fmla="*/ 13 w 53"/>
                <a:gd name="T43" fmla="*/ 45 h 50"/>
                <a:gd name="T44" fmla="*/ 15 w 53"/>
                <a:gd name="T45" fmla="*/ 46 h 50"/>
                <a:gd name="T46" fmla="*/ 21 w 53"/>
                <a:gd name="T47" fmla="*/ 49 h 50"/>
                <a:gd name="T48" fmla="*/ 22 w 53"/>
                <a:gd name="T49" fmla="*/ 50 h 50"/>
                <a:gd name="T50" fmla="*/ 22 w 53"/>
                <a:gd name="T51" fmla="*/ 50 h 50"/>
                <a:gd name="T52" fmla="*/ 22 w 53"/>
                <a:gd name="T53" fmla="*/ 50 h 50"/>
                <a:gd name="T54" fmla="*/ 23 w 53"/>
                <a:gd name="T55" fmla="*/ 50 h 50"/>
                <a:gd name="T56" fmla="*/ 23 w 53"/>
                <a:gd name="T57" fmla="*/ 49 h 50"/>
                <a:gd name="T58" fmla="*/ 26 w 53"/>
                <a:gd name="T59" fmla="*/ 43 h 50"/>
                <a:gd name="T60" fmla="*/ 26 w 53"/>
                <a:gd name="T61" fmla="*/ 42 h 50"/>
                <a:gd name="T62" fmla="*/ 27 w 53"/>
                <a:gd name="T63" fmla="*/ 40 h 50"/>
                <a:gd name="T64" fmla="*/ 29 w 53"/>
                <a:gd name="T65" fmla="*/ 38 h 50"/>
                <a:gd name="T66" fmla="*/ 29 w 53"/>
                <a:gd name="T67" fmla="*/ 38 h 50"/>
                <a:gd name="T68" fmla="*/ 30 w 53"/>
                <a:gd name="T69" fmla="*/ 37 h 50"/>
                <a:gd name="T70" fmla="*/ 35 w 53"/>
                <a:gd name="T71" fmla="*/ 36 h 50"/>
                <a:gd name="T72" fmla="*/ 38 w 53"/>
                <a:gd name="T73" fmla="*/ 35 h 50"/>
                <a:gd name="T74" fmla="*/ 44 w 53"/>
                <a:gd name="T75" fmla="*/ 33 h 50"/>
                <a:gd name="T76" fmla="*/ 45 w 53"/>
                <a:gd name="T77" fmla="*/ 32 h 50"/>
                <a:gd name="T78" fmla="*/ 46 w 53"/>
                <a:gd name="T79" fmla="*/ 32 h 50"/>
                <a:gd name="T80" fmla="*/ 46 w 53"/>
                <a:gd name="T81" fmla="*/ 31 h 50"/>
                <a:gd name="T82" fmla="*/ 47 w 53"/>
                <a:gd name="T83" fmla="*/ 31 h 50"/>
                <a:gd name="T84" fmla="*/ 46 w 53"/>
                <a:gd name="T85" fmla="*/ 29 h 50"/>
                <a:gd name="T86" fmla="*/ 46 w 53"/>
                <a:gd name="T87" fmla="*/ 29 h 50"/>
                <a:gd name="T88" fmla="*/ 46 w 53"/>
                <a:gd name="T89" fmla="*/ 29 h 50"/>
                <a:gd name="T90" fmla="*/ 47 w 53"/>
                <a:gd name="T91" fmla="*/ 27 h 50"/>
                <a:gd name="T92" fmla="*/ 47 w 53"/>
                <a:gd name="T93" fmla="*/ 26 h 50"/>
                <a:gd name="T94" fmla="*/ 47 w 53"/>
                <a:gd name="T95" fmla="*/ 26 h 50"/>
                <a:gd name="T96" fmla="*/ 47 w 53"/>
                <a:gd name="T97" fmla="*/ 25 h 50"/>
                <a:gd name="T98" fmla="*/ 49 w 53"/>
                <a:gd name="T99" fmla="*/ 23 h 50"/>
                <a:gd name="T100" fmla="*/ 51 w 53"/>
                <a:gd name="T101" fmla="*/ 20 h 50"/>
                <a:gd name="T102" fmla="*/ 52 w 53"/>
                <a:gd name="T103" fmla="*/ 19 h 50"/>
                <a:gd name="T104" fmla="*/ 53 w 53"/>
                <a:gd name="T105" fmla="*/ 17 h 50"/>
                <a:gd name="T106" fmla="*/ 52 w 53"/>
                <a:gd name="T107" fmla="*/ 13 h 50"/>
                <a:gd name="T108" fmla="*/ 51 w 53"/>
                <a:gd name="T109" fmla="*/ 12 h 50"/>
                <a:gd name="T110" fmla="*/ 49 w 53"/>
                <a:gd name="T111" fmla="*/ 11 h 50"/>
                <a:gd name="T112" fmla="*/ 46 w 53"/>
                <a:gd name="T113" fmla="*/ 8 h 50"/>
                <a:gd name="T114" fmla="*/ 45 w 53"/>
                <a:gd name="T115" fmla="*/ 7 h 50"/>
                <a:gd name="T116" fmla="*/ 43 w 53"/>
                <a:gd name="T117" fmla="*/ 6 h 50"/>
                <a:gd name="T118" fmla="*/ 36 w 53"/>
                <a:gd name="T119" fmla="*/ 0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50">
                  <a:moveTo>
                    <a:pt x="36" y="0"/>
                  </a:moveTo>
                  <a:cubicBezTo>
                    <a:pt x="36" y="0"/>
                    <a:pt x="36" y="0"/>
                    <a:pt x="36" y="0"/>
                  </a:cubicBezTo>
                  <a:cubicBezTo>
                    <a:pt x="33" y="1"/>
                    <a:pt x="30" y="2"/>
                    <a:pt x="27" y="3"/>
                  </a:cubicBezTo>
                  <a:cubicBezTo>
                    <a:pt x="26" y="4"/>
                    <a:pt x="24" y="4"/>
                    <a:pt x="23" y="5"/>
                  </a:cubicBezTo>
                  <a:cubicBezTo>
                    <a:pt x="21" y="6"/>
                    <a:pt x="21" y="6"/>
                    <a:pt x="21" y="6"/>
                  </a:cubicBezTo>
                  <a:cubicBezTo>
                    <a:pt x="21" y="6"/>
                    <a:pt x="20" y="6"/>
                    <a:pt x="20" y="6"/>
                  </a:cubicBezTo>
                  <a:cubicBezTo>
                    <a:pt x="18" y="7"/>
                    <a:pt x="16" y="8"/>
                    <a:pt x="16" y="9"/>
                  </a:cubicBezTo>
                  <a:cubicBezTo>
                    <a:pt x="15" y="10"/>
                    <a:pt x="15" y="10"/>
                    <a:pt x="15" y="10"/>
                  </a:cubicBezTo>
                  <a:cubicBezTo>
                    <a:pt x="13" y="12"/>
                    <a:pt x="12" y="15"/>
                    <a:pt x="10" y="17"/>
                  </a:cubicBezTo>
                  <a:cubicBezTo>
                    <a:pt x="9" y="19"/>
                    <a:pt x="8" y="20"/>
                    <a:pt x="7" y="22"/>
                  </a:cubicBezTo>
                  <a:cubicBezTo>
                    <a:pt x="6" y="23"/>
                    <a:pt x="5" y="24"/>
                    <a:pt x="4" y="24"/>
                  </a:cubicBezTo>
                  <a:cubicBezTo>
                    <a:pt x="3" y="25"/>
                    <a:pt x="3" y="25"/>
                    <a:pt x="3" y="25"/>
                  </a:cubicBezTo>
                  <a:cubicBezTo>
                    <a:pt x="2" y="25"/>
                    <a:pt x="1" y="25"/>
                    <a:pt x="0" y="26"/>
                  </a:cubicBezTo>
                  <a:cubicBezTo>
                    <a:pt x="0" y="26"/>
                    <a:pt x="0" y="26"/>
                    <a:pt x="0" y="26"/>
                  </a:cubicBezTo>
                  <a:cubicBezTo>
                    <a:pt x="0" y="26"/>
                    <a:pt x="0" y="26"/>
                    <a:pt x="0" y="26"/>
                  </a:cubicBezTo>
                  <a:cubicBezTo>
                    <a:pt x="0" y="26"/>
                    <a:pt x="0" y="26"/>
                    <a:pt x="0" y="26"/>
                  </a:cubicBezTo>
                  <a:cubicBezTo>
                    <a:pt x="0" y="26"/>
                    <a:pt x="0" y="26"/>
                    <a:pt x="0" y="26"/>
                  </a:cubicBezTo>
                  <a:cubicBezTo>
                    <a:pt x="0" y="27"/>
                    <a:pt x="2" y="29"/>
                    <a:pt x="2" y="30"/>
                  </a:cubicBezTo>
                  <a:cubicBezTo>
                    <a:pt x="3" y="31"/>
                    <a:pt x="3" y="31"/>
                    <a:pt x="4" y="32"/>
                  </a:cubicBezTo>
                  <a:cubicBezTo>
                    <a:pt x="5" y="34"/>
                    <a:pt x="5" y="35"/>
                    <a:pt x="6" y="37"/>
                  </a:cubicBezTo>
                  <a:cubicBezTo>
                    <a:pt x="8" y="42"/>
                    <a:pt x="8" y="42"/>
                    <a:pt x="8" y="42"/>
                  </a:cubicBezTo>
                  <a:cubicBezTo>
                    <a:pt x="9" y="42"/>
                    <a:pt x="12" y="44"/>
                    <a:pt x="13" y="45"/>
                  </a:cubicBezTo>
                  <a:cubicBezTo>
                    <a:pt x="15" y="46"/>
                    <a:pt x="15" y="46"/>
                    <a:pt x="15" y="46"/>
                  </a:cubicBezTo>
                  <a:cubicBezTo>
                    <a:pt x="17" y="47"/>
                    <a:pt x="19" y="49"/>
                    <a:pt x="21" y="49"/>
                  </a:cubicBezTo>
                  <a:cubicBezTo>
                    <a:pt x="21" y="49"/>
                    <a:pt x="21" y="50"/>
                    <a:pt x="22" y="50"/>
                  </a:cubicBezTo>
                  <a:cubicBezTo>
                    <a:pt x="22" y="50"/>
                    <a:pt x="22" y="50"/>
                    <a:pt x="22" y="50"/>
                  </a:cubicBezTo>
                  <a:cubicBezTo>
                    <a:pt x="22" y="50"/>
                    <a:pt x="22" y="50"/>
                    <a:pt x="22" y="50"/>
                  </a:cubicBezTo>
                  <a:cubicBezTo>
                    <a:pt x="23" y="50"/>
                    <a:pt x="23" y="50"/>
                    <a:pt x="23" y="50"/>
                  </a:cubicBezTo>
                  <a:cubicBezTo>
                    <a:pt x="23" y="49"/>
                    <a:pt x="23" y="49"/>
                    <a:pt x="23" y="49"/>
                  </a:cubicBezTo>
                  <a:cubicBezTo>
                    <a:pt x="24" y="48"/>
                    <a:pt x="25" y="45"/>
                    <a:pt x="26" y="43"/>
                  </a:cubicBezTo>
                  <a:cubicBezTo>
                    <a:pt x="26" y="42"/>
                    <a:pt x="26" y="42"/>
                    <a:pt x="26" y="42"/>
                  </a:cubicBezTo>
                  <a:cubicBezTo>
                    <a:pt x="27" y="41"/>
                    <a:pt x="27" y="40"/>
                    <a:pt x="27" y="40"/>
                  </a:cubicBezTo>
                  <a:cubicBezTo>
                    <a:pt x="28" y="39"/>
                    <a:pt x="28" y="38"/>
                    <a:pt x="29" y="38"/>
                  </a:cubicBezTo>
                  <a:cubicBezTo>
                    <a:pt x="29" y="38"/>
                    <a:pt x="29" y="38"/>
                    <a:pt x="29" y="38"/>
                  </a:cubicBezTo>
                  <a:cubicBezTo>
                    <a:pt x="30" y="37"/>
                    <a:pt x="30" y="37"/>
                    <a:pt x="30" y="37"/>
                  </a:cubicBezTo>
                  <a:cubicBezTo>
                    <a:pt x="35" y="36"/>
                    <a:pt x="35" y="36"/>
                    <a:pt x="35" y="36"/>
                  </a:cubicBezTo>
                  <a:cubicBezTo>
                    <a:pt x="36" y="35"/>
                    <a:pt x="37" y="35"/>
                    <a:pt x="38" y="35"/>
                  </a:cubicBezTo>
                  <a:cubicBezTo>
                    <a:pt x="40" y="34"/>
                    <a:pt x="43" y="34"/>
                    <a:pt x="44" y="33"/>
                  </a:cubicBezTo>
                  <a:cubicBezTo>
                    <a:pt x="45" y="32"/>
                    <a:pt x="45" y="32"/>
                    <a:pt x="45" y="32"/>
                  </a:cubicBezTo>
                  <a:cubicBezTo>
                    <a:pt x="46" y="32"/>
                    <a:pt x="46" y="32"/>
                    <a:pt x="46" y="32"/>
                  </a:cubicBezTo>
                  <a:cubicBezTo>
                    <a:pt x="46" y="31"/>
                    <a:pt x="46" y="31"/>
                    <a:pt x="46" y="31"/>
                  </a:cubicBezTo>
                  <a:cubicBezTo>
                    <a:pt x="47" y="31"/>
                    <a:pt x="47" y="31"/>
                    <a:pt x="47" y="31"/>
                  </a:cubicBezTo>
                  <a:cubicBezTo>
                    <a:pt x="46" y="29"/>
                    <a:pt x="46" y="29"/>
                    <a:pt x="46" y="29"/>
                  </a:cubicBezTo>
                  <a:cubicBezTo>
                    <a:pt x="46" y="29"/>
                    <a:pt x="46" y="29"/>
                    <a:pt x="46" y="29"/>
                  </a:cubicBezTo>
                  <a:cubicBezTo>
                    <a:pt x="46" y="29"/>
                    <a:pt x="46" y="29"/>
                    <a:pt x="46" y="29"/>
                  </a:cubicBezTo>
                  <a:cubicBezTo>
                    <a:pt x="46" y="29"/>
                    <a:pt x="46" y="28"/>
                    <a:pt x="47" y="27"/>
                  </a:cubicBezTo>
                  <a:cubicBezTo>
                    <a:pt x="47" y="26"/>
                    <a:pt x="47" y="26"/>
                    <a:pt x="47" y="26"/>
                  </a:cubicBezTo>
                  <a:cubicBezTo>
                    <a:pt x="47" y="26"/>
                    <a:pt x="47" y="26"/>
                    <a:pt x="47" y="26"/>
                  </a:cubicBezTo>
                  <a:cubicBezTo>
                    <a:pt x="47" y="25"/>
                    <a:pt x="47" y="25"/>
                    <a:pt x="47" y="25"/>
                  </a:cubicBezTo>
                  <a:cubicBezTo>
                    <a:pt x="48" y="25"/>
                    <a:pt x="49" y="24"/>
                    <a:pt x="49" y="23"/>
                  </a:cubicBezTo>
                  <a:cubicBezTo>
                    <a:pt x="50" y="22"/>
                    <a:pt x="50" y="21"/>
                    <a:pt x="51" y="20"/>
                  </a:cubicBezTo>
                  <a:cubicBezTo>
                    <a:pt x="52" y="19"/>
                    <a:pt x="52" y="19"/>
                    <a:pt x="52" y="19"/>
                  </a:cubicBezTo>
                  <a:cubicBezTo>
                    <a:pt x="52" y="19"/>
                    <a:pt x="53" y="18"/>
                    <a:pt x="53" y="17"/>
                  </a:cubicBezTo>
                  <a:cubicBezTo>
                    <a:pt x="53" y="17"/>
                    <a:pt x="53" y="14"/>
                    <a:pt x="52" y="13"/>
                  </a:cubicBezTo>
                  <a:cubicBezTo>
                    <a:pt x="51" y="13"/>
                    <a:pt x="51" y="12"/>
                    <a:pt x="51" y="12"/>
                  </a:cubicBezTo>
                  <a:cubicBezTo>
                    <a:pt x="49" y="11"/>
                    <a:pt x="49" y="11"/>
                    <a:pt x="49" y="11"/>
                  </a:cubicBezTo>
                  <a:cubicBezTo>
                    <a:pt x="48" y="10"/>
                    <a:pt x="47" y="9"/>
                    <a:pt x="46" y="8"/>
                  </a:cubicBezTo>
                  <a:cubicBezTo>
                    <a:pt x="45" y="7"/>
                    <a:pt x="45" y="7"/>
                    <a:pt x="45" y="7"/>
                  </a:cubicBezTo>
                  <a:cubicBezTo>
                    <a:pt x="44" y="7"/>
                    <a:pt x="44" y="7"/>
                    <a:pt x="43" y="6"/>
                  </a:cubicBezTo>
                  <a:cubicBezTo>
                    <a:pt x="41" y="5"/>
                    <a:pt x="38" y="3"/>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308"/>
            <p:cNvSpPr>
              <a:spLocks noEditPoints="1"/>
            </p:cNvSpPr>
            <p:nvPr/>
          </p:nvSpPr>
          <p:spPr bwMode="auto">
            <a:xfrm>
              <a:off x="4583" y="4015"/>
              <a:ext cx="905" cy="754"/>
            </a:xfrm>
            <a:custGeom>
              <a:gdLst>
                <a:gd name="T0" fmla="*/ 295 w 383"/>
                <a:gd name="T1" fmla="*/ 164 h 319"/>
                <a:gd name="T2" fmla="*/ 304 w 383"/>
                <a:gd name="T3" fmla="*/ 179 h 319"/>
                <a:gd name="T4" fmla="*/ 298 w 383"/>
                <a:gd name="T5" fmla="*/ 189 h 319"/>
                <a:gd name="T6" fmla="*/ 280 w 383"/>
                <a:gd name="T7" fmla="*/ 199 h 319"/>
                <a:gd name="T8" fmla="*/ 268 w 383"/>
                <a:gd name="T9" fmla="*/ 212 h 319"/>
                <a:gd name="T10" fmla="*/ 249 w 383"/>
                <a:gd name="T11" fmla="*/ 193 h 319"/>
                <a:gd name="T12" fmla="*/ 245 w 383"/>
                <a:gd name="T13" fmla="*/ 184 h 319"/>
                <a:gd name="T14" fmla="*/ 260 w 383"/>
                <a:gd name="T15" fmla="*/ 167 h 319"/>
                <a:gd name="T16" fmla="*/ 283 w 383"/>
                <a:gd name="T17" fmla="*/ 156 h 319"/>
                <a:gd name="T18" fmla="*/ 297 w 383"/>
                <a:gd name="T19" fmla="*/ 0 h 319"/>
                <a:gd name="T20" fmla="*/ 280 w 383"/>
                <a:gd name="T21" fmla="*/ 10 h 319"/>
                <a:gd name="T22" fmla="*/ 273 w 383"/>
                <a:gd name="T23" fmla="*/ 15 h 319"/>
                <a:gd name="T24" fmla="*/ 246 w 383"/>
                <a:gd name="T25" fmla="*/ 44 h 319"/>
                <a:gd name="T26" fmla="*/ 227 w 383"/>
                <a:gd name="T27" fmla="*/ 61 h 319"/>
                <a:gd name="T28" fmla="*/ 214 w 383"/>
                <a:gd name="T29" fmla="*/ 83 h 319"/>
                <a:gd name="T30" fmla="*/ 198 w 383"/>
                <a:gd name="T31" fmla="*/ 90 h 319"/>
                <a:gd name="T32" fmla="*/ 168 w 383"/>
                <a:gd name="T33" fmla="*/ 81 h 319"/>
                <a:gd name="T34" fmla="*/ 150 w 383"/>
                <a:gd name="T35" fmla="*/ 81 h 319"/>
                <a:gd name="T36" fmla="*/ 149 w 383"/>
                <a:gd name="T37" fmla="*/ 87 h 319"/>
                <a:gd name="T38" fmla="*/ 147 w 383"/>
                <a:gd name="T39" fmla="*/ 91 h 319"/>
                <a:gd name="T40" fmla="*/ 130 w 383"/>
                <a:gd name="T41" fmla="*/ 109 h 319"/>
                <a:gd name="T42" fmla="*/ 118 w 383"/>
                <a:gd name="T43" fmla="*/ 117 h 319"/>
                <a:gd name="T44" fmla="*/ 111 w 383"/>
                <a:gd name="T45" fmla="*/ 116 h 319"/>
                <a:gd name="T46" fmla="*/ 102 w 383"/>
                <a:gd name="T47" fmla="*/ 115 h 319"/>
                <a:gd name="T48" fmla="*/ 93 w 383"/>
                <a:gd name="T49" fmla="*/ 112 h 319"/>
                <a:gd name="T50" fmla="*/ 93 w 383"/>
                <a:gd name="T51" fmla="*/ 108 h 319"/>
                <a:gd name="T52" fmla="*/ 97 w 383"/>
                <a:gd name="T53" fmla="*/ 98 h 319"/>
                <a:gd name="T54" fmla="*/ 94 w 383"/>
                <a:gd name="T55" fmla="*/ 80 h 319"/>
                <a:gd name="T56" fmla="*/ 84 w 383"/>
                <a:gd name="T57" fmla="*/ 145 h 319"/>
                <a:gd name="T58" fmla="*/ 75 w 383"/>
                <a:gd name="T59" fmla="*/ 158 h 319"/>
                <a:gd name="T60" fmla="*/ 60 w 383"/>
                <a:gd name="T61" fmla="*/ 169 h 319"/>
                <a:gd name="T62" fmla="*/ 26 w 383"/>
                <a:gd name="T63" fmla="*/ 166 h 319"/>
                <a:gd name="T64" fmla="*/ 17 w 383"/>
                <a:gd name="T65" fmla="*/ 159 h 319"/>
                <a:gd name="T66" fmla="*/ 13 w 383"/>
                <a:gd name="T67" fmla="*/ 150 h 319"/>
                <a:gd name="T68" fmla="*/ 9 w 383"/>
                <a:gd name="T69" fmla="*/ 148 h 319"/>
                <a:gd name="T70" fmla="*/ 4 w 383"/>
                <a:gd name="T71" fmla="*/ 155 h 319"/>
                <a:gd name="T72" fmla="*/ 13 w 383"/>
                <a:gd name="T73" fmla="*/ 190 h 319"/>
                <a:gd name="T74" fmla="*/ 37 w 383"/>
                <a:gd name="T75" fmla="*/ 266 h 319"/>
                <a:gd name="T76" fmla="*/ 30 w 383"/>
                <a:gd name="T77" fmla="*/ 269 h 319"/>
                <a:gd name="T78" fmla="*/ 44 w 383"/>
                <a:gd name="T79" fmla="*/ 291 h 319"/>
                <a:gd name="T80" fmla="*/ 50 w 383"/>
                <a:gd name="T81" fmla="*/ 300 h 319"/>
                <a:gd name="T82" fmla="*/ 59 w 383"/>
                <a:gd name="T83" fmla="*/ 308 h 319"/>
                <a:gd name="T84" fmla="*/ 86 w 383"/>
                <a:gd name="T85" fmla="*/ 317 h 319"/>
                <a:gd name="T86" fmla="*/ 121 w 383"/>
                <a:gd name="T87" fmla="*/ 308 h 319"/>
                <a:gd name="T88" fmla="*/ 160 w 383"/>
                <a:gd name="T89" fmla="*/ 301 h 319"/>
                <a:gd name="T90" fmla="*/ 195 w 383"/>
                <a:gd name="T91" fmla="*/ 303 h 319"/>
                <a:gd name="T92" fmla="*/ 214 w 383"/>
                <a:gd name="T93" fmla="*/ 297 h 319"/>
                <a:gd name="T94" fmla="*/ 225 w 383"/>
                <a:gd name="T95" fmla="*/ 291 h 319"/>
                <a:gd name="T96" fmla="*/ 275 w 383"/>
                <a:gd name="T97" fmla="*/ 265 h 319"/>
                <a:gd name="T98" fmla="*/ 363 w 383"/>
                <a:gd name="T99" fmla="*/ 164 h 319"/>
                <a:gd name="T100" fmla="*/ 383 w 383"/>
                <a:gd name="T101" fmla="*/ 116 h 319"/>
                <a:gd name="T102" fmla="*/ 366 w 383"/>
                <a:gd name="T103" fmla="*/ 116 h 319"/>
                <a:gd name="T104" fmla="*/ 342 w 383"/>
                <a:gd name="T105" fmla="*/ 123 h 319"/>
                <a:gd name="T106" fmla="*/ 333 w 383"/>
                <a:gd name="T107" fmla="*/ 111 h 319"/>
                <a:gd name="T108" fmla="*/ 336 w 383"/>
                <a:gd name="T109" fmla="*/ 96 h 319"/>
                <a:gd name="T110" fmla="*/ 358 w 383"/>
                <a:gd name="T111" fmla="*/ 87 h 319"/>
                <a:gd name="T112" fmla="*/ 360 w 383"/>
                <a:gd name="T113" fmla="*/ 80 h 319"/>
                <a:gd name="T114" fmla="*/ 359 w 383"/>
                <a:gd name="T115" fmla="*/ 53 h 319"/>
                <a:gd name="T116" fmla="*/ 350 w 383"/>
                <a:gd name="T117" fmla="*/ 24 h 319"/>
                <a:gd name="T118" fmla="*/ 344 w 383"/>
                <a:gd name="T119" fmla="*/ 5 h 319"/>
                <a:gd name="T120" fmla="*/ 310 w 383"/>
                <a:gd name="T121" fmla="*/ 0 h 3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3" h="319">
                  <a:moveTo>
                    <a:pt x="284" y="155"/>
                  </a:moveTo>
                  <a:cubicBezTo>
                    <a:pt x="286" y="155"/>
                    <a:pt x="286" y="155"/>
                    <a:pt x="286" y="155"/>
                  </a:cubicBezTo>
                  <a:cubicBezTo>
                    <a:pt x="286" y="156"/>
                    <a:pt x="286" y="156"/>
                    <a:pt x="286" y="156"/>
                  </a:cubicBezTo>
                  <a:cubicBezTo>
                    <a:pt x="288" y="159"/>
                    <a:pt x="291" y="161"/>
                    <a:pt x="293" y="162"/>
                  </a:cubicBezTo>
                  <a:cubicBezTo>
                    <a:pt x="294" y="163"/>
                    <a:pt x="294" y="163"/>
                    <a:pt x="295" y="164"/>
                  </a:cubicBezTo>
                  <a:cubicBezTo>
                    <a:pt x="296" y="165"/>
                    <a:pt x="296" y="165"/>
                    <a:pt x="296" y="165"/>
                  </a:cubicBezTo>
                  <a:cubicBezTo>
                    <a:pt x="297" y="165"/>
                    <a:pt x="299" y="166"/>
                    <a:pt x="299" y="167"/>
                  </a:cubicBezTo>
                  <a:cubicBezTo>
                    <a:pt x="301" y="168"/>
                    <a:pt x="301" y="168"/>
                    <a:pt x="301" y="168"/>
                  </a:cubicBezTo>
                  <a:cubicBezTo>
                    <a:pt x="303" y="170"/>
                    <a:pt x="305" y="173"/>
                    <a:pt x="305" y="176"/>
                  </a:cubicBezTo>
                  <a:cubicBezTo>
                    <a:pt x="305" y="177"/>
                    <a:pt x="305" y="178"/>
                    <a:pt x="304" y="179"/>
                  </a:cubicBezTo>
                  <a:cubicBezTo>
                    <a:pt x="302" y="180"/>
                    <a:pt x="301" y="182"/>
                    <a:pt x="300" y="184"/>
                  </a:cubicBezTo>
                  <a:cubicBezTo>
                    <a:pt x="300" y="185"/>
                    <a:pt x="299" y="186"/>
                    <a:pt x="298" y="187"/>
                  </a:cubicBezTo>
                  <a:cubicBezTo>
                    <a:pt x="298" y="187"/>
                    <a:pt x="298" y="187"/>
                    <a:pt x="298" y="187"/>
                  </a:cubicBezTo>
                  <a:cubicBezTo>
                    <a:pt x="298" y="188"/>
                    <a:pt x="298" y="188"/>
                    <a:pt x="298" y="188"/>
                  </a:cubicBezTo>
                  <a:cubicBezTo>
                    <a:pt x="298" y="189"/>
                    <a:pt x="298" y="189"/>
                    <a:pt x="298" y="189"/>
                  </a:cubicBezTo>
                  <a:cubicBezTo>
                    <a:pt x="299" y="192"/>
                    <a:pt x="297" y="193"/>
                    <a:pt x="296" y="193"/>
                  </a:cubicBezTo>
                  <a:cubicBezTo>
                    <a:pt x="296" y="194"/>
                    <a:pt x="295" y="194"/>
                    <a:pt x="294" y="195"/>
                  </a:cubicBezTo>
                  <a:cubicBezTo>
                    <a:pt x="292" y="196"/>
                    <a:pt x="289" y="197"/>
                    <a:pt x="287" y="197"/>
                  </a:cubicBezTo>
                  <a:cubicBezTo>
                    <a:pt x="286" y="197"/>
                    <a:pt x="285" y="198"/>
                    <a:pt x="284" y="198"/>
                  </a:cubicBezTo>
                  <a:cubicBezTo>
                    <a:pt x="280" y="199"/>
                    <a:pt x="280" y="199"/>
                    <a:pt x="280" y="199"/>
                  </a:cubicBezTo>
                  <a:cubicBezTo>
                    <a:pt x="279" y="199"/>
                    <a:pt x="279" y="200"/>
                    <a:pt x="278" y="201"/>
                  </a:cubicBezTo>
                  <a:cubicBezTo>
                    <a:pt x="278" y="201"/>
                    <a:pt x="278" y="202"/>
                    <a:pt x="277" y="203"/>
                  </a:cubicBezTo>
                  <a:cubicBezTo>
                    <a:pt x="276" y="208"/>
                    <a:pt x="274" y="211"/>
                    <a:pt x="272" y="212"/>
                  </a:cubicBezTo>
                  <a:cubicBezTo>
                    <a:pt x="272" y="212"/>
                    <a:pt x="271" y="212"/>
                    <a:pt x="270" y="212"/>
                  </a:cubicBezTo>
                  <a:cubicBezTo>
                    <a:pt x="269" y="212"/>
                    <a:pt x="269" y="212"/>
                    <a:pt x="268" y="212"/>
                  </a:cubicBezTo>
                  <a:cubicBezTo>
                    <a:pt x="265" y="211"/>
                    <a:pt x="263" y="209"/>
                    <a:pt x="261" y="207"/>
                  </a:cubicBezTo>
                  <a:cubicBezTo>
                    <a:pt x="260" y="207"/>
                    <a:pt x="260" y="207"/>
                    <a:pt x="260" y="207"/>
                  </a:cubicBezTo>
                  <a:cubicBezTo>
                    <a:pt x="255" y="204"/>
                    <a:pt x="253" y="203"/>
                    <a:pt x="253" y="202"/>
                  </a:cubicBezTo>
                  <a:cubicBezTo>
                    <a:pt x="251" y="198"/>
                    <a:pt x="251" y="198"/>
                    <a:pt x="251" y="198"/>
                  </a:cubicBezTo>
                  <a:cubicBezTo>
                    <a:pt x="250" y="196"/>
                    <a:pt x="249" y="194"/>
                    <a:pt x="249" y="193"/>
                  </a:cubicBezTo>
                  <a:cubicBezTo>
                    <a:pt x="248" y="192"/>
                    <a:pt x="248" y="191"/>
                    <a:pt x="247" y="191"/>
                  </a:cubicBezTo>
                  <a:cubicBezTo>
                    <a:pt x="246" y="189"/>
                    <a:pt x="245" y="187"/>
                    <a:pt x="245" y="186"/>
                  </a:cubicBezTo>
                  <a:cubicBezTo>
                    <a:pt x="245" y="186"/>
                    <a:pt x="245" y="186"/>
                    <a:pt x="245" y="186"/>
                  </a:cubicBezTo>
                  <a:cubicBezTo>
                    <a:pt x="245" y="185"/>
                    <a:pt x="245" y="185"/>
                    <a:pt x="245" y="185"/>
                  </a:cubicBezTo>
                  <a:cubicBezTo>
                    <a:pt x="245" y="185"/>
                    <a:pt x="244" y="184"/>
                    <a:pt x="245" y="184"/>
                  </a:cubicBezTo>
                  <a:cubicBezTo>
                    <a:pt x="245" y="181"/>
                    <a:pt x="248" y="181"/>
                    <a:pt x="250" y="180"/>
                  </a:cubicBezTo>
                  <a:cubicBezTo>
                    <a:pt x="250" y="180"/>
                    <a:pt x="250" y="180"/>
                    <a:pt x="250" y="180"/>
                  </a:cubicBezTo>
                  <a:cubicBezTo>
                    <a:pt x="251" y="180"/>
                    <a:pt x="252" y="179"/>
                    <a:pt x="253" y="179"/>
                  </a:cubicBezTo>
                  <a:cubicBezTo>
                    <a:pt x="253" y="178"/>
                    <a:pt x="254" y="176"/>
                    <a:pt x="255" y="174"/>
                  </a:cubicBezTo>
                  <a:cubicBezTo>
                    <a:pt x="257" y="172"/>
                    <a:pt x="258" y="169"/>
                    <a:pt x="260" y="167"/>
                  </a:cubicBezTo>
                  <a:cubicBezTo>
                    <a:pt x="261" y="166"/>
                    <a:pt x="261" y="166"/>
                    <a:pt x="261" y="166"/>
                  </a:cubicBezTo>
                  <a:cubicBezTo>
                    <a:pt x="262" y="164"/>
                    <a:pt x="265" y="163"/>
                    <a:pt x="268" y="162"/>
                  </a:cubicBezTo>
                  <a:cubicBezTo>
                    <a:pt x="269" y="161"/>
                    <a:pt x="269" y="161"/>
                    <a:pt x="269" y="161"/>
                  </a:cubicBezTo>
                  <a:cubicBezTo>
                    <a:pt x="271" y="160"/>
                    <a:pt x="272" y="160"/>
                    <a:pt x="274" y="159"/>
                  </a:cubicBezTo>
                  <a:cubicBezTo>
                    <a:pt x="277" y="157"/>
                    <a:pt x="280" y="156"/>
                    <a:pt x="283" y="156"/>
                  </a:cubicBezTo>
                  <a:cubicBezTo>
                    <a:pt x="283" y="155"/>
                    <a:pt x="283" y="155"/>
                    <a:pt x="284" y="155"/>
                  </a:cubicBezTo>
                  <a:cubicBezTo>
                    <a:pt x="284" y="155"/>
                    <a:pt x="284" y="155"/>
                    <a:pt x="284" y="155"/>
                  </a:cubicBezTo>
                  <a:cubicBezTo>
                    <a:pt x="284" y="155"/>
                    <a:pt x="284" y="155"/>
                    <a:pt x="284" y="155"/>
                  </a:cubicBezTo>
                  <a:moveTo>
                    <a:pt x="300" y="0"/>
                  </a:moveTo>
                  <a:cubicBezTo>
                    <a:pt x="299" y="0"/>
                    <a:pt x="298" y="0"/>
                    <a:pt x="297" y="0"/>
                  </a:cubicBezTo>
                  <a:cubicBezTo>
                    <a:pt x="296" y="0"/>
                    <a:pt x="295" y="0"/>
                    <a:pt x="295" y="0"/>
                  </a:cubicBezTo>
                  <a:cubicBezTo>
                    <a:pt x="295" y="1"/>
                    <a:pt x="295" y="1"/>
                    <a:pt x="294" y="2"/>
                  </a:cubicBezTo>
                  <a:cubicBezTo>
                    <a:pt x="293" y="4"/>
                    <a:pt x="292" y="6"/>
                    <a:pt x="289" y="7"/>
                  </a:cubicBezTo>
                  <a:cubicBezTo>
                    <a:pt x="287" y="8"/>
                    <a:pt x="287" y="8"/>
                    <a:pt x="287" y="8"/>
                  </a:cubicBezTo>
                  <a:cubicBezTo>
                    <a:pt x="286" y="8"/>
                    <a:pt x="283" y="9"/>
                    <a:pt x="280" y="10"/>
                  </a:cubicBezTo>
                  <a:cubicBezTo>
                    <a:pt x="280" y="10"/>
                    <a:pt x="280" y="10"/>
                    <a:pt x="280" y="10"/>
                  </a:cubicBezTo>
                  <a:cubicBezTo>
                    <a:pt x="279" y="10"/>
                    <a:pt x="279" y="10"/>
                    <a:pt x="279" y="9"/>
                  </a:cubicBezTo>
                  <a:cubicBezTo>
                    <a:pt x="278" y="9"/>
                    <a:pt x="278" y="9"/>
                    <a:pt x="278" y="9"/>
                  </a:cubicBezTo>
                  <a:cubicBezTo>
                    <a:pt x="277" y="10"/>
                    <a:pt x="275" y="13"/>
                    <a:pt x="274" y="14"/>
                  </a:cubicBezTo>
                  <a:cubicBezTo>
                    <a:pt x="273" y="15"/>
                    <a:pt x="273" y="15"/>
                    <a:pt x="273" y="15"/>
                  </a:cubicBezTo>
                  <a:cubicBezTo>
                    <a:pt x="270" y="19"/>
                    <a:pt x="267" y="23"/>
                    <a:pt x="262" y="26"/>
                  </a:cubicBezTo>
                  <a:cubicBezTo>
                    <a:pt x="260" y="27"/>
                    <a:pt x="259" y="28"/>
                    <a:pt x="257" y="29"/>
                  </a:cubicBezTo>
                  <a:cubicBezTo>
                    <a:pt x="254" y="32"/>
                    <a:pt x="248" y="35"/>
                    <a:pt x="247" y="38"/>
                  </a:cubicBezTo>
                  <a:cubicBezTo>
                    <a:pt x="246" y="42"/>
                    <a:pt x="246" y="42"/>
                    <a:pt x="246" y="42"/>
                  </a:cubicBezTo>
                  <a:cubicBezTo>
                    <a:pt x="246" y="42"/>
                    <a:pt x="246" y="43"/>
                    <a:pt x="246" y="44"/>
                  </a:cubicBezTo>
                  <a:cubicBezTo>
                    <a:pt x="246" y="45"/>
                    <a:pt x="245" y="46"/>
                    <a:pt x="245" y="47"/>
                  </a:cubicBezTo>
                  <a:cubicBezTo>
                    <a:pt x="245" y="49"/>
                    <a:pt x="244" y="51"/>
                    <a:pt x="242" y="52"/>
                  </a:cubicBezTo>
                  <a:cubicBezTo>
                    <a:pt x="242" y="53"/>
                    <a:pt x="241" y="53"/>
                    <a:pt x="240" y="54"/>
                  </a:cubicBezTo>
                  <a:cubicBezTo>
                    <a:pt x="238" y="56"/>
                    <a:pt x="238" y="56"/>
                    <a:pt x="238" y="56"/>
                  </a:cubicBezTo>
                  <a:cubicBezTo>
                    <a:pt x="234" y="60"/>
                    <a:pt x="232" y="61"/>
                    <a:pt x="227" y="61"/>
                  </a:cubicBezTo>
                  <a:cubicBezTo>
                    <a:pt x="225" y="62"/>
                    <a:pt x="223" y="62"/>
                    <a:pt x="222" y="62"/>
                  </a:cubicBezTo>
                  <a:cubicBezTo>
                    <a:pt x="222" y="63"/>
                    <a:pt x="222" y="63"/>
                    <a:pt x="222" y="63"/>
                  </a:cubicBezTo>
                  <a:cubicBezTo>
                    <a:pt x="222" y="64"/>
                    <a:pt x="222" y="65"/>
                    <a:pt x="221" y="66"/>
                  </a:cubicBezTo>
                  <a:cubicBezTo>
                    <a:pt x="220" y="72"/>
                    <a:pt x="218" y="77"/>
                    <a:pt x="216" y="81"/>
                  </a:cubicBezTo>
                  <a:cubicBezTo>
                    <a:pt x="215" y="82"/>
                    <a:pt x="215" y="82"/>
                    <a:pt x="214" y="83"/>
                  </a:cubicBezTo>
                  <a:cubicBezTo>
                    <a:pt x="213" y="84"/>
                    <a:pt x="213" y="84"/>
                    <a:pt x="213" y="84"/>
                  </a:cubicBezTo>
                  <a:cubicBezTo>
                    <a:pt x="212" y="85"/>
                    <a:pt x="210" y="87"/>
                    <a:pt x="208" y="88"/>
                  </a:cubicBezTo>
                  <a:cubicBezTo>
                    <a:pt x="207" y="88"/>
                    <a:pt x="206" y="89"/>
                    <a:pt x="204" y="89"/>
                  </a:cubicBezTo>
                  <a:cubicBezTo>
                    <a:pt x="203" y="89"/>
                    <a:pt x="203" y="89"/>
                    <a:pt x="203" y="89"/>
                  </a:cubicBezTo>
                  <a:cubicBezTo>
                    <a:pt x="201" y="89"/>
                    <a:pt x="200" y="89"/>
                    <a:pt x="198" y="90"/>
                  </a:cubicBezTo>
                  <a:cubicBezTo>
                    <a:pt x="197" y="90"/>
                    <a:pt x="195" y="90"/>
                    <a:pt x="194" y="90"/>
                  </a:cubicBezTo>
                  <a:cubicBezTo>
                    <a:pt x="191" y="90"/>
                    <a:pt x="189" y="90"/>
                    <a:pt x="187" y="89"/>
                  </a:cubicBezTo>
                  <a:cubicBezTo>
                    <a:pt x="174" y="84"/>
                    <a:pt x="174" y="84"/>
                    <a:pt x="174" y="84"/>
                  </a:cubicBezTo>
                  <a:cubicBezTo>
                    <a:pt x="173" y="84"/>
                    <a:pt x="171" y="83"/>
                    <a:pt x="170" y="82"/>
                  </a:cubicBezTo>
                  <a:cubicBezTo>
                    <a:pt x="168" y="81"/>
                    <a:pt x="168" y="81"/>
                    <a:pt x="168" y="81"/>
                  </a:cubicBezTo>
                  <a:cubicBezTo>
                    <a:pt x="166" y="80"/>
                    <a:pt x="163" y="79"/>
                    <a:pt x="161" y="78"/>
                  </a:cubicBezTo>
                  <a:cubicBezTo>
                    <a:pt x="158" y="77"/>
                    <a:pt x="157" y="77"/>
                    <a:pt x="155" y="77"/>
                  </a:cubicBezTo>
                  <a:cubicBezTo>
                    <a:pt x="154" y="77"/>
                    <a:pt x="154" y="77"/>
                    <a:pt x="153" y="77"/>
                  </a:cubicBezTo>
                  <a:cubicBezTo>
                    <a:pt x="153" y="77"/>
                    <a:pt x="151" y="80"/>
                    <a:pt x="150" y="80"/>
                  </a:cubicBezTo>
                  <a:cubicBezTo>
                    <a:pt x="150" y="81"/>
                    <a:pt x="150" y="81"/>
                    <a:pt x="150" y="81"/>
                  </a:cubicBezTo>
                  <a:cubicBezTo>
                    <a:pt x="150" y="81"/>
                    <a:pt x="150" y="82"/>
                    <a:pt x="150" y="82"/>
                  </a:cubicBezTo>
                  <a:cubicBezTo>
                    <a:pt x="150" y="82"/>
                    <a:pt x="150" y="82"/>
                    <a:pt x="150" y="82"/>
                  </a:cubicBezTo>
                  <a:cubicBezTo>
                    <a:pt x="150" y="83"/>
                    <a:pt x="150" y="83"/>
                    <a:pt x="150" y="83"/>
                  </a:cubicBezTo>
                  <a:cubicBezTo>
                    <a:pt x="150" y="84"/>
                    <a:pt x="150" y="85"/>
                    <a:pt x="149" y="85"/>
                  </a:cubicBezTo>
                  <a:cubicBezTo>
                    <a:pt x="149" y="86"/>
                    <a:pt x="149" y="86"/>
                    <a:pt x="149" y="87"/>
                  </a:cubicBezTo>
                  <a:cubicBezTo>
                    <a:pt x="148" y="87"/>
                    <a:pt x="148" y="87"/>
                    <a:pt x="148" y="87"/>
                  </a:cubicBezTo>
                  <a:cubicBezTo>
                    <a:pt x="149" y="88"/>
                    <a:pt x="149" y="88"/>
                    <a:pt x="149" y="88"/>
                  </a:cubicBezTo>
                  <a:cubicBezTo>
                    <a:pt x="149" y="89"/>
                    <a:pt x="149" y="89"/>
                    <a:pt x="149" y="89"/>
                  </a:cubicBezTo>
                  <a:cubicBezTo>
                    <a:pt x="147" y="90"/>
                    <a:pt x="147" y="90"/>
                    <a:pt x="147" y="90"/>
                  </a:cubicBezTo>
                  <a:cubicBezTo>
                    <a:pt x="147" y="91"/>
                    <a:pt x="147" y="91"/>
                    <a:pt x="147" y="91"/>
                  </a:cubicBezTo>
                  <a:cubicBezTo>
                    <a:pt x="147" y="92"/>
                    <a:pt x="147" y="94"/>
                    <a:pt x="146" y="95"/>
                  </a:cubicBezTo>
                  <a:cubicBezTo>
                    <a:pt x="145" y="96"/>
                    <a:pt x="145" y="96"/>
                    <a:pt x="144" y="97"/>
                  </a:cubicBezTo>
                  <a:cubicBezTo>
                    <a:pt x="142" y="99"/>
                    <a:pt x="142" y="99"/>
                    <a:pt x="142" y="99"/>
                  </a:cubicBezTo>
                  <a:cubicBezTo>
                    <a:pt x="131" y="109"/>
                    <a:pt x="131" y="109"/>
                    <a:pt x="131" y="109"/>
                  </a:cubicBezTo>
                  <a:cubicBezTo>
                    <a:pt x="130" y="109"/>
                    <a:pt x="130" y="109"/>
                    <a:pt x="130" y="109"/>
                  </a:cubicBezTo>
                  <a:cubicBezTo>
                    <a:pt x="130" y="110"/>
                    <a:pt x="130" y="110"/>
                    <a:pt x="130" y="110"/>
                  </a:cubicBezTo>
                  <a:cubicBezTo>
                    <a:pt x="127" y="112"/>
                    <a:pt x="127" y="112"/>
                    <a:pt x="127" y="112"/>
                  </a:cubicBezTo>
                  <a:cubicBezTo>
                    <a:pt x="125" y="114"/>
                    <a:pt x="123" y="116"/>
                    <a:pt x="119" y="117"/>
                  </a:cubicBezTo>
                  <a:cubicBezTo>
                    <a:pt x="119" y="117"/>
                    <a:pt x="119" y="117"/>
                    <a:pt x="119" y="117"/>
                  </a:cubicBezTo>
                  <a:cubicBezTo>
                    <a:pt x="118" y="117"/>
                    <a:pt x="118" y="117"/>
                    <a:pt x="118" y="117"/>
                  </a:cubicBezTo>
                  <a:cubicBezTo>
                    <a:pt x="117" y="117"/>
                    <a:pt x="116" y="117"/>
                    <a:pt x="116" y="116"/>
                  </a:cubicBezTo>
                  <a:cubicBezTo>
                    <a:pt x="115" y="116"/>
                    <a:pt x="115" y="116"/>
                    <a:pt x="115" y="116"/>
                  </a:cubicBezTo>
                  <a:cubicBezTo>
                    <a:pt x="114" y="116"/>
                    <a:pt x="114" y="116"/>
                    <a:pt x="113" y="116"/>
                  </a:cubicBezTo>
                  <a:cubicBezTo>
                    <a:pt x="113" y="116"/>
                    <a:pt x="113" y="116"/>
                    <a:pt x="113" y="116"/>
                  </a:cubicBezTo>
                  <a:cubicBezTo>
                    <a:pt x="112" y="116"/>
                    <a:pt x="112" y="116"/>
                    <a:pt x="111" y="116"/>
                  </a:cubicBezTo>
                  <a:cubicBezTo>
                    <a:pt x="111" y="116"/>
                    <a:pt x="111" y="116"/>
                    <a:pt x="110" y="116"/>
                  </a:cubicBezTo>
                  <a:cubicBezTo>
                    <a:pt x="110" y="116"/>
                    <a:pt x="109" y="116"/>
                    <a:pt x="108" y="116"/>
                  </a:cubicBezTo>
                  <a:cubicBezTo>
                    <a:pt x="107" y="116"/>
                    <a:pt x="106" y="116"/>
                    <a:pt x="105" y="116"/>
                  </a:cubicBezTo>
                  <a:cubicBezTo>
                    <a:pt x="104" y="116"/>
                    <a:pt x="103" y="115"/>
                    <a:pt x="103" y="115"/>
                  </a:cubicBezTo>
                  <a:cubicBezTo>
                    <a:pt x="103" y="115"/>
                    <a:pt x="102" y="115"/>
                    <a:pt x="102" y="115"/>
                  </a:cubicBezTo>
                  <a:cubicBezTo>
                    <a:pt x="102" y="115"/>
                    <a:pt x="101" y="116"/>
                    <a:pt x="101" y="116"/>
                  </a:cubicBezTo>
                  <a:cubicBezTo>
                    <a:pt x="100" y="116"/>
                    <a:pt x="99" y="117"/>
                    <a:pt x="99" y="117"/>
                  </a:cubicBezTo>
                  <a:cubicBezTo>
                    <a:pt x="96" y="119"/>
                    <a:pt x="96" y="119"/>
                    <a:pt x="96" y="119"/>
                  </a:cubicBezTo>
                  <a:cubicBezTo>
                    <a:pt x="94" y="116"/>
                    <a:pt x="94" y="116"/>
                    <a:pt x="94" y="116"/>
                  </a:cubicBezTo>
                  <a:cubicBezTo>
                    <a:pt x="94" y="115"/>
                    <a:pt x="94" y="114"/>
                    <a:pt x="93" y="112"/>
                  </a:cubicBezTo>
                  <a:cubicBezTo>
                    <a:pt x="93" y="112"/>
                    <a:pt x="93" y="111"/>
                    <a:pt x="93" y="111"/>
                  </a:cubicBezTo>
                  <a:cubicBezTo>
                    <a:pt x="88" y="112"/>
                    <a:pt x="88" y="112"/>
                    <a:pt x="88" y="112"/>
                  </a:cubicBezTo>
                  <a:cubicBezTo>
                    <a:pt x="93" y="110"/>
                    <a:pt x="93" y="110"/>
                    <a:pt x="93" y="110"/>
                  </a:cubicBezTo>
                  <a:cubicBezTo>
                    <a:pt x="93" y="109"/>
                    <a:pt x="93" y="109"/>
                    <a:pt x="93" y="109"/>
                  </a:cubicBezTo>
                  <a:cubicBezTo>
                    <a:pt x="93" y="109"/>
                    <a:pt x="93" y="108"/>
                    <a:pt x="93" y="108"/>
                  </a:cubicBezTo>
                  <a:cubicBezTo>
                    <a:pt x="93" y="106"/>
                    <a:pt x="93" y="106"/>
                    <a:pt x="93" y="106"/>
                  </a:cubicBezTo>
                  <a:cubicBezTo>
                    <a:pt x="93" y="104"/>
                    <a:pt x="94" y="101"/>
                    <a:pt x="95" y="99"/>
                  </a:cubicBezTo>
                  <a:cubicBezTo>
                    <a:pt x="96" y="99"/>
                    <a:pt x="96" y="99"/>
                    <a:pt x="96" y="99"/>
                  </a:cubicBezTo>
                  <a:cubicBezTo>
                    <a:pt x="96" y="98"/>
                    <a:pt x="96" y="98"/>
                    <a:pt x="96" y="98"/>
                  </a:cubicBezTo>
                  <a:cubicBezTo>
                    <a:pt x="97" y="98"/>
                    <a:pt x="97" y="98"/>
                    <a:pt x="97" y="98"/>
                  </a:cubicBezTo>
                  <a:cubicBezTo>
                    <a:pt x="98" y="96"/>
                    <a:pt x="98" y="96"/>
                    <a:pt x="98" y="95"/>
                  </a:cubicBezTo>
                  <a:cubicBezTo>
                    <a:pt x="98" y="95"/>
                    <a:pt x="98" y="95"/>
                    <a:pt x="98" y="94"/>
                  </a:cubicBezTo>
                  <a:cubicBezTo>
                    <a:pt x="98" y="91"/>
                    <a:pt x="96" y="86"/>
                    <a:pt x="95" y="83"/>
                  </a:cubicBezTo>
                  <a:cubicBezTo>
                    <a:pt x="94" y="81"/>
                    <a:pt x="94" y="81"/>
                    <a:pt x="94" y="81"/>
                  </a:cubicBezTo>
                  <a:cubicBezTo>
                    <a:pt x="94" y="81"/>
                    <a:pt x="94" y="80"/>
                    <a:pt x="94" y="80"/>
                  </a:cubicBezTo>
                  <a:cubicBezTo>
                    <a:pt x="93" y="78"/>
                    <a:pt x="93" y="78"/>
                    <a:pt x="93" y="78"/>
                  </a:cubicBezTo>
                  <a:cubicBezTo>
                    <a:pt x="92" y="75"/>
                    <a:pt x="89" y="71"/>
                    <a:pt x="88" y="70"/>
                  </a:cubicBezTo>
                  <a:cubicBezTo>
                    <a:pt x="86" y="69"/>
                    <a:pt x="85" y="68"/>
                    <a:pt x="83" y="67"/>
                  </a:cubicBezTo>
                  <a:cubicBezTo>
                    <a:pt x="84" y="69"/>
                    <a:pt x="84" y="70"/>
                    <a:pt x="84" y="72"/>
                  </a:cubicBezTo>
                  <a:cubicBezTo>
                    <a:pt x="84" y="145"/>
                    <a:pt x="84" y="145"/>
                    <a:pt x="84" y="145"/>
                  </a:cubicBezTo>
                  <a:cubicBezTo>
                    <a:pt x="84" y="145"/>
                    <a:pt x="84" y="146"/>
                    <a:pt x="84" y="146"/>
                  </a:cubicBezTo>
                  <a:cubicBezTo>
                    <a:pt x="84" y="147"/>
                    <a:pt x="84" y="147"/>
                    <a:pt x="84" y="147"/>
                  </a:cubicBezTo>
                  <a:cubicBezTo>
                    <a:pt x="84" y="151"/>
                    <a:pt x="84" y="153"/>
                    <a:pt x="83" y="155"/>
                  </a:cubicBezTo>
                  <a:cubicBezTo>
                    <a:pt x="82" y="157"/>
                    <a:pt x="79" y="158"/>
                    <a:pt x="76" y="158"/>
                  </a:cubicBezTo>
                  <a:cubicBezTo>
                    <a:pt x="75" y="158"/>
                    <a:pt x="75" y="158"/>
                    <a:pt x="75" y="158"/>
                  </a:cubicBezTo>
                  <a:cubicBezTo>
                    <a:pt x="74" y="158"/>
                    <a:pt x="73" y="158"/>
                    <a:pt x="73" y="159"/>
                  </a:cubicBezTo>
                  <a:cubicBezTo>
                    <a:pt x="71" y="160"/>
                    <a:pt x="69" y="161"/>
                    <a:pt x="67" y="162"/>
                  </a:cubicBezTo>
                  <a:cubicBezTo>
                    <a:pt x="66" y="163"/>
                    <a:pt x="66" y="164"/>
                    <a:pt x="65" y="165"/>
                  </a:cubicBezTo>
                  <a:cubicBezTo>
                    <a:pt x="65" y="166"/>
                    <a:pt x="65" y="167"/>
                    <a:pt x="64" y="168"/>
                  </a:cubicBezTo>
                  <a:cubicBezTo>
                    <a:pt x="63" y="169"/>
                    <a:pt x="62" y="169"/>
                    <a:pt x="60" y="169"/>
                  </a:cubicBezTo>
                  <a:cubicBezTo>
                    <a:pt x="59" y="169"/>
                    <a:pt x="57" y="170"/>
                    <a:pt x="54" y="170"/>
                  </a:cubicBezTo>
                  <a:cubicBezTo>
                    <a:pt x="51" y="170"/>
                    <a:pt x="47" y="169"/>
                    <a:pt x="44" y="169"/>
                  </a:cubicBezTo>
                  <a:cubicBezTo>
                    <a:pt x="43" y="169"/>
                    <a:pt x="41" y="169"/>
                    <a:pt x="41" y="169"/>
                  </a:cubicBezTo>
                  <a:cubicBezTo>
                    <a:pt x="36" y="169"/>
                    <a:pt x="31" y="167"/>
                    <a:pt x="27" y="166"/>
                  </a:cubicBezTo>
                  <a:cubicBezTo>
                    <a:pt x="26" y="166"/>
                    <a:pt x="26" y="166"/>
                    <a:pt x="26" y="166"/>
                  </a:cubicBezTo>
                  <a:cubicBezTo>
                    <a:pt x="25" y="165"/>
                    <a:pt x="24" y="165"/>
                    <a:pt x="24" y="165"/>
                  </a:cubicBezTo>
                  <a:cubicBezTo>
                    <a:pt x="23" y="165"/>
                    <a:pt x="23" y="165"/>
                    <a:pt x="23" y="165"/>
                  </a:cubicBezTo>
                  <a:cubicBezTo>
                    <a:pt x="21" y="164"/>
                    <a:pt x="18" y="164"/>
                    <a:pt x="17" y="162"/>
                  </a:cubicBezTo>
                  <a:cubicBezTo>
                    <a:pt x="16" y="161"/>
                    <a:pt x="17" y="160"/>
                    <a:pt x="17" y="159"/>
                  </a:cubicBezTo>
                  <a:cubicBezTo>
                    <a:pt x="17" y="159"/>
                    <a:pt x="17" y="159"/>
                    <a:pt x="17" y="159"/>
                  </a:cubicBezTo>
                  <a:cubicBezTo>
                    <a:pt x="17" y="158"/>
                    <a:pt x="16" y="158"/>
                    <a:pt x="16" y="157"/>
                  </a:cubicBezTo>
                  <a:cubicBezTo>
                    <a:pt x="15" y="156"/>
                    <a:pt x="15" y="156"/>
                    <a:pt x="15" y="155"/>
                  </a:cubicBezTo>
                  <a:cubicBezTo>
                    <a:pt x="15" y="154"/>
                    <a:pt x="15" y="153"/>
                    <a:pt x="16" y="153"/>
                  </a:cubicBezTo>
                  <a:cubicBezTo>
                    <a:pt x="15" y="152"/>
                    <a:pt x="14" y="152"/>
                    <a:pt x="13" y="151"/>
                  </a:cubicBezTo>
                  <a:cubicBezTo>
                    <a:pt x="13" y="150"/>
                    <a:pt x="13" y="150"/>
                    <a:pt x="13" y="150"/>
                  </a:cubicBezTo>
                  <a:cubicBezTo>
                    <a:pt x="12" y="150"/>
                    <a:pt x="12" y="150"/>
                    <a:pt x="12" y="150"/>
                  </a:cubicBezTo>
                  <a:cubicBezTo>
                    <a:pt x="12" y="149"/>
                    <a:pt x="12" y="148"/>
                    <a:pt x="12" y="148"/>
                  </a:cubicBezTo>
                  <a:cubicBezTo>
                    <a:pt x="10" y="148"/>
                    <a:pt x="10" y="148"/>
                    <a:pt x="10" y="148"/>
                  </a:cubicBezTo>
                  <a:cubicBezTo>
                    <a:pt x="9" y="148"/>
                    <a:pt x="9" y="148"/>
                    <a:pt x="9" y="148"/>
                  </a:cubicBezTo>
                  <a:cubicBezTo>
                    <a:pt x="9" y="148"/>
                    <a:pt x="9" y="148"/>
                    <a:pt x="9" y="148"/>
                  </a:cubicBezTo>
                  <a:cubicBezTo>
                    <a:pt x="9" y="148"/>
                    <a:pt x="8" y="149"/>
                    <a:pt x="8" y="149"/>
                  </a:cubicBezTo>
                  <a:cubicBezTo>
                    <a:pt x="8" y="150"/>
                    <a:pt x="8" y="150"/>
                    <a:pt x="8" y="150"/>
                  </a:cubicBezTo>
                  <a:cubicBezTo>
                    <a:pt x="7" y="151"/>
                    <a:pt x="6" y="152"/>
                    <a:pt x="6" y="153"/>
                  </a:cubicBezTo>
                  <a:cubicBezTo>
                    <a:pt x="5" y="154"/>
                    <a:pt x="5" y="154"/>
                    <a:pt x="4" y="155"/>
                  </a:cubicBezTo>
                  <a:cubicBezTo>
                    <a:pt x="4" y="155"/>
                    <a:pt x="4" y="155"/>
                    <a:pt x="4" y="155"/>
                  </a:cubicBezTo>
                  <a:cubicBezTo>
                    <a:pt x="3" y="156"/>
                    <a:pt x="2" y="158"/>
                    <a:pt x="1" y="159"/>
                  </a:cubicBezTo>
                  <a:cubicBezTo>
                    <a:pt x="0" y="160"/>
                    <a:pt x="0" y="160"/>
                    <a:pt x="0" y="160"/>
                  </a:cubicBezTo>
                  <a:cubicBezTo>
                    <a:pt x="0" y="160"/>
                    <a:pt x="0" y="160"/>
                    <a:pt x="0" y="160"/>
                  </a:cubicBezTo>
                  <a:cubicBezTo>
                    <a:pt x="0" y="162"/>
                    <a:pt x="1" y="163"/>
                    <a:pt x="2" y="165"/>
                  </a:cubicBezTo>
                  <a:cubicBezTo>
                    <a:pt x="5" y="173"/>
                    <a:pt x="9" y="182"/>
                    <a:pt x="13" y="190"/>
                  </a:cubicBezTo>
                  <a:cubicBezTo>
                    <a:pt x="18" y="202"/>
                    <a:pt x="23" y="215"/>
                    <a:pt x="30" y="226"/>
                  </a:cubicBezTo>
                  <a:cubicBezTo>
                    <a:pt x="32" y="231"/>
                    <a:pt x="35" y="235"/>
                    <a:pt x="37" y="239"/>
                  </a:cubicBezTo>
                  <a:cubicBezTo>
                    <a:pt x="38" y="241"/>
                    <a:pt x="40" y="244"/>
                    <a:pt x="40" y="246"/>
                  </a:cubicBezTo>
                  <a:cubicBezTo>
                    <a:pt x="41" y="249"/>
                    <a:pt x="43" y="252"/>
                    <a:pt x="41" y="255"/>
                  </a:cubicBezTo>
                  <a:cubicBezTo>
                    <a:pt x="40" y="259"/>
                    <a:pt x="38" y="262"/>
                    <a:pt x="37" y="266"/>
                  </a:cubicBezTo>
                  <a:cubicBezTo>
                    <a:pt x="37" y="266"/>
                    <a:pt x="37" y="266"/>
                    <a:pt x="37" y="266"/>
                  </a:cubicBezTo>
                  <a:cubicBezTo>
                    <a:pt x="37" y="266"/>
                    <a:pt x="36" y="266"/>
                    <a:pt x="36" y="266"/>
                  </a:cubicBezTo>
                  <a:cubicBezTo>
                    <a:pt x="35" y="266"/>
                    <a:pt x="34" y="266"/>
                    <a:pt x="34" y="266"/>
                  </a:cubicBezTo>
                  <a:cubicBezTo>
                    <a:pt x="32" y="266"/>
                    <a:pt x="31" y="266"/>
                    <a:pt x="30" y="267"/>
                  </a:cubicBezTo>
                  <a:cubicBezTo>
                    <a:pt x="30" y="269"/>
                    <a:pt x="30" y="269"/>
                    <a:pt x="30" y="269"/>
                  </a:cubicBezTo>
                  <a:cubicBezTo>
                    <a:pt x="31" y="271"/>
                    <a:pt x="31" y="273"/>
                    <a:pt x="32" y="273"/>
                  </a:cubicBezTo>
                  <a:cubicBezTo>
                    <a:pt x="32" y="273"/>
                    <a:pt x="32" y="273"/>
                    <a:pt x="32" y="273"/>
                  </a:cubicBezTo>
                  <a:cubicBezTo>
                    <a:pt x="33" y="273"/>
                    <a:pt x="33" y="273"/>
                    <a:pt x="33" y="273"/>
                  </a:cubicBezTo>
                  <a:cubicBezTo>
                    <a:pt x="36" y="273"/>
                    <a:pt x="36" y="277"/>
                    <a:pt x="37" y="280"/>
                  </a:cubicBezTo>
                  <a:cubicBezTo>
                    <a:pt x="39" y="283"/>
                    <a:pt x="41" y="287"/>
                    <a:pt x="44" y="291"/>
                  </a:cubicBezTo>
                  <a:cubicBezTo>
                    <a:pt x="45" y="293"/>
                    <a:pt x="42" y="296"/>
                    <a:pt x="42" y="299"/>
                  </a:cubicBezTo>
                  <a:cubicBezTo>
                    <a:pt x="42" y="302"/>
                    <a:pt x="44" y="305"/>
                    <a:pt x="45" y="307"/>
                  </a:cubicBezTo>
                  <a:cubicBezTo>
                    <a:pt x="45" y="306"/>
                    <a:pt x="45" y="306"/>
                    <a:pt x="45" y="306"/>
                  </a:cubicBezTo>
                  <a:cubicBezTo>
                    <a:pt x="45" y="305"/>
                    <a:pt x="44" y="304"/>
                    <a:pt x="45" y="302"/>
                  </a:cubicBezTo>
                  <a:cubicBezTo>
                    <a:pt x="46" y="301"/>
                    <a:pt x="48" y="300"/>
                    <a:pt x="50" y="300"/>
                  </a:cubicBezTo>
                  <a:cubicBezTo>
                    <a:pt x="51" y="300"/>
                    <a:pt x="52" y="300"/>
                    <a:pt x="53" y="301"/>
                  </a:cubicBezTo>
                  <a:cubicBezTo>
                    <a:pt x="55" y="303"/>
                    <a:pt x="52" y="307"/>
                    <a:pt x="54" y="308"/>
                  </a:cubicBezTo>
                  <a:cubicBezTo>
                    <a:pt x="54" y="309"/>
                    <a:pt x="54" y="309"/>
                    <a:pt x="54" y="309"/>
                  </a:cubicBezTo>
                  <a:cubicBezTo>
                    <a:pt x="55" y="309"/>
                    <a:pt x="56" y="308"/>
                    <a:pt x="56" y="308"/>
                  </a:cubicBezTo>
                  <a:cubicBezTo>
                    <a:pt x="57" y="308"/>
                    <a:pt x="58" y="308"/>
                    <a:pt x="59" y="308"/>
                  </a:cubicBezTo>
                  <a:cubicBezTo>
                    <a:pt x="59" y="308"/>
                    <a:pt x="60" y="308"/>
                    <a:pt x="60" y="308"/>
                  </a:cubicBezTo>
                  <a:cubicBezTo>
                    <a:pt x="62" y="310"/>
                    <a:pt x="65" y="314"/>
                    <a:pt x="67" y="315"/>
                  </a:cubicBezTo>
                  <a:cubicBezTo>
                    <a:pt x="71" y="316"/>
                    <a:pt x="76" y="317"/>
                    <a:pt x="80" y="319"/>
                  </a:cubicBezTo>
                  <a:cubicBezTo>
                    <a:pt x="81" y="319"/>
                    <a:pt x="81" y="319"/>
                    <a:pt x="82" y="319"/>
                  </a:cubicBezTo>
                  <a:cubicBezTo>
                    <a:pt x="83" y="319"/>
                    <a:pt x="84" y="319"/>
                    <a:pt x="86" y="317"/>
                  </a:cubicBezTo>
                  <a:cubicBezTo>
                    <a:pt x="92" y="313"/>
                    <a:pt x="97" y="309"/>
                    <a:pt x="105" y="308"/>
                  </a:cubicBezTo>
                  <a:cubicBezTo>
                    <a:pt x="108" y="308"/>
                    <a:pt x="112" y="308"/>
                    <a:pt x="115" y="308"/>
                  </a:cubicBezTo>
                  <a:cubicBezTo>
                    <a:pt x="116" y="308"/>
                    <a:pt x="116" y="308"/>
                    <a:pt x="116" y="308"/>
                  </a:cubicBezTo>
                  <a:cubicBezTo>
                    <a:pt x="117" y="308"/>
                    <a:pt x="117" y="308"/>
                    <a:pt x="118" y="308"/>
                  </a:cubicBezTo>
                  <a:cubicBezTo>
                    <a:pt x="119" y="308"/>
                    <a:pt x="120" y="308"/>
                    <a:pt x="121" y="308"/>
                  </a:cubicBezTo>
                  <a:cubicBezTo>
                    <a:pt x="123" y="308"/>
                    <a:pt x="124" y="308"/>
                    <a:pt x="125" y="307"/>
                  </a:cubicBezTo>
                  <a:cubicBezTo>
                    <a:pt x="128" y="306"/>
                    <a:pt x="131" y="302"/>
                    <a:pt x="133" y="300"/>
                  </a:cubicBezTo>
                  <a:cubicBezTo>
                    <a:pt x="135" y="299"/>
                    <a:pt x="140" y="299"/>
                    <a:pt x="142" y="299"/>
                  </a:cubicBezTo>
                  <a:cubicBezTo>
                    <a:pt x="143" y="299"/>
                    <a:pt x="145" y="299"/>
                    <a:pt x="146" y="299"/>
                  </a:cubicBezTo>
                  <a:cubicBezTo>
                    <a:pt x="151" y="299"/>
                    <a:pt x="155" y="300"/>
                    <a:pt x="160" y="301"/>
                  </a:cubicBezTo>
                  <a:cubicBezTo>
                    <a:pt x="161" y="299"/>
                    <a:pt x="164" y="298"/>
                    <a:pt x="166" y="298"/>
                  </a:cubicBezTo>
                  <a:cubicBezTo>
                    <a:pt x="170" y="298"/>
                    <a:pt x="175" y="300"/>
                    <a:pt x="178" y="300"/>
                  </a:cubicBezTo>
                  <a:cubicBezTo>
                    <a:pt x="181" y="301"/>
                    <a:pt x="189" y="303"/>
                    <a:pt x="193" y="303"/>
                  </a:cubicBezTo>
                  <a:cubicBezTo>
                    <a:pt x="194" y="303"/>
                    <a:pt x="194" y="303"/>
                    <a:pt x="195" y="303"/>
                  </a:cubicBezTo>
                  <a:cubicBezTo>
                    <a:pt x="195" y="303"/>
                    <a:pt x="195" y="303"/>
                    <a:pt x="195" y="303"/>
                  </a:cubicBezTo>
                  <a:cubicBezTo>
                    <a:pt x="195" y="303"/>
                    <a:pt x="196" y="300"/>
                    <a:pt x="197" y="300"/>
                  </a:cubicBezTo>
                  <a:cubicBezTo>
                    <a:pt x="199" y="298"/>
                    <a:pt x="199" y="297"/>
                    <a:pt x="201" y="297"/>
                  </a:cubicBezTo>
                  <a:cubicBezTo>
                    <a:pt x="202" y="297"/>
                    <a:pt x="203" y="297"/>
                    <a:pt x="204" y="298"/>
                  </a:cubicBezTo>
                  <a:cubicBezTo>
                    <a:pt x="208" y="298"/>
                    <a:pt x="211" y="299"/>
                    <a:pt x="215" y="299"/>
                  </a:cubicBezTo>
                  <a:cubicBezTo>
                    <a:pt x="214" y="297"/>
                    <a:pt x="214" y="297"/>
                    <a:pt x="214" y="297"/>
                  </a:cubicBezTo>
                  <a:cubicBezTo>
                    <a:pt x="214" y="297"/>
                    <a:pt x="213" y="297"/>
                    <a:pt x="213" y="296"/>
                  </a:cubicBezTo>
                  <a:cubicBezTo>
                    <a:pt x="214" y="295"/>
                    <a:pt x="217" y="292"/>
                    <a:pt x="218" y="291"/>
                  </a:cubicBezTo>
                  <a:cubicBezTo>
                    <a:pt x="219" y="291"/>
                    <a:pt x="221" y="291"/>
                    <a:pt x="222" y="291"/>
                  </a:cubicBezTo>
                  <a:cubicBezTo>
                    <a:pt x="222" y="291"/>
                    <a:pt x="223" y="291"/>
                    <a:pt x="224" y="291"/>
                  </a:cubicBezTo>
                  <a:cubicBezTo>
                    <a:pt x="224" y="291"/>
                    <a:pt x="225" y="291"/>
                    <a:pt x="225" y="291"/>
                  </a:cubicBezTo>
                  <a:cubicBezTo>
                    <a:pt x="226" y="291"/>
                    <a:pt x="226" y="291"/>
                    <a:pt x="226" y="291"/>
                  </a:cubicBezTo>
                  <a:cubicBezTo>
                    <a:pt x="229" y="290"/>
                    <a:pt x="233" y="290"/>
                    <a:pt x="236" y="290"/>
                  </a:cubicBezTo>
                  <a:cubicBezTo>
                    <a:pt x="240" y="290"/>
                    <a:pt x="245" y="287"/>
                    <a:pt x="248" y="285"/>
                  </a:cubicBezTo>
                  <a:cubicBezTo>
                    <a:pt x="253" y="282"/>
                    <a:pt x="258" y="279"/>
                    <a:pt x="262" y="276"/>
                  </a:cubicBezTo>
                  <a:cubicBezTo>
                    <a:pt x="266" y="272"/>
                    <a:pt x="270" y="268"/>
                    <a:pt x="275" y="265"/>
                  </a:cubicBezTo>
                  <a:cubicBezTo>
                    <a:pt x="284" y="260"/>
                    <a:pt x="291" y="251"/>
                    <a:pt x="298" y="244"/>
                  </a:cubicBezTo>
                  <a:cubicBezTo>
                    <a:pt x="309" y="233"/>
                    <a:pt x="319" y="224"/>
                    <a:pt x="327" y="212"/>
                  </a:cubicBezTo>
                  <a:cubicBezTo>
                    <a:pt x="334" y="202"/>
                    <a:pt x="338" y="190"/>
                    <a:pt x="346" y="181"/>
                  </a:cubicBezTo>
                  <a:cubicBezTo>
                    <a:pt x="350" y="176"/>
                    <a:pt x="354" y="170"/>
                    <a:pt x="359" y="167"/>
                  </a:cubicBezTo>
                  <a:cubicBezTo>
                    <a:pt x="360" y="166"/>
                    <a:pt x="364" y="165"/>
                    <a:pt x="363" y="164"/>
                  </a:cubicBezTo>
                  <a:cubicBezTo>
                    <a:pt x="363" y="163"/>
                    <a:pt x="364" y="162"/>
                    <a:pt x="365" y="161"/>
                  </a:cubicBezTo>
                  <a:cubicBezTo>
                    <a:pt x="367" y="159"/>
                    <a:pt x="371" y="156"/>
                    <a:pt x="373" y="153"/>
                  </a:cubicBezTo>
                  <a:cubicBezTo>
                    <a:pt x="376" y="147"/>
                    <a:pt x="377" y="139"/>
                    <a:pt x="379" y="132"/>
                  </a:cubicBezTo>
                  <a:cubicBezTo>
                    <a:pt x="380" y="127"/>
                    <a:pt x="382" y="122"/>
                    <a:pt x="383" y="116"/>
                  </a:cubicBezTo>
                  <a:cubicBezTo>
                    <a:pt x="383" y="116"/>
                    <a:pt x="383" y="116"/>
                    <a:pt x="383" y="116"/>
                  </a:cubicBezTo>
                  <a:cubicBezTo>
                    <a:pt x="379" y="117"/>
                    <a:pt x="379" y="117"/>
                    <a:pt x="379" y="117"/>
                  </a:cubicBezTo>
                  <a:cubicBezTo>
                    <a:pt x="378" y="117"/>
                    <a:pt x="376" y="117"/>
                    <a:pt x="374" y="117"/>
                  </a:cubicBezTo>
                  <a:cubicBezTo>
                    <a:pt x="374" y="117"/>
                    <a:pt x="374" y="117"/>
                    <a:pt x="374" y="117"/>
                  </a:cubicBezTo>
                  <a:cubicBezTo>
                    <a:pt x="373" y="117"/>
                    <a:pt x="371" y="117"/>
                    <a:pt x="370" y="117"/>
                  </a:cubicBezTo>
                  <a:cubicBezTo>
                    <a:pt x="369" y="116"/>
                    <a:pt x="367" y="116"/>
                    <a:pt x="366" y="116"/>
                  </a:cubicBezTo>
                  <a:cubicBezTo>
                    <a:pt x="366" y="116"/>
                    <a:pt x="366" y="116"/>
                    <a:pt x="366" y="116"/>
                  </a:cubicBezTo>
                  <a:cubicBezTo>
                    <a:pt x="365" y="118"/>
                    <a:pt x="365" y="121"/>
                    <a:pt x="366" y="124"/>
                  </a:cubicBezTo>
                  <a:cubicBezTo>
                    <a:pt x="366" y="128"/>
                    <a:pt x="366" y="128"/>
                    <a:pt x="366" y="128"/>
                  </a:cubicBezTo>
                  <a:cubicBezTo>
                    <a:pt x="346" y="126"/>
                    <a:pt x="346" y="126"/>
                    <a:pt x="346" y="126"/>
                  </a:cubicBezTo>
                  <a:cubicBezTo>
                    <a:pt x="344" y="125"/>
                    <a:pt x="343" y="124"/>
                    <a:pt x="342" y="123"/>
                  </a:cubicBezTo>
                  <a:cubicBezTo>
                    <a:pt x="338" y="118"/>
                    <a:pt x="338" y="118"/>
                    <a:pt x="338" y="118"/>
                  </a:cubicBezTo>
                  <a:cubicBezTo>
                    <a:pt x="338" y="117"/>
                    <a:pt x="337" y="114"/>
                    <a:pt x="336" y="114"/>
                  </a:cubicBezTo>
                  <a:cubicBezTo>
                    <a:pt x="335" y="113"/>
                    <a:pt x="335" y="113"/>
                    <a:pt x="335" y="113"/>
                  </a:cubicBezTo>
                  <a:cubicBezTo>
                    <a:pt x="334" y="113"/>
                    <a:pt x="334" y="113"/>
                    <a:pt x="333" y="112"/>
                  </a:cubicBezTo>
                  <a:cubicBezTo>
                    <a:pt x="333" y="111"/>
                    <a:pt x="333" y="111"/>
                    <a:pt x="333" y="111"/>
                  </a:cubicBezTo>
                  <a:cubicBezTo>
                    <a:pt x="332" y="111"/>
                    <a:pt x="332" y="110"/>
                    <a:pt x="332" y="110"/>
                  </a:cubicBezTo>
                  <a:cubicBezTo>
                    <a:pt x="332" y="108"/>
                    <a:pt x="332" y="107"/>
                    <a:pt x="332" y="106"/>
                  </a:cubicBezTo>
                  <a:cubicBezTo>
                    <a:pt x="332" y="104"/>
                    <a:pt x="332" y="104"/>
                    <a:pt x="332" y="104"/>
                  </a:cubicBezTo>
                  <a:cubicBezTo>
                    <a:pt x="332" y="104"/>
                    <a:pt x="332" y="104"/>
                    <a:pt x="332" y="104"/>
                  </a:cubicBezTo>
                  <a:cubicBezTo>
                    <a:pt x="333" y="101"/>
                    <a:pt x="335" y="97"/>
                    <a:pt x="336" y="96"/>
                  </a:cubicBezTo>
                  <a:cubicBezTo>
                    <a:pt x="339" y="91"/>
                    <a:pt x="342" y="88"/>
                    <a:pt x="346" y="84"/>
                  </a:cubicBezTo>
                  <a:cubicBezTo>
                    <a:pt x="347" y="83"/>
                    <a:pt x="348" y="83"/>
                    <a:pt x="350" y="83"/>
                  </a:cubicBezTo>
                  <a:cubicBezTo>
                    <a:pt x="350" y="83"/>
                    <a:pt x="351" y="83"/>
                    <a:pt x="352" y="83"/>
                  </a:cubicBezTo>
                  <a:cubicBezTo>
                    <a:pt x="354" y="84"/>
                    <a:pt x="354" y="84"/>
                    <a:pt x="354" y="84"/>
                  </a:cubicBezTo>
                  <a:cubicBezTo>
                    <a:pt x="355" y="85"/>
                    <a:pt x="357" y="86"/>
                    <a:pt x="358" y="87"/>
                  </a:cubicBezTo>
                  <a:cubicBezTo>
                    <a:pt x="360" y="87"/>
                    <a:pt x="360" y="87"/>
                    <a:pt x="360" y="87"/>
                  </a:cubicBezTo>
                  <a:cubicBezTo>
                    <a:pt x="360" y="85"/>
                    <a:pt x="360" y="85"/>
                    <a:pt x="360" y="85"/>
                  </a:cubicBezTo>
                  <a:cubicBezTo>
                    <a:pt x="360" y="84"/>
                    <a:pt x="361" y="83"/>
                    <a:pt x="361" y="83"/>
                  </a:cubicBezTo>
                  <a:cubicBezTo>
                    <a:pt x="361" y="82"/>
                    <a:pt x="360" y="81"/>
                    <a:pt x="360" y="80"/>
                  </a:cubicBezTo>
                  <a:cubicBezTo>
                    <a:pt x="360" y="80"/>
                    <a:pt x="360" y="80"/>
                    <a:pt x="360" y="80"/>
                  </a:cubicBezTo>
                  <a:cubicBezTo>
                    <a:pt x="360" y="79"/>
                    <a:pt x="360" y="77"/>
                    <a:pt x="360" y="76"/>
                  </a:cubicBezTo>
                  <a:cubicBezTo>
                    <a:pt x="361" y="74"/>
                    <a:pt x="361" y="74"/>
                    <a:pt x="361" y="74"/>
                  </a:cubicBezTo>
                  <a:cubicBezTo>
                    <a:pt x="361" y="73"/>
                    <a:pt x="361" y="72"/>
                    <a:pt x="361" y="72"/>
                  </a:cubicBezTo>
                  <a:cubicBezTo>
                    <a:pt x="361" y="67"/>
                    <a:pt x="360" y="62"/>
                    <a:pt x="360" y="57"/>
                  </a:cubicBezTo>
                  <a:cubicBezTo>
                    <a:pt x="359" y="53"/>
                    <a:pt x="359" y="53"/>
                    <a:pt x="359" y="53"/>
                  </a:cubicBezTo>
                  <a:cubicBezTo>
                    <a:pt x="359" y="49"/>
                    <a:pt x="359" y="44"/>
                    <a:pt x="358" y="42"/>
                  </a:cubicBezTo>
                  <a:cubicBezTo>
                    <a:pt x="352" y="33"/>
                    <a:pt x="352" y="33"/>
                    <a:pt x="352" y="33"/>
                  </a:cubicBezTo>
                  <a:cubicBezTo>
                    <a:pt x="350" y="30"/>
                    <a:pt x="350" y="28"/>
                    <a:pt x="350" y="25"/>
                  </a:cubicBezTo>
                  <a:cubicBezTo>
                    <a:pt x="347" y="25"/>
                    <a:pt x="347" y="25"/>
                    <a:pt x="347" y="25"/>
                  </a:cubicBezTo>
                  <a:cubicBezTo>
                    <a:pt x="350" y="24"/>
                    <a:pt x="350" y="24"/>
                    <a:pt x="350" y="24"/>
                  </a:cubicBezTo>
                  <a:cubicBezTo>
                    <a:pt x="350" y="24"/>
                    <a:pt x="350" y="24"/>
                    <a:pt x="350" y="24"/>
                  </a:cubicBezTo>
                  <a:cubicBezTo>
                    <a:pt x="350" y="23"/>
                    <a:pt x="350" y="22"/>
                    <a:pt x="349" y="21"/>
                  </a:cubicBezTo>
                  <a:cubicBezTo>
                    <a:pt x="349" y="18"/>
                    <a:pt x="348" y="15"/>
                    <a:pt x="347" y="12"/>
                  </a:cubicBezTo>
                  <a:cubicBezTo>
                    <a:pt x="346" y="10"/>
                    <a:pt x="345" y="8"/>
                    <a:pt x="345" y="6"/>
                  </a:cubicBezTo>
                  <a:cubicBezTo>
                    <a:pt x="344" y="5"/>
                    <a:pt x="344" y="5"/>
                    <a:pt x="344" y="5"/>
                  </a:cubicBezTo>
                  <a:cubicBezTo>
                    <a:pt x="344" y="5"/>
                    <a:pt x="344" y="5"/>
                    <a:pt x="344" y="5"/>
                  </a:cubicBezTo>
                  <a:cubicBezTo>
                    <a:pt x="342" y="3"/>
                    <a:pt x="340" y="3"/>
                    <a:pt x="337" y="3"/>
                  </a:cubicBezTo>
                  <a:cubicBezTo>
                    <a:pt x="336" y="2"/>
                    <a:pt x="336" y="2"/>
                    <a:pt x="336" y="2"/>
                  </a:cubicBezTo>
                  <a:cubicBezTo>
                    <a:pt x="329" y="1"/>
                    <a:pt x="321" y="1"/>
                    <a:pt x="313" y="1"/>
                  </a:cubicBezTo>
                  <a:cubicBezTo>
                    <a:pt x="310" y="0"/>
                    <a:pt x="310" y="0"/>
                    <a:pt x="310" y="0"/>
                  </a:cubicBezTo>
                  <a:cubicBezTo>
                    <a:pt x="307" y="0"/>
                    <a:pt x="305" y="0"/>
                    <a:pt x="302" y="0"/>
                  </a:cubicBezTo>
                  <a:cubicBezTo>
                    <a:pt x="302" y="0"/>
                    <a:pt x="302" y="0"/>
                    <a:pt x="302" y="0"/>
                  </a:cubicBezTo>
                  <a:cubicBezTo>
                    <a:pt x="301" y="0"/>
                    <a:pt x="301" y="0"/>
                    <a:pt x="301" y="0"/>
                  </a:cubicBezTo>
                  <a:cubicBezTo>
                    <a:pt x="300" y="0"/>
                    <a:pt x="300" y="0"/>
                    <a:pt x="3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309"/>
            <p:cNvSpPr/>
            <p:nvPr/>
          </p:nvSpPr>
          <p:spPr bwMode="auto">
            <a:xfrm>
              <a:off x="5348" y="3344"/>
              <a:ext cx="586" cy="933"/>
            </a:xfrm>
            <a:custGeom>
              <a:gdLst>
                <a:gd name="T0" fmla="*/ 209 w 248"/>
                <a:gd name="T1" fmla="*/ 17 h 395"/>
                <a:gd name="T2" fmla="*/ 194 w 248"/>
                <a:gd name="T3" fmla="*/ 23 h 395"/>
                <a:gd name="T4" fmla="*/ 180 w 248"/>
                <a:gd name="T5" fmla="*/ 21 h 395"/>
                <a:gd name="T6" fmla="*/ 170 w 248"/>
                <a:gd name="T7" fmla="*/ 29 h 395"/>
                <a:gd name="T8" fmla="*/ 156 w 248"/>
                <a:gd name="T9" fmla="*/ 28 h 395"/>
                <a:gd name="T10" fmla="*/ 136 w 248"/>
                <a:gd name="T11" fmla="*/ 27 h 395"/>
                <a:gd name="T12" fmla="*/ 128 w 248"/>
                <a:gd name="T13" fmla="*/ 25 h 395"/>
                <a:gd name="T14" fmla="*/ 107 w 248"/>
                <a:gd name="T15" fmla="*/ 26 h 395"/>
                <a:gd name="T16" fmla="*/ 102 w 248"/>
                <a:gd name="T17" fmla="*/ 53 h 395"/>
                <a:gd name="T18" fmla="*/ 104 w 248"/>
                <a:gd name="T19" fmla="*/ 68 h 395"/>
                <a:gd name="T20" fmla="*/ 127 w 248"/>
                <a:gd name="T21" fmla="*/ 90 h 395"/>
                <a:gd name="T22" fmla="*/ 133 w 248"/>
                <a:gd name="T23" fmla="*/ 107 h 395"/>
                <a:gd name="T24" fmla="*/ 133 w 248"/>
                <a:gd name="T25" fmla="*/ 118 h 395"/>
                <a:gd name="T26" fmla="*/ 125 w 248"/>
                <a:gd name="T27" fmla="*/ 136 h 395"/>
                <a:gd name="T28" fmla="*/ 120 w 248"/>
                <a:gd name="T29" fmla="*/ 137 h 395"/>
                <a:gd name="T30" fmla="*/ 117 w 248"/>
                <a:gd name="T31" fmla="*/ 146 h 395"/>
                <a:gd name="T32" fmla="*/ 107 w 248"/>
                <a:gd name="T33" fmla="*/ 151 h 395"/>
                <a:gd name="T34" fmla="*/ 96 w 248"/>
                <a:gd name="T35" fmla="*/ 140 h 395"/>
                <a:gd name="T36" fmla="*/ 90 w 248"/>
                <a:gd name="T37" fmla="*/ 127 h 395"/>
                <a:gd name="T38" fmla="*/ 95 w 248"/>
                <a:gd name="T39" fmla="*/ 112 h 395"/>
                <a:gd name="T40" fmla="*/ 94 w 248"/>
                <a:gd name="T41" fmla="*/ 97 h 395"/>
                <a:gd name="T42" fmla="*/ 79 w 248"/>
                <a:gd name="T43" fmla="*/ 98 h 395"/>
                <a:gd name="T44" fmla="*/ 74 w 248"/>
                <a:gd name="T45" fmla="*/ 95 h 395"/>
                <a:gd name="T46" fmla="*/ 3 w 248"/>
                <a:gd name="T47" fmla="*/ 116 h 395"/>
                <a:gd name="T48" fmla="*/ 5 w 248"/>
                <a:gd name="T49" fmla="*/ 121 h 395"/>
                <a:gd name="T50" fmla="*/ 6 w 248"/>
                <a:gd name="T51" fmla="*/ 128 h 395"/>
                <a:gd name="T52" fmla="*/ 43 w 248"/>
                <a:gd name="T53" fmla="*/ 138 h 395"/>
                <a:gd name="T54" fmla="*/ 62 w 248"/>
                <a:gd name="T55" fmla="*/ 145 h 395"/>
                <a:gd name="T56" fmla="*/ 65 w 248"/>
                <a:gd name="T57" fmla="*/ 149 h 395"/>
                <a:gd name="T58" fmla="*/ 64 w 248"/>
                <a:gd name="T59" fmla="*/ 153 h 395"/>
                <a:gd name="T60" fmla="*/ 66 w 248"/>
                <a:gd name="T61" fmla="*/ 185 h 395"/>
                <a:gd name="T62" fmla="*/ 63 w 248"/>
                <a:gd name="T63" fmla="*/ 193 h 395"/>
                <a:gd name="T64" fmla="*/ 59 w 248"/>
                <a:gd name="T65" fmla="*/ 200 h 395"/>
                <a:gd name="T66" fmla="*/ 62 w 248"/>
                <a:gd name="T67" fmla="*/ 217 h 395"/>
                <a:gd name="T68" fmla="*/ 66 w 248"/>
                <a:gd name="T69" fmla="*/ 227 h 395"/>
                <a:gd name="T70" fmla="*/ 54 w 248"/>
                <a:gd name="T71" fmla="*/ 243 h 395"/>
                <a:gd name="T72" fmla="*/ 52 w 248"/>
                <a:gd name="T73" fmla="*/ 257 h 395"/>
                <a:gd name="T74" fmla="*/ 38 w 248"/>
                <a:gd name="T75" fmla="*/ 275 h 395"/>
                <a:gd name="T76" fmla="*/ 26 w 248"/>
                <a:gd name="T77" fmla="*/ 289 h 395"/>
                <a:gd name="T78" fmla="*/ 35 w 248"/>
                <a:gd name="T79" fmla="*/ 307 h 395"/>
                <a:gd name="T80" fmla="*/ 41 w 248"/>
                <a:gd name="T81" fmla="*/ 336 h 395"/>
                <a:gd name="T82" fmla="*/ 42 w 248"/>
                <a:gd name="T83" fmla="*/ 364 h 395"/>
                <a:gd name="T84" fmla="*/ 43 w 248"/>
                <a:gd name="T85" fmla="*/ 374 h 395"/>
                <a:gd name="T86" fmla="*/ 45 w 248"/>
                <a:gd name="T87" fmla="*/ 395 h 395"/>
                <a:gd name="T88" fmla="*/ 58 w 248"/>
                <a:gd name="T89" fmla="*/ 395 h 395"/>
                <a:gd name="T90" fmla="*/ 50 w 248"/>
                <a:gd name="T91" fmla="*/ 376 h 395"/>
                <a:gd name="T92" fmla="*/ 57 w 248"/>
                <a:gd name="T93" fmla="*/ 370 h 395"/>
                <a:gd name="T94" fmla="*/ 122 w 248"/>
                <a:gd name="T95" fmla="*/ 321 h 395"/>
                <a:gd name="T96" fmla="*/ 119 w 248"/>
                <a:gd name="T97" fmla="*/ 320 h 395"/>
                <a:gd name="T98" fmla="*/ 120 w 248"/>
                <a:gd name="T99" fmla="*/ 282 h 395"/>
                <a:gd name="T100" fmla="*/ 111 w 248"/>
                <a:gd name="T101" fmla="*/ 253 h 395"/>
                <a:gd name="T102" fmla="*/ 102 w 248"/>
                <a:gd name="T103" fmla="*/ 231 h 395"/>
                <a:gd name="T104" fmla="*/ 99 w 248"/>
                <a:gd name="T105" fmla="*/ 217 h 395"/>
                <a:gd name="T106" fmla="*/ 113 w 248"/>
                <a:gd name="T107" fmla="*/ 220 h 395"/>
                <a:gd name="T108" fmla="*/ 131 w 248"/>
                <a:gd name="T109" fmla="*/ 202 h 395"/>
                <a:gd name="T110" fmla="*/ 143 w 248"/>
                <a:gd name="T111" fmla="*/ 197 h 395"/>
                <a:gd name="T112" fmla="*/ 155 w 248"/>
                <a:gd name="T113" fmla="*/ 177 h 395"/>
                <a:gd name="T114" fmla="*/ 205 w 248"/>
                <a:gd name="T115" fmla="*/ 152 h 395"/>
                <a:gd name="T116" fmla="*/ 247 w 248"/>
                <a:gd name="T117" fmla="*/ 101 h 395"/>
                <a:gd name="T118" fmla="*/ 243 w 248"/>
                <a:gd name="T119" fmla="*/ 87 h 395"/>
                <a:gd name="T120" fmla="*/ 241 w 248"/>
                <a:gd name="T121" fmla="*/ 60 h 395"/>
                <a:gd name="T122" fmla="*/ 238 w 248"/>
                <a:gd name="T123" fmla="*/ 56 h 395"/>
                <a:gd name="T124" fmla="*/ 236 w 248"/>
                <a:gd name="T125" fmla="*/ 18 h 3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 h="395">
                  <a:moveTo>
                    <a:pt x="240" y="0"/>
                  </a:moveTo>
                  <a:cubicBezTo>
                    <a:pt x="239" y="0"/>
                    <a:pt x="239" y="0"/>
                    <a:pt x="239" y="1"/>
                  </a:cubicBezTo>
                  <a:cubicBezTo>
                    <a:pt x="233" y="5"/>
                    <a:pt x="233" y="5"/>
                    <a:pt x="233" y="5"/>
                  </a:cubicBezTo>
                  <a:cubicBezTo>
                    <a:pt x="227" y="9"/>
                    <a:pt x="220" y="14"/>
                    <a:pt x="213" y="16"/>
                  </a:cubicBezTo>
                  <a:cubicBezTo>
                    <a:pt x="212" y="17"/>
                    <a:pt x="210" y="17"/>
                    <a:pt x="209" y="17"/>
                  </a:cubicBezTo>
                  <a:cubicBezTo>
                    <a:pt x="208" y="17"/>
                    <a:pt x="207" y="17"/>
                    <a:pt x="207" y="17"/>
                  </a:cubicBezTo>
                  <a:cubicBezTo>
                    <a:pt x="206" y="17"/>
                    <a:pt x="206" y="17"/>
                    <a:pt x="206" y="17"/>
                  </a:cubicBezTo>
                  <a:cubicBezTo>
                    <a:pt x="203" y="17"/>
                    <a:pt x="201" y="18"/>
                    <a:pt x="198" y="20"/>
                  </a:cubicBezTo>
                  <a:cubicBezTo>
                    <a:pt x="195" y="22"/>
                    <a:pt x="195" y="22"/>
                    <a:pt x="195" y="22"/>
                  </a:cubicBezTo>
                  <a:cubicBezTo>
                    <a:pt x="195" y="22"/>
                    <a:pt x="194" y="22"/>
                    <a:pt x="194" y="23"/>
                  </a:cubicBezTo>
                  <a:cubicBezTo>
                    <a:pt x="193" y="23"/>
                    <a:pt x="192" y="23"/>
                    <a:pt x="192" y="23"/>
                  </a:cubicBezTo>
                  <a:cubicBezTo>
                    <a:pt x="190" y="23"/>
                    <a:pt x="187" y="22"/>
                    <a:pt x="184" y="20"/>
                  </a:cubicBezTo>
                  <a:cubicBezTo>
                    <a:pt x="184" y="20"/>
                    <a:pt x="183" y="20"/>
                    <a:pt x="183" y="20"/>
                  </a:cubicBezTo>
                  <a:cubicBezTo>
                    <a:pt x="182" y="20"/>
                    <a:pt x="181" y="20"/>
                    <a:pt x="180" y="21"/>
                  </a:cubicBezTo>
                  <a:cubicBezTo>
                    <a:pt x="180" y="21"/>
                    <a:pt x="180" y="21"/>
                    <a:pt x="180" y="21"/>
                  </a:cubicBezTo>
                  <a:cubicBezTo>
                    <a:pt x="179" y="21"/>
                    <a:pt x="179" y="22"/>
                    <a:pt x="179" y="22"/>
                  </a:cubicBezTo>
                  <a:cubicBezTo>
                    <a:pt x="179" y="23"/>
                    <a:pt x="179" y="23"/>
                    <a:pt x="178" y="23"/>
                  </a:cubicBezTo>
                  <a:cubicBezTo>
                    <a:pt x="178" y="24"/>
                    <a:pt x="178" y="25"/>
                    <a:pt x="177" y="26"/>
                  </a:cubicBezTo>
                  <a:cubicBezTo>
                    <a:pt x="176" y="26"/>
                    <a:pt x="176" y="26"/>
                    <a:pt x="176" y="26"/>
                  </a:cubicBezTo>
                  <a:cubicBezTo>
                    <a:pt x="175" y="28"/>
                    <a:pt x="172" y="29"/>
                    <a:pt x="170" y="29"/>
                  </a:cubicBezTo>
                  <a:cubicBezTo>
                    <a:pt x="170" y="30"/>
                    <a:pt x="169" y="30"/>
                    <a:pt x="167" y="30"/>
                  </a:cubicBezTo>
                  <a:cubicBezTo>
                    <a:pt x="167" y="30"/>
                    <a:pt x="167" y="30"/>
                    <a:pt x="167" y="30"/>
                  </a:cubicBezTo>
                  <a:cubicBezTo>
                    <a:pt x="165" y="30"/>
                    <a:pt x="164" y="29"/>
                    <a:pt x="162" y="29"/>
                  </a:cubicBezTo>
                  <a:cubicBezTo>
                    <a:pt x="160" y="28"/>
                    <a:pt x="159" y="27"/>
                    <a:pt x="157" y="27"/>
                  </a:cubicBezTo>
                  <a:cubicBezTo>
                    <a:pt x="157" y="27"/>
                    <a:pt x="156" y="27"/>
                    <a:pt x="156" y="28"/>
                  </a:cubicBezTo>
                  <a:cubicBezTo>
                    <a:pt x="155" y="28"/>
                    <a:pt x="154" y="28"/>
                    <a:pt x="154" y="28"/>
                  </a:cubicBezTo>
                  <a:cubicBezTo>
                    <a:pt x="153" y="29"/>
                    <a:pt x="153" y="29"/>
                    <a:pt x="153" y="29"/>
                  </a:cubicBezTo>
                  <a:cubicBezTo>
                    <a:pt x="152" y="29"/>
                    <a:pt x="151" y="30"/>
                    <a:pt x="149" y="30"/>
                  </a:cubicBezTo>
                  <a:cubicBezTo>
                    <a:pt x="148" y="30"/>
                    <a:pt x="148" y="31"/>
                    <a:pt x="147" y="31"/>
                  </a:cubicBezTo>
                  <a:cubicBezTo>
                    <a:pt x="143" y="31"/>
                    <a:pt x="138" y="28"/>
                    <a:pt x="136" y="27"/>
                  </a:cubicBezTo>
                  <a:cubicBezTo>
                    <a:pt x="134" y="26"/>
                    <a:pt x="134" y="26"/>
                    <a:pt x="134" y="26"/>
                  </a:cubicBezTo>
                  <a:cubicBezTo>
                    <a:pt x="133" y="26"/>
                    <a:pt x="133" y="26"/>
                    <a:pt x="133" y="26"/>
                  </a:cubicBezTo>
                  <a:cubicBezTo>
                    <a:pt x="132" y="25"/>
                    <a:pt x="132" y="25"/>
                    <a:pt x="131" y="25"/>
                  </a:cubicBezTo>
                  <a:cubicBezTo>
                    <a:pt x="131" y="24"/>
                    <a:pt x="130" y="24"/>
                    <a:pt x="130" y="24"/>
                  </a:cubicBezTo>
                  <a:cubicBezTo>
                    <a:pt x="130" y="24"/>
                    <a:pt x="129" y="24"/>
                    <a:pt x="128" y="25"/>
                  </a:cubicBezTo>
                  <a:cubicBezTo>
                    <a:pt x="127" y="26"/>
                    <a:pt x="127" y="26"/>
                    <a:pt x="127" y="26"/>
                  </a:cubicBezTo>
                  <a:cubicBezTo>
                    <a:pt x="127" y="26"/>
                    <a:pt x="126" y="27"/>
                    <a:pt x="125" y="27"/>
                  </a:cubicBezTo>
                  <a:cubicBezTo>
                    <a:pt x="124" y="28"/>
                    <a:pt x="123" y="28"/>
                    <a:pt x="121" y="28"/>
                  </a:cubicBezTo>
                  <a:cubicBezTo>
                    <a:pt x="117" y="28"/>
                    <a:pt x="110" y="27"/>
                    <a:pt x="107" y="26"/>
                  </a:cubicBezTo>
                  <a:cubicBezTo>
                    <a:pt x="107" y="26"/>
                    <a:pt x="107" y="26"/>
                    <a:pt x="107" y="26"/>
                  </a:cubicBezTo>
                  <a:cubicBezTo>
                    <a:pt x="106" y="27"/>
                    <a:pt x="106" y="27"/>
                    <a:pt x="106" y="27"/>
                  </a:cubicBezTo>
                  <a:cubicBezTo>
                    <a:pt x="106" y="30"/>
                    <a:pt x="106" y="33"/>
                    <a:pt x="104" y="35"/>
                  </a:cubicBezTo>
                  <a:cubicBezTo>
                    <a:pt x="104" y="36"/>
                    <a:pt x="104" y="36"/>
                    <a:pt x="104" y="36"/>
                  </a:cubicBezTo>
                  <a:cubicBezTo>
                    <a:pt x="102" y="40"/>
                    <a:pt x="100" y="42"/>
                    <a:pt x="102" y="47"/>
                  </a:cubicBezTo>
                  <a:cubicBezTo>
                    <a:pt x="102" y="49"/>
                    <a:pt x="102" y="51"/>
                    <a:pt x="102" y="53"/>
                  </a:cubicBezTo>
                  <a:cubicBezTo>
                    <a:pt x="102" y="55"/>
                    <a:pt x="102" y="57"/>
                    <a:pt x="103" y="58"/>
                  </a:cubicBezTo>
                  <a:cubicBezTo>
                    <a:pt x="103" y="60"/>
                    <a:pt x="103" y="60"/>
                    <a:pt x="103" y="60"/>
                  </a:cubicBezTo>
                  <a:cubicBezTo>
                    <a:pt x="103" y="62"/>
                    <a:pt x="104" y="64"/>
                    <a:pt x="104" y="66"/>
                  </a:cubicBezTo>
                  <a:cubicBezTo>
                    <a:pt x="104" y="67"/>
                    <a:pt x="104" y="67"/>
                    <a:pt x="104" y="68"/>
                  </a:cubicBezTo>
                  <a:cubicBezTo>
                    <a:pt x="104" y="68"/>
                    <a:pt x="104" y="68"/>
                    <a:pt x="104" y="68"/>
                  </a:cubicBezTo>
                  <a:cubicBezTo>
                    <a:pt x="106" y="66"/>
                    <a:pt x="106" y="66"/>
                    <a:pt x="106" y="66"/>
                  </a:cubicBezTo>
                  <a:cubicBezTo>
                    <a:pt x="108" y="68"/>
                    <a:pt x="108" y="68"/>
                    <a:pt x="108" y="68"/>
                  </a:cubicBezTo>
                  <a:cubicBezTo>
                    <a:pt x="110" y="69"/>
                    <a:pt x="112" y="71"/>
                    <a:pt x="113" y="72"/>
                  </a:cubicBezTo>
                  <a:cubicBezTo>
                    <a:pt x="113" y="72"/>
                    <a:pt x="113" y="72"/>
                    <a:pt x="113" y="72"/>
                  </a:cubicBezTo>
                  <a:cubicBezTo>
                    <a:pt x="127" y="90"/>
                    <a:pt x="127" y="90"/>
                    <a:pt x="127" y="90"/>
                  </a:cubicBezTo>
                  <a:cubicBezTo>
                    <a:pt x="131" y="87"/>
                    <a:pt x="131" y="87"/>
                    <a:pt x="131" y="87"/>
                  </a:cubicBezTo>
                  <a:cubicBezTo>
                    <a:pt x="128" y="91"/>
                    <a:pt x="128" y="91"/>
                    <a:pt x="128" y="91"/>
                  </a:cubicBezTo>
                  <a:cubicBezTo>
                    <a:pt x="129" y="92"/>
                    <a:pt x="129" y="92"/>
                    <a:pt x="129" y="92"/>
                  </a:cubicBezTo>
                  <a:cubicBezTo>
                    <a:pt x="131" y="95"/>
                    <a:pt x="133" y="97"/>
                    <a:pt x="133" y="102"/>
                  </a:cubicBezTo>
                  <a:cubicBezTo>
                    <a:pt x="133" y="104"/>
                    <a:pt x="133" y="106"/>
                    <a:pt x="133" y="107"/>
                  </a:cubicBezTo>
                  <a:cubicBezTo>
                    <a:pt x="133" y="109"/>
                    <a:pt x="133" y="109"/>
                    <a:pt x="133" y="109"/>
                  </a:cubicBezTo>
                  <a:cubicBezTo>
                    <a:pt x="132" y="110"/>
                    <a:pt x="132" y="110"/>
                    <a:pt x="132" y="111"/>
                  </a:cubicBezTo>
                  <a:cubicBezTo>
                    <a:pt x="132" y="112"/>
                    <a:pt x="132" y="112"/>
                    <a:pt x="132" y="112"/>
                  </a:cubicBezTo>
                  <a:cubicBezTo>
                    <a:pt x="132" y="113"/>
                    <a:pt x="132" y="113"/>
                    <a:pt x="132" y="114"/>
                  </a:cubicBezTo>
                  <a:cubicBezTo>
                    <a:pt x="133" y="115"/>
                    <a:pt x="133" y="116"/>
                    <a:pt x="133" y="118"/>
                  </a:cubicBezTo>
                  <a:cubicBezTo>
                    <a:pt x="133" y="119"/>
                    <a:pt x="133" y="119"/>
                    <a:pt x="133" y="120"/>
                  </a:cubicBezTo>
                  <a:cubicBezTo>
                    <a:pt x="132" y="129"/>
                    <a:pt x="132" y="129"/>
                    <a:pt x="132" y="129"/>
                  </a:cubicBezTo>
                  <a:cubicBezTo>
                    <a:pt x="132" y="131"/>
                    <a:pt x="130" y="133"/>
                    <a:pt x="128" y="135"/>
                  </a:cubicBezTo>
                  <a:cubicBezTo>
                    <a:pt x="127" y="135"/>
                    <a:pt x="126" y="136"/>
                    <a:pt x="125" y="136"/>
                  </a:cubicBezTo>
                  <a:cubicBezTo>
                    <a:pt x="125" y="136"/>
                    <a:pt x="125" y="136"/>
                    <a:pt x="125" y="136"/>
                  </a:cubicBezTo>
                  <a:cubicBezTo>
                    <a:pt x="125" y="136"/>
                    <a:pt x="125" y="136"/>
                    <a:pt x="125" y="136"/>
                  </a:cubicBezTo>
                  <a:cubicBezTo>
                    <a:pt x="124" y="136"/>
                    <a:pt x="124" y="136"/>
                    <a:pt x="123" y="136"/>
                  </a:cubicBezTo>
                  <a:cubicBezTo>
                    <a:pt x="121" y="137"/>
                    <a:pt x="121" y="137"/>
                    <a:pt x="121" y="137"/>
                  </a:cubicBezTo>
                  <a:cubicBezTo>
                    <a:pt x="121" y="137"/>
                    <a:pt x="120" y="137"/>
                    <a:pt x="120" y="137"/>
                  </a:cubicBezTo>
                  <a:cubicBezTo>
                    <a:pt x="120" y="137"/>
                    <a:pt x="120" y="137"/>
                    <a:pt x="120" y="137"/>
                  </a:cubicBezTo>
                  <a:cubicBezTo>
                    <a:pt x="119" y="138"/>
                    <a:pt x="119" y="138"/>
                    <a:pt x="119" y="138"/>
                  </a:cubicBezTo>
                  <a:cubicBezTo>
                    <a:pt x="118" y="141"/>
                    <a:pt x="116" y="143"/>
                    <a:pt x="116" y="144"/>
                  </a:cubicBezTo>
                  <a:cubicBezTo>
                    <a:pt x="116" y="145"/>
                    <a:pt x="116" y="145"/>
                    <a:pt x="116" y="145"/>
                  </a:cubicBezTo>
                  <a:cubicBezTo>
                    <a:pt x="116" y="145"/>
                    <a:pt x="116" y="145"/>
                    <a:pt x="116" y="145"/>
                  </a:cubicBezTo>
                  <a:cubicBezTo>
                    <a:pt x="117" y="146"/>
                    <a:pt x="117" y="146"/>
                    <a:pt x="117" y="146"/>
                  </a:cubicBezTo>
                  <a:cubicBezTo>
                    <a:pt x="120" y="161"/>
                    <a:pt x="120" y="161"/>
                    <a:pt x="120" y="161"/>
                  </a:cubicBezTo>
                  <a:cubicBezTo>
                    <a:pt x="116" y="160"/>
                    <a:pt x="116" y="160"/>
                    <a:pt x="116" y="160"/>
                  </a:cubicBezTo>
                  <a:cubicBezTo>
                    <a:pt x="111" y="160"/>
                    <a:pt x="109" y="158"/>
                    <a:pt x="108" y="154"/>
                  </a:cubicBezTo>
                  <a:cubicBezTo>
                    <a:pt x="108" y="153"/>
                    <a:pt x="108" y="153"/>
                    <a:pt x="108" y="153"/>
                  </a:cubicBezTo>
                  <a:cubicBezTo>
                    <a:pt x="108" y="152"/>
                    <a:pt x="108" y="151"/>
                    <a:pt x="107" y="151"/>
                  </a:cubicBezTo>
                  <a:cubicBezTo>
                    <a:pt x="107" y="150"/>
                    <a:pt x="107" y="150"/>
                    <a:pt x="107" y="150"/>
                  </a:cubicBezTo>
                  <a:cubicBezTo>
                    <a:pt x="107" y="150"/>
                    <a:pt x="105" y="148"/>
                    <a:pt x="104" y="148"/>
                  </a:cubicBezTo>
                  <a:cubicBezTo>
                    <a:pt x="104" y="147"/>
                    <a:pt x="103" y="147"/>
                    <a:pt x="103" y="147"/>
                  </a:cubicBezTo>
                  <a:cubicBezTo>
                    <a:pt x="101" y="144"/>
                    <a:pt x="101" y="144"/>
                    <a:pt x="101" y="144"/>
                  </a:cubicBezTo>
                  <a:cubicBezTo>
                    <a:pt x="99" y="143"/>
                    <a:pt x="97" y="141"/>
                    <a:pt x="96" y="140"/>
                  </a:cubicBezTo>
                  <a:cubicBezTo>
                    <a:pt x="95" y="139"/>
                    <a:pt x="95" y="139"/>
                    <a:pt x="95" y="139"/>
                  </a:cubicBezTo>
                  <a:cubicBezTo>
                    <a:pt x="94" y="138"/>
                    <a:pt x="94" y="138"/>
                    <a:pt x="94" y="138"/>
                  </a:cubicBezTo>
                  <a:cubicBezTo>
                    <a:pt x="94" y="138"/>
                    <a:pt x="94" y="137"/>
                    <a:pt x="94" y="137"/>
                  </a:cubicBezTo>
                  <a:cubicBezTo>
                    <a:pt x="93" y="136"/>
                    <a:pt x="93" y="136"/>
                    <a:pt x="93" y="136"/>
                  </a:cubicBezTo>
                  <a:cubicBezTo>
                    <a:pt x="92" y="134"/>
                    <a:pt x="90" y="130"/>
                    <a:pt x="90" y="127"/>
                  </a:cubicBezTo>
                  <a:cubicBezTo>
                    <a:pt x="90" y="125"/>
                    <a:pt x="91" y="123"/>
                    <a:pt x="92" y="122"/>
                  </a:cubicBezTo>
                  <a:cubicBezTo>
                    <a:pt x="93" y="121"/>
                    <a:pt x="94" y="118"/>
                    <a:pt x="95" y="117"/>
                  </a:cubicBezTo>
                  <a:cubicBezTo>
                    <a:pt x="95" y="116"/>
                    <a:pt x="95" y="116"/>
                    <a:pt x="95" y="116"/>
                  </a:cubicBezTo>
                  <a:cubicBezTo>
                    <a:pt x="95" y="115"/>
                    <a:pt x="95" y="115"/>
                    <a:pt x="95" y="114"/>
                  </a:cubicBezTo>
                  <a:cubicBezTo>
                    <a:pt x="95" y="112"/>
                    <a:pt x="95" y="112"/>
                    <a:pt x="95" y="112"/>
                  </a:cubicBezTo>
                  <a:cubicBezTo>
                    <a:pt x="96" y="112"/>
                    <a:pt x="96" y="112"/>
                    <a:pt x="96" y="112"/>
                  </a:cubicBezTo>
                  <a:cubicBezTo>
                    <a:pt x="97" y="110"/>
                    <a:pt x="98" y="108"/>
                    <a:pt x="98" y="107"/>
                  </a:cubicBezTo>
                  <a:cubicBezTo>
                    <a:pt x="98" y="107"/>
                    <a:pt x="98" y="107"/>
                    <a:pt x="98" y="107"/>
                  </a:cubicBezTo>
                  <a:cubicBezTo>
                    <a:pt x="97" y="105"/>
                    <a:pt x="97" y="105"/>
                    <a:pt x="97" y="105"/>
                  </a:cubicBezTo>
                  <a:cubicBezTo>
                    <a:pt x="97" y="102"/>
                    <a:pt x="95" y="100"/>
                    <a:pt x="94" y="97"/>
                  </a:cubicBezTo>
                  <a:cubicBezTo>
                    <a:pt x="94" y="96"/>
                    <a:pt x="94" y="96"/>
                    <a:pt x="94" y="96"/>
                  </a:cubicBezTo>
                  <a:cubicBezTo>
                    <a:pt x="94" y="96"/>
                    <a:pt x="94" y="95"/>
                    <a:pt x="93" y="95"/>
                  </a:cubicBezTo>
                  <a:cubicBezTo>
                    <a:pt x="92" y="95"/>
                    <a:pt x="90" y="96"/>
                    <a:pt x="89" y="96"/>
                  </a:cubicBezTo>
                  <a:cubicBezTo>
                    <a:pt x="88" y="96"/>
                    <a:pt x="88" y="96"/>
                    <a:pt x="88" y="96"/>
                  </a:cubicBezTo>
                  <a:cubicBezTo>
                    <a:pt x="79" y="98"/>
                    <a:pt x="79" y="98"/>
                    <a:pt x="79" y="98"/>
                  </a:cubicBezTo>
                  <a:cubicBezTo>
                    <a:pt x="78" y="98"/>
                    <a:pt x="78" y="98"/>
                    <a:pt x="78" y="98"/>
                  </a:cubicBezTo>
                  <a:cubicBezTo>
                    <a:pt x="77" y="98"/>
                    <a:pt x="77" y="98"/>
                    <a:pt x="76" y="98"/>
                  </a:cubicBezTo>
                  <a:cubicBezTo>
                    <a:pt x="75" y="97"/>
                    <a:pt x="75" y="97"/>
                    <a:pt x="75" y="97"/>
                  </a:cubicBezTo>
                  <a:cubicBezTo>
                    <a:pt x="75" y="96"/>
                    <a:pt x="74" y="96"/>
                    <a:pt x="74" y="95"/>
                  </a:cubicBezTo>
                  <a:cubicBezTo>
                    <a:pt x="74" y="95"/>
                    <a:pt x="74" y="95"/>
                    <a:pt x="74" y="95"/>
                  </a:cubicBezTo>
                  <a:cubicBezTo>
                    <a:pt x="72" y="92"/>
                    <a:pt x="70" y="89"/>
                    <a:pt x="68" y="87"/>
                  </a:cubicBezTo>
                  <a:cubicBezTo>
                    <a:pt x="67" y="86"/>
                    <a:pt x="67" y="86"/>
                    <a:pt x="67" y="86"/>
                  </a:cubicBezTo>
                  <a:cubicBezTo>
                    <a:pt x="67" y="86"/>
                    <a:pt x="67" y="86"/>
                    <a:pt x="67" y="86"/>
                  </a:cubicBezTo>
                  <a:cubicBezTo>
                    <a:pt x="0" y="108"/>
                    <a:pt x="0" y="108"/>
                    <a:pt x="0" y="108"/>
                  </a:cubicBezTo>
                  <a:cubicBezTo>
                    <a:pt x="1" y="110"/>
                    <a:pt x="2" y="114"/>
                    <a:pt x="3" y="116"/>
                  </a:cubicBezTo>
                  <a:cubicBezTo>
                    <a:pt x="3" y="117"/>
                    <a:pt x="4" y="117"/>
                    <a:pt x="4" y="118"/>
                  </a:cubicBezTo>
                  <a:cubicBezTo>
                    <a:pt x="4" y="118"/>
                    <a:pt x="4" y="118"/>
                    <a:pt x="4" y="118"/>
                  </a:cubicBezTo>
                  <a:cubicBezTo>
                    <a:pt x="4" y="119"/>
                    <a:pt x="4" y="119"/>
                    <a:pt x="4" y="119"/>
                  </a:cubicBezTo>
                  <a:cubicBezTo>
                    <a:pt x="5" y="120"/>
                    <a:pt x="5" y="120"/>
                    <a:pt x="5" y="120"/>
                  </a:cubicBezTo>
                  <a:cubicBezTo>
                    <a:pt x="5" y="121"/>
                    <a:pt x="5" y="121"/>
                    <a:pt x="5" y="121"/>
                  </a:cubicBezTo>
                  <a:cubicBezTo>
                    <a:pt x="5" y="122"/>
                    <a:pt x="5" y="122"/>
                    <a:pt x="5" y="122"/>
                  </a:cubicBezTo>
                  <a:cubicBezTo>
                    <a:pt x="5" y="123"/>
                    <a:pt x="5" y="123"/>
                    <a:pt x="5" y="124"/>
                  </a:cubicBezTo>
                  <a:cubicBezTo>
                    <a:pt x="5" y="126"/>
                    <a:pt x="5" y="126"/>
                    <a:pt x="5" y="127"/>
                  </a:cubicBezTo>
                  <a:cubicBezTo>
                    <a:pt x="5" y="127"/>
                    <a:pt x="5" y="127"/>
                    <a:pt x="5" y="127"/>
                  </a:cubicBezTo>
                  <a:cubicBezTo>
                    <a:pt x="6" y="128"/>
                    <a:pt x="6" y="128"/>
                    <a:pt x="6" y="128"/>
                  </a:cubicBezTo>
                  <a:cubicBezTo>
                    <a:pt x="6" y="128"/>
                    <a:pt x="8" y="128"/>
                    <a:pt x="11" y="128"/>
                  </a:cubicBezTo>
                  <a:cubicBezTo>
                    <a:pt x="12" y="128"/>
                    <a:pt x="13" y="128"/>
                    <a:pt x="13" y="128"/>
                  </a:cubicBezTo>
                  <a:cubicBezTo>
                    <a:pt x="14" y="128"/>
                    <a:pt x="15" y="128"/>
                    <a:pt x="15" y="128"/>
                  </a:cubicBezTo>
                  <a:cubicBezTo>
                    <a:pt x="17" y="128"/>
                    <a:pt x="18" y="129"/>
                    <a:pt x="20" y="129"/>
                  </a:cubicBezTo>
                  <a:cubicBezTo>
                    <a:pt x="43" y="138"/>
                    <a:pt x="43" y="138"/>
                    <a:pt x="43" y="138"/>
                  </a:cubicBezTo>
                  <a:cubicBezTo>
                    <a:pt x="44" y="139"/>
                    <a:pt x="46" y="140"/>
                    <a:pt x="47" y="141"/>
                  </a:cubicBezTo>
                  <a:cubicBezTo>
                    <a:pt x="52" y="143"/>
                    <a:pt x="56" y="144"/>
                    <a:pt x="60" y="144"/>
                  </a:cubicBezTo>
                  <a:cubicBezTo>
                    <a:pt x="60" y="144"/>
                    <a:pt x="60" y="144"/>
                    <a:pt x="60" y="144"/>
                  </a:cubicBezTo>
                  <a:cubicBezTo>
                    <a:pt x="61" y="145"/>
                    <a:pt x="61" y="145"/>
                    <a:pt x="61" y="145"/>
                  </a:cubicBezTo>
                  <a:cubicBezTo>
                    <a:pt x="61" y="145"/>
                    <a:pt x="62" y="145"/>
                    <a:pt x="62" y="145"/>
                  </a:cubicBezTo>
                  <a:cubicBezTo>
                    <a:pt x="62" y="145"/>
                    <a:pt x="63" y="145"/>
                    <a:pt x="63" y="145"/>
                  </a:cubicBezTo>
                  <a:cubicBezTo>
                    <a:pt x="64" y="146"/>
                    <a:pt x="64" y="146"/>
                    <a:pt x="64" y="146"/>
                  </a:cubicBezTo>
                  <a:cubicBezTo>
                    <a:pt x="65" y="146"/>
                    <a:pt x="65" y="147"/>
                    <a:pt x="65" y="148"/>
                  </a:cubicBezTo>
                  <a:cubicBezTo>
                    <a:pt x="65" y="148"/>
                    <a:pt x="65" y="148"/>
                    <a:pt x="65" y="148"/>
                  </a:cubicBezTo>
                  <a:cubicBezTo>
                    <a:pt x="65" y="149"/>
                    <a:pt x="65" y="149"/>
                    <a:pt x="65" y="149"/>
                  </a:cubicBezTo>
                  <a:cubicBezTo>
                    <a:pt x="65" y="149"/>
                    <a:pt x="65" y="149"/>
                    <a:pt x="65" y="149"/>
                  </a:cubicBezTo>
                  <a:cubicBezTo>
                    <a:pt x="64" y="150"/>
                    <a:pt x="64" y="150"/>
                    <a:pt x="64" y="150"/>
                  </a:cubicBezTo>
                  <a:cubicBezTo>
                    <a:pt x="64" y="151"/>
                    <a:pt x="64" y="151"/>
                    <a:pt x="64" y="151"/>
                  </a:cubicBezTo>
                  <a:cubicBezTo>
                    <a:pt x="64" y="152"/>
                    <a:pt x="64" y="152"/>
                    <a:pt x="64" y="152"/>
                  </a:cubicBezTo>
                  <a:cubicBezTo>
                    <a:pt x="64" y="153"/>
                    <a:pt x="64" y="153"/>
                    <a:pt x="64" y="153"/>
                  </a:cubicBezTo>
                  <a:cubicBezTo>
                    <a:pt x="64" y="153"/>
                    <a:pt x="64" y="154"/>
                    <a:pt x="65" y="155"/>
                  </a:cubicBezTo>
                  <a:cubicBezTo>
                    <a:pt x="65" y="156"/>
                    <a:pt x="65" y="157"/>
                    <a:pt x="65" y="158"/>
                  </a:cubicBezTo>
                  <a:cubicBezTo>
                    <a:pt x="66" y="162"/>
                    <a:pt x="66" y="165"/>
                    <a:pt x="66" y="169"/>
                  </a:cubicBezTo>
                  <a:cubicBezTo>
                    <a:pt x="66" y="171"/>
                    <a:pt x="66" y="172"/>
                    <a:pt x="66" y="174"/>
                  </a:cubicBezTo>
                  <a:cubicBezTo>
                    <a:pt x="66" y="178"/>
                    <a:pt x="66" y="182"/>
                    <a:pt x="66" y="185"/>
                  </a:cubicBezTo>
                  <a:cubicBezTo>
                    <a:pt x="67" y="186"/>
                    <a:pt x="67" y="186"/>
                    <a:pt x="67" y="186"/>
                  </a:cubicBezTo>
                  <a:cubicBezTo>
                    <a:pt x="66" y="187"/>
                    <a:pt x="66" y="187"/>
                    <a:pt x="66" y="187"/>
                  </a:cubicBezTo>
                  <a:cubicBezTo>
                    <a:pt x="66" y="189"/>
                    <a:pt x="65" y="190"/>
                    <a:pt x="64" y="191"/>
                  </a:cubicBezTo>
                  <a:cubicBezTo>
                    <a:pt x="63" y="192"/>
                    <a:pt x="63" y="192"/>
                    <a:pt x="63" y="192"/>
                  </a:cubicBezTo>
                  <a:cubicBezTo>
                    <a:pt x="63" y="193"/>
                    <a:pt x="63" y="193"/>
                    <a:pt x="63" y="193"/>
                  </a:cubicBezTo>
                  <a:cubicBezTo>
                    <a:pt x="63" y="193"/>
                    <a:pt x="63" y="193"/>
                    <a:pt x="62" y="194"/>
                  </a:cubicBezTo>
                  <a:cubicBezTo>
                    <a:pt x="61" y="194"/>
                    <a:pt x="61" y="194"/>
                    <a:pt x="61" y="194"/>
                  </a:cubicBezTo>
                  <a:cubicBezTo>
                    <a:pt x="62" y="194"/>
                    <a:pt x="62" y="194"/>
                    <a:pt x="62" y="194"/>
                  </a:cubicBezTo>
                  <a:cubicBezTo>
                    <a:pt x="62" y="197"/>
                    <a:pt x="61" y="198"/>
                    <a:pt x="60" y="200"/>
                  </a:cubicBezTo>
                  <a:cubicBezTo>
                    <a:pt x="59" y="200"/>
                    <a:pt x="59" y="200"/>
                    <a:pt x="59" y="200"/>
                  </a:cubicBezTo>
                  <a:cubicBezTo>
                    <a:pt x="60" y="200"/>
                    <a:pt x="60" y="200"/>
                    <a:pt x="60" y="200"/>
                  </a:cubicBezTo>
                  <a:cubicBezTo>
                    <a:pt x="60" y="201"/>
                    <a:pt x="61" y="201"/>
                    <a:pt x="61" y="202"/>
                  </a:cubicBezTo>
                  <a:cubicBezTo>
                    <a:pt x="61" y="202"/>
                    <a:pt x="62" y="203"/>
                    <a:pt x="62" y="203"/>
                  </a:cubicBezTo>
                  <a:cubicBezTo>
                    <a:pt x="63" y="206"/>
                    <a:pt x="62" y="209"/>
                    <a:pt x="62" y="212"/>
                  </a:cubicBezTo>
                  <a:cubicBezTo>
                    <a:pt x="62" y="214"/>
                    <a:pt x="62" y="215"/>
                    <a:pt x="62" y="217"/>
                  </a:cubicBezTo>
                  <a:cubicBezTo>
                    <a:pt x="62" y="217"/>
                    <a:pt x="62" y="217"/>
                    <a:pt x="62" y="217"/>
                  </a:cubicBezTo>
                  <a:cubicBezTo>
                    <a:pt x="63" y="217"/>
                    <a:pt x="63" y="217"/>
                    <a:pt x="64" y="217"/>
                  </a:cubicBezTo>
                  <a:cubicBezTo>
                    <a:pt x="64" y="218"/>
                    <a:pt x="64" y="218"/>
                    <a:pt x="64" y="218"/>
                  </a:cubicBezTo>
                  <a:cubicBezTo>
                    <a:pt x="66" y="220"/>
                    <a:pt x="66" y="220"/>
                    <a:pt x="66" y="220"/>
                  </a:cubicBezTo>
                  <a:cubicBezTo>
                    <a:pt x="67" y="223"/>
                    <a:pt x="67" y="224"/>
                    <a:pt x="66" y="227"/>
                  </a:cubicBezTo>
                  <a:cubicBezTo>
                    <a:pt x="65" y="229"/>
                    <a:pt x="64" y="232"/>
                    <a:pt x="63" y="234"/>
                  </a:cubicBezTo>
                  <a:cubicBezTo>
                    <a:pt x="61" y="237"/>
                    <a:pt x="59" y="240"/>
                    <a:pt x="58" y="241"/>
                  </a:cubicBezTo>
                  <a:cubicBezTo>
                    <a:pt x="57" y="242"/>
                    <a:pt x="56" y="243"/>
                    <a:pt x="56" y="243"/>
                  </a:cubicBezTo>
                  <a:cubicBezTo>
                    <a:pt x="55" y="243"/>
                    <a:pt x="55" y="243"/>
                    <a:pt x="55" y="243"/>
                  </a:cubicBezTo>
                  <a:cubicBezTo>
                    <a:pt x="54" y="243"/>
                    <a:pt x="54" y="243"/>
                    <a:pt x="54" y="243"/>
                  </a:cubicBezTo>
                  <a:cubicBezTo>
                    <a:pt x="53" y="244"/>
                    <a:pt x="53" y="247"/>
                    <a:pt x="53" y="248"/>
                  </a:cubicBezTo>
                  <a:cubicBezTo>
                    <a:pt x="52" y="248"/>
                    <a:pt x="52" y="249"/>
                    <a:pt x="52" y="249"/>
                  </a:cubicBezTo>
                  <a:cubicBezTo>
                    <a:pt x="52" y="250"/>
                    <a:pt x="52" y="250"/>
                    <a:pt x="52" y="250"/>
                  </a:cubicBezTo>
                  <a:cubicBezTo>
                    <a:pt x="52" y="251"/>
                    <a:pt x="51" y="253"/>
                    <a:pt x="51" y="255"/>
                  </a:cubicBezTo>
                  <a:cubicBezTo>
                    <a:pt x="51" y="255"/>
                    <a:pt x="52" y="257"/>
                    <a:pt x="52" y="257"/>
                  </a:cubicBezTo>
                  <a:cubicBezTo>
                    <a:pt x="56" y="264"/>
                    <a:pt x="56" y="264"/>
                    <a:pt x="56" y="264"/>
                  </a:cubicBezTo>
                  <a:cubicBezTo>
                    <a:pt x="49" y="263"/>
                    <a:pt x="49" y="263"/>
                    <a:pt x="49" y="263"/>
                  </a:cubicBezTo>
                  <a:cubicBezTo>
                    <a:pt x="49" y="263"/>
                    <a:pt x="48" y="264"/>
                    <a:pt x="48" y="264"/>
                  </a:cubicBezTo>
                  <a:cubicBezTo>
                    <a:pt x="45" y="267"/>
                    <a:pt x="42" y="271"/>
                    <a:pt x="40" y="272"/>
                  </a:cubicBezTo>
                  <a:cubicBezTo>
                    <a:pt x="39" y="273"/>
                    <a:pt x="39" y="274"/>
                    <a:pt x="38" y="275"/>
                  </a:cubicBezTo>
                  <a:cubicBezTo>
                    <a:pt x="29" y="285"/>
                    <a:pt x="29" y="285"/>
                    <a:pt x="29" y="285"/>
                  </a:cubicBezTo>
                  <a:cubicBezTo>
                    <a:pt x="28" y="285"/>
                    <a:pt x="28" y="285"/>
                    <a:pt x="28" y="285"/>
                  </a:cubicBezTo>
                  <a:cubicBezTo>
                    <a:pt x="27" y="286"/>
                    <a:pt x="27" y="286"/>
                    <a:pt x="26" y="287"/>
                  </a:cubicBezTo>
                  <a:cubicBezTo>
                    <a:pt x="26" y="287"/>
                    <a:pt x="26" y="287"/>
                    <a:pt x="26" y="287"/>
                  </a:cubicBezTo>
                  <a:cubicBezTo>
                    <a:pt x="26" y="289"/>
                    <a:pt x="26" y="289"/>
                    <a:pt x="26" y="289"/>
                  </a:cubicBezTo>
                  <a:cubicBezTo>
                    <a:pt x="27" y="290"/>
                    <a:pt x="27" y="291"/>
                    <a:pt x="28" y="293"/>
                  </a:cubicBezTo>
                  <a:cubicBezTo>
                    <a:pt x="28" y="294"/>
                    <a:pt x="28" y="294"/>
                    <a:pt x="28" y="294"/>
                  </a:cubicBezTo>
                  <a:cubicBezTo>
                    <a:pt x="29" y="297"/>
                    <a:pt x="31" y="301"/>
                    <a:pt x="31" y="304"/>
                  </a:cubicBezTo>
                  <a:cubicBezTo>
                    <a:pt x="31" y="305"/>
                    <a:pt x="31" y="306"/>
                    <a:pt x="32" y="307"/>
                  </a:cubicBezTo>
                  <a:cubicBezTo>
                    <a:pt x="35" y="307"/>
                    <a:pt x="35" y="307"/>
                    <a:pt x="35" y="307"/>
                  </a:cubicBezTo>
                  <a:cubicBezTo>
                    <a:pt x="32" y="308"/>
                    <a:pt x="32" y="308"/>
                    <a:pt x="32" y="308"/>
                  </a:cubicBezTo>
                  <a:cubicBezTo>
                    <a:pt x="32" y="308"/>
                    <a:pt x="32" y="308"/>
                    <a:pt x="32" y="308"/>
                  </a:cubicBezTo>
                  <a:cubicBezTo>
                    <a:pt x="31" y="311"/>
                    <a:pt x="31" y="312"/>
                    <a:pt x="33" y="314"/>
                  </a:cubicBezTo>
                  <a:cubicBezTo>
                    <a:pt x="38" y="323"/>
                    <a:pt x="38" y="323"/>
                    <a:pt x="38" y="323"/>
                  </a:cubicBezTo>
                  <a:cubicBezTo>
                    <a:pt x="41" y="326"/>
                    <a:pt x="41" y="332"/>
                    <a:pt x="41" y="336"/>
                  </a:cubicBezTo>
                  <a:cubicBezTo>
                    <a:pt x="41" y="340"/>
                    <a:pt x="41" y="340"/>
                    <a:pt x="41" y="340"/>
                  </a:cubicBezTo>
                  <a:cubicBezTo>
                    <a:pt x="42" y="345"/>
                    <a:pt x="42" y="351"/>
                    <a:pt x="42" y="356"/>
                  </a:cubicBezTo>
                  <a:cubicBezTo>
                    <a:pt x="42" y="357"/>
                    <a:pt x="42" y="358"/>
                    <a:pt x="42" y="359"/>
                  </a:cubicBezTo>
                  <a:cubicBezTo>
                    <a:pt x="42" y="360"/>
                    <a:pt x="42" y="360"/>
                    <a:pt x="42" y="360"/>
                  </a:cubicBezTo>
                  <a:cubicBezTo>
                    <a:pt x="42" y="361"/>
                    <a:pt x="42" y="363"/>
                    <a:pt x="42" y="364"/>
                  </a:cubicBezTo>
                  <a:cubicBezTo>
                    <a:pt x="42" y="365"/>
                    <a:pt x="42" y="365"/>
                    <a:pt x="42" y="366"/>
                  </a:cubicBezTo>
                  <a:cubicBezTo>
                    <a:pt x="43" y="367"/>
                    <a:pt x="42" y="369"/>
                    <a:pt x="42" y="371"/>
                  </a:cubicBezTo>
                  <a:cubicBezTo>
                    <a:pt x="42" y="371"/>
                    <a:pt x="42" y="371"/>
                    <a:pt x="42" y="371"/>
                  </a:cubicBezTo>
                  <a:cubicBezTo>
                    <a:pt x="42" y="372"/>
                    <a:pt x="42" y="372"/>
                    <a:pt x="42" y="373"/>
                  </a:cubicBezTo>
                  <a:cubicBezTo>
                    <a:pt x="42" y="373"/>
                    <a:pt x="42" y="373"/>
                    <a:pt x="43" y="374"/>
                  </a:cubicBezTo>
                  <a:cubicBezTo>
                    <a:pt x="43" y="374"/>
                    <a:pt x="43" y="374"/>
                    <a:pt x="43" y="374"/>
                  </a:cubicBezTo>
                  <a:cubicBezTo>
                    <a:pt x="43" y="374"/>
                    <a:pt x="44" y="375"/>
                    <a:pt x="44" y="376"/>
                  </a:cubicBezTo>
                  <a:cubicBezTo>
                    <a:pt x="44" y="376"/>
                    <a:pt x="44" y="376"/>
                    <a:pt x="44" y="376"/>
                  </a:cubicBezTo>
                  <a:cubicBezTo>
                    <a:pt x="44" y="376"/>
                    <a:pt x="44" y="376"/>
                    <a:pt x="44" y="376"/>
                  </a:cubicBezTo>
                  <a:cubicBezTo>
                    <a:pt x="45" y="395"/>
                    <a:pt x="45" y="395"/>
                    <a:pt x="45" y="395"/>
                  </a:cubicBezTo>
                  <a:cubicBezTo>
                    <a:pt x="45" y="395"/>
                    <a:pt x="46" y="395"/>
                    <a:pt x="47" y="395"/>
                  </a:cubicBezTo>
                  <a:cubicBezTo>
                    <a:pt x="48" y="395"/>
                    <a:pt x="49" y="395"/>
                    <a:pt x="50" y="395"/>
                  </a:cubicBezTo>
                  <a:cubicBezTo>
                    <a:pt x="50" y="395"/>
                    <a:pt x="50" y="395"/>
                    <a:pt x="51" y="395"/>
                  </a:cubicBezTo>
                  <a:cubicBezTo>
                    <a:pt x="52" y="395"/>
                    <a:pt x="54" y="395"/>
                    <a:pt x="55" y="395"/>
                  </a:cubicBezTo>
                  <a:cubicBezTo>
                    <a:pt x="58" y="395"/>
                    <a:pt x="58" y="395"/>
                    <a:pt x="58" y="395"/>
                  </a:cubicBezTo>
                  <a:cubicBezTo>
                    <a:pt x="59" y="395"/>
                    <a:pt x="60" y="395"/>
                    <a:pt x="60" y="395"/>
                  </a:cubicBezTo>
                  <a:cubicBezTo>
                    <a:pt x="61" y="390"/>
                    <a:pt x="61" y="380"/>
                    <a:pt x="61" y="378"/>
                  </a:cubicBezTo>
                  <a:cubicBezTo>
                    <a:pt x="59" y="379"/>
                    <a:pt x="60" y="383"/>
                    <a:pt x="59" y="383"/>
                  </a:cubicBezTo>
                  <a:cubicBezTo>
                    <a:pt x="56" y="381"/>
                    <a:pt x="56" y="381"/>
                    <a:pt x="56" y="381"/>
                  </a:cubicBezTo>
                  <a:cubicBezTo>
                    <a:pt x="54" y="379"/>
                    <a:pt x="53" y="377"/>
                    <a:pt x="50" y="376"/>
                  </a:cubicBezTo>
                  <a:cubicBezTo>
                    <a:pt x="51" y="375"/>
                    <a:pt x="51" y="375"/>
                    <a:pt x="52" y="375"/>
                  </a:cubicBezTo>
                  <a:cubicBezTo>
                    <a:pt x="52" y="375"/>
                    <a:pt x="52" y="375"/>
                    <a:pt x="52" y="375"/>
                  </a:cubicBezTo>
                  <a:cubicBezTo>
                    <a:pt x="52" y="375"/>
                    <a:pt x="52" y="375"/>
                    <a:pt x="53" y="375"/>
                  </a:cubicBezTo>
                  <a:cubicBezTo>
                    <a:pt x="53" y="375"/>
                    <a:pt x="54" y="375"/>
                    <a:pt x="54" y="374"/>
                  </a:cubicBezTo>
                  <a:cubicBezTo>
                    <a:pt x="56" y="373"/>
                    <a:pt x="56" y="371"/>
                    <a:pt x="57" y="370"/>
                  </a:cubicBezTo>
                  <a:cubicBezTo>
                    <a:pt x="58" y="367"/>
                    <a:pt x="59" y="365"/>
                    <a:pt x="62" y="363"/>
                  </a:cubicBezTo>
                  <a:cubicBezTo>
                    <a:pt x="71" y="357"/>
                    <a:pt x="83" y="353"/>
                    <a:pt x="94" y="349"/>
                  </a:cubicBezTo>
                  <a:cubicBezTo>
                    <a:pt x="101" y="346"/>
                    <a:pt x="110" y="343"/>
                    <a:pt x="115" y="337"/>
                  </a:cubicBezTo>
                  <a:cubicBezTo>
                    <a:pt x="117" y="335"/>
                    <a:pt x="119" y="333"/>
                    <a:pt x="120" y="330"/>
                  </a:cubicBezTo>
                  <a:cubicBezTo>
                    <a:pt x="122" y="327"/>
                    <a:pt x="122" y="324"/>
                    <a:pt x="122" y="321"/>
                  </a:cubicBezTo>
                  <a:cubicBezTo>
                    <a:pt x="121" y="322"/>
                    <a:pt x="120" y="324"/>
                    <a:pt x="119" y="324"/>
                  </a:cubicBezTo>
                  <a:cubicBezTo>
                    <a:pt x="118" y="324"/>
                    <a:pt x="118" y="324"/>
                    <a:pt x="118" y="323"/>
                  </a:cubicBezTo>
                  <a:cubicBezTo>
                    <a:pt x="118" y="322"/>
                    <a:pt x="118" y="322"/>
                    <a:pt x="118" y="322"/>
                  </a:cubicBezTo>
                  <a:cubicBezTo>
                    <a:pt x="118" y="320"/>
                    <a:pt x="118" y="318"/>
                    <a:pt x="118" y="318"/>
                  </a:cubicBezTo>
                  <a:cubicBezTo>
                    <a:pt x="118" y="318"/>
                    <a:pt x="119" y="319"/>
                    <a:pt x="119" y="320"/>
                  </a:cubicBezTo>
                  <a:cubicBezTo>
                    <a:pt x="120" y="317"/>
                    <a:pt x="120" y="314"/>
                    <a:pt x="120" y="312"/>
                  </a:cubicBezTo>
                  <a:cubicBezTo>
                    <a:pt x="121" y="301"/>
                    <a:pt x="122" y="291"/>
                    <a:pt x="123" y="281"/>
                  </a:cubicBezTo>
                  <a:cubicBezTo>
                    <a:pt x="122" y="282"/>
                    <a:pt x="122" y="282"/>
                    <a:pt x="122" y="283"/>
                  </a:cubicBezTo>
                  <a:cubicBezTo>
                    <a:pt x="122" y="281"/>
                    <a:pt x="121" y="279"/>
                    <a:pt x="121" y="279"/>
                  </a:cubicBezTo>
                  <a:cubicBezTo>
                    <a:pt x="120" y="279"/>
                    <a:pt x="120" y="280"/>
                    <a:pt x="120" y="282"/>
                  </a:cubicBezTo>
                  <a:cubicBezTo>
                    <a:pt x="119" y="282"/>
                    <a:pt x="119" y="282"/>
                    <a:pt x="119" y="282"/>
                  </a:cubicBezTo>
                  <a:cubicBezTo>
                    <a:pt x="119" y="282"/>
                    <a:pt x="119" y="283"/>
                    <a:pt x="119" y="284"/>
                  </a:cubicBezTo>
                  <a:cubicBezTo>
                    <a:pt x="118" y="279"/>
                    <a:pt x="118" y="272"/>
                    <a:pt x="116" y="267"/>
                  </a:cubicBezTo>
                  <a:cubicBezTo>
                    <a:pt x="115" y="265"/>
                    <a:pt x="114" y="263"/>
                    <a:pt x="113" y="260"/>
                  </a:cubicBezTo>
                  <a:cubicBezTo>
                    <a:pt x="112" y="258"/>
                    <a:pt x="110" y="255"/>
                    <a:pt x="111" y="253"/>
                  </a:cubicBezTo>
                  <a:cubicBezTo>
                    <a:pt x="112" y="252"/>
                    <a:pt x="113" y="251"/>
                    <a:pt x="111" y="250"/>
                  </a:cubicBezTo>
                  <a:cubicBezTo>
                    <a:pt x="110" y="248"/>
                    <a:pt x="108" y="247"/>
                    <a:pt x="107" y="245"/>
                  </a:cubicBezTo>
                  <a:cubicBezTo>
                    <a:pt x="103" y="242"/>
                    <a:pt x="102" y="241"/>
                    <a:pt x="101" y="237"/>
                  </a:cubicBezTo>
                  <a:cubicBezTo>
                    <a:pt x="101" y="237"/>
                    <a:pt x="101" y="237"/>
                    <a:pt x="102" y="237"/>
                  </a:cubicBezTo>
                  <a:cubicBezTo>
                    <a:pt x="103" y="237"/>
                    <a:pt x="102" y="233"/>
                    <a:pt x="102" y="231"/>
                  </a:cubicBezTo>
                  <a:cubicBezTo>
                    <a:pt x="103" y="232"/>
                    <a:pt x="103" y="232"/>
                    <a:pt x="103" y="232"/>
                  </a:cubicBezTo>
                  <a:cubicBezTo>
                    <a:pt x="104" y="232"/>
                    <a:pt x="104" y="232"/>
                    <a:pt x="104" y="232"/>
                  </a:cubicBezTo>
                  <a:cubicBezTo>
                    <a:pt x="105" y="231"/>
                    <a:pt x="104" y="228"/>
                    <a:pt x="104" y="228"/>
                  </a:cubicBezTo>
                  <a:cubicBezTo>
                    <a:pt x="104" y="226"/>
                    <a:pt x="105" y="223"/>
                    <a:pt x="104" y="222"/>
                  </a:cubicBezTo>
                  <a:cubicBezTo>
                    <a:pt x="103" y="221"/>
                    <a:pt x="98" y="217"/>
                    <a:pt x="99" y="217"/>
                  </a:cubicBezTo>
                  <a:cubicBezTo>
                    <a:pt x="99" y="217"/>
                    <a:pt x="100" y="217"/>
                    <a:pt x="100" y="217"/>
                  </a:cubicBezTo>
                  <a:cubicBezTo>
                    <a:pt x="101" y="217"/>
                    <a:pt x="103" y="220"/>
                    <a:pt x="104" y="221"/>
                  </a:cubicBezTo>
                  <a:cubicBezTo>
                    <a:pt x="106" y="222"/>
                    <a:pt x="106" y="223"/>
                    <a:pt x="107" y="223"/>
                  </a:cubicBezTo>
                  <a:cubicBezTo>
                    <a:pt x="107" y="223"/>
                    <a:pt x="108" y="223"/>
                    <a:pt x="109" y="223"/>
                  </a:cubicBezTo>
                  <a:cubicBezTo>
                    <a:pt x="110" y="222"/>
                    <a:pt x="112" y="221"/>
                    <a:pt x="113" y="220"/>
                  </a:cubicBezTo>
                  <a:cubicBezTo>
                    <a:pt x="117" y="217"/>
                    <a:pt x="120" y="214"/>
                    <a:pt x="123" y="210"/>
                  </a:cubicBezTo>
                  <a:cubicBezTo>
                    <a:pt x="124" y="208"/>
                    <a:pt x="126" y="206"/>
                    <a:pt x="128" y="204"/>
                  </a:cubicBezTo>
                  <a:cubicBezTo>
                    <a:pt x="129" y="203"/>
                    <a:pt x="129" y="202"/>
                    <a:pt x="130" y="202"/>
                  </a:cubicBezTo>
                  <a:cubicBezTo>
                    <a:pt x="130" y="202"/>
                    <a:pt x="130" y="202"/>
                    <a:pt x="130" y="202"/>
                  </a:cubicBezTo>
                  <a:cubicBezTo>
                    <a:pt x="131" y="202"/>
                    <a:pt x="131" y="202"/>
                    <a:pt x="131" y="202"/>
                  </a:cubicBezTo>
                  <a:cubicBezTo>
                    <a:pt x="132" y="202"/>
                    <a:pt x="132" y="201"/>
                    <a:pt x="133" y="200"/>
                  </a:cubicBezTo>
                  <a:cubicBezTo>
                    <a:pt x="134" y="199"/>
                    <a:pt x="135" y="199"/>
                    <a:pt x="136" y="199"/>
                  </a:cubicBezTo>
                  <a:cubicBezTo>
                    <a:pt x="137" y="199"/>
                    <a:pt x="138" y="199"/>
                    <a:pt x="140" y="200"/>
                  </a:cubicBezTo>
                  <a:cubicBezTo>
                    <a:pt x="139" y="198"/>
                    <a:pt x="140" y="197"/>
                    <a:pt x="142" y="197"/>
                  </a:cubicBezTo>
                  <a:cubicBezTo>
                    <a:pt x="142" y="197"/>
                    <a:pt x="142" y="197"/>
                    <a:pt x="143" y="197"/>
                  </a:cubicBezTo>
                  <a:cubicBezTo>
                    <a:pt x="143" y="195"/>
                    <a:pt x="149" y="189"/>
                    <a:pt x="151" y="187"/>
                  </a:cubicBezTo>
                  <a:cubicBezTo>
                    <a:pt x="152" y="186"/>
                    <a:pt x="156" y="182"/>
                    <a:pt x="156" y="180"/>
                  </a:cubicBezTo>
                  <a:cubicBezTo>
                    <a:pt x="156" y="179"/>
                    <a:pt x="155" y="179"/>
                    <a:pt x="154" y="178"/>
                  </a:cubicBezTo>
                  <a:cubicBezTo>
                    <a:pt x="153" y="176"/>
                    <a:pt x="153" y="176"/>
                    <a:pt x="154" y="176"/>
                  </a:cubicBezTo>
                  <a:cubicBezTo>
                    <a:pt x="154" y="176"/>
                    <a:pt x="155" y="176"/>
                    <a:pt x="155" y="177"/>
                  </a:cubicBezTo>
                  <a:cubicBezTo>
                    <a:pt x="160" y="175"/>
                    <a:pt x="165" y="170"/>
                    <a:pt x="170" y="167"/>
                  </a:cubicBezTo>
                  <a:cubicBezTo>
                    <a:pt x="174" y="166"/>
                    <a:pt x="177" y="165"/>
                    <a:pt x="181" y="163"/>
                  </a:cubicBezTo>
                  <a:cubicBezTo>
                    <a:pt x="183" y="161"/>
                    <a:pt x="182" y="160"/>
                    <a:pt x="184" y="159"/>
                  </a:cubicBezTo>
                  <a:cubicBezTo>
                    <a:pt x="185" y="157"/>
                    <a:pt x="191" y="156"/>
                    <a:pt x="193" y="156"/>
                  </a:cubicBezTo>
                  <a:cubicBezTo>
                    <a:pt x="197" y="154"/>
                    <a:pt x="201" y="153"/>
                    <a:pt x="205" y="152"/>
                  </a:cubicBezTo>
                  <a:cubicBezTo>
                    <a:pt x="211" y="150"/>
                    <a:pt x="216" y="146"/>
                    <a:pt x="221" y="142"/>
                  </a:cubicBezTo>
                  <a:cubicBezTo>
                    <a:pt x="227" y="139"/>
                    <a:pt x="230" y="131"/>
                    <a:pt x="234" y="125"/>
                  </a:cubicBezTo>
                  <a:cubicBezTo>
                    <a:pt x="238" y="119"/>
                    <a:pt x="243" y="114"/>
                    <a:pt x="245" y="108"/>
                  </a:cubicBezTo>
                  <a:cubicBezTo>
                    <a:pt x="246" y="105"/>
                    <a:pt x="244" y="105"/>
                    <a:pt x="244" y="104"/>
                  </a:cubicBezTo>
                  <a:cubicBezTo>
                    <a:pt x="244" y="102"/>
                    <a:pt x="246" y="103"/>
                    <a:pt x="247" y="101"/>
                  </a:cubicBezTo>
                  <a:cubicBezTo>
                    <a:pt x="248" y="100"/>
                    <a:pt x="247" y="95"/>
                    <a:pt x="247" y="94"/>
                  </a:cubicBezTo>
                  <a:cubicBezTo>
                    <a:pt x="247" y="92"/>
                    <a:pt x="246" y="92"/>
                    <a:pt x="246" y="92"/>
                  </a:cubicBezTo>
                  <a:cubicBezTo>
                    <a:pt x="245" y="92"/>
                    <a:pt x="244" y="94"/>
                    <a:pt x="243" y="95"/>
                  </a:cubicBezTo>
                  <a:cubicBezTo>
                    <a:pt x="243" y="93"/>
                    <a:pt x="246" y="90"/>
                    <a:pt x="244" y="88"/>
                  </a:cubicBezTo>
                  <a:cubicBezTo>
                    <a:pt x="244" y="87"/>
                    <a:pt x="244" y="87"/>
                    <a:pt x="243" y="87"/>
                  </a:cubicBezTo>
                  <a:cubicBezTo>
                    <a:pt x="243" y="87"/>
                    <a:pt x="242" y="87"/>
                    <a:pt x="241" y="88"/>
                  </a:cubicBezTo>
                  <a:cubicBezTo>
                    <a:pt x="241" y="86"/>
                    <a:pt x="243" y="84"/>
                    <a:pt x="242" y="82"/>
                  </a:cubicBezTo>
                  <a:cubicBezTo>
                    <a:pt x="242" y="80"/>
                    <a:pt x="242" y="79"/>
                    <a:pt x="241" y="77"/>
                  </a:cubicBezTo>
                  <a:cubicBezTo>
                    <a:pt x="241" y="75"/>
                    <a:pt x="240" y="72"/>
                    <a:pt x="240" y="70"/>
                  </a:cubicBezTo>
                  <a:cubicBezTo>
                    <a:pt x="240" y="66"/>
                    <a:pt x="241" y="63"/>
                    <a:pt x="241" y="60"/>
                  </a:cubicBezTo>
                  <a:cubicBezTo>
                    <a:pt x="241" y="58"/>
                    <a:pt x="241" y="58"/>
                    <a:pt x="240" y="57"/>
                  </a:cubicBezTo>
                  <a:cubicBezTo>
                    <a:pt x="240" y="57"/>
                    <a:pt x="239" y="57"/>
                    <a:pt x="239" y="57"/>
                  </a:cubicBezTo>
                  <a:cubicBezTo>
                    <a:pt x="239" y="57"/>
                    <a:pt x="239" y="57"/>
                    <a:pt x="239" y="57"/>
                  </a:cubicBezTo>
                  <a:cubicBezTo>
                    <a:pt x="239" y="57"/>
                    <a:pt x="238" y="57"/>
                    <a:pt x="238" y="57"/>
                  </a:cubicBezTo>
                  <a:cubicBezTo>
                    <a:pt x="238" y="57"/>
                    <a:pt x="238" y="57"/>
                    <a:pt x="238" y="56"/>
                  </a:cubicBezTo>
                  <a:cubicBezTo>
                    <a:pt x="241" y="53"/>
                    <a:pt x="241" y="53"/>
                    <a:pt x="241" y="53"/>
                  </a:cubicBezTo>
                  <a:cubicBezTo>
                    <a:pt x="242" y="51"/>
                    <a:pt x="242" y="52"/>
                    <a:pt x="242" y="50"/>
                  </a:cubicBezTo>
                  <a:cubicBezTo>
                    <a:pt x="242" y="48"/>
                    <a:pt x="241" y="46"/>
                    <a:pt x="241" y="44"/>
                  </a:cubicBezTo>
                  <a:cubicBezTo>
                    <a:pt x="240" y="39"/>
                    <a:pt x="240" y="33"/>
                    <a:pt x="239" y="28"/>
                  </a:cubicBezTo>
                  <a:cubicBezTo>
                    <a:pt x="239" y="23"/>
                    <a:pt x="239" y="21"/>
                    <a:pt x="236" y="18"/>
                  </a:cubicBezTo>
                  <a:cubicBezTo>
                    <a:pt x="239" y="16"/>
                    <a:pt x="239" y="13"/>
                    <a:pt x="239" y="9"/>
                  </a:cubicBezTo>
                  <a:cubicBezTo>
                    <a:pt x="239" y="8"/>
                    <a:pt x="243" y="7"/>
                    <a:pt x="240" y="5"/>
                  </a:cubicBezTo>
                  <a:cubicBezTo>
                    <a:pt x="238" y="4"/>
                    <a:pt x="241" y="3"/>
                    <a:pt x="243" y="3"/>
                  </a:cubicBezTo>
                  <a:cubicBezTo>
                    <a:pt x="242" y="2"/>
                    <a:pt x="241" y="1"/>
                    <a:pt x="2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310"/>
            <p:cNvSpPr/>
            <p:nvPr/>
          </p:nvSpPr>
          <p:spPr bwMode="auto">
            <a:xfrm>
              <a:off x="5306" y="2816"/>
              <a:ext cx="602" cy="587"/>
            </a:xfrm>
            <a:custGeom>
              <a:gdLst>
                <a:gd name="T0" fmla="*/ 30 w 255"/>
                <a:gd name="T1" fmla="*/ 7 h 248"/>
                <a:gd name="T2" fmla="*/ 33 w 255"/>
                <a:gd name="T3" fmla="*/ 19 h 248"/>
                <a:gd name="T4" fmla="*/ 30 w 255"/>
                <a:gd name="T5" fmla="*/ 31 h 248"/>
                <a:gd name="T6" fmla="*/ 30 w 255"/>
                <a:gd name="T7" fmla="*/ 33 h 248"/>
                <a:gd name="T8" fmla="*/ 34 w 255"/>
                <a:gd name="T9" fmla="*/ 39 h 248"/>
                <a:gd name="T10" fmla="*/ 34 w 255"/>
                <a:gd name="T11" fmla="*/ 55 h 248"/>
                <a:gd name="T12" fmla="*/ 30 w 255"/>
                <a:gd name="T13" fmla="*/ 59 h 248"/>
                <a:gd name="T14" fmla="*/ 19 w 255"/>
                <a:gd name="T15" fmla="*/ 80 h 248"/>
                <a:gd name="T16" fmla="*/ 5 w 255"/>
                <a:gd name="T17" fmla="*/ 83 h 248"/>
                <a:gd name="T18" fmla="*/ 3 w 255"/>
                <a:gd name="T19" fmla="*/ 91 h 248"/>
                <a:gd name="T20" fmla="*/ 7 w 255"/>
                <a:gd name="T21" fmla="*/ 114 h 248"/>
                <a:gd name="T22" fmla="*/ 9 w 255"/>
                <a:gd name="T23" fmla="*/ 127 h 248"/>
                <a:gd name="T24" fmla="*/ 22 w 255"/>
                <a:gd name="T25" fmla="*/ 136 h 248"/>
                <a:gd name="T26" fmla="*/ 36 w 255"/>
                <a:gd name="T27" fmla="*/ 176 h 248"/>
                <a:gd name="T28" fmla="*/ 37 w 255"/>
                <a:gd name="T29" fmla="*/ 175 h 248"/>
                <a:gd name="T30" fmla="*/ 46 w 255"/>
                <a:gd name="T31" fmla="*/ 177 h 248"/>
                <a:gd name="T32" fmla="*/ 56 w 255"/>
                <a:gd name="T33" fmla="*/ 183 h 248"/>
                <a:gd name="T34" fmla="*/ 70 w 255"/>
                <a:gd name="T35" fmla="*/ 188 h 248"/>
                <a:gd name="T36" fmla="*/ 83 w 255"/>
                <a:gd name="T37" fmla="*/ 193 h 248"/>
                <a:gd name="T38" fmla="*/ 101 w 255"/>
                <a:gd name="T39" fmla="*/ 199 h 248"/>
                <a:gd name="T40" fmla="*/ 105 w 255"/>
                <a:gd name="T41" fmla="*/ 197 h 248"/>
                <a:gd name="T42" fmla="*/ 125 w 255"/>
                <a:gd name="T43" fmla="*/ 244 h 248"/>
                <a:gd name="T44" fmla="*/ 141 w 255"/>
                <a:gd name="T45" fmla="*/ 245 h 248"/>
                <a:gd name="T46" fmla="*/ 151 w 255"/>
                <a:gd name="T47" fmla="*/ 242 h 248"/>
                <a:gd name="T48" fmla="*/ 155 w 255"/>
                <a:gd name="T49" fmla="*/ 244 h 248"/>
                <a:gd name="T50" fmla="*/ 169 w 255"/>
                <a:gd name="T51" fmla="*/ 246 h 248"/>
                <a:gd name="T52" fmla="*/ 185 w 255"/>
                <a:gd name="T53" fmla="*/ 247 h 248"/>
                <a:gd name="T54" fmla="*/ 192 w 255"/>
                <a:gd name="T55" fmla="*/ 242 h 248"/>
                <a:gd name="T56" fmla="*/ 195 w 255"/>
                <a:gd name="T57" fmla="*/ 239 h 248"/>
                <a:gd name="T58" fmla="*/ 211 w 255"/>
                <a:gd name="T59" fmla="*/ 239 h 248"/>
                <a:gd name="T60" fmla="*/ 224 w 255"/>
                <a:gd name="T61" fmla="*/ 234 h 248"/>
                <a:gd name="T62" fmla="*/ 227 w 255"/>
                <a:gd name="T63" fmla="*/ 234 h 248"/>
                <a:gd name="T64" fmla="*/ 255 w 255"/>
                <a:gd name="T65" fmla="*/ 218 h 248"/>
                <a:gd name="T66" fmla="*/ 246 w 255"/>
                <a:gd name="T67" fmla="*/ 214 h 248"/>
                <a:gd name="T68" fmla="*/ 239 w 255"/>
                <a:gd name="T69" fmla="*/ 210 h 248"/>
                <a:gd name="T70" fmla="*/ 230 w 255"/>
                <a:gd name="T71" fmla="*/ 175 h 248"/>
                <a:gd name="T72" fmla="*/ 221 w 255"/>
                <a:gd name="T73" fmla="*/ 125 h 248"/>
                <a:gd name="T74" fmla="*/ 226 w 255"/>
                <a:gd name="T75" fmla="*/ 86 h 248"/>
                <a:gd name="T76" fmla="*/ 211 w 255"/>
                <a:gd name="T77" fmla="*/ 76 h 248"/>
                <a:gd name="T78" fmla="*/ 189 w 255"/>
                <a:gd name="T79" fmla="*/ 59 h 248"/>
                <a:gd name="T80" fmla="*/ 188 w 255"/>
                <a:gd name="T81" fmla="*/ 49 h 248"/>
                <a:gd name="T82" fmla="*/ 185 w 255"/>
                <a:gd name="T83" fmla="*/ 47 h 248"/>
                <a:gd name="T84" fmla="*/ 143 w 255"/>
                <a:gd name="T85" fmla="*/ 22 h 248"/>
                <a:gd name="T86" fmla="*/ 100 w 255"/>
                <a:gd name="T87" fmla="*/ 5 h 248"/>
                <a:gd name="T88" fmla="*/ 97 w 255"/>
                <a:gd name="T89" fmla="*/ 9 h 248"/>
                <a:gd name="T90" fmla="*/ 96 w 255"/>
                <a:gd name="T91" fmla="*/ 15 h 248"/>
                <a:gd name="T92" fmla="*/ 88 w 255"/>
                <a:gd name="T93" fmla="*/ 22 h 248"/>
                <a:gd name="T94" fmla="*/ 90 w 255"/>
                <a:gd name="T95" fmla="*/ 34 h 248"/>
                <a:gd name="T96" fmla="*/ 86 w 255"/>
                <a:gd name="T97" fmla="*/ 32 h 248"/>
                <a:gd name="T98" fmla="*/ 80 w 255"/>
                <a:gd name="T99" fmla="*/ 31 h 248"/>
                <a:gd name="T100" fmla="*/ 75 w 255"/>
                <a:gd name="T101" fmla="*/ 44 h 248"/>
                <a:gd name="T102" fmla="*/ 77 w 255"/>
                <a:gd name="T103" fmla="*/ 33 h 248"/>
                <a:gd name="T104" fmla="*/ 69 w 255"/>
                <a:gd name="T105" fmla="*/ 34 h 248"/>
                <a:gd name="T106" fmla="*/ 60 w 255"/>
                <a:gd name="T107" fmla="*/ 33 h 248"/>
                <a:gd name="T108" fmla="*/ 57 w 255"/>
                <a:gd name="T109" fmla="*/ 38 h 248"/>
                <a:gd name="T110" fmla="*/ 50 w 255"/>
                <a:gd name="T111" fmla="*/ 28 h 2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5" h="248">
                  <a:moveTo>
                    <a:pt x="53" y="0"/>
                  </a:moveTo>
                  <a:cubicBezTo>
                    <a:pt x="53" y="0"/>
                    <a:pt x="52" y="0"/>
                    <a:pt x="52" y="0"/>
                  </a:cubicBezTo>
                  <a:cubicBezTo>
                    <a:pt x="42" y="0"/>
                    <a:pt x="33" y="1"/>
                    <a:pt x="26" y="1"/>
                  </a:cubicBezTo>
                  <a:cubicBezTo>
                    <a:pt x="30" y="7"/>
                    <a:pt x="30" y="7"/>
                    <a:pt x="30" y="7"/>
                  </a:cubicBezTo>
                  <a:cubicBezTo>
                    <a:pt x="31" y="10"/>
                    <a:pt x="32" y="11"/>
                    <a:pt x="32" y="13"/>
                  </a:cubicBezTo>
                  <a:cubicBezTo>
                    <a:pt x="32" y="15"/>
                    <a:pt x="32" y="16"/>
                    <a:pt x="32" y="18"/>
                  </a:cubicBezTo>
                  <a:cubicBezTo>
                    <a:pt x="32" y="18"/>
                    <a:pt x="32" y="18"/>
                    <a:pt x="32" y="18"/>
                  </a:cubicBezTo>
                  <a:cubicBezTo>
                    <a:pt x="32" y="18"/>
                    <a:pt x="33" y="18"/>
                    <a:pt x="33" y="19"/>
                  </a:cubicBezTo>
                  <a:cubicBezTo>
                    <a:pt x="33" y="20"/>
                    <a:pt x="34" y="21"/>
                    <a:pt x="34" y="22"/>
                  </a:cubicBezTo>
                  <a:cubicBezTo>
                    <a:pt x="34" y="24"/>
                    <a:pt x="34" y="26"/>
                    <a:pt x="33" y="28"/>
                  </a:cubicBezTo>
                  <a:cubicBezTo>
                    <a:pt x="33" y="29"/>
                    <a:pt x="32" y="30"/>
                    <a:pt x="32" y="30"/>
                  </a:cubicBezTo>
                  <a:cubicBezTo>
                    <a:pt x="31" y="31"/>
                    <a:pt x="31" y="31"/>
                    <a:pt x="30" y="31"/>
                  </a:cubicBezTo>
                  <a:cubicBezTo>
                    <a:pt x="30" y="31"/>
                    <a:pt x="30" y="31"/>
                    <a:pt x="30" y="31"/>
                  </a:cubicBezTo>
                  <a:cubicBezTo>
                    <a:pt x="30" y="32"/>
                    <a:pt x="30" y="32"/>
                    <a:pt x="30" y="32"/>
                  </a:cubicBezTo>
                  <a:cubicBezTo>
                    <a:pt x="30" y="33"/>
                    <a:pt x="30" y="33"/>
                    <a:pt x="30" y="33"/>
                  </a:cubicBezTo>
                  <a:cubicBezTo>
                    <a:pt x="30" y="33"/>
                    <a:pt x="30" y="33"/>
                    <a:pt x="30" y="33"/>
                  </a:cubicBezTo>
                  <a:cubicBezTo>
                    <a:pt x="30" y="34"/>
                    <a:pt x="31" y="35"/>
                    <a:pt x="31" y="36"/>
                  </a:cubicBezTo>
                  <a:cubicBezTo>
                    <a:pt x="32" y="36"/>
                    <a:pt x="32" y="37"/>
                    <a:pt x="32" y="38"/>
                  </a:cubicBezTo>
                  <a:cubicBezTo>
                    <a:pt x="34" y="38"/>
                    <a:pt x="34" y="38"/>
                    <a:pt x="34" y="38"/>
                  </a:cubicBezTo>
                  <a:cubicBezTo>
                    <a:pt x="34" y="39"/>
                    <a:pt x="34" y="39"/>
                    <a:pt x="34" y="39"/>
                  </a:cubicBezTo>
                  <a:cubicBezTo>
                    <a:pt x="35" y="40"/>
                    <a:pt x="36" y="46"/>
                    <a:pt x="36" y="49"/>
                  </a:cubicBezTo>
                  <a:cubicBezTo>
                    <a:pt x="36" y="50"/>
                    <a:pt x="36" y="51"/>
                    <a:pt x="36" y="51"/>
                  </a:cubicBezTo>
                  <a:cubicBezTo>
                    <a:pt x="35" y="52"/>
                    <a:pt x="35" y="53"/>
                    <a:pt x="34" y="54"/>
                  </a:cubicBezTo>
                  <a:cubicBezTo>
                    <a:pt x="34" y="55"/>
                    <a:pt x="34" y="55"/>
                    <a:pt x="34" y="55"/>
                  </a:cubicBezTo>
                  <a:cubicBezTo>
                    <a:pt x="34" y="56"/>
                    <a:pt x="34" y="56"/>
                    <a:pt x="34" y="56"/>
                  </a:cubicBezTo>
                  <a:cubicBezTo>
                    <a:pt x="33" y="57"/>
                    <a:pt x="33" y="57"/>
                    <a:pt x="33" y="57"/>
                  </a:cubicBezTo>
                  <a:cubicBezTo>
                    <a:pt x="32" y="58"/>
                    <a:pt x="32" y="58"/>
                    <a:pt x="31" y="59"/>
                  </a:cubicBezTo>
                  <a:cubicBezTo>
                    <a:pt x="31" y="59"/>
                    <a:pt x="30" y="59"/>
                    <a:pt x="30" y="59"/>
                  </a:cubicBezTo>
                  <a:cubicBezTo>
                    <a:pt x="29" y="60"/>
                    <a:pt x="29" y="61"/>
                    <a:pt x="29" y="63"/>
                  </a:cubicBezTo>
                  <a:cubicBezTo>
                    <a:pt x="29" y="65"/>
                    <a:pt x="28" y="68"/>
                    <a:pt x="27" y="70"/>
                  </a:cubicBezTo>
                  <a:cubicBezTo>
                    <a:pt x="26" y="72"/>
                    <a:pt x="26" y="72"/>
                    <a:pt x="26" y="72"/>
                  </a:cubicBezTo>
                  <a:cubicBezTo>
                    <a:pt x="24" y="75"/>
                    <a:pt x="23" y="77"/>
                    <a:pt x="19" y="80"/>
                  </a:cubicBezTo>
                  <a:cubicBezTo>
                    <a:pt x="18" y="80"/>
                    <a:pt x="18" y="80"/>
                    <a:pt x="13" y="81"/>
                  </a:cubicBezTo>
                  <a:cubicBezTo>
                    <a:pt x="11" y="81"/>
                    <a:pt x="8" y="81"/>
                    <a:pt x="7" y="81"/>
                  </a:cubicBezTo>
                  <a:cubicBezTo>
                    <a:pt x="7" y="82"/>
                    <a:pt x="6" y="82"/>
                    <a:pt x="6" y="82"/>
                  </a:cubicBezTo>
                  <a:cubicBezTo>
                    <a:pt x="5" y="82"/>
                    <a:pt x="5" y="83"/>
                    <a:pt x="5" y="83"/>
                  </a:cubicBezTo>
                  <a:cubicBezTo>
                    <a:pt x="2" y="84"/>
                    <a:pt x="2" y="84"/>
                    <a:pt x="2" y="84"/>
                  </a:cubicBezTo>
                  <a:cubicBezTo>
                    <a:pt x="1" y="83"/>
                    <a:pt x="1" y="83"/>
                    <a:pt x="1" y="83"/>
                  </a:cubicBezTo>
                  <a:cubicBezTo>
                    <a:pt x="0" y="85"/>
                    <a:pt x="0" y="88"/>
                    <a:pt x="1" y="89"/>
                  </a:cubicBezTo>
                  <a:cubicBezTo>
                    <a:pt x="1" y="89"/>
                    <a:pt x="3" y="91"/>
                    <a:pt x="3" y="91"/>
                  </a:cubicBezTo>
                  <a:cubicBezTo>
                    <a:pt x="5" y="93"/>
                    <a:pt x="6" y="94"/>
                    <a:pt x="6" y="96"/>
                  </a:cubicBezTo>
                  <a:cubicBezTo>
                    <a:pt x="6" y="98"/>
                    <a:pt x="4" y="100"/>
                    <a:pt x="4" y="102"/>
                  </a:cubicBezTo>
                  <a:cubicBezTo>
                    <a:pt x="5" y="104"/>
                    <a:pt x="7" y="107"/>
                    <a:pt x="7" y="108"/>
                  </a:cubicBezTo>
                  <a:cubicBezTo>
                    <a:pt x="9" y="112"/>
                    <a:pt x="9" y="111"/>
                    <a:pt x="7" y="114"/>
                  </a:cubicBezTo>
                  <a:cubicBezTo>
                    <a:pt x="7" y="115"/>
                    <a:pt x="6" y="115"/>
                    <a:pt x="5" y="116"/>
                  </a:cubicBezTo>
                  <a:cubicBezTo>
                    <a:pt x="4" y="119"/>
                    <a:pt x="3" y="120"/>
                    <a:pt x="5" y="122"/>
                  </a:cubicBezTo>
                  <a:cubicBezTo>
                    <a:pt x="6" y="123"/>
                    <a:pt x="8" y="127"/>
                    <a:pt x="9" y="127"/>
                  </a:cubicBezTo>
                  <a:cubicBezTo>
                    <a:pt x="9" y="127"/>
                    <a:pt x="9" y="127"/>
                    <a:pt x="9" y="127"/>
                  </a:cubicBezTo>
                  <a:cubicBezTo>
                    <a:pt x="10" y="127"/>
                    <a:pt x="10" y="126"/>
                    <a:pt x="10" y="126"/>
                  </a:cubicBezTo>
                  <a:cubicBezTo>
                    <a:pt x="11" y="126"/>
                    <a:pt x="11" y="126"/>
                    <a:pt x="12" y="126"/>
                  </a:cubicBezTo>
                  <a:cubicBezTo>
                    <a:pt x="12" y="126"/>
                    <a:pt x="12" y="126"/>
                    <a:pt x="12" y="126"/>
                  </a:cubicBezTo>
                  <a:cubicBezTo>
                    <a:pt x="16" y="126"/>
                    <a:pt x="20" y="133"/>
                    <a:pt x="22" y="136"/>
                  </a:cubicBezTo>
                  <a:cubicBezTo>
                    <a:pt x="24" y="138"/>
                    <a:pt x="24" y="141"/>
                    <a:pt x="26" y="144"/>
                  </a:cubicBezTo>
                  <a:cubicBezTo>
                    <a:pt x="29" y="153"/>
                    <a:pt x="32" y="162"/>
                    <a:pt x="36" y="171"/>
                  </a:cubicBezTo>
                  <a:cubicBezTo>
                    <a:pt x="36" y="172"/>
                    <a:pt x="36" y="173"/>
                    <a:pt x="36" y="173"/>
                  </a:cubicBezTo>
                  <a:cubicBezTo>
                    <a:pt x="36" y="176"/>
                    <a:pt x="36" y="176"/>
                    <a:pt x="36" y="176"/>
                  </a:cubicBezTo>
                  <a:cubicBezTo>
                    <a:pt x="36" y="176"/>
                    <a:pt x="36" y="176"/>
                    <a:pt x="36" y="176"/>
                  </a:cubicBezTo>
                  <a:cubicBezTo>
                    <a:pt x="36" y="177"/>
                    <a:pt x="36" y="177"/>
                    <a:pt x="36" y="177"/>
                  </a:cubicBezTo>
                  <a:cubicBezTo>
                    <a:pt x="36" y="175"/>
                    <a:pt x="36" y="175"/>
                    <a:pt x="36" y="175"/>
                  </a:cubicBezTo>
                  <a:cubicBezTo>
                    <a:pt x="37" y="175"/>
                    <a:pt x="37" y="175"/>
                    <a:pt x="37" y="175"/>
                  </a:cubicBezTo>
                  <a:cubicBezTo>
                    <a:pt x="40" y="175"/>
                    <a:pt x="42" y="175"/>
                    <a:pt x="44" y="176"/>
                  </a:cubicBezTo>
                  <a:cubicBezTo>
                    <a:pt x="46" y="171"/>
                    <a:pt x="46" y="171"/>
                    <a:pt x="46" y="171"/>
                  </a:cubicBezTo>
                  <a:cubicBezTo>
                    <a:pt x="45" y="177"/>
                    <a:pt x="45" y="177"/>
                    <a:pt x="45" y="177"/>
                  </a:cubicBezTo>
                  <a:cubicBezTo>
                    <a:pt x="46" y="177"/>
                    <a:pt x="46" y="177"/>
                    <a:pt x="46" y="177"/>
                  </a:cubicBezTo>
                  <a:cubicBezTo>
                    <a:pt x="47" y="178"/>
                    <a:pt x="49" y="179"/>
                    <a:pt x="51" y="180"/>
                  </a:cubicBezTo>
                  <a:cubicBezTo>
                    <a:pt x="52" y="181"/>
                    <a:pt x="53" y="181"/>
                    <a:pt x="55" y="182"/>
                  </a:cubicBezTo>
                  <a:cubicBezTo>
                    <a:pt x="58" y="177"/>
                    <a:pt x="58" y="177"/>
                    <a:pt x="58" y="177"/>
                  </a:cubicBezTo>
                  <a:cubicBezTo>
                    <a:pt x="56" y="183"/>
                    <a:pt x="56" y="183"/>
                    <a:pt x="56" y="183"/>
                  </a:cubicBezTo>
                  <a:cubicBezTo>
                    <a:pt x="56" y="183"/>
                    <a:pt x="56" y="183"/>
                    <a:pt x="56" y="183"/>
                  </a:cubicBezTo>
                  <a:cubicBezTo>
                    <a:pt x="57" y="183"/>
                    <a:pt x="57" y="183"/>
                    <a:pt x="57" y="183"/>
                  </a:cubicBezTo>
                  <a:cubicBezTo>
                    <a:pt x="58" y="184"/>
                    <a:pt x="58" y="184"/>
                    <a:pt x="58" y="184"/>
                  </a:cubicBezTo>
                  <a:cubicBezTo>
                    <a:pt x="61" y="186"/>
                    <a:pt x="66" y="187"/>
                    <a:pt x="70" y="188"/>
                  </a:cubicBezTo>
                  <a:cubicBezTo>
                    <a:pt x="73" y="189"/>
                    <a:pt x="76" y="190"/>
                    <a:pt x="79" y="191"/>
                  </a:cubicBezTo>
                  <a:cubicBezTo>
                    <a:pt x="79" y="191"/>
                    <a:pt x="80" y="192"/>
                    <a:pt x="80" y="192"/>
                  </a:cubicBezTo>
                  <a:cubicBezTo>
                    <a:pt x="81" y="192"/>
                    <a:pt x="81" y="192"/>
                    <a:pt x="81" y="192"/>
                  </a:cubicBezTo>
                  <a:cubicBezTo>
                    <a:pt x="83" y="193"/>
                    <a:pt x="83" y="193"/>
                    <a:pt x="83" y="193"/>
                  </a:cubicBezTo>
                  <a:cubicBezTo>
                    <a:pt x="87" y="194"/>
                    <a:pt x="91" y="195"/>
                    <a:pt x="95" y="197"/>
                  </a:cubicBezTo>
                  <a:cubicBezTo>
                    <a:pt x="96" y="197"/>
                    <a:pt x="97" y="198"/>
                    <a:pt x="99" y="198"/>
                  </a:cubicBezTo>
                  <a:cubicBezTo>
                    <a:pt x="100" y="198"/>
                    <a:pt x="100" y="198"/>
                    <a:pt x="100" y="198"/>
                  </a:cubicBezTo>
                  <a:cubicBezTo>
                    <a:pt x="100" y="199"/>
                    <a:pt x="101" y="199"/>
                    <a:pt x="101" y="199"/>
                  </a:cubicBezTo>
                  <a:cubicBezTo>
                    <a:pt x="103" y="200"/>
                    <a:pt x="103" y="200"/>
                    <a:pt x="103" y="200"/>
                  </a:cubicBezTo>
                  <a:cubicBezTo>
                    <a:pt x="103" y="200"/>
                    <a:pt x="103" y="200"/>
                    <a:pt x="103" y="200"/>
                  </a:cubicBezTo>
                  <a:cubicBezTo>
                    <a:pt x="103" y="199"/>
                    <a:pt x="103" y="198"/>
                    <a:pt x="104" y="198"/>
                  </a:cubicBezTo>
                  <a:cubicBezTo>
                    <a:pt x="104" y="198"/>
                    <a:pt x="104" y="197"/>
                    <a:pt x="105" y="197"/>
                  </a:cubicBezTo>
                  <a:cubicBezTo>
                    <a:pt x="107" y="197"/>
                    <a:pt x="112" y="203"/>
                    <a:pt x="113" y="205"/>
                  </a:cubicBezTo>
                  <a:cubicBezTo>
                    <a:pt x="114" y="207"/>
                    <a:pt x="116" y="208"/>
                    <a:pt x="117" y="210"/>
                  </a:cubicBezTo>
                  <a:cubicBezTo>
                    <a:pt x="117" y="216"/>
                    <a:pt x="119" y="222"/>
                    <a:pt x="119" y="227"/>
                  </a:cubicBezTo>
                  <a:cubicBezTo>
                    <a:pt x="119" y="234"/>
                    <a:pt x="122" y="239"/>
                    <a:pt x="125" y="244"/>
                  </a:cubicBezTo>
                  <a:cubicBezTo>
                    <a:pt x="126" y="243"/>
                    <a:pt x="126" y="243"/>
                    <a:pt x="126" y="243"/>
                  </a:cubicBezTo>
                  <a:cubicBezTo>
                    <a:pt x="127" y="244"/>
                    <a:pt x="127" y="244"/>
                    <a:pt x="127" y="244"/>
                  </a:cubicBezTo>
                  <a:cubicBezTo>
                    <a:pt x="130" y="244"/>
                    <a:pt x="136" y="245"/>
                    <a:pt x="139" y="245"/>
                  </a:cubicBezTo>
                  <a:cubicBezTo>
                    <a:pt x="140" y="245"/>
                    <a:pt x="141" y="245"/>
                    <a:pt x="141" y="245"/>
                  </a:cubicBezTo>
                  <a:cubicBezTo>
                    <a:pt x="141" y="245"/>
                    <a:pt x="141" y="245"/>
                    <a:pt x="142" y="244"/>
                  </a:cubicBezTo>
                  <a:cubicBezTo>
                    <a:pt x="142" y="244"/>
                    <a:pt x="142" y="244"/>
                    <a:pt x="142" y="244"/>
                  </a:cubicBezTo>
                  <a:cubicBezTo>
                    <a:pt x="144" y="242"/>
                    <a:pt x="146" y="241"/>
                    <a:pt x="148" y="241"/>
                  </a:cubicBezTo>
                  <a:cubicBezTo>
                    <a:pt x="149" y="241"/>
                    <a:pt x="150" y="241"/>
                    <a:pt x="151" y="242"/>
                  </a:cubicBezTo>
                  <a:cubicBezTo>
                    <a:pt x="152" y="242"/>
                    <a:pt x="152" y="242"/>
                    <a:pt x="152" y="242"/>
                  </a:cubicBezTo>
                  <a:cubicBezTo>
                    <a:pt x="152" y="243"/>
                    <a:pt x="152" y="243"/>
                    <a:pt x="152" y="243"/>
                  </a:cubicBezTo>
                  <a:cubicBezTo>
                    <a:pt x="153" y="243"/>
                    <a:pt x="153" y="243"/>
                    <a:pt x="153" y="243"/>
                  </a:cubicBezTo>
                  <a:cubicBezTo>
                    <a:pt x="154" y="243"/>
                    <a:pt x="154" y="244"/>
                    <a:pt x="155" y="244"/>
                  </a:cubicBezTo>
                  <a:cubicBezTo>
                    <a:pt x="156" y="245"/>
                    <a:pt x="156" y="245"/>
                    <a:pt x="156" y="245"/>
                  </a:cubicBezTo>
                  <a:cubicBezTo>
                    <a:pt x="159" y="246"/>
                    <a:pt x="162" y="248"/>
                    <a:pt x="165" y="248"/>
                  </a:cubicBezTo>
                  <a:cubicBezTo>
                    <a:pt x="165" y="248"/>
                    <a:pt x="165" y="248"/>
                    <a:pt x="166" y="248"/>
                  </a:cubicBezTo>
                  <a:cubicBezTo>
                    <a:pt x="167" y="247"/>
                    <a:pt x="168" y="247"/>
                    <a:pt x="169" y="246"/>
                  </a:cubicBezTo>
                  <a:cubicBezTo>
                    <a:pt x="170" y="246"/>
                    <a:pt x="171" y="246"/>
                    <a:pt x="172" y="245"/>
                  </a:cubicBezTo>
                  <a:cubicBezTo>
                    <a:pt x="173" y="245"/>
                    <a:pt x="174" y="245"/>
                    <a:pt x="175" y="245"/>
                  </a:cubicBezTo>
                  <a:cubicBezTo>
                    <a:pt x="178" y="245"/>
                    <a:pt x="180" y="246"/>
                    <a:pt x="182" y="246"/>
                  </a:cubicBezTo>
                  <a:cubicBezTo>
                    <a:pt x="183" y="247"/>
                    <a:pt x="184" y="247"/>
                    <a:pt x="185" y="247"/>
                  </a:cubicBezTo>
                  <a:cubicBezTo>
                    <a:pt x="186" y="247"/>
                    <a:pt x="186" y="247"/>
                    <a:pt x="186" y="247"/>
                  </a:cubicBezTo>
                  <a:cubicBezTo>
                    <a:pt x="188" y="246"/>
                    <a:pt x="190" y="246"/>
                    <a:pt x="190" y="245"/>
                  </a:cubicBezTo>
                  <a:cubicBezTo>
                    <a:pt x="191" y="244"/>
                    <a:pt x="191" y="244"/>
                    <a:pt x="191" y="244"/>
                  </a:cubicBezTo>
                  <a:cubicBezTo>
                    <a:pt x="191" y="244"/>
                    <a:pt x="191" y="243"/>
                    <a:pt x="192" y="242"/>
                  </a:cubicBezTo>
                  <a:cubicBezTo>
                    <a:pt x="192" y="241"/>
                    <a:pt x="193" y="241"/>
                    <a:pt x="194" y="240"/>
                  </a:cubicBezTo>
                  <a:cubicBezTo>
                    <a:pt x="190" y="235"/>
                    <a:pt x="190" y="235"/>
                    <a:pt x="190" y="235"/>
                  </a:cubicBezTo>
                  <a:cubicBezTo>
                    <a:pt x="195" y="239"/>
                    <a:pt x="195" y="239"/>
                    <a:pt x="195" y="239"/>
                  </a:cubicBezTo>
                  <a:cubicBezTo>
                    <a:pt x="195" y="239"/>
                    <a:pt x="195" y="239"/>
                    <a:pt x="195" y="239"/>
                  </a:cubicBezTo>
                  <a:cubicBezTo>
                    <a:pt x="197" y="238"/>
                    <a:pt x="199" y="237"/>
                    <a:pt x="200" y="237"/>
                  </a:cubicBezTo>
                  <a:cubicBezTo>
                    <a:pt x="202" y="237"/>
                    <a:pt x="203" y="237"/>
                    <a:pt x="204" y="238"/>
                  </a:cubicBezTo>
                  <a:cubicBezTo>
                    <a:pt x="207" y="239"/>
                    <a:pt x="209" y="240"/>
                    <a:pt x="209" y="240"/>
                  </a:cubicBezTo>
                  <a:cubicBezTo>
                    <a:pt x="210" y="240"/>
                    <a:pt x="210" y="240"/>
                    <a:pt x="211" y="239"/>
                  </a:cubicBezTo>
                  <a:cubicBezTo>
                    <a:pt x="211" y="239"/>
                    <a:pt x="211" y="239"/>
                    <a:pt x="211" y="239"/>
                  </a:cubicBezTo>
                  <a:cubicBezTo>
                    <a:pt x="212" y="238"/>
                    <a:pt x="212" y="238"/>
                    <a:pt x="212" y="238"/>
                  </a:cubicBezTo>
                  <a:cubicBezTo>
                    <a:pt x="213" y="238"/>
                    <a:pt x="213" y="238"/>
                    <a:pt x="213" y="238"/>
                  </a:cubicBezTo>
                  <a:cubicBezTo>
                    <a:pt x="216" y="236"/>
                    <a:pt x="219" y="234"/>
                    <a:pt x="224" y="234"/>
                  </a:cubicBezTo>
                  <a:cubicBezTo>
                    <a:pt x="225" y="234"/>
                    <a:pt x="225" y="234"/>
                    <a:pt x="225" y="234"/>
                  </a:cubicBezTo>
                  <a:cubicBezTo>
                    <a:pt x="225" y="234"/>
                    <a:pt x="225" y="234"/>
                    <a:pt x="225" y="234"/>
                  </a:cubicBezTo>
                  <a:cubicBezTo>
                    <a:pt x="226" y="234"/>
                    <a:pt x="226" y="234"/>
                    <a:pt x="226" y="234"/>
                  </a:cubicBezTo>
                  <a:cubicBezTo>
                    <a:pt x="226" y="234"/>
                    <a:pt x="227" y="234"/>
                    <a:pt x="227" y="234"/>
                  </a:cubicBezTo>
                  <a:cubicBezTo>
                    <a:pt x="228" y="234"/>
                    <a:pt x="228" y="234"/>
                    <a:pt x="229" y="234"/>
                  </a:cubicBezTo>
                  <a:cubicBezTo>
                    <a:pt x="236" y="232"/>
                    <a:pt x="242" y="227"/>
                    <a:pt x="247" y="224"/>
                  </a:cubicBezTo>
                  <a:cubicBezTo>
                    <a:pt x="255" y="218"/>
                    <a:pt x="255" y="218"/>
                    <a:pt x="255" y="218"/>
                  </a:cubicBezTo>
                  <a:cubicBezTo>
                    <a:pt x="255" y="218"/>
                    <a:pt x="255" y="218"/>
                    <a:pt x="255" y="218"/>
                  </a:cubicBezTo>
                  <a:cubicBezTo>
                    <a:pt x="254" y="217"/>
                    <a:pt x="253" y="216"/>
                    <a:pt x="253" y="215"/>
                  </a:cubicBezTo>
                  <a:cubicBezTo>
                    <a:pt x="251" y="214"/>
                    <a:pt x="250" y="214"/>
                    <a:pt x="249" y="214"/>
                  </a:cubicBezTo>
                  <a:cubicBezTo>
                    <a:pt x="248" y="213"/>
                    <a:pt x="248" y="213"/>
                    <a:pt x="248" y="213"/>
                  </a:cubicBezTo>
                  <a:cubicBezTo>
                    <a:pt x="247" y="213"/>
                    <a:pt x="247" y="213"/>
                    <a:pt x="246" y="214"/>
                  </a:cubicBezTo>
                  <a:cubicBezTo>
                    <a:pt x="246" y="214"/>
                    <a:pt x="246" y="214"/>
                    <a:pt x="245" y="214"/>
                  </a:cubicBezTo>
                  <a:cubicBezTo>
                    <a:pt x="245" y="214"/>
                    <a:pt x="244" y="213"/>
                    <a:pt x="244" y="212"/>
                  </a:cubicBezTo>
                  <a:cubicBezTo>
                    <a:pt x="243" y="211"/>
                    <a:pt x="242" y="210"/>
                    <a:pt x="241" y="210"/>
                  </a:cubicBezTo>
                  <a:cubicBezTo>
                    <a:pt x="240" y="210"/>
                    <a:pt x="239" y="210"/>
                    <a:pt x="239" y="210"/>
                  </a:cubicBezTo>
                  <a:cubicBezTo>
                    <a:pt x="239" y="205"/>
                    <a:pt x="235" y="200"/>
                    <a:pt x="235" y="196"/>
                  </a:cubicBezTo>
                  <a:cubicBezTo>
                    <a:pt x="235" y="194"/>
                    <a:pt x="237" y="193"/>
                    <a:pt x="237" y="191"/>
                  </a:cubicBezTo>
                  <a:cubicBezTo>
                    <a:pt x="236" y="188"/>
                    <a:pt x="233" y="186"/>
                    <a:pt x="232" y="184"/>
                  </a:cubicBezTo>
                  <a:cubicBezTo>
                    <a:pt x="230" y="182"/>
                    <a:pt x="230" y="178"/>
                    <a:pt x="230" y="175"/>
                  </a:cubicBezTo>
                  <a:cubicBezTo>
                    <a:pt x="229" y="171"/>
                    <a:pt x="228" y="169"/>
                    <a:pt x="230" y="166"/>
                  </a:cubicBezTo>
                  <a:cubicBezTo>
                    <a:pt x="233" y="160"/>
                    <a:pt x="231" y="158"/>
                    <a:pt x="230" y="152"/>
                  </a:cubicBezTo>
                  <a:cubicBezTo>
                    <a:pt x="228" y="147"/>
                    <a:pt x="232" y="144"/>
                    <a:pt x="234" y="139"/>
                  </a:cubicBezTo>
                  <a:cubicBezTo>
                    <a:pt x="236" y="136"/>
                    <a:pt x="223" y="127"/>
                    <a:pt x="221" y="125"/>
                  </a:cubicBezTo>
                  <a:cubicBezTo>
                    <a:pt x="218" y="123"/>
                    <a:pt x="216" y="116"/>
                    <a:pt x="217" y="114"/>
                  </a:cubicBezTo>
                  <a:cubicBezTo>
                    <a:pt x="220" y="106"/>
                    <a:pt x="222" y="98"/>
                    <a:pt x="225" y="90"/>
                  </a:cubicBezTo>
                  <a:cubicBezTo>
                    <a:pt x="225" y="89"/>
                    <a:pt x="226" y="88"/>
                    <a:pt x="226" y="86"/>
                  </a:cubicBezTo>
                  <a:cubicBezTo>
                    <a:pt x="226" y="86"/>
                    <a:pt x="226" y="86"/>
                    <a:pt x="226" y="86"/>
                  </a:cubicBezTo>
                  <a:cubicBezTo>
                    <a:pt x="225" y="86"/>
                    <a:pt x="225" y="86"/>
                    <a:pt x="225" y="86"/>
                  </a:cubicBezTo>
                  <a:cubicBezTo>
                    <a:pt x="222" y="84"/>
                    <a:pt x="219" y="82"/>
                    <a:pt x="217" y="80"/>
                  </a:cubicBezTo>
                  <a:cubicBezTo>
                    <a:pt x="215" y="79"/>
                    <a:pt x="215" y="79"/>
                    <a:pt x="215" y="79"/>
                  </a:cubicBezTo>
                  <a:cubicBezTo>
                    <a:pt x="214" y="78"/>
                    <a:pt x="212" y="77"/>
                    <a:pt x="211" y="76"/>
                  </a:cubicBezTo>
                  <a:cubicBezTo>
                    <a:pt x="210" y="75"/>
                    <a:pt x="210" y="75"/>
                    <a:pt x="210" y="75"/>
                  </a:cubicBezTo>
                  <a:cubicBezTo>
                    <a:pt x="209" y="74"/>
                    <a:pt x="208" y="74"/>
                    <a:pt x="208" y="74"/>
                  </a:cubicBezTo>
                  <a:cubicBezTo>
                    <a:pt x="205" y="71"/>
                    <a:pt x="205" y="71"/>
                    <a:pt x="205" y="71"/>
                  </a:cubicBezTo>
                  <a:cubicBezTo>
                    <a:pt x="200" y="68"/>
                    <a:pt x="194" y="64"/>
                    <a:pt x="189" y="59"/>
                  </a:cubicBezTo>
                  <a:cubicBezTo>
                    <a:pt x="188" y="58"/>
                    <a:pt x="188" y="58"/>
                    <a:pt x="188" y="58"/>
                  </a:cubicBezTo>
                  <a:cubicBezTo>
                    <a:pt x="187" y="56"/>
                    <a:pt x="187" y="54"/>
                    <a:pt x="187" y="52"/>
                  </a:cubicBezTo>
                  <a:cubicBezTo>
                    <a:pt x="188" y="51"/>
                    <a:pt x="188" y="50"/>
                    <a:pt x="188" y="50"/>
                  </a:cubicBezTo>
                  <a:cubicBezTo>
                    <a:pt x="188" y="49"/>
                    <a:pt x="188" y="49"/>
                    <a:pt x="188" y="49"/>
                  </a:cubicBezTo>
                  <a:cubicBezTo>
                    <a:pt x="188" y="49"/>
                    <a:pt x="187" y="49"/>
                    <a:pt x="186" y="48"/>
                  </a:cubicBezTo>
                  <a:cubicBezTo>
                    <a:pt x="186" y="48"/>
                    <a:pt x="186" y="48"/>
                    <a:pt x="186" y="48"/>
                  </a:cubicBezTo>
                  <a:cubicBezTo>
                    <a:pt x="183" y="52"/>
                    <a:pt x="183" y="52"/>
                    <a:pt x="183" y="52"/>
                  </a:cubicBezTo>
                  <a:cubicBezTo>
                    <a:pt x="185" y="47"/>
                    <a:pt x="185" y="47"/>
                    <a:pt x="185" y="47"/>
                  </a:cubicBezTo>
                  <a:cubicBezTo>
                    <a:pt x="184" y="47"/>
                    <a:pt x="184" y="47"/>
                    <a:pt x="184" y="47"/>
                  </a:cubicBezTo>
                  <a:cubicBezTo>
                    <a:pt x="184" y="46"/>
                    <a:pt x="183" y="45"/>
                    <a:pt x="183" y="45"/>
                  </a:cubicBezTo>
                  <a:cubicBezTo>
                    <a:pt x="181" y="44"/>
                    <a:pt x="180" y="42"/>
                    <a:pt x="179" y="42"/>
                  </a:cubicBezTo>
                  <a:cubicBezTo>
                    <a:pt x="167" y="35"/>
                    <a:pt x="155" y="28"/>
                    <a:pt x="143" y="22"/>
                  </a:cubicBezTo>
                  <a:cubicBezTo>
                    <a:pt x="130" y="14"/>
                    <a:pt x="117" y="7"/>
                    <a:pt x="105" y="0"/>
                  </a:cubicBezTo>
                  <a:cubicBezTo>
                    <a:pt x="104" y="2"/>
                    <a:pt x="103" y="4"/>
                    <a:pt x="104" y="5"/>
                  </a:cubicBezTo>
                  <a:cubicBezTo>
                    <a:pt x="103" y="5"/>
                    <a:pt x="102" y="5"/>
                    <a:pt x="101" y="5"/>
                  </a:cubicBezTo>
                  <a:cubicBezTo>
                    <a:pt x="100" y="5"/>
                    <a:pt x="100" y="5"/>
                    <a:pt x="100" y="5"/>
                  </a:cubicBezTo>
                  <a:cubicBezTo>
                    <a:pt x="100" y="8"/>
                    <a:pt x="102" y="8"/>
                    <a:pt x="103" y="9"/>
                  </a:cubicBezTo>
                  <a:cubicBezTo>
                    <a:pt x="102" y="9"/>
                    <a:pt x="100" y="8"/>
                    <a:pt x="99" y="8"/>
                  </a:cubicBezTo>
                  <a:cubicBezTo>
                    <a:pt x="99" y="8"/>
                    <a:pt x="98" y="8"/>
                    <a:pt x="98" y="9"/>
                  </a:cubicBezTo>
                  <a:cubicBezTo>
                    <a:pt x="97" y="9"/>
                    <a:pt x="97" y="9"/>
                    <a:pt x="97" y="9"/>
                  </a:cubicBezTo>
                  <a:cubicBezTo>
                    <a:pt x="97" y="9"/>
                    <a:pt x="97" y="9"/>
                    <a:pt x="97" y="9"/>
                  </a:cubicBezTo>
                  <a:cubicBezTo>
                    <a:pt x="97" y="9"/>
                    <a:pt x="97" y="9"/>
                    <a:pt x="97" y="9"/>
                  </a:cubicBezTo>
                  <a:cubicBezTo>
                    <a:pt x="96" y="9"/>
                    <a:pt x="97" y="9"/>
                    <a:pt x="97" y="11"/>
                  </a:cubicBezTo>
                  <a:cubicBezTo>
                    <a:pt x="97" y="12"/>
                    <a:pt x="98" y="13"/>
                    <a:pt x="96" y="15"/>
                  </a:cubicBezTo>
                  <a:cubicBezTo>
                    <a:pt x="94" y="17"/>
                    <a:pt x="88" y="14"/>
                    <a:pt x="88" y="19"/>
                  </a:cubicBezTo>
                  <a:cubicBezTo>
                    <a:pt x="89" y="19"/>
                    <a:pt x="90" y="18"/>
                    <a:pt x="91" y="18"/>
                  </a:cubicBezTo>
                  <a:cubicBezTo>
                    <a:pt x="90" y="22"/>
                    <a:pt x="90" y="22"/>
                    <a:pt x="90" y="22"/>
                  </a:cubicBezTo>
                  <a:cubicBezTo>
                    <a:pt x="89" y="22"/>
                    <a:pt x="89" y="22"/>
                    <a:pt x="88" y="22"/>
                  </a:cubicBezTo>
                  <a:cubicBezTo>
                    <a:pt x="87" y="22"/>
                    <a:pt x="86" y="22"/>
                    <a:pt x="86" y="22"/>
                  </a:cubicBezTo>
                  <a:cubicBezTo>
                    <a:pt x="85" y="24"/>
                    <a:pt x="88" y="24"/>
                    <a:pt x="91" y="24"/>
                  </a:cubicBezTo>
                  <a:cubicBezTo>
                    <a:pt x="95" y="24"/>
                    <a:pt x="99" y="24"/>
                    <a:pt x="100" y="24"/>
                  </a:cubicBezTo>
                  <a:cubicBezTo>
                    <a:pt x="98" y="26"/>
                    <a:pt x="93" y="33"/>
                    <a:pt x="90" y="34"/>
                  </a:cubicBezTo>
                  <a:cubicBezTo>
                    <a:pt x="90" y="34"/>
                    <a:pt x="90" y="34"/>
                    <a:pt x="90" y="34"/>
                  </a:cubicBezTo>
                  <a:cubicBezTo>
                    <a:pt x="90" y="34"/>
                    <a:pt x="88" y="33"/>
                    <a:pt x="88" y="33"/>
                  </a:cubicBezTo>
                  <a:cubicBezTo>
                    <a:pt x="88" y="32"/>
                    <a:pt x="87" y="32"/>
                    <a:pt x="87" y="32"/>
                  </a:cubicBezTo>
                  <a:cubicBezTo>
                    <a:pt x="87" y="32"/>
                    <a:pt x="87" y="32"/>
                    <a:pt x="86" y="32"/>
                  </a:cubicBezTo>
                  <a:cubicBezTo>
                    <a:pt x="86" y="32"/>
                    <a:pt x="86" y="32"/>
                    <a:pt x="86" y="32"/>
                  </a:cubicBezTo>
                  <a:cubicBezTo>
                    <a:pt x="86" y="32"/>
                    <a:pt x="85" y="32"/>
                    <a:pt x="85" y="32"/>
                  </a:cubicBezTo>
                  <a:cubicBezTo>
                    <a:pt x="84" y="32"/>
                    <a:pt x="83" y="31"/>
                    <a:pt x="82" y="31"/>
                  </a:cubicBezTo>
                  <a:cubicBezTo>
                    <a:pt x="81" y="31"/>
                    <a:pt x="80" y="31"/>
                    <a:pt x="80" y="31"/>
                  </a:cubicBezTo>
                  <a:cubicBezTo>
                    <a:pt x="79" y="31"/>
                    <a:pt x="79" y="31"/>
                    <a:pt x="78" y="33"/>
                  </a:cubicBezTo>
                  <a:cubicBezTo>
                    <a:pt x="78" y="35"/>
                    <a:pt x="78" y="35"/>
                    <a:pt x="78" y="35"/>
                  </a:cubicBezTo>
                  <a:cubicBezTo>
                    <a:pt x="78" y="36"/>
                    <a:pt x="78" y="36"/>
                    <a:pt x="78" y="37"/>
                  </a:cubicBezTo>
                  <a:cubicBezTo>
                    <a:pt x="78" y="40"/>
                    <a:pt x="77" y="42"/>
                    <a:pt x="75" y="44"/>
                  </a:cubicBezTo>
                  <a:cubicBezTo>
                    <a:pt x="75" y="43"/>
                    <a:pt x="75" y="43"/>
                    <a:pt x="76" y="42"/>
                  </a:cubicBezTo>
                  <a:cubicBezTo>
                    <a:pt x="75" y="42"/>
                    <a:pt x="75" y="41"/>
                    <a:pt x="74" y="41"/>
                  </a:cubicBezTo>
                  <a:cubicBezTo>
                    <a:pt x="78" y="39"/>
                    <a:pt x="77" y="39"/>
                    <a:pt x="77" y="37"/>
                  </a:cubicBezTo>
                  <a:cubicBezTo>
                    <a:pt x="76" y="36"/>
                    <a:pt x="76" y="34"/>
                    <a:pt x="77" y="33"/>
                  </a:cubicBezTo>
                  <a:cubicBezTo>
                    <a:pt x="76" y="33"/>
                    <a:pt x="76" y="33"/>
                    <a:pt x="76" y="33"/>
                  </a:cubicBezTo>
                  <a:cubicBezTo>
                    <a:pt x="75" y="33"/>
                    <a:pt x="74" y="33"/>
                    <a:pt x="73" y="33"/>
                  </a:cubicBezTo>
                  <a:cubicBezTo>
                    <a:pt x="74" y="32"/>
                    <a:pt x="73" y="31"/>
                    <a:pt x="72" y="30"/>
                  </a:cubicBezTo>
                  <a:cubicBezTo>
                    <a:pt x="72" y="31"/>
                    <a:pt x="71" y="33"/>
                    <a:pt x="69" y="34"/>
                  </a:cubicBezTo>
                  <a:cubicBezTo>
                    <a:pt x="70" y="31"/>
                    <a:pt x="69" y="32"/>
                    <a:pt x="67" y="31"/>
                  </a:cubicBezTo>
                  <a:cubicBezTo>
                    <a:pt x="65" y="30"/>
                    <a:pt x="65" y="28"/>
                    <a:pt x="62" y="27"/>
                  </a:cubicBezTo>
                  <a:cubicBezTo>
                    <a:pt x="63" y="29"/>
                    <a:pt x="59" y="28"/>
                    <a:pt x="59" y="30"/>
                  </a:cubicBezTo>
                  <a:cubicBezTo>
                    <a:pt x="59" y="30"/>
                    <a:pt x="60" y="32"/>
                    <a:pt x="60" y="33"/>
                  </a:cubicBezTo>
                  <a:cubicBezTo>
                    <a:pt x="59" y="33"/>
                    <a:pt x="58" y="33"/>
                    <a:pt x="58" y="33"/>
                  </a:cubicBezTo>
                  <a:cubicBezTo>
                    <a:pt x="57" y="33"/>
                    <a:pt x="57" y="33"/>
                    <a:pt x="57" y="33"/>
                  </a:cubicBezTo>
                  <a:cubicBezTo>
                    <a:pt x="57" y="33"/>
                    <a:pt x="57" y="34"/>
                    <a:pt x="56" y="35"/>
                  </a:cubicBezTo>
                  <a:cubicBezTo>
                    <a:pt x="56" y="35"/>
                    <a:pt x="57" y="37"/>
                    <a:pt x="57" y="38"/>
                  </a:cubicBezTo>
                  <a:cubicBezTo>
                    <a:pt x="57" y="38"/>
                    <a:pt x="57" y="38"/>
                    <a:pt x="57" y="38"/>
                  </a:cubicBezTo>
                  <a:cubicBezTo>
                    <a:pt x="56" y="38"/>
                    <a:pt x="55" y="36"/>
                    <a:pt x="55" y="36"/>
                  </a:cubicBezTo>
                  <a:cubicBezTo>
                    <a:pt x="53" y="36"/>
                    <a:pt x="53" y="38"/>
                    <a:pt x="53" y="39"/>
                  </a:cubicBezTo>
                  <a:cubicBezTo>
                    <a:pt x="52" y="36"/>
                    <a:pt x="51" y="32"/>
                    <a:pt x="50" y="28"/>
                  </a:cubicBezTo>
                  <a:cubicBezTo>
                    <a:pt x="50" y="27"/>
                    <a:pt x="48" y="22"/>
                    <a:pt x="48" y="21"/>
                  </a:cubicBezTo>
                  <a:cubicBezTo>
                    <a:pt x="48" y="19"/>
                    <a:pt x="49" y="19"/>
                    <a:pt x="50" y="18"/>
                  </a:cubicBezTo>
                  <a:cubicBezTo>
                    <a:pt x="52" y="13"/>
                    <a:pt x="52" y="6"/>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311"/>
            <p:cNvSpPr>
              <a:spLocks noEditPoints="1"/>
            </p:cNvSpPr>
            <p:nvPr/>
          </p:nvSpPr>
          <p:spPr bwMode="auto">
            <a:xfrm>
              <a:off x="5551" y="2504"/>
              <a:ext cx="426" cy="506"/>
            </a:xfrm>
            <a:custGeom>
              <a:gdLst>
                <a:gd name="T0" fmla="*/ 44 w 180"/>
                <a:gd name="T1" fmla="*/ 0 h 214"/>
                <a:gd name="T2" fmla="*/ 8 w 180"/>
                <a:gd name="T3" fmla="*/ 3 h 214"/>
                <a:gd name="T4" fmla="*/ 4 w 180"/>
                <a:gd name="T5" fmla="*/ 7 h 214"/>
                <a:gd name="T6" fmla="*/ 7 w 180"/>
                <a:gd name="T7" fmla="*/ 14 h 214"/>
                <a:gd name="T8" fmla="*/ 11 w 180"/>
                <a:gd name="T9" fmla="*/ 16 h 214"/>
                <a:gd name="T10" fmla="*/ 14 w 180"/>
                <a:gd name="T11" fmla="*/ 20 h 214"/>
                <a:gd name="T12" fmla="*/ 20 w 180"/>
                <a:gd name="T13" fmla="*/ 37 h 214"/>
                <a:gd name="T14" fmla="*/ 32 w 180"/>
                <a:gd name="T15" fmla="*/ 55 h 214"/>
                <a:gd name="T16" fmla="*/ 26 w 180"/>
                <a:gd name="T17" fmla="*/ 59 h 214"/>
                <a:gd name="T18" fmla="*/ 22 w 180"/>
                <a:gd name="T19" fmla="*/ 73 h 214"/>
                <a:gd name="T20" fmla="*/ 17 w 180"/>
                <a:gd name="T21" fmla="*/ 81 h 214"/>
                <a:gd name="T22" fmla="*/ 13 w 180"/>
                <a:gd name="T23" fmla="*/ 83 h 214"/>
                <a:gd name="T24" fmla="*/ 9 w 180"/>
                <a:gd name="T25" fmla="*/ 91 h 214"/>
                <a:gd name="T26" fmla="*/ 3 w 180"/>
                <a:gd name="T27" fmla="*/ 100 h 214"/>
                <a:gd name="T28" fmla="*/ 1 w 180"/>
                <a:gd name="T29" fmla="*/ 103 h 214"/>
                <a:gd name="T30" fmla="*/ 5 w 180"/>
                <a:gd name="T31" fmla="*/ 113 h 214"/>
                <a:gd name="T32" fmla="*/ 18 w 180"/>
                <a:gd name="T33" fmla="*/ 108 h 214"/>
                <a:gd name="T34" fmla="*/ 19 w 180"/>
                <a:gd name="T35" fmla="*/ 112 h 214"/>
                <a:gd name="T36" fmla="*/ 15 w 180"/>
                <a:gd name="T37" fmla="*/ 114 h 214"/>
                <a:gd name="T38" fmla="*/ 13 w 180"/>
                <a:gd name="T39" fmla="*/ 113 h 214"/>
                <a:gd name="T40" fmla="*/ 11 w 180"/>
                <a:gd name="T41" fmla="*/ 118 h 214"/>
                <a:gd name="T42" fmla="*/ 8 w 180"/>
                <a:gd name="T43" fmla="*/ 116 h 214"/>
                <a:gd name="T44" fmla="*/ 6 w 180"/>
                <a:gd name="T45" fmla="*/ 116 h 214"/>
                <a:gd name="T46" fmla="*/ 4 w 180"/>
                <a:gd name="T47" fmla="*/ 126 h 214"/>
                <a:gd name="T48" fmla="*/ 77 w 180"/>
                <a:gd name="T49" fmla="*/ 169 h 214"/>
                <a:gd name="T50" fmla="*/ 83 w 180"/>
                <a:gd name="T51" fmla="*/ 173 h 214"/>
                <a:gd name="T52" fmla="*/ 90 w 180"/>
                <a:gd name="T53" fmla="*/ 182 h 214"/>
                <a:gd name="T54" fmla="*/ 108 w 180"/>
                <a:gd name="T55" fmla="*/ 201 h 214"/>
                <a:gd name="T56" fmla="*/ 116 w 180"/>
                <a:gd name="T57" fmla="*/ 207 h 214"/>
                <a:gd name="T58" fmla="*/ 132 w 180"/>
                <a:gd name="T59" fmla="*/ 206 h 214"/>
                <a:gd name="T60" fmla="*/ 136 w 180"/>
                <a:gd name="T61" fmla="*/ 190 h 214"/>
                <a:gd name="T62" fmla="*/ 158 w 180"/>
                <a:gd name="T63" fmla="*/ 162 h 214"/>
                <a:gd name="T64" fmla="*/ 164 w 180"/>
                <a:gd name="T65" fmla="*/ 159 h 214"/>
                <a:gd name="T66" fmla="*/ 163 w 180"/>
                <a:gd name="T67" fmla="*/ 156 h 214"/>
                <a:gd name="T68" fmla="*/ 165 w 180"/>
                <a:gd name="T69" fmla="*/ 150 h 214"/>
                <a:gd name="T70" fmla="*/ 176 w 180"/>
                <a:gd name="T71" fmla="*/ 147 h 214"/>
                <a:gd name="T72" fmla="*/ 165 w 180"/>
                <a:gd name="T73" fmla="*/ 131 h 214"/>
                <a:gd name="T74" fmla="*/ 162 w 180"/>
                <a:gd name="T75" fmla="*/ 110 h 214"/>
                <a:gd name="T76" fmla="*/ 162 w 180"/>
                <a:gd name="T77" fmla="*/ 47 h 214"/>
                <a:gd name="T78" fmla="*/ 165 w 180"/>
                <a:gd name="T79" fmla="*/ 33 h 214"/>
                <a:gd name="T80" fmla="*/ 170 w 180"/>
                <a:gd name="T81" fmla="*/ 27 h 214"/>
                <a:gd name="T82" fmla="*/ 172 w 180"/>
                <a:gd name="T83" fmla="*/ 16 h 214"/>
                <a:gd name="T84" fmla="*/ 159 w 180"/>
                <a:gd name="T85" fmla="*/ 8 h 214"/>
                <a:gd name="T86" fmla="*/ 132 w 180"/>
                <a:gd name="T87" fmla="*/ 28 h 214"/>
                <a:gd name="T88" fmla="*/ 128 w 180"/>
                <a:gd name="T89" fmla="*/ 28 h 214"/>
                <a:gd name="T90" fmla="*/ 115 w 180"/>
                <a:gd name="T91" fmla="*/ 25 h 214"/>
                <a:gd name="T92" fmla="*/ 91 w 180"/>
                <a:gd name="T93" fmla="*/ 20 h 214"/>
                <a:gd name="T94" fmla="*/ 75 w 180"/>
                <a:gd name="T95" fmla="*/ 9 h 214"/>
                <a:gd name="T96" fmla="*/ 68 w 180"/>
                <a:gd name="T97" fmla="*/ 6 h 214"/>
                <a:gd name="T98" fmla="*/ 62 w 180"/>
                <a:gd name="T99" fmla="*/ 4 h 2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214">
                  <a:moveTo>
                    <a:pt x="164" y="158"/>
                  </a:moveTo>
                  <a:cubicBezTo>
                    <a:pt x="164" y="158"/>
                    <a:pt x="164" y="158"/>
                    <a:pt x="164" y="158"/>
                  </a:cubicBezTo>
                  <a:cubicBezTo>
                    <a:pt x="164" y="158"/>
                    <a:pt x="164" y="158"/>
                    <a:pt x="164" y="158"/>
                  </a:cubicBezTo>
                  <a:moveTo>
                    <a:pt x="44" y="0"/>
                  </a:moveTo>
                  <a:cubicBezTo>
                    <a:pt x="41" y="0"/>
                    <a:pt x="41" y="0"/>
                    <a:pt x="41" y="0"/>
                  </a:cubicBezTo>
                  <a:cubicBezTo>
                    <a:pt x="11" y="0"/>
                    <a:pt x="11" y="0"/>
                    <a:pt x="11" y="0"/>
                  </a:cubicBezTo>
                  <a:cubicBezTo>
                    <a:pt x="10" y="0"/>
                    <a:pt x="10" y="0"/>
                    <a:pt x="9" y="1"/>
                  </a:cubicBezTo>
                  <a:cubicBezTo>
                    <a:pt x="8" y="2"/>
                    <a:pt x="8" y="2"/>
                    <a:pt x="8" y="3"/>
                  </a:cubicBezTo>
                  <a:cubicBezTo>
                    <a:pt x="7" y="3"/>
                    <a:pt x="7" y="4"/>
                    <a:pt x="6" y="4"/>
                  </a:cubicBezTo>
                  <a:cubicBezTo>
                    <a:pt x="6" y="4"/>
                    <a:pt x="6" y="4"/>
                    <a:pt x="6" y="4"/>
                  </a:cubicBezTo>
                  <a:cubicBezTo>
                    <a:pt x="4" y="7"/>
                    <a:pt x="4" y="7"/>
                    <a:pt x="4" y="7"/>
                  </a:cubicBezTo>
                  <a:cubicBezTo>
                    <a:pt x="4" y="7"/>
                    <a:pt x="4" y="7"/>
                    <a:pt x="4" y="7"/>
                  </a:cubicBezTo>
                  <a:cubicBezTo>
                    <a:pt x="4" y="8"/>
                    <a:pt x="4" y="8"/>
                    <a:pt x="4" y="9"/>
                  </a:cubicBezTo>
                  <a:cubicBezTo>
                    <a:pt x="5" y="10"/>
                    <a:pt x="5" y="10"/>
                    <a:pt x="5" y="10"/>
                  </a:cubicBezTo>
                  <a:cubicBezTo>
                    <a:pt x="5" y="11"/>
                    <a:pt x="5" y="12"/>
                    <a:pt x="6" y="13"/>
                  </a:cubicBezTo>
                  <a:cubicBezTo>
                    <a:pt x="6" y="14"/>
                    <a:pt x="6" y="14"/>
                    <a:pt x="7" y="14"/>
                  </a:cubicBezTo>
                  <a:cubicBezTo>
                    <a:pt x="7" y="15"/>
                    <a:pt x="7" y="15"/>
                    <a:pt x="8" y="15"/>
                  </a:cubicBezTo>
                  <a:cubicBezTo>
                    <a:pt x="8" y="15"/>
                    <a:pt x="8" y="15"/>
                    <a:pt x="8" y="15"/>
                  </a:cubicBezTo>
                  <a:cubicBezTo>
                    <a:pt x="9" y="15"/>
                    <a:pt x="10" y="16"/>
                    <a:pt x="11" y="16"/>
                  </a:cubicBezTo>
                  <a:cubicBezTo>
                    <a:pt x="11" y="16"/>
                    <a:pt x="11" y="16"/>
                    <a:pt x="11" y="16"/>
                  </a:cubicBezTo>
                  <a:cubicBezTo>
                    <a:pt x="12" y="17"/>
                    <a:pt x="13" y="17"/>
                    <a:pt x="13" y="18"/>
                  </a:cubicBezTo>
                  <a:cubicBezTo>
                    <a:pt x="13" y="18"/>
                    <a:pt x="13" y="18"/>
                    <a:pt x="13" y="18"/>
                  </a:cubicBezTo>
                  <a:cubicBezTo>
                    <a:pt x="14" y="19"/>
                    <a:pt x="14" y="19"/>
                    <a:pt x="14" y="19"/>
                  </a:cubicBezTo>
                  <a:cubicBezTo>
                    <a:pt x="14" y="20"/>
                    <a:pt x="14" y="20"/>
                    <a:pt x="14" y="20"/>
                  </a:cubicBezTo>
                  <a:cubicBezTo>
                    <a:pt x="15" y="22"/>
                    <a:pt x="15" y="25"/>
                    <a:pt x="16" y="28"/>
                  </a:cubicBezTo>
                  <a:cubicBezTo>
                    <a:pt x="16" y="30"/>
                    <a:pt x="16" y="30"/>
                    <a:pt x="16" y="30"/>
                  </a:cubicBezTo>
                  <a:cubicBezTo>
                    <a:pt x="16" y="32"/>
                    <a:pt x="17" y="33"/>
                    <a:pt x="19" y="35"/>
                  </a:cubicBezTo>
                  <a:cubicBezTo>
                    <a:pt x="20" y="37"/>
                    <a:pt x="20" y="37"/>
                    <a:pt x="20" y="37"/>
                  </a:cubicBezTo>
                  <a:cubicBezTo>
                    <a:pt x="20" y="37"/>
                    <a:pt x="20" y="38"/>
                    <a:pt x="21" y="38"/>
                  </a:cubicBezTo>
                  <a:cubicBezTo>
                    <a:pt x="23" y="42"/>
                    <a:pt x="25" y="45"/>
                    <a:pt x="25" y="47"/>
                  </a:cubicBezTo>
                  <a:cubicBezTo>
                    <a:pt x="25" y="51"/>
                    <a:pt x="25" y="53"/>
                    <a:pt x="26" y="57"/>
                  </a:cubicBezTo>
                  <a:cubicBezTo>
                    <a:pt x="32" y="55"/>
                    <a:pt x="32" y="55"/>
                    <a:pt x="32" y="55"/>
                  </a:cubicBezTo>
                  <a:cubicBezTo>
                    <a:pt x="26" y="58"/>
                    <a:pt x="26" y="58"/>
                    <a:pt x="26" y="58"/>
                  </a:cubicBezTo>
                  <a:cubicBezTo>
                    <a:pt x="26" y="59"/>
                    <a:pt x="26" y="59"/>
                    <a:pt x="26" y="59"/>
                  </a:cubicBezTo>
                  <a:cubicBezTo>
                    <a:pt x="26" y="59"/>
                    <a:pt x="26" y="59"/>
                    <a:pt x="26" y="59"/>
                  </a:cubicBezTo>
                  <a:cubicBezTo>
                    <a:pt x="26" y="59"/>
                    <a:pt x="26" y="59"/>
                    <a:pt x="26" y="59"/>
                  </a:cubicBezTo>
                  <a:cubicBezTo>
                    <a:pt x="27" y="62"/>
                    <a:pt x="26" y="65"/>
                    <a:pt x="24" y="69"/>
                  </a:cubicBezTo>
                  <a:cubicBezTo>
                    <a:pt x="23" y="70"/>
                    <a:pt x="23" y="70"/>
                    <a:pt x="23" y="70"/>
                  </a:cubicBezTo>
                  <a:cubicBezTo>
                    <a:pt x="23" y="71"/>
                    <a:pt x="23" y="71"/>
                    <a:pt x="23" y="72"/>
                  </a:cubicBezTo>
                  <a:cubicBezTo>
                    <a:pt x="22" y="72"/>
                    <a:pt x="22" y="73"/>
                    <a:pt x="22" y="73"/>
                  </a:cubicBezTo>
                  <a:cubicBezTo>
                    <a:pt x="22" y="73"/>
                    <a:pt x="22" y="73"/>
                    <a:pt x="22" y="73"/>
                  </a:cubicBezTo>
                  <a:cubicBezTo>
                    <a:pt x="22" y="74"/>
                    <a:pt x="22" y="74"/>
                    <a:pt x="22" y="74"/>
                  </a:cubicBezTo>
                  <a:cubicBezTo>
                    <a:pt x="22" y="75"/>
                    <a:pt x="23" y="77"/>
                    <a:pt x="22" y="78"/>
                  </a:cubicBezTo>
                  <a:cubicBezTo>
                    <a:pt x="21" y="80"/>
                    <a:pt x="19" y="80"/>
                    <a:pt x="17" y="81"/>
                  </a:cubicBezTo>
                  <a:cubicBezTo>
                    <a:pt x="17" y="81"/>
                    <a:pt x="17" y="81"/>
                    <a:pt x="17" y="81"/>
                  </a:cubicBezTo>
                  <a:cubicBezTo>
                    <a:pt x="16" y="84"/>
                    <a:pt x="16" y="84"/>
                    <a:pt x="16" y="84"/>
                  </a:cubicBezTo>
                  <a:cubicBezTo>
                    <a:pt x="14" y="83"/>
                    <a:pt x="14" y="83"/>
                    <a:pt x="14" y="83"/>
                  </a:cubicBezTo>
                  <a:cubicBezTo>
                    <a:pt x="13" y="83"/>
                    <a:pt x="13" y="83"/>
                    <a:pt x="13" y="83"/>
                  </a:cubicBezTo>
                  <a:cubicBezTo>
                    <a:pt x="13" y="84"/>
                    <a:pt x="12" y="85"/>
                    <a:pt x="12" y="86"/>
                  </a:cubicBezTo>
                  <a:cubicBezTo>
                    <a:pt x="11" y="87"/>
                    <a:pt x="11" y="87"/>
                    <a:pt x="11" y="87"/>
                  </a:cubicBezTo>
                  <a:cubicBezTo>
                    <a:pt x="11" y="88"/>
                    <a:pt x="11" y="88"/>
                    <a:pt x="10" y="89"/>
                  </a:cubicBezTo>
                  <a:cubicBezTo>
                    <a:pt x="10" y="89"/>
                    <a:pt x="9" y="90"/>
                    <a:pt x="9" y="91"/>
                  </a:cubicBezTo>
                  <a:cubicBezTo>
                    <a:pt x="8" y="92"/>
                    <a:pt x="8" y="92"/>
                    <a:pt x="8" y="92"/>
                  </a:cubicBezTo>
                  <a:cubicBezTo>
                    <a:pt x="7" y="93"/>
                    <a:pt x="6" y="94"/>
                    <a:pt x="6" y="95"/>
                  </a:cubicBezTo>
                  <a:cubicBezTo>
                    <a:pt x="5" y="96"/>
                    <a:pt x="5" y="96"/>
                    <a:pt x="5" y="97"/>
                  </a:cubicBezTo>
                  <a:cubicBezTo>
                    <a:pt x="5" y="98"/>
                    <a:pt x="4" y="99"/>
                    <a:pt x="3" y="100"/>
                  </a:cubicBezTo>
                  <a:cubicBezTo>
                    <a:pt x="3" y="100"/>
                    <a:pt x="3" y="100"/>
                    <a:pt x="3" y="100"/>
                  </a:cubicBezTo>
                  <a:cubicBezTo>
                    <a:pt x="3" y="101"/>
                    <a:pt x="3" y="102"/>
                    <a:pt x="3" y="102"/>
                  </a:cubicBezTo>
                  <a:cubicBezTo>
                    <a:pt x="2" y="103"/>
                    <a:pt x="2" y="103"/>
                    <a:pt x="2" y="103"/>
                  </a:cubicBezTo>
                  <a:cubicBezTo>
                    <a:pt x="1" y="103"/>
                    <a:pt x="1" y="103"/>
                    <a:pt x="1" y="103"/>
                  </a:cubicBezTo>
                  <a:cubicBezTo>
                    <a:pt x="1" y="104"/>
                    <a:pt x="1" y="104"/>
                    <a:pt x="1" y="104"/>
                  </a:cubicBezTo>
                  <a:cubicBezTo>
                    <a:pt x="0" y="104"/>
                    <a:pt x="0" y="104"/>
                    <a:pt x="0" y="104"/>
                  </a:cubicBezTo>
                  <a:cubicBezTo>
                    <a:pt x="0" y="105"/>
                    <a:pt x="0" y="106"/>
                    <a:pt x="1" y="106"/>
                  </a:cubicBezTo>
                  <a:cubicBezTo>
                    <a:pt x="2" y="108"/>
                    <a:pt x="4" y="111"/>
                    <a:pt x="5" y="113"/>
                  </a:cubicBezTo>
                  <a:cubicBezTo>
                    <a:pt x="6" y="114"/>
                    <a:pt x="7" y="114"/>
                    <a:pt x="7" y="114"/>
                  </a:cubicBezTo>
                  <a:cubicBezTo>
                    <a:pt x="7" y="114"/>
                    <a:pt x="7" y="114"/>
                    <a:pt x="8" y="114"/>
                  </a:cubicBezTo>
                  <a:cubicBezTo>
                    <a:pt x="10" y="112"/>
                    <a:pt x="8" y="111"/>
                    <a:pt x="8" y="111"/>
                  </a:cubicBezTo>
                  <a:cubicBezTo>
                    <a:pt x="9" y="110"/>
                    <a:pt x="16" y="108"/>
                    <a:pt x="18" y="108"/>
                  </a:cubicBezTo>
                  <a:cubicBezTo>
                    <a:pt x="17" y="110"/>
                    <a:pt x="20" y="111"/>
                    <a:pt x="20" y="112"/>
                  </a:cubicBezTo>
                  <a:cubicBezTo>
                    <a:pt x="20" y="113"/>
                    <a:pt x="20" y="113"/>
                    <a:pt x="20" y="113"/>
                  </a:cubicBezTo>
                  <a:cubicBezTo>
                    <a:pt x="20" y="113"/>
                    <a:pt x="19" y="113"/>
                    <a:pt x="19" y="113"/>
                  </a:cubicBezTo>
                  <a:cubicBezTo>
                    <a:pt x="19" y="112"/>
                    <a:pt x="19" y="112"/>
                    <a:pt x="19" y="112"/>
                  </a:cubicBezTo>
                  <a:cubicBezTo>
                    <a:pt x="19" y="112"/>
                    <a:pt x="19" y="112"/>
                    <a:pt x="19" y="112"/>
                  </a:cubicBezTo>
                  <a:cubicBezTo>
                    <a:pt x="17" y="113"/>
                    <a:pt x="18" y="113"/>
                    <a:pt x="16" y="114"/>
                  </a:cubicBezTo>
                  <a:cubicBezTo>
                    <a:pt x="16" y="114"/>
                    <a:pt x="16" y="114"/>
                    <a:pt x="16" y="114"/>
                  </a:cubicBezTo>
                  <a:cubicBezTo>
                    <a:pt x="16" y="114"/>
                    <a:pt x="15" y="114"/>
                    <a:pt x="15" y="114"/>
                  </a:cubicBezTo>
                  <a:cubicBezTo>
                    <a:pt x="15" y="113"/>
                    <a:pt x="14" y="113"/>
                    <a:pt x="14" y="113"/>
                  </a:cubicBezTo>
                  <a:cubicBezTo>
                    <a:pt x="14" y="113"/>
                    <a:pt x="14" y="113"/>
                    <a:pt x="14" y="113"/>
                  </a:cubicBezTo>
                  <a:cubicBezTo>
                    <a:pt x="14" y="113"/>
                    <a:pt x="14" y="113"/>
                    <a:pt x="13" y="113"/>
                  </a:cubicBezTo>
                  <a:cubicBezTo>
                    <a:pt x="13" y="113"/>
                    <a:pt x="13" y="113"/>
                    <a:pt x="13" y="113"/>
                  </a:cubicBezTo>
                  <a:cubicBezTo>
                    <a:pt x="13" y="113"/>
                    <a:pt x="13" y="113"/>
                    <a:pt x="13" y="113"/>
                  </a:cubicBezTo>
                  <a:cubicBezTo>
                    <a:pt x="12" y="113"/>
                    <a:pt x="12" y="114"/>
                    <a:pt x="12" y="115"/>
                  </a:cubicBezTo>
                  <a:cubicBezTo>
                    <a:pt x="12" y="116"/>
                    <a:pt x="12" y="117"/>
                    <a:pt x="11" y="117"/>
                  </a:cubicBezTo>
                  <a:cubicBezTo>
                    <a:pt x="11" y="118"/>
                    <a:pt x="11" y="118"/>
                    <a:pt x="11" y="118"/>
                  </a:cubicBezTo>
                  <a:cubicBezTo>
                    <a:pt x="10" y="118"/>
                    <a:pt x="10" y="116"/>
                    <a:pt x="9" y="116"/>
                  </a:cubicBezTo>
                  <a:cubicBezTo>
                    <a:pt x="9" y="116"/>
                    <a:pt x="9" y="116"/>
                    <a:pt x="9" y="116"/>
                  </a:cubicBezTo>
                  <a:cubicBezTo>
                    <a:pt x="9" y="116"/>
                    <a:pt x="9" y="116"/>
                    <a:pt x="9" y="116"/>
                  </a:cubicBezTo>
                  <a:cubicBezTo>
                    <a:pt x="9" y="116"/>
                    <a:pt x="8" y="116"/>
                    <a:pt x="8" y="116"/>
                  </a:cubicBezTo>
                  <a:cubicBezTo>
                    <a:pt x="8" y="116"/>
                    <a:pt x="8" y="116"/>
                    <a:pt x="8" y="116"/>
                  </a:cubicBezTo>
                  <a:cubicBezTo>
                    <a:pt x="7" y="116"/>
                    <a:pt x="7" y="116"/>
                    <a:pt x="7" y="116"/>
                  </a:cubicBezTo>
                  <a:cubicBezTo>
                    <a:pt x="7" y="116"/>
                    <a:pt x="7" y="116"/>
                    <a:pt x="7" y="116"/>
                  </a:cubicBezTo>
                  <a:cubicBezTo>
                    <a:pt x="6" y="116"/>
                    <a:pt x="6" y="116"/>
                    <a:pt x="6" y="116"/>
                  </a:cubicBezTo>
                  <a:cubicBezTo>
                    <a:pt x="6" y="116"/>
                    <a:pt x="6" y="116"/>
                    <a:pt x="6" y="116"/>
                  </a:cubicBezTo>
                  <a:cubicBezTo>
                    <a:pt x="4" y="116"/>
                    <a:pt x="5" y="116"/>
                    <a:pt x="4" y="117"/>
                  </a:cubicBezTo>
                  <a:cubicBezTo>
                    <a:pt x="3" y="118"/>
                    <a:pt x="1" y="122"/>
                    <a:pt x="2" y="123"/>
                  </a:cubicBezTo>
                  <a:cubicBezTo>
                    <a:pt x="2" y="124"/>
                    <a:pt x="4" y="125"/>
                    <a:pt x="4" y="126"/>
                  </a:cubicBezTo>
                  <a:cubicBezTo>
                    <a:pt x="4" y="126"/>
                    <a:pt x="4" y="127"/>
                    <a:pt x="4" y="127"/>
                  </a:cubicBezTo>
                  <a:cubicBezTo>
                    <a:pt x="16" y="134"/>
                    <a:pt x="29" y="141"/>
                    <a:pt x="41" y="149"/>
                  </a:cubicBezTo>
                  <a:cubicBezTo>
                    <a:pt x="53" y="155"/>
                    <a:pt x="64" y="161"/>
                    <a:pt x="75" y="167"/>
                  </a:cubicBezTo>
                  <a:cubicBezTo>
                    <a:pt x="77" y="169"/>
                    <a:pt x="77" y="169"/>
                    <a:pt x="77" y="169"/>
                  </a:cubicBezTo>
                  <a:cubicBezTo>
                    <a:pt x="79" y="170"/>
                    <a:pt x="81" y="171"/>
                    <a:pt x="82" y="173"/>
                  </a:cubicBezTo>
                  <a:cubicBezTo>
                    <a:pt x="82" y="174"/>
                    <a:pt x="82" y="174"/>
                    <a:pt x="82" y="174"/>
                  </a:cubicBezTo>
                  <a:cubicBezTo>
                    <a:pt x="82" y="173"/>
                    <a:pt x="82" y="173"/>
                    <a:pt x="82" y="173"/>
                  </a:cubicBezTo>
                  <a:cubicBezTo>
                    <a:pt x="83" y="173"/>
                    <a:pt x="83" y="173"/>
                    <a:pt x="83" y="173"/>
                  </a:cubicBezTo>
                  <a:cubicBezTo>
                    <a:pt x="83" y="173"/>
                    <a:pt x="84" y="174"/>
                    <a:pt x="84" y="174"/>
                  </a:cubicBezTo>
                  <a:cubicBezTo>
                    <a:pt x="86" y="175"/>
                    <a:pt x="86" y="175"/>
                    <a:pt x="86" y="175"/>
                  </a:cubicBezTo>
                  <a:cubicBezTo>
                    <a:pt x="87" y="177"/>
                    <a:pt x="89" y="178"/>
                    <a:pt x="89" y="179"/>
                  </a:cubicBezTo>
                  <a:cubicBezTo>
                    <a:pt x="90" y="180"/>
                    <a:pt x="90" y="181"/>
                    <a:pt x="90" y="182"/>
                  </a:cubicBezTo>
                  <a:cubicBezTo>
                    <a:pt x="90" y="183"/>
                    <a:pt x="89" y="184"/>
                    <a:pt x="89" y="185"/>
                  </a:cubicBezTo>
                  <a:cubicBezTo>
                    <a:pt x="89" y="186"/>
                    <a:pt x="89" y="186"/>
                    <a:pt x="89" y="187"/>
                  </a:cubicBezTo>
                  <a:cubicBezTo>
                    <a:pt x="94" y="191"/>
                    <a:pt x="99" y="195"/>
                    <a:pt x="104" y="199"/>
                  </a:cubicBezTo>
                  <a:cubicBezTo>
                    <a:pt x="108" y="201"/>
                    <a:pt x="108" y="201"/>
                    <a:pt x="108" y="201"/>
                  </a:cubicBezTo>
                  <a:cubicBezTo>
                    <a:pt x="108" y="201"/>
                    <a:pt x="109" y="202"/>
                    <a:pt x="110" y="203"/>
                  </a:cubicBezTo>
                  <a:cubicBezTo>
                    <a:pt x="111" y="203"/>
                    <a:pt x="111" y="203"/>
                    <a:pt x="111" y="203"/>
                  </a:cubicBezTo>
                  <a:cubicBezTo>
                    <a:pt x="112" y="204"/>
                    <a:pt x="113" y="205"/>
                    <a:pt x="114" y="206"/>
                  </a:cubicBezTo>
                  <a:cubicBezTo>
                    <a:pt x="116" y="207"/>
                    <a:pt x="116" y="207"/>
                    <a:pt x="116" y="207"/>
                  </a:cubicBezTo>
                  <a:cubicBezTo>
                    <a:pt x="119" y="209"/>
                    <a:pt x="121" y="211"/>
                    <a:pt x="124" y="213"/>
                  </a:cubicBezTo>
                  <a:cubicBezTo>
                    <a:pt x="124" y="213"/>
                    <a:pt x="124" y="213"/>
                    <a:pt x="124" y="213"/>
                  </a:cubicBezTo>
                  <a:cubicBezTo>
                    <a:pt x="125" y="214"/>
                    <a:pt x="125" y="214"/>
                    <a:pt x="125" y="214"/>
                  </a:cubicBezTo>
                  <a:cubicBezTo>
                    <a:pt x="128" y="211"/>
                    <a:pt x="130" y="210"/>
                    <a:pt x="132" y="206"/>
                  </a:cubicBezTo>
                  <a:cubicBezTo>
                    <a:pt x="132" y="205"/>
                    <a:pt x="133" y="204"/>
                    <a:pt x="133" y="202"/>
                  </a:cubicBezTo>
                  <a:cubicBezTo>
                    <a:pt x="134" y="201"/>
                    <a:pt x="131" y="199"/>
                    <a:pt x="133" y="199"/>
                  </a:cubicBezTo>
                  <a:cubicBezTo>
                    <a:pt x="136" y="198"/>
                    <a:pt x="138" y="196"/>
                    <a:pt x="138" y="193"/>
                  </a:cubicBezTo>
                  <a:cubicBezTo>
                    <a:pt x="138" y="191"/>
                    <a:pt x="136" y="191"/>
                    <a:pt x="136" y="190"/>
                  </a:cubicBezTo>
                  <a:cubicBezTo>
                    <a:pt x="136" y="188"/>
                    <a:pt x="140" y="185"/>
                    <a:pt x="141" y="184"/>
                  </a:cubicBezTo>
                  <a:cubicBezTo>
                    <a:pt x="144" y="182"/>
                    <a:pt x="144" y="183"/>
                    <a:pt x="145" y="180"/>
                  </a:cubicBezTo>
                  <a:cubicBezTo>
                    <a:pt x="146" y="177"/>
                    <a:pt x="146" y="176"/>
                    <a:pt x="146" y="174"/>
                  </a:cubicBezTo>
                  <a:cubicBezTo>
                    <a:pt x="147" y="164"/>
                    <a:pt x="153" y="167"/>
                    <a:pt x="158" y="162"/>
                  </a:cubicBezTo>
                  <a:cubicBezTo>
                    <a:pt x="158" y="161"/>
                    <a:pt x="160" y="158"/>
                    <a:pt x="162" y="158"/>
                  </a:cubicBezTo>
                  <a:cubicBezTo>
                    <a:pt x="162" y="158"/>
                    <a:pt x="162" y="158"/>
                    <a:pt x="162" y="158"/>
                  </a:cubicBezTo>
                  <a:cubicBezTo>
                    <a:pt x="162" y="158"/>
                    <a:pt x="163" y="158"/>
                    <a:pt x="163" y="159"/>
                  </a:cubicBezTo>
                  <a:cubicBezTo>
                    <a:pt x="163" y="159"/>
                    <a:pt x="164" y="159"/>
                    <a:pt x="164" y="159"/>
                  </a:cubicBezTo>
                  <a:cubicBezTo>
                    <a:pt x="164" y="159"/>
                    <a:pt x="164" y="159"/>
                    <a:pt x="164" y="158"/>
                  </a:cubicBezTo>
                  <a:cubicBezTo>
                    <a:pt x="164" y="158"/>
                    <a:pt x="164" y="158"/>
                    <a:pt x="164" y="158"/>
                  </a:cubicBezTo>
                  <a:cubicBezTo>
                    <a:pt x="164" y="158"/>
                    <a:pt x="164" y="158"/>
                    <a:pt x="163" y="157"/>
                  </a:cubicBezTo>
                  <a:cubicBezTo>
                    <a:pt x="163" y="157"/>
                    <a:pt x="163" y="156"/>
                    <a:pt x="163" y="156"/>
                  </a:cubicBezTo>
                  <a:cubicBezTo>
                    <a:pt x="163" y="156"/>
                    <a:pt x="163" y="156"/>
                    <a:pt x="163" y="156"/>
                  </a:cubicBezTo>
                  <a:cubicBezTo>
                    <a:pt x="162" y="155"/>
                    <a:pt x="162" y="153"/>
                    <a:pt x="162" y="152"/>
                  </a:cubicBezTo>
                  <a:cubicBezTo>
                    <a:pt x="162" y="152"/>
                    <a:pt x="162" y="152"/>
                    <a:pt x="163" y="152"/>
                  </a:cubicBezTo>
                  <a:cubicBezTo>
                    <a:pt x="163" y="152"/>
                    <a:pt x="164" y="151"/>
                    <a:pt x="165" y="150"/>
                  </a:cubicBezTo>
                  <a:cubicBezTo>
                    <a:pt x="164" y="152"/>
                    <a:pt x="164" y="153"/>
                    <a:pt x="165" y="153"/>
                  </a:cubicBezTo>
                  <a:cubicBezTo>
                    <a:pt x="166" y="153"/>
                    <a:pt x="166" y="153"/>
                    <a:pt x="167" y="153"/>
                  </a:cubicBezTo>
                  <a:cubicBezTo>
                    <a:pt x="168" y="152"/>
                    <a:pt x="169" y="151"/>
                    <a:pt x="171" y="150"/>
                  </a:cubicBezTo>
                  <a:cubicBezTo>
                    <a:pt x="172" y="149"/>
                    <a:pt x="174" y="148"/>
                    <a:pt x="176" y="147"/>
                  </a:cubicBezTo>
                  <a:cubicBezTo>
                    <a:pt x="175" y="147"/>
                    <a:pt x="175" y="147"/>
                    <a:pt x="175" y="147"/>
                  </a:cubicBezTo>
                  <a:cubicBezTo>
                    <a:pt x="174" y="145"/>
                    <a:pt x="174" y="145"/>
                    <a:pt x="174" y="145"/>
                  </a:cubicBezTo>
                  <a:cubicBezTo>
                    <a:pt x="173" y="142"/>
                    <a:pt x="172" y="140"/>
                    <a:pt x="170" y="138"/>
                  </a:cubicBezTo>
                  <a:cubicBezTo>
                    <a:pt x="168" y="136"/>
                    <a:pt x="166" y="133"/>
                    <a:pt x="165" y="131"/>
                  </a:cubicBezTo>
                  <a:cubicBezTo>
                    <a:pt x="164" y="130"/>
                    <a:pt x="163" y="128"/>
                    <a:pt x="162" y="127"/>
                  </a:cubicBezTo>
                  <a:cubicBezTo>
                    <a:pt x="161" y="124"/>
                    <a:pt x="161" y="118"/>
                    <a:pt x="162" y="114"/>
                  </a:cubicBezTo>
                  <a:cubicBezTo>
                    <a:pt x="162" y="114"/>
                    <a:pt x="162" y="114"/>
                    <a:pt x="162" y="114"/>
                  </a:cubicBezTo>
                  <a:cubicBezTo>
                    <a:pt x="162" y="112"/>
                    <a:pt x="162" y="111"/>
                    <a:pt x="162" y="110"/>
                  </a:cubicBezTo>
                  <a:cubicBezTo>
                    <a:pt x="162" y="101"/>
                    <a:pt x="162" y="92"/>
                    <a:pt x="162" y="83"/>
                  </a:cubicBezTo>
                  <a:cubicBezTo>
                    <a:pt x="162" y="81"/>
                    <a:pt x="162" y="81"/>
                    <a:pt x="162" y="81"/>
                  </a:cubicBezTo>
                  <a:cubicBezTo>
                    <a:pt x="162" y="73"/>
                    <a:pt x="162" y="66"/>
                    <a:pt x="162" y="58"/>
                  </a:cubicBezTo>
                  <a:cubicBezTo>
                    <a:pt x="162" y="47"/>
                    <a:pt x="162" y="47"/>
                    <a:pt x="162" y="47"/>
                  </a:cubicBezTo>
                  <a:cubicBezTo>
                    <a:pt x="162" y="46"/>
                    <a:pt x="162" y="46"/>
                    <a:pt x="162" y="45"/>
                  </a:cubicBezTo>
                  <a:cubicBezTo>
                    <a:pt x="161" y="41"/>
                    <a:pt x="161" y="39"/>
                    <a:pt x="162" y="37"/>
                  </a:cubicBezTo>
                  <a:cubicBezTo>
                    <a:pt x="163" y="36"/>
                    <a:pt x="163" y="36"/>
                    <a:pt x="163" y="36"/>
                  </a:cubicBezTo>
                  <a:cubicBezTo>
                    <a:pt x="164" y="35"/>
                    <a:pt x="165" y="34"/>
                    <a:pt x="165" y="33"/>
                  </a:cubicBezTo>
                  <a:cubicBezTo>
                    <a:pt x="167" y="31"/>
                    <a:pt x="167" y="31"/>
                    <a:pt x="167" y="31"/>
                  </a:cubicBezTo>
                  <a:cubicBezTo>
                    <a:pt x="163" y="28"/>
                    <a:pt x="163" y="28"/>
                    <a:pt x="163" y="28"/>
                  </a:cubicBezTo>
                  <a:cubicBezTo>
                    <a:pt x="168" y="30"/>
                    <a:pt x="168" y="30"/>
                    <a:pt x="168" y="30"/>
                  </a:cubicBezTo>
                  <a:cubicBezTo>
                    <a:pt x="170" y="27"/>
                    <a:pt x="170" y="27"/>
                    <a:pt x="170" y="27"/>
                  </a:cubicBezTo>
                  <a:cubicBezTo>
                    <a:pt x="170" y="27"/>
                    <a:pt x="176" y="20"/>
                    <a:pt x="180" y="15"/>
                  </a:cubicBezTo>
                  <a:cubicBezTo>
                    <a:pt x="178" y="15"/>
                    <a:pt x="176" y="16"/>
                    <a:pt x="174" y="16"/>
                  </a:cubicBezTo>
                  <a:cubicBezTo>
                    <a:pt x="173" y="16"/>
                    <a:pt x="173" y="16"/>
                    <a:pt x="172" y="16"/>
                  </a:cubicBezTo>
                  <a:cubicBezTo>
                    <a:pt x="172" y="16"/>
                    <a:pt x="172" y="16"/>
                    <a:pt x="172" y="16"/>
                  </a:cubicBezTo>
                  <a:cubicBezTo>
                    <a:pt x="171" y="16"/>
                    <a:pt x="170" y="16"/>
                    <a:pt x="169" y="15"/>
                  </a:cubicBezTo>
                  <a:cubicBezTo>
                    <a:pt x="169" y="15"/>
                    <a:pt x="168" y="15"/>
                    <a:pt x="167" y="14"/>
                  </a:cubicBezTo>
                  <a:cubicBezTo>
                    <a:pt x="165" y="13"/>
                    <a:pt x="162" y="11"/>
                    <a:pt x="161" y="9"/>
                  </a:cubicBezTo>
                  <a:cubicBezTo>
                    <a:pt x="160" y="9"/>
                    <a:pt x="160" y="8"/>
                    <a:pt x="159" y="8"/>
                  </a:cubicBezTo>
                  <a:cubicBezTo>
                    <a:pt x="142" y="16"/>
                    <a:pt x="142" y="16"/>
                    <a:pt x="142" y="16"/>
                  </a:cubicBezTo>
                  <a:cubicBezTo>
                    <a:pt x="140" y="17"/>
                    <a:pt x="139" y="19"/>
                    <a:pt x="138" y="21"/>
                  </a:cubicBezTo>
                  <a:cubicBezTo>
                    <a:pt x="136" y="23"/>
                    <a:pt x="135" y="26"/>
                    <a:pt x="132" y="27"/>
                  </a:cubicBezTo>
                  <a:cubicBezTo>
                    <a:pt x="132" y="28"/>
                    <a:pt x="132" y="28"/>
                    <a:pt x="132" y="28"/>
                  </a:cubicBezTo>
                  <a:cubicBezTo>
                    <a:pt x="131" y="28"/>
                    <a:pt x="131" y="28"/>
                    <a:pt x="131" y="28"/>
                  </a:cubicBezTo>
                  <a:cubicBezTo>
                    <a:pt x="131" y="28"/>
                    <a:pt x="130" y="28"/>
                    <a:pt x="130" y="28"/>
                  </a:cubicBezTo>
                  <a:cubicBezTo>
                    <a:pt x="129" y="28"/>
                    <a:pt x="129" y="28"/>
                    <a:pt x="129" y="28"/>
                  </a:cubicBezTo>
                  <a:cubicBezTo>
                    <a:pt x="128" y="28"/>
                    <a:pt x="128" y="28"/>
                    <a:pt x="128" y="28"/>
                  </a:cubicBezTo>
                  <a:cubicBezTo>
                    <a:pt x="126" y="28"/>
                    <a:pt x="126" y="28"/>
                    <a:pt x="126" y="28"/>
                  </a:cubicBezTo>
                  <a:cubicBezTo>
                    <a:pt x="126" y="27"/>
                    <a:pt x="126" y="27"/>
                    <a:pt x="126" y="27"/>
                  </a:cubicBezTo>
                  <a:cubicBezTo>
                    <a:pt x="124" y="27"/>
                    <a:pt x="121" y="26"/>
                    <a:pt x="118" y="26"/>
                  </a:cubicBezTo>
                  <a:cubicBezTo>
                    <a:pt x="115" y="25"/>
                    <a:pt x="115" y="25"/>
                    <a:pt x="115" y="25"/>
                  </a:cubicBezTo>
                  <a:cubicBezTo>
                    <a:pt x="114" y="25"/>
                    <a:pt x="114" y="25"/>
                    <a:pt x="113" y="25"/>
                  </a:cubicBezTo>
                  <a:cubicBezTo>
                    <a:pt x="112" y="25"/>
                    <a:pt x="112" y="25"/>
                    <a:pt x="112" y="25"/>
                  </a:cubicBezTo>
                  <a:cubicBezTo>
                    <a:pt x="106" y="25"/>
                    <a:pt x="99" y="25"/>
                    <a:pt x="95" y="22"/>
                  </a:cubicBezTo>
                  <a:cubicBezTo>
                    <a:pt x="93" y="21"/>
                    <a:pt x="92" y="20"/>
                    <a:pt x="91" y="20"/>
                  </a:cubicBezTo>
                  <a:cubicBezTo>
                    <a:pt x="90" y="19"/>
                    <a:pt x="90" y="19"/>
                    <a:pt x="90" y="19"/>
                  </a:cubicBezTo>
                  <a:cubicBezTo>
                    <a:pt x="87" y="17"/>
                    <a:pt x="84" y="15"/>
                    <a:pt x="81" y="13"/>
                  </a:cubicBezTo>
                  <a:cubicBezTo>
                    <a:pt x="80" y="12"/>
                    <a:pt x="80" y="12"/>
                    <a:pt x="80" y="12"/>
                  </a:cubicBezTo>
                  <a:cubicBezTo>
                    <a:pt x="78" y="11"/>
                    <a:pt x="76" y="10"/>
                    <a:pt x="75" y="9"/>
                  </a:cubicBezTo>
                  <a:cubicBezTo>
                    <a:pt x="74" y="9"/>
                    <a:pt x="74" y="9"/>
                    <a:pt x="74" y="9"/>
                  </a:cubicBezTo>
                  <a:cubicBezTo>
                    <a:pt x="73" y="8"/>
                    <a:pt x="72" y="8"/>
                    <a:pt x="71" y="7"/>
                  </a:cubicBezTo>
                  <a:cubicBezTo>
                    <a:pt x="70" y="7"/>
                    <a:pt x="70" y="7"/>
                    <a:pt x="70" y="7"/>
                  </a:cubicBezTo>
                  <a:cubicBezTo>
                    <a:pt x="69" y="6"/>
                    <a:pt x="69" y="6"/>
                    <a:pt x="68" y="6"/>
                  </a:cubicBezTo>
                  <a:cubicBezTo>
                    <a:pt x="68" y="6"/>
                    <a:pt x="68" y="6"/>
                    <a:pt x="68" y="6"/>
                  </a:cubicBezTo>
                  <a:cubicBezTo>
                    <a:pt x="67" y="5"/>
                    <a:pt x="67" y="5"/>
                    <a:pt x="67" y="5"/>
                  </a:cubicBezTo>
                  <a:cubicBezTo>
                    <a:pt x="66" y="5"/>
                    <a:pt x="66" y="5"/>
                    <a:pt x="65" y="4"/>
                  </a:cubicBezTo>
                  <a:cubicBezTo>
                    <a:pt x="64" y="4"/>
                    <a:pt x="63" y="4"/>
                    <a:pt x="62" y="4"/>
                  </a:cubicBezTo>
                  <a:cubicBezTo>
                    <a:pt x="49" y="4"/>
                    <a:pt x="49" y="4"/>
                    <a:pt x="49" y="4"/>
                  </a:cubicBezTo>
                  <a:cubicBezTo>
                    <a:pt x="47" y="4"/>
                    <a:pt x="45" y="2"/>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312"/>
            <p:cNvSpPr/>
            <p:nvPr/>
          </p:nvSpPr>
          <p:spPr bwMode="auto">
            <a:xfrm>
              <a:off x="5313" y="49"/>
              <a:ext cx="4" cy="2"/>
            </a:xfrm>
            <a:custGeom>
              <a:gdLst>
                <a:gd name="T0" fmla="*/ 2 w 4"/>
                <a:gd name="T1" fmla="*/ 0 h 2"/>
                <a:gd name="T2" fmla="*/ 0 w 4"/>
                <a:gd name="T3" fmla="*/ 2 h 2"/>
                <a:gd name="T4" fmla="*/ 0 w 4"/>
                <a:gd name="T5" fmla="*/ 2 h 2"/>
                <a:gd name="T6" fmla="*/ 4 w 4"/>
                <a:gd name="T7" fmla="*/ 2 h 2"/>
                <a:gd name="T8" fmla="*/ 2 w 4"/>
                <a:gd name="T9" fmla="*/ 0 h 2"/>
              </a:gdLst>
              <a:cxnLst>
                <a:cxn ang="0">
                  <a:pos x="T0" y="T1"/>
                </a:cxn>
                <a:cxn ang="0">
                  <a:pos x="T2" y="T3"/>
                </a:cxn>
                <a:cxn ang="0">
                  <a:pos x="T4" y="T5"/>
                </a:cxn>
                <a:cxn ang="0">
                  <a:pos x="T6" y="T7"/>
                </a:cxn>
                <a:cxn ang="0">
                  <a:pos x="T8" y="T9"/>
                </a:cxn>
              </a:cxnLst>
              <a:rect l="0" t="0" r="r" b="b"/>
              <a:pathLst>
                <a:path w="4" h="2">
                  <a:moveTo>
                    <a:pt x="2" y="0"/>
                  </a:moveTo>
                  <a:lnTo>
                    <a:pt x="0" y="2"/>
                  </a:lnTo>
                  <a:lnTo>
                    <a:pt x="0" y="2"/>
                  </a:lnTo>
                  <a:lnTo>
                    <a:pt x="4"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313"/>
            <p:cNvSpPr/>
            <p:nvPr/>
          </p:nvSpPr>
          <p:spPr bwMode="auto">
            <a:xfrm>
              <a:off x="5313" y="49"/>
              <a:ext cx="4" cy="2"/>
            </a:xfrm>
            <a:custGeom>
              <a:gdLst>
                <a:gd name="T0" fmla="*/ 2 w 4"/>
                <a:gd name="T1" fmla="*/ 0 h 2"/>
                <a:gd name="T2" fmla="*/ 0 w 4"/>
                <a:gd name="T3" fmla="*/ 2 h 2"/>
                <a:gd name="T4" fmla="*/ 0 w 4"/>
                <a:gd name="T5" fmla="*/ 2 h 2"/>
                <a:gd name="T6" fmla="*/ 4 w 4"/>
                <a:gd name="T7" fmla="*/ 2 h 2"/>
                <a:gd name="T8" fmla="*/ 2 w 4"/>
                <a:gd name="T9" fmla="*/ 0 h 2"/>
              </a:gdLst>
              <a:cxnLst>
                <a:cxn ang="0">
                  <a:pos x="T0" y="T1"/>
                </a:cxn>
                <a:cxn ang="0">
                  <a:pos x="T2" y="T3"/>
                </a:cxn>
                <a:cxn ang="0">
                  <a:pos x="T4" y="T5"/>
                </a:cxn>
                <a:cxn ang="0">
                  <a:pos x="T6" y="T7"/>
                </a:cxn>
                <a:cxn ang="0">
                  <a:pos x="T8" y="T9"/>
                </a:cxn>
              </a:cxnLst>
              <a:rect l="0" t="0" r="r" b="b"/>
              <a:pathLst>
                <a:path w="4" h="2">
                  <a:moveTo>
                    <a:pt x="2" y="0"/>
                  </a:moveTo>
                  <a:lnTo>
                    <a:pt x="0" y="2"/>
                  </a:lnTo>
                  <a:lnTo>
                    <a:pt x="0" y="2"/>
                  </a:lnTo>
                  <a:lnTo>
                    <a:pt x="4" y="2"/>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314"/>
            <p:cNvSpPr>
              <a:spLocks noEditPoints="1"/>
            </p:cNvSpPr>
            <p:nvPr/>
          </p:nvSpPr>
          <p:spPr bwMode="auto">
            <a:xfrm>
              <a:off x="5237" y="-27"/>
              <a:ext cx="461" cy="135"/>
            </a:xfrm>
            <a:custGeom>
              <a:gdLst>
                <a:gd name="T0" fmla="*/ 41 w 195"/>
                <a:gd name="T1" fmla="*/ 1 h 57"/>
                <a:gd name="T2" fmla="*/ 37 w 195"/>
                <a:gd name="T3" fmla="*/ 2 h 57"/>
                <a:gd name="T4" fmla="*/ 34 w 195"/>
                <a:gd name="T5" fmla="*/ 1 h 57"/>
                <a:gd name="T6" fmla="*/ 34 w 195"/>
                <a:gd name="T7" fmla="*/ 1 h 57"/>
                <a:gd name="T8" fmla="*/ 28 w 195"/>
                <a:gd name="T9" fmla="*/ 0 h 57"/>
                <a:gd name="T10" fmla="*/ 23 w 195"/>
                <a:gd name="T11" fmla="*/ 1 h 57"/>
                <a:gd name="T12" fmla="*/ 21 w 195"/>
                <a:gd name="T13" fmla="*/ 1 h 57"/>
                <a:gd name="T14" fmla="*/ 18 w 195"/>
                <a:gd name="T15" fmla="*/ 0 h 57"/>
                <a:gd name="T16" fmla="*/ 17 w 195"/>
                <a:gd name="T17" fmla="*/ 3 h 57"/>
                <a:gd name="T18" fmla="*/ 16 w 195"/>
                <a:gd name="T19" fmla="*/ 8 h 57"/>
                <a:gd name="T20" fmla="*/ 13 w 195"/>
                <a:gd name="T21" fmla="*/ 13 h 57"/>
                <a:gd name="T22" fmla="*/ 10 w 195"/>
                <a:gd name="T23" fmla="*/ 16 h 57"/>
                <a:gd name="T24" fmla="*/ 8 w 195"/>
                <a:gd name="T25" fmla="*/ 19 h 57"/>
                <a:gd name="T26" fmla="*/ 8 w 195"/>
                <a:gd name="T27" fmla="*/ 23 h 57"/>
                <a:gd name="T28" fmla="*/ 1 w 195"/>
                <a:gd name="T29" fmla="*/ 27 h 57"/>
                <a:gd name="T30" fmla="*/ 10 w 195"/>
                <a:gd name="T31" fmla="*/ 30 h 57"/>
                <a:gd name="T32" fmla="*/ 25 w 195"/>
                <a:gd name="T33" fmla="*/ 26 h 57"/>
                <a:gd name="T34" fmla="*/ 32 w 195"/>
                <a:gd name="T35" fmla="*/ 29 h 57"/>
                <a:gd name="T36" fmla="*/ 35 w 195"/>
                <a:gd name="T37" fmla="*/ 19 h 57"/>
                <a:gd name="T38" fmla="*/ 41 w 195"/>
                <a:gd name="T39" fmla="*/ 16 h 57"/>
                <a:gd name="T40" fmla="*/ 49 w 195"/>
                <a:gd name="T41" fmla="*/ 10 h 57"/>
                <a:gd name="T42" fmla="*/ 44 w 195"/>
                <a:gd name="T43" fmla="*/ 0 h 57"/>
                <a:gd name="T44" fmla="*/ 44 w 195"/>
                <a:gd name="T45" fmla="*/ 0 h 57"/>
                <a:gd name="T46" fmla="*/ 45 w 195"/>
                <a:gd name="T47" fmla="*/ 1 h 57"/>
                <a:gd name="T48" fmla="*/ 46 w 195"/>
                <a:gd name="T49" fmla="*/ 1 h 57"/>
                <a:gd name="T50" fmla="*/ 49 w 195"/>
                <a:gd name="T51" fmla="*/ 4 h 57"/>
                <a:gd name="T52" fmla="*/ 52 w 195"/>
                <a:gd name="T53" fmla="*/ 2 h 57"/>
                <a:gd name="T54" fmla="*/ 84 w 195"/>
                <a:gd name="T55" fmla="*/ 0 h 57"/>
                <a:gd name="T56" fmla="*/ 84 w 195"/>
                <a:gd name="T57" fmla="*/ 1 h 57"/>
                <a:gd name="T58" fmla="*/ 85 w 195"/>
                <a:gd name="T59" fmla="*/ 4 h 57"/>
                <a:gd name="T60" fmla="*/ 94 w 195"/>
                <a:gd name="T61" fmla="*/ 8 h 57"/>
                <a:gd name="T62" fmla="*/ 99 w 195"/>
                <a:gd name="T63" fmla="*/ 8 h 57"/>
                <a:gd name="T64" fmla="*/ 113 w 195"/>
                <a:gd name="T65" fmla="*/ 5 h 57"/>
                <a:gd name="T66" fmla="*/ 117 w 195"/>
                <a:gd name="T67" fmla="*/ 8 h 57"/>
                <a:gd name="T68" fmla="*/ 122 w 195"/>
                <a:gd name="T69" fmla="*/ 8 h 57"/>
                <a:gd name="T70" fmla="*/ 126 w 195"/>
                <a:gd name="T71" fmla="*/ 14 h 57"/>
                <a:gd name="T72" fmla="*/ 117 w 195"/>
                <a:gd name="T73" fmla="*/ 18 h 57"/>
                <a:gd name="T74" fmla="*/ 114 w 195"/>
                <a:gd name="T75" fmla="*/ 18 h 57"/>
                <a:gd name="T76" fmla="*/ 105 w 195"/>
                <a:gd name="T77" fmla="*/ 24 h 57"/>
                <a:gd name="T78" fmla="*/ 98 w 195"/>
                <a:gd name="T79" fmla="*/ 28 h 57"/>
                <a:gd name="T80" fmla="*/ 115 w 195"/>
                <a:gd name="T81" fmla="*/ 35 h 57"/>
                <a:gd name="T82" fmla="*/ 123 w 195"/>
                <a:gd name="T83" fmla="*/ 45 h 57"/>
                <a:gd name="T84" fmla="*/ 123 w 195"/>
                <a:gd name="T85" fmla="*/ 52 h 57"/>
                <a:gd name="T86" fmla="*/ 122 w 195"/>
                <a:gd name="T87" fmla="*/ 55 h 57"/>
                <a:gd name="T88" fmla="*/ 130 w 195"/>
                <a:gd name="T89" fmla="*/ 56 h 57"/>
                <a:gd name="T90" fmla="*/ 170 w 195"/>
                <a:gd name="T91" fmla="*/ 37 h 57"/>
                <a:gd name="T92" fmla="*/ 178 w 195"/>
                <a:gd name="T93" fmla="*/ 40 h 57"/>
                <a:gd name="T94" fmla="*/ 184 w 195"/>
                <a:gd name="T95" fmla="*/ 40 h 57"/>
                <a:gd name="T96" fmla="*/ 186 w 195"/>
                <a:gd name="T97" fmla="*/ 40 h 57"/>
                <a:gd name="T98" fmla="*/ 192 w 195"/>
                <a:gd name="T99" fmla="*/ 32 h 57"/>
                <a:gd name="T100" fmla="*/ 192 w 195"/>
                <a:gd name="T101" fmla="*/ 30 h 57"/>
                <a:gd name="T102" fmla="*/ 186 w 195"/>
                <a:gd name="T103" fmla="*/ 30 h 57"/>
                <a:gd name="T104" fmla="*/ 177 w 195"/>
                <a:gd name="T105" fmla="*/ 29 h 57"/>
                <a:gd name="T106" fmla="*/ 174 w 195"/>
                <a:gd name="T107" fmla="*/ 29 h 57"/>
                <a:gd name="T108" fmla="*/ 164 w 195"/>
                <a:gd name="T109" fmla="*/ 27 h 57"/>
                <a:gd name="T110" fmla="*/ 153 w 195"/>
                <a:gd name="T111" fmla="*/ 6 h 57"/>
                <a:gd name="T112" fmla="*/ 159 w 195"/>
                <a:gd name="T113" fmla="*/ 3 h 57"/>
                <a:gd name="T114" fmla="*/ 163 w 195"/>
                <a:gd name="T115" fmla="*/ 0 h 57"/>
                <a:gd name="T116" fmla="*/ 167 w 195"/>
                <a:gd name="T117" fmla="*/ 0 h 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57">
                  <a:moveTo>
                    <a:pt x="44" y="0"/>
                  </a:moveTo>
                  <a:cubicBezTo>
                    <a:pt x="43" y="0"/>
                    <a:pt x="43" y="0"/>
                    <a:pt x="43" y="0"/>
                  </a:cubicBezTo>
                  <a:cubicBezTo>
                    <a:pt x="43" y="0"/>
                    <a:pt x="42" y="1"/>
                    <a:pt x="41" y="1"/>
                  </a:cubicBezTo>
                  <a:cubicBezTo>
                    <a:pt x="41" y="1"/>
                    <a:pt x="41" y="1"/>
                    <a:pt x="41" y="1"/>
                  </a:cubicBezTo>
                  <a:cubicBezTo>
                    <a:pt x="40" y="1"/>
                    <a:pt x="39" y="2"/>
                    <a:pt x="37" y="2"/>
                  </a:cubicBezTo>
                  <a:cubicBezTo>
                    <a:pt x="37" y="2"/>
                    <a:pt x="37" y="2"/>
                    <a:pt x="37" y="2"/>
                  </a:cubicBezTo>
                  <a:cubicBezTo>
                    <a:pt x="36" y="2"/>
                    <a:pt x="36" y="2"/>
                    <a:pt x="36" y="2"/>
                  </a:cubicBezTo>
                  <a:cubicBezTo>
                    <a:pt x="36" y="2"/>
                    <a:pt x="36" y="2"/>
                    <a:pt x="36" y="2"/>
                  </a:cubicBezTo>
                  <a:cubicBezTo>
                    <a:pt x="35" y="2"/>
                    <a:pt x="35" y="2"/>
                    <a:pt x="34" y="1"/>
                  </a:cubicBezTo>
                  <a:cubicBezTo>
                    <a:pt x="34" y="1"/>
                    <a:pt x="34" y="1"/>
                    <a:pt x="34" y="1"/>
                  </a:cubicBezTo>
                  <a:cubicBezTo>
                    <a:pt x="34" y="1"/>
                    <a:pt x="34" y="1"/>
                    <a:pt x="34" y="1"/>
                  </a:cubicBezTo>
                  <a:cubicBezTo>
                    <a:pt x="34" y="1"/>
                    <a:pt x="34" y="1"/>
                    <a:pt x="34" y="1"/>
                  </a:cubicBezTo>
                  <a:cubicBezTo>
                    <a:pt x="33" y="1"/>
                    <a:pt x="33" y="1"/>
                    <a:pt x="33" y="1"/>
                  </a:cubicBezTo>
                  <a:cubicBezTo>
                    <a:pt x="33" y="1"/>
                    <a:pt x="32" y="1"/>
                    <a:pt x="32" y="1"/>
                  </a:cubicBezTo>
                  <a:cubicBezTo>
                    <a:pt x="31" y="1"/>
                    <a:pt x="30" y="1"/>
                    <a:pt x="28" y="0"/>
                  </a:cubicBezTo>
                  <a:cubicBezTo>
                    <a:pt x="28" y="0"/>
                    <a:pt x="28" y="0"/>
                    <a:pt x="27" y="0"/>
                  </a:cubicBezTo>
                  <a:cubicBezTo>
                    <a:pt x="25" y="0"/>
                    <a:pt x="25" y="0"/>
                    <a:pt x="25" y="0"/>
                  </a:cubicBezTo>
                  <a:cubicBezTo>
                    <a:pt x="24" y="0"/>
                    <a:pt x="24" y="0"/>
                    <a:pt x="23" y="1"/>
                  </a:cubicBezTo>
                  <a:cubicBezTo>
                    <a:pt x="22" y="1"/>
                    <a:pt x="22" y="1"/>
                    <a:pt x="22" y="1"/>
                  </a:cubicBezTo>
                  <a:cubicBezTo>
                    <a:pt x="22" y="1"/>
                    <a:pt x="22" y="1"/>
                    <a:pt x="21" y="1"/>
                  </a:cubicBezTo>
                  <a:cubicBezTo>
                    <a:pt x="21" y="1"/>
                    <a:pt x="21" y="1"/>
                    <a:pt x="21" y="1"/>
                  </a:cubicBezTo>
                  <a:cubicBezTo>
                    <a:pt x="20" y="1"/>
                    <a:pt x="20" y="1"/>
                    <a:pt x="19" y="0"/>
                  </a:cubicBezTo>
                  <a:cubicBezTo>
                    <a:pt x="19" y="0"/>
                    <a:pt x="19" y="0"/>
                    <a:pt x="19" y="0"/>
                  </a:cubicBezTo>
                  <a:cubicBezTo>
                    <a:pt x="18" y="0"/>
                    <a:pt x="18" y="0"/>
                    <a:pt x="18" y="0"/>
                  </a:cubicBezTo>
                  <a:cubicBezTo>
                    <a:pt x="17" y="0"/>
                    <a:pt x="17" y="0"/>
                    <a:pt x="17" y="0"/>
                  </a:cubicBezTo>
                  <a:cubicBezTo>
                    <a:pt x="17" y="0"/>
                    <a:pt x="17" y="0"/>
                    <a:pt x="17" y="0"/>
                  </a:cubicBezTo>
                  <a:cubicBezTo>
                    <a:pt x="17" y="1"/>
                    <a:pt x="17" y="2"/>
                    <a:pt x="17" y="3"/>
                  </a:cubicBezTo>
                  <a:cubicBezTo>
                    <a:pt x="17" y="4"/>
                    <a:pt x="17" y="4"/>
                    <a:pt x="17" y="6"/>
                  </a:cubicBezTo>
                  <a:cubicBezTo>
                    <a:pt x="17" y="6"/>
                    <a:pt x="17" y="7"/>
                    <a:pt x="16" y="8"/>
                  </a:cubicBezTo>
                  <a:cubicBezTo>
                    <a:pt x="16" y="8"/>
                    <a:pt x="16" y="8"/>
                    <a:pt x="16" y="8"/>
                  </a:cubicBezTo>
                  <a:cubicBezTo>
                    <a:pt x="16" y="9"/>
                    <a:pt x="16" y="9"/>
                    <a:pt x="16" y="9"/>
                  </a:cubicBezTo>
                  <a:cubicBezTo>
                    <a:pt x="15" y="10"/>
                    <a:pt x="15" y="10"/>
                    <a:pt x="15" y="10"/>
                  </a:cubicBezTo>
                  <a:cubicBezTo>
                    <a:pt x="15" y="12"/>
                    <a:pt x="14" y="12"/>
                    <a:pt x="13" y="13"/>
                  </a:cubicBezTo>
                  <a:cubicBezTo>
                    <a:pt x="13" y="13"/>
                    <a:pt x="13" y="13"/>
                    <a:pt x="13" y="13"/>
                  </a:cubicBezTo>
                  <a:cubicBezTo>
                    <a:pt x="12" y="14"/>
                    <a:pt x="12" y="15"/>
                    <a:pt x="11" y="16"/>
                  </a:cubicBezTo>
                  <a:cubicBezTo>
                    <a:pt x="10" y="16"/>
                    <a:pt x="10" y="16"/>
                    <a:pt x="10" y="16"/>
                  </a:cubicBezTo>
                  <a:cubicBezTo>
                    <a:pt x="10" y="17"/>
                    <a:pt x="10" y="17"/>
                    <a:pt x="10" y="17"/>
                  </a:cubicBezTo>
                  <a:cubicBezTo>
                    <a:pt x="10" y="17"/>
                    <a:pt x="10" y="17"/>
                    <a:pt x="10" y="17"/>
                  </a:cubicBezTo>
                  <a:cubicBezTo>
                    <a:pt x="9" y="18"/>
                    <a:pt x="9" y="18"/>
                    <a:pt x="8" y="19"/>
                  </a:cubicBezTo>
                  <a:cubicBezTo>
                    <a:pt x="7" y="19"/>
                    <a:pt x="6" y="20"/>
                    <a:pt x="6" y="20"/>
                  </a:cubicBezTo>
                  <a:cubicBezTo>
                    <a:pt x="6" y="21"/>
                    <a:pt x="6" y="21"/>
                    <a:pt x="6" y="21"/>
                  </a:cubicBezTo>
                  <a:cubicBezTo>
                    <a:pt x="8" y="23"/>
                    <a:pt x="8" y="23"/>
                    <a:pt x="8" y="23"/>
                  </a:cubicBezTo>
                  <a:cubicBezTo>
                    <a:pt x="6" y="24"/>
                    <a:pt x="6" y="24"/>
                    <a:pt x="6" y="24"/>
                  </a:cubicBezTo>
                  <a:cubicBezTo>
                    <a:pt x="3" y="25"/>
                    <a:pt x="2" y="26"/>
                    <a:pt x="0" y="27"/>
                  </a:cubicBezTo>
                  <a:cubicBezTo>
                    <a:pt x="1" y="27"/>
                    <a:pt x="1" y="27"/>
                    <a:pt x="1" y="27"/>
                  </a:cubicBezTo>
                  <a:cubicBezTo>
                    <a:pt x="2" y="28"/>
                    <a:pt x="3" y="29"/>
                    <a:pt x="4" y="30"/>
                  </a:cubicBezTo>
                  <a:cubicBezTo>
                    <a:pt x="5" y="30"/>
                    <a:pt x="6" y="30"/>
                    <a:pt x="7" y="31"/>
                  </a:cubicBezTo>
                  <a:cubicBezTo>
                    <a:pt x="10" y="30"/>
                    <a:pt x="10" y="30"/>
                    <a:pt x="10" y="30"/>
                  </a:cubicBezTo>
                  <a:cubicBezTo>
                    <a:pt x="12" y="30"/>
                    <a:pt x="13" y="30"/>
                    <a:pt x="15" y="29"/>
                  </a:cubicBezTo>
                  <a:cubicBezTo>
                    <a:pt x="16" y="29"/>
                    <a:pt x="16" y="29"/>
                    <a:pt x="16" y="29"/>
                  </a:cubicBezTo>
                  <a:cubicBezTo>
                    <a:pt x="19" y="27"/>
                    <a:pt x="22" y="26"/>
                    <a:pt x="25" y="26"/>
                  </a:cubicBezTo>
                  <a:cubicBezTo>
                    <a:pt x="26" y="26"/>
                    <a:pt x="26" y="26"/>
                    <a:pt x="26" y="26"/>
                  </a:cubicBezTo>
                  <a:cubicBezTo>
                    <a:pt x="28" y="26"/>
                    <a:pt x="31" y="27"/>
                    <a:pt x="32" y="29"/>
                  </a:cubicBezTo>
                  <a:cubicBezTo>
                    <a:pt x="32" y="29"/>
                    <a:pt x="32" y="29"/>
                    <a:pt x="32" y="29"/>
                  </a:cubicBezTo>
                  <a:cubicBezTo>
                    <a:pt x="33" y="25"/>
                    <a:pt x="31" y="21"/>
                    <a:pt x="30" y="16"/>
                  </a:cubicBezTo>
                  <a:cubicBezTo>
                    <a:pt x="32" y="18"/>
                    <a:pt x="31" y="21"/>
                    <a:pt x="32" y="21"/>
                  </a:cubicBezTo>
                  <a:cubicBezTo>
                    <a:pt x="32" y="21"/>
                    <a:pt x="33" y="20"/>
                    <a:pt x="35" y="19"/>
                  </a:cubicBezTo>
                  <a:cubicBezTo>
                    <a:pt x="36" y="18"/>
                    <a:pt x="37" y="16"/>
                    <a:pt x="39" y="16"/>
                  </a:cubicBezTo>
                  <a:cubicBezTo>
                    <a:pt x="39" y="16"/>
                    <a:pt x="39" y="16"/>
                    <a:pt x="40" y="16"/>
                  </a:cubicBezTo>
                  <a:cubicBezTo>
                    <a:pt x="40" y="16"/>
                    <a:pt x="40" y="16"/>
                    <a:pt x="41" y="16"/>
                  </a:cubicBezTo>
                  <a:cubicBezTo>
                    <a:pt x="41" y="16"/>
                    <a:pt x="41" y="16"/>
                    <a:pt x="42" y="16"/>
                  </a:cubicBezTo>
                  <a:cubicBezTo>
                    <a:pt x="42" y="16"/>
                    <a:pt x="43" y="16"/>
                    <a:pt x="43" y="15"/>
                  </a:cubicBezTo>
                  <a:cubicBezTo>
                    <a:pt x="44" y="14"/>
                    <a:pt x="49" y="11"/>
                    <a:pt x="49" y="10"/>
                  </a:cubicBezTo>
                  <a:cubicBezTo>
                    <a:pt x="47" y="8"/>
                    <a:pt x="46" y="6"/>
                    <a:pt x="44" y="3"/>
                  </a:cubicBezTo>
                  <a:cubicBezTo>
                    <a:pt x="44" y="2"/>
                    <a:pt x="43" y="1"/>
                    <a:pt x="43" y="1"/>
                  </a:cubicBezTo>
                  <a:cubicBezTo>
                    <a:pt x="43" y="0"/>
                    <a:pt x="43" y="0"/>
                    <a:pt x="44" y="0"/>
                  </a:cubicBezTo>
                  <a:cubicBezTo>
                    <a:pt x="44" y="0"/>
                    <a:pt x="44" y="0"/>
                    <a:pt x="44" y="0"/>
                  </a:cubicBezTo>
                  <a:moveTo>
                    <a:pt x="53" y="0"/>
                  </a:moveTo>
                  <a:cubicBezTo>
                    <a:pt x="44" y="0"/>
                    <a:pt x="44" y="0"/>
                    <a:pt x="44" y="0"/>
                  </a:cubicBezTo>
                  <a:cubicBezTo>
                    <a:pt x="44" y="0"/>
                    <a:pt x="44" y="0"/>
                    <a:pt x="45" y="0"/>
                  </a:cubicBezTo>
                  <a:cubicBezTo>
                    <a:pt x="45" y="1"/>
                    <a:pt x="45" y="1"/>
                    <a:pt x="45" y="1"/>
                  </a:cubicBezTo>
                  <a:cubicBezTo>
                    <a:pt x="45" y="1"/>
                    <a:pt x="45" y="1"/>
                    <a:pt x="45" y="1"/>
                  </a:cubicBezTo>
                  <a:cubicBezTo>
                    <a:pt x="45" y="1"/>
                    <a:pt x="45" y="1"/>
                    <a:pt x="45" y="1"/>
                  </a:cubicBezTo>
                  <a:cubicBezTo>
                    <a:pt x="45" y="1"/>
                    <a:pt x="45" y="1"/>
                    <a:pt x="45" y="1"/>
                  </a:cubicBezTo>
                  <a:cubicBezTo>
                    <a:pt x="46" y="1"/>
                    <a:pt x="46" y="1"/>
                    <a:pt x="46" y="1"/>
                  </a:cubicBezTo>
                  <a:cubicBezTo>
                    <a:pt x="46" y="1"/>
                    <a:pt x="46" y="1"/>
                    <a:pt x="47" y="0"/>
                  </a:cubicBezTo>
                  <a:cubicBezTo>
                    <a:pt x="47" y="1"/>
                    <a:pt x="47" y="1"/>
                    <a:pt x="47" y="2"/>
                  </a:cubicBezTo>
                  <a:cubicBezTo>
                    <a:pt x="47" y="2"/>
                    <a:pt x="48" y="3"/>
                    <a:pt x="49" y="4"/>
                  </a:cubicBezTo>
                  <a:cubicBezTo>
                    <a:pt x="49" y="4"/>
                    <a:pt x="49" y="4"/>
                    <a:pt x="49" y="5"/>
                  </a:cubicBezTo>
                  <a:cubicBezTo>
                    <a:pt x="49" y="5"/>
                    <a:pt x="49" y="5"/>
                    <a:pt x="49" y="5"/>
                  </a:cubicBezTo>
                  <a:cubicBezTo>
                    <a:pt x="50" y="4"/>
                    <a:pt x="51" y="3"/>
                    <a:pt x="52" y="2"/>
                  </a:cubicBezTo>
                  <a:cubicBezTo>
                    <a:pt x="52" y="1"/>
                    <a:pt x="53" y="0"/>
                    <a:pt x="53" y="0"/>
                  </a:cubicBezTo>
                  <a:moveTo>
                    <a:pt x="160" y="0"/>
                  </a:moveTo>
                  <a:cubicBezTo>
                    <a:pt x="84" y="0"/>
                    <a:pt x="84" y="0"/>
                    <a:pt x="84" y="0"/>
                  </a:cubicBezTo>
                  <a:cubicBezTo>
                    <a:pt x="85" y="0"/>
                    <a:pt x="85" y="0"/>
                    <a:pt x="85" y="1"/>
                  </a:cubicBezTo>
                  <a:cubicBezTo>
                    <a:pt x="85" y="1"/>
                    <a:pt x="85" y="1"/>
                    <a:pt x="85" y="1"/>
                  </a:cubicBezTo>
                  <a:cubicBezTo>
                    <a:pt x="84" y="1"/>
                    <a:pt x="84" y="1"/>
                    <a:pt x="84" y="1"/>
                  </a:cubicBezTo>
                  <a:cubicBezTo>
                    <a:pt x="84" y="1"/>
                    <a:pt x="84" y="1"/>
                    <a:pt x="84" y="1"/>
                  </a:cubicBezTo>
                  <a:cubicBezTo>
                    <a:pt x="82" y="1"/>
                    <a:pt x="81" y="1"/>
                    <a:pt x="81" y="2"/>
                  </a:cubicBezTo>
                  <a:cubicBezTo>
                    <a:pt x="80" y="3"/>
                    <a:pt x="83" y="3"/>
                    <a:pt x="85" y="4"/>
                  </a:cubicBezTo>
                  <a:cubicBezTo>
                    <a:pt x="88" y="5"/>
                    <a:pt x="91" y="5"/>
                    <a:pt x="92" y="6"/>
                  </a:cubicBezTo>
                  <a:cubicBezTo>
                    <a:pt x="92" y="6"/>
                    <a:pt x="92" y="7"/>
                    <a:pt x="93" y="7"/>
                  </a:cubicBezTo>
                  <a:cubicBezTo>
                    <a:pt x="93" y="7"/>
                    <a:pt x="93" y="7"/>
                    <a:pt x="94" y="8"/>
                  </a:cubicBezTo>
                  <a:cubicBezTo>
                    <a:pt x="95" y="8"/>
                    <a:pt x="95" y="8"/>
                    <a:pt x="96" y="8"/>
                  </a:cubicBezTo>
                  <a:cubicBezTo>
                    <a:pt x="96" y="8"/>
                    <a:pt x="96" y="8"/>
                    <a:pt x="96" y="8"/>
                  </a:cubicBezTo>
                  <a:cubicBezTo>
                    <a:pt x="97" y="8"/>
                    <a:pt x="98" y="8"/>
                    <a:pt x="99" y="8"/>
                  </a:cubicBezTo>
                  <a:cubicBezTo>
                    <a:pt x="101" y="8"/>
                    <a:pt x="103" y="7"/>
                    <a:pt x="104" y="7"/>
                  </a:cubicBezTo>
                  <a:cubicBezTo>
                    <a:pt x="105" y="7"/>
                    <a:pt x="105" y="7"/>
                    <a:pt x="105" y="7"/>
                  </a:cubicBezTo>
                  <a:cubicBezTo>
                    <a:pt x="108" y="6"/>
                    <a:pt x="110" y="6"/>
                    <a:pt x="113" y="5"/>
                  </a:cubicBezTo>
                  <a:cubicBezTo>
                    <a:pt x="113" y="5"/>
                    <a:pt x="113" y="5"/>
                    <a:pt x="114" y="5"/>
                  </a:cubicBezTo>
                  <a:cubicBezTo>
                    <a:pt x="115" y="5"/>
                    <a:pt x="115" y="6"/>
                    <a:pt x="116" y="7"/>
                  </a:cubicBezTo>
                  <a:cubicBezTo>
                    <a:pt x="116" y="7"/>
                    <a:pt x="116" y="8"/>
                    <a:pt x="117" y="8"/>
                  </a:cubicBezTo>
                  <a:cubicBezTo>
                    <a:pt x="117" y="9"/>
                    <a:pt x="118" y="9"/>
                    <a:pt x="119" y="9"/>
                  </a:cubicBezTo>
                  <a:cubicBezTo>
                    <a:pt x="119" y="9"/>
                    <a:pt x="119" y="9"/>
                    <a:pt x="119" y="9"/>
                  </a:cubicBezTo>
                  <a:cubicBezTo>
                    <a:pt x="120" y="9"/>
                    <a:pt x="121" y="9"/>
                    <a:pt x="122" y="8"/>
                  </a:cubicBezTo>
                  <a:cubicBezTo>
                    <a:pt x="123" y="8"/>
                    <a:pt x="124" y="8"/>
                    <a:pt x="124" y="7"/>
                  </a:cubicBezTo>
                  <a:cubicBezTo>
                    <a:pt x="124" y="8"/>
                    <a:pt x="124" y="9"/>
                    <a:pt x="124" y="9"/>
                  </a:cubicBezTo>
                  <a:cubicBezTo>
                    <a:pt x="124" y="11"/>
                    <a:pt x="124" y="13"/>
                    <a:pt x="126" y="14"/>
                  </a:cubicBezTo>
                  <a:cubicBezTo>
                    <a:pt x="126" y="15"/>
                    <a:pt x="124" y="15"/>
                    <a:pt x="122" y="16"/>
                  </a:cubicBezTo>
                  <a:cubicBezTo>
                    <a:pt x="121" y="16"/>
                    <a:pt x="120" y="16"/>
                    <a:pt x="120" y="16"/>
                  </a:cubicBezTo>
                  <a:cubicBezTo>
                    <a:pt x="119" y="16"/>
                    <a:pt x="118" y="17"/>
                    <a:pt x="117" y="18"/>
                  </a:cubicBezTo>
                  <a:cubicBezTo>
                    <a:pt x="117" y="18"/>
                    <a:pt x="116" y="18"/>
                    <a:pt x="116" y="18"/>
                  </a:cubicBezTo>
                  <a:cubicBezTo>
                    <a:pt x="115" y="18"/>
                    <a:pt x="115" y="19"/>
                    <a:pt x="115" y="19"/>
                  </a:cubicBezTo>
                  <a:cubicBezTo>
                    <a:pt x="115" y="19"/>
                    <a:pt x="114" y="18"/>
                    <a:pt x="114" y="18"/>
                  </a:cubicBezTo>
                  <a:cubicBezTo>
                    <a:pt x="114" y="19"/>
                    <a:pt x="110" y="20"/>
                    <a:pt x="108" y="21"/>
                  </a:cubicBezTo>
                  <a:cubicBezTo>
                    <a:pt x="107" y="21"/>
                    <a:pt x="107" y="22"/>
                    <a:pt x="106" y="23"/>
                  </a:cubicBezTo>
                  <a:cubicBezTo>
                    <a:pt x="106" y="23"/>
                    <a:pt x="105" y="24"/>
                    <a:pt x="105" y="24"/>
                  </a:cubicBezTo>
                  <a:cubicBezTo>
                    <a:pt x="104" y="24"/>
                    <a:pt x="103" y="25"/>
                    <a:pt x="102" y="25"/>
                  </a:cubicBezTo>
                  <a:cubicBezTo>
                    <a:pt x="101" y="25"/>
                    <a:pt x="101" y="26"/>
                    <a:pt x="100" y="26"/>
                  </a:cubicBezTo>
                  <a:cubicBezTo>
                    <a:pt x="99" y="27"/>
                    <a:pt x="98" y="27"/>
                    <a:pt x="98" y="28"/>
                  </a:cubicBezTo>
                  <a:cubicBezTo>
                    <a:pt x="98" y="29"/>
                    <a:pt x="98" y="29"/>
                    <a:pt x="98" y="29"/>
                  </a:cubicBezTo>
                  <a:cubicBezTo>
                    <a:pt x="98" y="31"/>
                    <a:pt x="107" y="33"/>
                    <a:pt x="112" y="34"/>
                  </a:cubicBezTo>
                  <a:cubicBezTo>
                    <a:pt x="113" y="35"/>
                    <a:pt x="114" y="35"/>
                    <a:pt x="115" y="35"/>
                  </a:cubicBezTo>
                  <a:cubicBezTo>
                    <a:pt x="118" y="36"/>
                    <a:pt x="122" y="36"/>
                    <a:pt x="123" y="39"/>
                  </a:cubicBezTo>
                  <a:cubicBezTo>
                    <a:pt x="124" y="39"/>
                    <a:pt x="124" y="41"/>
                    <a:pt x="124" y="42"/>
                  </a:cubicBezTo>
                  <a:cubicBezTo>
                    <a:pt x="124" y="44"/>
                    <a:pt x="123" y="44"/>
                    <a:pt x="123" y="45"/>
                  </a:cubicBezTo>
                  <a:cubicBezTo>
                    <a:pt x="122" y="46"/>
                    <a:pt x="122" y="46"/>
                    <a:pt x="122" y="47"/>
                  </a:cubicBezTo>
                  <a:cubicBezTo>
                    <a:pt x="122" y="47"/>
                    <a:pt x="122" y="48"/>
                    <a:pt x="122" y="49"/>
                  </a:cubicBezTo>
                  <a:cubicBezTo>
                    <a:pt x="122" y="50"/>
                    <a:pt x="123" y="51"/>
                    <a:pt x="123" y="52"/>
                  </a:cubicBezTo>
                  <a:cubicBezTo>
                    <a:pt x="121" y="52"/>
                    <a:pt x="120" y="52"/>
                    <a:pt x="118" y="52"/>
                  </a:cubicBezTo>
                  <a:cubicBezTo>
                    <a:pt x="119" y="53"/>
                    <a:pt x="119" y="53"/>
                    <a:pt x="120" y="54"/>
                  </a:cubicBezTo>
                  <a:cubicBezTo>
                    <a:pt x="120" y="54"/>
                    <a:pt x="121" y="55"/>
                    <a:pt x="122" y="55"/>
                  </a:cubicBezTo>
                  <a:cubicBezTo>
                    <a:pt x="124" y="56"/>
                    <a:pt x="125" y="57"/>
                    <a:pt x="127" y="57"/>
                  </a:cubicBezTo>
                  <a:cubicBezTo>
                    <a:pt x="127" y="57"/>
                    <a:pt x="127" y="57"/>
                    <a:pt x="127" y="57"/>
                  </a:cubicBezTo>
                  <a:cubicBezTo>
                    <a:pt x="128" y="57"/>
                    <a:pt x="129" y="57"/>
                    <a:pt x="130" y="56"/>
                  </a:cubicBezTo>
                  <a:cubicBezTo>
                    <a:pt x="136" y="53"/>
                    <a:pt x="142" y="50"/>
                    <a:pt x="148" y="47"/>
                  </a:cubicBezTo>
                  <a:cubicBezTo>
                    <a:pt x="154" y="44"/>
                    <a:pt x="161" y="41"/>
                    <a:pt x="167" y="38"/>
                  </a:cubicBezTo>
                  <a:cubicBezTo>
                    <a:pt x="168" y="38"/>
                    <a:pt x="169" y="37"/>
                    <a:pt x="170" y="37"/>
                  </a:cubicBezTo>
                  <a:cubicBezTo>
                    <a:pt x="172" y="37"/>
                    <a:pt x="174" y="38"/>
                    <a:pt x="176" y="40"/>
                  </a:cubicBezTo>
                  <a:cubicBezTo>
                    <a:pt x="177" y="40"/>
                    <a:pt x="177" y="40"/>
                    <a:pt x="177" y="40"/>
                  </a:cubicBezTo>
                  <a:cubicBezTo>
                    <a:pt x="178" y="40"/>
                    <a:pt x="178" y="40"/>
                    <a:pt x="178" y="40"/>
                  </a:cubicBezTo>
                  <a:cubicBezTo>
                    <a:pt x="178" y="41"/>
                    <a:pt x="178" y="41"/>
                    <a:pt x="179" y="41"/>
                  </a:cubicBezTo>
                  <a:cubicBezTo>
                    <a:pt x="180" y="41"/>
                    <a:pt x="182" y="40"/>
                    <a:pt x="183" y="40"/>
                  </a:cubicBezTo>
                  <a:cubicBezTo>
                    <a:pt x="183" y="40"/>
                    <a:pt x="184" y="40"/>
                    <a:pt x="184" y="40"/>
                  </a:cubicBezTo>
                  <a:cubicBezTo>
                    <a:pt x="184" y="40"/>
                    <a:pt x="184" y="40"/>
                    <a:pt x="184" y="40"/>
                  </a:cubicBezTo>
                  <a:cubicBezTo>
                    <a:pt x="185" y="40"/>
                    <a:pt x="185" y="40"/>
                    <a:pt x="185" y="40"/>
                  </a:cubicBezTo>
                  <a:cubicBezTo>
                    <a:pt x="186" y="40"/>
                    <a:pt x="186" y="40"/>
                    <a:pt x="186" y="40"/>
                  </a:cubicBezTo>
                  <a:cubicBezTo>
                    <a:pt x="187" y="40"/>
                    <a:pt x="187" y="40"/>
                    <a:pt x="188" y="39"/>
                  </a:cubicBezTo>
                  <a:cubicBezTo>
                    <a:pt x="190" y="38"/>
                    <a:pt x="189" y="37"/>
                    <a:pt x="190" y="34"/>
                  </a:cubicBezTo>
                  <a:cubicBezTo>
                    <a:pt x="191" y="33"/>
                    <a:pt x="191" y="32"/>
                    <a:pt x="192" y="32"/>
                  </a:cubicBezTo>
                  <a:cubicBezTo>
                    <a:pt x="192" y="31"/>
                    <a:pt x="193" y="31"/>
                    <a:pt x="193" y="31"/>
                  </a:cubicBezTo>
                  <a:cubicBezTo>
                    <a:pt x="194" y="31"/>
                    <a:pt x="195" y="30"/>
                    <a:pt x="195" y="30"/>
                  </a:cubicBezTo>
                  <a:cubicBezTo>
                    <a:pt x="194" y="30"/>
                    <a:pt x="193" y="30"/>
                    <a:pt x="192" y="30"/>
                  </a:cubicBezTo>
                  <a:cubicBezTo>
                    <a:pt x="192" y="30"/>
                    <a:pt x="192" y="30"/>
                    <a:pt x="192" y="30"/>
                  </a:cubicBezTo>
                  <a:cubicBezTo>
                    <a:pt x="190" y="30"/>
                    <a:pt x="189" y="30"/>
                    <a:pt x="188" y="30"/>
                  </a:cubicBezTo>
                  <a:cubicBezTo>
                    <a:pt x="187" y="30"/>
                    <a:pt x="186" y="30"/>
                    <a:pt x="186" y="30"/>
                  </a:cubicBezTo>
                  <a:cubicBezTo>
                    <a:pt x="185" y="30"/>
                    <a:pt x="183" y="30"/>
                    <a:pt x="182" y="30"/>
                  </a:cubicBezTo>
                  <a:cubicBezTo>
                    <a:pt x="181" y="30"/>
                    <a:pt x="181" y="30"/>
                    <a:pt x="180" y="30"/>
                  </a:cubicBezTo>
                  <a:cubicBezTo>
                    <a:pt x="179" y="30"/>
                    <a:pt x="178" y="29"/>
                    <a:pt x="177" y="29"/>
                  </a:cubicBezTo>
                  <a:cubicBezTo>
                    <a:pt x="177" y="29"/>
                    <a:pt x="176" y="29"/>
                    <a:pt x="176" y="29"/>
                  </a:cubicBezTo>
                  <a:cubicBezTo>
                    <a:pt x="176" y="29"/>
                    <a:pt x="176" y="29"/>
                    <a:pt x="176" y="29"/>
                  </a:cubicBezTo>
                  <a:cubicBezTo>
                    <a:pt x="175" y="29"/>
                    <a:pt x="175" y="29"/>
                    <a:pt x="174" y="29"/>
                  </a:cubicBezTo>
                  <a:cubicBezTo>
                    <a:pt x="173" y="30"/>
                    <a:pt x="172" y="31"/>
                    <a:pt x="170" y="32"/>
                  </a:cubicBezTo>
                  <a:cubicBezTo>
                    <a:pt x="170" y="32"/>
                    <a:pt x="170" y="32"/>
                    <a:pt x="170" y="32"/>
                  </a:cubicBezTo>
                  <a:cubicBezTo>
                    <a:pt x="167" y="32"/>
                    <a:pt x="166" y="29"/>
                    <a:pt x="164" y="27"/>
                  </a:cubicBezTo>
                  <a:cubicBezTo>
                    <a:pt x="160" y="22"/>
                    <a:pt x="157" y="19"/>
                    <a:pt x="155" y="14"/>
                  </a:cubicBezTo>
                  <a:cubicBezTo>
                    <a:pt x="154" y="12"/>
                    <a:pt x="153" y="10"/>
                    <a:pt x="153" y="8"/>
                  </a:cubicBezTo>
                  <a:cubicBezTo>
                    <a:pt x="153" y="7"/>
                    <a:pt x="153" y="6"/>
                    <a:pt x="153" y="6"/>
                  </a:cubicBezTo>
                  <a:cubicBezTo>
                    <a:pt x="153" y="5"/>
                    <a:pt x="153" y="5"/>
                    <a:pt x="154" y="4"/>
                  </a:cubicBezTo>
                  <a:cubicBezTo>
                    <a:pt x="155" y="4"/>
                    <a:pt x="155" y="4"/>
                    <a:pt x="156" y="4"/>
                  </a:cubicBezTo>
                  <a:cubicBezTo>
                    <a:pt x="157" y="3"/>
                    <a:pt x="158" y="3"/>
                    <a:pt x="159" y="3"/>
                  </a:cubicBezTo>
                  <a:cubicBezTo>
                    <a:pt x="160" y="2"/>
                    <a:pt x="160" y="1"/>
                    <a:pt x="160" y="0"/>
                  </a:cubicBezTo>
                  <a:moveTo>
                    <a:pt x="168" y="0"/>
                  </a:moveTo>
                  <a:cubicBezTo>
                    <a:pt x="163" y="0"/>
                    <a:pt x="163" y="0"/>
                    <a:pt x="163" y="0"/>
                  </a:cubicBezTo>
                  <a:cubicBezTo>
                    <a:pt x="163" y="0"/>
                    <a:pt x="163" y="0"/>
                    <a:pt x="164" y="0"/>
                  </a:cubicBezTo>
                  <a:cubicBezTo>
                    <a:pt x="167" y="1"/>
                    <a:pt x="157" y="8"/>
                    <a:pt x="157" y="8"/>
                  </a:cubicBezTo>
                  <a:cubicBezTo>
                    <a:pt x="160" y="6"/>
                    <a:pt x="164" y="3"/>
                    <a:pt x="167" y="0"/>
                  </a:cubicBezTo>
                  <a:cubicBezTo>
                    <a:pt x="168" y="0"/>
                    <a:pt x="168" y="0"/>
                    <a:pt x="1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49890848"/>
      </p:ext>
    </p:extLst>
  </p:cSld>
  <p:clrMapOvr>
    <a:masterClrMapping/>
  </p:clrMapOvr>
  <p:transition/>
  <p:timing/>
</p:sldLayout>
</file>

<file path=ppt/slideLayouts/slideLayout18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Europe">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78" name="Text Placeholder 377"/>
          <p:cNvSpPr>
            <a:spLocks noGrp="1"/>
          </p:cNvSpPr>
          <p:nvPr>
            <p:ph type="body" sz="quarter" idx="12" hasCustomPrompt="1"/>
          </p:nvPr>
        </p:nvSpPr>
        <p:spPr>
          <a:xfrm>
            <a:off x="334963"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grpSp>
        <p:nvGrpSpPr>
          <p:cNvPr id="376" name="Group 375"/>
          <p:cNvGrpSpPr/>
          <p:nvPr userDrawn="1"/>
        </p:nvGrpSpPr>
        <p:grpSpPr>
          <a:xfrm>
            <a:off x="2336799" y="294744"/>
            <a:ext cx="9855207" cy="6563257"/>
            <a:chOff x="1533009" y="-232098"/>
            <a:chExt cx="10646298" cy="7090099"/>
          </a:xfrm>
          <a:gradFill>
            <a:gsLst>
              <a:gs pos="100000">
                <a:schemeClr val="accent4"/>
              </a:gs>
              <a:gs pos="0">
                <a:schemeClr val="accent1"/>
              </a:gs>
            </a:gsLst>
            <a:lin ang="1200000" scaled="0"/>
          </a:gradFill>
        </p:grpSpPr>
        <p:grpSp>
          <p:nvGrpSpPr>
            <p:cNvPr id="377" name="Group 376"/>
            <p:cNvGrpSpPr/>
            <p:nvPr/>
          </p:nvGrpSpPr>
          <p:grpSpPr>
            <a:xfrm>
              <a:off x="1533009" y="40537"/>
              <a:ext cx="10646298" cy="6817464"/>
              <a:chOff x="1533009" y="40537"/>
              <a:chExt cx="10646298" cy="6817464"/>
            </a:xfrm>
            <a:grpFill/>
          </p:grpSpPr>
          <p:grpSp>
            <p:nvGrpSpPr>
              <p:cNvPr id="389" name="Group 388"/>
              <p:cNvGrpSpPr/>
              <p:nvPr/>
            </p:nvGrpSpPr>
            <p:grpSpPr>
              <a:xfrm>
                <a:off x="1533009" y="40537"/>
                <a:ext cx="9054328" cy="6666374"/>
                <a:chOff x="1533009" y="40537"/>
                <a:chExt cx="9054328" cy="6666374"/>
              </a:xfrm>
              <a:grpFill/>
            </p:grpSpPr>
            <p:sp>
              <p:nvSpPr>
                <p:cNvPr id="565" name="Freeform 5"/>
                <p:cNvSpPr/>
                <p:nvPr/>
              </p:nvSpPr>
              <p:spPr bwMode="auto">
                <a:xfrm>
                  <a:off x="3534026" y="1076054"/>
                  <a:ext cx="106868" cy="51592"/>
                </a:xfrm>
                <a:custGeom>
                  <a:gdLst>
                    <a:gd name="T0" fmla="*/ 34 w 34"/>
                    <a:gd name="T1" fmla="*/ 0 h 16"/>
                    <a:gd name="T2" fmla="*/ 0 w 34"/>
                    <a:gd name="T3" fmla="*/ 16 h 16"/>
                    <a:gd name="T4" fmla="*/ 21 w 34"/>
                    <a:gd name="T5" fmla="*/ 9 h 16"/>
                    <a:gd name="T6" fmla="*/ 34 w 34"/>
                    <a:gd name="T7" fmla="*/ 0 h 16"/>
                  </a:gdLst>
                  <a:cxnLst>
                    <a:cxn ang="0">
                      <a:pos x="T0" y="T1"/>
                    </a:cxn>
                    <a:cxn ang="0">
                      <a:pos x="T2" y="T3"/>
                    </a:cxn>
                    <a:cxn ang="0">
                      <a:pos x="T4" y="T5"/>
                    </a:cxn>
                    <a:cxn ang="0">
                      <a:pos x="T6" y="T7"/>
                    </a:cxn>
                  </a:cxnLst>
                  <a:rect l="0" t="0" r="r" b="b"/>
                  <a:pathLst>
                    <a:path w="34" h="16">
                      <a:moveTo>
                        <a:pt x="34" y="0"/>
                      </a:moveTo>
                      <a:cubicBezTo>
                        <a:pt x="23" y="5"/>
                        <a:pt x="12" y="10"/>
                        <a:pt x="0" y="16"/>
                      </a:cubicBezTo>
                      <a:cubicBezTo>
                        <a:pt x="7" y="14"/>
                        <a:pt x="14" y="12"/>
                        <a:pt x="21" y="9"/>
                      </a:cubicBezTo>
                      <a:cubicBezTo>
                        <a:pt x="27" y="8"/>
                        <a:pt x="30" y="4"/>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8"/>
                <p:cNvSpPr/>
                <p:nvPr/>
              </p:nvSpPr>
              <p:spPr bwMode="auto">
                <a:xfrm>
                  <a:off x="2141053" y="2068290"/>
                  <a:ext cx="998666" cy="456954"/>
                </a:xfrm>
                <a:custGeom>
                  <a:gdLst>
                    <a:gd name="T0" fmla="*/ 231 w 314"/>
                    <a:gd name="T1" fmla="*/ 12 h 144"/>
                    <a:gd name="T2" fmla="*/ 195 w 314"/>
                    <a:gd name="T3" fmla="*/ 24 h 144"/>
                    <a:gd name="T4" fmla="*/ 184 w 314"/>
                    <a:gd name="T5" fmla="*/ 40 h 144"/>
                    <a:gd name="T6" fmla="*/ 146 w 314"/>
                    <a:gd name="T7" fmla="*/ 22 h 144"/>
                    <a:gd name="T8" fmla="*/ 146 w 314"/>
                    <a:gd name="T9" fmla="*/ 35 h 144"/>
                    <a:gd name="T10" fmla="*/ 124 w 314"/>
                    <a:gd name="T11" fmla="*/ 20 h 144"/>
                    <a:gd name="T12" fmla="*/ 116 w 314"/>
                    <a:gd name="T13" fmla="*/ 49 h 144"/>
                    <a:gd name="T14" fmla="*/ 108 w 314"/>
                    <a:gd name="T15" fmla="*/ 40 h 144"/>
                    <a:gd name="T16" fmla="*/ 98 w 314"/>
                    <a:gd name="T17" fmla="*/ 64 h 144"/>
                    <a:gd name="T18" fmla="*/ 87 w 314"/>
                    <a:gd name="T19" fmla="*/ 46 h 144"/>
                    <a:gd name="T20" fmla="*/ 83 w 314"/>
                    <a:gd name="T21" fmla="*/ 38 h 144"/>
                    <a:gd name="T22" fmla="*/ 84 w 314"/>
                    <a:gd name="T23" fmla="*/ 28 h 144"/>
                    <a:gd name="T24" fmla="*/ 58 w 314"/>
                    <a:gd name="T25" fmla="*/ 3 h 144"/>
                    <a:gd name="T26" fmla="*/ 44 w 314"/>
                    <a:gd name="T27" fmla="*/ 11 h 144"/>
                    <a:gd name="T28" fmla="*/ 54 w 314"/>
                    <a:gd name="T29" fmla="*/ 11 h 144"/>
                    <a:gd name="T30" fmla="*/ 61 w 314"/>
                    <a:gd name="T31" fmla="*/ 12 h 144"/>
                    <a:gd name="T32" fmla="*/ 61 w 314"/>
                    <a:gd name="T33" fmla="*/ 27 h 144"/>
                    <a:gd name="T34" fmla="*/ 54 w 314"/>
                    <a:gd name="T35" fmla="*/ 33 h 144"/>
                    <a:gd name="T36" fmla="*/ 28 w 314"/>
                    <a:gd name="T37" fmla="*/ 17 h 144"/>
                    <a:gd name="T38" fmla="*/ 33 w 314"/>
                    <a:gd name="T39" fmla="*/ 25 h 144"/>
                    <a:gd name="T40" fmla="*/ 36 w 314"/>
                    <a:gd name="T41" fmla="*/ 32 h 144"/>
                    <a:gd name="T42" fmla="*/ 19 w 314"/>
                    <a:gd name="T43" fmla="*/ 30 h 144"/>
                    <a:gd name="T44" fmla="*/ 29 w 314"/>
                    <a:gd name="T45" fmla="*/ 38 h 144"/>
                    <a:gd name="T46" fmla="*/ 13 w 314"/>
                    <a:gd name="T47" fmla="*/ 34 h 144"/>
                    <a:gd name="T48" fmla="*/ 19 w 314"/>
                    <a:gd name="T49" fmla="*/ 47 h 144"/>
                    <a:gd name="T50" fmla="*/ 3 w 314"/>
                    <a:gd name="T51" fmla="*/ 46 h 144"/>
                    <a:gd name="T52" fmla="*/ 34 w 314"/>
                    <a:gd name="T53" fmla="*/ 48 h 144"/>
                    <a:gd name="T54" fmla="*/ 81 w 314"/>
                    <a:gd name="T55" fmla="*/ 51 h 144"/>
                    <a:gd name="T56" fmla="*/ 74 w 314"/>
                    <a:gd name="T57" fmla="*/ 65 h 144"/>
                    <a:gd name="T58" fmla="*/ 69 w 314"/>
                    <a:gd name="T59" fmla="*/ 70 h 144"/>
                    <a:gd name="T60" fmla="*/ 53 w 314"/>
                    <a:gd name="T61" fmla="*/ 72 h 144"/>
                    <a:gd name="T62" fmla="*/ 46 w 314"/>
                    <a:gd name="T63" fmla="*/ 72 h 144"/>
                    <a:gd name="T64" fmla="*/ 42 w 314"/>
                    <a:gd name="T65" fmla="*/ 72 h 144"/>
                    <a:gd name="T66" fmla="*/ 39 w 314"/>
                    <a:gd name="T67" fmla="*/ 71 h 144"/>
                    <a:gd name="T68" fmla="*/ 25 w 314"/>
                    <a:gd name="T69" fmla="*/ 76 h 144"/>
                    <a:gd name="T70" fmla="*/ 14 w 314"/>
                    <a:gd name="T71" fmla="*/ 77 h 144"/>
                    <a:gd name="T72" fmla="*/ 61 w 314"/>
                    <a:gd name="T73" fmla="*/ 88 h 144"/>
                    <a:gd name="T74" fmla="*/ 66 w 314"/>
                    <a:gd name="T75" fmla="*/ 96 h 144"/>
                    <a:gd name="T76" fmla="*/ 69 w 314"/>
                    <a:gd name="T77" fmla="*/ 103 h 144"/>
                    <a:gd name="T78" fmla="*/ 63 w 314"/>
                    <a:gd name="T79" fmla="*/ 115 h 144"/>
                    <a:gd name="T80" fmla="*/ 52 w 314"/>
                    <a:gd name="T81" fmla="*/ 125 h 144"/>
                    <a:gd name="T82" fmla="*/ 116 w 314"/>
                    <a:gd name="T83" fmla="*/ 127 h 144"/>
                    <a:gd name="T84" fmla="*/ 163 w 314"/>
                    <a:gd name="T85" fmla="*/ 144 h 144"/>
                    <a:gd name="T86" fmla="*/ 183 w 314"/>
                    <a:gd name="T87" fmla="*/ 140 h 144"/>
                    <a:gd name="T88" fmla="*/ 239 w 314"/>
                    <a:gd name="T89" fmla="*/ 113 h 144"/>
                    <a:gd name="T90" fmla="*/ 266 w 314"/>
                    <a:gd name="T91" fmla="*/ 105 h 144"/>
                    <a:gd name="T92" fmla="*/ 283 w 314"/>
                    <a:gd name="T93" fmla="*/ 98 h 144"/>
                    <a:gd name="T94" fmla="*/ 293 w 314"/>
                    <a:gd name="T95" fmla="*/ 86 h 144"/>
                    <a:gd name="T96" fmla="*/ 299 w 314"/>
                    <a:gd name="T97" fmla="*/ 75 h 144"/>
                    <a:gd name="T98" fmla="*/ 302 w 314"/>
                    <a:gd name="T99" fmla="*/ 71 h 144"/>
                    <a:gd name="T100" fmla="*/ 293 w 314"/>
                    <a:gd name="T101" fmla="*/ 70 h 144"/>
                    <a:gd name="T102" fmla="*/ 303 w 314"/>
                    <a:gd name="T103" fmla="*/ 62 h 144"/>
                    <a:gd name="T104" fmla="*/ 312 w 314"/>
                    <a:gd name="T105" fmla="*/ 59 h 144"/>
                    <a:gd name="T106" fmla="*/ 307 w 314"/>
                    <a:gd name="T107" fmla="*/ 56 h 144"/>
                    <a:gd name="T108" fmla="*/ 292 w 314"/>
                    <a:gd name="T109" fmla="*/ 41 h 144"/>
                    <a:gd name="T110" fmla="*/ 289 w 314"/>
                    <a:gd name="T111" fmla="*/ 41 h 144"/>
                    <a:gd name="T112" fmla="*/ 277 w 314"/>
                    <a:gd name="T113" fmla="*/ 37 h 144"/>
                    <a:gd name="T114" fmla="*/ 269 w 314"/>
                    <a:gd name="T115" fmla="*/ 18 h 144"/>
                    <a:gd name="T116" fmla="*/ 281 w 314"/>
                    <a:gd name="T117" fmla="*/ 7 h 144"/>
                    <a:gd name="T118" fmla="*/ 250 w 314"/>
                    <a:gd name="T119" fmla="*/ 6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4" h="144">
                      <a:moveTo>
                        <a:pt x="239" y="0"/>
                      </a:moveTo>
                      <a:cubicBezTo>
                        <a:pt x="237" y="0"/>
                        <a:pt x="234" y="1"/>
                        <a:pt x="231" y="1"/>
                      </a:cubicBezTo>
                      <a:cubicBezTo>
                        <a:pt x="227" y="1"/>
                        <a:pt x="226" y="2"/>
                        <a:pt x="228" y="7"/>
                      </a:cubicBezTo>
                      <a:cubicBezTo>
                        <a:pt x="229" y="9"/>
                        <a:pt x="231" y="11"/>
                        <a:pt x="231" y="12"/>
                      </a:cubicBezTo>
                      <a:cubicBezTo>
                        <a:pt x="231" y="15"/>
                        <a:pt x="227" y="16"/>
                        <a:pt x="230" y="18"/>
                      </a:cubicBezTo>
                      <a:cubicBezTo>
                        <a:pt x="225" y="18"/>
                        <a:pt x="219" y="17"/>
                        <a:pt x="214" y="16"/>
                      </a:cubicBezTo>
                      <a:cubicBezTo>
                        <a:pt x="210" y="18"/>
                        <a:pt x="201" y="24"/>
                        <a:pt x="196" y="24"/>
                      </a:cubicBezTo>
                      <a:cubicBezTo>
                        <a:pt x="196" y="24"/>
                        <a:pt x="195" y="24"/>
                        <a:pt x="195" y="24"/>
                      </a:cubicBezTo>
                      <a:cubicBezTo>
                        <a:pt x="193" y="23"/>
                        <a:pt x="192" y="21"/>
                        <a:pt x="190" y="20"/>
                      </a:cubicBezTo>
                      <a:cubicBezTo>
                        <a:pt x="188" y="18"/>
                        <a:pt x="183" y="17"/>
                        <a:pt x="179" y="17"/>
                      </a:cubicBezTo>
                      <a:cubicBezTo>
                        <a:pt x="179" y="17"/>
                        <a:pt x="178" y="17"/>
                        <a:pt x="178" y="17"/>
                      </a:cubicBezTo>
                      <a:cubicBezTo>
                        <a:pt x="179" y="25"/>
                        <a:pt x="182" y="32"/>
                        <a:pt x="184" y="40"/>
                      </a:cubicBezTo>
                      <a:cubicBezTo>
                        <a:pt x="179" y="32"/>
                        <a:pt x="174" y="26"/>
                        <a:pt x="169" y="20"/>
                      </a:cubicBezTo>
                      <a:cubicBezTo>
                        <a:pt x="167" y="18"/>
                        <a:pt x="164" y="17"/>
                        <a:pt x="162" y="17"/>
                      </a:cubicBezTo>
                      <a:cubicBezTo>
                        <a:pt x="160" y="17"/>
                        <a:pt x="158" y="17"/>
                        <a:pt x="155" y="18"/>
                      </a:cubicBezTo>
                      <a:cubicBezTo>
                        <a:pt x="153" y="18"/>
                        <a:pt x="148" y="21"/>
                        <a:pt x="146" y="22"/>
                      </a:cubicBezTo>
                      <a:cubicBezTo>
                        <a:pt x="144" y="24"/>
                        <a:pt x="146" y="24"/>
                        <a:pt x="145" y="25"/>
                      </a:cubicBezTo>
                      <a:cubicBezTo>
                        <a:pt x="145" y="26"/>
                        <a:pt x="143" y="26"/>
                        <a:pt x="143" y="27"/>
                      </a:cubicBezTo>
                      <a:cubicBezTo>
                        <a:pt x="143" y="27"/>
                        <a:pt x="145" y="30"/>
                        <a:pt x="146" y="31"/>
                      </a:cubicBezTo>
                      <a:cubicBezTo>
                        <a:pt x="146" y="32"/>
                        <a:pt x="146" y="34"/>
                        <a:pt x="146" y="35"/>
                      </a:cubicBezTo>
                      <a:cubicBezTo>
                        <a:pt x="145" y="37"/>
                        <a:pt x="145" y="37"/>
                        <a:pt x="144" y="37"/>
                      </a:cubicBezTo>
                      <a:cubicBezTo>
                        <a:pt x="143" y="37"/>
                        <a:pt x="141" y="34"/>
                        <a:pt x="139" y="33"/>
                      </a:cubicBezTo>
                      <a:cubicBezTo>
                        <a:pt x="135" y="29"/>
                        <a:pt x="131" y="25"/>
                        <a:pt x="127" y="21"/>
                      </a:cubicBezTo>
                      <a:cubicBezTo>
                        <a:pt x="126" y="20"/>
                        <a:pt x="125" y="20"/>
                        <a:pt x="124" y="20"/>
                      </a:cubicBezTo>
                      <a:cubicBezTo>
                        <a:pt x="123" y="20"/>
                        <a:pt x="122" y="20"/>
                        <a:pt x="121" y="20"/>
                      </a:cubicBezTo>
                      <a:cubicBezTo>
                        <a:pt x="117" y="21"/>
                        <a:pt x="117" y="21"/>
                        <a:pt x="118" y="25"/>
                      </a:cubicBezTo>
                      <a:cubicBezTo>
                        <a:pt x="119" y="28"/>
                        <a:pt x="121" y="33"/>
                        <a:pt x="121" y="36"/>
                      </a:cubicBezTo>
                      <a:cubicBezTo>
                        <a:pt x="121" y="40"/>
                        <a:pt x="118" y="45"/>
                        <a:pt x="116" y="49"/>
                      </a:cubicBezTo>
                      <a:cubicBezTo>
                        <a:pt x="114" y="48"/>
                        <a:pt x="113" y="45"/>
                        <a:pt x="111" y="45"/>
                      </a:cubicBezTo>
                      <a:cubicBezTo>
                        <a:pt x="111" y="45"/>
                        <a:pt x="111" y="45"/>
                        <a:pt x="111" y="45"/>
                      </a:cubicBezTo>
                      <a:cubicBezTo>
                        <a:pt x="111" y="42"/>
                        <a:pt x="112" y="40"/>
                        <a:pt x="110" y="40"/>
                      </a:cubicBezTo>
                      <a:cubicBezTo>
                        <a:pt x="109" y="40"/>
                        <a:pt x="109" y="40"/>
                        <a:pt x="108" y="40"/>
                      </a:cubicBezTo>
                      <a:cubicBezTo>
                        <a:pt x="107" y="40"/>
                        <a:pt x="105" y="42"/>
                        <a:pt x="104" y="43"/>
                      </a:cubicBezTo>
                      <a:cubicBezTo>
                        <a:pt x="101" y="46"/>
                        <a:pt x="104" y="51"/>
                        <a:pt x="100" y="53"/>
                      </a:cubicBezTo>
                      <a:cubicBezTo>
                        <a:pt x="100" y="52"/>
                        <a:pt x="99" y="51"/>
                        <a:pt x="98" y="50"/>
                      </a:cubicBezTo>
                      <a:cubicBezTo>
                        <a:pt x="97" y="55"/>
                        <a:pt x="98" y="60"/>
                        <a:pt x="98" y="64"/>
                      </a:cubicBezTo>
                      <a:cubicBezTo>
                        <a:pt x="95" y="60"/>
                        <a:pt x="92" y="55"/>
                        <a:pt x="88" y="52"/>
                      </a:cubicBezTo>
                      <a:cubicBezTo>
                        <a:pt x="86" y="50"/>
                        <a:pt x="90" y="49"/>
                        <a:pt x="91" y="48"/>
                      </a:cubicBezTo>
                      <a:cubicBezTo>
                        <a:pt x="92" y="46"/>
                        <a:pt x="92" y="45"/>
                        <a:pt x="90" y="45"/>
                      </a:cubicBezTo>
                      <a:cubicBezTo>
                        <a:pt x="89" y="45"/>
                        <a:pt x="88" y="45"/>
                        <a:pt x="87" y="46"/>
                      </a:cubicBezTo>
                      <a:cubicBezTo>
                        <a:pt x="91" y="41"/>
                        <a:pt x="86" y="43"/>
                        <a:pt x="83" y="42"/>
                      </a:cubicBezTo>
                      <a:cubicBezTo>
                        <a:pt x="81" y="41"/>
                        <a:pt x="80" y="38"/>
                        <a:pt x="79" y="36"/>
                      </a:cubicBezTo>
                      <a:cubicBezTo>
                        <a:pt x="79" y="36"/>
                        <a:pt x="79" y="36"/>
                        <a:pt x="79" y="36"/>
                      </a:cubicBezTo>
                      <a:cubicBezTo>
                        <a:pt x="80" y="36"/>
                        <a:pt x="82" y="37"/>
                        <a:pt x="83" y="38"/>
                      </a:cubicBezTo>
                      <a:cubicBezTo>
                        <a:pt x="84" y="39"/>
                        <a:pt x="85" y="40"/>
                        <a:pt x="87" y="40"/>
                      </a:cubicBezTo>
                      <a:cubicBezTo>
                        <a:pt x="88" y="40"/>
                        <a:pt x="89" y="39"/>
                        <a:pt x="90" y="38"/>
                      </a:cubicBezTo>
                      <a:cubicBezTo>
                        <a:pt x="90" y="37"/>
                        <a:pt x="92" y="34"/>
                        <a:pt x="92" y="32"/>
                      </a:cubicBezTo>
                      <a:cubicBezTo>
                        <a:pt x="93" y="27"/>
                        <a:pt x="88" y="28"/>
                        <a:pt x="84" y="28"/>
                      </a:cubicBezTo>
                      <a:cubicBezTo>
                        <a:pt x="86" y="26"/>
                        <a:pt x="89" y="26"/>
                        <a:pt x="91" y="25"/>
                      </a:cubicBezTo>
                      <a:cubicBezTo>
                        <a:pt x="86" y="24"/>
                        <a:pt x="82" y="25"/>
                        <a:pt x="79" y="21"/>
                      </a:cubicBezTo>
                      <a:cubicBezTo>
                        <a:pt x="74" y="14"/>
                        <a:pt x="71" y="11"/>
                        <a:pt x="65" y="7"/>
                      </a:cubicBezTo>
                      <a:cubicBezTo>
                        <a:pt x="62" y="5"/>
                        <a:pt x="61" y="4"/>
                        <a:pt x="58" y="3"/>
                      </a:cubicBezTo>
                      <a:cubicBezTo>
                        <a:pt x="57" y="3"/>
                        <a:pt x="56" y="3"/>
                        <a:pt x="54" y="3"/>
                      </a:cubicBezTo>
                      <a:cubicBezTo>
                        <a:pt x="50" y="3"/>
                        <a:pt x="45" y="4"/>
                        <a:pt x="40" y="4"/>
                      </a:cubicBezTo>
                      <a:cubicBezTo>
                        <a:pt x="43" y="7"/>
                        <a:pt x="39" y="11"/>
                        <a:pt x="44" y="11"/>
                      </a:cubicBezTo>
                      <a:cubicBezTo>
                        <a:pt x="44" y="11"/>
                        <a:pt x="44" y="11"/>
                        <a:pt x="44" y="11"/>
                      </a:cubicBezTo>
                      <a:cubicBezTo>
                        <a:pt x="46" y="11"/>
                        <a:pt x="47" y="9"/>
                        <a:pt x="49" y="8"/>
                      </a:cubicBezTo>
                      <a:cubicBezTo>
                        <a:pt x="48" y="9"/>
                        <a:pt x="48" y="10"/>
                        <a:pt x="49" y="10"/>
                      </a:cubicBezTo>
                      <a:cubicBezTo>
                        <a:pt x="50" y="10"/>
                        <a:pt x="54" y="8"/>
                        <a:pt x="54" y="8"/>
                      </a:cubicBezTo>
                      <a:cubicBezTo>
                        <a:pt x="53" y="10"/>
                        <a:pt x="51" y="11"/>
                        <a:pt x="54" y="11"/>
                      </a:cubicBezTo>
                      <a:cubicBezTo>
                        <a:pt x="54" y="11"/>
                        <a:pt x="55" y="11"/>
                        <a:pt x="55" y="11"/>
                      </a:cubicBezTo>
                      <a:cubicBezTo>
                        <a:pt x="56" y="11"/>
                        <a:pt x="58" y="10"/>
                        <a:pt x="58" y="10"/>
                      </a:cubicBezTo>
                      <a:cubicBezTo>
                        <a:pt x="59" y="10"/>
                        <a:pt x="59" y="11"/>
                        <a:pt x="57" y="12"/>
                      </a:cubicBezTo>
                      <a:cubicBezTo>
                        <a:pt x="59" y="12"/>
                        <a:pt x="60" y="12"/>
                        <a:pt x="61" y="12"/>
                      </a:cubicBezTo>
                      <a:cubicBezTo>
                        <a:pt x="58" y="15"/>
                        <a:pt x="54" y="16"/>
                        <a:pt x="50" y="19"/>
                      </a:cubicBezTo>
                      <a:cubicBezTo>
                        <a:pt x="54" y="19"/>
                        <a:pt x="56" y="21"/>
                        <a:pt x="59" y="21"/>
                      </a:cubicBezTo>
                      <a:cubicBezTo>
                        <a:pt x="60" y="21"/>
                        <a:pt x="60" y="21"/>
                        <a:pt x="61" y="21"/>
                      </a:cubicBezTo>
                      <a:cubicBezTo>
                        <a:pt x="58" y="24"/>
                        <a:pt x="60" y="24"/>
                        <a:pt x="61" y="27"/>
                      </a:cubicBezTo>
                      <a:cubicBezTo>
                        <a:pt x="61" y="29"/>
                        <a:pt x="61" y="30"/>
                        <a:pt x="60" y="32"/>
                      </a:cubicBezTo>
                      <a:cubicBezTo>
                        <a:pt x="59" y="30"/>
                        <a:pt x="58" y="28"/>
                        <a:pt x="57" y="28"/>
                      </a:cubicBezTo>
                      <a:cubicBezTo>
                        <a:pt x="57" y="28"/>
                        <a:pt x="56" y="28"/>
                        <a:pt x="55" y="30"/>
                      </a:cubicBezTo>
                      <a:cubicBezTo>
                        <a:pt x="55" y="31"/>
                        <a:pt x="54" y="32"/>
                        <a:pt x="54" y="33"/>
                      </a:cubicBezTo>
                      <a:cubicBezTo>
                        <a:pt x="55" y="27"/>
                        <a:pt x="56" y="27"/>
                        <a:pt x="53" y="23"/>
                      </a:cubicBezTo>
                      <a:cubicBezTo>
                        <a:pt x="51" y="25"/>
                        <a:pt x="50" y="27"/>
                        <a:pt x="49" y="29"/>
                      </a:cubicBezTo>
                      <a:cubicBezTo>
                        <a:pt x="47" y="26"/>
                        <a:pt x="46" y="22"/>
                        <a:pt x="43" y="20"/>
                      </a:cubicBezTo>
                      <a:cubicBezTo>
                        <a:pt x="39" y="18"/>
                        <a:pt x="32" y="18"/>
                        <a:pt x="28" y="17"/>
                      </a:cubicBezTo>
                      <a:cubicBezTo>
                        <a:pt x="29" y="18"/>
                        <a:pt x="31" y="19"/>
                        <a:pt x="32" y="20"/>
                      </a:cubicBezTo>
                      <a:cubicBezTo>
                        <a:pt x="30" y="19"/>
                        <a:pt x="29" y="19"/>
                        <a:pt x="28" y="19"/>
                      </a:cubicBezTo>
                      <a:cubicBezTo>
                        <a:pt x="27" y="19"/>
                        <a:pt x="26" y="19"/>
                        <a:pt x="25" y="19"/>
                      </a:cubicBezTo>
                      <a:cubicBezTo>
                        <a:pt x="27" y="22"/>
                        <a:pt x="31" y="22"/>
                        <a:pt x="33" y="25"/>
                      </a:cubicBezTo>
                      <a:cubicBezTo>
                        <a:pt x="31" y="25"/>
                        <a:pt x="26" y="22"/>
                        <a:pt x="23" y="22"/>
                      </a:cubicBezTo>
                      <a:cubicBezTo>
                        <a:pt x="22" y="22"/>
                        <a:pt x="21" y="22"/>
                        <a:pt x="21" y="23"/>
                      </a:cubicBezTo>
                      <a:cubicBezTo>
                        <a:pt x="20" y="26"/>
                        <a:pt x="28" y="29"/>
                        <a:pt x="31" y="30"/>
                      </a:cubicBezTo>
                      <a:cubicBezTo>
                        <a:pt x="32" y="31"/>
                        <a:pt x="34" y="31"/>
                        <a:pt x="36" y="32"/>
                      </a:cubicBezTo>
                      <a:cubicBezTo>
                        <a:pt x="33" y="32"/>
                        <a:pt x="30" y="32"/>
                        <a:pt x="27" y="31"/>
                      </a:cubicBezTo>
                      <a:cubicBezTo>
                        <a:pt x="26" y="31"/>
                        <a:pt x="24" y="29"/>
                        <a:pt x="22" y="29"/>
                      </a:cubicBezTo>
                      <a:cubicBezTo>
                        <a:pt x="22" y="29"/>
                        <a:pt x="21" y="29"/>
                        <a:pt x="20" y="29"/>
                      </a:cubicBezTo>
                      <a:cubicBezTo>
                        <a:pt x="20" y="29"/>
                        <a:pt x="20" y="29"/>
                        <a:pt x="19" y="30"/>
                      </a:cubicBezTo>
                      <a:cubicBezTo>
                        <a:pt x="18" y="32"/>
                        <a:pt x="26" y="34"/>
                        <a:pt x="28" y="34"/>
                      </a:cubicBezTo>
                      <a:cubicBezTo>
                        <a:pt x="30" y="35"/>
                        <a:pt x="32" y="36"/>
                        <a:pt x="34" y="36"/>
                      </a:cubicBezTo>
                      <a:cubicBezTo>
                        <a:pt x="35" y="36"/>
                        <a:pt x="36" y="36"/>
                        <a:pt x="38" y="35"/>
                      </a:cubicBezTo>
                      <a:cubicBezTo>
                        <a:pt x="35" y="37"/>
                        <a:pt x="32" y="37"/>
                        <a:pt x="29" y="38"/>
                      </a:cubicBezTo>
                      <a:cubicBezTo>
                        <a:pt x="28" y="39"/>
                        <a:pt x="28" y="43"/>
                        <a:pt x="27" y="43"/>
                      </a:cubicBezTo>
                      <a:cubicBezTo>
                        <a:pt x="27" y="43"/>
                        <a:pt x="27" y="42"/>
                        <a:pt x="26" y="41"/>
                      </a:cubicBezTo>
                      <a:cubicBezTo>
                        <a:pt x="25" y="39"/>
                        <a:pt x="24" y="39"/>
                        <a:pt x="21" y="37"/>
                      </a:cubicBezTo>
                      <a:cubicBezTo>
                        <a:pt x="18" y="36"/>
                        <a:pt x="16" y="35"/>
                        <a:pt x="13" y="34"/>
                      </a:cubicBezTo>
                      <a:cubicBezTo>
                        <a:pt x="11" y="41"/>
                        <a:pt x="17" y="40"/>
                        <a:pt x="21" y="43"/>
                      </a:cubicBezTo>
                      <a:cubicBezTo>
                        <a:pt x="18" y="43"/>
                        <a:pt x="16" y="42"/>
                        <a:pt x="13" y="42"/>
                      </a:cubicBezTo>
                      <a:cubicBezTo>
                        <a:pt x="14" y="44"/>
                        <a:pt x="17" y="46"/>
                        <a:pt x="20" y="47"/>
                      </a:cubicBezTo>
                      <a:cubicBezTo>
                        <a:pt x="19" y="47"/>
                        <a:pt x="19" y="47"/>
                        <a:pt x="19" y="47"/>
                      </a:cubicBezTo>
                      <a:cubicBezTo>
                        <a:pt x="17" y="47"/>
                        <a:pt x="15" y="46"/>
                        <a:pt x="13" y="45"/>
                      </a:cubicBezTo>
                      <a:cubicBezTo>
                        <a:pt x="11" y="44"/>
                        <a:pt x="9" y="42"/>
                        <a:pt x="7" y="42"/>
                      </a:cubicBezTo>
                      <a:cubicBezTo>
                        <a:pt x="6" y="42"/>
                        <a:pt x="6" y="43"/>
                        <a:pt x="5" y="43"/>
                      </a:cubicBezTo>
                      <a:cubicBezTo>
                        <a:pt x="5" y="43"/>
                        <a:pt x="4" y="45"/>
                        <a:pt x="3" y="46"/>
                      </a:cubicBezTo>
                      <a:cubicBezTo>
                        <a:pt x="2" y="47"/>
                        <a:pt x="1" y="48"/>
                        <a:pt x="0" y="48"/>
                      </a:cubicBezTo>
                      <a:cubicBezTo>
                        <a:pt x="5" y="50"/>
                        <a:pt x="12" y="52"/>
                        <a:pt x="17" y="53"/>
                      </a:cubicBezTo>
                      <a:cubicBezTo>
                        <a:pt x="17" y="53"/>
                        <a:pt x="17" y="53"/>
                        <a:pt x="18" y="53"/>
                      </a:cubicBezTo>
                      <a:cubicBezTo>
                        <a:pt x="23" y="53"/>
                        <a:pt x="29" y="49"/>
                        <a:pt x="34" y="48"/>
                      </a:cubicBezTo>
                      <a:cubicBezTo>
                        <a:pt x="38" y="47"/>
                        <a:pt x="42" y="44"/>
                        <a:pt x="45" y="44"/>
                      </a:cubicBezTo>
                      <a:cubicBezTo>
                        <a:pt x="46" y="44"/>
                        <a:pt x="46" y="44"/>
                        <a:pt x="46" y="44"/>
                      </a:cubicBezTo>
                      <a:cubicBezTo>
                        <a:pt x="49" y="44"/>
                        <a:pt x="52" y="45"/>
                        <a:pt x="55" y="46"/>
                      </a:cubicBezTo>
                      <a:cubicBezTo>
                        <a:pt x="63" y="47"/>
                        <a:pt x="72" y="49"/>
                        <a:pt x="81" y="51"/>
                      </a:cubicBezTo>
                      <a:cubicBezTo>
                        <a:pt x="75" y="52"/>
                        <a:pt x="72" y="54"/>
                        <a:pt x="68" y="56"/>
                      </a:cubicBezTo>
                      <a:cubicBezTo>
                        <a:pt x="64" y="58"/>
                        <a:pt x="59" y="59"/>
                        <a:pt x="57" y="62"/>
                      </a:cubicBezTo>
                      <a:cubicBezTo>
                        <a:pt x="60" y="63"/>
                        <a:pt x="67" y="66"/>
                        <a:pt x="71" y="66"/>
                      </a:cubicBezTo>
                      <a:cubicBezTo>
                        <a:pt x="72" y="66"/>
                        <a:pt x="73" y="65"/>
                        <a:pt x="74" y="65"/>
                      </a:cubicBezTo>
                      <a:cubicBezTo>
                        <a:pt x="75" y="65"/>
                        <a:pt x="76" y="63"/>
                        <a:pt x="77" y="63"/>
                      </a:cubicBezTo>
                      <a:cubicBezTo>
                        <a:pt x="77" y="63"/>
                        <a:pt x="77" y="63"/>
                        <a:pt x="78" y="63"/>
                      </a:cubicBezTo>
                      <a:cubicBezTo>
                        <a:pt x="81" y="63"/>
                        <a:pt x="78" y="69"/>
                        <a:pt x="77" y="69"/>
                      </a:cubicBezTo>
                      <a:cubicBezTo>
                        <a:pt x="74" y="70"/>
                        <a:pt x="72" y="70"/>
                        <a:pt x="69" y="70"/>
                      </a:cubicBezTo>
                      <a:cubicBezTo>
                        <a:pt x="68" y="70"/>
                        <a:pt x="67" y="70"/>
                        <a:pt x="66" y="70"/>
                      </a:cubicBezTo>
                      <a:cubicBezTo>
                        <a:pt x="64" y="70"/>
                        <a:pt x="62" y="69"/>
                        <a:pt x="60" y="69"/>
                      </a:cubicBezTo>
                      <a:cubicBezTo>
                        <a:pt x="59" y="69"/>
                        <a:pt x="58" y="69"/>
                        <a:pt x="58" y="69"/>
                      </a:cubicBezTo>
                      <a:cubicBezTo>
                        <a:pt x="56" y="70"/>
                        <a:pt x="54" y="72"/>
                        <a:pt x="53" y="72"/>
                      </a:cubicBezTo>
                      <a:cubicBezTo>
                        <a:pt x="53" y="72"/>
                        <a:pt x="53" y="72"/>
                        <a:pt x="53" y="72"/>
                      </a:cubicBezTo>
                      <a:cubicBezTo>
                        <a:pt x="53" y="72"/>
                        <a:pt x="52" y="71"/>
                        <a:pt x="51" y="70"/>
                      </a:cubicBezTo>
                      <a:cubicBezTo>
                        <a:pt x="51" y="70"/>
                        <a:pt x="51" y="69"/>
                        <a:pt x="51" y="68"/>
                      </a:cubicBezTo>
                      <a:cubicBezTo>
                        <a:pt x="50" y="69"/>
                        <a:pt x="47" y="71"/>
                        <a:pt x="46" y="72"/>
                      </a:cubicBezTo>
                      <a:cubicBezTo>
                        <a:pt x="46" y="72"/>
                        <a:pt x="46" y="72"/>
                        <a:pt x="45" y="72"/>
                      </a:cubicBezTo>
                      <a:cubicBezTo>
                        <a:pt x="45" y="72"/>
                        <a:pt x="45" y="72"/>
                        <a:pt x="45" y="72"/>
                      </a:cubicBezTo>
                      <a:cubicBezTo>
                        <a:pt x="44" y="71"/>
                        <a:pt x="44" y="71"/>
                        <a:pt x="43" y="71"/>
                      </a:cubicBezTo>
                      <a:cubicBezTo>
                        <a:pt x="43" y="71"/>
                        <a:pt x="43" y="71"/>
                        <a:pt x="42" y="72"/>
                      </a:cubicBezTo>
                      <a:cubicBezTo>
                        <a:pt x="42" y="72"/>
                        <a:pt x="40" y="74"/>
                        <a:pt x="40" y="74"/>
                      </a:cubicBezTo>
                      <a:cubicBezTo>
                        <a:pt x="40" y="74"/>
                        <a:pt x="40" y="74"/>
                        <a:pt x="40" y="74"/>
                      </a:cubicBezTo>
                      <a:cubicBezTo>
                        <a:pt x="38" y="74"/>
                        <a:pt x="41" y="72"/>
                        <a:pt x="39" y="71"/>
                      </a:cubicBezTo>
                      <a:cubicBezTo>
                        <a:pt x="39" y="71"/>
                        <a:pt x="39" y="71"/>
                        <a:pt x="39" y="71"/>
                      </a:cubicBezTo>
                      <a:cubicBezTo>
                        <a:pt x="37" y="71"/>
                        <a:pt x="36" y="74"/>
                        <a:pt x="35" y="75"/>
                      </a:cubicBezTo>
                      <a:cubicBezTo>
                        <a:pt x="34" y="74"/>
                        <a:pt x="34" y="73"/>
                        <a:pt x="33" y="73"/>
                      </a:cubicBezTo>
                      <a:cubicBezTo>
                        <a:pt x="31" y="73"/>
                        <a:pt x="28" y="76"/>
                        <a:pt x="25" y="76"/>
                      </a:cubicBezTo>
                      <a:cubicBezTo>
                        <a:pt x="25" y="76"/>
                        <a:pt x="25" y="76"/>
                        <a:pt x="25" y="76"/>
                      </a:cubicBezTo>
                      <a:cubicBezTo>
                        <a:pt x="24" y="76"/>
                        <a:pt x="23" y="76"/>
                        <a:pt x="22" y="76"/>
                      </a:cubicBezTo>
                      <a:cubicBezTo>
                        <a:pt x="21" y="75"/>
                        <a:pt x="20" y="75"/>
                        <a:pt x="19" y="75"/>
                      </a:cubicBezTo>
                      <a:cubicBezTo>
                        <a:pt x="19" y="75"/>
                        <a:pt x="19" y="75"/>
                        <a:pt x="19" y="75"/>
                      </a:cubicBezTo>
                      <a:cubicBezTo>
                        <a:pt x="17" y="75"/>
                        <a:pt x="16" y="76"/>
                        <a:pt x="14" y="77"/>
                      </a:cubicBezTo>
                      <a:cubicBezTo>
                        <a:pt x="16" y="83"/>
                        <a:pt x="18" y="84"/>
                        <a:pt x="24" y="84"/>
                      </a:cubicBezTo>
                      <a:cubicBezTo>
                        <a:pt x="24" y="84"/>
                        <a:pt x="24" y="84"/>
                        <a:pt x="24" y="84"/>
                      </a:cubicBezTo>
                      <a:cubicBezTo>
                        <a:pt x="38" y="84"/>
                        <a:pt x="53" y="84"/>
                        <a:pt x="67" y="84"/>
                      </a:cubicBezTo>
                      <a:cubicBezTo>
                        <a:pt x="65" y="85"/>
                        <a:pt x="63" y="88"/>
                        <a:pt x="61" y="88"/>
                      </a:cubicBezTo>
                      <a:cubicBezTo>
                        <a:pt x="61" y="88"/>
                        <a:pt x="60" y="88"/>
                        <a:pt x="60" y="88"/>
                      </a:cubicBezTo>
                      <a:cubicBezTo>
                        <a:pt x="61" y="89"/>
                        <a:pt x="61" y="90"/>
                        <a:pt x="62" y="90"/>
                      </a:cubicBezTo>
                      <a:cubicBezTo>
                        <a:pt x="63" y="92"/>
                        <a:pt x="64" y="92"/>
                        <a:pt x="66" y="93"/>
                      </a:cubicBezTo>
                      <a:cubicBezTo>
                        <a:pt x="66" y="94"/>
                        <a:pt x="64" y="95"/>
                        <a:pt x="66" y="96"/>
                      </a:cubicBezTo>
                      <a:cubicBezTo>
                        <a:pt x="67" y="96"/>
                        <a:pt x="67" y="96"/>
                        <a:pt x="67" y="96"/>
                      </a:cubicBezTo>
                      <a:cubicBezTo>
                        <a:pt x="70" y="96"/>
                        <a:pt x="76" y="92"/>
                        <a:pt x="78" y="91"/>
                      </a:cubicBezTo>
                      <a:cubicBezTo>
                        <a:pt x="77" y="94"/>
                        <a:pt x="74" y="94"/>
                        <a:pt x="72" y="96"/>
                      </a:cubicBezTo>
                      <a:cubicBezTo>
                        <a:pt x="71" y="98"/>
                        <a:pt x="72" y="102"/>
                        <a:pt x="69" y="103"/>
                      </a:cubicBezTo>
                      <a:cubicBezTo>
                        <a:pt x="73" y="102"/>
                        <a:pt x="77" y="102"/>
                        <a:pt x="81" y="101"/>
                      </a:cubicBezTo>
                      <a:cubicBezTo>
                        <a:pt x="78" y="102"/>
                        <a:pt x="76" y="105"/>
                        <a:pt x="74" y="107"/>
                      </a:cubicBezTo>
                      <a:cubicBezTo>
                        <a:pt x="76" y="108"/>
                        <a:pt x="78" y="109"/>
                        <a:pt x="79" y="110"/>
                      </a:cubicBezTo>
                      <a:cubicBezTo>
                        <a:pt x="74" y="111"/>
                        <a:pt x="69" y="113"/>
                        <a:pt x="63" y="115"/>
                      </a:cubicBezTo>
                      <a:cubicBezTo>
                        <a:pt x="62" y="116"/>
                        <a:pt x="59" y="117"/>
                        <a:pt x="57" y="117"/>
                      </a:cubicBezTo>
                      <a:cubicBezTo>
                        <a:pt x="57" y="117"/>
                        <a:pt x="56" y="117"/>
                        <a:pt x="56" y="117"/>
                      </a:cubicBezTo>
                      <a:cubicBezTo>
                        <a:pt x="55" y="117"/>
                        <a:pt x="54" y="114"/>
                        <a:pt x="53" y="114"/>
                      </a:cubicBezTo>
                      <a:cubicBezTo>
                        <a:pt x="52" y="117"/>
                        <a:pt x="52" y="121"/>
                        <a:pt x="52" y="125"/>
                      </a:cubicBezTo>
                      <a:cubicBezTo>
                        <a:pt x="71" y="125"/>
                        <a:pt x="90" y="124"/>
                        <a:pt x="109" y="123"/>
                      </a:cubicBezTo>
                      <a:cubicBezTo>
                        <a:pt x="108" y="125"/>
                        <a:pt x="109" y="127"/>
                        <a:pt x="107" y="128"/>
                      </a:cubicBezTo>
                      <a:cubicBezTo>
                        <a:pt x="108" y="129"/>
                        <a:pt x="109" y="129"/>
                        <a:pt x="110" y="129"/>
                      </a:cubicBezTo>
                      <a:cubicBezTo>
                        <a:pt x="112" y="129"/>
                        <a:pt x="114" y="128"/>
                        <a:pt x="116" y="127"/>
                      </a:cubicBezTo>
                      <a:cubicBezTo>
                        <a:pt x="113" y="130"/>
                        <a:pt x="112" y="130"/>
                        <a:pt x="116" y="133"/>
                      </a:cubicBezTo>
                      <a:cubicBezTo>
                        <a:pt x="120" y="137"/>
                        <a:pt x="124" y="138"/>
                        <a:pt x="129" y="139"/>
                      </a:cubicBezTo>
                      <a:cubicBezTo>
                        <a:pt x="140" y="141"/>
                        <a:pt x="150" y="143"/>
                        <a:pt x="160" y="144"/>
                      </a:cubicBezTo>
                      <a:cubicBezTo>
                        <a:pt x="161" y="144"/>
                        <a:pt x="162" y="144"/>
                        <a:pt x="163" y="144"/>
                      </a:cubicBezTo>
                      <a:cubicBezTo>
                        <a:pt x="169" y="144"/>
                        <a:pt x="174" y="142"/>
                        <a:pt x="180" y="142"/>
                      </a:cubicBezTo>
                      <a:cubicBezTo>
                        <a:pt x="179" y="140"/>
                        <a:pt x="177" y="140"/>
                        <a:pt x="177" y="138"/>
                      </a:cubicBezTo>
                      <a:cubicBezTo>
                        <a:pt x="179" y="140"/>
                        <a:pt x="179" y="141"/>
                        <a:pt x="181" y="141"/>
                      </a:cubicBezTo>
                      <a:cubicBezTo>
                        <a:pt x="181" y="141"/>
                        <a:pt x="182" y="141"/>
                        <a:pt x="183" y="140"/>
                      </a:cubicBezTo>
                      <a:cubicBezTo>
                        <a:pt x="185" y="138"/>
                        <a:pt x="186" y="134"/>
                        <a:pt x="187" y="132"/>
                      </a:cubicBezTo>
                      <a:cubicBezTo>
                        <a:pt x="191" y="126"/>
                        <a:pt x="204" y="128"/>
                        <a:pt x="210" y="127"/>
                      </a:cubicBezTo>
                      <a:cubicBezTo>
                        <a:pt x="216" y="126"/>
                        <a:pt x="220" y="126"/>
                        <a:pt x="226" y="122"/>
                      </a:cubicBezTo>
                      <a:cubicBezTo>
                        <a:pt x="230" y="119"/>
                        <a:pt x="235" y="116"/>
                        <a:pt x="239" y="113"/>
                      </a:cubicBezTo>
                      <a:cubicBezTo>
                        <a:pt x="245" y="109"/>
                        <a:pt x="257" y="107"/>
                        <a:pt x="260" y="102"/>
                      </a:cubicBezTo>
                      <a:cubicBezTo>
                        <a:pt x="261" y="103"/>
                        <a:pt x="265" y="105"/>
                        <a:pt x="266" y="105"/>
                      </a:cubicBezTo>
                      <a:cubicBezTo>
                        <a:pt x="266" y="105"/>
                        <a:pt x="266" y="105"/>
                        <a:pt x="266" y="105"/>
                      </a:cubicBezTo>
                      <a:cubicBezTo>
                        <a:pt x="266" y="105"/>
                        <a:pt x="266" y="105"/>
                        <a:pt x="266" y="105"/>
                      </a:cubicBezTo>
                      <a:cubicBezTo>
                        <a:pt x="267" y="105"/>
                        <a:pt x="268" y="105"/>
                        <a:pt x="268" y="105"/>
                      </a:cubicBezTo>
                      <a:cubicBezTo>
                        <a:pt x="269" y="106"/>
                        <a:pt x="270" y="106"/>
                        <a:pt x="271" y="106"/>
                      </a:cubicBezTo>
                      <a:cubicBezTo>
                        <a:pt x="271" y="106"/>
                        <a:pt x="271" y="106"/>
                        <a:pt x="272" y="106"/>
                      </a:cubicBezTo>
                      <a:cubicBezTo>
                        <a:pt x="276" y="105"/>
                        <a:pt x="280" y="100"/>
                        <a:pt x="283" y="98"/>
                      </a:cubicBezTo>
                      <a:cubicBezTo>
                        <a:pt x="286" y="96"/>
                        <a:pt x="283" y="93"/>
                        <a:pt x="283" y="91"/>
                      </a:cubicBezTo>
                      <a:cubicBezTo>
                        <a:pt x="283" y="90"/>
                        <a:pt x="284" y="89"/>
                        <a:pt x="286" y="87"/>
                      </a:cubicBezTo>
                      <a:cubicBezTo>
                        <a:pt x="289" y="83"/>
                        <a:pt x="287" y="85"/>
                        <a:pt x="286" y="82"/>
                      </a:cubicBezTo>
                      <a:cubicBezTo>
                        <a:pt x="289" y="84"/>
                        <a:pt x="290" y="86"/>
                        <a:pt x="293" y="86"/>
                      </a:cubicBezTo>
                      <a:cubicBezTo>
                        <a:pt x="294" y="86"/>
                        <a:pt x="295" y="85"/>
                        <a:pt x="296" y="85"/>
                      </a:cubicBezTo>
                      <a:cubicBezTo>
                        <a:pt x="298" y="84"/>
                        <a:pt x="302" y="80"/>
                        <a:pt x="301" y="77"/>
                      </a:cubicBezTo>
                      <a:cubicBezTo>
                        <a:pt x="300" y="76"/>
                        <a:pt x="299" y="75"/>
                        <a:pt x="298" y="75"/>
                      </a:cubicBezTo>
                      <a:cubicBezTo>
                        <a:pt x="298" y="75"/>
                        <a:pt x="299" y="75"/>
                        <a:pt x="299" y="75"/>
                      </a:cubicBezTo>
                      <a:cubicBezTo>
                        <a:pt x="300" y="75"/>
                        <a:pt x="300" y="75"/>
                        <a:pt x="301" y="75"/>
                      </a:cubicBezTo>
                      <a:cubicBezTo>
                        <a:pt x="301" y="75"/>
                        <a:pt x="301" y="75"/>
                        <a:pt x="302" y="75"/>
                      </a:cubicBezTo>
                      <a:cubicBezTo>
                        <a:pt x="304" y="75"/>
                        <a:pt x="305" y="75"/>
                        <a:pt x="303" y="73"/>
                      </a:cubicBezTo>
                      <a:cubicBezTo>
                        <a:pt x="303" y="72"/>
                        <a:pt x="302" y="71"/>
                        <a:pt x="302" y="71"/>
                      </a:cubicBezTo>
                      <a:cubicBezTo>
                        <a:pt x="301" y="71"/>
                        <a:pt x="300" y="70"/>
                        <a:pt x="298" y="70"/>
                      </a:cubicBezTo>
                      <a:cubicBezTo>
                        <a:pt x="298" y="70"/>
                        <a:pt x="297" y="71"/>
                        <a:pt x="297" y="71"/>
                      </a:cubicBezTo>
                      <a:cubicBezTo>
                        <a:pt x="296" y="71"/>
                        <a:pt x="296" y="71"/>
                        <a:pt x="295" y="71"/>
                      </a:cubicBezTo>
                      <a:cubicBezTo>
                        <a:pt x="294" y="71"/>
                        <a:pt x="294" y="71"/>
                        <a:pt x="293" y="70"/>
                      </a:cubicBezTo>
                      <a:cubicBezTo>
                        <a:pt x="300" y="69"/>
                        <a:pt x="307" y="69"/>
                        <a:pt x="314" y="68"/>
                      </a:cubicBezTo>
                      <a:cubicBezTo>
                        <a:pt x="312" y="67"/>
                        <a:pt x="310" y="67"/>
                        <a:pt x="308" y="66"/>
                      </a:cubicBezTo>
                      <a:cubicBezTo>
                        <a:pt x="307" y="65"/>
                        <a:pt x="307" y="63"/>
                        <a:pt x="306" y="63"/>
                      </a:cubicBezTo>
                      <a:cubicBezTo>
                        <a:pt x="305" y="62"/>
                        <a:pt x="304" y="62"/>
                        <a:pt x="303" y="62"/>
                      </a:cubicBezTo>
                      <a:cubicBezTo>
                        <a:pt x="303" y="62"/>
                        <a:pt x="302" y="62"/>
                        <a:pt x="301" y="63"/>
                      </a:cubicBezTo>
                      <a:cubicBezTo>
                        <a:pt x="300" y="63"/>
                        <a:pt x="300" y="63"/>
                        <a:pt x="299" y="63"/>
                      </a:cubicBezTo>
                      <a:cubicBezTo>
                        <a:pt x="299" y="63"/>
                        <a:pt x="299" y="63"/>
                        <a:pt x="299" y="63"/>
                      </a:cubicBezTo>
                      <a:cubicBezTo>
                        <a:pt x="303" y="61"/>
                        <a:pt x="307" y="60"/>
                        <a:pt x="312" y="59"/>
                      </a:cubicBezTo>
                      <a:cubicBezTo>
                        <a:pt x="309" y="59"/>
                        <a:pt x="307" y="58"/>
                        <a:pt x="304" y="58"/>
                      </a:cubicBezTo>
                      <a:cubicBezTo>
                        <a:pt x="303" y="58"/>
                        <a:pt x="301" y="58"/>
                        <a:pt x="300" y="59"/>
                      </a:cubicBezTo>
                      <a:cubicBezTo>
                        <a:pt x="301" y="58"/>
                        <a:pt x="303" y="58"/>
                        <a:pt x="305" y="57"/>
                      </a:cubicBezTo>
                      <a:cubicBezTo>
                        <a:pt x="306" y="57"/>
                        <a:pt x="306" y="56"/>
                        <a:pt x="307" y="56"/>
                      </a:cubicBezTo>
                      <a:cubicBezTo>
                        <a:pt x="308" y="55"/>
                        <a:pt x="309" y="53"/>
                        <a:pt x="309" y="51"/>
                      </a:cubicBezTo>
                      <a:cubicBezTo>
                        <a:pt x="310" y="51"/>
                        <a:pt x="311" y="49"/>
                        <a:pt x="310" y="49"/>
                      </a:cubicBezTo>
                      <a:cubicBezTo>
                        <a:pt x="310" y="46"/>
                        <a:pt x="302" y="45"/>
                        <a:pt x="300" y="44"/>
                      </a:cubicBezTo>
                      <a:cubicBezTo>
                        <a:pt x="298" y="43"/>
                        <a:pt x="295" y="42"/>
                        <a:pt x="292" y="41"/>
                      </a:cubicBezTo>
                      <a:cubicBezTo>
                        <a:pt x="293" y="41"/>
                        <a:pt x="293" y="42"/>
                        <a:pt x="293" y="42"/>
                      </a:cubicBezTo>
                      <a:cubicBezTo>
                        <a:pt x="293" y="42"/>
                        <a:pt x="292" y="41"/>
                        <a:pt x="291" y="41"/>
                      </a:cubicBezTo>
                      <a:cubicBezTo>
                        <a:pt x="289" y="41"/>
                        <a:pt x="287" y="46"/>
                        <a:pt x="285" y="47"/>
                      </a:cubicBezTo>
                      <a:cubicBezTo>
                        <a:pt x="286" y="45"/>
                        <a:pt x="288" y="43"/>
                        <a:pt x="289" y="41"/>
                      </a:cubicBezTo>
                      <a:cubicBezTo>
                        <a:pt x="291" y="39"/>
                        <a:pt x="292" y="41"/>
                        <a:pt x="290" y="37"/>
                      </a:cubicBezTo>
                      <a:cubicBezTo>
                        <a:pt x="290" y="36"/>
                        <a:pt x="289" y="35"/>
                        <a:pt x="288" y="35"/>
                      </a:cubicBezTo>
                      <a:cubicBezTo>
                        <a:pt x="286" y="35"/>
                        <a:pt x="285" y="36"/>
                        <a:pt x="283" y="36"/>
                      </a:cubicBezTo>
                      <a:cubicBezTo>
                        <a:pt x="281" y="37"/>
                        <a:pt x="279" y="37"/>
                        <a:pt x="277" y="37"/>
                      </a:cubicBezTo>
                      <a:cubicBezTo>
                        <a:pt x="275" y="37"/>
                        <a:pt x="275" y="36"/>
                        <a:pt x="279" y="32"/>
                      </a:cubicBezTo>
                      <a:cubicBezTo>
                        <a:pt x="280" y="31"/>
                        <a:pt x="281" y="31"/>
                        <a:pt x="282" y="29"/>
                      </a:cubicBezTo>
                      <a:cubicBezTo>
                        <a:pt x="283" y="25"/>
                        <a:pt x="276" y="24"/>
                        <a:pt x="273" y="23"/>
                      </a:cubicBezTo>
                      <a:cubicBezTo>
                        <a:pt x="270" y="22"/>
                        <a:pt x="263" y="21"/>
                        <a:pt x="269" y="18"/>
                      </a:cubicBezTo>
                      <a:cubicBezTo>
                        <a:pt x="272" y="17"/>
                        <a:pt x="270" y="14"/>
                        <a:pt x="271" y="12"/>
                      </a:cubicBezTo>
                      <a:cubicBezTo>
                        <a:pt x="271" y="11"/>
                        <a:pt x="272" y="11"/>
                        <a:pt x="273" y="11"/>
                      </a:cubicBezTo>
                      <a:cubicBezTo>
                        <a:pt x="276" y="9"/>
                        <a:pt x="281" y="9"/>
                        <a:pt x="283" y="7"/>
                      </a:cubicBezTo>
                      <a:cubicBezTo>
                        <a:pt x="282" y="7"/>
                        <a:pt x="282" y="7"/>
                        <a:pt x="281" y="7"/>
                      </a:cubicBezTo>
                      <a:cubicBezTo>
                        <a:pt x="274" y="7"/>
                        <a:pt x="265" y="9"/>
                        <a:pt x="261" y="14"/>
                      </a:cubicBezTo>
                      <a:cubicBezTo>
                        <a:pt x="261" y="14"/>
                        <a:pt x="261" y="17"/>
                        <a:pt x="260" y="18"/>
                      </a:cubicBezTo>
                      <a:cubicBezTo>
                        <a:pt x="256" y="16"/>
                        <a:pt x="253" y="13"/>
                        <a:pt x="249" y="11"/>
                      </a:cubicBezTo>
                      <a:cubicBezTo>
                        <a:pt x="251" y="10"/>
                        <a:pt x="252" y="8"/>
                        <a:pt x="250" y="6"/>
                      </a:cubicBezTo>
                      <a:cubicBezTo>
                        <a:pt x="249" y="5"/>
                        <a:pt x="241" y="5"/>
                        <a:pt x="245" y="2"/>
                      </a:cubicBezTo>
                      <a:cubicBezTo>
                        <a:pt x="243" y="1"/>
                        <a:pt x="241" y="0"/>
                        <a:pt x="2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32"/>
                <p:cNvSpPr/>
                <p:nvPr/>
              </p:nvSpPr>
              <p:spPr bwMode="auto">
                <a:xfrm>
                  <a:off x="2391641" y="1171867"/>
                  <a:ext cx="18426" cy="22111"/>
                </a:xfrm>
                <a:custGeom>
                  <a:gdLst>
                    <a:gd name="T0" fmla="*/ 1 w 5"/>
                    <a:gd name="T1" fmla="*/ 0 h 7"/>
                    <a:gd name="T2" fmla="*/ 0 w 5"/>
                    <a:gd name="T3" fmla="*/ 0 h 7"/>
                    <a:gd name="T4" fmla="*/ 2 w 5"/>
                    <a:gd name="T5" fmla="*/ 5 h 7"/>
                    <a:gd name="T6" fmla="*/ 1 w 5"/>
                    <a:gd name="T7" fmla="*/ 7 h 7"/>
                    <a:gd name="T8" fmla="*/ 2 w 5"/>
                    <a:gd name="T9" fmla="*/ 7 h 7"/>
                    <a:gd name="T10" fmla="*/ 5 w 5"/>
                    <a:gd name="T11" fmla="*/ 5 h 7"/>
                    <a:gd name="T12" fmla="*/ 1 w 5"/>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5" h="7">
                      <a:moveTo>
                        <a:pt x="1" y="0"/>
                      </a:moveTo>
                      <a:cubicBezTo>
                        <a:pt x="1" y="0"/>
                        <a:pt x="0" y="0"/>
                        <a:pt x="0" y="0"/>
                      </a:cubicBezTo>
                      <a:cubicBezTo>
                        <a:pt x="1" y="1"/>
                        <a:pt x="2" y="3"/>
                        <a:pt x="2" y="5"/>
                      </a:cubicBezTo>
                      <a:cubicBezTo>
                        <a:pt x="2" y="6"/>
                        <a:pt x="1" y="7"/>
                        <a:pt x="1" y="7"/>
                      </a:cubicBezTo>
                      <a:cubicBezTo>
                        <a:pt x="1" y="7"/>
                        <a:pt x="2" y="7"/>
                        <a:pt x="2" y="7"/>
                      </a:cubicBezTo>
                      <a:cubicBezTo>
                        <a:pt x="3" y="7"/>
                        <a:pt x="5" y="7"/>
                        <a:pt x="5" y="5"/>
                      </a:cubicBezTo>
                      <a:cubicBezTo>
                        <a:pt x="5"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34"/>
                <p:cNvSpPr/>
                <p:nvPr/>
              </p:nvSpPr>
              <p:spPr bwMode="auto">
                <a:xfrm>
                  <a:off x="1533009" y="5162848"/>
                  <a:ext cx="7370" cy="14740"/>
                </a:xfrm>
                <a:custGeom>
                  <a:gdLst>
                    <a:gd name="T0" fmla="*/ 2 w 2"/>
                    <a:gd name="T1" fmla="*/ 0 h 5"/>
                    <a:gd name="T2" fmla="*/ 2 w 2"/>
                    <a:gd name="T3" fmla="*/ 5 h 5"/>
                    <a:gd name="T4" fmla="*/ 2 w 2"/>
                    <a:gd name="T5" fmla="*/ 0 h 5"/>
                  </a:gdLst>
                  <a:cxnLst>
                    <a:cxn ang="0">
                      <a:pos x="T0" y="T1"/>
                    </a:cxn>
                    <a:cxn ang="0">
                      <a:pos x="T2" y="T3"/>
                    </a:cxn>
                    <a:cxn ang="0">
                      <a:pos x="T4" y="T5"/>
                    </a:cxn>
                  </a:cxnLst>
                  <a:rect l="0" t="0" r="r" b="b"/>
                  <a:pathLst>
                    <a:path w="2" h="5">
                      <a:moveTo>
                        <a:pt x="2" y="0"/>
                      </a:moveTo>
                      <a:cubicBezTo>
                        <a:pt x="0" y="1"/>
                        <a:pt x="0" y="3"/>
                        <a:pt x="2" y="5"/>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35"/>
                <p:cNvSpPr/>
                <p:nvPr/>
              </p:nvSpPr>
              <p:spPr bwMode="auto">
                <a:xfrm>
                  <a:off x="1772541" y="5262346"/>
                  <a:ext cx="51592" cy="18426"/>
                </a:xfrm>
                <a:custGeom>
                  <a:gdLst>
                    <a:gd name="T0" fmla="*/ 7 w 16"/>
                    <a:gd name="T1" fmla="*/ 0 h 5"/>
                    <a:gd name="T2" fmla="*/ 6 w 16"/>
                    <a:gd name="T3" fmla="*/ 5 h 5"/>
                    <a:gd name="T4" fmla="*/ 11 w 16"/>
                    <a:gd name="T5" fmla="*/ 5 h 5"/>
                    <a:gd name="T6" fmla="*/ 16 w 16"/>
                    <a:gd name="T7" fmla="*/ 4 h 5"/>
                    <a:gd name="T8" fmla="*/ 7 w 16"/>
                    <a:gd name="T9" fmla="*/ 0 h 5"/>
                  </a:gdLst>
                  <a:cxnLst>
                    <a:cxn ang="0">
                      <a:pos x="T0" y="T1"/>
                    </a:cxn>
                    <a:cxn ang="0">
                      <a:pos x="T2" y="T3"/>
                    </a:cxn>
                    <a:cxn ang="0">
                      <a:pos x="T4" y="T5"/>
                    </a:cxn>
                    <a:cxn ang="0">
                      <a:pos x="T6" y="T7"/>
                    </a:cxn>
                    <a:cxn ang="0">
                      <a:pos x="T8" y="T9"/>
                    </a:cxn>
                  </a:cxnLst>
                  <a:rect l="0" t="0" r="r" b="b"/>
                  <a:pathLst>
                    <a:path w="16" h="5">
                      <a:moveTo>
                        <a:pt x="7" y="0"/>
                      </a:moveTo>
                      <a:cubicBezTo>
                        <a:pt x="2" y="1"/>
                        <a:pt x="0" y="2"/>
                        <a:pt x="6" y="5"/>
                      </a:cubicBezTo>
                      <a:cubicBezTo>
                        <a:pt x="7" y="5"/>
                        <a:pt x="9" y="5"/>
                        <a:pt x="11" y="5"/>
                      </a:cubicBezTo>
                      <a:cubicBezTo>
                        <a:pt x="13" y="5"/>
                        <a:pt x="15" y="5"/>
                        <a:pt x="16" y="4"/>
                      </a:cubicBezTo>
                      <a:cubicBezTo>
                        <a:pt x="15" y="3"/>
                        <a:pt x="9"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36"/>
                <p:cNvSpPr/>
                <p:nvPr/>
              </p:nvSpPr>
              <p:spPr bwMode="auto">
                <a:xfrm>
                  <a:off x="1875724" y="5240235"/>
                  <a:ext cx="40536" cy="14740"/>
                </a:xfrm>
                <a:custGeom>
                  <a:gdLst>
                    <a:gd name="T0" fmla="*/ 8 w 13"/>
                    <a:gd name="T1" fmla="*/ 0 h 5"/>
                    <a:gd name="T2" fmla="*/ 3 w 13"/>
                    <a:gd name="T3" fmla="*/ 1 h 5"/>
                    <a:gd name="T4" fmla="*/ 10 w 13"/>
                    <a:gd name="T5" fmla="*/ 5 h 5"/>
                    <a:gd name="T6" fmla="*/ 9 w 13"/>
                    <a:gd name="T7" fmla="*/ 0 h 5"/>
                    <a:gd name="T8" fmla="*/ 8 w 13"/>
                    <a:gd name="T9" fmla="*/ 0 h 5"/>
                  </a:gdLst>
                  <a:cxnLst>
                    <a:cxn ang="0">
                      <a:pos x="T0" y="T1"/>
                    </a:cxn>
                    <a:cxn ang="0">
                      <a:pos x="T2" y="T3"/>
                    </a:cxn>
                    <a:cxn ang="0">
                      <a:pos x="T4" y="T5"/>
                    </a:cxn>
                    <a:cxn ang="0">
                      <a:pos x="T6" y="T7"/>
                    </a:cxn>
                    <a:cxn ang="0">
                      <a:pos x="T8" y="T9"/>
                    </a:cxn>
                  </a:cxnLst>
                  <a:rect l="0" t="0" r="r" b="b"/>
                  <a:pathLst>
                    <a:path w="13" h="5">
                      <a:moveTo>
                        <a:pt x="8" y="0"/>
                      </a:moveTo>
                      <a:cubicBezTo>
                        <a:pt x="6" y="0"/>
                        <a:pt x="4" y="0"/>
                        <a:pt x="3" y="1"/>
                      </a:cubicBezTo>
                      <a:cubicBezTo>
                        <a:pt x="0" y="4"/>
                        <a:pt x="10" y="5"/>
                        <a:pt x="10" y="5"/>
                      </a:cubicBezTo>
                      <a:cubicBezTo>
                        <a:pt x="12" y="2"/>
                        <a:pt x="13" y="1"/>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37"/>
                <p:cNvSpPr/>
                <p:nvPr/>
              </p:nvSpPr>
              <p:spPr bwMode="auto">
                <a:xfrm>
                  <a:off x="2023129" y="5332363"/>
                  <a:ext cx="66332" cy="22111"/>
                </a:xfrm>
                <a:custGeom>
                  <a:gdLst>
                    <a:gd name="T0" fmla="*/ 3 w 21"/>
                    <a:gd name="T1" fmla="*/ 0 h 7"/>
                    <a:gd name="T2" fmla="*/ 0 w 21"/>
                    <a:gd name="T3" fmla="*/ 2 h 7"/>
                    <a:gd name="T4" fmla="*/ 12 w 21"/>
                    <a:gd name="T5" fmla="*/ 7 h 7"/>
                    <a:gd name="T6" fmla="*/ 13 w 21"/>
                    <a:gd name="T7" fmla="*/ 7 h 7"/>
                    <a:gd name="T8" fmla="*/ 21 w 21"/>
                    <a:gd name="T9" fmla="*/ 3 h 7"/>
                    <a:gd name="T10" fmla="*/ 18 w 21"/>
                    <a:gd name="T11" fmla="*/ 2 h 7"/>
                    <a:gd name="T12" fmla="*/ 14 w 21"/>
                    <a:gd name="T13" fmla="*/ 2 h 7"/>
                    <a:gd name="T14" fmla="*/ 9 w 21"/>
                    <a:gd name="T15" fmla="*/ 3 h 7"/>
                    <a:gd name="T16" fmla="*/ 8 w 21"/>
                    <a:gd name="T17" fmla="*/ 3 h 7"/>
                    <a:gd name="T18" fmla="*/ 3 w 21"/>
                    <a:gd name="T1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7">
                      <a:moveTo>
                        <a:pt x="3" y="0"/>
                      </a:moveTo>
                      <a:cubicBezTo>
                        <a:pt x="2" y="0"/>
                        <a:pt x="1" y="1"/>
                        <a:pt x="0" y="2"/>
                      </a:cubicBezTo>
                      <a:cubicBezTo>
                        <a:pt x="4" y="4"/>
                        <a:pt x="8" y="7"/>
                        <a:pt x="12" y="7"/>
                      </a:cubicBezTo>
                      <a:cubicBezTo>
                        <a:pt x="13" y="7"/>
                        <a:pt x="13" y="7"/>
                        <a:pt x="13" y="7"/>
                      </a:cubicBezTo>
                      <a:cubicBezTo>
                        <a:pt x="15" y="6"/>
                        <a:pt x="21" y="4"/>
                        <a:pt x="21" y="3"/>
                      </a:cubicBezTo>
                      <a:cubicBezTo>
                        <a:pt x="21" y="2"/>
                        <a:pt x="20" y="2"/>
                        <a:pt x="18" y="2"/>
                      </a:cubicBezTo>
                      <a:cubicBezTo>
                        <a:pt x="17" y="2"/>
                        <a:pt x="15" y="2"/>
                        <a:pt x="14" y="2"/>
                      </a:cubicBezTo>
                      <a:cubicBezTo>
                        <a:pt x="13" y="2"/>
                        <a:pt x="11" y="3"/>
                        <a:pt x="9" y="3"/>
                      </a:cubicBezTo>
                      <a:cubicBezTo>
                        <a:pt x="9" y="3"/>
                        <a:pt x="8" y="3"/>
                        <a:pt x="8" y="3"/>
                      </a:cubicBezTo>
                      <a:cubicBezTo>
                        <a:pt x="6" y="2"/>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38"/>
                <p:cNvSpPr>
                  <a:spLocks noEditPoints="1"/>
                </p:cNvSpPr>
                <p:nvPr/>
              </p:nvSpPr>
              <p:spPr bwMode="auto">
                <a:xfrm>
                  <a:off x="2082091" y="5428176"/>
                  <a:ext cx="14740" cy="3685"/>
                </a:xfrm>
                <a:custGeom>
                  <a:gdLst>
                    <a:gd name="T0" fmla="*/ 5 w 5"/>
                    <a:gd name="T1" fmla="*/ 1 h 1"/>
                    <a:gd name="T2" fmla="*/ 5 w 5"/>
                    <a:gd name="T3" fmla="*/ 1 h 1"/>
                    <a:gd name="T4" fmla="*/ 5 w 5"/>
                    <a:gd name="T5" fmla="*/ 1 h 1"/>
                    <a:gd name="T6" fmla="*/ 0 w 5"/>
                    <a:gd name="T7" fmla="*/ 0 h 1"/>
                    <a:gd name="T8" fmla="*/ 5 w 5"/>
                    <a:gd name="T9" fmla="*/ 1 h 1"/>
                    <a:gd name="T10" fmla="*/ 0 w 5"/>
                    <a:gd name="T11" fmla="*/ 0 h 1"/>
                  </a:gdLst>
                  <a:cxnLst>
                    <a:cxn ang="0">
                      <a:pos x="T0" y="T1"/>
                    </a:cxn>
                    <a:cxn ang="0">
                      <a:pos x="T2" y="T3"/>
                    </a:cxn>
                    <a:cxn ang="0">
                      <a:pos x="T4" y="T5"/>
                    </a:cxn>
                    <a:cxn ang="0">
                      <a:pos x="T6" y="T7"/>
                    </a:cxn>
                    <a:cxn ang="0">
                      <a:pos x="T8" y="T9"/>
                    </a:cxn>
                    <a:cxn ang="0">
                      <a:pos x="T10" y="T11"/>
                    </a:cxn>
                  </a:cxnLst>
                  <a:rect l="0" t="0" r="r" b="b"/>
                  <a:pathLst>
                    <a:path w="5" h="1">
                      <a:moveTo>
                        <a:pt x="5" y="1"/>
                      </a:moveTo>
                      <a:cubicBezTo>
                        <a:pt x="5" y="1"/>
                        <a:pt x="5" y="1"/>
                        <a:pt x="5" y="1"/>
                      </a:cubicBezTo>
                      <a:cubicBezTo>
                        <a:pt x="5" y="1"/>
                        <a:pt x="5" y="1"/>
                        <a:pt x="5" y="1"/>
                      </a:cubicBezTo>
                      <a:moveTo>
                        <a:pt x="0" y="0"/>
                      </a:moveTo>
                      <a:cubicBezTo>
                        <a:pt x="1" y="1"/>
                        <a:pt x="3" y="0"/>
                        <a:pt x="5" y="1"/>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Rectangle 39"/>
                <p:cNvSpPr>
                  <a:spLocks noChangeArrowheads="1"/>
                </p:cNvSpPr>
                <p:nvPr/>
              </p:nvSpPr>
              <p:spPr bwMode="auto">
                <a:xfrm>
                  <a:off x="6014109" y="4831187"/>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40"/>
                <p:cNvSpPr/>
                <p:nvPr/>
              </p:nvSpPr>
              <p:spPr bwMode="auto">
                <a:xfrm flipH="1">
                  <a:off x="6014109" y="483118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41"/>
                <p:cNvSpPr/>
                <p:nvPr/>
              </p:nvSpPr>
              <p:spPr bwMode="auto">
                <a:xfrm>
                  <a:off x="5944092" y="4801706"/>
                  <a:ext cx="11055" cy="0"/>
                </a:xfrm>
                <a:custGeom>
                  <a:gdLst>
                    <a:gd name="T0" fmla="*/ 1 w 3"/>
                    <a:gd name="T1" fmla="*/ 0 h 1"/>
                    <a:gd name="T2" fmla="*/ 0 w 3"/>
                    <a:gd name="T3" fmla="*/ 0 h 1"/>
                    <a:gd name="T4" fmla="*/ 3 w 3"/>
                    <a:gd name="T5" fmla="*/ 1 h 1"/>
                    <a:gd name="T6" fmla="*/ 3 w 3"/>
                    <a:gd name="T7" fmla="*/ 1 h 1"/>
                    <a:gd name="T8" fmla="*/ 1 w 3"/>
                    <a:gd name="T9" fmla="*/ 0 h 1"/>
                  </a:gdLst>
                  <a:cxnLst>
                    <a:cxn ang="0">
                      <a:pos x="T0" y="T1"/>
                    </a:cxn>
                    <a:cxn ang="0">
                      <a:pos x="T2" y="T3"/>
                    </a:cxn>
                    <a:cxn ang="0">
                      <a:pos x="T4" y="T5"/>
                    </a:cxn>
                    <a:cxn ang="0">
                      <a:pos x="T6" y="T7"/>
                    </a:cxn>
                    <a:cxn ang="0">
                      <a:pos x="T8" y="T9"/>
                    </a:cxn>
                  </a:cxnLst>
                  <a:rect l="0" t="0" r="r" b="b"/>
                  <a:pathLst>
                    <a:path w="3" h="1">
                      <a:moveTo>
                        <a:pt x="1" y="0"/>
                      </a:moveTo>
                      <a:cubicBezTo>
                        <a:pt x="0" y="0"/>
                        <a:pt x="0" y="0"/>
                        <a:pt x="0" y="0"/>
                      </a:cubicBezTo>
                      <a:cubicBezTo>
                        <a:pt x="1" y="0"/>
                        <a:pt x="2" y="0"/>
                        <a:pt x="3" y="1"/>
                      </a:cubicBezTo>
                      <a:cubicBezTo>
                        <a:pt x="3" y="1"/>
                        <a:pt x="3" y="1"/>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Rectangle 42"/>
                <p:cNvSpPr>
                  <a:spLocks noChangeArrowheads="1"/>
                </p:cNvSpPr>
                <p:nvPr/>
              </p:nvSpPr>
              <p:spPr bwMode="auto">
                <a:xfrm>
                  <a:off x="877426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Rectangle 43"/>
                <p:cNvSpPr>
                  <a:spLocks noChangeArrowheads="1"/>
                </p:cNvSpPr>
                <p:nvPr/>
              </p:nvSpPr>
              <p:spPr bwMode="auto">
                <a:xfrm>
                  <a:off x="877426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44"/>
                <p:cNvSpPr/>
                <p:nvPr/>
              </p:nvSpPr>
              <p:spPr bwMode="auto">
                <a:xfrm>
                  <a:off x="7200716" y="4411084"/>
                  <a:ext cx="51592" cy="25796"/>
                </a:xfrm>
                <a:custGeom>
                  <a:gdLst>
                    <a:gd name="T0" fmla="*/ 0 w 16"/>
                    <a:gd name="T1" fmla="*/ 0 h 7"/>
                    <a:gd name="T2" fmla="*/ 16 w 16"/>
                    <a:gd name="T3" fmla="*/ 7 h 7"/>
                    <a:gd name="T4" fmla="*/ 0 w 16"/>
                    <a:gd name="T5" fmla="*/ 0 h 7"/>
                  </a:gdLst>
                  <a:cxnLst>
                    <a:cxn ang="0">
                      <a:pos x="T0" y="T1"/>
                    </a:cxn>
                    <a:cxn ang="0">
                      <a:pos x="T2" y="T3"/>
                    </a:cxn>
                    <a:cxn ang="0">
                      <a:pos x="T4" y="T5"/>
                    </a:cxn>
                  </a:cxnLst>
                  <a:rect l="0" t="0" r="r" b="b"/>
                  <a:pathLst>
                    <a:path w="16" h="7">
                      <a:moveTo>
                        <a:pt x="0" y="0"/>
                      </a:moveTo>
                      <a:cubicBezTo>
                        <a:pt x="1" y="6"/>
                        <a:pt x="11" y="6"/>
                        <a:pt x="16" y="7"/>
                      </a:cubicBezTo>
                      <a:cubicBezTo>
                        <a:pt x="10" y="4"/>
                        <a:pt x="5"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45"/>
                <p:cNvSpPr/>
                <p:nvPr/>
              </p:nvSpPr>
              <p:spPr bwMode="auto">
                <a:xfrm>
                  <a:off x="4248939" y="2634858"/>
                  <a:ext cx="18426" cy="33166"/>
                </a:xfrm>
                <a:custGeom>
                  <a:gdLst>
                    <a:gd name="T0" fmla="*/ 4 w 6"/>
                    <a:gd name="T1" fmla="*/ 0 h 11"/>
                    <a:gd name="T2" fmla="*/ 2 w 6"/>
                    <a:gd name="T3" fmla="*/ 4 h 11"/>
                    <a:gd name="T4" fmla="*/ 3 w 6"/>
                    <a:gd name="T5" fmla="*/ 11 h 11"/>
                    <a:gd name="T6" fmla="*/ 6 w 6"/>
                    <a:gd name="T7" fmla="*/ 1 h 11"/>
                    <a:gd name="T8" fmla="*/ 4 w 6"/>
                    <a:gd name="T9" fmla="*/ 0 h 11"/>
                  </a:gdLst>
                  <a:cxnLst>
                    <a:cxn ang="0">
                      <a:pos x="T0" y="T1"/>
                    </a:cxn>
                    <a:cxn ang="0">
                      <a:pos x="T2" y="T3"/>
                    </a:cxn>
                    <a:cxn ang="0">
                      <a:pos x="T4" y="T5"/>
                    </a:cxn>
                    <a:cxn ang="0">
                      <a:pos x="T6" y="T7"/>
                    </a:cxn>
                    <a:cxn ang="0">
                      <a:pos x="T8" y="T9"/>
                    </a:cxn>
                  </a:cxnLst>
                  <a:rect l="0" t="0" r="r" b="b"/>
                  <a:pathLst>
                    <a:path w="6" h="11">
                      <a:moveTo>
                        <a:pt x="4" y="0"/>
                      </a:moveTo>
                      <a:cubicBezTo>
                        <a:pt x="3" y="0"/>
                        <a:pt x="3" y="2"/>
                        <a:pt x="2" y="4"/>
                      </a:cubicBezTo>
                      <a:cubicBezTo>
                        <a:pt x="1" y="7"/>
                        <a:pt x="0" y="7"/>
                        <a:pt x="3" y="11"/>
                      </a:cubicBezTo>
                      <a:cubicBezTo>
                        <a:pt x="4" y="8"/>
                        <a:pt x="5" y="4"/>
                        <a:pt x="6"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46"/>
                <p:cNvSpPr/>
                <p:nvPr/>
              </p:nvSpPr>
              <p:spPr bwMode="auto">
                <a:xfrm>
                  <a:off x="4201032" y="2649599"/>
                  <a:ext cx="58962" cy="106868"/>
                </a:xfrm>
                <a:custGeom>
                  <a:gdLst>
                    <a:gd name="T0" fmla="*/ 10 w 18"/>
                    <a:gd name="T1" fmla="*/ 0 h 33"/>
                    <a:gd name="T2" fmla="*/ 8 w 18"/>
                    <a:gd name="T3" fmla="*/ 1 h 33"/>
                    <a:gd name="T4" fmla="*/ 9 w 18"/>
                    <a:gd name="T5" fmla="*/ 5 h 33"/>
                    <a:gd name="T6" fmla="*/ 4 w 18"/>
                    <a:gd name="T7" fmla="*/ 4 h 33"/>
                    <a:gd name="T8" fmla="*/ 3 w 18"/>
                    <a:gd name="T9" fmla="*/ 7 h 33"/>
                    <a:gd name="T10" fmla="*/ 7 w 18"/>
                    <a:gd name="T11" fmla="*/ 6 h 33"/>
                    <a:gd name="T12" fmla="*/ 12 w 18"/>
                    <a:gd name="T13" fmla="*/ 12 h 33"/>
                    <a:gd name="T14" fmla="*/ 11 w 18"/>
                    <a:gd name="T15" fmla="*/ 12 h 33"/>
                    <a:gd name="T16" fmla="*/ 11 w 18"/>
                    <a:gd name="T17" fmla="*/ 12 h 33"/>
                    <a:gd name="T18" fmla="*/ 7 w 18"/>
                    <a:gd name="T19" fmla="*/ 14 h 33"/>
                    <a:gd name="T20" fmla="*/ 0 w 18"/>
                    <a:gd name="T21" fmla="*/ 15 h 33"/>
                    <a:gd name="T22" fmla="*/ 3 w 18"/>
                    <a:gd name="T23" fmla="*/ 17 h 33"/>
                    <a:gd name="T24" fmla="*/ 6 w 18"/>
                    <a:gd name="T25" fmla="*/ 17 h 33"/>
                    <a:gd name="T26" fmla="*/ 5 w 18"/>
                    <a:gd name="T27" fmla="*/ 19 h 33"/>
                    <a:gd name="T28" fmla="*/ 6 w 18"/>
                    <a:gd name="T29" fmla="*/ 19 h 33"/>
                    <a:gd name="T30" fmla="*/ 10 w 18"/>
                    <a:gd name="T31" fmla="*/ 16 h 33"/>
                    <a:gd name="T32" fmla="*/ 12 w 18"/>
                    <a:gd name="T33" fmla="*/ 16 h 33"/>
                    <a:gd name="T34" fmla="*/ 12 w 18"/>
                    <a:gd name="T35" fmla="*/ 23 h 33"/>
                    <a:gd name="T36" fmla="*/ 12 w 18"/>
                    <a:gd name="T37" fmla="*/ 33 h 33"/>
                    <a:gd name="T38" fmla="*/ 18 w 18"/>
                    <a:gd name="T39" fmla="*/ 8 h 33"/>
                    <a:gd name="T40" fmla="*/ 16 w 18"/>
                    <a:gd name="T41" fmla="*/ 10 h 33"/>
                    <a:gd name="T42" fmla="*/ 12 w 18"/>
                    <a:gd name="T43" fmla="*/ 1 h 33"/>
                    <a:gd name="T44" fmla="*/ 10 w 18"/>
                    <a:gd name="T45"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33">
                      <a:moveTo>
                        <a:pt x="10" y="0"/>
                      </a:moveTo>
                      <a:cubicBezTo>
                        <a:pt x="9" y="0"/>
                        <a:pt x="8" y="0"/>
                        <a:pt x="8" y="1"/>
                      </a:cubicBezTo>
                      <a:cubicBezTo>
                        <a:pt x="7" y="2"/>
                        <a:pt x="8" y="4"/>
                        <a:pt x="9" y="5"/>
                      </a:cubicBezTo>
                      <a:cubicBezTo>
                        <a:pt x="8" y="5"/>
                        <a:pt x="6" y="4"/>
                        <a:pt x="4" y="4"/>
                      </a:cubicBezTo>
                      <a:cubicBezTo>
                        <a:pt x="3" y="4"/>
                        <a:pt x="2" y="5"/>
                        <a:pt x="3" y="7"/>
                      </a:cubicBezTo>
                      <a:cubicBezTo>
                        <a:pt x="7" y="6"/>
                        <a:pt x="7" y="6"/>
                        <a:pt x="7" y="6"/>
                      </a:cubicBezTo>
                      <a:cubicBezTo>
                        <a:pt x="7" y="10"/>
                        <a:pt x="10" y="10"/>
                        <a:pt x="12" y="12"/>
                      </a:cubicBezTo>
                      <a:cubicBezTo>
                        <a:pt x="12" y="12"/>
                        <a:pt x="12" y="12"/>
                        <a:pt x="11" y="12"/>
                      </a:cubicBezTo>
                      <a:cubicBezTo>
                        <a:pt x="11" y="12"/>
                        <a:pt x="11" y="12"/>
                        <a:pt x="11" y="12"/>
                      </a:cubicBezTo>
                      <a:cubicBezTo>
                        <a:pt x="10" y="14"/>
                        <a:pt x="9" y="14"/>
                        <a:pt x="7" y="14"/>
                      </a:cubicBezTo>
                      <a:cubicBezTo>
                        <a:pt x="5" y="14"/>
                        <a:pt x="3" y="14"/>
                        <a:pt x="0" y="15"/>
                      </a:cubicBezTo>
                      <a:cubicBezTo>
                        <a:pt x="0" y="17"/>
                        <a:pt x="1" y="17"/>
                        <a:pt x="3" y="17"/>
                      </a:cubicBezTo>
                      <a:cubicBezTo>
                        <a:pt x="4" y="17"/>
                        <a:pt x="5" y="17"/>
                        <a:pt x="6" y="17"/>
                      </a:cubicBezTo>
                      <a:cubicBezTo>
                        <a:pt x="5" y="18"/>
                        <a:pt x="5" y="19"/>
                        <a:pt x="5" y="19"/>
                      </a:cubicBezTo>
                      <a:cubicBezTo>
                        <a:pt x="6" y="19"/>
                        <a:pt x="6" y="19"/>
                        <a:pt x="6" y="19"/>
                      </a:cubicBezTo>
                      <a:cubicBezTo>
                        <a:pt x="9" y="17"/>
                        <a:pt x="8" y="16"/>
                        <a:pt x="10" y="16"/>
                      </a:cubicBezTo>
                      <a:cubicBezTo>
                        <a:pt x="11" y="16"/>
                        <a:pt x="11" y="16"/>
                        <a:pt x="12" y="16"/>
                      </a:cubicBezTo>
                      <a:cubicBezTo>
                        <a:pt x="10" y="19"/>
                        <a:pt x="12" y="21"/>
                        <a:pt x="12" y="23"/>
                      </a:cubicBezTo>
                      <a:cubicBezTo>
                        <a:pt x="11" y="27"/>
                        <a:pt x="7" y="31"/>
                        <a:pt x="12" y="33"/>
                      </a:cubicBezTo>
                      <a:cubicBezTo>
                        <a:pt x="14" y="25"/>
                        <a:pt x="17" y="16"/>
                        <a:pt x="18" y="8"/>
                      </a:cubicBezTo>
                      <a:cubicBezTo>
                        <a:pt x="17" y="9"/>
                        <a:pt x="17" y="9"/>
                        <a:pt x="16" y="10"/>
                      </a:cubicBezTo>
                      <a:cubicBezTo>
                        <a:pt x="16" y="7"/>
                        <a:pt x="13" y="3"/>
                        <a:pt x="12" y="1"/>
                      </a:cubicBezTo>
                      <a:cubicBezTo>
                        <a:pt x="11"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47"/>
                <p:cNvSpPr/>
                <p:nvPr/>
              </p:nvSpPr>
              <p:spPr bwMode="auto">
                <a:xfrm>
                  <a:off x="3858316" y="3294494"/>
                  <a:ext cx="44221" cy="36851"/>
                </a:xfrm>
                <a:custGeom>
                  <a:gdLst>
                    <a:gd name="T0" fmla="*/ 6 w 13"/>
                    <a:gd name="T1" fmla="*/ 0 h 11"/>
                    <a:gd name="T2" fmla="*/ 9 w 13"/>
                    <a:gd name="T3" fmla="*/ 11 h 11"/>
                    <a:gd name="T4" fmla="*/ 11 w 13"/>
                    <a:gd name="T5" fmla="*/ 6 h 11"/>
                    <a:gd name="T6" fmla="*/ 10 w 13"/>
                    <a:gd name="T7" fmla="*/ 2 h 11"/>
                    <a:gd name="T8" fmla="*/ 7 w 13"/>
                    <a:gd name="T9" fmla="*/ 0 h 11"/>
                    <a:gd name="T10" fmla="*/ 6 w 13"/>
                    <a:gd name="T11" fmla="*/ 0 h 11"/>
                  </a:gdLst>
                  <a:cxnLst>
                    <a:cxn ang="0">
                      <a:pos x="T0" y="T1"/>
                    </a:cxn>
                    <a:cxn ang="0">
                      <a:pos x="T2" y="T3"/>
                    </a:cxn>
                    <a:cxn ang="0">
                      <a:pos x="T4" y="T5"/>
                    </a:cxn>
                    <a:cxn ang="0">
                      <a:pos x="T6" y="T7"/>
                    </a:cxn>
                    <a:cxn ang="0">
                      <a:pos x="T8" y="T9"/>
                    </a:cxn>
                    <a:cxn ang="0">
                      <a:pos x="T10" y="T11"/>
                    </a:cxn>
                  </a:cxnLst>
                  <a:rect l="0" t="0" r="r" b="b"/>
                  <a:pathLst>
                    <a:path w="13" h="11">
                      <a:moveTo>
                        <a:pt x="6" y="0"/>
                      </a:moveTo>
                      <a:cubicBezTo>
                        <a:pt x="0" y="0"/>
                        <a:pt x="8" y="10"/>
                        <a:pt x="9" y="11"/>
                      </a:cubicBezTo>
                      <a:cubicBezTo>
                        <a:pt x="13" y="11"/>
                        <a:pt x="12" y="8"/>
                        <a:pt x="11" y="6"/>
                      </a:cubicBezTo>
                      <a:cubicBezTo>
                        <a:pt x="11" y="6"/>
                        <a:pt x="10" y="3"/>
                        <a:pt x="10" y="2"/>
                      </a:cubicBezTo>
                      <a:cubicBezTo>
                        <a:pt x="9" y="1"/>
                        <a:pt x="8" y="0"/>
                        <a:pt x="7"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48"/>
                <p:cNvSpPr/>
                <p:nvPr/>
              </p:nvSpPr>
              <p:spPr bwMode="auto">
                <a:xfrm>
                  <a:off x="3740393" y="3043906"/>
                  <a:ext cx="106868" cy="81073"/>
                </a:xfrm>
                <a:custGeom>
                  <a:gdLst>
                    <a:gd name="T0" fmla="*/ 15 w 34"/>
                    <a:gd name="T1" fmla="*/ 0 h 26"/>
                    <a:gd name="T2" fmla="*/ 13 w 34"/>
                    <a:gd name="T3" fmla="*/ 6 h 26"/>
                    <a:gd name="T4" fmla="*/ 11 w 34"/>
                    <a:gd name="T5" fmla="*/ 7 h 26"/>
                    <a:gd name="T6" fmla="*/ 6 w 34"/>
                    <a:gd name="T7" fmla="*/ 3 h 26"/>
                    <a:gd name="T8" fmla="*/ 6 w 34"/>
                    <a:gd name="T9" fmla="*/ 9 h 26"/>
                    <a:gd name="T10" fmla="*/ 3 w 34"/>
                    <a:gd name="T11" fmla="*/ 7 h 26"/>
                    <a:gd name="T12" fmla="*/ 3 w 34"/>
                    <a:gd name="T13" fmla="*/ 7 h 26"/>
                    <a:gd name="T14" fmla="*/ 5 w 34"/>
                    <a:gd name="T15" fmla="*/ 10 h 26"/>
                    <a:gd name="T16" fmla="*/ 13 w 34"/>
                    <a:gd name="T17" fmla="*/ 14 h 26"/>
                    <a:gd name="T18" fmla="*/ 13 w 34"/>
                    <a:gd name="T19" fmla="*/ 14 h 26"/>
                    <a:gd name="T20" fmla="*/ 10 w 34"/>
                    <a:gd name="T21" fmla="*/ 15 h 26"/>
                    <a:gd name="T22" fmla="*/ 21 w 34"/>
                    <a:gd name="T23" fmla="*/ 20 h 26"/>
                    <a:gd name="T24" fmla="*/ 23 w 34"/>
                    <a:gd name="T25" fmla="*/ 18 h 26"/>
                    <a:gd name="T26" fmla="*/ 26 w 34"/>
                    <a:gd name="T27" fmla="*/ 20 h 26"/>
                    <a:gd name="T28" fmla="*/ 28 w 34"/>
                    <a:gd name="T29" fmla="*/ 20 h 26"/>
                    <a:gd name="T30" fmla="*/ 23 w 34"/>
                    <a:gd name="T31" fmla="*/ 26 h 26"/>
                    <a:gd name="T32" fmla="*/ 28 w 34"/>
                    <a:gd name="T33" fmla="*/ 23 h 26"/>
                    <a:gd name="T34" fmla="*/ 30 w 34"/>
                    <a:gd name="T35" fmla="*/ 21 h 26"/>
                    <a:gd name="T36" fmla="*/ 34 w 34"/>
                    <a:gd name="T37" fmla="*/ 17 h 26"/>
                    <a:gd name="T38" fmla="*/ 25 w 34"/>
                    <a:gd name="T39" fmla="*/ 17 h 26"/>
                    <a:gd name="T40" fmla="*/ 23 w 34"/>
                    <a:gd name="T41" fmla="*/ 16 h 26"/>
                    <a:gd name="T42" fmla="*/ 22 w 34"/>
                    <a:gd name="T43" fmla="*/ 16 h 26"/>
                    <a:gd name="T44" fmla="*/ 22 w 34"/>
                    <a:gd name="T45" fmla="*/ 15 h 26"/>
                    <a:gd name="T46" fmla="*/ 20 w 34"/>
                    <a:gd name="T47" fmla="*/ 15 h 26"/>
                    <a:gd name="T48" fmla="*/ 19 w 34"/>
                    <a:gd name="T49" fmla="*/ 11 h 26"/>
                    <a:gd name="T50" fmla="*/ 18 w 34"/>
                    <a:gd name="T51" fmla="*/ 11 h 26"/>
                    <a:gd name="T52" fmla="*/ 19 w 34"/>
                    <a:gd name="T53" fmla="*/ 2 h 26"/>
                    <a:gd name="T54" fmla="*/ 16 w 34"/>
                    <a:gd name="T55" fmla="*/ 0 h 26"/>
                    <a:gd name="T56" fmla="*/ 15 w 34"/>
                    <a:gd name="T57"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26">
                      <a:moveTo>
                        <a:pt x="15" y="0"/>
                      </a:moveTo>
                      <a:cubicBezTo>
                        <a:pt x="13" y="0"/>
                        <a:pt x="12" y="3"/>
                        <a:pt x="13" y="6"/>
                      </a:cubicBezTo>
                      <a:cubicBezTo>
                        <a:pt x="12" y="7"/>
                        <a:pt x="12" y="7"/>
                        <a:pt x="11" y="7"/>
                      </a:cubicBezTo>
                      <a:cubicBezTo>
                        <a:pt x="10" y="7"/>
                        <a:pt x="8" y="4"/>
                        <a:pt x="6" y="3"/>
                      </a:cubicBezTo>
                      <a:cubicBezTo>
                        <a:pt x="6" y="5"/>
                        <a:pt x="6" y="7"/>
                        <a:pt x="6" y="9"/>
                      </a:cubicBezTo>
                      <a:cubicBezTo>
                        <a:pt x="5" y="8"/>
                        <a:pt x="4" y="7"/>
                        <a:pt x="3" y="7"/>
                      </a:cubicBezTo>
                      <a:cubicBezTo>
                        <a:pt x="3" y="7"/>
                        <a:pt x="3" y="7"/>
                        <a:pt x="3" y="7"/>
                      </a:cubicBezTo>
                      <a:cubicBezTo>
                        <a:pt x="0" y="7"/>
                        <a:pt x="4" y="10"/>
                        <a:pt x="5" y="10"/>
                      </a:cubicBezTo>
                      <a:cubicBezTo>
                        <a:pt x="8" y="11"/>
                        <a:pt x="11" y="12"/>
                        <a:pt x="13" y="14"/>
                      </a:cubicBezTo>
                      <a:cubicBezTo>
                        <a:pt x="13" y="14"/>
                        <a:pt x="13" y="14"/>
                        <a:pt x="13" y="14"/>
                      </a:cubicBezTo>
                      <a:cubicBezTo>
                        <a:pt x="12" y="14"/>
                        <a:pt x="11" y="15"/>
                        <a:pt x="10" y="15"/>
                      </a:cubicBezTo>
                      <a:cubicBezTo>
                        <a:pt x="11" y="17"/>
                        <a:pt x="18" y="20"/>
                        <a:pt x="21" y="20"/>
                      </a:cubicBezTo>
                      <a:cubicBezTo>
                        <a:pt x="23" y="20"/>
                        <a:pt x="23" y="20"/>
                        <a:pt x="23" y="18"/>
                      </a:cubicBezTo>
                      <a:cubicBezTo>
                        <a:pt x="24" y="19"/>
                        <a:pt x="25" y="20"/>
                        <a:pt x="26" y="20"/>
                      </a:cubicBezTo>
                      <a:cubicBezTo>
                        <a:pt x="27" y="20"/>
                        <a:pt x="27" y="20"/>
                        <a:pt x="28" y="20"/>
                      </a:cubicBezTo>
                      <a:cubicBezTo>
                        <a:pt x="27" y="22"/>
                        <a:pt x="25" y="24"/>
                        <a:pt x="23" y="26"/>
                      </a:cubicBezTo>
                      <a:cubicBezTo>
                        <a:pt x="26" y="25"/>
                        <a:pt x="26" y="25"/>
                        <a:pt x="28" y="23"/>
                      </a:cubicBezTo>
                      <a:cubicBezTo>
                        <a:pt x="30" y="21"/>
                        <a:pt x="30" y="21"/>
                        <a:pt x="30" y="21"/>
                      </a:cubicBezTo>
                      <a:cubicBezTo>
                        <a:pt x="31" y="20"/>
                        <a:pt x="34" y="20"/>
                        <a:pt x="34" y="17"/>
                      </a:cubicBezTo>
                      <a:cubicBezTo>
                        <a:pt x="31" y="17"/>
                        <a:pt x="28" y="17"/>
                        <a:pt x="25" y="17"/>
                      </a:cubicBezTo>
                      <a:cubicBezTo>
                        <a:pt x="24" y="16"/>
                        <a:pt x="24" y="16"/>
                        <a:pt x="23" y="16"/>
                      </a:cubicBezTo>
                      <a:cubicBezTo>
                        <a:pt x="22" y="16"/>
                        <a:pt x="22" y="16"/>
                        <a:pt x="22" y="16"/>
                      </a:cubicBezTo>
                      <a:cubicBezTo>
                        <a:pt x="22" y="16"/>
                        <a:pt x="22" y="15"/>
                        <a:pt x="22" y="15"/>
                      </a:cubicBezTo>
                      <a:cubicBezTo>
                        <a:pt x="21" y="15"/>
                        <a:pt x="21" y="15"/>
                        <a:pt x="20" y="15"/>
                      </a:cubicBezTo>
                      <a:cubicBezTo>
                        <a:pt x="20" y="14"/>
                        <a:pt x="21" y="11"/>
                        <a:pt x="19" y="11"/>
                      </a:cubicBezTo>
                      <a:cubicBezTo>
                        <a:pt x="19" y="11"/>
                        <a:pt x="19" y="11"/>
                        <a:pt x="18" y="11"/>
                      </a:cubicBezTo>
                      <a:cubicBezTo>
                        <a:pt x="21" y="9"/>
                        <a:pt x="20" y="5"/>
                        <a:pt x="19" y="2"/>
                      </a:cubicBezTo>
                      <a:cubicBezTo>
                        <a:pt x="18" y="2"/>
                        <a:pt x="16" y="0"/>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49"/>
                <p:cNvSpPr/>
                <p:nvPr/>
              </p:nvSpPr>
              <p:spPr bwMode="auto">
                <a:xfrm>
                  <a:off x="4215773" y="3906223"/>
                  <a:ext cx="44221" cy="18426"/>
                </a:xfrm>
                <a:custGeom>
                  <a:gdLst>
                    <a:gd name="T0" fmla="*/ 7 w 14"/>
                    <a:gd name="T1" fmla="*/ 0 h 6"/>
                    <a:gd name="T2" fmla="*/ 0 w 14"/>
                    <a:gd name="T3" fmla="*/ 3 h 6"/>
                    <a:gd name="T4" fmla="*/ 8 w 14"/>
                    <a:gd name="T5" fmla="*/ 6 h 6"/>
                    <a:gd name="T6" fmla="*/ 14 w 14"/>
                    <a:gd name="T7" fmla="*/ 2 h 6"/>
                    <a:gd name="T8" fmla="*/ 7 w 14"/>
                    <a:gd name="T9" fmla="*/ 0 h 6"/>
                  </a:gdLst>
                  <a:cxnLst>
                    <a:cxn ang="0">
                      <a:pos x="T0" y="T1"/>
                    </a:cxn>
                    <a:cxn ang="0">
                      <a:pos x="T2" y="T3"/>
                    </a:cxn>
                    <a:cxn ang="0">
                      <a:pos x="T4" y="T5"/>
                    </a:cxn>
                    <a:cxn ang="0">
                      <a:pos x="T6" y="T7"/>
                    </a:cxn>
                    <a:cxn ang="0">
                      <a:pos x="T8" y="T9"/>
                    </a:cxn>
                  </a:cxnLst>
                  <a:rect l="0" t="0" r="r" b="b"/>
                  <a:pathLst>
                    <a:path w="14" h="6">
                      <a:moveTo>
                        <a:pt x="7" y="0"/>
                      </a:moveTo>
                      <a:cubicBezTo>
                        <a:pt x="4" y="0"/>
                        <a:pt x="2" y="1"/>
                        <a:pt x="0" y="3"/>
                      </a:cubicBezTo>
                      <a:cubicBezTo>
                        <a:pt x="2" y="4"/>
                        <a:pt x="5" y="5"/>
                        <a:pt x="8" y="6"/>
                      </a:cubicBezTo>
                      <a:cubicBezTo>
                        <a:pt x="12" y="6"/>
                        <a:pt x="11" y="3"/>
                        <a:pt x="14" y="2"/>
                      </a:cubicBezTo>
                      <a:cubicBezTo>
                        <a:pt x="12" y="1"/>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50"/>
                <p:cNvSpPr/>
                <p:nvPr/>
              </p:nvSpPr>
              <p:spPr bwMode="auto">
                <a:xfrm>
                  <a:off x="3714597" y="3010740"/>
                  <a:ext cx="36851" cy="25796"/>
                </a:xfrm>
                <a:custGeom>
                  <a:gdLst>
                    <a:gd name="T0" fmla="*/ 7 w 12"/>
                    <a:gd name="T1" fmla="*/ 0 h 8"/>
                    <a:gd name="T2" fmla="*/ 1 w 12"/>
                    <a:gd name="T3" fmla="*/ 4 h 8"/>
                    <a:gd name="T4" fmla="*/ 0 w 12"/>
                    <a:gd name="T5" fmla="*/ 3 h 8"/>
                    <a:gd name="T6" fmla="*/ 4 w 12"/>
                    <a:gd name="T7" fmla="*/ 8 h 8"/>
                    <a:gd name="T8" fmla="*/ 4 w 12"/>
                    <a:gd name="T9" fmla="*/ 8 h 8"/>
                    <a:gd name="T10" fmla="*/ 9 w 12"/>
                    <a:gd name="T11" fmla="*/ 1 h 8"/>
                    <a:gd name="T12" fmla="*/ 7 w 12"/>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12" h="8">
                      <a:moveTo>
                        <a:pt x="7" y="0"/>
                      </a:moveTo>
                      <a:cubicBezTo>
                        <a:pt x="4" y="0"/>
                        <a:pt x="3" y="2"/>
                        <a:pt x="1" y="4"/>
                      </a:cubicBezTo>
                      <a:cubicBezTo>
                        <a:pt x="1" y="4"/>
                        <a:pt x="0" y="3"/>
                        <a:pt x="0" y="3"/>
                      </a:cubicBezTo>
                      <a:cubicBezTo>
                        <a:pt x="0" y="4"/>
                        <a:pt x="3" y="7"/>
                        <a:pt x="4" y="8"/>
                      </a:cubicBezTo>
                      <a:cubicBezTo>
                        <a:pt x="4" y="8"/>
                        <a:pt x="4" y="8"/>
                        <a:pt x="4" y="8"/>
                      </a:cubicBezTo>
                      <a:cubicBezTo>
                        <a:pt x="7" y="8"/>
                        <a:pt x="12" y="3"/>
                        <a:pt x="9"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51"/>
                <p:cNvSpPr/>
                <p:nvPr/>
              </p:nvSpPr>
              <p:spPr bwMode="auto">
                <a:xfrm>
                  <a:off x="3707227" y="2940723"/>
                  <a:ext cx="95813" cy="73702"/>
                </a:xfrm>
                <a:custGeom>
                  <a:gdLst>
                    <a:gd name="T0" fmla="*/ 26 w 30"/>
                    <a:gd name="T1" fmla="*/ 0 h 24"/>
                    <a:gd name="T2" fmla="*/ 24 w 30"/>
                    <a:gd name="T3" fmla="*/ 0 h 24"/>
                    <a:gd name="T4" fmla="*/ 16 w 30"/>
                    <a:gd name="T5" fmla="*/ 5 h 24"/>
                    <a:gd name="T6" fmla="*/ 13 w 30"/>
                    <a:gd name="T7" fmla="*/ 6 h 24"/>
                    <a:gd name="T8" fmla="*/ 7 w 30"/>
                    <a:gd name="T9" fmla="*/ 12 h 24"/>
                    <a:gd name="T10" fmla="*/ 5 w 30"/>
                    <a:gd name="T11" fmla="*/ 10 h 24"/>
                    <a:gd name="T12" fmla="*/ 4 w 30"/>
                    <a:gd name="T13" fmla="*/ 10 h 24"/>
                    <a:gd name="T14" fmla="*/ 2 w 30"/>
                    <a:gd name="T15" fmla="*/ 20 h 24"/>
                    <a:gd name="T16" fmla="*/ 11 w 30"/>
                    <a:gd name="T17" fmla="*/ 24 h 24"/>
                    <a:gd name="T18" fmla="*/ 15 w 30"/>
                    <a:gd name="T19" fmla="*/ 24 h 24"/>
                    <a:gd name="T20" fmla="*/ 14 w 30"/>
                    <a:gd name="T21" fmla="*/ 18 h 24"/>
                    <a:gd name="T22" fmla="*/ 16 w 30"/>
                    <a:gd name="T23" fmla="*/ 17 h 24"/>
                    <a:gd name="T24" fmla="*/ 17 w 30"/>
                    <a:gd name="T25" fmla="*/ 22 h 24"/>
                    <a:gd name="T26" fmla="*/ 17 w 30"/>
                    <a:gd name="T27" fmla="*/ 23 h 24"/>
                    <a:gd name="T28" fmla="*/ 23 w 30"/>
                    <a:gd name="T29" fmla="*/ 18 h 24"/>
                    <a:gd name="T30" fmla="*/ 17 w 30"/>
                    <a:gd name="T31" fmla="*/ 16 h 24"/>
                    <a:gd name="T32" fmla="*/ 16 w 30"/>
                    <a:gd name="T33" fmla="*/ 16 h 24"/>
                    <a:gd name="T34" fmla="*/ 23 w 30"/>
                    <a:gd name="T35" fmla="*/ 11 h 24"/>
                    <a:gd name="T36" fmla="*/ 27 w 30"/>
                    <a:gd name="T37" fmla="*/ 12 h 24"/>
                    <a:gd name="T38" fmla="*/ 29 w 30"/>
                    <a:gd name="T39" fmla="*/ 11 h 24"/>
                    <a:gd name="T40" fmla="*/ 28 w 30"/>
                    <a:gd name="T41" fmla="*/ 4 h 24"/>
                    <a:gd name="T42" fmla="*/ 26 w 30"/>
                    <a:gd name="T43"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24">
                      <a:moveTo>
                        <a:pt x="26" y="0"/>
                      </a:moveTo>
                      <a:cubicBezTo>
                        <a:pt x="26" y="0"/>
                        <a:pt x="25" y="0"/>
                        <a:pt x="24" y="0"/>
                      </a:cubicBezTo>
                      <a:cubicBezTo>
                        <a:pt x="21" y="1"/>
                        <a:pt x="19" y="4"/>
                        <a:pt x="16" y="5"/>
                      </a:cubicBezTo>
                      <a:cubicBezTo>
                        <a:pt x="15" y="6"/>
                        <a:pt x="14" y="5"/>
                        <a:pt x="13" y="6"/>
                      </a:cubicBezTo>
                      <a:cubicBezTo>
                        <a:pt x="11" y="7"/>
                        <a:pt x="9" y="11"/>
                        <a:pt x="7" y="12"/>
                      </a:cubicBezTo>
                      <a:cubicBezTo>
                        <a:pt x="8" y="12"/>
                        <a:pt x="6" y="10"/>
                        <a:pt x="5" y="10"/>
                      </a:cubicBezTo>
                      <a:cubicBezTo>
                        <a:pt x="5" y="10"/>
                        <a:pt x="5" y="10"/>
                        <a:pt x="4" y="10"/>
                      </a:cubicBezTo>
                      <a:cubicBezTo>
                        <a:pt x="0" y="11"/>
                        <a:pt x="4" y="18"/>
                        <a:pt x="2" y="20"/>
                      </a:cubicBezTo>
                      <a:cubicBezTo>
                        <a:pt x="5" y="21"/>
                        <a:pt x="8" y="22"/>
                        <a:pt x="11" y="24"/>
                      </a:cubicBezTo>
                      <a:cubicBezTo>
                        <a:pt x="12" y="24"/>
                        <a:pt x="13" y="24"/>
                        <a:pt x="15" y="24"/>
                      </a:cubicBezTo>
                      <a:cubicBezTo>
                        <a:pt x="13" y="21"/>
                        <a:pt x="11" y="20"/>
                        <a:pt x="14" y="18"/>
                      </a:cubicBezTo>
                      <a:cubicBezTo>
                        <a:pt x="15" y="17"/>
                        <a:pt x="15" y="17"/>
                        <a:pt x="16" y="17"/>
                      </a:cubicBezTo>
                      <a:cubicBezTo>
                        <a:pt x="17" y="17"/>
                        <a:pt x="17" y="20"/>
                        <a:pt x="17" y="22"/>
                      </a:cubicBezTo>
                      <a:cubicBezTo>
                        <a:pt x="17" y="23"/>
                        <a:pt x="17" y="23"/>
                        <a:pt x="17" y="23"/>
                      </a:cubicBezTo>
                      <a:cubicBezTo>
                        <a:pt x="19" y="23"/>
                        <a:pt x="23" y="19"/>
                        <a:pt x="23" y="18"/>
                      </a:cubicBezTo>
                      <a:cubicBezTo>
                        <a:pt x="22" y="17"/>
                        <a:pt x="20" y="16"/>
                        <a:pt x="17" y="16"/>
                      </a:cubicBezTo>
                      <a:cubicBezTo>
                        <a:pt x="17" y="16"/>
                        <a:pt x="17" y="16"/>
                        <a:pt x="16" y="16"/>
                      </a:cubicBezTo>
                      <a:cubicBezTo>
                        <a:pt x="19" y="15"/>
                        <a:pt x="25" y="15"/>
                        <a:pt x="23" y="11"/>
                      </a:cubicBezTo>
                      <a:cubicBezTo>
                        <a:pt x="24" y="11"/>
                        <a:pt x="25" y="12"/>
                        <a:pt x="27" y="12"/>
                      </a:cubicBezTo>
                      <a:cubicBezTo>
                        <a:pt x="27" y="12"/>
                        <a:pt x="28" y="12"/>
                        <a:pt x="29" y="11"/>
                      </a:cubicBezTo>
                      <a:cubicBezTo>
                        <a:pt x="30" y="9"/>
                        <a:pt x="29" y="5"/>
                        <a:pt x="28" y="4"/>
                      </a:cubicBezTo>
                      <a:cubicBezTo>
                        <a:pt x="28" y="2"/>
                        <a:pt x="29"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52"/>
                <p:cNvSpPr/>
                <p:nvPr/>
              </p:nvSpPr>
              <p:spPr bwMode="auto">
                <a:xfrm>
                  <a:off x="3773559" y="3124979"/>
                  <a:ext cx="22111" cy="14740"/>
                </a:xfrm>
                <a:custGeom>
                  <a:gdLst>
                    <a:gd name="T0" fmla="*/ 2 w 7"/>
                    <a:gd name="T1" fmla="*/ 0 h 5"/>
                    <a:gd name="T2" fmla="*/ 4 w 7"/>
                    <a:gd name="T3" fmla="*/ 5 h 5"/>
                    <a:gd name="T4" fmla="*/ 2 w 7"/>
                    <a:gd name="T5" fmla="*/ 0 h 5"/>
                  </a:gdLst>
                  <a:cxnLst>
                    <a:cxn ang="0">
                      <a:pos x="T0" y="T1"/>
                    </a:cxn>
                    <a:cxn ang="0">
                      <a:pos x="T2" y="T3"/>
                    </a:cxn>
                    <a:cxn ang="0">
                      <a:pos x="T4" y="T5"/>
                    </a:cxn>
                  </a:cxnLst>
                  <a:rect l="0" t="0" r="r" b="b"/>
                  <a:pathLst>
                    <a:path w="7" h="5">
                      <a:moveTo>
                        <a:pt x="2" y="0"/>
                      </a:moveTo>
                      <a:cubicBezTo>
                        <a:pt x="1" y="0"/>
                        <a:pt x="0" y="2"/>
                        <a:pt x="4" y="5"/>
                      </a:cubicBezTo>
                      <a:cubicBezTo>
                        <a:pt x="7"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53"/>
                <p:cNvSpPr/>
                <p:nvPr/>
              </p:nvSpPr>
              <p:spPr bwMode="auto">
                <a:xfrm>
                  <a:off x="3777244" y="3176570"/>
                  <a:ext cx="77387" cy="47907"/>
                </a:xfrm>
                <a:custGeom>
                  <a:gdLst>
                    <a:gd name="T0" fmla="*/ 8 w 24"/>
                    <a:gd name="T1" fmla="*/ 0 h 15"/>
                    <a:gd name="T2" fmla="*/ 7 w 24"/>
                    <a:gd name="T3" fmla="*/ 0 h 15"/>
                    <a:gd name="T4" fmla="*/ 3 w 24"/>
                    <a:gd name="T5" fmla="*/ 1 h 15"/>
                    <a:gd name="T6" fmla="*/ 5 w 24"/>
                    <a:gd name="T7" fmla="*/ 5 h 15"/>
                    <a:gd name="T8" fmla="*/ 9 w 24"/>
                    <a:gd name="T9" fmla="*/ 6 h 15"/>
                    <a:gd name="T10" fmla="*/ 11 w 24"/>
                    <a:gd name="T11" fmla="*/ 6 h 15"/>
                    <a:gd name="T12" fmla="*/ 8 w 24"/>
                    <a:gd name="T13" fmla="*/ 11 h 15"/>
                    <a:gd name="T14" fmla="*/ 4 w 24"/>
                    <a:gd name="T15" fmla="*/ 15 h 15"/>
                    <a:gd name="T16" fmla="*/ 14 w 24"/>
                    <a:gd name="T17" fmla="*/ 12 h 15"/>
                    <a:gd name="T18" fmla="*/ 15 w 24"/>
                    <a:gd name="T19" fmla="*/ 12 h 15"/>
                    <a:gd name="T20" fmla="*/ 16 w 24"/>
                    <a:gd name="T21" fmla="*/ 12 h 15"/>
                    <a:gd name="T22" fmla="*/ 16 w 24"/>
                    <a:gd name="T23" fmla="*/ 12 h 15"/>
                    <a:gd name="T24" fmla="*/ 17 w 24"/>
                    <a:gd name="T25" fmla="*/ 13 h 15"/>
                    <a:gd name="T26" fmla="*/ 17 w 24"/>
                    <a:gd name="T27" fmla="*/ 13 h 15"/>
                    <a:gd name="T28" fmla="*/ 20 w 24"/>
                    <a:gd name="T29" fmla="*/ 11 h 15"/>
                    <a:gd name="T30" fmla="*/ 15 w 24"/>
                    <a:gd name="T31" fmla="*/ 5 h 15"/>
                    <a:gd name="T32" fmla="*/ 10 w 24"/>
                    <a:gd name="T33" fmla="*/ 1 h 15"/>
                    <a:gd name="T34" fmla="*/ 8 w 24"/>
                    <a:gd name="T35"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5">
                      <a:moveTo>
                        <a:pt x="8" y="0"/>
                      </a:moveTo>
                      <a:cubicBezTo>
                        <a:pt x="7" y="0"/>
                        <a:pt x="7" y="0"/>
                        <a:pt x="7" y="0"/>
                      </a:cubicBezTo>
                      <a:cubicBezTo>
                        <a:pt x="6" y="0"/>
                        <a:pt x="4" y="1"/>
                        <a:pt x="3" y="1"/>
                      </a:cubicBezTo>
                      <a:cubicBezTo>
                        <a:pt x="2" y="4"/>
                        <a:pt x="4" y="3"/>
                        <a:pt x="5" y="5"/>
                      </a:cubicBezTo>
                      <a:cubicBezTo>
                        <a:pt x="6" y="6"/>
                        <a:pt x="8" y="6"/>
                        <a:pt x="9" y="6"/>
                      </a:cubicBezTo>
                      <a:cubicBezTo>
                        <a:pt x="10" y="6"/>
                        <a:pt x="11" y="6"/>
                        <a:pt x="11" y="6"/>
                      </a:cubicBezTo>
                      <a:cubicBezTo>
                        <a:pt x="12" y="9"/>
                        <a:pt x="12" y="11"/>
                        <a:pt x="8" y="11"/>
                      </a:cubicBezTo>
                      <a:cubicBezTo>
                        <a:pt x="5" y="12"/>
                        <a:pt x="0" y="11"/>
                        <a:pt x="4" y="15"/>
                      </a:cubicBezTo>
                      <a:cubicBezTo>
                        <a:pt x="7" y="14"/>
                        <a:pt x="11" y="13"/>
                        <a:pt x="14" y="12"/>
                      </a:cubicBezTo>
                      <a:cubicBezTo>
                        <a:pt x="14" y="12"/>
                        <a:pt x="15" y="12"/>
                        <a:pt x="15" y="12"/>
                      </a:cubicBezTo>
                      <a:cubicBezTo>
                        <a:pt x="15" y="12"/>
                        <a:pt x="16" y="12"/>
                        <a:pt x="16" y="12"/>
                      </a:cubicBezTo>
                      <a:cubicBezTo>
                        <a:pt x="16" y="12"/>
                        <a:pt x="16" y="12"/>
                        <a:pt x="16" y="12"/>
                      </a:cubicBezTo>
                      <a:cubicBezTo>
                        <a:pt x="16" y="13"/>
                        <a:pt x="16" y="13"/>
                        <a:pt x="17" y="13"/>
                      </a:cubicBezTo>
                      <a:cubicBezTo>
                        <a:pt x="17" y="13"/>
                        <a:pt x="17" y="13"/>
                        <a:pt x="17" y="13"/>
                      </a:cubicBezTo>
                      <a:cubicBezTo>
                        <a:pt x="18" y="13"/>
                        <a:pt x="20" y="12"/>
                        <a:pt x="20" y="11"/>
                      </a:cubicBezTo>
                      <a:cubicBezTo>
                        <a:pt x="24" y="7"/>
                        <a:pt x="18" y="6"/>
                        <a:pt x="15" y="5"/>
                      </a:cubicBezTo>
                      <a:cubicBezTo>
                        <a:pt x="12" y="4"/>
                        <a:pt x="12" y="1"/>
                        <a:pt x="10"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54"/>
                <p:cNvSpPr/>
                <p:nvPr/>
              </p:nvSpPr>
              <p:spPr bwMode="auto">
                <a:xfrm>
                  <a:off x="3674061" y="3047591"/>
                  <a:ext cx="44221" cy="18426"/>
                </a:xfrm>
                <a:custGeom>
                  <a:gdLst>
                    <a:gd name="T0" fmla="*/ 1 w 13"/>
                    <a:gd name="T1" fmla="*/ 0 h 6"/>
                    <a:gd name="T2" fmla="*/ 6 w 13"/>
                    <a:gd name="T3" fmla="*/ 4 h 6"/>
                    <a:gd name="T4" fmla="*/ 8 w 13"/>
                    <a:gd name="T5" fmla="*/ 6 h 6"/>
                    <a:gd name="T6" fmla="*/ 9 w 13"/>
                    <a:gd name="T7" fmla="*/ 6 h 6"/>
                    <a:gd name="T8" fmla="*/ 13 w 13"/>
                    <a:gd name="T9" fmla="*/ 1 h 6"/>
                    <a:gd name="T10" fmla="*/ 6 w 13"/>
                    <a:gd name="T11" fmla="*/ 0 h 6"/>
                    <a:gd name="T12" fmla="*/ 5 w 13"/>
                    <a:gd name="T13" fmla="*/ 0 h 6"/>
                    <a:gd name="T14" fmla="*/ 3 w 13"/>
                    <a:gd name="T15" fmla="*/ 0 h 6"/>
                    <a:gd name="T16" fmla="*/ 1 w 13"/>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6">
                      <a:moveTo>
                        <a:pt x="1" y="0"/>
                      </a:moveTo>
                      <a:cubicBezTo>
                        <a:pt x="0" y="3"/>
                        <a:pt x="4" y="4"/>
                        <a:pt x="6" y="4"/>
                      </a:cubicBezTo>
                      <a:cubicBezTo>
                        <a:pt x="7" y="5"/>
                        <a:pt x="7" y="6"/>
                        <a:pt x="8" y="6"/>
                      </a:cubicBezTo>
                      <a:cubicBezTo>
                        <a:pt x="9" y="6"/>
                        <a:pt x="9" y="6"/>
                        <a:pt x="9" y="6"/>
                      </a:cubicBezTo>
                      <a:cubicBezTo>
                        <a:pt x="12" y="5"/>
                        <a:pt x="12" y="3"/>
                        <a:pt x="13" y="1"/>
                      </a:cubicBezTo>
                      <a:cubicBezTo>
                        <a:pt x="11" y="0"/>
                        <a:pt x="8" y="0"/>
                        <a:pt x="6" y="0"/>
                      </a:cubicBezTo>
                      <a:cubicBezTo>
                        <a:pt x="6" y="0"/>
                        <a:pt x="5" y="0"/>
                        <a:pt x="5" y="0"/>
                      </a:cubicBezTo>
                      <a:cubicBezTo>
                        <a:pt x="4" y="0"/>
                        <a:pt x="4" y="0"/>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55"/>
                <p:cNvSpPr/>
                <p:nvPr/>
              </p:nvSpPr>
              <p:spPr bwMode="auto">
                <a:xfrm>
                  <a:off x="4267364" y="2620118"/>
                  <a:ext cx="25796" cy="22111"/>
                </a:xfrm>
                <a:custGeom>
                  <a:gdLst>
                    <a:gd name="T0" fmla="*/ 4 w 8"/>
                    <a:gd name="T1" fmla="*/ 0 h 7"/>
                    <a:gd name="T2" fmla="*/ 2 w 8"/>
                    <a:gd name="T3" fmla="*/ 2 h 7"/>
                    <a:gd name="T4" fmla="*/ 4 w 8"/>
                    <a:gd name="T5" fmla="*/ 7 h 7"/>
                    <a:gd name="T6" fmla="*/ 5 w 8"/>
                    <a:gd name="T7" fmla="*/ 7 h 7"/>
                    <a:gd name="T8" fmla="*/ 5 w 8"/>
                    <a:gd name="T9" fmla="*/ 0 h 7"/>
                    <a:gd name="T10" fmla="*/ 4 w 8"/>
                    <a:gd name="T11" fmla="*/ 0 h 7"/>
                  </a:gdLst>
                  <a:cxnLst>
                    <a:cxn ang="0">
                      <a:pos x="T0" y="T1"/>
                    </a:cxn>
                    <a:cxn ang="0">
                      <a:pos x="T2" y="T3"/>
                    </a:cxn>
                    <a:cxn ang="0">
                      <a:pos x="T4" y="T5"/>
                    </a:cxn>
                    <a:cxn ang="0">
                      <a:pos x="T6" y="T7"/>
                    </a:cxn>
                    <a:cxn ang="0">
                      <a:pos x="T8" y="T9"/>
                    </a:cxn>
                    <a:cxn ang="0">
                      <a:pos x="T10" y="T11"/>
                    </a:cxn>
                  </a:cxnLst>
                  <a:rect l="0" t="0" r="r" b="b"/>
                  <a:pathLst>
                    <a:path w="8" h="7">
                      <a:moveTo>
                        <a:pt x="4" y="0"/>
                      </a:moveTo>
                      <a:cubicBezTo>
                        <a:pt x="3" y="0"/>
                        <a:pt x="3" y="1"/>
                        <a:pt x="2" y="2"/>
                      </a:cubicBezTo>
                      <a:cubicBezTo>
                        <a:pt x="0" y="4"/>
                        <a:pt x="1" y="7"/>
                        <a:pt x="4" y="7"/>
                      </a:cubicBezTo>
                      <a:cubicBezTo>
                        <a:pt x="4" y="7"/>
                        <a:pt x="4" y="7"/>
                        <a:pt x="5" y="7"/>
                      </a:cubicBezTo>
                      <a:cubicBezTo>
                        <a:pt x="5" y="5"/>
                        <a:pt x="8"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56"/>
                <p:cNvSpPr/>
                <p:nvPr/>
              </p:nvSpPr>
              <p:spPr bwMode="auto">
                <a:xfrm>
                  <a:off x="4046257" y="2878076"/>
                  <a:ext cx="18426" cy="18426"/>
                </a:xfrm>
                <a:custGeom>
                  <a:gdLst>
                    <a:gd name="T0" fmla="*/ 2 w 6"/>
                    <a:gd name="T1" fmla="*/ 0 h 6"/>
                    <a:gd name="T2" fmla="*/ 0 w 6"/>
                    <a:gd name="T3" fmla="*/ 1 h 6"/>
                    <a:gd name="T4" fmla="*/ 5 w 6"/>
                    <a:gd name="T5" fmla="*/ 6 h 6"/>
                    <a:gd name="T6" fmla="*/ 3 w 6"/>
                    <a:gd name="T7" fmla="*/ 1 h 6"/>
                    <a:gd name="T8" fmla="*/ 2 w 6"/>
                    <a:gd name="T9" fmla="*/ 0 h 6"/>
                  </a:gdLst>
                  <a:cxnLst>
                    <a:cxn ang="0">
                      <a:pos x="T0" y="T1"/>
                    </a:cxn>
                    <a:cxn ang="0">
                      <a:pos x="T2" y="T3"/>
                    </a:cxn>
                    <a:cxn ang="0">
                      <a:pos x="T4" y="T5"/>
                    </a:cxn>
                    <a:cxn ang="0">
                      <a:pos x="T6" y="T7"/>
                    </a:cxn>
                    <a:cxn ang="0">
                      <a:pos x="T8" y="T9"/>
                    </a:cxn>
                  </a:cxnLst>
                  <a:rect l="0" t="0" r="r" b="b"/>
                  <a:pathLst>
                    <a:path w="6" h="6">
                      <a:moveTo>
                        <a:pt x="2" y="0"/>
                      </a:moveTo>
                      <a:cubicBezTo>
                        <a:pt x="1" y="0"/>
                        <a:pt x="1" y="0"/>
                        <a:pt x="0" y="1"/>
                      </a:cubicBezTo>
                      <a:cubicBezTo>
                        <a:pt x="2" y="3"/>
                        <a:pt x="4" y="4"/>
                        <a:pt x="5" y="6"/>
                      </a:cubicBezTo>
                      <a:cubicBezTo>
                        <a:pt x="6" y="3"/>
                        <a:pt x="6" y="2"/>
                        <a:pt x="3"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57"/>
                <p:cNvSpPr/>
                <p:nvPr/>
              </p:nvSpPr>
              <p:spPr bwMode="auto">
                <a:xfrm>
                  <a:off x="3791984" y="2914927"/>
                  <a:ext cx="725968" cy="1083424"/>
                </a:xfrm>
                <a:custGeom>
                  <a:gdLst>
                    <a:gd name="T0" fmla="*/ 75 w 228"/>
                    <a:gd name="T1" fmla="*/ 2 h 341"/>
                    <a:gd name="T2" fmla="*/ 42 w 228"/>
                    <a:gd name="T3" fmla="*/ 9 h 341"/>
                    <a:gd name="T4" fmla="*/ 31 w 228"/>
                    <a:gd name="T5" fmla="*/ 10 h 341"/>
                    <a:gd name="T6" fmla="*/ 29 w 228"/>
                    <a:gd name="T7" fmla="*/ 17 h 341"/>
                    <a:gd name="T8" fmla="*/ 23 w 228"/>
                    <a:gd name="T9" fmla="*/ 24 h 341"/>
                    <a:gd name="T10" fmla="*/ 23 w 228"/>
                    <a:gd name="T11" fmla="*/ 31 h 341"/>
                    <a:gd name="T12" fmla="*/ 16 w 228"/>
                    <a:gd name="T13" fmla="*/ 35 h 341"/>
                    <a:gd name="T14" fmla="*/ 11 w 228"/>
                    <a:gd name="T15" fmla="*/ 45 h 341"/>
                    <a:gd name="T16" fmla="*/ 22 w 228"/>
                    <a:gd name="T17" fmla="*/ 55 h 341"/>
                    <a:gd name="T18" fmla="*/ 17 w 228"/>
                    <a:gd name="T19" fmla="*/ 64 h 341"/>
                    <a:gd name="T20" fmla="*/ 12 w 228"/>
                    <a:gd name="T21" fmla="*/ 68 h 341"/>
                    <a:gd name="T22" fmla="*/ 16 w 228"/>
                    <a:gd name="T23" fmla="*/ 89 h 341"/>
                    <a:gd name="T24" fmla="*/ 25 w 228"/>
                    <a:gd name="T25" fmla="*/ 87 h 341"/>
                    <a:gd name="T26" fmla="*/ 26 w 228"/>
                    <a:gd name="T27" fmla="*/ 90 h 341"/>
                    <a:gd name="T28" fmla="*/ 15 w 228"/>
                    <a:gd name="T29" fmla="*/ 111 h 341"/>
                    <a:gd name="T30" fmla="*/ 22 w 228"/>
                    <a:gd name="T31" fmla="*/ 115 h 341"/>
                    <a:gd name="T32" fmla="*/ 19 w 228"/>
                    <a:gd name="T33" fmla="*/ 132 h 341"/>
                    <a:gd name="T34" fmla="*/ 22 w 228"/>
                    <a:gd name="T35" fmla="*/ 110 h 341"/>
                    <a:gd name="T36" fmla="*/ 36 w 228"/>
                    <a:gd name="T37" fmla="*/ 99 h 341"/>
                    <a:gd name="T38" fmla="*/ 33 w 228"/>
                    <a:gd name="T39" fmla="*/ 110 h 341"/>
                    <a:gd name="T40" fmla="*/ 45 w 228"/>
                    <a:gd name="T41" fmla="*/ 111 h 341"/>
                    <a:gd name="T42" fmla="*/ 40 w 228"/>
                    <a:gd name="T43" fmla="*/ 120 h 341"/>
                    <a:gd name="T44" fmla="*/ 35 w 228"/>
                    <a:gd name="T45" fmla="*/ 158 h 341"/>
                    <a:gd name="T46" fmla="*/ 53 w 228"/>
                    <a:gd name="T47" fmla="*/ 160 h 341"/>
                    <a:gd name="T48" fmla="*/ 78 w 228"/>
                    <a:gd name="T49" fmla="*/ 149 h 341"/>
                    <a:gd name="T50" fmla="*/ 75 w 228"/>
                    <a:gd name="T51" fmla="*/ 166 h 341"/>
                    <a:gd name="T52" fmla="*/ 89 w 228"/>
                    <a:gd name="T53" fmla="*/ 182 h 341"/>
                    <a:gd name="T54" fmla="*/ 91 w 228"/>
                    <a:gd name="T55" fmla="*/ 202 h 341"/>
                    <a:gd name="T56" fmla="*/ 87 w 228"/>
                    <a:gd name="T57" fmla="*/ 211 h 341"/>
                    <a:gd name="T58" fmla="*/ 59 w 228"/>
                    <a:gd name="T59" fmla="*/ 218 h 341"/>
                    <a:gd name="T60" fmla="*/ 54 w 228"/>
                    <a:gd name="T61" fmla="*/ 222 h 341"/>
                    <a:gd name="T62" fmla="*/ 61 w 228"/>
                    <a:gd name="T63" fmla="*/ 230 h 341"/>
                    <a:gd name="T64" fmla="*/ 32 w 228"/>
                    <a:gd name="T65" fmla="*/ 274 h 341"/>
                    <a:gd name="T66" fmla="*/ 37 w 228"/>
                    <a:gd name="T67" fmla="*/ 279 h 341"/>
                    <a:gd name="T68" fmla="*/ 70 w 228"/>
                    <a:gd name="T69" fmla="*/ 282 h 341"/>
                    <a:gd name="T70" fmla="*/ 89 w 228"/>
                    <a:gd name="T71" fmla="*/ 295 h 341"/>
                    <a:gd name="T72" fmla="*/ 38 w 228"/>
                    <a:gd name="T73" fmla="*/ 320 h 341"/>
                    <a:gd name="T74" fmla="*/ 49 w 228"/>
                    <a:gd name="T75" fmla="*/ 329 h 341"/>
                    <a:gd name="T76" fmla="*/ 63 w 228"/>
                    <a:gd name="T77" fmla="*/ 328 h 341"/>
                    <a:gd name="T78" fmla="*/ 79 w 228"/>
                    <a:gd name="T79" fmla="*/ 315 h 341"/>
                    <a:gd name="T80" fmla="*/ 121 w 228"/>
                    <a:gd name="T81" fmla="*/ 317 h 341"/>
                    <a:gd name="T82" fmla="*/ 125 w 228"/>
                    <a:gd name="T83" fmla="*/ 312 h 341"/>
                    <a:gd name="T84" fmla="*/ 164 w 228"/>
                    <a:gd name="T85" fmla="*/ 311 h 341"/>
                    <a:gd name="T86" fmla="*/ 217 w 228"/>
                    <a:gd name="T87" fmla="*/ 297 h 341"/>
                    <a:gd name="T88" fmla="*/ 214 w 228"/>
                    <a:gd name="T89" fmla="*/ 287 h 341"/>
                    <a:gd name="T90" fmla="*/ 200 w 228"/>
                    <a:gd name="T91" fmla="*/ 283 h 341"/>
                    <a:gd name="T92" fmla="*/ 197 w 228"/>
                    <a:gd name="T93" fmla="*/ 276 h 341"/>
                    <a:gd name="T94" fmla="*/ 208 w 228"/>
                    <a:gd name="T95" fmla="*/ 267 h 341"/>
                    <a:gd name="T96" fmla="*/ 218 w 228"/>
                    <a:gd name="T97" fmla="*/ 264 h 341"/>
                    <a:gd name="T98" fmla="*/ 192 w 228"/>
                    <a:gd name="T99" fmla="*/ 230 h 341"/>
                    <a:gd name="T100" fmla="*/ 181 w 228"/>
                    <a:gd name="T101" fmla="*/ 228 h 341"/>
                    <a:gd name="T102" fmla="*/ 162 w 228"/>
                    <a:gd name="T103" fmla="*/ 200 h 341"/>
                    <a:gd name="T104" fmla="*/ 177 w 228"/>
                    <a:gd name="T105" fmla="*/ 202 h 341"/>
                    <a:gd name="T106" fmla="*/ 142 w 228"/>
                    <a:gd name="T107" fmla="*/ 160 h 341"/>
                    <a:gd name="T108" fmla="*/ 82 w 228"/>
                    <a:gd name="T109" fmla="*/ 108 h 341"/>
                    <a:gd name="T110" fmla="*/ 96 w 228"/>
                    <a:gd name="T111" fmla="*/ 91 h 341"/>
                    <a:gd name="T112" fmla="*/ 126 w 228"/>
                    <a:gd name="T113" fmla="*/ 50 h 341"/>
                    <a:gd name="T114" fmla="*/ 58 w 228"/>
                    <a:gd name="T115" fmla="*/ 49 h 341"/>
                    <a:gd name="T116" fmla="*/ 63 w 228"/>
                    <a:gd name="T117" fmla="*/ 40 h 341"/>
                    <a:gd name="T118" fmla="*/ 75 w 228"/>
                    <a:gd name="T119" fmla="*/ 22 h 3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8" h="341">
                      <a:moveTo>
                        <a:pt x="82" y="0"/>
                      </a:moveTo>
                      <a:cubicBezTo>
                        <a:pt x="80" y="0"/>
                        <a:pt x="79" y="2"/>
                        <a:pt x="77" y="3"/>
                      </a:cubicBezTo>
                      <a:cubicBezTo>
                        <a:pt x="77" y="3"/>
                        <a:pt x="77" y="3"/>
                        <a:pt x="77" y="3"/>
                      </a:cubicBezTo>
                      <a:cubicBezTo>
                        <a:pt x="77" y="3"/>
                        <a:pt x="76" y="2"/>
                        <a:pt x="76" y="2"/>
                      </a:cubicBezTo>
                      <a:cubicBezTo>
                        <a:pt x="76" y="2"/>
                        <a:pt x="75" y="2"/>
                        <a:pt x="75" y="2"/>
                      </a:cubicBezTo>
                      <a:cubicBezTo>
                        <a:pt x="75" y="2"/>
                        <a:pt x="75" y="2"/>
                        <a:pt x="75" y="2"/>
                      </a:cubicBezTo>
                      <a:cubicBezTo>
                        <a:pt x="73" y="2"/>
                        <a:pt x="68" y="4"/>
                        <a:pt x="65" y="4"/>
                      </a:cubicBezTo>
                      <a:cubicBezTo>
                        <a:pt x="64" y="4"/>
                        <a:pt x="63" y="4"/>
                        <a:pt x="63" y="3"/>
                      </a:cubicBezTo>
                      <a:cubicBezTo>
                        <a:pt x="60" y="7"/>
                        <a:pt x="54" y="4"/>
                        <a:pt x="50" y="9"/>
                      </a:cubicBezTo>
                      <a:cubicBezTo>
                        <a:pt x="51" y="7"/>
                        <a:pt x="52" y="5"/>
                        <a:pt x="50" y="4"/>
                      </a:cubicBezTo>
                      <a:cubicBezTo>
                        <a:pt x="49" y="4"/>
                        <a:pt x="49" y="4"/>
                        <a:pt x="48" y="4"/>
                      </a:cubicBezTo>
                      <a:cubicBezTo>
                        <a:pt x="46" y="4"/>
                        <a:pt x="44" y="8"/>
                        <a:pt x="42" y="9"/>
                      </a:cubicBezTo>
                      <a:cubicBezTo>
                        <a:pt x="43" y="7"/>
                        <a:pt x="45" y="5"/>
                        <a:pt x="44" y="4"/>
                      </a:cubicBezTo>
                      <a:cubicBezTo>
                        <a:pt x="44" y="3"/>
                        <a:pt x="43" y="3"/>
                        <a:pt x="42" y="3"/>
                      </a:cubicBezTo>
                      <a:cubicBezTo>
                        <a:pt x="41" y="3"/>
                        <a:pt x="41" y="3"/>
                        <a:pt x="40" y="4"/>
                      </a:cubicBezTo>
                      <a:cubicBezTo>
                        <a:pt x="40" y="2"/>
                        <a:pt x="39" y="2"/>
                        <a:pt x="37" y="2"/>
                      </a:cubicBezTo>
                      <a:cubicBezTo>
                        <a:pt x="37" y="2"/>
                        <a:pt x="37" y="2"/>
                        <a:pt x="37" y="2"/>
                      </a:cubicBezTo>
                      <a:cubicBezTo>
                        <a:pt x="34" y="2"/>
                        <a:pt x="32" y="6"/>
                        <a:pt x="31" y="10"/>
                      </a:cubicBezTo>
                      <a:cubicBezTo>
                        <a:pt x="30" y="15"/>
                        <a:pt x="33" y="17"/>
                        <a:pt x="37" y="17"/>
                      </a:cubicBezTo>
                      <a:cubicBezTo>
                        <a:pt x="37" y="17"/>
                        <a:pt x="37" y="17"/>
                        <a:pt x="37" y="17"/>
                      </a:cubicBezTo>
                      <a:cubicBezTo>
                        <a:pt x="36" y="17"/>
                        <a:pt x="35" y="17"/>
                        <a:pt x="34" y="17"/>
                      </a:cubicBezTo>
                      <a:cubicBezTo>
                        <a:pt x="33" y="17"/>
                        <a:pt x="33" y="17"/>
                        <a:pt x="32" y="17"/>
                      </a:cubicBezTo>
                      <a:cubicBezTo>
                        <a:pt x="32" y="17"/>
                        <a:pt x="31" y="17"/>
                        <a:pt x="30" y="17"/>
                      </a:cubicBezTo>
                      <a:cubicBezTo>
                        <a:pt x="30" y="17"/>
                        <a:pt x="30" y="17"/>
                        <a:pt x="29" y="17"/>
                      </a:cubicBezTo>
                      <a:cubicBezTo>
                        <a:pt x="28" y="17"/>
                        <a:pt x="27" y="17"/>
                        <a:pt x="26" y="17"/>
                      </a:cubicBezTo>
                      <a:cubicBezTo>
                        <a:pt x="26" y="17"/>
                        <a:pt x="25" y="17"/>
                        <a:pt x="24" y="17"/>
                      </a:cubicBezTo>
                      <a:cubicBezTo>
                        <a:pt x="25" y="19"/>
                        <a:pt x="26" y="21"/>
                        <a:pt x="28" y="21"/>
                      </a:cubicBezTo>
                      <a:cubicBezTo>
                        <a:pt x="27" y="22"/>
                        <a:pt x="26" y="24"/>
                        <a:pt x="25" y="25"/>
                      </a:cubicBezTo>
                      <a:cubicBezTo>
                        <a:pt x="25" y="24"/>
                        <a:pt x="23" y="23"/>
                        <a:pt x="23" y="23"/>
                      </a:cubicBezTo>
                      <a:cubicBezTo>
                        <a:pt x="23" y="23"/>
                        <a:pt x="22" y="24"/>
                        <a:pt x="23" y="24"/>
                      </a:cubicBezTo>
                      <a:cubicBezTo>
                        <a:pt x="23" y="26"/>
                        <a:pt x="26" y="28"/>
                        <a:pt x="27" y="28"/>
                      </a:cubicBezTo>
                      <a:cubicBezTo>
                        <a:pt x="29" y="30"/>
                        <a:pt x="32" y="31"/>
                        <a:pt x="33" y="34"/>
                      </a:cubicBezTo>
                      <a:cubicBezTo>
                        <a:pt x="30" y="32"/>
                        <a:pt x="27" y="30"/>
                        <a:pt x="24" y="30"/>
                      </a:cubicBezTo>
                      <a:cubicBezTo>
                        <a:pt x="24" y="30"/>
                        <a:pt x="24" y="30"/>
                        <a:pt x="24" y="30"/>
                      </a:cubicBezTo>
                      <a:cubicBezTo>
                        <a:pt x="25" y="32"/>
                        <a:pt x="27" y="32"/>
                        <a:pt x="29" y="34"/>
                      </a:cubicBezTo>
                      <a:cubicBezTo>
                        <a:pt x="27" y="33"/>
                        <a:pt x="25" y="31"/>
                        <a:pt x="23" y="31"/>
                      </a:cubicBezTo>
                      <a:cubicBezTo>
                        <a:pt x="23" y="31"/>
                        <a:pt x="23" y="31"/>
                        <a:pt x="23" y="31"/>
                      </a:cubicBezTo>
                      <a:cubicBezTo>
                        <a:pt x="22" y="32"/>
                        <a:pt x="23" y="33"/>
                        <a:pt x="21" y="33"/>
                      </a:cubicBezTo>
                      <a:cubicBezTo>
                        <a:pt x="21" y="33"/>
                        <a:pt x="21" y="33"/>
                        <a:pt x="21" y="33"/>
                      </a:cubicBezTo>
                      <a:cubicBezTo>
                        <a:pt x="19" y="33"/>
                        <a:pt x="20" y="31"/>
                        <a:pt x="18" y="31"/>
                      </a:cubicBezTo>
                      <a:cubicBezTo>
                        <a:pt x="18" y="31"/>
                        <a:pt x="18" y="31"/>
                        <a:pt x="18" y="31"/>
                      </a:cubicBezTo>
                      <a:cubicBezTo>
                        <a:pt x="16" y="31"/>
                        <a:pt x="17" y="33"/>
                        <a:pt x="16" y="35"/>
                      </a:cubicBezTo>
                      <a:cubicBezTo>
                        <a:pt x="16" y="34"/>
                        <a:pt x="15" y="33"/>
                        <a:pt x="14" y="33"/>
                      </a:cubicBezTo>
                      <a:cubicBezTo>
                        <a:pt x="13" y="33"/>
                        <a:pt x="13" y="33"/>
                        <a:pt x="12" y="33"/>
                      </a:cubicBezTo>
                      <a:cubicBezTo>
                        <a:pt x="10" y="36"/>
                        <a:pt x="18" y="46"/>
                        <a:pt x="21" y="46"/>
                      </a:cubicBezTo>
                      <a:cubicBezTo>
                        <a:pt x="19" y="47"/>
                        <a:pt x="18" y="47"/>
                        <a:pt x="17" y="47"/>
                      </a:cubicBezTo>
                      <a:cubicBezTo>
                        <a:pt x="16" y="47"/>
                        <a:pt x="16" y="47"/>
                        <a:pt x="14" y="46"/>
                      </a:cubicBezTo>
                      <a:cubicBezTo>
                        <a:pt x="13" y="46"/>
                        <a:pt x="12" y="45"/>
                        <a:pt x="11" y="45"/>
                      </a:cubicBezTo>
                      <a:cubicBezTo>
                        <a:pt x="11" y="45"/>
                        <a:pt x="11" y="46"/>
                        <a:pt x="11" y="48"/>
                      </a:cubicBezTo>
                      <a:cubicBezTo>
                        <a:pt x="11" y="52"/>
                        <a:pt x="17" y="51"/>
                        <a:pt x="18" y="53"/>
                      </a:cubicBezTo>
                      <a:cubicBezTo>
                        <a:pt x="19" y="53"/>
                        <a:pt x="19" y="53"/>
                        <a:pt x="19" y="53"/>
                      </a:cubicBezTo>
                      <a:cubicBezTo>
                        <a:pt x="17" y="54"/>
                        <a:pt x="15" y="54"/>
                        <a:pt x="14" y="56"/>
                      </a:cubicBezTo>
                      <a:cubicBezTo>
                        <a:pt x="16" y="57"/>
                        <a:pt x="17" y="57"/>
                        <a:pt x="18" y="57"/>
                      </a:cubicBezTo>
                      <a:cubicBezTo>
                        <a:pt x="19" y="57"/>
                        <a:pt x="20" y="56"/>
                        <a:pt x="22" y="55"/>
                      </a:cubicBezTo>
                      <a:cubicBezTo>
                        <a:pt x="20" y="58"/>
                        <a:pt x="16" y="58"/>
                        <a:pt x="16" y="61"/>
                      </a:cubicBezTo>
                      <a:cubicBezTo>
                        <a:pt x="16" y="63"/>
                        <a:pt x="19" y="64"/>
                        <a:pt x="21" y="64"/>
                      </a:cubicBezTo>
                      <a:cubicBezTo>
                        <a:pt x="22" y="64"/>
                        <a:pt x="23" y="64"/>
                        <a:pt x="24" y="64"/>
                      </a:cubicBezTo>
                      <a:cubicBezTo>
                        <a:pt x="22" y="64"/>
                        <a:pt x="22" y="64"/>
                        <a:pt x="21" y="64"/>
                      </a:cubicBezTo>
                      <a:cubicBezTo>
                        <a:pt x="20" y="64"/>
                        <a:pt x="20" y="64"/>
                        <a:pt x="19" y="64"/>
                      </a:cubicBezTo>
                      <a:cubicBezTo>
                        <a:pt x="18" y="64"/>
                        <a:pt x="18" y="64"/>
                        <a:pt x="17" y="64"/>
                      </a:cubicBezTo>
                      <a:cubicBezTo>
                        <a:pt x="16" y="64"/>
                        <a:pt x="16" y="64"/>
                        <a:pt x="16" y="64"/>
                      </a:cubicBezTo>
                      <a:cubicBezTo>
                        <a:pt x="10" y="65"/>
                        <a:pt x="16" y="68"/>
                        <a:pt x="20" y="68"/>
                      </a:cubicBezTo>
                      <a:cubicBezTo>
                        <a:pt x="19" y="69"/>
                        <a:pt x="18" y="69"/>
                        <a:pt x="18" y="69"/>
                      </a:cubicBezTo>
                      <a:cubicBezTo>
                        <a:pt x="17" y="69"/>
                        <a:pt x="16" y="69"/>
                        <a:pt x="15" y="68"/>
                      </a:cubicBezTo>
                      <a:cubicBezTo>
                        <a:pt x="15" y="68"/>
                        <a:pt x="14" y="68"/>
                        <a:pt x="13" y="68"/>
                      </a:cubicBezTo>
                      <a:cubicBezTo>
                        <a:pt x="13" y="68"/>
                        <a:pt x="12" y="68"/>
                        <a:pt x="12" y="68"/>
                      </a:cubicBezTo>
                      <a:cubicBezTo>
                        <a:pt x="9" y="70"/>
                        <a:pt x="10" y="75"/>
                        <a:pt x="11" y="77"/>
                      </a:cubicBezTo>
                      <a:cubicBezTo>
                        <a:pt x="10" y="78"/>
                        <a:pt x="10" y="78"/>
                        <a:pt x="10" y="78"/>
                      </a:cubicBezTo>
                      <a:cubicBezTo>
                        <a:pt x="9" y="78"/>
                        <a:pt x="8" y="78"/>
                        <a:pt x="7" y="78"/>
                      </a:cubicBezTo>
                      <a:cubicBezTo>
                        <a:pt x="4" y="78"/>
                        <a:pt x="1" y="78"/>
                        <a:pt x="0" y="80"/>
                      </a:cubicBezTo>
                      <a:cubicBezTo>
                        <a:pt x="3" y="82"/>
                        <a:pt x="7" y="85"/>
                        <a:pt x="10" y="86"/>
                      </a:cubicBezTo>
                      <a:cubicBezTo>
                        <a:pt x="12" y="87"/>
                        <a:pt x="14" y="87"/>
                        <a:pt x="16" y="89"/>
                      </a:cubicBezTo>
                      <a:cubicBezTo>
                        <a:pt x="21" y="85"/>
                        <a:pt x="26" y="80"/>
                        <a:pt x="32" y="76"/>
                      </a:cubicBezTo>
                      <a:cubicBezTo>
                        <a:pt x="32" y="78"/>
                        <a:pt x="32" y="80"/>
                        <a:pt x="34" y="80"/>
                      </a:cubicBezTo>
                      <a:cubicBezTo>
                        <a:pt x="34" y="80"/>
                        <a:pt x="34" y="80"/>
                        <a:pt x="35" y="80"/>
                      </a:cubicBezTo>
                      <a:cubicBezTo>
                        <a:pt x="32" y="81"/>
                        <a:pt x="29" y="82"/>
                        <a:pt x="27" y="83"/>
                      </a:cubicBezTo>
                      <a:cubicBezTo>
                        <a:pt x="26" y="84"/>
                        <a:pt x="25" y="85"/>
                        <a:pt x="23" y="86"/>
                      </a:cubicBezTo>
                      <a:cubicBezTo>
                        <a:pt x="24" y="87"/>
                        <a:pt x="25" y="87"/>
                        <a:pt x="25" y="87"/>
                      </a:cubicBezTo>
                      <a:cubicBezTo>
                        <a:pt x="26" y="87"/>
                        <a:pt x="27" y="86"/>
                        <a:pt x="28" y="86"/>
                      </a:cubicBezTo>
                      <a:cubicBezTo>
                        <a:pt x="26" y="88"/>
                        <a:pt x="23" y="86"/>
                        <a:pt x="22" y="89"/>
                      </a:cubicBezTo>
                      <a:cubicBezTo>
                        <a:pt x="24" y="90"/>
                        <a:pt x="26" y="90"/>
                        <a:pt x="27" y="90"/>
                      </a:cubicBezTo>
                      <a:cubicBezTo>
                        <a:pt x="28" y="90"/>
                        <a:pt x="30" y="90"/>
                        <a:pt x="32" y="88"/>
                      </a:cubicBezTo>
                      <a:cubicBezTo>
                        <a:pt x="30" y="90"/>
                        <a:pt x="29" y="91"/>
                        <a:pt x="28" y="91"/>
                      </a:cubicBezTo>
                      <a:cubicBezTo>
                        <a:pt x="28" y="91"/>
                        <a:pt x="27" y="91"/>
                        <a:pt x="26" y="90"/>
                      </a:cubicBezTo>
                      <a:cubicBezTo>
                        <a:pt x="26" y="90"/>
                        <a:pt x="25" y="90"/>
                        <a:pt x="25" y="90"/>
                      </a:cubicBezTo>
                      <a:cubicBezTo>
                        <a:pt x="24" y="90"/>
                        <a:pt x="23" y="90"/>
                        <a:pt x="22" y="91"/>
                      </a:cubicBezTo>
                      <a:cubicBezTo>
                        <a:pt x="20" y="92"/>
                        <a:pt x="17" y="98"/>
                        <a:pt x="20" y="99"/>
                      </a:cubicBezTo>
                      <a:cubicBezTo>
                        <a:pt x="19" y="100"/>
                        <a:pt x="19" y="102"/>
                        <a:pt x="18" y="103"/>
                      </a:cubicBezTo>
                      <a:cubicBezTo>
                        <a:pt x="18" y="103"/>
                        <a:pt x="19" y="102"/>
                        <a:pt x="20" y="102"/>
                      </a:cubicBezTo>
                      <a:cubicBezTo>
                        <a:pt x="19" y="105"/>
                        <a:pt x="15" y="108"/>
                        <a:pt x="15" y="111"/>
                      </a:cubicBezTo>
                      <a:cubicBezTo>
                        <a:pt x="17" y="110"/>
                        <a:pt x="17" y="108"/>
                        <a:pt x="19" y="107"/>
                      </a:cubicBezTo>
                      <a:cubicBezTo>
                        <a:pt x="18" y="109"/>
                        <a:pt x="16" y="111"/>
                        <a:pt x="15" y="113"/>
                      </a:cubicBezTo>
                      <a:cubicBezTo>
                        <a:pt x="16" y="112"/>
                        <a:pt x="18" y="112"/>
                        <a:pt x="18" y="112"/>
                      </a:cubicBezTo>
                      <a:cubicBezTo>
                        <a:pt x="17" y="114"/>
                        <a:pt x="14" y="117"/>
                        <a:pt x="18" y="117"/>
                      </a:cubicBezTo>
                      <a:cubicBezTo>
                        <a:pt x="19" y="117"/>
                        <a:pt x="19" y="117"/>
                        <a:pt x="19" y="117"/>
                      </a:cubicBezTo>
                      <a:cubicBezTo>
                        <a:pt x="20" y="117"/>
                        <a:pt x="21" y="116"/>
                        <a:pt x="22" y="115"/>
                      </a:cubicBezTo>
                      <a:cubicBezTo>
                        <a:pt x="20" y="119"/>
                        <a:pt x="17" y="120"/>
                        <a:pt x="15" y="124"/>
                      </a:cubicBezTo>
                      <a:cubicBezTo>
                        <a:pt x="15" y="126"/>
                        <a:pt x="15" y="128"/>
                        <a:pt x="15" y="130"/>
                      </a:cubicBezTo>
                      <a:cubicBezTo>
                        <a:pt x="14" y="131"/>
                        <a:pt x="13" y="132"/>
                        <a:pt x="13" y="133"/>
                      </a:cubicBezTo>
                      <a:cubicBezTo>
                        <a:pt x="12" y="135"/>
                        <a:pt x="15" y="136"/>
                        <a:pt x="17" y="136"/>
                      </a:cubicBezTo>
                      <a:cubicBezTo>
                        <a:pt x="18" y="136"/>
                        <a:pt x="19" y="136"/>
                        <a:pt x="20" y="135"/>
                      </a:cubicBezTo>
                      <a:cubicBezTo>
                        <a:pt x="21" y="133"/>
                        <a:pt x="19" y="133"/>
                        <a:pt x="19" y="132"/>
                      </a:cubicBezTo>
                      <a:cubicBezTo>
                        <a:pt x="19" y="130"/>
                        <a:pt x="22" y="127"/>
                        <a:pt x="22" y="126"/>
                      </a:cubicBezTo>
                      <a:cubicBezTo>
                        <a:pt x="22" y="125"/>
                        <a:pt x="21" y="124"/>
                        <a:pt x="22" y="122"/>
                      </a:cubicBezTo>
                      <a:cubicBezTo>
                        <a:pt x="22" y="121"/>
                        <a:pt x="23" y="120"/>
                        <a:pt x="24" y="119"/>
                      </a:cubicBezTo>
                      <a:cubicBezTo>
                        <a:pt x="25" y="118"/>
                        <a:pt x="26" y="119"/>
                        <a:pt x="26" y="117"/>
                      </a:cubicBezTo>
                      <a:cubicBezTo>
                        <a:pt x="26" y="116"/>
                        <a:pt x="24" y="114"/>
                        <a:pt x="24" y="114"/>
                      </a:cubicBezTo>
                      <a:cubicBezTo>
                        <a:pt x="24" y="113"/>
                        <a:pt x="22" y="111"/>
                        <a:pt x="22" y="110"/>
                      </a:cubicBezTo>
                      <a:cubicBezTo>
                        <a:pt x="22" y="109"/>
                        <a:pt x="22" y="108"/>
                        <a:pt x="23" y="108"/>
                      </a:cubicBezTo>
                      <a:cubicBezTo>
                        <a:pt x="23" y="108"/>
                        <a:pt x="23" y="109"/>
                        <a:pt x="23" y="109"/>
                      </a:cubicBezTo>
                      <a:cubicBezTo>
                        <a:pt x="23" y="109"/>
                        <a:pt x="24" y="109"/>
                        <a:pt x="24" y="109"/>
                      </a:cubicBezTo>
                      <a:cubicBezTo>
                        <a:pt x="24" y="109"/>
                        <a:pt x="24" y="109"/>
                        <a:pt x="25" y="108"/>
                      </a:cubicBezTo>
                      <a:cubicBezTo>
                        <a:pt x="26" y="107"/>
                        <a:pt x="28" y="105"/>
                        <a:pt x="30" y="103"/>
                      </a:cubicBezTo>
                      <a:cubicBezTo>
                        <a:pt x="31" y="102"/>
                        <a:pt x="34" y="99"/>
                        <a:pt x="36" y="99"/>
                      </a:cubicBezTo>
                      <a:cubicBezTo>
                        <a:pt x="34" y="100"/>
                        <a:pt x="34" y="101"/>
                        <a:pt x="32" y="103"/>
                      </a:cubicBezTo>
                      <a:cubicBezTo>
                        <a:pt x="31" y="103"/>
                        <a:pt x="30" y="104"/>
                        <a:pt x="29" y="104"/>
                      </a:cubicBezTo>
                      <a:cubicBezTo>
                        <a:pt x="26" y="107"/>
                        <a:pt x="24" y="111"/>
                        <a:pt x="28" y="113"/>
                      </a:cubicBezTo>
                      <a:cubicBezTo>
                        <a:pt x="29" y="112"/>
                        <a:pt x="30" y="111"/>
                        <a:pt x="30" y="110"/>
                      </a:cubicBezTo>
                      <a:cubicBezTo>
                        <a:pt x="30" y="111"/>
                        <a:pt x="32" y="112"/>
                        <a:pt x="32" y="112"/>
                      </a:cubicBezTo>
                      <a:cubicBezTo>
                        <a:pt x="33" y="112"/>
                        <a:pt x="33" y="112"/>
                        <a:pt x="33" y="110"/>
                      </a:cubicBezTo>
                      <a:cubicBezTo>
                        <a:pt x="34" y="112"/>
                        <a:pt x="35" y="114"/>
                        <a:pt x="35" y="114"/>
                      </a:cubicBezTo>
                      <a:cubicBezTo>
                        <a:pt x="36" y="114"/>
                        <a:pt x="36" y="113"/>
                        <a:pt x="37" y="111"/>
                      </a:cubicBezTo>
                      <a:cubicBezTo>
                        <a:pt x="39" y="108"/>
                        <a:pt x="38" y="105"/>
                        <a:pt x="38" y="102"/>
                      </a:cubicBezTo>
                      <a:cubicBezTo>
                        <a:pt x="38" y="103"/>
                        <a:pt x="39" y="104"/>
                        <a:pt x="39" y="104"/>
                      </a:cubicBezTo>
                      <a:cubicBezTo>
                        <a:pt x="40" y="103"/>
                        <a:pt x="41" y="102"/>
                        <a:pt x="42" y="101"/>
                      </a:cubicBezTo>
                      <a:cubicBezTo>
                        <a:pt x="43" y="104"/>
                        <a:pt x="42" y="109"/>
                        <a:pt x="45" y="111"/>
                      </a:cubicBezTo>
                      <a:cubicBezTo>
                        <a:pt x="46" y="111"/>
                        <a:pt x="48" y="111"/>
                        <a:pt x="50" y="112"/>
                      </a:cubicBezTo>
                      <a:cubicBezTo>
                        <a:pt x="49" y="112"/>
                        <a:pt x="49" y="112"/>
                        <a:pt x="49" y="112"/>
                      </a:cubicBezTo>
                      <a:cubicBezTo>
                        <a:pt x="48" y="112"/>
                        <a:pt x="47" y="111"/>
                        <a:pt x="45" y="111"/>
                      </a:cubicBezTo>
                      <a:cubicBezTo>
                        <a:pt x="44" y="111"/>
                        <a:pt x="43" y="110"/>
                        <a:pt x="42" y="110"/>
                      </a:cubicBezTo>
                      <a:cubicBezTo>
                        <a:pt x="41" y="110"/>
                        <a:pt x="41" y="110"/>
                        <a:pt x="41" y="110"/>
                      </a:cubicBezTo>
                      <a:cubicBezTo>
                        <a:pt x="37" y="111"/>
                        <a:pt x="39" y="117"/>
                        <a:pt x="40" y="120"/>
                      </a:cubicBezTo>
                      <a:cubicBezTo>
                        <a:pt x="41" y="125"/>
                        <a:pt x="41" y="122"/>
                        <a:pt x="44" y="124"/>
                      </a:cubicBezTo>
                      <a:cubicBezTo>
                        <a:pt x="49" y="130"/>
                        <a:pt x="41" y="138"/>
                        <a:pt x="38" y="142"/>
                      </a:cubicBezTo>
                      <a:cubicBezTo>
                        <a:pt x="37" y="145"/>
                        <a:pt x="35" y="147"/>
                        <a:pt x="34" y="149"/>
                      </a:cubicBezTo>
                      <a:cubicBezTo>
                        <a:pt x="34" y="150"/>
                        <a:pt x="30" y="150"/>
                        <a:pt x="30" y="151"/>
                      </a:cubicBezTo>
                      <a:cubicBezTo>
                        <a:pt x="30" y="152"/>
                        <a:pt x="32" y="155"/>
                        <a:pt x="32" y="156"/>
                      </a:cubicBezTo>
                      <a:cubicBezTo>
                        <a:pt x="33" y="157"/>
                        <a:pt x="34" y="157"/>
                        <a:pt x="35" y="158"/>
                      </a:cubicBezTo>
                      <a:cubicBezTo>
                        <a:pt x="36" y="160"/>
                        <a:pt x="36" y="163"/>
                        <a:pt x="39" y="163"/>
                      </a:cubicBezTo>
                      <a:cubicBezTo>
                        <a:pt x="38" y="160"/>
                        <a:pt x="35" y="156"/>
                        <a:pt x="38" y="155"/>
                      </a:cubicBezTo>
                      <a:cubicBezTo>
                        <a:pt x="38" y="154"/>
                        <a:pt x="39" y="154"/>
                        <a:pt x="40" y="154"/>
                      </a:cubicBezTo>
                      <a:cubicBezTo>
                        <a:pt x="43" y="154"/>
                        <a:pt x="46" y="158"/>
                        <a:pt x="49" y="160"/>
                      </a:cubicBezTo>
                      <a:cubicBezTo>
                        <a:pt x="50" y="160"/>
                        <a:pt x="51" y="161"/>
                        <a:pt x="51" y="161"/>
                      </a:cubicBezTo>
                      <a:cubicBezTo>
                        <a:pt x="52" y="161"/>
                        <a:pt x="52" y="161"/>
                        <a:pt x="53" y="160"/>
                      </a:cubicBezTo>
                      <a:cubicBezTo>
                        <a:pt x="56" y="157"/>
                        <a:pt x="52" y="157"/>
                        <a:pt x="52" y="155"/>
                      </a:cubicBezTo>
                      <a:cubicBezTo>
                        <a:pt x="52" y="153"/>
                        <a:pt x="52" y="153"/>
                        <a:pt x="53" y="153"/>
                      </a:cubicBezTo>
                      <a:cubicBezTo>
                        <a:pt x="54" y="153"/>
                        <a:pt x="58" y="157"/>
                        <a:pt x="60" y="157"/>
                      </a:cubicBezTo>
                      <a:cubicBezTo>
                        <a:pt x="61" y="158"/>
                        <a:pt x="62" y="158"/>
                        <a:pt x="62" y="158"/>
                      </a:cubicBezTo>
                      <a:cubicBezTo>
                        <a:pt x="66" y="158"/>
                        <a:pt x="70" y="154"/>
                        <a:pt x="73" y="152"/>
                      </a:cubicBezTo>
                      <a:cubicBezTo>
                        <a:pt x="75" y="150"/>
                        <a:pt x="76" y="149"/>
                        <a:pt x="78" y="149"/>
                      </a:cubicBezTo>
                      <a:cubicBezTo>
                        <a:pt x="78" y="149"/>
                        <a:pt x="78" y="149"/>
                        <a:pt x="78" y="149"/>
                      </a:cubicBezTo>
                      <a:cubicBezTo>
                        <a:pt x="82" y="149"/>
                        <a:pt x="87" y="149"/>
                        <a:pt x="91" y="149"/>
                      </a:cubicBezTo>
                      <a:cubicBezTo>
                        <a:pt x="88" y="151"/>
                        <a:pt x="83" y="149"/>
                        <a:pt x="83" y="153"/>
                      </a:cubicBezTo>
                      <a:cubicBezTo>
                        <a:pt x="82" y="152"/>
                        <a:pt x="82" y="152"/>
                        <a:pt x="82" y="152"/>
                      </a:cubicBezTo>
                      <a:cubicBezTo>
                        <a:pt x="80" y="154"/>
                        <a:pt x="80" y="157"/>
                        <a:pt x="78" y="159"/>
                      </a:cubicBezTo>
                      <a:cubicBezTo>
                        <a:pt x="77" y="162"/>
                        <a:pt x="75" y="163"/>
                        <a:pt x="75" y="166"/>
                      </a:cubicBezTo>
                      <a:cubicBezTo>
                        <a:pt x="75" y="167"/>
                        <a:pt x="74" y="167"/>
                        <a:pt x="75" y="168"/>
                      </a:cubicBezTo>
                      <a:cubicBezTo>
                        <a:pt x="75" y="171"/>
                        <a:pt x="79" y="174"/>
                        <a:pt x="80" y="176"/>
                      </a:cubicBezTo>
                      <a:cubicBezTo>
                        <a:pt x="81" y="177"/>
                        <a:pt x="81" y="178"/>
                        <a:pt x="82" y="179"/>
                      </a:cubicBezTo>
                      <a:cubicBezTo>
                        <a:pt x="83" y="180"/>
                        <a:pt x="85" y="183"/>
                        <a:pt x="85" y="183"/>
                      </a:cubicBezTo>
                      <a:cubicBezTo>
                        <a:pt x="86" y="184"/>
                        <a:pt x="87" y="184"/>
                        <a:pt x="87" y="184"/>
                      </a:cubicBezTo>
                      <a:cubicBezTo>
                        <a:pt x="88" y="184"/>
                        <a:pt x="88" y="184"/>
                        <a:pt x="89" y="182"/>
                      </a:cubicBezTo>
                      <a:cubicBezTo>
                        <a:pt x="90" y="180"/>
                        <a:pt x="91" y="180"/>
                        <a:pt x="92" y="180"/>
                      </a:cubicBezTo>
                      <a:cubicBezTo>
                        <a:pt x="93" y="180"/>
                        <a:pt x="94" y="180"/>
                        <a:pt x="96" y="181"/>
                      </a:cubicBezTo>
                      <a:cubicBezTo>
                        <a:pt x="95" y="184"/>
                        <a:pt x="94" y="187"/>
                        <a:pt x="92" y="189"/>
                      </a:cubicBezTo>
                      <a:cubicBezTo>
                        <a:pt x="91" y="191"/>
                        <a:pt x="91" y="191"/>
                        <a:pt x="91" y="191"/>
                      </a:cubicBezTo>
                      <a:cubicBezTo>
                        <a:pt x="90" y="193"/>
                        <a:pt x="92" y="196"/>
                        <a:pt x="93" y="198"/>
                      </a:cubicBezTo>
                      <a:cubicBezTo>
                        <a:pt x="94" y="200"/>
                        <a:pt x="92" y="200"/>
                        <a:pt x="91" y="202"/>
                      </a:cubicBezTo>
                      <a:cubicBezTo>
                        <a:pt x="90" y="203"/>
                        <a:pt x="89" y="204"/>
                        <a:pt x="89" y="204"/>
                      </a:cubicBezTo>
                      <a:cubicBezTo>
                        <a:pt x="89" y="207"/>
                        <a:pt x="96" y="212"/>
                        <a:pt x="97" y="214"/>
                      </a:cubicBezTo>
                      <a:cubicBezTo>
                        <a:pt x="96" y="214"/>
                        <a:pt x="96" y="215"/>
                        <a:pt x="95" y="215"/>
                      </a:cubicBezTo>
                      <a:cubicBezTo>
                        <a:pt x="93" y="215"/>
                        <a:pt x="94" y="211"/>
                        <a:pt x="91" y="210"/>
                      </a:cubicBezTo>
                      <a:cubicBezTo>
                        <a:pt x="91" y="210"/>
                        <a:pt x="91" y="210"/>
                        <a:pt x="91" y="210"/>
                      </a:cubicBezTo>
                      <a:cubicBezTo>
                        <a:pt x="90" y="210"/>
                        <a:pt x="87" y="211"/>
                        <a:pt x="87" y="211"/>
                      </a:cubicBezTo>
                      <a:cubicBezTo>
                        <a:pt x="86" y="212"/>
                        <a:pt x="89" y="215"/>
                        <a:pt x="89" y="216"/>
                      </a:cubicBezTo>
                      <a:cubicBezTo>
                        <a:pt x="86" y="216"/>
                        <a:pt x="82" y="216"/>
                        <a:pt x="78" y="215"/>
                      </a:cubicBezTo>
                      <a:cubicBezTo>
                        <a:pt x="76" y="215"/>
                        <a:pt x="71" y="214"/>
                        <a:pt x="69" y="214"/>
                      </a:cubicBezTo>
                      <a:cubicBezTo>
                        <a:pt x="69" y="214"/>
                        <a:pt x="68" y="214"/>
                        <a:pt x="68" y="214"/>
                      </a:cubicBezTo>
                      <a:cubicBezTo>
                        <a:pt x="67" y="214"/>
                        <a:pt x="66" y="216"/>
                        <a:pt x="65" y="216"/>
                      </a:cubicBezTo>
                      <a:cubicBezTo>
                        <a:pt x="63" y="218"/>
                        <a:pt x="61" y="217"/>
                        <a:pt x="59" y="218"/>
                      </a:cubicBezTo>
                      <a:cubicBezTo>
                        <a:pt x="60" y="217"/>
                        <a:pt x="62" y="216"/>
                        <a:pt x="62" y="215"/>
                      </a:cubicBezTo>
                      <a:cubicBezTo>
                        <a:pt x="60" y="214"/>
                        <a:pt x="58" y="214"/>
                        <a:pt x="57" y="213"/>
                      </a:cubicBezTo>
                      <a:cubicBezTo>
                        <a:pt x="56" y="212"/>
                        <a:pt x="56" y="211"/>
                        <a:pt x="55" y="211"/>
                      </a:cubicBezTo>
                      <a:cubicBezTo>
                        <a:pt x="55" y="210"/>
                        <a:pt x="54" y="210"/>
                        <a:pt x="53" y="210"/>
                      </a:cubicBezTo>
                      <a:cubicBezTo>
                        <a:pt x="51" y="210"/>
                        <a:pt x="49" y="211"/>
                        <a:pt x="48" y="211"/>
                      </a:cubicBezTo>
                      <a:cubicBezTo>
                        <a:pt x="49" y="215"/>
                        <a:pt x="52" y="218"/>
                        <a:pt x="54" y="222"/>
                      </a:cubicBezTo>
                      <a:cubicBezTo>
                        <a:pt x="54" y="221"/>
                        <a:pt x="55" y="221"/>
                        <a:pt x="56" y="220"/>
                      </a:cubicBezTo>
                      <a:cubicBezTo>
                        <a:pt x="55" y="222"/>
                        <a:pt x="54" y="224"/>
                        <a:pt x="53" y="225"/>
                      </a:cubicBezTo>
                      <a:cubicBezTo>
                        <a:pt x="52" y="229"/>
                        <a:pt x="44" y="230"/>
                        <a:pt x="42" y="234"/>
                      </a:cubicBezTo>
                      <a:cubicBezTo>
                        <a:pt x="43" y="234"/>
                        <a:pt x="43" y="234"/>
                        <a:pt x="44" y="234"/>
                      </a:cubicBezTo>
                      <a:cubicBezTo>
                        <a:pt x="48" y="234"/>
                        <a:pt x="50" y="232"/>
                        <a:pt x="53" y="231"/>
                      </a:cubicBezTo>
                      <a:cubicBezTo>
                        <a:pt x="56" y="230"/>
                        <a:pt x="59" y="230"/>
                        <a:pt x="61" y="230"/>
                      </a:cubicBezTo>
                      <a:cubicBezTo>
                        <a:pt x="60" y="234"/>
                        <a:pt x="59" y="234"/>
                        <a:pt x="60" y="239"/>
                      </a:cubicBezTo>
                      <a:cubicBezTo>
                        <a:pt x="61" y="243"/>
                        <a:pt x="60" y="242"/>
                        <a:pt x="65" y="244"/>
                      </a:cubicBezTo>
                      <a:cubicBezTo>
                        <a:pt x="63" y="247"/>
                        <a:pt x="61" y="252"/>
                        <a:pt x="58" y="255"/>
                      </a:cubicBezTo>
                      <a:cubicBezTo>
                        <a:pt x="55" y="257"/>
                        <a:pt x="50" y="258"/>
                        <a:pt x="47" y="260"/>
                      </a:cubicBezTo>
                      <a:cubicBezTo>
                        <a:pt x="40" y="262"/>
                        <a:pt x="33" y="265"/>
                        <a:pt x="27" y="268"/>
                      </a:cubicBezTo>
                      <a:cubicBezTo>
                        <a:pt x="28" y="270"/>
                        <a:pt x="30" y="272"/>
                        <a:pt x="32" y="274"/>
                      </a:cubicBezTo>
                      <a:cubicBezTo>
                        <a:pt x="30" y="274"/>
                        <a:pt x="29" y="274"/>
                        <a:pt x="28" y="275"/>
                      </a:cubicBezTo>
                      <a:cubicBezTo>
                        <a:pt x="29" y="275"/>
                        <a:pt x="30" y="276"/>
                        <a:pt x="30" y="277"/>
                      </a:cubicBezTo>
                      <a:cubicBezTo>
                        <a:pt x="33" y="276"/>
                        <a:pt x="36" y="274"/>
                        <a:pt x="40" y="273"/>
                      </a:cubicBezTo>
                      <a:cubicBezTo>
                        <a:pt x="38" y="277"/>
                        <a:pt x="35" y="277"/>
                        <a:pt x="32" y="277"/>
                      </a:cubicBezTo>
                      <a:cubicBezTo>
                        <a:pt x="34" y="278"/>
                        <a:pt x="34" y="279"/>
                        <a:pt x="35" y="279"/>
                      </a:cubicBezTo>
                      <a:cubicBezTo>
                        <a:pt x="36" y="279"/>
                        <a:pt x="36" y="279"/>
                        <a:pt x="37" y="279"/>
                      </a:cubicBezTo>
                      <a:cubicBezTo>
                        <a:pt x="40" y="278"/>
                        <a:pt x="42" y="276"/>
                        <a:pt x="45" y="275"/>
                      </a:cubicBezTo>
                      <a:cubicBezTo>
                        <a:pt x="47" y="274"/>
                        <a:pt x="49" y="274"/>
                        <a:pt x="51" y="274"/>
                      </a:cubicBezTo>
                      <a:cubicBezTo>
                        <a:pt x="51" y="274"/>
                        <a:pt x="51" y="273"/>
                        <a:pt x="52" y="273"/>
                      </a:cubicBezTo>
                      <a:cubicBezTo>
                        <a:pt x="54" y="273"/>
                        <a:pt x="61" y="277"/>
                        <a:pt x="62" y="277"/>
                      </a:cubicBezTo>
                      <a:cubicBezTo>
                        <a:pt x="59" y="278"/>
                        <a:pt x="55" y="278"/>
                        <a:pt x="55" y="281"/>
                      </a:cubicBezTo>
                      <a:cubicBezTo>
                        <a:pt x="60" y="282"/>
                        <a:pt x="65" y="282"/>
                        <a:pt x="70" y="282"/>
                      </a:cubicBezTo>
                      <a:cubicBezTo>
                        <a:pt x="72" y="282"/>
                        <a:pt x="73" y="285"/>
                        <a:pt x="75" y="286"/>
                      </a:cubicBezTo>
                      <a:cubicBezTo>
                        <a:pt x="75" y="286"/>
                        <a:pt x="76" y="286"/>
                        <a:pt x="76" y="286"/>
                      </a:cubicBezTo>
                      <a:cubicBezTo>
                        <a:pt x="77" y="286"/>
                        <a:pt x="78" y="286"/>
                        <a:pt x="79" y="286"/>
                      </a:cubicBezTo>
                      <a:cubicBezTo>
                        <a:pt x="88" y="284"/>
                        <a:pt x="97" y="282"/>
                        <a:pt x="105" y="277"/>
                      </a:cubicBezTo>
                      <a:cubicBezTo>
                        <a:pt x="101" y="282"/>
                        <a:pt x="97" y="286"/>
                        <a:pt x="92" y="290"/>
                      </a:cubicBezTo>
                      <a:cubicBezTo>
                        <a:pt x="89" y="294"/>
                        <a:pt x="94" y="295"/>
                        <a:pt x="89" y="295"/>
                      </a:cubicBezTo>
                      <a:cubicBezTo>
                        <a:pt x="89" y="295"/>
                        <a:pt x="88" y="295"/>
                        <a:pt x="88" y="295"/>
                      </a:cubicBezTo>
                      <a:cubicBezTo>
                        <a:pt x="82" y="295"/>
                        <a:pt x="75" y="294"/>
                        <a:pt x="69" y="294"/>
                      </a:cubicBezTo>
                      <a:cubicBezTo>
                        <a:pt x="66" y="294"/>
                        <a:pt x="63" y="294"/>
                        <a:pt x="61" y="294"/>
                      </a:cubicBezTo>
                      <a:cubicBezTo>
                        <a:pt x="55" y="296"/>
                        <a:pt x="48" y="303"/>
                        <a:pt x="48" y="309"/>
                      </a:cubicBezTo>
                      <a:cubicBezTo>
                        <a:pt x="48" y="314"/>
                        <a:pt x="40" y="316"/>
                        <a:pt x="39" y="320"/>
                      </a:cubicBezTo>
                      <a:cubicBezTo>
                        <a:pt x="39" y="320"/>
                        <a:pt x="38" y="320"/>
                        <a:pt x="38" y="320"/>
                      </a:cubicBezTo>
                      <a:cubicBezTo>
                        <a:pt x="29" y="320"/>
                        <a:pt x="20" y="332"/>
                        <a:pt x="15" y="337"/>
                      </a:cubicBezTo>
                      <a:cubicBezTo>
                        <a:pt x="17" y="337"/>
                        <a:pt x="19" y="337"/>
                        <a:pt x="21" y="337"/>
                      </a:cubicBezTo>
                      <a:cubicBezTo>
                        <a:pt x="24" y="337"/>
                        <a:pt x="26" y="337"/>
                        <a:pt x="28" y="339"/>
                      </a:cubicBezTo>
                      <a:cubicBezTo>
                        <a:pt x="28" y="339"/>
                        <a:pt x="28" y="341"/>
                        <a:pt x="29" y="341"/>
                      </a:cubicBezTo>
                      <a:cubicBezTo>
                        <a:pt x="31" y="339"/>
                        <a:pt x="34" y="335"/>
                        <a:pt x="34" y="333"/>
                      </a:cubicBezTo>
                      <a:cubicBezTo>
                        <a:pt x="39" y="331"/>
                        <a:pt x="44" y="330"/>
                        <a:pt x="49" y="329"/>
                      </a:cubicBezTo>
                      <a:cubicBezTo>
                        <a:pt x="51" y="329"/>
                        <a:pt x="54" y="328"/>
                        <a:pt x="56" y="328"/>
                      </a:cubicBezTo>
                      <a:cubicBezTo>
                        <a:pt x="57" y="328"/>
                        <a:pt x="57" y="328"/>
                        <a:pt x="58" y="328"/>
                      </a:cubicBezTo>
                      <a:cubicBezTo>
                        <a:pt x="58" y="326"/>
                        <a:pt x="58" y="325"/>
                        <a:pt x="58" y="323"/>
                      </a:cubicBezTo>
                      <a:cubicBezTo>
                        <a:pt x="58" y="324"/>
                        <a:pt x="60" y="327"/>
                        <a:pt x="61" y="328"/>
                      </a:cubicBezTo>
                      <a:cubicBezTo>
                        <a:pt x="61" y="328"/>
                        <a:pt x="62" y="328"/>
                        <a:pt x="62" y="328"/>
                      </a:cubicBezTo>
                      <a:cubicBezTo>
                        <a:pt x="62" y="328"/>
                        <a:pt x="63" y="328"/>
                        <a:pt x="63" y="328"/>
                      </a:cubicBezTo>
                      <a:cubicBezTo>
                        <a:pt x="63" y="328"/>
                        <a:pt x="63" y="328"/>
                        <a:pt x="63" y="328"/>
                      </a:cubicBezTo>
                      <a:cubicBezTo>
                        <a:pt x="64" y="328"/>
                        <a:pt x="64" y="328"/>
                        <a:pt x="65" y="328"/>
                      </a:cubicBezTo>
                      <a:cubicBezTo>
                        <a:pt x="67" y="329"/>
                        <a:pt x="68" y="331"/>
                        <a:pt x="70" y="332"/>
                      </a:cubicBezTo>
                      <a:cubicBezTo>
                        <a:pt x="70" y="332"/>
                        <a:pt x="70" y="332"/>
                        <a:pt x="70" y="332"/>
                      </a:cubicBezTo>
                      <a:cubicBezTo>
                        <a:pt x="75" y="332"/>
                        <a:pt x="76" y="324"/>
                        <a:pt x="78" y="321"/>
                      </a:cubicBezTo>
                      <a:cubicBezTo>
                        <a:pt x="78" y="319"/>
                        <a:pt x="80" y="317"/>
                        <a:pt x="79" y="315"/>
                      </a:cubicBezTo>
                      <a:cubicBezTo>
                        <a:pt x="83" y="314"/>
                        <a:pt x="87" y="313"/>
                        <a:pt x="92" y="313"/>
                      </a:cubicBezTo>
                      <a:cubicBezTo>
                        <a:pt x="97" y="313"/>
                        <a:pt x="101" y="314"/>
                        <a:pt x="105" y="317"/>
                      </a:cubicBezTo>
                      <a:cubicBezTo>
                        <a:pt x="106" y="318"/>
                        <a:pt x="107" y="318"/>
                        <a:pt x="107" y="320"/>
                      </a:cubicBezTo>
                      <a:cubicBezTo>
                        <a:pt x="110" y="319"/>
                        <a:pt x="111" y="318"/>
                        <a:pt x="114" y="318"/>
                      </a:cubicBezTo>
                      <a:cubicBezTo>
                        <a:pt x="114" y="318"/>
                        <a:pt x="115" y="318"/>
                        <a:pt x="117" y="318"/>
                      </a:cubicBezTo>
                      <a:cubicBezTo>
                        <a:pt x="118" y="318"/>
                        <a:pt x="120" y="318"/>
                        <a:pt x="121" y="317"/>
                      </a:cubicBezTo>
                      <a:cubicBezTo>
                        <a:pt x="122" y="315"/>
                        <a:pt x="120" y="314"/>
                        <a:pt x="119" y="314"/>
                      </a:cubicBezTo>
                      <a:cubicBezTo>
                        <a:pt x="119" y="314"/>
                        <a:pt x="118" y="314"/>
                        <a:pt x="118" y="314"/>
                      </a:cubicBezTo>
                      <a:cubicBezTo>
                        <a:pt x="119" y="313"/>
                        <a:pt x="120" y="312"/>
                        <a:pt x="122" y="312"/>
                      </a:cubicBezTo>
                      <a:cubicBezTo>
                        <a:pt x="122" y="312"/>
                        <a:pt x="123" y="312"/>
                        <a:pt x="123" y="312"/>
                      </a:cubicBezTo>
                      <a:cubicBezTo>
                        <a:pt x="124" y="312"/>
                        <a:pt x="124" y="312"/>
                        <a:pt x="124" y="312"/>
                      </a:cubicBezTo>
                      <a:cubicBezTo>
                        <a:pt x="124" y="312"/>
                        <a:pt x="125" y="312"/>
                        <a:pt x="125" y="312"/>
                      </a:cubicBezTo>
                      <a:cubicBezTo>
                        <a:pt x="130" y="312"/>
                        <a:pt x="133" y="311"/>
                        <a:pt x="137" y="307"/>
                      </a:cubicBezTo>
                      <a:cubicBezTo>
                        <a:pt x="137" y="307"/>
                        <a:pt x="136" y="306"/>
                        <a:pt x="136" y="306"/>
                      </a:cubicBezTo>
                      <a:cubicBezTo>
                        <a:pt x="139" y="306"/>
                        <a:pt x="143" y="307"/>
                        <a:pt x="147" y="308"/>
                      </a:cubicBezTo>
                      <a:cubicBezTo>
                        <a:pt x="151" y="308"/>
                        <a:pt x="151" y="309"/>
                        <a:pt x="154" y="312"/>
                      </a:cubicBezTo>
                      <a:cubicBezTo>
                        <a:pt x="154" y="313"/>
                        <a:pt x="155" y="313"/>
                        <a:pt x="156" y="313"/>
                      </a:cubicBezTo>
                      <a:cubicBezTo>
                        <a:pt x="158" y="313"/>
                        <a:pt x="161" y="312"/>
                        <a:pt x="164" y="311"/>
                      </a:cubicBezTo>
                      <a:cubicBezTo>
                        <a:pt x="168" y="310"/>
                        <a:pt x="171" y="309"/>
                        <a:pt x="173" y="309"/>
                      </a:cubicBezTo>
                      <a:cubicBezTo>
                        <a:pt x="173" y="309"/>
                        <a:pt x="173" y="309"/>
                        <a:pt x="174" y="309"/>
                      </a:cubicBezTo>
                      <a:cubicBezTo>
                        <a:pt x="177" y="310"/>
                        <a:pt x="181" y="312"/>
                        <a:pt x="184" y="312"/>
                      </a:cubicBezTo>
                      <a:cubicBezTo>
                        <a:pt x="185" y="312"/>
                        <a:pt x="185" y="312"/>
                        <a:pt x="186" y="312"/>
                      </a:cubicBezTo>
                      <a:cubicBezTo>
                        <a:pt x="192" y="310"/>
                        <a:pt x="199" y="307"/>
                        <a:pt x="205" y="304"/>
                      </a:cubicBezTo>
                      <a:cubicBezTo>
                        <a:pt x="208" y="302"/>
                        <a:pt x="215" y="299"/>
                        <a:pt x="217" y="297"/>
                      </a:cubicBezTo>
                      <a:cubicBezTo>
                        <a:pt x="218" y="295"/>
                        <a:pt x="216" y="293"/>
                        <a:pt x="217" y="292"/>
                      </a:cubicBezTo>
                      <a:cubicBezTo>
                        <a:pt x="217" y="292"/>
                        <a:pt x="217" y="292"/>
                        <a:pt x="217" y="292"/>
                      </a:cubicBezTo>
                      <a:cubicBezTo>
                        <a:pt x="217" y="292"/>
                        <a:pt x="217" y="291"/>
                        <a:pt x="217" y="291"/>
                      </a:cubicBezTo>
                      <a:cubicBezTo>
                        <a:pt x="217" y="290"/>
                        <a:pt x="218" y="290"/>
                        <a:pt x="218" y="290"/>
                      </a:cubicBezTo>
                      <a:cubicBezTo>
                        <a:pt x="218" y="290"/>
                        <a:pt x="218" y="290"/>
                        <a:pt x="218" y="290"/>
                      </a:cubicBezTo>
                      <a:cubicBezTo>
                        <a:pt x="218" y="287"/>
                        <a:pt x="218" y="288"/>
                        <a:pt x="214" y="287"/>
                      </a:cubicBezTo>
                      <a:cubicBezTo>
                        <a:pt x="205" y="287"/>
                        <a:pt x="197" y="286"/>
                        <a:pt x="188" y="286"/>
                      </a:cubicBezTo>
                      <a:cubicBezTo>
                        <a:pt x="191" y="284"/>
                        <a:pt x="194" y="283"/>
                        <a:pt x="197" y="283"/>
                      </a:cubicBezTo>
                      <a:cubicBezTo>
                        <a:pt x="197" y="283"/>
                        <a:pt x="198" y="282"/>
                        <a:pt x="198" y="282"/>
                      </a:cubicBezTo>
                      <a:cubicBezTo>
                        <a:pt x="198" y="282"/>
                        <a:pt x="198" y="283"/>
                        <a:pt x="198" y="283"/>
                      </a:cubicBezTo>
                      <a:cubicBezTo>
                        <a:pt x="199" y="283"/>
                        <a:pt x="199" y="283"/>
                        <a:pt x="199" y="283"/>
                      </a:cubicBezTo>
                      <a:cubicBezTo>
                        <a:pt x="199" y="283"/>
                        <a:pt x="200" y="283"/>
                        <a:pt x="200" y="283"/>
                      </a:cubicBezTo>
                      <a:cubicBezTo>
                        <a:pt x="201" y="282"/>
                        <a:pt x="202" y="281"/>
                        <a:pt x="203" y="281"/>
                      </a:cubicBezTo>
                      <a:cubicBezTo>
                        <a:pt x="205" y="278"/>
                        <a:pt x="203" y="276"/>
                        <a:pt x="201" y="276"/>
                      </a:cubicBezTo>
                      <a:cubicBezTo>
                        <a:pt x="201" y="276"/>
                        <a:pt x="200" y="275"/>
                        <a:pt x="200" y="275"/>
                      </a:cubicBezTo>
                      <a:cubicBezTo>
                        <a:pt x="200" y="275"/>
                        <a:pt x="200" y="276"/>
                        <a:pt x="199" y="276"/>
                      </a:cubicBezTo>
                      <a:cubicBezTo>
                        <a:pt x="199" y="276"/>
                        <a:pt x="199" y="276"/>
                        <a:pt x="198" y="276"/>
                      </a:cubicBezTo>
                      <a:cubicBezTo>
                        <a:pt x="198" y="276"/>
                        <a:pt x="198" y="276"/>
                        <a:pt x="197" y="276"/>
                      </a:cubicBezTo>
                      <a:cubicBezTo>
                        <a:pt x="200" y="274"/>
                        <a:pt x="204" y="273"/>
                        <a:pt x="207" y="273"/>
                      </a:cubicBezTo>
                      <a:cubicBezTo>
                        <a:pt x="207" y="273"/>
                        <a:pt x="207" y="273"/>
                        <a:pt x="207" y="273"/>
                      </a:cubicBezTo>
                      <a:cubicBezTo>
                        <a:pt x="207" y="273"/>
                        <a:pt x="207" y="273"/>
                        <a:pt x="207" y="273"/>
                      </a:cubicBezTo>
                      <a:cubicBezTo>
                        <a:pt x="208" y="273"/>
                        <a:pt x="208" y="273"/>
                        <a:pt x="209" y="273"/>
                      </a:cubicBezTo>
                      <a:cubicBezTo>
                        <a:pt x="209" y="273"/>
                        <a:pt x="209" y="273"/>
                        <a:pt x="209" y="273"/>
                      </a:cubicBezTo>
                      <a:cubicBezTo>
                        <a:pt x="215" y="272"/>
                        <a:pt x="211" y="269"/>
                        <a:pt x="208" y="267"/>
                      </a:cubicBezTo>
                      <a:cubicBezTo>
                        <a:pt x="209" y="267"/>
                        <a:pt x="211" y="266"/>
                        <a:pt x="212" y="266"/>
                      </a:cubicBezTo>
                      <a:cubicBezTo>
                        <a:pt x="212" y="266"/>
                        <a:pt x="213" y="266"/>
                        <a:pt x="213" y="266"/>
                      </a:cubicBezTo>
                      <a:cubicBezTo>
                        <a:pt x="212" y="266"/>
                        <a:pt x="211" y="265"/>
                        <a:pt x="210" y="264"/>
                      </a:cubicBezTo>
                      <a:cubicBezTo>
                        <a:pt x="212" y="264"/>
                        <a:pt x="213" y="266"/>
                        <a:pt x="215" y="267"/>
                      </a:cubicBezTo>
                      <a:cubicBezTo>
                        <a:pt x="215" y="267"/>
                        <a:pt x="215" y="267"/>
                        <a:pt x="215" y="267"/>
                      </a:cubicBezTo>
                      <a:cubicBezTo>
                        <a:pt x="216" y="267"/>
                        <a:pt x="217" y="266"/>
                        <a:pt x="218" y="264"/>
                      </a:cubicBezTo>
                      <a:cubicBezTo>
                        <a:pt x="219" y="264"/>
                        <a:pt x="221" y="262"/>
                        <a:pt x="222" y="262"/>
                      </a:cubicBezTo>
                      <a:cubicBezTo>
                        <a:pt x="225" y="259"/>
                        <a:pt x="227" y="249"/>
                        <a:pt x="227" y="244"/>
                      </a:cubicBezTo>
                      <a:cubicBezTo>
                        <a:pt x="228" y="237"/>
                        <a:pt x="223" y="234"/>
                        <a:pt x="218" y="231"/>
                      </a:cubicBezTo>
                      <a:cubicBezTo>
                        <a:pt x="213" y="228"/>
                        <a:pt x="206" y="227"/>
                        <a:pt x="200" y="227"/>
                      </a:cubicBezTo>
                      <a:cubicBezTo>
                        <a:pt x="199" y="227"/>
                        <a:pt x="198" y="227"/>
                        <a:pt x="198" y="227"/>
                      </a:cubicBezTo>
                      <a:cubicBezTo>
                        <a:pt x="195" y="227"/>
                        <a:pt x="194" y="229"/>
                        <a:pt x="192" y="230"/>
                      </a:cubicBezTo>
                      <a:cubicBezTo>
                        <a:pt x="189" y="231"/>
                        <a:pt x="187" y="233"/>
                        <a:pt x="185" y="234"/>
                      </a:cubicBezTo>
                      <a:cubicBezTo>
                        <a:pt x="185" y="234"/>
                        <a:pt x="185" y="234"/>
                        <a:pt x="185" y="234"/>
                      </a:cubicBezTo>
                      <a:cubicBezTo>
                        <a:pt x="184" y="234"/>
                        <a:pt x="182" y="232"/>
                        <a:pt x="181" y="232"/>
                      </a:cubicBezTo>
                      <a:cubicBezTo>
                        <a:pt x="180" y="231"/>
                        <a:pt x="180" y="231"/>
                        <a:pt x="179" y="231"/>
                      </a:cubicBezTo>
                      <a:cubicBezTo>
                        <a:pt x="179" y="231"/>
                        <a:pt x="178" y="231"/>
                        <a:pt x="178" y="231"/>
                      </a:cubicBezTo>
                      <a:cubicBezTo>
                        <a:pt x="178" y="230"/>
                        <a:pt x="180" y="229"/>
                        <a:pt x="181" y="228"/>
                      </a:cubicBezTo>
                      <a:cubicBezTo>
                        <a:pt x="182" y="226"/>
                        <a:pt x="184" y="225"/>
                        <a:pt x="186" y="223"/>
                      </a:cubicBezTo>
                      <a:cubicBezTo>
                        <a:pt x="190" y="218"/>
                        <a:pt x="178" y="207"/>
                        <a:pt x="173" y="203"/>
                      </a:cubicBezTo>
                      <a:cubicBezTo>
                        <a:pt x="171" y="201"/>
                        <a:pt x="170" y="199"/>
                        <a:pt x="167" y="199"/>
                      </a:cubicBezTo>
                      <a:cubicBezTo>
                        <a:pt x="167" y="199"/>
                        <a:pt x="167" y="199"/>
                        <a:pt x="167" y="199"/>
                      </a:cubicBezTo>
                      <a:cubicBezTo>
                        <a:pt x="166" y="199"/>
                        <a:pt x="165" y="199"/>
                        <a:pt x="164" y="200"/>
                      </a:cubicBezTo>
                      <a:cubicBezTo>
                        <a:pt x="164" y="200"/>
                        <a:pt x="163" y="200"/>
                        <a:pt x="162" y="200"/>
                      </a:cubicBezTo>
                      <a:cubicBezTo>
                        <a:pt x="162" y="200"/>
                        <a:pt x="161" y="200"/>
                        <a:pt x="160" y="199"/>
                      </a:cubicBezTo>
                      <a:cubicBezTo>
                        <a:pt x="163" y="199"/>
                        <a:pt x="165" y="198"/>
                        <a:pt x="167" y="198"/>
                      </a:cubicBezTo>
                      <a:cubicBezTo>
                        <a:pt x="169" y="198"/>
                        <a:pt x="170" y="198"/>
                        <a:pt x="171" y="199"/>
                      </a:cubicBezTo>
                      <a:cubicBezTo>
                        <a:pt x="173" y="200"/>
                        <a:pt x="173" y="202"/>
                        <a:pt x="175" y="202"/>
                      </a:cubicBezTo>
                      <a:cubicBezTo>
                        <a:pt x="175" y="202"/>
                        <a:pt x="175" y="202"/>
                        <a:pt x="176" y="202"/>
                      </a:cubicBezTo>
                      <a:cubicBezTo>
                        <a:pt x="176" y="202"/>
                        <a:pt x="177" y="202"/>
                        <a:pt x="177" y="202"/>
                      </a:cubicBezTo>
                      <a:cubicBezTo>
                        <a:pt x="178" y="202"/>
                        <a:pt x="178" y="202"/>
                        <a:pt x="179" y="202"/>
                      </a:cubicBezTo>
                      <a:cubicBezTo>
                        <a:pt x="179" y="202"/>
                        <a:pt x="180" y="202"/>
                        <a:pt x="180" y="203"/>
                      </a:cubicBezTo>
                      <a:cubicBezTo>
                        <a:pt x="178" y="196"/>
                        <a:pt x="176" y="187"/>
                        <a:pt x="172" y="182"/>
                      </a:cubicBezTo>
                      <a:cubicBezTo>
                        <a:pt x="169" y="179"/>
                        <a:pt x="166" y="176"/>
                        <a:pt x="163" y="173"/>
                      </a:cubicBezTo>
                      <a:cubicBezTo>
                        <a:pt x="161" y="171"/>
                        <a:pt x="158" y="167"/>
                        <a:pt x="155" y="166"/>
                      </a:cubicBezTo>
                      <a:cubicBezTo>
                        <a:pt x="151" y="164"/>
                        <a:pt x="147" y="162"/>
                        <a:pt x="142" y="160"/>
                      </a:cubicBezTo>
                      <a:cubicBezTo>
                        <a:pt x="140" y="159"/>
                        <a:pt x="139" y="153"/>
                        <a:pt x="138" y="151"/>
                      </a:cubicBezTo>
                      <a:cubicBezTo>
                        <a:pt x="136" y="145"/>
                        <a:pt x="134" y="139"/>
                        <a:pt x="132" y="132"/>
                      </a:cubicBezTo>
                      <a:cubicBezTo>
                        <a:pt x="131" y="123"/>
                        <a:pt x="123" y="118"/>
                        <a:pt x="115" y="114"/>
                      </a:cubicBezTo>
                      <a:cubicBezTo>
                        <a:pt x="102" y="106"/>
                        <a:pt x="85" y="112"/>
                        <a:pt x="71" y="106"/>
                      </a:cubicBezTo>
                      <a:cubicBezTo>
                        <a:pt x="74" y="106"/>
                        <a:pt x="77" y="108"/>
                        <a:pt x="80" y="108"/>
                      </a:cubicBezTo>
                      <a:cubicBezTo>
                        <a:pt x="81" y="108"/>
                        <a:pt x="81" y="108"/>
                        <a:pt x="82" y="108"/>
                      </a:cubicBezTo>
                      <a:cubicBezTo>
                        <a:pt x="86" y="107"/>
                        <a:pt x="88" y="105"/>
                        <a:pt x="91" y="102"/>
                      </a:cubicBezTo>
                      <a:cubicBezTo>
                        <a:pt x="92" y="101"/>
                        <a:pt x="93" y="101"/>
                        <a:pt x="94" y="101"/>
                      </a:cubicBezTo>
                      <a:cubicBezTo>
                        <a:pt x="95" y="101"/>
                        <a:pt x="95" y="101"/>
                        <a:pt x="95" y="101"/>
                      </a:cubicBezTo>
                      <a:cubicBezTo>
                        <a:pt x="96" y="101"/>
                        <a:pt x="96" y="101"/>
                        <a:pt x="97" y="101"/>
                      </a:cubicBezTo>
                      <a:cubicBezTo>
                        <a:pt x="97" y="101"/>
                        <a:pt x="98" y="101"/>
                        <a:pt x="98" y="101"/>
                      </a:cubicBezTo>
                      <a:cubicBezTo>
                        <a:pt x="104" y="101"/>
                        <a:pt x="99" y="92"/>
                        <a:pt x="96" y="91"/>
                      </a:cubicBezTo>
                      <a:cubicBezTo>
                        <a:pt x="102" y="90"/>
                        <a:pt x="104" y="84"/>
                        <a:pt x="108" y="80"/>
                      </a:cubicBezTo>
                      <a:cubicBezTo>
                        <a:pt x="109" y="78"/>
                        <a:pt x="111" y="77"/>
                        <a:pt x="113" y="75"/>
                      </a:cubicBezTo>
                      <a:cubicBezTo>
                        <a:pt x="115" y="73"/>
                        <a:pt x="114" y="72"/>
                        <a:pt x="115" y="69"/>
                      </a:cubicBezTo>
                      <a:cubicBezTo>
                        <a:pt x="116" y="67"/>
                        <a:pt x="118" y="66"/>
                        <a:pt x="119" y="63"/>
                      </a:cubicBezTo>
                      <a:cubicBezTo>
                        <a:pt x="119" y="61"/>
                        <a:pt x="119" y="59"/>
                        <a:pt x="121" y="56"/>
                      </a:cubicBezTo>
                      <a:cubicBezTo>
                        <a:pt x="122" y="54"/>
                        <a:pt x="125" y="53"/>
                        <a:pt x="126" y="50"/>
                      </a:cubicBezTo>
                      <a:cubicBezTo>
                        <a:pt x="127" y="49"/>
                        <a:pt x="127" y="44"/>
                        <a:pt x="125" y="44"/>
                      </a:cubicBezTo>
                      <a:cubicBezTo>
                        <a:pt x="114" y="42"/>
                        <a:pt x="104" y="41"/>
                        <a:pt x="94" y="40"/>
                      </a:cubicBezTo>
                      <a:cubicBezTo>
                        <a:pt x="91" y="40"/>
                        <a:pt x="89" y="40"/>
                        <a:pt x="87" y="40"/>
                      </a:cubicBezTo>
                      <a:cubicBezTo>
                        <a:pt x="82" y="40"/>
                        <a:pt x="79" y="40"/>
                        <a:pt x="73" y="42"/>
                      </a:cubicBezTo>
                      <a:cubicBezTo>
                        <a:pt x="70" y="43"/>
                        <a:pt x="66" y="43"/>
                        <a:pt x="63" y="44"/>
                      </a:cubicBezTo>
                      <a:cubicBezTo>
                        <a:pt x="61" y="45"/>
                        <a:pt x="60" y="49"/>
                        <a:pt x="58" y="49"/>
                      </a:cubicBezTo>
                      <a:cubicBezTo>
                        <a:pt x="58" y="49"/>
                        <a:pt x="58" y="49"/>
                        <a:pt x="58" y="49"/>
                      </a:cubicBezTo>
                      <a:cubicBezTo>
                        <a:pt x="55" y="48"/>
                        <a:pt x="57" y="41"/>
                        <a:pt x="59" y="41"/>
                      </a:cubicBezTo>
                      <a:cubicBezTo>
                        <a:pt x="60" y="40"/>
                        <a:pt x="61" y="39"/>
                        <a:pt x="63" y="39"/>
                      </a:cubicBezTo>
                      <a:cubicBezTo>
                        <a:pt x="63" y="39"/>
                        <a:pt x="63" y="39"/>
                        <a:pt x="63" y="39"/>
                      </a:cubicBezTo>
                      <a:cubicBezTo>
                        <a:pt x="63" y="39"/>
                        <a:pt x="63" y="39"/>
                        <a:pt x="63" y="39"/>
                      </a:cubicBezTo>
                      <a:cubicBezTo>
                        <a:pt x="63" y="40"/>
                        <a:pt x="63" y="40"/>
                        <a:pt x="63" y="40"/>
                      </a:cubicBezTo>
                      <a:cubicBezTo>
                        <a:pt x="63" y="40"/>
                        <a:pt x="63" y="40"/>
                        <a:pt x="63" y="40"/>
                      </a:cubicBezTo>
                      <a:cubicBezTo>
                        <a:pt x="65" y="40"/>
                        <a:pt x="66" y="39"/>
                        <a:pt x="66" y="37"/>
                      </a:cubicBezTo>
                      <a:cubicBezTo>
                        <a:pt x="67" y="33"/>
                        <a:pt x="55" y="35"/>
                        <a:pt x="53" y="32"/>
                      </a:cubicBezTo>
                      <a:cubicBezTo>
                        <a:pt x="54" y="32"/>
                        <a:pt x="58" y="33"/>
                        <a:pt x="60" y="33"/>
                      </a:cubicBezTo>
                      <a:cubicBezTo>
                        <a:pt x="62" y="33"/>
                        <a:pt x="63" y="32"/>
                        <a:pt x="61" y="30"/>
                      </a:cubicBezTo>
                      <a:cubicBezTo>
                        <a:pt x="61" y="29"/>
                        <a:pt x="73" y="24"/>
                        <a:pt x="75" y="22"/>
                      </a:cubicBezTo>
                      <a:cubicBezTo>
                        <a:pt x="78" y="20"/>
                        <a:pt x="81" y="18"/>
                        <a:pt x="84" y="16"/>
                      </a:cubicBezTo>
                      <a:cubicBezTo>
                        <a:pt x="89" y="12"/>
                        <a:pt x="90" y="7"/>
                        <a:pt x="92" y="1"/>
                      </a:cubicBezTo>
                      <a:cubicBezTo>
                        <a:pt x="91" y="1"/>
                        <a:pt x="90" y="1"/>
                        <a:pt x="90" y="1"/>
                      </a:cubicBezTo>
                      <a:cubicBezTo>
                        <a:pt x="88" y="1"/>
                        <a:pt x="86" y="1"/>
                        <a:pt x="84" y="0"/>
                      </a:cubicBezTo>
                      <a:cubicBezTo>
                        <a:pt x="84" y="0"/>
                        <a:pt x="81" y="0"/>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58"/>
                <p:cNvSpPr/>
                <p:nvPr/>
              </p:nvSpPr>
              <p:spPr bwMode="auto">
                <a:xfrm>
                  <a:off x="3681431" y="3080757"/>
                  <a:ext cx="33166" cy="36851"/>
                </a:xfrm>
                <a:custGeom>
                  <a:gdLst>
                    <a:gd name="T0" fmla="*/ 3 w 10"/>
                    <a:gd name="T1" fmla="*/ 0 h 12"/>
                    <a:gd name="T2" fmla="*/ 1 w 10"/>
                    <a:gd name="T3" fmla="*/ 3 h 12"/>
                    <a:gd name="T4" fmla="*/ 7 w 10"/>
                    <a:gd name="T5" fmla="*/ 12 h 12"/>
                    <a:gd name="T6" fmla="*/ 5 w 10"/>
                    <a:gd name="T7" fmla="*/ 8 h 12"/>
                    <a:gd name="T8" fmla="*/ 3 w 10"/>
                    <a:gd name="T9" fmla="*/ 7 h 12"/>
                    <a:gd name="T10" fmla="*/ 2 w 10"/>
                    <a:gd name="T11" fmla="*/ 1 h 12"/>
                    <a:gd name="T12" fmla="*/ 7 w 10"/>
                    <a:gd name="T13" fmla="*/ 3 h 12"/>
                    <a:gd name="T14" fmla="*/ 3 w 10"/>
                    <a:gd name="T15" fmla="*/ 0 h 1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3" y="0"/>
                      </a:moveTo>
                      <a:cubicBezTo>
                        <a:pt x="2" y="0"/>
                        <a:pt x="1" y="1"/>
                        <a:pt x="1" y="3"/>
                      </a:cubicBezTo>
                      <a:cubicBezTo>
                        <a:pt x="0" y="9"/>
                        <a:pt x="1" y="11"/>
                        <a:pt x="7" y="12"/>
                      </a:cubicBezTo>
                      <a:cubicBezTo>
                        <a:pt x="4" y="10"/>
                        <a:pt x="4" y="11"/>
                        <a:pt x="5" y="8"/>
                      </a:cubicBezTo>
                      <a:cubicBezTo>
                        <a:pt x="5" y="7"/>
                        <a:pt x="4" y="7"/>
                        <a:pt x="3" y="7"/>
                      </a:cubicBezTo>
                      <a:cubicBezTo>
                        <a:pt x="10" y="3"/>
                        <a:pt x="6" y="5"/>
                        <a:pt x="2" y="1"/>
                      </a:cubicBezTo>
                      <a:cubicBezTo>
                        <a:pt x="4" y="2"/>
                        <a:pt x="5" y="2"/>
                        <a:pt x="7" y="3"/>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59"/>
                <p:cNvSpPr/>
                <p:nvPr/>
              </p:nvSpPr>
              <p:spPr bwMode="auto">
                <a:xfrm>
                  <a:off x="3751448" y="3172885"/>
                  <a:ext cx="22111" cy="14740"/>
                </a:xfrm>
                <a:custGeom>
                  <a:gdLst>
                    <a:gd name="T0" fmla="*/ 7 w 7"/>
                    <a:gd name="T1" fmla="*/ 0 h 5"/>
                    <a:gd name="T2" fmla="*/ 0 w 7"/>
                    <a:gd name="T3" fmla="*/ 5 h 5"/>
                    <a:gd name="T4" fmla="*/ 7 w 7"/>
                    <a:gd name="T5" fmla="*/ 0 h 5"/>
                  </a:gdLst>
                  <a:cxnLst>
                    <a:cxn ang="0">
                      <a:pos x="T0" y="T1"/>
                    </a:cxn>
                    <a:cxn ang="0">
                      <a:pos x="T2" y="T3"/>
                    </a:cxn>
                    <a:cxn ang="0">
                      <a:pos x="T4" y="T5"/>
                    </a:cxn>
                  </a:cxnLst>
                  <a:rect l="0" t="0" r="r" b="b"/>
                  <a:pathLst>
                    <a:path w="7" h="5">
                      <a:moveTo>
                        <a:pt x="7" y="0"/>
                      </a:moveTo>
                      <a:cubicBezTo>
                        <a:pt x="5" y="2"/>
                        <a:pt x="3" y="4"/>
                        <a:pt x="0" y="5"/>
                      </a:cubicBezTo>
                      <a:cubicBezTo>
                        <a:pt x="3" y="5"/>
                        <a:pt x="6"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60"/>
                <p:cNvSpPr/>
                <p:nvPr/>
              </p:nvSpPr>
              <p:spPr bwMode="auto">
                <a:xfrm>
                  <a:off x="3688801" y="3069702"/>
                  <a:ext cx="18426" cy="11055"/>
                </a:xfrm>
                <a:custGeom>
                  <a:gdLst>
                    <a:gd name="T0" fmla="*/ 2 w 6"/>
                    <a:gd name="T1" fmla="*/ 0 h 3"/>
                    <a:gd name="T2" fmla="*/ 0 w 6"/>
                    <a:gd name="T3" fmla="*/ 0 h 3"/>
                    <a:gd name="T4" fmla="*/ 3 w 6"/>
                    <a:gd name="T5" fmla="*/ 3 h 3"/>
                    <a:gd name="T6" fmla="*/ 2 w 6"/>
                    <a:gd name="T7" fmla="*/ 0 h 3"/>
                  </a:gdLst>
                  <a:cxnLst>
                    <a:cxn ang="0">
                      <a:pos x="T0" y="T1"/>
                    </a:cxn>
                    <a:cxn ang="0">
                      <a:pos x="T2" y="T3"/>
                    </a:cxn>
                    <a:cxn ang="0">
                      <a:pos x="T4" y="T5"/>
                    </a:cxn>
                    <a:cxn ang="0">
                      <a:pos x="T6" y="T7"/>
                    </a:cxn>
                  </a:cxnLst>
                  <a:rect l="0" t="0" r="r" b="b"/>
                  <a:pathLst>
                    <a:path w="6" h="3">
                      <a:moveTo>
                        <a:pt x="2" y="0"/>
                      </a:moveTo>
                      <a:cubicBezTo>
                        <a:pt x="1" y="0"/>
                        <a:pt x="0" y="0"/>
                        <a:pt x="0" y="0"/>
                      </a:cubicBezTo>
                      <a:cubicBezTo>
                        <a:pt x="1" y="1"/>
                        <a:pt x="2" y="2"/>
                        <a:pt x="3" y="3"/>
                      </a:cubicBezTo>
                      <a:cubicBezTo>
                        <a:pt x="6"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61"/>
                <p:cNvSpPr/>
                <p:nvPr/>
              </p:nvSpPr>
              <p:spPr bwMode="auto">
                <a:xfrm>
                  <a:off x="3677746" y="3128664"/>
                  <a:ext cx="11055" cy="11055"/>
                </a:xfrm>
                <a:custGeom>
                  <a:gdLst>
                    <a:gd name="T0" fmla="*/ 0 w 3"/>
                    <a:gd name="T1" fmla="*/ 0 h 3"/>
                    <a:gd name="T2" fmla="*/ 0 w 3"/>
                    <a:gd name="T3" fmla="*/ 3 h 3"/>
                    <a:gd name="T4" fmla="*/ 3 w 3"/>
                    <a:gd name="T5" fmla="*/ 1 h 3"/>
                    <a:gd name="T6" fmla="*/ 0 w 3"/>
                    <a:gd name="T7" fmla="*/ 0 h 3"/>
                  </a:gdLst>
                  <a:cxnLst>
                    <a:cxn ang="0">
                      <a:pos x="T0" y="T1"/>
                    </a:cxn>
                    <a:cxn ang="0">
                      <a:pos x="T2" y="T3"/>
                    </a:cxn>
                    <a:cxn ang="0">
                      <a:pos x="T4" y="T5"/>
                    </a:cxn>
                    <a:cxn ang="0">
                      <a:pos x="T6" y="T7"/>
                    </a:cxn>
                  </a:cxnLst>
                  <a:rect l="0" t="0" r="r" b="b"/>
                  <a:pathLst>
                    <a:path w="3" h="3">
                      <a:moveTo>
                        <a:pt x="0" y="0"/>
                      </a:moveTo>
                      <a:cubicBezTo>
                        <a:pt x="0" y="1"/>
                        <a:pt x="0" y="2"/>
                        <a:pt x="0" y="3"/>
                      </a:cubicBezTo>
                      <a:cubicBezTo>
                        <a:pt x="1" y="2"/>
                        <a:pt x="2" y="2"/>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62"/>
                <p:cNvSpPr>
                  <a:spLocks noEditPoints="1"/>
                </p:cNvSpPr>
                <p:nvPr/>
              </p:nvSpPr>
              <p:spPr bwMode="auto">
                <a:xfrm>
                  <a:off x="3733023" y="3194996"/>
                  <a:ext cx="14740" cy="7370"/>
                </a:xfrm>
                <a:custGeom>
                  <a:gdLst>
                    <a:gd name="T0" fmla="*/ 0 w 5"/>
                    <a:gd name="T1" fmla="*/ 3 h 3"/>
                    <a:gd name="T2" fmla="*/ 0 w 5"/>
                    <a:gd name="T3" fmla="*/ 3 h 3"/>
                    <a:gd name="T4" fmla="*/ 0 w 5"/>
                    <a:gd name="T5" fmla="*/ 3 h 3"/>
                    <a:gd name="T6" fmla="*/ 5 w 5"/>
                    <a:gd name="T7" fmla="*/ 0 h 3"/>
                    <a:gd name="T8" fmla="*/ 0 w 5"/>
                    <a:gd name="T9" fmla="*/ 3 h 3"/>
                    <a:gd name="T10" fmla="*/ 5 w 5"/>
                    <a:gd name="T11" fmla="*/ 0 h 3"/>
                    <a:gd name="T12" fmla="*/ 5 w 5"/>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5" h="3">
                      <a:moveTo>
                        <a:pt x="0" y="3"/>
                      </a:moveTo>
                      <a:cubicBezTo>
                        <a:pt x="0" y="3"/>
                        <a:pt x="0" y="3"/>
                        <a:pt x="0" y="3"/>
                      </a:cubicBezTo>
                      <a:cubicBezTo>
                        <a:pt x="0" y="3"/>
                        <a:pt x="0" y="3"/>
                        <a:pt x="0" y="3"/>
                      </a:cubicBezTo>
                      <a:moveTo>
                        <a:pt x="5" y="0"/>
                      </a:moveTo>
                      <a:cubicBezTo>
                        <a:pt x="2" y="0"/>
                        <a:pt x="2" y="2"/>
                        <a:pt x="0" y="3"/>
                      </a:cubicBezTo>
                      <a:cubicBezTo>
                        <a:pt x="2" y="2"/>
                        <a:pt x="3" y="1"/>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63"/>
                <p:cNvSpPr/>
                <p:nvPr/>
              </p:nvSpPr>
              <p:spPr bwMode="auto">
                <a:xfrm>
                  <a:off x="4049942" y="2852280"/>
                  <a:ext cx="77387" cy="33166"/>
                </a:xfrm>
                <a:custGeom>
                  <a:gdLst>
                    <a:gd name="T0" fmla="*/ 5 w 24"/>
                    <a:gd name="T1" fmla="*/ 0 h 11"/>
                    <a:gd name="T2" fmla="*/ 4 w 24"/>
                    <a:gd name="T3" fmla="*/ 0 h 11"/>
                    <a:gd name="T4" fmla="*/ 1 w 24"/>
                    <a:gd name="T5" fmla="*/ 6 h 11"/>
                    <a:gd name="T6" fmla="*/ 16 w 24"/>
                    <a:gd name="T7" fmla="*/ 11 h 11"/>
                    <a:gd name="T8" fmla="*/ 14 w 24"/>
                    <a:gd name="T9" fmla="*/ 6 h 11"/>
                    <a:gd name="T10" fmla="*/ 13 w 24"/>
                    <a:gd name="T11" fmla="*/ 6 h 11"/>
                    <a:gd name="T12" fmla="*/ 11 w 24"/>
                    <a:gd name="T13" fmla="*/ 6 h 11"/>
                    <a:gd name="T14" fmla="*/ 9 w 24"/>
                    <a:gd name="T15" fmla="*/ 6 h 11"/>
                    <a:gd name="T16" fmla="*/ 7 w 24"/>
                    <a:gd name="T17" fmla="*/ 6 h 11"/>
                    <a:gd name="T18" fmla="*/ 9 w 24"/>
                    <a:gd name="T19" fmla="*/ 1 h 11"/>
                    <a:gd name="T20" fmla="*/ 5 w 24"/>
                    <a:gd name="T21"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1">
                      <a:moveTo>
                        <a:pt x="5" y="0"/>
                      </a:moveTo>
                      <a:cubicBezTo>
                        <a:pt x="4" y="0"/>
                        <a:pt x="4" y="0"/>
                        <a:pt x="4" y="0"/>
                      </a:cubicBezTo>
                      <a:cubicBezTo>
                        <a:pt x="2" y="0"/>
                        <a:pt x="0" y="3"/>
                        <a:pt x="1" y="6"/>
                      </a:cubicBezTo>
                      <a:cubicBezTo>
                        <a:pt x="2" y="10"/>
                        <a:pt x="12" y="10"/>
                        <a:pt x="16" y="11"/>
                      </a:cubicBezTo>
                      <a:cubicBezTo>
                        <a:pt x="24" y="8"/>
                        <a:pt x="15" y="8"/>
                        <a:pt x="14" y="6"/>
                      </a:cubicBezTo>
                      <a:cubicBezTo>
                        <a:pt x="14" y="6"/>
                        <a:pt x="13" y="6"/>
                        <a:pt x="13" y="6"/>
                      </a:cubicBezTo>
                      <a:cubicBezTo>
                        <a:pt x="12" y="6"/>
                        <a:pt x="11" y="6"/>
                        <a:pt x="11" y="6"/>
                      </a:cubicBezTo>
                      <a:cubicBezTo>
                        <a:pt x="10" y="6"/>
                        <a:pt x="9" y="6"/>
                        <a:pt x="9" y="6"/>
                      </a:cubicBezTo>
                      <a:cubicBezTo>
                        <a:pt x="8" y="6"/>
                        <a:pt x="8" y="6"/>
                        <a:pt x="7" y="6"/>
                      </a:cubicBezTo>
                      <a:cubicBezTo>
                        <a:pt x="10" y="4"/>
                        <a:pt x="12" y="4"/>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64"/>
                <p:cNvSpPr/>
                <p:nvPr/>
              </p:nvSpPr>
              <p:spPr bwMode="auto">
                <a:xfrm>
                  <a:off x="3806725" y="3239217"/>
                  <a:ext cx="36851" cy="47907"/>
                </a:xfrm>
                <a:custGeom>
                  <a:gdLst>
                    <a:gd name="T0" fmla="*/ 11 w 12"/>
                    <a:gd name="T1" fmla="*/ 0 h 14"/>
                    <a:gd name="T2" fmla="*/ 5 w 12"/>
                    <a:gd name="T3" fmla="*/ 4 h 14"/>
                    <a:gd name="T4" fmla="*/ 4 w 12"/>
                    <a:gd name="T5" fmla="*/ 14 h 14"/>
                    <a:gd name="T6" fmla="*/ 10 w 12"/>
                    <a:gd name="T7" fmla="*/ 3 h 14"/>
                    <a:gd name="T8" fmla="*/ 12 w 12"/>
                    <a:gd name="T9" fmla="*/ 0 h 14"/>
                    <a:gd name="T10" fmla="*/ 11 w 12"/>
                    <a:gd name="T11" fmla="*/ 0 h 14"/>
                  </a:gdLst>
                  <a:cxnLst>
                    <a:cxn ang="0">
                      <a:pos x="T0" y="T1"/>
                    </a:cxn>
                    <a:cxn ang="0">
                      <a:pos x="T2" y="T3"/>
                    </a:cxn>
                    <a:cxn ang="0">
                      <a:pos x="T4" y="T5"/>
                    </a:cxn>
                    <a:cxn ang="0">
                      <a:pos x="T6" y="T7"/>
                    </a:cxn>
                    <a:cxn ang="0">
                      <a:pos x="T8" y="T9"/>
                    </a:cxn>
                    <a:cxn ang="0">
                      <a:pos x="T10" y="T11"/>
                    </a:cxn>
                  </a:cxnLst>
                  <a:rect l="0" t="0" r="r" b="b"/>
                  <a:pathLst>
                    <a:path w="12" h="14">
                      <a:moveTo>
                        <a:pt x="11" y="0"/>
                      </a:moveTo>
                      <a:cubicBezTo>
                        <a:pt x="10" y="0"/>
                        <a:pt x="6" y="3"/>
                        <a:pt x="5" y="4"/>
                      </a:cubicBezTo>
                      <a:cubicBezTo>
                        <a:pt x="1" y="7"/>
                        <a:pt x="0" y="9"/>
                        <a:pt x="4" y="14"/>
                      </a:cubicBezTo>
                      <a:cubicBezTo>
                        <a:pt x="6" y="11"/>
                        <a:pt x="9" y="7"/>
                        <a:pt x="10" y="3"/>
                      </a:cubicBezTo>
                      <a:cubicBezTo>
                        <a:pt x="11" y="2"/>
                        <a:pt x="12" y="1"/>
                        <a:pt x="12"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65"/>
                <p:cNvSpPr/>
                <p:nvPr/>
              </p:nvSpPr>
              <p:spPr bwMode="auto">
                <a:xfrm>
                  <a:off x="3766189" y="3268698"/>
                  <a:ext cx="44221" cy="44221"/>
                </a:xfrm>
                <a:custGeom>
                  <a:gdLst>
                    <a:gd name="T0" fmla="*/ 11 w 14"/>
                    <a:gd name="T1" fmla="*/ 0 h 14"/>
                    <a:gd name="T2" fmla="*/ 5 w 14"/>
                    <a:gd name="T3" fmla="*/ 4 h 14"/>
                    <a:gd name="T4" fmla="*/ 5 w 14"/>
                    <a:gd name="T5" fmla="*/ 1 h 14"/>
                    <a:gd name="T6" fmla="*/ 2 w 14"/>
                    <a:gd name="T7" fmla="*/ 5 h 14"/>
                    <a:gd name="T8" fmla="*/ 3 w 14"/>
                    <a:gd name="T9" fmla="*/ 5 h 14"/>
                    <a:gd name="T10" fmla="*/ 4 w 14"/>
                    <a:gd name="T11" fmla="*/ 5 h 14"/>
                    <a:gd name="T12" fmla="*/ 6 w 14"/>
                    <a:gd name="T13" fmla="*/ 5 h 14"/>
                    <a:gd name="T14" fmla="*/ 7 w 14"/>
                    <a:gd name="T15" fmla="*/ 6 h 14"/>
                    <a:gd name="T16" fmla="*/ 7 w 14"/>
                    <a:gd name="T17" fmla="*/ 14 h 14"/>
                    <a:gd name="T18" fmla="*/ 14 w 14"/>
                    <a:gd name="T19" fmla="*/ 8 h 14"/>
                    <a:gd name="T20" fmla="*/ 11 w 14"/>
                    <a:gd name="T21"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4">
                      <a:moveTo>
                        <a:pt x="11" y="0"/>
                      </a:moveTo>
                      <a:cubicBezTo>
                        <a:pt x="9" y="0"/>
                        <a:pt x="6" y="1"/>
                        <a:pt x="5" y="4"/>
                      </a:cubicBezTo>
                      <a:cubicBezTo>
                        <a:pt x="5" y="3"/>
                        <a:pt x="5" y="2"/>
                        <a:pt x="5" y="1"/>
                      </a:cubicBezTo>
                      <a:cubicBezTo>
                        <a:pt x="4" y="2"/>
                        <a:pt x="0" y="3"/>
                        <a:pt x="2" y="5"/>
                      </a:cubicBezTo>
                      <a:cubicBezTo>
                        <a:pt x="2" y="5"/>
                        <a:pt x="2" y="5"/>
                        <a:pt x="3" y="5"/>
                      </a:cubicBezTo>
                      <a:cubicBezTo>
                        <a:pt x="3" y="5"/>
                        <a:pt x="4" y="5"/>
                        <a:pt x="4" y="5"/>
                      </a:cubicBezTo>
                      <a:cubicBezTo>
                        <a:pt x="5" y="5"/>
                        <a:pt x="5" y="5"/>
                        <a:pt x="6" y="5"/>
                      </a:cubicBezTo>
                      <a:cubicBezTo>
                        <a:pt x="6" y="5"/>
                        <a:pt x="6" y="5"/>
                        <a:pt x="7" y="6"/>
                      </a:cubicBezTo>
                      <a:cubicBezTo>
                        <a:pt x="8" y="7"/>
                        <a:pt x="7" y="12"/>
                        <a:pt x="7" y="14"/>
                      </a:cubicBezTo>
                      <a:cubicBezTo>
                        <a:pt x="9" y="11"/>
                        <a:pt x="14" y="12"/>
                        <a:pt x="14" y="8"/>
                      </a:cubicBezTo>
                      <a:cubicBezTo>
                        <a:pt x="14" y="5"/>
                        <a:pt x="11" y="3"/>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66"/>
                <p:cNvSpPr/>
                <p:nvPr/>
              </p:nvSpPr>
              <p:spPr bwMode="auto">
                <a:xfrm>
                  <a:off x="9139087" y="5207069"/>
                  <a:ext cx="7370" cy="33166"/>
                </a:xfrm>
                <a:custGeom>
                  <a:gdLst>
                    <a:gd name="T0" fmla="*/ 2 w 2"/>
                    <a:gd name="T1" fmla="*/ 0 h 11"/>
                    <a:gd name="T2" fmla="*/ 2 w 2"/>
                    <a:gd name="T3" fmla="*/ 11 h 11"/>
                    <a:gd name="T4" fmla="*/ 2 w 2"/>
                    <a:gd name="T5" fmla="*/ 0 h 11"/>
                  </a:gdLst>
                  <a:cxnLst>
                    <a:cxn ang="0">
                      <a:pos x="T0" y="T1"/>
                    </a:cxn>
                    <a:cxn ang="0">
                      <a:pos x="T2" y="T3"/>
                    </a:cxn>
                    <a:cxn ang="0">
                      <a:pos x="T4" y="T5"/>
                    </a:cxn>
                  </a:cxnLst>
                  <a:rect l="0" t="0" r="r" b="b"/>
                  <a:pathLst>
                    <a:path w="2" h="11">
                      <a:moveTo>
                        <a:pt x="2" y="0"/>
                      </a:moveTo>
                      <a:cubicBezTo>
                        <a:pt x="0" y="3"/>
                        <a:pt x="2" y="9"/>
                        <a:pt x="2" y="11"/>
                      </a:cubicBezTo>
                      <a:cubicBezTo>
                        <a:pt x="2" y="8"/>
                        <a:pt x="1" y="4"/>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67"/>
                <p:cNvSpPr/>
                <p:nvPr/>
              </p:nvSpPr>
              <p:spPr bwMode="auto">
                <a:xfrm>
                  <a:off x="6673745" y="5096516"/>
                  <a:ext cx="25796" cy="3685"/>
                </a:xfrm>
                <a:custGeom>
                  <a:gdLst>
                    <a:gd name="T0" fmla="*/ 9 w 9"/>
                    <a:gd name="T1" fmla="*/ 0 h 1"/>
                    <a:gd name="T2" fmla="*/ 0 w 9"/>
                    <a:gd name="T3" fmla="*/ 0 h 1"/>
                    <a:gd name="T4" fmla="*/ 4 w 9"/>
                    <a:gd name="T5" fmla="*/ 1 h 1"/>
                    <a:gd name="T6" fmla="*/ 9 w 9"/>
                    <a:gd name="T7" fmla="*/ 0 h 1"/>
                    <a:gd name="T8" fmla="*/ 9 w 9"/>
                    <a:gd name="T9" fmla="*/ 0 h 1"/>
                  </a:gdLst>
                  <a:cxnLst>
                    <a:cxn ang="0">
                      <a:pos x="T0" y="T1"/>
                    </a:cxn>
                    <a:cxn ang="0">
                      <a:pos x="T2" y="T3"/>
                    </a:cxn>
                    <a:cxn ang="0">
                      <a:pos x="T4" y="T5"/>
                    </a:cxn>
                    <a:cxn ang="0">
                      <a:pos x="T6" y="T7"/>
                    </a:cxn>
                    <a:cxn ang="0">
                      <a:pos x="T8" y="T9"/>
                    </a:cxn>
                  </a:cxnLst>
                  <a:rect l="0" t="0" r="r" b="b"/>
                  <a:pathLst>
                    <a:path w="9" h="1">
                      <a:moveTo>
                        <a:pt x="9" y="0"/>
                      </a:moveTo>
                      <a:cubicBezTo>
                        <a:pt x="6" y="0"/>
                        <a:pt x="3" y="0"/>
                        <a:pt x="0" y="0"/>
                      </a:cubicBezTo>
                      <a:cubicBezTo>
                        <a:pt x="1" y="1"/>
                        <a:pt x="2" y="1"/>
                        <a:pt x="4" y="1"/>
                      </a:cubicBezTo>
                      <a:cubicBezTo>
                        <a:pt x="6" y="1"/>
                        <a:pt x="8" y="1"/>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68"/>
                <p:cNvSpPr/>
                <p:nvPr/>
              </p:nvSpPr>
              <p:spPr bwMode="auto">
                <a:xfrm>
                  <a:off x="5361844" y="5652968"/>
                  <a:ext cx="11055" cy="11055"/>
                </a:xfrm>
                <a:custGeom>
                  <a:gdLst>
                    <a:gd name="T0" fmla="*/ 4 w 4"/>
                    <a:gd name="T1" fmla="*/ 0 h 3"/>
                    <a:gd name="T2" fmla="*/ 0 w 4"/>
                    <a:gd name="T3" fmla="*/ 3 h 3"/>
                    <a:gd name="T4" fmla="*/ 4 w 4"/>
                    <a:gd name="T5" fmla="*/ 0 h 3"/>
                  </a:gdLst>
                  <a:cxnLst>
                    <a:cxn ang="0">
                      <a:pos x="T0" y="T1"/>
                    </a:cxn>
                    <a:cxn ang="0">
                      <a:pos x="T2" y="T3"/>
                    </a:cxn>
                    <a:cxn ang="0">
                      <a:pos x="T4" y="T5"/>
                    </a:cxn>
                  </a:cxnLst>
                  <a:rect l="0" t="0" r="r" b="b"/>
                  <a:pathLst>
                    <a:path w="4" h="3">
                      <a:moveTo>
                        <a:pt x="4" y="0"/>
                      </a:moveTo>
                      <a:cubicBezTo>
                        <a:pt x="2" y="1"/>
                        <a:pt x="1" y="2"/>
                        <a:pt x="0" y="3"/>
                      </a:cubicBezTo>
                      <a:cubicBezTo>
                        <a:pt x="1"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69"/>
                <p:cNvSpPr/>
                <p:nvPr/>
              </p:nvSpPr>
              <p:spPr bwMode="auto">
                <a:xfrm>
                  <a:off x="5988313" y="3010740"/>
                  <a:ext cx="92128" cy="132664"/>
                </a:xfrm>
                <a:custGeom>
                  <a:gdLst>
                    <a:gd name="T0" fmla="*/ 25 w 29"/>
                    <a:gd name="T1" fmla="*/ 0 h 41"/>
                    <a:gd name="T2" fmla="*/ 20 w 29"/>
                    <a:gd name="T3" fmla="*/ 2 h 41"/>
                    <a:gd name="T4" fmla="*/ 19 w 29"/>
                    <a:gd name="T5" fmla="*/ 0 h 41"/>
                    <a:gd name="T6" fmla="*/ 15 w 29"/>
                    <a:gd name="T7" fmla="*/ 2 h 41"/>
                    <a:gd name="T8" fmla="*/ 11 w 29"/>
                    <a:gd name="T9" fmla="*/ 4 h 41"/>
                    <a:gd name="T10" fmla="*/ 7 w 29"/>
                    <a:gd name="T11" fmla="*/ 10 h 41"/>
                    <a:gd name="T12" fmla="*/ 3 w 29"/>
                    <a:gd name="T13" fmla="*/ 14 h 41"/>
                    <a:gd name="T14" fmla="*/ 1 w 29"/>
                    <a:gd name="T15" fmla="*/ 27 h 41"/>
                    <a:gd name="T16" fmla="*/ 2 w 29"/>
                    <a:gd name="T17" fmla="*/ 41 h 41"/>
                    <a:gd name="T18" fmla="*/ 8 w 29"/>
                    <a:gd name="T19" fmla="*/ 37 h 41"/>
                    <a:gd name="T20" fmla="*/ 12 w 29"/>
                    <a:gd name="T21" fmla="*/ 30 h 41"/>
                    <a:gd name="T22" fmla="*/ 18 w 29"/>
                    <a:gd name="T23" fmla="*/ 28 h 41"/>
                    <a:gd name="T24" fmla="*/ 19 w 29"/>
                    <a:gd name="T25" fmla="*/ 24 h 41"/>
                    <a:gd name="T26" fmla="*/ 23 w 29"/>
                    <a:gd name="T27" fmla="*/ 22 h 41"/>
                    <a:gd name="T28" fmla="*/ 23 w 29"/>
                    <a:gd name="T29" fmla="*/ 22 h 41"/>
                    <a:gd name="T30" fmla="*/ 20 w 29"/>
                    <a:gd name="T31" fmla="*/ 17 h 41"/>
                    <a:gd name="T32" fmla="*/ 21 w 29"/>
                    <a:gd name="T33" fmla="*/ 14 h 41"/>
                    <a:gd name="T34" fmla="*/ 20 w 29"/>
                    <a:gd name="T35" fmla="*/ 11 h 41"/>
                    <a:gd name="T36" fmla="*/ 21 w 29"/>
                    <a:gd name="T37" fmla="*/ 8 h 41"/>
                    <a:gd name="T38" fmla="*/ 22 w 29"/>
                    <a:gd name="T39" fmla="*/ 8 h 41"/>
                    <a:gd name="T40" fmla="*/ 22 w 29"/>
                    <a:gd name="T41" fmla="*/ 8 h 41"/>
                    <a:gd name="T42" fmla="*/ 23 w 29"/>
                    <a:gd name="T43" fmla="*/ 7 h 41"/>
                    <a:gd name="T44" fmla="*/ 24 w 29"/>
                    <a:gd name="T45" fmla="*/ 7 h 41"/>
                    <a:gd name="T46" fmla="*/ 24 w 29"/>
                    <a:gd name="T47" fmla="*/ 7 h 41"/>
                    <a:gd name="T48" fmla="*/ 25 w 29"/>
                    <a:gd name="T49" fmla="*/ 7 h 41"/>
                    <a:gd name="T50" fmla="*/ 25 w 29"/>
                    <a:gd name="T51" fmla="*/ 5 h 41"/>
                    <a:gd name="T52" fmla="*/ 26 w 29"/>
                    <a:gd name="T53" fmla="*/ 5 h 41"/>
                    <a:gd name="T54" fmla="*/ 27 w 29"/>
                    <a:gd name="T55" fmla="*/ 4 h 41"/>
                    <a:gd name="T56" fmla="*/ 28 w 29"/>
                    <a:gd name="T57" fmla="*/ 3 h 41"/>
                    <a:gd name="T58" fmla="*/ 29 w 29"/>
                    <a:gd name="T59" fmla="*/ 4 h 41"/>
                    <a:gd name="T60" fmla="*/ 25 w 29"/>
                    <a:gd name="T61" fmla="*/ 0 h 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41">
                      <a:moveTo>
                        <a:pt x="25" y="0"/>
                      </a:moveTo>
                      <a:cubicBezTo>
                        <a:pt x="23" y="0"/>
                        <a:pt x="21" y="1"/>
                        <a:pt x="20" y="2"/>
                      </a:cubicBezTo>
                      <a:cubicBezTo>
                        <a:pt x="20" y="0"/>
                        <a:pt x="20" y="0"/>
                        <a:pt x="19" y="0"/>
                      </a:cubicBezTo>
                      <a:cubicBezTo>
                        <a:pt x="18" y="0"/>
                        <a:pt x="16" y="1"/>
                        <a:pt x="15" y="2"/>
                      </a:cubicBezTo>
                      <a:cubicBezTo>
                        <a:pt x="14" y="2"/>
                        <a:pt x="12" y="3"/>
                        <a:pt x="11" y="4"/>
                      </a:cubicBezTo>
                      <a:cubicBezTo>
                        <a:pt x="9" y="5"/>
                        <a:pt x="9" y="8"/>
                        <a:pt x="7" y="10"/>
                      </a:cubicBezTo>
                      <a:cubicBezTo>
                        <a:pt x="6" y="12"/>
                        <a:pt x="4" y="12"/>
                        <a:pt x="3" y="14"/>
                      </a:cubicBezTo>
                      <a:cubicBezTo>
                        <a:pt x="1" y="16"/>
                        <a:pt x="0" y="23"/>
                        <a:pt x="1" y="27"/>
                      </a:cubicBezTo>
                      <a:cubicBezTo>
                        <a:pt x="2" y="33"/>
                        <a:pt x="5" y="36"/>
                        <a:pt x="2" y="41"/>
                      </a:cubicBezTo>
                      <a:cubicBezTo>
                        <a:pt x="4" y="40"/>
                        <a:pt x="6" y="38"/>
                        <a:pt x="8" y="37"/>
                      </a:cubicBezTo>
                      <a:cubicBezTo>
                        <a:pt x="9" y="34"/>
                        <a:pt x="11" y="32"/>
                        <a:pt x="12" y="30"/>
                      </a:cubicBezTo>
                      <a:cubicBezTo>
                        <a:pt x="14" y="29"/>
                        <a:pt x="17" y="29"/>
                        <a:pt x="18" y="28"/>
                      </a:cubicBezTo>
                      <a:cubicBezTo>
                        <a:pt x="19" y="27"/>
                        <a:pt x="18" y="25"/>
                        <a:pt x="19" y="24"/>
                      </a:cubicBezTo>
                      <a:cubicBezTo>
                        <a:pt x="20" y="23"/>
                        <a:pt x="22" y="22"/>
                        <a:pt x="23" y="22"/>
                      </a:cubicBezTo>
                      <a:cubicBezTo>
                        <a:pt x="23" y="22"/>
                        <a:pt x="23" y="22"/>
                        <a:pt x="23" y="22"/>
                      </a:cubicBezTo>
                      <a:cubicBezTo>
                        <a:pt x="26" y="20"/>
                        <a:pt x="20" y="19"/>
                        <a:pt x="20" y="17"/>
                      </a:cubicBezTo>
                      <a:cubicBezTo>
                        <a:pt x="20" y="16"/>
                        <a:pt x="21" y="15"/>
                        <a:pt x="21" y="14"/>
                      </a:cubicBezTo>
                      <a:cubicBezTo>
                        <a:pt x="21" y="13"/>
                        <a:pt x="20" y="12"/>
                        <a:pt x="20" y="11"/>
                      </a:cubicBezTo>
                      <a:cubicBezTo>
                        <a:pt x="21" y="8"/>
                        <a:pt x="21" y="8"/>
                        <a:pt x="21" y="8"/>
                      </a:cubicBezTo>
                      <a:cubicBezTo>
                        <a:pt x="22" y="8"/>
                        <a:pt x="22" y="8"/>
                        <a:pt x="22" y="8"/>
                      </a:cubicBezTo>
                      <a:cubicBezTo>
                        <a:pt x="22" y="8"/>
                        <a:pt x="22" y="8"/>
                        <a:pt x="22" y="8"/>
                      </a:cubicBezTo>
                      <a:cubicBezTo>
                        <a:pt x="22" y="8"/>
                        <a:pt x="22" y="8"/>
                        <a:pt x="23" y="7"/>
                      </a:cubicBezTo>
                      <a:cubicBezTo>
                        <a:pt x="23" y="7"/>
                        <a:pt x="23" y="7"/>
                        <a:pt x="24" y="7"/>
                      </a:cubicBezTo>
                      <a:cubicBezTo>
                        <a:pt x="24" y="7"/>
                        <a:pt x="24" y="7"/>
                        <a:pt x="24" y="7"/>
                      </a:cubicBezTo>
                      <a:cubicBezTo>
                        <a:pt x="24" y="7"/>
                        <a:pt x="25" y="7"/>
                        <a:pt x="25" y="7"/>
                      </a:cubicBezTo>
                      <a:cubicBezTo>
                        <a:pt x="25" y="7"/>
                        <a:pt x="26" y="7"/>
                        <a:pt x="25" y="5"/>
                      </a:cubicBezTo>
                      <a:cubicBezTo>
                        <a:pt x="25" y="5"/>
                        <a:pt x="26" y="5"/>
                        <a:pt x="26" y="5"/>
                      </a:cubicBezTo>
                      <a:cubicBezTo>
                        <a:pt x="26" y="5"/>
                        <a:pt x="27" y="5"/>
                        <a:pt x="27" y="4"/>
                      </a:cubicBezTo>
                      <a:cubicBezTo>
                        <a:pt x="27" y="4"/>
                        <a:pt x="27" y="3"/>
                        <a:pt x="28" y="3"/>
                      </a:cubicBezTo>
                      <a:cubicBezTo>
                        <a:pt x="28" y="3"/>
                        <a:pt x="29" y="3"/>
                        <a:pt x="29" y="4"/>
                      </a:cubicBezTo>
                      <a:cubicBezTo>
                        <a:pt x="29" y="1"/>
                        <a:pt x="27"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70"/>
                <p:cNvSpPr/>
                <p:nvPr/>
              </p:nvSpPr>
              <p:spPr bwMode="auto">
                <a:xfrm>
                  <a:off x="5387639" y="2966519"/>
                  <a:ext cx="44221" cy="18426"/>
                </a:xfrm>
                <a:custGeom>
                  <a:gdLst>
                    <a:gd name="T0" fmla="*/ 10 w 14"/>
                    <a:gd name="T1" fmla="*/ 0 h 5"/>
                    <a:gd name="T2" fmla="*/ 3 w 14"/>
                    <a:gd name="T3" fmla="*/ 2 h 5"/>
                    <a:gd name="T4" fmla="*/ 0 w 14"/>
                    <a:gd name="T5" fmla="*/ 4 h 5"/>
                    <a:gd name="T6" fmla="*/ 8 w 14"/>
                    <a:gd name="T7" fmla="*/ 5 h 5"/>
                    <a:gd name="T8" fmla="*/ 12 w 14"/>
                    <a:gd name="T9" fmla="*/ 1 h 5"/>
                    <a:gd name="T10" fmla="*/ 10 w 14"/>
                    <a:gd name="T11" fmla="*/ 0 h 5"/>
                  </a:gdLst>
                  <a:cxnLst>
                    <a:cxn ang="0">
                      <a:pos x="T0" y="T1"/>
                    </a:cxn>
                    <a:cxn ang="0">
                      <a:pos x="T2" y="T3"/>
                    </a:cxn>
                    <a:cxn ang="0">
                      <a:pos x="T4" y="T5"/>
                    </a:cxn>
                    <a:cxn ang="0">
                      <a:pos x="T6" y="T7"/>
                    </a:cxn>
                    <a:cxn ang="0">
                      <a:pos x="T8" y="T9"/>
                    </a:cxn>
                    <a:cxn ang="0">
                      <a:pos x="T10" y="T11"/>
                    </a:cxn>
                  </a:cxnLst>
                  <a:rect l="0" t="0" r="r" b="b"/>
                  <a:pathLst>
                    <a:path w="14" h="5">
                      <a:moveTo>
                        <a:pt x="10" y="0"/>
                      </a:moveTo>
                      <a:cubicBezTo>
                        <a:pt x="8" y="0"/>
                        <a:pt x="5" y="1"/>
                        <a:pt x="3" y="2"/>
                      </a:cubicBezTo>
                      <a:cubicBezTo>
                        <a:pt x="2" y="3"/>
                        <a:pt x="1" y="4"/>
                        <a:pt x="0" y="4"/>
                      </a:cubicBezTo>
                      <a:cubicBezTo>
                        <a:pt x="2" y="4"/>
                        <a:pt x="5" y="5"/>
                        <a:pt x="8" y="5"/>
                      </a:cubicBezTo>
                      <a:cubicBezTo>
                        <a:pt x="11" y="5"/>
                        <a:pt x="14" y="4"/>
                        <a:pt x="12" y="1"/>
                      </a:cubicBezTo>
                      <a:cubicBezTo>
                        <a:pt x="12"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71"/>
                <p:cNvSpPr/>
                <p:nvPr/>
              </p:nvSpPr>
              <p:spPr bwMode="auto">
                <a:xfrm>
                  <a:off x="5398695" y="2992315"/>
                  <a:ext cx="22111" cy="14740"/>
                </a:xfrm>
                <a:custGeom>
                  <a:gdLst>
                    <a:gd name="T0" fmla="*/ 5 w 7"/>
                    <a:gd name="T1" fmla="*/ 0 h 4"/>
                    <a:gd name="T2" fmla="*/ 2 w 7"/>
                    <a:gd name="T3" fmla="*/ 0 h 4"/>
                    <a:gd name="T4" fmla="*/ 2 w 7"/>
                    <a:gd name="T5" fmla="*/ 0 h 4"/>
                    <a:gd name="T6" fmla="*/ 0 w 7"/>
                    <a:gd name="T7" fmla="*/ 2 h 4"/>
                    <a:gd name="T8" fmla="*/ 2 w 7"/>
                    <a:gd name="T9" fmla="*/ 4 h 4"/>
                    <a:gd name="T10" fmla="*/ 4 w 7"/>
                    <a:gd name="T11" fmla="*/ 3 h 4"/>
                    <a:gd name="T12" fmla="*/ 5 w 7"/>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7" h="4">
                      <a:moveTo>
                        <a:pt x="5" y="0"/>
                      </a:moveTo>
                      <a:cubicBezTo>
                        <a:pt x="4" y="0"/>
                        <a:pt x="3" y="0"/>
                        <a:pt x="2" y="0"/>
                      </a:cubicBezTo>
                      <a:cubicBezTo>
                        <a:pt x="2" y="0"/>
                        <a:pt x="2" y="0"/>
                        <a:pt x="2" y="0"/>
                      </a:cubicBezTo>
                      <a:cubicBezTo>
                        <a:pt x="0" y="0"/>
                        <a:pt x="0" y="1"/>
                        <a:pt x="0" y="2"/>
                      </a:cubicBezTo>
                      <a:cubicBezTo>
                        <a:pt x="0" y="3"/>
                        <a:pt x="1" y="4"/>
                        <a:pt x="2" y="4"/>
                      </a:cubicBezTo>
                      <a:cubicBezTo>
                        <a:pt x="2" y="4"/>
                        <a:pt x="3" y="4"/>
                        <a:pt x="4" y="3"/>
                      </a:cubicBezTo>
                      <a:cubicBezTo>
                        <a:pt x="7"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72"/>
                <p:cNvSpPr/>
                <p:nvPr/>
              </p:nvSpPr>
              <p:spPr bwMode="auto">
                <a:xfrm>
                  <a:off x="5837223" y="3084442"/>
                  <a:ext cx="66332" cy="136349"/>
                </a:xfrm>
                <a:custGeom>
                  <a:gdLst>
                    <a:gd name="T0" fmla="*/ 19 w 21"/>
                    <a:gd name="T1" fmla="*/ 0 h 43"/>
                    <a:gd name="T2" fmla="*/ 16 w 21"/>
                    <a:gd name="T3" fmla="*/ 4 h 43"/>
                    <a:gd name="T4" fmla="*/ 11 w 21"/>
                    <a:gd name="T5" fmla="*/ 14 h 43"/>
                    <a:gd name="T6" fmla="*/ 8 w 21"/>
                    <a:gd name="T7" fmla="*/ 19 h 43"/>
                    <a:gd name="T8" fmla="*/ 3 w 21"/>
                    <a:gd name="T9" fmla="*/ 25 h 43"/>
                    <a:gd name="T10" fmla="*/ 0 w 21"/>
                    <a:gd name="T11" fmla="*/ 37 h 43"/>
                    <a:gd name="T12" fmla="*/ 2 w 21"/>
                    <a:gd name="T13" fmla="*/ 43 h 43"/>
                    <a:gd name="T14" fmla="*/ 4 w 21"/>
                    <a:gd name="T15" fmla="*/ 41 h 43"/>
                    <a:gd name="T16" fmla="*/ 6 w 21"/>
                    <a:gd name="T17" fmla="*/ 36 h 43"/>
                    <a:gd name="T18" fmla="*/ 13 w 21"/>
                    <a:gd name="T19" fmla="*/ 19 h 43"/>
                    <a:gd name="T20" fmla="*/ 19 w 21"/>
                    <a:gd name="T21" fmla="*/ 0 h 43"/>
                    <a:gd name="T22" fmla="*/ 19 w 21"/>
                    <a:gd name="T23"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3">
                      <a:moveTo>
                        <a:pt x="19" y="0"/>
                      </a:moveTo>
                      <a:cubicBezTo>
                        <a:pt x="17" y="0"/>
                        <a:pt x="16" y="3"/>
                        <a:pt x="16" y="4"/>
                      </a:cubicBezTo>
                      <a:cubicBezTo>
                        <a:pt x="14" y="7"/>
                        <a:pt x="13" y="11"/>
                        <a:pt x="11" y="14"/>
                      </a:cubicBezTo>
                      <a:cubicBezTo>
                        <a:pt x="10" y="16"/>
                        <a:pt x="9" y="18"/>
                        <a:pt x="8" y="19"/>
                      </a:cubicBezTo>
                      <a:cubicBezTo>
                        <a:pt x="6" y="21"/>
                        <a:pt x="4" y="22"/>
                        <a:pt x="3" y="25"/>
                      </a:cubicBezTo>
                      <a:cubicBezTo>
                        <a:pt x="1" y="29"/>
                        <a:pt x="0" y="32"/>
                        <a:pt x="0" y="37"/>
                      </a:cubicBezTo>
                      <a:cubicBezTo>
                        <a:pt x="0" y="40"/>
                        <a:pt x="1" y="43"/>
                        <a:pt x="2" y="43"/>
                      </a:cubicBezTo>
                      <a:cubicBezTo>
                        <a:pt x="3" y="43"/>
                        <a:pt x="3" y="43"/>
                        <a:pt x="4" y="41"/>
                      </a:cubicBezTo>
                      <a:cubicBezTo>
                        <a:pt x="5" y="39"/>
                        <a:pt x="5" y="38"/>
                        <a:pt x="6" y="36"/>
                      </a:cubicBezTo>
                      <a:cubicBezTo>
                        <a:pt x="8" y="30"/>
                        <a:pt x="11" y="25"/>
                        <a:pt x="13" y="19"/>
                      </a:cubicBezTo>
                      <a:cubicBezTo>
                        <a:pt x="14" y="16"/>
                        <a:pt x="21" y="1"/>
                        <a:pt x="19" y="0"/>
                      </a:cubicBez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75"/>
                <p:cNvSpPr/>
                <p:nvPr/>
              </p:nvSpPr>
              <p:spPr bwMode="auto">
                <a:xfrm>
                  <a:off x="6607412" y="117924"/>
                  <a:ext cx="36851" cy="29481"/>
                </a:xfrm>
                <a:custGeom>
                  <a:gdLst>
                    <a:gd name="T0" fmla="*/ 11 w 11"/>
                    <a:gd name="T1" fmla="*/ 0 h 10"/>
                    <a:gd name="T2" fmla="*/ 0 w 11"/>
                    <a:gd name="T3" fmla="*/ 10 h 10"/>
                    <a:gd name="T4" fmla="*/ 11 w 11"/>
                    <a:gd name="T5" fmla="*/ 0 h 10"/>
                  </a:gdLst>
                  <a:cxnLst>
                    <a:cxn ang="0">
                      <a:pos x="T0" y="T1"/>
                    </a:cxn>
                    <a:cxn ang="0">
                      <a:pos x="T2" y="T3"/>
                    </a:cxn>
                    <a:cxn ang="0">
                      <a:pos x="T4" y="T5"/>
                    </a:cxn>
                  </a:cxnLst>
                  <a:rect l="0" t="0" r="r" b="b"/>
                  <a:pathLst>
                    <a:path w="11" h="10">
                      <a:moveTo>
                        <a:pt x="11" y="0"/>
                      </a:moveTo>
                      <a:cubicBezTo>
                        <a:pt x="7" y="2"/>
                        <a:pt x="3" y="6"/>
                        <a:pt x="0" y="10"/>
                      </a:cubicBezTo>
                      <a:cubicBezTo>
                        <a:pt x="4" y="7"/>
                        <a:pt x="8" y="3"/>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76"/>
                <p:cNvSpPr/>
                <p:nvPr/>
              </p:nvSpPr>
              <p:spPr bwMode="auto">
                <a:xfrm>
                  <a:off x="4702208" y="5100201"/>
                  <a:ext cx="44221" cy="29481"/>
                </a:xfrm>
                <a:custGeom>
                  <a:gdLst>
                    <a:gd name="T0" fmla="*/ 7 w 14"/>
                    <a:gd name="T1" fmla="*/ 0 h 9"/>
                    <a:gd name="T2" fmla="*/ 0 w 14"/>
                    <a:gd name="T3" fmla="*/ 2 h 9"/>
                    <a:gd name="T4" fmla="*/ 13 w 14"/>
                    <a:gd name="T5" fmla="*/ 9 h 9"/>
                    <a:gd name="T6" fmla="*/ 9 w 14"/>
                    <a:gd name="T7" fmla="*/ 0 h 9"/>
                    <a:gd name="T8" fmla="*/ 7 w 14"/>
                    <a:gd name="T9" fmla="*/ 0 h 9"/>
                  </a:gdLst>
                  <a:cxnLst>
                    <a:cxn ang="0">
                      <a:pos x="T0" y="T1"/>
                    </a:cxn>
                    <a:cxn ang="0">
                      <a:pos x="T2" y="T3"/>
                    </a:cxn>
                    <a:cxn ang="0">
                      <a:pos x="T4" y="T5"/>
                    </a:cxn>
                    <a:cxn ang="0">
                      <a:pos x="T6" y="T7"/>
                    </a:cxn>
                    <a:cxn ang="0">
                      <a:pos x="T8" y="T9"/>
                    </a:cxn>
                  </a:cxnLst>
                  <a:rect l="0" t="0" r="r" b="b"/>
                  <a:pathLst>
                    <a:path w="14" h="9">
                      <a:moveTo>
                        <a:pt x="7" y="0"/>
                      </a:moveTo>
                      <a:cubicBezTo>
                        <a:pt x="4" y="0"/>
                        <a:pt x="1" y="1"/>
                        <a:pt x="0" y="2"/>
                      </a:cubicBezTo>
                      <a:cubicBezTo>
                        <a:pt x="3" y="5"/>
                        <a:pt x="9" y="7"/>
                        <a:pt x="13" y="9"/>
                      </a:cubicBezTo>
                      <a:cubicBezTo>
                        <a:pt x="14" y="5"/>
                        <a:pt x="12" y="2"/>
                        <a:pt x="9"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77"/>
                <p:cNvSpPr/>
                <p:nvPr/>
              </p:nvSpPr>
              <p:spPr bwMode="auto">
                <a:xfrm>
                  <a:off x="4462675" y="5207069"/>
                  <a:ext cx="40536" cy="29481"/>
                </a:xfrm>
                <a:custGeom>
                  <a:gdLst>
                    <a:gd name="T0" fmla="*/ 9 w 13"/>
                    <a:gd name="T1" fmla="*/ 0 h 9"/>
                    <a:gd name="T2" fmla="*/ 5 w 13"/>
                    <a:gd name="T3" fmla="*/ 1 h 9"/>
                    <a:gd name="T4" fmla="*/ 5 w 13"/>
                    <a:gd name="T5" fmla="*/ 9 h 9"/>
                    <a:gd name="T6" fmla="*/ 12 w 13"/>
                    <a:gd name="T7" fmla="*/ 1 h 9"/>
                    <a:gd name="T8" fmla="*/ 9 w 13"/>
                    <a:gd name="T9" fmla="*/ 0 h 9"/>
                  </a:gdLst>
                  <a:cxnLst>
                    <a:cxn ang="0">
                      <a:pos x="T0" y="T1"/>
                    </a:cxn>
                    <a:cxn ang="0">
                      <a:pos x="T2" y="T3"/>
                    </a:cxn>
                    <a:cxn ang="0">
                      <a:pos x="T4" y="T5"/>
                    </a:cxn>
                    <a:cxn ang="0">
                      <a:pos x="T6" y="T7"/>
                    </a:cxn>
                    <a:cxn ang="0">
                      <a:pos x="T8" y="T9"/>
                    </a:cxn>
                  </a:cxnLst>
                  <a:rect l="0" t="0" r="r" b="b"/>
                  <a:pathLst>
                    <a:path w="13" h="9">
                      <a:moveTo>
                        <a:pt x="9" y="0"/>
                      </a:moveTo>
                      <a:cubicBezTo>
                        <a:pt x="8" y="0"/>
                        <a:pt x="6" y="0"/>
                        <a:pt x="5" y="1"/>
                      </a:cubicBezTo>
                      <a:cubicBezTo>
                        <a:pt x="0" y="3"/>
                        <a:pt x="2" y="5"/>
                        <a:pt x="5" y="9"/>
                      </a:cubicBezTo>
                      <a:cubicBezTo>
                        <a:pt x="7" y="7"/>
                        <a:pt x="13" y="3"/>
                        <a:pt x="12" y="1"/>
                      </a:cubicBezTo>
                      <a:cubicBezTo>
                        <a:pt x="12" y="0"/>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78"/>
                <p:cNvSpPr/>
                <p:nvPr/>
              </p:nvSpPr>
              <p:spPr bwMode="auto">
                <a:xfrm>
                  <a:off x="4569544" y="5114941"/>
                  <a:ext cx="103183" cy="70017"/>
                </a:xfrm>
                <a:custGeom>
                  <a:gdLst>
                    <a:gd name="T0" fmla="*/ 23 w 33"/>
                    <a:gd name="T1" fmla="*/ 0 h 22"/>
                    <a:gd name="T2" fmla="*/ 0 w 33"/>
                    <a:gd name="T3" fmla="*/ 12 h 22"/>
                    <a:gd name="T4" fmla="*/ 5 w 33"/>
                    <a:gd name="T5" fmla="*/ 15 h 22"/>
                    <a:gd name="T6" fmla="*/ 6 w 33"/>
                    <a:gd name="T7" fmla="*/ 14 h 22"/>
                    <a:gd name="T8" fmla="*/ 8 w 33"/>
                    <a:gd name="T9" fmla="*/ 14 h 22"/>
                    <a:gd name="T10" fmla="*/ 10 w 33"/>
                    <a:gd name="T11" fmla="*/ 15 h 22"/>
                    <a:gd name="T12" fmla="*/ 12 w 33"/>
                    <a:gd name="T13" fmla="*/ 20 h 22"/>
                    <a:gd name="T14" fmla="*/ 19 w 33"/>
                    <a:gd name="T15" fmla="*/ 22 h 22"/>
                    <a:gd name="T16" fmla="*/ 20 w 33"/>
                    <a:gd name="T17" fmla="*/ 22 h 22"/>
                    <a:gd name="T18" fmla="*/ 27 w 33"/>
                    <a:gd name="T19" fmla="*/ 18 h 22"/>
                    <a:gd name="T20" fmla="*/ 32 w 33"/>
                    <a:gd name="T21" fmla="*/ 8 h 22"/>
                    <a:gd name="T22" fmla="*/ 24 w 33"/>
                    <a:gd name="T23" fmla="*/ 2 h 22"/>
                    <a:gd name="T24" fmla="*/ 22 w 33"/>
                    <a:gd name="T25" fmla="*/ 3 h 22"/>
                    <a:gd name="T26" fmla="*/ 25 w 33"/>
                    <a:gd name="T27" fmla="*/ 0 h 22"/>
                    <a:gd name="T28" fmla="*/ 23 w 33"/>
                    <a:gd name="T29"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22">
                      <a:moveTo>
                        <a:pt x="23" y="0"/>
                      </a:moveTo>
                      <a:cubicBezTo>
                        <a:pt x="15" y="0"/>
                        <a:pt x="7" y="8"/>
                        <a:pt x="0" y="12"/>
                      </a:cubicBezTo>
                      <a:cubicBezTo>
                        <a:pt x="2" y="13"/>
                        <a:pt x="3" y="15"/>
                        <a:pt x="5" y="15"/>
                      </a:cubicBezTo>
                      <a:cubicBezTo>
                        <a:pt x="5" y="15"/>
                        <a:pt x="6" y="14"/>
                        <a:pt x="6" y="14"/>
                      </a:cubicBezTo>
                      <a:cubicBezTo>
                        <a:pt x="7" y="14"/>
                        <a:pt x="8" y="14"/>
                        <a:pt x="8" y="14"/>
                      </a:cubicBezTo>
                      <a:cubicBezTo>
                        <a:pt x="9" y="14"/>
                        <a:pt x="9" y="14"/>
                        <a:pt x="10" y="15"/>
                      </a:cubicBezTo>
                      <a:cubicBezTo>
                        <a:pt x="11" y="16"/>
                        <a:pt x="11" y="18"/>
                        <a:pt x="12" y="20"/>
                      </a:cubicBezTo>
                      <a:cubicBezTo>
                        <a:pt x="13" y="21"/>
                        <a:pt x="18" y="22"/>
                        <a:pt x="19" y="22"/>
                      </a:cubicBezTo>
                      <a:cubicBezTo>
                        <a:pt x="19" y="22"/>
                        <a:pt x="19" y="22"/>
                        <a:pt x="20" y="22"/>
                      </a:cubicBezTo>
                      <a:cubicBezTo>
                        <a:pt x="22" y="22"/>
                        <a:pt x="24" y="20"/>
                        <a:pt x="27" y="18"/>
                      </a:cubicBezTo>
                      <a:cubicBezTo>
                        <a:pt x="27" y="15"/>
                        <a:pt x="33" y="10"/>
                        <a:pt x="32" y="8"/>
                      </a:cubicBezTo>
                      <a:cubicBezTo>
                        <a:pt x="31" y="5"/>
                        <a:pt x="17" y="9"/>
                        <a:pt x="24" y="2"/>
                      </a:cubicBezTo>
                      <a:cubicBezTo>
                        <a:pt x="23" y="3"/>
                        <a:pt x="22" y="3"/>
                        <a:pt x="22" y="3"/>
                      </a:cubicBezTo>
                      <a:cubicBezTo>
                        <a:pt x="21" y="3"/>
                        <a:pt x="23" y="1"/>
                        <a:pt x="25" y="0"/>
                      </a:cubicBezTo>
                      <a:cubicBezTo>
                        <a:pt x="24" y="0"/>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79"/>
                <p:cNvSpPr/>
                <p:nvPr/>
              </p:nvSpPr>
              <p:spPr bwMode="auto">
                <a:xfrm>
                  <a:off x="2878076" y="5826168"/>
                  <a:ext cx="7370" cy="7370"/>
                </a:xfrm>
                <a:custGeom>
                  <a:gdLst>
                    <a:gd name="T0" fmla="*/ 2 w 2"/>
                    <a:gd name="T1" fmla="*/ 0 h 2"/>
                    <a:gd name="T2" fmla="*/ 0 w 2"/>
                    <a:gd name="T3" fmla="*/ 2 h 2"/>
                    <a:gd name="T4" fmla="*/ 2 w 2"/>
                    <a:gd name="T5" fmla="*/ 0 h 2"/>
                    <a:gd name="T6" fmla="*/ 2 w 2"/>
                    <a:gd name="T7" fmla="*/ 0 h 2"/>
                  </a:gdLst>
                  <a:cxnLst>
                    <a:cxn ang="0">
                      <a:pos x="T0" y="T1"/>
                    </a:cxn>
                    <a:cxn ang="0">
                      <a:pos x="T2" y="T3"/>
                    </a:cxn>
                    <a:cxn ang="0">
                      <a:pos x="T4" y="T5"/>
                    </a:cxn>
                    <a:cxn ang="0">
                      <a:pos x="T6" y="T7"/>
                    </a:cxn>
                  </a:cxnLst>
                  <a:rect l="0" t="0" r="r" b="b"/>
                  <a:pathLst>
                    <a:path w="2" h="2">
                      <a:moveTo>
                        <a:pt x="2" y="0"/>
                      </a:moveTo>
                      <a:cubicBezTo>
                        <a:pt x="1" y="0"/>
                        <a:pt x="1" y="1"/>
                        <a:pt x="0" y="2"/>
                      </a:cubicBezTo>
                      <a:cubicBezTo>
                        <a:pt x="1" y="1"/>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80"/>
                <p:cNvSpPr/>
                <p:nvPr/>
              </p:nvSpPr>
              <p:spPr bwMode="auto">
                <a:xfrm>
                  <a:off x="6194680" y="1230829"/>
                  <a:ext cx="44221" cy="25796"/>
                </a:xfrm>
                <a:custGeom>
                  <a:gdLst>
                    <a:gd name="T0" fmla="*/ 10 w 13"/>
                    <a:gd name="T1" fmla="*/ 0 h 8"/>
                    <a:gd name="T2" fmla="*/ 0 w 13"/>
                    <a:gd name="T3" fmla="*/ 3 h 8"/>
                    <a:gd name="T4" fmla="*/ 3 w 13"/>
                    <a:gd name="T5" fmla="*/ 8 h 8"/>
                    <a:gd name="T6" fmla="*/ 5 w 13"/>
                    <a:gd name="T7" fmla="*/ 6 h 8"/>
                    <a:gd name="T8" fmla="*/ 7 w 13"/>
                    <a:gd name="T9" fmla="*/ 8 h 8"/>
                    <a:gd name="T10" fmla="*/ 9 w 13"/>
                    <a:gd name="T11" fmla="*/ 8 h 8"/>
                    <a:gd name="T12" fmla="*/ 10 w 13"/>
                    <a:gd name="T13" fmla="*/ 8 h 8"/>
                    <a:gd name="T14" fmla="*/ 12 w 13"/>
                    <a:gd name="T15" fmla="*/ 0 h 8"/>
                    <a:gd name="T16" fmla="*/ 10 w 13"/>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8">
                      <a:moveTo>
                        <a:pt x="10" y="0"/>
                      </a:moveTo>
                      <a:cubicBezTo>
                        <a:pt x="7" y="0"/>
                        <a:pt x="3" y="2"/>
                        <a:pt x="0" y="3"/>
                      </a:cubicBezTo>
                      <a:cubicBezTo>
                        <a:pt x="1" y="5"/>
                        <a:pt x="2" y="8"/>
                        <a:pt x="3" y="8"/>
                      </a:cubicBezTo>
                      <a:cubicBezTo>
                        <a:pt x="4" y="8"/>
                        <a:pt x="5" y="7"/>
                        <a:pt x="5" y="6"/>
                      </a:cubicBezTo>
                      <a:cubicBezTo>
                        <a:pt x="5" y="7"/>
                        <a:pt x="6" y="8"/>
                        <a:pt x="7" y="8"/>
                      </a:cubicBezTo>
                      <a:cubicBezTo>
                        <a:pt x="6" y="8"/>
                        <a:pt x="9" y="8"/>
                        <a:pt x="9" y="8"/>
                      </a:cubicBezTo>
                      <a:cubicBezTo>
                        <a:pt x="10" y="8"/>
                        <a:pt x="10" y="8"/>
                        <a:pt x="10" y="8"/>
                      </a:cubicBezTo>
                      <a:cubicBezTo>
                        <a:pt x="13" y="6"/>
                        <a:pt x="12" y="4"/>
                        <a:pt x="12" y="0"/>
                      </a:cubicBezTo>
                      <a:cubicBezTo>
                        <a:pt x="12"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81"/>
                <p:cNvSpPr/>
                <p:nvPr/>
              </p:nvSpPr>
              <p:spPr bwMode="auto">
                <a:xfrm>
                  <a:off x="6419472" y="1160812"/>
                  <a:ext cx="73702" cy="55277"/>
                </a:xfrm>
                <a:custGeom>
                  <a:gdLst>
                    <a:gd name="T0" fmla="*/ 18 w 24"/>
                    <a:gd name="T1" fmla="*/ 0 h 17"/>
                    <a:gd name="T2" fmla="*/ 19 w 24"/>
                    <a:gd name="T3" fmla="*/ 4 h 17"/>
                    <a:gd name="T4" fmla="*/ 0 w 24"/>
                    <a:gd name="T5" fmla="*/ 11 h 17"/>
                    <a:gd name="T6" fmla="*/ 9 w 24"/>
                    <a:gd name="T7" fmla="*/ 17 h 17"/>
                    <a:gd name="T8" fmla="*/ 12 w 24"/>
                    <a:gd name="T9" fmla="*/ 16 h 17"/>
                    <a:gd name="T10" fmla="*/ 22 w 24"/>
                    <a:gd name="T11" fmla="*/ 5 h 17"/>
                    <a:gd name="T12" fmla="*/ 19 w 24"/>
                    <a:gd name="T13" fmla="*/ 0 h 17"/>
                    <a:gd name="T14" fmla="*/ 18 w 24"/>
                    <a:gd name="T15" fmla="*/ 0 h 1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7">
                      <a:moveTo>
                        <a:pt x="18" y="0"/>
                      </a:moveTo>
                      <a:cubicBezTo>
                        <a:pt x="15" y="0"/>
                        <a:pt x="17" y="3"/>
                        <a:pt x="19" y="4"/>
                      </a:cubicBezTo>
                      <a:cubicBezTo>
                        <a:pt x="14" y="8"/>
                        <a:pt x="6" y="9"/>
                        <a:pt x="0" y="11"/>
                      </a:cubicBezTo>
                      <a:cubicBezTo>
                        <a:pt x="3" y="14"/>
                        <a:pt x="5" y="17"/>
                        <a:pt x="9" y="17"/>
                      </a:cubicBezTo>
                      <a:cubicBezTo>
                        <a:pt x="10" y="17"/>
                        <a:pt x="11" y="17"/>
                        <a:pt x="12" y="16"/>
                      </a:cubicBezTo>
                      <a:cubicBezTo>
                        <a:pt x="15" y="14"/>
                        <a:pt x="24" y="9"/>
                        <a:pt x="22" y="5"/>
                      </a:cubicBezTo>
                      <a:cubicBezTo>
                        <a:pt x="21" y="2"/>
                        <a:pt x="22" y="1"/>
                        <a:pt x="19" y="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82"/>
                <p:cNvSpPr/>
                <p:nvPr/>
              </p:nvSpPr>
              <p:spPr bwMode="auto">
                <a:xfrm>
                  <a:off x="4853298" y="2417437"/>
                  <a:ext cx="33166" cy="18426"/>
                </a:xfrm>
                <a:custGeom>
                  <a:gdLst>
                    <a:gd name="T0" fmla="*/ 10 w 10"/>
                    <a:gd name="T1" fmla="*/ 0 h 5"/>
                    <a:gd name="T2" fmla="*/ 4 w 10"/>
                    <a:gd name="T3" fmla="*/ 5 h 5"/>
                    <a:gd name="T4" fmla="*/ 5 w 10"/>
                    <a:gd name="T5" fmla="*/ 5 h 5"/>
                    <a:gd name="T6" fmla="*/ 10 w 10"/>
                    <a:gd name="T7" fmla="*/ 0 h 5"/>
                  </a:gdLst>
                  <a:cxnLst>
                    <a:cxn ang="0">
                      <a:pos x="T0" y="T1"/>
                    </a:cxn>
                    <a:cxn ang="0">
                      <a:pos x="T2" y="T3"/>
                    </a:cxn>
                    <a:cxn ang="0">
                      <a:pos x="T4" y="T5"/>
                    </a:cxn>
                    <a:cxn ang="0">
                      <a:pos x="T6" y="T7"/>
                    </a:cxn>
                  </a:cxnLst>
                  <a:rect l="0" t="0" r="r" b="b"/>
                  <a:pathLst>
                    <a:path w="10" h="5">
                      <a:moveTo>
                        <a:pt x="10" y="0"/>
                      </a:moveTo>
                      <a:cubicBezTo>
                        <a:pt x="9" y="1"/>
                        <a:pt x="0" y="3"/>
                        <a:pt x="4" y="5"/>
                      </a:cubicBezTo>
                      <a:cubicBezTo>
                        <a:pt x="4" y="5"/>
                        <a:pt x="4" y="5"/>
                        <a:pt x="5" y="5"/>
                      </a:cubicBezTo>
                      <a:cubicBezTo>
                        <a:pt x="7" y="5"/>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83"/>
                <p:cNvSpPr/>
                <p:nvPr/>
              </p:nvSpPr>
              <p:spPr bwMode="auto">
                <a:xfrm>
                  <a:off x="4820132" y="2815429"/>
                  <a:ext cx="22111" cy="33166"/>
                </a:xfrm>
                <a:custGeom>
                  <a:gdLst>
                    <a:gd name="T0" fmla="*/ 3 w 7"/>
                    <a:gd name="T1" fmla="*/ 0 h 10"/>
                    <a:gd name="T2" fmla="*/ 1 w 7"/>
                    <a:gd name="T3" fmla="*/ 9 h 10"/>
                    <a:gd name="T4" fmla="*/ 3 w 7"/>
                    <a:gd name="T5" fmla="*/ 10 h 10"/>
                    <a:gd name="T6" fmla="*/ 5 w 7"/>
                    <a:gd name="T7" fmla="*/ 9 h 10"/>
                    <a:gd name="T8" fmla="*/ 3 w 7"/>
                    <a:gd name="T9" fmla="*/ 0 h 10"/>
                  </a:gdLst>
                  <a:cxnLst>
                    <a:cxn ang="0">
                      <a:pos x="T0" y="T1"/>
                    </a:cxn>
                    <a:cxn ang="0">
                      <a:pos x="T2" y="T3"/>
                    </a:cxn>
                    <a:cxn ang="0">
                      <a:pos x="T4" y="T5"/>
                    </a:cxn>
                    <a:cxn ang="0">
                      <a:pos x="T6" y="T7"/>
                    </a:cxn>
                    <a:cxn ang="0">
                      <a:pos x="T8" y="T9"/>
                    </a:cxn>
                  </a:cxnLst>
                  <a:rect l="0" t="0" r="r" b="b"/>
                  <a:pathLst>
                    <a:path w="7" h="10">
                      <a:moveTo>
                        <a:pt x="3" y="0"/>
                      </a:moveTo>
                      <a:cubicBezTo>
                        <a:pt x="2" y="2"/>
                        <a:pt x="0" y="7"/>
                        <a:pt x="1" y="9"/>
                      </a:cubicBezTo>
                      <a:cubicBezTo>
                        <a:pt x="2" y="10"/>
                        <a:pt x="2" y="10"/>
                        <a:pt x="3" y="10"/>
                      </a:cubicBezTo>
                      <a:cubicBezTo>
                        <a:pt x="4" y="10"/>
                        <a:pt x="4" y="10"/>
                        <a:pt x="5" y="9"/>
                      </a:cubicBezTo>
                      <a:cubicBezTo>
                        <a:pt x="7" y="6"/>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84"/>
                <p:cNvSpPr/>
                <p:nvPr/>
              </p:nvSpPr>
              <p:spPr bwMode="auto">
                <a:xfrm>
                  <a:off x="6043590" y="1249255"/>
                  <a:ext cx="92128" cy="44221"/>
                </a:xfrm>
                <a:custGeom>
                  <a:gdLst>
                    <a:gd name="T0" fmla="*/ 14 w 29"/>
                    <a:gd name="T1" fmla="*/ 0 h 14"/>
                    <a:gd name="T2" fmla="*/ 12 w 29"/>
                    <a:gd name="T3" fmla="*/ 2 h 14"/>
                    <a:gd name="T4" fmla="*/ 10 w 29"/>
                    <a:gd name="T5" fmla="*/ 2 h 14"/>
                    <a:gd name="T6" fmla="*/ 4 w 29"/>
                    <a:gd name="T7" fmla="*/ 5 h 14"/>
                    <a:gd name="T8" fmla="*/ 7 w 29"/>
                    <a:gd name="T9" fmla="*/ 11 h 14"/>
                    <a:gd name="T10" fmla="*/ 15 w 29"/>
                    <a:gd name="T11" fmla="*/ 14 h 14"/>
                    <a:gd name="T12" fmla="*/ 18 w 29"/>
                    <a:gd name="T13" fmla="*/ 13 h 14"/>
                    <a:gd name="T14" fmla="*/ 27 w 29"/>
                    <a:gd name="T15" fmla="*/ 6 h 14"/>
                    <a:gd name="T16" fmla="*/ 26 w 29"/>
                    <a:gd name="T17" fmla="*/ 2 h 14"/>
                    <a:gd name="T18" fmla="*/ 14 w 29"/>
                    <a:gd name="T1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4">
                      <a:moveTo>
                        <a:pt x="14" y="0"/>
                      </a:moveTo>
                      <a:cubicBezTo>
                        <a:pt x="12" y="0"/>
                        <a:pt x="10" y="0"/>
                        <a:pt x="12" y="2"/>
                      </a:cubicBezTo>
                      <a:cubicBezTo>
                        <a:pt x="11" y="2"/>
                        <a:pt x="11" y="2"/>
                        <a:pt x="10" y="2"/>
                      </a:cubicBezTo>
                      <a:cubicBezTo>
                        <a:pt x="8" y="2"/>
                        <a:pt x="6" y="4"/>
                        <a:pt x="4" y="5"/>
                      </a:cubicBezTo>
                      <a:cubicBezTo>
                        <a:pt x="0" y="8"/>
                        <a:pt x="4" y="10"/>
                        <a:pt x="7" y="11"/>
                      </a:cubicBezTo>
                      <a:cubicBezTo>
                        <a:pt x="10" y="13"/>
                        <a:pt x="12" y="14"/>
                        <a:pt x="15" y="14"/>
                      </a:cubicBezTo>
                      <a:cubicBezTo>
                        <a:pt x="16" y="14"/>
                        <a:pt x="17" y="14"/>
                        <a:pt x="18" y="13"/>
                      </a:cubicBezTo>
                      <a:cubicBezTo>
                        <a:pt x="22" y="13"/>
                        <a:pt x="25" y="9"/>
                        <a:pt x="27" y="6"/>
                      </a:cubicBezTo>
                      <a:cubicBezTo>
                        <a:pt x="29" y="4"/>
                        <a:pt x="28" y="4"/>
                        <a:pt x="26" y="2"/>
                      </a:cubicBezTo>
                      <a:cubicBezTo>
                        <a:pt x="24" y="1"/>
                        <a:pt x="18"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85"/>
                <p:cNvSpPr/>
                <p:nvPr/>
              </p:nvSpPr>
              <p:spPr bwMode="auto">
                <a:xfrm>
                  <a:off x="5652968" y="1422455"/>
                  <a:ext cx="95813" cy="66332"/>
                </a:xfrm>
                <a:custGeom>
                  <a:gdLst>
                    <a:gd name="T0" fmla="*/ 20 w 30"/>
                    <a:gd name="T1" fmla="*/ 0 h 21"/>
                    <a:gd name="T2" fmla="*/ 19 w 30"/>
                    <a:gd name="T3" fmla="*/ 2 h 21"/>
                    <a:gd name="T4" fmla="*/ 20 w 30"/>
                    <a:gd name="T5" fmla="*/ 5 h 21"/>
                    <a:gd name="T6" fmla="*/ 12 w 30"/>
                    <a:gd name="T7" fmla="*/ 12 h 21"/>
                    <a:gd name="T8" fmla="*/ 2 w 30"/>
                    <a:gd name="T9" fmla="*/ 19 h 21"/>
                    <a:gd name="T10" fmla="*/ 4 w 30"/>
                    <a:gd name="T11" fmla="*/ 20 h 21"/>
                    <a:gd name="T12" fmla="*/ 6 w 30"/>
                    <a:gd name="T13" fmla="*/ 20 h 21"/>
                    <a:gd name="T14" fmla="*/ 9 w 30"/>
                    <a:gd name="T15" fmla="*/ 17 h 21"/>
                    <a:gd name="T16" fmla="*/ 13 w 30"/>
                    <a:gd name="T17" fmla="*/ 16 h 21"/>
                    <a:gd name="T18" fmla="*/ 19 w 30"/>
                    <a:gd name="T19" fmla="*/ 17 h 21"/>
                    <a:gd name="T20" fmla="*/ 18 w 30"/>
                    <a:gd name="T21" fmla="*/ 21 h 21"/>
                    <a:gd name="T22" fmla="*/ 18 w 30"/>
                    <a:gd name="T23" fmla="*/ 21 h 21"/>
                    <a:gd name="T24" fmla="*/ 27 w 30"/>
                    <a:gd name="T25" fmla="*/ 18 h 21"/>
                    <a:gd name="T26" fmla="*/ 29 w 30"/>
                    <a:gd name="T27" fmla="*/ 13 h 21"/>
                    <a:gd name="T28" fmla="*/ 29 w 30"/>
                    <a:gd name="T29" fmla="*/ 9 h 21"/>
                    <a:gd name="T30" fmla="*/ 28 w 30"/>
                    <a:gd name="T31" fmla="*/ 8 h 21"/>
                    <a:gd name="T32" fmla="*/ 27 w 30"/>
                    <a:gd name="T33" fmla="*/ 9 h 21"/>
                    <a:gd name="T34" fmla="*/ 26 w 30"/>
                    <a:gd name="T35" fmla="*/ 9 h 21"/>
                    <a:gd name="T36" fmla="*/ 26 w 30"/>
                    <a:gd name="T37" fmla="*/ 9 h 21"/>
                    <a:gd name="T38" fmla="*/ 20 w 30"/>
                    <a:gd name="T39"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21">
                      <a:moveTo>
                        <a:pt x="20" y="0"/>
                      </a:moveTo>
                      <a:cubicBezTo>
                        <a:pt x="20" y="0"/>
                        <a:pt x="19" y="1"/>
                        <a:pt x="19" y="2"/>
                      </a:cubicBezTo>
                      <a:cubicBezTo>
                        <a:pt x="19" y="4"/>
                        <a:pt x="21" y="4"/>
                        <a:pt x="20" y="5"/>
                      </a:cubicBezTo>
                      <a:cubicBezTo>
                        <a:pt x="17" y="7"/>
                        <a:pt x="14" y="10"/>
                        <a:pt x="12" y="12"/>
                      </a:cubicBezTo>
                      <a:cubicBezTo>
                        <a:pt x="9" y="13"/>
                        <a:pt x="0" y="15"/>
                        <a:pt x="2" y="19"/>
                      </a:cubicBezTo>
                      <a:cubicBezTo>
                        <a:pt x="3" y="20"/>
                        <a:pt x="3" y="20"/>
                        <a:pt x="4" y="20"/>
                      </a:cubicBezTo>
                      <a:cubicBezTo>
                        <a:pt x="5" y="20"/>
                        <a:pt x="6" y="20"/>
                        <a:pt x="6" y="20"/>
                      </a:cubicBezTo>
                      <a:cubicBezTo>
                        <a:pt x="8" y="19"/>
                        <a:pt x="8" y="18"/>
                        <a:pt x="9" y="17"/>
                      </a:cubicBezTo>
                      <a:cubicBezTo>
                        <a:pt x="11" y="16"/>
                        <a:pt x="12" y="16"/>
                        <a:pt x="13" y="16"/>
                      </a:cubicBezTo>
                      <a:cubicBezTo>
                        <a:pt x="15" y="16"/>
                        <a:pt x="17" y="16"/>
                        <a:pt x="19" y="17"/>
                      </a:cubicBezTo>
                      <a:cubicBezTo>
                        <a:pt x="17" y="18"/>
                        <a:pt x="13" y="21"/>
                        <a:pt x="18" y="21"/>
                      </a:cubicBezTo>
                      <a:cubicBezTo>
                        <a:pt x="18" y="21"/>
                        <a:pt x="18" y="21"/>
                        <a:pt x="18" y="21"/>
                      </a:cubicBezTo>
                      <a:cubicBezTo>
                        <a:pt x="21" y="21"/>
                        <a:pt x="24" y="19"/>
                        <a:pt x="27" y="18"/>
                      </a:cubicBezTo>
                      <a:cubicBezTo>
                        <a:pt x="29" y="16"/>
                        <a:pt x="30" y="16"/>
                        <a:pt x="29" y="13"/>
                      </a:cubicBezTo>
                      <a:cubicBezTo>
                        <a:pt x="29" y="12"/>
                        <a:pt x="30" y="10"/>
                        <a:pt x="29" y="9"/>
                      </a:cubicBezTo>
                      <a:cubicBezTo>
                        <a:pt x="29" y="8"/>
                        <a:pt x="29" y="8"/>
                        <a:pt x="28" y="8"/>
                      </a:cubicBezTo>
                      <a:cubicBezTo>
                        <a:pt x="28" y="8"/>
                        <a:pt x="28" y="9"/>
                        <a:pt x="27" y="9"/>
                      </a:cubicBezTo>
                      <a:cubicBezTo>
                        <a:pt x="27" y="9"/>
                        <a:pt x="27" y="9"/>
                        <a:pt x="26" y="9"/>
                      </a:cubicBezTo>
                      <a:cubicBezTo>
                        <a:pt x="26" y="9"/>
                        <a:pt x="26" y="9"/>
                        <a:pt x="26" y="9"/>
                      </a:cubicBezTo>
                      <a:cubicBezTo>
                        <a:pt x="25" y="7"/>
                        <a:pt x="23"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86"/>
                <p:cNvSpPr/>
                <p:nvPr/>
              </p:nvSpPr>
              <p:spPr bwMode="auto">
                <a:xfrm>
                  <a:off x="5074405" y="2295828"/>
                  <a:ext cx="22111" cy="3685"/>
                </a:xfrm>
                <a:custGeom>
                  <a:gdLst>
                    <a:gd name="T0" fmla="*/ 2 w 7"/>
                    <a:gd name="T1" fmla="*/ 0 h 1"/>
                    <a:gd name="T2" fmla="*/ 0 w 7"/>
                    <a:gd name="T3" fmla="*/ 0 h 1"/>
                    <a:gd name="T4" fmla="*/ 4 w 7"/>
                    <a:gd name="T5" fmla="*/ 1 h 1"/>
                    <a:gd name="T6" fmla="*/ 4 w 7"/>
                    <a:gd name="T7" fmla="*/ 1 h 1"/>
                    <a:gd name="T8" fmla="*/ 7 w 7"/>
                    <a:gd name="T9" fmla="*/ 1 h 1"/>
                    <a:gd name="T10" fmla="*/ 2 w 7"/>
                    <a:gd name="T11" fmla="*/ 0 h 1"/>
                  </a:gdLst>
                  <a:cxnLst>
                    <a:cxn ang="0">
                      <a:pos x="T0" y="T1"/>
                    </a:cxn>
                    <a:cxn ang="0">
                      <a:pos x="T2" y="T3"/>
                    </a:cxn>
                    <a:cxn ang="0">
                      <a:pos x="T4" y="T5"/>
                    </a:cxn>
                    <a:cxn ang="0">
                      <a:pos x="T6" y="T7"/>
                    </a:cxn>
                    <a:cxn ang="0">
                      <a:pos x="T8" y="T9"/>
                    </a:cxn>
                    <a:cxn ang="0">
                      <a:pos x="T10" y="T11"/>
                    </a:cxn>
                  </a:cxnLst>
                  <a:rect l="0" t="0" r="r" b="b"/>
                  <a:pathLst>
                    <a:path w="7" h="1">
                      <a:moveTo>
                        <a:pt x="2" y="0"/>
                      </a:moveTo>
                      <a:cubicBezTo>
                        <a:pt x="1" y="0"/>
                        <a:pt x="1" y="0"/>
                        <a:pt x="0" y="0"/>
                      </a:cubicBezTo>
                      <a:cubicBezTo>
                        <a:pt x="1" y="0"/>
                        <a:pt x="3" y="1"/>
                        <a:pt x="4" y="1"/>
                      </a:cubicBezTo>
                      <a:cubicBezTo>
                        <a:pt x="4" y="1"/>
                        <a:pt x="4" y="1"/>
                        <a:pt x="4" y="1"/>
                      </a:cubicBezTo>
                      <a:cubicBezTo>
                        <a:pt x="5" y="1"/>
                        <a:pt x="6" y="1"/>
                        <a:pt x="7" y="1"/>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87"/>
                <p:cNvSpPr/>
                <p:nvPr/>
              </p:nvSpPr>
              <p:spPr bwMode="auto">
                <a:xfrm>
                  <a:off x="5756151" y="1381919"/>
                  <a:ext cx="62647" cy="62647"/>
                </a:xfrm>
                <a:custGeom>
                  <a:gdLst>
                    <a:gd name="T0" fmla="*/ 20 w 20"/>
                    <a:gd name="T1" fmla="*/ 0 h 19"/>
                    <a:gd name="T2" fmla="*/ 0 w 20"/>
                    <a:gd name="T3" fmla="*/ 18 h 19"/>
                    <a:gd name="T4" fmla="*/ 0 w 20"/>
                    <a:gd name="T5" fmla="*/ 19 h 19"/>
                    <a:gd name="T6" fmla="*/ 2 w 20"/>
                    <a:gd name="T7" fmla="*/ 15 h 19"/>
                    <a:gd name="T8" fmla="*/ 3 w 20"/>
                    <a:gd name="T9" fmla="*/ 13 h 19"/>
                    <a:gd name="T10" fmla="*/ 4 w 20"/>
                    <a:gd name="T11" fmla="*/ 13 h 19"/>
                    <a:gd name="T12" fmla="*/ 5 w 20"/>
                    <a:gd name="T13" fmla="*/ 14 h 19"/>
                    <a:gd name="T14" fmla="*/ 5 w 20"/>
                    <a:gd name="T15" fmla="*/ 14 h 19"/>
                    <a:gd name="T16" fmla="*/ 13 w 20"/>
                    <a:gd name="T17" fmla="*/ 9 h 19"/>
                    <a:gd name="T18" fmla="*/ 17 w 20"/>
                    <a:gd name="T19" fmla="*/ 6 h 19"/>
                    <a:gd name="T20" fmla="*/ 20 w 20"/>
                    <a:gd name="T21"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9">
                      <a:moveTo>
                        <a:pt x="20" y="0"/>
                      </a:moveTo>
                      <a:cubicBezTo>
                        <a:pt x="11" y="4"/>
                        <a:pt x="0" y="6"/>
                        <a:pt x="0" y="18"/>
                      </a:cubicBezTo>
                      <a:cubicBezTo>
                        <a:pt x="0" y="18"/>
                        <a:pt x="0" y="19"/>
                        <a:pt x="0" y="19"/>
                      </a:cubicBezTo>
                      <a:cubicBezTo>
                        <a:pt x="1" y="19"/>
                        <a:pt x="3" y="17"/>
                        <a:pt x="2" y="15"/>
                      </a:cubicBezTo>
                      <a:cubicBezTo>
                        <a:pt x="2" y="13"/>
                        <a:pt x="2" y="13"/>
                        <a:pt x="3" y="13"/>
                      </a:cubicBezTo>
                      <a:cubicBezTo>
                        <a:pt x="3" y="13"/>
                        <a:pt x="3" y="13"/>
                        <a:pt x="4" y="13"/>
                      </a:cubicBezTo>
                      <a:cubicBezTo>
                        <a:pt x="4" y="14"/>
                        <a:pt x="5" y="14"/>
                        <a:pt x="5" y="14"/>
                      </a:cubicBezTo>
                      <a:cubicBezTo>
                        <a:pt x="5" y="14"/>
                        <a:pt x="5" y="14"/>
                        <a:pt x="5" y="14"/>
                      </a:cubicBezTo>
                      <a:cubicBezTo>
                        <a:pt x="8" y="14"/>
                        <a:pt x="11" y="11"/>
                        <a:pt x="13" y="9"/>
                      </a:cubicBezTo>
                      <a:cubicBezTo>
                        <a:pt x="14" y="8"/>
                        <a:pt x="16" y="7"/>
                        <a:pt x="17" y="6"/>
                      </a:cubicBezTo>
                      <a:cubicBezTo>
                        <a:pt x="18" y="4"/>
                        <a:pt x="19" y="2"/>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88"/>
                <p:cNvSpPr/>
                <p:nvPr/>
              </p:nvSpPr>
              <p:spPr bwMode="auto">
                <a:xfrm>
                  <a:off x="5715615" y="1429826"/>
                  <a:ext cx="140034" cy="103183"/>
                </a:xfrm>
                <a:custGeom>
                  <a:gdLst>
                    <a:gd name="T0" fmla="*/ 24 w 44"/>
                    <a:gd name="T1" fmla="*/ 0 h 32"/>
                    <a:gd name="T2" fmla="*/ 18 w 44"/>
                    <a:gd name="T3" fmla="*/ 7 h 32"/>
                    <a:gd name="T4" fmla="*/ 15 w 44"/>
                    <a:gd name="T5" fmla="*/ 11 h 32"/>
                    <a:gd name="T6" fmla="*/ 19 w 44"/>
                    <a:gd name="T7" fmla="*/ 12 h 32"/>
                    <a:gd name="T8" fmla="*/ 13 w 44"/>
                    <a:gd name="T9" fmla="*/ 11 h 32"/>
                    <a:gd name="T10" fmla="*/ 12 w 44"/>
                    <a:gd name="T11" fmla="*/ 11 h 32"/>
                    <a:gd name="T12" fmla="*/ 13 w 44"/>
                    <a:gd name="T13" fmla="*/ 16 h 32"/>
                    <a:gd name="T14" fmla="*/ 8 w 44"/>
                    <a:gd name="T15" fmla="*/ 19 h 32"/>
                    <a:gd name="T16" fmla="*/ 8 w 44"/>
                    <a:gd name="T17" fmla="*/ 24 h 32"/>
                    <a:gd name="T18" fmla="*/ 0 w 44"/>
                    <a:gd name="T19" fmla="*/ 30 h 32"/>
                    <a:gd name="T20" fmla="*/ 3 w 44"/>
                    <a:gd name="T21" fmla="*/ 30 h 32"/>
                    <a:gd name="T22" fmla="*/ 15 w 44"/>
                    <a:gd name="T23" fmla="*/ 31 h 32"/>
                    <a:gd name="T24" fmla="*/ 16 w 44"/>
                    <a:gd name="T25" fmla="*/ 32 h 32"/>
                    <a:gd name="T26" fmla="*/ 18 w 44"/>
                    <a:gd name="T27" fmla="*/ 31 h 32"/>
                    <a:gd name="T28" fmla="*/ 23 w 44"/>
                    <a:gd name="T29" fmla="*/ 26 h 32"/>
                    <a:gd name="T30" fmla="*/ 30 w 44"/>
                    <a:gd name="T31" fmla="*/ 20 h 32"/>
                    <a:gd name="T32" fmla="*/ 41 w 44"/>
                    <a:gd name="T33" fmla="*/ 19 h 32"/>
                    <a:gd name="T34" fmla="*/ 44 w 44"/>
                    <a:gd name="T35" fmla="*/ 6 h 32"/>
                    <a:gd name="T36" fmla="*/ 43 w 44"/>
                    <a:gd name="T37" fmla="*/ 6 h 32"/>
                    <a:gd name="T38" fmla="*/ 40 w 44"/>
                    <a:gd name="T39" fmla="*/ 5 h 32"/>
                    <a:gd name="T40" fmla="*/ 36 w 44"/>
                    <a:gd name="T41" fmla="*/ 4 h 32"/>
                    <a:gd name="T42" fmla="*/ 33 w 44"/>
                    <a:gd name="T43" fmla="*/ 5 h 32"/>
                    <a:gd name="T44" fmla="*/ 32 w 44"/>
                    <a:gd name="T45" fmla="*/ 9 h 32"/>
                    <a:gd name="T46" fmla="*/ 29 w 44"/>
                    <a:gd name="T47" fmla="*/ 14 h 32"/>
                    <a:gd name="T48" fmla="*/ 19 w 44"/>
                    <a:gd name="T49" fmla="*/ 20 h 32"/>
                    <a:gd name="T50" fmla="*/ 22 w 44"/>
                    <a:gd name="T51" fmla="*/ 15 h 32"/>
                    <a:gd name="T52" fmla="*/ 25 w 44"/>
                    <a:gd name="T53" fmla="*/ 14 h 32"/>
                    <a:gd name="T54" fmla="*/ 21 w 44"/>
                    <a:gd name="T55" fmla="*/ 10 h 32"/>
                    <a:gd name="T56" fmla="*/ 24 w 44"/>
                    <a:gd name="T57"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32">
                      <a:moveTo>
                        <a:pt x="24" y="0"/>
                      </a:moveTo>
                      <a:cubicBezTo>
                        <a:pt x="17" y="0"/>
                        <a:pt x="17" y="0"/>
                        <a:pt x="18" y="7"/>
                      </a:cubicBezTo>
                      <a:cubicBezTo>
                        <a:pt x="15" y="7"/>
                        <a:pt x="11" y="7"/>
                        <a:pt x="15" y="11"/>
                      </a:cubicBezTo>
                      <a:cubicBezTo>
                        <a:pt x="15" y="11"/>
                        <a:pt x="17" y="11"/>
                        <a:pt x="19" y="12"/>
                      </a:cubicBezTo>
                      <a:cubicBezTo>
                        <a:pt x="18" y="12"/>
                        <a:pt x="14" y="11"/>
                        <a:pt x="13" y="11"/>
                      </a:cubicBezTo>
                      <a:cubicBezTo>
                        <a:pt x="12" y="11"/>
                        <a:pt x="12" y="11"/>
                        <a:pt x="12" y="11"/>
                      </a:cubicBezTo>
                      <a:cubicBezTo>
                        <a:pt x="11" y="13"/>
                        <a:pt x="15" y="15"/>
                        <a:pt x="13" y="16"/>
                      </a:cubicBezTo>
                      <a:cubicBezTo>
                        <a:pt x="12" y="17"/>
                        <a:pt x="8" y="18"/>
                        <a:pt x="8" y="19"/>
                      </a:cubicBezTo>
                      <a:cubicBezTo>
                        <a:pt x="8" y="21"/>
                        <a:pt x="8" y="23"/>
                        <a:pt x="8" y="24"/>
                      </a:cubicBezTo>
                      <a:cubicBezTo>
                        <a:pt x="7" y="26"/>
                        <a:pt x="2" y="29"/>
                        <a:pt x="0" y="30"/>
                      </a:cubicBezTo>
                      <a:cubicBezTo>
                        <a:pt x="1" y="30"/>
                        <a:pt x="2" y="30"/>
                        <a:pt x="3" y="30"/>
                      </a:cubicBezTo>
                      <a:cubicBezTo>
                        <a:pt x="7" y="30"/>
                        <a:pt x="10" y="31"/>
                        <a:pt x="15" y="31"/>
                      </a:cubicBezTo>
                      <a:cubicBezTo>
                        <a:pt x="16" y="31"/>
                        <a:pt x="16" y="32"/>
                        <a:pt x="16" y="32"/>
                      </a:cubicBezTo>
                      <a:cubicBezTo>
                        <a:pt x="17" y="32"/>
                        <a:pt x="17" y="31"/>
                        <a:pt x="18" y="31"/>
                      </a:cubicBezTo>
                      <a:cubicBezTo>
                        <a:pt x="20" y="30"/>
                        <a:pt x="22" y="28"/>
                        <a:pt x="23" y="26"/>
                      </a:cubicBezTo>
                      <a:cubicBezTo>
                        <a:pt x="25" y="25"/>
                        <a:pt x="28" y="20"/>
                        <a:pt x="30" y="20"/>
                      </a:cubicBezTo>
                      <a:cubicBezTo>
                        <a:pt x="33" y="20"/>
                        <a:pt x="37" y="20"/>
                        <a:pt x="41" y="19"/>
                      </a:cubicBezTo>
                      <a:cubicBezTo>
                        <a:pt x="43" y="19"/>
                        <a:pt x="44" y="9"/>
                        <a:pt x="44" y="6"/>
                      </a:cubicBezTo>
                      <a:cubicBezTo>
                        <a:pt x="44" y="6"/>
                        <a:pt x="44" y="6"/>
                        <a:pt x="43" y="6"/>
                      </a:cubicBezTo>
                      <a:cubicBezTo>
                        <a:pt x="42" y="6"/>
                        <a:pt x="41" y="5"/>
                        <a:pt x="40" y="5"/>
                      </a:cubicBezTo>
                      <a:cubicBezTo>
                        <a:pt x="38" y="4"/>
                        <a:pt x="37" y="4"/>
                        <a:pt x="36" y="4"/>
                      </a:cubicBezTo>
                      <a:cubicBezTo>
                        <a:pt x="35" y="4"/>
                        <a:pt x="34" y="4"/>
                        <a:pt x="33" y="5"/>
                      </a:cubicBezTo>
                      <a:cubicBezTo>
                        <a:pt x="31" y="7"/>
                        <a:pt x="30" y="7"/>
                        <a:pt x="32" y="9"/>
                      </a:cubicBezTo>
                      <a:cubicBezTo>
                        <a:pt x="33" y="11"/>
                        <a:pt x="30" y="13"/>
                        <a:pt x="29" y="14"/>
                      </a:cubicBezTo>
                      <a:cubicBezTo>
                        <a:pt x="26" y="17"/>
                        <a:pt x="23" y="19"/>
                        <a:pt x="19" y="20"/>
                      </a:cubicBezTo>
                      <a:cubicBezTo>
                        <a:pt x="21" y="19"/>
                        <a:pt x="21" y="17"/>
                        <a:pt x="22" y="15"/>
                      </a:cubicBezTo>
                      <a:cubicBezTo>
                        <a:pt x="22" y="15"/>
                        <a:pt x="25" y="15"/>
                        <a:pt x="25" y="14"/>
                      </a:cubicBezTo>
                      <a:cubicBezTo>
                        <a:pt x="25" y="12"/>
                        <a:pt x="22" y="11"/>
                        <a:pt x="21" y="10"/>
                      </a:cubicBezTo>
                      <a:cubicBezTo>
                        <a:pt x="25" y="7"/>
                        <a:pt x="25" y="4"/>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89"/>
                <p:cNvSpPr/>
                <p:nvPr/>
              </p:nvSpPr>
              <p:spPr bwMode="auto">
                <a:xfrm>
                  <a:off x="5984628" y="1282421"/>
                  <a:ext cx="95813" cy="51592"/>
                </a:xfrm>
                <a:custGeom>
                  <a:gdLst>
                    <a:gd name="T0" fmla="*/ 21 w 30"/>
                    <a:gd name="T1" fmla="*/ 0 h 17"/>
                    <a:gd name="T2" fmla="*/ 20 w 30"/>
                    <a:gd name="T3" fmla="*/ 1 h 17"/>
                    <a:gd name="T4" fmla="*/ 18 w 30"/>
                    <a:gd name="T5" fmla="*/ 9 h 17"/>
                    <a:gd name="T6" fmla="*/ 17 w 30"/>
                    <a:gd name="T7" fmla="*/ 5 h 17"/>
                    <a:gd name="T8" fmla="*/ 15 w 30"/>
                    <a:gd name="T9" fmla="*/ 5 h 17"/>
                    <a:gd name="T10" fmla="*/ 14 w 30"/>
                    <a:gd name="T11" fmla="*/ 7 h 17"/>
                    <a:gd name="T12" fmla="*/ 14 w 30"/>
                    <a:gd name="T13" fmla="*/ 7 h 17"/>
                    <a:gd name="T14" fmla="*/ 13 w 30"/>
                    <a:gd name="T15" fmla="*/ 6 h 17"/>
                    <a:gd name="T16" fmla="*/ 10 w 30"/>
                    <a:gd name="T17" fmla="*/ 5 h 17"/>
                    <a:gd name="T18" fmla="*/ 9 w 30"/>
                    <a:gd name="T19" fmla="*/ 5 h 17"/>
                    <a:gd name="T20" fmla="*/ 6 w 30"/>
                    <a:gd name="T21" fmla="*/ 9 h 17"/>
                    <a:gd name="T22" fmla="*/ 6 w 30"/>
                    <a:gd name="T23" fmla="*/ 9 h 17"/>
                    <a:gd name="T24" fmla="*/ 8 w 30"/>
                    <a:gd name="T25" fmla="*/ 15 h 17"/>
                    <a:gd name="T26" fmla="*/ 3 w 30"/>
                    <a:gd name="T27" fmla="*/ 13 h 17"/>
                    <a:gd name="T28" fmla="*/ 0 w 30"/>
                    <a:gd name="T29" fmla="*/ 16 h 17"/>
                    <a:gd name="T30" fmla="*/ 15 w 30"/>
                    <a:gd name="T31" fmla="*/ 16 h 17"/>
                    <a:gd name="T32" fmla="*/ 16 w 30"/>
                    <a:gd name="T33" fmla="*/ 16 h 17"/>
                    <a:gd name="T34" fmla="*/ 23 w 30"/>
                    <a:gd name="T35" fmla="*/ 11 h 17"/>
                    <a:gd name="T36" fmla="*/ 29 w 30"/>
                    <a:gd name="T37" fmla="*/ 6 h 17"/>
                    <a:gd name="T38" fmla="*/ 23 w 30"/>
                    <a:gd name="T39" fmla="*/ 2 h 17"/>
                    <a:gd name="T40" fmla="*/ 23 w 30"/>
                    <a:gd name="T41" fmla="*/ 2 h 17"/>
                    <a:gd name="T42" fmla="*/ 21 w 30"/>
                    <a:gd name="T4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17">
                      <a:moveTo>
                        <a:pt x="21" y="0"/>
                      </a:moveTo>
                      <a:cubicBezTo>
                        <a:pt x="21" y="0"/>
                        <a:pt x="20" y="0"/>
                        <a:pt x="20" y="1"/>
                      </a:cubicBezTo>
                      <a:cubicBezTo>
                        <a:pt x="18" y="2"/>
                        <a:pt x="19" y="7"/>
                        <a:pt x="18" y="9"/>
                      </a:cubicBezTo>
                      <a:cubicBezTo>
                        <a:pt x="18" y="7"/>
                        <a:pt x="19" y="5"/>
                        <a:pt x="17" y="5"/>
                      </a:cubicBezTo>
                      <a:cubicBezTo>
                        <a:pt x="16" y="5"/>
                        <a:pt x="16" y="5"/>
                        <a:pt x="15" y="5"/>
                      </a:cubicBezTo>
                      <a:cubicBezTo>
                        <a:pt x="15" y="5"/>
                        <a:pt x="15" y="7"/>
                        <a:pt x="14" y="7"/>
                      </a:cubicBezTo>
                      <a:cubicBezTo>
                        <a:pt x="14" y="7"/>
                        <a:pt x="14" y="7"/>
                        <a:pt x="14" y="7"/>
                      </a:cubicBezTo>
                      <a:cubicBezTo>
                        <a:pt x="13" y="7"/>
                        <a:pt x="14" y="6"/>
                        <a:pt x="13" y="6"/>
                      </a:cubicBezTo>
                      <a:cubicBezTo>
                        <a:pt x="12" y="6"/>
                        <a:pt x="11" y="5"/>
                        <a:pt x="10" y="5"/>
                      </a:cubicBezTo>
                      <a:cubicBezTo>
                        <a:pt x="10" y="5"/>
                        <a:pt x="10" y="5"/>
                        <a:pt x="9" y="5"/>
                      </a:cubicBezTo>
                      <a:cubicBezTo>
                        <a:pt x="8" y="6"/>
                        <a:pt x="9" y="9"/>
                        <a:pt x="6" y="9"/>
                      </a:cubicBezTo>
                      <a:cubicBezTo>
                        <a:pt x="6" y="9"/>
                        <a:pt x="6" y="9"/>
                        <a:pt x="6" y="9"/>
                      </a:cubicBezTo>
                      <a:cubicBezTo>
                        <a:pt x="6" y="11"/>
                        <a:pt x="8" y="13"/>
                        <a:pt x="8" y="15"/>
                      </a:cubicBezTo>
                      <a:cubicBezTo>
                        <a:pt x="7" y="14"/>
                        <a:pt x="5" y="13"/>
                        <a:pt x="3" y="13"/>
                      </a:cubicBezTo>
                      <a:cubicBezTo>
                        <a:pt x="2" y="13"/>
                        <a:pt x="1" y="14"/>
                        <a:pt x="0" y="16"/>
                      </a:cubicBezTo>
                      <a:cubicBezTo>
                        <a:pt x="5" y="17"/>
                        <a:pt x="10" y="16"/>
                        <a:pt x="15" y="16"/>
                      </a:cubicBezTo>
                      <a:cubicBezTo>
                        <a:pt x="15" y="16"/>
                        <a:pt x="16" y="16"/>
                        <a:pt x="16" y="16"/>
                      </a:cubicBezTo>
                      <a:cubicBezTo>
                        <a:pt x="21" y="16"/>
                        <a:pt x="22" y="16"/>
                        <a:pt x="23" y="11"/>
                      </a:cubicBezTo>
                      <a:cubicBezTo>
                        <a:pt x="25" y="10"/>
                        <a:pt x="30" y="8"/>
                        <a:pt x="29" y="6"/>
                      </a:cubicBezTo>
                      <a:cubicBezTo>
                        <a:pt x="29" y="4"/>
                        <a:pt x="25" y="2"/>
                        <a:pt x="23" y="2"/>
                      </a:cubicBezTo>
                      <a:cubicBezTo>
                        <a:pt x="23" y="2"/>
                        <a:pt x="23" y="2"/>
                        <a:pt x="23" y="2"/>
                      </a:cubicBezTo>
                      <a:cubicBezTo>
                        <a:pt x="23" y="1"/>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90"/>
                <p:cNvSpPr/>
                <p:nvPr/>
              </p:nvSpPr>
              <p:spPr bwMode="auto">
                <a:xfrm>
                  <a:off x="5863019" y="1330327"/>
                  <a:ext cx="125294" cy="92128"/>
                </a:xfrm>
                <a:custGeom>
                  <a:gdLst>
                    <a:gd name="T0" fmla="*/ 24 w 40"/>
                    <a:gd name="T1" fmla="*/ 0 h 29"/>
                    <a:gd name="T2" fmla="*/ 28 w 40"/>
                    <a:gd name="T3" fmla="*/ 7 h 29"/>
                    <a:gd name="T4" fmla="*/ 27 w 40"/>
                    <a:gd name="T5" fmla="*/ 7 h 29"/>
                    <a:gd name="T6" fmla="*/ 25 w 40"/>
                    <a:gd name="T7" fmla="*/ 6 h 29"/>
                    <a:gd name="T8" fmla="*/ 24 w 40"/>
                    <a:gd name="T9" fmla="*/ 5 h 29"/>
                    <a:gd name="T10" fmla="*/ 24 w 40"/>
                    <a:gd name="T11" fmla="*/ 5 h 29"/>
                    <a:gd name="T12" fmla="*/ 23 w 40"/>
                    <a:gd name="T13" fmla="*/ 5 h 29"/>
                    <a:gd name="T14" fmla="*/ 21 w 40"/>
                    <a:gd name="T15" fmla="*/ 5 h 29"/>
                    <a:gd name="T16" fmla="*/ 19 w 40"/>
                    <a:gd name="T17" fmla="*/ 5 h 29"/>
                    <a:gd name="T18" fmla="*/ 15 w 40"/>
                    <a:gd name="T19" fmla="*/ 6 h 29"/>
                    <a:gd name="T20" fmla="*/ 23 w 40"/>
                    <a:gd name="T21" fmla="*/ 9 h 29"/>
                    <a:gd name="T22" fmla="*/ 20 w 40"/>
                    <a:gd name="T23" fmla="*/ 11 h 29"/>
                    <a:gd name="T24" fmla="*/ 13 w 40"/>
                    <a:gd name="T25" fmla="*/ 10 h 29"/>
                    <a:gd name="T26" fmla="*/ 7 w 40"/>
                    <a:gd name="T27" fmla="*/ 12 h 29"/>
                    <a:gd name="T28" fmla="*/ 13 w 40"/>
                    <a:gd name="T29" fmla="*/ 18 h 29"/>
                    <a:gd name="T30" fmla="*/ 11 w 40"/>
                    <a:gd name="T31" fmla="*/ 21 h 29"/>
                    <a:gd name="T32" fmla="*/ 5 w 40"/>
                    <a:gd name="T33" fmla="*/ 27 h 29"/>
                    <a:gd name="T34" fmla="*/ 5 w 40"/>
                    <a:gd name="T35" fmla="*/ 27 h 29"/>
                    <a:gd name="T36" fmla="*/ 10 w 40"/>
                    <a:gd name="T37" fmla="*/ 26 h 29"/>
                    <a:gd name="T38" fmla="*/ 12 w 40"/>
                    <a:gd name="T39" fmla="*/ 27 h 29"/>
                    <a:gd name="T40" fmla="*/ 13 w 40"/>
                    <a:gd name="T41" fmla="*/ 29 h 29"/>
                    <a:gd name="T42" fmla="*/ 13 w 40"/>
                    <a:gd name="T43" fmla="*/ 29 h 29"/>
                    <a:gd name="T44" fmla="*/ 15 w 40"/>
                    <a:gd name="T45" fmla="*/ 28 h 29"/>
                    <a:gd name="T46" fmla="*/ 29 w 40"/>
                    <a:gd name="T47" fmla="*/ 23 h 29"/>
                    <a:gd name="T48" fmla="*/ 37 w 40"/>
                    <a:gd name="T49" fmla="*/ 20 h 29"/>
                    <a:gd name="T50" fmla="*/ 38 w 40"/>
                    <a:gd name="T51" fmla="*/ 15 h 29"/>
                    <a:gd name="T52" fmla="*/ 39 w 40"/>
                    <a:gd name="T53" fmla="*/ 8 h 29"/>
                    <a:gd name="T54" fmla="*/ 38 w 40"/>
                    <a:gd name="T55" fmla="*/ 9 h 29"/>
                    <a:gd name="T56" fmla="*/ 39 w 40"/>
                    <a:gd name="T57" fmla="*/ 5 h 29"/>
                    <a:gd name="T58" fmla="*/ 32 w 40"/>
                    <a:gd name="T59" fmla="*/ 1 h 29"/>
                    <a:gd name="T60" fmla="*/ 32 w 40"/>
                    <a:gd name="T61" fmla="*/ 1 h 29"/>
                    <a:gd name="T62" fmla="*/ 32 w 40"/>
                    <a:gd name="T63" fmla="*/ 2 h 29"/>
                    <a:gd name="T64" fmla="*/ 32 w 40"/>
                    <a:gd name="T65" fmla="*/ 3 h 29"/>
                    <a:gd name="T66" fmla="*/ 32 w 40"/>
                    <a:gd name="T67" fmla="*/ 3 h 29"/>
                    <a:gd name="T68" fmla="*/ 30 w 40"/>
                    <a:gd name="T69" fmla="*/ 1 h 29"/>
                    <a:gd name="T70" fmla="*/ 28 w 40"/>
                    <a:gd name="T71" fmla="*/ 1 h 29"/>
                    <a:gd name="T72" fmla="*/ 28 w 40"/>
                    <a:gd name="T73" fmla="*/ 3 h 29"/>
                    <a:gd name="T74" fmla="*/ 24 w 40"/>
                    <a:gd name="T75"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8">
                      <a:moveTo>
                        <a:pt x="24" y="0"/>
                      </a:moveTo>
                      <a:cubicBezTo>
                        <a:pt x="25" y="2"/>
                        <a:pt x="27" y="4"/>
                        <a:pt x="28" y="7"/>
                      </a:cubicBezTo>
                      <a:cubicBezTo>
                        <a:pt x="27" y="7"/>
                        <a:pt x="27" y="7"/>
                        <a:pt x="27" y="7"/>
                      </a:cubicBezTo>
                      <a:cubicBezTo>
                        <a:pt x="26" y="7"/>
                        <a:pt x="26" y="6"/>
                        <a:pt x="25" y="6"/>
                      </a:cubicBezTo>
                      <a:cubicBezTo>
                        <a:pt x="25" y="6"/>
                        <a:pt x="24" y="5"/>
                        <a:pt x="24" y="5"/>
                      </a:cubicBezTo>
                      <a:cubicBezTo>
                        <a:pt x="24" y="5"/>
                        <a:pt x="24" y="5"/>
                        <a:pt x="24" y="5"/>
                      </a:cubicBezTo>
                      <a:cubicBezTo>
                        <a:pt x="24" y="5"/>
                        <a:pt x="24" y="5"/>
                        <a:pt x="23" y="5"/>
                      </a:cubicBezTo>
                      <a:cubicBezTo>
                        <a:pt x="23" y="5"/>
                        <a:pt x="22" y="5"/>
                        <a:pt x="21" y="5"/>
                      </a:cubicBezTo>
                      <a:cubicBezTo>
                        <a:pt x="21" y="5"/>
                        <a:pt x="20" y="5"/>
                        <a:pt x="19" y="5"/>
                      </a:cubicBezTo>
                      <a:cubicBezTo>
                        <a:pt x="18" y="5"/>
                        <a:pt x="16" y="5"/>
                        <a:pt x="15" y="6"/>
                      </a:cubicBezTo>
                      <a:cubicBezTo>
                        <a:pt x="16" y="8"/>
                        <a:pt x="20" y="8"/>
                        <a:pt x="23" y="9"/>
                      </a:cubicBezTo>
                      <a:cubicBezTo>
                        <a:pt x="21" y="9"/>
                        <a:pt x="19" y="9"/>
                        <a:pt x="20" y="11"/>
                      </a:cubicBezTo>
                      <a:cubicBezTo>
                        <a:pt x="19" y="10"/>
                        <a:pt x="16" y="10"/>
                        <a:pt x="13" y="10"/>
                      </a:cubicBezTo>
                      <a:cubicBezTo>
                        <a:pt x="10" y="10"/>
                        <a:pt x="7" y="10"/>
                        <a:pt x="7" y="12"/>
                      </a:cubicBezTo>
                      <a:cubicBezTo>
                        <a:pt x="6" y="16"/>
                        <a:pt x="11" y="17"/>
                        <a:pt x="13" y="18"/>
                      </a:cubicBezTo>
                      <a:cubicBezTo>
                        <a:pt x="8" y="19"/>
                        <a:pt x="3" y="19"/>
                        <a:pt x="11" y="21"/>
                      </a:cubicBezTo>
                      <a:cubicBezTo>
                        <a:pt x="10" y="21"/>
                        <a:pt x="0" y="27"/>
                        <a:pt x="5" y="27"/>
                      </a:cubicBezTo>
                      <a:cubicBezTo>
                        <a:pt x="5" y="27"/>
                        <a:pt x="5" y="27"/>
                        <a:pt x="5" y="27"/>
                      </a:cubicBezTo>
                      <a:cubicBezTo>
                        <a:pt x="7" y="27"/>
                        <a:pt x="8" y="26"/>
                        <a:pt x="10" y="26"/>
                      </a:cubicBezTo>
                      <a:cubicBezTo>
                        <a:pt x="10" y="26"/>
                        <a:pt x="11" y="26"/>
                        <a:pt x="12" y="27"/>
                      </a:cubicBezTo>
                      <a:cubicBezTo>
                        <a:pt x="11" y="29"/>
                        <a:pt x="11" y="29"/>
                        <a:pt x="13" y="29"/>
                      </a:cubicBezTo>
                      <a:cubicBezTo>
                        <a:pt x="13" y="29"/>
                        <a:pt x="13" y="29"/>
                        <a:pt x="13" y="29"/>
                      </a:cubicBezTo>
                      <a:cubicBezTo>
                        <a:pt x="16" y="29"/>
                        <a:pt x="15" y="28"/>
                        <a:pt x="15" y="28"/>
                      </a:cubicBezTo>
                      <a:cubicBezTo>
                        <a:pt x="18" y="26"/>
                        <a:pt x="24" y="24"/>
                        <a:pt x="29" y="23"/>
                      </a:cubicBezTo>
                      <a:cubicBezTo>
                        <a:pt x="32" y="22"/>
                        <a:pt x="34" y="21"/>
                        <a:pt x="37" y="20"/>
                      </a:cubicBezTo>
                      <a:cubicBezTo>
                        <a:pt x="38" y="19"/>
                        <a:pt x="38" y="16"/>
                        <a:pt x="38" y="15"/>
                      </a:cubicBezTo>
                      <a:cubicBezTo>
                        <a:pt x="39" y="14"/>
                        <a:pt x="40" y="8"/>
                        <a:pt x="39" y="8"/>
                      </a:cubicBezTo>
                      <a:cubicBezTo>
                        <a:pt x="39" y="8"/>
                        <a:pt x="38" y="8"/>
                        <a:pt x="38" y="9"/>
                      </a:cubicBezTo>
                      <a:cubicBezTo>
                        <a:pt x="36" y="8"/>
                        <a:pt x="38" y="7"/>
                        <a:pt x="39" y="5"/>
                      </a:cubicBezTo>
                      <a:cubicBezTo>
                        <a:pt x="36" y="4"/>
                        <a:pt x="35" y="1"/>
                        <a:pt x="32" y="1"/>
                      </a:cubicBezTo>
                      <a:cubicBezTo>
                        <a:pt x="32" y="1"/>
                        <a:pt x="32" y="1"/>
                        <a:pt x="32" y="1"/>
                      </a:cubicBezTo>
                      <a:cubicBezTo>
                        <a:pt x="32" y="1"/>
                        <a:pt x="32" y="2"/>
                        <a:pt x="32" y="2"/>
                      </a:cubicBezTo>
                      <a:cubicBezTo>
                        <a:pt x="32" y="3"/>
                        <a:pt x="32" y="3"/>
                        <a:pt x="32" y="3"/>
                      </a:cubicBezTo>
                      <a:cubicBezTo>
                        <a:pt x="32" y="3"/>
                        <a:pt x="32" y="3"/>
                        <a:pt x="32" y="3"/>
                      </a:cubicBezTo>
                      <a:cubicBezTo>
                        <a:pt x="31" y="3"/>
                        <a:pt x="30" y="1"/>
                        <a:pt x="30" y="1"/>
                      </a:cubicBezTo>
                      <a:cubicBezTo>
                        <a:pt x="29" y="1"/>
                        <a:pt x="29" y="1"/>
                        <a:pt x="28" y="1"/>
                      </a:cubicBezTo>
                      <a:cubicBezTo>
                        <a:pt x="28" y="1"/>
                        <a:pt x="28" y="1"/>
                        <a:pt x="28" y="3"/>
                      </a:cubicBezTo>
                      <a:cubicBezTo>
                        <a:pt x="27" y="2"/>
                        <a:pt x="25" y="1"/>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91"/>
                <p:cNvSpPr/>
                <p:nvPr/>
              </p:nvSpPr>
              <p:spPr bwMode="auto">
                <a:xfrm>
                  <a:off x="5107571" y="2214755"/>
                  <a:ext cx="51592" cy="14740"/>
                </a:xfrm>
                <a:custGeom>
                  <a:gdLst>
                    <a:gd name="T0" fmla="*/ 16 w 16"/>
                    <a:gd name="T1" fmla="*/ 0 h 4"/>
                    <a:gd name="T2" fmla="*/ 0 w 16"/>
                    <a:gd name="T3" fmla="*/ 3 h 4"/>
                    <a:gd name="T4" fmla="*/ 3 w 16"/>
                    <a:gd name="T5" fmla="*/ 4 h 4"/>
                    <a:gd name="T6" fmla="*/ 16 w 16"/>
                    <a:gd name="T7" fmla="*/ 0 h 4"/>
                  </a:gdLst>
                  <a:cxnLst>
                    <a:cxn ang="0">
                      <a:pos x="T0" y="T1"/>
                    </a:cxn>
                    <a:cxn ang="0">
                      <a:pos x="T2" y="T3"/>
                    </a:cxn>
                    <a:cxn ang="0">
                      <a:pos x="T4" y="T5"/>
                    </a:cxn>
                    <a:cxn ang="0">
                      <a:pos x="T6" y="T7"/>
                    </a:cxn>
                  </a:cxnLst>
                  <a:rect l="0" t="0" r="r" b="b"/>
                  <a:pathLst>
                    <a:path w="16" h="4">
                      <a:moveTo>
                        <a:pt x="16" y="0"/>
                      </a:moveTo>
                      <a:cubicBezTo>
                        <a:pt x="11" y="1"/>
                        <a:pt x="5" y="1"/>
                        <a:pt x="0" y="3"/>
                      </a:cubicBezTo>
                      <a:cubicBezTo>
                        <a:pt x="1" y="3"/>
                        <a:pt x="2" y="4"/>
                        <a:pt x="3" y="4"/>
                      </a:cubicBezTo>
                      <a:cubicBezTo>
                        <a:pt x="8" y="4"/>
                        <a:pt x="13" y="3"/>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92"/>
                <p:cNvSpPr/>
                <p:nvPr/>
              </p:nvSpPr>
              <p:spPr bwMode="auto">
                <a:xfrm>
                  <a:off x="6334714" y="1127646"/>
                  <a:ext cx="143719" cy="58962"/>
                </a:xfrm>
                <a:custGeom>
                  <a:gdLst>
                    <a:gd name="T0" fmla="*/ 42 w 46"/>
                    <a:gd name="T1" fmla="*/ 0 h 18"/>
                    <a:gd name="T2" fmla="*/ 39 w 46"/>
                    <a:gd name="T3" fmla="*/ 1 h 18"/>
                    <a:gd name="T4" fmla="*/ 25 w 46"/>
                    <a:gd name="T5" fmla="*/ 8 h 18"/>
                    <a:gd name="T6" fmla="*/ 17 w 46"/>
                    <a:gd name="T7" fmla="*/ 8 h 18"/>
                    <a:gd name="T8" fmla="*/ 14 w 46"/>
                    <a:gd name="T9" fmla="*/ 6 h 18"/>
                    <a:gd name="T10" fmla="*/ 13 w 46"/>
                    <a:gd name="T11" fmla="*/ 7 h 18"/>
                    <a:gd name="T12" fmla="*/ 12 w 46"/>
                    <a:gd name="T13" fmla="*/ 9 h 18"/>
                    <a:gd name="T14" fmla="*/ 11 w 46"/>
                    <a:gd name="T15" fmla="*/ 8 h 18"/>
                    <a:gd name="T16" fmla="*/ 10 w 46"/>
                    <a:gd name="T17" fmla="*/ 8 h 18"/>
                    <a:gd name="T18" fmla="*/ 7 w 46"/>
                    <a:gd name="T19" fmla="*/ 10 h 18"/>
                    <a:gd name="T20" fmla="*/ 7 w 46"/>
                    <a:gd name="T21" fmla="*/ 10 h 18"/>
                    <a:gd name="T22" fmla="*/ 5 w 46"/>
                    <a:gd name="T23" fmla="*/ 9 h 18"/>
                    <a:gd name="T24" fmla="*/ 3 w 46"/>
                    <a:gd name="T25" fmla="*/ 8 h 18"/>
                    <a:gd name="T26" fmla="*/ 2 w 46"/>
                    <a:gd name="T27" fmla="*/ 9 h 18"/>
                    <a:gd name="T28" fmla="*/ 6 w 46"/>
                    <a:gd name="T29" fmla="*/ 18 h 18"/>
                    <a:gd name="T30" fmla="*/ 20 w 46"/>
                    <a:gd name="T31" fmla="*/ 16 h 18"/>
                    <a:gd name="T32" fmla="*/ 22 w 46"/>
                    <a:gd name="T33" fmla="*/ 14 h 18"/>
                    <a:gd name="T34" fmla="*/ 23 w 46"/>
                    <a:gd name="T35" fmla="*/ 16 h 18"/>
                    <a:gd name="T36" fmla="*/ 24 w 46"/>
                    <a:gd name="T37" fmla="*/ 15 h 18"/>
                    <a:gd name="T38" fmla="*/ 27 w 46"/>
                    <a:gd name="T39" fmla="*/ 16 h 18"/>
                    <a:gd name="T40" fmla="*/ 29 w 46"/>
                    <a:gd name="T41" fmla="*/ 15 h 18"/>
                    <a:gd name="T42" fmla="*/ 31 w 46"/>
                    <a:gd name="T43" fmla="*/ 14 h 18"/>
                    <a:gd name="T44" fmla="*/ 34 w 46"/>
                    <a:gd name="T45" fmla="*/ 13 h 18"/>
                    <a:gd name="T46" fmla="*/ 38 w 46"/>
                    <a:gd name="T47" fmla="*/ 8 h 18"/>
                    <a:gd name="T48" fmla="*/ 42 w 46"/>
                    <a:gd name="T49" fmla="*/ 5 h 18"/>
                    <a:gd name="T50" fmla="*/ 42 w 46"/>
                    <a:gd name="T51" fmla="*/ 5 h 18"/>
                    <a:gd name="T52" fmla="*/ 45 w 46"/>
                    <a:gd name="T53" fmla="*/ 3 h 18"/>
                    <a:gd name="T54" fmla="*/ 42 w 46"/>
                    <a:gd name="T5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18">
                      <a:moveTo>
                        <a:pt x="42" y="0"/>
                      </a:moveTo>
                      <a:cubicBezTo>
                        <a:pt x="41" y="0"/>
                        <a:pt x="40" y="0"/>
                        <a:pt x="39" y="1"/>
                      </a:cubicBezTo>
                      <a:cubicBezTo>
                        <a:pt x="35" y="7"/>
                        <a:pt x="31" y="8"/>
                        <a:pt x="25" y="8"/>
                      </a:cubicBezTo>
                      <a:cubicBezTo>
                        <a:pt x="23" y="8"/>
                        <a:pt x="20" y="8"/>
                        <a:pt x="17" y="8"/>
                      </a:cubicBezTo>
                      <a:cubicBezTo>
                        <a:pt x="16" y="6"/>
                        <a:pt x="15" y="6"/>
                        <a:pt x="14" y="6"/>
                      </a:cubicBezTo>
                      <a:cubicBezTo>
                        <a:pt x="14" y="6"/>
                        <a:pt x="13" y="7"/>
                        <a:pt x="13" y="7"/>
                      </a:cubicBezTo>
                      <a:cubicBezTo>
                        <a:pt x="13" y="8"/>
                        <a:pt x="12" y="9"/>
                        <a:pt x="12" y="9"/>
                      </a:cubicBezTo>
                      <a:cubicBezTo>
                        <a:pt x="12" y="9"/>
                        <a:pt x="11" y="9"/>
                        <a:pt x="11" y="8"/>
                      </a:cubicBezTo>
                      <a:cubicBezTo>
                        <a:pt x="10" y="8"/>
                        <a:pt x="10" y="8"/>
                        <a:pt x="10" y="8"/>
                      </a:cubicBezTo>
                      <a:cubicBezTo>
                        <a:pt x="9" y="8"/>
                        <a:pt x="8" y="9"/>
                        <a:pt x="7" y="10"/>
                      </a:cubicBezTo>
                      <a:cubicBezTo>
                        <a:pt x="7" y="10"/>
                        <a:pt x="7" y="10"/>
                        <a:pt x="7" y="10"/>
                      </a:cubicBezTo>
                      <a:cubicBezTo>
                        <a:pt x="7" y="10"/>
                        <a:pt x="6" y="9"/>
                        <a:pt x="5" y="9"/>
                      </a:cubicBezTo>
                      <a:cubicBezTo>
                        <a:pt x="4" y="9"/>
                        <a:pt x="3" y="8"/>
                        <a:pt x="3" y="8"/>
                      </a:cubicBezTo>
                      <a:cubicBezTo>
                        <a:pt x="3" y="8"/>
                        <a:pt x="2" y="8"/>
                        <a:pt x="2" y="9"/>
                      </a:cubicBezTo>
                      <a:cubicBezTo>
                        <a:pt x="0" y="10"/>
                        <a:pt x="8" y="16"/>
                        <a:pt x="6" y="18"/>
                      </a:cubicBezTo>
                      <a:cubicBezTo>
                        <a:pt x="10" y="18"/>
                        <a:pt x="17" y="17"/>
                        <a:pt x="20" y="16"/>
                      </a:cubicBezTo>
                      <a:cubicBezTo>
                        <a:pt x="21" y="16"/>
                        <a:pt x="22" y="14"/>
                        <a:pt x="22" y="14"/>
                      </a:cubicBezTo>
                      <a:cubicBezTo>
                        <a:pt x="23" y="14"/>
                        <a:pt x="23" y="15"/>
                        <a:pt x="23" y="16"/>
                      </a:cubicBezTo>
                      <a:cubicBezTo>
                        <a:pt x="23" y="16"/>
                        <a:pt x="24" y="15"/>
                        <a:pt x="24" y="15"/>
                      </a:cubicBezTo>
                      <a:cubicBezTo>
                        <a:pt x="25" y="15"/>
                        <a:pt x="26" y="16"/>
                        <a:pt x="27" y="16"/>
                      </a:cubicBezTo>
                      <a:cubicBezTo>
                        <a:pt x="27" y="16"/>
                        <a:pt x="28" y="16"/>
                        <a:pt x="29" y="15"/>
                      </a:cubicBezTo>
                      <a:cubicBezTo>
                        <a:pt x="30" y="15"/>
                        <a:pt x="30" y="14"/>
                        <a:pt x="31" y="14"/>
                      </a:cubicBezTo>
                      <a:cubicBezTo>
                        <a:pt x="32" y="13"/>
                        <a:pt x="34" y="13"/>
                        <a:pt x="34" y="13"/>
                      </a:cubicBezTo>
                      <a:cubicBezTo>
                        <a:pt x="35" y="12"/>
                        <a:pt x="36" y="9"/>
                        <a:pt x="38" y="8"/>
                      </a:cubicBezTo>
                      <a:cubicBezTo>
                        <a:pt x="39" y="6"/>
                        <a:pt x="41" y="7"/>
                        <a:pt x="42" y="5"/>
                      </a:cubicBezTo>
                      <a:cubicBezTo>
                        <a:pt x="42" y="5"/>
                        <a:pt x="42" y="5"/>
                        <a:pt x="42" y="5"/>
                      </a:cubicBezTo>
                      <a:cubicBezTo>
                        <a:pt x="43" y="5"/>
                        <a:pt x="45" y="4"/>
                        <a:pt x="45" y="3"/>
                      </a:cubicBezTo>
                      <a:cubicBezTo>
                        <a:pt x="46" y="1"/>
                        <a:pt x="44"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93"/>
                <p:cNvSpPr/>
                <p:nvPr/>
              </p:nvSpPr>
              <p:spPr bwMode="auto">
                <a:xfrm>
                  <a:off x="6117292" y="1223459"/>
                  <a:ext cx="58962" cy="29481"/>
                </a:xfrm>
                <a:custGeom>
                  <a:gdLst>
                    <a:gd name="T0" fmla="*/ 2 w 19"/>
                    <a:gd name="T1" fmla="*/ 0 h 9"/>
                    <a:gd name="T2" fmla="*/ 0 w 19"/>
                    <a:gd name="T3" fmla="*/ 0 h 9"/>
                    <a:gd name="T4" fmla="*/ 5 w 19"/>
                    <a:gd name="T5" fmla="*/ 6 h 9"/>
                    <a:gd name="T6" fmla="*/ 7 w 19"/>
                    <a:gd name="T7" fmla="*/ 9 h 9"/>
                    <a:gd name="T8" fmla="*/ 11 w 19"/>
                    <a:gd name="T9" fmla="*/ 9 h 9"/>
                    <a:gd name="T10" fmla="*/ 14 w 19"/>
                    <a:gd name="T11" fmla="*/ 9 h 9"/>
                    <a:gd name="T12" fmla="*/ 13 w 19"/>
                    <a:gd name="T13" fmla="*/ 4 h 9"/>
                    <a:gd name="T14" fmla="*/ 2 w 19"/>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
                      <a:moveTo>
                        <a:pt x="2" y="0"/>
                      </a:moveTo>
                      <a:cubicBezTo>
                        <a:pt x="1" y="0"/>
                        <a:pt x="1" y="0"/>
                        <a:pt x="0" y="0"/>
                      </a:cubicBezTo>
                      <a:cubicBezTo>
                        <a:pt x="3" y="2"/>
                        <a:pt x="4" y="3"/>
                        <a:pt x="5" y="6"/>
                      </a:cubicBezTo>
                      <a:cubicBezTo>
                        <a:pt x="6" y="7"/>
                        <a:pt x="5" y="9"/>
                        <a:pt x="7" y="9"/>
                      </a:cubicBezTo>
                      <a:cubicBezTo>
                        <a:pt x="8" y="9"/>
                        <a:pt x="9" y="9"/>
                        <a:pt x="11" y="9"/>
                      </a:cubicBezTo>
                      <a:cubicBezTo>
                        <a:pt x="12" y="9"/>
                        <a:pt x="13" y="9"/>
                        <a:pt x="14" y="9"/>
                      </a:cubicBezTo>
                      <a:cubicBezTo>
                        <a:pt x="19" y="6"/>
                        <a:pt x="17" y="6"/>
                        <a:pt x="13" y="4"/>
                      </a:cubicBezTo>
                      <a:cubicBezTo>
                        <a:pt x="10" y="2"/>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94"/>
                <p:cNvSpPr/>
                <p:nvPr/>
              </p:nvSpPr>
              <p:spPr bwMode="auto">
                <a:xfrm>
                  <a:off x="4838557" y="2741727"/>
                  <a:ext cx="22111" cy="18426"/>
                </a:xfrm>
                <a:custGeom>
                  <a:gdLst>
                    <a:gd name="T0" fmla="*/ 0 w 7"/>
                    <a:gd name="T1" fmla="*/ 0 h 6"/>
                    <a:gd name="T2" fmla="*/ 0 w 7"/>
                    <a:gd name="T3" fmla="*/ 5 h 6"/>
                    <a:gd name="T4" fmla="*/ 6 w 7"/>
                    <a:gd name="T5" fmla="*/ 6 h 6"/>
                    <a:gd name="T6" fmla="*/ 7 w 7"/>
                    <a:gd name="T7" fmla="*/ 6 h 6"/>
                    <a:gd name="T8" fmla="*/ 0 w 7"/>
                    <a:gd name="T9" fmla="*/ 0 h 6"/>
                  </a:gdLst>
                  <a:cxnLst>
                    <a:cxn ang="0">
                      <a:pos x="T0" y="T1"/>
                    </a:cxn>
                    <a:cxn ang="0">
                      <a:pos x="T2" y="T3"/>
                    </a:cxn>
                    <a:cxn ang="0">
                      <a:pos x="T4" y="T5"/>
                    </a:cxn>
                    <a:cxn ang="0">
                      <a:pos x="T6" y="T7"/>
                    </a:cxn>
                    <a:cxn ang="0">
                      <a:pos x="T8" y="T9"/>
                    </a:cxn>
                  </a:cxnLst>
                  <a:rect l="0" t="0" r="r" b="b"/>
                  <a:pathLst>
                    <a:path w="7" h="6">
                      <a:moveTo>
                        <a:pt x="0" y="0"/>
                      </a:moveTo>
                      <a:cubicBezTo>
                        <a:pt x="0" y="1"/>
                        <a:pt x="0" y="3"/>
                        <a:pt x="0" y="5"/>
                      </a:cubicBezTo>
                      <a:cubicBezTo>
                        <a:pt x="2" y="6"/>
                        <a:pt x="4" y="6"/>
                        <a:pt x="6" y="6"/>
                      </a:cubicBezTo>
                      <a:cubicBezTo>
                        <a:pt x="7" y="6"/>
                        <a:pt x="7" y="6"/>
                        <a:pt x="7" y="6"/>
                      </a:cubicBezTo>
                      <a:cubicBezTo>
                        <a:pt x="6" y="2"/>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95"/>
                <p:cNvSpPr/>
                <p:nvPr/>
              </p:nvSpPr>
              <p:spPr bwMode="auto">
                <a:xfrm>
                  <a:off x="5063349" y="2251606"/>
                  <a:ext cx="33166" cy="18426"/>
                </a:xfrm>
                <a:custGeom>
                  <a:gdLst>
                    <a:gd name="T0" fmla="*/ 8 w 11"/>
                    <a:gd name="T1" fmla="*/ 0 h 5"/>
                    <a:gd name="T2" fmla="*/ 5 w 11"/>
                    <a:gd name="T3" fmla="*/ 1 h 5"/>
                    <a:gd name="T4" fmla="*/ 0 w 11"/>
                    <a:gd name="T5" fmla="*/ 3 h 5"/>
                    <a:gd name="T6" fmla="*/ 11 w 11"/>
                    <a:gd name="T7" fmla="*/ 5 h 5"/>
                    <a:gd name="T8" fmla="*/ 8 w 11"/>
                    <a:gd name="T9" fmla="*/ 0 h 5"/>
                  </a:gdLst>
                  <a:cxnLst>
                    <a:cxn ang="0">
                      <a:pos x="T0" y="T1"/>
                    </a:cxn>
                    <a:cxn ang="0">
                      <a:pos x="T2" y="T3"/>
                    </a:cxn>
                    <a:cxn ang="0">
                      <a:pos x="T4" y="T5"/>
                    </a:cxn>
                    <a:cxn ang="0">
                      <a:pos x="T6" y="T7"/>
                    </a:cxn>
                    <a:cxn ang="0">
                      <a:pos x="T8" y="T9"/>
                    </a:cxn>
                  </a:cxnLst>
                  <a:rect l="0" t="0" r="r" b="b"/>
                  <a:pathLst>
                    <a:path w="11" h="5">
                      <a:moveTo>
                        <a:pt x="8" y="0"/>
                      </a:moveTo>
                      <a:cubicBezTo>
                        <a:pt x="7" y="0"/>
                        <a:pt x="6" y="1"/>
                        <a:pt x="5" y="1"/>
                      </a:cubicBezTo>
                      <a:cubicBezTo>
                        <a:pt x="4" y="1"/>
                        <a:pt x="2" y="2"/>
                        <a:pt x="0" y="3"/>
                      </a:cubicBezTo>
                      <a:cubicBezTo>
                        <a:pt x="4" y="4"/>
                        <a:pt x="8" y="4"/>
                        <a:pt x="11" y="5"/>
                      </a:cubicBezTo>
                      <a:cubicBezTo>
                        <a:pt x="10" y="2"/>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96"/>
                <p:cNvSpPr/>
                <p:nvPr/>
              </p:nvSpPr>
              <p:spPr bwMode="auto">
                <a:xfrm>
                  <a:off x="5111256" y="2229496"/>
                  <a:ext cx="84758" cy="29481"/>
                </a:xfrm>
                <a:custGeom>
                  <a:gdLst>
                    <a:gd name="T0" fmla="*/ 18 w 27"/>
                    <a:gd name="T1" fmla="*/ 0 h 10"/>
                    <a:gd name="T2" fmla="*/ 0 w 27"/>
                    <a:gd name="T3" fmla="*/ 8 h 10"/>
                    <a:gd name="T4" fmla="*/ 5 w 27"/>
                    <a:gd name="T5" fmla="*/ 10 h 10"/>
                    <a:gd name="T6" fmla="*/ 18 w 27"/>
                    <a:gd name="T7" fmla="*/ 7 h 10"/>
                    <a:gd name="T8" fmla="*/ 21 w 27"/>
                    <a:gd name="T9" fmla="*/ 1 h 10"/>
                    <a:gd name="T10" fmla="*/ 18 w 27"/>
                    <a:gd name="T11" fmla="*/ 0 h 10"/>
                  </a:gdLst>
                  <a:cxnLst>
                    <a:cxn ang="0">
                      <a:pos x="T0" y="T1"/>
                    </a:cxn>
                    <a:cxn ang="0">
                      <a:pos x="T2" y="T3"/>
                    </a:cxn>
                    <a:cxn ang="0">
                      <a:pos x="T4" y="T5"/>
                    </a:cxn>
                    <a:cxn ang="0">
                      <a:pos x="T6" y="T7"/>
                    </a:cxn>
                    <a:cxn ang="0">
                      <a:pos x="T8" y="T9"/>
                    </a:cxn>
                    <a:cxn ang="0">
                      <a:pos x="T10" y="T11"/>
                    </a:cxn>
                  </a:cxnLst>
                  <a:rect l="0" t="0" r="r" b="b"/>
                  <a:pathLst>
                    <a:path w="27" h="10">
                      <a:moveTo>
                        <a:pt x="18" y="0"/>
                      </a:moveTo>
                      <a:cubicBezTo>
                        <a:pt x="12" y="0"/>
                        <a:pt x="4" y="6"/>
                        <a:pt x="0" y="8"/>
                      </a:cubicBezTo>
                      <a:cubicBezTo>
                        <a:pt x="1" y="9"/>
                        <a:pt x="3" y="10"/>
                        <a:pt x="5" y="10"/>
                      </a:cubicBezTo>
                      <a:cubicBezTo>
                        <a:pt x="10" y="10"/>
                        <a:pt x="14" y="8"/>
                        <a:pt x="18" y="7"/>
                      </a:cubicBezTo>
                      <a:cubicBezTo>
                        <a:pt x="22" y="6"/>
                        <a:pt x="27" y="4"/>
                        <a:pt x="21" y="1"/>
                      </a:cubicBezTo>
                      <a:cubicBezTo>
                        <a:pt x="20" y="1"/>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97"/>
                <p:cNvSpPr/>
                <p:nvPr/>
              </p:nvSpPr>
              <p:spPr bwMode="auto">
                <a:xfrm>
                  <a:off x="6375250" y="1201348"/>
                  <a:ext cx="58962" cy="22111"/>
                </a:xfrm>
                <a:custGeom>
                  <a:gdLst>
                    <a:gd name="T0" fmla="*/ 4 w 19"/>
                    <a:gd name="T1" fmla="*/ 0 h 7"/>
                    <a:gd name="T2" fmla="*/ 4 w 19"/>
                    <a:gd name="T3" fmla="*/ 2 h 7"/>
                    <a:gd name="T4" fmla="*/ 0 w 19"/>
                    <a:gd name="T5" fmla="*/ 2 h 7"/>
                    <a:gd name="T6" fmla="*/ 14 w 19"/>
                    <a:gd name="T7" fmla="*/ 7 h 7"/>
                    <a:gd name="T8" fmla="*/ 19 w 19"/>
                    <a:gd name="T9" fmla="*/ 5 h 7"/>
                    <a:gd name="T10" fmla="*/ 4 w 19"/>
                    <a:gd name="T11" fmla="*/ 0 h 7"/>
                  </a:gdLst>
                  <a:cxnLst>
                    <a:cxn ang="0">
                      <a:pos x="T0" y="T1"/>
                    </a:cxn>
                    <a:cxn ang="0">
                      <a:pos x="T2" y="T3"/>
                    </a:cxn>
                    <a:cxn ang="0">
                      <a:pos x="T4" y="T5"/>
                    </a:cxn>
                    <a:cxn ang="0">
                      <a:pos x="T6" y="T7"/>
                    </a:cxn>
                    <a:cxn ang="0">
                      <a:pos x="T8" y="T9"/>
                    </a:cxn>
                    <a:cxn ang="0">
                      <a:pos x="T10" y="T11"/>
                    </a:cxn>
                  </a:cxnLst>
                  <a:rect l="0" t="0" r="r" b="b"/>
                  <a:pathLst>
                    <a:path w="19" h="7">
                      <a:moveTo>
                        <a:pt x="4" y="0"/>
                      </a:moveTo>
                      <a:cubicBezTo>
                        <a:pt x="4" y="1"/>
                        <a:pt x="4" y="2"/>
                        <a:pt x="4" y="2"/>
                      </a:cubicBezTo>
                      <a:cubicBezTo>
                        <a:pt x="2" y="2"/>
                        <a:pt x="1" y="2"/>
                        <a:pt x="0" y="2"/>
                      </a:cubicBezTo>
                      <a:cubicBezTo>
                        <a:pt x="3" y="4"/>
                        <a:pt x="9" y="7"/>
                        <a:pt x="14" y="7"/>
                      </a:cubicBezTo>
                      <a:cubicBezTo>
                        <a:pt x="16" y="7"/>
                        <a:pt x="17" y="6"/>
                        <a:pt x="19" y="5"/>
                      </a:cubicBezTo>
                      <a:cubicBezTo>
                        <a:pt x="17"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98"/>
                <p:cNvSpPr/>
                <p:nvPr/>
              </p:nvSpPr>
              <p:spPr bwMode="auto">
                <a:xfrm>
                  <a:off x="4886464" y="2402696"/>
                  <a:ext cx="18426" cy="22111"/>
                </a:xfrm>
                <a:custGeom>
                  <a:gdLst>
                    <a:gd name="T0" fmla="*/ 2 w 6"/>
                    <a:gd name="T1" fmla="*/ 0 h 7"/>
                    <a:gd name="T2" fmla="*/ 0 w 6"/>
                    <a:gd name="T3" fmla="*/ 1 h 7"/>
                    <a:gd name="T4" fmla="*/ 1 w 6"/>
                    <a:gd name="T5" fmla="*/ 7 h 7"/>
                    <a:gd name="T6" fmla="*/ 2 w 6"/>
                    <a:gd name="T7" fmla="*/ 7 h 7"/>
                    <a:gd name="T8" fmla="*/ 6 w 6"/>
                    <a:gd name="T9" fmla="*/ 1 h 7"/>
                    <a:gd name="T10" fmla="*/ 2 w 6"/>
                    <a:gd name="T11" fmla="*/ 0 h 7"/>
                  </a:gdLst>
                  <a:cxnLst>
                    <a:cxn ang="0">
                      <a:pos x="T0" y="T1"/>
                    </a:cxn>
                    <a:cxn ang="0">
                      <a:pos x="T2" y="T3"/>
                    </a:cxn>
                    <a:cxn ang="0">
                      <a:pos x="T4" y="T5"/>
                    </a:cxn>
                    <a:cxn ang="0">
                      <a:pos x="T6" y="T7"/>
                    </a:cxn>
                    <a:cxn ang="0">
                      <a:pos x="T8" y="T9"/>
                    </a:cxn>
                    <a:cxn ang="0">
                      <a:pos x="T10" y="T11"/>
                    </a:cxn>
                  </a:cxnLst>
                  <a:rect l="0" t="0" r="r" b="b"/>
                  <a:pathLst>
                    <a:path w="6" h="7">
                      <a:moveTo>
                        <a:pt x="2" y="0"/>
                      </a:moveTo>
                      <a:cubicBezTo>
                        <a:pt x="2" y="0"/>
                        <a:pt x="1" y="1"/>
                        <a:pt x="0" y="1"/>
                      </a:cubicBezTo>
                      <a:cubicBezTo>
                        <a:pt x="0" y="2"/>
                        <a:pt x="0" y="6"/>
                        <a:pt x="1" y="7"/>
                      </a:cubicBezTo>
                      <a:cubicBezTo>
                        <a:pt x="1" y="7"/>
                        <a:pt x="2" y="7"/>
                        <a:pt x="2" y="7"/>
                      </a:cubicBezTo>
                      <a:cubicBezTo>
                        <a:pt x="4" y="7"/>
                        <a:pt x="5" y="3"/>
                        <a:pt x="6" y="1"/>
                      </a:cubicBezTo>
                      <a:cubicBezTo>
                        <a:pt x="5"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99"/>
                <p:cNvSpPr/>
                <p:nvPr/>
              </p:nvSpPr>
              <p:spPr bwMode="auto">
                <a:xfrm>
                  <a:off x="5575580" y="1525639"/>
                  <a:ext cx="62647" cy="40536"/>
                </a:xfrm>
                <a:custGeom>
                  <a:gdLst>
                    <a:gd name="T0" fmla="*/ 14 w 20"/>
                    <a:gd name="T1" fmla="*/ 0 h 13"/>
                    <a:gd name="T2" fmla="*/ 13 w 20"/>
                    <a:gd name="T3" fmla="*/ 1 h 13"/>
                    <a:gd name="T4" fmla="*/ 10 w 20"/>
                    <a:gd name="T5" fmla="*/ 3 h 13"/>
                    <a:gd name="T6" fmla="*/ 4 w 20"/>
                    <a:gd name="T7" fmla="*/ 5 h 13"/>
                    <a:gd name="T8" fmla="*/ 6 w 20"/>
                    <a:gd name="T9" fmla="*/ 6 h 13"/>
                    <a:gd name="T10" fmla="*/ 3 w 20"/>
                    <a:gd name="T11" fmla="*/ 13 h 13"/>
                    <a:gd name="T12" fmla="*/ 5 w 20"/>
                    <a:gd name="T13" fmla="*/ 11 h 13"/>
                    <a:gd name="T14" fmla="*/ 6 w 20"/>
                    <a:gd name="T15" fmla="*/ 12 h 13"/>
                    <a:gd name="T16" fmla="*/ 8 w 20"/>
                    <a:gd name="T17" fmla="*/ 12 h 13"/>
                    <a:gd name="T18" fmla="*/ 10 w 20"/>
                    <a:gd name="T19" fmla="*/ 11 h 13"/>
                    <a:gd name="T20" fmla="*/ 20 w 20"/>
                    <a:gd name="T21" fmla="*/ 4 h 13"/>
                    <a:gd name="T22" fmla="*/ 18 w 20"/>
                    <a:gd name="T23" fmla="*/ 3 h 13"/>
                    <a:gd name="T24" fmla="*/ 18 w 20"/>
                    <a:gd name="T25" fmla="*/ 3 h 13"/>
                    <a:gd name="T26" fmla="*/ 18 w 20"/>
                    <a:gd name="T27" fmla="*/ 3 h 13"/>
                    <a:gd name="T28" fmla="*/ 17 w 20"/>
                    <a:gd name="T29" fmla="*/ 2 h 13"/>
                    <a:gd name="T30" fmla="*/ 16 w 20"/>
                    <a:gd name="T31" fmla="*/ 2 h 13"/>
                    <a:gd name="T32" fmla="*/ 16 w 20"/>
                    <a:gd name="T33" fmla="*/ 2 h 13"/>
                    <a:gd name="T34" fmla="*/ 14 w 20"/>
                    <a:gd name="T3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3">
                      <a:moveTo>
                        <a:pt x="14" y="0"/>
                      </a:moveTo>
                      <a:cubicBezTo>
                        <a:pt x="14" y="0"/>
                        <a:pt x="14" y="0"/>
                        <a:pt x="13" y="1"/>
                      </a:cubicBezTo>
                      <a:cubicBezTo>
                        <a:pt x="12" y="1"/>
                        <a:pt x="11" y="2"/>
                        <a:pt x="10" y="3"/>
                      </a:cubicBezTo>
                      <a:cubicBezTo>
                        <a:pt x="8" y="4"/>
                        <a:pt x="6" y="4"/>
                        <a:pt x="4" y="5"/>
                      </a:cubicBezTo>
                      <a:cubicBezTo>
                        <a:pt x="4" y="5"/>
                        <a:pt x="5" y="5"/>
                        <a:pt x="6" y="6"/>
                      </a:cubicBezTo>
                      <a:cubicBezTo>
                        <a:pt x="1" y="7"/>
                        <a:pt x="0" y="9"/>
                        <a:pt x="3" y="13"/>
                      </a:cubicBezTo>
                      <a:cubicBezTo>
                        <a:pt x="3" y="12"/>
                        <a:pt x="4" y="11"/>
                        <a:pt x="5" y="11"/>
                      </a:cubicBezTo>
                      <a:cubicBezTo>
                        <a:pt x="5" y="11"/>
                        <a:pt x="6" y="12"/>
                        <a:pt x="6" y="12"/>
                      </a:cubicBezTo>
                      <a:cubicBezTo>
                        <a:pt x="7" y="12"/>
                        <a:pt x="8" y="12"/>
                        <a:pt x="8" y="12"/>
                      </a:cubicBezTo>
                      <a:cubicBezTo>
                        <a:pt x="9" y="12"/>
                        <a:pt x="9" y="12"/>
                        <a:pt x="10" y="11"/>
                      </a:cubicBezTo>
                      <a:cubicBezTo>
                        <a:pt x="13" y="10"/>
                        <a:pt x="17" y="7"/>
                        <a:pt x="20" y="4"/>
                      </a:cubicBezTo>
                      <a:cubicBezTo>
                        <a:pt x="20" y="4"/>
                        <a:pt x="18" y="3"/>
                        <a:pt x="18" y="3"/>
                      </a:cubicBezTo>
                      <a:cubicBezTo>
                        <a:pt x="18" y="3"/>
                        <a:pt x="18" y="3"/>
                        <a:pt x="18" y="3"/>
                      </a:cubicBezTo>
                      <a:cubicBezTo>
                        <a:pt x="18" y="3"/>
                        <a:pt x="18" y="3"/>
                        <a:pt x="18" y="3"/>
                      </a:cubicBezTo>
                      <a:cubicBezTo>
                        <a:pt x="18" y="3"/>
                        <a:pt x="17" y="3"/>
                        <a:pt x="17" y="2"/>
                      </a:cubicBezTo>
                      <a:cubicBezTo>
                        <a:pt x="16" y="2"/>
                        <a:pt x="16" y="2"/>
                        <a:pt x="16" y="2"/>
                      </a:cubicBezTo>
                      <a:cubicBezTo>
                        <a:pt x="16" y="2"/>
                        <a:pt x="16" y="2"/>
                        <a:pt x="16" y="2"/>
                      </a:cubicBezTo>
                      <a:cubicBezTo>
                        <a:pt x="15" y="1"/>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100"/>
                <p:cNvSpPr/>
                <p:nvPr/>
              </p:nvSpPr>
              <p:spPr bwMode="auto">
                <a:xfrm>
                  <a:off x="5516618" y="1562490"/>
                  <a:ext cx="36851" cy="44221"/>
                </a:xfrm>
                <a:custGeom>
                  <a:gdLst>
                    <a:gd name="T0" fmla="*/ 8 w 11"/>
                    <a:gd name="T1" fmla="*/ 0 h 14"/>
                    <a:gd name="T2" fmla="*/ 5 w 11"/>
                    <a:gd name="T3" fmla="*/ 5 h 14"/>
                    <a:gd name="T4" fmla="*/ 0 w 11"/>
                    <a:gd name="T5" fmla="*/ 14 h 14"/>
                    <a:gd name="T6" fmla="*/ 9 w 11"/>
                    <a:gd name="T7" fmla="*/ 8 h 14"/>
                    <a:gd name="T8" fmla="*/ 8 w 11"/>
                    <a:gd name="T9" fmla="*/ 4 h 14"/>
                    <a:gd name="T10" fmla="*/ 9 w 11"/>
                    <a:gd name="T11" fmla="*/ 1 h 14"/>
                    <a:gd name="T12" fmla="*/ 8 w 11"/>
                    <a:gd name="T13" fmla="*/ 0 h 14"/>
                  </a:gdLst>
                  <a:cxnLst>
                    <a:cxn ang="0">
                      <a:pos x="T0" y="T1"/>
                    </a:cxn>
                    <a:cxn ang="0">
                      <a:pos x="T2" y="T3"/>
                    </a:cxn>
                    <a:cxn ang="0">
                      <a:pos x="T4" y="T5"/>
                    </a:cxn>
                    <a:cxn ang="0">
                      <a:pos x="T6" y="T7"/>
                    </a:cxn>
                    <a:cxn ang="0">
                      <a:pos x="T8" y="T9"/>
                    </a:cxn>
                    <a:cxn ang="0">
                      <a:pos x="T10" y="T11"/>
                    </a:cxn>
                    <a:cxn ang="0">
                      <a:pos x="T12" y="T13"/>
                    </a:cxn>
                  </a:cxnLst>
                  <a:rect l="0" t="0" r="r" b="b"/>
                  <a:pathLst>
                    <a:path w="11" h="14">
                      <a:moveTo>
                        <a:pt x="8" y="0"/>
                      </a:moveTo>
                      <a:cubicBezTo>
                        <a:pt x="7" y="0"/>
                        <a:pt x="5" y="4"/>
                        <a:pt x="5" y="5"/>
                      </a:cubicBezTo>
                      <a:cubicBezTo>
                        <a:pt x="3" y="7"/>
                        <a:pt x="0" y="11"/>
                        <a:pt x="0" y="14"/>
                      </a:cubicBezTo>
                      <a:cubicBezTo>
                        <a:pt x="3" y="14"/>
                        <a:pt x="7" y="11"/>
                        <a:pt x="9" y="8"/>
                      </a:cubicBezTo>
                      <a:cubicBezTo>
                        <a:pt x="11" y="6"/>
                        <a:pt x="7" y="6"/>
                        <a:pt x="8" y="4"/>
                      </a:cubicBezTo>
                      <a:cubicBezTo>
                        <a:pt x="8" y="3"/>
                        <a:pt x="9" y="2"/>
                        <a:pt x="9" y="1"/>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101"/>
                <p:cNvSpPr/>
                <p:nvPr/>
              </p:nvSpPr>
              <p:spPr bwMode="auto">
                <a:xfrm>
                  <a:off x="6489489" y="1146072"/>
                  <a:ext cx="44221" cy="29481"/>
                </a:xfrm>
                <a:custGeom>
                  <a:gdLst>
                    <a:gd name="T0" fmla="*/ 3 w 14"/>
                    <a:gd name="T1" fmla="*/ 0 h 10"/>
                    <a:gd name="T2" fmla="*/ 2 w 14"/>
                    <a:gd name="T3" fmla="*/ 9 h 10"/>
                    <a:gd name="T4" fmla="*/ 9 w 14"/>
                    <a:gd name="T5" fmla="*/ 10 h 10"/>
                    <a:gd name="T6" fmla="*/ 12 w 14"/>
                    <a:gd name="T7" fmla="*/ 9 h 10"/>
                    <a:gd name="T8" fmla="*/ 6 w 14"/>
                    <a:gd name="T9" fmla="*/ 1 h 10"/>
                    <a:gd name="T10" fmla="*/ 3 w 14"/>
                    <a:gd name="T11" fmla="*/ 0 h 10"/>
                  </a:gdLst>
                  <a:cxnLst>
                    <a:cxn ang="0">
                      <a:pos x="T0" y="T1"/>
                    </a:cxn>
                    <a:cxn ang="0">
                      <a:pos x="T2" y="T3"/>
                    </a:cxn>
                    <a:cxn ang="0">
                      <a:pos x="T4" y="T5"/>
                    </a:cxn>
                    <a:cxn ang="0">
                      <a:pos x="T6" y="T7"/>
                    </a:cxn>
                    <a:cxn ang="0">
                      <a:pos x="T8" y="T9"/>
                    </a:cxn>
                    <a:cxn ang="0">
                      <a:pos x="T10" y="T11"/>
                    </a:cxn>
                  </a:cxnLst>
                  <a:rect l="0" t="0" r="r" b="b"/>
                  <a:pathLst>
                    <a:path w="14" h="10">
                      <a:moveTo>
                        <a:pt x="3" y="0"/>
                      </a:moveTo>
                      <a:cubicBezTo>
                        <a:pt x="0" y="0"/>
                        <a:pt x="2" y="5"/>
                        <a:pt x="2" y="9"/>
                      </a:cubicBezTo>
                      <a:cubicBezTo>
                        <a:pt x="3" y="9"/>
                        <a:pt x="7" y="10"/>
                        <a:pt x="9" y="10"/>
                      </a:cubicBezTo>
                      <a:cubicBezTo>
                        <a:pt x="11" y="10"/>
                        <a:pt x="12" y="10"/>
                        <a:pt x="12" y="9"/>
                      </a:cubicBezTo>
                      <a:cubicBezTo>
                        <a:pt x="14" y="3"/>
                        <a:pt x="12" y="4"/>
                        <a:pt x="6"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102"/>
                <p:cNvSpPr/>
                <p:nvPr/>
              </p:nvSpPr>
              <p:spPr bwMode="auto">
                <a:xfrm>
                  <a:off x="4842242" y="2723301"/>
                  <a:ext cx="36851" cy="25796"/>
                </a:xfrm>
                <a:custGeom>
                  <a:gdLst>
                    <a:gd name="T0" fmla="*/ 7 w 11"/>
                    <a:gd name="T1" fmla="*/ 0 h 8"/>
                    <a:gd name="T2" fmla="*/ 0 w 11"/>
                    <a:gd name="T3" fmla="*/ 4 h 8"/>
                    <a:gd name="T4" fmla="*/ 5 w 11"/>
                    <a:gd name="T5" fmla="*/ 8 h 8"/>
                    <a:gd name="T6" fmla="*/ 5 w 11"/>
                    <a:gd name="T7" fmla="*/ 8 h 8"/>
                    <a:gd name="T8" fmla="*/ 9 w 11"/>
                    <a:gd name="T9" fmla="*/ 1 h 8"/>
                    <a:gd name="T10" fmla="*/ 7 w 11"/>
                    <a:gd name="T11" fmla="*/ 0 h 8"/>
                  </a:gdLst>
                  <a:cxnLst>
                    <a:cxn ang="0">
                      <a:pos x="T0" y="T1"/>
                    </a:cxn>
                    <a:cxn ang="0">
                      <a:pos x="T2" y="T3"/>
                    </a:cxn>
                    <a:cxn ang="0">
                      <a:pos x="T4" y="T5"/>
                    </a:cxn>
                    <a:cxn ang="0">
                      <a:pos x="T6" y="T7"/>
                    </a:cxn>
                    <a:cxn ang="0">
                      <a:pos x="T8" y="T9"/>
                    </a:cxn>
                    <a:cxn ang="0">
                      <a:pos x="T10" y="T11"/>
                    </a:cxn>
                  </a:cxnLst>
                  <a:rect l="0" t="0" r="r" b="b"/>
                  <a:pathLst>
                    <a:path w="11" h="8">
                      <a:moveTo>
                        <a:pt x="7" y="0"/>
                      </a:moveTo>
                      <a:cubicBezTo>
                        <a:pt x="4" y="0"/>
                        <a:pt x="2" y="4"/>
                        <a:pt x="0" y="4"/>
                      </a:cubicBezTo>
                      <a:cubicBezTo>
                        <a:pt x="2" y="6"/>
                        <a:pt x="3" y="7"/>
                        <a:pt x="5" y="8"/>
                      </a:cubicBezTo>
                      <a:cubicBezTo>
                        <a:pt x="5" y="8"/>
                        <a:pt x="5" y="8"/>
                        <a:pt x="5" y="8"/>
                      </a:cubicBezTo>
                      <a:cubicBezTo>
                        <a:pt x="8" y="8"/>
                        <a:pt x="11" y="3"/>
                        <a:pt x="9"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103"/>
                <p:cNvSpPr/>
                <p:nvPr/>
              </p:nvSpPr>
              <p:spPr bwMode="auto">
                <a:xfrm>
                  <a:off x="6633208" y="1072369"/>
                  <a:ext cx="77387" cy="36851"/>
                </a:xfrm>
                <a:custGeom>
                  <a:gdLst>
                    <a:gd name="T0" fmla="*/ 13 w 24"/>
                    <a:gd name="T1" fmla="*/ 0 h 12"/>
                    <a:gd name="T2" fmla="*/ 13 w 24"/>
                    <a:gd name="T3" fmla="*/ 0 h 12"/>
                    <a:gd name="T4" fmla="*/ 10 w 24"/>
                    <a:gd name="T5" fmla="*/ 1 h 12"/>
                    <a:gd name="T6" fmla="*/ 14 w 24"/>
                    <a:gd name="T7" fmla="*/ 5 h 12"/>
                    <a:gd name="T8" fmla="*/ 13 w 24"/>
                    <a:gd name="T9" fmla="*/ 5 h 12"/>
                    <a:gd name="T10" fmla="*/ 11 w 24"/>
                    <a:gd name="T11" fmla="*/ 5 h 12"/>
                    <a:gd name="T12" fmla="*/ 8 w 24"/>
                    <a:gd name="T13" fmla="*/ 5 h 12"/>
                    <a:gd name="T14" fmla="*/ 3 w 24"/>
                    <a:gd name="T15" fmla="*/ 6 h 12"/>
                    <a:gd name="T16" fmla="*/ 5 w 24"/>
                    <a:gd name="T17" fmla="*/ 9 h 12"/>
                    <a:gd name="T18" fmla="*/ 10 w 24"/>
                    <a:gd name="T19" fmla="*/ 12 h 12"/>
                    <a:gd name="T20" fmla="*/ 11 w 24"/>
                    <a:gd name="T21" fmla="*/ 12 h 12"/>
                    <a:gd name="T22" fmla="*/ 24 w 24"/>
                    <a:gd name="T23" fmla="*/ 8 h 12"/>
                    <a:gd name="T24" fmla="*/ 23 w 24"/>
                    <a:gd name="T25" fmla="*/ 9 h 12"/>
                    <a:gd name="T26" fmla="*/ 22 w 24"/>
                    <a:gd name="T27" fmla="*/ 3 h 12"/>
                    <a:gd name="T28" fmla="*/ 20 w 24"/>
                    <a:gd name="T29" fmla="*/ 3 h 12"/>
                    <a:gd name="T30" fmla="*/ 13 w 24"/>
                    <a:gd name="T31"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2">
                      <a:moveTo>
                        <a:pt x="13" y="0"/>
                      </a:moveTo>
                      <a:cubicBezTo>
                        <a:pt x="13" y="0"/>
                        <a:pt x="13" y="0"/>
                        <a:pt x="13" y="0"/>
                      </a:cubicBezTo>
                      <a:cubicBezTo>
                        <a:pt x="12" y="0"/>
                        <a:pt x="11" y="1"/>
                        <a:pt x="10" y="1"/>
                      </a:cubicBezTo>
                      <a:cubicBezTo>
                        <a:pt x="11" y="3"/>
                        <a:pt x="13" y="4"/>
                        <a:pt x="14" y="5"/>
                      </a:cubicBezTo>
                      <a:cubicBezTo>
                        <a:pt x="14" y="5"/>
                        <a:pt x="13" y="5"/>
                        <a:pt x="13" y="5"/>
                      </a:cubicBezTo>
                      <a:cubicBezTo>
                        <a:pt x="12" y="5"/>
                        <a:pt x="12" y="5"/>
                        <a:pt x="11" y="5"/>
                      </a:cubicBezTo>
                      <a:cubicBezTo>
                        <a:pt x="10" y="5"/>
                        <a:pt x="9" y="5"/>
                        <a:pt x="8" y="5"/>
                      </a:cubicBezTo>
                      <a:cubicBezTo>
                        <a:pt x="6" y="5"/>
                        <a:pt x="5" y="5"/>
                        <a:pt x="3" y="6"/>
                      </a:cubicBezTo>
                      <a:cubicBezTo>
                        <a:pt x="0" y="8"/>
                        <a:pt x="3" y="8"/>
                        <a:pt x="5" y="9"/>
                      </a:cubicBezTo>
                      <a:cubicBezTo>
                        <a:pt x="6" y="11"/>
                        <a:pt x="8" y="12"/>
                        <a:pt x="10" y="12"/>
                      </a:cubicBezTo>
                      <a:cubicBezTo>
                        <a:pt x="10" y="12"/>
                        <a:pt x="11" y="12"/>
                        <a:pt x="11" y="12"/>
                      </a:cubicBezTo>
                      <a:cubicBezTo>
                        <a:pt x="15" y="11"/>
                        <a:pt x="20" y="10"/>
                        <a:pt x="24" y="8"/>
                      </a:cubicBezTo>
                      <a:cubicBezTo>
                        <a:pt x="24" y="9"/>
                        <a:pt x="23" y="9"/>
                        <a:pt x="23" y="9"/>
                      </a:cubicBezTo>
                      <a:cubicBezTo>
                        <a:pt x="21" y="9"/>
                        <a:pt x="24" y="4"/>
                        <a:pt x="22" y="3"/>
                      </a:cubicBezTo>
                      <a:cubicBezTo>
                        <a:pt x="20" y="3"/>
                        <a:pt x="20" y="3"/>
                        <a:pt x="20" y="3"/>
                      </a:cubicBezTo>
                      <a:cubicBezTo>
                        <a:pt x="17" y="2"/>
                        <a:pt x="17"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104"/>
                <p:cNvSpPr/>
                <p:nvPr/>
              </p:nvSpPr>
              <p:spPr bwMode="auto">
                <a:xfrm>
                  <a:off x="5107571" y="2281087"/>
                  <a:ext cx="25796" cy="11055"/>
                </a:xfrm>
                <a:custGeom>
                  <a:gdLst>
                    <a:gd name="T0" fmla="*/ 4 w 8"/>
                    <a:gd name="T1" fmla="*/ 0 h 3"/>
                    <a:gd name="T2" fmla="*/ 3 w 8"/>
                    <a:gd name="T3" fmla="*/ 2 h 3"/>
                    <a:gd name="T4" fmla="*/ 2 w 8"/>
                    <a:gd name="T5" fmla="*/ 1 h 3"/>
                    <a:gd name="T6" fmla="*/ 0 w 8"/>
                    <a:gd name="T7" fmla="*/ 3 h 3"/>
                    <a:gd name="T8" fmla="*/ 5 w 8"/>
                    <a:gd name="T9" fmla="*/ 3 h 3"/>
                    <a:gd name="T10" fmla="*/ 8 w 8"/>
                    <a:gd name="T11" fmla="*/ 3 h 3"/>
                    <a:gd name="T12" fmla="*/ 4 w 8"/>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8" h="3">
                      <a:moveTo>
                        <a:pt x="4" y="0"/>
                      </a:moveTo>
                      <a:cubicBezTo>
                        <a:pt x="3" y="0"/>
                        <a:pt x="3" y="0"/>
                        <a:pt x="3" y="2"/>
                      </a:cubicBezTo>
                      <a:cubicBezTo>
                        <a:pt x="3" y="1"/>
                        <a:pt x="3" y="1"/>
                        <a:pt x="2" y="1"/>
                      </a:cubicBezTo>
                      <a:cubicBezTo>
                        <a:pt x="1" y="1"/>
                        <a:pt x="1" y="1"/>
                        <a:pt x="0" y="3"/>
                      </a:cubicBezTo>
                      <a:cubicBezTo>
                        <a:pt x="2" y="3"/>
                        <a:pt x="4" y="3"/>
                        <a:pt x="5" y="3"/>
                      </a:cubicBezTo>
                      <a:cubicBezTo>
                        <a:pt x="6" y="3"/>
                        <a:pt x="7" y="3"/>
                        <a:pt x="8" y="3"/>
                      </a:cubicBezTo>
                      <a:cubicBezTo>
                        <a:pt x="7" y="2"/>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Freeform 105"/>
                <p:cNvSpPr/>
                <p:nvPr/>
              </p:nvSpPr>
              <p:spPr bwMode="auto">
                <a:xfrm>
                  <a:off x="4820132" y="2760152"/>
                  <a:ext cx="14740" cy="29481"/>
                </a:xfrm>
                <a:custGeom>
                  <a:gdLst>
                    <a:gd name="T0" fmla="*/ 2 w 5"/>
                    <a:gd name="T1" fmla="*/ 0 h 10"/>
                    <a:gd name="T2" fmla="*/ 1 w 5"/>
                    <a:gd name="T3" fmla="*/ 3 h 10"/>
                    <a:gd name="T4" fmla="*/ 2 w 5"/>
                    <a:gd name="T5" fmla="*/ 2 h 10"/>
                    <a:gd name="T6" fmla="*/ 3 w 5"/>
                    <a:gd name="T7" fmla="*/ 10 h 10"/>
                    <a:gd name="T8" fmla="*/ 5 w 5"/>
                    <a:gd name="T9" fmla="*/ 4 h 10"/>
                    <a:gd name="T10" fmla="*/ 2 w 5"/>
                    <a:gd name="T11" fmla="*/ 0 h 10"/>
                  </a:gdLst>
                  <a:cxnLst>
                    <a:cxn ang="0">
                      <a:pos x="T0" y="T1"/>
                    </a:cxn>
                    <a:cxn ang="0">
                      <a:pos x="T2" y="T3"/>
                    </a:cxn>
                    <a:cxn ang="0">
                      <a:pos x="T4" y="T5"/>
                    </a:cxn>
                    <a:cxn ang="0">
                      <a:pos x="T6" y="T7"/>
                    </a:cxn>
                    <a:cxn ang="0">
                      <a:pos x="T8" y="T9"/>
                    </a:cxn>
                    <a:cxn ang="0">
                      <a:pos x="T10" y="T11"/>
                    </a:cxn>
                  </a:cxnLst>
                  <a:rect l="0" t="0" r="r" b="b"/>
                  <a:pathLst>
                    <a:path w="5" h="10">
                      <a:moveTo>
                        <a:pt x="2" y="0"/>
                      </a:moveTo>
                      <a:cubicBezTo>
                        <a:pt x="1" y="2"/>
                        <a:pt x="0" y="2"/>
                        <a:pt x="1" y="3"/>
                      </a:cubicBezTo>
                      <a:cubicBezTo>
                        <a:pt x="2" y="2"/>
                        <a:pt x="2" y="2"/>
                        <a:pt x="2" y="2"/>
                      </a:cubicBezTo>
                      <a:cubicBezTo>
                        <a:pt x="2" y="5"/>
                        <a:pt x="2" y="8"/>
                        <a:pt x="3" y="10"/>
                      </a:cubicBezTo>
                      <a:cubicBezTo>
                        <a:pt x="5" y="9"/>
                        <a:pt x="4" y="6"/>
                        <a:pt x="5" y="4"/>
                      </a:cubicBezTo>
                      <a:cubicBezTo>
                        <a:pt x="4"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Freeform 106"/>
                <p:cNvSpPr/>
                <p:nvPr/>
              </p:nvSpPr>
              <p:spPr bwMode="auto">
                <a:xfrm>
                  <a:off x="5641912" y="1507213"/>
                  <a:ext cx="88443" cy="44221"/>
                </a:xfrm>
                <a:custGeom>
                  <a:gdLst>
                    <a:gd name="T0" fmla="*/ 28 w 28"/>
                    <a:gd name="T1" fmla="*/ 0 h 14"/>
                    <a:gd name="T2" fmla="*/ 9 w 28"/>
                    <a:gd name="T3" fmla="*/ 3 h 14"/>
                    <a:gd name="T4" fmla="*/ 5 w 28"/>
                    <a:gd name="T5" fmla="*/ 8 h 14"/>
                    <a:gd name="T6" fmla="*/ 5 w 28"/>
                    <a:gd name="T7" fmla="*/ 8 h 14"/>
                    <a:gd name="T8" fmla="*/ 4 w 28"/>
                    <a:gd name="T9" fmla="*/ 8 h 14"/>
                    <a:gd name="T10" fmla="*/ 4 w 28"/>
                    <a:gd name="T11" fmla="*/ 8 h 14"/>
                    <a:gd name="T12" fmla="*/ 4 w 28"/>
                    <a:gd name="T13" fmla="*/ 9 h 14"/>
                    <a:gd name="T14" fmla="*/ 3 w 28"/>
                    <a:gd name="T15" fmla="*/ 11 h 14"/>
                    <a:gd name="T16" fmla="*/ 0 w 28"/>
                    <a:gd name="T17" fmla="*/ 14 h 14"/>
                    <a:gd name="T18" fmla="*/ 28 w 28"/>
                    <a:gd name="T1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4">
                      <a:moveTo>
                        <a:pt x="28" y="0"/>
                      </a:moveTo>
                      <a:cubicBezTo>
                        <a:pt x="21" y="0"/>
                        <a:pt x="15" y="2"/>
                        <a:pt x="9" y="3"/>
                      </a:cubicBezTo>
                      <a:cubicBezTo>
                        <a:pt x="8" y="5"/>
                        <a:pt x="7" y="6"/>
                        <a:pt x="5" y="8"/>
                      </a:cubicBezTo>
                      <a:cubicBezTo>
                        <a:pt x="5" y="8"/>
                        <a:pt x="5" y="8"/>
                        <a:pt x="5" y="8"/>
                      </a:cubicBezTo>
                      <a:cubicBezTo>
                        <a:pt x="4" y="8"/>
                        <a:pt x="4" y="8"/>
                        <a:pt x="4" y="8"/>
                      </a:cubicBezTo>
                      <a:cubicBezTo>
                        <a:pt x="4" y="8"/>
                        <a:pt x="4" y="8"/>
                        <a:pt x="4" y="8"/>
                      </a:cubicBezTo>
                      <a:cubicBezTo>
                        <a:pt x="3" y="8"/>
                        <a:pt x="3" y="8"/>
                        <a:pt x="4" y="9"/>
                      </a:cubicBezTo>
                      <a:cubicBezTo>
                        <a:pt x="2" y="10"/>
                        <a:pt x="3" y="10"/>
                        <a:pt x="3" y="11"/>
                      </a:cubicBezTo>
                      <a:cubicBezTo>
                        <a:pt x="1" y="11"/>
                        <a:pt x="0" y="12"/>
                        <a:pt x="0" y="14"/>
                      </a:cubicBezTo>
                      <a:cubicBezTo>
                        <a:pt x="10" y="12"/>
                        <a:pt x="22" y="8"/>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107"/>
                <p:cNvSpPr/>
                <p:nvPr/>
              </p:nvSpPr>
              <p:spPr bwMode="auto">
                <a:xfrm>
                  <a:off x="4705893" y="3773559"/>
                  <a:ext cx="33166" cy="18426"/>
                </a:xfrm>
                <a:custGeom>
                  <a:gdLst>
                    <a:gd name="T0" fmla="*/ 2 w 11"/>
                    <a:gd name="T1" fmla="*/ 0 h 5"/>
                    <a:gd name="T2" fmla="*/ 0 w 11"/>
                    <a:gd name="T3" fmla="*/ 0 h 5"/>
                    <a:gd name="T4" fmla="*/ 5 w 11"/>
                    <a:gd name="T5" fmla="*/ 2 h 5"/>
                    <a:gd name="T6" fmla="*/ 9 w 11"/>
                    <a:gd name="T7" fmla="*/ 5 h 5"/>
                    <a:gd name="T8" fmla="*/ 11 w 11"/>
                    <a:gd name="T9" fmla="*/ 4 h 5"/>
                    <a:gd name="T10" fmla="*/ 2 w 11"/>
                    <a:gd name="T11" fmla="*/ 0 h 5"/>
                  </a:gdLst>
                  <a:cxnLst>
                    <a:cxn ang="0">
                      <a:pos x="T0" y="T1"/>
                    </a:cxn>
                    <a:cxn ang="0">
                      <a:pos x="T2" y="T3"/>
                    </a:cxn>
                    <a:cxn ang="0">
                      <a:pos x="T4" y="T5"/>
                    </a:cxn>
                    <a:cxn ang="0">
                      <a:pos x="T6" y="T7"/>
                    </a:cxn>
                    <a:cxn ang="0">
                      <a:pos x="T8" y="T9"/>
                    </a:cxn>
                    <a:cxn ang="0">
                      <a:pos x="T10" y="T11"/>
                    </a:cxn>
                  </a:cxnLst>
                  <a:rect l="0" t="0" r="r" b="b"/>
                  <a:pathLst>
                    <a:path w="11" h="5">
                      <a:moveTo>
                        <a:pt x="2" y="0"/>
                      </a:moveTo>
                      <a:cubicBezTo>
                        <a:pt x="1" y="0"/>
                        <a:pt x="1" y="0"/>
                        <a:pt x="0" y="0"/>
                      </a:cubicBezTo>
                      <a:cubicBezTo>
                        <a:pt x="2" y="1"/>
                        <a:pt x="3" y="2"/>
                        <a:pt x="5" y="2"/>
                      </a:cubicBezTo>
                      <a:cubicBezTo>
                        <a:pt x="6" y="4"/>
                        <a:pt x="7" y="5"/>
                        <a:pt x="9" y="5"/>
                      </a:cubicBezTo>
                      <a:cubicBezTo>
                        <a:pt x="10" y="5"/>
                        <a:pt x="10" y="5"/>
                        <a:pt x="11" y="4"/>
                      </a:cubicBezTo>
                      <a:cubicBezTo>
                        <a:pt x="8" y="2"/>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108"/>
                <p:cNvSpPr/>
                <p:nvPr/>
              </p:nvSpPr>
              <p:spPr bwMode="auto">
                <a:xfrm>
                  <a:off x="4908574" y="3570878"/>
                  <a:ext cx="18426" cy="3685"/>
                </a:xfrm>
                <a:custGeom>
                  <a:gdLst>
                    <a:gd name="T0" fmla="*/ 6 w 6"/>
                    <a:gd name="T1" fmla="*/ 0 h 1"/>
                    <a:gd name="T2" fmla="*/ 0 w 6"/>
                    <a:gd name="T3" fmla="*/ 1 h 1"/>
                    <a:gd name="T4" fmla="*/ 2 w 6"/>
                    <a:gd name="T5" fmla="*/ 1 h 1"/>
                    <a:gd name="T6" fmla="*/ 3 w 6"/>
                    <a:gd name="T7" fmla="*/ 1 h 1"/>
                    <a:gd name="T8" fmla="*/ 6 w 6"/>
                    <a:gd name="T9" fmla="*/ 0 h 1"/>
                  </a:gdLst>
                  <a:cxnLst>
                    <a:cxn ang="0">
                      <a:pos x="T0" y="T1"/>
                    </a:cxn>
                    <a:cxn ang="0">
                      <a:pos x="T2" y="T3"/>
                    </a:cxn>
                    <a:cxn ang="0">
                      <a:pos x="T4" y="T5"/>
                    </a:cxn>
                    <a:cxn ang="0">
                      <a:pos x="T6" y="T7"/>
                    </a:cxn>
                    <a:cxn ang="0">
                      <a:pos x="T8" y="T9"/>
                    </a:cxn>
                  </a:cxnLst>
                  <a:rect l="0" t="0" r="r" b="b"/>
                  <a:pathLst>
                    <a:path w="6" h="1">
                      <a:moveTo>
                        <a:pt x="6" y="0"/>
                      </a:moveTo>
                      <a:cubicBezTo>
                        <a:pt x="4" y="0"/>
                        <a:pt x="2" y="1"/>
                        <a:pt x="0" y="1"/>
                      </a:cubicBezTo>
                      <a:cubicBezTo>
                        <a:pt x="1" y="1"/>
                        <a:pt x="1" y="1"/>
                        <a:pt x="2" y="1"/>
                      </a:cubicBezTo>
                      <a:cubicBezTo>
                        <a:pt x="2" y="1"/>
                        <a:pt x="3" y="1"/>
                        <a:pt x="3" y="1"/>
                      </a:cubicBezTo>
                      <a:cubicBezTo>
                        <a:pt x="4" y="1"/>
                        <a:pt x="5"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Freeform 109"/>
                <p:cNvSpPr/>
                <p:nvPr/>
              </p:nvSpPr>
              <p:spPr bwMode="auto">
                <a:xfrm>
                  <a:off x="4823817" y="3585618"/>
                  <a:ext cx="18426" cy="3685"/>
                </a:xfrm>
                <a:custGeom>
                  <a:gdLst>
                    <a:gd name="T0" fmla="*/ 6 w 6"/>
                    <a:gd name="T1" fmla="*/ 0 h 2"/>
                    <a:gd name="T2" fmla="*/ 0 w 6"/>
                    <a:gd name="T3" fmla="*/ 2 h 2"/>
                    <a:gd name="T4" fmla="*/ 6 w 6"/>
                    <a:gd name="T5" fmla="*/ 0 h 2"/>
                  </a:gdLst>
                  <a:cxnLst>
                    <a:cxn ang="0">
                      <a:pos x="T0" y="T1"/>
                    </a:cxn>
                    <a:cxn ang="0">
                      <a:pos x="T2" y="T3"/>
                    </a:cxn>
                    <a:cxn ang="0">
                      <a:pos x="T4" y="T5"/>
                    </a:cxn>
                  </a:cxnLst>
                  <a:rect l="0" t="0" r="r" b="b"/>
                  <a:pathLst>
                    <a:path w="6" h="2">
                      <a:moveTo>
                        <a:pt x="6" y="0"/>
                      </a:moveTo>
                      <a:cubicBezTo>
                        <a:pt x="4" y="1"/>
                        <a:pt x="2" y="1"/>
                        <a:pt x="0" y="2"/>
                      </a:cubicBezTo>
                      <a:cubicBezTo>
                        <a:pt x="2" y="1"/>
                        <a:pt x="4"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110"/>
                <p:cNvSpPr/>
                <p:nvPr/>
              </p:nvSpPr>
              <p:spPr bwMode="auto">
                <a:xfrm>
                  <a:off x="4783280" y="3611414"/>
                  <a:ext cx="18426" cy="22111"/>
                </a:xfrm>
                <a:custGeom>
                  <a:gdLst>
                    <a:gd name="T0" fmla="*/ 4 w 6"/>
                    <a:gd name="T1" fmla="*/ 0 h 7"/>
                    <a:gd name="T2" fmla="*/ 0 w 6"/>
                    <a:gd name="T3" fmla="*/ 7 h 7"/>
                    <a:gd name="T4" fmla="*/ 4 w 6"/>
                    <a:gd name="T5" fmla="*/ 0 h 7"/>
                  </a:gdLst>
                  <a:cxnLst>
                    <a:cxn ang="0">
                      <a:pos x="T0" y="T1"/>
                    </a:cxn>
                    <a:cxn ang="0">
                      <a:pos x="T2" y="T3"/>
                    </a:cxn>
                    <a:cxn ang="0">
                      <a:pos x="T4" y="T5"/>
                    </a:cxn>
                  </a:cxnLst>
                  <a:rect l="0" t="0" r="r" b="b"/>
                  <a:pathLst>
                    <a:path w="6" h="7">
                      <a:moveTo>
                        <a:pt x="4" y="0"/>
                      </a:moveTo>
                      <a:cubicBezTo>
                        <a:pt x="3" y="2"/>
                        <a:pt x="2" y="4"/>
                        <a:pt x="0" y="7"/>
                      </a:cubicBezTo>
                      <a:cubicBezTo>
                        <a:pt x="3" y="5"/>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111"/>
                <p:cNvSpPr/>
                <p:nvPr/>
              </p:nvSpPr>
              <p:spPr bwMode="auto">
                <a:xfrm>
                  <a:off x="4687467" y="3784614"/>
                  <a:ext cx="36851" cy="14740"/>
                </a:xfrm>
                <a:custGeom>
                  <a:gdLst>
                    <a:gd name="T0" fmla="*/ 5 w 11"/>
                    <a:gd name="T1" fmla="*/ 0 h 5"/>
                    <a:gd name="T2" fmla="*/ 0 w 11"/>
                    <a:gd name="T3" fmla="*/ 2 h 5"/>
                    <a:gd name="T4" fmla="*/ 3 w 11"/>
                    <a:gd name="T5" fmla="*/ 3 h 5"/>
                    <a:gd name="T6" fmla="*/ 3 w 11"/>
                    <a:gd name="T7" fmla="*/ 3 h 5"/>
                    <a:gd name="T8" fmla="*/ 4 w 11"/>
                    <a:gd name="T9" fmla="*/ 3 h 5"/>
                    <a:gd name="T10" fmla="*/ 6 w 11"/>
                    <a:gd name="T11" fmla="*/ 3 h 5"/>
                    <a:gd name="T12" fmla="*/ 10 w 11"/>
                    <a:gd name="T13" fmla="*/ 5 h 5"/>
                    <a:gd name="T14" fmla="*/ 11 w 11"/>
                    <a:gd name="T15" fmla="*/ 3 h 5"/>
                    <a:gd name="T16" fmla="*/ 5 w 11"/>
                    <a:gd name="T17" fmla="*/ 0 h 5"/>
                    <a:gd name="T18" fmla="*/ 5 w 11"/>
                    <a:gd name="T19"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5">
                      <a:moveTo>
                        <a:pt x="5" y="0"/>
                      </a:moveTo>
                      <a:cubicBezTo>
                        <a:pt x="3" y="0"/>
                        <a:pt x="2" y="1"/>
                        <a:pt x="0" y="2"/>
                      </a:cubicBezTo>
                      <a:cubicBezTo>
                        <a:pt x="1" y="3"/>
                        <a:pt x="2" y="3"/>
                        <a:pt x="3" y="3"/>
                      </a:cubicBezTo>
                      <a:cubicBezTo>
                        <a:pt x="3" y="3"/>
                        <a:pt x="3" y="3"/>
                        <a:pt x="3" y="3"/>
                      </a:cubicBezTo>
                      <a:cubicBezTo>
                        <a:pt x="4" y="3"/>
                        <a:pt x="4" y="3"/>
                        <a:pt x="4" y="3"/>
                      </a:cubicBezTo>
                      <a:cubicBezTo>
                        <a:pt x="5" y="3"/>
                        <a:pt x="5" y="3"/>
                        <a:pt x="6" y="3"/>
                      </a:cubicBezTo>
                      <a:cubicBezTo>
                        <a:pt x="6" y="3"/>
                        <a:pt x="9" y="5"/>
                        <a:pt x="10" y="5"/>
                      </a:cubicBezTo>
                      <a:cubicBezTo>
                        <a:pt x="11" y="5"/>
                        <a:pt x="11" y="4"/>
                        <a:pt x="11" y="3"/>
                      </a:cubicBezTo>
                      <a:cubicBezTo>
                        <a:pt x="10" y="2"/>
                        <a:pt x="6" y="1"/>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112"/>
                <p:cNvSpPr/>
                <p:nvPr/>
              </p:nvSpPr>
              <p:spPr bwMode="auto">
                <a:xfrm>
                  <a:off x="5649283" y="5531359"/>
                  <a:ext cx="18426" cy="18426"/>
                </a:xfrm>
                <a:custGeom>
                  <a:gdLst>
                    <a:gd name="T0" fmla="*/ 0 w 5"/>
                    <a:gd name="T1" fmla="*/ 0 h 6"/>
                    <a:gd name="T2" fmla="*/ 0 w 5"/>
                    <a:gd name="T3" fmla="*/ 0 h 6"/>
                    <a:gd name="T4" fmla="*/ 5 w 5"/>
                    <a:gd name="T5" fmla="*/ 6 h 6"/>
                    <a:gd name="T6" fmla="*/ 0 w 5"/>
                    <a:gd name="T7" fmla="*/ 0 h 6"/>
                  </a:gdLst>
                  <a:cxnLst>
                    <a:cxn ang="0">
                      <a:pos x="T0" y="T1"/>
                    </a:cxn>
                    <a:cxn ang="0">
                      <a:pos x="T2" y="T3"/>
                    </a:cxn>
                    <a:cxn ang="0">
                      <a:pos x="T4" y="T5"/>
                    </a:cxn>
                    <a:cxn ang="0">
                      <a:pos x="T6" y="T7"/>
                    </a:cxn>
                  </a:cxnLst>
                  <a:rect l="0" t="0" r="r" b="b"/>
                  <a:pathLst>
                    <a:path w="5" h="6">
                      <a:moveTo>
                        <a:pt x="0" y="0"/>
                      </a:moveTo>
                      <a:cubicBezTo>
                        <a:pt x="0" y="0"/>
                        <a:pt x="0" y="0"/>
                        <a:pt x="0" y="0"/>
                      </a:cubicBezTo>
                      <a:cubicBezTo>
                        <a:pt x="1" y="2"/>
                        <a:pt x="3" y="4"/>
                        <a:pt x="5" y="6"/>
                      </a:cubicBezTo>
                      <a:cubicBezTo>
                        <a:pt x="4" y="0"/>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113"/>
                <p:cNvSpPr/>
                <p:nvPr/>
              </p:nvSpPr>
              <p:spPr bwMode="auto">
                <a:xfrm>
                  <a:off x="4149441" y="4079424"/>
                  <a:ext cx="22111" cy="11055"/>
                </a:xfrm>
                <a:custGeom>
                  <a:gdLst>
                    <a:gd name="T0" fmla="*/ 2 w 7"/>
                    <a:gd name="T1" fmla="*/ 0 h 3"/>
                    <a:gd name="T2" fmla="*/ 6 w 7"/>
                    <a:gd name="T3" fmla="*/ 3 h 3"/>
                    <a:gd name="T4" fmla="*/ 7 w 7"/>
                    <a:gd name="T5" fmla="*/ 3 h 3"/>
                    <a:gd name="T6" fmla="*/ 6 w 7"/>
                    <a:gd name="T7" fmla="*/ 0 h 3"/>
                    <a:gd name="T8" fmla="*/ 2 w 7"/>
                    <a:gd name="T9" fmla="*/ 0 h 3"/>
                  </a:gdLst>
                  <a:cxnLst>
                    <a:cxn ang="0">
                      <a:pos x="T0" y="T1"/>
                    </a:cxn>
                    <a:cxn ang="0">
                      <a:pos x="T2" y="T3"/>
                    </a:cxn>
                    <a:cxn ang="0">
                      <a:pos x="T4" y="T5"/>
                    </a:cxn>
                    <a:cxn ang="0">
                      <a:pos x="T6" y="T7"/>
                    </a:cxn>
                    <a:cxn ang="0">
                      <a:pos x="T8" y="T9"/>
                    </a:cxn>
                  </a:cxnLst>
                  <a:rect l="0" t="0" r="r" b="b"/>
                  <a:pathLst>
                    <a:path w="7" h="3">
                      <a:moveTo>
                        <a:pt x="2" y="0"/>
                      </a:moveTo>
                      <a:cubicBezTo>
                        <a:pt x="0" y="2"/>
                        <a:pt x="4" y="3"/>
                        <a:pt x="6" y="3"/>
                      </a:cubicBezTo>
                      <a:cubicBezTo>
                        <a:pt x="6" y="3"/>
                        <a:pt x="7" y="3"/>
                        <a:pt x="7" y="3"/>
                      </a:cubicBezTo>
                      <a:cubicBezTo>
                        <a:pt x="7" y="2"/>
                        <a:pt x="6" y="1"/>
                        <a:pt x="6"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114"/>
                <p:cNvSpPr/>
                <p:nvPr/>
              </p:nvSpPr>
              <p:spPr bwMode="auto">
                <a:xfrm>
                  <a:off x="5092830" y="4974907"/>
                  <a:ext cx="147405" cy="257958"/>
                </a:xfrm>
                <a:custGeom>
                  <a:gdLst>
                    <a:gd name="T0" fmla="*/ 30 w 47"/>
                    <a:gd name="T1" fmla="*/ 0 h 81"/>
                    <a:gd name="T2" fmla="*/ 8 w 47"/>
                    <a:gd name="T3" fmla="*/ 15 h 81"/>
                    <a:gd name="T4" fmla="*/ 8 w 47"/>
                    <a:gd name="T5" fmla="*/ 15 h 81"/>
                    <a:gd name="T6" fmla="*/ 1 w 47"/>
                    <a:gd name="T7" fmla="*/ 11 h 81"/>
                    <a:gd name="T8" fmla="*/ 0 w 47"/>
                    <a:gd name="T9" fmla="*/ 16 h 81"/>
                    <a:gd name="T10" fmla="*/ 0 w 47"/>
                    <a:gd name="T11" fmla="*/ 19 h 81"/>
                    <a:gd name="T12" fmla="*/ 0 w 47"/>
                    <a:gd name="T13" fmla="*/ 23 h 81"/>
                    <a:gd name="T14" fmla="*/ 1 w 47"/>
                    <a:gd name="T15" fmla="*/ 23 h 81"/>
                    <a:gd name="T16" fmla="*/ 4 w 47"/>
                    <a:gd name="T17" fmla="*/ 24 h 81"/>
                    <a:gd name="T18" fmla="*/ 7 w 47"/>
                    <a:gd name="T19" fmla="*/ 30 h 81"/>
                    <a:gd name="T20" fmla="*/ 7 w 47"/>
                    <a:gd name="T21" fmla="*/ 40 h 81"/>
                    <a:gd name="T22" fmla="*/ 7 w 47"/>
                    <a:gd name="T23" fmla="*/ 43 h 81"/>
                    <a:gd name="T24" fmla="*/ 11 w 47"/>
                    <a:gd name="T25" fmla="*/ 53 h 81"/>
                    <a:gd name="T26" fmla="*/ 11 w 47"/>
                    <a:gd name="T27" fmla="*/ 52 h 81"/>
                    <a:gd name="T28" fmla="*/ 9 w 47"/>
                    <a:gd name="T29" fmla="*/ 55 h 81"/>
                    <a:gd name="T30" fmla="*/ 8 w 47"/>
                    <a:gd name="T31" fmla="*/ 58 h 81"/>
                    <a:gd name="T32" fmla="*/ 8 w 47"/>
                    <a:gd name="T33" fmla="*/ 58 h 81"/>
                    <a:gd name="T34" fmla="*/ 7 w 47"/>
                    <a:gd name="T35" fmla="*/ 59 h 81"/>
                    <a:gd name="T36" fmla="*/ 6 w 47"/>
                    <a:gd name="T37" fmla="*/ 73 h 81"/>
                    <a:gd name="T38" fmla="*/ 6 w 47"/>
                    <a:gd name="T39" fmla="*/ 73 h 81"/>
                    <a:gd name="T40" fmla="*/ 14 w 47"/>
                    <a:gd name="T41" fmla="*/ 80 h 81"/>
                    <a:gd name="T42" fmla="*/ 16 w 47"/>
                    <a:gd name="T43" fmla="*/ 81 h 81"/>
                    <a:gd name="T44" fmla="*/ 21 w 47"/>
                    <a:gd name="T45" fmla="*/ 80 h 81"/>
                    <a:gd name="T46" fmla="*/ 26 w 47"/>
                    <a:gd name="T47" fmla="*/ 69 h 81"/>
                    <a:gd name="T48" fmla="*/ 28 w 47"/>
                    <a:gd name="T49" fmla="*/ 70 h 81"/>
                    <a:gd name="T50" fmla="*/ 28 w 47"/>
                    <a:gd name="T51" fmla="*/ 70 h 81"/>
                    <a:gd name="T52" fmla="*/ 30 w 47"/>
                    <a:gd name="T53" fmla="*/ 69 h 81"/>
                    <a:gd name="T54" fmla="*/ 31 w 47"/>
                    <a:gd name="T55" fmla="*/ 69 h 81"/>
                    <a:gd name="T56" fmla="*/ 31 w 47"/>
                    <a:gd name="T57" fmla="*/ 69 h 81"/>
                    <a:gd name="T58" fmla="*/ 34 w 47"/>
                    <a:gd name="T59" fmla="*/ 70 h 81"/>
                    <a:gd name="T60" fmla="*/ 39 w 47"/>
                    <a:gd name="T61" fmla="*/ 73 h 81"/>
                    <a:gd name="T62" fmla="*/ 47 w 47"/>
                    <a:gd name="T63" fmla="*/ 28 h 81"/>
                    <a:gd name="T64" fmla="*/ 46 w 47"/>
                    <a:gd name="T65" fmla="*/ 22 h 81"/>
                    <a:gd name="T66" fmla="*/ 43 w 47"/>
                    <a:gd name="T67" fmla="*/ 14 h 81"/>
                    <a:gd name="T68" fmla="*/ 38 w 47"/>
                    <a:gd name="T69" fmla="*/ 12 h 81"/>
                    <a:gd name="T70" fmla="*/ 39 w 47"/>
                    <a:gd name="T71" fmla="*/ 4 h 81"/>
                    <a:gd name="T72" fmla="*/ 38 w 47"/>
                    <a:gd name="T73" fmla="*/ 4 h 81"/>
                    <a:gd name="T74" fmla="*/ 30 w 47"/>
                    <a:gd name="T75"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81">
                      <a:moveTo>
                        <a:pt x="30" y="0"/>
                      </a:moveTo>
                      <a:cubicBezTo>
                        <a:pt x="25" y="5"/>
                        <a:pt x="16" y="15"/>
                        <a:pt x="8" y="15"/>
                      </a:cubicBezTo>
                      <a:cubicBezTo>
                        <a:pt x="8" y="15"/>
                        <a:pt x="8" y="15"/>
                        <a:pt x="8" y="15"/>
                      </a:cubicBezTo>
                      <a:cubicBezTo>
                        <a:pt x="4" y="15"/>
                        <a:pt x="4" y="13"/>
                        <a:pt x="1" y="11"/>
                      </a:cubicBezTo>
                      <a:cubicBezTo>
                        <a:pt x="2" y="13"/>
                        <a:pt x="1" y="13"/>
                        <a:pt x="0" y="16"/>
                      </a:cubicBezTo>
                      <a:cubicBezTo>
                        <a:pt x="0" y="18"/>
                        <a:pt x="1" y="18"/>
                        <a:pt x="0" y="19"/>
                      </a:cubicBezTo>
                      <a:cubicBezTo>
                        <a:pt x="0" y="20"/>
                        <a:pt x="0" y="22"/>
                        <a:pt x="0" y="23"/>
                      </a:cubicBezTo>
                      <a:cubicBezTo>
                        <a:pt x="0" y="23"/>
                        <a:pt x="1" y="23"/>
                        <a:pt x="1" y="23"/>
                      </a:cubicBezTo>
                      <a:cubicBezTo>
                        <a:pt x="2" y="23"/>
                        <a:pt x="4" y="23"/>
                        <a:pt x="4" y="24"/>
                      </a:cubicBezTo>
                      <a:cubicBezTo>
                        <a:pt x="5" y="24"/>
                        <a:pt x="7" y="29"/>
                        <a:pt x="7" y="30"/>
                      </a:cubicBezTo>
                      <a:cubicBezTo>
                        <a:pt x="10" y="34"/>
                        <a:pt x="8" y="35"/>
                        <a:pt x="7" y="40"/>
                      </a:cubicBezTo>
                      <a:cubicBezTo>
                        <a:pt x="7" y="42"/>
                        <a:pt x="7" y="41"/>
                        <a:pt x="7" y="43"/>
                      </a:cubicBezTo>
                      <a:cubicBezTo>
                        <a:pt x="7" y="46"/>
                        <a:pt x="10" y="50"/>
                        <a:pt x="11" y="53"/>
                      </a:cubicBezTo>
                      <a:cubicBezTo>
                        <a:pt x="11" y="53"/>
                        <a:pt x="11" y="52"/>
                        <a:pt x="11" y="52"/>
                      </a:cubicBezTo>
                      <a:cubicBezTo>
                        <a:pt x="10" y="52"/>
                        <a:pt x="10" y="54"/>
                        <a:pt x="9" y="55"/>
                      </a:cubicBezTo>
                      <a:cubicBezTo>
                        <a:pt x="9" y="56"/>
                        <a:pt x="8" y="58"/>
                        <a:pt x="8" y="58"/>
                      </a:cubicBezTo>
                      <a:cubicBezTo>
                        <a:pt x="8" y="58"/>
                        <a:pt x="8" y="58"/>
                        <a:pt x="8" y="58"/>
                      </a:cubicBezTo>
                      <a:cubicBezTo>
                        <a:pt x="8" y="58"/>
                        <a:pt x="8" y="59"/>
                        <a:pt x="7" y="59"/>
                      </a:cubicBezTo>
                      <a:cubicBezTo>
                        <a:pt x="6" y="64"/>
                        <a:pt x="6" y="68"/>
                        <a:pt x="6" y="73"/>
                      </a:cubicBezTo>
                      <a:cubicBezTo>
                        <a:pt x="6" y="73"/>
                        <a:pt x="6" y="73"/>
                        <a:pt x="6" y="73"/>
                      </a:cubicBezTo>
                      <a:cubicBezTo>
                        <a:pt x="11" y="74"/>
                        <a:pt x="11" y="76"/>
                        <a:pt x="14" y="80"/>
                      </a:cubicBezTo>
                      <a:cubicBezTo>
                        <a:pt x="14" y="80"/>
                        <a:pt x="15" y="81"/>
                        <a:pt x="16" y="81"/>
                      </a:cubicBezTo>
                      <a:cubicBezTo>
                        <a:pt x="18" y="81"/>
                        <a:pt x="20" y="80"/>
                        <a:pt x="21" y="80"/>
                      </a:cubicBezTo>
                      <a:cubicBezTo>
                        <a:pt x="24" y="78"/>
                        <a:pt x="24" y="72"/>
                        <a:pt x="26" y="69"/>
                      </a:cubicBezTo>
                      <a:cubicBezTo>
                        <a:pt x="27" y="69"/>
                        <a:pt x="27" y="70"/>
                        <a:pt x="28" y="70"/>
                      </a:cubicBezTo>
                      <a:cubicBezTo>
                        <a:pt x="28" y="70"/>
                        <a:pt x="28" y="70"/>
                        <a:pt x="28" y="70"/>
                      </a:cubicBezTo>
                      <a:cubicBezTo>
                        <a:pt x="29" y="70"/>
                        <a:pt x="29" y="70"/>
                        <a:pt x="30" y="69"/>
                      </a:cubicBezTo>
                      <a:cubicBezTo>
                        <a:pt x="30" y="69"/>
                        <a:pt x="31" y="69"/>
                        <a:pt x="31" y="69"/>
                      </a:cubicBezTo>
                      <a:cubicBezTo>
                        <a:pt x="31" y="69"/>
                        <a:pt x="31" y="69"/>
                        <a:pt x="31" y="69"/>
                      </a:cubicBezTo>
                      <a:cubicBezTo>
                        <a:pt x="33" y="69"/>
                        <a:pt x="33" y="70"/>
                        <a:pt x="34" y="70"/>
                      </a:cubicBezTo>
                      <a:cubicBezTo>
                        <a:pt x="35" y="71"/>
                        <a:pt x="38" y="72"/>
                        <a:pt x="39" y="73"/>
                      </a:cubicBezTo>
                      <a:cubicBezTo>
                        <a:pt x="44" y="58"/>
                        <a:pt x="43" y="43"/>
                        <a:pt x="47" y="28"/>
                      </a:cubicBezTo>
                      <a:cubicBezTo>
                        <a:pt x="47" y="26"/>
                        <a:pt x="47" y="25"/>
                        <a:pt x="46" y="22"/>
                      </a:cubicBezTo>
                      <a:cubicBezTo>
                        <a:pt x="45" y="20"/>
                        <a:pt x="45" y="16"/>
                        <a:pt x="43" y="14"/>
                      </a:cubicBezTo>
                      <a:cubicBezTo>
                        <a:pt x="42" y="13"/>
                        <a:pt x="39" y="13"/>
                        <a:pt x="38" y="12"/>
                      </a:cubicBezTo>
                      <a:cubicBezTo>
                        <a:pt x="38" y="10"/>
                        <a:pt x="40" y="6"/>
                        <a:pt x="39" y="4"/>
                      </a:cubicBezTo>
                      <a:cubicBezTo>
                        <a:pt x="39" y="4"/>
                        <a:pt x="38" y="4"/>
                        <a:pt x="38" y="4"/>
                      </a:cubicBezTo>
                      <a:cubicBezTo>
                        <a:pt x="36" y="4"/>
                        <a:pt x="32"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115"/>
                <p:cNvSpPr/>
                <p:nvPr/>
              </p:nvSpPr>
              <p:spPr bwMode="auto">
                <a:xfrm>
                  <a:off x="5435546" y="5442916"/>
                  <a:ext cx="3685" cy="7370"/>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1" y="3"/>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116"/>
                <p:cNvSpPr/>
                <p:nvPr/>
              </p:nvSpPr>
              <p:spPr bwMode="auto">
                <a:xfrm>
                  <a:off x="5266031" y="4801706"/>
                  <a:ext cx="33166" cy="18426"/>
                </a:xfrm>
                <a:custGeom>
                  <a:gdLst>
                    <a:gd name="T0" fmla="*/ 9 w 10"/>
                    <a:gd name="T1" fmla="*/ 0 h 5"/>
                    <a:gd name="T2" fmla="*/ 5 w 10"/>
                    <a:gd name="T3" fmla="*/ 1 h 5"/>
                    <a:gd name="T4" fmla="*/ 3 w 10"/>
                    <a:gd name="T5" fmla="*/ 1 h 5"/>
                    <a:gd name="T6" fmla="*/ 0 w 10"/>
                    <a:gd name="T7" fmla="*/ 2 h 5"/>
                    <a:gd name="T8" fmla="*/ 9 w 10"/>
                    <a:gd name="T9" fmla="*/ 5 h 5"/>
                    <a:gd name="T10" fmla="*/ 9 w 10"/>
                    <a:gd name="T11" fmla="*/ 0 h 5"/>
                  </a:gdLst>
                  <a:cxnLst>
                    <a:cxn ang="0">
                      <a:pos x="T0" y="T1"/>
                    </a:cxn>
                    <a:cxn ang="0">
                      <a:pos x="T2" y="T3"/>
                    </a:cxn>
                    <a:cxn ang="0">
                      <a:pos x="T4" y="T5"/>
                    </a:cxn>
                    <a:cxn ang="0">
                      <a:pos x="T6" y="T7"/>
                    </a:cxn>
                    <a:cxn ang="0">
                      <a:pos x="T8" y="T9"/>
                    </a:cxn>
                    <a:cxn ang="0">
                      <a:pos x="T10" y="T11"/>
                    </a:cxn>
                  </a:cxnLst>
                  <a:rect l="0" t="0" r="r" b="b"/>
                  <a:pathLst>
                    <a:path w="10" h="5">
                      <a:moveTo>
                        <a:pt x="9" y="0"/>
                      </a:moveTo>
                      <a:cubicBezTo>
                        <a:pt x="8" y="0"/>
                        <a:pt x="7" y="0"/>
                        <a:pt x="5" y="1"/>
                      </a:cubicBezTo>
                      <a:cubicBezTo>
                        <a:pt x="3" y="1"/>
                        <a:pt x="3" y="1"/>
                        <a:pt x="3" y="1"/>
                      </a:cubicBezTo>
                      <a:cubicBezTo>
                        <a:pt x="2" y="1"/>
                        <a:pt x="1" y="1"/>
                        <a:pt x="0" y="2"/>
                      </a:cubicBezTo>
                      <a:cubicBezTo>
                        <a:pt x="3" y="3"/>
                        <a:pt x="6" y="4"/>
                        <a:pt x="9" y="5"/>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117"/>
                <p:cNvSpPr/>
                <p:nvPr/>
              </p:nvSpPr>
              <p:spPr bwMode="auto">
                <a:xfrm>
                  <a:off x="5472397" y="5291827"/>
                  <a:ext cx="294809" cy="169515"/>
                </a:xfrm>
                <a:custGeom>
                  <a:gdLst>
                    <a:gd name="T0" fmla="*/ 93 w 93"/>
                    <a:gd name="T1" fmla="*/ 0 h 53"/>
                    <a:gd name="T2" fmla="*/ 71 w 93"/>
                    <a:gd name="T3" fmla="*/ 5 h 53"/>
                    <a:gd name="T4" fmla="*/ 53 w 93"/>
                    <a:gd name="T5" fmla="*/ 9 h 53"/>
                    <a:gd name="T6" fmla="*/ 51 w 93"/>
                    <a:gd name="T7" fmla="*/ 8 h 53"/>
                    <a:gd name="T8" fmla="*/ 30 w 93"/>
                    <a:gd name="T9" fmla="*/ 5 h 53"/>
                    <a:gd name="T10" fmla="*/ 27 w 93"/>
                    <a:gd name="T11" fmla="*/ 3 h 53"/>
                    <a:gd name="T12" fmla="*/ 26 w 93"/>
                    <a:gd name="T13" fmla="*/ 3 h 53"/>
                    <a:gd name="T14" fmla="*/ 21 w 93"/>
                    <a:gd name="T15" fmla="*/ 5 h 53"/>
                    <a:gd name="T16" fmla="*/ 15 w 93"/>
                    <a:gd name="T17" fmla="*/ 7 h 53"/>
                    <a:gd name="T18" fmla="*/ 14 w 93"/>
                    <a:gd name="T19" fmla="*/ 7 h 53"/>
                    <a:gd name="T20" fmla="*/ 11 w 93"/>
                    <a:gd name="T21" fmla="*/ 4 h 53"/>
                    <a:gd name="T22" fmla="*/ 10 w 93"/>
                    <a:gd name="T23" fmla="*/ 4 h 53"/>
                    <a:gd name="T24" fmla="*/ 8 w 93"/>
                    <a:gd name="T25" fmla="*/ 6 h 53"/>
                    <a:gd name="T26" fmla="*/ 2 w 93"/>
                    <a:gd name="T27" fmla="*/ 17 h 53"/>
                    <a:gd name="T28" fmla="*/ 7 w 93"/>
                    <a:gd name="T29" fmla="*/ 23 h 53"/>
                    <a:gd name="T30" fmla="*/ 10 w 93"/>
                    <a:gd name="T31" fmla="*/ 24 h 53"/>
                    <a:gd name="T32" fmla="*/ 14 w 93"/>
                    <a:gd name="T33" fmla="*/ 23 h 53"/>
                    <a:gd name="T34" fmla="*/ 14 w 93"/>
                    <a:gd name="T35" fmla="*/ 23 h 53"/>
                    <a:gd name="T36" fmla="*/ 22 w 93"/>
                    <a:gd name="T37" fmla="*/ 27 h 53"/>
                    <a:gd name="T38" fmla="*/ 47 w 93"/>
                    <a:gd name="T39" fmla="*/ 38 h 53"/>
                    <a:gd name="T40" fmla="*/ 58 w 93"/>
                    <a:gd name="T41" fmla="*/ 45 h 53"/>
                    <a:gd name="T42" fmla="*/ 60 w 93"/>
                    <a:gd name="T43" fmla="*/ 48 h 53"/>
                    <a:gd name="T44" fmla="*/ 78 w 93"/>
                    <a:gd name="T45" fmla="*/ 53 h 53"/>
                    <a:gd name="T46" fmla="*/ 84 w 93"/>
                    <a:gd name="T47" fmla="*/ 42 h 53"/>
                    <a:gd name="T48" fmla="*/ 84 w 93"/>
                    <a:gd name="T49" fmla="*/ 42 h 53"/>
                    <a:gd name="T50" fmla="*/ 78 w 93"/>
                    <a:gd name="T51" fmla="*/ 31 h 53"/>
                    <a:gd name="T52" fmla="*/ 80 w 93"/>
                    <a:gd name="T53" fmla="*/ 20 h 53"/>
                    <a:gd name="T54" fmla="*/ 93 w 93"/>
                    <a:gd name="T55" fmla="*/ 0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3" h="52">
                      <a:moveTo>
                        <a:pt x="93" y="0"/>
                      </a:moveTo>
                      <a:cubicBezTo>
                        <a:pt x="86" y="2"/>
                        <a:pt x="78" y="3"/>
                        <a:pt x="71" y="5"/>
                      </a:cubicBezTo>
                      <a:cubicBezTo>
                        <a:pt x="66" y="6"/>
                        <a:pt x="59" y="9"/>
                        <a:pt x="53" y="9"/>
                      </a:cubicBezTo>
                      <a:cubicBezTo>
                        <a:pt x="52" y="9"/>
                        <a:pt x="52" y="9"/>
                        <a:pt x="51" y="8"/>
                      </a:cubicBezTo>
                      <a:cubicBezTo>
                        <a:pt x="44" y="7"/>
                        <a:pt x="37" y="6"/>
                        <a:pt x="30" y="5"/>
                      </a:cubicBezTo>
                      <a:cubicBezTo>
                        <a:pt x="28" y="4"/>
                        <a:pt x="29" y="3"/>
                        <a:pt x="27" y="3"/>
                      </a:cubicBezTo>
                      <a:cubicBezTo>
                        <a:pt x="27" y="3"/>
                        <a:pt x="27" y="3"/>
                        <a:pt x="26" y="3"/>
                      </a:cubicBezTo>
                      <a:cubicBezTo>
                        <a:pt x="25" y="3"/>
                        <a:pt x="23" y="4"/>
                        <a:pt x="21" y="5"/>
                      </a:cubicBezTo>
                      <a:cubicBezTo>
                        <a:pt x="19" y="6"/>
                        <a:pt x="18" y="7"/>
                        <a:pt x="15" y="7"/>
                      </a:cubicBezTo>
                      <a:cubicBezTo>
                        <a:pt x="15" y="7"/>
                        <a:pt x="14" y="7"/>
                        <a:pt x="14" y="7"/>
                      </a:cubicBezTo>
                      <a:cubicBezTo>
                        <a:pt x="12" y="6"/>
                        <a:pt x="13" y="5"/>
                        <a:pt x="11" y="4"/>
                      </a:cubicBezTo>
                      <a:cubicBezTo>
                        <a:pt x="11" y="4"/>
                        <a:pt x="10" y="4"/>
                        <a:pt x="10" y="4"/>
                      </a:cubicBezTo>
                      <a:cubicBezTo>
                        <a:pt x="10" y="4"/>
                        <a:pt x="9" y="4"/>
                        <a:pt x="8" y="6"/>
                      </a:cubicBezTo>
                      <a:cubicBezTo>
                        <a:pt x="7" y="8"/>
                        <a:pt x="0" y="15"/>
                        <a:pt x="2" y="17"/>
                      </a:cubicBezTo>
                      <a:cubicBezTo>
                        <a:pt x="3" y="18"/>
                        <a:pt x="6" y="22"/>
                        <a:pt x="7" y="23"/>
                      </a:cubicBezTo>
                      <a:cubicBezTo>
                        <a:pt x="8" y="23"/>
                        <a:pt x="9" y="24"/>
                        <a:pt x="10" y="24"/>
                      </a:cubicBezTo>
                      <a:cubicBezTo>
                        <a:pt x="11" y="24"/>
                        <a:pt x="13" y="23"/>
                        <a:pt x="14" y="23"/>
                      </a:cubicBezTo>
                      <a:cubicBezTo>
                        <a:pt x="14" y="23"/>
                        <a:pt x="14" y="23"/>
                        <a:pt x="14" y="23"/>
                      </a:cubicBezTo>
                      <a:cubicBezTo>
                        <a:pt x="17" y="23"/>
                        <a:pt x="20" y="26"/>
                        <a:pt x="22" y="27"/>
                      </a:cubicBezTo>
                      <a:cubicBezTo>
                        <a:pt x="30" y="30"/>
                        <a:pt x="39" y="34"/>
                        <a:pt x="47" y="38"/>
                      </a:cubicBezTo>
                      <a:cubicBezTo>
                        <a:pt x="51" y="40"/>
                        <a:pt x="55" y="41"/>
                        <a:pt x="58" y="45"/>
                      </a:cubicBezTo>
                      <a:cubicBezTo>
                        <a:pt x="58" y="46"/>
                        <a:pt x="59" y="48"/>
                        <a:pt x="60" y="48"/>
                      </a:cubicBezTo>
                      <a:cubicBezTo>
                        <a:pt x="64" y="52"/>
                        <a:pt x="73" y="51"/>
                        <a:pt x="78" y="53"/>
                      </a:cubicBezTo>
                      <a:cubicBezTo>
                        <a:pt x="79" y="50"/>
                        <a:pt x="80" y="42"/>
                        <a:pt x="84" y="42"/>
                      </a:cubicBezTo>
                      <a:cubicBezTo>
                        <a:pt x="84" y="42"/>
                        <a:pt x="84" y="42"/>
                        <a:pt x="84" y="42"/>
                      </a:cubicBezTo>
                      <a:cubicBezTo>
                        <a:pt x="82" y="38"/>
                        <a:pt x="80" y="35"/>
                        <a:pt x="78" y="31"/>
                      </a:cubicBezTo>
                      <a:cubicBezTo>
                        <a:pt x="76" y="29"/>
                        <a:pt x="80" y="23"/>
                        <a:pt x="80" y="20"/>
                      </a:cubicBezTo>
                      <a:cubicBezTo>
                        <a:pt x="83" y="13"/>
                        <a:pt x="88" y="7"/>
                        <a:pt x="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118"/>
                <p:cNvSpPr/>
                <p:nvPr/>
              </p:nvSpPr>
              <p:spPr bwMode="auto">
                <a:xfrm>
                  <a:off x="3924649" y="3460324"/>
                  <a:ext cx="44221" cy="40536"/>
                </a:xfrm>
                <a:custGeom>
                  <a:gdLst>
                    <a:gd name="T0" fmla="*/ 12 w 14"/>
                    <a:gd name="T1" fmla="*/ 0 h 13"/>
                    <a:gd name="T2" fmla="*/ 6 w 14"/>
                    <a:gd name="T3" fmla="*/ 3 h 13"/>
                    <a:gd name="T4" fmla="*/ 2 w 14"/>
                    <a:gd name="T5" fmla="*/ 9 h 13"/>
                    <a:gd name="T6" fmla="*/ 0 w 14"/>
                    <a:gd name="T7" fmla="*/ 13 h 13"/>
                    <a:gd name="T8" fmla="*/ 2 w 14"/>
                    <a:gd name="T9" fmla="*/ 13 h 13"/>
                    <a:gd name="T10" fmla="*/ 10 w 14"/>
                    <a:gd name="T11" fmla="*/ 9 h 13"/>
                    <a:gd name="T12" fmla="*/ 14 w 14"/>
                    <a:gd name="T13" fmla="*/ 4 h 13"/>
                    <a:gd name="T14" fmla="*/ 12 w 14"/>
                    <a:gd name="T15" fmla="*/ 0 h 1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3">
                      <a:moveTo>
                        <a:pt x="12" y="0"/>
                      </a:moveTo>
                      <a:cubicBezTo>
                        <a:pt x="10" y="1"/>
                        <a:pt x="8" y="2"/>
                        <a:pt x="6" y="3"/>
                      </a:cubicBezTo>
                      <a:cubicBezTo>
                        <a:pt x="5" y="6"/>
                        <a:pt x="3" y="7"/>
                        <a:pt x="2" y="9"/>
                      </a:cubicBezTo>
                      <a:cubicBezTo>
                        <a:pt x="1" y="10"/>
                        <a:pt x="1" y="12"/>
                        <a:pt x="0" y="13"/>
                      </a:cubicBezTo>
                      <a:cubicBezTo>
                        <a:pt x="1" y="13"/>
                        <a:pt x="2" y="13"/>
                        <a:pt x="2" y="13"/>
                      </a:cubicBezTo>
                      <a:cubicBezTo>
                        <a:pt x="6" y="13"/>
                        <a:pt x="8" y="12"/>
                        <a:pt x="10" y="9"/>
                      </a:cubicBezTo>
                      <a:cubicBezTo>
                        <a:pt x="11" y="8"/>
                        <a:pt x="14" y="6"/>
                        <a:pt x="14" y="4"/>
                      </a:cubicBezTo>
                      <a:cubicBezTo>
                        <a:pt x="14" y="2"/>
                        <a:pt x="11"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119"/>
                <p:cNvSpPr/>
                <p:nvPr/>
              </p:nvSpPr>
              <p:spPr bwMode="auto">
                <a:xfrm>
                  <a:off x="5645597" y="4547433"/>
                  <a:ext cx="18426" cy="62647"/>
                </a:xfrm>
                <a:custGeom>
                  <a:gdLst>
                    <a:gd name="T0" fmla="*/ 0 w 5"/>
                    <a:gd name="T1" fmla="*/ 0 h 20"/>
                    <a:gd name="T2" fmla="*/ 5 w 5"/>
                    <a:gd name="T3" fmla="*/ 20 h 20"/>
                    <a:gd name="T4" fmla="*/ 4 w 5"/>
                    <a:gd name="T5" fmla="*/ 12 h 20"/>
                    <a:gd name="T6" fmla="*/ 5 w 5"/>
                    <a:gd name="T7" fmla="*/ 7 h 20"/>
                    <a:gd name="T8" fmla="*/ 2 w 5"/>
                    <a:gd name="T9" fmla="*/ 4 h 20"/>
                    <a:gd name="T10" fmla="*/ 0 w 5"/>
                    <a:gd name="T11" fmla="*/ 0 h 20"/>
                  </a:gdLst>
                  <a:cxnLst>
                    <a:cxn ang="0">
                      <a:pos x="T0" y="T1"/>
                    </a:cxn>
                    <a:cxn ang="0">
                      <a:pos x="T2" y="T3"/>
                    </a:cxn>
                    <a:cxn ang="0">
                      <a:pos x="T4" y="T5"/>
                    </a:cxn>
                    <a:cxn ang="0">
                      <a:pos x="T6" y="T7"/>
                    </a:cxn>
                    <a:cxn ang="0">
                      <a:pos x="T8" y="T9"/>
                    </a:cxn>
                    <a:cxn ang="0">
                      <a:pos x="T10" y="T11"/>
                    </a:cxn>
                  </a:cxnLst>
                  <a:rect l="0" t="0" r="r" b="b"/>
                  <a:pathLst>
                    <a:path w="5" h="20">
                      <a:moveTo>
                        <a:pt x="0" y="0"/>
                      </a:moveTo>
                      <a:cubicBezTo>
                        <a:pt x="2" y="7"/>
                        <a:pt x="3" y="13"/>
                        <a:pt x="5" y="20"/>
                      </a:cubicBezTo>
                      <a:cubicBezTo>
                        <a:pt x="5" y="17"/>
                        <a:pt x="4" y="15"/>
                        <a:pt x="4" y="12"/>
                      </a:cubicBezTo>
                      <a:cubicBezTo>
                        <a:pt x="4" y="11"/>
                        <a:pt x="5" y="8"/>
                        <a:pt x="5" y="7"/>
                      </a:cubicBezTo>
                      <a:cubicBezTo>
                        <a:pt x="4" y="7"/>
                        <a:pt x="2" y="5"/>
                        <a:pt x="2"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120"/>
                <p:cNvSpPr/>
                <p:nvPr/>
              </p:nvSpPr>
              <p:spPr bwMode="auto">
                <a:xfrm>
                  <a:off x="5870389" y="4790651"/>
                  <a:ext cx="33166" cy="7370"/>
                </a:xfrm>
                <a:custGeom>
                  <a:gdLst>
                    <a:gd name="T0" fmla="*/ 0 w 11"/>
                    <a:gd name="T1" fmla="*/ 0 h 2"/>
                    <a:gd name="T2" fmla="*/ 3 w 11"/>
                    <a:gd name="T3" fmla="*/ 2 h 2"/>
                    <a:gd name="T4" fmla="*/ 6 w 11"/>
                    <a:gd name="T5" fmla="*/ 2 h 2"/>
                    <a:gd name="T6" fmla="*/ 8 w 11"/>
                    <a:gd name="T7" fmla="*/ 2 h 2"/>
                    <a:gd name="T8" fmla="*/ 9 w 11"/>
                    <a:gd name="T9" fmla="*/ 2 h 2"/>
                    <a:gd name="T10" fmla="*/ 11 w 11"/>
                    <a:gd name="T11" fmla="*/ 2 h 2"/>
                    <a:gd name="T12" fmla="*/ 0 w 11"/>
                    <a:gd name="T13" fmla="*/ 0 h 2"/>
                  </a:gdLst>
                  <a:cxnLst>
                    <a:cxn ang="0">
                      <a:pos x="T0" y="T1"/>
                    </a:cxn>
                    <a:cxn ang="0">
                      <a:pos x="T2" y="T3"/>
                    </a:cxn>
                    <a:cxn ang="0">
                      <a:pos x="T4" y="T5"/>
                    </a:cxn>
                    <a:cxn ang="0">
                      <a:pos x="T6" y="T7"/>
                    </a:cxn>
                    <a:cxn ang="0">
                      <a:pos x="T8" y="T9"/>
                    </a:cxn>
                    <a:cxn ang="0">
                      <a:pos x="T10" y="T11"/>
                    </a:cxn>
                    <a:cxn ang="0">
                      <a:pos x="T12" y="T13"/>
                    </a:cxn>
                  </a:cxnLst>
                  <a:rect l="0" t="0" r="r" b="b"/>
                  <a:pathLst>
                    <a:path w="11" h="2">
                      <a:moveTo>
                        <a:pt x="0" y="0"/>
                      </a:moveTo>
                      <a:cubicBezTo>
                        <a:pt x="1" y="1"/>
                        <a:pt x="2" y="2"/>
                        <a:pt x="3" y="2"/>
                      </a:cubicBezTo>
                      <a:cubicBezTo>
                        <a:pt x="4" y="2"/>
                        <a:pt x="5" y="2"/>
                        <a:pt x="6" y="2"/>
                      </a:cubicBezTo>
                      <a:cubicBezTo>
                        <a:pt x="6" y="2"/>
                        <a:pt x="7" y="2"/>
                        <a:pt x="8" y="2"/>
                      </a:cubicBezTo>
                      <a:cubicBezTo>
                        <a:pt x="8" y="2"/>
                        <a:pt x="9" y="2"/>
                        <a:pt x="9" y="2"/>
                      </a:cubicBezTo>
                      <a:cubicBezTo>
                        <a:pt x="10" y="2"/>
                        <a:pt x="11" y="2"/>
                        <a:pt x="11" y="2"/>
                      </a:cubicBezTo>
                      <a:cubicBezTo>
                        <a:pt x="8" y="1"/>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121"/>
                <p:cNvSpPr/>
                <p:nvPr/>
              </p:nvSpPr>
              <p:spPr bwMode="auto">
                <a:xfrm>
                  <a:off x="5874075" y="4812762"/>
                  <a:ext cx="3685" cy="3685"/>
                </a:xfrm>
                <a:custGeom>
                  <a:gdLst>
                    <a:gd name="T0" fmla="*/ 0 w 2"/>
                    <a:gd name="T1" fmla="*/ 0 h 1"/>
                    <a:gd name="T2" fmla="*/ 0 w 2"/>
                    <a:gd name="T3" fmla="*/ 0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0"/>
                        <a:pt x="0" y="0"/>
                        <a:pt x="0" y="0"/>
                      </a:cubicBezTo>
                      <a:cubicBezTo>
                        <a:pt x="1" y="0"/>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122"/>
                <p:cNvSpPr/>
                <p:nvPr/>
              </p:nvSpPr>
              <p:spPr bwMode="auto">
                <a:xfrm>
                  <a:off x="5837223" y="4742744"/>
                  <a:ext cx="47906" cy="14740"/>
                </a:xfrm>
                <a:custGeom>
                  <a:gdLst>
                    <a:gd name="T0" fmla="*/ 2 w 15"/>
                    <a:gd name="T1" fmla="*/ 0 h 5"/>
                    <a:gd name="T2" fmla="*/ 0 w 15"/>
                    <a:gd name="T3" fmla="*/ 0 h 5"/>
                    <a:gd name="T4" fmla="*/ 7 w 15"/>
                    <a:gd name="T5" fmla="*/ 5 h 5"/>
                    <a:gd name="T6" fmla="*/ 7 w 15"/>
                    <a:gd name="T7" fmla="*/ 1 h 5"/>
                    <a:gd name="T8" fmla="*/ 2 w 15"/>
                    <a:gd name="T9" fmla="*/ 0 h 5"/>
                  </a:gdLst>
                  <a:cxnLst>
                    <a:cxn ang="0">
                      <a:pos x="T0" y="T1"/>
                    </a:cxn>
                    <a:cxn ang="0">
                      <a:pos x="T2" y="T3"/>
                    </a:cxn>
                    <a:cxn ang="0">
                      <a:pos x="T4" y="T5"/>
                    </a:cxn>
                    <a:cxn ang="0">
                      <a:pos x="T6" y="T7"/>
                    </a:cxn>
                    <a:cxn ang="0">
                      <a:pos x="T8" y="T9"/>
                    </a:cxn>
                  </a:cxnLst>
                  <a:rect l="0" t="0" r="r" b="b"/>
                  <a:pathLst>
                    <a:path w="15" h="5">
                      <a:moveTo>
                        <a:pt x="2" y="0"/>
                      </a:moveTo>
                      <a:cubicBezTo>
                        <a:pt x="1" y="0"/>
                        <a:pt x="1" y="0"/>
                        <a:pt x="0" y="0"/>
                      </a:cubicBezTo>
                      <a:cubicBezTo>
                        <a:pt x="1" y="3"/>
                        <a:pt x="5" y="4"/>
                        <a:pt x="7" y="5"/>
                      </a:cubicBezTo>
                      <a:cubicBezTo>
                        <a:pt x="14" y="4"/>
                        <a:pt x="15" y="3"/>
                        <a:pt x="7" y="1"/>
                      </a:cubicBezTo>
                      <a:cubicBezTo>
                        <a:pt x="5"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123"/>
                <p:cNvSpPr/>
                <p:nvPr/>
              </p:nvSpPr>
              <p:spPr bwMode="auto">
                <a:xfrm>
                  <a:off x="5921981" y="4805391"/>
                  <a:ext cx="33166" cy="14740"/>
                </a:xfrm>
                <a:custGeom>
                  <a:gdLst>
                    <a:gd name="T0" fmla="*/ 0 w 10"/>
                    <a:gd name="T1" fmla="*/ 0 h 4"/>
                    <a:gd name="T2" fmla="*/ 10 w 10"/>
                    <a:gd name="T3" fmla="*/ 4 h 4"/>
                    <a:gd name="T4" fmla="*/ 0 w 10"/>
                    <a:gd name="T5" fmla="*/ 0 h 4"/>
                  </a:gdLst>
                  <a:cxnLst>
                    <a:cxn ang="0">
                      <a:pos x="T0" y="T1"/>
                    </a:cxn>
                    <a:cxn ang="0">
                      <a:pos x="T2" y="T3"/>
                    </a:cxn>
                    <a:cxn ang="0">
                      <a:pos x="T4" y="T5"/>
                    </a:cxn>
                  </a:cxnLst>
                  <a:rect l="0" t="0" r="r" b="b"/>
                  <a:pathLst>
                    <a:path w="10" h="4">
                      <a:moveTo>
                        <a:pt x="0" y="0"/>
                      </a:moveTo>
                      <a:cubicBezTo>
                        <a:pt x="2" y="3"/>
                        <a:pt x="7" y="4"/>
                        <a:pt x="10" y="4"/>
                      </a:cubicBezTo>
                      <a:cubicBezTo>
                        <a:pt x="7" y="3"/>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124"/>
                <p:cNvSpPr/>
                <p:nvPr/>
              </p:nvSpPr>
              <p:spPr bwMode="auto">
                <a:xfrm>
                  <a:off x="5804057" y="4779596"/>
                  <a:ext cx="11055" cy="3685"/>
                </a:xfrm>
                <a:custGeom>
                  <a:gdLst>
                    <a:gd name="T0" fmla="*/ 3 w 4"/>
                    <a:gd name="T1" fmla="*/ 0 h 2"/>
                    <a:gd name="T2" fmla="*/ 1 w 4"/>
                    <a:gd name="T3" fmla="*/ 1 h 2"/>
                    <a:gd name="T4" fmla="*/ 1 w 4"/>
                    <a:gd name="T5" fmla="*/ 2 h 2"/>
                    <a:gd name="T6" fmla="*/ 4 w 4"/>
                    <a:gd name="T7" fmla="*/ 0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1" y="0"/>
                        <a:pt x="1" y="1"/>
                      </a:cubicBezTo>
                      <a:cubicBezTo>
                        <a:pt x="0" y="1"/>
                        <a:pt x="1" y="2"/>
                        <a:pt x="1" y="2"/>
                      </a:cubicBezTo>
                      <a:cubicBezTo>
                        <a:pt x="2" y="2"/>
                        <a:pt x="3" y="1"/>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125"/>
                <p:cNvSpPr/>
                <p:nvPr/>
              </p:nvSpPr>
              <p:spPr bwMode="auto">
                <a:xfrm>
                  <a:off x="5715615" y="4680097"/>
                  <a:ext cx="11055" cy="11055"/>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0" y="2"/>
                        <a:pt x="2" y="3"/>
                        <a:pt x="3" y="4"/>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Freeform 126"/>
                <p:cNvSpPr/>
                <p:nvPr/>
              </p:nvSpPr>
              <p:spPr bwMode="auto">
                <a:xfrm>
                  <a:off x="5693504" y="4665357"/>
                  <a:ext cx="22111" cy="14740"/>
                </a:xfrm>
                <a:custGeom>
                  <a:gdLst>
                    <a:gd name="T0" fmla="*/ 0 w 7"/>
                    <a:gd name="T1" fmla="*/ 0 h 5"/>
                    <a:gd name="T2" fmla="*/ 7 w 7"/>
                    <a:gd name="T3" fmla="*/ 5 h 5"/>
                    <a:gd name="T4" fmla="*/ 0 w 7"/>
                    <a:gd name="T5" fmla="*/ 0 h 5"/>
                  </a:gdLst>
                  <a:cxnLst>
                    <a:cxn ang="0">
                      <a:pos x="T0" y="T1"/>
                    </a:cxn>
                    <a:cxn ang="0">
                      <a:pos x="T2" y="T3"/>
                    </a:cxn>
                    <a:cxn ang="0">
                      <a:pos x="T4" y="T5"/>
                    </a:cxn>
                  </a:cxnLst>
                  <a:rect l="0" t="0" r="r" b="b"/>
                  <a:pathLst>
                    <a:path w="7" h="5">
                      <a:moveTo>
                        <a:pt x="0" y="0"/>
                      </a:moveTo>
                      <a:cubicBezTo>
                        <a:pt x="3" y="1"/>
                        <a:pt x="5" y="3"/>
                        <a:pt x="7" y="5"/>
                      </a:cubicBezTo>
                      <a:cubicBezTo>
                        <a:pt x="5"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Freeform 127"/>
                <p:cNvSpPr/>
                <p:nvPr/>
              </p:nvSpPr>
              <p:spPr bwMode="auto">
                <a:xfrm>
                  <a:off x="5686134" y="4599025"/>
                  <a:ext cx="40536" cy="44221"/>
                </a:xfrm>
                <a:custGeom>
                  <a:gdLst>
                    <a:gd name="T0" fmla="*/ 0 w 13"/>
                    <a:gd name="T1" fmla="*/ 0 h 14"/>
                    <a:gd name="T2" fmla="*/ 12 w 13"/>
                    <a:gd name="T3" fmla="*/ 14 h 14"/>
                    <a:gd name="T4" fmla="*/ 5 w 13"/>
                    <a:gd name="T5" fmla="*/ 5 h 14"/>
                    <a:gd name="T6" fmla="*/ 5 w 13"/>
                    <a:gd name="T7" fmla="*/ 3 h 14"/>
                    <a:gd name="T8" fmla="*/ 5 w 13"/>
                    <a:gd name="T9" fmla="*/ 3 h 14"/>
                    <a:gd name="T10" fmla="*/ 4 w 13"/>
                    <a:gd name="T11" fmla="*/ 3 h 14"/>
                    <a:gd name="T12" fmla="*/ 4 w 13"/>
                    <a:gd name="T13" fmla="*/ 3 h 14"/>
                    <a:gd name="T14" fmla="*/ 3 w 13"/>
                    <a:gd name="T15" fmla="*/ 3 h 14"/>
                    <a:gd name="T16" fmla="*/ 0 w 13"/>
                    <a:gd name="T1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0"/>
                      </a:moveTo>
                      <a:cubicBezTo>
                        <a:pt x="4" y="5"/>
                        <a:pt x="8" y="9"/>
                        <a:pt x="12" y="14"/>
                      </a:cubicBezTo>
                      <a:cubicBezTo>
                        <a:pt x="13" y="7"/>
                        <a:pt x="8" y="10"/>
                        <a:pt x="5" y="5"/>
                      </a:cubicBezTo>
                      <a:cubicBezTo>
                        <a:pt x="5" y="5"/>
                        <a:pt x="6" y="4"/>
                        <a:pt x="5" y="3"/>
                      </a:cubicBezTo>
                      <a:cubicBezTo>
                        <a:pt x="5" y="3"/>
                        <a:pt x="5" y="3"/>
                        <a:pt x="5" y="3"/>
                      </a:cubicBezTo>
                      <a:cubicBezTo>
                        <a:pt x="5" y="3"/>
                        <a:pt x="4" y="3"/>
                        <a:pt x="4" y="3"/>
                      </a:cubicBezTo>
                      <a:cubicBezTo>
                        <a:pt x="4" y="3"/>
                        <a:pt x="4" y="3"/>
                        <a:pt x="4" y="3"/>
                      </a:cubicBezTo>
                      <a:cubicBezTo>
                        <a:pt x="3"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128"/>
                <p:cNvSpPr/>
                <p:nvPr/>
              </p:nvSpPr>
              <p:spPr bwMode="auto">
                <a:xfrm>
                  <a:off x="5656653" y="4540063"/>
                  <a:ext cx="29481" cy="33166"/>
                </a:xfrm>
                <a:custGeom>
                  <a:gdLst>
                    <a:gd name="T0" fmla="*/ 4 w 9"/>
                    <a:gd name="T1" fmla="*/ 0 h 10"/>
                    <a:gd name="T2" fmla="*/ 0 w 9"/>
                    <a:gd name="T3" fmla="*/ 5 h 10"/>
                    <a:gd name="T4" fmla="*/ 9 w 9"/>
                    <a:gd name="T5" fmla="*/ 10 h 10"/>
                    <a:gd name="T6" fmla="*/ 5 w 9"/>
                    <a:gd name="T7" fmla="*/ 3 h 10"/>
                    <a:gd name="T8" fmla="*/ 5 w 9"/>
                    <a:gd name="T9" fmla="*/ 3 h 10"/>
                    <a:gd name="T10" fmla="*/ 4 w 9"/>
                    <a:gd name="T11" fmla="*/ 0 h 10"/>
                  </a:gdLst>
                  <a:cxnLst>
                    <a:cxn ang="0">
                      <a:pos x="T0" y="T1"/>
                    </a:cxn>
                    <a:cxn ang="0">
                      <a:pos x="T2" y="T3"/>
                    </a:cxn>
                    <a:cxn ang="0">
                      <a:pos x="T4" y="T5"/>
                    </a:cxn>
                    <a:cxn ang="0">
                      <a:pos x="T6" y="T7"/>
                    </a:cxn>
                    <a:cxn ang="0">
                      <a:pos x="T8" y="T9"/>
                    </a:cxn>
                    <a:cxn ang="0">
                      <a:pos x="T10" y="T11"/>
                    </a:cxn>
                  </a:cxnLst>
                  <a:rect l="0" t="0" r="r" b="b"/>
                  <a:pathLst>
                    <a:path w="9" h="10">
                      <a:moveTo>
                        <a:pt x="4" y="0"/>
                      </a:moveTo>
                      <a:cubicBezTo>
                        <a:pt x="3" y="3"/>
                        <a:pt x="2" y="4"/>
                        <a:pt x="0" y="5"/>
                      </a:cubicBezTo>
                      <a:cubicBezTo>
                        <a:pt x="3" y="7"/>
                        <a:pt x="6" y="9"/>
                        <a:pt x="9" y="10"/>
                      </a:cubicBezTo>
                      <a:cubicBezTo>
                        <a:pt x="9" y="8"/>
                        <a:pt x="8" y="3"/>
                        <a:pt x="5" y="3"/>
                      </a:cubicBezTo>
                      <a:cubicBezTo>
                        <a:pt x="5" y="3"/>
                        <a:pt x="5" y="3"/>
                        <a:pt x="5" y="3"/>
                      </a:cubicBezTo>
                      <a:cubicBezTo>
                        <a:pt x="6"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129"/>
                <p:cNvSpPr/>
                <p:nvPr/>
              </p:nvSpPr>
              <p:spPr bwMode="auto">
                <a:xfrm>
                  <a:off x="5837223" y="4761170"/>
                  <a:ext cx="66332" cy="14740"/>
                </a:xfrm>
                <a:custGeom>
                  <a:gdLst>
                    <a:gd name="T0" fmla="*/ 3 w 21"/>
                    <a:gd name="T1" fmla="*/ 0 h 4"/>
                    <a:gd name="T2" fmla="*/ 0 w 21"/>
                    <a:gd name="T3" fmla="*/ 1 h 4"/>
                    <a:gd name="T4" fmla="*/ 17 w 21"/>
                    <a:gd name="T5" fmla="*/ 4 h 4"/>
                    <a:gd name="T6" fmla="*/ 21 w 21"/>
                    <a:gd name="T7" fmla="*/ 3 h 4"/>
                    <a:gd name="T8" fmla="*/ 7 w 21"/>
                    <a:gd name="T9" fmla="*/ 1 h 4"/>
                    <a:gd name="T10" fmla="*/ 3 w 21"/>
                    <a:gd name="T11" fmla="*/ 0 h 4"/>
                  </a:gdLst>
                  <a:cxnLst>
                    <a:cxn ang="0">
                      <a:pos x="T0" y="T1"/>
                    </a:cxn>
                    <a:cxn ang="0">
                      <a:pos x="T2" y="T3"/>
                    </a:cxn>
                    <a:cxn ang="0">
                      <a:pos x="T4" y="T5"/>
                    </a:cxn>
                    <a:cxn ang="0">
                      <a:pos x="T6" y="T7"/>
                    </a:cxn>
                    <a:cxn ang="0">
                      <a:pos x="T8" y="T9"/>
                    </a:cxn>
                    <a:cxn ang="0">
                      <a:pos x="T10" y="T11"/>
                    </a:cxn>
                  </a:cxnLst>
                  <a:rect l="0" t="0" r="r" b="b"/>
                  <a:pathLst>
                    <a:path w="21" h="4">
                      <a:moveTo>
                        <a:pt x="3" y="0"/>
                      </a:moveTo>
                      <a:cubicBezTo>
                        <a:pt x="2" y="0"/>
                        <a:pt x="1" y="1"/>
                        <a:pt x="0" y="1"/>
                      </a:cubicBezTo>
                      <a:cubicBezTo>
                        <a:pt x="5" y="2"/>
                        <a:pt x="11" y="4"/>
                        <a:pt x="17" y="4"/>
                      </a:cubicBezTo>
                      <a:cubicBezTo>
                        <a:pt x="18" y="4"/>
                        <a:pt x="20" y="4"/>
                        <a:pt x="21" y="3"/>
                      </a:cubicBezTo>
                      <a:cubicBezTo>
                        <a:pt x="16" y="3"/>
                        <a:pt x="11" y="3"/>
                        <a:pt x="7" y="1"/>
                      </a:cubicBezTo>
                      <a:cubicBezTo>
                        <a:pt x="6"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Freeform 130"/>
                <p:cNvSpPr/>
                <p:nvPr/>
              </p:nvSpPr>
              <p:spPr bwMode="auto">
                <a:xfrm>
                  <a:off x="6644264" y="5406065"/>
                  <a:ext cx="25796" cy="29481"/>
                </a:xfrm>
                <a:custGeom>
                  <a:gdLst>
                    <a:gd name="T0" fmla="*/ 5 w 8"/>
                    <a:gd name="T1" fmla="*/ 0 h 9"/>
                    <a:gd name="T2" fmla="*/ 0 w 8"/>
                    <a:gd name="T3" fmla="*/ 3 h 9"/>
                    <a:gd name="T4" fmla="*/ 3 w 8"/>
                    <a:gd name="T5" fmla="*/ 9 h 9"/>
                    <a:gd name="T6" fmla="*/ 7 w 8"/>
                    <a:gd name="T7" fmla="*/ 2 h 9"/>
                    <a:gd name="T8" fmla="*/ 5 w 8"/>
                    <a:gd name="T9" fmla="*/ 0 h 9"/>
                  </a:gdLst>
                  <a:cxnLst>
                    <a:cxn ang="0">
                      <a:pos x="T0" y="T1"/>
                    </a:cxn>
                    <a:cxn ang="0">
                      <a:pos x="T2" y="T3"/>
                    </a:cxn>
                    <a:cxn ang="0">
                      <a:pos x="T4" y="T5"/>
                    </a:cxn>
                    <a:cxn ang="0">
                      <a:pos x="T6" y="T7"/>
                    </a:cxn>
                    <a:cxn ang="0">
                      <a:pos x="T8" y="T9"/>
                    </a:cxn>
                  </a:cxnLst>
                  <a:rect l="0" t="0" r="r" b="b"/>
                  <a:pathLst>
                    <a:path w="8" h="9">
                      <a:moveTo>
                        <a:pt x="5" y="0"/>
                      </a:moveTo>
                      <a:cubicBezTo>
                        <a:pt x="3" y="0"/>
                        <a:pt x="1" y="3"/>
                        <a:pt x="0" y="3"/>
                      </a:cubicBezTo>
                      <a:cubicBezTo>
                        <a:pt x="0" y="5"/>
                        <a:pt x="2" y="7"/>
                        <a:pt x="3" y="9"/>
                      </a:cubicBezTo>
                      <a:cubicBezTo>
                        <a:pt x="5" y="8"/>
                        <a:pt x="8" y="4"/>
                        <a:pt x="7" y="2"/>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131"/>
                <p:cNvSpPr/>
                <p:nvPr/>
              </p:nvSpPr>
              <p:spPr bwMode="auto">
                <a:xfrm>
                  <a:off x="6636893" y="5446601"/>
                  <a:ext cx="7370" cy="18426"/>
                </a:xfrm>
                <a:custGeom>
                  <a:gdLst>
                    <a:gd name="T0" fmla="*/ 0 w 2"/>
                    <a:gd name="T1" fmla="*/ 0 h 5"/>
                    <a:gd name="T2" fmla="*/ 2 w 2"/>
                    <a:gd name="T3" fmla="*/ 5 h 5"/>
                    <a:gd name="T4" fmla="*/ 0 w 2"/>
                    <a:gd name="T5" fmla="*/ 0 h 5"/>
                  </a:gdLst>
                  <a:cxnLst>
                    <a:cxn ang="0">
                      <a:pos x="T0" y="T1"/>
                    </a:cxn>
                    <a:cxn ang="0">
                      <a:pos x="T2" y="T3"/>
                    </a:cxn>
                    <a:cxn ang="0">
                      <a:pos x="T4" y="T5"/>
                    </a:cxn>
                  </a:cxnLst>
                  <a:rect l="0" t="0" r="r" b="b"/>
                  <a:pathLst>
                    <a:path w="2" h="5">
                      <a:moveTo>
                        <a:pt x="0" y="0"/>
                      </a:moveTo>
                      <a:cubicBezTo>
                        <a:pt x="0" y="2"/>
                        <a:pt x="1" y="3"/>
                        <a:pt x="2" y="5"/>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132"/>
                <p:cNvSpPr/>
                <p:nvPr/>
              </p:nvSpPr>
              <p:spPr bwMode="auto">
                <a:xfrm>
                  <a:off x="6467378" y="5321308"/>
                  <a:ext cx="7370" cy="11055"/>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133"/>
                <p:cNvSpPr/>
                <p:nvPr/>
              </p:nvSpPr>
              <p:spPr bwMode="auto">
                <a:xfrm>
                  <a:off x="6611098" y="5107571"/>
                  <a:ext cx="44221" cy="25796"/>
                </a:xfrm>
                <a:custGeom>
                  <a:gdLst>
                    <a:gd name="T0" fmla="*/ 13 w 13"/>
                    <a:gd name="T1" fmla="*/ 0 h 8"/>
                    <a:gd name="T2" fmla="*/ 8 w 13"/>
                    <a:gd name="T3" fmla="*/ 2 h 8"/>
                    <a:gd name="T4" fmla="*/ 8 w 13"/>
                    <a:gd name="T5" fmla="*/ 2 h 8"/>
                    <a:gd name="T6" fmla="*/ 7 w 13"/>
                    <a:gd name="T7" fmla="*/ 1 h 8"/>
                    <a:gd name="T8" fmla="*/ 5 w 13"/>
                    <a:gd name="T9" fmla="*/ 1 h 8"/>
                    <a:gd name="T10" fmla="*/ 4 w 13"/>
                    <a:gd name="T11" fmla="*/ 1 h 8"/>
                    <a:gd name="T12" fmla="*/ 3 w 13"/>
                    <a:gd name="T13" fmla="*/ 1 h 8"/>
                    <a:gd name="T14" fmla="*/ 1 w 13"/>
                    <a:gd name="T15" fmla="*/ 6 h 8"/>
                    <a:gd name="T16" fmla="*/ 6 w 13"/>
                    <a:gd name="T17" fmla="*/ 4 h 8"/>
                    <a:gd name="T18" fmla="*/ 10 w 13"/>
                    <a:gd name="T19" fmla="*/ 8 h 8"/>
                    <a:gd name="T20" fmla="*/ 13 w 13"/>
                    <a:gd name="T2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8">
                      <a:moveTo>
                        <a:pt x="13" y="0"/>
                      </a:moveTo>
                      <a:cubicBezTo>
                        <a:pt x="12" y="0"/>
                        <a:pt x="9" y="2"/>
                        <a:pt x="8" y="2"/>
                      </a:cubicBezTo>
                      <a:cubicBezTo>
                        <a:pt x="8" y="2"/>
                        <a:pt x="8" y="2"/>
                        <a:pt x="8" y="2"/>
                      </a:cubicBezTo>
                      <a:cubicBezTo>
                        <a:pt x="7" y="2"/>
                        <a:pt x="8" y="1"/>
                        <a:pt x="7" y="1"/>
                      </a:cubicBezTo>
                      <a:cubicBezTo>
                        <a:pt x="7" y="1"/>
                        <a:pt x="6" y="1"/>
                        <a:pt x="5" y="1"/>
                      </a:cubicBezTo>
                      <a:cubicBezTo>
                        <a:pt x="5" y="1"/>
                        <a:pt x="4" y="1"/>
                        <a:pt x="4" y="1"/>
                      </a:cubicBezTo>
                      <a:cubicBezTo>
                        <a:pt x="3" y="1"/>
                        <a:pt x="3" y="1"/>
                        <a:pt x="3" y="1"/>
                      </a:cubicBezTo>
                      <a:cubicBezTo>
                        <a:pt x="0" y="2"/>
                        <a:pt x="2" y="3"/>
                        <a:pt x="1" y="6"/>
                      </a:cubicBezTo>
                      <a:cubicBezTo>
                        <a:pt x="4" y="5"/>
                        <a:pt x="5" y="4"/>
                        <a:pt x="6" y="4"/>
                      </a:cubicBezTo>
                      <a:cubicBezTo>
                        <a:pt x="7" y="4"/>
                        <a:pt x="8" y="5"/>
                        <a:pt x="10" y="8"/>
                      </a:cubicBezTo>
                      <a:cubicBezTo>
                        <a:pt x="9" y="3"/>
                        <a:pt x="12" y="3"/>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134"/>
                <p:cNvSpPr/>
                <p:nvPr/>
              </p:nvSpPr>
              <p:spPr bwMode="auto">
                <a:xfrm>
                  <a:off x="6614783" y="5409750"/>
                  <a:ext cx="22111" cy="18426"/>
                </a:xfrm>
                <a:custGeom>
                  <a:gdLst>
                    <a:gd name="T0" fmla="*/ 7 w 7"/>
                    <a:gd name="T1" fmla="*/ 0 h 6"/>
                    <a:gd name="T2" fmla="*/ 4 w 7"/>
                    <a:gd name="T3" fmla="*/ 6 h 6"/>
                    <a:gd name="T4" fmla="*/ 7 w 7"/>
                    <a:gd name="T5" fmla="*/ 0 h 6"/>
                  </a:gdLst>
                  <a:cxnLst>
                    <a:cxn ang="0">
                      <a:pos x="T0" y="T1"/>
                    </a:cxn>
                    <a:cxn ang="0">
                      <a:pos x="T2" y="T3"/>
                    </a:cxn>
                    <a:cxn ang="0">
                      <a:pos x="T4" y="T5"/>
                    </a:cxn>
                  </a:cxnLst>
                  <a:rect l="0" t="0" r="r" b="b"/>
                  <a:pathLst>
                    <a:path w="7" h="6">
                      <a:moveTo>
                        <a:pt x="7" y="0"/>
                      </a:moveTo>
                      <a:cubicBezTo>
                        <a:pt x="3" y="1"/>
                        <a:pt x="0" y="2"/>
                        <a:pt x="4" y="6"/>
                      </a:cubicBezTo>
                      <a:cubicBezTo>
                        <a:pt x="7" y="4"/>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135"/>
                <p:cNvSpPr/>
                <p:nvPr/>
              </p:nvSpPr>
              <p:spPr bwMode="auto">
                <a:xfrm>
                  <a:off x="6647949" y="5479768"/>
                  <a:ext cx="7370" cy="14740"/>
                </a:xfrm>
                <a:custGeom>
                  <a:gdLst>
                    <a:gd name="T0" fmla="*/ 0 w 2"/>
                    <a:gd name="T1" fmla="*/ 0 h 5"/>
                    <a:gd name="T2" fmla="*/ 1 w 2"/>
                    <a:gd name="T3" fmla="*/ 5 h 5"/>
                    <a:gd name="T4" fmla="*/ 0 w 2"/>
                    <a:gd name="T5" fmla="*/ 0 h 5"/>
                  </a:gdLst>
                  <a:cxnLst>
                    <a:cxn ang="0">
                      <a:pos x="T0" y="T1"/>
                    </a:cxn>
                    <a:cxn ang="0">
                      <a:pos x="T2" y="T3"/>
                    </a:cxn>
                    <a:cxn ang="0">
                      <a:pos x="T4" y="T5"/>
                    </a:cxn>
                  </a:cxnLst>
                  <a:rect l="0" t="0" r="r" b="b"/>
                  <a:pathLst>
                    <a:path w="2" h="5">
                      <a:moveTo>
                        <a:pt x="0" y="0"/>
                      </a:moveTo>
                      <a:cubicBezTo>
                        <a:pt x="0" y="2"/>
                        <a:pt x="1" y="3"/>
                        <a:pt x="1" y="5"/>
                      </a:cubicBezTo>
                      <a:cubicBezTo>
                        <a:pt x="2" y="3"/>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136"/>
                <p:cNvSpPr/>
                <p:nvPr/>
              </p:nvSpPr>
              <p:spPr bwMode="auto">
                <a:xfrm>
                  <a:off x="6699540" y="5354474"/>
                  <a:ext cx="33166" cy="18426"/>
                </a:xfrm>
                <a:custGeom>
                  <a:gdLst>
                    <a:gd name="T0" fmla="*/ 10 w 10"/>
                    <a:gd name="T1" fmla="*/ 0 h 5"/>
                    <a:gd name="T2" fmla="*/ 0 w 10"/>
                    <a:gd name="T3" fmla="*/ 5 h 5"/>
                    <a:gd name="T4" fmla="*/ 10 w 10"/>
                    <a:gd name="T5" fmla="*/ 0 h 5"/>
                  </a:gdLst>
                  <a:cxnLst>
                    <a:cxn ang="0">
                      <a:pos x="T0" y="T1"/>
                    </a:cxn>
                    <a:cxn ang="0">
                      <a:pos x="T2" y="T3"/>
                    </a:cxn>
                    <a:cxn ang="0">
                      <a:pos x="T4" y="T5"/>
                    </a:cxn>
                  </a:cxnLst>
                  <a:rect l="0" t="0" r="r" b="b"/>
                  <a:pathLst>
                    <a:path w="10" h="5">
                      <a:moveTo>
                        <a:pt x="10" y="0"/>
                      </a:moveTo>
                      <a:cubicBezTo>
                        <a:pt x="7" y="1"/>
                        <a:pt x="3" y="3"/>
                        <a:pt x="0" y="5"/>
                      </a:cubicBezTo>
                      <a:cubicBezTo>
                        <a:pt x="4" y="5"/>
                        <a:pt x="8"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137"/>
                <p:cNvSpPr/>
                <p:nvPr/>
              </p:nvSpPr>
              <p:spPr bwMode="auto">
                <a:xfrm>
                  <a:off x="6600042" y="5376584"/>
                  <a:ext cx="7370" cy="11055"/>
                </a:xfrm>
                <a:custGeom>
                  <a:gdLst>
                    <a:gd name="T0" fmla="*/ 2 w 2"/>
                    <a:gd name="T1" fmla="*/ 0 h 4"/>
                    <a:gd name="T2" fmla="*/ 0 w 2"/>
                    <a:gd name="T3" fmla="*/ 4 h 4"/>
                    <a:gd name="T4" fmla="*/ 2 w 2"/>
                    <a:gd name="T5" fmla="*/ 0 h 4"/>
                  </a:gdLst>
                  <a:cxnLst>
                    <a:cxn ang="0">
                      <a:pos x="T0" y="T1"/>
                    </a:cxn>
                    <a:cxn ang="0">
                      <a:pos x="T2" y="T3"/>
                    </a:cxn>
                    <a:cxn ang="0">
                      <a:pos x="T4" y="T5"/>
                    </a:cxn>
                  </a:cxnLst>
                  <a:rect l="0" t="0" r="r" b="b"/>
                  <a:pathLst>
                    <a:path w="2" h="4">
                      <a:moveTo>
                        <a:pt x="2" y="0"/>
                      </a:moveTo>
                      <a:cubicBezTo>
                        <a:pt x="1" y="0"/>
                        <a:pt x="1" y="1"/>
                        <a:pt x="0" y="4"/>
                      </a:cubicBezTo>
                      <a:cubicBezTo>
                        <a:pt x="2" y="2"/>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Freeform 138"/>
                <p:cNvSpPr/>
                <p:nvPr/>
              </p:nvSpPr>
              <p:spPr bwMode="auto">
                <a:xfrm>
                  <a:off x="6485804" y="5192329"/>
                  <a:ext cx="7370" cy="18426"/>
                </a:xfrm>
                <a:custGeom>
                  <a:gdLst>
                    <a:gd name="T0" fmla="*/ 0 w 3"/>
                    <a:gd name="T1" fmla="*/ 0 h 5"/>
                    <a:gd name="T2" fmla="*/ 3 w 3"/>
                    <a:gd name="T3" fmla="*/ 5 h 5"/>
                    <a:gd name="T4" fmla="*/ 0 w 3"/>
                    <a:gd name="T5" fmla="*/ 0 h 5"/>
                  </a:gdLst>
                  <a:cxnLst>
                    <a:cxn ang="0">
                      <a:pos x="T0" y="T1"/>
                    </a:cxn>
                    <a:cxn ang="0">
                      <a:pos x="T2" y="T3"/>
                    </a:cxn>
                    <a:cxn ang="0">
                      <a:pos x="T4" y="T5"/>
                    </a:cxn>
                  </a:cxnLst>
                  <a:rect l="0" t="0" r="r" b="b"/>
                  <a:pathLst>
                    <a:path w="3" h="5">
                      <a:moveTo>
                        <a:pt x="0" y="0"/>
                      </a:moveTo>
                      <a:cubicBezTo>
                        <a:pt x="1" y="2"/>
                        <a:pt x="2" y="3"/>
                        <a:pt x="3"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139"/>
                <p:cNvSpPr/>
                <p:nvPr/>
              </p:nvSpPr>
              <p:spPr bwMode="auto">
                <a:xfrm>
                  <a:off x="6688485" y="5173903"/>
                  <a:ext cx="73702" cy="44221"/>
                </a:xfrm>
                <a:custGeom>
                  <a:gdLst>
                    <a:gd name="T0" fmla="*/ 12 w 23"/>
                    <a:gd name="T1" fmla="*/ 0 h 14"/>
                    <a:gd name="T2" fmla="*/ 6 w 23"/>
                    <a:gd name="T3" fmla="*/ 3 h 14"/>
                    <a:gd name="T4" fmla="*/ 4 w 23"/>
                    <a:gd name="T5" fmla="*/ 4 h 14"/>
                    <a:gd name="T6" fmla="*/ 3 w 23"/>
                    <a:gd name="T7" fmla="*/ 4 h 14"/>
                    <a:gd name="T8" fmla="*/ 3 w 23"/>
                    <a:gd name="T9" fmla="*/ 4 h 14"/>
                    <a:gd name="T10" fmla="*/ 0 w 23"/>
                    <a:gd name="T11" fmla="*/ 5 h 14"/>
                    <a:gd name="T12" fmla="*/ 10 w 23"/>
                    <a:gd name="T13" fmla="*/ 6 h 14"/>
                    <a:gd name="T14" fmla="*/ 11 w 23"/>
                    <a:gd name="T15" fmla="*/ 6 h 14"/>
                    <a:gd name="T16" fmla="*/ 7 w 23"/>
                    <a:gd name="T17" fmla="*/ 10 h 14"/>
                    <a:gd name="T18" fmla="*/ 16 w 23"/>
                    <a:gd name="T19" fmla="*/ 14 h 14"/>
                    <a:gd name="T20" fmla="*/ 17 w 23"/>
                    <a:gd name="T21" fmla="*/ 14 h 14"/>
                    <a:gd name="T22" fmla="*/ 17 w 23"/>
                    <a:gd name="T23" fmla="*/ 9 h 14"/>
                    <a:gd name="T24" fmla="*/ 17 w 23"/>
                    <a:gd name="T25" fmla="*/ 9 h 14"/>
                    <a:gd name="T26" fmla="*/ 19 w 23"/>
                    <a:gd name="T27" fmla="*/ 11 h 14"/>
                    <a:gd name="T28" fmla="*/ 21 w 23"/>
                    <a:gd name="T29" fmla="*/ 13 h 14"/>
                    <a:gd name="T30" fmla="*/ 22 w 23"/>
                    <a:gd name="T31" fmla="*/ 12 h 14"/>
                    <a:gd name="T32" fmla="*/ 16 w 23"/>
                    <a:gd name="T33" fmla="*/ 5 h 14"/>
                    <a:gd name="T34" fmla="*/ 14 w 23"/>
                    <a:gd name="T35" fmla="*/ 1 h 14"/>
                    <a:gd name="T36" fmla="*/ 12 w 23"/>
                    <a:gd name="T3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4">
                      <a:moveTo>
                        <a:pt x="12" y="0"/>
                      </a:moveTo>
                      <a:cubicBezTo>
                        <a:pt x="10" y="0"/>
                        <a:pt x="8" y="2"/>
                        <a:pt x="6" y="3"/>
                      </a:cubicBezTo>
                      <a:cubicBezTo>
                        <a:pt x="5" y="4"/>
                        <a:pt x="4" y="4"/>
                        <a:pt x="4" y="4"/>
                      </a:cubicBezTo>
                      <a:cubicBezTo>
                        <a:pt x="3" y="4"/>
                        <a:pt x="3" y="4"/>
                        <a:pt x="3" y="4"/>
                      </a:cubicBezTo>
                      <a:cubicBezTo>
                        <a:pt x="3" y="4"/>
                        <a:pt x="3" y="4"/>
                        <a:pt x="3" y="4"/>
                      </a:cubicBezTo>
                      <a:cubicBezTo>
                        <a:pt x="2" y="4"/>
                        <a:pt x="1" y="4"/>
                        <a:pt x="0" y="5"/>
                      </a:cubicBezTo>
                      <a:cubicBezTo>
                        <a:pt x="3" y="5"/>
                        <a:pt x="6" y="6"/>
                        <a:pt x="10" y="6"/>
                      </a:cubicBezTo>
                      <a:cubicBezTo>
                        <a:pt x="10" y="6"/>
                        <a:pt x="11" y="6"/>
                        <a:pt x="11" y="6"/>
                      </a:cubicBezTo>
                      <a:cubicBezTo>
                        <a:pt x="10" y="8"/>
                        <a:pt x="9" y="10"/>
                        <a:pt x="7" y="10"/>
                      </a:cubicBezTo>
                      <a:cubicBezTo>
                        <a:pt x="10" y="12"/>
                        <a:pt x="13" y="13"/>
                        <a:pt x="16" y="14"/>
                      </a:cubicBezTo>
                      <a:cubicBezTo>
                        <a:pt x="17" y="14"/>
                        <a:pt x="17" y="14"/>
                        <a:pt x="17" y="14"/>
                      </a:cubicBezTo>
                      <a:cubicBezTo>
                        <a:pt x="23" y="14"/>
                        <a:pt x="15" y="11"/>
                        <a:pt x="17" y="9"/>
                      </a:cubicBezTo>
                      <a:cubicBezTo>
                        <a:pt x="17" y="9"/>
                        <a:pt x="17" y="9"/>
                        <a:pt x="17" y="9"/>
                      </a:cubicBezTo>
                      <a:cubicBezTo>
                        <a:pt x="18" y="9"/>
                        <a:pt x="19" y="10"/>
                        <a:pt x="19" y="11"/>
                      </a:cubicBezTo>
                      <a:cubicBezTo>
                        <a:pt x="20" y="12"/>
                        <a:pt x="21" y="13"/>
                        <a:pt x="21" y="13"/>
                      </a:cubicBezTo>
                      <a:cubicBezTo>
                        <a:pt x="21" y="13"/>
                        <a:pt x="22" y="13"/>
                        <a:pt x="22" y="12"/>
                      </a:cubicBezTo>
                      <a:cubicBezTo>
                        <a:pt x="23" y="9"/>
                        <a:pt x="17" y="6"/>
                        <a:pt x="16" y="5"/>
                      </a:cubicBezTo>
                      <a:cubicBezTo>
                        <a:pt x="15" y="3"/>
                        <a:pt x="16" y="2"/>
                        <a:pt x="14" y="1"/>
                      </a:cubicBezTo>
                      <a:cubicBezTo>
                        <a:pt x="14"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140"/>
                <p:cNvSpPr/>
                <p:nvPr/>
              </p:nvSpPr>
              <p:spPr bwMode="auto">
                <a:xfrm>
                  <a:off x="6655319" y="5059664"/>
                  <a:ext cx="18426" cy="7370"/>
                </a:xfrm>
                <a:custGeom>
                  <a:gdLst>
                    <a:gd name="T0" fmla="*/ 0 w 6"/>
                    <a:gd name="T1" fmla="*/ 0 h 2"/>
                    <a:gd name="T2" fmla="*/ 4 w 6"/>
                    <a:gd name="T3" fmla="*/ 2 h 2"/>
                    <a:gd name="T4" fmla="*/ 6 w 6"/>
                    <a:gd name="T5" fmla="*/ 1 h 2"/>
                    <a:gd name="T6" fmla="*/ 0 w 6"/>
                    <a:gd name="T7" fmla="*/ 0 h 2"/>
                  </a:gdLst>
                  <a:cxnLst>
                    <a:cxn ang="0">
                      <a:pos x="T0" y="T1"/>
                    </a:cxn>
                    <a:cxn ang="0">
                      <a:pos x="T2" y="T3"/>
                    </a:cxn>
                    <a:cxn ang="0">
                      <a:pos x="T4" y="T5"/>
                    </a:cxn>
                    <a:cxn ang="0">
                      <a:pos x="T6" y="T7"/>
                    </a:cxn>
                  </a:cxnLst>
                  <a:rect l="0" t="0" r="r" b="b"/>
                  <a:pathLst>
                    <a:path w="6" h="2">
                      <a:moveTo>
                        <a:pt x="0" y="0"/>
                      </a:moveTo>
                      <a:cubicBezTo>
                        <a:pt x="2" y="1"/>
                        <a:pt x="3" y="2"/>
                        <a:pt x="4" y="2"/>
                      </a:cubicBezTo>
                      <a:cubicBezTo>
                        <a:pt x="5" y="2"/>
                        <a:pt x="5" y="2"/>
                        <a:pt x="6"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141"/>
                <p:cNvSpPr/>
                <p:nvPr/>
              </p:nvSpPr>
              <p:spPr bwMode="auto">
                <a:xfrm>
                  <a:off x="6581617" y="5424491"/>
                  <a:ext cx="3685" cy="11055"/>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0" y="1"/>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142"/>
                <p:cNvSpPr>
                  <a:spLocks noEditPoints="1"/>
                </p:cNvSpPr>
                <p:nvPr/>
              </p:nvSpPr>
              <p:spPr bwMode="auto">
                <a:xfrm>
                  <a:off x="6478433" y="5560840"/>
                  <a:ext cx="250588" cy="77387"/>
                </a:xfrm>
                <a:custGeom>
                  <a:gdLst>
                    <a:gd name="T0" fmla="*/ 79 w 79"/>
                    <a:gd name="T1" fmla="*/ 12 h 24"/>
                    <a:gd name="T2" fmla="*/ 79 w 79"/>
                    <a:gd name="T3" fmla="*/ 12 h 24"/>
                    <a:gd name="T4" fmla="*/ 79 w 79"/>
                    <a:gd name="T5" fmla="*/ 12 h 24"/>
                    <a:gd name="T6" fmla="*/ 6 w 79"/>
                    <a:gd name="T7" fmla="*/ 0 h 24"/>
                    <a:gd name="T8" fmla="*/ 0 w 79"/>
                    <a:gd name="T9" fmla="*/ 12 h 24"/>
                    <a:gd name="T10" fmla="*/ 26 w 79"/>
                    <a:gd name="T11" fmla="*/ 17 h 24"/>
                    <a:gd name="T12" fmla="*/ 34 w 79"/>
                    <a:gd name="T13" fmla="*/ 24 h 24"/>
                    <a:gd name="T14" fmla="*/ 59 w 79"/>
                    <a:gd name="T15" fmla="*/ 22 h 24"/>
                    <a:gd name="T16" fmla="*/ 76 w 79"/>
                    <a:gd name="T17" fmla="*/ 21 h 24"/>
                    <a:gd name="T18" fmla="*/ 78 w 79"/>
                    <a:gd name="T19" fmla="*/ 17 h 24"/>
                    <a:gd name="T20" fmla="*/ 79 w 79"/>
                    <a:gd name="T21" fmla="*/ 16 h 24"/>
                    <a:gd name="T22" fmla="*/ 78 w 79"/>
                    <a:gd name="T23" fmla="*/ 14 h 24"/>
                    <a:gd name="T24" fmla="*/ 79 w 79"/>
                    <a:gd name="T25" fmla="*/ 12 h 24"/>
                    <a:gd name="T26" fmla="*/ 69 w 79"/>
                    <a:gd name="T27" fmla="*/ 16 h 24"/>
                    <a:gd name="T28" fmla="*/ 65 w 79"/>
                    <a:gd name="T29" fmla="*/ 18 h 24"/>
                    <a:gd name="T30" fmla="*/ 64 w 79"/>
                    <a:gd name="T31" fmla="*/ 11 h 24"/>
                    <a:gd name="T32" fmla="*/ 63 w 79"/>
                    <a:gd name="T33" fmla="*/ 11 h 24"/>
                    <a:gd name="T34" fmla="*/ 60 w 79"/>
                    <a:gd name="T35" fmla="*/ 12 h 24"/>
                    <a:gd name="T36" fmla="*/ 57 w 79"/>
                    <a:gd name="T37" fmla="*/ 12 h 24"/>
                    <a:gd name="T38" fmla="*/ 56 w 79"/>
                    <a:gd name="T39" fmla="*/ 12 h 24"/>
                    <a:gd name="T40" fmla="*/ 42 w 79"/>
                    <a:gd name="T41" fmla="*/ 9 h 24"/>
                    <a:gd name="T42" fmla="*/ 40 w 79"/>
                    <a:gd name="T43" fmla="*/ 9 h 24"/>
                    <a:gd name="T44" fmla="*/ 33 w 79"/>
                    <a:gd name="T45" fmla="*/ 10 h 24"/>
                    <a:gd name="T46" fmla="*/ 27 w 79"/>
                    <a:gd name="T47" fmla="*/ 11 h 24"/>
                    <a:gd name="T48" fmla="*/ 21 w 79"/>
                    <a:gd name="T49" fmla="*/ 8 h 24"/>
                    <a:gd name="T50" fmla="*/ 17 w 79"/>
                    <a:gd name="T51" fmla="*/ 5 h 24"/>
                    <a:gd name="T52" fmla="*/ 19 w 79"/>
                    <a:gd name="T53" fmla="*/ 3 h 24"/>
                    <a:gd name="T54" fmla="*/ 16 w 79"/>
                    <a:gd name="T55" fmla="*/ 2 h 24"/>
                    <a:gd name="T56" fmla="*/ 9 w 79"/>
                    <a:gd name="T57" fmla="*/ 4 h 24"/>
                    <a:gd name="T58" fmla="*/ 8 w 79"/>
                    <a:gd name="T59" fmla="*/ 4 h 24"/>
                    <a:gd name="T60" fmla="*/ 6 w 79"/>
                    <a:gd name="T61"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24">
                      <a:moveTo>
                        <a:pt x="79" y="12"/>
                      </a:moveTo>
                      <a:cubicBezTo>
                        <a:pt x="79" y="12"/>
                        <a:pt x="79" y="12"/>
                        <a:pt x="79" y="12"/>
                      </a:cubicBezTo>
                      <a:cubicBezTo>
                        <a:pt x="79" y="12"/>
                        <a:pt x="79" y="12"/>
                        <a:pt x="79" y="12"/>
                      </a:cubicBezTo>
                      <a:moveTo>
                        <a:pt x="6" y="0"/>
                      </a:moveTo>
                      <a:cubicBezTo>
                        <a:pt x="4" y="4"/>
                        <a:pt x="2" y="8"/>
                        <a:pt x="0" y="12"/>
                      </a:cubicBezTo>
                      <a:cubicBezTo>
                        <a:pt x="8" y="14"/>
                        <a:pt x="17" y="15"/>
                        <a:pt x="26" y="17"/>
                      </a:cubicBezTo>
                      <a:cubicBezTo>
                        <a:pt x="30" y="18"/>
                        <a:pt x="37" y="19"/>
                        <a:pt x="34" y="24"/>
                      </a:cubicBezTo>
                      <a:cubicBezTo>
                        <a:pt x="42" y="24"/>
                        <a:pt x="51" y="22"/>
                        <a:pt x="59" y="22"/>
                      </a:cubicBezTo>
                      <a:cubicBezTo>
                        <a:pt x="64" y="21"/>
                        <a:pt x="70" y="21"/>
                        <a:pt x="76" y="21"/>
                      </a:cubicBezTo>
                      <a:cubicBezTo>
                        <a:pt x="78" y="21"/>
                        <a:pt x="78" y="19"/>
                        <a:pt x="78" y="17"/>
                      </a:cubicBezTo>
                      <a:cubicBezTo>
                        <a:pt x="78" y="16"/>
                        <a:pt x="79" y="16"/>
                        <a:pt x="79" y="16"/>
                      </a:cubicBezTo>
                      <a:cubicBezTo>
                        <a:pt x="79" y="15"/>
                        <a:pt x="78" y="15"/>
                        <a:pt x="78" y="14"/>
                      </a:cubicBezTo>
                      <a:cubicBezTo>
                        <a:pt x="78" y="13"/>
                        <a:pt x="79" y="12"/>
                        <a:pt x="79" y="12"/>
                      </a:cubicBezTo>
                      <a:cubicBezTo>
                        <a:pt x="74" y="16"/>
                        <a:pt x="75" y="14"/>
                        <a:pt x="69" y="16"/>
                      </a:cubicBezTo>
                      <a:cubicBezTo>
                        <a:pt x="67" y="16"/>
                        <a:pt x="66" y="17"/>
                        <a:pt x="65" y="18"/>
                      </a:cubicBezTo>
                      <a:cubicBezTo>
                        <a:pt x="64" y="16"/>
                        <a:pt x="62" y="13"/>
                        <a:pt x="64" y="11"/>
                      </a:cubicBezTo>
                      <a:cubicBezTo>
                        <a:pt x="64" y="11"/>
                        <a:pt x="63" y="11"/>
                        <a:pt x="63" y="11"/>
                      </a:cubicBezTo>
                      <a:cubicBezTo>
                        <a:pt x="62" y="11"/>
                        <a:pt x="61" y="11"/>
                        <a:pt x="60" y="12"/>
                      </a:cubicBezTo>
                      <a:cubicBezTo>
                        <a:pt x="59" y="12"/>
                        <a:pt x="58" y="12"/>
                        <a:pt x="57" y="12"/>
                      </a:cubicBezTo>
                      <a:cubicBezTo>
                        <a:pt x="57" y="12"/>
                        <a:pt x="56" y="12"/>
                        <a:pt x="56" y="12"/>
                      </a:cubicBezTo>
                      <a:cubicBezTo>
                        <a:pt x="51" y="11"/>
                        <a:pt x="46" y="10"/>
                        <a:pt x="42" y="9"/>
                      </a:cubicBezTo>
                      <a:cubicBezTo>
                        <a:pt x="41" y="9"/>
                        <a:pt x="41" y="9"/>
                        <a:pt x="40" y="9"/>
                      </a:cubicBezTo>
                      <a:cubicBezTo>
                        <a:pt x="38" y="9"/>
                        <a:pt x="36" y="9"/>
                        <a:pt x="33" y="10"/>
                      </a:cubicBezTo>
                      <a:cubicBezTo>
                        <a:pt x="31" y="10"/>
                        <a:pt x="29" y="11"/>
                        <a:pt x="27" y="11"/>
                      </a:cubicBezTo>
                      <a:cubicBezTo>
                        <a:pt x="25" y="11"/>
                        <a:pt x="23" y="10"/>
                        <a:pt x="21" y="8"/>
                      </a:cubicBezTo>
                      <a:cubicBezTo>
                        <a:pt x="20" y="7"/>
                        <a:pt x="12" y="6"/>
                        <a:pt x="17" y="5"/>
                      </a:cubicBezTo>
                      <a:cubicBezTo>
                        <a:pt x="19" y="5"/>
                        <a:pt x="20" y="4"/>
                        <a:pt x="19" y="3"/>
                      </a:cubicBezTo>
                      <a:cubicBezTo>
                        <a:pt x="18" y="2"/>
                        <a:pt x="17" y="2"/>
                        <a:pt x="16" y="2"/>
                      </a:cubicBezTo>
                      <a:cubicBezTo>
                        <a:pt x="14" y="2"/>
                        <a:pt x="10" y="4"/>
                        <a:pt x="9" y="4"/>
                      </a:cubicBezTo>
                      <a:cubicBezTo>
                        <a:pt x="9" y="4"/>
                        <a:pt x="9" y="4"/>
                        <a:pt x="8" y="4"/>
                      </a:cubicBezTo>
                      <a:cubicBezTo>
                        <a:pt x="6" y="4"/>
                        <a:pt x="7"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143"/>
                <p:cNvSpPr/>
                <p:nvPr/>
              </p:nvSpPr>
              <p:spPr bwMode="auto">
                <a:xfrm>
                  <a:off x="6854315" y="5483453"/>
                  <a:ext cx="51592" cy="55277"/>
                </a:xfrm>
                <a:custGeom>
                  <a:gdLst>
                    <a:gd name="T0" fmla="*/ 14 w 16"/>
                    <a:gd name="T1" fmla="*/ 0 h 17"/>
                    <a:gd name="T2" fmla="*/ 8 w 16"/>
                    <a:gd name="T3" fmla="*/ 3 h 17"/>
                    <a:gd name="T4" fmla="*/ 1 w 16"/>
                    <a:gd name="T5" fmla="*/ 9 h 17"/>
                    <a:gd name="T6" fmla="*/ 1 w 16"/>
                    <a:gd name="T7" fmla="*/ 15 h 17"/>
                    <a:gd name="T8" fmla="*/ 1 w 16"/>
                    <a:gd name="T9" fmla="*/ 17 h 17"/>
                    <a:gd name="T10" fmla="*/ 2 w 16"/>
                    <a:gd name="T11" fmla="*/ 17 h 17"/>
                    <a:gd name="T12" fmla="*/ 7 w 16"/>
                    <a:gd name="T13" fmla="*/ 14 h 17"/>
                    <a:gd name="T14" fmla="*/ 10 w 16"/>
                    <a:gd name="T15" fmla="*/ 12 h 17"/>
                    <a:gd name="T16" fmla="*/ 11 w 16"/>
                    <a:gd name="T17" fmla="*/ 13 h 17"/>
                    <a:gd name="T18" fmla="*/ 14 w 16"/>
                    <a:gd name="T19" fmla="*/ 6 h 17"/>
                    <a:gd name="T20" fmla="*/ 16 w 16"/>
                    <a:gd name="T21" fmla="*/ 1 h 17"/>
                    <a:gd name="T22" fmla="*/ 14 w 16"/>
                    <a:gd name="T2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7">
                      <a:moveTo>
                        <a:pt x="14" y="0"/>
                      </a:moveTo>
                      <a:cubicBezTo>
                        <a:pt x="13" y="0"/>
                        <a:pt x="9" y="2"/>
                        <a:pt x="8" y="3"/>
                      </a:cubicBezTo>
                      <a:cubicBezTo>
                        <a:pt x="5" y="4"/>
                        <a:pt x="2" y="6"/>
                        <a:pt x="1" y="9"/>
                      </a:cubicBezTo>
                      <a:cubicBezTo>
                        <a:pt x="1" y="10"/>
                        <a:pt x="0" y="13"/>
                        <a:pt x="1" y="15"/>
                      </a:cubicBezTo>
                      <a:cubicBezTo>
                        <a:pt x="2" y="16"/>
                        <a:pt x="1" y="16"/>
                        <a:pt x="1" y="17"/>
                      </a:cubicBezTo>
                      <a:cubicBezTo>
                        <a:pt x="1" y="17"/>
                        <a:pt x="2" y="17"/>
                        <a:pt x="2" y="17"/>
                      </a:cubicBezTo>
                      <a:cubicBezTo>
                        <a:pt x="3" y="17"/>
                        <a:pt x="6" y="15"/>
                        <a:pt x="7" y="14"/>
                      </a:cubicBezTo>
                      <a:cubicBezTo>
                        <a:pt x="8" y="13"/>
                        <a:pt x="9" y="12"/>
                        <a:pt x="10" y="12"/>
                      </a:cubicBezTo>
                      <a:cubicBezTo>
                        <a:pt x="10" y="12"/>
                        <a:pt x="11" y="12"/>
                        <a:pt x="11" y="13"/>
                      </a:cubicBezTo>
                      <a:cubicBezTo>
                        <a:pt x="11" y="9"/>
                        <a:pt x="12" y="9"/>
                        <a:pt x="14" y="6"/>
                      </a:cubicBezTo>
                      <a:cubicBezTo>
                        <a:pt x="14" y="5"/>
                        <a:pt x="16" y="2"/>
                        <a:pt x="16" y="1"/>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144"/>
                <p:cNvSpPr/>
                <p:nvPr/>
              </p:nvSpPr>
              <p:spPr bwMode="auto">
                <a:xfrm>
                  <a:off x="6585302" y="5321308"/>
                  <a:ext cx="22111" cy="33166"/>
                </a:xfrm>
                <a:custGeom>
                  <a:gdLst>
                    <a:gd name="T0" fmla="*/ 2 w 8"/>
                    <a:gd name="T1" fmla="*/ 0 h 10"/>
                    <a:gd name="T2" fmla="*/ 0 w 8"/>
                    <a:gd name="T3" fmla="*/ 1 h 10"/>
                    <a:gd name="T4" fmla="*/ 8 w 8"/>
                    <a:gd name="T5" fmla="*/ 10 h 10"/>
                    <a:gd name="T6" fmla="*/ 7 w 8"/>
                    <a:gd name="T7" fmla="*/ 5 h 10"/>
                    <a:gd name="T8" fmla="*/ 5 w 8"/>
                    <a:gd name="T9" fmla="*/ 3 h 10"/>
                    <a:gd name="T10" fmla="*/ 2 w 8"/>
                    <a:gd name="T11" fmla="*/ 0 h 10"/>
                  </a:gdLst>
                  <a:cxnLst>
                    <a:cxn ang="0">
                      <a:pos x="T0" y="T1"/>
                    </a:cxn>
                    <a:cxn ang="0">
                      <a:pos x="T2" y="T3"/>
                    </a:cxn>
                    <a:cxn ang="0">
                      <a:pos x="T4" y="T5"/>
                    </a:cxn>
                    <a:cxn ang="0">
                      <a:pos x="T6" y="T7"/>
                    </a:cxn>
                    <a:cxn ang="0">
                      <a:pos x="T8" y="T9"/>
                    </a:cxn>
                    <a:cxn ang="0">
                      <a:pos x="T10" y="T11"/>
                    </a:cxn>
                  </a:cxnLst>
                  <a:rect l="0" t="0" r="r" b="b"/>
                  <a:pathLst>
                    <a:path w="8" h="10">
                      <a:moveTo>
                        <a:pt x="2" y="0"/>
                      </a:moveTo>
                      <a:cubicBezTo>
                        <a:pt x="2" y="0"/>
                        <a:pt x="1" y="1"/>
                        <a:pt x="0" y="1"/>
                      </a:cubicBezTo>
                      <a:cubicBezTo>
                        <a:pt x="2" y="4"/>
                        <a:pt x="5" y="7"/>
                        <a:pt x="8" y="10"/>
                      </a:cubicBezTo>
                      <a:cubicBezTo>
                        <a:pt x="8" y="8"/>
                        <a:pt x="8" y="6"/>
                        <a:pt x="7" y="5"/>
                      </a:cubicBezTo>
                      <a:cubicBezTo>
                        <a:pt x="7" y="3"/>
                        <a:pt x="6" y="4"/>
                        <a:pt x="5" y="3"/>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145"/>
                <p:cNvSpPr/>
                <p:nvPr/>
              </p:nvSpPr>
              <p:spPr bwMode="auto">
                <a:xfrm>
                  <a:off x="6419472" y="5214439"/>
                  <a:ext cx="158460" cy="114239"/>
                </a:xfrm>
                <a:custGeom>
                  <a:gdLst>
                    <a:gd name="T0" fmla="*/ 11 w 50"/>
                    <a:gd name="T1" fmla="*/ 0 h 36"/>
                    <a:gd name="T2" fmla="*/ 0 w 50"/>
                    <a:gd name="T3" fmla="*/ 6 h 36"/>
                    <a:gd name="T4" fmla="*/ 5 w 50"/>
                    <a:gd name="T5" fmla="*/ 5 h 36"/>
                    <a:gd name="T6" fmla="*/ 8 w 50"/>
                    <a:gd name="T7" fmla="*/ 6 h 36"/>
                    <a:gd name="T8" fmla="*/ 22 w 50"/>
                    <a:gd name="T9" fmla="*/ 20 h 36"/>
                    <a:gd name="T10" fmla="*/ 27 w 50"/>
                    <a:gd name="T11" fmla="*/ 21 h 36"/>
                    <a:gd name="T12" fmla="*/ 28 w 50"/>
                    <a:gd name="T13" fmla="*/ 21 h 36"/>
                    <a:gd name="T14" fmla="*/ 30 w 50"/>
                    <a:gd name="T15" fmla="*/ 21 h 36"/>
                    <a:gd name="T16" fmla="*/ 32 w 50"/>
                    <a:gd name="T17" fmla="*/ 21 h 36"/>
                    <a:gd name="T18" fmla="*/ 37 w 50"/>
                    <a:gd name="T19" fmla="*/ 28 h 36"/>
                    <a:gd name="T20" fmla="*/ 47 w 50"/>
                    <a:gd name="T21" fmla="*/ 36 h 36"/>
                    <a:gd name="T22" fmla="*/ 49 w 50"/>
                    <a:gd name="T23" fmla="*/ 29 h 36"/>
                    <a:gd name="T24" fmla="*/ 46 w 50"/>
                    <a:gd name="T25" fmla="*/ 29 h 36"/>
                    <a:gd name="T26" fmla="*/ 39 w 50"/>
                    <a:gd name="T27" fmla="*/ 25 h 36"/>
                    <a:gd name="T28" fmla="*/ 38 w 50"/>
                    <a:gd name="T29" fmla="*/ 20 h 36"/>
                    <a:gd name="T30" fmla="*/ 38 w 50"/>
                    <a:gd name="T31" fmla="*/ 16 h 36"/>
                    <a:gd name="T32" fmla="*/ 36 w 50"/>
                    <a:gd name="T33" fmla="*/ 14 h 36"/>
                    <a:gd name="T34" fmla="*/ 35 w 50"/>
                    <a:gd name="T35" fmla="*/ 12 h 36"/>
                    <a:gd name="T36" fmla="*/ 33 w 50"/>
                    <a:gd name="T37" fmla="*/ 12 h 36"/>
                    <a:gd name="T38" fmla="*/ 31 w 50"/>
                    <a:gd name="T39" fmla="*/ 12 h 36"/>
                    <a:gd name="T40" fmla="*/ 30 w 50"/>
                    <a:gd name="T41" fmla="*/ 12 h 36"/>
                    <a:gd name="T42" fmla="*/ 29 w 50"/>
                    <a:gd name="T43" fmla="*/ 12 h 36"/>
                    <a:gd name="T44" fmla="*/ 24 w 50"/>
                    <a:gd name="T45" fmla="*/ 9 h 36"/>
                    <a:gd name="T46" fmla="*/ 19 w 50"/>
                    <a:gd name="T47" fmla="*/ 7 h 36"/>
                    <a:gd name="T48" fmla="*/ 12 w 50"/>
                    <a:gd name="T49" fmla="*/ 0 h 36"/>
                    <a:gd name="T50" fmla="*/ 11 w 50"/>
                    <a:gd name="T51"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36">
                      <a:moveTo>
                        <a:pt x="11" y="0"/>
                      </a:moveTo>
                      <a:cubicBezTo>
                        <a:pt x="8" y="0"/>
                        <a:pt x="3" y="4"/>
                        <a:pt x="0" y="6"/>
                      </a:cubicBezTo>
                      <a:cubicBezTo>
                        <a:pt x="1" y="6"/>
                        <a:pt x="3" y="5"/>
                        <a:pt x="5" y="5"/>
                      </a:cubicBezTo>
                      <a:cubicBezTo>
                        <a:pt x="6" y="5"/>
                        <a:pt x="7" y="5"/>
                        <a:pt x="8" y="6"/>
                      </a:cubicBezTo>
                      <a:cubicBezTo>
                        <a:pt x="14" y="9"/>
                        <a:pt x="17" y="16"/>
                        <a:pt x="22" y="20"/>
                      </a:cubicBezTo>
                      <a:cubicBezTo>
                        <a:pt x="24" y="21"/>
                        <a:pt x="25" y="21"/>
                        <a:pt x="27" y="21"/>
                      </a:cubicBezTo>
                      <a:cubicBezTo>
                        <a:pt x="27" y="21"/>
                        <a:pt x="28" y="21"/>
                        <a:pt x="28" y="21"/>
                      </a:cubicBezTo>
                      <a:cubicBezTo>
                        <a:pt x="29" y="21"/>
                        <a:pt x="29" y="21"/>
                        <a:pt x="30" y="21"/>
                      </a:cubicBezTo>
                      <a:cubicBezTo>
                        <a:pt x="31" y="21"/>
                        <a:pt x="31" y="21"/>
                        <a:pt x="32" y="21"/>
                      </a:cubicBezTo>
                      <a:cubicBezTo>
                        <a:pt x="35" y="22"/>
                        <a:pt x="35" y="26"/>
                        <a:pt x="37" y="28"/>
                      </a:cubicBezTo>
                      <a:cubicBezTo>
                        <a:pt x="39" y="32"/>
                        <a:pt x="43" y="33"/>
                        <a:pt x="47" y="36"/>
                      </a:cubicBezTo>
                      <a:cubicBezTo>
                        <a:pt x="50" y="33"/>
                        <a:pt x="48" y="32"/>
                        <a:pt x="49" y="29"/>
                      </a:cubicBezTo>
                      <a:cubicBezTo>
                        <a:pt x="48" y="29"/>
                        <a:pt x="47" y="29"/>
                        <a:pt x="46" y="29"/>
                      </a:cubicBezTo>
                      <a:cubicBezTo>
                        <a:pt x="42" y="29"/>
                        <a:pt x="41" y="28"/>
                        <a:pt x="39" y="25"/>
                      </a:cubicBezTo>
                      <a:cubicBezTo>
                        <a:pt x="39" y="23"/>
                        <a:pt x="38" y="22"/>
                        <a:pt x="38" y="20"/>
                      </a:cubicBezTo>
                      <a:cubicBezTo>
                        <a:pt x="38" y="19"/>
                        <a:pt x="38" y="17"/>
                        <a:pt x="38" y="16"/>
                      </a:cubicBezTo>
                      <a:cubicBezTo>
                        <a:pt x="38" y="15"/>
                        <a:pt x="36" y="15"/>
                        <a:pt x="36" y="14"/>
                      </a:cubicBezTo>
                      <a:cubicBezTo>
                        <a:pt x="35" y="13"/>
                        <a:pt x="37" y="13"/>
                        <a:pt x="35" y="12"/>
                      </a:cubicBezTo>
                      <a:cubicBezTo>
                        <a:pt x="35" y="12"/>
                        <a:pt x="34" y="12"/>
                        <a:pt x="33" y="12"/>
                      </a:cubicBezTo>
                      <a:cubicBezTo>
                        <a:pt x="33" y="12"/>
                        <a:pt x="32" y="12"/>
                        <a:pt x="31" y="12"/>
                      </a:cubicBezTo>
                      <a:cubicBezTo>
                        <a:pt x="31" y="12"/>
                        <a:pt x="30" y="12"/>
                        <a:pt x="30" y="12"/>
                      </a:cubicBezTo>
                      <a:cubicBezTo>
                        <a:pt x="29" y="12"/>
                        <a:pt x="29" y="12"/>
                        <a:pt x="29" y="12"/>
                      </a:cubicBezTo>
                      <a:cubicBezTo>
                        <a:pt x="26" y="11"/>
                        <a:pt x="25" y="10"/>
                        <a:pt x="24" y="9"/>
                      </a:cubicBezTo>
                      <a:cubicBezTo>
                        <a:pt x="22" y="8"/>
                        <a:pt x="21" y="9"/>
                        <a:pt x="19" y="7"/>
                      </a:cubicBezTo>
                      <a:cubicBezTo>
                        <a:pt x="16" y="5"/>
                        <a:pt x="16" y="0"/>
                        <a:pt x="12"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146"/>
                <p:cNvSpPr/>
                <p:nvPr/>
              </p:nvSpPr>
              <p:spPr bwMode="auto">
                <a:xfrm>
                  <a:off x="6754817" y="5339733"/>
                  <a:ext cx="44221" cy="18426"/>
                </a:xfrm>
                <a:custGeom>
                  <a:gdLst>
                    <a:gd name="T0" fmla="*/ 6 w 14"/>
                    <a:gd name="T1" fmla="*/ 0 h 6"/>
                    <a:gd name="T2" fmla="*/ 0 w 14"/>
                    <a:gd name="T3" fmla="*/ 2 h 6"/>
                    <a:gd name="T4" fmla="*/ 6 w 14"/>
                    <a:gd name="T5" fmla="*/ 6 h 6"/>
                    <a:gd name="T6" fmla="*/ 13 w 14"/>
                    <a:gd name="T7" fmla="*/ 2 h 6"/>
                    <a:gd name="T8" fmla="*/ 6 w 14"/>
                    <a:gd name="T9" fmla="*/ 0 h 6"/>
                  </a:gdLst>
                  <a:cxnLst>
                    <a:cxn ang="0">
                      <a:pos x="T0" y="T1"/>
                    </a:cxn>
                    <a:cxn ang="0">
                      <a:pos x="T2" y="T3"/>
                    </a:cxn>
                    <a:cxn ang="0">
                      <a:pos x="T4" y="T5"/>
                    </a:cxn>
                    <a:cxn ang="0">
                      <a:pos x="T6" y="T7"/>
                    </a:cxn>
                    <a:cxn ang="0">
                      <a:pos x="T8" y="T9"/>
                    </a:cxn>
                  </a:cxnLst>
                  <a:rect l="0" t="0" r="r" b="b"/>
                  <a:pathLst>
                    <a:path w="14" h="6">
                      <a:moveTo>
                        <a:pt x="6" y="0"/>
                      </a:moveTo>
                      <a:cubicBezTo>
                        <a:pt x="4" y="0"/>
                        <a:pt x="2" y="1"/>
                        <a:pt x="0" y="2"/>
                      </a:cubicBezTo>
                      <a:cubicBezTo>
                        <a:pt x="2" y="4"/>
                        <a:pt x="4" y="5"/>
                        <a:pt x="6" y="6"/>
                      </a:cubicBezTo>
                      <a:cubicBezTo>
                        <a:pt x="9" y="5"/>
                        <a:pt x="14" y="4"/>
                        <a:pt x="13" y="2"/>
                      </a:cubicBezTo>
                      <a:cubicBezTo>
                        <a:pt x="11"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147"/>
                <p:cNvSpPr/>
                <p:nvPr/>
              </p:nvSpPr>
              <p:spPr bwMode="auto">
                <a:xfrm>
                  <a:off x="6471063" y="5347103"/>
                  <a:ext cx="11055" cy="7370"/>
                </a:xfrm>
                <a:custGeom>
                  <a:gdLst>
                    <a:gd name="T0" fmla="*/ 2 w 3"/>
                    <a:gd name="T1" fmla="*/ 0 h 3"/>
                    <a:gd name="T2" fmla="*/ 0 w 3"/>
                    <a:gd name="T3" fmla="*/ 0 h 3"/>
                    <a:gd name="T4" fmla="*/ 1 w 3"/>
                    <a:gd name="T5" fmla="*/ 3 h 3"/>
                    <a:gd name="T6" fmla="*/ 3 w 3"/>
                    <a:gd name="T7" fmla="*/ 0 h 3"/>
                    <a:gd name="T8" fmla="*/ 2 w 3"/>
                    <a:gd name="T9" fmla="*/ 0 h 3"/>
                  </a:gdLst>
                  <a:cxnLst>
                    <a:cxn ang="0">
                      <a:pos x="T0" y="T1"/>
                    </a:cxn>
                    <a:cxn ang="0">
                      <a:pos x="T2" y="T3"/>
                    </a:cxn>
                    <a:cxn ang="0">
                      <a:pos x="T4" y="T5"/>
                    </a:cxn>
                    <a:cxn ang="0">
                      <a:pos x="T6" y="T7"/>
                    </a:cxn>
                    <a:cxn ang="0">
                      <a:pos x="T8" y="T9"/>
                    </a:cxn>
                  </a:cxnLst>
                  <a:rect l="0" t="0" r="r" b="b"/>
                  <a:pathLst>
                    <a:path w="3" h="3">
                      <a:moveTo>
                        <a:pt x="2" y="0"/>
                      </a:moveTo>
                      <a:cubicBezTo>
                        <a:pt x="1" y="0"/>
                        <a:pt x="0" y="0"/>
                        <a:pt x="0" y="0"/>
                      </a:cubicBezTo>
                      <a:cubicBezTo>
                        <a:pt x="0" y="1"/>
                        <a:pt x="0" y="2"/>
                        <a:pt x="1" y="3"/>
                      </a:cubicBezTo>
                      <a:cubicBezTo>
                        <a:pt x="2" y="2"/>
                        <a:pt x="2"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148"/>
                <p:cNvSpPr/>
                <p:nvPr/>
              </p:nvSpPr>
              <p:spPr bwMode="auto">
                <a:xfrm>
                  <a:off x="6795353" y="5546100"/>
                  <a:ext cx="18426" cy="44221"/>
                </a:xfrm>
                <a:custGeom>
                  <a:gdLst>
                    <a:gd name="T0" fmla="*/ 5 w 5"/>
                    <a:gd name="T1" fmla="*/ 0 h 14"/>
                    <a:gd name="T2" fmla="*/ 3 w 5"/>
                    <a:gd name="T3" fmla="*/ 14 h 14"/>
                    <a:gd name="T4" fmla="*/ 5 w 5"/>
                    <a:gd name="T5" fmla="*/ 9 h 14"/>
                    <a:gd name="T6" fmla="*/ 3 w 5"/>
                    <a:gd name="T7" fmla="*/ 7 h 14"/>
                    <a:gd name="T8" fmla="*/ 5 w 5"/>
                    <a:gd name="T9" fmla="*/ 0 h 14"/>
                  </a:gdLst>
                  <a:cxnLst>
                    <a:cxn ang="0">
                      <a:pos x="T0" y="T1"/>
                    </a:cxn>
                    <a:cxn ang="0">
                      <a:pos x="T2" y="T3"/>
                    </a:cxn>
                    <a:cxn ang="0">
                      <a:pos x="T4" y="T5"/>
                    </a:cxn>
                    <a:cxn ang="0">
                      <a:pos x="T6" y="T7"/>
                    </a:cxn>
                    <a:cxn ang="0">
                      <a:pos x="T8" y="T9"/>
                    </a:cxn>
                  </a:cxnLst>
                  <a:rect l="0" t="0" r="r" b="b"/>
                  <a:pathLst>
                    <a:path w="5" h="14">
                      <a:moveTo>
                        <a:pt x="5" y="0"/>
                      </a:moveTo>
                      <a:cubicBezTo>
                        <a:pt x="1" y="6"/>
                        <a:pt x="0" y="7"/>
                        <a:pt x="3" y="14"/>
                      </a:cubicBezTo>
                      <a:cubicBezTo>
                        <a:pt x="4" y="10"/>
                        <a:pt x="5" y="13"/>
                        <a:pt x="5" y="9"/>
                      </a:cubicBezTo>
                      <a:cubicBezTo>
                        <a:pt x="4" y="8"/>
                        <a:pt x="3" y="7"/>
                        <a:pt x="3" y="7"/>
                      </a:cubicBezTo>
                      <a:cubicBezTo>
                        <a:pt x="3" y="5"/>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149"/>
                <p:cNvSpPr/>
                <p:nvPr/>
              </p:nvSpPr>
              <p:spPr bwMode="auto">
                <a:xfrm>
                  <a:off x="6552136" y="5450287"/>
                  <a:ext cx="22111" cy="14740"/>
                </a:xfrm>
                <a:custGeom>
                  <a:gdLst>
                    <a:gd name="T0" fmla="*/ 6 w 7"/>
                    <a:gd name="T1" fmla="*/ 0 h 4"/>
                    <a:gd name="T2" fmla="*/ 0 w 7"/>
                    <a:gd name="T3" fmla="*/ 3 h 4"/>
                    <a:gd name="T4" fmla="*/ 6 w 7"/>
                    <a:gd name="T5" fmla="*/ 0 h 4"/>
                  </a:gdLst>
                  <a:cxnLst>
                    <a:cxn ang="0">
                      <a:pos x="T0" y="T1"/>
                    </a:cxn>
                    <a:cxn ang="0">
                      <a:pos x="T2" y="T3"/>
                    </a:cxn>
                    <a:cxn ang="0">
                      <a:pos x="T4" y="T5"/>
                    </a:cxn>
                  </a:cxnLst>
                  <a:rect l="0" t="0" r="r" b="b"/>
                  <a:pathLst>
                    <a:path w="7" h="4">
                      <a:moveTo>
                        <a:pt x="6" y="0"/>
                      </a:moveTo>
                      <a:cubicBezTo>
                        <a:pt x="4" y="1"/>
                        <a:pt x="2" y="2"/>
                        <a:pt x="0" y="3"/>
                      </a:cubicBezTo>
                      <a:cubicBezTo>
                        <a:pt x="2" y="3"/>
                        <a:pt x="7"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150"/>
                <p:cNvSpPr/>
                <p:nvPr/>
              </p:nvSpPr>
              <p:spPr bwMode="auto">
                <a:xfrm>
                  <a:off x="6419472" y="5490823"/>
                  <a:ext cx="14740" cy="25796"/>
                </a:xfrm>
                <a:custGeom>
                  <a:gdLst>
                    <a:gd name="T0" fmla="*/ 3 w 5"/>
                    <a:gd name="T1" fmla="*/ 0 h 8"/>
                    <a:gd name="T2" fmla="*/ 5 w 5"/>
                    <a:gd name="T3" fmla="*/ 8 h 8"/>
                    <a:gd name="T4" fmla="*/ 3 w 5"/>
                    <a:gd name="T5" fmla="*/ 0 h 8"/>
                  </a:gdLst>
                  <a:cxnLst>
                    <a:cxn ang="0">
                      <a:pos x="T0" y="T1"/>
                    </a:cxn>
                    <a:cxn ang="0">
                      <a:pos x="T2" y="T3"/>
                    </a:cxn>
                    <a:cxn ang="0">
                      <a:pos x="T4" y="T5"/>
                    </a:cxn>
                  </a:cxnLst>
                  <a:rect l="0" t="0" r="r" b="b"/>
                  <a:pathLst>
                    <a:path w="5" h="8">
                      <a:moveTo>
                        <a:pt x="3" y="0"/>
                      </a:moveTo>
                      <a:cubicBezTo>
                        <a:pt x="2" y="4"/>
                        <a:pt x="0" y="8"/>
                        <a:pt x="5" y="8"/>
                      </a:cubicBezTo>
                      <a:cubicBezTo>
                        <a:pt x="5" y="5"/>
                        <a:pt x="4"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Freeform 151"/>
                <p:cNvSpPr/>
                <p:nvPr/>
              </p:nvSpPr>
              <p:spPr bwMode="auto">
                <a:xfrm>
                  <a:off x="6216790" y="5332363"/>
                  <a:ext cx="33166" cy="25796"/>
                </a:xfrm>
                <a:custGeom>
                  <a:gdLst>
                    <a:gd name="T0" fmla="*/ 3 w 11"/>
                    <a:gd name="T1" fmla="*/ 0 h 9"/>
                    <a:gd name="T2" fmla="*/ 6 w 11"/>
                    <a:gd name="T3" fmla="*/ 9 h 9"/>
                    <a:gd name="T4" fmla="*/ 9 w 11"/>
                    <a:gd name="T5" fmla="*/ 6 h 9"/>
                    <a:gd name="T6" fmla="*/ 11 w 11"/>
                    <a:gd name="T7" fmla="*/ 7 h 9"/>
                    <a:gd name="T8" fmla="*/ 4 w 11"/>
                    <a:gd name="T9" fmla="*/ 2 h 9"/>
                    <a:gd name="T10" fmla="*/ 3 w 11"/>
                    <a:gd name="T11" fmla="*/ 0 h 9"/>
                  </a:gdLst>
                  <a:cxnLst>
                    <a:cxn ang="0">
                      <a:pos x="T0" y="T1"/>
                    </a:cxn>
                    <a:cxn ang="0">
                      <a:pos x="T2" y="T3"/>
                    </a:cxn>
                    <a:cxn ang="0">
                      <a:pos x="T4" y="T5"/>
                    </a:cxn>
                    <a:cxn ang="0">
                      <a:pos x="T6" y="T7"/>
                    </a:cxn>
                    <a:cxn ang="0">
                      <a:pos x="T8" y="T9"/>
                    </a:cxn>
                    <a:cxn ang="0">
                      <a:pos x="T10" y="T11"/>
                    </a:cxn>
                  </a:cxnLst>
                  <a:rect l="0" t="0" r="r" b="b"/>
                  <a:pathLst>
                    <a:path w="11" h="9">
                      <a:moveTo>
                        <a:pt x="3" y="0"/>
                      </a:moveTo>
                      <a:cubicBezTo>
                        <a:pt x="0" y="0"/>
                        <a:pt x="5" y="7"/>
                        <a:pt x="6" y="9"/>
                      </a:cubicBezTo>
                      <a:cubicBezTo>
                        <a:pt x="7" y="7"/>
                        <a:pt x="8" y="6"/>
                        <a:pt x="9" y="6"/>
                      </a:cubicBezTo>
                      <a:cubicBezTo>
                        <a:pt x="10" y="6"/>
                        <a:pt x="10" y="6"/>
                        <a:pt x="11" y="7"/>
                      </a:cubicBezTo>
                      <a:cubicBezTo>
                        <a:pt x="8" y="4"/>
                        <a:pt x="7" y="4"/>
                        <a:pt x="4" y="2"/>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152"/>
                <p:cNvSpPr/>
                <p:nvPr/>
              </p:nvSpPr>
              <p:spPr bwMode="auto">
                <a:xfrm>
                  <a:off x="6563191" y="5026498"/>
                  <a:ext cx="33166" cy="22111"/>
                </a:xfrm>
                <a:custGeom>
                  <a:gdLst>
                    <a:gd name="T0" fmla="*/ 5 w 10"/>
                    <a:gd name="T1" fmla="*/ 0 h 7"/>
                    <a:gd name="T2" fmla="*/ 3 w 10"/>
                    <a:gd name="T3" fmla="*/ 1 h 7"/>
                    <a:gd name="T4" fmla="*/ 5 w 10"/>
                    <a:gd name="T5" fmla="*/ 7 h 7"/>
                    <a:gd name="T6" fmla="*/ 9 w 10"/>
                    <a:gd name="T7" fmla="*/ 2 h 7"/>
                    <a:gd name="T8" fmla="*/ 5 w 10"/>
                    <a:gd name="T9" fmla="*/ 0 h 7"/>
                  </a:gdLst>
                  <a:cxnLst>
                    <a:cxn ang="0">
                      <a:pos x="T0" y="T1"/>
                    </a:cxn>
                    <a:cxn ang="0">
                      <a:pos x="T2" y="T3"/>
                    </a:cxn>
                    <a:cxn ang="0">
                      <a:pos x="T4" y="T5"/>
                    </a:cxn>
                    <a:cxn ang="0">
                      <a:pos x="T6" y="T7"/>
                    </a:cxn>
                    <a:cxn ang="0">
                      <a:pos x="T8" y="T9"/>
                    </a:cxn>
                  </a:cxnLst>
                  <a:rect l="0" t="0" r="r" b="b"/>
                  <a:pathLst>
                    <a:path w="10" h="7">
                      <a:moveTo>
                        <a:pt x="5" y="0"/>
                      </a:moveTo>
                      <a:cubicBezTo>
                        <a:pt x="4" y="0"/>
                        <a:pt x="3" y="1"/>
                        <a:pt x="3" y="1"/>
                      </a:cubicBezTo>
                      <a:cubicBezTo>
                        <a:pt x="0" y="3"/>
                        <a:pt x="3" y="5"/>
                        <a:pt x="5" y="7"/>
                      </a:cubicBezTo>
                      <a:cubicBezTo>
                        <a:pt x="7" y="6"/>
                        <a:pt x="10" y="4"/>
                        <a:pt x="9" y="2"/>
                      </a:cubicBezTo>
                      <a:cubicBezTo>
                        <a:pt x="8"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153"/>
                <p:cNvSpPr/>
                <p:nvPr/>
              </p:nvSpPr>
              <p:spPr bwMode="auto">
                <a:xfrm>
                  <a:off x="6559506" y="5376584"/>
                  <a:ext cx="3685" cy="11055"/>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154"/>
                <p:cNvSpPr/>
                <p:nvPr/>
              </p:nvSpPr>
              <p:spPr bwMode="auto">
                <a:xfrm>
                  <a:off x="6780613" y="5417121"/>
                  <a:ext cx="18426" cy="14740"/>
                </a:xfrm>
                <a:custGeom>
                  <a:gdLst>
                    <a:gd name="T0" fmla="*/ 0 w 6"/>
                    <a:gd name="T1" fmla="*/ 0 h 5"/>
                    <a:gd name="T2" fmla="*/ 3 w 6"/>
                    <a:gd name="T3" fmla="*/ 5 h 5"/>
                    <a:gd name="T4" fmla="*/ 0 w 6"/>
                    <a:gd name="T5" fmla="*/ 0 h 5"/>
                  </a:gdLst>
                  <a:cxnLst>
                    <a:cxn ang="0">
                      <a:pos x="T0" y="T1"/>
                    </a:cxn>
                    <a:cxn ang="0">
                      <a:pos x="T2" y="T3"/>
                    </a:cxn>
                    <a:cxn ang="0">
                      <a:pos x="T4" y="T5"/>
                    </a:cxn>
                  </a:cxnLst>
                  <a:rect l="0" t="0" r="r" b="b"/>
                  <a:pathLst>
                    <a:path w="6" h="5">
                      <a:moveTo>
                        <a:pt x="0" y="0"/>
                      </a:moveTo>
                      <a:cubicBezTo>
                        <a:pt x="1" y="2"/>
                        <a:pt x="2" y="4"/>
                        <a:pt x="3" y="5"/>
                      </a:cubicBezTo>
                      <a:cubicBezTo>
                        <a:pt x="6"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Freeform 155"/>
                <p:cNvSpPr/>
                <p:nvPr/>
              </p:nvSpPr>
              <p:spPr bwMode="auto">
                <a:xfrm>
                  <a:off x="6544766" y="5354474"/>
                  <a:ext cx="14740" cy="18426"/>
                </a:xfrm>
                <a:custGeom>
                  <a:gdLst>
                    <a:gd name="T0" fmla="*/ 4 w 4"/>
                    <a:gd name="T1" fmla="*/ 0 h 5"/>
                    <a:gd name="T2" fmla="*/ 0 w 4"/>
                    <a:gd name="T3" fmla="*/ 5 h 5"/>
                    <a:gd name="T4" fmla="*/ 4 w 4"/>
                    <a:gd name="T5" fmla="*/ 0 h 5"/>
                  </a:gdLst>
                  <a:cxnLst>
                    <a:cxn ang="0">
                      <a:pos x="T0" y="T1"/>
                    </a:cxn>
                    <a:cxn ang="0">
                      <a:pos x="T2" y="T3"/>
                    </a:cxn>
                    <a:cxn ang="0">
                      <a:pos x="T4" y="T5"/>
                    </a:cxn>
                  </a:cxnLst>
                  <a:rect l="0" t="0" r="r" b="b"/>
                  <a:pathLst>
                    <a:path w="4" h="5">
                      <a:moveTo>
                        <a:pt x="4" y="0"/>
                      </a:moveTo>
                      <a:cubicBezTo>
                        <a:pt x="2" y="1"/>
                        <a:pt x="1" y="3"/>
                        <a:pt x="0" y="5"/>
                      </a:cubicBezTo>
                      <a:cubicBezTo>
                        <a:pt x="2" y="4"/>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156"/>
                <p:cNvSpPr/>
                <p:nvPr/>
              </p:nvSpPr>
              <p:spPr bwMode="auto">
                <a:xfrm>
                  <a:off x="6190994" y="5273401"/>
                  <a:ext cx="40536" cy="40536"/>
                </a:xfrm>
                <a:custGeom>
                  <a:gdLst>
                    <a:gd name="T0" fmla="*/ 7 w 13"/>
                    <a:gd name="T1" fmla="*/ 0 h 13"/>
                    <a:gd name="T2" fmla="*/ 4 w 13"/>
                    <a:gd name="T3" fmla="*/ 5 h 13"/>
                    <a:gd name="T4" fmla="*/ 0 w 13"/>
                    <a:gd name="T5" fmla="*/ 9 h 13"/>
                    <a:gd name="T6" fmla="*/ 1 w 13"/>
                    <a:gd name="T7" fmla="*/ 9 h 13"/>
                    <a:gd name="T8" fmla="*/ 2 w 13"/>
                    <a:gd name="T9" fmla="*/ 9 h 13"/>
                    <a:gd name="T10" fmla="*/ 3 w 13"/>
                    <a:gd name="T11" fmla="*/ 9 h 13"/>
                    <a:gd name="T12" fmla="*/ 5 w 13"/>
                    <a:gd name="T13" fmla="*/ 9 h 13"/>
                    <a:gd name="T14" fmla="*/ 5 w 13"/>
                    <a:gd name="T15" fmla="*/ 11 h 13"/>
                    <a:gd name="T16" fmla="*/ 6 w 13"/>
                    <a:gd name="T17" fmla="*/ 11 h 13"/>
                    <a:gd name="T18" fmla="*/ 7 w 13"/>
                    <a:gd name="T19" fmla="*/ 11 h 13"/>
                    <a:gd name="T20" fmla="*/ 7 w 13"/>
                    <a:gd name="T21" fmla="*/ 11 h 13"/>
                    <a:gd name="T22" fmla="*/ 8 w 13"/>
                    <a:gd name="T23" fmla="*/ 11 h 13"/>
                    <a:gd name="T24" fmla="*/ 13 w 13"/>
                    <a:gd name="T25" fmla="*/ 13 h 13"/>
                    <a:gd name="T26" fmla="*/ 13 w 13"/>
                    <a:gd name="T27" fmla="*/ 13 h 13"/>
                    <a:gd name="T28" fmla="*/ 7 w 13"/>
                    <a:gd name="T29"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3">
                      <a:moveTo>
                        <a:pt x="7" y="0"/>
                      </a:moveTo>
                      <a:cubicBezTo>
                        <a:pt x="6" y="1"/>
                        <a:pt x="5" y="3"/>
                        <a:pt x="4" y="5"/>
                      </a:cubicBezTo>
                      <a:cubicBezTo>
                        <a:pt x="2" y="6"/>
                        <a:pt x="0" y="6"/>
                        <a:pt x="0" y="9"/>
                      </a:cubicBezTo>
                      <a:cubicBezTo>
                        <a:pt x="0" y="9"/>
                        <a:pt x="1" y="9"/>
                        <a:pt x="1" y="9"/>
                      </a:cubicBezTo>
                      <a:cubicBezTo>
                        <a:pt x="1" y="9"/>
                        <a:pt x="1" y="9"/>
                        <a:pt x="2" y="9"/>
                      </a:cubicBezTo>
                      <a:cubicBezTo>
                        <a:pt x="2" y="9"/>
                        <a:pt x="3" y="9"/>
                        <a:pt x="3" y="9"/>
                      </a:cubicBezTo>
                      <a:cubicBezTo>
                        <a:pt x="4" y="9"/>
                        <a:pt x="4" y="9"/>
                        <a:pt x="5" y="9"/>
                      </a:cubicBezTo>
                      <a:cubicBezTo>
                        <a:pt x="5" y="9"/>
                        <a:pt x="4" y="11"/>
                        <a:pt x="5" y="11"/>
                      </a:cubicBezTo>
                      <a:cubicBezTo>
                        <a:pt x="5" y="11"/>
                        <a:pt x="6" y="11"/>
                        <a:pt x="6" y="11"/>
                      </a:cubicBezTo>
                      <a:cubicBezTo>
                        <a:pt x="6" y="11"/>
                        <a:pt x="6" y="11"/>
                        <a:pt x="7" y="11"/>
                      </a:cubicBezTo>
                      <a:cubicBezTo>
                        <a:pt x="7" y="11"/>
                        <a:pt x="7" y="11"/>
                        <a:pt x="7" y="11"/>
                      </a:cubicBezTo>
                      <a:cubicBezTo>
                        <a:pt x="7" y="11"/>
                        <a:pt x="7" y="11"/>
                        <a:pt x="8" y="11"/>
                      </a:cubicBezTo>
                      <a:cubicBezTo>
                        <a:pt x="9" y="12"/>
                        <a:pt x="11" y="13"/>
                        <a:pt x="13" y="13"/>
                      </a:cubicBezTo>
                      <a:cubicBezTo>
                        <a:pt x="13" y="13"/>
                        <a:pt x="13" y="13"/>
                        <a:pt x="13" y="13"/>
                      </a:cubicBezTo>
                      <a:cubicBezTo>
                        <a:pt x="11" y="9"/>
                        <a:pt x="9"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Freeform 157"/>
                <p:cNvSpPr/>
                <p:nvPr/>
              </p:nvSpPr>
              <p:spPr bwMode="auto">
                <a:xfrm>
                  <a:off x="6644264" y="5376584"/>
                  <a:ext cx="11055" cy="7370"/>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0"/>
                        <a:pt x="1" y="1"/>
                        <a:pt x="0" y="2"/>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158"/>
                <p:cNvSpPr/>
                <p:nvPr/>
              </p:nvSpPr>
              <p:spPr bwMode="auto">
                <a:xfrm>
                  <a:off x="6791668" y="5439231"/>
                  <a:ext cx="33166" cy="14740"/>
                </a:xfrm>
                <a:custGeom>
                  <a:gdLst>
                    <a:gd name="T0" fmla="*/ 7 w 11"/>
                    <a:gd name="T1" fmla="*/ 0 h 5"/>
                    <a:gd name="T2" fmla="*/ 0 w 11"/>
                    <a:gd name="T3" fmla="*/ 5 h 5"/>
                    <a:gd name="T4" fmla="*/ 11 w 11"/>
                    <a:gd name="T5" fmla="*/ 0 h 5"/>
                    <a:gd name="T6" fmla="*/ 7 w 11"/>
                    <a:gd name="T7" fmla="*/ 0 h 5"/>
                  </a:gdLst>
                  <a:cxnLst>
                    <a:cxn ang="0">
                      <a:pos x="T0" y="T1"/>
                    </a:cxn>
                    <a:cxn ang="0">
                      <a:pos x="T2" y="T3"/>
                    </a:cxn>
                    <a:cxn ang="0">
                      <a:pos x="T4" y="T5"/>
                    </a:cxn>
                    <a:cxn ang="0">
                      <a:pos x="T6" y="T7"/>
                    </a:cxn>
                  </a:cxnLst>
                  <a:rect l="0" t="0" r="r" b="b"/>
                  <a:pathLst>
                    <a:path w="11" h="5">
                      <a:moveTo>
                        <a:pt x="7" y="0"/>
                      </a:moveTo>
                      <a:cubicBezTo>
                        <a:pt x="4" y="0"/>
                        <a:pt x="2" y="2"/>
                        <a:pt x="0" y="5"/>
                      </a:cubicBezTo>
                      <a:cubicBezTo>
                        <a:pt x="3" y="2"/>
                        <a:pt x="8" y="3"/>
                        <a:pt x="11"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159"/>
                <p:cNvSpPr/>
                <p:nvPr/>
              </p:nvSpPr>
              <p:spPr bwMode="auto">
                <a:xfrm>
                  <a:off x="6865371" y="5465027"/>
                  <a:ext cx="3685" cy="7370"/>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160"/>
                <p:cNvSpPr/>
                <p:nvPr/>
              </p:nvSpPr>
              <p:spPr bwMode="auto">
                <a:xfrm>
                  <a:off x="6209420" y="5232865"/>
                  <a:ext cx="18426" cy="29481"/>
                </a:xfrm>
                <a:custGeom>
                  <a:gdLst>
                    <a:gd name="T0" fmla="*/ 5 w 6"/>
                    <a:gd name="T1" fmla="*/ 0 h 9"/>
                    <a:gd name="T2" fmla="*/ 0 w 6"/>
                    <a:gd name="T3" fmla="*/ 9 h 9"/>
                    <a:gd name="T4" fmla="*/ 5 w 6"/>
                    <a:gd name="T5" fmla="*/ 0 h 9"/>
                  </a:gdLst>
                  <a:cxnLst>
                    <a:cxn ang="0">
                      <a:pos x="T0" y="T1"/>
                    </a:cxn>
                    <a:cxn ang="0">
                      <a:pos x="T2" y="T3"/>
                    </a:cxn>
                    <a:cxn ang="0">
                      <a:pos x="T4" y="T5"/>
                    </a:cxn>
                  </a:cxnLst>
                  <a:rect l="0" t="0" r="r" b="b"/>
                  <a:pathLst>
                    <a:path w="6" h="9">
                      <a:moveTo>
                        <a:pt x="5" y="0"/>
                      </a:moveTo>
                      <a:cubicBezTo>
                        <a:pt x="0" y="2"/>
                        <a:pt x="1" y="6"/>
                        <a:pt x="0" y="9"/>
                      </a:cubicBezTo>
                      <a:cubicBezTo>
                        <a:pt x="6" y="8"/>
                        <a:pt x="5" y="6"/>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161"/>
                <p:cNvSpPr/>
                <p:nvPr/>
              </p:nvSpPr>
              <p:spPr bwMode="auto">
                <a:xfrm>
                  <a:off x="6563191" y="5218124"/>
                  <a:ext cx="22111" cy="22111"/>
                </a:xfrm>
                <a:custGeom>
                  <a:gdLst>
                    <a:gd name="T0" fmla="*/ 0 w 7"/>
                    <a:gd name="T1" fmla="*/ 0 h 7"/>
                    <a:gd name="T2" fmla="*/ 2 w 7"/>
                    <a:gd name="T3" fmla="*/ 7 h 7"/>
                    <a:gd name="T4" fmla="*/ 4 w 7"/>
                    <a:gd name="T5" fmla="*/ 7 h 7"/>
                    <a:gd name="T6" fmla="*/ 3 w 7"/>
                    <a:gd name="T7" fmla="*/ 4 h 7"/>
                    <a:gd name="T8" fmla="*/ 3 w 7"/>
                    <a:gd name="T9" fmla="*/ 2 h 7"/>
                    <a:gd name="T10" fmla="*/ 0 w 7"/>
                    <a:gd name="T11" fmla="*/ 0 h 7"/>
                  </a:gdLst>
                  <a:cxnLst>
                    <a:cxn ang="0">
                      <a:pos x="T0" y="T1"/>
                    </a:cxn>
                    <a:cxn ang="0">
                      <a:pos x="T2" y="T3"/>
                    </a:cxn>
                    <a:cxn ang="0">
                      <a:pos x="T4" y="T5"/>
                    </a:cxn>
                    <a:cxn ang="0">
                      <a:pos x="T6" y="T7"/>
                    </a:cxn>
                    <a:cxn ang="0">
                      <a:pos x="T8" y="T9"/>
                    </a:cxn>
                    <a:cxn ang="0">
                      <a:pos x="T10" y="T11"/>
                    </a:cxn>
                  </a:cxnLst>
                  <a:rect l="0" t="0" r="r" b="b"/>
                  <a:pathLst>
                    <a:path w="7" h="7">
                      <a:moveTo>
                        <a:pt x="0" y="0"/>
                      </a:moveTo>
                      <a:cubicBezTo>
                        <a:pt x="1" y="2"/>
                        <a:pt x="2" y="5"/>
                        <a:pt x="2" y="7"/>
                      </a:cubicBezTo>
                      <a:cubicBezTo>
                        <a:pt x="3" y="7"/>
                        <a:pt x="4" y="7"/>
                        <a:pt x="4" y="7"/>
                      </a:cubicBezTo>
                      <a:cubicBezTo>
                        <a:pt x="7" y="7"/>
                        <a:pt x="4" y="5"/>
                        <a:pt x="3" y="4"/>
                      </a:cubicBezTo>
                      <a:cubicBezTo>
                        <a:pt x="3" y="2"/>
                        <a:pt x="3"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162"/>
                <p:cNvSpPr/>
                <p:nvPr/>
              </p:nvSpPr>
              <p:spPr bwMode="auto">
                <a:xfrm>
                  <a:off x="6684800" y="5258661"/>
                  <a:ext cx="36851" cy="47907"/>
                </a:xfrm>
                <a:custGeom>
                  <a:gdLst>
                    <a:gd name="T0" fmla="*/ 4 w 11"/>
                    <a:gd name="T1" fmla="*/ 0 h 15"/>
                    <a:gd name="T2" fmla="*/ 1 w 11"/>
                    <a:gd name="T3" fmla="*/ 3 h 15"/>
                    <a:gd name="T4" fmla="*/ 6 w 11"/>
                    <a:gd name="T5" fmla="*/ 15 h 15"/>
                    <a:gd name="T6" fmla="*/ 9 w 11"/>
                    <a:gd name="T7" fmla="*/ 4 h 15"/>
                    <a:gd name="T8" fmla="*/ 6 w 11"/>
                    <a:gd name="T9" fmla="*/ 0 h 15"/>
                    <a:gd name="T10" fmla="*/ 4 w 11"/>
                    <a:gd name="T11" fmla="*/ 0 h 15"/>
                  </a:gdLst>
                  <a:cxnLst>
                    <a:cxn ang="0">
                      <a:pos x="T0" y="T1"/>
                    </a:cxn>
                    <a:cxn ang="0">
                      <a:pos x="T2" y="T3"/>
                    </a:cxn>
                    <a:cxn ang="0">
                      <a:pos x="T4" y="T5"/>
                    </a:cxn>
                    <a:cxn ang="0">
                      <a:pos x="T6" y="T7"/>
                    </a:cxn>
                    <a:cxn ang="0">
                      <a:pos x="T8" y="T9"/>
                    </a:cxn>
                    <a:cxn ang="0">
                      <a:pos x="T10" y="T11"/>
                    </a:cxn>
                  </a:cxnLst>
                  <a:rect l="0" t="0" r="r" b="b"/>
                  <a:pathLst>
                    <a:path w="11" h="15">
                      <a:moveTo>
                        <a:pt x="4" y="0"/>
                      </a:moveTo>
                      <a:cubicBezTo>
                        <a:pt x="2" y="0"/>
                        <a:pt x="1" y="1"/>
                        <a:pt x="1" y="3"/>
                      </a:cubicBezTo>
                      <a:cubicBezTo>
                        <a:pt x="1" y="9"/>
                        <a:pt x="0" y="11"/>
                        <a:pt x="6" y="15"/>
                      </a:cubicBezTo>
                      <a:cubicBezTo>
                        <a:pt x="9" y="13"/>
                        <a:pt x="11" y="8"/>
                        <a:pt x="9" y="4"/>
                      </a:cubicBezTo>
                      <a:cubicBezTo>
                        <a:pt x="11" y="2"/>
                        <a:pt x="8" y="1"/>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163"/>
                <p:cNvSpPr/>
                <p:nvPr/>
              </p:nvSpPr>
              <p:spPr bwMode="auto">
                <a:xfrm>
                  <a:off x="6124662" y="5129682"/>
                  <a:ext cx="40536" cy="33166"/>
                </a:xfrm>
                <a:custGeom>
                  <a:gdLst>
                    <a:gd name="T0" fmla="*/ 7 w 13"/>
                    <a:gd name="T1" fmla="*/ 0 h 10"/>
                    <a:gd name="T2" fmla="*/ 4 w 13"/>
                    <a:gd name="T3" fmla="*/ 1 h 10"/>
                    <a:gd name="T4" fmla="*/ 4 w 13"/>
                    <a:gd name="T5" fmla="*/ 1 h 10"/>
                    <a:gd name="T6" fmla="*/ 3 w 13"/>
                    <a:gd name="T7" fmla="*/ 1 h 10"/>
                    <a:gd name="T8" fmla="*/ 3 w 13"/>
                    <a:gd name="T9" fmla="*/ 1 h 10"/>
                    <a:gd name="T10" fmla="*/ 2 w 13"/>
                    <a:gd name="T11" fmla="*/ 1 h 10"/>
                    <a:gd name="T12" fmla="*/ 9 w 13"/>
                    <a:gd name="T13" fmla="*/ 10 h 10"/>
                    <a:gd name="T14" fmla="*/ 9 w 13"/>
                    <a:gd name="T15" fmla="*/ 6 h 10"/>
                    <a:gd name="T16" fmla="*/ 8 w 13"/>
                    <a:gd name="T17" fmla="*/ 0 h 10"/>
                    <a:gd name="T18" fmla="*/ 7 w 13"/>
                    <a:gd name="T1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7" y="0"/>
                      </a:moveTo>
                      <a:cubicBezTo>
                        <a:pt x="6" y="0"/>
                        <a:pt x="5" y="0"/>
                        <a:pt x="4" y="1"/>
                      </a:cubicBezTo>
                      <a:cubicBezTo>
                        <a:pt x="4" y="1"/>
                        <a:pt x="4" y="1"/>
                        <a:pt x="4" y="1"/>
                      </a:cubicBezTo>
                      <a:cubicBezTo>
                        <a:pt x="4" y="1"/>
                        <a:pt x="3" y="1"/>
                        <a:pt x="3" y="1"/>
                      </a:cubicBezTo>
                      <a:cubicBezTo>
                        <a:pt x="3" y="1"/>
                        <a:pt x="3" y="1"/>
                        <a:pt x="3" y="1"/>
                      </a:cubicBezTo>
                      <a:cubicBezTo>
                        <a:pt x="3" y="1"/>
                        <a:pt x="2" y="1"/>
                        <a:pt x="2" y="1"/>
                      </a:cubicBezTo>
                      <a:cubicBezTo>
                        <a:pt x="0" y="3"/>
                        <a:pt x="8" y="9"/>
                        <a:pt x="9" y="10"/>
                      </a:cubicBezTo>
                      <a:cubicBezTo>
                        <a:pt x="9" y="9"/>
                        <a:pt x="9" y="7"/>
                        <a:pt x="9" y="6"/>
                      </a:cubicBezTo>
                      <a:cubicBezTo>
                        <a:pt x="3" y="5"/>
                        <a:pt x="13" y="2"/>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164"/>
                <p:cNvSpPr/>
                <p:nvPr/>
              </p:nvSpPr>
              <p:spPr bwMode="auto">
                <a:xfrm>
                  <a:off x="6607412" y="5354474"/>
                  <a:ext cx="29481" cy="18426"/>
                </a:xfrm>
                <a:custGeom>
                  <a:gdLst>
                    <a:gd name="T0" fmla="*/ 1 w 9"/>
                    <a:gd name="T1" fmla="*/ 0 h 5"/>
                    <a:gd name="T2" fmla="*/ 0 w 9"/>
                    <a:gd name="T3" fmla="*/ 0 h 5"/>
                    <a:gd name="T4" fmla="*/ 6 w 9"/>
                    <a:gd name="T5" fmla="*/ 5 h 5"/>
                    <a:gd name="T6" fmla="*/ 1 w 9"/>
                    <a:gd name="T7" fmla="*/ 0 h 5"/>
                  </a:gdLst>
                  <a:cxnLst>
                    <a:cxn ang="0">
                      <a:pos x="T0" y="T1"/>
                    </a:cxn>
                    <a:cxn ang="0">
                      <a:pos x="T2" y="T3"/>
                    </a:cxn>
                    <a:cxn ang="0">
                      <a:pos x="T4" y="T5"/>
                    </a:cxn>
                    <a:cxn ang="0">
                      <a:pos x="T6" y="T7"/>
                    </a:cxn>
                  </a:cxnLst>
                  <a:rect l="0" t="0" r="r" b="b"/>
                  <a:pathLst>
                    <a:path w="9" h="5">
                      <a:moveTo>
                        <a:pt x="1" y="0"/>
                      </a:moveTo>
                      <a:cubicBezTo>
                        <a:pt x="1" y="0"/>
                        <a:pt x="0" y="0"/>
                        <a:pt x="0" y="0"/>
                      </a:cubicBezTo>
                      <a:cubicBezTo>
                        <a:pt x="2" y="2"/>
                        <a:pt x="4" y="3"/>
                        <a:pt x="6" y="5"/>
                      </a:cubicBezTo>
                      <a:cubicBezTo>
                        <a:pt x="9" y="1"/>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Freeform 165"/>
                <p:cNvSpPr/>
                <p:nvPr/>
              </p:nvSpPr>
              <p:spPr bwMode="auto">
                <a:xfrm>
                  <a:off x="5339733" y="3445584"/>
                  <a:ext cx="29481" cy="11055"/>
                </a:xfrm>
                <a:custGeom>
                  <a:gdLst>
                    <a:gd name="T0" fmla="*/ 6 w 9"/>
                    <a:gd name="T1" fmla="*/ 0 h 4"/>
                    <a:gd name="T2" fmla="*/ 4 w 9"/>
                    <a:gd name="T3" fmla="*/ 0 h 4"/>
                    <a:gd name="T4" fmla="*/ 9 w 9"/>
                    <a:gd name="T5" fmla="*/ 4 h 4"/>
                    <a:gd name="T6" fmla="*/ 6 w 9"/>
                    <a:gd name="T7" fmla="*/ 0 h 4"/>
                  </a:gdLst>
                  <a:cxnLst>
                    <a:cxn ang="0">
                      <a:pos x="T0" y="T1"/>
                    </a:cxn>
                    <a:cxn ang="0">
                      <a:pos x="T2" y="T3"/>
                    </a:cxn>
                    <a:cxn ang="0">
                      <a:pos x="T4" y="T5"/>
                    </a:cxn>
                    <a:cxn ang="0">
                      <a:pos x="T6" y="T7"/>
                    </a:cxn>
                  </a:cxnLst>
                  <a:rect l="0" t="0" r="r" b="b"/>
                  <a:pathLst>
                    <a:path w="9" h="4">
                      <a:moveTo>
                        <a:pt x="6" y="0"/>
                      </a:moveTo>
                      <a:cubicBezTo>
                        <a:pt x="5" y="0"/>
                        <a:pt x="5" y="0"/>
                        <a:pt x="4" y="0"/>
                      </a:cubicBezTo>
                      <a:cubicBezTo>
                        <a:pt x="0" y="3"/>
                        <a:pt x="8" y="4"/>
                        <a:pt x="9" y="4"/>
                      </a:cubicBezTo>
                      <a:cubicBezTo>
                        <a:pt x="9" y="3"/>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166"/>
                <p:cNvSpPr/>
                <p:nvPr/>
              </p:nvSpPr>
              <p:spPr bwMode="auto">
                <a:xfrm>
                  <a:off x="5030183" y="3541397"/>
                  <a:ext cx="11055" cy="0"/>
                </a:xfrm>
                <a:custGeom>
                  <a:gdLst>
                    <a:gd name="T0" fmla="*/ 0 w 3"/>
                    <a:gd name="T1" fmla="*/ 0 h 1"/>
                    <a:gd name="T2" fmla="*/ 0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0" y="0"/>
                        <a:pt x="0" y="1"/>
                        <a:pt x="0" y="1"/>
                      </a:cubicBezTo>
                      <a:cubicBezTo>
                        <a:pt x="1"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167"/>
                <p:cNvSpPr/>
                <p:nvPr/>
              </p:nvSpPr>
              <p:spPr bwMode="auto">
                <a:xfrm>
                  <a:off x="5538729" y="3423473"/>
                  <a:ext cx="62647" cy="58962"/>
                </a:xfrm>
                <a:custGeom>
                  <a:gdLst>
                    <a:gd name="T0" fmla="*/ 8 w 19"/>
                    <a:gd name="T1" fmla="*/ 0 h 18"/>
                    <a:gd name="T2" fmla="*/ 4 w 19"/>
                    <a:gd name="T3" fmla="*/ 2 h 18"/>
                    <a:gd name="T4" fmla="*/ 4 w 19"/>
                    <a:gd name="T5" fmla="*/ 2 h 18"/>
                    <a:gd name="T6" fmla="*/ 6 w 19"/>
                    <a:gd name="T7" fmla="*/ 4 h 18"/>
                    <a:gd name="T8" fmla="*/ 7 w 19"/>
                    <a:gd name="T9" fmla="*/ 3 h 18"/>
                    <a:gd name="T10" fmla="*/ 9 w 19"/>
                    <a:gd name="T11" fmla="*/ 5 h 18"/>
                    <a:gd name="T12" fmla="*/ 8 w 19"/>
                    <a:gd name="T13" fmla="*/ 5 h 18"/>
                    <a:gd name="T14" fmla="*/ 7 w 19"/>
                    <a:gd name="T15" fmla="*/ 6 h 18"/>
                    <a:gd name="T16" fmla="*/ 7 w 19"/>
                    <a:gd name="T17" fmla="*/ 4 h 18"/>
                    <a:gd name="T18" fmla="*/ 5 w 19"/>
                    <a:gd name="T19" fmla="*/ 6 h 18"/>
                    <a:gd name="T20" fmla="*/ 2 w 19"/>
                    <a:gd name="T21" fmla="*/ 5 h 18"/>
                    <a:gd name="T22" fmla="*/ 1 w 19"/>
                    <a:gd name="T23" fmla="*/ 6 h 18"/>
                    <a:gd name="T24" fmla="*/ 8 w 19"/>
                    <a:gd name="T25" fmla="*/ 18 h 18"/>
                    <a:gd name="T26" fmla="*/ 13 w 19"/>
                    <a:gd name="T27" fmla="*/ 13 h 18"/>
                    <a:gd name="T28" fmla="*/ 14 w 19"/>
                    <a:gd name="T29" fmla="*/ 13 h 18"/>
                    <a:gd name="T30" fmla="*/ 17 w 19"/>
                    <a:gd name="T31" fmla="*/ 16 h 18"/>
                    <a:gd name="T32" fmla="*/ 18 w 19"/>
                    <a:gd name="T33" fmla="*/ 13 h 18"/>
                    <a:gd name="T34" fmla="*/ 13 w 19"/>
                    <a:gd name="T35" fmla="*/ 8 h 18"/>
                    <a:gd name="T36" fmla="*/ 14 w 19"/>
                    <a:gd name="T37" fmla="*/ 4 h 18"/>
                    <a:gd name="T38" fmla="*/ 13 w 19"/>
                    <a:gd name="T39" fmla="*/ 4 h 18"/>
                    <a:gd name="T40" fmla="*/ 12 w 19"/>
                    <a:gd name="T41" fmla="*/ 4 h 18"/>
                    <a:gd name="T42" fmla="*/ 11 w 19"/>
                    <a:gd name="T43" fmla="*/ 4 h 18"/>
                    <a:gd name="T44" fmla="*/ 8 w 19"/>
                    <a:gd name="T45" fmla="*/ 3 h 18"/>
                    <a:gd name="T46" fmla="*/ 9 w 19"/>
                    <a:gd name="T47" fmla="*/ 0 h 18"/>
                    <a:gd name="T48" fmla="*/ 9 w 19"/>
                    <a:gd name="T49" fmla="*/ 0 h 18"/>
                    <a:gd name="T50" fmla="*/ 8 w 19"/>
                    <a:gd name="T5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8">
                      <a:moveTo>
                        <a:pt x="8" y="0"/>
                      </a:moveTo>
                      <a:cubicBezTo>
                        <a:pt x="6" y="0"/>
                        <a:pt x="4" y="1"/>
                        <a:pt x="4" y="2"/>
                      </a:cubicBezTo>
                      <a:cubicBezTo>
                        <a:pt x="4" y="2"/>
                        <a:pt x="4" y="2"/>
                        <a:pt x="4" y="2"/>
                      </a:cubicBezTo>
                      <a:cubicBezTo>
                        <a:pt x="5" y="2"/>
                        <a:pt x="6" y="2"/>
                        <a:pt x="6" y="4"/>
                      </a:cubicBezTo>
                      <a:cubicBezTo>
                        <a:pt x="7" y="3"/>
                        <a:pt x="7" y="3"/>
                        <a:pt x="7" y="3"/>
                      </a:cubicBezTo>
                      <a:cubicBezTo>
                        <a:pt x="8" y="3"/>
                        <a:pt x="9" y="4"/>
                        <a:pt x="9" y="5"/>
                      </a:cubicBezTo>
                      <a:cubicBezTo>
                        <a:pt x="9" y="5"/>
                        <a:pt x="9" y="5"/>
                        <a:pt x="8" y="5"/>
                      </a:cubicBezTo>
                      <a:cubicBezTo>
                        <a:pt x="8" y="5"/>
                        <a:pt x="7" y="5"/>
                        <a:pt x="7" y="6"/>
                      </a:cubicBezTo>
                      <a:cubicBezTo>
                        <a:pt x="7" y="5"/>
                        <a:pt x="6" y="5"/>
                        <a:pt x="7" y="4"/>
                      </a:cubicBezTo>
                      <a:cubicBezTo>
                        <a:pt x="6" y="5"/>
                        <a:pt x="6" y="5"/>
                        <a:pt x="5" y="6"/>
                      </a:cubicBezTo>
                      <a:cubicBezTo>
                        <a:pt x="5" y="6"/>
                        <a:pt x="3" y="5"/>
                        <a:pt x="2" y="5"/>
                      </a:cubicBezTo>
                      <a:cubicBezTo>
                        <a:pt x="1" y="5"/>
                        <a:pt x="1" y="5"/>
                        <a:pt x="1" y="6"/>
                      </a:cubicBezTo>
                      <a:cubicBezTo>
                        <a:pt x="0" y="14"/>
                        <a:pt x="0" y="14"/>
                        <a:pt x="8" y="18"/>
                      </a:cubicBezTo>
                      <a:cubicBezTo>
                        <a:pt x="9" y="14"/>
                        <a:pt x="10" y="14"/>
                        <a:pt x="13" y="13"/>
                      </a:cubicBezTo>
                      <a:cubicBezTo>
                        <a:pt x="13" y="13"/>
                        <a:pt x="14" y="13"/>
                        <a:pt x="14" y="13"/>
                      </a:cubicBezTo>
                      <a:cubicBezTo>
                        <a:pt x="16" y="13"/>
                        <a:pt x="17" y="14"/>
                        <a:pt x="17" y="16"/>
                      </a:cubicBezTo>
                      <a:cubicBezTo>
                        <a:pt x="18" y="15"/>
                        <a:pt x="18" y="14"/>
                        <a:pt x="18" y="13"/>
                      </a:cubicBezTo>
                      <a:cubicBezTo>
                        <a:pt x="16" y="12"/>
                        <a:pt x="13" y="11"/>
                        <a:pt x="13" y="8"/>
                      </a:cubicBezTo>
                      <a:cubicBezTo>
                        <a:pt x="14" y="6"/>
                        <a:pt x="19" y="5"/>
                        <a:pt x="14" y="4"/>
                      </a:cubicBezTo>
                      <a:cubicBezTo>
                        <a:pt x="14" y="4"/>
                        <a:pt x="14" y="4"/>
                        <a:pt x="13" y="4"/>
                      </a:cubicBezTo>
                      <a:cubicBezTo>
                        <a:pt x="13" y="4"/>
                        <a:pt x="13" y="4"/>
                        <a:pt x="12" y="4"/>
                      </a:cubicBezTo>
                      <a:cubicBezTo>
                        <a:pt x="12" y="4"/>
                        <a:pt x="11" y="4"/>
                        <a:pt x="11" y="4"/>
                      </a:cubicBezTo>
                      <a:cubicBezTo>
                        <a:pt x="10" y="4"/>
                        <a:pt x="8" y="4"/>
                        <a:pt x="8" y="3"/>
                      </a:cubicBezTo>
                      <a:cubicBezTo>
                        <a:pt x="7" y="2"/>
                        <a:pt x="9" y="0"/>
                        <a:pt x="9" y="0"/>
                      </a:cubicBezTo>
                      <a:cubicBezTo>
                        <a:pt x="9" y="0"/>
                        <a:pt x="9"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168"/>
                <p:cNvSpPr/>
                <p:nvPr/>
              </p:nvSpPr>
              <p:spPr bwMode="auto">
                <a:xfrm>
                  <a:off x="4149441" y="4337382"/>
                  <a:ext cx="11055" cy="14740"/>
                </a:xfrm>
                <a:custGeom>
                  <a:gdLst>
                    <a:gd name="T0" fmla="*/ 1 w 4"/>
                    <a:gd name="T1" fmla="*/ 0 h 5"/>
                    <a:gd name="T2" fmla="*/ 0 w 4"/>
                    <a:gd name="T3" fmla="*/ 0 h 5"/>
                    <a:gd name="T4" fmla="*/ 4 w 4"/>
                    <a:gd name="T5" fmla="*/ 5 h 5"/>
                    <a:gd name="T6" fmla="*/ 1 w 4"/>
                    <a:gd name="T7" fmla="*/ 0 h 5"/>
                  </a:gdLst>
                  <a:cxnLst>
                    <a:cxn ang="0">
                      <a:pos x="T0" y="T1"/>
                    </a:cxn>
                    <a:cxn ang="0">
                      <a:pos x="T2" y="T3"/>
                    </a:cxn>
                    <a:cxn ang="0">
                      <a:pos x="T4" y="T5"/>
                    </a:cxn>
                    <a:cxn ang="0">
                      <a:pos x="T6" y="T7"/>
                    </a:cxn>
                  </a:cxnLst>
                  <a:rect l="0" t="0" r="r" b="b"/>
                  <a:pathLst>
                    <a:path w="4" h="5">
                      <a:moveTo>
                        <a:pt x="1" y="0"/>
                      </a:moveTo>
                      <a:cubicBezTo>
                        <a:pt x="1" y="0"/>
                        <a:pt x="1" y="0"/>
                        <a:pt x="0" y="0"/>
                      </a:cubicBezTo>
                      <a:cubicBezTo>
                        <a:pt x="2" y="2"/>
                        <a:pt x="3" y="3"/>
                        <a:pt x="4" y="5"/>
                      </a:cubicBezTo>
                      <a:cubicBezTo>
                        <a:pt x="3"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Freeform 169"/>
                <p:cNvSpPr/>
                <p:nvPr/>
              </p:nvSpPr>
              <p:spPr bwMode="auto">
                <a:xfrm>
                  <a:off x="4064683" y="4296845"/>
                  <a:ext cx="14740" cy="11055"/>
                </a:xfrm>
                <a:custGeom>
                  <a:gdLst>
                    <a:gd name="T0" fmla="*/ 0 w 5"/>
                    <a:gd name="T1" fmla="*/ 0 h 4"/>
                    <a:gd name="T2" fmla="*/ 5 w 5"/>
                    <a:gd name="T3" fmla="*/ 4 h 4"/>
                    <a:gd name="T4" fmla="*/ 0 w 5"/>
                    <a:gd name="T5" fmla="*/ 0 h 4"/>
                  </a:gdLst>
                  <a:cxnLst>
                    <a:cxn ang="0">
                      <a:pos x="T0" y="T1"/>
                    </a:cxn>
                    <a:cxn ang="0">
                      <a:pos x="T2" y="T3"/>
                    </a:cxn>
                    <a:cxn ang="0">
                      <a:pos x="T4" y="T5"/>
                    </a:cxn>
                  </a:cxnLst>
                  <a:rect l="0" t="0" r="r" b="b"/>
                  <a:pathLst>
                    <a:path w="5" h="4">
                      <a:moveTo>
                        <a:pt x="0" y="0"/>
                      </a:moveTo>
                      <a:cubicBezTo>
                        <a:pt x="1" y="1"/>
                        <a:pt x="3" y="3"/>
                        <a:pt x="5"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170"/>
                <p:cNvSpPr/>
                <p:nvPr/>
              </p:nvSpPr>
              <p:spPr bwMode="auto">
                <a:xfrm>
                  <a:off x="4223143" y="4429510"/>
                  <a:ext cx="18426" cy="7370"/>
                </a:xfrm>
                <a:custGeom>
                  <a:gdLst>
                    <a:gd name="T0" fmla="*/ 1 w 6"/>
                    <a:gd name="T1" fmla="*/ 0 h 2"/>
                    <a:gd name="T2" fmla="*/ 0 w 6"/>
                    <a:gd name="T3" fmla="*/ 0 h 2"/>
                    <a:gd name="T4" fmla="*/ 6 w 6"/>
                    <a:gd name="T5" fmla="*/ 2 h 2"/>
                    <a:gd name="T6" fmla="*/ 1 w 6"/>
                    <a:gd name="T7" fmla="*/ 0 h 2"/>
                  </a:gdLst>
                  <a:cxnLst>
                    <a:cxn ang="0">
                      <a:pos x="T0" y="T1"/>
                    </a:cxn>
                    <a:cxn ang="0">
                      <a:pos x="T2" y="T3"/>
                    </a:cxn>
                    <a:cxn ang="0">
                      <a:pos x="T4" y="T5"/>
                    </a:cxn>
                    <a:cxn ang="0">
                      <a:pos x="T6" y="T7"/>
                    </a:cxn>
                  </a:cxnLst>
                  <a:rect l="0" t="0" r="r" b="b"/>
                  <a:pathLst>
                    <a:path w="6" h="2">
                      <a:moveTo>
                        <a:pt x="1" y="0"/>
                      </a:moveTo>
                      <a:cubicBezTo>
                        <a:pt x="1" y="0"/>
                        <a:pt x="1" y="0"/>
                        <a:pt x="0" y="0"/>
                      </a:cubicBezTo>
                      <a:cubicBezTo>
                        <a:pt x="2" y="1"/>
                        <a:pt x="4" y="2"/>
                        <a:pt x="6" y="2"/>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171"/>
                <p:cNvSpPr/>
                <p:nvPr/>
              </p:nvSpPr>
              <p:spPr bwMode="auto">
                <a:xfrm>
                  <a:off x="4230513" y="4447935"/>
                  <a:ext cx="22111" cy="29481"/>
                </a:xfrm>
                <a:custGeom>
                  <a:gdLst>
                    <a:gd name="T0" fmla="*/ 0 w 7"/>
                    <a:gd name="T1" fmla="*/ 0 h 9"/>
                    <a:gd name="T2" fmla="*/ 5 w 7"/>
                    <a:gd name="T3" fmla="*/ 9 h 9"/>
                    <a:gd name="T4" fmla="*/ 0 w 7"/>
                    <a:gd name="T5" fmla="*/ 0 h 9"/>
                  </a:gdLst>
                  <a:cxnLst>
                    <a:cxn ang="0">
                      <a:pos x="T0" y="T1"/>
                    </a:cxn>
                    <a:cxn ang="0">
                      <a:pos x="T2" y="T3"/>
                    </a:cxn>
                    <a:cxn ang="0">
                      <a:pos x="T4" y="T5"/>
                    </a:cxn>
                  </a:cxnLst>
                  <a:rect l="0" t="0" r="r" b="b"/>
                  <a:pathLst>
                    <a:path w="7" h="9">
                      <a:moveTo>
                        <a:pt x="0" y="0"/>
                      </a:moveTo>
                      <a:cubicBezTo>
                        <a:pt x="1" y="3"/>
                        <a:pt x="3" y="6"/>
                        <a:pt x="5" y="9"/>
                      </a:cubicBezTo>
                      <a:cubicBezTo>
                        <a:pt x="7" y="4"/>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172"/>
                <p:cNvSpPr/>
                <p:nvPr/>
              </p:nvSpPr>
              <p:spPr bwMode="auto">
                <a:xfrm>
                  <a:off x="5122311" y="4786966"/>
                  <a:ext cx="99498" cy="176886"/>
                </a:xfrm>
                <a:custGeom>
                  <a:gdLst>
                    <a:gd name="T0" fmla="*/ 24 w 31"/>
                    <a:gd name="T1" fmla="*/ 0 h 56"/>
                    <a:gd name="T2" fmla="*/ 24 w 31"/>
                    <a:gd name="T3" fmla="*/ 0 h 56"/>
                    <a:gd name="T4" fmla="*/ 20 w 31"/>
                    <a:gd name="T5" fmla="*/ 10 h 56"/>
                    <a:gd name="T6" fmla="*/ 2 w 31"/>
                    <a:gd name="T7" fmla="*/ 21 h 56"/>
                    <a:gd name="T8" fmla="*/ 2 w 31"/>
                    <a:gd name="T9" fmla="*/ 35 h 56"/>
                    <a:gd name="T10" fmla="*/ 7 w 31"/>
                    <a:gd name="T11" fmla="*/ 39 h 56"/>
                    <a:gd name="T12" fmla="*/ 4 w 31"/>
                    <a:gd name="T13" fmla="*/ 42 h 56"/>
                    <a:gd name="T14" fmla="*/ 9 w 31"/>
                    <a:gd name="T15" fmla="*/ 44 h 56"/>
                    <a:gd name="T16" fmla="*/ 20 w 31"/>
                    <a:gd name="T17" fmla="*/ 56 h 56"/>
                    <a:gd name="T18" fmla="*/ 30 w 31"/>
                    <a:gd name="T19" fmla="*/ 26 h 56"/>
                    <a:gd name="T20" fmla="*/ 29 w 31"/>
                    <a:gd name="T21" fmla="*/ 12 h 56"/>
                    <a:gd name="T22" fmla="*/ 24 w 31"/>
                    <a:gd name="T23" fmla="*/ 0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56">
                      <a:moveTo>
                        <a:pt x="24" y="0"/>
                      </a:moveTo>
                      <a:cubicBezTo>
                        <a:pt x="24" y="0"/>
                        <a:pt x="24" y="0"/>
                        <a:pt x="24" y="0"/>
                      </a:cubicBezTo>
                      <a:cubicBezTo>
                        <a:pt x="23" y="4"/>
                        <a:pt x="25" y="10"/>
                        <a:pt x="20" y="10"/>
                      </a:cubicBezTo>
                      <a:cubicBezTo>
                        <a:pt x="13" y="10"/>
                        <a:pt x="8" y="16"/>
                        <a:pt x="2" y="21"/>
                      </a:cubicBezTo>
                      <a:cubicBezTo>
                        <a:pt x="0" y="23"/>
                        <a:pt x="5" y="33"/>
                        <a:pt x="2" y="35"/>
                      </a:cubicBezTo>
                      <a:cubicBezTo>
                        <a:pt x="5" y="36"/>
                        <a:pt x="8" y="35"/>
                        <a:pt x="7" y="39"/>
                      </a:cubicBezTo>
                      <a:cubicBezTo>
                        <a:pt x="6" y="40"/>
                        <a:pt x="6" y="42"/>
                        <a:pt x="4" y="42"/>
                      </a:cubicBezTo>
                      <a:cubicBezTo>
                        <a:pt x="6" y="43"/>
                        <a:pt x="8" y="44"/>
                        <a:pt x="9" y="44"/>
                      </a:cubicBezTo>
                      <a:cubicBezTo>
                        <a:pt x="6" y="51"/>
                        <a:pt x="14" y="52"/>
                        <a:pt x="20" y="56"/>
                      </a:cubicBezTo>
                      <a:cubicBezTo>
                        <a:pt x="23" y="46"/>
                        <a:pt x="26" y="36"/>
                        <a:pt x="30" y="26"/>
                      </a:cubicBezTo>
                      <a:cubicBezTo>
                        <a:pt x="31" y="22"/>
                        <a:pt x="29" y="16"/>
                        <a:pt x="29" y="12"/>
                      </a:cubicBezTo>
                      <a:cubicBezTo>
                        <a:pt x="28" y="9"/>
                        <a:pt x="29"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Freeform 173"/>
                <p:cNvSpPr/>
                <p:nvPr/>
              </p:nvSpPr>
              <p:spPr bwMode="auto">
                <a:xfrm>
                  <a:off x="3718282" y="2417437"/>
                  <a:ext cx="47906" cy="36851"/>
                </a:xfrm>
                <a:custGeom>
                  <a:gdLst>
                    <a:gd name="T0" fmla="*/ 3 w 16"/>
                    <a:gd name="T1" fmla="*/ 0 h 11"/>
                    <a:gd name="T2" fmla="*/ 0 w 16"/>
                    <a:gd name="T3" fmla="*/ 0 h 11"/>
                    <a:gd name="T4" fmla="*/ 4 w 16"/>
                    <a:gd name="T5" fmla="*/ 6 h 11"/>
                    <a:gd name="T6" fmla="*/ 5 w 16"/>
                    <a:gd name="T7" fmla="*/ 6 h 11"/>
                    <a:gd name="T8" fmla="*/ 7 w 16"/>
                    <a:gd name="T9" fmla="*/ 6 h 11"/>
                    <a:gd name="T10" fmla="*/ 8 w 16"/>
                    <a:gd name="T11" fmla="*/ 5 h 11"/>
                    <a:gd name="T12" fmla="*/ 9 w 16"/>
                    <a:gd name="T13" fmla="*/ 5 h 11"/>
                    <a:gd name="T14" fmla="*/ 12 w 16"/>
                    <a:gd name="T15" fmla="*/ 11 h 11"/>
                    <a:gd name="T16" fmla="*/ 12 w 16"/>
                    <a:gd name="T17" fmla="*/ 5 h 11"/>
                    <a:gd name="T18" fmla="*/ 13 w 16"/>
                    <a:gd name="T19" fmla="*/ 5 h 11"/>
                    <a:gd name="T20" fmla="*/ 3 w 16"/>
                    <a:gd name="T21"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1">
                      <a:moveTo>
                        <a:pt x="3" y="0"/>
                      </a:moveTo>
                      <a:cubicBezTo>
                        <a:pt x="2" y="0"/>
                        <a:pt x="1" y="0"/>
                        <a:pt x="0" y="0"/>
                      </a:cubicBezTo>
                      <a:cubicBezTo>
                        <a:pt x="2" y="2"/>
                        <a:pt x="2" y="4"/>
                        <a:pt x="4" y="6"/>
                      </a:cubicBezTo>
                      <a:cubicBezTo>
                        <a:pt x="5" y="6"/>
                        <a:pt x="5" y="6"/>
                        <a:pt x="5" y="6"/>
                      </a:cubicBezTo>
                      <a:cubicBezTo>
                        <a:pt x="6" y="6"/>
                        <a:pt x="6" y="6"/>
                        <a:pt x="7" y="6"/>
                      </a:cubicBezTo>
                      <a:cubicBezTo>
                        <a:pt x="7" y="5"/>
                        <a:pt x="8" y="5"/>
                        <a:pt x="8" y="5"/>
                      </a:cubicBezTo>
                      <a:cubicBezTo>
                        <a:pt x="8" y="5"/>
                        <a:pt x="8" y="5"/>
                        <a:pt x="9" y="5"/>
                      </a:cubicBezTo>
                      <a:cubicBezTo>
                        <a:pt x="11" y="6"/>
                        <a:pt x="11" y="9"/>
                        <a:pt x="12" y="11"/>
                      </a:cubicBezTo>
                      <a:cubicBezTo>
                        <a:pt x="16" y="7"/>
                        <a:pt x="14" y="8"/>
                        <a:pt x="12" y="5"/>
                      </a:cubicBezTo>
                      <a:cubicBezTo>
                        <a:pt x="12" y="5"/>
                        <a:pt x="13" y="5"/>
                        <a:pt x="13" y="5"/>
                      </a:cubicBezTo>
                      <a:cubicBezTo>
                        <a:pt x="9" y="3"/>
                        <a:pt x="7"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174"/>
                <p:cNvSpPr/>
                <p:nvPr/>
              </p:nvSpPr>
              <p:spPr bwMode="auto">
                <a:xfrm>
                  <a:off x="3733023" y="2476398"/>
                  <a:ext cx="22111" cy="22111"/>
                </a:xfrm>
                <a:custGeom>
                  <a:gdLst>
                    <a:gd name="T0" fmla="*/ 0 w 7"/>
                    <a:gd name="T1" fmla="*/ 0 h 7"/>
                    <a:gd name="T2" fmla="*/ 7 w 7"/>
                    <a:gd name="T3" fmla="*/ 7 h 7"/>
                    <a:gd name="T4" fmla="*/ 0 w 7"/>
                    <a:gd name="T5" fmla="*/ 0 h 7"/>
                  </a:gdLst>
                  <a:cxnLst>
                    <a:cxn ang="0">
                      <a:pos x="T0" y="T1"/>
                    </a:cxn>
                    <a:cxn ang="0">
                      <a:pos x="T2" y="T3"/>
                    </a:cxn>
                    <a:cxn ang="0">
                      <a:pos x="T4" y="T5"/>
                    </a:cxn>
                  </a:cxnLst>
                  <a:rect l="0" t="0" r="r" b="b"/>
                  <a:pathLst>
                    <a:path w="7" h="7">
                      <a:moveTo>
                        <a:pt x="0" y="0"/>
                      </a:moveTo>
                      <a:cubicBezTo>
                        <a:pt x="2" y="2"/>
                        <a:pt x="5" y="4"/>
                        <a:pt x="7" y="7"/>
                      </a:cubicBezTo>
                      <a:cubicBezTo>
                        <a:pt x="7" y="1"/>
                        <a:pt x="5"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Freeform 175"/>
                <p:cNvSpPr/>
                <p:nvPr/>
              </p:nvSpPr>
              <p:spPr bwMode="auto">
                <a:xfrm>
                  <a:off x="3725652" y="2513250"/>
                  <a:ext cx="29481" cy="33166"/>
                </a:xfrm>
                <a:custGeom>
                  <a:gdLst>
                    <a:gd name="T0" fmla="*/ 0 w 9"/>
                    <a:gd name="T1" fmla="*/ 0 h 10"/>
                    <a:gd name="T2" fmla="*/ 9 w 9"/>
                    <a:gd name="T3" fmla="*/ 10 h 10"/>
                    <a:gd name="T4" fmla="*/ 0 w 9"/>
                    <a:gd name="T5" fmla="*/ 0 h 10"/>
                  </a:gdLst>
                  <a:cxnLst>
                    <a:cxn ang="0">
                      <a:pos x="T0" y="T1"/>
                    </a:cxn>
                    <a:cxn ang="0">
                      <a:pos x="T2" y="T3"/>
                    </a:cxn>
                    <a:cxn ang="0">
                      <a:pos x="T4" y="T5"/>
                    </a:cxn>
                  </a:cxnLst>
                  <a:rect l="0" t="0" r="r" b="b"/>
                  <a:pathLst>
                    <a:path w="9" h="10">
                      <a:moveTo>
                        <a:pt x="0" y="0"/>
                      </a:moveTo>
                      <a:cubicBezTo>
                        <a:pt x="2" y="5"/>
                        <a:pt x="5" y="7"/>
                        <a:pt x="9" y="10"/>
                      </a:cubicBezTo>
                      <a:cubicBezTo>
                        <a:pt x="8" y="4"/>
                        <a:pt x="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176"/>
                <p:cNvSpPr/>
                <p:nvPr/>
              </p:nvSpPr>
              <p:spPr bwMode="auto">
                <a:xfrm>
                  <a:off x="3766189" y="2413751"/>
                  <a:ext cx="18426" cy="22111"/>
                </a:xfrm>
                <a:custGeom>
                  <a:gdLst>
                    <a:gd name="T0" fmla="*/ 0 w 6"/>
                    <a:gd name="T1" fmla="*/ 0 h 8"/>
                    <a:gd name="T2" fmla="*/ 1 w 6"/>
                    <a:gd name="T3" fmla="*/ 8 h 8"/>
                    <a:gd name="T4" fmla="*/ 1 w 6"/>
                    <a:gd name="T5" fmla="*/ 8 h 8"/>
                    <a:gd name="T6" fmla="*/ 2 w 6"/>
                    <a:gd name="T7" fmla="*/ 2 h 8"/>
                    <a:gd name="T8" fmla="*/ 0 w 6"/>
                    <a:gd name="T9" fmla="*/ 0 h 8"/>
                  </a:gdLst>
                  <a:cxnLst>
                    <a:cxn ang="0">
                      <a:pos x="T0" y="T1"/>
                    </a:cxn>
                    <a:cxn ang="0">
                      <a:pos x="T2" y="T3"/>
                    </a:cxn>
                    <a:cxn ang="0">
                      <a:pos x="T4" y="T5"/>
                    </a:cxn>
                    <a:cxn ang="0">
                      <a:pos x="T6" y="T7"/>
                    </a:cxn>
                    <a:cxn ang="0">
                      <a:pos x="T8" y="T9"/>
                    </a:cxn>
                  </a:cxnLst>
                  <a:rect l="0" t="0" r="r" b="b"/>
                  <a:pathLst>
                    <a:path w="6" h="8">
                      <a:moveTo>
                        <a:pt x="0" y="0"/>
                      </a:moveTo>
                      <a:cubicBezTo>
                        <a:pt x="0" y="2"/>
                        <a:pt x="1" y="5"/>
                        <a:pt x="1" y="8"/>
                      </a:cubicBezTo>
                      <a:cubicBezTo>
                        <a:pt x="1" y="8"/>
                        <a:pt x="1" y="8"/>
                        <a:pt x="1" y="8"/>
                      </a:cubicBezTo>
                      <a:cubicBezTo>
                        <a:pt x="6" y="8"/>
                        <a:pt x="4" y="4"/>
                        <a:pt x="2" y="2"/>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Freeform 177"/>
                <p:cNvSpPr/>
                <p:nvPr/>
              </p:nvSpPr>
              <p:spPr bwMode="auto">
                <a:xfrm>
                  <a:off x="3688801" y="2439547"/>
                  <a:ext cx="33166" cy="22111"/>
                </a:xfrm>
                <a:custGeom>
                  <a:gdLst>
                    <a:gd name="T0" fmla="*/ 5 w 10"/>
                    <a:gd name="T1" fmla="*/ 0 h 6"/>
                    <a:gd name="T2" fmla="*/ 3 w 10"/>
                    <a:gd name="T3" fmla="*/ 0 h 6"/>
                    <a:gd name="T4" fmla="*/ 1 w 10"/>
                    <a:gd name="T5" fmla="*/ 1 h 6"/>
                    <a:gd name="T6" fmla="*/ 0 w 10"/>
                    <a:gd name="T7" fmla="*/ 0 h 6"/>
                    <a:gd name="T8" fmla="*/ 6 w 10"/>
                    <a:gd name="T9" fmla="*/ 6 h 6"/>
                    <a:gd name="T10" fmla="*/ 9 w 10"/>
                    <a:gd name="T11" fmla="*/ 2 h 6"/>
                    <a:gd name="T12" fmla="*/ 9 w 10"/>
                    <a:gd name="T13" fmla="*/ 1 h 6"/>
                    <a:gd name="T14" fmla="*/ 5 w 10"/>
                    <a:gd name="T15" fmla="*/ 0 h 6"/>
                    <a:gd name="T16" fmla="*/ 5 w 10"/>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5" y="0"/>
                      </a:moveTo>
                      <a:cubicBezTo>
                        <a:pt x="4" y="0"/>
                        <a:pt x="4" y="0"/>
                        <a:pt x="3" y="0"/>
                      </a:cubicBezTo>
                      <a:cubicBezTo>
                        <a:pt x="3" y="0"/>
                        <a:pt x="2" y="1"/>
                        <a:pt x="1" y="1"/>
                      </a:cubicBezTo>
                      <a:cubicBezTo>
                        <a:pt x="1" y="1"/>
                        <a:pt x="0" y="0"/>
                        <a:pt x="0" y="0"/>
                      </a:cubicBezTo>
                      <a:cubicBezTo>
                        <a:pt x="1" y="2"/>
                        <a:pt x="4" y="4"/>
                        <a:pt x="6" y="6"/>
                      </a:cubicBezTo>
                      <a:cubicBezTo>
                        <a:pt x="8" y="5"/>
                        <a:pt x="10" y="3"/>
                        <a:pt x="9" y="2"/>
                      </a:cubicBezTo>
                      <a:cubicBezTo>
                        <a:pt x="9" y="2"/>
                        <a:pt x="9" y="1"/>
                        <a:pt x="9" y="1"/>
                      </a:cubicBezTo>
                      <a:cubicBezTo>
                        <a:pt x="8" y="1"/>
                        <a:pt x="7"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Freeform 178"/>
                <p:cNvSpPr/>
                <p:nvPr/>
              </p:nvSpPr>
              <p:spPr bwMode="auto">
                <a:xfrm>
                  <a:off x="3696171" y="2417437"/>
                  <a:ext cx="51592" cy="51592"/>
                </a:xfrm>
                <a:custGeom>
                  <a:gdLst>
                    <a:gd name="T0" fmla="*/ 4 w 16"/>
                    <a:gd name="T1" fmla="*/ 0 h 16"/>
                    <a:gd name="T2" fmla="*/ 3 w 16"/>
                    <a:gd name="T3" fmla="*/ 0 h 16"/>
                    <a:gd name="T4" fmla="*/ 6 w 16"/>
                    <a:gd name="T5" fmla="*/ 8 h 16"/>
                    <a:gd name="T6" fmla="*/ 6 w 16"/>
                    <a:gd name="T7" fmla="*/ 9 h 16"/>
                    <a:gd name="T8" fmla="*/ 16 w 16"/>
                    <a:gd name="T9" fmla="*/ 16 h 16"/>
                    <a:gd name="T10" fmla="*/ 15 w 16"/>
                    <a:gd name="T11" fmla="*/ 11 h 16"/>
                    <a:gd name="T12" fmla="*/ 15 w 16"/>
                    <a:gd name="T13" fmla="*/ 11 h 16"/>
                    <a:gd name="T14" fmla="*/ 14 w 16"/>
                    <a:gd name="T15" fmla="*/ 11 h 16"/>
                    <a:gd name="T16" fmla="*/ 13 w 16"/>
                    <a:gd name="T17" fmla="*/ 11 h 16"/>
                    <a:gd name="T18" fmla="*/ 13 w 16"/>
                    <a:gd name="T19" fmla="*/ 11 h 16"/>
                    <a:gd name="T20" fmla="*/ 13 w 16"/>
                    <a:gd name="T21" fmla="*/ 9 h 16"/>
                    <a:gd name="T22" fmla="*/ 11 w 16"/>
                    <a:gd name="T23" fmla="*/ 9 h 16"/>
                    <a:gd name="T24" fmla="*/ 9 w 16"/>
                    <a:gd name="T25" fmla="*/ 5 h 16"/>
                    <a:gd name="T26" fmla="*/ 7 w 16"/>
                    <a:gd name="T27" fmla="*/ 2 h 16"/>
                    <a:gd name="T28" fmla="*/ 4 w 16"/>
                    <a:gd name="T29"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4" y="0"/>
                      </a:moveTo>
                      <a:cubicBezTo>
                        <a:pt x="3" y="0"/>
                        <a:pt x="3" y="0"/>
                        <a:pt x="3" y="0"/>
                      </a:cubicBezTo>
                      <a:cubicBezTo>
                        <a:pt x="0" y="2"/>
                        <a:pt x="3" y="5"/>
                        <a:pt x="6" y="8"/>
                      </a:cubicBezTo>
                      <a:cubicBezTo>
                        <a:pt x="6" y="8"/>
                        <a:pt x="6" y="9"/>
                        <a:pt x="6" y="9"/>
                      </a:cubicBezTo>
                      <a:cubicBezTo>
                        <a:pt x="10" y="12"/>
                        <a:pt x="15" y="16"/>
                        <a:pt x="16" y="16"/>
                      </a:cubicBezTo>
                      <a:cubicBezTo>
                        <a:pt x="16" y="14"/>
                        <a:pt x="16" y="13"/>
                        <a:pt x="15" y="11"/>
                      </a:cubicBezTo>
                      <a:cubicBezTo>
                        <a:pt x="15" y="11"/>
                        <a:pt x="15" y="11"/>
                        <a:pt x="15" y="11"/>
                      </a:cubicBezTo>
                      <a:cubicBezTo>
                        <a:pt x="15" y="11"/>
                        <a:pt x="15" y="11"/>
                        <a:pt x="14" y="11"/>
                      </a:cubicBezTo>
                      <a:cubicBezTo>
                        <a:pt x="14" y="11"/>
                        <a:pt x="14" y="11"/>
                        <a:pt x="13" y="11"/>
                      </a:cubicBezTo>
                      <a:cubicBezTo>
                        <a:pt x="13" y="11"/>
                        <a:pt x="13" y="11"/>
                        <a:pt x="13" y="11"/>
                      </a:cubicBezTo>
                      <a:cubicBezTo>
                        <a:pt x="12" y="11"/>
                        <a:pt x="14" y="9"/>
                        <a:pt x="13" y="9"/>
                      </a:cubicBezTo>
                      <a:cubicBezTo>
                        <a:pt x="12" y="9"/>
                        <a:pt x="12" y="9"/>
                        <a:pt x="11" y="9"/>
                      </a:cubicBezTo>
                      <a:cubicBezTo>
                        <a:pt x="13" y="7"/>
                        <a:pt x="10" y="7"/>
                        <a:pt x="9" y="5"/>
                      </a:cubicBezTo>
                      <a:cubicBezTo>
                        <a:pt x="8" y="5"/>
                        <a:pt x="8" y="3"/>
                        <a:pt x="7"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Freeform 179"/>
                <p:cNvSpPr/>
                <p:nvPr/>
              </p:nvSpPr>
              <p:spPr bwMode="auto">
                <a:xfrm>
                  <a:off x="6375250" y="2686450"/>
                  <a:ext cx="7370" cy="3685"/>
                </a:xfrm>
                <a:custGeom>
                  <a:gdLst>
                    <a:gd name="T0" fmla="*/ 2 w 3"/>
                    <a:gd name="T1" fmla="*/ 0 h 2"/>
                    <a:gd name="T2" fmla="*/ 0 w 3"/>
                    <a:gd name="T3" fmla="*/ 2 h 2"/>
                    <a:gd name="T4" fmla="*/ 1 w 3"/>
                    <a:gd name="T5" fmla="*/ 2 h 2"/>
                    <a:gd name="T6" fmla="*/ 3 w 3"/>
                    <a:gd name="T7" fmla="*/ 1 h 2"/>
                    <a:gd name="T8" fmla="*/ 2 w 3"/>
                    <a:gd name="T9" fmla="*/ 0 h 2"/>
                  </a:gdLst>
                  <a:cxnLst>
                    <a:cxn ang="0">
                      <a:pos x="T0" y="T1"/>
                    </a:cxn>
                    <a:cxn ang="0">
                      <a:pos x="T2" y="T3"/>
                    </a:cxn>
                    <a:cxn ang="0">
                      <a:pos x="T4" y="T5"/>
                    </a:cxn>
                    <a:cxn ang="0">
                      <a:pos x="T6" y="T7"/>
                    </a:cxn>
                    <a:cxn ang="0">
                      <a:pos x="T8" y="T9"/>
                    </a:cxn>
                  </a:cxnLst>
                  <a:rect l="0" t="0" r="r" b="b"/>
                  <a:pathLst>
                    <a:path w="3" h="2">
                      <a:moveTo>
                        <a:pt x="2" y="0"/>
                      </a:moveTo>
                      <a:cubicBezTo>
                        <a:pt x="1" y="0"/>
                        <a:pt x="1" y="1"/>
                        <a:pt x="0" y="2"/>
                      </a:cubicBezTo>
                      <a:cubicBezTo>
                        <a:pt x="0" y="2"/>
                        <a:pt x="1" y="2"/>
                        <a:pt x="1" y="2"/>
                      </a:cubicBezTo>
                      <a:cubicBezTo>
                        <a:pt x="1" y="2"/>
                        <a:pt x="2" y="1"/>
                        <a:pt x="3" y="1"/>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180"/>
                <p:cNvSpPr/>
                <p:nvPr/>
              </p:nvSpPr>
              <p:spPr bwMode="auto">
                <a:xfrm>
                  <a:off x="6316288" y="2715931"/>
                  <a:ext cx="7370" cy="3685"/>
                </a:xfrm>
                <a:custGeom>
                  <a:gdLst>
                    <a:gd name="T0" fmla="*/ 2 w 2"/>
                    <a:gd name="T1" fmla="*/ 0 h 1"/>
                    <a:gd name="T2" fmla="*/ 0 w 2"/>
                    <a:gd name="T3" fmla="*/ 1 h 1"/>
                    <a:gd name="T4" fmla="*/ 1 w 2"/>
                    <a:gd name="T5" fmla="*/ 1 h 1"/>
                    <a:gd name="T6" fmla="*/ 2 w 2"/>
                    <a:gd name="T7" fmla="*/ 0 h 1"/>
                  </a:gdLst>
                  <a:cxnLst>
                    <a:cxn ang="0">
                      <a:pos x="T0" y="T1"/>
                    </a:cxn>
                    <a:cxn ang="0">
                      <a:pos x="T2" y="T3"/>
                    </a:cxn>
                    <a:cxn ang="0">
                      <a:pos x="T4" y="T5"/>
                    </a:cxn>
                    <a:cxn ang="0">
                      <a:pos x="T6" y="T7"/>
                    </a:cxn>
                  </a:cxnLst>
                  <a:rect l="0" t="0" r="r" b="b"/>
                  <a:pathLst>
                    <a:path w="2" h="1">
                      <a:moveTo>
                        <a:pt x="2" y="0"/>
                      </a:moveTo>
                      <a:cubicBezTo>
                        <a:pt x="1" y="0"/>
                        <a:pt x="1" y="0"/>
                        <a:pt x="0" y="1"/>
                      </a:cubicBezTo>
                      <a:cubicBezTo>
                        <a:pt x="1" y="1"/>
                        <a:pt x="1" y="1"/>
                        <a:pt x="1" y="1"/>
                      </a:cubicBezTo>
                      <a:cubicBezTo>
                        <a:pt x="2"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Freeform 181"/>
                <p:cNvSpPr/>
                <p:nvPr/>
              </p:nvSpPr>
              <p:spPr bwMode="auto">
                <a:xfrm>
                  <a:off x="6183624" y="2712246"/>
                  <a:ext cx="3685" cy="14740"/>
                </a:xfrm>
                <a:custGeom>
                  <a:gdLst>
                    <a:gd name="T0" fmla="*/ 0 w 1"/>
                    <a:gd name="T1" fmla="*/ 0 h 5"/>
                    <a:gd name="T2" fmla="*/ 1 w 1"/>
                    <a:gd name="T3" fmla="*/ 5 h 5"/>
                    <a:gd name="T4" fmla="*/ 0 w 1"/>
                    <a:gd name="T5" fmla="*/ 0 h 5"/>
                  </a:gdLst>
                  <a:cxnLst>
                    <a:cxn ang="0">
                      <a:pos x="T0" y="T1"/>
                    </a:cxn>
                    <a:cxn ang="0">
                      <a:pos x="T2" y="T3"/>
                    </a:cxn>
                    <a:cxn ang="0">
                      <a:pos x="T4" y="T5"/>
                    </a:cxn>
                  </a:cxnLst>
                  <a:rect l="0" t="0" r="r" b="b"/>
                  <a:pathLst>
                    <a:path w="1" h="5">
                      <a:moveTo>
                        <a:pt x="0" y="0"/>
                      </a:moveTo>
                      <a:cubicBezTo>
                        <a:pt x="0" y="2"/>
                        <a:pt x="0" y="3"/>
                        <a:pt x="1" y="5"/>
                      </a:cubicBezTo>
                      <a:cubicBezTo>
                        <a:pt x="1" y="3"/>
                        <a:pt x="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182"/>
                <p:cNvSpPr/>
                <p:nvPr/>
              </p:nvSpPr>
              <p:spPr bwMode="auto">
                <a:xfrm>
                  <a:off x="6120977" y="2693820"/>
                  <a:ext cx="14740" cy="18426"/>
                </a:xfrm>
                <a:custGeom>
                  <a:gdLst>
                    <a:gd name="T0" fmla="*/ 2 w 5"/>
                    <a:gd name="T1" fmla="*/ 0 h 6"/>
                    <a:gd name="T2" fmla="*/ 1 w 5"/>
                    <a:gd name="T3" fmla="*/ 6 h 6"/>
                    <a:gd name="T4" fmla="*/ 2 w 5"/>
                    <a:gd name="T5" fmla="*/ 0 h 6"/>
                  </a:gdLst>
                  <a:cxnLst>
                    <a:cxn ang="0">
                      <a:pos x="T0" y="T1"/>
                    </a:cxn>
                    <a:cxn ang="0">
                      <a:pos x="T2" y="T3"/>
                    </a:cxn>
                    <a:cxn ang="0">
                      <a:pos x="T4" y="T5"/>
                    </a:cxn>
                  </a:cxnLst>
                  <a:rect l="0" t="0" r="r" b="b"/>
                  <a:pathLst>
                    <a:path w="5" h="6">
                      <a:moveTo>
                        <a:pt x="2" y="0"/>
                      </a:moveTo>
                      <a:cubicBezTo>
                        <a:pt x="2" y="2"/>
                        <a:pt x="0" y="4"/>
                        <a:pt x="1" y="6"/>
                      </a:cubicBezTo>
                      <a:cubicBezTo>
                        <a:pt x="5" y="5"/>
                        <a:pt x="4"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Freeform 183"/>
                <p:cNvSpPr/>
                <p:nvPr/>
              </p:nvSpPr>
              <p:spPr bwMode="auto">
                <a:xfrm>
                  <a:off x="6338399" y="2704876"/>
                  <a:ext cx="14740" cy="7370"/>
                </a:xfrm>
                <a:custGeom>
                  <a:gdLst>
                    <a:gd name="T0" fmla="*/ 4 w 4"/>
                    <a:gd name="T1" fmla="*/ 0 h 3"/>
                    <a:gd name="T2" fmla="*/ 1 w 4"/>
                    <a:gd name="T3" fmla="*/ 3 h 3"/>
                    <a:gd name="T4" fmla="*/ 4 w 4"/>
                    <a:gd name="T5" fmla="*/ 0 h 3"/>
                  </a:gdLst>
                  <a:cxnLst>
                    <a:cxn ang="0">
                      <a:pos x="T0" y="T1"/>
                    </a:cxn>
                    <a:cxn ang="0">
                      <a:pos x="T2" y="T3"/>
                    </a:cxn>
                    <a:cxn ang="0">
                      <a:pos x="T4" y="T5"/>
                    </a:cxn>
                  </a:cxnLst>
                  <a:rect l="0" t="0" r="r" b="b"/>
                  <a:pathLst>
                    <a:path w="4" h="3">
                      <a:moveTo>
                        <a:pt x="4" y="0"/>
                      </a:moveTo>
                      <a:cubicBezTo>
                        <a:pt x="1" y="2"/>
                        <a:pt x="0" y="3"/>
                        <a:pt x="1" y="3"/>
                      </a:cubicBezTo>
                      <a:cubicBezTo>
                        <a:pt x="1" y="3"/>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184"/>
                <p:cNvSpPr/>
                <p:nvPr/>
              </p:nvSpPr>
              <p:spPr bwMode="auto">
                <a:xfrm>
                  <a:off x="6161514" y="2723301"/>
                  <a:ext cx="18426" cy="14740"/>
                </a:xfrm>
                <a:custGeom>
                  <a:gdLst>
                    <a:gd name="T0" fmla="*/ 4 w 6"/>
                    <a:gd name="T1" fmla="*/ 0 h 5"/>
                    <a:gd name="T2" fmla="*/ 0 w 6"/>
                    <a:gd name="T3" fmla="*/ 1 h 5"/>
                    <a:gd name="T4" fmla="*/ 5 w 6"/>
                    <a:gd name="T5" fmla="*/ 5 h 5"/>
                    <a:gd name="T6" fmla="*/ 4 w 6"/>
                    <a:gd name="T7" fmla="*/ 0 h 5"/>
                  </a:gdLst>
                  <a:cxnLst>
                    <a:cxn ang="0">
                      <a:pos x="T0" y="T1"/>
                    </a:cxn>
                    <a:cxn ang="0">
                      <a:pos x="T2" y="T3"/>
                    </a:cxn>
                    <a:cxn ang="0">
                      <a:pos x="T4" y="T5"/>
                    </a:cxn>
                    <a:cxn ang="0">
                      <a:pos x="T6" y="T7"/>
                    </a:cxn>
                  </a:cxnLst>
                  <a:rect l="0" t="0" r="r" b="b"/>
                  <a:pathLst>
                    <a:path w="6" h="5">
                      <a:moveTo>
                        <a:pt x="4" y="0"/>
                      </a:moveTo>
                      <a:cubicBezTo>
                        <a:pt x="3" y="0"/>
                        <a:pt x="1" y="0"/>
                        <a:pt x="0" y="1"/>
                      </a:cubicBezTo>
                      <a:cubicBezTo>
                        <a:pt x="2" y="2"/>
                        <a:pt x="3" y="2"/>
                        <a:pt x="5" y="5"/>
                      </a:cubicBezTo>
                      <a:cubicBezTo>
                        <a:pt x="6" y="2"/>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Freeform 185"/>
                <p:cNvSpPr/>
                <p:nvPr/>
              </p:nvSpPr>
              <p:spPr bwMode="auto">
                <a:xfrm>
                  <a:off x="6353140" y="2693820"/>
                  <a:ext cx="22111" cy="3685"/>
                </a:xfrm>
                <a:custGeom>
                  <a:gdLst>
                    <a:gd name="T0" fmla="*/ 7 w 7"/>
                    <a:gd name="T1" fmla="*/ 0 h 1"/>
                    <a:gd name="T2" fmla="*/ 0 w 7"/>
                    <a:gd name="T3" fmla="*/ 1 h 1"/>
                    <a:gd name="T4" fmla="*/ 0 w 7"/>
                    <a:gd name="T5" fmla="*/ 1 h 1"/>
                    <a:gd name="T6" fmla="*/ 2 w 7"/>
                    <a:gd name="T7" fmla="*/ 1 h 1"/>
                    <a:gd name="T8" fmla="*/ 3 w 7"/>
                    <a:gd name="T9" fmla="*/ 1 h 1"/>
                    <a:gd name="T10" fmla="*/ 3 w 7"/>
                    <a:gd name="T11" fmla="*/ 1 h 1"/>
                    <a:gd name="T12" fmla="*/ 7 w 7"/>
                    <a:gd name="T13" fmla="*/ 0 h 1"/>
                  </a:gdLst>
                  <a:cxnLst>
                    <a:cxn ang="0">
                      <a:pos x="T0" y="T1"/>
                    </a:cxn>
                    <a:cxn ang="0">
                      <a:pos x="T2" y="T3"/>
                    </a:cxn>
                    <a:cxn ang="0">
                      <a:pos x="T4" y="T5"/>
                    </a:cxn>
                    <a:cxn ang="0">
                      <a:pos x="T6" y="T7"/>
                    </a:cxn>
                    <a:cxn ang="0">
                      <a:pos x="T8" y="T9"/>
                    </a:cxn>
                    <a:cxn ang="0">
                      <a:pos x="T10" y="T11"/>
                    </a:cxn>
                    <a:cxn ang="0">
                      <a:pos x="T12" y="T13"/>
                    </a:cxn>
                  </a:cxnLst>
                  <a:rect l="0" t="0" r="r" b="b"/>
                  <a:pathLst>
                    <a:path w="7" h="1">
                      <a:moveTo>
                        <a:pt x="7" y="0"/>
                      </a:moveTo>
                      <a:cubicBezTo>
                        <a:pt x="5" y="0"/>
                        <a:pt x="2" y="0"/>
                        <a:pt x="0" y="1"/>
                      </a:cubicBezTo>
                      <a:cubicBezTo>
                        <a:pt x="0" y="1"/>
                        <a:pt x="0" y="1"/>
                        <a:pt x="0" y="1"/>
                      </a:cubicBezTo>
                      <a:cubicBezTo>
                        <a:pt x="1" y="1"/>
                        <a:pt x="2" y="1"/>
                        <a:pt x="2" y="1"/>
                      </a:cubicBezTo>
                      <a:cubicBezTo>
                        <a:pt x="2" y="1"/>
                        <a:pt x="3" y="1"/>
                        <a:pt x="3" y="1"/>
                      </a:cubicBezTo>
                      <a:cubicBezTo>
                        <a:pt x="3" y="1"/>
                        <a:pt x="3" y="1"/>
                        <a:pt x="3" y="1"/>
                      </a:cubicBezTo>
                      <a:cubicBezTo>
                        <a:pt x="4" y="1"/>
                        <a:pt x="6"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Freeform 186"/>
                <p:cNvSpPr/>
                <p:nvPr/>
              </p:nvSpPr>
              <p:spPr bwMode="auto">
                <a:xfrm>
                  <a:off x="6132033" y="2679080"/>
                  <a:ext cx="55277" cy="47907"/>
                </a:xfrm>
                <a:custGeom>
                  <a:gdLst>
                    <a:gd name="T0" fmla="*/ 6 w 17"/>
                    <a:gd name="T1" fmla="*/ 0 h 15"/>
                    <a:gd name="T2" fmla="*/ 4 w 17"/>
                    <a:gd name="T3" fmla="*/ 0 h 15"/>
                    <a:gd name="T4" fmla="*/ 1 w 17"/>
                    <a:gd name="T5" fmla="*/ 5 h 15"/>
                    <a:gd name="T6" fmla="*/ 0 w 17"/>
                    <a:gd name="T7" fmla="*/ 5 h 15"/>
                    <a:gd name="T8" fmla="*/ 8 w 17"/>
                    <a:gd name="T9" fmla="*/ 15 h 15"/>
                    <a:gd name="T10" fmla="*/ 10 w 17"/>
                    <a:gd name="T11" fmla="*/ 8 h 15"/>
                    <a:gd name="T12" fmla="*/ 10 w 17"/>
                    <a:gd name="T13" fmla="*/ 4 h 15"/>
                    <a:gd name="T14" fmla="*/ 14 w 17"/>
                    <a:gd name="T15" fmla="*/ 10 h 15"/>
                    <a:gd name="T16" fmla="*/ 16 w 17"/>
                    <a:gd name="T17" fmla="*/ 8 h 15"/>
                    <a:gd name="T18" fmla="*/ 13 w 17"/>
                    <a:gd name="T19" fmla="*/ 3 h 15"/>
                    <a:gd name="T20" fmla="*/ 12 w 17"/>
                    <a:gd name="T21" fmla="*/ 3 h 15"/>
                    <a:gd name="T22" fmla="*/ 12 w 17"/>
                    <a:gd name="T23" fmla="*/ 2 h 15"/>
                    <a:gd name="T24" fmla="*/ 12 w 17"/>
                    <a:gd name="T25" fmla="*/ 2 h 15"/>
                    <a:gd name="T26" fmla="*/ 11 w 17"/>
                    <a:gd name="T27" fmla="*/ 2 h 15"/>
                    <a:gd name="T28" fmla="*/ 10 w 17"/>
                    <a:gd name="T29" fmla="*/ 2 h 15"/>
                    <a:gd name="T30" fmla="*/ 10 w 17"/>
                    <a:gd name="T31" fmla="*/ 2 h 15"/>
                    <a:gd name="T32" fmla="*/ 9 w 17"/>
                    <a:gd name="T33" fmla="*/ 2 h 15"/>
                    <a:gd name="T34" fmla="*/ 8 w 17"/>
                    <a:gd name="T35" fmla="*/ 2 h 15"/>
                    <a:gd name="T36" fmla="*/ 8 w 17"/>
                    <a:gd name="T37" fmla="*/ 2 h 15"/>
                    <a:gd name="T38" fmla="*/ 7 w 17"/>
                    <a:gd name="T39" fmla="*/ 1 h 15"/>
                    <a:gd name="T40" fmla="*/ 6 w 17"/>
                    <a:gd name="T41"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5">
                      <a:moveTo>
                        <a:pt x="6" y="0"/>
                      </a:moveTo>
                      <a:cubicBezTo>
                        <a:pt x="5" y="0"/>
                        <a:pt x="5" y="0"/>
                        <a:pt x="4" y="0"/>
                      </a:cubicBezTo>
                      <a:cubicBezTo>
                        <a:pt x="3" y="2"/>
                        <a:pt x="3" y="5"/>
                        <a:pt x="1" y="5"/>
                      </a:cubicBezTo>
                      <a:cubicBezTo>
                        <a:pt x="1" y="5"/>
                        <a:pt x="0" y="5"/>
                        <a:pt x="0" y="5"/>
                      </a:cubicBezTo>
                      <a:cubicBezTo>
                        <a:pt x="2" y="8"/>
                        <a:pt x="5" y="12"/>
                        <a:pt x="8" y="15"/>
                      </a:cubicBezTo>
                      <a:cubicBezTo>
                        <a:pt x="11" y="12"/>
                        <a:pt x="10" y="10"/>
                        <a:pt x="10" y="8"/>
                      </a:cubicBezTo>
                      <a:cubicBezTo>
                        <a:pt x="9" y="5"/>
                        <a:pt x="9" y="6"/>
                        <a:pt x="10" y="4"/>
                      </a:cubicBezTo>
                      <a:cubicBezTo>
                        <a:pt x="12" y="6"/>
                        <a:pt x="13" y="10"/>
                        <a:pt x="14" y="10"/>
                      </a:cubicBezTo>
                      <a:cubicBezTo>
                        <a:pt x="14" y="10"/>
                        <a:pt x="15" y="9"/>
                        <a:pt x="16" y="8"/>
                      </a:cubicBezTo>
                      <a:cubicBezTo>
                        <a:pt x="17" y="6"/>
                        <a:pt x="16" y="3"/>
                        <a:pt x="13" y="3"/>
                      </a:cubicBezTo>
                      <a:cubicBezTo>
                        <a:pt x="13" y="3"/>
                        <a:pt x="13" y="3"/>
                        <a:pt x="12" y="3"/>
                      </a:cubicBezTo>
                      <a:cubicBezTo>
                        <a:pt x="12" y="2"/>
                        <a:pt x="12" y="2"/>
                        <a:pt x="12" y="2"/>
                      </a:cubicBezTo>
                      <a:cubicBezTo>
                        <a:pt x="12" y="2"/>
                        <a:pt x="12" y="2"/>
                        <a:pt x="12" y="2"/>
                      </a:cubicBezTo>
                      <a:cubicBezTo>
                        <a:pt x="11" y="2"/>
                        <a:pt x="11" y="2"/>
                        <a:pt x="11" y="2"/>
                      </a:cubicBezTo>
                      <a:cubicBezTo>
                        <a:pt x="11" y="2"/>
                        <a:pt x="11" y="2"/>
                        <a:pt x="10" y="2"/>
                      </a:cubicBezTo>
                      <a:cubicBezTo>
                        <a:pt x="10" y="2"/>
                        <a:pt x="10" y="2"/>
                        <a:pt x="10" y="2"/>
                      </a:cubicBezTo>
                      <a:cubicBezTo>
                        <a:pt x="10" y="2"/>
                        <a:pt x="9" y="2"/>
                        <a:pt x="9" y="2"/>
                      </a:cubicBezTo>
                      <a:cubicBezTo>
                        <a:pt x="9" y="2"/>
                        <a:pt x="9" y="2"/>
                        <a:pt x="8" y="2"/>
                      </a:cubicBezTo>
                      <a:cubicBezTo>
                        <a:pt x="8" y="2"/>
                        <a:pt x="8" y="2"/>
                        <a:pt x="8" y="2"/>
                      </a:cubicBezTo>
                      <a:cubicBezTo>
                        <a:pt x="7" y="2"/>
                        <a:pt x="8" y="1"/>
                        <a:pt x="7" y="1"/>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Freeform 187"/>
                <p:cNvSpPr/>
                <p:nvPr/>
              </p:nvSpPr>
              <p:spPr bwMode="auto">
                <a:xfrm>
                  <a:off x="6349454" y="2863335"/>
                  <a:ext cx="77387" cy="44221"/>
                </a:xfrm>
                <a:custGeom>
                  <a:gdLst>
                    <a:gd name="T0" fmla="*/ 17 w 24"/>
                    <a:gd name="T1" fmla="*/ 0 h 14"/>
                    <a:gd name="T2" fmla="*/ 2 w 24"/>
                    <a:gd name="T3" fmla="*/ 4 h 14"/>
                    <a:gd name="T4" fmla="*/ 0 w 24"/>
                    <a:gd name="T5" fmla="*/ 4 h 14"/>
                    <a:gd name="T6" fmla="*/ 11 w 24"/>
                    <a:gd name="T7" fmla="*/ 14 h 14"/>
                    <a:gd name="T8" fmla="*/ 24 w 24"/>
                    <a:gd name="T9" fmla="*/ 8 h 14"/>
                    <a:gd name="T10" fmla="*/ 17 w 24"/>
                    <a:gd name="T11" fmla="*/ 0 h 14"/>
                  </a:gdLst>
                  <a:cxnLst>
                    <a:cxn ang="0">
                      <a:pos x="T0" y="T1"/>
                    </a:cxn>
                    <a:cxn ang="0">
                      <a:pos x="T2" y="T3"/>
                    </a:cxn>
                    <a:cxn ang="0">
                      <a:pos x="T4" y="T5"/>
                    </a:cxn>
                    <a:cxn ang="0">
                      <a:pos x="T6" y="T7"/>
                    </a:cxn>
                    <a:cxn ang="0">
                      <a:pos x="T8" y="T9"/>
                    </a:cxn>
                    <a:cxn ang="0">
                      <a:pos x="T10" y="T11"/>
                    </a:cxn>
                  </a:cxnLst>
                  <a:rect l="0" t="0" r="r" b="b"/>
                  <a:pathLst>
                    <a:path w="24" h="14">
                      <a:moveTo>
                        <a:pt x="17" y="0"/>
                      </a:moveTo>
                      <a:cubicBezTo>
                        <a:pt x="13" y="1"/>
                        <a:pt x="7" y="4"/>
                        <a:pt x="2" y="4"/>
                      </a:cubicBezTo>
                      <a:cubicBezTo>
                        <a:pt x="1" y="4"/>
                        <a:pt x="1" y="4"/>
                        <a:pt x="0" y="4"/>
                      </a:cubicBezTo>
                      <a:cubicBezTo>
                        <a:pt x="3" y="6"/>
                        <a:pt x="14" y="8"/>
                        <a:pt x="11" y="14"/>
                      </a:cubicBezTo>
                      <a:cubicBezTo>
                        <a:pt x="15" y="13"/>
                        <a:pt x="21" y="10"/>
                        <a:pt x="24" y="8"/>
                      </a:cubicBezTo>
                      <a:cubicBezTo>
                        <a:pt x="22" y="6"/>
                        <a:pt x="18" y="2"/>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188"/>
                <p:cNvSpPr/>
                <p:nvPr/>
              </p:nvSpPr>
              <p:spPr bwMode="auto">
                <a:xfrm>
                  <a:off x="6327344" y="2918612"/>
                  <a:ext cx="132664" cy="92128"/>
                </a:xfrm>
                <a:custGeom>
                  <a:gdLst>
                    <a:gd name="T0" fmla="*/ 27 w 42"/>
                    <a:gd name="T1" fmla="*/ 0 h 29"/>
                    <a:gd name="T2" fmla="*/ 11 w 42"/>
                    <a:gd name="T3" fmla="*/ 4 h 29"/>
                    <a:gd name="T4" fmla="*/ 6 w 42"/>
                    <a:gd name="T5" fmla="*/ 6 h 29"/>
                    <a:gd name="T6" fmla="*/ 0 w 42"/>
                    <a:gd name="T7" fmla="*/ 5 h 29"/>
                    <a:gd name="T8" fmla="*/ 2 w 42"/>
                    <a:gd name="T9" fmla="*/ 7 h 29"/>
                    <a:gd name="T10" fmla="*/ 1 w 42"/>
                    <a:gd name="T11" fmla="*/ 13 h 29"/>
                    <a:gd name="T12" fmla="*/ 2 w 42"/>
                    <a:gd name="T13" fmla="*/ 15 h 29"/>
                    <a:gd name="T14" fmla="*/ 9 w 42"/>
                    <a:gd name="T15" fmla="*/ 20 h 29"/>
                    <a:gd name="T16" fmla="*/ 6 w 42"/>
                    <a:gd name="T17" fmla="*/ 29 h 29"/>
                    <a:gd name="T18" fmla="*/ 6 w 42"/>
                    <a:gd name="T19" fmla="*/ 29 h 29"/>
                    <a:gd name="T20" fmla="*/ 10 w 42"/>
                    <a:gd name="T21" fmla="*/ 24 h 29"/>
                    <a:gd name="T22" fmla="*/ 20 w 42"/>
                    <a:gd name="T23" fmla="*/ 15 h 29"/>
                    <a:gd name="T24" fmla="*/ 28 w 42"/>
                    <a:gd name="T25" fmla="*/ 14 h 29"/>
                    <a:gd name="T26" fmla="*/ 32 w 42"/>
                    <a:gd name="T27" fmla="*/ 10 h 29"/>
                    <a:gd name="T28" fmla="*/ 42 w 42"/>
                    <a:gd name="T29" fmla="*/ 6 h 29"/>
                    <a:gd name="T30" fmla="*/ 27 w 42"/>
                    <a:gd name="T31"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28">
                      <a:moveTo>
                        <a:pt x="27" y="0"/>
                      </a:moveTo>
                      <a:cubicBezTo>
                        <a:pt x="21" y="1"/>
                        <a:pt x="17" y="1"/>
                        <a:pt x="11" y="4"/>
                      </a:cubicBezTo>
                      <a:cubicBezTo>
                        <a:pt x="9" y="6"/>
                        <a:pt x="8" y="6"/>
                        <a:pt x="6" y="6"/>
                      </a:cubicBezTo>
                      <a:cubicBezTo>
                        <a:pt x="5" y="6"/>
                        <a:pt x="3" y="5"/>
                        <a:pt x="0" y="5"/>
                      </a:cubicBezTo>
                      <a:cubicBezTo>
                        <a:pt x="1" y="5"/>
                        <a:pt x="2" y="6"/>
                        <a:pt x="2" y="7"/>
                      </a:cubicBezTo>
                      <a:cubicBezTo>
                        <a:pt x="5" y="12"/>
                        <a:pt x="1" y="10"/>
                        <a:pt x="1" y="13"/>
                      </a:cubicBezTo>
                      <a:cubicBezTo>
                        <a:pt x="0" y="14"/>
                        <a:pt x="1" y="15"/>
                        <a:pt x="2" y="15"/>
                      </a:cubicBezTo>
                      <a:cubicBezTo>
                        <a:pt x="4" y="16"/>
                        <a:pt x="10" y="18"/>
                        <a:pt x="9" y="20"/>
                      </a:cubicBezTo>
                      <a:cubicBezTo>
                        <a:pt x="9" y="21"/>
                        <a:pt x="2" y="28"/>
                        <a:pt x="6" y="29"/>
                      </a:cubicBezTo>
                      <a:cubicBezTo>
                        <a:pt x="6" y="29"/>
                        <a:pt x="6" y="29"/>
                        <a:pt x="6" y="29"/>
                      </a:cubicBezTo>
                      <a:cubicBezTo>
                        <a:pt x="8" y="29"/>
                        <a:pt x="10" y="24"/>
                        <a:pt x="10" y="24"/>
                      </a:cubicBezTo>
                      <a:cubicBezTo>
                        <a:pt x="12" y="19"/>
                        <a:pt x="14" y="15"/>
                        <a:pt x="20" y="15"/>
                      </a:cubicBezTo>
                      <a:cubicBezTo>
                        <a:pt x="23" y="15"/>
                        <a:pt x="25" y="14"/>
                        <a:pt x="28" y="14"/>
                      </a:cubicBezTo>
                      <a:cubicBezTo>
                        <a:pt x="30" y="13"/>
                        <a:pt x="30" y="11"/>
                        <a:pt x="32" y="10"/>
                      </a:cubicBezTo>
                      <a:cubicBezTo>
                        <a:pt x="35" y="6"/>
                        <a:pt x="38" y="8"/>
                        <a:pt x="42" y="6"/>
                      </a:cubicBezTo>
                      <a:cubicBezTo>
                        <a:pt x="39" y="3"/>
                        <a:pt x="31" y="2"/>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Freeform 189"/>
                <p:cNvSpPr/>
                <p:nvPr/>
              </p:nvSpPr>
              <p:spPr bwMode="auto">
                <a:xfrm>
                  <a:off x="3430843" y="3508231"/>
                  <a:ext cx="33166" cy="18426"/>
                </a:xfrm>
                <a:custGeom>
                  <a:gdLst>
                    <a:gd name="T0" fmla="*/ 5 w 10"/>
                    <a:gd name="T1" fmla="*/ 0 h 6"/>
                    <a:gd name="T2" fmla="*/ 0 w 10"/>
                    <a:gd name="T3" fmla="*/ 2 h 6"/>
                    <a:gd name="T4" fmla="*/ 8 w 10"/>
                    <a:gd name="T5" fmla="*/ 6 h 6"/>
                    <a:gd name="T6" fmla="*/ 5 w 10"/>
                    <a:gd name="T7" fmla="*/ 0 h 6"/>
                    <a:gd name="T8" fmla="*/ 5 w 10"/>
                    <a:gd name="T9" fmla="*/ 0 h 6"/>
                  </a:gdLst>
                  <a:cxnLst>
                    <a:cxn ang="0">
                      <a:pos x="T0" y="T1"/>
                    </a:cxn>
                    <a:cxn ang="0">
                      <a:pos x="T2" y="T3"/>
                    </a:cxn>
                    <a:cxn ang="0">
                      <a:pos x="T4" y="T5"/>
                    </a:cxn>
                    <a:cxn ang="0">
                      <a:pos x="T6" y="T7"/>
                    </a:cxn>
                    <a:cxn ang="0">
                      <a:pos x="T8" y="T9"/>
                    </a:cxn>
                  </a:cxnLst>
                  <a:rect l="0" t="0" r="r" b="b"/>
                  <a:pathLst>
                    <a:path w="10" h="6">
                      <a:moveTo>
                        <a:pt x="5" y="0"/>
                      </a:moveTo>
                      <a:cubicBezTo>
                        <a:pt x="4" y="0"/>
                        <a:pt x="1" y="1"/>
                        <a:pt x="0" y="2"/>
                      </a:cubicBezTo>
                      <a:cubicBezTo>
                        <a:pt x="2" y="3"/>
                        <a:pt x="5" y="4"/>
                        <a:pt x="8" y="6"/>
                      </a:cubicBezTo>
                      <a:cubicBezTo>
                        <a:pt x="8" y="1"/>
                        <a:pt x="10"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Freeform 190"/>
                <p:cNvSpPr/>
                <p:nvPr/>
              </p:nvSpPr>
              <p:spPr bwMode="auto">
                <a:xfrm>
                  <a:off x="5225494" y="3375567"/>
                  <a:ext cx="33166" cy="25796"/>
                </a:xfrm>
                <a:custGeom>
                  <a:gdLst>
                    <a:gd name="T0" fmla="*/ 3 w 11"/>
                    <a:gd name="T1" fmla="*/ 0 h 9"/>
                    <a:gd name="T2" fmla="*/ 0 w 11"/>
                    <a:gd name="T3" fmla="*/ 1 h 9"/>
                    <a:gd name="T4" fmla="*/ 6 w 11"/>
                    <a:gd name="T5" fmla="*/ 4 h 9"/>
                    <a:gd name="T6" fmla="*/ 9 w 11"/>
                    <a:gd name="T7" fmla="*/ 9 h 9"/>
                    <a:gd name="T8" fmla="*/ 5 w 11"/>
                    <a:gd name="T9" fmla="*/ 1 h 9"/>
                    <a:gd name="T10" fmla="*/ 4 w 11"/>
                    <a:gd name="T11" fmla="*/ 0 h 9"/>
                    <a:gd name="T12" fmla="*/ 3 w 11"/>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11" h="9">
                      <a:moveTo>
                        <a:pt x="3" y="0"/>
                      </a:moveTo>
                      <a:cubicBezTo>
                        <a:pt x="2" y="0"/>
                        <a:pt x="1" y="0"/>
                        <a:pt x="0" y="1"/>
                      </a:cubicBezTo>
                      <a:cubicBezTo>
                        <a:pt x="2" y="2"/>
                        <a:pt x="4" y="3"/>
                        <a:pt x="6" y="4"/>
                      </a:cubicBezTo>
                      <a:cubicBezTo>
                        <a:pt x="6" y="7"/>
                        <a:pt x="7" y="8"/>
                        <a:pt x="9" y="9"/>
                      </a:cubicBezTo>
                      <a:cubicBezTo>
                        <a:pt x="11" y="5"/>
                        <a:pt x="10" y="3"/>
                        <a:pt x="5" y="1"/>
                      </a:cubicBezTo>
                      <a:cubicBezTo>
                        <a:pt x="5" y="1"/>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Freeform 191"/>
                <p:cNvSpPr/>
                <p:nvPr/>
              </p:nvSpPr>
              <p:spPr bwMode="auto">
                <a:xfrm>
                  <a:off x="5100200" y="3032851"/>
                  <a:ext cx="217422" cy="151090"/>
                </a:xfrm>
                <a:custGeom>
                  <a:gdLst>
                    <a:gd name="T0" fmla="*/ 68 w 68"/>
                    <a:gd name="T1" fmla="*/ 0 h 47"/>
                    <a:gd name="T2" fmla="*/ 46 w 68"/>
                    <a:gd name="T3" fmla="*/ 10 h 47"/>
                    <a:gd name="T4" fmla="*/ 32 w 68"/>
                    <a:gd name="T5" fmla="*/ 24 h 47"/>
                    <a:gd name="T6" fmla="*/ 28 w 68"/>
                    <a:gd name="T7" fmla="*/ 25 h 47"/>
                    <a:gd name="T8" fmla="*/ 22 w 68"/>
                    <a:gd name="T9" fmla="*/ 24 h 47"/>
                    <a:gd name="T10" fmla="*/ 17 w 68"/>
                    <a:gd name="T11" fmla="*/ 24 h 47"/>
                    <a:gd name="T12" fmla="*/ 11 w 68"/>
                    <a:gd name="T13" fmla="*/ 25 h 47"/>
                    <a:gd name="T14" fmla="*/ 0 w 68"/>
                    <a:gd name="T15" fmla="*/ 42 h 47"/>
                    <a:gd name="T16" fmla="*/ 8 w 68"/>
                    <a:gd name="T17" fmla="*/ 47 h 47"/>
                    <a:gd name="T18" fmla="*/ 9 w 68"/>
                    <a:gd name="T19" fmla="*/ 47 h 47"/>
                    <a:gd name="T20" fmla="*/ 5 w 68"/>
                    <a:gd name="T21" fmla="*/ 43 h 47"/>
                    <a:gd name="T22" fmla="*/ 9 w 68"/>
                    <a:gd name="T23" fmla="*/ 37 h 47"/>
                    <a:gd name="T24" fmla="*/ 11 w 68"/>
                    <a:gd name="T25" fmla="*/ 43 h 47"/>
                    <a:gd name="T26" fmla="*/ 12 w 68"/>
                    <a:gd name="T27" fmla="*/ 43 h 47"/>
                    <a:gd name="T28" fmla="*/ 16 w 68"/>
                    <a:gd name="T29" fmla="*/ 41 h 47"/>
                    <a:gd name="T30" fmla="*/ 17 w 68"/>
                    <a:gd name="T31" fmla="*/ 35 h 47"/>
                    <a:gd name="T32" fmla="*/ 18 w 68"/>
                    <a:gd name="T33" fmla="*/ 35 h 47"/>
                    <a:gd name="T34" fmla="*/ 19 w 68"/>
                    <a:gd name="T35" fmla="*/ 32 h 47"/>
                    <a:gd name="T36" fmla="*/ 37 w 68"/>
                    <a:gd name="T37" fmla="*/ 28 h 47"/>
                    <a:gd name="T38" fmla="*/ 45 w 68"/>
                    <a:gd name="T39" fmla="*/ 27 h 47"/>
                    <a:gd name="T40" fmla="*/ 48 w 68"/>
                    <a:gd name="T41" fmla="*/ 27 h 47"/>
                    <a:gd name="T42" fmla="*/ 51 w 68"/>
                    <a:gd name="T43" fmla="*/ 27 h 47"/>
                    <a:gd name="T44" fmla="*/ 54 w 68"/>
                    <a:gd name="T45" fmla="*/ 27 h 47"/>
                    <a:gd name="T46" fmla="*/ 62 w 68"/>
                    <a:gd name="T47" fmla="*/ 24 h 47"/>
                    <a:gd name="T48" fmla="*/ 64 w 68"/>
                    <a:gd name="T49" fmla="*/ 15 h 47"/>
                    <a:gd name="T50" fmla="*/ 62 w 68"/>
                    <a:gd name="T51" fmla="*/ 7 h 47"/>
                    <a:gd name="T52" fmla="*/ 68 w 68"/>
                    <a:gd name="T53"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47">
                      <a:moveTo>
                        <a:pt x="68" y="0"/>
                      </a:moveTo>
                      <a:cubicBezTo>
                        <a:pt x="60" y="4"/>
                        <a:pt x="53" y="7"/>
                        <a:pt x="46" y="10"/>
                      </a:cubicBezTo>
                      <a:cubicBezTo>
                        <a:pt x="40" y="12"/>
                        <a:pt x="39" y="22"/>
                        <a:pt x="32" y="24"/>
                      </a:cubicBezTo>
                      <a:cubicBezTo>
                        <a:pt x="31" y="25"/>
                        <a:pt x="29" y="25"/>
                        <a:pt x="28" y="25"/>
                      </a:cubicBezTo>
                      <a:cubicBezTo>
                        <a:pt x="26" y="25"/>
                        <a:pt x="24" y="25"/>
                        <a:pt x="22" y="24"/>
                      </a:cubicBezTo>
                      <a:cubicBezTo>
                        <a:pt x="21" y="24"/>
                        <a:pt x="19" y="24"/>
                        <a:pt x="17" y="24"/>
                      </a:cubicBezTo>
                      <a:cubicBezTo>
                        <a:pt x="15" y="24"/>
                        <a:pt x="13" y="24"/>
                        <a:pt x="11" y="25"/>
                      </a:cubicBezTo>
                      <a:cubicBezTo>
                        <a:pt x="4" y="28"/>
                        <a:pt x="1" y="36"/>
                        <a:pt x="0" y="42"/>
                      </a:cubicBezTo>
                      <a:cubicBezTo>
                        <a:pt x="3" y="43"/>
                        <a:pt x="5" y="46"/>
                        <a:pt x="8" y="47"/>
                      </a:cubicBezTo>
                      <a:cubicBezTo>
                        <a:pt x="8" y="47"/>
                        <a:pt x="8" y="47"/>
                        <a:pt x="9" y="47"/>
                      </a:cubicBezTo>
                      <a:cubicBezTo>
                        <a:pt x="9" y="47"/>
                        <a:pt x="5" y="44"/>
                        <a:pt x="5" y="43"/>
                      </a:cubicBezTo>
                      <a:cubicBezTo>
                        <a:pt x="6" y="41"/>
                        <a:pt x="8" y="39"/>
                        <a:pt x="9" y="37"/>
                      </a:cubicBezTo>
                      <a:cubicBezTo>
                        <a:pt x="9" y="39"/>
                        <a:pt x="9" y="43"/>
                        <a:pt x="11" y="43"/>
                      </a:cubicBezTo>
                      <a:cubicBezTo>
                        <a:pt x="12" y="43"/>
                        <a:pt x="12" y="43"/>
                        <a:pt x="12" y="43"/>
                      </a:cubicBezTo>
                      <a:cubicBezTo>
                        <a:pt x="14" y="43"/>
                        <a:pt x="15" y="42"/>
                        <a:pt x="16" y="41"/>
                      </a:cubicBezTo>
                      <a:cubicBezTo>
                        <a:pt x="17" y="39"/>
                        <a:pt x="16" y="35"/>
                        <a:pt x="17" y="35"/>
                      </a:cubicBezTo>
                      <a:cubicBezTo>
                        <a:pt x="18" y="35"/>
                        <a:pt x="18" y="35"/>
                        <a:pt x="18" y="35"/>
                      </a:cubicBezTo>
                      <a:cubicBezTo>
                        <a:pt x="19" y="34"/>
                        <a:pt x="19" y="33"/>
                        <a:pt x="19" y="32"/>
                      </a:cubicBezTo>
                      <a:cubicBezTo>
                        <a:pt x="25" y="28"/>
                        <a:pt x="30" y="30"/>
                        <a:pt x="37" y="28"/>
                      </a:cubicBezTo>
                      <a:cubicBezTo>
                        <a:pt x="40" y="27"/>
                        <a:pt x="42" y="27"/>
                        <a:pt x="45" y="27"/>
                      </a:cubicBezTo>
                      <a:cubicBezTo>
                        <a:pt x="46" y="27"/>
                        <a:pt x="47" y="27"/>
                        <a:pt x="48" y="27"/>
                      </a:cubicBezTo>
                      <a:cubicBezTo>
                        <a:pt x="49" y="27"/>
                        <a:pt x="50" y="27"/>
                        <a:pt x="51" y="27"/>
                      </a:cubicBezTo>
                      <a:cubicBezTo>
                        <a:pt x="52" y="27"/>
                        <a:pt x="53" y="27"/>
                        <a:pt x="54" y="27"/>
                      </a:cubicBezTo>
                      <a:cubicBezTo>
                        <a:pt x="59" y="27"/>
                        <a:pt x="60" y="28"/>
                        <a:pt x="62" y="24"/>
                      </a:cubicBezTo>
                      <a:cubicBezTo>
                        <a:pt x="63" y="21"/>
                        <a:pt x="64" y="18"/>
                        <a:pt x="64" y="15"/>
                      </a:cubicBezTo>
                      <a:cubicBezTo>
                        <a:pt x="64" y="14"/>
                        <a:pt x="61" y="8"/>
                        <a:pt x="62" y="7"/>
                      </a:cubicBezTo>
                      <a:cubicBezTo>
                        <a:pt x="64" y="5"/>
                        <a:pt x="66" y="3"/>
                        <a:pt x="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Freeform 192"/>
                <p:cNvSpPr/>
                <p:nvPr/>
              </p:nvSpPr>
              <p:spPr bwMode="auto">
                <a:xfrm>
                  <a:off x="5229179" y="3309234"/>
                  <a:ext cx="103183" cy="70017"/>
                </a:xfrm>
                <a:custGeom>
                  <a:gdLst>
                    <a:gd name="T0" fmla="*/ 27 w 33"/>
                    <a:gd name="T1" fmla="*/ 0 h 22"/>
                    <a:gd name="T2" fmla="*/ 26 w 33"/>
                    <a:gd name="T3" fmla="*/ 4 h 22"/>
                    <a:gd name="T4" fmla="*/ 23 w 33"/>
                    <a:gd name="T5" fmla="*/ 5 h 22"/>
                    <a:gd name="T6" fmla="*/ 22 w 33"/>
                    <a:gd name="T7" fmla="*/ 5 h 22"/>
                    <a:gd name="T8" fmla="*/ 24 w 33"/>
                    <a:gd name="T9" fmla="*/ 3 h 22"/>
                    <a:gd name="T10" fmla="*/ 18 w 33"/>
                    <a:gd name="T11" fmla="*/ 1 h 22"/>
                    <a:gd name="T12" fmla="*/ 10 w 33"/>
                    <a:gd name="T13" fmla="*/ 2 h 22"/>
                    <a:gd name="T14" fmla="*/ 0 w 33"/>
                    <a:gd name="T15" fmla="*/ 4 h 22"/>
                    <a:gd name="T16" fmla="*/ 5 w 33"/>
                    <a:gd name="T17" fmla="*/ 8 h 22"/>
                    <a:gd name="T18" fmla="*/ 8 w 33"/>
                    <a:gd name="T19" fmla="*/ 15 h 22"/>
                    <a:gd name="T20" fmla="*/ 15 w 33"/>
                    <a:gd name="T21" fmla="*/ 18 h 22"/>
                    <a:gd name="T22" fmla="*/ 22 w 33"/>
                    <a:gd name="T23" fmla="*/ 22 h 22"/>
                    <a:gd name="T24" fmla="*/ 24 w 33"/>
                    <a:gd name="T25" fmla="*/ 22 h 22"/>
                    <a:gd name="T26" fmla="*/ 33 w 33"/>
                    <a:gd name="T27" fmla="*/ 15 h 22"/>
                    <a:gd name="T28" fmla="*/ 30 w 33"/>
                    <a:gd name="T29" fmla="*/ 7 h 22"/>
                    <a:gd name="T30" fmla="*/ 27 w 33"/>
                    <a:gd name="T31" fmla="*/ 6 h 22"/>
                    <a:gd name="T32" fmla="*/ 26 w 33"/>
                    <a:gd name="T33" fmla="*/ 6 h 22"/>
                    <a:gd name="T34" fmla="*/ 26 w 33"/>
                    <a:gd name="T35" fmla="*/ 6 h 22"/>
                    <a:gd name="T36" fmla="*/ 25 w 33"/>
                    <a:gd name="T37" fmla="*/ 6 h 22"/>
                    <a:gd name="T38" fmla="*/ 31 w 33"/>
                    <a:gd name="T39" fmla="*/ 4 h 22"/>
                    <a:gd name="T40" fmla="*/ 28 w 33"/>
                    <a:gd name="T41" fmla="*/ 0 h 22"/>
                    <a:gd name="T42" fmla="*/ 27 w 33"/>
                    <a:gd name="T43"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2">
                      <a:moveTo>
                        <a:pt x="27" y="0"/>
                      </a:moveTo>
                      <a:cubicBezTo>
                        <a:pt x="26" y="0"/>
                        <a:pt x="26" y="3"/>
                        <a:pt x="26" y="4"/>
                      </a:cubicBezTo>
                      <a:cubicBezTo>
                        <a:pt x="25" y="5"/>
                        <a:pt x="24" y="5"/>
                        <a:pt x="23" y="5"/>
                      </a:cubicBezTo>
                      <a:cubicBezTo>
                        <a:pt x="23" y="5"/>
                        <a:pt x="22" y="5"/>
                        <a:pt x="22" y="5"/>
                      </a:cubicBezTo>
                      <a:cubicBezTo>
                        <a:pt x="23" y="4"/>
                        <a:pt x="23" y="3"/>
                        <a:pt x="24" y="3"/>
                      </a:cubicBezTo>
                      <a:cubicBezTo>
                        <a:pt x="22" y="1"/>
                        <a:pt x="20" y="1"/>
                        <a:pt x="18" y="1"/>
                      </a:cubicBezTo>
                      <a:cubicBezTo>
                        <a:pt x="15" y="1"/>
                        <a:pt x="13" y="1"/>
                        <a:pt x="10" y="2"/>
                      </a:cubicBezTo>
                      <a:cubicBezTo>
                        <a:pt x="7" y="3"/>
                        <a:pt x="4" y="3"/>
                        <a:pt x="0" y="4"/>
                      </a:cubicBezTo>
                      <a:cubicBezTo>
                        <a:pt x="3" y="5"/>
                        <a:pt x="3" y="6"/>
                        <a:pt x="5" y="8"/>
                      </a:cubicBezTo>
                      <a:cubicBezTo>
                        <a:pt x="6" y="10"/>
                        <a:pt x="7" y="13"/>
                        <a:pt x="8" y="15"/>
                      </a:cubicBezTo>
                      <a:cubicBezTo>
                        <a:pt x="10" y="16"/>
                        <a:pt x="13" y="17"/>
                        <a:pt x="15" y="18"/>
                      </a:cubicBezTo>
                      <a:cubicBezTo>
                        <a:pt x="18" y="20"/>
                        <a:pt x="19" y="21"/>
                        <a:pt x="22" y="22"/>
                      </a:cubicBezTo>
                      <a:cubicBezTo>
                        <a:pt x="23" y="22"/>
                        <a:pt x="24" y="22"/>
                        <a:pt x="24" y="22"/>
                      </a:cubicBezTo>
                      <a:cubicBezTo>
                        <a:pt x="28" y="22"/>
                        <a:pt x="32" y="19"/>
                        <a:pt x="33" y="15"/>
                      </a:cubicBezTo>
                      <a:cubicBezTo>
                        <a:pt x="33" y="13"/>
                        <a:pt x="31" y="10"/>
                        <a:pt x="30" y="7"/>
                      </a:cubicBezTo>
                      <a:cubicBezTo>
                        <a:pt x="30" y="6"/>
                        <a:pt x="28" y="6"/>
                        <a:pt x="27" y="6"/>
                      </a:cubicBezTo>
                      <a:cubicBezTo>
                        <a:pt x="26" y="6"/>
                        <a:pt x="26" y="6"/>
                        <a:pt x="26" y="6"/>
                      </a:cubicBezTo>
                      <a:cubicBezTo>
                        <a:pt x="26" y="6"/>
                        <a:pt x="26" y="6"/>
                        <a:pt x="26" y="6"/>
                      </a:cubicBezTo>
                      <a:cubicBezTo>
                        <a:pt x="26" y="6"/>
                        <a:pt x="25" y="6"/>
                        <a:pt x="25" y="6"/>
                      </a:cubicBezTo>
                      <a:cubicBezTo>
                        <a:pt x="27" y="5"/>
                        <a:pt x="30" y="6"/>
                        <a:pt x="31" y="4"/>
                      </a:cubicBezTo>
                      <a:cubicBezTo>
                        <a:pt x="31" y="3"/>
                        <a:pt x="28" y="0"/>
                        <a:pt x="28" y="0"/>
                      </a:cubicBezTo>
                      <a:cubicBezTo>
                        <a:pt x="28"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Freeform 193"/>
                <p:cNvSpPr/>
                <p:nvPr/>
              </p:nvSpPr>
              <p:spPr bwMode="auto">
                <a:xfrm>
                  <a:off x="5343418" y="3246588"/>
                  <a:ext cx="151090" cy="195311"/>
                </a:xfrm>
                <a:custGeom>
                  <a:gdLst>
                    <a:gd name="T0" fmla="*/ 39 w 48"/>
                    <a:gd name="T1" fmla="*/ 0 h 61"/>
                    <a:gd name="T2" fmla="*/ 35 w 48"/>
                    <a:gd name="T3" fmla="*/ 0 h 61"/>
                    <a:gd name="T4" fmla="*/ 28 w 48"/>
                    <a:gd name="T5" fmla="*/ 4 h 61"/>
                    <a:gd name="T6" fmla="*/ 32 w 48"/>
                    <a:gd name="T7" fmla="*/ 13 h 61"/>
                    <a:gd name="T8" fmla="*/ 28 w 48"/>
                    <a:gd name="T9" fmla="*/ 18 h 61"/>
                    <a:gd name="T10" fmla="*/ 28 w 48"/>
                    <a:gd name="T11" fmla="*/ 7 h 61"/>
                    <a:gd name="T12" fmla="*/ 24 w 48"/>
                    <a:gd name="T13" fmla="*/ 17 h 61"/>
                    <a:gd name="T14" fmla="*/ 21 w 48"/>
                    <a:gd name="T15" fmla="*/ 14 h 61"/>
                    <a:gd name="T16" fmla="*/ 21 w 48"/>
                    <a:gd name="T17" fmla="*/ 11 h 61"/>
                    <a:gd name="T18" fmla="*/ 24 w 48"/>
                    <a:gd name="T19" fmla="*/ 5 h 61"/>
                    <a:gd name="T20" fmla="*/ 21 w 48"/>
                    <a:gd name="T21" fmla="*/ 5 h 61"/>
                    <a:gd name="T22" fmla="*/ 16 w 48"/>
                    <a:gd name="T23" fmla="*/ 5 h 61"/>
                    <a:gd name="T24" fmla="*/ 11 w 48"/>
                    <a:gd name="T25" fmla="*/ 4 h 61"/>
                    <a:gd name="T26" fmla="*/ 10 w 48"/>
                    <a:gd name="T27" fmla="*/ 4 h 61"/>
                    <a:gd name="T28" fmla="*/ 16 w 48"/>
                    <a:gd name="T29" fmla="*/ 9 h 61"/>
                    <a:gd name="T30" fmla="*/ 8 w 48"/>
                    <a:gd name="T31" fmla="*/ 16 h 61"/>
                    <a:gd name="T32" fmla="*/ 7 w 48"/>
                    <a:gd name="T33" fmla="*/ 16 h 61"/>
                    <a:gd name="T34" fmla="*/ 0 w 48"/>
                    <a:gd name="T35" fmla="*/ 15 h 61"/>
                    <a:gd name="T36" fmla="*/ 1 w 48"/>
                    <a:gd name="T37" fmla="*/ 18 h 61"/>
                    <a:gd name="T38" fmla="*/ 5 w 48"/>
                    <a:gd name="T39" fmla="*/ 20 h 61"/>
                    <a:gd name="T40" fmla="*/ 8 w 48"/>
                    <a:gd name="T41" fmla="*/ 27 h 61"/>
                    <a:gd name="T42" fmla="*/ 9 w 48"/>
                    <a:gd name="T43" fmla="*/ 32 h 61"/>
                    <a:gd name="T44" fmla="*/ 25 w 48"/>
                    <a:gd name="T45" fmla="*/ 38 h 61"/>
                    <a:gd name="T46" fmla="*/ 21 w 48"/>
                    <a:gd name="T47" fmla="*/ 40 h 61"/>
                    <a:gd name="T48" fmla="*/ 20 w 48"/>
                    <a:gd name="T49" fmla="*/ 40 h 61"/>
                    <a:gd name="T50" fmla="*/ 26 w 48"/>
                    <a:gd name="T51" fmla="*/ 43 h 61"/>
                    <a:gd name="T52" fmla="*/ 25 w 48"/>
                    <a:gd name="T53" fmla="*/ 50 h 61"/>
                    <a:gd name="T54" fmla="*/ 28 w 48"/>
                    <a:gd name="T55" fmla="*/ 59 h 61"/>
                    <a:gd name="T56" fmla="*/ 29 w 48"/>
                    <a:gd name="T57" fmla="*/ 61 h 61"/>
                    <a:gd name="T58" fmla="*/ 29 w 48"/>
                    <a:gd name="T59" fmla="*/ 60 h 61"/>
                    <a:gd name="T60" fmla="*/ 35 w 48"/>
                    <a:gd name="T61" fmla="*/ 50 h 61"/>
                    <a:gd name="T62" fmla="*/ 27 w 48"/>
                    <a:gd name="T63" fmla="*/ 46 h 61"/>
                    <a:gd name="T64" fmla="*/ 32 w 48"/>
                    <a:gd name="T65" fmla="*/ 43 h 61"/>
                    <a:gd name="T66" fmla="*/ 31 w 48"/>
                    <a:gd name="T67" fmla="*/ 37 h 61"/>
                    <a:gd name="T68" fmla="*/ 43 w 48"/>
                    <a:gd name="T69" fmla="*/ 32 h 61"/>
                    <a:gd name="T70" fmla="*/ 37 w 48"/>
                    <a:gd name="T71" fmla="*/ 27 h 61"/>
                    <a:gd name="T72" fmla="*/ 41 w 48"/>
                    <a:gd name="T73" fmla="*/ 20 h 61"/>
                    <a:gd name="T74" fmla="*/ 46 w 48"/>
                    <a:gd name="T75" fmla="*/ 17 h 61"/>
                    <a:gd name="T76" fmla="*/ 46 w 48"/>
                    <a:gd name="T77" fmla="*/ 10 h 61"/>
                    <a:gd name="T78" fmla="*/ 44 w 48"/>
                    <a:gd name="T79" fmla="*/ 2 h 61"/>
                    <a:gd name="T80" fmla="*/ 39 w 48"/>
                    <a:gd name="T81" fmla="*/ 0 h 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61">
                      <a:moveTo>
                        <a:pt x="39" y="0"/>
                      </a:moveTo>
                      <a:cubicBezTo>
                        <a:pt x="38" y="0"/>
                        <a:pt x="36" y="0"/>
                        <a:pt x="35" y="0"/>
                      </a:cubicBezTo>
                      <a:cubicBezTo>
                        <a:pt x="33" y="1"/>
                        <a:pt x="31" y="3"/>
                        <a:pt x="28" y="4"/>
                      </a:cubicBezTo>
                      <a:cubicBezTo>
                        <a:pt x="31" y="6"/>
                        <a:pt x="32" y="9"/>
                        <a:pt x="32" y="13"/>
                      </a:cubicBezTo>
                      <a:cubicBezTo>
                        <a:pt x="32" y="16"/>
                        <a:pt x="32" y="17"/>
                        <a:pt x="28" y="18"/>
                      </a:cubicBezTo>
                      <a:cubicBezTo>
                        <a:pt x="31" y="13"/>
                        <a:pt x="32" y="11"/>
                        <a:pt x="28" y="7"/>
                      </a:cubicBezTo>
                      <a:cubicBezTo>
                        <a:pt x="28" y="9"/>
                        <a:pt x="26" y="15"/>
                        <a:pt x="24" y="17"/>
                      </a:cubicBezTo>
                      <a:cubicBezTo>
                        <a:pt x="23" y="16"/>
                        <a:pt x="22" y="15"/>
                        <a:pt x="21" y="14"/>
                      </a:cubicBezTo>
                      <a:cubicBezTo>
                        <a:pt x="19" y="12"/>
                        <a:pt x="21" y="12"/>
                        <a:pt x="21" y="11"/>
                      </a:cubicBezTo>
                      <a:cubicBezTo>
                        <a:pt x="21" y="7"/>
                        <a:pt x="22" y="8"/>
                        <a:pt x="24" y="5"/>
                      </a:cubicBezTo>
                      <a:cubicBezTo>
                        <a:pt x="23" y="5"/>
                        <a:pt x="22" y="5"/>
                        <a:pt x="21" y="5"/>
                      </a:cubicBezTo>
                      <a:cubicBezTo>
                        <a:pt x="19" y="5"/>
                        <a:pt x="18" y="5"/>
                        <a:pt x="16" y="5"/>
                      </a:cubicBezTo>
                      <a:cubicBezTo>
                        <a:pt x="14" y="5"/>
                        <a:pt x="13" y="4"/>
                        <a:pt x="11" y="4"/>
                      </a:cubicBezTo>
                      <a:cubicBezTo>
                        <a:pt x="10" y="4"/>
                        <a:pt x="10" y="4"/>
                        <a:pt x="10" y="4"/>
                      </a:cubicBezTo>
                      <a:cubicBezTo>
                        <a:pt x="12" y="6"/>
                        <a:pt x="17" y="6"/>
                        <a:pt x="16" y="9"/>
                      </a:cubicBezTo>
                      <a:cubicBezTo>
                        <a:pt x="16" y="11"/>
                        <a:pt x="9" y="15"/>
                        <a:pt x="8" y="16"/>
                      </a:cubicBezTo>
                      <a:cubicBezTo>
                        <a:pt x="7" y="16"/>
                        <a:pt x="7" y="16"/>
                        <a:pt x="7" y="16"/>
                      </a:cubicBezTo>
                      <a:cubicBezTo>
                        <a:pt x="4" y="16"/>
                        <a:pt x="2" y="15"/>
                        <a:pt x="0" y="15"/>
                      </a:cubicBezTo>
                      <a:cubicBezTo>
                        <a:pt x="1" y="15"/>
                        <a:pt x="0" y="17"/>
                        <a:pt x="1" y="18"/>
                      </a:cubicBezTo>
                      <a:cubicBezTo>
                        <a:pt x="2" y="19"/>
                        <a:pt x="5" y="18"/>
                        <a:pt x="5" y="20"/>
                      </a:cubicBezTo>
                      <a:cubicBezTo>
                        <a:pt x="6" y="22"/>
                        <a:pt x="7" y="25"/>
                        <a:pt x="8" y="27"/>
                      </a:cubicBezTo>
                      <a:cubicBezTo>
                        <a:pt x="8" y="30"/>
                        <a:pt x="1" y="29"/>
                        <a:pt x="9" y="32"/>
                      </a:cubicBezTo>
                      <a:cubicBezTo>
                        <a:pt x="14" y="34"/>
                        <a:pt x="20" y="35"/>
                        <a:pt x="25" y="38"/>
                      </a:cubicBezTo>
                      <a:cubicBezTo>
                        <a:pt x="24" y="39"/>
                        <a:pt x="23" y="40"/>
                        <a:pt x="21" y="40"/>
                      </a:cubicBezTo>
                      <a:cubicBezTo>
                        <a:pt x="21" y="40"/>
                        <a:pt x="20" y="40"/>
                        <a:pt x="20" y="40"/>
                      </a:cubicBezTo>
                      <a:cubicBezTo>
                        <a:pt x="22" y="41"/>
                        <a:pt x="24" y="42"/>
                        <a:pt x="26" y="43"/>
                      </a:cubicBezTo>
                      <a:cubicBezTo>
                        <a:pt x="22" y="46"/>
                        <a:pt x="21" y="45"/>
                        <a:pt x="25" y="50"/>
                      </a:cubicBezTo>
                      <a:cubicBezTo>
                        <a:pt x="27" y="53"/>
                        <a:pt x="26" y="56"/>
                        <a:pt x="28" y="59"/>
                      </a:cubicBezTo>
                      <a:cubicBezTo>
                        <a:pt x="28" y="59"/>
                        <a:pt x="28" y="61"/>
                        <a:pt x="29" y="61"/>
                      </a:cubicBezTo>
                      <a:cubicBezTo>
                        <a:pt x="29" y="61"/>
                        <a:pt x="29" y="61"/>
                        <a:pt x="29" y="60"/>
                      </a:cubicBezTo>
                      <a:cubicBezTo>
                        <a:pt x="31" y="56"/>
                        <a:pt x="31" y="52"/>
                        <a:pt x="35" y="50"/>
                      </a:cubicBezTo>
                      <a:cubicBezTo>
                        <a:pt x="33" y="48"/>
                        <a:pt x="29" y="48"/>
                        <a:pt x="27" y="46"/>
                      </a:cubicBezTo>
                      <a:cubicBezTo>
                        <a:pt x="29" y="45"/>
                        <a:pt x="30" y="45"/>
                        <a:pt x="32" y="43"/>
                      </a:cubicBezTo>
                      <a:cubicBezTo>
                        <a:pt x="34" y="40"/>
                        <a:pt x="33" y="40"/>
                        <a:pt x="31" y="37"/>
                      </a:cubicBezTo>
                      <a:cubicBezTo>
                        <a:pt x="33" y="36"/>
                        <a:pt x="43" y="35"/>
                        <a:pt x="43" y="32"/>
                      </a:cubicBezTo>
                      <a:cubicBezTo>
                        <a:pt x="44" y="29"/>
                        <a:pt x="38" y="28"/>
                        <a:pt x="37" y="27"/>
                      </a:cubicBezTo>
                      <a:cubicBezTo>
                        <a:pt x="35" y="23"/>
                        <a:pt x="38" y="21"/>
                        <a:pt x="41" y="20"/>
                      </a:cubicBezTo>
                      <a:cubicBezTo>
                        <a:pt x="43" y="19"/>
                        <a:pt x="44" y="19"/>
                        <a:pt x="46" y="17"/>
                      </a:cubicBezTo>
                      <a:cubicBezTo>
                        <a:pt x="48" y="15"/>
                        <a:pt x="47" y="12"/>
                        <a:pt x="46" y="10"/>
                      </a:cubicBezTo>
                      <a:cubicBezTo>
                        <a:pt x="45" y="6"/>
                        <a:pt x="46" y="5"/>
                        <a:pt x="44" y="2"/>
                      </a:cubicBezTo>
                      <a:cubicBezTo>
                        <a:pt x="42" y="0"/>
                        <a:pt x="41"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194"/>
                <p:cNvSpPr/>
                <p:nvPr/>
              </p:nvSpPr>
              <p:spPr bwMode="auto">
                <a:xfrm>
                  <a:off x="5302882" y="3261328"/>
                  <a:ext cx="14740" cy="25796"/>
                </a:xfrm>
                <a:custGeom>
                  <a:gdLst>
                    <a:gd name="T0" fmla="*/ 2 w 5"/>
                    <a:gd name="T1" fmla="*/ 0 h 9"/>
                    <a:gd name="T2" fmla="*/ 1 w 5"/>
                    <a:gd name="T3" fmla="*/ 9 h 9"/>
                    <a:gd name="T4" fmla="*/ 5 w 5"/>
                    <a:gd name="T5" fmla="*/ 4 h 9"/>
                    <a:gd name="T6" fmla="*/ 2 w 5"/>
                    <a:gd name="T7" fmla="*/ 0 h 9"/>
                  </a:gdLst>
                  <a:cxnLst>
                    <a:cxn ang="0">
                      <a:pos x="T0" y="T1"/>
                    </a:cxn>
                    <a:cxn ang="0">
                      <a:pos x="T2" y="T3"/>
                    </a:cxn>
                    <a:cxn ang="0">
                      <a:pos x="T4" y="T5"/>
                    </a:cxn>
                    <a:cxn ang="0">
                      <a:pos x="T6" y="T7"/>
                    </a:cxn>
                  </a:cxnLst>
                  <a:rect l="0" t="0" r="r" b="b"/>
                  <a:pathLst>
                    <a:path w="5" h="9">
                      <a:moveTo>
                        <a:pt x="2" y="0"/>
                      </a:moveTo>
                      <a:cubicBezTo>
                        <a:pt x="0" y="1"/>
                        <a:pt x="1" y="6"/>
                        <a:pt x="1" y="9"/>
                      </a:cubicBezTo>
                      <a:cubicBezTo>
                        <a:pt x="3" y="7"/>
                        <a:pt x="4" y="6"/>
                        <a:pt x="5" y="4"/>
                      </a:cubicBezTo>
                      <a:cubicBezTo>
                        <a:pt x="4"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Freeform 195"/>
                <p:cNvSpPr/>
                <p:nvPr/>
              </p:nvSpPr>
              <p:spPr bwMode="auto">
                <a:xfrm>
                  <a:off x="5347103" y="3095498"/>
                  <a:ext cx="7370" cy="7370"/>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1"/>
                        <a:pt x="1" y="2"/>
                        <a:pt x="0" y="2"/>
                      </a:cubicBezTo>
                      <a:cubicBezTo>
                        <a:pt x="2"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196"/>
                <p:cNvSpPr/>
                <p:nvPr/>
              </p:nvSpPr>
              <p:spPr bwMode="auto">
                <a:xfrm>
                  <a:off x="5332363" y="3401362"/>
                  <a:ext cx="88443" cy="25796"/>
                </a:xfrm>
                <a:custGeom>
                  <a:gdLst>
                    <a:gd name="T0" fmla="*/ 15 w 28"/>
                    <a:gd name="T1" fmla="*/ 0 h 9"/>
                    <a:gd name="T2" fmla="*/ 6 w 28"/>
                    <a:gd name="T3" fmla="*/ 1 h 9"/>
                    <a:gd name="T4" fmla="*/ 8 w 28"/>
                    <a:gd name="T5" fmla="*/ 2 h 9"/>
                    <a:gd name="T6" fmla="*/ 13 w 28"/>
                    <a:gd name="T7" fmla="*/ 8 h 9"/>
                    <a:gd name="T8" fmla="*/ 18 w 28"/>
                    <a:gd name="T9" fmla="*/ 9 h 9"/>
                    <a:gd name="T10" fmla="*/ 28 w 28"/>
                    <a:gd name="T11" fmla="*/ 6 h 9"/>
                    <a:gd name="T12" fmla="*/ 22 w 28"/>
                    <a:gd name="T13" fmla="*/ 2 h 9"/>
                    <a:gd name="T14" fmla="*/ 15 w 28"/>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9">
                      <a:moveTo>
                        <a:pt x="15" y="0"/>
                      </a:moveTo>
                      <a:cubicBezTo>
                        <a:pt x="12" y="0"/>
                        <a:pt x="9" y="1"/>
                        <a:pt x="6" y="1"/>
                      </a:cubicBezTo>
                      <a:cubicBezTo>
                        <a:pt x="7" y="2"/>
                        <a:pt x="7" y="2"/>
                        <a:pt x="8" y="2"/>
                      </a:cubicBezTo>
                      <a:cubicBezTo>
                        <a:pt x="0" y="4"/>
                        <a:pt x="12" y="7"/>
                        <a:pt x="13" y="8"/>
                      </a:cubicBezTo>
                      <a:cubicBezTo>
                        <a:pt x="15" y="9"/>
                        <a:pt x="17" y="9"/>
                        <a:pt x="18" y="9"/>
                      </a:cubicBezTo>
                      <a:cubicBezTo>
                        <a:pt x="22" y="9"/>
                        <a:pt x="25" y="8"/>
                        <a:pt x="28" y="6"/>
                      </a:cubicBezTo>
                      <a:cubicBezTo>
                        <a:pt x="27" y="2"/>
                        <a:pt x="26" y="3"/>
                        <a:pt x="22" y="2"/>
                      </a:cubicBezTo>
                      <a:cubicBezTo>
                        <a:pt x="19" y="2"/>
                        <a:pt x="17"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Freeform 197"/>
                <p:cNvSpPr/>
                <p:nvPr/>
              </p:nvSpPr>
              <p:spPr bwMode="auto">
                <a:xfrm>
                  <a:off x="5306567" y="3364511"/>
                  <a:ext cx="40536" cy="55277"/>
                </a:xfrm>
                <a:custGeom>
                  <a:gdLst>
                    <a:gd name="T0" fmla="*/ 12 w 12"/>
                    <a:gd name="T1" fmla="*/ 0 h 17"/>
                    <a:gd name="T2" fmla="*/ 6 w 12"/>
                    <a:gd name="T3" fmla="*/ 8 h 17"/>
                    <a:gd name="T4" fmla="*/ 5 w 12"/>
                    <a:gd name="T5" fmla="*/ 17 h 17"/>
                    <a:gd name="T6" fmla="*/ 12 w 12"/>
                    <a:gd name="T7" fmla="*/ 0 h 17"/>
                  </a:gdLst>
                  <a:cxnLst>
                    <a:cxn ang="0">
                      <a:pos x="T0" y="T1"/>
                    </a:cxn>
                    <a:cxn ang="0">
                      <a:pos x="T2" y="T3"/>
                    </a:cxn>
                    <a:cxn ang="0">
                      <a:pos x="T4" y="T5"/>
                    </a:cxn>
                    <a:cxn ang="0">
                      <a:pos x="T6" y="T7"/>
                    </a:cxn>
                  </a:cxnLst>
                  <a:rect l="0" t="0" r="r" b="b"/>
                  <a:pathLst>
                    <a:path w="12" h="17">
                      <a:moveTo>
                        <a:pt x="12" y="0"/>
                      </a:moveTo>
                      <a:cubicBezTo>
                        <a:pt x="9" y="2"/>
                        <a:pt x="8" y="5"/>
                        <a:pt x="6" y="8"/>
                      </a:cubicBezTo>
                      <a:cubicBezTo>
                        <a:pt x="5" y="14"/>
                        <a:pt x="0" y="11"/>
                        <a:pt x="5" y="17"/>
                      </a:cubicBezTo>
                      <a:cubicBezTo>
                        <a:pt x="7" y="12"/>
                        <a:pt x="11" y="6"/>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198"/>
                <p:cNvSpPr/>
                <p:nvPr/>
              </p:nvSpPr>
              <p:spPr bwMode="auto">
                <a:xfrm>
                  <a:off x="5453971" y="3379252"/>
                  <a:ext cx="44221" cy="22111"/>
                </a:xfrm>
                <a:custGeom>
                  <a:gdLst>
                    <a:gd name="T0" fmla="*/ 3 w 14"/>
                    <a:gd name="T1" fmla="*/ 0 h 7"/>
                    <a:gd name="T2" fmla="*/ 0 w 14"/>
                    <a:gd name="T3" fmla="*/ 7 h 7"/>
                    <a:gd name="T4" fmla="*/ 5 w 14"/>
                    <a:gd name="T5" fmla="*/ 4 h 7"/>
                    <a:gd name="T6" fmla="*/ 6 w 14"/>
                    <a:gd name="T7" fmla="*/ 4 h 7"/>
                    <a:gd name="T8" fmla="*/ 8 w 14"/>
                    <a:gd name="T9" fmla="*/ 4 h 7"/>
                    <a:gd name="T10" fmla="*/ 9 w 14"/>
                    <a:gd name="T11" fmla="*/ 5 h 7"/>
                    <a:gd name="T12" fmla="*/ 9 w 14"/>
                    <a:gd name="T13" fmla="*/ 4 h 7"/>
                    <a:gd name="T14" fmla="*/ 3 w 14"/>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3" y="0"/>
                      </a:moveTo>
                      <a:cubicBezTo>
                        <a:pt x="2" y="2"/>
                        <a:pt x="1" y="5"/>
                        <a:pt x="0" y="7"/>
                      </a:cubicBezTo>
                      <a:cubicBezTo>
                        <a:pt x="2" y="6"/>
                        <a:pt x="3" y="4"/>
                        <a:pt x="5" y="4"/>
                      </a:cubicBezTo>
                      <a:cubicBezTo>
                        <a:pt x="6" y="4"/>
                        <a:pt x="6" y="4"/>
                        <a:pt x="6" y="4"/>
                      </a:cubicBezTo>
                      <a:cubicBezTo>
                        <a:pt x="6" y="4"/>
                        <a:pt x="7" y="4"/>
                        <a:pt x="8" y="4"/>
                      </a:cubicBezTo>
                      <a:cubicBezTo>
                        <a:pt x="8" y="4"/>
                        <a:pt x="9" y="5"/>
                        <a:pt x="9" y="5"/>
                      </a:cubicBezTo>
                      <a:cubicBezTo>
                        <a:pt x="9" y="5"/>
                        <a:pt x="9" y="5"/>
                        <a:pt x="9" y="4"/>
                      </a:cubicBezTo>
                      <a:cubicBezTo>
                        <a:pt x="1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Freeform 199"/>
                <p:cNvSpPr/>
                <p:nvPr/>
              </p:nvSpPr>
              <p:spPr bwMode="auto">
                <a:xfrm>
                  <a:off x="8906924" y="6500545"/>
                  <a:ext cx="18426" cy="44221"/>
                </a:xfrm>
                <a:custGeom>
                  <a:gdLst>
                    <a:gd name="T0" fmla="*/ 2 w 5"/>
                    <a:gd name="T1" fmla="*/ 0 h 14"/>
                    <a:gd name="T2" fmla="*/ 1 w 5"/>
                    <a:gd name="T3" fmla="*/ 1 h 14"/>
                    <a:gd name="T4" fmla="*/ 3 w 5"/>
                    <a:gd name="T5" fmla="*/ 14 h 14"/>
                    <a:gd name="T6" fmla="*/ 5 w 5"/>
                    <a:gd name="T7" fmla="*/ 6 h 14"/>
                    <a:gd name="T8" fmla="*/ 4 w 5"/>
                    <a:gd name="T9" fmla="*/ 2 h 14"/>
                    <a:gd name="T10" fmla="*/ 2 w 5"/>
                    <a:gd name="T11" fmla="*/ 0 h 14"/>
                  </a:gdLst>
                  <a:cxnLst>
                    <a:cxn ang="0">
                      <a:pos x="T0" y="T1"/>
                    </a:cxn>
                    <a:cxn ang="0">
                      <a:pos x="T2" y="T3"/>
                    </a:cxn>
                    <a:cxn ang="0">
                      <a:pos x="T4" y="T5"/>
                    </a:cxn>
                    <a:cxn ang="0">
                      <a:pos x="T6" y="T7"/>
                    </a:cxn>
                    <a:cxn ang="0">
                      <a:pos x="T8" y="T9"/>
                    </a:cxn>
                    <a:cxn ang="0">
                      <a:pos x="T10" y="T11"/>
                    </a:cxn>
                  </a:cxnLst>
                  <a:rect l="0" t="0" r="r" b="b"/>
                  <a:pathLst>
                    <a:path w="5" h="14">
                      <a:moveTo>
                        <a:pt x="2" y="0"/>
                      </a:moveTo>
                      <a:cubicBezTo>
                        <a:pt x="2" y="0"/>
                        <a:pt x="2" y="0"/>
                        <a:pt x="1" y="1"/>
                      </a:cubicBezTo>
                      <a:cubicBezTo>
                        <a:pt x="0" y="2"/>
                        <a:pt x="3" y="12"/>
                        <a:pt x="3" y="14"/>
                      </a:cubicBezTo>
                      <a:cubicBezTo>
                        <a:pt x="4" y="12"/>
                        <a:pt x="5" y="9"/>
                        <a:pt x="5" y="6"/>
                      </a:cubicBezTo>
                      <a:cubicBezTo>
                        <a:pt x="5" y="4"/>
                        <a:pt x="3" y="2"/>
                        <a:pt x="4" y="2"/>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200"/>
                <p:cNvSpPr/>
                <p:nvPr/>
              </p:nvSpPr>
              <p:spPr bwMode="auto">
                <a:xfrm>
                  <a:off x="9345453" y="6434212"/>
                  <a:ext cx="88443" cy="36851"/>
                </a:xfrm>
                <a:custGeom>
                  <a:gdLst>
                    <a:gd name="T0" fmla="*/ 23 w 28"/>
                    <a:gd name="T1" fmla="*/ 0 h 12"/>
                    <a:gd name="T2" fmla="*/ 19 w 28"/>
                    <a:gd name="T3" fmla="*/ 0 h 12"/>
                    <a:gd name="T4" fmla="*/ 14 w 28"/>
                    <a:gd name="T5" fmla="*/ 0 h 12"/>
                    <a:gd name="T6" fmla="*/ 14 w 28"/>
                    <a:gd name="T7" fmla="*/ 0 h 12"/>
                    <a:gd name="T8" fmla="*/ 10 w 28"/>
                    <a:gd name="T9" fmla="*/ 6 h 12"/>
                    <a:gd name="T10" fmla="*/ 7 w 28"/>
                    <a:gd name="T11" fmla="*/ 7 h 12"/>
                    <a:gd name="T12" fmla="*/ 0 w 28"/>
                    <a:gd name="T13" fmla="*/ 12 h 12"/>
                    <a:gd name="T14" fmla="*/ 2 w 28"/>
                    <a:gd name="T15" fmla="*/ 12 h 12"/>
                    <a:gd name="T16" fmla="*/ 16 w 28"/>
                    <a:gd name="T17" fmla="*/ 7 h 12"/>
                    <a:gd name="T18" fmla="*/ 17 w 28"/>
                    <a:gd name="T19" fmla="*/ 7 h 12"/>
                    <a:gd name="T20" fmla="*/ 18 w 28"/>
                    <a:gd name="T21" fmla="*/ 7 h 12"/>
                    <a:gd name="T22" fmla="*/ 18 w 28"/>
                    <a:gd name="T23" fmla="*/ 7 h 12"/>
                    <a:gd name="T24" fmla="*/ 19 w 28"/>
                    <a:gd name="T25" fmla="*/ 7 h 12"/>
                    <a:gd name="T26" fmla="*/ 22 w 28"/>
                    <a:gd name="T27" fmla="*/ 5 h 12"/>
                    <a:gd name="T28" fmla="*/ 28 w 28"/>
                    <a:gd name="T29" fmla="*/ 0 h 12"/>
                    <a:gd name="T30" fmla="*/ 25 w 28"/>
                    <a:gd name="T31" fmla="*/ 0 h 12"/>
                    <a:gd name="T32" fmla="*/ 23 w 28"/>
                    <a:gd name="T3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12">
                      <a:moveTo>
                        <a:pt x="23" y="0"/>
                      </a:moveTo>
                      <a:cubicBezTo>
                        <a:pt x="22" y="0"/>
                        <a:pt x="21" y="0"/>
                        <a:pt x="19" y="0"/>
                      </a:cubicBezTo>
                      <a:cubicBezTo>
                        <a:pt x="20" y="0"/>
                        <a:pt x="16" y="0"/>
                        <a:pt x="14" y="0"/>
                      </a:cubicBezTo>
                      <a:cubicBezTo>
                        <a:pt x="14" y="0"/>
                        <a:pt x="14" y="0"/>
                        <a:pt x="14" y="0"/>
                      </a:cubicBezTo>
                      <a:cubicBezTo>
                        <a:pt x="12" y="2"/>
                        <a:pt x="15" y="4"/>
                        <a:pt x="10" y="6"/>
                      </a:cubicBezTo>
                      <a:cubicBezTo>
                        <a:pt x="9" y="6"/>
                        <a:pt x="8" y="6"/>
                        <a:pt x="7" y="7"/>
                      </a:cubicBezTo>
                      <a:cubicBezTo>
                        <a:pt x="4" y="8"/>
                        <a:pt x="0" y="9"/>
                        <a:pt x="0" y="12"/>
                      </a:cubicBezTo>
                      <a:cubicBezTo>
                        <a:pt x="1" y="12"/>
                        <a:pt x="1" y="12"/>
                        <a:pt x="2" y="12"/>
                      </a:cubicBezTo>
                      <a:cubicBezTo>
                        <a:pt x="7" y="10"/>
                        <a:pt x="12" y="7"/>
                        <a:pt x="16" y="7"/>
                      </a:cubicBezTo>
                      <a:cubicBezTo>
                        <a:pt x="16" y="7"/>
                        <a:pt x="16" y="7"/>
                        <a:pt x="17" y="7"/>
                      </a:cubicBezTo>
                      <a:cubicBezTo>
                        <a:pt x="17" y="7"/>
                        <a:pt x="17" y="7"/>
                        <a:pt x="18" y="7"/>
                      </a:cubicBezTo>
                      <a:cubicBezTo>
                        <a:pt x="18" y="7"/>
                        <a:pt x="18" y="7"/>
                        <a:pt x="18" y="7"/>
                      </a:cubicBezTo>
                      <a:cubicBezTo>
                        <a:pt x="19" y="7"/>
                        <a:pt x="19" y="7"/>
                        <a:pt x="19" y="7"/>
                      </a:cubicBezTo>
                      <a:cubicBezTo>
                        <a:pt x="20" y="7"/>
                        <a:pt x="22" y="5"/>
                        <a:pt x="22" y="5"/>
                      </a:cubicBezTo>
                      <a:cubicBezTo>
                        <a:pt x="24" y="3"/>
                        <a:pt x="25" y="1"/>
                        <a:pt x="28" y="0"/>
                      </a:cubicBezTo>
                      <a:cubicBezTo>
                        <a:pt x="27" y="0"/>
                        <a:pt x="26" y="0"/>
                        <a:pt x="25" y="0"/>
                      </a:cubicBezTo>
                      <a:cubicBezTo>
                        <a:pt x="24" y="0"/>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Freeform 201"/>
                <p:cNvSpPr/>
                <p:nvPr/>
              </p:nvSpPr>
              <p:spPr bwMode="auto">
                <a:xfrm>
                  <a:off x="9194363" y="6692171"/>
                  <a:ext cx="44221" cy="14740"/>
                </a:xfrm>
                <a:custGeom>
                  <a:gdLst>
                    <a:gd name="T0" fmla="*/ 6 w 14"/>
                    <a:gd name="T1" fmla="*/ 0 h 4"/>
                    <a:gd name="T2" fmla="*/ 0 w 14"/>
                    <a:gd name="T3" fmla="*/ 2 h 4"/>
                    <a:gd name="T4" fmla="*/ 5 w 14"/>
                    <a:gd name="T5" fmla="*/ 4 h 4"/>
                    <a:gd name="T6" fmla="*/ 7 w 14"/>
                    <a:gd name="T7" fmla="*/ 0 h 4"/>
                    <a:gd name="T8" fmla="*/ 6 w 14"/>
                    <a:gd name="T9" fmla="*/ 0 h 4"/>
                  </a:gdLst>
                  <a:cxnLst>
                    <a:cxn ang="0">
                      <a:pos x="T0" y="T1"/>
                    </a:cxn>
                    <a:cxn ang="0">
                      <a:pos x="T2" y="T3"/>
                    </a:cxn>
                    <a:cxn ang="0">
                      <a:pos x="T4" y="T5"/>
                    </a:cxn>
                    <a:cxn ang="0">
                      <a:pos x="T6" y="T7"/>
                    </a:cxn>
                    <a:cxn ang="0">
                      <a:pos x="T8" y="T9"/>
                    </a:cxn>
                  </a:cxnLst>
                  <a:rect l="0" t="0" r="r" b="b"/>
                  <a:pathLst>
                    <a:path w="14" h="4">
                      <a:moveTo>
                        <a:pt x="6" y="0"/>
                      </a:moveTo>
                      <a:cubicBezTo>
                        <a:pt x="4" y="0"/>
                        <a:pt x="2" y="1"/>
                        <a:pt x="0" y="2"/>
                      </a:cubicBezTo>
                      <a:cubicBezTo>
                        <a:pt x="2" y="3"/>
                        <a:pt x="3" y="3"/>
                        <a:pt x="5" y="4"/>
                      </a:cubicBezTo>
                      <a:cubicBezTo>
                        <a:pt x="7" y="4"/>
                        <a:pt x="14" y="2"/>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202"/>
                <p:cNvSpPr/>
                <p:nvPr/>
              </p:nvSpPr>
              <p:spPr bwMode="auto">
                <a:xfrm>
                  <a:off x="9198049" y="40537"/>
                  <a:ext cx="1389288" cy="681746"/>
                </a:xfrm>
                <a:custGeom>
                  <a:gdLst>
                    <a:gd name="T0" fmla="*/ 350 w 438"/>
                    <a:gd name="T1" fmla="*/ 16 h 215"/>
                    <a:gd name="T2" fmla="*/ 325 w 438"/>
                    <a:gd name="T3" fmla="*/ 31 h 215"/>
                    <a:gd name="T4" fmla="*/ 292 w 438"/>
                    <a:gd name="T5" fmla="*/ 39 h 215"/>
                    <a:gd name="T6" fmla="*/ 261 w 438"/>
                    <a:gd name="T7" fmla="*/ 44 h 215"/>
                    <a:gd name="T8" fmla="*/ 248 w 438"/>
                    <a:gd name="T9" fmla="*/ 44 h 215"/>
                    <a:gd name="T10" fmla="*/ 241 w 438"/>
                    <a:gd name="T11" fmla="*/ 45 h 215"/>
                    <a:gd name="T12" fmla="*/ 233 w 438"/>
                    <a:gd name="T13" fmla="*/ 43 h 215"/>
                    <a:gd name="T14" fmla="*/ 216 w 438"/>
                    <a:gd name="T15" fmla="*/ 43 h 215"/>
                    <a:gd name="T16" fmla="*/ 198 w 438"/>
                    <a:gd name="T17" fmla="*/ 59 h 215"/>
                    <a:gd name="T18" fmla="*/ 194 w 438"/>
                    <a:gd name="T19" fmla="*/ 52 h 215"/>
                    <a:gd name="T20" fmla="*/ 172 w 438"/>
                    <a:gd name="T21" fmla="*/ 63 h 215"/>
                    <a:gd name="T22" fmla="*/ 146 w 438"/>
                    <a:gd name="T23" fmla="*/ 69 h 215"/>
                    <a:gd name="T24" fmla="*/ 112 w 438"/>
                    <a:gd name="T25" fmla="*/ 87 h 215"/>
                    <a:gd name="T26" fmla="*/ 101 w 438"/>
                    <a:gd name="T27" fmla="*/ 96 h 215"/>
                    <a:gd name="T28" fmla="*/ 82 w 438"/>
                    <a:gd name="T29" fmla="*/ 113 h 215"/>
                    <a:gd name="T30" fmla="*/ 73 w 438"/>
                    <a:gd name="T31" fmla="*/ 108 h 215"/>
                    <a:gd name="T32" fmla="*/ 67 w 438"/>
                    <a:gd name="T33" fmla="*/ 118 h 215"/>
                    <a:gd name="T34" fmla="*/ 79 w 438"/>
                    <a:gd name="T35" fmla="*/ 120 h 215"/>
                    <a:gd name="T36" fmla="*/ 75 w 438"/>
                    <a:gd name="T37" fmla="*/ 123 h 215"/>
                    <a:gd name="T38" fmla="*/ 78 w 438"/>
                    <a:gd name="T39" fmla="*/ 128 h 215"/>
                    <a:gd name="T40" fmla="*/ 92 w 438"/>
                    <a:gd name="T41" fmla="*/ 134 h 215"/>
                    <a:gd name="T42" fmla="*/ 75 w 438"/>
                    <a:gd name="T43" fmla="*/ 133 h 215"/>
                    <a:gd name="T44" fmla="*/ 61 w 438"/>
                    <a:gd name="T45" fmla="*/ 135 h 215"/>
                    <a:gd name="T46" fmla="*/ 65 w 438"/>
                    <a:gd name="T47" fmla="*/ 143 h 215"/>
                    <a:gd name="T48" fmla="*/ 74 w 438"/>
                    <a:gd name="T49" fmla="*/ 146 h 215"/>
                    <a:gd name="T50" fmla="*/ 50 w 438"/>
                    <a:gd name="T51" fmla="*/ 158 h 215"/>
                    <a:gd name="T52" fmla="*/ 58 w 438"/>
                    <a:gd name="T53" fmla="*/ 165 h 215"/>
                    <a:gd name="T54" fmla="*/ 42 w 438"/>
                    <a:gd name="T55" fmla="*/ 163 h 215"/>
                    <a:gd name="T56" fmla="*/ 27 w 438"/>
                    <a:gd name="T57" fmla="*/ 176 h 215"/>
                    <a:gd name="T58" fmla="*/ 1 w 438"/>
                    <a:gd name="T59" fmla="*/ 185 h 215"/>
                    <a:gd name="T60" fmla="*/ 47 w 438"/>
                    <a:gd name="T61" fmla="*/ 189 h 215"/>
                    <a:gd name="T62" fmla="*/ 15 w 438"/>
                    <a:gd name="T63" fmla="*/ 203 h 215"/>
                    <a:gd name="T64" fmla="*/ 36 w 438"/>
                    <a:gd name="T65" fmla="*/ 205 h 215"/>
                    <a:gd name="T66" fmla="*/ 58 w 438"/>
                    <a:gd name="T67" fmla="*/ 210 h 215"/>
                    <a:gd name="T68" fmla="*/ 71 w 438"/>
                    <a:gd name="T69" fmla="*/ 213 h 215"/>
                    <a:gd name="T70" fmla="*/ 101 w 438"/>
                    <a:gd name="T71" fmla="*/ 200 h 215"/>
                    <a:gd name="T72" fmla="*/ 102 w 438"/>
                    <a:gd name="T73" fmla="*/ 198 h 215"/>
                    <a:gd name="T74" fmla="*/ 104 w 438"/>
                    <a:gd name="T75" fmla="*/ 182 h 215"/>
                    <a:gd name="T76" fmla="*/ 119 w 438"/>
                    <a:gd name="T77" fmla="*/ 177 h 215"/>
                    <a:gd name="T78" fmla="*/ 107 w 438"/>
                    <a:gd name="T79" fmla="*/ 164 h 215"/>
                    <a:gd name="T80" fmla="*/ 126 w 438"/>
                    <a:gd name="T81" fmla="*/ 174 h 215"/>
                    <a:gd name="T82" fmla="*/ 134 w 438"/>
                    <a:gd name="T83" fmla="*/ 162 h 215"/>
                    <a:gd name="T84" fmla="*/ 140 w 438"/>
                    <a:gd name="T85" fmla="*/ 149 h 215"/>
                    <a:gd name="T86" fmla="*/ 156 w 438"/>
                    <a:gd name="T87" fmla="*/ 143 h 215"/>
                    <a:gd name="T88" fmla="*/ 171 w 438"/>
                    <a:gd name="T89" fmla="*/ 140 h 215"/>
                    <a:gd name="T90" fmla="*/ 181 w 438"/>
                    <a:gd name="T91" fmla="*/ 133 h 215"/>
                    <a:gd name="T92" fmla="*/ 195 w 438"/>
                    <a:gd name="T93" fmla="*/ 116 h 215"/>
                    <a:gd name="T94" fmla="*/ 227 w 438"/>
                    <a:gd name="T95" fmla="*/ 98 h 215"/>
                    <a:gd name="T96" fmla="*/ 358 w 438"/>
                    <a:gd name="T97" fmla="*/ 61 h 215"/>
                    <a:gd name="T98" fmla="*/ 431 w 438"/>
                    <a:gd name="T99" fmla="*/ 25 h 215"/>
                    <a:gd name="T100" fmla="*/ 426 w 438"/>
                    <a:gd name="T101" fmla="*/ 7 h 215"/>
                    <a:gd name="T102" fmla="*/ 410 w 438"/>
                    <a:gd name="T103" fmla="*/ 2 h 2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8" h="215">
                      <a:moveTo>
                        <a:pt x="399" y="0"/>
                      </a:moveTo>
                      <a:cubicBezTo>
                        <a:pt x="397" y="0"/>
                        <a:pt x="395" y="0"/>
                        <a:pt x="393" y="1"/>
                      </a:cubicBezTo>
                      <a:cubicBezTo>
                        <a:pt x="388" y="3"/>
                        <a:pt x="384" y="3"/>
                        <a:pt x="379" y="4"/>
                      </a:cubicBezTo>
                      <a:cubicBezTo>
                        <a:pt x="375" y="4"/>
                        <a:pt x="370" y="7"/>
                        <a:pt x="366" y="8"/>
                      </a:cubicBezTo>
                      <a:cubicBezTo>
                        <a:pt x="362" y="10"/>
                        <a:pt x="352" y="13"/>
                        <a:pt x="350" y="16"/>
                      </a:cubicBezTo>
                      <a:cubicBezTo>
                        <a:pt x="347" y="19"/>
                        <a:pt x="348" y="25"/>
                        <a:pt x="352" y="27"/>
                      </a:cubicBezTo>
                      <a:cubicBezTo>
                        <a:pt x="351" y="27"/>
                        <a:pt x="350" y="27"/>
                        <a:pt x="349" y="27"/>
                      </a:cubicBezTo>
                      <a:cubicBezTo>
                        <a:pt x="346" y="27"/>
                        <a:pt x="342" y="26"/>
                        <a:pt x="338" y="25"/>
                      </a:cubicBezTo>
                      <a:cubicBezTo>
                        <a:pt x="338" y="25"/>
                        <a:pt x="338" y="25"/>
                        <a:pt x="338" y="25"/>
                      </a:cubicBezTo>
                      <a:cubicBezTo>
                        <a:pt x="333" y="25"/>
                        <a:pt x="329" y="30"/>
                        <a:pt x="325" y="31"/>
                      </a:cubicBezTo>
                      <a:cubicBezTo>
                        <a:pt x="324" y="31"/>
                        <a:pt x="323" y="30"/>
                        <a:pt x="322" y="30"/>
                      </a:cubicBezTo>
                      <a:cubicBezTo>
                        <a:pt x="318" y="30"/>
                        <a:pt x="309" y="35"/>
                        <a:pt x="307" y="36"/>
                      </a:cubicBezTo>
                      <a:cubicBezTo>
                        <a:pt x="306" y="37"/>
                        <a:pt x="299" y="41"/>
                        <a:pt x="296" y="41"/>
                      </a:cubicBezTo>
                      <a:cubicBezTo>
                        <a:pt x="296" y="41"/>
                        <a:pt x="295" y="41"/>
                        <a:pt x="295" y="41"/>
                      </a:cubicBezTo>
                      <a:cubicBezTo>
                        <a:pt x="293" y="40"/>
                        <a:pt x="293" y="39"/>
                        <a:pt x="292" y="39"/>
                      </a:cubicBezTo>
                      <a:cubicBezTo>
                        <a:pt x="291" y="39"/>
                        <a:pt x="291" y="40"/>
                        <a:pt x="289" y="40"/>
                      </a:cubicBezTo>
                      <a:cubicBezTo>
                        <a:pt x="283" y="40"/>
                        <a:pt x="278" y="42"/>
                        <a:pt x="272" y="44"/>
                      </a:cubicBezTo>
                      <a:cubicBezTo>
                        <a:pt x="270" y="45"/>
                        <a:pt x="267" y="47"/>
                        <a:pt x="265" y="47"/>
                      </a:cubicBezTo>
                      <a:cubicBezTo>
                        <a:pt x="265" y="47"/>
                        <a:pt x="265" y="47"/>
                        <a:pt x="264" y="47"/>
                      </a:cubicBezTo>
                      <a:cubicBezTo>
                        <a:pt x="262" y="47"/>
                        <a:pt x="262" y="45"/>
                        <a:pt x="261" y="44"/>
                      </a:cubicBezTo>
                      <a:cubicBezTo>
                        <a:pt x="260" y="44"/>
                        <a:pt x="260" y="44"/>
                        <a:pt x="260" y="44"/>
                      </a:cubicBezTo>
                      <a:cubicBezTo>
                        <a:pt x="258" y="44"/>
                        <a:pt x="256" y="45"/>
                        <a:pt x="255" y="46"/>
                      </a:cubicBezTo>
                      <a:cubicBezTo>
                        <a:pt x="253" y="47"/>
                        <a:pt x="251" y="48"/>
                        <a:pt x="250" y="48"/>
                      </a:cubicBezTo>
                      <a:cubicBezTo>
                        <a:pt x="249" y="48"/>
                        <a:pt x="248" y="48"/>
                        <a:pt x="248" y="47"/>
                      </a:cubicBezTo>
                      <a:cubicBezTo>
                        <a:pt x="247" y="46"/>
                        <a:pt x="250" y="44"/>
                        <a:pt x="248" y="44"/>
                      </a:cubicBezTo>
                      <a:cubicBezTo>
                        <a:pt x="248" y="44"/>
                        <a:pt x="247" y="44"/>
                        <a:pt x="247" y="44"/>
                      </a:cubicBezTo>
                      <a:cubicBezTo>
                        <a:pt x="246" y="44"/>
                        <a:pt x="245" y="45"/>
                        <a:pt x="244" y="45"/>
                      </a:cubicBezTo>
                      <a:cubicBezTo>
                        <a:pt x="243" y="45"/>
                        <a:pt x="243" y="45"/>
                        <a:pt x="243" y="45"/>
                      </a:cubicBezTo>
                      <a:cubicBezTo>
                        <a:pt x="243" y="45"/>
                        <a:pt x="242" y="45"/>
                        <a:pt x="242" y="45"/>
                      </a:cubicBezTo>
                      <a:cubicBezTo>
                        <a:pt x="242" y="45"/>
                        <a:pt x="241" y="45"/>
                        <a:pt x="241" y="45"/>
                      </a:cubicBezTo>
                      <a:cubicBezTo>
                        <a:pt x="240" y="45"/>
                        <a:pt x="240" y="45"/>
                        <a:pt x="239" y="45"/>
                      </a:cubicBezTo>
                      <a:cubicBezTo>
                        <a:pt x="239" y="45"/>
                        <a:pt x="238" y="45"/>
                        <a:pt x="238" y="45"/>
                      </a:cubicBezTo>
                      <a:cubicBezTo>
                        <a:pt x="237" y="44"/>
                        <a:pt x="236" y="43"/>
                        <a:pt x="235" y="42"/>
                      </a:cubicBezTo>
                      <a:cubicBezTo>
                        <a:pt x="235" y="42"/>
                        <a:pt x="235" y="42"/>
                        <a:pt x="235" y="42"/>
                      </a:cubicBezTo>
                      <a:cubicBezTo>
                        <a:pt x="234" y="42"/>
                        <a:pt x="234" y="42"/>
                        <a:pt x="233" y="43"/>
                      </a:cubicBezTo>
                      <a:cubicBezTo>
                        <a:pt x="233" y="43"/>
                        <a:pt x="232" y="43"/>
                        <a:pt x="232" y="43"/>
                      </a:cubicBezTo>
                      <a:cubicBezTo>
                        <a:pt x="231" y="43"/>
                        <a:pt x="231" y="43"/>
                        <a:pt x="231" y="43"/>
                      </a:cubicBezTo>
                      <a:cubicBezTo>
                        <a:pt x="230" y="42"/>
                        <a:pt x="229" y="42"/>
                        <a:pt x="228" y="42"/>
                      </a:cubicBezTo>
                      <a:cubicBezTo>
                        <a:pt x="228" y="42"/>
                        <a:pt x="227" y="42"/>
                        <a:pt x="227" y="42"/>
                      </a:cubicBezTo>
                      <a:cubicBezTo>
                        <a:pt x="223" y="42"/>
                        <a:pt x="220" y="43"/>
                        <a:pt x="216" y="43"/>
                      </a:cubicBezTo>
                      <a:cubicBezTo>
                        <a:pt x="212" y="44"/>
                        <a:pt x="208" y="44"/>
                        <a:pt x="210" y="50"/>
                      </a:cubicBezTo>
                      <a:cubicBezTo>
                        <a:pt x="211" y="52"/>
                        <a:pt x="213" y="50"/>
                        <a:pt x="213" y="53"/>
                      </a:cubicBezTo>
                      <a:cubicBezTo>
                        <a:pt x="213" y="55"/>
                        <a:pt x="208" y="56"/>
                        <a:pt x="206" y="56"/>
                      </a:cubicBezTo>
                      <a:cubicBezTo>
                        <a:pt x="203" y="57"/>
                        <a:pt x="201" y="59"/>
                        <a:pt x="198" y="59"/>
                      </a:cubicBezTo>
                      <a:cubicBezTo>
                        <a:pt x="198" y="59"/>
                        <a:pt x="198" y="59"/>
                        <a:pt x="198" y="59"/>
                      </a:cubicBezTo>
                      <a:cubicBezTo>
                        <a:pt x="197" y="59"/>
                        <a:pt x="196" y="59"/>
                        <a:pt x="196" y="59"/>
                      </a:cubicBezTo>
                      <a:cubicBezTo>
                        <a:pt x="195" y="59"/>
                        <a:pt x="195" y="59"/>
                        <a:pt x="194" y="59"/>
                      </a:cubicBezTo>
                      <a:cubicBezTo>
                        <a:pt x="194" y="59"/>
                        <a:pt x="194" y="59"/>
                        <a:pt x="194" y="59"/>
                      </a:cubicBezTo>
                      <a:cubicBezTo>
                        <a:pt x="196" y="56"/>
                        <a:pt x="200" y="52"/>
                        <a:pt x="195" y="52"/>
                      </a:cubicBezTo>
                      <a:cubicBezTo>
                        <a:pt x="195" y="52"/>
                        <a:pt x="194" y="52"/>
                        <a:pt x="194" y="52"/>
                      </a:cubicBezTo>
                      <a:cubicBezTo>
                        <a:pt x="190" y="53"/>
                        <a:pt x="188" y="53"/>
                        <a:pt x="185" y="56"/>
                      </a:cubicBezTo>
                      <a:cubicBezTo>
                        <a:pt x="187" y="57"/>
                        <a:pt x="188" y="58"/>
                        <a:pt x="190" y="59"/>
                      </a:cubicBezTo>
                      <a:cubicBezTo>
                        <a:pt x="187" y="60"/>
                        <a:pt x="183" y="60"/>
                        <a:pt x="180" y="61"/>
                      </a:cubicBezTo>
                      <a:cubicBezTo>
                        <a:pt x="179" y="61"/>
                        <a:pt x="177" y="62"/>
                        <a:pt x="176" y="63"/>
                      </a:cubicBezTo>
                      <a:cubicBezTo>
                        <a:pt x="174" y="63"/>
                        <a:pt x="173" y="63"/>
                        <a:pt x="172" y="63"/>
                      </a:cubicBezTo>
                      <a:cubicBezTo>
                        <a:pt x="171" y="63"/>
                        <a:pt x="170" y="63"/>
                        <a:pt x="169" y="63"/>
                      </a:cubicBezTo>
                      <a:cubicBezTo>
                        <a:pt x="169" y="63"/>
                        <a:pt x="168" y="63"/>
                        <a:pt x="167" y="63"/>
                      </a:cubicBezTo>
                      <a:cubicBezTo>
                        <a:pt x="166" y="63"/>
                        <a:pt x="165" y="63"/>
                        <a:pt x="165" y="63"/>
                      </a:cubicBezTo>
                      <a:cubicBezTo>
                        <a:pt x="160" y="64"/>
                        <a:pt x="157" y="67"/>
                        <a:pt x="153" y="68"/>
                      </a:cubicBezTo>
                      <a:cubicBezTo>
                        <a:pt x="150" y="68"/>
                        <a:pt x="148" y="68"/>
                        <a:pt x="146" y="69"/>
                      </a:cubicBezTo>
                      <a:cubicBezTo>
                        <a:pt x="140" y="72"/>
                        <a:pt x="136" y="76"/>
                        <a:pt x="129" y="78"/>
                      </a:cubicBezTo>
                      <a:cubicBezTo>
                        <a:pt x="129" y="78"/>
                        <a:pt x="125" y="78"/>
                        <a:pt x="125" y="78"/>
                      </a:cubicBezTo>
                      <a:cubicBezTo>
                        <a:pt x="123" y="80"/>
                        <a:pt x="128" y="81"/>
                        <a:pt x="129" y="82"/>
                      </a:cubicBezTo>
                      <a:cubicBezTo>
                        <a:pt x="130" y="84"/>
                        <a:pt x="122" y="85"/>
                        <a:pt x="120" y="85"/>
                      </a:cubicBezTo>
                      <a:cubicBezTo>
                        <a:pt x="117" y="86"/>
                        <a:pt x="114" y="86"/>
                        <a:pt x="112" y="87"/>
                      </a:cubicBezTo>
                      <a:cubicBezTo>
                        <a:pt x="109" y="89"/>
                        <a:pt x="113" y="92"/>
                        <a:pt x="114" y="95"/>
                      </a:cubicBezTo>
                      <a:cubicBezTo>
                        <a:pt x="115" y="96"/>
                        <a:pt x="116" y="97"/>
                        <a:pt x="115" y="98"/>
                      </a:cubicBezTo>
                      <a:cubicBezTo>
                        <a:pt x="115" y="99"/>
                        <a:pt x="114" y="99"/>
                        <a:pt x="114" y="99"/>
                      </a:cubicBezTo>
                      <a:cubicBezTo>
                        <a:pt x="112" y="99"/>
                        <a:pt x="110" y="98"/>
                        <a:pt x="109" y="97"/>
                      </a:cubicBezTo>
                      <a:cubicBezTo>
                        <a:pt x="106" y="96"/>
                        <a:pt x="105" y="96"/>
                        <a:pt x="101" y="96"/>
                      </a:cubicBezTo>
                      <a:cubicBezTo>
                        <a:pt x="99" y="96"/>
                        <a:pt x="98" y="95"/>
                        <a:pt x="97" y="95"/>
                      </a:cubicBezTo>
                      <a:cubicBezTo>
                        <a:pt x="96" y="95"/>
                        <a:pt x="95" y="96"/>
                        <a:pt x="93" y="96"/>
                      </a:cubicBezTo>
                      <a:cubicBezTo>
                        <a:pt x="90" y="97"/>
                        <a:pt x="86" y="99"/>
                        <a:pt x="91" y="101"/>
                      </a:cubicBezTo>
                      <a:cubicBezTo>
                        <a:pt x="96" y="103"/>
                        <a:pt x="87" y="109"/>
                        <a:pt x="85" y="111"/>
                      </a:cubicBezTo>
                      <a:cubicBezTo>
                        <a:pt x="84" y="111"/>
                        <a:pt x="83" y="112"/>
                        <a:pt x="82" y="113"/>
                      </a:cubicBezTo>
                      <a:cubicBezTo>
                        <a:pt x="81" y="113"/>
                        <a:pt x="81" y="113"/>
                        <a:pt x="81" y="113"/>
                      </a:cubicBezTo>
                      <a:cubicBezTo>
                        <a:pt x="80" y="113"/>
                        <a:pt x="80" y="112"/>
                        <a:pt x="80" y="111"/>
                      </a:cubicBezTo>
                      <a:cubicBezTo>
                        <a:pt x="79" y="109"/>
                        <a:pt x="78" y="107"/>
                        <a:pt x="77" y="107"/>
                      </a:cubicBezTo>
                      <a:cubicBezTo>
                        <a:pt x="76" y="107"/>
                        <a:pt x="75" y="107"/>
                        <a:pt x="75" y="108"/>
                      </a:cubicBezTo>
                      <a:cubicBezTo>
                        <a:pt x="74" y="108"/>
                        <a:pt x="73" y="108"/>
                        <a:pt x="73" y="108"/>
                      </a:cubicBezTo>
                      <a:cubicBezTo>
                        <a:pt x="71" y="108"/>
                        <a:pt x="71" y="105"/>
                        <a:pt x="69" y="105"/>
                      </a:cubicBezTo>
                      <a:cubicBezTo>
                        <a:pt x="69" y="105"/>
                        <a:pt x="68" y="105"/>
                        <a:pt x="68" y="105"/>
                      </a:cubicBezTo>
                      <a:cubicBezTo>
                        <a:pt x="66" y="105"/>
                        <a:pt x="58" y="109"/>
                        <a:pt x="60" y="112"/>
                      </a:cubicBezTo>
                      <a:cubicBezTo>
                        <a:pt x="60" y="113"/>
                        <a:pt x="64" y="112"/>
                        <a:pt x="65" y="113"/>
                      </a:cubicBezTo>
                      <a:cubicBezTo>
                        <a:pt x="66" y="115"/>
                        <a:pt x="65" y="118"/>
                        <a:pt x="67" y="118"/>
                      </a:cubicBezTo>
                      <a:cubicBezTo>
                        <a:pt x="67" y="118"/>
                        <a:pt x="67" y="118"/>
                        <a:pt x="67" y="118"/>
                      </a:cubicBezTo>
                      <a:cubicBezTo>
                        <a:pt x="70" y="117"/>
                        <a:pt x="72" y="116"/>
                        <a:pt x="75" y="116"/>
                      </a:cubicBezTo>
                      <a:cubicBezTo>
                        <a:pt x="76" y="116"/>
                        <a:pt x="77" y="115"/>
                        <a:pt x="78" y="115"/>
                      </a:cubicBezTo>
                      <a:cubicBezTo>
                        <a:pt x="80" y="115"/>
                        <a:pt x="79" y="116"/>
                        <a:pt x="77" y="119"/>
                      </a:cubicBezTo>
                      <a:cubicBezTo>
                        <a:pt x="78" y="120"/>
                        <a:pt x="78" y="120"/>
                        <a:pt x="79" y="120"/>
                      </a:cubicBezTo>
                      <a:cubicBezTo>
                        <a:pt x="79" y="120"/>
                        <a:pt x="79" y="120"/>
                        <a:pt x="79" y="120"/>
                      </a:cubicBezTo>
                      <a:cubicBezTo>
                        <a:pt x="80" y="120"/>
                        <a:pt x="81" y="120"/>
                        <a:pt x="82" y="120"/>
                      </a:cubicBezTo>
                      <a:cubicBezTo>
                        <a:pt x="83" y="119"/>
                        <a:pt x="84" y="119"/>
                        <a:pt x="85" y="119"/>
                      </a:cubicBezTo>
                      <a:cubicBezTo>
                        <a:pt x="85" y="119"/>
                        <a:pt x="86" y="119"/>
                        <a:pt x="85" y="120"/>
                      </a:cubicBezTo>
                      <a:cubicBezTo>
                        <a:pt x="83" y="122"/>
                        <a:pt x="78" y="122"/>
                        <a:pt x="75" y="123"/>
                      </a:cubicBezTo>
                      <a:cubicBezTo>
                        <a:pt x="72" y="123"/>
                        <a:pt x="70" y="124"/>
                        <a:pt x="68" y="125"/>
                      </a:cubicBezTo>
                      <a:cubicBezTo>
                        <a:pt x="66" y="126"/>
                        <a:pt x="59" y="127"/>
                        <a:pt x="64" y="129"/>
                      </a:cubicBezTo>
                      <a:cubicBezTo>
                        <a:pt x="65" y="130"/>
                        <a:pt x="65" y="130"/>
                        <a:pt x="66" y="130"/>
                      </a:cubicBezTo>
                      <a:cubicBezTo>
                        <a:pt x="67" y="130"/>
                        <a:pt x="70" y="129"/>
                        <a:pt x="72" y="129"/>
                      </a:cubicBezTo>
                      <a:cubicBezTo>
                        <a:pt x="74" y="129"/>
                        <a:pt x="76" y="128"/>
                        <a:pt x="78" y="128"/>
                      </a:cubicBezTo>
                      <a:cubicBezTo>
                        <a:pt x="79" y="128"/>
                        <a:pt x="80" y="128"/>
                        <a:pt x="81" y="129"/>
                      </a:cubicBezTo>
                      <a:cubicBezTo>
                        <a:pt x="82" y="132"/>
                        <a:pt x="83" y="134"/>
                        <a:pt x="86" y="134"/>
                      </a:cubicBezTo>
                      <a:cubicBezTo>
                        <a:pt x="86" y="135"/>
                        <a:pt x="87" y="135"/>
                        <a:pt x="87" y="135"/>
                      </a:cubicBezTo>
                      <a:cubicBezTo>
                        <a:pt x="88" y="135"/>
                        <a:pt x="89" y="134"/>
                        <a:pt x="90" y="134"/>
                      </a:cubicBezTo>
                      <a:cubicBezTo>
                        <a:pt x="90" y="134"/>
                        <a:pt x="91" y="134"/>
                        <a:pt x="92" y="134"/>
                      </a:cubicBezTo>
                      <a:cubicBezTo>
                        <a:pt x="93" y="134"/>
                        <a:pt x="93" y="134"/>
                        <a:pt x="94" y="134"/>
                      </a:cubicBezTo>
                      <a:cubicBezTo>
                        <a:pt x="92" y="135"/>
                        <a:pt x="91" y="136"/>
                        <a:pt x="89" y="136"/>
                      </a:cubicBezTo>
                      <a:cubicBezTo>
                        <a:pt x="87" y="136"/>
                        <a:pt x="84" y="135"/>
                        <a:pt x="82" y="135"/>
                      </a:cubicBezTo>
                      <a:cubicBezTo>
                        <a:pt x="80" y="134"/>
                        <a:pt x="78" y="133"/>
                        <a:pt x="76" y="133"/>
                      </a:cubicBezTo>
                      <a:cubicBezTo>
                        <a:pt x="76" y="133"/>
                        <a:pt x="76" y="133"/>
                        <a:pt x="75" y="133"/>
                      </a:cubicBezTo>
                      <a:cubicBezTo>
                        <a:pt x="73" y="134"/>
                        <a:pt x="71" y="135"/>
                        <a:pt x="68" y="135"/>
                      </a:cubicBezTo>
                      <a:cubicBezTo>
                        <a:pt x="67" y="136"/>
                        <a:pt x="66" y="136"/>
                        <a:pt x="65" y="136"/>
                      </a:cubicBezTo>
                      <a:cubicBezTo>
                        <a:pt x="64" y="136"/>
                        <a:pt x="64" y="136"/>
                        <a:pt x="64" y="136"/>
                      </a:cubicBezTo>
                      <a:cubicBezTo>
                        <a:pt x="63" y="136"/>
                        <a:pt x="63" y="135"/>
                        <a:pt x="62" y="135"/>
                      </a:cubicBezTo>
                      <a:cubicBezTo>
                        <a:pt x="61" y="135"/>
                        <a:pt x="61" y="135"/>
                        <a:pt x="61" y="135"/>
                      </a:cubicBezTo>
                      <a:cubicBezTo>
                        <a:pt x="59" y="135"/>
                        <a:pt x="55" y="135"/>
                        <a:pt x="55" y="136"/>
                      </a:cubicBezTo>
                      <a:cubicBezTo>
                        <a:pt x="53" y="139"/>
                        <a:pt x="58" y="143"/>
                        <a:pt x="60" y="143"/>
                      </a:cubicBezTo>
                      <a:cubicBezTo>
                        <a:pt x="61" y="143"/>
                        <a:pt x="61" y="143"/>
                        <a:pt x="62" y="143"/>
                      </a:cubicBezTo>
                      <a:cubicBezTo>
                        <a:pt x="62" y="143"/>
                        <a:pt x="63" y="143"/>
                        <a:pt x="63" y="143"/>
                      </a:cubicBezTo>
                      <a:cubicBezTo>
                        <a:pt x="64" y="143"/>
                        <a:pt x="65" y="143"/>
                        <a:pt x="65" y="143"/>
                      </a:cubicBezTo>
                      <a:cubicBezTo>
                        <a:pt x="66" y="143"/>
                        <a:pt x="67" y="143"/>
                        <a:pt x="68" y="144"/>
                      </a:cubicBezTo>
                      <a:cubicBezTo>
                        <a:pt x="69" y="144"/>
                        <a:pt x="70" y="145"/>
                        <a:pt x="71" y="146"/>
                      </a:cubicBezTo>
                      <a:cubicBezTo>
                        <a:pt x="71" y="146"/>
                        <a:pt x="71" y="146"/>
                        <a:pt x="71" y="146"/>
                      </a:cubicBezTo>
                      <a:cubicBezTo>
                        <a:pt x="72" y="146"/>
                        <a:pt x="72" y="146"/>
                        <a:pt x="73" y="146"/>
                      </a:cubicBezTo>
                      <a:cubicBezTo>
                        <a:pt x="73" y="146"/>
                        <a:pt x="74" y="146"/>
                        <a:pt x="74" y="146"/>
                      </a:cubicBezTo>
                      <a:cubicBezTo>
                        <a:pt x="74" y="146"/>
                        <a:pt x="74" y="146"/>
                        <a:pt x="74" y="146"/>
                      </a:cubicBezTo>
                      <a:cubicBezTo>
                        <a:pt x="68" y="149"/>
                        <a:pt x="59" y="147"/>
                        <a:pt x="52" y="149"/>
                      </a:cubicBezTo>
                      <a:cubicBezTo>
                        <a:pt x="50" y="149"/>
                        <a:pt x="42" y="151"/>
                        <a:pt x="49" y="154"/>
                      </a:cubicBezTo>
                      <a:cubicBezTo>
                        <a:pt x="52" y="155"/>
                        <a:pt x="57" y="154"/>
                        <a:pt x="59" y="156"/>
                      </a:cubicBezTo>
                      <a:cubicBezTo>
                        <a:pt x="56" y="157"/>
                        <a:pt x="53" y="158"/>
                        <a:pt x="50" y="158"/>
                      </a:cubicBezTo>
                      <a:cubicBezTo>
                        <a:pt x="49" y="158"/>
                        <a:pt x="49" y="158"/>
                        <a:pt x="49" y="158"/>
                      </a:cubicBezTo>
                      <a:cubicBezTo>
                        <a:pt x="47" y="157"/>
                        <a:pt x="46" y="157"/>
                        <a:pt x="45" y="157"/>
                      </a:cubicBezTo>
                      <a:cubicBezTo>
                        <a:pt x="44" y="157"/>
                        <a:pt x="43" y="157"/>
                        <a:pt x="41" y="158"/>
                      </a:cubicBezTo>
                      <a:cubicBezTo>
                        <a:pt x="43" y="160"/>
                        <a:pt x="48" y="161"/>
                        <a:pt x="51" y="161"/>
                      </a:cubicBezTo>
                      <a:cubicBezTo>
                        <a:pt x="54" y="162"/>
                        <a:pt x="55" y="164"/>
                        <a:pt x="58" y="165"/>
                      </a:cubicBezTo>
                      <a:cubicBezTo>
                        <a:pt x="59" y="165"/>
                        <a:pt x="61" y="165"/>
                        <a:pt x="62" y="166"/>
                      </a:cubicBezTo>
                      <a:cubicBezTo>
                        <a:pt x="62" y="167"/>
                        <a:pt x="61" y="167"/>
                        <a:pt x="60" y="167"/>
                      </a:cubicBezTo>
                      <a:cubicBezTo>
                        <a:pt x="59" y="167"/>
                        <a:pt x="57" y="167"/>
                        <a:pt x="57" y="167"/>
                      </a:cubicBezTo>
                      <a:cubicBezTo>
                        <a:pt x="55" y="167"/>
                        <a:pt x="52" y="166"/>
                        <a:pt x="49" y="165"/>
                      </a:cubicBezTo>
                      <a:cubicBezTo>
                        <a:pt x="46" y="165"/>
                        <a:pt x="45" y="163"/>
                        <a:pt x="42" y="163"/>
                      </a:cubicBezTo>
                      <a:cubicBezTo>
                        <a:pt x="42" y="163"/>
                        <a:pt x="42" y="163"/>
                        <a:pt x="41" y="163"/>
                      </a:cubicBezTo>
                      <a:cubicBezTo>
                        <a:pt x="39" y="164"/>
                        <a:pt x="37" y="165"/>
                        <a:pt x="35" y="166"/>
                      </a:cubicBezTo>
                      <a:cubicBezTo>
                        <a:pt x="33" y="167"/>
                        <a:pt x="30" y="168"/>
                        <a:pt x="29" y="170"/>
                      </a:cubicBezTo>
                      <a:cubicBezTo>
                        <a:pt x="27" y="173"/>
                        <a:pt x="28" y="172"/>
                        <a:pt x="31" y="174"/>
                      </a:cubicBezTo>
                      <a:cubicBezTo>
                        <a:pt x="33" y="175"/>
                        <a:pt x="28" y="176"/>
                        <a:pt x="27" y="176"/>
                      </a:cubicBezTo>
                      <a:cubicBezTo>
                        <a:pt x="22" y="177"/>
                        <a:pt x="19" y="179"/>
                        <a:pt x="14" y="180"/>
                      </a:cubicBezTo>
                      <a:cubicBezTo>
                        <a:pt x="11" y="181"/>
                        <a:pt x="10" y="184"/>
                        <a:pt x="8" y="185"/>
                      </a:cubicBezTo>
                      <a:cubicBezTo>
                        <a:pt x="7" y="185"/>
                        <a:pt x="6" y="186"/>
                        <a:pt x="6" y="186"/>
                      </a:cubicBezTo>
                      <a:cubicBezTo>
                        <a:pt x="5" y="186"/>
                        <a:pt x="4" y="185"/>
                        <a:pt x="3" y="185"/>
                      </a:cubicBezTo>
                      <a:cubicBezTo>
                        <a:pt x="2" y="185"/>
                        <a:pt x="1" y="185"/>
                        <a:pt x="1" y="185"/>
                      </a:cubicBezTo>
                      <a:cubicBezTo>
                        <a:pt x="0" y="185"/>
                        <a:pt x="0" y="185"/>
                        <a:pt x="0" y="185"/>
                      </a:cubicBezTo>
                      <a:cubicBezTo>
                        <a:pt x="6" y="189"/>
                        <a:pt x="13" y="190"/>
                        <a:pt x="20" y="190"/>
                      </a:cubicBezTo>
                      <a:cubicBezTo>
                        <a:pt x="24" y="190"/>
                        <a:pt x="27" y="189"/>
                        <a:pt x="31" y="189"/>
                      </a:cubicBezTo>
                      <a:cubicBezTo>
                        <a:pt x="34" y="189"/>
                        <a:pt x="39" y="189"/>
                        <a:pt x="43" y="189"/>
                      </a:cubicBezTo>
                      <a:cubicBezTo>
                        <a:pt x="44" y="189"/>
                        <a:pt x="46" y="189"/>
                        <a:pt x="47" y="189"/>
                      </a:cubicBezTo>
                      <a:cubicBezTo>
                        <a:pt x="44" y="190"/>
                        <a:pt x="40" y="191"/>
                        <a:pt x="36" y="192"/>
                      </a:cubicBezTo>
                      <a:cubicBezTo>
                        <a:pt x="35" y="192"/>
                        <a:pt x="33" y="192"/>
                        <a:pt x="31" y="192"/>
                      </a:cubicBezTo>
                      <a:cubicBezTo>
                        <a:pt x="30" y="193"/>
                        <a:pt x="29" y="194"/>
                        <a:pt x="27" y="195"/>
                      </a:cubicBezTo>
                      <a:cubicBezTo>
                        <a:pt x="24" y="195"/>
                        <a:pt x="21" y="197"/>
                        <a:pt x="19" y="199"/>
                      </a:cubicBezTo>
                      <a:cubicBezTo>
                        <a:pt x="17" y="200"/>
                        <a:pt x="15" y="201"/>
                        <a:pt x="15" y="203"/>
                      </a:cubicBezTo>
                      <a:cubicBezTo>
                        <a:pt x="15" y="206"/>
                        <a:pt x="13" y="206"/>
                        <a:pt x="11" y="207"/>
                      </a:cubicBezTo>
                      <a:cubicBezTo>
                        <a:pt x="15" y="208"/>
                        <a:pt x="19" y="208"/>
                        <a:pt x="24" y="208"/>
                      </a:cubicBezTo>
                      <a:cubicBezTo>
                        <a:pt x="24" y="208"/>
                        <a:pt x="24" y="208"/>
                        <a:pt x="24" y="208"/>
                      </a:cubicBezTo>
                      <a:cubicBezTo>
                        <a:pt x="24" y="208"/>
                        <a:pt x="24" y="208"/>
                        <a:pt x="24" y="208"/>
                      </a:cubicBezTo>
                      <a:cubicBezTo>
                        <a:pt x="27" y="207"/>
                        <a:pt x="32" y="205"/>
                        <a:pt x="36" y="205"/>
                      </a:cubicBezTo>
                      <a:cubicBezTo>
                        <a:pt x="36" y="205"/>
                        <a:pt x="37" y="205"/>
                        <a:pt x="37" y="205"/>
                      </a:cubicBezTo>
                      <a:cubicBezTo>
                        <a:pt x="41" y="206"/>
                        <a:pt x="44" y="209"/>
                        <a:pt x="47" y="209"/>
                      </a:cubicBezTo>
                      <a:cubicBezTo>
                        <a:pt x="49" y="210"/>
                        <a:pt x="51" y="210"/>
                        <a:pt x="53" y="210"/>
                      </a:cubicBezTo>
                      <a:cubicBezTo>
                        <a:pt x="54" y="210"/>
                        <a:pt x="55" y="210"/>
                        <a:pt x="56" y="210"/>
                      </a:cubicBezTo>
                      <a:cubicBezTo>
                        <a:pt x="57" y="210"/>
                        <a:pt x="58" y="210"/>
                        <a:pt x="58" y="210"/>
                      </a:cubicBezTo>
                      <a:cubicBezTo>
                        <a:pt x="59" y="210"/>
                        <a:pt x="60" y="210"/>
                        <a:pt x="61" y="210"/>
                      </a:cubicBezTo>
                      <a:cubicBezTo>
                        <a:pt x="62" y="210"/>
                        <a:pt x="63" y="211"/>
                        <a:pt x="63" y="211"/>
                      </a:cubicBezTo>
                      <a:cubicBezTo>
                        <a:pt x="64" y="211"/>
                        <a:pt x="64" y="210"/>
                        <a:pt x="64" y="210"/>
                      </a:cubicBezTo>
                      <a:cubicBezTo>
                        <a:pt x="65" y="209"/>
                        <a:pt x="65" y="206"/>
                        <a:pt x="64" y="205"/>
                      </a:cubicBezTo>
                      <a:cubicBezTo>
                        <a:pt x="67" y="207"/>
                        <a:pt x="68" y="212"/>
                        <a:pt x="71" y="213"/>
                      </a:cubicBezTo>
                      <a:cubicBezTo>
                        <a:pt x="74" y="213"/>
                        <a:pt x="77" y="213"/>
                        <a:pt x="80" y="213"/>
                      </a:cubicBezTo>
                      <a:cubicBezTo>
                        <a:pt x="81" y="214"/>
                        <a:pt x="84" y="215"/>
                        <a:pt x="86" y="215"/>
                      </a:cubicBezTo>
                      <a:cubicBezTo>
                        <a:pt x="87" y="215"/>
                        <a:pt x="88" y="214"/>
                        <a:pt x="88" y="214"/>
                      </a:cubicBezTo>
                      <a:cubicBezTo>
                        <a:pt x="89" y="210"/>
                        <a:pt x="89" y="208"/>
                        <a:pt x="92" y="206"/>
                      </a:cubicBezTo>
                      <a:cubicBezTo>
                        <a:pt x="95" y="204"/>
                        <a:pt x="99" y="203"/>
                        <a:pt x="101" y="200"/>
                      </a:cubicBezTo>
                      <a:cubicBezTo>
                        <a:pt x="99" y="199"/>
                        <a:pt x="96" y="197"/>
                        <a:pt x="94" y="196"/>
                      </a:cubicBezTo>
                      <a:cubicBezTo>
                        <a:pt x="93" y="196"/>
                        <a:pt x="91" y="196"/>
                        <a:pt x="90" y="196"/>
                      </a:cubicBezTo>
                      <a:cubicBezTo>
                        <a:pt x="88" y="195"/>
                        <a:pt x="89" y="193"/>
                        <a:pt x="87" y="192"/>
                      </a:cubicBezTo>
                      <a:cubicBezTo>
                        <a:pt x="93" y="193"/>
                        <a:pt x="97" y="197"/>
                        <a:pt x="102" y="198"/>
                      </a:cubicBezTo>
                      <a:cubicBezTo>
                        <a:pt x="102" y="198"/>
                        <a:pt x="102" y="198"/>
                        <a:pt x="102" y="198"/>
                      </a:cubicBezTo>
                      <a:cubicBezTo>
                        <a:pt x="106" y="198"/>
                        <a:pt x="111" y="192"/>
                        <a:pt x="110" y="188"/>
                      </a:cubicBezTo>
                      <a:cubicBezTo>
                        <a:pt x="110" y="187"/>
                        <a:pt x="107" y="185"/>
                        <a:pt x="106" y="184"/>
                      </a:cubicBezTo>
                      <a:cubicBezTo>
                        <a:pt x="100" y="181"/>
                        <a:pt x="90" y="184"/>
                        <a:pt x="84" y="180"/>
                      </a:cubicBezTo>
                      <a:cubicBezTo>
                        <a:pt x="85" y="180"/>
                        <a:pt x="86" y="180"/>
                        <a:pt x="88" y="180"/>
                      </a:cubicBezTo>
                      <a:cubicBezTo>
                        <a:pt x="93" y="180"/>
                        <a:pt x="99" y="181"/>
                        <a:pt x="104" y="182"/>
                      </a:cubicBezTo>
                      <a:cubicBezTo>
                        <a:pt x="107" y="182"/>
                        <a:pt x="108" y="183"/>
                        <a:pt x="110" y="184"/>
                      </a:cubicBezTo>
                      <a:cubicBezTo>
                        <a:pt x="111" y="185"/>
                        <a:pt x="113" y="189"/>
                        <a:pt x="115" y="189"/>
                      </a:cubicBezTo>
                      <a:cubicBezTo>
                        <a:pt x="115" y="189"/>
                        <a:pt x="115" y="189"/>
                        <a:pt x="115" y="189"/>
                      </a:cubicBezTo>
                      <a:cubicBezTo>
                        <a:pt x="119" y="189"/>
                        <a:pt x="119" y="180"/>
                        <a:pt x="119" y="178"/>
                      </a:cubicBezTo>
                      <a:cubicBezTo>
                        <a:pt x="119" y="178"/>
                        <a:pt x="121" y="177"/>
                        <a:pt x="119" y="177"/>
                      </a:cubicBezTo>
                      <a:cubicBezTo>
                        <a:pt x="119" y="176"/>
                        <a:pt x="118" y="176"/>
                        <a:pt x="118" y="176"/>
                      </a:cubicBezTo>
                      <a:cubicBezTo>
                        <a:pt x="117" y="175"/>
                        <a:pt x="116" y="175"/>
                        <a:pt x="115" y="174"/>
                      </a:cubicBezTo>
                      <a:cubicBezTo>
                        <a:pt x="114" y="173"/>
                        <a:pt x="112" y="170"/>
                        <a:pt x="110" y="170"/>
                      </a:cubicBezTo>
                      <a:cubicBezTo>
                        <a:pt x="108" y="170"/>
                        <a:pt x="105" y="169"/>
                        <a:pt x="103" y="169"/>
                      </a:cubicBezTo>
                      <a:cubicBezTo>
                        <a:pt x="105" y="167"/>
                        <a:pt x="110" y="166"/>
                        <a:pt x="107" y="164"/>
                      </a:cubicBezTo>
                      <a:cubicBezTo>
                        <a:pt x="113" y="165"/>
                        <a:pt x="116" y="173"/>
                        <a:pt x="123" y="173"/>
                      </a:cubicBezTo>
                      <a:cubicBezTo>
                        <a:pt x="123" y="173"/>
                        <a:pt x="123" y="173"/>
                        <a:pt x="123" y="173"/>
                      </a:cubicBezTo>
                      <a:cubicBezTo>
                        <a:pt x="123" y="173"/>
                        <a:pt x="123" y="173"/>
                        <a:pt x="123" y="173"/>
                      </a:cubicBezTo>
                      <a:cubicBezTo>
                        <a:pt x="123" y="173"/>
                        <a:pt x="124" y="173"/>
                        <a:pt x="125" y="173"/>
                      </a:cubicBezTo>
                      <a:cubicBezTo>
                        <a:pt x="125" y="174"/>
                        <a:pt x="126" y="174"/>
                        <a:pt x="126" y="174"/>
                      </a:cubicBezTo>
                      <a:cubicBezTo>
                        <a:pt x="126" y="174"/>
                        <a:pt x="126" y="174"/>
                        <a:pt x="126" y="174"/>
                      </a:cubicBezTo>
                      <a:cubicBezTo>
                        <a:pt x="128" y="173"/>
                        <a:pt x="128" y="169"/>
                        <a:pt x="128" y="167"/>
                      </a:cubicBezTo>
                      <a:cubicBezTo>
                        <a:pt x="128" y="165"/>
                        <a:pt x="128" y="166"/>
                        <a:pt x="130" y="164"/>
                      </a:cubicBezTo>
                      <a:cubicBezTo>
                        <a:pt x="131" y="162"/>
                        <a:pt x="131" y="162"/>
                        <a:pt x="132" y="162"/>
                      </a:cubicBezTo>
                      <a:cubicBezTo>
                        <a:pt x="132" y="162"/>
                        <a:pt x="133" y="162"/>
                        <a:pt x="134" y="162"/>
                      </a:cubicBezTo>
                      <a:cubicBezTo>
                        <a:pt x="136" y="163"/>
                        <a:pt x="137" y="163"/>
                        <a:pt x="138" y="163"/>
                      </a:cubicBezTo>
                      <a:cubicBezTo>
                        <a:pt x="139" y="163"/>
                        <a:pt x="140" y="163"/>
                        <a:pt x="141" y="162"/>
                      </a:cubicBezTo>
                      <a:cubicBezTo>
                        <a:pt x="142" y="160"/>
                        <a:pt x="143" y="157"/>
                        <a:pt x="142" y="155"/>
                      </a:cubicBezTo>
                      <a:cubicBezTo>
                        <a:pt x="142" y="153"/>
                        <a:pt x="141" y="152"/>
                        <a:pt x="140" y="151"/>
                      </a:cubicBezTo>
                      <a:cubicBezTo>
                        <a:pt x="140" y="150"/>
                        <a:pt x="143" y="150"/>
                        <a:pt x="140" y="149"/>
                      </a:cubicBezTo>
                      <a:cubicBezTo>
                        <a:pt x="139" y="148"/>
                        <a:pt x="136" y="145"/>
                        <a:pt x="135" y="145"/>
                      </a:cubicBezTo>
                      <a:cubicBezTo>
                        <a:pt x="132" y="144"/>
                        <a:pt x="130" y="143"/>
                        <a:pt x="129" y="142"/>
                      </a:cubicBezTo>
                      <a:cubicBezTo>
                        <a:pt x="138" y="142"/>
                        <a:pt x="144" y="148"/>
                        <a:pt x="153" y="149"/>
                      </a:cubicBezTo>
                      <a:cubicBezTo>
                        <a:pt x="153" y="149"/>
                        <a:pt x="153" y="149"/>
                        <a:pt x="154" y="149"/>
                      </a:cubicBezTo>
                      <a:cubicBezTo>
                        <a:pt x="157" y="149"/>
                        <a:pt x="155" y="145"/>
                        <a:pt x="156" y="143"/>
                      </a:cubicBezTo>
                      <a:cubicBezTo>
                        <a:pt x="156" y="141"/>
                        <a:pt x="158" y="140"/>
                        <a:pt x="158" y="138"/>
                      </a:cubicBezTo>
                      <a:cubicBezTo>
                        <a:pt x="157" y="137"/>
                        <a:pt x="153" y="138"/>
                        <a:pt x="156" y="136"/>
                      </a:cubicBezTo>
                      <a:cubicBezTo>
                        <a:pt x="158" y="135"/>
                        <a:pt x="156" y="133"/>
                        <a:pt x="155" y="132"/>
                      </a:cubicBezTo>
                      <a:cubicBezTo>
                        <a:pt x="161" y="133"/>
                        <a:pt x="165" y="139"/>
                        <a:pt x="170" y="140"/>
                      </a:cubicBezTo>
                      <a:cubicBezTo>
                        <a:pt x="171" y="140"/>
                        <a:pt x="171" y="140"/>
                        <a:pt x="171" y="140"/>
                      </a:cubicBezTo>
                      <a:cubicBezTo>
                        <a:pt x="174" y="140"/>
                        <a:pt x="175" y="135"/>
                        <a:pt x="173" y="133"/>
                      </a:cubicBezTo>
                      <a:cubicBezTo>
                        <a:pt x="173" y="133"/>
                        <a:pt x="172" y="133"/>
                        <a:pt x="172" y="133"/>
                      </a:cubicBezTo>
                      <a:cubicBezTo>
                        <a:pt x="171" y="133"/>
                        <a:pt x="170" y="133"/>
                        <a:pt x="170" y="132"/>
                      </a:cubicBezTo>
                      <a:cubicBezTo>
                        <a:pt x="169" y="132"/>
                        <a:pt x="168" y="130"/>
                        <a:pt x="167" y="129"/>
                      </a:cubicBezTo>
                      <a:cubicBezTo>
                        <a:pt x="172" y="130"/>
                        <a:pt x="176" y="133"/>
                        <a:pt x="181" y="133"/>
                      </a:cubicBezTo>
                      <a:cubicBezTo>
                        <a:pt x="182" y="133"/>
                        <a:pt x="182" y="133"/>
                        <a:pt x="183" y="132"/>
                      </a:cubicBezTo>
                      <a:cubicBezTo>
                        <a:pt x="188" y="131"/>
                        <a:pt x="186" y="132"/>
                        <a:pt x="187" y="127"/>
                      </a:cubicBezTo>
                      <a:cubicBezTo>
                        <a:pt x="187" y="123"/>
                        <a:pt x="194" y="123"/>
                        <a:pt x="197" y="119"/>
                      </a:cubicBezTo>
                      <a:cubicBezTo>
                        <a:pt x="191" y="119"/>
                        <a:pt x="185" y="119"/>
                        <a:pt x="179" y="118"/>
                      </a:cubicBezTo>
                      <a:cubicBezTo>
                        <a:pt x="184" y="116"/>
                        <a:pt x="190" y="116"/>
                        <a:pt x="195" y="116"/>
                      </a:cubicBezTo>
                      <a:cubicBezTo>
                        <a:pt x="201" y="116"/>
                        <a:pt x="200" y="115"/>
                        <a:pt x="205" y="110"/>
                      </a:cubicBezTo>
                      <a:cubicBezTo>
                        <a:pt x="207" y="108"/>
                        <a:pt x="219" y="103"/>
                        <a:pt x="217" y="99"/>
                      </a:cubicBezTo>
                      <a:cubicBezTo>
                        <a:pt x="218" y="100"/>
                        <a:pt x="220" y="104"/>
                        <a:pt x="221" y="104"/>
                      </a:cubicBezTo>
                      <a:cubicBezTo>
                        <a:pt x="221" y="104"/>
                        <a:pt x="221" y="104"/>
                        <a:pt x="221" y="104"/>
                      </a:cubicBezTo>
                      <a:cubicBezTo>
                        <a:pt x="224" y="104"/>
                        <a:pt x="226" y="100"/>
                        <a:pt x="227" y="98"/>
                      </a:cubicBezTo>
                      <a:cubicBezTo>
                        <a:pt x="231" y="93"/>
                        <a:pt x="237" y="92"/>
                        <a:pt x="243" y="90"/>
                      </a:cubicBezTo>
                      <a:cubicBezTo>
                        <a:pt x="259" y="87"/>
                        <a:pt x="276" y="83"/>
                        <a:pt x="290" y="80"/>
                      </a:cubicBezTo>
                      <a:cubicBezTo>
                        <a:pt x="300" y="77"/>
                        <a:pt x="309" y="72"/>
                        <a:pt x="319" y="71"/>
                      </a:cubicBezTo>
                      <a:cubicBezTo>
                        <a:pt x="329" y="70"/>
                        <a:pt x="338" y="66"/>
                        <a:pt x="347" y="63"/>
                      </a:cubicBezTo>
                      <a:cubicBezTo>
                        <a:pt x="351" y="62"/>
                        <a:pt x="355" y="62"/>
                        <a:pt x="358" y="61"/>
                      </a:cubicBezTo>
                      <a:cubicBezTo>
                        <a:pt x="364" y="59"/>
                        <a:pt x="370" y="57"/>
                        <a:pt x="376" y="55"/>
                      </a:cubicBezTo>
                      <a:cubicBezTo>
                        <a:pt x="387" y="53"/>
                        <a:pt x="397" y="46"/>
                        <a:pt x="408" y="44"/>
                      </a:cubicBezTo>
                      <a:cubicBezTo>
                        <a:pt x="410" y="43"/>
                        <a:pt x="411" y="43"/>
                        <a:pt x="413" y="43"/>
                      </a:cubicBezTo>
                      <a:cubicBezTo>
                        <a:pt x="417" y="43"/>
                        <a:pt x="414" y="43"/>
                        <a:pt x="416" y="40"/>
                      </a:cubicBezTo>
                      <a:cubicBezTo>
                        <a:pt x="419" y="36"/>
                        <a:pt x="432" y="31"/>
                        <a:pt x="431" y="25"/>
                      </a:cubicBezTo>
                      <a:cubicBezTo>
                        <a:pt x="431" y="21"/>
                        <a:pt x="438" y="20"/>
                        <a:pt x="435" y="16"/>
                      </a:cubicBezTo>
                      <a:cubicBezTo>
                        <a:pt x="433" y="14"/>
                        <a:pt x="432" y="13"/>
                        <a:pt x="430" y="12"/>
                      </a:cubicBezTo>
                      <a:cubicBezTo>
                        <a:pt x="428" y="11"/>
                        <a:pt x="431" y="9"/>
                        <a:pt x="430" y="8"/>
                      </a:cubicBezTo>
                      <a:cubicBezTo>
                        <a:pt x="430" y="8"/>
                        <a:pt x="430" y="8"/>
                        <a:pt x="430" y="8"/>
                      </a:cubicBezTo>
                      <a:cubicBezTo>
                        <a:pt x="430" y="8"/>
                        <a:pt x="426" y="7"/>
                        <a:pt x="426" y="7"/>
                      </a:cubicBezTo>
                      <a:cubicBezTo>
                        <a:pt x="424" y="6"/>
                        <a:pt x="422" y="5"/>
                        <a:pt x="422" y="5"/>
                      </a:cubicBezTo>
                      <a:cubicBezTo>
                        <a:pt x="421" y="5"/>
                        <a:pt x="422" y="3"/>
                        <a:pt x="420" y="3"/>
                      </a:cubicBezTo>
                      <a:cubicBezTo>
                        <a:pt x="420" y="3"/>
                        <a:pt x="419" y="3"/>
                        <a:pt x="419" y="3"/>
                      </a:cubicBezTo>
                      <a:cubicBezTo>
                        <a:pt x="419" y="3"/>
                        <a:pt x="418" y="3"/>
                        <a:pt x="418" y="3"/>
                      </a:cubicBezTo>
                      <a:cubicBezTo>
                        <a:pt x="415" y="3"/>
                        <a:pt x="413" y="2"/>
                        <a:pt x="410" y="2"/>
                      </a:cubicBezTo>
                      <a:cubicBezTo>
                        <a:pt x="407" y="1"/>
                        <a:pt x="403" y="0"/>
                        <a:pt x="39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203"/>
                <p:cNvSpPr/>
                <p:nvPr/>
              </p:nvSpPr>
              <p:spPr bwMode="auto">
                <a:xfrm>
                  <a:off x="8704243" y="1341383"/>
                  <a:ext cx="213737" cy="128979"/>
                </a:xfrm>
                <a:custGeom>
                  <a:gdLst>
                    <a:gd name="T0" fmla="*/ 24 w 67"/>
                    <a:gd name="T1" fmla="*/ 0 h 40"/>
                    <a:gd name="T2" fmla="*/ 16 w 67"/>
                    <a:gd name="T3" fmla="*/ 2 h 40"/>
                    <a:gd name="T4" fmla="*/ 2 w 67"/>
                    <a:gd name="T5" fmla="*/ 18 h 40"/>
                    <a:gd name="T6" fmla="*/ 0 w 67"/>
                    <a:gd name="T7" fmla="*/ 26 h 40"/>
                    <a:gd name="T8" fmla="*/ 16 w 67"/>
                    <a:gd name="T9" fmla="*/ 40 h 40"/>
                    <a:gd name="T10" fmla="*/ 39 w 67"/>
                    <a:gd name="T11" fmla="*/ 33 h 40"/>
                    <a:gd name="T12" fmla="*/ 49 w 67"/>
                    <a:gd name="T13" fmla="*/ 26 h 40"/>
                    <a:gd name="T14" fmla="*/ 51 w 67"/>
                    <a:gd name="T15" fmla="*/ 22 h 40"/>
                    <a:gd name="T16" fmla="*/ 57 w 67"/>
                    <a:gd name="T17" fmla="*/ 18 h 40"/>
                    <a:gd name="T18" fmla="*/ 55 w 67"/>
                    <a:gd name="T19" fmla="*/ 26 h 40"/>
                    <a:gd name="T20" fmla="*/ 48 w 67"/>
                    <a:gd name="T21" fmla="*/ 9 h 40"/>
                    <a:gd name="T22" fmla="*/ 24 w 67"/>
                    <a:gd name="T23"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40">
                      <a:moveTo>
                        <a:pt x="24" y="0"/>
                      </a:moveTo>
                      <a:cubicBezTo>
                        <a:pt x="22" y="0"/>
                        <a:pt x="19" y="1"/>
                        <a:pt x="16" y="2"/>
                      </a:cubicBezTo>
                      <a:cubicBezTo>
                        <a:pt x="9" y="5"/>
                        <a:pt x="3" y="10"/>
                        <a:pt x="2" y="18"/>
                      </a:cubicBezTo>
                      <a:cubicBezTo>
                        <a:pt x="1" y="20"/>
                        <a:pt x="0" y="23"/>
                        <a:pt x="0" y="26"/>
                      </a:cubicBezTo>
                      <a:cubicBezTo>
                        <a:pt x="1" y="34"/>
                        <a:pt x="10" y="36"/>
                        <a:pt x="16" y="40"/>
                      </a:cubicBezTo>
                      <a:cubicBezTo>
                        <a:pt x="24" y="38"/>
                        <a:pt x="32" y="37"/>
                        <a:pt x="39" y="33"/>
                      </a:cubicBezTo>
                      <a:cubicBezTo>
                        <a:pt x="42" y="32"/>
                        <a:pt x="47" y="29"/>
                        <a:pt x="49" y="26"/>
                      </a:cubicBezTo>
                      <a:cubicBezTo>
                        <a:pt x="50" y="24"/>
                        <a:pt x="49" y="23"/>
                        <a:pt x="51" y="22"/>
                      </a:cubicBezTo>
                      <a:cubicBezTo>
                        <a:pt x="53" y="20"/>
                        <a:pt x="55" y="19"/>
                        <a:pt x="57" y="18"/>
                      </a:cubicBezTo>
                      <a:cubicBezTo>
                        <a:pt x="57" y="21"/>
                        <a:pt x="55" y="24"/>
                        <a:pt x="55" y="26"/>
                      </a:cubicBezTo>
                      <a:cubicBezTo>
                        <a:pt x="67" y="20"/>
                        <a:pt x="55" y="12"/>
                        <a:pt x="48" y="9"/>
                      </a:cubicBezTo>
                      <a:cubicBezTo>
                        <a:pt x="40" y="5"/>
                        <a:pt x="33"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204"/>
                <p:cNvSpPr>
                  <a:spLocks noEditPoints="1"/>
                </p:cNvSpPr>
                <p:nvPr/>
              </p:nvSpPr>
              <p:spPr bwMode="auto">
                <a:xfrm>
                  <a:off x="8991682" y="700173"/>
                  <a:ext cx="563823" cy="471695"/>
                </a:xfrm>
                <a:custGeom>
                  <a:gdLst>
                    <a:gd name="T0" fmla="*/ 29 w 177"/>
                    <a:gd name="T1" fmla="*/ 34 h 148"/>
                    <a:gd name="T2" fmla="*/ 67 w 177"/>
                    <a:gd name="T3" fmla="*/ 5 h 148"/>
                    <a:gd name="T4" fmla="*/ 49 w 177"/>
                    <a:gd name="T5" fmla="*/ 20 h 148"/>
                    <a:gd name="T6" fmla="*/ 46 w 177"/>
                    <a:gd name="T7" fmla="*/ 25 h 148"/>
                    <a:gd name="T8" fmla="*/ 31 w 177"/>
                    <a:gd name="T9" fmla="*/ 31 h 148"/>
                    <a:gd name="T10" fmla="*/ 42 w 177"/>
                    <a:gd name="T11" fmla="*/ 37 h 148"/>
                    <a:gd name="T12" fmla="*/ 47 w 177"/>
                    <a:gd name="T13" fmla="*/ 39 h 148"/>
                    <a:gd name="T14" fmla="*/ 38 w 177"/>
                    <a:gd name="T15" fmla="*/ 43 h 148"/>
                    <a:gd name="T16" fmla="*/ 47 w 177"/>
                    <a:gd name="T17" fmla="*/ 42 h 148"/>
                    <a:gd name="T18" fmla="*/ 38 w 177"/>
                    <a:gd name="T19" fmla="*/ 47 h 148"/>
                    <a:gd name="T20" fmla="*/ 32 w 177"/>
                    <a:gd name="T21" fmla="*/ 59 h 148"/>
                    <a:gd name="T22" fmla="*/ 29 w 177"/>
                    <a:gd name="T23" fmla="*/ 62 h 148"/>
                    <a:gd name="T24" fmla="*/ 28 w 177"/>
                    <a:gd name="T25" fmla="*/ 69 h 148"/>
                    <a:gd name="T26" fmla="*/ 14 w 177"/>
                    <a:gd name="T27" fmla="*/ 66 h 148"/>
                    <a:gd name="T28" fmla="*/ 0 w 177"/>
                    <a:gd name="T29" fmla="*/ 83 h 148"/>
                    <a:gd name="T30" fmla="*/ 23 w 177"/>
                    <a:gd name="T31" fmla="*/ 96 h 148"/>
                    <a:gd name="T32" fmla="*/ 28 w 177"/>
                    <a:gd name="T33" fmla="*/ 97 h 148"/>
                    <a:gd name="T34" fmla="*/ 42 w 177"/>
                    <a:gd name="T35" fmla="*/ 105 h 148"/>
                    <a:gd name="T36" fmla="*/ 49 w 177"/>
                    <a:gd name="T37" fmla="*/ 100 h 148"/>
                    <a:gd name="T38" fmla="*/ 53 w 177"/>
                    <a:gd name="T39" fmla="*/ 104 h 148"/>
                    <a:gd name="T40" fmla="*/ 62 w 177"/>
                    <a:gd name="T41" fmla="*/ 106 h 148"/>
                    <a:gd name="T42" fmla="*/ 59 w 177"/>
                    <a:gd name="T43" fmla="*/ 113 h 148"/>
                    <a:gd name="T44" fmla="*/ 72 w 177"/>
                    <a:gd name="T45" fmla="*/ 123 h 148"/>
                    <a:gd name="T46" fmla="*/ 63 w 177"/>
                    <a:gd name="T47" fmla="*/ 122 h 148"/>
                    <a:gd name="T48" fmla="*/ 62 w 177"/>
                    <a:gd name="T49" fmla="*/ 124 h 148"/>
                    <a:gd name="T50" fmla="*/ 65 w 177"/>
                    <a:gd name="T51" fmla="*/ 134 h 148"/>
                    <a:gd name="T52" fmla="*/ 54 w 177"/>
                    <a:gd name="T53" fmla="*/ 133 h 148"/>
                    <a:gd name="T54" fmla="*/ 93 w 177"/>
                    <a:gd name="T55" fmla="*/ 144 h 148"/>
                    <a:gd name="T56" fmla="*/ 98 w 177"/>
                    <a:gd name="T57" fmla="*/ 144 h 148"/>
                    <a:gd name="T58" fmla="*/ 108 w 177"/>
                    <a:gd name="T59" fmla="*/ 145 h 148"/>
                    <a:gd name="T60" fmla="*/ 117 w 177"/>
                    <a:gd name="T61" fmla="*/ 141 h 148"/>
                    <a:gd name="T62" fmla="*/ 130 w 177"/>
                    <a:gd name="T63" fmla="*/ 148 h 148"/>
                    <a:gd name="T64" fmla="*/ 145 w 177"/>
                    <a:gd name="T65" fmla="*/ 148 h 148"/>
                    <a:gd name="T66" fmla="*/ 137 w 177"/>
                    <a:gd name="T67" fmla="*/ 140 h 148"/>
                    <a:gd name="T68" fmla="*/ 152 w 177"/>
                    <a:gd name="T69" fmla="*/ 142 h 148"/>
                    <a:gd name="T70" fmla="*/ 171 w 177"/>
                    <a:gd name="T71" fmla="*/ 142 h 148"/>
                    <a:gd name="T72" fmla="*/ 168 w 177"/>
                    <a:gd name="T73" fmla="*/ 136 h 148"/>
                    <a:gd name="T74" fmla="*/ 118 w 177"/>
                    <a:gd name="T75" fmla="*/ 88 h 148"/>
                    <a:gd name="T76" fmla="*/ 114 w 177"/>
                    <a:gd name="T77" fmla="*/ 69 h 148"/>
                    <a:gd name="T78" fmla="*/ 113 w 177"/>
                    <a:gd name="T79" fmla="*/ 51 h 148"/>
                    <a:gd name="T80" fmla="*/ 115 w 177"/>
                    <a:gd name="T81" fmla="*/ 44 h 148"/>
                    <a:gd name="T82" fmla="*/ 115 w 177"/>
                    <a:gd name="T83" fmla="*/ 44 h 148"/>
                    <a:gd name="T84" fmla="*/ 127 w 177"/>
                    <a:gd name="T85" fmla="*/ 38 h 148"/>
                    <a:gd name="T86" fmla="*/ 115 w 177"/>
                    <a:gd name="T87" fmla="*/ 32 h 148"/>
                    <a:gd name="T88" fmla="*/ 123 w 177"/>
                    <a:gd name="T89" fmla="*/ 32 h 148"/>
                    <a:gd name="T90" fmla="*/ 129 w 177"/>
                    <a:gd name="T91" fmla="*/ 32 h 148"/>
                    <a:gd name="T92" fmla="*/ 138 w 177"/>
                    <a:gd name="T93" fmla="*/ 24 h 148"/>
                    <a:gd name="T94" fmla="*/ 130 w 177"/>
                    <a:gd name="T95" fmla="*/ 23 h 148"/>
                    <a:gd name="T96" fmla="*/ 134 w 177"/>
                    <a:gd name="T97" fmla="*/ 20 h 148"/>
                    <a:gd name="T98" fmla="*/ 139 w 177"/>
                    <a:gd name="T99" fmla="*/ 20 h 148"/>
                    <a:gd name="T100" fmla="*/ 130 w 177"/>
                    <a:gd name="T101" fmla="*/ 17 h 148"/>
                    <a:gd name="T102" fmla="*/ 147 w 177"/>
                    <a:gd name="T103" fmla="*/ 13 h 148"/>
                    <a:gd name="T104" fmla="*/ 88 w 177"/>
                    <a:gd name="T105" fmla="*/ 0 h 1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7" h="148">
                      <a:moveTo>
                        <a:pt x="29" y="34"/>
                      </a:moveTo>
                      <a:cubicBezTo>
                        <a:pt x="29" y="34"/>
                        <a:pt x="29" y="34"/>
                        <a:pt x="29" y="34"/>
                      </a:cubicBezTo>
                      <a:cubicBezTo>
                        <a:pt x="29" y="34"/>
                        <a:pt x="29" y="34"/>
                        <a:pt x="29" y="34"/>
                      </a:cubicBezTo>
                      <a:moveTo>
                        <a:pt x="88" y="0"/>
                      </a:moveTo>
                      <a:cubicBezTo>
                        <a:pt x="88" y="0"/>
                        <a:pt x="88" y="0"/>
                        <a:pt x="88" y="0"/>
                      </a:cubicBezTo>
                      <a:cubicBezTo>
                        <a:pt x="81" y="2"/>
                        <a:pt x="74" y="4"/>
                        <a:pt x="67" y="5"/>
                      </a:cubicBezTo>
                      <a:cubicBezTo>
                        <a:pt x="62" y="7"/>
                        <a:pt x="52" y="7"/>
                        <a:pt x="50" y="12"/>
                      </a:cubicBezTo>
                      <a:cubicBezTo>
                        <a:pt x="49" y="13"/>
                        <a:pt x="50" y="16"/>
                        <a:pt x="50" y="17"/>
                      </a:cubicBezTo>
                      <a:cubicBezTo>
                        <a:pt x="52" y="20"/>
                        <a:pt x="49" y="18"/>
                        <a:pt x="49" y="20"/>
                      </a:cubicBezTo>
                      <a:cubicBezTo>
                        <a:pt x="50" y="22"/>
                        <a:pt x="53" y="26"/>
                        <a:pt x="51" y="26"/>
                      </a:cubicBezTo>
                      <a:cubicBezTo>
                        <a:pt x="50" y="26"/>
                        <a:pt x="50" y="26"/>
                        <a:pt x="49" y="25"/>
                      </a:cubicBezTo>
                      <a:cubicBezTo>
                        <a:pt x="48" y="25"/>
                        <a:pt x="47" y="25"/>
                        <a:pt x="46" y="25"/>
                      </a:cubicBezTo>
                      <a:cubicBezTo>
                        <a:pt x="45" y="25"/>
                        <a:pt x="44" y="25"/>
                        <a:pt x="42" y="25"/>
                      </a:cubicBezTo>
                      <a:cubicBezTo>
                        <a:pt x="40" y="26"/>
                        <a:pt x="38" y="27"/>
                        <a:pt x="35" y="27"/>
                      </a:cubicBezTo>
                      <a:cubicBezTo>
                        <a:pt x="34" y="28"/>
                        <a:pt x="32" y="30"/>
                        <a:pt x="31" y="31"/>
                      </a:cubicBezTo>
                      <a:cubicBezTo>
                        <a:pt x="31" y="31"/>
                        <a:pt x="29" y="34"/>
                        <a:pt x="29" y="34"/>
                      </a:cubicBezTo>
                      <a:cubicBezTo>
                        <a:pt x="29" y="34"/>
                        <a:pt x="29" y="34"/>
                        <a:pt x="29" y="34"/>
                      </a:cubicBezTo>
                      <a:cubicBezTo>
                        <a:pt x="28" y="37"/>
                        <a:pt x="39" y="37"/>
                        <a:pt x="42" y="37"/>
                      </a:cubicBezTo>
                      <a:cubicBezTo>
                        <a:pt x="45" y="37"/>
                        <a:pt x="47" y="38"/>
                        <a:pt x="50" y="39"/>
                      </a:cubicBezTo>
                      <a:cubicBezTo>
                        <a:pt x="50" y="39"/>
                        <a:pt x="50" y="39"/>
                        <a:pt x="49" y="39"/>
                      </a:cubicBezTo>
                      <a:cubicBezTo>
                        <a:pt x="49" y="39"/>
                        <a:pt x="48" y="39"/>
                        <a:pt x="47" y="39"/>
                      </a:cubicBezTo>
                      <a:cubicBezTo>
                        <a:pt x="46" y="38"/>
                        <a:pt x="45" y="38"/>
                        <a:pt x="44" y="38"/>
                      </a:cubicBezTo>
                      <a:cubicBezTo>
                        <a:pt x="43" y="38"/>
                        <a:pt x="41" y="39"/>
                        <a:pt x="40" y="39"/>
                      </a:cubicBezTo>
                      <a:cubicBezTo>
                        <a:pt x="38" y="40"/>
                        <a:pt x="39" y="41"/>
                        <a:pt x="38" y="43"/>
                      </a:cubicBezTo>
                      <a:cubicBezTo>
                        <a:pt x="38" y="43"/>
                        <a:pt x="39" y="43"/>
                        <a:pt x="39" y="43"/>
                      </a:cubicBezTo>
                      <a:cubicBezTo>
                        <a:pt x="40" y="43"/>
                        <a:pt x="42" y="43"/>
                        <a:pt x="43" y="43"/>
                      </a:cubicBezTo>
                      <a:cubicBezTo>
                        <a:pt x="44" y="42"/>
                        <a:pt x="45" y="42"/>
                        <a:pt x="47" y="42"/>
                      </a:cubicBezTo>
                      <a:cubicBezTo>
                        <a:pt x="47" y="42"/>
                        <a:pt x="47" y="42"/>
                        <a:pt x="47" y="42"/>
                      </a:cubicBezTo>
                      <a:cubicBezTo>
                        <a:pt x="46" y="43"/>
                        <a:pt x="43" y="45"/>
                        <a:pt x="42" y="46"/>
                      </a:cubicBezTo>
                      <a:cubicBezTo>
                        <a:pt x="41" y="46"/>
                        <a:pt x="39" y="46"/>
                        <a:pt x="38" y="47"/>
                      </a:cubicBezTo>
                      <a:cubicBezTo>
                        <a:pt x="35" y="49"/>
                        <a:pt x="37" y="52"/>
                        <a:pt x="37" y="55"/>
                      </a:cubicBezTo>
                      <a:cubicBezTo>
                        <a:pt x="36" y="55"/>
                        <a:pt x="35" y="55"/>
                        <a:pt x="34" y="55"/>
                      </a:cubicBezTo>
                      <a:cubicBezTo>
                        <a:pt x="37" y="58"/>
                        <a:pt x="34" y="59"/>
                        <a:pt x="32" y="59"/>
                      </a:cubicBezTo>
                      <a:cubicBezTo>
                        <a:pt x="31" y="59"/>
                        <a:pt x="30" y="59"/>
                        <a:pt x="29" y="59"/>
                      </a:cubicBezTo>
                      <a:cubicBezTo>
                        <a:pt x="29" y="60"/>
                        <a:pt x="30" y="61"/>
                        <a:pt x="31" y="62"/>
                      </a:cubicBezTo>
                      <a:cubicBezTo>
                        <a:pt x="30" y="62"/>
                        <a:pt x="29" y="62"/>
                        <a:pt x="29" y="62"/>
                      </a:cubicBezTo>
                      <a:cubicBezTo>
                        <a:pt x="28" y="62"/>
                        <a:pt x="30" y="65"/>
                        <a:pt x="31" y="66"/>
                      </a:cubicBezTo>
                      <a:cubicBezTo>
                        <a:pt x="30" y="65"/>
                        <a:pt x="29" y="65"/>
                        <a:pt x="29" y="65"/>
                      </a:cubicBezTo>
                      <a:cubicBezTo>
                        <a:pt x="27" y="65"/>
                        <a:pt x="29" y="68"/>
                        <a:pt x="28" y="69"/>
                      </a:cubicBezTo>
                      <a:cubicBezTo>
                        <a:pt x="28" y="70"/>
                        <a:pt x="27" y="70"/>
                        <a:pt x="27" y="70"/>
                      </a:cubicBezTo>
                      <a:cubicBezTo>
                        <a:pt x="25" y="70"/>
                        <a:pt x="23" y="69"/>
                        <a:pt x="22" y="69"/>
                      </a:cubicBezTo>
                      <a:cubicBezTo>
                        <a:pt x="19" y="69"/>
                        <a:pt x="18" y="69"/>
                        <a:pt x="14" y="66"/>
                      </a:cubicBezTo>
                      <a:cubicBezTo>
                        <a:pt x="14" y="66"/>
                        <a:pt x="13" y="66"/>
                        <a:pt x="13" y="66"/>
                      </a:cubicBezTo>
                      <a:cubicBezTo>
                        <a:pt x="11" y="66"/>
                        <a:pt x="8" y="68"/>
                        <a:pt x="7" y="69"/>
                      </a:cubicBezTo>
                      <a:cubicBezTo>
                        <a:pt x="3" y="72"/>
                        <a:pt x="0" y="78"/>
                        <a:pt x="0" y="83"/>
                      </a:cubicBezTo>
                      <a:cubicBezTo>
                        <a:pt x="0" y="87"/>
                        <a:pt x="5" y="93"/>
                        <a:pt x="4" y="96"/>
                      </a:cubicBezTo>
                      <a:cubicBezTo>
                        <a:pt x="6" y="97"/>
                        <a:pt x="8" y="97"/>
                        <a:pt x="10" y="97"/>
                      </a:cubicBezTo>
                      <a:cubicBezTo>
                        <a:pt x="14" y="97"/>
                        <a:pt x="18" y="96"/>
                        <a:pt x="23" y="96"/>
                      </a:cubicBezTo>
                      <a:cubicBezTo>
                        <a:pt x="23" y="96"/>
                        <a:pt x="23" y="96"/>
                        <a:pt x="23" y="96"/>
                      </a:cubicBezTo>
                      <a:cubicBezTo>
                        <a:pt x="23" y="96"/>
                        <a:pt x="24" y="96"/>
                        <a:pt x="25" y="96"/>
                      </a:cubicBezTo>
                      <a:cubicBezTo>
                        <a:pt x="26" y="97"/>
                        <a:pt x="27" y="97"/>
                        <a:pt x="28" y="97"/>
                      </a:cubicBezTo>
                      <a:cubicBezTo>
                        <a:pt x="30" y="97"/>
                        <a:pt x="32" y="96"/>
                        <a:pt x="32" y="93"/>
                      </a:cubicBezTo>
                      <a:cubicBezTo>
                        <a:pt x="34" y="96"/>
                        <a:pt x="33" y="100"/>
                        <a:pt x="35" y="102"/>
                      </a:cubicBezTo>
                      <a:cubicBezTo>
                        <a:pt x="35" y="102"/>
                        <a:pt x="41" y="105"/>
                        <a:pt x="42" y="105"/>
                      </a:cubicBezTo>
                      <a:cubicBezTo>
                        <a:pt x="42" y="105"/>
                        <a:pt x="42" y="105"/>
                        <a:pt x="42" y="105"/>
                      </a:cubicBezTo>
                      <a:cubicBezTo>
                        <a:pt x="46" y="104"/>
                        <a:pt x="44" y="100"/>
                        <a:pt x="48" y="100"/>
                      </a:cubicBezTo>
                      <a:cubicBezTo>
                        <a:pt x="48" y="100"/>
                        <a:pt x="48" y="100"/>
                        <a:pt x="49" y="100"/>
                      </a:cubicBezTo>
                      <a:cubicBezTo>
                        <a:pt x="49" y="100"/>
                        <a:pt x="49" y="100"/>
                        <a:pt x="49" y="100"/>
                      </a:cubicBezTo>
                      <a:cubicBezTo>
                        <a:pt x="51" y="100"/>
                        <a:pt x="53" y="98"/>
                        <a:pt x="55" y="97"/>
                      </a:cubicBezTo>
                      <a:cubicBezTo>
                        <a:pt x="56" y="100"/>
                        <a:pt x="53" y="102"/>
                        <a:pt x="53" y="104"/>
                      </a:cubicBezTo>
                      <a:cubicBezTo>
                        <a:pt x="53" y="104"/>
                        <a:pt x="55" y="108"/>
                        <a:pt x="56" y="109"/>
                      </a:cubicBezTo>
                      <a:cubicBezTo>
                        <a:pt x="57" y="110"/>
                        <a:pt x="57" y="110"/>
                        <a:pt x="58" y="110"/>
                      </a:cubicBezTo>
                      <a:cubicBezTo>
                        <a:pt x="59" y="110"/>
                        <a:pt x="60" y="108"/>
                        <a:pt x="62" y="106"/>
                      </a:cubicBezTo>
                      <a:cubicBezTo>
                        <a:pt x="63" y="105"/>
                        <a:pt x="66" y="105"/>
                        <a:pt x="67" y="104"/>
                      </a:cubicBezTo>
                      <a:cubicBezTo>
                        <a:pt x="65" y="105"/>
                        <a:pt x="65" y="107"/>
                        <a:pt x="63" y="109"/>
                      </a:cubicBezTo>
                      <a:cubicBezTo>
                        <a:pt x="63" y="110"/>
                        <a:pt x="59" y="112"/>
                        <a:pt x="59" y="113"/>
                      </a:cubicBezTo>
                      <a:cubicBezTo>
                        <a:pt x="58" y="116"/>
                        <a:pt x="73" y="120"/>
                        <a:pt x="75" y="121"/>
                      </a:cubicBezTo>
                      <a:cubicBezTo>
                        <a:pt x="73" y="121"/>
                        <a:pt x="71" y="121"/>
                        <a:pt x="69" y="120"/>
                      </a:cubicBezTo>
                      <a:cubicBezTo>
                        <a:pt x="70" y="121"/>
                        <a:pt x="71" y="122"/>
                        <a:pt x="72" y="123"/>
                      </a:cubicBezTo>
                      <a:cubicBezTo>
                        <a:pt x="69" y="123"/>
                        <a:pt x="66" y="122"/>
                        <a:pt x="64" y="122"/>
                      </a:cubicBezTo>
                      <a:cubicBezTo>
                        <a:pt x="64" y="122"/>
                        <a:pt x="64" y="122"/>
                        <a:pt x="64" y="122"/>
                      </a:cubicBezTo>
                      <a:cubicBezTo>
                        <a:pt x="64" y="122"/>
                        <a:pt x="63" y="122"/>
                        <a:pt x="63" y="122"/>
                      </a:cubicBezTo>
                      <a:cubicBezTo>
                        <a:pt x="63" y="122"/>
                        <a:pt x="62" y="122"/>
                        <a:pt x="62" y="122"/>
                      </a:cubicBezTo>
                      <a:cubicBezTo>
                        <a:pt x="61" y="122"/>
                        <a:pt x="61" y="122"/>
                        <a:pt x="61" y="122"/>
                      </a:cubicBezTo>
                      <a:cubicBezTo>
                        <a:pt x="60" y="122"/>
                        <a:pt x="60" y="123"/>
                        <a:pt x="62" y="124"/>
                      </a:cubicBezTo>
                      <a:cubicBezTo>
                        <a:pt x="63" y="126"/>
                        <a:pt x="66" y="127"/>
                        <a:pt x="66" y="129"/>
                      </a:cubicBezTo>
                      <a:cubicBezTo>
                        <a:pt x="67" y="131"/>
                        <a:pt x="63" y="132"/>
                        <a:pt x="65" y="134"/>
                      </a:cubicBezTo>
                      <a:cubicBezTo>
                        <a:pt x="65" y="134"/>
                        <a:pt x="65" y="134"/>
                        <a:pt x="65" y="134"/>
                      </a:cubicBezTo>
                      <a:cubicBezTo>
                        <a:pt x="63" y="134"/>
                        <a:pt x="62" y="134"/>
                        <a:pt x="60" y="134"/>
                      </a:cubicBezTo>
                      <a:cubicBezTo>
                        <a:pt x="59" y="134"/>
                        <a:pt x="57" y="133"/>
                        <a:pt x="56" y="133"/>
                      </a:cubicBezTo>
                      <a:cubicBezTo>
                        <a:pt x="55" y="133"/>
                        <a:pt x="55" y="133"/>
                        <a:pt x="54" y="133"/>
                      </a:cubicBezTo>
                      <a:cubicBezTo>
                        <a:pt x="56" y="134"/>
                        <a:pt x="57" y="135"/>
                        <a:pt x="59" y="136"/>
                      </a:cubicBezTo>
                      <a:cubicBezTo>
                        <a:pt x="62" y="137"/>
                        <a:pt x="66" y="138"/>
                        <a:pt x="70" y="138"/>
                      </a:cubicBezTo>
                      <a:cubicBezTo>
                        <a:pt x="78" y="140"/>
                        <a:pt x="86" y="141"/>
                        <a:pt x="93" y="144"/>
                      </a:cubicBezTo>
                      <a:cubicBezTo>
                        <a:pt x="92" y="142"/>
                        <a:pt x="89" y="141"/>
                        <a:pt x="88" y="138"/>
                      </a:cubicBezTo>
                      <a:cubicBezTo>
                        <a:pt x="88" y="138"/>
                        <a:pt x="89" y="137"/>
                        <a:pt x="89" y="136"/>
                      </a:cubicBezTo>
                      <a:cubicBezTo>
                        <a:pt x="92" y="139"/>
                        <a:pt x="94" y="142"/>
                        <a:pt x="98" y="144"/>
                      </a:cubicBezTo>
                      <a:cubicBezTo>
                        <a:pt x="100" y="145"/>
                        <a:pt x="102" y="147"/>
                        <a:pt x="104" y="148"/>
                      </a:cubicBezTo>
                      <a:cubicBezTo>
                        <a:pt x="105" y="148"/>
                        <a:pt x="106" y="148"/>
                        <a:pt x="106" y="148"/>
                      </a:cubicBezTo>
                      <a:cubicBezTo>
                        <a:pt x="107" y="148"/>
                        <a:pt x="107" y="147"/>
                        <a:pt x="108" y="145"/>
                      </a:cubicBezTo>
                      <a:cubicBezTo>
                        <a:pt x="110" y="143"/>
                        <a:pt x="112" y="142"/>
                        <a:pt x="112" y="141"/>
                      </a:cubicBezTo>
                      <a:cubicBezTo>
                        <a:pt x="114" y="140"/>
                        <a:pt x="114" y="140"/>
                        <a:pt x="114" y="140"/>
                      </a:cubicBezTo>
                      <a:cubicBezTo>
                        <a:pt x="115" y="140"/>
                        <a:pt x="115" y="140"/>
                        <a:pt x="117" y="141"/>
                      </a:cubicBezTo>
                      <a:cubicBezTo>
                        <a:pt x="119" y="141"/>
                        <a:pt x="123" y="143"/>
                        <a:pt x="125" y="145"/>
                      </a:cubicBezTo>
                      <a:cubicBezTo>
                        <a:pt x="124" y="145"/>
                        <a:pt x="123" y="146"/>
                        <a:pt x="122" y="146"/>
                      </a:cubicBezTo>
                      <a:cubicBezTo>
                        <a:pt x="124" y="147"/>
                        <a:pt x="128" y="148"/>
                        <a:pt x="130" y="148"/>
                      </a:cubicBezTo>
                      <a:cubicBezTo>
                        <a:pt x="129" y="146"/>
                        <a:pt x="127" y="145"/>
                        <a:pt x="126" y="143"/>
                      </a:cubicBezTo>
                      <a:cubicBezTo>
                        <a:pt x="129" y="144"/>
                        <a:pt x="132" y="146"/>
                        <a:pt x="135" y="147"/>
                      </a:cubicBezTo>
                      <a:cubicBezTo>
                        <a:pt x="138" y="148"/>
                        <a:pt x="141" y="147"/>
                        <a:pt x="145" y="148"/>
                      </a:cubicBezTo>
                      <a:cubicBezTo>
                        <a:pt x="144" y="144"/>
                        <a:pt x="144" y="143"/>
                        <a:pt x="141" y="143"/>
                      </a:cubicBezTo>
                      <a:cubicBezTo>
                        <a:pt x="140" y="143"/>
                        <a:pt x="139" y="143"/>
                        <a:pt x="138" y="143"/>
                      </a:cubicBezTo>
                      <a:cubicBezTo>
                        <a:pt x="137" y="143"/>
                        <a:pt x="137" y="141"/>
                        <a:pt x="137" y="140"/>
                      </a:cubicBezTo>
                      <a:cubicBezTo>
                        <a:pt x="147" y="143"/>
                        <a:pt x="157" y="148"/>
                        <a:pt x="167" y="148"/>
                      </a:cubicBezTo>
                      <a:cubicBezTo>
                        <a:pt x="163" y="146"/>
                        <a:pt x="163" y="146"/>
                        <a:pt x="159" y="145"/>
                      </a:cubicBezTo>
                      <a:cubicBezTo>
                        <a:pt x="156" y="145"/>
                        <a:pt x="155" y="144"/>
                        <a:pt x="152" y="142"/>
                      </a:cubicBezTo>
                      <a:cubicBezTo>
                        <a:pt x="157" y="143"/>
                        <a:pt x="162" y="145"/>
                        <a:pt x="167" y="146"/>
                      </a:cubicBezTo>
                      <a:cubicBezTo>
                        <a:pt x="168" y="146"/>
                        <a:pt x="168" y="146"/>
                        <a:pt x="169" y="146"/>
                      </a:cubicBezTo>
                      <a:cubicBezTo>
                        <a:pt x="170" y="146"/>
                        <a:pt x="171" y="144"/>
                        <a:pt x="171" y="142"/>
                      </a:cubicBezTo>
                      <a:cubicBezTo>
                        <a:pt x="172" y="141"/>
                        <a:pt x="173" y="140"/>
                        <a:pt x="174" y="140"/>
                      </a:cubicBezTo>
                      <a:cubicBezTo>
                        <a:pt x="175" y="140"/>
                        <a:pt x="176" y="141"/>
                        <a:pt x="177" y="141"/>
                      </a:cubicBezTo>
                      <a:cubicBezTo>
                        <a:pt x="173" y="138"/>
                        <a:pt x="171" y="137"/>
                        <a:pt x="168" y="136"/>
                      </a:cubicBezTo>
                      <a:cubicBezTo>
                        <a:pt x="157" y="133"/>
                        <a:pt x="148" y="124"/>
                        <a:pt x="139" y="118"/>
                      </a:cubicBezTo>
                      <a:cubicBezTo>
                        <a:pt x="132" y="113"/>
                        <a:pt x="130" y="105"/>
                        <a:pt x="125" y="98"/>
                      </a:cubicBezTo>
                      <a:cubicBezTo>
                        <a:pt x="122" y="95"/>
                        <a:pt x="120" y="92"/>
                        <a:pt x="118" y="88"/>
                      </a:cubicBezTo>
                      <a:cubicBezTo>
                        <a:pt x="116" y="83"/>
                        <a:pt x="115" y="78"/>
                        <a:pt x="110" y="78"/>
                      </a:cubicBezTo>
                      <a:cubicBezTo>
                        <a:pt x="112" y="77"/>
                        <a:pt x="113" y="77"/>
                        <a:pt x="114" y="74"/>
                      </a:cubicBezTo>
                      <a:cubicBezTo>
                        <a:pt x="114" y="73"/>
                        <a:pt x="114" y="70"/>
                        <a:pt x="114" y="69"/>
                      </a:cubicBezTo>
                      <a:cubicBezTo>
                        <a:pt x="115" y="64"/>
                        <a:pt x="120" y="66"/>
                        <a:pt x="116" y="60"/>
                      </a:cubicBezTo>
                      <a:cubicBezTo>
                        <a:pt x="115" y="59"/>
                        <a:pt x="112" y="59"/>
                        <a:pt x="114" y="56"/>
                      </a:cubicBezTo>
                      <a:cubicBezTo>
                        <a:pt x="116" y="54"/>
                        <a:pt x="116" y="53"/>
                        <a:pt x="113" y="51"/>
                      </a:cubicBezTo>
                      <a:cubicBezTo>
                        <a:pt x="111" y="50"/>
                        <a:pt x="109" y="50"/>
                        <a:pt x="107" y="50"/>
                      </a:cubicBezTo>
                      <a:cubicBezTo>
                        <a:pt x="109" y="49"/>
                        <a:pt x="113" y="49"/>
                        <a:pt x="116" y="49"/>
                      </a:cubicBezTo>
                      <a:cubicBezTo>
                        <a:pt x="119" y="49"/>
                        <a:pt x="116" y="45"/>
                        <a:pt x="115" y="44"/>
                      </a:cubicBezTo>
                      <a:cubicBezTo>
                        <a:pt x="114" y="43"/>
                        <a:pt x="112" y="43"/>
                        <a:pt x="111" y="43"/>
                      </a:cubicBezTo>
                      <a:cubicBezTo>
                        <a:pt x="111" y="43"/>
                        <a:pt x="111" y="43"/>
                        <a:pt x="111" y="43"/>
                      </a:cubicBezTo>
                      <a:cubicBezTo>
                        <a:pt x="113" y="43"/>
                        <a:pt x="114" y="43"/>
                        <a:pt x="115" y="44"/>
                      </a:cubicBezTo>
                      <a:cubicBezTo>
                        <a:pt x="117" y="44"/>
                        <a:pt x="118" y="45"/>
                        <a:pt x="119" y="45"/>
                      </a:cubicBezTo>
                      <a:cubicBezTo>
                        <a:pt x="120" y="45"/>
                        <a:pt x="120" y="44"/>
                        <a:pt x="121" y="44"/>
                      </a:cubicBezTo>
                      <a:cubicBezTo>
                        <a:pt x="125" y="41"/>
                        <a:pt x="122" y="38"/>
                        <a:pt x="127" y="38"/>
                      </a:cubicBezTo>
                      <a:cubicBezTo>
                        <a:pt x="127" y="38"/>
                        <a:pt x="128" y="38"/>
                        <a:pt x="128" y="38"/>
                      </a:cubicBezTo>
                      <a:cubicBezTo>
                        <a:pt x="126" y="34"/>
                        <a:pt x="120" y="32"/>
                        <a:pt x="116" y="32"/>
                      </a:cubicBezTo>
                      <a:cubicBezTo>
                        <a:pt x="116" y="32"/>
                        <a:pt x="115" y="32"/>
                        <a:pt x="115" y="32"/>
                      </a:cubicBezTo>
                      <a:cubicBezTo>
                        <a:pt x="116" y="31"/>
                        <a:pt x="117" y="31"/>
                        <a:pt x="118" y="31"/>
                      </a:cubicBezTo>
                      <a:cubicBezTo>
                        <a:pt x="119" y="31"/>
                        <a:pt x="120" y="31"/>
                        <a:pt x="122" y="32"/>
                      </a:cubicBezTo>
                      <a:cubicBezTo>
                        <a:pt x="122" y="32"/>
                        <a:pt x="122" y="32"/>
                        <a:pt x="123" y="32"/>
                      </a:cubicBezTo>
                      <a:cubicBezTo>
                        <a:pt x="124" y="32"/>
                        <a:pt x="125" y="31"/>
                        <a:pt x="126" y="31"/>
                      </a:cubicBezTo>
                      <a:cubicBezTo>
                        <a:pt x="126" y="31"/>
                        <a:pt x="126" y="31"/>
                        <a:pt x="126" y="31"/>
                      </a:cubicBezTo>
                      <a:cubicBezTo>
                        <a:pt x="127" y="31"/>
                        <a:pt x="128" y="31"/>
                        <a:pt x="129" y="32"/>
                      </a:cubicBezTo>
                      <a:cubicBezTo>
                        <a:pt x="130" y="32"/>
                        <a:pt x="132" y="32"/>
                        <a:pt x="133" y="32"/>
                      </a:cubicBezTo>
                      <a:cubicBezTo>
                        <a:pt x="133" y="32"/>
                        <a:pt x="134" y="32"/>
                        <a:pt x="135" y="31"/>
                      </a:cubicBezTo>
                      <a:cubicBezTo>
                        <a:pt x="137" y="30"/>
                        <a:pt x="139" y="25"/>
                        <a:pt x="138" y="24"/>
                      </a:cubicBezTo>
                      <a:cubicBezTo>
                        <a:pt x="137" y="23"/>
                        <a:pt x="136" y="23"/>
                        <a:pt x="135" y="23"/>
                      </a:cubicBezTo>
                      <a:cubicBezTo>
                        <a:pt x="134" y="23"/>
                        <a:pt x="133" y="23"/>
                        <a:pt x="133" y="23"/>
                      </a:cubicBezTo>
                      <a:cubicBezTo>
                        <a:pt x="132" y="23"/>
                        <a:pt x="131" y="23"/>
                        <a:pt x="130" y="23"/>
                      </a:cubicBezTo>
                      <a:cubicBezTo>
                        <a:pt x="130" y="23"/>
                        <a:pt x="130" y="23"/>
                        <a:pt x="130" y="23"/>
                      </a:cubicBezTo>
                      <a:cubicBezTo>
                        <a:pt x="128" y="23"/>
                        <a:pt x="122" y="23"/>
                        <a:pt x="121" y="22"/>
                      </a:cubicBezTo>
                      <a:cubicBezTo>
                        <a:pt x="124" y="21"/>
                        <a:pt x="130" y="20"/>
                        <a:pt x="134" y="20"/>
                      </a:cubicBezTo>
                      <a:cubicBezTo>
                        <a:pt x="134" y="20"/>
                        <a:pt x="134" y="20"/>
                        <a:pt x="135" y="20"/>
                      </a:cubicBezTo>
                      <a:cubicBezTo>
                        <a:pt x="135" y="20"/>
                        <a:pt x="136" y="20"/>
                        <a:pt x="137" y="20"/>
                      </a:cubicBezTo>
                      <a:cubicBezTo>
                        <a:pt x="137" y="20"/>
                        <a:pt x="138" y="20"/>
                        <a:pt x="139" y="20"/>
                      </a:cubicBezTo>
                      <a:cubicBezTo>
                        <a:pt x="140" y="20"/>
                        <a:pt x="142" y="20"/>
                        <a:pt x="143" y="18"/>
                      </a:cubicBezTo>
                      <a:cubicBezTo>
                        <a:pt x="140" y="17"/>
                        <a:pt x="137" y="17"/>
                        <a:pt x="133" y="17"/>
                      </a:cubicBezTo>
                      <a:cubicBezTo>
                        <a:pt x="132" y="17"/>
                        <a:pt x="131" y="17"/>
                        <a:pt x="130" y="17"/>
                      </a:cubicBezTo>
                      <a:cubicBezTo>
                        <a:pt x="129" y="17"/>
                        <a:pt x="128" y="17"/>
                        <a:pt x="127" y="17"/>
                      </a:cubicBezTo>
                      <a:cubicBezTo>
                        <a:pt x="127" y="17"/>
                        <a:pt x="127" y="17"/>
                        <a:pt x="127" y="17"/>
                      </a:cubicBezTo>
                      <a:cubicBezTo>
                        <a:pt x="131" y="16"/>
                        <a:pt x="145" y="16"/>
                        <a:pt x="147" y="13"/>
                      </a:cubicBezTo>
                      <a:cubicBezTo>
                        <a:pt x="136" y="9"/>
                        <a:pt x="125" y="6"/>
                        <a:pt x="114" y="3"/>
                      </a:cubicBezTo>
                      <a:cubicBezTo>
                        <a:pt x="106" y="0"/>
                        <a:pt x="97" y="1"/>
                        <a:pt x="88" y="0"/>
                      </a:cubicBezTo>
                      <a:cubicBezTo>
                        <a:pt x="88" y="0"/>
                        <a:pt x="88" y="0"/>
                        <a:pt x="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0" name="Freeform 206"/>
              <p:cNvSpPr/>
              <p:nvPr/>
            </p:nvSpPr>
            <p:spPr bwMode="auto">
              <a:xfrm>
                <a:off x="12039273" y="445900"/>
                <a:ext cx="47906" cy="14740"/>
              </a:xfrm>
              <a:custGeom>
                <a:gdLst>
                  <a:gd name="T0" fmla="*/ 9 w 15"/>
                  <a:gd name="T1" fmla="*/ 0 h 4"/>
                  <a:gd name="T2" fmla="*/ 0 w 15"/>
                  <a:gd name="T3" fmla="*/ 4 h 4"/>
                  <a:gd name="T4" fmla="*/ 9 w 15"/>
                  <a:gd name="T5" fmla="*/ 4 h 4"/>
                  <a:gd name="T6" fmla="*/ 15 w 15"/>
                  <a:gd name="T7" fmla="*/ 4 h 4"/>
                  <a:gd name="T8" fmla="*/ 9 w 15"/>
                  <a:gd name="T9" fmla="*/ 0 h 4"/>
                </a:gdLst>
                <a:cxnLst>
                  <a:cxn ang="0">
                    <a:pos x="T0" y="T1"/>
                  </a:cxn>
                  <a:cxn ang="0">
                    <a:pos x="T2" y="T3"/>
                  </a:cxn>
                  <a:cxn ang="0">
                    <a:pos x="T4" y="T5"/>
                  </a:cxn>
                  <a:cxn ang="0">
                    <a:pos x="T6" y="T7"/>
                  </a:cxn>
                  <a:cxn ang="0">
                    <a:pos x="T8" y="T9"/>
                  </a:cxn>
                </a:cxnLst>
                <a:rect l="0" t="0" r="r" b="b"/>
                <a:pathLst>
                  <a:path w="15" h="4">
                    <a:moveTo>
                      <a:pt x="9" y="0"/>
                    </a:moveTo>
                    <a:cubicBezTo>
                      <a:pt x="6" y="1"/>
                      <a:pt x="2" y="1"/>
                      <a:pt x="0" y="4"/>
                    </a:cubicBezTo>
                    <a:cubicBezTo>
                      <a:pt x="2" y="4"/>
                      <a:pt x="6" y="4"/>
                      <a:pt x="9" y="4"/>
                    </a:cubicBezTo>
                    <a:cubicBezTo>
                      <a:pt x="11" y="4"/>
                      <a:pt x="13" y="4"/>
                      <a:pt x="15" y="4"/>
                    </a:cubicBezTo>
                    <a:cubicBezTo>
                      <a:pt x="13" y="0"/>
                      <a:pt x="13"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07"/>
              <p:cNvSpPr/>
              <p:nvPr/>
            </p:nvSpPr>
            <p:spPr bwMode="auto">
              <a:xfrm>
                <a:off x="9632892" y="1190293"/>
                <a:ext cx="184256" cy="125294"/>
              </a:xfrm>
              <a:custGeom>
                <a:gdLst>
                  <a:gd name="T0" fmla="*/ 15 w 58"/>
                  <a:gd name="T1" fmla="*/ 0 h 40"/>
                  <a:gd name="T2" fmla="*/ 10 w 58"/>
                  <a:gd name="T3" fmla="*/ 2 h 40"/>
                  <a:gd name="T4" fmla="*/ 8 w 58"/>
                  <a:gd name="T5" fmla="*/ 2 h 40"/>
                  <a:gd name="T6" fmla="*/ 8 w 58"/>
                  <a:gd name="T7" fmla="*/ 3 h 40"/>
                  <a:gd name="T8" fmla="*/ 1 w 58"/>
                  <a:gd name="T9" fmla="*/ 6 h 40"/>
                  <a:gd name="T10" fmla="*/ 9 w 58"/>
                  <a:gd name="T11" fmla="*/ 13 h 40"/>
                  <a:gd name="T12" fmla="*/ 5 w 58"/>
                  <a:gd name="T13" fmla="*/ 11 h 40"/>
                  <a:gd name="T14" fmla="*/ 4 w 58"/>
                  <a:gd name="T15" fmla="*/ 11 h 40"/>
                  <a:gd name="T16" fmla="*/ 2 w 58"/>
                  <a:gd name="T17" fmla="*/ 18 h 40"/>
                  <a:gd name="T18" fmla="*/ 17 w 58"/>
                  <a:gd name="T19" fmla="*/ 31 h 40"/>
                  <a:gd name="T20" fmla="*/ 14 w 58"/>
                  <a:gd name="T21" fmla="*/ 27 h 40"/>
                  <a:gd name="T22" fmla="*/ 24 w 58"/>
                  <a:gd name="T23" fmla="*/ 30 h 40"/>
                  <a:gd name="T24" fmla="*/ 32 w 58"/>
                  <a:gd name="T25" fmla="*/ 35 h 40"/>
                  <a:gd name="T26" fmla="*/ 34 w 58"/>
                  <a:gd name="T27" fmla="*/ 38 h 40"/>
                  <a:gd name="T28" fmla="*/ 38 w 58"/>
                  <a:gd name="T29" fmla="*/ 39 h 40"/>
                  <a:gd name="T30" fmla="*/ 41 w 58"/>
                  <a:gd name="T31" fmla="*/ 40 h 40"/>
                  <a:gd name="T32" fmla="*/ 41 w 58"/>
                  <a:gd name="T33" fmla="*/ 40 h 40"/>
                  <a:gd name="T34" fmla="*/ 42 w 58"/>
                  <a:gd name="T35" fmla="*/ 39 h 40"/>
                  <a:gd name="T36" fmla="*/ 45 w 58"/>
                  <a:gd name="T37" fmla="*/ 38 h 40"/>
                  <a:gd name="T38" fmla="*/ 46 w 58"/>
                  <a:gd name="T39" fmla="*/ 38 h 40"/>
                  <a:gd name="T40" fmla="*/ 50 w 58"/>
                  <a:gd name="T41" fmla="*/ 39 h 40"/>
                  <a:gd name="T42" fmla="*/ 51 w 58"/>
                  <a:gd name="T43" fmla="*/ 39 h 40"/>
                  <a:gd name="T44" fmla="*/ 56 w 58"/>
                  <a:gd name="T45" fmla="*/ 30 h 40"/>
                  <a:gd name="T46" fmla="*/ 53 w 58"/>
                  <a:gd name="T47" fmla="*/ 25 h 40"/>
                  <a:gd name="T48" fmla="*/ 19 w 58"/>
                  <a:gd name="T49" fmla="*/ 1 h 40"/>
                  <a:gd name="T50" fmla="*/ 15 w 58"/>
                  <a:gd name="T51"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 h="40">
                    <a:moveTo>
                      <a:pt x="15" y="0"/>
                    </a:moveTo>
                    <a:cubicBezTo>
                      <a:pt x="14" y="0"/>
                      <a:pt x="12" y="0"/>
                      <a:pt x="10" y="2"/>
                    </a:cubicBezTo>
                    <a:cubicBezTo>
                      <a:pt x="10" y="2"/>
                      <a:pt x="9" y="2"/>
                      <a:pt x="8" y="2"/>
                    </a:cubicBezTo>
                    <a:cubicBezTo>
                      <a:pt x="7" y="2"/>
                      <a:pt x="8" y="3"/>
                      <a:pt x="8" y="3"/>
                    </a:cubicBezTo>
                    <a:cubicBezTo>
                      <a:pt x="6" y="4"/>
                      <a:pt x="4" y="5"/>
                      <a:pt x="1" y="6"/>
                    </a:cubicBezTo>
                    <a:cubicBezTo>
                      <a:pt x="4" y="8"/>
                      <a:pt x="7" y="10"/>
                      <a:pt x="9" y="13"/>
                    </a:cubicBezTo>
                    <a:cubicBezTo>
                      <a:pt x="8" y="12"/>
                      <a:pt x="6" y="11"/>
                      <a:pt x="5" y="11"/>
                    </a:cubicBezTo>
                    <a:cubicBezTo>
                      <a:pt x="4" y="11"/>
                      <a:pt x="4" y="11"/>
                      <a:pt x="4" y="11"/>
                    </a:cubicBezTo>
                    <a:cubicBezTo>
                      <a:pt x="0" y="11"/>
                      <a:pt x="1" y="14"/>
                      <a:pt x="2" y="18"/>
                    </a:cubicBezTo>
                    <a:cubicBezTo>
                      <a:pt x="4" y="24"/>
                      <a:pt x="12" y="29"/>
                      <a:pt x="17" y="31"/>
                    </a:cubicBezTo>
                    <a:cubicBezTo>
                      <a:pt x="16" y="29"/>
                      <a:pt x="14" y="28"/>
                      <a:pt x="14" y="27"/>
                    </a:cubicBezTo>
                    <a:cubicBezTo>
                      <a:pt x="17" y="27"/>
                      <a:pt x="21" y="28"/>
                      <a:pt x="24" y="30"/>
                    </a:cubicBezTo>
                    <a:cubicBezTo>
                      <a:pt x="26" y="31"/>
                      <a:pt x="33" y="32"/>
                      <a:pt x="32" y="35"/>
                    </a:cubicBezTo>
                    <a:cubicBezTo>
                      <a:pt x="31" y="38"/>
                      <a:pt x="32" y="38"/>
                      <a:pt x="34" y="38"/>
                    </a:cubicBezTo>
                    <a:cubicBezTo>
                      <a:pt x="35" y="39"/>
                      <a:pt x="37" y="39"/>
                      <a:pt x="38" y="39"/>
                    </a:cubicBezTo>
                    <a:cubicBezTo>
                      <a:pt x="39" y="39"/>
                      <a:pt x="40" y="40"/>
                      <a:pt x="41" y="40"/>
                    </a:cubicBezTo>
                    <a:cubicBezTo>
                      <a:pt x="41" y="40"/>
                      <a:pt x="41" y="40"/>
                      <a:pt x="41" y="40"/>
                    </a:cubicBezTo>
                    <a:cubicBezTo>
                      <a:pt x="42" y="40"/>
                      <a:pt x="41" y="39"/>
                      <a:pt x="42" y="39"/>
                    </a:cubicBezTo>
                    <a:cubicBezTo>
                      <a:pt x="43" y="39"/>
                      <a:pt x="44" y="38"/>
                      <a:pt x="45" y="38"/>
                    </a:cubicBezTo>
                    <a:cubicBezTo>
                      <a:pt x="45" y="38"/>
                      <a:pt x="45" y="38"/>
                      <a:pt x="46" y="38"/>
                    </a:cubicBezTo>
                    <a:cubicBezTo>
                      <a:pt x="48" y="39"/>
                      <a:pt x="48" y="39"/>
                      <a:pt x="50" y="39"/>
                    </a:cubicBezTo>
                    <a:cubicBezTo>
                      <a:pt x="50" y="39"/>
                      <a:pt x="51" y="39"/>
                      <a:pt x="51" y="39"/>
                    </a:cubicBezTo>
                    <a:cubicBezTo>
                      <a:pt x="58" y="38"/>
                      <a:pt x="56" y="36"/>
                      <a:pt x="56" y="30"/>
                    </a:cubicBezTo>
                    <a:cubicBezTo>
                      <a:pt x="55" y="27"/>
                      <a:pt x="55" y="27"/>
                      <a:pt x="53" y="25"/>
                    </a:cubicBezTo>
                    <a:cubicBezTo>
                      <a:pt x="41" y="18"/>
                      <a:pt x="30" y="10"/>
                      <a:pt x="19" y="1"/>
                    </a:cubicBezTo>
                    <a:cubicBezTo>
                      <a:pt x="18"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208"/>
              <p:cNvSpPr/>
              <p:nvPr/>
            </p:nvSpPr>
            <p:spPr bwMode="auto">
              <a:xfrm>
                <a:off x="9069070" y="1035518"/>
                <a:ext cx="88443" cy="70017"/>
              </a:xfrm>
              <a:custGeom>
                <a:gdLst>
                  <a:gd name="T0" fmla="*/ 11 w 28"/>
                  <a:gd name="T1" fmla="*/ 0 h 22"/>
                  <a:gd name="T2" fmla="*/ 0 w 28"/>
                  <a:gd name="T3" fmla="*/ 3 h 22"/>
                  <a:gd name="T4" fmla="*/ 22 w 28"/>
                  <a:gd name="T5" fmla="*/ 21 h 22"/>
                  <a:gd name="T6" fmla="*/ 24 w 28"/>
                  <a:gd name="T7" fmla="*/ 22 h 22"/>
                  <a:gd name="T8" fmla="*/ 24 w 28"/>
                  <a:gd name="T9" fmla="*/ 18 h 22"/>
                  <a:gd name="T10" fmla="*/ 26 w 28"/>
                  <a:gd name="T11" fmla="*/ 15 h 22"/>
                  <a:gd name="T12" fmla="*/ 28 w 28"/>
                  <a:gd name="T13" fmla="*/ 8 h 22"/>
                  <a:gd name="T14" fmla="*/ 19 w 28"/>
                  <a:gd name="T15" fmla="*/ 6 h 22"/>
                  <a:gd name="T16" fmla="*/ 15 w 28"/>
                  <a:gd name="T17" fmla="*/ 1 h 22"/>
                  <a:gd name="T18" fmla="*/ 22 w 28"/>
                  <a:gd name="T19" fmla="*/ 6 h 22"/>
                  <a:gd name="T20" fmla="*/ 11 w 28"/>
                  <a:gd name="T21"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2">
                    <a:moveTo>
                      <a:pt x="11" y="0"/>
                    </a:moveTo>
                    <a:cubicBezTo>
                      <a:pt x="7" y="0"/>
                      <a:pt x="3" y="1"/>
                      <a:pt x="0" y="3"/>
                    </a:cubicBezTo>
                    <a:cubicBezTo>
                      <a:pt x="6" y="10"/>
                      <a:pt x="14" y="15"/>
                      <a:pt x="22" y="21"/>
                    </a:cubicBezTo>
                    <a:cubicBezTo>
                      <a:pt x="22" y="22"/>
                      <a:pt x="23" y="22"/>
                      <a:pt x="24" y="22"/>
                    </a:cubicBezTo>
                    <a:cubicBezTo>
                      <a:pt x="25" y="22"/>
                      <a:pt x="25" y="20"/>
                      <a:pt x="24" y="18"/>
                    </a:cubicBezTo>
                    <a:cubicBezTo>
                      <a:pt x="23" y="15"/>
                      <a:pt x="25" y="17"/>
                      <a:pt x="26" y="15"/>
                    </a:cubicBezTo>
                    <a:cubicBezTo>
                      <a:pt x="27" y="14"/>
                      <a:pt x="28" y="11"/>
                      <a:pt x="28" y="8"/>
                    </a:cubicBezTo>
                    <a:cubicBezTo>
                      <a:pt x="27" y="7"/>
                      <a:pt x="21" y="6"/>
                      <a:pt x="19" y="6"/>
                    </a:cubicBezTo>
                    <a:cubicBezTo>
                      <a:pt x="16" y="4"/>
                      <a:pt x="16" y="4"/>
                      <a:pt x="15" y="1"/>
                    </a:cubicBezTo>
                    <a:cubicBezTo>
                      <a:pt x="18" y="2"/>
                      <a:pt x="19" y="5"/>
                      <a:pt x="22" y="6"/>
                    </a:cubicBezTo>
                    <a:cubicBezTo>
                      <a:pt x="20" y="1"/>
                      <a:pt x="16"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209"/>
              <p:cNvSpPr/>
              <p:nvPr/>
            </p:nvSpPr>
            <p:spPr bwMode="auto">
              <a:xfrm>
                <a:off x="10657354" y="678062"/>
                <a:ext cx="169515" cy="81073"/>
              </a:xfrm>
              <a:custGeom>
                <a:gdLst>
                  <a:gd name="T0" fmla="*/ 31 w 54"/>
                  <a:gd name="T1" fmla="*/ 0 h 26"/>
                  <a:gd name="T2" fmla="*/ 30 w 54"/>
                  <a:gd name="T3" fmla="*/ 0 h 26"/>
                  <a:gd name="T4" fmla="*/ 5 w 54"/>
                  <a:gd name="T5" fmla="*/ 5 h 26"/>
                  <a:gd name="T6" fmla="*/ 5 w 54"/>
                  <a:gd name="T7" fmla="*/ 16 h 26"/>
                  <a:gd name="T8" fmla="*/ 2 w 54"/>
                  <a:gd name="T9" fmla="*/ 23 h 26"/>
                  <a:gd name="T10" fmla="*/ 4 w 54"/>
                  <a:gd name="T11" fmla="*/ 26 h 26"/>
                  <a:gd name="T12" fmla="*/ 5 w 54"/>
                  <a:gd name="T13" fmla="*/ 26 h 26"/>
                  <a:gd name="T14" fmla="*/ 9 w 54"/>
                  <a:gd name="T15" fmla="*/ 23 h 26"/>
                  <a:gd name="T16" fmla="*/ 13 w 54"/>
                  <a:gd name="T17" fmla="*/ 25 h 26"/>
                  <a:gd name="T18" fmla="*/ 23 w 54"/>
                  <a:gd name="T19" fmla="*/ 22 h 26"/>
                  <a:gd name="T20" fmla="*/ 37 w 54"/>
                  <a:gd name="T21" fmla="*/ 20 h 26"/>
                  <a:gd name="T22" fmla="*/ 44 w 54"/>
                  <a:gd name="T23" fmla="*/ 18 h 26"/>
                  <a:gd name="T24" fmla="*/ 45 w 54"/>
                  <a:gd name="T25" fmla="*/ 18 h 26"/>
                  <a:gd name="T26" fmla="*/ 48 w 54"/>
                  <a:gd name="T27" fmla="*/ 18 h 26"/>
                  <a:gd name="T28" fmla="*/ 50 w 54"/>
                  <a:gd name="T29" fmla="*/ 18 h 26"/>
                  <a:gd name="T30" fmla="*/ 52 w 54"/>
                  <a:gd name="T31" fmla="*/ 17 h 26"/>
                  <a:gd name="T32" fmla="*/ 47 w 54"/>
                  <a:gd name="T33" fmla="*/ 10 h 26"/>
                  <a:gd name="T34" fmla="*/ 45 w 54"/>
                  <a:gd name="T35" fmla="*/ 10 h 26"/>
                  <a:gd name="T36" fmla="*/ 43 w 54"/>
                  <a:gd name="T37" fmla="*/ 10 h 26"/>
                  <a:gd name="T38" fmla="*/ 41 w 54"/>
                  <a:gd name="T39" fmla="*/ 11 h 26"/>
                  <a:gd name="T40" fmla="*/ 38 w 54"/>
                  <a:gd name="T41" fmla="*/ 9 h 26"/>
                  <a:gd name="T42" fmla="*/ 36 w 54"/>
                  <a:gd name="T43" fmla="*/ 4 h 26"/>
                  <a:gd name="T44" fmla="*/ 38 w 54"/>
                  <a:gd name="T45" fmla="*/ 3 h 26"/>
                  <a:gd name="T46" fmla="*/ 39 w 54"/>
                  <a:gd name="T47" fmla="*/ 3 h 26"/>
                  <a:gd name="T48" fmla="*/ 40 w 54"/>
                  <a:gd name="T49" fmla="*/ 3 h 26"/>
                  <a:gd name="T50" fmla="*/ 40 w 54"/>
                  <a:gd name="T51" fmla="*/ 3 h 26"/>
                  <a:gd name="T52" fmla="*/ 31 w 54"/>
                  <a:gd name="T53"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26">
                    <a:moveTo>
                      <a:pt x="31" y="0"/>
                    </a:moveTo>
                    <a:cubicBezTo>
                      <a:pt x="31" y="0"/>
                      <a:pt x="31" y="0"/>
                      <a:pt x="30" y="0"/>
                    </a:cubicBezTo>
                    <a:cubicBezTo>
                      <a:pt x="22" y="1"/>
                      <a:pt x="13" y="3"/>
                      <a:pt x="5" y="5"/>
                    </a:cubicBezTo>
                    <a:cubicBezTo>
                      <a:pt x="5" y="8"/>
                      <a:pt x="5" y="12"/>
                      <a:pt x="5" y="16"/>
                    </a:cubicBezTo>
                    <a:cubicBezTo>
                      <a:pt x="5" y="19"/>
                      <a:pt x="3" y="20"/>
                      <a:pt x="2" y="23"/>
                    </a:cubicBezTo>
                    <a:cubicBezTo>
                      <a:pt x="0" y="25"/>
                      <a:pt x="2" y="25"/>
                      <a:pt x="4" y="26"/>
                    </a:cubicBezTo>
                    <a:cubicBezTo>
                      <a:pt x="5" y="26"/>
                      <a:pt x="5" y="26"/>
                      <a:pt x="5" y="26"/>
                    </a:cubicBezTo>
                    <a:cubicBezTo>
                      <a:pt x="7" y="26"/>
                      <a:pt x="8" y="25"/>
                      <a:pt x="9" y="23"/>
                    </a:cubicBezTo>
                    <a:cubicBezTo>
                      <a:pt x="10" y="25"/>
                      <a:pt x="11" y="25"/>
                      <a:pt x="13" y="25"/>
                    </a:cubicBezTo>
                    <a:cubicBezTo>
                      <a:pt x="16" y="25"/>
                      <a:pt x="21" y="23"/>
                      <a:pt x="23" y="22"/>
                    </a:cubicBezTo>
                    <a:cubicBezTo>
                      <a:pt x="28" y="20"/>
                      <a:pt x="32" y="21"/>
                      <a:pt x="37" y="20"/>
                    </a:cubicBezTo>
                    <a:cubicBezTo>
                      <a:pt x="40" y="20"/>
                      <a:pt x="42" y="18"/>
                      <a:pt x="44" y="18"/>
                    </a:cubicBezTo>
                    <a:cubicBezTo>
                      <a:pt x="45" y="18"/>
                      <a:pt x="45" y="18"/>
                      <a:pt x="45" y="18"/>
                    </a:cubicBezTo>
                    <a:cubicBezTo>
                      <a:pt x="46" y="18"/>
                      <a:pt x="47" y="18"/>
                      <a:pt x="48" y="18"/>
                    </a:cubicBezTo>
                    <a:cubicBezTo>
                      <a:pt x="48" y="18"/>
                      <a:pt x="49" y="18"/>
                      <a:pt x="50" y="18"/>
                    </a:cubicBezTo>
                    <a:cubicBezTo>
                      <a:pt x="51" y="18"/>
                      <a:pt x="51" y="18"/>
                      <a:pt x="52" y="17"/>
                    </a:cubicBezTo>
                    <a:cubicBezTo>
                      <a:pt x="54" y="16"/>
                      <a:pt x="48" y="11"/>
                      <a:pt x="47" y="10"/>
                    </a:cubicBezTo>
                    <a:cubicBezTo>
                      <a:pt x="47" y="10"/>
                      <a:pt x="46" y="10"/>
                      <a:pt x="45" y="10"/>
                    </a:cubicBezTo>
                    <a:cubicBezTo>
                      <a:pt x="45" y="10"/>
                      <a:pt x="44" y="10"/>
                      <a:pt x="43" y="10"/>
                    </a:cubicBezTo>
                    <a:cubicBezTo>
                      <a:pt x="43" y="10"/>
                      <a:pt x="42" y="11"/>
                      <a:pt x="41" y="11"/>
                    </a:cubicBezTo>
                    <a:cubicBezTo>
                      <a:pt x="41" y="11"/>
                      <a:pt x="40" y="10"/>
                      <a:pt x="38" y="9"/>
                    </a:cubicBezTo>
                    <a:cubicBezTo>
                      <a:pt x="36" y="4"/>
                      <a:pt x="36" y="4"/>
                      <a:pt x="36" y="4"/>
                    </a:cubicBezTo>
                    <a:cubicBezTo>
                      <a:pt x="36" y="3"/>
                      <a:pt x="37" y="3"/>
                      <a:pt x="38" y="3"/>
                    </a:cubicBezTo>
                    <a:cubicBezTo>
                      <a:pt x="38" y="3"/>
                      <a:pt x="38" y="3"/>
                      <a:pt x="39" y="3"/>
                    </a:cubicBezTo>
                    <a:cubicBezTo>
                      <a:pt x="39" y="3"/>
                      <a:pt x="39" y="3"/>
                      <a:pt x="40" y="3"/>
                    </a:cubicBezTo>
                    <a:cubicBezTo>
                      <a:pt x="40" y="3"/>
                      <a:pt x="40" y="3"/>
                      <a:pt x="40" y="3"/>
                    </a:cubicBezTo>
                    <a:cubicBezTo>
                      <a:pt x="38" y="1"/>
                      <a:pt x="35"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10"/>
              <p:cNvSpPr/>
              <p:nvPr/>
            </p:nvSpPr>
            <p:spPr bwMode="auto">
              <a:xfrm>
                <a:off x="10465728" y="6710596"/>
                <a:ext cx="18426" cy="25796"/>
              </a:xfrm>
              <a:custGeom>
                <a:gdLst>
                  <a:gd name="T0" fmla="*/ 1 w 6"/>
                  <a:gd name="T1" fmla="*/ 0 h 8"/>
                  <a:gd name="T2" fmla="*/ 2 w 6"/>
                  <a:gd name="T3" fmla="*/ 2 h 8"/>
                  <a:gd name="T4" fmla="*/ 0 w 6"/>
                  <a:gd name="T5" fmla="*/ 1 h 8"/>
                  <a:gd name="T6" fmla="*/ 0 w 6"/>
                  <a:gd name="T7" fmla="*/ 8 h 8"/>
                  <a:gd name="T8" fmla="*/ 5 w 6"/>
                  <a:gd name="T9" fmla="*/ 2 h 8"/>
                  <a:gd name="T10" fmla="*/ 2 w 6"/>
                  <a:gd name="T11" fmla="*/ 2 h 8"/>
                  <a:gd name="T12" fmla="*/ 5 w 6"/>
                  <a:gd name="T13" fmla="*/ 2 h 8"/>
                  <a:gd name="T14" fmla="*/ 6 w 6"/>
                  <a:gd name="T15" fmla="*/ 2 h 8"/>
                  <a:gd name="T16" fmla="*/ 1 w 6"/>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1" y="0"/>
                    </a:moveTo>
                    <a:cubicBezTo>
                      <a:pt x="1" y="1"/>
                      <a:pt x="1" y="1"/>
                      <a:pt x="2" y="2"/>
                    </a:cubicBezTo>
                    <a:cubicBezTo>
                      <a:pt x="1" y="1"/>
                      <a:pt x="1" y="1"/>
                      <a:pt x="0" y="1"/>
                    </a:cubicBezTo>
                    <a:cubicBezTo>
                      <a:pt x="0" y="3"/>
                      <a:pt x="0" y="5"/>
                      <a:pt x="0" y="8"/>
                    </a:cubicBezTo>
                    <a:cubicBezTo>
                      <a:pt x="5" y="7"/>
                      <a:pt x="2" y="5"/>
                      <a:pt x="5" y="2"/>
                    </a:cubicBezTo>
                    <a:cubicBezTo>
                      <a:pt x="4" y="2"/>
                      <a:pt x="3" y="2"/>
                      <a:pt x="2" y="2"/>
                    </a:cubicBezTo>
                    <a:cubicBezTo>
                      <a:pt x="3" y="2"/>
                      <a:pt x="4" y="2"/>
                      <a:pt x="5" y="2"/>
                    </a:cubicBezTo>
                    <a:cubicBezTo>
                      <a:pt x="5" y="2"/>
                      <a:pt x="5" y="2"/>
                      <a:pt x="6" y="2"/>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211"/>
              <p:cNvSpPr/>
              <p:nvPr/>
            </p:nvSpPr>
            <p:spPr bwMode="auto">
              <a:xfrm>
                <a:off x="10443618" y="6710596"/>
                <a:ext cx="18426" cy="18426"/>
              </a:xfrm>
              <a:custGeom>
                <a:gdLst>
                  <a:gd name="T0" fmla="*/ 5 w 5"/>
                  <a:gd name="T1" fmla="*/ 0 h 6"/>
                  <a:gd name="T2" fmla="*/ 0 w 5"/>
                  <a:gd name="T3" fmla="*/ 4 h 6"/>
                  <a:gd name="T4" fmla="*/ 2 w 5"/>
                  <a:gd name="T5" fmla="*/ 6 h 6"/>
                  <a:gd name="T6" fmla="*/ 5 w 5"/>
                  <a:gd name="T7" fmla="*/ 5 h 6"/>
                  <a:gd name="T8" fmla="*/ 5 w 5"/>
                  <a:gd name="T9" fmla="*/ 0 h 6"/>
                </a:gdLst>
                <a:cxnLst>
                  <a:cxn ang="0">
                    <a:pos x="T0" y="T1"/>
                  </a:cxn>
                  <a:cxn ang="0">
                    <a:pos x="T2" y="T3"/>
                  </a:cxn>
                  <a:cxn ang="0">
                    <a:pos x="T4" y="T5"/>
                  </a:cxn>
                  <a:cxn ang="0">
                    <a:pos x="T6" y="T7"/>
                  </a:cxn>
                  <a:cxn ang="0">
                    <a:pos x="T8" y="T9"/>
                  </a:cxn>
                </a:cxnLst>
                <a:rect l="0" t="0" r="r" b="b"/>
                <a:pathLst>
                  <a:path w="5" h="6">
                    <a:moveTo>
                      <a:pt x="5" y="0"/>
                    </a:moveTo>
                    <a:cubicBezTo>
                      <a:pt x="3" y="2"/>
                      <a:pt x="0" y="1"/>
                      <a:pt x="0" y="4"/>
                    </a:cubicBezTo>
                    <a:cubicBezTo>
                      <a:pt x="0" y="5"/>
                      <a:pt x="1" y="6"/>
                      <a:pt x="2" y="6"/>
                    </a:cubicBezTo>
                    <a:cubicBezTo>
                      <a:pt x="3" y="6"/>
                      <a:pt x="4" y="6"/>
                      <a:pt x="5" y="5"/>
                    </a:cubicBezTo>
                    <a:cubicBezTo>
                      <a:pt x="5" y="3"/>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212"/>
              <p:cNvSpPr/>
              <p:nvPr/>
            </p:nvSpPr>
            <p:spPr bwMode="auto">
              <a:xfrm>
                <a:off x="10473099" y="6714281"/>
                <a:ext cx="22111" cy="22111"/>
              </a:xfrm>
              <a:custGeom>
                <a:gdLst>
                  <a:gd name="T0" fmla="*/ 6 w 7"/>
                  <a:gd name="T1" fmla="*/ 0 h 7"/>
                  <a:gd name="T2" fmla="*/ 6 w 7"/>
                  <a:gd name="T3" fmla="*/ 7 h 7"/>
                  <a:gd name="T4" fmla="*/ 6 w 7"/>
                  <a:gd name="T5" fmla="*/ 0 h 7"/>
                </a:gdLst>
                <a:cxnLst>
                  <a:cxn ang="0">
                    <a:pos x="T0" y="T1"/>
                  </a:cxn>
                  <a:cxn ang="0">
                    <a:pos x="T2" y="T3"/>
                  </a:cxn>
                  <a:cxn ang="0">
                    <a:pos x="T4" y="T5"/>
                  </a:cxn>
                </a:cxnLst>
                <a:rect l="0" t="0" r="r" b="b"/>
                <a:pathLst>
                  <a:path w="7" h="7">
                    <a:moveTo>
                      <a:pt x="6" y="0"/>
                    </a:moveTo>
                    <a:cubicBezTo>
                      <a:pt x="0" y="3"/>
                      <a:pt x="2" y="4"/>
                      <a:pt x="6" y="7"/>
                    </a:cubicBezTo>
                    <a:cubicBezTo>
                      <a:pt x="7" y="4"/>
                      <a:pt x="6" y="3"/>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213"/>
              <p:cNvSpPr/>
              <p:nvPr/>
            </p:nvSpPr>
            <p:spPr bwMode="auto">
              <a:xfrm>
                <a:off x="7267048" y="5560840"/>
                <a:ext cx="210052" cy="106868"/>
              </a:xfrm>
              <a:custGeom>
                <a:gdLst>
                  <a:gd name="T0" fmla="*/ 66 w 66"/>
                  <a:gd name="T1" fmla="*/ 0 h 33"/>
                  <a:gd name="T2" fmla="*/ 40 w 66"/>
                  <a:gd name="T3" fmla="*/ 10 h 33"/>
                  <a:gd name="T4" fmla="*/ 39 w 66"/>
                  <a:gd name="T5" fmla="*/ 10 h 33"/>
                  <a:gd name="T6" fmla="*/ 34 w 66"/>
                  <a:gd name="T7" fmla="*/ 11 h 33"/>
                  <a:gd name="T8" fmla="*/ 28 w 66"/>
                  <a:gd name="T9" fmla="*/ 11 h 33"/>
                  <a:gd name="T10" fmla="*/ 19 w 66"/>
                  <a:gd name="T11" fmla="*/ 9 h 33"/>
                  <a:gd name="T12" fmla="*/ 16 w 66"/>
                  <a:gd name="T13" fmla="*/ 14 h 33"/>
                  <a:gd name="T14" fmla="*/ 7 w 66"/>
                  <a:gd name="T15" fmla="*/ 18 h 33"/>
                  <a:gd name="T16" fmla="*/ 4 w 66"/>
                  <a:gd name="T17" fmla="*/ 20 h 33"/>
                  <a:gd name="T18" fmla="*/ 4 w 66"/>
                  <a:gd name="T19" fmla="*/ 20 h 33"/>
                  <a:gd name="T20" fmla="*/ 2 w 66"/>
                  <a:gd name="T21" fmla="*/ 20 h 33"/>
                  <a:gd name="T22" fmla="*/ 1 w 66"/>
                  <a:gd name="T23" fmla="*/ 19 h 33"/>
                  <a:gd name="T24" fmla="*/ 1 w 66"/>
                  <a:gd name="T25" fmla="*/ 19 h 33"/>
                  <a:gd name="T26" fmla="*/ 4 w 66"/>
                  <a:gd name="T27" fmla="*/ 30 h 33"/>
                  <a:gd name="T28" fmla="*/ 19 w 66"/>
                  <a:gd name="T29" fmla="*/ 33 h 33"/>
                  <a:gd name="T30" fmla="*/ 20 w 66"/>
                  <a:gd name="T31" fmla="*/ 33 h 33"/>
                  <a:gd name="T32" fmla="*/ 38 w 66"/>
                  <a:gd name="T33" fmla="*/ 27 h 33"/>
                  <a:gd name="T34" fmla="*/ 41 w 66"/>
                  <a:gd name="T35" fmla="*/ 23 h 33"/>
                  <a:gd name="T36" fmla="*/ 46 w 66"/>
                  <a:gd name="T37" fmla="*/ 23 h 33"/>
                  <a:gd name="T38" fmla="*/ 46 w 66"/>
                  <a:gd name="T39" fmla="*/ 23 h 33"/>
                  <a:gd name="T40" fmla="*/ 46 w 66"/>
                  <a:gd name="T41" fmla="*/ 20 h 33"/>
                  <a:gd name="T42" fmla="*/ 49 w 66"/>
                  <a:gd name="T43" fmla="*/ 23 h 33"/>
                  <a:gd name="T44" fmla="*/ 50 w 66"/>
                  <a:gd name="T45" fmla="*/ 23 h 33"/>
                  <a:gd name="T46" fmla="*/ 52 w 66"/>
                  <a:gd name="T47" fmla="*/ 23 h 33"/>
                  <a:gd name="T48" fmla="*/ 49 w 66"/>
                  <a:gd name="T49" fmla="*/ 12 h 33"/>
                  <a:gd name="T50" fmla="*/ 51 w 66"/>
                  <a:gd name="T51" fmla="*/ 11 h 33"/>
                  <a:gd name="T52" fmla="*/ 53 w 66"/>
                  <a:gd name="T53" fmla="*/ 9 h 33"/>
                  <a:gd name="T54" fmla="*/ 58 w 66"/>
                  <a:gd name="T55" fmla="*/ 6 h 33"/>
                  <a:gd name="T56" fmla="*/ 66 w 66"/>
                  <a:gd name="T57"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 h="33">
                    <a:moveTo>
                      <a:pt x="66" y="0"/>
                    </a:moveTo>
                    <a:cubicBezTo>
                      <a:pt x="57" y="3"/>
                      <a:pt x="48" y="7"/>
                      <a:pt x="40" y="10"/>
                    </a:cubicBezTo>
                    <a:cubicBezTo>
                      <a:pt x="39" y="10"/>
                      <a:pt x="39" y="10"/>
                      <a:pt x="39" y="10"/>
                    </a:cubicBezTo>
                    <a:cubicBezTo>
                      <a:pt x="37" y="10"/>
                      <a:pt x="36" y="10"/>
                      <a:pt x="34" y="11"/>
                    </a:cubicBezTo>
                    <a:cubicBezTo>
                      <a:pt x="32" y="11"/>
                      <a:pt x="30" y="11"/>
                      <a:pt x="28" y="11"/>
                    </a:cubicBezTo>
                    <a:cubicBezTo>
                      <a:pt x="25" y="11"/>
                      <a:pt x="21" y="10"/>
                      <a:pt x="19" y="9"/>
                    </a:cubicBezTo>
                    <a:cubicBezTo>
                      <a:pt x="19" y="13"/>
                      <a:pt x="20" y="13"/>
                      <a:pt x="16" y="14"/>
                    </a:cubicBezTo>
                    <a:cubicBezTo>
                      <a:pt x="12" y="15"/>
                      <a:pt x="9" y="16"/>
                      <a:pt x="7" y="18"/>
                    </a:cubicBezTo>
                    <a:cubicBezTo>
                      <a:pt x="6" y="19"/>
                      <a:pt x="6" y="20"/>
                      <a:pt x="4" y="20"/>
                    </a:cubicBezTo>
                    <a:cubicBezTo>
                      <a:pt x="4" y="20"/>
                      <a:pt x="4" y="20"/>
                      <a:pt x="4" y="20"/>
                    </a:cubicBezTo>
                    <a:cubicBezTo>
                      <a:pt x="4" y="20"/>
                      <a:pt x="3" y="20"/>
                      <a:pt x="2" y="20"/>
                    </a:cubicBezTo>
                    <a:cubicBezTo>
                      <a:pt x="1" y="19"/>
                      <a:pt x="1" y="19"/>
                      <a:pt x="1" y="19"/>
                    </a:cubicBezTo>
                    <a:cubicBezTo>
                      <a:pt x="1" y="19"/>
                      <a:pt x="1" y="19"/>
                      <a:pt x="1" y="19"/>
                    </a:cubicBezTo>
                    <a:cubicBezTo>
                      <a:pt x="0" y="19"/>
                      <a:pt x="3" y="29"/>
                      <a:pt x="4" y="30"/>
                    </a:cubicBezTo>
                    <a:cubicBezTo>
                      <a:pt x="8" y="33"/>
                      <a:pt x="15" y="33"/>
                      <a:pt x="19" y="33"/>
                    </a:cubicBezTo>
                    <a:cubicBezTo>
                      <a:pt x="19" y="33"/>
                      <a:pt x="20" y="33"/>
                      <a:pt x="20" y="33"/>
                    </a:cubicBezTo>
                    <a:cubicBezTo>
                      <a:pt x="26" y="33"/>
                      <a:pt x="32" y="30"/>
                      <a:pt x="38" y="27"/>
                    </a:cubicBezTo>
                    <a:cubicBezTo>
                      <a:pt x="40" y="26"/>
                      <a:pt x="40" y="24"/>
                      <a:pt x="41" y="23"/>
                    </a:cubicBezTo>
                    <a:cubicBezTo>
                      <a:pt x="43" y="23"/>
                      <a:pt x="45" y="23"/>
                      <a:pt x="46" y="23"/>
                    </a:cubicBezTo>
                    <a:cubicBezTo>
                      <a:pt x="46" y="23"/>
                      <a:pt x="46" y="23"/>
                      <a:pt x="46" y="23"/>
                    </a:cubicBezTo>
                    <a:cubicBezTo>
                      <a:pt x="48" y="23"/>
                      <a:pt x="46" y="21"/>
                      <a:pt x="46" y="20"/>
                    </a:cubicBezTo>
                    <a:cubicBezTo>
                      <a:pt x="47" y="22"/>
                      <a:pt x="47" y="23"/>
                      <a:pt x="49" y="23"/>
                    </a:cubicBezTo>
                    <a:cubicBezTo>
                      <a:pt x="49" y="23"/>
                      <a:pt x="50" y="23"/>
                      <a:pt x="50" y="23"/>
                    </a:cubicBezTo>
                    <a:cubicBezTo>
                      <a:pt x="52" y="23"/>
                      <a:pt x="52" y="23"/>
                      <a:pt x="52" y="23"/>
                    </a:cubicBezTo>
                    <a:cubicBezTo>
                      <a:pt x="50" y="19"/>
                      <a:pt x="45" y="15"/>
                      <a:pt x="49" y="12"/>
                    </a:cubicBezTo>
                    <a:cubicBezTo>
                      <a:pt x="49" y="11"/>
                      <a:pt x="51" y="11"/>
                      <a:pt x="51" y="11"/>
                    </a:cubicBezTo>
                    <a:cubicBezTo>
                      <a:pt x="52" y="11"/>
                      <a:pt x="52" y="9"/>
                      <a:pt x="53" y="9"/>
                    </a:cubicBezTo>
                    <a:cubicBezTo>
                      <a:pt x="54" y="8"/>
                      <a:pt x="56" y="7"/>
                      <a:pt x="58" y="6"/>
                    </a:cubicBezTo>
                    <a:cubicBezTo>
                      <a:pt x="60" y="5"/>
                      <a:pt x="66" y="2"/>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214"/>
              <p:cNvSpPr/>
              <p:nvPr/>
            </p:nvSpPr>
            <p:spPr bwMode="auto">
              <a:xfrm>
                <a:off x="5678764" y="3353456"/>
                <a:ext cx="40536" cy="29481"/>
              </a:xfrm>
              <a:custGeom>
                <a:gdLst>
                  <a:gd name="T0" fmla="*/ 2 w 13"/>
                  <a:gd name="T1" fmla="*/ 0 h 10"/>
                  <a:gd name="T2" fmla="*/ 2 w 13"/>
                  <a:gd name="T3" fmla="*/ 7 h 10"/>
                  <a:gd name="T4" fmla="*/ 10 w 13"/>
                  <a:gd name="T5" fmla="*/ 10 h 10"/>
                  <a:gd name="T6" fmla="*/ 11 w 13"/>
                  <a:gd name="T7" fmla="*/ 4 h 10"/>
                  <a:gd name="T8" fmla="*/ 2 w 13"/>
                  <a:gd name="T9" fmla="*/ 0 h 10"/>
                </a:gdLst>
                <a:cxnLst>
                  <a:cxn ang="0">
                    <a:pos x="T0" y="T1"/>
                  </a:cxn>
                  <a:cxn ang="0">
                    <a:pos x="T2" y="T3"/>
                  </a:cxn>
                  <a:cxn ang="0">
                    <a:pos x="T4" y="T5"/>
                  </a:cxn>
                  <a:cxn ang="0">
                    <a:pos x="T6" y="T7"/>
                  </a:cxn>
                  <a:cxn ang="0">
                    <a:pos x="T8" y="T9"/>
                  </a:cxn>
                </a:cxnLst>
                <a:rect l="0" t="0" r="r" b="b"/>
                <a:pathLst>
                  <a:path w="13" h="10">
                    <a:moveTo>
                      <a:pt x="2" y="0"/>
                    </a:moveTo>
                    <a:cubicBezTo>
                      <a:pt x="2" y="1"/>
                      <a:pt x="0" y="6"/>
                      <a:pt x="2" y="7"/>
                    </a:cubicBezTo>
                    <a:cubicBezTo>
                      <a:pt x="4" y="8"/>
                      <a:pt x="7" y="9"/>
                      <a:pt x="10" y="10"/>
                    </a:cubicBezTo>
                    <a:cubicBezTo>
                      <a:pt x="11" y="9"/>
                      <a:pt x="13" y="5"/>
                      <a:pt x="11" y="4"/>
                    </a:cubicBezTo>
                    <a:cubicBezTo>
                      <a:pt x="8" y="3"/>
                      <a:pt x="5"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215"/>
              <p:cNvSpPr/>
              <p:nvPr/>
            </p:nvSpPr>
            <p:spPr bwMode="auto">
              <a:xfrm>
                <a:off x="9772927" y="4455306"/>
                <a:ext cx="40536" cy="14740"/>
              </a:xfrm>
              <a:custGeom>
                <a:gdLst>
                  <a:gd name="T0" fmla="*/ 9 w 12"/>
                  <a:gd name="T1" fmla="*/ 0 h 5"/>
                  <a:gd name="T2" fmla="*/ 0 w 12"/>
                  <a:gd name="T3" fmla="*/ 2 h 5"/>
                  <a:gd name="T4" fmla="*/ 6 w 12"/>
                  <a:gd name="T5" fmla="*/ 4 h 5"/>
                  <a:gd name="T6" fmla="*/ 8 w 12"/>
                  <a:gd name="T7" fmla="*/ 5 h 5"/>
                  <a:gd name="T8" fmla="*/ 12 w 12"/>
                  <a:gd name="T9" fmla="*/ 1 h 5"/>
                  <a:gd name="T10" fmla="*/ 9 w 12"/>
                  <a:gd name="T11" fmla="*/ 0 h 5"/>
                </a:gdLst>
                <a:cxnLst>
                  <a:cxn ang="0">
                    <a:pos x="T0" y="T1"/>
                  </a:cxn>
                  <a:cxn ang="0">
                    <a:pos x="T2" y="T3"/>
                  </a:cxn>
                  <a:cxn ang="0">
                    <a:pos x="T4" y="T5"/>
                  </a:cxn>
                  <a:cxn ang="0">
                    <a:pos x="T6" y="T7"/>
                  </a:cxn>
                  <a:cxn ang="0">
                    <a:pos x="T8" y="T9"/>
                  </a:cxn>
                  <a:cxn ang="0">
                    <a:pos x="T10" y="T11"/>
                  </a:cxn>
                </a:cxnLst>
                <a:rect l="0" t="0" r="r" b="b"/>
                <a:pathLst>
                  <a:path w="12" h="5">
                    <a:moveTo>
                      <a:pt x="9" y="0"/>
                    </a:moveTo>
                    <a:cubicBezTo>
                      <a:pt x="5" y="0"/>
                      <a:pt x="0" y="1"/>
                      <a:pt x="0" y="2"/>
                    </a:cubicBezTo>
                    <a:cubicBezTo>
                      <a:pt x="0" y="4"/>
                      <a:pt x="4" y="3"/>
                      <a:pt x="6" y="4"/>
                    </a:cubicBezTo>
                    <a:cubicBezTo>
                      <a:pt x="7" y="5"/>
                      <a:pt x="7" y="5"/>
                      <a:pt x="8" y="5"/>
                    </a:cubicBezTo>
                    <a:cubicBezTo>
                      <a:pt x="10" y="5"/>
                      <a:pt x="11" y="4"/>
                      <a:pt x="12" y="1"/>
                    </a:cubicBezTo>
                    <a:cubicBezTo>
                      <a:pt x="12" y="0"/>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216"/>
              <p:cNvSpPr/>
              <p:nvPr/>
            </p:nvSpPr>
            <p:spPr bwMode="auto">
              <a:xfrm>
                <a:off x="4871723" y="3972555"/>
                <a:ext cx="73702" cy="84758"/>
              </a:xfrm>
              <a:custGeom>
                <a:gdLst>
                  <a:gd name="T0" fmla="*/ 9 w 23"/>
                  <a:gd name="T1" fmla="*/ 0 h 27"/>
                  <a:gd name="T2" fmla="*/ 7 w 23"/>
                  <a:gd name="T3" fmla="*/ 1 h 27"/>
                  <a:gd name="T4" fmla="*/ 5 w 23"/>
                  <a:gd name="T5" fmla="*/ 3 h 27"/>
                  <a:gd name="T6" fmla="*/ 4 w 23"/>
                  <a:gd name="T7" fmla="*/ 5 h 27"/>
                  <a:gd name="T8" fmla="*/ 4 w 23"/>
                  <a:gd name="T9" fmla="*/ 6 h 27"/>
                  <a:gd name="T10" fmla="*/ 1 w 23"/>
                  <a:gd name="T11" fmla="*/ 11 h 27"/>
                  <a:gd name="T12" fmla="*/ 1 w 23"/>
                  <a:gd name="T13" fmla="*/ 12 h 27"/>
                  <a:gd name="T14" fmla="*/ 4 w 23"/>
                  <a:gd name="T15" fmla="*/ 19 h 27"/>
                  <a:gd name="T16" fmla="*/ 3 w 23"/>
                  <a:gd name="T17" fmla="*/ 23 h 27"/>
                  <a:gd name="T18" fmla="*/ 2 w 23"/>
                  <a:gd name="T19" fmla="*/ 23 h 27"/>
                  <a:gd name="T20" fmla="*/ 5 w 23"/>
                  <a:gd name="T21" fmla="*/ 24 h 27"/>
                  <a:gd name="T22" fmla="*/ 11 w 23"/>
                  <a:gd name="T23" fmla="*/ 25 h 27"/>
                  <a:gd name="T24" fmla="*/ 13 w 23"/>
                  <a:gd name="T25" fmla="*/ 25 h 27"/>
                  <a:gd name="T26" fmla="*/ 16 w 23"/>
                  <a:gd name="T27" fmla="*/ 26 h 27"/>
                  <a:gd name="T28" fmla="*/ 18 w 23"/>
                  <a:gd name="T29" fmla="*/ 27 h 27"/>
                  <a:gd name="T30" fmla="*/ 18 w 23"/>
                  <a:gd name="T31" fmla="*/ 27 h 27"/>
                  <a:gd name="T32" fmla="*/ 18 w 23"/>
                  <a:gd name="T33" fmla="*/ 27 h 27"/>
                  <a:gd name="T34" fmla="*/ 18 w 23"/>
                  <a:gd name="T35" fmla="*/ 26 h 27"/>
                  <a:gd name="T36" fmla="*/ 21 w 23"/>
                  <a:gd name="T37" fmla="*/ 15 h 27"/>
                  <a:gd name="T38" fmla="*/ 21 w 23"/>
                  <a:gd name="T39" fmla="*/ 15 h 27"/>
                  <a:gd name="T40" fmla="*/ 20 w 23"/>
                  <a:gd name="T41" fmla="*/ 14 h 27"/>
                  <a:gd name="T42" fmla="*/ 19 w 23"/>
                  <a:gd name="T43" fmla="*/ 13 h 27"/>
                  <a:gd name="T44" fmla="*/ 17 w 23"/>
                  <a:gd name="T45" fmla="*/ 12 h 27"/>
                  <a:gd name="T46" fmla="*/ 12 w 23"/>
                  <a:gd name="T47" fmla="*/ 7 h 27"/>
                  <a:gd name="T48" fmla="*/ 12 w 23"/>
                  <a:gd name="T49" fmla="*/ 7 h 27"/>
                  <a:gd name="T50" fmla="*/ 12 w 23"/>
                  <a:gd name="T51" fmla="*/ 5 h 27"/>
                  <a:gd name="T52" fmla="*/ 10 w 23"/>
                  <a:gd name="T53" fmla="*/ 1 h 27"/>
                  <a:gd name="T54" fmla="*/ 10 w 23"/>
                  <a:gd name="T55" fmla="*/ 1 h 27"/>
                  <a:gd name="T56" fmla="*/ 9 w 23"/>
                  <a:gd name="T57"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 h="27">
                    <a:moveTo>
                      <a:pt x="9" y="0"/>
                    </a:moveTo>
                    <a:cubicBezTo>
                      <a:pt x="8" y="0"/>
                      <a:pt x="8" y="1"/>
                      <a:pt x="7" y="1"/>
                    </a:cubicBezTo>
                    <a:cubicBezTo>
                      <a:pt x="7" y="2"/>
                      <a:pt x="6" y="2"/>
                      <a:pt x="5" y="3"/>
                    </a:cubicBezTo>
                    <a:cubicBezTo>
                      <a:pt x="4" y="4"/>
                      <a:pt x="4" y="5"/>
                      <a:pt x="4" y="5"/>
                    </a:cubicBezTo>
                    <a:cubicBezTo>
                      <a:pt x="4" y="6"/>
                      <a:pt x="4" y="6"/>
                      <a:pt x="4" y="6"/>
                    </a:cubicBezTo>
                    <a:cubicBezTo>
                      <a:pt x="2" y="8"/>
                      <a:pt x="2" y="10"/>
                      <a:pt x="1" y="11"/>
                    </a:cubicBezTo>
                    <a:cubicBezTo>
                      <a:pt x="1" y="12"/>
                      <a:pt x="1" y="12"/>
                      <a:pt x="1" y="12"/>
                    </a:cubicBezTo>
                    <a:cubicBezTo>
                      <a:pt x="0" y="12"/>
                      <a:pt x="3" y="16"/>
                      <a:pt x="4" y="19"/>
                    </a:cubicBezTo>
                    <a:cubicBezTo>
                      <a:pt x="4" y="20"/>
                      <a:pt x="4" y="22"/>
                      <a:pt x="3" y="23"/>
                    </a:cubicBezTo>
                    <a:cubicBezTo>
                      <a:pt x="2" y="23"/>
                      <a:pt x="2" y="23"/>
                      <a:pt x="2" y="23"/>
                    </a:cubicBezTo>
                    <a:cubicBezTo>
                      <a:pt x="3" y="24"/>
                      <a:pt x="4" y="24"/>
                      <a:pt x="5" y="24"/>
                    </a:cubicBezTo>
                    <a:cubicBezTo>
                      <a:pt x="7" y="25"/>
                      <a:pt x="9" y="25"/>
                      <a:pt x="11" y="25"/>
                    </a:cubicBezTo>
                    <a:cubicBezTo>
                      <a:pt x="12" y="25"/>
                      <a:pt x="12" y="25"/>
                      <a:pt x="13" y="25"/>
                    </a:cubicBezTo>
                    <a:cubicBezTo>
                      <a:pt x="14" y="25"/>
                      <a:pt x="15" y="25"/>
                      <a:pt x="16" y="26"/>
                    </a:cubicBezTo>
                    <a:cubicBezTo>
                      <a:pt x="17" y="26"/>
                      <a:pt x="17" y="26"/>
                      <a:pt x="18" y="27"/>
                    </a:cubicBezTo>
                    <a:cubicBezTo>
                      <a:pt x="18" y="27"/>
                      <a:pt x="18" y="27"/>
                      <a:pt x="18" y="27"/>
                    </a:cubicBezTo>
                    <a:cubicBezTo>
                      <a:pt x="18" y="27"/>
                      <a:pt x="18" y="27"/>
                      <a:pt x="18" y="27"/>
                    </a:cubicBezTo>
                    <a:cubicBezTo>
                      <a:pt x="18" y="26"/>
                      <a:pt x="18" y="26"/>
                      <a:pt x="18" y="26"/>
                    </a:cubicBezTo>
                    <a:cubicBezTo>
                      <a:pt x="16" y="24"/>
                      <a:pt x="23" y="18"/>
                      <a:pt x="21" y="15"/>
                    </a:cubicBezTo>
                    <a:cubicBezTo>
                      <a:pt x="21" y="15"/>
                      <a:pt x="21" y="15"/>
                      <a:pt x="21" y="15"/>
                    </a:cubicBezTo>
                    <a:cubicBezTo>
                      <a:pt x="20" y="14"/>
                      <a:pt x="20" y="14"/>
                      <a:pt x="20" y="14"/>
                    </a:cubicBezTo>
                    <a:cubicBezTo>
                      <a:pt x="20" y="14"/>
                      <a:pt x="19" y="13"/>
                      <a:pt x="19" y="13"/>
                    </a:cubicBezTo>
                    <a:cubicBezTo>
                      <a:pt x="18" y="13"/>
                      <a:pt x="17" y="12"/>
                      <a:pt x="17" y="12"/>
                    </a:cubicBezTo>
                    <a:cubicBezTo>
                      <a:pt x="15" y="11"/>
                      <a:pt x="13" y="9"/>
                      <a:pt x="12" y="7"/>
                    </a:cubicBezTo>
                    <a:cubicBezTo>
                      <a:pt x="12" y="7"/>
                      <a:pt x="12" y="7"/>
                      <a:pt x="12" y="7"/>
                    </a:cubicBezTo>
                    <a:cubicBezTo>
                      <a:pt x="12" y="6"/>
                      <a:pt x="12" y="5"/>
                      <a:pt x="12" y="5"/>
                    </a:cubicBezTo>
                    <a:cubicBezTo>
                      <a:pt x="12" y="3"/>
                      <a:pt x="11" y="2"/>
                      <a:pt x="10" y="1"/>
                    </a:cubicBezTo>
                    <a:cubicBezTo>
                      <a:pt x="10" y="1"/>
                      <a:pt x="10" y="1"/>
                      <a:pt x="10" y="1"/>
                    </a:cubicBezTo>
                    <a:cubicBezTo>
                      <a:pt x="10" y="1"/>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217"/>
              <p:cNvSpPr/>
              <p:nvPr/>
            </p:nvSpPr>
            <p:spPr bwMode="auto">
              <a:xfrm>
                <a:off x="6448953" y="2863336"/>
                <a:ext cx="18426" cy="11055"/>
              </a:xfrm>
              <a:custGeom>
                <a:gdLst>
                  <a:gd name="T0" fmla="*/ 0 w 6"/>
                  <a:gd name="T1" fmla="*/ 0 h 3"/>
                  <a:gd name="T2" fmla="*/ 4 w 6"/>
                  <a:gd name="T3" fmla="*/ 3 h 3"/>
                  <a:gd name="T4" fmla="*/ 6 w 6"/>
                  <a:gd name="T5" fmla="*/ 3 h 3"/>
                  <a:gd name="T6" fmla="*/ 0 w 6"/>
                  <a:gd name="T7" fmla="*/ 0 h 3"/>
                </a:gdLst>
                <a:cxnLst>
                  <a:cxn ang="0">
                    <a:pos x="T0" y="T1"/>
                  </a:cxn>
                  <a:cxn ang="0">
                    <a:pos x="T2" y="T3"/>
                  </a:cxn>
                  <a:cxn ang="0">
                    <a:pos x="T4" y="T5"/>
                  </a:cxn>
                  <a:cxn ang="0">
                    <a:pos x="T6" y="T7"/>
                  </a:cxn>
                </a:cxnLst>
                <a:rect l="0" t="0" r="r" b="b"/>
                <a:pathLst>
                  <a:path w="6" h="3">
                    <a:moveTo>
                      <a:pt x="0" y="0"/>
                    </a:moveTo>
                    <a:cubicBezTo>
                      <a:pt x="2" y="2"/>
                      <a:pt x="2" y="3"/>
                      <a:pt x="4" y="3"/>
                    </a:cubicBezTo>
                    <a:cubicBezTo>
                      <a:pt x="4" y="3"/>
                      <a:pt x="5" y="3"/>
                      <a:pt x="6" y="3"/>
                    </a:cubicBezTo>
                    <a:cubicBezTo>
                      <a:pt x="4"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218"/>
              <p:cNvSpPr/>
              <p:nvPr/>
            </p:nvSpPr>
            <p:spPr bwMode="auto">
              <a:xfrm>
                <a:off x="6434212" y="2914927"/>
                <a:ext cx="33166" cy="14740"/>
              </a:xfrm>
              <a:custGeom>
                <a:gdLst>
                  <a:gd name="T0" fmla="*/ 5 w 10"/>
                  <a:gd name="T1" fmla="*/ 0 h 5"/>
                  <a:gd name="T2" fmla="*/ 3 w 10"/>
                  <a:gd name="T3" fmla="*/ 4 h 5"/>
                  <a:gd name="T4" fmla="*/ 8 w 10"/>
                  <a:gd name="T5" fmla="*/ 5 h 5"/>
                  <a:gd name="T6" fmla="*/ 8 w 10"/>
                  <a:gd name="T7" fmla="*/ 2 h 5"/>
                  <a:gd name="T8" fmla="*/ 5 w 10"/>
                  <a:gd name="T9" fmla="*/ 0 h 5"/>
                </a:gdLst>
                <a:cxnLst>
                  <a:cxn ang="0">
                    <a:pos x="T0" y="T1"/>
                  </a:cxn>
                  <a:cxn ang="0">
                    <a:pos x="T2" y="T3"/>
                  </a:cxn>
                  <a:cxn ang="0">
                    <a:pos x="T4" y="T5"/>
                  </a:cxn>
                  <a:cxn ang="0">
                    <a:pos x="T6" y="T7"/>
                  </a:cxn>
                  <a:cxn ang="0">
                    <a:pos x="T8" y="T9"/>
                  </a:cxn>
                </a:cxnLst>
                <a:rect l="0" t="0" r="r" b="b"/>
                <a:pathLst>
                  <a:path w="10" h="5">
                    <a:moveTo>
                      <a:pt x="5" y="0"/>
                    </a:moveTo>
                    <a:cubicBezTo>
                      <a:pt x="2" y="0"/>
                      <a:pt x="0" y="3"/>
                      <a:pt x="3" y="4"/>
                    </a:cubicBezTo>
                    <a:cubicBezTo>
                      <a:pt x="5" y="5"/>
                      <a:pt x="7" y="5"/>
                      <a:pt x="8" y="5"/>
                    </a:cubicBezTo>
                    <a:cubicBezTo>
                      <a:pt x="10" y="5"/>
                      <a:pt x="10" y="4"/>
                      <a:pt x="8" y="2"/>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219"/>
              <p:cNvSpPr/>
              <p:nvPr/>
            </p:nvSpPr>
            <p:spPr bwMode="auto">
              <a:xfrm flipH="1">
                <a:off x="7355491" y="6272068"/>
                <a:ext cx="0" cy="3685"/>
              </a:xfrm>
              <a:custGeom>
                <a:gdLst>
                  <a:gd name="T0" fmla="*/ 0 h 1"/>
                  <a:gd name="T1" fmla="*/ 1 h 1"/>
                  <a:gd name="T2" fmla="*/ 0 h 1"/>
                  <a:gd name="T3" fmla="*/ 0 h 1"/>
                </a:gdLst>
                <a:cxnLst>
                  <a:cxn ang="0">
                    <a:pos x="0" y="T0"/>
                  </a:cxn>
                  <a:cxn ang="0">
                    <a:pos x="0" y="T1"/>
                  </a:cxn>
                  <a:cxn ang="0">
                    <a:pos x="0" y="T2"/>
                  </a:cxn>
                  <a:cxn ang="0">
                    <a:pos x="0" y="T3"/>
                  </a:cxn>
                </a:cxnLst>
                <a:rect l="0" t="0" r="r" b="b"/>
                <a:pathLst>
                  <a:path h="1">
                    <a:moveTo>
                      <a:pt x="0" y="0"/>
                    </a:move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220"/>
              <p:cNvSpPr/>
              <p:nvPr/>
            </p:nvSpPr>
            <p:spPr bwMode="auto">
              <a:xfrm flipH="1">
                <a:off x="7355491" y="6272068"/>
                <a:ext cx="0" cy="3685"/>
              </a:xfrm>
              <a:custGeom>
                <a:gdLst>
                  <a:gd name="T0" fmla="*/ 0 h 1"/>
                  <a:gd name="T1" fmla="*/ 1 h 1"/>
                  <a:gd name="T2" fmla="*/ 0 h 1"/>
                  <a:gd name="T3" fmla="*/ 0 h 1"/>
                </a:gdLst>
                <a:cxnLst>
                  <a:cxn ang="0">
                    <a:pos x="0" y="T0"/>
                  </a:cxn>
                  <a:cxn ang="0">
                    <a:pos x="0" y="T1"/>
                  </a:cxn>
                  <a:cxn ang="0">
                    <a:pos x="0" y="T2"/>
                  </a:cxn>
                  <a:cxn ang="0">
                    <a:pos x="0" y="T3"/>
                  </a:cxn>
                </a:cxnLst>
                <a:rect l="0" t="0" r="r" b="b"/>
                <a:pathLst>
                  <a:path h="1">
                    <a:moveTo>
                      <a:pt x="0" y="0"/>
                    </a:moveTo>
                    <a:lnTo>
                      <a:pt x="0" y="1"/>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221"/>
              <p:cNvSpPr/>
              <p:nvPr/>
            </p:nvSpPr>
            <p:spPr bwMode="auto">
              <a:xfrm>
                <a:off x="7326010" y="6014110"/>
                <a:ext cx="29481" cy="7370"/>
              </a:xfrm>
              <a:custGeom>
                <a:gdLst>
                  <a:gd name="T0" fmla="*/ 7 w 9"/>
                  <a:gd name="T1" fmla="*/ 0 h 2"/>
                  <a:gd name="T2" fmla="*/ 0 w 9"/>
                  <a:gd name="T3" fmla="*/ 2 h 2"/>
                  <a:gd name="T4" fmla="*/ 9 w 9"/>
                  <a:gd name="T5" fmla="*/ 0 h 2"/>
                  <a:gd name="T6" fmla="*/ 7 w 9"/>
                  <a:gd name="T7" fmla="*/ 0 h 2"/>
                </a:gdLst>
                <a:cxnLst>
                  <a:cxn ang="0">
                    <a:pos x="T0" y="T1"/>
                  </a:cxn>
                  <a:cxn ang="0">
                    <a:pos x="T2" y="T3"/>
                  </a:cxn>
                  <a:cxn ang="0">
                    <a:pos x="T4" y="T5"/>
                  </a:cxn>
                  <a:cxn ang="0">
                    <a:pos x="T6" y="T7"/>
                  </a:cxn>
                </a:cxnLst>
                <a:rect l="0" t="0" r="r" b="b"/>
                <a:pathLst>
                  <a:path w="9" h="2">
                    <a:moveTo>
                      <a:pt x="7" y="0"/>
                    </a:moveTo>
                    <a:cubicBezTo>
                      <a:pt x="4" y="0"/>
                      <a:pt x="3" y="1"/>
                      <a:pt x="0" y="2"/>
                    </a:cubicBezTo>
                    <a:cubicBezTo>
                      <a:pt x="3" y="1"/>
                      <a:pt x="6"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222"/>
              <p:cNvSpPr/>
              <p:nvPr/>
            </p:nvSpPr>
            <p:spPr bwMode="auto">
              <a:xfrm>
                <a:off x="2800688" y="5851964"/>
                <a:ext cx="47906" cy="18426"/>
              </a:xfrm>
              <a:custGeom>
                <a:gdLst>
                  <a:gd name="T0" fmla="*/ 8 w 16"/>
                  <a:gd name="T1" fmla="*/ 0 h 6"/>
                  <a:gd name="T2" fmla="*/ 0 w 16"/>
                  <a:gd name="T3" fmla="*/ 1 h 6"/>
                  <a:gd name="T4" fmla="*/ 9 w 16"/>
                  <a:gd name="T5" fmla="*/ 6 h 6"/>
                  <a:gd name="T6" fmla="*/ 16 w 16"/>
                  <a:gd name="T7" fmla="*/ 2 h 6"/>
                  <a:gd name="T8" fmla="*/ 16 w 16"/>
                  <a:gd name="T9" fmla="*/ 2 h 6"/>
                  <a:gd name="T10" fmla="*/ 9 w 16"/>
                  <a:gd name="T11" fmla="*/ 0 h 6"/>
                  <a:gd name="T12" fmla="*/ 8 w 16"/>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16" h="6">
                    <a:moveTo>
                      <a:pt x="8" y="0"/>
                    </a:moveTo>
                    <a:cubicBezTo>
                      <a:pt x="5" y="0"/>
                      <a:pt x="2" y="1"/>
                      <a:pt x="0" y="1"/>
                    </a:cubicBezTo>
                    <a:cubicBezTo>
                      <a:pt x="1" y="4"/>
                      <a:pt x="6" y="5"/>
                      <a:pt x="9" y="6"/>
                    </a:cubicBezTo>
                    <a:cubicBezTo>
                      <a:pt x="11" y="5"/>
                      <a:pt x="14" y="4"/>
                      <a:pt x="16" y="2"/>
                    </a:cubicBezTo>
                    <a:cubicBezTo>
                      <a:pt x="16" y="2"/>
                      <a:pt x="16" y="2"/>
                      <a:pt x="16" y="2"/>
                    </a:cubicBezTo>
                    <a:cubicBezTo>
                      <a:pt x="13" y="2"/>
                      <a:pt x="11"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223"/>
              <p:cNvSpPr/>
              <p:nvPr/>
            </p:nvSpPr>
            <p:spPr bwMode="auto">
              <a:xfrm>
                <a:off x="2730671" y="6249957"/>
                <a:ext cx="29481" cy="25796"/>
              </a:xfrm>
              <a:custGeom>
                <a:gdLst>
                  <a:gd name="T0" fmla="*/ 5 w 10"/>
                  <a:gd name="T1" fmla="*/ 0 h 9"/>
                  <a:gd name="T2" fmla="*/ 1 w 10"/>
                  <a:gd name="T3" fmla="*/ 2 h 9"/>
                  <a:gd name="T4" fmla="*/ 7 w 10"/>
                  <a:gd name="T5" fmla="*/ 9 h 9"/>
                  <a:gd name="T6" fmla="*/ 7 w 10"/>
                  <a:gd name="T7" fmla="*/ 0 h 9"/>
                  <a:gd name="T8" fmla="*/ 5 w 10"/>
                  <a:gd name="T9" fmla="*/ 0 h 9"/>
                </a:gdLst>
                <a:cxnLst>
                  <a:cxn ang="0">
                    <a:pos x="T0" y="T1"/>
                  </a:cxn>
                  <a:cxn ang="0">
                    <a:pos x="T2" y="T3"/>
                  </a:cxn>
                  <a:cxn ang="0">
                    <a:pos x="T4" y="T5"/>
                  </a:cxn>
                  <a:cxn ang="0">
                    <a:pos x="T6" y="T7"/>
                  </a:cxn>
                  <a:cxn ang="0">
                    <a:pos x="T8" y="T9"/>
                  </a:cxn>
                </a:cxnLst>
                <a:rect l="0" t="0" r="r" b="b"/>
                <a:pathLst>
                  <a:path w="10" h="9">
                    <a:moveTo>
                      <a:pt x="5" y="0"/>
                    </a:moveTo>
                    <a:cubicBezTo>
                      <a:pt x="3" y="0"/>
                      <a:pt x="1" y="1"/>
                      <a:pt x="1" y="2"/>
                    </a:cubicBezTo>
                    <a:cubicBezTo>
                      <a:pt x="0" y="5"/>
                      <a:pt x="5" y="9"/>
                      <a:pt x="7" y="9"/>
                    </a:cubicBezTo>
                    <a:cubicBezTo>
                      <a:pt x="7" y="7"/>
                      <a:pt x="10" y="2"/>
                      <a:pt x="7"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224"/>
              <p:cNvSpPr/>
              <p:nvPr/>
            </p:nvSpPr>
            <p:spPr bwMode="auto">
              <a:xfrm>
                <a:off x="2712246" y="6342085"/>
                <a:ext cx="25796" cy="22111"/>
              </a:xfrm>
              <a:custGeom>
                <a:gdLst>
                  <a:gd name="T0" fmla="*/ 9 w 9"/>
                  <a:gd name="T1" fmla="*/ 0 h 7"/>
                  <a:gd name="T2" fmla="*/ 5 w 9"/>
                  <a:gd name="T3" fmla="*/ 3 h 7"/>
                  <a:gd name="T4" fmla="*/ 7 w 9"/>
                  <a:gd name="T5" fmla="*/ 7 h 7"/>
                  <a:gd name="T6" fmla="*/ 9 w 9"/>
                  <a:gd name="T7" fmla="*/ 0 h 7"/>
                </a:gdLst>
                <a:cxnLst>
                  <a:cxn ang="0">
                    <a:pos x="T0" y="T1"/>
                  </a:cxn>
                  <a:cxn ang="0">
                    <a:pos x="T2" y="T3"/>
                  </a:cxn>
                  <a:cxn ang="0">
                    <a:pos x="T4" y="T5"/>
                  </a:cxn>
                  <a:cxn ang="0">
                    <a:pos x="T6" y="T7"/>
                  </a:cxn>
                </a:cxnLst>
                <a:rect l="0" t="0" r="r" b="b"/>
                <a:pathLst>
                  <a:path w="9" h="7">
                    <a:moveTo>
                      <a:pt x="9" y="0"/>
                    </a:moveTo>
                    <a:cubicBezTo>
                      <a:pt x="7" y="1"/>
                      <a:pt x="7" y="2"/>
                      <a:pt x="5" y="3"/>
                    </a:cubicBezTo>
                    <a:cubicBezTo>
                      <a:pt x="0" y="6"/>
                      <a:pt x="4" y="4"/>
                      <a:pt x="7" y="7"/>
                    </a:cubicBezTo>
                    <a:cubicBezTo>
                      <a:pt x="8" y="5"/>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225"/>
              <p:cNvSpPr/>
              <p:nvPr/>
            </p:nvSpPr>
            <p:spPr bwMode="auto">
              <a:xfrm>
                <a:off x="2782263" y="6312604"/>
                <a:ext cx="33166" cy="14740"/>
              </a:xfrm>
              <a:custGeom>
                <a:gdLst>
                  <a:gd name="T0" fmla="*/ 6 w 10"/>
                  <a:gd name="T1" fmla="*/ 0 h 5"/>
                  <a:gd name="T2" fmla="*/ 6 w 10"/>
                  <a:gd name="T3" fmla="*/ 5 h 5"/>
                  <a:gd name="T4" fmla="*/ 6 w 10"/>
                  <a:gd name="T5" fmla="*/ 0 h 5"/>
                </a:gdLst>
                <a:cxnLst>
                  <a:cxn ang="0">
                    <a:pos x="T0" y="T1"/>
                  </a:cxn>
                  <a:cxn ang="0">
                    <a:pos x="T2" y="T3"/>
                  </a:cxn>
                  <a:cxn ang="0">
                    <a:pos x="T4" y="T5"/>
                  </a:cxn>
                </a:cxnLst>
                <a:rect l="0" t="0" r="r" b="b"/>
                <a:pathLst>
                  <a:path w="10" h="5">
                    <a:moveTo>
                      <a:pt x="6" y="0"/>
                    </a:moveTo>
                    <a:cubicBezTo>
                      <a:pt x="4" y="0"/>
                      <a:pt x="0" y="2"/>
                      <a:pt x="6" y="5"/>
                    </a:cubicBezTo>
                    <a:cubicBezTo>
                      <a:pt x="10" y="2"/>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226"/>
              <p:cNvSpPr/>
              <p:nvPr/>
            </p:nvSpPr>
            <p:spPr bwMode="auto">
              <a:xfrm>
                <a:off x="2830169" y="6272068"/>
                <a:ext cx="70017" cy="58962"/>
              </a:xfrm>
              <a:custGeom>
                <a:gdLst>
                  <a:gd name="T0" fmla="*/ 22 w 22"/>
                  <a:gd name="T1" fmla="*/ 0 h 18"/>
                  <a:gd name="T2" fmla="*/ 16 w 22"/>
                  <a:gd name="T3" fmla="*/ 1 h 18"/>
                  <a:gd name="T4" fmla="*/ 13 w 22"/>
                  <a:gd name="T5" fmla="*/ 4 h 18"/>
                  <a:gd name="T6" fmla="*/ 0 w 22"/>
                  <a:gd name="T7" fmla="*/ 7 h 18"/>
                  <a:gd name="T8" fmla="*/ 0 w 22"/>
                  <a:gd name="T9" fmla="*/ 7 h 18"/>
                  <a:gd name="T10" fmla="*/ 1 w 22"/>
                  <a:gd name="T11" fmla="*/ 9 h 18"/>
                  <a:gd name="T12" fmla="*/ 6 w 22"/>
                  <a:gd name="T13" fmla="*/ 18 h 18"/>
                  <a:gd name="T14" fmla="*/ 22 w 22"/>
                  <a:gd name="T15" fmla="*/ 0 h 1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22" y="0"/>
                    </a:moveTo>
                    <a:cubicBezTo>
                      <a:pt x="20" y="1"/>
                      <a:pt x="18" y="0"/>
                      <a:pt x="16" y="1"/>
                    </a:cubicBezTo>
                    <a:cubicBezTo>
                      <a:pt x="14" y="2"/>
                      <a:pt x="14" y="3"/>
                      <a:pt x="13" y="4"/>
                    </a:cubicBezTo>
                    <a:cubicBezTo>
                      <a:pt x="9" y="6"/>
                      <a:pt x="5" y="6"/>
                      <a:pt x="0" y="7"/>
                    </a:cubicBezTo>
                    <a:cubicBezTo>
                      <a:pt x="0" y="7"/>
                      <a:pt x="0" y="7"/>
                      <a:pt x="0" y="7"/>
                    </a:cubicBezTo>
                    <a:cubicBezTo>
                      <a:pt x="0" y="8"/>
                      <a:pt x="0" y="8"/>
                      <a:pt x="1" y="9"/>
                    </a:cubicBezTo>
                    <a:cubicBezTo>
                      <a:pt x="3" y="12"/>
                      <a:pt x="5" y="16"/>
                      <a:pt x="6" y="18"/>
                    </a:cubicBezTo>
                    <a:cubicBezTo>
                      <a:pt x="12" y="12"/>
                      <a:pt x="17" y="6"/>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227"/>
              <p:cNvSpPr/>
              <p:nvPr/>
            </p:nvSpPr>
            <p:spPr bwMode="auto">
              <a:xfrm>
                <a:off x="2925982" y="6312604"/>
                <a:ext cx="47906" cy="44221"/>
              </a:xfrm>
              <a:custGeom>
                <a:gdLst>
                  <a:gd name="T0" fmla="*/ 12 w 15"/>
                  <a:gd name="T1" fmla="*/ 0 h 14"/>
                  <a:gd name="T2" fmla="*/ 10 w 15"/>
                  <a:gd name="T3" fmla="*/ 2 h 14"/>
                  <a:gd name="T4" fmla="*/ 4 w 15"/>
                  <a:gd name="T5" fmla="*/ 1 h 14"/>
                  <a:gd name="T6" fmla="*/ 1 w 15"/>
                  <a:gd name="T7" fmla="*/ 9 h 14"/>
                  <a:gd name="T8" fmla="*/ 7 w 15"/>
                  <a:gd name="T9" fmla="*/ 14 h 14"/>
                  <a:gd name="T10" fmla="*/ 12 w 15"/>
                  <a:gd name="T11" fmla="*/ 0 h 14"/>
                </a:gdLst>
                <a:cxnLst>
                  <a:cxn ang="0">
                    <a:pos x="T0" y="T1"/>
                  </a:cxn>
                  <a:cxn ang="0">
                    <a:pos x="T2" y="T3"/>
                  </a:cxn>
                  <a:cxn ang="0">
                    <a:pos x="T4" y="T5"/>
                  </a:cxn>
                  <a:cxn ang="0">
                    <a:pos x="T6" y="T7"/>
                  </a:cxn>
                  <a:cxn ang="0">
                    <a:pos x="T8" y="T9"/>
                  </a:cxn>
                  <a:cxn ang="0">
                    <a:pos x="T10" y="T11"/>
                  </a:cxn>
                </a:cxnLst>
                <a:rect l="0" t="0" r="r" b="b"/>
                <a:pathLst>
                  <a:path w="15" h="14">
                    <a:moveTo>
                      <a:pt x="12" y="0"/>
                    </a:moveTo>
                    <a:cubicBezTo>
                      <a:pt x="12" y="1"/>
                      <a:pt x="11" y="2"/>
                      <a:pt x="10" y="2"/>
                    </a:cubicBezTo>
                    <a:cubicBezTo>
                      <a:pt x="8" y="2"/>
                      <a:pt x="5" y="1"/>
                      <a:pt x="4" y="1"/>
                    </a:cubicBezTo>
                    <a:cubicBezTo>
                      <a:pt x="5" y="5"/>
                      <a:pt x="0" y="5"/>
                      <a:pt x="1" y="9"/>
                    </a:cubicBezTo>
                    <a:cubicBezTo>
                      <a:pt x="1" y="11"/>
                      <a:pt x="5" y="14"/>
                      <a:pt x="7" y="14"/>
                    </a:cubicBezTo>
                    <a:cubicBezTo>
                      <a:pt x="13" y="10"/>
                      <a:pt x="15" y="7"/>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228"/>
              <p:cNvSpPr/>
              <p:nvPr/>
            </p:nvSpPr>
            <p:spPr bwMode="auto">
              <a:xfrm>
                <a:off x="3047591" y="6249957"/>
                <a:ext cx="66332" cy="73702"/>
              </a:xfrm>
              <a:custGeom>
                <a:gdLst>
                  <a:gd name="T0" fmla="*/ 13 w 21"/>
                  <a:gd name="T1" fmla="*/ 0 h 24"/>
                  <a:gd name="T2" fmla="*/ 16 w 21"/>
                  <a:gd name="T3" fmla="*/ 3 h 24"/>
                  <a:gd name="T4" fmla="*/ 12 w 21"/>
                  <a:gd name="T5" fmla="*/ 9 h 24"/>
                  <a:gd name="T6" fmla="*/ 9 w 21"/>
                  <a:gd name="T7" fmla="*/ 16 h 24"/>
                  <a:gd name="T8" fmla="*/ 1 w 21"/>
                  <a:gd name="T9" fmla="*/ 23 h 24"/>
                  <a:gd name="T10" fmla="*/ 0 w 21"/>
                  <a:gd name="T11" fmla="*/ 24 h 24"/>
                  <a:gd name="T12" fmla="*/ 1 w 21"/>
                  <a:gd name="T13" fmla="*/ 24 h 24"/>
                  <a:gd name="T14" fmla="*/ 1 w 21"/>
                  <a:gd name="T15" fmla="*/ 24 h 24"/>
                  <a:gd name="T16" fmla="*/ 1 w 21"/>
                  <a:gd name="T17" fmla="*/ 24 h 24"/>
                  <a:gd name="T18" fmla="*/ 1 w 21"/>
                  <a:gd name="T19" fmla="*/ 24 h 24"/>
                  <a:gd name="T20" fmla="*/ 1 w 21"/>
                  <a:gd name="T21" fmla="*/ 24 h 24"/>
                  <a:gd name="T22" fmla="*/ 5 w 21"/>
                  <a:gd name="T23" fmla="*/ 24 h 24"/>
                  <a:gd name="T24" fmla="*/ 18 w 21"/>
                  <a:gd name="T25" fmla="*/ 12 h 24"/>
                  <a:gd name="T26" fmla="*/ 19 w 21"/>
                  <a:gd name="T27" fmla="*/ 5 h 24"/>
                  <a:gd name="T28" fmla="*/ 21 w 21"/>
                  <a:gd name="T29" fmla="*/ 6 h 24"/>
                  <a:gd name="T30" fmla="*/ 13 w 21"/>
                  <a:gd name="T31"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4">
                    <a:moveTo>
                      <a:pt x="13" y="0"/>
                    </a:moveTo>
                    <a:cubicBezTo>
                      <a:pt x="14" y="1"/>
                      <a:pt x="15" y="2"/>
                      <a:pt x="16" y="3"/>
                    </a:cubicBezTo>
                    <a:cubicBezTo>
                      <a:pt x="14" y="4"/>
                      <a:pt x="13" y="7"/>
                      <a:pt x="12" y="9"/>
                    </a:cubicBezTo>
                    <a:cubicBezTo>
                      <a:pt x="11" y="12"/>
                      <a:pt x="10" y="14"/>
                      <a:pt x="9" y="16"/>
                    </a:cubicBezTo>
                    <a:cubicBezTo>
                      <a:pt x="7" y="21"/>
                      <a:pt x="6" y="21"/>
                      <a:pt x="1" y="23"/>
                    </a:cubicBezTo>
                    <a:cubicBezTo>
                      <a:pt x="0" y="24"/>
                      <a:pt x="0" y="24"/>
                      <a:pt x="0" y="24"/>
                    </a:cubicBezTo>
                    <a:cubicBezTo>
                      <a:pt x="0" y="24"/>
                      <a:pt x="0" y="24"/>
                      <a:pt x="1" y="24"/>
                    </a:cubicBezTo>
                    <a:cubicBezTo>
                      <a:pt x="1" y="24"/>
                      <a:pt x="1" y="24"/>
                      <a:pt x="1" y="24"/>
                    </a:cubicBezTo>
                    <a:cubicBezTo>
                      <a:pt x="1" y="24"/>
                      <a:pt x="1" y="24"/>
                      <a:pt x="1" y="24"/>
                    </a:cubicBezTo>
                    <a:cubicBezTo>
                      <a:pt x="1" y="24"/>
                      <a:pt x="1" y="24"/>
                      <a:pt x="1" y="24"/>
                    </a:cubicBezTo>
                    <a:cubicBezTo>
                      <a:pt x="1" y="24"/>
                      <a:pt x="1" y="24"/>
                      <a:pt x="1" y="24"/>
                    </a:cubicBezTo>
                    <a:cubicBezTo>
                      <a:pt x="3" y="24"/>
                      <a:pt x="4" y="24"/>
                      <a:pt x="5" y="24"/>
                    </a:cubicBezTo>
                    <a:cubicBezTo>
                      <a:pt x="11" y="21"/>
                      <a:pt x="17" y="19"/>
                      <a:pt x="18" y="12"/>
                    </a:cubicBezTo>
                    <a:cubicBezTo>
                      <a:pt x="19" y="11"/>
                      <a:pt x="20" y="8"/>
                      <a:pt x="19" y="5"/>
                    </a:cubicBezTo>
                    <a:cubicBezTo>
                      <a:pt x="20" y="6"/>
                      <a:pt x="21" y="6"/>
                      <a:pt x="21" y="6"/>
                    </a:cubicBezTo>
                    <a:cubicBezTo>
                      <a:pt x="20" y="3"/>
                      <a:pt x="17"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229"/>
              <p:cNvSpPr/>
              <p:nvPr/>
            </p:nvSpPr>
            <p:spPr bwMode="auto">
              <a:xfrm>
                <a:off x="3110238" y="6209421"/>
                <a:ext cx="36851" cy="40536"/>
              </a:xfrm>
              <a:custGeom>
                <a:gdLst>
                  <a:gd name="T0" fmla="*/ 10 w 11"/>
                  <a:gd name="T1" fmla="*/ 0 h 12"/>
                  <a:gd name="T2" fmla="*/ 9 w 11"/>
                  <a:gd name="T3" fmla="*/ 1 h 12"/>
                  <a:gd name="T4" fmla="*/ 1 w 11"/>
                  <a:gd name="T5" fmla="*/ 12 h 12"/>
                  <a:gd name="T6" fmla="*/ 10 w 11"/>
                  <a:gd name="T7" fmla="*/ 5 h 12"/>
                  <a:gd name="T8" fmla="*/ 10 w 11"/>
                  <a:gd name="T9" fmla="*/ 0 h 12"/>
                </a:gdLst>
                <a:cxnLst>
                  <a:cxn ang="0">
                    <a:pos x="T0" y="T1"/>
                  </a:cxn>
                  <a:cxn ang="0">
                    <a:pos x="T2" y="T3"/>
                  </a:cxn>
                  <a:cxn ang="0">
                    <a:pos x="T4" y="T5"/>
                  </a:cxn>
                  <a:cxn ang="0">
                    <a:pos x="T6" y="T7"/>
                  </a:cxn>
                  <a:cxn ang="0">
                    <a:pos x="T8" y="T9"/>
                  </a:cxn>
                </a:cxnLst>
                <a:rect l="0" t="0" r="r" b="b"/>
                <a:pathLst>
                  <a:path w="11" h="12">
                    <a:moveTo>
                      <a:pt x="10" y="0"/>
                    </a:moveTo>
                    <a:cubicBezTo>
                      <a:pt x="10" y="0"/>
                      <a:pt x="9" y="0"/>
                      <a:pt x="9" y="1"/>
                    </a:cubicBezTo>
                    <a:cubicBezTo>
                      <a:pt x="2" y="5"/>
                      <a:pt x="0" y="4"/>
                      <a:pt x="1" y="12"/>
                    </a:cubicBezTo>
                    <a:cubicBezTo>
                      <a:pt x="3" y="8"/>
                      <a:pt x="8" y="9"/>
                      <a:pt x="10" y="5"/>
                    </a:cubicBezTo>
                    <a:cubicBezTo>
                      <a:pt x="10" y="3"/>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230"/>
              <p:cNvSpPr/>
              <p:nvPr/>
            </p:nvSpPr>
            <p:spPr bwMode="auto">
              <a:xfrm>
                <a:off x="10598393" y="3338716"/>
                <a:ext cx="7370" cy="3685"/>
              </a:xfrm>
              <a:custGeom>
                <a:gdLst>
                  <a:gd name="T0" fmla="*/ 1 w 2"/>
                  <a:gd name="T1" fmla="*/ 0 h 1"/>
                  <a:gd name="T2" fmla="*/ 0 w 2"/>
                  <a:gd name="T3" fmla="*/ 1 h 1"/>
                  <a:gd name="T4" fmla="*/ 1 w 2"/>
                  <a:gd name="T5" fmla="*/ 1 h 1"/>
                  <a:gd name="T6" fmla="*/ 2 w 2"/>
                  <a:gd name="T7" fmla="*/ 0 h 1"/>
                  <a:gd name="T8" fmla="*/ 1 w 2"/>
                  <a:gd name="T9" fmla="*/ 0 h 1"/>
                </a:gdLst>
                <a:cxnLst>
                  <a:cxn ang="0">
                    <a:pos x="T0" y="T1"/>
                  </a:cxn>
                  <a:cxn ang="0">
                    <a:pos x="T2" y="T3"/>
                  </a:cxn>
                  <a:cxn ang="0">
                    <a:pos x="T4" y="T5"/>
                  </a:cxn>
                  <a:cxn ang="0">
                    <a:pos x="T6" y="T7"/>
                  </a:cxn>
                  <a:cxn ang="0">
                    <a:pos x="T8" y="T9"/>
                  </a:cxn>
                </a:cxnLst>
                <a:rect l="0" t="0" r="r" b="b"/>
                <a:pathLst>
                  <a:path w="2" h="1">
                    <a:moveTo>
                      <a:pt x="1" y="0"/>
                    </a:moveTo>
                    <a:cubicBezTo>
                      <a:pt x="0" y="0"/>
                      <a:pt x="0" y="1"/>
                      <a:pt x="0" y="1"/>
                    </a:cubicBezTo>
                    <a:cubicBezTo>
                      <a:pt x="0" y="1"/>
                      <a:pt x="1" y="1"/>
                      <a:pt x="1" y="1"/>
                    </a:cubicBezTo>
                    <a:cubicBezTo>
                      <a:pt x="1" y="1"/>
                      <a:pt x="2" y="1"/>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231"/>
              <p:cNvSpPr/>
              <p:nvPr/>
            </p:nvSpPr>
            <p:spPr bwMode="auto">
              <a:xfrm>
                <a:off x="8936405" y="6511600"/>
                <a:ext cx="81073" cy="147405"/>
              </a:xfrm>
              <a:custGeom>
                <a:gdLst>
                  <a:gd name="T0" fmla="*/ 13 w 25"/>
                  <a:gd name="T1" fmla="*/ 0 h 46"/>
                  <a:gd name="T2" fmla="*/ 11 w 25"/>
                  <a:gd name="T3" fmla="*/ 0 h 46"/>
                  <a:gd name="T4" fmla="*/ 6 w 25"/>
                  <a:gd name="T5" fmla="*/ 9 h 46"/>
                  <a:gd name="T6" fmla="*/ 2 w 25"/>
                  <a:gd name="T7" fmla="*/ 19 h 46"/>
                  <a:gd name="T8" fmla="*/ 0 w 25"/>
                  <a:gd name="T9" fmla="*/ 30 h 46"/>
                  <a:gd name="T10" fmla="*/ 1 w 25"/>
                  <a:gd name="T11" fmla="*/ 39 h 46"/>
                  <a:gd name="T12" fmla="*/ 1 w 25"/>
                  <a:gd name="T13" fmla="*/ 40 h 46"/>
                  <a:gd name="T14" fmla="*/ 2 w 25"/>
                  <a:gd name="T15" fmla="*/ 41 h 46"/>
                  <a:gd name="T16" fmla="*/ 6 w 25"/>
                  <a:gd name="T17" fmla="*/ 46 h 46"/>
                  <a:gd name="T18" fmla="*/ 6 w 25"/>
                  <a:gd name="T19" fmla="*/ 46 h 46"/>
                  <a:gd name="T20" fmla="*/ 7 w 25"/>
                  <a:gd name="T21" fmla="*/ 46 h 46"/>
                  <a:gd name="T22" fmla="*/ 7 w 25"/>
                  <a:gd name="T23" fmla="*/ 46 h 46"/>
                  <a:gd name="T24" fmla="*/ 7 w 25"/>
                  <a:gd name="T25" fmla="*/ 46 h 46"/>
                  <a:gd name="T26" fmla="*/ 8 w 25"/>
                  <a:gd name="T27" fmla="*/ 46 h 46"/>
                  <a:gd name="T28" fmla="*/ 10 w 25"/>
                  <a:gd name="T29" fmla="*/ 46 h 46"/>
                  <a:gd name="T30" fmla="*/ 14 w 25"/>
                  <a:gd name="T31" fmla="*/ 46 h 46"/>
                  <a:gd name="T32" fmla="*/ 14 w 25"/>
                  <a:gd name="T33" fmla="*/ 46 h 46"/>
                  <a:gd name="T34" fmla="*/ 16 w 25"/>
                  <a:gd name="T35" fmla="*/ 46 h 46"/>
                  <a:gd name="T36" fmla="*/ 17 w 25"/>
                  <a:gd name="T37" fmla="*/ 46 h 46"/>
                  <a:gd name="T38" fmla="*/ 20 w 25"/>
                  <a:gd name="T39" fmla="*/ 45 h 46"/>
                  <a:gd name="T40" fmla="*/ 20 w 25"/>
                  <a:gd name="T41" fmla="*/ 43 h 46"/>
                  <a:gd name="T42" fmla="*/ 19 w 25"/>
                  <a:gd name="T43" fmla="*/ 43 h 46"/>
                  <a:gd name="T44" fmla="*/ 21 w 25"/>
                  <a:gd name="T45" fmla="*/ 39 h 46"/>
                  <a:gd name="T46" fmla="*/ 24 w 25"/>
                  <a:gd name="T47" fmla="*/ 26 h 46"/>
                  <a:gd name="T48" fmla="*/ 21 w 25"/>
                  <a:gd name="T49" fmla="*/ 17 h 46"/>
                  <a:gd name="T50" fmla="*/ 22 w 25"/>
                  <a:gd name="T51" fmla="*/ 6 h 46"/>
                  <a:gd name="T52" fmla="*/ 20 w 25"/>
                  <a:gd name="T53" fmla="*/ 5 h 46"/>
                  <a:gd name="T54" fmla="*/ 20 w 25"/>
                  <a:gd name="T55" fmla="*/ 5 h 46"/>
                  <a:gd name="T56" fmla="*/ 20 w 25"/>
                  <a:gd name="T57" fmla="*/ 5 h 46"/>
                  <a:gd name="T58" fmla="*/ 18 w 25"/>
                  <a:gd name="T59" fmla="*/ 5 h 46"/>
                  <a:gd name="T60" fmla="*/ 14 w 25"/>
                  <a:gd name="T61" fmla="*/ 0 h 46"/>
                  <a:gd name="T62" fmla="*/ 13 w 25"/>
                  <a:gd name="T63" fmla="*/ 0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 h="46">
                    <a:moveTo>
                      <a:pt x="13" y="0"/>
                    </a:moveTo>
                    <a:cubicBezTo>
                      <a:pt x="12" y="0"/>
                      <a:pt x="12" y="0"/>
                      <a:pt x="11" y="0"/>
                    </a:cubicBezTo>
                    <a:cubicBezTo>
                      <a:pt x="7" y="1"/>
                      <a:pt x="6" y="5"/>
                      <a:pt x="6" y="9"/>
                    </a:cubicBezTo>
                    <a:cubicBezTo>
                      <a:pt x="3" y="12"/>
                      <a:pt x="3" y="15"/>
                      <a:pt x="2" y="19"/>
                    </a:cubicBezTo>
                    <a:cubicBezTo>
                      <a:pt x="2" y="22"/>
                      <a:pt x="0" y="27"/>
                      <a:pt x="0" y="30"/>
                    </a:cubicBezTo>
                    <a:cubicBezTo>
                      <a:pt x="0" y="32"/>
                      <a:pt x="1" y="36"/>
                      <a:pt x="1" y="39"/>
                    </a:cubicBezTo>
                    <a:cubicBezTo>
                      <a:pt x="1" y="40"/>
                      <a:pt x="1" y="40"/>
                      <a:pt x="1" y="40"/>
                    </a:cubicBezTo>
                    <a:cubicBezTo>
                      <a:pt x="2" y="41"/>
                      <a:pt x="2" y="41"/>
                      <a:pt x="2" y="41"/>
                    </a:cubicBezTo>
                    <a:cubicBezTo>
                      <a:pt x="3" y="44"/>
                      <a:pt x="4" y="45"/>
                      <a:pt x="6" y="46"/>
                    </a:cubicBezTo>
                    <a:cubicBezTo>
                      <a:pt x="6" y="46"/>
                      <a:pt x="6" y="46"/>
                      <a:pt x="6" y="46"/>
                    </a:cubicBezTo>
                    <a:cubicBezTo>
                      <a:pt x="7" y="46"/>
                      <a:pt x="7" y="46"/>
                      <a:pt x="7" y="46"/>
                    </a:cubicBezTo>
                    <a:cubicBezTo>
                      <a:pt x="7" y="46"/>
                      <a:pt x="7" y="46"/>
                      <a:pt x="7" y="46"/>
                    </a:cubicBezTo>
                    <a:cubicBezTo>
                      <a:pt x="7" y="46"/>
                      <a:pt x="7" y="46"/>
                      <a:pt x="7" y="46"/>
                    </a:cubicBezTo>
                    <a:cubicBezTo>
                      <a:pt x="8" y="46"/>
                      <a:pt x="8" y="46"/>
                      <a:pt x="8" y="46"/>
                    </a:cubicBezTo>
                    <a:cubicBezTo>
                      <a:pt x="9" y="46"/>
                      <a:pt x="9" y="46"/>
                      <a:pt x="10" y="46"/>
                    </a:cubicBezTo>
                    <a:cubicBezTo>
                      <a:pt x="11" y="46"/>
                      <a:pt x="13" y="46"/>
                      <a:pt x="14" y="46"/>
                    </a:cubicBezTo>
                    <a:cubicBezTo>
                      <a:pt x="14" y="46"/>
                      <a:pt x="14" y="46"/>
                      <a:pt x="14" y="46"/>
                    </a:cubicBezTo>
                    <a:cubicBezTo>
                      <a:pt x="15" y="46"/>
                      <a:pt x="16" y="46"/>
                      <a:pt x="16" y="46"/>
                    </a:cubicBezTo>
                    <a:cubicBezTo>
                      <a:pt x="16" y="46"/>
                      <a:pt x="17" y="46"/>
                      <a:pt x="17" y="46"/>
                    </a:cubicBezTo>
                    <a:cubicBezTo>
                      <a:pt x="17" y="46"/>
                      <a:pt x="18" y="45"/>
                      <a:pt x="20" y="45"/>
                    </a:cubicBezTo>
                    <a:cubicBezTo>
                      <a:pt x="20" y="43"/>
                      <a:pt x="20" y="43"/>
                      <a:pt x="20" y="43"/>
                    </a:cubicBezTo>
                    <a:cubicBezTo>
                      <a:pt x="19" y="43"/>
                      <a:pt x="19" y="43"/>
                      <a:pt x="19" y="43"/>
                    </a:cubicBezTo>
                    <a:cubicBezTo>
                      <a:pt x="20" y="41"/>
                      <a:pt x="20" y="40"/>
                      <a:pt x="21" y="39"/>
                    </a:cubicBezTo>
                    <a:cubicBezTo>
                      <a:pt x="21" y="36"/>
                      <a:pt x="25" y="28"/>
                      <a:pt x="24" y="26"/>
                    </a:cubicBezTo>
                    <a:cubicBezTo>
                      <a:pt x="22" y="24"/>
                      <a:pt x="20" y="20"/>
                      <a:pt x="21" y="17"/>
                    </a:cubicBezTo>
                    <a:cubicBezTo>
                      <a:pt x="21" y="14"/>
                      <a:pt x="24" y="8"/>
                      <a:pt x="22" y="6"/>
                    </a:cubicBezTo>
                    <a:cubicBezTo>
                      <a:pt x="21" y="5"/>
                      <a:pt x="21" y="5"/>
                      <a:pt x="20" y="5"/>
                    </a:cubicBezTo>
                    <a:cubicBezTo>
                      <a:pt x="20" y="5"/>
                      <a:pt x="20" y="5"/>
                      <a:pt x="20" y="5"/>
                    </a:cubicBezTo>
                    <a:cubicBezTo>
                      <a:pt x="20" y="5"/>
                      <a:pt x="20" y="5"/>
                      <a:pt x="20" y="5"/>
                    </a:cubicBezTo>
                    <a:cubicBezTo>
                      <a:pt x="19" y="5"/>
                      <a:pt x="19" y="5"/>
                      <a:pt x="18" y="5"/>
                    </a:cubicBezTo>
                    <a:cubicBezTo>
                      <a:pt x="17" y="4"/>
                      <a:pt x="16" y="1"/>
                      <a:pt x="14" y="0"/>
                    </a:cubicBezTo>
                    <a:cubicBezTo>
                      <a:pt x="14"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232"/>
              <p:cNvSpPr>
                <a:spLocks noEditPoints="1"/>
              </p:cNvSpPr>
              <p:nvPr/>
            </p:nvSpPr>
            <p:spPr bwMode="auto">
              <a:xfrm>
                <a:off x="10369915" y="3419788"/>
                <a:ext cx="7370" cy="0"/>
              </a:xfrm>
              <a:custGeom>
                <a:gdLst>
                  <a:gd name="T0" fmla="*/ 2 w 2"/>
                  <a:gd name="T1" fmla="*/ 1 w 2"/>
                  <a:gd name="T2" fmla="*/ 0 w 2"/>
                  <a:gd name="T3" fmla="*/ 1 w 2"/>
                  <a:gd name="T4" fmla="*/ 2 w 2"/>
                  <a:gd name="T5" fmla="*/ 2 w 2"/>
                  <a:gd name="T6" fmla="*/ 2 w 2"/>
                  <a:gd name="T7" fmla="*/ 2 w 2"/>
                  <a:gd name="T8" fmla="*/ 2 w 2"/>
                </a:gd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cubicBezTo>
                      <a:pt x="2" y="0"/>
                      <a:pt x="2" y="0"/>
                      <a:pt x="1" y="0"/>
                    </a:cubicBezTo>
                    <a:cubicBezTo>
                      <a:pt x="1" y="0"/>
                      <a:pt x="0" y="0"/>
                      <a:pt x="0" y="0"/>
                    </a:cubicBezTo>
                    <a:cubicBezTo>
                      <a:pt x="0" y="0"/>
                      <a:pt x="0" y="0"/>
                      <a:pt x="1" y="0"/>
                    </a:cubicBezTo>
                    <a:cubicBezTo>
                      <a:pt x="1" y="0"/>
                      <a:pt x="2" y="0"/>
                      <a:pt x="2" y="0"/>
                    </a:cubicBezTo>
                    <a:moveTo>
                      <a:pt x="2" y="0"/>
                    </a:moveTo>
                    <a:cubicBezTo>
                      <a:pt x="2" y="0"/>
                      <a:pt x="2" y="0"/>
                      <a:pt x="2"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233"/>
              <p:cNvSpPr/>
              <p:nvPr/>
            </p:nvSpPr>
            <p:spPr bwMode="auto">
              <a:xfrm>
                <a:off x="3773559" y="3500861"/>
                <a:ext cx="7370" cy="0"/>
              </a:xfrm>
              <a:custGeom>
                <a:gdLst>
                  <a:gd name="T0" fmla="*/ 2 w 2"/>
                  <a:gd name="T1" fmla="*/ 2 w 2"/>
                  <a:gd name="T2" fmla="*/ 0 w 2"/>
                  <a:gd name="T3" fmla="*/ 2 w 2"/>
                </a:gdLst>
                <a:cxnLst>
                  <a:cxn ang="0">
                    <a:pos x="T0" y="0"/>
                  </a:cxn>
                  <a:cxn ang="0">
                    <a:pos x="T1" y="0"/>
                  </a:cxn>
                  <a:cxn ang="0">
                    <a:pos x="T2" y="0"/>
                  </a:cxn>
                  <a:cxn ang="0">
                    <a:pos x="T3" y="0"/>
                  </a:cxn>
                </a:cxnLst>
                <a:rect l="0" t="0" r="r" b="b"/>
                <a:pathLst>
                  <a:path w="2">
                    <a:moveTo>
                      <a:pt x="2" y="0"/>
                    </a:moveTo>
                    <a:cubicBezTo>
                      <a:pt x="2" y="0"/>
                      <a:pt x="2" y="0"/>
                      <a:pt x="2" y="0"/>
                    </a:cubicBezTo>
                    <a:cubicBezTo>
                      <a:pt x="1" y="0"/>
                      <a:pt x="1" y="0"/>
                      <a:pt x="0" y="0"/>
                    </a:cubicBezTo>
                    <a:cubicBezTo>
                      <a:pt x="1" y="0"/>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234"/>
              <p:cNvSpPr/>
              <p:nvPr/>
            </p:nvSpPr>
            <p:spPr bwMode="auto">
              <a:xfrm>
                <a:off x="3497175" y="4893834"/>
                <a:ext cx="283754" cy="530657"/>
              </a:xfrm>
              <a:custGeom>
                <a:gdLst>
                  <a:gd name="T0" fmla="*/ 34 w 89"/>
                  <a:gd name="T1" fmla="*/ 1 h 167"/>
                  <a:gd name="T2" fmla="*/ 19 w 89"/>
                  <a:gd name="T3" fmla="*/ 8 h 167"/>
                  <a:gd name="T4" fmla="*/ 20 w 89"/>
                  <a:gd name="T5" fmla="*/ 16 h 167"/>
                  <a:gd name="T6" fmla="*/ 24 w 89"/>
                  <a:gd name="T7" fmla="*/ 29 h 167"/>
                  <a:gd name="T8" fmla="*/ 25 w 89"/>
                  <a:gd name="T9" fmla="*/ 41 h 167"/>
                  <a:gd name="T10" fmla="*/ 19 w 89"/>
                  <a:gd name="T11" fmla="*/ 59 h 167"/>
                  <a:gd name="T12" fmla="*/ 8 w 89"/>
                  <a:gd name="T13" fmla="*/ 88 h 167"/>
                  <a:gd name="T14" fmla="*/ 3 w 89"/>
                  <a:gd name="T15" fmla="*/ 99 h 167"/>
                  <a:gd name="T16" fmla="*/ 2 w 89"/>
                  <a:gd name="T17" fmla="*/ 110 h 167"/>
                  <a:gd name="T18" fmla="*/ 8 w 89"/>
                  <a:gd name="T19" fmla="*/ 111 h 167"/>
                  <a:gd name="T20" fmla="*/ 15 w 89"/>
                  <a:gd name="T21" fmla="*/ 103 h 167"/>
                  <a:gd name="T22" fmla="*/ 15 w 89"/>
                  <a:gd name="T23" fmla="*/ 112 h 167"/>
                  <a:gd name="T24" fmla="*/ 9 w 89"/>
                  <a:gd name="T25" fmla="*/ 112 h 167"/>
                  <a:gd name="T26" fmla="*/ 9 w 89"/>
                  <a:gd name="T27" fmla="*/ 121 h 167"/>
                  <a:gd name="T28" fmla="*/ 21 w 89"/>
                  <a:gd name="T29" fmla="*/ 116 h 167"/>
                  <a:gd name="T30" fmla="*/ 22 w 89"/>
                  <a:gd name="T31" fmla="*/ 121 h 167"/>
                  <a:gd name="T32" fmla="*/ 20 w 89"/>
                  <a:gd name="T33" fmla="*/ 131 h 167"/>
                  <a:gd name="T34" fmla="*/ 15 w 89"/>
                  <a:gd name="T35" fmla="*/ 166 h 167"/>
                  <a:gd name="T36" fmla="*/ 27 w 89"/>
                  <a:gd name="T37" fmla="*/ 162 h 167"/>
                  <a:gd name="T38" fmla="*/ 40 w 89"/>
                  <a:gd name="T39" fmla="*/ 165 h 167"/>
                  <a:gd name="T40" fmla="*/ 44 w 89"/>
                  <a:gd name="T41" fmla="*/ 167 h 167"/>
                  <a:gd name="T42" fmla="*/ 57 w 89"/>
                  <a:gd name="T43" fmla="*/ 161 h 167"/>
                  <a:gd name="T44" fmla="*/ 56 w 89"/>
                  <a:gd name="T45" fmla="*/ 158 h 167"/>
                  <a:gd name="T46" fmla="*/ 55 w 89"/>
                  <a:gd name="T47" fmla="*/ 153 h 167"/>
                  <a:gd name="T48" fmla="*/ 56 w 89"/>
                  <a:gd name="T49" fmla="*/ 141 h 167"/>
                  <a:gd name="T50" fmla="*/ 65 w 89"/>
                  <a:gd name="T51" fmla="*/ 130 h 167"/>
                  <a:gd name="T52" fmla="*/ 65 w 89"/>
                  <a:gd name="T53" fmla="*/ 129 h 167"/>
                  <a:gd name="T54" fmla="*/ 63 w 89"/>
                  <a:gd name="T55" fmla="*/ 126 h 167"/>
                  <a:gd name="T56" fmla="*/ 60 w 89"/>
                  <a:gd name="T57" fmla="*/ 114 h 167"/>
                  <a:gd name="T58" fmla="*/ 59 w 89"/>
                  <a:gd name="T59" fmla="*/ 103 h 167"/>
                  <a:gd name="T60" fmla="*/ 65 w 89"/>
                  <a:gd name="T61" fmla="*/ 104 h 167"/>
                  <a:gd name="T62" fmla="*/ 66 w 89"/>
                  <a:gd name="T63" fmla="*/ 103 h 167"/>
                  <a:gd name="T64" fmla="*/ 69 w 89"/>
                  <a:gd name="T65" fmla="*/ 100 h 167"/>
                  <a:gd name="T66" fmla="*/ 62 w 89"/>
                  <a:gd name="T67" fmla="*/ 97 h 167"/>
                  <a:gd name="T68" fmla="*/ 61 w 89"/>
                  <a:gd name="T69" fmla="*/ 93 h 167"/>
                  <a:gd name="T70" fmla="*/ 58 w 89"/>
                  <a:gd name="T71" fmla="*/ 89 h 167"/>
                  <a:gd name="T72" fmla="*/ 58 w 89"/>
                  <a:gd name="T73" fmla="*/ 75 h 167"/>
                  <a:gd name="T74" fmla="*/ 68 w 89"/>
                  <a:gd name="T75" fmla="*/ 76 h 167"/>
                  <a:gd name="T76" fmla="*/ 71 w 89"/>
                  <a:gd name="T77" fmla="*/ 57 h 167"/>
                  <a:gd name="T78" fmla="*/ 73 w 89"/>
                  <a:gd name="T79" fmla="*/ 52 h 167"/>
                  <a:gd name="T80" fmla="*/ 73 w 89"/>
                  <a:gd name="T81" fmla="*/ 42 h 167"/>
                  <a:gd name="T82" fmla="*/ 74 w 89"/>
                  <a:gd name="T83" fmla="*/ 28 h 167"/>
                  <a:gd name="T84" fmla="*/ 80 w 89"/>
                  <a:gd name="T85" fmla="*/ 23 h 167"/>
                  <a:gd name="T86" fmla="*/ 85 w 89"/>
                  <a:gd name="T87" fmla="*/ 20 h 167"/>
                  <a:gd name="T88" fmla="*/ 87 w 89"/>
                  <a:gd name="T89" fmla="*/ 15 h 167"/>
                  <a:gd name="T90" fmla="*/ 81 w 89"/>
                  <a:gd name="T91" fmla="*/ 8 h 167"/>
                  <a:gd name="T92" fmla="*/ 81 w 89"/>
                  <a:gd name="T93" fmla="*/ 5 h 167"/>
                  <a:gd name="T94" fmla="*/ 81 w 89"/>
                  <a:gd name="T95" fmla="*/ 5 h 167"/>
                  <a:gd name="T96" fmla="*/ 79 w 89"/>
                  <a:gd name="T97" fmla="*/ 5 h 167"/>
                  <a:gd name="T98" fmla="*/ 74 w 89"/>
                  <a:gd name="T99" fmla="*/ 5 h 167"/>
                  <a:gd name="T100" fmla="*/ 71 w 89"/>
                  <a:gd name="T101" fmla="*/ 5 h 167"/>
                  <a:gd name="T102" fmla="*/ 64 w 89"/>
                  <a:gd name="T103" fmla="*/ 8 h 167"/>
                  <a:gd name="T104" fmla="*/ 61 w 89"/>
                  <a:gd name="T105" fmla="*/ 8 h 167"/>
                  <a:gd name="T106" fmla="*/ 54 w 89"/>
                  <a:gd name="T107" fmla="*/ 9 h 167"/>
                  <a:gd name="T108" fmla="*/ 48 w 89"/>
                  <a:gd name="T109" fmla="*/ 7 h 167"/>
                  <a:gd name="T110" fmla="*/ 47 w 89"/>
                  <a:gd name="T111" fmla="*/ 6 h 167"/>
                  <a:gd name="T112" fmla="*/ 40 w 89"/>
                  <a:gd name="T113" fmla="*/ 10 h 167"/>
                  <a:gd name="T114" fmla="*/ 40 w 89"/>
                  <a:gd name="T115" fmla="*/ 10 h 167"/>
                  <a:gd name="T116" fmla="*/ 39 w 89"/>
                  <a:gd name="T117" fmla="*/ 10 h 167"/>
                  <a:gd name="T118" fmla="*/ 34 w 89"/>
                  <a:gd name="T119" fmla="*/ 3 h 1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 h="167">
                    <a:moveTo>
                      <a:pt x="35" y="0"/>
                    </a:moveTo>
                    <a:cubicBezTo>
                      <a:pt x="34" y="1"/>
                      <a:pt x="34" y="1"/>
                      <a:pt x="34" y="1"/>
                    </a:cubicBezTo>
                    <a:cubicBezTo>
                      <a:pt x="33" y="1"/>
                      <a:pt x="32" y="1"/>
                      <a:pt x="31" y="1"/>
                    </a:cubicBezTo>
                    <a:cubicBezTo>
                      <a:pt x="29" y="2"/>
                      <a:pt x="23" y="5"/>
                      <a:pt x="19" y="8"/>
                    </a:cubicBezTo>
                    <a:cubicBezTo>
                      <a:pt x="19" y="8"/>
                      <a:pt x="19" y="8"/>
                      <a:pt x="19" y="8"/>
                    </a:cubicBezTo>
                    <a:cubicBezTo>
                      <a:pt x="19" y="10"/>
                      <a:pt x="20" y="13"/>
                      <a:pt x="20" y="16"/>
                    </a:cubicBezTo>
                    <a:cubicBezTo>
                      <a:pt x="21" y="18"/>
                      <a:pt x="21" y="21"/>
                      <a:pt x="22" y="23"/>
                    </a:cubicBezTo>
                    <a:cubicBezTo>
                      <a:pt x="22" y="25"/>
                      <a:pt x="24" y="28"/>
                      <a:pt x="24" y="29"/>
                    </a:cubicBezTo>
                    <a:cubicBezTo>
                      <a:pt x="26" y="33"/>
                      <a:pt x="21" y="41"/>
                      <a:pt x="23" y="44"/>
                    </a:cubicBezTo>
                    <a:cubicBezTo>
                      <a:pt x="23" y="43"/>
                      <a:pt x="24" y="42"/>
                      <a:pt x="25" y="41"/>
                    </a:cubicBezTo>
                    <a:cubicBezTo>
                      <a:pt x="27" y="44"/>
                      <a:pt x="22" y="46"/>
                      <a:pt x="21" y="48"/>
                    </a:cubicBezTo>
                    <a:cubicBezTo>
                      <a:pt x="19" y="51"/>
                      <a:pt x="19" y="56"/>
                      <a:pt x="19" y="59"/>
                    </a:cubicBezTo>
                    <a:cubicBezTo>
                      <a:pt x="17" y="67"/>
                      <a:pt x="14" y="75"/>
                      <a:pt x="11" y="83"/>
                    </a:cubicBezTo>
                    <a:cubicBezTo>
                      <a:pt x="11" y="84"/>
                      <a:pt x="9" y="87"/>
                      <a:pt x="8" y="88"/>
                    </a:cubicBezTo>
                    <a:cubicBezTo>
                      <a:pt x="6" y="88"/>
                      <a:pt x="5" y="89"/>
                      <a:pt x="5" y="92"/>
                    </a:cubicBezTo>
                    <a:cubicBezTo>
                      <a:pt x="4" y="94"/>
                      <a:pt x="4" y="96"/>
                      <a:pt x="3" y="99"/>
                    </a:cubicBezTo>
                    <a:cubicBezTo>
                      <a:pt x="2" y="100"/>
                      <a:pt x="3" y="102"/>
                      <a:pt x="2" y="104"/>
                    </a:cubicBezTo>
                    <a:cubicBezTo>
                      <a:pt x="2" y="106"/>
                      <a:pt x="0" y="108"/>
                      <a:pt x="2" y="110"/>
                    </a:cubicBezTo>
                    <a:cubicBezTo>
                      <a:pt x="3" y="111"/>
                      <a:pt x="5" y="111"/>
                      <a:pt x="6" y="111"/>
                    </a:cubicBezTo>
                    <a:cubicBezTo>
                      <a:pt x="7" y="111"/>
                      <a:pt x="7" y="111"/>
                      <a:pt x="8" y="111"/>
                    </a:cubicBezTo>
                    <a:cubicBezTo>
                      <a:pt x="11" y="109"/>
                      <a:pt x="11" y="109"/>
                      <a:pt x="12" y="106"/>
                    </a:cubicBezTo>
                    <a:cubicBezTo>
                      <a:pt x="13" y="105"/>
                      <a:pt x="14" y="104"/>
                      <a:pt x="15" y="103"/>
                    </a:cubicBezTo>
                    <a:cubicBezTo>
                      <a:pt x="16" y="107"/>
                      <a:pt x="18" y="109"/>
                      <a:pt x="14" y="110"/>
                    </a:cubicBezTo>
                    <a:cubicBezTo>
                      <a:pt x="14" y="111"/>
                      <a:pt x="15" y="111"/>
                      <a:pt x="15" y="112"/>
                    </a:cubicBezTo>
                    <a:cubicBezTo>
                      <a:pt x="13" y="112"/>
                      <a:pt x="13" y="112"/>
                      <a:pt x="13" y="114"/>
                    </a:cubicBezTo>
                    <a:cubicBezTo>
                      <a:pt x="12" y="113"/>
                      <a:pt x="10" y="112"/>
                      <a:pt x="9" y="112"/>
                    </a:cubicBezTo>
                    <a:cubicBezTo>
                      <a:pt x="8" y="112"/>
                      <a:pt x="7" y="112"/>
                      <a:pt x="7" y="112"/>
                    </a:cubicBezTo>
                    <a:cubicBezTo>
                      <a:pt x="9" y="115"/>
                      <a:pt x="8" y="117"/>
                      <a:pt x="9" y="121"/>
                    </a:cubicBezTo>
                    <a:cubicBezTo>
                      <a:pt x="11" y="119"/>
                      <a:pt x="14" y="119"/>
                      <a:pt x="16" y="118"/>
                    </a:cubicBezTo>
                    <a:cubicBezTo>
                      <a:pt x="18" y="117"/>
                      <a:pt x="20" y="116"/>
                      <a:pt x="21" y="116"/>
                    </a:cubicBezTo>
                    <a:cubicBezTo>
                      <a:pt x="23" y="116"/>
                      <a:pt x="24" y="117"/>
                      <a:pt x="25" y="121"/>
                    </a:cubicBezTo>
                    <a:cubicBezTo>
                      <a:pt x="23" y="121"/>
                      <a:pt x="23" y="121"/>
                      <a:pt x="22" y="121"/>
                    </a:cubicBezTo>
                    <a:cubicBezTo>
                      <a:pt x="20" y="121"/>
                      <a:pt x="20" y="121"/>
                      <a:pt x="18" y="118"/>
                    </a:cubicBezTo>
                    <a:cubicBezTo>
                      <a:pt x="18" y="122"/>
                      <a:pt x="21" y="128"/>
                      <a:pt x="20" y="131"/>
                    </a:cubicBezTo>
                    <a:cubicBezTo>
                      <a:pt x="19" y="135"/>
                      <a:pt x="20" y="141"/>
                      <a:pt x="20" y="146"/>
                    </a:cubicBezTo>
                    <a:cubicBezTo>
                      <a:pt x="20" y="153"/>
                      <a:pt x="18" y="159"/>
                      <a:pt x="15" y="166"/>
                    </a:cubicBezTo>
                    <a:cubicBezTo>
                      <a:pt x="18" y="166"/>
                      <a:pt x="22" y="164"/>
                      <a:pt x="25" y="163"/>
                    </a:cubicBezTo>
                    <a:cubicBezTo>
                      <a:pt x="26" y="162"/>
                      <a:pt x="26" y="162"/>
                      <a:pt x="27" y="162"/>
                    </a:cubicBezTo>
                    <a:cubicBezTo>
                      <a:pt x="29" y="162"/>
                      <a:pt x="31" y="164"/>
                      <a:pt x="34" y="164"/>
                    </a:cubicBezTo>
                    <a:cubicBezTo>
                      <a:pt x="36" y="164"/>
                      <a:pt x="38" y="164"/>
                      <a:pt x="40" y="165"/>
                    </a:cubicBezTo>
                    <a:cubicBezTo>
                      <a:pt x="41" y="165"/>
                      <a:pt x="43" y="167"/>
                      <a:pt x="44" y="167"/>
                    </a:cubicBezTo>
                    <a:cubicBezTo>
                      <a:pt x="44" y="167"/>
                      <a:pt x="44" y="167"/>
                      <a:pt x="44" y="167"/>
                    </a:cubicBezTo>
                    <a:cubicBezTo>
                      <a:pt x="48" y="166"/>
                      <a:pt x="51" y="165"/>
                      <a:pt x="55" y="163"/>
                    </a:cubicBezTo>
                    <a:cubicBezTo>
                      <a:pt x="56" y="162"/>
                      <a:pt x="57" y="161"/>
                      <a:pt x="57" y="161"/>
                    </a:cubicBezTo>
                    <a:cubicBezTo>
                      <a:pt x="55" y="160"/>
                      <a:pt x="55" y="160"/>
                      <a:pt x="55" y="160"/>
                    </a:cubicBezTo>
                    <a:cubicBezTo>
                      <a:pt x="56" y="158"/>
                      <a:pt x="56" y="158"/>
                      <a:pt x="56" y="158"/>
                    </a:cubicBezTo>
                    <a:cubicBezTo>
                      <a:pt x="55" y="157"/>
                      <a:pt x="55" y="157"/>
                      <a:pt x="55" y="157"/>
                    </a:cubicBezTo>
                    <a:cubicBezTo>
                      <a:pt x="55" y="156"/>
                      <a:pt x="55" y="154"/>
                      <a:pt x="55" y="153"/>
                    </a:cubicBezTo>
                    <a:cubicBezTo>
                      <a:pt x="53" y="149"/>
                      <a:pt x="55" y="144"/>
                      <a:pt x="56" y="141"/>
                    </a:cubicBezTo>
                    <a:cubicBezTo>
                      <a:pt x="56" y="141"/>
                      <a:pt x="56" y="141"/>
                      <a:pt x="56" y="141"/>
                    </a:cubicBezTo>
                    <a:cubicBezTo>
                      <a:pt x="57" y="139"/>
                      <a:pt x="60" y="133"/>
                      <a:pt x="63" y="131"/>
                    </a:cubicBezTo>
                    <a:cubicBezTo>
                      <a:pt x="64" y="131"/>
                      <a:pt x="65" y="130"/>
                      <a:pt x="65" y="130"/>
                    </a:cubicBezTo>
                    <a:cubicBezTo>
                      <a:pt x="66" y="130"/>
                      <a:pt x="66" y="130"/>
                      <a:pt x="66" y="130"/>
                    </a:cubicBezTo>
                    <a:cubicBezTo>
                      <a:pt x="65" y="129"/>
                      <a:pt x="65" y="129"/>
                      <a:pt x="65" y="129"/>
                    </a:cubicBezTo>
                    <a:cubicBezTo>
                      <a:pt x="65" y="129"/>
                      <a:pt x="64" y="128"/>
                      <a:pt x="64" y="127"/>
                    </a:cubicBezTo>
                    <a:cubicBezTo>
                      <a:pt x="64" y="127"/>
                      <a:pt x="63" y="126"/>
                      <a:pt x="63" y="126"/>
                    </a:cubicBezTo>
                    <a:cubicBezTo>
                      <a:pt x="61" y="123"/>
                      <a:pt x="58" y="119"/>
                      <a:pt x="59" y="116"/>
                    </a:cubicBezTo>
                    <a:cubicBezTo>
                      <a:pt x="60" y="114"/>
                      <a:pt x="60" y="114"/>
                      <a:pt x="60" y="114"/>
                    </a:cubicBezTo>
                    <a:cubicBezTo>
                      <a:pt x="61" y="111"/>
                      <a:pt x="62" y="109"/>
                      <a:pt x="63" y="106"/>
                    </a:cubicBezTo>
                    <a:cubicBezTo>
                      <a:pt x="59" y="103"/>
                      <a:pt x="59" y="103"/>
                      <a:pt x="59" y="103"/>
                    </a:cubicBezTo>
                    <a:cubicBezTo>
                      <a:pt x="65" y="105"/>
                      <a:pt x="65" y="105"/>
                      <a:pt x="65" y="105"/>
                    </a:cubicBezTo>
                    <a:cubicBezTo>
                      <a:pt x="65" y="104"/>
                      <a:pt x="65" y="104"/>
                      <a:pt x="65" y="104"/>
                    </a:cubicBezTo>
                    <a:cubicBezTo>
                      <a:pt x="66" y="104"/>
                      <a:pt x="66" y="104"/>
                      <a:pt x="66" y="104"/>
                    </a:cubicBezTo>
                    <a:cubicBezTo>
                      <a:pt x="66" y="103"/>
                      <a:pt x="66" y="103"/>
                      <a:pt x="66" y="103"/>
                    </a:cubicBezTo>
                    <a:cubicBezTo>
                      <a:pt x="67" y="102"/>
                      <a:pt x="68" y="101"/>
                      <a:pt x="68" y="101"/>
                    </a:cubicBezTo>
                    <a:cubicBezTo>
                      <a:pt x="69" y="100"/>
                      <a:pt x="69" y="100"/>
                      <a:pt x="69" y="100"/>
                    </a:cubicBezTo>
                    <a:cubicBezTo>
                      <a:pt x="68" y="100"/>
                      <a:pt x="67" y="100"/>
                      <a:pt x="67" y="100"/>
                    </a:cubicBezTo>
                    <a:cubicBezTo>
                      <a:pt x="65" y="99"/>
                      <a:pt x="64" y="98"/>
                      <a:pt x="62" y="97"/>
                    </a:cubicBezTo>
                    <a:cubicBezTo>
                      <a:pt x="62" y="97"/>
                      <a:pt x="62" y="97"/>
                      <a:pt x="62" y="97"/>
                    </a:cubicBezTo>
                    <a:cubicBezTo>
                      <a:pt x="61" y="96"/>
                      <a:pt x="61" y="94"/>
                      <a:pt x="61" y="93"/>
                    </a:cubicBezTo>
                    <a:cubicBezTo>
                      <a:pt x="61" y="93"/>
                      <a:pt x="61" y="93"/>
                      <a:pt x="61" y="93"/>
                    </a:cubicBezTo>
                    <a:cubicBezTo>
                      <a:pt x="59" y="92"/>
                      <a:pt x="59" y="90"/>
                      <a:pt x="58" y="89"/>
                    </a:cubicBezTo>
                    <a:cubicBezTo>
                      <a:pt x="50" y="75"/>
                      <a:pt x="50" y="75"/>
                      <a:pt x="50" y="75"/>
                    </a:cubicBezTo>
                    <a:cubicBezTo>
                      <a:pt x="58" y="75"/>
                      <a:pt x="58" y="75"/>
                      <a:pt x="58" y="75"/>
                    </a:cubicBezTo>
                    <a:cubicBezTo>
                      <a:pt x="63" y="76"/>
                      <a:pt x="65" y="76"/>
                      <a:pt x="66" y="76"/>
                    </a:cubicBezTo>
                    <a:cubicBezTo>
                      <a:pt x="68" y="76"/>
                      <a:pt x="68" y="76"/>
                      <a:pt x="68" y="76"/>
                    </a:cubicBezTo>
                    <a:cubicBezTo>
                      <a:pt x="69" y="75"/>
                      <a:pt x="70" y="67"/>
                      <a:pt x="70" y="62"/>
                    </a:cubicBezTo>
                    <a:cubicBezTo>
                      <a:pt x="69" y="60"/>
                      <a:pt x="69" y="58"/>
                      <a:pt x="71" y="57"/>
                    </a:cubicBezTo>
                    <a:cubicBezTo>
                      <a:pt x="72" y="56"/>
                      <a:pt x="72" y="56"/>
                      <a:pt x="72" y="56"/>
                    </a:cubicBezTo>
                    <a:cubicBezTo>
                      <a:pt x="72" y="54"/>
                      <a:pt x="73" y="53"/>
                      <a:pt x="73" y="52"/>
                    </a:cubicBezTo>
                    <a:cubicBezTo>
                      <a:pt x="73" y="49"/>
                      <a:pt x="73" y="49"/>
                      <a:pt x="73" y="49"/>
                    </a:cubicBezTo>
                    <a:cubicBezTo>
                      <a:pt x="73" y="47"/>
                      <a:pt x="74" y="44"/>
                      <a:pt x="73" y="42"/>
                    </a:cubicBezTo>
                    <a:cubicBezTo>
                      <a:pt x="73" y="41"/>
                      <a:pt x="72" y="40"/>
                      <a:pt x="72" y="40"/>
                    </a:cubicBezTo>
                    <a:cubicBezTo>
                      <a:pt x="71" y="36"/>
                      <a:pt x="69" y="32"/>
                      <a:pt x="74" y="28"/>
                    </a:cubicBezTo>
                    <a:cubicBezTo>
                      <a:pt x="75" y="27"/>
                      <a:pt x="75" y="27"/>
                      <a:pt x="75" y="27"/>
                    </a:cubicBezTo>
                    <a:cubicBezTo>
                      <a:pt x="77" y="25"/>
                      <a:pt x="79" y="24"/>
                      <a:pt x="80" y="23"/>
                    </a:cubicBezTo>
                    <a:cubicBezTo>
                      <a:pt x="82" y="22"/>
                      <a:pt x="83" y="22"/>
                      <a:pt x="84" y="21"/>
                    </a:cubicBezTo>
                    <a:cubicBezTo>
                      <a:pt x="85" y="20"/>
                      <a:pt x="85" y="20"/>
                      <a:pt x="85" y="20"/>
                    </a:cubicBezTo>
                    <a:cubicBezTo>
                      <a:pt x="87" y="18"/>
                      <a:pt x="88" y="17"/>
                      <a:pt x="89" y="16"/>
                    </a:cubicBezTo>
                    <a:cubicBezTo>
                      <a:pt x="89" y="15"/>
                      <a:pt x="88" y="15"/>
                      <a:pt x="87" y="15"/>
                    </a:cubicBezTo>
                    <a:cubicBezTo>
                      <a:pt x="87" y="14"/>
                      <a:pt x="87" y="14"/>
                      <a:pt x="86" y="14"/>
                    </a:cubicBezTo>
                    <a:cubicBezTo>
                      <a:pt x="84" y="13"/>
                      <a:pt x="80" y="12"/>
                      <a:pt x="81" y="8"/>
                    </a:cubicBezTo>
                    <a:cubicBezTo>
                      <a:pt x="81" y="8"/>
                      <a:pt x="81" y="8"/>
                      <a:pt x="81" y="7"/>
                    </a:cubicBezTo>
                    <a:cubicBezTo>
                      <a:pt x="81" y="7"/>
                      <a:pt x="81" y="6"/>
                      <a:pt x="81" y="5"/>
                    </a:cubicBezTo>
                    <a:cubicBezTo>
                      <a:pt x="81" y="5"/>
                      <a:pt x="81" y="5"/>
                      <a:pt x="81" y="5"/>
                    </a:cubicBezTo>
                    <a:cubicBezTo>
                      <a:pt x="81" y="5"/>
                      <a:pt x="81" y="5"/>
                      <a:pt x="81" y="5"/>
                    </a:cubicBezTo>
                    <a:cubicBezTo>
                      <a:pt x="81" y="5"/>
                      <a:pt x="80" y="5"/>
                      <a:pt x="79" y="5"/>
                    </a:cubicBezTo>
                    <a:cubicBezTo>
                      <a:pt x="79" y="5"/>
                      <a:pt x="79" y="5"/>
                      <a:pt x="79" y="5"/>
                    </a:cubicBezTo>
                    <a:cubicBezTo>
                      <a:pt x="78" y="5"/>
                      <a:pt x="76" y="5"/>
                      <a:pt x="75" y="5"/>
                    </a:cubicBezTo>
                    <a:cubicBezTo>
                      <a:pt x="75" y="5"/>
                      <a:pt x="74" y="5"/>
                      <a:pt x="74" y="5"/>
                    </a:cubicBezTo>
                    <a:cubicBezTo>
                      <a:pt x="73" y="5"/>
                      <a:pt x="72" y="5"/>
                      <a:pt x="71" y="5"/>
                    </a:cubicBezTo>
                    <a:cubicBezTo>
                      <a:pt x="71" y="5"/>
                      <a:pt x="71" y="5"/>
                      <a:pt x="71" y="5"/>
                    </a:cubicBezTo>
                    <a:cubicBezTo>
                      <a:pt x="69" y="6"/>
                      <a:pt x="68" y="7"/>
                      <a:pt x="66" y="7"/>
                    </a:cubicBezTo>
                    <a:cubicBezTo>
                      <a:pt x="66" y="7"/>
                      <a:pt x="65" y="8"/>
                      <a:pt x="64" y="8"/>
                    </a:cubicBezTo>
                    <a:cubicBezTo>
                      <a:pt x="63" y="8"/>
                      <a:pt x="63" y="8"/>
                      <a:pt x="62" y="8"/>
                    </a:cubicBezTo>
                    <a:cubicBezTo>
                      <a:pt x="61" y="8"/>
                      <a:pt x="61" y="8"/>
                      <a:pt x="61" y="8"/>
                    </a:cubicBezTo>
                    <a:cubicBezTo>
                      <a:pt x="59" y="9"/>
                      <a:pt x="57" y="9"/>
                      <a:pt x="55" y="9"/>
                    </a:cubicBezTo>
                    <a:cubicBezTo>
                      <a:pt x="54" y="9"/>
                      <a:pt x="54" y="9"/>
                      <a:pt x="54" y="9"/>
                    </a:cubicBezTo>
                    <a:cubicBezTo>
                      <a:pt x="52" y="9"/>
                      <a:pt x="51" y="8"/>
                      <a:pt x="49" y="8"/>
                    </a:cubicBezTo>
                    <a:cubicBezTo>
                      <a:pt x="49" y="8"/>
                      <a:pt x="49" y="7"/>
                      <a:pt x="48" y="7"/>
                    </a:cubicBezTo>
                    <a:cubicBezTo>
                      <a:pt x="48" y="7"/>
                      <a:pt x="48" y="7"/>
                      <a:pt x="48" y="7"/>
                    </a:cubicBezTo>
                    <a:cubicBezTo>
                      <a:pt x="47" y="6"/>
                      <a:pt x="47" y="6"/>
                      <a:pt x="47" y="6"/>
                    </a:cubicBezTo>
                    <a:cubicBezTo>
                      <a:pt x="45" y="8"/>
                      <a:pt x="43" y="10"/>
                      <a:pt x="41" y="10"/>
                    </a:cubicBezTo>
                    <a:cubicBezTo>
                      <a:pt x="41" y="10"/>
                      <a:pt x="40" y="10"/>
                      <a:pt x="40" y="10"/>
                    </a:cubicBezTo>
                    <a:cubicBezTo>
                      <a:pt x="40" y="10"/>
                      <a:pt x="40" y="10"/>
                      <a:pt x="40" y="10"/>
                    </a:cubicBezTo>
                    <a:cubicBezTo>
                      <a:pt x="40" y="10"/>
                      <a:pt x="40" y="10"/>
                      <a:pt x="40" y="10"/>
                    </a:cubicBezTo>
                    <a:cubicBezTo>
                      <a:pt x="40" y="10"/>
                      <a:pt x="39" y="10"/>
                      <a:pt x="39" y="10"/>
                    </a:cubicBezTo>
                    <a:cubicBezTo>
                      <a:pt x="39" y="10"/>
                      <a:pt x="39" y="10"/>
                      <a:pt x="39" y="10"/>
                    </a:cubicBezTo>
                    <a:cubicBezTo>
                      <a:pt x="36" y="10"/>
                      <a:pt x="35" y="9"/>
                      <a:pt x="35" y="8"/>
                    </a:cubicBezTo>
                    <a:cubicBezTo>
                      <a:pt x="34" y="7"/>
                      <a:pt x="33" y="6"/>
                      <a:pt x="34" y="3"/>
                    </a:cubicBezTo>
                    <a:cubicBezTo>
                      <a:pt x="34" y="2"/>
                      <a:pt x="34"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235"/>
              <p:cNvSpPr/>
              <p:nvPr/>
            </p:nvSpPr>
            <p:spPr bwMode="auto">
              <a:xfrm>
                <a:off x="3581933" y="5420806"/>
                <a:ext cx="1838873" cy="1437195"/>
              </a:xfrm>
              <a:custGeom>
                <a:gdLst>
                  <a:gd name="T0" fmla="*/ 397 w 579"/>
                  <a:gd name="T1" fmla="*/ 13 h 453"/>
                  <a:gd name="T2" fmla="*/ 354 w 579"/>
                  <a:gd name="T3" fmla="*/ 6 h 453"/>
                  <a:gd name="T4" fmla="*/ 323 w 579"/>
                  <a:gd name="T5" fmla="*/ 11 h 453"/>
                  <a:gd name="T6" fmla="*/ 252 w 579"/>
                  <a:gd name="T7" fmla="*/ 30 h 453"/>
                  <a:gd name="T8" fmla="*/ 232 w 579"/>
                  <a:gd name="T9" fmla="*/ 38 h 453"/>
                  <a:gd name="T10" fmla="*/ 205 w 579"/>
                  <a:gd name="T11" fmla="*/ 57 h 453"/>
                  <a:gd name="T12" fmla="*/ 186 w 579"/>
                  <a:gd name="T13" fmla="*/ 64 h 453"/>
                  <a:gd name="T14" fmla="*/ 193 w 579"/>
                  <a:gd name="T15" fmla="*/ 70 h 453"/>
                  <a:gd name="T16" fmla="*/ 195 w 579"/>
                  <a:gd name="T17" fmla="*/ 79 h 453"/>
                  <a:gd name="T18" fmla="*/ 199 w 579"/>
                  <a:gd name="T19" fmla="*/ 94 h 453"/>
                  <a:gd name="T20" fmla="*/ 198 w 579"/>
                  <a:gd name="T21" fmla="*/ 109 h 453"/>
                  <a:gd name="T22" fmla="*/ 217 w 579"/>
                  <a:gd name="T23" fmla="*/ 147 h 453"/>
                  <a:gd name="T24" fmla="*/ 212 w 579"/>
                  <a:gd name="T25" fmla="*/ 162 h 453"/>
                  <a:gd name="T26" fmla="*/ 197 w 579"/>
                  <a:gd name="T27" fmla="*/ 163 h 453"/>
                  <a:gd name="T28" fmla="*/ 192 w 579"/>
                  <a:gd name="T29" fmla="*/ 162 h 453"/>
                  <a:gd name="T30" fmla="*/ 172 w 579"/>
                  <a:gd name="T31" fmla="*/ 162 h 453"/>
                  <a:gd name="T32" fmla="*/ 162 w 579"/>
                  <a:gd name="T33" fmla="*/ 166 h 453"/>
                  <a:gd name="T34" fmla="*/ 144 w 579"/>
                  <a:gd name="T35" fmla="*/ 176 h 453"/>
                  <a:gd name="T36" fmla="*/ 138 w 579"/>
                  <a:gd name="T37" fmla="*/ 175 h 453"/>
                  <a:gd name="T38" fmla="*/ 138 w 579"/>
                  <a:gd name="T39" fmla="*/ 177 h 453"/>
                  <a:gd name="T40" fmla="*/ 139 w 579"/>
                  <a:gd name="T41" fmla="*/ 185 h 453"/>
                  <a:gd name="T42" fmla="*/ 136 w 579"/>
                  <a:gd name="T43" fmla="*/ 201 h 453"/>
                  <a:gd name="T44" fmla="*/ 97 w 579"/>
                  <a:gd name="T45" fmla="*/ 224 h 453"/>
                  <a:gd name="T46" fmla="*/ 62 w 579"/>
                  <a:gd name="T47" fmla="*/ 234 h 453"/>
                  <a:gd name="T48" fmla="*/ 51 w 579"/>
                  <a:gd name="T49" fmla="*/ 241 h 453"/>
                  <a:gd name="T50" fmla="*/ 40 w 579"/>
                  <a:gd name="T51" fmla="*/ 244 h 453"/>
                  <a:gd name="T52" fmla="*/ 15 w 579"/>
                  <a:gd name="T53" fmla="*/ 257 h 453"/>
                  <a:gd name="T54" fmla="*/ 1 w 579"/>
                  <a:gd name="T55" fmla="*/ 266 h 453"/>
                  <a:gd name="T56" fmla="*/ 106 w 579"/>
                  <a:gd name="T57" fmla="*/ 375 h 453"/>
                  <a:gd name="T58" fmla="*/ 129 w 579"/>
                  <a:gd name="T59" fmla="*/ 390 h 453"/>
                  <a:gd name="T60" fmla="*/ 220 w 579"/>
                  <a:gd name="T61" fmla="*/ 453 h 453"/>
                  <a:gd name="T62" fmla="*/ 577 w 579"/>
                  <a:gd name="T63" fmla="*/ 418 h 453"/>
                  <a:gd name="T64" fmla="*/ 565 w 579"/>
                  <a:gd name="T65" fmla="*/ 401 h 453"/>
                  <a:gd name="T66" fmla="*/ 548 w 579"/>
                  <a:gd name="T67" fmla="*/ 396 h 453"/>
                  <a:gd name="T68" fmla="*/ 543 w 579"/>
                  <a:gd name="T69" fmla="*/ 397 h 453"/>
                  <a:gd name="T70" fmla="*/ 538 w 579"/>
                  <a:gd name="T71" fmla="*/ 397 h 453"/>
                  <a:gd name="T72" fmla="*/ 533 w 579"/>
                  <a:gd name="T73" fmla="*/ 393 h 453"/>
                  <a:gd name="T74" fmla="*/ 526 w 579"/>
                  <a:gd name="T75" fmla="*/ 383 h 453"/>
                  <a:gd name="T76" fmla="*/ 519 w 579"/>
                  <a:gd name="T77" fmla="*/ 361 h 453"/>
                  <a:gd name="T78" fmla="*/ 515 w 579"/>
                  <a:gd name="T79" fmla="*/ 356 h 453"/>
                  <a:gd name="T80" fmla="*/ 518 w 579"/>
                  <a:gd name="T81" fmla="*/ 331 h 453"/>
                  <a:gd name="T82" fmla="*/ 520 w 579"/>
                  <a:gd name="T83" fmla="*/ 328 h 453"/>
                  <a:gd name="T84" fmla="*/ 518 w 579"/>
                  <a:gd name="T85" fmla="*/ 313 h 453"/>
                  <a:gd name="T86" fmla="*/ 521 w 579"/>
                  <a:gd name="T87" fmla="*/ 297 h 453"/>
                  <a:gd name="T88" fmla="*/ 519 w 579"/>
                  <a:gd name="T89" fmla="*/ 266 h 453"/>
                  <a:gd name="T90" fmla="*/ 513 w 579"/>
                  <a:gd name="T91" fmla="*/ 237 h 453"/>
                  <a:gd name="T92" fmla="*/ 507 w 579"/>
                  <a:gd name="T93" fmla="*/ 217 h 453"/>
                  <a:gd name="T94" fmla="*/ 510 w 579"/>
                  <a:gd name="T95" fmla="*/ 216 h 453"/>
                  <a:gd name="T96" fmla="*/ 497 w 579"/>
                  <a:gd name="T97" fmla="*/ 163 h 453"/>
                  <a:gd name="T98" fmla="*/ 480 w 579"/>
                  <a:gd name="T99" fmla="*/ 150 h 453"/>
                  <a:gd name="T100" fmla="*/ 475 w 579"/>
                  <a:gd name="T101" fmla="*/ 136 h 453"/>
                  <a:gd name="T102" fmla="*/ 468 w 579"/>
                  <a:gd name="T103" fmla="*/ 128 h 453"/>
                  <a:gd name="T104" fmla="*/ 457 w 579"/>
                  <a:gd name="T105" fmla="*/ 91 h 453"/>
                  <a:gd name="T106" fmla="*/ 479 w 579"/>
                  <a:gd name="T107" fmla="*/ 56 h 453"/>
                  <a:gd name="T108" fmla="*/ 477 w 579"/>
                  <a:gd name="T109" fmla="*/ 47 h 453"/>
                  <a:gd name="T110" fmla="*/ 475 w 579"/>
                  <a:gd name="T111" fmla="*/ 22 h 453"/>
                  <a:gd name="T112" fmla="*/ 465 w 579"/>
                  <a:gd name="T113" fmla="*/ 6 h 453"/>
                  <a:gd name="T114" fmla="*/ 447 w 579"/>
                  <a:gd name="T115" fmla="*/ 2 h 453"/>
                  <a:gd name="T116" fmla="*/ 432 w 579"/>
                  <a:gd name="T117" fmla="*/ 3 h 4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9" h="452">
                    <a:moveTo>
                      <a:pt x="424" y="0"/>
                    </a:moveTo>
                    <a:cubicBezTo>
                      <a:pt x="423" y="0"/>
                      <a:pt x="422" y="1"/>
                      <a:pt x="421" y="4"/>
                    </a:cubicBezTo>
                    <a:cubicBezTo>
                      <a:pt x="413" y="7"/>
                      <a:pt x="405" y="10"/>
                      <a:pt x="398" y="13"/>
                    </a:cubicBezTo>
                    <a:cubicBezTo>
                      <a:pt x="397" y="13"/>
                      <a:pt x="397" y="13"/>
                      <a:pt x="397" y="13"/>
                    </a:cubicBezTo>
                    <a:cubicBezTo>
                      <a:pt x="395" y="13"/>
                      <a:pt x="389" y="11"/>
                      <a:pt x="388" y="10"/>
                    </a:cubicBezTo>
                    <a:cubicBezTo>
                      <a:pt x="383" y="9"/>
                      <a:pt x="379" y="7"/>
                      <a:pt x="374" y="6"/>
                    </a:cubicBezTo>
                    <a:cubicBezTo>
                      <a:pt x="372" y="5"/>
                      <a:pt x="370" y="5"/>
                      <a:pt x="367" y="5"/>
                    </a:cubicBezTo>
                    <a:cubicBezTo>
                      <a:pt x="363" y="5"/>
                      <a:pt x="358" y="5"/>
                      <a:pt x="354" y="6"/>
                    </a:cubicBezTo>
                    <a:cubicBezTo>
                      <a:pt x="349" y="7"/>
                      <a:pt x="343" y="9"/>
                      <a:pt x="338" y="10"/>
                    </a:cubicBezTo>
                    <a:cubicBezTo>
                      <a:pt x="333" y="10"/>
                      <a:pt x="333" y="10"/>
                      <a:pt x="333" y="10"/>
                    </a:cubicBezTo>
                    <a:cubicBezTo>
                      <a:pt x="328" y="8"/>
                      <a:pt x="328" y="8"/>
                      <a:pt x="328" y="8"/>
                    </a:cubicBezTo>
                    <a:cubicBezTo>
                      <a:pt x="323" y="11"/>
                      <a:pt x="323" y="11"/>
                      <a:pt x="323" y="11"/>
                    </a:cubicBezTo>
                    <a:cubicBezTo>
                      <a:pt x="320" y="13"/>
                      <a:pt x="317" y="15"/>
                      <a:pt x="315" y="15"/>
                    </a:cubicBezTo>
                    <a:cubicBezTo>
                      <a:pt x="310" y="16"/>
                      <a:pt x="304" y="16"/>
                      <a:pt x="299" y="16"/>
                    </a:cubicBezTo>
                    <a:cubicBezTo>
                      <a:pt x="290" y="17"/>
                      <a:pt x="282" y="19"/>
                      <a:pt x="274" y="21"/>
                    </a:cubicBezTo>
                    <a:cubicBezTo>
                      <a:pt x="266" y="23"/>
                      <a:pt x="258" y="25"/>
                      <a:pt x="252" y="30"/>
                    </a:cubicBezTo>
                    <a:cubicBezTo>
                      <a:pt x="248" y="33"/>
                      <a:pt x="245" y="37"/>
                      <a:pt x="242" y="40"/>
                    </a:cubicBezTo>
                    <a:cubicBezTo>
                      <a:pt x="241" y="41"/>
                      <a:pt x="240" y="41"/>
                      <a:pt x="239" y="41"/>
                    </a:cubicBezTo>
                    <a:cubicBezTo>
                      <a:pt x="238" y="41"/>
                      <a:pt x="236" y="39"/>
                      <a:pt x="233" y="38"/>
                    </a:cubicBezTo>
                    <a:cubicBezTo>
                      <a:pt x="233" y="38"/>
                      <a:pt x="232" y="38"/>
                      <a:pt x="232" y="38"/>
                    </a:cubicBezTo>
                    <a:cubicBezTo>
                      <a:pt x="231" y="38"/>
                      <a:pt x="230" y="39"/>
                      <a:pt x="230" y="39"/>
                    </a:cubicBezTo>
                    <a:cubicBezTo>
                      <a:pt x="227" y="40"/>
                      <a:pt x="225" y="41"/>
                      <a:pt x="222" y="42"/>
                    </a:cubicBezTo>
                    <a:cubicBezTo>
                      <a:pt x="219" y="43"/>
                      <a:pt x="214" y="45"/>
                      <a:pt x="212" y="47"/>
                    </a:cubicBezTo>
                    <a:cubicBezTo>
                      <a:pt x="209" y="49"/>
                      <a:pt x="208" y="54"/>
                      <a:pt x="205" y="57"/>
                    </a:cubicBezTo>
                    <a:cubicBezTo>
                      <a:pt x="201" y="59"/>
                      <a:pt x="195" y="59"/>
                      <a:pt x="192" y="61"/>
                    </a:cubicBezTo>
                    <a:cubicBezTo>
                      <a:pt x="189" y="61"/>
                      <a:pt x="187" y="62"/>
                      <a:pt x="184" y="63"/>
                    </a:cubicBezTo>
                    <a:cubicBezTo>
                      <a:pt x="185" y="63"/>
                      <a:pt x="185" y="63"/>
                      <a:pt x="185" y="63"/>
                    </a:cubicBezTo>
                    <a:cubicBezTo>
                      <a:pt x="186" y="64"/>
                      <a:pt x="186" y="64"/>
                      <a:pt x="186" y="64"/>
                    </a:cubicBezTo>
                    <a:cubicBezTo>
                      <a:pt x="187" y="65"/>
                      <a:pt x="188" y="66"/>
                      <a:pt x="188" y="67"/>
                    </a:cubicBezTo>
                    <a:cubicBezTo>
                      <a:pt x="190" y="68"/>
                      <a:pt x="190" y="68"/>
                      <a:pt x="190" y="68"/>
                    </a:cubicBezTo>
                    <a:cubicBezTo>
                      <a:pt x="190" y="68"/>
                      <a:pt x="191" y="69"/>
                      <a:pt x="191" y="69"/>
                    </a:cubicBezTo>
                    <a:cubicBezTo>
                      <a:pt x="193" y="70"/>
                      <a:pt x="193" y="70"/>
                      <a:pt x="193" y="70"/>
                    </a:cubicBezTo>
                    <a:cubicBezTo>
                      <a:pt x="194" y="71"/>
                      <a:pt x="196" y="72"/>
                      <a:pt x="197" y="73"/>
                    </a:cubicBezTo>
                    <a:cubicBezTo>
                      <a:pt x="197" y="74"/>
                      <a:pt x="197" y="74"/>
                      <a:pt x="197" y="74"/>
                    </a:cubicBezTo>
                    <a:cubicBezTo>
                      <a:pt x="197" y="75"/>
                      <a:pt x="197" y="75"/>
                      <a:pt x="197" y="75"/>
                    </a:cubicBezTo>
                    <a:cubicBezTo>
                      <a:pt x="197" y="77"/>
                      <a:pt x="196" y="78"/>
                      <a:pt x="195" y="79"/>
                    </a:cubicBezTo>
                    <a:cubicBezTo>
                      <a:pt x="196" y="79"/>
                      <a:pt x="196" y="80"/>
                      <a:pt x="197" y="80"/>
                    </a:cubicBezTo>
                    <a:cubicBezTo>
                      <a:pt x="200" y="83"/>
                      <a:pt x="198" y="86"/>
                      <a:pt x="198" y="87"/>
                    </a:cubicBezTo>
                    <a:cubicBezTo>
                      <a:pt x="197" y="88"/>
                      <a:pt x="197" y="88"/>
                      <a:pt x="197" y="88"/>
                    </a:cubicBezTo>
                    <a:cubicBezTo>
                      <a:pt x="199" y="94"/>
                      <a:pt x="199" y="94"/>
                      <a:pt x="199" y="94"/>
                    </a:cubicBezTo>
                    <a:cubicBezTo>
                      <a:pt x="200" y="97"/>
                      <a:pt x="199" y="101"/>
                      <a:pt x="198" y="105"/>
                    </a:cubicBezTo>
                    <a:cubicBezTo>
                      <a:pt x="198" y="106"/>
                      <a:pt x="198" y="106"/>
                      <a:pt x="198" y="106"/>
                    </a:cubicBezTo>
                    <a:cubicBezTo>
                      <a:pt x="198" y="106"/>
                      <a:pt x="198" y="107"/>
                      <a:pt x="198" y="108"/>
                    </a:cubicBezTo>
                    <a:cubicBezTo>
                      <a:pt x="198" y="108"/>
                      <a:pt x="198" y="109"/>
                      <a:pt x="198" y="109"/>
                    </a:cubicBezTo>
                    <a:cubicBezTo>
                      <a:pt x="209" y="137"/>
                      <a:pt x="209" y="137"/>
                      <a:pt x="209" y="137"/>
                    </a:cubicBezTo>
                    <a:cubicBezTo>
                      <a:pt x="209" y="138"/>
                      <a:pt x="210" y="139"/>
                      <a:pt x="211" y="140"/>
                    </a:cubicBezTo>
                    <a:cubicBezTo>
                      <a:pt x="213" y="141"/>
                      <a:pt x="213" y="141"/>
                      <a:pt x="213" y="141"/>
                    </a:cubicBezTo>
                    <a:cubicBezTo>
                      <a:pt x="215" y="142"/>
                      <a:pt x="217" y="143"/>
                      <a:pt x="217" y="147"/>
                    </a:cubicBezTo>
                    <a:cubicBezTo>
                      <a:pt x="217" y="150"/>
                      <a:pt x="215" y="152"/>
                      <a:pt x="213" y="153"/>
                    </a:cubicBezTo>
                    <a:cubicBezTo>
                      <a:pt x="212" y="155"/>
                      <a:pt x="212" y="155"/>
                      <a:pt x="212" y="155"/>
                    </a:cubicBezTo>
                    <a:cubicBezTo>
                      <a:pt x="213" y="156"/>
                      <a:pt x="214" y="157"/>
                      <a:pt x="213" y="159"/>
                    </a:cubicBezTo>
                    <a:cubicBezTo>
                      <a:pt x="213" y="160"/>
                      <a:pt x="212" y="161"/>
                      <a:pt x="212" y="162"/>
                    </a:cubicBezTo>
                    <a:cubicBezTo>
                      <a:pt x="210" y="163"/>
                      <a:pt x="209" y="163"/>
                      <a:pt x="207" y="163"/>
                    </a:cubicBezTo>
                    <a:cubicBezTo>
                      <a:pt x="207" y="163"/>
                      <a:pt x="206" y="163"/>
                      <a:pt x="206" y="163"/>
                    </a:cubicBezTo>
                    <a:cubicBezTo>
                      <a:pt x="205" y="163"/>
                      <a:pt x="204" y="163"/>
                      <a:pt x="204" y="163"/>
                    </a:cubicBezTo>
                    <a:cubicBezTo>
                      <a:pt x="202" y="163"/>
                      <a:pt x="199" y="163"/>
                      <a:pt x="197" y="163"/>
                    </a:cubicBezTo>
                    <a:cubicBezTo>
                      <a:pt x="197" y="161"/>
                      <a:pt x="197" y="161"/>
                      <a:pt x="197" y="161"/>
                    </a:cubicBezTo>
                    <a:cubicBezTo>
                      <a:pt x="197" y="161"/>
                      <a:pt x="197" y="161"/>
                      <a:pt x="197" y="161"/>
                    </a:cubicBezTo>
                    <a:cubicBezTo>
                      <a:pt x="196" y="163"/>
                      <a:pt x="196" y="163"/>
                      <a:pt x="196" y="163"/>
                    </a:cubicBezTo>
                    <a:cubicBezTo>
                      <a:pt x="195" y="162"/>
                      <a:pt x="193" y="162"/>
                      <a:pt x="192" y="162"/>
                    </a:cubicBezTo>
                    <a:cubicBezTo>
                      <a:pt x="189" y="162"/>
                      <a:pt x="186" y="162"/>
                      <a:pt x="183" y="161"/>
                    </a:cubicBezTo>
                    <a:cubicBezTo>
                      <a:pt x="182" y="161"/>
                      <a:pt x="182" y="161"/>
                      <a:pt x="182" y="161"/>
                    </a:cubicBezTo>
                    <a:cubicBezTo>
                      <a:pt x="180" y="161"/>
                      <a:pt x="179" y="161"/>
                      <a:pt x="178" y="161"/>
                    </a:cubicBezTo>
                    <a:cubicBezTo>
                      <a:pt x="176" y="161"/>
                      <a:pt x="174" y="161"/>
                      <a:pt x="172" y="162"/>
                    </a:cubicBezTo>
                    <a:cubicBezTo>
                      <a:pt x="171" y="162"/>
                      <a:pt x="170" y="162"/>
                      <a:pt x="169" y="162"/>
                    </a:cubicBezTo>
                    <a:cubicBezTo>
                      <a:pt x="169" y="162"/>
                      <a:pt x="169" y="162"/>
                      <a:pt x="169" y="162"/>
                    </a:cubicBezTo>
                    <a:cubicBezTo>
                      <a:pt x="168" y="162"/>
                      <a:pt x="167" y="162"/>
                      <a:pt x="166" y="163"/>
                    </a:cubicBezTo>
                    <a:cubicBezTo>
                      <a:pt x="164" y="163"/>
                      <a:pt x="163" y="164"/>
                      <a:pt x="162" y="166"/>
                    </a:cubicBezTo>
                    <a:cubicBezTo>
                      <a:pt x="161" y="168"/>
                      <a:pt x="159" y="171"/>
                      <a:pt x="156" y="172"/>
                    </a:cubicBezTo>
                    <a:cubicBezTo>
                      <a:pt x="156" y="172"/>
                      <a:pt x="155" y="173"/>
                      <a:pt x="154" y="173"/>
                    </a:cubicBezTo>
                    <a:cubicBezTo>
                      <a:pt x="153" y="173"/>
                      <a:pt x="153" y="173"/>
                      <a:pt x="153" y="173"/>
                    </a:cubicBezTo>
                    <a:cubicBezTo>
                      <a:pt x="150" y="174"/>
                      <a:pt x="147" y="176"/>
                      <a:pt x="144" y="176"/>
                    </a:cubicBezTo>
                    <a:cubicBezTo>
                      <a:pt x="144" y="176"/>
                      <a:pt x="144" y="176"/>
                      <a:pt x="143" y="176"/>
                    </a:cubicBezTo>
                    <a:cubicBezTo>
                      <a:pt x="143" y="176"/>
                      <a:pt x="143" y="176"/>
                      <a:pt x="142" y="176"/>
                    </a:cubicBezTo>
                    <a:cubicBezTo>
                      <a:pt x="141" y="176"/>
                      <a:pt x="140" y="176"/>
                      <a:pt x="139" y="175"/>
                    </a:cubicBezTo>
                    <a:cubicBezTo>
                      <a:pt x="138" y="175"/>
                      <a:pt x="138" y="175"/>
                      <a:pt x="138" y="175"/>
                    </a:cubicBezTo>
                    <a:cubicBezTo>
                      <a:pt x="137" y="175"/>
                      <a:pt x="137" y="175"/>
                      <a:pt x="137" y="175"/>
                    </a:cubicBezTo>
                    <a:cubicBezTo>
                      <a:pt x="137" y="176"/>
                      <a:pt x="137" y="176"/>
                      <a:pt x="137" y="176"/>
                    </a:cubicBezTo>
                    <a:cubicBezTo>
                      <a:pt x="137" y="176"/>
                      <a:pt x="138" y="176"/>
                      <a:pt x="138" y="177"/>
                    </a:cubicBezTo>
                    <a:cubicBezTo>
                      <a:pt x="138" y="177"/>
                      <a:pt x="138" y="177"/>
                      <a:pt x="138" y="177"/>
                    </a:cubicBezTo>
                    <a:cubicBezTo>
                      <a:pt x="138" y="177"/>
                      <a:pt x="138" y="177"/>
                      <a:pt x="138" y="177"/>
                    </a:cubicBezTo>
                    <a:cubicBezTo>
                      <a:pt x="139" y="178"/>
                      <a:pt x="140" y="179"/>
                      <a:pt x="140" y="179"/>
                    </a:cubicBezTo>
                    <a:cubicBezTo>
                      <a:pt x="141" y="180"/>
                      <a:pt x="141" y="182"/>
                      <a:pt x="140" y="184"/>
                    </a:cubicBezTo>
                    <a:cubicBezTo>
                      <a:pt x="140" y="184"/>
                      <a:pt x="139" y="185"/>
                      <a:pt x="139" y="185"/>
                    </a:cubicBezTo>
                    <a:cubicBezTo>
                      <a:pt x="140" y="185"/>
                      <a:pt x="141" y="186"/>
                      <a:pt x="141" y="186"/>
                    </a:cubicBezTo>
                    <a:cubicBezTo>
                      <a:pt x="142" y="187"/>
                      <a:pt x="144" y="189"/>
                      <a:pt x="144" y="191"/>
                    </a:cubicBezTo>
                    <a:cubicBezTo>
                      <a:pt x="146" y="197"/>
                      <a:pt x="140" y="199"/>
                      <a:pt x="137" y="200"/>
                    </a:cubicBezTo>
                    <a:cubicBezTo>
                      <a:pt x="137" y="200"/>
                      <a:pt x="136" y="200"/>
                      <a:pt x="136" y="201"/>
                    </a:cubicBezTo>
                    <a:cubicBezTo>
                      <a:pt x="106" y="214"/>
                      <a:pt x="106" y="214"/>
                      <a:pt x="106" y="214"/>
                    </a:cubicBezTo>
                    <a:cubicBezTo>
                      <a:pt x="104" y="215"/>
                      <a:pt x="103" y="217"/>
                      <a:pt x="101" y="218"/>
                    </a:cubicBezTo>
                    <a:cubicBezTo>
                      <a:pt x="101" y="220"/>
                      <a:pt x="100" y="221"/>
                      <a:pt x="99" y="222"/>
                    </a:cubicBezTo>
                    <a:cubicBezTo>
                      <a:pt x="97" y="224"/>
                      <a:pt x="97" y="224"/>
                      <a:pt x="97" y="224"/>
                    </a:cubicBezTo>
                    <a:cubicBezTo>
                      <a:pt x="96" y="225"/>
                      <a:pt x="95" y="226"/>
                      <a:pt x="94" y="227"/>
                    </a:cubicBezTo>
                    <a:cubicBezTo>
                      <a:pt x="92" y="229"/>
                      <a:pt x="90" y="230"/>
                      <a:pt x="88" y="231"/>
                    </a:cubicBezTo>
                    <a:cubicBezTo>
                      <a:pt x="84" y="232"/>
                      <a:pt x="74" y="235"/>
                      <a:pt x="66" y="235"/>
                    </a:cubicBezTo>
                    <a:cubicBezTo>
                      <a:pt x="65" y="235"/>
                      <a:pt x="63" y="235"/>
                      <a:pt x="62" y="234"/>
                    </a:cubicBezTo>
                    <a:cubicBezTo>
                      <a:pt x="61" y="237"/>
                      <a:pt x="59" y="241"/>
                      <a:pt x="55" y="242"/>
                    </a:cubicBezTo>
                    <a:cubicBezTo>
                      <a:pt x="55" y="242"/>
                      <a:pt x="55" y="242"/>
                      <a:pt x="54" y="242"/>
                    </a:cubicBezTo>
                    <a:cubicBezTo>
                      <a:pt x="54" y="242"/>
                      <a:pt x="53" y="242"/>
                      <a:pt x="53" y="242"/>
                    </a:cubicBezTo>
                    <a:cubicBezTo>
                      <a:pt x="52" y="242"/>
                      <a:pt x="51" y="241"/>
                      <a:pt x="51" y="241"/>
                    </a:cubicBezTo>
                    <a:cubicBezTo>
                      <a:pt x="50" y="241"/>
                      <a:pt x="50" y="241"/>
                      <a:pt x="50" y="241"/>
                    </a:cubicBezTo>
                    <a:cubicBezTo>
                      <a:pt x="50" y="241"/>
                      <a:pt x="50" y="241"/>
                      <a:pt x="50" y="241"/>
                    </a:cubicBezTo>
                    <a:cubicBezTo>
                      <a:pt x="48" y="242"/>
                      <a:pt x="46" y="242"/>
                      <a:pt x="44" y="243"/>
                    </a:cubicBezTo>
                    <a:cubicBezTo>
                      <a:pt x="40" y="244"/>
                      <a:pt x="40" y="244"/>
                      <a:pt x="40" y="244"/>
                    </a:cubicBezTo>
                    <a:cubicBezTo>
                      <a:pt x="38" y="244"/>
                      <a:pt x="37" y="245"/>
                      <a:pt x="35" y="245"/>
                    </a:cubicBezTo>
                    <a:cubicBezTo>
                      <a:pt x="33" y="246"/>
                      <a:pt x="31" y="246"/>
                      <a:pt x="28" y="247"/>
                    </a:cubicBezTo>
                    <a:cubicBezTo>
                      <a:pt x="27" y="248"/>
                      <a:pt x="26" y="249"/>
                      <a:pt x="25" y="249"/>
                    </a:cubicBezTo>
                    <a:cubicBezTo>
                      <a:pt x="22" y="252"/>
                      <a:pt x="18" y="255"/>
                      <a:pt x="15" y="257"/>
                    </a:cubicBezTo>
                    <a:cubicBezTo>
                      <a:pt x="11" y="259"/>
                      <a:pt x="11" y="259"/>
                      <a:pt x="11" y="259"/>
                    </a:cubicBezTo>
                    <a:cubicBezTo>
                      <a:pt x="10" y="260"/>
                      <a:pt x="9" y="260"/>
                      <a:pt x="8" y="261"/>
                    </a:cubicBezTo>
                    <a:cubicBezTo>
                      <a:pt x="6" y="263"/>
                      <a:pt x="6" y="263"/>
                      <a:pt x="6" y="263"/>
                    </a:cubicBezTo>
                    <a:cubicBezTo>
                      <a:pt x="4" y="264"/>
                      <a:pt x="3" y="265"/>
                      <a:pt x="1" y="266"/>
                    </a:cubicBezTo>
                    <a:cubicBezTo>
                      <a:pt x="1" y="266"/>
                      <a:pt x="1" y="267"/>
                      <a:pt x="0" y="267"/>
                    </a:cubicBezTo>
                    <a:cubicBezTo>
                      <a:pt x="0" y="293"/>
                      <a:pt x="0" y="293"/>
                      <a:pt x="0" y="293"/>
                    </a:cubicBezTo>
                    <a:cubicBezTo>
                      <a:pt x="1" y="307"/>
                      <a:pt x="1" y="307"/>
                      <a:pt x="1" y="307"/>
                    </a:cubicBezTo>
                    <a:cubicBezTo>
                      <a:pt x="40" y="331"/>
                      <a:pt x="74" y="354"/>
                      <a:pt x="106" y="375"/>
                    </a:cubicBezTo>
                    <a:cubicBezTo>
                      <a:pt x="107" y="375"/>
                      <a:pt x="107" y="375"/>
                      <a:pt x="107" y="375"/>
                    </a:cubicBezTo>
                    <a:cubicBezTo>
                      <a:pt x="126" y="382"/>
                      <a:pt x="126" y="382"/>
                      <a:pt x="126" y="382"/>
                    </a:cubicBezTo>
                    <a:cubicBezTo>
                      <a:pt x="117" y="382"/>
                      <a:pt x="117" y="382"/>
                      <a:pt x="117" y="382"/>
                    </a:cubicBezTo>
                    <a:cubicBezTo>
                      <a:pt x="129" y="390"/>
                      <a:pt x="129" y="390"/>
                      <a:pt x="129" y="390"/>
                    </a:cubicBezTo>
                    <a:cubicBezTo>
                      <a:pt x="129" y="390"/>
                      <a:pt x="129" y="390"/>
                      <a:pt x="129" y="390"/>
                    </a:cubicBezTo>
                    <a:cubicBezTo>
                      <a:pt x="136" y="395"/>
                      <a:pt x="145" y="401"/>
                      <a:pt x="153" y="406"/>
                    </a:cubicBezTo>
                    <a:cubicBezTo>
                      <a:pt x="166" y="416"/>
                      <a:pt x="180" y="425"/>
                      <a:pt x="193" y="434"/>
                    </a:cubicBezTo>
                    <a:cubicBezTo>
                      <a:pt x="201" y="440"/>
                      <a:pt x="210" y="447"/>
                      <a:pt x="220" y="453"/>
                    </a:cubicBezTo>
                    <a:cubicBezTo>
                      <a:pt x="528" y="453"/>
                      <a:pt x="528" y="453"/>
                      <a:pt x="528" y="453"/>
                    </a:cubicBezTo>
                    <a:cubicBezTo>
                      <a:pt x="579" y="422"/>
                      <a:pt x="579" y="422"/>
                      <a:pt x="579" y="422"/>
                    </a:cubicBezTo>
                    <a:cubicBezTo>
                      <a:pt x="578" y="421"/>
                      <a:pt x="578" y="420"/>
                      <a:pt x="577" y="419"/>
                    </a:cubicBezTo>
                    <a:cubicBezTo>
                      <a:pt x="577" y="418"/>
                      <a:pt x="577" y="418"/>
                      <a:pt x="577" y="418"/>
                    </a:cubicBezTo>
                    <a:cubicBezTo>
                      <a:pt x="576" y="417"/>
                      <a:pt x="575" y="415"/>
                      <a:pt x="575" y="414"/>
                    </a:cubicBezTo>
                    <a:cubicBezTo>
                      <a:pt x="574" y="412"/>
                      <a:pt x="573" y="410"/>
                      <a:pt x="572" y="408"/>
                    </a:cubicBezTo>
                    <a:cubicBezTo>
                      <a:pt x="571" y="407"/>
                      <a:pt x="571" y="407"/>
                      <a:pt x="570" y="406"/>
                    </a:cubicBezTo>
                    <a:cubicBezTo>
                      <a:pt x="569" y="403"/>
                      <a:pt x="568" y="402"/>
                      <a:pt x="565" y="401"/>
                    </a:cubicBezTo>
                    <a:cubicBezTo>
                      <a:pt x="559" y="399"/>
                      <a:pt x="559" y="399"/>
                      <a:pt x="559" y="399"/>
                    </a:cubicBezTo>
                    <a:cubicBezTo>
                      <a:pt x="557" y="398"/>
                      <a:pt x="554" y="398"/>
                      <a:pt x="552" y="397"/>
                    </a:cubicBezTo>
                    <a:cubicBezTo>
                      <a:pt x="550" y="396"/>
                      <a:pt x="549" y="396"/>
                      <a:pt x="548" y="396"/>
                    </a:cubicBezTo>
                    <a:cubicBezTo>
                      <a:pt x="548" y="396"/>
                      <a:pt x="548" y="396"/>
                      <a:pt x="548" y="396"/>
                    </a:cubicBezTo>
                    <a:cubicBezTo>
                      <a:pt x="548" y="396"/>
                      <a:pt x="548" y="396"/>
                      <a:pt x="548" y="396"/>
                    </a:cubicBezTo>
                    <a:cubicBezTo>
                      <a:pt x="547" y="396"/>
                      <a:pt x="546" y="396"/>
                      <a:pt x="544" y="397"/>
                    </a:cubicBezTo>
                    <a:cubicBezTo>
                      <a:pt x="543" y="397"/>
                      <a:pt x="543" y="397"/>
                      <a:pt x="543" y="397"/>
                    </a:cubicBezTo>
                    <a:cubicBezTo>
                      <a:pt x="543" y="397"/>
                      <a:pt x="543" y="397"/>
                      <a:pt x="543" y="397"/>
                    </a:cubicBezTo>
                    <a:cubicBezTo>
                      <a:pt x="543" y="404"/>
                      <a:pt x="543" y="404"/>
                      <a:pt x="543" y="404"/>
                    </a:cubicBezTo>
                    <a:cubicBezTo>
                      <a:pt x="541" y="397"/>
                      <a:pt x="541" y="397"/>
                      <a:pt x="541" y="397"/>
                    </a:cubicBezTo>
                    <a:cubicBezTo>
                      <a:pt x="540" y="397"/>
                      <a:pt x="540" y="397"/>
                      <a:pt x="540" y="397"/>
                    </a:cubicBezTo>
                    <a:cubicBezTo>
                      <a:pt x="539" y="397"/>
                      <a:pt x="539" y="397"/>
                      <a:pt x="538" y="397"/>
                    </a:cubicBezTo>
                    <a:cubicBezTo>
                      <a:pt x="537" y="396"/>
                      <a:pt x="537" y="396"/>
                      <a:pt x="537" y="396"/>
                    </a:cubicBezTo>
                    <a:cubicBezTo>
                      <a:pt x="536" y="396"/>
                      <a:pt x="535" y="395"/>
                      <a:pt x="534" y="394"/>
                    </a:cubicBezTo>
                    <a:cubicBezTo>
                      <a:pt x="534" y="394"/>
                      <a:pt x="534" y="394"/>
                      <a:pt x="534" y="394"/>
                    </a:cubicBezTo>
                    <a:cubicBezTo>
                      <a:pt x="533" y="393"/>
                      <a:pt x="533" y="393"/>
                      <a:pt x="533" y="393"/>
                    </a:cubicBezTo>
                    <a:cubicBezTo>
                      <a:pt x="531" y="391"/>
                      <a:pt x="529" y="389"/>
                      <a:pt x="528" y="387"/>
                    </a:cubicBezTo>
                    <a:cubicBezTo>
                      <a:pt x="527" y="386"/>
                      <a:pt x="527" y="385"/>
                      <a:pt x="526" y="384"/>
                    </a:cubicBezTo>
                    <a:cubicBezTo>
                      <a:pt x="526" y="384"/>
                      <a:pt x="526" y="383"/>
                      <a:pt x="526" y="383"/>
                    </a:cubicBezTo>
                    <a:cubicBezTo>
                      <a:pt x="526" y="383"/>
                      <a:pt x="526" y="383"/>
                      <a:pt x="526" y="383"/>
                    </a:cubicBezTo>
                    <a:cubicBezTo>
                      <a:pt x="526" y="382"/>
                      <a:pt x="526" y="382"/>
                      <a:pt x="526" y="382"/>
                    </a:cubicBezTo>
                    <a:cubicBezTo>
                      <a:pt x="525" y="380"/>
                      <a:pt x="525" y="377"/>
                      <a:pt x="524" y="375"/>
                    </a:cubicBezTo>
                    <a:cubicBezTo>
                      <a:pt x="523" y="371"/>
                      <a:pt x="523" y="367"/>
                      <a:pt x="521" y="364"/>
                    </a:cubicBezTo>
                    <a:cubicBezTo>
                      <a:pt x="521" y="363"/>
                      <a:pt x="520" y="362"/>
                      <a:pt x="519" y="361"/>
                    </a:cubicBezTo>
                    <a:cubicBezTo>
                      <a:pt x="518" y="360"/>
                      <a:pt x="518" y="360"/>
                      <a:pt x="518" y="360"/>
                    </a:cubicBezTo>
                    <a:cubicBezTo>
                      <a:pt x="518" y="360"/>
                      <a:pt x="518" y="359"/>
                      <a:pt x="517" y="359"/>
                    </a:cubicBezTo>
                    <a:cubicBezTo>
                      <a:pt x="517" y="358"/>
                      <a:pt x="517" y="358"/>
                      <a:pt x="517" y="358"/>
                    </a:cubicBezTo>
                    <a:cubicBezTo>
                      <a:pt x="516" y="358"/>
                      <a:pt x="516" y="357"/>
                      <a:pt x="515" y="356"/>
                    </a:cubicBezTo>
                    <a:cubicBezTo>
                      <a:pt x="511" y="351"/>
                      <a:pt x="508" y="347"/>
                      <a:pt x="508" y="344"/>
                    </a:cubicBezTo>
                    <a:cubicBezTo>
                      <a:pt x="507" y="341"/>
                      <a:pt x="508" y="339"/>
                      <a:pt x="512" y="336"/>
                    </a:cubicBezTo>
                    <a:cubicBezTo>
                      <a:pt x="512" y="335"/>
                      <a:pt x="514" y="333"/>
                      <a:pt x="515" y="333"/>
                    </a:cubicBezTo>
                    <a:cubicBezTo>
                      <a:pt x="516" y="332"/>
                      <a:pt x="517" y="331"/>
                      <a:pt x="518" y="331"/>
                    </a:cubicBezTo>
                    <a:cubicBezTo>
                      <a:pt x="519" y="331"/>
                      <a:pt x="519" y="331"/>
                      <a:pt x="519" y="331"/>
                    </a:cubicBezTo>
                    <a:cubicBezTo>
                      <a:pt x="519" y="330"/>
                      <a:pt x="520" y="330"/>
                      <a:pt x="520" y="330"/>
                    </a:cubicBezTo>
                    <a:cubicBezTo>
                      <a:pt x="520" y="330"/>
                      <a:pt x="520" y="329"/>
                      <a:pt x="520" y="329"/>
                    </a:cubicBezTo>
                    <a:cubicBezTo>
                      <a:pt x="520" y="328"/>
                      <a:pt x="520" y="328"/>
                      <a:pt x="520" y="328"/>
                    </a:cubicBezTo>
                    <a:cubicBezTo>
                      <a:pt x="519" y="325"/>
                      <a:pt x="519" y="322"/>
                      <a:pt x="519" y="319"/>
                    </a:cubicBezTo>
                    <a:cubicBezTo>
                      <a:pt x="518" y="317"/>
                      <a:pt x="518" y="317"/>
                      <a:pt x="518" y="317"/>
                    </a:cubicBezTo>
                    <a:cubicBezTo>
                      <a:pt x="518" y="316"/>
                      <a:pt x="518" y="315"/>
                      <a:pt x="518" y="315"/>
                    </a:cubicBezTo>
                    <a:cubicBezTo>
                      <a:pt x="518" y="314"/>
                      <a:pt x="518" y="314"/>
                      <a:pt x="518" y="313"/>
                    </a:cubicBezTo>
                    <a:cubicBezTo>
                      <a:pt x="517" y="312"/>
                      <a:pt x="517" y="311"/>
                      <a:pt x="517" y="309"/>
                    </a:cubicBezTo>
                    <a:cubicBezTo>
                      <a:pt x="516" y="306"/>
                      <a:pt x="518" y="303"/>
                      <a:pt x="519" y="301"/>
                    </a:cubicBezTo>
                    <a:cubicBezTo>
                      <a:pt x="519" y="300"/>
                      <a:pt x="519" y="299"/>
                      <a:pt x="520" y="299"/>
                    </a:cubicBezTo>
                    <a:cubicBezTo>
                      <a:pt x="520" y="298"/>
                      <a:pt x="520" y="297"/>
                      <a:pt x="521" y="297"/>
                    </a:cubicBezTo>
                    <a:cubicBezTo>
                      <a:pt x="522" y="294"/>
                      <a:pt x="522" y="293"/>
                      <a:pt x="522" y="291"/>
                    </a:cubicBezTo>
                    <a:cubicBezTo>
                      <a:pt x="520" y="286"/>
                      <a:pt x="520" y="286"/>
                      <a:pt x="520" y="286"/>
                    </a:cubicBezTo>
                    <a:cubicBezTo>
                      <a:pt x="520" y="284"/>
                      <a:pt x="519" y="282"/>
                      <a:pt x="519" y="280"/>
                    </a:cubicBezTo>
                    <a:cubicBezTo>
                      <a:pt x="518" y="275"/>
                      <a:pt x="519" y="271"/>
                      <a:pt x="519" y="266"/>
                    </a:cubicBezTo>
                    <a:cubicBezTo>
                      <a:pt x="519" y="265"/>
                      <a:pt x="519" y="265"/>
                      <a:pt x="519" y="265"/>
                    </a:cubicBezTo>
                    <a:cubicBezTo>
                      <a:pt x="520" y="264"/>
                      <a:pt x="520" y="263"/>
                      <a:pt x="520" y="261"/>
                    </a:cubicBezTo>
                    <a:cubicBezTo>
                      <a:pt x="520" y="253"/>
                      <a:pt x="519" y="246"/>
                      <a:pt x="515" y="240"/>
                    </a:cubicBezTo>
                    <a:cubicBezTo>
                      <a:pt x="515" y="240"/>
                      <a:pt x="514" y="239"/>
                      <a:pt x="513" y="237"/>
                    </a:cubicBezTo>
                    <a:cubicBezTo>
                      <a:pt x="509" y="231"/>
                      <a:pt x="506" y="226"/>
                      <a:pt x="505" y="222"/>
                    </a:cubicBezTo>
                    <a:cubicBezTo>
                      <a:pt x="505" y="222"/>
                      <a:pt x="505" y="221"/>
                      <a:pt x="505" y="221"/>
                    </a:cubicBezTo>
                    <a:cubicBezTo>
                      <a:pt x="505" y="221"/>
                      <a:pt x="505" y="220"/>
                      <a:pt x="506" y="219"/>
                    </a:cubicBezTo>
                    <a:cubicBezTo>
                      <a:pt x="507" y="217"/>
                      <a:pt x="507" y="217"/>
                      <a:pt x="507" y="217"/>
                    </a:cubicBezTo>
                    <a:cubicBezTo>
                      <a:pt x="509" y="217"/>
                      <a:pt x="509" y="217"/>
                      <a:pt x="509" y="217"/>
                    </a:cubicBezTo>
                    <a:cubicBezTo>
                      <a:pt x="510" y="218"/>
                      <a:pt x="510" y="218"/>
                      <a:pt x="510" y="218"/>
                    </a:cubicBezTo>
                    <a:cubicBezTo>
                      <a:pt x="509" y="217"/>
                      <a:pt x="509" y="217"/>
                      <a:pt x="509" y="217"/>
                    </a:cubicBezTo>
                    <a:cubicBezTo>
                      <a:pt x="509" y="217"/>
                      <a:pt x="510" y="216"/>
                      <a:pt x="510" y="216"/>
                    </a:cubicBezTo>
                    <a:cubicBezTo>
                      <a:pt x="510" y="216"/>
                      <a:pt x="510" y="216"/>
                      <a:pt x="510" y="216"/>
                    </a:cubicBezTo>
                    <a:cubicBezTo>
                      <a:pt x="510" y="216"/>
                      <a:pt x="510" y="216"/>
                      <a:pt x="510" y="216"/>
                    </a:cubicBezTo>
                    <a:cubicBezTo>
                      <a:pt x="498" y="165"/>
                      <a:pt x="498" y="165"/>
                      <a:pt x="498" y="165"/>
                    </a:cubicBezTo>
                    <a:cubicBezTo>
                      <a:pt x="498" y="164"/>
                      <a:pt x="498" y="164"/>
                      <a:pt x="497" y="163"/>
                    </a:cubicBezTo>
                    <a:cubicBezTo>
                      <a:pt x="496" y="162"/>
                      <a:pt x="495" y="161"/>
                      <a:pt x="493" y="160"/>
                    </a:cubicBezTo>
                    <a:cubicBezTo>
                      <a:pt x="492" y="159"/>
                      <a:pt x="491" y="159"/>
                      <a:pt x="490" y="158"/>
                    </a:cubicBezTo>
                    <a:cubicBezTo>
                      <a:pt x="482" y="151"/>
                      <a:pt x="482" y="151"/>
                      <a:pt x="482" y="151"/>
                    </a:cubicBezTo>
                    <a:cubicBezTo>
                      <a:pt x="481" y="151"/>
                      <a:pt x="481" y="150"/>
                      <a:pt x="480" y="150"/>
                    </a:cubicBezTo>
                    <a:cubicBezTo>
                      <a:pt x="479" y="149"/>
                      <a:pt x="479" y="149"/>
                      <a:pt x="479" y="149"/>
                    </a:cubicBezTo>
                    <a:cubicBezTo>
                      <a:pt x="476" y="147"/>
                      <a:pt x="476" y="143"/>
                      <a:pt x="476" y="141"/>
                    </a:cubicBezTo>
                    <a:cubicBezTo>
                      <a:pt x="476" y="139"/>
                      <a:pt x="476" y="139"/>
                      <a:pt x="476" y="139"/>
                    </a:cubicBezTo>
                    <a:cubicBezTo>
                      <a:pt x="476" y="138"/>
                      <a:pt x="476" y="137"/>
                      <a:pt x="475" y="136"/>
                    </a:cubicBezTo>
                    <a:cubicBezTo>
                      <a:pt x="475" y="136"/>
                      <a:pt x="475" y="136"/>
                      <a:pt x="475" y="136"/>
                    </a:cubicBezTo>
                    <a:cubicBezTo>
                      <a:pt x="475" y="135"/>
                      <a:pt x="475" y="135"/>
                      <a:pt x="475" y="135"/>
                    </a:cubicBezTo>
                    <a:cubicBezTo>
                      <a:pt x="473" y="133"/>
                      <a:pt x="473" y="133"/>
                      <a:pt x="473" y="133"/>
                    </a:cubicBezTo>
                    <a:cubicBezTo>
                      <a:pt x="472" y="132"/>
                      <a:pt x="470" y="130"/>
                      <a:pt x="468" y="128"/>
                    </a:cubicBezTo>
                    <a:cubicBezTo>
                      <a:pt x="465" y="125"/>
                      <a:pt x="461" y="122"/>
                      <a:pt x="459" y="118"/>
                    </a:cubicBezTo>
                    <a:cubicBezTo>
                      <a:pt x="457" y="115"/>
                      <a:pt x="454" y="109"/>
                      <a:pt x="453" y="103"/>
                    </a:cubicBezTo>
                    <a:cubicBezTo>
                      <a:pt x="452" y="97"/>
                      <a:pt x="454" y="94"/>
                      <a:pt x="456" y="92"/>
                    </a:cubicBezTo>
                    <a:cubicBezTo>
                      <a:pt x="457" y="91"/>
                      <a:pt x="457" y="91"/>
                      <a:pt x="457" y="91"/>
                    </a:cubicBezTo>
                    <a:cubicBezTo>
                      <a:pt x="459" y="89"/>
                      <a:pt x="462" y="87"/>
                      <a:pt x="465" y="84"/>
                    </a:cubicBezTo>
                    <a:cubicBezTo>
                      <a:pt x="469" y="81"/>
                      <a:pt x="472" y="78"/>
                      <a:pt x="475" y="74"/>
                    </a:cubicBezTo>
                    <a:cubicBezTo>
                      <a:pt x="477" y="70"/>
                      <a:pt x="478" y="65"/>
                      <a:pt x="479" y="60"/>
                    </a:cubicBezTo>
                    <a:cubicBezTo>
                      <a:pt x="479" y="59"/>
                      <a:pt x="479" y="58"/>
                      <a:pt x="479" y="56"/>
                    </a:cubicBezTo>
                    <a:cubicBezTo>
                      <a:pt x="479" y="56"/>
                      <a:pt x="479" y="56"/>
                      <a:pt x="479" y="56"/>
                    </a:cubicBezTo>
                    <a:cubicBezTo>
                      <a:pt x="479" y="55"/>
                      <a:pt x="478" y="54"/>
                      <a:pt x="478" y="54"/>
                    </a:cubicBezTo>
                    <a:cubicBezTo>
                      <a:pt x="477" y="49"/>
                      <a:pt x="477" y="49"/>
                      <a:pt x="477" y="49"/>
                    </a:cubicBezTo>
                    <a:cubicBezTo>
                      <a:pt x="477" y="49"/>
                      <a:pt x="477" y="48"/>
                      <a:pt x="477" y="47"/>
                    </a:cubicBezTo>
                    <a:cubicBezTo>
                      <a:pt x="477" y="46"/>
                      <a:pt x="477" y="46"/>
                      <a:pt x="477" y="46"/>
                    </a:cubicBezTo>
                    <a:cubicBezTo>
                      <a:pt x="476" y="42"/>
                      <a:pt x="475" y="37"/>
                      <a:pt x="476" y="33"/>
                    </a:cubicBezTo>
                    <a:cubicBezTo>
                      <a:pt x="477" y="27"/>
                      <a:pt x="477" y="27"/>
                      <a:pt x="477" y="27"/>
                    </a:cubicBezTo>
                    <a:cubicBezTo>
                      <a:pt x="477" y="24"/>
                      <a:pt x="477" y="24"/>
                      <a:pt x="475" y="22"/>
                    </a:cubicBezTo>
                    <a:cubicBezTo>
                      <a:pt x="471" y="19"/>
                      <a:pt x="471" y="19"/>
                      <a:pt x="471" y="19"/>
                    </a:cubicBezTo>
                    <a:cubicBezTo>
                      <a:pt x="483" y="4"/>
                      <a:pt x="483" y="4"/>
                      <a:pt x="483" y="4"/>
                    </a:cubicBezTo>
                    <a:cubicBezTo>
                      <a:pt x="479" y="4"/>
                      <a:pt x="475" y="5"/>
                      <a:pt x="470" y="5"/>
                    </a:cubicBezTo>
                    <a:cubicBezTo>
                      <a:pt x="469" y="5"/>
                      <a:pt x="467" y="6"/>
                      <a:pt x="465" y="6"/>
                    </a:cubicBezTo>
                    <a:cubicBezTo>
                      <a:pt x="465" y="6"/>
                      <a:pt x="464" y="6"/>
                      <a:pt x="464" y="6"/>
                    </a:cubicBezTo>
                    <a:cubicBezTo>
                      <a:pt x="463" y="5"/>
                      <a:pt x="464" y="3"/>
                      <a:pt x="462" y="2"/>
                    </a:cubicBezTo>
                    <a:cubicBezTo>
                      <a:pt x="458" y="1"/>
                      <a:pt x="455" y="0"/>
                      <a:pt x="452" y="0"/>
                    </a:cubicBezTo>
                    <a:cubicBezTo>
                      <a:pt x="450" y="0"/>
                      <a:pt x="448" y="1"/>
                      <a:pt x="447" y="2"/>
                    </a:cubicBezTo>
                    <a:cubicBezTo>
                      <a:pt x="445" y="3"/>
                      <a:pt x="442" y="6"/>
                      <a:pt x="440" y="6"/>
                    </a:cubicBezTo>
                    <a:cubicBezTo>
                      <a:pt x="440" y="6"/>
                      <a:pt x="440" y="6"/>
                      <a:pt x="439" y="6"/>
                    </a:cubicBezTo>
                    <a:cubicBezTo>
                      <a:pt x="438" y="5"/>
                      <a:pt x="438" y="4"/>
                      <a:pt x="437" y="4"/>
                    </a:cubicBezTo>
                    <a:cubicBezTo>
                      <a:pt x="435" y="4"/>
                      <a:pt x="433" y="4"/>
                      <a:pt x="432" y="3"/>
                    </a:cubicBezTo>
                    <a:cubicBezTo>
                      <a:pt x="428" y="2"/>
                      <a:pt x="426" y="0"/>
                      <a:pt x="4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236"/>
              <p:cNvSpPr>
                <a:spLocks noEditPoints="1"/>
              </p:cNvSpPr>
              <p:nvPr/>
            </p:nvSpPr>
            <p:spPr bwMode="auto">
              <a:xfrm>
                <a:off x="4798021" y="1079740"/>
                <a:ext cx="2365844" cy="1923630"/>
              </a:xfrm>
              <a:custGeom>
                <a:gdLst>
                  <a:gd name="T0" fmla="*/ 637 w 746"/>
                  <a:gd name="T1" fmla="*/ 27 h 605"/>
                  <a:gd name="T2" fmla="*/ 618 w 746"/>
                  <a:gd name="T3" fmla="*/ 39 h 605"/>
                  <a:gd name="T4" fmla="*/ 586 w 746"/>
                  <a:gd name="T5" fmla="*/ 44 h 605"/>
                  <a:gd name="T6" fmla="*/ 579 w 746"/>
                  <a:gd name="T7" fmla="*/ 10 h 605"/>
                  <a:gd name="T8" fmla="*/ 556 w 746"/>
                  <a:gd name="T9" fmla="*/ 14 h 605"/>
                  <a:gd name="T10" fmla="*/ 530 w 746"/>
                  <a:gd name="T11" fmla="*/ 45 h 605"/>
                  <a:gd name="T12" fmla="*/ 501 w 746"/>
                  <a:gd name="T13" fmla="*/ 44 h 605"/>
                  <a:gd name="T14" fmla="*/ 475 w 746"/>
                  <a:gd name="T15" fmla="*/ 52 h 605"/>
                  <a:gd name="T16" fmla="*/ 445 w 746"/>
                  <a:gd name="T17" fmla="*/ 78 h 605"/>
                  <a:gd name="T18" fmla="*/ 426 w 746"/>
                  <a:gd name="T19" fmla="*/ 70 h 605"/>
                  <a:gd name="T20" fmla="*/ 389 w 746"/>
                  <a:gd name="T21" fmla="*/ 82 h 605"/>
                  <a:gd name="T22" fmla="*/ 359 w 746"/>
                  <a:gd name="T23" fmla="*/ 116 h 605"/>
                  <a:gd name="T24" fmla="*/ 359 w 746"/>
                  <a:gd name="T25" fmla="*/ 131 h 605"/>
                  <a:gd name="T26" fmla="*/ 337 w 746"/>
                  <a:gd name="T27" fmla="*/ 153 h 605"/>
                  <a:gd name="T28" fmla="*/ 306 w 746"/>
                  <a:gd name="T29" fmla="*/ 152 h 605"/>
                  <a:gd name="T30" fmla="*/ 289 w 746"/>
                  <a:gd name="T31" fmla="*/ 162 h 605"/>
                  <a:gd name="T32" fmla="*/ 311 w 746"/>
                  <a:gd name="T33" fmla="*/ 187 h 605"/>
                  <a:gd name="T34" fmla="*/ 270 w 746"/>
                  <a:gd name="T35" fmla="*/ 192 h 605"/>
                  <a:gd name="T36" fmla="*/ 242 w 746"/>
                  <a:gd name="T37" fmla="*/ 218 h 605"/>
                  <a:gd name="T38" fmla="*/ 232 w 746"/>
                  <a:gd name="T39" fmla="*/ 229 h 605"/>
                  <a:gd name="T40" fmla="*/ 229 w 746"/>
                  <a:gd name="T41" fmla="*/ 254 h 605"/>
                  <a:gd name="T42" fmla="*/ 212 w 746"/>
                  <a:gd name="T43" fmla="*/ 272 h 605"/>
                  <a:gd name="T44" fmla="*/ 210 w 746"/>
                  <a:gd name="T45" fmla="*/ 290 h 605"/>
                  <a:gd name="T46" fmla="*/ 189 w 746"/>
                  <a:gd name="T47" fmla="*/ 324 h 605"/>
                  <a:gd name="T48" fmla="*/ 138 w 746"/>
                  <a:gd name="T49" fmla="*/ 358 h 605"/>
                  <a:gd name="T50" fmla="*/ 165 w 746"/>
                  <a:gd name="T51" fmla="*/ 365 h 605"/>
                  <a:gd name="T52" fmla="*/ 113 w 746"/>
                  <a:gd name="T53" fmla="*/ 381 h 605"/>
                  <a:gd name="T54" fmla="*/ 91 w 746"/>
                  <a:gd name="T55" fmla="*/ 395 h 605"/>
                  <a:gd name="T56" fmla="*/ 73 w 746"/>
                  <a:gd name="T57" fmla="*/ 407 h 605"/>
                  <a:gd name="T58" fmla="*/ 60 w 746"/>
                  <a:gd name="T59" fmla="*/ 416 h 605"/>
                  <a:gd name="T60" fmla="*/ 50 w 746"/>
                  <a:gd name="T61" fmla="*/ 425 h 605"/>
                  <a:gd name="T62" fmla="*/ 11 w 746"/>
                  <a:gd name="T63" fmla="*/ 425 h 605"/>
                  <a:gd name="T64" fmla="*/ 0 w 746"/>
                  <a:gd name="T65" fmla="*/ 441 h 605"/>
                  <a:gd name="T66" fmla="*/ 7 w 746"/>
                  <a:gd name="T67" fmla="*/ 459 h 605"/>
                  <a:gd name="T68" fmla="*/ 63 w 746"/>
                  <a:gd name="T69" fmla="*/ 470 h 605"/>
                  <a:gd name="T70" fmla="*/ 62 w 746"/>
                  <a:gd name="T71" fmla="*/ 481 h 605"/>
                  <a:gd name="T72" fmla="*/ 5 w 746"/>
                  <a:gd name="T73" fmla="*/ 479 h 605"/>
                  <a:gd name="T74" fmla="*/ 13 w 746"/>
                  <a:gd name="T75" fmla="*/ 510 h 605"/>
                  <a:gd name="T76" fmla="*/ 48 w 746"/>
                  <a:gd name="T77" fmla="*/ 516 h 605"/>
                  <a:gd name="T78" fmla="*/ 28 w 746"/>
                  <a:gd name="T79" fmla="*/ 536 h 605"/>
                  <a:gd name="T80" fmla="*/ 21 w 746"/>
                  <a:gd name="T81" fmla="*/ 542 h 605"/>
                  <a:gd name="T82" fmla="*/ 30 w 746"/>
                  <a:gd name="T83" fmla="*/ 559 h 605"/>
                  <a:gd name="T84" fmla="*/ 53 w 746"/>
                  <a:gd name="T85" fmla="*/ 594 h 605"/>
                  <a:gd name="T86" fmla="*/ 116 w 746"/>
                  <a:gd name="T87" fmla="*/ 579 h 605"/>
                  <a:gd name="T88" fmla="*/ 156 w 746"/>
                  <a:gd name="T89" fmla="*/ 539 h 605"/>
                  <a:gd name="T90" fmla="*/ 179 w 746"/>
                  <a:gd name="T91" fmla="*/ 556 h 605"/>
                  <a:gd name="T92" fmla="*/ 196 w 746"/>
                  <a:gd name="T93" fmla="*/ 528 h 605"/>
                  <a:gd name="T94" fmla="*/ 211 w 746"/>
                  <a:gd name="T95" fmla="*/ 487 h 605"/>
                  <a:gd name="T96" fmla="*/ 210 w 746"/>
                  <a:gd name="T97" fmla="*/ 453 h 605"/>
                  <a:gd name="T98" fmla="*/ 201 w 746"/>
                  <a:gd name="T99" fmla="*/ 381 h 605"/>
                  <a:gd name="T100" fmla="*/ 259 w 746"/>
                  <a:gd name="T101" fmla="*/ 336 h 605"/>
                  <a:gd name="T102" fmla="*/ 271 w 746"/>
                  <a:gd name="T103" fmla="*/ 282 h 605"/>
                  <a:gd name="T104" fmla="*/ 302 w 746"/>
                  <a:gd name="T105" fmla="*/ 224 h 605"/>
                  <a:gd name="T106" fmla="*/ 355 w 746"/>
                  <a:gd name="T107" fmla="*/ 149 h 605"/>
                  <a:gd name="T108" fmla="*/ 428 w 746"/>
                  <a:gd name="T109" fmla="*/ 136 h 605"/>
                  <a:gd name="T110" fmla="*/ 463 w 746"/>
                  <a:gd name="T111" fmla="*/ 91 h 605"/>
                  <a:gd name="T112" fmla="*/ 572 w 746"/>
                  <a:gd name="T113" fmla="*/ 122 h 605"/>
                  <a:gd name="T114" fmla="*/ 609 w 746"/>
                  <a:gd name="T115" fmla="*/ 64 h 605"/>
                  <a:gd name="T116" fmla="*/ 677 w 746"/>
                  <a:gd name="T117" fmla="*/ 65 h 605"/>
                  <a:gd name="T118" fmla="*/ 726 w 746"/>
                  <a:gd name="T119" fmla="*/ 73 h 605"/>
                  <a:gd name="T120" fmla="*/ 705 w 746"/>
                  <a:gd name="T121" fmla="*/ 70 h 605"/>
                  <a:gd name="T122" fmla="*/ 716 w 746"/>
                  <a:gd name="T123" fmla="*/ 21 h 605"/>
                  <a:gd name="T124" fmla="*/ 666 w 746"/>
                  <a:gd name="T125" fmla="*/ 20 h 6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6" h="605">
                    <a:moveTo>
                      <a:pt x="283" y="172"/>
                    </a:moveTo>
                    <a:cubicBezTo>
                      <a:pt x="282" y="172"/>
                      <a:pt x="282" y="173"/>
                      <a:pt x="282" y="173"/>
                    </a:cubicBezTo>
                    <a:cubicBezTo>
                      <a:pt x="282" y="173"/>
                      <a:pt x="283" y="172"/>
                      <a:pt x="283" y="172"/>
                    </a:cubicBezTo>
                    <a:moveTo>
                      <a:pt x="649" y="0"/>
                    </a:moveTo>
                    <a:cubicBezTo>
                      <a:pt x="648" y="1"/>
                      <a:pt x="647" y="6"/>
                      <a:pt x="646" y="8"/>
                    </a:cubicBezTo>
                    <a:cubicBezTo>
                      <a:pt x="644" y="10"/>
                      <a:pt x="639" y="10"/>
                      <a:pt x="636" y="12"/>
                    </a:cubicBezTo>
                    <a:cubicBezTo>
                      <a:pt x="637" y="12"/>
                      <a:pt x="638" y="12"/>
                      <a:pt x="639" y="12"/>
                    </a:cubicBezTo>
                    <a:cubicBezTo>
                      <a:pt x="640" y="12"/>
                      <a:pt x="640" y="12"/>
                      <a:pt x="641" y="12"/>
                    </a:cubicBezTo>
                    <a:cubicBezTo>
                      <a:pt x="641" y="12"/>
                      <a:pt x="641" y="12"/>
                      <a:pt x="641" y="12"/>
                    </a:cubicBezTo>
                    <a:cubicBezTo>
                      <a:pt x="641" y="12"/>
                      <a:pt x="641" y="12"/>
                      <a:pt x="641" y="12"/>
                    </a:cubicBezTo>
                    <a:cubicBezTo>
                      <a:pt x="643" y="12"/>
                      <a:pt x="643" y="13"/>
                      <a:pt x="645" y="13"/>
                    </a:cubicBezTo>
                    <a:cubicBezTo>
                      <a:pt x="642" y="16"/>
                      <a:pt x="646" y="16"/>
                      <a:pt x="648" y="16"/>
                    </a:cubicBezTo>
                    <a:cubicBezTo>
                      <a:pt x="643" y="19"/>
                      <a:pt x="638" y="19"/>
                      <a:pt x="632" y="22"/>
                    </a:cubicBezTo>
                    <a:cubicBezTo>
                      <a:pt x="636" y="22"/>
                      <a:pt x="632" y="24"/>
                      <a:pt x="633" y="25"/>
                    </a:cubicBezTo>
                    <a:cubicBezTo>
                      <a:pt x="634" y="26"/>
                      <a:pt x="637" y="27"/>
                      <a:pt x="637" y="27"/>
                    </a:cubicBezTo>
                    <a:cubicBezTo>
                      <a:pt x="636" y="27"/>
                      <a:pt x="633" y="26"/>
                      <a:pt x="632" y="26"/>
                    </a:cubicBezTo>
                    <a:cubicBezTo>
                      <a:pt x="630" y="26"/>
                      <a:pt x="629" y="27"/>
                      <a:pt x="629" y="29"/>
                    </a:cubicBezTo>
                    <a:cubicBezTo>
                      <a:pt x="629" y="31"/>
                      <a:pt x="631" y="32"/>
                      <a:pt x="633" y="33"/>
                    </a:cubicBezTo>
                    <a:cubicBezTo>
                      <a:pt x="631" y="33"/>
                      <a:pt x="631" y="34"/>
                      <a:pt x="630" y="34"/>
                    </a:cubicBezTo>
                    <a:cubicBezTo>
                      <a:pt x="629" y="34"/>
                      <a:pt x="629" y="33"/>
                      <a:pt x="628" y="33"/>
                    </a:cubicBezTo>
                    <a:cubicBezTo>
                      <a:pt x="627" y="33"/>
                      <a:pt x="627" y="32"/>
                      <a:pt x="625" y="32"/>
                    </a:cubicBezTo>
                    <a:cubicBezTo>
                      <a:pt x="625" y="32"/>
                      <a:pt x="625" y="32"/>
                      <a:pt x="625" y="32"/>
                    </a:cubicBezTo>
                    <a:cubicBezTo>
                      <a:pt x="623" y="33"/>
                      <a:pt x="623" y="34"/>
                      <a:pt x="621" y="36"/>
                    </a:cubicBezTo>
                    <a:cubicBezTo>
                      <a:pt x="621" y="36"/>
                      <a:pt x="621" y="36"/>
                      <a:pt x="621" y="36"/>
                    </a:cubicBezTo>
                    <a:cubicBezTo>
                      <a:pt x="621" y="36"/>
                      <a:pt x="620" y="36"/>
                      <a:pt x="620" y="36"/>
                    </a:cubicBezTo>
                    <a:cubicBezTo>
                      <a:pt x="619" y="37"/>
                      <a:pt x="619" y="37"/>
                      <a:pt x="619" y="37"/>
                    </a:cubicBezTo>
                    <a:cubicBezTo>
                      <a:pt x="619" y="37"/>
                      <a:pt x="619" y="37"/>
                      <a:pt x="619" y="37"/>
                    </a:cubicBezTo>
                    <a:cubicBezTo>
                      <a:pt x="619" y="37"/>
                      <a:pt x="619" y="37"/>
                      <a:pt x="619" y="37"/>
                    </a:cubicBezTo>
                    <a:cubicBezTo>
                      <a:pt x="619" y="37"/>
                      <a:pt x="619" y="37"/>
                      <a:pt x="619" y="38"/>
                    </a:cubicBezTo>
                    <a:cubicBezTo>
                      <a:pt x="618" y="38"/>
                      <a:pt x="618" y="39"/>
                      <a:pt x="618" y="39"/>
                    </a:cubicBezTo>
                    <a:cubicBezTo>
                      <a:pt x="617" y="39"/>
                      <a:pt x="617" y="38"/>
                      <a:pt x="616" y="37"/>
                    </a:cubicBezTo>
                    <a:cubicBezTo>
                      <a:pt x="616" y="34"/>
                      <a:pt x="616" y="24"/>
                      <a:pt x="613" y="24"/>
                    </a:cubicBezTo>
                    <a:cubicBezTo>
                      <a:pt x="612" y="24"/>
                      <a:pt x="612" y="24"/>
                      <a:pt x="612" y="24"/>
                    </a:cubicBezTo>
                    <a:cubicBezTo>
                      <a:pt x="614" y="22"/>
                      <a:pt x="618" y="22"/>
                      <a:pt x="620" y="20"/>
                    </a:cubicBezTo>
                    <a:cubicBezTo>
                      <a:pt x="622" y="17"/>
                      <a:pt x="621" y="11"/>
                      <a:pt x="621" y="8"/>
                    </a:cubicBezTo>
                    <a:cubicBezTo>
                      <a:pt x="615" y="13"/>
                      <a:pt x="608" y="18"/>
                      <a:pt x="602" y="23"/>
                    </a:cubicBezTo>
                    <a:cubicBezTo>
                      <a:pt x="600" y="24"/>
                      <a:pt x="599" y="27"/>
                      <a:pt x="597" y="28"/>
                    </a:cubicBezTo>
                    <a:cubicBezTo>
                      <a:pt x="596" y="29"/>
                      <a:pt x="595" y="30"/>
                      <a:pt x="594" y="31"/>
                    </a:cubicBezTo>
                    <a:cubicBezTo>
                      <a:pt x="592" y="32"/>
                      <a:pt x="590" y="34"/>
                      <a:pt x="588" y="36"/>
                    </a:cubicBezTo>
                    <a:cubicBezTo>
                      <a:pt x="588" y="37"/>
                      <a:pt x="585" y="38"/>
                      <a:pt x="585" y="39"/>
                    </a:cubicBezTo>
                    <a:cubicBezTo>
                      <a:pt x="585" y="40"/>
                      <a:pt x="585" y="41"/>
                      <a:pt x="585" y="41"/>
                    </a:cubicBezTo>
                    <a:cubicBezTo>
                      <a:pt x="585" y="41"/>
                      <a:pt x="585" y="40"/>
                      <a:pt x="585" y="40"/>
                    </a:cubicBezTo>
                    <a:cubicBezTo>
                      <a:pt x="585" y="40"/>
                      <a:pt x="585" y="40"/>
                      <a:pt x="585" y="40"/>
                    </a:cubicBezTo>
                    <a:cubicBezTo>
                      <a:pt x="586" y="40"/>
                      <a:pt x="586" y="41"/>
                      <a:pt x="586" y="41"/>
                    </a:cubicBezTo>
                    <a:cubicBezTo>
                      <a:pt x="586" y="43"/>
                      <a:pt x="587" y="41"/>
                      <a:pt x="586" y="44"/>
                    </a:cubicBezTo>
                    <a:cubicBezTo>
                      <a:pt x="585" y="46"/>
                      <a:pt x="582" y="47"/>
                      <a:pt x="580" y="49"/>
                    </a:cubicBezTo>
                    <a:cubicBezTo>
                      <a:pt x="579" y="51"/>
                      <a:pt x="579" y="53"/>
                      <a:pt x="578" y="53"/>
                    </a:cubicBezTo>
                    <a:cubicBezTo>
                      <a:pt x="577" y="53"/>
                      <a:pt x="577" y="53"/>
                      <a:pt x="577" y="53"/>
                    </a:cubicBezTo>
                    <a:cubicBezTo>
                      <a:pt x="576" y="52"/>
                      <a:pt x="575" y="49"/>
                      <a:pt x="574" y="49"/>
                    </a:cubicBezTo>
                    <a:cubicBezTo>
                      <a:pt x="574" y="49"/>
                      <a:pt x="574" y="49"/>
                      <a:pt x="573" y="50"/>
                    </a:cubicBezTo>
                    <a:cubicBezTo>
                      <a:pt x="572" y="51"/>
                      <a:pt x="574" y="53"/>
                      <a:pt x="574" y="54"/>
                    </a:cubicBezTo>
                    <a:cubicBezTo>
                      <a:pt x="565" y="50"/>
                      <a:pt x="576" y="38"/>
                      <a:pt x="576" y="33"/>
                    </a:cubicBezTo>
                    <a:cubicBezTo>
                      <a:pt x="572" y="32"/>
                      <a:pt x="577" y="29"/>
                      <a:pt x="579" y="28"/>
                    </a:cubicBezTo>
                    <a:cubicBezTo>
                      <a:pt x="582" y="26"/>
                      <a:pt x="584" y="24"/>
                      <a:pt x="587" y="23"/>
                    </a:cubicBezTo>
                    <a:cubicBezTo>
                      <a:pt x="588" y="22"/>
                      <a:pt x="591" y="21"/>
                      <a:pt x="592" y="20"/>
                    </a:cubicBezTo>
                    <a:cubicBezTo>
                      <a:pt x="595" y="18"/>
                      <a:pt x="595" y="15"/>
                      <a:pt x="599" y="13"/>
                    </a:cubicBezTo>
                    <a:cubicBezTo>
                      <a:pt x="595" y="11"/>
                      <a:pt x="589" y="10"/>
                      <a:pt x="583" y="10"/>
                    </a:cubicBezTo>
                    <a:cubicBezTo>
                      <a:pt x="583" y="10"/>
                      <a:pt x="582" y="10"/>
                      <a:pt x="581" y="10"/>
                    </a:cubicBezTo>
                    <a:cubicBezTo>
                      <a:pt x="580" y="10"/>
                      <a:pt x="579" y="10"/>
                      <a:pt x="579" y="10"/>
                    </a:cubicBezTo>
                    <a:cubicBezTo>
                      <a:pt x="579" y="10"/>
                      <a:pt x="579" y="10"/>
                      <a:pt x="579" y="10"/>
                    </a:cubicBezTo>
                    <a:cubicBezTo>
                      <a:pt x="577" y="10"/>
                      <a:pt x="576" y="10"/>
                      <a:pt x="575" y="10"/>
                    </a:cubicBezTo>
                    <a:cubicBezTo>
                      <a:pt x="573" y="11"/>
                      <a:pt x="572" y="12"/>
                      <a:pt x="570" y="12"/>
                    </a:cubicBezTo>
                    <a:cubicBezTo>
                      <a:pt x="570" y="12"/>
                      <a:pt x="570" y="12"/>
                      <a:pt x="570" y="12"/>
                    </a:cubicBezTo>
                    <a:cubicBezTo>
                      <a:pt x="571" y="12"/>
                      <a:pt x="574" y="10"/>
                      <a:pt x="574" y="9"/>
                    </a:cubicBezTo>
                    <a:cubicBezTo>
                      <a:pt x="574" y="8"/>
                      <a:pt x="573" y="7"/>
                      <a:pt x="573" y="7"/>
                    </a:cubicBezTo>
                    <a:cubicBezTo>
                      <a:pt x="572" y="7"/>
                      <a:pt x="570" y="9"/>
                      <a:pt x="569" y="9"/>
                    </a:cubicBezTo>
                    <a:cubicBezTo>
                      <a:pt x="569" y="9"/>
                      <a:pt x="569" y="9"/>
                      <a:pt x="568" y="9"/>
                    </a:cubicBezTo>
                    <a:cubicBezTo>
                      <a:pt x="568" y="9"/>
                      <a:pt x="567" y="9"/>
                      <a:pt x="567" y="8"/>
                    </a:cubicBezTo>
                    <a:cubicBezTo>
                      <a:pt x="567" y="8"/>
                      <a:pt x="566" y="7"/>
                      <a:pt x="565" y="7"/>
                    </a:cubicBezTo>
                    <a:cubicBezTo>
                      <a:pt x="565" y="7"/>
                      <a:pt x="564" y="7"/>
                      <a:pt x="564" y="7"/>
                    </a:cubicBezTo>
                    <a:cubicBezTo>
                      <a:pt x="565" y="6"/>
                      <a:pt x="563" y="5"/>
                      <a:pt x="562" y="5"/>
                    </a:cubicBezTo>
                    <a:cubicBezTo>
                      <a:pt x="562" y="5"/>
                      <a:pt x="561" y="5"/>
                      <a:pt x="561" y="5"/>
                    </a:cubicBezTo>
                    <a:cubicBezTo>
                      <a:pt x="559" y="6"/>
                      <a:pt x="559" y="12"/>
                      <a:pt x="559" y="14"/>
                    </a:cubicBezTo>
                    <a:cubicBezTo>
                      <a:pt x="558" y="15"/>
                      <a:pt x="558" y="15"/>
                      <a:pt x="558" y="15"/>
                    </a:cubicBezTo>
                    <a:cubicBezTo>
                      <a:pt x="557" y="15"/>
                      <a:pt x="557" y="14"/>
                      <a:pt x="556" y="14"/>
                    </a:cubicBezTo>
                    <a:cubicBezTo>
                      <a:pt x="555" y="14"/>
                      <a:pt x="554" y="13"/>
                      <a:pt x="553" y="13"/>
                    </a:cubicBezTo>
                    <a:cubicBezTo>
                      <a:pt x="553" y="13"/>
                      <a:pt x="552" y="13"/>
                      <a:pt x="552" y="15"/>
                    </a:cubicBezTo>
                    <a:cubicBezTo>
                      <a:pt x="550" y="19"/>
                      <a:pt x="561" y="23"/>
                      <a:pt x="564" y="24"/>
                    </a:cubicBezTo>
                    <a:cubicBezTo>
                      <a:pt x="561" y="23"/>
                      <a:pt x="559" y="23"/>
                      <a:pt x="557" y="23"/>
                    </a:cubicBezTo>
                    <a:cubicBezTo>
                      <a:pt x="555" y="23"/>
                      <a:pt x="553" y="24"/>
                      <a:pt x="552" y="28"/>
                    </a:cubicBezTo>
                    <a:cubicBezTo>
                      <a:pt x="550" y="32"/>
                      <a:pt x="553" y="31"/>
                      <a:pt x="554" y="34"/>
                    </a:cubicBezTo>
                    <a:cubicBezTo>
                      <a:pt x="554" y="34"/>
                      <a:pt x="554" y="34"/>
                      <a:pt x="554" y="34"/>
                    </a:cubicBezTo>
                    <a:cubicBezTo>
                      <a:pt x="551" y="34"/>
                      <a:pt x="548" y="33"/>
                      <a:pt x="545" y="32"/>
                    </a:cubicBezTo>
                    <a:cubicBezTo>
                      <a:pt x="545" y="32"/>
                      <a:pt x="544" y="32"/>
                      <a:pt x="544" y="32"/>
                    </a:cubicBezTo>
                    <a:cubicBezTo>
                      <a:pt x="542" y="32"/>
                      <a:pt x="539" y="34"/>
                      <a:pt x="537" y="35"/>
                    </a:cubicBezTo>
                    <a:cubicBezTo>
                      <a:pt x="532" y="37"/>
                      <a:pt x="526" y="40"/>
                      <a:pt x="524" y="45"/>
                    </a:cubicBezTo>
                    <a:cubicBezTo>
                      <a:pt x="524" y="45"/>
                      <a:pt x="525" y="45"/>
                      <a:pt x="525" y="45"/>
                    </a:cubicBezTo>
                    <a:cubicBezTo>
                      <a:pt x="526" y="45"/>
                      <a:pt x="526" y="45"/>
                      <a:pt x="527" y="45"/>
                    </a:cubicBezTo>
                    <a:cubicBezTo>
                      <a:pt x="527" y="45"/>
                      <a:pt x="528" y="45"/>
                      <a:pt x="528" y="45"/>
                    </a:cubicBezTo>
                    <a:cubicBezTo>
                      <a:pt x="529" y="45"/>
                      <a:pt x="530" y="45"/>
                      <a:pt x="530" y="45"/>
                    </a:cubicBezTo>
                    <a:cubicBezTo>
                      <a:pt x="528" y="45"/>
                      <a:pt x="525" y="46"/>
                      <a:pt x="522" y="47"/>
                    </a:cubicBezTo>
                    <a:cubicBezTo>
                      <a:pt x="524" y="48"/>
                      <a:pt x="525" y="50"/>
                      <a:pt x="524" y="52"/>
                    </a:cubicBezTo>
                    <a:cubicBezTo>
                      <a:pt x="524" y="53"/>
                      <a:pt x="520" y="52"/>
                      <a:pt x="522" y="55"/>
                    </a:cubicBezTo>
                    <a:cubicBezTo>
                      <a:pt x="524" y="56"/>
                      <a:pt x="528" y="56"/>
                      <a:pt x="531" y="57"/>
                    </a:cubicBezTo>
                    <a:cubicBezTo>
                      <a:pt x="529" y="59"/>
                      <a:pt x="528" y="58"/>
                      <a:pt x="526" y="58"/>
                    </a:cubicBezTo>
                    <a:cubicBezTo>
                      <a:pt x="524" y="59"/>
                      <a:pt x="521" y="61"/>
                      <a:pt x="519" y="61"/>
                    </a:cubicBezTo>
                    <a:cubicBezTo>
                      <a:pt x="519" y="61"/>
                      <a:pt x="518" y="61"/>
                      <a:pt x="518" y="60"/>
                    </a:cubicBezTo>
                    <a:cubicBezTo>
                      <a:pt x="523" y="59"/>
                      <a:pt x="517" y="56"/>
                      <a:pt x="516" y="55"/>
                    </a:cubicBezTo>
                    <a:cubicBezTo>
                      <a:pt x="514" y="54"/>
                      <a:pt x="517" y="53"/>
                      <a:pt x="515" y="53"/>
                    </a:cubicBezTo>
                    <a:cubicBezTo>
                      <a:pt x="514" y="52"/>
                      <a:pt x="514" y="52"/>
                      <a:pt x="513" y="52"/>
                    </a:cubicBezTo>
                    <a:cubicBezTo>
                      <a:pt x="512" y="52"/>
                      <a:pt x="511" y="53"/>
                      <a:pt x="510" y="53"/>
                    </a:cubicBezTo>
                    <a:cubicBezTo>
                      <a:pt x="505" y="54"/>
                      <a:pt x="500" y="55"/>
                      <a:pt x="496" y="56"/>
                    </a:cubicBezTo>
                    <a:cubicBezTo>
                      <a:pt x="499" y="52"/>
                      <a:pt x="506" y="54"/>
                      <a:pt x="510" y="52"/>
                    </a:cubicBezTo>
                    <a:cubicBezTo>
                      <a:pt x="511" y="52"/>
                      <a:pt x="515" y="49"/>
                      <a:pt x="515" y="48"/>
                    </a:cubicBezTo>
                    <a:cubicBezTo>
                      <a:pt x="515" y="46"/>
                      <a:pt x="504" y="44"/>
                      <a:pt x="501" y="44"/>
                    </a:cubicBezTo>
                    <a:cubicBezTo>
                      <a:pt x="501" y="44"/>
                      <a:pt x="501" y="44"/>
                      <a:pt x="501" y="44"/>
                    </a:cubicBezTo>
                    <a:cubicBezTo>
                      <a:pt x="499" y="45"/>
                      <a:pt x="496" y="47"/>
                      <a:pt x="496" y="49"/>
                    </a:cubicBezTo>
                    <a:cubicBezTo>
                      <a:pt x="496" y="49"/>
                      <a:pt x="501" y="51"/>
                      <a:pt x="502" y="51"/>
                    </a:cubicBezTo>
                    <a:cubicBezTo>
                      <a:pt x="501" y="51"/>
                      <a:pt x="499" y="51"/>
                      <a:pt x="498" y="51"/>
                    </a:cubicBezTo>
                    <a:cubicBezTo>
                      <a:pt x="498" y="51"/>
                      <a:pt x="497" y="51"/>
                      <a:pt x="497" y="51"/>
                    </a:cubicBezTo>
                    <a:cubicBezTo>
                      <a:pt x="497" y="51"/>
                      <a:pt x="496" y="51"/>
                      <a:pt x="496" y="51"/>
                    </a:cubicBezTo>
                    <a:cubicBezTo>
                      <a:pt x="495" y="51"/>
                      <a:pt x="494" y="51"/>
                      <a:pt x="493" y="50"/>
                    </a:cubicBezTo>
                    <a:cubicBezTo>
                      <a:pt x="494" y="50"/>
                      <a:pt x="494" y="50"/>
                      <a:pt x="494" y="50"/>
                    </a:cubicBezTo>
                    <a:cubicBezTo>
                      <a:pt x="484" y="48"/>
                      <a:pt x="474" y="47"/>
                      <a:pt x="464" y="46"/>
                    </a:cubicBezTo>
                    <a:cubicBezTo>
                      <a:pt x="467" y="49"/>
                      <a:pt x="470" y="48"/>
                      <a:pt x="473" y="50"/>
                    </a:cubicBezTo>
                    <a:cubicBezTo>
                      <a:pt x="473" y="50"/>
                      <a:pt x="473" y="52"/>
                      <a:pt x="474" y="52"/>
                    </a:cubicBezTo>
                    <a:cubicBezTo>
                      <a:pt x="474" y="52"/>
                      <a:pt x="474" y="52"/>
                      <a:pt x="474" y="52"/>
                    </a:cubicBezTo>
                    <a:cubicBezTo>
                      <a:pt x="475" y="52"/>
                      <a:pt x="475" y="52"/>
                      <a:pt x="475" y="52"/>
                    </a:cubicBezTo>
                    <a:cubicBezTo>
                      <a:pt x="475" y="52"/>
                      <a:pt x="475" y="52"/>
                      <a:pt x="475" y="52"/>
                    </a:cubicBezTo>
                    <a:cubicBezTo>
                      <a:pt x="475" y="52"/>
                      <a:pt x="475" y="52"/>
                      <a:pt x="475" y="52"/>
                    </a:cubicBezTo>
                    <a:cubicBezTo>
                      <a:pt x="476" y="53"/>
                      <a:pt x="477" y="53"/>
                      <a:pt x="478" y="54"/>
                    </a:cubicBezTo>
                    <a:cubicBezTo>
                      <a:pt x="479" y="54"/>
                      <a:pt x="479" y="54"/>
                      <a:pt x="480" y="54"/>
                    </a:cubicBezTo>
                    <a:cubicBezTo>
                      <a:pt x="483" y="54"/>
                      <a:pt x="487" y="53"/>
                      <a:pt x="489" y="51"/>
                    </a:cubicBezTo>
                    <a:cubicBezTo>
                      <a:pt x="490" y="53"/>
                      <a:pt x="489" y="56"/>
                      <a:pt x="489" y="58"/>
                    </a:cubicBezTo>
                    <a:cubicBezTo>
                      <a:pt x="489" y="59"/>
                      <a:pt x="489" y="60"/>
                      <a:pt x="488" y="61"/>
                    </a:cubicBezTo>
                    <a:cubicBezTo>
                      <a:pt x="483" y="64"/>
                      <a:pt x="487" y="62"/>
                      <a:pt x="487" y="64"/>
                    </a:cubicBezTo>
                    <a:cubicBezTo>
                      <a:pt x="487" y="65"/>
                      <a:pt x="489" y="65"/>
                      <a:pt x="486" y="66"/>
                    </a:cubicBezTo>
                    <a:cubicBezTo>
                      <a:pt x="488" y="67"/>
                      <a:pt x="489" y="69"/>
                      <a:pt x="491" y="70"/>
                    </a:cubicBezTo>
                    <a:cubicBezTo>
                      <a:pt x="482" y="66"/>
                      <a:pt x="474" y="62"/>
                      <a:pt x="465" y="59"/>
                    </a:cubicBezTo>
                    <a:cubicBezTo>
                      <a:pt x="466" y="61"/>
                      <a:pt x="467" y="65"/>
                      <a:pt x="464" y="66"/>
                    </a:cubicBezTo>
                    <a:cubicBezTo>
                      <a:pt x="464" y="67"/>
                      <a:pt x="463" y="67"/>
                      <a:pt x="462" y="67"/>
                    </a:cubicBezTo>
                    <a:cubicBezTo>
                      <a:pt x="460" y="67"/>
                      <a:pt x="459" y="64"/>
                      <a:pt x="458" y="62"/>
                    </a:cubicBezTo>
                    <a:cubicBezTo>
                      <a:pt x="455" y="63"/>
                      <a:pt x="443" y="67"/>
                      <a:pt x="444" y="71"/>
                    </a:cubicBezTo>
                    <a:cubicBezTo>
                      <a:pt x="446" y="74"/>
                      <a:pt x="446" y="79"/>
                      <a:pt x="450" y="81"/>
                    </a:cubicBezTo>
                    <a:cubicBezTo>
                      <a:pt x="449" y="80"/>
                      <a:pt x="446" y="78"/>
                      <a:pt x="445" y="78"/>
                    </a:cubicBezTo>
                    <a:cubicBezTo>
                      <a:pt x="444" y="78"/>
                      <a:pt x="444" y="79"/>
                      <a:pt x="444" y="79"/>
                    </a:cubicBezTo>
                    <a:cubicBezTo>
                      <a:pt x="442" y="81"/>
                      <a:pt x="441" y="85"/>
                      <a:pt x="439" y="87"/>
                    </a:cubicBezTo>
                    <a:cubicBezTo>
                      <a:pt x="437" y="90"/>
                      <a:pt x="432" y="91"/>
                      <a:pt x="430" y="94"/>
                    </a:cubicBezTo>
                    <a:cubicBezTo>
                      <a:pt x="431" y="91"/>
                      <a:pt x="434" y="89"/>
                      <a:pt x="436" y="86"/>
                    </a:cubicBezTo>
                    <a:cubicBezTo>
                      <a:pt x="438" y="84"/>
                      <a:pt x="437" y="84"/>
                      <a:pt x="438" y="81"/>
                    </a:cubicBezTo>
                    <a:cubicBezTo>
                      <a:pt x="439" y="80"/>
                      <a:pt x="440" y="79"/>
                      <a:pt x="440" y="78"/>
                    </a:cubicBezTo>
                    <a:cubicBezTo>
                      <a:pt x="441" y="76"/>
                      <a:pt x="440" y="75"/>
                      <a:pt x="440" y="72"/>
                    </a:cubicBezTo>
                    <a:cubicBezTo>
                      <a:pt x="439" y="69"/>
                      <a:pt x="442" y="67"/>
                      <a:pt x="442" y="64"/>
                    </a:cubicBezTo>
                    <a:cubicBezTo>
                      <a:pt x="442" y="63"/>
                      <a:pt x="441" y="59"/>
                      <a:pt x="439" y="59"/>
                    </a:cubicBezTo>
                    <a:cubicBezTo>
                      <a:pt x="439" y="59"/>
                      <a:pt x="439" y="59"/>
                      <a:pt x="439" y="59"/>
                    </a:cubicBezTo>
                    <a:cubicBezTo>
                      <a:pt x="438" y="59"/>
                      <a:pt x="436" y="61"/>
                      <a:pt x="435" y="62"/>
                    </a:cubicBezTo>
                    <a:cubicBezTo>
                      <a:pt x="435" y="61"/>
                      <a:pt x="435" y="60"/>
                      <a:pt x="435" y="60"/>
                    </a:cubicBezTo>
                    <a:cubicBezTo>
                      <a:pt x="433" y="63"/>
                      <a:pt x="432" y="66"/>
                      <a:pt x="430" y="68"/>
                    </a:cubicBezTo>
                    <a:cubicBezTo>
                      <a:pt x="430" y="67"/>
                      <a:pt x="431" y="66"/>
                      <a:pt x="431" y="65"/>
                    </a:cubicBezTo>
                    <a:cubicBezTo>
                      <a:pt x="429" y="66"/>
                      <a:pt x="427" y="68"/>
                      <a:pt x="426" y="70"/>
                    </a:cubicBezTo>
                    <a:cubicBezTo>
                      <a:pt x="423" y="75"/>
                      <a:pt x="428" y="77"/>
                      <a:pt x="432" y="79"/>
                    </a:cubicBezTo>
                    <a:cubicBezTo>
                      <a:pt x="430" y="80"/>
                      <a:pt x="423" y="86"/>
                      <a:pt x="420" y="86"/>
                    </a:cubicBezTo>
                    <a:cubicBezTo>
                      <a:pt x="420" y="86"/>
                      <a:pt x="419" y="86"/>
                      <a:pt x="419" y="86"/>
                    </a:cubicBezTo>
                    <a:cubicBezTo>
                      <a:pt x="422" y="83"/>
                      <a:pt x="420" y="84"/>
                      <a:pt x="421" y="81"/>
                    </a:cubicBezTo>
                    <a:cubicBezTo>
                      <a:pt x="421" y="79"/>
                      <a:pt x="423" y="79"/>
                      <a:pt x="423" y="77"/>
                    </a:cubicBezTo>
                    <a:cubicBezTo>
                      <a:pt x="423" y="75"/>
                      <a:pt x="422" y="75"/>
                      <a:pt x="422" y="73"/>
                    </a:cubicBezTo>
                    <a:cubicBezTo>
                      <a:pt x="421" y="72"/>
                      <a:pt x="423" y="69"/>
                      <a:pt x="423" y="68"/>
                    </a:cubicBezTo>
                    <a:cubicBezTo>
                      <a:pt x="423" y="67"/>
                      <a:pt x="422" y="67"/>
                      <a:pt x="421" y="67"/>
                    </a:cubicBezTo>
                    <a:cubicBezTo>
                      <a:pt x="418" y="67"/>
                      <a:pt x="415" y="68"/>
                      <a:pt x="413" y="68"/>
                    </a:cubicBezTo>
                    <a:cubicBezTo>
                      <a:pt x="411" y="69"/>
                      <a:pt x="409" y="69"/>
                      <a:pt x="407" y="70"/>
                    </a:cubicBezTo>
                    <a:cubicBezTo>
                      <a:pt x="405" y="71"/>
                      <a:pt x="399" y="76"/>
                      <a:pt x="402" y="78"/>
                    </a:cubicBezTo>
                    <a:cubicBezTo>
                      <a:pt x="405" y="79"/>
                      <a:pt x="408" y="79"/>
                      <a:pt x="409" y="81"/>
                    </a:cubicBezTo>
                    <a:cubicBezTo>
                      <a:pt x="407" y="82"/>
                      <a:pt x="405" y="82"/>
                      <a:pt x="402" y="83"/>
                    </a:cubicBezTo>
                    <a:cubicBezTo>
                      <a:pt x="403" y="84"/>
                      <a:pt x="404" y="86"/>
                      <a:pt x="404" y="87"/>
                    </a:cubicBezTo>
                    <a:cubicBezTo>
                      <a:pt x="399" y="84"/>
                      <a:pt x="395" y="83"/>
                      <a:pt x="389" y="82"/>
                    </a:cubicBezTo>
                    <a:cubicBezTo>
                      <a:pt x="391" y="85"/>
                      <a:pt x="393" y="88"/>
                      <a:pt x="397" y="90"/>
                    </a:cubicBezTo>
                    <a:cubicBezTo>
                      <a:pt x="398" y="91"/>
                      <a:pt x="400" y="91"/>
                      <a:pt x="401" y="92"/>
                    </a:cubicBezTo>
                    <a:cubicBezTo>
                      <a:pt x="400" y="94"/>
                      <a:pt x="398" y="94"/>
                      <a:pt x="396" y="94"/>
                    </a:cubicBezTo>
                    <a:cubicBezTo>
                      <a:pt x="394" y="94"/>
                      <a:pt x="392" y="94"/>
                      <a:pt x="390" y="93"/>
                    </a:cubicBezTo>
                    <a:cubicBezTo>
                      <a:pt x="387" y="92"/>
                      <a:pt x="387" y="92"/>
                      <a:pt x="386" y="89"/>
                    </a:cubicBezTo>
                    <a:cubicBezTo>
                      <a:pt x="385" y="89"/>
                      <a:pt x="384" y="88"/>
                      <a:pt x="383" y="88"/>
                    </a:cubicBezTo>
                    <a:cubicBezTo>
                      <a:pt x="383" y="86"/>
                      <a:pt x="385" y="86"/>
                      <a:pt x="383" y="84"/>
                    </a:cubicBezTo>
                    <a:cubicBezTo>
                      <a:pt x="382" y="84"/>
                      <a:pt x="382" y="84"/>
                      <a:pt x="381" y="84"/>
                    </a:cubicBezTo>
                    <a:cubicBezTo>
                      <a:pt x="379" y="84"/>
                      <a:pt x="377" y="87"/>
                      <a:pt x="376" y="89"/>
                    </a:cubicBezTo>
                    <a:cubicBezTo>
                      <a:pt x="375" y="90"/>
                      <a:pt x="374" y="93"/>
                      <a:pt x="374" y="94"/>
                    </a:cubicBezTo>
                    <a:cubicBezTo>
                      <a:pt x="374" y="97"/>
                      <a:pt x="377" y="96"/>
                      <a:pt x="374" y="99"/>
                    </a:cubicBezTo>
                    <a:cubicBezTo>
                      <a:pt x="372" y="101"/>
                      <a:pt x="371" y="101"/>
                      <a:pt x="368" y="101"/>
                    </a:cubicBezTo>
                    <a:cubicBezTo>
                      <a:pt x="367" y="102"/>
                      <a:pt x="365" y="102"/>
                      <a:pt x="364" y="102"/>
                    </a:cubicBezTo>
                    <a:cubicBezTo>
                      <a:pt x="361" y="106"/>
                      <a:pt x="365" y="112"/>
                      <a:pt x="368" y="114"/>
                    </a:cubicBezTo>
                    <a:cubicBezTo>
                      <a:pt x="366" y="116"/>
                      <a:pt x="362" y="116"/>
                      <a:pt x="359" y="116"/>
                    </a:cubicBezTo>
                    <a:cubicBezTo>
                      <a:pt x="361" y="117"/>
                      <a:pt x="367" y="118"/>
                      <a:pt x="368" y="119"/>
                    </a:cubicBezTo>
                    <a:cubicBezTo>
                      <a:pt x="368" y="119"/>
                      <a:pt x="368" y="119"/>
                      <a:pt x="368" y="119"/>
                    </a:cubicBezTo>
                    <a:cubicBezTo>
                      <a:pt x="364" y="119"/>
                      <a:pt x="361" y="118"/>
                      <a:pt x="358" y="117"/>
                    </a:cubicBezTo>
                    <a:cubicBezTo>
                      <a:pt x="359" y="123"/>
                      <a:pt x="359" y="122"/>
                      <a:pt x="364" y="124"/>
                    </a:cubicBezTo>
                    <a:cubicBezTo>
                      <a:pt x="364" y="124"/>
                      <a:pt x="364" y="124"/>
                      <a:pt x="363" y="124"/>
                    </a:cubicBezTo>
                    <a:cubicBezTo>
                      <a:pt x="361" y="124"/>
                      <a:pt x="359" y="123"/>
                      <a:pt x="358" y="123"/>
                    </a:cubicBezTo>
                    <a:cubicBezTo>
                      <a:pt x="356" y="123"/>
                      <a:pt x="354" y="122"/>
                      <a:pt x="352" y="122"/>
                    </a:cubicBezTo>
                    <a:cubicBezTo>
                      <a:pt x="351" y="122"/>
                      <a:pt x="349" y="122"/>
                      <a:pt x="347" y="123"/>
                    </a:cubicBezTo>
                    <a:cubicBezTo>
                      <a:pt x="343" y="125"/>
                      <a:pt x="339" y="127"/>
                      <a:pt x="335" y="129"/>
                    </a:cubicBezTo>
                    <a:cubicBezTo>
                      <a:pt x="332" y="130"/>
                      <a:pt x="333" y="132"/>
                      <a:pt x="333" y="135"/>
                    </a:cubicBezTo>
                    <a:cubicBezTo>
                      <a:pt x="334" y="135"/>
                      <a:pt x="335" y="135"/>
                      <a:pt x="336" y="135"/>
                    </a:cubicBezTo>
                    <a:cubicBezTo>
                      <a:pt x="337" y="135"/>
                      <a:pt x="337" y="135"/>
                      <a:pt x="338" y="135"/>
                    </a:cubicBezTo>
                    <a:cubicBezTo>
                      <a:pt x="343" y="135"/>
                      <a:pt x="347" y="135"/>
                      <a:pt x="351" y="135"/>
                    </a:cubicBezTo>
                    <a:cubicBezTo>
                      <a:pt x="354" y="134"/>
                      <a:pt x="356" y="132"/>
                      <a:pt x="358" y="132"/>
                    </a:cubicBezTo>
                    <a:cubicBezTo>
                      <a:pt x="358" y="132"/>
                      <a:pt x="359" y="131"/>
                      <a:pt x="359" y="131"/>
                    </a:cubicBezTo>
                    <a:cubicBezTo>
                      <a:pt x="361" y="131"/>
                      <a:pt x="362" y="133"/>
                      <a:pt x="364" y="134"/>
                    </a:cubicBezTo>
                    <a:cubicBezTo>
                      <a:pt x="365" y="135"/>
                      <a:pt x="367" y="137"/>
                      <a:pt x="369" y="137"/>
                    </a:cubicBezTo>
                    <a:cubicBezTo>
                      <a:pt x="369" y="137"/>
                      <a:pt x="370" y="137"/>
                      <a:pt x="370" y="136"/>
                    </a:cubicBezTo>
                    <a:cubicBezTo>
                      <a:pt x="367" y="139"/>
                      <a:pt x="354" y="142"/>
                      <a:pt x="356" y="147"/>
                    </a:cubicBezTo>
                    <a:cubicBezTo>
                      <a:pt x="352" y="146"/>
                      <a:pt x="350" y="141"/>
                      <a:pt x="347" y="139"/>
                    </a:cubicBezTo>
                    <a:cubicBezTo>
                      <a:pt x="347" y="139"/>
                      <a:pt x="347" y="139"/>
                      <a:pt x="347" y="139"/>
                    </a:cubicBezTo>
                    <a:cubicBezTo>
                      <a:pt x="346" y="139"/>
                      <a:pt x="338" y="143"/>
                      <a:pt x="337" y="144"/>
                    </a:cubicBezTo>
                    <a:cubicBezTo>
                      <a:pt x="333" y="147"/>
                      <a:pt x="338" y="148"/>
                      <a:pt x="340" y="149"/>
                    </a:cubicBezTo>
                    <a:cubicBezTo>
                      <a:pt x="337" y="148"/>
                      <a:pt x="334" y="147"/>
                      <a:pt x="330" y="146"/>
                    </a:cubicBezTo>
                    <a:cubicBezTo>
                      <a:pt x="331" y="147"/>
                      <a:pt x="332" y="148"/>
                      <a:pt x="333" y="148"/>
                    </a:cubicBezTo>
                    <a:cubicBezTo>
                      <a:pt x="331" y="150"/>
                      <a:pt x="329" y="150"/>
                      <a:pt x="327" y="152"/>
                    </a:cubicBezTo>
                    <a:cubicBezTo>
                      <a:pt x="328" y="152"/>
                      <a:pt x="330" y="151"/>
                      <a:pt x="331" y="151"/>
                    </a:cubicBezTo>
                    <a:cubicBezTo>
                      <a:pt x="331" y="151"/>
                      <a:pt x="332" y="151"/>
                      <a:pt x="332" y="152"/>
                    </a:cubicBezTo>
                    <a:cubicBezTo>
                      <a:pt x="333" y="152"/>
                      <a:pt x="335" y="153"/>
                      <a:pt x="336" y="153"/>
                    </a:cubicBezTo>
                    <a:cubicBezTo>
                      <a:pt x="337" y="153"/>
                      <a:pt x="337" y="153"/>
                      <a:pt x="337" y="153"/>
                    </a:cubicBezTo>
                    <a:cubicBezTo>
                      <a:pt x="334" y="154"/>
                      <a:pt x="331" y="153"/>
                      <a:pt x="328" y="155"/>
                    </a:cubicBezTo>
                    <a:cubicBezTo>
                      <a:pt x="329" y="155"/>
                      <a:pt x="330" y="156"/>
                      <a:pt x="331" y="157"/>
                    </a:cubicBezTo>
                    <a:cubicBezTo>
                      <a:pt x="329" y="158"/>
                      <a:pt x="333" y="157"/>
                      <a:pt x="331" y="159"/>
                    </a:cubicBezTo>
                    <a:cubicBezTo>
                      <a:pt x="330" y="161"/>
                      <a:pt x="331" y="161"/>
                      <a:pt x="329" y="161"/>
                    </a:cubicBezTo>
                    <a:cubicBezTo>
                      <a:pt x="328" y="161"/>
                      <a:pt x="328" y="161"/>
                      <a:pt x="327" y="161"/>
                    </a:cubicBezTo>
                    <a:cubicBezTo>
                      <a:pt x="327" y="161"/>
                      <a:pt x="327" y="161"/>
                      <a:pt x="326" y="161"/>
                    </a:cubicBezTo>
                    <a:cubicBezTo>
                      <a:pt x="326" y="161"/>
                      <a:pt x="326" y="161"/>
                      <a:pt x="325" y="161"/>
                    </a:cubicBezTo>
                    <a:cubicBezTo>
                      <a:pt x="325" y="161"/>
                      <a:pt x="324" y="161"/>
                      <a:pt x="324" y="161"/>
                    </a:cubicBezTo>
                    <a:cubicBezTo>
                      <a:pt x="326" y="163"/>
                      <a:pt x="329" y="163"/>
                      <a:pt x="330" y="165"/>
                    </a:cubicBezTo>
                    <a:cubicBezTo>
                      <a:pt x="327" y="164"/>
                      <a:pt x="323" y="163"/>
                      <a:pt x="322" y="159"/>
                    </a:cubicBezTo>
                    <a:cubicBezTo>
                      <a:pt x="321" y="156"/>
                      <a:pt x="322" y="150"/>
                      <a:pt x="319" y="147"/>
                    </a:cubicBezTo>
                    <a:cubicBezTo>
                      <a:pt x="318" y="146"/>
                      <a:pt x="317" y="146"/>
                      <a:pt x="317" y="146"/>
                    </a:cubicBezTo>
                    <a:cubicBezTo>
                      <a:pt x="314" y="146"/>
                      <a:pt x="312" y="150"/>
                      <a:pt x="309" y="151"/>
                    </a:cubicBezTo>
                    <a:cubicBezTo>
                      <a:pt x="309" y="152"/>
                      <a:pt x="307" y="153"/>
                      <a:pt x="306" y="153"/>
                    </a:cubicBezTo>
                    <a:cubicBezTo>
                      <a:pt x="306" y="153"/>
                      <a:pt x="306" y="153"/>
                      <a:pt x="306" y="152"/>
                    </a:cubicBezTo>
                    <a:cubicBezTo>
                      <a:pt x="306" y="151"/>
                      <a:pt x="310" y="148"/>
                      <a:pt x="307" y="148"/>
                    </a:cubicBezTo>
                    <a:cubicBezTo>
                      <a:pt x="307" y="148"/>
                      <a:pt x="307" y="148"/>
                      <a:pt x="307" y="148"/>
                    </a:cubicBezTo>
                    <a:cubicBezTo>
                      <a:pt x="305" y="148"/>
                      <a:pt x="304" y="150"/>
                      <a:pt x="303" y="151"/>
                    </a:cubicBezTo>
                    <a:cubicBezTo>
                      <a:pt x="303" y="151"/>
                      <a:pt x="303" y="151"/>
                      <a:pt x="303" y="151"/>
                    </a:cubicBezTo>
                    <a:cubicBezTo>
                      <a:pt x="303" y="151"/>
                      <a:pt x="303" y="151"/>
                      <a:pt x="302" y="151"/>
                    </a:cubicBezTo>
                    <a:cubicBezTo>
                      <a:pt x="302" y="150"/>
                      <a:pt x="302" y="150"/>
                      <a:pt x="301" y="150"/>
                    </a:cubicBezTo>
                    <a:cubicBezTo>
                      <a:pt x="301" y="150"/>
                      <a:pt x="301" y="150"/>
                      <a:pt x="300" y="151"/>
                    </a:cubicBezTo>
                    <a:cubicBezTo>
                      <a:pt x="299" y="152"/>
                      <a:pt x="298" y="153"/>
                      <a:pt x="297" y="154"/>
                    </a:cubicBezTo>
                    <a:cubicBezTo>
                      <a:pt x="303" y="155"/>
                      <a:pt x="308" y="154"/>
                      <a:pt x="314" y="156"/>
                    </a:cubicBezTo>
                    <a:cubicBezTo>
                      <a:pt x="309" y="159"/>
                      <a:pt x="305" y="161"/>
                      <a:pt x="301" y="161"/>
                    </a:cubicBezTo>
                    <a:cubicBezTo>
                      <a:pt x="299" y="161"/>
                      <a:pt x="298" y="162"/>
                      <a:pt x="297" y="163"/>
                    </a:cubicBezTo>
                    <a:cubicBezTo>
                      <a:pt x="296" y="163"/>
                      <a:pt x="295" y="164"/>
                      <a:pt x="294" y="164"/>
                    </a:cubicBezTo>
                    <a:cubicBezTo>
                      <a:pt x="294" y="164"/>
                      <a:pt x="294" y="164"/>
                      <a:pt x="294" y="164"/>
                    </a:cubicBezTo>
                    <a:cubicBezTo>
                      <a:pt x="294" y="164"/>
                      <a:pt x="294" y="163"/>
                      <a:pt x="293" y="162"/>
                    </a:cubicBezTo>
                    <a:cubicBezTo>
                      <a:pt x="292" y="162"/>
                      <a:pt x="291" y="162"/>
                      <a:pt x="289" y="162"/>
                    </a:cubicBezTo>
                    <a:cubicBezTo>
                      <a:pt x="287" y="162"/>
                      <a:pt x="285" y="162"/>
                      <a:pt x="285" y="163"/>
                    </a:cubicBezTo>
                    <a:cubicBezTo>
                      <a:pt x="284" y="165"/>
                      <a:pt x="282" y="165"/>
                      <a:pt x="282" y="166"/>
                    </a:cubicBezTo>
                    <a:cubicBezTo>
                      <a:pt x="283" y="168"/>
                      <a:pt x="285" y="171"/>
                      <a:pt x="283" y="172"/>
                    </a:cubicBezTo>
                    <a:cubicBezTo>
                      <a:pt x="287" y="171"/>
                      <a:pt x="299" y="167"/>
                      <a:pt x="299" y="164"/>
                    </a:cubicBezTo>
                    <a:cubicBezTo>
                      <a:pt x="303" y="164"/>
                      <a:pt x="306" y="167"/>
                      <a:pt x="309" y="169"/>
                    </a:cubicBezTo>
                    <a:cubicBezTo>
                      <a:pt x="308" y="169"/>
                      <a:pt x="308" y="169"/>
                      <a:pt x="307" y="169"/>
                    </a:cubicBezTo>
                    <a:cubicBezTo>
                      <a:pt x="303" y="169"/>
                      <a:pt x="298" y="172"/>
                      <a:pt x="294" y="174"/>
                    </a:cubicBezTo>
                    <a:cubicBezTo>
                      <a:pt x="295" y="174"/>
                      <a:pt x="300" y="175"/>
                      <a:pt x="300" y="176"/>
                    </a:cubicBezTo>
                    <a:cubicBezTo>
                      <a:pt x="302" y="178"/>
                      <a:pt x="300" y="180"/>
                      <a:pt x="303" y="180"/>
                    </a:cubicBezTo>
                    <a:cubicBezTo>
                      <a:pt x="303" y="180"/>
                      <a:pt x="303" y="180"/>
                      <a:pt x="303" y="180"/>
                    </a:cubicBezTo>
                    <a:cubicBezTo>
                      <a:pt x="305" y="180"/>
                      <a:pt x="306" y="180"/>
                      <a:pt x="308" y="179"/>
                    </a:cubicBezTo>
                    <a:cubicBezTo>
                      <a:pt x="310" y="178"/>
                      <a:pt x="312" y="177"/>
                      <a:pt x="313" y="177"/>
                    </a:cubicBezTo>
                    <a:cubicBezTo>
                      <a:pt x="313" y="177"/>
                      <a:pt x="313" y="177"/>
                      <a:pt x="314" y="177"/>
                    </a:cubicBezTo>
                    <a:cubicBezTo>
                      <a:pt x="311" y="180"/>
                      <a:pt x="304" y="183"/>
                      <a:pt x="306" y="186"/>
                    </a:cubicBezTo>
                    <a:cubicBezTo>
                      <a:pt x="306" y="186"/>
                      <a:pt x="310" y="187"/>
                      <a:pt x="311" y="187"/>
                    </a:cubicBezTo>
                    <a:cubicBezTo>
                      <a:pt x="305" y="187"/>
                      <a:pt x="299" y="184"/>
                      <a:pt x="294" y="182"/>
                    </a:cubicBezTo>
                    <a:cubicBezTo>
                      <a:pt x="293" y="182"/>
                      <a:pt x="292" y="182"/>
                      <a:pt x="291" y="182"/>
                    </a:cubicBezTo>
                    <a:cubicBezTo>
                      <a:pt x="291" y="182"/>
                      <a:pt x="290" y="182"/>
                      <a:pt x="290" y="182"/>
                    </a:cubicBezTo>
                    <a:cubicBezTo>
                      <a:pt x="289" y="182"/>
                      <a:pt x="289" y="182"/>
                      <a:pt x="289" y="182"/>
                    </a:cubicBezTo>
                    <a:cubicBezTo>
                      <a:pt x="288" y="182"/>
                      <a:pt x="288" y="182"/>
                      <a:pt x="288" y="182"/>
                    </a:cubicBezTo>
                    <a:cubicBezTo>
                      <a:pt x="288" y="181"/>
                      <a:pt x="291" y="177"/>
                      <a:pt x="290" y="177"/>
                    </a:cubicBezTo>
                    <a:cubicBezTo>
                      <a:pt x="290" y="177"/>
                      <a:pt x="289" y="177"/>
                      <a:pt x="289" y="177"/>
                    </a:cubicBezTo>
                    <a:cubicBezTo>
                      <a:pt x="286" y="178"/>
                      <a:pt x="283" y="180"/>
                      <a:pt x="280" y="182"/>
                    </a:cubicBezTo>
                    <a:cubicBezTo>
                      <a:pt x="283" y="183"/>
                      <a:pt x="287" y="183"/>
                      <a:pt x="290" y="183"/>
                    </a:cubicBezTo>
                    <a:cubicBezTo>
                      <a:pt x="289" y="184"/>
                      <a:pt x="285" y="186"/>
                      <a:pt x="284" y="186"/>
                    </a:cubicBezTo>
                    <a:cubicBezTo>
                      <a:pt x="284" y="186"/>
                      <a:pt x="284" y="186"/>
                      <a:pt x="284" y="186"/>
                    </a:cubicBezTo>
                    <a:cubicBezTo>
                      <a:pt x="283" y="185"/>
                      <a:pt x="282" y="184"/>
                      <a:pt x="281" y="184"/>
                    </a:cubicBezTo>
                    <a:cubicBezTo>
                      <a:pt x="280" y="184"/>
                      <a:pt x="279" y="185"/>
                      <a:pt x="278" y="185"/>
                    </a:cubicBezTo>
                    <a:cubicBezTo>
                      <a:pt x="277" y="187"/>
                      <a:pt x="276" y="188"/>
                      <a:pt x="274" y="190"/>
                    </a:cubicBezTo>
                    <a:cubicBezTo>
                      <a:pt x="273" y="191"/>
                      <a:pt x="271" y="191"/>
                      <a:pt x="270" y="192"/>
                    </a:cubicBezTo>
                    <a:cubicBezTo>
                      <a:pt x="276" y="192"/>
                      <a:pt x="283" y="191"/>
                      <a:pt x="289" y="190"/>
                    </a:cubicBezTo>
                    <a:cubicBezTo>
                      <a:pt x="289" y="190"/>
                      <a:pt x="289" y="190"/>
                      <a:pt x="290" y="190"/>
                    </a:cubicBezTo>
                    <a:cubicBezTo>
                      <a:pt x="292" y="190"/>
                      <a:pt x="296" y="193"/>
                      <a:pt x="298" y="194"/>
                    </a:cubicBezTo>
                    <a:cubicBezTo>
                      <a:pt x="301" y="196"/>
                      <a:pt x="301" y="195"/>
                      <a:pt x="302" y="200"/>
                    </a:cubicBezTo>
                    <a:cubicBezTo>
                      <a:pt x="301" y="200"/>
                      <a:pt x="301" y="200"/>
                      <a:pt x="301" y="200"/>
                    </a:cubicBezTo>
                    <a:cubicBezTo>
                      <a:pt x="298" y="195"/>
                      <a:pt x="297" y="196"/>
                      <a:pt x="291" y="196"/>
                    </a:cubicBezTo>
                    <a:cubicBezTo>
                      <a:pt x="289" y="196"/>
                      <a:pt x="286" y="195"/>
                      <a:pt x="283" y="195"/>
                    </a:cubicBezTo>
                    <a:cubicBezTo>
                      <a:pt x="282" y="195"/>
                      <a:pt x="281" y="195"/>
                      <a:pt x="280" y="195"/>
                    </a:cubicBezTo>
                    <a:cubicBezTo>
                      <a:pt x="277" y="196"/>
                      <a:pt x="274" y="197"/>
                      <a:pt x="271" y="197"/>
                    </a:cubicBezTo>
                    <a:cubicBezTo>
                      <a:pt x="269" y="198"/>
                      <a:pt x="269" y="198"/>
                      <a:pt x="270" y="201"/>
                    </a:cubicBezTo>
                    <a:cubicBezTo>
                      <a:pt x="270" y="202"/>
                      <a:pt x="275" y="202"/>
                      <a:pt x="277" y="202"/>
                    </a:cubicBezTo>
                    <a:cubicBezTo>
                      <a:pt x="272" y="203"/>
                      <a:pt x="269" y="202"/>
                      <a:pt x="264" y="203"/>
                    </a:cubicBezTo>
                    <a:cubicBezTo>
                      <a:pt x="259" y="205"/>
                      <a:pt x="254" y="206"/>
                      <a:pt x="249" y="208"/>
                    </a:cubicBezTo>
                    <a:cubicBezTo>
                      <a:pt x="252" y="213"/>
                      <a:pt x="253" y="214"/>
                      <a:pt x="260" y="215"/>
                    </a:cubicBezTo>
                    <a:cubicBezTo>
                      <a:pt x="254" y="216"/>
                      <a:pt x="248" y="217"/>
                      <a:pt x="242" y="218"/>
                    </a:cubicBezTo>
                    <a:cubicBezTo>
                      <a:pt x="244" y="219"/>
                      <a:pt x="245" y="220"/>
                      <a:pt x="247" y="221"/>
                    </a:cubicBezTo>
                    <a:cubicBezTo>
                      <a:pt x="246" y="221"/>
                      <a:pt x="246" y="221"/>
                      <a:pt x="245" y="221"/>
                    </a:cubicBezTo>
                    <a:cubicBezTo>
                      <a:pt x="244" y="221"/>
                      <a:pt x="244" y="221"/>
                      <a:pt x="243" y="221"/>
                    </a:cubicBezTo>
                    <a:cubicBezTo>
                      <a:pt x="242" y="221"/>
                      <a:pt x="242" y="221"/>
                      <a:pt x="241" y="221"/>
                    </a:cubicBezTo>
                    <a:cubicBezTo>
                      <a:pt x="241" y="221"/>
                      <a:pt x="240" y="221"/>
                      <a:pt x="240" y="221"/>
                    </a:cubicBezTo>
                    <a:cubicBezTo>
                      <a:pt x="244" y="223"/>
                      <a:pt x="241" y="225"/>
                      <a:pt x="242" y="226"/>
                    </a:cubicBezTo>
                    <a:cubicBezTo>
                      <a:pt x="242" y="226"/>
                      <a:pt x="243" y="226"/>
                      <a:pt x="243" y="226"/>
                    </a:cubicBezTo>
                    <a:cubicBezTo>
                      <a:pt x="244" y="226"/>
                      <a:pt x="245" y="225"/>
                      <a:pt x="246" y="225"/>
                    </a:cubicBezTo>
                    <a:cubicBezTo>
                      <a:pt x="248" y="224"/>
                      <a:pt x="249" y="224"/>
                      <a:pt x="251" y="224"/>
                    </a:cubicBezTo>
                    <a:cubicBezTo>
                      <a:pt x="251" y="224"/>
                      <a:pt x="251" y="224"/>
                      <a:pt x="251" y="224"/>
                    </a:cubicBezTo>
                    <a:cubicBezTo>
                      <a:pt x="254" y="224"/>
                      <a:pt x="250" y="226"/>
                      <a:pt x="251" y="228"/>
                    </a:cubicBezTo>
                    <a:cubicBezTo>
                      <a:pt x="250" y="228"/>
                      <a:pt x="249" y="228"/>
                      <a:pt x="248" y="228"/>
                    </a:cubicBezTo>
                    <a:cubicBezTo>
                      <a:pt x="247" y="228"/>
                      <a:pt x="246" y="228"/>
                      <a:pt x="244" y="228"/>
                    </a:cubicBezTo>
                    <a:cubicBezTo>
                      <a:pt x="243" y="228"/>
                      <a:pt x="242" y="228"/>
                      <a:pt x="240" y="228"/>
                    </a:cubicBezTo>
                    <a:cubicBezTo>
                      <a:pt x="236" y="228"/>
                      <a:pt x="232" y="228"/>
                      <a:pt x="232" y="229"/>
                    </a:cubicBezTo>
                    <a:cubicBezTo>
                      <a:pt x="232" y="230"/>
                      <a:pt x="231" y="236"/>
                      <a:pt x="232" y="237"/>
                    </a:cubicBezTo>
                    <a:cubicBezTo>
                      <a:pt x="234" y="238"/>
                      <a:pt x="237" y="239"/>
                      <a:pt x="240" y="239"/>
                    </a:cubicBezTo>
                    <a:cubicBezTo>
                      <a:pt x="237" y="240"/>
                      <a:pt x="234" y="242"/>
                      <a:pt x="232" y="243"/>
                    </a:cubicBezTo>
                    <a:cubicBezTo>
                      <a:pt x="237" y="243"/>
                      <a:pt x="241" y="241"/>
                      <a:pt x="246" y="240"/>
                    </a:cubicBezTo>
                    <a:cubicBezTo>
                      <a:pt x="251" y="239"/>
                      <a:pt x="258" y="239"/>
                      <a:pt x="264" y="237"/>
                    </a:cubicBezTo>
                    <a:cubicBezTo>
                      <a:pt x="260" y="239"/>
                      <a:pt x="254" y="245"/>
                      <a:pt x="250" y="245"/>
                    </a:cubicBezTo>
                    <a:cubicBezTo>
                      <a:pt x="249" y="245"/>
                      <a:pt x="249" y="245"/>
                      <a:pt x="248" y="244"/>
                    </a:cubicBezTo>
                    <a:cubicBezTo>
                      <a:pt x="247" y="244"/>
                      <a:pt x="246" y="242"/>
                      <a:pt x="245" y="242"/>
                    </a:cubicBezTo>
                    <a:cubicBezTo>
                      <a:pt x="245" y="242"/>
                      <a:pt x="245" y="242"/>
                      <a:pt x="245" y="242"/>
                    </a:cubicBezTo>
                    <a:cubicBezTo>
                      <a:pt x="244" y="242"/>
                      <a:pt x="241" y="243"/>
                      <a:pt x="240" y="243"/>
                    </a:cubicBezTo>
                    <a:cubicBezTo>
                      <a:pt x="238" y="244"/>
                      <a:pt x="235" y="245"/>
                      <a:pt x="233" y="245"/>
                    </a:cubicBezTo>
                    <a:cubicBezTo>
                      <a:pt x="231" y="246"/>
                      <a:pt x="228" y="246"/>
                      <a:pt x="227" y="247"/>
                    </a:cubicBezTo>
                    <a:cubicBezTo>
                      <a:pt x="224" y="249"/>
                      <a:pt x="226" y="250"/>
                      <a:pt x="229" y="250"/>
                    </a:cubicBezTo>
                    <a:cubicBezTo>
                      <a:pt x="230" y="250"/>
                      <a:pt x="231" y="249"/>
                      <a:pt x="232" y="249"/>
                    </a:cubicBezTo>
                    <a:cubicBezTo>
                      <a:pt x="232" y="251"/>
                      <a:pt x="230" y="252"/>
                      <a:pt x="229" y="254"/>
                    </a:cubicBezTo>
                    <a:cubicBezTo>
                      <a:pt x="232" y="255"/>
                      <a:pt x="236" y="256"/>
                      <a:pt x="237" y="260"/>
                    </a:cubicBezTo>
                    <a:cubicBezTo>
                      <a:pt x="233" y="259"/>
                      <a:pt x="231" y="255"/>
                      <a:pt x="229" y="255"/>
                    </a:cubicBezTo>
                    <a:cubicBezTo>
                      <a:pt x="228" y="255"/>
                      <a:pt x="227" y="255"/>
                      <a:pt x="226" y="256"/>
                    </a:cubicBezTo>
                    <a:cubicBezTo>
                      <a:pt x="225" y="258"/>
                      <a:pt x="220" y="262"/>
                      <a:pt x="221" y="264"/>
                    </a:cubicBezTo>
                    <a:cubicBezTo>
                      <a:pt x="221" y="265"/>
                      <a:pt x="222" y="266"/>
                      <a:pt x="223" y="268"/>
                    </a:cubicBezTo>
                    <a:cubicBezTo>
                      <a:pt x="221" y="267"/>
                      <a:pt x="220" y="266"/>
                      <a:pt x="219" y="266"/>
                    </a:cubicBezTo>
                    <a:cubicBezTo>
                      <a:pt x="217" y="266"/>
                      <a:pt x="217" y="268"/>
                      <a:pt x="215" y="272"/>
                    </a:cubicBezTo>
                    <a:cubicBezTo>
                      <a:pt x="214" y="276"/>
                      <a:pt x="220" y="275"/>
                      <a:pt x="221" y="275"/>
                    </a:cubicBezTo>
                    <a:cubicBezTo>
                      <a:pt x="219" y="277"/>
                      <a:pt x="221" y="277"/>
                      <a:pt x="222" y="278"/>
                    </a:cubicBezTo>
                    <a:cubicBezTo>
                      <a:pt x="222" y="278"/>
                      <a:pt x="222" y="278"/>
                      <a:pt x="223" y="278"/>
                    </a:cubicBezTo>
                    <a:cubicBezTo>
                      <a:pt x="223" y="278"/>
                      <a:pt x="223" y="278"/>
                      <a:pt x="223" y="278"/>
                    </a:cubicBezTo>
                    <a:cubicBezTo>
                      <a:pt x="223" y="278"/>
                      <a:pt x="224" y="278"/>
                      <a:pt x="224" y="278"/>
                    </a:cubicBezTo>
                    <a:cubicBezTo>
                      <a:pt x="224" y="278"/>
                      <a:pt x="224" y="278"/>
                      <a:pt x="224" y="279"/>
                    </a:cubicBezTo>
                    <a:cubicBezTo>
                      <a:pt x="224" y="279"/>
                      <a:pt x="223" y="281"/>
                      <a:pt x="223" y="282"/>
                    </a:cubicBezTo>
                    <a:cubicBezTo>
                      <a:pt x="220" y="280"/>
                      <a:pt x="213" y="276"/>
                      <a:pt x="212" y="272"/>
                    </a:cubicBezTo>
                    <a:cubicBezTo>
                      <a:pt x="210" y="278"/>
                      <a:pt x="208" y="284"/>
                      <a:pt x="205" y="290"/>
                    </a:cubicBezTo>
                    <a:cubicBezTo>
                      <a:pt x="207" y="288"/>
                      <a:pt x="211" y="285"/>
                      <a:pt x="213" y="285"/>
                    </a:cubicBezTo>
                    <a:cubicBezTo>
                      <a:pt x="214" y="285"/>
                      <a:pt x="215" y="285"/>
                      <a:pt x="215" y="286"/>
                    </a:cubicBezTo>
                    <a:cubicBezTo>
                      <a:pt x="217" y="290"/>
                      <a:pt x="217" y="290"/>
                      <a:pt x="216" y="290"/>
                    </a:cubicBezTo>
                    <a:cubicBezTo>
                      <a:pt x="216" y="290"/>
                      <a:pt x="216" y="290"/>
                      <a:pt x="216" y="290"/>
                    </a:cubicBezTo>
                    <a:cubicBezTo>
                      <a:pt x="216" y="290"/>
                      <a:pt x="216" y="290"/>
                      <a:pt x="216" y="290"/>
                    </a:cubicBezTo>
                    <a:cubicBezTo>
                      <a:pt x="215" y="290"/>
                      <a:pt x="214" y="290"/>
                      <a:pt x="214" y="291"/>
                    </a:cubicBezTo>
                    <a:cubicBezTo>
                      <a:pt x="214" y="292"/>
                      <a:pt x="214" y="292"/>
                      <a:pt x="215" y="292"/>
                    </a:cubicBezTo>
                    <a:cubicBezTo>
                      <a:pt x="217" y="292"/>
                      <a:pt x="221" y="290"/>
                      <a:pt x="222" y="290"/>
                    </a:cubicBezTo>
                    <a:cubicBezTo>
                      <a:pt x="225" y="288"/>
                      <a:pt x="227" y="286"/>
                      <a:pt x="230" y="284"/>
                    </a:cubicBezTo>
                    <a:cubicBezTo>
                      <a:pt x="227" y="290"/>
                      <a:pt x="220" y="291"/>
                      <a:pt x="216" y="295"/>
                    </a:cubicBezTo>
                    <a:cubicBezTo>
                      <a:pt x="217" y="295"/>
                      <a:pt x="217" y="295"/>
                      <a:pt x="217" y="295"/>
                    </a:cubicBezTo>
                    <a:cubicBezTo>
                      <a:pt x="215" y="296"/>
                      <a:pt x="213" y="297"/>
                      <a:pt x="211" y="297"/>
                    </a:cubicBezTo>
                    <a:cubicBezTo>
                      <a:pt x="211" y="297"/>
                      <a:pt x="210" y="297"/>
                      <a:pt x="210" y="297"/>
                    </a:cubicBezTo>
                    <a:cubicBezTo>
                      <a:pt x="213" y="295"/>
                      <a:pt x="214" y="291"/>
                      <a:pt x="210" y="290"/>
                    </a:cubicBezTo>
                    <a:cubicBezTo>
                      <a:pt x="210" y="290"/>
                      <a:pt x="209" y="290"/>
                      <a:pt x="209" y="290"/>
                    </a:cubicBezTo>
                    <a:cubicBezTo>
                      <a:pt x="205" y="290"/>
                      <a:pt x="198" y="295"/>
                      <a:pt x="197" y="298"/>
                    </a:cubicBezTo>
                    <a:cubicBezTo>
                      <a:pt x="199" y="298"/>
                      <a:pt x="200" y="296"/>
                      <a:pt x="202" y="296"/>
                    </a:cubicBezTo>
                    <a:cubicBezTo>
                      <a:pt x="202" y="296"/>
                      <a:pt x="202" y="296"/>
                      <a:pt x="202" y="296"/>
                    </a:cubicBezTo>
                    <a:cubicBezTo>
                      <a:pt x="195" y="301"/>
                      <a:pt x="188" y="306"/>
                      <a:pt x="182" y="312"/>
                    </a:cubicBezTo>
                    <a:cubicBezTo>
                      <a:pt x="186" y="310"/>
                      <a:pt x="189" y="309"/>
                      <a:pt x="193" y="307"/>
                    </a:cubicBezTo>
                    <a:cubicBezTo>
                      <a:pt x="193" y="306"/>
                      <a:pt x="194" y="305"/>
                      <a:pt x="195" y="305"/>
                    </a:cubicBezTo>
                    <a:cubicBezTo>
                      <a:pt x="196" y="304"/>
                      <a:pt x="197" y="304"/>
                      <a:pt x="198" y="303"/>
                    </a:cubicBezTo>
                    <a:cubicBezTo>
                      <a:pt x="200" y="303"/>
                      <a:pt x="202" y="302"/>
                      <a:pt x="203" y="302"/>
                    </a:cubicBezTo>
                    <a:cubicBezTo>
                      <a:pt x="204" y="302"/>
                      <a:pt x="204" y="302"/>
                      <a:pt x="205" y="302"/>
                    </a:cubicBezTo>
                    <a:cubicBezTo>
                      <a:pt x="201" y="302"/>
                      <a:pt x="196" y="305"/>
                      <a:pt x="194" y="308"/>
                    </a:cubicBezTo>
                    <a:cubicBezTo>
                      <a:pt x="195" y="308"/>
                      <a:pt x="197" y="309"/>
                      <a:pt x="198" y="309"/>
                    </a:cubicBezTo>
                    <a:cubicBezTo>
                      <a:pt x="195" y="311"/>
                      <a:pt x="191" y="312"/>
                      <a:pt x="187" y="313"/>
                    </a:cubicBezTo>
                    <a:cubicBezTo>
                      <a:pt x="190" y="315"/>
                      <a:pt x="192" y="317"/>
                      <a:pt x="195" y="318"/>
                    </a:cubicBezTo>
                    <a:cubicBezTo>
                      <a:pt x="192" y="320"/>
                      <a:pt x="186" y="324"/>
                      <a:pt x="189" y="324"/>
                    </a:cubicBezTo>
                    <a:cubicBezTo>
                      <a:pt x="189" y="324"/>
                      <a:pt x="190" y="324"/>
                      <a:pt x="192" y="323"/>
                    </a:cubicBezTo>
                    <a:cubicBezTo>
                      <a:pt x="188" y="325"/>
                      <a:pt x="185" y="328"/>
                      <a:pt x="182" y="331"/>
                    </a:cubicBezTo>
                    <a:cubicBezTo>
                      <a:pt x="182" y="327"/>
                      <a:pt x="186" y="326"/>
                      <a:pt x="182" y="324"/>
                    </a:cubicBezTo>
                    <a:cubicBezTo>
                      <a:pt x="179" y="323"/>
                      <a:pt x="177" y="321"/>
                      <a:pt x="175" y="321"/>
                    </a:cubicBezTo>
                    <a:cubicBezTo>
                      <a:pt x="174" y="321"/>
                      <a:pt x="173" y="322"/>
                      <a:pt x="172" y="322"/>
                    </a:cubicBezTo>
                    <a:cubicBezTo>
                      <a:pt x="168" y="325"/>
                      <a:pt x="164" y="327"/>
                      <a:pt x="160" y="330"/>
                    </a:cubicBezTo>
                    <a:cubicBezTo>
                      <a:pt x="158" y="332"/>
                      <a:pt x="152" y="335"/>
                      <a:pt x="158" y="336"/>
                    </a:cubicBezTo>
                    <a:cubicBezTo>
                      <a:pt x="154" y="339"/>
                      <a:pt x="148" y="342"/>
                      <a:pt x="145" y="347"/>
                    </a:cubicBezTo>
                    <a:cubicBezTo>
                      <a:pt x="147" y="347"/>
                      <a:pt x="148" y="346"/>
                      <a:pt x="149" y="346"/>
                    </a:cubicBezTo>
                    <a:cubicBezTo>
                      <a:pt x="150" y="346"/>
                      <a:pt x="150" y="346"/>
                      <a:pt x="150" y="346"/>
                    </a:cubicBezTo>
                    <a:cubicBezTo>
                      <a:pt x="149" y="348"/>
                      <a:pt x="147" y="348"/>
                      <a:pt x="146" y="349"/>
                    </a:cubicBezTo>
                    <a:cubicBezTo>
                      <a:pt x="146" y="349"/>
                      <a:pt x="147" y="349"/>
                      <a:pt x="148" y="349"/>
                    </a:cubicBezTo>
                    <a:cubicBezTo>
                      <a:pt x="149" y="349"/>
                      <a:pt x="149" y="349"/>
                      <a:pt x="149" y="349"/>
                    </a:cubicBezTo>
                    <a:cubicBezTo>
                      <a:pt x="144" y="351"/>
                      <a:pt x="139" y="354"/>
                      <a:pt x="134" y="358"/>
                    </a:cubicBezTo>
                    <a:cubicBezTo>
                      <a:pt x="136" y="358"/>
                      <a:pt x="137" y="358"/>
                      <a:pt x="138" y="358"/>
                    </a:cubicBezTo>
                    <a:cubicBezTo>
                      <a:pt x="141" y="358"/>
                      <a:pt x="144" y="357"/>
                      <a:pt x="148" y="357"/>
                    </a:cubicBezTo>
                    <a:cubicBezTo>
                      <a:pt x="146" y="358"/>
                      <a:pt x="143" y="360"/>
                      <a:pt x="142" y="362"/>
                    </a:cubicBezTo>
                    <a:cubicBezTo>
                      <a:pt x="142" y="364"/>
                      <a:pt x="143" y="364"/>
                      <a:pt x="143" y="365"/>
                    </a:cubicBezTo>
                    <a:cubicBezTo>
                      <a:pt x="144" y="367"/>
                      <a:pt x="145" y="368"/>
                      <a:pt x="147" y="368"/>
                    </a:cubicBezTo>
                    <a:cubicBezTo>
                      <a:pt x="148" y="368"/>
                      <a:pt x="148" y="368"/>
                      <a:pt x="149" y="368"/>
                    </a:cubicBezTo>
                    <a:cubicBezTo>
                      <a:pt x="155" y="365"/>
                      <a:pt x="161" y="362"/>
                      <a:pt x="167" y="359"/>
                    </a:cubicBezTo>
                    <a:cubicBezTo>
                      <a:pt x="169" y="358"/>
                      <a:pt x="171" y="357"/>
                      <a:pt x="173" y="356"/>
                    </a:cubicBezTo>
                    <a:cubicBezTo>
                      <a:pt x="176" y="354"/>
                      <a:pt x="175" y="353"/>
                      <a:pt x="174" y="350"/>
                    </a:cubicBezTo>
                    <a:cubicBezTo>
                      <a:pt x="171" y="351"/>
                      <a:pt x="167" y="353"/>
                      <a:pt x="164" y="354"/>
                    </a:cubicBezTo>
                    <a:cubicBezTo>
                      <a:pt x="170" y="350"/>
                      <a:pt x="175" y="345"/>
                      <a:pt x="182" y="342"/>
                    </a:cubicBezTo>
                    <a:cubicBezTo>
                      <a:pt x="183" y="341"/>
                      <a:pt x="184" y="341"/>
                      <a:pt x="185" y="341"/>
                    </a:cubicBezTo>
                    <a:cubicBezTo>
                      <a:pt x="186" y="341"/>
                      <a:pt x="185" y="343"/>
                      <a:pt x="188" y="345"/>
                    </a:cubicBezTo>
                    <a:cubicBezTo>
                      <a:pt x="184" y="346"/>
                      <a:pt x="181" y="348"/>
                      <a:pt x="178" y="350"/>
                    </a:cubicBezTo>
                    <a:cubicBezTo>
                      <a:pt x="179" y="352"/>
                      <a:pt x="184" y="352"/>
                      <a:pt x="186" y="353"/>
                    </a:cubicBezTo>
                    <a:cubicBezTo>
                      <a:pt x="181" y="360"/>
                      <a:pt x="170" y="359"/>
                      <a:pt x="165" y="365"/>
                    </a:cubicBezTo>
                    <a:cubicBezTo>
                      <a:pt x="167" y="365"/>
                      <a:pt x="169" y="364"/>
                      <a:pt x="171" y="364"/>
                    </a:cubicBezTo>
                    <a:cubicBezTo>
                      <a:pt x="168" y="367"/>
                      <a:pt x="168" y="367"/>
                      <a:pt x="170" y="370"/>
                    </a:cubicBezTo>
                    <a:cubicBezTo>
                      <a:pt x="161" y="371"/>
                      <a:pt x="151" y="372"/>
                      <a:pt x="142" y="376"/>
                    </a:cubicBezTo>
                    <a:cubicBezTo>
                      <a:pt x="143" y="373"/>
                      <a:pt x="145" y="371"/>
                      <a:pt x="143" y="368"/>
                    </a:cubicBezTo>
                    <a:cubicBezTo>
                      <a:pt x="143" y="368"/>
                      <a:pt x="139" y="362"/>
                      <a:pt x="138" y="362"/>
                    </a:cubicBezTo>
                    <a:cubicBezTo>
                      <a:pt x="138" y="362"/>
                      <a:pt x="138" y="362"/>
                      <a:pt x="138" y="362"/>
                    </a:cubicBezTo>
                    <a:cubicBezTo>
                      <a:pt x="133" y="364"/>
                      <a:pt x="127" y="365"/>
                      <a:pt x="123" y="368"/>
                    </a:cubicBezTo>
                    <a:cubicBezTo>
                      <a:pt x="125" y="369"/>
                      <a:pt x="127" y="369"/>
                      <a:pt x="129" y="369"/>
                    </a:cubicBezTo>
                    <a:cubicBezTo>
                      <a:pt x="130" y="369"/>
                      <a:pt x="131" y="369"/>
                      <a:pt x="132" y="369"/>
                    </a:cubicBezTo>
                    <a:cubicBezTo>
                      <a:pt x="128" y="372"/>
                      <a:pt x="123" y="375"/>
                      <a:pt x="120" y="378"/>
                    </a:cubicBezTo>
                    <a:cubicBezTo>
                      <a:pt x="121" y="375"/>
                      <a:pt x="122" y="376"/>
                      <a:pt x="119" y="372"/>
                    </a:cubicBezTo>
                    <a:cubicBezTo>
                      <a:pt x="118" y="371"/>
                      <a:pt x="117" y="370"/>
                      <a:pt x="116" y="370"/>
                    </a:cubicBezTo>
                    <a:cubicBezTo>
                      <a:pt x="115" y="370"/>
                      <a:pt x="114" y="371"/>
                      <a:pt x="112" y="371"/>
                    </a:cubicBezTo>
                    <a:cubicBezTo>
                      <a:pt x="109" y="372"/>
                      <a:pt x="108" y="376"/>
                      <a:pt x="105" y="377"/>
                    </a:cubicBezTo>
                    <a:cubicBezTo>
                      <a:pt x="107" y="379"/>
                      <a:pt x="110" y="380"/>
                      <a:pt x="113" y="381"/>
                    </a:cubicBezTo>
                    <a:cubicBezTo>
                      <a:pt x="110" y="383"/>
                      <a:pt x="95" y="382"/>
                      <a:pt x="95" y="385"/>
                    </a:cubicBezTo>
                    <a:cubicBezTo>
                      <a:pt x="95" y="389"/>
                      <a:pt x="101" y="390"/>
                      <a:pt x="103" y="390"/>
                    </a:cubicBezTo>
                    <a:cubicBezTo>
                      <a:pt x="107" y="391"/>
                      <a:pt x="109" y="392"/>
                      <a:pt x="110" y="397"/>
                    </a:cubicBezTo>
                    <a:cubicBezTo>
                      <a:pt x="110" y="397"/>
                      <a:pt x="109" y="398"/>
                      <a:pt x="109" y="398"/>
                    </a:cubicBezTo>
                    <a:cubicBezTo>
                      <a:pt x="108" y="398"/>
                      <a:pt x="108" y="397"/>
                      <a:pt x="107" y="396"/>
                    </a:cubicBezTo>
                    <a:cubicBezTo>
                      <a:pt x="107" y="396"/>
                      <a:pt x="106" y="396"/>
                      <a:pt x="105" y="396"/>
                    </a:cubicBezTo>
                    <a:cubicBezTo>
                      <a:pt x="105" y="396"/>
                      <a:pt x="105" y="396"/>
                      <a:pt x="104" y="396"/>
                    </a:cubicBezTo>
                    <a:cubicBezTo>
                      <a:pt x="104" y="396"/>
                      <a:pt x="104" y="396"/>
                      <a:pt x="103" y="396"/>
                    </a:cubicBezTo>
                    <a:cubicBezTo>
                      <a:pt x="103" y="396"/>
                      <a:pt x="102" y="396"/>
                      <a:pt x="102" y="396"/>
                    </a:cubicBezTo>
                    <a:cubicBezTo>
                      <a:pt x="98" y="394"/>
                      <a:pt x="94" y="386"/>
                      <a:pt x="91" y="386"/>
                    </a:cubicBezTo>
                    <a:cubicBezTo>
                      <a:pt x="90" y="386"/>
                      <a:pt x="88" y="387"/>
                      <a:pt x="87" y="390"/>
                    </a:cubicBezTo>
                    <a:cubicBezTo>
                      <a:pt x="88" y="389"/>
                      <a:pt x="88" y="390"/>
                      <a:pt x="89" y="388"/>
                    </a:cubicBezTo>
                    <a:cubicBezTo>
                      <a:pt x="93" y="394"/>
                      <a:pt x="99" y="399"/>
                      <a:pt x="105" y="402"/>
                    </a:cubicBezTo>
                    <a:cubicBezTo>
                      <a:pt x="105" y="403"/>
                      <a:pt x="105" y="403"/>
                      <a:pt x="105" y="403"/>
                    </a:cubicBezTo>
                    <a:cubicBezTo>
                      <a:pt x="100" y="400"/>
                      <a:pt x="96" y="398"/>
                      <a:pt x="91" y="395"/>
                    </a:cubicBezTo>
                    <a:cubicBezTo>
                      <a:pt x="88" y="393"/>
                      <a:pt x="86" y="392"/>
                      <a:pt x="84" y="392"/>
                    </a:cubicBezTo>
                    <a:cubicBezTo>
                      <a:pt x="83" y="392"/>
                      <a:pt x="81" y="393"/>
                      <a:pt x="78" y="393"/>
                    </a:cubicBezTo>
                    <a:cubicBezTo>
                      <a:pt x="77" y="394"/>
                      <a:pt x="76" y="394"/>
                      <a:pt x="75" y="394"/>
                    </a:cubicBezTo>
                    <a:cubicBezTo>
                      <a:pt x="74" y="394"/>
                      <a:pt x="74" y="394"/>
                      <a:pt x="74" y="394"/>
                    </a:cubicBezTo>
                    <a:cubicBezTo>
                      <a:pt x="73" y="393"/>
                      <a:pt x="70" y="390"/>
                      <a:pt x="69" y="390"/>
                    </a:cubicBezTo>
                    <a:cubicBezTo>
                      <a:pt x="69" y="390"/>
                      <a:pt x="69" y="390"/>
                      <a:pt x="69" y="390"/>
                    </a:cubicBezTo>
                    <a:cubicBezTo>
                      <a:pt x="65" y="391"/>
                      <a:pt x="61" y="392"/>
                      <a:pt x="59" y="394"/>
                    </a:cubicBezTo>
                    <a:cubicBezTo>
                      <a:pt x="60" y="395"/>
                      <a:pt x="61" y="396"/>
                      <a:pt x="62" y="397"/>
                    </a:cubicBezTo>
                    <a:cubicBezTo>
                      <a:pt x="64" y="398"/>
                      <a:pt x="66" y="397"/>
                      <a:pt x="67" y="399"/>
                    </a:cubicBezTo>
                    <a:cubicBezTo>
                      <a:pt x="67" y="399"/>
                      <a:pt x="67" y="398"/>
                      <a:pt x="67" y="398"/>
                    </a:cubicBezTo>
                    <a:cubicBezTo>
                      <a:pt x="64" y="398"/>
                      <a:pt x="62" y="401"/>
                      <a:pt x="61" y="402"/>
                    </a:cubicBezTo>
                    <a:cubicBezTo>
                      <a:pt x="67" y="402"/>
                      <a:pt x="73" y="403"/>
                      <a:pt x="79" y="403"/>
                    </a:cubicBezTo>
                    <a:cubicBezTo>
                      <a:pt x="79" y="403"/>
                      <a:pt x="79" y="403"/>
                      <a:pt x="79" y="403"/>
                    </a:cubicBezTo>
                    <a:cubicBezTo>
                      <a:pt x="83" y="403"/>
                      <a:pt x="87" y="400"/>
                      <a:pt x="91" y="400"/>
                    </a:cubicBezTo>
                    <a:cubicBezTo>
                      <a:pt x="91" y="404"/>
                      <a:pt x="77" y="403"/>
                      <a:pt x="73" y="407"/>
                    </a:cubicBezTo>
                    <a:cubicBezTo>
                      <a:pt x="72" y="409"/>
                      <a:pt x="76" y="409"/>
                      <a:pt x="79" y="409"/>
                    </a:cubicBezTo>
                    <a:cubicBezTo>
                      <a:pt x="81" y="409"/>
                      <a:pt x="83" y="409"/>
                      <a:pt x="83" y="409"/>
                    </a:cubicBezTo>
                    <a:cubicBezTo>
                      <a:pt x="80" y="410"/>
                      <a:pt x="78" y="411"/>
                      <a:pt x="76" y="411"/>
                    </a:cubicBezTo>
                    <a:cubicBezTo>
                      <a:pt x="76" y="411"/>
                      <a:pt x="75" y="411"/>
                      <a:pt x="73" y="410"/>
                    </a:cubicBezTo>
                    <a:cubicBezTo>
                      <a:pt x="71" y="409"/>
                      <a:pt x="69" y="407"/>
                      <a:pt x="66" y="407"/>
                    </a:cubicBezTo>
                    <a:cubicBezTo>
                      <a:pt x="66" y="407"/>
                      <a:pt x="65" y="407"/>
                      <a:pt x="64" y="407"/>
                    </a:cubicBezTo>
                    <a:cubicBezTo>
                      <a:pt x="61" y="407"/>
                      <a:pt x="58" y="407"/>
                      <a:pt x="56" y="407"/>
                    </a:cubicBezTo>
                    <a:cubicBezTo>
                      <a:pt x="54" y="408"/>
                      <a:pt x="39" y="408"/>
                      <a:pt x="41" y="411"/>
                    </a:cubicBezTo>
                    <a:cubicBezTo>
                      <a:pt x="41" y="411"/>
                      <a:pt x="46" y="411"/>
                      <a:pt x="49" y="411"/>
                    </a:cubicBezTo>
                    <a:cubicBezTo>
                      <a:pt x="49" y="411"/>
                      <a:pt x="50" y="411"/>
                      <a:pt x="50" y="411"/>
                    </a:cubicBezTo>
                    <a:cubicBezTo>
                      <a:pt x="48" y="412"/>
                      <a:pt x="46" y="412"/>
                      <a:pt x="44" y="413"/>
                    </a:cubicBezTo>
                    <a:cubicBezTo>
                      <a:pt x="45" y="414"/>
                      <a:pt x="46" y="415"/>
                      <a:pt x="47" y="415"/>
                    </a:cubicBezTo>
                    <a:cubicBezTo>
                      <a:pt x="48" y="415"/>
                      <a:pt x="50" y="414"/>
                      <a:pt x="52" y="413"/>
                    </a:cubicBezTo>
                    <a:cubicBezTo>
                      <a:pt x="52" y="413"/>
                      <a:pt x="53" y="413"/>
                      <a:pt x="53" y="413"/>
                    </a:cubicBezTo>
                    <a:cubicBezTo>
                      <a:pt x="55" y="413"/>
                      <a:pt x="57" y="415"/>
                      <a:pt x="60" y="416"/>
                    </a:cubicBezTo>
                    <a:cubicBezTo>
                      <a:pt x="61" y="417"/>
                      <a:pt x="59" y="420"/>
                      <a:pt x="62" y="421"/>
                    </a:cubicBezTo>
                    <a:cubicBezTo>
                      <a:pt x="65" y="421"/>
                      <a:pt x="67" y="422"/>
                      <a:pt x="69" y="423"/>
                    </a:cubicBezTo>
                    <a:cubicBezTo>
                      <a:pt x="68" y="422"/>
                      <a:pt x="66" y="422"/>
                      <a:pt x="65" y="422"/>
                    </a:cubicBezTo>
                    <a:cubicBezTo>
                      <a:pt x="63" y="422"/>
                      <a:pt x="62" y="422"/>
                      <a:pt x="62" y="424"/>
                    </a:cubicBezTo>
                    <a:cubicBezTo>
                      <a:pt x="62" y="428"/>
                      <a:pt x="63" y="428"/>
                      <a:pt x="67" y="429"/>
                    </a:cubicBezTo>
                    <a:cubicBezTo>
                      <a:pt x="66" y="429"/>
                      <a:pt x="66" y="429"/>
                      <a:pt x="65" y="429"/>
                    </a:cubicBezTo>
                    <a:cubicBezTo>
                      <a:pt x="64" y="429"/>
                      <a:pt x="63" y="429"/>
                      <a:pt x="62" y="429"/>
                    </a:cubicBezTo>
                    <a:cubicBezTo>
                      <a:pt x="62" y="430"/>
                      <a:pt x="61" y="430"/>
                      <a:pt x="60" y="430"/>
                    </a:cubicBezTo>
                    <a:cubicBezTo>
                      <a:pt x="60" y="430"/>
                      <a:pt x="59" y="430"/>
                      <a:pt x="59" y="430"/>
                    </a:cubicBezTo>
                    <a:cubicBezTo>
                      <a:pt x="61" y="427"/>
                      <a:pt x="63" y="424"/>
                      <a:pt x="60" y="421"/>
                    </a:cubicBezTo>
                    <a:cubicBezTo>
                      <a:pt x="59" y="420"/>
                      <a:pt x="60" y="417"/>
                      <a:pt x="59" y="416"/>
                    </a:cubicBezTo>
                    <a:cubicBezTo>
                      <a:pt x="58" y="415"/>
                      <a:pt x="54" y="415"/>
                      <a:pt x="52" y="415"/>
                    </a:cubicBezTo>
                    <a:cubicBezTo>
                      <a:pt x="52" y="415"/>
                      <a:pt x="52" y="415"/>
                      <a:pt x="52" y="415"/>
                    </a:cubicBezTo>
                    <a:cubicBezTo>
                      <a:pt x="50" y="415"/>
                      <a:pt x="45" y="416"/>
                      <a:pt x="45" y="418"/>
                    </a:cubicBezTo>
                    <a:cubicBezTo>
                      <a:pt x="44" y="421"/>
                      <a:pt x="50" y="423"/>
                      <a:pt x="50" y="425"/>
                    </a:cubicBezTo>
                    <a:cubicBezTo>
                      <a:pt x="50" y="426"/>
                      <a:pt x="50" y="427"/>
                      <a:pt x="49" y="427"/>
                    </a:cubicBezTo>
                    <a:cubicBezTo>
                      <a:pt x="47" y="427"/>
                      <a:pt x="45" y="420"/>
                      <a:pt x="44" y="420"/>
                    </a:cubicBezTo>
                    <a:cubicBezTo>
                      <a:pt x="43" y="419"/>
                      <a:pt x="42" y="418"/>
                      <a:pt x="41" y="418"/>
                    </a:cubicBezTo>
                    <a:cubicBezTo>
                      <a:pt x="41" y="418"/>
                      <a:pt x="40" y="419"/>
                      <a:pt x="39" y="420"/>
                    </a:cubicBezTo>
                    <a:cubicBezTo>
                      <a:pt x="37" y="421"/>
                      <a:pt x="34" y="422"/>
                      <a:pt x="33" y="423"/>
                    </a:cubicBezTo>
                    <a:cubicBezTo>
                      <a:pt x="31" y="426"/>
                      <a:pt x="34" y="426"/>
                      <a:pt x="36" y="429"/>
                    </a:cubicBezTo>
                    <a:cubicBezTo>
                      <a:pt x="36" y="429"/>
                      <a:pt x="35" y="428"/>
                      <a:pt x="34" y="428"/>
                    </a:cubicBezTo>
                    <a:cubicBezTo>
                      <a:pt x="32" y="428"/>
                      <a:pt x="31" y="431"/>
                      <a:pt x="29" y="433"/>
                    </a:cubicBezTo>
                    <a:cubicBezTo>
                      <a:pt x="31" y="431"/>
                      <a:pt x="28" y="428"/>
                      <a:pt x="27" y="426"/>
                    </a:cubicBezTo>
                    <a:cubicBezTo>
                      <a:pt x="25" y="427"/>
                      <a:pt x="25" y="428"/>
                      <a:pt x="24" y="428"/>
                    </a:cubicBezTo>
                    <a:cubicBezTo>
                      <a:pt x="23" y="428"/>
                      <a:pt x="22" y="427"/>
                      <a:pt x="21" y="427"/>
                    </a:cubicBezTo>
                    <a:cubicBezTo>
                      <a:pt x="20" y="426"/>
                      <a:pt x="19" y="426"/>
                      <a:pt x="19" y="426"/>
                    </a:cubicBezTo>
                    <a:cubicBezTo>
                      <a:pt x="18" y="426"/>
                      <a:pt x="17" y="426"/>
                      <a:pt x="17" y="427"/>
                    </a:cubicBezTo>
                    <a:cubicBezTo>
                      <a:pt x="16" y="428"/>
                      <a:pt x="18" y="432"/>
                      <a:pt x="18" y="434"/>
                    </a:cubicBezTo>
                    <a:cubicBezTo>
                      <a:pt x="17" y="432"/>
                      <a:pt x="13" y="425"/>
                      <a:pt x="11" y="425"/>
                    </a:cubicBezTo>
                    <a:cubicBezTo>
                      <a:pt x="11" y="425"/>
                      <a:pt x="11" y="425"/>
                      <a:pt x="11" y="425"/>
                    </a:cubicBezTo>
                    <a:cubicBezTo>
                      <a:pt x="8" y="425"/>
                      <a:pt x="14" y="432"/>
                      <a:pt x="17" y="433"/>
                    </a:cubicBezTo>
                    <a:cubicBezTo>
                      <a:pt x="15" y="435"/>
                      <a:pt x="11" y="436"/>
                      <a:pt x="9" y="437"/>
                    </a:cubicBezTo>
                    <a:cubicBezTo>
                      <a:pt x="17" y="437"/>
                      <a:pt x="24" y="438"/>
                      <a:pt x="32" y="439"/>
                    </a:cubicBezTo>
                    <a:cubicBezTo>
                      <a:pt x="34" y="440"/>
                      <a:pt x="36" y="440"/>
                      <a:pt x="38" y="440"/>
                    </a:cubicBezTo>
                    <a:cubicBezTo>
                      <a:pt x="42" y="440"/>
                      <a:pt x="45" y="439"/>
                      <a:pt x="49" y="439"/>
                    </a:cubicBezTo>
                    <a:cubicBezTo>
                      <a:pt x="42" y="441"/>
                      <a:pt x="37" y="442"/>
                      <a:pt x="31" y="446"/>
                    </a:cubicBezTo>
                    <a:cubicBezTo>
                      <a:pt x="30" y="444"/>
                      <a:pt x="30" y="442"/>
                      <a:pt x="31" y="440"/>
                    </a:cubicBezTo>
                    <a:cubicBezTo>
                      <a:pt x="29" y="441"/>
                      <a:pt x="28" y="441"/>
                      <a:pt x="27" y="441"/>
                    </a:cubicBezTo>
                    <a:cubicBezTo>
                      <a:pt x="26" y="441"/>
                      <a:pt x="25" y="441"/>
                      <a:pt x="25" y="441"/>
                    </a:cubicBezTo>
                    <a:cubicBezTo>
                      <a:pt x="23" y="440"/>
                      <a:pt x="19" y="438"/>
                      <a:pt x="17" y="438"/>
                    </a:cubicBezTo>
                    <a:cubicBezTo>
                      <a:pt x="17" y="438"/>
                      <a:pt x="17" y="438"/>
                      <a:pt x="16" y="438"/>
                    </a:cubicBezTo>
                    <a:cubicBezTo>
                      <a:pt x="15" y="438"/>
                      <a:pt x="13" y="439"/>
                      <a:pt x="12" y="441"/>
                    </a:cubicBezTo>
                    <a:cubicBezTo>
                      <a:pt x="10" y="441"/>
                      <a:pt x="8" y="441"/>
                      <a:pt x="5" y="441"/>
                    </a:cubicBezTo>
                    <a:cubicBezTo>
                      <a:pt x="4" y="441"/>
                      <a:pt x="2" y="441"/>
                      <a:pt x="0" y="441"/>
                    </a:cubicBezTo>
                    <a:cubicBezTo>
                      <a:pt x="2" y="441"/>
                      <a:pt x="2" y="443"/>
                      <a:pt x="2" y="444"/>
                    </a:cubicBezTo>
                    <a:cubicBezTo>
                      <a:pt x="5" y="442"/>
                      <a:pt x="9" y="442"/>
                      <a:pt x="12" y="441"/>
                    </a:cubicBezTo>
                    <a:cubicBezTo>
                      <a:pt x="9" y="443"/>
                      <a:pt x="6" y="446"/>
                      <a:pt x="4" y="448"/>
                    </a:cubicBezTo>
                    <a:cubicBezTo>
                      <a:pt x="8" y="449"/>
                      <a:pt x="11" y="450"/>
                      <a:pt x="15" y="450"/>
                    </a:cubicBezTo>
                    <a:cubicBezTo>
                      <a:pt x="12" y="451"/>
                      <a:pt x="8" y="450"/>
                      <a:pt x="5" y="452"/>
                    </a:cubicBezTo>
                    <a:cubicBezTo>
                      <a:pt x="6" y="452"/>
                      <a:pt x="6" y="452"/>
                      <a:pt x="6" y="452"/>
                    </a:cubicBezTo>
                    <a:cubicBezTo>
                      <a:pt x="7" y="452"/>
                      <a:pt x="8" y="451"/>
                      <a:pt x="9" y="451"/>
                    </a:cubicBezTo>
                    <a:cubicBezTo>
                      <a:pt x="11" y="451"/>
                      <a:pt x="12" y="451"/>
                      <a:pt x="13" y="451"/>
                    </a:cubicBezTo>
                    <a:cubicBezTo>
                      <a:pt x="14" y="451"/>
                      <a:pt x="15" y="451"/>
                      <a:pt x="17" y="452"/>
                    </a:cubicBezTo>
                    <a:cubicBezTo>
                      <a:pt x="15" y="452"/>
                      <a:pt x="14" y="452"/>
                      <a:pt x="13" y="452"/>
                    </a:cubicBezTo>
                    <a:cubicBezTo>
                      <a:pt x="12" y="452"/>
                      <a:pt x="12" y="452"/>
                      <a:pt x="11" y="452"/>
                    </a:cubicBezTo>
                    <a:cubicBezTo>
                      <a:pt x="12" y="453"/>
                      <a:pt x="14" y="453"/>
                      <a:pt x="15" y="454"/>
                    </a:cubicBezTo>
                    <a:cubicBezTo>
                      <a:pt x="14" y="455"/>
                      <a:pt x="14" y="456"/>
                      <a:pt x="13" y="456"/>
                    </a:cubicBezTo>
                    <a:cubicBezTo>
                      <a:pt x="18" y="456"/>
                      <a:pt x="22" y="456"/>
                      <a:pt x="27" y="456"/>
                    </a:cubicBezTo>
                    <a:cubicBezTo>
                      <a:pt x="22" y="457"/>
                      <a:pt x="11" y="456"/>
                      <a:pt x="7" y="459"/>
                    </a:cubicBezTo>
                    <a:cubicBezTo>
                      <a:pt x="8" y="460"/>
                      <a:pt x="8" y="461"/>
                      <a:pt x="7" y="463"/>
                    </a:cubicBezTo>
                    <a:cubicBezTo>
                      <a:pt x="11" y="462"/>
                      <a:pt x="15" y="461"/>
                      <a:pt x="19" y="461"/>
                    </a:cubicBezTo>
                    <a:cubicBezTo>
                      <a:pt x="20" y="461"/>
                      <a:pt x="22" y="461"/>
                      <a:pt x="23" y="462"/>
                    </a:cubicBezTo>
                    <a:cubicBezTo>
                      <a:pt x="23" y="462"/>
                      <a:pt x="23" y="462"/>
                      <a:pt x="23" y="462"/>
                    </a:cubicBezTo>
                    <a:cubicBezTo>
                      <a:pt x="18" y="462"/>
                      <a:pt x="7" y="462"/>
                      <a:pt x="5" y="467"/>
                    </a:cubicBezTo>
                    <a:cubicBezTo>
                      <a:pt x="8" y="469"/>
                      <a:pt x="13" y="474"/>
                      <a:pt x="16" y="474"/>
                    </a:cubicBezTo>
                    <a:cubicBezTo>
                      <a:pt x="16" y="474"/>
                      <a:pt x="16" y="474"/>
                      <a:pt x="16" y="474"/>
                    </a:cubicBezTo>
                    <a:cubicBezTo>
                      <a:pt x="23" y="473"/>
                      <a:pt x="29" y="472"/>
                      <a:pt x="35" y="471"/>
                    </a:cubicBezTo>
                    <a:cubicBezTo>
                      <a:pt x="35" y="471"/>
                      <a:pt x="35" y="471"/>
                      <a:pt x="35" y="471"/>
                    </a:cubicBezTo>
                    <a:cubicBezTo>
                      <a:pt x="37" y="471"/>
                      <a:pt x="38" y="471"/>
                      <a:pt x="39" y="472"/>
                    </a:cubicBezTo>
                    <a:cubicBezTo>
                      <a:pt x="41" y="472"/>
                      <a:pt x="42" y="473"/>
                      <a:pt x="43" y="473"/>
                    </a:cubicBezTo>
                    <a:cubicBezTo>
                      <a:pt x="44" y="473"/>
                      <a:pt x="44" y="473"/>
                      <a:pt x="45" y="473"/>
                    </a:cubicBezTo>
                    <a:cubicBezTo>
                      <a:pt x="47" y="472"/>
                      <a:pt x="49" y="469"/>
                      <a:pt x="51" y="467"/>
                    </a:cubicBezTo>
                    <a:cubicBezTo>
                      <a:pt x="50" y="469"/>
                      <a:pt x="54" y="469"/>
                      <a:pt x="57" y="470"/>
                    </a:cubicBezTo>
                    <a:cubicBezTo>
                      <a:pt x="59" y="470"/>
                      <a:pt x="61" y="470"/>
                      <a:pt x="63" y="470"/>
                    </a:cubicBezTo>
                    <a:cubicBezTo>
                      <a:pt x="65" y="470"/>
                      <a:pt x="66" y="470"/>
                      <a:pt x="68" y="470"/>
                    </a:cubicBezTo>
                    <a:cubicBezTo>
                      <a:pt x="69" y="470"/>
                      <a:pt x="71" y="470"/>
                      <a:pt x="72" y="470"/>
                    </a:cubicBezTo>
                    <a:cubicBezTo>
                      <a:pt x="72" y="470"/>
                      <a:pt x="72" y="470"/>
                      <a:pt x="72" y="470"/>
                    </a:cubicBezTo>
                    <a:cubicBezTo>
                      <a:pt x="71" y="469"/>
                      <a:pt x="68" y="466"/>
                      <a:pt x="69" y="465"/>
                    </a:cubicBezTo>
                    <a:cubicBezTo>
                      <a:pt x="69" y="463"/>
                      <a:pt x="71" y="463"/>
                      <a:pt x="70" y="461"/>
                    </a:cubicBezTo>
                    <a:cubicBezTo>
                      <a:pt x="70" y="461"/>
                      <a:pt x="70" y="461"/>
                      <a:pt x="70" y="461"/>
                    </a:cubicBezTo>
                    <a:cubicBezTo>
                      <a:pt x="73" y="461"/>
                      <a:pt x="76" y="458"/>
                      <a:pt x="78" y="457"/>
                    </a:cubicBezTo>
                    <a:cubicBezTo>
                      <a:pt x="76" y="459"/>
                      <a:pt x="68" y="465"/>
                      <a:pt x="72" y="468"/>
                    </a:cubicBezTo>
                    <a:cubicBezTo>
                      <a:pt x="73" y="469"/>
                      <a:pt x="73" y="469"/>
                      <a:pt x="74" y="469"/>
                    </a:cubicBezTo>
                    <a:cubicBezTo>
                      <a:pt x="76" y="469"/>
                      <a:pt x="79" y="468"/>
                      <a:pt x="81" y="467"/>
                    </a:cubicBezTo>
                    <a:cubicBezTo>
                      <a:pt x="77" y="469"/>
                      <a:pt x="73" y="470"/>
                      <a:pt x="69" y="471"/>
                    </a:cubicBezTo>
                    <a:cubicBezTo>
                      <a:pt x="65" y="473"/>
                      <a:pt x="61" y="474"/>
                      <a:pt x="64" y="478"/>
                    </a:cubicBezTo>
                    <a:cubicBezTo>
                      <a:pt x="64" y="479"/>
                      <a:pt x="68" y="480"/>
                      <a:pt x="66" y="482"/>
                    </a:cubicBezTo>
                    <a:cubicBezTo>
                      <a:pt x="65" y="482"/>
                      <a:pt x="65" y="482"/>
                      <a:pt x="64" y="482"/>
                    </a:cubicBezTo>
                    <a:cubicBezTo>
                      <a:pt x="64" y="482"/>
                      <a:pt x="63" y="482"/>
                      <a:pt x="62" y="481"/>
                    </a:cubicBezTo>
                    <a:cubicBezTo>
                      <a:pt x="61" y="481"/>
                      <a:pt x="60" y="481"/>
                      <a:pt x="59" y="481"/>
                    </a:cubicBezTo>
                    <a:cubicBezTo>
                      <a:pt x="59" y="481"/>
                      <a:pt x="58" y="481"/>
                      <a:pt x="58" y="481"/>
                    </a:cubicBezTo>
                    <a:cubicBezTo>
                      <a:pt x="59" y="479"/>
                      <a:pt x="60" y="478"/>
                      <a:pt x="61" y="476"/>
                    </a:cubicBezTo>
                    <a:cubicBezTo>
                      <a:pt x="59" y="475"/>
                      <a:pt x="55" y="471"/>
                      <a:pt x="52" y="471"/>
                    </a:cubicBezTo>
                    <a:cubicBezTo>
                      <a:pt x="51" y="471"/>
                      <a:pt x="51" y="471"/>
                      <a:pt x="51" y="471"/>
                    </a:cubicBezTo>
                    <a:cubicBezTo>
                      <a:pt x="49" y="473"/>
                      <a:pt x="44" y="475"/>
                      <a:pt x="44" y="477"/>
                    </a:cubicBezTo>
                    <a:cubicBezTo>
                      <a:pt x="41" y="476"/>
                      <a:pt x="39" y="473"/>
                      <a:pt x="35" y="473"/>
                    </a:cubicBezTo>
                    <a:cubicBezTo>
                      <a:pt x="35" y="473"/>
                      <a:pt x="35" y="473"/>
                      <a:pt x="34" y="473"/>
                    </a:cubicBezTo>
                    <a:cubicBezTo>
                      <a:pt x="29" y="474"/>
                      <a:pt x="24" y="475"/>
                      <a:pt x="18" y="475"/>
                    </a:cubicBezTo>
                    <a:cubicBezTo>
                      <a:pt x="18" y="475"/>
                      <a:pt x="18" y="475"/>
                      <a:pt x="18" y="475"/>
                    </a:cubicBezTo>
                    <a:cubicBezTo>
                      <a:pt x="16" y="475"/>
                      <a:pt x="13" y="474"/>
                      <a:pt x="11" y="474"/>
                    </a:cubicBezTo>
                    <a:cubicBezTo>
                      <a:pt x="10" y="474"/>
                      <a:pt x="9" y="474"/>
                      <a:pt x="9" y="474"/>
                    </a:cubicBezTo>
                    <a:cubicBezTo>
                      <a:pt x="5" y="475"/>
                      <a:pt x="9" y="478"/>
                      <a:pt x="11" y="479"/>
                    </a:cubicBezTo>
                    <a:cubicBezTo>
                      <a:pt x="10" y="480"/>
                      <a:pt x="8" y="481"/>
                      <a:pt x="7" y="483"/>
                    </a:cubicBezTo>
                    <a:cubicBezTo>
                      <a:pt x="6" y="482"/>
                      <a:pt x="5" y="481"/>
                      <a:pt x="5" y="479"/>
                    </a:cubicBezTo>
                    <a:cubicBezTo>
                      <a:pt x="6" y="483"/>
                      <a:pt x="6" y="484"/>
                      <a:pt x="8" y="484"/>
                    </a:cubicBezTo>
                    <a:cubicBezTo>
                      <a:pt x="9" y="484"/>
                      <a:pt x="11" y="484"/>
                      <a:pt x="12" y="484"/>
                    </a:cubicBezTo>
                    <a:cubicBezTo>
                      <a:pt x="14" y="484"/>
                      <a:pt x="15" y="483"/>
                      <a:pt x="17" y="483"/>
                    </a:cubicBezTo>
                    <a:cubicBezTo>
                      <a:pt x="11" y="484"/>
                      <a:pt x="13" y="488"/>
                      <a:pt x="16" y="490"/>
                    </a:cubicBezTo>
                    <a:cubicBezTo>
                      <a:pt x="14" y="491"/>
                      <a:pt x="7" y="496"/>
                      <a:pt x="13" y="496"/>
                    </a:cubicBezTo>
                    <a:cubicBezTo>
                      <a:pt x="13" y="496"/>
                      <a:pt x="13" y="496"/>
                      <a:pt x="13" y="496"/>
                    </a:cubicBezTo>
                    <a:cubicBezTo>
                      <a:pt x="15" y="496"/>
                      <a:pt x="17" y="494"/>
                      <a:pt x="19" y="493"/>
                    </a:cubicBezTo>
                    <a:cubicBezTo>
                      <a:pt x="21" y="491"/>
                      <a:pt x="23" y="489"/>
                      <a:pt x="25" y="489"/>
                    </a:cubicBezTo>
                    <a:cubicBezTo>
                      <a:pt x="26" y="489"/>
                      <a:pt x="26" y="489"/>
                      <a:pt x="27" y="490"/>
                    </a:cubicBezTo>
                    <a:cubicBezTo>
                      <a:pt x="26" y="493"/>
                      <a:pt x="24" y="496"/>
                      <a:pt x="23" y="500"/>
                    </a:cubicBezTo>
                    <a:cubicBezTo>
                      <a:pt x="22" y="501"/>
                      <a:pt x="22" y="501"/>
                      <a:pt x="21" y="501"/>
                    </a:cubicBezTo>
                    <a:cubicBezTo>
                      <a:pt x="20" y="501"/>
                      <a:pt x="19" y="501"/>
                      <a:pt x="17" y="501"/>
                    </a:cubicBezTo>
                    <a:cubicBezTo>
                      <a:pt x="16" y="501"/>
                      <a:pt x="14" y="498"/>
                      <a:pt x="13" y="498"/>
                    </a:cubicBezTo>
                    <a:cubicBezTo>
                      <a:pt x="13" y="498"/>
                      <a:pt x="12" y="498"/>
                      <a:pt x="12" y="498"/>
                    </a:cubicBezTo>
                    <a:cubicBezTo>
                      <a:pt x="9" y="504"/>
                      <a:pt x="9" y="504"/>
                      <a:pt x="13" y="510"/>
                    </a:cubicBezTo>
                    <a:cubicBezTo>
                      <a:pt x="14" y="511"/>
                      <a:pt x="15" y="513"/>
                      <a:pt x="17" y="513"/>
                    </a:cubicBezTo>
                    <a:cubicBezTo>
                      <a:pt x="17" y="513"/>
                      <a:pt x="17" y="513"/>
                      <a:pt x="17" y="513"/>
                    </a:cubicBezTo>
                    <a:cubicBezTo>
                      <a:pt x="19" y="513"/>
                      <a:pt x="21" y="508"/>
                      <a:pt x="23" y="506"/>
                    </a:cubicBezTo>
                    <a:cubicBezTo>
                      <a:pt x="23" y="507"/>
                      <a:pt x="20" y="513"/>
                      <a:pt x="21" y="513"/>
                    </a:cubicBezTo>
                    <a:cubicBezTo>
                      <a:pt x="21" y="513"/>
                      <a:pt x="21" y="513"/>
                      <a:pt x="21" y="513"/>
                    </a:cubicBezTo>
                    <a:cubicBezTo>
                      <a:pt x="23" y="513"/>
                      <a:pt x="25" y="512"/>
                      <a:pt x="27" y="511"/>
                    </a:cubicBezTo>
                    <a:cubicBezTo>
                      <a:pt x="27" y="512"/>
                      <a:pt x="24" y="521"/>
                      <a:pt x="27" y="521"/>
                    </a:cubicBezTo>
                    <a:cubicBezTo>
                      <a:pt x="27" y="521"/>
                      <a:pt x="27" y="521"/>
                      <a:pt x="28" y="521"/>
                    </a:cubicBezTo>
                    <a:cubicBezTo>
                      <a:pt x="29" y="521"/>
                      <a:pt x="29" y="516"/>
                      <a:pt x="30" y="515"/>
                    </a:cubicBezTo>
                    <a:cubicBezTo>
                      <a:pt x="30" y="514"/>
                      <a:pt x="33" y="512"/>
                      <a:pt x="34" y="512"/>
                    </a:cubicBezTo>
                    <a:cubicBezTo>
                      <a:pt x="39" y="508"/>
                      <a:pt x="44" y="503"/>
                      <a:pt x="49" y="501"/>
                    </a:cubicBezTo>
                    <a:cubicBezTo>
                      <a:pt x="53" y="500"/>
                      <a:pt x="57" y="499"/>
                      <a:pt x="60" y="499"/>
                    </a:cubicBezTo>
                    <a:cubicBezTo>
                      <a:pt x="62" y="499"/>
                      <a:pt x="63" y="499"/>
                      <a:pt x="65" y="499"/>
                    </a:cubicBezTo>
                    <a:cubicBezTo>
                      <a:pt x="59" y="500"/>
                      <a:pt x="57" y="499"/>
                      <a:pt x="54" y="504"/>
                    </a:cubicBezTo>
                    <a:cubicBezTo>
                      <a:pt x="52" y="508"/>
                      <a:pt x="50" y="512"/>
                      <a:pt x="48" y="516"/>
                    </a:cubicBezTo>
                    <a:cubicBezTo>
                      <a:pt x="49" y="512"/>
                      <a:pt x="49" y="507"/>
                      <a:pt x="51" y="504"/>
                    </a:cubicBezTo>
                    <a:cubicBezTo>
                      <a:pt x="51" y="504"/>
                      <a:pt x="51" y="504"/>
                      <a:pt x="50" y="504"/>
                    </a:cubicBezTo>
                    <a:cubicBezTo>
                      <a:pt x="45" y="504"/>
                      <a:pt x="42" y="507"/>
                      <a:pt x="38" y="510"/>
                    </a:cubicBezTo>
                    <a:cubicBezTo>
                      <a:pt x="36" y="511"/>
                      <a:pt x="34" y="514"/>
                      <a:pt x="38" y="515"/>
                    </a:cubicBezTo>
                    <a:cubicBezTo>
                      <a:pt x="38" y="515"/>
                      <a:pt x="38" y="515"/>
                      <a:pt x="39" y="515"/>
                    </a:cubicBezTo>
                    <a:cubicBezTo>
                      <a:pt x="39" y="515"/>
                      <a:pt x="39" y="515"/>
                      <a:pt x="40" y="514"/>
                    </a:cubicBezTo>
                    <a:cubicBezTo>
                      <a:pt x="40" y="514"/>
                      <a:pt x="41" y="514"/>
                      <a:pt x="41" y="514"/>
                    </a:cubicBezTo>
                    <a:cubicBezTo>
                      <a:pt x="41" y="514"/>
                      <a:pt x="41" y="515"/>
                      <a:pt x="40" y="516"/>
                    </a:cubicBezTo>
                    <a:cubicBezTo>
                      <a:pt x="38" y="518"/>
                      <a:pt x="35" y="519"/>
                      <a:pt x="32" y="520"/>
                    </a:cubicBezTo>
                    <a:cubicBezTo>
                      <a:pt x="31" y="521"/>
                      <a:pt x="32" y="522"/>
                      <a:pt x="32" y="523"/>
                    </a:cubicBezTo>
                    <a:cubicBezTo>
                      <a:pt x="30" y="523"/>
                      <a:pt x="29" y="524"/>
                      <a:pt x="28" y="525"/>
                    </a:cubicBezTo>
                    <a:cubicBezTo>
                      <a:pt x="26" y="526"/>
                      <a:pt x="25" y="526"/>
                      <a:pt x="24" y="528"/>
                    </a:cubicBezTo>
                    <a:cubicBezTo>
                      <a:pt x="25" y="528"/>
                      <a:pt x="26" y="529"/>
                      <a:pt x="27" y="529"/>
                    </a:cubicBezTo>
                    <a:cubicBezTo>
                      <a:pt x="29" y="530"/>
                      <a:pt x="32" y="530"/>
                      <a:pt x="35" y="530"/>
                    </a:cubicBezTo>
                    <a:cubicBezTo>
                      <a:pt x="33" y="532"/>
                      <a:pt x="28" y="533"/>
                      <a:pt x="28" y="536"/>
                    </a:cubicBezTo>
                    <a:cubicBezTo>
                      <a:pt x="28" y="537"/>
                      <a:pt x="27" y="538"/>
                      <a:pt x="26" y="538"/>
                    </a:cubicBezTo>
                    <a:cubicBezTo>
                      <a:pt x="26" y="538"/>
                      <a:pt x="25" y="538"/>
                      <a:pt x="25" y="538"/>
                    </a:cubicBezTo>
                    <a:cubicBezTo>
                      <a:pt x="26" y="537"/>
                      <a:pt x="24" y="535"/>
                      <a:pt x="22" y="535"/>
                    </a:cubicBezTo>
                    <a:cubicBezTo>
                      <a:pt x="22" y="535"/>
                      <a:pt x="22" y="535"/>
                      <a:pt x="21" y="535"/>
                    </a:cubicBezTo>
                    <a:cubicBezTo>
                      <a:pt x="21" y="536"/>
                      <a:pt x="19" y="540"/>
                      <a:pt x="18" y="541"/>
                    </a:cubicBezTo>
                    <a:cubicBezTo>
                      <a:pt x="18" y="541"/>
                      <a:pt x="17" y="542"/>
                      <a:pt x="16" y="542"/>
                    </a:cubicBezTo>
                    <a:cubicBezTo>
                      <a:pt x="15" y="542"/>
                      <a:pt x="15" y="541"/>
                      <a:pt x="14" y="541"/>
                    </a:cubicBezTo>
                    <a:cubicBezTo>
                      <a:pt x="19" y="539"/>
                      <a:pt x="19" y="538"/>
                      <a:pt x="19" y="532"/>
                    </a:cubicBezTo>
                    <a:cubicBezTo>
                      <a:pt x="17" y="533"/>
                      <a:pt x="17" y="534"/>
                      <a:pt x="16" y="535"/>
                    </a:cubicBezTo>
                    <a:cubicBezTo>
                      <a:pt x="13" y="537"/>
                      <a:pt x="13" y="537"/>
                      <a:pt x="13" y="537"/>
                    </a:cubicBezTo>
                    <a:cubicBezTo>
                      <a:pt x="12" y="539"/>
                      <a:pt x="13" y="542"/>
                      <a:pt x="11" y="544"/>
                    </a:cubicBezTo>
                    <a:cubicBezTo>
                      <a:pt x="15" y="545"/>
                      <a:pt x="16" y="547"/>
                      <a:pt x="19" y="550"/>
                    </a:cubicBezTo>
                    <a:cubicBezTo>
                      <a:pt x="19" y="550"/>
                      <a:pt x="19" y="550"/>
                      <a:pt x="20" y="550"/>
                    </a:cubicBezTo>
                    <a:cubicBezTo>
                      <a:pt x="20" y="550"/>
                      <a:pt x="20" y="550"/>
                      <a:pt x="21" y="549"/>
                    </a:cubicBezTo>
                    <a:cubicBezTo>
                      <a:pt x="22" y="548"/>
                      <a:pt x="21" y="543"/>
                      <a:pt x="21" y="542"/>
                    </a:cubicBezTo>
                    <a:cubicBezTo>
                      <a:pt x="22" y="545"/>
                      <a:pt x="22" y="548"/>
                      <a:pt x="23" y="551"/>
                    </a:cubicBezTo>
                    <a:cubicBezTo>
                      <a:pt x="23" y="550"/>
                      <a:pt x="25" y="550"/>
                      <a:pt x="25" y="548"/>
                    </a:cubicBezTo>
                    <a:cubicBezTo>
                      <a:pt x="27" y="544"/>
                      <a:pt x="24" y="544"/>
                      <a:pt x="29" y="543"/>
                    </a:cubicBezTo>
                    <a:cubicBezTo>
                      <a:pt x="31" y="542"/>
                      <a:pt x="32" y="542"/>
                      <a:pt x="34" y="542"/>
                    </a:cubicBezTo>
                    <a:cubicBezTo>
                      <a:pt x="35" y="542"/>
                      <a:pt x="37" y="542"/>
                      <a:pt x="38" y="543"/>
                    </a:cubicBezTo>
                    <a:cubicBezTo>
                      <a:pt x="35" y="543"/>
                      <a:pt x="34" y="544"/>
                      <a:pt x="32" y="547"/>
                    </a:cubicBezTo>
                    <a:cubicBezTo>
                      <a:pt x="35" y="546"/>
                      <a:pt x="37" y="545"/>
                      <a:pt x="38" y="543"/>
                    </a:cubicBezTo>
                    <a:cubicBezTo>
                      <a:pt x="39" y="541"/>
                      <a:pt x="40" y="539"/>
                      <a:pt x="42" y="538"/>
                    </a:cubicBezTo>
                    <a:cubicBezTo>
                      <a:pt x="42" y="538"/>
                      <a:pt x="42" y="538"/>
                      <a:pt x="43" y="538"/>
                    </a:cubicBezTo>
                    <a:cubicBezTo>
                      <a:pt x="44" y="538"/>
                      <a:pt x="47" y="539"/>
                      <a:pt x="49" y="540"/>
                    </a:cubicBezTo>
                    <a:cubicBezTo>
                      <a:pt x="49" y="540"/>
                      <a:pt x="48" y="540"/>
                      <a:pt x="48" y="540"/>
                    </a:cubicBezTo>
                    <a:cubicBezTo>
                      <a:pt x="43" y="540"/>
                      <a:pt x="37" y="545"/>
                      <a:pt x="33" y="548"/>
                    </a:cubicBezTo>
                    <a:cubicBezTo>
                      <a:pt x="38" y="548"/>
                      <a:pt x="43" y="548"/>
                      <a:pt x="47" y="550"/>
                    </a:cubicBezTo>
                    <a:cubicBezTo>
                      <a:pt x="47" y="550"/>
                      <a:pt x="47" y="550"/>
                      <a:pt x="47" y="550"/>
                    </a:cubicBezTo>
                    <a:cubicBezTo>
                      <a:pt x="43" y="550"/>
                      <a:pt x="31" y="556"/>
                      <a:pt x="30" y="559"/>
                    </a:cubicBezTo>
                    <a:cubicBezTo>
                      <a:pt x="30" y="562"/>
                      <a:pt x="32" y="562"/>
                      <a:pt x="36" y="562"/>
                    </a:cubicBezTo>
                    <a:cubicBezTo>
                      <a:pt x="41" y="562"/>
                      <a:pt x="49" y="561"/>
                      <a:pt x="51" y="561"/>
                    </a:cubicBezTo>
                    <a:cubicBezTo>
                      <a:pt x="49" y="561"/>
                      <a:pt x="46" y="562"/>
                      <a:pt x="44" y="562"/>
                    </a:cubicBezTo>
                    <a:cubicBezTo>
                      <a:pt x="39" y="563"/>
                      <a:pt x="39" y="564"/>
                      <a:pt x="38" y="570"/>
                    </a:cubicBezTo>
                    <a:cubicBezTo>
                      <a:pt x="34" y="568"/>
                      <a:pt x="32" y="567"/>
                      <a:pt x="28" y="566"/>
                    </a:cubicBezTo>
                    <a:cubicBezTo>
                      <a:pt x="26" y="566"/>
                      <a:pt x="25" y="566"/>
                      <a:pt x="24" y="564"/>
                    </a:cubicBezTo>
                    <a:cubicBezTo>
                      <a:pt x="23" y="563"/>
                      <a:pt x="23" y="562"/>
                      <a:pt x="21" y="562"/>
                    </a:cubicBezTo>
                    <a:cubicBezTo>
                      <a:pt x="21" y="562"/>
                      <a:pt x="21" y="563"/>
                      <a:pt x="20" y="563"/>
                    </a:cubicBezTo>
                    <a:cubicBezTo>
                      <a:pt x="22" y="565"/>
                      <a:pt x="23" y="565"/>
                      <a:pt x="22" y="567"/>
                    </a:cubicBezTo>
                    <a:cubicBezTo>
                      <a:pt x="22" y="567"/>
                      <a:pt x="20" y="568"/>
                      <a:pt x="20" y="569"/>
                    </a:cubicBezTo>
                    <a:cubicBezTo>
                      <a:pt x="19" y="570"/>
                      <a:pt x="19" y="572"/>
                      <a:pt x="19" y="574"/>
                    </a:cubicBezTo>
                    <a:cubicBezTo>
                      <a:pt x="18" y="576"/>
                      <a:pt x="26" y="584"/>
                      <a:pt x="28" y="585"/>
                    </a:cubicBezTo>
                    <a:cubicBezTo>
                      <a:pt x="33" y="588"/>
                      <a:pt x="39" y="592"/>
                      <a:pt x="44" y="593"/>
                    </a:cubicBezTo>
                    <a:cubicBezTo>
                      <a:pt x="46" y="593"/>
                      <a:pt x="49" y="594"/>
                      <a:pt x="51" y="594"/>
                    </a:cubicBezTo>
                    <a:cubicBezTo>
                      <a:pt x="52" y="594"/>
                      <a:pt x="52" y="594"/>
                      <a:pt x="53" y="594"/>
                    </a:cubicBezTo>
                    <a:cubicBezTo>
                      <a:pt x="55" y="594"/>
                      <a:pt x="57" y="593"/>
                      <a:pt x="58" y="593"/>
                    </a:cubicBezTo>
                    <a:cubicBezTo>
                      <a:pt x="58" y="593"/>
                      <a:pt x="58" y="593"/>
                      <a:pt x="58" y="593"/>
                    </a:cubicBezTo>
                    <a:cubicBezTo>
                      <a:pt x="55" y="595"/>
                      <a:pt x="51" y="596"/>
                      <a:pt x="49" y="600"/>
                    </a:cubicBezTo>
                    <a:cubicBezTo>
                      <a:pt x="51" y="602"/>
                      <a:pt x="56" y="602"/>
                      <a:pt x="59" y="602"/>
                    </a:cubicBezTo>
                    <a:cubicBezTo>
                      <a:pt x="59" y="602"/>
                      <a:pt x="59" y="602"/>
                      <a:pt x="60" y="602"/>
                    </a:cubicBezTo>
                    <a:cubicBezTo>
                      <a:pt x="63" y="602"/>
                      <a:pt x="63" y="600"/>
                      <a:pt x="66" y="599"/>
                    </a:cubicBezTo>
                    <a:cubicBezTo>
                      <a:pt x="65" y="601"/>
                      <a:pt x="63" y="603"/>
                      <a:pt x="62" y="605"/>
                    </a:cubicBezTo>
                    <a:cubicBezTo>
                      <a:pt x="63" y="604"/>
                      <a:pt x="64" y="603"/>
                      <a:pt x="65" y="603"/>
                    </a:cubicBezTo>
                    <a:cubicBezTo>
                      <a:pt x="66" y="603"/>
                      <a:pt x="67" y="602"/>
                      <a:pt x="68" y="602"/>
                    </a:cubicBezTo>
                    <a:cubicBezTo>
                      <a:pt x="70" y="602"/>
                      <a:pt x="72" y="603"/>
                      <a:pt x="74" y="603"/>
                    </a:cubicBezTo>
                    <a:cubicBezTo>
                      <a:pt x="74" y="603"/>
                      <a:pt x="74" y="603"/>
                      <a:pt x="74" y="603"/>
                    </a:cubicBezTo>
                    <a:cubicBezTo>
                      <a:pt x="76" y="603"/>
                      <a:pt x="80" y="600"/>
                      <a:pt x="82" y="600"/>
                    </a:cubicBezTo>
                    <a:cubicBezTo>
                      <a:pt x="90" y="599"/>
                      <a:pt x="97" y="596"/>
                      <a:pt x="104" y="593"/>
                    </a:cubicBezTo>
                    <a:cubicBezTo>
                      <a:pt x="107" y="592"/>
                      <a:pt x="109" y="588"/>
                      <a:pt x="111" y="586"/>
                    </a:cubicBezTo>
                    <a:cubicBezTo>
                      <a:pt x="113" y="584"/>
                      <a:pt x="118" y="582"/>
                      <a:pt x="116" y="579"/>
                    </a:cubicBezTo>
                    <a:cubicBezTo>
                      <a:pt x="118" y="578"/>
                      <a:pt x="124" y="577"/>
                      <a:pt x="125" y="575"/>
                    </a:cubicBezTo>
                    <a:cubicBezTo>
                      <a:pt x="123" y="575"/>
                      <a:pt x="122" y="574"/>
                      <a:pt x="120" y="573"/>
                    </a:cubicBezTo>
                    <a:cubicBezTo>
                      <a:pt x="123" y="573"/>
                      <a:pt x="126" y="573"/>
                      <a:pt x="129" y="572"/>
                    </a:cubicBezTo>
                    <a:cubicBezTo>
                      <a:pt x="128" y="571"/>
                      <a:pt x="127" y="569"/>
                      <a:pt x="127" y="568"/>
                    </a:cubicBezTo>
                    <a:cubicBezTo>
                      <a:pt x="127" y="568"/>
                      <a:pt x="127" y="568"/>
                      <a:pt x="127" y="568"/>
                    </a:cubicBezTo>
                    <a:cubicBezTo>
                      <a:pt x="130" y="568"/>
                      <a:pt x="136" y="564"/>
                      <a:pt x="138" y="563"/>
                    </a:cubicBezTo>
                    <a:cubicBezTo>
                      <a:pt x="136" y="562"/>
                      <a:pt x="135" y="560"/>
                      <a:pt x="133" y="558"/>
                    </a:cubicBezTo>
                    <a:cubicBezTo>
                      <a:pt x="138" y="558"/>
                      <a:pt x="140" y="561"/>
                      <a:pt x="145" y="561"/>
                    </a:cubicBezTo>
                    <a:cubicBezTo>
                      <a:pt x="145" y="561"/>
                      <a:pt x="146" y="562"/>
                      <a:pt x="147" y="562"/>
                    </a:cubicBezTo>
                    <a:cubicBezTo>
                      <a:pt x="149" y="562"/>
                      <a:pt x="150" y="561"/>
                      <a:pt x="153" y="558"/>
                    </a:cubicBezTo>
                    <a:cubicBezTo>
                      <a:pt x="155" y="556"/>
                      <a:pt x="156" y="554"/>
                      <a:pt x="157" y="551"/>
                    </a:cubicBezTo>
                    <a:cubicBezTo>
                      <a:pt x="158" y="554"/>
                      <a:pt x="159" y="555"/>
                      <a:pt x="159" y="555"/>
                    </a:cubicBezTo>
                    <a:cubicBezTo>
                      <a:pt x="160" y="555"/>
                      <a:pt x="161" y="551"/>
                      <a:pt x="160" y="548"/>
                    </a:cubicBezTo>
                    <a:cubicBezTo>
                      <a:pt x="160" y="545"/>
                      <a:pt x="155" y="542"/>
                      <a:pt x="153" y="539"/>
                    </a:cubicBezTo>
                    <a:cubicBezTo>
                      <a:pt x="154" y="539"/>
                      <a:pt x="155" y="539"/>
                      <a:pt x="156" y="539"/>
                    </a:cubicBezTo>
                    <a:cubicBezTo>
                      <a:pt x="157" y="539"/>
                      <a:pt x="158" y="539"/>
                      <a:pt x="158" y="537"/>
                    </a:cubicBezTo>
                    <a:cubicBezTo>
                      <a:pt x="160" y="538"/>
                      <a:pt x="162" y="538"/>
                      <a:pt x="162" y="538"/>
                    </a:cubicBezTo>
                    <a:cubicBezTo>
                      <a:pt x="165" y="538"/>
                      <a:pt x="163" y="536"/>
                      <a:pt x="161" y="533"/>
                    </a:cubicBezTo>
                    <a:cubicBezTo>
                      <a:pt x="160" y="529"/>
                      <a:pt x="161" y="526"/>
                      <a:pt x="164" y="525"/>
                    </a:cubicBezTo>
                    <a:cubicBezTo>
                      <a:pt x="164" y="525"/>
                      <a:pt x="165" y="525"/>
                      <a:pt x="165" y="525"/>
                    </a:cubicBezTo>
                    <a:cubicBezTo>
                      <a:pt x="168" y="525"/>
                      <a:pt x="167" y="530"/>
                      <a:pt x="167" y="531"/>
                    </a:cubicBezTo>
                    <a:cubicBezTo>
                      <a:pt x="167" y="531"/>
                      <a:pt x="166" y="530"/>
                      <a:pt x="166" y="529"/>
                    </a:cubicBezTo>
                    <a:cubicBezTo>
                      <a:pt x="162" y="531"/>
                      <a:pt x="163" y="531"/>
                      <a:pt x="164" y="536"/>
                    </a:cubicBezTo>
                    <a:cubicBezTo>
                      <a:pt x="165" y="538"/>
                      <a:pt x="166" y="541"/>
                      <a:pt x="166" y="543"/>
                    </a:cubicBezTo>
                    <a:cubicBezTo>
                      <a:pt x="165" y="546"/>
                      <a:pt x="164" y="548"/>
                      <a:pt x="167" y="549"/>
                    </a:cubicBezTo>
                    <a:cubicBezTo>
                      <a:pt x="169" y="550"/>
                      <a:pt x="168" y="554"/>
                      <a:pt x="170" y="556"/>
                    </a:cubicBezTo>
                    <a:cubicBezTo>
                      <a:pt x="170" y="556"/>
                      <a:pt x="171" y="556"/>
                      <a:pt x="172" y="556"/>
                    </a:cubicBezTo>
                    <a:cubicBezTo>
                      <a:pt x="172" y="556"/>
                      <a:pt x="173" y="556"/>
                      <a:pt x="174" y="556"/>
                    </a:cubicBezTo>
                    <a:cubicBezTo>
                      <a:pt x="175" y="556"/>
                      <a:pt x="176" y="556"/>
                      <a:pt x="177" y="556"/>
                    </a:cubicBezTo>
                    <a:cubicBezTo>
                      <a:pt x="178" y="556"/>
                      <a:pt x="178" y="556"/>
                      <a:pt x="179" y="556"/>
                    </a:cubicBezTo>
                    <a:cubicBezTo>
                      <a:pt x="179" y="556"/>
                      <a:pt x="179" y="556"/>
                      <a:pt x="179" y="556"/>
                    </a:cubicBezTo>
                    <a:cubicBezTo>
                      <a:pt x="180" y="557"/>
                      <a:pt x="180" y="557"/>
                      <a:pt x="180" y="557"/>
                    </a:cubicBezTo>
                    <a:cubicBezTo>
                      <a:pt x="182" y="556"/>
                      <a:pt x="182" y="556"/>
                      <a:pt x="182" y="556"/>
                    </a:cubicBezTo>
                    <a:cubicBezTo>
                      <a:pt x="183" y="557"/>
                      <a:pt x="183" y="557"/>
                      <a:pt x="183" y="557"/>
                    </a:cubicBezTo>
                    <a:cubicBezTo>
                      <a:pt x="184" y="558"/>
                      <a:pt x="188" y="560"/>
                      <a:pt x="191" y="561"/>
                    </a:cubicBezTo>
                    <a:cubicBezTo>
                      <a:pt x="191" y="561"/>
                      <a:pt x="191" y="561"/>
                      <a:pt x="191" y="561"/>
                    </a:cubicBezTo>
                    <a:cubicBezTo>
                      <a:pt x="194" y="552"/>
                      <a:pt x="194" y="552"/>
                      <a:pt x="194" y="552"/>
                    </a:cubicBezTo>
                    <a:cubicBezTo>
                      <a:pt x="194" y="551"/>
                      <a:pt x="193" y="546"/>
                      <a:pt x="193" y="544"/>
                    </a:cubicBezTo>
                    <a:cubicBezTo>
                      <a:pt x="193" y="543"/>
                      <a:pt x="192" y="542"/>
                      <a:pt x="192" y="541"/>
                    </a:cubicBezTo>
                    <a:cubicBezTo>
                      <a:pt x="192" y="537"/>
                      <a:pt x="192" y="535"/>
                      <a:pt x="194" y="532"/>
                    </a:cubicBezTo>
                    <a:cubicBezTo>
                      <a:pt x="195" y="531"/>
                      <a:pt x="195" y="531"/>
                      <a:pt x="195" y="531"/>
                    </a:cubicBezTo>
                    <a:cubicBezTo>
                      <a:pt x="195" y="530"/>
                      <a:pt x="196" y="529"/>
                      <a:pt x="196" y="529"/>
                    </a:cubicBezTo>
                    <a:cubicBezTo>
                      <a:pt x="196" y="529"/>
                      <a:pt x="196" y="529"/>
                      <a:pt x="196" y="529"/>
                    </a:cubicBezTo>
                    <a:cubicBezTo>
                      <a:pt x="196" y="528"/>
                      <a:pt x="196" y="528"/>
                      <a:pt x="196" y="528"/>
                    </a:cubicBezTo>
                    <a:cubicBezTo>
                      <a:pt x="196" y="528"/>
                      <a:pt x="196" y="528"/>
                      <a:pt x="196" y="528"/>
                    </a:cubicBezTo>
                    <a:cubicBezTo>
                      <a:pt x="196" y="527"/>
                      <a:pt x="196" y="527"/>
                      <a:pt x="196" y="527"/>
                    </a:cubicBezTo>
                    <a:cubicBezTo>
                      <a:pt x="195" y="526"/>
                      <a:pt x="195" y="526"/>
                      <a:pt x="195" y="526"/>
                    </a:cubicBezTo>
                    <a:cubicBezTo>
                      <a:pt x="195" y="526"/>
                      <a:pt x="195" y="526"/>
                      <a:pt x="195" y="526"/>
                    </a:cubicBezTo>
                    <a:cubicBezTo>
                      <a:pt x="195" y="526"/>
                      <a:pt x="195" y="526"/>
                      <a:pt x="195" y="526"/>
                    </a:cubicBezTo>
                    <a:cubicBezTo>
                      <a:pt x="196" y="525"/>
                      <a:pt x="196" y="525"/>
                      <a:pt x="196" y="525"/>
                    </a:cubicBezTo>
                    <a:cubicBezTo>
                      <a:pt x="196" y="523"/>
                      <a:pt x="198" y="522"/>
                      <a:pt x="199" y="522"/>
                    </a:cubicBezTo>
                    <a:cubicBezTo>
                      <a:pt x="205" y="520"/>
                      <a:pt x="205" y="520"/>
                      <a:pt x="205" y="520"/>
                    </a:cubicBezTo>
                    <a:cubicBezTo>
                      <a:pt x="206" y="519"/>
                      <a:pt x="206" y="519"/>
                      <a:pt x="207" y="519"/>
                    </a:cubicBezTo>
                    <a:cubicBezTo>
                      <a:pt x="210" y="518"/>
                      <a:pt x="210" y="518"/>
                      <a:pt x="210" y="517"/>
                    </a:cubicBezTo>
                    <a:cubicBezTo>
                      <a:pt x="210" y="516"/>
                      <a:pt x="210" y="516"/>
                      <a:pt x="210" y="516"/>
                    </a:cubicBezTo>
                    <a:cubicBezTo>
                      <a:pt x="211" y="516"/>
                      <a:pt x="211" y="516"/>
                      <a:pt x="211" y="516"/>
                    </a:cubicBezTo>
                    <a:cubicBezTo>
                      <a:pt x="211" y="513"/>
                      <a:pt x="211" y="513"/>
                      <a:pt x="211" y="513"/>
                    </a:cubicBezTo>
                    <a:cubicBezTo>
                      <a:pt x="212" y="509"/>
                      <a:pt x="214" y="506"/>
                      <a:pt x="215" y="502"/>
                    </a:cubicBezTo>
                    <a:cubicBezTo>
                      <a:pt x="215" y="500"/>
                      <a:pt x="215" y="500"/>
                      <a:pt x="215" y="500"/>
                    </a:cubicBezTo>
                    <a:cubicBezTo>
                      <a:pt x="216" y="497"/>
                      <a:pt x="213" y="492"/>
                      <a:pt x="211" y="487"/>
                    </a:cubicBezTo>
                    <a:cubicBezTo>
                      <a:pt x="210" y="487"/>
                      <a:pt x="210" y="487"/>
                      <a:pt x="210" y="487"/>
                    </a:cubicBezTo>
                    <a:cubicBezTo>
                      <a:pt x="209" y="484"/>
                      <a:pt x="207" y="481"/>
                      <a:pt x="207" y="478"/>
                    </a:cubicBezTo>
                    <a:cubicBezTo>
                      <a:pt x="205" y="474"/>
                      <a:pt x="205" y="474"/>
                      <a:pt x="205" y="474"/>
                    </a:cubicBezTo>
                    <a:cubicBezTo>
                      <a:pt x="209" y="474"/>
                      <a:pt x="209" y="474"/>
                      <a:pt x="209" y="474"/>
                    </a:cubicBezTo>
                    <a:cubicBezTo>
                      <a:pt x="210" y="474"/>
                      <a:pt x="212" y="474"/>
                      <a:pt x="213" y="474"/>
                    </a:cubicBezTo>
                    <a:cubicBezTo>
                      <a:pt x="213" y="474"/>
                      <a:pt x="213" y="474"/>
                      <a:pt x="213" y="474"/>
                    </a:cubicBezTo>
                    <a:cubicBezTo>
                      <a:pt x="216" y="473"/>
                      <a:pt x="218" y="473"/>
                      <a:pt x="219" y="473"/>
                    </a:cubicBezTo>
                    <a:cubicBezTo>
                      <a:pt x="220" y="472"/>
                      <a:pt x="220" y="472"/>
                      <a:pt x="220" y="472"/>
                    </a:cubicBezTo>
                    <a:cubicBezTo>
                      <a:pt x="221" y="470"/>
                      <a:pt x="223" y="467"/>
                      <a:pt x="223" y="466"/>
                    </a:cubicBezTo>
                    <a:cubicBezTo>
                      <a:pt x="223" y="466"/>
                      <a:pt x="223" y="465"/>
                      <a:pt x="222" y="463"/>
                    </a:cubicBezTo>
                    <a:cubicBezTo>
                      <a:pt x="222" y="463"/>
                      <a:pt x="222" y="463"/>
                      <a:pt x="222" y="463"/>
                    </a:cubicBezTo>
                    <a:cubicBezTo>
                      <a:pt x="221" y="462"/>
                      <a:pt x="221" y="461"/>
                      <a:pt x="216" y="457"/>
                    </a:cubicBezTo>
                    <a:cubicBezTo>
                      <a:pt x="215" y="457"/>
                      <a:pt x="214" y="456"/>
                      <a:pt x="213" y="455"/>
                    </a:cubicBezTo>
                    <a:cubicBezTo>
                      <a:pt x="212" y="455"/>
                      <a:pt x="212" y="455"/>
                      <a:pt x="212" y="455"/>
                    </a:cubicBezTo>
                    <a:cubicBezTo>
                      <a:pt x="211" y="454"/>
                      <a:pt x="210" y="453"/>
                      <a:pt x="210" y="453"/>
                    </a:cubicBezTo>
                    <a:cubicBezTo>
                      <a:pt x="209" y="452"/>
                      <a:pt x="208" y="452"/>
                      <a:pt x="208" y="451"/>
                    </a:cubicBezTo>
                    <a:cubicBezTo>
                      <a:pt x="208" y="451"/>
                      <a:pt x="207" y="451"/>
                      <a:pt x="207" y="450"/>
                    </a:cubicBezTo>
                    <a:cubicBezTo>
                      <a:pt x="205" y="448"/>
                      <a:pt x="204" y="446"/>
                      <a:pt x="205" y="442"/>
                    </a:cubicBezTo>
                    <a:cubicBezTo>
                      <a:pt x="208" y="422"/>
                      <a:pt x="208" y="422"/>
                      <a:pt x="208" y="422"/>
                    </a:cubicBezTo>
                    <a:cubicBezTo>
                      <a:pt x="209" y="422"/>
                      <a:pt x="208" y="420"/>
                      <a:pt x="205" y="415"/>
                    </a:cubicBezTo>
                    <a:cubicBezTo>
                      <a:pt x="204" y="414"/>
                      <a:pt x="204" y="413"/>
                      <a:pt x="203" y="412"/>
                    </a:cubicBezTo>
                    <a:cubicBezTo>
                      <a:pt x="202" y="410"/>
                      <a:pt x="202" y="408"/>
                      <a:pt x="202" y="406"/>
                    </a:cubicBezTo>
                    <a:cubicBezTo>
                      <a:pt x="202" y="405"/>
                      <a:pt x="203" y="405"/>
                      <a:pt x="203" y="404"/>
                    </a:cubicBezTo>
                    <a:cubicBezTo>
                      <a:pt x="204" y="401"/>
                      <a:pt x="204" y="398"/>
                      <a:pt x="205" y="395"/>
                    </a:cubicBezTo>
                    <a:cubicBezTo>
                      <a:pt x="205" y="392"/>
                      <a:pt x="205" y="392"/>
                      <a:pt x="205" y="392"/>
                    </a:cubicBezTo>
                    <a:cubicBezTo>
                      <a:pt x="205" y="390"/>
                      <a:pt x="205" y="389"/>
                      <a:pt x="204" y="387"/>
                    </a:cubicBezTo>
                    <a:cubicBezTo>
                      <a:pt x="204" y="387"/>
                      <a:pt x="204" y="386"/>
                      <a:pt x="203" y="385"/>
                    </a:cubicBezTo>
                    <a:cubicBezTo>
                      <a:pt x="203" y="384"/>
                      <a:pt x="203" y="384"/>
                      <a:pt x="203" y="384"/>
                    </a:cubicBezTo>
                    <a:cubicBezTo>
                      <a:pt x="202" y="384"/>
                      <a:pt x="202" y="383"/>
                      <a:pt x="202" y="383"/>
                    </a:cubicBezTo>
                    <a:cubicBezTo>
                      <a:pt x="201" y="381"/>
                      <a:pt x="201" y="381"/>
                      <a:pt x="201" y="381"/>
                    </a:cubicBezTo>
                    <a:cubicBezTo>
                      <a:pt x="201" y="380"/>
                      <a:pt x="200" y="380"/>
                      <a:pt x="200" y="379"/>
                    </a:cubicBezTo>
                    <a:cubicBezTo>
                      <a:pt x="200" y="377"/>
                      <a:pt x="200" y="375"/>
                      <a:pt x="201" y="372"/>
                    </a:cubicBezTo>
                    <a:cubicBezTo>
                      <a:pt x="202" y="369"/>
                      <a:pt x="202" y="369"/>
                      <a:pt x="202" y="369"/>
                    </a:cubicBezTo>
                    <a:cubicBezTo>
                      <a:pt x="204" y="366"/>
                      <a:pt x="205" y="363"/>
                      <a:pt x="207" y="360"/>
                    </a:cubicBezTo>
                    <a:cubicBezTo>
                      <a:pt x="215" y="351"/>
                      <a:pt x="215" y="351"/>
                      <a:pt x="215" y="351"/>
                    </a:cubicBezTo>
                    <a:cubicBezTo>
                      <a:pt x="218" y="347"/>
                      <a:pt x="221" y="344"/>
                      <a:pt x="225" y="342"/>
                    </a:cubicBezTo>
                    <a:cubicBezTo>
                      <a:pt x="226" y="342"/>
                      <a:pt x="226" y="342"/>
                      <a:pt x="226" y="342"/>
                    </a:cubicBezTo>
                    <a:cubicBezTo>
                      <a:pt x="227" y="342"/>
                      <a:pt x="227" y="341"/>
                      <a:pt x="228" y="341"/>
                    </a:cubicBezTo>
                    <a:cubicBezTo>
                      <a:pt x="228" y="341"/>
                      <a:pt x="229" y="341"/>
                      <a:pt x="229" y="340"/>
                    </a:cubicBezTo>
                    <a:cubicBezTo>
                      <a:pt x="230" y="340"/>
                      <a:pt x="230" y="340"/>
                      <a:pt x="230" y="340"/>
                    </a:cubicBezTo>
                    <a:cubicBezTo>
                      <a:pt x="232" y="339"/>
                      <a:pt x="234" y="338"/>
                      <a:pt x="237" y="338"/>
                    </a:cubicBezTo>
                    <a:cubicBezTo>
                      <a:pt x="238" y="338"/>
                      <a:pt x="238" y="338"/>
                      <a:pt x="239" y="338"/>
                    </a:cubicBezTo>
                    <a:cubicBezTo>
                      <a:pt x="255" y="340"/>
                      <a:pt x="255" y="340"/>
                      <a:pt x="255" y="340"/>
                    </a:cubicBezTo>
                    <a:cubicBezTo>
                      <a:pt x="255" y="340"/>
                      <a:pt x="255" y="340"/>
                      <a:pt x="256" y="340"/>
                    </a:cubicBezTo>
                    <a:cubicBezTo>
                      <a:pt x="257" y="340"/>
                      <a:pt x="258" y="340"/>
                      <a:pt x="259" y="336"/>
                    </a:cubicBezTo>
                    <a:cubicBezTo>
                      <a:pt x="260" y="334"/>
                      <a:pt x="260" y="332"/>
                      <a:pt x="260" y="330"/>
                    </a:cubicBezTo>
                    <a:cubicBezTo>
                      <a:pt x="259" y="329"/>
                      <a:pt x="259" y="329"/>
                      <a:pt x="259" y="329"/>
                    </a:cubicBezTo>
                    <a:cubicBezTo>
                      <a:pt x="259" y="328"/>
                      <a:pt x="259" y="328"/>
                      <a:pt x="259" y="328"/>
                    </a:cubicBezTo>
                    <a:cubicBezTo>
                      <a:pt x="259" y="327"/>
                      <a:pt x="259" y="327"/>
                      <a:pt x="257" y="326"/>
                    </a:cubicBezTo>
                    <a:cubicBezTo>
                      <a:pt x="257" y="325"/>
                      <a:pt x="255" y="325"/>
                      <a:pt x="255" y="323"/>
                    </a:cubicBezTo>
                    <a:cubicBezTo>
                      <a:pt x="254" y="323"/>
                      <a:pt x="254" y="323"/>
                      <a:pt x="254" y="323"/>
                    </a:cubicBezTo>
                    <a:cubicBezTo>
                      <a:pt x="253" y="319"/>
                      <a:pt x="253" y="315"/>
                      <a:pt x="252" y="311"/>
                    </a:cubicBezTo>
                    <a:cubicBezTo>
                      <a:pt x="252" y="310"/>
                      <a:pt x="252" y="310"/>
                      <a:pt x="252" y="310"/>
                    </a:cubicBezTo>
                    <a:cubicBezTo>
                      <a:pt x="253" y="308"/>
                      <a:pt x="253" y="308"/>
                      <a:pt x="253" y="308"/>
                    </a:cubicBezTo>
                    <a:cubicBezTo>
                      <a:pt x="254" y="307"/>
                      <a:pt x="255" y="305"/>
                      <a:pt x="257" y="304"/>
                    </a:cubicBezTo>
                    <a:cubicBezTo>
                      <a:pt x="257" y="303"/>
                      <a:pt x="257" y="303"/>
                      <a:pt x="257" y="303"/>
                    </a:cubicBezTo>
                    <a:cubicBezTo>
                      <a:pt x="259" y="301"/>
                      <a:pt x="261" y="298"/>
                      <a:pt x="263" y="296"/>
                    </a:cubicBezTo>
                    <a:cubicBezTo>
                      <a:pt x="264" y="294"/>
                      <a:pt x="266" y="293"/>
                      <a:pt x="267" y="291"/>
                    </a:cubicBezTo>
                    <a:cubicBezTo>
                      <a:pt x="267" y="290"/>
                      <a:pt x="268" y="289"/>
                      <a:pt x="268" y="289"/>
                    </a:cubicBezTo>
                    <a:cubicBezTo>
                      <a:pt x="269" y="287"/>
                      <a:pt x="271" y="284"/>
                      <a:pt x="271" y="282"/>
                    </a:cubicBezTo>
                    <a:cubicBezTo>
                      <a:pt x="271" y="280"/>
                      <a:pt x="271" y="280"/>
                      <a:pt x="271" y="280"/>
                    </a:cubicBezTo>
                    <a:cubicBezTo>
                      <a:pt x="272" y="276"/>
                      <a:pt x="272" y="273"/>
                      <a:pt x="273" y="269"/>
                    </a:cubicBezTo>
                    <a:cubicBezTo>
                      <a:pt x="273" y="267"/>
                      <a:pt x="273" y="266"/>
                      <a:pt x="273" y="264"/>
                    </a:cubicBezTo>
                    <a:cubicBezTo>
                      <a:pt x="274" y="262"/>
                      <a:pt x="274" y="260"/>
                      <a:pt x="274" y="258"/>
                    </a:cubicBezTo>
                    <a:cubicBezTo>
                      <a:pt x="274" y="258"/>
                      <a:pt x="274" y="258"/>
                      <a:pt x="274" y="258"/>
                    </a:cubicBezTo>
                    <a:cubicBezTo>
                      <a:pt x="273" y="256"/>
                      <a:pt x="273" y="256"/>
                      <a:pt x="273" y="256"/>
                    </a:cubicBezTo>
                    <a:cubicBezTo>
                      <a:pt x="273" y="255"/>
                      <a:pt x="273" y="254"/>
                      <a:pt x="273" y="253"/>
                    </a:cubicBezTo>
                    <a:cubicBezTo>
                      <a:pt x="272" y="250"/>
                      <a:pt x="271" y="246"/>
                      <a:pt x="277" y="243"/>
                    </a:cubicBezTo>
                    <a:cubicBezTo>
                      <a:pt x="277" y="243"/>
                      <a:pt x="278" y="243"/>
                      <a:pt x="279" y="242"/>
                    </a:cubicBezTo>
                    <a:cubicBezTo>
                      <a:pt x="281" y="242"/>
                      <a:pt x="281" y="242"/>
                      <a:pt x="281" y="242"/>
                    </a:cubicBezTo>
                    <a:cubicBezTo>
                      <a:pt x="285" y="240"/>
                      <a:pt x="291" y="238"/>
                      <a:pt x="295" y="236"/>
                    </a:cubicBezTo>
                    <a:cubicBezTo>
                      <a:pt x="297" y="235"/>
                      <a:pt x="298" y="235"/>
                      <a:pt x="299" y="235"/>
                    </a:cubicBezTo>
                    <a:cubicBezTo>
                      <a:pt x="298" y="234"/>
                      <a:pt x="298" y="234"/>
                      <a:pt x="298" y="234"/>
                    </a:cubicBezTo>
                    <a:cubicBezTo>
                      <a:pt x="298" y="233"/>
                      <a:pt x="296" y="230"/>
                      <a:pt x="298" y="227"/>
                    </a:cubicBezTo>
                    <a:cubicBezTo>
                      <a:pt x="299" y="226"/>
                      <a:pt x="300" y="225"/>
                      <a:pt x="302" y="224"/>
                    </a:cubicBezTo>
                    <a:cubicBezTo>
                      <a:pt x="303" y="223"/>
                      <a:pt x="305" y="221"/>
                      <a:pt x="307" y="219"/>
                    </a:cubicBezTo>
                    <a:cubicBezTo>
                      <a:pt x="308" y="218"/>
                      <a:pt x="308" y="218"/>
                      <a:pt x="308" y="218"/>
                    </a:cubicBezTo>
                    <a:cubicBezTo>
                      <a:pt x="309" y="216"/>
                      <a:pt x="311" y="215"/>
                      <a:pt x="312" y="214"/>
                    </a:cubicBezTo>
                    <a:cubicBezTo>
                      <a:pt x="317" y="209"/>
                      <a:pt x="322" y="205"/>
                      <a:pt x="324" y="199"/>
                    </a:cubicBezTo>
                    <a:cubicBezTo>
                      <a:pt x="325" y="197"/>
                      <a:pt x="325" y="197"/>
                      <a:pt x="325" y="197"/>
                    </a:cubicBezTo>
                    <a:cubicBezTo>
                      <a:pt x="325" y="196"/>
                      <a:pt x="323" y="193"/>
                      <a:pt x="322" y="191"/>
                    </a:cubicBezTo>
                    <a:cubicBezTo>
                      <a:pt x="320" y="188"/>
                      <a:pt x="317" y="185"/>
                      <a:pt x="319" y="182"/>
                    </a:cubicBezTo>
                    <a:cubicBezTo>
                      <a:pt x="320" y="178"/>
                      <a:pt x="324" y="177"/>
                      <a:pt x="327" y="176"/>
                    </a:cubicBezTo>
                    <a:cubicBezTo>
                      <a:pt x="328" y="176"/>
                      <a:pt x="330" y="174"/>
                      <a:pt x="331" y="171"/>
                    </a:cubicBezTo>
                    <a:cubicBezTo>
                      <a:pt x="332" y="169"/>
                      <a:pt x="333" y="167"/>
                      <a:pt x="333" y="166"/>
                    </a:cubicBezTo>
                    <a:cubicBezTo>
                      <a:pt x="336" y="159"/>
                      <a:pt x="338" y="158"/>
                      <a:pt x="344" y="154"/>
                    </a:cubicBezTo>
                    <a:cubicBezTo>
                      <a:pt x="344" y="154"/>
                      <a:pt x="345" y="154"/>
                      <a:pt x="345" y="154"/>
                    </a:cubicBezTo>
                    <a:cubicBezTo>
                      <a:pt x="346" y="153"/>
                      <a:pt x="346" y="153"/>
                      <a:pt x="346" y="153"/>
                    </a:cubicBezTo>
                    <a:cubicBezTo>
                      <a:pt x="347" y="153"/>
                      <a:pt x="349" y="151"/>
                      <a:pt x="350" y="150"/>
                    </a:cubicBezTo>
                    <a:cubicBezTo>
                      <a:pt x="352" y="149"/>
                      <a:pt x="354" y="149"/>
                      <a:pt x="355" y="149"/>
                    </a:cubicBezTo>
                    <a:cubicBezTo>
                      <a:pt x="356" y="149"/>
                      <a:pt x="357" y="149"/>
                      <a:pt x="357" y="149"/>
                    </a:cubicBezTo>
                    <a:cubicBezTo>
                      <a:pt x="361" y="150"/>
                      <a:pt x="361" y="150"/>
                      <a:pt x="361" y="150"/>
                    </a:cubicBezTo>
                    <a:cubicBezTo>
                      <a:pt x="362" y="151"/>
                      <a:pt x="364" y="152"/>
                      <a:pt x="365" y="152"/>
                    </a:cubicBezTo>
                    <a:cubicBezTo>
                      <a:pt x="369" y="153"/>
                      <a:pt x="369" y="153"/>
                      <a:pt x="369" y="153"/>
                    </a:cubicBezTo>
                    <a:cubicBezTo>
                      <a:pt x="369" y="154"/>
                      <a:pt x="369" y="154"/>
                      <a:pt x="369" y="154"/>
                    </a:cubicBezTo>
                    <a:cubicBezTo>
                      <a:pt x="370" y="154"/>
                      <a:pt x="370" y="154"/>
                      <a:pt x="370" y="153"/>
                    </a:cubicBezTo>
                    <a:cubicBezTo>
                      <a:pt x="371" y="153"/>
                      <a:pt x="371" y="153"/>
                      <a:pt x="371" y="153"/>
                    </a:cubicBezTo>
                    <a:cubicBezTo>
                      <a:pt x="371" y="153"/>
                      <a:pt x="371" y="153"/>
                      <a:pt x="371" y="153"/>
                    </a:cubicBezTo>
                    <a:cubicBezTo>
                      <a:pt x="372" y="151"/>
                      <a:pt x="374" y="147"/>
                      <a:pt x="374" y="146"/>
                    </a:cubicBezTo>
                    <a:cubicBezTo>
                      <a:pt x="374" y="142"/>
                      <a:pt x="374" y="142"/>
                      <a:pt x="374" y="142"/>
                    </a:cubicBezTo>
                    <a:cubicBezTo>
                      <a:pt x="374" y="140"/>
                      <a:pt x="374" y="138"/>
                      <a:pt x="374" y="136"/>
                    </a:cubicBezTo>
                    <a:cubicBezTo>
                      <a:pt x="374" y="134"/>
                      <a:pt x="374" y="132"/>
                      <a:pt x="374" y="130"/>
                    </a:cubicBezTo>
                    <a:cubicBezTo>
                      <a:pt x="375" y="126"/>
                      <a:pt x="375" y="126"/>
                      <a:pt x="375" y="126"/>
                    </a:cubicBezTo>
                    <a:cubicBezTo>
                      <a:pt x="428" y="136"/>
                      <a:pt x="428" y="136"/>
                      <a:pt x="428" y="136"/>
                    </a:cubicBezTo>
                    <a:cubicBezTo>
                      <a:pt x="428" y="136"/>
                      <a:pt x="428" y="136"/>
                      <a:pt x="428" y="136"/>
                    </a:cubicBezTo>
                    <a:cubicBezTo>
                      <a:pt x="428" y="134"/>
                      <a:pt x="428" y="134"/>
                      <a:pt x="428" y="134"/>
                    </a:cubicBezTo>
                    <a:cubicBezTo>
                      <a:pt x="428" y="133"/>
                      <a:pt x="428" y="133"/>
                      <a:pt x="428" y="133"/>
                    </a:cubicBezTo>
                    <a:cubicBezTo>
                      <a:pt x="428" y="130"/>
                      <a:pt x="428" y="128"/>
                      <a:pt x="429" y="127"/>
                    </a:cubicBezTo>
                    <a:cubicBezTo>
                      <a:pt x="429" y="126"/>
                      <a:pt x="429" y="125"/>
                      <a:pt x="430" y="125"/>
                    </a:cubicBezTo>
                    <a:cubicBezTo>
                      <a:pt x="430" y="124"/>
                      <a:pt x="431" y="123"/>
                      <a:pt x="431" y="122"/>
                    </a:cubicBezTo>
                    <a:cubicBezTo>
                      <a:pt x="432" y="121"/>
                      <a:pt x="434" y="118"/>
                      <a:pt x="435" y="117"/>
                    </a:cubicBezTo>
                    <a:cubicBezTo>
                      <a:pt x="434" y="116"/>
                      <a:pt x="434" y="116"/>
                      <a:pt x="434" y="116"/>
                    </a:cubicBezTo>
                    <a:cubicBezTo>
                      <a:pt x="435" y="115"/>
                      <a:pt x="435" y="115"/>
                      <a:pt x="435" y="115"/>
                    </a:cubicBezTo>
                    <a:cubicBezTo>
                      <a:pt x="435" y="114"/>
                      <a:pt x="433" y="112"/>
                      <a:pt x="433" y="110"/>
                    </a:cubicBezTo>
                    <a:cubicBezTo>
                      <a:pt x="429" y="103"/>
                      <a:pt x="429" y="103"/>
                      <a:pt x="429" y="103"/>
                    </a:cubicBezTo>
                    <a:cubicBezTo>
                      <a:pt x="448" y="102"/>
                      <a:pt x="448" y="102"/>
                      <a:pt x="448" y="102"/>
                    </a:cubicBezTo>
                    <a:cubicBezTo>
                      <a:pt x="457" y="101"/>
                      <a:pt x="457" y="101"/>
                      <a:pt x="457" y="101"/>
                    </a:cubicBezTo>
                    <a:cubicBezTo>
                      <a:pt x="457" y="100"/>
                      <a:pt x="457" y="100"/>
                      <a:pt x="457" y="99"/>
                    </a:cubicBezTo>
                    <a:cubicBezTo>
                      <a:pt x="457" y="98"/>
                      <a:pt x="457" y="96"/>
                      <a:pt x="459" y="94"/>
                    </a:cubicBezTo>
                    <a:cubicBezTo>
                      <a:pt x="460" y="92"/>
                      <a:pt x="461" y="92"/>
                      <a:pt x="463" y="91"/>
                    </a:cubicBezTo>
                    <a:cubicBezTo>
                      <a:pt x="465" y="90"/>
                      <a:pt x="466" y="90"/>
                      <a:pt x="468" y="90"/>
                    </a:cubicBezTo>
                    <a:cubicBezTo>
                      <a:pt x="469" y="90"/>
                      <a:pt x="470" y="90"/>
                      <a:pt x="471" y="91"/>
                    </a:cubicBezTo>
                    <a:cubicBezTo>
                      <a:pt x="472" y="91"/>
                      <a:pt x="473" y="92"/>
                      <a:pt x="475" y="93"/>
                    </a:cubicBezTo>
                    <a:cubicBezTo>
                      <a:pt x="488" y="102"/>
                      <a:pt x="488" y="102"/>
                      <a:pt x="488" y="102"/>
                    </a:cubicBezTo>
                    <a:cubicBezTo>
                      <a:pt x="491" y="105"/>
                      <a:pt x="499" y="112"/>
                      <a:pt x="501" y="117"/>
                    </a:cubicBezTo>
                    <a:cubicBezTo>
                      <a:pt x="501" y="118"/>
                      <a:pt x="501" y="118"/>
                      <a:pt x="501" y="118"/>
                    </a:cubicBezTo>
                    <a:cubicBezTo>
                      <a:pt x="501" y="118"/>
                      <a:pt x="501" y="118"/>
                      <a:pt x="501" y="118"/>
                    </a:cubicBezTo>
                    <a:cubicBezTo>
                      <a:pt x="504" y="118"/>
                      <a:pt x="504" y="118"/>
                      <a:pt x="504" y="118"/>
                    </a:cubicBezTo>
                    <a:cubicBezTo>
                      <a:pt x="534" y="117"/>
                      <a:pt x="534" y="117"/>
                      <a:pt x="534" y="117"/>
                    </a:cubicBezTo>
                    <a:cubicBezTo>
                      <a:pt x="534" y="116"/>
                      <a:pt x="535" y="116"/>
                      <a:pt x="535" y="115"/>
                    </a:cubicBezTo>
                    <a:cubicBezTo>
                      <a:pt x="537" y="114"/>
                      <a:pt x="539" y="113"/>
                      <a:pt x="541" y="113"/>
                    </a:cubicBezTo>
                    <a:cubicBezTo>
                      <a:pt x="545" y="113"/>
                      <a:pt x="550" y="116"/>
                      <a:pt x="553" y="117"/>
                    </a:cubicBezTo>
                    <a:cubicBezTo>
                      <a:pt x="554" y="118"/>
                      <a:pt x="555" y="118"/>
                      <a:pt x="556" y="119"/>
                    </a:cubicBezTo>
                    <a:cubicBezTo>
                      <a:pt x="570" y="125"/>
                      <a:pt x="570" y="125"/>
                      <a:pt x="570" y="125"/>
                    </a:cubicBezTo>
                    <a:cubicBezTo>
                      <a:pt x="570" y="124"/>
                      <a:pt x="571" y="123"/>
                      <a:pt x="572" y="122"/>
                    </a:cubicBezTo>
                    <a:cubicBezTo>
                      <a:pt x="572" y="122"/>
                      <a:pt x="573" y="121"/>
                      <a:pt x="573" y="121"/>
                    </a:cubicBezTo>
                    <a:cubicBezTo>
                      <a:pt x="582" y="111"/>
                      <a:pt x="582" y="111"/>
                      <a:pt x="582" y="111"/>
                    </a:cubicBezTo>
                    <a:cubicBezTo>
                      <a:pt x="583" y="110"/>
                      <a:pt x="585" y="109"/>
                      <a:pt x="586" y="109"/>
                    </a:cubicBezTo>
                    <a:cubicBezTo>
                      <a:pt x="587" y="109"/>
                      <a:pt x="588" y="110"/>
                      <a:pt x="588" y="110"/>
                    </a:cubicBezTo>
                    <a:cubicBezTo>
                      <a:pt x="589" y="108"/>
                      <a:pt x="590" y="107"/>
                      <a:pt x="590" y="106"/>
                    </a:cubicBezTo>
                    <a:cubicBezTo>
                      <a:pt x="591" y="103"/>
                      <a:pt x="591" y="99"/>
                      <a:pt x="592" y="96"/>
                    </a:cubicBezTo>
                    <a:cubicBezTo>
                      <a:pt x="592" y="95"/>
                      <a:pt x="592" y="95"/>
                      <a:pt x="592" y="95"/>
                    </a:cubicBezTo>
                    <a:cubicBezTo>
                      <a:pt x="592" y="92"/>
                      <a:pt x="592" y="88"/>
                      <a:pt x="593" y="85"/>
                    </a:cubicBezTo>
                    <a:cubicBezTo>
                      <a:pt x="594" y="83"/>
                      <a:pt x="594" y="83"/>
                      <a:pt x="594" y="83"/>
                    </a:cubicBezTo>
                    <a:cubicBezTo>
                      <a:pt x="594" y="82"/>
                      <a:pt x="594" y="81"/>
                      <a:pt x="594" y="80"/>
                    </a:cubicBezTo>
                    <a:cubicBezTo>
                      <a:pt x="595" y="77"/>
                      <a:pt x="596" y="74"/>
                      <a:pt x="598" y="72"/>
                    </a:cubicBezTo>
                    <a:cubicBezTo>
                      <a:pt x="598" y="72"/>
                      <a:pt x="599" y="71"/>
                      <a:pt x="599" y="71"/>
                    </a:cubicBezTo>
                    <a:cubicBezTo>
                      <a:pt x="601" y="69"/>
                      <a:pt x="602" y="68"/>
                      <a:pt x="604" y="67"/>
                    </a:cubicBezTo>
                    <a:cubicBezTo>
                      <a:pt x="606" y="66"/>
                      <a:pt x="607" y="65"/>
                      <a:pt x="609" y="64"/>
                    </a:cubicBezTo>
                    <a:cubicBezTo>
                      <a:pt x="609" y="64"/>
                      <a:pt x="609" y="64"/>
                      <a:pt x="609" y="64"/>
                    </a:cubicBezTo>
                    <a:cubicBezTo>
                      <a:pt x="614" y="58"/>
                      <a:pt x="617" y="57"/>
                      <a:pt x="625" y="56"/>
                    </a:cubicBezTo>
                    <a:cubicBezTo>
                      <a:pt x="628" y="56"/>
                      <a:pt x="628" y="56"/>
                      <a:pt x="628" y="56"/>
                    </a:cubicBezTo>
                    <a:cubicBezTo>
                      <a:pt x="630" y="56"/>
                      <a:pt x="632" y="56"/>
                      <a:pt x="634" y="56"/>
                    </a:cubicBezTo>
                    <a:cubicBezTo>
                      <a:pt x="635" y="56"/>
                      <a:pt x="636" y="56"/>
                      <a:pt x="637" y="55"/>
                    </a:cubicBezTo>
                    <a:cubicBezTo>
                      <a:pt x="638" y="55"/>
                      <a:pt x="638" y="55"/>
                      <a:pt x="639" y="55"/>
                    </a:cubicBezTo>
                    <a:cubicBezTo>
                      <a:pt x="640" y="54"/>
                      <a:pt x="640" y="54"/>
                      <a:pt x="640" y="54"/>
                    </a:cubicBezTo>
                    <a:cubicBezTo>
                      <a:pt x="640" y="54"/>
                      <a:pt x="641" y="54"/>
                      <a:pt x="642" y="53"/>
                    </a:cubicBezTo>
                    <a:cubicBezTo>
                      <a:pt x="642" y="53"/>
                      <a:pt x="642" y="53"/>
                      <a:pt x="642" y="53"/>
                    </a:cubicBezTo>
                    <a:cubicBezTo>
                      <a:pt x="643" y="52"/>
                      <a:pt x="644" y="52"/>
                      <a:pt x="644" y="51"/>
                    </a:cubicBezTo>
                    <a:cubicBezTo>
                      <a:pt x="646" y="51"/>
                      <a:pt x="648" y="50"/>
                      <a:pt x="650" y="50"/>
                    </a:cubicBezTo>
                    <a:cubicBezTo>
                      <a:pt x="655" y="50"/>
                      <a:pt x="660" y="54"/>
                      <a:pt x="663" y="57"/>
                    </a:cubicBezTo>
                    <a:cubicBezTo>
                      <a:pt x="665" y="58"/>
                      <a:pt x="665" y="58"/>
                      <a:pt x="665" y="58"/>
                    </a:cubicBezTo>
                    <a:cubicBezTo>
                      <a:pt x="666" y="59"/>
                      <a:pt x="666" y="59"/>
                      <a:pt x="667" y="60"/>
                    </a:cubicBezTo>
                    <a:cubicBezTo>
                      <a:pt x="668" y="61"/>
                      <a:pt x="671" y="62"/>
                      <a:pt x="673" y="63"/>
                    </a:cubicBezTo>
                    <a:cubicBezTo>
                      <a:pt x="675" y="64"/>
                      <a:pt x="676" y="64"/>
                      <a:pt x="677" y="65"/>
                    </a:cubicBezTo>
                    <a:cubicBezTo>
                      <a:pt x="679" y="66"/>
                      <a:pt x="679" y="66"/>
                      <a:pt x="679" y="66"/>
                    </a:cubicBezTo>
                    <a:cubicBezTo>
                      <a:pt x="681" y="66"/>
                      <a:pt x="682" y="67"/>
                      <a:pt x="684" y="68"/>
                    </a:cubicBezTo>
                    <a:cubicBezTo>
                      <a:pt x="686" y="69"/>
                      <a:pt x="696" y="74"/>
                      <a:pt x="697" y="80"/>
                    </a:cubicBezTo>
                    <a:cubicBezTo>
                      <a:pt x="698" y="82"/>
                      <a:pt x="698" y="84"/>
                      <a:pt x="697" y="86"/>
                    </a:cubicBezTo>
                    <a:cubicBezTo>
                      <a:pt x="698" y="86"/>
                      <a:pt x="698" y="86"/>
                      <a:pt x="698" y="86"/>
                    </a:cubicBezTo>
                    <a:cubicBezTo>
                      <a:pt x="700" y="86"/>
                      <a:pt x="702" y="85"/>
                      <a:pt x="704" y="85"/>
                    </a:cubicBezTo>
                    <a:cubicBezTo>
                      <a:pt x="706" y="84"/>
                      <a:pt x="706" y="84"/>
                      <a:pt x="706" y="84"/>
                    </a:cubicBezTo>
                    <a:cubicBezTo>
                      <a:pt x="710" y="83"/>
                      <a:pt x="710" y="82"/>
                      <a:pt x="713" y="78"/>
                    </a:cubicBezTo>
                    <a:cubicBezTo>
                      <a:pt x="713" y="77"/>
                      <a:pt x="714" y="77"/>
                      <a:pt x="714" y="76"/>
                    </a:cubicBezTo>
                    <a:cubicBezTo>
                      <a:pt x="712" y="74"/>
                      <a:pt x="712" y="74"/>
                      <a:pt x="712" y="74"/>
                    </a:cubicBezTo>
                    <a:cubicBezTo>
                      <a:pt x="715" y="71"/>
                      <a:pt x="715" y="71"/>
                      <a:pt x="715" y="71"/>
                    </a:cubicBezTo>
                    <a:cubicBezTo>
                      <a:pt x="716" y="71"/>
                      <a:pt x="717" y="70"/>
                      <a:pt x="719" y="70"/>
                    </a:cubicBezTo>
                    <a:cubicBezTo>
                      <a:pt x="720" y="70"/>
                      <a:pt x="721" y="71"/>
                      <a:pt x="722" y="71"/>
                    </a:cubicBezTo>
                    <a:cubicBezTo>
                      <a:pt x="723" y="72"/>
                      <a:pt x="723" y="72"/>
                      <a:pt x="724" y="72"/>
                    </a:cubicBezTo>
                    <a:cubicBezTo>
                      <a:pt x="726" y="73"/>
                      <a:pt x="726" y="73"/>
                      <a:pt x="726" y="73"/>
                    </a:cubicBezTo>
                    <a:cubicBezTo>
                      <a:pt x="728" y="73"/>
                      <a:pt x="730" y="74"/>
                      <a:pt x="732" y="75"/>
                    </a:cubicBezTo>
                    <a:cubicBezTo>
                      <a:pt x="732" y="75"/>
                      <a:pt x="733" y="75"/>
                      <a:pt x="733" y="75"/>
                    </a:cubicBezTo>
                    <a:cubicBezTo>
                      <a:pt x="735" y="75"/>
                      <a:pt x="735" y="75"/>
                      <a:pt x="735" y="75"/>
                    </a:cubicBezTo>
                    <a:cubicBezTo>
                      <a:pt x="735" y="75"/>
                      <a:pt x="735" y="75"/>
                      <a:pt x="735" y="75"/>
                    </a:cubicBezTo>
                    <a:cubicBezTo>
                      <a:pt x="735" y="74"/>
                      <a:pt x="735" y="72"/>
                      <a:pt x="734" y="71"/>
                    </a:cubicBezTo>
                    <a:cubicBezTo>
                      <a:pt x="734" y="69"/>
                      <a:pt x="734" y="69"/>
                      <a:pt x="734" y="69"/>
                    </a:cubicBezTo>
                    <a:cubicBezTo>
                      <a:pt x="737" y="69"/>
                      <a:pt x="737" y="69"/>
                      <a:pt x="737" y="69"/>
                    </a:cubicBezTo>
                    <a:cubicBezTo>
                      <a:pt x="736" y="68"/>
                      <a:pt x="734" y="67"/>
                      <a:pt x="732" y="67"/>
                    </a:cubicBezTo>
                    <a:cubicBezTo>
                      <a:pt x="730" y="67"/>
                      <a:pt x="727" y="68"/>
                      <a:pt x="726" y="71"/>
                    </a:cubicBezTo>
                    <a:cubicBezTo>
                      <a:pt x="725" y="69"/>
                      <a:pt x="722" y="65"/>
                      <a:pt x="720" y="64"/>
                    </a:cubicBezTo>
                    <a:cubicBezTo>
                      <a:pt x="720" y="64"/>
                      <a:pt x="720" y="64"/>
                      <a:pt x="720" y="64"/>
                    </a:cubicBezTo>
                    <a:cubicBezTo>
                      <a:pt x="719" y="64"/>
                      <a:pt x="718" y="66"/>
                      <a:pt x="717" y="67"/>
                    </a:cubicBezTo>
                    <a:cubicBezTo>
                      <a:pt x="712" y="70"/>
                      <a:pt x="706" y="73"/>
                      <a:pt x="701" y="74"/>
                    </a:cubicBezTo>
                    <a:cubicBezTo>
                      <a:pt x="700" y="72"/>
                      <a:pt x="700" y="72"/>
                      <a:pt x="700" y="72"/>
                    </a:cubicBezTo>
                    <a:cubicBezTo>
                      <a:pt x="703" y="72"/>
                      <a:pt x="704" y="71"/>
                      <a:pt x="705" y="70"/>
                    </a:cubicBezTo>
                    <a:cubicBezTo>
                      <a:pt x="705" y="69"/>
                      <a:pt x="705" y="69"/>
                      <a:pt x="705" y="69"/>
                    </a:cubicBezTo>
                    <a:cubicBezTo>
                      <a:pt x="705" y="69"/>
                      <a:pt x="706" y="69"/>
                      <a:pt x="706" y="69"/>
                    </a:cubicBezTo>
                    <a:cubicBezTo>
                      <a:pt x="704" y="66"/>
                      <a:pt x="700" y="66"/>
                      <a:pt x="697" y="64"/>
                    </a:cubicBezTo>
                    <a:cubicBezTo>
                      <a:pt x="701" y="63"/>
                      <a:pt x="698" y="57"/>
                      <a:pt x="696" y="56"/>
                    </a:cubicBezTo>
                    <a:cubicBezTo>
                      <a:pt x="689" y="55"/>
                      <a:pt x="682" y="54"/>
                      <a:pt x="675" y="51"/>
                    </a:cubicBezTo>
                    <a:cubicBezTo>
                      <a:pt x="675" y="49"/>
                      <a:pt x="676" y="48"/>
                      <a:pt x="677" y="48"/>
                    </a:cubicBezTo>
                    <a:cubicBezTo>
                      <a:pt x="680" y="48"/>
                      <a:pt x="684" y="50"/>
                      <a:pt x="686" y="51"/>
                    </a:cubicBezTo>
                    <a:cubicBezTo>
                      <a:pt x="697" y="53"/>
                      <a:pt x="709" y="53"/>
                      <a:pt x="720" y="54"/>
                    </a:cubicBezTo>
                    <a:cubicBezTo>
                      <a:pt x="722" y="48"/>
                      <a:pt x="734" y="46"/>
                      <a:pt x="739" y="44"/>
                    </a:cubicBezTo>
                    <a:cubicBezTo>
                      <a:pt x="743" y="43"/>
                      <a:pt x="746" y="43"/>
                      <a:pt x="744" y="38"/>
                    </a:cubicBezTo>
                    <a:cubicBezTo>
                      <a:pt x="743" y="34"/>
                      <a:pt x="742" y="36"/>
                      <a:pt x="738" y="35"/>
                    </a:cubicBezTo>
                    <a:cubicBezTo>
                      <a:pt x="732" y="32"/>
                      <a:pt x="724" y="32"/>
                      <a:pt x="717" y="30"/>
                    </a:cubicBezTo>
                    <a:cubicBezTo>
                      <a:pt x="720" y="29"/>
                      <a:pt x="720" y="29"/>
                      <a:pt x="720" y="29"/>
                    </a:cubicBezTo>
                    <a:cubicBezTo>
                      <a:pt x="721" y="27"/>
                      <a:pt x="719" y="23"/>
                      <a:pt x="718" y="22"/>
                    </a:cubicBezTo>
                    <a:cubicBezTo>
                      <a:pt x="717" y="21"/>
                      <a:pt x="717" y="21"/>
                      <a:pt x="716" y="21"/>
                    </a:cubicBezTo>
                    <a:cubicBezTo>
                      <a:pt x="714" y="21"/>
                      <a:pt x="709" y="24"/>
                      <a:pt x="708" y="24"/>
                    </a:cubicBezTo>
                    <a:cubicBezTo>
                      <a:pt x="708" y="23"/>
                      <a:pt x="708" y="21"/>
                      <a:pt x="708" y="20"/>
                    </a:cubicBezTo>
                    <a:cubicBezTo>
                      <a:pt x="704" y="21"/>
                      <a:pt x="699" y="23"/>
                      <a:pt x="695" y="24"/>
                    </a:cubicBezTo>
                    <a:cubicBezTo>
                      <a:pt x="695" y="23"/>
                      <a:pt x="696" y="22"/>
                      <a:pt x="697" y="22"/>
                    </a:cubicBezTo>
                    <a:cubicBezTo>
                      <a:pt x="693" y="19"/>
                      <a:pt x="687" y="13"/>
                      <a:pt x="683" y="13"/>
                    </a:cubicBezTo>
                    <a:cubicBezTo>
                      <a:pt x="681" y="13"/>
                      <a:pt x="679" y="14"/>
                      <a:pt x="677" y="17"/>
                    </a:cubicBezTo>
                    <a:cubicBezTo>
                      <a:pt x="676" y="20"/>
                      <a:pt x="669" y="29"/>
                      <a:pt x="671" y="31"/>
                    </a:cubicBezTo>
                    <a:cubicBezTo>
                      <a:pt x="674" y="35"/>
                      <a:pt x="667" y="40"/>
                      <a:pt x="663" y="42"/>
                    </a:cubicBezTo>
                    <a:cubicBezTo>
                      <a:pt x="664" y="37"/>
                      <a:pt x="665" y="37"/>
                      <a:pt x="667" y="33"/>
                    </a:cubicBezTo>
                    <a:cubicBezTo>
                      <a:pt x="667" y="33"/>
                      <a:pt x="667" y="33"/>
                      <a:pt x="667" y="33"/>
                    </a:cubicBezTo>
                    <a:cubicBezTo>
                      <a:pt x="665" y="33"/>
                      <a:pt x="663" y="34"/>
                      <a:pt x="662" y="34"/>
                    </a:cubicBezTo>
                    <a:cubicBezTo>
                      <a:pt x="660" y="35"/>
                      <a:pt x="658" y="35"/>
                      <a:pt x="656" y="35"/>
                    </a:cubicBezTo>
                    <a:cubicBezTo>
                      <a:pt x="655" y="35"/>
                      <a:pt x="655" y="35"/>
                      <a:pt x="654" y="35"/>
                    </a:cubicBezTo>
                    <a:cubicBezTo>
                      <a:pt x="652" y="33"/>
                      <a:pt x="654" y="32"/>
                      <a:pt x="655" y="31"/>
                    </a:cubicBezTo>
                    <a:cubicBezTo>
                      <a:pt x="661" y="27"/>
                      <a:pt x="665" y="28"/>
                      <a:pt x="666" y="20"/>
                    </a:cubicBezTo>
                    <a:cubicBezTo>
                      <a:pt x="662" y="22"/>
                      <a:pt x="658" y="23"/>
                      <a:pt x="654" y="24"/>
                    </a:cubicBezTo>
                    <a:cubicBezTo>
                      <a:pt x="654" y="23"/>
                      <a:pt x="654" y="23"/>
                      <a:pt x="654" y="23"/>
                    </a:cubicBezTo>
                    <a:cubicBezTo>
                      <a:pt x="655" y="23"/>
                      <a:pt x="656" y="23"/>
                      <a:pt x="657" y="23"/>
                    </a:cubicBezTo>
                    <a:cubicBezTo>
                      <a:pt x="656" y="22"/>
                      <a:pt x="655" y="20"/>
                      <a:pt x="654" y="20"/>
                    </a:cubicBezTo>
                    <a:cubicBezTo>
                      <a:pt x="656" y="17"/>
                      <a:pt x="657" y="17"/>
                      <a:pt x="659" y="17"/>
                    </a:cubicBezTo>
                    <a:cubicBezTo>
                      <a:pt x="659" y="17"/>
                      <a:pt x="660" y="17"/>
                      <a:pt x="662" y="17"/>
                    </a:cubicBezTo>
                    <a:cubicBezTo>
                      <a:pt x="663" y="17"/>
                      <a:pt x="663" y="17"/>
                      <a:pt x="664" y="17"/>
                    </a:cubicBezTo>
                    <a:cubicBezTo>
                      <a:pt x="664" y="17"/>
                      <a:pt x="665" y="17"/>
                      <a:pt x="666" y="17"/>
                    </a:cubicBezTo>
                    <a:cubicBezTo>
                      <a:pt x="667" y="16"/>
                      <a:pt x="670" y="14"/>
                      <a:pt x="671" y="13"/>
                    </a:cubicBezTo>
                    <a:cubicBezTo>
                      <a:pt x="674" y="10"/>
                      <a:pt x="673" y="7"/>
                      <a:pt x="669" y="6"/>
                    </a:cubicBezTo>
                    <a:cubicBezTo>
                      <a:pt x="662" y="4"/>
                      <a:pt x="655" y="2"/>
                      <a:pt x="6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237"/>
              <p:cNvSpPr>
                <a:spLocks noEditPoints="1"/>
              </p:cNvSpPr>
              <p:nvPr/>
            </p:nvSpPr>
            <p:spPr bwMode="auto">
              <a:xfrm>
                <a:off x="5365529" y="1426140"/>
                <a:ext cx="1153441" cy="1908890"/>
              </a:xfrm>
              <a:custGeom>
                <a:gdLst>
                  <a:gd name="T0" fmla="*/ 199 w 364"/>
                  <a:gd name="T1" fmla="*/ 441 h 601"/>
                  <a:gd name="T2" fmla="*/ 257 w 364"/>
                  <a:gd name="T3" fmla="*/ 19 h 601"/>
                  <a:gd name="T4" fmla="*/ 249 w 364"/>
                  <a:gd name="T5" fmla="*/ 34 h 601"/>
                  <a:gd name="T6" fmla="*/ 193 w 364"/>
                  <a:gd name="T7" fmla="*/ 51 h 601"/>
                  <a:gd name="T8" fmla="*/ 170 w 364"/>
                  <a:gd name="T9" fmla="*/ 50 h 601"/>
                  <a:gd name="T10" fmla="*/ 148 w 364"/>
                  <a:gd name="T11" fmla="*/ 78 h 601"/>
                  <a:gd name="T12" fmla="*/ 133 w 364"/>
                  <a:gd name="T13" fmla="*/ 115 h 601"/>
                  <a:gd name="T14" fmla="*/ 101 w 364"/>
                  <a:gd name="T15" fmla="*/ 141 h 601"/>
                  <a:gd name="T16" fmla="*/ 101 w 364"/>
                  <a:gd name="T17" fmla="*/ 147 h 601"/>
                  <a:gd name="T18" fmla="*/ 94 w 364"/>
                  <a:gd name="T19" fmla="*/ 185 h 601"/>
                  <a:gd name="T20" fmla="*/ 87 w 364"/>
                  <a:gd name="T21" fmla="*/ 217 h 601"/>
                  <a:gd name="T22" fmla="*/ 58 w 364"/>
                  <a:gd name="T23" fmla="*/ 236 h 601"/>
                  <a:gd name="T24" fmla="*/ 34 w 364"/>
                  <a:gd name="T25" fmla="*/ 256 h 601"/>
                  <a:gd name="T26" fmla="*/ 33 w 364"/>
                  <a:gd name="T27" fmla="*/ 284 h 601"/>
                  <a:gd name="T28" fmla="*/ 36 w 364"/>
                  <a:gd name="T29" fmla="*/ 315 h 601"/>
                  <a:gd name="T30" fmla="*/ 41 w 364"/>
                  <a:gd name="T31" fmla="*/ 343 h 601"/>
                  <a:gd name="T32" fmla="*/ 43 w 364"/>
                  <a:gd name="T33" fmla="*/ 393 h 601"/>
                  <a:gd name="T34" fmla="*/ 30 w 364"/>
                  <a:gd name="T35" fmla="*/ 416 h 601"/>
                  <a:gd name="T36" fmla="*/ 22 w 364"/>
                  <a:gd name="T37" fmla="*/ 445 h 601"/>
                  <a:gd name="T38" fmla="*/ 3 w 364"/>
                  <a:gd name="T39" fmla="*/ 481 h 601"/>
                  <a:gd name="T40" fmla="*/ 14 w 364"/>
                  <a:gd name="T41" fmla="*/ 477 h 601"/>
                  <a:gd name="T42" fmla="*/ 21 w 364"/>
                  <a:gd name="T43" fmla="*/ 487 h 601"/>
                  <a:gd name="T44" fmla="*/ 17 w 364"/>
                  <a:gd name="T45" fmla="*/ 507 h 601"/>
                  <a:gd name="T46" fmla="*/ 50 w 364"/>
                  <a:gd name="T47" fmla="*/ 558 h 601"/>
                  <a:gd name="T48" fmla="*/ 46 w 364"/>
                  <a:gd name="T49" fmla="*/ 568 h 601"/>
                  <a:gd name="T50" fmla="*/ 52 w 364"/>
                  <a:gd name="T51" fmla="*/ 599 h 601"/>
                  <a:gd name="T52" fmla="*/ 114 w 364"/>
                  <a:gd name="T53" fmla="*/ 571 h 601"/>
                  <a:gd name="T54" fmla="*/ 150 w 364"/>
                  <a:gd name="T55" fmla="*/ 545 h 601"/>
                  <a:gd name="T56" fmla="*/ 154 w 364"/>
                  <a:gd name="T57" fmla="*/ 511 h 601"/>
                  <a:gd name="T58" fmla="*/ 153 w 364"/>
                  <a:gd name="T59" fmla="*/ 499 h 601"/>
                  <a:gd name="T60" fmla="*/ 161 w 364"/>
                  <a:gd name="T61" fmla="*/ 486 h 601"/>
                  <a:gd name="T62" fmla="*/ 165 w 364"/>
                  <a:gd name="T63" fmla="*/ 475 h 601"/>
                  <a:gd name="T64" fmla="*/ 150 w 364"/>
                  <a:gd name="T65" fmla="*/ 469 h 601"/>
                  <a:gd name="T66" fmla="*/ 187 w 364"/>
                  <a:gd name="T67" fmla="*/ 448 h 601"/>
                  <a:gd name="T68" fmla="*/ 199 w 364"/>
                  <a:gd name="T69" fmla="*/ 453 h 601"/>
                  <a:gd name="T70" fmla="*/ 207 w 364"/>
                  <a:gd name="T71" fmla="*/ 443 h 601"/>
                  <a:gd name="T72" fmla="*/ 214 w 364"/>
                  <a:gd name="T73" fmla="*/ 442 h 601"/>
                  <a:gd name="T74" fmla="*/ 201 w 364"/>
                  <a:gd name="T75" fmla="*/ 435 h 601"/>
                  <a:gd name="T76" fmla="*/ 196 w 364"/>
                  <a:gd name="T77" fmla="*/ 390 h 601"/>
                  <a:gd name="T78" fmla="*/ 171 w 364"/>
                  <a:gd name="T79" fmla="*/ 382 h 601"/>
                  <a:gd name="T80" fmla="*/ 169 w 364"/>
                  <a:gd name="T81" fmla="*/ 353 h 601"/>
                  <a:gd name="T82" fmla="*/ 168 w 364"/>
                  <a:gd name="T83" fmla="*/ 344 h 601"/>
                  <a:gd name="T84" fmla="*/ 175 w 364"/>
                  <a:gd name="T85" fmla="*/ 333 h 601"/>
                  <a:gd name="T86" fmla="*/ 180 w 364"/>
                  <a:gd name="T87" fmla="*/ 305 h 601"/>
                  <a:gd name="T88" fmla="*/ 185 w 364"/>
                  <a:gd name="T89" fmla="*/ 280 h 601"/>
                  <a:gd name="T90" fmla="*/ 197 w 364"/>
                  <a:gd name="T91" fmla="*/ 289 h 601"/>
                  <a:gd name="T92" fmla="*/ 224 w 364"/>
                  <a:gd name="T93" fmla="*/ 273 h 601"/>
                  <a:gd name="T94" fmla="*/ 262 w 364"/>
                  <a:gd name="T95" fmla="*/ 249 h 601"/>
                  <a:gd name="T96" fmla="*/ 292 w 364"/>
                  <a:gd name="T97" fmla="*/ 213 h 601"/>
                  <a:gd name="T98" fmla="*/ 285 w 364"/>
                  <a:gd name="T99" fmla="*/ 201 h 601"/>
                  <a:gd name="T100" fmla="*/ 296 w 364"/>
                  <a:gd name="T101" fmla="*/ 175 h 601"/>
                  <a:gd name="T102" fmla="*/ 318 w 364"/>
                  <a:gd name="T103" fmla="*/ 156 h 601"/>
                  <a:gd name="T104" fmla="*/ 341 w 364"/>
                  <a:gd name="T105" fmla="*/ 152 h 601"/>
                  <a:gd name="T106" fmla="*/ 352 w 364"/>
                  <a:gd name="T107" fmla="*/ 131 h 601"/>
                  <a:gd name="T108" fmla="*/ 360 w 364"/>
                  <a:gd name="T109" fmla="*/ 105 h 601"/>
                  <a:gd name="T110" fmla="*/ 352 w 364"/>
                  <a:gd name="T111" fmla="*/ 78 h 601"/>
                  <a:gd name="T112" fmla="*/ 345 w 364"/>
                  <a:gd name="T113" fmla="*/ 74 h 601"/>
                  <a:gd name="T114" fmla="*/ 350 w 364"/>
                  <a:gd name="T115" fmla="*/ 50 h 6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4" h="601">
                    <a:moveTo>
                      <a:pt x="199" y="441"/>
                    </a:moveTo>
                    <a:cubicBezTo>
                      <a:pt x="198" y="439"/>
                      <a:pt x="197" y="436"/>
                      <a:pt x="199" y="436"/>
                    </a:cubicBezTo>
                    <a:cubicBezTo>
                      <a:pt x="199" y="436"/>
                      <a:pt x="199" y="436"/>
                      <a:pt x="199" y="436"/>
                    </a:cubicBezTo>
                    <a:cubicBezTo>
                      <a:pt x="199" y="436"/>
                      <a:pt x="199" y="437"/>
                      <a:pt x="199" y="437"/>
                    </a:cubicBezTo>
                    <a:cubicBezTo>
                      <a:pt x="200" y="437"/>
                      <a:pt x="200" y="437"/>
                      <a:pt x="200" y="437"/>
                    </a:cubicBezTo>
                    <a:cubicBezTo>
                      <a:pt x="200" y="440"/>
                      <a:pt x="200" y="440"/>
                      <a:pt x="200" y="440"/>
                    </a:cubicBezTo>
                    <a:cubicBezTo>
                      <a:pt x="200" y="440"/>
                      <a:pt x="199" y="441"/>
                      <a:pt x="199" y="441"/>
                    </a:cubicBezTo>
                    <a:moveTo>
                      <a:pt x="268" y="0"/>
                    </a:moveTo>
                    <a:cubicBezTo>
                      <a:pt x="261" y="0"/>
                      <a:pt x="261" y="0"/>
                      <a:pt x="261" y="0"/>
                    </a:cubicBezTo>
                    <a:cubicBezTo>
                      <a:pt x="262" y="2"/>
                      <a:pt x="263" y="4"/>
                      <a:pt x="263" y="7"/>
                    </a:cubicBezTo>
                    <a:cubicBezTo>
                      <a:pt x="262" y="7"/>
                      <a:pt x="262" y="7"/>
                      <a:pt x="262" y="7"/>
                    </a:cubicBezTo>
                    <a:cubicBezTo>
                      <a:pt x="262" y="8"/>
                      <a:pt x="262" y="8"/>
                      <a:pt x="262" y="8"/>
                    </a:cubicBezTo>
                    <a:cubicBezTo>
                      <a:pt x="262" y="11"/>
                      <a:pt x="260" y="15"/>
                      <a:pt x="258" y="17"/>
                    </a:cubicBezTo>
                    <a:cubicBezTo>
                      <a:pt x="257" y="18"/>
                      <a:pt x="257" y="19"/>
                      <a:pt x="257" y="19"/>
                    </a:cubicBezTo>
                    <a:cubicBezTo>
                      <a:pt x="256" y="20"/>
                      <a:pt x="256" y="20"/>
                      <a:pt x="256" y="20"/>
                    </a:cubicBezTo>
                    <a:cubicBezTo>
                      <a:pt x="256" y="21"/>
                      <a:pt x="256" y="23"/>
                      <a:pt x="256" y="24"/>
                    </a:cubicBezTo>
                    <a:cubicBezTo>
                      <a:pt x="256" y="25"/>
                      <a:pt x="256" y="25"/>
                      <a:pt x="256" y="25"/>
                    </a:cubicBezTo>
                    <a:cubicBezTo>
                      <a:pt x="256" y="26"/>
                      <a:pt x="256" y="26"/>
                      <a:pt x="256" y="26"/>
                    </a:cubicBezTo>
                    <a:cubicBezTo>
                      <a:pt x="256" y="28"/>
                      <a:pt x="255" y="30"/>
                      <a:pt x="254" y="32"/>
                    </a:cubicBezTo>
                    <a:cubicBezTo>
                      <a:pt x="253" y="33"/>
                      <a:pt x="252" y="34"/>
                      <a:pt x="250" y="34"/>
                    </a:cubicBezTo>
                    <a:cubicBezTo>
                      <a:pt x="250" y="34"/>
                      <a:pt x="249" y="34"/>
                      <a:pt x="249" y="34"/>
                    </a:cubicBezTo>
                    <a:cubicBezTo>
                      <a:pt x="249" y="34"/>
                      <a:pt x="248" y="34"/>
                      <a:pt x="248" y="34"/>
                    </a:cubicBezTo>
                    <a:cubicBezTo>
                      <a:pt x="202" y="26"/>
                      <a:pt x="202" y="26"/>
                      <a:pt x="202" y="26"/>
                    </a:cubicBezTo>
                    <a:cubicBezTo>
                      <a:pt x="202" y="27"/>
                      <a:pt x="202" y="27"/>
                      <a:pt x="202" y="27"/>
                    </a:cubicBezTo>
                    <a:cubicBezTo>
                      <a:pt x="202" y="29"/>
                      <a:pt x="202" y="31"/>
                      <a:pt x="202" y="33"/>
                    </a:cubicBezTo>
                    <a:cubicBezTo>
                      <a:pt x="202" y="37"/>
                      <a:pt x="202" y="37"/>
                      <a:pt x="202" y="37"/>
                    </a:cubicBezTo>
                    <a:cubicBezTo>
                      <a:pt x="202" y="38"/>
                      <a:pt x="199" y="51"/>
                      <a:pt x="193" y="51"/>
                    </a:cubicBezTo>
                    <a:cubicBezTo>
                      <a:pt x="193" y="51"/>
                      <a:pt x="193" y="51"/>
                      <a:pt x="193" y="51"/>
                    </a:cubicBezTo>
                    <a:cubicBezTo>
                      <a:pt x="192" y="51"/>
                      <a:pt x="191" y="52"/>
                      <a:pt x="190" y="52"/>
                    </a:cubicBezTo>
                    <a:cubicBezTo>
                      <a:pt x="189" y="52"/>
                      <a:pt x="188" y="51"/>
                      <a:pt x="187" y="51"/>
                    </a:cubicBezTo>
                    <a:cubicBezTo>
                      <a:pt x="184" y="50"/>
                      <a:pt x="184" y="50"/>
                      <a:pt x="184" y="50"/>
                    </a:cubicBezTo>
                    <a:cubicBezTo>
                      <a:pt x="183" y="49"/>
                      <a:pt x="181" y="49"/>
                      <a:pt x="180" y="48"/>
                    </a:cubicBezTo>
                    <a:cubicBezTo>
                      <a:pt x="176" y="47"/>
                      <a:pt x="176" y="47"/>
                      <a:pt x="176" y="47"/>
                    </a:cubicBezTo>
                    <a:cubicBezTo>
                      <a:pt x="176" y="47"/>
                      <a:pt x="176" y="47"/>
                      <a:pt x="175" y="47"/>
                    </a:cubicBezTo>
                    <a:cubicBezTo>
                      <a:pt x="174" y="48"/>
                      <a:pt x="172" y="49"/>
                      <a:pt x="170" y="50"/>
                    </a:cubicBezTo>
                    <a:cubicBezTo>
                      <a:pt x="170" y="51"/>
                      <a:pt x="169" y="51"/>
                      <a:pt x="168" y="52"/>
                    </a:cubicBezTo>
                    <a:cubicBezTo>
                      <a:pt x="163" y="55"/>
                      <a:pt x="162" y="55"/>
                      <a:pt x="161" y="59"/>
                    </a:cubicBezTo>
                    <a:cubicBezTo>
                      <a:pt x="161" y="60"/>
                      <a:pt x="161" y="60"/>
                      <a:pt x="161" y="60"/>
                    </a:cubicBezTo>
                    <a:cubicBezTo>
                      <a:pt x="160" y="61"/>
                      <a:pt x="159" y="63"/>
                      <a:pt x="158" y="65"/>
                    </a:cubicBezTo>
                    <a:cubicBezTo>
                      <a:pt x="157" y="69"/>
                      <a:pt x="154" y="73"/>
                      <a:pt x="149" y="74"/>
                    </a:cubicBezTo>
                    <a:cubicBezTo>
                      <a:pt x="148" y="74"/>
                      <a:pt x="147" y="75"/>
                      <a:pt x="146" y="75"/>
                    </a:cubicBezTo>
                    <a:cubicBezTo>
                      <a:pt x="147" y="76"/>
                      <a:pt x="148" y="77"/>
                      <a:pt x="148" y="78"/>
                    </a:cubicBezTo>
                    <a:cubicBezTo>
                      <a:pt x="151" y="81"/>
                      <a:pt x="154" y="86"/>
                      <a:pt x="153" y="90"/>
                    </a:cubicBezTo>
                    <a:cubicBezTo>
                      <a:pt x="152" y="91"/>
                      <a:pt x="152" y="91"/>
                      <a:pt x="152" y="91"/>
                    </a:cubicBezTo>
                    <a:cubicBezTo>
                      <a:pt x="152" y="91"/>
                      <a:pt x="152" y="92"/>
                      <a:pt x="152" y="93"/>
                    </a:cubicBezTo>
                    <a:cubicBezTo>
                      <a:pt x="149" y="100"/>
                      <a:pt x="143" y="105"/>
                      <a:pt x="138" y="110"/>
                    </a:cubicBezTo>
                    <a:cubicBezTo>
                      <a:pt x="137" y="111"/>
                      <a:pt x="137" y="111"/>
                      <a:pt x="137" y="111"/>
                    </a:cubicBezTo>
                    <a:cubicBezTo>
                      <a:pt x="136" y="112"/>
                      <a:pt x="135" y="113"/>
                      <a:pt x="134" y="114"/>
                    </a:cubicBezTo>
                    <a:cubicBezTo>
                      <a:pt x="133" y="115"/>
                      <a:pt x="133" y="115"/>
                      <a:pt x="133" y="115"/>
                    </a:cubicBezTo>
                    <a:cubicBezTo>
                      <a:pt x="131" y="117"/>
                      <a:pt x="129" y="119"/>
                      <a:pt x="127" y="121"/>
                    </a:cubicBezTo>
                    <a:cubicBezTo>
                      <a:pt x="126" y="121"/>
                      <a:pt x="126" y="121"/>
                      <a:pt x="125" y="122"/>
                    </a:cubicBezTo>
                    <a:cubicBezTo>
                      <a:pt x="125" y="122"/>
                      <a:pt x="125" y="122"/>
                      <a:pt x="125" y="122"/>
                    </a:cubicBezTo>
                    <a:cubicBezTo>
                      <a:pt x="126" y="123"/>
                      <a:pt x="128" y="126"/>
                      <a:pt x="126" y="129"/>
                    </a:cubicBezTo>
                    <a:cubicBezTo>
                      <a:pt x="125" y="131"/>
                      <a:pt x="123" y="132"/>
                      <a:pt x="119" y="133"/>
                    </a:cubicBezTo>
                    <a:cubicBezTo>
                      <a:pt x="115" y="135"/>
                      <a:pt x="110" y="137"/>
                      <a:pt x="104" y="139"/>
                    </a:cubicBezTo>
                    <a:cubicBezTo>
                      <a:pt x="103" y="140"/>
                      <a:pt x="101" y="140"/>
                      <a:pt x="101" y="141"/>
                    </a:cubicBezTo>
                    <a:cubicBezTo>
                      <a:pt x="100" y="141"/>
                      <a:pt x="100" y="141"/>
                      <a:pt x="100" y="141"/>
                    </a:cubicBezTo>
                    <a:cubicBezTo>
                      <a:pt x="100" y="141"/>
                      <a:pt x="100" y="142"/>
                      <a:pt x="100" y="142"/>
                    </a:cubicBezTo>
                    <a:cubicBezTo>
                      <a:pt x="100" y="143"/>
                      <a:pt x="100" y="143"/>
                      <a:pt x="100" y="143"/>
                    </a:cubicBezTo>
                    <a:cubicBezTo>
                      <a:pt x="101" y="143"/>
                      <a:pt x="101" y="144"/>
                      <a:pt x="101" y="145"/>
                    </a:cubicBezTo>
                    <a:cubicBezTo>
                      <a:pt x="101" y="146"/>
                      <a:pt x="101" y="146"/>
                      <a:pt x="101" y="146"/>
                    </a:cubicBezTo>
                    <a:cubicBezTo>
                      <a:pt x="106" y="145"/>
                      <a:pt x="106" y="145"/>
                      <a:pt x="106" y="145"/>
                    </a:cubicBezTo>
                    <a:cubicBezTo>
                      <a:pt x="101" y="147"/>
                      <a:pt x="101" y="147"/>
                      <a:pt x="101" y="147"/>
                    </a:cubicBezTo>
                    <a:cubicBezTo>
                      <a:pt x="102" y="151"/>
                      <a:pt x="102" y="153"/>
                      <a:pt x="101" y="156"/>
                    </a:cubicBezTo>
                    <a:cubicBezTo>
                      <a:pt x="101" y="157"/>
                      <a:pt x="101" y="158"/>
                      <a:pt x="101" y="159"/>
                    </a:cubicBezTo>
                    <a:cubicBezTo>
                      <a:pt x="101" y="161"/>
                      <a:pt x="101" y="161"/>
                      <a:pt x="101" y="161"/>
                    </a:cubicBezTo>
                    <a:cubicBezTo>
                      <a:pt x="100" y="164"/>
                      <a:pt x="100" y="168"/>
                      <a:pt x="99" y="172"/>
                    </a:cubicBezTo>
                    <a:cubicBezTo>
                      <a:pt x="99" y="174"/>
                      <a:pt x="99" y="174"/>
                      <a:pt x="99" y="174"/>
                    </a:cubicBezTo>
                    <a:cubicBezTo>
                      <a:pt x="99" y="178"/>
                      <a:pt x="97" y="181"/>
                      <a:pt x="95" y="183"/>
                    </a:cubicBezTo>
                    <a:cubicBezTo>
                      <a:pt x="95" y="184"/>
                      <a:pt x="94" y="184"/>
                      <a:pt x="94" y="185"/>
                    </a:cubicBezTo>
                    <a:cubicBezTo>
                      <a:pt x="94" y="185"/>
                      <a:pt x="94" y="185"/>
                      <a:pt x="94" y="185"/>
                    </a:cubicBezTo>
                    <a:cubicBezTo>
                      <a:pt x="93" y="188"/>
                      <a:pt x="91" y="189"/>
                      <a:pt x="89" y="191"/>
                    </a:cubicBezTo>
                    <a:cubicBezTo>
                      <a:pt x="87" y="194"/>
                      <a:pt x="85" y="197"/>
                      <a:pt x="83" y="199"/>
                    </a:cubicBezTo>
                    <a:cubicBezTo>
                      <a:pt x="82" y="200"/>
                      <a:pt x="81" y="201"/>
                      <a:pt x="80" y="202"/>
                    </a:cubicBezTo>
                    <a:cubicBezTo>
                      <a:pt x="80" y="205"/>
                      <a:pt x="81" y="208"/>
                      <a:pt x="82" y="211"/>
                    </a:cubicBezTo>
                    <a:cubicBezTo>
                      <a:pt x="83" y="212"/>
                      <a:pt x="83" y="212"/>
                      <a:pt x="83" y="212"/>
                    </a:cubicBezTo>
                    <a:cubicBezTo>
                      <a:pt x="84" y="213"/>
                      <a:pt x="86" y="214"/>
                      <a:pt x="87" y="217"/>
                    </a:cubicBezTo>
                    <a:cubicBezTo>
                      <a:pt x="87" y="218"/>
                      <a:pt x="87" y="218"/>
                      <a:pt x="87" y="218"/>
                    </a:cubicBezTo>
                    <a:cubicBezTo>
                      <a:pt x="87" y="219"/>
                      <a:pt x="87" y="219"/>
                      <a:pt x="87" y="219"/>
                    </a:cubicBezTo>
                    <a:cubicBezTo>
                      <a:pt x="88" y="222"/>
                      <a:pt x="88" y="226"/>
                      <a:pt x="87" y="229"/>
                    </a:cubicBezTo>
                    <a:cubicBezTo>
                      <a:pt x="85" y="235"/>
                      <a:pt x="82" y="238"/>
                      <a:pt x="77" y="238"/>
                    </a:cubicBezTo>
                    <a:cubicBezTo>
                      <a:pt x="76" y="238"/>
                      <a:pt x="76" y="238"/>
                      <a:pt x="75" y="238"/>
                    </a:cubicBezTo>
                    <a:cubicBezTo>
                      <a:pt x="59" y="236"/>
                      <a:pt x="59" y="236"/>
                      <a:pt x="59" y="236"/>
                    </a:cubicBezTo>
                    <a:cubicBezTo>
                      <a:pt x="59" y="236"/>
                      <a:pt x="59" y="236"/>
                      <a:pt x="58" y="236"/>
                    </a:cubicBezTo>
                    <a:cubicBezTo>
                      <a:pt x="57" y="236"/>
                      <a:pt x="56" y="236"/>
                      <a:pt x="54" y="237"/>
                    </a:cubicBezTo>
                    <a:cubicBezTo>
                      <a:pt x="52" y="239"/>
                      <a:pt x="52" y="239"/>
                      <a:pt x="52" y="239"/>
                    </a:cubicBezTo>
                    <a:cubicBezTo>
                      <a:pt x="51" y="239"/>
                      <a:pt x="51" y="239"/>
                      <a:pt x="51" y="239"/>
                    </a:cubicBezTo>
                    <a:cubicBezTo>
                      <a:pt x="50" y="239"/>
                      <a:pt x="50" y="239"/>
                      <a:pt x="50" y="239"/>
                    </a:cubicBezTo>
                    <a:cubicBezTo>
                      <a:pt x="49" y="240"/>
                      <a:pt x="49" y="240"/>
                      <a:pt x="49" y="240"/>
                    </a:cubicBezTo>
                    <a:cubicBezTo>
                      <a:pt x="46" y="241"/>
                      <a:pt x="44" y="243"/>
                      <a:pt x="41" y="246"/>
                    </a:cubicBezTo>
                    <a:cubicBezTo>
                      <a:pt x="34" y="256"/>
                      <a:pt x="34" y="256"/>
                      <a:pt x="34" y="256"/>
                    </a:cubicBezTo>
                    <a:cubicBezTo>
                      <a:pt x="32" y="258"/>
                      <a:pt x="31" y="261"/>
                      <a:pt x="30" y="263"/>
                    </a:cubicBezTo>
                    <a:cubicBezTo>
                      <a:pt x="28" y="266"/>
                      <a:pt x="28" y="266"/>
                      <a:pt x="28" y="266"/>
                    </a:cubicBezTo>
                    <a:cubicBezTo>
                      <a:pt x="28" y="267"/>
                      <a:pt x="28" y="268"/>
                      <a:pt x="28" y="268"/>
                    </a:cubicBezTo>
                    <a:cubicBezTo>
                      <a:pt x="28" y="268"/>
                      <a:pt x="28" y="268"/>
                      <a:pt x="28" y="269"/>
                    </a:cubicBezTo>
                    <a:cubicBezTo>
                      <a:pt x="29" y="271"/>
                      <a:pt x="29" y="271"/>
                      <a:pt x="29" y="271"/>
                    </a:cubicBezTo>
                    <a:cubicBezTo>
                      <a:pt x="30" y="272"/>
                      <a:pt x="30" y="272"/>
                      <a:pt x="30" y="273"/>
                    </a:cubicBezTo>
                    <a:cubicBezTo>
                      <a:pt x="32" y="276"/>
                      <a:pt x="34" y="280"/>
                      <a:pt x="33" y="284"/>
                    </a:cubicBezTo>
                    <a:cubicBezTo>
                      <a:pt x="33" y="287"/>
                      <a:pt x="33" y="287"/>
                      <a:pt x="33" y="287"/>
                    </a:cubicBezTo>
                    <a:cubicBezTo>
                      <a:pt x="32" y="290"/>
                      <a:pt x="32" y="294"/>
                      <a:pt x="30" y="298"/>
                    </a:cubicBezTo>
                    <a:cubicBezTo>
                      <a:pt x="30" y="298"/>
                      <a:pt x="30" y="298"/>
                      <a:pt x="30" y="298"/>
                    </a:cubicBezTo>
                    <a:cubicBezTo>
                      <a:pt x="30" y="299"/>
                      <a:pt x="30" y="299"/>
                      <a:pt x="31" y="300"/>
                    </a:cubicBezTo>
                    <a:cubicBezTo>
                      <a:pt x="31" y="300"/>
                      <a:pt x="31" y="301"/>
                      <a:pt x="32" y="301"/>
                    </a:cubicBezTo>
                    <a:cubicBezTo>
                      <a:pt x="32" y="302"/>
                      <a:pt x="32" y="302"/>
                      <a:pt x="32" y="302"/>
                    </a:cubicBezTo>
                    <a:cubicBezTo>
                      <a:pt x="34" y="306"/>
                      <a:pt x="37" y="311"/>
                      <a:pt x="36" y="315"/>
                    </a:cubicBezTo>
                    <a:cubicBezTo>
                      <a:pt x="32" y="334"/>
                      <a:pt x="32" y="334"/>
                      <a:pt x="32" y="334"/>
                    </a:cubicBezTo>
                    <a:cubicBezTo>
                      <a:pt x="32" y="336"/>
                      <a:pt x="32" y="336"/>
                      <a:pt x="33" y="336"/>
                    </a:cubicBezTo>
                    <a:cubicBezTo>
                      <a:pt x="33" y="337"/>
                      <a:pt x="33" y="337"/>
                      <a:pt x="33" y="337"/>
                    </a:cubicBezTo>
                    <a:cubicBezTo>
                      <a:pt x="34" y="337"/>
                      <a:pt x="35" y="338"/>
                      <a:pt x="35" y="338"/>
                    </a:cubicBezTo>
                    <a:cubicBezTo>
                      <a:pt x="36" y="339"/>
                      <a:pt x="37" y="340"/>
                      <a:pt x="38" y="340"/>
                    </a:cubicBezTo>
                    <a:cubicBezTo>
                      <a:pt x="39" y="341"/>
                      <a:pt x="39" y="341"/>
                      <a:pt x="40" y="342"/>
                    </a:cubicBezTo>
                    <a:cubicBezTo>
                      <a:pt x="41" y="343"/>
                      <a:pt x="41" y="343"/>
                      <a:pt x="41" y="343"/>
                    </a:cubicBezTo>
                    <a:cubicBezTo>
                      <a:pt x="46" y="346"/>
                      <a:pt x="48" y="349"/>
                      <a:pt x="49" y="351"/>
                    </a:cubicBezTo>
                    <a:cubicBezTo>
                      <a:pt x="51" y="353"/>
                      <a:pt x="52" y="356"/>
                      <a:pt x="51" y="359"/>
                    </a:cubicBezTo>
                    <a:cubicBezTo>
                      <a:pt x="51" y="359"/>
                      <a:pt x="47" y="370"/>
                      <a:pt x="44" y="370"/>
                    </a:cubicBezTo>
                    <a:cubicBezTo>
                      <a:pt x="43" y="370"/>
                      <a:pt x="43" y="370"/>
                      <a:pt x="43" y="370"/>
                    </a:cubicBezTo>
                    <a:cubicBezTo>
                      <a:pt x="41" y="371"/>
                      <a:pt x="38" y="371"/>
                      <a:pt x="36" y="371"/>
                    </a:cubicBezTo>
                    <a:cubicBezTo>
                      <a:pt x="37" y="373"/>
                      <a:pt x="37" y="374"/>
                      <a:pt x="38" y="375"/>
                    </a:cubicBezTo>
                    <a:cubicBezTo>
                      <a:pt x="41" y="381"/>
                      <a:pt x="44" y="387"/>
                      <a:pt x="43" y="393"/>
                    </a:cubicBezTo>
                    <a:cubicBezTo>
                      <a:pt x="42" y="394"/>
                      <a:pt x="42" y="394"/>
                      <a:pt x="42" y="394"/>
                    </a:cubicBezTo>
                    <a:cubicBezTo>
                      <a:pt x="41" y="398"/>
                      <a:pt x="40" y="402"/>
                      <a:pt x="39" y="406"/>
                    </a:cubicBezTo>
                    <a:cubicBezTo>
                      <a:pt x="39" y="407"/>
                      <a:pt x="39" y="407"/>
                      <a:pt x="39" y="407"/>
                    </a:cubicBezTo>
                    <a:cubicBezTo>
                      <a:pt x="42" y="408"/>
                      <a:pt x="42" y="408"/>
                      <a:pt x="42" y="408"/>
                    </a:cubicBezTo>
                    <a:cubicBezTo>
                      <a:pt x="39" y="408"/>
                      <a:pt x="39" y="408"/>
                      <a:pt x="39" y="408"/>
                    </a:cubicBezTo>
                    <a:cubicBezTo>
                      <a:pt x="38" y="411"/>
                      <a:pt x="38" y="411"/>
                      <a:pt x="38" y="411"/>
                    </a:cubicBezTo>
                    <a:cubicBezTo>
                      <a:pt x="36" y="415"/>
                      <a:pt x="33" y="416"/>
                      <a:pt x="30" y="416"/>
                    </a:cubicBezTo>
                    <a:cubicBezTo>
                      <a:pt x="30" y="417"/>
                      <a:pt x="29" y="417"/>
                      <a:pt x="28" y="417"/>
                    </a:cubicBezTo>
                    <a:cubicBezTo>
                      <a:pt x="24" y="419"/>
                      <a:pt x="24" y="419"/>
                      <a:pt x="24" y="419"/>
                    </a:cubicBezTo>
                    <a:cubicBezTo>
                      <a:pt x="24" y="419"/>
                      <a:pt x="24" y="420"/>
                      <a:pt x="24" y="420"/>
                    </a:cubicBezTo>
                    <a:cubicBezTo>
                      <a:pt x="24" y="423"/>
                      <a:pt x="22" y="425"/>
                      <a:pt x="21" y="427"/>
                    </a:cubicBezTo>
                    <a:cubicBezTo>
                      <a:pt x="20" y="428"/>
                      <a:pt x="20" y="428"/>
                      <a:pt x="20" y="431"/>
                    </a:cubicBezTo>
                    <a:cubicBezTo>
                      <a:pt x="20" y="432"/>
                      <a:pt x="21" y="433"/>
                      <a:pt x="21" y="434"/>
                    </a:cubicBezTo>
                    <a:cubicBezTo>
                      <a:pt x="22" y="438"/>
                      <a:pt x="22" y="442"/>
                      <a:pt x="22" y="445"/>
                    </a:cubicBezTo>
                    <a:cubicBezTo>
                      <a:pt x="16" y="462"/>
                      <a:pt x="16" y="462"/>
                      <a:pt x="16" y="462"/>
                    </a:cubicBezTo>
                    <a:cubicBezTo>
                      <a:pt x="13" y="460"/>
                      <a:pt x="13" y="460"/>
                      <a:pt x="13" y="460"/>
                    </a:cubicBezTo>
                    <a:cubicBezTo>
                      <a:pt x="12" y="460"/>
                      <a:pt x="11" y="459"/>
                      <a:pt x="10" y="459"/>
                    </a:cubicBezTo>
                    <a:cubicBezTo>
                      <a:pt x="9" y="459"/>
                      <a:pt x="9" y="459"/>
                      <a:pt x="9" y="459"/>
                    </a:cubicBezTo>
                    <a:cubicBezTo>
                      <a:pt x="6" y="457"/>
                      <a:pt x="3" y="456"/>
                      <a:pt x="1" y="455"/>
                    </a:cubicBezTo>
                    <a:cubicBezTo>
                      <a:pt x="0" y="461"/>
                      <a:pt x="1" y="467"/>
                      <a:pt x="2" y="474"/>
                    </a:cubicBezTo>
                    <a:cubicBezTo>
                      <a:pt x="2" y="476"/>
                      <a:pt x="2" y="480"/>
                      <a:pt x="3" y="481"/>
                    </a:cubicBezTo>
                    <a:cubicBezTo>
                      <a:pt x="3" y="481"/>
                      <a:pt x="3" y="481"/>
                      <a:pt x="3" y="481"/>
                    </a:cubicBezTo>
                    <a:cubicBezTo>
                      <a:pt x="4" y="481"/>
                      <a:pt x="4" y="481"/>
                      <a:pt x="4" y="480"/>
                    </a:cubicBezTo>
                    <a:cubicBezTo>
                      <a:pt x="4" y="480"/>
                      <a:pt x="4" y="480"/>
                      <a:pt x="5" y="480"/>
                    </a:cubicBezTo>
                    <a:cubicBezTo>
                      <a:pt x="5" y="480"/>
                      <a:pt x="5" y="480"/>
                      <a:pt x="5" y="480"/>
                    </a:cubicBezTo>
                    <a:cubicBezTo>
                      <a:pt x="6" y="482"/>
                      <a:pt x="7" y="484"/>
                      <a:pt x="8" y="484"/>
                    </a:cubicBezTo>
                    <a:cubicBezTo>
                      <a:pt x="9" y="484"/>
                      <a:pt x="10" y="483"/>
                      <a:pt x="11" y="482"/>
                    </a:cubicBezTo>
                    <a:cubicBezTo>
                      <a:pt x="12" y="481"/>
                      <a:pt x="11" y="477"/>
                      <a:pt x="14" y="477"/>
                    </a:cubicBezTo>
                    <a:cubicBezTo>
                      <a:pt x="14" y="477"/>
                      <a:pt x="15" y="477"/>
                      <a:pt x="15" y="478"/>
                    </a:cubicBezTo>
                    <a:cubicBezTo>
                      <a:pt x="14" y="480"/>
                      <a:pt x="12" y="482"/>
                      <a:pt x="11" y="485"/>
                    </a:cubicBezTo>
                    <a:cubicBezTo>
                      <a:pt x="14" y="484"/>
                      <a:pt x="17" y="483"/>
                      <a:pt x="20" y="482"/>
                    </a:cubicBezTo>
                    <a:cubicBezTo>
                      <a:pt x="20" y="482"/>
                      <a:pt x="20" y="482"/>
                      <a:pt x="20" y="482"/>
                    </a:cubicBezTo>
                    <a:cubicBezTo>
                      <a:pt x="20" y="484"/>
                      <a:pt x="20" y="484"/>
                      <a:pt x="20" y="484"/>
                    </a:cubicBezTo>
                    <a:cubicBezTo>
                      <a:pt x="21" y="484"/>
                      <a:pt x="21" y="484"/>
                      <a:pt x="21" y="484"/>
                    </a:cubicBezTo>
                    <a:cubicBezTo>
                      <a:pt x="21" y="485"/>
                      <a:pt x="21" y="486"/>
                      <a:pt x="21" y="487"/>
                    </a:cubicBezTo>
                    <a:cubicBezTo>
                      <a:pt x="21" y="487"/>
                      <a:pt x="21" y="487"/>
                      <a:pt x="21" y="487"/>
                    </a:cubicBezTo>
                    <a:cubicBezTo>
                      <a:pt x="21" y="487"/>
                      <a:pt x="20" y="487"/>
                      <a:pt x="20" y="488"/>
                    </a:cubicBezTo>
                    <a:cubicBezTo>
                      <a:pt x="19" y="489"/>
                      <a:pt x="19" y="491"/>
                      <a:pt x="19" y="492"/>
                    </a:cubicBezTo>
                    <a:cubicBezTo>
                      <a:pt x="18" y="494"/>
                      <a:pt x="18" y="495"/>
                      <a:pt x="18" y="497"/>
                    </a:cubicBezTo>
                    <a:cubicBezTo>
                      <a:pt x="17" y="499"/>
                      <a:pt x="15" y="504"/>
                      <a:pt x="18" y="504"/>
                    </a:cubicBezTo>
                    <a:cubicBezTo>
                      <a:pt x="18" y="504"/>
                      <a:pt x="19" y="504"/>
                      <a:pt x="20" y="504"/>
                    </a:cubicBezTo>
                    <a:cubicBezTo>
                      <a:pt x="19" y="504"/>
                      <a:pt x="17" y="506"/>
                      <a:pt x="17" y="507"/>
                    </a:cubicBezTo>
                    <a:cubicBezTo>
                      <a:pt x="17" y="508"/>
                      <a:pt x="19" y="510"/>
                      <a:pt x="20" y="511"/>
                    </a:cubicBezTo>
                    <a:cubicBezTo>
                      <a:pt x="23" y="513"/>
                      <a:pt x="22" y="515"/>
                      <a:pt x="22" y="518"/>
                    </a:cubicBezTo>
                    <a:cubicBezTo>
                      <a:pt x="21" y="521"/>
                      <a:pt x="25" y="524"/>
                      <a:pt x="26" y="526"/>
                    </a:cubicBezTo>
                    <a:cubicBezTo>
                      <a:pt x="29" y="531"/>
                      <a:pt x="31" y="536"/>
                      <a:pt x="35" y="540"/>
                    </a:cubicBezTo>
                    <a:cubicBezTo>
                      <a:pt x="36" y="542"/>
                      <a:pt x="38" y="543"/>
                      <a:pt x="40" y="545"/>
                    </a:cubicBezTo>
                    <a:cubicBezTo>
                      <a:pt x="41" y="546"/>
                      <a:pt x="43" y="550"/>
                      <a:pt x="45" y="551"/>
                    </a:cubicBezTo>
                    <a:cubicBezTo>
                      <a:pt x="49" y="553"/>
                      <a:pt x="51" y="551"/>
                      <a:pt x="50" y="558"/>
                    </a:cubicBezTo>
                    <a:cubicBezTo>
                      <a:pt x="50" y="559"/>
                      <a:pt x="48" y="559"/>
                      <a:pt x="46" y="559"/>
                    </a:cubicBezTo>
                    <a:cubicBezTo>
                      <a:pt x="46" y="559"/>
                      <a:pt x="46" y="559"/>
                      <a:pt x="46" y="559"/>
                    </a:cubicBezTo>
                    <a:cubicBezTo>
                      <a:pt x="46" y="559"/>
                      <a:pt x="46" y="559"/>
                      <a:pt x="45" y="559"/>
                    </a:cubicBezTo>
                    <a:cubicBezTo>
                      <a:pt x="44" y="559"/>
                      <a:pt x="43" y="559"/>
                      <a:pt x="42" y="559"/>
                    </a:cubicBezTo>
                    <a:cubicBezTo>
                      <a:pt x="41" y="561"/>
                      <a:pt x="42" y="560"/>
                      <a:pt x="43" y="561"/>
                    </a:cubicBezTo>
                    <a:cubicBezTo>
                      <a:pt x="45" y="562"/>
                      <a:pt x="45" y="562"/>
                      <a:pt x="45" y="562"/>
                    </a:cubicBezTo>
                    <a:cubicBezTo>
                      <a:pt x="46" y="563"/>
                      <a:pt x="46" y="566"/>
                      <a:pt x="46" y="568"/>
                    </a:cubicBezTo>
                    <a:cubicBezTo>
                      <a:pt x="43" y="567"/>
                      <a:pt x="41" y="566"/>
                      <a:pt x="38" y="565"/>
                    </a:cubicBezTo>
                    <a:cubicBezTo>
                      <a:pt x="40" y="567"/>
                      <a:pt x="41" y="571"/>
                      <a:pt x="42" y="573"/>
                    </a:cubicBezTo>
                    <a:cubicBezTo>
                      <a:pt x="44" y="576"/>
                      <a:pt x="46" y="579"/>
                      <a:pt x="47" y="582"/>
                    </a:cubicBezTo>
                    <a:cubicBezTo>
                      <a:pt x="48" y="583"/>
                      <a:pt x="49" y="586"/>
                      <a:pt x="50" y="587"/>
                    </a:cubicBezTo>
                    <a:cubicBezTo>
                      <a:pt x="53" y="589"/>
                      <a:pt x="54" y="589"/>
                      <a:pt x="54" y="592"/>
                    </a:cubicBezTo>
                    <a:cubicBezTo>
                      <a:pt x="54" y="592"/>
                      <a:pt x="52" y="591"/>
                      <a:pt x="52" y="592"/>
                    </a:cubicBezTo>
                    <a:cubicBezTo>
                      <a:pt x="51" y="594"/>
                      <a:pt x="52" y="597"/>
                      <a:pt x="52" y="599"/>
                    </a:cubicBezTo>
                    <a:cubicBezTo>
                      <a:pt x="51" y="598"/>
                      <a:pt x="51" y="598"/>
                      <a:pt x="51" y="598"/>
                    </a:cubicBezTo>
                    <a:cubicBezTo>
                      <a:pt x="51" y="600"/>
                      <a:pt x="49" y="601"/>
                      <a:pt x="48" y="601"/>
                    </a:cubicBezTo>
                    <a:cubicBezTo>
                      <a:pt x="61" y="601"/>
                      <a:pt x="74" y="601"/>
                      <a:pt x="87" y="600"/>
                    </a:cubicBezTo>
                    <a:cubicBezTo>
                      <a:pt x="88" y="600"/>
                      <a:pt x="90" y="596"/>
                      <a:pt x="91" y="595"/>
                    </a:cubicBezTo>
                    <a:cubicBezTo>
                      <a:pt x="91" y="594"/>
                      <a:pt x="90" y="592"/>
                      <a:pt x="90" y="591"/>
                    </a:cubicBezTo>
                    <a:cubicBezTo>
                      <a:pt x="88" y="587"/>
                      <a:pt x="86" y="584"/>
                      <a:pt x="89" y="581"/>
                    </a:cubicBezTo>
                    <a:cubicBezTo>
                      <a:pt x="94" y="573"/>
                      <a:pt x="106" y="572"/>
                      <a:pt x="114" y="571"/>
                    </a:cubicBezTo>
                    <a:cubicBezTo>
                      <a:pt x="118" y="570"/>
                      <a:pt x="122" y="569"/>
                      <a:pt x="125" y="569"/>
                    </a:cubicBezTo>
                    <a:cubicBezTo>
                      <a:pt x="126" y="569"/>
                      <a:pt x="127" y="569"/>
                      <a:pt x="127" y="569"/>
                    </a:cubicBezTo>
                    <a:cubicBezTo>
                      <a:pt x="130" y="569"/>
                      <a:pt x="131" y="572"/>
                      <a:pt x="133" y="573"/>
                    </a:cubicBezTo>
                    <a:cubicBezTo>
                      <a:pt x="139" y="567"/>
                      <a:pt x="142" y="559"/>
                      <a:pt x="147" y="552"/>
                    </a:cubicBezTo>
                    <a:cubicBezTo>
                      <a:pt x="148" y="550"/>
                      <a:pt x="151" y="547"/>
                      <a:pt x="151" y="545"/>
                    </a:cubicBezTo>
                    <a:cubicBezTo>
                      <a:pt x="151" y="545"/>
                      <a:pt x="151" y="545"/>
                      <a:pt x="151" y="545"/>
                    </a:cubicBezTo>
                    <a:cubicBezTo>
                      <a:pt x="151" y="545"/>
                      <a:pt x="150" y="545"/>
                      <a:pt x="150" y="545"/>
                    </a:cubicBezTo>
                    <a:cubicBezTo>
                      <a:pt x="150" y="543"/>
                      <a:pt x="150" y="540"/>
                      <a:pt x="150" y="538"/>
                    </a:cubicBezTo>
                    <a:cubicBezTo>
                      <a:pt x="151" y="534"/>
                      <a:pt x="151" y="536"/>
                      <a:pt x="154" y="534"/>
                    </a:cubicBezTo>
                    <a:cubicBezTo>
                      <a:pt x="154" y="534"/>
                      <a:pt x="150" y="527"/>
                      <a:pt x="152" y="524"/>
                    </a:cubicBezTo>
                    <a:cubicBezTo>
                      <a:pt x="154" y="521"/>
                      <a:pt x="158" y="520"/>
                      <a:pt x="157" y="516"/>
                    </a:cubicBezTo>
                    <a:cubicBezTo>
                      <a:pt x="156" y="513"/>
                      <a:pt x="155" y="514"/>
                      <a:pt x="153" y="511"/>
                    </a:cubicBezTo>
                    <a:cubicBezTo>
                      <a:pt x="153" y="511"/>
                      <a:pt x="154" y="511"/>
                      <a:pt x="154" y="511"/>
                    </a:cubicBezTo>
                    <a:cubicBezTo>
                      <a:pt x="154" y="511"/>
                      <a:pt x="154" y="511"/>
                      <a:pt x="154" y="511"/>
                    </a:cubicBezTo>
                    <a:cubicBezTo>
                      <a:pt x="154" y="511"/>
                      <a:pt x="155" y="511"/>
                      <a:pt x="155" y="511"/>
                    </a:cubicBezTo>
                    <a:cubicBezTo>
                      <a:pt x="155" y="511"/>
                      <a:pt x="156" y="511"/>
                      <a:pt x="156" y="512"/>
                    </a:cubicBezTo>
                    <a:cubicBezTo>
                      <a:pt x="156" y="510"/>
                      <a:pt x="155" y="509"/>
                      <a:pt x="154" y="508"/>
                    </a:cubicBezTo>
                    <a:cubicBezTo>
                      <a:pt x="155" y="508"/>
                      <a:pt x="156" y="508"/>
                      <a:pt x="157" y="508"/>
                    </a:cubicBezTo>
                    <a:cubicBezTo>
                      <a:pt x="158" y="508"/>
                      <a:pt x="158" y="506"/>
                      <a:pt x="156" y="505"/>
                    </a:cubicBezTo>
                    <a:cubicBezTo>
                      <a:pt x="155" y="503"/>
                      <a:pt x="153" y="501"/>
                      <a:pt x="151" y="499"/>
                    </a:cubicBezTo>
                    <a:cubicBezTo>
                      <a:pt x="152" y="499"/>
                      <a:pt x="152" y="499"/>
                      <a:pt x="153" y="499"/>
                    </a:cubicBezTo>
                    <a:cubicBezTo>
                      <a:pt x="153" y="499"/>
                      <a:pt x="153" y="499"/>
                      <a:pt x="154" y="499"/>
                    </a:cubicBezTo>
                    <a:cubicBezTo>
                      <a:pt x="154" y="499"/>
                      <a:pt x="154" y="499"/>
                      <a:pt x="155" y="499"/>
                    </a:cubicBezTo>
                    <a:cubicBezTo>
                      <a:pt x="155" y="499"/>
                      <a:pt x="155" y="499"/>
                      <a:pt x="155" y="499"/>
                    </a:cubicBezTo>
                    <a:cubicBezTo>
                      <a:pt x="156" y="499"/>
                      <a:pt x="157" y="500"/>
                      <a:pt x="157" y="500"/>
                    </a:cubicBezTo>
                    <a:cubicBezTo>
                      <a:pt x="158" y="500"/>
                      <a:pt x="159" y="500"/>
                      <a:pt x="160" y="499"/>
                    </a:cubicBezTo>
                    <a:cubicBezTo>
                      <a:pt x="159" y="497"/>
                      <a:pt x="158" y="496"/>
                      <a:pt x="157" y="496"/>
                    </a:cubicBezTo>
                    <a:cubicBezTo>
                      <a:pt x="159" y="493"/>
                      <a:pt x="162" y="490"/>
                      <a:pt x="161" y="486"/>
                    </a:cubicBezTo>
                    <a:cubicBezTo>
                      <a:pt x="160" y="481"/>
                      <a:pt x="160" y="484"/>
                      <a:pt x="157" y="481"/>
                    </a:cubicBezTo>
                    <a:cubicBezTo>
                      <a:pt x="158" y="481"/>
                      <a:pt x="159" y="480"/>
                      <a:pt x="160" y="480"/>
                    </a:cubicBezTo>
                    <a:cubicBezTo>
                      <a:pt x="157" y="479"/>
                      <a:pt x="153" y="478"/>
                      <a:pt x="150" y="476"/>
                    </a:cubicBezTo>
                    <a:cubicBezTo>
                      <a:pt x="150" y="476"/>
                      <a:pt x="150" y="476"/>
                      <a:pt x="151" y="476"/>
                    </a:cubicBezTo>
                    <a:cubicBezTo>
                      <a:pt x="153" y="476"/>
                      <a:pt x="154" y="476"/>
                      <a:pt x="155" y="477"/>
                    </a:cubicBezTo>
                    <a:cubicBezTo>
                      <a:pt x="157" y="477"/>
                      <a:pt x="158" y="478"/>
                      <a:pt x="160" y="478"/>
                    </a:cubicBezTo>
                    <a:cubicBezTo>
                      <a:pt x="161" y="478"/>
                      <a:pt x="163" y="477"/>
                      <a:pt x="165" y="475"/>
                    </a:cubicBezTo>
                    <a:cubicBezTo>
                      <a:pt x="161" y="473"/>
                      <a:pt x="158" y="470"/>
                      <a:pt x="153" y="470"/>
                    </a:cubicBezTo>
                    <a:cubicBezTo>
                      <a:pt x="151" y="470"/>
                      <a:pt x="151" y="470"/>
                      <a:pt x="151" y="470"/>
                    </a:cubicBezTo>
                    <a:cubicBezTo>
                      <a:pt x="151" y="470"/>
                      <a:pt x="149" y="471"/>
                      <a:pt x="150" y="471"/>
                    </a:cubicBezTo>
                    <a:cubicBezTo>
                      <a:pt x="149" y="471"/>
                      <a:pt x="147" y="470"/>
                      <a:pt x="145" y="470"/>
                    </a:cubicBezTo>
                    <a:cubicBezTo>
                      <a:pt x="142" y="469"/>
                      <a:pt x="147" y="468"/>
                      <a:pt x="147" y="468"/>
                    </a:cubicBezTo>
                    <a:cubicBezTo>
                      <a:pt x="147" y="468"/>
                      <a:pt x="147" y="468"/>
                      <a:pt x="147" y="468"/>
                    </a:cubicBezTo>
                    <a:cubicBezTo>
                      <a:pt x="148" y="468"/>
                      <a:pt x="149" y="468"/>
                      <a:pt x="150" y="469"/>
                    </a:cubicBezTo>
                    <a:cubicBezTo>
                      <a:pt x="152" y="469"/>
                      <a:pt x="154" y="469"/>
                      <a:pt x="157" y="469"/>
                    </a:cubicBezTo>
                    <a:cubicBezTo>
                      <a:pt x="157" y="469"/>
                      <a:pt x="158" y="469"/>
                      <a:pt x="159" y="469"/>
                    </a:cubicBezTo>
                    <a:cubicBezTo>
                      <a:pt x="165" y="469"/>
                      <a:pt x="172" y="467"/>
                      <a:pt x="178" y="465"/>
                    </a:cubicBezTo>
                    <a:cubicBezTo>
                      <a:pt x="182" y="464"/>
                      <a:pt x="183" y="460"/>
                      <a:pt x="183" y="456"/>
                    </a:cubicBezTo>
                    <a:cubicBezTo>
                      <a:pt x="184" y="457"/>
                      <a:pt x="185" y="458"/>
                      <a:pt x="186" y="458"/>
                    </a:cubicBezTo>
                    <a:cubicBezTo>
                      <a:pt x="186" y="457"/>
                      <a:pt x="185" y="450"/>
                      <a:pt x="186" y="449"/>
                    </a:cubicBezTo>
                    <a:cubicBezTo>
                      <a:pt x="187" y="448"/>
                      <a:pt x="187" y="448"/>
                      <a:pt x="187" y="448"/>
                    </a:cubicBezTo>
                    <a:cubicBezTo>
                      <a:pt x="188" y="448"/>
                      <a:pt x="188" y="449"/>
                      <a:pt x="188" y="449"/>
                    </a:cubicBezTo>
                    <a:cubicBezTo>
                      <a:pt x="188" y="450"/>
                      <a:pt x="188" y="451"/>
                      <a:pt x="188" y="451"/>
                    </a:cubicBezTo>
                    <a:cubicBezTo>
                      <a:pt x="188" y="451"/>
                      <a:pt x="188" y="451"/>
                      <a:pt x="188" y="451"/>
                    </a:cubicBezTo>
                    <a:cubicBezTo>
                      <a:pt x="188" y="455"/>
                      <a:pt x="187" y="458"/>
                      <a:pt x="191" y="462"/>
                    </a:cubicBezTo>
                    <a:cubicBezTo>
                      <a:pt x="190" y="462"/>
                      <a:pt x="190" y="461"/>
                      <a:pt x="190" y="461"/>
                    </a:cubicBezTo>
                    <a:cubicBezTo>
                      <a:pt x="193" y="460"/>
                      <a:pt x="192" y="459"/>
                      <a:pt x="194" y="457"/>
                    </a:cubicBezTo>
                    <a:cubicBezTo>
                      <a:pt x="195" y="456"/>
                      <a:pt x="197" y="454"/>
                      <a:pt x="199" y="453"/>
                    </a:cubicBezTo>
                    <a:cubicBezTo>
                      <a:pt x="199" y="454"/>
                      <a:pt x="199" y="454"/>
                      <a:pt x="199" y="454"/>
                    </a:cubicBezTo>
                    <a:cubicBezTo>
                      <a:pt x="199" y="453"/>
                      <a:pt x="199" y="453"/>
                      <a:pt x="199" y="453"/>
                    </a:cubicBezTo>
                    <a:cubicBezTo>
                      <a:pt x="202" y="451"/>
                      <a:pt x="205" y="449"/>
                      <a:pt x="208" y="447"/>
                    </a:cubicBezTo>
                    <a:cubicBezTo>
                      <a:pt x="208" y="447"/>
                      <a:pt x="208" y="447"/>
                      <a:pt x="207" y="447"/>
                    </a:cubicBezTo>
                    <a:cubicBezTo>
                      <a:pt x="206" y="447"/>
                      <a:pt x="205" y="445"/>
                      <a:pt x="205" y="443"/>
                    </a:cubicBezTo>
                    <a:cubicBezTo>
                      <a:pt x="206" y="443"/>
                      <a:pt x="206" y="443"/>
                      <a:pt x="206" y="443"/>
                    </a:cubicBezTo>
                    <a:cubicBezTo>
                      <a:pt x="207" y="443"/>
                      <a:pt x="207" y="443"/>
                      <a:pt x="207" y="443"/>
                    </a:cubicBezTo>
                    <a:cubicBezTo>
                      <a:pt x="208" y="444"/>
                      <a:pt x="209" y="444"/>
                      <a:pt x="210" y="444"/>
                    </a:cubicBezTo>
                    <a:cubicBezTo>
                      <a:pt x="211" y="444"/>
                      <a:pt x="211" y="444"/>
                      <a:pt x="212" y="444"/>
                    </a:cubicBezTo>
                    <a:cubicBezTo>
                      <a:pt x="210" y="443"/>
                      <a:pt x="209" y="442"/>
                      <a:pt x="208" y="442"/>
                    </a:cubicBezTo>
                    <a:cubicBezTo>
                      <a:pt x="208" y="442"/>
                      <a:pt x="208" y="442"/>
                      <a:pt x="208" y="442"/>
                    </a:cubicBezTo>
                    <a:cubicBezTo>
                      <a:pt x="209" y="442"/>
                      <a:pt x="211" y="443"/>
                      <a:pt x="212" y="443"/>
                    </a:cubicBezTo>
                    <a:cubicBezTo>
                      <a:pt x="213" y="443"/>
                      <a:pt x="214" y="443"/>
                      <a:pt x="214" y="442"/>
                    </a:cubicBezTo>
                    <a:cubicBezTo>
                      <a:pt x="214" y="442"/>
                      <a:pt x="214" y="442"/>
                      <a:pt x="214" y="442"/>
                    </a:cubicBezTo>
                    <a:cubicBezTo>
                      <a:pt x="212" y="442"/>
                      <a:pt x="214" y="440"/>
                      <a:pt x="212" y="439"/>
                    </a:cubicBezTo>
                    <a:cubicBezTo>
                      <a:pt x="211" y="438"/>
                      <a:pt x="208" y="437"/>
                      <a:pt x="206" y="436"/>
                    </a:cubicBezTo>
                    <a:cubicBezTo>
                      <a:pt x="207" y="437"/>
                      <a:pt x="207" y="438"/>
                      <a:pt x="207" y="439"/>
                    </a:cubicBezTo>
                    <a:cubicBezTo>
                      <a:pt x="207" y="439"/>
                      <a:pt x="207" y="439"/>
                      <a:pt x="207" y="439"/>
                    </a:cubicBezTo>
                    <a:cubicBezTo>
                      <a:pt x="206" y="438"/>
                      <a:pt x="206" y="438"/>
                      <a:pt x="206" y="438"/>
                    </a:cubicBezTo>
                    <a:cubicBezTo>
                      <a:pt x="203" y="437"/>
                      <a:pt x="203" y="437"/>
                      <a:pt x="203" y="437"/>
                    </a:cubicBezTo>
                    <a:cubicBezTo>
                      <a:pt x="202" y="436"/>
                      <a:pt x="202" y="436"/>
                      <a:pt x="201" y="435"/>
                    </a:cubicBezTo>
                    <a:cubicBezTo>
                      <a:pt x="205" y="434"/>
                      <a:pt x="208" y="430"/>
                      <a:pt x="211" y="428"/>
                    </a:cubicBezTo>
                    <a:cubicBezTo>
                      <a:pt x="215" y="425"/>
                      <a:pt x="220" y="424"/>
                      <a:pt x="225" y="422"/>
                    </a:cubicBezTo>
                    <a:cubicBezTo>
                      <a:pt x="223" y="417"/>
                      <a:pt x="221" y="412"/>
                      <a:pt x="218" y="408"/>
                    </a:cubicBezTo>
                    <a:cubicBezTo>
                      <a:pt x="217" y="406"/>
                      <a:pt x="212" y="406"/>
                      <a:pt x="210" y="406"/>
                    </a:cubicBezTo>
                    <a:cubicBezTo>
                      <a:pt x="211" y="403"/>
                      <a:pt x="212" y="403"/>
                      <a:pt x="210" y="400"/>
                    </a:cubicBezTo>
                    <a:cubicBezTo>
                      <a:pt x="209" y="399"/>
                      <a:pt x="206" y="397"/>
                      <a:pt x="205" y="396"/>
                    </a:cubicBezTo>
                    <a:cubicBezTo>
                      <a:pt x="202" y="394"/>
                      <a:pt x="199" y="392"/>
                      <a:pt x="196" y="390"/>
                    </a:cubicBezTo>
                    <a:cubicBezTo>
                      <a:pt x="196" y="389"/>
                      <a:pt x="195" y="387"/>
                      <a:pt x="195" y="387"/>
                    </a:cubicBezTo>
                    <a:cubicBezTo>
                      <a:pt x="194" y="387"/>
                      <a:pt x="194" y="387"/>
                      <a:pt x="193" y="387"/>
                    </a:cubicBezTo>
                    <a:cubicBezTo>
                      <a:pt x="192" y="387"/>
                      <a:pt x="191" y="387"/>
                      <a:pt x="190" y="388"/>
                    </a:cubicBezTo>
                    <a:cubicBezTo>
                      <a:pt x="188" y="389"/>
                      <a:pt x="187" y="389"/>
                      <a:pt x="186" y="389"/>
                    </a:cubicBezTo>
                    <a:cubicBezTo>
                      <a:pt x="185" y="389"/>
                      <a:pt x="184" y="389"/>
                      <a:pt x="183" y="389"/>
                    </a:cubicBezTo>
                    <a:cubicBezTo>
                      <a:pt x="181" y="386"/>
                      <a:pt x="176" y="382"/>
                      <a:pt x="172" y="382"/>
                    </a:cubicBezTo>
                    <a:cubicBezTo>
                      <a:pt x="172" y="382"/>
                      <a:pt x="172" y="382"/>
                      <a:pt x="171" y="382"/>
                    </a:cubicBezTo>
                    <a:cubicBezTo>
                      <a:pt x="172" y="381"/>
                      <a:pt x="174" y="381"/>
                      <a:pt x="175" y="380"/>
                    </a:cubicBezTo>
                    <a:cubicBezTo>
                      <a:pt x="176" y="379"/>
                      <a:pt x="174" y="378"/>
                      <a:pt x="174" y="377"/>
                    </a:cubicBezTo>
                    <a:cubicBezTo>
                      <a:pt x="173" y="376"/>
                      <a:pt x="172" y="374"/>
                      <a:pt x="171" y="372"/>
                    </a:cubicBezTo>
                    <a:cubicBezTo>
                      <a:pt x="171" y="370"/>
                      <a:pt x="170" y="370"/>
                      <a:pt x="170" y="367"/>
                    </a:cubicBezTo>
                    <a:cubicBezTo>
                      <a:pt x="170" y="363"/>
                      <a:pt x="170" y="360"/>
                      <a:pt x="170" y="356"/>
                    </a:cubicBezTo>
                    <a:cubicBezTo>
                      <a:pt x="171" y="356"/>
                      <a:pt x="172" y="357"/>
                      <a:pt x="172" y="357"/>
                    </a:cubicBezTo>
                    <a:cubicBezTo>
                      <a:pt x="173" y="357"/>
                      <a:pt x="170" y="353"/>
                      <a:pt x="169" y="353"/>
                    </a:cubicBezTo>
                    <a:cubicBezTo>
                      <a:pt x="169" y="351"/>
                      <a:pt x="171" y="350"/>
                      <a:pt x="170" y="347"/>
                    </a:cubicBezTo>
                    <a:cubicBezTo>
                      <a:pt x="169" y="347"/>
                      <a:pt x="169" y="346"/>
                      <a:pt x="168" y="345"/>
                    </a:cubicBezTo>
                    <a:cubicBezTo>
                      <a:pt x="168" y="345"/>
                      <a:pt x="169" y="345"/>
                      <a:pt x="169" y="345"/>
                    </a:cubicBezTo>
                    <a:cubicBezTo>
                      <a:pt x="169" y="345"/>
                      <a:pt x="169" y="345"/>
                      <a:pt x="170" y="345"/>
                    </a:cubicBezTo>
                    <a:cubicBezTo>
                      <a:pt x="170" y="345"/>
                      <a:pt x="171" y="345"/>
                      <a:pt x="171" y="345"/>
                    </a:cubicBezTo>
                    <a:cubicBezTo>
                      <a:pt x="171" y="345"/>
                      <a:pt x="171" y="345"/>
                      <a:pt x="172" y="345"/>
                    </a:cubicBezTo>
                    <a:cubicBezTo>
                      <a:pt x="171" y="345"/>
                      <a:pt x="169" y="344"/>
                      <a:pt x="168" y="344"/>
                    </a:cubicBezTo>
                    <a:cubicBezTo>
                      <a:pt x="170" y="343"/>
                      <a:pt x="171" y="343"/>
                      <a:pt x="172" y="343"/>
                    </a:cubicBezTo>
                    <a:cubicBezTo>
                      <a:pt x="171" y="342"/>
                      <a:pt x="170" y="342"/>
                      <a:pt x="169" y="341"/>
                    </a:cubicBezTo>
                    <a:cubicBezTo>
                      <a:pt x="172" y="341"/>
                      <a:pt x="173" y="339"/>
                      <a:pt x="169" y="338"/>
                    </a:cubicBezTo>
                    <a:cubicBezTo>
                      <a:pt x="170" y="338"/>
                      <a:pt x="171" y="338"/>
                      <a:pt x="171" y="338"/>
                    </a:cubicBezTo>
                    <a:cubicBezTo>
                      <a:pt x="173" y="338"/>
                      <a:pt x="175" y="338"/>
                      <a:pt x="176" y="339"/>
                    </a:cubicBezTo>
                    <a:cubicBezTo>
                      <a:pt x="178" y="340"/>
                      <a:pt x="177" y="342"/>
                      <a:pt x="180" y="342"/>
                    </a:cubicBezTo>
                    <a:cubicBezTo>
                      <a:pt x="178" y="339"/>
                      <a:pt x="175" y="336"/>
                      <a:pt x="175" y="333"/>
                    </a:cubicBezTo>
                    <a:cubicBezTo>
                      <a:pt x="175" y="327"/>
                      <a:pt x="181" y="322"/>
                      <a:pt x="180" y="316"/>
                    </a:cubicBezTo>
                    <a:cubicBezTo>
                      <a:pt x="180" y="316"/>
                      <a:pt x="179" y="313"/>
                      <a:pt x="179" y="312"/>
                    </a:cubicBezTo>
                    <a:cubicBezTo>
                      <a:pt x="179" y="312"/>
                      <a:pt x="177" y="311"/>
                      <a:pt x="177" y="311"/>
                    </a:cubicBezTo>
                    <a:cubicBezTo>
                      <a:pt x="177" y="311"/>
                      <a:pt x="177" y="311"/>
                      <a:pt x="177" y="311"/>
                    </a:cubicBezTo>
                    <a:cubicBezTo>
                      <a:pt x="176" y="309"/>
                      <a:pt x="177" y="306"/>
                      <a:pt x="176" y="305"/>
                    </a:cubicBezTo>
                    <a:cubicBezTo>
                      <a:pt x="176" y="305"/>
                      <a:pt x="176" y="305"/>
                      <a:pt x="177" y="305"/>
                    </a:cubicBezTo>
                    <a:cubicBezTo>
                      <a:pt x="178" y="305"/>
                      <a:pt x="179" y="305"/>
                      <a:pt x="180" y="305"/>
                    </a:cubicBezTo>
                    <a:cubicBezTo>
                      <a:pt x="181" y="306"/>
                      <a:pt x="183" y="306"/>
                      <a:pt x="184" y="306"/>
                    </a:cubicBezTo>
                    <a:cubicBezTo>
                      <a:pt x="184" y="306"/>
                      <a:pt x="184" y="306"/>
                      <a:pt x="184" y="306"/>
                    </a:cubicBezTo>
                    <a:cubicBezTo>
                      <a:pt x="189" y="306"/>
                      <a:pt x="190" y="302"/>
                      <a:pt x="191" y="298"/>
                    </a:cubicBezTo>
                    <a:cubicBezTo>
                      <a:pt x="192" y="296"/>
                      <a:pt x="192" y="295"/>
                      <a:pt x="193" y="293"/>
                    </a:cubicBezTo>
                    <a:cubicBezTo>
                      <a:pt x="194" y="292"/>
                      <a:pt x="192" y="290"/>
                      <a:pt x="191" y="289"/>
                    </a:cubicBezTo>
                    <a:cubicBezTo>
                      <a:pt x="191" y="288"/>
                      <a:pt x="191" y="286"/>
                      <a:pt x="190" y="284"/>
                    </a:cubicBezTo>
                    <a:cubicBezTo>
                      <a:pt x="189" y="283"/>
                      <a:pt x="185" y="282"/>
                      <a:pt x="185" y="280"/>
                    </a:cubicBezTo>
                    <a:cubicBezTo>
                      <a:pt x="186" y="280"/>
                      <a:pt x="187" y="279"/>
                      <a:pt x="187" y="279"/>
                    </a:cubicBezTo>
                    <a:cubicBezTo>
                      <a:pt x="189" y="279"/>
                      <a:pt x="190" y="283"/>
                      <a:pt x="191" y="284"/>
                    </a:cubicBezTo>
                    <a:cubicBezTo>
                      <a:pt x="191" y="285"/>
                      <a:pt x="192" y="284"/>
                      <a:pt x="192" y="285"/>
                    </a:cubicBezTo>
                    <a:cubicBezTo>
                      <a:pt x="192" y="286"/>
                      <a:pt x="191" y="287"/>
                      <a:pt x="192" y="288"/>
                    </a:cubicBezTo>
                    <a:cubicBezTo>
                      <a:pt x="192" y="289"/>
                      <a:pt x="193" y="289"/>
                      <a:pt x="194" y="289"/>
                    </a:cubicBezTo>
                    <a:cubicBezTo>
                      <a:pt x="194" y="289"/>
                      <a:pt x="195" y="289"/>
                      <a:pt x="195" y="289"/>
                    </a:cubicBezTo>
                    <a:cubicBezTo>
                      <a:pt x="196" y="289"/>
                      <a:pt x="196" y="289"/>
                      <a:pt x="197" y="289"/>
                    </a:cubicBezTo>
                    <a:cubicBezTo>
                      <a:pt x="197" y="289"/>
                      <a:pt x="198" y="289"/>
                      <a:pt x="198" y="289"/>
                    </a:cubicBezTo>
                    <a:cubicBezTo>
                      <a:pt x="197" y="290"/>
                      <a:pt x="197" y="291"/>
                      <a:pt x="197" y="291"/>
                    </a:cubicBezTo>
                    <a:cubicBezTo>
                      <a:pt x="198" y="291"/>
                      <a:pt x="198" y="290"/>
                      <a:pt x="199" y="289"/>
                    </a:cubicBezTo>
                    <a:cubicBezTo>
                      <a:pt x="200" y="287"/>
                      <a:pt x="202" y="284"/>
                      <a:pt x="203" y="281"/>
                    </a:cubicBezTo>
                    <a:cubicBezTo>
                      <a:pt x="202" y="281"/>
                      <a:pt x="202" y="281"/>
                      <a:pt x="201" y="281"/>
                    </a:cubicBezTo>
                    <a:cubicBezTo>
                      <a:pt x="204" y="280"/>
                      <a:pt x="218" y="272"/>
                      <a:pt x="222" y="272"/>
                    </a:cubicBezTo>
                    <a:cubicBezTo>
                      <a:pt x="223" y="272"/>
                      <a:pt x="223" y="272"/>
                      <a:pt x="224" y="273"/>
                    </a:cubicBezTo>
                    <a:cubicBezTo>
                      <a:pt x="226" y="269"/>
                      <a:pt x="228" y="266"/>
                      <a:pt x="230" y="262"/>
                    </a:cubicBezTo>
                    <a:cubicBezTo>
                      <a:pt x="231" y="261"/>
                      <a:pt x="232" y="261"/>
                      <a:pt x="233" y="261"/>
                    </a:cubicBezTo>
                    <a:cubicBezTo>
                      <a:pt x="234" y="261"/>
                      <a:pt x="236" y="261"/>
                      <a:pt x="237" y="262"/>
                    </a:cubicBezTo>
                    <a:cubicBezTo>
                      <a:pt x="237" y="260"/>
                      <a:pt x="235" y="258"/>
                      <a:pt x="235" y="256"/>
                    </a:cubicBezTo>
                    <a:cubicBezTo>
                      <a:pt x="240" y="257"/>
                      <a:pt x="240" y="261"/>
                      <a:pt x="243" y="261"/>
                    </a:cubicBezTo>
                    <a:cubicBezTo>
                      <a:pt x="243" y="261"/>
                      <a:pt x="245" y="260"/>
                      <a:pt x="246" y="259"/>
                    </a:cubicBezTo>
                    <a:cubicBezTo>
                      <a:pt x="251" y="254"/>
                      <a:pt x="256" y="251"/>
                      <a:pt x="262" y="249"/>
                    </a:cubicBezTo>
                    <a:cubicBezTo>
                      <a:pt x="262" y="250"/>
                      <a:pt x="262" y="250"/>
                      <a:pt x="263" y="250"/>
                    </a:cubicBezTo>
                    <a:cubicBezTo>
                      <a:pt x="264" y="250"/>
                      <a:pt x="265" y="248"/>
                      <a:pt x="266" y="248"/>
                    </a:cubicBezTo>
                    <a:cubicBezTo>
                      <a:pt x="269" y="246"/>
                      <a:pt x="271" y="245"/>
                      <a:pt x="272" y="243"/>
                    </a:cubicBezTo>
                    <a:cubicBezTo>
                      <a:pt x="277" y="238"/>
                      <a:pt x="280" y="232"/>
                      <a:pt x="284" y="226"/>
                    </a:cubicBezTo>
                    <a:cubicBezTo>
                      <a:pt x="286" y="223"/>
                      <a:pt x="288" y="224"/>
                      <a:pt x="290" y="222"/>
                    </a:cubicBezTo>
                    <a:cubicBezTo>
                      <a:pt x="291" y="220"/>
                      <a:pt x="295" y="217"/>
                      <a:pt x="297" y="217"/>
                    </a:cubicBezTo>
                    <a:cubicBezTo>
                      <a:pt x="293" y="216"/>
                      <a:pt x="293" y="216"/>
                      <a:pt x="292" y="213"/>
                    </a:cubicBezTo>
                    <a:cubicBezTo>
                      <a:pt x="293" y="213"/>
                      <a:pt x="294" y="213"/>
                      <a:pt x="295" y="213"/>
                    </a:cubicBezTo>
                    <a:cubicBezTo>
                      <a:pt x="295" y="213"/>
                      <a:pt x="295" y="213"/>
                      <a:pt x="296" y="213"/>
                    </a:cubicBezTo>
                    <a:cubicBezTo>
                      <a:pt x="294" y="210"/>
                      <a:pt x="291" y="210"/>
                      <a:pt x="289" y="209"/>
                    </a:cubicBezTo>
                    <a:cubicBezTo>
                      <a:pt x="288" y="208"/>
                      <a:pt x="286" y="206"/>
                      <a:pt x="283" y="205"/>
                    </a:cubicBezTo>
                    <a:cubicBezTo>
                      <a:pt x="285" y="205"/>
                      <a:pt x="286" y="206"/>
                      <a:pt x="288" y="206"/>
                    </a:cubicBezTo>
                    <a:cubicBezTo>
                      <a:pt x="288" y="205"/>
                      <a:pt x="287" y="201"/>
                      <a:pt x="285" y="201"/>
                    </a:cubicBezTo>
                    <a:cubicBezTo>
                      <a:pt x="285" y="201"/>
                      <a:pt x="285" y="201"/>
                      <a:pt x="285" y="201"/>
                    </a:cubicBezTo>
                    <a:cubicBezTo>
                      <a:pt x="285" y="201"/>
                      <a:pt x="284" y="201"/>
                      <a:pt x="284" y="201"/>
                    </a:cubicBezTo>
                    <a:cubicBezTo>
                      <a:pt x="283" y="201"/>
                      <a:pt x="282" y="201"/>
                      <a:pt x="282" y="201"/>
                    </a:cubicBezTo>
                    <a:cubicBezTo>
                      <a:pt x="278" y="197"/>
                      <a:pt x="293" y="190"/>
                      <a:pt x="295" y="188"/>
                    </a:cubicBezTo>
                    <a:cubicBezTo>
                      <a:pt x="298" y="186"/>
                      <a:pt x="294" y="181"/>
                      <a:pt x="297" y="179"/>
                    </a:cubicBezTo>
                    <a:cubicBezTo>
                      <a:pt x="299" y="178"/>
                      <a:pt x="301" y="177"/>
                      <a:pt x="299" y="176"/>
                    </a:cubicBezTo>
                    <a:cubicBezTo>
                      <a:pt x="299" y="176"/>
                      <a:pt x="296" y="175"/>
                      <a:pt x="296" y="175"/>
                    </a:cubicBezTo>
                    <a:cubicBezTo>
                      <a:pt x="296" y="175"/>
                      <a:pt x="296" y="175"/>
                      <a:pt x="296" y="175"/>
                    </a:cubicBezTo>
                    <a:cubicBezTo>
                      <a:pt x="288" y="175"/>
                      <a:pt x="302" y="168"/>
                      <a:pt x="303" y="167"/>
                    </a:cubicBezTo>
                    <a:cubicBezTo>
                      <a:pt x="305" y="165"/>
                      <a:pt x="308" y="163"/>
                      <a:pt x="311" y="163"/>
                    </a:cubicBezTo>
                    <a:cubicBezTo>
                      <a:pt x="311" y="163"/>
                      <a:pt x="311" y="163"/>
                      <a:pt x="312" y="163"/>
                    </a:cubicBezTo>
                    <a:cubicBezTo>
                      <a:pt x="313" y="163"/>
                      <a:pt x="315" y="164"/>
                      <a:pt x="317" y="164"/>
                    </a:cubicBezTo>
                    <a:cubicBezTo>
                      <a:pt x="319" y="164"/>
                      <a:pt x="320" y="164"/>
                      <a:pt x="319" y="161"/>
                    </a:cubicBezTo>
                    <a:cubicBezTo>
                      <a:pt x="319" y="160"/>
                      <a:pt x="314" y="161"/>
                      <a:pt x="316" y="158"/>
                    </a:cubicBezTo>
                    <a:cubicBezTo>
                      <a:pt x="316" y="157"/>
                      <a:pt x="318" y="157"/>
                      <a:pt x="318" y="156"/>
                    </a:cubicBezTo>
                    <a:cubicBezTo>
                      <a:pt x="318" y="155"/>
                      <a:pt x="317" y="155"/>
                      <a:pt x="317" y="154"/>
                    </a:cubicBezTo>
                    <a:cubicBezTo>
                      <a:pt x="318" y="153"/>
                      <a:pt x="319" y="152"/>
                      <a:pt x="319" y="151"/>
                    </a:cubicBezTo>
                    <a:cubicBezTo>
                      <a:pt x="321" y="152"/>
                      <a:pt x="323" y="154"/>
                      <a:pt x="326" y="154"/>
                    </a:cubicBezTo>
                    <a:cubicBezTo>
                      <a:pt x="326" y="154"/>
                      <a:pt x="326" y="155"/>
                      <a:pt x="326" y="155"/>
                    </a:cubicBezTo>
                    <a:cubicBezTo>
                      <a:pt x="328" y="155"/>
                      <a:pt x="328" y="152"/>
                      <a:pt x="328" y="150"/>
                    </a:cubicBezTo>
                    <a:cubicBezTo>
                      <a:pt x="330" y="151"/>
                      <a:pt x="339" y="156"/>
                      <a:pt x="339" y="158"/>
                    </a:cubicBezTo>
                    <a:cubicBezTo>
                      <a:pt x="340" y="157"/>
                      <a:pt x="343" y="153"/>
                      <a:pt x="341" y="152"/>
                    </a:cubicBezTo>
                    <a:cubicBezTo>
                      <a:pt x="343" y="152"/>
                      <a:pt x="344" y="152"/>
                      <a:pt x="346" y="152"/>
                    </a:cubicBezTo>
                    <a:cubicBezTo>
                      <a:pt x="352" y="152"/>
                      <a:pt x="358" y="152"/>
                      <a:pt x="364" y="152"/>
                    </a:cubicBezTo>
                    <a:cubicBezTo>
                      <a:pt x="360" y="141"/>
                      <a:pt x="360" y="141"/>
                      <a:pt x="360" y="141"/>
                    </a:cubicBezTo>
                    <a:cubicBezTo>
                      <a:pt x="359" y="140"/>
                      <a:pt x="359" y="139"/>
                      <a:pt x="358" y="138"/>
                    </a:cubicBezTo>
                    <a:cubicBezTo>
                      <a:pt x="356" y="137"/>
                      <a:pt x="355" y="136"/>
                      <a:pt x="354" y="134"/>
                    </a:cubicBezTo>
                    <a:cubicBezTo>
                      <a:pt x="353" y="134"/>
                      <a:pt x="353" y="133"/>
                      <a:pt x="353" y="133"/>
                    </a:cubicBezTo>
                    <a:cubicBezTo>
                      <a:pt x="353" y="132"/>
                      <a:pt x="352" y="132"/>
                      <a:pt x="352" y="131"/>
                    </a:cubicBezTo>
                    <a:cubicBezTo>
                      <a:pt x="352" y="130"/>
                      <a:pt x="352" y="129"/>
                      <a:pt x="352" y="128"/>
                    </a:cubicBezTo>
                    <a:cubicBezTo>
                      <a:pt x="352" y="127"/>
                      <a:pt x="352" y="126"/>
                      <a:pt x="353" y="125"/>
                    </a:cubicBezTo>
                    <a:cubicBezTo>
                      <a:pt x="353" y="122"/>
                      <a:pt x="355" y="119"/>
                      <a:pt x="356" y="117"/>
                    </a:cubicBezTo>
                    <a:cubicBezTo>
                      <a:pt x="357" y="115"/>
                      <a:pt x="357" y="113"/>
                      <a:pt x="358" y="112"/>
                    </a:cubicBezTo>
                    <a:cubicBezTo>
                      <a:pt x="358" y="111"/>
                      <a:pt x="359" y="109"/>
                      <a:pt x="359" y="108"/>
                    </a:cubicBezTo>
                    <a:cubicBezTo>
                      <a:pt x="359" y="107"/>
                      <a:pt x="359" y="106"/>
                      <a:pt x="360" y="105"/>
                    </a:cubicBezTo>
                    <a:cubicBezTo>
                      <a:pt x="360" y="105"/>
                      <a:pt x="360" y="105"/>
                      <a:pt x="360" y="105"/>
                    </a:cubicBezTo>
                    <a:cubicBezTo>
                      <a:pt x="360" y="105"/>
                      <a:pt x="360" y="104"/>
                      <a:pt x="359" y="104"/>
                    </a:cubicBezTo>
                    <a:cubicBezTo>
                      <a:pt x="359" y="103"/>
                      <a:pt x="359" y="103"/>
                      <a:pt x="359" y="103"/>
                    </a:cubicBezTo>
                    <a:cubicBezTo>
                      <a:pt x="358" y="102"/>
                      <a:pt x="357" y="101"/>
                      <a:pt x="356" y="100"/>
                    </a:cubicBezTo>
                    <a:cubicBezTo>
                      <a:pt x="353" y="96"/>
                      <a:pt x="350" y="92"/>
                      <a:pt x="350" y="87"/>
                    </a:cubicBezTo>
                    <a:cubicBezTo>
                      <a:pt x="350" y="85"/>
                      <a:pt x="351" y="83"/>
                      <a:pt x="354" y="81"/>
                    </a:cubicBezTo>
                    <a:cubicBezTo>
                      <a:pt x="354" y="81"/>
                      <a:pt x="354" y="81"/>
                      <a:pt x="355" y="80"/>
                    </a:cubicBezTo>
                    <a:cubicBezTo>
                      <a:pt x="354" y="79"/>
                      <a:pt x="353" y="79"/>
                      <a:pt x="352" y="78"/>
                    </a:cubicBezTo>
                    <a:cubicBezTo>
                      <a:pt x="352" y="78"/>
                      <a:pt x="352" y="78"/>
                      <a:pt x="352" y="78"/>
                    </a:cubicBezTo>
                    <a:cubicBezTo>
                      <a:pt x="351" y="78"/>
                      <a:pt x="351" y="78"/>
                      <a:pt x="351" y="78"/>
                    </a:cubicBezTo>
                    <a:cubicBezTo>
                      <a:pt x="350" y="78"/>
                      <a:pt x="349" y="77"/>
                      <a:pt x="348" y="77"/>
                    </a:cubicBezTo>
                    <a:cubicBezTo>
                      <a:pt x="348" y="77"/>
                      <a:pt x="348" y="77"/>
                      <a:pt x="348" y="77"/>
                    </a:cubicBezTo>
                    <a:cubicBezTo>
                      <a:pt x="347" y="76"/>
                      <a:pt x="347" y="76"/>
                      <a:pt x="346" y="76"/>
                    </a:cubicBezTo>
                    <a:cubicBezTo>
                      <a:pt x="346" y="75"/>
                      <a:pt x="346" y="75"/>
                      <a:pt x="346" y="75"/>
                    </a:cubicBezTo>
                    <a:cubicBezTo>
                      <a:pt x="345" y="74"/>
                      <a:pt x="345" y="74"/>
                      <a:pt x="345" y="74"/>
                    </a:cubicBezTo>
                    <a:cubicBezTo>
                      <a:pt x="345" y="71"/>
                      <a:pt x="346" y="69"/>
                      <a:pt x="347" y="69"/>
                    </a:cubicBezTo>
                    <a:cubicBezTo>
                      <a:pt x="347" y="68"/>
                      <a:pt x="347" y="68"/>
                      <a:pt x="348" y="68"/>
                    </a:cubicBezTo>
                    <a:cubicBezTo>
                      <a:pt x="348" y="67"/>
                      <a:pt x="348" y="66"/>
                      <a:pt x="348" y="65"/>
                    </a:cubicBezTo>
                    <a:cubicBezTo>
                      <a:pt x="348" y="62"/>
                      <a:pt x="348" y="62"/>
                      <a:pt x="348" y="62"/>
                    </a:cubicBezTo>
                    <a:cubicBezTo>
                      <a:pt x="348" y="59"/>
                      <a:pt x="347" y="55"/>
                      <a:pt x="349" y="51"/>
                    </a:cubicBezTo>
                    <a:cubicBezTo>
                      <a:pt x="350" y="51"/>
                      <a:pt x="350" y="51"/>
                      <a:pt x="350" y="51"/>
                    </a:cubicBezTo>
                    <a:cubicBezTo>
                      <a:pt x="350" y="50"/>
                      <a:pt x="350" y="50"/>
                      <a:pt x="350" y="50"/>
                    </a:cubicBezTo>
                    <a:cubicBezTo>
                      <a:pt x="348" y="49"/>
                      <a:pt x="348" y="49"/>
                      <a:pt x="348" y="49"/>
                    </a:cubicBezTo>
                    <a:cubicBezTo>
                      <a:pt x="348" y="48"/>
                      <a:pt x="348" y="48"/>
                      <a:pt x="348" y="48"/>
                    </a:cubicBezTo>
                    <a:cubicBezTo>
                      <a:pt x="345" y="45"/>
                      <a:pt x="343" y="43"/>
                      <a:pt x="339" y="41"/>
                    </a:cubicBezTo>
                    <a:cubicBezTo>
                      <a:pt x="268" y="0"/>
                      <a:pt x="268" y="0"/>
                      <a:pt x="2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238"/>
              <p:cNvSpPr/>
              <p:nvPr/>
            </p:nvSpPr>
            <p:spPr bwMode="auto">
              <a:xfrm>
                <a:off x="7513951" y="5815113"/>
                <a:ext cx="364826" cy="390622"/>
              </a:xfrm>
              <a:custGeom>
                <a:gdLst>
                  <a:gd name="T0" fmla="*/ 92 w 115"/>
                  <a:gd name="T1" fmla="*/ 8 h 123"/>
                  <a:gd name="T2" fmla="*/ 88 w 115"/>
                  <a:gd name="T3" fmla="*/ 10 h 123"/>
                  <a:gd name="T4" fmla="*/ 84 w 115"/>
                  <a:gd name="T5" fmla="*/ 13 h 123"/>
                  <a:gd name="T6" fmla="*/ 71 w 115"/>
                  <a:gd name="T7" fmla="*/ 20 h 123"/>
                  <a:gd name="T8" fmla="*/ 66 w 115"/>
                  <a:gd name="T9" fmla="*/ 23 h 123"/>
                  <a:gd name="T10" fmla="*/ 62 w 115"/>
                  <a:gd name="T11" fmla="*/ 26 h 123"/>
                  <a:gd name="T12" fmla="*/ 58 w 115"/>
                  <a:gd name="T13" fmla="*/ 29 h 123"/>
                  <a:gd name="T14" fmla="*/ 56 w 115"/>
                  <a:gd name="T15" fmla="*/ 30 h 123"/>
                  <a:gd name="T16" fmla="*/ 54 w 115"/>
                  <a:gd name="T17" fmla="*/ 31 h 123"/>
                  <a:gd name="T18" fmla="*/ 52 w 115"/>
                  <a:gd name="T19" fmla="*/ 32 h 123"/>
                  <a:gd name="T20" fmla="*/ 50 w 115"/>
                  <a:gd name="T21" fmla="*/ 32 h 123"/>
                  <a:gd name="T22" fmla="*/ 49 w 115"/>
                  <a:gd name="T23" fmla="*/ 32 h 123"/>
                  <a:gd name="T24" fmla="*/ 46 w 115"/>
                  <a:gd name="T25" fmla="*/ 31 h 123"/>
                  <a:gd name="T26" fmla="*/ 41 w 115"/>
                  <a:gd name="T27" fmla="*/ 30 h 123"/>
                  <a:gd name="T28" fmla="*/ 36 w 115"/>
                  <a:gd name="T29" fmla="*/ 28 h 123"/>
                  <a:gd name="T30" fmla="*/ 29 w 115"/>
                  <a:gd name="T31" fmla="*/ 25 h 123"/>
                  <a:gd name="T32" fmla="*/ 25 w 115"/>
                  <a:gd name="T33" fmla="*/ 22 h 123"/>
                  <a:gd name="T34" fmla="*/ 23 w 115"/>
                  <a:gd name="T35" fmla="*/ 20 h 123"/>
                  <a:gd name="T36" fmla="*/ 22 w 115"/>
                  <a:gd name="T37" fmla="*/ 20 h 123"/>
                  <a:gd name="T38" fmla="*/ 21 w 115"/>
                  <a:gd name="T39" fmla="*/ 20 h 123"/>
                  <a:gd name="T40" fmla="*/ 20 w 115"/>
                  <a:gd name="T41" fmla="*/ 22 h 123"/>
                  <a:gd name="T42" fmla="*/ 20 w 115"/>
                  <a:gd name="T43" fmla="*/ 28 h 123"/>
                  <a:gd name="T44" fmla="*/ 15 w 115"/>
                  <a:gd name="T45" fmla="*/ 43 h 123"/>
                  <a:gd name="T46" fmla="*/ 14 w 115"/>
                  <a:gd name="T47" fmla="*/ 52 h 123"/>
                  <a:gd name="T48" fmla="*/ 16 w 115"/>
                  <a:gd name="T49" fmla="*/ 58 h 123"/>
                  <a:gd name="T50" fmla="*/ 13 w 115"/>
                  <a:gd name="T51" fmla="*/ 73 h 123"/>
                  <a:gd name="T52" fmla="*/ 10 w 115"/>
                  <a:gd name="T53" fmla="*/ 83 h 123"/>
                  <a:gd name="T54" fmla="*/ 3 w 115"/>
                  <a:gd name="T55" fmla="*/ 115 h 123"/>
                  <a:gd name="T56" fmla="*/ 0 w 115"/>
                  <a:gd name="T57" fmla="*/ 116 h 123"/>
                  <a:gd name="T58" fmla="*/ 1 w 115"/>
                  <a:gd name="T59" fmla="*/ 118 h 123"/>
                  <a:gd name="T60" fmla="*/ 2 w 115"/>
                  <a:gd name="T61" fmla="*/ 118 h 123"/>
                  <a:gd name="T62" fmla="*/ 21 w 115"/>
                  <a:gd name="T63" fmla="*/ 121 h 123"/>
                  <a:gd name="T64" fmla="*/ 24 w 115"/>
                  <a:gd name="T65" fmla="*/ 122 h 123"/>
                  <a:gd name="T66" fmla="*/ 33 w 115"/>
                  <a:gd name="T67" fmla="*/ 118 h 123"/>
                  <a:gd name="T68" fmla="*/ 35 w 115"/>
                  <a:gd name="T69" fmla="*/ 116 h 123"/>
                  <a:gd name="T70" fmla="*/ 40 w 115"/>
                  <a:gd name="T71" fmla="*/ 110 h 123"/>
                  <a:gd name="T72" fmla="*/ 55 w 115"/>
                  <a:gd name="T73" fmla="*/ 100 h 123"/>
                  <a:gd name="T74" fmla="*/ 59 w 115"/>
                  <a:gd name="T75" fmla="*/ 100 h 123"/>
                  <a:gd name="T76" fmla="*/ 63 w 115"/>
                  <a:gd name="T77" fmla="*/ 99 h 123"/>
                  <a:gd name="T78" fmla="*/ 70 w 115"/>
                  <a:gd name="T79" fmla="*/ 97 h 123"/>
                  <a:gd name="T80" fmla="*/ 81 w 115"/>
                  <a:gd name="T81" fmla="*/ 85 h 123"/>
                  <a:gd name="T82" fmla="*/ 78 w 115"/>
                  <a:gd name="T83" fmla="*/ 82 h 123"/>
                  <a:gd name="T84" fmla="*/ 76 w 115"/>
                  <a:gd name="T85" fmla="*/ 80 h 123"/>
                  <a:gd name="T86" fmla="*/ 50 w 115"/>
                  <a:gd name="T87" fmla="*/ 52 h 123"/>
                  <a:gd name="T88" fmla="*/ 64 w 115"/>
                  <a:gd name="T89" fmla="*/ 48 h 123"/>
                  <a:gd name="T90" fmla="*/ 93 w 115"/>
                  <a:gd name="T91" fmla="*/ 40 h 123"/>
                  <a:gd name="T92" fmla="*/ 100 w 115"/>
                  <a:gd name="T93" fmla="*/ 37 h 123"/>
                  <a:gd name="T94" fmla="*/ 103 w 115"/>
                  <a:gd name="T95" fmla="*/ 35 h 123"/>
                  <a:gd name="T96" fmla="*/ 113 w 115"/>
                  <a:gd name="T97" fmla="*/ 31 h 123"/>
                  <a:gd name="T98" fmla="*/ 112 w 115"/>
                  <a:gd name="T99" fmla="*/ 30 h 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123">
                    <a:moveTo>
                      <a:pt x="105" y="0"/>
                    </a:moveTo>
                    <a:cubicBezTo>
                      <a:pt x="102" y="2"/>
                      <a:pt x="97" y="5"/>
                      <a:pt x="92" y="8"/>
                    </a:cubicBezTo>
                    <a:cubicBezTo>
                      <a:pt x="91" y="8"/>
                      <a:pt x="91" y="8"/>
                      <a:pt x="91" y="8"/>
                    </a:cubicBezTo>
                    <a:cubicBezTo>
                      <a:pt x="90" y="9"/>
                      <a:pt x="89" y="10"/>
                      <a:pt x="88" y="10"/>
                    </a:cubicBezTo>
                    <a:cubicBezTo>
                      <a:pt x="87" y="11"/>
                      <a:pt x="86" y="11"/>
                      <a:pt x="85" y="12"/>
                    </a:cubicBezTo>
                    <a:cubicBezTo>
                      <a:pt x="84" y="12"/>
                      <a:pt x="84" y="12"/>
                      <a:pt x="84" y="13"/>
                    </a:cubicBezTo>
                    <a:cubicBezTo>
                      <a:pt x="82" y="14"/>
                      <a:pt x="80" y="15"/>
                      <a:pt x="78" y="16"/>
                    </a:cubicBezTo>
                    <a:cubicBezTo>
                      <a:pt x="71" y="20"/>
                      <a:pt x="71" y="20"/>
                      <a:pt x="71" y="20"/>
                    </a:cubicBezTo>
                    <a:cubicBezTo>
                      <a:pt x="69" y="21"/>
                      <a:pt x="68" y="22"/>
                      <a:pt x="66" y="23"/>
                    </a:cubicBezTo>
                    <a:cubicBezTo>
                      <a:pt x="66" y="23"/>
                      <a:pt x="66" y="23"/>
                      <a:pt x="66" y="23"/>
                    </a:cubicBezTo>
                    <a:cubicBezTo>
                      <a:pt x="65" y="24"/>
                      <a:pt x="65" y="24"/>
                      <a:pt x="65" y="24"/>
                    </a:cubicBezTo>
                    <a:cubicBezTo>
                      <a:pt x="64" y="25"/>
                      <a:pt x="63" y="25"/>
                      <a:pt x="62" y="26"/>
                    </a:cubicBezTo>
                    <a:cubicBezTo>
                      <a:pt x="61" y="27"/>
                      <a:pt x="60" y="27"/>
                      <a:pt x="59" y="28"/>
                    </a:cubicBezTo>
                    <a:cubicBezTo>
                      <a:pt x="58" y="29"/>
                      <a:pt x="58" y="29"/>
                      <a:pt x="58" y="29"/>
                    </a:cubicBezTo>
                    <a:cubicBezTo>
                      <a:pt x="58" y="29"/>
                      <a:pt x="57" y="29"/>
                      <a:pt x="57" y="30"/>
                    </a:cubicBezTo>
                    <a:cubicBezTo>
                      <a:pt x="56" y="30"/>
                      <a:pt x="56" y="30"/>
                      <a:pt x="56" y="30"/>
                    </a:cubicBezTo>
                    <a:cubicBezTo>
                      <a:pt x="56" y="30"/>
                      <a:pt x="55" y="31"/>
                      <a:pt x="55" y="31"/>
                    </a:cubicBezTo>
                    <a:cubicBezTo>
                      <a:pt x="54" y="31"/>
                      <a:pt x="54" y="31"/>
                      <a:pt x="54" y="31"/>
                    </a:cubicBezTo>
                    <a:cubicBezTo>
                      <a:pt x="53" y="31"/>
                      <a:pt x="53" y="32"/>
                      <a:pt x="52" y="32"/>
                    </a:cubicBezTo>
                    <a:cubicBezTo>
                      <a:pt x="52" y="32"/>
                      <a:pt x="52" y="32"/>
                      <a:pt x="52" y="32"/>
                    </a:cubicBezTo>
                    <a:cubicBezTo>
                      <a:pt x="51" y="32"/>
                      <a:pt x="51" y="32"/>
                      <a:pt x="51" y="32"/>
                    </a:cubicBezTo>
                    <a:cubicBezTo>
                      <a:pt x="51" y="32"/>
                      <a:pt x="51" y="32"/>
                      <a:pt x="50" y="32"/>
                    </a:cubicBezTo>
                    <a:cubicBezTo>
                      <a:pt x="50" y="32"/>
                      <a:pt x="50" y="32"/>
                      <a:pt x="50" y="32"/>
                    </a:cubicBezTo>
                    <a:cubicBezTo>
                      <a:pt x="49" y="32"/>
                      <a:pt x="49" y="32"/>
                      <a:pt x="49" y="32"/>
                    </a:cubicBezTo>
                    <a:cubicBezTo>
                      <a:pt x="48" y="32"/>
                      <a:pt x="47" y="31"/>
                      <a:pt x="46" y="31"/>
                    </a:cubicBezTo>
                    <a:cubicBezTo>
                      <a:pt x="46" y="31"/>
                      <a:pt x="46" y="31"/>
                      <a:pt x="46" y="31"/>
                    </a:cubicBezTo>
                    <a:cubicBezTo>
                      <a:pt x="44" y="31"/>
                      <a:pt x="43" y="30"/>
                      <a:pt x="42" y="30"/>
                    </a:cubicBezTo>
                    <a:cubicBezTo>
                      <a:pt x="41" y="30"/>
                      <a:pt x="41" y="30"/>
                      <a:pt x="41" y="30"/>
                    </a:cubicBezTo>
                    <a:cubicBezTo>
                      <a:pt x="40" y="29"/>
                      <a:pt x="38" y="29"/>
                      <a:pt x="37" y="28"/>
                    </a:cubicBezTo>
                    <a:cubicBezTo>
                      <a:pt x="36" y="28"/>
                      <a:pt x="36" y="28"/>
                      <a:pt x="36" y="28"/>
                    </a:cubicBezTo>
                    <a:cubicBezTo>
                      <a:pt x="34" y="27"/>
                      <a:pt x="32" y="26"/>
                      <a:pt x="30" y="25"/>
                    </a:cubicBezTo>
                    <a:cubicBezTo>
                      <a:pt x="29" y="25"/>
                      <a:pt x="29" y="25"/>
                      <a:pt x="29" y="25"/>
                    </a:cubicBezTo>
                    <a:cubicBezTo>
                      <a:pt x="28" y="24"/>
                      <a:pt x="27" y="23"/>
                      <a:pt x="26" y="22"/>
                    </a:cubicBezTo>
                    <a:cubicBezTo>
                      <a:pt x="25" y="22"/>
                      <a:pt x="25" y="22"/>
                      <a:pt x="25" y="22"/>
                    </a:cubicBezTo>
                    <a:cubicBezTo>
                      <a:pt x="24" y="21"/>
                      <a:pt x="24" y="21"/>
                      <a:pt x="24" y="21"/>
                    </a:cubicBezTo>
                    <a:cubicBezTo>
                      <a:pt x="24" y="21"/>
                      <a:pt x="23" y="21"/>
                      <a:pt x="23" y="20"/>
                    </a:cubicBezTo>
                    <a:cubicBezTo>
                      <a:pt x="22" y="20"/>
                      <a:pt x="22" y="20"/>
                      <a:pt x="22" y="20"/>
                    </a:cubicBezTo>
                    <a:cubicBezTo>
                      <a:pt x="22" y="20"/>
                      <a:pt x="22" y="20"/>
                      <a:pt x="22" y="20"/>
                    </a:cubicBezTo>
                    <a:cubicBezTo>
                      <a:pt x="21" y="20"/>
                      <a:pt x="21" y="20"/>
                      <a:pt x="21" y="20"/>
                    </a:cubicBezTo>
                    <a:cubicBezTo>
                      <a:pt x="21" y="20"/>
                      <a:pt x="21" y="20"/>
                      <a:pt x="21" y="20"/>
                    </a:cubicBezTo>
                    <a:cubicBezTo>
                      <a:pt x="21" y="20"/>
                      <a:pt x="21" y="20"/>
                      <a:pt x="21" y="20"/>
                    </a:cubicBezTo>
                    <a:cubicBezTo>
                      <a:pt x="20" y="22"/>
                      <a:pt x="20" y="22"/>
                      <a:pt x="20" y="22"/>
                    </a:cubicBezTo>
                    <a:cubicBezTo>
                      <a:pt x="20" y="23"/>
                      <a:pt x="20" y="25"/>
                      <a:pt x="20" y="27"/>
                    </a:cubicBezTo>
                    <a:cubicBezTo>
                      <a:pt x="20" y="28"/>
                      <a:pt x="20" y="28"/>
                      <a:pt x="20" y="28"/>
                    </a:cubicBezTo>
                    <a:cubicBezTo>
                      <a:pt x="16" y="28"/>
                      <a:pt x="16" y="28"/>
                      <a:pt x="16" y="28"/>
                    </a:cubicBezTo>
                    <a:cubicBezTo>
                      <a:pt x="16" y="33"/>
                      <a:pt x="15" y="38"/>
                      <a:pt x="15" y="43"/>
                    </a:cubicBezTo>
                    <a:cubicBezTo>
                      <a:pt x="15" y="43"/>
                      <a:pt x="15" y="43"/>
                      <a:pt x="15" y="43"/>
                    </a:cubicBezTo>
                    <a:cubicBezTo>
                      <a:pt x="15" y="46"/>
                      <a:pt x="14" y="49"/>
                      <a:pt x="14" y="52"/>
                    </a:cubicBezTo>
                    <a:cubicBezTo>
                      <a:pt x="17" y="52"/>
                      <a:pt x="17" y="52"/>
                      <a:pt x="17" y="52"/>
                    </a:cubicBezTo>
                    <a:cubicBezTo>
                      <a:pt x="16" y="58"/>
                      <a:pt x="16" y="58"/>
                      <a:pt x="16" y="58"/>
                    </a:cubicBezTo>
                    <a:cubicBezTo>
                      <a:pt x="16" y="62"/>
                      <a:pt x="15" y="65"/>
                      <a:pt x="14" y="68"/>
                    </a:cubicBezTo>
                    <a:cubicBezTo>
                      <a:pt x="14" y="70"/>
                      <a:pt x="14" y="72"/>
                      <a:pt x="13" y="73"/>
                    </a:cubicBezTo>
                    <a:cubicBezTo>
                      <a:pt x="13" y="76"/>
                      <a:pt x="13" y="76"/>
                      <a:pt x="13" y="76"/>
                    </a:cubicBezTo>
                    <a:cubicBezTo>
                      <a:pt x="12" y="78"/>
                      <a:pt x="11" y="81"/>
                      <a:pt x="10" y="83"/>
                    </a:cubicBezTo>
                    <a:cubicBezTo>
                      <a:pt x="9" y="91"/>
                      <a:pt x="9" y="91"/>
                      <a:pt x="9" y="91"/>
                    </a:cubicBezTo>
                    <a:cubicBezTo>
                      <a:pt x="7" y="98"/>
                      <a:pt x="4" y="107"/>
                      <a:pt x="3" y="115"/>
                    </a:cubicBezTo>
                    <a:cubicBezTo>
                      <a:pt x="3" y="117"/>
                      <a:pt x="3" y="117"/>
                      <a:pt x="3" y="117"/>
                    </a:cubicBezTo>
                    <a:cubicBezTo>
                      <a:pt x="0" y="116"/>
                      <a:pt x="0" y="116"/>
                      <a:pt x="0" y="116"/>
                    </a:cubicBezTo>
                    <a:cubicBezTo>
                      <a:pt x="0" y="118"/>
                      <a:pt x="0" y="118"/>
                      <a:pt x="0" y="118"/>
                    </a:cubicBezTo>
                    <a:cubicBezTo>
                      <a:pt x="1" y="118"/>
                      <a:pt x="1" y="118"/>
                      <a:pt x="1" y="118"/>
                    </a:cubicBezTo>
                    <a:cubicBezTo>
                      <a:pt x="1" y="118"/>
                      <a:pt x="1" y="118"/>
                      <a:pt x="1" y="118"/>
                    </a:cubicBezTo>
                    <a:cubicBezTo>
                      <a:pt x="2" y="118"/>
                      <a:pt x="2" y="118"/>
                      <a:pt x="2" y="118"/>
                    </a:cubicBezTo>
                    <a:cubicBezTo>
                      <a:pt x="2" y="118"/>
                      <a:pt x="3" y="118"/>
                      <a:pt x="3" y="118"/>
                    </a:cubicBezTo>
                    <a:cubicBezTo>
                      <a:pt x="21" y="121"/>
                      <a:pt x="21" y="121"/>
                      <a:pt x="21" y="121"/>
                    </a:cubicBezTo>
                    <a:cubicBezTo>
                      <a:pt x="22" y="121"/>
                      <a:pt x="22" y="121"/>
                      <a:pt x="23" y="121"/>
                    </a:cubicBezTo>
                    <a:cubicBezTo>
                      <a:pt x="24" y="122"/>
                      <a:pt x="24" y="122"/>
                      <a:pt x="24" y="122"/>
                    </a:cubicBezTo>
                    <a:cubicBezTo>
                      <a:pt x="27" y="122"/>
                      <a:pt x="28" y="123"/>
                      <a:pt x="29" y="123"/>
                    </a:cubicBezTo>
                    <a:cubicBezTo>
                      <a:pt x="30" y="122"/>
                      <a:pt x="31" y="121"/>
                      <a:pt x="33" y="118"/>
                    </a:cubicBezTo>
                    <a:cubicBezTo>
                      <a:pt x="34" y="117"/>
                      <a:pt x="34" y="117"/>
                      <a:pt x="34" y="117"/>
                    </a:cubicBezTo>
                    <a:cubicBezTo>
                      <a:pt x="34" y="117"/>
                      <a:pt x="34" y="116"/>
                      <a:pt x="35" y="116"/>
                    </a:cubicBezTo>
                    <a:cubicBezTo>
                      <a:pt x="38" y="113"/>
                      <a:pt x="38" y="113"/>
                      <a:pt x="38" y="113"/>
                    </a:cubicBezTo>
                    <a:cubicBezTo>
                      <a:pt x="38" y="112"/>
                      <a:pt x="39" y="111"/>
                      <a:pt x="40" y="110"/>
                    </a:cubicBezTo>
                    <a:cubicBezTo>
                      <a:pt x="43" y="107"/>
                      <a:pt x="46" y="103"/>
                      <a:pt x="51" y="101"/>
                    </a:cubicBezTo>
                    <a:cubicBezTo>
                      <a:pt x="52" y="101"/>
                      <a:pt x="54" y="101"/>
                      <a:pt x="55" y="100"/>
                    </a:cubicBezTo>
                    <a:cubicBezTo>
                      <a:pt x="57" y="100"/>
                      <a:pt x="57" y="100"/>
                      <a:pt x="57" y="100"/>
                    </a:cubicBezTo>
                    <a:cubicBezTo>
                      <a:pt x="58" y="100"/>
                      <a:pt x="58" y="100"/>
                      <a:pt x="59" y="100"/>
                    </a:cubicBezTo>
                    <a:cubicBezTo>
                      <a:pt x="60" y="99"/>
                      <a:pt x="61" y="99"/>
                      <a:pt x="63" y="99"/>
                    </a:cubicBezTo>
                    <a:cubicBezTo>
                      <a:pt x="63" y="99"/>
                      <a:pt x="63" y="99"/>
                      <a:pt x="63" y="99"/>
                    </a:cubicBezTo>
                    <a:cubicBezTo>
                      <a:pt x="65" y="99"/>
                      <a:pt x="68" y="99"/>
                      <a:pt x="69" y="98"/>
                    </a:cubicBezTo>
                    <a:cubicBezTo>
                      <a:pt x="69" y="98"/>
                      <a:pt x="69" y="97"/>
                      <a:pt x="70" y="97"/>
                    </a:cubicBezTo>
                    <a:cubicBezTo>
                      <a:pt x="70" y="96"/>
                      <a:pt x="70" y="96"/>
                      <a:pt x="70" y="96"/>
                    </a:cubicBezTo>
                    <a:cubicBezTo>
                      <a:pt x="78" y="90"/>
                      <a:pt x="80" y="86"/>
                      <a:pt x="81" y="85"/>
                    </a:cubicBezTo>
                    <a:cubicBezTo>
                      <a:pt x="81" y="85"/>
                      <a:pt x="80" y="84"/>
                      <a:pt x="80" y="84"/>
                    </a:cubicBezTo>
                    <a:cubicBezTo>
                      <a:pt x="79" y="83"/>
                      <a:pt x="79" y="83"/>
                      <a:pt x="78" y="82"/>
                    </a:cubicBezTo>
                    <a:cubicBezTo>
                      <a:pt x="78" y="82"/>
                      <a:pt x="78" y="82"/>
                      <a:pt x="78" y="82"/>
                    </a:cubicBezTo>
                    <a:cubicBezTo>
                      <a:pt x="77" y="81"/>
                      <a:pt x="76" y="80"/>
                      <a:pt x="76" y="80"/>
                    </a:cubicBezTo>
                    <a:cubicBezTo>
                      <a:pt x="68" y="72"/>
                      <a:pt x="61" y="64"/>
                      <a:pt x="54" y="56"/>
                    </a:cubicBezTo>
                    <a:cubicBezTo>
                      <a:pt x="50" y="52"/>
                      <a:pt x="50" y="52"/>
                      <a:pt x="50" y="52"/>
                    </a:cubicBezTo>
                    <a:cubicBezTo>
                      <a:pt x="56" y="51"/>
                      <a:pt x="56" y="51"/>
                      <a:pt x="56" y="51"/>
                    </a:cubicBezTo>
                    <a:cubicBezTo>
                      <a:pt x="59" y="50"/>
                      <a:pt x="61" y="49"/>
                      <a:pt x="64" y="48"/>
                    </a:cubicBezTo>
                    <a:cubicBezTo>
                      <a:pt x="65" y="48"/>
                      <a:pt x="65" y="48"/>
                      <a:pt x="65" y="48"/>
                    </a:cubicBezTo>
                    <a:cubicBezTo>
                      <a:pt x="74" y="45"/>
                      <a:pt x="84" y="43"/>
                      <a:pt x="93" y="40"/>
                    </a:cubicBezTo>
                    <a:cubicBezTo>
                      <a:pt x="95" y="39"/>
                      <a:pt x="97" y="38"/>
                      <a:pt x="99" y="38"/>
                    </a:cubicBezTo>
                    <a:cubicBezTo>
                      <a:pt x="100" y="37"/>
                      <a:pt x="100" y="37"/>
                      <a:pt x="100" y="37"/>
                    </a:cubicBezTo>
                    <a:cubicBezTo>
                      <a:pt x="102" y="37"/>
                      <a:pt x="103" y="36"/>
                      <a:pt x="105" y="36"/>
                    </a:cubicBezTo>
                    <a:cubicBezTo>
                      <a:pt x="103" y="35"/>
                      <a:pt x="103" y="35"/>
                      <a:pt x="103" y="35"/>
                    </a:cubicBezTo>
                    <a:cubicBezTo>
                      <a:pt x="115" y="32"/>
                      <a:pt x="115" y="32"/>
                      <a:pt x="115" y="32"/>
                    </a:cubicBezTo>
                    <a:cubicBezTo>
                      <a:pt x="114" y="31"/>
                      <a:pt x="113" y="31"/>
                      <a:pt x="113" y="31"/>
                    </a:cubicBezTo>
                    <a:cubicBezTo>
                      <a:pt x="112" y="30"/>
                      <a:pt x="112" y="30"/>
                      <a:pt x="112" y="30"/>
                    </a:cubicBezTo>
                    <a:cubicBezTo>
                      <a:pt x="112" y="30"/>
                      <a:pt x="112" y="30"/>
                      <a:pt x="112" y="30"/>
                    </a:cubicBezTo>
                    <a:cubicBezTo>
                      <a:pt x="105" y="0"/>
                      <a:pt x="105" y="0"/>
                      <a:pt x="1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239"/>
              <p:cNvSpPr/>
              <p:nvPr/>
            </p:nvSpPr>
            <p:spPr bwMode="auto">
              <a:xfrm>
                <a:off x="7871407" y="5398695"/>
                <a:ext cx="869687" cy="818096"/>
              </a:xfrm>
              <a:custGeom>
                <a:gdLst>
                  <a:gd name="T0" fmla="*/ 101 w 274"/>
                  <a:gd name="T1" fmla="*/ 8 h 258"/>
                  <a:gd name="T2" fmla="*/ 86 w 274"/>
                  <a:gd name="T3" fmla="*/ 23 h 258"/>
                  <a:gd name="T4" fmla="*/ 75 w 274"/>
                  <a:gd name="T5" fmla="*/ 27 h 258"/>
                  <a:gd name="T6" fmla="*/ 70 w 274"/>
                  <a:gd name="T7" fmla="*/ 47 h 258"/>
                  <a:gd name="T8" fmla="*/ 69 w 274"/>
                  <a:gd name="T9" fmla="*/ 63 h 258"/>
                  <a:gd name="T10" fmla="*/ 68 w 274"/>
                  <a:gd name="T11" fmla="*/ 77 h 258"/>
                  <a:gd name="T12" fmla="*/ 52 w 274"/>
                  <a:gd name="T13" fmla="*/ 99 h 258"/>
                  <a:gd name="T14" fmla="*/ 40 w 274"/>
                  <a:gd name="T15" fmla="*/ 104 h 258"/>
                  <a:gd name="T16" fmla="*/ 0 w 274"/>
                  <a:gd name="T17" fmla="*/ 128 h 258"/>
                  <a:gd name="T18" fmla="*/ 11 w 274"/>
                  <a:gd name="T19" fmla="*/ 158 h 258"/>
                  <a:gd name="T20" fmla="*/ 42 w 274"/>
                  <a:gd name="T21" fmla="*/ 168 h 258"/>
                  <a:gd name="T22" fmla="*/ 84 w 274"/>
                  <a:gd name="T23" fmla="*/ 191 h 258"/>
                  <a:gd name="T24" fmla="*/ 131 w 274"/>
                  <a:gd name="T25" fmla="*/ 226 h 258"/>
                  <a:gd name="T26" fmla="*/ 168 w 274"/>
                  <a:gd name="T27" fmla="*/ 253 h 258"/>
                  <a:gd name="T28" fmla="*/ 210 w 274"/>
                  <a:gd name="T29" fmla="*/ 257 h 258"/>
                  <a:gd name="T30" fmla="*/ 214 w 274"/>
                  <a:gd name="T31" fmla="*/ 257 h 258"/>
                  <a:gd name="T32" fmla="*/ 225 w 274"/>
                  <a:gd name="T33" fmla="*/ 238 h 258"/>
                  <a:gd name="T34" fmla="*/ 252 w 274"/>
                  <a:gd name="T35" fmla="*/ 226 h 258"/>
                  <a:gd name="T36" fmla="*/ 266 w 274"/>
                  <a:gd name="T37" fmla="*/ 231 h 258"/>
                  <a:gd name="T38" fmla="*/ 267 w 274"/>
                  <a:gd name="T39" fmla="*/ 232 h 258"/>
                  <a:gd name="T40" fmla="*/ 273 w 274"/>
                  <a:gd name="T41" fmla="*/ 235 h 258"/>
                  <a:gd name="T42" fmla="*/ 262 w 274"/>
                  <a:gd name="T43" fmla="*/ 223 h 258"/>
                  <a:gd name="T44" fmla="*/ 255 w 274"/>
                  <a:gd name="T45" fmla="*/ 211 h 258"/>
                  <a:gd name="T46" fmla="*/ 252 w 274"/>
                  <a:gd name="T47" fmla="*/ 204 h 258"/>
                  <a:gd name="T48" fmla="*/ 245 w 274"/>
                  <a:gd name="T49" fmla="*/ 201 h 258"/>
                  <a:gd name="T50" fmla="*/ 248 w 274"/>
                  <a:gd name="T51" fmla="*/ 181 h 258"/>
                  <a:gd name="T52" fmla="*/ 250 w 274"/>
                  <a:gd name="T53" fmla="*/ 177 h 258"/>
                  <a:gd name="T54" fmla="*/ 243 w 274"/>
                  <a:gd name="T55" fmla="*/ 167 h 258"/>
                  <a:gd name="T56" fmla="*/ 238 w 274"/>
                  <a:gd name="T57" fmla="*/ 158 h 258"/>
                  <a:gd name="T58" fmla="*/ 233 w 274"/>
                  <a:gd name="T59" fmla="*/ 158 h 258"/>
                  <a:gd name="T60" fmla="*/ 211 w 274"/>
                  <a:gd name="T61" fmla="*/ 143 h 258"/>
                  <a:gd name="T62" fmla="*/ 201 w 274"/>
                  <a:gd name="T63" fmla="*/ 140 h 258"/>
                  <a:gd name="T64" fmla="*/ 197 w 274"/>
                  <a:gd name="T65" fmla="*/ 127 h 258"/>
                  <a:gd name="T66" fmla="*/ 195 w 274"/>
                  <a:gd name="T67" fmla="*/ 122 h 258"/>
                  <a:gd name="T68" fmla="*/ 183 w 274"/>
                  <a:gd name="T69" fmla="*/ 112 h 258"/>
                  <a:gd name="T70" fmla="*/ 184 w 274"/>
                  <a:gd name="T71" fmla="*/ 98 h 258"/>
                  <a:gd name="T72" fmla="*/ 184 w 274"/>
                  <a:gd name="T73" fmla="*/ 95 h 258"/>
                  <a:gd name="T74" fmla="*/ 190 w 274"/>
                  <a:gd name="T75" fmla="*/ 84 h 258"/>
                  <a:gd name="T76" fmla="*/ 202 w 274"/>
                  <a:gd name="T77" fmla="*/ 68 h 258"/>
                  <a:gd name="T78" fmla="*/ 200 w 274"/>
                  <a:gd name="T79" fmla="*/ 64 h 258"/>
                  <a:gd name="T80" fmla="*/ 198 w 274"/>
                  <a:gd name="T81" fmla="*/ 55 h 258"/>
                  <a:gd name="T82" fmla="*/ 196 w 274"/>
                  <a:gd name="T83" fmla="*/ 51 h 258"/>
                  <a:gd name="T84" fmla="*/ 187 w 274"/>
                  <a:gd name="T85" fmla="*/ 45 h 258"/>
                  <a:gd name="T86" fmla="*/ 183 w 274"/>
                  <a:gd name="T87" fmla="*/ 45 h 258"/>
                  <a:gd name="T88" fmla="*/ 176 w 274"/>
                  <a:gd name="T89" fmla="*/ 31 h 258"/>
                  <a:gd name="T90" fmla="*/ 171 w 274"/>
                  <a:gd name="T91" fmla="*/ 27 h 258"/>
                  <a:gd name="T92" fmla="*/ 169 w 274"/>
                  <a:gd name="T93" fmla="*/ 20 h 258"/>
                  <a:gd name="T94" fmla="*/ 166 w 274"/>
                  <a:gd name="T95" fmla="*/ 11 h 258"/>
                  <a:gd name="T96" fmla="*/ 161 w 274"/>
                  <a:gd name="T97" fmla="*/ 10 h 258"/>
                  <a:gd name="T98" fmla="*/ 153 w 274"/>
                  <a:gd name="T99" fmla="*/ 12 h 258"/>
                  <a:gd name="T100" fmla="*/ 147 w 274"/>
                  <a:gd name="T101" fmla="*/ 5 h 258"/>
                  <a:gd name="T102" fmla="*/ 139 w 274"/>
                  <a:gd name="T103" fmla="*/ 3 h 258"/>
                  <a:gd name="T104" fmla="*/ 118 w 274"/>
                  <a:gd name="T105" fmla="*/ 0 h 2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4" h="258">
                    <a:moveTo>
                      <a:pt x="115" y="0"/>
                    </a:moveTo>
                    <a:cubicBezTo>
                      <a:pt x="110" y="0"/>
                      <a:pt x="108" y="2"/>
                      <a:pt x="103" y="5"/>
                    </a:cubicBezTo>
                    <a:cubicBezTo>
                      <a:pt x="101" y="7"/>
                      <a:pt x="101" y="7"/>
                      <a:pt x="101" y="7"/>
                    </a:cubicBezTo>
                    <a:cubicBezTo>
                      <a:pt x="101" y="8"/>
                      <a:pt x="101" y="8"/>
                      <a:pt x="101" y="8"/>
                    </a:cubicBezTo>
                    <a:cubicBezTo>
                      <a:pt x="100" y="9"/>
                      <a:pt x="100" y="9"/>
                      <a:pt x="99" y="10"/>
                    </a:cubicBezTo>
                    <a:cubicBezTo>
                      <a:pt x="99" y="11"/>
                      <a:pt x="99" y="11"/>
                      <a:pt x="99" y="11"/>
                    </a:cubicBezTo>
                    <a:cubicBezTo>
                      <a:pt x="96" y="13"/>
                      <a:pt x="96" y="13"/>
                      <a:pt x="96" y="13"/>
                    </a:cubicBezTo>
                    <a:cubicBezTo>
                      <a:pt x="92" y="17"/>
                      <a:pt x="89" y="20"/>
                      <a:pt x="86" y="23"/>
                    </a:cubicBezTo>
                    <a:cubicBezTo>
                      <a:pt x="84" y="24"/>
                      <a:pt x="83" y="25"/>
                      <a:pt x="81" y="26"/>
                    </a:cubicBezTo>
                    <a:cubicBezTo>
                      <a:pt x="83" y="33"/>
                      <a:pt x="83" y="33"/>
                      <a:pt x="83" y="33"/>
                    </a:cubicBezTo>
                    <a:cubicBezTo>
                      <a:pt x="79" y="26"/>
                      <a:pt x="79" y="26"/>
                      <a:pt x="79" y="26"/>
                    </a:cubicBezTo>
                    <a:cubicBezTo>
                      <a:pt x="75" y="27"/>
                      <a:pt x="75" y="27"/>
                      <a:pt x="75" y="27"/>
                    </a:cubicBezTo>
                    <a:cubicBezTo>
                      <a:pt x="75" y="27"/>
                      <a:pt x="74" y="27"/>
                      <a:pt x="74" y="27"/>
                    </a:cubicBezTo>
                    <a:cubicBezTo>
                      <a:pt x="73" y="28"/>
                      <a:pt x="72" y="28"/>
                      <a:pt x="72" y="28"/>
                    </a:cubicBezTo>
                    <a:cubicBezTo>
                      <a:pt x="72" y="28"/>
                      <a:pt x="72" y="29"/>
                      <a:pt x="71" y="30"/>
                    </a:cubicBezTo>
                    <a:cubicBezTo>
                      <a:pt x="69" y="35"/>
                      <a:pt x="70" y="41"/>
                      <a:pt x="70" y="47"/>
                    </a:cubicBezTo>
                    <a:cubicBezTo>
                      <a:pt x="71" y="48"/>
                      <a:pt x="71" y="48"/>
                      <a:pt x="71" y="48"/>
                    </a:cubicBezTo>
                    <a:cubicBezTo>
                      <a:pt x="71" y="50"/>
                      <a:pt x="71" y="53"/>
                      <a:pt x="71" y="56"/>
                    </a:cubicBezTo>
                    <a:cubicBezTo>
                      <a:pt x="71" y="59"/>
                      <a:pt x="70" y="61"/>
                      <a:pt x="70" y="62"/>
                    </a:cubicBezTo>
                    <a:cubicBezTo>
                      <a:pt x="69" y="63"/>
                      <a:pt x="69" y="63"/>
                      <a:pt x="69" y="63"/>
                    </a:cubicBezTo>
                    <a:cubicBezTo>
                      <a:pt x="69" y="66"/>
                      <a:pt x="68" y="69"/>
                      <a:pt x="68" y="72"/>
                    </a:cubicBezTo>
                    <a:cubicBezTo>
                      <a:pt x="68" y="73"/>
                      <a:pt x="68" y="74"/>
                      <a:pt x="68" y="76"/>
                    </a:cubicBezTo>
                    <a:cubicBezTo>
                      <a:pt x="68" y="77"/>
                      <a:pt x="68" y="77"/>
                      <a:pt x="68" y="77"/>
                    </a:cubicBezTo>
                    <a:cubicBezTo>
                      <a:pt x="68" y="77"/>
                      <a:pt x="68" y="77"/>
                      <a:pt x="68" y="77"/>
                    </a:cubicBezTo>
                    <a:cubicBezTo>
                      <a:pt x="68" y="79"/>
                      <a:pt x="68" y="82"/>
                      <a:pt x="67" y="84"/>
                    </a:cubicBezTo>
                    <a:cubicBezTo>
                      <a:pt x="66" y="87"/>
                      <a:pt x="64" y="91"/>
                      <a:pt x="62" y="94"/>
                    </a:cubicBezTo>
                    <a:cubicBezTo>
                      <a:pt x="60" y="96"/>
                      <a:pt x="57" y="97"/>
                      <a:pt x="55" y="98"/>
                    </a:cubicBezTo>
                    <a:cubicBezTo>
                      <a:pt x="54" y="98"/>
                      <a:pt x="53" y="98"/>
                      <a:pt x="52" y="99"/>
                    </a:cubicBezTo>
                    <a:cubicBezTo>
                      <a:pt x="50" y="99"/>
                      <a:pt x="49" y="100"/>
                      <a:pt x="47" y="101"/>
                    </a:cubicBezTo>
                    <a:cubicBezTo>
                      <a:pt x="42" y="104"/>
                      <a:pt x="42" y="104"/>
                      <a:pt x="42" y="104"/>
                    </a:cubicBezTo>
                    <a:cubicBezTo>
                      <a:pt x="44" y="107"/>
                      <a:pt x="44" y="107"/>
                      <a:pt x="44" y="107"/>
                    </a:cubicBezTo>
                    <a:cubicBezTo>
                      <a:pt x="40" y="104"/>
                      <a:pt x="40" y="104"/>
                      <a:pt x="40" y="104"/>
                    </a:cubicBezTo>
                    <a:cubicBezTo>
                      <a:pt x="35" y="108"/>
                      <a:pt x="35" y="108"/>
                      <a:pt x="35" y="108"/>
                    </a:cubicBezTo>
                    <a:cubicBezTo>
                      <a:pt x="31" y="110"/>
                      <a:pt x="26" y="112"/>
                      <a:pt x="22" y="115"/>
                    </a:cubicBezTo>
                    <a:cubicBezTo>
                      <a:pt x="16" y="118"/>
                      <a:pt x="10" y="122"/>
                      <a:pt x="4" y="125"/>
                    </a:cubicBezTo>
                    <a:cubicBezTo>
                      <a:pt x="0" y="128"/>
                      <a:pt x="0" y="128"/>
                      <a:pt x="0" y="128"/>
                    </a:cubicBezTo>
                    <a:cubicBezTo>
                      <a:pt x="0" y="128"/>
                      <a:pt x="0" y="128"/>
                      <a:pt x="0" y="128"/>
                    </a:cubicBezTo>
                    <a:cubicBezTo>
                      <a:pt x="6" y="156"/>
                      <a:pt x="6" y="156"/>
                      <a:pt x="6" y="156"/>
                    </a:cubicBezTo>
                    <a:cubicBezTo>
                      <a:pt x="7" y="157"/>
                      <a:pt x="9" y="157"/>
                      <a:pt x="10" y="158"/>
                    </a:cubicBezTo>
                    <a:cubicBezTo>
                      <a:pt x="10" y="158"/>
                      <a:pt x="11" y="158"/>
                      <a:pt x="11" y="158"/>
                    </a:cubicBezTo>
                    <a:cubicBezTo>
                      <a:pt x="12" y="159"/>
                      <a:pt x="12" y="159"/>
                      <a:pt x="12" y="159"/>
                    </a:cubicBezTo>
                    <a:cubicBezTo>
                      <a:pt x="16" y="162"/>
                      <a:pt x="16" y="162"/>
                      <a:pt x="16" y="162"/>
                    </a:cubicBezTo>
                    <a:cubicBezTo>
                      <a:pt x="14" y="163"/>
                      <a:pt x="14" y="163"/>
                      <a:pt x="14" y="163"/>
                    </a:cubicBezTo>
                    <a:cubicBezTo>
                      <a:pt x="42" y="168"/>
                      <a:pt x="42" y="168"/>
                      <a:pt x="42" y="168"/>
                    </a:cubicBezTo>
                    <a:cubicBezTo>
                      <a:pt x="45" y="168"/>
                      <a:pt x="48" y="170"/>
                      <a:pt x="51" y="172"/>
                    </a:cubicBezTo>
                    <a:cubicBezTo>
                      <a:pt x="52" y="173"/>
                      <a:pt x="52" y="174"/>
                      <a:pt x="53" y="174"/>
                    </a:cubicBezTo>
                    <a:cubicBezTo>
                      <a:pt x="61" y="179"/>
                      <a:pt x="69" y="183"/>
                      <a:pt x="76" y="187"/>
                    </a:cubicBezTo>
                    <a:cubicBezTo>
                      <a:pt x="79" y="188"/>
                      <a:pt x="81" y="190"/>
                      <a:pt x="84" y="191"/>
                    </a:cubicBezTo>
                    <a:cubicBezTo>
                      <a:pt x="91" y="195"/>
                      <a:pt x="91" y="195"/>
                      <a:pt x="91" y="195"/>
                    </a:cubicBezTo>
                    <a:cubicBezTo>
                      <a:pt x="98" y="199"/>
                      <a:pt x="105" y="205"/>
                      <a:pt x="111" y="211"/>
                    </a:cubicBezTo>
                    <a:cubicBezTo>
                      <a:pt x="115" y="214"/>
                      <a:pt x="119" y="217"/>
                      <a:pt x="122" y="220"/>
                    </a:cubicBezTo>
                    <a:cubicBezTo>
                      <a:pt x="125" y="222"/>
                      <a:pt x="128" y="224"/>
                      <a:pt x="131" y="226"/>
                    </a:cubicBezTo>
                    <a:cubicBezTo>
                      <a:pt x="143" y="235"/>
                      <a:pt x="143" y="235"/>
                      <a:pt x="143" y="235"/>
                    </a:cubicBezTo>
                    <a:cubicBezTo>
                      <a:pt x="146" y="238"/>
                      <a:pt x="149" y="240"/>
                      <a:pt x="152" y="243"/>
                    </a:cubicBezTo>
                    <a:cubicBezTo>
                      <a:pt x="156" y="246"/>
                      <a:pt x="161" y="249"/>
                      <a:pt x="165" y="253"/>
                    </a:cubicBezTo>
                    <a:cubicBezTo>
                      <a:pt x="166" y="253"/>
                      <a:pt x="167" y="253"/>
                      <a:pt x="168" y="253"/>
                    </a:cubicBezTo>
                    <a:cubicBezTo>
                      <a:pt x="170" y="254"/>
                      <a:pt x="170" y="254"/>
                      <a:pt x="170" y="254"/>
                    </a:cubicBezTo>
                    <a:cubicBezTo>
                      <a:pt x="208" y="257"/>
                      <a:pt x="208" y="257"/>
                      <a:pt x="208" y="257"/>
                    </a:cubicBezTo>
                    <a:cubicBezTo>
                      <a:pt x="208" y="257"/>
                      <a:pt x="209" y="257"/>
                      <a:pt x="209" y="257"/>
                    </a:cubicBezTo>
                    <a:cubicBezTo>
                      <a:pt x="210" y="257"/>
                      <a:pt x="210" y="257"/>
                      <a:pt x="210" y="257"/>
                    </a:cubicBezTo>
                    <a:cubicBezTo>
                      <a:pt x="211" y="257"/>
                      <a:pt x="211" y="258"/>
                      <a:pt x="212" y="258"/>
                    </a:cubicBezTo>
                    <a:cubicBezTo>
                      <a:pt x="212" y="258"/>
                      <a:pt x="212" y="258"/>
                      <a:pt x="212" y="258"/>
                    </a:cubicBezTo>
                    <a:cubicBezTo>
                      <a:pt x="212" y="257"/>
                      <a:pt x="212" y="257"/>
                      <a:pt x="212" y="257"/>
                    </a:cubicBezTo>
                    <a:cubicBezTo>
                      <a:pt x="213" y="257"/>
                      <a:pt x="214" y="257"/>
                      <a:pt x="214" y="257"/>
                    </a:cubicBezTo>
                    <a:cubicBezTo>
                      <a:pt x="215" y="256"/>
                      <a:pt x="215" y="256"/>
                      <a:pt x="215" y="256"/>
                    </a:cubicBezTo>
                    <a:cubicBezTo>
                      <a:pt x="218" y="251"/>
                      <a:pt x="220" y="246"/>
                      <a:pt x="223" y="242"/>
                    </a:cubicBezTo>
                    <a:cubicBezTo>
                      <a:pt x="224" y="241"/>
                      <a:pt x="224" y="240"/>
                      <a:pt x="225" y="239"/>
                    </a:cubicBezTo>
                    <a:cubicBezTo>
                      <a:pt x="225" y="238"/>
                      <a:pt x="225" y="238"/>
                      <a:pt x="225" y="238"/>
                    </a:cubicBezTo>
                    <a:cubicBezTo>
                      <a:pt x="227" y="235"/>
                      <a:pt x="229" y="230"/>
                      <a:pt x="233" y="228"/>
                    </a:cubicBezTo>
                    <a:cubicBezTo>
                      <a:pt x="235" y="226"/>
                      <a:pt x="237" y="226"/>
                      <a:pt x="240" y="225"/>
                    </a:cubicBezTo>
                    <a:cubicBezTo>
                      <a:pt x="241" y="225"/>
                      <a:pt x="242" y="225"/>
                      <a:pt x="244" y="225"/>
                    </a:cubicBezTo>
                    <a:cubicBezTo>
                      <a:pt x="246" y="225"/>
                      <a:pt x="249" y="225"/>
                      <a:pt x="252" y="226"/>
                    </a:cubicBezTo>
                    <a:cubicBezTo>
                      <a:pt x="252" y="223"/>
                      <a:pt x="252" y="223"/>
                      <a:pt x="252" y="223"/>
                    </a:cubicBezTo>
                    <a:cubicBezTo>
                      <a:pt x="258" y="227"/>
                      <a:pt x="258" y="227"/>
                      <a:pt x="258" y="227"/>
                    </a:cubicBezTo>
                    <a:cubicBezTo>
                      <a:pt x="261" y="229"/>
                      <a:pt x="264" y="230"/>
                      <a:pt x="266" y="231"/>
                    </a:cubicBezTo>
                    <a:cubicBezTo>
                      <a:pt x="266" y="231"/>
                      <a:pt x="266" y="231"/>
                      <a:pt x="266" y="231"/>
                    </a:cubicBezTo>
                    <a:cubicBezTo>
                      <a:pt x="266" y="231"/>
                      <a:pt x="266" y="231"/>
                      <a:pt x="266" y="231"/>
                    </a:cubicBezTo>
                    <a:cubicBezTo>
                      <a:pt x="266" y="231"/>
                      <a:pt x="266" y="231"/>
                      <a:pt x="266" y="231"/>
                    </a:cubicBezTo>
                    <a:cubicBezTo>
                      <a:pt x="267" y="232"/>
                      <a:pt x="267" y="232"/>
                      <a:pt x="267" y="232"/>
                    </a:cubicBezTo>
                    <a:cubicBezTo>
                      <a:pt x="267" y="232"/>
                      <a:pt x="267" y="232"/>
                      <a:pt x="267" y="232"/>
                    </a:cubicBezTo>
                    <a:cubicBezTo>
                      <a:pt x="269" y="235"/>
                      <a:pt x="269" y="235"/>
                      <a:pt x="269" y="235"/>
                    </a:cubicBezTo>
                    <a:cubicBezTo>
                      <a:pt x="270" y="235"/>
                      <a:pt x="271" y="235"/>
                      <a:pt x="273" y="236"/>
                    </a:cubicBezTo>
                    <a:cubicBezTo>
                      <a:pt x="274" y="236"/>
                      <a:pt x="274" y="236"/>
                      <a:pt x="274" y="236"/>
                    </a:cubicBezTo>
                    <a:cubicBezTo>
                      <a:pt x="273" y="235"/>
                      <a:pt x="273" y="235"/>
                      <a:pt x="273" y="235"/>
                    </a:cubicBezTo>
                    <a:cubicBezTo>
                      <a:pt x="270" y="233"/>
                      <a:pt x="267" y="230"/>
                      <a:pt x="266" y="229"/>
                    </a:cubicBezTo>
                    <a:cubicBezTo>
                      <a:pt x="266" y="228"/>
                      <a:pt x="266" y="228"/>
                      <a:pt x="266" y="228"/>
                    </a:cubicBezTo>
                    <a:cubicBezTo>
                      <a:pt x="265" y="227"/>
                      <a:pt x="265" y="227"/>
                      <a:pt x="265" y="227"/>
                    </a:cubicBezTo>
                    <a:cubicBezTo>
                      <a:pt x="264" y="225"/>
                      <a:pt x="263" y="224"/>
                      <a:pt x="262" y="223"/>
                    </a:cubicBezTo>
                    <a:cubicBezTo>
                      <a:pt x="261" y="222"/>
                      <a:pt x="260" y="222"/>
                      <a:pt x="259" y="221"/>
                    </a:cubicBezTo>
                    <a:cubicBezTo>
                      <a:pt x="257" y="220"/>
                      <a:pt x="256" y="218"/>
                      <a:pt x="255" y="217"/>
                    </a:cubicBezTo>
                    <a:cubicBezTo>
                      <a:pt x="255" y="216"/>
                      <a:pt x="255" y="216"/>
                      <a:pt x="255" y="216"/>
                    </a:cubicBezTo>
                    <a:cubicBezTo>
                      <a:pt x="255" y="214"/>
                      <a:pt x="255" y="213"/>
                      <a:pt x="255" y="211"/>
                    </a:cubicBezTo>
                    <a:cubicBezTo>
                      <a:pt x="255" y="211"/>
                      <a:pt x="255" y="211"/>
                      <a:pt x="255" y="211"/>
                    </a:cubicBezTo>
                    <a:cubicBezTo>
                      <a:pt x="255" y="209"/>
                      <a:pt x="256" y="206"/>
                      <a:pt x="255" y="204"/>
                    </a:cubicBezTo>
                    <a:cubicBezTo>
                      <a:pt x="255" y="204"/>
                      <a:pt x="255" y="204"/>
                      <a:pt x="255" y="204"/>
                    </a:cubicBezTo>
                    <a:cubicBezTo>
                      <a:pt x="255" y="204"/>
                      <a:pt x="253" y="204"/>
                      <a:pt x="252" y="204"/>
                    </a:cubicBezTo>
                    <a:cubicBezTo>
                      <a:pt x="250" y="204"/>
                      <a:pt x="250" y="204"/>
                      <a:pt x="250" y="204"/>
                    </a:cubicBezTo>
                    <a:cubicBezTo>
                      <a:pt x="249" y="204"/>
                      <a:pt x="249" y="204"/>
                      <a:pt x="249" y="204"/>
                    </a:cubicBezTo>
                    <a:cubicBezTo>
                      <a:pt x="245" y="204"/>
                      <a:pt x="245" y="204"/>
                      <a:pt x="245" y="204"/>
                    </a:cubicBezTo>
                    <a:cubicBezTo>
                      <a:pt x="245" y="201"/>
                      <a:pt x="245" y="201"/>
                      <a:pt x="245" y="201"/>
                    </a:cubicBezTo>
                    <a:cubicBezTo>
                      <a:pt x="245" y="198"/>
                      <a:pt x="245" y="195"/>
                      <a:pt x="246" y="191"/>
                    </a:cubicBezTo>
                    <a:cubicBezTo>
                      <a:pt x="246" y="189"/>
                      <a:pt x="246" y="188"/>
                      <a:pt x="246" y="186"/>
                    </a:cubicBezTo>
                    <a:cubicBezTo>
                      <a:pt x="246" y="185"/>
                      <a:pt x="246" y="185"/>
                      <a:pt x="247" y="184"/>
                    </a:cubicBezTo>
                    <a:cubicBezTo>
                      <a:pt x="248" y="181"/>
                      <a:pt x="248" y="181"/>
                      <a:pt x="248" y="181"/>
                    </a:cubicBezTo>
                    <a:cubicBezTo>
                      <a:pt x="248" y="180"/>
                      <a:pt x="249" y="180"/>
                      <a:pt x="249" y="179"/>
                    </a:cubicBezTo>
                    <a:cubicBezTo>
                      <a:pt x="242" y="176"/>
                      <a:pt x="242" y="176"/>
                      <a:pt x="242" y="176"/>
                    </a:cubicBezTo>
                    <a:cubicBezTo>
                      <a:pt x="250" y="177"/>
                      <a:pt x="250" y="177"/>
                      <a:pt x="250" y="177"/>
                    </a:cubicBezTo>
                    <a:cubicBezTo>
                      <a:pt x="250" y="177"/>
                      <a:pt x="250" y="177"/>
                      <a:pt x="250" y="177"/>
                    </a:cubicBezTo>
                    <a:cubicBezTo>
                      <a:pt x="250" y="177"/>
                      <a:pt x="250" y="177"/>
                      <a:pt x="250" y="177"/>
                    </a:cubicBezTo>
                    <a:cubicBezTo>
                      <a:pt x="250" y="176"/>
                      <a:pt x="250" y="176"/>
                      <a:pt x="250" y="176"/>
                    </a:cubicBezTo>
                    <a:cubicBezTo>
                      <a:pt x="250" y="176"/>
                      <a:pt x="249" y="175"/>
                      <a:pt x="247" y="171"/>
                    </a:cubicBezTo>
                    <a:cubicBezTo>
                      <a:pt x="246" y="170"/>
                      <a:pt x="244" y="168"/>
                      <a:pt x="243" y="167"/>
                    </a:cubicBezTo>
                    <a:cubicBezTo>
                      <a:pt x="243" y="166"/>
                      <a:pt x="243" y="166"/>
                      <a:pt x="243" y="166"/>
                    </a:cubicBezTo>
                    <a:cubicBezTo>
                      <a:pt x="236" y="170"/>
                      <a:pt x="236" y="170"/>
                      <a:pt x="236" y="170"/>
                    </a:cubicBezTo>
                    <a:cubicBezTo>
                      <a:pt x="242" y="165"/>
                      <a:pt x="242" y="165"/>
                      <a:pt x="242" y="165"/>
                    </a:cubicBezTo>
                    <a:cubicBezTo>
                      <a:pt x="241" y="162"/>
                      <a:pt x="239" y="160"/>
                      <a:pt x="238" y="158"/>
                    </a:cubicBezTo>
                    <a:cubicBezTo>
                      <a:pt x="237" y="158"/>
                      <a:pt x="237" y="157"/>
                      <a:pt x="237" y="157"/>
                    </a:cubicBezTo>
                    <a:cubicBezTo>
                      <a:pt x="236" y="157"/>
                      <a:pt x="236" y="157"/>
                      <a:pt x="236" y="157"/>
                    </a:cubicBezTo>
                    <a:cubicBezTo>
                      <a:pt x="236" y="157"/>
                      <a:pt x="235" y="157"/>
                      <a:pt x="235" y="157"/>
                    </a:cubicBezTo>
                    <a:cubicBezTo>
                      <a:pt x="235" y="157"/>
                      <a:pt x="234" y="158"/>
                      <a:pt x="233" y="158"/>
                    </a:cubicBezTo>
                    <a:cubicBezTo>
                      <a:pt x="233" y="158"/>
                      <a:pt x="232" y="157"/>
                      <a:pt x="231" y="157"/>
                    </a:cubicBezTo>
                    <a:cubicBezTo>
                      <a:pt x="230" y="157"/>
                      <a:pt x="229" y="156"/>
                      <a:pt x="228" y="156"/>
                    </a:cubicBezTo>
                    <a:cubicBezTo>
                      <a:pt x="216" y="146"/>
                      <a:pt x="216" y="146"/>
                      <a:pt x="216" y="146"/>
                    </a:cubicBezTo>
                    <a:cubicBezTo>
                      <a:pt x="215" y="145"/>
                      <a:pt x="213" y="144"/>
                      <a:pt x="211" y="143"/>
                    </a:cubicBezTo>
                    <a:cubicBezTo>
                      <a:pt x="210" y="143"/>
                      <a:pt x="209" y="142"/>
                      <a:pt x="208" y="142"/>
                    </a:cubicBezTo>
                    <a:cubicBezTo>
                      <a:pt x="207" y="142"/>
                      <a:pt x="207" y="142"/>
                      <a:pt x="207" y="142"/>
                    </a:cubicBezTo>
                    <a:cubicBezTo>
                      <a:pt x="205" y="142"/>
                      <a:pt x="203" y="142"/>
                      <a:pt x="202" y="141"/>
                    </a:cubicBezTo>
                    <a:cubicBezTo>
                      <a:pt x="201" y="140"/>
                      <a:pt x="201" y="140"/>
                      <a:pt x="201" y="140"/>
                    </a:cubicBezTo>
                    <a:cubicBezTo>
                      <a:pt x="200" y="139"/>
                      <a:pt x="199" y="138"/>
                      <a:pt x="199" y="137"/>
                    </a:cubicBezTo>
                    <a:cubicBezTo>
                      <a:pt x="198" y="135"/>
                      <a:pt x="198" y="132"/>
                      <a:pt x="197" y="130"/>
                    </a:cubicBezTo>
                    <a:cubicBezTo>
                      <a:pt x="197" y="130"/>
                      <a:pt x="197" y="130"/>
                      <a:pt x="197" y="130"/>
                    </a:cubicBezTo>
                    <a:cubicBezTo>
                      <a:pt x="197" y="128"/>
                      <a:pt x="197" y="127"/>
                      <a:pt x="197" y="127"/>
                    </a:cubicBezTo>
                    <a:cubicBezTo>
                      <a:pt x="196" y="126"/>
                      <a:pt x="196" y="125"/>
                      <a:pt x="196" y="124"/>
                    </a:cubicBezTo>
                    <a:cubicBezTo>
                      <a:pt x="196" y="123"/>
                      <a:pt x="196" y="123"/>
                      <a:pt x="196" y="123"/>
                    </a:cubicBezTo>
                    <a:cubicBezTo>
                      <a:pt x="196" y="122"/>
                      <a:pt x="196" y="122"/>
                      <a:pt x="196" y="122"/>
                    </a:cubicBezTo>
                    <a:cubicBezTo>
                      <a:pt x="195" y="122"/>
                      <a:pt x="195" y="122"/>
                      <a:pt x="195" y="122"/>
                    </a:cubicBezTo>
                    <a:cubicBezTo>
                      <a:pt x="195" y="122"/>
                      <a:pt x="195" y="122"/>
                      <a:pt x="195" y="122"/>
                    </a:cubicBezTo>
                    <a:cubicBezTo>
                      <a:pt x="193" y="121"/>
                      <a:pt x="192" y="121"/>
                      <a:pt x="191" y="120"/>
                    </a:cubicBezTo>
                    <a:cubicBezTo>
                      <a:pt x="191" y="120"/>
                      <a:pt x="191" y="120"/>
                      <a:pt x="191" y="120"/>
                    </a:cubicBezTo>
                    <a:cubicBezTo>
                      <a:pt x="183" y="112"/>
                      <a:pt x="183" y="112"/>
                      <a:pt x="183" y="112"/>
                    </a:cubicBezTo>
                    <a:cubicBezTo>
                      <a:pt x="183" y="111"/>
                      <a:pt x="182" y="111"/>
                      <a:pt x="182" y="110"/>
                    </a:cubicBezTo>
                    <a:cubicBezTo>
                      <a:pt x="181" y="109"/>
                      <a:pt x="180" y="107"/>
                      <a:pt x="181" y="105"/>
                    </a:cubicBezTo>
                    <a:cubicBezTo>
                      <a:pt x="181" y="104"/>
                      <a:pt x="181" y="104"/>
                      <a:pt x="181" y="104"/>
                    </a:cubicBezTo>
                    <a:cubicBezTo>
                      <a:pt x="182" y="102"/>
                      <a:pt x="183" y="100"/>
                      <a:pt x="184" y="98"/>
                    </a:cubicBezTo>
                    <a:cubicBezTo>
                      <a:pt x="185" y="96"/>
                      <a:pt x="185" y="96"/>
                      <a:pt x="185" y="96"/>
                    </a:cubicBezTo>
                    <a:cubicBezTo>
                      <a:pt x="185" y="96"/>
                      <a:pt x="185" y="96"/>
                      <a:pt x="185" y="96"/>
                    </a:cubicBezTo>
                    <a:cubicBezTo>
                      <a:pt x="184" y="95"/>
                      <a:pt x="184" y="95"/>
                      <a:pt x="184" y="95"/>
                    </a:cubicBezTo>
                    <a:cubicBezTo>
                      <a:pt x="184" y="95"/>
                      <a:pt x="184" y="95"/>
                      <a:pt x="184" y="95"/>
                    </a:cubicBezTo>
                    <a:cubicBezTo>
                      <a:pt x="183" y="94"/>
                      <a:pt x="182" y="93"/>
                      <a:pt x="182" y="91"/>
                    </a:cubicBezTo>
                    <a:cubicBezTo>
                      <a:pt x="181" y="89"/>
                      <a:pt x="181" y="89"/>
                      <a:pt x="181" y="89"/>
                    </a:cubicBezTo>
                    <a:cubicBezTo>
                      <a:pt x="188" y="82"/>
                      <a:pt x="188" y="82"/>
                      <a:pt x="188" y="82"/>
                    </a:cubicBezTo>
                    <a:cubicBezTo>
                      <a:pt x="190" y="84"/>
                      <a:pt x="190" y="84"/>
                      <a:pt x="190" y="84"/>
                    </a:cubicBezTo>
                    <a:cubicBezTo>
                      <a:pt x="190" y="82"/>
                      <a:pt x="190" y="82"/>
                      <a:pt x="190" y="82"/>
                    </a:cubicBezTo>
                    <a:cubicBezTo>
                      <a:pt x="191" y="78"/>
                      <a:pt x="192" y="75"/>
                      <a:pt x="195" y="71"/>
                    </a:cubicBezTo>
                    <a:cubicBezTo>
                      <a:pt x="195" y="70"/>
                      <a:pt x="195" y="70"/>
                      <a:pt x="195" y="70"/>
                    </a:cubicBezTo>
                    <a:cubicBezTo>
                      <a:pt x="197" y="69"/>
                      <a:pt x="200" y="68"/>
                      <a:pt x="202" y="68"/>
                    </a:cubicBezTo>
                    <a:cubicBezTo>
                      <a:pt x="202" y="67"/>
                      <a:pt x="202" y="67"/>
                      <a:pt x="202" y="67"/>
                    </a:cubicBezTo>
                    <a:cubicBezTo>
                      <a:pt x="202" y="67"/>
                      <a:pt x="202" y="67"/>
                      <a:pt x="202" y="67"/>
                    </a:cubicBezTo>
                    <a:cubicBezTo>
                      <a:pt x="202" y="66"/>
                      <a:pt x="202" y="66"/>
                      <a:pt x="201" y="64"/>
                    </a:cubicBezTo>
                    <a:cubicBezTo>
                      <a:pt x="200" y="64"/>
                      <a:pt x="200" y="64"/>
                      <a:pt x="200" y="64"/>
                    </a:cubicBezTo>
                    <a:cubicBezTo>
                      <a:pt x="200" y="63"/>
                      <a:pt x="199" y="62"/>
                      <a:pt x="199" y="62"/>
                    </a:cubicBezTo>
                    <a:cubicBezTo>
                      <a:pt x="198" y="61"/>
                      <a:pt x="198" y="61"/>
                      <a:pt x="198" y="61"/>
                    </a:cubicBezTo>
                    <a:cubicBezTo>
                      <a:pt x="198" y="59"/>
                      <a:pt x="198" y="58"/>
                      <a:pt x="198" y="57"/>
                    </a:cubicBezTo>
                    <a:cubicBezTo>
                      <a:pt x="198" y="55"/>
                      <a:pt x="198" y="55"/>
                      <a:pt x="198" y="55"/>
                    </a:cubicBezTo>
                    <a:cubicBezTo>
                      <a:pt x="198" y="55"/>
                      <a:pt x="198" y="54"/>
                      <a:pt x="198" y="54"/>
                    </a:cubicBezTo>
                    <a:cubicBezTo>
                      <a:pt x="198" y="52"/>
                      <a:pt x="198" y="52"/>
                      <a:pt x="198" y="52"/>
                    </a:cubicBezTo>
                    <a:cubicBezTo>
                      <a:pt x="198" y="52"/>
                      <a:pt x="199" y="51"/>
                      <a:pt x="199" y="50"/>
                    </a:cubicBezTo>
                    <a:cubicBezTo>
                      <a:pt x="198" y="51"/>
                      <a:pt x="197" y="51"/>
                      <a:pt x="196" y="51"/>
                    </a:cubicBezTo>
                    <a:cubicBezTo>
                      <a:pt x="196" y="51"/>
                      <a:pt x="195" y="51"/>
                      <a:pt x="195" y="51"/>
                    </a:cubicBezTo>
                    <a:cubicBezTo>
                      <a:pt x="193" y="50"/>
                      <a:pt x="192" y="50"/>
                      <a:pt x="191" y="49"/>
                    </a:cubicBezTo>
                    <a:cubicBezTo>
                      <a:pt x="190" y="48"/>
                      <a:pt x="190" y="48"/>
                      <a:pt x="190" y="48"/>
                    </a:cubicBezTo>
                    <a:cubicBezTo>
                      <a:pt x="189" y="47"/>
                      <a:pt x="188" y="46"/>
                      <a:pt x="187" y="45"/>
                    </a:cubicBezTo>
                    <a:cubicBezTo>
                      <a:pt x="186" y="45"/>
                      <a:pt x="186" y="44"/>
                      <a:pt x="186" y="44"/>
                    </a:cubicBezTo>
                    <a:cubicBezTo>
                      <a:pt x="186" y="44"/>
                      <a:pt x="186" y="44"/>
                      <a:pt x="185" y="45"/>
                    </a:cubicBezTo>
                    <a:cubicBezTo>
                      <a:pt x="184" y="45"/>
                      <a:pt x="184" y="45"/>
                      <a:pt x="184" y="45"/>
                    </a:cubicBezTo>
                    <a:cubicBezTo>
                      <a:pt x="183" y="45"/>
                      <a:pt x="183" y="45"/>
                      <a:pt x="183" y="45"/>
                    </a:cubicBezTo>
                    <a:cubicBezTo>
                      <a:pt x="181" y="45"/>
                      <a:pt x="179" y="43"/>
                      <a:pt x="179" y="40"/>
                    </a:cubicBezTo>
                    <a:cubicBezTo>
                      <a:pt x="179" y="40"/>
                      <a:pt x="178" y="40"/>
                      <a:pt x="178" y="39"/>
                    </a:cubicBezTo>
                    <a:cubicBezTo>
                      <a:pt x="178" y="37"/>
                      <a:pt x="178" y="37"/>
                      <a:pt x="178" y="37"/>
                    </a:cubicBezTo>
                    <a:cubicBezTo>
                      <a:pt x="178" y="35"/>
                      <a:pt x="177" y="33"/>
                      <a:pt x="176" y="31"/>
                    </a:cubicBezTo>
                    <a:cubicBezTo>
                      <a:pt x="176" y="30"/>
                      <a:pt x="176" y="30"/>
                      <a:pt x="176" y="30"/>
                    </a:cubicBezTo>
                    <a:cubicBezTo>
                      <a:pt x="176" y="30"/>
                      <a:pt x="176" y="30"/>
                      <a:pt x="176" y="30"/>
                    </a:cubicBezTo>
                    <a:cubicBezTo>
                      <a:pt x="175" y="29"/>
                      <a:pt x="175" y="29"/>
                      <a:pt x="175" y="29"/>
                    </a:cubicBezTo>
                    <a:cubicBezTo>
                      <a:pt x="173" y="28"/>
                      <a:pt x="172" y="28"/>
                      <a:pt x="171" y="27"/>
                    </a:cubicBezTo>
                    <a:cubicBezTo>
                      <a:pt x="170" y="25"/>
                      <a:pt x="170" y="23"/>
                      <a:pt x="170" y="21"/>
                    </a:cubicBezTo>
                    <a:cubicBezTo>
                      <a:pt x="170" y="21"/>
                      <a:pt x="170" y="21"/>
                      <a:pt x="170" y="21"/>
                    </a:cubicBezTo>
                    <a:cubicBezTo>
                      <a:pt x="170" y="20"/>
                      <a:pt x="170" y="20"/>
                      <a:pt x="170" y="20"/>
                    </a:cubicBezTo>
                    <a:cubicBezTo>
                      <a:pt x="169" y="20"/>
                      <a:pt x="169" y="20"/>
                      <a:pt x="169" y="20"/>
                    </a:cubicBezTo>
                    <a:cubicBezTo>
                      <a:pt x="169" y="20"/>
                      <a:pt x="167" y="19"/>
                      <a:pt x="166" y="18"/>
                    </a:cubicBezTo>
                    <a:cubicBezTo>
                      <a:pt x="165" y="16"/>
                      <a:pt x="165" y="14"/>
                      <a:pt x="165" y="13"/>
                    </a:cubicBezTo>
                    <a:cubicBezTo>
                      <a:pt x="165" y="12"/>
                      <a:pt x="165" y="12"/>
                      <a:pt x="165" y="12"/>
                    </a:cubicBezTo>
                    <a:cubicBezTo>
                      <a:pt x="166" y="11"/>
                      <a:pt x="166" y="11"/>
                      <a:pt x="166" y="11"/>
                    </a:cubicBezTo>
                    <a:cubicBezTo>
                      <a:pt x="165" y="10"/>
                      <a:pt x="165" y="10"/>
                      <a:pt x="165" y="10"/>
                    </a:cubicBezTo>
                    <a:cubicBezTo>
                      <a:pt x="165" y="9"/>
                      <a:pt x="165" y="9"/>
                      <a:pt x="164" y="8"/>
                    </a:cubicBezTo>
                    <a:cubicBezTo>
                      <a:pt x="162" y="9"/>
                      <a:pt x="162" y="9"/>
                      <a:pt x="162" y="9"/>
                    </a:cubicBezTo>
                    <a:cubicBezTo>
                      <a:pt x="162" y="10"/>
                      <a:pt x="161" y="10"/>
                      <a:pt x="161" y="10"/>
                    </a:cubicBezTo>
                    <a:cubicBezTo>
                      <a:pt x="160" y="10"/>
                      <a:pt x="160" y="10"/>
                      <a:pt x="160" y="10"/>
                    </a:cubicBezTo>
                    <a:cubicBezTo>
                      <a:pt x="158" y="11"/>
                      <a:pt x="157" y="12"/>
                      <a:pt x="155" y="12"/>
                    </a:cubicBezTo>
                    <a:cubicBezTo>
                      <a:pt x="154" y="12"/>
                      <a:pt x="154" y="12"/>
                      <a:pt x="154" y="12"/>
                    </a:cubicBezTo>
                    <a:cubicBezTo>
                      <a:pt x="153" y="12"/>
                      <a:pt x="153" y="12"/>
                      <a:pt x="153" y="12"/>
                    </a:cubicBezTo>
                    <a:cubicBezTo>
                      <a:pt x="150" y="12"/>
                      <a:pt x="149" y="9"/>
                      <a:pt x="149" y="8"/>
                    </a:cubicBezTo>
                    <a:cubicBezTo>
                      <a:pt x="149" y="7"/>
                      <a:pt x="148" y="7"/>
                      <a:pt x="148" y="6"/>
                    </a:cubicBezTo>
                    <a:cubicBezTo>
                      <a:pt x="148" y="6"/>
                      <a:pt x="148" y="6"/>
                      <a:pt x="148" y="6"/>
                    </a:cubicBezTo>
                    <a:cubicBezTo>
                      <a:pt x="148" y="5"/>
                      <a:pt x="148" y="5"/>
                      <a:pt x="147" y="5"/>
                    </a:cubicBezTo>
                    <a:cubicBezTo>
                      <a:pt x="147" y="4"/>
                      <a:pt x="147" y="4"/>
                      <a:pt x="147" y="4"/>
                    </a:cubicBezTo>
                    <a:cubicBezTo>
                      <a:pt x="147" y="3"/>
                      <a:pt x="146" y="2"/>
                      <a:pt x="146" y="2"/>
                    </a:cubicBezTo>
                    <a:cubicBezTo>
                      <a:pt x="146" y="2"/>
                      <a:pt x="145" y="2"/>
                      <a:pt x="144" y="3"/>
                    </a:cubicBezTo>
                    <a:cubicBezTo>
                      <a:pt x="143" y="3"/>
                      <a:pt x="141" y="3"/>
                      <a:pt x="139" y="3"/>
                    </a:cubicBezTo>
                    <a:cubicBezTo>
                      <a:pt x="135" y="3"/>
                      <a:pt x="130" y="2"/>
                      <a:pt x="126" y="2"/>
                    </a:cubicBezTo>
                    <a:cubicBezTo>
                      <a:pt x="123" y="1"/>
                      <a:pt x="123" y="1"/>
                      <a:pt x="123" y="1"/>
                    </a:cubicBezTo>
                    <a:cubicBezTo>
                      <a:pt x="121" y="1"/>
                      <a:pt x="120" y="0"/>
                      <a:pt x="118" y="0"/>
                    </a:cubicBezTo>
                    <a:cubicBezTo>
                      <a:pt x="118" y="0"/>
                      <a:pt x="118" y="0"/>
                      <a:pt x="118" y="0"/>
                    </a:cubicBezTo>
                    <a:cubicBezTo>
                      <a:pt x="117" y="0"/>
                      <a:pt x="116" y="0"/>
                      <a:pt x="116" y="0"/>
                    </a:cubicBezTo>
                    <a:cubicBezTo>
                      <a:pt x="115" y="0"/>
                      <a:pt x="115"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240"/>
              <p:cNvSpPr/>
              <p:nvPr/>
            </p:nvSpPr>
            <p:spPr bwMode="auto">
              <a:xfrm>
                <a:off x="8575264" y="6135718"/>
                <a:ext cx="143719" cy="132664"/>
              </a:xfrm>
              <a:custGeom>
                <a:gdLst>
                  <a:gd name="T0" fmla="*/ 22 w 46"/>
                  <a:gd name="T1" fmla="*/ 0 h 42"/>
                  <a:gd name="T2" fmla="*/ 19 w 46"/>
                  <a:gd name="T3" fmla="*/ 0 h 42"/>
                  <a:gd name="T4" fmla="*/ 15 w 46"/>
                  <a:gd name="T5" fmla="*/ 2 h 42"/>
                  <a:gd name="T6" fmla="*/ 9 w 46"/>
                  <a:gd name="T7" fmla="*/ 10 h 42"/>
                  <a:gd name="T8" fmla="*/ 9 w 46"/>
                  <a:gd name="T9" fmla="*/ 10 h 42"/>
                  <a:gd name="T10" fmla="*/ 7 w 46"/>
                  <a:gd name="T11" fmla="*/ 13 h 42"/>
                  <a:gd name="T12" fmla="*/ 0 w 46"/>
                  <a:gd name="T13" fmla="*/ 25 h 42"/>
                  <a:gd name="T14" fmla="*/ 21 w 46"/>
                  <a:gd name="T15" fmla="*/ 31 h 42"/>
                  <a:gd name="T16" fmla="*/ 26 w 46"/>
                  <a:gd name="T17" fmla="*/ 37 h 42"/>
                  <a:gd name="T18" fmla="*/ 27 w 46"/>
                  <a:gd name="T19" fmla="*/ 39 h 42"/>
                  <a:gd name="T20" fmla="*/ 27 w 46"/>
                  <a:gd name="T21" fmla="*/ 39 h 42"/>
                  <a:gd name="T22" fmla="*/ 27 w 46"/>
                  <a:gd name="T23" fmla="*/ 40 h 42"/>
                  <a:gd name="T24" fmla="*/ 29 w 46"/>
                  <a:gd name="T25" fmla="*/ 41 h 42"/>
                  <a:gd name="T26" fmla="*/ 35 w 46"/>
                  <a:gd name="T27" fmla="*/ 42 h 42"/>
                  <a:gd name="T28" fmla="*/ 42 w 46"/>
                  <a:gd name="T29" fmla="*/ 42 h 42"/>
                  <a:gd name="T30" fmla="*/ 46 w 46"/>
                  <a:gd name="T31" fmla="*/ 42 h 42"/>
                  <a:gd name="T32" fmla="*/ 39 w 46"/>
                  <a:gd name="T33" fmla="*/ 27 h 42"/>
                  <a:gd name="T34" fmla="*/ 37 w 46"/>
                  <a:gd name="T35" fmla="*/ 21 h 42"/>
                  <a:gd name="T36" fmla="*/ 29 w 46"/>
                  <a:gd name="T37" fmla="*/ 19 h 42"/>
                  <a:gd name="T38" fmla="*/ 35 w 46"/>
                  <a:gd name="T39" fmla="*/ 11 h 42"/>
                  <a:gd name="T40" fmla="*/ 35 w 46"/>
                  <a:gd name="T41" fmla="*/ 11 h 42"/>
                  <a:gd name="T42" fmla="*/ 40 w 46"/>
                  <a:gd name="T43" fmla="*/ 13 h 42"/>
                  <a:gd name="T44" fmla="*/ 38 w 46"/>
                  <a:gd name="T45" fmla="*/ 8 h 42"/>
                  <a:gd name="T46" fmla="*/ 35 w 46"/>
                  <a:gd name="T47" fmla="*/ 4 h 42"/>
                  <a:gd name="T48" fmla="*/ 30 w 46"/>
                  <a:gd name="T49" fmla="*/ 2 h 42"/>
                  <a:gd name="T50" fmla="*/ 22 w 46"/>
                  <a:gd name="T51" fmla="*/ 0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 h="42">
                    <a:moveTo>
                      <a:pt x="22" y="0"/>
                    </a:moveTo>
                    <a:cubicBezTo>
                      <a:pt x="21" y="0"/>
                      <a:pt x="20" y="0"/>
                      <a:pt x="19" y="0"/>
                    </a:cubicBezTo>
                    <a:cubicBezTo>
                      <a:pt x="17" y="0"/>
                      <a:pt x="16" y="1"/>
                      <a:pt x="15" y="2"/>
                    </a:cubicBezTo>
                    <a:cubicBezTo>
                      <a:pt x="13" y="3"/>
                      <a:pt x="11" y="7"/>
                      <a:pt x="9" y="10"/>
                    </a:cubicBezTo>
                    <a:cubicBezTo>
                      <a:pt x="9" y="10"/>
                      <a:pt x="9" y="10"/>
                      <a:pt x="9" y="10"/>
                    </a:cubicBezTo>
                    <a:cubicBezTo>
                      <a:pt x="9" y="11"/>
                      <a:pt x="8" y="12"/>
                      <a:pt x="7" y="13"/>
                    </a:cubicBezTo>
                    <a:cubicBezTo>
                      <a:pt x="5" y="17"/>
                      <a:pt x="2" y="21"/>
                      <a:pt x="0" y="25"/>
                    </a:cubicBezTo>
                    <a:cubicBezTo>
                      <a:pt x="21" y="31"/>
                      <a:pt x="21" y="31"/>
                      <a:pt x="21" y="31"/>
                    </a:cubicBezTo>
                    <a:cubicBezTo>
                      <a:pt x="25" y="32"/>
                      <a:pt x="26" y="36"/>
                      <a:pt x="26" y="37"/>
                    </a:cubicBezTo>
                    <a:cubicBezTo>
                      <a:pt x="26" y="38"/>
                      <a:pt x="27" y="38"/>
                      <a:pt x="27" y="39"/>
                    </a:cubicBezTo>
                    <a:cubicBezTo>
                      <a:pt x="27" y="39"/>
                      <a:pt x="27" y="39"/>
                      <a:pt x="27" y="39"/>
                    </a:cubicBezTo>
                    <a:cubicBezTo>
                      <a:pt x="27" y="39"/>
                      <a:pt x="27" y="40"/>
                      <a:pt x="27" y="40"/>
                    </a:cubicBezTo>
                    <a:cubicBezTo>
                      <a:pt x="27" y="40"/>
                      <a:pt x="28" y="41"/>
                      <a:pt x="29" y="41"/>
                    </a:cubicBezTo>
                    <a:cubicBezTo>
                      <a:pt x="30" y="42"/>
                      <a:pt x="33" y="42"/>
                      <a:pt x="35" y="42"/>
                    </a:cubicBezTo>
                    <a:cubicBezTo>
                      <a:pt x="37" y="42"/>
                      <a:pt x="40" y="42"/>
                      <a:pt x="42" y="42"/>
                    </a:cubicBezTo>
                    <a:cubicBezTo>
                      <a:pt x="43" y="42"/>
                      <a:pt x="44" y="42"/>
                      <a:pt x="46" y="42"/>
                    </a:cubicBezTo>
                    <a:cubicBezTo>
                      <a:pt x="44" y="37"/>
                      <a:pt x="41" y="32"/>
                      <a:pt x="39" y="27"/>
                    </a:cubicBezTo>
                    <a:cubicBezTo>
                      <a:pt x="38" y="25"/>
                      <a:pt x="38" y="23"/>
                      <a:pt x="37" y="21"/>
                    </a:cubicBezTo>
                    <a:cubicBezTo>
                      <a:pt x="35" y="19"/>
                      <a:pt x="32" y="19"/>
                      <a:pt x="29" y="19"/>
                    </a:cubicBezTo>
                    <a:cubicBezTo>
                      <a:pt x="30" y="17"/>
                      <a:pt x="33" y="12"/>
                      <a:pt x="35" y="11"/>
                    </a:cubicBezTo>
                    <a:cubicBezTo>
                      <a:pt x="35" y="11"/>
                      <a:pt x="35" y="11"/>
                      <a:pt x="35" y="11"/>
                    </a:cubicBezTo>
                    <a:cubicBezTo>
                      <a:pt x="36" y="11"/>
                      <a:pt x="39" y="13"/>
                      <a:pt x="40" y="13"/>
                    </a:cubicBezTo>
                    <a:cubicBezTo>
                      <a:pt x="40" y="12"/>
                      <a:pt x="39" y="10"/>
                      <a:pt x="38" y="8"/>
                    </a:cubicBezTo>
                    <a:cubicBezTo>
                      <a:pt x="38" y="8"/>
                      <a:pt x="36" y="6"/>
                      <a:pt x="35" y="4"/>
                    </a:cubicBezTo>
                    <a:cubicBezTo>
                      <a:pt x="30" y="2"/>
                      <a:pt x="30" y="2"/>
                      <a:pt x="30" y="2"/>
                    </a:cubicBezTo>
                    <a:cubicBezTo>
                      <a:pt x="26" y="0"/>
                      <a:pt x="24"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241"/>
              <p:cNvSpPr/>
              <p:nvPr/>
            </p:nvSpPr>
            <p:spPr bwMode="auto">
              <a:xfrm>
                <a:off x="8693188" y="6146774"/>
                <a:ext cx="25796" cy="29481"/>
              </a:xfrm>
              <a:custGeom>
                <a:gdLst>
                  <a:gd name="T0" fmla="*/ 1 w 9"/>
                  <a:gd name="T1" fmla="*/ 0 h 9"/>
                  <a:gd name="T2" fmla="*/ 0 w 9"/>
                  <a:gd name="T3" fmla="*/ 2 h 9"/>
                  <a:gd name="T4" fmla="*/ 4 w 9"/>
                  <a:gd name="T5" fmla="*/ 9 h 9"/>
                  <a:gd name="T6" fmla="*/ 8 w 9"/>
                  <a:gd name="T7" fmla="*/ 3 h 9"/>
                  <a:gd name="T8" fmla="*/ 4 w 9"/>
                  <a:gd name="T9" fmla="*/ 1 h 9"/>
                  <a:gd name="T10" fmla="*/ 3 w 9"/>
                  <a:gd name="T11" fmla="*/ 1 h 9"/>
                  <a:gd name="T12" fmla="*/ 2 w 9"/>
                  <a:gd name="T13" fmla="*/ 2 h 9"/>
                  <a:gd name="T14" fmla="*/ 2 w 9"/>
                  <a:gd name="T15" fmla="*/ 1 h 9"/>
                  <a:gd name="T16" fmla="*/ 1 w 9"/>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1" y="0"/>
                    </a:moveTo>
                    <a:cubicBezTo>
                      <a:pt x="1" y="1"/>
                      <a:pt x="0" y="1"/>
                      <a:pt x="0" y="2"/>
                    </a:cubicBezTo>
                    <a:cubicBezTo>
                      <a:pt x="0" y="4"/>
                      <a:pt x="3" y="7"/>
                      <a:pt x="4" y="9"/>
                    </a:cubicBezTo>
                    <a:cubicBezTo>
                      <a:pt x="8" y="7"/>
                      <a:pt x="9" y="5"/>
                      <a:pt x="8" y="3"/>
                    </a:cubicBezTo>
                    <a:cubicBezTo>
                      <a:pt x="4" y="1"/>
                      <a:pt x="4" y="1"/>
                      <a:pt x="4" y="1"/>
                    </a:cubicBezTo>
                    <a:cubicBezTo>
                      <a:pt x="3" y="1"/>
                      <a:pt x="3" y="1"/>
                      <a:pt x="3" y="1"/>
                    </a:cubicBezTo>
                    <a:cubicBezTo>
                      <a:pt x="2" y="2"/>
                      <a:pt x="2" y="2"/>
                      <a:pt x="2" y="2"/>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242"/>
              <p:cNvSpPr/>
              <p:nvPr/>
            </p:nvSpPr>
            <p:spPr bwMode="auto">
              <a:xfrm>
                <a:off x="7580283" y="5413436"/>
                <a:ext cx="585933" cy="479065"/>
              </a:xfrm>
              <a:custGeom>
                <a:gdLst>
                  <a:gd name="T0" fmla="*/ 177 w 185"/>
                  <a:gd name="T1" fmla="*/ 1 h 151"/>
                  <a:gd name="T2" fmla="*/ 146 w 185"/>
                  <a:gd name="T3" fmla="*/ 4 h 151"/>
                  <a:gd name="T4" fmla="*/ 135 w 185"/>
                  <a:gd name="T5" fmla="*/ 7 h 151"/>
                  <a:gd name="T6" fmla="*/ 129 w 185"/>
                  <a:gd name="T7" fmla="*/ 10 h 151"/>
                  <a:gd name="T8" fmla="*/ 106 w 185"/>
                  <a:gd name="T9" fmla="*/ 17 h 151"/>
                  <a:gd name="T10" fmla="*/ 104 w 185"/>
                  <a:gd name="T11" fmla="*/ 17 h 151"/>
                  <a:gd name="T12" fmla="*/ 85 w 185"/>
                  <a:gd name="T13" fmla="*/ 16 h 151"/>
                  <a:gd name="T14" fmla="*/ 81 w 185"/>
                  <a:gd name="T15" fmla="*/ 15 h 151"/>
                  <a:gd name="T16" fmla="*/ 79 w 185"/>
                  <a:gd name="T17" fmla="*/ 13 h 151"/>
                  <a:gd name="T18" fmla="*/ 71 w 185"/>
                  <a:gd name="T19" fmla="*/ 11 h 151"/>
                  <a:gd name="T20" fmla="*/ 66 w 185"/>
                  <a:gd name="T21" fmla="*/ 13 h 151"/>
                  <a:gd name="T22" fmla="*/ 44 w 185"/>
                  <a:gd name="T23" fmla="*/ 19 h 151"/>
                  <a:gd name="T24" fmla="*/ 34 w 185"/>
                  <a:gd name="T25" fmla="*/ 18 h 151"/>
                  <a:gd name="T26" fmla="*/ 27 w 185"/>
                  <a:gd name="T27" fmla="*/ 21 h 151"/>
                  <a:gd name="T28" fmla="*/ 36 w 185"/>
                  <a:gd name="T29" fmla="*/ 26 h 151"/>
                  <a:gd name="T30" fmla="*/ 26 w 185"/>
                  <a:gd name="T31" fmla="*/ 30 h 151"/>
                  <a:gd name="T32" fmla="*/ 22 w 185"/>
                  <a:gd name="T33" fmla="*/ 32 h 151"/>
                  <a:gd name="T34" fmla="*/ 22 w 185"/>
                  <a:gd name="T35" fmla="*/ 33 h 151"/>
                  <a:gd name="T36" fmla="*/ 18 w 185"/>
                  <a:gd name="T37" fmla="*/ 40 h 151"/>
                  <a:gd name="T38" fmla="*/ 16 w 185"/>
                  <a:gd name="T39" fmla="*/ 41 h 151"/>
                  <a:gd name="T40" fmla="*/ 15 w 185"/>
                  <a:gd name="T41" fmla="*/ 44 h 151"/>
                  <a:gd name="T42" fmla="*/ 10 w 185"/>
                  <a:gd name="T43" fmla="*/ 45 h 151"/>
                  <a:gd name="T44" fmla="*/ 1 w 185"/>
                  <a:gd name="T45" fmla="*/ 46 h 151"/>
                  <a:gd name="T46" fmla="*/ 5 w 185"/>
                  <a:gd name="T47" fmla="*/ 57 h 151"/>
                  <a:gd name="T48" fmla="*/ 6 w 185"/>
                  <a:gd name="T49" fmla="*/ 77 h 151"/>
                  <a:gd name="T50" fmla="*/ 11 w 185"/>
                  <a:gd name="T51" fmla="*/ 77 h 151"/>
                  <a:gd name="T52" fmla="*/ 16 w 185"/>
                  <a:gd name="T53" fmla="*/ 77 h 151"/>
                  <a:gd name="T54" fmla="*/ 20 w 185"/>
                  <a:gd name="T55" fmla="*/ 77 h 151"/>
                  <a:gd name="T56" fmla="*/ 23 w 185"/>
                  <a:gd name="T57" fmla="*/ 83 h 151"/>
                  <a:gd name="T58" fmla="*/ 26 w 185"/>
                  <a:gd name="T59" fmla="*/ 89 h 151"/>
                  <a:gd name="T60" fmla="*/ 25 w 185"/>
                  <a:gd name="T61" fmla="*/ 99 h 151"/>
                  <a:gd name="T62" fmla="*/ 44 w 185"/>
                  <a:gd name="T63" fmla="*/ 125 h 151"/>
                  <a:gd name="T64" fmla="*/ 14 w 185"/>
                  <a:gd name="T65" fmla="*/ 109 h 151"/>
                  <a:gd name="T66" fmla="*/ 10 w 185"/>
                  <a:gd name="T67" fmla="*/ 110 h 151"/>
                  <a:gd name="T68" fmla="*/ 12 w 185"/>
                  <a:gd name="T69" fmla="*/ 115 h 151"/>
                  <a:gd name="T70" fmla="*/ 11 w 185"/>
                  <a:gd name="T71" fmla="*/ 117 h 151"/>
                  <a:gd name="T72" fmla="*/ 5 w 185"/>
                  <a:gd name="T73" fmla="*/ 123 h 151"/>
                  <a:gd name="T74" fmla="*/ 2 w 185"/>
                  <a:gd name="T75" fmla="*/ 125 h 151"/>
                  <a:gd name="T76" fmla="*/ 1 w 185"/>
                  <a:gd name="T77" fmla="*/ 130 h 151"/>
                  <a:gd name="T78" fmla="*/ 1 w 185"/>
                  <a:gd name="T79" fmla="*/ 138 h 151"/>
                  <a:gd name="T80" fmla="*/ 3 w 185"/>
                  <a:gd name="T81" fmla="*/ 139 h 151"/>
                  <a:gd name="T82" fmla="*/ 7 w 185"/>
                  <a:gd name="T83" fmla="*/ 141 h 151"/>
                  <a:gd name="T84" fmla="*/ 12 w 185"/>
                  <a:gd name="T85" fmla="*/ 145 h 151"/>
                  <a:gd name="T86" fmla="*/ 34 w 185"/>
                  <a:gd name="T87" fmla="*/ 149 h 151"/>
                  <a:gd name="T88" fmla="*/ 85 w 185"/>
                  <a:gd name="T89" fmla="*/ 118 h 151"/>
                  <a:gd name="T90" fmla="*/ 88 w 185"/>
                  <a:gd name="T91" fmla="*/ 116 h 151"/>
                  <a:gd name="T92" fmla="*/ 110 w 185"/>
                  <a:gd name="T93" fmla="*/ 104 h 151"/>
                  <a:gd name="T94" fmla="*/ 127 w 185"/>
                  <a:gd name="T95" fmla="*/ 94 h 151"/>
                  <a:gd name="T96" fmla="*/ 140 w 185"/>
                  <a:gd name="T97" fmla="*/ 87 h 151"/>
                  <a:gd name="T98" fmla="*/ 143 w 185"/>
                  <a:gd name="T99" fmla="*/ 86 h 151"/>
                  <a:gd name="T100" fmla="*/ 151 w 185"/>
                  <a:gd name="T101" fmla="*/ 76 h 151"/>
                  <a:gd name="T102" fmla="*/ 152 w 185"/>
                  <a:gd name="T103" fmla="*/ 71 h 151"/>
                  <a:gd name="T104" fmla="*/ 154 w 185"/>
                  <a:gd name="T105" fmla="*/ 56 h 151"/>
                  <a:gd name="T106" fmla="*/ 155 w 185"/>
                  <a:gd name="T107" fmla="*/ 51 h 151"/>
                  <a:gd name="T108" fmla="*/ 155 w 185"/>
                  <a:gd name="T109" fmla="*/ 42 h 151"/>
                  <a:gd name="T110" fmla="*/ 157 w 185"/>
                  <a:gd name="T111" fmla="*/ 19 h 151"/>
                  <a:gd name="T112" fmla="*/ 167 w 185"/>
                  <a:gd name="T113" fmla="*/ 15 h 151"/>
                  <a:gd name="T114" fmla="*/ 168 w 185"/>
                  <a:gd name="T115" fmla="*/ 14 h 151"/>
                  <a:gd name="T116" fmla="*/ 172 w 185"/>
                  <a:gd name="T117" fmla="*/ 13 h 151"/>
                  <a:gd name="T118" fmla="*/ 185 w 185"/>
                  <a:gd name="T119" fmla="*/ 1 h 151"/>
                  <a:gd name="T120" fmla="*/ 185 w 185"/>
                  <a:gd name="T121" fmla="*/ 0 h 1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5" h="151">
                    <a:moveTo>
                      <a:pt x="185" y="0"/>
                    </a:moveTo>
                    <a:cubicBezTo>
                      <a:pt x="182" y="0"/>
                      <a:pt x="180" y="1"/>
                      <a:pt x="177" y="1"/>
                    </a:cubicBezTo>
                    <a:cubicBezTo>
                      <a:pt x="169" y="3"/>
                      <a:pt x="161" y="4"/>
                      <a:pt x="151" y="4"/>
                    </a:cubicBezTo>
                    <a:cubicBezTo>
                      <a:pt x="149" y="4"/>
                      <a:pt x="148" y="4"/>
                      <a:pt x="146" y="4"/>
                    </a:cubicBezTo>
                    <a:cubicBezTo>
                      <a:pt x="146" y="4"/>
                      <a:pt x="146" y="4"/>
                      <a:pt x="146" y="4"/>
                    </a:cubicBezTo>
                    <a:cubicBezTo>
                      <a:pt x="142" y="4"/>
                      <a:pt x="139" y="6"/>
                      <a:pt x="135" y="7"/>
                    </a:cubicBezTo>
                    <a:cubicBezTo>
                      <a:pt x="134" y="8"/>
                      <a:pt x="133" y="9"/>
                      <a:pt x="131" y="9"/>
                    </a:cubicBezTo>
                    <a:cubicBezTo>
                      <a:pt x="130" y="10"/>
                      <a:pt x="129" y="10"/>
                      <a:pt x="129" y="10"/>
                    </a:cubicBezTo>
                    <a:cubicBezTo>
                      <a:pt x="123" y="12"/>
                      <a:pt x="123" y="12"/>
                      <a:pt x="123" y="12"/>
                    </a:cubicBezTo>
                    <a:cubicBezTo>
                      <a:pt x="118" y="14"/>
                      <a:pt x="112" y="16"/>
                      <a:pt x="106" y="17"/>
                    </a:cubicBezTo>
                    <a:cubicBezTo>
                      <a:pt x="106" y="17"/>
                      <a:pt x="105" y="17"/>
                      <a:pt x="105" y="17"/>
                    </a:cubicBezTo>
                    <a:cubicBezTo>
                      <a:pt x="104" y="17"/>
                      <a:pt x="104" y="17"/>
                      <a:pt x="104" y="17"/>
                    </a:cubicBezTo>
                    <a:cubicBezTo>
                      <a:pt x="103" y="17"/>
                      <a:pt x="102" y="17"/>
                      <a:pt x="101" y="17"/>
                    </a:cubicBezTo>
                    <a:cubicBezTo>
                      <a:pt x="95" y="17"/>
                      <a:pt x="90" y="17"/>
                      <a:pt x="85" y="16"/>
                    </a:cubicBezTo>
                    <a:cubicBezTo>
                      <a:pt x="83" y="15"/>
                      <a:pt x="83" y="15"/>
                      <a:pt x="83" y="15"/>
                    </a:cubicBezTo>
                    <a:cubicBezTo>
                      <a:pt x="82" y="15"/>
                      <a:pt x="82" y="15"/>
                      <a:pt x="81" y="15"/>
                    </a:cubicBezTo>
                    <a:cubicBezTo>
                      <a:pt x="80" y="14"/>
                      <a:pt x="80" y="14"/>
                      <a:pt x="80" y="14"/>
                    </a:cubicBezTo>
                    <a:cubicBezTo>
                      <a:pt x="79" y="14"/>
                      <a:pt x="79" y="13"/>
                      <a:pt x="79" y="13"/>
                    </a:cubicBezTo>
                    <a:cubicBezTo>
                      <a:pt x="73" y="11"/>
                      <a:pt x="73" y="11"/>
                      <a:pt x="73" y="11"/>
                    </a:cubicBezTo>
                    <a:cubicBezTo>
                      <a:pt x="72" y="11"/>
                      <a:pt x="71" y="11"/>
                      <a:pt x="71" y="11"/>
                    </a:cubicBezTo>
                    <a:cubicBezTo>
                      <a:pt x="70" y="11"/>
                      <a:pt x="69" y="11"/>
                      <a:pt x="68" y="12"/>
                    </a:cubicBezTo>
                    <a:cubicBezTo>
                      <a:pt x="66" y="13"/>
                      <a:pt x="66" y="13"/>
                      <a:pt x="66" y="13"/>
                    </a:cubicBezTo>
                    <a:cubicBezTo>
                      <a:pt x="58" y="16"/>
                      <a:pt x="51" y="18"/>
                      <a:pt x="46" y="19"/>
                    </a:cubicBezTo>
                    <a:cubicBezTo>
                      <a:pt x="44" y="19"/>
                      <a:pt x="44" y="19"/>
                      <a:pt x="44" y="19"/>
                    </a:cubicBezTo>
                    <a:cubicBezTo>
                      <a:pt x="43" y="19"/>
                      <a:pt x="41" y="19"/>
                      <a:pt x="39" y="19"/>
                    </a:cubicBezTo>
                    <a:cubicBezTo>
                      <a:pt x="38" y="19"/>
                      <a:pt x="36" y="19"/>
                      <a:pt x="34" y="18"/>
                    </a:cubicBezTo>
                    <a:cubicBezTo>
                      <a:pt x="28" y="14"/>
                      <a:pt x="28" y="14"/>
                      <a:pt x="28" y="14"/>
                    </a:cubicBezTo>
                    <a:cubicBezTo>
                      <a:pt x="27" y="17"/>
                      <a:pt x="27" y="19"/>
                      <a:pt x="27" y="21"/>
                    </a:cubicBezTo>
                    <a:cubicBezTo>
                      <a:pt x="27" y="23"/>
                      <a:pt x="27" y="23"/>
                      <a:pt x="27" y="23"/>
                    </a:cubicBezTo>
                    <a:cubicBezTo>
                      <a:pt x="36" y="26"/>
                      <a:pt x="36" y="26"/>
                      <a:pt x="36" y="26"/>
                    </a:cubicBezTo>
                    <a:cubicBezTo>
                      <a:pt x="28" y="29"/>
                      <a:pt x="28" y="29"/>
                      <a:pt x="28" y="29"/>
                    </a:cubicBezTo>
                    <a:cubicBezTo>
                      <a:pt x="27" y="30"/>
                      <a:pt x="26" y="30"/>
                      <a:pt x="26" y="30"/>
                    </a:cubicBezTo>
                    <a:cubicBezTo>
                      <a:pt x="25" y="31"/>
                      <a:pt x="25" y="31"/>
                      <a:pt x="25" y="31"/>
                    </a:cubicBezTo>
                    <a:cubicBezTo>
                      <a:pt x="24" y="31"/>
                      <a:pt x="23" y="32"/>
                      <a:pt x="22" y="32"/>
                    </a:cubicBezTo>
                    <a:cubicBezTo>
                      <a:pt x="22" y="33"/>
                      <a:pt x="22" y="33"/>
                      <a:pt x="22" y="33"/>
                    </a:cubicBezTo>
                    <a:cubicBezTo>
                      <a:pt x="22" y="33"/>
                      <a:pt x="22" y="33"/>
                      <a:pt x="22" y="33"/>
                    </a:cubicBezTo>
                    <a:cubicBezTo>
                      <a:pt x="22" y="34"/>
                      <a:pt x="22" y="34"/>
                      <a:pt x="22" y="34"/>
                    </a:cubicBezTo>
                    <a:cubicBezTo>
                      <a:pt x="22" y="37"/>
                      <a:pt x="19" y="39"/>
                      <a:pt x="18" y="40"/>
                    </a:cubicBezTo>
                    <a:cubicBezTo>
                      <a:pt x="17" y="40"/>
                      <a:pt x="17" y="40"/>
                      <a:pt x="17" y="40"/>
                    </a:cubicBezTo>
                    <a:cubicBezTo>
                      <a:pt x="16" y="41"/>
                      <a:pt x="16" y="41"/>
                      <a:pt x="16" y="41"/>
                    </a:cubicBezTo>
                    <a:cubicBezTo>
                      <a:pt x="15" y="42"/>
                      <a:pt x="15" y="42"/>
                      <a:pt x="15" y="42"/>
                    </a:cubicBezTo>
                    <a:cubicBezTo>
                      <a:pt x="15" y="43"/>
                      <a:pt x="15" y="43"/>
                      <a:pt x="15" y="44"/>
                    </a:cubicBezTo>
                    <a:cubicBezTo>
                      <a:pt x="14" y="47"/>
                      <a:pt x="14" y="47"/>
                      <a:pt x="14" y="47"/>
                    </a:cubicBezTo>
                    <a:cubicBezTo>
                      <a:pt x="10" y="45"/>
                      <a:pt x="10" y="45"/>
                      <a:pt x="10" y="45"/>
                    </a:cubicBezTo>
                    <a:cubicBezTo>
                      <a:pt x="9" y="45"/>
                      <a:pt x="5" y="43"/>
                      <a:pt x="2" y="42"/>
                    </a:cubicBezTo>
                    <a:cubicBezTo>
                      <a:pt x="2" y="43"/>
                      <a:pt x="2" y="44"/>
                      <a:pt x="1" y="46"/>
                    </a:cubicBezTo>
                    <a:cubicBezTo>
                      <a:pt x="1" y="47"/>
                      <a:pt x="1" y="49"/>
                      <a:pt x="0" y="50"/>
                    </a:cubicBezTo>
                    <a:cubicBezTo>
                      <a:pt x="2" y="53"/>
                      <a:pt x="5" y="54"/>
                      <a:pt x="5" y="57"/>
                    </a:cubicBezTo>
                    <a:cubicBezTo>
                      <a:pt x="5" y="61"/>
                      <a:pt x="4" y="65"/>
                      <a:pt x="5" y="69"/>
                    </a:cubicBezTo>
                    <a:cubicBezTo>
                      <a:pt x="5" y="72"/>
                      <a:pt x="5" y="74"/>
                      <a:pt x="6" y="77"/>
                    </a:cubicBezTo>
                    <a:cubicBezTo>
                      <a:pt x="6" y="77"/>
                      <a:pt x="6" y="77"/>
                      <a:pt x="6" y="77"/>
                    </a:cubicBezTo>
                    <a:cubicBezTo>
                      <a:pt x="8" y="77"/>
                      <a:pt x="10" y="77"/>
                      <a:pt x="11" y="77"/>
                    </a:cubicBezTo>
                    <a:cubicBezTo>
                      <a:pt x="12" y="77"/>
                      <a:pt x="12" y="77"/>
                      <a:pt x="13" y="77"/>
                    </a:cubicBezTo>
                    <a:cubicBezTo>
                      <a:pt x="14" y="77"/>
                      <a:pt x="15" y="77"/>
                      <a:pt x="16" y="77"/>
                    </a:cubicBezTo>
                    <a:cubicBezTo>
                      <a:pt x="16" y="77"/>
                      <a:pt x="16" y="77"/>
                      <a:pt x="16" y="77"/>
                    </a:cubicBezTo>
                    <a:cubicBezTo>
                      <a:pt x="18" y="77"/>
                      <a:pt x="19" y="77"/>
                      <a:pt x="20" y="77"/>
                    </a:cubicBezTo>
                    <a:cubicBezTo>
                      <a:pt x="27" y="77"/>
                      <a:pt x="27" y="77"/>
                      <a:pt x="27" y="77"/>
                    </a:cubicBezTo>
                    <a:cubicBezTo>
                      <a:pt x="23" y="83"/>
                      <a:pt x="23" y="83"/>
                      <a:pt x="23" y="83"/>
                    </a:cubicBezTo>
                    <a:cubicBezTo>
                      <a:pt x="24" y="84"/>
                      <a:pt x="25" y="86"/>
                      <a:pt x="26" y="88"/>
                    </a:cubicBezTo>
                    <a:cubicBezTo>
                      <a:pt x="26" y="88"/>
                      <a:pt x="26" y="88"/>
                      <a:pt x="26" y="89"/>
                    </a:cubicBezTo>
                    <a:cubicBezTo>
                      <a:pt x="27" y="90"/>
                      <a:pt x="30" y="95"/>
                      <a:pt x="27" y="98"/>
                    </a:cubicBezTo>
                    <a:cubicBezTo>
                      <a:pt x="26" y="98"/>
                      <a:pt x="26" y="99"/>
                      <a:pt x="25" y="99"/>
                    </a:cubicBezTo>
                    <a:cubicBezTo>
                      <a:pt x="22" y="101"/>
                      <a:pt x="20" y="103"/>
                      <a:pt x="20" y="104"/>
                    </a:cubicBezTo>
                    <a:cubicBezTo>
                      <a:pt x="44" y="125"/>
                      <a:pt x="44" y="125"/>
                      <a:pt x="44" y="125"/>
                    </a:cubicBezTo>
                    <a:cubicBezTo>
                      <a:pt x="16" y="109"/>
                      <a:pt x="16" y="109"/>
                      <a:pt x="16" y="109"/>
                    </a:cubicBezTo>
                    <a:cubicBezTo>
                      <a:pt x="15" y="109"/>
                      <a:pt x="14" y="109"/>
                      <a:pt x="14" y="109"/>
                    </a:cubicBezTo>
                    <a:cubicBezTo>
                      <a:pt x="13" y="109"/>
                      <a:pt x="13" y="109"/>
                      <a:pt x="12" y="109"/>
                    </a:cubicBezTo>
                    <a:cubicBezTo>
                      <a:pt x="11" y="110"/>
                      <a:pt x="11" y="110"/>
                      <a:pt x="10" y="110"/>
                    </a:cubicBezTo>
                    <a:cubicBezTo>
                      <a:pt x="11" y="111"/>
                      <a:pt x="11" y="111"/>
                      <a:pt x="11" y="111"/>
                    </a:cubicBezTo>
                    <a:cubicBezTo>
                      <a:pt x="11" y="111"/>
                      <a:pt x="12" y="113"/>
                      <a:pt x="12" y="115"/>
                    </a:cubicBezTo>
                    <a:cubicBezTo>
                      <a:pt x="12" y="116"/>
                      <a:pt x="12" y="116"/>
                      <a:pt x="12" y="116"/>
                    </a:cubicBezTo>
                    <a:cubicBezTo>
                      <a:pt x="11" y="117"/>
                      <a:pt x="11" y="117"/>
                      <a:pt x="11" y="117"/>
                    </a:cubicBezTo>
                    <a:cubicBezTo>
                      <a:pt x="10" y="118"/>
                      <a:pt x="10" y="118"/>
                      <a:pt x="10" y="118"/>
                    </a:cubicBezTo>
                    <a:cubicBezTo>
                      <a:pt x="9" y="120"/>
                      <a:pt x="7" y="121"/>
                      <a:pt x="5" y="123"/>
                    </a:cubicBezTo>
                    <a:cubicBezTo>
                      <a:pt x="4" y="123"/>
                      <a:pt x="3" y="124"/>
                      <a:pt x="3" y="124"/>
                    </a:cubicBezTo>
                    <a:cubicBezTo>
                      <a:pt x="2" y="125"/>
                      <a:pt x="2" y="125"/>
                      <a:pt x="2" y="125"/>
                    </a:cubicBezTo>
                    <a:cubicBezTo>
                      <a:pt x="1" y="125"/>
                      <a:pt x="1" y="125"/>
                      <a:pt x="1" y="125"/>
                    </a:cubicBezTo>
                    <a:cubicBezTo>
                      <a:pt x="1" y="127"/>
                      <a:pt x="1" y="129"/>
                      <a:pt x="1" y="130"/>
                    </a:cubicBezTo>
                    <a:cubicBezTo>
                      <a:pt x="1" y="132"/>
                      <a:pt x="1" y="133"/>
                      <a:pt x="0" y="134"/>
                    </a:cubicBezTo>
                    <a:cubicBezTo>
                      <a:pt x="0" y="135"/>
                      <a:pt x="1" y="136"/>
                      <a:pt x="1" y="138"/>
                    </a:cubicBezTo>
                    <a:cubicBezTo>
                      <a:pt x="1" y="139"/>
                      <a:pt x="1" y="139"/>
                      <a:pt x="1" y="139"/>
                    </a:cubicBezTo>
                    <a:cubicBezTo>
                      <a:pt x="2" y="139"/>
                      <a:pt x="3" y="139"/>
                      <a:pt x="3" y="139"/>
                    </a:cubicBezTo>
                    <a:cubicBezTo>
                      <a:pt x="4" y="140"/>
                      <a:pt x="4" y="140"/>
                      <a:pt x="4" y="140"/>
                    </a:cubicBezTo>
                    <a:cubicBezTo>
                      <a:pt x="5" y="140"/>
                      <a:pt x="6" y="141"/>
                      <a:pt x="7" y="141"/>
                    </a:cubicBezTo>
                    <a:cubicBezTo>
                      <a:pt x="7" y="141"/>
                      <a:pt x="8" y="142"/>
                      <a:pt x="8" y="142"/>
                    </a:cubicBezTo>
                    <a:cubicBezTo>
                      <a:pt x="9" y="143"/>
                      <a:pt x="11" y="144"/>
                      <a:pt x="12" y="145"/>
                    </a:cubicBezTo>
                    <a:cubicBezTo>
                      <a:pt x="22" y="149"/>
                      <a:pt x="26" y="151"/>
                      <a:pt x="29" y="151"/>
                    </a:cubicBezTo>
                    <a:cubicBezTo>
                      <a:pt x="31" y="151"/>
                      <a:pt x="32" y="150"/>
                      <a:pt x="34" y="149"/>
                    </a:cubicBezTo>
                    <a:cubicBezTo>
                      <a:pt x="35" y="148"/>
                      <a:pt x="35" y="147"/>
                      <a:pt x="37" y="146"/>
                    </a:cubicBezTo>
                    <a:cubicBezTo>
                      <a:pt x="46" y="139"/>
                      <a:pt x="74" y="124"/>
                      <a:pt x="85" y="118"/>
                    </a:cubicBezTo>
                    <a:cubicBezTo>
                      <a:pt x="87" y="116"/>
                      <a:pt x="87" y="116"/>
                      <a:pt x="87" y="116"/>
                    </a:cubicBezTo>
                    <a:cubicBezTo>
                      <a:pt x="88" y="116"/>
                      <a:pt x="88" y="116"/>
                      <a:pt x="88" y="116"/>
                    </a:cubicBezTo>
                    <a:cubicBezTo>
                      <a:pt x="92" y="114"/>
                      <a:pt x="92" y="114"/>
                      <a:pt x="92" y="114"/>
                    </a:cubicBezTo>
                    <a:cubicBezTo>
                      <a:pt x="98" y="111"/>
                      <a:pt x="104" y="107"/>
                      <a:pt x="110" y="104"/>
                    </a:cubicBezTo>
                    <a:cubicBezTo>
                      <a:pt x="127" y="94"/>
                      <a:pt x="127" y="94"/>
                      <a:pt x="127" y="94"/>
                    </a:cubicBezTo>
                    <a:cubicBezTo>
                      <a:pt x="127" y="94"/>
                      <a:pt x="127" y="94"/>
                      <a:pt x="127" y="94"/>
                    </a:cubicBezTo>
                    <a:cubicBezTo>
                      <a:pt x="135" y="90"/>
                      <a:pt x="135" y="90"/>
                      <a:pt x="135" y="90"/>
                    </a:cubicBezTo>
                    <a:cubicBezTo>
                      <a:pt x="136" y="89"/>
                      <a:pt x="139" y="88"/>
                      <a:pt x="140" y="87"/>
                    </a:cubicBezTo>
                    <a:cubicBezTo>
                      <a:pt x="141" y="87"/>
                      <a:pt x="142" y="86"/>
                      <a:pt x="143" y="86"/>
                    </a:cubicBezTo>
                    <a:cubicBezTo>
                      <a:pt x="143" y="86"/>
                      <a:pt x="143" y="86"/>
                      <a:pt x="143" y="86"/>
                    </a:cubicBezTo>
                    <a:cubicBezTo>
                      <a:pt x="145" y="85"/>
                      <a:pt x="147" y="85"/>
                      <a:pt x="147" y="84"/>
                    </a:cubicBezTo>
                    <a:cubicBezTo>
                      <a:pt x="149" y="82"/>
                      <a:pt x="150" y="79"/>
                      <a:pt x="151" y="76"/>
                    </a:cubicBezTo>
                    <a:cubicBezTo>
                      <a:pt x="152" y="75"/>
                      <a:pt x="152" y="73"/>
                      <a:pt x="152" y="72"/>
                    </a:cubicBezTo>
                    <a:cubicBezTo>
                      <a:pt x="152" y="71"/>
                      <a:pt x="152" y="71"/>
                      <a:pt x="152" y="71"/>
                    </a:cubicBezTo>
                    <a:cubicBezTo>
                      <a:pt x="152" y="70"/>
                      <a:pt x="152" y="68"/>
                      <a:pt x="152" y="67"/>
                    </a:cubicBezTo>
                    <a:cubicBezTo>
                      <a:pt x="152" y="63"/>
                      <a:pt x="153" y="60"/>
                      <a:pt x="154" y="56"/>
                    </a:cubicBezTo>
                    <a:cubicBezTo>
                      <a:pt x="154" y="56"/>
                      <a:pt x="154" y="56"/>
                      <a:pt x="154" y="56"/>
                    </a:cubicBezTo>
                    <a:cubicBezTo>
                      <a:pt x="154" y="54"/>
                      <a:pt x="155" y="52"/>
                      <a:pt x="155" y="51"/>
                    </a:cubicBezTo>
                    <a:cubicBezTo>
                      <a:pt x="155" y="49"/>
                      <a:pt x="155" y="46"/>
                      <a:pt x="155" y="43"/>
                    </a:cubicBezTo>
                    <a:cubicBezTo>
                      <a:pt x="155" y="42"/>
                      <a:pt x="155" y="42"/>
                      <a:pt x="155" y="42"/>
                    </a:cubicBezTo>
                    <a:cubicBezTo>
                      <a:pt x="154" y="36"/>
                      <a:pt x="153" y="29"/>
                      <a:pt x="156" y="23"/>
                    </a:cubicBezTo>
                    <a:cubicBezTo>
                      <a:pt x="156" y="21"/>
                      <a:pt x="157" y="20"/>
                      <a:pt x="157" y="19"/>
                    </a:cubicBezTo>
                    <a:cubicBezTo>
                      <a:pt x="159" y="17"/>
                      <a:pt x="161" y="16"/>
                      <a:pt x="165" y="15"/>
                    </a:cubicBezTo>
                    <a:cubicBezTo>
                      <a:pt x="167" y="15"/>
                      <a:pt x="167" y="15"/>
                      <a:pt x="167" y="15"/>
                    </a:cubicBezTo>
                    <a:cubicBezTo>
                      <a:pt x="166" y="12"/>
                      <a:pt x="166" y="12"/>
                      <a:pt x="166" y="12"/>
                    </a:cubicBezTo>
                    <a:cubicBezTo>
                      <a:pt x="168" y="14"/>
                      <a:pt x="168" y="14"/>
                      <a:pt x="168" y="14"/>
                    </a:cubicBezTo>
                    <a:cubicBezTo>
                      <a:pt x="170" y="14"/>
                      <a:pt x="170" y="14"/>
                      <a:pt x="170" y="14"/>
                    </a:cubicBezTo>
                    <a:cubicBezTo>
                      <a:pt x="170" y="14"/>
                      <a:pt x="171" y="14"/>
                      <a:pt x="172" y="13"/>
                    </a:cubicBezTo>
                    <a:cubicBezTo>
                      <a:pt x="175" y="10"/>
                      <a:pt x="178" y="6"/>
                      <a:pt x="182" y="3"/>
                    </a:cubicBezTo>
                    <a:cubicBezTo>
                      <a:pt x="185" y="1"/>
                      <a:pt x="185" y="1"/>
                      <a:pt x="185" y="1"/>
                    </a:cubicBezTo>
                    <a:cubicBezTo>
                      <a:pt x="185" y="0"/>
                      <a:pt x="185" y="0"/>
                      <a:pt x="185" y="0"/>
                    </a:cubicBezTo>
                    <a:cubicBezTo>
                      <a:pt x="185" y="0"/>
                      <a:pt x="185" y="0"/>
                      <a:pt x="1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243"/>
              <p:cNvSpPr/>
              <p:nvPr/>
            </p:nvSpPr>
            <p:spPr bwMode="auto">
              <a:xfrm>
                <a:off x="7543432" y="5881445"/>
                <a:ext cx="11055" cy="7370"/>
              </a:xfrm>
              <a:custGeom>
                <a:gdLst>
                  <a:gd name="T0" fmla="*/ 4 w 4"/>
                  <a:gd name="T1" fmla="*/ 0 h 3"/>
                  <a:gd name="T2" fmla="*/ 0 w 4"/>
                  <a:gd name="T3" fmla="*/ 1 h 3"/>
                  <a:gd name="T4" fmla="*/ 4 w 4"/>
                  <a:gd name="T5" fmla="*/ 3 h 3"/>
                  <a:gd name="T6" fmla="*/ 4 w 4"/>
                  <a:gd name="T7" fmla="*/ 0 h 3"/>
                </a:gdLst>
                <a:cxnLst>
                  <a:cxn ang="0">
                    <a:pos x="T0" y="T1"/>
                  </a:cxn>
                  <a:cxn ang="0">
                    <a:pos x="T2" y="T3"/>
                  </a:cxn>
                  <a:cxn ang="0">
                    <a:pos x="T4" y="T5"/>
                  </a:cxn>
                  <a:cxn ang="0">
                    <a:pos x="T6" y="T7"/>
                  </a:cxn>
                </a:cxnLst>
                <a:rect l="0" t="0" r="r" b="b"/>
                <a:pathLst>
                  <a:path w="4" h="3">
                    <a:moveTo>
                      <a:pt x="4" y="0"/>
                    </a:moveTo>
                    <a:cubicBezTo>
                      <a:pt x="0" y="1"/>
                      <a:pt x="0" y="1"/>
                      <a:pt x="0" y="1"/>
                    </a:cubicBezTo>
                    <a:cubicBezTo>
                      <a:pt x="1" y="2"/>
                      <a:pt x="3" y="2"/>
                      <a:pt x="4" y="3"/>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244"/>
              <p:cNvSpPr/>
              <p:nvPr/>
            </p:nvSpPr>
            <p:spPr bwMode="auto">
              <a:xfrm>
                <a:off x="7451304" y="5833539"/>
                <a:ext cx="110553" cy="324290"/>
              </a:xfrm>
              <a:custGeom>
                <a:gdLst>
                  <a:gd name="T0" fmla="*/ 35 w 35"/>
                  <a:gd name="T1" fmla="*/ 0 h 102"/>
                  <a:gd name="T2" fmla="*/ 31 w 35"/>
                  <a:gd name="T3" fmla="*/ 1 h 102"/>
                  <a:gd name="T4" fmla="*/ 29 w 35"/>
                  <a:gd name="T5" fmla="*/ 1 h 102"/>
                  <a:gd name="T6" fmla="*/ 22 w 35"/>
                  <a:gd name="T7" fmla="*/ 1 h 102"/>
                  <a:gd name="T8" fmla="*/ 22 w 35"/>
                  <a:gd name="T9" fmla="*/ 4 h 102"/>
                  <a:gd name="T10" fmla="*/ 19 w 35"/>
                  <a:gd name="T11" fmla="*/ 11 h 102"/>
                  <a:gd name="T12" fmla="*/ 6 w 35"/>
                  <a:gd name="T13" fmla="*/ 45 h 102"/>
                  <a:gd name="T14" fmla="*/ 5 w 35"/>
                  <a:gd name="T15" fmla="*/ 45 h 102"/>
                  <a:gd name="T16" fmla="*/ 0 w 35"/>
                  <a:gd name="T17" fmla="*/ 51 h 102"/>
                  <a:gd name="T18" fmla="*/ 1 w 35"/>
                  <a:gd name="T19" fmla="*/ 53 h 102"/>
                  <a:gd name="T20" fmla="*/ 0 w 35"/>
                  <a:gd name="T21" fmla="*/ 53 h 102"/>
                  <a:gd name="T22" fmla="*/ 1 w 35"/>
                  <a:gd name="T23" fmla="*/ 53 h 102"/>
                  <a:gd name="T24" fmla="*/ 2 w 35"/>
                  <a:gd name="T25" fmla="*/ 53 h 102"/>
                  <a:gd name="T26" fmla="*/ 2 w 35"/>
                  <a:gd name="T27" fmla="*/ 55 h 102"/>
                  <a:gd name="T28" fmla="*/ 2 w 35"/>
                  <a:gd name="T29" fmla="*/ 55 h 102"/>
                  <a:gd name="T30" fmla="*/ 17 w 35"/>
                  <a:gd name="T31" fmla="*/ 102 h 102"/>
                  <a:gd name="T32" fmla="*/ 22 w 35"/>
                  <a:gd name="T33" fmla="*/ 83 h 102"/>
                  <a:gd name="T34" fmla="*/ 24 w 35"/>
                  <a:gd name="T35" fmla="*/ 75 h 102"/>
                  <a:gd name="T36" fmla="*/ 26 w 35"/>
                  <a:gd name="T37" fmla="*/ 67 h 102"/>
                  <a:gd name="T38" fmla="*/ 27 w 35"/>
                  <a:gd name="T39" fmla="*/ 65 h 102"/>
                  <a:gd name="T40" fmla="*/ 28 w 35"/>
                  <a:gd name="T41" fmla="*/ 61 h 102"/>
                  <a:gd name="T42" fmla="*/ 29 w 35"/>
                  <a:gd name="T43" fmla="*/ 51 h 102"/>
                  <a:gd name="T44" fmla="*/ 29 w 35"/>
                  <a:gd name="T45" fmla="*/ 50 h 102"/>
                  <a:gd name="T46" fmla="*/ 26 w 35"/>
                  <a:gd name="T47" fmla="*/ 52 h 102"/>
                  <a:gd name="T48" fmla="*/ 25 w 35"/>
                  <a:gd name="T49" fmla="*/ 52 h 102"/>
                  <a:gd name="T50" fmla="*/ 24 w 35"/>
                  <a:gd name="T51" fmla="*/ 52 h 102"/>
                  <a:gd name="T52" fmla="*/ 24 w 35"/>
                  <a:gd name="T53" fmla="*/ 52 h 102"/>
                  <a:gd name="T54" fmla="*/ 22 w 35"/>
                  <a:gd name="T55" fmla="*/ 52 h 102"/>
                  <a:gd name="T56" fmla="*/ 21 w 35"/>
                  <a:gd name="T57" fmla="*/ 52 h 102"/>
                  <a:gd name="T58" fmla="*/ 21 w 35"/>
                  <a:gd name="T59" fmla="*/ 52 h 102"/>
                  <a:gd name="T60" fmla="*/ 18 w 35"/>
                  <a:gd name="T61" fmla="*/ 53 h 102"/>
                  <a:gd name="T62" fmla="*/ 25 w 35"/>
                  <a:gd name="T63" fmla="*/ 40 h 102"/>
                  <a:gd name="T64" fmla="*/ 26 w 35"/>
                  <a:gd name="T65" fmla="*/ 40 h 102"/>
                  <a:gd name="T66" fmla="*/ 19 w 35"/>
                  <a:gd name="T67" fmla="*/ 37 h 102"/>
                  <a:gd name="T68" fmla="*/ 21 w 35"/>
                  <a:gd name="T69" fmla="*/ 20 h 102"/>
                  <a:gd name="T70" fmla="*/ 25 w 35"/>
                  <a:gd name="T71" fmla="*/ 16 h 102"/>
                  <a:gd name="T72" fmla="*/ 26 w 35"/>
                  <a:gd name="T73" fmla="*/ 15 h 102"/>
                  <a:gd name="T74" fmla="*/ 26 w 35"/>
                  <a:gd name="T75" fmla="*/ 15 h 102"/>
                  <a:gd name="T76" fmla="*/ 35 w 35"/>
                  <a:gd name="T77" fmla="*/ 8 h 102"/>
                  <a:gd name="T78" fmla="*/ 35 w 35"/>
                  <a:gd name="T79" fmla="*/ 8 h 102"/>
                  <a:gd name="T80" fmla="*/ 35 w 35"/>
                  <a:gd name="T81" fmla="*/ 7 h 102"/>
                  <a:gd name="T82" fmla="*/ 34 w 35"/>
                  <a:gd name="T83" fmla="*/ 2 h 102"/>
                  <a:gd name="T84" fmla="*/ 35 w 35"/>
                  <a:gd name="T85" fmla="*/ 0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 h="102">
                    <a:moveTo>
                      <a:pt x="35" y="0"/>
                    </a:moveTo>
                    <a:cubicBezTo>
                      <a:pt x="34" y="0"/>
                      <a:pt x="32" y="1"/>
                      <a:pt x="31" y="1"/>
                    </a:cubicBezTo>
                    <a:cubicBezTo>
                      <a:pt x="30" y="1"/>
                      <a:pt x="30" y="1"/>
                      <a:pt x="29" y="1"/>
                    </a:cubicBezTo>
                    <a:cubicBezTo>
                      <a:pt x="22" y="1"/>
                      <a:pt x="22" y="1"/>
                      <a:pt x="22" y="1"/>
                    </a:cubicBezTo>
                    <a:cubicBezTo>
                      <a:pt x="22" y="2"/>
                      <a:pt x="22" y="3"/>
                      <a:pt x="22" y="4"/>
                    </a:cubicBezTo>
                    <a:cubicBezTo>
                      <a:pt x="22" y="6"/>
                      <a:pt x="20" y="9"/>
                      <a:pt x="19" y="11"/>
                    </a:cubicBezTo>
                    <a:cubicBezTo>
                      <a:pt x="15" y="23"/>
                      <a:pt x="12" y="34"/>
                      <a:pt x="6" y="45"/>
                    </a:cubicBezTo>
                    <a:cubicBezTo>
                      <a:pt x="5" y="45"/>
                      <a:pt x="5" y="45"/>
                      <a:pt x="5" y="45"/>
                    </a:cubicBezTo>
                    <a:cubicBezTo>
                      <a:pt x="4" y="47"/>
                      <a:pt x="1" y="49"/>
                      <a:pt x="0" y="51"/>
                    </a:cubicBezTo>
                    <a:cubicBezTo>
                      <a:pt x="1" y="53"/>
                      <a:pt x="1" y="53"/>
                      <a:pt x="1" y="53"/>
                    </a:cubicBezTo>
                    <a:cubicBezTo>
                      <a:pt x="0" y="53"/>
                      <a:pt x="0" y="53"/>
                      <a:pt x="0" y="53"/>
                    </a:cubicBezTo>
                    <a:cubicBezTo>
                      <a:pt x="1" y="53"/>
                      <a:pt x="1" y="53"/>
                      <a:pt x="1" y="53"/>
                    </a:cubicBezTo>
                    <a:cubicBezTo>
                      <a:pt x="2" y="53"/>
                      <a:pt x="2" y="53"/>
                      <a:pt x="2" y="53"/>
                    </a:cubicBezTo>
                    <a:cubicBezTo>
                      <a:pt x="2" y="55"/>
                      <a:pt x="2" y="55"/>
                      <a:pt x="2" y="55"/>
                    </a:cubicBezTo>
                    <a:cubicBezTo>
                      <a:pt x="2" y="55"/>
                      <a:pt x="2" y="55"/>
                      <a:pt x="2" y="55"/>
                    </a:cubicBezTo>
                    <a:cubicBezTo>
                      <a:pt x="17" y="102"/>
                      <a:pt x="17" y="102"/>
                      <a:pt x="17" y="102"/>
                    </a:cubicBezTo>
                    <a:cubicBezTo>
                      <a:pt x="19" y="95"/>
                      <a:pt x="20" y="89"/>
                      <a:pt x="22" y="83"/>
                    </a:cubicBezTo>
                    <a:cubicBezTo>
                      <a:pt x="24" y="75"/>
                      <a:pt x="24" y="75"/>
                      <a:pt x="24" y="75"/>
                    </a:cubicBezTo>
                    <a:cubicBezTo>
                      <a:pt x="24" y="73"/>
                      <a:pt x="25" y="70"/>
                      <a:pt x="26" y="67"/>
                    </a:cubicBezTo>
                    <a:cubicBezTo>
                      <a:pt x="27" y="65"/>
                      <a:pt x="27" y="65"/>
                      <a:pt x="27" y="65"/>
                    </a:cubicBezTo>
                    <a:cubicBezTo>
                      <a:pt x="27" y="64"/>
                      <a:pt x="27" y="62"/>
                      <a:pt x="28" y="61"/>
                    </a:cubicBezTo>
                    <a:cubicBezTo>
                      <a:pt x="28" y="58"/>
                      <a:pt x="29" y="55"/>
                      <a:pt x="29" y="51"/>
                    </a:cubicBezTo>
                    <a:cubicBezTo>
                      <a:pt x="29" y="50"/>
                      <a:pt x="29" y="50"/>
                      <a:pt x="29" y="50"/>
                    </a:cubicBezTo>
                    <a:cubicBezTo>
                      <a:pt x="28" y="51"/>
                      <a:pt x="27" y="51"/>
                      <a:pt x="26" y="52"/>
                    </a:cubicBezTo>
                    <a:cubicBezTo>
                      <a:pt x="25" y="52"/>
                      <a:pt x="25" y="52"/>
                      <a:pt x="25" y="52"/>
                    </a:cubicBezTo>
                    <a:cubicBezTo>
                      <a:pt x="24" y="52"/>
                      <a:pt x="24" y="52"/>
                      <a:pt x="24" y="52"/>
                    </a:cubicBezTo>
                    <a:cubicBezTo>
                      <a:pt x="24" y="52"/>
                      <a:pt x="24" y="52"/>
                      <a:pt x="24" y="52"/>
                    </a:cubicBezTo>
                    <a:cubicBezTo>
                      <a:pt x="23" y="52"/>
                      <a:pt x="22" y="52"/>
                      <a:pt x="22" y="52"/>
                    </a:cubicBezTo>
                    <a:cubicBezTo>
                      <a:pt x="22" y="52"/>
                      <a:pt x="21" y="52"/>
                      <a:pt x="21" y="52"/>
                    </a:cubicBezTo>
                    <a:cubicBezTo>
                      <a:pt x="21" y="52"/>
                      <a:pt x="21" y="52"/>
                      <a:pt x="21" y="52"/>
                    </a:cubicBezTo>
                    <a:cubicBezTo>
                      <a:pt x="20" y="52"/>
                      <a:pt x="19" y="53"/>
                      <a:pt x="18" y="53"/>
                    </a:cubicBezTo>
                    <a:cubicBezTo>
                      <a:pt x="18" y="49"/>
                      <a:pt x="20" y="40"/>
                      <a:pt x="25" y="40"/>
                    </a:cubicBezTo>
                    <a:cubicBezTo>
                      <a:pt x="25" y="40"/>
                      <a:pt x="26" y="40"/>
                      <a:pt x="26" y="40"/>
                    </a:cubicBezTo>
                    <a:cubicBezTo>
                      <a:pt x="24" y="38"/>
                      <a:pt x="22" y="37"/>
                      <a:pt x="19" y="37"/>
                    </a:cubicBezTo>
                    <a:cubicBezTo>
                      <a:pt x="20" y="32"/>
                      <a:pt x="19" y="25"/>
                      <a:pt x="21" y="20"/>
                    </a:cubicBezTo>
                    <a:cubicBezTo>
                      <a:pt x="22" y="18"/>
                      <a:pt x="24" y="17"/>
                      <a:pt x="25" y="16"/>
                    </a:cubicBezTo>
                    <a:cubicBezTo>
                      <a:pt x="25" y="16"/>
                      <a:pt x="26" y="15"/>
                      <a:pt x="26" y="15"/>
                    </a:cubicBezTo>
                    <a:cubicBezTo>
                      <a:pt x="26" y="15"/>
                      <a:pt x="26" y="15"/>
                      <a:pt x="26" y="15"/>
                    </a:cubicBezTo>
                    <a:cubicBezTo>
                      <a:pt x="35" y="8"/>
                      <a:pt x="35" y="8"/>
                      <a:pt x="35" y="8"/>
                    </a:cubicBezTo>
                    <a:cubicBezTo>
                      <a:pt x="35" y="8"/>
                      <a:pt x="35" y="8"/>
                      <a:pt x="35" y="8"/>
                    </a:cubicBezTo>
                    <a:cubicBezTo>
                      <a:pt x="35" y="7"/>
                      <a:pt x="35" y="7"/>
                      <a:pt x="35" y="7"/>
                    </a:cubicBezTo>
                    <a:cubicBezTo>
                      <a:pt x="35" y="6"/>
                      <a:pt x="34" y="4"/>
                      <a:pt x="34" y="2"/>
                    </a:cubicBezTo>
                    <a:cubicBezTo>
                      <a:pt x="35" y="1"/>
                      <a:pt x="35"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Rectangle 245"/>
              <p:cNvSpPr>
                <a:spLocks noChangeArrowheads="1"/>
              </p:cNvSpPr>
              <p:nvPr/>
            </p:nvSpPr>
            <p:spPr bwMode="auto">
              <a:xfrm>
                <a:off x="8391008" y="5402380"/>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246"/>
              <p:cNvSpPr/>
              <p:nvPr/>
            </p:nvSpPr>
            <p:spPr bwMode="auto">
              <a:xfrm flipH="1">
                <a:off x="8391008" y="5402380"/>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247"/>
              <p:cNvSpPr/>
              <p:nvPr/>
            </p:nvSpPr>
            <p:spPr bwMode="auto">
              <a:xfrm>
                <a:off x="6706911" y="4893834"/>
                <a:ext cx="1680413" cy="641210"/>
              </a:xfrm>
              <a:custGeom>
                <a:gdLst>
                  <a:gd name="T0" fmla="*/ 233 w 529"/>
                  <a:gd name="T1" fmla="*/ 2 h 202"/>
                  <a:gd name="T2" fmla="*/ 167 w 529"/>
                  <a:gd name="T3" fmla="*/ 17 h 202"/>
                  <a:gd name="T4" fmla="*/ 119 w 529"/>
                  <a:gd name="T5" fmla="*/ 28 h 202"/>
                  <a:gd name="T6" fmla="*/ 87 w 529"/>
                  <a:gd name="T7" fmla="*/ 28 h 202"/>
                  <a:gd name="T8" fmla="*/ 108 w 529"/>
                  <a:gd name="T9" fmla="*/ 44 h 202"/>
                  <a:gd name="T10" fmla="*/ 72 w 529"/>
                  <a:gd name="T11" fmla="*/ 56 h 202"/>
                  <a:gd name="T12" fmla="*/ 44 w 529"/>
                  <a:gd name="T13" fmla="*/ 58 h 202"/>
                  <a:gd name="T14" fmla="*/ 15 w 529"/>
                  <a:gd name="T15" fmla="*/ 60 h 202"/>
                  <a:gd name="T16" fmla="*/ 2 w 529"/>
                  <a:gd name="T17" fmla="*/ 87 h 202"/>
                  <a:gd name="T18" fmla="*/ 21 w 529"/>
                  <a:gd name="T19" fmla="*/ 102 h 202"/>
                  <a:gd name="T20" fmla="*/ 23 w 529"/>
                  <a:gd name="T21" fmla="*/ 123 h 202"/>
                  <a:gd name="T22" fmla="*/ 11 w 529"/>
                  <a:gd name="T23" fmla="*/ 118 h 202"/>
                  <a:gd name="T24" fmla="*/ 7 w 529"/>
                  <a:gd name="T25" fmla="*/ 124 h 202"/>
                  <a:gd name="T26" fmla="*/ 16 w 529"/>
                  <a:gd name="T27" fmla="*/ 128 h 202"/>
                  <a:gd name="T28" fmla="*/ 44 w 529"/>
                  <a:gd name="T29" fmla="*/ 159 h 202"/>
                  <a:gd name="T30" fmla="*/ 36 w 529"/>
                  <a:gd name="T31" fmla="*/ 164 h 202"/>
                  <a:gd name="T32" fmla="*/ 48 w 529"/>
                  <a:gd name="T33" fmla="*/ 175 h 202"/>
                  <a:gd name="T34" fmla="*/ 54 w 529"/>
                  <a:gd name="T35" fmla="*/ 179 h 202"/>
                  <a:gd name="T36" fmla="*/ 54 w 529"/>
                  <a:gd name="T37" fmla="*/ 182 h 202"/>
                  <a:gd name="T38" fmla="*/ 79 w 529"/>
                  <a:gd name="T39" fmla="*/ 181 h 202"/>
                  <a:gd name="T40" fmla="*/ 114 w 529"/>
                  <a:gd name="T41" fmla="*/ 193 h 202"/>
                  <a:gd name="T42" fmla="*/ 129 w 529"/>
                  <a:gd name="T43" fmla="*/ 173 h 202"/>
                  <a:gd name="T44" fmla="*/ 188 w 529"/>
                  <a:gd name="T45" fmla="*/ 197 h 202"/>
                  <a:gd name="T46" fmla="*/ 228 w 529"/>
                  <a:gd name="T47" fmla="*/ 189 h 202"/>
                  <a:gd name="T48" fmla="*/ 264 w 529"/>
                  <a:gd name="T49" fmla="*/ 183 h 202"/>
                  <a:gd name="T50" fmla="*/ 282 w 529"/>
                  <a:gd name="T51" fmla="*/ 200 h 202"/>
                  <a:gd name="T52" fmla="*/ 289 w 529"/>
                  <a:gd name="T53" fmla="*/ 198 h 202"/>
                  <a:gd name="T54" fmla="*/ 293 w 529"/>
                  <a:gd name="T55" fmla="*/ 190 h 202"/>
                  <a:gd name="T56" fmla="*/ 313 w 529"/>
                  <a:gd name="T57" fmla="*/ 176 h 202"/>
                  <a:gd name="T58" fmla="*/ 340 w 529"/>
                  <a:gd name="T59" fmla="*/ 170 h 202"/>
                  <a:gd name="T60" fmla="*/ 359 w 529"/>
                  <a:gd name="T61" fmla="*/ 172 h 202"/>
                  <a:gd name="T62" fmla="*/ 380 w 529"/>
                  <a:gd name="T63" fmla="*/ 174 h 202"/>
                  <a:gd name="T64" fmla="*/ 403 w 529"/>
                  <a:gd name="T65" fmla="*/ 167 h 202"/>
                  <a:gd name="T66" fmla="*/ 426 w 529"/>
                  <a:gd name="T67" fmla="*/ 161 h 202"/>
                  <a:gd name="T68" fmla="*/ 481 w 529"/>
                  <a:gd name="T69" fmla="*/ 152 h 202"/>
                  <a:gd name="T70" fmla="*/ 485 w 529"/>
                  <a:gd name="T71" fmla="*/ 154 h 202"/>
                  <a:gd name="T72" fmla="*/ 509 w 529"/>
                  <a:gd name="T73" fmla="*/ 155 h 202"/>
                  <a:gd name="T74" fmla="*/ 521 w 529"/>
                  <a:gd name="T75" fmla="*/ 164 h 202"/>
                  <a:gd name="T76" fmla="*/ 529 w 529"/>
                  <a:gd name="T77" fmla="*/ 159 h 202"/>
                  <a:gd name="T78" fmla="*/ 525 w 529"/>
                  <a:gd name="T79" fmla="*/ 155 h 202"/>
                  <a:gd name="T80" fmla="*/ 524 w 529"/>
                  <a:gd name="T81" fmla="*/ 145 h 202"/>
                  <a:gd name="T82" fmla="*/ 518 w 529"/>
                  <a:gd name="T83" fmla="*/ 142 h 202"/>
                  <a:gd name="T84" fmla="*/ 515 w 529"/>
                  <a:gd name="T85" fmla="*/ 131 h 202"/>
                  <a:gd name="T86" fmla="*/ 514 w 529"/>
                  <a:gd name="T87" fmla="*/ 109 h 202"/>
                  <a:gd name="T88" fmla="*/ 511 w 529"/>
                  <a:gd name="T89" fmla="*/ 86 h 202"/>
                  <a:gd name="T90" fmla="*/ 514 w 529"/>
                  <a:gd name="T91" fmla="*/ 71 h 202"/>
                  <a:gd name="T92" fmla="*/ 499 w 529"/>
                  <a:gd name="T93" fmla="*/ 68 h 202"/>
                  <a:gd name="T94" fmla="*/ 494 w 529"/>
                  <a:gd name="T95" fmla="*/ 52 h 202"/>
                  <a:gd name="T96" fmla="*/ 497 w 529"/>
                  <a:gd name="T97" fmla="*/ 45 h 202"/>
                  <a:gd name="T98" fmla="*/ 496 w 529"/>
                  <a:gd name="T99" fmla="*/ 40 h 202"/>
                  <a:gd name="T100" fmla="*/ 482 w 529"/>
                  <a:gd name="T101" fmla="*/ 26 h 202"/>
                  <a:gd name="T102" fmla="*/ 477 w 529"/>
                  <a:gd name="T103" fmla="*/ 22 h 202"/>
                  <a:gd name="T104" fmla="*/ 470 w 529"/>
                  <a:gd name="T105" fmla="*/ 24 h 202"/>
                  <a:gd name="T106" fmla="*/ 449 w 529"/>
                  <a:gd name="T107" fmla="*/ 22 h 202"/>
                  <a:gd name="T108" fmla="*/ 439 w 529"/>
                  <a:gd name="T109" fmla="*/ 22 h 202"/>
                  <a:gd name="T110" fmla="*/ 399 w 529"/>
                  <a:gd name="T111" fmla="*/ 37 h 202"/>
                  <a:gd name="T112" fmla="*/ 393 w 529"/>
                  <a:gd name="T113" fmla="*/ 36 h 202"/>
                  <a:gd name="T114" fmla="*/ 374 w 529"/>
                  <a:gd name="T115" fmla="*/ 33 h 202"/>
                  <a:gd name="T116" fmla="*/ 328 w 529"/>
                  <a:gd name="T117" fmla="*/ 33 h 202"/>
                  <a:gd name="T118" fmla="*/ 287 w 529"/>
                  <a:gd name="T119" fmla="*/ 19 h 202"/>
                  <a:gd name="T120" fmla="*/ 258 w 529"/>
                  <a:gd name="T121" fmla="*/ 6 h 2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9" h="201">
                    <a:moveTo>
                      <a:pt x="257" y="0"/>
                    </a:moveTo>
                    <a:cubicBezTo>
                      <a:pt x="255" y="0"/>
                      <a:pt x="252" y="0"/>
                      <a:pt x="251" y="0"/>
                    </a:cubicBezTo>
                    <a:cubicBezTo>
                      <a:pt x="248" y="2"/>
                      <a:pt x="245" y="3"/>
                      <a:pt x="242" y="3"/>
                    </a:cubicBezTo>
                    <a:cubicBezTo>
                      <a:pt x="240" y="3"/>
                      <a:pt x="239" y="3"/>
                      <a:pt x="238" y="3"/>
                    </a:cubicBezTo>
                    <a:cubicBezTo>
                      <a:pt x="236" y="2"/>
                      <a:pt x="235" y="2"/>
                      <a:pt x="233" y="2"/>
                    </a:cubicBezTo>
                    <a:cubicBezTo>
                      <a:pt x="233" y="2"/>
                      <a:pt x="233" y="2"/>
                      <a:pt x="233" y="2"/>
                    </a:cubicBezTo>
                    <a:cubicBezTo>
                      <a:pt x="226" y="2"/>
                      <a:pt x="218" y="2"/>
                      <a:pt x="211" y="1"/>
                    </a:cubicBezTo>
                    <a:cubicBezTo>
                      <a:pt x="210" y="1"/>
                      <a:pt x="210" y="1"/>
                      <a:pt x="209" y="1"/>
                    </a:cubicBezTo>
                    <a:cubicBezTo>
                      <a:pt x="201" y="1"/>
                      <a:pt x="195" y="5"/>
                      <a:pt x="187" y="7"/>
                    </a:cubicBezTo>
                    <a:cubicBezTo>
                      <a:pt x="179" y="9"/>
                      <a:pt x="174" y="13"/>
                      <a:pt x="167" y="17"/>
                    </a:cubicBezTo>
                    <a:cubicBezTo>
                      <a:pt x="163" y="19"/>
                      <a:pt x="160" y="21"/>
                      <a:pt x="156" y="24"/>
                    </a:cubicBezTo>
                    <a:cubicBezTo>
                      <a:pt x="154" y="26"/>
                      <a:pt x="150" y="31"/>
                      <a:pt x="148" y="31"/>
                    </a:cubicBezTo>
                    <a:cubicBezTo>
                      <a:pt x="145" y="32"/>
                      <a:pt x="141" y="32"/>
                      <a:pt x="138" y="32"/>
                    </a:cubicBezTo>
                    <a:cubicBezTo>
                      <a:pt x="133" y="32"/>
                      <a:pt x="128" y="31"/>
                      <a:pt x="123" y="29"/>
                    </a:cubicBezTo>
                    <a:cubicBezTo>
                      <a:pt x="122" y="29"/>
                      <a:pt x="121" y="28"/>
                      <a:pt x="119" y="28"/>
                    </a:cubicBezTo>
                    <a:cubicBezTo>
                      <a:pt x="116" y="28"/>
                      <a:pt x="112" y="30"/>
                      <a:pt x="109" y="30"/>
                    </a:cubicBezTo>
                    <a:cubicBezTo>
                      <a:pt x="108" y="30"/>
                      <a:pt x="108" y="30"/>
                      <a:pt x="107" y="30"/>
                    </a:cubicBezTo>
                    <a:cubicBezTo>
                      <a:pt x="104" y="30"/>
                      <a:pt x="100" y="29"/>
                      <a:pt x="97" y="28"/>
                    </a:cubicBezTo>
                    <a:cubicBezTo>
                      <a:pt x="96" y="28"/>
                      <a:pt x="92" y="27"/>
                      <a:pt x="90" y="27"/>
                    </a:cubicBezTo>
                    <a:cubicBezTo>
                      <a:pt x="89" y="27"/>
                      <a:pt x="87" y="27"/>
                      <a:pt x="87" y="28"/>
                    </a:cubicBezTo>
                    <a:cubicBezTo>
                      <a:pt x="87" y="28"/>
                      <a:pt x="87" y="28"/>
                      <a:pt x="87" y="28"/>
                    </a:cubicBezTo>
                    <a:cubicBezTo>
                      <a:pt x="89" y="30"/>
                      <a:pt x="90" y="32"/>
                      <a:pt x="90" y="34"/>
                    </a:cubicBezTo>
                    <a:cubicBezTo>
                      <a:pt x="90" y="36"/>
                      <a:pt x="90" y="37"/>
                      <a:pt x="89" y="38"/>
                    </a:cubicBezTo>
                    <a:cubicBezTo>
                      <a:pt x="92" y="40"/>
                      <a:pt x="94" y="42"/>
                      <a:pt x="98" y="43"/>
                    </a:cubicBezTo>
                    <a:cubicBezTo>
                      <a:pt x="101" y="44"/>
                      <a:pt x="105" y="43"/>
                      <a:pt x="108" y="44"/>
                    </a:cubicBezTo>
                    <a:cubicBezTo>
                      <a:pt x="102" y="45"/>
                      <a:pt x="95" y="45"/>
                      <a:pt x="89" y="47"/>
                    </a:cubicBezTo>
                    <a:cubicBezTo>
                      <a:pt x="85" y="47"/>
                      <a:pt x="79" y="48"/>
                      <a:pt x="77" y="51"/>
                    </a:cubicBezTo>
                    <a:cubicBezTo>
                      <a:pt x="80" y="52"/>
                      <a:pt x="85" y="51"/>
                      <a:pt x="87" y="54"/>
                    </a:cubicBezTo>
                    <a:cubicBezTo>
                      <a:pt x="85" y="56"/>
                      <a:pt x="82" y="57"/>
                      <a:pt x="79" y="57"/>
                    </a:cubicBezTo>
                    <a:cubicBezTo>
                      <a:pt x="77" y="57"/>
                      <a:pt x="74" y="56"/>
                      <a:pt x="72" y="56"/>
                    </a:cubicBezTo>
                    <a:cubicBezTo>
                      <a:pt x="67" y="56"/>
                      <a:pt x="63" y="56"/>
                      <a:pt x="59" y="56"/>
                    </a:cubicBezTo>
                    <a:cubicBezTo>
                      <a:pt x="57" y="56"/>
                      <a:pt x="55" y="56"/>
                      <a:pt x="52" y="56"/>
                    </a:cubicBezTo>
                    <a:cubicBezTo>
                      <a:pt x="54" y="50"/>
                      <a:pt x="52" y="52"/>
                      <a:pt x="48" y="51"/>
                    </a:cubicBezTo>
                    <a:cubicBezTo>
                      <a:pt x="48" y="53"/>
                      <a:pt x="50" y="54"/>
                      <a:pt x="52" y="56"/>
                    </a:cubicBezTo>
                    <a:cubicBezTo>
                      <a:pt x="49" y="57"/>
                      <a:pt x="46" y="57"/>
                      <a:pt x="44" y="58"/>
                    </a:cubicBezTo>
                    <a:cubicBezTo>
                      <a:pt x="43" y="58"/>
                      <a:pt x="43" y="58"/>
                      <a:pt x="42" y="58"/>
                    </a:cubicBezTo>
                    <a:cubicBezTo>
                      <a:pt x="40" y="58"/>
                      <a:pt x="39" y="57"/>
                      <a:pt x="37" y="55"/>
                    </a:cubicBezTo>
                    <a:cubicBezTo>
                      <a:pt x="36" y="54"/>
                      <a:pt x="35" y="53"/>
                      <a:pt x="34" y="53"/>
                    </a:cubicBezTo>
                    <a:cubicBezTo>
                      <a:pt x="34" y="53"/>
                      <a:pt x="33" y="53"/>
                      <a:pt x="33" y="53"/>
                    </a:cubicBezTo>
                    <a:cubicBezTo>
                      <a:pt x="27" y="56"/>
                      <a:pt x="21" y="58"/>
                      <a:pt x="15" y="60"/>
                    </a:cubicBezTo>
                    <a:cubicBezTo>
                      <a:pt x="10" y="62"/>
                      <a:pt x="4" y="67"/>
                      <a:pt x="2" y="71"/>
                    </a:cubicBezTo>
                    <a:cubicBezTo>
                      <a:pt x="2" y="74"/>
                      <a:pt x="3" y="78"/>
                      <a:pt x="3" y="81"/>
                    </a:cubicBezTo>
                    <a:cubicBezTo>
                      <a:pt x="3" y="82"/>
                      <a:pt x="1" y="83"/>
                      <a:pt x="1" y="85"/>
                    </a:cubicBezTo>
                    <a:cubicBezTo>
                      <a:pt x="1" y="85"/>
                      <a:pt x="0" y="86"/>
                      <a:pt x="0" y="86"/>
                    </a:cubicBezTo>
                    <a:cubicBezTo>
                      <a:pt x="0" y="87"/>
                      <a:pt x="1" y="87"/>
                      <a:pt x="2" y="87"/>
                    </a:cubicBezTo>
                    <a:cubicBezTo>
                      <a:pt x="4" y="87"/>
                      <a:pt x="8" y="86"/>
                      <a:pt x="9" y="85"/>
                    </a:cubicBezTo>
                    <a:cubicBezTo>
                      <a:pt x="14" y="84"/>
                      <a:pt x="19" y="84"/>
                      <a:pt x="25" y="84"/>
                    </a:cubicBezTo>
                    <a:cubicBezTo>
                      <a:pt x="22" y="87"/>
                      <a:pt x="20" y="90"/>
                      <a:pt x="17" y="92"/>
                    </a:cubicBezTo>
                    <a:cubicBezTo>
                      <a:pt x="18" y="94"/>
                      <a:pt x="20" y="95"/>
                      <a:pt x="20" y="97"/>
                    </a:cubicBezTo>
                    <a:cubicBezTo>
                      <a:pt x="20" y="98"/>
                      <a:pt x="20" y="101"/>
                      <a:pt x="21" y="102"/>
                    </a:cubicBezTo>
                    <a:cubicBezTo>
                      <a:pt x="22" y="104"/>
                      <a:pt x="25" y="104"/>
                      <a:pt x="28" y="105"/>
                    </a:cubicBezTo>
                    <a:cubicBezTo>
                      <a:pt x="26" y="108"/>
                      <a:pt x="25" y="110"/>
                      <a:pt x="21" y="111"/>
                    </a:cubicBezTo>
                    <a:cubicBezTo>
                      <a:pt x="21" y="111"/>
                      <a:pt x="19" y="111"/>
                      <a:pt x="19" y="111"/>
                    </a:cubicBezTo>
                    <a:cubicBezTo>
                      <a:pt x="20" y="117"/>
                      <a:pt x="25" y="120"/>
                      <a:pt x="30" y="122"/>
                    </a:cubicBezTo>
                    <a:cubicBezTo>
                      <a:pt x="27" y="122"/>
                      <a:pt x="25" y="123"/>
                      <a:pt x="23" y="123"/>
                    </a:cubicBezTo>
                    <a:cubicBezTo>
                      <a:pt x="21" y="123"/>
                      <a:pt x="19" y="122"/>
                      <a:pt x="17" y="121"/>
                    </a:cubicBezTo>
                    <a:cubicBezTo>
                      <a:pt x="15" y="120"/>
                      <a:pt x="15" y="118"/>
                      <a:pt x="15" y="117"/>
                    </a:cubicBezTo>
                    <a:cubicBezTo>
                      <a:pt x="14" y="116"/>
                      <a:pt x="14" y="115"/>
                      <a:pt x="13" y="114"/>
                    </a:cubicBezTo>
                    <a:cubicBezTo>
                      <a:pt x="12" y="114"/>
                      <a:pt x="12" y="113"/>
                      <a:pt x="11" y="113"/>
                    </a:cubicBezTo>
                    <a:cubicBezTo>
                      <a:pt x="10" y="113"/>
                      <a:pt x="11" y="115"/>
                      <a:pt x="11" y="118"/>
                    </a:cubicBezTo>
                    <a:cubicBezTo>
                      <a:pt x="11" y="119"/>
                      <a:pt x="12" y="123"/>
                      <a:pt x="11" y="124"/>
                    </a:cubicBezTo>
                    <a:cubicBezTo>
                      <a:pt x="10" y="124"/>
                      <a:pt x="10" y="124"/>
                      <a:pt x="9" y="124"/>
                    </a:cubicBezTo>
                    <a:cubicBezTo>
                      <a:pt x="9" y="124"/>
                      <a:pt x="9" y="124"/>
                      <a:pt x="9" y="124"/>
                    </a:cubicBezTo>
                    <a:cubicBezTo>
                      <a:pt x="9" y="124"/>
                      <a:pt x="9" y="124"/>
                      <a:pt x="9" y="124"/>
                    </a:cubicBezTo>
                    <a:cubicBezTo>
                      <a:pt x="8" y="124"/>
                      <a:pt x="8" y="124"/>
                      <a:pt x="7" y="124"/>
                    </a:cubicBezTo>
                    <a:cubicBezTo>
                      <a:pt x="6" y="123"/>
                      <a:pt x="6" y="123"/>
                      <a:pt x="6" y="123"/>
                    </a:cubicBezTo>
                    <a:cubicBezTo>
                      <a:pt x="7" y="125"/>
                      <a:pt x="6" y="126"/>
                      <a:pt x="5" y="126"/>
                    </a:cubicBezTo>
                    <a:cubicBezTo>
                      <a:pt x="8" y="128"/>
                      <a:pt x="11" y="129"/>
                      <a:pt x="15" y="129"/>
                    </a:cubicBezTo>
                    <a:cubicBezTo>
                      <a:pt x="15" y="129"/>
                      <a:pt x="16" y="129"/>
                      <a:pt x="16" y="128"/>
                    </a:cubicBezTo>
                    <a:cubicBezTo>
                      <a:pt x="16" y="128"/>
                      <a:pt x="16" y="128"/>
                      <a:pt x="16" y="128"/>
                    </a:cubicBezTo>
                    <a:cubicBezTo>
                      <a:pt x="21" y="128"/>
                      <a:pt x="25" y="133"/>
                      <a:pt x="29" y="134"/>
                    </a:cubicBezTo>
                    <a:cubicBezTo>
                      <a:pt x="32" y="135"/>
                      <a:pt x="37" y="140"/>
                      <a:pt x="33" y="144"/>
                    </a:cubicBezTo>
                    <a:cubicBezTo>
                      <a:pt x="32" y="146"/>
                      <a:pt x="28" y="146"/>
                      <a:pt x="27" y="146"/>
                    </a:cubicBezTo>
                    <a:cubicBezTo>
                      <a:pt x="31" y="149"/>
                      <a:pt x="35" y="151"/>
                      <a:pt x="32" y="156"/>
                    </a:cubicBezTo>
                    <a:cubicBezTo>
                      <a:pt x="35" y="157"/>
                      <a:pt x="42" y="156"/>
                      <a:pt x="44" y="159"/>
                    </a:cubicBezTo>
                    <a:cubicBezTo>
                      <a:pt x="45" y="161"/>
                      <a:pt x="43" y="165"/>
                      <a:pt x="40" y="165"/>
                    </a:cubicBezTo>
                    <a:cubicBezTo>
                      <a:pt x="40" y="165"/>
                      <a:pt x="40" y="165"/>
                      <a:pt x="40" y="165"/>
                    </a:cubicBezTo>
                    <a:cubicBezTo>
                      <a:pt x="39" y="165"/>
                      <a:pt x="38" y="165"/>
                      <a:pt x="38" y="165"/>
                    </a:cubicBezTo>
                    <a:cubicBezTo>
                      <a:pt x="37" y="164"/>
                      <a:pt x="37" y="164"/>
                      <a:pt x="36" y="164"/>
                    </a:cubicBezTo>
                    <a:cubicBezTo>
                      <a:pt x="36" y="164"/>
                      <a:pt x="36" y="164"/>
                      <a:pt x="36" y="164"/>
                    </a:cubicBezTo>
                    <a:cubicBezTo>
                      <a:pt x="34" y="165"/>
                      <a:pt x="33" y="166"/>
                      <a:pt x="34" y="169"/>
                    </a:cubicBezTo>
                    <a:cubicBezTo>
                      <a:pt x="34" y="169"/>
                      <a:pt x="35" y="169"/>
                      <a:pt x="35" y="169"/>
                    </a:cubicBezTo>
                    <a:cubicBezTo>
                      <a:pt x="45" y="169"/>
                      <a:pt x="54" y="167"/>
                      <a:pt x="64" y="166"/>
                    </a:cubicBezTo>
                    <a:cubicBezTo>
                      <a:pt x="60" y="170"/>
                      <a:pt x="58" y="174"/>
                      <a:pt x="52" y="174"/>
                    </a:cubicBezTo>
                    <a:cubicBezTo>
                      <a:pt x="51" y="174"/>
                      <a:pt x="49" y="175"/>
                      <a:pt x="48" y="175"/>
                    </a:cubicBezTo>
                    <a:cubicBezTo>
                      <a:pt x="46" y="175"/>
                      <a:pt x="45" y="176"/>
                      <a:pt x="43" y="176"/>
                    </a:cubicBezTo>
                    <a:cubicBezTo>
                      <a:pt x="41" y="176"/>
                      <a:pt x="39" y="177"/>
                      <a:pt x="37" y="178"/>
                    </a:cubicBezTo>
                    <a:cubicBezTo>
                      <a:pt x="37" y="178"/>
                      <a:pt x="38" y="179"/>
                      <a:pt x="39" y="179"/>
                    </a:cubicBezTo>
                    <a:cubicBezTo>
                      <a:pt x="45" y="179"/>
                      <a:pt x="56" y="175"/>
                      <a:pt x="58" y="174"/>
                    </a:cubicBezTo>
                    <a:cubicBezTo>
                      <a:pt x="57" y="176"/>
                      <a:pt x="55" y="177"/>
                      <a:pt x="54" y="179"/>
                    </a:cubicBezTo>
                    <a:cubicBezTo>
                      <a:pt x="55" y="178"/>
                      <a:pt x="55" y="178"/>
                      <a:pt x="55" y="178"/>
                    </a:cubicBezTo>
                    <a:cubicBezTo>
                      <a:pt x="56" y="178"/>
                      <a:pt x="56" y="179"/>
                      <a:pt x="56" y="180"/>
                    </a:cubicBezTo>
                    <a:cubicBezTo>
                      <a:pt x="57" y="180"/>
                      <a:pt x="57" y="180"/>
                      <a:pt x="57" y="180"/>
                    </a:cubicBezTo>
                    <a:cubicBezTo>
                      <a:pt x="57" y="181"/>
                      <a:pt x="54" y="181"/>
                      <a:pt x="54" y="182"/>
                    </a:cubicBezTo>
                    <a:cubicBezTo>
                      <a:pt x="54" y="182"/>
                      <a:pt x="54" y="182"/>
                      <a:pt x="54" y="182"/>
                    </a:cubicBezTo>
                    <a:cubicBezTo>
                      <a:pt x="55" y="182"/>
                      <a:pt x="62" y="176"/>
                      <a:pt x="62" y="176"/>
                    </a:cubicBezTo>
                    <a:cubicBezTo>
                      <a:pt x="65" y="174"/>
                      <a:pt x="66" y="173"/>
                      <a:pt x="67" y="173"/>
                    </a:cubicBezTo>
                    <a:cubicBezTo>
                      <a:pt x="68" y="173"/>
                      <a:pt x="69" y="174"/>
                      <a:pt x="71" y="174"/>
                    </a:cubicBezTo>
                    <a:cubicBezTo>
                      <a:pt x="74" y="175"/>
                      <a:pt x="71" y="178"/>
                      <a:pt x="75" y="178"/>
                    </a:cubicBezTo>
                    <a:cubicBezTo>
                      <a:pt x="78" y="178"/>
                      <a:pt x="79" y="181"/>
                      <a:pt x="79" y="181"/>
                    </a:cubicBezTo>
                    <a:cubicBezTo>
                      <a:pt x="80" y="181"/>
                      <a:pt x="80" y="180"/>
                      <a:pt x="81" y="176"/>
                    </a:cubicBezTo>
                    <a:cubicBezTo>
                      <a:pt x="84" y="180"/>
                      <a:pt x="88" y="190"/>
                      <a:pt x="92" y="191"/>
                    </a:cubicBezTo>
                    <a:cubicBezTo>
                      <a:pt x="96" y="193"/>
                      <a:pt x="101" y="194"/>
                      <a:pt x="105" y="195"/>
                    </a:cubicBezTo>
                    <a:cubicBezTo>
                      <a:pt x="105" y="196"/>
                      <a:pt x="105" y="196"/>
                      <a:pt x="106" y="196"/>
                    </a:cubicBezTo>
                    <a:cubicBezTo>
                      <a:pt x="108" y="196"/>
                      <a:pt x="112" y="193"/>
                      <a:pt x="114" y="193"/>
                    </a:cubicBezTo>
                    <a:cubicBezTo>
                      <a:pt x="115" y="192"/>
                      <a:pt x="117" y="191"/>
                      <a:pt x="118" y="191"/>
                    </a:cubicBezTo>
                    <a:cubicBezTo>
                      <a:pt x="120" y="191"/>
                      <a:pt x="121" y="193"/>
                      <a:pt x="122" y="193"/>
                    </a:cubicBezTo>
                    <a:cubicBezTo>
                      <a:pt x="122" y="193"/>
                      <a:pt x="122" y="193"/>
                      <a:pt x="122" y="193"/>
                    </a:cubicBezTo>
                    <a:cubicBezTo>
                      <a:pt x="124" y="193"/>
                      <a:pt x="126" y="192"/>
                      <a:pt x="126" y="190"/>
                    </a:cubicBezTo>
                    <a:cubicBezTo>
                      <a:pt x="127" y="186"/>
                      <a:pt x="126" y="176"/>
                      <a:pt x="129" y="173"/>
                    </a:cubicBezTo>
                    <a:cubicBezTo>
                      <a:pt x="130" y="172"/>
                      <a:pt x="131" y="172"/>
                      <a:pt x="132" y="172"/>
                    </a:cubicBezTo>
                    <a:cubicBezTo>
                      <a:pt x="133" y="172"/>
                      <a:pt x="134" y="172"/>
                      <a:pt x="135" y="172"/>
                    </a:cubicBezTo>
                    <a:cubicBezTo>
                      <a:pt x="142" y="173"/>
                      <a:pt x="148" y="175"/>
                      <a:pt x="155" y="178"/>
                    </a:cubicBezTo>
                    <a:cubicBezTo>
                      <a:pt x="162" y="180"/>
                      <a:pt x="167" y="185"/>
                      <a:pt x="174" y="189"/>
                    </a:cubicBezTo>
                    <a:cubicBezTo>
                      <a:pt x="178" y="192"/>
                      <a:pt x="182" y="197"/>
                      <a:pt x="188" y="197"/>
                    </a:cubicBezTo>
                    <a:cubicBezTo>
                      <a:pt x="188" y="197"/>
                      <a:pt x="188" y="197"/>
                      <a:pt x="188" y="197"/>
                    </a:cubicBezTo>
                    <a:cubicBezTo>
                      <a:pt x="196" y="197"/>
                      <a:pt x="203" y="195"/>
                      <a:pt x="211" y="195"/>
                    </a:cubicBezTo>
                    <a:cubicBezTo>
                      <a:pt x="211" y="195"/>
                      <a:pt x="211" y="195"/>
                      <a:pt x="211" y="195"/>
                    </a:cubicBezTo>
                    <a:cubicBezTo>
                      <a:pt x="211" y="195"/>
                      <a:pt x="212" y="195"/>
                      <a:pt x="212" y="195"/>
                    </a:cubicBezTo>
                    <a:cubicBezTo>
                      <a:pt x="219" y="195"/>
                      <a:pt x="223" y="195"/>
                      <a:pt x="228" y="189"/>
                    </a:cubicBezTo>
                    <a:cubicBezTo>
                      <a:pt x="233" y="181"/>
                      <a:pt x="239" y="178"/>
                      <a:pt x="248" y="175"/>
                    </a:cubicBezTo>
                    <a:cubicBezTo>
                      <a:pt x="248" y="175"/>
                      <a:pt x="258" y="180"/>
                      <a:pt x="258" y="180"/>
                    </a:cubicBezTo>
                    <a:cubicBezTo>
                      <a:pt x="259" y="180"/>
                      <a:pt x="260" y="181"/>
                      <a:pt x="261" y="181"/>
                    </a:cubicBezTo>
                    <a:cubicBezTo>
                      <a:pt x="261" y="181"/>
                      <a:pt x="263" y="183"/>
                      <a:pt x="263" y="183"/>
                    </a:cubicBezTo>
                    <a:cubicBezTo>
                      <a:pt x="263" y="183"/>
                      <a:pt x="264" y="183"/>
                      <a:pt x="264" y="183"/>
                    </a:cubicBezTo>
                    <a:cubicBezTo>
                      <a:pt x="267" y="183"/>
                      <a:pt x="270" y="180"/>
                      <a:pt x="273" y="177"/>
                    </a:cubicBezTo>
                    <a:cubicBezTo>
                      <a:pt x="275" y="175"/>
                      <a:pt x="278" y="172"/>
                      <a:pt x="281" y="172"/>
                    </a:cubicBezTo>
                    <a:cubicBezTo>
                      <a:pt x="281" y="172"/>
                      <a:pt x="281" y="172"/>
                      <a:pt x="281" y="172"/>
                    </a:cubicBezTo>
                    <a:cubicBezTo>
                      <a:pt x="295" y="172"/>
                      <a:pt x="282" y="185"/>
                      <a:pt x="278" y="190"/>
                    </a:cubicBezTo>
                    <a:cubicBezTo>
                      <a:pt x="276" y="194"/>
                      <a:pt x="281" y="196"/>
                      <a:pt x="282" y="200"/>
                    </a:cubicBezTo>
                    <a:cubicBezTo>
                      <a:pt x="281" y="200"/>
                      <a:pt x="281" y="200"/>
                      <a:pt x="281" y="200"/>
                    </a:cubicBezTo>
                    <a:cubicBezTo>
                      <a:pt x="283" y="201"/>
                      <a:pt x="284" y="201"/>
                      <a:pt x="285" y="202"/>
                    </a:cubicBezTo>
                    <a:cubicBezTo>
                      <a:pt x="285" y="201"/>
                      <a:pt x="286" y="200"/>
                      <a:pt x="287" y="199"/>
                    </a:cubicBezTo>
                    <a:cubicBezTo>
                      <a:pt x="287" y="199"/>
                      <a:pt x="287" y="199"/>
                      <a:pt x="287" y="199"/>
                    </a:cubicBezTo>
                    <a:cubicBezTo>
                      <a:pt x="288" y="198"/>
                      <a:pt x="288" y="198"/>
                      <a:pt x="289" y="198"/>
                    </a:cubicBezTo>
                    <a:cubicBezTo>
                      <a:pt x="290" y="197"/>
                      <a:pt x="290" y="197"/>
                      <a:pt x="290" y="197"/>
                    </a:cubicBezTo>
                    <a:cubicBezTo>
                      <a:pt x="290" y="196"/>
                      <a:pt x="290" y="196"/>
                      <a:pt x="290" y="196"/>
                    </a:cubicBezTo>
                    <a:cubicBezTo>
                      <a:pt x="290" y="195"/>
                      <a:pt x="290" y="195"/>
                      <a:pt x="291" y="194"/>
                    </a:cubicBezTo>
                    <a:cubicBezTo>
                      <a:pt x="291" y="193"/>
                      <a:pt x="291" y="193"/>
                      <a:pt x="292" y="192"/>
                    </a:cubicBezTo>
                    <a:cubicBezTo>
                      <a:pt x="292" y="192"/>
                      <a:pt x="293" y="191"/>
                      <a:pt x="293" y="190"/>
                    </a:cubicBezTo>
                    <a:cubicBezTo>
                      <a:pt x="294" y="190"/>
                      <a:pt x="295" y="190"/>
                      <a:pt x="295" y="189"/>
                    </a:cubicBezTo>
                    <a:cubicBezTo>
                      <a:pt x="295" y="188"/>
                      <a:pt x="295" y="187"/>
                      <a:pt x="295" y="185"/>
                    </a:cubicBezTo>
                    <a:cubicBezTo>
                      <a:pt x="295" y="181"/>
                      <a:pt x="296" y="177"/>
                      <a:pt x="297" y="174"/>
                    </a:cubicBezTo>
                    <a:cubicBezTo>
                      <a:pt x="299" y="168"/>
                      <a:pt x="299" y="168"/>
                      <a:pt x="299" y="168"/>
                    </a:cubicBezTo>
                    <a:cubicBezTo>
                      <a:pt x="313" y="176"/>
                      <a:pt x="313" y="176"/>
                      <a:pt x="313" y="176"/>
                    </a:cubicBezTo>
                    <a:cubicBezTo>
                      <a:pt x="313" y="176"/>
                      <a:pt x="314" y="176"/>
                      <a:pt x="314" y="176"/>
                    </a:cubicBezTo>
                    <a:cubicBezTo>
                      <a:pt x="315" y="176"/>
                      <a:pt x="317" y="176"/>
                      <a:pt x="318" y="176"/>
                    </a:cubicBezTo>
                    <a:cubicBezTo>
                      <a:pt x="320" y="176"/>
                      <a:pt x="320" y="176"/>
                      <a:pt x="320" y="176"/>
                    </a:cubicBezTo>
                    <a:cubicBezTo>
                      <a:pt x="325" y="175"/>
                      <a:pt x="331" y="173"/>
                      <a:pt x="338" y="170"/>
                    </a:cubicBezTo>
                    <a:cubicBezTo>
                      <a:pt x="340" y="170"/>
                      <a:pt x="340" y="170"/>
                      <a:pt x="340" y="170"/>
                    </a:cubicBezTo>
                    <a:cubicBezTo>
                      <a:pt x="342" y="169"/>
                      <a:pt x="344" y="168"/>
                      <a:pt x="345" y="168"/>
                    </a:cubicBezTo>
                    <a:cubicBezTo>
                      <a:pt x="347" y="168"/>
                      <a:pt x="348" y="168"/>
                      <a:pt x="350" y="169"/>
                    </a:cubicBezTo>
                    <a:cubicBezTo>
                      <a:pt x="355" y="170"/>
                      <a:pt x="355" y="170"/>
                      <a:pt x="355" y="170"/>
                    </a:cubicBezTo>
                    <a:cubicBezTo>
                      <a:pt x="357" y="170"/>
                      <a:pt x="358" y="171"/>
                      <a:pt x="359" y="172"/>
                    </a:cubicBezTo>
                    <a:cubicBezTo>
                      <a:pt x="359" y="172"/>
                      <a:pt x="359" y="172"/>
                      <a:pt x="359" y="172"/>
                    </a:cubicBezTo>
                    <a:cubicBezTo>
                      <a:pt x="359" y="172"/>
                      <a:pt x="359" y="172"/>
                      <a:pt x="359" y="172"/>
                    </a:cubicBezTo>
                    <a:cubicBezTo>
                      <a:pt x="360" y="173"/>
                      <a:pt x="360" y="173"/>
                      <a:pt x="360" y="173"/>
                    </a:cubicBezTo>
                    <a:cubicBezTo>
                      <a:pt x="366" y="174"/>
                      <a:pt x="371" y="174"/>
                      <a:pt x="376" y="174"/>
                    </a:cubicBezTo>
                    <a:cubicBezTo>
                      <a:pt x="377" y="174"/>
                      <a:pt x="378" y="174"/>
                      <a:pt x="379" y="174"/>
                    </a:cubicBezTo>
                    <a:cubicBezTo>
                      <a:pt x="380" y="174"/>
                      <a:pt x="380" y="174"/>
                      <a:pt x="380" y="174"/>
                    </a:cubicBezTo>
                    <a:cubicBezTo>
                      <a:pt x="380" y="176"/>
                      <a:pt x="380" y="176"/>
                      <a:pt x="380" y="176"/>
                    </a:cubicBezTo>
                    <a:cubicBezTo>
                      <a:pt x="380" y="174"/>
                      <a:pt x="380" y="174"/>
                      <a:pt x="380" y="174"/>
                    </a:cubicBezTo>
                    <a:cubicBezTo>
                      <a:pt x="385" y="173"/>
                      <a:pt x="391" y="171"/>
                      <a:pt x="396" y="169"/>
                    </a:cubicBezTo>
                    <a:cubicBezTo>
                      <a:pt x="401" y="168"/>
                      <a:pt x="401" y="168"/>
                      <a:pt x="401" y="168"/>
                    </a:cubicBezTo>
                    <a:cubicBezTo>
                      <a:pt x="402" y="167"/>
                      <a:pt x="403" y="167"/>
                      <a:pt x="403" y="167"/>
                    </a:cubicBezTo>
                    <a:cubicBezTo>
                      <a:pt x="405" y="166"/>
                      <a:pt x="406" y="166"/>
                      <a:pt x="407" y="165"/>
                    </a:cubicBezTo>
                    <a:cubicBezTo>
                      <a:pt x="408" y="165"/>
                      <a:pt x="408" y="165"/>
                      <a:pt x="408" y="165"/>
                    </a:cubicBezTo>
                    <a:cubicBezTo>
                      <a:pt x="411" y="163"/>
                      <a:pt x="416" y="161"/>
                      <a:pt x="420" y="161"/>
                    </a:cubicBezTo>
                    <a:cubicBezTo>
                      <a:pt x="420" y="161"/>
                      <a:pt x="421" y="161"/>
                      <a:pt x="421" y="161"/>
                    </a:cubicBezTo>
                    <a:cubicBezTo>
                      <a:pt x="423" y="161"/>
                      <a:pt x="424" y="161"/>
                      <a:pt x="426" y="161"/>
                    </a:cubicBezTo>
                    <a:cubicBezTo>
                      <a:pt x="435" y="161"/>
                      <a:pt x="443" y="160"/>
                      <a:pt x="451" y="159"/>
                    </a:cubicBezTo>
                    <a:cubicBezTo>
                      <a:pt x="454" y="158"/>
                      <a:pt x="457" y="157"/>
                      <a:pt x="461" y="156"/>
                    </a:cubicBezTo>
                    <a:cubicBezTo>
                      <a:pt x="464" y="155"/>
                      <a:pt x="464" y="155"/>
                      <a:pt x="464" y="155"/>
                    </a:cubicBezTo>
                    <a:cubicBezTo>
                      <a:pt x="465" y="158"/>
                      <a:pt x="465" y="158"/>
                      <a:pt x="465" y="158"/>
                    </a:cubicBezTo>
                    <a:cubicBezTo>
                      <a:pt x="470" y="155"/>
                      <a:pt x="474" y="152"/>
                      <a:pt x="481" y="152"/>
                    </a:cubicBezTo>
                    <a:cubicBezTo>
                      <a:pt x="483" y="152"/>
                      <a:pt x="483" y="152"/>
                      <a:pt x="483" y="152"/>
                    </a:cubicBezTo>
                    <a:cubicBezTo>
                      <a:pt x="483" y="152"/>
                      <a:pt x="484" y="152"/>
                      <a:pt x="484" y="152"/>
                    </a:cubicBezTo>
                    <a:cubicBezTo>
                      <a:pt x="484" y="152"/>
                      <a:pt x="484" y="152"/>
                      <a:pt x="485" y="152"/>
                    </a:cubicBezTo>
                    <a:cubicBezTo>
                      <a:pt x="485" y="152"/>
                      <a:pt x="485" y="152"/>
                      <a:pt x="485" y="152"/>
                    </a:cubicBezTo>
                    <a:cubicBezTo>
                      <a:pt x="485" y="154"/>
                      <a:pt x="485" y="154"/>
                      <a:pt x="485" y="154"/>
                    </a:cubicBezTo>
                    <a:cubicBezTo>
                      <a:pt x="486" y="152"/>
                      <a:pt x="486" y="152"/>
                      <a:pt x="486" y="152"/>
                    </a:cubicBezTo>
                    <a:cubicBezTo>
                      <a:pt x="487" y="152"/>
                      <a:pt x="488" y="153"/>
                      <a:pt x="489" y="153"/>
                    </a:cubicBezTo>
                    <a:cubicBezTo>
                      <a:pt x="494" y="154"/>
                      <a:pt x="494" y="154"/>
                      <a:pt x="494" y="154"/>
                    </a:cubicBezTo>
                    <a:cubicBezTo>
                      <a:pt x="497" y="154"/>
                      <a:pt x="501" y="155"/>
                      <a:pt x="505" y="155"/>
                    </a:cubicBezTo>
                    <a:cubicBezTo>
                      <a:pt x="506" y="155"/>
                      <a:pt x="507" y="155"/>
                      <a:pt x="509" y="155"/>
                    </a:cubicBezTo>
                    <a:cubicBezTo>
                      <a:pt x="510" y="154"/>
                      <a:pt x="511" y="154"/>
                      <a:pt x="512" y="154"/>
                    </a:cubicBezTo>
                    <a:cubicBezTo>
                      <a:pt x="517" y="154"/>
                      <a:pt x="519" y="159"/>
                      <a:pt x="520" y="160"/>
                    </a:cubicBezTo>
                    <a:cubicBezTo>
                      <a:pt x="520" y="161"/>
                      <a:pt x="520" y="161"/>
                      <a:pt x="520" y="161"/>
                    </a:cubicBezTo>
                    <a:cubicBezTo>
                      <a:pt x="520" y="162"/>
                      <a:pt x="520" y="162"/>
                      <a:pt x="521" y="163"/>
                    </a:cubicBezTo>
                    <a:cubicBezTo>
                      <a:pt x="521" y="163"/>
                      <a:pt x="521" y="164"/>
                      <a:pt x="521" y="164"/>
                    </a:cubicBezTo>
                    <a:cubicBezTo>
                      <a:pt x="522" y="163"/>
                      <a:pt x="522" y="163"/>
                      <a:pt x="522" y="163"/>
                    </a:cubicBezTo>
                    <a:cubicBezTo>
                      <a:pt x="524" y="163"/>
                      <a:pt x="525" y="162"/>
                      <a:pt x="526" y="162"/>
                    </a:cubicBezTo>
                    <a:cubicBezTo>
                      <a:pt x="529" y="160"/>
                      <a:pt x="529" y="160"/>
                      <a:pt x="529" y="160"/>
                    </a:cubicBezTo>
                    <a:cubicBezTo>
                      <a:pt x="529" y="160"/>
                      <a:pt x="529" y="160"/>
                      <a:pt x="529" y="160"/>
                    </a:cubicBezTo>
                    <a:cubicBezTo>
                      <a:pt x="529" y="160"/>
                      <a:pt x="529" y="160"/>
                      <a:pt x="529" y="159"/>
                    </a:cubicBezTo>
                    <a:cubicBezTo>
                      <a:pt x="529" y="159"/>
                      <a:pt x="529" y="159"/>
                      <a:pt x="529" y="159"/>
                    </a:cubicBezTo>
                    <a:cubicBezTo>
                      <a:pt x="529" y="158"/>
                      <a:pt x="529" y="158"/>
                      <a:pt x="529" y="158"/>
                    </a:cubicBezTo>
                    <a:cubicBezTo>
                      <a:pt x="528" y="158"/>
                      <a:pt x="528" y="158"/>
                      <a:pt x="528" y="158"/>
                    </a:cubicBezTo>
                    <a:cubicBezTo>
                      <a:pt x="526" y="157"/>
                      <a:pt x="526" y="157"/>
                      <a:pt x="526" y="157"/>
                    </a:cubicBezTo>
                    <a:cubicBezTo>
                      <a:pt x="526" y="156"/>
                      <a:pt x="525" y="156"/>
                      <a:pt x="525" y="155"/>
                    </a:cubicBezTo>
                    <a:cubicBezTo>
                      <a:pt x="524" y="154"/>
                      <a:pt x="524" y="154"/>
                      <a:pt x="524" y="154"/>
                    </a:cubicBezTo>
                    <a:cubicBezTo>
                      <a:pt x="523" y="151"/>
                      <a:pt x="523" y="149"/>
                      <a:pt x="523" y="147"/>
                    </a:cubicBezTo>
                    <a:cubicBezTo>
                      <a:pt x="524" y="147"/>
                      <a:pt x="524" y="147"/>
                      <a:pt x="524" y="147"/>
                    </a:cubicBezTo>
                    <a:cubicBezTo>
                      <a:pt x="524" y="146"/>
                      <a:pt x="524" y="146"/>
                      <a:pt x="524" y="146"/>
                    </a:cubicBezTo>
                    <a:cubicBezTo>
                      <a:pt x="524" y="145"/>
                      <a:pt x="524" y="145"/>
                      <a:pt x="524" y="145"/>
                    </a:cubicBezTo>
                    <a:cubicBezTo>
                      <a:pt x="523" y="145"/>
                      <a:pt x="523" y="145"/>
                      <a:pt x="523" y="145"/>
                    </a:cubicBezTo>
                    <a:cubicBezTo>
                      <a:pt x="523" y="145"/>
                      <a:pt x="522" y="144"/>
                      <a:pt x="521" y="144"/>
                    </a:cubicBezTo>
                    <a:cubicBezTo>
                      <a:pt x="520" y="143"/>
                      <a:pt x="520" y="143"/>
                      <a:pt x="520" y="143"/>
                    </a:cubicBezTo>
                    <a:cubicBezTo>
                      <a:pt x="520" y="143"/>
                      <a:pt x="519" y="143"/>
                      <a:pt x="519" y="142"/>
                    </a:cubicBezTo>
                    <a:cubicBezTo>
                      <a:pt x="518" y="142"/>
                      <a:pt x="518" y="142"/>
                      <a:pt x="518" y="142"/>
                    </a:cubicBezTo>
                    <a:cubicBezTo>
                      <a:pt x="517" y="142"/>
                      <a:pt x="516" y="142"/>
                      <a:pt x="516" y="141"/>
                    </a:cubicBezTo>
                    <a:cubicBezTo>
                      <a:pt x="515" y="140"/>
                      <a:pt x="515" y="140"/>
                      <a:pt x="515" y="140"/>
                    </a:cubicBezTo>
                    <a:cubicBezTo>
                      <a:pt x="514" y="139"/>
                      <a:pt x="513" y="138"/>
                      <a:pt x="513" y="137"/>
                    </a:cubicBezTo>
                    <a:cubicBezTo>
                      <a:pt x="513" y="136"/>
                      <a:pt x="513" y="135"/>
                      <a:pt x="514" y="134"/>
                    </a:cubicBezTo>
                    <a:cubicBezTo>
                      <a:pt x="514" y="133"/>
                      <a:pt x="514" y="133"/>
                      <a:pt x="515" y="131"/>
                    </a:cubicBezTo>
                    <a:cubicBezTo>
                      <a:pt x="516" y="130"/>
                      <a:pt x="518" y="128"/>
                      <a:pt x="519" y="126"/>
                    </a:cubicBezTo>
                    <a:cubicBezTo>
                      <a:pt x="515" y="127"/>
                      <a:pt x="515" y="127"/>
                      <a:pt x="515" y="127"/>
                    </a:cubicBezTo>
                    <a:cubicBezTo>
                      <a:pt x="516" y="122"/>
                      <a:pt x="516" y="122"/>
                      <a:pt x="516" y="122"/>
                    </a:cubicBezTo>
                    <a:cubicBezTo>
                      <a:pt x="516" y="117"/>
                      <a:pt x="516" y="111"/>
                      <a:pt x="515" y="110"/>
                    </a:cubicBezTo>
                    <a:cubicBezTo>
                      <a:pt x="514" y="109"/>
                      <a:pt x="514" y="109"/>
                      <a:pt x="514" y="109"/>
                    </a:cubicBezTo>
                    <a:cubicBezTo>
                      <a:pt x="514" y="108"/>
                      <a:pt x="514" y="108"/>
                      <a:pt x="514" y="108"/>
                    </a:cubicBezTo>
                    <a:cubicBezTo>
                      <a:pt x="513" y="106"/>
                      <a:pt x="512" y="104"/>
                      <a:pt x="510" y="100"/>
                    </a:cubicBezTo>
                    <a:cubicBezTo>
                      <a:pt x="510" y="99"/>
                      <a:pt x="509" y="98"/>
                      <a:pt x="509" y="96"/>
                    </a:cubicBezTo>
                    <a:cubicBezTo>
                      <a:pt x="507" y="90"/>
                      <a:pt x="507" y="90"/>
                      <a:pt x="507" y="90"/>
                    </a:cubicBezTo>
                    <a:cubicBezTo>
                      <a:pt x="511" y="86"/>
                      <a:pt x="511" y="86"/>
                      <a:pt x="511" y="86"/>
                    </a:cubicBezTo>
                    <a:cubicBezTo>
                      <a:pt x="512" y="86"/>
                      <a:pt x="512" y="86"/>
                      <a:pt x="512" y="86"/>
                    </a:cubicBezTo>
                    <a:cubicBezTo>
                      <a:pt x="515" y="86"/>
                      <a:pt x="518" y="85"/>
                      <a:pt x="519" y="85"/>
                    </a:cubicBezTo>
                    <a:cubicBezTo>
                      <a:pt x="519" y="85"/>
                      <a:pt x="520" y="84"/>
                      <a:pt x="520" y="82"/>
                    </a:cubicBezTo>
                    <a:cubicBezTo>
                      <a:pt x="519" y="80"/>
                      <a:pt x="519" y="76"/>
                      <a:pt x="522" y="75"/>
                    </a:cubicBezTo>
                    <a:cubicBezTo>
                      <a:pt x="519" y="72"/>
                      <a:pt x="519" y="72"/>
                      <a:pt x="514" y="71"/>
                    </a:cubicBezTo>
                    <a:cubicBezTo>
                      <a:pt x="512" y="71"/>
                      <a:pt x="511" y="71"/>
                      <a:pt x="509" y="71"/>
                    </a:cubicBezTo>
                    <a:cubicBezTo>
                      <a:pt x="509" y="71"/>
                      <a:pt x="509" y="71"/>
                      <a:pt x="509" y="71"/>
                    </a:cubicBezTo>
                    <a:cubicBezTo>
                      <a:pt x="509" y="71"/>
                      <a:pt x="508" y="71"/>
                      <a:pt x="508" y="71"/>
                    </a:cubicBezTo>
                    <a:cubicBezTo>
                      <a:pt x="505" y="71"/>
                      <a:pt x="503" y="70"/>
                      <a:pt x="501" y="69"/>
                    </a:cubicBezTo>
                    <a:cubicBezTo>
                      <a:pt x="499" y="68"/>
                      <a:pt x="499" y="68"/>
                      <a:pt x="499" y="68"/>
                    </a:cubicBezTo>
                    <a:cubicBezTo>
                      <a:pt x="498" y="68"/>
                      <a:pt x="497" y="67"/>
                      <a:pt x="497" y="65"/>
                    </a:cubicBezTo>
                    <a:cubicBezTo>
                      <a:pt x="496" y="63"/>
                      <a:pt x="497" y="62"/>
                      <a:pt x="497" y="61"/>
                    </a:cubicBezTo>
                    <a:cubicBezTo>
                      <a:pt x="497" y="61"/>
                      <a:pt x="497" y="61"/>
                      <a:pt x="497" y="61"/>
                    </a:cubicBezTo>
                    <a:cubicBezTo>
                      <a:pt x="497" y="60"/>
                      <a:pt x="497" y="60"/>
                      <a:pt x="496" y="59"/>
                    </a:cubicBezTo>
                    <a:cubicBezTo>
                      <a:pt x="494" y="55"/>
                      <a:pt x="494" y="54"/>
                      <a:pt x="494" y="52"/>
                    </a:cubicBezTo>
                    <a:cubicBezTo>
                      <a:pt x="494" y="50"/>
                      <a:pt x="495" y="49"/>
                      <a:pt x="496" y="48"/>
                    </a:cubicBezTo>
                    <a:cubicBezTo>
                      <a:pt x="497" y="48"/>
                      <a:pt x="497" y="48"/>
                      <a:pt x="497" y="48"/>
                    </a:cubicBezTo>
                    <a:cubicBezTo>
                      <a:pt x="497" y="48"/>
                      <a:pt x="497" y="48"/>
                      <a:pt x="497" y="48"/>
                    </a:cubicBezTo>
                    <a:cubicBezTo>
                      <a:pt x="498" y="47"/>
                      <a:pt x="498" y="47"/>
                      <a:pt x="498" y="47"/>
                    </a:cubicBezTo>
                    <a:cubicBezTo>
                      <a:pt x="497" y="45"/>
                      <a:pt x="497" y="45"/>
                      <a:pt x="497" y="45"/>
                    </a:cubicBezTo>
                    <a:cubicBezTo>
                      <a:pt x="497" y="44"/>
                      <a:pt x="497" y="44"/>
                      <a:pt x="497" y="43"/>
                    </a:cubicBezTo>
                    <a:cubicBezTo>
                      <a:pt x="497" y="43"/>
                      <a:pt x="497" y="42"/>
                      <a:pt x="497" y="42"/>
                    </a:cubicBezTo>
                    <a:cubicBezTo>
                      <a:pt x="497" y="41"/>
                      <a:pt x="497" y="41"/>
                      <a:pt x="497" y="41"/>
                    </a:cubicBezTo>
                    <a:cubicBezTo>
                      <a:pt x="496" y="40"/>
                      <a:pt x="496" y="40"/>
                      <a:pt x="496" y="40"/>
                    </a:cubicBezTo>
                    <a:cubicBezTo>
                      <a:pt x="496" y="40"/>
                      <a:pt x="496" y="40"/>
                      <a:pt x="496" y="40"/>
                    </a:cubicBezTo>
                    <a:cubicBezTo>
                      <a:pt x="496" y="39"/>
                      <a:pt x="496" y="39"/>
                      <a:pt x="496" y="39"/>
                    </a:cubicBezTo>
                    <a:cubicBezTo>
                      <a:pt x="496" y="38"/>
                      <a:pt x="495" y="37"/>
                      <a:pt x="495" y="37"/>
                    </a:cubicBezTo>
                    <a:cubicBezTo>
                      <a:pt x="487" y="29"/>
                      <a:pt x="487" y="29"/>
                      <a:pt x="487" y="29"/>
                    </a:cubicBezTo>
                    <a:cubicBezTo>
                      <a:pt x="487" y="29"/>
                      <a:pt x="487" y="29"/>
                      <a:pt x="487" y="29"/>
                    </a:cubicBezTo>
                    <a:cubicBezTo>
                      <a:pt x="485" y="28"/>
                      <a:pt x="484" y="27"/>
                      <a:pt x="482" y="26"/>
                    </a:cubicBezTo>
                    <a:cubicBezTo>
                      <a:pt x="481" y="25"/>
                      <a:pt x="481" y="25"/>
                      <a:pt x="481" y="25"/>
                    </a:cubicBezTo>
                    <a:cubicBezTo>
                      <a:pt x="481" y="25"/>
                      <a:pt x="481" y="25"/>
                      <a:pt x="481" y="25"/>
                    </a:cubicBezTo>
                    <a:cubicBezTo>
                      <a:pt x="480" y="24"/>
                      <a:pt x="480" y="24"/>
                      <a:pt x="479" y="24"/>
                    </a:cubicBezTo>
                    <a:cubicBezTo>
                      <a:pt x="479" y="23"/>
                      <a:pt x="478" y="23"/>
                      <a:pt x="478" y="22"/>
                    </a:cubicBezTo>
                    <a:cubicBezTo>
                      <a:pt x="477" y="22"/>
                      <a:pt x="477" y="22"/>
                      <a:pt x="477" y="22"/>
                    </a:cubicBezTo>
                    <a:cubicBezTo>
                      <a:pt x="477" y="21"/>
                      <a:pt x="477" y="21"/>
                      <a:pt x="477" y="21"/>
                    </a:cubicBezTo>
                    <a:cubicBezTo>
                      <a:pt x="475" y="19"/>
                      <a:pt x="474" y="19"/>
                      <a:pt x="472" y="19"/>
                    </a:cubicBezTo>
                    <a:cubicBezTo>
                      <a:pt x="472" y="19"/>
                      <a:pt x="472" y="19"/>
                      <a:pt x="472" y="19"/>
                    </a:cubicBezTo>
                    <a:cubicBezTo>
                      <a:pt x="472" y="19"/>
                      <a:pt x="471" y="19"/>
                      <a:pt x="471" y="21"/>
                    </a:cubicBezTo>
                    <a:cubicBezTo>
                      <a:pt x="470" y="24"/>
                      <a:pt x="470" y="24"/>
                      <a:pt x="470" y="24"/>
                    </a:cubicBezTo>
                    <a:cubicBezTo>
                      <a:pt x="467" y="23"/>
                      <a:pt x="467" y="23"/>
                      <a:pt x="467" y="23"/>
                    </a:cubicBezTo>
                    <a:cubicBezTo>
                      <a:pt x="463" y="23"/>
                      <a:pt x="460" y="22"/>
                      <a:pt x="457" y="22"/>
                    </a:cubicBezTo>
                    <a:cubicBezTo>
                      <a:pt x="454" y="22"/>
                      <a:pt x="454" y="22"/>
                      <a:pt x="454" y="22"/>
                    </a:cubicBezTo>
                    <a:cubicBezTo>
                      <a:pt x="453" y="22"/>
                      <a:pt x="453" y="22"/>
                      <a:pt x="452" y="22"/>
                    </a:cubicBezTo>
                    <a:cubicBezTo>
                      <a:pt x="451" y="22"/>
                      <a:pt x="450" y="22"/>
                      <a:pt x="449" y="22"/>
                    </a:cubicBezTo>
                    <a:cubicBezTo>
                      <a:pt x="449" y="22"/>
                      <a:pt x="449" y="22"/>
                      <a:pt x="449" y="22"/>
                    </a:cubicBezTo>
                    <a:cubicBezTo>
                      <a:pt x="447" y="22"/>
                      <a:pt x="446" y="22"/>
                      <a:pt x="445" y="22"/>
                    </a:cubicBezTo>
                    <a:cubicBezTo>
                      <a:pt x="444" y="22"/>
                      <a:pt x="442" y="22"/>
                      <a:pt x="441" y="21"/>
                    </a:cubicBezTo>
                    <a:cubicBezTo>
                      <a:pt x="443" y="26"/>
                      <a:pt x="443" y="26"/>
                      <a:pt x="443" y="26"/>
                    </a:cubicBezTo>
                    <a:cubicBezTo>
                      <a:pt x="439" y="22"/>
                      <a:pt x="439" y="22"/>
                      <a:pt x="439" y="22"/>
                    </a:cubicBezTo>
                    <a:cubicBezTo>
                      <a:pt x="428" y="26"/>
                      <a:pt x="428" y="26"/>
                      <a:pt x="428" y="26"/>
                    </a:cubicBezTo>
                    <a:cubicBezTo>
                      <a:pt x="426" y="27"/>
                      <a:pt x="425" y="28"/>
                      <a:pt x="423" y="28"/>
                    </a:cubicBezTo>
                    <a:cubicBezTo>
                      <a:pt x="421" y="29"/>
                      <a:pt x="418" y="29"/>
                      <a:pt x="417" y="30"/>
                    </a:cubicBezTo>
                    <a:cubicBezTo>
                      <a:pt x="414" y="33"/>
                      <a:pt x="409" y="34"/>
                      <a:pt x="405" y="36"/>
                    </a:cubicBezTo>
                    <a:cubicBezTo>
                      <a:pt x="403" y="37"/>
                      <a:pt x="402" y="37"/>
                      <a:pt x="399" y="37"/>
                    </a:cubicBezTo>
                    <a:cubicBezTo>
                      <a:pt x="399" y="37"/>
                      <a:pt x="399" y="37"/>
                      <a:pt x="399" y="37"/>
                    </a:cubicBezTo>
                    <a:cubicBezTo>
                      <a:pt x="398" y="37"/>
                      <a:pt x="397" y="37"/>
                      <a:pt x="397" y="37"/>
                    </a:cubicBezTo>
                    <a:cubicBezTo>
                      <a:pt x="396" y="36"/>
                      <a:pt x="396" y="36"/>
                      <a:pt x="395" y="36"/>
                    </a:cubicBezTo>
                    <a:cubicBezTo>
                      <a:pt x="395" y="36"/>
                      <a:pt x="395" y="36"/>
                      <a:pt x="394" y="36"/>
                    </a:cubicBezTo>
                    <a:cubicBezTo>
                      <a:pt x="394" y="36"/>
                      <a:pt x="393" y="36"/>
                      <a:pt x="393" y="36"/>
                    </a:cubicBezTo>
                    <a:cubicBezTo>
                      <a:pt x="389" y="36"/>
                      <a:pt x="385" y="34"/>
                      <a:pt x="382" y="33"/>
                    </a:cubicBezTo>
                    <a:cubicBezTo>
                      <a:pt x="381" y="32"/>
                      <a:pt x="380" y="32"/>
                      <a:pt x="380" y="32"/>
                    </a:cubicBezTo>
                    <a:cubicBezTo>
                      <a:pt x="379" y="32"/>
                      <a:pt x="378" y="32"/>
                      <a:pt x="376" y="33"/>
                    </a:cubicBezTo>
                    <a:cubicBezTo>
                      <a:pt x="376" y="33"/>
                      <a:pt x="375" y="33"/>
                      <a:pt x="375" y="33"/>
                    </a:cubicBezTo>
                    <a:cubicBezTo>
                      <a:pt x="374" y="33"/>
                      <a:pt x="374" y="33"/>
                      <a:pt x="374" y="33"/>
                    </a:cubicBezTo>
                    <a:cubicBezTo>
                      <a:pt x="373" y="33"/>
                      <a:pt x="373" y="33"/>
                      <a:pt x="372" y="33"/>
                    </a:cubicBezTo>
                    <a:cubicBezTo>
                      <a:pt x="372" y="33"/>
                      <a:pt x="371" y="33"/>
                      <a:pt x="370" y="33"/>
                    </a:cubicBezTo>
                    <a:cubicBezTo>
                      <a:pt x="364" y="35"/>
                      <a:pt x="357" y="38"/>
                      <a:pt x="350" y="38"/>
                    </a:cubicBezTo>
                    <a:cubicBezTo>
                      <a:pt x="350" y="38"/>
                      <a:pt x="350" y="38"/>
                      <a:pt x="350" y="38"/>
                    </a:cubicBezTo>
                    <a:cubicBezTo>
                      <a:pt x="343" y="38"/>
                      <a:pt x="335" y="34"/>
                      <a:pt x="328" y="33"/>
                    </a:cubicBezTo>
                    <a:cubicBezTo>
                      <a:pt x="319" y="32"/>
                      <a:pt x="314" y="29"/>
                      <a:pt x="306" y="23"/>
                    </a:cubicBezTo>
                    <a:cubicBezTo>
                      <a:pt x="306" y="23"/>
                      <a:pt x="305" y="23"/>
                      <a:pt x="305" y="23"/>
                    </a:cubicBezTo>
                    <a:cubicBezTo>
                      <a:pt x="303" y="23"/>
                      <a:pt x="297" y="26"/>
                      <a:pt x="295" y="26"/>
                    </a:cubicBezTo>
                    <a:cubicBezTo>
                      <a:pt x="295" y="26"/>
                      <a:pt x="295" y="26"/>
                      <a:pt x="295" y="26"/>
                    </a:cubicBezTo>
                    <a:cubicBezTo>
                      <a:pt x="292" y="26"/>
                      <a:pt x="288" y="21"/>
                      <a:pt x="287" y="19"/>
                    </a:cubicBezTo>
                    <a:cubicBezTo>
                      <a:pt x="285" y="16"/>
                      <a:pt x="285" y="11"/>
                      <a:pt x="281" y="11"/>
                    </a:cubicBezTo>
                    <a:cubicBezTo>
                      <a:pt x="281" y="11"/>
                      <a:pt x="280" y="11"/>
                      <a:pt x="279" y="11"/>
                    </a:cubicBezTo>
                    <a:cubicBezTo>
                      <a:pt x="276" y="12"/>
                      <a:pt x="273" y="13"/>
                      <a:pt x="270" y="13"/>
                    </a:cubicBezTo>
                    <a:cubicBezTo>
                      <a:pt x="269" y="13"/>
                      <a:pt x="269" y="13"/>
                      <a:pt x="268" y="13"/>
                    </a:cubicBezTo>
                    <a:cubicBezTo>
                      <a:pt x="264" y="12"/>
                      <a:pt x="261" y="9"/>
                      <a:pt x="258" y="6"/>
                    </a:cubicBezTo>
                    <a:cubicBezTo>
                      <a:pt x="257" y="4"/>
                      <a:pt x="257" y="0"/>
                      <a:pt x="259" y="0"/>
                    </a:cubicBezTo>
                    <a:cubicBezTo>
                      <a:pt x="259" y="0"/>
                      <a:pt x="260" y="0"/>
                      <a:pt x="260" y="1"/>
                    </a:cubicBezTo>
                    <a:cubicBezTo>
                      <a:pt x="259" y="0"/>
                      <a:pt x="258" y="0"/>
                      <a:pt x="2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248"/>
              <p:cNvSpPr/>
              <p:nvPr/>
            </p:nvSpPr>
            <p:spPr bwMode="auto">
              <a:xfrm>
                <a:off x="7528691" y="5678764"/>
                <a:ext cx="117924" cy="136349"/>
              </a:xfrm>
              <a:custGeom>
                <a:gdLst>
                  <a:gd name="T0" fmla="*/ 22 w 37"/>
                  <a:gd name="T1" fmla="*/ 0 h 42"/>
                  <a:gd name="T2" fmla="*/ 20 w 37"/>
                  <a:gd name="T3" fmla="*/ 2 h 42"/>
                  <a:gd name="T4" fmla="*/ 15 w 37"/>
                  <a:gd name="T5" fmla="*/ 6 h 42"/>
                  <a:gd name="T6" fmla="*/ 11 w 37"/>
                  <a:gd name="T7" fmla="*/ 20 h 42"/>
                  <a:gd name="T8" fmla="*/ 8 w 37"/>
                  <a:gd name="T9" fmla="*/ 25 h 42"/>
                  <a:gd name="T10" fmla="*/ 5 w 37"/>
                  <a:gd name="T11" fmla="*/ 31 h 42"/>
                  <a:gd name="T12" fmla="*/ 0 w 37"/>
                  <a:gd name="T13" fmla="*/ 42 h 42"/>
                  <a:gd name="T14" fmla="*/ 2 w 37"/>
                  <a:gd name="T15" fmla="*/ 42 h 42"/>
                  <a:gd name="T16" fmla="*/ 5 w 37"/>
                  <a:gd name="T17" fmla="*/ 42 h 42"/>
                  <a:gd name="T18" fmla="*/ 9 w 37"/>
                  <a:gd name="T19" fmla="*/ 40 h 42"/>
                  <a:gd name="T20" fmla="*/ 11 w 37"/>
                  <a:gd name="T21" fmla="*/ 37 h 42"/>
                  <a:gd name="T22" fmla="*/ 13 w 37"/>
                  <a:gd name="T23" fmla="*/ 36 h 42"/>
                  <a:gd name="T24" fmla="*/ 15 w 37"/>
                  <a:gd name="T25" fmla="*/ 34 h 42"/>
                  <a:gd name="T26" fmla="*/ 15 w 37"/>
                  <a:gd name="T27" fmla="*/ 34 h 42"/>
                  <a:gd name="T28" fmla="*/ 17 w 37"/>
                  <a:gd name="T29" fmla="*/ 33 h 42"/>
                  <a:gd name="T30" fmla="*/ 20 w 37"/>
                  <a:gd name="T31" fmla="*/ 30 h 42"/>
                  <a:gd name="T32" fmla="*/ 20 w 37"/>
                  <a:gd name="T33" fmla="*/ 30 h 42"/>
                  <a:gd name="T34" fmla="*/ 19 w 37"/>
                  <a:gd name="T35" fmla="*/ 27 h 42"/>
                  <a:gd name="T36" fmla="*/ 25 w 37"/>
                  <a:gd name="T37" fmla="*/ 19 h 42"/>
                  <a:gd name="T38" fmla="*/ 29 w 37"/>
                  <a:gd name="T39" fmla="*/ 18 h 42"/>
                  <a:gd name="T40" fmla="*/ 36 w 37"/>
                  <a:gd name="T41" fmla="*/ 10 h 42"/>
                  <a:gd name="T42" fmla="*/ 37 w 37"/>
                  <a:gd name="T43" fmla="*/ 9 h 42"/>
                  <a:gd name="T44" fmla="*/ 36 w 37"/>
                  <a:gd name="T45" fmla="*/ 8 h 42"/>
                  <a:gd name="T46" fmla="*/ 35 w 37"/>
                  <a:gd name="T47" fmla="*/ 7 h 42"/>
                  <a:gd name="T48" fmla="*/ 33 w 37"/>
                  <a:gd name="T49" fmla="*/ 4 h 42"/>
                  <a:gd name="T50" fmla="*/ 28 w 37"/>
                  <a:gd name="T51" fmla="*/ 3 h 42"/>
                  <a:gd name="T52" fmla="*/ 30 w 37"/>
                  <a:gd name="T53" fmla="*/ 0 h 42"/>
                  <a:gd name="T54" fmla="*/ 26 w 37"/>
                  <a:gd name="T55" fmla="*/ 0 h 42"/>
                  <a:gd name="T56" fmla="*/ 22 w 37"/>
                  <a:gd name="T57" fmla="*/ 0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42">
                    <a:moveTo>
                      <a:pt x="22" y="0"/>
                    </a:moveTo>
                    <a:cubicBezTo>
                      <a:pt x="22" y="0"/>
                      <a:pt x="21" y="1"/>
                      <a:pt x="20" y="2"/>
                    </a:cubicBezTo>
                    <a:cubicBezTo>
                      <a:pt x="19" y="3"/>
                      <a:pt x="16" y="4"/>
                      <a:pt x="15" y="6"/>
                    </a:cubicBezTo>
                    <a:cubicBezTo>
                      <a:pt x="13" y="11"/>
                      <a:pt x="13" y="15"/>
                      <a:pt x="11" y="20"/>
                    </a:cubicBezTo>
                    <a:cubicBezTo>
                      <a:pt x="9" y="22"/>
                      <a:pt x="9" y="22"/>
                      <a:pt x="8" y="25"/>
                    </a:cubicBezTo>
                    <a:cubicBezTo>
                      <a:pt x="7" y="27"/>
                      <a:pt x="6" y="29"/>
                      <a:pt x="5" y="31"/>
                    </a:cubicBezTo>
                    <a:cubicBezTo>
                      <a:pt x="3" y="35"/>
                      <a:pt x="2" y="38"/>
                      <a:pt x="0" y="42"/>
                    </a:cubicBezTo>
                    <a:cubicBezTo>
                      <a:pt x="2" y="42"/>
                      <a:pt x="2" y="42"/>
                      <a:pt x="2" y="42"/>
                    </a:cubicBezTo>
                    <a:cubicBezTo>
                      <a:pt x="4" y="42"/>
                      <a:pt x="5" y="42"/>
                      <a:pt x="5" y="42"/>
                    </a:cubicBezTo>
                    <a:cubicBezTo>
                      <a:pt x="8" y="42"/>
                      <a:pt x="8" y="42"/>
                      <a:pt x="9" y="40"/>
                    </a:cubicBezTo>
                    <a:cubicBezTo>
                      <a:pt x="11" y="37"/>
                      <a:pt x="11" y="37"/>
                      <a:pt x="11" y="37"/>
                    </a:cubicBezTo>
                    <a:cubicBezTo>
                      <a:pt x="12" y="37"/>
                      <a:pt x="12" y="36"/>
                      <a:pt x="13" y="36"/>
                    </a:cubicBezTo>
                    <a:cubicBezTo>
                      <a:pt x="15" y="34"/>
                      <a:pt x="15" y="34"/>
                      <a:pt x="15" y="34"/>
                    </a:cubicBezTo>
                    <a:cubicBezTo>
                      <a:pt x="15" y="34"/>
                      <a:pt x="15" y="34"/>
                      <a:pt x="15" y="34"/>
                    </a:cubicBezTo>
                    <a:cubicBezTo>
                      <a:pt x="16" y="34"/>
                      <a:pt x="17" y="33"/>
                      <a:pt x="17" y="33"/>
                    </a:cubicBezTo>
                    <a:cubicBezTo>
                      <a:pt x="19" y="32"/>
                      <a:pt x="20" y="31"/>
                      <a:pt x="20" y="30"/>
                    </a:cubicBezTo>
                    <a:cubicBezTo>
                      <a:pt x="20" y="30"/>
                      <a:pt x="20" y="30"/>
                      <a:pt x="20" y="30"/>
                    </a:cubicBezTo>
                    <a:cubicBezTo>
                      <a:pt x="20" y="29"/>
                      <a:pt x="20" y="28"/>
                      <a:pt x="19" y="27"/>
                    </a:cubicBezTo>
                    <a:cubicBezTo>
                      <a:pt x="19" y="24"/>
                      <a:pt x="21" y="21"/>
                      <a:pt x="25" y="19"/>
                    </a:cubicBezTo>
                    <a:cubicBezTo>
                      <a:pt x="26" y="18"/>
                      <a:pt x="27" y="18"/>
                      <a:pt x="29" y="18"/>
                    </a:cubicBezTo>
                    <a:cubicBezTo>
                      <a:pt x="30" y="14"/>
                      <a:pt x="34" y="12"/>
                      <a:pt x="36" y="10"/>
                    </a:cubicBezTo>
                    <a:cubicBezTo>
                      <a:pt x="37" y="9"/>
                      <a:pt x="37" y="9"/>
                      <a:pt x="37" y="9"/>
                    </a:cubicBezTo>
                    <a:cubicBezTo>
                      <a:pt x="36" y="8"/>
                      <a:pt x="36" y="8"/>
                      <a:pt x="36" y="8"/>
                    </a:cubicBezTo>
                    <a:cubicBezTo>
                      <a:pt x="36" y="8"/>
                      <a:pt x="36" y="7"/>
                      <a:pt x="35" y="7"/>
                    </a:cubicBezTo>
                    <a:cubicBezTo>
                      <a:pt x="35" y="5"/>
                      <a:pt x="35" y="5"/>
                      <a:pt x="33" y="4"/>
                    </a:cubicBezTo>
                    <a:cubicBezTo>
                      <a:pt x="28" y="3"/>
                      <a:pt x="28" y="3"/>
                      <a:pt x="28" y="3"/>
                    </a:cubicBezTo>
                    <a:cubicBezTo>
                      <a:pt x="30" y="0"/>
                      <a:pt x="30" y="0"/>
                      <a:pt x="30" y="0"/>
                    </a:cubicBezTo>
                    <a:cubicBezTo>
                      <a:pt x="29" y="0"/>
                      <a:pt x="27" y="0"/>
                      <a:pt x="26" y="0"/>
                    </a:cubicBezTo>
                    <a:cubicBezTo>
                      <a:pt x="25" y="0"/>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249"/>
              <p:cNvSpPr/>
              <p:nvPr/>
            </p:nvSpPr>
            <p:spPr bwMode="auto">
              <a:xfrm>
                <a:off x="8298881" y="4985962"/>
                <a:ext cx="243218" cy="232162"/>
              </a:xfrm>
              <a:custGeom>
                <a:gdLst>
                  <a:gd name="T0" fmla="*/ 37 w 77"/>
                  <a:gd name="T1" fmla="*/ 0 h 74"/>
                  <a:gd name="T2" fmla="*/ 33 w 77"/>
                  <a:gd name="T3" fmla="*/ 2 h 74"/>
                  <a:gd name="T4" fmla="*/ 29 w 77"/>
                  <a:gd name="T5" fmla="*/ 2 h 74"/>
                  <a:gd name="T6" fmla="*/ 26 w 77"/>
                  <a:gd name="T7" fmla="*/ 2 h 74"/>
                  <a:gd name="T8" fmla="*/ 17 w 77"/>
                  <a:gd name="T9" fmla="*/ 3 h 74"/>
                  <a:gd name="T10" fmla="*/ 1 w 77"/>
                  <a:gd name="T11" fmla="*/ 6 h 74"/>
                  <a:gd name="T12" fmla="*/ 2 w 77"/>
                  <a:gd name="T13" fmla="*/ 8 h 74"/>
                  <a:gd name="T14" fmla="*/ 2 w 77"/>
                  <a:gd name="T15" fmla="*/ 9 h 74"/>
                  <a:gd name="T16" fmla="*/ 3 w 77"/>
                  <a:gd name="T17" fmla="*/ 12 h 74"/>
                  <a:gd name="T18" fmla="*/ 3 w 77"/>
                  <a:gd name="T19" fmla="*/ 15 h 74"/>
                  <a:gd name="T20" fmla="*/ 2 w 77"/>
                  <a:gd name="T21" fmla="*/ 22 h 74"/>
                  <a:gd name="T22" fmla="*/ 0 w 77"/>
                  <a:gd name="T23" fmla="*/ 24 h 74"/>
                  <a:gd name="T24" fmla="*/ 3 w 77"/>
                  <a:gd name="T25" fmla="*/ 30 h 74"/>
                  <a:gd name="T26" fmla="*/ 7 w 77"/>
                  <a:gd name="T27" fmla="*/ 35 h 74"/>
                  <a:gd name="T28" fmla="*/ 9 w 77"/>
                  <a:gd name="T29" fmla="*/ 35 h 74"/>
                  <a:gd name="T30" fmla="*/ 27 w 77"/>
                  <a:gd name="T31" fmla="*/ 41 h 74"/>
                  <a:gd name="T32" fmla="*/ 34 w 77"/>
                  <a:gd name="T33" fmla="*/ 45 h 74"/>
                  <a:gd name="T34" fmla="*/ 40 w 77"/>
                  <a:gd name="T35" fmla="*/ 43 h 74"/>
                  <a:gd name="T36" fmla="*/ 46 w 77"/>
                  <a:gd name="T37" fmla="*/ 48 h 74"/>
                  <a:gd name="T38" fmla="*/ 47 w 77"/>
                  <a:gd name="T39" fmla="*/ 50 h 74"/>
                  <a:gd name="T40" fmla="*/ 50 w 77"/>
                  <a:gd name="T41" fmla="*/ 52 h 74"/>
                  <a:gd name="T42" fmla="*/ 52 w 77"/>
                  <a:gd name="T43" fmla="*/ 52 h 74"/>
                  <a:gd name="T44" fmla="*/ 59 w 77"/>
                  <a:gd name="T45" fmla="*/ 49 h 74"/>
                  <a:gd name="T46" fmla="*/ 62 w 77"/>
                  <a:gd name="T47" fmla="*/ 57 h 74"/>
                  <a:gd name="T48" fmla="*/ 64 w 77"/>
                  <a:gd name="T49" fmla="*/ 59 h 74"/>
                  <a:gd name="T50" fmla="*/ 68 w 77"/>
                  <a:gd name="T51" fmla="*/ 62 h 74"/>
                  <a:gd name="T52" fmla="*/ 73 w 77"/>
                  <a:gd name="T53" fmla="*/ 74 h 74"/>
                  <a:gd name="T54" fmla="*/ 76 w 77"/>
                  <a:gd name="T55" fmla="*/ 73 h 74"/>
                  <a:gd name="T56" fmla="*/ 77 w 77"/>
                  <a:gd name="T57" fmla="*/ 73 h 74"/>
                  <a:gd name="T58" fmla="*/ 76 w 77"/>
                  <a:gd name="T59" fmla="*/ 71 h 74"/>
                  <a:gd name="T60" fmla="*/ 75 w 77"/>
                  <a:gd name="T61" fmla="*/ 68 h 74"/>
                  <a:gd name="T62" fmla="*/ 74 w 77"/>
                  <a:gd name="T63" fmla="*/ 60 h 74"/>
                  <a:gd name="T64" fmla="*/ 54 w 77"/>
                  <a:gd name="T65" fmla="*/ 45 h 74"/>
                  <a:gd name="T66" fmla="*/ 53 w 77"/>
                  <a:gd name="T67" fmla="*/ 37 h 74"/>
                  <a:gd name="T68" fmla="*/ 59 w 77"/>
                  <a:gd name="T69" fmla="*/ 36 h 74"/>
                  <a:gd name="T70" fmla="*/ 60 w 77"/>
                  <a:gd name="T71" fmla="*/ 35 h 74"/>
                  <a:gd name="T72" fmla="*/ 57 w 77"/>
                  <a:gd name="T73" fmla="*/ 31 h 74"/>
                  <a:gd name="T74" fmla="*/ 52 w 77"/>
                  <a:gd name="T75" fmla="*/ 27 h 74"/>
                  <a:gd name="T76" fmla="*/ 49 w 77"/>
                  <a:gd name="T77" fmla="*/ 12 h 74"/>
                  <a:gd name="T78" fmla="*/ 50 w 77"/>
                  <a:gd name="T79" fmla="*/ 11 h 74"/>
                  <a:gd name="T80" fmla="*/ 47 w 77"/>
                  <a:gd name="T81" fmla="*/ 9 h 74"/>
                  <a:gd name="T82" fmla="*/ 41 w 77"/>
                  <a:gd name="T83" fmla="*/ 7 h 74"/>
                  <a:gd name="T84" fmla="*/ 31 w 77"/>
                  <a:gd name="T85" fmla="*/ 10 h 74"/>
                  <a:gd name="T86" fmla="*/ 38 w 77"/>
                  <a:gd name="T87" fmla="*/ 1 h 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7" h="74">
                    <a:moveTo>
                      <a:pt x="37" y="0"/>
                    </a:moveTo>
                    <a:cubicBezTo>
                      <a:pt x="37" y="0"/>
                      <a:pt x="37" y="0"/>
                      <a:pt x="37" y="0"/>
                    </a:cubicBezTo>
                    <a:cubicBezTo>
                      <a:pt x="36" y="1"/>
                      <a:pt x="36" y="1"/>
                      <a:pt x="36" y="1"/>
                    </a:cubicBezTo>
                    <a:cubicBezTo>
                      <a:pt x="35" y="1"/>
                      <a:pt x="34" y="1"/>
                      <a:pt x="33" y="2"/>
                    </a:cubicBezTo>
                    <a:cubicBezTo>
                      <a:pt x="32" y="2"/>
                      <a:pt x="32" y="2"/>
                      <a:pt x="32" y="2"/>
                    </a:cubicBezTo>
                    <a:cubicBezTo>
                      <a:pt x="31" y="2"/>
                      <a:pt x="30" y="2"/>
                      <a:pt x="29" y="2"/>
                    </a:cubicBezTo>
                    <a:cubicBezTo>
                      <a:pt x="29" y="2"/>
                      <a:pt x="29" y="2"/>
                      <a:pt x="29" y="2"/>
                    </a:cubicBezTo>
                    <a:cubicBezTo>
                      <a:pt x="27" y="2"/>
                      <a:pt x="27" y="2"/>
                      <a:pt x="26" y="2"/>
                    </a:cubicBezTo>
                    <a:cubicBezTo>
                      <a:pt x="24" y="2"/>
                      <a:pt x="23" y="2"/>
                      <a:pt x="22" y="2"/>
                    </a:cubicBezTo>
                    <a:cubicBezTo>
                      <a:pt x="20" y="2"/>
                      <a:pt x="19" y="2"/>
                      <a:pt x="17" y="3"/>
                    </a:cubicBezTo>
                    <a:cubicBezTo>
                      <a:pt x="11" y="3"/>
                      <a:pt x="6" y="4"/>
                      <a:pt x="0" y="5"/>
                    </a:cubicBezTo>
                    <a:cubicBezTo>
                      <a:pt x="1" y="5"/>
                      <a:pt x="1" y="6"/>
                      <a:pt x="1" y="6"/>
                    </a:cubicBezTo>
                    <a:cubicBezTo>
                      <a:pt x="1" y="7"/>
                      <a:pt x="2" y="7"/>
                      <a:pt x="2" y="7"/>
                    </a:cubicBezTo>
                    <a:cubicBezTo>
                      <a:pt x="2" y="8"/>
                      <a:pt x="2" y="8"/>
                      <a:pt x="2" y="8"/>
                    </a:cubicBezTo>
                    <a:cubicBezTo>
                      <a:pt x="8" y="6"/>
                      <a:pt x="8" y="6"/>
                      <a:pt x="8" y="6"/>
                    </a:cubicBezTo>
                    <a:cubicBezTo>
                      <a:pt x="2" y="9"/>
                      <a:pt x="2" y="9"/>
                      <a:pt x="2" y="9"/>
                    </a:cubicBezTo>
                    <a:cubicBezTo>
                      <a:pt x="2" y="10"/>
                      <a:pt x="2" y="10"/>
                      <a:pt x="2" y="10"/>
                    </a:cubicBezTo>
                    <a:cubicBezTo>
                      <a:pt x="3" y="10"/>
                      <a:pt x="3" y="11"/>
                      <a:pt x="3" y="12"/>
                    </a:cubicBezTo>
                    <a:cubicBezTo>
                      <a:pt x="3" y="13"/>
                      <a:pt x="3" y="13"/>
                      <a:pt x="3" y="13"/>
                    </a:cubicBezTo>
                    <a:cubicBezTo>
                      <a:pt x="3" y="14"/>
                      <a:pt x="3" y="15"/>
                      <a:pt x="3" y="15"/>
                    </a:cubicBezTo>
                    <a:cubicBezTo>
                      <a:pt x="4" y="19"/>
                      <a:pt x="4" y="19"/>
                      <a:pt x="4" y="19"/>
                    </a:cubicBezTo>
                    <a:cubicBezTo>
                      <a:pt x="4" y="21"/>
                      <a:pt x="3" y="22"/>
                      <a:pt x="2" y="22"/>
                    </a:cubicBezTo>
                    <a:cubicBezTo>
                      <a:pt x="2" y="23"/>
                      <a:pt x="1" y="24"/>
                      <a:pt x="1" y="24"/>
                    </a:cubicBezTo>
                    <a:cubicBezTo>
                      <a:pt x="0" y="24"/>
                      <a:pt x="0" y="24"/>
                      <a:pt x="0" y="24"/>
                    </a:cubicBezTo>
                    <a:cubicBezTo>
                      <a:pt x="1" y="25"/>
                      <a:pt x="1" y="26"/>
                      <a:pt x="1" y="27"/>
                    </a:cubicBezTo>
                    <a:cubicBezTo>
                      <a:pt x="3" y="29"/>
                      <a:pt x="3" y="30"/>
                      <a:pt x="3" y="30"/>
                    </a:cubicBezTo>
                    <a:cubicBezTo>
                      <a:pt x="4" y="31"/>
                      <a:pt x="3" y="33"/>
                      <a:pt x="3" y="34"/>
                    </a:cubicBezTo>
                    <a:cubicBezTo>
                      <a:pt x="5" y="34"/>
                      <a:pt x="6" y="35"/>
                      <a:pt x="7" y="35"/>
                    </a:cubicBezTo>
                    <a:cubicBezTo>
                      <a:pt x="8" y="35"/>
                      <a:pt x="8" y="35"/>
                      <a:pt x="8" y="35"/>
                    </a:cubicBezTo>
                    <a:cubicBezTo>
                      <a:pt x="8" y="35"/>
                      <a:pt x="8" y="35"/>
                      <a:pt x="9" y="35"/>
                    </a:cubicBezTo>
                    <a:cubicBezTo>
                      <a:pt x="10" y="35"/>
                      <a:pt x="12" y="35"/>
                      <a:pt x="14" y="35"/>
                    </a:cubicBezTo>
                    <a:cubicBezTo>
                      <a:pt x="21" y="36"/>
                      <a:pt x="22" y="37"/>
                      <a:pt x="27" y="41"/>
                    </a:cubicBezTo>
                    <a:cubicBezTo>
                      <a:pt x="32" y="46"/>
                      <a:pt x="32" y="46"/>
                      <a:pt x="32" y="46"/>
                    </a:cubicBezTo>
                    <a:cubicBezTo>
                      <a:pt x="33" y="46"/>
                      <a:pt x="33" y="45"/>
                      <a:pt x="34" y="45"/>
                    </a:cubicBezTo>
                    <a:cubicBezTo>
                      <a:pt x="36" y="45"/>
                      <a:pt x="37" y="44"/>
                      <a:pt x="38" y="44"/>
                    </a:cubicBezTo>
                    <a:cubicBezTo>
                      <a:pt x="40" y="43"/>
                      <a:pt x="40" y="43"/>
                      <a:pt x="40" y="43"/>
                    </a:cubicBezTo>
                    <a:cubicBezTo>
                      <a:pt x="43" y="46"/>
                      <a:pt x="43" y="46"/>
                      <a:pt x="43" y="46"/>
                    </a:cubicBezTo>
                    <a:cubicBezTo>
                      <a:pt x="44" y="46"/>
                      <a:pt x="45" y="47"/>
                      <a:pt x="46" y="48"/>
                    </a:cubicBezTo>
                    <a:cubicBezTo>
                      <a:pt x="46" y="49"/>
                      <a:pt x="46" y="49"/>
                      <a:pt x="46" y="49"/>
                    </a:cubicBezTo>
                    <a:cubicBezTo>
                      <a:pt x="46" y="49"/>
                      <a:pt x="47" y="50"/>
                      <a:pt x="47" y="50"/>
                    </a:cubicBezTo>
                    <a:cubicBezTo>
                      <a:pt x="47" y="50"/>
                      <a:pt x="48" y="51"/>
                      <a:pt x="49" y="51"/>
                    </a:cubicBezTo>
                    <a:cubicBezTo>
                      <a:pt x="49" y="52"/>
                      <a:pt x="50" y="52"/>
                      <a:pt x="50" y="52"/>
                    </a:cubicBezTo>
                    <a:cubicBezTo>
                      <a:pt x="51" y="52"/>
                      <a:pt x="51" y="52"/>
                      <a:pt x="51" y="52"/>
                    </a:cubicBezTo>
                    <a:cubicBezTo>
                      <a:pt x="52" y="52"/>
                      <a:pt x="52" y="52"/>
                      <a:pt x="52" y="52"/>
                    </a:cubicBezTo>
                    <a:cubicBezTo>
                      <a:pt x="52" y="52"/>
                      <a:pt x="54" y="52"/>
                      <a:pt x="54" y="51"/>
                    </a:cubicBezTo>
                    <a:cubicBezTo>
                      <a:pt x="59" y="49"/>
                      <a:pt x="59" y="49"/>
                      <a:pt x="59" y="49"/>
                    </a:cubicBezTo>
                    <a:cubicBezTo>
                      <a:pt x="61" y="53"/>
                      <a:pt x="61" y="53"/>
                      <a:pt x="61" y="53"/>
                    </a:cubicBezTo>
                    <a:cubicBezTo>
                      <a:pt x="61" y="54"/>
                      <a:pt x="62" y="56"/>
                      <a:pt x="62" y="57"/>
                    </a:cubicBezTo>
                    <a:cubicBezTo>
                      <a:pt x="62" y="58"/>
                      <a:pt x="62" y="58"/>
                      <a:pt x="62" y="58"/>
                    </a:cubicBezTo>
                    <a:cubicBezTo>
                      <a:pt x="63" y="59"/>
                      <a:pt x="63" y="59"/>
                      <a:pt x="64" y="59"/>
                    </a:cubicBezTo>
                    <a:cubicBezTo>
                      <a:pt x="64" y="59"/>
                      <a:pt x="64" y="59"/>
                      <a:pt x="64" y="59"/>
                    </a:cubicBezTo>
                    <a:cubicBezTo>
                      <a:pt x="66" y="60"/>
                      <a:pt x="67" y="61"/>
                      <a:pt x="68" y="62"/>
                    </a:cubicBezTo>
                    <a:cubicBezTo>
                      <a:pt x="70" y="65"/>
                      <a:pt x="72" y="69"/>
                      <a:pt x="73" y="73"/>
                    </a:cubicBezTo>
                    <a:cubicBezTo>
                      <a:pt x="73" y="74"/>
                      <a:pt x="73" y="74"/>
                      <a:pt x="73" y="74"/>
                    </a:cubicBezTo>
                    <a:cubicBezTo>
                      <a:pt x="73" y="74"/>
                      <a:pt x="73" y="74"/>
                      <a:pt x="73" y="74"/>
                    </a:cubicBezTo>
                    <a:cubicBezTo>
                      <a:pt x="74" y="74"/>
                      <a:pt x="75" y="73"/>
                      <a:pt x="76" y="73"/>
                    </a:cubicBezTo>
                    <a:cubicBezTo>
                      <a:pt x="77" y="73"/>
                      <a:pt x="77" y="73"/>
                      <a:pt x="77" y="73"/>
                    </a:cubicBezTo>
                    <a:cubicBezTo>
                      <a:pt x="77" y="73"/>
                      <a:pt x="77" y="73"/>
                      <a:pt x="77" y="73"/>
                    </a:cubicBezTo>
                    <a:cubicBezTo>
                      <a:pt x="77" y="72"/>
                      <a:pt x="77" y="72"/>
                      <a:pt x="76" y="71"/>
                    </a:cubicBezTo>
                    <a:cubicBezTo>
                      <a:pt x="76" y="71"/>
                      <a:pt x="76" y="71"/>
                      <a:pt x="76" y="71"/>
                    </a:cubicBezTo>
                    <a:cubicBezTo>
                      <a:pt x="75" y="70"/>
                      <a:pt x="75" y="70"/>
                      <a:pt x="75" y="70"/>
                    </a:cubicBezTo>
                    <a:cubicBezTo>
                      <a:pt x="75" y="68"/>
                      <a:pt x="75" y="68"/>
                      <a:pt x="75" y="68"/>
                    </a:cubicBezTo>
                    <a:cubicBezTo>
                      <a:pt x="74" y="66"/>
                      <a:pt x="75" y="65"/>
                      <a:pt x="76" y="64"/>
                    </a:cubicBezTo>
                    <a:cubicBezTo>
                      <a:pt x="75" y="63"/>
                      <a:pt x="74" y="62"/>
                      <a:pt x="74" y="60"/>
                    </a:cubicBezTo>
                    <a:cubicBezTo>
                      <a:pt x="74" y="59"/>
                      <a:pt x="74" y="58"/>
                      <a:pt x="75" y="58"/>
                    </a:cubicBezTo>
                    <a:cubicBezTo>
                      <a:pt x="68" y="53"/>
                      <a:pt x="61" y="49"/>
                      <a:pt x="54" y="45"/>
                    </a:cubicBezTo>
                    <a:cubicBezTo>
                      <a:pt x="45" y="39"/>
                      <a:pt x="45" y="39"/>
                      <a:pt x="45" y="39"/>
                    </a:cubicBezTo>
                    <a:cubicBezTo>
                      <a:pt x="53" y="37"/>
                      <a:pt x="53" y="37"/>
                      <a:pt x="53" y="37"/>
                    </a:cubicBezTo>
                    <a:cubicBezTo>
                      <a:pt x="54" y="37"/>
                      <a:pt x="55" y="37"/>
                      <a:pt x="56" y="36"/>
                    </a:cubicBezTo>
                    <a:cubicBezTo>
                      <a:pt x="58" y="36"/>
                      <a:pt x="59" y="36"/>
                      <a:pt x="59" y="36"/>
                    </a:cubicBezTo>
                    <a:cubicBezTo>
                      <a:pt x="59" y="36"/>
                      <a:pt x="59" y="36"/>
                      <a:pt x="59" y="36"/>
                    </a:cubicBezTo>
                    <a:cubicBezTo>
                      <a:pt x="60" y="35"/>
                      <a:pt x="60" y="35"/>
                      <a:pt x="60" y="35"/>
                    </a:cubicBezTo>
                    <a:cubicBezTo>
                      <a:pt x="60" y="34"/>
                      <a:pt x="60" y="33"/>
                      <a:pt x="60" y="33"/>
                    </a:cubicBezTo>
                    <a:cubicBezTo>
                      <a:pt x="59" y="32"/>
                      <a:pt x="58" y="31"/>
                      <a:pt x="57" y="31"/>
                    </a:cubicBezTo>
                    <a:cubicBezTo>
                      <a:pt x="54" y="28"/>
                      <a:pt x="54" y="28"/>
                      <a:pt x="54" y="28"/>
                    </a:cubicBezTo>
                    <a:cubicBezTo>
                      <a:pt x="53" y="28"/>
                      <a:pt x="53" y="27"/>
                      <a:pt x="52" y="27"/>
                    </a:cubicBezTo>
                    <a:cubicBezTo>
                      <a:pt x="49" y="24"/>
                      <a:pt x="44" y="21"/>
                      <a:pt x="46" y="15"/>
                    </a:cubicBezTo>
                    <a:cubicBezTo>
                      <a:pt x="47" y="13"/>
                      <a:pt x="48" y="13"/>
                      <a:pt x="49" y="12"/>
                    </a:cubicBezTo>
                    <a:cubicBezTo>
                      <a:pt x="49" y="12"/>
                      <a:pt x="50" y="12"/>
                      <a:pt x="50" y="11"/>
                    </a:cubicBezTo>
                    <a:cubicBezTo>
                      <a:pt x="50" y="11"/>
                      <a:pt x="50" y="11"/>
                      <a:pt x="50" y="11"/>
                    </a:cubicBezTo>
                    <a:cubicBezTo>
                      <a:pt x="50" y="11"/>
                      <a:pt x="50" y="11"/>
                      <a:pt x="49" y="10"/>
                    </a:cubicBezTo>
                    <a:cubicBezTo>
                      <a:pt x="49" y="10"/>
                      <a:pt x="48" y="10"/>
                      <a:pt x="47" y="9"/>
                    </a:cubicBezTo>
                    <a:cubicBezTo>
                      <a:pt x="45" y="8"/>
                      <a:pt x="43" y="7"/>
                      <a:pt x="42" y="7"/>
                    </a:cubicBezTo>
                    <a:cubicBezTo>
                      <a:pt x="41" y="7"/>
                      <a:pt x="41" y="7"/>
                      <a:pt x="41" y="7"/>
                    </a:cubicBezTo>
                    <a:cubicBezTo>
                      <a:pt x="41" y="7"/>
                      <a:pt x="41" y="7"/>
                      <a:pt x="41" y="7"/>
                    </a:cubicBezTo>
                    <a:cubicBezTo>
                      <a:pt x="31" y="10"/>
                      <a:pt x="31" y="10"/>
                      <a:pt x="31" y="10"/>
                    </a:cubicBezTo>
                    <a:cubicBezTo>
                      <a:pt x="37" y="2"/>
                      <a:pt x="37" y="2"/>
                      <a:pt x="37" y="2"/>
                    </a:cubicBezTo>
                    <a:cubicBezTo>
                      <a:pt x="38" y="1"/>
                      <a:pt x="38" y="1"/>
                      <a:pt x="38" y="1"/>
                    </a:cubicBezTo>
                    <a:cubicBezTo>
                      <a:pt x="38" y="1"/>
                      <a:pt x="38"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Rectangle 250"/>
              <p:cNvSpPr>
                <a:spLocks noChangeArrowheads="1"/>
              </p:cNvSpPr>
              <p:nvPr/>
            </p:nvSpPr>
            <p:spPr bwMode="auto">
              <a:xfrm>
                <a:off x="8542098" y="5207069"/>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251"/>
              <p:cNvSpPr/>
              <p:nvPr/>
            </p:nvSpPr>
            <p:spPr bwMode="auto">
              <a:xfrm flipH="1">
                <a:off x="8542098" y="520706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252"/>
              <p:cNvSpPr/>
              <p:nvPr/>
            </p:nvSpPr>
            <p:spPr bwMode="auto">
              <a:xfrm>
                <a:off x="8560524" y="5199699"/>
                <a:ext cx="7370" cy="7370"/>
              </a:xfrm>
              <a:custGeom>
                <a:gdLst>
                  <a:gd name="T0" fmla="*/ 2 w 2"/>
                  <a:gd name="T1" fmla="*/ 0 h 2"/>
                  <a:gd name="T2" fmla="*/ 1 w 2"/>
                  <a:gd name="T3" fmla="*/ 1 h 2"/>
                  <a:gd name="T4" fmla="*/ 0 w 2"/>
                  <a:gd name="T5" fmla="*/ 1 h 2"/>
                  <a:gd name="T6" fmla="*/ 1 w 2"/>
                  <a:gd name="T7" fmla="*/ 2 h 2"/>
                  <a:gd name="T8" fmla="*/ 1 w 2"/>
                  <a:gd name="T9" fmla="*/ 2 h 2"/>
                  <a:gd name="T10" fmla="*/ 2 w 2"/>
                  <a:gd name="T11" fmla="*/ 0 h 2"/>
                </a:gdLst>
                <a:cxnLst>
                  <a:cxn ang="0">
                    <a:pos x="T0" y="T1"/>
                  </a:cxn>
                  <a:cxn ang="0">
                    <a:pos x="T2" y="T3"/>
                  </a:cxn>
                  <a:cxn ang="0">
                    <a:pos x="T4" y="T5"/>
                  </a:cxn>
                  <a:cxn ang="0">
                    <a:pos x="T6" y="T7"/>
                  </a:cxn>
                  <a:cxn ang="0">
                    <a:pos x="T8" y="T9"/>
                  </a:cxn>
                  <a:cxn ang="0">
                    <a:pos x="T10" y="T11"/>
                  </a:cxn>
                </a:cxnLst>
                <a:rect l="0" t="0" r="r" b="b"/>
                <a:pathLst>
                  <a:path w="2" h="2">
                    <a:moveTo>
                      <a:pt x="2" y="0"/>
                    </a:moveTo>
                    <a:cubicBezTo>
                      <a:pt x="1" y="1"/>
                      <a:pt x="1" y="1"/>
                      <a:pt x="1" y="1"/>
                    </a:cubicBezTo>
                    <a:cubicBezTo>
                      <a:pt x="0" y="1"/>
                      <a:pt x="0" y="1"/>
                      <a:pt x="0" y="1"/>
                    </a:cubicBezTo>
                    <a:cubicBezTo>
                      <a:pt x="1" y="2"/>
                      <a:pt x="1" y="2"/>
                      <a:pt x="1" y="2"/>
                    </a:cubicBezTo>
                    <a:cubicBezTo>
                      <a:pt x="1" y="2"/>
                      <a:pt x="1" y="2"/>
                      <a:pt x="1" y="2"/>
                    </a:cubicBezTo>
                    <a:cubicBezTo>
                      <a:pt x="2"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253"/>
              <p:cNvSpPr/>
              <p:nvPr/>
            </p:nvSpPr>
            <p:spPr bwMode="auto">
              <a:xfrm>
                <a:off x="8438915" y="4919630"/>
                <a:ext cx="464325" cy="346401"/>
              </a:xfrm>
              <a:custGeom>
                <a:gdLst>
                  <a:gd name="T0" fmla="*/ 33 w 146"/>
                  <a:gd name="T1" fmla="*/ 5 h 110"/>
                  <a:gd name="T2" fmla="*/ 40 w 146"/>
                  <a:gd name="T3" fmla="*/ 11 h 110"/>
                  <a:gd name="T4" fmla="*/ 43 w 146"/>
                  <a:gd name="T5" fmla="*/ 22 h 110"/>
                  <a:gd name="T6" fmla="*/ 43 w 146"/>
                  <a:gd name="T7" fmla="*/ 28 h 110"/>
                  <a:gd name="T8" fmla="*/ 32 w 146"/>
                  <a:gd name="T9" fmla="*/ 26 h 110"/>
                  <a:gd name="T10" fmla="*/ 13 w 146"/>
                  <a:gd name="T11" fmla="*/ 21 h 110"/>
                  <a:gd name="T12" fmla="*/ 3 w 146"/>
                  <a:gd name="T13" fmla="*/ 15 h 110"/>
                  <a:gd name="T14" fmla="*/ 0 w 146"/>
                  <a:gd name="T15" fmla="*/ 17 h 110"/>
                  <a:gd name="T16" fmla="*/ 0 w 146"/>
                  <a:gd name="T17" fmla="*/ 18 h 110"/>
                  <a:gd name="T18" fmla="*/ 1 w 146"/>
                  <a:gd name="T19" fmla="*/ 19 h 110"/>
                  <a:gd name="T20" fmla="*/ 2 w 146"/>
                  <a:gd name="T21" fmla="*/ 21 h 110"/>
                  <a:gd name="T22" fmla="*/ 7 w 146"/>
                  <a:gd name="T23" fmla="*/ 24 h 110"/>
                  <a:gd name="T24" fmla="*/ 13 w 146"/>
                  <a:gd name="T25" fmla="*/ 36 h 110"/>
                  <a:gd name="T26" fmla="*/ 9 w 146"/>
                  <a:gd name="T27" fmla="*/ 39 h 110"/>
                  <a:gd name="T28" fmla="*/ 8 w 146"/>
                  <a:gd name="T29" fmla="*/ 39 h 110"/>
                  <a:gd name="T30" fmla="*/ 14 w 146"/>
                  <a:gd name="T31" fmla="*/ 44 h 110"/>
                  <a:gd name="T32" fmla="*/ 20 w 146"/>
                  <a:gd name="T33" fmla="*/ 48 h 110"/>
                  <a:gd name="T34" fmla="*/ 22 w 146"/>
                  <a:gd name="T35" fmla="*/ 57 h 110"/>
                  <a:gd name="T36" fmla="*/ 38 w 146"/>
                  <a:gd name="T37" fmla="*/ 75 h 110"/>
                  <a:gd name="T38" fmla="*/ 38 w 146"/>
                  <a:gd name="T39" fmla="*/ 81 h 110"/>
                  <a:gd name="T40" fmla="*/ 41 w 146"/>
                  <a:gd name="T41" fmla="*/ 84 h 110"/>
                  <a:gd name="T42" fmla="*/ 50 w 146"/>
                  <a:gd name="T43" fmla="*/ 82 h 110"/>
                  <a:gd name="T44" fmla="*/ 67 w 146"/>
                  <a:gd name="T45" fmla="*/ 71 h 110"/>
                  <a:gd name="T46" fmla="*/ 77 w 146"/>
                  <a:gd name="T47" fmla="*/ 67 h 110"/>
                  <a:gd name="T48" fmla="*/ 86 w 146"/>
                  <a:gd name="T49" fmla="*/ 74 h 110"/>
                  <a:gd name="T50" fmla="*/ 90 w 146"/>
                  <a:gd name="T51" fmla="*/ 81 h 110"/>
                  <a:gd name="T52" fmla="*/ 87 w 146"/>
                  <a:gd name="T53" fmla="*/ 87 h 110"/>
                  <a:gd name="T54" fmla="*/ 90 w 146"/>
                  <a:gd name="T55" fmla="*/ 90 h 110"/>
                  <a:gd name="T56" fmla="*/ 85 w 146"/>
                  <a:gd name="T57" fmla="*/ 98 h 110"/>
                  <a:gd name="T58" fmla="*/ 88 w 146"/>
                  <a:gd name="T59" fmla="*/ 102 h 110"/>
                  <a:gd name="T60" fmla="*/ 92 w 146"/>
                  <a:gd name="T61" fmla="*/ 104 h 110"/>
                  <a:gd name="T62" fmla="*/ 97 w 146"/>
                  <a:gd name="T63" fmla="*/ 109 h 110"/>
                  <a:gd name="T64" fmla="*/ 97 w 146"/>
                  <a:gd name="T65" fmla="*/ 110 h 110"/>
                  <a:gd name="T66" fmla="*/ 104 w 146"/>
                  <a:gd name="T67" fmla="*/ 109 h 110"/>
                  <a:gd name="T68" fmla="*/ 107 w 146"/>
                  <a:gd name="T69" fmla="*/ 88 h 110"/>
                  <a:gd name="T70" fmla="*/ 111 w 146"/>
                  <a:gd name="T71" fmla="*/ 95 h 110"/>
                  <a:gd name="T72" fmla="*/ 116 w 146"/>
                  <a:gd name="T73" fmla="*/ 83 h 110"/>
                  <a:gd name="T74" fmla="*/ 118 w 146"/>
                  <a:gd name="T75" fmla="*/ 84 h 110"/>
                  <a:gd name="T76" fmla="*/ 118 w 146"/>
                  <a:gd name="T77" fmla="*/ 80 h 110"/>
                  <a:gd name="T78" fmla="*/ 119 w 146"/>
                  <a:gd name="T79" fmla="*/ 65 h 110"/>
                  <a:gd name="T80" fmla="*/ 135 w 146"/>
                  <a:gd name="T81" fmla="*/ 49 h 110"/>
                  <a:gd name="T82" fmla="*/ 146 w 146"/>
                  <a:gd name="T83" fmla="*/ 53 h 110"/>
                  <a:gd name="T84" fmla="*/ 137 w 146"/>
                  <a:gd name="T85" fmla="*/ 42 h 110"/>
                  <a:gd name="T86" fmla="*/ 133 w 146"/>
                  <a:gd name="T87" fmla="*/ 41 h 110"/>
                  <a:gd name="T88" fmla="*/ 131 w 146"/>
                  <a:gd name="T89" fmla="*/ 42 h 110"/>
                  <a:gd name="T90" fmla="*/ 110 w 146"/>
                  <a:gd name="T91" fmla="*/ 17 h 110"/>
                  <a:gd name="T92" fmla="*/ 89 w 146"/>
                  <a:gd name="T93" fmla="*/ 10 h 110"/>
                  <a:gd name="T94" fmla="*/ 87 w 146"/>
                  <a:gd name="T95" fmla="*/ 11 h 110"/>
                  <a:gd name="T96" fmla="*/ 81 w 146"/>
                  <a:gd name="T97" fmla="*/ 17 h 110"/>
                  <a:gd name="T98" fmla="*/ 66 w 146"/>
                  <a:gd name="T99" fmla="*/ 23 h 110"/>
                  <a:gd name="T100" fmla="*/ 52 w 146"/>
                  <a:gd name="T101" fmla="*/ 12 h 110"/>
                  <a:gd name="T102" fmla="*/ 40 w 146"/>
                  <a:gd name="T103" fmla="*/ 0 h 110"/>
                  <a:gd name="T104" fmla="*/ 36 w 146"/>
                  <a:gd name="T105" fmla="*/ 0 h 1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10">
                    <a:moveTo>
                      <a:pt x="36" y="0"/>
                    </a:moveTo>
                    <a:cubicBezTo>
                      <a:pt x="33" y="5"/>
                      <a:pt x="33" y="5"/>
                      <a:pt x="33" y="5"/>
                    </a:cubicBezTo>
                    <a:cubicBezTo>
                      <a:pt x="34" y="6"/>
                      <a:pt x="35" y="6"/>
                      <a:pt x="35" y="7"/>
                    </a:cubicBezTo>
                    <a:cubicBezTo>
                      <a:pt x="37" y="9"/>
                      <a:pt x="38" y="10"/>
                      <a:pt x="40" y="11"/>
                    </a:cubicBezTo>
                    <a:cubicBezTo>
                      <a:pt x="45" y="13"/>
                      <a:pt x="44" y="18"/>
                      <a:pt x="43" y="21"/>
                    </a:cubicBezTo>
                    <a:cubicBezTo>
                      <a:pt x="43" y="22"/>
                      <a:pt x="43" y="22"/>
                      <a:pt x="43" y="22"/>
                    </a:cubicBezTo>
                    <a:cubicBezTo>
                      <a:pt x="43" y="23"/>
                      <a:pt x="43" y="23"/>
                      <a:pt x="43" y="24"/>
                    </a:cubicBezTo>
                    <a:cubicBezTo>
                      <a:pt x="43" y="28"/>
                      <a:pt x="43" y="28"/>
                      <a:pt x="43" y="28"/>
                    </a:cubicBezTo>
                    <a:cubicBezTo>
                      <a:pt x="39" y="27"/>
                      <a:pt x="39" y="27"/>
                      <a:pt x="39" y="27"/>
                    </a:cubicBezTo>
                    <a:cubicBezTo>
                      <a:pt x="37" y="27"/>
                      <a:pt x="35" y="26"/>
                      <a:pt x="32" y="26"/>
                    </a:cubicBezTo>
                    <a:cubicBezTo>
                      <a:pt x="27" y="25"/>
                      <a:pt x="21" y="25"/>
                      <a:pt x="16" y="23"/>
                    </a:cubicBezTo>
                    <a:cubicBezTo>
                      <a:pt x="15" y="22"/>
                      <a:pt x="14" y="22"/>
                      <a:pt x="13" y="21"/>
                    </a:cubicBezTo>
                    <a:cubicBezTo>
                      <a:pt x="11" y="20"/>
                      <a:pt x="10" y="19"/>
                      <a:pt x="8" y="18"/>
                    </a:cubicBezTo>
                    <a:cubicBezTo>
                      <a:pt x="6" y="17"/>
                      <a:pt x="5" y="16"/>
                      <a:pt x="3" y="15"/>
                    </a:cubicBezTo>
                    <a:cubicBezTo>
                      <a:pt x="2" y="16"/>
                      <a:pt x="2" y="16"/>
                      <a:pt x="2" y="16"/>
                    </a:cubicBezTo>
                    <a:cubicBezTo>
                      <a:pt x="0" y="17"/>
                      <a:pt x="0" y="17"/>
                      <a:pt x="0" y="17"/>
                    </a:cubicBezTo>
                    <a:cubicBezTo>
                      <a:pt x="0" y="17"/>
                      <a:pt x="0" y="17"/>
                      <a:pt x="0" y="17"/>
                    </a:cubicBezTo>
                    <a:cubicBezTo>
                      <a:pt x="0" y="18"/>
                      <a:pt x="0" y="18"/>
                      <a:pt x="0" y="18"/>
                    </a:cubicBezTo>
                    <a:cubicBezTo>
                      <a:pt x="1" y="18"/>
                      <a:pt x="1" y="18"/>
                      <a:pt x="1" y="18"/>
                    </a:cubicBezTo>
                    <a:cubicBezTo>
                      <a:pt x="1" y="19"/>
                      <a:pt x="1" y="19"/>
                      <a:pt x="1" y="19"/>
                    </a:cubicBezTo>
                    <a:cubicBezTo>
                      <a:pt x="2" y="19"/>
                      <a:pt x="2" y="20"/>
                      <a:pt x="2" y="20"/>
                    </a:cubicBezTo>
                    <a:cubicBezTo>
                      <a:pt x="2" y="21"/>
                      <a:pt x="2" y="21"/>
                      <a:pt x="2" y="21"/>
                    </a:cubicBezTo>
                    <a:cubicBezTo>
                      <a:pt x="3" y="21"/>
                      <a:pt x="3" y="22"/>
                      <a:pt x="3" y="22"/>
                    </a:cubicBezTo>
                    <a:cubicBezTo>
                      <a:pt x="4" y="23"/>
                      <a:pt x="6" y="24"/>
                      <a:pt x="7" y="24"/>
                    </a:cubicBezTo>
                    <a:cubicBezTo>
                      <a:pt x="10" y="26"/>
                      <a:pt x="12" y="28"/>
                      <a:pt x="13" y="30"/>
                    </a:cubicBezTo>
                    <a:cubicBezTo>
                      <a:pt x="15" y="32"/>
                      <a:pt x="14" y="35"/>
                      <a:pt x="13" y="36"/>
                    </a:cubicBezTo>
                    <a:cubicBezTo>
                      <a:pt x="12" y="37"/>
                      <a:pt x="11" y="38"/>
                      <a:pt x="10" y="38"/>
                    </a:cubicBezTo>
                    <a:cubicBezTo>
                      <a:pt x="10" y="38"/>
                      <a:pt x="9" y="39"/>
                      <a:pt x="9" y="39"/>
                    </a:cubicBezTo>
                    <a:cubicBezTo>
                      <a:pt x="9" y="39"/>
                      <a:pt x="9" y="39"/>
                      <a:pt x="9" y="39"/>
                    </a:cubicBezTo>
                    <a:cubicBezTo>
                      <a:pt x="8" y="39"/>
                      <a:pt x="8" y="39"/>
                      <a:pt x="8" y="39"/>
                    </a:cubicBezTo>
                    <a:cubicBezTo>
                      <a:pt x="9" y="40"/>
                      <a:pt x="10" y="41"/>
                      <a:pt x="12" y="42"/>
                    </a:cubicBezTo>
                    <a:cubicBezTo>
                      <a:pt x="13" y="43"/>
                      <a:pt x="14" y="43"/>
                      <a:pt x="14" y="44"/>
                    </a:cubicBezTo>
                    <a:cubicBezTo>
                      <a:pt x="17" y="46"/>
                      <a:pt x="17" y="46"/>
                      <a:pt x="17" y="46"/>
                    </a:cubicBezTo>
                    <a:cubicBezTo>
                      <a:pt x="18" y="47"/>
                      <a:pt x="19" y="48"/>
                      <a:pt x="20" y="48"/>
                    </a:cubicBezTo>
                    <a:cubicBezTo>
                      <a:pt x="23" y="50"/>
                      <a:pt x="23" y="54"/>
                      <a:pt x="23" y="56"/>
                    </a:cubicBezTo>
                    <a:cubicBezTo>
                      <a:pt x="22" y="57"/>
                      <a:pt x="22" y="57"/>
                      <a:pt x="22" y="57"/>
                    </a:cubicBezTo>
                    <a:cubicBezTo>
                      <a:pt x="22" y="60"/>
                      <a:pt x="22" y="61"/>
                      <a:pt x="19" y="63"/>
                    </a:cubicBezTo>
                    <a:cubicBezTo>
                      <a:pt x="25" y="67"/>
                      <a:pt x="32" y="71"/>
                      <a:pt x="38" y="75"/>
                    </a:cubicBezTo>
                    <a:cubicBezTo>
                      <a:pt x="43" y="78"/>
                      <a:pt x="43" y="78"/>
                      <a:pt x="43" y="78"/>
                    </a:cubicBezTo>
                    <a:cubicBezTo>
                      <a:pt x="38" y="81"/>
                      <a:pt x="38" y="81"/>
                      <a:pt x="38" y="81"/>
                    </a:cubicBezTo>
                    <a:cubicBezTo>
                      <a:pt x="38" y="81"/>
                      <a:pt x="38" y="81"/>
                      <a:pt x="38" y="81"/>
                    </a:cubicBezTo>
                    <a:cubicBezTo>
                      <a:pt x="39" y="82"/>
                      <a:pt x="40" y="83"/>
                      <a:pt x="41" y="84"/>
                    </a:cubicBezTo>
                    <a:cubicBezTo>
                      <a:pt x="44" y="86"/>
                      <a:pt x="44" y="86"/>
                      <a:pt x="44" y="86"/>
                    </a:cubicBezTo>
                    <a:cubicBezTo>
                      <a:pt x="46" y="85"/>
                      <a:pt x="48" y="84"/>
                      <a:pt x="50" y="82"/>
                    </a:cubicBezTo>
                    <a:cubicBezTo>
                      <a:pt x="52" y="81"/>
                      <a:pt x="54" y="80"/>
                      <a:pt x="56" y="79"/>
                    </a:cubicBezTo>
                    <a:cubicBezTo>
                      <a:pt x="59" y="76"/>
                      <a:pt x="63" y="74"/>
                      <a:pt x="67" y="71"/>
                    </a:cubicBezTo>
                    <a:cubicBezTo>
                      <a:pt x="68" y="71"/>
                      <a:pt x="68" y="71"/>
                      <a:pt x="68" y="71"/>
                    </a:cubicBezTo>
                    <a:cubicBezTo>
                      <a:pt x="72" y="68"/>
                      <a:pt x="75" y="67"/>
                      <a:pt x="77" y="67"/>
                    </a:cubicBezTo>
                    <a:cubicBezTo>
                      <a:pt x="78" y="67"/>
                      <a:pt x="78" y="67"/>
                      <a:pt x="79" y="67"/>
                    </a:cubicBezTo>
                    <a:cubicBezTo>
                      <a:pt x="81" y="67"/>
                      <a:pt x="83" y="70"/>
                      <a:pt x="86" y="74"/>
                    </a:cubicBezTo>
                    <a:cubicBezTo>
                      <a:pt x="88" y="76"/>
                      <a:pt x="88" y="76"/>
                      <a:pt x="88" y="76"/>
                    </a:cubicBezTo>
                    <a:cubicBezTo>
                      <a:pt x="89" y="78"/>
                      <a:pt x="90" y="79"/>
                      <a:pt x="90" y="81"/>
                    </a:cubicBezTo>
                    <a:cubicBezTo>
                      <a:pt x="91" y="83"/>
                      <a:pt x="89" y="85"/>
                      <a:pt x="88" y="86"/>
                    </a:cubicBezTo>
                    <a:cubicBezTo>
                      <a:pt x="87" y="87"/>
                      <a:pt x="87" y="87"/>
                      <a:pt x="87" y="87"/>
                    </a:cubicBezTo>
                    <a:cubicBezTo>
                      <a:pt x="88" y="88"/>
                      <a:pt x="88" y="88"/>
                      <a:pt x="88" y="88"/>
                    </a:cubicBezTo>
                    <a:cubicBezTo>
                      <a:pt x="89" y="88"/>
                      <a:pt x="89" y="89"/>
                      <a:pt x="90" y="90"/>
                    </a:cubicBezTo>
                    <a:cubicBezTo>
                      <a:pt x="93" y="93"/>
                      <a:pt x="93" y="93"/>
                      <a:pt x="93" y="93"/>
                    </a:cubicBezTo>
                    <a:cubicBezTo>
                      <a:pt x="85" y="98"/>
                      <a:pt x="85" y="98"/>
                      <a:pt x="85" y="98"/>
                    </a:cubicBezTo>
                    <a:cubicBezTo>
                      <a:pt x="87" y="100"/>
                      <a:pt x="87" y="100"/>
                      <a:pt x="87" y="100"/>
                    </a:cubicBezTo>
                    <a:cubicBezTo>
                      <a:pt x="88" y="100"/>
                      <a:pt x="88" y="101"/>
                      <a:pt x="88" y="102"/>
                    </a:cubicBezTo>
                    <a:cubicBezTo>
                      <a:pt x="89" y="103"/>
                      <a:pt x="89" y="103"/>
                      <a:pt x="89" y="103"/>
                    </a:cubicBezTo>
                    <a:cubicBezTo>
                      <a:pt x="90" y="103"/>
                      <a:pt x="91" y="104"/>
                      <a:pt x="92" y="104"/>
                    </a:cubicBezTo>
                    <a:cubicBezTo>
                      <a:pt x="92" y="105"/>
                      <a:pt x="93" y="105"/>
                      <a:pt x="95" y="106"/>
                    </a:cubicBezTo>
                    <a:cubicBezTo>
                      <a:pt x="96" y="107"/>
                      <a:pt x="96" y="108"/>
                      <a:pt x="97" y="109"/>
                    </a:cubicBezTo>
                    <a:cubicBezTo>
                      <a:pt x="97" y="110"/>
                      <a:pt x="97" y="110"/>
                      <a:pt x="97" y="110"/>
                    </a:cubicBezTo>
                    <a:cubicBezTo>
                      <a:pt x="97" y="110"/>
                      <a:pt x="97" y="110"/>
                      <a:pt x="97" y="110"/>
                    </a:cubicBezTo>
                    <a:cubicBezTo>
                      <a:pt x="98" y="110"/>
                      <a:pt x="100" y="109"/>
                      <a:pt x="102" y="109"/>
                    </a:cubicBezTo>
                    <a:cubicBezTo>
                      <a:pt x="104" y="109"/>
                      <a:pt x="104" y="109"/>
                      <a:pt x="104" y="109"/>
                    </a:cubicBezTo>
                    <a:cubicBezTo>
                      <a:pt x="103" y="105"/>
                      <a:pt x="104" y="102"/>
                      <a:pt x="104" y="98"/>
                    </a:cubicBezTo>
                    <a:cubicBezTo>
                      <a:pt x="105" y="95"/>
                      <a:pt x="104" y="88"/>
                      <a:pt x="107" y="88"/>
                    </a:cubicBezTo>
                    <a:cubicBezTo>
                      <a:pt x="108" y="88"/>
                      <a:pt x="108" y="88"/>
                      <a:pt x="108" y="88"/>
                    </a:cubicBezTo>
                    <a:cubicBezTo>
                      <a:pt x="109" y="89"/>
                      <a:pt x="111" y="94"/>
                      <a:pt x="111" y="95"/>
                    </a:cubicBezTo>
                    <a:cubicBezTo>
                      <a:pt x="112" y="92"/>
                      <a:pt x="112" y="84"/>
                      <a:pt x="115" y="83"/>
                    </a:cubicBezTo>
                    <a:cubicBezTo>
                      <a:pt x="116" y="83"/>
                      <a:pt x="116" y="83"/>
                      <a:pt x="116" y="83"/>
                    </a:cubicBezTo>
                    <a:cubicBezTo>
                      <a:pt x="116" y="83"/>
                      <a:pt x="117" y="83"/>
                      <a:pt x="117" y="83"/>
                    </a:cubicBezTo>
                    <a:cubicBezTo>
                      <a:pt x="117" y="84"/>
                      <a:pt x="117" y="84"/>
                      <a:pt x="118" y="84"/>
                    </a:cubicBezTo>
                    <a:cubicBezTo>
                      <a:pt x="118" y="84"/>
                      <a:pt x="118" y="84"/>
                      <a:pt x="118" y="83"/>
                    </a:cubicBezTo>
                    <a:cubicBezTo>
                      <a:pt x="119" y="81"/>
                      <a:pt x="118" y="81"/>
                      <a:pt x="118" y="80"/>
                    </a:cubicBezTo>
                    <a:cubicBezTo>
                      <a:pt x="117" y="78"/>
                      <a:pt x="115" y="77"/>
                      <a:pt x="116" y="74"/>
                    </a:cubicBezTo>
                    <a:cubicBezTo>
                      <a:pt x="117" y="71"/>
                      <a:pt x="118" y="68"/>
                      <a:pt x="119" y="65"/>
                    </a:cubicBezTo>
                    <a:cubicBezTo>
                      <a:pt x="120" y="61"/>
                      <a:pt x="121" y="56"/>
                      <a:pt x="125" y="53"/>
                    </a:cubicBezTo>
                    <a:cubicBezTo>
                      <a:pt x="128" y="50"/>
                      <a:pt x="132" y="49"/>
                      <a:pt x="135" y="49"/>
                    </a:cubicBezTo>
                    <a:cubicBezTo>
                      <a:pt x="136" y="49"/>
                      <a:pt x="137" y="49"/>
                      <a:pt x="137" y="49"/>
                    </a:cubicBezTo>
                    <a:cubicBezTo>
                      <a:pt x="141" y="49"/>
                      <a:pt x="143" y="49"/>
                      <a:pt x="146" y="53"/>
                    </a:cubicBezTo>
                    <a:cubicBezTo>
                      <a:pt x="145" y="50"/>
                      <a:pt x="146" y="48"/>
                      <a:pt x="143" y="46"/>
                    </a:cubicBezTo>
                    <a:cubicBezTo>
                      <a:pt x="141" y="44"/>
                      <a:pt x="139" y="43"/>
                      <a:pt x="137" y="42"/>
                    </a:cubicBezTo>
                    <a:cubicBezTo>
                      <a:pt x="136" y="41"/>
                      <a:pt x="135" y="41"/>
                      <a:pt x="133" y="41"/>
                    </a:cubicBezTo>
                    <a:cubicBezTo>
                      <a:pt x="133" y="41"/>
                      <a:pt x="133" y="41"/>
                      <a:pt x="133" y="41"/>
                    </a:cubicBezTo>
                    <a:cubicBezTo>
                      <a:pt x="132" y="41"/>
                      <a:pt x="132" y="42"/>
                      <a:pt x="131" y="42"/>
                    </a:cubicBezTo>
                    <a:cubicBezTo>
                      <a:pt x="131" y="42"/>
                      <a:pt x="131" y="42"/>
                      <a:pt x="131" y="42"/>
                    </a:cubicBezTo>
                    <a:cubicBezTo>
                      <a:pt x="127" y="41"/>
                      <a:pt x="125" y="39"/>
                      <a:pt x="122" y="36"/>
                    </a:cubicBezTo>
                    <a:cubicBezTo>
                      <a:pt x="116" y="31"/>
                      <a:pt x="112" y="24"/>
                      <a:pt x="110" y="17"/>
                    </a:cubicBezTo>
                    <a:cubicBezTo>
                      <a:pt x="107" y="11"/>
                      <a:pt x="102" y="5"/>
                      <a:pt x="97" y="0"/>
                    </a:cubicBezTo>
                    <a:cubicBezTo>
                      <a:pt x="96" y="4"/>
                      <a:pt x="92" y="7"/>
                      <a:pt x="89" y="10"/>
                    </a:cubicBezTo>
                    <a:cubicBezTo>
                      <a:pt x="88" y="10"/>
                      <a:pt x="88" y="10"/>
                      <a:pt x="88" y="10"/>
                    </a:cubicBezTo>
                    <a:cubicBezTo>
                      <a:pt x="88" y="10"/>
                      <a:pt x="87" y="11"/>
                      <a:pt x="87" y="11"/>
                    </a:cubicBezTo>
                    <a:cubicBezTo>
                      <a:pt x="86" y="12"/>
                      <a:pt x="85" y="13"/>
                      <a:pt x="84" y="13"/>
                    </a:cubicBezTo>
                    <a:cubicBezTo>
                      <a:pt x="83" y="14"/>
                      <a:pt x="82" y="14"/>
                      <a:pt x="81" y="17"/>
                    </a:cubicBezTo>
                    <a:cubicBezTo>
                      <a:pt x="79" y="21"/>
                      <a:pt x="76" y="23"/>
                      <a:pt x="72" y="23"/>
                    </a:cubicBezTo>
                    <a:cubicBezTo>
                      <a:pt x="70" y="23"/>
                      <a:pt x="68" y="23"/>
                      <a:pt x="66" y="23"/>
                    </a:cubicBezTo>
                    <a:cubicBezTo>
                      <a:pt x="58" y="21"/>
                      <a:pt x="55" y="17"/>
                      <a:pt x="54" y="15"/>
                    </a:cubicBezTo>
                    <a:cubicBezTo>
                      <a:pt x="53" y="14"/>
                      <a:pt x="52" y="12"/>
                      <a:pt x="52" y="12"/>
                    </a:cubicBezTo>
                    <a:cubicBezTo>
                      <a:pt x="49" y="12"/>
                      <a:pt x="46" y="8"/>
                      <a:pt x="45" y="5"/>
                    </a:cubicBezTo>
                    <a:cubicBezTo>
                      <a:pt x="44" y="2"/>
                      <a:pt x="41" y="1"/>
                      <a:pt x="40" y="0"/>
                    </a:cubicBezTo>
                    <a:cubicBezTo>
                      <a:pt x="38" y="0"/>
                      <a:pt x="37" y="0"/>
                      <a:pt x="36" y="0"/>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254"/>
              <p:cNvSpPr/>
              <p:nvPr/>
            </p:nvSpPr>
            <p:spPr bwMode="auto">
              <a:xfrm>
                <a:off x="8413119" y="5148107"/>
                <a:ext cx="95813" cy="70017"/>
              </a:xfrm>
              <a:custGeom>
                <a:gdLst>
                  <a:gd name="T0" fmla="*/ 2 w 30"/>
                  <a:gd name="T1" fmla="*/ 0 h 23"/>
                  <a:gd name="T2" fmla="*/ 0 w 30"/>
                  <a:gd name="T3" fmla="*/ 1 h 23"/>
                  <a:gd name="T4" fmla="*/ 0 w 30"/>
                  <a:gd name="T5" fmla="*/ 1 h 23"/>
                  <a:gd name="T6" fmla="*/ 0 w 30"/>
                  <a:gd name="T7" fmla="*/ 3 h 23"/>
                  <a:gd name="T8" fmla="*/ 8 w 30"/>
                  <a:gd name="T9" fmla="*/ 11 h 23"/>
                  <a:gd name="T10" fmla="*/ 10 w 30"/>
                  <a:gd name="T11" fmla="*/ 13 h 23"/>
                  <a:gd name="T12" fmla="*/ 10 w 30"/>
                  <a:gd name="T13" fmla="*/ 13 h 23"/>
                  <a:gd name="T14" fmla="*/ 16 w 30"/>
                  <a:gd name="T15" fmla="*/ 19 h 23"/>
                  <a:gd name="T16" fmla="*/ 26 w 30"/>
                  <a:gd name="T17" fmla="*/ 22 h 23"/>
                  <a:gd name="T18" fmla="*/ 28 w 30"/>
                  <a:gd name="T19" fmla="*/ 23 h 23"/>
                  <a:gd name="T20" fmla="*/ 30 w 30"/>
                  <a:gd name="T21" fmla="*/ 23 h 23"/>
                  <a:gd name="T22" fmla="*/ 30 w 30"/>
                  <a:gd name="T23" fmla="*/ 23 h 23"/>
                  <a:gd name="T24" fmla="*/ 27 w 30"/>
                  <a:gd name="T25" fmla="*/ 15 h 23"/>
                  <a:gd name="T26" fmla="*/ 26 w 30"/>
                  <a:gd name="T27" fmla="*/ 15 h 23"/>
                  <a:gd name="T28" fmla="*/ 25 w 30"/>
                  <a:gd name="T29" fmla="*/ 15 h 23"/>
                  <a:gd name="T30" fmla="*/ 20 w 30"/>
                  <a:gd name="T31" fmla="*/ 10 h 23"/>
                  <a:gd name="T32" fmla="*/ 19 w 30"/>
                  <a:gd name="T33" fmla="*/ 8 h 23"/>
                  <a:gd name="T34" fmla="*/ 16 w 30"/>
                  <a:gd name="T35" fmla="*/ 8 h 23"/>
                  <a:gd name="T36" fmla="*/ 15 w 30"/>
                  <a:gd name="T37" fmla="*/ 8 h 23"/>
                  <a:gd name="T38" fmla="*/ 12 w 30"/>
                  <a:gd name="T39" fmla="*/ 8 h 23"/>
                  <a:gd name="T40" fmla="*/ 12 w 30"/>
                  <a:gd name="T41" fmla="*/ 8 h 23"/>
                  <a:gd name="T42" fmla="*/ 9 w 30"/>
                  <a:gd name="T43" fmla="*/ 6 h 23"/>
                  <a:gd name="T44" fmla="*/ 6 w 30"/>
                  <a:gd name="T45" fmla="*/ 4 h 23"/>
                  <a:gd name="T46" fmla="*/ 5 w 30"/>
                  <a:gd name="T47" fmla="*/ 2 h 23"/>
                  <a:gd name="T48" fmla="*/ 3 w 30"/>
                  <a:gd name="T49" fmla="*/ 0 h 23"/>
                  <a:gd name="T50" fmla="*/ 2 w 30"/>
                  <a:gd name="T51"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3">
                    <a:moveTo>
                      <a:pt x="2" y="0"/>
                    </a:moveTo>
                    <a:cubicBezTo>
                      <a:pt x="0" y="1"/>
                      <a:pt x="0" y="1"/>
                      <a:pt x="0" y="1"/>
                    </a:cubicBezTo>
                    <a:cubicBezTo>
                      <a:pt x="0" y="1"/>
                      <a:pt x="0" y="1"/>
                      <a:pt x="0" y="1"/>
                    </a:cubicBezTo>
                    <a:cubicBezTo>
                      <a:pt x="0" y="1"/>
                      <a:pt x="0" y="2"/>
                      <a:pt x="0" y="3"/>
                    </a:cubicBezTo>
                    <a:cubicBezTo>
                      <a:pt x="1" y="3"/>
                      <a:pt x="2" y="5"/>
                      <a:pt x="8" y="11"/>
                    </a:cubicBezTo>
                    <a:cubicBezTo>
                      <a:pt x="9" y="12"/>
                      <a:pt x="9" y="12"/>
                      <a:pt x="10" y="13"/>
                    </a:cubicBezTo>
                    <a:cubicBezTo>
                      <a:pt x="10" y="13"/>
                      <a:pt x="10" y="13"/>
                      <a:pt x="10" y="13"/>
                    </a:cubicBezTo>
                    <a:cubicBezTo>
                      <a:pt x="13" y="16"/>
                      <a:pt x="15" y="17"/>
                      <a:pt x="16" y="19"/>
                    </a:cubicBezTo>
                    <a:cubicBezTo>
                      <a:pt x="16" y="19"/>
                      <a:pt x="21" y="21"/>
                      <a:pt x="26" y="22"/>
                    </a:cubicBezTo>
                    <a:cubicBezTo>
                      <a:pt x="27" y="22"/>
                      <a:pt x="27" y="23"/>
                      <a:pt x="28" y="23"/>
                    </a:cubicBezTo>
                    <a:cubicBezTo>
                      <a:pt x="29" y="23"/>
                      <a:pt x="29" y="23"/>
                      <a:pt x="30" y="23"/>
                    </a:cubicBezTo>
                    <a:cubicBezTo>
                      <a:pt x="30" y="23"/>
                      <a:pt x="30" y="23"/>
                      <a:pt x="30" y="23"/>
                    </a:cubicBezTo>
                    <a:cubicBezTo>
                      <a:pt x="29" y="20"/>
                      <a:pt x="28" y="17"/>
                      <a:pt x="27" y="15"/>
                    </a:cubicBezTo>
                    <a:cubicBezTo>
                      <a:pt x="27" y="15"/>
                      <a:pt x="26" y="15"/>
                      <a:pt x="26" y="15"/>
                    </a:cubicBezTo>
                    <a:cubicBezTo>
                      <a:pt x="25" y="15"/>
                      <a:pt x="25" y="15"/>
                      <a:pt x="25" y="15"/>
                    </a:cubicBezTo>
                    <a:cubicBezTo>
                      <a:pt x="23" y="13"/>
                      <a:pt x="21" y="12"/>
                      <a:pt x="20" y="10"/>
                    </a:cubicBezTo>
                    <a:cubicBezTo>
                      <a:pt x="20" y="9"/>
                      <a:pt x="19" y="8"/>
                      <a:pt x="19" y="8"/>
                    </a:cubicBezTo>
                    <a:cubicBezTo>
                      <a:pt x="18" y="8"/>
                      <a:pt x="17" y="8"/>
                      <a:pt x="16" y="8"/>
                    </a:cubicBezTo>
                    <a:cubicBezTo>
                      <a:pt x="15" y="8"/>
                      <a:pt x="15" y="8"/>
                      <a:pt x="15" y="8"/>
                    </a:cubicBezTo>
                    <a:cubicBezTo>
                      <a:pt x="14" y="8"/>
                      <a:pt x="13" y="8"/>
                      <a:pt x="12" y="8"/>
                    </a:cubicBezTo>
                    <a:cubicBezTo>
                      <a:pt x="12" y="8"/>
                      <a:pt x="12" y="8"/>
                      <a:pt x="12" y="8"/>
                    </a:cubicBezTo>
                    <a:cubicBezTo>
                      <a:pt x="11" y="7"/>
                      <a:pt x="10" y="7"/>
                      <a:pt x="9" y="6"/>
                    </a:cubicBezTo>
                    <a:cubicBezTo>
                      <a:pt x="8" y="5"/>
                      <a:pt x="7" y="5"/>
                      <a:pt x="6" y="4"/>
                    </a:cubicBezTo>
                    <a:cubicBezTo>
                      <a:pt x="5" y="3"/>
                      <a:pt x="5" y="3"/>
                      <a:pt x="5" y="2"/>
                    </a:cubicBezTo>
                    <a:cubicBezTo>
                      <a:pt x="4" y="1"/>
                      <a:pt x="3" y="1"/>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255"/>
              <p:cNvSpPr/>
              <p:nvPr/>
            </p:nvSpPr>
            <p:spPr bwMode="auto">
              <a:xfrm>
                <a:off x="5210754" y="5822483"/>
                <a:ext cx="1411399" cy="1035518"/>
              </a:xfrm>
              <a:custGeom>
                <a:gdLst>
                  <a:gd name="T0" fmla="*/ 61 w 444"/>
                  <a:gd name="T1" fmla="*/ 21 h 326"/>
                  <a:gd name="T2" fmla="*/ 48 w 444"/>
                  <a:gd name="T3" fmla="*/ 31 h 326"/>
                  <a:gd name="T4" fmla="*/ 42 w 444"/>
                  <a:gd name="T5" fmla="*/ 34 h 326"/>
                  <a:gd name="T6" fmla="*/ 34 w 444"/>
                  <a:gd name="T7" fmla="*/ 40 h 326"/>
                  <a:gd name="T8" fmla="*/ 28 w 444"/>
                  <a:gd name="T9" fmla="*/ 46 h 326"/>
                  <a:gd name="T10" fmla="*/ 26 w 444"/>
                  <a:gd name="T11" fmla="*/ 48 h 326"/>
                  <a:gd name="T12" fmla="*/ 25 w 444"/>
                  <a:gd name="T13" fmla="*/ 63 h 326"/>
                  <a:gd name="T14" fmla="*/ 28 w 444"/>
                  <a:gd name="T15" fmla="*/ 83 h 326"/>
                  <a:gd name="T16" fmla="*/ 18 w 444"/>
                  <a:gd name="T17" fmla="*/ 84 h 326"/>
                  <a:gd name="T18" fmla="*/ 8 w 444"/>
                  <a:gd name="T19" fmla="*/ 92 h 326"/>
                  <a:gd name="T20" fmla="*/ 2 w 444"/>
                  <a:gd name="T21" fmla="*/ 94 h 326"/>
                  <a:gd name="T22" fmla="*/ 0 w 444"/>
                  <a:gd name="T23" fmla="*/ 96 h 326"/>
                  <a:gd name="T24" fmla="*/ 14 w 444"/>
                  <a:gd name="T25" fmla="*/ 134 h 326"/>
                  <a:gd name="T26" fmla="*/ 13 w 444"/>
                  <a:gd name="T27" fmla="*/ 152 h 326"/>
                  <a:gd name="T28" fmla="*/ 14 w 444"/>
                  <a:gd name="T29" fmla="*/ 172 h 326"/>
                  <a:gd name="T30" fmla="*/ 12 w 444"/>
                  <a:gd name="T31" fmla="*/ 176 h 326"/>
                  <a:gd name="T32" fmla="*/ 12 w 444"/>
                  <a:gd name="T33" fmla="*/ 186 h 326"/>
                  <a:gd name="T34" fmla="*/ 14 w 444"/>
                  <a:gd name="T35" fmla="*/ 200 h 326"/>
                  <a:gd name="T36" fmla="*/ 10 w 444"/>
                  <a:gd name="T37" fmla="*/ 210 h 326"/>
                  <a:gd name="T38" fmla="*/ 6 w 444"/>
                  <a:gd name="T39" fmla="*/ 211 h 326"/>
                  <a:gd name="T40" fmla="*/ 2 w 444"/>
                  <a:gd name="T41" fmla="*/ 216 h 326"/>
                  <a:gd name="T42" fmla="*/ 7 w 444"/>
                  <a:gd name="T43" fmla="*/ 225 h 326"/>
                  <a:gd name="T44" fmla="*/ 11 w 444"/>
                  <a:gd name="T45" fmla="*/ 229 h 326"/>
                  <a:gd name="T46" fmla="*/ 18 w 444"/>
                  <a:gd name="T47" fmla="*/ 247 h 326"/>
                  <a:gd name="T48" fmla="*/ 20 w 444"/>
                  <a:gd name="T49" fmla="*/ 254 h 326"/>
                  <a:gd name="T50" fmla="*/ 25 w 444"/>
                  <a:gd name="T51" fmla="*/ 261 h 326"/>
                  <a:gd name="T52" fmla="*/ 28 w 444"/>
                  <a:gd name="T53" fmla="*/ 263 h 326"/>
                  <a:gd name="T54" fmla="*/ 34 w 444"/>
                  <a:gd name="T55" fmla="*/ 257 h 326"/>
                  <a:gd name="T56" fmla="*/ 41 w 444"/>
                  <a:gd name="T57" fmla="*/ 263 h 326"/>
                  <a:gd name="T58" fmla="*/ 63 w 444"/>
                  <a:gd name="T59" fmla="*/ 275 h 326"/>
                  <a:gd name="T60" fmla="*/ 68 w 444"/>
                  <a:gd name="T61" fmla="*/ 284 h 326"/>
                  <a:gd name="T62" fmla="*/ 73 w 444"/>
                  <a:gd name="T63" fmla="*/ 292 h 326"/>
                  <a:gd name="T64" fmla="*/ 113 w 444"/>
                  <a:gd name="T65" fmla="*/ 302 h 326"/>
                  <a:gd name="T66" fmla="*/ 130 w 444"/>
                  <a:gd name="T67" fmla="*/ 314 h 326"/>
                  <a:gd name="T68" fmla="*/ 135 w 444"/>
                  <a:gd name="T69" fmla="*/ 318 h 326"/>
                  <a:gd name="T70" fmla="*/ 139 w 444"/>
                  <a:gd name="T71" fmla="*/ 317 h 326"/>
                  <a:gd name="T72" fmla="*/ 185 w 444"/>
                  <a:gd name="T73" fmla="*/ 295 h 326"/>
                  <a:gd name="T74" fmla="*/ 201 w 444"/>
                  <a:gd name="T75" fmla="*/ 302 h 326"/>
                  <a:gd name="T76" fmla="*/ 250 w 444"/>
                  <a:gd name="T77" fmla="*/ 326 h 326"/>
                  <a:gd name="T78" fmla="*/ 437 w 444"/>
                  <a:gd name="T79" fmla="*/ 138 h 326"/>
                  <a:gd name="T80" fmla="*/ 432 w 444"/>
                  <a:gd name="T81" fmla="*/ 103 h 326"/>
                  <a:gd name="T82" fmla="*/ 429 w 444"/>
                  <a:gd name="T83" fmla="*/ 94 h 326"/>
                  <a:gd name="T84" fmla="*/ 435 w 444"/>
                  <a:gd name="T85" fmla="*/ 81 h 326"/>
                  <a:gd name="T86" fmla="*/ 434 w 444"/>
                  <a:gd name="T87" fmla="*/ 62 h 326"/>
                  <a:gd name="T88" fmla="*/ 440 w 444"/>
                  <a:gd name="T89" fmla="*/ 46 h 326"/>
                  <a:gd name="T90" fmla="*/ 444 w 444"/>
                  <a:gd name="T91" fmla="*/ 43 h 326"/>
                  <a:gd name="T92" fmla="*/ 433 w 444"/>
                  <a:gd name="T93" fmla="*/ 35 h 326"/>
                  <a:gd name="T94" fmla="*/ 414 w 444"/>
                  <a:gd name="T95" fmla="*/ 33 h 326"/>
                  <a:gd name="T96" fmla="*/ 387 w 444"/>
                  <a:gd name="T97" fmla="*/ 16 h 326"/>
                  <a:gd name="T98" fmla="*/ 356 w 444"/>
                  <a:gd name="T99" fmla="*/ 7 h 326"/>
                  <a:gd name="T100" fmla="*/ 316 w 444"/>
                  <a:gd name="T101" fmla="*/ 17 h 326"/>
                  <a:gd name="T102" fmla="*/ 299 w 444"/>
                  <a:gd name="T103" fmla="*/ 53 h 326"/>
                  <a:gd name="T104" fmla="*/ 280 w 444"/>
                  <a:gd name="T105" fmla="*/ 89 h 326"/>
                  <a:gd name="T106" fmla="*/ 264 w 444"/>
                  <a:gd name="T107" fmla="*/ 87 h 326"/>
                  <a:gd name="T108" fmla="*/ 185 w 444"/>
                  <a:gd name="T109" fmla="*/ 57 h 326"/>
                  <a:gd name="T110" fmla="*/ 160 w 444"/>
                  <a:gd name="T111" fmla="*/ 22 h 326"/>
                  <a:gd name="T112" fmla="*/ 104 w 444"/>
                  <a:gd name="T113" fmla="*/ 9 h 326"/>
                  <a:gd name="T114" fmla="*/ 90 w 444"/>
                  <a:gd name="T115" fmla="*/ 10 h 3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3" h="326">
                    <a:moveTo>
                      <a:pt x="61" y="0"/>
                    </a:moveTo>
                    <a:cubicBezTo>
                      <a:pt x="61" y="0"/>
                      <a:pt x="61" y="0"/>
                      <a:pt x="61" y="0"/>
                    </a:cubicBezTo>
                    <a:cubicBezTo>
                      <a:pt x="61" y="21"/>
                      <a:pt x="61" y="21"/>
                      <a:pt x="61" y="21"/>
                    </a:cubicBezTo>
                    <a:cubicBezTo>
                      <a:pt x="61" y="24"/>
                      <a:pt x="58" y="27"/>
                      <a:pt x="57" y="27"/>
                    </a:cubicBezTo>
                    <a:cubicBezTo>
                      <a:pt x="54" y="28"/>
                      <a:pt x="52" y="29"/>
                      <a:pt x="50" y="30"/>
                    </a:cubicBezTo>
                    <a:cubicBezTo>
                      <a:pt x="48" y="31"/>
                      <a:pt x="48" y="31"/>
                      <a:pt x="48" y="31"/>
                    </a:cubicBezTo>
                    <a:cubicBezTo>
                      <a:pt x="46" y="32"/>
                      <a:pt x="44" y="32"/>
                      <a:pt x="43" y="33"/>
                    </a:cubicBezTo>
                    <a:cubicBezTo>
                      <a:pt x="43" y="33"/>
                      <a:pt x="43" y="33"/>
                      <a:pt x="43" y="33"/>
                    </a:cubicBezTo>
                    <a:cubicBezTo>
                      <a:pt x="42" y="34"/>
                      <a:pt x="42" y="34"/>
                      <a:pt x="42" y="34"/>
                    </a:cubicBezTo>
                    <a:cubicBezTo>
                      <a:pt x="42" y="34"/>
                      <a:pt x="41" y="35"/>
                      <a:pt x="41" y="36"/>
                    </a:cubicBezTo>
                    <a:cubicBezTo>
                      <a:pt x="40" y="37"/>
                      <a:pt x="39" y="38"/>
                      <a:pt x="37" y="39"/>
                    </a:cubicBezTo>
                    <a:cubicBezTo>
                      <a:pt x="36" y="40"/>
                      <a:pt x="35" y="40"/>
                      <a:pt x="34" y="40"/>
                    </a:cubicBezTo>
                    <a:cubicBezTo>
                      <a:pt x="34" y="40"/>
                      <a:pt x="34" y="40"/>
                      <a:pt x="34" y="40"/>
                    </a:cubicBezTo>
                    <a:cubicBezTo>
                      <a:pt x="33" y="41"/>
                      <a:pt x="33" y="41"/>
                      <a:pt x="33" y="41"/>
                    </a:cubicBezTo>
                    <a:cubicBezTo>
                      <a:pt x="32" y="43"/>
                      <a:pt x="30" y="45"/>
                      <a:pt x="28" y="46"/>
                    </a:cubicBezTo>
                    <a:cubicBezTo>
                      <a:pt x="27" y="47"/>
                      <a:pt x="27" y="47"/>
                      <a:pt x="27" y="47"/>
                    </a:cubicBezTo>
                    <a:cubicBezTo>
                      <a:pt x="26" y="48"/>
                      <a:pt x="26" y="48"/>
                      <a:pt x="26" y="48"/>
                    </a:cubicBezTo>
                    <a:cubicBezTo>
                      <a:pt x="26" y="48"/>
                      <a:pt x="26" y="48"/>
                      <a:pt x="26" y="48"/>
                    </a:cubicBezTo>
                    <a:cubicBezTo>
                      <a:pt x="25" y="50"/>
                      <a:pt x="24" y="54"/>
                      <a:pt x="24" y="57"/>
                    </a:cubicBezTo>
                    <a:cubicBezTo>
                      <a:pt x="24" y="59"/>
                      <a:pt x="24" y="61"/>
                      <a:pt x="24" y="62"/>
                    </a:cubicBezTo>
                    <a:cubicBezTo>
                      <a:pt x="25" y="63"/>
                      <a:pt x="25" y="63"/>
                      <a:pt x="25" y="63"/>
                    </a:cubicBezTo>
                    <a:cubicBezTo>
                      <a:pt x="25" y="64"/>
                      <a:pt x="25" y="65"/>
                      <a:pt x="25" y="66"/>
                    </a:cubicBezTo>
                    <a:cubicBezTo>
                      <a:pt x="26" y="72"/>
                      <a:pt x="24" y="76"/>
                      <a:pt x="22" y="79"/>
                    </a:cubicBezTo>
                    <a:cubicBezTo>
                      <a:pt x="28" y="83"/>
                      <a:pt x="28" y="83"/>
                      <a:pt x="28" y="83"/>
                    </a:cubicBezTo>
                    <a:cubicBezTo>
                      <a:pt x="21" y="80"/>
                      <a:pt x="21" y="80"/>
                      <a:pt x="21" y="80"/>
                    </a:cubicBezTo>
                    <a:cubicBezTo>
                      <a:pt x="21" y="81"/>
                      <a:pt x="21" y="81"/>
                      <a:pt x="21" y="81"/>
                    </a:cubicBezTo>
                    <a:cubicBezTo>
                      <a:pt x="20" y="82"/>
                      <a:pt x="19" y="83"/>
                      <a:pt x="18" y="84"/>
                    </a:cubicBezTo>
                    <a:cubicBezTo>
                      <a:pt x="17" y="85"/>
                      <a:pt x="17" y="85"/>
                      <a:pt x="17" y="85"/>
                    </a:cubicBezTo>
                    <a:cubicBezTo>
                      <a:pt x="17" y="85"/>
                      <a:pt x="16" y="86"/>
                      <a:pt x="16" y="87"/>
                    </a:cubicBezTo>
                    <a:cubicBezTo>
                      <a:pt x="14" y="90"/>
                      <a:pt x="10" y="91"/>
                      <a:pt x="8" y="92"/>
                    </a:cubicBezTo>
                    <a:cubicBezTo>
                      <a:pt x="5" y="93"/>
                      <a:pt x="5" y="93"/>
                      <a:pt x="5" y="93"/>
                    </a:cubicBezTo>
                    <a:cubicBezTo>
                      <a:pt x="4" y="93"/>
                      <a:pt x="3" y="94"/>
                      <a:pt x="2" y="94"/>
                    </a:cubicBezTo>
                    <a:cubicBezTo>
                      <a:pt x="2" y="94"/>
                      <a:pt x="2" y="94"/>
                      <a:pt x="2" y="94"/>
                    </a:cubicBezTo>
                    <a:cubicBezTo>
                      <a:pt x="2" y="94"/>
                      <a:pt x="2" y="94"/>
                      <a:pt x="2" y="94"/>
                    </a:cubicBezTo>
                    <a:cubicBezTo>
                      <a:pt x="1" y="95"/>
                      <a:pt x="1" y="95"/>
                      <a:pt x="1" y="95"/>
                    </a:cubicBezTo>
                    <a:cubicBezTo>
                      <a:pt x="0" y="96"/>
                      <a:pt x="0" y="96"/>
                      <a:pt x="0" y="96"/>
                    </a:cubicBezTo>
                    <a:cubicBezTo>
                      <a:pt x="1" y="99"/>
                      <a:pt x="4" y="104"/>
                      <a:pt x="6" y="106"/>
                    </a:cubicBezTo>
                    <a:cubicBezTo>
                      <a:pt x="7" y="108"/>
                      <a:pt x="8" y="109"/>
                      <a:pt x="8" y="110"/>
                    </a:cubicBezTo>
                    <a:cubicBezTo>
                      <a:pt x="12" y="117"/>
                      <a:pt x="14" y="124"/>
                      <a:pt x="14" y="134"/>
                    </a:cubicBezTo>
                    <a:cubicBezTo>
                      <a:pt x="14" y="136"/>
                      <a:pt x="14" y="138"/>
                      <a:pt x="13" y="139"/>
                    </a:cubicBezTo>
                    <a:cubicBezTo>
                      <a:pt x="13" y="140"/>
                      <a:pt x="13" y="140"/>
                      <a:pt x="13" y="140"/>
                    </a:cubicBezTo>
                    <a:cubicBezTo>
                      <a:pt x="13" y="144"/>
                      <a:pt x="12" y="148"/>
                      <a:pt x="13" y="152"/>
                    </a:cubicBezTo>
                    <a:cubicBezTo>
                      <a:pt x="13" y="154"/>
                      <a:pt x="13" y="155"/>
                      <a:pt x="14" y="157"/>
                    </a:cubicBezTo>
                    <a:cubicBezTo>
                      <a:pt x="16" y="162"/>
                      <a:pt x="16" y="162"/>
                      <a:pt x="16" y="162"/>
                    </a:cubicBezTo>
                    <a:cubicBezTo>
                      <a:pt x="17" y="166"/>
                      <a:pt x="15" y="169"/>
                      <a:pt x="14" y="172"/>
                    </a:cubicBezTo>
                    <a:cubicBezTo>
                      <a:pt x="14" y="173"/>
                      <a:pt x="13" y="174"/>
                      <a:pt x="13" y="174"/>
                    </a:cubicBezTo>
                    <a:cubicBezTo>
                      <a:pt x="13" y="175"/>
                      <a:pt x="13" y="175"/>
                      <a:pt x="13" y="175"/>
                    </a:cubicBezTo>
                    <a:cubicBezTo>
                      <a:pt x="13" y="176"/>
                      <a:pt x="12" y="176"/>
                      <a:pt x="12" y="176"/>
                    </a:cubicBezTo>
                    <a:cubicBezTo>
                      <a:pt x="11" y="178"/>
                      <a:pt x="10" y="180"/>
                      <a:pt x="11" y="182"/>
                    </a:cubicBezTo>
                    <a:cubicBezTo>
                      <a:pt x="11" y="182"/>
                      <a:pt x="11" y="183"/>
                      <a:pt x="11" y="184"/>
                    </a:cubicBezTo>
                    <a:cubicBezTo>
                      <a:pt x="11" y="184"/>
                      <a:pt x="12" y="185"/>
                      <a:pt x="12" y="186"/>
                    </a:cubicBezTo>
                    <a:cubicBezTo>
                      <a:pt x="12" y="187"/>
                      <a:pt x="12" y="188"/>
                      <a:pt x="12" y="189"/>
                    </a:cubicBezTo>
                    <a:cubicBezTo>
                      <a:pt x="13" y="192"/>
                      <a:pt x="13" y="192"/>
                      <a:pt x="13" y="192"/>
                    </a:cubicBezTo>
                    <a:cubicBezTo>
                      <a:pt x="13" y="195"/>
                      <a:pt x="13" y="198"/>
                      <a:pt x="14" y="200"/>
                    </a:cubicBezTo>
                    <a:cubicBezTo>
                      <a:pt x="14" y="201"/>
                      <a:pt x="14" y="201"/>
                      <a:pt x="14" y="201"/>
                    </a:cubicBezTo>
                    <a:cubicBezTo>
                      <a:pt x="14" y="205"/>
                      <a:pt x="14" y="207"/>
                      <a:pt x="10" y="209"/>
                    </a:cubicBezTo>
                    <a:cubicBezTo>
                      <a:pt x="10" y="210"/>
                      <a:pt x="10" y="210"/>
                      <a:pt x="10" y="210"/>
                    </a:cubicBezTo>
                    <a:cubicBezTo>
                      <a:pt x="9" y="210"/>
                      <a:pt x="9" y="210"/>
                      <a:pt x="9" y="210"/>
                    </a:cubicBezTo>
                    <a:cubicBezTo>
                      <a:pt x="7" y="211"/>
                      <a:pt x="7" y="211"/>
                      <a:pt x="7" y="211"/>
                    </a:cubicBezTo>
                    <a:cubicBezTo>
                      <a:pt x="6" y="211"/>
                      <a:pt x="6" y="211"/>
                      <a:pt x="6" y="211"/>
                    </a:cubicBezTo>
                    <a:cubicBezTo>
                      <a:pt x="5" y="212"/>
                      <a:pt x="5" y="212"/>
                      <a:pt x="4" y="214"/>
                    </a:cubicBezTo>
                    <a:cubicBezTo>
                      <a:pt x="2" y="215"/>
                      <a:pt x="2" y="216"/>
                      <a:pt x="1" y="216"/>
                    </a:cubicBezTo>
                    <a:cubicBezTo>
                      <a:pt x="2" y="216"/>
                      <a:pt x="2" y="216"/>
                      <a:pt x="2" y="216"/>
                    </a:cubicBezTo>
                    <a:cubicBezTo>
                      <a:pt x="1" y="217"/>
                      <a:pt x="1" y="217"/>
                      <a:pt x="1" y="217"/>
                    </a:cubicBezTo>
                    <a:cubicBezTo>
                      <a:pt x="2" y="217"/>
                      <a:pt x="2" y="218"/>
                      <a:pt x="7" y="224"/>
                    </a:cubicBezTo>
                    <a:cubicBezTo>
                      <a:pt x="7" y="225"/>
                      <a:pt x="7" y="225"/>
                      <a:pt x="7" y="225"/>
                    </a:cubicBezTo>
                    <a:cubicBezTo>
                      <a:pt x="8" y="226"/>
                      <a:pt x="9" y="226"/>
                      <a:pt x="9" y="227"/>
                    </a:cubicBezTo>
                    <a:cubicBezTo>
                      <a:pt x="10" y="228"/>
                      <a:pt x="10" y="228"/>
                      <a:pt x="10" y="228"/>
                    </a:cubicBezTo>
                    <a:cubicBezTo>
                      <a:pt x="10" y="228"/>
                      <a:pt x="11" y="229"/>
                      <a:pt x="11" y="229"/>
                    </a:cubicBezTo>
                    <a:cubicBezTo>
                      <a:pt x="11" y="230"/>
                      <a:pt x="11" y="230"/>
                      <a:pt x="11" y="230"/>
                    </a:cubicBezTo>
                    <a:cubicBezTo>
                      <a:pt x="13" y="231"/>
                      <a:pt x="14" y="232"/>
                      <a:pt x="14" y="234"/>
                    </a:cubicBezTo>
                    <a:cubicBezTo>
                      <a:pt x="17" y="238"/>
                      <a:pt x="17" y="243"/>
                      <a:pt x="18" y="247"/>
                    </a:cubicBezTo>
                    <a:cubicBezTo>
                      <a:pt x="18" y="248"/>
                      <a:pt x="18" y="248"/>
                      <a:pt x="18" y="248"/>
                    </a:cubicBezTo>
                    <a:cubicBezTo>
                      <a:pt x="19" y="249"/>
                      <a:pt x="19" y="251"/>
                      <a:pt x="19" y="253"/>
                    </a:cubicBezTo>
                    <a:cubicBezTo>
                      <a:pt x="20" y="254"/>
                      <a:pt x="20" y="254"/>
                      <a:pt x="20" y="254"/>
                    </a:cubicBezTo>
                    <a:cubicBezTo>
                      <a:pt x="20" y="255"/>
                      <a:pt x="20" y="255"/>
                      <a:pt x="20" y="255"/>
                    </a:cubicBezTo>
                    <a:cubicBezTo>
                      <a:pt x="22" y="257"/>
                      <a:pt x="23" y="259"/>
                      <a:pt x="25" y="261"/>
                    </a:cubicBezTo>
                    <a:cubicBezTo>
                      <a:pt x="25" y="261"/>
                      <a:pt x="25" y="261"/>
                      <a:pt x="25" y="261"/>
                    </a:cubicBezTo>
                    <a:cubicBezTo>
                      <a:pt x="26" y="262"/>
                      <a:pt x="26" y="262"/>
                      <a:pt x="26" y="262"/>
                    </a:cubicBezTo>
                    <a:cubicBezTo>
                      <a:pt x="26" y="262"/>
                      <a:pt x="27" y="263"/>
                      <a:pt x="27" y="263"/>
                    </a:cubicBezTo>
                    <a:cubicBezTo>
                      <a:pt x="28" y="263"/>
                      <a:pt x="28" y="263"/>
                      <a:pt x="28" y="263"/>
                    </a:cubicBezTo>
                    <a:cubicBezTo>
                      <a:pt x="29" y="263"/>
                      <a:pt x="29" y="263"/>
                      <a:pt x="29" y="263"/>
                    </a:cubicBezTo>
                    <a:cubicBezTo>
                      <a:pt x="31" y="262"/>
                      <a:pt x="32" y="262"/>
                      <a:pt x="34" y="262"/>
                    </a:cubicBezTo>
                    <a:cubicBezTo>
                      <a:pt x="34" y="257"/>
                      <a:pt x="34" y="257"/>
                      <a:pt x="34" y="257"/>
                    </a:cubicBezTo>
                    <a:cubicBezTo>
                      <a:pt x="35" y="262"/>
                      <a:pt x="35" y="262"/>
                      <a:pt x="35" y="262"/>
                    </a:cubicBezTo>
                    <a:cubicBezTo>
                      <a:pt x="36" y="262"/>
                      <a:pt x="36" y="262"/>
                      <a:pt x="36" y="262"/>
                    </a:cubicBezTo>
                    <a:cubicBezTo>
                      <a:pt x="37" y="262"/>
                      <a:pt x="39" y="262"/>
                      <a:pt x="41" y="263"/>
                    </a:cubicBezTo>
                    <a:cubicBezTo>
                      <a:pt x="44" y="264"/>
                      <a:pt x="46" y="265"/>
                      <a:pt x="49" y="266"/>
                    </a:cubicBezTo>
                    <a:cubicBezTo>
                      <a:pt x="54" y="267"/>
                      <a:pt x="54" y="267"/>
                      <a:pt x="54" y="267"/>
                    </a:cubicBezTo>
                    <a:cubicBezTo>
                      <a:pt x="59" y="269"/>
                      <a:pt x="61" y="272"/>
                      <a:pt x="63" y="275"/>
                    </a:cubicBezTo>
                    <a:cubicBezTo>
                      <a:pt x="63" y="275"/>
                      <a:pt x="63" y="275"/>
                      <a:pt x="63" y="275"/>
                    </a:cubicBezTo>
                    <a:cubicBezTo>
                      <a:pt x="64" y="276"/>
                      <a:pt x="64" y="277"/>
                      <a:pt x="65" y="277"/>
                    </a:cubicBezTo>
                    <a:cubicBezTo>
                      <a:pt x="66" y="279"/>
                      <a:pt x="67" y="281"/>
                      <a:pt x="68" y="284"/>
                    </a:cubicBezTo>
                    <a:cubicBezTo>
                      <a:pt x="68" y="284"/>
                      <a:pt x="68" y="284"/>
                      <a:pt x="68" y="284"/>
                    </a:cubicBezTo>
                    <a:cubicBezTo>
                      <a:pt x="70" y="287"/>
                      <a:pt x="71" y="291"/>
                      <a:pt x="73" y="292"/>
                    </a:cubicBezTo>
                    <a:cubicBezTo>
                      <a:pt x="73" y="292"/>
                      <a:pt x="73" y="292"/>
                      <a:pt x="73" y="292"/>
                    </a:cubicBezTo>
                    <a:cubicBezTo>
                      <a:pt x="84" y="292"/>
                      <a:pt x="84" y="292"/>
                      <a:pt x="84" y="292"/>
                    </a:cubicBezTo>
                    <a:cubicBezTo>
                      <a:pt x="80" y="294"/>
                      <a:pt x="80" y="294"/>
                      <a:pt x="80" y="294"/>
                    </a:cubicBezTo>
                    <a:cubicBezTo>
                      <a:pt x="113" y="302"/>
                      <a:pt x="113" y="302"/>
                      <a:pt x="113" y="302"/>
                    </a:cubicBezTo>
                    <a:cubicBezTo>
                      <a:pt x="118" y="303"/>
                      <a:pt x="121" y="306"/>
                      <a:pt x="124" y="309"/>
                    </a:cubicBezTo>
                    <a:cubicBezTo>
                      <a:pt x="129" y="313"/>
                      <a:pt x="129" y="313"/>
                      <a:pt x="129" y="313"/>
                    </a:cubicBezTo>
                    <a:cubicBezTo>
                      <a:pt x="129" y="313"/>
                      <a:pt x="130" y="314"/>
                      <a:pt x="130" y="314"/>
                    </a:cubicBezTo>
                    <a:cubicBezTo>
                      <a:pt x="131" y="315"/>
                      <a:pt x="131" y="315"/>
                      <a:pt x="131" y="315"/>
                    </a:cubicBezTo>
                    <a:cubicBezTo>
                      <a:pt x="132" y="316"/>
                      <a:pt x="133" y="317"/>
                      <a:pt x="134" y="318"/>
                    </a:cubicBezTo>
                    <a:cubicBezTo>
                      <a:pt x="135" y="318"/>
                      <a:pt x="135" y="318"/>
                      <a:pt x="135" y="318"/>
                    </a:cubicBezTo>
                    <a:cubicBezTo>
                      <a:pt x="135" y="318"/>
                      <a:pt x="135" y="318"/>
                      <a:pt x="135" y="318"/>
                    </a:cubicBezTo>
                    <a:cubicBezTo>
                      <a:pt x="136" y="318"/>
                      <a:pt x="137" y="318"/>
                      <a:pt x="138" y="318"/>
                    </a:cubicBezTo>
                    <a:cubicBezTo>
                      <a:pt x="138" y="318"/>
                      <a:pt x="138" y="317"/>
                      <a:pt x="139" y="317"/>
                    </a:cubicBezTo>
                    <a:cubicBezTo>
                      <a:pt x="180" y="296"/>
                      <a:pt x="180" y="296"/>
                      <a:pt x="180" y="296"/>
                    </a:cubicBezTo>
                    <a:cubicBezTo>
                      <a:pt x="180" y="296"/>
                      <a:pt x="181" y="296"/>
                      <a:pt x="181" y="296"/>
                    </a:cubicBezTo>
                    <a:cubicBezTo>
                      <a:pt x="182" y="295"/>
                      <a:pt x="184" y="295"/>
                      <a:pt x="185" y="295"/>
                    </a:cubicBezTo>
                    <a:cubicBezTo>
                      <a:pt x="186" y="295"/>
                      <a:pt x="186" y="295"/>
                      <a:pt x="187" y="295"/>
                    </a:cubicBezTo>
                    <a:cubicBezTo>
                      <a:pt x="188" y="296"/>
                      <a:pt x="190" y="296"/>
                      <a:pt x="191" y="297"/>
                    </a:cubicBezTo>
                    <a:cubicBezTo>
                      <a:pt x="201" y="302"/>
                      <a:pt x="201" y="302"/>
                      <a:pt x="201" y="302"/>
                    </a:cubicBezTo>
                    <a:cubicBezTo>
                      <a:pt x="210" y="306"/>
                      <a:pt x="219" y="311"/>
                      <a:pt x="228" y="315"/>
                    </a:cubicBezTo>
                    <a:cubicBezTo>
                      <a:pt x="241" y="322"/>
                      <a:pt x="241" y="322"/>
                      <a:pt x="241" y="322"/>
                    </a:cubicBezTo>
                    <a:cubicBezTo>
                      <a:pt x="244" y="323"/>
                      <a:pt x="247" y="325"/>
                      <a:pt x="250" y="326"/>
                    </a:cubicBezTo>
                    <a:cubicBezTo>
                      <a:pt x="437" y="326"/>
                      <a:pt x="437" y="326"/>
                      <a:pt x="437" y="326"/>
                    </a:cubicBezTo>
                    <a:cubicBezTo>
                      <a:pt x="437" y="169"/>
                      <a:pt x="437" y="169"/>
                      <a:pt x="437" y="169"/>
                    </a:cubicBezTo>
                    <a:cubicBezTo>
                      <a:pt x="437" y="159"/>
                      <a:pt x="437" y="148"/>
                      <a:pt x="437" y="138"/>
                    </a:cubicBezTo>
                    <a:cubicBezTo>
                      <a:pt x="436" y="134"/>
                      <a:pt x="436" y="130"/>
                      <a:pt x="436" y="126"/>
                    </a:cubicBezTo>
                    <a:cubicBezTo>
                      <a:pt x="435" y="119"/>
                      <a:pt x="434" y="113"/>
                      <a:pt x="433" y="107"/>
                    </a:cubicBezTo>
                    <a:cubicBezTo>
                      <a:pt x="432" y="106"/>
                      <a:pt x="432" y="105"/>
                      <a:pt x="432" y="103"/>
                    </a:cubicBezTo>
                    <a:cubicBezTo>
                      <a:pt x="432" y="103"/>
                      <a:pt x="432" y="103"/>
                      <a:pt x="432" y="103"/>
                    </a:cubicBezTo>
                    <a:cubicBezTo>
                      <a:pt x="431" y="101"/>
                      <a:pt x="431" y="99"/>
                      <a:pt x="430" y="97"/>
                    </a:cubicBezTo>
                    <a:cubicBezTo>
                      <a:pt x="430" y="96"/>
                      <a:pt x="429" y="95"/>
                      <a:pt x="429" y="94"/>
                    </a:cubicBezTo>
                    <a:cubicBezTo>
                      <a:pt x="429" y="90"/>
                      <a:pt x="431" y="87"/>
                      <a:pt x="433" y="84"/>
                    </a:cubicBezTo>
                    <a:cubicBezTo>
                      <a:pt x="434" y="83"/>
                      <a:pt x="435" y="82"/>
                      <a:pt x="435" y="81"/>
                    </a:cubicBezTo>
                    <a:cubicBezTo>
                      <a:pt x="435" y="81"/>
                      <a:pt x="435" y="81"/>
                      <a:pt x="435" y="81"/>
                    </a:cubicBezTo>
                    <a:cubicBezTo>
                      <a:pt x="436" y="79"/>
                      <a:pt x="437" y="76"/>
                      <a:pt x="436" y="73"/>
                    </a:cubicBezTo>
                    <a:cubicBezTo>
                      <a:pt x="436" y="72"/>
                      <a:pt x="435" y="71"/>
                      <a:pt x="435" y="69"/>
                    </a:cubicBezTo>
                    <a:cubicBezTo>
                      <a:pt x="435" y="67"/>
                      <a:pt x="434" y="65"/>
                      <a:pt x="434" y="62"/>
                    </a:cubicBezTo>
                    <a:cubicBezTo>
                      <a:pt x="433" y="61"/>
                      <a:pt x="433" y="58"/>
                      <a:pt x="434" y="56"/>
                    </a:cubicBezTo>
                    <a:cubicBezTo>
                      <a:pt x="434" y="55"/>
                      <a:pt x="434" y="54"/>
                      <a:pt x="435" y="53"/>
                    </a:cubicBezTo>
                    <a:cubicBezTo>
                      <a:pt x="436" y="51"/>
                      <a:pt x="438" y="49"/>
                      <a:pt x="440" y="46"/>
                    </a:cubicBezTo>
                    <a:cubicBezTo>
                      <a:pt x="442" y="45"/>
                      <a:pt x="442" y="45"/>
                      <a:pt x="442" y="45"/>
                    </a:cubicBezTo>
                    <a:cubicBezTo>
                      <a:pt x="442" y="44"/>
                      <a:pt x="443" y="44"/>
                      <a:pt x="443" y="43"/>
                    </a:cubicBezTo>
                    <a:cubicBezTo>
                      <a:pt x="444" y="43"/>
                      <a:pt x="444" y="43"/>
                      <a:pt x="444" y="43"/>
                    </a:cubicBezTo>
                    <a:cubicBezTo>
                      <a:pt x="442" y="41"/>
                      <a:pt x="441" y="37"/>
                      <a:pt x="439" y="36"/>
                    </a:cubicBezTo>
                    <a:cubicBezTo>
                      <a:pt x="438" y="36"/>
                      <a:pt x="436" y="35"/>
                      <a:pt x="435" y="35"/>
                    </a:cubicBezTo>
                    <a:cubicBezTo>
                      <a:pt x="434" y="35"/>
                      <a:pt x="433" y="35"/>
                      <a:pt x="433" y="35"/>
                    </a:cubicBezTo>
                    <a:cubicBezTo>
                      <a:pt x="432" y="35"/>
                      <a:pt x="431" y="35"/>
                      <a:pt x="430" y="35"/>
                    </a:cubicBezTo>
                    <a:cubicBezTo>
                      <a:pt x="429" y="35"/>
                      <a:pt x="428" y="36"/>
                      <a:pt x="427" y="36"/>
                    </a:cubicBezTo>
                    <a:cubicBezTo>
                      <a:pt x="422" y="36"/>
                      <a:pt x="418" y="34"/>
                      <a:pt x="414" y="33"/>
                    </a:cubicBezTo>
                    <a:cubicBezTo>
                      <a:pt x="406" y="30"/>
                      <a:pt x="399" y="30"/>
                      <a:pt x="391" y="29"/>
                    </a:cubicBezTo>
                    <a:cubicBezTo>
                      <a:pt x="389" y="28"/>
                      <a:pt x="387" y="25"/>
                      <a:pt x="386" y="24"/>
                    </a:cubicBezTo>
                    <a:cubicBezTo>
                      <a:pt x="386" y="22"/>
                      <a:pt x="388" y="18"/>
                      <a:pt x="387" y="16"/>
                    </a:cubicBezTo>
                    <a:cubicBezTo>
                      <a:pt x="386" y="14"/>
                      <a:pt x="381" y="13"/>
                      <a:pt x="379" y="13"/>
                    </a:cubicBezTo>
                    <a:cubicBezTo>
                      <a:pt x="375" y="11"/>
                      <a:pt x="370" y="10"/>
                      <a:pt x="366" y="9"/>
                    </a:cubicBezTo>
                    <a:cubicBezTo>
                      <a:pt x="363" y="8"/>
                      <a:pt x="359" y="7"/>
                      <a:pt x="356" y="7"/>
                    </a:cubicBezTo>
                    <a:cubicBezTo>
                      <a:pt x="355" y="7"/>
                      <a:pt x="355" y="7"/>
                      <a:pt x="354" y="7"/>
                    </a:cubicBezTo>
                    <a:cubicBezTo>
                      <a:pt x="349" y="8"/>
                      <a:pt x="345" y="9"/>
                      <a:pt x="340" y="10"/>
                    </a:cubicBezTo>
                    <a:cubicBezTo>
                      <a:pt x="332" y="12"/>
                      <a:pt x="324" y="15"/>
                      <a:pt x="316" y="17"/>
                    </a:cubicBezTo>
                    <a:cubicBezTo>
                      <a:pt x="313" y="18"/>
                      <a:pt x="310" y="22"/>
                      <a:pt x="308" y="24"/>
                    </a:cubicBezTo>
                    <a:cubicBezTo>
                      <a:pt x="306" y="27"/>
                      <a:pt x="303" y="30"/>
                      <a:pt x="300" y="33"/>
                    </a:cubicBezTo>
                    <a:cubicBezTo>
                      <a:pt x="295" y="39"/>
                      <a:pt x="296" y="47"/>
                      <a:pt x="299" y="53"/>
                    </a:cubicBezTo>
                    <a:cubicBezTo>
                      <a:pt x="300" y="55"/>
                      <a:pt x="301" y="56"/>
                      <a:pt x="301" y="57"/>
                    </a:cubicBezTo>
                    <a:cubicBezTo>
                      <a:pt x="304" y="62"/>
                      <a:pt x="302" y="69"/>
                      <a:pt x="299" y="73"/>
                    </a:cubicBezTo>
                    <a:cubicBezTo>
                      <a:pt x="294" y="80"/>
                      <a:pt x="288" y="86"/>
                      <a:pt x="280" y="89"/>
                    </a:cubicBezTo>
                    <a:cubicBezTo>
                      <a:pt x="278" y="89"/>
                      <a:pt x="276" y="90"/>
                      <a:pt x="273" y="90"/>
                    </a:cubicBezTo>
                    <a:cubicBezTo>
                      <a:pt x="272" y="90"/>
                      <a:pt x="272" y="90"/>
                      <a:pt x="271" y="90"/>
                    </a:cubicBezTo>
                    <a:cubicBezTo>
                      <a:pt x="268" y="89"/>
                      <a:pt x="266" y="88"/>
                      <a:pt x="264" y="87"/>
                    </a:cubicBezTo>
                    <a:cubicBezTo>
                      <a:pt x="256" y="81"/>
                      <a:pt x="249" y="76"/>
                      <a:pt x="241" y="71"/>
                    </a:cubicBezTo>
                    <a:cubicBezTo>
                      <a:pt x="232" y="66"/>
                      <a:pt x="218" y="62"/>
                      <a:pt x="207" y="60"/>
                    </a:cubicBezTo>
                    <a:cubicBezTo>
                      <a:pt x="199" y="59"/>
                      <a:pt x="192" y="61"/>
                      <a:pt x="185" y="57"/>
                    </a:cubicBezTo>
                    <a:cubicBezTo>
                      <a:pt x="178" y="53"/>
                      <a:pt x="173" y="52"/>
                      <a:pt x="170" y="45"/>
                    </a:cubicBezTo>
                    <a:cubicBezTo>
                      <a:pt x="169" y="43"/>
                      <a:pt x="168" y="40"/>
                      <a:pt x="167" y="37"/>
                    </a:cubicBezTo>
                    <a:cubicBezTo>
                      <a:pt x="166" y="33"/>
                      <a:pt x="165" y="25"/>
                      <a:pt x="160" y="22"/>
                    </a:cubicBezTo>
                    <a:cubicBezTo>
                      <a:pt x="159" y="22"/>
                      <a:pt x="156" y="22"/>
                      <a:pt x="154" y="22"/>
                    </a:cubicBezTo>
                    <a:cubicBezTo>
                      <a:pt x="145" y="21"/>
                      <a:pt x="138" y="17"/>
                      <a:pt x="129" y="13"/>
                    </a:cubicBezTo>
                    <a:cubicBezTo>
                      <a:pt x="122" y="9"/>
                      <a:pt x="112" y="10"/>
                      <a:pt x="104" y="9"/>
                    </a:cubicBezTo>
                    <a:cubicBezTo>
                      <a:pt x="103" y="9"/>
                      <a:pt x="102" y="9"/>
                      <a:pt x="102" y="9"/>
                    </a:cubicBezTo>
                    <a:cubicBezTo>
                      <a:pt x="100" y="9"/>
                      <a:pt x="98" y="9"/>
                      <a:pt x="96" y="9"/>
                    </a:cubicBezTo>
                    <a:cubicBezTo>
                      <a:pt x="94" y="10"/>
                      <a:pt x="92" y="10"/>
                      <a:pt x="90" y="10"/>
                    </a:cubicBezTo>
                    <a:cubicBezTo>
                      <a:pt x="88" y="10"/>
                      <a:pt x="86" y="10"/>
                      <a:pt x="84" y="9"/>
                    </a:cubicBezTo>
                    <a:cubicBezTo>
                      <a:pt x="77" y="6"/>
                      <a:pt x="69" y="3"/>
                      <a:pt x="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256"/>
              <p:cNvSpPr/>
              <p:nvPr/>
            </p:nvSpPr>
            <p:spPr bwMode="auto">
              <a:xfrm>
                <a:off x="5044924" y="5395010"/>
                <a:ext cx="339031" cy="696487"/>
              </a:xfrm>
              <a:custGeom>
                <a:gdLst>
                  <a:gd name="T0" fmla="*/ 56 w 107"/>
                  <a:gd name="T1" fmla="*/ 0 h 220"/>
                  <a:gd name="T2" fmla="*/ 35 w 107"/>
                  <a:gd name="T3" fmla="*/ 10 h 220"/>
                  <a:gd name="T4" fmla="*/ 33 w 107"/>
                  <a:gd name="T5" fmla="*/ 11 h 220"/>
                  <a:gd name="T6" fmla="*/ 21 w 107"/>
                  <a:gd name="T7" fmla="*/ 26 h 220"/>
                  <a:gd name="T8" fmla="*/ 22 w 107"/>
                  <a:gd name="T9" fmla="*/ 43 h 220"/>
                  <a:gd name="T10" fmla="*/ 24 w 107"/>
                  <a:gd name="T11" fmla="*/ 56 h 220"/>
                  <a:gd name="T12" fmla="*/ 26 w 107"/>
                  <a:gd name="T13" fmla="*/ 62 h 220"/>
                  <a:gd name="T14" fmla="*/ 26 w 107"/>
                  <a:gd name="T15" fmla="*/ 69 h 220"/>
                  <a:gd name="T16" fmla="*/ 9 w 107"/>
                  <a:gd name="T17" fmla="*/ 98 h 220"/>
                  <a:gd name="T18" fmla="*/ 1 w 107"/>
                  <a:gd name="T19" fmla="*/ 105 h 220"/>
                  <a:gd name="T20" fmla="*/ 5 w 107"/>
                  <a:gd name="T21" fmla="*/ 122 h 220"/>
                  <a:gd name="T22" fmla="*/ 19 w 107"/>
                  <a:gd name="T23" fmla="*/ 137 h 220"/>
                  <a:gd name="T24" fmla="*/ 21 w 107"/>
                  <a:gd name="T25" fmla="*/ 141 h 220"/>
                  <a:gd name="T26" fmla="*/ 23 w 107"/>
                  <a:gd name="T27" fmla="*/ 147 h 220"/>
                  <a:gd name="T28" fmla="*/ 23 w 107"/>
                  <a:gd name="T29" fmla="*/ 151 h 220"/>
                  <a:gd name="T30" fmla="*/ 26 w 107"/>
                  <a:gd name="T31" fmla="*/ 154 h 220"/>
                  <a:gd name="T32" fmla="*/ 37 w 107"/>
                  <a:gd name="T33" fmla="*/ 162 h 220"/>
                  <a:gd name="T34" fmla="*/ 45 w 107"/>
                  <a:gd name="T35" fmla="*/ 171 h 220"/>
                  <a:gd name="T36" fmla="*/ 62 w 107"/>
                  <a:gd name="T37" fmla="*/ 210 h 220"/>
                  <a:gd name="T38" fmla="*/ 63 w 107"/>
                  <a:gd name="T39" fmla="*/ 217 h 220"/>
                  <a:gd name="T40" fmla="*/ 66 w 107"/>
                  <a:gd name="T41" fmla="*/ 214 h 220"/>
                  <a:gd name="T42" fmla="*/ 68 w 107"/>
                  <a:gd name="T43" fmla="*/ 211 h 220"/>
                  <a:gd name="T44" fmla="*/ 71 w 107"/>
                  <a:gd name="T45" fmla="*/ 200 h 220"/>
                  <a:gd name="T46" fmla="*/ 70 w 107"/>
                  <a:gd name="T47" fmla="*/ 192 h 220"/>
                  <a:gd name="T48" fmla="*/ 77 w 107"/>
                  <a:gd name="T49" fmla="*/ 175 h 220"/>
                  <a:gd name="T50" fmla="*/ 80 w 107"/>
                  <a:gd name="T51" fmla="*/ 172 h 220"/>
                  <a:gd name="T52" fmla="*/ 86 w 107"/>
                  <a:gd name="T53" fmla="*/ 167 h 220"/>
                  <a:gd name="T54" fmla="*/ 88 w 107"/>
                  <a:gd name="T55" fmla="*/ 166 h 220"/>
                  <a:gd name="T56" fmla="*/ 90 w 107"/>
                  <a:gd name="T57" fmla="*/ 164 h 220"/>
                  <a:gd name="T58" fmla="*/ 92 w 107"/>
                  <a:gd name="T59" fmla="*/ 162 h 220"/>
                  <a:gd name="T60" fmla="*/ 101 w 107"/>
                  <a:gd name="T61" fmla="*/ 159 h 220"/>
                  <a:gd name="T62" fmla="*/ 107 w 107"/>
                  <a:gd name="T63" fmla="*/ 155 h 220"/>
                  <a:gd name="T64" fmla="*/ 107 w 107"/>
                  <a:gd name="T65" fmla="*/ 135 h 220"/>
                  <a:gd name="T66" fmla="*/ 107 w 107"/>
                  <a:gd name="T67" fmla="*/ 133 h 220"/>
                  <a:gd name="T68" fmla="*/ 100 w 107"/>
                  <a:gd name="T69" fmla="*/ 129 h 220"/>
                  <a:gd name="T70" fmla="*/ 95 w 107"/>
                  <a:gd name="T71" fmla="*/ 118 h 220"/>
                  <a:gd name="T72" fmla="*/ 89 w 107"/>
                  <a:gd name="T73" fmla="*/ 123 h 220"/>
                  <a:gd name="T74" fmla="*/ 87 w 107"/>
                  <a:gd name="T75" fmla="*/ 116 h 220"/>
                  <a:gd name="T76" fmla="*/ 82 w 107"/>
                  <a:gd name="T77" fmla="*/ 117 h 220"/>
                  <a:gd name="T78" fmla="*/ 68 w 107"/>
                  <a:gd name="T79" fmla="*/ 102 h 220"/>
                  <a:gd name="T80" fmla="*/ 96 w 107"/>
                  <a:gd name="T81" fmla="*/ 72 h 220"/>
                  <a:gd name="T82" fmla="*/ 96 w 107"/>
                  <a:gd name="T83" fmla="*/ 56 h 220"/>
                  <a:gd name="T84" fmla="*/ 82 w 107"/>
                  <a:gd name="T85" fmla="*/ 31 h 220"/>
                  <a:gd name="T86" fmla="*/ 97 w 107"/>
                  <a:gd name="T87" fmla="*/ 17 h 220"/>
                  <a:gd name="T88" fmla="*/ 93 w 107"/>
                  <a:gd name="T89" fmla="*/ 8 h 220"/>
                  <a:gd name="T90" fmla="*/ 83 w 107"/>
                  <a:gd name="T91" fmla="*/ 15 h 220"/>
                  <a:gd name="T92" fmla="*/ 79 w 107"/>
                  <a:gd name="T93" fmla="*/ 19 h 220"/>
                  <a:gd name="T94" fmla="*/ 74 w 107"/>
                  <a:gd name="T95" fmla="*/ 8 h 220"/>
                  <a:gd name="T96" fmla="*/ 66 w 107"/>
                  <a:gd name="T97" fmla="*/ 1 h 220"/>
                  <a:gd name="T98" fmla="*/ 58 w 107"/>
                  <a:gd name="T99" fmla="*/ 0 h 2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220">
                    <a:moveTo>
                      <a:pt x="58" y="0"/>
                    </a:moveTo>
                    <a:cubicBezTo>
                      <a:pt x="58" y="0"/>
                      <a:pt x="57" y="0"/>
                      <a:pt x="56" y="0"/>
                    </a:cubicBezTo>
                    <a:cubicBezTo>
                      <a:pt x="51" y="1"/>
                      <a:pt x="46" y="3"/>
                      <a:pt x="41" y="5"/>
                    </a:cubicBezTo>
                    <a:cubicBezTo>
                      <a:pt x="39" y="6"/>
                      <a:pt x="38" y="9"/>
                      <a:pt x="35" y="10"/>
                    </a:cubicBezTo>
                    <a:cubicBezTo>
                      <a:pt x="34" y="10"/>
                      <a:pt x="33" y="10"/>
                      <a:pt x="32" y="11"/>
                    </a:cubicBezTo>
                    <a:cubicBezTo>
                      <a:pt x="33" y="11"/>
                      <a:pt x="33" y="11"/>
                      <a:pt x="33" y="11"/>
                    </a:cubicBezTo>
                    <a:cubicBezTo>
                      <a:pt x="31" y="14"/>
                      <a:pt x="31" y="14"/>
                      <a:pt x="31" y="14"/>
                    </a:cubicBezTo>
                    <a:cubicBezTo>
                      <a:pt x="21" y="26"/>
                      <a:pt x="21" y="26"/>
                      <a:pt x="21" y="26"/>
                    </a:cubicBezTo>
                    <a:cubicBezTo>
                      <a:pt x="23" y="28"/>
                      <a:pt x="25" y="30"/>
                      <a:pt x="24" y="36"/>
                    </a:cubicBezTo>
                    <a:cubicBezTo>
                      <a:pt x="22" y="43"/>
                      <a:pt x="22" y="43"/>
                      <a:pt x="22" y="43"/>
                    </a:cubicBezTo>
                    <a:cubicBezTo>
                      <a:pt x="22" y="45"/>
                      <a:pt x="23" y="49"/>
                      <a:pt x="23" y="53"/>
                    </a:cubicBezTo>
                    <a:cubicBezTo>
                      <a:pt x="24" y="54"/>
                      <a:pt x="24" y="55"/>
                      <a:pt x="24" y="56"/>
                    </a:cubicBezTo>
                    <a:cubicBezTo>
                      <a:pt x="25" y="60"/>
                      <a:pt x="25" y="60"/>
                      <a:pt x="25" y="60"/>
                    </a:cubicBezTo>
                    <a:cubicBezTo>
                      <a:pt x="25" y="61"/>
                      <a:pt x="25" y="61"/>
                      <a:pt x="26" y="62"/>
                    </a:cubicBezTo>
                    <a:cubicBezTo>
                      <a:pt x="26" y="62"/>
                      <a:pt x="26" y="62"/>
                      <a:pt x="26" y="62"/>
                    </a:cubicBezTo>
                    <a:cubicBezTo>
                      <a:pt x="26" y="65"/>
                      <a:pt x="27" y="67"/>
                      <a:pt x="26" y="69"/>
                    </a:cubicBezTo>
                    <a:cubicBezTo>
                      <a:pt x="25" y="75"/>
                      <a:pt x="23" y="81"/>
                      <a:pt x="21" y="86"/>
                    </a:cubicBezTo>
                    <a:cubicBezTo>
                      <a:pt x="17" y="90"/>
                      <a:pt x="14" y="94"/>
                      <a:pt x="9" y="98"/>
                    </a:cubicBezTo>
                    <a:cubicBezTo>
                      <a:pt x="7" y="100"/>
                      <a:pt x="4" y="102"/>
                      <a:pt x="2" y="104"/>
                    </a:cubicBezTo>
                    <a:cubicBezTo>
                      <a:pt x="1" y="105"/>
                      <a:pt x="1" y="105"/>
                      <a:pt x="1" y="105"/>
                    </a:cubicBezTo>
                    <a:cubicBezTo>
                      <a:pt x="0" y="106"/>
                      <a:pt x="0" y="107"/>
                      <a:pt x="0" y="110"/>
                    </a:cubicBezTo>
                    <a:cubicBezTo>
                      <a:pt x="0" y="114"/>
                      <a:pt x="2" y="118"/>
                      <a:pt x="5" y="122"/>
                    </a:cubicBezTo>
                    <a:cubicBezTo>
                      <a:pt x="7" y="126"/>
                      <a:pt x="10" y="128"/>
                      <a:pt x="13" y="131"/>
                    </a:cubicBezTo>
                    <a:cubicBezTo>
                      <a:pt x="15" y="133"/>
                      <a:pt x="17" y="135"/>
                      <a:pt x="19" y="137"/>
                    </a:cubicBezTo>
                    <a:cubicBezTo>
                      <a:pt x="19" y="138"/>
                      <a:pt x="20" y="139"/>
                      <a:pt x="20" y="139"/>
                    </a:cubicBezTo>
                    <a:cubicBezTo>
                      <a:pt x="21" y="140"/>
                      <a:pt x="21" y="140"/>
                      <a:pt x="21" y="141"/>
                    </a:cubicBezTo>
                    <a:cubicBezTo>
                      <a:pt x="21" y="141"/>
                      <a:pt x="21" y="141"/>
                      <a:pt x="21" y="141"/>
                    </a:cubicBezTo>
                    <a:cubicBezTo>
                      <a:pt x="22" y="143"/>
                      <a:pt x="23" y="145"/>
                      <a:pt x="23" y="147"/>
                    </a:cubicBezTo>
                    <a:cubicBezTo>
                      <a:pt x="23" y="148"/>
                      <a:pt x="23" y="148"/>
                      <a:pt x="23" y="148"/>
                    </a:cubicBezTo>
                    <a:cubicBezTo>
                      <a:pt x="23" y="149"/>
                      <a:pt x="23" y="151"/>
                      <a:pt x="23" y="151"/>
                    </a:cubicBezTo>
                    <a:cubicBezTo>
                      <a:pt x="25" y="153"/>
                      <a:pt x="25" y="153"/>
                      <a:pt x="25" y="153"/>
                    </a:cubicBezTo>
                    <a:cubicBezTo>
                      <a:pt x="25" y="153"/>
                      <a:pt x="26" y="153"/>
                      <a:pt x="26" y="154"/>
                    </a:cubicBezTo>
                    <a:cubicBezTo>
                      <a:pt x="35" y="161"/>
                      <a:pt x="35" y="161"/>
                      <a:pt x="35" y="161"/>
                    </a:cubicBezTo>
                    <a:cubicBezTo>
                      <a:pt x="36" y="161"/>
                      <a:pt x="36" y="162"/>
                      <a:pt x="37" y="162"/>
                    </a:cubicBezTo>
                    <a:cubicBezTo>
                      <a:pt x="39" y="163"/>
                      <a:pt x="41" y="165"/>
                      <a:pt x="42" y="166"/>
                    </a:cubicBezTo>
                    <a:cubicBezTo>
                      <a:pt x="44" y="168"/>
                      <a:pt x="45" y="170"/>
                      <a:pt x="45" y="171"/>
                    </a:cubicBezTo>
                    <a:cubicBezTo>
                      <a:pt x="56" y="217"/>
                      <a:pt x="56" y="217"/>
                      <a:pt x="56" y="217"/>
                    </a:cubicBezTo>
                    <a:cubicBezTo>
                      <a:pt x="62" y="210"/>
                      <a:pt x="62" y="210"/>
                      <a:pt x="62" y="210"/>
                    </a:cubicBezTo>
                    <a:cubicBezTo>
                      <a:pt x="59" y="220"/>
                      <a:pt x="59" y="220"/>
                      <a:pt x="59" y="220"/>
                    </a:cubicBezTo>
                    <a:cubicBezTo>
                      <a:pt x="60" y="220"/>
                      <a:pt x="62" y="219"/>
                      <a:pt x="63" y="217"/>
                    </a:cubicBezTo>
                    <a:cubicBezTo>
                      <a:pt x="64" y="217"/>
                      <a:pt x="65" y="216"/>
                      <a:pt x="65" y="215"/>
                    </a:cubicBezTo>
                    <a:cubicBezTo>
                      <a:pt x="66" y="214"/>
                      <a:pt x="66" y="214"/>
                      <a:pt x="66" y="214"/>
                    </a:cubicBezTo>
                    <a:cubicBezTo>
                      <a:pt x="67" y="213"/>
                      <a:pt x="67" y="212"/>
                      <a:pt x="68" y="212"/>
                    </a:cubicBezTo>
                    <a:cubicBezTo>
                      <a:pt x="68" y="211"/>
                      <a:pt x="68" y="211"/>
                      <a:pt x="68" y="211"/>
                    </a:cubicBezTo>
                    <a:cubicBezTo>
                      <a:pt x="71" y="208"/>
                      <a:pt x="72" y="205"/>
                      <a:pt x="71" y="202"/>
                    </a:cubicBezTo>
                    <a:cubicBezTo>
                      <a:pt x="71" y="202"/>
                      <a:pt x="71" y="201"/>
                      <a:pt x="71" y="200"/>
                    </a:cubicBezTo>
                    <a:cubicBezTo>
                      <a:pt x="71" y="199"/>
                      <a:pt x="71" y="199"/>
                      <a:pt x="71" y="199"/>
                    </a:cubicBezTo>
                    <a:cubicBezTo>
                      <a:pt x="70" y="197"/>
                      <a:pt x="70" y="195"/>
                      <a:pt x="70" y="192"/>
                    </a:cubicBezTo>
                    <a:cubicBezTo>
                      <a:pt x="70" y="192"/>
                      <a:pt x="70" y="181"/>
                      <a:pt x="74" y="177"/>
                    </a:cubicBezTo>
                    <a:cubicBezTo>
                      <a:pt x="75" y="176"/>
                      <a:pt x="76" y="175"/>
                      <a:pt x="77" y="175"/>
                    </a:cubicBezTo>
                    <a:cubicBezTo>
                      <a:pt x="77" y="175"/>
                      <a:pt x="77" y="175"/>
                      <a:pt x="78" y="175"/>
                    </a:cubicBezTo>
                    <a:cubicBezTo>
                      <a:pt x="78" y="174"/>
                      <a:pt x="79" y="173"/>
                      <a:pt x="80" y="172"/>
                    </a:cubicBezTo>
                    <a:cubicBezTo>
                      <a:pt x="81" y="171"/>
                      <a:pt x="82" y="169"/>
                      <a:pt x="84" y="168"/>
                    </a:cubicBezTo>
                    <a:cubicBezTo>
                      <a:pt x="85" y="168"/>
                      <a:pt x="85" y="167"/>
                      <a:pt x="86" y="167"/>
                    </a:cubicBezTo>
                    <a:cubicBezTo>
                      <a:pt x="86" y="167"/>
                      <a:pt x="87" y="167"/>
                      <a:pt x="87" y="168"/>
                    </a:cubicBezTo>
                    <a:cubicBezTo>
                      <a:pt x="87" y="167"/>
                      <a:pt x="88" y="166"/>
                      <a:pt x="88" y="166"/>
                    </a:cubicBezTo>
                    <a:cubicBezTo>
                      <a:pt x="89" y="165"/>
                      <a:pt x="89" y="165"/>
                      <a:pt x="89" y="165"/>
                    </a:cubicBezTo>
                    <a:cubicBezTo>
                      <a:pt x="89" y="165"/>
                      <a:pt x="90" y="164"/>
                      <a:pt x="90" y="164"/>
                    </a:cubicBezTo>
                    <a:cubicBezTo>
                      <a:pt x="91" y="163"/>
                      <a:pt x="91" y="163"/>
                      <a:pt x="91" y="163"/>
                    </a:cubicBezTo>
                    <a:cubicBezTo>
                      <a:pt x="92" y="163"/>
                      <a:pt x="92" y="162"/>
                      <a:pt x="92" y="162"/>
                    </a:cubicBezTo>
                    <a:cubicBezTo>
                      <a:pt x="94" y="161"/>
                      <a:pt x="96" y="160"/>
                      <a:pt x="99" y="159"/>
                    </a:cubicBezTo>
                    <a:cubicBezTo>
                      <a:pt x="101" y="159"/>
                      <a:pt x="101" y="159"/>
                      <a:pt x="101" y="159"/>
                    </a:cubicBezTo>
                    <a:cubicBezTo>
                      <a:pt x="103" y="158"/>
                      <a:pt x="105" y="157"/>
                      <a:pt x="106" y="156"/>
                    </a:cubicBezTo>
                    <a:cubicBezTo>
                      <a:pt x="107" y="156"/>
                      <a:pt x="107" y="155"/>
                      <a:pt x="107" y="155"/>
                    </a:cubicBezTo>
                    <a:cubicBezTo>
                      <a:pt x="107" y="136"/>
                      <a:pt x="107" y="136"/>
                      <a:pt x="107" y="136"/>
                    </a:cubicBezTo>
                    <a:cubicBezTo>
                      <a:pt x="107" y="135"/>
                      <a:pt x="107" y="135"/>
                      <a:pt x="107" y="135"/>
                    </a:cubicBezTo>
                    <a:cubicBezTo>
                      <a:pt x="106" y="134"/>
                      <a:pt x="106" y="134"/>
                      <a:pt x="106" y="134"/>
                    </a:cubicBezTo>
                    <a:cubicBezTo>
                      <a:pt x="107" y="133"/>
                      <a:pt x="107" y="133"/>
                      <a:pt x="107" y="133"/>
                    </a:cubicBezTo>
                    <a:cubicBezTo>
                      <a:pt x="106" y="133"/>
                      <a:pt x="106" y="133"/>
                      <a:pt x="106" y="133"/>
                    </a:cubicBezTo>
                    <a:cubicBezTo>
                      <a:pt x="105" y="133"/>
                      <a:pt x="96" y="130"/>
                      <a:pt x="100" y="129"/>
                    </a:cubicBezTo>
                    <a:cubicBezTo>
                      <a:pt x="98" y="126"/>
                      <a:pt x="99" y="120"/>
                      <a:pt x="96" y="119"/>
                    </a:cubicBezTo>
                    <a:cubicBezTo>
                      <a:pt x="95" y="118"/>
                      <a:pt x="95" y="118"/>
                      <a:pt x="95" y="118"/>
                    </a:cubicBezTo>
                    <a:cubicBezTo>
                      <a:pt x="93" y="118"/>
                      <a:pt x="94" y="121"/>
                      <a:pt x="94" y="121"/>
                    </a:cubicBezTo>
                    <a:cubicBezTo>
                      <a:pt x="93" y="122"/>
                      <a:pt x="90" y="123"/>
                      <a:pt x="89" y="123"/>
                    </a:cubicBezTo>
                    <a:cubicBezTo>
                      <a:pt x="88" y="123"/>
                      <a:pt x="87" y="123"/>
                      <a:pt x="87" y="122"/>
                    </a:cubicBezTo>
                    <a:cubicBezTo>
                      <a:pt x="86" y="121"/>
                      <a:pt x="90" y="118"/>
                      <a:pt x="87" y="116"/>
                    </a:cubicBezTo>
                    <a:cubicBezTo>
                      <a:pt x="84" y="117"/>
                      <a:pt x="84" y="117"/>
                      <a:pt x="84" y="117"/>
                    </a:cubicBezTo>
                    <a:cubicBezTo>
                      <a:pt x="83" y="117"/>
                      <a:pt x="82" y="117"/>
                      <a:pt x="82" y="117"/>
                    </a:cubicBezTo>
                    <a:cubicBezTo>
                      <a:pt x="79" y="117"/>
                      <a:pt x="77" y="116"/>
                      <a:pt x="74" y="113"/>
                    </a:cubicBezTo>
                    <a:cubicBezTo>
                      <a:pt x="70" y="110"/>
                      <a:pt x="69" y="106"/>
                      <a:pt x="68" y="102"/>
                    </a:cubicBezTo>
                    <a:cubicBezTo>
                      <a:pt x="67" y="99"/>
                      <a:pt x="83" y="89"/>
                      <a:pt x="86" y="87"/>
                    </a:cubicBezTo>
                    <a:cubicBezTo>
                      <a:pt x="91" y="83"/>
                      <a:pt x="93" y="77"/>
                      <a:pt x="96" y="72"/>
                    </a:cubicBezTo>
                    <a:cubicBezTo>
                      <a:pt x="98" y="69"/>
                      <a:pt x="100" y="68"/>
                      <a:pt x="99" y="65"/>
                    </a:cubicBezTo>
                    <a:cubicBezTo>
                      <a:pt x="98" y="63"/>
                      <a:pt x="98" y="58"/>
                      <a:pt x="96" y="56"/>
                    </a:cubicBezTo>
                    <a:cubicBezTo>
                      <a:pt x="90" y="52"/>
                      <a:pt x="82" y="47"/>
                      <a:pt x="81" y="39"/>
                    </a:cubicBezTo>
                    <a:cubicBezTo>
                      <a:pt x="80" y="37"/>
                      <a:pt x="81" y="32"/>
                      <a:pt x="82" y="31"/>
                    </a:cubicBezTo>
                    <a:cubicBezTo>
                      <a:pt x="84" y="28"/>
                      <a:pt x="89" y="28"/>
                      <a:pt x="91" y="26"/>
                    </a:cubicBezTo>
                    <a:cubicBezTo>
                      <a:pt x="94" y="23"/>
                      <a:pt x="96" y="20"/>
                      <a:pt x="97" y="17"/>
                    </a:cubicBezTo>
                    <a:cubicBezTo>
                      <a:pt x="99" y="14"/>
                      <a:pt x="99" y="7"/>
                      <a:pt x="96" y="7"/>
                    </a:cubicBezTo>
                    <a:cubicBezTo>
                      <a:pt x="95" y="7"/>
                      <a:pt x="94" y="8"/>
                      <a:pt x="93" y="8"/>
                    </a:cubicBezTo>
                    <a:cubicBezTo>
                      <a:pt x="91" y="10"/>
                      <a:pt x="90" y="13"/>
                      <a:pt x="88" y="14"/>
                    </a:cubicBezTo>
                    <a:cubicBezTo>
                      <a:pt x="86" y="14"/>
                      <a:pt x="85" y="14"/>
                      <a:pt x="83" y="15"/>
                    </a:cubicBezTo>
                    <a:cubicBezTo>
                      <a:pt x="83" y="15"/>
                      <a:pt x="83" y="17"/>
                      <a:pt x="82" y="17"/>
                    </a:cubicBezTo>
                    <a:cubicBezTo>
                      <a:pt x="81" y="18"/>
                      <a:pt x="80" y="19"/>
                      <a:pt x="79" y="19"/>
                    </a:cubicBezTo>
                    <a:cubicBezTo>
                      <a:pt x="78" y="19"/>
                      <a:pt x="77" y="18"/>
                      <a:pt x="75" y="17"/>
                    </a:cubicBezTo>
                    <a:cubicBezTo>
                      <a:pt x="77" y="13"/>
                      <a:pt x="76" y="12"/>
                      <a:pt x="74" y="8"/>
                    </a:cubicBezTo>
                    <a:cubicBezTo>
                      <a:pt x="73" y="5"/>
                      <a:pt x="72" y="3"/>
                      <a:pt x="69" y="2"/>
                    </a:cubicBezTo>
                    <a:cubicBezTo>
                      <a:pt x="68" y="1"/>
                      <a:pt x="67" y="1"/>
                      <a:pt x="66" y="1"/>
                    </a:cubicBezTo>
                    <a:cubicBezTo>
                      <a:pt x="64" y="1"/>
                      <a:pt x="63" y="3"/>
                      <a:pt x="62" y="5"/>
                    </a:cubicBezTo>
                    <a:cubicBezTo>
                      <a:pt x="60" y="2"/>
                      <a:pt x="60" y="0"/>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257"/>
              <p:cNvSpPr/>
              <p:nvPr/>
            </p:nvSpPr>
            <p:spPr bwMode="auto">
              <a:xfrm>
                <a:off x="5722985" y="6780614"/>
                <a:ext cx="235847" cy="77387"/>
              </a:xfrm>
              <a:custGeom>
                <a:gdLst>
                  <a:gd name="T0" fmla="*/ 24 w 74"/>
                  <a:gd name="T1" fmla="*/ 0 h 24"/>
                  <a:gd name="T2" fmla="*/ 23 w 74"/>
                  <a:gd name="T3" fmla="*/ 0 h 24"/>
                  <a:gd name="T4" fmla="*/ 22 w 74"/>
                  <a:gd name="T5" fmla="*/ 1 h 24"/>
                  <a:gd name="T6" fmla="*/ 0 w 74"/>
                  <a:gd name="T7" fmla="*/ 12 h 24"/>
                  <a:gd name="T8" fmla="*/ 1 w 74"/>
                  <a:gd name="T9" fmla="*/ 17 h 24"/>
                  <a:gd name="T10" fmla="*/ 2 w 74"/>
                  <a:gd name="T11" fmla="*/ 24 h 24"/>
                  <a:gd name="T12" fmla="*/ 74 w 74"/>
                  <a:gd name="T13" fmla="*/ 24 h 24"/>
                  <a:gd name="T14" fmla="*/ 64 w 74"/>
                  <a:gd name="T15" fmla="*/ 20 h 24"/>
                  <a:gd name="T16" fmla="*/ 36 w 74"/>
                  <a:gd name="T17" fmla="*/ 6 h 24"/>
                  <a:gd name="T18" fmla="*/ 27 w 74"/>
                  <a:gd name="T19" fmla="*/ 1 h 24"/>
                  <a:gd name="T20" fmla="*/ 24 w 74"/>
                  <a:gd name="T21"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24">
                    <a:moveTo>
                      <a:pt x="24" y="0"/>
                    </a:moveTo>
                    <a:cubicBezTo>
                      <a:pt x="24" y="0"/>
                      <a:pt x="24" y="0"/>
                      <a:pt x="23" y="0"/>
                    </a:cubicBezTo>
                    <a:cubicBezTo>
                      <a:pt x="22" y="1"/>
                      <a:pt x="22" y="1"/>
                      <a:pt x="22" y="1"/>
                    </a:cubicBezTo>
                    <a:cubicBezTo>
                      <a:pt x="0" y="12"/>
                      <a:pt x="0" y="12"/>
                      <a:pt x="0" y="12"/>
                    </a:cubicBezTo>
                    <a:cubicBezTo>
                      <a:pt x="1" y="17"/>
                      <a:pt x="1" y="17"/>
                      <a:pt x="1" y="17"/>
                    </a:cubicBezTo>
                    <a:cubicBezTo>
                      <a:pt x="1" y="20"/>
                      <a:pt x="2" y="22"/>
                      <a:pt x="2" y="24"/>
                    </a:cubicBezTo>
                    <a:cubicBezTo>
                      <a:pt x="74" y="24"/>
                      <a:pt x="74" y="24"/>
                      <a:pt x="74" y="24"/>
                    </a:cubicBezTo>
                    <a:cubicBezTo>
                      <a:pt x="64" y="20"/>
                      <a:pt x="64" y="20"/>
                      <a:pt x="64" y="20"/>
                    </a:cubicBezTo>
                    <a:cubicBezTo>
                      <a:pt x="55" y="15"/>
                      <a:pt x="46" y="10"/>
                      <a:pt x="36" y="6"/>
                    </a:cubicBezTo>
                    <a:cubicBezTo>
                      <a:pt x="27" y="1"/>
                      <a:pt x="27" y="1"/>
                      <a:pt x="27" y="1"/>
                    </a:cubicBezTo>
                    <a:cubicBezTo>
                      <a:pt x="26" y="1"/>
                      <a:pt x="25"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258"/>
              <p:cNvSpPr/>
              <p:nvPr/>
            </p:nvSpPr>
            <p:spPr bwMode="auto">
              <a:xfrm>
                <a:off x="5302882" y="6776928"/>
                <a:ext cx="405363" cy="81073"/>
              </a:xfrm>
              <a:custGeom>
                <a:gdLst>
                  <a:gd name="T0" fmla="*/ 42 w 127"/>
                  <a:gd name="T1" fmla="*/ 0 h 26"/>
                  <a:gd name="T2" fmla="*/ 0 w 127"/>
                  <a:gd name="T3" fmla="*/ 26 h 26"/>
                  <a:gd name="T4" fmla="*/ 127 w 127"/>
                  <a:gd name="T5" fmla="*/ 26 h 26"/>
                  <a:gd name="T6" fmla="*/ 126 w 127"/>
                  <a:gd name="T7" fmla="*/ 21 h 26"/>
                  <a:gd name="T8" fmla="*/ 125 w 127"/>
                  <a:gd name="T9" fmla="*/ 19 h 26"/>
                  <a:gd name="T10" fmla="*/ 125 w 127"/>
                  <a:gd name="T11" fmla="*/ 17 h 26"/>
                  <a:gd name="T12" fmla="*/ 113 w 127"/>
                  <a:gd name="T13" fmla="*/ 23 h 26"/>
                  <a:gd name="T14" fmla="*/ 107 w 127"/>
                  <a:gd name="T15" fmla="*/ 25 h 26"/>
                  <a:gd name="T16" fmla="*/ 101 w 127"/>
                  <a:gd name="T17" fmla="*/ 23 h 26"/>
                  <a:gd name="T18" fmla="*/ 97 w 127"/>
                  <a:gd name="T19" fmla="*/ 20 h 26"/>
                  <a:gd name="T20" fmla="*/ 97 w 127"/>
                  <a:gd name="T21" fmla="*/ 20 h 26"/>
                  <a:gd name="T22" fmla="*/ 95 w 127"/>
                  <a:gd name="T23" fmla="*/ 18 h 26"/>
                  <a:gd name="T24" fmla="*/ 90 w 127"/>
                  <a:gd name="T25" fmla="*/ 14 h 26"/>
                  <a:gd name="T26" fmla="*/ 82 w 127"/>
                  <a:gd name="T27" fmla="*/ 9 h 26"/>
                  <a:gd name="T28" fmla="*/ 42 w 127"/>
                  <a:gd name="T29"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26">
                    <a:moveTo>
                      <a:pt x="42" y="0"/>
                    </a:moveTo>
                    <a:cubicBezTo>
                      <a:pt x="0" y="26"/>
                      <a:pt x="0" y="26"/>
                      <a:pt x="0" y="26"/>
                    </a:cubicBezTo>
                    <a:cubicBezTo>
                      <a:pt x="127" y="26"/>
                      <a:pt x="127" y="26"/>
                      <a:pt x="127" y="26"/>
                    </a:cubicBezTo>
                    <a:cubicBezTo>
                      <a:pt x="127" y="24"/>
                      <a:pt x="126" y="22"/>
                      <a:pt x="126" y="21"/>
                    </a:cubicBezTo>
                    <a:cubicBezTo>
                      <a:pt x="125" y="19"/>
                      <a:pt x="125" y="19"/>
                      <a:pt x="125" y="19"/>
                    </a:cubicBezTo>
                    <a:cubicBezTo>
                      <a:pt x="125" y="19"/>
                      <a:pt x="125" y="18"/>
                      <a:pt x="125" y="17"/>
                    </a:cubicBezTo>
                    <a:cubicBezTo>
                      <a:pt x="113" y="23"/>
                      <a:pt x="113" y="23"/>
                      <a:pt x="113" y="23"/>
                    </a:cubicBezTo>
                    <a:cubicBezTo>
                      <a:pt x="112" y="24"/>
                      <a:pt x="110" y="25"/>
                      <a:pt x="107" y="25"/>
                    </a:cubicBezTo>
                    <a:cubicBezTo>
                      <a:pt x="105" y="25"/>
                      <a:pt x="103" y="25"/>
                      <a:pt x="101" y="23"/>
                    </a:cubicBezTo>
                    <a:cubicBezTo>
                      <a:pt x="100" y="23"/>
                      <a:pt x="99" y="21"/>
                      <a:pt x="97" y="20"/>
                    </a:cubicBezTo>
                    <a:cubicBezTo>
                      <a:pt x="97" y="20"/>
                      <a:pt x="97" y="20"/>
                      <a:pt x="97" y="20"/>
                    </a:cubicBezTo>
                    <a:cubicBezTo>
                      <a:pt x="96" y="19"/>
                      <a:pt x="96" y="19"/>
                      <a:pt x="95" y="18"/>
                    </a:cubicBezTo>
                    <a:cubicBezTo>
                      <a:pt x="90" y="14"/>
                      <a:pt x="90" y="14"/>
                      <a:pt x="90" y="14"/>
                    </a:cubicBezTo>
                    <a:cubicBezTo>
                      <a:pt x="87" y="11"/>
                      <a:pt x="85" y="10"/>
                      <a:pt x="82" y="9"/>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259"/>
              <p:cNvSpPr/>
              <p:nvPr/>
            </p:nvSpPr>
            <p:spPr bwMode="auto">
              <a:xfrm>
                <a:off x="6596357" y="5973573"/>
                <a:ext cx="983926" cy="884428"/>
              </a:xfrm>
              <a:custGeom>
                <a:gdLst>
                  <a:gd name="T0" fmla="*/ 27 w 310"/>
                  <a:gd name="T1" fmla="*/ 0 h 278"/>
                  <a:gd name="T2" fmla="*/ 11 w 310"/>
                  <a:gd name="T3" fmla="*/ 2 h 278"/>
                  <a:gd name="T4" fmla="*/ 5 w 310"/>
                  <a:gd name="T5" fmla="*/ 8 h 278"/>
                  <a:gd name="T6" fmla="*/ 5 w 310"/>
                  <a:gd name="T7" fmla="*/ 14 h 278"/>
                  <a:gd name="T8" fmla="*/ 6 w 310"/>
                  <a:gd name="T9" fmla="*/ 19 h 278"/>
                  <a:gd name="T10" fmla="*/ 6 w 310"/>
                  <a:gd name="T11" fmla="*/ 35 h 278"/>
                  <a:gd name="T12" fmla="*/ 3 w 310"/>
                  <a:gd name="T13" fmla="*/ 40 h 278"/>
                  <a:gd name="T14" fmla="*/ 1 w 310"/>
                  <a:gd name="T15" fmla="*/ 47 h 278"/>
                  <a:gd name="T16" fmla="*/ 3 w 310"/>
                  <a:gd name="T17" fmla="*/ 55 h 278"/>
                  <a:gd name="T18" fmla="*/ 7 w 310"/>
                  <a:gd name="T19" fmla="*/ 77 h 278"/>
                  <a:gd name="T20" fmla="*/ 8 w 310"/>
                  <a:gd name="T21" fmla="*/ 116 h 278"/>
                  <a:gd name="T22" fmla="*/ 8 w 310"/>
                  <a:gd name="T23" fmla="*/ 278 h 278"/>
                  <a:gd name="T24" fmla="*/ 280 w 310"/>
                  <a:gd name="T25" fmla="*/ 278 h 278"/>
                  <a:gd name="T26" fmla="*/ 281 w 310"/>
                  <a:gd name="T27" fmla="*/ 275 h 278"/>
                  <a:gd name="T28" fmla="*/ 291 w 310"/>
                  <a:gd name="T29" fmla="*/ 264 h 278"/>
                  <a:gd name="T30" fmla="*/ 301 w 310"/>
                  <a:gd name="T31" fmla="*/ 259 h 278"/>
                  <a:gd name="T32" fmla="*/ 306 w 310"/>
                  <a:gd name="T33" fmla="*/ 256 h 278"/>
                  <a:gd name="T34" fmla="*/ 305 w 310"/>
                  <a:gd name="T35" fmla="*/ 253 h 278"/>
                  <a:gd name="T36" fmla="*/ 303 w 310"/>
                  <a:gd name="T37" fmla="*/ 234 h 278"/>
                  <a:gd name="T38" fmla="*/ 306 w 310"/>
                  <a:gd name="T39" fmla="*/ 235 h 278"/>
                  <a:gd name="T40" fmla="*/ 310 w 310"/>
                  <a:gd name="T41" fmla="*/ 235 h 278"/>
                  <a:gd name="T42" fmla="*/ 303 w 310"/>
                  <a:gd name="T43" fmla="*/ 230 h 278"/>
                  <a:gd name="T44" fmla="*/ 264 w 310"/>
                  <a:gd name="T45" fmla="*/ 161 h 278"/>
                  <a:gd name="T46" fmla="*/ 259 w 310"/>
                  <a:gd name="T47" fmla="*/ 153 h 278"/>
                  <a:gd name="T48" fmla="*/ 252 w 310"/>
                  <a:gd name="T49" fmla="*/ 126 h 278"/>
                  <a:gd name="T50" fmla="*/ 241 w 310"/>
                  <a:gd name="T51" fmla="*/ 109 h 278"/>
                  <a:gd name="T52" fmla="*/ 229 w 310"/>
                  <a:gd name="T53" fmla="*/ 94 h 278"/>
                  <a:gd name="T54" fmla="*/ 213 w 310"/>
                  <a:gd name="T55" fmla="*/ 62 h 278"/>
                  <a:gd name="T56" fmla="*/ 218 w 310"/>
                  <a:gd name="T57" fmla="*/ 52 h 278"/>
                  <a:gd name="T58" fmla="*/ 224 w 310"/>
                  <a:gd name="T59" fmla="*/ 67 h 278"/>
                  <a:gd name="T60" fmla="*/ 230 w 310"/>
                  <a:gd name="T61" fmla="*/ 74 h 278"/>
                  <a:gd name="T62" fmla="*/ 239 w 310"/>
                  <a:gd name="T63" fmla="*/ 94 h 278"/>
                  <a:gd name="T64" fmla="*/ 268 w 310"/>
                  <a:gd name="T65" fmla="*/ 120 h 278"/>
                  <a:gd name="T66" fmla="*/ 286 w 310"/>
                  <a:gd name="T67" fmla="*/ 67 h 278"/>
                  <a:gd name="T68" fmla="*/ 266 w 310"/>
                  <a:gd name="T69" fmla="*/ 9 h 278"/>
                  <a:gd name="T70" fmla="*/ 254 w 310"/>
                  <a:gd name="T71" fmla="*/ 14 h 278"/>
                  <a:gd name="T72" fmla="*/ 234 w 310"/>
                  <a:gd name="T73" fmla="*/ 17 h 278"/>
                  <a:gd name="T74" fmla="*/ 232 w 310"/>
                  <a:gd name="T75" fmla="*/ 17 h 278"/>
                  <a:gd name="T76" fmla="*/ 226 w 310"/>
                  <a:gd name="T77" fmla="*/ 17 h 278"/>
                  <a:gd name="T78" fmla="*/ 210 w 310"/>
                  <a:gd name="T79" fmla="*/ 10 h 278"/>
                  <a:gd name="T80" fmla="*/ 198 w 310"/>
                  <a:gd name="T81" fmla="*/ 10 h 278"/>
                  <a:gd name="T82" fmla="*/ 201 w 310"/>
                  <a:gd name="T83" fmla="*/ 2 h 278"/>
                  <a:gd name="T84" fmla="*/ 192 w 310"/>
                  <a:gd name="T85" fmla="*/ 5 h 278"/>
                  <a:gd name="T86" fmla="*/ 176 w 310"/>
                  <a:gd name="T87" fmla="*/ 0 h 278"/>
                  <a:gd name="T88" fmla="*/ 152 w 310"/>
                  <a:gd name="T89" fmla="*/ 10 h 278"/>
                  <a:gd name="T90" fmla="*/ 153 w 310"/>
                  <a:gd name="T91" fmla="*/ 12 h 278"/>
                  <a:gd name="T92" fmla="*/ 150 w 310"/>
                  <a:gd name="T93" fmla="*/ 10 h 278"/>
                  <a:gd name="T94" fmla="*/ 143 w 310"/>
                  <a:gd name="T95" fmla="*/ 14 h 278"/>
                  <a:gd name="T96" fmla="*/ 120 w 310"/>
                  <a:gd name="T97" fmla="*/ 24 h 278"/>
                  <a:gd name="T98" fmla="*/ 91 w 310"/>
                  <a:gd name="T99" fmla="*/ 16 h 278"/>
                  <a:gd name="T100" fmla="*/ 72 w 310"/>
                  <a:gd name="T101" fmla="*/ 10 h 278"/>
                  <a:gd name="T102" fmla="*/ 31 w 310"/>
                  <a:gd name="T103" fmla="*/ 0 h 2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0" h="278">
                    <a:moveTo>
                      <a:pt x="31" y="0"/>
                    </a:moveTo>
                    <a:cubicBezTo>
                      <a:pt x="30" y="0"/>
                      <a:pt x="28" y="0"/>
                      <a:pt x="27" y="0"/>
                    </a:cubicBezTo>
                    <a:cubicBezTo>
                      <a:pt x="24" y="1"/>
                      <a:pt x="18" y="3"/>
                      <a:pt x="14" y="3"/>
                    </a:cubicBezTo>
                    <a:cubicBezTo>
                      <a:pt x="13" y="3"/>
                      <a:pt x="12" y="2"/>
                      <a:pt x="11" y="2"/>
                    </a:cubicBezTo>
                    <a:cubicBezTo>
                      <a:pt x="10" y="3"/>
                      <a:pt x="10" y="3"/>
                      <a:pt x="10" y="3"/>
                    </a:cubicBezTo>
                    <a:cubicBezTo>
                      <a:pt x="7" y="5"/>
                      <a:pt x="6" y="7"/>
                      <a:pt x="5" y="8"/>
                    </a:cubicBezTo>
                    <a:cubicBezTo>
                      <a:pt x="5" y="9"/>
                      <a:pt x="4" y="10"/>
                      <a:pt x="4" y="10"/>
                    </a:cubicBezTo>
                    <a:cubicBezTo>
                      <a:pt x="4" y="10"/>
                      <a:pt x="4" y="12"/>
                      <a:pt x="5" y="14"/>
                    </a:cubicBezTo>
                    <a:cubicBezTo>
                      <a:pt x="5" y="15"/>
                      <a:pt x="5" y="17"/>
                      <a:pt x="6" y="19"/>
                    </a:cubicBezTo>
                    <a:cubicBezTo>
                      <a:pt x="6" y="19"/>
                      <a:pt x="6" y="19"/>
                      <a:pt x="6" y="19"/>
                    </a:cubicBezTo>
                    <a:cubicBezTo>
                      <a:pt x="6" y="21"/>
                      <a:pt x="7" y="22"/>
                      <a:pt x="7" y="24"/>
                    </a:cubicBezTo>
                    <a:cubicBezTo>
                      <a:pt x="7" y="27"/>
                      <a:pt x="8" y="31"/>
                      <a:pt x="6" y="35"/>
                    </a:cubicBezTo>
                    <a:cubicBezTo>
                      <a:pt x="5" y="36"/>
                      <a:pt x="5" y="36"/>
                      <a:pt x="5" y="36"/>
                    </a:cubicBezTo>
                    <a:cubicBezTo>
                      <a:pt x="5" y="38"/>
                      <a:pt x="4" y="39"/>
                      <a:pt x="3" y="40"/>
                    </a:cubicBezTo>
                    <a:cubicBezTo>
                      <a:pt x="2" y="42"/>
                      <a:pt x="0" y="44"/>
                      <a:pt x="0" y="45"/>
                    </a:cubicBezTo>
                    <a:cubicBezTo>
                      <a:pt x="1" y="47"/>
                      <a:pt x="1" y="47"/>
                      <a:pt x="1" y="47"/>
                    </a:cubicBezTo>
                    <a:cubicBezTo>
                      <a:pt x="2" y="49"/>
                      <a:pt x="2" y="51"/>
                      <a:pt x="3" y="53"/>
                    </a:cubicBezTo>
                    <a:cubicBezTo>
                      <a:pt x="3" y="54"/>
                      <a:pt x="3" y="54"/>
                      <a:pt x="3" y="55"/>
                    </a:cubicBezTo>
                    <a:cubicBezTo>
                      <a:pt x="3" y="56"/>
                      <a:pt x="3" y="56"/>
                      <a:pt x="3" y="57"/>
                    </a:cubicBezTo>
                    <a:cubicBezTo>
                      <a:pt x="5" y="63"/>
                      <a:pt x="6" y="70"/>
                      <a:pt x="7" y="77"/>
                    </a:cubicBezTo>
                    <a:cubicBezTo>
                      <a:pt x="7" y="82"/>
                      <a:pt x="7" y="86"/>
                      <a:pt x="8" y="90"/>
                    </a:cubicBezTo>
                    <a:cubicBezTo>
                      <a:pt x="8" y="99"/>
                      <a:pt x="8" y="107"/>
                      <a:pt x="8" y="116"/>
                    </a:cubicBezTo>
                    <a:cubicBezTo>
                      <a:pt x="8" y="128"/>
                      <a:pt x="8" y="128"/>
                      <a:pt x="8" y="128"/>
                    </a:cubicBezTo>
                    <a:cubicBezTo>
                      <a:pt x="8" y="278"/>
                      <a:pt x="8" y="278"/>
                      <a:pt x="8" y="278"/>
                    </a:cubicBezTo>
                    <a:cubicBezTo>
                      <a:pt x="280" y="278"/>
                      <a:pt x="280" y="278"/>
                      <a:pt x="280" y="278"/>
                    </a:cubicBezTo>
                    <a:cubicBezTo>
                      <a:pt x="280" y="278"/>
                      <a:pt x="280" y="278"/>
                      <a:pt x="280" y="278"/>
                    </a:cubicBezTo>
                    <a:cubicBezTo>
                      <a:pt x="280" y="278"/>
                      <a:pt x="280" y="277"/>
                      <a:pt x="281" y="276"/>
                    </a:cubicBezTo>
                    <a:cubicBezTo>
                      <a:pt x="281" y="275"/>
                      <a:pt x="281" y="275"/>
                      <a:pt x="281" y="275"/>
                    </a:cubicBezTo>
                    <a:cubicBezTo>
                      <a:pt x="282" y="272"/>
                      <a:pt x="284" y="268"/>
                      <a:pt x="287" y="265"/>
                    </a:cubicBezTo>
                    <a:cubicBezTo>
                      <a:pt x="288" y="265"/>
                      <a:pt x="289" y="264"/>
                      <a:pt x="291" y="264"/>
                    </a:cubicBezTo>
                    <a:cubicBezTo>
                      <a:pt x="292" y="263"/>
                      <a:pt x="294" y="262"/>
                      <a:pt x="296" y="261"/>
                    </a:cubicBezTo>
                    <a:cubicBezTo>
                      <a:pt x="298" y="260"/>
                      <a:pt x="299" y="260"/>
                      <a:pt x="301" y="259"/>
                    </a:cubicBezTo>
                    <a:cubicBezTo>
                      <a:pt x="302" y="258"/>
                      <a:pt x="302" y="258"/>
                      <a:pt x="303" y="257"/>
                    </a:cubicBezTo>
                    <a:cubicBezTo>
                      <a:pt x="304" y="257"/>
                      <a:pt x="305" y="256"/>
                      <a:pt x="306" y="256"/>
                    </a:cubicBezTo>
                    <a:cubicBezTo>
                      <a:pt x="306" y="256"/>
                      <a:pt x="306" y="256"/>
                      <a:pt x="306" y="256"/>
                    </a:cubicBezTo>
                    <a:cubicBezTo>
                      <a:pt x="306" y="255"/>
                      <a:pt x="306" y="254"/>
                      <a:pt x="305" y="253"/>
                    </a:cubicBezTo>
                    <a:cubicBezTo>
                      <a:pt x="305" y="249"/>
                      <a:pt x="304" y="246"/>
                      <a:pt x="304" y="242"/>
                    </a:cubicBezTo>
                    <a:cubicBezTo>
                      <a:pt x="303" y="241"/>
                      <a:pt x="302" y="235"/>
                      <a:pt x="303" y="234"/>
                    </a:cubicBezTo>
                    <a:cubicBezTo>
                      <a:pt x="304" y="234"/>
                      <a:pt x="304" y="234"/>
                      <a:pt x="304" y="234"/>
                    </a:cubicBezTo>
                    <a:cubicBezTo>
                      <a:pt x="305" y="234"/>
                      <a:pt x="305" y="234"/>
                      <a:pt x="306" y="235"/>
                    </a:cubicBezTo>
                    <a:cubicBezTo>
                      <a:pt x="307" y="235"/>
                      <a:pt x="308" y="235"/>
                      <a:pt x="309" y="235"/>
                    </a:cubicBezTo>
                    <a:cubicBezTo>
                      <a:pt x="310" y="235"/>
                      <a:pt x="310" y="235"/>
                      <a:pt x="310" y="235"/>
                    </a:cubicBezTo>
                    <a:cubicBezTo>
                      <a:pt x="309" y="234"/>
                      <a:pt x="305" y="230"/>
                      <a:pt x="303" y="230"/>
                    </a:cubicBezTo>
                    <a:cubicBezTo>
                      <a:pt x="303" y="230"/>
                      <a:pt x="303" y="230"/>
                      <a:pt x="303" y="230"/>
                    </a:cubicBezTo>
                    <a:cubicBezTo>
                      <a:pt x="299" y="224"/>
                      <a:pt x="294" y="219"/>
                      <a:pt x="291" y="213"/>
                    </a:cubicBezTo>
                    <a:cubicBezTo>
                      <a:pt x="282" y="196"/>
                      <a:pt x="273" y="178"/>
                      <a:pt x="264" y="161"/>
                    </a:cubicBezTo>
                    <a:cubicBezTo>
                      <a:pt x="263" y="158"/>
                      <a:pt x="261" y="156"/>
                      <a:pt x="260" y="154"/>
                    </a:cubicBezTo>
                    <a:cubicBezTo>
                      <a:pt x="260" y="153"/>
                      <a:pt x="259" y="154"/>
                      <a:pt x="259" y="153"/>
                    </a:cubicBezTo>
                    <a:cubicBezTo>
                      <a:pt x="259" y="151"/>
                      <a:pt x="260" y="150"/>
                      <a:pt x="260" y="148"/>
                    </a:cubicBezTo>
                    <a:cubicBezTo>
                      <a:pt x="261" y="141"/>
                      <a:pt x="255" y="132"/>
                      <a:pt x="252" y="126"/>
                    </a:cubicBezTo>
                    <a:cubicBezTo>
                      <a:pt x="251" y="123"/>
                      <a:pt x="250" y="118"/>
                      <a:pt x="248" y="116"/>
                    </a:cubicBezTo>
                    <a:cubicBezTo>
                      <a:pt x="246" y="114"/>
                      <a:pt x="243" y="112"/>
                      <a:pt x="241" y="109"/>
                    </a:cubicBezTo>
                    <a:cubicBezTo>
                      <a:pt x="239" y="107"/>
                      <a:pt x="238" y="106"/>
                      <a:pt x="236" y="104"/>
                    </a:cubicBezTo>
                    <a:cubicBezTo>
                      <a:pt x="234" y="101"/>
                      <a:pt x="231" y="97"/>
                      <a:pt x="229" y="94"/>
                    </a:cubicBezTo>
                    <a:cubicBezTo>
                      <a:pt x="226" y="90"/>
                      <a:pt x="224" y="83"/>
                      <a:pt x="223" y="78"/>
                    </a:cubicBezTo>
                    <a:cubicBezTo>
                      <a:pt x="221" y="73"/>
                      <a:pt x="214" y="67"/>
                      <a:pt x="213" y="62"/>
                    </a:cubicBezTo>
                    <a:cubicBezTo>
                      <a:pt x="213" y="60"/>
                      <a:pt x="215" y="59"/>
                      <a:pt x="216" y="57"/>
                    </a:cubicBezTo>
                    <a:cubicBezTo>
                      <a:pt x="217" y="55"/>
                      <a:pt x="216" y="53"/>
                      <a:pt x="218" y="52"/>
                    </a:cubicBezTo>
                    <a:cubicBezTo>
                      <a:pt x="218" y="51"/>
                      <a:pt x="218" y="51"/>
                      <a:pt x="219" y="51"/>
                    </a:cubicBezTo>
                    <a:cubicBezTo>
                      <a:pt x="222" y="51"/>
                      <a:pt x="224" y="65"/>
                      <a:pt x="224" y="67"/>
                    </a:cubicBezTo>
                    <a:cubicBezTo>
                      <a:pt x="224" y="66"/>
                      <a:pt x="224" y="66"/>
                      <a:pt x="224" y="66"/>
                    </a:cubicBezTo>
                    <a:cubicBezTo>
                      <a:pt x="226" y="69"/>
                      <a:pt x="227" y="72"/>
                      <a:pt x="230" y="74"/>
                    </a:cubicBezTo>
                    <a:cubicBezTo>
                      <a:pt x="232" y="76"/>
                      <a:pt x="236" y="79"/>
                      <a:pt x="237" y="81"/>
                    </a:cubicBezTo>
                    <a:cubicBezTo>
                      <a:pt x="239" y="85"/>
                      <a:pt x="238" y="91"/>
                      <a:pt x="239" y="94"/>
                    </a:cubicBezTo>
                    <a:cubicBezTo>
                      <a:pt x="240" y="97"/>
                      <a:pt x="243" y="99"/>
                      <a:pt x="245" y="101"/>
                    </a:cubicBezTo>
                    <a:cubicBezTo>
                      <a:pt x="253" y="109"/>
                      <a:pt x="257" y="116"/>
                      <a:pt x="268" y="120"/>
                    </a:cubicBezTo>
                    <a:cubicBezTo>
                      <a:pt x="268" y="120"/>
                      <a:pt x="268" y="119"/>
                      <a:pt x="268" y="118"/>
                    </a:cubicBezTo>
                    <a:cubicBezTo>
                      <a:pt x="274" y="101"/>
                      <a:pt x="280" y="84"/>
                      <a:pt x="286" y="67"/>
                    </a:cubicBezTo>
                    <a:cubicBezTo>
                      <a:pt x="267" y="10"/>
                      <a:pt x="267" y="10"/>
                      <a:pt x="267" y="10"/>
                    </a:cubicBezTo>
                    <a:cubicBezTo>
                      <a:pt x="267" y="9"/>
                      <a:pt x="267" y="9"/>
                      <a:pt x="266" y="9"/>
                    </a:cubicBezTo>
                    <a:cubicBezTo>
                      <a:pt x="266" y="9"/>
                      <a:pt x="266" y="9"/>
                      <a:pt x="266" y="9"/>
                    </a:cubicBezTo>
                    <a:cubicBezTo>
                      <a:pt x="262" y="11"/>
                      <a:pt x="258" y="12"/>
                      <a:pt x="254" y="14"/>
                    </a:cubicBezTo>
                    <a:cubicBezTo>
                      <a:pt x="252" y="15"/>
                      <a:pt x="251" y="15"/>
                      <a:pt x="249" y="15"/>
                    </a:cubicBezTo>
                    <a:cubicBezTo>
                      <a:pt x="244" y="16"/>
                      <a:pt x="239" y="17"/>
                      <a:pt x="234" y="17"/>
                    </a:cubicBezTo>
                    <a:cubicBezTo>
                      <a:pt x="233" y="17"/>
                      <a:pt x="233" y="17"/>
                      <a:pt x="233" y="17"/>
                    </a:cubicBezTo>
                    <a:cubicBezTo>
                      <a:pt x="232" y="17"/>
                      <a:pt x="232" y="17"/>
                      <a:pt x="232" y="17"/>
                    </a:cubicBezTo>
                    <a:cubicBezTo>
                      <a:pt x="231" y="17"/>
                      <a:pt x="230" y="17"/>
                      <a:pt x="229" y="17"/>
                    </a:cubicBezTo>
                    <a:cubicBezTo>
                      <a:pt x="228" y="17"/>
                      <a:pt x="227" y="17"/>
                      <a:pt x="226" y="17"/>
                    </a:cubicBezTo>
                    <a:cubicBezTo>
                      <a:pt x="223" y="17"/>
                      <a:pt x="221" y="17"/>
                      <a:pt x="220" y="16"/>
                    </a:cubicBezTo>
                    <a:cubicBezTo>
                      <a:pt x="217" y="14"/>
                      <a:pt x="213" y="10"/>
                      <a:pt x="210" y="10"/>
                    </a:cubicBezTo>
                    <a:cubicBezTo>
                      <a:pt x="215" y="12"/>
                      <a:pt x="210" y="16"/>
                      <a:pt x="208" y="16"/>
                    </a:cubicBezTo>
                    <a:cubicBezTo>
                      <a:pt x="206" y="15"/>
                      <a:pt x="198" y="12"/>
                      <a:pt x="198" y="10"/>
                    </a:cubicBezTo>
                    <a:cubicBezTo>
                      <a:pt x="198" y="9"/>
                      <a:pt x="201" y="3"/>
                      <a:pt x="201" y="2"/>
                    </a:cubicBezTo>
                    <a:cubicBezTo>
                      <a:pt x="201" y="2"/>
                      <a:pt x="201" y="2"/>
                      <a:pt x="201" y="2"/>
                    </a:cubicBezTo>
                    <a:cubicBezTo>
                      <a:pt x="198" y="2"/>
                      <a:pt x="195" y="4"/>
                      <a:pt x="193" y="4"/>
                    </a:cubicBezTo>
                    <a:cubicBezTo>
                      <a:pt x="193" y="5"/>
                      <a:pt x="192" y="5"/>
                      <a:pt x="192" y="5"/>
                    </a:cubicBezTo>
                    <a:cubicBezTo>
                      <a:pt x="189" y="5"/>
                      <a:pt x="184" y="2"/>
                      <a:pt x="181" y="1"/>
                    </a:cubicBezTo>
                    <a:cubicBezTo>
                      <a:pt x="179" y="1"/>
                      <a:pt x="178" y="0"/>
                      <a:pt x="176" y="0"/>
                    </a:cubicBezTo>
                    <a:cubicBezTo>
                      <a:pt x="175" y="0"/>
                      <a:pt x="174" y="0"/>
                      <a:pt x="173" y="1"/>
                    </a:cubicBezTo>
                    <a:cubicBezTo>
                      <a:pt x="164" y="3"/>
                      <a:pt x="158" y="4"/>
                      <a:pt x="152" y="10"/>
                    </a:cubicBezTo>
                    <a:cubicBezTo>
                      <a:pt x="153" y="10"/>
                      <a:pt x="154" y="11"/>
                      <a:pt x="155" y="11"/>
                    </a:cubicBezTo>
                    <a:cubicBezTo>
                      <a:pt x="154" y="12"/>
                      <a:pt x="153" y="12"/>
                      <a:pt x="153" y="12"/>
                    </a:cubicBezTo>
                    <a:cubicBezTo>
                      <a:pt x="153" y="12"/>
                      <a:pt x="153" y="12"/>
                      <a:pt x="153" y="12"/>
                    </a:cubicBezTo>
                    <a:cubicBezTo>
                      <a:pt x="152" y="12"/>
                      <a:pt x="151" y="10"/>
                      <a:pt x="150" y="10"/>
                    </a:cubicBezTo>
                    <a:cubicBezTo>
                      <a:pt x="149" y="10"/>
                      <a:pt x="149" y="10"/>
                      <a:pt x="149" y="10"/>
                    </a:cubicBezTo>
                    <a:cubicBezTo>
                      <a:pt x="147" y="11"/>
                      <a:pt x="145" y="13"/>
                      <a:pt x="143" y="14"/>
                    </a:cubicBezTo>
                    <a:cubicBezTo>
                      <a:pt x="137" y="18"/>
                      <a:pt x="129" y="23"/>
                      <a:pt x="121" y="24"/>
                    </a:cubicBezTo>
                    <a:cubicBezTo>
                      <a:pt x="120" y="24"/>
                      <a:pt x="120" y="24"/>
                      <a:pt x="120" y="24"/>
                    </a:cubicBezTo>
                    <a:cubicBezTo>
                      <a:pt x="116" y="24"/>
                      <a:pt x="115" y="21"/>
                      <a:pt x="112" y="20"/>
                    </a:cubicBezTo>
                    <a:cubicBezTo>
                      <a:pt x="106" y="17"/>
                      <a:pt x="98" y="17"/>
                      <a:pt x="91" y="16"/>
                    </a:cubicBezTo>
                    <a:cubicBezTo>
                      <a:pt x="87" y="16"/>
                      <a:pt x="83" y="14"/>
                      <a:pt x="78" y="13"/>
                    </a:cubicBezTo>
                    <a:cubicBezTo>
                      <a:pt x="76" y="12"/>
                      <a:pt x="74" y="11"/>
                      <a:pt x="72" y="10"/>
                    </a:cubicBezTo>
                    <a:cubicBezTo>
                      <a:pt x="66" y="7"/>
                      <a:pt x="57" y="6"/>
                      <a:pt x="50" y="4"/>
                    </a:cubicBezTo>
                    <a:cubicBezTo>
                      <a:pt x="44" y="2"/>
                      <a:pt x="37"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260"/>
              <p:cNvSpPr/>
              <p:nvPr/>
            </p:nvSpPr>
            <p:spPr bwMode="auto">
              <a:xfrm>
                <a:off x="7506581" y="6806409"/>
                <a:ext cx="114239" cy="51592"/>
              </a:xfrm>
              <a:custGeom>
                <a:gdLst>
                  <a:gd name="T0" fmla="*/ 22 w 36"/>
                  <a:gd name="T1" fmla="*/ 0 h 16"/>
                  <a:gd name="T2" fmla="*/ 20 w 36"/>
                  <a:gd name="T3" fmla="*/ 1 h 16"/>
                  <a:gd name="T4" fmla="*/ 20 w 36"/>
                  <a:gd name="T5" fmla="*/ 1 h 16"/>
                  <a:gd name="T6" fmla="*/ 17 w 36"/>
                  <a:gd name="T7" fmla="*/ 3 h 16"/>
                  <a:gd name="T8" fmla="*/ 12 w 36"/>
                  <a:gd name="T9" fmla="*/ 5 h 16"/>
                  <a:gd name="T10" fmla="*/ 12 w 36"/>
                  <a:gd name="T11" fmla="*/ 6 h 16"/>
                  <a:gd name="T12" fmla="*/ 7 w 36"/>
                  <a:gd name="T13" fmla="*/ 8 h 16"/>
                  <a:gd name="T14" fmla="*/ 6 w 36"/>
                  <a:gd name="T15" fmla="*/ 8 h 16"/>
                  <a:gd name="T16" fmla="*/ 4 w 36"/>
                  <a:gd name="T17" fmla="*/ 9 h 16"/>
                  <a:gd name="T18" fmla="*/ 0 w 36"/>
                  <a:gd name="T19" fmla="*/ 16 h 16"/>
                  <a:gd name="T20" fmla="*/ 0 w 36"/>
                  <a:gd name="T21" fmla="*/ 16 h 16"/>
                  <a:gd name="T22" fmla="*/ 36 w 36"/>
                  <a:gd name="T23" fmla="*/ 16 h 16"/>
                  <a:gd name="T24" fmla="*/ 31 w 36"/>
                  <a:gd name="T25" fmla="*/ 12 h 16"/>
                  <a:gd name="T26" fmla="*/ 22 w 36"/>
                  <a:gd name="T27"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6">
                    <a:moveTo>
                      <a:pt x="22" y="0"/>
                    </a:moveTo>
                    <a:cubicBezTo>
                      <a:pt x="21" y="1"/>
                      <a:pt x="21" y="1"/>
                      <a:pt x="20" y="1"/>
                    </a:cubicBezTo>
                    <a:cubicBezTo>
                      <a:pt x="20" y="1"/>
                      <a:pt x="20" y="1"/>
                      <a:pt x="20" y="1"/>
                    </a:cubicBezTo>
                    <a:cubicBezTo>
                      <a:pt x="19" y="2"/>
                      <a:pt x="18" y="2"/>
                      <a:pt x="17" y="3"/>
                    </a:cubicBezTo>
                    <a:cubicBezTo>
                      <a:pt x="15" y="4"/>
                      <a:pt x="14" y="5"/>
                      <a:pt x="12" y="5"/>
                    </a:cubicBezTo>
                    <a:cubicBezTo>
                      <a:pt x="12" y="6"/>
                      <a:pt x="12" y="6"/>
                      <a:pt x="12" y="6"/>
                    </a:cubicBezTo>
                    <a:cubicBezTo>
                      <a:pt x="10" y="6"/>
                      <a:pt x="8" y="7"/>
                      <a:pt x="7" y="8"/>
                    </a:cubicBezTo>
                    <a:cubicBezTo>
                      <a:pt x="6" y="8"/>
                      <a:pt x="6" y="8"/>
                      <a:pt x="6" y="8"/>
                    </a:cubicBezTo>
                    <a:cubicBezTo>
                      <a:pt x="6" y="8"/>
                      <a:pt x="4" y="9"/>
                      <a:pt x="4" y="9"/>
                    </a:cubicBezTo>
                    <a:cubicBezTo>
                      <a:pt x="3" y="10"/>
                      <a:pt x="1" y="13"/>
                      <a:pt x="0" y="16"/>
                    </a:cubicBezTo>
                    <a:cubicBezTo>
                      <a:pt x="0" y="16"/>
                      <a:pt x="0" y="16"/>
                      <a:pt x="0" y="16"/>
                    </a:cubicBezTo>
                    <a:cubicBezTo>
                      <a:pt x="36" y="16"/>
                      <a:pt x="36" y="16"/>
                      <a:pt x="36" y="16"/>
                    </a:cubicBezTo>
                    <a:cubicBezTo>
                      <a:pt x="35" y="15"/>
                      <a:pt x="33" y="13"/>
                      <a:pt x="31" y="12"/>
                    </a:cubicBezTo>
                    <a:cubicBezTo>
                      <a:pt x="29" y="10"/>
                      <a:pt x="25" y="5"/>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261"/>
              <p:cNvSpPr/>
              <p:nvPr/>
            </p:nvSpPr>
            <p:spPr bwMode="auto">
              <a:xfrm>
                <a:off x="3773559" y="6633209"/>
                <a:ext cx="468010" cy="224792"/>
              </a:xfrm>
              <a:custGeom>
                <a:gdLst>
                  <a:gd name="T0" fmla="*/ 44 w 147"/>
                  <a:gd name="T1" fmla="*/ 0 h 71"/>
                  <a:gd name="T2" fmla="*/ 0 w 147"/>
                  <a:gd name="T3" fmla="*/ 0 h 71"/>
                  <a:gd name="T4" fmla="*/ 3 w 147"/>
                  <a:gd name="T5" fmla="*/ 22 h 71"/>
                  <a:gd name="T6" fmla="*/ 3 w 147"/>
                  <a:gd name="T7" fmla="*/ 27 h 71"/>
                  <a:gd name="T8" fmla="*/ 4 w 147"/>
                  <a:gd name="T9" fmla="*/ 36 h 71"/>
                  <a:gd name="T10" fmla="*/ 9 w 147"/>
                  <a:gd name="T11" fmla="*/ 71 h 71"/>
                  <a:gd name="T12" fmla="*/ 147 w 147"/>
                  <a:gd name="T13" fmla="*/ 71 h 71"/>
                  <a:gd name="T14" fmla="*/ 129 w 147"/>
                  <a:gd name="T15" fmla="*/ 58 h 71"/>
                  <a:gd name="T16" fmla="*/ 96 w 147"/>
                  <a:gd name="T17" fmla="*/ 35 h 71"/>
                  <a:gd name="T18" fmla="*/ 89 w 147"/>
                  <a:gd name="T19" fmla="*/ 30 h 71"/>
                  <a:gd name="T20" fmla="*/ 67 w 147"/>
                  <a:gd name="T21" fmla="*/ 15 h 71"/>
                  <a:gd name="T22" fmla="*/ 65 w 147"/>
                  <a:gd name="T23" fmla="*/ 14 h 71"/>
                  <a:gd name="T24" fmla="*/ 58 w 147"/>
                  <a:gd name="T25" fmla="*/ 9 h 71"/>
                  <a:gd name="T26" fmla="*/ 52 w 147"/>
                  <a:gd name="T27" fmla="*/ 5 h 71"/>
                  <a:gd name="T28" fmla="*/ 44 w 147"/>
                  <a:gd name="T29" fmla="*/ 0 h 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71">
                    <a:moveTo>
                      <a:pt x="44" y="0"/>
                    </a:moveTo>
                    <a:cubicBezTo>
                      <a:pt x="0" y="0"/>
                      <a:pt x="0" y="0"/>
                      <a:pt x="0" y="0"/>
                    </a:cubicBezTo>
                    <a:cubicBezTo>
                      <a:pt x="3" y="22"/>
                      <a:pt x="3" y="22"/>
                      <a:pt x="3" y="22"/>
                    </a:cubicBezTo>
                    <a:cubicBezTo>
                      <a:pt x="3" y="24"/>
                      <a:pt x="3" y="25"/>
                      <a:pt x="3" y="27"/>
                    </a:cubicBezTo>
                    <a:cubicBezTo>
                      <a:pt x="4" y="36"/>
                      <a:pt x="4" y="36"/>
                      <a:pt x="4" y="36"/>
                    </a:cubicBezTo>
                    <a:cubicBezTo>
                      <a:pt x="6" y="48"/>
                      <a:pt x="7" y="59"/>
                      <a:pt x="9" y="71"/>
                    </a:cubicBezTo>
                    <a:cubicBezTo>
                      <a:pt x="147" y="71"/>
                      <a:pt x="147" y="71"/>
                      <a:pt x="147" y="71"/>
                    </a:cubicBezTo>
                    <a:cubicBezTo>
                      <a:pt x="141" y="67"/>
                      <a:pt x="135" y="62"/>
                      <a:pt x="129" y="58"/>
                    </a:cubicBezTo>
                    <a:cubicBezTo>
                      <a:pt x="118" y="51"/>
                      <a:pt x="107" y="43"/>
                      <a:pt x="96" y="35"/>
                    </a:cubicBezTo>
                    <a:cubicBezTo>
                      <a:pt x="89" y="30"/>
                      <a:pt x="89" y="30"/>
                      <a:pt x="89" y="30"/>
                    </a:cubicBezTo>
                    <a:cubicBezTo>
                      <a:pt x="82" y="25"/>
                      <a:pt x="74" y="20"/>
                      <a:pt x="67" y="15"/>
                    </a:cubicBezTo>
                    <a:cubicBezTo>
                      <a:pt x="65" y="14"/>
                      <a:pt x="65" y="14"/>
                      <a:pt x="65" y="14"/>
                    </a:cubicBezTo>
                    <a:cubicBezTo>
                      <a:pt x="63" y="13"/>
                      <a:pt x="61" y="11"/>
                      <a:pt x="58" y="9"/>
                    </a:cubicBezTo>
                    <a:cubicBezTo>
                      <a:pt x="52" y="5"/>
                      <a:pt x="52" y="5"/>
                      <a:pt x="52" y="5"/>
                    </a:cubicBezTo>
                    <a:cubicBezTo>
                      <a:pt x="49" y="3"/>
                      <a:pt x="47" y="1"/>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262"/>
              <p:cNvSpPr/>
              <p:nvPr/>
            </p:nvSpPr>
            <p:spPr bwMode="auto">
              <a:xfrm flipH="1">
                <a:off x="4016777" y="6028850"/>
                <a:ext cx="0" cy="3685"/>
              </a:xfrm>
              <a:custGeom>
                <a:gdLst>
                  <a:gd name="T0" fmla="*/ 0 h 1"/>
                  <a:gd name="T1" fmla="*/ 0 h 1"/>
                  <a:gd name="T2" fmla="*/ 1 h 1"/>
                  <a:gd name="T3" fmla="*/ 0 h 1"/>
                  <a:gd name="T4" fmla="*/ 0 h 1"/>
                </a:gdLst>
                <a:cxnLst>
                  <a:cxn ang="0">
                    <a:pos x="0" y="T0"/>
                  </a:cxn>
                  <a:cxn ang="0">
                    <a:pos x="0" y="T1"/>
                  </a:cxn>
                  <a:cxn ang="0">
                    <a:pos x="0" y="T2"/>
                  </a:cxn>
                  <a:cxn ang="0">
                    <a:pos x="0" y="T3"/>
                  </a:cxn>
                  <a:cxn ang="0">
                    <a:pos x="0" y="T4"/>
                  </a:cxn>
                </a:cxnLst>
                <a:rect l="0" t="0" r="r" b="b"/>
                <a:pathLst>
                  <a:path h="1">
                    <a:moveTo>
                      <a:pt x="0" y="0"/>
                    </a:moveTo>
                    <a:lnTo>
                      <a:pt x="0" y="0"/>
                    </a:ln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263"/>
              <p:cNvSpPr/>
              <p:nvPr/>
            </p:nvSpPr>
            <p:spPr bwMode="auto">
              <a:xfrm flipH="1">
                <a:off x="4016777" y="6028850"/>
                <a:ext cx="0" cy="3685"/>
              </a:xfrm>
              <a:custGeom>
                <a:gdLst>
                  <a:gd name="T0" fmla="*/ 0 h 1"/>
                  <a:gd name="T1" fmla="*/ 0 h 1"/>
                  <a:gd name="T2" fmla="*/ 1 h 1"/>
                  <a:gd name="T3" fmla="*/ 0 h 1"/>
                  <a:gd name="T4" fmla="*/ 0 h 1"/>
                </a:gdLst>
                <a:cxnLst>
                  <a:cxn ang="0">
                    <a:pos x="0" y="T0"/>
                  </a:cxn>
                  <a:cxn ang="0">
                    <a:pos x="0" y="T1"/>
                  </a:cxn>
                  <a:cxn ang="0">
                    <a:pos x="0" y="T2"/>
                  </a:cxn>
                  <a:cxn ang="0">
                    <a:pos x="0" y="T3"/>
                  </a:cxn>
                  <a:cxn ang="0">
                    <a:pos x="0" y="T4"/>
                  </a:cxn>
                </a:cxnLst>
                <a:rect l="0" t="0" r="r" b="b"/>
                <a:pathLst>
                  <a:path h="1">
                    <a:moveTo>
                      <a:pt x="0" y="0"/>
                    </a:moveTo>
                    <a:lnTo>
                      <a:pt x="0" y="0"/>
                    </a:lnTo>
                    <a:lnTo>
                      <a:pt x="0" y="1"/>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264"/>
              <p:cNvSpPr/>
              <p:nvPr/>
            </p:nvSpPr>
            <p:spPr bwMode="auto">
              <a:xfrm>
                <a:off x="3176570" y="5538730"/>
                <a:ext cx="1072369" cy="810725"/>
              </a:xfrm>
              <a:custGeom>
                <a:gdLst>
                  <a:gd name="T0" fmla="*/ 202 w 337"/>
                  <a:gd name="T1" fmla="*/ 6 h 256"/>
                  <a:gd name="T2" fmla="*/ 163 w 337"/>
                  <a:gd name="T3" fmla="*/ 70 h 256"/>
                  <a:gd name="T4" fmla="*/ 143 w 337"/>
                  <a:gd name="T5" fmla="*/ 79 h 256"/>
                  <a:gd name="T6" fmla="*/ 107 w 337"/>
                  <a:gd name="T7" fmla="*/ 108 h 256"/>
                  <a:gd name="T8" fmla="*/ 93 w 337"/>
                  <a:gd name="T9" fmla="*/ 148 h 256"/>
                  <a:gd name="T10" fmla="*/ 91 w 337"/>
                  <a:gd name="T11" fmla="*/ 168 h 256"/>
                  <a:gd name="T12" fmla="*/ 97 w 337"/>
                  <a:gd name="T13" fmla="*/ 184 h 256"/>
                  <a:gd name="T14" fmla="*/ 37 w 337"/>
                  <a:gd name="T15" fmla="*/ 243 h 256"/>
                  <a:gd name="T16" fmla="*/ 3 w 337"/>
                  <a:gd name="T17" fmla="*/ 252 h 256"/>
                  <a:gd name="T18" fmla="*/ 121 w 337"/>
                  <a:gd name="T19" fmla="*/ 230 h 256"/>
                  <a:gd name="T20" fmla="*/ 131 w 337"/>
                  <a:gd name="T21" fmla="*/ 219 h 256"/>
                  <a:gd name="T22" fmla="*/ 139 w 337"/>
                  <a:gd name="T23" fmla="*/ 214 h 256"/>
                  <a:gd name="T24" fmla="*/ 161 w 337"/>
                  <a:gd name="T25" fmla="*/ 201 h 256"/>
                  <a:gd name="T26" fmla="*/ 176 w 337"/>
                  <a:gd name="T27" fmla="*/ 197 h 256"/>
                  <a:gd name="T28" fmla="*/ 182 w 337"/>
                  <a:gd name="T29" fmla="*/ 198 h 256"/>
                  <a:gd name="T30" fmla="*/ 183 w 337"/>
                  <a:gd name="T31" fmla="*/ 194 h 256"/>
                  <a:gd name="T32" fmla="*/ 189 w 337"/>
                  <a:gd name="T33" fmla="*/ 190 h 256"/>
                  <a:gd name="T34" fmla="*/ 213 w 337"/>
                  <a:gd name="T35" fmla="*/ 187 h 256"/>
                  <a:gd name="T36" fmla="*/ 222 w 337"/>
                  <a:gd name="T37" fmla="*/ 180 h 256"/>
                  <a:gd name="T38" fmla="*/ 231 w 337"/>
                  <a:gd name="T39" fmla="*/ 171 h 256"/>
                  <a:gd name="T40" fmla="*/ 264 w 337"/>
                  <a:gd name="T41" fmla="*/ 156 h 256"/>
                  <a:gd name="T42" fmla="*/ 261 w 337"/>
                  <a:gd name="T43" fmla="*/ 145 h 256"/>
                  <a:gd name="T44" fmla="*/ 259 w 337"/>
                  <a:gd name="T45" fmla="*/ 141 h 256"/>
                  <a:gd name="T46" fmla="*/ 265 w 337"/>
                  <a:gd name="T47" fmla="*/ 131 h 256"/>
                  <a:gd name="T48" fmla="*/ 271 w 337"/>
                  <a:gd name="T49" fmla="*/ 132 h 256"/>
                  <a:gd name="T50" fmla="*/ 282 w 337"/>
                  <a:gd name="T51" fmla="*/ 128 h 256"/>
                  <a:gd name="T52" fmla="*/ 296 w 337"/>
                  <a:gd name="T53" fmla="*/ 118 h 256"/>
                  <a:gd name="T54" fmla="*/ 310 w 337"/>
                  <a:gd name="T55" fmla="*/ 117 h 256"/>
                  <a:gd name="T56" fmla="*/ 326 w 337"/>
                  <a:gd name="T57" fmla="*/ 119 h 256"/>
                  <a:gd name="T58" fmla="*/ 336 w 337"/>
                  <a:gd name="T59" fmla="*/ 111 h 256"/>
                  <a:gd name="T60" fmla="*/ 330 w 337"/>
                  <a:gd name="T61" fmla="*/ 102 h 256"/>
                  <a:gd name="T62" fmla="*/ 320 w 337"/>
                  <a:gd name="T63" fmla="*/ 66 h 256"/>
                  <a:gd name="T64" fmla="*/ 318 w 337"/>
                  <a:gd name="T65" fmla="*/ 49 h 256"/>
                  <a:gd name="T66" fmla="*/ 315 w 337"/>
                  <a:gd name="T67" fmla="*/ 42 h 256"/>
                  <a:gd name="T68" fmla="*/ 315 w 337"/>
                  <a:gd name="T69" fmla="*/ 38 h 256"/>
                  <a:gd name="T70" fmla="*/ 312 w 337"/>
                  <a:gd name="T71" fmla="*/ 35 h 256"/>
                  <a:gd name="T72" fmla="*/ 307 w 337"/>
                  <a:gd name="T73" fmla="*/ 30 h 256"/>
                  <a:gd name="T74" fmla="*/ 304 w 337"/>
                  <a:gd name="T75" fmla="*/ 28 h 256"/>
                  <a:gd name="T76" fmla="*/ 289 w 337"/>
                  <a:gd name="T77" fmla="*/ 22 h 256"/>
                  <a:gd name="T78" fmla="*/ 285 w 337"/>
                  <a:gd name="T79" fmla="*/ 17 h 256"/>
                  <a:gd name="T80" fmla="*/ 244 w 337"/>
                  <a:gd name="T81" fmla="*/ 24 h 256"/>
                  <a:gd name="T82" fmla="*/ 225 w 337"/>
                  <a:gd name="T83" fmla="*/ 12 h 256"/>
                  <a:gd name="T84" fmla="*/ 221 w 337"/>
                  <a:gd name="T85" fmla="*/ 1 h 2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7" h="256">
                    <a:moveTo>
                      <a:pt x="218" y="0"/>
                    </a:moveTo>
                    <a:cubicBezTo>
                      <a:pt x="218" y="0"/>
                      <a:pt x="218" y="0"/>
                      <a:pt x="218" y="0"/>
                    </a:cubicBezTo>
                    <a:cubicBezTo>
                      <a:pt x="214" y="2"/>
                      <a:pt x="204" y="2"/>
                      <a:pt x="202" y="6"/>
                    </a:cubicBezTo>
                    <a:cubicBezTo>
                      <a:pt x="200" y="12"/>
                      <a:pt x="198" y="18"/>
                      <a:pt x="196" y="23"/>
                    </a:cubicBezTo>
                    <a:cubicBezTo>
                      <a:pt x="192" y="35"/>
                      <a:pt x="186" y="45"/>
                      <a:pt x="180" y="56"/>
                    </a:cubicBezTo>
                    <a:cubicBezTo>
                      <a:pt x="177" y="62"/>
                      <a:pt x="169" y="67"/>
                      <a:pt x="163" y="70"/>
                    </a:cubicBezTo>
                    <a:cubicBezTo>
                      <a:pt x="162" y="71"/>
                      <a:pt x="162" y="71"/>
                      <a:pt x="161" y="71"/>
                    </a:cubicBezTo>
                    <a:cubicBezTo>
                      <a:pt x="148" y="77"/>
                      <a:pt x="148" y="77"/>
                      <a:pt x="148" y="77"/>
                    </a:cubicBezTo>
                    <a:cubicBezTo>
                      <a:pt x="146" y="78"/>
                      <a:pt x="145" y="78"/>
                      <a:pt x="143" y="79"/>
                    </a:cubicBezTo>
                    <a:cubicBezTo>
                      <a:pt x="138" y="81"/>
                      <a:pt x="132" y="83"/>
                      <a:pt x="128" y="87"/>
                    </a:cubicBezTo>
                    <a:cubicBezTo>
                      <a:pt x="123" y="91"/>
                      <a:pt x="119" y="97"/>
                      <a:pt x="114" y="102"/>
                    </a:cubicBezTo>
                    <a:cubicBezTo>
                      <a:pt x="112" y="104"/>
                      <a:pt x="109" y="106"/>
                      <a:pt x="107" y="108"/>
                    </a:cubicBezTo>
                    <a:cubicBezTo>
                      <a:pt x="106" y="110"/>
                      <a:pt x="106" y="115"/>
                      <a:pt x="106" y="117"/>
                    </a:cubicBezTo>
                    <a:cubicBezTo>
                      <a:pt x="103" y="126"/>
                      <a:pt x="99" y="132"/>
                      <a:pt x="94" y="140"/>
                    </a:cubicBezTo>
                    <a:cubicBezTo>
                      <a:pt x="91" y="144"/>
                      <a:pt x="93" y="144"/>
                      <a:pt x="93" y="148"/>
                    </a:cubicBezTo>
                    <a:cubicBezTo>
                      <a:pt x="92" y="152"/>
                      <a:pt x="92" y="156"/>
                      <a:pt x="92" y="160"/>
                    </a:cubicBezTo>
                    <a:cubicBezTo>
                      <a:pt x="92" y="163"/>
                      <a:pt x="91" y="166"/>
                      <a:pt x="91" y="168"/>
                    </a:cubicBezTo>
                    <a:cubicBezTo>
                      <a:pt x="91" y="168"/>
                      <a:pt x="91" y="168"/>
                      <a:pt x="91" y="168"/>
                    </a:cubicBezTo>
                    <a:cubicBezTo>
                      <a:pt x="92" y="168"/>
                      <a:pt x="92" y="168"/>
                      <a:pt x="92" y="169"/>
                    </a:cubicBezTo>
                    <a:cubicBezTo>
                      <a:pt x="96" y="172"/>
                      <a:pt x="98" y="174"/>
                      <a:pt x="98" y="179"/>
                    </a:cubicBezTo>
                    <a:cubicBezTo>
                      <a:pt x="98" y="180"/>
                      <a:pt x="97" y="182"/>
                      <a:pt x="97" y="184"/>
                    </a:cubicBezTo>
                    <a:cubicBezTo>
                      <a:pt x="93" y="195"/>
                      <a:pt x="83" y="205"/>
                      <a:pt x="76" y="213"/>
                    </a:cubicBezTo>
                    <a:cubicBezTo>
                      <a:pt x="71" y="219"/>
                      <a:pt x="63" y="223"/>
                      <a:pt x="57" y="228"/>
                    </a:cubicBezTo>
                    <a:cubicBezTo>
                      <a:pt x="50" y="232"/>
                      <a:pt x="44" y="238"/>
                      <a:pt x="37" y="243"/>
                    </a:cubicBezTo>
                    <a:cubicBezTo>
                      <a:pt x="35" y="244"/>
                      <a:pt x="32" y="245"/>
                      <a:pt x="29" y="245"/>
                    </a:cubicBezTo>
                    <a:cubicBezTo>
                      <a:pt x="24" y="247"/>
                      <a:pt x="18" y="248"/>
                      <a:pt x="13" y="250"/>
                    </a:cubicBezTo>
                    <a:cubicBezTo>
                      <a:pt x="11" y="250"/>
                      <a:pt x="3" y="251"/>
                      <a:pt x="3" y="252"/>
                    </a:cubicBezTo>
                    <a:cubicBezTo>
                      <a:pt x="2" y="254"/>
                      <a:pt x="1" y="255"/>
                      <a:pt x="0" y="256"/>
                    </a:cubicBezTo>
                    <a:cubicBezTo>
                      <a:pt x="122" y="256"/>
                      <a:pt x="122" y="256"/>
                      <a:pt x="122" y="256"/>
                    </a:cubicBezTo>
                    <a:cubicBezTo>
                      <a:pt x="121" y="230"/>
                      <a:pt x="121" y="230"/>
                      <a:pt x="121" y="230"/>
                    </a:cubicBezTo>
                    <a:cubicBezTo>
                      <a:pt x="121" y="229"/>
                      <a:pt x="122" y="229"/>
                      <a:pt x="122" y="228"/>
                    </a:cubicBezTo>
                    <a:cubicBezTo>
                      <a:pt x="123" y="226"/>
                      <a:pt x="124" y="225"/>
                      <a:pt x="125" y="223"/>
                    </a:cubicBezTo>
                    <a:cubicBezTo>
                      <a:pt x="127" y="222"/>
                      <a:pt x="129" y="221"/>
                      <a:pt x="131" y="219"/>
                    </a:cubicBezTo>
                    <a:cubicBezTo>
                      <a:pt x="134" y="217"/>
                      <a:pt x="134" y="217"/>
                      <a:pt x="134" y="217"/>
                    </a:cubicBezTo>
                    <a:cubicBezTo>
                      <a:pt x="134" y="217"/>
                      <a:pt x="135" y="217"/>
                      <a:pt x="135" y="217"/>
                    </a:cubicBezTo>
                    <a:cubicBezTo>
                      <a:pt x="139" y="214"/>
                      <a:pt x="139" y="214"/>
                      <a:pt x="139" y="214"/>
                    </a:cubicBezTo>
                    <a:cubicBezTo>
                      <a:pt x="143" y="211"/>
                      <a:pt x="146" y="209"/>
                      <a:pt x="149" y="207"/>
                    </a:cubicBezTo>
                    <a:cubicBezTo>
                      <a:pt x="150" y="206"/>
                      <a:pt x="152" y="205"/>
                      <a:pt x="153" y="204"/>
                    </a:cubicBezTo>
                    <a:cubicBezTo>
                      <a:pt x="156" y="203"/>
                      <a:pt x="159" y="202"/>
                      <a:pt x="161" y="201"/>
                    </a:cubicBezTo>
                    <a:cubicBezTo>
                      <a:pt x="163" y="201"/>
                      <a:pt x="164" y="200"/>
                      <a:pt x="166" y="200"/>
                    </a:cubicBezTo>
                    <a:cubicBezTo>
                      <a:pt x="170" y="199"/>
                      <a:pt x="170" y="199"/>
                      <a:pt x="170" y="199"/>
                    </a:cubicBezTo>
                    <a:cubicBezTo>
                      <a:pt x="172" y="198"/>
                      <a:pt x="174" y="198"/>
                      <a:pt x="176" y="197"/>
                    </a:cubicBezTo>
                    <a:cubicBezTo>
                      <a:pt x="177" y="197"/>
                      <a:pt x="177" y="197"/>
                      <a:pt x="178" y="197"/>
                    </a:cubicBezTo>
                    <a:cubicBezTo>
                      <a:pt x="179" y="197"/>
                      <a:pt x="180" y="197"/>
                      <a:pt x="181" y="198"/>
                    </a:cubicBezTo>
                    <a:cubicBezTo>
                      <a:pt x="181" y="198"/>
                      <a:pt x="181" y="198"/>
                      <a:pt x="182" y="198"/>
                    </a:cubicBezTo>
                    <a:cubicBezTo>
                      <a:pt x="182" y="198"/>
                      <a:pt x="182" y="198"/>
                      <a:pt x="182" y="198"/>
                    </a:cubicBezTo>
                    <a:cubicBezTo>
                      <a:pt x="182" y="197"/>
                      <a:pt x="183" y="195"/>
                      <a:pt x="183" y="194"/>
                    </a:cubicBezTo>
                    <a:cubicBezTo>
                      <a:pt x="183" y="194"/>
                      <a:pt x="183" y="194"/>
                      <a:pt x="183" y="194"/>
                    </a:cubicBezTo>
                    <a:cubicBezTo>
                      <a:pt x="184" y="193"/>
                      <a:pt x="184" y="192"/>
                      <a:pt x="184" y="192"/>
                    </a:cubicBezTo>
                    <a:cubicBezTo>
                      <a:pt x="185" y="188"/>
                      <a:pt x="185" y="188"/>
                      <a:pt x="185" y="188"/>
                    </a:cubicBezTo>
                    <a:cubicBezTo>
                      <a:pt x="189" y="190"/>
                      <a:pt x="189" y="190"/>
                      <a:pt x="189" y="190"/>
                    </a:cubicBezTo>
                    <a:cubicBezTo>
                      <a:pt x="189" y="190"/>
                      <a:pt x="190" y="190"/>
                      <a:pt x="190" y="190"/>
                    </a:cubicBezTo>
                    <a:cubicBezTo>
                      <a:pt x="191" y="191"/>
                      <a:pt x="193" y="191"/>
                      <a:pt x="194" y="191"/>
                    </a:cubicBezTo>
                    <a:cubicBezTo>
                      <a:pt x="200" y="191"/>
                      <a:pt x="209" y="189"/>
                      <a:pt x="213" y="187"/>
                    </a:cubicBezTo>
                    <a:cubicBezTo>
                      <a:pt x="215" y="187"/>
                      <a:pt x="216" y="186"/>
                      <a:pt x="217" y="185"/>
                    </a:cubicBezTo>
                    <a:cubicBezTo>
                      <a:pt x="218" y="184"/>
                      <a:pt x="219" y="183"/>
                      <a:pt x="220" y="182"/>
                    </a:cubicBezTo>
                    <a:cubicBezTo>
                      <a:pt x="222" y="180"/>
                      <a:pt x="222" y="180"/>
                      <a:pt x="222" y="180"/>
                    </a:cubicBezTo>
                    <a:cubicBezTo>
                      <a:pt x="223" y="180"/>
                      <a:pt x="223" y="179"/>
                      <a:pt x="223" y="178"/>
                    </a:cubicBezTo>
                    <a:cubicBezTo>
                      <a:pt x="224" y="177"/>
                      <a:pt x="224" y="177"/>
                      <a:pt x="224" y="177"/>
                    </a:cubicBezTo>
                    <a:cubicBezTo>
                      <a:pt x="226" y="175"/>
                      <a:pt x="228" y="173"/>
                      <a:pt x="231" y="171"/>
                    </a:cubicBezTo>
                    <a:cubicBezTo>
                      <a:pt x="261" y="157"/>
                      <a:pt x="261" y="157"/>
                      <a:pt x="261" y="157"/>
                    </a:cubicBezTo>
                    <a:cubicBezTo>
                      <a:pt x="261" y="157"/>
                      <a:pt x="262" y="157"/>
                      <a:pt x="263" y="156"/>
                    </a:cubicBezTo>
                    <a:cubicBezTo>
                      <a:pt x="263" y="156"/>
                      <a:pt x="264" y="156"/>
                      <a:pt x="264" y="156"/>
                    </a:cubicBezTo>
                    <a:cubicBezTo>
                      <a:pt x="262" y="155"/>
                      <a:pt x="262" y="155"/>
                      <a:pt x="262" y="155"/>
                    </a:cubicBezTo>
                    <a:cubicBezTo>
                      <a:pt x="259" y="153"/>
                      <a:pt x="259" y="150"/>
                      <a:pt x="260" y="148"/>
                    </a:cubicBezTo>
                    <a:cubicBezTo>
                      <a:pt x="260" y="147"/>
                      <a:pt x="260" y="146"/>
                      <a:pt x="261" y="145"/>
                    </a:cubicBezTo>
                    <a:cubicBezTo>
                      <a:pt x="260" y="144"/>
                      <a:pt x="260" y="144"/>
                      <a:pt x="260" y="144"/>
                    </a:cubicBezTo>
                    <a:cubicBezTo>
                      <a:pt x="260" y="144"/>
                      <a:pt x="260" y="144"/>
                      <a:pt x="260" y="144"/>
                    </a:cubicBezTo>
                    <a:cubicBezTo>
                      <a:pt x="260" y="144"/>
                      <a:pt x="259" y="142"/>
                      <a:pt x="259" y="141"/>
                    </a:cubicBezTo>
                    <a:cubicBezTo>
                      <a:pt x="258" y="140"/>
                      <a:pt x="258" y="139"/>
                      <a:pt x="258" y="138"/>
                    </a:cubicBezTo>
                    <a:cubicBezTo>
                      <a:pt x="259" y="134"/>
                      <a:pt x="261" y="132"/>
                      <a:pt x="264" y="131"/>
                    </a:cubicBezTo>
                    <a:cubicBezTo>
                      <a:pt x="265" y="131"/>
                      <a:pt x="265" y="131"/>
                      <a:pt x="265" y="131"/>
                    </a:cubicBezTo>
                    <a:cubicBezTo>
                      <a:pt x="266" y="131"/>
                      <a:pt x="267" y="131"/>
                      <a:pt x="268" y="132"/>
                    </a:cubicBezTo>
                    <a:cubicBezTo>
                      <a:pt x="269" y="132"/>
                      <a:pt x="270" y="132"/>
                      <a:pt x="271" y="132"/>
                    </a:cubicBezTo>
                    <a:cubicBezTo>
                      <a:pt x="271" y="132"/>
                      <a:pt x="271" y="132"/>
                      <a:pt x="271" y="132"/>
                    </a:cubicBezTo>
                    <a:cubicBezTo>
                      <a:pt x="271" y="132"/>
                      <a:pt x="271" y="132"/>
                      <a:pt x="271" y="132"/>
                    </a:cubicBezTo>
                    <a:cubicBezTo>
                      <a:pt x="273" y="132"/>
                      <a:pt x="276" y="131"/>
                      <a:pt x="279" y="130"/>
                    </a:cubicBezTo>
                    <a:cubicBezTo>
                      <a:pt x="280" y="129"/>
                      <a:pt x="281" y="129"/>
                      <a:pt x="282" y="128"/>
                    </a:cubicBezTo>
                    <a:cubicBezTo>
                      <a:pt x="283" y="128"/>
                      <a:pt x="284" y="127"/>
                      <a:pt x="285" y="125"/>
                    </a:cubicBezTo>
                    <a:cubicBezTo>
                      <a:pt x="286" y="123"/>
                      <a:pt x="288" y="120"/>
                      <a:pt x="291" y="119"/>
                    </a:cubicBezTo>
                    <a:cubicBezTo>
                      <a:pt x="293" y="119"/>
                      <a:pt x="295" y="118"/>
                      <a:pt x="296" y="118"/>
                    </a:cubicBezTo>
                    <a:cubicBezTo>
                      <a:pt x="297" y="118"/>
                      <a:pt x="298" y="118"/>
                      <a:pt x="299" y="118"/>
                    </a:cubicBezTo>
                    <a:cubicBezTo>
                      <a:pt x="301" y="117"/>
                      <a:pt x="303" y="117"/>
                      <a:pt x="306" y="117"/>
                    </a:cubicBezTo>
                    <a:cubicBezTo>
                      <a:pt x="307" y="117"/>
                      <a:pt x="309" y="117"/>
                      <a:pt x="310" y="117"/>
                    </a:cubicBezTo>
                    <a:cubicBezTo>
                      <a:pt x="311" y="117"/>
                      <a:pt x="311" y="117"/>
                      <a:pt x="311" y="117"/>
                    </a:cubicBezTo>
                    <a:cubicBezTo>
                      <a:pt x="314" y="118"/>
                      <a:pt x="317" y="118"/>
                      <a:pt x="320" y="118"/>
                    </a:cubicBezTo>
                    <a:cubicBezTo>
                      <a:pt x="322" y="118"/>
                      <a:pt x="324" y="118"/>
                      <a:pt x="326" y="119"/>
                    </a:cubicBezTo>
                    <a:cubicBezTo>
                      <a:pt x="328" y="119"/>
                      <a:pt x="330" y="119"/>
                      <a:pt x="332" y="119"/>
                    </a:cubicBezTo>
                    <a:cubicBezTo>
                      <a:pt x="332" y="118"/>
                      <a:pt x="332" y="117"/>
                      <a:pt x="333" y="116"/>
                    </a:cubicBezTo>
                    <a:cubicBezTo>
                      <a:pt x="336" y="111"/>
                      <a:pt x="336" y="111"/>
                      <a:pt x="336" y="111"/>
                    </a:cubicBezTo>
                    <a:cubicBezTo>
                      <a:pt x="337" y="111"/>
                      <a:pt x="337" y="110"/>
                      <a:pt x="337" y="110"/>
                    </a:cubicBezTo>
                    <a:cubicBezTo>
                      <a:pt x="335" y="108"/>
                      <a:pt x="335" y="108"/>
                      <a:pt x="335" y="108"/>
                    </a:cubicBezTo>
                    <a:cubicBezTo>
                      <a:pt x="333" y="106"/>
                      <a:pt x="331" y="105"/>
                      <a:pt x="330" y="102"/>
                    </a:cubicBezTo>
                    <a:cubicBezTo>
                      <a:pt x="320" y="74"/>
                      <a:pt x="320" y="74"/>
                      <a:pt x="320" y="74"/>
                    </a:cubicBezTo>
                    <a:cubicBezTo>
                      <a:pt x="319" y="73"/>
                      <a:pt x="319" y="71"/>
                      <a:pt x="319" y="70"/>
                    </a:cubicBezTo>
                    <a:cubicBezTo>
                      <a:pt x="319" y="68"/>
                      <a:pt x="319" y="67"/>
                      <a:pt x="320" y="66"/>
                    </a:cubicBezTo>
                    <a:cubicBezTo>
                      <a:pt x="320" y="64"/>
                      <a:pt x="321" y="60"/>
                      <a:pt x="320" y="59"/>
                    </a:cubicBezTo>
                    <a:cubicBezTo>
                      <a:pt x="318" y="52"/>
                      <a:pt x="318" y="52"/>
                      <a:pt x="318" y="52"/>
                    </a:cubicBezTo>
                    <a:cubicBezTo>
                      <a:pt x="318" y="51"/>
                      <a:pt x="318" y="50"/>
                      <a:pt x="318" y="49"/>
                    </a:cubicBezTo>
                    <a:cubicBezTo>
                      <a:pt x="319" y="49"/>
                      <a:pt x="319" y="48"/>
                      <a:pt x="319" y="47"/>
                    </a:cubicBezTo>
                    <a:cubicBezTo>
                      <a:pt x="318" y="47"/>
                      <a:pt x="317" y="46"/>
                      <a:pt x="317" y="45"/>
                    </a:cubicBezTo>
                    <a:cubicBezTo>
                      <a:pt x="316" y="44"/>
                      <a:pt x="315" y="43"/>
                      <a:pt x="315" y="42"/>
                    </a:cubicBezTo>
                    <a:cubicBezTo>
                      <a:pt x="315" y="41"/>
                      <a:pt x="316" y="40"/>
                      <a:pt x="316" y="40"/>
                    </a:cubicBezTo>
                    <a:cubicBezTo>
                      <a:pt x="314" y="42"/>
                      <a:pt x="314" y="42"/>
                      <a:pt x="314" y="42"/>
                    </a:cubicBezTo>
                    <a:cubicBezTo>
                      <a:pt x="315" y="38"/>
                      <a:pt x="315" y="38"/>
                      <a:pt x="315" y="38"/>
                    </a:cubicBezTo>
                    <a:cubicBezTo>
                      <a:pt x="315" y="38"/>
                      <a:pt x="315" y="38"/>
                      <a:pt x="315" y="38"/>
                    </a:cubicBezTo>
                    <a:cubicBezTo>
                      <a:pt x="314" y="37"/>
                      <a:pt x="313" y="36"/>
                      <a:pt x="312" y="35"/>
                    </a:cubicBezTo>
                    <a:cubicBezTo>
                      <a:pt x="312" y="35"/>
                      <a:pt x="312" y="35"/>
                      <a:pt x="312" y="35"/>
                    </a:cubicBezTo>
                    <a:cubicBezTo>
                      <a:pt x="311" y="34"/>
                      <a:pt x="310" y="33"/>
                      <a:pt x="309" y="32"/>
                    </a:cubicBezTo>
                    <a:cubicBezTo>
                      <a:pt x="308" y="32"/>
                      <a:pt x="308" y="32"/>
                      <a:pt x="308" y="32"/>
                    </a:cubicBezTo>
                    <a:cubicBezTo>
                      <a:pt x="308" y="31"/>
                      <a:pt x="307" y="31"/>
                      <a:pt x="307" y="30"/>
                    </a:cubicBezTo>
                    <a:cubicBezTo>
                      <a:pt x="306" y="29"/>
                      <a:pt x="306" y="29"/>
                      <a:pt x="306" y="29"/>
                    </a:cubicBezTo>
                    <a:cubicBezTo>
                      <a:pt x="305" y="29"/>
                      <a:pt x="305" y="29"/>
                      <a:pt x="305" y="29"/>
                    </a:cubicBezTo>
                    <a:cubicBezTo>
                      <a:pt x="304" y="28"/>
                      <a:pt x="304" y="28"/>
                      <a:pt x="304" y="28"/>
                    </a:cubicBezTo>
                    <a:cubicBezTo>
                      <a:pt x="306" y="26"/>
                      <a:pt x="306" y="26"/>
                      <a:pt x="306" y="26"/>
                    </a:cubicBezTo>
                    <a:cubicBezTo>
                      <a:pt x="301" y="24"/>
                      <a:pt x="296" y="22"/>
                      <a:pt x="290" y="22"/>
                    </a:cubicBezTo>
                    <a:cubicBezTo>
                      <a:pt x="290" y="22"/>
                      <a:pt x="289" y="22"/>
                      <a:pt x="289" y="22"/>
                    </a:cubicBezTo>
                    <a:cubicBezTo>
                      <a:pt x="290" y="23"/>
                      <a:pt x="290" y="25"/>
                      <a:pt x="290" y="26"/>
                    </a:cubicBezTo>
                    <a:cubicBezTo>
                      <a:pt x="289" y="25"/>
                      <a:pt x="289" y="24"/>
                      <a:pt x="289" y="22"/>
                    </a:cubicBezTo>
                    <a:cubicBezTo>
                      <a:pt x="288" y="18"/>
                      <a:pt x="287" y="17"/>
                      <a:pt x="285" y="17"/>
                    </a:cubicBezTo>
                    <a:cubicBezTo>
                      <a:pt x="284" y="17"/>
                      <a:pt x="284" y="17"/>
                      <a:pt x="282" y="17"/>
                    </a:cubicBezTo>
                    <a:cubicBezTo>
                      <a:pt x="275" y="20"/>
                      <a:pt x="267" y="23"/>
                      <a:pt x="259" y="24"/>
                    </a:cubicBezTo>
                    <a:cubicBezTo>
                      <a:pt x="254" y="24"/>
                      <a:pt x="249" y="24"/>
                      <a:pt x="244" y="24"/>
                    </a:cubicBezTo>
                    <a:cubicBezTo>
                      <a:pt x="244" y="24"/>
                      <a:pt x="244" y="24"/>
                      <a:pt x="243" y="24"/>
                    </a:cubicBezTo>
                    <a:cubicBezTo>
                      <a:pt x="241" y="24"/>
                      <a:pt x="236" y="20"/>
                      <a:pt x="233" y="19"/>
                    </a:cubicBezTo>
                    <a:cubicBezTo>
                      <a:pt x="229" y="17"/>
                      <a:pt x="227" y="16"/>
                      <a:pt x="225" y="12"/>
                    </a:cubicBezTo>
                    <a:cubicBezTo>
                      <a:pt x="223" y="9"/>
                      <a:pt x="221" y="6"/>
                      <a:pt x="219" y="2"/>
                    </a:cubicBezTo>
                    <a:cubicBezTo>
                      <a:pt x="219" y="3"/>
                      <a:pt x="219" y="3"/>
                      <a:pt x="219" y="3"/>
                    </a:cubicBezTo>
                    <a:cubicBezTo>
                      <a:pt x="220" y="2"/>
                      <a:pt x="221" y="1"/>
                      <a:pt x="221" y="1"/>
                    </a:cubicBezTo>
                    <a:cubicBezTo>
                      <a:pt x="220" y="0"/>
                      <a:pt x="219" y="0"/>
                      <a:pt x="2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265"/>
              <p:cNvSpPr/>
              <p:nvPr/>
            </p:nvSpPr>
            <p:spPr bwMode="auto">
              <a:xfrm>
                <a:off x="2874391" y="6371566"/>
                <a:ext cx="689117" cy="486435"/>
              </a:xfrm>
              <a:custGeom>
                <a:gdLst>
                  <a:gd name="T0" fmla="*/ 217 w 217"/>
                  <a:gd name="T1" fmla="*/ 0 h 153"/>
                  <a:gd name="T2" fmla="*/ 91 w 217"/>
                  <a:gd name="T3" fmla="*/ 0 h 153"/>
                  <a:gd name="T4" fmla="*/ 76 w 217"/>
                  <a:gd name="T5" fmla="*/ 29 h 153"/>
                  <a:gd name="T6" fmla="*/ 59 w 217"/>
                  <a:gd name="T7" fmla="*/ 39 h 153"/>
                  <a:gd name="T8" fmla="*/ 55 w 217"/>
                  <a:gd name="T9" fmla="*/ 43 h 153"/>
                  <a:gd name="T10" fmla="*/ 47 w 217"/>
                  <a:gd name="T11" fmla="*/ 63 h 153"/>
                  <a:gd name="T12" fmla="*/ 41 w 217"/>
                  <a:gd name="T13" fmla="*/ 89 h 153"/>
                  <a:gd name="T14" fmla="*/ 34 w 217"/>
                  <a:gd name="T15" fmla="*/ 95 h 153"/>
                  <a:gd name="T16" fmla="*/ 26 w 217"/>
                  <a:gd name="T17" fmla="*/ 103 h 153"/>
                  <a:gd name="T18" fmla="*/ 15 w 217"/>
                  <a:gd name="T19" fmla="*/ 118 h 153"/>
                  <a:gd name="T20" fmla="*/ 5 w 217"/>
                  <a:gd name="T21" fmla="*/ 138 h 153"/>
                  <a:gd name="T22" fmla="*/ 0 w 217"/>
                  <a:gd name="T23" fmla="*/ 151 h 153"/>
                  <a:gd name="T24" fmla="*/ 0 w 217"/>
                  <a:gd name="T25" fmla="*/ 153 h 153"/>
                  <a:gd name="T26" fmla="*/ 91 w 217"/>
                  <a:gd name="T27" fmla="*/ 153 h 153"/>
                  <a:gd name="T28" fmla="*/ 91 w 217"/>
                  <a:gd name="T29" fmla="*/ 153 h 153"/>
                  <a:gd name="T30" fmla="*/ 91 w 217"/>
                  <a:gd name="T31" fmla="*/ 152 h 153"/>
                  <a:gd name="T32" fmla="*/ 90 w 217"/>
                  <a:gd name="T33" fmla="*/ 151 h 153"/>
                  <a:gd name="T34" fmla="*/ 92 w 217"/>
                  <a:gd name="T35" fmla="*/ 141 h 153"/>
                  <a:gd name="T36" fmla="*/ 102 w 217"/>
                  <a:gd name="T37" fmla="*/ 130 h 153"/>
                  <a:gd name="T38" fmla="*/ 105 w 217"/>
                  <a:gd name="T39" fmla="*/ 128 h 153"/>
                  <a:gd name="T40" fmla="*/ 107 w 217"/>
                  <a:gd name="T41" fmla="*/ 127 h 153"/>
                  <a:gd name="T42" fmla="*/ 111 w 217"/>
                  <a:gd name="T43" fmla="*/ 126 h 153"/>
                  <a:gd name="T44" fmla="*/ 116 w 217"/>
                  <a:gd name="T45" fmla="*/ 124 h 153"/>
                  <a:gd name="T46" fmla="*/ 119 w 217"/>
                  <a:gd name="T47" fmla="*/ 123 h 153"/>
                  <a:gd name="T48" fmla="*/ 119 w 217"/>
                  <a:gd name="T49" fmla="*/ 123 h 153"/>
                  <a:gd name="T50" fmla="*/ 122 w 217"/>
                  <a:gd name="T51" fmla="*/ 122 h 153"/>
                  <a:gd name="T52" fmla="*/ 122 w 217"/>
                  <a:gd name="T53" fmla="*/ 112 h 153"/>
                  <a:gd name="T54" fmla="*/ 122 w 217"/>
                  <a:gd name="T55" fmla="*/ 111 h 153"/>
                  <a:gd name="T56" fmla="*/ 122 w 217"/>
                  <a:gd name="T57" fmla="*/ 108 h 153"/>
                  <a:gd name="T58" fmla="*/ 122 w 217"/>
                  <a:gd name="T59" fmla="*/ 52 h 153"/>
                  <a:gd name="T60" fmla="*/ 125 w 217"/>
                  <a:gd name="T61" fmla="*/ 45 h 153"/>
                  <a:gd name="T62" fmla="*/ 126 w 217"/>
                  <a:gd name="T63" fmla="*/ 45 h 153"/>
                  <a:gd name="T64" fmla="*/ 129 w 217"/>
                  <a:gd name="T65" fmla="*/ 44 h 153"/>
                  <a:gd name="T66" fmla="*/ 130 w 217"/>
                  <a:gd name="T67" fmla="*/ 44 h 153"/>
                  <a:gd name="T68" fmla="*/ 132 w 217"/>
                  <a:gd name="T69" fmla="*/ 44 h 153"/>
                  <a:gd name="T70" fmla="*/ 217 w 217"/>
                  <a:gd name="T71" fmla="*/ 44 h 153"/>
                  <a:gd name="T72" fmla="*/ 217 w 217"/>
                  <a:gd name="T73" fmla="*/ 38 h 153"/>
                  <a:gd name="T74" fmla="*/ 217 w 217"/>
                  <a:gd name="T75" fmla="*/ 38 h 153"/>
                  <a:gd name="T76" fmla="*/ 216 w 217"/>
                  <a:gd name="T77" fmla="*/ 33 h 153"/>
                  <a:gd name="T78" fmla="*/ 216 w 217"/>
                  <a:gd name="T79" fmla="*/ 2 h 153"/>
                  <a:gd name="T80" fmla="*/ 217 w 217"/>
                  <a:gd name="T81" fmla="*/ 2 h 153"/>
                  <a:gd name="T82" fmla="*/ 217 w 217"/>
                  <a:gd name="T83" fmla="*/ 0 h 1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6" h="153">
                    <a:moveTo>
                      <a:pt x="217" y="0"/>
                    </a:moveTo>
                    <a:cubicBezTo>
                      <a:pt x="91" y="0"/>
                      <a:pt x="91" y="0"/>
                      <a:pt x="91" y="0"/>
                    </a:cubicBezTo>
                    <a:cubicBezTo>
                      <a:pt x="87" y="10"/>
                      <a:pt x="84" y="24"/>
                      <a:pt x="76" y="29"/>
                    </a:cubicBezTo>
                    <a:cubicBezTo>
                      <a:pt x="71" y="33"/>
                      <a:pt x="65" y="36"/>
                      <a:pt x="59" y="39"/>
                    </a:cubicBezTo>
                    <a:cubicBezTo>
                      <a:pt x="58" y="40"/>
                      <a:pt x="55" y="41"/>
                      <a:pt x="55" y="43"/>
                    </a:cubicBezTo>
                    <a:cubicBezTo>
                      <a:pt x="54" y="51"/>
                      <a:pt x="50" y="57"/>
                      <a:pt x="47" y="63"/>
                    </a:cubicBezTo>
                    <a:cubicBezTo>
                      <a:pt x="43" y="71"/>
                      <a:pt x="45" y="82"/>
                      <a:pt x="41" y="89"/>
                    </a:cubicBezTo>
                    <a:cubicBezTo>
                      <a:pt x="39" y="93"/>
                      <a:pt x="36" y="92"/>
                      <a:pt x="34" y="95"/>
                    </a:cubicBezTo>
                    <a:cubicBezTo>
                      <a:pt x="31" y="98"/>
                      <a:pt x="29" y="101"/>
                      <a:pt x="26" y="103"/>
                    </a:cubicBezTo>
                    <a:cubicBezTo>
                      <a:pt x="22" y="108"/>
                      <a:pt x="18" y="112"/>
                      <a:pt x="15" y="118"/>
                    </a:cubicBezTo>
                    <a:cubicBezTo>
                      <a:pt x="11" y="124"/>
                      <a:pt x="7" y="131"/>
                      <a:pt x="5" y="138"/>
                    </a:cubicBezTo>
                    <a:cubicBezTo>
                      <a:pt x="4" y="142"/>
                      <a:pt x="2" y="146"/>
                      <a:pt x="0" y="151"/>
                    </a:cubicBezTo>
                    <a:cubicBezTo>
                      <a:pt x="0" y="151"/>
                      <a:pt x="0" y="152"/>
                      <a:pt x="0" y="153"/>
                    </a:cubicBezTo>
                    <a:cubicBezTo>
                      <a:pt x="91" y="153"/>
                      <a:pt x="91" y="153"/>
                      <a:pt x="91" y="153"/>
                    </a:cubicBezTo>
                    <a:cubicBezTo>
                      <a:pt x="91" y="153"/>
                      <a:pt x="91" y="153"/>
                      <a:pt x="91" y="153"/>
                    </a:cubicBezTo>
                    <a:cubicBezTo>
                      <a:pt x="91" y="152"/>
                      <a:pt x="91" y="152"/>
                      <a:pt x="91" y="152"/>
                    </a:cubicBezTo>
                    <a:cubicBezTo>
                      <a:pt x="90" y="151"/>
                      <a:pt x="90" y="151"/>
                      <a:pt x="90" y="151"/>
                    </a:cubicBezTo>
                    <a:cubicBezTo>
                      <a:pt x="89" y="146"/>
                      <a:pt x="90" y="143"/>
                      <a:pt x="92" y="141"/>
                    </a:cubicBezTo>
                    <a:cubicBezTo>
                      <a:pt x="95" y="136"/>
                      <a:pt x="98" y="132"/>
                      <a:pt x="102" y="130"/>
                    </a:cubicBezTo>
                    <a:cubicBezTo>
                      <a:pt x="103" y="129"/>
                      <a:pt x="104" y="129"/>
                      <a:pt x="105" y="128"/>
                    </a:cubicBezTo>
                    <a:cubicBezTo>
                      <a:pt x="105" y="128"/>
                      <a:pt x="106" y="128"/>
                      <a:pt x="107" y="127"/>
                    </a:cubicBezTo>
                    <a:cubicBezTo>
                      <a:pt x="108" y="127"/>
                      <a:pt x="109" y="126"/>
                      <a:pt x="111" y="126"/>
                    </a:cubicBezTo>
                    <a:cubicBezTo>
                      <a:pt x="113" y="126"/>
                      <a:pt x="114" y="125"/>
                      <a:pt x="116" y="124"/>
                    </a:cubicBezTo>
                    <a:cubicBezTo>
                      <a:pt x="118" y="124"/>
                      <a:pt x="118" y="124"/>
                      <a:pt x="119" y="123"/>
                    </a:cubicBezTo>
                    <a:cubicBezTo>
                      <a:pt x="119" y="123"/>
                      <a:pt x="119" y="123"/>
                      <a:pt x="119" y="123"/>
                    </a:cubicBezTo>
                    <a:cubicBezTo>
                      <a:pt x="120" y="123"/>
                      <a:pt x="121" y="123"/>
                      <a:pt x="122" y="122"/>
                    </a:cubicBezTo>
                    <a:cubicBezTo>
                      <a:pt x="123" y="120"/>
                      <a:pt x="122" y="115"/>
                      <a:pt x="122" y="112"/>
                    </a:cubicBezTo>
                    <a:cubicBezTo>
                      <a:pt x="122" y="111"/>
                      <a:pt x="122" y="111"/>
                      <a:pt x="122" y="111"/>
                    </a:cubicBezTo>
                    <a:cubicBezTo>
                      <a:pt x="122" y="110"/>
                      <a:pt x="122" y="109"/>
                      <a:pt x="122" y="108"/>
                    </a:cubicBezTo>
                    <a:cubicBezTo>
                      <a:pt x="122" y="52"/>
                      <a:pt x="122" y="52"/>
                      <a:pt x="122" y="52"/>
                    </a:cubicBezTo>
                    <a:cubicBezTo>
                      <a:pt x="122" y="50"/>
                      <a:pt x="122" y="46"/>
                      <a:pt x="125" y="45"/>
                    </a:cubicBezTo>
                    <a:cubicBezTo>
                      <a:pt x="126" y="45"/>
                      <a:pt x="126" y="45"/>
                      <a:pt x="126" y="45"/>
                    </a:cubicBezTo>
                    <a:cubicBezTo>
                      <a:pt x="127" y="44"/>
                      <a:pt x="128" y="44"/>
                      <a:pt x="129" y="44"/>
                    </a:cubicBezTo>
                    <a:cubicBezTo>
                      <a:pt x="130" y="44"/>
                      <a:pt x="130" y="44"/>
                      <a:pt x="130" y="44"/>
                    </a:cubicBezTo>
                    <a:cubicBezTo>
                      <a:pt x="131" y="44"/>
                      <a:pt x="131" y="44"/>
                      <a:pt x="132" y="44"/>
                    </a:cubicBezTo>
                    <a:cubicBezTo>
                      <a:pt x="217" y="44"/>
                      <a:pt x="217" y="44"/>
                      <a:pt x="217" y="44"/>
                    </a:cubicBezTo>
                    <a:cubicBezTo>
                      <a:pt x="217" y="43"/>
                      <a:pt x="217" y="40"/>
                      <a:pt x="217" y="38"/>
                    </a:cubicBezTo>
                    <a:cubicBezTo>
                      <a:pt x="217" y="38"/>
                      <a:pt x="217" y="38"/>
                      <a:pt x="217" y="38"/>
                    </a:cubicBezTo>
                    <a:cubicBezTo>
                      <a:pt x="217" y="36"/>
                      <a:pt x="216" y="35"/>
                      <a:pt x="216" y="33"/>
                    </a:cubicBezTo>
                    <a:cubicBezTo>
                      <a:pt x="216" y="2"/>
                      <a:pt x="216" y="2"/>
                      <a:pt x="216" y="2"/>
                    </a:cubicBezTo>
                    <a:cubicBezTo>
                      <a:pt x="217" y="2"/>
                      <a:pt x="217" y="2"/>
                      <a:pt x="217" y="2"/>
                    </a:cubicBezTo>
                    <a:cubicBezTo>
                      <a:pt x="217" y="0"/>
                      <a:pt x="217" y="0"/>
                      <a:pt x="2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266"/>
              <p:cNvSpPr/>
              <p:nvPr/>
            </p:nvSpPr>
            <p:spPr bwMode="auto">
              <a:xfrm>
                <a:off x="3183940" y="6419472"/>
                <a:ext cx="696487" cy="438529"/>
              </a:xfrm>
              <a:custGeom>
                <a:gdLst>
                  <a:gd name="T0" fmla="*/ 126 w 219"/>
                  <a:gd name="T1" fmla="*/ 0 h 138"/>
                  <a:gd name="T2" fmla="*/ 126 w 219"/>
                  <a:gd name="T3" fmla="*/ 12 h 138"/>
                  <a:gd name="T4" fmla="*/ 126 w 219"/>
                  <a:gd name="T5" fmla="*/ 18 h 138"/>
                  <a:gd name="T6" fmla="*/ 127 w 219"/>
                  <a:gd name="T7" fmla="*/ 21 h 138"/>
                  <a:gd name="T8" fmla="*/ 127 w 219"/>
                  <a:gd name="T9" fmla="*/ 22 h 138"/>
                  <a:gd name="T10" fmla="*/ 126 w 219"/>
                  <a:gd name="T11" fmla="*/ 32 h 138"/>
                  <a:gd name="T12" fmla="*/ 123 w 219"/>
                  <a:gd name="T13" fmla="*/ 36 h 138"/>
                  <a:gd name="T14" fmla="*/ 35 w 219"/>
                  <a:gd name="T15" fmla="*/ 36 h 138"/>
                  <a:gd name="T16" fmla="*/ 32 w 219"/>
                  <a:gd name="T17" fmla="*/ 36 h 138"/>
                  <a:gd name="T18" fmla="*/ 32 w 219"/>
                  <a:gd name="T19" fmla="*/ 36 h 138"/>
                  <a:gd name="T20" fmla="*/ 32 w 219"/>
                  <a:gd name="T21" fmla="*/ 37 h 138"/>
                  <a:gd name="T22" fmla="*/ 32 w 219"/>
                  <a:gd name="T23" fmla="*/ 93 h 138"/>
                  <a:gd name="T24" fmla="*/ 32 w 219"/>
                  <a:gd name="T25" fmla="*/ 96 h 138"/>
                  <a:gd name="T26" fmla="*/ 32 w 219"/>
                  <a:gd name="T27" fmla="*/ 96 h 138"/>
                  <a:gd name="T28" fmla="*/ 32 w 219"/>
                  <a:gd name="T29" fmla="*/ 110 h 138"/>
                  <a:gd name="T30" fmla="*/ 30 w 219"/>
                  <a:gd name="T31" fmla="*/ 113 h 138"/>
                  <a:gd name="T32" fmla="*/ 24 w 219"/>
                  <a:gd name="T33" fmla="*/ 115 h 138"/>
                  <a:gd name="T34" fmla="*/ 22 w 219"/>
                  <a:gd name="T35" fmla="*/ 116 h 138"/>
                  <a:gd name="T36" fmla="*/ 15 w 219"/>
                  <a:gd name="T37" fmla="*/ 118 h 138"/>
                  <a:gd name="T38" fmla="*/ 12 w 219"/>
                  <a:gd name="T39" fmla="*/ 119 h 138"/>
                  <a:gd name="T40" fmla="*/ 11 w 219"/>
                  <a:gd name="T41" fmla="*/ 119 h 138"/>
                  <a:gd name="T42" fmla="*/ 11 w 219"/>
                  <a:gd name="T43" fmla="*/ 119 h 138"/>
                  <a:gd name="T44" fmla="*/ 9 w 219"/>
                  <a:gd name="T45" fmla="*/ 121 h 138"/>
                  <a:gd name="T46" fmla="*/ 1 w 219"/>
                  <a:gd name="T47" fmla="*/ 129 h 138"/>
                  <a:gd name="T48" fmla="*/ 0 w 219"/>
                  <a:gd name="T49" fmla="*/ 134 h 138"/>
                  <a:gd name="T50" fmla="*/ 1 w 219"/>
                  <a:gd name="T51" fmla="*/ 137 h 138"/>
                  <a:gd name="T52" fmla="*/ 1 w 219"/>
                  <a:gd name="T53" fmla="*/ 138 h 138"/>
                  <a:gd name="T54" fmla="*/ 188 w 219"/>
                  <a:gd name="T55" fmla="*/ 138 h 138"/>
                  <a:gd name="T56" fmla="*/ 184 w 219"/>
                  <a:gd name="T57" fmla="*/ 104 h 138"/>
                  <a:gd name="T58" fmla="*/ 180 w 219"/>
                  <a:gd name="T59" fmla="*/ 78 h 138"/>
                  <a:gd name="T60" fmla="*/ 179 w 219"/>
                  <a:gd name="T61" fmla="*/ 64 h 138"/>
                  <a:gd name="T62" fmla="*/ 178 w 219"/>
                  <a:gd name="T63" fmla="*/ 60 h 138"/>
                  <a:gd name="T64" fmla="*/ 219 w 219"/>
                  <a:gd name="T65" fmla="*/ 60 h 138"/>
                  <a:gd name="T66" fmla="*/ 202 w 219"/>
                  <a:gd name="T67" fmla="*/ 48 h 138"/>
                  <a:gd name="T68" fmla="*/ 198 w 219"/>
                  <a:gd name="T69" fmla="*/ 46 h 138"/>
                  <a:gd name="T70" fmla="*/ 177 w 219"/>
                  <a:gd name="T71" fmla="*/ 32 h 138"/>
                  <a:gd name="T72" fmla="*/ 175 w 219"/>
                  <a:gd name="T73" fmla="*/ 31 h 138"/>
                  <a:gd name="T74" fmla="*/ 151 w 219"/>
                  <a:gd name="T75" fmla="*/ 16 h 138"/>
                  <a:gd name="T76" fmla="*/ 151 w 219"/>
                  <a:gd name="T77" fmla="*/ 15 h 138"/>
                  <a:gd name="T78" fmla="*/ 126 w 219"/>
                  <a:gd name="T79" fmla="*/ 0 h 1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9" h="138">
                    <a:moveTo>
                      <a:pt x="126" y="0"/>
                    </a:moveTo>
                    <a:cubicBezTo>
                      <a:pt x="126" y="4"/>
                      <a:pt x="126" y="8"/>
                      <a:pt x="126" y="12"/>
                    </a:cubicBezTo>
                    <a:cubicBezTo>
                      <a:pt x="126" y="18"/>
                      <a:pt x="126" y="18"/>
                      <a:pt x="126" y="18"/>
                    </a:cubicBezTo>
                    <a:cubicBezTo>
                      <a:pt x="126" y="19"/>
                      <a:pt x="126" y="20"/>
                      <a:pt x="127" y="21"/>
                    </a:cubicBezTo>
                    <a:cubicBezTo>
                      <a:pt x="127" y="22"/>
                      <a:pt x="127" y="22"/>
                      <a:pt x="127" y="22"/>
                    </a:cubicBezTo>
                    <a:cubicBezTo>
                      <a:pt x="127" y="25"/>
                      <a:pt x="127" y="29"/>
                      <a:pt x="126" y="32"/>
                    </a:cubicBezTo>
                    <a:cubicBezTo>
                      <a:pt x="126" y="33"/>
                      <a:pt x="126" y="36"/>
                      <a:pt x="123" y="36"/>
                    </a:cubicBezTo>
                    <a:cubicBezTo>
                      <a:pt x="35" y="36"/>
                      <a:pt x="35" y="36"/>
                      <a:pt x="35" y="36"/>
                    </a:cubicBezTo>
                    <a:cubicBezTo>
                      <a:pt x="34" y="36"/>
                      <a:pt x="33" y="36"/>
                      <a:pt x="32" y="36"/>
                    </a:cubicBezTo>
                    <a:cubicBezTo>
                      <a:pt x="32" y="36"/>
                      <a:pt x="32" y="36"/>
                      <a:pt x="32" y="36"/>
                    </a:cubicBezTo>
                    <a:cubicBezTo>
                      <a:pt x="32" y="37"/>
                      <a:pt x="32" y="37"/>
                      <a:pt x="32" y="37"/>
                    </a:cubicBezTo>
                    <a:cubicBezTo>
                      <a:pt x="32" y="93"/>
                      <a:pt x="32" y="93"/>
                      <a:pt x="32" y="93"/>
                    </a:cubicBezTo>
                    <a:cubicBezTo>
                      <a:pt x="32" y="94"/>
                      <a:pt x="32" y="95"/>
                      <a:pt x="32" y="96"/>
                    </a:cubicBezTo>
                    <a:cubicBezTo>
                      <a:pt x="32" y="96"/>
                      <a:pt x="32" y="96"/>
                      <a:pt x="32" y="96"/>
                    </a:cubicBezTo>
                    <a:cubicBezTo>
                      <a:pt x="32" y="102"/>
                      <a:pt x="33" y="107"/>
                      <a:pt x="32" y="110"/>
                    </a:cubicBezTo>
                    <a:cubicBezTo>
                      <a:pt x="31" y="111"/>
                      <a:pt x="31" y="112"/>
                      <a:pt x="30" y="113"/>
                    </a:cubicBezTo>
                    <a:cubicBezTo>
                      <a:pt x="29" y="114"/>
                      <a:pt x="27" y="114"/>
                      <a:pt x="24" y="115"/>
                    </a:cubicBezTo>
                    <a:cubicBezTo>
                      <a:pt x="23" y="115"/>
                      <a:pt x="23" y="115"/>
                      <a:pt x="22" y="116"/>
                    </a:cubicBezTo>
                    <a:cubicBezTo>
                      <a:pt x="20" y="117"/>
                      <a:pt x="18" y="117"/>
                      <a:pt x="15" y="118"/>
                    </a:cubicBezTo>
                    <a:cubicBezTo>
                      <a:pt x="14" y="118"/>
                      <a:pt x="14" y="118"/>
                      <a:pt x="12" y="119"/>
                    </a:cubicBezTo>
                    <a:cubicBezTo>
                      <a:pt x="11" y="119"/>
                      <a:pt x="11" y="119"/>
                      <a:pt x="11" y="119"/>
                    </a:cubicBezTo>
                    <a:cubicBezTo>
                      <a:pt x="11" y="119"/>
                      <a:pt x="11" y="119"/>
                      <a:pt x="11" y="119"/>
                    </a:cubicBezTo>
                    <a:cubicBezTo>
                      <a:pt x="10" y="120"/>
                      <a:pt x="10" y="120"/>
                      <a:pt x="9" y="121"/>
                    </a:cubicBezTo>
                    <a:cubicBezTo>
                      <a:pt x="6" y="122"/>
                      <a:pt x="3" y="125"/>
                      <a:pt x="1" y="129"/>
                    </a:cubicBezTo>
                    <a:cubicBezTo>
                      <a:pt x="0" y="131"/>
                      <a:pt x="0" y="132"/>
                      <a:pt x="0" y="134"/>
                    </a:cubicBezTo>
                    <a:cubicBezTo>
                      <a:pt x="0" y="135"/>
                      <a:pt x="1" y="136"/>
                      <a:pt x="1" y="137"/>
                    </a:cubicBezTo>
                    <a:cubicBezTo>
                      <a:pt x="1" y="137"/>
                      <a:pt x="1" y="138"/>
                      <a:pt x="1" y="138"/>
                    </a:cubicBezTo>
                    <a:cubicBezTo>
                      <a:pt x="188" y="138"/>
                      <a:pt x="188" y="138"/>
                      <a:pt x="188" y="138"/>
                    </a:cubicBezTo>
                    <a:cubicBezTo>
                      <a:pt x="186" y="127"/>
                      <a:pt x="185" y="115"/>
                      <a:pt x="184" y="104"/>
                    </a:cubicBezTo>
                    <a:cubicBezTo>
                      <a:pt x="180" y="78"/>
                      <a:pt x="180" y="78"/>
                      <a:pt x="180" y="78"/>
                    </a:cubicBezTo>
                    <a:cubicBezTo>
                      <a:pt x="180" y="73"/>
                      <a:pt x="179" y="69"/>
                      <a:pt x="179" y="64"/>
                    </a:cubicBezTo>
                    <a:cubicBezTo>
                      <a:pt x="178" y="60"/>
                      <a:pt x="178" y="60"/>
                      <a:pt x="178" y="60"/>
                    </a:cubicBezTo>
                    <a:cubicBezTo>
                      <a:pt x="219" y="60"/>
                      <a:pt x="219" y="60"/>
                      <a:pt x="219" y="60"/>
                    </a:cubicBezTo>
                    <a:cubicBezTo>
                      <a:pt x="214" y="56"/>
                      <a:pt x="208" y="52"/>
                      <a:pt x="202" y="48"/>
                    </a:cubicBezTo>
                    <a:cubicBezTo>
                      <a:pt x="201" y="47"/>
                      <a:pt x="199" y="47"/>
                      <a:pt x="198" y="46"/>
                    </a:cubicBezTo>
                    <a:cubicBezTo>
                      <a:pt x="191" y="41"/>
                      <a:pt x="184" y="37"/>
                      <a:pt x="177" y="32"/>
                    </a:cubicBezTo>
                    <a:cubicBezTo>
                      <a:pt x="176" y="32"/>
                      <a:pt x="175" y="31"/>
                      <a:pt x="175" y="31"/>
                    </a:cubicBezTo>
                    <a:cubicBezTo>
                      <a:pt x="167" y="26"/>
                      <a:pt x="159" y="21"/>
                      <a:pt x="151" y="16"/>
                    </a:cubicBezTo>
                    <a:cubicBezTo>
                      <a:pt x="151" y="15"/>
                      <a:pt x="151" y="15"/>
                      <a:pt x="151" y="15"/>
                    </a:cubicBezTo>
                    <a:cubicBezTo>
                      <a:pt x="143" y="10"/>
                      <a:pt x="135" y="5"/>
                      <a:pt x="1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267"/>
              <p:cNvSpPr/>
              <p:nvPr/>
            </p:nvSpPr>
            <p:spPr bwMode="auto">
              <a:xfrm>
                <a:off x="3515601" y="4702208"/>
                <a:ext cx="1142386" cy="825466"/>
              </a:xfrm>
              <a:custGeom>
                <a:gdLst>
                  <a:gd name="T0" fmla="*/ 31 w 359"/>
                  <a:gd name="T1" fmla="*/ 10 h 260"/>
                  <a:gd name="T2" fmla="*/ 19 w 359"/>
                  <a:gd name="T3" fmla="*/ 16 h 260"/>
                  <a:gd name="T4" fmla="*/ 6 w 359"/>
                  <a:gd name="T5" fmla="*/ 21 h 260"/>
                  <a:gd name="T6" fmla="*/ 1 w 359"/>
                  <a:gd name="T7" fmla="*/ 28 h 260"/>
                  <a:gd name="T8" fmla="*/ 12 w 359"/>
                  <a:gd name="T9" fmla="*/ 45 h 260"/>
                  <a:gd name="T10" fmla="*/ 17 w 359"/>
                  <a:gd name="T11" fmla="*/ 46 h 260"/>
                  <a:gd name="T12" fmla="*/ 12 w 359"/>
                  <a:gd name="T13" fmla="*/ 57 h 260"/>
                  <a:gd name="T14" fmla="*/ 31 w 359"/>
                  <a:gd name="T15" fmla="*/ 53 h 260"/>
                  <a:gd name="T16" fmla="*/ 40 w 359"/>
                  <a:gd name="T17" fmla="*/ 60 h 260"/>
                  <a:gd name="T18" fmla="*/ 54 w 359"/>
                  <a:gd name="T19" fmla="*/ 62 h 260"/>
                  <a:gd name="T20" fmla="*/ 67 w 359"/>
                  <a:gd name="T21" fmla="*/ 59 h 260"/>
                  <a:gd name="T22" fmla="*/ 72 w 359"/>
                  <a:gd name="T23" fmla="*/ 59 h 260"/>
                  <a:gd name="T24" fmla="*/ 82 w 359"/>
                  <a:gd name="T25" fmla="*/ 66 h 260"/>
                  <a:gd name="T26" fmla="*/ 86 w 359"/>
                  <a:gd name="T27" fmla="*/ 70 h 260"/>
                  <a:gd name="T28" fmla="*/ 78 w 359"/>
                  <a:gd name="T29" fmla="*/ 90 h 260"/>
                  <a:gd name="T30" fmla="*/ 72 w 359"/>
                  <a:gd name="T31" fmla="*/ 98 h 260"/>
                  <a:gd name="T32" fmla="*/ 73 w 359"/>
                  <a:gd name="T33" fmla="*/ 120 h 260"/>
                  <a:gd name="T34" fmla="*/ 58 w 359"/>
                  <a:gd name="T35" fmla="*/ 147 h 260"/>
                  <a:gd name="T36" fmla="*/ 64 w 359"/>
                  <a:gd name="T37" fmla="*/ 154 h 260"/>
                  <a:gd name="T38" fmla="*/ 64 w 359"/>
                  <a:gd name="T39" fmla="*/ 170 h 260"/>
                  <a:gd name="T40" fmla="*/ 60 w 359"/>
                  <a:gd name="T41" fmla="*/ 179 h 260"/>
                  <a:gd name="T42" fmla="*/ 71 w 359"/>
                  <a:gd name="T43" fmla="*/ 184 h 260"/>
                  <a:gd name="T44" fmla="*/ 60 w 359"/>
                  <a:gd name="T45" fmla="*/ 198 h 260"/>
                  <a:gd name="T46" fmla="*/ 63 w 359"/>
                  <a:gd name="T47" fmla="*/ 221 h 260"/>
                  <a:gd name="T48" fmla="*/ 75 w 359"/>
                  <a:gd name="T49" fmla="*/ 228 h 260"/>
                  <a:gd name="T50" fmla="*/ 87 w 359"/>
                  <a:gd name="T51" fmla="*/ 231 h 260"/>
                  <a:gd name="T52" fmla="*/ 105 w 359"/>
                  <a:gd name="T53" fmla="*/ 260 h 260"/>
                  <a:gd name="T54" fmla="*/ 118 w 359"/>
                  <a:gd name="T55" fmla="*/ 249 h 260"/>
                  <a:gd name="T56" fmla="*/ 154 w 359"/>
                  <a:gd name="T57" fmla="*/ 237 h 260"/>
                  <a:gd name="T58" fmla="*/ 186 w 359"/>
                  <a:gd name="T59" fmla="*/ 238 h 260"/>
                  <a:gd name="T60" fmla="*/ 209 w 359"/>
                  <a:gd name="T61" fmla="*/ 229 h 260"/>
                  <a:gd name="T62" fmla="*/ 237 w 359"/>
                  <a:gd name="T63" fmla="*/ 209 h 260"/>
                  <a:gd name="T64" fmla="*/ 244 w 359"/>
                  <a:gd name="T65" fmla="*/ 196 h 260"/>
                  <a:gd name="T66" fmla="*/ 285 w 359"/>
                  <a:gd name="T67" fmla="*/ 102 h 260"/>
                  <a:gd name="T68" fmla="*/ 319 w 359"/>
                  <a:gd name="T69" fmla="*/ 82 h 260"/>
                  <a:gd name="T70" fmla="*/ 353 w 359"/>
                  <a:gd name="T71" fmla="*/ 56 h 260"/>
                  <a:gd name="T72" fmla="*/ 353 w 359"/>
                  <a:gd name="T73" fmla="*/ 50 h 260"/>
                  <a:gd name="T74" fmla="*/ 333 w 359"/>
                  <a:gd name="T75" fmla="*/ 53 h 260"/>
                  <a:gd name="T76" fmla="*/ 311 w 359"/>
                  <a:gd name="T77" fmla="*/ 44 h 260"/>
                  <a:gd name="T78" fmla="*/ 287 w 359"/>
                  <a:gd name="T79" fmla="*/ 36 h 260"/>
                  <a:gd name="T80" fmla="*/ 270 w 359"/>
                  <a:gd name="T81" fmla="*/ 41 h 260"/>
                  <a:gd name="T82" fmla="*/ 257 w 359"/>
                  <a:gd name="T83" fmla="*/ 38 h 260"/>
                  <a:gd name="T84" fmla="*/ 244 w 359"/>
                  <a:gd name="T85" fmla="*/ 34 h 260"/>
                  <a:gd name="T86" fmla="*/ 230 w 359"/>
                  <a:gd name="T87" fmla="*/ 30 h 260"/>
                  <a:gd name="T88" fmla="*/ 221 w 359"/>
                  <a:gd name="T89" fmla="*/ 20 h 260"/>
                  <a:gd name="T90" fmla="*/ 211 w 359"/>
                  <a:gd name="T91" fmla="*/ 17 h 260"/>
                  <a:gd name="T92" fmla="*/ 197 w 359"/>
                  <a:gd name="T93" fmla="*/ 16 h 260"/>
                  <a:gd name="T94" fmla="*/ 168 w 359"/>
                  <a:gd name="T95" fmla="*/ 11 h 260"/>
                  <a:gd name="T96" fmla="*/ 136 w 359"/>
                  <a:gd name="T97" fmla="*/ 13 h 260"/>
                  <a:gd name="T98" fmla="*/ 92 w 359"/>
                  <a:gd name="T99" fmla="*/ 5 h 260"/>
                  <a:gd name="T100" fmla="*/ 48 w 359"/>
                  <a:gd name="T101" fmla="*/ 1 h 2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260">
                    <a:moveTo>
                      <a:pt x="41" y="0"/>
                    </a:moveTo>
                    <a:cubicBezTo>
                      <a:pt x="37" y="2"/>
                      <a:pt x="35" y="3"/>
                      <a:pt x="32" y="6"/>
                    </a:cubicBezTo>
                    <a:cubicBezTo>
                      <a:pt x="31" y="6"/>
                      <a:pt x="30" y="7"/>
                      <a:pt x="29" y="7"/>
                    </a:cubicBezTo>
                    <a:cubicBezTo>
                      <a:pt x="29" y="7"/>
                      <a:pt x="28" y="7"/>
                      <a:pt x="28" y="7"/>
                    </a:cubicBezTo>
                    <a:cubicBezTo>
                      <a:pt x="29" y="9"/>
                      <a:pt x="30" y="10"/>
                      <a:pt x="31" y="10"/>
                    </a:cubicBezTo>
                    <a:cubicBezTo>
                      <a:pt x="31" y="10"/>
                      <a:pt x="32" y="10"/>
                      <a:pt x="32" y="9"/>
                    </a:cubicBezTo>
                    <a:cubicBezTo>
                      <a:pt x="32" y="11"/>
                      <a:pt x="31" y="11"/>
                      <a:pt x="32" y="12"/>
                    </a:cubicBezTo>
                    <a:cubicBezTo>
                      <a:pt x="30" y="13"/>
                      <a:pt x="27" y="12"/>
                      <a:pt x="26" y="14"/>
                    </a:cubicBezTo>
                    <a:cubicBezTo>
                      <a:pt x="26" y="14"/>
                      <a:pt x="26" y="14"/>
                      <a:pt x="26" y="14"/>
                    </a:cubicBezTo>
                    <a:cubicBezTo>
                      <a:pt x="23" y="14"/>
                      <a:pt x="22" y="16"/>
                      <a:pt x="19" y="16"/>
                    </a:cubicBezTo>
                    <a:cubicBezTo>
                      <a:pt x="19" y="16"/>
                      <a:pt x="18" y="16"/>
                      <a:pt x="18" y="16"/>
                    </a:cubicBezTo>
                    <a:cubicBezTo>
                      <a:pt x="16" y="16"/>
                      <a:pt x="15" y="15"/>
                      <a:pt x="13" y="15"/>
                    </a:cubicBezTo>
                    <a:cubicBezTo>
                      <a:pt x="13" y="15"/>
                      <a:pt x="13" y="15"/>
                      <a:pt x="13" y="15"/>
                    </a:cubicBezTo>
                    <a:cubicBezTo>
                      <a:pt x="10" y="15"/>
                      <a:pt x="9" y="19"/>
                      <a:pt x="6" y="20"/>
                    </a:cubicBezTo>
                    <a:cubicBezTo>
                      <a:pt x="6" y="20"/>
                      <a:pt x="6" y="21"/>
                      <a:pt x="6" y="21"/>
                    </a:cubicBezTo>
                    <a:cubicBezTo>
                      <a:pt x="6" y="21"/>
                      <a:pt x="5" y="20"/>
                      <a:pt x="5" y="20"/>
                    </a:cubicBezTo>
                    <a:cubicBezTo>
                      <a:pt x="5" y="20"/>
                      <a:pt x="5" y="20"/>
                      <a:pt x="4" y="20"/>
                    </a:cubicBezTo>
                    <a:cubicBezTo>
                      <a:pt x="4" y="20"/>
                      <a:pt x="4" y="20"/>
                      <a:pt x="3" y="21"/>
                    </a:cubicBezTo>
                    <a:cubicBezTo>
                      <a:pt x="2" y="22"/>
                      <a:pt x="2" y="25"/>
                      <a:pt x="0" y="25"/>
                    </a:cubicBezTo>
                    <a:cubicBezTo>
                      <a:pt x="1" y="26"/>
                      <a:pt x="0" y="28"/>
                      <a:pt x="1" y="28"/>
                    </a:cubicBezTo>
                    <a:cubicBezTo>
                      <a:pt x="1" y="31"/>
                      <a:pt x="2" y="32"/>
                      <a:pt x="5" y="34"/>
                    </a:cubicBezTo>
                    <a:cubicBezTo>
                      <a:pt x="8" y="37"/>
                      <a:pt x="8" y="38"/>
                      <a:pt x="6" y="41"/>
                    </a:cubicBezTo>
                    <a:cubicBezTo>
                      <a:pt x="6" y="41"/>
                      <a:pt x="7" y="41"/>
                      <a:pt x="7" y="41"/>
                    </a:cubicBezTo>
                    <a:cubicBezTo>
                      <a:pt x="10" y="41"/>
                      <a:pt x="13" y="39"/>
                      <a:pt x="16" y="37"/>
                    </a:cubicBezTo>
                    <a:cubicBezTo>
                      <a:pt x="15" y="40"/>
                      <a:pt x="14" y="43"/>
                      <a:pt x="12" y="45"/>
                    </a:cubicBezTo>
                    <a:cubicBezTo>
                      <a:pt x="12" y="44"/>
                      <a:pt x="12" y="44"/>
                      <a:pt x="12" y="44"/>
                    </a:cubicBezTo>
                    <a:cubicBezTo>
                      <a:pt x="11" y="44"/>
                      <a:pt x="11" y="44"/>
                      <a:pt x="10" y="45"/>
                    </a:cubicBezTo>
                    <a:cubicBezTo>
                      <a:pt x="12" y="46"/>
                      <a:pt x="13" y="47"/>
                      <a:pt x="14" y="47"/>
                    </a:cubicBezTo>
                    <a:cubicBezTo>
                      <a:pt x="14" y="47"/>
                      <a:pt x="15" y="47"/>
                      <a:pt x="15" y="47"/>
                    </a:cubicBezTo>
                    <a:cubicBezTo>
                      <a:pt x="16" y="47"/>
                      <a:pt x="17" y="46"/>
                      <a:pt x="17" y="46"/>
                    </a:cubicBezTo>
                    <a:cubicBezTo>
                      <a:pt x="18" y="46"/>
                      <a:pt x="18" y="46"/>
                      <a:pt x="18" y="46"/>
                    </a:cubicBezTo>
                    <a:cubicBezTo>
                      <a:pt x="16" y="48"/>
                      <a:pt x="14" y="49"/>
                      <a:pt x="13" y="50"/>
                    </a:cubicBezTo>
                    <a:cubicBezTo>
                      <a:pt x="12" y="52"/>
                      <a:pt x="13" y="52"/>
                      <a:pt x="14" y="52"/>
                    </a:cubicBezTo>
                    <a:cubicBezTo>
                      <a:pt x="15" y="52"/>
                      <a:pt x="17" y="51"/>
                      <a:pt x="18" y="51"/>
                    </a:cubicBezTo>
                    <a:cubicBezTo>
                      <a:pt x="16" y="53"/>
                      <a:pt x="13" y="54"/>
                      <a:pt x="12" y="57"/>
                    </a:cubicBezTo>
                    <a:cubicBezTo>
                      <a:pt x="12" y="58"/>
                      <a:pt x="12" y="60"/>
                      <a:pt x="12" y="61"/>
                    </a:cubicBezTo>
                    <a:cubicBezTo>
                      <a:pt x="15" y="59"/>
                      <a:pt x="20" y="56"/>
                      <a:pt x="23" y="55"/>
                    </a:cubicBezTo>
                    <a:cubicBezTo>
                      <a:pt x="24" y="55"/>
                      <a:pt x="25" y="55"/>
                      <a:pt x="27" y="55"/>
                    </a:cubicBezTo>
                    <a:cubicBezTo>
                      <a:pt x="28" y="54"/>
                      <a:pt x="28" y="54"/>
                      <a:pt x="28" y="54"/>
                    </a:cubicBezTo>
                    <a:cubicBezTo>
                      <a:pt x="29" y="54"/>
                      <a:pt x="30" y="53"/>
                      <a:pt x="31" y="53"/>
                    </a:cubicBezTo>
                    <a:cubicBezTo>
                      <a:pt x="33" y="53"/>
                      <a:pt x="33" y="53"/>
                      <a:pt x="33" y="53"/>
                    </a:cubicBezTo>
                    <a:cubicBezTo>
                      <a:pt x="35" y="54"/>
                      <a:pt x="35" y="54"/>
                      <a:pt x="35" y="54"/>
                    </a:cubicBezTo>
                    <a:cubicBezTo>
                      <a:pt x="36" y="56"/>
                      <a:pt x="38" y="58"/>
                      <a:pt x="37" y="61"/>
                    </a:cubicBezTo>
                    <a:cubicBezTo>
                      <a:pt x="37" y="61"/>
                      <a:pt x="37" y="61"/>
                      <a:pt x="37" y="61"/>
                    </a:cubicBezTo>
                    <a:cubicBezTo>
                      <a:pt x="38" y="60"/>
                      <a:pt x="39" y="60"/>
                      <a:pt x="40" y="60"/>
                    </a:cubicBezTo>
                    <a:cubicBezTo>
                      <a:pt x="42" y="60"/>
                      <a:pt x="44" y="61"/>
                      <a:pt x="45" y="62"/>
                    </a:cubicBezTo>
                    <a:cubicBezTo>
                      <a:pt x="47" y="62"/>
                      <a:pt x="47" y="62"/>
                      <a:pt x="47" y="62"/>
                    </a:cubicBezTo>
                    <a:cubicBezTo>
                      <a:pt x="48" y="63"/>
                      <a:pt x="48" y="63"/>
                      <a:pt x="48" y="63"/>
                    </a:cubicBezTo>
                    <a:cubicBezTo>
                      <a:pt x="48" y="63"/>
                      <a:pt x="49" y="63"/>
                      <a:pt x="49" y="63"/>
                    </a:cubicBezTo>
                    <a:cubicBezTo>
                      <a:pt x="50" y="63"/>
                      <a:pt x="52" y="63"/>
                      <a:pt x="54" y="62"/>
                    </a:cubicBezTo>
                    <a:cubicBezTo>
                      <a:pt x="55" y="62"/>
                      <a:pt x="56" y="62"/>
                      <a:pt x="57" y="62"/>
                    </a:cubicBezTo>
                    <a:cubicBezTo>
                      <a:pt x="58" y="62"/>
                      <a:pt x="58" y="62"/>
                      <a:pt x="58" y="62"/>
                    </a:cubicBezTo>
                    <a:cubicBezTo>
                      <a:pt x="59" y="61"/>
                      <a:pt x="60" y="61"/>
                      <a:pt x="62" y="60"/>
                    </a:cubicBezTo>
                    <a:cubicBezTo>
                      <a:pt x="63" y="59"/>
                      <a:pt x="64" y="59"/>
                      <a:pt x="65" y="59"/>
                    </a:cubicBezTo>
                    <a:cubicBezTo>
                      <a:pt x="66" y="59"/>
                      <a:pt x="66" y="59"/>
                      <a:pt x="67" y="59"/>
                    </a:cubicBezTo>
                    <a:cubicBezTo>
                      <a:pt x="67" y="59"/>
                      <a:pt x="67" y="59"/>
                      <a:pt x="67" y="59"/>
                    </a:cubicBezTo>
                    <a:cubicBezTo>
                      <a:pt x="68" y="59"/>
                      <a:pt x="68" y="59"/>
                      <a:pt x="68" y="59"/>
                    </a:cubicBezTo>
                    <a:cubicBezTo>
                      <a:pt x="69" y="59"/>
                      <a:pt x="69" y="59"/>
                      <a:pt x="69" y="59"/>
                    </a:cubicBezTo>
                    <a:cubicBezTo>
                      <a:pt x="70" y="59"/>
                      <a:pt x="71" y="59"/>
                      <a:pt x="71" y="59"/>
                    </a:cubicBezTo>
                    <a:cubicBezTo>
                      <a:pt x="72" y="59"/>
                      <a:pt x="72" y="59"/>
                      <a:pt x="72" y="59"/>
                    </a:cubicBezTo>
                    <a:cubicBezTo>
                      <a:pt x="73" y="59"/>
                      <a:pt x="74" y="59"/>
                      <a:pt x="74" y="59"/>
                    </a:cubicBezTo>
                    <a:cubicBezTo>
                      <a:pt x="75" y="59"/>
                      <a:pt x="75" y="59"/>
                      <a:pt x="75" y="59"/>
                    </a:cubicBezTo>
                    <a:cubicBezTo>
                      <a:pt x="75" y="59"/>
                      <a:pt x="76" y="59"/>
                      <a:pt x="76" y="59"/>
                    </a:cubicBezTo>
                    <a:cubicBezTo>
                      <a:pt x="78" y="59"/>
                      <a:pt x="79" y="59"/>
                      <a:pt x="80" y="60"/>
                    </a:cubicBezTo>
                    <a:cubicBezTo>
                      <a:pt x="82" y="61"/>
                      <a:pt x="82" y="64"/>
                      <a:pt x="82" y="66"/>
                    </a:cubicBezTo>
                    <a:cubicBezTo>
                      <a:pt x="82" y="66"/>
                      <a:pt x="82" y="67"/>
                      <a:pt x="82" y="67"/>
                    </a:cubicBezTo>
                    <a:cubicBezTo>
                      <a:pt x="82" y="68"/>
                      <a:pt x="82" y="68"/>
                      <a:pt x="82" y="68"/>
                    </a:cubicBezTo>
                    <a:cubicBezTo>
                      <a:pt x="83" y="69"/>
                      <a:pt x="83" y="69"/>
                      <a:pt x="83" y="69"/>
                    </a:cubicBezTo>
                    <a:cubicBezTo>
                      <a:pt x="83" y="69"/>
                      <a:pt x="84" y="69"/>
                      <a:pt x="84" y="69"/>
                    </a:cubicBezTo>
                    <a:cubicBezTo>
                      <a:pt x="86" y="70"/>
                      <a:pt x="86" y="70"/>
                      <a:pt x="86" y="70"/>
                    </a:cubicBezTo>
                    <a:cubicBezTo>
                      <a:pt x="88" y="71"/>
                      <a:pt x="90" y="72"/>
                      <a:pt x="91" y="74"/>
                    </a:cubicBezTo>
                    <a:cubicBezTo>
                      <a:pt x="91" y="76"/>
                      <a:pt x="90" y="78"/>
                      <a:pt x="90" y="80"/>
                    </a:cubicBezTo>
                    <a:cubicBezTo>
                      <a:pt x="88" y="83"/>
                      <a:pt x="86" y="84"/>
                      <a:pt x="84" y="86"/>
                    </a:cubicBezTo>
                    <a:cubicBezTo>
                      <a:pt x="83" y="87"/>
                      <a:pt x="83" y="87"/>
                      <a:pt x="83" y="87"/>
                    </a:cubicBezTo>
                    <a:cubicBezTo>
                      <a:pt x="81" y="89"/>
                      <a:pt x="79" y="90"/>
                      <a:pt x="78" y="90"/>
                    </a:cubicBezTo>
                    <a:cubicBezTo>
                      <a:pt x="76" y="91"/>
                      <a:pt x="75" y="92"/>
                      <a:pt x="74" y="93"/>
                    </a:cubicBezTo>
                    <a:cubicBezTo>
                      <a:pt x="73" y="93"/>
                      <a:pt x="73" y="93"/>
                      <a:pt x="73" y="93"/>
                    </a:cubicBezTo>
                    <a:cubicBezTo>
                      <a:pt x="77" y="99"/>
                      <a:pt x="77" y="99"/>
                      <a:pt x="77" y="99"/>
                    </a:cubicBezTo>
                    <a:cubicBezTo>
                      <a:pt x="72" y="95"/>
                      <a:pt x="72" y="95"/>
                      <a:pt x="72" y="95"/>
                    </a:cubicBezTo>
                    <a:cubicBezTo>
                      <a:pt x="71" y="95"/>
                      <a:pt x="72" y="96"/>
                      <a:pt x="72" y="98"/>
                    </a:cubicBezTo>
                    <a:cubicBezTo>
                      <a:pt x="73" y="99"/>
                      <a:pt x="73" y="100"/>
                      <a:pt x="74" y="101"/>
                    </a:cubicBezTo>
                    <a:cubicBezTo>
                      <a:pt x="75" y="104"/>
                      <a:pt x="74" y="108"/>
                      <a:pt x="74" y="111"/>
                    </a:cubicBezTo>
                    <a:cubicBezTo>
                      <a:pt x="74" y="113"/>
                      <a:pt x="74" y="113"/>
                      <a:pt x="74" y="113"/>
                    </a:cubicBezTo>
                    <a:cubicBezTo>
                      <a:pt x="74" y="115"/>
                      <a:pt x="73" y="116"/>
                      <a:pt x="73" y="118"/>
                    </a:cubicBezTo>
                    <a:cubicBezTo>
                      <a:pt x="73" y="120"/>
                      <a:pt x="73" y="120"/>
                      <a:pt x="73" y="120"/>
                    </a:cubicBezTo>
                    <a:cubicBezTo>
                      <a:pt x="73" y="121"/>
                      <a:pt x="72" y="122"/>
                      <a:pt x="71" y="123"/>
                    </a:cubicBezTo>
                    <a:cubicBezTo>
                      <a:pt x="71" y="126"/>
                      <a:pt x="71" y="139"/>
                      <a:pt x="66" y="143"/>
                    </a:cubicBezTo>
                    <a:cubicBezTo>
                      <a:pt x="64" y="144"/>
                      <a:pt x="63" y="144"/>
                      <a:pt x="60" y="144"/>
                    </a:cubicBezTo>
                    <a:cubicBezTo>
                      <a:pt x="59" y="144"/>
                      <a:pt x="58" y="144"/>
                      <a:pt x="57" y="144"/>
                    </a:cubicBezTo>
                    <a:cubicBezTo>
                      <a:pt x="58" y="147"/>
                      <a:pt x="58" y="147"/>
                      <a:pt x="58" y="147"/>
                    </a:cubicBezTo>
                    <a:cubicBezTo>
                      <a:pt x="59" y="148"/>
                      <a:pt x="59" y="148"/>
                      <a:pt x="60" y="149"/>
                    </a:cubicBezTo>
                    <a:cubicBezTo>
                      <a:pt x="61" y="150"/>
                      <a:pt x="61" y="152"/>
                      <a:pt x="62" y="153"/>
                    </a:cubicBezTo>
                    <a:cubicBezTo>
                      <a:pt x="62" y="153"/>
                      <a:pt x="62" y="153"/>
                      <a:pt x="62" y="153"/>
                    </a:cubicBezTo>
                    <a:cubicBezTo>
                      <a:pt x="62" y="154"/>
                      <a:pt x="62" y="154"/>
                      <a:pt x="62" y="154"/>
                    </a:cubicBezTo>
                    <a:cubicBezTo>
                      <a:pt x="62" y="154"/>
                      <a:pt x="63" y="154"/>
                      <a:pt x="64" y="154"/>
                    </a:cubicBezTo>
                    <a:cubicBezTo>
                      <a:pt x="66" y="155"/>
                      <a:pt x="68" y="156"/>
                      <a:pt x="69" y="159"/>
                    </a:cubicBezTo>
                    <a:cubicBezTo>
                      <a:pt x="70" y="160"/>
                      <a:pt x="70" y="161"/>
                      <a:pt x="70" y="162"/>
                    </a:cubicBezTo>
                    <a:cubicBezTo>
                      <a:pt x="69" y="164"/>
                      <a:pt x="69" y="165"/>
                      <a:pt x="68" y="165"/>
                    </a:cubicBezTo>
                    <a:cubicBezTo>
                      <a:pt x="67" y="167"/>
                      <a:pt x="66" y="168"/>
                      <a:pt x="65" y="169"/>
                    </a:cubicBezTo>
                    <a:cubicBezTo>
                      <a:pt x="64" y="170"/>
                      <a:pt x="64" y="170"/>
                      <a:pt x="64" y="170"/>
                    </a:cubicBezTo>
                    <a:cubicBezTo>
                      <a:pt x="64" y="170"/>
                      <a:pt x="64" y="170"/>
                      <a:pt x="64" y="170"/>
                    </a:cubicBezTo>
                    <a:cubicBezTo>
                      <a:pt x="63" y="171"/>
                      <a:pt x="63" y="171"/>
                      <a:pt x="63" y="171"/>
                    </a:cubicBezTo>
                    <a:cubicBezTo>
                      <a:pt x="63" y="171"/>
                      <a:pt x="63" y="171"/>
                      <a:pt x="63" y="171"/>
                    </a:cubicBezTo>
                    <a:cubicBezTo>
                      <a:pt x="62" y="173"/>
                      <a:pt x="61" y="175"/>
                      <a:pt x="61" y="177"/>
                    </a:cubicBezTo>
                    <a:cubicBezTo>
                      <a:pt x="60" y="177"/>
                      <a:pt x="60" y="178"/>
                      <a:pt x="60" y="179"/>
                    </a:cubicBezTo>
                    <a:cubicBezTo>
                      <a:pt x="60" y="179"/>
                      <a:pt x="61" y="180"/>
                      <a:pt x="62" y="182"/>
                    </a:cubicBezTo>
                    <a:cubicBezTo>
                      <a:pt x="63" y="183"/>
                      <a:pt x="63" y="184"/>
                      <a:pt x="64" y="184"/>
                    </a:cubicBezTo>
                    <a:cubicBezTo>
                      <a:pt x="64" y="185"/>
                      <a:pt x="64" y="185"/>
                      <a:pt x="64" y="185"/>
                    </a:cubicBezTo>
                    <a:cubicBezTo>
                      <a:pt x="65" y="185"/>
                      <a:pt x="65" y="185"/>
                      <a:pt x="65" y="185"/>
                    </a:cubicBezTo>
                    <a:cubicBezTo>
                      <a:pt x="71" y="184"/>
                      <a:pt x="71" y="184"/>
                      <a:pt x="71" y="184"/>
                    </a:cubicBezTo>
                    <a:cubicBezTo>
                      <a:pt x="71" y="188"/>
                      <a:pt x="71" y="188"/>
                      <a:pt x="71" y="188"/>
                    </a:cubicBezTo>
                    <a:cubicBezTo>
                      <a:pt x="71" y="190"/>
                      <a:pt x="70" y="191"/>
                      <a:pt x="69" y="193"/>
                    </a:cubicBezTo>
                    <a:cubicBezTo>
                      <a:pt x="69" y="193"/>
                      <a:pt x="69" y="193"/>
                      <a:pt x="69" y="193"/>
                    </a:cubicBezTo>
                    <a:cubicBezTo>
                      <a:pt x="67" y="195"/>
                      <a:pt x="64" y="196"/>
                      <a:pt x="62" y="197"/>
                    </a:cubicBezTo>
                    <a:cubicBezTo>
                      <a:pt x="62" y="198"/>
                      <a:pt x="61" y="198"/>
                      <a:pt x="60" y="198"/>
                    </a:cubicBezTo>
                    <a:cubicBezTo>
                      <a:pt x="60" y="199"/>
                      <a:pt x="58" y="202"/>
                      <a:pt x="57" y="204"/>
                    </a:cubicBezTo>
                    <a:cubicBezTo>
                      <a:pt x="55" y="208"/>
                      <a:pt x="54" y="210"/>
                      <a:pt x="55" y="212"/>
                    </a:cubicBezTo>
                    <a:cubicBezTo>
                      <a:pt x="56" y="213"/>
                      <a:pt x="57" y="218"/>
                      <a:pt x="57" y="218"/>
                    </a:cubicBezTo>
                    <a:cubicBezTo>
                      <a:pt x="57" y="220"/>
                      <a:pt x="57" y="220"/>
                      <a:pt x="57" y="220"/>
                    </a:cubicBezTo>
                    <a:cubicBezTo>
                      <a:pt x="59" y="220"/>
                      <a:pt x="61" y="220"/>
                      <a:pt x="63" y="221"/>
                    </a:cubicBezTo>
                    <a:cubicBezTo>
                      <a:pt x="64" y="221"/>
                      <a:pt x="64" y="221"/>
                      <a:pt x="65" y="221"/>
                    </a:cubicBezTo>
                    <a:cubicBezTo>
                      <a:pt x="66" y="221"/>
                      <a:pt x="67" y="220"/>
                      <a:pt x="66" y="219"/>
                    </a:cubicBezTo>
                    <a:cubicBezTo>
                      <a:pt x="66" y="219"/>
                      <a:pt x="66" y="219"/>
                      <a:pt x="66" y="219"/>
                    </a:cubicBezTo>
                    <a:cubicBezTo>
                      <a:pt x="67" y="219"/>
                      <a:pt x="68" y="219"/>
                      <a:pt x="68" y="219"/>
                    </a:cubicBezTo>
                    <a:cubicBezTo>
                      <a:pt x="66" y="223"/>
                      <a:pt x="73" y="226"/>
                      <a:pt x="75" y="228"/>
                    </a:cubicBezTo>
                    <a:cubicBezTo>
                      <a:pt x="77" y="230"/>
                      <a:pt x="79" y="232"/>
                      <a:pt x="82" y="233"/>
                    </a:cubicBezTo>
                    <a:cubicBezTo>
                      <a:pt x="82" y="233"/>
                      <a:pt x="82" y="233"/>
                      <a:pt x="82" y="233"/>
                    </a:cubicBezTo>
                    <a:cubicBezTo>
                      <a:pt x="83" y="233"/>
                      <a:pt x="83" y="233"/>
                      <a:pt x="84" y="232"/>
                    </a:cubicBezTo>
                    <a:cubicBezTo>
                      <a:pt x="84" y="232"/>
                      <a:pt x="85" y="231"/>
                      <a:pt x="86" y="231"/>
                    </a:cubicBezTo>
                    <a:cubicBezTo>
                      <a:pt x="86" y="231"/>
                      <a:pt x="86" y="231"/>
                      <a:pt x="87" y="231"/>
                    </a:cubicBezTo>
                    <a:cubicBezTo>
                      <a:pt x="85" y="232"/>
                      <a:pt x="83" y="234"/>
                      <a:pt x="83" y="236"/>
                    </a:cubicBezTo>
                    <a:cubicBezTo>
                      <a:pt x="82" y="236"/>
                      <a:pt x="81" y="236"/>
                      <a:pt x="81" y="237"/>
                    </a:cubicBezTo>
                    <a:cubicBezTo>
                      <a:pt x="81" y="238"/>
                      <a:pt x="84" y="242"/>
                      <a:pt x="85" y="243"/>
                    </a:cubicBezTo>
                    <a:cubicBezTo>
                      <a:pt x="90" y="250"/>
                      <a:pt x="95" y="259"/>
                      <a:pt x="104" y="260"/>
                    </a:cubicBezTo>
                    <a:cubicBezTo>
                      <a:pt x="104" y="260"/>
                      <a:pt x="104" y="260"/>
                      <a:pt x="105" y="260"/>
                    </a:cubicBezTo>
                    <a:cubicBezTo>
                      <a:pt x="106" y="260"/>
                      <a:pt x="110" y="258"/>
                      <a:pt x="112" y="256"/>
                    </a:cubicBezTo>
                    <a:cubicBezTo>
                      <a:pt x="112" y="256"/>
                      <a:pt x="112" y="256"/>
                      <a:pt x="113" y="257"/>
                    </a:cubicBezTo>
                    <a:cubicBezTo>
                      <a:pt x="112" y="256"/>
                      <a:pt x="112" y="256"/>
                      <a:pt x="112" y="256"/>
                    </a:cubicBezTo>
                    <a:cubicBezTo>
                      <a:pt x="113" y="256"/>
                      <a:pt x="113" y="256"/>
                      <a:pt x="113" y="256"/>
                    </a:cubicBezTo>
                    <a:cubicBezTo>
                      <a:pt x="115" y="253"/>
                      <a:pt x="114" y="251"/>
                      <a:pt x="118" y="249"/>
                    </a:cubicBezTo>
                    <a:cubicBezTo>
                      <a:pt x="122" y="247"/>
                      <a:pt x="126" y="245"/>
                      <a:pt x="131" y="243"/>
                    </a:cubicBezTo>
                    <a:cubicBezTo>
                      <a:pt x="133" y="241"/>
                      <a:pt x="136" y="239"/>
                      <a:pt x="138" y="238"/>
                    </a:cubicBezTo>
                    <a:cubicBezTo>
                      <a:pt x="141" y="237"/>
                      <a:pt x="143" y="236"/>
                      <a:pt x="146" y="236"/>
                    </a:cubicBezTo>
                    <a:cubicBezTo>
                      <a:pt x="148" y="236"/>
                      <a:pt x="149" y="236"/>
                      <a:pt x="151" y="236"/>
                    </a:cubicBezTo>
                    <a:cubicBezTo>
                      <a:pt x="152" y="236"/>
                      <a:pt x="153" y="237"/>
                      <a:pt x="154" y="237"/>
                    </a:cubicBezTo>
                    <a:cubicBezTo>
                      <a:pt x="155" y="237"/>
                      <a:pt x="155" y="237"/>
                      <a:pt x="155" y="237"/>
                    </a:cubicBezTo>
                    <a:cubicBezTo>
                      <a:pt x="160" y="236"/>
                      <a:pt x="165" y="236"/>
                      <a:pt x="170" y="236"/>
                    </a:cubicBezTo>
                    <a:cubicBezTo>
                      <a:pt x="173" y="236"/>
                      <a:pt x="175" y="236"/>
                      <a:pt x="178" y="236"/>
                    </a:cubicBezTo>
                    <a:cubicBezTo>
                      <a:pt x="181" y="237"/>
                      <a:pt x="183" y="238"/>
                      <a:pt x="185" y="238"/>
                    </a:cubicBezTo>
                    <a:cubicBezTo>
                      <a:pt x="185" y="238"/>
                      <a:pt x="186" y="238"/>
                      <a:pt x="186" y="238"/>
                    </a:cubicBezTo>
                    <a:cubicBezTo>
                      <a:pt x="190" y="238"/>
                      <a:pt x="192" y="236"/>
                      <a:pt x="196" y="235"/>
                    </a:cubicBezTo>
                    <a:cubicBezTo>
                      <a:pt x="197" y="234"/>
                      <a:pt x="198" y="234"/>
                      <a:pt x="199" y="234"/>
                    </a:cubicBezTo>
                    <a:cubicBezTo>
                      <a:pt x="200" y="234"/>
                      <a:pt x="199" y="235"/>
                      <a:pt x="201" y="236"/>
                    </a:cubicBezTo>
                    <a:cubicBezTo>
                      <a:pt x="202" y="236"/>
                      <a:pt x="202" y="236"/>
                      <a:pt x="202" y="236"/>
                    </a:cubicBezTo>
                    <a:cubicBezTo>
                      <a:pt x="205" y="236"/>
                      <a:pt x="208" y="231"/>
                      <a:pt x="209" y="229"/>
                    </a:cubicBezTo>
                    <a:cubicBezTo>
                      <a:pt x="212" y="224"/>
                      <a:pt x="215" y="220"/>
                      <a:pt x="218" y="216"/>
                    </a:cubicBezTo>
                    <a:cubicBezTo>
                      <a:pt x="219" y="214"/>
                      <a:pt x="227" y="212"/>
                      <a:pt x="229" y="212"/>
                    </a:cubicBezTo>
                    <a:cubicBezTo>
                      <a:pt x="231" y="211"/>
                      <a:pt x="234" y="209"/>
                      <a:pt x="236" y="209"/>
                    </a:cubicBezTo>
                    <a:cubicBezTo>
                      <a:pt x="236" y="209"/>
                      <a:pt x="236" y="209"/>
                      <a:pt x="236" y="209"/>
                    </a:cubicBezTo>
                    <a:cubicBezTo>
                      <a:pt x="236" y="209"/>
                      <a:pt x="237" y="209"/>
                      <a:pt x="237" y="209"/>
                    </a:cubicBezTo>
                    <a:cubicBezTo>
                      <a:pt x="237" y="210"/>
                      <a:pt x="237" y="210"/>
                      <a:pt x="237" y="210"/>
                    </a:cubicBezTo>
                    <a:cubicBezTo>
                      <a:pt x="238" y="210"/>
                      <a:pt x="238" y="210"/>
                      <a:pt x="238" y="210"/>
                    </a:cubicBezTo>
                    <a:cubicBezTo>
                      <a:pt x="239" y="210"/>
                      <a:pt x="241" y="209"/>
                      <a:pt x="243" y="208"/>
                    </a:cubicBezTo>
                    <a:cubicBezTo>
                      <a:pt x="243" y="208"/>
                      <a:pt x="240" y="205"/>
                      <a:pt x="240" y="204"/>
                    </a:cubicBezTo>
                    <a:cubicBezTo>
                      <a:pt x="241" y="202"/>
                      <a:pt x="243" y="199"/>
                      <a:pt x="244" y="196"/>
                    </a:cubicBezTo>
                    <a:cubicBezTo>
                      <a:pt x="245" y="194"/>
                      <a:pt x="246" y="192"/>
                      <a:pt x="247" y="190"/>
                    </a:cubicBezTo>
                    <a:cubicBezTo>
                      <a:pt x="252" y="181"/>
                      <a:pt x="263" y="176"/>
                      <a:pt x="271" y="171"/>
                    </a:cubicBezTo>
                    <a:cubicBezTo>
                      <a:pt x="262" y="165"/>
                      <a:pt x="257" y="160"/>
                      <a:pt x="255" y="150"/>
                    </a:cubicBezTo>
                    <a:cubicBezTo>
                      <a:pt x="254" y="142"/>
                      <a:pt x="262" y="134"/>
                      <a:pt x="266" y="128"/>
                    </a:cubicBezTo>
                    <a:cubicBezTo>
                      <a:pt x="272" y="120"/>
                      <a:pt x="281" y="111"/>
                      <a:pt x="285" y="102"/>
                    </a:cubicBezTo>
                    <a:cubicBezTo>
                      <a:pt x="285" y="102"/>
                      <a:pt x="285" y="102"/>
                      <a:pt x="285" y="102"/>
                    </a:cubicBezTo>
                    <a:cubicBezTo>
                      <a:pt x="286" y="100"/>
                      <a:pt x="288" y="96"/>
                      <a:pt x="291" y="95"/>
                    </a:cubicBezTo>
                    <a:cubicBezTo>
                      <a:pt x="296" y="91"/>
                      <a:pt x="305" y="90"/>
                      <a:pt x="311" y="88"/>
                    </a:cubicBezTo>
                    <a:cubicBezTo>
                      <a:pt x="313" y="88"/>
                      <a:pt x="316" y="86"/>
                      <a:pt x="319" y="85"/>
                    </a:cubicBezTo>
                    <a:cubicBezTo>
                      <a:pt x="319" y="84"/>
                      <a:pt x="319" y="83"/>
                      <a:pt x="319" y="82"/>
                    </a:cubicBezTo>
                    <a:cubicBezTo>
                      <a:pt x="319" y="78"/>
                      <a:pt x="322" y="74"/>
                      <a:pt x="326" y="74"/>
                    </a:cubicBezTo>
                    <a:cubicBezTo>
                      <a:pt x="329" y="74"/>
                      <a:pt x="331" y="76"/>
                      <a:pt x="333" y="78"/>
                    </a:cubicBezTo>
                    <a:cubicBezTo>
                      <a:pt x="333" y="78"/>
                      <a:pt x="334" y="77"/>
                      <a:pt x="335" y="77"/>
                    </a:cubicBezTo>
                    <a:cubicBezTo>
                      <a:pt x="340" y="74"/>
                      <a:pt x="351" y="71"/>
                      <a:pt x="354" y="66"/>
                    </a:cubicBezTo>
                    <a:cubicBezTo>
                      <a:pt x="356" y="62"/>
                      <a:pt x="353" y="59"/>
                      <a:pt x="353" y="56"/>
                    </a:cubicBezTo>
                    <a:cubicBezTo>
                      <a:pt x="353" y="53"/>
                      <a:pt x="355" y="52"/>
                      <a:pt x="359" y="50"/>
                    </a:cubicBezTo>
                    <a:cubicBezTo>
                      <a:pt x="358" y="50"/>
                      <a:pt x="357" y="49"/>
                      <a:pt x="357" y="48"/>
                    </a:cubicBezTo>
                    <a:cubicBezTo>
                      <a:pt x="357" y="49"/>
                      <a:pt x="357" y="49"/>
                      <a:pt x="357" y="49"/>
                    </a:cubicBezTo>
                    <a:cubicBezTo>
                      <a:pt x="353" y="50"/>
                      <a:pt x="353" y="50"/>
                      <a:pt x="353" y="50"/>
                    </a:cubicBezTo>
                    <a:cubicBezTo>
                      <a:pt x="353" y="50"/>
                      <a:pt x="353" y="50"/>
                      <a:pt x="353" y="50"/>
                    </a:cubicBezTo>
                    <a:cubicBezTo>
                      <a:pt x="342" y="52"/>
                      <a:pt x="342" y="52"/>
                      <a:pt x="342" y="52"/>
                    </a:cubicBezTo>
                    <a:cubicBezTo>
                      <a:pt x="341" y="52"/>
                      <a:pt x="341" y="53"/>
                      <a:pt x="340" y="53"/>
                    </a:cubicBezTo>
                    <a:cubicBezTo>
                      <a:pt x="339" y="53"/>
                      <a:pt x="339" y="53"/>
                      <a:pt x="339" y="53"/>
                    </a:cubicBezTo>
                    <a:cubicBezTo>
                      <a:pt x="338" y="53"/>
                      <a:pt x="337" y="53"/>
                      <a:pt x="337" y="53"/>
                    </a:cubicBezTo>
                    <a:cubicBezTo>
                      <a:pt x="335" y="53"/>
                      <a:pt x="334" y="53"/>
                      <a:pt x="333" y="53"/>
                    </a:cubicBezTo>
                    <a:cubicBezTo>
                      <a:pt x="328" y="52"/>
                      <a:pt x="323" y="51"/>
                      <a:pt x="319" y="50"/>
                    </a:cubicBezTo>
                    <a:cubicBezTo>
                      <a:pt x="319" y="50"/>
                      <a:pt x="318" y="50"/>
                      <a:pt x="318" y="50"/>
                    </a:cubicBezTo>
                    <a:cubicBezTo>
                      <a:pt x="317" y="49"/>
                      <a:pt x="317" y="49"/>
                      <a:pt x="317" y="49"/>
                    </a:cubicBezTo>
                    <a:cubicBezTo>
                      <a:pt x="314" y="48"/>
                      <a:pt x="312" y="47"/>
                      <a:pt x="311" y="45"/>
                    </a:cubicBezTo>
                    <a:cubicBezTo>
                      <a:pt x="311" y="44"/>
                      <a:pt x="311" y="44"/>
                      <a:pt x="311" y="44"/>
                    </a:cubicBezTo>
                    <a:cubicBezTo>
                      <a:pt x="305" y="43"/>
                      <a:pt x="300" y="42"/>
                      <a:pt x="295" y="39"/>
                    </a:cubicBezTo>
                    <a:cubicBezTo>
                      <a:pt x="294" y="39"/>
                      <a:pt x="293" y="39"/>
                      <a:pt x="292" y="38"/>
                    </a:cubicBezTo>
                    <a:cubicBezTo>
                      <a:pt x="289" y="37"/>
                      <a:pt x="289" y="37"/>
                      <a:pt x="289" y="37"/>
                    </a:cubicBezTo>
                    <a:cubicBezTo>
                      <a:pt x="289" y="37"/>
                      <a:pt x="288" y="36"/>
                      <a:pt x="287" y="36"/>
                    </a:cubicBezTo>
                    <a:cubicBezTo>
                      <a:pt x="287" y="36"/>
                      <a:pt x="287" y="36"/>
                      <a:pt x="287" y="36"/>
                    </a:cubicBezTo>
                    <a:cubicBezTo>
                      <a:pt x="287" y="37"/>
                      <a:pt x="287" y="37"/>
                      <a:pt x="287" y="37"/>
                    </a:cubicBezTo>
                    <a:cubicBezTo>
                      <a:pt x="287" y="41"/>
                      <a:pt x="287" y="41"/>
                      <a:pt x="287" y="41"/>
                    </a:cubicBezTo>
                    <a:cubicBezTo>
                      <a:pt x="283" y="41"/>
                      <a:pt x="283" y="41"/>
                      <a:pt x="283" y="41"/>
                    </a:cubicBezTo>
                    <a:cubicBezTo>
                      <a:pt x="281" y="41"/>
                      <a:pt x="279" y="41"/>
                      <a:pt x="277" y="41"/>
                    </a:cubicBezTo>
                    <a:cubicBezTo>
                      <a:pt x="275" y="41"/>
                      <a:pt x="273" y="41"/>
                      <a:pt x="270" y="41"/>
                    </a:cubicBezTo>
                    <a:cubicBezTo>
                      <a:pt x="265" y="41"/>
                      <a:pt x="265" y="41"/>
                      <a:pt x="265" y="41"/>
                    </a:cubicBezTo>
                    <a:cubicBezTo>
                      <a:pt x="265" y="41"/>
                      <a:pt x="265" y="41"/>
                      <a:pt x="264" y="41"/>
                    </a:cubicBezTo>
                    <a:cubicBezTo>
                      <a:pt x="264" y="41"/>
                      <a:pt x="264" y="41"/>
                      <a:pt x="263" y="41"/>
                    </a:cubicBezTo>
                    <a:cubicBezTo>
                      <a:pt x="262" y="40"/>
                      <a:pt x="261" y="40"/>
                      <a:pt x="260" y="40"/>
                    </a:cubicBezTo>
                    <a:cubicBezTo>
                      <a:pt x="259" y="39"/>
                      <a:pt x="258" y="38"/>
                      <a:pt x="257" y="38"/>
                    </a:cubicBezTo>
                    <a:cubicBezTo>
                      <a:pt x="256" y="37"/>
                      <a:pt x="256" y="37"/>
                      <a:pt x="255" y="36"/>
                    </a:cubicBezTo>
                    <a:cubicBezTo>
                      <a:pt x="255" y="36"/>
                      <a:pt x="255" y="36"/>
                      <a:pt x="255" y="36"/>
                    </a:cubicBezTo>
                    <a:cubicBezTo>
                      <a:pt x="255" y="36"/>
                      <a:pt x="254" y="36"/>
                      <a:pt x="254" y="36"/>
                    </a:cubicBezTo>
                    <a:cubicBezTo>
                      <a:pt x="252" y="37"/>
                      <a:pt x="251" y="37"/>
                      <a:pt x="250" y="37"/>
                    </a:cubicBezTo>
                    <a:cubicBezTo>
                      <a:pt x="247" y="37"/>
                      <a:pt x="246" y="36"/>
                      <a:pt x="244" y="34"/>
                    </a:cubicBezTo>
                    <a:cubicBezTo>
                      <a:pt x="244" y="34"/>
                      <a:pt x="243" y="33"/>
                      <a:pt x="242" y="33"/>
                    </a:cubicBezTo>
                    <a:cubicBezTo>
                      <a:pt x="241" y="32"/>
                      <a:pt x="241" y="32"/>
                      <a:pt x="241" y="32"/>
                    </a:cubicBezTo>
                    <a:cubicBezTo>
                      <a:pt x="241" y="32"/>
                      <a:pt x="241" y="32"/>
                      <a:pt x="240" y="32"/>
                    </a:cubicBezTo>
                    <a:cubicBezTo>
                      <a:pt x="238" y="31"/>
                      <a:pt x="236" y="31"/>
                      <a:pt x="234" y="31"/>
                    </a:cubicBezTo>
                    <a:cubicBezTo>
                      <a:pt x="233" y="30"/>
                      <a:pt x="231" y="30"/>
                      <a:pt x="230" y="30"/>
                    </a:cubicBezTo>
                    <a:cubicBezTo>
                      <a:pt x="230" y="30"/>
                      <a:pt x="229" y="30"/>
                      <a:pt x="229" y="30"/>
                    </a:cubicBezTo>
                    <a:cubicBezTo>
                      <a:pt x="228" y="30"/>
                      <a:pt x="228" y="30"/>
                      <a:pt x="228" y="30"/>
                    </a:cubicBezTo>
                    <a:cubicBezTo>
                      <a:pt x="226" y="30"/>
                      <a:pt x="224" y="29"/>
                      <a:pt x="223" y="28"/>
                    </a:cubicBezTo>
                    <a:cubicBezTo>
                      <a:pt x="219" y="25"/>
                      <a:pt x="221" y="21"/>
                      <a:pt x="221" y="20"/>
                    </a:cubicBezTo>
                    <a:cubicBezTo>
                      <a:pt x="221" y="20"/>
                      <a:pt x="221" y="20"/>
                      <a:pt x="221" y="20"/>
                    </a:cubicBezTo>
                    <a:cubicBezTo>
                      <a:pt x="221" y="20"/>
                      <a:pt x="221" y="20"/>
                      <a:pt x="221" y="20"/>
                    </a:cubicBezTo>
                    <a:cubicBezTo>
                      <a:pt x="221" y="20"/>
                      <a:pt x="220" y="20"/>
                      <a:pt x="220" y="20"/>
                    </a:cubicBezTo>
                    <a:cubicBezTo>
                      <a:pt x="219" y="21"/>
                      <a:pt x="219" y="21"/>
                      <a:pt x="219" y="21"/>
                    </a:cubicBezTo>
                    <a:cubicBezTo>
                      <a:pt x="218" y="21"/>
                      <a:pt x="218" y="21"/>
                      <a:pt x="218" y="21"/>
                    </a:cubicBezTo>
                    <a:cubicBezTo>
                      <a:pt x="215" y="20"/>
                      <a:pt x="213" y="18"/>
                      <a:pt x="211" y="17"/>
                    </a:cubicBezTo>
                    <a:cubicBezTo>
                      <a:pt x="210" y="16"/>
                      <a:pt x="210" y="16"/>
                      <a:pt x="210" y="16"/>
                    </a:cubicBezTo>
                    <a:cubicBezTo>
                      <a:pt x="212" y="14"/>
                      <a:pt x="212" y="14"/>
                      <a:pt x="212" y="14"/>
                    </a:cubicBezTo>
                    <a:cubicBezTo>
                      <a:pt x="211" y="14"/>
                      <a:pt x="210" y="14"/>
                      <a:pt x="210" y="14"/>
                    </a:cubicBezTo>
                    <a:cubicBezTo>
                      <a:pt x="208" y="14"/>
                      <a:pt x="205" y="15"/>
                      <a:pt x="203" y="15"/>
                    </a:cubicBezTo>
                    <a:cubicBezTo>
                      <a:pt x="201" y="15"/>
                      <a:pt x="199" y="16"/>
                      <a:pt x="197" y="16"/>
                    </a:cubicBezTo>
                    <a:cubicBezTo>
                      <a:pt x="196" y="16"/>
                      <a:pt x="196" y="16"/>
                      <a:pt x="196" y="16"/>
                    </a:cubicBezTo>
                    <a:cubicBezTo>
                      <a:pt x="190" y="15"/>
                      <a:pt x="188" y="12"/>
                      <a:pt x="184" y="12"/>
                    </a:cubicBezTo>
                    <a:cubicBezTo>
                      <a:pt x="183" y="12"/>
                      <a:pt x="182" y="12"/>
                      <a:pt x="181" y="13"/>
                    </a:cubicBezTo>
                    <a:cubicBezTo>
                      <a:pt x="178" y="13"/>
                      <a:pt x="177" y="14"/>
                      <a:pt x="175" y="14"/>
                    </a:cubicBezTo>
                    <a:cubicBezTo>
                      <a:pt x="173" y="14"/>
                      <a:pt x="172" y="13"/>
                      <a:pt x="168" y="11"/>
                    </a:cubicBezTo>
                    <a:cubicBezTo>
                      <a:pt x="167" y="11"/>
                      <a:pt x="165" y="10"/>
                      <a:pt x="164" y="10"/>
                    </a:cubicBezTo>
                    <a:cubicBezTo>
                      <a:pt x="163" y="10"/>
                      <a:pt x="162" y="10"/>
                      <a:pt x="161" y="10"/>
                    </a:cubicBezTo>
                    <a:cubicBezTo>
                      <a:pt x="157" y="10"/>
                      <a:pt x="152" y="11"/>
                      <a:pt x="148" y="11"/>
                    </a:cubicBezTo>
                    <a:cubicBezTo>
                      <a:pt x="145" y="12"/>
                      <a:pt x="141" y="13"/>
                      <a:pt x="137" y="13"/>
                    </a:cubicBezTo>
                    <a:cubicBezTo>
                      <a:pt x="137" y="13"/>
                      <a:pt x="136" y="13"/>
                      <a:pt x="136" y="13"/>
                    </a:cubicBezTo>
                    <a:cubicBezTo>
                      <a:pt x="131" y="12"/>
                      <a:pt x="126" y="11"/>
                      <a:pt x="121" y="10"/>
                    </a:cubicBezTo>
                    <a:cubicBezTo>
                      <a:pt x="116" y="9"/>
                      <a:pt x="111" y="8"/>
                      <a:pt x="105" y="7"/>
                    </a:cubicBezTo>
                    <a:cubicBezTo>
                      <a:pt x="101" y="7"/>
                      <a:pt x="101" y="5"/>
                      <a:pt x="99" y="5"/>
                    </a:cubicBezTo>
                    <a:cubicBezTo>
                      <a:pt x="98" y="4"/>
                      <a:pt x="98" y="4"/>
                      <a:pt x="97" y="4"/>
                    </a:cubicBezTo>
                    <a:cubicBezTo>
                      <a:pt x="96" y="4"/>
                      <a:pt x="94" y="5"/>
                      <a:pt x="92" y="5"/>
                    </a:cubicBezTo>
                    <a:cubicBezTo>
                      <a:pt x="87" y="6"/>
                      <a:pt x="81" y="7"/>
                      <a:pt x="75" y="8"/>
                    </a:cubicBezTo>
                    <a:cubicBezTo>
                      <a:pt x="73" y="8"/>
                      <a:pt x="68" y="10"/>
                      <a:pt x="65" y="10"/>
                    </a:cubicBezTo>
                    <a:cubicBezTo>
                      <a:pt x="65" y="10"/>
                      <a:pt x="64" y="10"/>
                      <a:pt x="64" y="10"/>
                    </a:cubicBezTo>
                    <a:cubicBezTo>
                      <a:pt x="60" y="9"/>
                      <a:pt x="56" y="5"/>
                      <a:pt x="52" y="3"/>
                    </a:cubicBezTo>
                    <a:cubicBezTo>
                      <a:pt x="51" y="2"/>
                      <a:pt x="50" y="1"/>
                      <a:pt x="48" y="1"/>
                    </a:cubicBezTo>
                    <a:cubicBezTo>
                      <a:pt x="46" y="1"/>
                      <a:pt x="44" y="2"/>
                      <a:pt x="42" y="3"/>
                    </a:cubicBezTo>
                    <a:cubicBezTo>
                      <a:pt x="41" y="3"/>
                      <a:pt x="41" y="3"/>
                      <a:pt x="41" y="3"/>
                    </a:cubicBezTo>
                    <a:cubicBezTo>
                      <a:pt x="40" y="3"/>
                      <a:pt x="40" y="2"/>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268"/>
              <p:cNvSpPr/>
              <p:nvPr/>
            </p:nvSpPr>
            <p:spPr bwMode="auto">
              <a:xfrm>
                <a:off x="3924649" y="3865687"/>
                <a:ext cx="1153441" cy="983926"/>
              </a:xfrm>
              <a:custGeom>
                <a:gdLst>
                  <a:gd name="T0" fmla="*/ 149 w 364"/>
                  <a:gd name="T1" fmla="*/ 47 h 309"/>
                  <a:gd name="T2" fmla="*/ 150 w 364"/>
                  <a:gd name="T3" fmla="*/ 59 h 309"/>
                  <a:gd name="T4" fmla="*/ 99 w 364"/>
                  <a:gd name="T5" fmla="*/ 56 h 309"/>
                  <a:gd name="T6" fmla="*/ 81 w 364"/>
                  <a:gd name="T7" fmla="*/ 50 h 309"/>
                  <a:gd name="T8" fmla="*/ 98 w 364"/>
                  <a:gd name="T9" fmla="*/ 89 h 309"/>
                  <a:gd name="T10" fmla="*/ 67 w 364"/>
                  <a:gd name="T11" fmla="*/ 93 h 309"/>
                  <a:gd name="T12" fmla="*/ 1 w 364"/>
                  <a:gd name="T13" fmla="*/ 95 h 309"/>
                  <a:gd name="T14" fmla="*/ 15 w 364"/>
                  <a:gd name="T15" fmla="*/ 100 h 309"/>
                  <a:gd name="T16" fmla="*/ 12 w 364"/>
                  <a:gd name="T17" fmla="*/ 109 h 309"/>
                  <a:gd name="T18" fmla="*/ 20 w 364"/>
                  <a:gd name="T19" fmla="*/ 117 h 309"/>
                  <a:gd name="T20" fmla="*/ 71 w 364"/>
                  <a:gd name="T21" fmla="*/ 140 h 309"/>
                  <a:gd name="T22" fmla="*/ 78 w 364"/>
                  <a:gd name="T23" fmla="*/ 139 h 309"/>
                  <a:gd name="T24" fmla="*/ 105 w 364"/>
                  <a:gd name="T25" fmla="*/ 174 h 309"/>
                  <a:gd name="T26" fmla="*/ 104 w 364"/>
                  <a:gd name="T27" fmla="*/ 202 h 309"/>
                  <a:gd name="T28" fmla="*/ 91 w 364"/>
                  <a:gd name="T29" fmla="*/ 273 h 309"/>
                  <a:gd name="T30" fmla="*/ 100 w 364"/>
                  <a:gd name="T31" fmla="*/ 286 h 309"/>
                  <a:gd name="T32" fmla="*/ 117 w 364"/>
                  <a:gd name="T33" fmla="*/ 289 h 309"/>
                  <a:gd name="T34" fmla="*/ 128 w 364"/>
                  <a:gd name="T35" fmla="*/ 292 h 309"/>
                  <a:gd name="T36" fmla="*/ 142 w 364"/>
                  <a:gd name="T37" fmla="*/ 297 h 309"/>
                  <a:gd name="T38" fmla="*/ 164 w 364"/>
                  <a:gd name="T39" fmla="*/ 294 h 309"/>
                  <a:gd name="T40" fmla="*/ 191 w 364"/>
                  <a:gd name="T41" fmla="*/ 306 h 309"/>
                  <a:gd name="T42" fmla="*/ 211 w 364"/>
                  <a:gd name="T43" fmla="*/ 309 h 309"/>
                  <a:gd name="T44" fmla="*/ 246 w 364"/>
                  <a:gd name="T45" fmla="*/ 274 h 309"/>
                  <a:gd name="T46" fmla="*/ 267 w 364"/>
                  <a:gd name="T47" fmla="*/ 273 h 309"/>
                  <a:gd name="T48" fmla="*/ 279 w 364"/>
                  <a:gd name="T49" fmla="*/ 275 h 309"/>
                  <a:gd name="T50" fmla="*/ 296 w 364"/>
                  <a:gd name="T51" fmla="*/ 283 h 309"/>
                  <a:gd name="T52" fmla="*/ 309 w 364"/>
                  <a:gd name="T53" fmla="*/ 286 h 309"/>
                  <a:gd name="T54" fmla="*/ 348 w 364"/>
                  <a:gd name="T55" fmla="*/ 263 h 309"/>
                  <a:gd name="T56" fmla="*/ 333 w 364"/>
                  <a:gd name="T57" fmla="*/ 247 h 309"/>
                  <a:gd name="T58" fmla="*/ 335 w 364"/>
                  <a:gd name="T59" fmla="*/ 209 h 309"/>
                  <a:gd name="T60" fmla="*/ 331 w 364"/>
                  <a:gd name="T61" fmla="*/ 187 h 309"/>
                  <a:gd name="T62" fmla="*/ 327 w 364"/>
                  <a:gd name="T63" fmla="*/ 172 h 309"/>
                  <a:gd name="T64" fmla="*/ 318 w 364"/>
                  <a:gd name="T65" fmla="*/ 174 h 309"/>
                  <a:gd name="T66" fmla="*/ 307 w 364"/>
                  <a:gd name="T67" fmla="*/ 183 h 309"/>
                  <a:gd name="T68" fmla="*/ 307 w 364"/>
                  <a:gd name="T69" fmla="*/ 172 h 309"/>
                  <a:gd name="T70" fmla="*/ 319 w 364"/>
                  <a:gd name="T71" fmla="*/ 147 h 309"/>
                  <a:gd name="T72" fmla="*/ 336 w 364"/>
                  <a:gd name="T73" fmla="*/ 128 h 309"/>
                  <a:gd name="T74" fmla="*/ 344 w 364"/>
                  <a:gd name="T75" fmla="*/ 130 h 309"/>
                  <a:gd name="T76" fmla="*/ 347 w 364"/>
                  <a:gd name="T77" fmla="*/ 123 h 309"/>
                  <a:gd name="T78" fmla="*/ 347 w 364"/>
                  <a:gd name="T79" fmla="*/ 112 h 309"/>
                  <a:gd name="T80" fmla="*/ 364 w 364"/>
                  <a:gd name="T81" fmla="*/ 80 h 309"/>
                  <a:gd name="T82" fmla="*/ 355 w 364"/>
                  <a:gd name="T83" fmla="*/ 79 h 309"/>
                  <a:gd name="T84" fmla="*/ 345 w 364"/>
                  <a:gd name="T85" fmla="*/ 74 h 309"/>
                  <a:gd name="T86" fmla="*/ 334 w 364"/>
                  <a:gd name="T87" fmla="*/ 74 h 309"/>
                  <a:gd name="T88" fmla="*/ 320 w 364"/>
                  <a:gd name="T89" fmla="*/ 66 h 309"/>
                  <a:gd name="T90" fmla="*/ 303 w 364"/>
                  <a:gd name="T91" fmla="*/ 61 h 309"/>
                  <a:gd name="T92" fmla="*/ 295 w 364"/>
                  <a:gd name="T93" fmla="*/ 61 h 309"/>
                  <a:gd name="T94" fmla="*/ 278 w 364"/>
                  <a:gd name="T95" fmla="*/ 51 h 309"/>
                  <a:gd name="T96" fmla="*/ 259 w 364"/>
                  <a:gd name="T97" fmla="*/ 45 h 309"/>
                  <a:gd name="T98" fmla="*/ 252 w 364"/>
                  <a:gd name="T99" fmla="*/ 34 h 309"/>
                  <a:gd name="T100" fmla="*/ 240 w 364"/>
                  <a:gd name="T101" fmla="*/ 34 h 309"/>
                  <a:gd name="T102" fmla="*/ 235 w 364"/>
                  <a:gd name="T103" fmla="*/ 25 h 309"/>
                  <a:gd name="T104" fmla="*/ 225 w 364"/>
                  <a:gd name="T105" fmla="*/ 15 h 309"/>
                  <a:gd name="T106" fmla="*/ 215 w 364"/>
                  <a:gd name="T107" fmla="*/ 16 h 309"/>
                  <a:gd name="T108" fmla="*/ 205 w 364"/>
                  <a:gd name="T109" fmla="*/ 0 h 3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4" h="309">
                    <a:moveTo>
                      <a:pt x="205" y="0"/>
                    </a:moveTo>
                    <a:cubicBezTo>
                      <a:pt x="198" y="2"/>
                      <a:pt x="191" y="4"/>
                      <a:pt x="184" y="6"/>
                    </a:cubicBezTo>
                    <a:cubicBezTo>
                      <a:pt x="179" y="8"/>
                      <a:pt x="181" y="21"/>
                      <a:pt x="182" y="27"/>
                    </a:cubicBezTo>
                    <a:cubicBezTo>
                      <a:pt x="182" y="32"/>
                      <a:pt x="185" y="32"/>
                      <a:pt x="180" y="35"/>
                    </a:cubicBezTo>
                    <a:cubicBezTo>
                      <a:pt x="174" y="38"/>
                      <a:pt x="169" y="41"/>
                      <a:pt x="163" y="43"/>
                    </a:cubicBezTo>
                    <a:cubicBezTo>
                      <a:pt x="158" y="45"/>
                      <a:pt x="153" y="45"/>
                      <a:pt x="149" y="47"/>
                    </a:cubicBezTo>
                    <a:cubicBezTo>
                      <a:pt x="147" y="48"/>
                      <a:pt x="143" y="49"/>
                      <a:pt x="141" y="51"/>
                    </a:cubicBezTo>
                    <a:cubicBezTo>
                      <a:pt x="141" y="52"/>
                      <a:pt x="139" y="56"/>
                      <a:pt x="139" y="57"/>
                    </a:cubicBezTo>
                    <a:cubicBezTo>
                      <a:pt x="139" y="59"/>
                      <a:pt x="141" y="59"/>
                      <a:pt x="144" y="59"/>
                    </a:cubicBezTo>
                    <a:cubicBezTo>
                      <a:pt x="145" y="59"/>
                      <a:pt x="147" y="59"/>
                      <a:pt x="148" y="59"/>
                    </a:cubicBezTo>
                    <a:cubicBezTo>
                      <a:pt x="149" y="59"/>
                      <a:pt x="149" y="59"/>
                      <a:pt x="150" y="59"/>
                    </a:cubicBezTo>
                    <a:cubicBezTo>
                      <a:pt x="150" y="59"/>
                      <a:pt x="150" y="59"/>
                      <a:pt x="150" y="59"/>
                    </a:cubicBezTo>
                    <a:cubicBezTo>
                      <a:pt x="144" y="61"/>
                      <a:pt x="137" y="65"/>
                      <a:pt x="130" y="66"/>
                    </a:cubicBezTo>
                    <a:cubicBezTo>
                      <a:pt x="130" y="66"/>
                      <a:pt x="129" y="66"/>
                      <a:pt x="128" y="66"/>
                    </a:cubicBezTo>
                    <a:cubicBezTo>
                      <a:pt x="125" y="66"/>
                      <a:pt x="122" y="66"/>
                      <a:pt x="120" y="66"/>
                    </a:cubicBezTo>
                    <a:cubicBezTo>
                      <a:pt x="116" y="65"/>
                      <a:pt x="111" y="65"/>
                      <a:pt x="107" y="64"/>
                    </a:cubicBezTo>
                    <a:cubicBezTo>
                      <a:pt x="104" y="64"/>
                      <a:pt x="105" y="64"/>
                      <a:pt x="103" y="61"/>
                    </a:cubicBezTo>
                    <a:cubicBezTo>
                      <a:pt x="101" y="60"/>
                      <a:pt x="99" y="58"/>
                      <a:pt x="99" y="56"/>
                    </a:cubicBezTo>
                    <a:cubicBezTo>
                      <a:pt x="99" y="52"/>
                      <a:pt x="102" y="52"/>
                      <a:pt x="99" y="51"/>
                    </a:cubicBezTo>
                    <a:cubicBezTo>
                      <a:pt x="98" y="51"/>
                      <a:pt x="98" y="51"/>
                      <a:pt x="97" y="51"/>
                    </a:cubicBezTo>
                    <a:cubicBezTo>
                      <a:pt x="96" y="51"/>
                      <a:pt x="95" y="51"/>
                      <a:pt x="95" y="51"/>
                    </a:cubicBezTo>
                    <a:cubicBezTo>
                      <a:pt x="93" y="51"/>
                      <a:pt x="92" y="53"/>
                      <a:pt x="91" y="53"/>
                    </a:cubicBezTo>
                    <a:cubicBezTo>
                      <a:pt x="90" y="53"/>
                      <a:pt x="89" y="52"/>
                      <a:pt x="88" y="52"/>
                    </a:cubicBezTo>
                    <a:cubicBezTo>
                      <a:pt x="85" y="51"/>
                      <a:pt x="84" y="50"/>
                      <a:pt x="81" y="50"/>
                    </a:cubicBezTo>
                    <a:cubicBezTo>
                      <a:pt x="83" y="55"/>
                      <a:pt x="85" y="60"/>
                      <a:pt x="88" y="64"/>
                    </a:cubicBezTo>
                    <a:cubicBezTo>
                      <a:pt x="88" y="64"/>
                      <a:pt x="88" y="64"/>
                      <a:pt x="88" y="64"/>
                    </a:cubicBezTo>
                    <a:cubicBezTo>
                      <a:pt x="89" y="65"/>
                      <a:pt x="89" y="67"/>
                      <a:pt x="90" y="69"/>
                    </a:cubicBezTo>
                    <a:cubicBezTo>
                      <a:pt x="90" y="68"/>
                      <a:pt x="90" y="68"/>
                      <a:pt x="91" y="68"/>
                    </a:cubicBezTo>
                    <a:cubicBezTo>
                      <a:pt x="93" y="68"/>
                      <a:pt x="93" y="81"/>
                      <a:pt x="94" y="83"/>
                    </a:cubicBezTo>
                    <a:cubicBezTo>
                      <a:pt x="94" y="88"/>
                      <a:pt x="94" y="88"/>
                      <a:pt x="98" y="89"/>
                    </a:cubicBezTo>
                    <a:cubicBezTo>
                      <a:pt x="97" y="90"/>
                      <a:pt x="96" y="90"/>
                      <a:pt x="95" y="90"/>
                    </a:cubicBezTo>
                    <a:cubicBezTo>
                      <a:pt x="91" y="90"/>
                      <a:pt x="89" y="88"/>
                      <a:pt x="85" y="88"/>
                    </a:cubicBezTo>
                    <a:cubicBezTo>
                      <a:pt x="85" y="88"/>
                      <a:pt x="85" y="88"/>
                      <a:pt x="85" y="88"/>
                    </a:cubicBezTo>
                    <a:cubicBezTo>
                      <a:pt x="82" y="88"/>
                      <a:pt x="78" y="90"/>
                      <a:pt x="80" y="93"/>
                    </a:cubicBezTo>
                    <a:cubicBezTo>
                      <a:pt x="79" y="92"/>
                      <a:pt x="77" y="91"/>
                      <a:pt x="75" y="91"/>
                    </a:cubicBezTo>
                    <a:cubicBezTo>
                      <a:pt x="72" y="91"/>
                      <a:pt x="69" y="92"/>
                      <a:pt x="67" y="93"/>
                    </a:cubicBezTo>
                    <a:cubicBezTo>
                      <a:pt x="65" y="93"/>
                      <a:pt x="61" y="93"/>
                      <a:pt x="60" y="95"/>
                    </a:cubicBezTo>
                    <a:cubicBezTo>
                      <a:pt x="57" y="92"/>
                      <a:pt x="53" y="85"/>
                      <a:pt x="50" y="84"/>
                    </a:cubicBezTo>
                    <a:cubicBezTo>
                      <a:pt x="52" y="83"/>
                      <a:pt x="48" y="84"/>
                      <a:pt x="49" y="81"/>
                    </a:cubicBezTo>
                    <a:cubicBezTo>
                      <a:pt x="43" y="83"/>
                      <a:pt x="38" y="86"/>
                      <a:pt x="33" y="88"/>
                    </a:cubicBezTo>
                    <a:cubicBezTo>
                      <a:pt x="29" y="90"/>
                      <a:pt x="23" y="90"/>
                      <a:pt x="19" y="91"/>
                    </a:cubicBezTo>
                    <a:cubicBezTo>
                      <a:pt x="13" y="92"/>
                      <a:pt x="7" y="93"/>
                      <a:pt x="1" y="95"/>
                    </a:cubicBezTo>
                    <a:cubicBezTo>
                      <a:pt x="1" y="95"/>
                      <a:pt x="1" y="95"/>
                      <a:pt x="1" y="95"/>
                    </a:cubicBezTo>
                    <a:cubicBezTo>
                      <a:pt x="1" y="95"/>
                      <a:pt x="0" y="100"/>
                      <a:pt x="0" y="100"/>
                    </a:cubicBezTo>
                    <a:cubicBezTo>
                      <a:pt x="1" y="101"/>
                      <a:pt x="1" y="101"/>
                      <a:pt x="2" y="101"/>
                    </a:cubicBezTo>
                    <a:cubicBezTo>
                      <a:pt x="5" y="101"/>
                      <a:pt x="11" y="99"/>
                      <a:pt x="13" y="98"/>
                    </a:cubicBezTo>
                    <a:cubicBezTo>
                      <a:pt x="12" y="99"/>
                      <a:pt x="10" y="99"/>
                      <a:pt x="10" y="101"/>
                    </a:cubicBezTo>
                    <a:cubicBezTo>
                      <a:pt x="11" y="101"/>
                      <a:pt x="13" y="100"/>
                      <a:pt x="15" y="100"/>
                    </a:cubicBezTo>
                    <a:cubicBezTo>
                      <a:pt x="14" y="102"/>
                      <a:pt x="12" y="103"/>
                      <a:pt x="10" y="103"/>
                    </a:cubicBezTo>
                    <a:cubicBezTo>
                      <a:pt x="8" y="103"/>
                      <a:pt x="7" y="102"/>
                      <a:pt x="6" y="102"/>
                    </a:cubicBezTo>
                    <a:cubicBezTo>
                      <a:pt x="5" y="104"/>
                      <a:pt x="6" y="103"/>
                      <a:pt x="7" y="107"/>
                    </a:cubicBezTo>
                    <a:cubicBezTo>
                      <a:pt x="8" y="106"/>
                      <a:pt x="9" y="105"/>
                      <a:pt x="11" y="105"/>
                    </a:cubicBezTo>
                    <a:cubicBezTo>
                      <a:pt x="11" y="105"/>
                      <a:pt x="11" y="105"/>
                      <a:pt x="12" y="105"/>
                    </a:cubicBezTo>
                    <a:cubicBezTo>
                      <a:pt x="14" y="106"/>
                      <a:pt x="14" y="108"/>
                      <a:pt x="12" y="109"/>
                    </a:cubicBezTo>
                    <a:cubicBezTo>
                      <a:pt x="12" y="110"/>
                      <a:pt x="9" y="110"/>
                      <a:pt x="8" y="110"/>
                    </a:cubicBezTo>
                    <a:cubicBezTo>
                      <a:pt x="6" y="110"/>
                      <a:pt x="3" y="110"/>
                      <a:pt x="2" y="112"/>
                    </a:cubicBezTo>
                    <a:cubicBezTo>
                      <a:pt x="6" y="114"/>
                      <a:pt x="9" y="116"/>
                      <a:pt x="13" y="119"/>
                    </a:cubicBezTo>
                    <a:cubicBezTo>
                      <a:pt x="12" y="119"/>
                      <a:pt x="12" y="120"/>
                      <a:pt x="12" y="120"/>
                    </a:cubicBezTo>
                    <a:cubicBezTo>
                      <a:pt x="15" y="119"/>
                      <a:pt x="18" y="117"/>
                      <a:pt x="20" y="117"/>
                    </a:cubicBezTo>
                    <a:cubicBezTo>
                      <a:pt x="20" y="117"/>
                      <a:pt x="20" y="117"/>
                      <a:pt x="20" y="117"/>
                    </a:cubicBezTo>
                    <a:cubicBezTo>
                      <a:pt x="24" y="117"/>
                      <a:pt x="33" y="119"/>
                      <a:pt x="36" y="121"/>
                    </a:cubicBezTo>
                    <a:cubicBezTo>
                      <a:pt x="40" y="124"/>
                      <a:pt x="47" y="127"/>
                      <a:pt x="47" y="132"/>
                    </a:cubicBezTo>
                    <a:cubicBezTo>
                      <a:pt x="48" y="127"/>
                      <a:pt x="47" y="130"/>
                      <a:pt x="50" y="128"/>
                    </a:cubicBezTo>
                    <a:cubicBezTo>
                      <a:pt x="51" y="127"/>
                      <a:pt x="53" y="128"/>
                      <a:pt x="52" y="126"/>
                    </a:cubicBezTo>
                    <a:cubicBezTo>
                      <a:pt x="57" y="128"/>
                      <a:pt x="61" y="130"/>
                      <a:pt x="66" y="133"/>
                    </a:cubicBezTo>
                    <a:cubicBezTo>
                      <a:pt x="62" y="137"/>
                      <a:pt x="67" y="140"/>
                      <a:pt x="71" y="140"/>
                    </a:cubicBezTo>
                    <a:cubicBezTo>
                      <a:pt x="72" y="140"/>
                      <a:pt x="73" y="140"/>
                      <a:pt x="73" y="139"/>
                    </a:cubicBezTo>
                    <a:cubicBezTo>
                      <a:pt x="75" y="139"/>
                      <a:pt x="75" y="138"/>
                      <a:pt x="77" y="138"/>
                    </a:cubicBezTo>
                    <a:cubicBezTo>
                      <a:pt x="78" y="138"/>
                      <a:pt x="78" y="138"/>
                      <a:pt x="78" y="138"/>
                    </a:cubicBezTo>
                    <a:cubicBezTo>
                      <a:pt x="81" y="138"/>
                      <a:pt x="83" y="139"/>
                      <a:pt x="85" y="141"/>
                    </a:cubicBezTo>
                    <a:cubicBezTo>
                      <a:pt x="82" y="141"/>
                      <a:pt x="82" y="139"/>
                      <a:pt x="79" y="139"/>
                    </a:cubicBezTo>
                    <a:cubicBezTo>
                      <a:pt x="79" y="139"/>
                      <a:pt x="79" y="139"/>
                      <a:pt x="78" y="139"/>
                    </a:cubicBezTo>
                    <a:cubicBezTo>
                      <a:pt x="75" y="139"/>
                      <a:pt x="75" y="142"/>
                      <a:pt x="73" y="144"/>
                    </a:cubicBezTo>
                    <a:cubicBezTo>
                      <a:pt x="75" y="146"/>
                      <a:pt x="77" y="147"/>
                      <a:pt x="80" y="148"/>
                    </a:cubicBezTo>
                    <a:cubicBezTo>
                      <a:pt x="77" y="155"/>
                      <a:pt x="73" y="153"/>
                      <a:pt x="80" y="160"/>
                    </a:cubicBezTo>
                    <a:cubicBezTo>
                      <a:pt x="82" y="162"/>
                      <a:pt x="83" y="164"/>
                      <a:pt x="84" y="165"/>
                    </a:cubicBezTo>
                    <a:cubicBezTo>
                      <a:pt x="85" y="166"/>
                      <a:pt x="85" y="167"/>
                      <a:pt x="85" y="167"/>
                    </a:cubicBezTo>
                    <a:cubicBezTo>
                      <a:pt x="88" y="171"/>
                      <a:pt x="100" y="172"/>
                      <a:pt x="105" y="174"/>
                    </a:cubicBezTo>
                    <a:cubicBezTo>
                      <a:pt x="101" y="179"/>
                      <a:pt x="102" y="180"/>
                      <a:pt x="104" y="187"/>
                    </a:cubicBezTo>
                    <a:cubicBezTo>
                      <a:pt x="105" y="190"/>
                      <a:pt x="103" y="190"/>
                      <a:pt x="104" y="193"/>
                    </a:cubicBezTo>
                    <a:cubicBezTo>
                      <a:pt x="104" y="192"/>
                      <a:pt x="103" y="192"/>
                      <a:pt x="103" y="192"/>
                    </a:cubicBezTo>
                    <a:cubicBezTo>
                      <a:pt x="102" y="192"/>
                      <a:pt x="102" y="192"/>
                      <a:pt x="101" y="193"/>
                    </a:cubicBezTo>
                    <a:cubicBezTo>
                      <a:pt x="100" y="195"/>
                      <a:pt x="103" y="198"/>
                      <a:pt x="106" y="200"/>
                    </a:cubicBezTo>
                    <a:cubicBezTo>
                      <a:pt x="105" y="200"/>
                      <a:pt x="105" y="201"/>
                      <a:pt x="104" y="202"/>
                    </a:cubicBezTo>
                    <a:cubicBezTo>
                      <a:pt x="103" y="205"/>
                      <a:pt x="104" y="213"/>
                      <a:pt x="104" y="216"/>
                    </a:cubicBezTo>
                    <a:cubicBezTo>
                      <a:pt x="104" y="220"/>
                      <a:pt x="104" y="224"/>
                      <a:pt x="105" y="228"/>
                    </a:cubicBezTo>
                    <a:cubicBezTo>
                      <a:pt x="105" y="230"/>
                      <a:pt x="107" y="230"/>
                      <a:pt x="107" y="231"/>
                    </a:cubicBezTo>
                    <a:cubicBezTo>
                      <a:pt x="106" y="234"/>
                      <a:pt x="102" y="236"/>
                      <a:pt x="101" y="239"/>
                    </a:cubicBezTo>
                    <a:cubicBezTo>
                      <a:pt x="99" y="241"/>
                      <a:pt x="99" y="245"/>
                      <a:pt x="98" y="248"/>
                    </a:cubicBezTo>
                    <a:cubicBezTo>
                      <a:pt x="97" y="256"/>
                      <a:pt x="97" y="268"/>
                      <a:pt x="91" y="273"/>
                    </a:cubicBezTo>
                    <a:cubicBezTo>
                      <a:pt x="90" y="274"/>
                      <a:pt x="89" y="275"/>
                      <a:pt x="88" y="275"/>
                    </a:cubicBezTo>
                    <a:cubicBezTo>
                      <a:pt x="89" y="276"/>
                      <a:pt x="90" y="276"/>
                      <a:pt x="91" y="277"/>
                    </a:cubicBezTo>
                    <a:cubicBezTo>
                      <a:pt x="91" y="276"/>
                      <a:pt x="92" y="276"/>
                      <a:pt x="93" y="276"/>
                    </a:cubicBezTo>
                    <a:cubicBezTo>
                      <a:pt x="96" y="276"/>
                      <a:pt x="99" y="278"/>
                      <a:pt x="100" y="280"/>
                    </a:cubicBezTo>
                    <a:cubicBezTo>
                      <a:pt x="101" y="282"/>
                      <a:pt x="100" y="284"/>
                      <a:pt x="100" y="286"/>
                    </a:cubicBezTo>
                    <a:cubicBezTo>
                      <a:pt x="100" y="286"/>
                      <a:pt x="100" y="286"/>
                      <a:pt x="100" y="286"/>
                    </a:cubicBezTo>
                    <a:cubicBezTo>
                      <a:pt x="102" y="286"/>
                      <a:pt x="103" y="286"/>
                      <a:pt x="103" y="286"/>
                    </a:cubicBezTo>
                    <a:cubicBezTo>
                      <a:pt x="104" y="286"/>
                      <a:pt x="106" y="286"/>
                      <a:pt x="107" y="287"/>
                    </a:cubicBezTo>
                    <a:cubicBezTo>
                      <a:pt x="107" y="287"/>
                      <a:pt x="107" y="287"/>
                      <a:pt x="107" y="287"/>
                    </a:cubicBezTo>
                    <a:cubicBezTo>
                      <a:pt x="109" y="287"/>
                      <a:pt x="112" y="287"/>
                      <a:pt x="114" y="288"/>
                    </a:cubicBezTo>
                    <a:cubicBezTo>
                      <a:pt x="115" y="288"/>
                      <a:pt x="116" y="289"/>
                      <a:pt x="116" y="289"/>
                    </a:cubicBezTo>
                    <a:cubicBezTo>
                      <a:pt x="117" y="289"/>
                      <a:pt x="117" y="289"/>
                      <a:pt x="117" y="289"/>
                    </a:cubicBezTo>
                    <a:cubicBezTo>
                      <a:pt x="119" y="290"/>
                      <a:pt x="120" y="292"/>
                      <a:pt x="121" y="292"/>
                    </a:cubicBezTo>
                    <a:cubicBezTo>
                      <a:pt x="122" y="293"/>
                      <a:pt x="122" y="293"/>
                      <a:pt x="122" y="293"/>
                    </a:cubicBezTo>
                    <a:cubicBezTo>
                      <a:pt x="122" y="293"/>
                      <a:pt x="122" y="293"/>
                      <a:pt x="122" y="293"/>
                    </a:cubicBezTo>
                    <a:cubicBezTo>
                      <a:pt x="122" y="293"/>
                      <a:pt x="123" y="293"/>
                      <a:pt x="123" y="293"/>
                    </a:cubicBezTo>
                    <a:cubicBezTo>
                      <a:pt x="125" y="292"/>
                      <a:pt x="126" y="292"/>
                      <a:pt x="127" y="292"/>
                    </a:cubicBezTo>
                    <a:cubicBezTo>
                      <a:pt x="127" y="292"/>
                      <a:pt x="128" y="292"/>
                      <a:pt x="128" y="292"/>
                    </a:cubicBezTo>
                    <a:cubicBezTo>
                      <a:pt x="129" y="292"/>
                      <a:pt x="129" y="292"/>
                      <a:pt x="129" y="292"/>
                    </a:cubicBezTo>
                    <a:cubicBezTo>
                      <a:pt x="129" y="292"/>
                      <a:pt x="130" y="293"/>
                      <a:pt x="131" y="293"/>
                    </a:cubicBezTo>
                    <a:cubicBezTo>
                      <a:pt x="131" y="294"/>
                      <a:pt x="132" y="294"/>
                      <a:pt x="133" y="295"/>
                    </a:cubicBezTo>
                    <a:cubicBezTo>
                      <a:pt x="134" y="295"/>
                      <a:pt x="135" y="296"/>
                      <a:pt x="136" y="297"/>
                    </a:cubicBezTo>
                    <a:cubicBezTo>
                      <a:pt x="137" y="297"/>
                      <a:pt x="137" y="297"/>
                      <a:pt x="137" y="297"/>
                    </a:cubicBezTo>
                    <a:cubicBezTo>
                      <a:pt x="142" y="297"/>
                      <a:pt x="142" y="297"/>
                      <a:pt x="142" y="297"/>
                    </a:cubicBezTo>
                    <a:cubicBezTo>
                      <a:pt x="144" y="297"/>
                      <a:pt x="147" y="297"/>
                      <a:pt x="149" y="297"/>
                    </a:cubicBezTo>
                    <a:cubicBezTo>
                      <a:pt x="150" y="297"/>
                      <a:pt x="151" y="297"/>
                      <a:pt x="152" y="297"/>
                    </a:cubicBezTo>
                    <a:cubicBezTo>
                      <a:pt x="152" y="295"/>
                      <a:pt x="152" y="294"/>
                      <a:pt x="154" y="292"/>
                    </a:cubicBezTo>
                    <a:cubicBezTo>
                      <a:pt x="154" y="292"/>
                      <a:pt x="155" y="291"/>
                      <a:pt x="157" y="291"/>
                    </a:cubicBezTo>
                    <a:cubicBezTo>
                      <a:pt x="157" y="291"/>
                      <a:pt x="158" y="291"/>
                      <a:pt x="159" y="292"/>
                    </a:cubicBezTo>
                    <a:cubicBezTo>
                      <a:pt x="160" y="292"/>
                      <a:pt x="162" y="293"/>
                      <a:pt x="164" y="294"/>
                    </a:cubicBezTo>
                    <a:cubicBezTo>
                      <a:pt x="167" y="295"/>
                      <a:pt x="167" y="295"/>
                      <a:pt x="167" y="295"/>
                    </a:cubicBezTo>
                    <a:cubicBezTo>
                      <a:pt x="168" y="295"/>
                      <a:pt x="169" y="296"/>
                      <a:pt x="169" y="296"/>
                    </a:cubicBezTo>
                    <a:cubicBezTo>
                      <a:pt x="175" y="299"/>
                      <a:pt x="180" y="300"/>
                      <a:pt x="187" y="301"/>
                    </a:cubicBezTo>
                    <a:cubicBezTo>
                      <a:pt x="192" y="302"/>
                      <a:pt x="192" y="302"/>
                      <a:pt x="192" y="302"/>
                    </a:cubicBezTo>
                    <a:cubicBezTo>
                      <a:pt x="190" y="305"/>
                      <a:pt x="190" y="305"/>
                      <a:pt x="190" y="305"/>
                    </a:cubicBezTo>
                    <a:cubicBezTo>
                      <a:pt x="191" y="306"/>
                      <a:pt x="191" y="306"/>
                      <a:pt x="191" y="306"/>
                    </a:cubicBezTo>
                    <a:cubicBezTo>
                      <a:pt x="192" y="306"/>
                      <a:pt x="192" y="306"/>
                      <a:pt x="192" y="306"/>
                    </a:cubicBezTo>
                    <a:cubicBezTo>
                      <a:pt x="192" y="306"/>
                      <a:pt x="193" y="306"/>
                      <a:pt x="193" y="306"/>
                    </a:cubicBezTo>
                    <a:cubicBezTo>
                      <a:pt x="195" y="307"/>
                      <a:pt x="199" y="308"/>
                      <a:pt x="206" y="309"/>
                    </a:cubicBezTo>
                    <a:cubicBezTo>
                      <a:pt x="207" y="309"/>
                      <a:pt x="208" y="309"/>
                      <a:pt x="208" y="309"/>
                    </a:cubicBezTo>
                    <a:cubicBezTo>
                      <a:pt x="209" y="309"/>
                      <a:pt x="210" y="309"/>
                      <a:pt x="211" y="309"/>
                    </a:cubicBezTo>
                    <a:cubicBezTo>
                      <a:pt x="211" y="309"/>
                      <a:pt x="211" y="309"/>
                      <a:pt x="211" y="309"/>
                    </a:cubicBezTo>
                    <a:cubicBezTo>
                      <a:pt x="212" y="309"/>
                      <a:pt x="212" y="308"/>
                      <a:pt x="213" y="308"/>
                    </a:cubicBezTo>
                    <a:cubicBezTo>
                      <a:pt x="226" y="306"/>
                      <a:pt x="226" y="306"/>
                      <a:pt x="226" y="306"/>
                    </a:cubicBezTo>
                    <a:cubicBezTo>
                      <a:pt x="225" y="302"/>
                      <a:pt x="224" y="299"/>
                      <a:pt x="223" y="296"/>
                    </a:cubicBezTo>
                    <a:cubicBezTo>
                      <a:pt x="222" y="295"/>
                      <a:pt x="221" y="295"/>
                      <a:pt x="221" y="294"/>
                    </a:cubicBezTo>
                    <a:cubicBezTo>
                      <a:pt x="223" y="292"/>
                      <a:pt x="224" y="289"/>
                      <a:pt x="225" y="287"/>
                    </a:cubicBezTo>
                    <a:cubicBezTo>
                      <a:pt x="230" y="280"/>
                      <a:pt x="238" y="277"/>
                      <a:pt x="246" y="274"/>
                    </a:cubicBezTo>
                    <a:cubicBezTo>
                      <a:pt x="248" y="272"/>
                      <a:pt x="250" y="271"/>
                      <a:pt x="252" y="271"/>
                    </a:cubicBezTo>
                    <a:cubicBezTo>
                      <a:pt x="253" y="271"/>
                      <a:pt x="254" y="271"/>
                      <a:pt x="254" y="272"/>
                    </a:cubicBezTo>
                    <a:cubicBezTo>
                      <a:pt x="257" y="273"/>
                      <a:pt x="259" y="273"/>
                      <a:pt x="262" y="273"/>
                    </a:cubicBezTo>
                    <a:cubicBezTo>
                      <a:pt x="263" y="273"/>
                      <a:pt x="263" y="273"/>
                      <a:pt x="264" y="273"/>
                    </a:cubicBezTo>
                    <a:cubicBezTo>
                      <a:pt x="265" y="273"/>
                      <a:pt x="265" y="273"/>
                      <a:pt x="266" y="273"/>
                    </a:cubicBezTo>
                    <a:cubicBezTo>
                      <a:pt x="266" y="273"/>
                      <a:pt x="266" y="273"/>
                      <a:pt x="267" y="273"/>
                    </a:cubicBezTo>
                    <a:cubicBezTo>
                      <a:pt x="267" y="273"/>
                      <a:pt x="267" y="273"/>
                      <a:pt x="267" y="273"/>
                    </a:cubicBezTo>
                    <a:cubicBezTo>
                      <a:pt x="268" y="273"/>
                      <a:pt x="269" y="273"/>
                      <a:pt x="270" y="273"/>
                    </a:cubicBezTo>
                    <a:cubicBezTo>
                      <a:pt x="270" y="273"/>
                      <a:pt x="270" y="273"/>
                      <a:pt x="270" y="273"/>
                    </a:cubicBezTo>
                    <a:cubicBezTo>
                      <a:pt x="271" y="273"/>
                      <a:pt x="270" y="275"/>
                      <a:pt x="271" y="275"/>
                    </a:cubicBezTo>
                    <a:cubicBezTo>
                      <a:pt x="272" y="275"/>
                      <a:pt x="273" y="275"/>
                      <a:pt x="274" y="275"/>
                    </a:cubicBezTo>
                    <a:cubicBezTo>
                      <a:pt x="276" y="275"/>
                      <a:pt x="278" y="275"/>
                      <a:pt x="279" y="275"/>
                    </a:cubicBezTo>
                    <a:cubicBezTo>
                      <a:pt x="278" y="277"/>
                      <a:pt x="279" y="277"/>
                      <a:pt x="281" y="277"/>
                    </a:cubicBezTo>
                    <a:cubicBezTo>
                      <a:pt x="282" y="277"/>
                      <a:pt x="283" y="277"/>
                      <a:pt x="283" y="277"/>
                    </a:cubicBezTo>
                    <a:cubicBezTo>
                      <a:pt x="284" y="277"/>
                      <a:pt x="285" y="277"/>
                      <a:pt x="286" y="277"/>
                    </a:cubicBezTo>
                    <a:cubicBezTo>
                      <a:pt x="286" y="277"/>
                      <a:pt x="287" y="277"/>
                      <a:pt x="287" y="278"/>
                    </a:cubicBezTo>
                    <a:cubicBezTo>
                      <a:pt x="288" y="278"/>
                      <a:pt x="288" y="282"/>
                      <a:pt x="289" y="282"/>
                    </a:cubicBezTo>
                    <a:cubicBezTo>
                      <a:pt x="291" y="282"/>
                      <a:pt x="293" y="283"/>
                      <a:pt x="296" y="283"/>
                    </a:cubicBezTo>
                    <a:cubicBezTo>
                      <a:pt x="298" y="283"/>
                      <a:pt x="299" y="284"/>
                      <a:pt x="300" y="285"/>
                    </a:cubicBezTo>
                    <a:cubicBezTo>
                      <a:pt x="301" y="285"/>
                      <a:pt x="301" y="286"/>
                      <a:pt x="301" y="286"/>
                    </a:cubicBezTo>
                    <a:cubicBezTo>
                      <a:pt x="301" y="286"/>
                      <a:pt x="301" y="286"/>
                      <a:pt x="301" y="286"/>
                    </a:cubicBezTo>
                    <a:cubicBezTo>
                      <a:pt x="302" y="287"/>
                      <a:pt x="302" y="287"/>
                      <a:pt x="303" y="287"/>
                    </a:cubicBezTo>
                    <a:cubicBezTo>
                      <a:pt x="304" y="287"/>
                      <a:pt x="305" y="287"/>
                      <a:pt x="307" y="287"/>
                    </a:cubicBezTo>
                    <a:cubicBezTo>
                      <a:pt x="307" y="287"/>
                      <a:pt x="308" y="286"/>
                      <a:pt x="309" y="286"/>
                    </a:cubicBezTo>
                    <a:cubicBezTo>
                      <a:pt x="310" y="286"/>
                      <a:pt x="311" y="287"/>
                      <a:pt x="310" y="288"/>
                    </a:cubicBezTo>
                    <a:cubicBezTo>
                      <a:pt x="310" y="288"/>
                      <a:pt x="310" y="288"/>
                      <a:pt x="310" y="288"/>
                    </a:cubicBezTo>
                    <a:cubicBezTo>
                      <a:pt x="319" y="288"/>
                      <a:pt x="325" y="279"/>
                      <a:pt x="331" y="274"/>
                    </a:cubicBezTo>
                    <a:cubicBezTo>
                      <a:pt x="334" y="271"/>
                      <a:pt x="335" y="271"/>
                      <a:pt x="338" y="270"/>
                    </a:cubicBezTo>
                    <a:cubicBezTo>
                      <a:pt x="341" y="270"/>
                      <a:pt x="344" y="267"/>
                      <a:pt x="346" y="265"/>
                    </a:cubicBezTo>
                    <a:cubicBezTo>
                      <a:pt x="347" y="264"/>
                      <a:pt x="348" y="264"/>
                      <a:pt x="348" y="263"/>
                    </a:cubicBezTo>
                    <a:cubicBezTo>
                      <a:pt x="347" y="263"/>
                      <a:pt x="347" y="263"/>
                      <a:pt x="347" y="263"/>
                    </a:cubicBezTo>
                    <a:cubicBezTo>
                      <a:pt x="347" y="261"/>
                      <a:pt x="347" y="261"/>
                      <a:pt x="347" y="261"/>
                    </a:cubicBezTo>
                    <a:cubicBezTo>
                      <a:pt x="348" y="260"/>
                      <a:pt x="349" y="258"/>
                      <a:pt x="349" y="257"/>
                    </a:cubicBezTo>
                    <a:cubicBezTo>
                      <a:pt x="350" y="256"/>
                      <a:pt x="350" y="256"/>
                      <a:pt x="350" y="256"/>
                    </a:cubicBezTo>
                    <a:cubicBezTo>
                      <a:pt x="350" y="255"/>
                      <a:pt x="350" y="255"/>
                      <a:pt x="351" y="254"/>
                    </a:cubicBezTo>
                    <a:cubicBezTo>
                      <a:pt x="333" y="247"/>
                      <a:pt x="333" y="247"/>
                      <a:pt x="333" y="247"/>
                    </a:cubicBezTo>
                    <a:cubicBezTo>
                      <a:pt x="331" y="246"/>
                      <a:pt x="329" y="243"/>
                      <a:pt x="329" y="240"/>
                    </a:cubicBezTo>
                    <a:cubicBezTo>
                      <a:pt x="328" y="237"/>
                      <a:pt x="330" y="233"/>
                      <a:pt x="332" y="230"/>
                    </a:cubicBezTo>
                    <a:cubicBezTo>
                      <a:pt x="319" y="214"/>
                      <a:pt x="319" y="214"/>
                      <a:pt x="319" y="214"/>
                    </a:cubicBezTo>
                    <a:cubicBezTo>
                      <a:pt x="324" y="213"/>
                      <a:pt x="324" y="213"/>
                      <a:pt x="324" y="213"/>
                    </a:cubicBezTo>
                    <a:cubicBezTo>
                      <a:pt x="325" y="212"/>
                      <a:pt x="326" y="212"/>
                      <a:pt x="328" y="211"/>
                    </a:cubicBezTo>
                    <a:cubicBezTo>
                      <a:pt x="330" y="211"/>
                      <a:pt x="333" y="210"/>
                      <a:pt x="335" y="209"/>
                    </a:cubicBezTo>
                    <a:cubicBezTo>
                      <a:pt x="335" y="209"/>
                      <a:pt x="335" y="208"/>
                      <a:pt x="335" y="207"/>
                    </a:cubicBezTo>
                    <a:cubicBezTo>
                      <a:pt x="335" y="207"/>
                      <a:pt x="336" y="207"/>
                      <a:pt x="336" y="206"/>
                    </a:cubicBezTo>
                    <a:cubicBezTo>
                      <a:pt x="335" y="206"/>
                      <a:pt x="335" y="205"/>
                      <a:pt x="334" y="205"/>
                    </a:cubicBezTo>
                    <a:cubicBezTo>
                      <a:pt x="328" y="197"/>
                      <a:pt x="328" y="197"/>
                      <a:pt x="328" y="197"/>
                    </a:cubicBezTo>
                    <a:cubicBezTo>
                      <a:pt x="327" y="195"/>
                      <a:pt x="326" y="193"/>
                      <a:pt x="327" y="192"/>
                    </a:cubicBezTo>
                    <a:cubicBezTo>
                      <a:pt x="327" y="189"/>
                      <a:pt x="330" y="188"/>
                      <a:pt x="331" y="187"/>
                    </a:cubicBezTo>
                    <a:cubicBezTo>
                      <a:pt x="332" y="186"/>
                      <a:pt x="332" y="186"/>
                      <a:pt x="332" y="186"/>
                    </a:cubicBezTo>
                    <a:cubicBezTo>
                      <a:pt x="331" y="186"/>
                      <a:pt x="331" y="186"/>
                      <a:pt x="331" y="185"/>
                    </a:cubicBezTo>
                    <a:cubicBezTo>
                      <a:pt x="330" y="185"/>
                      <a:pt x="330" y="185"/>
                      <a:pt x="330" y="185"/>
                    </a:cubicBezTo>
                    <a:cubicBezTo>
                      <a:pt x="327" y="181"/>
                      <a:pt x="327" y="180"/>
                      <a:pt x="327" y="179"/>
                    </a:cubicBezTo>
                    <a:cubicBezTo>
                      <a:pt x="327" y="179"/>
                      <a:pt x="327" y="178"/>
                      <a:pt x="327" y="177"/>
                    </a:cubicBezTo>
                    <a:cubicBezTo>
                      <a:pt x="327" y="174"/>
                      <a:pt x="327" y="173"/>
                      <a:pt x="327" y="172"/>
                    </a:cubicBezTo>
                    <a:cubicBezTo>
                      <a:pt x="327" y="172"/>
                      <a:pt x="326" y="172"/>
                      <a:pt x="325" y="172"/>
                    </a:cubicBezTo>
                    <a:cubicBezTo>
                      <a:pt x="325" y="172"/>
                      <a:pt x="325" y="172"/>
                      <a:pt x="324" y="172"/>
                    </a:cubicBezTo>
                    <a:cubicBezTo>
                      <a:pt x="324" y="172"/>
                      <a:pt x="324" y="172"/>
                      <a:pt x="324" y="172"/>
                    </a:cubicBezTo>
                    <a:cubicBezTo>
                      <a:pt x="323" y="172"/>
                      <a:pt x="322" y="172"/>
                      <a:pt x="321" y="173"/>
                    </a:cubicBezTo>
                    <a:cubicBezTo>
                      <a:pt x="321" y="173"/>
                      <a:pt x="321" y="173"/>
                      <a:pt x="321" y="173"/>
                    </a:cubicBezTo>
                    <a:cubicBezTo>
                      <a:pt x="320" y="173"/>
                      <a:pt x="319" y="174"/>
                      <a:pt x="318" y="174"/>
                    </a:cubicBezTo>
                    <a:cubicBezTo>
                      <a:pt x="317" y="173"/>
                      <a:pt x="317" y="173"/>
                      <a:pt x="317" y="173"/>
                    </a:cubicBezTo>
                    <a:cubicBezTo>
                      <a:pt x="318" y="174"/>
                      <a:pt x="318" y="174"/>
                      <a:pt x="318" y="174"/>
                    </a:cubicBezTo>
                    <a:cubicBezTo>
                      <a:pt x="316" y="176"/>
                      <a:pt x="314" y="178"/>
                      <a:pt x="312" y="179"/>
                    </a:cubicBezTo>
                    <a:cubicBezTo>
                      <a:pt x="310" y="181"/>
                      <a:pt x="310" y="181"/>
                      <a:pt x="310" y="181"/>
                    </a:cubicBezTo>
                    <a:cubicBezTo>
                      <a:pt x="310" y="181"/>
                      <a:pt x="309" y="182"/>
                      <a:pt x="308" y="183"/>
                    </a:cubicBezTo>
                    <a:cubicBezTo>
                      <a:pt x="307" y="183"/>
                      <a:pt x="307" y="183"/>
                      <a:pt x="307" y="183"/>
                    </a:cubicBezTo>
                    <a:cubicBezTo>
                      <a:pt x="303" y="179"/>
                      <a:pt x="303" y="179"/>
                      <a:pt x="303" y="179"/>
                    </a:cubicBezTo>
                    <a:cubicBezTo>
                      <a:pt x="303" y="178"/>
                      <a:pt x="303" y="178"/>
                      <a:pt x="303" y="178"/>
                    </a:cubicBezTo>
                    <a:cubicBezTo>
                      <a:pt x="303" y="177"/>
                      <a:pt x="304" y="177"/>
                      <a:pt x="304" y="176"/>
                    </a:cubicBezTo>
                    <a:cubicBezTo>
                      <a:pt x="305" y="176"/>
                      <a:pt x="305" y="176"/>
                      <a:pt x="305" y="176"/>
                    </a:cubicBezTo>
                    <a:cubicBezTo>
                      <a:pt x="306" y="174"/>
                      <a:pt x="307" y="173"/>
                      <a:pt x="307" y="173"/>
                    </a:cubicBezTo>
                    <a:cubicBezTo>
                      <a:pt x="307" y="172"/>
                      <a:pt x="307" y="172"/>
                      <a:pt x="307" y="172"/>
                    </a:cubicBezTo>
                    <a:cubicBezTo>
                      <a:pt x="305" y="170"/>
                      <a:pt x="306" y="168"/>
                      <a:pt x="307" y="166"/>
                    </a:cubicBezTo>
                    <a:cubicBezTo>
                      <a:pt x="309" y="162"/>
                      <a:pt x="312" y="159"/>
                      <a:pt x="315" y="156"/>
                    </a:cubicBezTo>
                    <a:cubicBezTo>
                      <a:pt x="316" y="154"/>
                      <a:pt x="316" y="154"/>
                      <a:pt x="316" y="154"/>
                    </a:cubicBezTo>
                    <a:cubicBezTo>
                      <a:pt x="317" y="154"/>
                      <a:pt x="317" y="152"/>
                      <a:pt x="317" y="151"/>
                    </a:cubicBezTo>
                    <a:cubicBezTo>
                      <a:pt x="317" y="150"/>
                      <a:pt x="317" y="150"/>
                      <a:pt x="317" y="150"/>
                    </a:cubicBezTo>
                    <a:cubicBezTo>
                      <a:pt x="318" y="149"/>
                      <a:pt x="318" y="148"/>
                      <a:pt x="319" y="147"/>
                    </a:cubicBezTo>
                    <a:cubicBezTo>
                      <a:pt x="320" y="146"/>
                      <a:pt x="322" y="145"/>
                      <a:pt x="323" y="144"/>
                    </a:cubicBezTo>
                    <a:cubicBezTo>
                      <a:pt x="324" y="144"/>
                      <a:pt x="325" y="144"/>
                      <a:pt x="325" y="143"/>
                    </a:cubicBezTo>
                    <a:cubicBezTo>
                      <a:pt x="327" y="142"/>
                      <a:pt x="329" y="141"/>
                      <a:pt x="330" y="139"/>
                    </a:cubicBezTo>
                    <a:cubicBezTo>
                      <a:pt x="326" y="138"/>
                      <a:pt x="326" y="138"/>
                      <a:pt x="326" y="138"/>
                    </a:cubicBezTo>
                    <a:cubicBezTo>
                      <a:pt x="330" y="133"/>
                      <a:pt x="330" y="133"/>
                      <a:pt x="330" y="133"/>
                    </a:cubicBezTo>
                    <a:cubicBezTo>
                      <a:pt x="332" y="131"/>
                      <a:pt x="333" y="129"/>
                      <a:pt x="336" y="128"/>
                    </a:cubicBezTo>
                    <a:cubicBezTo>
                      <a:pt x="337" y="128"/>
                      <a:pt x="337" y="128"/>
                      <a:pt x="337" y="128"/>
                    </a:cubicBezTo>
                    <a:cubicBezTo>
                      <a:pt x="339" y="128"/>
                      <a:pt x="341" y="129"/>
                      <a:pt x="342" y="130"/>
                    </a:cubicBezTo>
                    <a:cubicBezTo>
                      <a:pt x="343" y="130"/>
                      <a:pt x="343" y="130"/>
                      <a:pt x="343" y="130"/>
                    </a:cubicBezTo>
                    <a:cubicBezTo>
                      <a:pt x="344" y="131"/>
                      <a:pt x="344" y="131"/>
                      <a:pt x="344" y="131"/>
                    </a:cubicBezTo>
                    <a:cubicBezTo>
                      <a:pt x="344" y="130"/>
                      <a:pt x="344" y="130"/>
                      <a:pt x="344" y="130"/>
                    </a:cubicBezTo>
                    <a:cubicBezTo>
                      <a:pt x="344" y="130"/>
                      <a:pt x="344" y="130"/>
                      <a:pt x="344" y="130"/>
                    </a:cubicBezTo>
                    <a:cubicBezTo>
                      <a:pt x="345" y="130"/>
                      <a:pt x="345" y="130"/>
                      <a:pt x="346" y="130"/>
                    </a:cubicBezTo>
                    <a:cubicBezTo>
                      <a:pt x="346" y="130"/>
                      <a:pt x="346" y="130"/>
                      <a:pt x="346" y="130"/>
                    </a:cubicBezTo>
                    <a:cubicBezTo>
                      <a:pt x="347" y="129"/>
                      <a:pt x="347" y="128"/>
                      <a:pt x="347" y="127"/>
                    </a:cubicBezTo>
                    <a:cubicBezTo>
                      <a:pt x="347" y="126"/>
                      <a:pt x="347" y="126"/>
                      <a:pt x="347" y="126"/>
                    </a:cubicBezTo>
                    <a:cubicBezTo>
                      <a:pt x="348" y="126"/>
                      <a:pt x="348" y="126"/>
                      <a:pt x="348" y="126"/>
                    </a:cubicBezTo>
                    <a:cubicBezTo>
                      <a:pt x="348" y="125"/>
                      <a:pt x="347" y="124"/>
                      <a:pt x="347" y="123"/>
                    </a:cubicBezTo>
                    <a:cubicBezTo>
                      <a:pt x="347" y="122"/>
                      <a:pt x="347" y="120"/>
                      <a:pt x="347" y="119"/>
                    </a:cubicBezTo>
                    <a:cubicBezTo>
                      <a:pt x="347" y="118"/>
                      <a:pt x="347" y="117"/>
                      <a:pt x="347" y="116"/>
                    </a:cubicBezTo>
                    <a:cubicBezTo>
                      <a:pt x="347" y="114"/>
                      <a:pt x="347" y="114"/>
                      <a:pt x="347" y="114"/>
                    </a:cubicBezTo>
                    <a:cubicBezTo>
                      <a:pt x="347" y="114"/>
                      <a:pt x="347" y="114"/>
                      <a:pt x="347" y="114"/>
                    </a:cubicBezTo>
                    <a:cubicBezTo>
                      <a:pt x="347" y="113"/>
                      <a:pt x="347" y="113"/>
                      <a:pt x="347" y="112"/>
                    </a:cubicBezTo>
                    <a:cubicBezTo>
                      <a:pt x="347" y="112"/>
                      <a:pt x="347" y="112"/>
                      <a:pt x="347" y="112"/>
                    </a:cubicBezTo>
                    <a:cubicBezTo>
                      <a:pt x="348" y="111"/>
                      <a:pt x="348" y="110"/>
                      <a:pt x="348" y="109"/>
                    </a:cubicBezTo>
                    <a:cubicBezTo>
                      <a:pt x="348" y="108"/>
                      <a:pt x="348" y="107"/>
                      <a:pt x="349" y="107"/>
                    </a:cubicBezTo>
                    <a:cubicBezTo>
                      <a:pt x="350" y="105"/>
                      <a:pt x="351" y="103"/>
                      <a:pt x="353" y="100"/>
                    </a:cubicBezTo>
                    <a:cubicBezTo>
                      <a:pt x="353" y="99"/>
                      <a:pt x="353" y="99"/>
                      <a:pt x="353" y="99"/>
                    </a:cubicBezTo>
                    <a:cubicBezTo>
                      <a:pt x="353" y="99"/>
                      <a:pt x="353" y="99"/>
                      <a:pt x="353" y="99"/>
                    </a:cubicBezTo>
                    <a:cubicBezTo>
                      <a:pt x="357" y="91"/>
                      <a:pt x="359" y="86"/>
                      <a:pt x="364" y="80"/>
                    </a:cubicBezTo>
                    <a:cubicBezTo>
                      <a:pt x="363" y="79"/>
                      <a:pt x="363" y="79"/>
                      <a:pt x="363" y="79"/>
                    </a:cubicBezTo>
                    <a:cubicBezTo>
                      <a:pt x="362" y="79"/>
                      <a:pt x="361" y="79"/>
                      <a:pt x="360" y="79"/>
                    </a:cubicBezTo>
                    <a:cubicBezTo>
                      <a:pt x="360" y="79"/>
                      <a:pt x="359" y="78"/>
                      <a:pt x="359" y="78"/>
                    </a:cubicBezTo>
                    <a:cubicBezTo>
                      <a:pt x="358" y="78"/>
                      <a:pt x="358" y="79"/>
                      <a:pt x="357" y="79"/>
                    </a:cubicBezTo>
                    <a:cubicBezTo>
                      <a:pt x="356" y="79"/>
                      <a:pt x="356" y="79"/>
                      <a:pt x="356" y="79"/>
                    </a:cubicBezTo>
                    <a:cubicBezTo>
                      <a:pt x="355" y="79"/>
                      <a:pt x="355" y="79"/>
                      <a:pt x="355" y="79"/>
                    </a:cubicBezTo>
                    <a:cubicBezTo>
                      <a:pt x="355" y="79"/>
                      <a:pt x="355" y="79"/>
                      <a:pt x="355" y="79"/>
                    </a:cubicBezTo>
                    <a:cubicBezTo>
                      <a:pt x="354" y="79"/>
                      <a:pt x="354" y="78"/>
                      <a:pt x="353" y="78"/>
                    </a:cubicBezTo>
                    <a:cubicBezTo>
                      <a:pt x="353" y="78"/>
                      <a:pt x="353" y="78"/>
                      <a:pt x="353" y="78"/>
                    </a:cubicBezTo>
                    <a:cubicBezTo>
                      <a:pt x="352" y="78"/>
                      <a:pt x="352" y="78"/>
                      <a:pt x="351" y="78"/>
                    </a:cubicBezTo>
                    <a:cubicBezTo>
                      <a:pt x="350" y="77"/>
                      <a:pt x="350" y="77"/>
                      <a:pt x="349" y="76"/>
                    </a:cubicBezTo>
                    <a:cubicBezTo>
                      <a:pt x="348" y="75"/>
                      <a:pt x="346" y="74"/>
                      <a:pt x="345" y="74"/>
                    </a:cubicBezTo>
                    <a:cubicBezTo>
                      <a:pt x="345" y="74"/>
                      <a:pt x="345" y="74"/>
                      <a:pt x="345" y="74"/>
                    </a:cubicBezTo>
                    <a:cubicBezTo>
                      <a:pt x="342" y="74"/>
                      <a:pt x="342" y="74"/>
                      <a:pt x="342" y="74"/>
                    </a:cubicBezTo>
                    <a:cubicBezTo>
                      <a:pt x="341" y="74"/>
                      <a:pt x="341" y="74"/>
                      <a:pt x="340" y="75"/>
                    </a:cubicBezTo>
                    <a:cubicBezTo>
                      <a:pt x="339" y="75"/>
                      <a:pt x="339" y="75"/>
                      <a:pt x="339" y="75"/>
                    </a:cubicBezTo>
                    <a:cubicBezTo>
                      <a:pt x="339" y="75"/>
                      <a:pt x="339" y="75"/>
                      <a:pt x="338" y="75"/>
                    </a:cubicBezTo>
                    <a:cubicBezTo>
                      <a:pt x="337" y="75"/>
                      <a:pt x="335" y="74"/>
                      <a:pt x="334" y="74"/>
                    </a:cubicBezTo>
                    <a:cubicBezTo>
                      <a:pt x="333" y="74"/>
                      <a:pt x="333" y="74"/>
                      <a:pt x="332" y="74"/>
                    </a:cubicBezTo>
                    <a:cubicBezTo>
                      <a:pt x="332" y="73"/>
                      <a:pt x="332" y="73"/>
                      <a:pt x="332" y="73"/>
                    </a:cubicBezTo>
                    <a:cubicBezTo>
                      <a:pt x="329" y="73"/>
                      <a:pt x="326" y="72"/>
                      <a:pt x="323" y="69"/>
                    </a:cubicBezTo>
                    <a:cubicBezTo>
                      <a:pt x="323" y="68"/>
                      <a:pt x="323" y="68"/>
                      <a:pt x="323" y="68"/>
                    </a:cubicBezTo>
                    <a:cubicBezTo>
                      <a:pt x="322" y="68"/>
                      <a:pt x="322" y="67"/>
                      <a:pt x="321" y="66"/>
                    </a:cubicBezTo>
                    <a:cubicBezTo>
                      <a:pt x="320" y="66"/>
                      <a:pt x="320" y="66"/>
                      <a:pt x="320" y="66"/>
                    </a:cubicBezTo>
                    <a:cubicBezTo>
                      <a:pt x="320" y="66"/>
                      <a:pt x="320" y="66"/>
                      <a:pt x="320" y="66"/>
                    </a:cubicBezTo>
                    <a:cubicBezTo>
                      <a:pt x="314" y="62"/>
                      <a:pt x="314" y="62"/>
                      <a:pt x="314" y="62"/>
                    </a:cubicBezTo>
                    <a:cubicBezTo>
                      <a:pt x="313" y="62"/>
                      <a:pt x="313" y="62"/>
                      <a:pt x="312" y="62"/>
                    </a:cubicBezTo>
                    <a:cubicBezTo>
                      <a:pt x="312" y="62"/>
                      <a:pt x="311" y="62"/>
                      <a:pt x="311" y="62"/>
                    </a:cubicBezTo>
                    <a:cubicBezTo>
                      <a:pt x="309" y="62"/>
                      <a:pt x="309" y="62"/>
                      <a:pt x="309" y="62"/>
                    </a:cubicBezTo>
                    <a:cubicBezTo>
                      <a:pt x="307" y="61"/>
                      <a:pt x="305" y="61"/>
                      <a:pt x="303" y="61"/>
                    </a:cubicBezTo>
                    <a:cubicBezTo>
                      <a:pt x="301" y="60"/>
                      <a:pt x="301" y="60"/>
                      <a:pt x="301" y="60"/>
                    </a:cubicBezTo>
                    <a:cubicBezTo>
                      <a:pt x="301" y="60"/>
                      <a:pt x="301" y="60"/>
                      <a:pt x="301" y="60"/>
                    </a:cubicBezTo>
                    <a:cubicBezTo>
                      <a:pt x="301" y="60"/>
                      <a:pt x="301" y="60"/>
                      <a:pt x="301" y="60"/>
                    </a:cubicBezTo>
                    <a:cubicBezTo>
                      <a:pt x="300" y="60"/>
                      <a:pt x="300" y="60"/>
                      <a:pt x="300" y="60"/>
                    </a:cubicBezTo>
                    <a:cubicBezTo>
                      <a:pt x="299" y="60"/>
                      <a:pt x="297" y="60"/>
                      <a:pt x="296" y="61"/>
                    </a:cubicBezTo>
                    <a:cubicBezTo>
                      <a:pt x="295" y="61"/>
                      <a:pt x="295" y="61"/>
                      <a:pt x="295" y="61"/>
                    </a:cubicBezTo>
                    <a:cubicBezTo>
                      <a:pt x="294" y="61"/>
                      <a:pt x="294" y="61"/>
                      <a:pt x="293" y="61"/>
                    </a:cubicBezTo>
                    <a:cubicBezTo>
                      <a:pt x="293" y="61"/>
                      <a:pt x="293" y="61"/>
                      <a:pt x="293" y="61"/>
                    </a:cubicBezTo>
                    <a:cubicBezTo>
                      <a:pt x="292" y="61"/>
                      <a:pt x="292" y="61"/>
                      <a:pt x="292" y="61"/>
                    </a:cubicBezTo>
                    <a:cubicBezTo>
                      <a:pt x="289" y="60"/>
                      <a:pt x="289" y="59"/>
                      <a:pt x="288" y="58"/>
                    </a:cubicBezTo>
                    <a:cubicBezTo>
                      <a:pt x="288" y="57"/>
                      <a:pt x="288" y="57"/>
                      <a:pt x="287" y="56"/>
                    </a:cubicBezTo>
                    <a:cubicBezTo>
                      <a:pt x="286" y="55"/>
                      <a:pt x="281" y="52"/>
                      <a:pt x="278" y="51"/>
                    </a:cubicBezTo>
                    <a:cubicBezTo>
                      <a:pt x="277" y="51"/>
                      <a:pt x="277" y="51"/>
                      <a:pt x="277" y="51"/>
                    </a:cubicBezTo>
                    <a:cubicBezTo>
                      <a:pt x="276" y="51"/>
                      <a:pt x="276" y="51"/>
                      <a:pt x="276" y="51"/>
                    </a:cubicBezTo>
                    <a:cubicBezTo>
                      <a:pt x="276" y="51"/>
                      <a:pt x="276" y="51"/>
                      <a:pt x="276" y="51"/>
                    </a:cubicBezTo>
                    <a:cubicBezTo>
                      <a:pt x="275" y="51"/>
                      <a:pt x="274" y="51"/>
                      <a:pt x="273" y="50"/>
                    </a:cubicBezTo>
                    <a:cubicBezTo>
                      <a:pt x="271" y="48"/>
                      <a:pt x="270" y="45"/>
                      <a:pt x="270" y="41"/>
                    </a:cubicBezTo>
                    <a:cubicBezTo>
                      <a:pt x="267" y="43"/>
                      <a:pt x="263" y="45"/>
                      <a:pt x="259" y="45"/>
                    </a:cubicBezTo>
                    <a:cubicBezTo>
                      <a:pt x="257" y="45"/>
                      <a:pt x="255" y="45"/>
                      <a:pt x="253" y="44"/>
                    </a:cubicBezTo>
                    <a:cubicBezTo>
                      <a:pt x="249" y="42"/>
                      <a:pt x="249" y="42"/>
                      <a:pt x="249" y="42"/>
                    </a:cubicBezTo>
                    <a:cubicBezTo>
                      <a:pt x="251" y="39"/>
                      <a:pt x="251" y="39"/>
                      <a:pt x="251" y="39"/>
                    </a:cubicBezTo>
                    <a:cubicBezTo>
                      <a:pt x="251" y="38"/>
                      <a:pt x="252" y="38"/>
                      <a:pt x="252" y="37"/>
                    </a:cubicBezTo>
                    <a:cubicBezTo>
                      <a:pt x="252" y="36"/>
                      <a:pt x="252" y="36"/>
                      <a:pt x="252" y="36"/>
                    </a:cubicBezTo>
                    <a:cubicBezTo>
                      <a:pt x="252" y="36"/>
                      <a:pt x="252" y="35"/>
                      <a:pt x="252" y="34"/>
                    </a:cubicBezTo>
                    <a:cubicBezTo>
                      <a:pt x="252" y="32"/>
                      <a:pt x="252" y="32"/>
                      <a:pt x="252" y="32"/>
                    </a:cubicBezTo>
                    <a:cubicBezTo>
                      <a:pt x="252" y="32"/>
                      <a:pt x="252" y="32"/>
                      <a:pt x="252" y="32"/>
                    </a:cubicBezTo>
                    <a:cubicBezTo>
                      <a:pt x="250" y="31"/>
                      <a:pt x="249" y="30"/>
                      <a:pt x="247" y="30"/>
                    </a:cubicBezTo>
                    <a:cubicBezTo>
                      <a:pt x="246" y="30"/>
                      <a:pt x="246" y="30"/>
                      <a:pt x="246" y="30"/>
                    </a:cubicBezTo>
                    <a:cubicBezTo>
                      <a:pt x="245" y="30"/>
                      <a:pt x="245" y="31"/>
                      <a:pt x="244" y="31"/>
                    </a:cubicBezTo>
                    <a:cubicBezTo>
                      <a:pt x="240" y="34"/>
                      <a:pt x="240" y="34"/>
                      <a:pt x="240" y="34"/>
                    </a:cubicBezTo>
                    <a:cubicBezTo>
                      <a:pt x="239" y="30"/>
                      <a:pt x="239" y="30"/>
                      <a:pt x="239" y="30"/>
                    </a:cubicBezTo>
                    <a:cubicBezTo>
                      <a:pt x="238" y="29"/>
                      <a:pt x="238" y="28"/>
                      <a:pt x="238" y="27"/>
                    </a:cubicBezTo>
                    <a:cubicBezTo>
                      <a:pt x="238" y="26"/>
                      <a:pt x="238" y="25"/>
                      <a:pt x="237" y="25"/>
                    </a:cubicBezTo>
                    <a:cubicBezTo>
                      <a:pt x="236" y="25"/>
                      <a:pt x="236" y="25"/>
                      <a:pt x="236" y="25"/>
                    </a:cubicBezTo>
                    <a:cubicBezTo>
                      <a:pt x="236" y="25"/>
                      <a:pt x="236" y="25"/>
                      <a:pt x="235" y="25"/>
                    </a:cubicBezTo>
                    <a:cubicBezTo>
                      <a:pt x="235" y="25"/>
                      <a:pt x="235" y="25"/>
                      <a:pt x="235" y="25"/>
                    </a:cubicBezTo>
                    <a:cubicBezTo>
                      <a:pt x="233" y="25"/>
                      <a:pt x="232" y="25"/>
                      <a:pt x="232" y="24"/>
                    </a:cubicBezTo>
                    <a:cubicBezTo>
                      <a:pt x="231" y="24"/>
                      <a:pt x="230" y="24"/>
                      <a:pt x="230" y="24"/>
                    </a:cubicBezTo>
                    <a:cubicBezTo>
                      <a:pt x="229" y="23"/>
                      <a:pt x="229" y="23"/>
                      <a:pt x="229" y="23"/>
                    </a:cubicBezTo>
                    <a:cubicBezTo>
                      <a:pt x="227" y="22"/>
                      <a:pt x="226" y="19"/>
                      <a:pt x="226" y="17"/>
                    </a:cubicBezTo>
                    <a:cubicBezTo>
                      <a:pt x="225" y="16"/>
                      <a:pt x="225" y="16"/>
                      <a:pt x="225" y="16"/>
                    </a:cubicBezTo>
                    <a:cubicBezTo>
                      <a:pt x="225" y="15"/>
                      <a:pt x="225" y="15"/>
                      <a:pt x="225" y="15"/>
                    </a:cubicBezTo>
                    <a:cubicBezTo>
                      <a:pt x="225" y="14"/>
                      <a:pt x="225" y="14"/>
                      <a:pt x="225" y="14"/>
                    </a:cubicBezTo>
                    <a:cubicBezTo>
                      <a:pt x="224" y="14"/>
                      <a:pt x="224" y="14"/>
                      <a:pt x="224" y="14"/>
                    </a:cubicBezTo>
                    <a:cubicBezTo>
                      <a:pt x="223" y="15"/>
                      <a:pt x="222" y="15"/>
                      <a:pt x="221" y="16"/>
                    </a:cubicBezTo>
                    <a:cubicBezTo>
                      <a:pt x="220" y="16"/>
                      <a:pt x="220" y="16"/>
                      <a:pt x="220" y="16"/>
                    </a:cubicBezTo>
                    <a:cubicBezTo>
                      <a:pt x="219" y="16"/>
                      <a:pt x="219" y="17"/>
                      <a:pt x="218" y="17"/>
                    </a:cubicBezTo>
                    <a:cubicBezTo>
                      <a:pt x="217" y="17"/>
                      <a:pt x="216" y="16"/>
                      <a:pt x="215" y="16"/>
                    </a:cubicBezTo>
                    <a:cubicBezTo>
                      <a:pt x="215" y="15"/>
                      <a:pt x="215" y="15"/>
                      <a:pt x="215" y="15"/>
                    </a:cubicBezTo>
                    <a:cubicBezTo>
                      <a:pt x="214" y="15"/>
                      <a:pt x="213" y="13"/>
                      <a:pt x="212" y="12"/>
                    </a:cubicBezTo>
                    <a:cubicBezTo>
                      <a:pt x="211" y="12"/>
                      <a:pt x="211" y="12"/>
                      <a:pt x="211" y="12"/>
                    </a:cubicBezTo>
                    <a:cubicBezTo>
                      <a:pt x="211" y="11"/>
                      <a:pt x="211" y="11"/>
                      <a:pt x="211" y="11"/>
                    </a:cubicBezTo>
                    <a:cubicBezTo>
                      <a:pt x="210" y="10"/>
                      <a:pt x="208" y="8"/>
                      <a:pt x="206" y="5"/>
                    </a:cubicBezTo>
                    <a:cubicBezTo>
                      <a:pt x="206" y="3"/>
                      <a:pt x="205" y="1"/>
                      <a:pt x="2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269"/>
              <p:cNvSpPr/>
              <p:nvPr/>
            </p:nvSpPr>
            <p:spPr bwMode="auto">
              <a:xfrm>
                <a:off x="4595340" y="3828836"/>
                <a:ext cx="324290" cy="210052"/>
              </a:xfrm>
              <a:custGeom>
                <a:gdLst>
                  <a:gd name="T0" fmla="*/ 60 w 102"/>
                  <a:gd name="T1" fmla="*/ 0 h 66"/>
                  <a:gd name="T2" fmla="*/ 55 w 102"/>
                  <a:gd name="T3" fmla="*/ 1 h 66"/>
                  <a:gd name="T4" fmla="*/ 53 w 102"/>
                  <a:gd name="T5" fmla="*/ 0 h 66"/>
                  <a:gd name="T6" fmla="*/ 48 w 102"/>
                  <a:gd name="T7" fmla="*/ 4 h 66"/>
                  <a:gd name="T8" fmla="*/ 47 w 102"/>
                  <a:gd name="T9" fmla="*/ 4 h 66"/>
                  <a:gd name="T10" fmla="*/ 46 w 102"/>
                  <a:gd name="T11" fmla="*/ 3 h 66"/>
                  <a:gd name="T12" fmla="*/ 46 w 102"/>
                  <a:gd name="T13" fmla="*/ 4 h 66"/>
                  <a:gd name="T14" fmla="*/ 45 w 102"/>
                  <a:gd name="T15" fmla="*/ 4 h 66"/>
                  <a:gd name="T16" fmla="*/ 44 w 102"/>
                  <a:gd name="T17" fmla="*/ 4 h 66"/>
                  <a:gd name="T18" fmla="*/ 43 w 102"/>
                  <a:gd name="T19" fmla="*/ 2 h 66"/>
                  <a:gd name="T20" fmla="*/ 20 w 102"/>
                  <a:gd name="T21" fmla="*/ 0 h 66"/>
                  <a:gd name="T22" fmla="*/ 20 w 102"/>
                  <a:gd name="T23" fmla="*/ 0 h 66"/>
                  <a:gd name="T24" fmla="*/ 0 w 102"/>
                  <a:gd name="T25" fmla="*/ 13 h 66"/>
                  <a:gd name="T26" fmla="*/ 4 w 102"/>
                  <a:gd name="T27" fmla="*/ 18 h 66"/>
                  <a:gd name="T28" fmla="*/ 6 w 102"/>
                  <a:gd name="T29" fmla="*/ 21 h 66"/>
                  <a:gd name="T30" fmla="*/ 11 w 102"/>
                  <a:gd name="T31" fmla="*/ 19 h 66"/>
                  <a:gd name="T32" fmla="*/ 19 w 102"/>
                  <a:gd name="T33" fmla="*/ 23 h 66"/>
                  <a:gd name="T34" fmla="*/ 20 w 102"/>
                  <a:gd name="T35" fmla="*/ 27 h 66"/>
                  <a:gd name="T36" fmla="*/ 21 w 102"/>
                  <a:gd name="T37" fmla="*/ 30 h 66"/>
                  <a:gd name="T38" fmla="*/ 25 w 102"/>
                  <a:gd name="T39" fmla="*/ 30 h 66"/>
                  <a:gd name="T40" fmla="*/ 26 w 102"/>
                  <a:gd name="T41" fmla="*/ 30 h 66"/>
                  <a:gd name="T42" fmla="*/ 32 w 102"/>
                  <a:gd name="T43" fmla="*/ 35 h 66"/>
                  <a:gd name="T44" fmla="*/ 35 w 102"/>
                  <a:gd name="T45" fmla="*/ 35 h 66"/>
                  <a:gd name="T46" fmla="*/ 50 w 102"/>
                  <a:gd name="T47" fmla="*/ 43 h 66"/>
                  <a:gd name="T48" fmla="*/ 47 w 102"/>
                  <a:gd name="T49" fmla="*/ 49 h 66"/>
                  <a:gd name="T50" fmla="*/ 47 w 102"/>
                  <a:gd name="T51" fmla="*/ 50 h 66"/>
                  <a:gd name="T52" fmla="*/ 56 w 102"/>
                  <a:gd name="T53" fmla="*/ 45 h 66"/>
                  <a:gd name="T54" fmla="*/ 63 w 102"/>
                  <a:gd name="T55" fmla="*/ 40 h 66"/>
                  <a:gd name="T56" fmla="*/ 64 w 102"/>
                  <a:gd name="T57" fmla="*/ 48 h 66"/>
                  <a:gd name="T58" fmla="*/ 65 w 102"/>
                  <a:gd name="T59" fmla="*/ 56 h 66"/>
                  <a:gd name="T60" fmla="*/ 69 w 102"/>
                  <a:gd name="T61" fmla="*/ 57 h 66"/>
                  <a:gd name="T62" fmla="*/ 82 w 102"/>
                  <a:gd name="T63" fmla="*/ 66 h 66"/>
                  <a:gd name="T64" fmla="*/ 87 w 102"/>
                  <a:gd name="T65" fmla="*/ 65 h 66"/>
                  <a:gd name="T66" fmla="*/ 88 w 102"/>
                  <a:gd name="T67" fmla="*/ 64 h 66"/>
                  <a:gd name="T68" fmla="*/ 85 w 102"/>
                  <a:gd name="T69" fmla="*/ 55 h 66"/>
                  <a:gd name="T70" fmla="*/ 89 w 102"/>
                  <a:gd name="T71" fmla="*/ 46 h 66"/>
                  <a:gd name="T72" fmla="*/ 88 w 102"/>
                  <a:gd name="T73" fmla="*/ 40 h 66"/>
                  <a:gd name="T74" fmla="*/ 95 w 102"/>
                  <a:gd name="T75" fmla="*/ 41 h 66"/>
                  <a:gd name="T76" fmla="*/ 98 w 102"/>
                  <a:gd name="T77" fmla="*/ 42 h 66"/>
                  <a:gd name="T78" fmla="*/ 99 w 102"/>
                  <a:gd name="T79" fmla="*/ 42 h 66"/>
                  <a:gd name="T80" fmla="*/ 100 w 102"/>
                  <a:gd name="T81" fmla="*/ 41 h 66"/>
                  <a:gd name="T82" fmla="*/ 102 w 102"/>
                  <a:gd name="T83" fmla="*/ 39 h 66"/>
                  <a:gd name="T84" fmla="*/ 96 w 102"/>
                  <a:gd name="T85" fmla="*/ 30 h 66"/>
                  <a:gd name="T86" fmla="*/ 95 w 102"/>
                  <a:gd name="T87" fmla="*/ 29 h 66"/>
                  <a:gd name="T88" fmla="*/ 94 w 102"/>
                  <a:gd name="T89" fmla="*/ 28 h 66"/>
                  <a:gd name="T90" fmla="*/ 92 w 102"/>
                  <a:gd name="T91" fmla="*/ 27 h 66"/>
                  <a:gd name="T92" fmla="*/ 89 w 102"/>
                  <a:gd name="T93" fmla="*/ 27 h 66"/>
                  <a:gd name="T94" fmla="*/ 82 w 102"/>
                  <a:gd name="T95" fmla="*/ 28 h 66"/>
                  <a:gd name="T96" fmla="*/ 86 w 102"/>
                  <a:gd name="T97" fmla="*/ 11 h 66"/>
                  <a:gd name="T98" fmla="*/ 85 w 102"/>
                  <a:gd name="T99" fmla="*/ 11 h 66"/>
                  <a:gd name="T100" fmla="*/ 80 w 102"/>
                  <a:gd name="T101" fmla="*/ 8 h 66"/>
                  <a:gd name="T102" fmla="*/ 77 w 102"/>
                  <a:gd name="T103" fmla="*/ 8 h 66"/>
                  <a:gd name="T104" fmla="*/ 76 w 102"/>
                  <a:gd name="T105" fmla="*/ 8 h 66"/>
                  <a:gd name="T106" fmla="*/ 74 w 102"/>
                  <a:gd name="T107" fmla="*/ 8 h 66"/>
                  <a:gd name="T108" fmla="*/ 67 w 102"/>
                  <a:gd name="T109" fmla="*/ 3 h 66"/>
                  <a:gd name="T110" fmla="*/ 62 w 102"/>
                  <a:gd name="T111" fmla="*/ 0 h 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 h="66">
                    <a:moveTo>
                      <a:pt x="61" y="0"/>
                    </a:moveTo>
                    <a:cubicBezTo>
                      <a:pt x="60" y="0"/>
                      <a:pt x="60" y="0"/>
                      <a:pt x="60" y="0"/>
                    </a:cubicBezTo>
                    <a:cubicBezTo>
                      <a:pt x="59" y="1"/>
                      <a:pt x="58" y="2"/>
                      <a:pt x="57" y="2"/>
                    </a:cubicBezTo>
                    <a:cubicBezTo>
                      <a:pt x="56" y="2"/>
                      <a:pt x="55" y="1"/>
                      <a:pt x="55" y="1"/>
                    </a:cubicBezTo>
                    <a:cubicBezTo>
                      <a:pt x="54" y="1"/>
                      <a:pt x="54" y="1"/>
                      <a:pt x="54" y="1"/>
                    </a:cubicBezTo>
                    <a:cubicBezTo>
                      <a:pt x="54" y="0"/>
                      <a:pt x="53" y="0"/>
                      <a:pt x="53" y="0"/>
                    </a:cubicBezTo>
                    <a:cubicBezTo>
                      <a:pt x="52" y="1"/>
                      <a:pt x="52" y="1"/>
                      <a:pt x="52" y="1"/>
                    </a:cubicBezTo>
                    <a:cubicBezTo>
                      <a:pt x="51" y="2"/>
                      <a:pt x="50" y="3"/>
                      <a:pt x="48" y="4"/>
                    </a:cubicBezTo>
                    <a:cubicBezTo>
                      <a:pt x="47" y="4"/>
                      <a:pt x="47" y="4"/>
                      <a:pt x="47" y="4"/>
                    </a:cubicBezTo>
                    <a:cubicBezTo>
                      <a:pt x="47" y="4"/>
                      <a:pt x="47" y="4"/>
                      <a:pt x="47" y="4"/>
                    </a:cubicBezTo>
                    <a:cubicBezTo>
                      <a:pt x="47" y="4"/>
                      <a:pt x="46" y="4"/>
                      <a:pt x="46" y="4"/>
                    </a:cubicBezTo>
                    <a:cubicBezTo>
                      <a:pt x="46" y="3"/>
                      <a:pt x="46" y="3"/>
                      <a:pt x="46" y="3"/>
                    </a:cubicBezTo>
                    <a:cubicBezTo>
                      <a:pt x="45" y="3"/>
                      <a:pt x="45" y="3"/>
                      <a:pt x="45" y="3"/>
                    </a:cubicBezTo>
                    <a:cubicBezTo>
                      <a:pt x="46" y="3"/>
                      <a:pt x="46" y="4"/>
                      <a:pt x="46" y="4"/>
                    </a:cubicBezTo>
                    <a:cubicBezTo>
                      <a:pt x="46" y="4"/>
                      <a:pt x="46" y="4"/>
                      <a:pt x="46" y="4"/>
                    </a:cubicBezTo>
                    <a:cubicBezTo>
                      <a:pt x="45" y="4"/>
                      <a:pt x="45" y="4"/>
                      <a:pt x="45" y="4"/>
                    </a:cubicBezTo>
                    <a:cubicBezTo>
                      <a:pt x="44" y="4"/>
                      <a:pt x="44" y="4"/>
                      <a:pt x="44" y="4"/>
                    </a:cubicBezTo>
                    <a:cubicBezTo>
                      <a:pt x="44" y="4"/>
                      <a:pt x="44" y="4"/>
                      <a:pt x="44" y="4"/>
                    </a:cubicBezTo>
                    <a:cubicBezTo>
                      <a:pt x="43" y="3"/>
                      <a:pt x="43" y="3"/>
                      <a:pt x="43" y="3"/>
                    </a:cubicBezTo>
                    <a:cubicBezTo>
                      <a:pt x="43" y="2"/>
                      <a:pt x="43" y="2"/>
                      <a:pt x="43" y="2"/>
                    </a:cubicBezTo>
                    <a:cubicBezTo>
                      <a:pt x="43" y="1"/>
                      <a:pt x="43" y="1"/>
                      <a:pt x="43" y="1"/>
                    </a:cubicBezTo>
                    <a:cubicBezTo>
                      <a:pt x="36" y="1"/>
                      <a:pt x="28" y="0"/>
                      <a:pt x="20" y="0"/>
                    </a:cubicBezTo>
                    <a:cubicBezTo>
                      <a:pt x="20" y="1"/>
                      <a:pt x="20" y="1"/>
                      <a:pt x="20" y="2"/>
                    </a:cubicBezTo>
                    <a:cubicBezTo>
                      <a:pt x="20" y="1"/>
                      <a:pt x="20" y="1"/>
                      <a:pt x="20" y="0"/>
                    </a:cubicBezTo>
                    <a:cubicBezTo>
                      <a:pt x="13" y="2"/>
                      <a:pt x="6" y="6"/>
                      <a:pt x="0" y="9"/>
                    </a:cubicBezTo>
                    <a:cubicBezTo>
                      <a:pt x="0" y="13"/>
                      <a:pt x="0" y="13"/>
                      <a:pt x="0" y="13"/>
                    </a:cubicBezTo>
                    <a:cubicBezTo>
                      <a:pt x="0" y="13"/>
                      <a:pt x="1" y="14"/>
                      <a:pt x="1" y="14"/>
                    </a:cubicBezTo>
                    <a:cubicBezTo>
                      <a:pt x="2" y="16"/>
                      <a:pt x="4" y="18"/>
                      <a:pt x="4" y="18"/>
                    </a:cubicBezTo>
                    <a:cubicBezTo>
                      <a:pt x="5" y="19"/>
                      <a:pt x="5" y="19"/>
                      <a:pt x="5" y="19"/>
                    </a:cubicBezTo>
                    <a:cubicBezTo>
                      <a:pt x="5" y="20"/>
                      <a:pt x="6" y="21"/>
                      <a:pt x="6" y="21"/>
                    </a:cubicBezTo>
                    <a:cubicBezTo>
                      <a:pt x="7" y="21"/>
                      <a:pt x="9" y="20"/>
                      <a:pt x="10" y="20"/>
                    </a:cubicBezTo>
                    <a:cubicBezTo>
                      <a:pt x="10" y="20"/>
                      <a:pt x="11" y="19"/>
                      <a:pt x="11" y="19"/>
                    </a:cubicBezTo>
                    <a:cubicBezTo>
                      <a:pt x="12" y="19"/>
                      <a:pt x="12" y="19"/>
                      <a:pt x="13" y="19"/>
                    </a:cubicBezTo>
                    <a:cubicBezTo>
                      <a:pt x="15" y="19"/>
                      <a:pt x="17" y="20"/>
                      <a:pt x="19" y="23"/>
                    </a:cubicBezTo>
                    <a:cubicBezTo>
                      <a:pt x="19" y="23"/>
                      <a:pt x="20" y="24"/>
                      <a:pt x="20" y="26"/>
                    </a:cubicBezTo>
                    <a:cubicBezTo>
                      <a:pt x="20" y="27"/>
                      <a:pt x="20" y="27"/>
                      <a:pt x="20" y="27"/>
                    </a:cubicBezTo>
                    <a:cubicBezTo>
                      <a:pt x="21" y="28"/>
                      <a:pt x="21" y="29"/>
                      <a:pt x="21" y="30"/>
                    </a:cubicBezTo>
                    <a:cubicBezTo>
                      <a:pt x="21" y="30"/>
                      <a:pt x="21" y="30"/>
                      <a:pt x="21" y="30"/>
                    </a:cubicBezTo>
                    <a:cubicBezTo>
                      <a:pt x="22" y="30"/>
                      <a:pt x="22" y="30"/>
                      <a:pt x="23" y="30"/>
                    </a:cubicBezTo>
                    <a:cubicBezTo>
                      <a:pt x="24" y="30"/>
                      <a:pt x="24" y="30"/>
                      <a:pt x="25" y="30"/>
                    </a:cubicBezTo>
                    <a:cubicBezTo>
                      <a:pt x="25" y="30"/>
                      <a:pt x="25" y="30"/>
                      <a:pt x="26" y="30"/>
                    </a:cubicBezTo>
                    <a:cubicBezTo>
                      <a:pt x="26" y="30"/>
                      <a:pt x="26" y="30"/>
                      <a:pt x="26" y="30"/>
                    </a:cubicBezTo>
                    <a:cubicBezTo>
                      <a:pt x="27" y="30"/>
                      <a:pt x="27" y="30"/>
                      <a:pt x="27" y="30"/>
                    </a:cubicBezTo>
                    <a:cubicBezTo>
                      <a:pt x="30" y="30"/>
                      <a:pt x="32" y="33"/>
                      <a:pt x="32" y="35"/>
                    </a:cubicBezTo>
                    <a:cubicBezTo>
                      <a:pt x="33" y="35"/>
                      <a:pt x="33" y="35"/>
                      <a:pt x="33" y="35"/>
                    </a:cubicBezTo>
                    <a:cubicBezTo>
                      <a:pt x="34" y="35"/>
                      <a:pt x="35" y="35"/>
                      <a:pt x="35" y="35"/>
                    </a:cubicBezTo>
                    <a:cubicBezTo>
                      <a:pt x="39" y="35"/>
                      <a:pt x="44" y="37"/>
                      <a:pt x="47" y="40"/>
                    </a:cubicBezTo>
                    <a:cubicBezTo>
                      <a:pt x="50" y="43"/>
                      <a:pt x="50" y="43"/>
                      <a:pt x="50" y="43"/>
                    </a:cubicBezTo>
                    <a:cubicBezTo>
                      <a:pt x="47" y="45"/>
                      <a:pt x="47" y="45"/>
                      <a:pt x="47" y="45"/>
                    </a:cubicBezTo>
                    <a:cubicBezTo>
                      <a:pt x="47" y="47"/>
                      <a:pt x="47" y="48"/>
                      <a:pt x="47" y="49"/>
                    </a:cubicBezTo>
                    <a:cubicBezTo>
                      <a:pt x="47" y="50"/>
                      <a:pt x="47" y="50"/>
                      <a:pt x="47" y="50"/>
                    </a:cubicBezTo>
                    <a:cubicBezTo>
                      <a:pt x="47" y="50"/>
                      <a:pt x="47" y="50"/>
                      <a:pt x="47" y="50"/>
                    </a:cubicBezTo>
                    <a:cubicBezTo>
                      <a:pt x="50" y="50"/>
                      <a:pt x="52" y="49"/>
                      <a:pt x="56" y="46"/>
                    </a:cubicBezTo>
                    <a:cubicBezTo>
                      <a:pt x="56" y="45"/>
                      <a:pt x="56" y="45"/>
                      <a:pt x="56" y="45"/>
                    </a:cubicBezTo>
                    <a:cubicBezTo>
                      <a:pt x="57" y="45"/>
                      <a:pt x="58" y="44"/>
                      <a:pt x="59" y="43"/>
                    </a:cubicBezTo>
                    <a:cubicBezTo>
                      <a:pt x="63" y="40"/>
                      <a:pt x="63" y="40"/>
                      <a:pt x="63" y="40"/>
                    </a:cubicBezTo>
                    <a:cubicBezTo>
                      <a:pt x="64" y="46"/>
                      <a:pt x="64" y="46"/>
                      <a:pt x="64" y="46"/>
                    </a:cubicBezTo>
                    <a:cubicBezTo>
                      <a:pt x="64" y="46"/>
                      <a:pt x="64" y="47"/>
                      <a:pt x="64" y="48"/>
                    </a:cubicBezTo>
                    <a:cubicBezTo>
                      <a:pt x="65" y="52"/>
                      <a:pt x="65" y="55"/>
                      <a:pt x="65" y="56"/>
                    </a:cubicBezTo>
                    <a:cubicBezTo>
                      <a:pt x="65" y="56"/>
                      <a:pt x="65" y="56"/>
                      <a:pt x="65" y="56"/>
                    </a:cubicBezTo>
                    <a:cubicBezTo>
                      <a:pt x="66" y="56"/>
                      <a:pt x="67" y="56"/>
                      <a:pt x="68" y="56"/>
                    </a:cubicBezTo>
                    <a:cubicBezTo>
                      <a:pt x="69" y="57"/>
                      <a:pt x="69" y="57"/>
                      <a:pt x="69" y="57"/>
                    </a:cubicBezTo>
                    <a:cubicBezTo>
                      <a:pt x="72" y="58"/>
                      <a:pt x="78" y="61"/>
                      <a:pt x="80" y="63"/>
                    </a:cubicBezTo>
                    <a:cubicBezTo>
                      <a:pt x="81" y="64"/>
                      <a:pt x="82" y="65"/>
                      <a:pt x="82" y="66"/>
                    </a:cubicBezTo>
                    <a:cubicBezTo>
                      <a:pt x="82" y="66"/>
                      <a:pt x="82" y="66"/>
                      <a:pt x="82" y="66"/>
                    </a:cubicBezTo>
                    <a:cubicBezTo>
                      <a:pt x="84" y="66"/>
                      <a:pt x="86" y="65"/>
                      <a:pt x="87" y="65"/>
                    </a:cubicBezTo>
                    <a:cubicBezTo>
                      <a:pt x="88" y="65"/>
                      <a:pt x="88" y="65"/>
                      <a:pt x="88" y="65"/>
                    </a:cubicBezTo>
                    <a:cubicBezTo>
                      <a:pt x="88" y="64"/>
                      <a:pt x="88" y="64"/>
                      <a:pt x="88" y="64"/>
                    </a:cubicBezTo>
                    <a:cubicBezTo>
                      <a:pt x="87" y="64"/>
                      <a:pt x="87" y="62"/>
                      <a:pt x="86" y="62"/>
                    </a:cubicBezTo>
                    <a:cubicBezTo>
                      <a:pt x="85" y="60"/>
                      <a:pt x="83" y="57"/>
                      <a:pt x="85" y="55"/>
                    </a:cubicBezTo>
                    <a:cubicBezTo>
                      <a:pt x="86" y="53"/>
                      <a:pt x="86" y="51"/>
                      <a:pt x="88" y="49"/>
                    </a:cubicBezTo>
                    <a:cubicBezTo>
                      <a:pt x="88" y="48"/>
                      <a:pt x="89" y="47"/>
                      <a:pt x="89" y="46"/>
                    </a:cubicBezTo>
                    <a:cubicBezTo>
                      <a:pt x="90" y="45"/>
                      <a:pt x="91" y="45"/>
                      <a:pt x="91" y="44"/>
                    </a:cubicBezTo>
                    <a:cubicBezTo>
                      <a:pt x="88" y="40"/>
                      <a:pt x="88" y="40"/>
                      <a:pt x="88" y="40"/>
                    </a:cubicBezTo>
                    <a:cubicBezTo>
                      <a:pt x="94" y="41"/>
                      <a:pt x="94" y="41"/>
                      <a:pt x="94" y="41"/>
                    </a:cubicBezTo>
                    <a:cubicBezTo>
                      <a:pt x="95" y="41"/>
                      <a:pt x="95" y="41"/>
                      <a:pt x="95" y="41"/>
                    </a:cubicBezTo>
                    <a:cubicBezTo>
                      <a:pt x="97" y="42"/>
                      <a:pt x="97" y="42"/>
                      <a:pt x="97" y="42"/>
                    </a:cubicBezTo>
                    <a:cubicBezTo>
                      <a:pt x="98" y="42"/>
                      <a:pt x="98" y="42"/>
                      <a:pt x="98" y="42"/>
                    </a:cubicBezTo>
                    <a:cubicBezTo>
                      <a:pt x="98" y="42"/>
                      <a:pt x="98" y="42"/>
                      <a:pt x="98" y="42"/>
                    </a:cubicBezTo>
                    <a:cubicBezTo>
                      <a:pt x="99" y="42"/>
                      <a:pt x="99" y="42"/>
                      <a:pt x="99" y="42"/>
                    </a:cubicBezTo>
                    <a:cubicBezTo>
                      <a:pt x="99" y="42"/>
                      <a:pt x="99" y="42"/>
                      <a:pt x="99" y="42"/>
                    </a:cubicBezTo>
                    <a:cubicBezTo>
                      <a:pt x="100" y="41"/>
                      <a:pt x="100" y="41"/>
                      <a:pt x="100" y="41"/>
                    </a:cubicBezTo>
                    <a:cubicBezTo>
                      <a:pt x="100" y="40"/>
                      <a:pt x="101" y="40"/>
                      <a:pt x="101" y="39"/>
                    </a:cubicBezTo>
                    <a:cubicBezTo>
                      <a:pt x="102" y="39"/>
                      <a:pt x="102" y="39"/>
                      <a:pt x="102" y="39"/>
                    </a:cubicBezTo>
                    <a:cubicBezTo>
                      <a:pt x="102" y="39"/>
                      <a:pt x="102" y="39"/>
                      <a:pt x="102" y="39"/>
                    </a:cubicBezTo>
                    <a:cubicBezTo>
                      <a:pt x="100" y="35"/>
                      <a:pt x="98" y="33"/>
                      <a:pt x="96" y="30"/>
                    </a:cubicBezTo>
                    <a:cubicBezTo>
                      <a:pt x="95" y="30"/>
                      <a:pt x="95" y="30"/>
                      <a:pt x="95" y="30"/>
                    </a:cubicBezTo>
                    <a:cubicBezTo>
                      <a:pt x="95" y="29"/>
                      <a:pt x="95" y="29"/>
                      <a:pt x="95" y="29"/>
                    </a:cubicBezTo>
                    <a:cubicBezTo>
                      <a:pt x="95" y="29"/>
                      <a:pt x="95" y="29"/>
                      <a:pt x="94" y="28"/>
                    </a:cubicBezTo>
                    <a:cubicBezTo>
                      <a:pt x="94" y="28"/>
                      <a:pt x="94" y="28"/>
                      <a:pt x="94" y="28"/>
                    </a:cubicBezTo>
                    <a:cubicBezTo>
                      <a:pt x="94" y="28"/>
                      <a:pt x="94" y="28"/>
                      <a:pt x="94" y="28"/>
                    </a:cubicBezTo>
                    <a:cubicBezTo>
                      <a:pt x="93" y="28"/>
                      <a:pt x="93" y="27"/>
                      <a:pt x="92" y="27"/>
                    </a:cubicBezTo>
                    <a:cubicBezTo>
                      <a:pt x="92" y="27"/>
                      <a:pt x="91" y="27"/>
                      <a:pt x="91" y="27"/>
                    </a:cubicBezTo>
                    <a:cubicBezTo>
                      <a:pt x="90" y="27"/>
                      <a:pt x="89" y="27"/>
                      <a:pt x="89" y="27"/>
                    </a:cubicBezTo>
                    <a:cubicBezTo>
                      <a:pt x="88" y="27"/>
                      <a:pt x="87" y="27"/>
                      <a:pt x="87" y="27"/>
                    </a:cubicBezTo>
                    <a:cubicBezTo>
                      <a:pt x="82" y="28"/>
                      <a:pt x="82" y="28"/>
                      <a:pt x="82" y="28"/>
                    </a:cubicBezTo>
                    <a:cubicBezTo>
                      <a:pt x="83" y="23"/>
                      <a:pt x="83" y="23"/>
                      <a:pt x="83" y="23"/>
                    </a:cubicBezTo>
                    <a:cubicBezTo>
                      <a:pt x="83" y="21"/>
                      <a:pt x="83" y="15"/>
                      <a:pt x="86" y="11"/>
                    </a:cubicBezTo>
                    <a:cubicBezTo>
                      <a:pt x="86" y="11"/>
                      <a:pt x="86" y="11"/>
                      <a:pt x="86" y="11"/>
                    </a:cubicBezTo>
                    <a:cubicBezTo>
                      <a:pt x="85" y="11"/>
                      <a:pt x="85" y="11"/>
                      <a:pt x="85" y="11"/>
                    </a:cubicBezTo>
                    <a:cubicBezTo>
                      <a:pt x="84" y="11"/>
                      <a:pt x="84" y="11"/>
                      <a:pt x="84" y="10"/>
                    </a:cubicBezTo>
                    <a:cubicBezTo>
                      <a:pt x="82" y="10"/>
                      <a:pt x="81" y="8"/>
                      <a:pt x="80" y="8"/>
                    </a:cubicBezTo>
                    <a:cubicBezTo>
                      <a:pt x="80" y="7"/>
                      <a:pt x="80" y="7"/>
                      <a:pt x="80" y="7"/>
                    </a:cubicBezTo>
                    <a:cubicBezTo>
                      <a:pt x="79" y="8"/>
                      <a:pt x="78" y="8"/>
                      <a:pt x="77" y="8"/>
                    </a:cubicBezTo>
                    <a:cubicBezTo>
                      <a:pt x="77" y="8"/>
                      <a:pt x="76" y="8"/>
                      <a:pt x="76" y="8"/>
                    </a:cubicBezTo>
                    <a:cubicBezTo>
                      <a:pt x="76" y="8"/>
                      <a:pt x="76" y="8"/>
                      <a:pt x="76" y="8"/>
                    </a:cubicBezTo>
                    <a:cubicBezTo>
                      <a:pt x="75" y="8"/>
                      <a:pt x="75" y="8"/>
                      <a:pt x="75" y="8"/>
                    </a:cubicBezTo>
                    <a:cubicBezTo>
                      <a:pt x="75" y="8"/>
                      <a:pt x="74" y="8"/>
                      <a:pt x="74" y="8"/>
                    </a:cubicBezTo>
                    <a:cubicBezTo>
                      <a:pt x="73" y="8"/>
                      <a:pt x="71" y="8"/>
                      <a:pt x="70" y="6"/>
                    </a:cubicBezTo>
                    <a:cubicBezTo>
                      <a:pt x="69" y="5"/>
                      <a:pt x="67" y="4"/>
                      <a:pt x="67" y="3"/>
                    </a:cubicBezTo>
                    <a:cubicBezTo>
                      <a:pt x="66" y="2"/>
                      <a:pt x="66" y="1"/>
                      <a:pt x="66" y="1"/>
                    </a:cubicBezTo>
                    <a:cubicBezTo>
                      <a:pt x="65" y="1"/>
                      <a:pt x="64" y="0"/>
                      <a:pt x="62" y="0"/>
                    </a:cubicBezTo>
                    <a:cubicBezTo>
                      <a:pt x="62" y="0"/>
                      <a:pt x="61" y="0"/>
                      <a:pt x="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270"/>
              <p:cNvSpPr/>
              <p:nvPr/>
            </p:nvSpPr>
            <p:spPr bwMode="auto">
              <a:xfrm>
                <a:off x="4915945" y="4274735"/>
                <a:ext cx="372197" cy="176886"/>
              </a:xfrm>
              <a:custGeom>
                <a:gdLst>
                  <a:gd name="T0" fmla="*/ 70 w 117"/>
                  <a:gd name="T1" fmla="*/ 2 h 56"/>
                  <a:gd name="T2" fmla="*/ 66 w 117"/>
                  <a:gd name="T3" fmla="*/ 3 h 56"/>
                  <a:gd name="T4" fmla="*/ 62 w 117"/>
                  <a:gd name="T5" fmla="*/ 3 h 56"/>
                  <a:gd name="T6" fmla="*/ 60 w 117"/>
                  <a:gd name="T7" fmla="*/ 4 h 56"/>
                  <a:gd name="T8" fmla="*/ 57 w 117"/>
                  <a:gd name="T9" fmla="*/ 4 h 56"/>
                  <a:gd name="T10" fmla="*/ 55 w 117"/>
                  <a:gd name="T11" fmla="*/ 4 h 56"/>
                  <a:gd name="T12" fmla="*/ 50 w 117"/>
                  <a:gd name="T13" fmla="*/ 4 h 56"/>
                  <a:gd name="T14" fmla="*/ 47 w 117"/>
                  <a:gd name="T15" fmla="*/ 4 h 56"/>
                  <a:gd name="T16" fmla="*/ 46 w 117"/>
                  <a:gd name="T17" fmla="*/ 4 h 56"/>
                  <a:gd name="T18" fmla="*/ 42 w 117"/>
                  <a:gd name="T19" fmla="*/ 5 h 56"/>
                  <a:gd name="T20" fmla="*/ 39 w 117"/>
                  <a:gd name="T21" fmla="*/ 6 h 56"/>
                  <a:gd name="T22" fmla="*/ 30 w 117"/>
                  <a:gd name="T23" fmla="*/ 10 h 56"/>
                  <a:gd name="T24" fmla="*/ 25 w 117"/>
                  <a:gd name="T25" fmla="*/ 13 h 56"/>
                  <a:gd name="T26" fmla="*/ 14 w 117"/>
                  <a:gd name="T27" fmla="*/ 22 h 56"/>
                  <a:gd name="T28" fmla="*/ 11 w 117"/>
                  <a:gd name="T29" fmla="*/ 24 h 56"/>
                  <a:gd name="T30" fmla="*/ 8 w 117"/>
                  <a:gd name="T31" fmla="*/ 31 h 56"/>
                  <a:gd name="T32" fmla="*/ 0 w 117"/>
                  <a:gd name="T33" fmla="*/ 41 h 56"/>
                  <a:gd name="T34" fmla="*/ 12 w 117"/>
                  <a:gd name="T35" fmla="*/ 37 h 56"/>
                  <a:gd name="T36" fmla="*/ 20 w 117"/>
                  <a:gd name="T37" fmla="*/ 40 h 56"/>
                  <a:gd name="T38" fmla="*/ 21 w 117"/>
                  <a:gd name="T39" fmla="*/ 49 h 56"/>
                  <a:gd name="T40" fmla="*/ 22 w 117"/>
                  <a:gd name="T41" fmla="*/ 51 h 56"/>
                  <a:gd name="T42" fmla="*/ 24 w 117"/>
                  <a:gd name="T43" fmla="*/ 54 h 56"/>
                  <a:gd name="T44" fmla="*/ 26 w 117"/>
                  <a:gd name="T45" fmla="*/ 56 h 56"/>
                  <a:gd name="T46" fmla="*/ 38 w 117"/>
                  <a:gd name="T47" fmla="*/ 55 h 56"/>
                  <a:gd name="T48" fmla="*/ 45 w 117"/>
                  <a:gd name="T49" fmla="*/ 56 h 56"/>
                  <a:gd name="T50" fmla="*/ 46 w 117"/>
                  <a:gd name="T51" fmla="*/ 54 h 56"/>
                  <a:gd name="T52" fmla="*/ 61 w 117"/>
                  <a:gd name="T53" fmla="*/ 38 h 56"/>
                  <a:gd name="T54" fmla="*/ 64 w 117"/>
                  <a:gd name="T55" fmla="*/ 37 h 56"/>
                  <a:gd name="T56" fmla="*/ 67 w 117"/>
                  <a:gd name="T57" fmla="*/ 43 h 56"/>
                  <a:gd name="T58" fmla="*/ 70 w 117"/>
                  <a:gd name="T59" fmla="*/ 48 h 56"/>
                  <a:gd name="T60" fmla="*/ 73 w 117"/>
                  <a:gd name="T61" fmla="*/ 50 h 56"/>
                  <a:gd name="T62" fmla="*/ 80 w 117"/>
                  <a:gd name="T63" fmla="*/ 50 h 56"/>
                  <a:gd name="T64" fmla="*/ 83 w 117"/>
                  <a:gd name="T65" fmla="*/ 41 h 56"/>
                  <a:gd name="T66" fmla="*/ 84 w 117"/>
                  <a:gd name="T67" fmla="*/ 39 h 56"/>
                  <a:gd name="T68" fmla="*/ 90 w 117"/>
                  <a:gd name="T69" fmla="*/ 36 h 56"/>
                  <a:gd name="T70" fmla="*/ 107 w 117"/>
                  <a:gd name="T71" fmla="*/ 44 h 56"/>
                  <a:gd name="T72" fmla="*/ 106 w 117"/>
                  <a:gd name="T73" fmla="*/ 41 h 56"/>
                  <a:gd name="T74" fmla="*/ 105 w 117"/>
                  <a:gd name="T75" fmla="*/ 37 h 56"/>
                  <a:gd name="T76" fmla="*/ 107 w 117"/>
                  <a:gd name="T77" fmla="*/ 33 h 56"/>
                  <a:gd name="T78" fmla="*/ 117 w 117"/>
                  <a:gd name="T79" fmla="*/ 33 h 56"/>
                  <a:gd name="T80" fmla="*/ 117 w 117"/>
                  <a:gd name="T81" fmla="*/ 26 h 56"/>
                  <a:gd name="T82" fmla="*/ 108 w 117"/>
                  <a:gd name="T83" fmla="*/ 29 h 56"/>
                  <a:gd name="T84" fmla="*/ 96 w 117"/>
                  <a:gd name="T85" fmla="*/ 23 h 56"/>
                  <a:gd name="T86" fmla="*/ 93 w 117"/>
                  <a:gd name="T87" fmla="*/ 18 h 56"/>
                  <a:gd name="T88" fmla="*/ 93 w 117"/>
                  <a:gd name="T89" fmla="*/ 17 h 56"/>
                  <a:gd name="T90" fmla="*/ 92 w 117"/>
                  <a:gd name="T91" fmla="*/ 15 h 56"/>
                  <a:gd name="T92" fmla="*/ 94 w 117"/>
                  <a:gd name="T93" fmla="*/ 6 h 56"/>
                  <a:gd name="T94" fmla="*/ 93 w 117"/>
                  <a:gd name="T95" fmla="*/ 5 h 56"/>
                  <a:gd name="T96" fmla="*/ 82 w 117"/>
                  <a:gd name="T97" fmla="*/ 1 h 56"/>
                  <a:gd name="T98" fmla="*/ 79 w 117"/>
                  <a:gd name="T99" fmla="*/ 1 h 56"/>
                  <a:gd name="T100" fmla="*/ 76 w 117"/>
                  <a:gd name="T101" fmla="*/ 1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7" h="56">
                    <a:moveTo>
                      <a:pt x="71" y="0"/>
                    </a:moveTo>
                    <a:cubicBezTo>
                      <a:pt x="71" y="0"/>
                      <a:pt x="70" y="1"/>
                      <a:pt x="70" y="2"/>
                    </a:cubicBezTo>
                    <a:cubicBezTo>
                      <a:pt x="68" y="4"/>
                      <a:pt x="68" y="4"/>
                      <a:pt x="68" y="4"/>
                    </a:cubicBezTo>
                    <a:cubicBezTo>
                      <a:pt x="66" y="3"/>
                      <a:pt x="66" y="3"/>
                      <a:pt x="66" y="3"/>
                    </a:cubicBezTo>
                    <a:cubicBezTo>
                      <a:pt x="65" y="3"/>
                      <a:pt x="64" y="3"/>
                      <a:pt x="63" y="3"/>
                    </a:cubicBezTo>
                    <a:cubicBezTo>
                      <a:pt x="62" y="3"/>
                      <a:pt x="62" y="3"/>
                      <a:pt x="62" y="3"/>
                    </a:cubicBezTo>
                    <a:cubicBezTo>
                      <a:pt x="62" y="4"/>
                      <a:pt x="61" y="4"/>
                      <a:pt x="61" y="4"/>
                    </a:cubicBezTo>
                    <a:cubicBezTo>
                      <a:pt x="60" y="4"/>
                      <a:pt x="60" y="4"/>
                      <a:pt x="60" y="4"/>
                    </a:cubicBezTo>
                    <a:cubicBezTo>
                      <a:pt x="59" y="4"/>
                      <a:pt x="59" y="4"/>
                      <a:pt x="58" y="4"/>
                    </a:cubicBezTo>
                    <a:cubicBezTo>
                      <a:pt x="58" y="4"/>
                      <a:pt x="58" y="4"/>
                      <a:pt x="57" y="4"/>
                    </a:cubicBezTo>
                    <a:cubicBezTo>
                      <a:pt x="57" y="4"/>
                      <a:pt x="56" y="4"/>
                      <a:pt x="56" y="4"/>
                    </a:cubicBezTo>
                    <a:cubicBezTo>
                      <a:pt x="56" y="4"/>
                      <a:pt x="55" y="4"/>
                      <a:pt x="55" y="4"/>
                    </a:cubicBezTo>
                    <a:cubicBezTo>
                      <a:pt x="54" y="4"/>
                      <a:pt x="53" y="4"/>
                      <a:pt x="52" y="4"/>
                    </a:cubicBezTo>
                    <a:cubicBezTo>
                      <a:pt x="51" y="4"/>
                      <a:pt x="51" y="4"/>
                      <a:pt x="50" y="4"/>
                    </a:cubicBezTo>
                    <a:cubicBezTo>
                      <a:pt x="50" y="4"/>
                      <a:pt x="50" y="4"/>
                      <a:pt x="50" y="4"/>
                    </a:cubicBezTo>
                    <a:cubicBezTo>
                      <a:pt x="49" y="4"/>
                      <a:pt x="48" y="4"/>
                      <a:pt x="47" y="4"/>
                    </a:cubicBezTo>
                    <a:cubicBezTo>
                      <a:pt x="46" y="4"/>
                      <a:pt x="46" y="4"/>
                      <a:pt x="46" y="4"/>
                    </a:cubicBezTo>
                    <a:cubicBezTo>
                      <a:pt x="46" y="4"/>
                      <a:pt x="46" y="4"/>
                      <a:pt x="46" y="4"/>
                    </a:cubicBezTo>
                    <a:cubicBezTo>
                      <a:pt x="45" y="4"/>
                      <a:pt x="45" y="4"/>
                      <a:pt x="45" y="4"/>
                    </a:cubicBezTo>
                    <a:cubicBezTo>
                      <a:pt x="45" y="4"/>
                      <a:pt x="43" y="5"/>
                      <a:pt x="42" y="5"/>
                    </a:cubicBezTo>
                    <a:cubicBezTo>
                      <a:pt x="41" y="5"/>
                      <a:pt x="40" y="5"/>
                      <a:pt x="40" y="5"/>
                    </a:cubicBezTo>
                    <a:cubicBezTo>
                      <a:pt x="39" y="5"/>
                      <a:pt x="39" y="5"/>
                      <a:pt x="39" y="6"/>
                    </a:cubicBezTo>
                    <a:cubicBezTo>
                      <a:pt x="38" y="7"/>
                      <a:pt x="37" y="8"/>
                      <a:pt x="35" y="8"/>
                    </a:cubicBezTo>
                    <a:cubicBezTo>
                      <a:pt x="34" y="9"/>
                      <a:pt x="32" y="10"/>
                      <a:pt x="30" y="10"/>
                    </a:cubicBezTo>
                    <a:cubicBezTo>
                      <a:pt x="30" y="10"/>
                      <a:pt x="29" y="10"/>
                      <a:pt x="28" y="9"/>
                    </a:cubicBezTo>
                    <a:cubicBezTo>
                      <a:pt x="25" y="13"/>
                      <a:pt x="25" y="13"/>
                      <a:pt x="25" y="13"/>
                    </a:cubicBezTo>
                    <a:cubicBezTo>
                      <a:pt x="22" y="16"/>
                      <a:pt x="19" y="19"/>
                      <a:pt x="16" y="21"/>
                    </a:cubicBezTo>
                    <a:cubicBezTo>
                      <a:pt x="15" y="21"/>
                      <a:pt x="15" y="22"/>
                      <a:pt x="14" y="22"/>
                    </a:cubicBezTo>
                    <a:cubicBezTo>
                      <a:pt x="14" y="22"/>
                      <a:pt x="14" y="22"/>
                      <a:pt x="14" y="22"/>
                    </a:cubicBezTo>
                    <a:cubicBezTo>
                      <a:pt x="12" y="23"/>
                      <a:pt x="12" y="24"/>
                      <a:pt x="11" y="24"/>
                    </a:cubicBezTo>
                    <a:cubicBezTo>
                      <a:pt x="11" y="25"/>
                      <a:pt x="11" y="25"/>
                      <a:pt x="11" y="25"/>
                    </a:cubicBezTo>
                    <a:cubicBezTo>
                      <a:pt x="11" y="26"/>
                      <a:pt x="10" y="29"/>
                      <a:pt x="8" y="31"/>
                    </a:cubicBezTo>
                    <a:cubicBezTo>
                      <a:pt x="7" y="32"/>
                      <a:pt x="7" y="32"/>
                      <a:pt x="7" y="32"/>
                    </a:cubicBezTo>
                    <a:cubicBezTo>
                      <a:pt x="4" y="35"/>
                      <a:pt x="2" y="38"/>
                      <a:pt x="0" y="41"/>
                    </a:cubicBezTo>
                    <a:cubicBezTo>
                      <a:pt x="3" y="39"/>
                      <a:pt x="7" y="37"/>
                      <a:pt x="11" y="37"/>
                    </a:cubicBezTo>
                    <a:cubicBezTo>
                      <a:pt x="11" y="37"/>
                      <a:pt x="12" y="37"/>
                      <a:pt x="12" y="37"/>
                    </a:cubicBezTo>
                    <a:cubicBezTo>
                      <a:pt x="13" y="37"/>
                      <a:pt x="13" y="37"/>
                      <a:pt x="13" y="37"/>
                    </a:cubicBezTo>
                    <a:cubicBezTo>
                      <a:pt x="17" y="37"/>
                      <a:pt x="19" y="39"/>
                      <a:pt x="20" y="40"/>
                    </a:cubicBezTo>
                    <a:cubicBezTo>
                      <a:pt x="21" y="42"/>
                      <a:pt x="21" y="45"/>
                      <a:pt x="21" y="49"/>
                    </a:cubicBezTo>
                    <a:cubicBezTo>
                      <a:pt x="21" y="49"/>
                      <a:pt x="21" y="49"/>
                      <a:pt x="21" y="49"/>
                    </a:cubicBezTo>
                    <a:cubicBezTo>
                      <a:pt x="21" y="50"/>
                      <a:pt x="21" y="50"/>
                      <a:pt x="21" y="50"/>
                    </a:cubicBezTo>
                    <a:cubicBezTo>
                      <a:pt x="22" y="51"/>
                      <a:pt x="22" y="51"/>
                      <a:pt x="22" y="51"/>
                    </a:cubicBezTo>
                    <a:cubicBezTo>
                      <a:pt x="22" y="51"/>
                      <a:pt x="22" y="52"/>
                      <a:pt x="23" y="53"/>
                    </a:cubicBezTo>
                    <a:cubicBezTo>
                      <a:pt x="23" y="53"/>
                      <a:pt x="24" y="53"/>
                      <a:pt x="24" y="54"/>
                    </a:cubicBezTo>
                    <a:cubicBezTo>
                      <a:pt x="24" y="54"/>
                      <a:pt x="25" y="55"/>
                      <a:pt x="25" y="55"/>
                    </a:cubicBezTo>
                    <a:cubicBezTo>
                      <a:pt x="26" y="55"/>
                      <a:pt x="26" y="56"/>
                      <a:pt x="26" y="56"/>
                    </a:cubicBezTo>
                    <a:cubicBezTo>
                      <a:pt x="30" y="56"/>
                      <a:pt x="33" y="55"/>
                      <a:pt x="35" y="55"/>
                    </a:cubicBezTo>
                    <a:cubicBezTo>
                      <a:pt x="37" y="55"/>
                      <a:pt x="37" y="55"/>
                      <a:pt x="38" y="55"/>
                    </a:cubicBezTo>
                    <a:cubicBezTo>
                      <a:pt x="40" y="55"/>
                      <a:pt x="42" y="55"/>
                      <a:pt x="44" y="55"/>
                    </a:cubicBezTo>
                    <a:cubicBezTo>
                      <a:pt x="45" y="56"/>
                      <a:pt x="45" y="56"/>
                      <a:pt x="45" y="56"/>
                    </a:cubicBezTo>
                    <a:cubicBezTo>
                      <a:pt x="45" y="56"/>
                      <a:pt x="45" y="56"/>
                      <a:pt x="45" y="56"/>
                    </a:cubicBezTo>
                    <a:cubicBezTo>
                      <a:pt x="46" y="54"/>
                      <a:pt x="46" y="54"/>
                      <a:pt x="46" y="54"/>
                    </a:cubicBezTo>
                    <a:cubicBezTo>
                      <a:pt x="48" y="53"/>
                      <a:pt x="49" y="51"/>
                      <a:pt x="50" y="50"/>
                    </a:cubicBezTo>
                    <a:cubicBezTo>
                      <a:pt x="51" y="47"/>
                      <a:pt x="55" y="39"/>
                      <a:pt x="61" y="38"/>
                    </a:cubicBezTo>
                    <a:cubicBezTo>
                      <a:pt x="61" y="37"/>
                      <a:pt x="62" y="37"/>
                      <a:pt x="63" y="37"/>
                    </a:cubicBezTo>
                    <a:cubicBezTo>
                      <a:pt x="64" y="37"/>
                      <a:pt x="64" y="37"/>
                      <a:pt x="64" y="37"/>
                    </a:cubicBezTo>
                    <a:cubicBezTo>
                      <a:pt x="67" y="38"/>
                      <a:pt x="67" y="38"/>
                      <a:pt x="67" y="38"/>
                    </a:cubicBezTo>
                    <a:cubicBezTo>
                      <a:pt x="67" y="43"/>
                      <a:pt x="67" y="43"/>
                      <a:pt x="67" y="43"/>
                    </a:cubicBezTo>
                    <a:cubicBezTo>
                      <a:pt x="67" y="45"/>
                      <a:pt x="67" y="46"/>
                      <a:pt x="67" y="47"/>
                    </a:cubicBezTo>
                    <a:cubicBezTo>
                      <a:pt x="67" y="47"/>
                      <a:pt x="68" y="48"/>
                      <a:pt x="70" y="48"/>
                    </a:cubicBezTo>
                    <a:cubicBezTo>
                      <a:pt x="71" y="49"/>
                      <a:pt x="72" y="49"/>
                      <a:pt x="72" y="50"/>
                    </a:cubicBezTo>
                    <a:cubicBezTo>
                      <a:pt x="73" y="50"/>
                      <a:pt x="73" y="50"/>
                      <a:pt x="73" y="50"/>
                    </a:cubicBezTo>
                    <a:cubicBezTo>
                      <a:pt x="74" y="50"/>
                      <a:pt x="77" y="51"/>
                      <a:pt x="78" y="53"/>
                    </a:cubicBezTo>
                    <a:cubicBezTo>
                      <a:pt x="78" y="52"/>
                      <a:pt x="79" y="51"/>
                      <a:pt x="80" y="50"/>
                    </a:cubicBezTo>
                    <a:cubicBezTo>
                      <a:pt x="81" y="48"/>
                      <a:pt x="81" y="48"/>
                      <a:pt x="81" y="48"/>
                    </a:cubicBezTo>
                    <a:cubicBezTo>
                      <a:pt x="83" y="46"/>
                      <a:pt x="83" y="44"/>
                      <a:pt x="83" y="41"/>
                    </a:cubicBezTo>
                    <a:cubicBezTo>
                      <a:pt x="83" y="41"/>
                      <a:pt x="83" y="41"/>
                      <a:pt x="83" y="41"/>
                    </a:cubicBezTo>
                    <a:cubicBezTo>
                      <a:pt x="84" y="40"/>
                      <a:pt x="84" y="39"/>
                      <a:pt x="84" y="39"/>
                    </a:cubicBezTo>
                    <a:cubicBezTo>
                      <a:pt x="84" y="33"/>
                      <a:pt x="84" y="33"/>
                      <a:pt x="84" y="33"/>
                    </a:cubicBezTo>
                    <a:cubicBezTo>
                      <a:pt x="90" y="36"/>
                      <a:pt x="90" y="36"/>
                      <a:pt x="90" y="36"/>
                    </a:cubicBezTo>
                    <a:cubicBezTo>
                      <a:pt x="94" y="39"/>
                      <a:pt x="102" y="43"/>
                      <a:pt x="107" y="44"/>
                    </a:cubicBezTo>
                    <a:cubicBezTo>
                      <a:pt x="107" y="44"/>
                      <a:pt x="107" y="44"/>
                      <a:pt x="107" y="44"/>
                    </a:cubicBezTo>
                    <a:cubicBezTo>
                      <a:pt x="107" y="44"/>
                      <a:pt x="107" y="44"/>
                      <a:pt x="107" y="44"/>
                    </a:cubicBezTo>
                    <a:cubicBezTo>
                      <a:pt x="106" y="42"/>
                      <a:pt x="106" y="42"/>
                      <a:pt x="106" y="41"/>
                    </a:cubicBezTo>
                    <a:cubicBezTo>
                      <a:pt x="105" y="39"/>
                      <a:pt x="105" y="39"/>
                      <a:pt x="105" y="38"/>
                    </a:cubicBezTo>
                    <a:cubicBezTo>
                      <a:pt x="105" y="38"/>
                      <a:pt x="105" y="37"/>
                      <a:pt x="105" y="37"/>
                    </a:cubicBezTo>
                    <a:cubicBezTo>
                      <a:pt x="106" y="35"/>
                      <a:pt x="106" y="35"/>
                      <a:pt x="106" y="35"/>
                    </a:cubicBezTo>
                    <a:cubicBezTo>
                      <a:pt x="106" y="35"/>
                      <a:pt x="107" y="34"/>
                      <a:pt x="107" y="33"/>
                    </a:cubicBezTo>
                    <a:cubicBezTo>
                      <a:pt x="109" y="32"/>
                      <a:pt x="110" y="32"/>
                      <a:pt x="112" y="32"/>
                    </a:cubicBezTo>
                    <a:cubicBezTo>
                      <a:pt x="114" y="32"/>
                      <a:pt x="116" y="32"/>
                      <a:pt x="117" y="33"/>
                    </a:cubicBezTo>
                    <a:cubicBezTo>
                      <a:pt x="117" y="31"/>
                      <a:pt x="117" y="29"/>
                      <a:pt x="117" y="27"/>
                    </a:cubicBezTo>
                    <a:cubicBezTo>
                      <a:pt x="117" y="26"/>
                      <a:pt x="117" y="26"/>
                      <a:pt x="117" y="26"/>
                    </a:cubicBezTo>
                    <a:cubicBezTo>
                      <a:pt x="116" y="28"/>
                      <a:pt x="114" y="30"/>
                      <a:pt x="111" y="30"/>
                    </a:cubicBezTo>
                    <a:cubicBezTo>
                      <a:pt x="110" y="30"/>
                      <a:pt x="109" y="30"/>
                      <a:pt x="108" y="29"/>
                    </a:cubicBezTo>
                    <a:cubicBezTo>
                      <a:pt x="97" y="23"/>
                      <a:pt x="97" y="23"/>
                      <a:pt x="97" y="23"/>
                    </a:cubicBezTo>
                    <a:cubicBezTo>
                      <a:pt x="96" y="23"/>
                      <a:pt x="96" y="23"/>
                      <a:pt x="96" y="23"/>
                    </a:cubicBezTo>
                    <a:cubicBezTo>
                      <a:pt x="95" y="22"/>
                      <a:pt x="95" y="22"/>
                      <a:pt x="95" y="22"/>
                    </a:cubicBezTo>
                    <a:cubicBezTo>
                      <a:pt x="94" y="22"/>
                      <a:pt x="92" y="21"/>
                      <a:pt x="93" y="18"/>
                    </a:cubicBezTo>
                    <a:cubicBezTo>
                      <a:pt x="93" y="17"/>
                      <a:pt x="93" y="17"/>
                      <a:pt x="93" y="17"/>
                    </a:cubicBezTo>
                    <a:cubicBezTo>
                      <a:pt x="93" y="17"/>
                      <a:pt x="93" y="17"/>
                      <a:pt x="93" y="17"/>
                    </a:cubicBezTo>
                    <a:cubicBezTo>
                      <a:pt x="93" y="16"/>
                      <a:pt x="93" y="16"/>
                      <a:pt x="93" y="16"/>
                    </a:cubicBezTo>
                    <a:cubicBezTo>
                      <a:pt x="93" y="16"/>
                      <a:pt x="92" y="15"/>
                      <a:pt x="92" y="15"/>
                    </a:cubicBezTo>
                    <a:cubicBezTo>
                      <a:pt x="91" y="11"/>
                      <a:pt x="91" y="9"/>
                      <a:pt x="94" y="6"/>
                    </a:cubicBezTo>
                    <a:cubicBezTo>
                      <a:pt x="94" y="6"/>
                      <a:pt x="94" y="6"/>
                      <a:pt x="94" y="6"/>
                    </a:cubicBezTo>
                    <a:cubicBezTo>
                      <a:pt x="94" y="6"/>
                      <a:pt x="94" y="6"/>
                      <a:pt x="94" y="6"/>
                    </a:cubicBezTo>
                    <a:cubicBezTo>
                      <a:pt x="94" y="6"/>
                      <a:pt x="94" y="5"/>
                      <a:pt x="93" y="5"/>
                    </a:cubicBezTo>
                    <a:cubicBezTo>
                      <a:pt x="92" y="4"/>
                      <a:pt x="92" y="4"/>
                      <a:pt x="92" y="4"/>
                    </a:cubicBezTo>
                    <a:cubicBezTo>
                      <a:pt x="90" y="3"/>
                      <a:pt x="85" y="1"/>
                      <a:pt x="82" y="1"/>
                    </a:cubicBezTo>
                    <a:cubicBezTo>
                      <a:pt x="82" y="1"/>
                      <a:pt x="81" y="0"/>
                      <a:pt x="81" y="0"/>
                    </a:cubicBezTo>
                    <a:cubicBezTo>
                      <a:pt x="80" y="0"/>
                      <a:pt x="80" y="1"/>
                      <a:pt x="79" y="1"/>
                    </a:cubicBezTo>
                    <a:cubicBezTo>
                      <a:pt x="78" y="1"/>
                      <a:pt x="78" y="1"/>
                      <a:pt x="78" y="1"/>
                    </a:cubicBezTo>
                    <a:cubicBezTo>
                      <a:pt x="78" y="1"/>
                      <a:pt x="77" y="1"/>
                      <a:pt x="76" y="1"/>
                    </a:cubicBezTo>
                    <a:cubicBezTo>
                      <a:pt x="75" y="1"/>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271"/>
              <p:cNvSpPr/>
              <p:nvPr/>
            </p:nvSpPr>
            <p:spPr bwMode="auto">
              <a:xfrm>
                <a:off x="4974906" y="4344752"/>
                <a:ext cx="1053943" cy="987611"/>
              </a:xfrm>
              <a:custGeom>
                <a:gdLst>
                  <a:gd name="T0" fmla="*/ 136 w 332"/>
                  <a:gd name="T1" fmla="*/ 2 h 311"/>
                  <a:gd name="T2" fmla="*/ 122 w 332"/>
                  <a:gd name="T3" fmla="*/ 8 h 311"/>
                  <a:gd name="T4" fmla="*/ 107 w 332"/>
                  <a:gd name="T5" fmla="*/ 8 h 311"/>
                  <a:gd name="T6" fmla="*/ 106 w 332"/>
                  <a:gd name="T7" fmla="*/ 16 h 311"/>
                  <a:gd name="T8" fmla="*/ 99 w 332"/>
                  <a:gd name="T9" fmla="*/ 18 h 311"/>
                  <a:gd name="T10" fmla="*/ 97 w 332"/>
                  <a:gd name="T11" fmla="*/ 28 h 311"/>
                  <a:gd name="T12" fmla="*/ 94 w 332"/>
                  <a:gd name="T13" fmla="*/ 30 h 311"/>
                  <a:gd name="T14" fmla="*/ 69 w 332"/>
                  <a:gd name="T15" fmla="*/ 30 h 311"/>
                  <a:gd name="T16" fmla="*/ 65 w 332"/>
                  <a:gd name="T17" fmla="*/ 37 h 311"/>
                  <a:gd name="T18" fmla="*/ 55 w 332"/>
                  <a:gd name="T19" fmla="*/ 39 h 311"/>
                  <a:gd name="T20" fmla="*/ 51 w 332"/>
                  <a:gd name="T21" fmla="*/ 34 h 311"/>
                  <a:gd name="T22" fmla="*/ 38 w 332"/>
                  <a:gd name="T23" fmla="*/ 30 h 311"/>
                  <a:gd name="T24" fmla="*/ 26 w 332"/>
                  <a:gd name="T25" fmla="*/ 41 h 311"/>
                  <a:gd name="T26" fmla="*/ 9 w 332"/>
                  <a:gd name="T27" fmla="*/ 41 h 311"/>
                  <a:gd name="T28" fmla="*/ 3 w 332"/>
                  <a:gd name="T29" fmla="*/ 43 h 311"/>
                  <a:gd name="T30" fmla="*/ 11 w 332"/>
                  <a:gd name="T31" fmla="*/ 59 h 311"/>
                  <a:gd name="T32" fmla="*/ 11 w 332"/>
                  <a:gd name="T33" fmla="*/ 81 h 311"/>
                  <a:gd name="T34" fmla="*/ 29 w 332"/>
                  <a:gd name="T35" fmla="*/ 100 h 311"/>
                  <a:gd name="T36" fmla="*/ 36 w 332"/>
                  <a:gd name="T37" fmla="*/ 107 h 311"/>
                  <a:gd name="T38" fmla="*/ 86 w 332"/>
                  <a:gd name="T39" fmla="*/ 102 h 311"/>
                  <a:gd name="T40" fmla="*/ 103 w 332"/>
                  <a:gd name="T41" fmla="*/ 141 h 311"/>
                  <a:gd name="T42" fmla="*/ 110 w 332"/>
                  <a:gd name="T43" fmla="*/ 142 h 311"/>
                  <a:gd name="T44" fmla="*/ 120 w 332"/>
                  <a:gd name="T45" fmla="*/ 160 h 311"/>
                  <a:gd name="T46" fmla="*/ 127 w 332"/>
                  <a:gd name="T47" fmla="*/ 161 h 311"/>
                  <a:gd name="T48" fmla="*/ 168 w 332"/>
                  <a:gd name="T49" fmla="*/ 193 h 311"/>
                  <a:gd name="T50" fmla="*/ 186 w 332"/>
                  <a:gd name="T51" fmla="*/ 200 h 311"/>
                  <a:gd name="T52" fmla="*/ 216 w 332"/>
                  <a:gd name="T53" fmla="*/ 216 h 311"/>
                  <a:gd name="T54" fmla="*/ 225 w 332"/>
                  <a:gd name="T55" fmla="*/ 219 h 311"/>
                  <a:gd name="T56" fmla="*/ 242 w 332"/>
                  <a:gd name="T57" fmla="*/ 241 h 311"/>
                  <a:gd name="T58" fmla="*/ 256 w 332"/>
                  <a:gd name="T59" fmla="*/ 254 h 311"/>
                  <a:gd name="T60" fmla="*/ 257 w 332"/>
                  <a:gd name="T61" fmla="*/ 286 h 311"/>
                  <a:gd name="T62" fmla="*/ 254 w 332"/>
                  <a:gd name="T63" fmla="*/ 311 h 311"/>
                  <a:gd name="T64" fmla="*/ 276 w 332"/>
                  <a:gd name="T65" fmla="*/ 293 h 311"/>
                  <a:gd name="T66" fmla="*/ 291 w 332"/>
                  <a:gd name="T67" fmla="*/ 278 h 311"/>
                  <a:gd name="T68" fmla="*/ 281 w 332"/>
                  <a:gd name="T69" fmla="*/ 254 h 311"/>
                  <a:gd name="T70" fmla="*/ 277 w 332"/>
                  <a:gd name="T71" fmla="*/ 254 h 311"/>
                  <a:gd name="T72" fmla="*/ 294 w 332"/>
                  <a:gd name="T73" fmla="*/ 228 h 311"/>
                  <a:gd name="T74" fmla="*/ 331 w 332"/>
                  <a:gd name="T75" fmla="*/ 240 h 311"/>
                  <a:gd name="T76" fmla="*/ 258 w 332"/>
                  <a:gd name="T77" fmla="*/ 186 h 311"/>
                  <a:gd name="T78" fmla="*/ 225 w 332"/>
                  <a:gd name="T79" fmla="*/ 171 h 311"/>
                  <a:gd name="T80" fmla="*/ 171 w 332"/>
                  <a:gd name="T81" fmla="*/ 108 h 311"/>
                  <a:gd name="T82" fmla="*/ 161 w 332"/>
                  <a:gd name="T83" fmla="*/ 73 h 311"/>
                  <a:gd name="T84" fmla="*/ 159 w 332"/>
                  <a:gd name="T85" fmla="*/ 51 h 311"/>
                  <a:gd name="T86" fmla="*/ 180 w 332"/>
                  <a:gd name="T87" fmla="*/ 43 h 311"/>
                  <a:gd name="T88" fmla="*/ 189 w 332"/>
                  <a:gd name="T89" fmla="*/ 44 h 311"/>
                  <a:gd name="T90" fmla="*/ 189 w 332"/>
                  <a:gd name="T91" fmla="*/ 38 h 311"/>
                  <a:gd name="T92" fmla="*/ 187 w 332"/>
                  <a:gd name="T93" fmla="*/ 30 h 311"/>
                  <a:gd name="T94" fmla="*/ 184 w 332"/>
                  <a:gd name="T95" fmla="*/ 21 h 311"/>
                  <a:gd name="T96" fmla="*/ 189 w 332"/>
                  <a:gd name="T97" fmla="*/ 18 h 311"/>
                  <a:gd name="T98" fmla="*/ 161 w 332"/>
                  <a:gd name="T99" fmla="*/ 14 h 3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2" h="311">
                    <a:moveTo>
                      <a:pt x="148" y="0"/>
                    </a:moveTo>
                    <a:cubicBezTo>
                      <a:pt x="146" y="0"/>
                      <a:pt x="146" y="0"/>
                      <a:pt x="146" y="0"/>
                    </a:cubicBezTo>
                    <a:cubicBezTo>
                      <a:pt x="143" y="1"/>
                      <a:pt x="140" y="1"/>
                      <a:pt x="137" y="2"/>
                    </a:cubicBezTo>
                    <a:cubicBezTo>
                      <a:pt x="136" y="2"/>
                      <a:pt x="136" y="2"/>
                      <a:pt x="136" y="2"/>
                    </a:cubicBezTo>
                    <a:cubicBezTo>
                      <a:pt x="126" y="4"/>
                      <a:pt x="126" y="4"/>
                      <a:pt x="126" y="4"/>
                    </a:cubicBezTo>
                    <a:cubicBezTo>
                      <a:pt x="125" y="4"/>
                      <a:pt x="125" y="4"/>
                      <a:pt x="124" y="5"/>
                    </a:cubicBezTo>
                    <a:cubicBezTo>
                      <a:pt x="124" y="6"/>
                      <a:pt x="123" y="7"/>
                      <a:pt x="122" y="8"/>
                    </a:cubicBezTo>
                    <a:cubicBezTo>
                      <a:pt x="122" y="8"/>
                      <a:pt x="122" y="8"/>
                      <a:pt x="122" y="8"/>
                    </a:cubicBezTo>
                    <a:cubicBezTo>
                      <a:pt x="121" y="10"/>
                      <a:pt x="121" y="10"/>
                      <a:pt x="120" y="10"/>
                    </a:cubicBezTo>
                    <a:cubicBezTo>
                      <a:pt x="119" y="11"/>
                      <a:pt x="118" y="11"/>
                      <a:pt x="118" y="11"/>
                    </a:cubicBezTo>
                    <a:cubicBezTo>
                      <a:pt x="117" y="11"/>
                      <a:pt x="116" y="10"/>
                      <a:pt x="114" y="10"/>
                    </a:cubicBezTo>
                    <a:cubicBezTo>
                      <a:pt x="112" y="10"/>
                      <a:pt x="109" y="9"/>
                      <a:pt x="107" y="8"/>
                    </a:cubicBezTo>
                    <a:cubicBezTo>
                      <a:pt x="106" y="8"/>
                      <a:pt x="106" y="8"/>
                      <a:pt x="106" y="8"/>
                    </a:cubicBezTo>
                    <a:cubicBezTo>
                      <a:pt x="106" y="10"/>
                      <a:pt x="106" y="12"/>
                      <a:pt x="106" y="13"/>
                    </a:cubicBezTo>
                    <a:cubicBezTo>
                      <a:pt x="106" y="14"/>
                      <a:pt x="106" y="14"/>
                      <a:pt x="106" y="14"/>
                    </a:cubicBezTo>
                    <a:cubicBezTo>
                      <a:pt x="106" y="14"/>
                      <a:pt x="106" y="15"/>
                      <a:pt x="106" y="16"/>
                    </a:cubicBezTo>
                    <a:cubicBezTo>
                      <a:pt x="106" y="20"/>
                      <a:pt x="106" y="20"/>
                      <a:pt x="106" y="20"/>
                    </a:cubicBezTo>
                    <a:cubicBezTo>
                      <a:pt x="102" y="19"/>
                      <a:pt x="102" y="19"/>
                      <a:pt x="102" y="19"/>
                    </a:cubicBezTo>
                    <a:cubicBezTo>
                      <a:pt x="101" y="19"/>
                      <a:pt x="101" y="19"/>
                      <a:pt x="101" y="19"/>
                    </a:cubicBezTo>
                    <a:cubicBezTo>
                      <a:pt x="99" y="18"/>
                      <a:pt x="99" y="18"/>
                      <a:pt x="99" y="18"/>
                    </a:cubicBezTo>
                    <a:cubicBezTo>
                      <a:pt x="99" y="18"/>
                      <a:pt x="97" y="18"/>
                      <a:pt x="96" y="17"/>
                    </a:cubicBezTo>
                    <a:cubicBezTo>
                      <a:pt x="97" y="18"/>
                      <a:pt x="97" y="18"/>
                      <a:pt x="97" y="19"/>
                    </a:cubicBezTo>
                    <a:cubicBezTo>
                      <a:pt x="98" y="20"/>
                      <a:pt x="98" y="21"/>
                      <a:pt x="97" y="23"/>
                    </a:cubicBezTo>
                    <a:cubicBezTo>
                      <a:pt x="98" y="24"/>
                      <a:pt x="98" y="26"/>
                      <a:pt x="97" y="28"/>
                    </a:cubicBezTo>
                    <a:cubicBezTo>
                      <a:pt x="96" y="29"/>
                      <a:pt x="96" y="29"/>
                      <a:pt x="96" y="29"/>
                    </a:cubicBezTo>
                    <a:cubicBezTo>
                      <a:pt x="95" y="29"/>
                      <a:pt x="95" y="29"/>
                      <a:pt x="95" y="29"/>
                    </a:cubicBezTo>
                    <a:cubicBezTo>
                      <a:pt x="95" y="29"/>
                      <a:pt x="95" y="30"/>
                      <a:pt x="94" y="30"/>
                    </a:cubicBezTo>
                    <a:cubicBezTo>
                      <a:pt x="94" y="30"/>
                      <a:pt x="94" y="30"/>
                      <a:pt x="94" y="30"/>
                    </a:cubicBezTo>
                    <a:cubicBezTo>
                      <a:pt x="93" y="30"/>
                      <a:pt x="93" y="30"/>
                      <a:pt x="93" y="30"/>
                    </a:cubicBezTo>
                    <a:cubicBezTo>
                      <a:pt x="93" y="30"/>
                      <a:pt x="93" y="30"/>
                      <a:pt x="93" y="30"/>
                    </a:cubicBezTo>
                    <a:cubicBezTo>
                      <a:pt x="88" y="30"/>
                      <a:pt x="79" y="26"/>
                      <a:pt x="72" y="23"/>
                    </a:cubicBezTo>
                    <a:cubicBezTo>
                      <a:pt x="72" y="25"/>
                      <a:pt x="71" y="28"/>
                      <a:pt x="69" y="30"/>
                    </a:cubicBezTo>
                    <a:cubicBezTo>
                      <a:pt x="68" y="31"/>
                      <a:pt x="68" y="31"/>
                      <a:pt x="68" y="31"/>
                    </a:cubicBezTo>
                    <a:cubicBezTo>
                      <a:pt x="68" y="31"/>
                      <a:pt x="68" y="32"/>
                      <a:pt x="67" y="32"/>
                    </a:cubicBezTo>
                    <a:cubicBezTo>
                      <a:pt x="66" y="33"/>
                      <a:pt x="66" y="33"/>
                      <a:pt x="66" y="35"/>
                    </a:cubicBezTo>
                    <a:cubicBezTo>
                      <a:pt x="65" y="37"/>
                      <a:pt x="65" y="37"/>
                      <a:pt x="65" y="37"/>
                    </a:cubicBezTo>
                    <a:cubicBezTo>
                      <a:pt x="65" y="39"/>
                      <a:pt x="63" y="41"/>
                      <a:pt x="62" y="42"/>
                    </a:cubicBezTo>
                    <a:cubicBezTo>
                      <a:pt x="53" y="53"/>
                      <a:pt x="53" y="53"/>
                      <a:pt x="53" y="53"/>
                    </a:cubicBezTo>
                    <a:cubicBezTo>
                      <a:pt x="55" y="40"/>
                      <a:pt x="55" y="40"/>
                      <a:pt x="55" y="40"/>
                    </a:cubicBezTo>
                    <a:cubicBezTo>
                      <a:pt x="55" y="39"/>
                      <a:pt x="55" y="39"/>
                      <a:pt x="55" y="39"/>
                    </a:cubicBezTo>
                    <a:cubicBezTo>
                      <a:pt x="55" y="38"/>
                      <a:pt x="55" y="37"/>
                      <a:pt x="54" y="36"/>
                    </a:cubicBezTo>
                    <a:cubicBezTo>
                      <a:pt x="54" y="35"/>
                      <a:pt x="54" y="35"/>
                      <a:pt x="54" y="35"/>
                    </a:cubicBezTo>
                    <a:cubicBezTo>
                      <a:pt x="53" y="35"/>
                      <a:pt x="53" y="35"/>
                      <a:pt x="53" y="35"/>
                    </a:cubicBezTo>
                    <a:cubicBezTo>
                      <a:pt x="53" y="34"/>
                      <a:pt x="52" y="34"/>
                      <a:pt x="51" y="34"/>
                    </a:cubicBezTo>
                    <a:cubicBezTo>
                      <a:pt x="50" y="33"/>
                      <a:pt x="50" y="33"/>
                      <a:pt x="49" y="33"/>
                    </a:cubicBezTo>
                    <a:cubicBezTo>
                      <a:pt x="46" y="31"/>
                      <a:pt x="43" y="30"/>
                      <a:pt x="42" y="28"/>
                    </a:cubicBezTo>
                    <a:cubicBezTo>
                      <a:pt x="42" y="27"/>
                      <a:pt x="42" y="26"/>
                      <a:pt x="42" y="25"/>
                    </a:cubicBezTo>
                    <a:cubicBezTo>
                      <a:pt x="40" y="26"/>
                      <a:pt x="39" y="29"/>
                      <a:pt x="38" y="30"/>
                    </a:cubicBezTo>
                    <a:cubicBezTo>
                      <a:pt x="37" y="33"/>
                      <a:pt x="35" y="35"/>
                      <a:pt x="34" y="37"/>
                    </a:cubicBezTo>
                    <a:cubicBezTo>
                      <a:pt x="32" y="39"/>
                      <a:pt x="32" y="39"/>
                      <a:pt x="32" y="39"/>
                    </a:cubicBezTo>
                    <a:cubicBezTo>
                      <a:pt x="32" y="39"/>
                      <a:pt x="30" y="41"/>
                      <a:pt x="28" y="41"/>
                    </a:cubicBezTo>
                    <a:cubicBezTo>
                      <a:pt x="26" y="41"/>
                      <a:pt x="26" y="41"/>
                      <a:pt x="26" y="41"/>
                    </a:cubicBezTo>
                    <a:cubicBezTo>
                      <a:pt x="26" y="41"/>
                      <a:pt x="25" y="40"/>
                      <a:pt x="25" y="40"/>
                    </a:cubicBezTo>
                    <a:cubicBezTo>
                      <a:pt x="23" y="40"/>
                      <a:pt x="21" y="39"/>
                      <a:pt x="20" y="39"/>
                    </a:cubicBezTo>
                    <a:cubicBezTo>
                      <a:pt x="19" y="39"/>
                      <a:pt x="19" y="40"/>
                      <a:pt x="18" y="40"/>
                    </a:cubicBezTo>
                    <a:cubicBezTo>
                      <a:pt x="16" y="40"/>
                      <a:pt x="12" y="40"/>
                      <a:pt x="9" y="41"/>
                    </a:cubicBezTo>
                    <a:cubicBezTo>
                      <a:pt x="8" y="41"/>
                      <a:pt x="8" y="41"/>
                      <a:pt x="8" y="41"/>
                    </a:cubicBezTo>
                    <a:cubicBezTo>
                      <a:pt x="7" y="41"/>
                      <a:pt x="7" y="41"/>
                      <a:pt x="6" y="41"/>
                    </a:cubicBezTo>
                    <a:cubicBezTo>
                      <a:pt x="5" y="42"/>
                      <a:pt x="5" y="42"/>
                      <a:pt x="4" y="43"/>
                    </a:cubicBezTo>
                    <a:cubicBezTo>
                      <a:pt x="3" y="43"/>
                      <a:pt x="3" y="43"/>
                      <a:pt x="3" y="43"/>
                    </a:cubicBezTo>
                    <a:cubicBezTo>
                      <a:pt x="9" y="51"/>
                      <a:pt x="9" y="51"/>
                      <a:pt x="9" y="51"/>
                    </a:cubicBezTo>
                    <a:cubicBezTo>
                      <a:pt x="9" y="51"/>
                      <a:pt x="9" y="51"/>
                      <a:pt x="9" y="51"/>
                    </a:cubicBezTo>
                    <a:cubicBezTo>
                      <a:pt x="11" y="52"/>
                      <a:pt x="12" y="53"/>
                      <a:pt x="13" y="55"/>
                    </a:cubicBezTo>
                    <a:cubicBezTo>
                      <a:pt x="13" y="57"/>
                      <a:pt x="12" y="58"/>
                      <a:pt x="11" y="59"/>
                    </a:cubicBezTo>
                    <a:cubicBezTo>
                      <a:pt x="11" y="60"/>
                      <a:pt x="11" y="60"/>
                      <a:pt x="11" y="60"/>
                    </a:cubicBezTo>
                    <a:cubicBezTo>
                      <a:pt x="12" y="61"/>
                      <a:pt x="11" y="62"/>
                      <a:pt x="11" y="63"/>
                    </a:cubicBezTo>
                    <a:cubicBezTo>
                      <a:pt x="9" y="66"/>
                      <a:pt x="5" y="67"/>
                      <a:pt x="0" y="68"/>
                    </a:cubicBezTo>
                    <a:cubicBezTo>
                      <a:pt x="11" y="81"/>
                      <a:pt x="11" y="81"/>
                      <a:pt x="11" y="81"/>
                    </a:cubicBezTo>
                    <a:cubicBezTo>
                      <a:pt x="8" y="83"/>
                      <a:pt x="8" y="83"/>
                      <a:pt x="8" y="83"/>
                    </a:cubicBezTo>
                    <a:cubicBezTo>
                      <a:pt x="6" y="84"/>
                      <a:pt x="4" y="88"/>
                      <a:pt x="5" y="90"/>
                    </a:cubicBezTo>
                    <a:cubicBezTo>
                      <a:pt x="5" y="90"/>
                      <a:pt x="5" y="90"/>
                      <a:pt x="5" y="90"/>
                    </a:cubicBezTo>
                    <a:cubicBezTo>
                      <a:pt x="29" y="100"/>
                      <a:pt x="29" y="100"/>
                      <a:pt x="29" y="100"/>
                    </a:cubicBezTo>
                    <a:cubicBezTo>
                      <a:pt x="28" y="103"/>
                      <a:pt x="28" y="103"/>
                      <a:pt x="28" y="103"/>
                    </a:cubicBezTo>
                    <a:cubicBezTo>
                      <a:pt x="27" y="105"/>
                      <a:pt x="26" y="107"/>
                      <a:pt x="25" y="109"/>
                    </a:cubicBezTo>
                    <a:cubicBezTo>
                      <a:pt x="25" y="110"/>
                      <a:pt x="24" y="111"/>
                      <a:pt x="24" y="112"/>
                    </a:cubicBezTo>
                    <a:cubicBezTo>
                      <a:pt x="29" y="111"/>
                      <a:pt x="34" y="109"/>
                      <a:pt x="36" y="107"/>
                    </a:cubicBezTo>
                    <a:cubicBezTo>
                      <a:pt x="41" y="102"/>
                      <a:pt x="46" y="97"/>
                      <a:pt x="50" y="92"/>
                    </a:cubicBezTo>
                    <a:cubicBezTo>
                      <a:pt x="50" y="92"/>
                      <a:pt x="51" y="92"/>
                      <a:pt x="52" y="92"/>
                    </a:cubicBezTo>
                    <a:cubicBezTo>
                      <a:pt x="56" y="92"/>
                      <a:pt x="66" y="94"/>
                      <a:pt x="67" y="95"/>
                    </a:cubicBezTo>
                    <a:cubicBezTo>
                      <a:pt x="73" y="97"/>
                      <a:pt x="79" y="99"/>
                      <a:pt x="86" y="102"/>
                    </a:cubicBezTo>
                    <a:cubicBezTo>
                      <a:pt x="90" y="104"/>
                      <a:pt x="96" y="107"/>
                      <a:pt x="97" y="113"/>
                    </a:cubicBezTo>
                    <a:cubicBezTo>
                      <a:pt x="98" y="120"/>
                      <a:pt x="100" y="126"/>
                      <a:pt x="103" y="133"/>
                    </a:cubicBezTo>
                    <a:cubicBezTo>
                      <a:pt x="103" y="135"/>
                      <a:pt x="104" y="138"/>
                      <a:pt x="104" y="140"/>
                    </a:cubicBezTo>
                    <a:cubicBezTo>
                      <a:pt x="104" y="140"/>
                      <a:pt x="103" y="140"/>
                      <a:pt x="103" y="141"/>
                    </a:cubicBezTo>
                    <a:cubicBezTo>
                      <a:pt x="104" y="142"/>
                      <a:pt x="105" y="142"/>
                      <a:pt x="107" y="142"/>
                    </a:cubicBezTo>
                    <a:cubicBezTo>
                      <a:pt x="107" y="142"/>
                      <a:pt x="108" y="142"/>
                      <a:pt x="108" y="142"/>
                    </a:cubicBezTo>
                    <a:cubicBezTo>
                      <a:pt x="109" y="142"/>
                      <a:pt x="109" y="142"/>
                      <a:pt x="109" y="142"/>
                    </a:cubicBezTo>
                    <a:cubicBezTo>
                      <a:pt x="110" y="142"/>
                      <a:pt x="110" y="142"/>
                      <a:pt x="110" y="142"/>
                    </a:cubicBezTo>
                    <a:cubicBezTo>
                      <a:pt x="112" y="142"/>
                      <a:pt x="116" y="150"/>
                      <a:pt x="118" y="152"/>
                    </a:cubicBezTo>
                    <a:cubicBezTo>
                      <a:pt x="119" y="154"/>
                      <a:pt x="122" y="157"/>
                      <a:pt x="122" y="159"/>
                    </a:cubicBezTo>
                    <a:cubicBezTo>
                      <a:pt x="121" y="159"/>
                      <a:pt x="121" y="159"/>
                      <a:pt x="121" y="159"/>
                    </a:cubicBezTo>
                    <a:cubicBezTo>
                      <a:pt x="121" y="159"/>
                      <a:pt x="120" y="159"/>
                      <a:pt x="120" y="160"/>
                    </a:cubicBezTo>
                    <a:cubicBezTo>
                      <a:pt x="121" y="161"/>
                      <a:pt x="123" y="161"/>
                      <a:pt x="125" y="161"/>
                    </a:cubicBezTo>
                    <a:cubicBezTo>
                      <a:pt x="125" y="161"/>
                      <a:pt x="126" y="161"/>
                      <a:pt x="126" y="161"/>
                    </a:cubicBezTo>
                    <a:cubicBezTo>
                      <a:pt x="126" y="161"/>
                      <a:pt x="126" y="161"/>
                      <a:pt x="126" y="161"/>
                    </a:cubicBezTo>
                    <a:cubicBezTo>
                      <a:pt x="127" y="161"/>
                      <a:pt x="127" y="161"/>
                      <a:pt x="127" y="161"/>
                    </a:cubicBezTo>
                    <a:cubicBezTo>
                      <a:pt x="134" y="161"/>
                      <a:pt x="139" y="169"/>
                      <a:pt x="144" y="173"/>
                    </a:cubicBezTo>
                    <a:cubicBezTo>
                      <a:pt x="147" y="176"/>
                      <a:pt x="150" y="178"/>
                      <a:pt x="153" y="181"/>
                    </a:cubicBezTo>
                    <a:cubicBezTo>
                      <a:pt x="158" y="185"/>
                      <a:pt x="158" y="185"/>
                      <a:pt x="158" y="185"/>
                    </a:cubicBezTo>
                    <a:cubicBezTo>
                      <a:pt x="161" y="187"/>
                      <a:pt x="164" y="190"/>
                      <a:pt x="168" y="193"/>
                    </a:cubicBezTo>
                    <a:cubicBezTo>
                      <a:pt x="170" y="195"/>
                      <a:pt x="172" y="197"/>
                      <a:pt x="175" y="198"/>
                    </a:cubicBezTo>
                    <a:cubicBezTo>
                      <a:pt x="175" y="199"/>
                      <a:pt x="176" y="200"/>
                      <a:pt x="176" y="200"/>
                    </a:cubicBezTo>
                    <a:cubicBezTo>
                      <a:pt x="177" y="201"/>
                      <a:pt x="178" y="201"/>
                      <a:pt x="180" y="201"/>
                    </a:cubicBezTo>
                    <a:cubicBezTo>
                      <a:pt x="182" y="201"/>
                      <a:pt x="184" y="201"/>
                      <a:pt x="186" y="200"/>
                    </a:cubicBezTo>
                    <a:cubicBezTo>
                      <a:pt x="187" y="200"/>
                      <a:pt x="189" y="200"/>
                      <a:pt x="191" y="200"/>
                    </a:cubicBezTo>
                    <a:cubicBezTo>
                      <a:pt x="194" y="200"/>
                      <a:pt x="196" y="200"/>
                      <a:pt x="197" y="202"/>
                    </a:cubicBezTo>
                    <a:cubicBezTo>
                      <a:pt x="200" y="206"/>
                      <a:pt x="202" y="210"/>
                      <a:pt x="206" y="212"/>
                    </a:cubicBezTo>
                    <a:cubicBezTo>
                      <a:pt x="209" y="213"/>
                      <a:pt x="212" y="215"/>
                      <a:pt x="216" y="216"/>
                    </a:cubicBezTo>
                    <a:cubicBezTo>
                      <a:pt x="215" y="218"/>
                      <a:pt x="213" y="220"/>
                      <a:pt x="212" y="222"/>
                    </a:cubicBezTo>
                    <a:cubicBezTo>
                      <a:pt x="216" y="221"/>
                      <a:pt x="219" y="220"/>
                      <a:pt x="222" y="220"/>
                    </a:cubicBezTo>
                    <a:cubicBezTo>
                      <a:pt x="223" y="220"/>
                      <a:pt x="224" y="219"/>
                      <a:pt x="224" y="219"/>
                    </a:cubicBezTo>
                    <a:cubicBezTo>
                      <a:pt x="225" y="219"/>
                      <a:pt x="225" y="219"/>
                      <a:pt x="225" y="219"/>
                    </a:cubicBezTo>
                    <a:cubicBezTo>
                      <a:pt x="227" y="220"/>
                      <a:pt x="231" y="228"/>
                      <a:pt x="231" y="230"/>
                    </a:cubicBezTo>
                    <a:cubicBezTo>
                      <a:pt x="231" y="230"/>
                      <a:pt x="230" y="231"/>
                      <a:pt x="230" y="232"/>
                    </a:cubicBezTo>
                    <a:cubicBezTo>
                      <a:pt x="229" y="234"/>
                      <a:pt x="229" y="233"/>
                      <a:pt x="232" y="236"/>
                    </a:cubicBezTo>
                    <a:cubicBezTo>
                      <a:pt x="235" y="238"/>
                      <a:pt x="239" y="241"/>
                      <a:pt x="242" y="241"/>
                    </a:cubicBezTo>
                    <a:cubicBezTo>
                      <a:pt x="243" y="241"/>
                      <a:pt x="243" y="241"/>
                      <a:pt x="243" y="241"/>
                    </a:cubicBezTo>
                    <a:cubicBezTo>
                      <a:pt x="245" y="241"/>
                      <a:pt x="247" y="241"/>
                      <a:pt x="248" y="241"/>
                    </a:cubicBezTo>
                    <a:cubicBezTo>
                      <a:pt x="250" y="241"/>
                      <a:pt x="252" y="241"/>
                      <a:pt x="253" y="244"/>
                    </a:cubicBezTo>
                    <a:cubicBezTo>
                      <a:pt x="254" y="247"/>
                      <a:pt x="255" y="251"/>
                      <a:pt x="256" y="254"/>
                    </a:cubicBezTo>
                    <a:cubicBezTo>
                      <a:pt x="259" y="261"/>
                      <a:pt x="260" y="270"/>
                      <a:pt x="264" y="276"/>
                    </a:cubicBezTo>
                    <a:cubicBezTo>
                      <a:pt x="265" y="278"/>
                      <a:pt x="266" y="277"/>
                      <a:pt x="266" y="279"/>
                    </a:cubicBezTo>
                    <a:cubicBezTo>
                      <a:pt x="266" y="283"/>
                      <a:pt x="263" y="283"/>
                      <a:pt x="260" y="284"/>
                    </a:cubicBezTo>
                    <a:cubicBezTo>
                      <a:pt x="259" y="284"/>
                      <a:pt x="257" y="285"/>
                      <a:pt x="257" y="286"/>
                    </a:cubicBezTo>
                    <a:cubicBezTo>
                      <a:pt x="256" y="287"/>
                      <a:pt x="256" y="286"/>
                      <a:pt x="256" y="287"/>
                    </a:cubicBezTo>
                    <a:cubicBezTo>
                      <a:pt x="255" y="288"/>
                      <a:pt x="258" y="290"/>
                      <a:pt x="258" y="291"/>
                    </a:cubicBezTo>
                    <a:cubicBezTo>
                      <a:pt x="258" y="292"/>
                      <a:pt x="255" y="295"/>
                      <a:pt x="254" y="296"/>
                    </a:cubicBezTo>
                    <a:cubicBezTo>
                      <a:pt x="251" y="300"/>
                      <a:pt x="245" y="309"/>
                      <a:pt x="254" y="311"/>
                    </a:cubicBezTo>
                    <a:cubicBezTo>
                      <a:pt x="254" y="311"/>
                      <a:pt x="256" y="311"/>
                      <a:pt x="257" y="311"/>
                    </a:cubicBezTo>
                    <a:cubicBezTo>
                      <a:pt x="259" y="311"/>
                      <a:pt x="261" y="311"/>
                      <a:pt x="261" y="311"/>
                    </a:cubicBezTo>
                    <a:cubicBezTo>
                      <a:pt x="263" y="310"/>
                      <a:pt x="266" y="305"/>
                      <a:pt x="268" y="303"/>
                    </a:cubicBezTo>
                    <a:cubicBezTo>
                      <a:pt x="270" y="301"/>
                      <a:pt x="275" y="296"/>
                      <a:pt x="276" y="293"/>
                    </a:cubicBezTo>
                    <a:cubicBezTo>
                      <a:pt x="277" y="291"/>
                      <a:pt x="275" y="286"/>
                      <a:pt x="275" y="285"/>
                    </a:cubicBezTo>
                    <a:cubicBezTo>
                      <a:pt x="276" y="282"/>
                      <a:pt x="282" y="277"/>
                      <a:pt x="286" y="277"/>
                    </a:cubicBezTo>
                    <a:cubicBezTo>
                      <a:pt x="286" y="277"/>
                      <a:pt x="286" y="277"/>
                      <a:pt x="287" y="277"/>
                    </a:cubicBezTo>
                    <a:cubicBezTo>
                      <a:pt x="288" y="277"/>
                      <a:pt x="290" y="278"/>
                      <a:pt x="291" y="278"/>
                    </a:cubicBezTo>
                    <a:cubicBezTo>
                      <a:pt x="292" y="278"/>
                      <a:pt x="292" y="278"/>
                      <a:pt x="292" y="278"/>
                    </a:cubicBezTo>
                    <a:cubicBezTo>
                      <a:pt x="295" y="275"/>
                      <a:pt x="293" y="269"/>
                      <a:pt x="293" y="266"/>
                    </a:cubicBezTo>
                    <a:cubicBezTo>
                      <a:pt x="292" y="261"/>
                      <a:pt x="288" y="259"/>
                      <a:pt x="283" y="256"/>
                    </a:cubicBezTo>
                    <a:cubicBezTo>
                      <a:pt x="282" y="255"/>
                      <a:pt x="282" y="255"/>
                      <a:pt x="281" y="254"/>
                    </a:cubicBezTo>
                    <a:cubicBezTo>
                      <a:pt x="280" y="254"/>
                      <a:pt x="280" y="254"/>
                      <a:pt x="280" y="254"/>
                    </a:cubicBezTo>
                    <a:cubicBezTo>
                      <a:pt x="279" y="254"/>
                      <a:pt x="279" y="254"/>
                      <a:pt x="279" y="254"/>
                    </a:cubicBezTo>
                    <a:cubicBezTo>
                      <a:pt x="279" y="254"/>
                      <a:pt x="278" y="254"/>
                      <a:pt x="278" y="254"/>
                    </a:cubicBezTo>
                    <a:cubicBezTo>
                      <a:pt x="278" y="254"/>
                      <a:pt x="277" y="254"/>
                      <a:pt x="277" y="254"/>
                    </a:cubicBezTo>
                    <a:cubicBezTo>
                      <a:pt x="274" y="252"/>
                      <a:pt x="276" y="249"/>
                      <a:pt x="276" y="246"/>
                    </a:cubicBezTo>
                    <a:cubicBezTo>
                      <a:pt x="278" y="238"/>
                      <a:pt x="281" y="232"/>
                      <a:pt x="288" y="225"/>
                    </a:cubicBezTo>
                    <a:cubicBezTo>
                      <a:pt x="289" y="225"/>
                      <a:pt x="290" y="224"/>
                      <a:pt x="292" y="224"/>
                    </a:cubicBezTo>
                    <a:cubicBezTo>
                      <a:pt x="295" y="224"/>
                      <a:pt x="298" y="226"/>
                      <a:pt x="294" y="228"/>
                    </a:cubicBezTo>
                    <a:cubicBezTo>
                      <a:pt x="298" y="229"/>
                      <a:pt x="302" y="230"/>
                      <a:pt x="306" y="231"/>
                    </a:cubicBezTo>
                    <a:cubicBezTo>
                      <a:pt x="311" y="232"/>
                      <a:pt x="311" y="234"/>
                      <a:pt x="314" y="238"/>
                    </a:cubicBezTo>
                    <a:cubicBezTo>
                      <a:pt x="318" y="244"/>
                      <a:pt x="321" y="245"/>
                      <a:pt x="327" y="248"/>
                    </a:cubicBezTo>
                    <a:cubicBezTo>
                      <a:pt x="328" y="244"/>
                      <a:pt x="330" y="243"/>
                      <a:pt x="331" y="240"/>
                    </a:cubicBezTo>
                    <a:cubicBezTo>
                      <a:pt x="332" y="234"/>
                      <a:pt x="323" y="228"/>
                      <a:pt x="319" y="224"/>
                    </a:cubicBezTo>
                    <a:cubicBezTo>
                      <a:pt x="315" y="220"/>
                      <a:pt x="308" y="217"/>
                      <a:pt x="303" y="214"/>
                    </a:cubicBezTo>
                    <a:cubicBezTo>
                      <a:pt x="299" y="211"/>
                      <a:pt x="294" y="209"/>
                      <a:pt x="290" y="207"/>
                    </a:cubicBezTo>
                    <a:cubicBezTo>
                      <a:pt x="278" y="201"/>
                      <a:pt x="266" y="198"/>
                      <a:pt x="258" y="186"/>
                    </a:cubicBezTo>
                    <a:cubicBezTo>
                      <a:pt x="261" y="185"/>
                      <a:pt x="266" y="183"/>
                      <a:pt x="265" y="180"/>
                    </a:cubicBezTo>
                    <a:cubicBezTo>
                      <a:pt x="265" y="179"/>
                      <a:pt x="265" y="177"/>
                      <a:pt x="264" y="177"/>
                    </a:cubicBezTo>
                    <a:cubicBezTo>
                      <a:pt x="254" y="177"/>
                      <a:pt x="245" y="177"/>
                      <a:pt x="236" y="176"/>
                    </a:cubicBezTo>
                    <a:cubicBezTo>
                      <a:pt x="233" y="176"/>
                      <a:pt x="227" y="173"/>
                      <a:pt x="225" y="171"/>
                    </a:cubicBezTo>
                    <a:cubicBezTo>
                      <a:pt x="221" y="169"/>
                      <a:pt x="218" y="166"/>
                      <a:pt x="215" y="163"/>
                    </a:cubicBezTo>
                    <a:cubicBezTo>
                      <a:pt x="208" y="157"/>
                      <a:pt x="205" y="152"/>
                      <a:pt x="201" y="144"/>
                    </a:cubicBezTo>
                    <a:cubicBezTo>
                      <a:pt x="198" y="139"/>
                      <a:pt x="198" y="128"/>
                      <a:pt x="193" y="124"/>
                    </a:cubicBezTo>
                    <a:cubicBezTo>
                      <a:pt x="186" y="119"/>
                      <a:pt x="179" y="113"/>
                      <a:pt x="171" y="108"/>
                    </a:cubicBezTo>
                    <a:cubicBezTo>
                      <a:pt x="164" y="104"/>
                      <a:pt x="158" y="100"/>
                      <a:pt x="156" y="92"/>
                    </a:cubicBezTo>
                    <a:cubicBezTo>
                      <a:pt x="155" y="87"/>
                      <a:pt x="153" y="81"/>
                      <a:pt x="154" y="77"/>
                    </a:cubicBezTo>
                    <a:cubicBezTo>
                      <a:pt x="155" y="77"/>
                      <a:pt x="156" y="77"/>
                      <a:pt x="156" y="77"/>
                    </a:cubicBezTo>
                    <a:cubicBezTo>
                      <a:pt x="159" y="77"/>
                      <a:pt x="160" y="76"/>
                      <a:pt x="161" y="73"/>
                    </a:cubicBezTo>
                    <a:cubicBezTo>
                      <a:pt x="161" y="71"/>
                      <a:pt x="160" y="70"/>
                      <a:pt x="158" y="67"/>
                    </a:cubicBezTo>
                    <a:cubicBezTo>
                      <a:pt x="157" y="66"/>
                      <a:pt x="151" y="61"/>
                      <a:pt x="151" y="59"/>
                    </a:cubicBezTo>
                    <a:cubicBezTo>
                      <a:pt x="151" y="58"/>
                      <a:pt x="153" y="55"/>
                      <a:pt x="154" y="54"/>
                    </a:cubicBezTo>
                    <a:cubicBezTo>
                      <a:pt x="155" y="53"/>
                      <a:pt x="158" y="51"/>
                      <a:pt x="159" y="51"/>
                    </a:cubicBezTo>
                    <a:cubicBezTo>
                      <a:pt x="159" y="52"/>
                      <a:pt x="159" y="54"/>
                      <a:pt x="158" y="55"/>
                    </a:cubicBezTo>
                    <a:cubicBezTo>
                      <a:pt x="161" y="54"/>
                      <a:pt x="164" y="53"/>
                      <a:pt x="167" y="51"/>
                    </a:cubicBezTo>
                    <a:cubicBezTo>
                      <a:pt x="169" y="50"/>
                      <a:pt x="176" y="49"/>
                      <a:pt x="177" y="47"/>
                    </a:cubicBezTo>
                    <a:cubicBezTo>
                      <a:pt x="179" y="44"/>
                      <a:pt x="176" y="44"/>
                      <a:pt x="180" y="43"/>
                    </a:cubicBezTo>
                    <a:cubicBezTo>
                      <a:pt x="180" y="43"/>
                      <a:pt x="180" y="43"/>
                      <a:pt x="181" y="43"/>
                    </a:cubicBezTo>
                    <a:cubicBezTo>
                      <a:pt x="182" y="43"/>
                      <a:pt x="183" y="43"/>
                      <a:pt x="184" y="44"/>
                    </a:cubicBezTo>
                    <a:cubicBezTo>
                      <a:pt x="185" y="44"/>
                      <a:pt x="185" y="44"/>
                      <a:pt x="186" y="44"/>
                    </a:cubicBezTo>
                    <a:cubicBezTo>
                      <a:pt x="187" y="44"/>
                      <a:pt x="188" y="44"/>
                      <a:pt x="189" y="44"/>
                    </a:cubicBezTo>
                    <a:cubicBezTo>
                      <a:pt x="189" y="43"/>
                      <a:pt x="189" y="44"/>
                      <a:pt x="189" y="43"/>
                    </a:cubicBezTo>
                    <a:cubicBezTo>
                      <a:pt x="189" y="43"/>
                      <a:pt x="189" y="43"/>
                      <a:pt x="189" y="43"/>
                    </a:cubicBezTo>
                    <a:cubicBezTo>
                      <a:pt x="189" y="42"/>
                      <a:pt x="189" y="42"/>
                      <a:pt x="189" y="42"/>
                    </a:cubicBezTo>
                    <a:cubicBezTo>
                      <a:pt x="188" y="41"/>
                      <a:pt x="188" y="40"/>
                      <a:pt x="189" y="38"/>
                    </a:cubicBezTo>
                    <a:cubicBezTo>
                      <a:pt x="189" y="37"/>
                      <a:pt x="189" y="37"/>
                      <a:pt x="189" y="37"/>
                    </a:cubicBezTo>
                    <a:cubicBezTo>
                      <a:pt x="189" y="37"/>
                      <a:pt x="187" y="36"/>
                      <a:pt x="187" y="36"/>
                    </a:cubicBezTo>
                    <a:cubicBezTo>
                      <a:pt x="182" y="32"/>
                      <a:pt x="182" y="32"/>
                      <a:pt x="182" y="32"/>
                    </a:cubicBezTo>
                    <a:cubicBezTo>
                      <a:pt x="187" y="30"/>
                      <a:pt x="187" y="30"/>
                      <a:pt x="187" y="30"/>
                    </a:cubicBezTo>
                    <a:cubicBezTo>
                      <a:pt x="188" y="29"/>
                      <a:pt x="188" y="29"/>
                      <a:pt x="188" y="29"/>
                    </a:cubicBezTo>
                    <a:cubicBezTo>
                      <a:pt x="188" y="29"/>
                      <a:pt x="188" y="29"/>
                      <a:pt x="188" y="29"/>
                    </a:cubicBezTo>
                    <a:cubicBezTo>
                      <a:pt x="180" y="24"/>
                      <a:pt x="180" y="24"/>
                      <a:pt x="180" y="24"/>
                    </a:cubicBezTo>
                    <a:cubicBezTo>
                      <a:pt x="184" y="21"/>
                      <a:pt x="184" y="21"/>
                      <a:pt x="184" y="21"/>
                    </a:cubicBezTo>
                    <a:cubicBezTo>
                      <a:pt x="185" y="21"/>
                      <a:pt x="185" y="21"/>
                      <a:pt x="186" y="20"/>
                    </a:cubicBezTo>
                    <a:cubicBezTo>
                      <a:pt x="187" y="20"/>
                      <a:pt x="187" y="20"/>
                      <a:pt x="187" y="20"/>
                    </a:cubicBezTo>
                    <a:cubicBezTo>
                      <a:pt x="187" y="19"/>
                      <a:pt x="188" y="19"/>
                      <a:pt x="189" y="18"/>
                    </a:cubicBezTo>
                    <a:cubicBezTo>
                      <a:pt x="189" y="18"/>
                      <a:pt x="189" y="18"/>
                      <a:pt x="189" y="18"/>
                    </a:cubicBezTo>
                    <a:cubicBezTo>
                      <a:pt x="187" y="18"/>
                      <a:pt x="186" y="18"/>
                      <a:pt x="184" y="18"/>
                    </a:cubicBezTo>
                    <a:cubicBezTo>
                      <a:pt x="178" y="17"/>
                      <a:pt x="172" y="17"/>
                      <a:pt x="165" y="15"/>
                    </a:cubicBezTo>
                    <a:cubicBezTo>
                      <a:pt x="164" y="15"/>
                      <a:pt x="164" y="15"/>
                      <a:pt x="164" y="15"/>
                    </a:cubicBezTo>
                    <a:cubicBezTo>
                      <a:pt x="161" y="14"/>
                      <a:pt x="161" y="14"/>
                      <a:pt x="161" y="14"/>
                    </a:cubicBezTo>
                    <a:cubicBezTo>
                      <a:pt x="156" y="14"/>
                      <a:pt x="151" y="9"/>
                      <a:pt x="149" y="5"/>
                    </a:cubicBezTo>
                    <a:cubicBezTo>
                      <a:pt x="149" y="4"/>
                      <a:pt x="149" y="4"/>
                      <a:pt x="149" y="4"/>
                    </a:cubicBezTo>
                    <a:cubicBezTo>
                      <a:pt x="148" y="3"/>
                      <a:pt x="148" y="2"/>
                      <a:pt x="1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272"/>
              <p:cNvSpPr/>
              <p:nvPr/>
            </p:nvSpPr>
            <p:spPr bwMode="auto">
              <a:xfrm>
                <a:off x="4882779" y="3884113"/>
                <a:ext cx="7370" cy="7370"/>
              </a:xfrm>
              <a:custGeom>
                <a:gdLst>
                  <a:gd name="T0" fmla="*/ 0 w 2"/>
                  <a:gd name="T1" fmla="*/ 0 h 2"/>
                  <a:gd name="T2" fmla="*/ 0 w 2"/>
                  <a:gd name="T3" fmla="*/ 0 h 2"/>
                  <a:gd name="T4" fmla="*/ 0 w 2"/>
                  <a:gd name="T5" fmla="*/ 2 h 2"/>
                  <a:gd name="T6" fmla="*/ 2 w 2"/>
                  <a:gd name="T7" fmla="*/ 2 h 2"/>
                  <a:gd name="T8" fmla="*/ 2 w 2"/>
                  <a:gd name="T9" fmla="*/ 1 h 2"/>
                  <a:gd name="T10" fmla="*/ 2 w 2"/>
                  <a:gd name="T11" fmla="*/ 1 h 2"/>
                  <a:gd name="T12" fmla="*/ 1 w 2"/>
                  <a:gd name="T13" fmla="*/ 0 h 2"/>
                  <a:gd name="T14" fmla="*/ 0 w 2"/>
                  <a:gd name="T15" fmla="*/ 0 h 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cubicBezTo>
                      <a:pt x="0" y="0"/>
                      <a:pt x="0" y="0"/>
                      <a:pt x="0" y="0"/>
                    </a:cubicBezTo>
                    <a:cubicBezTo>
                      <a:pt x="0" y="1"/>
                      <a:pt x="0" y="1"/>
                      <a:pt x="0" y="2"/>
                    </a:cubicBezTo>
                    <a:cubicBezTo>
                      <a:pt x="1" y="2"/>
                      <a:pt x="1" y="2"/>
                      <a:pt x="2" y="2"/>
                    </a:cubicBezTo>
                    <a:cubicBezTo>
                      <a:pt x="2" y="1"/>
                      <a:pt x="2" y="1"/>
                      <a:pt x="2" y="1"/>
                    </a:cubicBezTo>
                    <a:cubicBezTo>
                      <a:pt x="2" y="1"/>
                      <a:pt x="2" y="1"/>
                      <a:pt x="2" y="1"/>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273"/>
              <p:cNvSpPr>
                <a:spLocks noEditPoints="1"/>
              </p:cNvSpPr>
              <p:nvPr/>
            </p:nvSpPr>
            <p:spPr bwMode="auto">
              <a:xfrm>
                <a:off x="4716948" y="3581933"/>
                <a:ext cx="280069" cy="272699"/>
              </a:xfrm>
              <a:custGeom>
                <a:gdLst>
                  <a:gd name="T0" fmla="*/ 30 w 88"/>
                  <a:gd name="T1" fmla="*/ 19 h 86"/>
                  <a:gd name="T2" fmla="*/ 38 w 88"/>
                  <a:gd name="T3" fmla="*/ 16 h 86"/>
                  <a:gd name="T4" fmla="*/ 44 w 88"/>
                  <a:gd name="T5" fmla="*/ 22 h 86"/>
                  <a:gd name="T6" fmla="*/ 46 w 88"/>
                  <a:gd name="T7" fmla="*/ 22 h 86"/>
                  <a:gd name="T8" fmla="*/ 45 w 88"/>
                  <a:gd name="T9" fmla="*/ 27 h 86"/>
                  <a:gd name="T10" fmla="*/ 53 w 88"/>
                  <a:gd name="T11" fmla="*/ 35 h 86"/>
                  <a:gd name="T12" fmla="*/ 33 w 88"/>
                  <a:gd name="T13" fmla="*/ 40 h 86"/>
                  <a:gd name="T14" fmla="*/ 39 w 88"/>
                  <a:gd name="T15" fmla="*/ 43 h 86"/>
                  <a:gd name="T16" fmla="*/ 53 w 88"/>
                  <a:gd name="T17" fmla="*/ 37 h 86"/>
                  <a:gd name="T18" fmla="*/ 45 w 88"/>
                  <a:gd name="T19" fmla="*/ 43 h 86"/>
                  <a:gd name="T20" fmla="*/ 29 w 88"/>
                  <a:gd name="T21" fmla="*/ 41 h 86"/>
                  <a:gd name="T22" fmla="*/ 29 w 88"/>
                  <a:gd name="T23" fmla="*/ 31 h 86"/>
                  <a:gd name="T24" fmla="*/ 35 w 88"/>
                  <a:gd name="T25" fmla="*/ 26 h 86"/>
                  <a:gd name="T26" fmla="*/ 41 w 88"/>
                  <a:gd name="T27" fmla="*/ 8 h 86"/>
                  <a:gd name="T28" fmla="*/ 28 w 88"/>
                  <a:gd name="T29" fmla="*/ 19 h 86"/>
                  <a:gd name="T30" fmla="*/ 18 w 88"/>
                  <a:gd name="T31" fmla="*/ 29 h 86"/>
                  <a:gd name="T32" fmla="*/ 2 w 88"/>
                  <a:gd name="T33" fmla="*/ 60 h 86"/>
                  <a:gd name="T34" fmla="*/ 15 w 88"/>
                  <a:gd name="T35" fmla="*/ 65 h 86"/>
                  <a:gd name="T36" fmla="*/ 23 w 88"/>
                  <a:gd name="T37" fmla="*/ 66 h 86"/>
                  <a:gd name="T38" fmla="*/ 11 w 88"/>
                  <a:gd name="T39" fmla="*/ 67 h 86"/>
                  <a:gd name="T40" fmla="*/ 2 w 88"/>
                  <a:gd name="T41" fmla="*/ 70 h 86"/>
                  <a:gd name="T42" fmla="*/ 7 w 88"/>
                  <a:gd name="T43" fmla="*/ 73 h 86"/>
                  <a:gd name="T44" fmla="*/ 8 w 88"/>
                  <a:gd name="T45" fmla="*/ 75 h 86"/>
                  <a:gd name="T46" fmla="*/ 9 w 88"/>
                  <a:gd name="T47" fmla="*/ 74 h 86"/>
                  <a:gd name="T48" fmla="*/ 14 w 88"/>
                  <a:gd name="T49" fmla="*/ 71 h 86"/>
                  <a:gd name="T50" fmla="*/ 19 w 88"/>
                  <a:gd name="T51" fmla="*/ 71 h 86"/>
                  <a:gd name="T52" fmla="*/ 22 w 88"/>
                  <a:gd name="T53" fmla="*/ 70 h 86"/>
                  <a:gd name="T54" fmla="*/ 28 w 88"/>
                  <a:gd name="T55" fmla="*/ 72 h 86"/>
                  <a:gd name="T56" fmla="*/ 31 w 88"/>
                  <a:gd name="T57" fmla="*/ 72 h 86"/>
                  <a:gd name="T58" fmla="*/ 35 w 88"/>
                  <a:gd name="T59" fmla="*/ 76 h 86"/>
                  <a:gd name="T60" fmla="*/ 35 w 88"/>
                  <a:gd name="T61" fmla="*/ 77 h 86"/>
                  <a:gd name="T62" fmla="*/ 37 w 88"/>
                  <a:gd name="T63" fmla="*/ 79 h 86"/>
                  <a:gd name="T64" fmla="*/ 38 w 88"/>
                  <a:gd name="T65" fmla="*/ 79 h 86"/>
                  <a:gd name="T66" fmla="*/ 39 w 88"/>
                  <a:gd name="T67" fmla="*/ 79 h 86"/>
                  <a:gd name="T68" fmla="*/ 46 w 88"/>
                  <a:gd name="T69" fmla="*/ 80 h 86"/>
                  <a:gd name="T70" fmla="*/ 48 w 88"/>
                  <a:gd name="T71" fmla="*/ 82 h 86"/>
                  <a:gd name="T72" fmla="*/ 54 w 88"/>
                  <a:gd name="T73" fmla="*/ 85 h 86"/>
                  <a:gd name="T74" fmla="*/ 55 w 88"/>
                  <a:gd name="T75" fmla="*/ 86 h 86"/>
                  <a:gd name="T76" fmla="*/ 55 w 88"/>
                  <a:gd name="T77" fmla="*/ 84 h 86"/>
                  <a:gd name="T78" fmla="*/ 56 w 88"/>
                  <a:gd name="T79" fmla="*/ 82 h 86"/>
                  <a:gd name="T80" fmla="*/ 58 w 88"/>
                  <a:gd name="T81" fmla="*/ 80 h 86"/>
                  <a:gd name="T82" fmla="*/ 60 w 88"/>
                  <a:gd name="T83" fmla="*/ 75 h 86"/>
                  <a:gd name="T84" fmla="*/ 52 w 88"/>
                  <a:gd name="T85" fmla="*/ 65 h 86"/>
                  <a:gd name="T86" fmla="*/ 57 w 88"/>
                  <a:gd name="T87" fmla="*/ 56 h 86"/>
                  <a:gd name="T88" fmla="*/ 58 w 88"/>
                  <a:gd name="T89" fmla="*/ 56 h 86"/>
                  <a:gd name="T90" fmla="*/ 62 w 88"/>
                  <a:gd name="T91" fmla="*/ 55 h 86"/>
                  <a:gd name="T92" fmla="*/ 67 w 88"/>
                  <a:gd name="T93" fmla="*/ 49 h 86"/>
                  <a:gd name="T94" fmla="*/ 66 w 88"/>
                  <a:gd name="T95" fmla="*/ 56 h 86"/>
                  <a:gd name="T96" fmla="*/ 70 w 88"/>
                  <a:gd name="T97" fmla="*/ 57 h 86"/>
                  <a:gd name="T98" fmla="*/ 71 w 88"/>
                  <a:gd name="T99" fmla="*/ 56 h 86"/>
                  <a:gd name="T100" fmla="*/ 72 w 88"/>
                  <a:gd name="T101" fmla="*/ 54 h 86"/>
                  <a:gd name="T102" fmla="*/ 79 w 88"/>
                  <a:gd name="T103" fmla="*/ 47 h 86"/>
                  <a:gd name="T104" fmla="*/ 83 w 88"/>
                  <a:gd name="T105" fmla="*/ 44 h 86"/>
                  <a:gd name="T106" fmla="*/ 81 w 88"/>
                  <a:gd name="T107" fmla="*/ 41 h 86"/>
                  <a:gd name="T108" fmla="*/ 76 w 88"/>
                  <a:gd name="T109" fmla="*/ 39 h 86"/>
                  <a:gd name="T110" fmla="*/ 74 w 88"/>
                  <a:gd name="T111" fmla="*/ 34 h 86"/>
                  <a:gd name="T112" fmla="*/ 71 w 88"/>
                  <a:gd name="T113" fmla="*/ 29 h 86"/>
                  <a:gd name="T114" fmla="*/ 80 w 88"/>
                  <a:gd name="T115" fmla="*/ 27 h 86"/>
                  <a:gd name="T116" fmla="*/ 84 w 88"/>
                  <a:gd name="T117" fmla="*/ 25 h 86"/>
                  <a:gd name="T118" fmla="*/ 86 w 88"/>
                  <a:gd name="T119" fmla="*/ 18 h 86"/>
                  <a:gd name="T120" fmla="*/ 87 w 88"/>
                  <a:gd name="T121" fmla="*/ 12 h 86"/>
                  <a:gd name="T122" fmla="*/ 87 w 88"/>
                  <a:gd name="T123" fmla="*/ 6 h 86"/>
                  <a:gd name="T124" fmla="*/ 84 w 88"/>
                  <a:gd name="T125" fmla="*/ 3 h 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86">
                    <a:moveTo>
                      <a:pt x="35" y="26"/>
                    </a:moveTo>
                    <a:cubicBezTo>
                      <a:pt x="31" y="26"/>
                      <a:pt x="31" y="22"/>
                      <a:pt x="30" y="19"/>
                    </a:cubicBezTo>
                    <a:cubicBezTo>
                      <a:pt x="31" y="18"/>
                      <a:pt x="32" y="18"/>
                      <a:pt x="34" y="17"/>
                    </a:cubicBezTo>
                    <a:cubicBezTo>
                      <a:pt x="36" y="17"/>
                      <a:pt x="37" y="16"/>
                      <a:pt x="38" y="16"/>
                    </a:cubicBezTo>
                    <a:cubicBezTo>
                      <a:pt x="40" y="16"/>
                      <a:pt x="40" y="17"/>
                      <a:pt x="41" y="21"/>
                    </a:cubicBezTo>
                    <a:cubicBezTo>
                      <a:pt x="41" y="22"/>
                      <a:pt x="42" y="22"/>
                      <a:pt x="44" y="22"/>
                    </a:cubicBezTo>
                    <a:cubicBezTo>
                      <a:pt x="44" y="22"/>
                      <a:pt x="45" y="22"/>
                      <a:pt x="45" y="22"/>
                    </a:cubicBezTo>
                    <a:cubicBezTo>
                      <a:pt x="45" y="22"/>
                      <a:pt x="46" y="22"/>
                      <a:pt x="46" y="22"/>
                    </a:cubicBezTo>
                    <a:cubicBezTo>
                      <a:pt x="47" y="22"/>
                      <a:pt x="48" y="22"/>
                      <a:pt x="49" y="23"/>
                    </a:cubicBezTo>
                    <a:cubicBezTo>
                      <a:pt x="47" y="24"/>
                      <a:pt x="45" y="25"/>
                      <a:pt x="45" y="27"/>
                    </a:cubicBezTo>
                    <a:cubicBezTo>
                      <a:pt x="45" y="30"/>
                      <a:pt x="47" y="30"/>
                      <a:pt x="50" y="31"/>
                    </a:cubicBezTo>
                    <a:cubicBezTo>
                      <a:pt x="52" y="31"/>
                      <a:pt x="53" y="33"/>
                      <a:pt x="53" y="35"/>
                    </a:cubicBezTo>
                    <a:cubicBezTo>
                      <a:pt x="52" y="33"/>
                      <a:pt x="46" y="32"/>
                      <a:pt x="45" y="32"/>
                    </a:cubicBezTo>
                    <a:cubicBezTo>
                      <a:pt x="43" y="34"/>
                      <a:pt x="34" y="37"/>
                      <a:pt x="33" y="40"/>
                    </a:cubicBezTo>
                    <a:cubicBezTo>
                      <a:pt x="32" y="42"/>
                      <a:pt x="35" y="42"/>
                      <a:pt x="37" y="43"/>
                    </a:cubicBezTo>
                    <a:cubicBezTo>
                      <a:pt x="38" y="43"/>
                      <a:pt x="38" y="43"/>
                      <a:pt x="39" y="43"/>
                    </a:cubicBezTo>
                    <a:cubicBezTo>
                      <a:pt x="42" y="43"/>
                      <a:pt x="48" y="39"/>
                      <a:pt x="51" y="38"/>
                    </a:cubicBezTo>
                    <a:cubicBezTo>
                      <a:pt x="52" y="37"/>
                      <a:pt x="52" y="37"/>
                      <a:pt x="53" y="37"/>
                    </a:cubicBezTo>
                    <a:cubicBezTo>
                      <a:pt x="52" y="37"/>
                      <a:pt x="52" y="38"/>
                      <a:pt x="52" y="38"/>
                    </a:cubicBezTo>
                    <a:cubicBezTo>
                      <a:pt x="50" y="40"/>
                      <a:pt x="46" y="40"/>
                      <a:pt x="45" y="43"/>
                    </a:cubicBezTo>
                    <a:cubicBezTo>
                      <a:pt x="44" y="44"/>
                      <a:pt x="42" y="45"/>
                      <a:pt x="41" y="45"/>
                    </a:cubicBezTo>
                    <a:cubicBezTo>
                      <a:pt x="37" y="45"/>
                      <a:pt x="31" y="42"/>
                      <a:pt x="29" y="41"/>
                    </a:cubicBezTo>
                    <a:cubicBezTo>
                      <a:pt x="31" y="40"/>
                      <a:pt x="31" y="38"/>
                      <a:pt x="31" y="35"/>
                    </a:cubicBezTo>
                    <a:cubicBezTo>
                      <a:pt x="30" y="34"/>
                      <a:pt x="29" y="32"/>
                      <a:pt x="29" y="31"/>
                    </a:cubicBezTo>
                    <a:cubicBezTo>
                      <a:pt x="30" y="28"/>
                      <a:pt x="37" y="31"/>
                      <a:pt x="36" y="26"/>
                    </a:cubicBezTo>
                    <a:cubicBezTo>
                      <a:pt x="36" y="26"/>
                      <a:pt x="35" y="26"/>
                      <a:pt x="35" y="26"/>
                    </a:cubicBezTo>
                    <a:moveTo>
                      <a:pt x="72" y="0"/>
                    </a:moveTo>
                    <a:cubicBezTo>
                      <a:pt x="62" y="0"/>
                      <a:pt x="49" y="0"/>
                      <a:pt x="41" y="8"/>
                    </a:cubicBezTo>
                    <a:cubicBezTo>
                      <a:pt x="39" y="10"/>
                      <a:pt x="38" y="13"/>
                      <a:pt x="35" y="15"/>
                    </a:cubicBezTo>
                    <a:cubicBezTo>
                      <a:pt x="33" y="17"/>
                      <a:pt x="31" y="18"/>
                      <a:pt x="28" y="19"/>
                    </a:cubicBezTo>
                    <a:cubicBezTo>
                      <a:pt x="26" y="20"/>
                      <a:pt x="21" y="20"/>
                      <a:pt x="20" y="21"/>
                    </a:cubicBezTo>
                    <a:cubicBezTo>
                      <a:pt x="19" y="22"/>
                      <a:pt x="18" y="27"/>
                      <a:pt x="18" y="29"/>
                    </a:cubicBezTo>
                    <a:cubicBezTo>
                      <a:pt x="16" y="39"/>
                      <a:pt x="12" y="46"/>
                      <a:pt x="5" y="54"/>
                    </a:cubicBezTo>
                    <a:cubicBezTo>
                      <a:pt x="2" y="56"/>
                      <a:pt x="1" y="57"/>
                      <a:pt x="2" y="60"/>
                    </a:cubicBezTo>
                    <a:cubicBezTo>
                      <a:pt x="2" y="61"/>
                      <a:pt x="7" y="63"/>
                      <a:pt x="8" y="64"/>
                    </a:cubicBezTo>
                    <a:cubicBezTo>
                      <a:pt x="11" y="65"/>
                      <a:pt x="13" y="65"/>
                      <a:pt x="15" y="65"/>
                    </a:cubicBezTo>
                    <a:cubicBezTo>
                      <a:pt x="17" y="65"/>
                      <a:pt x="19" y="64"/>
                      <a:pt x="22" y="62"/>
                    </a:cubicBezTo>
                    <a:cubicBezTo>
                      <a:pt x="21" y="64"/>
                      <a:pt x="22" y="65"/>
                      <a:pt x="23" y="66"/>
                    </a:cubicBezTo>
                    <a:cubicBezTo>
                      <a:pt x="23" y="65"/>
                      <a:pt x="21" y="65"/>
                      <a:pt x="20" y="65"/>
                    </a:cubicBezTo>
                    <a:cubicBezTo>
                      <a:pt x="17" y="65"/>
                      <a:pt x="13" y="66"/>
                      <a:pt x="11" y="67"/>
                    </a:cubicBezTo>
                    <a:cubicBezTo>
                      <a:pt x="9" y="67"/>
                      <a:pt x="5" y="68"/>
                      <a:pt x="6" y="70"/>
                    </a:cubicBezTo>
                    <a:cubicBezTo>
                      <a:pt x="5" y="70"/>
                      <a:pt x="3" y="70"/>
                      <a:pt x="2" y="70"/>
                    </a:cubicBezTo>
                    <a:cubicBezTo>
                      <a:pt x="1" y="70"/>
                      <a:pt x="1" y="70"/>
                      <a:pt x="0" y="70"/>
                    </a:cubicBezTo>
                    <a:cubicBezTo>
                      <a:pt x="2" y="71"/>
                      <a:pt x="5" y="72"/>
                      <a:pt x="7" y="73"/>
                    </a:cubicBezTo>
                    <a:cubicBezTo>
                      <a:pt x="8" y="74"/>
                      <a:pt x="8" y="75"/>
                      <a:pt x="8" y="75"/>
                    </a:cubicBezTo>
                    <a:cubicBezTo>
                      <a:pt x="8" y="75"/>
                      <a:pt x="8" y="75"/>
                      <a:pt x="8" y="75"/>
                    </a:cubicBezTo>
                    <a:cubicBezTo>
                      <a:pt x="8" y="75"/>
                      <a:pt x="8" y="75"/>
                      <a:pt x="8" y="75"/>
                    </a:cubicBezTo>
                    <a:cubicBezTo>
                      <a:pt x="9" y="74"/>
                      <a:pt x="9" y="74"/>
                      <a:pt x="9" y="74"/>
                    </a:cubicBezTo>
                    <a:cubicBezTo>
                      <a:pt x="9" y="73"/>
                      <a:pt x="10" y="72"/>
                      <a:pt x="12" y="71"/>
                    </a:cubicBezTo>
                    <a:cubicBezTo>
                      <a:pt x="13" y="71"/>
                      <a:pt x="14" y="71"/>
                      <a:pt x="14" y="71"/>
                    </a:cubicBezTo>
                    <a:cubicBezTo>
                      <a:pt x="16" y="71"/>
                      <a:pt x="17" y="71"/>
                      <a:pt x="18" y="72"/>
                    </a:cubicBezTo>
                    <a:cubicBezTo>
                      <a:pt x="19" y="71"/>
                      <a:pt x="19" y="71"/>
                      <a:pt x="19" y="71"/>
                    </a:cubicBezTo>
                    <a:cubicBezTo>
                      <a:pt x="20" y="71"/>
                      <a:pt x="20" y="71"/>
                      <a:pt x="20" y="71"/>
                    </a:cubicBezTo>
                    <a:cubicBezTo>
                      <a:pt x="20" y="71"/>
                      <a:pt x="21" y="70"/>
                      <a:pt x="22" y="70"/>
                    </a:cubicBezTo>
                    <a:cubicBezTo>
                      <a:pt x="23" y="70"/>
                      <a:pt x="24" y="71"/>
                      <a:pt x="26" y="71"/>
                    </a:cubicBezTo>
                    <a:cubicBezTo>
                      <a:pt x="26" y="71"/>
                      <a:pt x="27" y="71"/>
                      <a:pt x="28" y="72"/>
                    </a:cubicBezTo>
                    <a:cubicBezTo>
                      <a:pt x="29" y="71"/>
                      <a:pt x="29" y="71"/>
                      <a:pt x="29" y="71"/>
                    </a:cubicBezTo>
                    <a:cubicBezTo>
                      <a:pt x="31" y="72"/>
                      <a:pt x="31" y="72"/>
                      <a:pt x="31" y="72"/>
                    </a:cubicBezTo>
                    <a:cubicBezTo>
                      <a:pt x="32" y="72"/>
                      <a:pt x="33" y="73"/>
                      <a:pt x="34" y="75"/>
                    </a:cubicBezTo>
                    <a:cubicBezTo>
                      <a:pt x="35" y="76"/>
                      <a:pt x="35" y="76"/>
                      <a:pt x="35" y="76"/>
                    </a:cubicBezTo>
                    <a:cubicBezTo>
                      <a:pt x="35" y="77"/>
                      <a:pt x="35" y="77"/>
                      <a:pt x="35" y="77"/>
                    </a:cubicBezTo>
                    <a:cubicBezTo>
                      <a:pt x="35" y="77"/>
                      <a:pt x="35" y="77"/>
                      <a:pt x="35" y="77"/>
                    </a:cubicBezTo>
                    <a:cubicBezTo>
                      <a:pt x="35" y="78"/>
                      <a:pt x="36" y="78"/>
                      <a:pt x="36" y="79"/>
                    </a:cubicBezTo>
                    <a:cubicBezTo>
                      <a:pt x="37" y="79"/>
                      <a:pt x="37" y="79"/>
                      <a:pt x="37" y="79"/>
                    </a:cubicBezTo>
                    <a:cubicBezTo>
                      <a:pt x="37" y="79"/>
                      <a:pt x="38" y="79"/>
                      <a:pt x="38" y="79"/>
                    </a:cubicBezTo>
                    <a:cubicBezTo>
                      <a:pt x="38" y="79"/>
                      <a:pt x="38" y="79"/>
                      <a:pt x="38" y="79"/>
                    </a:cubicBezTo>
                    <a:cubicBezTo>
                      <a:pt x="39" y="79"/>
                      <a:pt x="39" y="79"/>
                      <a:pt x="39" y="79"/>
                    </a:cubicBezTo>
                    <a:cubicBezTo>
                      <a:pt x="39" y="79"/>
                      <a:pt x="39" y="79"/>
                      <a:pt x="39" y="79"/>
                    </a:cubicBezTo>
                    <a:cubicBezTo>
                      <a:pt x="40" y="79"/>
                      <a:pt x="41" y="78"/>
                      <a:pt x="42" y="78"/>
                    </a:cubicBezTo>
                    <a:cubicBezTo>
                      <a:pt x="43" y="78"/>
                      <a:pt x="45" y="79"/>
                      <a:pt x="46" y="80"/>
                    </a:cubicBezTo>
                    <a:cubicBezTo>
                      <a:pt x="47" y="81"/>
                      <a:pt x="47" y="81"/>
                      <a:pt x="47" y="81"/>
                    </a:cubicBezTo>
                    <a:cubicBezTo>
                      <a:pt x="47" y="81"/>
                      <a:pt x="48" y="82"/>
                      <a:pt x="48" y="82"/>
                    </a:cubicBezTo>
                    <a:cubicBezTo>
                      <a:pt x="49" y="82"/>
                      <a:pt x="50" y="82"/>
                      <a:pt x="52" y="83"/>
                    </a:cubicBezTo>
                    <a:cubicBezTo>
                      <a:pt x="53" y="83"/>
                      <a:pt x="54" y="84"/>
                      <a:pt x="54" y="85"/>
                    </a:cubicBezTo>
                    <a:cubicBezTo>
                      <a:pt x="55" y="85"/>
                      <a:pt x="55" y="85"/>
                      <a:pt x="55" y="85"/>
                    </a:cubicBezTo>
                    <a:cubicBezTo>
                      <a:pt x="55" y="86"/>
                      <a:pt x="55" y="86"/>
                      <a:pt x="55" y="86"/>
                    </a:cubicBezTo>
                    <a:cubicBezTo>
                      <a:pt x="56" y="86"/>
                      <a:pt x="56" y="86"/>
                      <a:pt x="56" y="86"/>
                    </a:cubicBezTo>
                    <a:cubicBezTo>
                      <a:pt x="55" y="85"/>
                      <a:pt x="55" y="85"/>
                      <a:pt x="55" y="84"/>
                    </a:cubicBezTo>
                    <a:cubicBezTo>
                      <a:pt x="56" y="83"/>
                      <a:pt x="56" y="83"/>
                      <a:pt x="56" y="83"/>
                    </a:cubicBezTo>
                    <a:cubicBezTo>
                      <a:pt x="56" y="82"/>
                      <a:pt x="56" y="82"/>
                      <a:pt x="56" y="82"/>
                    </a:cubicBezTo>
                    <a:cubicBezTo>
                      <a:pt x="57" y="81"/>
                      <a:pt x="57" y="80"/>
                      <a:pt x="57" y="80"/>
                    </a:cubicBezTo>
                    <a:cubicBezTo>
                      <a:pt x="58" y="80"/>
                      <a:pt x="58" y="80"/>
                      <a:pt x="58" y="80"/>
                    </a:cubicBezTo>
                    <a:cubicBezTo>
                      <a:pt x="58" y="79"/>
                      <a:pt x="58" y="79"/>
                      <a:pt x="58" y="79"/>
                    </a:cubicBezTo>
                    <a:cubicBezTo>
                      <a:pt x="60" y="76"/>
                      <a:pt x="60" y="75"/>
                      <a:pt x="60" y="75"/>
                    </a:cubicBezTo>
                    <a:cubicBezTo>
                      <a:pt x="57" y="72"/>
                      <a:pt x="55" y="70"/>
                      <a:pt x="53" y="67"/>
                    </a:cubicBezTo>
                    <a:cubicBezTo>
                      <a:pt x="53" y="66"/>
                      <a:pt x="52" y="66"/>
                      <a:pt x="52" y="65"/>
                    </a:cubicBezTo>
                    <a:cubicBezTo>
                      <a:pt x="52" y="65"/>
                      <a:pt x="52" y="65"/>
                      <a:pt x="52" y="65"/>
                    </a:cubicBezTo>
                    <a:cubicBezTo>
                      <a:pt x="51" y="61"/>
                      <a:pt x="54" y="58"/>
                      <a:pt x="57" y="56"/>
                    </a:cubicBezTo>
                    <a:cubicBezTo>
                      <a:pt x="58" y="56"/>
                      <a:pt x="58" y="56"/>
                      <a:pt x="58" y="56"/>
                    </a:cubicBezTo>
                    <a:cubicBezTo>
                      <a:pt x="58" y="56"/>
                      <a:pt x="58" y="56"/>
                      <a:pt x="58" y="56"/>
                    </a:cubicBezTo>
                    <a:cubicBezTo>
                      <a:pt x="59" y="55"/>
                      <a:pt x="60" y="55"/>
                      <a:pt x="61" y="55"/>
                    </a:cubicBezTo>
                    <a:cubicBezTo>
                      <a:pt x="61" y="55"/>
                      <a:pt x="61" y="55"/>
                      <a:pt x="62" y="55"/>
                    </a:cubicBezTo>
                    <a:cubicBezTo>
                      <a:pt x="63" y="55"/>
                      <a:pt x="63" y="55"/>
                      <a:pt x="64" y="55"/>
                    </a:cubicBezTo>
                    <a:cubicBezTo>
                      <a:pt x="67" y="49"/>
                      <a:pt x="67" y="49"/>
                      <a:pt x="67" y="49"/>
                    </a:cubicBezTo>
                    <a:cubicBezTo>
                      <a:pt x="66" y="56"/>
                      <a:pt x="66" y="56"/>
                      <a:pt x="66" y="56"/>
                    </a:cubicBezTo>
                    <a:cubicBezTo>
                      <a:pt x="66" y="56"/>
                      <a:pt x="66" y="56"/>
                      <a:pt x="66" y="56"/>
                    </a:cubicBezTo>
                    <a:cubicBezTo>
                      <a:pt x="67" y="56"/>
                      <a:pt x="68" y="57"/>
                      <a:pt x="69" y="57"/>
                    </a:cubicBezTo>
                    <a:cubicBezTo>
                      <a:pt x="70" y="57"/>
                      <a:pt x="70" y="57"/>
                      <a:pt x="70" y="57"/>
                    </a:cubicBezTo>
                    <a:cubicBezTo>
                      <a:pt x="71" y="57"/>
                      <a:pt x="71" y="57"/>
                      <a:pt x="71" y="57"/>
                    </a:cubicBezTo>
                    <a:cubicBezTo>
                      <a:pt x="71" y="56"/>
                      <a:pt x="71" y="56"/>
                      <a:pt x="71" y="56"/>
                    </a:cubicBezTo>
                    <a:cubicBezTo>
                      <a:pt x="72" y="56"/>
                      <a:pt x="73" y="56"/>
                      <a:pt x="74" y="56"/>
                    </a:cubicBezTo>
                    <a:cubicBezTo>
                      <a:pt x="72" y="54"/>
                      <a:pt x="72" y="54"/>
                      <a:pt x="72" y="54"/>
                    </a:cubicBezTo>
                    <a:cubicBezTo>
                      <a:pt x="73" y="52"/>
                      <a:pt x="73" y="52"/>
                      <a:pt x="73" y="52"/>
                    </a:cubicBezTo>
                    <a:cubicBezTo>
                      <a:pt x="74" y="49"/>
                      <a:pt x="77" y="48"/>
                      <a:pt x="79" y="47"/>
                    </a:cubicBezTo>
                    <a:cubicBezTo>
                      <a:pt x="80" y="46"/>
                      <a:pt x="80" y="46"/>
                      <a:pt x="80" y="46"/>
                    </a:cubicBezTo>
                    <a:cubicBezTo>
                      <a:pt x="81" y="45"/>
                      <a:pt x="83" y="44"/>
                      <a:pt x="83" y="44"/>
                    </a:cubicBezTo>
                    <a:cubicBezTo>
                      <a:pt x="83" y="42"/>
                      <a:pt x="83" y="42"/>
                      <a:pt x="81" y="41"/>
                    </a:cubicBezTo>
                    <a:cubicBezTo>
                      <a:pt x="81" y="41"/>
                      <a:pt x="81" y="41"/>
                      <a:pt x="81" y="41"/>
                    </a:cubicBezTo>
                    <a:cubicBezTo>
                      <a:pt x="80" y="41"/>
                      <a:pt x="80" y="41"/>
                      <a:pt x="80" y="41"/>
                    </a:cubicBezTo>
                    <a:cubicBezTo>
                      <a:pt x="78" y="40"/>
                      <a:pt x="77" y="40"/>
                      <a:pt x="76" y="39"/>
                    </a:cubicBezTo>
                    <a:cubicBezTo>
                      <a:pt x="71" y="38"/>
                      <a:pt x="71" y="38"/>
                      <a:pt x="71" y="38"/>
                    </a:cubicBezTo>
                    <a:cubicBezTo>
                      <a:pt x="74" y="34"/>
                      <a:pt x="74" y="34"/>
                      <a:pt x="74" y="34"/>
                    </a:cubicBezTo>
                    <a:cubicBezTo>
                      <a:pt x="75" y="33"/>
                      <a:pt x="75" y="33"/>
                      <a:pt x="75" y="33"/>
                    </a:cubicBezTo>
                    <a:cubicBezTo>
                      <a:pt x="71" y="29"/>
                      <a:pt x="71" y="29"/>
                      <a:pt x="71" y="29"/>
                    </a:cubicBezTo>
                    <a:cubicBezTo>
                      <a:pt x="76" y="27"/>
                      <a:pt x="76" y="27"/>
                      <a:pt x="76" y="27"/>
                    </a:cubicBezTo>
                    <a:cubicBezTo>
                      <a:pt x="78" y="27"/>
                      <a:pt x="79" y="27"/>
                      <a:pt x="80" y="27"/>
                    </a:cubicBezTo>
                    <a:cubicBezTo>
                      <a:pt x="81" y="27"/>
                      <a:pt x="83" y="27"/>
                      <a:pt x="83" y="27"/>
                    </a:cubicBezTo>
                    <a:cubicBezTo>
                      <a:pt x="84" y="25"/>
                      <a:pt x="84" y="25"/>
                      <a:pt x="84" y="25"/>
                    </a:cubicBezTo>
                    <a:cubicBezTo>
                      <a:pt x="84" y="25"/>
                      <a:pt x="84" y="25"/>
                      <a:pt x="84" y="25"/>
                    </a:cubicBezTo>
                    <a:cubicBezTo>
                      <a:pt x="84" y="22"/>
                      <a:pt x="85" y="20"/>
                      <a:pt x="86" y="18"/>
                    </a:cubicBezTo>
                    <a:cubicBezTo>
                      <a:pt x="86" y="17"/>
                      <a:pt x="87" y="16"/>
                      <a:pt x="87" y="15"/>
                    </a:cubicBezTo>
                    <a:cubicBezTo>
                      <a:pt x="87" y="14"/>
                      <a:pt x="87" y="13"/>
                      <a:pt x="87" y="12"/>
                    </a:cubicBezTo>
                    <a:cubicBezTo>
                      <a:pt x="88" y="10"/>
                      <a:pt x="88" y="8"/>
                      <a:pt x="87" y="7"/>
                    </a:cubicBezTo>
                    <a:cubicBezTo>
                      <a:pt x="87" y="6"/>
                      <a:pt x="87" y="6"/>
                      <a:pt x="87" y="6"/>
                    </a:cubicBezTo>
                    <a:cubicBezTo>
                      <a:pt x="87" y="6"/>
                      <a:pt x="87" y="6"/>
                      <a:pt x="87" y="6"/>
                    </a:cubicBezTo>
                    <a:cubicBezTo>
                      <a:pt x="86" y="5"/>
                      <a:pt x="85" y="4"/>
                      <a:pt x="84" y="3"/>
                    </a:cubicBezTo>
                    <a:cubicBezTo>
                      <a:pt x="81" y="0"/>
                      <a:pt x="77" y="0"/>
                      <a:pt x="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274"/>
              <p:cNvSpPr/>
              <p:nvPr/>
            </p:nvSpPr>
            <p:spPr bwMode="auto">
              <a:xfrm>
                <a:off x="4661672" y="3803040"/>
                <a:ext cx="73702" cy="22111"/>
              </a:xfrm>
              <a:custGeom>
                <a:gdLst>
                  <a:gd name="T0" fmla="*/ 11 w 24"/>
                  <a:gd name="T1" fmla="*/ 0 h 7"/>
                  <a:gd name="T2" fmla="*/ 4 w 24"/>
                  <a:gd name="T3" fmla="*/ 1 h 7"/>
                  <a:gd name="T4" fmla="*/ 8 w 24"/>
                  <a:gd name="T5" fmla="*/ 6 h 7"/>
                  <a:gd name="T6" fmla="*/ 11 w 24"/>
                  <a:gd name="T7" fmla="*/ 6 h 7"/>
                  <a:gd name="T8" fmla="*/ 17 w 24"/>
                  <a:gd name="T9" fmla="*/ 5 h 7"/>
                  <a:gd name="T10" fmla="*/ 17 w 24"/>
                  <a:gd name="T11" fmla="*/ 5 h 7"/>
                  <a:gd name="T12" fmla="*/ 23 w 24"/>
                  <a:gd name="T13" fmla="*/ 7 h 7"/>
                  <a:gd name="T14" fmla="*/ 22 w 24"/>
                  <a:gd name="T15" fmla="*/ 5 h 7"/>
                  <a:gd name="T16" fmla="*/ 24 w 24"/>
                  <a:gd name="T17" fmla="*/ 5 h 7"/>
                  <a:gd name="T18" fmla="*/ 21 w 24"/>
                  <a:gd name="T19" fmla="*/ 4 h 7"/>
                  <a:gd name="T20" fmla="*/ 13 w 24"/>
                  <a:gd name="T21" fmla="*/ 0 h 7"/>
                  <a:gd name="T22" fmla="*/ 11 w 24"/>
                  <a:gd name="T2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7">
                    <a:moveTo>
                      <a:pt x="11" y="0"/>
                    </a:moveTo>
                    <a:cubicBezTo>
                      <a:pt x="8" y="0"/>
                      <a:pt x="5" y="0"/>
                      <a:pt x="4" y="1"/>
                    </a:cubicBezTo>
                    <a:cubicBezTo>
                      <a:pt x="0" y="3"/>
                      <a:pt x="6" y="5"/>
                      <a:pt x="8" y="6"/>
                    </a:cubicBezTo>
                    <a:cubicBezTo>
                      <a:pt x="9" y="6"/>
                      <a:pt x="10" y="6"/>
                      <a:pt x="11" y="6"/>
                    </a:cubicBezTo>
                    <a:cubicBezTo>
                      <a:pt x="13" y="6"/>
                      <a:pt x="15" y="5"/>
                      <a:pt x="17" y="5"/>
                    </a:cubicBezTo>
                    <a:cubicBezTo>
                      <a:pt x="17" y="5"/>
                      <a:pt x="17" y="5"/>
                      <a:pt x="17" y="5"/>
                    </a:cubicBezTo>
                    <a:cubicBezTo>
                      <a:pt x="19" y="5"/>
                      <a:pt x="21" y="7"/>
                      <a:pt x="23" y="7"/>
                    </a:cubicBezTo>
                    <a:cubicBezTo>
                      <a:pt x="22" y="5"/>
                      <a:pt x="22" y="5"/>
                      <a:pt x="22" y="5"/>
                    </a:cubicBezTo>
                    <a:cubicBezTo>
                      <a:pt x="24" y="5"/>
                      <a:pt x="24" y="5"/>
                      <a:pt x="24" y="5"/>
                    </a:cubicBezTo>
                    <a:cubicBezTo>
                      <a:pt x="23" y="5"/>
                      <a:pt x="21" y="4"/>
                      <a:pt x="21" y="4"/>
                    </a:cubicBezTo>
                    <a:cubicBezTo>
                      <a:pt x="18" y="2"/>
                      <a:pt x="15" y="2"/>
                      <a:pt x="13"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275"/>
              <p:cNvSpPr/>
              <p:nvPr/>
            </p:nvSpPr>
            <p:spPr bwMode="auto">
              <a:xfrm>
                <a:off x="5476082" y="3884113"/>
                <a:ext cx="563823" cy="261643"/>
              </a:xfrm>
              <a:custGeom>
                <a:gdLst>
                  <a:gd name="T0" fmla="*/ 55 w 178"/>
                  <a:gd name="T1" fmla="*/ 5 h 83"/>
                  <a:gd name="T2" fmla="*/ 50 w 178"/>
                  <a:gd name="T3" fmla="*/ 7 h 83"/>
                  <a:gd name="T4" fmla="*/ 45 w 178"/>
                  <a:gd name="T5" fmla="*/ 9 h 83"/>
                  <a:gd name="T6" fmla="*/ 29 w 178"/>
                  <a:gd name="T7" fmla="*/ 15 h 83"/>
                  <a:gd name="T8" fmla="*/ 10 w 178"/>
                  <a:gd name="T9" fmla="*/ 23 h 83"/>
                  <a:gd name="T10" fmla="*/ 7 w 178"/>
                  <a:gd name="T11" fmla="*/ 23 h 83"/>
                  <a:gd name="T12" fmla="*/ 1 w 178"/>
                  <a:gd name="T13" fmla="*/ 28 h 83"/>
                  <a:gd name="T14" fmla="*/ 0 w 178"/>
                  <a:gd name="T15" fmla="*/ 31 h 83"/>
                  <a:gd name="T16" fmla="*/ 6 w 178"/>
                  <a:gd name="T17" fmla="*/ 37 h 83"/>
                  <a:gd name="T18" fmla="*/ 8 w 178"/>
                  <a:gd name="T19" fmla="*/ 50 h 83"/>
                  <a:gd name="T20" fmla="*/ 13 w 178"/>
                  <a:gd name="T21" fmla="*/ 55 h 83"/>
                  <a:gd name="T22" fmla="*/ 26 w 178"/>
                  <a:gd name="T23" fmla="*/ 65 h 83"/>
                  <a:gd name="T24" fmla="*/ 31 w 178"/>
                  <a:gd name="T25" fmla="*/ 69 h 83"/>
                  <a:gd name="T26" fmla="*/ 42 w 178"/>
                  <a:gd name="T27" fmla="*/ 77 h 83"/>
                  <a:gd name="T28" fmla="*/ 45 w 178"/>
                  <a:gd name="T29" fmla="*/ 79 h 83"/>
                  <a:gd name="T30" fmla="*/ 49 w 178"/>
                  <a:gd name="T31" fmla="*/ 81 h 83"/>
                  <a:gd name="T32" fmla="*/ 64 w 178"/>
                  <a:gd name="T33" fmla="*/ 83 h 83"/>
                  <a:gd name="T34" fmla="*/ 69 w 178"/>
                  <a:gd name="T35" fmla="*/ 74 h 83"/>
                  <a:gd name="T36" fmla="*/ 75 w 178"/>
                  <a:gd name="T37" fmla="*/ 68 h 83"/>
                  <a:gd name="T38" fmla="*/ 82 w 178"/>
                  <a:gd name="T39" fmla="*/ 71 h 83"/>
                  <a:gd name="T40" fmla="*/ 85 w 178"/>
                  <a:gd name="T41" fmla="*/ 71 h 83"/>
                  <a:gd name="T42" fmla="*/ 94 w 178"/>
                  <a:gd name="T43" fmla="*/ 73 h 83"/>
                  <a:gd name="T44" fmla="*/ 109 w 178"/>
                  <a:gd name="T45" fmla="*/ 77 h 83"/>
                  <a:gd name="T46" fmla="*/ 117 w 178"/>
                  <a:gd name="T47" fmla="*/ 75 h 83"/>
                  <a:gd name="T48" fmla="*/ 121 w 178"/>
                  <a:gd name="T49" fmla="*/ 76 h 83"/>
                  <a:gd name="T50" fmla="*/ 126 w 178"/>
                  <a:gd name="T51" fmla="*/ 79 h 83"/>
                  <a:gd name="T52" fmla="*/ 128 w 178"/>
                  <a:gd name="T53" fmla="*/ 80 h 83"/>
                  <a:gd name="T54" fmla="*/ 130 w 178"/>
                  <a:gd name="T55" fmla="*/ 78 h 83"/>
                  <a:gd name="T56" fmla="*/ 132 w 178"/>
                  <a:gd name="T57" fmla="*/ 75 h 83"/>
                  <a:gd name="T58" fmla="*/ 137 w 178"/>
                  <a:gd name="T59" fmla="*/ 73 h 83"/>
                  <a:gd name="T60" fmla="*/ 143 w 178"/>
                  <a:gd name="T61" fmla="*/ 74 h 83"/>
                  <a:gd name="T62" fmla="*/ 158 w 178"/>
                  <a:gd name="T63" fmla="*/ 67 h 83"/>
                  <a:gd name="T64" fmla="*/ 162 w 178"/>
                  <a:gd name="T65" fmla="*/ 60 h 83"/>
                  <a:gd name="T66" fmla="*/ 178 w 178"/>
                  <a:gd name="T67" fmla="*/ 51 h 83"/>
                  <a:gd name="T68" fmla="*/ 166 w 178"/>
                  <a:gd name="T69" fmla="*/ 40 h 83"/>
                  <a:gd name="T70" fmla="*/ 161 w 178"/>
                  <a:gd name="T71" fmla="*/ 37 h 83"/>
                  <a:gd name="T72" fmla="*/ 159 w 178"/>
                  <a:gd name="T73" fmla="*/ 38 h 83"/>
                  <a:gd name="T74" fmla="*/ 155 w 178"/>
                  <a:gd name="T75" fmla="*/ 39 h 83"/>
                  <a:gd name="T76" fmla="*/ 144 w 178"/>
                  <a:gd name="T77" fmla="*/ 28 h 83"/>
                  <a:gd name="T78" fmla="*/ 134 w 178"/>
                  <a:gd name="T79" fmla="*/ 24 h 83"/>
                  <a:gd name="T80" fmla="*/ 130 w 178"/>
                  <a:gd name="T81" fmla="*/ 30 h 83"/>
                  <a:gd name="T82" fmla="*/ 121 w 178"/>
                  <a:gd name="T83" fmla="*/ 33 h 83"/>
                  <a:gd name="T84" fmla="*/ 116 w 178"/>
                  <a:gd name="T85" fmla="*/ 32 h 83"/>
                  <a:gd name="T86" fmla="*/ 111 w 178"/>
                  <a:gd name="T87" fmla="*/ 26 h 83"/>
                  <a:gd name="T88" fmla="*/ 105 w 178"/>
                  <a:gd name="T89" fmla="*/ 18 h 83"/>
                  <a:gd name="T90" fmla="*/ 109 w 178"/>
                  <a:gd name="T91" fmla="*/ 14 h 83"/>
                  <a:gd name="T92" fmla="*/ 108 w 178"/>
                  <a:gd name="T93" fmla="*/ 13 h 83"/>
                  <a:gd name="T94" fmla="*/ 87 w 178"/>
                  <a:gd name="T95" fmla="*/ 10 h 83"/>
                  <a:gd name="T96" fmla="*/ 82 w 178"/>
                  <a:gd name="T97" fmla="*/ 7 h 83"/>
                  <a:gd name="T98" fmla="*/ 77 w 178"/>
                  <a:gd name="T99" fmla="*/ 1 h 83"/>
                  <a:gd name="T100" fmla="*/ 73 w 178"/>
                  <a:gd name="T101" fmla="*/ 4 h 83"/>
                  <a:gd name="T102" fmla="*/ 70 w 178"/>
                  <a:gd name="T103" fmla="*/ 6 h 83"/>
                  <a:gd name="T104" fmla="*/ 65 w 178"/>
                  <a:gd name="T105" fmla="*/ 4 h 83"/>
                  <a:gd name="T106" fmla="*/ 59 w 178"/>
                  <a:gd name="T107" fmla="*/ 1 h 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8" h="83">
                    <a:moveTo>
                      <a:pt x="58" y="0"/>
                    </a:moveTo>
                    <a:cubicBezTo>
                      <a:pt x="58" y="2"/>
                      <a:pt x="57" y="3"/>
                      <a:pt x="56" y="4"/>
                    </a:cubicBezTo>
                    <a:cubicBezTo>
                      <a:pt x="55" y="5"/>
                      <a:pt x="55" y="5"/>
                      <a:pt x="55" y="5"/>
                    </a:cubicBezTo>
                    <a:cubicBezTo>
                      <a:pt x="55" y="5"/>
                      <a:pt x="55" y="5"/>
                      <a:pt x="55" y="5"/>
                    </a:cubicBezTo>
                    <a:cubicBezTo>
                      <a:pt x="54" y="5"/>
                      <a:pt x="54" y="6"/>
                      <a:pt x="54" y="6"/>
                    </a:cubicBezTo>
                    <a:cubicBezTo>
                      <a:pt x="50" y="7"/>
                      <a:pt x="50" y="7"/>
                      <a:pt x="50" y="7"/>
                    </a:cubicBezTo>
                    <a:cubicBezTo>
                      <a:pt x="49" y="7"/>
                      <a:pt x="48" y="8"/>
                      <a:pt x="46" y="8"/>
                    </a:cubicBezTo>
                    <a:cubicBezTo>
                      <a:pt x="45" y="9"/>
                      <a:pt x="45" y="9"/>
                      <a:pt x="45" y="9"/>
                    </a:cubicBezTo>
                    <a:cubicBezTo>
                      <a:pt x="45" y="9"/>
                      <a:pt x="45" y="9"/>
                      <a:pt x="45" y="9"/>
                    </a:cubicBezTo>
                    <a:cubicBezTo>
                      <a:pt x="43" y="9"/>
                      <a:pt x="41" y="10"/>
                      <a:pt x="38" y="11"/>
                    </a:cubicBezTo>
                    <a:cubicBezTo>
                      <a:pt x="37" y="12"/>
                      <a:pt x="36" y="12"/>
                      <a:pt x="35" y="12"/>
                    </a:cubicBezTo>
                    <a:cubicBezTo>
                      <a:pt x="33" y="13"/>
                      <a:pt x="31" y="14"/>
                      <a:pt x="29" y="15"/>
                    </a:cubicBezTo>
                    <a:cubicBezTo>
                      <a:pt x="26" y="18"/>
                      <a:pt x="22" y="20"/>
                      <a:pt x="17" y="22"/>
                    </a:cubicBezTo>
                    <a:cubicBezTo>
                      <a:pt x="16" y="23"/>
                      <a:pt x="14" y="23"/>
                      <a:pt x="13" y="23"/>
                    </a:cubicBezTo>
                    <a:cubicBezTo>
                      <a:pt x="12" y="23"/>
                      <a:pt x="11" y="23"/>
                      <a:pt x="10" y="23"/>
                    </a:cubicBezTo>
                    <a:cubicBezTo>
                      <a:pt x="10" y="23"/>
                      <a:pt x="9" y="23"/>
                      <a:pt x="8" y="23"/>
                    </a:cubicBezTo>
                    <a:cubicBezTo>
                      <a:pt x="8" y="23"/>
                      <a:pt x="7" y="23"/>
                      <a:pt x="7" y="23"/>
                    </a:cubicBezTo>
                    <a:cubicBezTo>
                      <a:pt x="7" y="23"/>
                      <a:pt x="7" y="23"/>
                      <a:pt x="7" y="23"/>
                    </a:cubicBezTo>
                    <a:cubicBezTo>
                      <a:pt x="6" y="23"/>
                      <a:pt x="6" y="23"/>
                      <a:pt x="6" y="23"/>
                    </a:cubicBezTo>
                    <a:cubicBezTo>
                      <a:pt x="5" y="24"/>
                      <a:pt x="3" y="25"/>
                      <a:pt x="2" y="26"/>
                    </a:cubicBezTo>
                    <a:cubicBezTo>
                      <a:pt x="2" y="27"/>
                      <a:pt x="1" y="28"/>
                      <a:pt x="1" y="28"/>
                    </a:cubicBezTo>
                    <a:cubicBezTo>
                      <a:pt x="1" y="29"/>
                      <a:pt x="0" y="30"/>
                      <a:pt x="0" y="30"/>
                    </a:cubicBezTo>
                    <a:cubicBezTo>
                      <a:pt x="0" y="31"/>
                      <a:pt x="0" y="31"/>
                      <a:pt x="0" y="31"/>
                    </a:cubicBezTo>
                    <a:cubicBezTo>
                      <a:pt x="0" y="31"/>
                      <a:pt x="0" y="31"/>
                      <a:pt x="0" y="31"/>
                    </a:cubicBezTo>
                    <a:cubicBezTo>
                      <a:pt x="1" y="31"/>
                      <a:pt x="2" y="32"/>
                      <a:pt x="3" y="32"/>
                    </a:cubicBezTo>
                    <a:cubicBezTo>
                      <a:pt x="5" y="34"/>
                      <a:pt x="6" y="35"/>
                      <a:pt x="6" y="37"/>
                    </a:cubicBezTo>
                    <a:cubicBezTo>
                      <a:pt x="6" y="37"/>
                      <a:pt x="6" y="37"/>
                      <a:pt x="6" y="37"/>
                    </a:cubicBezTo>
                    <a:cubicBezTo>
                      <a:pt x="6" y="40"/>
                      <a:pt x="5" y="42"/>
                      <a:pt x="4" y="43"/>
                    </a:cubicBezTo>
                    <a:cubicBezTo>
                      <a:pt x="4" y="44"/>
                      <a:pt x="4" y="44"/>
                      <a:pt x="4" y="44"/>
                    </a:cubicBezTo>
                    <a:cubicBezTo>
                      <a:pt x="4" y="44"/>
                      <a:pt x="4" y="46"/>
                      <a:pt x="8" y="50"/>
                    </a:cubicBezTo>
                    <a:cubicBezTo>
                      <a:pt x="9" y="51"/>
                      <a:pt x="10" y="52"/>
                      <a:pt x="10" y="53"/>
                    </a:cubicBezTo>
                    <a:cubicBezTo>
                      <a:pt x="11" y="53"/>
                      <a:pt x="12" y="54"/>
                      <a:pt x="12" y="54"/>
                    </a:cubicBezTo>
                    <a:cubicBezTo>
                      <a:pt x="13" y="55"/>
                      <a:pt x="13" y="55"/>
                      <a:pt x="13" y="55"/>
                    </a:cubicBezTo>
                    <a:cubicBezTo>
                      <a:pt x="15" y="56"/>
                      <a:pt x="16" y="57"/>
                      <a:pt x="17" y="58"/>
                    </a:cubicBezTo>
                    <a:cubicBezTo>
                      <a:pt x="17" y="58"/>
                      <a:pt x="17" y="58"/>
                      <a:pt x="17" y="58"/>
                    </a:cubicBezTo>
                    <a:cubicBezTo>
                      <a:pt x="20" y="60"/>
                      <a:pt x="23" y="62"/>
                      <a:pt x="26" y="65"/>
                    </a:cubicBezTo>
                    <a:cubicBezTo>
                      <a:pt x="27" y="66"/>
                      <a:pt x="27" y="66"/>
                      <a:pt x="27" y="66"/>
                    </a:cubicBezTo>
                    <a:cubicBezTo>
                      <a:pt x="28" y="67"/>
                      <a:pt x="29" y="69"/>
                      <a:pt x="31" y="69"/>
                    </a:cubicBezTo>
                    <a:cubicBezTo>
                      <a:pt x="31" y="69"/>
                      <a:pt x="31" y="69"/>
                      <a:pt x="31" y="69"/>
                    </a:cubicBezTo>
                    <a:cubicBezTo>
                      <a:pt x="32" y="69"/>
                      <a:pt x="33" y="69"/>
                      <a:pt x="35" y="71"/>
                    </a:cubicBezTo>
                    <a:cubicBezTo>
                      <a:pt x="37" y="73"/>
                      <a:pt x="37" y="73"/>
                      <a:pt x="37" y="73"/>
                    </a:cubicBezTo>
                    <a:cubicBezTo>
                      <a:pt x="39" y="74"/>
                      <a:pt x="40" y="75"/>
                      <a:pt x="42" y="77"/>
                    </a:cubicBezTo>
                    <a:cubicBezTo>
                      <a:pt x="44" y="78"/>
                      <a:pt x="44" y="78"/>
                      <a:pt x="44" y="78"/>
                    </a:cubicBezTo>
                    <a:cubicBezTo>
                      <a:pt x="44" y="78"/>
                      <a:pt x="45" y="79"/>
                      <a:pt x="45" y="79"/>
                    </a:cubicBezTo>
                    <a:cubicBezTo>
                      <a:pt x="45" y="79"/>
                      <a:pt x="45" y="79"/>
                      <a:pt x="45" y="79"/>
                    </a:cubicBezTo>
                    <a:cubicBezTo>
                      <a:pt x="46" y="79"/>
                      <a:pt x="46" y="79"/>
                      <a:pt x="46" y="79"/>
                    </a:cubicBezTo>
                    <a:cubicBezTo>
                      <a:pt x="47" y="80"/>
                      <a:pt x="48" y="80"/>
                      <a:pt x="49" y="81"/>
                    </a:cubicBezTo>
                    <a:cubicBezTo>
                      <a:pt x="49" y="81"/>
                      <a:pt x="49" y="81"/>
                      <a:pt x="49" y="81"/>
                    </a:cubicBezTo>
                    <a:cubicBezTo>
                      <a:pt x="52" y="83"/>
                      <a:pt x="55" y="83"/>
                      <a:pt x="59" y="83"/>
                    </a:cubicBezTo>
                    <a:cubicBezTo>
                      <a:pt x="60" y="83"/>
                      <a:pt x="60" y="83"/>
                      <a:pt x="60" y="83"/>
                    </a:cubicBezTo>
                    <a:cubicBezTo>
                      <a:pt x="61" y="83"/>
                      <a:pt x="63" y="83"/>
                      <a:pt x="64" y="83"/>
                    </a:cubicBezTo>
                    <a:cubicBezTo>
                      <a:pt x="65" y="82"/>
                      <a:pt x="65" y="82"/>
                      <a:pt x="65" y="82"/>
                    </a:cubicBezTo>
                    <a:cubicBezTo>
                      <a:pt x="68" y="79"/>
                      <a:pt x="69" y="79"/>
                      <a:pt x="69" y="75"/>
                    </a:cubicBezTo>
                    <a:cubicBezTo>
                      <a:pt x="69" y="75"/>
                      <a:pt x="69" y="74"/>
                      <a:pt x="69" y="74"/>
                    </a:cubicBezTo>
                    <a:cubicBezTo>
                      <a:pt x="69" y="72"/>
                      <a:pt x="70" y="70"/>
                      <a:pt x="71" y="69"/>
                    </a:cubicBezTo>
                    <a:cubicBezTo>
                      <a:pt x="72" y="69"/>
                      <a:pt x="72" y="69"/>
                      <a:pt x="72" y="69"/>
                    </a:cubicBezTo>
                    <a:cubicBezTo>
                      <a:pt x="73" y="68"/>
                      <a:pt x="74" y="68"/>
                      <a:pt x="75" y="68"/>
                    </a:cubicBezTo>
                    <a:cubicBezTo>
                      <a:pt x="77" y="68"/>
                      <a:pt x="79" y="69"/>
                      <a:pt x="80" y="70"/>
                    </a:cubicBezTo>
                    <a:cubicBezTo>
                      <a:pt x="80" y="70"/>
                      <a:pt x="80" y="70"/>
                      <a:pt x="81" y="71"/>
                    </a:cubicBezTo>
                    <a:cubicBezTo>
                      <a:pt x="82" y="71"/>
                      <a:pt x="82" y="71"/>
                      <a:pt x="82" y="71"/>
                    </a:cubicBezTo>
                    <a:cubicBezTo>
                      <a:pt x="82" y="71"/>
                      <a:pt x="82" y="71"/>
                      <a:pt x="82" y="71"/>
                    </a:cubicBezTo>
                    <a:cubicBezTo>
                      <a:pt x="83" y="71"/>
                      <a:pt x="83" y="71"/>
                      <a:pt x="83" y="71"/>
                    </a:cubicBezTo>
                    <a:cubicBezTo>
                      <a:pt x="84" y="71"/>
                      <a:pt x="84" y="71"/>
                      <a:pt x="85" y="71"/>
                    </a:cubicBezTo>
                    <a:cubicBezTo>
                      <a:pt x="86" y="71"/>
                      <a:pt x="86" y="71"/>
                      <a:pt x="86" y="71"/>
                    </a:cubicBezTo>
                    <a:cubicBezTo>
                      <a:pt x="87" y="71"/>
                      <a:pt x="88" y="71"/>
                      <a:pt x="89" y="71"/>
                    </a:cubicBezTo>
                    <a:cubicBezTo>
                      <a:pt x="90" y="71"/>
                      <a:pt x="92" y="72"/>
                      <a:pt x="94" y="73"/>
                    </a:cubicBezTo>
                    <a:cubicBezTo>
                      <a:pt x="95" y="73"/>
                      <a:pt x="95" y="73"/>
                      <a:pt x="95" y="73"/>
                    </a:cubicBezTo>
                    <a:cubicBezTo>
                      <a:pt x="95" y="73"/>
                      <a:pt x="96" y="74"/>
                      <a:pt x="97" y="74"/>
                    </a:cubicBezTo>
                    <a:cubicBezTo>
                      <a:pt x="109" y="77"/>
                      <a:pt x="109" y="77"/>
                      <a:pt x="109" y="77"/>
                    </a:cubicBezTo>
                    <a:cubicBezTo>
                      <a:pt x="109" y="77"/>
                      <a:pt x="109" y="77"/>
                      <a:pt x="109" y="77"/>
                    </a:cubicBezTo>
                    <a:cubicBezTo>
                      <a:pt x="109" y="77"/>
                      <a:pt x="110" y="77"/>
                      <a:pt x="112" y="77"/>
                    </a:cubicBezTo>
                    <a:cubicBezTo>
                      <a:pt x="113" y="76"/>
                      <a:pt x="115" y="75"/>
                      <a:pt x="117" y="75"/>
                    </a:cubicBezTo>
                    <a:cubicBezTo>
                      <a:pt x="117" y="75"/>
                      <a:pt x="117" y="75"/>
                      <a:pt x="118" y="75"/>
                    </a:cubicBezTo>
                    <a:cubicBezTo>
                      <a:pt x="119" y="75"/>
                      <a:pt x="120" y="75"/>
                      <a:pt x="120" y="76"/>
                    </a:cubicBezTo>
                    <a:cubicBezTo>
                      <a:pt x="121" y="76"/>
                      <a:pt x="121" y="76"/>
                      <a:pt x="121" y="76"/>
                    </a:cubicBezTo>
                    <a:cubicBezTo>
                      <a:pt x="122" y="76"/>
                      <a:pt x="123" y="77"/>
                      <a:pt x="124" y="77"/>
                    </a:cubicBezTo>
                    <a:cubicBezTo>
                      <a:pt x="124" y="77"/>
                      <a:pt x="124" y="77"/>
                      <a:pt x="124" y="77"/>
                    </a:cubicBezTo>
                    <a:cubicBezTo>
                      <a:pt x="125" y="78"/>
                      <a:pt x="126" y="78"/>
                      <a:pt x="126" y="79"/>
                    </a:cubicBezTo>
                    <a:cubicBezTo>
                      <a:pt x="127" y="79"/>
                      <a:pt x="127" y="79"/>
                      <a:pt x="127" y="79"/>
                    </a:cubicBezTo>
                    <a:cubicBezTo>
                      <a:pt x="127" y="79"/>
                      <a:pt x="128" y="79"/>
                      <a:pt x="128" y="80"/>
                    </a:cubicBezTo>
                    <a:cubicBezTo>
                      <a:pt x="128" y="80"/>
                      <a:pt x="128" y="80"/>
                      <a:pt x="128" y="80"/>
                    </a:cubicBezTo>
                    <a:cubicBezTo>
                      <a:pt x="128" y="80"/>
                      <a:pt x="128" y="80"/>
                      <a:pt x="128" y="80"/>
                    </a:cubicBezTo>
                    <a:cubicBezTo>
                      <a:pt x="128" y="79"/>
                      <a:pt x="128" y="79"/>
                      <a:pt x="128" y="79"/>
                    </a:cubicBezTo>
                    <a:cubicBezTo>
                      <a:pt x="129" y="79"/>
                      <a:pt x="129" y="78"/>
                      <a:pt x="130" y="78"/>
                    </a:cubicBezTo>
                    <a:cubicBezTo>
                      <a:pt x="126" y="74"/>
                      <a:pt x="126" y="74"/>
                      <a:pt x="126" y="74"/>
                    </a:cubicBezTo>
                    <a:cubicBezTo>
                      <a:pt x="131" y="76"/>
                      <a:pt x="131" y="76"/>
                      <a:pt x="131" y="76"/>
                    </a:cubicBezTo>
                    <a:cubicBezTo>
                      <a:pt x="132" y="75"/>
                      <a:pt x="132" y="75"/>
                      <a:pt x="132" y="75"/>
                    </a:cubicBezTo>
                    <a:cubicBezTo>
                      <a:pt x="133" y="74"/>
                      <a:pt x="134" y="74"/>
                      <a:pt x="134" y="74"/>
                    </a:cubicBezTo>
                    <a:cubicBezTo>
                      <a:pt x="134" y="73"/>
                      <a:pt x="135" y="73"/>
                      <a:pt x="135" y="73"/>
                    </a:cubicBezTo>
                    <a:cubicBezTo>
                      <a:pt x="137" y="73"/>
                      <a:pt x="137" y="73"/>
                      <a:pt x="137" y="73"/>
                    </a:cubicBezTo>
                    <a:cubicBezTo>
                      <a:pt x="137" y="73"/>
                      <a:pt x="137" y="73"/>
                      <a:pt x="137" y="73"/>
                    </a:cubicBezTo>
                    <a:cubicBezTo>
                      <a:pt x="139" y="73"/>
                      <a:pt x="140" y="73"/>
                      <a:pt x="141" y="74"/>
                    </a:cubicBezTo>
                    <a:cubicBezTo>
                      <a:pt x="142" y="74"/>
                      <a:pt x="143" y="74"/>
                      <a:pt x="143" y="74"/>
                    </a:cubicBezTo>
                    <a:cubicBezTo>
                      <a:pt x="147" y="74"/>
                      <a:pt x="149" y="73"/>
                      <a:pt x="153" y="71"/>
                    </a:cubicBezTo>
                    <a:cubicBezTo>
                      <a:pt x="156" y="70"/>
                      <a:pt x="158" y="68"/>
                      <a:pt x="158" y="68"/>
                    </a:cubicBezTo>
                    <a:cubicBezTo>
                      <a:pt x="158" y="67"/>
                      <a:pt x="158" y="67"/>
                      <a:pt x="158" y="67"/>
                    </a:cubicBezTo>
                    <a:cubicBezTo>
                      <a:pt x="158" y="66"/>
                      <a:pt x="159" y="64"/>
                      <a:pt x="160" y="63"/>
                    </a:cubicBezTo>
                    <a:cubicBezTo>
                      <a:pt x="161" y="62"/>
                      <a:pt x="161" y="61"/>
                      <a:pt x="162" y="61"/>
                    </a:cubicBezTo>
                    <a:cubicBezTo>
                      <a:pt x="162" y="60"/>
                      <a:pt x="162" y="60"/>
                      <a:pt x="162" y="60"/>
                    </a:cubicBezTo>
                    <a:cubicBezTo>
                      <a:pt x="165" y="56"/>
                      <a:pt x="170" y="54"/>
                      <a:pt x="175" y="52"/>
                    </a:cubicBezTo>
                    <a:cubicBezTo>
                      <a:pt x="176" y="52"/>
                      <a:pt x="177" y="51"/>
                      <a:pt x="178" y="51"/>
                    </a:cubicBezTo>
                    <a:cubicBezTo>
                      <a:pt x="178" y="51"/>
                      <a:pt x="178" y="51"/>
                      <a:pt x="178" y="51"/>
                    </a:cubicBezTo>
                    <a:cubicBezTo>
                      <a:pt x="178" y="51"/>
                      <a:pt x="178" y="51"/>
                      <a:pt x="178" y="51"/>
                    </a:cubicBezTo>
                    <a:cubicBezTo>
                      <a:pt x="177" y="50"/>
                      <a:pt x="176" y="48"/>
                      <a:pt x="174" y="46"/>
                    </a:cubicBezTo>
                    <a:cubicBezTo>
                      <a:pt x="172" y="43"/>
                      <a:pt x="169" y="41"/>
                      <a:pt x="166" y="40"/>
                    </a:cubicBezTo>
                    <a:cubicBezTo>
                      <a:pt x="165" y="40"/>
                      <a:pt x="165" y="40"/>
                      <a:pt x="165" y="40"/>
                    </a:cubicBezTo>
                    <a:cubicBezTo>
                      <a:pt x="164" y="39"/>
                      <a:pt x="163" y="39"/>
                      <a:pt x="162" y="38"/>
                    </a:cubicBezTo>
                    <a:cubicBezTo>
                      <a:pt x="161" y="37"/>
                      <a:pt x="161" y="37"/>
                      <a:pt x="161" y="37"/>
                    </a:cubicBezTo>
                    <a:cubicBezTo>
                      <a:pt x="161" y="37"/>
                      <a:pt x="161" y="37"/>
                      <a:pt x="161" y="37"/>
                    </a:cubicBezTo>
                    <a:cubicBezTo>
                      <a:pt x="160" y="38"/>
                      <a:pt x="160" y="38"/>
                      <a:pt x="159" y="38"/>
                    </a:cubicBezTo>
                    <a:cubicBezTo>
                      <a:pt x="159" y="38"/>
                      <a:pt x="159" y="38"/>
                      <a:pt x="159" y="38"/>
                    </a:cubicBezTo>
                    <a:cubicBezTo>
                      <a:pt x="158" y="39"/>
                      <a:pt x="157" y="39"/>
                      <a:pt x="156" y="39"/>
                    </a:cubicBezTo>
                    <a:cubicBezTo>
                      <a:pt x="156" y="39"/>
                      <a:pt x="156" y="39"/>
                      <a:pt x="156" y="39"/>
                    </a:cubicBezTo>
                    <a:cubicBezTo>
                      <a:pt x="155" y="39"/>
                      <a:pt x="155" y="39"/>
                      <a:pt x="155" y="39"/>
                    </a:cubicBezTo>
                    <a:cubicBezTo>
                      <a:pt x="154" y="39"/>
                      <a:pt x="154" y="39"/>
                      <a:pt x="154" y="39"/>
                    </a:cubicBezTo>
                    <a:cubicBezTo>
                      <a:pt x="151" y="38"/>
                      <a:pt x="148" y="35"/>
                      <a:pt x="147" y="33"/>
                    </a:cubicBezTo>
                    <a:cubicBezTo>
                      <a:pt x="144" y="31"/>
                      <a:pt x="144" y="29"/>
                      <a:pt x="144" y="28"/>
                    </a:cubicBezTo>
                    <a:cubicBezTo>
                      <a:pt x="144" y="27"/>
                      <a:pt x="144" y="27"/>
                      <a:pt x="144" y="27"/>
                    </a:cubicBezTo>
                    <a:cubicBezTo>
                      <a:pt x="142" y="26"/>
                      <a:pt x="139" y="26"/>
                      <a:pt x="136" y="25"/>
                    </a:cubicBezTo>
                    <a:cubicBezTo>
                      <a:pt x="135" y="24"/>
                      <a:pt x="135" y="24"/>
                      <a:pt x="134" y="24"/>
                    </a:cubicBezTo>
                    <a:cubicBezTo>
                      <a:pt x="134" y="25"/>
                      <a:pt x="134" y="25"/>
                      <a:pt x="135" y="26"/>
                    </a:cubicBezTo>
                    <a:cubicBezTo>
                      <a:pt x="138" y="38"/>
                      <a:pt x="138" y="38"/>
                      <a:pt x="138" y="38"/>
                    </a:cubicBezTo>
                    <a:cubicBezTo>
                      <a:pt x="130" y="30"/>
                      <a:pt x="130" y="30"/>
                      <a:pt x="130" y="30"/>
                    </a:cubicBezTo>
                    <a:cubicBezTo>
                      <a:pt x="129" y="30"/>
                      <a:pt x="129" y="30"/>
                      <a:pt x="129" y="30"/>
                    </a:cubicBezTo>
                    <a:cubicBezTo>
                      <a:pt x="129" y="30"/>
                      <a:pt x="128" y="30"/>
                      <a:pt x="127" y="31"/>
                    </a:cubicBezTo>
                    <a:cubicBezTo>
                      <a:pt x="125" y="32"/>
                      <a:pt x="123" y="33"/>
                      <a:pt x="121" y="33"/>
                    </a:cubicBezTo>
                    <a:cubicBezTo>
                      <a:pt x="120" y="33"/>
                      <a:pt x="120" y="33"/>
                      <a:pt x="119" y="33"/>
                    </a:cubicBezTo>
                    <a:cubicBezTo>
                      <a:pt x="118" y="33"/>
                      <a:pt x="118" y="33"/>
                      <a:pt x="118" y="33"/>
                    </a:cubicBezTo>
                    <a:cubicBezTo>
                      <a:pt x="118" y="33"/>
                      <a:pt x="117" y="32"/>
                      <a:pt x="116" y="32"/>
                    </a:cubicBezTo>
                    <a:cubicBezTo>
                      <a:pt x="115" y="31"/>
                      <a:pt x="114" y="30"/>
                      <a:pt x="113" y="28"/>
                    </a:cubicBezTo>
                    <a:cubicBezTo>
                      <a:pt x="113" y="28"/>
                      <a:pt x="113" y="28"/>
                      <a:pt x="113" y="28"/>
                    </a:cubicBezTo>
                    <a:cubicBezTo>
                      <a:pt x="112" y="27"/>
                      <a:pt x="111" y="27"/>
                      <a:pt x="111" y="26"/>
                    </a:cubicBezTo>
                    <a:cubicBezTo>
                      <a:pt x="110" y="26"/>
                      <a:pt x="110" y="26"/>
                      <a:pt x="110" y="26"/>
                    </a:cubicBezTo>
                    <a:cubicBezTo>
                      <a:pt x="109" y="25"/>
                      <a:pt x="108" y="24"/>
                      <a:pt x="108" y="24"/>
                    </a:cubicBezTo>
                    <a:cubicBezTo>
                      <a:pt x="107" y="23"/>
                      <a:pt x="104" y="21"/>
                      <a:pt x="105" y="18"/>
                    </a:cubicBezTo>
                    <a:cubicBezTo>
                      <a:pt x="105" y="17"/>
                      <a:pt x="105" y="17"/>
                      <a:pt x="105" y="17"/>
                    </a:cubicBezTo>
                    <a:cubicBezTo>
                      <a:pt x="105" y="16"/>
                      <a:pt x="107" y="15"/>
                      <a:pt x="108" y="14"/>
                    </a:cubicBezTo>
                    <a:cubicBezTo>
                      <a:pt x="109" y="14"/>
                      <a:pt x="109" y="14"/>
                      <a:pt x="109" y="14"/>
                    </a:cubicBezTo>
                    <a:cubicBezTo>
                      <a:pt x="109" y="13"/>
                      <a:pt x="109" y="13"/>
                      <a:pt x="109" y="13"/>
                    </a:cubicBezTo>
                    <a:cubicBezTo>
                      <a:pt x="109" y="13"/>
                      <a:pt x="109" y="13"/>
                      <a:pt x="109" y="13"/>
                    </a:cubicBezTo>
                    <a:cubicBezTo>
                      <a:pt x="109" y="13"/>
                      <a:pt x="108" y="13"/>
                      <a:pt x="108" y="13"/>
                    </a:cubicBezTo>
                    <a:cubicBezTo>
                      <a:pt x="107" y="14"/>
                      <a:pt x="106" y="14"/>
                      <a:pt x="106" y="14"/>
                    </a:cubicBezTo>
                    <a:cubicBezTo>
                      <a:pt x="105" y="14"/>
                      <a:pt x="104" y="14"/>
                      <a:pt x="103" y="13"/>
                    </a:cubicBezTo>
                    <a:cubicBezTo>
                      <a:pt x="87" y="10"/>
                      <a:pt x="87" y="10"/>
                      <a:pt x="87" y="10"/>
                    </a:cubicBezTo>
                    <a:cubicBezTo>
                      <a:pt x="86" y="10"/>
                      <a:pt x="85" y="9"/>
                      <a:pt x="85" y="9"/>
                    </a:cubicBezTo>
                    <a:cubicBezTo>
                      <a:pt x="84" y="9"/>
                      <a:pt x="84" y="9"/>
                      <a:pt x="83" y="8"/>
                    </a:cubicBezTo>
                    <a:cubicBezTo>
                      <a:pt x="83" y="8"/>
                      <a:pt x="82" y="8"/>
                      <a:pt x="82" y="7"/>
                    </a:cubicBezTo>
                    <a:cubicBezTo>
                      <a:pt x="80" y="6"/>
                      <a:pt x="79" y="5"/>
                      <a:pt x="78" y="3"/>
                    </a:cubicBezTo>
                    <a:cubicBezTo>
                      <a:pt x="78" y="2"/>
                      <a:pt x="78" y="2"/>
                      <a:pt x="78" y="2"/>
                    </a:cubicBezTo>
                    <a:cubicBezTo>
                      <a:pt x="77" y="2"/>
                      <a:pt x="77" y="1"/>
                      <a:pt x="77" y="1"/>
                    </a:cubicBezTo>
                    <a:cubicBezTo>
                      <a:pt x="77" y="1"/>
                      <a:pt x="77" y="1"/>
                      <a:pt x="77" y="1"/>
                    </a:cubicBezTo>
                    <a:cubicBezTo>
                      <a:pt x="77" y="1"/>
                      <a:pt x="76" y="2"/>
                      <a:pt x="76" y="2"/>
                    </a:cubicBezTo>
                    <a:cubicBezTo>
                      <a:pt x="75" y="3"/>
                      <a:pt x="74" y="4"/>
                      <a:pt x="73" y="4"/>
                    </a:cubicBezTo>
                    <a:cubicBezTo>
                      <a:pt x="73" y="5"/>
                      <a:pt x="73" y="5"/>
                      <a:pt x="73" y="5"/>
                    </a:cubicBezTo>
                    <a:cubicBezTo>
                      <a:pt x="71" y="5"/>
                      <a:pt x="71" y="5"/>
                      <a:pt x="71" y="5"/>
                    </a:cubicBezTo>
                    <a:cubicBezTo>
                      <a:pt x="70" y="6"/>
                      <a:pt x="70" y="6"/>
                      <a:pt x="70" y="6"/>
                    </a:cubicBezTo>
                    <a:cubicBezTo>
                      <a:pt x="67" y="7"/>
                      <a:pt x="67" y="7"/>
                      <a:pt x="67" y="7"/>
                    </a:cubicBezTo>
                    <a:cubicBezTo>
                      <a:pt x="66" y="4"/>
                      <a:pt x="66" y="4"/>
                      <a:pt x="66" y="4"/>
                    </a:cubicBezTo>
                    <a:cubicBezTo>
                      <a:pt x="65" y="4"/>
                      <a:pt x="65" y="4"/>
                      <a:pt x="65" y="4"/>
                    </a:cubicBezTo>
                    <a:cubicBezTo>
                      <a:pt x="64" y="4"/>
                      <a:pt x="64" y="4"/>
                      <a:pt x="64" y="4"/>
                    </a:cubicBezTo>
                    <a:cubicBezTo>
                      <a:pt x="63" y="3"/>
                      <a:pt x="63" y="3"/>
                      <a:pt x="62" y="3"/>
                    </a:cubicBezTo>
                    <a:cubicBezTo>
                      <a:pt x="61" y="2"/>
                      <a:pt x="60" y="1"/>
                      <a:pt x="59" y="1"/>
                    </a:cubicBezTo>
                    <a:cubicBezTo>
                      <a:pt x="59" y="1"/>
                      <a:pt x="59" y="0"/>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276"/>
              <p:cNvSpPr/>
              <p:nvPr/>
            </p:nvSpPr>
            <p:spPr bwMode="auto">
              <a:xfrm>
                <a:off x="5984628" y="3998351"/>
                <a:ext cx="3685" cy="0"/>
              </a:xfrm>
              <a:custGeom>
                <a:gdLst>
                  <a:gd name="T0" fmla="*/ 0 w 1"/>
                  <a:gd name="T1" fmla="*/ 0 w 1"/>
                  <a:gd name="T2" fmla="*/ 1 w 1"/>
                  <a:gd name="T3" fmla="*/ 0 w 1"/>
                </a:gdLst>
                <a:cxnLst>
                  <a:cxn ang="0">
                    <a:pos x="T0" y="0"/>
                  </a:cxn>
                  <a:cxn ang="0">
                    <a:pos x="T1" y="0"/>
                  </a:cxn>
                  <a:cxn ang="0">
                    <a:pos x="T2" y="0"/>
                  </a:cxn>
                  <a:cxn ang="0">
                    <a:pos x="T3" y="0"/>
                  </a:cxn>
                </a:cxnLst>
                <a:rect l="0" t="0" r="r" b="b"/>
                <a:pathLst>
                  <a:path w="1">
                    <a:moveTo>
                      <a:pt x="0" y="0"/>
                    </a:moveTo>
                    <a:lnTo>
                      <a:pt x="0" y="0"/>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277"/>
              <p:cNvSpPr/>
              <p:nvPr/>
            </p:nvSpPr>
            <p:spPr bwMode="auto">
              <a:xfrm>
                <a:off x="5984628" y="3998351"/>
                <a:ext cx="3685" cy="0"/>
              </a:xfrm>
              <a:custGeom>
                <a:gdLst>
                  <a:gd name="T0" fmla="*/ 0 w 1"/>
                  <a:gd name="T1" fmla="*/ 0 w 1"/>
                  <a:gd name="T2" fmla="*/ 1 w 1"/>
                  <a:gd name="T3" fmla="*/ 0 w 1"/>
                </a:gdLst>
                <a:cxnLst>
                  <a:cxn ang="0">
                    <a:pos x="T0" y="0"/>
                  </a:cxn>
                  <a:cxn ang="0">
                    <a:pos x="T1" y="0"/>
                  </a:cxn>
                  <a:cxn ang="0">
                    <a:pos x="T2" y="0"/>
                  </a:cxn>
                  <a:cxn ang="0">
                    <a:pos x="T3" y="0"/>
                  </a:cxn>
                </a:cxnLst>
                <a:rect l="0" t="0" r="r" b="b"/>
                <a:pathLst>
                  <a:path w="1">
                    <a:moveTo>
                      <a:pt x="0" y="0"/>
                    </a:moveTo>
                    <a:lnTo>
                      <a:pt x="0" y="0"/>
                    </a:lnTo>
                    <a:lnTo>
                      <a:pt x="1"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278"/>
              <p:cNvSpPr/>
              <p:nvPr/>
            </p:nvSpPr>
            <p:spPr bwMode="auto">
              <a:xfrm>
                <a:off x="5229179" y="4289475"/>
                <a:ext cx="36851" cy="44221"/>
              </a:xfrm>
              <a:custGeom>
                <a:gdLst>
                  <a:gd name="T0" fmla="*/ 4 w 12"/>
                  <a:gd name="T1" fmla="*/ 0 h 14"/>
                  <a:gd name="T2" fmla="*/ 3 w 12"/>
                  <a:gd name="T3" fmla="*/ 0 h 14"/>
                  <a:gd name="T4" fmla="*/ 3 w 12"/>
                  <a:gd name="T5" fmla="*/ 1 h 14"/>
                  <a:gd name="T6" fmla="*/ 3 w 12"/>
                  <a:gd name="T7" fmla="*/ 2 h 14"/>
                  <a:gd name="T8" fmla="*/ 3 w 12"/>
                  <a:gd name="T9" fmla="*/ 3 h 14"/>
                  <a:gd name="T10" fmla="*/ 2 w 12"/>
                  <a:gd name="T11" fmla="*/ 4 h 14"/>
                  <a:gd name="T12" fmla="*/ 1 w 12"/>
                  <a:gd name="T13" fmla="*/ 5 h 14"/>
                  <a:gd name="T14" fmla="*/ 1 w 12"/>
                  <a:gd name="T15" fmla="*/ 5 h 14"/>
                  <a:gd name="T16" fmla="*/ 0 w 12"/>
                  <a:gd name="T17" fmla="*/ 7 h 14"/>
                  <a:gd name="T18" fmla="*/ 1 w 12"/>
                  <a:gd name="T19" fmla="*/ 7 h 14"/>
                  <a:gd name="T20" fmla="*/ 2 w 12"/>
                  <a:gd name="T21" fmla="*/ 9 h 14"/>
                  <a:gd name="T22" fmla="*/ 4 w 12"/>
                  <a:gd name="T23" fmla="*/ 6 h 14"/>
                  <a:gd name="T24" fmla="*/ 2 w 12"/>
                  <a:gd name="T25" fmla="*/ 12 h 14"/>
                  <a:gd name="T26" fmla="*/ 2 w 12"/>
                  <a:gd name="T27" fmla="*/ 12 h 14"/>
                  <a:gd name="T28" fmla="*/ 7 w 12"/>
                  <a:gd name="T29" fmla="*/ 14 h 14"/>
                  <a:gd name="T30" fmla="*/ 11 w 12"/>
                  <a:gd name="T31" fmla="*/ 5 h 14"/>
                  <a:gd name="T32" fmla="*/ 12 w 12"/>
                  <a:gd name="T33" fmla="*/ 4 h 14"/>
                  <a:gd name="T34" fmla="*/ 10 w 12"/>
                  <a:gd name="T35" fmla="*/ 2 h 14"/>
                  <a:gd name="T36" fmla="*/ 9 w 12"/>
                  <a:gd name="T37" fmla="*/ 2 h 14"/>
                  <a:gd name="T38" fmla="*/ 7 w 12"/>
                  <a:gd name="T39" fmla="*/ 0 h 14"/>
                  <a:gd name="T40" fmla="*/ 4 w 12"/>
                  <a:gd name="T41"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14">
                    <a:moveTo>
                      <a:pt x="4" y="0"/>
                    </a:moveTo>
                    <a:cubicBezTo>
                      <a:pt x="4" y="0"/>
                      <a:pt x="3" y="0"/>
                      <a:pt x="3" y="0"/>
                    </a:cubicBezTo>
                    <a:cubicBezTo>
                      <a:pt x="3" y="0"/>
                      <a:pt x="3" y="1"/>
                      <a:pt x="3" y="1"/>
                    </a:cubicBezTo>
                    <a:cubicBezTo>
                      <a:pt x="3" y="2"/>
                      <a:pt x="3" y="2"/>
                      <a:pt x="3" y="2"/>
                    </a:cubicBezTo>
                    <a:cubicBezTo>
                      <a:pt x="3" y="2"/>
                      <a:pt x="3" y="3"/>
                      <a:pt x="3" y="3"/>
                    </a:cubicBezTo>
                    <a:cubicBezTo>
                      <a:pt x="2" y="4"/>
                      <a:pt x="2" y="4"/>
                      <a:pt x="2" y="4"/>
                    </a:cubicBezTo>
                    <a:cubicBezTo>
                      <a:pt x="2" y="4"/>
                      <a:pt x="2" y="5"/>
                      <a:pt x="1" y="5"/>
                    </a:cubicBezTo>
                    <a:cubicBezTo>
                      <a:pt x="1" y="5"/>
                      <a:pt x="1" y="5"/>
                      <a:pt x="1" y="5"/>
                    </a:cubicBezTo>
                    <a:cubicBezTo>
                      <a:pt x="1" y="6"/>
                      <a:pt x="1" y="6"/>
                      <a:pt x="0" y="7"/>
                    </a:cubicBezTo>
                    <a:cubicBezTo>
                      <a:pt x="1" y="7"/>
                      <a:pt x="1" y="7"/>
                      <a:pt x="1" y="7"/>
                    </a:cubicBezTo>
                    <a:cubicBezTo>
                      <a:pt x="1" y="7"/>
                      <a:pt x="1" y="8"/>
                      <a:pt x="2" y="9"/>
                    </a:cubicBezTo>
                    <a:cubicBezTo>
                      <a:pt x="4" y="6"/>
                      <a:pt x="4" y="6"/>
                      <a:pt x="4" y="6"/>
                    </a:cubicBezTo>
                    <a:cubicBezTo>
                      <a:pt x="2" y="12"/>
                      <a:pt x="2" y="12"/>
                      <a:pt x="2" y="12"/>
                    </a:cubicBezTo>
                    <a:cubicBezTo>
                      <a:pt x="2" y="12"/>
                      <a:pt x="2" y="12"/>
                      <a:pt x="2" y="12"/>
                    </a:cubicBezTo>
                    <a:cubicBezTo>
                      <a:pt x="7" y="14"/>
                      <a:pt x="7" y="14"/>
                      <a:pt x="7" y="14"/>
                    </a:cubicBezTo>
                    <a:cubicBezTo>
                      <a:pt x="11" y="5"/>
                      <a:pt x="11" y="5"/>
                      <a:pt x="11" y="5"/>
                    </a:cubicBezTo>
                    <a:cubicBezTo>
                      <a:pt x="12" y="4"/>
                      <a:pt x="12" y="4"/>
                      <a:pt x="12" y="4"/>
                    </a:cubicBezTo>
                    <a:cubicBezTo>
                      <a:pt x="11" y="3"/>
                      <a:pt x="10" y="3"/>
                      <a:pt x="10" y="2"/>
                    </a:cubicBezTo>
                    <a:cubicBezTo>
                      <a:pt x="9" y="2"/>
                      <a:pt x="9" y="2"/>
                      <a:pt x="9" y="2"/>
                    </a:cubicBezTo>
                    <a:cubicBezTo>
                      <a:pt x="9" y="1"/>
                      <a:pt x="8" y="1"/>
                      <a:pt x="7" y="0"/>
                    </a:cubicBezTo>
                    <a:cubicBezTo>
                      <a:pt x="7"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279"/>
              <p:cNvSpPr/>
              <p:nvPr/>
            </p:nvSpPr>
            <p:spPr bwMode="auto">
              <a:xfrm>
                <a:off x="5251290" y="4123645"/>
                <a:ext cx="641210" cy="272699"/>
              </a:xfrm>
              <a:custGeom>
                <a:gdLst>
                  <a:gd name="T0" fmla="*/ 131 w 202"/>
                  <a:gd name="T1" fmla="*/ 14 h 86"/>
                  <a:gd name="T2" fmla="*/ 113 w 202"/>
                  <a:gd name="T3" fmla="*/ 9 h 86"/>
                  <a:gd name="T4" fmla="*/ 112 w 202"/>
                  <a:gd name="T5" fmla="*/ 14 h 86"/>
                  <a:gd name="T6" fmla="*/ 104 w 202"/>
                  <a:gd name="T7" fmla="*/ 15 h 86"/>
                  <a:gd name="T8" fmla="*/ 95 w 202"/>
                  <a:gd name="T9" fmla="*/ 24 h 86"/>
                  <a:gd name="T10" fmla="*/ 85 w 202"/>
                  <a:gd name="T11" fmla="*/ 29 h 86"/>
                  <a:gd name="T12" fmla="*/ 91 w 202"/>
                  <a:gd name="T13" fmla="*/ 40 h 86"/>
                  <a:gd name="T14" fmla="*/ 91 w 202"/>
                  <a:gd name="T15" fmla="*/ 53 h 86"/>
                  <a:gd name="T16" fmla="*/ 77 w 202"/>
                  <a:gd name="T17" fmla="*/ 48 h 86"/>
                  <a:gd name="T18" fmla="*/ 71 w 202"/>
                  <a:gd name="T19" fmla="*/ 48 h 86"/>
                  <a:gd name="T20" fmla="*/ 68 w 202"/>
                  <a:gd name="T21" fmla="*/ 47 h 86"/>
                  <a:gd name="T22" fmla="*/ 57 w 202"/>
                  <a:gd name="T23" fmla="*/ 50 h 86"/>
                  <a:gd name="T24" fmla="*/ 46 w 202"/>
                  <a:gd name="T25" fmla="*/ 52 h 86"/>
                  <a:gd name="T26" fmla="*/ 31 w 202"/>
                  <a:gd name="T27" fmla="*/ 57 h 86"/>
                  <a:gd name="T28" fmla="*/ 28 w 202"/>
                  <a:gd name="T29" fmla="*/ 56 h 86"/>
                  <a:gd name="T30" fmla="*/ 19 w 202"/>
                  <a:gd name="T31" fmla="*/ 51 h 86"/>
                  <a:gd name="T32" fmla="*/ 7 w 202"/>
                  <a:gd name="T33" fmla="*/ 69 h 86"/>
                  <a:gd name="T34" fmla="*/ 16 w 202"/>
                  <a:gd name="T35" fmla="*/ 67 h 86"/>
                  <a:gd name="T36" fmla="*/ 18 w 202"/>
                  <a:gd name="T37" fmla="*/ 69 h 86"/>
                  <a:gd name="T38" fmla="*/ 29 w 202"/>
                  <a:gd name="T39" fmla="*/ 72 h 86"/>
                  <a:gd name="T40" fmla="*/ 30 w 202"/>
                  <a:gd name="T41" fmla="*/ 72 h 86"/>
                  <a:gd name="T42" fmla="*/ 59 w 202"/>
                  <a:gd name="T43" fmla="*/ 62 h 86"/>
                  <a:gd name="T44" fmla="*/ 71 w 202"/>
                  <a:gd name="T45" fmla="*/ 63 h 86"/>
                  <a:gd name="T46" fmla="*/ 75 w 202"/>
                  <a:gd name="T47" fmla="*/ 76 h 86"/>
                  <a:gd name="T48" fmla="*/ 79 w 202"/>
                  <a:gd name="T49" fmla="*/ 77 h 86"/>
                  <a:gd name="T50" fmla="*/ 109 w 202"/>
                  <a:gd name="T51" fmla="*/ 81 h 86"/>
                  <a:gd name="T52" fmla="*/ 118 w 202"/>
                  <a:gd name="T53" fmla="*/ 83 h 86"/>
                  <a:gd name="T54" fmla="*/ 123 w 202"/>
                  <a:gd name="T55" fmla="*/ 85 h 86"/>
                  <a:gd name="T56" fmla="*/ 130 w 202"/>
                  <a:gd name="T57" fmla="*/ 85 h 86"/>
                  <a:gd name="T58" fmla="*/ 135 w 202"/>
                  <a:gd name="T59" fmla="*/ 84 h 86"/>
                  <a:gd name="T60" fmla="*/ 145 w 202"/>
                  <a:gd name="T61" fmla="*/ 77 h 86"/>
                  <a:gd name="T62" fmla="*/ 152 w 202"/>
                  <a:gd name="T63" fmla="*/ 77 h 86"/>
                  <a:gd name="T64" fmla="*/ 158 w 202"/>
                  <a:gd name="T65" fmla="*/ 78 h 86"/>
                  <a:gd name="T66" fmla="*/ 160 w 202"/>
                  <a:gd name="T67" fmla="*/ 77 h 86"/>
                  <a:gd name="T68" fmla="*/ 170 w 202"/>
                  <a:gd name="T69" fmla="*/ 76 h 86"/>
                  <a:gd name="T70" fmla="*/ 172 w 202"/>
                  <a:gd name="T71" fmla="*/ 72 h 86"/>
                  <a:gd name="T72" fmla="*/ 176 w 202"/>
                  <a:gd name="T73" fmla="*/ 69 h 86"/>
                  <a:gd name="T74" fmla="*/ 176 w 202"/>
                  <a:gd name="T75" fmla="*/ 69 h 86"/>
                  <a:gd name="T76" fmla="*/ 183 w 202"/>
                  <a:gd name="T77" fmla="*/ 64 h 86"/>
                  <a:gd name="T78" fmla="*/ 182 w 202"/>
                  <a:gd name="T79" fmla="*/ 58 h 86"/>
                  <a:gd name="T80" fmla="*/ 184 w 202"/>
                  <a:gd name="T81" fmla="*/ 48 h 86"/>
                  <a:gd name="T82" fmla="*/ 187 w 202"/>
                  <a:gd name="T83" fmla="*/ 38 h 86"/>
                  <a:gd name="T84" fmla="*/ 196 w 202"/>
                  <a:gd name="T85" fmla="*/ 40 h 86"/>
                  <a:gd name="T86" fmla="*/ 200 w 202"/>
                  <a:gd name="T87" fmla="*/ 39 h 86"/>
                  <a:gd name="T88" fmla="*/ 202 w 202"/>
                  <a:gd name="T89" fmla="*/ 32 h 86"/>
                  <a:gd name="T90" fmla="*/ 197 w 202"/>
                  <a:gd name="T91" fmla="*/ 24 h 86"/>
                  <a:gd name="T92" fmla="*/ 196 w 202"/>
                  <a:gd name="T93" fmla="*/ 12 h 86"/>
                  <a:gd name="T94" fmla="*/ 189 w 202"/>
                  <a:gd name="T95" fmla="*/ 6 h 86"/>
                  <a:gd name="T96" fmla="*/ 178 w 202"/>
                  <a:gd name="T97" fmla="*/ 8 h 86"/>
                  <a:gd name="T98" fmla="*/ 156 w 202"/>
                  <a:gd name="T99" fmla="*/ 2 h 86"/>
                  <a:gd name="T100" fmla="*/ 152 w 202"/>
                  <a:gd name="T101" fmla="*/ 2 h 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1" h="86">
                    <a:moveTo>
                      <a:pt x="147" y="0"/>
                    </a:moveTo>
                    <a:cubicBezTo>
                      <a:pt x="146" y="6"/>
                      <a:pt x="144" y="9"/>
                      <a:pt x="140" y="12"/>
                    </a:cubicBezTo>
                    <a:cubicBezTo>
                      <a:pt x="139" y="13"/>
                      <a:pt x="139" y="13"/>
                      <a:pt x="139" y="13"/>
                    </a:cubicBezTo>
                    <a:cubicBezTo>
                      <a:pt x="136" y="14"/>
                      <a:pt x="134" y="14"/>
                      <a:pt x="131" y="14"/>
                    </a:cubicBezTo>
                    <a:cubicBezTo>
                      <a:pt x="130" y="15"/>
                      <a:pt x="130" y="15"/>
                      <a:pt x="130" y="15"/>
                    </a:cubicBezTo>
                    <a:cubicBezTo>
                      <a:pt x="126" y="15"/>
                      <a:pt x="121" y="14"/>
                      <a:pt x="117" y="11"/>
                    </a:cubicBezTo>
                    <a:cubicBezTo>
                      <a:pt x="114" y="10"/>
                      <a:pt x="114" y="10"/>
                      <a:pt x="114" y="10"/>
                    </a:cubicBezTo>
                    <a:cubicBezTo>
                      <a:pt x="113" y="9"/>
                      <a:pt x="113" y="9"/>
                      <a:pt x="113" y="9"/>
                    </a:cubicBezTo>
                    <a:cubicBezTo>
                      <a:pt x="111" y="9"/>
                      <a:pt x="111" y="9"/>
                      <a:pt x="111" y="9"/>
                    </a:cubicBezTo>
                    <a:cubicBezTo>
                      <a:pt x="113" y="9"/>
                      <a:pt x="113" y="9"/>
                      <a:pt x="113" y="9"/>
                    </a:cubicBezTo>
                    <a:cubicBezTo>
                      <a:pt x="113" y="10"/>
                      <a:pt x="112" y="11"/>
                      <a:pt x="112" y="12"/>
                    </a:cubicBezTo>
                    <a:cubicBezTo>
                      <a:pt x="112" y="12"/>
                      <a:pt x="112" y="13"/>
                      <a:pt x="112" y="14"/>
                    </a:cubicBezTo>
                    <a:cubicBezTo>
                      <a:pt x="111" y="18"/>
                      <a:pt x="111" y="18"/>
                      <a:pt x="111" y="18"/>
                    </a:cubicBezTo>
                    <a:cubicBezTo>
                      <a:pt x="107" y="17"/>
                      <a:pt x="107" y="17"/>
                      <a:pt x="107" y="17"/>
                    </a:cubicBezTo>
                    <a:cubicBezTo>
                      <a:pt x="107" y="16"/>
                      <a:pt x="106" y="16"/>
                      <a:pt x="106" y="16"/>
                    </a:cubicBezTo>
                    <a:cubicBezTo>
                      <a:pt x="105" y="16"/>
                      <a:pt x="104" y="15"/>
                      <a:pt x="104" y="15"/>
                    </a:cubicBezTo>
                    <a:cubicBezTo>
                      <a:pt x="103" y="15"/>
                      <a:pt x="103" y="15"/>
                      <a:pt x="103" y="15"/>
                    </a:cubicBezTo>
                    <a:cubicBezTo>
                      <a:pt x="103" y="17"/>
                      <a:pt x="103" y="19"/>
                      <a:pt x="102" y="21"/>
                    </a:cubicBezTo>
                    <a:cubicBezTo>
                      <a:pt x="101" y="22"/>
                      <a:pt x="101" y="22"/>
                      <a:pt x="101" y="22"/>
                    </a:cubicBezTo>
                    <a:cubicBezTo>
                      <a:pt x="99" y="23"/>
                      <a:pt x="98" y="23"/>
                      <a:pt x="95" y="24"/>
                    </a:cubicBezTo>
                    <a:cubicBezTo>
                      <a:pt x="94" y="25"/>
                      <a:pt x="94" y="25"/>
                      <a:pt x="94" y="25"/>
                    </a:cubicBezTo>
                    <a:cubicBezTo>
                      <a:pt x="93" y="25"/>
                      <a:pt x="93" y="25"/>
                      <a:pt x="92" y="25"/>
                    </a:cubicBezTo>
                    <a:cubicBezTo>
                      <a:pt x="91" y="26"/>
                      <a:pt x="91" y="26"/>
                      <a:pt x="91" y="26"/>
                    </a:cubicBezTo>
                    <a:cubicBezTo>
                      <a:pt x="88" y="27"/>
                      <a:pt x="86" y="28"/>
                      <a:pt x="85" y="29"/>
                    </a:cubicBezTo>
                    <a:cubicBezTo>
                      <a:pt x="86" y="29"/>
                      <a:pt x="87" y="31"/>
                      <a:pt x="88" y="32"/>
                    </a:cubicBezTo>
                    <a:cubicBezTo>
                      <a:pt x="88" y="33"/>
                      <a:pt x="88" y="33"/>
                      <a:pt x="88" y="33"/>
                    </a:cubicBezTo>
                    <a:cubicBezTo>
                      <a:pt x="89" y="33"/>
                      <a:pt x="89" y="33"/>
                      <a:pt x="90" y="34"/>
                    </a:cubicBezTo>
                    <a:cubicBezTo>
                      <a:pt x="91" y="36"/>
                      <a:pt x="91" y="38"/>
                      <a:pt x="91" y="40"/>
                    </a:cubicBezTo>
                    <a:cubicBezTo>
                      <a:pt x="91" y="40"/>
                      <a:pt x="91" y="40"/>
                      <a:pt x="91" y="40"/>
                    </a:cubicBezTo>
                    <a:cubicBezTo>
                      <a:pt x="92" y="41"/>
                      <a:pt x="92" y="42"/>
                      <a:pt x="92" y="44"/>
                    </a:cubicBezTo>
                    <a:cubicBezTo>
                      <a:pt x="92" y="45"/>
                      <a:pt x="92" y="45"/>
                      <a:pt x="92" y="45"/>
                    </a:cubicBezTo>
                    <a:cubicBezTo>
                      <a:pt x="92" y="47"/>
                      <a:pt x="92" y="50"/>
                      <a:pt x="91" y="53"/>
                    </a:cubicBezTo>
                    <a:cubicBezTo>
                      <a:pt x="89" y="57"/>
                      <a:pt x="89" y="57"/>
                      <a:pt x="89" y="57"/>
                    </a:cubicBezTo>
                    <a:cubicBezTo>
                      <a:pt x="78" y="48"/>
                      <a:pt x="78" y="48"/>
                      <a:pt x="78" y="48"/>
                    </a:cubicBezTo>
                    <a:cubicBezTo>
                      <a:pt x="78" y="48"/>
                      <a:pt x="78" y="48"/>
                      <a:pt x="78" y="48"/>
                    </a:cubicBezTo>
                    <a:cubicBezTo>
                      <a:pt x="77" y="48"/>
                      <a:pt x="77" y="48"/>
                      <a:pt x="77" y="48"/>
                    </a:cubicBezTo>
                    <a:cubicBezTo>
                      <a:pt x="76" y="48"/>
                      <a:pt x="76" y="49"/>
                      <a:pt x="75" y="49"/>
                    </a:cubicBezTo>
                    <a:cubicBezTo>
                      <a:pt x="75" y="49"/>
                      <a:pt x="74" y="48"/>
                      <a:pt x="74" y="48"/>
                    </a:cubicBezTo>
                    <a:cubicBezTo>
                      <a:pt x="73" y="48"/>
                      <a:pt x="73" y="48"/>
                      <a:pt x="72" y="48"/>
                    </a:cubicBezTo>
                    <a:cubicBezTo>
                      <a:pt x="72" y="48"/>
                      <a:pt x="71" y="48"/>
                      <a:pt x="71" y="48"/>
                    </a:cubicBezTo>
                    <a:cubicBezTo>
                      <a:pt x="70" y="47"/>
                      <a:pt x="70" y="47"/>
                      <a:pt x="70" y="47"/>
                    </a:cubicBezTo>
                    <a:cubicBezTo>
                      <a:pt x="70" y="47"/>
                      <a:pt x="69" y="47"/>
                      <a:pt x="69" y="47"/>
                    </a:cubicBezTo>
                    <a:cubicBezTo>
                      <a:pt x="69" y="47"/>
                      <a:pt x="69" y="47"/>
                      <a:pt x="69" y="47"/>
                    </a:cubicBezTo>
                    <a:cubicBezTo>
                      <a:pt x="69" y="47"/>
                      <a:pt x="68" y="47"/>
                      <a:pt x="68" y="47"/>
                    </a:cubicBezTo>
                    <a:cubicBezTo>
                      <a:pt x="67" y="47"/>
                      <a:pt x="67" y="47"/>
                      <a:pt x="66" y="48"/>
                    </a:cubicBezTo>
                    <a:cubicBezTo>
                      <a:pt x="65" y="48"/>
                      <a:pt x="64" y="49"/>
                      <a:pt x="62" y="49"/>
                    </a:cubicBezTo>
                    <a:cubicBezTo>
                      <a:pt x="62" y="49"/>
                      <a:pt x="62" y="49"/>
                      <a:pt x="62" y="49"/>
                    </a:cubicBezTo>
                    <a:cubicBezTo>
                      <a:pt x="61" y="50"/>
                      <a:pt x="59" y="50"/>
                      <a:pt x="57" y="50"/>
                    </a:cubicBezTo>
                    <a:cubicBezTo>
                      <a:pt x="57" y="50"/>
                      <a:pt x="56" y="50"/>
                      <a:pt x="56" y="50"/>
                    </a:cubicBezTo>
                    <a:cubicBezTo>
                      <a:pt x="54" y="50"/>
                      <a:pt x="54" y="50"/>
                      <a:pt x="54" y="50"/>
                    </a:cubicBezTo>
                    <a:cubicBezTo>
                      <a:pt x="53" y="50"/>
                      <a:pt x="52" y="50"/>
                      <a:pt x="51" y="50"/>
                    </a:cubicBezTo>
                    <a:cubicBezTo>
                      <a:pt x="49" y="50"/>
                      <a:pt x="47" y="51"/>
                      <a:pt x="46" y="52"/>
                    </a:cubicBezTo>
                    <a:cubicBezTo>
                      <a:pt x="45" y="56"/>
                      <a:pt x="39" y="56"/>
                      <a:pt x="34" y="57"/>
                    </a:cubicBezTo>
                    <a:cubicBezTo>
                      <a:pt x="33" y="57"/>
                      <a:pt x="33" y="57"/>
                      <a:pt x="33" y="57"/>
                    </a:cubicBezTo>
                    <a:cubicBezTo>
                      <a:pt x="33" y="57"/>
                      <a:pt x="33" y="57"/>
                      <a:pt x="32" y="57"/>
                    </a:cubicBezTo>
                    <a:cubicBezTo>
                      <a:pt x="31" y="57"/>
                      <a:pt x="31" y="57"/>
                      <a:pt x="31" y="57"/>
                    </a:cubicBezTo>
                    <a:cubicBezTo>
                      <a:pt x="31" y="57"/>
                      <a:pt x="30" y="57"/>
                      <a:pt x="30" y="57"/>
                    </a:cubicBezTo>
                    <a:cubicBezTo>
                      <a:pt x="30" y="57"/>
                      <a:pt x="30" y="57"/>
                      <a:pt x="30" y="57"/>
                    </a:cubicBezTo>
                    <a:cubicBezTo>
                      <a:pt x="29" y="57"/>
                      <a:pt x="29" y="57"/>
                      <a:pt x="29" y="57"/>
                    </a:cubicBezTo>
                    <a:cubicBezTo>
                      <a:pt x="29" y="57"/>
                      <a:pt x="28" y="56"/>
                      <a:pt x="28" y="56"/>
                    </a:cubicBezTo>
                    <a:cubicBezTo>
                      <a:pt x="27" y="56"/>
                      <a:pt x="27" y="56"/>
                      <a:pt x="27" y="56"/>
                    </a:cubicBezTo>
                    <a:cubicBezTo>
                      <a:pt x="26" y="54"/>
                      <a:pt x="26" y="53"/>
                      <a:pt x="26" y="52"/>
                    </a:cubicBezTo>
                    <a:cubicBezTo>
                      <a:pt x="26" y="52"/>
                      <a:pt x="26" y="52"/>
                      <a:pt x="26" y="52"/>
                    </a:cubicBezTo>
                    <a:cubicBezTo>
                      <a:pt x="19" y="51"/>
                      <a:pt x="19" y="51"/>
                      <a:pt x="19" y="51"/>
                    </a:cubicBezTo>
                    <a:cubicBezTo>
                      <a:pt x="18" y="56"/>
                      <a:pt x="15" y="58"/>
                      <a:pt x="11" y="60"/>
                    </a:cubicBezTo>
                    <a:cubicBezTo>
                      <a:pt x="0" y="66"/>
                      <a:pt x="0" y="66"/>
                      <a:pt x="0" y="66"/>
                    </a:cubicBezTo>
                    <a:cubicBezTo>
                      <a:pt x="6" y="70"/>
                      <a:pt x="6" y="70"/>
                      <a:pt x="6" y="70"/>
                    </a:cubicBezTo>
                    <a:cubicBezTo>
                      <a:pt x="6" y="69"/>
                      <a:pt x="6" y="69"/>
                      <a:pt x="7" y="69"/>
                    </a:cubicBezTo>
                    <a:cubicBezTo>
                      <a:pt x="8" y="67"/>
                      <a:pt x="10" y="65"/>
                      <a:pt x="12" y="65"/>
                    </a:cubicBezTo>
                    <a:cubicBezTo>
                      <a:pt x="13" y="65"/>
                      <a:pt x="14" y="66"/>
                      <a:pt x="14" y="66"/>
                    </a:cubicBezTo>
                    <a:cubicBezTo>
                      <a:pt x="15" y="66"/>
                      <a:pt x="15" y="66"/>
                      <a:pt x="16" y="66"/>
                    </a:cubicBezTo>
                    <a:cubicBezTo>
                      <a:pt x="16" y="67"/>
                      <a:pt x="16" y="67"/>
                      <a:pt x="16" y="67"/>
                    </a:cubicBezTo>
                    <a:cubicBezTo>
                      <a:pt x="17" y="67"/>
                      <a:pt x="17" y="67"/>
                      <a:pt x="17" y="67"/>
                    </a:cubicBezTo>
                    <a:cubicBezTo>
                      <a:pt x="17" y="68"/>
                      <a:pt x="17" y="68"/>
                      <a:pt x="17" y="68"/>
                    </a:cubicBezTo>
                    <a:cubicBezTo>
                      <a:pt x="18" y="68"/>
                      <a:pt x="18" y="68"/>
                      <a:pt x="18" y="68"/>
                    </a:cubicBezTo>
                    <a:cubicBezTo>
                      <a:pt x="18" y="69"/>
                      <a:pt x="18" y="69"/>
                      <a:pt x="18" y="69"/>
                    </a:cubicBezTo>
                    <a:cubicBezTo>
                      <a:pt x="18" y="69"/>
                      <a:pt x="18" y="69"/>
                      <a:pt x="18" y="69"/>
                    </a:cubicBezTo>
                    <a:cubicBezTo>
                      <a:pt x="18" y="70"/>
                      <a:pt x="18" y="70"/>
                      <a:pt x="18" y="70"/>
                    </a:cubicBezTo>
                    <a:cubicBezTo>
                      <a:pt x="19" y="70"/>
                      <a:pt x="20" y="70"/>
                      <a:pt x="21" y="71"/>
                    </a:cubicBezTo>
                    <a:cubicBezTo>
                      <a:pt x="24" y="71"/>
                      <a:pt x="27" y="72"/>
                      <a:pt x="29" y="72"/>
                    </a:cubicBezTo>
                    <a:cubicBezTo>
                      <a:pt x="29" y="72"/>
                      <a:pt x="29" y="72"/>
                      <a:pt x="29" y="72"/>
                    </a:cubicBezTo>
                    <a:cubicBezTo>
                      <a:pt x="30" y="73"/>
                      <a:pt x="30" y="73"/>
                      <a:pt x="30" y="73"/>
                    </a:cubicBezTo>
                    <a:cubicBezTo>
                      <a:pt x="30" y="72"/>
                      <a:pt x="30" y="72"/>
                      <a:pt x="30" y="72"/>
                    </a:cubicBezTo>
                    <a:cubicBezTo>
                      <a:pt x="30" y="72"/>
                      <a:pt x="30" y="72"/>
                      <a:pt x="30" y="72"/>
                    </a:cubicBezTo>
                    <a:cubicBezTo>
                      <a:pt x="31" y="71"/>
                      <a:pt x="31" y="71"/>
                      <a:pt x="31" y="71"/>
                    </a:cubicBezTo>
                    <a:cubicBezTo>
                      <a:pt x="32" y="68"/>
                      <a:pt x="33" y="66"/>
                      <a:pt x="38" y="66"/>
                    </a:cubicBezTo>
                    <a:cubicBezTo>
                      <a:pt x="49" y="64"/>
                      <a:pt x="49" y="64"/>
                      <a:pt x="49" y="64"/>
                    </a:cubicBezTo>
                    <a:cubicBezTo>
                      <a:pt x="53" y="63"/>
                      <a:pt x="56" y="63"/>
                      <a:pt x="59" y="62"/>
                    </a:cubicBezTo>
                    <a:cubicBezTo>
                      <a:pt x="63" y="62"/>
                      <a:pt x="63" y="62"/>
                      <a:pt x="63" y="62"/>
                    </a:cubicBezTo>
                    <a:cubicBezTo>
                      <a:pt x="64" y="62"/>
                      <a:pt x="64" y="62"/>
                      <a:pt x="64" y="62"/>
                    </a:cubicBezTo>
                    <a:cubicBezTo>
                      <a:pt x="65" y="62"/>
                      <a:pt x="66" y="62"/>
                      <a:pt x="67" y="62"/>
                    </a:cubicBezTo>
                    <a:cubicBezTo>
                      <a:pt x="71" y="63"/>
                      <a:pt x="71" y="63"/>
                      <a:pt x="71" y="63"/>
                    </a:cubicBezTo>
                    <a:cubicBezTo>
                      <a:pt x="68" y="68"/>
                      <a:pt x="68" y="68"/>
                      <a:pt x="68" y="68"/>
                    </a:cubicBezTo>
                    <a:cubicBezTo>
                      <a:pt x="68" y="69"/>
                      <a:pt x="68" y="70"/>
                      <a:pt x="68" y="70"/>
                    </a:cubicBezTo>
                    <a:cubicBezTo>
                      <a:pt x="68" y="71"/>
                      <a:pt x="68" y="71"/>
                      <a:pt x="68" y="71"/>
                    </a:cubicBezTo>
                    <a:cubicBezTo>
                      <a:pt x="70" y="73"/>
                      <a:pt x="73" y="76"/>
                      <a:pt x="75" y="76"/>
                    </a:cubicBezTo>
                    <a:cubicBezTo>
                      <a:pt x="77" y="77"/>
                      <a:pt x="77" y="77"/>
                      <a:pt x="77" y="77"/>
                    </a:cubicBezTo>
                    <a:cubicBezTo>
                      <a:pt x="78" y="69"/>
                      <a:pt x="78" y="69"/>
                      <a:pt x="78" y="69"/>
                    </a:cubicBezTo>
                    <a:cubicBezTo>
                      <a:pt x="79" y="77"/>
                      <a:pt x="79" y="77"/>
                      <a:pt x="79" y="77"/>
                    </a:cubicBezTo>
                    <a:cubicBezTo>
                      <a:pt x="79" y="77"/>
                      <a:pt x="79" y="77"/>
                      <a:pt x="79" y="77"/>
                    </a:cubicBezTo>
                    <a:cubicBezTo>
                      <a:pt x="86" y="79"/>
                      <a:pt x="92" y="79"/>
                      <a:pt x="98" y="80"/>
                    </a:cubicBezTo>
                    <a:cubicBezTo>
                      <a:pt x="100" y="80"/>
                      <a:pt x="102" y="80"/>
                      <a:pt x="104" y="81"/>
                    </a:cubicBezTo>
                    <a:cubicBezTo>
                      <a:pt x="104" y="81"/>
                      <a:pt x="106" y="81"/>
                      <a:pt x="108" y="82"/>
                    </a:cubicBezTo>
                    <a:cubicBezTo>
                      <a:pt x="109" y="81"/>
                      <a:pt x="109" y="81"/>
                      <a:pt x="109" y="81"/>
                    </a:cubicBezTo>
                    <a:cubicBezTo>
                      <a:pt x="109" y="82"/>
                      <a:pt x="109" y="82"/>
                      <a:pt x="109" y="82"/>
                    </a:cubicBezTo>
                    <a:cubicBezTo>
                      <a:pt x="110" y="82"/>
                      <a:pt x="111" y="82"/>
                      <a:pt x="112" y="82"/>
                    </a:cubicBezTo>
                    <a:cubicBezTo>
                      <a:pt x="114" y="82"/>
                      <a:pt x="114" y="82"/>
                      <a:pt x="114" y="82"/>
                    </a:cubicBezTo>
                    <a:cubicBezTo>
                      <a:pt x="115" y="83"/>
                      <a:pt x="116" y="83"/>
                      <a:pt x="118" y="83"/>
                    </a:cubicBezTo>
                    <a:cubicBezTo>
                      <a:pt x="118" y="83"/>
                      <a:pt x="118" y="83"/>
                      <a:pt x="119" y="84"/>
                    </a:cubicBezTo>
                    <a:cubicBezTo>
                      <a:pt x="120" y="84"/>
                      <a:pt x="120" y="84"/>
                      <a:pt x="120" y="84"/>
                    </a:cubicBezTo>
                    <a:cubicBezTo>
                      <a:pt x="121" y="84"/>
                      <a:pt x="121" y="84"/>
                      <a:pt x="122" y="85"/>
                    </a:cubicBezTo>
                    <a:cubicBezTo>
                      <a:pt x="123" y="85"/>
                      <a:pt x="123" y="85"/>
                      <a:pt x="123" y="85"/>
                    </a:cubicBezTo>
                    <a:cubicBezTo>
                      <a:pt x="124" y="85"/>
                      <a:pt x="124" y="85"/>
                      <a:pt x="125" y="85"/>
                    </a:cubicBezTo>
                    <a:cubicBezTo>
                      <a:pt x="126" y="85"/>
                      <a:pt x="126" y="85"/>
                      <a:pt x="126" y="85"/>
                    </a:cubicBezTo>
                    <a:cubicBezTo>
                      <a:pt x="127" y="85"/>
                      <a:pt x="127" y="85"/>
                      <a:pt x="127" y="85"/>
                    </a:cubicBezTo>
                    <a:cubicBezTo>
                      <a:pt x="128" y="85"/>
                      <a:pt x="129" y="85"/>
                      <a:pt x="130" y="85"/>
                    </a:cubicBezTo>
                    <a:cubicBezTo>
                      <a:pt x="131" y="86"/>
                      <a:pt x="131" y="86"/>
                      <a:pt x="131" y="86"/>
                    </a:cubicBezTo>
                    <a:cubicBezTo>
                      <a:pt x="132" y="86"/>
                      <a:pt x="132" y="86"/>
                      <a:pt x="132" y="86"/>
                    </a:cubicBezTo>
                    <a:cubicBezTo>
                      <a:pt x="132" y="86"/>
                      <a:pt x="132" y="86"/>
                      <a:pt x="132" y="86"/>
                    </a:cubicBezTo>
                    <a:cubicBezTo>
                      <a:pt x="133" y="86"/>
                      <a:pt x="134" y="85"/>
                      <a:pt x="135" y="84"/>
                    </a:cubicBezTo>
                    <a:cubicBezTo>
                      <a:pt x="136" y="84"/>
                      <a:pt x="136" y="84"/>
                      <a:pt x="136" y="84"/>
                    </a:cubicBezTo>
                    <a:cubicBezTo>
                      <a:pt x="136" y="83"/>
                      <a:pt x="137" y="83"/>
                      <a:pt x="137" y="83"/>
                    </a:cubicBezTo>
                    <a:cubicBezTo>
                      <a:pt x="137" y="82"/>
                      <a:pt x="138" y="82"/>
                      <a:pt x="138" y="81"/>
                    </a:cubicBezTo>
                    <a:cubicBezTo>
                      <a:pt x="140" y="79"/>
                      <a:pt x="141" y="78"/>
                      <a:pt x="145" y="77"/>
                    </a:cubicBezTo>
                    <a:cubicBezTo>
                      <a:pt x="146" y="77"/>
                      <a:pt x="146" y="77"/>
                      <a:pt x="147" y="77"/>
                    </a:cubicBezTo>
                    <a:cubicBezTo>
                      <a:pt x="147" y="77"/>
                      <a:pt x="147" y="77"/>
                      <a:pt x="147" y="77"/>
                    </a:cubicBezTo>
                    <a:cubicBezTo>
                      <a:pt x="148" y="77"/>
                      <a:pt x="149" y="77"/>
                      <a:pt x="150" y="77"/>
                    </a:cubicBezTo>
                    <a:cubicBezTo>
                      <a:pt x="152" y="77"/>
                      <a:pt x="152" y="77"/>
                      <a:pt x="152" y="77"/>
                    </a:cubicBezTo>
                    <a:cubicBezTo>
                      <a:pt x="152" y="77"/>
                      <a:pt x="153" y="77"/>
                      <a:pt x="153" y="77"/>
                    </a:cubicBezTo>
                    <a:cubicBezTo>
                      <a:pt x="154" y="77"/>
                      <a:pt x="155" y="77"/>
                      <a:pt x="156" y="78"/>
                    </a:cubicBezTo>
                    <a:cubicBezTo>
                      <a:pt x="156" y="78"/>
                      <a:pt x="156" y="78"/>
                      <a:pt x="156" y="78"/>
                    </a:cubicBezTo>
                    <a:cubicBezTo>
                      <a:pt x="157" y="78"/>
                      <a:pt x="158" y="78"/>
                      <a:pt x="158" y="78"/>
                    </a:cubicBezTo>
                    <a:cubicBezTo>
                      <a:pt x="159" y="78"/>
                      <a:pt x="159" y="78"/>
                      <a:pt x="159" y="78"/>
                    </a:cubicBezTo>
                    <a:cubicBezTo>
                      <a:pt x="159" y="78"/>
                      <a:pt x="159" y="78"/>
                      <a:pt x="159" y="78"/>
                    </a:cubicBezTo>
                    <a:cubicBezTo>
                      <a:pt x="160" y="77"/>
                      <a:pt x="160" y="77"/>
                      <a:pt x="160" y="77"/>
                    </a:cubicBezTo>
                    <a:cubicBezTo>
                      <a:pt x="160" y="77"/>
                      <a:pt x="160" y="77"/>
                      <a:pt x="160" y="77"/>
                    </a:cubicBezTo>
                    <a:cubicBezTo>
                      <a:pt x="161" y="76"/>
                      <a:pt x="163" y="75"/>
                      <a:pt x="166" y="75"/>
                    </a:cubicBezTo>
                    <a:cubicBezTo>
                      <a:pt x="166" y="75"/>
                      <a:pt x="166" y="75"/>
                      <a:pt x="166" y="75"/>
                    </a:cubicBezTo>
                    <a:cubicBezTo>
                      <a:pt x="167" y="75"/>
                      <a:pt x="167" y="75"/>
                      <a:pt x="167" y="75"/>
                    </a:cubicBezTo>
                    <a:cubicBezTo>
                      <a:pt x="168" y="75"/>
                      <a:pt x="169" y="75"/>
                      <a:pt x="170" y="76"/>
                    </a:cubicBezTo>
                    <a:cubicBezTo>
                      <a:pt x="170" y="75"/>
                      <a:pt x="170" y="75"/>
                      <a:pt x="170" y="74"/>
                    </a:cubicBezTo>
                    <a:cubicBezTo>
                      <a:pt x="171" y="73"/>
                      <a:pt x="171" y="73"/>
                      <a:pt x="171" y="73"/>
                    </a:cubicBezTo>
                    <a:cubicBezTo>
                      <a:pt x="171" y="73"/>
                      <a:pt x="172" y="72"/>
                      <a:pt x="172" y="72"/>
                    </a:cubicBezTo>
                    <a:cubicBezTo>
                      <a:pt x="172" y="72"/>
                      <a:pt x="172" y="72"/>
                      <a:pt x="172" y="72"/>
                    </a:cubicBezTo>
                    <a:cubicBezTo>
                      <a:pt x="174" y="70"/>
                      <a:pt x="174" y="70"/>
                      <a:pt x="174" y="70"/>
                    </a:cubicBezTo>
                    <a:cubicBezTo>
                      <a:pt x="175" y="70"/>
                      <a:pt x="175" y="70"/>
                      <a:pt x="175" y="70"/>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7" y="67"/>
                      <a:pt x="178" y="66"/>
                      <a:pt x="179" y="65"/>
                    </a:cubicBezTo>
                    <a:cubicBezTo>
                      <a:pt x="180" y="64"/>
                      <a:pt x="181" y="64"/>
                      <a:pt x="182" y="64"/>
                    </a:cubicBezTo>
                    <a:cubicBezTo>
                      <a:pt x="183" y="64"/>
                      <a:pt x="183" y="64"/>
                      <a:pt x="183" y="64"/>
                    </a:cubicBezTo>
                    <a:cubicBezTo>
                      <a:pt x="183" y="64"/>
                      <a:pt x="183" y="64"/>
                      <a:pt x="183" y="64"/>
                    </a:cubicBezTo>
                    <a:cubicBezTo>
                      <a:pt x="183" y="64"/>
                      <a:pt x="183" y="64"/>
                      <a:pt x="183" y="64"/>
                    </a:cubicBezTo>
                    <a:cubicBezTo>
                      <a:pt x="183" y="64"/>
                      <a:pt x="183" y="64"/>
                      <a:pt x="183" y="64"/>
                    </a:cubicBezTo>
                    <a:cubicBezTo>
                      <a:pt x="183" y="63"/>
                      <a:pt x="183" y="63"/>
                      <a:pt x="183" y="63"/>
                    </a:cubicBezTo>
                    <a:cubicBezTo>
                      <a:pt x="183" y="62"/>
                      <a:pt x="182" y="60"/>
                      <a:pt x="182" y="58"/>
                    </a:cubicBezTo>
                    <a:cubicBezTo>
                      <a:pt x="182" y="53"/>
                      <a:pt x="186" y="51"/>
                      <a:pt x="187" y="51"/>
                    </a:cubicBezTo>
                    <a:cubicBezTo>
                      <a:pt x="188" y="50"/>
                      <a:pt x="188" y="50"/>
                      <a:pt x="188" y="50"/>
                    </a:cubicBezTo>
                    <a:cubicBezTo>
                      <a:pt x="188" y="49"/>
                      <a:pt x="187" y="49"/>
                      <a:pt x="186" y="48"/>
                    </a:cubicBezTo>
                    <a:cubicBezTo>
                      <a:pt x="185" y="48"/>
                      <a:pt x="185" y="48"/>
                      <a:pt x="184" y="48"/>
                    </a:cubicBezTo>
                    <a:cubicBezTo>
                      <a:pt x="177" y="46"/>
                      <a:pt x="177" y="46"/>
                      <a:pt x="177" y="46"/>
                    </a:cubicBezTo>
                    <a:cubicBezTo>
                      <a:pt x="185" y="40"/>
                      <a:pt x="185" y="40"/>
                      <a:pt x="185" y="40"/>
                    </a:cubicBezTo>
                    <a:cubicBezTo>
                      <a:pt x="186" y="39"/>
                      <a:pt x="186" y="39"/>
                      <a:pt x="187" y="39"/>
                    </a:cubicBezTo>
                    <a:cubicBezTo>
                      <a:pt x="187" y="38"/>
                      <a:pt x="187" y="38"/>
                      <a:pt x="187" y="38"/>
                    </a:cubicBezTo>
                    <a:cubicBezTo>
                      <a:pt x="189" y="38"/>
                      <a:pt x="190" y="38"/>
                      <a:pt x="191" y="38"/>
                    </a:cubicBezTo>
                    <a:cubicBezTo>
                      <a:pt x="192" y="38"/>
                      <a:pt x="193" y="38"/>
                      <a:pt x="195" y="39"/>
                    </a:cubicBezTo>
                    <a:cubicBezTo>
                      <a:pt x="196" y="39"/>
                      <a:pt x="196" y="39"/>
                      <a:pt x="196" y="39"/>
                    </a:cubicBezTo>
                    <a:cubicBezTo>
                      <a:pt x="196" y="40"/>
                      <a:pt x="196" y="40"/>
                      <a:pt x="196" y="40"/>
                    </a:cubicBezTo>
                    <a:cubicBezTo>
                      <a:pt x="196" y="40"/>
                      <a:pt x="196" y="40"/>
                      <a:pt x="196" y="40"/>
                    </a:cubicBezTo>
                    <a:cubicBezTo>
                      <a:pt x="197" y="40"/>
                      <a:pt x="197" y="40"/>
                      <a:pt x="197" y="40"/>
                    </a:cubicBezTo>
                    <a:cubicBezTo>
                      <a:pt x="198" y="40"/>
                      <a:pt x="199" y="40"/>
                      <a:pt x="200" y="40"/>
                    </a:cubicBezTo>
                    <a:cubicBezTo>
                      <a:pt x="200" y="39"/>
                      <a:pt x="200" y="39"/>
                      <a:pt x="200" y="39"/>
                    </a:cubicBezTo>
                    <a:cubicBezTo>
                      <a:pt x="200" y="38"/>
                      <a:pt x="200" y="38"/>
                      <a:pt x="200" y="38"/>
                    </a:cubicBezTo>
                    <a:cubicBezTo>
                      <a:pt x="201" y="37"/>
                      <a:pt x="201" y="36"/>
                      <a:pt x="201" y="35"/>
                    </a:cubicBezTo>
                    <a:cubicBezTo>
                      <a:pt x="202" y="34"/>
                      <a:pt x="202" y="33"/>
                      <a:pt x="202" y="32"/>
                    </a:cubicBezTo>
                    <a:cubicBezTo>
                      <a:pt x="202" y="32"/>
                      <a:pt x="202" y="32"/>
                      <a:pt x="202" y="32"/>
                    </a:cubicBezTo>
                    <a:cubicBezTo>
                      <a:pt x="202" y="32"/>
                      <a:pt x="201" y="31"/>
                      <a:pt x="201" y="30"/>
                    </a:cubicBezTo>
                    <a:cubicBezTo>
                      <a:pt x="200" y="29"/>
                      <a:pt x="199" y="29"/>
                      <a:pt x="198" y="28"/>
                    </a:cubicBezTo>
                    <a:cubicBezTo>
                      <a:pt x="197" y="27"/>
                      <a:pt x="197" y="25"/>
                      <a:pt x="197" y="24"/>
                    </a:cubicBezTo>
                    <a:cubicBezTo>
                      <a:pt x="197" y="24"/>
                      <a:pt x="197" y="24"/>
                      <a:pt x="197" y="24"/>
                    </a:cubicBezTo>
                    <a:cubicBezTo>
                      <a:pt x="196" y="23"/>
                      <a:pt x="196" y="23"/>
                      <a:pt x="195" y="22"/>
                    </a:cubicBezTo>
                    <a:cubicBezTo>
                      <a:pt x="194" y="21"/>
                      <a:pt x="194" y="20"/>
                      <a:pt x="194" y="17"/>
                    </a:cubicBezTo>
                    <a:cubicBezTo>
                      <a:pt x="194" y="15"/>
                      <a:pt x="195" y="13"/>
                      <a:pt x="196" y="12"/>
                    </a:cubicBezTo>
                    <a:cubicBezTo>
                      <a:pt x="196" y="12"/>
                      <a:pt x="196" y="12"/>
                      <a:pt x="196" y="12"/>
                    </a:cubicBezTo>
                    <a:cubicBezTo>
                      <a:pt x="196" y="11"/>
                      <a:pt x="196" y="11"/>
                      <a:pt x="196" y="11"/>
                    </a:cubicBezTo>
                    <a:cubicBezTo>
                      <a:pt x="196" y="11"/>
                      <a:pt x="196" y="11"/>
                      <a:pt x="196" y="11"/>
                    </a:cubicBezTo>
                    <a:cubicBezTo>
                      <a:pt x="196" y="11"/>
                      <a:pt x="196" y="11"/>
                      <a:pt x="196" y="11"/>
                    </a:cubicBezTo>
                    <a:cubicBezTo>
                      <a:pt x="195" y="9"/>
                      <a:pt x="190" y="6"/>
                      <a:pt x="189" y="6"/>
                    </a:cubicBezTo>
                    <a:cubicBezTo>
                      <a:pt x="187" y="6"/>
                      <a:pt x="187" y="6"/>
                      <a:pt x="187" y="6"/>
                    </a:cubicBezTo>
                    <a:cubicBezTo>
                      <a:pt x="187" y="7"/>
                      <a:pt x="186" y="7"/>
                      <a:pt x="185" y="7"/>
                    </a:cubicBezTo>
                    <a:cubicBezTo>
                      <a:pt x="184" y="8"/>
                      <a:pt x="182" y="8"/>
                      <a:pt x="180" y="8"/>
                    </a:cubicBezTo>
                    <a:cubicBezTo>
                      <a:pt x="179" y="8"/>
                      <a:pt x="178" y="8"/>
                      <a:pt x="178" y="8"/>
                    </a:cubicBezTo>
                    <a:cubicBezTo>
                      <a:pt x="165" y="4"/>
                      <a:pt x="165" y="4"/>
                      <a:pt x="165" y="4"/>
                    </a:cubicBezTo>
                    <a:cubicBezTo>
                      <a:pt x="164" y="4"/>
                      <a:pt x="164" y="4"/>
                      <a:pt x="163" y="4"/>
                    </a:cubicBezTo>
                    <a:cubicBezTo>
                      <a:pt x="162" y="3"/>
                      <a:pt x="160" y="2"/>
                      <a:pt x="159" y="2"/>
                    </a:cubicBezTo>
                    <a:cubicBezTo>
                      <a:pt x="158" y="2"/>
                      <a:pt x="157" y="2"/>
                      <a:pt x="156" y="2"/>
                    </a:cubicBezTo>
                    <a:cubicBezTo>
                      <a:pt x="154" y="2"/>
                      <a:pt x="154" y="2"/>
                      <a:pt x="154" y="2"/>
                    </a:cubicBezTo>
                    <a:cubicBezTo>
                      <a:pt x="154" y="2"/>
                      <a:pt x="154" y="2"/>
                      <a:pt x="154" y="2"/>
                    </a:cubicBezTo>
                    <a:cubicBezTo>
                      <a:pt x="153" y="2"/>
                      <a:pt x="153" y="2"/>
                      <a:pt x="152" y="2"/>
                    </a:cubicBezTo>
                    <a:cubicBezTo>
                      <a:pt x="152" y="2"/>
                      <a:pt x="152" y="2"/>
                      <a:pt x="152" y="2"/>
                    </a:cubicBezTo>
                    <a:cubicBezTo>
                      <a:pt x="150" y="1"/>
                      <a:pt x="148" y="1"/>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280"/>
              <p:cNvSpPr/>
              <p:nvPr/>
            </p:nvSpPr>
            <p:spPr bwMode="auto">
              <a:xfrm>
                <a:off x="5586636" y="4385288"/>
                <a:ext cx="224792" cy="117924"/>
              </a:xfrm>
              <a:custGeom>
                <a:gdLst>
                  <a:gd name="T0" fmla="*/ 58 w 71"/>
                  <a:gd name="T1" fmla="*/ 1 h 37"/>
                  <a:gd name="T2" fmla="*/ 54 w 71"/>
                  <a:gd name="T3" fmla="*/ 3 h 37"/>
                  <a:gd name="T4" fmla="*/ 52 w 71"/>
                  <a:gd name="T5" fmla="*/ 3 h 37"/>
                  <a:gd name="T6" fmla="*/ 47 w 71"/>
                  <a:gd name="T7" fmla="*/ 2 h 37"/>
                  <a:gd name="T8" fmla="*/ 44 w 71"/>
                  <a:gd name="T9" fmla="*/ 2 h 37"/>
                  <a:gd name="T10" fmla="*/ 40 w 71"/>
                  <a:gd name="T11" fmla="*/ 2 h 37"/>
                  <a:gd name="T12" fmla="*/ 37 w 71"/>
                  <a:gd name="T13" fmla="*/ 4 h 37"/>
                  <a:gd name="T14" fmla="*/ 33 w 71"/>
                  <a:gd name="T15" fmla="*/ 8 h 37"/>
                  <a:gd name="T16" fmla="*/ 26 w 71"/>
                  <a:gd name="T17" fmla="*/ 12 h 37"/>
                  <a:gd name="T18" fmla="*/ 22 w 71"/>
                  <a:gd name="T19" fmla="*/ 10 h 37"/>
                  <a:gd name="T20" fmla="*/ 20 w 71"/>
                  <a:gd name="T21" fmla="*/ 10 h 37"/>
                  <a:gd name="T22" fmla="*/ 18 w 71"/>
                  <a:gd name="T23" fmla="*/ 10 h 37"/>
                  <a:gd name="T24" fmla="*/ 15 w 71"/>
                  <a:gd name="T25" fmla="*/ 9 h 37"/>
                  <a:gd name="T26" fmla="*/ 11 w 71"/>
                  <a:gd name="T27" fmla="*/ 8 h 37"/>
                  <a:gd name="T28" fmla="*/ 7 w 71"/>
                  <a:gd name="T29" fmla="*/ 7 h 37"/>
                  <a:gd name="T30" fmla="*/ 4 w 71"/>
                  <a:gd name="T31" fmla="*/ 7 h 37"/>
                  <a:gd name="T32" fmla="*/ 2 w 71"/>
                  <a:gd name="T33" fmla="*/ 12 h 37"/>
                  <a:gd name="T34" fmla="*/ 3 w 71"/>
                  <a:gd name="T35" fmla="*/ 18 h 37"/>
                  <a:gd name="T36" fmla="*/ 2 w 71"/>
                  <a:gd name="T37" fmla="*/ 19 h 37"/>
                  <a:gd name="T38" fmla="*/ 2 w 71"/>
                  <a:gd name="T39" fmla="*/ 22 h 37"/>
                  <a:gd name="T40" fmla="*/ 2 w 71"/>
                  <a:gd name="T41" fmla="*/ 26 h 37"/>
                  <a:gd name="T42" fmla="*/ 5 w 71"/>
                  <a:gd name="T43" fmla="*/ 28 h 37"/>
                  <a:gd name="T44" fmla="*/ 9 w 71"/>
                  <a:gd name="T45" fmla="*/ 31 h 37"/>
                  <a:gd name="T46" fmla="*/ 11 w 71"/>
                  <a:gd name="T47" fmla="*/ 36 h 37"/>
                  <a:gd name="T48" fmla="*/ 13 w 71"/>
                  <a:gd name="T49" fmla="*/ 36 h 37"/>
                  <a:gd name="T50" fmla="*/ 23 w 71"/>
                  <a:gd name="T51" fmla="*/ 32 h 37"/>
                  <a:gd name="T52" fmla="*/ 29 w 71"/>
                  <a:gd name="T53" fmla="*/ 31 h 37"/>
                  <a:gd name="T54" fmla="*/ 31 w 71"/>
                  <a:gd name="T55" fmla="*/ 33 h 37"/>
                  <a:gd name="T56" fmla="*/ 36 w 71"/>
                  <a:gd name="T57" fmla="*/ 36 h 37"/>
                  <a:gd name="T58" fmla="*/ 37 w 71"/>
                  <a:gd name="T59" fmla="*/ 36 h 37"/>
                  <a:gd name="T60" fmla="*/ 40 w 71"/>
                  <a:gd name="T61" fmla="*/ 36 h 37"/>
                  <a:gd name="T62" fmla="*/ 43 w 71"/>
                  <a:gd name="T63" fmla="*/ 37 h 37"/>
                  <a:gd name="T64" fmla="*/ 44 w 71"/>
                  <a:gd name="T65" fmla="*/ 35 h 37"/>
                  <a:gd name="T66" fmla="*/ 44 w 71"/>
                  <a:gd name="T67" fmla="*/ 29 h 37"/>
                  <a:gd name="T68" fmla="*/ 54 w 71"/>
                  <a:gd name="T69" fmla="*/ 22 h 37"/>
                  <a:gd name="T70" fmla="*/ 53 w 71"/>
                  <a:gd name="T71" fmla="*/ 19 h 37"/>
                  <a:gd name="T72" fmla="*/ 55 w 71"/>
                  <a:gd name="T73" fmla="*/ 12 h 37"/>
                  <a:gd name="T74" fmla="*/ 57 w 71"/>
                  <a:gd name="T75" fmla="*/ 10 h 37"/>
                  <a:gd name="T76" fmla="*/ 61 w 71"/>
                  <a:gd name="T77" fmla="*/ 9 h 37"/>
                  <a:gd name="T78" fmla="*/ 64 w 71"/>
                  <a:gd name="T79" fmla="*/ 9 h 37"/>
                  <a:gd name="T80" fmla="*/ 65 w 71"/>
                  <a:gd name="T81" fmla="*/ 8 h 37"/>
                  <a:gd name="T82" fmla="*/ 68 w 71"/>
                  <a:gd name="T83" fmla="*/ 5 h 37"/>
                  <a:gd name="T84" fmla="*/ 71 w 71"/>
                  <a:gd name="T85" fmla="*/ 3 h 37"/>
                  <a:gd name="T86" fmla="*/ 64 w 71"/>
                  <a:gd name="T87" fmla="*/ 1 h 37"/>
                  <a:gd name="T88" fmla="*/ 61 w 71"/>
                  <a:gd name="T89"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 h="37">
                    <a:moveTo>
                      <a:pt x="60" y="0"/>
                    </a:moveTo>
                    <a:cubicBezTo>
                      <a:pt x="59" y="0"/>
                      <a:pt x="59" y="0"/>
                      <a:pt x="58" y="1"/>
                    </a:cubicBezTo>
                    <a:cubicBezTo>
                      <a:pt x="57" y="1"/>
                      <a:pt x="56" y="2"/>
                      <a:pt x="55" y="2"/>
                    </a:cubicBezTo>
                    <a:cubicBezTo>
                      <a:pt x="54" y="3"/>
                      <a:pt x="54" y="3"/>
                      <a:pt x="54" y="3"/>
                    </a:cubicBezTo>
                    <a:cubicBezTo>
                      <a:pt x="54" y="3"/>
                      <a:pt x="53" y="3"/>
                      <a:pt x="53" y="3"/>
                    </a:cubicBezTo>
                    <a:cubicBezTo>
                      <a:pt x="53" y="3"/>
                      <a:pt x="52" y="3"/>
                      <a:pt x="52" y="3"/>
                    </a:cubicBezTo>
                    <a:cubicBezTo>
                      <a:pt x="51" y="3"/>
                      <a:pt x="50" y="3"/>
                      <a:pt x="49" y="2"/>
                    </a:cubicBezTo>
                    <a:cubicBezTo>
                      <a:pt x="48" y="2"/>
                      <a:pt x="47" y="2"/>
                      <a:pt x="47" y="2"/>
                    </a:cubicBezTo>
                    <a:cubicBezTo>
                      <a:pt x="47" y="2"/>
                      <a:pt x="46" y="2"/>
                      <a:pt x="46" y="2"/>
                    </a:cubicBezTo>
                    <a:cubicBezTo>
                      <a:pt x="45" y="2"/>
                      <a:pt x="45" y="2"/>
                      <a:pt x="44" y="2"/>
                    </a:cubicBezTo>
                    <a:cubicBezTo>
                      <a:pt x="43" y="2"/>
                      <a:pt x="43" y="2"/>
                      <a:pt x="42" y="2"/>
                    </a:cubicBezTo>
                    <a:cubicBezTo>
                      <a:pt x="40" y="2"/>
                      <a:pt x="40" y="2"/>
                      <a:pt x="40" y="2"/>
                    </a:cubicBezTo>
                    <a:cubicBezTo>
                      <a:pt x="39" y="3"/>
                      <a:pt x="39" y="3"/>
                      <a:pt x="38" y="4"/>
                    </a:cubicBezTo>
                    <a:cubicBezTo>
                      <a:pt x="37" y="4"/>
                      <a:pt x="37" y="4"/>
                      <a:pt x="37" y="4"/>
                    </a:cubicBezTo>
                    <a:cubicBezTo>
                      <a:pt x="37" y="5"/>
                      <a:pt x="36" y="5"/>
                      <a:pt x="36" y="6"/>
                    </a:cubicBezTo>
                    <a:cubicBezTo>
                      <a:pt x="35" y="7"/>
                      <a:pt x="34" y="7"/>
                      <a:pt x="33" y="8"/>
                    </a:cubicBezTo>
                    <a:cubicBezTo>
                      <a:pt x="30" y="10"/>
                      <a:pt x="28" y="11"/>
                      <a:pt x="27" y="12"/>
                    </a:cubicBezTo>
                    <a:cubicBezTo>
                      <a:pt x="26" y="12"/>
                      <a:pt x="26" y="12"/>
                      <a:pt x="26" y="12"/>
                    </a:cubicBezTo>
                    <a:cubicBezTo>
                      <a:pt x="25" y="12"/>
                      <a:pt x="25" y="12"/>
                      <a:pt x="25" y="12"/>
                    </a:cubicBezTo>
                    <a:cubicBezTo>
                      <a:pt x="24" y="11"/>
                      <a:pt x="22" y="10"/>
                      <a:pt x="22" y="10"/>
                    </a:cubicBezTo>
                    <a:cubicBezTo>
                      <a:pt x="21" y="10"/>
                      <a:pt x="21" y="10"/>
                      <a:pt x="21" y="10"/>
                    </a:cubicBezTo>
                    <a:cubicBezTo>
                      <a:pt x="20" y="10"/>
                      <a:pt x="20" y="10"/>
                      <a:pt x="20" y="10"/>
                    </a:cubicBezTo>
                    <a:cubicBezTo>
                      <a:pt x="20" y="10"/>
                      <a:pt x="19" y="10"/>
                      <a:pt x="19" y="10"/>
                    </a:cubicBezTo>
                    <a:cubicBezTo>
                      <a:pt x="18" y="10"/>
                      <a:pt x="18" y="10"/>
                      <a:pt x="18" y="10"/>
                    </a:cubicBezTo>
                    <a:cubicBezTo>
                      <a:pt x="18" y="10"/>
                      <a:pt x="18" y="10"/>
                      <a:pt x="18" y="10"/>
                    </a:cubicBezTo>
                    <a:cubicBezTo>
                      <a:pt x="16" y="10"/>
                      <a:pt x="15" y="10"/>
                      <a:pt x="15" y="9"/>
                    </a:cubicBezTo>
                    <a:cubicBezTo>
                      <a:pt x="14" y="9"/>
                      <a:pt x="13" y="9"/>
                      <a:pt x="11" y="8"/>
                    </a:cubicBezTo>
                    <a:cubicBezTo>
                      <a:pt x="11" y="8"/>
                      <a:pt x="11" y="8"/>
                      <a:pt x="11" y="8"/>
                    </a:cubicBezTo>
                    <a:cubicBezTo>
                      <a:pt x="10" y="8"/>
                      <a:pt x="10" y="8"/>
                      <a:pt x="10" y="8"/>
                    </a:cubicBezTo>
                    <a:cubicBezTo>
                      <a:pt x="9" y="8"/>
                      <a:pt x="8" y="7"/>
                      <a:pt x="7" y="7"/>
                    </a:cubicBezTo>
                    <a:cubicBezTo>
                      <a:pt x="5" y="7"/>
                      <a:pt x="5" y="7"/>
                      <a:pt x="5" y="7"/>
                    </a:cubicBezTo>
                    <a:cubicBezTo>
                      <a:pt x="4" y="7"/>
                      <a:pt x="4" y="7"/>
                      <a:pt x="4" y="7"/>
                    </a:cubicBezTo>
                    <a:cubicBezTo>
                      <a:pt x="3" y="9"/>
                      <a:pt x="2" y="10"/>
                      <a:pt x="0" y="11"/>
                    </a:cubicBezTo>
                    <a:cubicBezTo>
                      <a:pt x="1" y="12"/>
                      <a:pt x="2" y="12"/>
                      <a:pt x="2" y="12"/>
                    </a:cubicBezTo>
                    <a:cubicBezTo>
                      <a:pt x="7" y="15"/>
                      <a:pt x="7" y="15"/>
                      <a:pt x="7" y="15"/>
                    </a:cubicBezTo>
                    <a:cubicBezTo>
                      <a:pt x="3" y="18"/>
                      <a:pt x="3" y="18"/>
                      <a:pt x="3" y="18"/>
                    </a:cubicBezTo>
                    <a:cubicBezTo>
                      <a:pt x="3" y="19"/>
                      <a:pt x="3" y="19"/>
                      <a:pt x="3" y="19"/>
                    </a:cubicBezTo>
                    <a:cubicBezTo>
                      <a:pt x="2" y="19"/>
                      <a:pt x="2" y="19"/>
                      <a:pt x="2" y="19"/>
                    </a:cubicBezTo>
                    <a:cubicBezTo>
                      <a:pt x="1" y="20"/>
                      <a:pt x="1" y="20"/>
                      <a:pt x="1" y="20"/>
                    </a:cubicBezTo>
                    <a:cubicBezTo>
                      <a:pt x="2" y="21"/>
                      <a:pt x="2" y="21"/>
                      <a:pt x="2" y="22"/>
                    </a:cubicBezTo>
                    <a:cubicBezTo>
                      <a:pt x="3" y="23"/>
                      <a:pt x="3" y="24"/>
                      <a:pt x="3" y="25"/>
                    </a:cubicBezTo>
                    <a:cubicBezTo>
                      <a:pt x="3" y="25"/>
                      <a:pt x="3" y="26"/>
                      <a:pt x="2" y="26"/>
                    </a:cubicBezTo>
                    <a:cubicBezTo>
                      <a:pt x="2" y="26"/>
                      <a:pt x="2" y="26"/>
                      <a:pt x="2" y="26"/>
                    </a:cubicBezTo>
                    <a:cubicBezTo>
                      <a:pt x="3" y="27"/>
                      <a:pt x="4" y="27"/>
                      <a:pt x="5" y="28"/>
                    </a:cubicBezTo>
                    <a:cubicBezTo>
                      <a:pt x="6" y="28"/>
                      <a:pt x="7" y="29"/>
                      <a:pt x="8" y="30"/>
                    </a:cubicBezTo>
                    <a:cubicBezTo>
                      <a:pt x="8" y="31"/>
                      <a:pt x="8" y="31"/>
                      <a:pt x="9" y="31"/>
                    </a:cubicBezTo>
                    <a:cubicBezTo>
                      <a:pt x="9" y="32"/>
                      <a:pt x="9" y="32"/>
                      <a:pt x="10" y="32"/>
                    </a:cubicBezTo>
                    <a:cubicBezTo>
                      <a:pt x="11" y="33"/>
                      <a:pt x="11" y="35"/>
                      <a:pt x="11" y="36"/>
                    </a:cubicBezTo>
                    <a:cubicBezTo>
                      <a:pt x="11" y="36"/>
                      <a:pt x="11" y="36"/>
                      <a:pt x="11" y="36"/>
                    </a:cubicBezTo>
                    <a:cubicBezTo>
                      <a:pt x="12" y="36"/>
                      <a:pt x="12" y="36"/>
                      <a:pt x="13" y="36"/>
                    </a:cubicBezTo>
                    <a:cubicBezTo>
                      <a:pt x="13" y="37"/>
                      <a:pt x="14" y="37"/>
                      <a:pt x="15" y="37"/>
                    </a:cubicBezTo>
                    <a:cubicBezTo>
                      <a:pt x="18" y="37"/>
                      <a:pt x="22" y="34"/>
                      <a:pt x="23" y="32"/>
                    </a:cubicBezTo>
                    <a:cubicBezTo>
                      <a:pt x="25" y="28"/>
                      <a:pt x="25" y="28"/>
                      <a:pt x="25" y="28"/>
                    </a:cubicBezTo>
                    <a:cubicBezTo>
                      <a:pt x="29" y="31"/>
                      <a:pt x="29" y="31"/>
                      <a:pt x="29" y="31"/>
                    </a:cubicBezTo>
                    <a:cubicBezTo>
                      <a:pt x="29" y="32"/>
                      <a:pt x="30" y="32"/>
                      <a:pt x="30" y="33"/>
                    </a:cubicBezTo>
                    <a:cubicBezTo>
                      <a:pt x="31" y="33"/>
                      <a:pt x="31" y="33"/>
                      <a:pt x="31" y="33"/>
                    </a:cubicBezTo>
                    <a:cubicBezTo>
                      <a:pt x="32" y="34"/>
                      <a:pt x="33" y="35"/>
                      <a:pt x="33" y="36"/>
                    </a:cubicBezTo>
                    <a:cubicBezTo>
                      <a:pt x="34" y="36"/>
                      <a:pt x="35" y="36"/>
                      <a:pt x="36" y="36"/>
                    </a:cubicBezTo>
                    <a:cubicBezTo>
                      <a:pt x="36" y="36"/>
                      <a:pt x="36" y="36"/>
                      <a:pt x="36" y="36"/>
                    </a:cubicBezTo>
                    <a:cubicBezTo>
                      <a:pt x="37" y="36"/>
                      <a:pt x="37" y="36"/>
                      <a:pt x="37" y="36"/>
                    </a:cubicBezTo>
                    <a:cubicBezTo>
                      <a:pt x="37" y="36"/>
                      <a:pt x="38" y="36"/>
                      <a:pt x="39" y="36"/>
                    </a:cubicBezTo>
                    <a:cubicBezTo>
                      <a:pt x="40" y="36"/>
                      <a:pt x="40" y="36"/>
                      <a:pt x="40" y="36"/>
                    </a:cubicBezTo>
                    <a:cubicBezTo>
                      <a:pt x="41" y="36"/>
                      <a:pt x="42" y="37"/>
                      <a:pt x="43" y="37"/>
                    </a:cubicBezTo>
                    <a:cubicBezTo>
                      <a:pt x="43" y="37"/>
                      <a:pt x="43" y="37"/>
                      <a:pt x="43" y="37"/>
                    </a:cubicBezTo>
                    <a:cubicBezTo>
                      <a:pt x="43" y="37"/>
                      <a:pt x="44" y="36"/>
                      <a:pt x="44" y="36"/>
                    </a:cubicBezTo>
                    <a:cubicBezTo>
                      <a:pt x="44" y="36"/>
                      <a:pt x="44" y="35"/>
                      <a:pt x="44" y="35"/>
                    </a:cubicBezTo>
                    <a:cubicBezTo>
                      <a:pt x="39" y="33"/>
                      <a:pt x="39" y="33"/>
                      <a:pt x="39" y="33"/>
                    </a:cubicBezTo>
                    <a:cubicBezTo>
                      <a:pt x="44" y="29"/>
                      <a:pt x="44" y="29"/>
                      <a:pt x="44" y="29"/>
                    </a:cubicBezTo>
                    <a:cubicBezTo>
                      <a:pt x="46" y="28"/>
                      <a:pt x="47" y="27"/>
                      <a:pt x="49" y="26"/>
                    </a:cubicBezTo>
                    <a:cubicBezTo>
                      <a:pt x="51" y="25"/>
                      <a:pt x="52" y="24"/>
                      <a:pt x="54" y="22"/>
                    </a:cubicBezTo>
                    <a:cubicBezTo>
                      <a:pt x="55" y="22"/>
                      <a:pt x="55" y="22"/>
                      <a:pt x="55" y="22"/>
                    </a:cubicBezTo>
                    <a:cubicBezTo>
                      <a:pt x="54" y="21"/>
                      <a:pt x="53" y="20"/>
                      <a:pt x="53" y="19"/>
                    </a:cubicBezTo>
                    <a:cubicBezTo>
                      <a:pt x="52" y="17"/>
                      <a:pt x="53" y="15"/>
                      <a:pt x="54" y="13"/>
                    </a:cubicBezTo>
                    <a:cubicBezTo>
                      <a:pt x="55" y="12"/>
                      <a:pt x="55" y="12"/>
                      <a:pt x="55" y="12"/>
                    </a:cubicBezTo>
                    <a:cubicBezTo>
                      <a:pt x="55" y="12"/>
                      <a:pt x="56" y="11"/>
                      <a:pt x="57" y="11"/>
                    </a:cubicBezTo>
                    <a:cubicBezTo>
                      <a:pt x="57" y="10"/>
                      <a:pt x="57" y="10"/>
                      <a:pt x="57" y="10"/>
                    </a:cubicBezTo>
                    <a:cubicBezTo>
                      <a:pt x="58" y="10"/>
                      <a:pt x="59" y="10"/>
                      <a:pt x="59" y="10"/>
                    </a:cubicBezTo>
                    <a:cubicBezTo>
                      <a:pt x="60" y="10"/>
                      <a:pt x="60" y="9"/>
                      <a:pt x="61" y="9"/>
                    </a:cubicBezTo>
                    <a:cubicBezTo>
                      <a:pt x="62" y="9"/>
                      <a:pt x="62" y="9"/>
                      <a:pt x="62" y="9"/>
                    </a:cubicBezTo>
                    <a:cubicBezTo>
                      <a:pt x="63" y="9"/>
                      <a:pt x="63" y="9"/>
                      <a:pt x="64" y="9"/>
                    </a:cubicBezTo>
                    <a:cubicBezTo>
                      <a:pt x="64" y="8"/>
                      <a:pt x="65" y="8"/>
                      <a:pt x="65" y="8"/>
                    </a:cubicBezTo>
                    <a:cubicBezTo>
                      <a:pt x="65" y="8"/>
                      <a:pt x="65" y="8"/>
                      <a:pt x="65" y="8"/>
                    </a:cubicBezTo>
                    <a:cubicBezTo>
                      <a:pt x="66" y="7"/>
                      <a:pt x="66" y="7"/>
                      <a:pt x="66" y="7"/>
                    </a:cubicBezTo>
                    <a:cubicBezTo>
                      <a:pt x="66" y="6"/>
                      <a:pt x="67" y="5"/>
                      <a:pt x="68" y="5"/>
                    </a:cubicBezTo>
                    <a:cubicBezTo>
                      <a:pt x="69" y="5"/>
                      <a:pt x="70" y="4"/>
                      <a:pt x="71" y="4"/>
                    </a:cubicBezTo>
                    <a:cubicBezTo>
                      <a:pt x="71" y="4"/>
                      <a:pt x="71" y="3"/>
                      <a:pt x="71" y="3"/>
                    </a:cubicBezTo>
                    <a:cubicBezTo>
                      <a:pt x="67" y="2"/>
                      <a:pt x="67" y="2"/>
                      <a:pt x="67" y="2"/>
                    </a:cubicBezTo>
                    <a:cubicBezTo>
                      <a:pt x="66" y="2"/>
                      <a:pt x="65" y="1"/>
                      <a:pt x="64" y="1"/>
                    </a:cubicBezTo>
                    <a:cubicBezTo>
                      <a:pt x="63" y="1"/>
                      <a:pt x="63" y="1"/>
                      <a:pt x="63" y="1"/>
                    </a:cubicBezTo>
                    <a:cubicBezTo>
                      <a:pt x="62" y="0"/>
                      <a:pt x="61" y="0"/>
                      <a:pt x="61" y="0"/>
                    </a:cubicBezTo>
                    <a:cubicBezTo>
                      <a:pt x="60" y="0"/>
                      <a:pt x="60" y="0"/>
                      <a:pt x="6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281"/>
              <p:cNvSpPr/>
              <p:nvPr/>
            </p:nvSpPr>
            <p:spPr bwMode="auto">
              <a:xfrm>
                <a:off x="5811428" y="4366863"/>
                <a:ext cx="14740" cy="22111"/>
              </a:xfrm>
              <a:custGeom>
                <a:gdLst>
                  <a:gd name="T0" fmla="*/ 2 w 4"/>
                  <a:gd name="T1" fmla="*/ 0 h 6"/>
                  <a:gd name="T2" fmla="*/ 1 w 4"/>
                  <a:gd name="T3" fmla="*/ 0 h 6"/>
                  <a:gd name="T4" fmla="*/ 0 w 4"/>
                  <a:gd name="T5" fmla="*/ 0 h 6"/>
                  <a:gd name="T6" fmla="*/ 0 w 4"/>
                  <a:gd name="T7" fmla="*/ 0 h 6"/>
                  <a:gd name="T8" fmla="*/ 0 w 4"/>
                  <a:gd name="T9" fmla="*/ 0 h 6"/>
                  <a:gd name="T10" fmla="*/ 0 w 4"/>
                  <a:gd name="T11" fmla="*/ 2 h 6"/>
                  <a:gd name="T12" fmla="*/ 2 w 4"/>
                  <a:gd name="T13" fmla="*/ 6 h 6"/>
                  <a:gd name="T14" fmla="*/ 3 w 4"/>
                  <a:gd name="T15" fmla="*/ 5 h 6"/>
                  <a:gd name="T16" fmla="*/ 4 w 4"/>
                  <a:gd name="T17" fmla="*/ 5 h 6"/>
                  <a:gd name="T18" fmla="*/ 3 w 4"/>
                  <a:gd name="T19" fmla="*/ 4 h 6"/>
                  <a:gd name="T20" fmla="*/ 2 w 4"/>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0"/>
                    </a:moveTo>
                    <a:cubicBezTo>
                      <a:pt x="1" y="0"/>
                      <a:pt x="1" y="0"/>
                      <a:pt x="1" y="0"/>
                    </a:cubicBezTo>
                    <a:cubicBezTo>
                      <a:pt x="0" y="0"/>
                      <a:pt x="0" y="0"/>
                      <a:pt x="0" y="0"/>
                    </a:cubicBezTo>
                    <a:cubicBezTo>
                      <a:pt x="0" y="0"/>
                      <a:pt x="0" y="0"/>
                      <a:pt x="0" y="0"/>
                    </a:cubicBezTo>
                    <a:cubicBezTo>
                      <a:pt x="0" y="0"/>
                      <a:pt x="0" y="0"/>
                      <a:pt x="0" y="0"/>
                    </a:cubicBezTo>
                    <a:cubicBezTo>
                      <a:pt x="0" y="0"/>
                      <a:pt x="0" y="1"/>
                      <a:pt x="0" y="2"/>
                    </a:cubicBezTo>
                    <a:cubicBezTo>
                      <a:pt x="2" y="6"/>
                      <a:pt x="2" y="6"/>
                      <a:pt x="2" y="6"/>
                    </a:cubicBezTo>
                    <a:cubicBezTo>
                      <a:pt x="2" y="5"/>
                      <a:pt x="2" y="5"/>
                      <a:pt x="3" y="5"/>
                    </a:cubicBezTo>
                    <a:cubicBezTo>
                      <a:pt x="4" y="5"/>
                      <a:pt x="4" y="5"/>
                      <a:pt x="4" y="5"/>
                    </a:cubicBezTo>
                    <a:cubicBezTo>
                      <a:pt x="3" y="4"/>
                      <a:pt x="3" y="4"/>
                      <a:pt x="3" y="4"/>
                    </a:cubicBezTo>
                    <a:cubicBezTo>
                      <a:pt x="3"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282"/>
              <p:cNvSpPr/>
              <p:nvPr/>
            </p:nvSpPr>
            <p:spPr bwMode="auto">
              <a:xfrm>
                <a:off x="6062016" y="4554804"/>
                <a:ext cx="3685" cy="14740"/>
              </a:xfrm>
              <a:custGeom>
                <a:gdLst>
                  <a:gd name="T0" fmla="*/ 1 w 1"/>
                  <a:gd name="T1" fmla="*/ 0 h 4"/>
                  <a:gd name="T2" fmla="*/ 0 w 1"/>
                  <a:gd name="T3" fmla="*/ 3 h 4"/>
                  <a:gd name="T4" fmla="*/ 1 w 1"/>
                  <a:gd name="T5" fmla="*/ 4 h 4"/>
                  <a:gd name="T6" fmla="*/ 1 w 1"/>
                  <a:gd name="T7" fmla="*/ 4 h 4"/>
                  <a:gd name="T8" fmla="*/ 1 w 1"/>
                  <a:gd name="T9" fmla="*/ 0 h 4"/>
                </a:gdLst>
                <a:cxnLst>
                  <a:cxn ang="0">
                    <a:pos x="T0" y="T1"/>
                  </a:cxn>
                  <a:cxn ang="0">
                    <a:pos x="T2" y="T3"/>
                  </a:cxn>
                  <a:cxn ang="0">
                    <a:pos x="T4" y="T5"/>
                  </a:cxn>
                  <a:cxn ang="0">
                    <a:pos x="T6" y="T7"/>
                  </a:cxn>
                  <a:cxn ang="0">
                    <a:pos x="T8" y="T9"/>
                  </a:cxn>
                </a:cxnLst>
                <a:rect l="0" t="0" r="r" b="b"/>
                <a:pathLst>
                  <a:path w="1" h="4">
                    <a:moveTo>
                      <a:pt x="1" y="0"/>
                    </a:moveTo>
                    <a:cubicBezTo>
                      <a:pt x="0" y="3"/>
                      <a:pt x="0" y="3"/>
                      <a:pt x="0" y="3"/>
                    </a:cubicBezTo>
                    <a:cubicBezTo>
                      <a:pt x="0" y="4"/>
                      <a:pt x="1" y="4"/>
                      <a:pt x="1" y="4"/>
                    </a:cubicBezTo>
                    <a:cubicBezTo>
                      <a:pt x="1" y="4"/>
                      <a:pt x="1" y="4"/>
                      <a:pt x="1" y="4"/>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Rectangle 283"/>
              <p:cNvSpPr>
                <a:spLocks noChangeArrowheads="1"/>
              </p:cNvSpPr>
              <p:nvPr/>
            </p:nvSpPr>
            <p:spPr bwMode="auto">
              <a:xfrm>
                <a:off x="6076756" y="45400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Rectangle 284"/>
              <p:cNvSpPr>
                <a:spLocks noChangeArrowheads="1"/>
              </p:cNvSpPr>
              <p:nvPr/>
            </p:nvSpPr>
            <p:spPr bwMode="auto">
              <a:xfrm>
                <a:off x="6076756" y="45400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285"/>
              <p:cNvSpPr/>
              <p:nvPr/>
            </p:nvSpPr>
            <p:spPr bwMode="auto">
              <a:xfrm>
                <a:off x="5575580" y="4407399"/>
                <a:ext cx="501176" cy="379567"/>
              </a:xfrm>
              <a:custGeom>
                <a:gdLst>
                  <a:gd name="T0" fmla="*/ 83 w 158"/>
                  <a:gd name="T1" fmla="*/ 5 h 120"/>
                  <a:gd name="T2" fmla="*/ 77 w 158"/>
                  <a:gd name="T3" fmla="*/ 5 h 120"/>
                  <a:gd name="T4" fmla="*/ 72 w 158"/>
                  <a:gd name="T5" fmla="*/ 8 h 120"/>
                  <a:gd name="T6" fmla="*/ 65 w 158"/>
                  <a:gd name="T7" fmla="*/ 9 h 120"/>
                  <a:gd name="T8" fmla="*/ 64 w 158"/>
                  <a:gd name="T9" fmla="*/ 10 h 120"/>
                  <a:gd name="T10" fmla="*/ 66 w 158"/>
                  <a:gd name="T11" fmla="*/ 15 h 120"/>
                  <a:gd name="T12" fmla="*/ 56 w 158"/>
                  <a:gd name="T13" fmla="*/ 25 h 120"/>
                  <a:gd name="T14" fmla="*/ 55 w 158"/>
                  <a:gd name="T15" fmla="*/ 32 h 120"/>
                  <a:gd name="T16" fmla="*/ 50 w 158"/>
                  <a:gd name="T17" fmla="*/ 37 h 120"/>
                  <a:gd name="T18" fmla="*/ 47 w 158"/>
                  <a:gd name="T19" fmla="*/ 37 h 120"/>
                  <a:gd name="T20" fmla="*/ 40 w 158"/>
                  <a:gd name="T21" fmla="*/ 36 h 120"/>
                  <a:gd name="T22" fmla="*/ 35 w 158"/>
                  <a:gd name="T23" fmla="*/ 35 h 120"/>
                  <a:gd name="T24" fmla="*/ 14 w 158"/>
                  <a:gd name="T25" fmla="*/ 36 h 120"/>
                  <a:gd name="T26" fmla="*/ 2 w 158"/>
                  <a:gd name="T27" fmla="*/ 37 h 120"/>
                  <a:gd name="T28" fmla="*/ 3 w 158"/>
                  <a:gd name="T29" fmla="*/ 42 h 120"/>
                  <a:gd name="T30" fmla="*/ 8 w 158"/>
                  <a:gd name="T31" fmla="*/ 55 h 120"/>
                  <a:gd name="T32" fmla="*/ 19 w 158"/>
                  <a:gd name="T33" fmla="*/ 50 h 120"/>
                  <a:gd name="T34" fmla="*/ 30 w 158"/>
                  <a:gd name="T35" fmla="*/ 42 h 120"/>
                  <a:gd name="T36" fmla="*/ 46 w 158"/>
                  <a:gd name="T37" fmla="*/ 68 h 120"/>
                  <a:gd name="T38" fmla="*/ 48 w 158"/>
                  <a:gd name="T39" fmla="*/ 76 h 120"/>
                  <a:gd name="T40" fmla="*/ 61 w 158"/>
                  <a:gd name="T41" fmla="*/ 91 h 120"/>
                  <a:gd name="T42" fmla="*/ 75 w 158"/>
                  <a:gd name="T43" fmla="*/ 102 h 120"/>
                  <a:gd name="T44" fmla="*/ 81 w 158"/>
                  <a:gd name="T45" fmla="*/ 101 h 120"/>
                  <a:gd name="T46" fmla="*/ 113 w 158"/>
                  <a:gd name="T47" fmla="*/ 120 h 120"/>
                  <a:gd name="T48" fmla="*/ 105 w 158"/>
                  <a:gd name="T49" fmla="*/ 107 h 120"/>
                  <a:gd name="T50" fmla="*/ 88 w 158"/>
                  <a:gd name="T51" fmla="*/ 92 h 120"/>
                  <a:gd name="T52" fmla="*/ 79 w 158"/>
                  <a:gd name="T53" fmla="*/ 84 h 120"/>
                  <a:gd name="T54" fmla="*/ 72 w 158"/>
                  <a:gd name="T55" fmla="*/ 73 h 120"/>
                  <a:gd name="T56" fmla="*/ 69 w 158"/>
                  <a:gd name="T57" fmla="*/ 65 h 120"/>
                  <a:gd name="T58" fmla="*/ 62 w 158"/>
                  <a:gd name="T59" fmla="*/ 60 h 120"/>
                  <a:gd name="T60" fmla="*/ 61 w 158"/>
                  <a:gd name="T61" fmla="*/ 50 h 120"/>
                  <a:gd name="T62" fmla="*/ 68 w 158"/>
                  <a:gd name="T63" fmla="*/ 39 h 120"/>
                  <a:gd name="T64" fmla="*/ 73 w 158"/>
                  <a:gd name="T65" fmla="*/ 40 h 120"/>
                  <a:gd name="T66" fmla="*/ 86 w 158"/>
                  <a:gd name="T67" fmla="*/ 39 h 120"/>
                  <a:gd name="T68" fmla="*/ 92 w 158"/>
                  <a:gd name="T69" fmla="*/ 39 h 120"/>
                  <a:gd name="T70" fmla="*/ 94 w 158"/>
                  <a:gd name="T71" fmla="*/ 39 h 120"/>
                  <a:gd name="T72" fmla="*/ 99 w 158"/>
                  <a:gd name="T73" fmla="*/ 38 h 120"/>
                  <a:gd name="T74" fmla="*/ 101 w 158"/>
                  <a:gd name="T75" fmla="*/ 39 h 120"/>
                  <a:gd name="T76" fmla="*/ 141 w 158"/>
                  <a:gd name="T77" fmla="*/ 44 h 120"/>
                  <a:gd name="T78" fmla="*/ 150 w 158"/>
                  <a:gd name="T79" fmla="*/ 47 h 120"/>
                  <a:gd name="T80" fmla="*/ 158 w 158"/>
                  <a:gd name="T81" fmla="*/ 41 h 120"/>
                  <a:gd name="T82" fmla="*/ 151 w 158"/>
                  <a:gd name="T83" fmla="*/ 33 h 120"/>
                  <a:gd name="T84" fmla="*/ 140 w 158"/>
                  <a:gd name="T85" fmla="*/ 33 h 120"/>
                  <a:gd name="T86" fmla="*/ 133 w 158"/>
                  <a:gd name="T87" fmla="*/ 27 h 120"/>
                  <a:gd name="T88" fmla="*/ 126 w 158"/>
                  <a:gd name="T89" fmla="*/ 26 h 120"/>
                  <a:gd name="T90" fmla="*/ 112 w 158"/>
                  <a:gd name="T91" fmla="*/ 21 h 120"/>
                  <a:gd name="T92" fmla="*/ 109 w 158"/>
                  <a:gd name="T93" fmla="*/ 19 h 120"/>
                  <a:gd name="T94" fmla="*/ 86 w 158"/>
                  <a:gd name="T95" fmla="*/ 1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 h="120">
                    <a:moveTo>
                      <a:pt x="82" y="0"/>
                    </a:moveTo>
                    <a:cubicBezTo>
                      <a:pt x="82" y="0"/>
                      <a:pt x="82" y="0"/>
                      <a:pt x="82" y="0"/>
                    </a:cubicBezTo>
                    <a:cubicBezTo>
                      <a:pt x="83" y="5"/>
                      <a:pt x="83" y="5"/>
                      <a:pt x="83" y="5"/>
                    </a:cubicBezTo>
                    <a:cubicBezTo>
                      <a:pt x="79" y="5"/>
                      <a:pt x="79" y="5"/>
                      <a:pt x="79" y="5"/>
                    </a:cubicBezTo>
                    <a:cubicBezTo>
                      <a:pt x="79" y="5"/>
                      <a:pt x="79" y="5"/>
                      <a:pt x="79" y="5"/>
                    </a:cubicBezTo>
                    <a:cubicBezTo>
                      <a:pt x="78" y="5"/>
                      <a:pt x="78" y="5"/>
                      <a:pt x="77" y="5"/>
                    </a:cubicBezTo>
                    <a:cubicBezTo>
                      <a:pt x="76" y="5"/>
                      <a:pt x="76" y="5"/>
                      <a:pt x="76" y="5"/>
                    </a:cubicBezTo>
                    <a:cubicBezTo>
                      <a:pt x="76" y="5"/>
                      <a:pt x="76" y="5"/>
                      <a:pt x="76" y="5"/>
                    </a:cubicBezTo>
                    <a:cubicBezTo>
                      <a:pt x="74" y="6"/>
                      <a:pt x="73" y="7"/>
                      <a:pt x="72" y="8"/>
                    </a:cubicBezTo>
                    <a:cubicBezTo>
                      <a:pt x="71" y="8"/>
                      <a:pt x="71" y="8"/>
                      <a:pt x="70" y="8"/>
                    </a:cubicBezTo>
                    <a:cubicBezTo>
                      <a:pt x="69" y="9"/>
                      <a:pt x="68" y="9"/>
                      <a:pt x="67" y="9"/>
                    </a:cubicBezTo>
                    <a:cubicBezTo>
                      <a:pt x="65" y="9"/>
                      <a:pt x="65" y="9"/>
                      <a:pt x="65" y="9"/>
                    </a:cubicBezTo>
                    <a:cubicBezTo>
                      <a:pt x="64" y="10"/>
                      <a:pt x="64" y="10"/>
                      <a:pt x="64" y="10"/>
                    </a:cubicBezTo>
                    <a:cubicBezTo>
                      <a:pt x="64" y="10"/>
                      <a:pt x="64" y="10"/>
                      <a:pt x="64" y="10"/>
                    </a:cubicBezTo>
                    <a:cubicBezTo>
                      <a:pt x="64" y="10"/>
                      <a:pt x="64" y="10"/>
                      <a:pt x="64" y="10"/>
                    </a:cubicBezTo>
                    <a:cubicBezTo>
                      <a:pt x="65" y="10"/>
                      <a:pt x="66" y="12"/>
                      <a:pt x="66" y="13"/>
                    </a:cubicBezTo>
                    <a:cubicBezTo>
                      <a:pt x="66" y="14"/>
                      <a:pt x="66" y="14"/>
                      <a:pt x="66" y="14"/>
                    </a:cubicBezTo>
                    <a:cubicBezTo>
                      <a:pt x="66" y="15"/>
                      <a:pt x="66" y="15"/>
                      <a:pt x="66" y="15"/>
                    </a:cubicBezTo>
                    <a:cubicBezTo>
                      <a:pt x="66" y="17"/>
                      <a:pt x="65" y="18"/>
                      <a:pt x="63" y="20"/>
                    </a:cubicBezTo>
                    <a:cubicBezTo>
                      <a:pt x="61" y="23"/>
                      <a:pt x="58" y="24"/>
                      <a:pt x="56" y="25"/>
                    </a:cubicBezTo>
                    <a:cubicBezTo>
                      <a:pt x="56" y="25"/>
                      <a:pt x="56" y="25"/>
                      <a:pt x="56" y="25"/>
                    </a:cubicBezTo>
                    <a:cubicBezTo>
                      <a:pt x="56" y="26"/>
                      <a:pt x="56" y="26"/>
                      <a:pt x="56" y="26"/>
                    </a:cubicBezTo>
                    <a:cubicBezTo>
                      <a:pt x="57" y="28"/>
                      <a:pt x="55" y="30"/>
                      <a:pt x="55" y="31"/>
                    </a:cubicBezTo>
                    <a:cubicBezTo>
                      <a:pt x="55" y="31"/>
                      <a:pt x="55" y="32"/>
                      <a:pt x="55" y="32"/>
                    </a:cubicBezTo>
                    <a:cubicBezTo>
                      <a:pt x="55" y="34"/>
                      <a:pt x="54" y="36"/>
                      <a:pt x="53" y="36"/>
                    </a:cubicBezTo>
                    <a:cubicBezTo>
                      <a:pt x="52" y="37"/>
                      <a:pt x="52" y="37"/>
                      <a:pt x="52" y="37"/>
                    </a:cubicBezTo>
                    <a:cubicBezTo>
                      <a:pt x="50" y="37"/>
                      <a:pt x="50" y="37"/>
                      <a:pt x="50" y="37"/>
                    </a:cubicBezTo>
                    <a:cubicBezTo>
                      <a:pt x="50" y="38"/>
                      <a:pt x="50" y="38"/>
                      <a:pt x="49" y="38"/>
                    </a:cubicBezTo>
                    <a:cubicBezTo>
                      <a:pt x="49" y="38"/>
                      <a:pt x="48" y="38"/>
                      <a:pt x="48" y="37"/>
                    </a:cubicBezTo>
                    <a:cubicBezTo>
                      <a:pt x="47" y="37"/>
                      <a:pt x="47" y="37"/>
                      <a:pt x="47" y="37"/>
                    </a:cubicBezTo>
                    <a:cubicBezTo>
                      <a:pt x="46" y="37"/>
                      <a:pt x="46" y="37"/>
                      <a:pt x="46" y="37"/>
                    </a:cubicBezTo>
                    <a:cubicBezTo>
                      <a:pt x="45" y="37"/>
                      <a:pt x="44" y="37"/>
                      <a:pt x="44" y="36"/>
                    </a:cubicBezTo>
                    <a:cubicBezTo>
                      <a:pt x="43" y="36"/>
                      <a:pt x="42" y="36"/>
                      <a:pt x="40" y="36"/>
                    </a:cubicBezTo>
                    <a:cubicBezTo>
                      <a:pt x="40" y="36"/>
                      <a:pt x="39" y="36"/>
                      <a:pt x="38" y="36"/>
                    </a:cubicBezTo>
                    <a:cubicBezTo>
                      <a:pt x="38" y="36"/>
                      <a:pt x="37" y="36"/>
                      <a:pt x="37" y="36"/>
                    </a:cubicBezTo>
                    <a:cubicBezTo>
                      <a:pt x="36" y="36"/>
                      <a:pt x="35" y="36"/>
                      <a:pt x="35" y="35"/>
                    </a:cubicBezTo>
                    <a:cubicBezTo>
                      <a:pt x="33" y="34"/>
                      <a:pt x="31" y="33"/>
                      <a:pt x="30" y="32"/>
                    </a:cubicBezTo>
                    <a:cubicBezTo>
                      <a:pt x="27" y="35"/>
                      <a:pt x="23" y="37"/>
                      <a:pt x="19" y="37"/>
                    </a:cubicBezTo>
                    <a:cubicBezTo>
                      <a:pt x="17" y="37"/>
                      <a:pt x="16" y="36"/>
                      <a:pt x="14" y="36"/>
                    </a:cubicBezTo>
                    <a:cubicBezTo>
                      <a:pt x="14" y="36"/>
                      <a:pt x="14" y="36"/>
                      <a:pt x="13" y="36"/>
                    </a:cubicBezTo>
                    <a:cubicBezTo>
                      <a:pt x="11" y="36"/>
                      <a:pt x="7" y="36"/>
                      <a:pt x="4" y="37"/>
                    </a:cubicBezTo>
                    <a:cubicBezTo>
                      <a:pt x="2" y="37"/>
                      <a:pt x="2" y="37"/>
                      <a:pt x="2" y="37"/>
                    </a:cubicBezTo>
                    <a:cubicBezTo>
                      <a:pt x="2" y="35"/>
                      <a:pt x="2" y="35"/>
                      <a:pt x="2" y="35"/>
                    </a:cubicBezTo>
                    <a:cubicBezTo>
                      <a:pt x="1" y="35"/>
                      <a:pt x="1" y="35"/>
                      <a:pt x="1" y="35"/>
                    </a:cubicBezTo>
                    <a:cubicBezTo>
                      <a:pt x="0" y="38"/>
                      <a:pt x="2" y="40"/>
                      <a:pt x="3" y="42"/>
                    </a:cubicBezTo>
                    <a:cubicBezTo>
                      <a:pt x="3" y="44"/>
                      <a:pt x="3" y="45"/>
                      <a:pt x="4" y="47"/>
                    </a:cubicBezTo>
                    <a:cubicBezTo>
                      <a:pt x="5" y="50"/>
                      <a:pt x="8" y="52"/>
                      <a:pt x="9" y="55"/>
                    </a:cubicBezTo>
                    <a:cubicBezTo>
                      <a:pt x="8" y="55"/>
                      <a:pt x="8" y="55"/>
                      <a:pt x="8" y="55"/>
                    </a:cubicBezTo>
                    <a:cubicBezTo>
                      <a:pt x="9" y="56"/>
                      <a:pt x="10" y="57"/>
                      <a:pt x="11" y="58"/>
                    </a:cubicBezTo>
                    <a:cubicBezTo>
                      <a:pt x="13" y="55"/>
                      <a:pt x="14" y="49"/>
                      <a:pt x="17" y="49"/>
                    </a:cubicBezTo>
                    <a:cubicBezTo>
                      <a:pt x="17" y="49"/>
                      <a:pt x="18" y="50"/>
                      <a:pt x="19" y="50"/>
                    </a:cubicBezTo>
                    <a:cubicBezTo>
                      <a:pt x="20" y="48"/>
                      <a:pt x="20" y="41"/>
                      <a:pt x="22" y="39"/>
                    </a:cubicBezTo>
                    <a:cubicBezTo>
                      <a:pt x="23" y="39"/>
                      <a:pt x="23" y="39"/>
                      <a:pt x="24" y="39"/>
                    </a:cubicBezTo>
                    <a:cubicBezTo>
                      <a:pt x="26" y="39"/>
                      <a:pt x="28" y="41"/>
                      <a:pt x="30" y="42"/>
                    </a:cubicBezTo>
                    <a:cubicBezTo>
                      <a:pt x="30" y="42"/>
                      <a:pt x="30" y="42"/>
                      <a:pt x="30" y="42"/>
                    </a:cubicBezTo>
                    <a:cubicBezTo>
                      <a:pt x="31" y="42"/>
                      <a:pt x="39" y="48"/>
                      <a:pt x="40" y="50"/>
                    </a:cubicBezTo>
                    <a:cubicBezTo>
                      <a:pt x="41" y="57"/>
                      <a:pt x="41" y="64"/>
                      <a:pt x="46" y="68"/>
                    </a:cubicBezTo>
                    <a:cubicBezTo>
                      <a:pt x="51" y="73"/>
                      <a:pt x="57" y="75"/>
                      <a:pt x="60" y="80"/>
                    </a:cubicBezTo>
                    <a:cubicBezTo>
                      <a:pt x="59" y="80"/>
                      <a:pt x="52" y="75"/>
                      <a:pt x="49" y="75"/>
                    </a:cubicBezTo>
                    <a:cubicBezTo>
                      <a:pt x="48" y="75"/>
                      <a:pt x="48" y="75"/>
                      <a:pt x="48" y="76"/>
                    </a:cubicBezTo>
                    <a:cubicBezTo>
                      <a:pt x="47" y="76"/>
                      <a:pt x="47" y="76"/>
                      <a:pt x="47" y="76"/>
                    </a:cubicBezTo>
                    <a:cubicBezTo>
                      <a:pt x="46" y="76"/>
                      <a:pt x="48" y="79"/>
                      <a:pt x="49" y="80"/>
                    </a:cubicBezTo>
                    <a:cubicBezTo>
                      <a:pt x="52" y="84"/>
                      <a:pt x="56" y="88"/>
                      <a:pt x="61" y="91"/>
                    </a:cubicBezTo>
                    <a:cubicBezTo>
                      <a:pt x="63" y="93"/>
                      <a:pt x="69" y="95"/>
                      <a:pt x="70" y="97"/>
                    </a:cubicBezTo>
                    <a:cubicBezTo>
                      <a:pt x="71" y="101"/>
                      <a:pt x="71" y="102"/>
                      <a:pt x="73" y="102"/>
                    </a:cubicBezTo>
                    <a:cubicBezTo>
                      <a:pt x="73" y="102"/>
                      <a:pt x="74" y="102"/>
                      <a:pt x="75" y="102"/>
                    </a:cubicBezTo>
                    <a:cubicBezTo>
                      <a:pt x="76" y="102"/>
                      <a:pt x="78" y="102"/>
                      <a:pt x="79" y="101"/>
                    </a:cubicBezTo>
                    <a:cubicBezTo>
                      <a:pt x="80" y="101"/>
                      <a:pt x="80" y="101"/>
                      <a:pt x="81" y="101"/>
                    </a:cubicBezTo>
                    <a:cubicBezTo>
                      <a:pt x="81" y="101"/>
                      <a:pt x="81" y="101"/>
                      <a:pt x="81" y="101"/>
                    </a:cubicBezTo>
                    <a:cubicBezTo>
                      <a:pt x="87" y="101"/>
                      <a:pt x="92" y="106"/>
                      <a:pt x="96" y="108"/>
                    </a:cubicBezTo>
                    <a:cubicBezTo>
                      <a:pt x="100" y="111"/>
                      <a:pt x="105" y="114"/>
                      <a:pt x="109" y="117"/>
                    </a:cubicBezTo>
                    <a:cubicBezTo>
                      <a:pt x="110" y="117"/>
                      <a:pt x="112" y="119"/>
                      <a:pt x="113" y="120"/>
                    </a:cubicBezTo>
                    <a:cubicBezTo>
                      <a:pt x="113" y="119"/>
                      <a:pt x="113" y="119"/>
                      <a:pt x="113" y="119"/>
                    </a:cubicBezTo>
                    <a:cubicBezTo>
                      <a:pt x="111" y="118"/>
                      <a:pt x="110" y="117"/>
                      <a:pt x="109" y="116"/>
                    </a:cubicBezTo>
                    <a:cubicBezTo>
                      <a:pt x="105" y="107"/>
                      <a:pt x="105" y="107"/>
                      <a:pt x="105" y="107"/>
                    </a:cubicBezTo>
                    <a:cubicBezTo>
                      <a:pt x="104" y="105"/>
                      <a:pt x="102" y="103"/>
                      <a:pt x="100" y="101"/>
                    </a:cubicBezTo>
                    <a:cubicBezTo>
                      <a:pt x="99" y="101"/>
                      <a:pt x="98" y="100"/>
                      <a:pt x="97" y="99"/>
                    </a:cubicBezTo>
                    <a:cubicBezTo>
                      <a:pt x="94" y="97"/>
                      <a:pt x="91" y="94"/>
                      <a:pt x="88" y="92"/>
                    </a:cubicBezTo>
                    <a:cubicBezTo>
                      <a:pt x="87" y="91"/>
                      <a:pt x="87" y="91"/>
                      <a:pt x="87" y="91"/>
                    </a:cubicBezTo>
                    <a:cubicBezTo>
                      <a:pt x="84" y="89"/>
                      <a:pt x="82" y="87"/>
                      <a:pt x="80" y="85"/>
                    </a:cubicBezTo>
                    <a:cubicBezTo>
                      <a:pt x="79" y="84"/>
                      <a:pt x="79" y="84"/>
                      <a:pt x="79" y="84"/>
                    </a:cubicBezTo>
                    <a:cubicBezTo>
                      <a:pt x="76" y="81"/>
                      <a:pt x="74" y="78"/>
                      <a:pt x="74" y="76"/>
                    </a:cubicBezTo>
                    <a:cubicBezTo>
                      <a:pt x="73" y="75"/>
                      <a:pt x="73" y="75"/>
                      <a:pt x="73" y="75"/>
                    </a:cubicBezTo>
                    <a:cubicBezTo>
                      <a:pt x="73" y="75"/>
                      <a:pt x="73" y="74"/>
                      <a:pt x="72" y="73"/>
                    </a:cubicBezTo>
                    <a:cubicBezTo>
                      <a:pt x="72" y="71"/>
                      <a:pt x="72" y="71"/>
                      <a:pt x="72" y="71"/>
                    </a:cubicBezTo>
                    <a:cubicBezTo>
                      <a:pt x="71" y="69"/>
                      <a:pt x="70" y="67"/>
                      <a:pt x="69" y="66"/>
                    </a:cubicBezTo>
                    <a:cubicBezTo>
                      <a:pt x="69" y="65"/>
                      <a:pt x="69" y="65"/>
                      <a:pt x="69" y="65"/>
                    </a:cubicBezTo>
                    <a:cubicBezTo>
                      <a:pt x="68" y="64"/>
                      <a:pt x="68" y="64"/>
                      <a:pt x="68" y="64"/>
                    </a:cubicBezTo>
                    <a:cubicBezTo>
                      <a:pt x="67" y="64"/>
                      <a:pt x="66" y="63"/>
                      <a:pt x="65" y="62"/>
                    </a:cubicBezTo>
                    <a:cubicBezTo>
                      <a:pt x="64" y="62"/>
                      <a:pt x="63" y="62"/>
                      <a:pt x="62" y="60"/>
                    </a:cubicBezTo>
                    <a:cubicBezTo>
                      <a:pt x="59" y="57"/>
                      <a:pt x="60" y="54"/>
                      <a:pt x="61" y="52"/>
                    </a:cubicBezTo>
                    <a:cubicBezTo>
                      <a:pt x="61" y="52"/>
                      <a:pt x="61" y="51"/>
                      <a:pt x="61" y="50"/>
                    </a:cubicBezTo>
                    <a:cubicBezTo>
                      <a:pt x="61" y="50"/>
                      <a:pt x="61" y="50"/>
                      <a:pt x="61" y="50"/>
                    </a:cubicBezTo>
                    <a:cubicBezTo>
                      <a:pt x="61" y="48"/>
                      <a:pt x="62" y="47"/>
                      <a:pt x="62" y="46"/>
                    </a:cubicBezTo>
                    <a:cubicBezTo>
                      <a:pt x="62" y="42"/>
                      <a:pt x="64" y="41"/>
                      <a:pt x="65" y="40"/>
                    </a:cubicBezTo>
                    <a:cubicBezTo>
                      <a:pt x="66" y="39"/>
                      <a:pt x="67" y="39"/>
                      <a:pt x="68" y="39"/>
                    </a:cubicBezTo>
                    <a:cubicBezTo>
                      <a:pt x="68" y="39"/>
                      <a:pt x="68" y="39"/>
                      <a:pt x="68" y="39"/>
                    </a:cubicBezTo>
                    <a:cubicBezTo>
                      <a:pt x="69" y="39"/>
                      <a:pt x="70" y="39"/>
                      <a:pt x="72" y="39"/>
                    </a:cubicBezTo>
                    <a:cubicBezTo>
                      <a:pt x="72" y="39"/>
                      <a:pt x="72" y="40"/>
                      <a:pt x="73" y="40"/>
                    </a:cubicBezTo>
                    <a:cubicBezTo>
                      <a:pt x="76" y="41"/>
                      <a:pt x="78" y="43"/>
                      <a:pt x="80" y="45"/>
                    </a:cubicBezTo>
                    <a:cubicBezTo>
                      <a:pt x="80" y="44"/>
                      <a:pt x="81" y="44"/>
                      <a:pt x="81" y="43"/>
                    </a:cubicBezTo>
                    <a:cubicBezTo>
                      <a:pt x="82" y="42"/>
                      <a:pt x="84" y="40"/>
                      <a:pt x="86" y="39"/>
                    </a:cubicBezTo>
                    <a:cubicBezTo>
                      <a:pt x="87" y="39"/>
                      <a:pt x="87" y="39"/>
                      <a:pt x="87" y="39"/>
                    </a:cubicBezTo>
                    <a:cubicBezTo>
                      <a:pt x="88" y="39"/>
                      <a:pt x="89" y="38"/>
                      <a:pt x="89" y="38"/>
                    </a:cubicBezTo>
                    <a:cubicBezTo>
                      <a:pt x="90" y="38"/>
                      <a:pt x="91" y="39"/>
                      <a:pt x="92" y="39"/>
                    </a:cubicBezTo>
                    <a:cubicBezTo>
                      <a:pt x="92" y="39"/>
                      <a:pt x="92" y="39"/>
                      <a:pt x="92" y="39"/>
                    </a:cubicBezTo>
                    <a:cubicBezTo>
                      <a:pt x="92" y="39"/>
                      <a:pt x="93" y="39"/>
                      <a:pt x="93" y="39"/>
                    </a:cubicBezTo>
                    <a:cubicBezTo>
                      <a:pt x="93" y="39"/>
                      <a:pt x="94" y="39"/>
                      <a:pt x="94" y="39"/>
                    </a:cubicBezTo>
                    <a:cubicBezTo>
                      <a:pt x="94" y="39"/>
                      <a:pt x="94" y="39"/>
                      <a:pt x="94" y="39"/>
                    </a:cubicBezTo>
                    <a:cubicBezTo>
                      <a:pt x="96" y="36"/>
                      <a:pt x="96" y="36"/>
                      <a:pt x="96" y="36"/>
                    </a:cubicBezTo>
                    <a:cubicBezTo>
                      <a:pt x="99" y="38"/>
                      <a:pt x="99" y="38"/>
                      <a:pt x="99" y="38"/>
                    </a:cubicBezTo>
                    <a:cubicBezTo>
                      <a:pt x="99" y="38"/>
                      <a:pt x="99" y="38"/>
                      <a:pt x="99" y="38"/>
                    </a:cubicBezTo>
                    <a:cubicBezTo>
                      <a:pt x="100" y="38"/>
                      <a:pt x="100" y="38"/>
                      <a:pt x="100" y="38"/>
                    </a:cubicBezTo>
                    <a:cubicBezTo>
                      <a:pt x="101" y="39"/>
                      <a:pt x="101" y="39"/>
                      <a:pt x="101" y="39"/>
                    </a:cubicBezTo>
                    <a:cubicBezTo>
                      <a:pt x="103" y="40"/>
                      <a:pt x="106" y="41"/>
                      <a:pt x="109" y="41"/>
                    </a:cubicBezTo>
                    <a:cubicBezTo>
                      <a:pt x="128" y="43"/>
                      <a:pt x="128" y="43"/>
                      <a:pt x="128" y="43"/>
                    </a:cubicBezTo>
                    <a:cubicBezTo>
                      <a:pt x="133" y="44"/>
                      <a:pt x="137" y="44"/>
                      <a:pt x="141" y="44"/>
                    </a:cubicBezTo>
                    <a:cubicBezTo>
                      <a:pt x="141" y="44"/>
                      <a:pt x="142" y="44"/>
                      <a:pt x="143" y="44"/>
                    </a:cubicBezTo>
                    <a:cubicBezTo>
                      <a:pt x="145" y="44"/>
                      <a:pt x="147" y="45"/>
                      <a:pt x="148" y="46"/>
                    </a:cubicBezTo>
                    <a:cubicBezTo>
                      <a:pt x="149" y="46"/>
                      <a:pt x="149" y="47"/>
                      <a:pt x="150" y="47"/>
                    </a:cubicBezTo>
                    <a:cubicBezTo>
                      <a:pt x="155" y="46"/>
                      <a:pt x="155" y="46"/>
                      <a:pt x="155" y="46"/>
                    </a:cubicBezTo>
                    <a:cubicBezTo>
                      <a:pt x="155" y="44"/>
                      <a:pt x="156" y="43"/>
                      <a:pt x="157" y="41"/>
                    </a:cubicBezTo>
                    <a:cubicBezTo>
                      <a:pt x="158" y="41"/>
                      <a:pt x="158" y="41"/>
                      <a:pt x="158" y="41"/>
                    </a:cubicBezTo>
                    <a:cubicBezTo>
                      <a:pt x="158" y="40"/>
                      <a:pt x="158" y="40"/>
                      <a:pt x="158" y="40"/>
                    </a:cubicBezTo>
                    <a:cubicBezTo>
                      <a:pt x="148" y="34"/>
                      <a:pt x="148" y="34"/>
                      <a:pt x="148" y="34"/>
                    </a:cubicBezTo>
                    <a:cubicBezTo>
                      <a:pt x="151" y="33"/>
                      <a:pt x="151" y="33"/>
                      <a:pt x="151" y="33"/>
                    </a:cubicBezTo>
                    <a:cubicBezTo>
                      <a:pt x="150" y="31"/>
                      <a:pt x="150" y="29"/>
                      <a:pt x="150" y="28"/>
                    </a:cubicBezTo>
                    <a:cubicBezTo>
                      <a:pt x="151" y="24"/>
                      <a:pt x="151" y="24"/>
                      <a:pt x="151" y="24"/>
                    </a:cubicBezTo>
                    <a:cubicBezTo>
                      <a:pt x="140" y="33"/>
                      <a:pt x="140" y="33"/>
                      <a:pt x="140" y="33"/>
                    </a:cubicBezTo>
                    <a:cubicBezTo>
                      <a:pt x="145" y="24"/>
                      <a:pt x="145" y="24"/>
                      <a:pt x="145" y="24"/>
                    </a:cubicBezTo>
                    <a:cubicBezTo>
                      <a:pt x="142" y="26"/>
                      <a:pt x="139" y="27"/>
                      <a:pt x="135" y="27"/>
                    </a:cubicBezTo>
                    <a:cubicBezTo>
                      <a:pt x="135" y="27"/>
                      <a:pt x="134" y="27"/>
                      <a:pt x="133" y="27"/>
                    </a:cubicBezTo>
                    <a:cubicBezTo>
                      <a:pt x="132" y="27"/>
                      <a:pt x="130" y="26"/>
                      <a:pt x="129" y="26"/>
                    </a:cubicBezTo>
                    <a:cubicBezTo>
                      <a:pt x="128" y="26"/>
                      <a:pt x="128" y="26"/>
                      <a:pt x="128" y="26"/>
                    </a:cubicBezTo>
                    <a:cubicBezTo>
                      <a:pt x="127" y="26"/>
                      <a:pt x="127" y="26"/>
                      <a:pt x="126" y="26"/>
                    </a:cubicBezTo>
                    <a:cubicBezTo>
                      <a:pt x="121" y="25"/>
                      <a:pt x="117" y="23"/>
                      <a:pt x="113" y="21"/>
                    </a:cubicBezTo>
                    <a:cubicBezTo>
                      <a:pt x="113" y="20"/>
                      <a:pt x="113" y="20"/>
                      <a:pt x="113" y="20"/>
                    </a:cubicBezTo>
                    <a:cubicBezTo>
                      <a:pt x="112" y="21"/>
                      <a:pt x="112" y="21"/>
                      <a:pt x="112" y="21"/>
                    </a:cubicBezTo>
                    <a:cubicBezTo>
                      <a:pt x="112" y="21"/>
                      <a:pt x="112" y="21"/>
                      <a:pt x="112" y="21"/>
                    </a:cubicBezTo>
                    <a:cubicBezTo>
                      <a:pt x="110" y="20"/>
                      <a:pt x="110" y="20"/>
                      <a:pt x="110" y="20"/>
                    </a:cubicBezTo>
                    <a:cubicBezTo>
                      <a:pt x="110" y="20"/>
                      <a:pt x="109" y="19"/>
                      <a:pt x="109" y="19"/>
                    </a:cubicBezTo>
                    <a:cubicBezTo>
                      <a:pt x="104" y="17"/>
                      <a:pt x="97" y="12"/>
                      <a:pt x="94" y="7"/>
                    </a:cubicBezTo>
                    <a:cubicBezTo>
                      <a:pt x="91" y="3"/>
                      <a:pt x="90" y="3"/>
                      <a:pt x="86" y="1"/>
                    </a:cubicBezTo>
                    <a:cubicBezTo>
                      <a:pt x="86" y="1"/>
                      <a:pt x="86" y="1"/>
                      <a:pt x="86" y="1"/>
                    </a:cubicBezTo>
                    <a:cubicBezTo>
                      <a:pt x="84" y="0"/>
                      <a:pt x="83" y="0"/>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286"/>
              <p:cNvSpPr/>
              <p:nvPr/>
            </p:nvSpPr>
            <p:spPr bwMode="auto">
              <a:xfrm flipH="1">
                <a:off x="6036220" y="4565859"/>
                <a:ext cx="0" cy="3685"/>
              </a:xfrm>
              <a:custGeom>
                <a:gdLst>
                  <a:gd name="T0" fmla="*/ 0 h 1"/>
                  <a:gd name="T1" fmla="*/ 0 h 1"/>
                  <a:gd name="T2" fmla="*/ 1 h 1"/>
                  <a:gd name="T3" fmla="*/ 0 h 1"/>
                </a:gd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287"/>
              <p:cNvSpPr/>
              <p:nvPr/>
            </p:nvSpPr>
            <p:spPr bwMode="auto">
              <a:xfrm flipH="1">
                <a:off x="6036220" y="4565859"/>
                <a:ext cx="0" cy="3685"/>
              </a:xfrm>
              <a:custGeom>
                <a:gdLst>
                  <a:gd name="T0" fmla="*/ 0 h 1"/>
                  <a:gd name="T1" fmla="*/ 0 h 1"/>
                  <a:gd name="T2" fmla="*/ 1 h 1"/>
                  <a:gd name="T3" fmla="*/ 0 h 1"/>
                </a:gdLst>
                <a:cxnLst>
                  <a:cxn ang="0">
                    <a:pos x="0" y="T0"/>
                  </a:cxn>
                  <a:cxn ang="0">
                    <a:pos x="0" y="T1"/>
                  </a:cxn>
                  <a:cxn ang="0">
                    <a:pos x="0" y="T2"/>
                  </a:cxn>
                  <a:cxn ang="0">
                    <a:pos x="0" y="T3"/>
                  </a:cxn>
                </a:cxnLst>
                <a:rect l="0" t="0" r="r" b="b"/>
                <a:pathLst>
                  <a:path h="1">
                    <a:moveTo>
                      <a:pt x="0" y="0"/>
                    </a:moveTo>
                    <a:lnTo>
                      <a:pt x="0" y="0"/>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288"/>
              <p:cNvSpPr/>
              <p:nvPr/>
            </p:nvSpPr>
            <p:spPr bwMode="auto">
              <a:xfrm>
                <a:off x="5785632" y="4551119"/>
                <a:ext cx="320605" cy="287439"/>
              </a:xfrm>
              <a:custGeom>
                <a:gdLst>
                  <a:gd name="T0" fmla="*/ 29 w 100"/>
                  <a:gd name="T1" fmla="*/ 0 h 91"/>
                  <a:gd name="T2" fmla="*/ 24 w 100"/>
                  <a:gd name="T3" fmla="*/ 1 h 91"/>
                  <a:gd name="T4" fmla="*/ 21 w 100"/>
                  <a:gd name="T5" fmla="*/ 1 h 91"/>
                  <a:gd name="T6" fmla="*/ 18 w 100"/>
                  <a:gd name="T7" fmla="*/ 5 h 91"/>
                  <a:gd name="T8" fmla="*/ 15 w 100"/>
                  <a:gd name="T9" fmla="*/ 10 h 91"/>
                  <a:gd name="T10" fmla="*/ 10 w 100"/>
                  <a:gd name="T11" fmla="*/ 6 h 91"/>
                  <a:gd name="T12" fmla="*/ 4 w 100"/>
                  <a:gd name="T13" fmla="*/ 1 h 91"/>
                  <a:gd name="T14" fmla="*/ 2 w 100"/>
                  <a:gd name="T15" fmla="*/ 1 h 91"/>
                  <a:gd name="T16" fmla="*/ 1 w 100"/>
                  <a:gd name="T17" fmla="*/ 6 h 91"/>
                  <a:gd name="T18" fmla="*/ 0 w 100"/>
                  <a:gd name="T19" fmla="*/ 11 h 91"/>
                  <a:gd name="T20" fmla="*/ 4 w 100"/>
                  <a:gd name="T21" fmla="*/ 12 h 91"/>
                  <a:gd name="T22" fmla="*/ 7 w 100"/>
                  <a:gd name="T23" fmla="*/ 16 h 91"/>
                  <a:gd name="T24" fmla="*/ 11 w 100"/>
                  <a:gd name="T25" fmla="*/ 24 h 91"/>
                  <a:gd name="T26" fmla="*/ 12 w 100"/>
                  <a:gd name="T27" fmla="*/ 27 h 91"/>
                  <a:gd name="T28" fmla="*/ 17 w 100"/>
                  <a:gd name="T29" fmla="*/ 34 h 91"/>
                  <a:gd name="T30" fmla="*/ 24 w 100"/>
                  <a:gd name="T31" fmla="*/ 40 h 91"/>
                  <a:gd name="T32" fmla="*/ 35 w 100"/>
                  <a:gd name="T33" fmla="*/ 49 h 91"/>
                  <a:gd name="T34" fmla="*/ 37 w 100"/>
                  <a:gd name="T35" fmla="*/ 51 h 91"/>
                  <a:gd name="T36" fmla="*/ 48 w 100"/>
                  <a:gd name="T37" fmla="*/ 68 h 91"/>
                  <a:gd name="T38" fmla="*/ 53 w 100"/>
                  <a:gd name="T39" fmla="*/ 71 h 91"/>
                  <a:gd name="T40" fmla="*/ 55 w 100"/>
                  <a:gd name="T41" fmla="*/ 75 h 91"/>
                  <a:gd name="T42" fmla="*/ 53 w 100"/>
                  <a:gd name="T43" fmla="*/ 80 h 91"/>
                  <a:gd name="T44" fmla="*/ 53 w 100"/>
                  <a:gd name="T45" fmla="*/ 80 h 91"/>
                  <a:gd name="T46" fmla="*/ 49 w 100"/>
                  <a:gd name="T47" fmla="*/ 80 h 91"/>
                  <a:gd name="T48" fmla="*/ 71 w 100"/>
                  <a:gd name="T49" fmla="*/ 91 h 91"/>
                  <a:gd name="T50" fmla="*/ 73 w 100"/>
                  <a:gd name="T51" fmla="*/ 86 h 91"/>
                  <a:gd name="T52" fmla="*/ 73 w 100"/>
                  <a:gd name="T53" fmla="*/ 84 h 91"/>
                  <a:gd name="T54" fmla="*/ 72 w 100"/>
                  <a:gd name="T55" fmla="*/ 77 h 91"/>
                  <a:gd name="T56" fmla="*/ 81 w 100"/>
                  <a:gd name="T57" fmla="*/ 62 h 91"/>
                  <a:gd name="T58" fmla="*/ 85 w 100"/>
                  <a:gd name="T59" fmla="*/ 59 h 91"/>
                  <a:gd name="T60" fmla="*/ 85 w 100"/>
                  <a:gd name="T61" fmla="*/ 55 h 91"/>
                  <a:gd name="T62" fmla="*/ 90 w 100"/>
                  <a:gd name="T63" fmla="*/ 52 h 91"/>
                  <a:gd name="T64" fmla="*/ 93 w 100"/>
                  <a:gd name="T65" fmla="*/ 53 h 91"/>
                  <a:gd name="T66" fmla="*/ 94 w 100"/>
                  <a:gd name="T67" fmla="*/ 53 h 91"/>
                  <a:gd name="T68" fmla="*/ 95 w 100"/>
                  <a:gd name="T69" fmla="*/ 53 h 91"/>
                  <a:gd name="T70" fmla="*/ 100 w 100"/>
                  <a:gd name="T71" fmla="*/ 50 h 91"/>
                  <a:gd name="T72" fmla="*/ 97 w 100"/>
                  <a:gd name="T73" fmla="*/ 47 h 91"/>
                  <a:gd name="T74" fmla="*/ 89 w 100"/>
                  <a:gd name="T75" fmla="*/ 34 h 91"/>
                  <a:gd name="T76" fmla="*/ 99 w 100"/>
                  <a:gd name="T77" fmla="*/ 37 h 91"/>
                  <a:gd name="T78" fmla="*/ 97 w 100"/>
                  <a:gd name="T79" fmla="*/ 34 h 91"/>
                  <a:gd name="T80" fmla="*/ 95 w 100"/>
                  <a:gd name="T81" fmla="*/ 34 h 91"/>
                  <a:gd name="T82" fmla="*/ 91 w 100"/>
                  <a:gd name="T83" fmla="*/ 32 h 91"/>
                  <a:gd name="T84" fmla="*/ 91 w 100"/>
                  <a:gd name="T85" fmla="*/ 19 h 91"/>
                  <a:gd name="T86" fmla="*/ 94 w 100"/>
                  <a:gd name="T87" fmla="*/ 13 h 91"/>
                  <a:gd name="T88" fmla="*/ 93 w 100"/>
                  <a:gd name="T89" fmla="*/ 13 h 91"/>
                  <a:gd name="T90" fmla="*/ 92 w 100"/>
                  <a:gd name="T91" fmla="*/ 13 h 91"/>
                  <a:gd name="T92" fmla="*/ 91 w 100"/>
                  <a:gd name="T93" fmla="*/ 13 h 91"/>
                  <a:gd name="T94" fmla="*/ 80 w 100"/>
                  <a:gd name="T95" fmla="*/ 8 h 91"/>
                  <a:gd name="T96" fmla="*/ 77 w 100"/>
                  <a:gd name="T97" fmla="*/ 7 h 91"/>
                  <a:gd name="T98" fmla="*/ 76 w 100"/>
                  <a:gd name="T99" fmla="*/ 6 h 91"/>
                  <a:gd name="T100" fmla="*/ 74 w 100"/>
                  <a:gd name="T101" fmla="*/ 6 h 91"/>
                  <a:gd name="T102" fmla="*/ 41 w 100"/>
                  <a:gd name="T103" fmla="*/ 3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0" h="91">
                    <a:moveTo>
                      <a:pt x="30" y="0"/>
                    </a:moveTo>
                    <a:cubicBezTo>
                      <a:pt x="30" y="0"/>
                      <a:pt x="29" y="0"/>
                      <a:pt x="29" y="0"/>
                    </a:cubicBezTo>
                    <a:cubicBezTo>
                      <a:pt x="28" y="1"/>
                      <a:pt x="27" y="1"/>
                      <a:pt x="26" y="1"/>
                    </a:cubicBezTo>
                    <a:cubicBezTo>
                      <a:pt x="25" y="1"/>
                      <a:pt x="25" y="1"/>
                      <a:pt x="24" y="1"/>
                    </a:cubicBezTo>
                    <a:cubicBezTo>
                      <a:pt x="23" y="1"/>
                      <a:pt x="23" y="0"/>
                      <a:pt x="22" y="0"/>
                    </a:cubicBezTo>
                    <a:cubicBezTo>
                      <a:pt x="22" y="0"/>
                      <a:pt x="22" y="0"/>
                      <a:pt x="21" y="1"/>
                    </a:cubicBezTo>
                    <a:cubicBezTo>
                      <a:pt x="21" y="1"/>
                      <a:pt x="20" y="1"/>
                      <a:pt x="20" y="2"/>
                    </a:cubicBezTo>
                    <a:cubicBezTo>
                      <a:pt x="19" y="3"/>
                      <a:pt x="19" y="4"/>
                      <a:pt x="18" y="5"/>
                    </a:cubicBezTo>
                    <a:cubicBezTo>
                      <a:pt x="18" y="6"/>
                      <a:pt x="17" y="6"/>
                      <a:pt x="17" y="7"/>
                    </a:cubicBezTo>
                    <a:cubicBezTo>
                      <a:pt x="15" y="10"/>
                      <a:pt x="15" y="10"/>
                      <a:pt x="15" y="10"/>
                    </a:cubicBezTo>
                    <a:cubicBezTo>
                      <a:pt x="12" y="8"/>
                      <a:pt x="12" y="8"/>
                      <a:pt x="12" y="8"/>
                    </a:cubicBezTo>
                    <a:cubicBezTo>
                      <a:pt x="11" y="7"/>
                      <a:pt x="10" y="7"/>
                      <a:pt x="10" y="6"/>
                    </a:cubicBezTo>
                    <a:cubicBezTo>
                      <a:pt x="9" y="6"/>
                      <a:pt x="9" y="6"/>
                      <a:pt x="9" y="6"/>
                    </a:cubicBezTo>
                    <a:cubicBezTo>
                      <a:pt x="7" y="4"/>
                      <a:pt x="6" y="2"/>
                      <a:pt x="4" y="1"/>
                    </a:cubicBezTo>
                    <a:cubicBezTo>
                      <a:pt x="4" y="1"/>
                      <a:pt x="3" y="1"/>
                      <a:pt x="3" y="1"/>
                    </a:cubicBezTo>
                    <a:cubicBezTo>
                      <a:pt x="2" y="1"/>
                      <a:pt x="2" y="1"/>
                      <a:pt x="2" y="1"/>
                    </a:cubicBezTo>
                    <a:cubicBezTo>
                      <a:pt x="2" y="1"/>
                      <a:pt x="2" y="1"/>
                      <a:pt x="2" y="1"/>
                    </a:cubicBezTo>
                    <a:cubicBezTo>
                      <a:pt x="2" y="3"/>
                      <a:pt x="1" y="4"/>
                      <a:pt x="1" y="6"/>
                    </a:cubicBezTo>
                    <a:cubicBezTo>
                      <a:pt x="1" y="7"/>
                      <a:pt x="1" y="8"/>
                      <a:pt x="1" y="9"/>
                    </a:cubicBezTo>
                    <a:cubicBezTo>
                      <a:pt x="0" y="10"/>
                      <a:pt x="0" y="11"/>
                      <a:pt x="0" y="11"/>
                    </a:cubicBezTo>
                    <a:cubicBezTo>
                      <a:pt x="0" y="11"/>
                      <a:pt x="1" y="11"/>
                      <a:pt x="1" y="11"/>
                    </a:cubicBezTo>
                    <a:cubicBezTo>
                      <a:pt x="2" y="12"/>
                      <a:pt x="3" y="12"/>
                      <a:pt x="4" y="12"/>
                    </a:cubicBezTo>
                    <a:cubicBezTo>
                      <a:pt x="5" y="13"/>
                      <a:pt x="6" y="14"/>
                      <a:pt x="6" y="14"/>
                    </a:cubicBezTo>
                    <a:cubicBezTo>
                      <a:pt x="7" y="15"/>
                      <a:pt x="7" y="15"/>
                      <a:pt x="7" y="16"/>
                    </a:cubicBezTo>
                    <a:cubicBezTo>
                      <a:pt x="8" y="16"/>
                      <a:pt x="8" y="17"/>
                      <a:pt x="9" y="17"/>
                    </a:cubicBezTo>
                    <a:cubicBezTo>
                      <a:pt x="10" y="19"/>
                      <a:pt x="10" y="21"/>
                      <a:pt x="11" y="24"/>
                    </a:cubicBezTo>
                    <a:cubicBezTo>
                      <a:pt x="11" y="25"/>
                      <a:pt x="12" y="25"/>
                      <a:pt x="12" y="26"/>
                    </a:cubicBezTo>
                    <a:cubicBezTo>
                      <a:pt x="12" y="26"/>
                      <a:pt x="12" y="27"/>
                      <a:pt x="12" y="27"/>
                    </a:cubicBezTo>
                    <a:cubicBezTo>
                      <a:pt x="13" y="28"/>
                      <a:pt x="13" y="28"/>
                      <a:pt x="13" y="28"/>
                    </a:cubicBezTo>
                    <a:cubicBezTo>
                      <a:pt x="14" y="30"/>
                      <a:pt x="15" y="32"/>
                      <a:pt x="17" y="34"/>
                    </a:cubicBezTo>
                    <a:cubicBezTo>
                      <a:pt x="18" y="35"/>
                      <a:pt x="18" y="35"/>
                      <a:pt x="18" y="35"/>
                    </a:cubicBezTo>
                    <a:cubicBezTo>
                      <a:pt x="19" y="37"/>
                      <a:pt x="21" y="38"/>
                      <a:pt x="24" y="40"/>
                    </a:cubicBezTo>
                    <a:cubicBezTo>
                      <a:pt x="25" y="41"/>
                      <a:pt x="25" y="41"/>
                      <a:pt x="25" y="41"/>
                    </a:cubicBezTo>
                    <a:cubicBezTo>
                      <a:pt x="28" y="44"/>
                      <a:pt x="31" y="46"/>
                      <a:pt x="35" y="49"/>
                    </a:cubicBezTo>
                    <a:cubicBezTo>
                      <a:pt x="35" y="50"/>
                      <a:pt x="36" y="50"/>
                      <a:pt x="36" y="51"/>
                    </a:cubicBezTo>
                    <a:cubicBezTo>
                      <a:pt x="37" y="51"/>
                      <a:pt x="37" y="51"/>
                      <a:pt x="37" y="51"/>
                    </a:cubicBezTo>
                    <a:cubicBezTo>
                      <a:pt x="40" y="53"/>
                      <a:pt x="43" y="55"/>
                      <a:pt x="44" y="59"/>
                    </a:cubicBezTo>
                    <a:cubicBezTo>
                      <a:pt x="48" y="68"/>
                      <a:pt x="48" y="68"/>
                      <a:pt x="48" y="68"/>
                    </a:cubicBezTo>
                    <a:cubicBezTo>
                      <a:pt x="50" y="68"/>
                      <a:pt x="50" y="68"/>
                      <a:pt x="50" y="68"/>
                    </a:cubicBezTo>
                    <a:cubicBezTo>
                      <a:pt x="51" y="69"/>
                      <a:pt x="52" y="69"/>
                      <a:pt x="53" y="71"/>
                    </a:cubicBezTo>
                    <a:cubicBezTo>
                      <a:pt x="54" y="72"/>
                      <a:pt x="54" y="72"/>
                      <a:pt x="55" y="73"/>
                    </a:cubicBezTo>
                    <a:cubicBezTo>
                      <a:pt x="55" y="74"/>
                      <a:pt x="55" y="75"/>
                      <a:pt x="55" y="75"/>
                    </a:cubicBezTo>
                    <a:cubicBezTo>
                      <a:pt x="55" y="77"/>
                      <a:pt x="54" y="78"/>
                      <a:pt x="52" y="79"/>
                    </a:cubicBezTo>
                    <a:cubicBezTo>
                      <a:pt x="53" y="80"/>
                      <a:pt x="53" y="80"/>
                      <a:pt x="53" y="80"/>
                    </a:cubicBezTo>
                    <a:cubicBezTo>
                      <a:pt x="53" y="80"/>
                      <a:pt x="53" y="80"/>
                      <a:pt x="53" y="80"/>
                    </a:cubicBezTo>
                    <a:cubicBezTo>
                      <a:pt x="53" y="80"/>
                      <a:pt x="53" y="80"/>
                      <a:pt x="53" y="80"/>
                    </a:cubicBezTo>
                    <a:cubicBezTo>
                      <a:pt x="52" y="80"/>
                      <a:pt x="52" y="79"/>
                      <a:pt x="51" y="79"/>
                    </a:cubicBezTo>
                    <a:cubicBezTo>
                      <a:pt x="51" y="80"/>
                      <a:pt x="50" y="80"/>
                      <a:pt x="49" y="80"/>
                    </a:cubicBezTo>
                    <a:cubicBezTo>
                      <a:pt x="48" y="80"/>
                      <a:pt x="48" y="80"/>
                      <a:pt x="48" y="80"/>
                    </a:cubicBezTo>
                    <a:cubicBezTo>
                      <a:pt x="56" y="84"/>
                      <a:pt x="63" y="88"/>
                      <a:pt x="71" y="91"/>
                    </a:cubicBezTo>
                    <a:cubicBezTo>
                      <a:pt x="70" y="88"/>
                      <a:pt x="70" y="88"/>
                      <a:pt x="70" y="88"/>
                    </a:cubicBezTo>
                    <a:cubicBezTo>
                      <a:pt x="73" y="86"/>
                      <a:pt x="73" y="86"/>
                      <a:pt x="73" y="86"/>
                    </a:cubicBezTo>
                    <a:cubicBezTo>
                      <a:pt x="73" y="86"/>
                      <a:pt x="73" y="86"/>
                      <a:pt x="73" y="86"/>
                    </a:cubicBezTo>
                    <a:cubicBezTo>
                      <a:pt x="73" y="85"/>
                      <a:pt x="73" y="85"/>
                      <a:pt x="73" y="84"/>
                    </a:cubicBezTo>
                    <a:cubicBezTo>
                      <a:pt x="73" y="83"/>
                      <a:pt x="73" y="82"/>
                      <a:pt x="72" y="81"/>
                    </a:cubicBezTo>
                    <a:cubicBezTo>
                      <a:pt x="72" y="80"/>
                      <a:pt x="72" y="79"/>
                      <a:pt x="72" y="77"/>
                    </a:cubicBezTo>
                    <a:cubicBezTo>
                      <a:pt x="71" y="73"/>
                      <a:pt x="73" y="69"/>
                      <a:pt x="77" y="65"/>
                    </a:cubicBezTo>
                    <a:cubicBezTo>
                      <a:pt x="78" y="64"/>
                      <a:pt x="80" y="62"/>
                      <a:pt x="81" y="62"/>
                    </a:cubicBezTo>
                    <a:cubicBezTo>
                      <a:pt x="81" y="61"/>
                      <a:pt x="81" y="61"/>
                      <a:pt x="81" y="61"/>
                    </a:cubicBezTo>
                    <a:cubicBezTo>
                      <a:pt x="82" y="61"/>
                      <a:pt x="83" y="60"/>
                      <a:pt x="85" y="59"/>
                    </a:cubicBezTo>
                    <a:cubicBezTo>
                      <a:pt x="83" y="57"/>
                      <a:pt x="83" y="57"/>
                      <a:pt x="83" y="57"/>
                    </a:cubicBezTo>
                    <a:cubicBezTo>
                      <a:pt x="85" y="55"/>
                      <a:pt x="85" y="55"/>
                      <a:pt x="85" y="55"/>
                    </a:cubicBezTo>
                    <a:cubicBezTo>
                      <a:pt x="86" y="53"/>
                      <a:pt x="87" y="53"/>
                      <a:pt x="88" y="53"/>
                    </a:cubicBezTo>
                    <a:cubicBezTo>
                      <a:pt x="89" y="53"/>
                      <a:pt x="89" y="52"/>
                      <a:pt x="90" y="52"/>
                    </a:cubicBezTo>
                    <a:cubicBezTo>
                      <a:pt x="91" y="52"/>
                      <a:pt x="91" y="53"/>
                      <a:pt x="92" y="53"/>
                    </a:cubicBezTo>
                    <a:cubicBezTo>
                      <a:pt x="92" y="53"/>
                      <a:pt x="93" y="53"/>
                      <a:pt x="93" y="53"/>
                    </a:cubicBezTo>
                    <a:cubicBezTo>
                      <a:pt x="93" y="53"/>
                      <a:pt x="93" y="53"/>
                      <a:pt x="93" y="53"/>
                    </a:cubicBezTo>
                    <a:cubicBezTo>
                      <a:pt x="94" y="53"/>
                      <a:pt x="94" y="53"/>
                      <a:pt x="94" y="53"/>
                    </a:cubicBezTo>
                    <a:cubicBezTo>
                      <a:pt x="94" y="53"/>
                      <a:pt x="94" y="53"/>
                      <a:pt x="94" y="53"/>
                    </a:cubicBezTo>
                    <a:cubicBezTo>
                      <a:pt x="95" y="53"/>
                      <a:pt x="95" y="53"/>
                      <a:pt x="95" y="53"/>
                    </a:cubicBezTo>
                    <a:cubicBezTo>
                      <a:pt x="97" y="52"/>
                      <a:pt x="99" y="51"/>
                      <a:pt x="100" y="50"/>
                    </a:cubicBezTo>
                    <a:cubicBezTo>
                      <a:pt x="100" y="50"/>
                      <a:pt x="100" y="50"/>
                      <a:pt x="100" y="50"/>
                    </a:cubicBezTo>
                    <a:cubicBezTo>
                      <a:pt x="100" y="50"/>
                      <a:pt x="100" y="50"/>
                      <a:pt x="100" y="50"/>
                    </a:cubicBezTo>
                    <a:cubicBezTo>
                      <a:pt x="99" y="49"/>
                      <a:pt x="98" y="48"/>
                      <a:pt x="97" y="47"/>
                    </a:cubicBezTo>
                    <a:cubicBezTo>
                      <a:pt x="96" y="45"/>
                      <a:pt x="94" y="43"/>
                      <a:pt x="93" y="41"/>
                    </a:cubicBezTo>
                    <a:cubicBezTo>
                      <a:pt x="89" y="34"/>
                      <a:pt x="89" y="34"/>
                      <a:pt x="89" y="34"/>
                    </a:cubicBezTo>
                    <a:cubicBezTo>
                      <a:pt x="97" y="36"/>
                      <a:pt x="97" y="36"/>
                      <a:pt x="97" y="36"/>
                    </a:cubicBezTo>
                    <a:cubicBezTo>
                      <a:pt x="98" y="37"/>
                      <a:pt x="98" y="37"/>
                      <a:pt x="99" y="37"/>
                    </a:cubicBezTo>
                    <a:cubicBezTo>
                      <a:pt x="99" y="37"/>
                      <a:pt x="98" y="36"/>
                      <a:pt x="98" y="36"/>
                    </a:cubicBezTo>
                    <a:cubicBezTo>
                      <a:pt x="98" y="35"/>
                      <a:pt x="97" y="35"/>
                      <a:pt x="97" y="34"/>
                    </a:cubicBezTo>
                    <a:cubicBezTo>
                      <a:pt x="96" y="34"/>
                      <a:pt x="96" y="34"/>
                      <a:pt x="96" y="34"/>
                    </a:cubicBezTo>
                    <a:cubicBezTo>
                      <a:pt x="95" y="34"/>
                      <a:pt x="95" y="34"/>
                      <a:pt x="95" y="34"/>
                    </a:cubicBezTo>
                    <a:cubicBezTo>
                      <a:pt x="94" y="34"/>
                      <a:pt x="94" y="34"/>
                      <a:pt x="94" y="34"/>
                    </a:cubicBezTo>
                    <a:cubicBezTo>
                      <a:pt x="93" y="33"/>
                      <a:pt x="92" y="32"/>
                      <a:pt x="91" y="32"/>
                    </a:cubicBezTo>
                    <a:cubicBezTo>
                      <a:pt x="89" y="29"/>
                      <a:pt x="89" y="25"/>
                      <a:pt x="89" y="22"/>
                    </a:cubicBezTo>
                    <a:cubicBezTo>
                      <a:pt x="89" y="21"/>
                      <a:pt x="90" y="20"/>
                      <a:pt x="91" y="19"/>
                    </a:cubicBezTo>
                    <a:cubicBezTo>
                      <a:pt x="92" y="18"/>
                      <a:pt x="92" y="18"/>
                      <a:pt x="92" y="18"/>
                    </a:cubicBezTo>
                    <a:cubicBezTo>
                      <a:pt x="92" y="17"/>
                      <a:pt x="93" y="15"/>
                      <a:pt x="94" y="13"/>
                    </a:cubicBezTo>
                    <a:cubicBezTo>
                      <a:pt x="94" y="13"/>
                      <a:pt x="94" y="13"/>
                      <a:pt x="94" y="13"/>
                    </a:cubicBezTo>
                    <a:cubicBezTo>
                      <a:pt x="94" y="13"/>
                      <a:pt x="93" y="13"/>
                      <a:pt x="93" y="13"/>
                    </a:cubicBezTo>
                    <a:cubicBezTo>
                      <a:pt x="92" y="13"/>
                      <a:pt x="92" y="13"/>
                      <a:pt x="92" y="13"/>
                    </a:cubicBezTo>
                    <a:cubicBezTo>
                      <a:pt x="92" y="13"/>
                      <a:pt x="92" y="13"/>
                      <a:pt x="92" y="13"/>
                    </a:cubicBezTo>
                    <a:cubicBezTo>
                      <a:pt x="91" y="13"/>
                      <a:pt x="91" y="13"/>
                      <a:pt x="91" y="13"/>
                    </a:cubicBezTo>
                    <a:cubicBezTo>
                      <a:pt x="91" y="13"/>
                      <a:pt x="91" y="13"/>
                      <a:pt x="91" y="13"/>
                    </a:cubicBezTo>
                    <a:cubicBezTo>
                      <a:pt x="89" y="13"/>
                      <a:pt x="88" y="13"/>
                      <a:pt x="87" y="13"/>
                    </a:cubicBezTo>
                    <a:cubicBezTo>
                      <a:pt x="84" y="12"/>
                      <a:pt x="81" y="11"/>
                      <a:pt x="80" y="8"/>
                    </a:cubicBezTo>
                    <a:cubicBezTo>
                      <a:pt x="79" y="8"/>
                      <a:pt x="79" y="8"/>
                      <a:pt x="79" y="8"/>
                    </a:cubicBezTo>
                    <a:cubicBezTo>
                      <a:pt x="79" y="7"/>
                      <a:pt x="78" y="7"/>
                      <a:pt x="77" y="7"/>
                    </a:cubicBezTo>
                    <a:cubicBezTo>
                      <a:pt x="77" y="6"/>
                      <a:pt x="77" y="6"/>
                      <a:pt x="77" y="6"/>
                    </a:cubicBezTo>
                    <a:cubicBezTo>
                      <a:pt x="76" y="6"/>
                      <a:pt x="76" y="6"/>
                      <a:pt x="76" y="6"/>
                    </a:cubicBezTo>
                    <a:cubicBezTo>
                      <a:pt x="75" y="6"/>
                      <a:pt x="75" y="6"/>
                      <a:pt x="75" y="6"/>
                    </a:cubicBezTo>
                    <a:cubicBezTo>
                      <a:pt x="74" y="6"/>
                      <a:pt x="74" y="6"/>
                      <a:pt x="74" y="6"/>
                    </a:cubicBezTo>
                    <a:cubicBezTo>
                      <a:pt x="70" y="6"/>
                      <a:pt x="65" y="6"/>
                      <a:pt x="61" y="5"/>
                    </a:cubicBezTo>
                    <a:cubicBezTo>
                      <a:pt x="41" y="3"/>
                      <a:pt x="41" y="3"/>
                      <a:pt x="41" y="3"/>
                    </a:cubicBezTo>
                    <a:cubicBezTo>
                      <a:pt x="37" y="2"/>
                      <a:pt x="33"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289"/>
              <p:cNvSpPr/>
              <p:nvPr/>
            </p:nvSpPr>
            <p:spPr bwMode="auto">
              <a:xfrm>
                <a:off x="5914611" y="4790651"/>
                <a:ext cx="25796" cy="11055"/>
              </a:xfrm>
              <a:custGeom>
                <a:gdLst>
                  <a:gd name="T0" fmla="*/ 0 w 8"/>
                  <a:gd name="T1" fmla="*/ 0 h 4"/>
                  <a:gd name="T2" fmla="*/ 8 w 8"/>
                  <a:gd name="T3" fmla="*/ 4 h 4"/>
                  <a:gd name="T4" fmla="*/ 7 w 8"/>
                  <a:gd name="T5" fmla="*/ 2 h 4"/>
                  <a:gd name="T6" fmla="*/ 0 w 8"/>
                  <a:gd name="T7" fmla="*/ 0 h 4"/>
                </a:gdLst>
                <a:cxnLst>
                  <a:cxn ang="0">
                    <a:pos x="T0" y="T1"/>
                  </a:cxn>
                  <a:cxn ang="0">
                    <a:pos x="T2" y="T3"/>
                  </a:cxn>
                  <a:cxn ang="0">
                    <a:pos x="T4" y="T5"/>
                  </a:cxn>
                  <a:cxn ang="0">
                    <a:pos x="T6" y="T7"/>
                  </a:cxn>
                </a:cxnLst>
                <a:rect l="0" t="0" r="r" b="b"/>
                <a:pathLst>
                  <a:path w="8" h="4">
                    <a:moveTo>
                      <a:pt x="0" y="0"/>
                    </a:moveTo>
                    <a:cubicBezTo>
                      <a:pt x="2" y="2"/>
                      <a:pt x="5" y="3"/>
                      <a:pt x="8" y="4"/>
                    </a:cubicBezTo>
                    <a:cubicBezTo>
                      <a:pt x="7" y="2"/>
                      <a:pt x="7" y="2"/>
                      <a:pt x="7" y="2"/>
                    </a:cubicBezTo>
                    <a:cubicBezTo>
                      <a:pt x="5"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Rectangle 290"/>
              <p:cNvSpPr>
                <a:spLocks noChangeArrowheads="1"/>
              </p:cNvSpPr>
              <p:nvPr/>
            </p:nvSpPr>
            <p:spPr bwMode="auto">
              <a:xfrm>
                <a:off x="6025164" y="484592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291"/>
              <p:cNvSpPr/>
              <p:nvPr/>
            </p:nvSpPr>
            <p:spPr bwMode="auto">
              <a:xfrm flipH="1">
                <a:off x="6025164" y="4845928"/>
                <a:ext cx="0" cy="3685"/>
              </a:xfrm>
              <a:custGeom>
                <a:gdLst>
                  <a:gd name="T0" fmla="*/ 0 h 1"/>
                  <a:gd name="T1" fmla="*/ 1 h 1"/>
                  <a:gd name="T2" fmla="*/ 1 h 1"/>
                  <a:gd name="T3" fmla="*/ 0 h 1"/>
                </a:gd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Rectangle 292"/>
              <p:cNvSpPr>
                <a:spLocks noChangeArrowheads="1"/>
              </p:cNvSpPr>
              <p:nvPr/>
            </p:nvSpPr>
            <p:spPr bwMode="auto">
              <a:xfrm>
                <a:off x="6165199" y="480539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293"/>
              <p:cNvSpPr/>
              <p:nvPr/>
            </p:nvSpPr>
            <p:spPr bwMode="auto">
              <a:xfrm flipH="1">
                <a:off x="6165199" y="480539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294"/>
              <p:cNvSpPr/>
              <p:nvPr/>
            </p:nvSpPr>
            <p:spPr bwMode="auto">
              <a:xfrm>
                <a:off x="6028849" y="4739059"/>
                <a:ext cx="140034" cy="162145"/>
              </a:xfrm>
              <a:custGeom>
                <a:gdLst>
                  <a:gd name="T0" fmla="*/ 18 w 44"/>
                  <a:gd name="T1" fmla="*/ 0 h 51"/>
                  <a:gd name="T2" fmla="*/ 17 w 44"/>
                  <a:gd name="T3" fmla="*/ 0 h 51"/>
                  <a:gd name="T4" fmla="*/ 18 w 44"/>
                  <a:gd name="T5" fmla="*/ 1 h 51"/>
                  <a:gd name="T6" fmla="*/ 21 w 44"/>
                  <a:gd name="T7" fmla="*/ 5 h 51"/>
                  <a:gd name="T8" fmla="*/ 17 w 44"/>
                  <a:gd name="T9" fmla="*/ 7 h 51"/>
                  <a:gd name="T10" fmla="*/ 14 w 44"/>
                  <a:gd name="T11" fmla="*/ 7 h 51"/>
                  <a:gd name="T12" fmla="*/ 12 w 44"/>
                  <a:gd name="T13" fmla="*/ 7 h 51"/>
                  <a:gd name="T14" fmla="*/ 11 w 44"/>
                  <a:gd name="T15" fmla="*/ 6 h 51"/>
                  <a:gd name="T16" fmla="*/ 10 w 44"/>
                  <a:gd name="T17" fmla="*/ 6 h 51"/>
                  <a:gd name="T18" fmla="*/ 10 w 44"/>
                  <a:gd name="T19" fmla="*/ 7 h 51"/>
                  <a:gd name="T20" fmla="*/ 9 w 44"/>
                  <a:gd name="T21" fmla="*/ 7 h 51"/>
                  <a:gd name="T22" fmla="*/ 6 w 44"/>
                  <a:gd name="T23" fmla="*/ 10 h 51"/>
                  <a:gd name="T24" fmla="*/ 2 w 44"/>
                  <a:gd name="T25" fmla="*/ 17 h 51"/>
                  <a:gd name="T26" fmla="*/ 3 w 44"/>
                  <a:gd name="T27" fmla="*/ 19 h 51"/>
                  <a:gd name="T28" fmla="*/ 4 w 44"/>
                  <a:gd name="T29" fmla="*/ 22 h 51"/>
                  <a:gd name="T30" fmla="*/ 4 w 44"/>
                  <a:gd name="T31" fmla="*/ 28 h 51"/>
                  <a:gd name="T32" fmla="*/ 0 w 44"/>
                  <a:gd name="T33" fmla="*/ 32 h 51"/>
                  <a:gd name="T34" fmla="*/ 0 w 44"/>
                  <a:gd name="T35" fmla="*/ 33 h 51"/>
                  <a:gd name="T36" fmla="*/ 1 w 44"/>
                  <a:gd name="T37" fmla="*/ 33 h 51"/>
                  <a:gd name="T38" fmla="*/ 4 w 44"/>
                  <a:gd name="T39" fmla="*/ 32 h 51"/>
                  <a:gd name="T40" fmla="*/ 4 w 44"/>
                  <a:gd name="T41" fmla="*/ 32 h 51"/>
                  <a:gd name="T42" fmla="*/ 4 w 44"/>
                  <a:gd name="T43" fmla="*/ 32 h 51"/>
                  <a:gd name="T44" fmla="*/ 5 w 44"/>
                  <a:gd name="T45" fmla="*/ 32 h 51"/>
                  <a:gd name="T46" fmla="*/ 6 w 44"/>
                  <a:gd name="T47" fmla="*/ 32 h 51"/>
                  <a:gd name="T48" fmla="*/ 4 w 44"/>
                  <a:gd name="T49" fmla="*/ 35 h 51"/>
                  <a:gd name="T50" fmla="*/ 3 w 44"/>
                  <a:gd name="T51" fmla="*/ 35 h 51"/>
                  <a:gd name="T52" fmla="*/ 1 w 44"/>
                  <a:gd name="T53" fmla="*/ 34 h 51"/>
                  <a:gd name="T54" fmla="*/ 0 w 44"/>
                  <a:gd name="T55" fmla="*/ 35 h 51"/>
                  <a:gd name="T56" fmla="*/ 20 w 44"/>
                  <a:gd name="T57" fmla="*/ 51 h 51"/>
                  <a:gd name="T58" fmla="*/ 20 w 44"/>
                  <a:gd name="T59" fmla="*/ 50 h 51"/>
                  <a:gd name="T60" fmla="*/ 20 w 44"/>
                  <a:gd name="T61" fmla="*/ 46 h 51"/>
                  <a:gd name="T62" fmla="*/ 18 w 44"/>
                  <a:gd name="T63" fmla="*/ 41 h 51"/>
                  <a:gd name="T64" fmla="*/ 21 w 44"/>
                  <a:gd name="T65" fmla="*/ 37 h 51"/>
                  <a:gd name="T66" fmla="*/ 22 w 44"/>
                  <a:gd name="T67" fmla="*/ 36 h 51"/>
                  <a:gd name="T68" fmla="*/ 24 w 44"/>
                  <a:gd name="T69" fmla="*/ 33 h 51"/>
                  <a:gd name="T70" fmla="*/ 24 w 44"/>
                  <a:gd name="T71" fmla="*/ 33 h 51"/>
                  <a:gd name="T72" fmla="*/ 29 w 44"/>
                  <a:gd name="T73" fmla="*/ 26 h 51"/>
                  <a:gd name="T74" fmla="*/ 31 w 44"/>
                  <a:gd name="T75" fmla="*/ 24 h 51"/>
                  <a:gd name="T76" fmla="*/ 35 w 44"/>
                  <a:gd name="T77" fmla="*/ 22 h 51"/>
                  <a:gd name="T78" fmla="*/ 36 w 44"/>
                  <a:gd name="T79" fmla="*/ 25 h 51"/>
                  <a:gd name="T80" fmla="*/ 37 w 44"/>
                  <a:gd name="T81" fmla="*/ 27 h 51"/>
                  <a:gd name="T82" fmla="*/ 38 w 44"/>
                  <a:gd name="T83" fmla="*/ 28 h 51"/>
                  <a:gd name="T84" fmla="*/ 38 w 44"/>
                  <a:gd name="T85" fmla="*/ 29 h 51"/>
                  <a:gd name="T86" fmla="*/ 40 w 44"/>
                  <a:gd name="T87" fmla="*/ 28 h 51"/>
                  <a:gd name="T88" fmla="*/ 40 w 44"/>
                  <a:gd name="T89" fmla="*/ 28 h 51"/>
                  <a:gd name="T90" fmla="*/ 40 w 44"/>
                  <a:gd name="T91" fmla="*/ 25 h 51"/>
                  <a:gd name="T92" fmla="*/ 41 w 44"/>
                  <a:gd name="T93" fmla="*/ 20 h 51"/>
                  <a:gd name="T94" fmla="*/ 42 w 44"/>
                  <a:gd name="T95" fmla="*/ 20 h 51"/>
                  <a:gd name="T96" fmla="*/ 43 w 44"/>
                  <a:gd name="T97" fmla="*/ 19 h 51"/>
                  <a:gd name="T98" fmla="*/ 44 w 44"/>
                  <a:gd name="T99" fmla="*/ 19 h 51"/>
                  <a:gd name="T100" fmla="*/ 44 w 44"/>
                  <a:gd name="T101" fmla="*/ 19 h 51"/>
                  <a:gd name="T102" fmla="*/ 19 w 44"/>
                  <a:gd name="T103" fmla="*/ 0 h 51"/>
                  <a:gd name="T104" fmla="*/ 18 w 44"/>
                  <a:gd name="T105" fmla="*/ 0 h 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51">
                    <a:moveTo>
                      <a:pt x="18" y="0"/>
                    </a:moveTo>
                    <a:cubicBezTo>
                      <a:pt x="17" y="0"/>
                      <a:pt x="17" y="0"/>
                      <a:pt x="17" y="0"/>
                    </a:cubicBezTo>
                    <a:cubicBezTo>
                      <a:pt x="18" y="1"/>
                      <a:pt x="18" y="1"/>
                      <a:pt x="18" y="1"/>
                    </a:cubicBezTo>
                    <a:cubicBezTo>
                      <a:pt x="21" y="5"/>
                      <a:pt x="21" y="5"/>
                      <a:pt x="21" y="5"/>
                    </a:cubicBezTo>
                    <a:cubicBezTo>
                      <a:pt x="17" y="7"/>
                      <a:pt x="17" y="7"/>
                      <a:pt x="17" y="7"/>
                    </a:cubicBezTo>
                    <a:cubicBezTo>
                      <a:pt x="16" y="7"/>
                      <a:pt x="15" y="7"/>
                      <a:pt x="14" y="7"/>
                    </a:cubicBezTo>
                    <a:cubicBezTo>
                      <a:pt x="13" y="7"/>
                      <a:pt x="13" y="7"/>
                      <a:pt x="12" y="7"/>
                    </a:cubicBezTo>
                    <a:cubicBezTo>
                      <a:pt x="12" y="7"/>
                      <a:pt x="11" y="7"/>
                      <a:pt x="11" y="6"/>
                    </a:cubicBezTo>
                    <a:cubicBezTo>
                      <a:pt x="10" y="6"/>
                      <a:pt x="10" y="6"/>
                      <a:pt x="10" y="6"/>
                    </a:cubicBezTo>
                    <a:cubicBezTo>
                      <a:pt x="10" y="7"/>
                      <a:pt x="10" y="7"/>
                      <a:pt x="10" y="7"/>
                    </a:cubicBezTo>
                    <a:cubicBezTo>
                      <a:pt x="9" y="7"/>
                      <a:pt x="9" y="7"/>
                      <a:pt x="9" y="7"/>
                    </a:cubicBezTo>
                    <a:cubicBezTo>
                      <a:pt x="8" y="8"/>
                      <a:pt x="7" y="9"/>
                      <a:pt x="6" y="10"/>
                    </a:cubicBezTo>
                    <a:cubicBezTo>
                      <a:pt x="4" y="12"/>
                      <a:pt x="2" y="15"/>
                      <a:pt x="2" y="17"/>
                    </a:cubicBezTo>
                    <a:cubicBezTo>
                      <a:pt x="3" y="17"/>
                      <a:pt x="3" y="18"/>
                      <a:pt x="3" y="19"/>
                    </a:cubicBezTo>
                    <a:cubicBezTo>
                      <a:pt x="3" y="20"/>
                      <a:pt x="4" y="21"/>
                      <a:pt x="4" y="22"/>
                    </a:cubicBezTo>
                    <a:cubicBezTo>
                      <a:pt x="4" y="24"/>
                      <a:pt x="5" y="26"/>
                      <a:pt x="4" y="28"/>
                    </a:cubicBezTo>
                    <a:cubicBezTo>
                      <a:pt x="3" y="30"/>
                      <a:pt x="2" y="32"/>
                      <a:pt x="0" y="32"/>
                    </a:cubicBezTo>
                    <a:cubicBezTo>
                      <a:pt x="0" y="33"/>
                      <a:pt x="0" y="33"/>
                      <a:pt x="0" y="33"/>
                    </a:cubicBezTo>
                    <a:cubicBezTo>
                      <a:pt x="0" y="33"/>
                      <a:pt x="0" y="33"/>
                      <a:pt x="1" y="33"/>
                    </a:cubicBezTo>
                    <a:cubicBezTo>
                      <a:pt x="2" y="33"/>
                      <a:pt x="3" y="33"/>
                      <a:pt x="4" y="32"/>
                    </a:cubicBezTo>
                    <a:cubicBezTo>
                      <a:pt x="4" y="32"/>
                      <a:pt x="4" y="32"/>
                      <a:pt x="4" y="32"/>
                    </a:cubicBezTo>
                    <a:cubicBezTo>
                      <a:pt x="4" y="32"/>
                      <a:pt x="4" y="32"/>
                      <a:pt x="4" y="32"/>
                    </a:cubicBezTo>
                    <a:cubicBezTo>
                      <a:pt x="4" y="32"/>
                      <a:pt x="5" y="32"/>
                      <a:pt x="5" y="32"/>
                    </a:cubicBezTo>
                    <a:cubicBezTo>
                      <a:pt x="5" y="32"/>
                      <a:pt x="6" y="32"/>
                      <a:pt x="6" y="32"/>
                    </a:cubicBezTo>
                    <a:cubicBezTo>
                      <a:pt x="5" y="34"/>
                      <a:pt x="5" y="35"/>
                      <a:pt x="4" y="35"/>
                    </a:cubicBezTo>
                    <a:cubicBezTo>
                      <a:pt x="4" y="35"/>
                      <a:pt x="4" y="35"/>
                      <a:pt x="3" y="35"/>
                    </a:cubicBezTo>
                    <a:cubicBezTo>
                      <a:pt x="3" y="35"/>
                      <a:pt x="2" y="34"/>
                      <a:pt x="1" y="34"/>
                    </a:cubicBezTo>
                    <a:cubicBezTo>
                      <a:pt x="1" y="34"/>
                      <a:pt x="1" y="34"/>
                      <a:pt x="0" y="35"/>
                    </a:cubicBezTo>
                    <a:cubicBezTo>
                      <a:pt x="7" y="40"/>
                      <a:pt x="14" y="46"/>
                      <a:pt x="20" y="51"/>
                    </a:cubicBezTo>
                    <a:cubicBezTo>
                      <a:pt x="20" y="51"/>
                      <a:pt x="20" y="50"/>
                      <a:pt x="20" y="50"/>
                    </a:cubicBezTo>
                    <a:cubicBezTo>
                      <a:pt x="20" y="49"/>
                      <a:pt x="20" y="47"/>
                      <a:pt x="20" y="46"/>
                    </a:cubicBezTo>
                    <a:cubicBezTo>
                      <a:pt x="18" y="45"/>
                      <a:pt x="18" y="43"/>
                      <a:pt x="18" y="41"/>
                    </a:cubicBezTo>
                    <a:cubicBezTo>
                      <a:pt x="19" y="39"/>
                      <a:pt x="20" y="38"/>
                      <a:pt x="21" y="37"/>
                    </a:cubicBezTo>
                    <a:cubicBezTo>
                      <a:pt x="22" y="36"/>
                      <a:pt x="22" y="36"/>
                      <a:pt x="22" y="36"/>
                    </a:cubicBezTo>
                    <a:cubicBezTo>
                      <a:pt x="23" y="35"/>
                      <a:pt x="23" y="34"/>
                      <a:pt x="24" y="33"/>
                    </a:cubicBezTo>
                    <a:cubicBezTo>
                      <a:pt x="24" y="33"/>
                      <a:pt x="24" y="33"/>
                      <a:pt x="24" y="33"/>
                    </a:cubicBezTo>
                    <a:cubicBezTo>
                      <a:pt x="25" y="30"/>
                      <a:pt x="27" y="28"/>
                      <a:pt x="29" y="26"/>
                    </a:cubicBezTo>
                    <a:cubicBezTo>
                      <a:pt x="29" y="25"/>
                      <a:pt x="30" y="24"/>
                      <a:pt x="31" y="24"/>
                    </a:cubicBezTo>
                    <a:cubicBezTo>
                      <a:pt x="35" y="22"/>
                      <a:pt x="35" y="22"/>
                      <a:pt x="35" y="22"/>
                    </a:cubicBezTo>
                    <a:cubicBezTo>
                      <a:pt x="36" y="25"/>
                      <a:pt x="36" y="25"/>
                      <a:pt x="36" y="25"/>
                    </a:cubicBezTo>
                    <a:cubicBezTo>
                      <a:pt x="37" y="26"/>
                      <a:pt x="37" y="27"/>
                      <a:pt x="37" y="27"/>
                    </a:cubicBezTo>
                    <a:cubicBezTo>
                      <a:pt x="38" y="28"/>
                      <a:pt x="38" y="28"/>
                      <a:pt x="38" y="28"/>
                    </a:cubicBezTo>
                    <a:cubicBezTo>
                      <a:pt x="38" y="29"/>
                      <a:pt x="38" y="29"/>
                      <a:pt x="38" y="29"/>
                    </a:cubicBezTo>
                    <a:cubicBezTo>
                      <a:pt x="39" y="29"/>
                      <a:pt x="39" y="28"/>
                      <a:pt x="40" y="28"/>
                    </a:cubicBezTo>
                    <a:cubicBezTo>
                      <a:pt x="40" y="28"/>
                      <a:pt x="40" y="28"/>
                      <a:pt x="40" y="28"/>
                    </a:cubicBezTo>
                    <a:cubicBezTo>
                      <a:pt x="40" y="27"/>
                      <a:pt x="40" y="26"/>
                      <a:pt x="40" y="25"/>
                    </a:cubicBezTo>
                    <a:cubicBezTo>
                      <a:pt x="39" y="23"/>
                      <a:pt x="40" y="21"/>
                      <a:pt x="41" y="20"/>
                    </a:cubicBezTo>
                    <a:cubicBezTo>
                      <a:pt x="42" y="20"/>
                      <a:pt x="42" y="20"/>
                      <a:pt x="42" y="20"/>
                    </a:cubicBezTo>
                    <a:cubicBezTo>
                      <a:pt x="43" y="19"/>
                      <a:pt x="43" y="19"/>
                      <a:pt x="43" y="19"/>
                    </a:cubicBezTo>
                    <a:cubicBezTo>
                      <a:pt x="44" y="19"/>
                      <a:pt x="44" y="19"/>
                      <a:pt x="44" y="19"/>
                    </a:cubicBezTo>
                    <a:cubicBezTo>
                      <a:pt x="44" y="19"/>
                      <a:pt x="44" y="19"/>
                      <a:pt x="44" y="19"/>
                    </a:cubicBezTo>
                    <a:cubicBezTo>
                      <a:pt x="19" y="0"/>
                      <a:pt x="19" y="0"/>
                      <a:pt x="19" y="0"/>
                    </a:cubicBezTo>
                    <a:cubicBezTo>
                      <a:pt x="19"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295"/>
              <p:cNvSpPr/>
              <p:nvPr/>
            </p:nvSpPr>
            <p:spPr bwMode="auto">
              <a:xfrm>
                <a:off x="6095182" y="4845928"/>
                <a:ext cx="147405" cy="287439"/>
              </a:xfrm>
              <a:custGeom>
                <a:gdLst>
                  <a:gd name="T0" fmla="*/ 9 w 46"/>
                  <a:gd name="T1" fmla="*/ 4 h 91"/>
                  <a:gd name="T2" fmla="*/ 7 w 46"/>
                  <a:gd name="T3" fmla="*/ 7 h 91"/>
                  <a:gd name="T4" fmla="*/ 5 w 46"/>
                  <a:gd name="T5" fmla="*/ 9 h 91"/>
                  <a:gd name="T6" fmla="*/ 6 w 46"/>
                  <a:gd name="T7" fmla="*/ 19 h 91"/>
                  <a:gd name="T8" fmla="*/ 6 w 46"/>
                  <a:gd name="T9" fmla="*/ 20 h 91"/>
                  <a:gd name="T10" fmla="*/ 8 w 46"/>
                  <a:gd name="T11" fmla="*/ 26 h 91"/>
                  <a:gd name="T12" fmla="*/ 7 w 46"/>
                  <a:gd name="T13" fmla="*/ 30 h 91"/>
                  <a:gd name="T14" fmla="*/ 4 w 46"/>
                  <a:gd name="T15" fmla="*/ 37 h 91"/>
                  <a:gd name="T16" fmla="*/ 6 w 46"/>
                  <a:gd name="T17" fmla="*/ 46 h 91"/>
                  <a:gd name="T18" fmla="*/ 1 w 46"/>
                  <a:gd name="T19" fmla="*/ 63 h 91"/>
                  <a:gd name="T20" fmla="*/ 1 w 46"/>
                  <a:gd name="T21" fmla="*/ 70 h 91"/>
                  <a:gd name="T22" fmla="*/ 11 w 46"/>
                  <a:gd name="T23" fmla="*/ 79 h 91"/>
                  <a:gd name="T24" fmla="*/ 20 w 46"/>
                  <a:gd name="T25" fmla="*/ 91 h 91"/>
                  <a:gd name="T26" fmla="*/ 24 w 46"/>
                  <a:gd name="T27" fmla="*/ 91 h 91"/>
                  <a:gd name="T28" fmla="*/ 26 w 46"/>
                  <a:gd name="T29" fmla="*/ 89 h 91"/>
                  <a:gd name="T30" fmla="*/ 27 w 46"/>
                  <a:gd name="T31" fmla="*/ 86 h 91"/>
                  <a:gd name="T32" fmla="*/ 28 w 46"/>
                  <a:gd name="T33" fmla="*/ 81 h 91"/>
                  <a:gd name="T34" fmla="*/ 32 w 46"/>
                  <a:gd name="T35" fmla="*/ 78 h 91"/>
                  <a:gd name="T36" fmla="*/ 36 w 46"/>
                  <a:gd name="T37" fmla="*/ 78 h 91"/>
                  <a:gd name="T38" fmla="*/ 37 w 46"/>
                  <a:gd name="T39" fmla="*/ 74 h 91"/>
                  <a:gd name="T40" fmla="*/ 40 w 46"/>
                  <a:gd name="T41" fmla="*/ 67 h 91"/>
                  <a:gd name="T42" fmla="*/ 46 w 46"/>
                  <a:gd name="T43" fmla="*/ 62 h 91"/>
                  <a:gd name="T44" fmla="*/ 46 w 46"/>
                  <a:gd name="T45" fmla="*/ 61 h 91"/>
                  <a:gd name="T46" fmla="*/ 45 w 46"/>
                  <a:gd name="T47" fmla="*/ 57 h 91"/>
                  <a:gd name="T48" fmla="*/ 43 w 46"/>
                  <a:gd name="T49" fmla="*/ 58 h 91"/>
                  <a:gd name="T50" fmla="*/ 37 w 46"/>
                  <a:gd name="T51" fmla="*/ 50 h 91"/>
                  <a:gd name="T52" fmla="*/ 36 w 46"/>
                  <a:gd name="T53" fmla="*/ 49 h 91"/>
                  <a:gd name="T54" fmla="*/ 32 w 46"/>
                  <a:gd name="T55" fmla="*/ 43 h 91"/>
                  <a:gd name="T56" fmla="*/ 33 w 46"/>
                  <a:gd name="T57" fmla="*/ 37 h 91"/>
                  <a:gd name="T58" fmla="*/ 30 w 46"/>
                  <a:gd name="T59" fmla="*/ 32 h 91"/>
                  <a:gd name="T60" fmla="*/ 33 w 46"/>
                  <a:gd name="T61" fmla="*/ 28 h 91"/>
                  <a:gd name="T62" fmla="*/ 33 w 46"/>
                  <a:gd name="T63" fmla="*/ 25 h 91"/>
                  <a:gd name="T64" fmla="*/ 33 w 46"/>
                  <a:gd name="T65" fmla="*/ 24 h 91"/>
                  <a:gd name="T66" fmla="*/ 34 w 46"/>
                  <a:gd name="T67" fmla="*/ 21 h 91"/>
                  <a:gd name="T68" fmla="*/ 33 w 46"/>
                  <a:gd name="T69" fmla="*/ 17 h 91"/>
                  <a:gd name="T70" fmla="*/ 32 w 46"/>
                  <a:gd name="T71" fmla="*/ 11 h 91"/>
                  <a:gd name="T72" fmla="*/ 31 w 46"/>
                  <a:gd name="T73" fmla="*/ 10 h 91"/>
                  <a:gd name="T74" fmla="*/ 28 w 46"/>
                  <a:gd name="T75" fmla="*/ 7 h 91"/>
                  <a:gd name="T76" fmla="*/ 27 w 46"/>
                  <a:gd name="T77" fmla="*/ 6 h 91"/>
                  <a:gd name="T78" fmla="*/ 25 w 46"/>
                  <a:gd name="T79" fmla="*/ 4 h 91"/>
                  <a:gd name="T80" fmla="*/ 22 w 46"/>
                  <a:gd name="T81" fmla="*/ 2 h 91"/>
                  <a:gd name="T82" fmla="*/ 16 w 46"/>
                  <a:gd name="T83" fmla="*/ 3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91">
                    <a:moveTo>
                      <a:pt x="11" y="0"/>
                    </a:moveTo>
                    <a:cubicBezTo>
                      <a:pt x="10" y="1"/>
                      <a:pt x="10" y="3"/>
                      <a:pt x="9" y="4"/>
                    </a:cubicBezTo>
                    <a:cubicBezTo>
                      <a:pt x="8" y="4"/>
                      <a:pt x="8" y="4"/>
                      <a:pt x="8" y="4"/>
                    </a:cubicBezTo>
                    <a:cubicBezTo>
                      <a:pt x="8" y="5"/>
                      <a:pt x="7" y="6"/>
                      <a:pt x="7" y="7"/>
                    </a:cubicBezTo>
                    <a:cubicBezTo>
                      <a:pt x="6" y="7"/>
                      <a:pt x="6" y="8"/>
                      <a:pt x="5" y="8"/>
                    </a:cubicBezTo>
                    <a:cubicBezTo>
                      <a:pt x="5" y="9"/>
                      <a:pt x="5" y="9"/>
                      <a:pt x="5" y="9"/>
                    </a:cubicBezTo>
                    <a:cubicBezTo>
                      <a:pt x="7" y="12"/>
                      <a:pt x="6" y="15"/>
                      <a:pt x="6" y="17"/>
                    </a:cubicBezTo>
                    <a:cubicBezTo>
                      <a:pt x="6" y="18"/>
                      <a:pt x="6" y="19"/>
                      <a:pt x="6" y="19"/>
                    </a:cubicBezTo>
                    <a:cubicBezTo>
                      <a:pt x="6" y="20"/>
                      <a:pt x="6" y="20"/>
                      <a:pt x="6" y="20"/>
                    </a:cubicBezTo>
                    <a:cubicBezTo>
                      <a:pt x="6" y="20"/>
                      <a:pt x="6" y="20"/>
                      <a:pt x="6" y="20"/>
                    </a:cubicBezTo>
                    <a:cubicBezTo>
                      <a:pt x="6" y="21"/>
                      <a:pt x="6" y="21"/>
                      <a:pt x="6" y="22"/>
                    </a:cubicBezTo>
                    <a:cubicBezTo>
                      <a:pt x="8" y="22"/>
                      <a:pt x="8" y="23"/>
                      <a:pt x="8" y="26"/>
                    </a:cubicBezTo>
                    <a:cubicBezTo>
                      <a:pt x="8" y="27"/>
                      <a:pt x="9" y="30"/>
                      <a:pt x="8" y="30"/>
                    </a:cubicBezTo>
                    <a:cubicBezTo>
                      <a:pt x="7" y="30"/>
                      <a:pt x="7" y="30"/>
                      <a:pt x="7" y="30"/>
                    </a:cubicBezTo>
                    <a:cubicBezTo>
                      <a:pt x="7" y="30"/>
                      <a:pt x="7" y="30"/>
                      <a:pt x="7" y="30"/>
                    </a:cubicBezTo>
                    <a:cubicBezTo>
                      <a:pt x="4" y="30"/>
                      <a:pt x="5" y="33"/>
                      <a:pt x="4" y="37"/>
                    </a:cubicBezTo>
                    <a:cubicBezTo>
                      <a:pt x="3" y="36"/>
                      <a:pt x="3" y="36"/>
                      <a:pt x="3" y="36"/>
                    </a:cubicBezTo>
                    <a:cubicBezTo>
                      <a:pt x="6" y="41"/>
                      <a:pt x="7" y="41"/>
                      <a:pt x="6" y="46"/>
                    </a:cubicBezTo>
                    <a:cubicBezTo>
                      <a:pt x="5" y="49"/>
                      <a:pt x="5" y="51"/>
                      <a:pt x="5" y="54"/>
                    </a:cubicBezTo>
                    <a:cubicBezTo>
                      <a:pt x="3" y="54"/>
                      <a:pt x="0" y="60"/>
                      <a:pt x="1" y="63"/>
                    </a:cubicBezTo>
                    <a:cubicBezTo>
                      <a:pt x="3" y="66"/>
                      <a:pt x="4" y="69"/>
                      <a:pt x="5" y="73"/>
                    </a:cubicBezTo>
                    <a:cubicBezTo>
                      <a:pt x="4" y="73"/>
                      <a:pt x="1" y="70"/>
                      <a:pt x="1" y="70"/>
                    </a:cubicBezTo>
                    <a:cubicBezTo>
                      <a:pt x="1" y="70"/>
                      <a:pt x="1" y="70"/>
                      <a:pt x="1" y="70"/>
                    </a:cubicBezTo>
                    <a:cubicBezTo>
                      <a:pt x="3" y="75"/>
                      <a:pt x="7" y="76"/>
                      <a:pt x="11" y="79"/>
                    </a:cubicBezTo>
                    <a:cubicBezTo>
                      <a:pt x="15" y="81"/>
                      <a:pt x="16" y="82"/>
                      <a:pt x="18" y="86"/>
                    </a:cubicBezTo>
                    <a:cubicBezTo>
                      <a:pt x="18" y="88"/>
                      <a:pt x="19" y="89"/>
                      <a:pt x="20" y="91"/>
                    </a:cubicBezTo>
                    <a:cubicBezTo>
                      <a:pt x="23" y="91"/>
                      <a:pt x="23" y="91"/>
                      <a:pt x="23" y="91"/>
                    </a:cubicBezTo>
                    <a:cubicBezTo>
                      <a:pt x="24" y="91"/>
                      <a:pt x="24" y="91"/>
                      <a:pt x="24" y="91"/>
                    </a:cubicBezTo>
                    <a:cubicBezTo>
                      <a:pt x="24" y="91"/>
                      <a:pt x="25" y="91"/>
                      <a:pt x="25" y="91"/>
                    </a:cubicBezTo>
                    <a:cubicBezTo>
                      <a:pt x="25" y="90"/>
                      <a:pt x="26" y="89"/>
                      <a:pt x="26" y="89"/>
                    </a:cubicBezTo>
                    <a:cubicBezTo>
                      <a:pt x="26" y="88"/>
                      <a:pt x="27" y="88"/>
                      <a:pt x="27" y="88"/>
                    </a:cubicBezTo>
                    <a:cubicBezTo>
                      <a:pt x="27" y="87"/>
                      <a:pt x="27" y="87"/>
                      <a:pt x="27" y="86"/>
                    </a:cubicBezTo>
                    <a:cubicBezTo>
                      <a:pt x="27" y="86"/>
                      <a:pt x="26" y="85"/>
                      <a:pt x="26" y="84"/>
                    </a:cubicBezTo>
                    <a:cubicBezTo>
                      <a:pt x="27" y="82"/>
                      <a:pt x="28" y="81"/>
                      <a:pt x="28" y="81"/>
                    </a:cubicBezTo>
                    <a:cubicBezTo>
                      <a:pt x="29" y="81"/>
                      <a:pt x="29" y="80"/>
                      <a:pt x="29" y="80"/>
                    </a:cubicBezTo>
                    <a:cubicBezTo>
                      <a:pt x="30" y="79"/>
                      <a:pt x="31" y="78"/>
                      <a:pt x="32" y="78"/>
                    </a:cubicBezTo>
                    <a:cubicBezTo>
                      <a:pt x="33" y="78"/>
                      <a:pt x="34" y="77"/>
                      <a:pt x="35" y="77"/>
                    </a:cubicBezTo>
                    <a:cubicBezTo>
                      <a:pt x="35" y="77"/>
                      <a:pt x="35" y="77"/>
                      <a:pt x="36" y="78"/>
                    </a:cubicBezTo>
                    <a:cubicBezTo>
                      <a:pt x="36" y="78"/>
                      <a:pt x="36" y="78"/>
                      <a:pt x="36" y="78"/>
                    </a:cubicBezTo>
                    <a:cubicBezTo>
                      <a:pt x="36" y="77"/>
                      <a:pt x="37" y="75"/>
                      <a:pt x="37" y="74"/>
                    </a:cubicBezTo>
                    <a:cubicBezTo>
                      <a:pt x="37" y="74"/>
                      <a:pt x="37" y="74"/>
                      <a:pt x="37" y="74"/>
                    </a:cubicBezTo>
                    <a:cubicBezTo>
                      <a:pt x="38" y="71"/>
                      <a:pt x="39" y="69"/>
                      <a:pt x="40" y="67"/>
                    </a:cubicBezTo>
                    <a:cubicBezTo>
                      <a:pt x="42" y="65"/>
                      <a:pt x="44" y="63"/>
                      <a:pt x="45" y="63"/>
                    </a:cubicBezTo>
                    <a:cubicBezTo>
                      <a:pt x="46" y="62"/>
                      <a:pt x="46" y="62"/>
                      <a:pt x="46" y="62"/>
                    </a:cubicBezTo>
                    <a:cubicBezTo>
                      <a:pt x="46" y="62"/>
                      <a:pt x="46" y="62"/>
                      <a:pt x="46" y="62"/>
                    </a:cubicBezTo>
                    <a:cubicBezTo>
                      <a:pt x="46" y="62"/>
                      <a:pt x="46" y="62"/>
                      <a:pt x="46" y="61"/>
                    </a:cubicBezTo>
                    <a:cubicBezTo>
                      <a:pt x="45" y="59"/>
                      <a:pt x="45" y="58"/>
                      <a:pt x="45" y="57"/>
                    </a:cubicBezTo>
                    <a:cubicBezTo>
                      <a:pt x="45" y="57"/>
                      <a:pt x="45" y="57"/>
                      <a:pt x="45" y="57"/>
                    </a:cubicBezTo>
                    <a:cubicBezTo>
                      <a:pt x="45" y="57"/>
                      <a:pt x="45" y="57"/>
                      <a:pt x="45" y="57"/>
                    </a:cubicBezTo>
                    <a:cubicBezTo>
                      <a:pt x="43" y="58"/>
                      <a:pt x="43" y="58"/>
                      <a:pt x="43" y="58"/>
                    </a:cubicBezTo>
                    <a:cubicBezTo>
                      <a:pt x="40" y="53"/>
                      <a:pt x="40" y="53"/>
                      <a:pt x="40" y="53"/>
                    </a:cubicBezTo>
                    <a:cubicBezTo>
                      <a:pt x="39" y="52"/>
                      <a:pt x="38" y="51"/>
                      <a:pt x="37" y="50"/>
                    </a:cubicBezTo>
                    <a:cubicBezTo>
                      <a:pt x="37" y="50"/>
                      <a:pt x="37" y="50"/>
                      <a:pt x="37" y="50"/>
                    </a:cubicBezTo>
                    <a:cubicBezTo>
                      <a:pt x="36" y="49"/>
                      <a:pt x="36" y="49"/>
                      <a:pt x="36" y="49"/>
                    </a:cubicBezTo>
                    <a:cubicBezTo>
                      <a:pt x="35" y="48"/>
                      <a:pt x="33" y="46"/>
                      <a:pt x="32" y="44"/>
                    </a:cubicBezTo>
                    <a:cubicBezTo>
                      <a:pt x="32" y="43"/>
                      <a:pt x="32" y="43"/>
                      <a:pt x="32" y="43"/>
                    </a:cubicBezTo>
                    <a:cubicBezTo>
                      <a:pt x="31" y="40"/>
                      <a:pt x="32" y="38"/>
                      <a:pt x="33" y="37"/>
                    </a:cubicBezTo>
                    <a:cubicBezTo>
                      <a:pt x="33" y="37"/>
                      <a:pt x="33" y="37"/>
                      <a:pt x="33" y="37"/>
                    </a:cubicBezTo>
                    <a:cubicBezTo>
                      <a:pt x="33" y="36"/>
                      <a:pt x="33" y="36"/>
                      <a:pt x="32" y="36"/>
                    </a:cubicBezTo>
                    <a:cubicBezTo>
                      <a:pt x="31" y="34"/>
                      <a:pt x="31" y="33"/>
                      <a:pt x="30" y="32"/>
                    </a:cubicBezTo>
                    <a:cubicBezTo>
                      <a:pt x="29" y="28"/>
                      <a:pt x="29" y="28"/>
                      <a:pt x="29" y="28"/>
                    </a:cubicBezTo>
                    <a:cubicBezTo>
                      <a:pt x="33" y="28"/>
                      <a:pt x="33" y="28"/>
                      <a:pt x="33" y="28"/>
                    </a:cubicBezTo>
                    <a:cubicBezTo>
                      <a:pt x="33" y="27"/>
                      <a:pt x="33" y="27"/>
                      <a:pt x="33" y="27"/>
                    </a:cubicBezTo>
                    <a:cubicBezTo>
                      <a:pt x="33" y="26"/>
                      <a:pt x="33" y="26"/>
                      <a:pt x="33" y="25"/>
                    </a:cubicBezTo>
                    <a:cubicBezTo>
                      <a:pt x="33" y="24"/>
                      <a:pt x="33" y="24"/>
                      <a:pt x="33" y="24"/>
                    </a:cubicBezTo>
                    <a:cubicBezTo>
                      <a:pt x="33" y="24"/>
                      <a:pt x="33" y="24"/>
                      <a:pt x="33" y="24"/>
                    </a:cubicBezTo>
                    <a:cubicBezTo>
                      <a:pt x="33" y="24"/>
                      <a:pt x="33" y="24"/>
                      <a:pt x="33" y="24"/>
                    </a:cubicBezTo>
                    <a:cubicBezTo>
                      <a:pt x="34" y="21"/>
                      <a:pt x="34" y="21"/>
                      <a:pt x="34" y="21"/>
                    </a:cubicBezTo>
                    <a:cubicBezTo>
                      <a:pt x="34" y="20"/>
                      <a:pt x="34" y="20"/>
                      <a:pt x="34" y="20"/>
                    </a:cubicBezTo>
                    <a:cubicBezTo>
                      <a:pt x="33" y="17"/>
                      <a:pt x="33" y="17"/>
                      <a:pt x="33" y="17"/>
                    </a:cubicBezTo>
                    <a:cubicBezTo>
                      <a:pt x="33" y="17"/>
                      <a:pt x="33" y="16"/>
                      <a:pt x="33" y="16"/>
                    </a:cubicBezTo>
                    <a:cubicBezTo>
                      <a:pt x="33" y="14"/>
                      <a:pt x="33" y="12"/>
                      <a:pt x="32" y="11"/>
                    </a:cubicBezTo>
                    <a:cubicBezTo>
                      <a:pt x="32" y="11"/>
                      <a:pt x="32" y="11"/>
                      <a:pt x="32" y="11"/>
                    </a:cubicBezTo>
                    <a:cubicBezTo>
                      <a:pt x="32" y="10"/>
                      <a:pt x="31" y="10"/>
                      <a:pt x="31" y="10"/>
                    </a:cubicBezTo>
                    <a:cubicBezTo>
                      <a:pt x="31" y="9"/>
                      <a:pt x="30" y="9"/>
                      <a:pt x="30" y="9"/>
                    </a:cubicBezTo>
                    <a:cubicBezTo>
                      <a:pt x="29" y="8"/>
                      <a:pt x="28" y="8"/>
                      <a:pt x="28" y="7"/>
                    </a:cubicBezTo>
                    <a:cubicBezTo>
                      <a:pt x="27" y="7"/>
                      <a:pt x="27" y="7"/>
                      <a:pt x="27" y="7"/>
                    </a:cubicBezTo>
                    <a:cubicBezTo>
                      <a:pt x="27" y="6"/>
                      <a:pt x="27" y="6"/>
                      <a:pt x="27" y="6"/>
                    </a:cubicBezTo>
                    <a:cubicBezTo>
                      <a:pt x="26" y="6"/>
                      <a:pt x="26" y="6"/>
                      <a:pt x="25" y="5"/>
                    </a:cubicBezTo>
                    <a:cubicBezTo>
                      <a:pt x="25" y="4"/>
                      <a:pt x="25" y="4"/>
                      <a:pt x="25" y="4"/>
                    </a:cubicBezTo>
                    <a:cubicBezTo>
                      <a:pt x="24" y="4"/>
                      <a:pt x="24" y="3"/>
                      <a:pt x="23" y="3"/>
                    </a:cubicBezTo>
                    <a:cubicBezTo>
                      <a:pt x="22" y="2"/>
                      <a:pt x="22" y="2"/>
                      <a:pt x="22" y="2"/>
                    </a:cubicBezTo>
                    <a:cubicBezTo>
                      <a:pt x="22" y="1"/>
                      <a:pt x="22" y="1"/>
                      <a:pt x="22" y="1"/>
                    </a:cubicBezTo>
                    <a:cubicBezTo>
                      <a:pt x="20" y="2"/>
                      <a:pt x="18" y="3"/>
                      <a:pt x="16" y="3"/>
                    </a:cubicBezTo>
                    <a:cubicBezTo>
                      <a:pt x="14" y="3"/>
                      <a:pt x="13"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296"/>
              <p:cNvSpPr/>
              <p:nvPr/>
            </p:nvSpPr>
            <p:spPr bwMode="auto">
              <a:xfrm>
                <a:off x="6176254" y="4768540"/>
                <a:ext cx="132664" cy="125294"/>
              </a:xfrm>
              <a:custGeom>
                <a:gdLst>
                  <a:gd name="T0" fmla="*/ 17 w 41"/>
                  <a:gd name="T1" fmla="*/ 0 h 40"/>
                  <a:gd name="T2" fmla="*/ 18 w 41"/>
                  <a:gd name="T3" fmla="*/ 5 h 40"/>
                  <a:gd name="T4" fmla="*/ 14 w 41"/>
                  <a:gd name="T5" fmla="*/ 9 h 40"/>
                  <a:gd name="T6" fmla="*/ 11 w 41"/>
                  <a:gd name="T7" fmla="*/ 9 h 40"/>
                  <a:gd name="T8" fmla="*/ 11 w 41"/>
                  <a:gd name="T9" fmla="*/ 10 h 40"/>
                  <a:gd name="T10" fmla="*/ 11 w 41"/>
                  <a:gd name="T11" fmla="*/ 10 h 40"/>
                  <a:gd name="T12" fmla="*/ 11 w 41"/>
                  <a:gd name="T13" fmla="*/ 11 h 40"/>
                  <a:gd name="T14" fmla="*/ 13 w 41"/>
                  <a:gd name="T15" fmla="*/ 13 h 40"/>
                  <a:gd name="T16" fmla="*/ 6 w 41"/>
                  <a:gd name="T17" fmla="*/ 15 h 40"/>
                  <a:gd name="T18" fmla="*/ 2 w 41"/>
                  <a:gd name="T19" fmla="*/ 16 h 40"/>
                  <a:gd name="T20" fmla="*/ 0 w 41"/>
                  <a:gd name="T21" fmla="*/ 16 h 40"/>
                  <a:gd name="T22" fmla="*/ 0 w 41"/>
                  <a:gd name="T23" fmla="*/ 19 h 40"/>
                  <a:gd name="T24" fmla="*/ 1 w 41"/>
                  <a:gd name="T25" fmla="*/ 20 h 40"/>
                  <a:gd name="T26" fmla="*/ 7 w 41"/>
                  <a:gd name="T27" fmla="*/ 27 h 40"/>
                  <a:gd name="T28" fmla="*/ 10 w 41"/>
                  <a:gd name="T29" fmla="*/ 29 h 40"/>
                  <a:gd name="T30" fmla="*/ 11 w 41"/>
                  <a:gd name="T31" fmla="*/ 30 h 40"/>
                  <a:gd name="T32" fmla="*/ 11 w 41"/>
                  <a:gd name="T33" fmla="*/ 30 h 40"/>
                  <a:gd name="T34" fmla="*/ 12 w 41"/>
                  <a:gd name="T35" fmla="*/ 31 h 40"/>
                  <a:gd name="T36" fmla="*/ 13 w 41"/>
                  <a:gd name="T37" fmla="*/ 33 h 40"/>
                  <a:gd name="T38" fmla="*/ 14 w 41"/>
                  <a:gd name="T39" fmla="*/ 39 h 40"/>
                  <a:gd name="T40" fmla="*/ 14 w 41"/>
                  <a:gd name="T41" fmla="*/ 40 h 40"/>
                  <a:gd name="T42" fmla="*/ 15 w 41"/>
                  <a:gd name="T43" fmla="*/ 38 h 40"/>
                  <a:gd name="T44" fmla="*/ 18 w 41"/>
                  <a:gd name="T45" fmla="*/ 35 h 40"/>
                  <a:gd name="T46" fmla="*/ 19 w 41"/>
                  <a:gd name="T47" fmla="*/ 34 h 40"/>
                  <a:gd name="T48" fmla="*/ 21 w 41"/>
                  <a:gd name="T49" fmla="*/ 32 h 40"/>
                  <a:gd name="T50" fmla="*/ 21 w 41"/>
                  <a:gd name="T51" fmla="*/ 32 h 40"/>
                  <a:gd name="T52" fmla="*/ 20 w 41"/>
                  <a:gd name="T53" fmla="*/ 24 h 40"/>
                  <a:gd name="T54" fmla="*/ 23 w 41"/>
                  <a:gd name="T55" fmla="*/ 31 h 40"/>
                  <a:gd name="T56" fmla="*/ 24 w 41"/>
                  <a:gd name="T57" fmla="*/ 31 h 40"/>
                  <a:gd name="T58" fmla="*/ 24 w 41"/>
                  <a:gd name="T59" fmla="*/ 31 h 40"/>
                  <a:gd name="T60" fmla="*/ 25 w 41"/>
                  <a:gd name="T61" fmla="*/ 31 h 40"/>
                  <a:gd name="T62" fmla="*/ 29 w 41"/>
                  <a:gd name="T63" fmla="*/ 33 h 40"/>
                  <a:gd name="T64" fmla="*/ 30 w 41"/>
                  <a:gd name="T65" fmla="*/ 33 h 40"/>
                  <a:gd name="T66" fmla="*/ 33 w 41"/>
                  <a:gd name="T67" fmla="*/ 29 h 40"/>
                  <a:gd name="T68" fmla="*/ 36 w 41"/>
                  <a:gd name="T69" fmla="*/ 28 h 40"/>
                  <a:gd name="T70" fmla="*/ 37 w 41"/>
                  <a:gd name="T71" fmla="*/ 28 h 40"/>
                  <a:gd name="T72" fmla="*/ 37 w 41"/>
                  <a:gd name="T73" fmla="*/ 27 h 40"/>
                  <a:gd name="T74" fmla="*/ 39 w 41"/>
                  <a:gd name="T75" fmla="*/ 25 h 40"/>
                  <a:gd name="T76" fmla="*/ 41 w 41"/>
                  <a:gd name="T77" fmla="*/ 20 h 40"/>
                  <a:gd name="T78" fmla="*/ 41 w 41"/>
                  <a:gd name="T79" fmla="*/ 20 h 40"/>
                  <a:gd name="T80" fmla="*/ 34 w 41"/>
                  <a:gd name="T81" fmla="*/ 16 h 40"/>
                  <a:gd name="T82" fmla="*/ 33 w 41"/>
                  <a:gd name="T83" fmla="*/ 12 h 40"/>
                  <a:gd name="T84" fmla="*/ 32 w 41"/>
                  <a:gd name="T85" fmla="*/ 12 h 40"/>
                  <a:gd name="T86" fmla="*/ 32 w 41"/>
                  <a:gd name="T87" fmla="*/ 10 h 40"/>
                  <a:gd name="T88" fmla="*/ 31 w 41"/>
                  <a:gd name="T89" fmla="*/ 10 h 40"/>
                  <a:gd name="T90" fmla="*/ 24 w 41"/>
                  <a:gd name="T91" fmla="*/ 1 h 40"/>
                  <a:gd name="T92" fmla="*/ 21 w 41"/>
                  <a:gd name="T93" fmla="*/ 0 h 40"/>
                  <a:gd name="T94" fmla="*/ 19 w 41"/>
                  <a:gd name="T95" fmla="*/ 0 h 40"/>
                  <a:gd name="T96" fmla="*/ 18 w 41"/>
                  <a:gd name="T97" fmla="*/ 0 h 40"/>
                  <a:gd name="T98" fmla="*/ 17 w 41"/>
                  <a:gd name="T99"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0">
                    <a:moveTo>
                      <a:pt x="17" y="0"/>
                    </a:moveTo>
                    <a:cubicBezTo>
                      <a:pt x="18" y="1"/>
                      <a:pt x="19" y="3"/>
                      <a:pt x="18" y="5"/>
                    </a:cubicBezTo>
                    <a:cubicBezTo>
                      <a:pt x="18" y="7"/>
                      <a:pt x="15" y="8"/>
                      <a:pt x="14" y="9"/>
                    </a:cubicBezTo>
                    <a:cubicBezTo>
                      <a:pt x="13" y="9"/>
                      <a:pt x="12" y="9"/>
                      <a:pt x="11" y="9"/>
                    </a:cubicBezTo>
                    <a:cubicBezTo>
                      <a:pt x="11" y="10"/>
                      <a:pt x="11" y="10"/>
                      <a:pt x="11" y="10"/>
                    </a:cubicBezTo>
                    <a:cubicBezTo>
                      <a:pt x="11" y="10"/>
                      <a:pt x="11" y="10"/>
                      <a:pt x="11" y="10"/>
                    </a:cubicBezTo>
                    <a:cubicBezTo>
                      <a:pt x="11" y="11"/>
                      <a:pt x="11" y="11"/>
                      <a:pt x="11" y="11"/>
                    </a:cubicBezTo>
                    <a:cubicBezTo>
                      <a:pt x="13" y="13"/>
                      <a:pt x="13" y="13"/>
                      <a:pt x="13" y="13"/>
                    </a:cubicBezTo>
                    <a:cubicBezTo>
                      <a:pt x="6" y="15"/>
                      <a:pt x="6" y="15"/>
                      <a:pt x="6" y="15"/>
                    </a:cubicBezTo>
                    <a:cubicBezTo>
                      <a:pt x="5" y="15"/>
                      <a:pt x="4" y="16"/>
                      <a:pt x="2" y="16"/>
                    </a:cubicBezTo>
                    <a:cubicBezTo>
                      <a:pt x="1" y="16"/>
                      <a:pt x="0" y="16"/>
                      <a:pt x="0" y="16"/>
                    </a:cubicBezTo>
                    <a:cubicBezTo>
                      <a:pt x="0" y="17"/>
                      <a:pt x="0" y="19"/>
                      <a:pt x="0" y="19"/>
                    </a:cubicBezTo>
                    <a:cubicBezTo>
                      <a:pt x="1" y="20"/>
                      <a:pt x="1" y="20"/>
                      <a:pt x="1" y="20"/>
                    </a:cubicBezTo>
                    <a:cubicBezTo>
                      <a:pt x="2" y="22"/>
                      <a:pt x="6" y="26"/>
                      <a:pt x="7" y="27"/>
                    </a:cubicBezTo>
                    <a:cubicBezTo>
                      <a:pt x="9" y="27"/>
                      <a:pt x="9" y="28"/>
                      <a:pt x="10" y="29"/>
                    </a:cubicBezTo>
                    <a:cubicBezTo>
                      <a:pt x="11" y="29"/>
                      <a:pt x="11" y="30"/>
                      <a:pt x="11" y="30"/>
                    </a:cubicBezTo>
                    <a:cubicBezTo>
                      <a:pt x="11" y="30"/>
                      <a:pt x="11" y="30"/>
                      <a:pt x="11" y="30"/>
                    </a:cubicBezTo>
                    <a:cubicBezTo>
                      <a:pt x="12" y="31"/>
                      <a:pt x="12" y="31"/>
                      <a:pt x="12" y="31"/>
                    </a:cubicBezTo>
                    <a:cubicBezTo>
                      <a:pt x="12" y="31"/>
                      <a:pt x="13" y="32"/>
                      <a:pt x="13" y="33"/>
                    </a:cubicBezTo>
                    <a:cubicBezTo>
                      <a:pt x="14" y="35"/>
                      <a:pt x="14" y="37"/>
                      <a:pt x="14" y="39"/>
                    </a:cubicBezTo>
                    <a:cubicBezTo>
                      <a:pt x="14" y="39"/>
                      <a:pt x="14" y="40"/>
                      <a:pt x="14" y="40"/>
                    </a:cubicBezTo>
                    <a:cubicBezTo>
                      <a:pt x="15" y="39"/>
                      <a:pt x="15" y="39"/>
                      <a:pt x="15" y="38"/>
                    </a:cubicBezTo>
                    <a:cubicBezTo>
                      <a:pt x="16" y="37"/>
                      <a:pt x="17" y="36"/>
                      <a:pt x="18" y="35"/>
                    </a:cubicBezTo>
                    <a:cubicBezTo>
                      <a:pt x="18" y="34"/>
                      <a:pt x="18" y="34"/>
                      <a:pt x="19" y="34"/>
                    </a:cubicBezTo>
                    <a:cubicBezTo>
                      <a:pt x="19" y="33"/>
                      <a:pt x="20" y="33"/>
                      <a:pt x="21" y="32"/>
                    </a:cubicBezTo>
                    <a:cubicBezTo>
                      <a:pt x="21" y="32"/>
                      <a:pt x="21" y="32"/>
                      <a:pt x="21" y="32"/>
                    </a:cubicBezTo>
                    <a:cubicBezTo>
                      <a:pt x="20" y="24"/>
                      <a:pt x="20" y="24"/>
                      <a:pt x="20" y="24"/>
                    </a:cubicBezTo>
                    <a:cubicBezTo>
                      <a:pt x="23" y="31"/>
                      <a:pt x="23" y="31"/>
                      <a:pt x="23" y="31"/>
                    </a:cubicBezTo>
                    <a:cubicBezTo>
                      <a:pt x="24" y="31"/>
                      <a:pt x="24" y="31"/>
                      <a:pt x="24" y="31"/>
                    </a:cubicBezTo>
                    <a:cubicBezTo>
                      <a:pt x="24" y="31"/>
                      <a:pt x="24" y="31"/>
                      <a:pt x="24" y="31"/>
                    </a:cubicBezTo>
                    <a:cubicBezTo>
                      <a:pt x="24" y="31"/>
                      <a:pt x="25" y="31"/>
                      <a:pt x="25" y="31"/>
                    </a:cubicBezTo>
                    <a:cubicBezTo>
                      <a:pt x="27" y="32"/>
                      <a:pt x="28" y="32"/>
                      <a:pt x="29" y="33"/>
                    </a:cubicBezTo>
                    <a:cubicBezTo>
                      <a:pt x="30" y="33"/>
                      <a:pt x="30" y="33"/>
                      <a:pt x="30" y="33"/>
                    </a:cubicBezTo>
                    <a:cubicBezTo>
                      <a:pt x="30" y="32"/>
                      <a:pt x="31" y="30"/>
                      <a:pt x="33" y="29"/>
                    </a:cubicBezTo>
                    <a:cubicBezTo>
                      <a:pt x="34" y="29"/>
                      <a:pt x="35" y="29"/>
                      <a:pt x="36" y="28"/>
                    </a:cubicBezTo>
                    <a:cubicBezTo>
                      <a:pt x="37" y="28"/>
                      <a:pt x="37" y="28"/>
                      <a:pt x="37" y="28"/>
                    </a:cubicBezTo>
                    <a:cubicBezTo>
                      <a:pt x="37" y="27"/>
                      <a:pt x="37" y="27"/>
                      <a:pt x="37" y="27"/>
                    </a:cubicBezTo>
                    <a:cubicBezTo>
                      <a:pt x="37" y="27"/>
                      <a:pt x="38" y="26"/>
                      <a:pt x="39" y="25"/>
                    </a:cubicBezTo>
                    <a:cubicBezTo>
                      <a:pt x="40" y="23"/>
                      <a:pt x="41" y="21"/>
                      <a:pt x="41" y="20"/>
                    </a:cubicBezTo>
                    <a:cubicBezTo>
                      <a:pt x="41" y="20"/>
                      <a:pt x="41" y="20"/>
                      <a:pt x="41" y="20"/>
                    </a:cubicBezTo>
                    <a:cubicBezTo>
                      <a:pt x="39" y="20"/>
                      <a:pt x="36" y="19"/>
                      <a:pt x="34" y="16"/>
                    </a:cubicBezTo>
                    <a:cubicBezTo>
                      <a:pt x="33" y="15"/>
                      <a:pt x="33" y="13"/>
                      <a:pt x="33" y="12"/>
                    </a:cubicBezTo>
                    <a:cubicBezTo>
                      <a:pt x="32" y="12"/>
                      <a:pt x="32" y="12"/>
                      <a:pt x="32" y="12"/>
                    </a:cubicBezTo>
                    <a:cubicBezTo>
                      <a:pt x="32" y="11"/>
                      <a:pt x="32" y="10"/>
                      <a:pt x="32" y="10"/>
                    </a:cubicBezTo>
                    <a:cubicBezTo>
                      <a:pt x="32" y="10"/>
                      <a:pt x="32" y="10"/>
                      <a:pt x="31" y="10"/>
                    </a:cubicBezTo>
                    <a:cubicBezTo>
                      <a:pt x="27" y="9"/>
                      <a:pt x="24" y="6"/>
                      <a:pt x="24" y="1"/>
                    </a:cubicBezTo>
                    <a:cubicBezTo>
                      <a:pt x="23" y="1"/>
                      <a:pt x="23" y="1"/>
                      <a:pt x="21" y="0"/>
                    </a:cubicBezTo>
                    <a:cubicBezTo>
                      <a:pt x="21" y="0"/>
                      <a:pt x="20" y="0"/>
                      <a:pt x="19" y="0"/>
                    </a:cubicBezTo>
                    <a:cubicBezTo>
                      <a:pt x="18" y="0"/>
                      <a:pt x="18" y="0"/>
                      <a:pt x="18" y="0"/>
                    </a:cubicBezTo>
                    <a:cubicBezTo>
                      <a:pt x="18"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297"/>
              <p:cNvSpPr/>
              <p:nvPr/>
            </p:nvSpPr>
            <p:spPr bwMode="auto">
              <a:xfrm>
                <a:off x="6220475" y="4871724"/>
                <a:ext cx="202681" cy="140034"/>
              </a:xfrm>
              <a:custGeom>
                <a:gdLst>
                  <a:gd name="T0" fmla="*/ 41 w 64"/>
                  <a:gd name="T1" fmla="*/ 1 h 43"/>
                  <a:gd name="T2" fmla="*/ 33 w 64"/>
                  <a:gd name="T3" fmla="*/ 2 h 43"/>
                  <a:gd name="T4" fmla="*/ 29 w 64"/>
                  <a:gd name="T5" fmla="*/ 2 h 43"/>
                  <a:gd name="T6" fmla="*/ 26 w 64"/>
                  <a:gd name="T7" fmla="*/ 2 h 43"/>
                  <a:gd name="T8" fmla="*/ 24 w 64"/>
                  <a:gd name="T9" fmla="*/ 3 h 43"/>
                  <a:gd name="T10" fmla="*/ 18 w 64"/>
                  <a:gd name="T11" fmla="*/ 7 h 43"/>
                  <a:gd name="T12" fmla="*/ 11 w 64"/>
                  <a:gd name="T13" fmla="*/ 5 h 43"/>
                  <a:gd name="T14" fmla="*/ 10 w 64"/>
                  <a:gd name="T15" fmla="*/ 6 h 43"/>
                  <a:gd name="T16" fmla="*/ 8 w 64"/>
                  <a:gd name="T17" fmla="*/ 9 h 43"/>
                  <a:gd name="T18" fmla="*/ 4 w 64"/>
                  <a:gd name="T19" fmla="*/ 15 h 43"/>
                  <a:gd name="T20" fmla="*/ 1 w 64"/>
                  <a:gd name="T21" fmla="*/ 17 h 43"/>
                  <a:gd name="T22" fmla="*/ 1 w 64"/>
                  <a:gd name="T23" fmla="*/ 21 h 43"/>
                  <a:gd name="T24" fmla="*/ 1 w 64"/>
                  <a:gd name="T25" fmla="*/ 27 h 43"/>
                  <a:gd name="T26" fmla="*/ 0 w 64"/>
                  <a:gd name="T27" fmla="*/ 32 h 43"/>
                  <a:gd name="T28" fmla="*/ 3 w 64"/>
                  <a:gd name="T29" fmla="*/ 36 h 43"/>
                  <a:gd name="T30" fmla="*/ 7 w 64"/>
                  <a:gd name="T31" fmla="*/ 40 h 43"/>
                  <a:gd name="T32" fmla="*/ 10 w 64"/>
                  <a:gd name="T33" fmla="*/ 42 h 43"/>
                  <a:gd name="T34" fmla="*/ 11 w 64"/>
                  <a:gd name="T35" fmla="*/ 42 h 43"/>
                  <a:gd name="T36" fmla="*/ 13 w 64"/>
                  <a:gd name="T37" fmla="*/ 42 h 43"/>
                  <a:gd name="T38" fmla="*/ 16 w 64"/>
                  <a:gd name="T39" fmla="*/ 42 h 43"/>
                  <a:gd name="T40" fmla="*/ 22 w 64"/>
                  <a:gd name="T41" fmla="*/ 41 h 43"/>
                  <a:gd name="T42" fmla="*/ 28 w 64"/>
                  <a:gd name="T43" fmla="*/ 40 h 43"/>
                  <a:gd name="T44" fmla="*/ 31 w 64"/>
                  <a:gd name="T45" fmla="*/ 39 h 43"/>
                  <a:gd name="T46" fmla="*/ 33 w 64"/>
                  <a:gd name="T47" fmla="*/ 36 h 43"/>
                  <a:gd name="T48" fmla="*/ 43 w 64"/>
                  <a:gd name="T49" fmla="*/ 32 h 43"/>
                  <a:gd name="T50" fmla="*/ 49 w 64"/>
                  <a:gd name="T51" fmla="*/ 33 h 43"/>
                  <a:gd name="T52" fmla="*/ 52 w 64"/>
                  <a:gd name="T53" fmla="*/ 33 h 43"/>
                  <a:gd name="T54" fmla="*/ 55 w 64"/>
                  <a:gd name="T55" fmla="*/ 32 h 43"/>
                  <a:gd name="T56" fmla="*/ 57 w 64"/>
                  <a:gd name="T57" fmla="*/ 29 h 43"/>
                  <a:gd name="T58" fmla="*/ 60 w 64"/>
                  <a:gd name="T59" fmla="*/ 26 h 43"/>
                  <a:gd name="T60" fmla="*/ 62 w 64"/>
                  <a:gd name="T61" fmla="*/ 25 h 43"/>
                  <a:gd name="T62" fmla="*/ 64 w 64"/>
                  <a:gd name="T63" fmla="*/ 17 h 43"/>
                  <a:gd name="T64" fmla="*/ 64 w 64"/>
                  <a:gd name="T65" fmla="*/ 17 h 43"/>
                  <a:gd name="T66" fmla="*/ 56 w 64"/>
                  <a:gd name="T67" fmla="*/ 9 h 43"/>
                  <a:gd name="T68" fmla="*/ 55 w 64"/>
                  <a:gd name="T69" fmla="*/ 7 h 43"/>
                  <a:gd name="T70" fmla="*/ 55 w 64"/>
                  <a:gd name="T71" fmla="*/ 7 h 43"/>
                  <a:gd name="T72" fmla="*/ 47 w 64"/>
                  <a:gd name="T73"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43">
                    <a:moveTo>
                      <a:pt x="47" y="0"/>
                    </a:moveTo>
                    <a:cubicBezTo>
                      <a:pt x="41" y="1"/>
                      <a:pt x="41" y="1"/>
                      <a:pt x="41" y="1"/>
                    </a:cubicBezTo>
                    <a:cubicBezTo>
                      <a:pt x="42" y="0"/>
                      <a:pt x="42" y="0"/>
                      <a:pt x="42" y="0"/>
                    </a:cubicBezTo>
                    <a:cubicBezTo>
                      <a:pt x="39" y="1"/>
                      <a:pt x="36" y="1"/>
                      <a:pt x="33" y="2"/>
                    </a:cubicBezTo>
                    <a:cubicBezTo>
                      <a:pt x="30" y="2"/>
                      <a:pt x="30" y="2"/>
                      <a:pt x="30" y="2"/>
                    </a:cubicBezTo>
                    <a:cubicBezTo>
                      <a:pt x="29" y="2"/>
                      <a:pt x="29" y="2"/>
                      <a:pt x="29" y="2"/>
                    </a:cubicBezTo>
                    <a:cubicBezTo>
                      <a:pt x="29" y="2"/>
                      <a:pt x="29" y="2"/>
                      <a:pt x="29" y="2"/>
                    </a:cubicBezTo>
                    <a:cubicBezTo>
                      <a:pt x="26" y="2"/>
                      <a:pt x="26" y="2"/>
                      <a:pt x="26" y="2"/>
                    </a:cubicBezTo>
                    <a:cubicBezTo>
                      <a:pt x="25" y="2"/>
                      <a:pt x="25" y="2"/>
                      <a:pt x="25" y="2"/>
                    </a:cubicBezTo>
                    <a:cubicBezTo>
                      <a:pt x="24" y="2"/>
                      <a:pt x="24" y="2"/>
                      <a:pt x="24" y="3"/>
                    </a:cubicBezTo>
                    <a:cubicBezTo>
                      <a:pt x="23" y="4"/>
                      <a:pt x="23" y="6"/>
                      <a:pt x="21" y="7"/>
                    </a:cubicBezTo>
                    <a:cubicBezTo>
                      <a:pt x="20" y="7"/>
                      <a:pt x="19" y="7"/>
                      <a:pt x="18" y="7"/>
                    </a:cubicBezTo>
                    <a:cubicBezTo>
                      <a:pt x="16" y="7"/>
                      <a:pt x="15" y="7"/>
                      <a:pt x="14" y="6"/>
                    </a:cubicBezTo>
                    <a:cubicBezTo>
                      <a:pt x="13" y="6"/>
                      <a:pt x="12" y="6"/>
                      <a:pt x="11" y="5"/>
                    </a:cubicBezTo>
                    <a:cubicBezTo>
                      <a:pt x="11" y="6"/>
                      <a:pt x="11" y="6"/>
                      <a:pt x="11" y="6"/>
                    </a:cubicBezTo>
                    <a:cubicBezTo>
                      <a:pt x="10" y="6"/>
                      <a:pt x="10" y="6"/>
                      <a:pt x="10" y="6"/>
                    </a:cubicBezTo>
                    <a:cubicBezTo>
                      <a:pt x="10" y="6"/>
                      <a:pt x="10" y="6"/>
                      <a:pt x="10" y="6"/>
                    </a:cubicBezTo>
                    <a:cubicBezTo>
                      <a:pt x="9" y="7"/>
                      <a:pt x="9" y="8"/>
                      <a:pt x="8" y="9"/>
                    </a:cubicBezTo>
                    <a:cubicBezTo>
                      <a:pt x="8" y="10"/>
                      <a:pt x="7" y="11"/>
                      <a:pt x="7" y="12"/>
                    </a:cubicBezTo>
                    <a:cubicBezTo>
                      <a:pt x="6" y="13"/>
                      <a:pt x="5" y="14"/>
                      <a:pt x="4" y="15"/>
                    </a:cubicBezTo>
                    <a:cubicBezTo>
                      <a:pt x="3" y="15"/>
                      <a:pt x="2" y="16"/>
                      <a:pt x="1" y="16"/>
                    </a:cubicBezTo>
                    <a:cubicBezTo>
                      <a:pt x="1" y="17"/>
                      <a:pt x="1" y="17"/>
                      <a:pt x="1" y="17"/>
                    </a:cubicBezTo>
                    <a:cubicBezTo>
                      <a:pt x="1" y="17"/>
                      <a:pt x="1" y="17"/>
                      <a:pt x="1" y="18"/>
                    </a:cubicBezTo>
                    <a:cubicBezTo>
                      <a:pt x="1" y="19"/>
                      <a:pt x="1" y="20"/>
                      <a:pt x="1" y="21"/>
                    </a:cubicBezTo>
                    <a:cubicBezTo>
                      <a:pt x="0" y="24"/>
                      <a:pt x="0" y="24"/>
                      <a:pt x="0" y="24"/>
                    </a:cubicBezTo>
                    <a:cubicBezTo>
                      <a:pt x="0" y="25"/>
                      <a:pt x="1" y="26"/>
                      <a:pt x="1" y="27"/>
                    </a:cubicBezTo>
                    <a:cubicBezTo>
                      <a:pt x="1" y="29"/>
                      <a:pt x="1" y="30"/>
                      <a:pt x="0" y="31"/>
                    </a:cubicBezTo>
                    <a:cubicBezTo>
                      <a:pt x="0" y="32"/>
                      <a:pt x="0" y="32"/>
                      <a:pt x="0" y="32"/>
                    </a:cubicBezTo>
                    <a:cubicBezTo>
                      <a:pt x="0" y="33"/>
                      <a:pt x="1" y="34"/>
                      <a:pt x="1" y="34"/>
                    </a:cubicBezTo>
                    <a:cubicBezTo>
                      <a:pt x="2" y="35"/>
                      <a:pt x="2" y="35"/>
                      <a:pt x="3" y="36"/>
                    </a:cubicBezTo>
                    <a:cubicBezTo>
                      <a:pt x="4" y="37"/>
                      <a:pt x="5" y="38"/>
                      <a:pt x="6" y="40"/>
                    </a:cubicBezTo>
                    <a:cubicBezTo>
                      <a:pt x="7" y="40"/>
                      <a:pt x="7" y="40"/>
                      <a:pt x="7" y="40"/>
                    </a:cubicBezTo>
                    <a:cubicBezTo>
                      <a:pt x="8" y="40"/>
                      <a:pt x="9" y="41"/>
                      <a:pt x="10" y="41"/>
                    </a:cubicBezTo>
                    <a:cubicBezTo>
                      <a:pt x="10" y="42"/>
                      <a:pt x="10" y="42"/>
                      <a:pt x="10" y="42"/>
                    </a:cubicBezTo>
                    <a:cubicBezTo>
                      <a:pt x="10" y="42"/>
                      <a:pt x="10" y="42"/>
                      <a:pt x="10" y="42"/>
                    </a:cubicBezTo>
                    <a:cubicBezTo>
                      <a:pt x="11" y="42"/>
                      <a:pt x="11" y="42"/>
                      <a:pt x="11" y="42"/>
                    </a:cubicBezTo>
                    <a:cubicBezTo>
                      <a:pt x="11" y="43"/>
                      <a:pt x="11" y="43"/>
                      <a:pt x="11" y="43"/>
                    </a:cubicBezTo>
                    <a:cubicBezTo>
                      <a:pt x="11" y="42"/>
                      <a:pt x="12" y="42"/>
                      <a:pt x="13" y="42"/>
                    </a:cubicBezTo>
                    <a:cubicBezTo>
                      <a:pt x="13" y="42"/>
                      <a:pt x="14" y="42"/>
                      <a:pt x="14" y="42"/>
                    </a:cubicBezTo>
                    <a:cubicBezTo>
                      <a:pt x="16" y="42"/>
                      <a:pt x="16" y="42"/>
                      <a:pt x="16" y="42"/>
                    </a:cubicBezTo>
                    <a:cubicBezTo>
                      <a:pt x="17" y="42"/>
                      <a:pt x="17" y="42"/>
                      <a:pt x="18" y="42"/>
                    </a:cubicBezTo>
                    <a:cubicBezTo>
                      <a:pt x="22" y="41"/>
                      <a:pt x="22" y="41"/>
                      <a:pt x="22" y="41"/>
                    </a:cubicBezTo>
                    <a:cubicBezTo>
                      <a:pt x="23" y="41"/>
                      <a:pt x="25" y="41"/>
                      <a:pt x="26" y="40"/>
                    </a:cubicBezTo>
                    <a:cubicBezTo>
                      <a:pt x="27" y="40"/>
                      <a:pt x="27" y="40"/>
                      <a:pt x="28" y="40"/>
                    </a:cubicBezTo>
                    <a:cubicBezTo>
                      <a:pt x="31" y="40"/>
                      <a:pt x="31" y="40"/>
                      <a:pt x="31" y="40"/>
                    </a:cubicBezTo>
                    <a:cubicBezTo>
                      <a:pt x="31" y="39"/>
                      <a:pt x="31" y="39"/>
                      <a:pt x="31" y="39"/>
                    </a:cubicBezTo>
                    <a:cubicBezTo>
                      <a:pt x="31" y="39"/>
                      <a:pt x="31" y="39"/>
                      <a:pt x="31" y="39"/>
                    </a:cubicBezTo>
                    <a:cubicBezTo>
                      <a:pt x="32" y="38"/>
                      <a:pt x="32" y="37"/>
                      <a:pt x="33" y="36"/>
                    </a:cubicBezTo>
                    <a:cubicBezTo>
                      <a:pt x="35" y="34"/>
                      <a:pt x="37" y="33"/>
                      <a:pt x="39" y="33"/>
                    </a:cubicBezTo>
                    <a:cubicBezTo>
                      <a:pt x="40" y="33"/>
                      <a:pt x="42" y="32"/>
                      <a:pt x="43" y="32"/>
                    </a:cubicBezTo>
                    <a:cubicBezTo>
                      <a:pt x="44" y="32"/>
                      <a:pt x="44" y="32"/>
                      <a:pt x="45" y="32"/>
                    </a:cubicBezTo>
                    <a:cubicBezTo>
                      <a:pt x="46" y="32"/>
                      <a:pt x="48" y="32"/>
                      <a:pt x="49" y="33"/>
                    </a:cubicBezTo>
                    <a:cubicBezTo>
                      <a:pt x="51" y="33"/>
                      <a:pt x="51" y="33"/>
                      <a:pt x="51" y="33"/>
                    </a:cubicBezTo>
                    <a:cubicBezTo>
                      <a:pt x="52" y="33"/>
                      <a:pt x="52" y="33"/>
                      <a:pt x="52" y="33"/>
                    </a:cubicBezTo>
                    <a:cubicBezTo>
                      <a:pt x="54" y="33"/>
                      <a:pt x="54" y="33"/>
                      <a:pt x="55" y="33"/>
                    </a:cubicBezTo>
                    <a:cubicBezTo>
                      <a:pt x="55" y="33"/>
                      <a:pt x="55" y="32"/>
                      <a:pt x="55" y="32"/>
                    </a:cubicBezTo>
                    <a:cubicBezTo>
                      <a:pt x="56" y="31"/>
                      <a:pt x="56" y="31"/>
                      <a:pt x="56" y="31"/>
                    </a:cubicBezTo>
                    <a:cubicBezTo>
                      <a:pt x="56" y="30"/>
                      <a:pt x="57" y="29"/>
                      <a:pt x="57" y="29"/>
                    </a:cubicBezTo>
                    <a:cubicBezTo>
                      <a:pt x="58" y="27"/>
                      <a:pt x="59" y="27"/>
                      <a:pt x="60" y="26"/>
                    </a:cubicBezTo>
                    <a:cubicBezTo>
                      <a:pt x="60" y="26"/>
                      <a:pt x="60" y="26"/>
                      <a:pt x="60" y="26"/>
                    </a:cubicBezTo>
                    <a:cubicBezTo>
                      <a:pt x="62" y="26"/>
                      <a:pt x="62" y="26"/>
                      <a:pt x="62" y="26"/>
                    </a:cubicBezTo>
                    <a:cubicBezTo>
                      <a:pt x="62" y="25"/>
                      <a:pt x="62" y="25"/>
                      <a:pt x="62" y="25"/>
                    </a:cubicBezTo>
                    <a:cubicBezTo>
                      <a:pt x="63" y="23"/>
                      <a:pt x="64" y="18"/>
                      <a:pt x="64" y="18"/>
                    </a:cubicBezTo>
                    <a:cubicBezTo>
                      <a:pt x="64" y="17"/>
                      <a:pt x="64" y="17"/>
                      <a:pt x="64" y="17"/>
                    </a:cubicBezTo>
                    <a:cubicBezTo>
                      <a:pt x="64" y="17"/>
                      <a:pt x="64" y="17"/>
                      <a:pt x="64" y="17"/>
                    </a:cubicBezTo>
                    <a:cubicBezTo>
                      <a:pt x="64" y="17"/>
                      <a:pt x="64" y="17"/>
                      <a:pt x="64" y="17"/>
                    </a:cubicBezTo>
                    <a:cubicBezTo>
                      <a:pt x="64" y="17"/>
                      <a:pt x="63" y="15"/>
                      <a:pt x="57" y="9"/>
                    </a:cubicBezTo>
                    <a:cubicBezTo>
                      <a:pt x="56" y="9"/>
                      <a:pt x="56" y="9"/>
                      <a:pt x="56" y="9"/>
                    </a:cubicBezTo>
                    <a:cubicBezTo>
                      <a:pt x="52" y="13"/>
                      <a:pt x="52" y="13"/>
                      <a:pt x="52" y="13"/>
                    </a:cubicBezTo>
                    <a:cubicBezTo>
                      <a:pt x="55" y="7"/>
                      <a:pt x="55" y="7"/>
                      <a:pt x="55" y="7"/>
                    </a:cubicBezTo>
                    <a:cubicBezTo>
                      <a:pt x="55" y="7"/>
                      <a:pt x="55" y="7"/>
                      <a:pt x="55" y="7"/>
                    </a:cubicBezTo>
                    <a:cubicBezTo>
                      <a:pt x="55" y="7"/>
                      <a:pt x="55" y="7"/>
                      <a:pt x="55" y="7"/>
                    </a:cubicBezTo>
                    <a:cubicBezTo>
                      <a:pt x="54" y="6"/>
                      <a:pt x="54" y="6"/>
                      <a:pt x="54" y="6"/>
                    </a:cubicBezTo>
                    <a:cubicBezTo>
                      <a:pt x="51" y="4"/>
                      <a:pt x="49" y="2"/>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298"/>
              <p:cNvSpPr/>
              <p:nvPr/>
            </p:nvSpPr>
            <p:spPr bwMode="auto">
              <a:xfrm>
                <a:off x="6172569" y="4938056"/>
                <a:ext cx="574878" cy="552767"/>
              </a:xfrm>
              <a:custGeom>
                <a:gdLst>
                  <a:gd name="T0" fmla="*/ 174 w 182"/>
                  <a:gd name="T1" fmla="*/ 10 h 174"/>
                  <a:gd name="T2" fmla="*/ 154 w 182"/>
                  <a:gd name="T3" fmla="*/ 15 h 174"/>
                  <a:gd name="T4" fmla="*/ 145 w 182"/>
                  <a:gd name="T5" fmla="*/ 15 h 174"/>
                  <a:gd name="T6" fmla="*/ 139 w 182"/>
                  <a:gd name="T7" fmla="*/ 14 h 174"/>
                  <a:gd name="T8" fmla="*/ 125 w 182"/>
                  <a:gd name="T9" fmla="*/ 5 h 174"/>
                  <a:gd name="T10" fmla="*/ 118 w 182"/>
                  <a:gd name="T11" fmla="*/ 6 h 174"/>
                  <a:gd name="T12" fmla="*/ 100 w 182"/>
                  <a:gd name="T13" fmla="*/ 12 h 174"/>
                  <a:gd name="T14" fmla="*/ 78 w 182"/>
                  <a:gd name="T15" fmla="*/ 13 h 174"/>
                  <a:gd name="T16" fmla="*/ 65 w 182"/>
                  <a:gd name="T17" fmla="*/ 20 h 174"/>
                  <a:gd name="T18" fmla="*/ 59 w 182"/>
                  <a:gd name="T19" fmla="*/ 19 h 174"/>
                  <a:gd name="T20" fmla="*/ 53 w 182"/>
                  <a:gd name="T21" fmla="*/ 22 h 174"/>
                  <a:gd name="T22" fmla="*/ 46 w 182"/>
                  <a:gd name="T23" fmla="*/ 27 h 174"/>
                  <a:gd name="T24" fmla="*/ 34 w 182"/>
                  <a:gd name="T25" fmla="*/ 28 h 174"/>
                  <a:gd name="T26" fmla="*/ 28 w 182"/>
                  <a:gd name="T27" fmla="*/ 29 h 174"/>
                  <a:gd name="T28" fmla="*/ 20 w 182"/>
                  <a:gd name="T29" fmla="*/ 48 h 174"/>
                  <a:gd name="T30" fmla="*/ 12 w 182"/>
                  <a:gd name="T31" fmla="*/ 56 h 174"/>
                  <a:gd name="T32" fmla="*/ 10 w 182"/>
                  <a:gd name="T33" fmla="*/ 56 h 174"/>
                  <a:gd name="T34" fmla="*/ 14 w 182"/>
                  <a:gd name="T35" fmla="*/ 67 h 174"/>
                  <a:gd name="T36" fmla="*/ 3 w 182"/>
                  <a:gd name="T37" fmla="*/ 70 h 174"/>
                  <a:gd name="T38" fmla="*/ 17 w 182"/>
                  <a:gd name="T39" fmla="*/ 86 h 174"/>
                  <a:gd name="T40" fmla="*/ 28 w 182"/>
                  <a:gd name="T41" fmla="*/ 89 h 174"/>
                  <a:gd name="T42" fmla="*/ 23 w 182"/>
                  <a:gd name="T43" fmla="*/ 90 h 174"/>
                  <a:gd name="T44" fmla="*/ 19 w 182"/>
                  <a:gd name="T45" fmla="*/ 93 h 174"/>
                  <a:gd name="T46" fmla="*/ 27 w 182"/>
                  <a:gd name="T47" fmla="*/ 107 h 174"/>
                  <a:gd name="T48" fmla="*/ 39 w 182"/>
                  <a:gd name="T49" fmla="*/ 111 h 174"/>
                  <a:gd name="T50" fmla="*/ 64 w 182"/>
                  <a:gd name="T51" fmla="*/ 109 h 174"/>
                  <a:gd name="T52" fmla="*/ 88 w 182"/>
                  <a:gd name="T53" fmla="*/ 116 h 174"/>
                  <a:gd name="T54" fmla="*/ 59 w 182"/>
                  <a:gd name="T55" fmla="*/ 114 h 174"/>
                  <a:gd name="T56" fmla="*/ 28 w 182"/>
                  <a:gd name="T57" fmla="*/ 124 h 174"/>
                  <a:gd name="T58" fmla="*/ 44 w 182"/>
                  <a:gd name="T59" fmla="*/ 156 h 174"/>
                  <a:gd name="T60" fmla="*/ 53 w 182"/>
                  <a:gd name="T61" fmla="*/ 154 h 174"/>
                  <a:gd name="T62" fmla="*/ 69 w 182"/>
                  <a:gd name="T63" fmla="*/ 164 h 174"/>
                  <a:gd name="T64" fmla="*/ 74 w 182"/>
                  <a:gd name="T65" fmla="*/ 137 h 174"/>
                  <a:gd name="T66" fmla="*/ 94 w 182"/>
                  <a:gd name="T67" fmla="*/ 136 h 174"/>
                  <a:gd name="T68" fmla="*/ 88 w 182"/>
                  <a:gd name="T69" fmla="*/ 135 h 174"/>
                  <a:gd name="T70" fmla="*/ 98 w 182"/>
                  <a:gd name="T71" fmla="*/ 120 h 174"/>
                  <a:gd name="T72" fmla="*/ 101 w 182"/>
                  <a:gd name="T73" fmla="*/ 123 h 174"/>
                  <a:gd name="T74" fmla="*/ 108 w 182"/>
                  <a:gd name="T75" fmla="*/ 130 h 174"/>
                  <a:gd name="T76" fmla="*/ 112 w 182"/>
                  <a:gd name="T77" fmla="*/ 117 h 174"/>
                  <a:gd name="T78" fmla="*/ 74 w 182"/>
                  <a:gd name="T79" fmla="*/ 94 h 174"/>
                  <a:gd name="T80" fmla="*/ 78 w 182"/>
                  <a:gd name="T81" fmla="*/ 83 h 174"/>
                  <a:gd name="T82" fmla="*/ 86 w 182"/>
                  <a:gd name="T83" fmla="*/ 84 h 174"/>
                  <a:gd name="T84" fmla="*/ 85 w 182"/>
                  <a:gd name="T85" fmla="*/ 85 h 174"/>
                  <a:gd name="T86" fmla="*/ 69 w 182"/>
                  <a:gd name="T87" fmla="*/ 49 h 174"/>
                  <a:gd name="T88" fmla="*/ 79 w 182"/>
                  <a:gd name="T89" fmla="*/ 33 h 174"/>
                  <a:gd name="T90" fmla="*/ 77 w 182"/>
                  <a:gd name="T91" fmla="*/ 38 h 174"/>
                  <a:gd name="T92" fmla="*/ 91 w 182"/>
                  <a:gd name="T93" fmla="*/ 51 h 174"/>
                  <a:gd name="T94" fmla="*/ 102 w 182"/>
                  <a:gd name="T95" fmla="*/ 57 h 174"/>
                  <a:gd name="T96" fmla="*/ 103 w 182"/>
                  <a:gd name="T97" fmla="*/ 50 h 174"/>
                  <a:gd name="T98" fmla="*/ 110 w 182"/>
                  <a:gd name="T99" fmla="*/ 56 h 174"/>
                  <a:gd name="T100" fmla="*/ 114 w 182"/>
                  <a:gd name="T101" fmla="*/ 45 h 174"/>
                  <a:gd name="T102" fmla="*/ 133 w 182"/>
                  <a:gd name="T103" fmla="*/ 25 h 174"/>
                  <a:gd name="T104" fmla="*/ 158 w 182"/>
                  <a:gd name="T105" fmla="*/ 26 h 174"/>
                  <a:gd name="T106" fmla="*/ 172 w 182"/>
                  <a:gd name="T107" fmla="*/ 21 h 174"/>
                  <a:gd name="T108" fmla="*/ 173 w 182"/>
                  <a:gd name="T109" fmla="*/ 17 h 174"/>
                  <a:gd name="T110" fmla="*/ 177 w 182"/>
                  <a:gd name="T111" fmla="*/ 8 h 174"/>
                  <a:gd name="T112" fmla="*/ 182 w 182"/>
                  <a:gd name="T113" fmla="*/ 4 h 174"/>
                  <a:gd name="T114" fmla="*/ 178 w 182"/>
                  <a:gd name="T115" fmla="*/ 1 h 174"/>
                  <a:gd name="T116" fmla="*/ 175 w 182"/>
                  <a:gd name="T117" fmla="*/ 0 h 1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174">
                    <a:moveTo>
                      <a:pt x="175" y="0"/>
                    </a:moveTo>
                    <a:cubicBezTo>
                      <a:pt x="175" y="3"/>
                      <a:pt x="175" y="5"/>
                      <a:pt x="175" y="7"/>
                    </a:cubicBezTo>
                    <a:cubicBezTo>
                      <a:pt x="174" y="8"/>
                      <a:pt x="174" y="8"/>
                      <a:pt x="174" y="8"/>
                    </a:cubicBezTo>
                    <a:cubicBezTo>
                      <a:pt x="174" y="10"/>
                      <a:pt x="174" y="10"/>
                      <a:pt x="174" y="10"/>
                    </a:cubicBezTo>
                    <a:cubicBezTo>
                      <a:pt x="172" y="12"/>
                      <a:pt x="168" y="13"/>
                      <a:pt x="165" y="14"/>
                    </a:cubicBezTo>
                    <a:cubicBezTo>
                      <a:pt x="163" y="14"/>
                      <a:pt x="161" y="15"/>
                      <a:pt x="158" y="15"/>
                    </a:cubicBezTo>
                    <a:cubicBezTo>
                      <a:pt x="156" y="15"/>
                      <a:pt x="156" y="15"/>
                      <a:pt x="156" y="15"/>
                    </a:cubicBezTo>
                    <a:cubicBezTo>
                      <a:pt x="155" y="15"/>
                      <a:pt x="155" y="15"/>
                      <a:pt x="154" y="15"/>
                    </a:cubicBezTo>
                    <a:cubicBezTo>
                      <a:pt x="149" y="15"/>
                      <a:pt x="149" y="15"/>
                      <a:pt x="149" y="15"/>
                    </a:cubicBezTo>
                    <a:cubicBezTo>
                      <a:pt x="149" y="16"/>
                      <a:pt x="148" y="16"/>
                      <a:pt x="148" y="16"/>
                    </a:cubicBezTo>
                    <a:cubicBezTo>
                      <a:pt x="147" y="15"/>
                      <a:pt x="147" y="15"/>
                      <a:pt x="147" y="15"/>
                    </a:cubicBezTo>
                    <a:cubicBezTo>
                      <a:pt x="146" y="15"/>
                      <a:pt x="145" y="15"/>
                      <a:pt x="145" y="15"/>
                    </a:cubicBezTo>
                    <a:cubicBezTo>
                      <a:pt x="143" y="15"/>
                      <a:pt x="143" y="15"/>
                      <a:pt x="143" y="15"/>
                    </a:cubicBezTo>
                    <a:cubicBezTo>
                      <a:pt x="143" y="14"/>
                      <a:pt x="143" y="14"/>
                      <a:pt x="143" y="14"/>
                    </a:cubicBezTo>
                    <a:cubicBezTo>
                      <a:pt x="142" y="14"/>
                      <a:pt x="141" y="14"/>
                      <a:pt x="140" y="14"/>
                    </a:cubicBezTo>
                    <a:cubicBezTo>
                      <a:pt x="139" y="14"/>
                      <a:pt x="139" y="14"/>
                      <a:pt x="139" y="14"/>
                    </a:cubicBezTo>
                    <a:cubicBezTo>
                      <a:pt x="138" y="13"/>
                      <a:pt x="138" y="13"/>
                      <a:pt x="137" y="13"/>
                    </a:cubicBezTo>
                    <a:cubicBezTo>
                      <a:pt x="134" y="13"/>
                      <a:pt x="132" y="12"/>
                      <a:pt x="129" y="10"/>
                    </a:cubicBezTo>
                    <a:cubicBezTo>
                      <a:pt x="128" y="8"/>
                      <a:pt x="128" y="8"/>
                      <a:pt x="128" y="8"/>
                    </a:cubicBezTo>
                    <a:cubicBezTo>
                      <a:pt x="127" y="7"/>
                      <a:pt x="125" y="6"/>
                      <a:pt x="125" y="5"/>
                    </a:cubicBezTo>
                    <a:cubicBezTo>
                      <a:pt x="124" y="5"/>
                      <a:pt x="124" y="5"/>
                      <a:pt x="124" y="5"/>
                    </a:cubicBezTo>
                    <a:cubicBezTo>
                      <a:pt x="124" y="5"/>
                      <a:pt x="124" y="5"/>
                      <a:pt x="123" y="5"/>
                    </a:cubicBezTo>
                    <a:cubicBezTo>
                      <a:pt x="122" y="5"/>
                      <a:pt x="121" y="5"/>
                      <a:pt x="120" y="6"/>
                    </a:cubicBezTo>
                    <a:cubicBezTo>
                      <a:pt x="118" y="6"/>
                      <a:pt x="118" y="6"/>
                      <a:pt x="118" y="6"/>
                    </a:cubicBezTo>
                    <a:cubicBezTo>
                      <a:pt x="115" y="6"/>
                      <a:pt x="113" y="7"/>
                      <a:pt x="110" y="8"/>
                    </a:cubicBezTo>
                    <a:cubicBezTo>
                      <a:pt x="106" y="10"/>
                      <a:pt x="106" y="10"/>
                      <a:pt x="106" y="10"/>
                    </a:cubicBezTo>
                    <a:cubicBezTo>
                      <a:pt x="104" y="10"/>
                      <a:pt x="103" y="11"/>
                      <a:pt x="101" y="11"/>
                    </a:cubicBezTo>
                    <a:cubicBezTo>
                      <a:pt x="100" y="12"/>
                      <a:pt x="100" y="12"/>
                      <a:pt x="100" y="12"/>
                    </a:cubicBezTo>
                    <a:cubicBezTo>
                      <a:pt x="96" y="12"/>
                      <a:pt x="91" y="13"/>
                      <a:pt x="87" y="13"/>
                    </a:cubicBezTo>
                    <a:cubicBezTo>
                      <a:pt x="85" y="13"/>
                      <a:pt x="85" y="13"/>
                      <a:pt x="85" y="13"/>
                    </a:cubicBezTo>
                    <a:cubicBezTo>
                      <a:pt x="84" y="13"/>
                      <a:pt x="82" y="13"/>
                      <a:pt x="80" y="13"/>
                    </a:cubicBezTo>
                    <a:cubicBezTo>
                      <a:pt x="78" y="13"/>
                      <a:pt x="78" y="13"/>
                      <a:pt x="78" y="13"/>
                    </a:cubicBezTo>
                    <a:cubicBezTo>
                      <a:pt x="77" y="14"/>
                      <a:pt x="77" y="14"/>
                      <a:pt x="77" y="15"/>
                    </a:cubicBezTo>
                    <a:cubicBezTo>
                      <a:pt x="76" y="16"/>
                      <a:pt x="75" y="17"/>
                      <a:pt x="75" y="17"/>
                    </a:cubicBezTo>
                    <a:cubicBezTo>
                      <a:pt x="73" y="19"/>
                      <a:pt x="71" y="20"/>
                      <a:pt x="67" y="20"/>
                    </a:cubicBezTo>
                    <a:cubicBezTo>
                      <a:pt x="67" y="20"/>
                      <a:pt x="66" y="20"/>
                      <a:pt x="65" y="20"/>
                    </a:cubicBezTo>
                    <a:cubicBezTo>
                      <a:pt x="62" y="19"/>
                      <a:pt x="62" y="19"/>
                      <a:pt x="62" y="19"/>
                    </a:cubicBezTo>
                    <a:cubicBezTo>
                      <a:pt x="62" y="19"/>
                      <a:pt x="60" y="19"/>
                      <a:pt x="60" y="19"/>
                    </a:cubicBezTo>
                    <a:cubicBezTo>
                      <a:pt x="60" y="19"/>
                      <a:pt x="60" y="19"/>
                      <a:pt x="59" y="19"/>
                    </a:cubicBezTo>
                    <a:cubicBezTo>
                      <a:pt x="59" y="19"/>
                      <a:pt x="59" y="19"/>
                      <a:pt x="59" y="19"/>
                    </a:cubicBezTo>
                    <a:cubicBezTo>
                      <a:pt x="58" y="19"/>
                      <a:pt x="57" y="19"/>
                      <a:pt x="56" y="20"/>
                    </a:cubicBezTo>
                    <a:cubicBezTo>
                      <a:pt x="54" y="20"/>
                      <a:pt x="54" y="20"/>
                      <a:pt x="54" y="20"/>
                    </a:cubicBezTo>
                    <a:cubicBezTo>
                      <a:pt x="53" y="21"/>
                      <a:pt x="53" y="21"/>
                      <a:pt x="53" y="21"/>
                    </a:cubicBezTo>
                    <a:cubicBezTo>
                      <a:pt x="53" y="21"/>
                      <a:pt x="53" y="22"/>
                      <a:pt x="53" y="22"/>
                    </a:cubicBezTo>
                    <a:cubicBezTo>
                      <a:pt x="52" y="23"/>
                      <a:pt x="52" y="23"/>
                      <a:pt x="52" y="24"/>
                    </a:cubicBezTo>
                    <a:cubicBezTo>
                      <a:pt x="51" y="25"/>
                      <a:pt x="51" y="25"/>
                      <a:pt x="51" y="25"/>
                    </a:cubicBezTo>
                    <a:cubicBezTo>
                      <a:pt x="50" y="26"/>
                      <a:pt x="49" y="27"/>
                      <a:pt x="48" y="27"/>
                    </a:cubicBezTo>
                    <a:cubicBezTo>
                      <a:pt x="47" y="27"/>
                      <a:pt x="46" y="27"/>
                      <a:pt x="46" y="27"/>
                    </a:cubicBezTo>
                    <a:cubicBezTo>
                      <a:pt x="43" y="27"/>
                      <a:pt x="43" y="27"/>
                      <a:pt x="43" y="27"/>
                    </a:cubicBezTo>
                    <a:cubicBezTo>
                      <a:pt x="42" y="27"/>
                      <a:pt x="42" y="27"/>
                      <a:pt x="42" y="27"/>
                    </a:cubicBezTo>
                    <a:cubicBezTo>
                      <a:pt x="40" y="27"/>
                      <a:pt x="39" y="28"/>
                      <a:pt x="38" y="28"/>
                    </a:cubicBezTo>
                    <a:cubicBezTo>
                      <a:pt x="34" y="28"/>
                      <a:pt x="34" y="28"/>
                      <a:pt x="34" y="28"/>
                    </a:cubicBezTo>
                    <a:cubicBezTo>
                      <a:pt x="34" y="28"/>
                      <a:pt x="33" y="29"/>
                      <a:pt x="32" y="29"/>
                    </a:cubicBezTo>
                    <a:cubicBezTo>
                      <a:pt x="32" y="29"/>
                      <a:pt x="31" y="29"/>
                      <a:pt x="31" y="29"/>
                    </a:cubicBezTo>
                    <a:cubicBezTo>
                      <a:pt x="30" y="29"/>
                      <a:pt x="29" y="29"/>
                      <a:pt x="28" y="29"/>
                    </a:cubicBezTo>
                    <a:cubicBezTo>
                      <a:pt x="28" y="29"/>
                      <a:pt x="28" y="29"/>
                      <a:pt x="28" y="29"/>
                    </a:cubicBezTo>
                    <a:cubicBezTo>
                      <a:pt x="28" y="30"/>
                      <a:pt x="28" y="30"/>
                      <a:pt x="28" y="30"/>
                    </a:cubicBezTo>
                    <a:cubicBezTo>
                      <a:pt x="31" y="35"/>
                      <a:pt x="28" y="38"/>
                      <a:pt x="25" y="40"/>
                    </a:cubicBezTo>
                    <a:cubicBezTo>
                      <a:pt x="24" y="40"/>
                      <a:pt x="23" y="41"/>
                      <a:pt x="22" y="42"/>
                    </a:cubicBezTo>
                    <a:cubicBezTo>
                      <a:pt x="21" y="43"/>
                      <a:pt x="20" y="46"/>
                      <a:pt x="20" y="48"/>
                    </a:cubicBezTo>
                    <a:cubicBezTo>
                      <a:pt x="19" y="48"/>
                      <a:pt x="19" y="48"/>
                      <a:pt x="19" y="48"/>
                    </a:cubicBezTo>
                    <a:cubicBezTo>
                      <a:pt x="19" y="50"/>
                      <a:pt x="18" y="51"/>
                      <a:pt x="18" y="52"/>
                    </a:cubicBezTo>
                    <a:cubicBezTo>
                      <a:pt x="18" y="53"/>
                      <a:pt x="18" y="53"/>
                      <a:pt x="18" y="53"/>
                    </a:cubicBezTo>
                    <a:cubicBezTo>
                      <a:pt x="16" y="55"/>
                      <a:pt x="14" y="56"/>
                      <a:pt x="12" y="56"/>
                    </a:cubicBezTo>
                    <a:cubicBezTo>
                      <a:pt x="12" y="56"/>
                      <a:pt x="12" y="56"/>
                      <a:pt x="11" y="56"/>
                    </a:cubicBezTo>
                    <a:cubicBezTo>
                      <a:pt x="11" y="55"/>
                      <a:pt x="11" y="55"/>
                      <a:pt x="11" y="55"/>
                    </a:cubicBezTo>
                    <a:cubicBezTo>
                      <a:pt x="11" y="55"/>
                      <a:pt x="11" y="55"/>
                      <a:pt x="11" y="55"/>
                    </a:cubicBezTo>
                    <a:cubicBezTo>
                      <a:pt x="11" y="55"/>
                      <a:pt x="11" y="56"/>
                      <a:pt x="10" y="56"/>
                    </a:cubicBezTo>
                    <a:cubicBezTo>
                      <a:pt x="10" y="56"/>
                      <a:pt x="10" y="56"/>
                      <a:pt x="10" y="56"/>
                    </a:cubicBezTo>
                    <a:cubicBezTo>
                      <a:pt x="10" y="57"/>
                      <a:pt x="11" y="58"/>
                      <a:pt x="11" y="59"/>
                    </a:cubicBezTo>
                    <a:cubicBezTo>
                      <a:pt x="11" y="59"/>
                      <a:pt x="11" y="59"/>
                      <a:pt x="11" y="60"/>
                    </a:cubicBezTo>
                    <a:cubicBezTo>
                      <a:pt x="14" y="67"/>
                      <a:pt x="14" y="67"/>
                      <a:pt x="14" y="67"/>
                    </a:cubicBezTo>
                    <a:cubicBezTo>
                      <a:pt x="8" y="65"/>
                      <a:pt x="8" y="65"/>
                      <a:pt x="8" y="65"/>
                    </a:cubicBezTo>
                    <a:cubicBezTo>
                      <a:pt x="8" y="65"/>
                      <a:pt x="8" y="65"/>
                      <a:pt x="8" y="65"/>
                    </a:cubicBezTo>
                    <a:cubicBezTo>
                      <a:pt x="7" y="67"/>
                      <a:pt x="7" y="68"/>
                      <a:pt x="5" y="69"/>
                    </a:cubicBezTo>
                    <a:cubicBezTo>
                      <a:pt x="5" y="69"/>
                      <a:pt x="4" y="69"/>
                      <a:pt x="3" y="70"/>
                    </a:cubicBezTo>
                    <a:cubicBezTo>
                      <a:pt x="2" y="70"/>
                      <a:pt x="2" y="70"/>
                      <a:pt x="2" y="70"/>
                    </a:cubicBezTo>
                    <a:cubicBezTo>
                      <a:pt x="1" y="70"/>
                      <a:pt x="1" y="69"/>
                      <a:pt x="0" y="69"/>
                    </a:cubicBezTo>
                    <a:cubicBezTo>
                      <a:pt x="2" y="72"/>
                      <a:pt x="3" y="75"/>
                      <a:pt x="6" y="78"/>
                    </a:cubicBezTo>
                    <a:cubicBezTo>
                      <a:pt x="9" y="81"/>
                      <a:pt x="14" y="83"/>
                      <a:pt x="17" y="86"/>
                    </a:cubicBezTo>
                    <a:cubicBezTo>
                      <a:pt x="17" y="87"/>
                      <a:pt x="17" y="89"/>
                      <a:pt x="17" y="90"/>
                    </a:cubicBezTo>
                    <a:cubicBezTo>
                      <a:pt x="18" y="88"/>
                      <a:pt x="19" y="84"/>
                      <a:pt x="21" y="84"/>
                    </a:cubicBezTo>
                    <a:cubicBezTo>
                      <a:pt x="21" y="84"/>
                      <a:pt x="21" y="84"/>
                      <a:pt x="21" y="85"/>
                    </a:cubicBezTo>
                    <a:cubicBezTo>
                      <a:pt x="24" y="85"/>
                      <a:pt x="28" y="85"/>
                      <a:pt x="28" y="89"/>
                    </a:cubicBezTo>
                    <a:cubicBezTo>
                      <a:pt x="28" y="90"/>
                      <a:pt x="28" y="91"/>
                      <a:pt x="27" y="92"/>
                    </a:cubicBezTo>
                    <a:cubicBezTo>
                      <a:pt x="26" y="92"/>
                      <a:pt x="25" y="90"/>
                      <a:pt x="23" y="90"/>
                    </a:cubicBezTo>
                    <a:cubicBezTo>
                      <a:pt x="23" y="90"/>
                      <a:pt x="23" y="90"/>
                      <a:pt x="23" y="90"/>
                    </a:cubicBezTo>
                    <a:cubicBezTo>
                      <a:pt x="23" y="90"/>
                      <a:pt x="23" y="90"/>
                      <a:pt x="23" y="90"/>
                    </a:cubicBezTo>
                    <a:cubicBezTo>
                      <a:pt x="22" y="90"/>
                      <a:pt x="22" y="91"/>
                      <a:pt x="22" y="91"/>
                    </a:cubicBezTo>
                    <a:cubicBezTo>
                      <a:pt x="22" y="91"/>
                      <a:pt x="22" y="91"/>
                      <a:pt x="22" y="91"/>
                    </a:cubicBezTo>
                    <a:cubicBezTo>
                      <a:pt x="21" y="91"/>
                      <a:pt x="20" y="90"/>
                      <a:pt x="19" y="90"/>
                    </a:cubicBezTo>
                    <a:cubicBezTo>
                      <a:pt x="18" y="90"/>
                      <a:pt x="17" y="91"/>
                      <a:pt x="19" y="93"/>
                    </a:cubicBezTo>
                    <a:cubicBezTo>
                      <a:pt x="16" y="93"/>
                      <a:pt x="18" y="95"/>
                      <a:pt x="19" y="96"/>
                    </a:cubicBezTo>
                    <a:cubicBezTo>
                      <a:pt x="21" y="99"/>
                      <a:pt x="24" y="101"/>
                      <a:pt x="26" y="103"/>
                    </a:cubicBezTo>
                    <a:cubicBezTo>
                      <a:pt x="26" y="105"/>
                      <a:pt x="27" y="106"/>
                      <a:pt x="28" y="107"/>
                    </a:cubicBezTo>
                    <a:cubicBezTo>
                      <a:pt x="27" y="107"/>
                      <a:pt x="27" y="107"/>
                      <a:pt x="27" y="107"/>
                    </a:cubicBezTo>
                    <a:cubicBezTo>
                      <a:pt x="28" y="108"/>
                      <a:pt x="28" y="109"/>
                      <a:pt x="28" y="110"/>
                    </a:cubicBezTo>
                    <a:cubicBezTo>
                      <a:pt x="30" y="109"/>
                      <a:pt x="32" y="107"/>
                      <a:pt x="35" y="106"/>
                    </a:cubicBezTo>
                    <a:cubicBezTo>
                      <a:pt x="34" y="106"/>
                      <a:pt x="34" y="105"/>
                      <a:pt x="34" y="105"/>
                    </a:cubicBezTo>
                    <a:cubicBezTo>
                      <a:pt x="35" y="106"/>
                      <a:pt x="39" y="110"/>
                      <a:pt x="39" y="111"/>
                    </a:cubicBezTo>
                    <a:cubicBezTo>
                      <a:pt x="42" y="111"/>
                      <a:pt x="46" y="110"/>
                      <a:pt x="49" y="109"/>
                    </a:cubicBezTo>
                    <a:cubicBezTo>
                      <a:pt x="50" y="109"/>
                      <a:pt x="52" y="109"/>
                      <a:pt x="53" y="109"/>
                    </a:cubicBezTo>
                    <a:cubicBezTo>
                      <a:pt x="56" y="109"/>
                      <a:pt x="60" y="109"/>
                      <a:pt x="62" y="109"/>
                    </a:cubicBezTo>
                    <a:cubicBezTo>
                      <a:pt x="63" y="109"/>
                      <a:pt x="64" y="109"/>
                      <a:pt x="64" y="109"/>
                    </a:cubicBezTo>
                    <a:cubicBezTo>
                      <a:pt x="64" y="109"/>
                      <a:pt x="65" y="109"/>
                      <a:pt x="65" y="109"/>
                    </a:cubicBezTo>
                    <a:cubicBezTo>
                      <a:pt x="65" y="109"/>
                      <a:pt x="66" y="109"/>
                      <a:pt x="66" y="109"/>
                    </a:cubicBezTo>
                    <a:cubicBezTo>
                      <a:pt x="69" y="109"/>
                      <a:pt x="71" y="109"/>
                      <a:pt x="74" y="110"/>
                    </a:cubicBezTo>
                    <a:cubicBezTo>
                      <a:pt x="78" y="112"/>
                      <a:pt x="83" y="114"/>
                      <a:pt x="88" y="116"/>
                    </a:cubicBezTo>
                    <a:cubicBezTo>
                      <a:pt x="87" y="118"/>
                      <a:pt x="82" y="123"/>
                      <a:pt x="80" y="123"/>
                    </a:cubicBezTo>
                    <a:cubicBezTo>
                      <a:pt x="80" y="123"/>
                      <a:pt x="79" y="123"/>
                      <a:pt x="79" y="123"/>
                    </a:cubicBezTo>
                    <a:cubicBezTo>
                      <a:pt x="77" y="123"/>
                      <a:pt x="75" y="122"/>
                      <a:pt x="74" y="121"/>
                    </a:cubicBezTo>
                    <a:cubicBezTo>
                      <a:pt x="69" y="118"/>
                      <a:pt x="64" y="116"/>
                      <a:pt x="59" y="114"/>
                    </a:cubicBezTo>
                    <a:cubicBezTo>
                      <a:pt x="56" y="113"/>
                      <a:pt x="54" y="110"/>
                      <a:pt x="51" y="110"/>
                    </a:cubicBezTo>
                    <a:cubicBezTo>
                      <a:pt x="45" y="110"/>
                      <a:pt x="37" y="115"/>
                      <a:pt x="34" y="120"/>
                    </a:cubicBezTo>
                    <a:cubicBezTo>
                      <a:pt x="33" y="120"/>
                      <a:pt x="33" y="121"/>
                      <a:pt x="33" y="122"/>
                    </a:cubicBezTo>
                    <a:cubicBezTo>
                      <a:pt x="31" y="123"/>
                      <a:pt x="29" y="123"/>
                      <a:pt x="28" y="124"/>
                    </a:cubicBezTo>
                    <a:cubicBezTo>
                      <a:pt x="27" y="127"/>
                      <a:pt x="33" y="130"/>
                      <a:pt x="34" y="132"/>
                    </a:cubicBezTo>
                    <a:cubicBezTo>
                      <a:pt x="39" y="136"/>
                      <a:pt x="46" y="139"/>
                      <a:pt x="43" y="146"/>
                    </a:cubicBezTo>
                    <a:cubicBezTo>
                      <a:pt x="42" y="148"/>
                      <a:pt x="41" y="148"/>
                      <a:pt x="42" y="151"/>
                    </a:cubicBezTo>
                    <a:cubicBezTo>
                      <a:pt x="42" y="153"/>
                      <a:pt x="43" y="155"/>
                      <a:pt x="44" y="156"/>
                    </a:cubicBezTo>
                    <a:cubicBezTo>
                      <a:pt x="45" y="157"/>
                      <a:pt x="44" y="159"/>
                      <a:pt x="45" y="160"/>
                    </a:cubicBezTo>
                    <a:cubicBezTo>
                      <a:pt x="45" y="160"/>
                      <a:pt x="46" y="160"/>
                      <a:pt x="46" y="160"/>
                    </a:cubicBezTo>
                    <a:cubicBezTo>
                      <a:pt x="49" y="160"/>
                      <a:pt x="51" y="156"/>
                      <a:pt x="52" y="155"/>
                    </a:cubicBezTo>
                    <a:cubicBezTo>
                      <a:pt x="52" y="155"/>
                      <a:pt x="52" y="154"/>
                      <a:pt x="53" y="154"/>
                    </a:cubicBezTo>
                    <a:cubicBezTo>
                      <a:pt x="54" y="153"/>
                      <a:pt x="54" y="153"/>
                      <a:pt x="55" y="153"/>
                    </a:cubicBezTo>
                    <a:cubicBezTo>
                      <a:pt x="61" y="153"/>
                      <a:pt x="66" y="171"/>
                      <a:pt x="67" y="174"/>
                    </a:cubicBezTo>
                    <a:cubicBezTo>
                      <a:pt x="68" y="172"/>
                      <a:pt x="67" y="170"/>
                      <a:pt x="67" y="167"/>
                    </a:cubicBezTo>
                    <a:cubicBezTo>
                      <a:pt x="67" y="166"/>
                      <a:pt x="68" y="165"/>
                      <a:pt x="69" y="164"/>
                    </a:cubicBezTo>
                    <a:cubicBezTo>
                      <a:pt x="69" y="164"/>
                      <a:pt x="69" y="162"/>
                      <a:pt x="70" y="161"/>
                    </a:cubicBezTo>
                    <a:cubicBezTo>
                      <a:pt x="70" y="161"/>
                      <a:pt x="71" y="161"/>
                      <a:pt x="71" y="161"/>
                    </a:cubicBezTo>
                    <a:cubicBezTo>
                      <a:pt x="76" y="161"/>
                      <a:pt x="84" y="170"/>
                      <a:pt x="87" y="172"/>
                    </a:cubicBezTo>
                    <a:cubicBezTo>
                      <a:pt x="84" y="160"/>
                      <a:pt x="80" y="149"/>
                      <a:pt x="74" y="137"/>
                    </a:cubicBezTo>
                    <a:cubicBezTo>
                      <a:pt x="77" y="138"/>
                      <a:pt x="84" y="141"/>
                      <a:pt x="85" y="143"/>
                    </a:cubicBezTo>
                    <a:cubicBezTo>
                      <a:pt x="86" y="144"/>
                      <a:pt x="86" y="144"/>
                      <a:pt x="87" y="144"/>
                    </a:cubicBezTo>
                    <a:cubicBezTo>
                      <a:pt x="88" y="144"/>
                      <a:pt x="89" y="143"/>
                      <a:pt x="90" y="143"/>
                    </a:cubicBezTo>
                    <a:cubicBezTo>
                      <a:pt x="95" y="141"/>
                      <a:pt x="96" y="140"/>
                      <a:pt x="94" y="136"/>
                    </a:cubicBezTo>
                    <a:cubicBezTo>
                      <a:pt x="94" y="134"/>
                      <a:pt x="94" y="134"/>
                      <a:pt x="94" y="134"/>
                    </a:cubicBezTo>
                    <a:cubicBezTo>
                      <a:pt x="93" y="133"/>
                      <a:pt x="93" y="133"/>
                      <a:pt x="92" y="133"/>
                    </a:cubicBezTo>
                    <a:cubicBezTo>
                      <a:pt x="91" y="133"/>
                      <a:pt x="89" y="134"/>
                      <a:pt x="88" y="135"/>
                    </a:cubicBezTo>
                    <a:cubicBezTo>
                      <a:pt x="88" y="135"/>
                      <a:pt x="88" y="135"/>
                      <a:pt x="88" y="135"/>
                    </a:cubicBezTo>
                    <a:cubicBezTo>
                      <a:pt x="88" y="135"/>
                      <a:pt x="85" y="128"/>
                      <a:pt x="84" y="127"/>
                    </a:cubicBezTo>
                    <a:cubicBezTo>
                      <a:pt x="84" y="126"/>
                      <a:pt x="82" y="126"/>
                      <a:pt x="82" y="125"/>
                    </a:cubicBezTo>
                    <a:cubicBezTo>
                      <a:pt x="82" y="122"/>
                      <a:pt x="91" y="123"/>
                      <a:pt x="94" y="122"/>
                    </a:cubicBezTo>
                    <a:cubicBezTo>
                      <a:pt x="95" y="122"/>
                      <a:pt x="96" y="120"/>
                      <a:pt x="98" y="120"/>
                    </a:cubicBezTo>
                    <a:cubicBezTo>
                      <a:pt x="98" y="120"/>
                      <a:pt x="98" y="120"/>
                      <a:pt x="98" y="120"/>
                    </a:cubicBezTo>
                    <a:cubicBezTo>
                      <a:pt x="100" y="120"/>
                      <a:pt x="97" y="123"/>
                      <a:pt x="100" y="123"/>
                    </a:cubicBezTo>
                    <a:cubicBezTo>
                      <a:pt x="100" y="123"/>
                      <a:pt x="100" y="123"/>
                      <a:pt x="100" y="123"/>
                    </a:cubicBezTo>
                    <a:cubicBezTo>
                      <a:pt x="100" y="123"/>
                      <a:pt x="101" y="123"/>
                      <a:pt x="101" y="123"/>
                    </a:cubicBezTo>
                    <a:cubicBezTo>
                      <a:pt x="101" y="123"/>
                      <a:pt x="101" y="123"/>
                      <a:pt x="102" y="123"/>
                    </a:cubicBezTo>
                    <a:cubicBezTo>
                      <a:pt x="103" y="124"/>
                      <a:pt x="103" y="127"/>
                      <a:pt x="104" y="128"/>
                    </a:cubicBezTo>
                    <a:cubicBezTo>
                      <a:pt x="105" y="128"/>
                      <a:pt x="106" y="127"/>
                      <a:pt x="107" y="128"/>
                    </a:cubicBezTo>
                    <a:cubicBezTo>
                      <a:pt x="108" y="129"/>
                      <a:pt x="108" y="130"/>
                      <a:pt x="108" y="130"/>
                    </a:cubicBezTo>
                    <a:cubicBezTo>
                      <a:pt x="109" y="131"/>
                      <a:pt x="108" y="132"/>
                      <a:pt x="110" y="132"/>
                    </a:cubicBezTo>
                    <a:cubicBezTo>
                      <a:pt x="110" y="132"/>
                      <a:pt x="110" y="132"/>
                      <a:pt x="110" y="132"/>
                    </a:cubicBezTo>
                    <a:cubicBezTo>
                      <a:pt x="112" y="132"/>
                      <a:pt x="113" y="129"/>
                      <a:pt x="112" y="127"/>
                    </a:cubicBezTo>
                    <a:cubicBezTo>
                      <a:pt x="112" y="125"/>
                      <a:pt x="109" y="117"/>
                      <a:pt x="112" y="117"/>
                    </a:cubicBezTo>
                    <a:cubicBezTo>
                      <a:pt x="112" y="117"/>
                      <a:pt x="112" y="117"/>
                      <a:pt x="112" y="117"/>
                    </a:cubicBezTo>
                    <a:cubicBezTo>
                      <a:pt x="114" y="113"/>
                      <a:pt x="91" y="105"/>
                      <a:pt x="88" y="102"/>
                    </a:cubicBezTo>
                    <a:cubicBezTo>
                      <a:pt x="85" y="100"/>
                      <a:pt x="83" y="97"/>
                      <a:pt x="79" y="96"/>
                    </a:cubicBezTo>
                    <a:cubicBezTo>
                      <a:pt x="78" y="95"/>
                      <a:pt x="76" y="95"/>
                      <a:pt x="74" y="94"/>
                    </a:cubicBezTo>
                    <a:cubicBezTo>
                      <a:pt x="73" y="94"/>
                      <a:pt x="70" y="94"/>
                      <a:pt x="69" y="93"/>
                    </a:cubicBezTo>
                    <a:cubicBezTo>
                      <a:pt x="73" y="91"/>
                      <a:pt x="78" y="90"/>
                      <a:pt x="82" y="89"/>
                    </a:cubicBezTo>
                    <a:cubicBezTo>
                      <a:pt x="81" y="86"/>
                      <a:pt x="80" y="84"/>
                      <a:pt x="78" y="82"/>
                    </a:cubicBezTo>
                    <a:cubicBezTo>
                      <a:pt x="78" y="83"/>
                      <a:pt x="78" y="83"/>
                      <a:pt x="78" y="83"/>
                    </a:cubicBezTo>
                    <a:cubicBezTo>
                      <a:pt x="75" y="80"/>
                      <a:pt x="79" y="77"/>
                      <a:pt x="82" y="77"/>
                    </a:cubicBezTo>
                    <a:cubicBezTo>
                      <a:pt x="83" y="77"/>
                      <a:pt x="84" y="77"/>
                      <a:pt x="85" y="78"/>
                    </a:cubicBezTo>
                    <a:cubicBezTo>
                      <a:pt x="86" y="79"/>
                      <a:pt x="87" y="79"/>
                      <a:pt x="87" y="81"/>
                    </a:cubicBezTo>
                    <a:cubicBezTo>
                      <a:pt x="88" y="82"/>
                      <a:pt x="88" y="82"/>
                      <a:pt x="86" y="84"/>
                    </a:cubicBezTo>
                    <a:cubicBezTo>
                      <a:pt x="86" y="84"/>
                      <a:pt x="85" y="84"/>
                      <a:pt x="85" y="84"/>
                    </a:cubicBezTo>
                    <a:cubicBezTo>
                      <a:pt x="85" y="84"/>
                      <a:pt x="84" y="84"/>
                      <a:pt x="84" y="84"/>
                    </a:cubicBezTo>
                    <a:cubicBezTo>
                      <a:pt x="83" y="85"/>
                      <a:pt x="83" y="85"/>
                      <a:pt x="83" y="85"/>
                    </a:cubicBezTo>
                    <a:cubicBezTo>
                      <a:pt x="84" y="85"/>
                      <a:pt x="85" y="85"/>
                      <a:pt x="85" y="85"/>
                    </a:cubicBezTo>
                    <a:cubicBezTo>
                      <a:pt x="87" y="85"/>
                      <a:pt x="88" y="84"/>
                      <a:pt x="89" y="84"/>
                    </a:cubicBezTo>
                    <a:cubicBezTo>
                      <a:pt x="91" y="82"/>
                      <a:pt x="93" y="83"/>
                      <a:pt x="90" y="79"/>
                    </a:cubicBezTo>
                    <a:cubicBezTo>
                      <a:pt x="82" y="71"/>
                      <a:pt x="77" y="63"/>
                      <a:pt x="72" y="54"/>
                    </a:cubicBezTo>
                    <a:cubicBezTo>
                      <a:pt x="70" y="52"/>
                      <a:pt x="69" y="51"/>
                      <a:pt x="69" y="49"/>
                    </a:cubicBezTo>
                    <a:cubicBezTo>
                      <a:pt x="69" y="46"/>
                      <a:pt x="71" y="38"/>
                      <a:pt x="74" y="37"/>
                    </a:cubicBezTo>
                    <a:cubicBezTo>
                      <a:pt x="75" y="36"/>
                      <a:pt x="76" y="36"/>
                      <a:pt x="78" y="35"/>
                    </a:cubicBezTo>
                    <a:cubicBezTo>
                      <a:pt x="78" y="35"/>
                      <a:pt x="78" y="33"/>
                      <a:pt x="78" y="33"/>
                    </a:cubicBezTo>
                    <a:cubicBezTo>
                      <a:pt x="78" y="33"/>
                      <a:pt x="79" y="33"/>
                      <a:pt x="79" y="33"/>
                    </a:cubicBezTo>
                    <a:cubicBezTo>
                      <a:pt x="81" y="33"/>
                      <a:pt x="78" y="36"/>
                      <a:pt x="78" y="38"/>
                    </a:cubicBezTo>
                    <a:cubicBezTo>
                      <a:pt x="78" y="38"/>
                      <a:pt x="78" y="38"/>
                      <a:pt x="78" y="38"/>
                    </a:cubicBezTo>
                    <a:cubicBezTo>
                      <a:pt x="78" y="38"/>
                      <a:pt x="78" y="38"/>
                      <a:pt x="77" y="38"/>
                    </a:cubicBezTo>
                    <a:cubicBezTo>
                      <a:pt x="77" y="38"/>
                      <a:pt x="77" y="38"/>
                      <a:pt x="77" y="38"/>
                    </a:cubicBezTo>
                    <a:cubicBezTo>
                      <a:pt x="77" y="38"/>
                      <a:pt x="77" y="38"/>
                      <a:pt x="77" y="38"/>
                    </a:cubicBezTo>
                    <a:cubicBezTo>
                      <a:pt x="77" y="40"/>
                      <a:pt x="81" y="43"/>
                      <a:pt x="83" y="44"/>
                    </a:cubicBezTo>
                    <a:cubicBezTo>
                      <a:pt x="84" y="45"/>
                      <a:pt x="88" y="45"/>
                      <a:pt x="89" y="46"/>
                    </a:cubicBezTo>
                    <a:cubicBezTo>
                      <a:pt x="92" y="48"/>
                      <a:pt x="90" y="49"/>
                      <a:pt x="91" y="51"/>
                    </a:cubicBezTo>
                    <a:cubicBezTo>
                      <a:pt x="91" y="53"/>
                      <a:pt x="93" y="54"/>
                      <a:pt x="92" y="56"/>
                    </a:cubicBezTo>
                    <a:cubicBezTo>
                      <a:pt x="93" y="56"/>
                      <a:pt x="93" y="56"/>
                      <a:pt x="93" y="56"/>
                    </a:cubicBezTo>
                    <a:cubicBezTo>
                      <a:pt x="95" y="56"/>
                      <a:pt x="96" y="56"/>
                      <a:pt x="98" y="57"/>
                    </a:cubicBezTo>
                    <a:cubicBezTo>
                      <a:pt x="99" y="57"/>
                      <a:pt x="100" y="57"/>
                      <a:pt x="102" y="57"/>
                    </a:cubicBezTo>
                    <a:cubicBezTo>
                      <a:pt x="102" y="57"/>
                      <a:pt x="102" y="57"/>
                      <a:pt x="103" y="57"/>
                    </a:cubicBezTo>
                    <a:cubicBezTo>
                      <a:pt x="99" y="54"/>
                      <a:pt x="93" y="53"/>
                      <a:pt x="91" y="48"/>
                    </a:cubicBezTo>
                    <a:cubicBezTo>
                      <a:pt x="93" y="47"/>
                      <a:pt x="95" y="47"/>
                      <a:pt x="97" y="47"/>
                    </a:cubicBezTo>
                    <a:cubicBezTo>
                      <a:pt x="100" y="47"/>
                      <a:pt x="102" y="48"/>
                      <a:pt x="103" y="50"/>
                    </a:cubicBezTo>
                    <a:cubicBezTo>
                      <a:pt x="104" y="52"/>
                      <a:pt x="104" y="53"/>
                      <a:pt x="105" y="54"/>
                    </a:cubicBezTo>
                    <a:cubicBezTo>
                      <a:pt x="105" y="54"/>
                      <a:pt x="108" y="55"/>
                      <a:pt x="108" y="56"/>
                    </a:cubicBezTo>
                    <a:cubicBezTo>
                      <a:pt x="109" y="56"/>
                      <a:pt x="108" y="56"/>
                      <a:pt x="109" y="56"/>
                    </a:cubicBezTo>
                    <a:cubicBezTo>
                      <a:pt x="109" y="56"/>
                      <a:pt x="109" y="56"/>
                      <a:pt x="110" y="56"/>
                    </a:cubicBezTo>
                    <a:cubicBezTo>
                      <a:pt x="109" y="54"/>
                      <a:pt x="96" y="42"/>
                      <a:pt x="106" y="42"/>
                    </a:cubicBezTo>
                    <a:cubicBezTo>
                      <a:pt x="107" y="42"/>
                      <a:pt x="107" y="42"/>
                      <a:pt x="107" y="42"/>
                    </a:cubicBezTo>
                    <a:cubicBezTo>
                      <a:pt x="109" y="42"/>
                      <a:pt x="111" y="45"/>
                      <a:pt x="113" y="45"/>
                    </a:cubicBezTo>
                    <a:cubicBezTo>
                      <a:pt x="114" y="45"/>
                      <a:pt x="114" y="45"/>
                      <a:pt x="114" y="45"/>
                    </a:cubicBezTo>
                    <a:cubicBezTo>
                      <a:pt x="106" y="41"/>
                      <a:pt x="105" y="38"/>
                      <a:pt x="103" y="29"/>
                    </a:cubicBezTo>
                    <a:cubicBezTo>
                      <a:pt x="109" y="28"/>
                      <a:pt x="117" y="23"/>
                      <a:pt x="124" y="23"/>
                    </a:cubicBezTo>
                    <a:cubicBezTo>
                      <a:pt x="125" y="23"/>
                      <a:pt x="126" y="23"/>
                      <a:pt x="127" y="23"/>
                    </a:cubicBezTo>
                    <a:cubicBezTo>
                      <a:pt x="130" y="24"/>
                      <a:pt x="131" y="25"/>
                      <a:pt x="133" y="25"/>
                    </a:cubicBezTo>
                    <a:cubicBezTo>
                      <a:pt x="134" y="25"/>
                      <a:pt x="135" y="25"/>
                      <a:pt x="136" y="25"/>
                    </a:cubicBezTo>
                    <a:cubicBezTo>
                      <a:pt x="137" y="24"/>
                      <a:pt x="141" y="21"/>
                      <a:pt x="143" y="21"/>
                    </a:cubicBezTo>
                    <a:cubicBezTo>
                      <a:pt x="143" y="21"/>
                      <a:pt x="143" y="21"/>
                      <a:pt x="143" y="21"/>
                    </a:cubicBezTo>
                    <a:cubicBezTo>
                      <a:pt x="148" y="23"/>
                      <a:pt x="153" y="24"/>
                      <a:pt x="158" y="26"/>
                    </a:cubicBezTo>
                    <a:cubicBezTo>
                      <a:pt x="161" y="27"/>
                      <a:pt x="163" y="28"/>
                      <a:pt x="165" y="29"/>
                    </a:cubicBezTo>
                    <a:cubicBezTo>
                      <a:pt x="166" y="28"/>
                      <a:pt x="166" y="28"/>
                      <a:pt x="166" y="28"/>
                    </a:cubicBezTo>
                    <a:cubicBezTo>
                      <a:pt x="167" y="27"/>
                      <a:pt x="170" y="24"/>
                      <a:pt x="170" y="23"/>
                    </a:cubicBezTo>
                    <a:cubicBezTo>
                      <a:pt x="172" y="21"/>
                      <a:pt x="172" y="21"/>
                      <a:pt x="172" y="21"/>
                    </a:cubicBezTo>
                    <a:cubicBezTo>
                      <a:pt x="172" y="21"/>
                      <a:pt x="173" y="20"/>
                      <a:pt x="173" y="19"/>
                    </a:cubicBezTo>
                    <a:cubicBezTo>
                      <a:pt x="173" y="19"/>
                      <a:pt x="173" y="19"/>
                      <a:pt x="173" y="19"/>
                    </a:cubicBezTo>
                    <a:cubicBezTo>
                      <a:pt x="173" y="19"/>
                      <a:pt x="173" y="19"/>
                      <a:pt x="173" y="18"/>
                    </a:cubicBezTo>
                    <a:cubicBezTo>
                      <a:pt x="173" y="17"/>
                      <a:pt x="173" y="17"/>
                      <a:pt x="173" y="17"/>
                    </a:cubicBezTo>
                    <a:cubicBezTo>
                      <a:pt x="173" y="17"/>
                      <a:pt x="173" y="17"/>
                      <a:pt x="173" y="17"/>
                    </a:cubicBezTo>
                    <a:cubicBezTo>
                      <a:pt x="173" y="16"/>
                      <a:pt x="173" y="16"/>
                      <a:pt x="173" y="16"/>
                    </a:cubicBezTo>
                    <a:cubicBezTo>
                      <a:pt x="173" y="15"/>
                      <a:pt x="173" y="13"/>
                      <a:pt x="173" y="12"/>
                    </a:cubicBezTo>
                    <a:cubicBezTo>
                      <a:pt x="174" y="10"/>
                      <a:pt x="175" y="9"/>
                      <a:pt x="177" y="8"/>
                    </a:cubicBezTo>
                    <a:cubicBezTo>
                      <a:pt x="179" y="7"/>
                      <a:pt x="179" y="7"/>
                      <a:pt x="179" y="7"/>
                    </a:cubicBezTo>
                    <a:cubicBezTo>
                      <a:pt x="180" y="6"/>
                      <a:pt x="181" y="6"/>
                      <a:pt x="181" y="5"/>
                    </a:cubicBezTo>
                    <a:cubicBezTo>
                      <a:pt x="182" y="4"/>
                      <a:pt x="182" y="4"/>
                      <a:pt x="182" y="4"/>
                    </a:cubicBezTo>
                    <a:cubicBezTo>
                      <a:pt x="182" y="4"/>
                      <a:pt x="182" y="4"/>
                      <a:pt x="182" y="4"/>
                    </a:cubicBezTo>
                    <a:cubicBezTo>
                      <a:pt x="181" y="3"/>
                      <a:pt x="181" y="3"/>
                      <a:pt x="181" y="3"/>
                    </a:cubicBezTo>
                    <a:cubicBezTo>
                      <a:pt x="180" y="2"/>
                      <a:pt x="180" y="2"/>
                      <a:pt x="180" y="2"/>
                    </a:cubicBezTo>
                    <a:cubicBezTo>
                      <a:pt x="179" y="2"/>
                      <a:pt x="179" y="2"/>
                      <a:pt x="179" y="2"/>
                    </a:cubicBezTo>
                    <a:cubicBezTo>
                      <a:pt x="178" y="1"/>
                      <a:pt x="178" y="1"/>
                      <a:pt x="178" y="1"/>
                    </a:cubicBezTo>
                    <a:cubicBezTo>
                      <a:pt x="178" y="1"/>
                      <a:pt x="178" y="1"/>
                      <a:pt x="178" y="1"/>
                    </a:cubicBezTo>
                    <a:cubicBezTo>
                      <a:pt x="177" y="0"/>
                      <a:pt x="177" y="0"/>
                      <a:pt x="177" y="0"/>
                    </a:cubicBezTo>
                    <a:cubicBezTo>
                      <a:pt x="177" y="0"/>
                      <a:pt x="177" y="0"/>
                      <a:pt x="177" y="0"/>
                    </a:cubicBezTo>
                    <a:cubicBezTo>
                      <a:pt x="175" y="0"/>
                      <a:pt x="175" y="0"/>
                      <a:pt x="1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299"/>
              <p:cNvSpPr/>
              <p:nvPr/>
            </p:nvSpPr>
            <p:spPr bwMode="auto">
              <a:xfrm>
                <a:off x="6386306" y="4665357"/>
                <a:ext cx="545397" cy="298494"/>
              </a:xfrm>
              <a:custGeom>
                <a:gdLst>
                  <a:gd name="T0" fmla="*/ 4 w 172"/>
                  <a:gd name="T1" fmla="*/ 4 h 94"/>
                  <a:gd name="T2" fmla="*/ 0 w 172"/>
                  <a:gd name="T3" fmla="*/ 11 h 94"/>
                  <a:gd name="T4" fmla="*/ 5 w 172"/>
                  <a:gd name="T5" fmla="*/ 21 h 94"/>
                  <a:gd name="T6" fmla="*/ 12 w 172"/>
                  <a:gd name="T7" fmla="*/ 25 h 94"/>
                  <a:gd name="T8" fmla="*/ 16 w 172"/>
                  <a:gd name="T9" fmla="*/ 34 h 94"/>
                  <a:gd name="T10" fmla="*/ 4 w 172"/>
                  <a:gd name="T11" fmla="*/ 44 h 94"/>
                  <a:gd name="T12" fmla="*/ 2 w 172"/>
                  <a:gd name="T13" fmla="*/ 46 h 94"/>
                  <a:gd name="T14" fmla="*/ 3 w 172"/>
                  <a:gd name="T15" fmla="*/ 50 h 94"/>
                  <a:gd name="T16" fmla="*/ 1 w 172"/>
                  <a:gd name="T17" fmla="*/ 61 h 94"/>
                  <a:gd name="T18" fmla="*/ 5 w 172"/>
                  <a:gd name="T19" fmla="*/ 66 h 94"/>
                  <a:gd name="T20" fmla="*/ 7 w 172"/>
                  <a:gd name="T21" fmla="*/ 67 h 94"/>
                  <a:gd name="T22" fmla="*/ 9 w 172"/>
                  <a:gd name="T23" fmla="*/ 69 h 94"/>
                  <a:gd name="T24" fmla="*/ 18 w 172"/>
                  <a:gd name="T25" fmla="*/ 91 h 94"/>
                  <a:gd name="T26" fmla="*/ 35 w 172"/>
                  <a:gd name="T27" fmla="*/ 88 h 94"/>
                  <a:gd name="T28" fmla="*/ 49 w 172"/>
                  <a:gd name="T29" fmla="*/ 84 h 94"/>
                  <a:gd name="T30" fmla="*/ 57 w 172"/>
                  <a:gd name="T31" fmla="*/ 83 h 94"/>
                  <a:gd name="T32" fmla="*/ 65 w 172"/>
                  <a:gd name="T33" fmla="*/ 89 h 94"/>
                  <a:gd name="T34" fmla="*/ 73 w 172"/>
                  <a:gd name="T35" fmla="*/ 92 h 94"/>
                  <a:gd name="T36" fmla="*/ 80 w 172"/>
                  <a:gd name="T37" fmla="*/ 94 h 94"/>
                  <a:gd name="T38" fmla="*/ 87 w 172"/>
                  <a:gd name="T39" fmla="*/ 93 h 94"/>
                  <a:gd name="T40" fmla="*/ 100 w 172"/>
                  <a:gd name="T41" fmla="*/ 91 h 94"/>
                  <a:gd name="T42" fmla="*/ 98 w 172"/>
                  <a:gd name="T43" fmla="*/ 83 h 94"/>
                  <a:gd name="T44" fmla="*/ 106 w 172"/>
                  <a:gd name="T45" fmla="*/ 78 h 94"/>
                  <a:gd name="T46" fmla="*/ 110 w 172"/>
                  <a:gd name="T47" fmla="*/ 76 h 94"/>
                  <a:gd name="T48" fmla="*/ 115 w 172"/>
                  <a:gd name="T49" fmla="*/ 72 h 94"/>
                  <a:gd name="T50" fmla="*/ 137 w 172"/>
                  <a:gd name="T51" fmla="*/ 65 h 94"/>
                  <a:gd name="T52" fmla="*/ 140 w 172"/>
                  <a:gd name="T53" fmla="*/ 68 h 94"/>
                  <a:gd name="T54" fmla="*/ 154 w 172"/>
                  <a:gd name="T55" fmla="*/ 69 h 94"/>
                  <a:gd name="T56" fmla="*/ 145 w 172"/>
                  <a:gd name="T57" fmla="*/ 56 h 94"/>
                  <a:gd name="T58" fmla="*/ 142 w 172"/>
                  <a:gd name="T59" fmla="*/ 57 h 94"/>
                  <a:gd name="T60" fmla="*/ 149 w 172"/>
                  <a:gd name="T61" fmla="*/ 50 h 94"/>
                  <a:gd name="T62" fmla="*/ 153 w 172"/>
                  <a:gd name="T63" fmla="*/ 31 h 94"/>
                  <a:gd name="T64" fmla="*/ 172 w 172"/>
                  <a:gd name="T65" fmla="*/ 15 h 94"/>
                  <a:gd name="T66" fmla="*/ 136 w 172"/>
                  <a:gd name="T67" fmla="*/ 3 h 94"/>
                  <a:gd name="T68" fmla="*/ 133 w 172"/>
                  <a:gd name="T69" fmla="*/ 2 h 94"/>
                  <a:gd name="T70" fmla="*/ 108 w 172"/>
                  <a:gd name="T71" fmla="*/ 7 h 94"/>
                  <a:gd name="T72" fmla="*/ 85 w 172"/>
                  <a:gd name="T73" fmla="*/ 19 h 94"/>
                  <a:gd name="T74" fmla="*/ 68 w 172"/>
                  <a:gd name="T75" fmla="*/ 17 h 94"/>
                  <a:gd name="T76" fmla="*/ 47 w 172"/>
                  <a:gd name="T77" fmla="*/ 17 h 94"/>
                  <a:gd name="T78" fmla="*/ 31 w 172"/>
                  <a:gd name="T79" fmla="*/ 13 h 94"/>
                  <a:gd name="T80" fmla="*/ 20 w 172"/>
                  <a:gd name="T81" fmla="*/ 13 h 94"/>
                  <a:gd name="T82" fmla="*/ 8 w 172"/>
                  <a:gd name="T83" fmla="*/ 11 h 94"/>
                  <a:gd name="T84" fmla="*/ 9 w 172"/>
                  <a:gd name="T85" fmla="*/ 1 h 94"/>
                  <a:gd name="T86" fmla="*/ 7 w 172"/>
                  <a:gd name="T87" fmla="*/ 0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94">
                    <a:moveTo>
                      <a:pt x="6" y="0"/>
                    </a:moveTo>
                    <a:cubicBezTo>
                      <a:pt x="6" y="0"/>
                      <a:pt x="6" y="1"/>
                      <a:pt x="6" y="1"/>
                    </a:cubicBezTo>
                    <a:cubicBezTo>
                      <a:pt x="4" y="4"/>
                      <a:pt x="4" y="4"/>
                      <a:pt x="4" y="4"/>
                    </a:cubicBezTo>
                    <a:cubicBezTo>
                      <a:pt x="1" y="9"/>
                      <a:pt x="1" y="9"/>
                      <a:pt x="1" y="9"/>
                    </a:cubicBezTo>
                    <a:cubicBezTo>
                      <a:pt x="1" y="9"/>
                      <a:pt x="1" y="9"/>
                      <a:pt x="1" y="9"/>
                    </a:cubicBezTo>
                    <a:cubicBezTo>
                      <a:pt x="0" y="11"/>
                      <a:pt x="0" y="11"/>
                      <a:pt x="0" y="11"/>
                    </a:cubicBezTo>
                    <a:cubicBezTo>
                      <a:pt x="1" y="12"/>
                      <a:pt x="1" y="12"/>
                      <a:pt x="1" y="13"/>
                    </a:cubicBezTo>
                    <a:cubicBezTo>
                      <a:pt x="2" y="15"/>
                      <a:pt x="2" y="17"/>
                      <a:pt x="3" y="18"/>
                    </a:cubicBezTo>
                    <a:cubicBezTo>
                      <a:pt x="4" y="19"/>
                      <a:pt x="5" y="20"/>
                      <a:pt x="5" y="21"/>
                    </a:cubicBezTo>
                    <a:cubicBezTo>
                      <a:pt x="6" y="22"/>
                      <a:pt x="7" y="22"/>
                      <a:pt x="8" y="23"/>
                    </a:cubicBezTo>
                    <a:cubicBezTo>
                      <a:pt x="9" y="24"/>
                      <a:pt x="10" y="24"/>
                      <a:pt x="11" y="25"/>
                    </a:cubicBezTo>
                    <a:cubicBezTo>
                      <a:pt x="12" y="25"/>
                      <a:pt x="12" y="25"/>
                      <a:pt x="12" y="25"/>
                    </a:cubicBezTo>
                    <a:cubicBezTo>
                      <a:pt x="13" y="26"/>
                      <a:pt x="15" y="27"/>
                      <a:pt x="16" y="28"/>
                    </a:cubicBezTo>
                    <a:cubicBezTo>
                      <a:pt x="20" y="31"/>
                      <a:pt x="20" y="31"/>
                      <a:pt x="20" y="31"/>
                    </a:cubicBezTo>
                    <a:cubicBezTo>
                      <a:pt x="16" y="34"/>
                      <a:pt x="16" y="34"/>
                      <a:pt x="16" y="34"/>
                    </a:cubicBezTo>
                    <a:cubicBezTo>
                      <a:pt x="15" y="35"/>
                      <a:pt x="14" y="36"/>
                      <a:pt x="13" y="37"/>
                    </a:cubicBezTo>
                    <a:cubicBezTo>
                      <a:pt x="12" y="38"/>
                      <a:pt x="12" y="38"/>
                      <a:pt x="12" y="38"/>
                    </a:cubicBezTo>
                    <a:cubicBezTo>
                      <a:pt x="10" y="40"/>
                      <a:pt x="7" y="42"/>
                      <a:pt x="4" y="44"/>
                    </a:cubicBezTo>
                    <a:cubicBezTo>
                      <a:pt x="4" y="44"/>
                      <a:pt x="3" y="45"/>
                      <a:pt x="3" y="45"/>
                    </a:cubicBezTo>
                    <a:cubicBezTo>
                      <a:pt x="2" y="45"/>
                      <a:pt x="2" y="45"/>
                      <a:pt x="2" y="46"/>
                    </a:cubicBezTo>
                    <a:cubicBezTo>
                      <a:pt x="2" y="46"/>
                      <a:pt x="2" y="46"/>
                      <a:pt x="2" y="46"/>
                    </a:cubicBezTo>
                    <a:cubicBezTo>
                      <a:pt x="1" y="46"/>
                      <a:pt x="1" y="47"/>
                      <a:pt x="1" y="48"/>
                    </a:cubicBezTo>
                    <a:cubicBezTo>
                      <a:pt x="1" y="48"/>
                      <a:pt x="2" y="49"/>
                      <a:pt x="2" y="49"/>
                    </a:cubicBezTo>
                    <a:cubicBezTo>
                      <a:pt x="3" y="50"/>
                      <a:pt x="3" y="50"/>
                      <a:pt x="3" y="50"/>
                    </a:cubicBezTo>
                    <a:cubicBezTo>
                      <a:pt x="3" y="51"/>
                      <a:pt x="3" y="51"/>
                      <a:pt x="3" y="51"/>
                    </a:cubicBezTo>
                    <a:cubicBezTo>
                      <a:pt x="4" y="52"/>
                      <a:pt x="5" y="53"/>
                      <a:pt x="5" y="55"/>
                    </a:cubicBezTo>
                    <a:cubicBezTo>
                      <a:pt x="5" y="58"/>
                      <a:pt x="3" y="60"/>
                      <a:pt x="1" y="61"/>
                    </a:cubicBezTo>
                    <a:cubicBezTo>
                      <a:pt x="2" y="62"/>
                      <a:pt x="2" y="62"/>
                      <a:pt x="2" y="62"/>
                    </a:cubicBezTo>
                    <a:cubicBezTo>
                      <a:pt x="2" y="63"/>
                      <a:pt x="2" y="63"/>
                      <a:pt x="2" y="63"/>
                    </a:cubicBezTo>
                    <a:cubicBezTo>
                      <a:pt x="3" y="64"/>
                      <a:pt x="4" y="65"/>
                      <a:pt x="5" y="66"/>
                    </a:cubicBezTo>
                    <a:cubicBezTo>
                      <a:pt x="6" y="66"/>
                      <a:pt x="6" y="66"/>
                      <a:pt x="6" y="66"/>
                    </a:cubicBezTo>
                    <a:cubicBezTo>
                      <a:pt x="11" y="60"/>
                      <a:pt x="11" y="60"/>
                      <a:pt x="11" y="60"/>
                    </a:cubicBezTo>
                    <a:cubicBezTo>
                      <a:pt x="7" y="67"/>
                      <a:pt x="7" y="67"/>
                      <a:pt x="7" y="67"/>
                    </a:cubicBezTo>
                    <a:cubicBezTo>
                      <a:pt x="8" y="68"/>
                      <a:pt x="8" y="68"/>
                      <a:pt x="8" y="68"/>
                    </a:cubicBezTo>
                    <a:cubicBezTo>
                      <a:pt x="8" y="68"/>
                      <a:pt x="8" y="68"/>
                      <a:pt x="8" y="68"/>
                    </a:cubicBezTo>
                    <a:cubicBezTo>
                      <a:pt x="9" y="69"/>
                      <a:pt x="9" y="69"/>
                      <a:pt x="9" y="69"/>
                    </a:cubicBezTo>
                    <a:cubicBezTo>
                      <a:pt x="14" y="73"/>
                      <a:pt x="19" y="78"/>
                      <a:pt x="18" y="83"/>
                    </a:cubicBezTo>
                    <a:cubicBezTo>
                      <a:pt x="18" y="84"/>
                      <a:pt x="17" y="87"/>
                      <a:pt x="16" y="91"/>
                    </a:cubicBezTo>
                    <a:cubicBezTo>
                      <a:pt x="17" y="91"/>
                      <a:pt x="18" y="91"/>
                      <a:pt x="18" y="91"/>
                    </a:cubicBezTo>
                    <a:cubicBezTo>
                      <a:pt x="19" y="91"/>
                      <a:pt x="19" y="91"/>
                      <a:pt x="19" y="91"/>
                    </a:cubicBezTo>
                    <a:cubicBezTo>
                      <a:pt x="23" y="91"/>
                      <a:pt x="27" y="90"/>
                      <a:pt x="31" y="90"/>
                    </a:cubicBezTo>
                    <a:cubicBezTo>
                      <a:pt x="32" y="89"/>
                      <a:pt x="33" y="89"/>
                      <a:pt x="35" y="88"/>
                    </a:cubicBezTo>
                    <a:cubicBezTo>
                      <a:pt x="35" y="88"/>
                      <a:pt x="35" y="88"/>
                      <a:pt x="35" y="88"/>
                    </a:cubicBezTo>
                    <a:cubicBezTo>
                      <a:pt x="37" y="88"/>
                      <a:pt x="38" y="87"/>
                      <a:pt x="40" y="87"/>
                    </a:cubicBezTo>
                    <a:cubicBezTo>
                      <a:pt x="42" y="85"/>
                      <a:pt x="46" y="84"/>
                      <a:pt x="49" y="84"/>
                    </a:cubicBezTo>
                    <a:cubicBezTo>
                      <a:pt x="49" y="84"/>
                      <a:pt x="50" y="84"/>
                      <a:pt x="51" y="84"/>
                    </a:cubicBezTo>
                    <a:cubicBezTo>
                      <a:pt x="52" y="84"/>
                      <a:pt x="54" y="83"/>
                      <a:pt x="55" y="83"/>
                    </a:cubicBezTo>
                    <a:cubicBezTo>
                      <a:pt x="56" y="83"/>
                      <a:pt x="56" y="83"/>
                      <a:pt x="57" y="83"/>
                    </a:cubicBezTo>
                    <a:cubicBezTo>
                      <a:pt x="58" y="83"/>
                      <a:pt x="58" y="84"/>
                      <a:pt x="59" y="84"/>
                    </a:cubicBezTo>
                    <a:cubicBezTo>
                      <a:pt x="59" y="84"/>
                      <a:pt x="59" y="84"/>
                      <a:pt x="59" y="84"/>
                    </a:cubicBezTo>
                    <a:cubicBezTo>
                      <a:pt x="62" y="85"/>
                      <a:pt x="63" y="87"/>
                      <a:pt x="65" y="89"/>
                    </a:cubicBezTo>
                    <a:cubicBezTo>
                      <a:pt x="66" y="89"/>
                      <a:pt x="66" y="89"/>
                      <a:pt x="66" y="89"/>
                    </a:cubicBezTo>
                    <a:cubicBezTo>
                      <a:pt x="67" y="90"/>
                      <a:pt x="68" y="91"/>
                      <a:pt x="71" y="91"/>
                    </a:cubicBezTo>
                    <a:cubicBezTo>
                      <a:pt x="71" y="91"/>
                      <a:pt x="72" y="92"/>
                      <a:pt x="73" y="92"/>
                    </a:cubicBezTo>
                    <a:cubicBezTo>
                      <a:pt x="74" y="92"/>
                      <a:pt x="76" y="92"/>
                      <a:pt x="77" y="92"/>
                    </a:cubicBezTo>
                    <a:cubicBezTo>
                      <a:pt x="78" y="93"/>
                      <a:pt x="79" y="93"/>
                      <a:pt x="79" y="94"/>
                    </a:cubicBezTo>
                    <a:cubicBezTo>
                      <a:pt x="79" y="94"/>
                      <a:pt x="80" y="94"/>
                      <a:pt x="80" y="94"/>
                    </a:cubicBezTo>
                    <a:cubicBezTo>
                      <a:pt x="80" y="94"/>
                      <a:pt x="80" y="94"/>
                      <a:pt x="80" y="94"/>
                    </a:cubicBezTo>
                    <a:cubicBezTo>
                      <a:pt x="86" y="93"/>
                      <a:pt x="86" y="93"/>
                      <a:pt x="86" y="93"/>
                    </a:cubicBezTo>
                    <a:cubicBezTo>
                      <a:pt x="86" y="93"/>
                      <a:pt x="87" y="93"/>
                      <a:pt x="87" y="93"/>
                    </a:cubicBezTo>
                    <a:cubicBezTo>
                      <a:pt x="90" y="93"/>
                      <a:pt x="90" y="93"/>
                      <a:pt x="90" y="93"/>
                    </a:cubicBezTo>
                    <a:cubicBezTo>
                      <a:pt x="92" y="93"/>
                      <a:pt x="94" y="92"/>
                      <a:pt x="96" y="92"/>
                    </a:cubicBezTo>
                    <a:cubicBezTo>
                      <a:pt x="96" y="92"/>
                      <a:pt x="99" y="91"/>
                      <a:pt x="100" y="91"/>
                    </a:cubicBezTo>
                    <a:cubicBezTo>
                      <a:pt x="100" y="90"/>
                      <a:pt x="100" y="88"/>
                      <a:pt x="100" y="87"/>
                    </a:cubicBezTo>
                    <a:cubicBezTo>
                      <a:pt x="100" y="87"/>
                      <a:pt x="99" y="87"/>
                      <a:pt x="99" y="86"/>
                    </a:cubicBezTo>
                    <a:cubicBezTo>
                      <a:pt x="98" y="86"/>
                      <a:pt x="98" y="84"/>
                      <a:pt x="98" y="83"/>
                    </a:cubicBezTo>
                    <a:cubicBezTo>
                      <a:pt x="98" y="82"/>
                      <a:pt x="98" y="79"/>
                      <a:pt x="101" y="79"/>
                    </a:cubicBezTo>
                    <a:cubicBezTo>
                      <a:pt x="102" y="78"/>
                      <a:pt x="103" y="78"/>
                      <a:pt x="104" y="78"/>
                    </a:cubicBezTo>
                    <a:cubicBezTo>
                      <a:pt x="105" y="78"/>
                      <a:pt x="105" y="78"/>
                      <a:pt x="106" y="78"/>
                    </a:cubicBezTo>
                    <a:cubicBezTo>
                      <a:pt x="108" y="78"/>
                      <a:pt x="108" y="78"/>
                      <a:pt x="108" y="78"/>
                    </a:cubicBezTo>
                    <a:cubicBezTo>
                      <a:pt x="109" y="78"/>
                      <a:pt x="109" y="77"/>
                      <a:pt x="110" y="77"/>
                    </a:cubicBezTo>
                    <a:cubicBezTo>
                      <a:pt x="110" y="76"/>
                      <a:pt x="110" y="76"/>
                      <a:pt x="110" y="76"/>
                    </a:cubicBezTo>
                    <a:cubicBezTo>
                      <a:pt x="111" y="76"/>
                      <a:pt x="111" y="76"/>
                      <a:pt x="112" y="75"/>
                    </a:cubicBezTo>
                    <a:cubicBezTo>
                      <a:pt x="112" y="75"/>
                      <a:pt x="112" y="75"/>
                      <a:pt x="112" y="75"/>
                    </a:cubicBezTo>
                    <a:cubicBezTo>
                      <a:pt x="112" y="74"/>
                      <a:pt x="113" y="73"/>
                      <a:pt x="115" y="72"/>
                    </a:cubicBezTo>
                    <a:cubicBezTo>
                      <a:pt x="123" y="70"/>
                      <a:pt x="123" y="70"/>
                      <a:pt x="123" y="70"/>
                    </a:cubicBezTo>
                    <a:cubicBezTo>
                      <a:pt x="125" y="69"/>
                      <a:pt x="128" y="68"/>
                      <a:pt x="131" y="67"/>
                    </a:cubicBezTo>
                    <a:cubicBezTo>
                      <a:pt x="137" y="65"/>
                      <a:pt x="137" y="65"/>
                      <a:pt x="137" y="65"/>
                    </a:cubicBezTo>
                    <a:cubicBezTo>
                      <a:pt x="139" y="67"/>
                      <a:pt x="139" y="67"/>
                      <a:pt x="139" y="67"/>
                    </a:cubicBezTo>
                    <a:cubicBezTo>
                      <a:pt x="139" y="67"/>
                      <a:pt x="140" y="67"/>
                      <a:pt x="140" y="68"/>
                    </a:cubicBezTo>
                    <a:cubicBezTo>
                      <a:pt x="140" y="68"/>
                      <a:pt x="140" y="68"/>
                      <a:pt x="140" y="68"/>
                    </a:cubicBezTo>
                    <a:cubicBezTo>
                      <a:pt x="141" y="68"/>
                      <a:pt x="141" y="69"/>
                      <a:pt x="142" y="70"/>
                    </a:cubicBezTo>
                    <a:cubicBezTo>
                      <a:pt x="143" y="71"/>
                      <a:pt x="144" y="71"/>
                      <a:pt x="144" y="71"/>
                    </a:cubicBezTo>
                    <a:cubicBezTo>
                      <a:pt x="154" y="69"/>
                      <a:pt x="154" y="69"/>
                      <a:pt x="154" y="69"/>
                    </a:cubicBezTo>
                    <a:cubicBezTo>
                      <a:pt x="151" y="66"/>
                      <a:pt x="148" y="62"/>
                      <a:pt x="147" y="57"/>
                    </a:cubicBezTo>
                    <a:cubicBezTo>
                      <a:pt x="147" y="58"/>
                      <a:pt x="146" y="58"/>
                      <a:pt x="146" y="58"/>
                    </a:cubicBezTo>
                    <a:cubicBezTo>
                      <a:pt x="146" y="58"/>
                      <a:pt x="146" y="57"/>
                      <a:pt x="145" y="56"/>
                    </a:cubicBezTo>
                    <a:cubicBezTo>
                      <a:pt x="145" y="56"/>
                      <a:pt x="145" y="56"/>
                      <a:pt x="145" y="56"/>
                    </a:cubicBezTo>
                    <a:cubicBezTo>
                      <a:pt x="145" y="56"/>
                      <a:pt x="144" y="57"/>
                      <a:pt x="144" y="57"/>
                    </a:cubicBezTo>
                    <a:cubicBezTo>
                      <a:pt x="143" y="57"/>
                      <a:pt x="143" y="57"/>
                      <a:pt x="142" y="57"/>
                    </a:cubicBezTo>
                    <a:cubicBezTo>
                      <a:pt x="142" y="57"/>
                      <a:pt x="142" y="57"/>
                      <a:pt x="141" y="56"/>
                    </a:cubicBezTo>
                    <a:cubicBezTo>
                      <a:pt x="141" y="57"/>
                      <a:pt x="141" y="57"/>
                      <a:pt x="141" y="57"/>
                    </a:cubicBezTo>
                    <a:cubicBezTo>
                      <a:pt x="140" y="55"/>
                      <a:pt x="147" y="51"/>
                      <a:pt x="149" y="50"/>
                    </a:cubicBezTo>
                    <a:cubicBezTo>
                      <a:pt x="153" y="48"/>
                      <a:pt x="153" y="48"/>
                      <a:pt x="153" y="44"/>
                    </a:cubicBezTo>
                    <a:cubicBezTo>
                      <a:pt x="152" y="42"/>
                      <a:pt x="153" y="39"/>
                      <a:pt x="153" y="37"/>
                    </a:cubicBezTo>
                    <a:cubicBezTo>
                      <a:pt x="153" y="35"/>
                      <a:pt x="156" y="33"/>
                      <a:pt x="153" y="31"/>
                    </a:cubicBezTo>
                    <a:cubicBezTo>
                      <a:pt x="157" y="29"/>
                      <a:pt x="162" y="24"/>
                      <a:pt x="166" y="24"/>
                    </a:cubicBezTo>
                    <a:cubicBezTo>
                      <a:pt x="167" y="24"/>
                      <a:pt x="168" y="24"/>
                      <a:pt x="169" y="25"/>
                    </a:cubicBezTo>
                    <a:cubicBezTo>
                      <a:pt x="170" y="23"/>
                      <a:pt x="172" y="19"/>
                      <a:pt x="172" y="15"/>
                    </a:cubicBezTo>
                    <a:cubicBezTo>
                      <a:pt x="147" y="7"/>
                      <a:pt x="147" y="7"/>
                      <a:pt x="147" y="7"/>
                    </a:cubicBezTo>
                    <a:cubicBezTo>
                      <a:pt x="144" y="6"/>
                      <a:pt x="142" y="5"/>
                      <a:pt x="140" y="4"/>
                    </a:cubicBezTo>
                    <a:cubicBezTo>
                      <a:pt x="136" y="3"/>
                      <a:pt x="136" y="3"/>
                      <a:pt x="136" y="3"/>
                    </a:cubicBezTo>
                    <a:cubicBezTo>
                      <a:pt x="135" y="3"/>
                      <a:pt x="135" y="3"/>
                      <a:pt x="135" y="3"/>
                    </a:cubicBezTo>
                    <a:cubicBezTo>
                      <a:pt x="134" y="2"/>
                      <a:pt x="134" y="2"/>
                      <a:pt x="134" y="2"/>
                    </a:cubicBezTo>
                    <a:cubicBezTo>
                      <a:pt x="134" y="2"/>
                      <a:pt x="134" y="2"/>
                      <a:pt x="133" y="2"/>
                    </a:cubicBezTo>
                    <a:cubicBezTo>
                      <a:pt x="133" y="2"/>
                      <a:pt x="132" y="2"/>
                      <a:pt x="132" y="2"/>
                    </a:cubicBezTo>
                    <a:cubicBezTo>
                      <a:pt x="113" y="5"/>
                      <a:pt x="113" y="5"/>
                      <a:pt x="113" y="5"/>
                    </a:cubicBezTo>
                    <a:cubicBezTo>
                      <a:pt x="112" y="5"/>
                      <a:pt x="110" y="6"/>
                      <a:pt x="108" y="7"/>
                    </a:cubicBezTo>
                    <a:cubicBezTo>
                      <a:pt x="108" y="8"/>
                      <a:pt x="107" y="8"/>
                      <a:pt x="106" y="9"/>
                    </a:cubicBezTo>
                    <a:cubicBezTo>
                      <a:pt x="105" y="9"/>
                      <a:pt x="104" y="10"/>
                      <a:pt x="103" y="11"/>
                    </a:cubicBezTo>
                    <a:cubicBezTo>
                      <a:pt x="98" y="14"/>
                      <a:pt x="91" y="19"/>
                      <a:pt x="85" y="19"/>
                    </a:cubicBezTo>
                    <a:cubicBezTo>
                      <a:pt x="84" y="19"/>
                      <a:pt x="83" y="19"/>
                      <a:pt x="82" y="19"/>
                    </a:cubicBezTo>
                    <a:cubicBezTo>
                      <a:pt x="78" y="19"/>
                      <a:pt x="75" y="18"/>
                      <a:pt x="72" y="18"/>
                    </a:cubicBezTo>
                    <a:cubicBezTo>
                      <a:pt x="70" y="17"/>
                      <a:pt x="69" y="17"/>
                      <a:pt x="68" y="17"/>
                    </a:cubicBezTo>
                    <a:cubicBezTo>
                      <a:pt x="67" y="17"/>
                      <a:pt x="66" y="16"/>
                      <a:pt x="64" y="16"/>
                    </a:cubicBezTo>
                    <a:cubicBezTo>
                      <a:pt x="63" y="16"/>
                      <a:pt x="59" y="15"/>
                      <a:pt x="59" y="15"/>
                    </a:cubicBezTo>
                    <a:cubicBezTo>
                      <a:pt x="55" y="16"/>
                      <a:pt x="52" y="17"/>
                      <a:pt x="47" y="17"/>
                    </a:cubicBezTo>
                    <a:cubicBezTo>
                      <a:pt x="46" y="17"/>
                      <a:pt x="46" y="17"/>
                      <a:pt x="46" y="17"/>
                    </a:cubicBezTo>
                    <a:cubicBezTo>
                      <a:pt x="42" y="17"/>
                      <a:pt x="37" y="16"/>
                      <a:pt x="33" y="14"/>
                    </a:cubicBezTo>
                    <a:cubicBezTo>
                      <a:pt x="31" y="13"/>
                      <a:pt x="31" y="13"/>
                      <a:pt x="31" y="13"/>
                    </a:cubicBezTo>
                    <a:cubicBezTo>
                      <a:pt x="28" y="13"/>
                      <a:pt x="26" y="12"/>
                      <a:pt x="23" y="12"/>
                    </a:cubicBezTo>
                    <a:cubicBezTo>
                      <a:pt x="23" y="12"/>
                      <a:pt x="22" y="12"/>
                      <a:pt x="22" y="12"/>
                    </a:cubicBezTo>
                    <a:cubicBezTo>
                      <a:pt x="20" y="13"/>
                      <a:pt x="20" y="13"/>
                      <a:pt x="20" y="13"/>
                    </a:cubicBezTo>
                    <a:cubicBezTo>
                      <a:pt x="18" y="13"/>
                      <a:pt x="17" y="13"/>
                      <a:pt x="16" y="13"/>
                    </a:cubicBezTo>
                    <a:cubicBezTo>
                      <a:pt x="15" y="13"/>
                      <a:pt x="13" y="13"/>
                      <a:pt x="12" y="13"/>
                    </a:cubicBezTo>
                    <a:cubicBezTo>
                      <a:pt x="11" y="13"/>
                      <a:pt x="9" y="12"/>
                      <a:pt x="8" y="11"/>
                    </a:cubicBezTo>
                    <a:cubicBezTo>
                      <a:pt x="7" y="9"/>
                      <a:pt x="7" y="6"/>
                      <a:pt x="8" y="6"/>
                    </a:cubicBezTo>
                    <a:cubicBezTo>
                      <a:pt x="8" y="4"/>
                      <a:pt x="9" y="3"/>
                      <a:pt x="9" y="1"/>
                    </a:cubicBezTo>
                    <a:cubicBezTo>
                      <a:pt x="9" y="1"/>
                      <a:pt x="9" y="1"/>
                      <a:pt x="9" y="1"/>
                    </a:cubicBezTo>
                    <a:cubicBezTo>
                      <a:pt x="9" y="1"/>
                      <a:pt x="9" y="1"/>
                      <a:pt x="9" y="1"/>
                    </a:cubicBezTo>
                    <a:cubicBezTo>
                      <a:pt x="9" y="1"/>
                      <a:pt x="9" y="1"/>
                      <a:pt x="9" y="1"/>
                    </a:cubicBezTo>
                    <a:cubicBezTo>
                      <a:pt x="7" y="0"/>
                      <a:pt x="7" y="0"/>
                      <a:pt x="7" y="0"/>
                    </a:cubicBezTo>
                    <a:cubicBezTo>
                      <a:pt x="7" y="0"/>
                      <a:pt x="7" y="0"/>
                      <a:pt x="7"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300"/>
              <p:cNvSpPr/>
              <p:nvPr/>
            </p:nvSpPr>
            <p:spPr bwMode="auto">
              <a:xfrm>
                <a:off x="6710596" y="4897519"/>
                <a:ext cx="269013" cy="206366"/>
              </a:xfrm>
              <a:custGeom>
                <a:gdLst>
                  <a:gd name="T0" fmla="*/ 34 w 85"/>
                  <a:gd name="T1" fmla="*/ 0 h 65"/>
                  <a:gd name="T2" fmla="*/ 32 w 85"/>
                  <a:gd name="T3" fmla="*/ 1 h 65"/>
                  <a:gd name="T4" fmla="*/ 23 w 85"/>
                  <a:gd name="T5" fmla="*/ 3 h 65"/>
                  <a:gd name="T6" fmla="*/ 16 w 85"/>
                  <a:gd name="T7" fmla="*/ 5 h 65"/>
                  <a:gd name="T8" fmla="*/ 16 w 85"/>
                  <a:gd name="T9" fmla="*/ 6 h 65"/>
                  <a:gd name="T10" fmla="*/ 14 w 85"/>
                  <a:gd name="T11" fmla="*/ 7 h 65"/>
                  <a:gd name="T12" fmla="*/ 14 w 85"/>
                  <a:gd name="T13" fmla="*/ 8 h 65"/>
                  <a:gd name="T14" fmla="*/ 16 w 85"/>
                  <a:gd name="T15" fmla="*/ 9 h 65"/>
                  <a:gd name="T16" fmla="*/ 15 w 85"/>
                  <a:gd name="T17" fmla="*/ 9 h 65"/>
                  <a:gd name="T18" fmla="*/ 17 w 85"/>
                  <a:gd name="T19" fmla="*/ 12 h 65"/>
                  <a:gd name="T20" fmla="*/ 18 w 85"/>
                  <a:gd name="T21" fmla="*/ 20 h 65"/>
                  <a:gd name="T22" fmla="*/ 12 w 85"/>
                  <a:gd name="T23" fmla="*/ 25 h 65"/>
                  <a:gd name="T24" fmla="*/ 11 w 85"/>
                  <a:gd name="T25" fmla="*/ 26 h 65"/>
                  <a:gd name="T26" fmla="*/ 10 w 85"/>
                  <a:gd name="T27" fmla="*/ 27 h 65"/>
                  <a:gd name="T28" fmla="*/ 10 w 85"/>
                  <a:gd name="T29" fmla="*/ 27 h 65"/>
                  <a:gd name="T30" fmla="*/ 10 w 85"/>
                  <a:gd name="T31" fmla="*/ 29 h 65"/>
                  <a:gd name="T32" fmla="*/ 9 w 85"/>
                  <a:gd name="T33" fmla="*/ 34 h 65"/>
                  <a:gd name="T34" fmla="*/ 9 w 85"/>
                  <a:gd name="T35" fmla="*/ 35 h 65"/>
                  <a:gd name="T36" fmla="*/ 7 w 85"/>
                  <a:gd name="T37" fmla="*/ 38 h 65"/>
                  <a:gd name="T38" fmla="*/ 6 w 85"/>
                  <a:gd name="T39" fmla="*/ 39 h 65"/>
                  <a:gd name="T40" fmla="*/ 0 w 85"/>
                  <a:gd name="T41" fmla="*/ 45 h 65"/>
                  <a:gd name="T42" fmla="*/ 0 w 85"/>
                  <a:gd name="T43" fmla="*/ 46 h 65"/>
                  <a:gd name="T44" fmla="*/ 4 w 85"/>
                  <a:gd name="T45" fmla="*/ 47 h 65"/>
                  <a:gd name="T46" fmla="*/ 12 w 85"/>
                  <a:gd name="T47" fmla="*/ 46 h 65"/>
                  <a:gd name="T48" fmla="*/ 17 w 85"/>
                  <a:gd name="T49" fmla="*/ 45 h 65"/>
                  <a:gd name="T50" fmla="*/ 19 w 85"/>
                  <a:gd name="T51" fmla="*/ 47 h 65"/>
                  <a:gd name="T52" fmla="*/ 14 w 85"/>
                  <a:gd name="T53" fmla="*/ 50 h 65"/>
                  <a:gd name="T54" fmla="*/ 4 w 85"/>
                  <a:gd name="T55" fmla="*/ 56 h 65"/>
                  <a:gd name="T56" fmla="*/ 2 w 85"/>
                  <a:gd name="T57" fmla="*/ 65 h 65"/>
                  <a:gd name="T58" fmla="*/ 33 w 85"/>
                  <a:gd name="T59" fmla="*/ 42 h 65"/>
                  <a:gd name="T60" fmla="*/ 46 w 85"/>
                  <a:gd name="T61" fmla="*/ 33 h 65"/>
                  <a:gd name="T62" fmla="*/ 62 w 85"/>
                  <a:gd name="T63" fmla="*/ 31 h 65"/>
                  <a:gd name="T64" fmla="*/ 66 w 85"/>
                  <a:gd name="T65" fmla="*/ 31 h 65"/>
                  <a:gd name="T66" fmla="*/ 74 w 85"/>
                  <a:gd name="T67" fmla="*/ 34 h 65"/>
                  <a:gd name="T68" fmla="*/ 74 w 85"/>
                  <a:gd name="T69" fmla="*/ 32 h 65"/>
                  <a:gd name="T70" fmla="*/ 81 w 85"/>
                  <a:gd name="T71" fmla="*/ 25 h 65"/>
                  <a:gd name="T72" fmla="*/ 85 w 85"/>
                  <a:gd name="T73" fmla="*/ 26 h 65"/>
                  <a:gd name="T74" fmla="*/ 85 w 85"/>
                  <a:gd name="T75" fmla="*/ 25 h 65"/>
                  <a:gd name="T76" fmla="*/ 78 w 85"/>
                  <a:gd name="T77" fmla="*/ 23 h 65"/>
                  <a:gd name="T78" fmla="*/ 60 w 85"/>
                  <a:gd name="T79" fmla="*/ 14 h 65"/>
                  <a:gd name="T80" fmla="*/ 55 w 85"/>
                  <a:gd name="T81" fmla="*/ 3 h 65"/>
                  <a:gd name="T82" fmla="*/ 43 w 85"/>
                  <a:gd name="T83" fmla="*/ 5 h 65"/>
                  <a:gd name="T84" fmla="*/ 42 w 85"/>
                  <a:gd name="T85" fmla="*/ 5 h 65"/>
                  <a:gd name="T86" fmla="*/ 35 w 85"/>
                  <a:gd name="T87" fmla="*/ 1 h 65"/>
                  <a:gd name="T88" fmla="*/ 34 w 85"/>
                  <a:gd name="T89" fmla="*/ 0 h 65"/>
                  <a:gd name="T90" fmla="*/ 34 w 85"/>
                  <a:gd name="T91" fmla="*/ 0 h 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 h="65">
                    <a:moveTo>
                      <a:pt x="34" y="0"/>
                    </a:moveTo>
                    <a:cubicBezTo>
                      <a:pt x="32" y="1"/>
                      <a:pt x="32" y="1"/>
                      <a:pt x="32" y="1"/>
                    </a:cubicBezTo>
                    <a:cubicBezTo>
                      <a:pt x="29" y="1"/>
                      <a:pt x="26" y="2"/>
                      <a:pt x="23" y="3"/>
                    </a:cubicBezTo>
                    <a:cubicBezTo>
                      <a:pt x="16" y="5"/>
                      <a:pt x="16" y="5"/>
                      <a:pt x="16" y="5"/>
                    </a:cubicBezTo>
                    <a:cubicBezTo>
                      <a:pt x="16" y="6"/>
                      <a:pt x="16" y="6"/>
                      <a:pt x="16" y="6"/>
                    </a:cubicBezTo>
                    <a:cubicBezTo>
                      <a:pt x="14" y="7"/>
                      <a:pt x="14" y="7"/>
                      <a:pt x="14" y="7"/>
                    </a:cubicBezTo>
                    <a:cubicBezTo>
                      <a:pt x="14" y="8"/>
                      <a:pt x="14" y="8"/>
                      <a:pt x="14" y="8"/>
                    </a:cubicBezTo>
                    <a:cubicBezTo>
                      <a:pt x="16" y="9"/>
                      <a:pt x="16" y="9"/>
                      <a:pt x="16" y="9"/>
                    </a:cubicBezTo>
                    <a:cubicBezTo>
                      <a:pt x="15" y="9"/>
                      <a:pt x="15" y="9"/>
                      <a:pt x="15" y="9"/>
                    </a:cubicBezTo>
                    <a:cubicBezTo>
                      <a:pt x="16" y="10"/>
                      <a:pt x="16" y="11"/>
                      <a:pt x="17" y="12"/>
                    </a:cubicBezTo>
                    <a:cubicBezTo>
                      <a:pt x="19" y="14"/>
                      <a:pt x="19" y="17"/>
                      <a:pt x="18" y="20"/>
                    </a:cubicBezTo>
                    <a:cubicBezTo>
                      <a:pt x="17" y="23"/>
                      <a:pt x="14" y="24"/>
                      <a:pt x="12" y="25"/>
                    </a:cubicBezTo>
                    <a:cubicBezTo>
                      <a:pt x="11" y="26"/>
                      <a:pt x="11" y="26"/>
                      <a:pt x="11" y="26"/>
                    </a:cubicBezTo>
                    <a:cubicBezTo>
                      <a:pt x="10" y="27"/>
                      <a:pt x="10" y="27"/>
                      <a:pt x="10" y="27"/>
                    </a:cubicBezTo>
                    <a:cubicBezTo>
                      <a:pt x="10" y="27"/>
                      <a:pt x="10" y="27"/>
                      <a:pt x="10" y="27"/>
                    </a:cubicBezTo>
                    <a:cubicBezTo>
                      <a:pt x="10" y="29"/>
                      <a:pt x="10" y="29"/>
                      <a:pt x="10" y="29"/>
                    </a:cubicBezTo>
                    <a:cubicBezTo>
                      <a:pt x="10" y="30"/>
                      <a:pt x="11" y="32"/>
                      <a:pt x="9" y="34"/>
                    </a:cubicBezTo>
                    <a:cubicBezTo>
                      <a:pt x="9" y="35"/>
                      <a:pt x="9" y="35"/>
                      <a:pt x="9" y="35"/>
                    </a:cubicBezTo>
                    <a:cubicBezTo>
                      <a:pt x="9" y="36"/>
                      <a:pt x="8" y="36"/>
                      <a:pt x="7" y="38"/>
                    </a:cubicBezTo>
                    <a:cubicBezTo>
                      <a:pt x="6" y="39"/>
                      <a:pt x="6" y="39"/>
                      <a:pt x="6" y="39"/>
                    </a:cubicBezTo>
                    <a:cubicBezTo>
                      <a:pt x="6" y="40"/>
                      <a:pt x="2" y="44"/>
                      <a:pt x="0" y="45"/>
                    </a:cubicBezTo>
                    <a:cubicBezTo>
                      <a:pt x="0" y="46"/>
                      <a:pt x="0" y="46"/>
                      <a:pt x="0" y="46"/>
                    </a:cubicBezTo>
                    <a:cubicBezTo>
                      <a:pt x="1" y="46"/>
                      <a:pt x="2" y="47"/>
                      <a:pt x="4" y="47"/>
                    </a:cubicBezTo>
                    <a:cubicBezTo>
                      <a:pt x="7" y="47"/>
                      <a:pt x="11" y="46"/>
                      <a:pt x="12" y="46"/>
                    </a:cubicBezTo>
                    <a:cubicBezTo>
                      <a:pt x="14" y="45"/>
                      <a:pt x="15" y="45"/>
                      <a:pt x="17" y="45"/>
                    </a:cubicBezTo>
                    <a:cubicBezTo>
                      <a:pt x="18" y="45"/>
                      <a:pt x="18" y="45"/>
                      <a:pt x="19" y="47"/>
                    </a:cubicBezTo>
                    <a:cubicBezTo>
                      <a:pt x="19" y="48"/>
                      <a:pt x="15" y="49"/>
                      <a:pt x="14" y="50"/>
                    </a:cubicBezTo>
                    <a:cubicBezTo>
                      <a:pt x="12" y="51"/>
                      <a:pt x="5" y="53"/>
                      <a:pt x="4" y="56"/>
                    </a:cubicBezTo>
                    <a:cubicBezTo>
                      <a:pt x="2" y="58"/>
                      <a:pt x="2" y="62"/>
                      <a:pt x="2" y="65"/>
                    </a:cubicBezTo>
                    <a:cubicBezTo>
                      <a:pt x="12" y="57"/>
                      <a:pt x="22" y="50"/>
                      <a:pt x="33" y="42"/>
                    </a:cubicBezTo>
                    <a:cubicBezTo>
                      <a:pt x="36" y="40"/>
                      <a:pt x="42" y="33"/>
                      <a:pt x="46" y="33"/>
                    </a:cubicBezTo>
                    <a:cubicBezTo>
                      <a:pt x="51" y="32"/>
                      <a:pt x="56" y="31"/>
                      <a:pt x="62" y="31"/>
                    </a:cubicBezTo>
                    <a:cubicBezTo>
                      <a:pt x="63" y="31"/>
                      <a:pt x="64" y="31"/>
                      <a:pt x="66" y="31"/>
                    </a:cubicBezTo>
                    <a:cubicBezTo>
                      <a:pt x="68" y="32"/>
                      <a:pt x="71" y="33"/>
                      <a:pt x="74" y="34"/>
                    </a:cubicBezTo>
                    <a:cubicBezTo>
                      <a:pt x="74" y="33"/>
                      <a:pt x="74" y="33"/>
                      <a:pt x="74" y="32"/>
                    </a:cubicBezTo>
                    <a:cubicBezTo>
                      <a:pt x="74" y="28"/>
                      <a:pt x="77" y="25"/>
                      <a:pt x="81" y="25"/>
                    </a:cubicBezTo>
                    <a:cubicBezTo>
                      <a:pt x="83" y="25"/>
                      <a:pt x="84" y="25"/>
                      <a:pt x="85" y="26"/>
                    </a:cubicBezTo>
                    <a:cubicBezTo>
                      <a:pt x="85" y="25"/>
                      <a:pt x="85" y="25"/>
                      <a:pt x="85" y="25"/>
                    </a:cubicBezTo>
                    <a:cubicBezTo>
                      <a:pt x="85" y="25"/>
                      <a:pt x="79" y="24"/>
                      <a:pt x="78" y="23"/>
                    </a:cubicBezTo>
                    <a:cubicBezTo>
                      <a:pt x="72" y="21"/>
                      <a:pt x="66" y="17"/>
                      <a:pt x="60" y="14"/>
                    </a:cubicBezTo>
                    <a:cubicBezTo>
                      <a:pt x="55" y="12"/>
                      <a:pt x="55" y="7"/>
                      <a:pt x="55" y="3"/>
                    </a:cubicBezTo>
                    <a:cubicBezTo>
                      <a:pt x="43" y="5"/>
                      <a:pt x="43" y="5"/>
                      <a:pt x="43" y="5"/>
                    </a:cubicBezTo>
                    <a:cubicBezTo>
                      <a:pt x="43" y="5"/>
                      <a:pt x="42" y="5"/>
                      <a:pt x="42" y="5"/>
                    </a:cubicBezTo>
                    <a:cubicBezTo>
                      <a:pt x="39" y="5"/>
                      <a:pt x="37" y="3"/>
                      <a:pt x="35" y="1"/>
                    </a:cubicBezTo>
                    <a:cubicBezTo>
                      <a:pt x="35" y="1"/>
                      <a:pt x="34" y="0"/>
                      <a:pt x="34" y="0"/>
                    </a:cubicBez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301"/>
              <p:cNvSpPr/>
              <p:nvPr/>
            </p:nvSpPr>
            <p:spPr bwMode="auto">
              <a:xfrm>
                <a:off x="6069386" y="4444250"/>
                <a:ext cx="342716" cy="412733"/>
              </a:xfrm>
              <a:custGeom>
                <a:gdLst>
                  <a:gd name="T0" fmla="*/ 21 w 108"/>
                  <a:gd name="T1" fmla="*/ 0 h 130"/>
                  <a:gd name="T2" fmla="*/ 2 w 108"/>
                  <a:gd name="T3" fmla="*/ 11 h 130"/>
                  <a:gd name="T4" fmla="*/ 2 w 108"/>
                  <a:gd name="T5" fmla="*/ 17 h 130"/>
                  <a:gd name="T6" fmla="*/ 6 w 108"/>
                  <a:gd name="T7" fmla="*/ 22 h 130"/>
                  <a:gd name="T8" fmla="*/ 10 w 108"/>
                  <a:gd name="T9" fmla="*/ 34 h 130"/>
                  <a:gd name="T10" fmla="*/ 6 w 108"/>
                  <a:gd name="T11" fmla="*/ 39 h 130"/>
                  <a:gd name="T12" fmla="*/ 13 w 108"/>
                  <a:gd name="T13" fmla="*/ 45 h 130"/>
                  <a:gd name="T14" fmla="*/ 11 w 108"/>
                  <a:gd name="T15" fmla="*/ 50 h 130"/>
                  <a:gd name="T16" fmla="*/ 7 w 108"/>
                  <a:gd name="T17" fmla="*/ 57 h 130"/>
                  <a:gd name="T18" fmla="*/ 9 w 108"/>
                  <a:gd name="T19" fmla="*/ 60 h 130"/>
                  <a:gd name="T20" fmla="*/ 15 w 108"/>
                  <a:gd name="T21" fmla="*/ 65 h 130"/>
                  <a:gd name="T22" fmla="*/ 17 w 108"/>
                  <a:gd name="T23" fmla="*/ 66 h 130"/>
                  <a:gd name="T24" fmla="*/ 20 w 108"/>
                  <a:gd name="T25" fmla="*/ 75 h 130"/>
                  <a:gd name="T26" fmla="*/ 17 w 108"/>
                  <a:gd name="T27" fmla="*/ 77 h 130"/>
                  <a:gd name="T28" fmla="*/ 15 w 108"/>
                  <a:gd name="T29" fmla="*/ 77 h 130"/>
                  <a:gd name="T30" fmla="*/ 18 w 108"/>
                  <a:gd name="T31" fmla="*/ 83 h 130"/>
                  <a:gd name="T32" fmla="*/ 17 w 108"/>
                  <a:gd name="T33" fmla="*/ 87 h 130"/>
                  <a:gd name="T34" fmla="*/ 13 w 108"/>
                  <a:gd name="T35" fmla="*/ 90 h 130"/>
                  <a:gd name="T36" fmla="*/ 44 w 108"/>
                  <a:gd name="T37" fmla="*/ 104 h 130"/>
                  <a:gd name="T38" fmla="*/ 46 w 108"/>
                  <a:gd name="T39" fmla="*/ 96 h 130"/>
                  <a:gd name="T40" fmla="*/ 49 w 108"/>
                  <a:gd name="T41" fmla="*/ 95 h 130"/>
                  <a:gd name="T42" fmla="*/ 54 w 108"/>
                  <a:gd name="T43" fmla="*/ 95 h 130"/>
                  <a:gd name="T44" fmla="*/ 66 w 108"/>
                  <a:gd name="T45" fmla="*/ 105 h 130"/>
                  <a:gd name="T46" fmla="*/ 77 w 108"/>
                  <a:gd name="T47" fmla="*/ 116 h 130"/>
                  <a:gd name="T48" fmla="*/ 79 w 108"/>
                  <a:gd name="T49" fmla="*/ 130 h 130"/>
                  <a:gd name="T50" fmla="*/ 93 w 108"/>
                  <a:gd name="T51" fmla="*/ 128 h 130"/>
                  <a:gd name="T52" fmla="*/ 95 w 108"/>
                  <a:gd name="T53" fmla="*/ 127 h 130"/>
                  <a:gd name="T54" fmla="*/ 95 w 108"/>
                  <a:gd name="T55" fmla="*/ 118 h 130"/>
                  <a:gd name="T56" fmla="*/ 99 w 108"/>
                  <a:gd name="T57" fmla="*/ 109 h 130"/>
                  <a:gd name="T58" fmla="*/ 108 w 108"/>
                  <a:gd name="T59" fmla="*/ 101 h 130"/>
                  <a:gd name="T60" fmla="*/ 104 w 108"/>
                  <a:gd name="T61" fmla="*/ 99 h 130"/>
                  <a:gd name="T62" fmla="*/ 94 w 108"/>
                  <a:gd name="T63" fmla="*/ 86 h 130"/>
                  <a:gd name="T64" fmla="*/ 93 w 108"/>
                  <a:gd name="T65" fmla="*/ 79 h 130"/>
                  <a:gd name="T66" fmla="*/ 100 w 108"/>
                  <a:gd name="T67" fmla="*/ 66 h 130"/>
                  <a:gd name="T68" fmla="*/ 98 w 108"/>
                  <a:gd name="T69" fmla="*/ 54 h 130"/>
                  <a:gd name="T70" fmla="*/ 94 w 108"/>
                  <a:gd name="T71" fmla="*/ 58 h 130"/>
                  <a:gd name="T72" fmla="*/ 93 w 108"/>
                  <a:gd name="T73" fmla="*/ 58 h 130"/>
                  <a:gd name="T74" fmla="*/ 90 w 108"/>
                  <a:gd name="T75" fmla="*/ 60 h 130"/>
                  <a:gd name="T76" fmla="*/ 88 w 108"/>
                  <a:gd name="T77" fmla="*/ 59 h 130"/>
                  <a:gd name="T78" fmla="*/ 59 w 108"/>
                  <a:gd name="T79" fmla="*/ 45 h 130"/>
                  <a:gd name="T80" fmla="*/ 69 w 108"/>
                  <a:gd name="T81" fmla="*/ 39 h 130"/>
                  <a:gd name="T82" fmla="*/ 59 w 108"/>
                  <a:gd name="T83" fmla="*/ 30 h 130"/>
                  <a:gd name="T84" fmla="*/ 54 w 108"/>
                  <a:gd name="T85" fmla="*/ 27 h 130"/>
                  <a:gd name="T86" fmla="*/ 51 w 108"/>
                  <a:gd name="T87" fmla="*/ 26 h 130"/>
                  <a:gd name="T88" fmla="*/ 49 w 108"/>
                  <a:gd name="T89" fmla="*/ 24 h 130"/>
                  <a:gd name="T90" fmla="*/ 47 w 108"/>
                  <a:gd name="T91" fmla="*/ 21 h 130"/>
                  <a:gd name="T92" fmla="*/ 46 w 108"/>
                  <a:gd name="T93" fmla="*/ 17 h 130"/>
                  <a:gd name="T94" fmla="*/ 30 w 108"/>
                  <a:gd name="T95" fmla="*/ 1 h 1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130">
                    <a:moveTo>
                      <a:pt x="27" y="0"/>
                    </a:moveTo>
                    <a:cubicBezTo>
                      <a:pt x="21" y="0"/>
                      <a:pt x="21" y="0"/>
                      <a:pt x="21" y="0"/>
                    </a:cubicBezTo>
                    <a:cubicBezTo>
                      <a:pt x="21" y="0"/>
                      <a:pt x="21" y="0"/>
                      <a:pt x="21" y="0"/>
                    </a:cubicBezTo>
                    <a:cubicBezTo>
                      <a:pt x="19" y="1"/>
                      <a:pt x="19" y="1"/>
                      <a:pt x="19" y="1"/>
                    </a:cubicBezTo>
                    <a:cubicBezTo>
                      <a:pt x="0" y="8"/>
                      <a:pt x="0" y="8"/>
                      <a:pt x="0" y="8"/>
                    </a:cubicBezTo>
                    <a:cubicBezTo>
                      <a:pt x="1" y="9"/>
                      <a:pt x="2" y="9"/>
                      <a:pt x="2" y="11"/>
                    </a:cubicBezTo>
                    <a:cubicBezTo>
                      <a:pt x="2" y="11"/>
                      <a:pt x="2" y="11"/>
                      <a:pt x="2" y="11"/>
                    </a:cubicBezTo>
                    <a:cubicBezTo>
                      <a:pt x="1" y="16"/>
                      <a:pt x="1" y="16"/>
                      <a:pt x="1" y="16"/>
                    </a:cubicBezTo>
                    <a:cubicBezTo>
                      <a:pt x="2" y="17"/>
                      <a:pt x="2" y="17"/>
                      <a:pt x="2" y="17"/>
                    </a:cubicBezTo>
                    <a:cubicBezTo>
                      <a:pt x="3" y="17"/>
                      <a:pt x="3" y="17"/>
                      <a:pt x="3" y="17"/>
                    </a:cubicBezTo>
                    <a:cubicBezTo>
                      <a:pt x="4" y="18"/>
                      <a:pt x="6" y="19"/>
                      <a:pt x="6" y="22"/>
                    </a:cubicBezTo>
                    <a:cubicBezTo>
                      <a:pt x="6" y="22"/>
                      <a:pt x="6" y="22"/>
                      <a:pt x="6" y="22"/>
                    </a:cubicBezTo>
                    <a:cubicBezTo>
                      <a:pt x="21" y="32"/>
                      <a:pt x="21" y="32"/>
                      <a:pt x="21" y="32"/>
                    </a:cubicBezTo>
                    <a:cubicBezTo>
                      <a:pt x="12" y="33"/>
                      <a:pt x="12" y="33"/>
                      <a:pt x="12" y="33"/>
                    </a:cubicBezTo>
                    <a:cubicBezTo>
                      <a:pt x="12" y="33"/>
                      <a:pt x="11" y="33"/>
                      <a:pt x="10" y="34"/>
                    </a:cubicBezTo>
                    <a:cubicBezTo>
                      <a:pt x="8" y="34"/>
                      <a:pt x="7" y="34"/>
                      <a:pt x="6" y="34"/>
                    </a:cubicBezTo>
                    <a:cubicBezTo>
                      <a:pt x="6" y="34"/>
                      <a:pt x="6" y="35"/>
                      <a:pt x="6" y="35"/>
                    </a:cubicBezTo>
                    <a:cubicBezTo>
                      <a:pt x="6" y="36"/>
                      <a:pt x="6" y="38"/>
                      <a:pt x="6" y="39"/>
                    </a:cubicBezTo>
                    <a:cubicBezTo>
                      <a:pt x="7" y="39"/>
                      <a:pt x="8" y="39"/>
                      <a:pt x="9" y="39"/>
                    </a:cubicBezTo>
                    <a:cubicBezTo>
                      <a:pt x="16" y="38"/>
                      <a:pt x="16" y="38"/>
                      <a:pt x="16" y="38"/>
                    </a:cubicBezTo>
                    <a:cubicBezTo>
                      <a:pt x="13" y="45"/>
                      <a:pt x="13" y="45"/>
                      <a:pt x="13" y="45"/>
                    </a:cubicBezTo>
                    <a:cubicBezTo>
                      <a:pt x="13" y="46"/>
                      <a:pt x="12" y="47"/>
                      <a:pt x="12" y="48"/>
                    </a:cubicBezTo>
                    <a:cubicBezTo>
                      <a:pt x="12" y="50"/>
                      <a:pt x="12" y="50"/>
                      <a:pt x="12" y="50"/>
                    </a:cubicBezTo>
                    <a:cubicBezTo>
                      <a:pt x="11" y="50"/>
                      <a:pt x="11" y="50"/>
                      <a:pt x="11" y="50"/>
                    </a:cubicBezTo>
                    <a:cubicBezTo>
                      <a:pt x="10" y="52"/>
                      <a:pt x="9" y="53"/>
                      <a:pt x="9" y="55"/>
                    </a:cubicBezTo>
                    <a:cubicBezTo>
                      <a:pt x="8" y="56"/>
                      <a:pt x="8" y="56"/>
                      <a:pt x="8" y="56"/>
                    </a:cubicBezTo>
                    <a:cubicBezTo>
                      <a:pt x="8" y="56"/>
                      <a:pt x="7" y="57"/>
                      <a:pt x="7" y="57"/>
                    </a:cubicBezTo>
                    <a:cubicBezTo>
                      <a:pt x="7" y="59"/>
                      <a:pt x="7" y="59"/>
                      <a:pt x="8" y="60"/>
                    </a:cubicBezTo>
                    <a:cubicBezTo>
                      <a:pt x="8" y="60"/>
                      <a:pt x="8" y="60"/>
                      <a:pt x="8" y="60"/>
                    </a:cubicBezTo>
                    <a:cubicBezTo>
                      <a:pt x="8" y="60"/>
                      <a:pt x="8" y="60"/>
                      <a:pt x="9" y="60"/>
                    </a:cubicBezTo>
                    <a:cubicBezTo>
                      <a:pt x="9" y="60"/>
                      <a:pt x="9" y="60"/>
                      <a:pt x="9" y="60"/>
                    </a:cubicBezTo>
                    <a:cubicBezTo>
                      <a:pt x="10" y="60"/>
                      <a:pt x="11" y="61"/>
                      <a:pt x="12" y="61"/>
                    </a:cubicBezTo>
                    <a:cubicBezTo>
                      <a:pt x="13" y="62"/>
                      <a:pt x="14" y="63"/>
                      <a:pt x="15" y="65"/>
                    </a:cubicBezTo>
                    <a:cubicBezTo>
                      <a:pt x="15" y="65"/>
                      <a:pt x="15" y="66"/>
                      <a:pt x="16" y="66"/>
                    </a:cubicBezTo>
                    <a:cubicBezTo>
                      <a:pt x="16" y="67"/>
                      <a:pt x="16" y="67"/>
                      <a:pt x="16" y="67"/>
                    </a:cubicBezTo>
                    <a:cubicBezTo>
                      <a:pt x="17" y="66"/>
                      <a:pt x="17" y="66"/>
                      <a:pt x="17" y="66"/>
                    </a:cubicBezTo>
                    <a:cubicBezTo>
                      <a:pt x="19" y="68"/>
                      <a:pt x="19" y="68"/>
                      <a:pt x="19" y="68"/>
                    </a:cubicBezTo>
                    <a:cubicBezTo>
                      <a:pt x="21" y="69"/>
                      <a:pt x="21" y="71"/>
                      <a:pt x="21" y="73"/>
                    </a:cubicBezTo>
                    <a:cubicBezTo>
                      <a:pt x="20" y="75"/>
                      <a:pt x="20" y="75"/>
                      <a:pt x="20" y="75"/>
                    </a:cubicBezTo>
                    <a:cubicBezTo>
                      <a:pt x="20" y="75"/>
                      <a:pt x="20" y="75"/>
                      <a:pt x="20" y="75"/>
                    </a:cubicBezTo>
                    <a:cubicBezTo>
                      <a:pt x="19" y="75"/>
                      <a:pt x="19" y="75"/>
                      <a:pt x="18" y="76"/>
                    </a:cubicBezTo>
                    <a:cubicBezTo>
                      <a:pt x="18" y="76"/>
                      <a:pt x="18" y="76"/>
                      <a:pt x="17" y="77"/>
                    </a:cubicBezTo>
                    <a:cubicBezTo>
                      <a:pt x="17" y="77"/>
                      <a:pt x="17" y="77"/>
                      <a:pt x="17" y="77"/>
                    </a:cubicBezTo>
                    <a:cubicBezTo>
                      <a:pt x="16" y="77"/>
                      <a:pt x="16" y="77"/>
                      <a:pt x="16" y="77"/>
                    </a:cubicBezTo>
                    <a:cubicBezTo>
                      <a:pt x="15" y="77"/>
                      <a:pt x="15" y="77"/>
                      <a:pt x="15" y="77"/>
                    </a:cubicBezTo>
                    <a:cubicBezTo>
                      <a:pt x="16" y="78"/>
                      <a:pt x="17" y="79"/>
                      <a:pt x="17" y="80"/>
                    </a:cubicBezTo>
                    <a:cubicBezTo>
                      <a:pt x="18" y="81"/>
                      <a:pt x="18" y="81"/>
                      <a:pt x="18" y="81"/>
                    </a:cubicBezTo>
                    <a:cubicBezTo>
                      <a:pt x="18" y="82"/>
                      <a:pt x="18" y="83"/>
                      <a:pt x="18" y="83"/>
                    </a:cubicBezTo>
                    <a:cubicBezTo>
                      <a:pt x="18" y="84"/>
                      <a:pt x="18" y="84"/>
                      <a:pt x="18" y="84"/>
                    </a:cubicBezTo>
                    <a:cubicBezTo>
                      <a:pt x="18" y="85"/>
                      <a:pt x="18" y="86"/>
                      <a:pt x="17" y="87"/>
                    </a:cubicBezTo>
                    <a:cubicBezTo>
                      <a:pt x="17" y="87"/>
                      <a:pt x="17" y="87"/>
                      <a:pt x="17" y="87"/>
                    </a:cubicBezTo>
                    <a:cubicBezTo>
                      <a:pt x="16" y="88"/>
                      <a:pt x="15" y="89"/>
                      <a:pt x="14" y="89"/>
                    </a:cubicBezTo>
                    <a:cubicBezTo>
                      <a:pt x="14" y="90"/>
                      <a:pt x="14" y="90"/>
                      <a:pt x="14" y="90"/>
                    </a:cubicBezTo>
                    <a:cubicBezTo>
                      <a:pt x="13" y="90"/>
                      <a:pt x="13" y="90"/>
                      <a:pt x="13" y="90"/>
                    </a:cubicBezTo>
                    <a:cubicBezTo>
                      <a:pt x="38" y="109"/>
                      <a:pt x="38" y="109"/>
                      <a:pt x="38" y="109"/>
                    </a:cubicBezTo>
                    <a:cubicBezTo>
                      <a:pt x="38" y="107"/>
                      <a:pt x="40" y="104"/>
                      <a:pt x="44" y="104"/>
                    </a:cubicBezTo>
                    <a:cubicBezTo>
                      <a:pt x="44" y="104"/>
                      <a:pt x="44" y="104"/>
                      <a:pt x="44" y="104"/>
                    </a:cubicBezTo>
                    <a:cubicBezTo>
                      <a:pt x="44" y="104"/>
                      <a:pt x="44" y="104"/>
                      <a:pt x="44" y="104"/>
                    </a:cubicBezTo>
                    <a:cubicBezTo>
                      <a:pt x="43" y="102"/>
                      <a:pt x="43" y="101"/>
                      <a:pt x="43" y="99"/>
                    </a:cubicBezTo>
                    <a:cubicBezTo>
                      <a:pt x="44" y="97"/>
                      <a:pt x="45" y="97"/>
                      <a:pt x="46" y="96"/>
                    </a:cubicBezTo>
                    <a:cubicBezTo>
                      <a:pt x="46" y="96"/>
                      <a:pt x="46" y="96"/>
                      <a:pt x="46" y="96"/>
                    </a:cubicBezTo>
                    <a:cubicBezTo>
                      <a:pt x="47" y="95"/>
                      <a:pt x="47" y="95"/>
                      <a:pt x="48" y="95"/>
                    </a:cubicBezTo>
                    <a:cubicBezTo>
                      <a:pt x="48" y="95"/>
                      <a:pt x="49" y="95"/>
                      <a:pt x="49" y="95"/>
                    </a:cubicBezTo>
                    <a:cubicBezTo>
                      <a:pt x="50" y="95"/>
                      <a:pt x="50" y="95"/>
                      <a:pt x="50" y="95"/>
                    </a:cubicBezTo>
                    <a:cubicBezTo>
                      <a:pt x="51" y="95"/>
                      <a:pt x="51" y="95"/>
                      <a:pt x="51" y="95"/>
                    </a:cubicBezTo>
                    <a:cubicBezTo>
                      <a:pt x="52" y="95"/>
                      <a:pt x="53" y="95"/>
                      <a:pt x="54" y="95"/>
                    </a:cubicBezTo>
                    <a:cubicBezTo>
                      <a:pt x="55" y="95"/>
                      <a:pt x="55" y="95"/>
                      <a:pt x="56" y="95"/>
                    </a:cubicBezTo>
                    <a:cubicBezTo>
                      <a:pt x="64" y="96"/>
                      <a:pt x="65" y="100"/>
                      <a:pt x="65" y="102"/>
                    </a:cubicBezTo>
                    <a:cubicBezTo>
                      <a:pt x="65" y="105"/>
                      <a:pt x="66" y="105"/>
                      <a:pt x="66" y="105"/>
                    </a:cubicBezTo>
                    <a:cubicBezTo>
                      <a:pt x="72" y="106"/>
                      <a:pt x="73" y="110"/>
                      <a:pt x="73" y="112"/>
                    </a:cubicBezTo>
                    <a:cubicBezTo>
                      <a:pt x="73" y="113"/>
                      <a:pt x="74" y="114"/>
                      <a:pt x="74" y="114"/>
                    </a:cubicBezTo>
                    <a:cubicBezTo>
                      <a:pt x="74" y="115"/>
                      <a:pt x="75" y="115"/>
                      <a:pt x="77" y="116"/>
                    </a:cubicBezTo>
                    <a:cubicBezTo>
                      <a:pt x="78" y="116"/>
                      <a:pt x="79" y="116"/>
                      <a:pt x="80" y="117"/>
                    </a:cubicBezTo>
                    <a:cubicBezTo>
                      <a:pt x="81" y="117"/>
                      <a:pt x="82" y="119"/>
                      <a:pt x="82" y="120"/>
                    </a:cubicBezTo>
                    <a:cubicBezTo>
                      <a:pt x="83" y="123"/>
                      <a:pt x="81" y="127"/>
                      <a:pt x="79" y="130"/>
                    </a:cubicBezTo>
                    <a:cubicBezTo>
                      <a:pt x="79" y="130"/>
                      <a:pt x="79" y="130"/>
                      <a:pt x="79" y="130"/>
                    </a:cubicBezTo>
                    <a:cubicBezTo>
                      <a:pt x="84" y="129"/>
                      <a:pt x="88" y="128"/>
                      <a:pt x="92" y="128"/>
                    </a:cubicBezTo>
                    <a:cubicBezTo>
                      <a:pt x="93" y="128"/>
                      <a:pt x="93" y="128"/>
                      <a:pt x="93" y="128"/>
                    </a:cubicBezTo>
                    <a:cubicBezTo>
                      <a:pt x="94" y="128"/>
                      <a:pt x="94" y="128"/>
                      <a:pt x="94" y="128"/>
                    </a:cubicBezTo>
                    <a:cubicBezTo>
                      <a:pt x="94" y="128"/>
                      <a:pt x="94" y="128"/>
                      <a:pt x="94" y="128"/>
                    </a:cubicBezTo>
                    <a:cubicBezTo>
                      <a:pt x="95" y="127"/>
                      <a:pt x="95" y="127"/>
                      <a:pt x="95" y="127"/>
                    </a:cubicBezTo>
                    <a:cubicBezTo>
                      <a:pt x="96" y="126"/>
                      <a:pt x="97" y="125"/>
                      <a:pt x="97" y="125"/>
                    </a:cubicBezTo>
                    <a:cubicBezTo>
                      <a:pt x="96" y="123"/>
                      <a:pt x="96" y="123"/>
                      <a:pt x="96" y="123"/>
                    </a:cubicBezTo>
                    <a:cubicBezTo>
                      <a:pt x="95" y="121"/>
                      <a:pt x="95" y="120"/>
                      <a:pt x="95" y="118"/>
                    </a:cubicBezTo>
                    <a:cubicBezTo>
                      <a:pt x="94" y="116"/>
                      <a:pt x="95" y="114"/>
                      <a:pt x="95" y="112"/>
                    </a:cubicBezTo>
                    <a:cubicBezTo>
                      <a:pt x="96" y="112"/>
                      <a:pt x="96" y="111"/>
                      <a:pt x="97" y="111"/>
                    </a:cubicBezTo>
                    <a:cubicBezTo>
                      <a:pt x="98" y="110"/>
                      <a:pt x="99" y="109"/>
                      <a:pt x="99" y="109"/>
                    </a:cubicBezTo>
                    <a:cubicBezTo>
                      <a:pt x="100" y="108"/>
                      <a:pt x="100" y="108"/>
                      <a:pt x="100" y="108"/>
                    </a:cubicBezTo>
                    <a:cubicBezTo>
                      <a:pt x="103" y="106"/>
                      <a:pt x="105" y="104"/>
                      <a:pt x="108" y="102"/>
                    </a:cubicBezTo>
                    <a:cubicBezTo>
                      <a:pt x="108" y="101"/>
                      <a:pt x="108" y="101"/>
                      <a:pt x="108" y="101"/>
                    </a:cubicBezTo>
                    <a:cubicBezTo>
                      <a:pt x="107" y="101"/>
                      <a:pt x="107" y="101"/>
                      <a:pt x="107" y="101"/>
                    </a:cubicBezTo>
                    <a:cubicBezTo>
                      <a:pt x="106" y="100"/>
                      <a:pt x="105" y="100"/>
                      <a:pt x="105" y="99"/>
                    </a:cubicBezTo>
                    <a:cubicBezTo>
                      <a:pt x="104" y="99"/>
                      <a:pt x="104" y="99"/>
                      <a:pt x="104" y="99"/>
                    </a:cubicBezTo>
                    <a:cubicBezTo>
                      <a:pt x="103" y="98"/>
                      <a:pt x="102" y="97"/>
                      <a:pt x="101" y="96"/>
                    </a:cubicBezTo>
                    <a:cubicBezTo>
                      <a:pt x="99" y="95"/>
                      <a:pt x="98" y="93"/>
                      <a:pt x="97" y="92"/>
                    </a:cubicBezTo>
                    <a:cubicBezTo>
                      <a:pt x="96" y="90"/>
                      <a:pt x="95" y="88"/>
                      <a:pt x="94" y="86"/>
                    </a:cubicBezTo>
                    <a:cubicBezTo>
                      <a:pt x="94" y="85"/>
                      <a:pt x="94" y="85"/>
                      <a:pt x="94" y="85"/>
                    </a:cubicBezTo>
                    <a:cubicBezTo>
                      <a:pt x="94" y="84"/>
                      <a:pt x="94" y="84"/>
                      <a:pt x="94" y="83"/>
                    </a:cubicBezTo>
                    <a:cubicBezTo>
                      <a:pt x="93" y="82"/>
                      <a:pt x="93" y="80"/>
                      <a:pt x="93" y="79"/>
                    </a:cubicBezTo>
                    <a:cubicBezTo>
                      <a:pt x="94" y="78"/>
                      <a:pt x="94" y="78"/>
                      <a:pt x="94" y="78"/>
                    </a:cubicBezTo>
                    <a:cubicBezTo>
                      <a:pt x="100" y="67"/>
                      <a:pt x="100" y="67"/>
                      <a:pt x="100" y="67"/>
                    </a:cubicBezTo>
                    <a:cubicBezTo>
                      <a:pt x="100" y="67"/>
                      <a:pt x="100" y="66"/>
                      <a:pt x="100" y="66"/>
                    </a:cubicBezTo>
                    <a:cubicBezTo>
                      <a:pt x="98" y="64"/>
                      <a:pt x="97" y="61"/>
                      <a:pt x="97" y="59"/>
                    </a:cubicBezTo>
                    <a:cubicBezTo>
                      <a:pt x="96" y="58"/>
                      <a:pt x="97" y="56"/>
                      <a:pt x="98" y="54"/>
                    </a:cubicBezTo>
                    <a:cubicBezTo>
                      <a:pt x="98" y="54"/>
                      <a:pt x="98" y="54"/>
                      <a:pt x="98" y="54"/>
                    </a:cubicBezTo>
                    <a:cubicBezTo>
                      <a:pt x="97" y="55"/>
                      <a:pt x="97" y="55"/>
                      <a:pt x="97" y="55"/>
                    </a:cubicBezTo>
                    <a:cubicBezTo>
                      <a:pt x="97" y="55"/>
                      <a:pt x="96" y="56"/>
                      <a:pt x="95" y="57"/>
                    </a:cubicBezTo>
                    <a:cubicBezTo>
                      <a:pt x="94" y="58"/>
                      <a:pt x="94" y="58"/>
                      <a:pt x="94" y="58"/>
                    </a:cubicBezTo>
                    <a:cubicBezTo>
                      <a:pt x="93" y="57"/>
                      <a:pt x="93" y="57"/>
                      <a:pt x="93" y="57"/>
                    </a:cubicBezTo>
                    <a:cubicBezTo>
                      <a:pt x="94" y="58"/>
                      <a:pt x="94" y="58"/>
                      <a:pt x="94" y="58"/>
                    </a:cubicBezTo>
                    <a:cubicBezTo>
                      <a:pt x="93" y="58"/>
                      <a:pt x="93" y="58"/>
                      <a:pt x="93" y="58"/>
                    </a:cubicBezTo>
                    <a:cubicBezTo>
                      <a:pt x="93" y="59"/>
                      <a:pt x="92" y="59"/>
                      <a:pt x="92" y="59"/>
                    </a:cubicBezTo>
                    <a:cubicBezTo>
                      <a:pt x="92" y="60"/>
                      <a:pt x="92" y="60"/>
                      <a:pt x="92" y="60"/>
                    </a:cubicBezTo>
                    <a:cubicBezTo>
                      <a:pt x="90" y="60"/>
                      <a:pt x="90" y="60"/>
                      <a:pt x="90" y="60"/>
                    </a:cubicBezTo>
                    <a:cubicBezTo>
                      <a:pt x="90" y="60"/>
                      <a:pt x="90" y="60"/>
                      <a:pt x="90" y="60"/>
                    </a:cubicBezTo>
                    <a:cubicBezTo>
                      <a:pt x="89" y="60"/>
                      <a:pt x="89" y="59"/>
                      <a:pt x="88" y="59"/>
                    </a:cubicBezTo>
                    <a:cubicBezTo>
                      <a:pt x="88" y="59"/>
                      <a:pt x="88" y="59"/>
                      <a:pt x="88" y="59"/>
                    </a:cubicBezTo>
                    <a:cubicBezTo>
                      <a:pt x="87" y="58"/>
                      <a:pt x="87" y="58"/>
                      <a:pt x="87" y="58"/>
                    </a:cubicBezTo>
                    <a:cubicBezTo>
                      <a:pt x="86" y="57"/>
                      <a:pt x="84" y="56"/>
                      <a:pt x="82" y="54"/>
                    </a:cubicBezTo>
                    <a:cubicBezTo>
                      <a:pt x="59" y="45"/>
                      <a:pt x="59" y="45"/>
                      <a:pt x="59" y="45"/>
                    </a:cubicBezTo>
                    <a:cubicBezTo>
                      <a:pt x="66" y="41"/>
                      <a:pt x="66" y="41"/>
                      <a:pt x="66" y="41"/>
                    </a:cubicBezTo>
                    <a:cubicBezTo>
                      <a:pt x="67" y="41"/>
                      <a:pt x="68" y="40"/>
                      <a:pt x="69" y="40"/>
                    </a:cubicBezTo>
                    <a:cubicBezTo>
                      <a:pt x="69" y="39"/>
                      <a:pt x="69" y="39"/>
                      <a:pt x="69" y="39"/>
                    </a:cubicBezTo>
                    <a:cubicBezTo>
                      <a:pt x="69" y="38"/>
                      <a:pt x="68" y="37"/>
                      <a:pt x="68" y="35"/>
                    </a:cubicBezTo>
                    <a:cubicBezTo>
                      <a:pt x="68" y="35"/>
                      <a:pt x="68" y="35"/>
                      <a:pt x="68" y="35"/>
                    </a:cubicBezTo>
                    <a:cubicBezTo>
                      <a:pt x="59" y="30"/>
                      <a:pt x="59" y="30"/>
                      <a:pt x="59" y="30"/>
                    </a:cubicBezTo>
                    <a:cubicBezTo>
                      <a:pt x="59" y="30"/>
                      <a:pt x="58" y="29"/>
                      <a:pt x="57" y="29"/>
                    </a:cubicBezTo>
                    <a:cubicBezTo>
                      <a:pt x="56" y="29"/>
                      <a:pt x="56" y="29"/>
                      <a:pt x="56" y="29"/>
                    </a:cubicBezTo>
                    <a:cubicBezTo>
                      <a:pt x="55" y="28"/>
                      <a:pt x="54" y="28"/>
                      <a:pt x="54" y="27"/>
                    </a:cubicBezTo>
                    <a:cubicBezTo>
                      <a:pt x="53" y="27"/>
                      <a:pt x="53" y="27"/>
                      <a:pt x="53" y="27"/>
                    </a:cubicBezTo>
                    <a:cubicBezTo>
                      <a:pt x="52" y="27"/>
                      <a:pt x="52" y="27"/>
                      <a:pt x="52" y="27"/>
                    </a:cubicBezTo>
                    <a:cubicBezTo>
                      <a:pt x="52" y="26"/>
                      <a:pt x="51" y="26"/>
                      <a:pt x="51" y="26"/>
                    </a:cubicBezTo>
                    <a:cubicBezTo>
                      <a:pt x="50" y="25"/>
                      <a:pt x="50" y="25"/>
                      <a:pt x="50" y="25"/>
                    </a:cubicBezTo>
                    <a:cubicBezTo>
                      <a:pt x="50" y="25"/>
                      <a:pt x="50" y="25"/>
                      <a:pt x="50" y="25"/>
                    </a:cubicBezTo>
                    <a:cubicBezTo>
                      <a:pt x="49" y="24"/>
                      <a:pt x="49" y="24"/>
                      <a:pt x="49" y="24"/>
                    </a:cubicBezTo>
                    <a:cubicBezTo>
                      <a:pt x="49" y="24"/>
                      <a:pt x="49" y="24"/>
                      <a:pt x="49" y="24"/>
                    </a:cubicBezTo>
                    <a:cubicBezTo>
                      <a:pt x="48" y="23"/>
                      <a:pt x="48" y="23"/>
                      <a:pt x="48" y="23"/>
                    </a:cubicBezTo>
                    <a:cubicBezTo>
                      <a:pt x="47" y="21"/>
                      <a:pt x="47" y="21"/>
                      <a:pt x="47" y="21"/>
                    </a:cubicBezTo>
                    <a:cubicBezTo>
                      <a:pt x="47" y="21"/>
                      <a:pt x="47" y="21"/>
                      <a:pt x="47" y="21"/>
                    </a:cubicBezTo>
                    <a:cubicBezTo>
                      <a:pt x="48" y="19"/>
                      <a:pt x="48" y="19"/>
                      <a:pt x="48" y="19"/>
                    </a:cubicBezTo>
                    <a:cubicBezTo>
                      <a:pt x="47" y="18"/>
                      <a:pt x="47" y="17"/>
                      <a:pt x="46" y="17"/>
                    </a:cubicBezTo>
                    <a:cubicBezTo>
                      <a:pt x="45" y="16"/>
                      <a:pt x="45" y="15"/>
                      <a:pt x="44" y="15"/>
                    </a:cubicBezTo>
                    <a:cubicBezTo>
                      <a:pt x="34" y="2"/>
                      <a:pt x="34" y="2"/>
                      <a:pt x="34" y="2"/>
                    </a:cubicBezTo>
                    <a:cubicBezTo>
                      <a:pt x="32" y="1"/>
                      <a:pt x="31" y="1"/>
                      <a:pt x="30" y="1"/>
                    </a:cubicBezTo>
                    <a:cubicBezTo>
                      <a:pt x="29" y="0"/>
                      <a:pt x="28"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Rectangle 302"/>
              <p:cNvSpPr>
                <a:spLocks noChangeArrowheads="1"/>
              </p:cNvSpPr>
              <p:nvPr/>
            </p:nvSpPr>
            <p:spPr bwMode="auto">
              <a:xfrm>
                <a:off x="6065701" y="4466361"/>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303"/>
              <p:cNvSpPr/>
              <p:nvPr/>
            </p:nvSpPr>
            <p:spPr bwMode="auto">
              <a:xfrm flipH="1">
                <a:off x="6065701" y="446636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304"/>
              <p:cNvSpPr/>
              <p:nvPr/>
            </p:nvSpPr>
            <p:spPr bwMode="auto">
              <a:xfrm>
                <a:off x="6205735" y="4208403"/>
                <a:ext cx="825466" cy="497491"/>
              </a:xfrm>
              <a:custGeom>
                <a:gdLst>
                  <a:gd name="T0" fmla="*/ 160 w 260"/>
                  <a:gd name="T1" fmla="*/ 9 h 156"/>
                  <a:gd name="T2" fmla="*/ 141 w 260"/>
                  <a:gd name="T3" fmla="*/ 11 h 156"/>
                  <a:gd name="T4" fmla="*/ 131 w 260"/>
                  <a:gd name="T5" fmla="*/ 17 h 156"/>
                  <a:gd name="T6" fmla="*/ 119 w 260"/>
                  <a:gd name="T7" fmla="*/ 15 h 156"/>
                  <a:gd name="T8" fmla="*/ 108 w 260"/>
                  <a:gd name="T9" fmla="*/ 10 h 156"/>
                  <a:gd name="T10" fmla="*/ 106 w 260"/>
                  <a:gd name="T11" fmla="*/ 10 h 156"/>
                  <a:gd name="T12" fmla="*/ 93 w 260"/>
                  <a:gd name="T13" fmla="*/ 9 h 156"/>
                  <a:gd name="T14" fmla="*/ 88 w 260"/>
                  <a:gd name="T15" fmla="*/ 8 h 156"/>
                  <a:gd name="T16" fmla="*/ 77 w 260"/>
                  <a:gd name="T17" fmla="*/ 5 h 156"/>
                  <a:gd name="T18" fmla="*/ 74 w 260"/>
                  <a:gd name="T19" fmla="*/ 7 h 156"/>
                  <a:gd name="T20" fmla="*/ 71 w 260"/>
                  <a:gd name="T21" fmla="*/ 9 h 156"/>
                  <a:gd name="T22" fmla="*/ 53 w 260"/>
                  <a:gd name="T23" fmla="*/ 20 h 156"/>
                  <a:gd name="T24" fmla="*/ 48 w 260"/>
                  <a:gd name="T25" fmla="*/ 23 h 156"/>
                  <a:gd name="T26" fmla="*/ 37 w 260"/>
                  <a:gd name="T27" fmla="*/ 40 h 156"/>
                  <a:gd name="T28" fmla="*/ 33 w 260"/>
                  <a:gd name="T29" fmla="*/ 49 h 156"/>
                  <a:gd name="T30" fmla="*/ 25 w 260"/>
                  <a:gd name="T31" fmla="*/ 64 h 156"/>
                  <a:gd name="T32" fmla="*/ 11 w 260"/>
                  <a:gd name="T33" fmla="*/ 70 h 156"/>
                  <a:gd name="T34" fmla="*/ 0 w 260"/>
                  <a:gd name="T35" fmla="*/ 75 h 156"/>
                  <a:gd name="T36" fmla="*/ 11 w 260"/>
                  <a:gd name="T37" fmla="*/ 90 h 156"/>
                  <a:gd name="T38" fmla="*/ 19 w 260"/>
                  <a:gd name="T39" fmla="*/ 97 h 156"/>
                  <a:gd name="T40" fmla="*/ 32 w 260"/>
                  <a:gd name="T41" fmla="*/ 109 h 156"/>
                  <a:gd name="T42" fmla="*/ 32 w 260"/>
                  <a:gd name="T43" fmla="*/ 118 h 156"/>
                  <a:gd name="T44" fmla="*/ 50 w 260"/>
                  <a:gd name="T45" fmla="*/ 124 h 156"/>
                  <a:gd name="T46" fmla="*/ 58 w 260"/>
                  <a:gd name="T47" fmla="*/ 120 h 156"/>
                  <a:gd name="T48" fmla="*/ 66 w 260"/>
                  <a:gd name="T49" fmla="*/ 125 h 156"/>
                  <a:gd name="T50" fmla="*/ 67 w 260"/>
                  <a:gd name="T51" fmla="*/ 129 h 156"/>
                  <a:gd name="T52" fmla="*/ 66 w 260"/>
                  <a:gd name="T53" fmla="*/ 132 h 156"/>
                  <a:gd name="T54" fmla="*/ 61 w 260"/>
                  <a:gd name="T55" fmla="*/ 132 h 156"/>
                  <a:gd name="T56" fmla="*/ 61 w 260"/>
                  <a:gd name="T57" fmla="*/ 133 h 156"/>
                  <a:gd name="T58" fmla="*/ 63 w 260"/>
                  <a:gd name="T59" fmla="*/ 136 h 156"/>
                  <a:gd name="T60" fmla="*/ 73 w 260"/>
                  <a:gd name="T61" fmla="*/ 147 h 156"/>
                  <a:gd name="T62" fmla="*/ 73 w 260"/>
                  <a:gd name="T63" fmla="*/ 150 h 156"/>
                  <a:gd name="T64" fmla="*/ 80 w 260"/>
                  <a:gd name="T65" fmla="*/ 149 h 156"/>
                  <a:gd name="T66" fmla="*/ 103 w 260"/>
                  <a:gd name="T67" fmla="*/ 154 h 156"/>
                  <a:gd name="T68" fmla="*/ 123 w 260"/>
                  <a:gd name="T69" fmla="*/ 153 h 156"/>
                  <a:gd name="T70" fmla="*/ 130 w 260"/>
                  <a:gd name="T71" fmla="*/ 156 h 156"/>
                  <a:gd name="T72" fmla="*/ 140 w 260"/>
                  <a:gd name="T73" fmla="*/ 156 h 156"/>
                  <a:gd name="T74" fmla="*/ 157 w 260"/>
                  <a:gd name="T75" fmla="*/ 149 h 156"/>
                  <a:gd name="T76" fmla="*/ 169 w 260"/>
                  <a:gd name="T77" fmla="*/ 142 h 156"/>
                  <a:gd name="T78" fmla="*/ 192 w 260"/>
                  <a:gd name="T79" fmla="*/ 139 h 156"/>
                  <a:gd name="T80" fmla="*/ 199 w 260"/>
                  <a:gd name="T81" fmla="*/ 142 h 156"/>
                  <a:gd name="T82" fmla="*/ 232 w 260"/>
                  <a:gd name="T83" fmla="*/ 135 h 156"/>
                  <a:gd name="T84" fmla="*/ 235 w 260"/>
                  <a:gd name="T85" fmla="*/ 125 h 156"/>
                  <a:gd name="T86" fmla="*/ 240 w 260"/>
                  <a:gd name="T87" fmla="*/ 123 h 156"/>
                  <a:gd name="T88" fmla="*/ 235 w 260"/>
                  <a:gd name="T89" fmla="*/ 123 h 156"/>
                  <a:gd name="T90" fmla="*/ 246 w 260"/>
                  <a:gd name="T91" fmla="*/ 117 h 156"/>
                  <a:gd name="T92" fmla="*/ 260 w 260"/>
                  <a:gd name="T93" fmla="*/ 113 h 156"/>
                  <a:gd name="T94" fmla="*/ 258 w 260"/>
                  <a:gd name="T95" fmla="*/ 105 h 156"/>
                  <a:gd name="T96" fmla="*/ 244 w 260"/>
                  <a:gd name="T97" fmla="*/ 104 h 156"/>
                  <a:gd name="T98" fmla="*/ 237 w 260"/>
                  <a:gd name="T99" fmla="*/ 107 h 156"/>
                  <a:gd name="T100" fmla="*/ 231 w 260"/>
                  <a:gd name="T101" fmla="*/ 107 h 156"/>
                  <a:gd name="T102" fmla="*/ 220 w 260"/>
                  <a:gd name="T103" fmla="*/ 101 h 156"/>
                  <a:gd name="T104" fmla="*/ 214 w 260"/>
                  <a:gd name="T105" fmla="*/ 96 h 156"/>
                  <a:gd name="T106" fmla="*/ 212 w 260"/>
                  <a:gd name="T107" fmla="*/ 94 h 156"/>
                  <a:gd name="T108" fmla="*/ 212 w 260"/>
                  <a:gd name="T109" fmla="*/ 80 h 156"/>
                  <a:gd name="T110" fmla="*/ 214 w 260"/>
                  <a:gd name="T111" fmla="*/ 50 h 156"/>
                  <a:gd name="T112" fmla="*/ 211 w 260"/>
                  <a:gd name="T113" fmla="*/ 43 h 156"/>
                  <a:gd name="T114" fmla="*/ 194 w 260"/>
                  <a:gd name="T115" fmla="*/ 23 h 156"/>
                  <a:gd name="T116" fmla="*/ 187 w 260"/>
                  <a:gd name="T117" fmla="*/ 10 h 156"/>
                  <a:gd name="T118" fmla="*/ 183 w 260"/>
                  <a:gd name="T119" fmla="*/ 4 h 156"/>
                  <a:gd name="T120" fmla="*/ 175 w 260"/>
                  <a:gd name="T121" fmla="*/ 0 h 1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56">
                    <a:moveTo>
                      <a:pt x="175" y="0"/>
                    </a:moveTo>
                    <a:cubicBezTo>
                      <a:pt x="162" y="8"/>
                      <a:pt x="162" y="8"/>
                      <a:pt x="162" y="8"/>
                    </a:cubicBezTo>
                    <a:cubicBezTo>
                      <a:pt x="161" y="8"/>
                      <a:pt x="160" y="9"/>
                      <a:pt x="160" y="9"/>
                    </a:cubicBezTo>
                    <a:cubicBezTo>
                      <a:pt x="155" y="10"/>
                      <a:pt x="151" y="11"/>
                      <a:pt x="147" y="11"/>
                    </a:cubicBezTo>
                    <a:cubicBezTo>
                      <a:pt x="145" y="11"/>
                      <a:pt x="143" y="11"/>
                      <a:pt x="142" y="11"/>
                    </a:cubicBezTo>
                    <a:cubicBezTo>
                      <a:pt x="141" y="11"/>
                      <a:pt x="141" y="11"/>
                      <a:pt x="141" y="11"/>
                    </a:cubicBezTo>
                    <a:cubicBezTo>
                      <a:pt x="140" y="11"/>
                      <a:pt x="139" y="11"/>
                      <a:pt x="139" y="12"/>
                    </a:cubicBezTo>
                    <a:cubicBezTo>
                      <a:pt x="138" y="12"/>
                      <a:pt x="136" y="13"/>
                      <a:pt x="135" y="14"/>
                    </a:cubicBezTo>
                    <a:cubicBezTo>
                      <a:pt x="131" y="17"/>
                      <a:pt x="131" y="17"/>
                      <a:pt x="131" y="17"/>
                    </a:cubicBezTo>
                    <a:cubicBezTo>
                      <a:pt x="129" y="18"/>
                      <a:pt x="127" y="18"/>
                      <a:pt x="126" y="18"/>
                    </a:cubicBezTo>
                    <a:cubicBezTo>
                      <a:pt x="125" y="18"/>
                      <a:pt x="125" y="18"/>
                      <a:pt x="124" y="18"/>
                    </a:cubicBezTo>
                    <a:cubicBezTo>
                      <a:pt x="122" y="17"/>
                      <a:pt x="121" y="16"/>
                      <a:pt x="119" y="15"/>
                    </a:cubicBezTo>
                    <a:cubicBezTo>
                      <a:pt x="118" y="14"/>
                      <a:pt x="118" y="14"/>
                      <a:pt x="118" y="14"/>
                    </a:cubicBezTo>
                    <a:cubicBezTo>
                      <a:pt x="117" y="12"/>
                      <a:pt x="116" y="11"/>
                      <a:pt x="114" y="10"/>
                    </a:cubicBezTo>
                    <a:cubicBezTo>
                      <a:pt x="113" y="10"/>
                      <a:pt x="111" y="10"/>
                      <a:pt x="108" y="10"/>
                    </a:cubicBezTo>
                    <a:cubicBezTo>
                      <a:pt x="108" y="10"/>
                      <a:pt x="108" y="10"/>
                      <a:pt x="108" y="10"/>
                    </a:cubicBezTo>
                    <a:cubicBezTo>
                      <a:pt x="107" y="10"/>
                      <a:pt x="107" y="10"/>
                      <a:pt x="107" y="10"/>
                    </a:cubicBezTo>
                    <a:cubicBezTo>
                      <a:pt x="107" y="10"/>
                      <a:pt x="106" y="10"/>
                      <a:pt x="106" y="10"/>
                    </a:cubicBezTo>
                    <a:cubicBezTo>
                      <a:pt x="105" y="10"/>
                      <a:pt x="104" y="10"/>
                      <a:pt x="103" y="9"/>
                    </a:cubicBezTo>
                    <a:cubicBezTo>
                      <a:pt x="95" y="9"/>
                      <a:pt x="95" y="9"/>
                      <a:pt x="95" y="9"/>
                    </a:cubicBezTo>
                    <a:cubicBezTo>
                      <a:pt x="95" y="9"/>
                      <a:pt x="94" y="9"/>
                      <a:pt x="93" y="9"/>
                    </a:cubicBezTo>
                    <a:cubicBezTo>
                      <a:pt x="92" y="8"/>
                      <a:pt x="92" y="8"/>
                      <a:pt x="92" y="8"/>
                    </a:cubicBezTo>
                    <a:cubicBezTo>
                      <a:pt x="92" y="8"/>
                      <a:pt x="89" y="8"/>
                      <a:pt x="88" y="8"/>
                    </a:cubicBezTo>
                    <a:cubicBezTo>
                      <a:pt x="88" y="8"/>
                      <a:pt x="88" y="8"/>
                      <a:pt x="88" y="8"/>
                    </a:cubicBezTo>
                    <a:cubicBezTo>
                      <a:pt x="87" y="9"/>
                      <a:pt x="86" y="9"/>
                      <a:pt x="85" y="9"/>
                    </a:cubicBezTo>
                    <a:cubicBezTo>
                      <a:pt x="82" y="9"/>
                      <a:pt x="80" y="7"/>
                      <a:pt x="79" y="7"/>
                    </a:cubicBezTo>
                    <a:cubicBezTo>
                      <a:pt x="78" y="6"/>
                      <a:pt x="78" y="6"/>
                      <a:pt x="77" y="5"/>
                    </a:cubicBezTo>
                    <a:cubicBezTo>
                      <a:pt x="76" y="5"/>
                      <a:pt x="76" y="5"/>
                      <a:pt x="76" y="5"/>
                    </a:cubicBezTo>
                    <a:cubicBezTo>
                      <a:pt x="76" y="5"/>
                      <a:pt x="76" y="5"/>
                      <a:pt x="76" y="5"/>
                    </a:cubicBezTo>
                    <a:cubicBezTo>
                      <a:pt x="75" y="6"/>
                      <a:pt x="74" y="6"/>
                      <a:pt x="74" y="7"/>
                    </a:cubicBezTo>
                    <a:cubicBezTo>
                      <a:pt x="73" y="7"/>
                      <a:pt x="73" y="7"/>
                      <a:pt x="73" y="7"/>
                    </a:cubicBezTo>
                    <a:cubicBezTo>
                      <a:pt x="75" y="8"/>
                      <a:pt x="75" y="8"/>
                      <a:pt x="75" y="8"/>
                    </a:cubicBezTo>
                    <a:cubicBezTo>
                      <a:pt x="71" y="9"/>
                      <a:pt x="71" y="9"/>
                      <a:pt x="71" y="9"/>
                    </a:cubicBezTo>
                    <a:cubicBezTo>
                      <a:pt x="70" y="9"/>
                      <a:pt x="70" y="9"/>
                      <a:pt x="70" y="9"/>
                    </a:cubicBezTo>
                    <a:cubicBezTo>
                      <a:pt x="69" y="10"/>
                      <a:pt x="69" y="10"/>
                      <a:pt x="68" y="11"/>
                    </a:cubicBezTo>
                    <a:cubicBezTo>
                      <a:pt x="53" y="20"/>
                      <a:pt x="53" y="20"/>
                      <a:pt x="53" y="20"/>
                    </a:cubicBezTo>
                    <a:cubicBezTo>
                      <a:pt x="53" y="20"/>
                      <a:pt x="53" y="21"/>
                      <a:pt x="52" y="21"/>
                    </a:cubicBezTo>
                    <a:cubicBezTo>
                      <a:pt x="51" y="21"/>
                      <a:pt x="51" y="21"/>
                      <a:pt x="51" y="21"/>
                    </a:cubicBezTo>
                    <a:cubicBezTo>
                      <a:pt x="50" y="22"/>
                      <a:pt x="49" y="23"/>
                      <a:pt x="48" y="23"/>
                    </a:cubicBezTo>
                    <a:cubicBezTo>
                      <a:pt x="47" y="24"/>
                      <a:pt x="45" y="27"/>
                      <a:pt x="44" y="28"/>
                    </a:cubicBezTo>
                    <a:cubicBezTo>
                      <a:pt x="44" y="29"/>
                      <a:pt x="44" y="29"/>
                      <a:pt x="44" y="29"/>
                    </a:cubicBezTo>
                    <a:cubicBezTo>
                      <a:pt x="42" y="33"/>
                      <a:pt x="39" y="36"/>
                      <a:pt x="37" y="40"/>
                    </a:cubicBezTo>
                    <a:cubicBezTo>
                      <a:pt x="36" y="41"/>
                      <a:pt x="36" y="41"/>
                      <a:pt x="36" y="41"/>
                    </a:cubicBezTo>
                    <a:cubicBezTo>
                      <a:pt x="36" y="42"/>
                      <a:pt x="36" y="42"/>
                      <a:pt x="36" y="42"/>
                    </a:cubicBezTo>
                    <a:cubicBezTo>
                      <a:pt x="35" y="44"/>
                      <a:pt x="34" y="46"/>
                      <a:pt x="33" y="49"/>
                    </a:cubicBezTo>
                    <a:cubicBezTo>
                      <a:pt x="32" y="50"/>
                      <a:pt x="32" y="50"/>
                      <a:pt x="32" y="50"/>
                    </a:cubicBezTo>
                    <a:cubicBezTo>
                      <a:pt x="32" y="52"/>
                      <a:pt x="31" y="54"/>
                      <a:pt x="30" y="55"/>
                    </a:cubicBezTo>
                    <a:cubicBezTo>
                      <a:pt x="28" y="59"/>
                      <a:pt x="27" y="62"/>
                      <a:pt x="25" y="64"/>
                    </a:cubicBezTo>
                    <a:cubicBezTo>
                      <a:pt x="23" y="66"/>
                      <a:pt x="21" y="70"/>
                      <a:pt x="16" y="70"/>
                    </a:cubicBezTo>
                    <a:cubicBezTo>
                      <a:pt x="15" y="70"/>
                      <a:pt x="14" y="70"/>
                      <a:pt x="12" y="70"/>
                    </a:cubicBezTo>
                    <a:cubicBezTo>
                      <a:pt x="11" y="70"/>
                      <a:pt x="11" y="70"/>
                      <a:pt x="11" y="70"/>
                    </a:cubicBezTo>
                    <a:cubicBezTo>
                      <a:pt x="10" y="71"/>
                      <a:pt x="10" y="71"/>
                      <a:pt x="10" y="71"/>
                    </a:cubicBezTo>
                    <a:cubicBezTo>
                      <a:pt x="9" y="73"/>
                      <a:pt x="7" y="74"/>
                      <a:pt x="5" y="75"/>
                    </a:cubicBezTo>
                    <a:cubicBezTo>
                      <a:pt x="3" y="75"/>
                      <a:pt x="1" y="75"/>
                      <a:pt x="0" y="75"/>
                    </a:cubicBezTo>
                    <a:cubicBezTo>
                      <a:pt x="7" y="84"/>
                      <a:pt x="7" y="84"/>
                      <a:pt x="7" y="84"/>
                    </a:cubicBezTo>
                    <a:cubicBezTo>
                      <a:pt x="7" y="85"/>
                      <a:pt x="7" y="85"/>
                      <a:pt x="8" y="86"/>
                    </a:cubicBezTo>
                    <a:cubicBezTo>
                      <a:pt x="9" y="87"/>
                      <a:pt x="10" y="88"/>
                      <a:pt x="11" y="90"/>
                    </a:cubicBezTo>
                    <a:cubicBezTo>
                      <a:pt x="11" y="90"/>
                      <a:pt x="11" y="91"/>
                      <a:pt x="12" y="91"/>
                    </a:cubicBezTo>
                    <a:cubicBezTo>
                      <a:pt x="12" y="92"/>
                      <a:pt x="12" y="93"/>
                      <a:pt x="12" y="94"/>
                    </a:cubicBezTo>
                    <a:cubicBezTo>
                      <a:pt x="13" y="95"/>
                      <a:pt x="16" y="96"/>
                      <a:pt x="19" y="97"/>
                    </a:cubicBezTo>
                    <a:cubicBezTo>
                      <a:pt x="20" y="98"/>
                      <a:pt x="20" y="98"/>
                      <a:pt x="20" y="98"/>
                    </a:cubicBezTo>
                    <a:cubicBezTo>
                      <a:pt x="30" y="104"/>
                      <a:pt x="30" y="104"/>
                      <a:pt x="30" y="104"/>
                    </a:cubicBezTo>
                    <a:cubicBezTo>
                      <a:pt x="31" y="105"/>
                      <a:pt x="32" y="107"/>
                      <a:pt x="32" y="109"/>
                    </a:cubicBezTo>
                    <a:cubicBezTo>
                      <a:pt x="32" y="110"/>
                      <a:pt x="32" y="111"/>
                      <a:pt x="32" y="111"/>
                    </a:cubicBezTo>
                    <a:cubicBezTo>
                      <a:pt x="33" y="112"/>
                      <a:pt x="33" y="112"/>
                      <a:pt x="33" y="112"/>
                    </a:cubicBezTo>
                    <a:cubicBezTo>
                      <a:pt x="33" y="114"/>
                      <a:pt x="33" y="116"/>
                      <a:pt x="32" y="118"/>
                    </a:cubicBezTo>
                    <a:cubicBezTo>
                      <a:pt x="42" y="122"/>
                      <a:pt x="42" y="122"/>
                      <a:pt x="42" y="122"/>
                    </a:cubicBezTo>
                    <a:cubicBezTo>
                      <a:pt x="44" y="123"/>
                      <a:pt x="46" y="124"/>
                      <a:pt x="47" y="126"/>
                    </a:cubicBezTo>
                    <a:cubicBezTo>
                      <a:pt x="48" y="125"/>
                      <a:pt x="49" y="124"/>
                      <a:pt x="50" y="124"/>
                    </a:cubicBezTo>
                    <a:cubicBezTo>
                      <a:pt x="52" y="122"/>
                      <a:pt x="54" y="120"/>
                      <a:pt x="57" y="120"/>
                    </a:cubicBezTo>
                    <a:cubicBezTo>
                      <a:pt x="57" y="120"/>
                      <a:pt x="57" y="120"/>
                      <a:pt x="57" y="120"/>
                    </a:cubicBezTo>
                    <a:cubicBezTo>
                      <a:pt x="58" y="120"/>
                      <a:pt x="58" y="120"/>
                      <a:pt x="58" y="120"/>
                    </a:cubicBezTo>
                    <a:cubicBezTo>
                      <a:pt x="60" y="120"/>
                      <a:pt x="63" y="122"/>
                      <a:pt x="65" y="123"/>
                    </a:cubicBezTo>
                    <a:cubicBezTo>
                      <a:pt x="65" y="124"/>
                      <a:pt x="66" y="124"/>
                      <a:pt x="66" y="124"/>
                    </a:cubicBezTo>
                    <a:cubicBezTo>
                      <a:pt x="66" y="125"/>
                      <a:pt x="66" y="125"/>
                      <a:pt x="66" y="125"/>
                    </a:cubicBezTo>
                    <a:cubicBezTo>
                      <a:pt x="67" y="126"/>
                      <a:pt x="67" y="126"/>
                      <a:pt x="67" y="126"/>
                    </a:cubicBezTo>
                    <a:cubicBezTo>
                      <a:pt x="67" y="127"/>
                      <a:pt x="67" y="127"/>
                      <a:pt x="67" y="128"/>
                    </a:cubicBezTo>
                    <a:cubicBezTo>
                      <a:pt x="67" y="128"/>
                      <a:pt x="67" y="129"/>
                      <a:pt x="67" y="129"/>
                    </a:cubicBezTo>
                    <a:cubicBezTo>
                      <a:pt x="67" y="130"/>
                      <a:pt x="67" y="130"/>
                      <a:pt x="67" y="130"/>
                    </a:cubicBezTo>
                    <a:cubicBezTo>
                      <a:pt x="67" y="130"/>
                      <a:pt x="67" y="130"/>
                      <a:pt x="67" y="130"/>
                    </a:cubicBezTo>
                    <a:cubicBezTo>
                      <a:pt x="66" y="132"/>
                      <a:pt x="66" y="132"/>
                      <a:pt x="66" y="132"/>
                    </a:cubicBezTo>
                    <a:cubicBezTo>
                      <a:pt x="63" y="132"/>
                      <a:pt x="63" y="132"/>
                      <a:pt x="63" y="132"/>
                    </a:cubicBezTo>
                    <a:cubicBezTo>
                      <a:pt x="63" y="132"/>
                      <a:pt x="63" y="132"/>
                      <a:pt x="63" y="132"/>
                    </a:cubicBezTo>
                    <a:cubicBezTo>
                      <a:pt x="62" y="132"/>
                      <a:pt x="62" y="132"/>
                      <a:pt x="61" y="132"/>
                    </a:cubicBezTo>
                    <a:cubicBezTo>
                      <a:pt x="61" y="132"/>
                      <a:pt x="61" y="132"/>
                      <a:pt x="61" y="132"/>
                    </a:cubicBezTo>
                    <a:cubicBezTo>
                      <a:pt x="61" y="132"/>
                      <a:pt x="61" y="132"/>
                      <a:pt x="61" y="132"/>
                    </a:cubicBezTo>
                    <a:cubicBezTo>
                      <a:pt x="61" y="132"/>
                      <a:pt x="61" y="133"/>
                      <a:pt x="61" y="133"/>
                    </a:cubicBezTo>
                    <a:cubicBezTo>
                      <a:pt x="61" y="133"/>
                      <a:pt x="61" y="134"/>
                      <a:pt x="62" y="135"/>
                    </a:cubicBezTo>
                    <a:cubicBezTo>
                      <a:pt x="63" y="136"/>
                      <a:pt x="63" y="136"/>
                      <a:pt x="63" y="136"/>
                    </a:cubicBezTo>
                    <a:cubicBezTo>
                      <a:pt x="63" y="136"/>
                      <a:pt x="63" y="136"/>
                      <a:pt x="63" y="136"/>
                    </a:cubicBezTo>
                    <a:cubicBezTo>
                      <a:pt x="65" y="137"/>
                      <a:pt x="65" y="137"/>
                      <a:pt x="65" y="137"/>
                    </a:cubicBezTo>
                    <a:cubicBezTo>
                      <a:pt x="72" y="140"/>
                      <a:pt x="76" y="142"/>
                      <a:pt x="74" y="145"/>
                    </a:cubicBezTo>
                    <a:cubicBezTo>
                      <a:pt x="74" y="146"/>
                      <a:pt x="74" y="146"/>
                      <a:pt x="73" y="147"/>
                    </a:cubicBezTo>
                    <a:cubicBezTo>
                      <a:pt x="73" y="148"/>
                      <a:pt x="73" y="148"/>
                      <a:pt x="73" y="148"/>
                    </a:cubicBezTo>
                    <a:cubicBezTo>
                      <a:pt x="73" y="149"/>
                      <a:pt x="72" y="150"/>
                      <a:pt x="72" y="150"/>
                    </a:cubicBezTo>
                    <a:cubicBezTo>
                      <a:pt x="72" y="150"/>
                      <a:pt x="73" y="150"/>
                      <a:pt x="73" y="150"/>
                    </a:cubicBezTo>
                    <a:cubicBezTo>
                      <a:pt x="73" y="150"/>
                      <a:pt x="74" y="150"/>
                      <a:pt x="74" y="150"/>
                    </a:cubicBezTo>
                    <a:cubicBezTo>
                      <a:pt x="78" y="149"/>
                      <a:pt x="78" y="149"/>
                      <a:pt x="78" y="149"/>
                    </a:cubicBezTo>
                    <a:cubicBezTo>
                      <a:pt x="79" y="149"/>
                      <a:pt x="79" y="149"/>
                      <a:pt x="80" y="149"/>
                    </a:cubicBezTo>
                    <a:cubicBezTo>
                      <a:pt x="83" y="149"/>
                      <a:pt x="87" y="150"/>
                      <a:pt x="90" y="151"/>
                    </a:cubicBezTo>
                    <a:cubicBezTo>
                      <a:pt x="93" y="152"/>
                      <a:pt x="93" y="152"/>
                      <a:pt x="93" y="152"/>
                    </a:cubicBezTo>
                    <a:cubicBezTo>
                      <a:pt x="96" y="153"/>
                      <a:pt x="100" y="154"/>
                      <a:pt x="103" y="154"/>
                    </a:cubicBezTo>
                    <a:cubicBezTo>
                      <a:pt x="107" y="154"/>
                      <a:pt x="110" y="154"/>
                      <a:pt x="114" y="152"/>
                    </a:cubicBezTo>
                    <a:cubicBezTo>
                      <a:pt x="115" y="152"/>
                      <a:pt x="115" y="152"/>
                      <a:pt x="116" y="152"/>
                    </a:cubicBezTo>
                    <a:cubicBezTo>
                      <a:pt x="118" y="152"/>
                      <a:pt x="120" y="153"/>
                      <a:pt x="123" y="153"/>
                    </a:cubicBezTo>
                    <a:cubicBezTo>
                      <a:pt x="124" y="154"/>
                      <a:pt x="125" y="154"/>
                      <a:pt x="125" y="154"/>
                    </a:cubicBezTo>
                    <a:cubicBezTo>
                      <a:pt x="127" y="154"/>
                      <a:pt x="128" y="155"/>
                      <a:pt x="130" y="155"/>
                    </a:cubicBezTo>
                    <a:cubicBezTo>
                      <a:pt x="130" y="156"/>
                      <a:pt x="130" y="156"/>
                      <a:pt x="130" y="156"/>
                    </a:cubicBezTo>
                    <a:cubicBezTo>
                      <a:pt x="131" y="155"/>
                      <a:pt x="131" y="155"/>
                      <a:pt x="131" y="155"/>
                    </a:cubicBezTo>
                    <a:cubicBezTo>
                      <a:pt x="133" y="156"/>
                      <a:pt x="137" y="156"/>
                      <a:pt x="139" y="156"/>
                    </a:cubicBezTo>
                    <a:cubicBezTo>
                      <a:pt x="139" y="156"/>
                      <a:pt x="140" y="156"/>
                      <a:pt x="140" y="156"/>
                    </a:cubicBezTo>
                    <a:cubicBezTo>
                      <a:pt x="141" y="156"/>
                      <a:pt x="141" y="156"/>
                      <a:pt x="141" y="156"/>
                    </a:cubicBezTo>
                    <a:cubicBezTo>
                      <a:pt x="146" y="156"/>
                      <a:pt x="151" y="152"/>
                      <a:pt x="156" y="149"/>
                    </a:cubicBezTo>
                    <a:cubicBezTo>
                      <a:pt x="157" y="149"/>
                      <a:pt x="157" y="149"/>
                      <a:pt x="157" y="149"/>
                    </a:cubicBezTo>
                    <a:cubicBezTo>
                      <a:pt x="158" y="148"/>
                      <a:pt x="159" y="147"/>
                      <a:pt x="160" y="147"/>
                    </a:cubicBezTo>
                    <a:cubicBezTo>
                      <a:pt x="160" y="146"/>
                      <a:pt x="161" y="146"/>
                      <a:pt x="161" y="146"/>
                    </a:cubicBezTo>
                    <a:cubicBezTo>
                      <a:pt x="164" y="144"/>
                      <a:pt x="166" y="142"/>
                      <a:pt x="169" y="142"/>
                    </a:cubicBezTo>
                    <a:cubicBezTo>
                      <a:pt x="188" y="140"/>
                      <a:pt x="188" y="140"/>
                      <a:pt x="188" y="140"/>
                    </a:cubicBezTo>
                    <a:cubicBezTo>
                      <a:pt x="189" y="139"/>
                      <a:pt x="189" y="139"/>
                      <a:pt x="190" y="139"/>
                    </a:cubicBezTo>
                    <a:cubicBezTo>
                      <a:pt x="191" y="139"/>
                      <a:pt x="191" y="139"/>
                      <a:pt x="192" y="139"/>
                    </a:cubicBezTo>
                    <a:cubicBezTo>
                      <a:pt x="192" y="139"/>
                      <a:pt x="192" y="140"/>
                      <a:pt x="193" y="140"/>
                    </a:cubicBezTo>
                    <a:cubicBezTo>
                      <a:pt x="194" y="140"/>
                      <a:pt x="195" y="140"/>
                      <a:pt x="196" y="140"/>
                    </a:cubicBezTo>
                    <a:cubicBezTo>
                      <a:pt x="199" y="142"/>
                      <a:pt x="199" y="142"/>
                      <a:pt x="199" y="142"/>
                    </a:cubicBezTo>
                    <a:cubicBezTo>
                      <a:pt x="201" y="143"/>
                      <a:pt x="204" y="143"/>
                      <a:pt x="206" y="144"/>
                    </a:cubicBezTo>
                    <a:cubicBezTo>
                      <a:pt x="230" y="152"/>
                      <a:pt x="230" y="152"/>
                      <a:pt x="230" y="152"/>
                    </a:cubicBezTo>
                    <a:cubicBezTo>
                      <a:pt x="230" y="146"/>
                      <a:pt x="230" y="139"/>
                      <a:pt x="232" y="135"/>
                    </a:cubicBezTo>
                    <a:cubicBezTo>
                      <a:pt x="233" y="133"/>
                      <a:pt x="237" y="129"/>
                      <a:pt x="238" y="127"/>
                    </a:cubicBezTo>
                    <a:cubicBezTo>
                      <a:pt x="238" y="128"/>
                      <a:pt x="237" y="128"/>
                      <a:pt x="236" y="128"/>
                    </a:cubicBezTo>
                    <a:cubicBezTo>
                      <a:pt x="234" y="128"/>
                      <a:pt x="233" y="127"/>
                      <a:pt x="235" y="125"/>
                    </a:cubicBezTo>
                    <a:cubicBezTo>
                      <a:pt x="235" y="126"/>
                      <a:pt x="235" y="126"/>
                      <a:pt x="235" y="126"/>
                    </a:cubicBezTo>
                    <a:cubicBezTo>
                      <a:pt x="237" y="125"/>
                      <a:pt x="239" y="124"/>
                      <a:pt x="241" y="123"/>
                    </a:cubicBezTo>
                    <a:cubicBezTo>
                      <a:pt x="241" y="123"/>
                      <a:pt x="240" y="123"/>
                      <a:pt x="240" y="123"/>
                    </a:cubicBezTo>
                    <a:cubicBezTo>
                      <a:pt x="239" y="123"/>
                      <a:pt x="239" y="123"/>
                      <a:pt x="239" y="123"/>
                    </a:cubicBezTo>
                    <a:cubicBezTo>
                      <a:pt x="238" y="123"/>
                      <a:pt x="238" y="123"/>
                      <a:pt x="237" y="123"/>
                    </a:cubicBezTo>
                    <a:cubicBezTo>
                      <a:pt x="237" y="123"/>
                      <a:pt x="236" y="123"/>
                      <a:pt x="235" y="123"/>
                    </a:cubicBezTo>
                    <a:cubicBezTo>
                      <a:pt x="235" y="123"/>
                      <a:pt x="240" y="112"/>
                      <a:pt x="243" y="112"/>
                    </a:cubicBezTo>
                    <a:cubicBezTo>
                      <a:pt x="244" y="112"/>
                      <a:pt x="244" y="112"/>
                      <a:pt x="244" y="113"/>
                    </a:cubicBezTo>
                    <a:cubicBezTo>
                      <a:pt x="245" y="115"/>
                      <a:pt x="239" y="116"/>
                      <a:pt x="246" y="117"/>
                    </a:cubicBezTo>
                    <a:cubicBezTo>
                      <a:pt x="248" y="117"/>
                      <a:pt x="251" y="118"/>
                      <a:pt x="253" y="118"/>
                    </a:cubicBezTo>
                    <a:cubicBezTo>
                      <a:pt x="256" y="118"/>
                      <a:pt x="258" y="117"/>
                      <a:pt x="259" y="116"/>
                    </a:cubicBezTo>
                    <a:cubicBezTo>
                      <a:pt x="259" y="115"/>
                      <a:pt x="260" y="114"/>
                      <a:pt x="260" y="113"/>
                    </a:cubicBezTo>
                    <a:cubicBezTo>
                      <a:pt x="260" y="111"/>
                      <a:pt x="260" y="108"/>
                      <a:pt x="260" y="106"/>
                    </a:cubicBezTo>
                    <a:cubicBezTo>
                      <a:pt x="259" y="106"/>
                      <a:pt x="259" y="106"/>
                      <a:pt x="259" y="106"/>
                    </a:cubicBezTo>
                    <a:cubicBezTo>
                      <a:pt x="258" y="105"/>
                      <a:pt x="258" y="105"/>
                      <a:pt x="258" y="105"/>
                    </a:cubicBezTo>
                    <a:cubicBezTo>
                      <a:pt x="258" y="104"/>
                      <a:pt x="257" y="102"/>
                      <a:pt x="257" y="102"/>
                    </a:cubicBezTo>
                    <a:cubicBezTo>
                      <a:pt x="256" y="101"/>
                      <a:pt x="254" y="101"/>
                      <a:pt x="253" y="100"/>
                    </a:cubicBezTo>
                    <a:cubicBezTo>
                      <a:pt x="251" y="100"/>
                      <a:pt x="246" y="103"/>
                      <a:pt x="244" y="104"/>
                    </a:cubicBezTo>
                    <a:cubicBezTo>
                      <a:pt x="243" y="104"/>
                      <a:pt x="243" y="104"/>
                      <a:pt x="243" y="104"/>
                    </a:cubicBezTo>
                    <a:cubicBezTo>
                      <a:pt x="242" y="105"/>
                      <a:pt x="241" y="105"/>
                      <a:pt x="240" y="105"/>
                    </a:cubicBezTo>
                    <a:cubicBezTo>
                      <a:pt x="237" y="107"/>
                      <a:pt x="237" y="107"/>
                      <a:pt x="237" y="107"/>
                    </a:cubicBezTo>
                    <a:cubicBezTo>
                      <a:pt x="236" y="107"/>
                      <a:pt x="235" y="108"/>
                      <a:pt x="234" y="108"/>
                    </a:cubicBezTo>
                    <a:cubicBezTo>
                      <a:pt x="234" y="108"/>
                      <a:pt x="234" y="108"/>
                      <a:pt x="234" y="108"/>
                    </a:cubicBezTo>
                    <a:cubicBezTo>
                      <a:pt x="233" y="108"/>
                      <a:pt x="232" y="107"/>
                      <a:pt x="231" y="107"/>
                    </a:cubicBezTo>
                    <a:cubicBezTo>
                      <a:pt x="229" y="107"/>
                      <a:pt x="227" y="106"/>
                      <a:pt x="225" y="105"/>
                    </a:cubicBezTo>
                    <a:cubicBezTo>
                      <a:pt x="223" y="104"/>
                      <a:pt x="222" y="103"/>
                      <a:pt x="221" y="102"/>
                    </a:cubicBezTo>
                    <a:cubicBezTo>
                      <a:pt x="220" y="101"/>
                      <a:pt x="220" y="101"/>
                      <a:pt x="220" y="101"/>
                    </a:cubicBezTo>
                    <a:cubicBezTo>
                      <a:pt x="219" y="100"/>
                      <a:pt x="218" y="100"/>
                      <a:pt x="217" y="99"/>
                    </a:cubicBezTo>
                    <a:cubicBezTo>
                      <a:pt x="213" y="97"/>
                      <a:pt x="213" y="97"/>
                      <a:pt x="213" y="97"/>
                    </a:cubicBezTo>
                    <a:cubicBezTo>
                      <a:pt x="214" y="96"/>
                      <a:pt x="214" y="96"/>
                      <a:pt x="214" y="96"/>
                    </a:cubicBezTo>
                    <a:cubicBezTo>
                      <a:pt x="214" y="96"/>
                      <a:pt x="214" y="96"/>
                      <a:pt x="214" y="96"/>
                    </a:cubicBezTo>
                    <a:cubicBezTo>
                      <a:pt x="213" y="96"/>
                      <a:pt x="213" y="96"/>
                      <a:pt x="213" y="96"/>
                    </a:cubicBezTo>
                    <a:cubicBezTo>
                      <a:pt x="213" y="95"/>
                      <a:pt x="213" y="94"/>
                      <a:pt x="212" y="94"/>
                    </a:cubicBezTo>
                    <a:cubicBezTo>
                      <a:pt x="212" y="92"/>
                      <a:pt x="212" y="91"/>
                      <a:pt x="212" y="90"/>
                    </a:cubicBezTo>
                    <a:cubicBezTo>
                      <a:pt x="211" y="88"/>
                      <a:pt x="212" y="85"/>
                      <a:pt x="212" y="83"/>
                    </a:cubicBezTo>
                    <a:cubicBezTo>
                      <a:pt x="212" y="82"/>
                      <a:pt x="212" y="81"/>
                      <a:pt x="212" y="80"/>
                    </a:cubicBezTo>
                    <a:cubicBezTo>
                      <a:pt x="212" y="73"/>
                      <a:pt x="214" y="69"/>
                      <a:pt x="216" y="63"/>
                    </a:cubicBezTo>
                    <a:cubicBezTo>
                      <a:pt x="217" y="60"/>
                      <a:pt x="217" y="58"/>
                      <a:pt x="216" y="55"/>
                    </a:cubicBezTo>
                    <a:cubicBezTo>
                      <a:pt x="216" y="54"/>
                      <a:pt x="215" y="52"/>
                      <a:pt x="214" y="50"/>
                    </a:cubicBezTo>
                    <a:cubicBezTo>
                      <a:pt x="213" y="49"/>
                      <a:pt x="213" y="48"/>
                      <a:pt x="213" y="47"/>
                    </a:cubicBezTo>
                    <a:cubicBezTo>
                      <a:pt x="213" y="46"/>
                      <a:pt x="213" y="46"/>
                      <a:pt x="213" y="46"/>
                    </a:cubicBezTo>
                    <a:cubicBezTo>
                      <a:pt x="212" y="45"/>
                      <a:pt x="212" y="44"/>
                      <a:pt x="211" y="43"/>
                    </a:cubicBezTo>
                    <a:cubicBezTo>
                      <a:pt x="209" y="40"/>
                      <a:pt x="207" y="38"/>
                      <a:pt x="205" y="36"/>
                    </a:cubicBezTo>
                    <a:cubicBezTo>
                      <a:pt x="203" y="35"/>
                      <a:pt x="203" y="35"/>
                      <a:pt x="203" y="35"/>
                    </a:cubicBezTo>
                    <a:cubicBezTo>
                      <a:pt x="199" y="31"/>
                      <a:pt x="197" y="27"/>
                      <a:pt x="194" y="23"/>
                    </a:cubicBezTo>
                    <a:cubicBezTo>
                      <a:pt x="192" y="20"/>
                      <a:pt x="190" y="17"/>
                      <a:pt x="189" y="14"/>
                    </a:cubicBezTo>
                    <a:cubicBezTo>
                      <a:pt x="188" y="11"/>
                      <a:pt x="188" y="11"/>
                      <a:pt x="188" y="11"/>
                    </a:cubicBezTo>
                    <a:cubicBezTo>
                      <a:pt x="187" y="10"/>
                      <a:pt x="187" y="10"/>
                      <a:pt x="187" y="10"/>
                    </a:cubicBezTo>
                    <a:cubicBezTo>
                      <a:pt x="187" y="9"/>
                      <a:pt x="186" y="8"/>
                      <a:pt x="186" y="7"/>
                    </a:cubicBezTo>
                    <a:cubicBezTo>
                      <a:pt x="185" y="7"/>
                      <a:pt x="185" y="7"/>
                      <a:pt x="185" y="7"/>
                    </a:cubicBezTo>
                    <a:cubicBezTo>
                      <a:pt x="185" y="6"/>
                      <a:pt x="184" y="4"/>
                      <a:pt x="183" y="4"/>
                    </a:cubicBezTo>
                    <a:cubicBezTo>
                      <a:pt x="183" y="3"/>
                      <a:pt x="183" y="3"/>
                      <a:pt x="183" y="3"/>
                    </a:cubicBezTo>
                    <a:cubicBezTo>
                      <a:pt x="180" y="2"/>
                      <a:pt x="177" y="1"/>
                      <a:pt x="175" y="0"/>
                    </a:cubicBezTo>
                    <a:cubicBezTo>
                      <a:pt x="175" y="0"/>
                      <a:pt x="175" y="0"/>
                      <a:pt x="1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305"/>
              <p:cNvSpPr/>
              <p:nvPr/>
            </p:nvSpPr>
            <p:spPr bwMode="auto">
              <a:xfrm>
                <a:off x="5833538" y="4171552"/>
                <a:ext cx="567508" cy="298494"/>
              </a:xfrm>
              <a:custGeom>
                <a:gdLst>
                  <a:gd name="T0" fmla="*/ 125 w 178"/>
                  <a:gd name="T1" fmla="*/ 0 h 94"/>
                  <a:gd name="T2" fmla="*/ 111 w 178"/>
                  <a:gd name="T3" fmla="*/ 9 h 94"/>
                  <a:gd name="T4" fmla="*/ 101 w 178"/>
                  <a:gd name="T5" fmla="*/ 15 h 94"/>
                  <a:gd name="T6" fmla="*/ 94 w 178"/>
                  <a:gd name="T7" fmla="*/ 14 h 94"/>
                  <a:gd name="T8" fmla="*/ 83 w 178"/>
                  <a:gd name="T9" fmla="*/ 15 h 94"/>
                  <a:gd name="T10" fmla="*/ 77 w 178"/>
                  <a:gd name="T11" fmla="*/ 17 h 94"/>
                  <a:gd name="T12" fmla="*/ 73 w 178"/>
                  <a:gd name="T13" fmla="*/ 22 h 94"/>
                  <a:gd name="T14" fmla="*/ 71 w 178"/>
                  <a:gd name="T15" fmla="*/ 27 h 94"/>
                  <a:gd name="T16" fmla="*/ 55 w 178"/>
                  <a:gd name="T17" fmla="*/ 29 h 94"/>
                  <a:gd name="T18" fmla="*/ 51 w 178"/>
                  <a:gd name="T19" fmla="*/ 30 h 94"/>
                  <a:gd name="T20" fmla="*/ 43 w 178"/>
                  <a:gd name="T21" fmla="*/ 30 h 94"/>
                  <a:gd name="T22" fmla="*/ 25 w 178"/>
                  <a:gd name="T23" fmla="*/ 20 h 94"/>
                  <a:gd name="T24" fmla="*/ 24 w 178"/>
                  <a:gd name="T25" fmla="*/ 23 h 94"/>
                  <a:gd name="T26" fmla="*/ 23 w 178"/>
                  <a:gd name="T27" fmla="*/ 26 h 94"/>
                  <a:gd name="T28" fmla="*/ 21 w 178"/>
                  <a:gd name="T29" fmla="*/ 31 h 94"/>
                  <a:gd name="T30" fmla="*/ 10 w 178"/>
                  <a:gd name="T31" fmla="*/ 32 h 94"/>
                  <a:gd name="T32" fmla="*/ 11 w 178"/>
                  <a:gd name="T33" fmla="*/ 36 h 94"/>
                  <a:gd name="T34" fmla="*/ 5 w 178"/>
                  <a:gd name="T35" fmla="*/ 43 h 94"/>
                  <a:gd name="T36" fmla="*/ 6 w 178"/>
                  <a:gd name="T37" fmla="*/ 47 h 94"/>
                  <a:gd name="T38" fmla="*/ 7 w 178"/>
                  <a:gd name="T39" fmla="*/ 56 h 94"/>
                  <a:gd name="T40" fmla="*/ 1 w 178"/>
                  <a:gd name="T41" fmla="*/ 56 h 94"/>
                  <a:gd name="T42" fmla="*/ 0 w 178"/>
                  <a:gd name="T43" fmla="*/ 56 h 94"/>
                  <a:gd name="T44" fmla="*/ 0 w 178"/>
                  <a:gd name="T45" fmla="*/ 57 h 94"/>
                  <a:gd name="T46" fmla="*/ 3 w 178"/>
                  <a:gd name="T47" fmla="*/ 63 h 94"/>
                  <a:gd name="T48" fmla="*/ 3 w 178"/>
                  <a:gd name="T49" fmla="*/ 65 h 94"/>
                  <a:gd name="T50" fmla="*/ 8 w 178"/>
                  <a:gd name="T51" fmla="*/ 69 h 94"/>
                  <a:gd name="T52" fmla="*/ 12 w 178"/>
                  <a:gd name="T53" fmla="*/ 72 h 94"/>
                  <a:gd name="T54" fmla="*/ 14 w 178"/>
                  <a:gd name="T55" fmla="*/ 73 h 94"/>
                  <a:gd name="T56" fmla="*/ 17 w 178"/>
                  <a:gd name="T57" fmla="*/ 77 h 94"/>
                  <a:gd name="T58" fmla="*/ 32 w 178"/>
                  <a:gd name="T59" fmla="*/ 88 h 94"/>
                  <a:gd name="T60" fmla="*/ 44 w 178"/>
                  <a:gd name="T61" fmla="*/ 93 h 94"/>
                  <a:gd name="T62" fmla="*/ 47 w 178"/>
                  <a:gd name="T63" fmla="*/ 93 h 94"/>
                  <a:gd name="T64" fmla="*/ 52 w 178"/>
                  <a:gd name="T65" fmla="*/ 94 h 94"/>
                  <a:gd name="T66" fmla="*/ 54 w 178"/>
                  <a:gd name="T67" fmla="*/ 94 h 94"/>
                  <a:gd name="T68" fmla="*/ 58 w 178"/>
                  <a:gd name="T69" fmla="*/ 93 h 94"/>
                  <a:gd name="T70" fmla="*/ 61 w 178"/>
                  <a:gd name="T71" fmla="*/ 92 h 94"/>
                  <a:gd name="T72" fmla="*/ 65 w 178"/>
                  <a:gd name="T73" fmla="*/ 90 h 94"/>
                  <a:gd name="T74" fmla="*/ 87 w 178"/>
                  <a:gd name="T75" fmla="*/ 75 h 94"/>
                  <a:gd name="T76" fmla="*/ 94 w 178"/>
                  <a:gd name="T77" fmla="*/ 79 h 94"/>
                  <a:gd name="T78" fmla="*/ 100 w 178"/>
                  <a:gd name="T79" fmla="*/ 79 h 94"/>
                  <a:gd name="T80" fmla="*/ 105 w 178"/>
                  <a:gd name="T81" fmla="*/ 80 h 94"/>
                  <a:gd name="T82" fmla="*/ 110 w 178"/>
                  <a:gd name="T83" fmla="*/ 81 h 94"/>
                  <a:gd name="T84" fmla="*/ 117 w 178"/>
                  <a:gd name="T85" fmla="*/ 80 h 94"/>
                  <a:gd name="T86" fmla="*/ 122 w 178"/>
                  <a:gd name="T87" fmla="*/ 79 h 94"/>
                  <a:gd name="T88" fmla="*/ 124 w 178"/>
                  <a:gd name="T89" fmla="*/ 76 h 94"/>
                  <a:gd name="T90" fmla="*/ 133 w 178"/>
                  <a:gd name="T91" fmla="*/ 75 h 94"/>
                  <a:gd name="T92" fmla="*/ 141 w 178"/>
                  <a:gd name="T93" fmla="*/ 64 h 94"/>
                  <a:gd name="T94" fmla="*/ 147 w 178"/>
                  <a:gd name="T95" fmla="*/ 51 h 94"/>
                  <a:gd name="T96" fmla="*/ 148 w 178"/>
                  <a:gd name="T97" fmla="*/ 49 h 94"/>
                  <a:gd name="T98" fmla="*/ 162 w 178"/>
                  <a:gd name="T99" fmla="*/ 29 h 94"/>
                  <a:gd name="T100" fmla="*/ 167 w 178"/>
                  <a:gd name="T101" fmla="*/ 26 h 94"/>
                  <a:gd name="T102" fmla="*/ 177 w 178"/>
                  <a:gd name="T103" fmla="*/ 18 h 94"/>
                  <a:gd name="T104" fmla="*/ 174 w 178"/>
                  <a:gd name="T105" fmla="*/ 15 h 94"/>
                  <a:gd name="T106" fmla="*/ 171 w 178"/>
                  <a:gd name="T107" fmla="*/ 12 h 94"/>
                  <a:gd name="T108" fmla="*/ 170 w 178"/>
                  <a:gd name="T109" fmla="*/ 9 h 94"/>
                  <a:gd name="T110" fmla="*/ 163 w 178"/>
                  <a:gd name="T111" fmla="*/ 6 h 94"/>
                  <a:gd name="T112" fmla="*/ 162 w 178"/>
                  <a:gd name="T113" fmla="*/ 6 h 94"/>
                  <a:gd name="T114" fmla="*/ 155 w 178"/>
                  <a:gd name="T115" fmla="*/ 8 h 94"/>
                  <a:gd name="T116" fmla="*/ 153 w 178"/>
                  <a:gd name="T117" fmla="*/ 8 h 94"/>
                  <a:gd name="T118" fmla="*/ 145 w 178"/>
                  <a:gd name="T119" fmla="*/ 2 h 94"/>
                  <a:gd name="T120" fmla="*/ 143 w 178"/>
                  <a:gd name="T121" fmla="*/ 0 h 94"/>
                  <a:gd name="T122" fmla="*/ 139 w 178"/>
                  <a:gd name="T123" fmla="*/ 0 h 94"/>
                  <a:gd name="T124" fmla="*/ 134 w 178"/>
                  <a:gd name="T125" fmla="*/ 0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94">
                    <a:moveTo>
                      <a:pt x="129" y="0"/>
                    </a:moveTo>
                    <a:cubicBezTo>
                      <a:pt x="127" y="0"/>
                      <a:pt x="126" y="0"/>
                      <a:pt x="125" y="0"/>
                    </a:cubicBezTo>
                    <a:cubicBezTo>
                      <a:pt x="120" y="2"/>
                      <a:pt x="117" y="5"/>
                      <a:pt x="113" y="8"/>
                    </a:cubicBezTo>
                    <a:cubicBezTo>
                      <a:pt x="111" y="9"/>
                      <a:pt x="111" y="9"/>
                      <a:pt x="111" y="9"/>
                    </a:cubicBezTo>
                    <a:cubicBezTo>
                      <a:pt x="109" y="11"/>
                      <a:pt x="107" y="13"/>
                      <a:pt x="105" y="13"/>
                    </a:cubicBezTo>
                    <a:cubicBezTo>
                      <a:pt x="104" y="14"/>
                      <a:pt x="102" y="14"/>
                      <a:pt x="101" y="15"/>
                    </a:cubicBezTo>
                    <a:cubicBezTo>
                      <a:pt x="100" y="15"/>
                      <a:pt x="100" y="15"/>
                      <a:pt x="99" y="15"/>
                    </a:cubicBezTo>
                    <a:cubicBezTo>
                      <a:pt x="97" y="15"/>
                      <a:pt x="95" y="14"/>
                      <a:pt x="94" y="14"/>
                    </a:cubicBezTo>
                    <a:cubicBezTo>
                      <a:pt x="93" y="14"/>
                      <a:pt x="92" y="14"/>
                      <a:pt x="91" y="14"/>
                    </a:cubicBezTo>
                    <a:cubicBezTo>
                      <a:pt x="89" y="14"/>
                      <a:pt x="86" y="14"/>
                      <a:pt x="83" y="15"/>
                    </a:cubicBezTo>
                    <a:cubicBezTo>
                      <a:pt x="82" y="16"/>
                      <a:pt x="82" y="16"/>
                      <a:pt x="82" y="16"/>
                    </a:cubicBezTo>
                    <a:cubicBezTo>
                      <a:pt x="77" y="17"/>
                      <a:pt x="77" y="17"/>
                      <a:pt x="77" y="17"/>
                    </a:cubicBezTo>
                    <a:cubicBezTo>
                      <a:pt x="75" y="18"/>
                      <a:pt x="74" y="19"/>
                      <a:pt x="72" y="20"/>
                    </a:cubicBezTo>
                    <a:cubicBezTo>
                      <a:pt x="72" y="21"/>
                      <a:pt x="73" y="21"/>
                      <a:pt x="73" y="22"/>
                    </a:cubicBezTo>
                    <a:cubicBezTo>
                      <a:pt x="75" y="26"/>
                      <a:pt x="75" y="26"/>
                      <a:pt x="75" y="26"/>
                    </a:cubicBezTo>
                    <a:cubicBezTo>
                      <a:pt x="71" y="27"/>
                      <a:pt x="71" y="27"/>
                      <a:pt x="71" y="27"/>
                    </a:cubicBezTo>
                    <a:cubicBezTo>
                      <a:pt x="69" y="28"/>
                      <a:pt x="67" y="28"/>
                      <a:pt x="65" y="28"/>
                    </a:cubicBezTo>
                    <a:cubicBezTo>
                      <a:pt x="62" y="29"/>
                      <a:pt x="58" y="29"/>
                      <a:pt x="55" y="29"/>
                    </a:cubicBezTo>
                    <a:cubicBezTo>
                      <a:pt x="54" y="29"/>
                      <a:pt x="53" y="30"/>
                      <a:pt x="53" y="30"/>
                    </a:cubicBezTo>
                    <a:cubicBezTo>
                      <a:pt x="51" y="30"/>
                      <a:pt x="51" y="30"/>
                      <a:pt x="51" y="30"/>
                    </a:cubicBezTo>
                    <a:cubicBezTo>
                      <a:pt x="49" y="30"/>
                      <a:pt x="47" y="30"/>
                      <a:pt x="45" y="30"/>
                    </a:cubicBezTo>
                    <a:cubicBezTo>
                      <a:pt x="44" y="30"/>
                      <a:pt x="43" y="30"/>
                      <a:pt x="43" y="30"/>
                    </a:cubicBezTo>
                    <a:cubicBezTo>
                      <a:pt x="36" y="30"/>
                      <a:pt x="31" y="26"/>
                      <a:pt x="27" y="22"/>
                    </a:cubicBezTo>
                    <a:cubicBezTo>
                      <a:pt x="26" y="21"/>
                      <a:pt x="25" y="21"/>
                      <a:pt x="25" y="20"/>
                    </a:cubicBezTo>
                    <a:cubicBezTo>
                      <a:pt x="24" y="21"/>
                      <a:pt x="24" y="22"/>
                      <a:pt x="24" y="22"/>
                    </a:cubicBezTo>
                    <a:cubicBezTo>
                      <a:pt x="24" y="23"/>
                      <a:pt x="24" y="23"/>
                      <a:pt x="24" y="23"/>
                    </a:cubicBezTo>
                    <a:cubicBezTo>
                      <a:pt x="24" y="23"/>
                      <a:pt x="23" y="24"/>
                      <a:pt x="23" y="25"/>
                    </a:cubicBezTo>
                    <a:cubicBezTo>
                      <a:pt x="23" y="26"/>
                      <a:pt x="23" y="26"/>
                      <a:pt x="23" y="26"/>
                    </a:cubicBezTo>
                    <a:cubicBezTo>
                      <a:pt x="26" y="29"/>
                      <a:pt x="26" y="29"/>
                      <a:pt x="26" y="29"/>
                    </a:cubicBezTo>
                    <a:cubicBezTo>
                      <a:pt x="21" y="31"/>
                      <a:pt x="21" y="31"/>
                      <a:pt x="21" y="31"/>
                    </a:cubicBezTo>
                    <a:cubicBezTo>
                      <a:pt x="18" y="31"/>
                      <a:pt x="15" y="32"/>
                      <a:pt x="12" y="32"/>
                    </a:cubicBezTo>
                    <a:cubicBezTo>
                      <a:pt x="12" y="32"/>
                      <a:pt x="11" y="32"/>
                      <a:pt x="10" y="32"/>
                    </a:cubicBezTo>
                    <a:cubicBezTo>
                      <a:pt x="11" y="33"/>
                      <a:pt x="11" y="34"/>
                      <a:pt x="11" y="35"/>
                    </a:cubicBezTo>
                    <a:cubicBezTo>
                      <a:pt x="11" y="36"/>
                      <a:pt x="11" y="36"/>
                      <a:pt x="11" y="36"/>
                    </a:cubicBezTo>
                    <a:cubicBezTo>
                      <a:pt x="11" y="40"/>
                      <a:pt x="8" y="41"/>
                      <a:pt x="6" y="42"/>
                    </a:cubicBezTo>
                    <a:cubicBezTo>
                      <a:pt x="6" y="42"/>
                      <a:pt x="5" y="42"/>
                      <a:pt x="5" y="43"/>
                    </a:cubicBezTo>
                    <a:cubicBezTo>
                      <a:pt x="5" y="44"/>
                      <a:pt x="6" y="45"/>
                      <a:pt x="6" y="47"/>
                    </a:cubicBezTo>
                    <a:cubicBezTo>
                      <a:pt x="6" y="47"/>
                      <a:pt x="6" y="47"/>
                      <a:pt x="6" y="47"/>
                    </a:cubicBezTo>
                    <a:cubicBezTo>
                      <a:pt x="6" y="49"/>
                      <a:pt x="7" y="51"/>
                      <a:pt x="7" y="53"/>
                    </a:cubicBezTo>
                    <a:cubicBezTo>
                      <a:pt x="7" y="56"/>
                      <a:pt x="7" y="56"/>
                      <a:pt x="7" y="56"/>
                    </a:cubicBezTo>
                    <a:cubicBezTo>
                      <a:pt x="4" y="56"/>
                      <a:pt x="4" y="56"/>
                      <a:pt x="4" y="56"/>
                    </a:cubicBezTo>
                    <a:cubicBezTo>
                      <a:pt x="2" y="56"/>
                      <a:pt x="2" y="56"/>
                      <a:pt x="1" y="56"/>
                    </a:cubicBezTo>
                    <a:cubicBezTo>
                      <a:pt x="0" y="56"/>
                      <a:pt x="0" y="56"/>
                      <a:pt x="0" y="56"/>
                    </a:cubicBezTo>
                    <a:cubicBezTo>
                      <a:pt x="0" y="56"/>
                      <a:pt x="0" y="56"/>
                      <a:pt x="0" y="56"/>
                    </a:cubicBezTo>
                    <a:cubicBezTo>
                      <a:pt x="0" y="56"/>
                      <a:pt x="0" y="56"/>
                      <a:pt x="0" y="56"/>
                    </a:cubicBezTo>
                    <a:cubicBezTo>
                      <a:pt x="0" y="57"/>
                      <a:pt x="0" y="57"/>
                      <a:pt x="0" y="57"/>
                    </a:cubicBezTo>
                    <a:cubicBezTo>
                      <a:pt x="1" y="57"/>
                      <a:pt x="1" y="58"/>
                      <a:pt x="1" y="59"/>
                    </a:cubicBezTo>
                    <a:cubicBezTo>
                      <a:pt x="2" y="61"/>
                      <a:pt x="2" y="62"/>
                      <a:pt x="3" y="63"/>
                    </a:cubicBezTo>
                    <a:cubicBezTo>
                      <a:pt x="3" y="64"/>
                      <a:pt x="3" y="64"/>
                      <a:pt x="3" y="64"/>
                    </a:cubicBezTo>
                    <a:cubicBezTo>
                      <a:pt x="3" y="65"/>
                      <a:pt x="3" y="65"/>
                      <a:pt x="3" y="65"/>
                    </a:cubicBezTo>
                    <a:cubicBezTo>
                      <a:pt x="4" y="65"/>
                      <a:pt x="4" y="65"/>
                      <a:pt x="4" y="66"/>
                    </a:cubicBezTo>
                    <a:cubicBezTo>
                      <a:pt x="4" y="66"/>
                      <a:pt x="5" y="67"/>
                      <a:pt x="8" y="69"/>
                    </a:cubicBezTo>
                    <a:cubicBezTo>
                      <a:pt x="9" y="69"/>
                      <a:pt x="9" y="69"/>
                      <a:pt x="9" y="69"/>
                    </a:cubicBezTo>
                    <a:cubicBezTo>
                      <a:pt x="10" y="70"/>
                      <a:pt x="11" y="71"/>
                      <a:pt x="12" y="72"/>
                    </a:cubicBezTo>
                    <a:cubicBezTo>
                      <a:pt x="13" y="72"/>
                      <a:pt x="13" y="72"/>
                      <a:pt x="13" y="72"/>
                    </a:cubicBezTo>
                    <a:cubicBezTo>
                      <a:pt x="13" y="72"/>
                      <a:pt x="14" y="73"/>
                      <a:pt x="14" y="73"/>
                    </a:cubicBezTo>
                    <a:cubicBezTo>
                      <a:pt x="15" y="74"/>
                      <a:pt x="15" y="74"/>
                      <a:pt x="15" y="74"/>
                    </a:cubicBezTo>
                    <a:cubicBezTo>
                      <a:pt x="16" y="75"/>
                      <a:pt x="16" y="75"/>
                      <a:pt x="17" y="77"/>
                    </a:cubicBezTo>
                    <a:cubicBezTo>
                      <a:pt x="20" y="80"/>
                      <a:pt x="25" y="85"/>
                      <a:pt x="29" y="87"/>
                    </a:cubicBezTo>
                    <a:cubicBezTo>
                      <a:pt x="30" y="87"/>
                      <a:pt x="31" y="88"/>
                      <a:pt x="32" y="88"/>
                    </a:cubicBezTo>
                    <a:cubicBezTo>
                      <a:pt x="34" y="89"/>
                      <a:pt x="34" y="89"/>
                      <a:pt x="34" y="89"/>
                    </a:cubicBezTo>
                    <a:cubicBezTo>
                      <a:pt x="37" y="91"/>
                      <a:pt x="41" y="92"/>
                      <a:pt x="44" y="93"/>
                    </a:cubicBezTo>
                    <a:cubicBezTo>
                      <a:pt x="45" y="93"/>
                      <a:pt x="45" y="93"/>
                      <a:pt x="45" y="93"/>
                    </a:cubicBezTo>
                    <a:cubicBezTo>
                      <a:pt x="46" y="93"/>
                      <a:pt x="46" y="93"/>
                      <a:pt x="47" y="93"/>
                    </a:cubicBezTo>
                    <a:cubicBezTo>
                      <a:pt x="48" y="93"/>
                      <a:pt x="48" y="93"/>
                      <a:pt x="48" y="93"/>
                    </a:cubicBezTo>
                    <a:cubicBezTo>
                      <a:pt x="49" y="93"/>
                      <a:pt x="50" y="94"/>
                      <a:pt x="52" y="94"/>
                    </a:cubicBezTo>
                    <a:cubicBezTo>
                      <a:pt x="52" y="94"/>
                      <a:pt x="52" y="94"/>
                      <a:pt x="53" y="94"/>
                    </a:cubicBezTo>
                    <a:cubicBezTo>
                      <a:pt x="53" y="94"/>
                      <a:pt x="54" y="94"/>
                      <a:pt x="54" y="94"/>
                    </a:cubicBezTo>
                    <a:cubicBezTo>
                      <a:pt x="56" y="93"/>
                      <a:pt x="57" y="93"/>
                      <a:pt x="57" y="93"/>
                    </a:cubicBezTo>
                    <a:cubicBezTo>
                      <a:pt x="58" y="93"/>
                      <a:pt x="58" y="93"/>
                      <a:pt x="58" y="93"/>
                    </a:cubicBezTo>
                    <a:cubicBezTo>
                      <a:pt x="58" y="93"/>
                      <a:pt x="58" y="93"/>
                      <a:pt x="58" y="93"/>
                    </a:cubicBezTo>
                    <a:cubicBezTo>
                      <a:pt x="59" y="92"/>
                      <a:pt x="60" y="92"/>
                      <a:pt x="61" y="92"/>
                    </a:cubicBezTo>
                    <a:cubicBezTo>
                      <a:pt x="62" y="91"/>
                      <a:pt x="63" y="91"/>
                      <a:pt x="64" y="90"/>
                    </a:cubicBezTo>
                    <a:cubicBezTo>
                      <a:pt x="65" y="90"/>
                      <a:pt x="65" y="90"/>
                      <a:pt x="65" y="90"/>
                    </a:cubicBezTo>
                    <a:cubicBezTo>
                      <a:pt x="67" y="89"/>
                      <a:pt x="68" y="88"/>
                      <a:pt x="70" y="88"/>
                    </a:cubicBezTo>
                    <a:cubicBezTo>
                      <a:pt x="87" y="75"/>
                      <a:pt x="87" y="75"/>
                      <a:pt x="87" y="75"/>
                    </a:cubicBezTo>
                    <a:cubicBezTo>
                      <a:pt x="80" y="84"/>
                      <a:pt x="80" y="84"/>
                      <a:pt x="80" y="84"/>
                    </a:cubicBezTo>
                    <a:cubicBezTo>
                      <a:pt x="94" y="79"/>
                      <a:pt x="94" y="79"/>
                      <a:pt x="94" y="79"/>
                    </a:cubicBezTo>
                    <a:cubicBezTo>
                      <a:pt x="95" y="79"/>
                      <a:pt x="95" y="79"/>
                      <a:pt x="95" y="79"/>
                    </a:cubicBezTo>
                    <a:cubicBezTo>
                      <a:pt x="100" y="79"/>
                      <a:pt x="100" y="79"/>
                      <a:pt x="100" y="79"/>
                    </a:cubicBezTo>
                    <a:cubicBezTo>
                      <a:pt x="102" y="79"/>
                      <a:pt x="102" y="79"/>
                      <a:pt x="102" y="79"/>
                    </a:cubicBezTo>
                    <a:cubicBezTo>
                      <a:pt x="103" y="79"/>
                      <a:pt x="104" y="80"/>
                      <a:pt x="105" y="80"/>
                    </a:cubicBezTo>
                    <a:cubicBezTo>
                      <a:pt x="106" y="80"/>
                      <a:pt x="106" y="80"/>
                      <a:pt x="106" y="80"/>
                    </a:cubicBezTo>
                    <a:cubicBezTo>
                      <a:pt x="107" y="80"/>
                      <a:pt x="108" y="81"/>
                      <a:pt x="110" y="81"/>
                    </a:cubicBezTo>
                    <a:cubicBezTo>
                      <a:pt x="111" y="81"/>
                      <a:pt x="111" y="81"/>
                      <a:pt x="111" y="81"/>
                    </a:cubicBezTo>
                    <a:cubicBezTo>
                      <a:pt x="117" y="80"/>
                      <a:pt x="117" y="80"/>
                      <a:pt x="117" y="80"/>
                    </a:cubicBezTo>
                    <a:cubicBezTo>
                      <a:pt x="118" y="80"/>
                      <a:pt x="119" y="80"/>
                      <a:pt x="120" y="80"/>
                    </a:cubicBezTo>
                    <a:cubicBezTo>
                      <a:pt x="120" y="80"/>
                      <a:pt x="121" y="80"/>
                      <a:pt x="122" y="79"/>
                    </a:cubicBezTo>
                    <a:cubicBezTo>
                      <a:pt x="122" y="78"/>
                      <a:pt x="122" y="77"/>
                      <a:pt x="123" y="76"/>
                    </a:cubicBezTo>
                    <a:cubicBezTo>
                      <a:pt x="124" y="76"/>
                      <a:pt x="124" y="76"/>
                      <a:pt x="124" y="76"/>
                    </a:cubicBezTo>
                    <a:cubicBezTo>
                      <a:pt x="126" y="75"/>
                      <a:pt x="127" y="75"/>
                      <a:pt x="129" y="75"/>
                    </a:cubicBezTo>
                    <a:cubicBezTo>
                      <a:pt x="130" y="75"/>
                      <a:pt x="132" y="75"/>
                      <a:pt x="133" y="75"/>
                    </a:cubicBezTo>
                    <a:cubicBezTo>
                      <a:pt x="134" y="75"/>
                      <a:pt x="135" y="74"/>
                      <a:pt x="137" y="72"/>
                    </a:cubicBezTo>
                    <a:cubicBezTo>
                      <a:pt x="138" y="70"/>
                      <a:pt x="139" y="67"/>
                      <a:pt x="141" y="64"/>
                    </a:cubicBezTo>
                    <a:cubicBezTo>
                      <a:pt x="142" y="63"/>
                      <a:pt x="142" y="61"/>
                      <a:pt x="143" y="59"/>
                    </a:cubicBezTo>
                    <a:cubicBezTo>
                      <a:pt x="144" y="56"/>
                      <a:pt x="145" y="53"/>
                      <a:pt x="147" y="51"/>
                    </a:cubicBezTo>
                    <a:cubicBezTo>
                      <a:pt x="147" y="50"/>
                      <a:pt x="147" y="50"/>
                      <a:pt x="147" y="49"/>
                    </a:cubicBezTo>
                    <a:cubicBezTo>
                      <a:pt x="148" y="49"/>
                      <a:pt x="148" y="49"/>
                      <a:pt x="148" y="49"/>
                    </a:cubicBezTo>
                    <a:cubicBezTo>
                      <a:pt x="150" y="45"/>
                      <a:pt x="153" y="41"/>
                      <a:pt x="155" y="37"/>
                    </a:cubicBezTo>
                    <a:cubicBezTo>
                      <a:pt x="157" y="34"/>
                      <a:pt x="159" y="31"/>
                      <a:pt x="162" y="29"/>
                    </a:cubicBezTo>
                    <a:cubicBezTo>
                      <a:pt x="162" y="29"/>
                      <a:pt x="163" y="28"/>
                      <a:pt x="165" y="27"/>
                    </a:cubicBezTo>
                    <a:cubicBezTo>
                      <a:pt x="166" y="27"/>
                      <a:pt x="166" y="27"/>
                      <a:pt x="167" y="26"/>
                    </a:cubicBezTo>
                    <a:cubicBezTo>
                      <a:pt x="178" y="19"/>
                      <a:pt x="178" y="19"/>
                      <a:pt x="178" y="19"/>
                    </a:cubicBezTo>
                    <a:cubicBezTo>
                      <a:pt x="178" y="18"/>
                      <a:pt x="177" y="18"/>
                      <a:pt x="177" y="18"/>
                    </a:cubicBezTo>
                    <a:cubicBezTo>
                      <a:pt x="177" y="17"/>
                      <a:pt x="176" y="17"/>
                      <a:pt x="176" y="17"/>
                    </a:cubicBezTo>
                    <a:cubicBezTo>
                      <a:pt x="175" y="16"/>
                      <a:pt x="175" y="15"/>
                      <a:pt x="174" y="15"/>
                    </a:cubicBezTo>
                    <a:cubicBezTo>
                      <a:pt x="173" y="14"/>
                      <a:pt x="173" y="14"/>
                      <a:pt x="173" y="14"/>
                    </a:cubicBezTo>
                    <a:cubicBezTo>
                      <a:pt x="172" y="13"/>
                      <a:pt x="172" y="13"/>
                      <a:pt x="171" y="12"/>
                    </a:cubicBezTo>
                    <a:cubicBezTo>
                      <a:pt x="171" y="12"/>
                      <a:pt x="170" y="11"/>
                      <a:pt x="169" y="11"/>
                    </a:cubicBezTo>
                    <a:cubicBezTo>
                      <a:pt x="170" y="9"/>
                      <a:pt x="170" y="9"/>
                      <a:pt x="170" y="9"/>
                    </a:cubicBezTo>
                    <a:cubicBezTo>
                      <a:pt x="169" y="11"/>
                      <a:pt x="169" y="11"/>
                      <a:pt x="169" y="11"/>
                    </a:cubicBezTo>
                    <a:cubicBezTo>
                      <a:pt x="167" y="9"/>
                      <a:pt x="165" y="8"/>
                      <a:pt x="163" y="6"/>
                    </a:cubicBezTo>
                    <a:cubicBezTo>
                      <a:pt x="162" y="6"/>
                      <a:pt x="162" y="6"/>
                      <a:pt x="162" y="6"/>
                    </a:cubicBezTo>
                    <a:cubicBezTo>
                      <a:pt x="162" y="6"/>
                      <a:pt x="162" y="6"/>
                      <a:pt x="162" y="6"/>
                    </a:cubicBezTo>
                    <a:cubicBezTo>
                      <a:pt x="160" y="7"/>
                      <a:pt x="158" y="8"/>
                      <a:pt x="155" y="8"/>
                    </a:cubicBezTo>
                    <a:cubicBezTo>
                      <a:pt x="155" y="8"/>
                      <a:pt x="155" y="8"/>
                      <a:pt x="155" y="8"/>
                    </a:cubicBezTo>
                    <a:cubicBezTo>
                      <a:pt x="155" y="8"/>
                      <a:pt x="154" y="8"/>
                      <a:pt x="154" y="8"/>
                    </a:cubicBezTo>
                    <a:cubicBezTo>
                      <a:pt x="153" y="8"/>
                      <a:pt x="153" y="8"/>
                      <a:pt x="153" y="8"/>
                    </a:cubicBezTo>
                    <a:cubicBezTo>
                      <a:pt x="152" y="8"/>
                      <a:pt x="151" y="8"/>
                      <a:pt x="150" y="7"/>
                    </a:cubicBezTo>
                    <a:cubicBezTo>
                      <a:pt x="148" y="6"/>
                      <a:pt x="147" y="4"/>
                      <a:pt x="145" y="2"/>
                    </a:cubicBezTo>
                    <a:cubicBezTo>
                      <a:pt x="144" y="1"/>
                      <a:pt x="144" y="1"/>
                      <a:pt x="144" y="1"/>
                    </a:cubicBezTo>
                    <a:cubicBezTo>
                      <a:pt x="144" y="1"/>
                      <a:pt x="143" y="1"/>
                      <a:pt x="143" y="0"/>
                    </a:cubicBezTo>
                    <a:cubicBezTo>
                      <a:pt x="142" y="0"/>
                      <a:pt x="142" y="0"/>
                      <a:pt x="142" y="0"/>
                    </a:cubicBezTo>
                    <a:cubicBezTo>
                      <a:pt x="141" y="0"/>
                      <a:pt x="140" y="0"/>
                      <a:pt x="139" y="0"/>
                    </a:cubicBezTo>
                    <a:cubicBezTo>
                      <a:pt x="137" y="0"/>
                      <a:pt x="137" y="0"/>
                      <a:pt x="137" y="0"/>
                    </a:cubicBezTo>
                    <a:cubicBezTo>
                      <a:pt x="134" y="0"/>
                      <a:pt x="134" y="0"/>
                      <a:pt x="134" y="0"/>
                    </a:cubicBezTo>
                    <a:cubicBezTo>
                      <a:pt x="132" y="0"/>
                      <a:pt x="131" y="0"/>
                      <a:pt x="1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306"/>
              <p:cNvSpPr/>
              <p:nvPr/>
            </p:nvSpPr>
            <p:spPr bwMode="auto">
              <a:xfrm>
                <a:off x="5888815" y="4060998"/>
                <a:ext cx="482750" cy="184256"/>
              </a:xfrm>
              <a:custGeom>
                <a:gdLst>
                  <a:gd name="T0" fmla="*/ 62 w 152"/>
                  <a:gd name="T1" fmla="*/ 4 h 58"/>
                  <a:gd name="T2" fmla="*/ 60 w 152"/>
                  <a:gd name="T3" fmla="*/ 4 h 58"/>
                  <a:gd name="T4" fmla="*/ 57 w 152"/>
                  <a:gd name="T5" fmla="*/ 3 h 58"/>
                  <a:gd name="T6" fmla="*/ 53 w 152"/>
                  <a:gd name="T7" fmla="*/ 1 h 58"/>
                  <a:gd name="T8" fmla="*/ 53 w 152"/>
                  <a:gd name="T9" fmla="*/ 1 h 58"/>
                  <a:gd name="T10" fmla="*/ 47 w 152"/>
                  <a:gd name="T11" fmla="*/ 3 h 58"/>
                  <a:gd name="T12" fmla="*/ 37 w 152"/>
                  <a:gd name="T13" fmla="*/ 9 h 58"/>
                  <a:gd name="T14" fmla="*/ 35 w 152"/>
                  <a:gd name="T15" fmla="*/ 12 h 58"/>
                  <a:gd name="T16" fmla="*/ 26 w 152"/>
                  <a:gd name="T17" fmla="*/ 22 h 58"/>
                  <a:gd name="T18" fmla="*/ 13 w 152"/>
                  <a:gd name="T19" fmla="*/ 25 h 58"/>
                  <a:gd name="T20" fmla="*/ 8 w 152"/>
                  <a:gd name="T21" fmla="*/ 24 h 58"/>
                  <a:gd name="T22" fmla="*/ 7 w 152"/>
                  <a:gd name="T23" fmla="*/ 24 h 58"/>
                  <a:gd name="T24" fmla="*/ 3 w 152"/>
                  <a:gd name="T25" fmla="*/ 30 h 58"/>
                  <a:gd name="T26" fmla="*/ 3 w 152"/>
                  <a:gd name="T27" fmla="*/ 39 h 58"/>
                  <a:gd name="T28" fmla="*/ 0 w 152"/>
                  <a:gd name="T29" fmla="*/ 38 h 58"/>
                  <a:gd name="T30" fmla="*/ 0 w 152"/>
                  <a:gd name="T31" fmla="*/ 38 h 58"/>
                  <a:gd name="T32" fmla="*/ 3 w 152"/>
                  <a:gd name="T33" fmla="*/ 43 h 58"/>
                  <a:gd name="T34" fmla="*/ 6 w 152"/>
                  <a:gd name="T35" fmla="*/ 47 h 58"/>
                  <a:gd name="T36" fmla="*/ 6 w 152"/>
                  <a:gd name="T37" fmla="*/ 48 h 58"/>
                  <a:gd name="T38" fmla="*/ 9 w 152"/>
                  <a:gd name="T39" fmla="*/ 48 h 58"/>
                  <a:gd name="T40" fmla="*/ 13 w 152"/>
                  <a:gd name="T41" fmla="*/ 51 h 58"/>
                  <a:gd name="T42" fmla="*/ 23 w 152"/>
                  <a:gd name="T43" fmla="*/ 57 h 58"/>
                  <a:gd name="T44" fmla="*/ 29 w 152"/>
                  <a:gd name="T45" fmla="*/ 58 h 58"/>
                  <a:gd name="T46" fmla="*/ 48 w 152"/>
                  <a:gd name="T47" fmla="*/ 56 h 58"/>
                  <a:gd name="T48" fmla="*/ 51 w 152"/>
                  <a:gd name="T49" fmla="*/ 50 h 58"/>
                  <a:gd name="T50" fmla="*/ 63 w 152"/>
                  <a:gd name="T51" fmla="*/ 44 h 58"/>
                  <a:gd name="T52" fmla="*/ 76 w 152"/>
                  <a:gd name="T53" fmla="*/ 42 h 58"/>
                  <a:gd name="T54" fmla="*/ 78 w 152"/>
                  <a:gd name="T55" fmla="*/ 42 h 58"/>
                  <a:gd name="T56" fmla="*/ 82 w 152"/>
                  <a:gd name="T57" fmla="*/ 43 h 58"/>
                  <a:gd name="T58" fmla="*/ 85 w 152"/>
                  <a:gd name="T59" fmla="*/ 42 h 58"/>
                  <a:gd name="T60" fmla="*/ 91 w 152"/>
                  <a:gd name="T61" fmla="*/ 38 h 58"/>
                  <a:gd name="T62" fmla="*/ 106 w 152"/>
                  <a:gd name="T63" fmla="*/ 29 h 58"/>
                  <a:gd name="T64" fmla="*/ 118 w 152"/>
                  <a:gd name="T65" fmla="*/ 28 h 58"/>
                  <a:gd name="T66" fmla="*/ 121 w 152"/>
                  <a:gd name="T67" fmla="*/ 28 h 58"/>
                  <a:gd name="T68" fmla="*/ 127 w 152"/>
                  <a:gd name="T69" fmla="*/ 29 h 58"/>
                  <a:gd name="T70" fmla="*/ 134 w 152"/>
                  <a:gd name="T71" fmla="*/ 33 h 58"/>
                  <a:gd name="T72" fmla="*/ 138 w 152"/>
                  <a:gd name="T73" fmla="*/ 36 h 58"/>
                  <a:gd name="T74" fmla="*/ 143 w 152"/>
                  <a:gd name="T75" fmla="*/ 34 h 58"/>
                  <a:gd name="T76" fmla="*/ 144 w 152"/>
                  <a:gd name="T77" fmla="*/ 30 h 58"/>
                  <a:gd name="T78" fmla="*/ 136 w 152"/>
                  <a:gd name="T79" fmla="*/ 35 h 58"/>
                  <a:gd name="T80" fmla="*/ 150 w 152"/>
                  <a:gd name="T81" fmla="*/ 14 h 58"/>
                  <a:gd name="T82" fmla="*/ 148 w 152"/>
                  <a:gd name="T83" fmla="*/ 14 h 58"/>
                  <a:gd name="T84" fmla="*/ 138 w 152"/>
                  <a:gd name="T85" fmla="*/ 8 h 58"/>
                  <a:gd name="T86" fmla="*/ 120 w 152"/>
                  <a:gd name="T87" fmla="*/ 6 h 58"/>
                  <a:gd name="T88" fmla="*/ 112 w 152"/>
                  <a:gd name="T89" fmla="*/ 8 h 58"/>
                  <a:gd name="T90" fmla="*/ 103 w 152"/>
                  <a:gd name="T91" fmla="*/ 6 h 58"/>
                  <a:gd name="T92" fmla="*/ 99 w 152"/>
                  <a:gd name="T93" fmla="*/ 5 h 58"/>
                  <a:gd name="T94" fmla="*/ 96 w 152"/>
                  <a:gd name="T95" fmla="*/ 6 h 58"/>
                  <a:gd name="T96" fmla="*/ 90 w 152"/>
                  <a:gd name="T97" fmla="*/ 8 h 58"/>
                  <a:gd name="T98" fmla="*/ 82 w 152"/>
                  <a:gd name="T99" fmla="*/ 12 h 58"/>
                  <a:gd name="T100" fmla="*/ 81 w 152"/>
                  <a:gd name="T101" fmla="*/ 12 h 58"/>
                  <a:gd name="T102" fmla="*/ 79 w 152"/>
                  <a:gd name="T103" fmla="*/ 12 h 58"/>
                  <a:gd name="T104" fmla="*/ 77 w 152"/>
                  <a:gd name="T105" fmla="*/ 11 h 58"/>
                  <a:gd name="T106" fmla="*/ 76 w 152"/>
                  <a:gd name="T107" fmla="*/ 9 h 58"/>
                  <a:gd name="T108" fmla="*/ 76 w 152"/>
                  <a:gd name="T109" fmla="*/ 4 h 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57">
                    <a:moveTo>
                      <a:pt x="71" y="0"/>
                    </a:moveTo>
                    <a:cubicBezTo>
                      <a:pt x="68" y="1"/>
                      <a:pt x="65" y="3"/>
                      <a:pt x="62" y="4"/>
                    </a:cubicBezTo>
                    <a:cubicBezTo>
                      <a:pt x="62" y="4"/>
                      <a:pt x="61" y="4"/>
                      <a:pt x="61" y="4"/>
                    </a:cubicBezTo>
                    <a:cubicBezTo>
                      <a:pt x="60" y="4"/>
                      <a:pt x="60" y="4"/>
                      <a:pt x="60" y="4"/>
                    </a:cubicBezTo>
                    <a:cubicBezTo>
                      <a:pt x="59" y="4"/>
                      <a:pt x="58" y="4"/>
                      <a:pt x="57" y="3"/>
                    </a:cubicBezTo>
                    <a:cubicBezTo>
                      <a:pt x="57" y="3"/>
                      <a:pt x="57" y="3"/>
                      <a:pt x="57" y="3"/>
                    </a:cubicBezTo>
                    <a:cubicBezTo>
                      <a:pt x="56" y="3"/>
                      <a:pt x="55" y="2"/>
                      <a:pt x="55" y="2"/>
                    </a:cubicBezTo>
                    <a:cubicBezTo>
                      <a:pt x="54" y="1"/>
                      <a:pt x="54" y="1"/>
                      <a:pt x="53" y="1"/>
                    </a:cubicBezTo>
                    <a:cubicBezTo>
                      <a:pt x="53" y="1"/>
                      <a:pt x="53" y="1"/>
                      <a:pt x="53" y="1"/>
                    </a:cubicBezTo>
                    <a:cubicBezTo>
                      <a:pt x="53" y="1"/>
                      <a:pt x="53" y="1"/>
                      <a:pt x="53" y="1"/>
                    </a:cubicBezTo>
                    <a:cubicBezTo>
                      <a:pt x="51" y="1"/>
                      <a:pt x="49" y="2"/>
                      <a:pt x="48" y="3"/>
                    </a:cubicBezTo>
                    <a:cubicBezTo>
                      <a:pt x="47" y="3"/>
                      <a:pt x="47" y="3"/>
                      <a:pt x="47" y="3"/>
                    </a:cubicBezTo>
                    <a:cubicBezTo>
                      <a:pt x="44" y="4"/>
                      <a:pt x="39" y="6"/>
                      <a:pt x="38" y="8"/>
                    </a:cubicBezTo>
                    <a:cubicBezTo>
                      <a:pt x="37" y="9"/>
                      <a:pt x="37" y="9"/>
                      <a:pt x="37" y="9"/>
                    </a:cubicBezTo>
                    <a:cubicBezTo>
                      <a:pt x="36" y="10"/>
                      <a:pt x="36" y="10"/>
                      <a:pt x="35" y="11"/>
                    </a:cubicBezTo>
                    <a:cubicBezTo>
                      <a:pt x="35" y="12"/>
                      <a:pt x="35" y="12"/>
                      <a:pt x="35" y="12"/>
                    </a:cubicBezTo>
                    <a:cubicBezTo>
                      <a:pt x="35" y="13"/>
                      <a:pt x="35" y="14"/>
                      <a:pt x="34" y="15"/>
                    </a:cubicBezTo>
                    <a:cubicBezTo>
                      <a:pt x="33" y="18"/>
                      <a:pt x="29" y="20"/>
                      <a:pt x="26" y="22"/>
                    </a:cubicBezTo>
                    <a:cubicBezTo>
                      <a:pt x="22" y="24"/>
                      <a:pt x="18" y="25"/>
                      <a:pt x="14" y="25"/>
                    </a:cubicBezTo>
                    <a:cubicBezTo>
                      <a:pt x="13" y="25"/>
                      <a:pt x="13" y="25"/>
                      <a:pt x="13" y="25"/>
                    </a:cubicBezTo>
                    <a:cubicBezTo>
                      <a:pt x="13" y="25"/>
                      <a:pt x="13" y="25"/>
                      <a:pt x="13" y="25"/>
                    </a:cubicBezTo>
                    <a:cubicBezTo>
                      <a:pt x="11" y="25"/>
                      <a:pt x="10" y="25"/>
                      <a:pt x="8" y="24"/>
                    </a:cubicBezTo>
                    <a:cubicBezTo>
                      <a:pt x="8" y="24"/>
                      <a:pt x="8" y="24"/>
                      <a:pt x="8" y="24"/>
                    </a:cubicBezTo>
                    <a:cubicBezTo>
                      <a:pt x="7" y="24"/>
                      <a:pt x="7" y="24"/>
                      <a:pt x="7" y="24"/>
                    </a:cubicBezTo>
                    <a:cubicBezTo>
                      <a:pt x="6" y="25"/>
                      <a:pt x="6" y="25"/>
                      <a:pt x="6" y="25"/>
                    </a:cubicBezTo>
                    <a:cubicBezTo>
                      <a:pt x="4" y="27"/>
                      <a:pt x="3" y="29"/>
                      <a:pt x="3" y="30"/>
                    </a:cubicBezTo>
                    <a:cubicBezTo>
                      <a:pt x="2" y="30"/>
                      <a:pt x="2" y="30"/>
                      <a:pt x="2" y="30"/>
                    </a:cubicBezTo>
                    <a:cubicBezTo>
                      <a:pt x="3" y="39"/>
                      <a:pt x="3" y="39"/>
                      <a:pt x="3" y="39"/>
                    </a:cubicBezTo>
                    <a:cubicBezTo>
                      <a:pt x="1" y="36"/>
                      <a:pt x="1" y="36"/>
                      <a:pt x="1" y="36"/>
                    </a:cubicBezTo>
                    <a:cubicBezTo>
                      <a:pt x="0" y="37"/>
                      <a:pt x="0" y="37"/>
                      <a:pt x="0" y="38"/>
                    </a:cubicBezTo>
                    <a:cubicBezTo>
                      <a:pt x="0" y="38"/>
                      <a:pt x="0" y="38"/>
                      <a:pt x="0" y="38"/>
                    </a:cubicBezTo>
                    <a:cubicBezTo>
                      <a:pt x="0" y="38"/>
                      <a:pt x="0" y="38"/>
                      <a:pt x="0" y="38"/>
                    </a:cubicBezTo>
                    <a:cubicBezTo>
                      <a:pt x="0" y="39"/>
                      <a:pt x="1" y="39"/>
                      <a:pt x="1" y="40"/>
                    </a:cubicBezTo>
                    <a:cubicBezTo>
                      <a:pt x="2" y="41"/>
                      <a:pt x="3" y="42"/>
                      <a:pt x="3" y="43"/>
                    </a:cubicBezTo>
                    <a:cubicBezTo>
                      <a:pt x="4" y="44"/>
                      <a:pt x="5" y="45"/>
                      <a:pt x="5" y="46"/>
                    </a:cubicBezTo>
                    <a:cubicBezTo>
                      <a:pt x="6" y="47"/>
                      <a:pt x="6" y="47"/>
                      <a:pt x="6" y="47"/>
                    </a:cubicBezTo>
                    <a:cubicBezTo>
                      <a:pt x="6" y="48"/>
                      <a:pt x="6" y="48"/>
                      <a:pt x="6" y="48"/>
                    </a:cubicBezTo>
                    <a:cubicBezTo>
                      <a:pt x="6" y="48"/>
                      <a:pt x="6" y="48"/>
                      <a:pt x="6" y="48"/>
                    </a:cubicBezTo>
                    <a:cubicBezTo>
                      <a:pt x="8" y="48"/>
                      <a:pt x="8" y="48"/>
                      <a:pt x="8" y="48"/>
                    </a:cubicBezTo>
                    <a:cubicBezTo>
                      <a:pt x="8" y="48"/>
                      <a:pt x="9" y="48"/>
                      <a:pt x="9" y="48"/>
                    </a:cubicBezTo>
                    <a:cubicBezTo>
                      <a:pt x="10" y="48"/>
                      <a:pt x="10" y="48"/>
                      <a:pt x="10" y="48"/>
                    </a:cubicBezTo>
                    <a:cubicBezTo>
                      <a:pt x="11" y="49"/>
                      <a:pt x="12" y="50"/>
                      <a:pt x="13" y="51"/>
                    </a:cubicBezTo>
                    <a:cubicBezTo>
                      <a:pt x="14" y="51"/>
                      <a:pt x="14" y="51"/>
                      <a:pt x="14" y="51"/>
                    </a:cubicBezTo>
                    <a:cubicBezTo>
                      <a:pt x="17" y="54"/>
                      <a:pt x="20" y="56"/>
                      <a:pt x="23" y="57"/>
                    </a:cubicBezTo>
                    <a:cubicBezTo>
                      <a:pt x="24" y="58"/>
                      <a:pt x="25" y="58"/>
                      <a:pt x="26" y="58"/>
                    </a:cubicBezTo>
                    <a:cubicBezTo>
                      <a:pt x="27" y="58"/>
                      <a:pt x="28" y="58"/>
                      <a:pt x="29" y="58"/>
                    </a:cubicBezTo>
                    <a:cubicBezTo>
                      <a:pt x="35" y="58"/>
                      <a:pt x="41" y="57"/>
                      <a:pt x="46" y="56"/>
                    </a:cubicBezTo>
                    <a:cubicBezTo>
                      <a:pt x="47" y="56"/>
                      <a:pt x="48" y="56"/>
                      <a:pt x="48" y="56"/>
                    </a:cubicBezTo>
                    <a:cubicBezTo>
                      <a:pt x="48" y="55"/>
                      <a:pt x="48" y="53"/>
                      <a:pt x="49" y="52"/>
                    </a:cubicBezTo>
                    <a:cubicBezTo>
                      <a:pt x="49" y="51"/>
                      <a:pt x="50" y="50"/>
                      <a:pt x="51" y="50"/>
                    </a:cubicBezTo>
                    <a:cubicBezTo>
                      <a:pt x="53" y="48"/>
                      <a:pt x="55" y="47"/>
                      <a:pt x="58" y="46"/>
                    </a:cubicBezTo>
                    <a:cubicBezTo>
                      <a:pt x="63" y="44"/>
                      <a:pt x="63" y="44"/>
                      <a:pt x="63" y="44"/>
                    </a:cubicBezTo>
                    <a:cubicBezTo>
                      <a:pt x="66" y="43"/>
                      <a:pt x="70" y="42"/>
                      <a:pt x="74" y="42"/>
                    </a:cubicBezTo>
                    <a:cubicBezTo>
                      <a:pt x="74" y="42"/>
                      <a:pt x="75" y="42"/>
                      <a:pt x="76" y="42"/>
                    </a:cubicBezTo>
                    <a:cubicBezTo>
                      <a:pt x="77" y="42"/>
                      <a:pt x="77" y="42"/>
                      <a:pt x="77" y="42"/>
                    </a:cubicBezTo>
                    <a:cubicBezTo>
                      <a:pt x="77" y="42"/>
                      <a:pt x="78" y="42"/>
                      <a:pt x="78" y="42"/>
                    </a:cubicBezTo>
                    <a:cubicBezTo>
                      <a:pt x="79" y="42"/>
                      <a:pt x="80" y="42"/>
                      <a:pt x="80" y="42"/>
                    </a:cubicBezTo>
                    <a:cubicBezTo>
                      <a:pt x="81" y="43"/>
                      <a:pt x="82" y="43"/>
                      <a:pt x="82" y="43"/>
                    </a:cubicBezTo>
                    <a:cubicBezTo>
                      <a:pt x="82" y="43"/>
                      <a:pt x="83" y="43"/>
                      <a:pt x="83" y="43"/>
                    </a:cubicBezTo>
                    <a:cubicBezTo>
                      <a:pt x="84" y="43"/>
                      <a:pt x="84" y="42"/>
                      <a:pt x="85" y="42"/>
                    </a:cubicBezTo>
                    <a:cubicBezTo>
                      <a:pt x="87" y="41"/>
                      <a:pt x="88" y="41"/>
                      <a:pt x="90" y="39"/>
                    </a:cubicBezTo>
                    <a:cubicBezTo>
                      <a:pt x="91" y="38"/>
                      <a:pt x="91" y="38"/>
                      <a:pt x="91" y="38"/>
                    </a:cubicBezTo>
                    <a:cubicBezTo>
                      <a:pt x="96" y="34"/>
                      <a:pt x="100" y="31"/>
                      <a:pt x="105" y="29"/>
                    </a:cubicBezTo>
                    <a:cubicBezTo>
                      <a:pt x="106" y="29"/>
                      <a:pt x="106" y="29"/>
                      <a:pt x="106" y="29"/>
                    </a:cubicBezTo>
                    <a:cubicBezTo>
                      <a:pt x="108" y="28"/>
                      <a:pt x="110" y="28"/>
                      <a:pt x="112" y="28"/>
                    </a:cubicBezTo>
                    <a:cubicBezTo>
                      <a:pt x="114" y="28"/>
                      <a:pt x="116" y="28"/>
                      <a:pt x="118" y="28"/>
                    </a:cubicBezTo>
                    <a:cubicBezTo>
                      <a:pt x="120" y="28"/>
                      <a:pt x="120" y="28"/>
                      <a:pt x="120" y="28"/>
                    </a:cubicBezTo>
                    <a:cubicBezTo>
                      <a:pt x="121" y="28"/>
                      <a:pt x="121" y="28"/>
                      <a:pt x="121" y="28"/>
                    </a:cubicBezTo>
                    <a:cubicBezTo>
                      <a:pt x="122" y="28"/>
                      <a:pt x="123" y="28"/>
                      <a:pt x="124" y="28"/>
                    </a:cubicBezTo>
                    <a:cubicBezTo>
                      <a:pt x="125" y="28"/>
                      <a:pt x="126" y="28"/>
                      <a:pt x="127" y="29"/>
                    </a:cubicBezTo>
                    <a:cubicBezTo>
                      <a:pt x="130" y="29"/>
                      <a:pt x="131" y="30"/>
                      <a:pt x="132" y="31"/>
                    </a:cubicBezTo>
                    <a:cubicBezTo>
                      <a:pt x="134" y="33"/>
                      <a:pt x="134" y="33"/>
                      <a:pt x="134" y="33"/>
                    </a:cubicBezTo>
                    <a:cubicBezTo>
                      <a:pt x="135" y="35"/>
                      <a:pt x="136" y="36"/>
                      <a:pt x="136" y="36"/>
                    </a:cubicBezTo>
                    <a:cubicBezTo>
                      <a:pt x="138" y="36"/>
                      <a:pt x="138" y="36"/>
                      <a:pt x="138" y="36"/>
                    </a:cubicBezTo>
                    <a:cubicBezTo>
                      <a:pt x="139" y="36"/>
                      <a:pt x="141" y="35"/>
                      <a:pt x="142" y="35"/>
                    </a:cubicBezTo>
                    <a:cubicBezTo>
                      <a:pt x="143" y="34"/>
                      <a:pt x="143" y="34"/>
                      <a:pt x="143" y="34"/>
                    </a:cubicBezTo>
                    <a:cubicBezTo>
                      <a:pt x="144" y="34"/>
                      <a:pt x="144" y="34"/>
                      <a:pt x="144" y="34"/>
                    </a:cubicBezTo>
                    <a:cubicBezTo>
                      <a:pt x="144" y="32"/>
                      <a:pt x="144" y="31"/>
                      <a:pt x="144" y="30"/>
                    </a:cubicBezTo>
                    <a:cubicBezTo>
                      <a:pt x="145" y="29"/>
                      <a:pt x="145" y="29"/>
                      <a:pt x="145" y="28"/>
                    </a:cubicBezTo>
                    <a:cubicBezTo>
                      <a:pt x="136" y="35"/>
                      <a:pt x="136" y="35"/>
                      <a:pt x="136" y="35"/>
                    </a:cubicBezTo>
                    <a:cubicBezTo>
                      <a:pt x="152" y="15"/>
                      <a:pt x="152" y="15"/>
                      <a:pt x="152" y="15"/>
                    </a:cubicBezTo>
                    <a:cubicBezTo>
                      <a:pt x="152" y="15"/>
                      <a:pt x="151" y="14"/>
                      <a:pt x="150" y="14"/>
                    </a:cubicBezTo>
                    <a:cubicBezTo>
                      <a:pt x="150" y="14"/>
                      <a:pt x="150" y="14"/>
                      <a:pt x="150" y="14"/>
                    </a:cubicBezTo>
                    <a:cubicBezTo>
                      <a:pt x="149" y="14"/>
                      <a:pt x="149" y="14"/>
                      <a:pt x="148" y="14"/>
                    </a:cubicBezTo>
                    <a:cubicBezTo>
                      <a:pt x="146" y="13"/>
                      <a:pt x="144" y="12"/>
                      <a:pt x="143" y="11"/>
                    </a:cubicBezTo>
                    <a:cubicBezTo>
                      <a:pt x="141" y="10"/>
                      <a:pt x="140" y="9"/>
                      <a:pt x="138" y="8"/>
                    </a:cubicBezTo>
                    <a:cubicBezTo>
                      <a:pt x="135" y="6"/>
                      <a:pt x="131" y="4"/>
                      <a:pt x="127" y="4"/>
                    </a:cubicBezTo>
                    <a:cubicBezTo>
                      <a:pt x="125" y="4"/>
                      <a:pt x="123" y="5"/>
                      <a:pt x="120" y="6"/>
                    </a:cubicBezTo>
                    <a:cubicBezTo>
                      <a:pt x="116" y="7"/>
                      <a:pt x="116" y="7"/>
                      <a:pt x="116" y="7"/>
                    </a:cubicBezTo>
                    <a:cubicBezTo>
                      <a:pt x="115" y="8"/>
                      <a:pt x="113" y="8"/>
                      <a:pt x="112" y="8"/>
                    </a:cubicBezTo>
                    <a:cubicBezTo>
                      <a:pt x="110" y="8"/>
                      <a:pt x="107" y="7"/>
                      <a:pt x="104" y="6"/>
                    </a:cubicBezTo>
                    <a:cubicBezTo>
                      <a:pt x="103" y="6"/>
                      <a:pt x="103" y="6"/>
                      <a:pt x="103" y="6"/>
                    </a:cubicBezTo>
                    <a:cubicBezTo>
                      <a:pt x="102" y="6"/>
                      <a:pt x="101" y="6"/>
                      <a:pt x="101" y="5"/>
                    </a:cubicBezTo>
                    <a:cubicBezTo>
                      <a:pt x="100" y="5"/>
                      <a:pt x="100" y="5"/>
                      <a:pt x="99" y="5"/>
                    </a:cubicBezTo>
                    <a:cubicBezTo>
                      <a:pt x="99" y="5"/>
                      <a:pt x="98" y="5"/>
                      <a:pt x="98" y="5"/>
                    </a:cubicBezTo>
                    <a:cubicBezTo>
                      <a:pt x="97" y="5"/>
                      <a:pt x="97" y="6"/>
                      <a:pt x="96" y="6"/>
                    </a:cubicBezTo>
                    <a:cubicBezTo>
                      <a:pt x="94" y="7"/>
                      <a:pt x="92" y="7"/>
                      <a:pt x="91" y="8"/>
                    </a:cubicBezTo>
                    <a:cubicBezTo>
                      <a:pt x="90" y="8"/>
                      <a:pt x="90" y="8"/>
                      <a:pt x="90" y="8"/>
                    </a:cubicBezTo>
                    <a:cubicBezTo>
                      <a:pt x="88" y="10"/>
                      <a:pt x="86" y="11"/>
                      <a:pt x="84" y="11"/>
                    </a:cubicBezTo>
                    <a:cubicBezTo>
                      <a:pt x="83" y="12"/>
                      <a:pt x="83" y="12"/>
                      <a:pt x="82" y="12"/>
                    </a:cubicBezTo>
                    <a:cubicBezTo>
                      <a:pt x="82" y="12"/>
                      <a:pt x="82" y="12"/>
                      <a:pt x="82" y="12"/>
                    </a:cubicBezTo>
                    <a:cubicBezTo>
                      <a:pt x="81" y="12"/>
                      <a:pt x="81" y="12"/>
                      <a:pt x="81" y="12"/>
                    </a:cubicBezTo>
                    <a:cubicBezTo>
                      <a:pt x="80" y="12"/>
                      <a:pt x="80" y="12"/>
                      <a:pt x="79" y="12"/>
                    </a:cubicBezTo>
                    <a:cubicBezTo>
                      <a:pt x="79" y="12"/>
                      <a:pt x="79" y="12"/>
                      <a:pt x="79" y="12"/>
                    </a:cubicBezTo>
                    <a:cubicBezTo>
                      <a:pt x="78" y="11"/>
                      <a:pt x="78" y="11"/>
                      <a:pt x="78" y="11"/>
                    </a:cubicBezTo>
                    <a:cubicBezTo>
                      <a:pt x="77" y="11"/>
                      <a:pt x="77" y="11"/>
                      <a:pt x="77" y="11"/>
                    </a:cubicBezTo>
                    <a:cubicBezTo>
                      <a:pt x="74" y="12"/>
                      <a:pt x="74" y="12"/>
                      <a:pt x="74" y="12"/>
                    </a:cubicBezTo>
                    <a:cubicBezTo>
                      <a:pt x="76" y="9"/>
                      <a:pt x="76" y="9"/>
                      <a:pt x="76" y="9"/>
                    </a:cubicBezTo>
                    <a:cubicBezTo>
                      <a:pt x="76" y="9"/>
                      <a:pt x="76" y="8"/>
                      <a:pt x="76" y="8"/>
                    </a:cubicBezTo>
                    <a:cubicBezTo>
                      <a:pt x="75" y="7"/>
                      <a:pt x="75" y="5"/>
                      <a:pt x="76" y="4"/>
                    </a:cubicBezTo>
                    <a:cubicBezTo>
                      <a:pt x="73" y="3"/>
                      <a:pt x="72" y="1"/>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307"/>
              <p:cNvSpPr/>
              <p:nvPr/>
            </p:nvSpPr>
            <p:spPr bwMode="auto">
              <a:xfrm>
                <a:off x="5601376" y="3405048"/>
                <a:ext cx="917594" cy="685432"/>
              </a:xfrm>
              <a:custGeom>
                <a:gdLst>
                  <a:gd name="T0" fmla="*/ 69 w 290"/>
                  <a:gd name="T1" fmla="*/ 22 h 215"/>
                  <a:gd name="T2" fmla="*/ 6 w 290"/>
                  <a:gd name="T3" fmla="*/ 31 h 215"/>
                  <a:gd name="T4" fmla="*/ 6 w 290"/>
                  <a:gd name="T5" fmla="*/ 39 h 215"/>
                  <a:gd name="T6" fmla="*/ 11 w 290"/>
                  <a:gd name="T7" fmla="*/ 38 h 215"/>
                  <a:gd name="T8" fmla="*/ 23 w 290"/>
                  <a:gd name="T9" fmla="*/ 48 h 215"/>
                  <a:gd name="T10" fmla="*/ 19 w 290"/>
                  <a:gd name="T11" fmla="*/ 51 h 215"/>
                  <a:gd name="T12" fmla="*/ 15 w 290"/>
                  <a:gd name="T13" fmla="*/ 74 h 215"/>
                  <a:gd name="T14" fmla="*/ 23 w 290"/>
                  <a:gd name="T15" fmla="*/ 82 h 215"/>
                  <a:gd name="T16" fmla="*/ 25 w 290"/>
                  <a:gd name="T17" fmla="*/ 95 h 215"/>
                  <a:gd name="T18" fmla="*/ 30 w 290"/>
                  <a:gd name="T19" fmla="*/ 103 h 215"/>
                  <a:gd name="T20" fmla="*/ 29 w 290"/>
                  <a:gd name="T21" fmla="*/ 121 h 215"/>
                  <a:gd name="T22" fmla="*/ 31 w 290"/>
                  <a:gd name="T23" fmla="*/ 126 h 215"/>
                  <a:gd name="T24" fmla="*/ 39 w 290"/>
                  <a:gd name="T25" fmla="*/ 138 h 215"/>
                  <a:gd name="T26" fmla="*/ 39 w 290"/>
                  <a:gd name="T27" fmla="*/ 144 h 215"/>
                  <a:gd name="T28" fmla="*/ 48 w 290"/>
                  <a:gd name="T29" fmla="*/ 152 h 215"/>
                  <a:gd name="T30" fmla="*/ 66 w 290"/>
                  <a:gd name="T31" fmla="*/ 157 h 215"/>
                  <a:gd name="T32" fmla="*/ 74 w 290"/>
                  <a:gd name="T33" fmla="*/ 157 h 215"/>
                  <a:gd name="T34" fmla="*/ 75 w 290"/>
                  <a:gd name="T35" fmla="*/ 170 h 215"/>
                  <a:gd name="T36" fmla="*/ 82 w 290"/>
                  <a:gd name="T37" fmla="*/ 176 h 215"/>
                  <a:gd name="T38" fmla="*/ 87 w 290"/>
                  <a:gd name="T39" fmla="*/ 173 h 215"/>
                  <a:gd name="T40" fmla="*/ 96 w 290"/>
                  <a:gd name="T41" fmla="*/ 167 h 215"/>
                  <a:gd name="T42" fmla="*/ 101 w 290"/>
                  <a:gd name="T43" fmla="*/ 168 h 215"/>
                  <a:gd name="T44" fmla="*/ 114 w 290"/>
                  <a:gd name="T45" fmla="*/ 161 h 215"/>
                  <a:gd name="T46" fmla="*/ 116 w 290"/>
                  <a:gd name="T47" fmla="*/ 182 h 215"/>
                  <a:gd name="T48" fmla="*/ 126 w 290"/>
                  <a:gd name="T49" fmla="*/ 181 h 215"/>
                  <a:gd name="T50" fmla="*/ 141 w 290"/>
                  <a:gd name="T51" fmla="*/ 192 h 215"/>
                  <a:gd name="T52" fmla="*/ 152 w 290"/>
                  <a:gd name="T53" fmla="*/ 202 h 215"/>
                  <a:gd name="T54" fmla="*/ 152 w 290"/>
                  <a:gd name="T55" fmla="*/ 203 h 215"/>
                  <a:gd name="T56" fmla="*/ 165 w 290"/>
                  <a:gd name="T57" fmla="*/ 196 h 215"/>
                  <a:gd name="T58" fmla="*/ 170 w 290"/>
                  <a:gd name="T59" fmla="*/ 203 h 215"/>
                  <a:gd name="T60" fmla="*/ 174 w 290"/>
                  <a:gd name="T61" fmla="*/ 210 h 215"/>
                  <a:gd name="T62" fmla="*/ 184 w 290"/>
                  <a:gd name="T63" fmla="*/ 205 h 215"/>
                  <a:gd name="T64" fmla="*/ 193 w 290"/>
                  <a:gd name="T65" fmla="*/ 205 h 215"/>
                  <a:gd name="T66" fmla="*/ 209 w 290"/>
                  <a:gd name="T67" fmla="*/ 205 h 215"/>
                  <a:gd name="T68" fmla="*/ 243 w 290"/>
                  <a:gd name="T69" fmla="*/ 214 h 215"/>
                  <a:gd name="T70" fmla="*/ 250 w 290"/>
                  <a:gd name="T71" fmla="*/ 213 h 215"/>
                  <a:gd name="T72" fmla="*/ 266 w 290"/>
                  <a:gd name="T73" fmla="*/ 182 h 215"/>
                  <a:gd name="T74" fmla="*/ 280 w 290"/>
                  <a:gd name="T75" fmla="*/ 171 h 215"/>
                  <a:gd name="T76" fmla="*/ 287 w 290"/>
                  <a:gd name="T77" fmla="*/ 158 h 215"/>
                  <a:gd name="T78" fmla="*/ 287 w 290"/>
                  <a:gd name="T79" fmla="*/ 151 h 215"/>
                  <a:gd name="T80" fmla="*/ 276 w 290"/>
                  <a:gd name="T81" fmla="*/ 128 h 215"/>
                  <a:gd name="T82" fmla="*/ 273 w 290"/>
                  <a:gd name="T83" fmla="*/ 126 h 215"/>
                  <a:gd name="T84" fmla="*/ 274 w 290"/>
                  <a:gd name="T85" fmla="*/ 118 h 215"/>
                  <a:gd name="T86" fmla="*/ 274 w 290"/>
                  <a:gd name="T87" fmla="*/ 106 h 215"/>
                  <a:gd name="T88" fmla="*/ 265 w 290"/>
                  <a:gd name="T89" fmla="*/ 102 h 215"/>
                  <a:gd name="T90" fmla="*/ 285 w 290"/>
                  <a:gd name="T91" fmla="*/ 79 h 215"/>
                  <a:gd name="T92" fmla="*/ 280 w 290"/>
                  <a:gd name="T93" fmla="*/ 55 h 215"/>
                  <a:gd name="T94" fmla="*/ 272 w 290"/>
                  <a:gd name="T95" fmla="*/ 34 h 215"/>
                  <a:gd name="T96" fmla="*/ 262 w 290"/>
                  <a:gd name="T97" fmla="*/ 23 h 215"/>
                  <a:gd name="T98" fmla="*/ 256 w 290"/>
                  <a:gd name="T99" fmla="*/ 22 h 215"/>
                  <a:gd name="T100" fmla="*/ 169 w 290"/>
                  <a:gd name="T101" fmla="*/ 19 h 215"/>
                  <a:gd name="T102" fmla="*/ 158 w 290"/>
                  <a:gd name="T103" fmla="*/ 23 h 215"/>
                  <a:gd name="T104" fmla="*/ 164 w 290"/>
                  <a:gd name="T105" fmla="*/ 15 h 215"/>
                  <a:gd name="T106" fmla="*/ 133 w 290"/>
                  <a:gd name="T107" fmla="*/ 7 h 215"/>
                  <a:gd name="T108" fmla="*/ 124 w 290"/>
                  <a:gd name="T109" fmla="*/ 0 h 2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 h="215">
                    <a:moveTo>
                      <a:pt x="124" y="0"/>
                    </a:moveTo>
                    <a:cubicBezTo>
                      <a:pt x="119" y="0"/>
                      <a:pt x="115" y="1"/>
                      <a:pt x="111" y="2"/>
                    </a:cubicBezTo>
                    <a:cubicBezTo>
                      <a:pt x="100" y="5"/>
                      <a:pt x="88" y="9"/>
                      <a:pt x="77" y="12"/>
                    </a:cubicBezTo>
                    <a:cubicBezTo>
                      <a:pt x="75" y="13"/>
                      <a:pt x="72" y="20"/>
                      <a:pt x="69" y="22"/>
                    </a:cubicBezTo>
                    <a:cubicBezTo>
                      <a:pt x="62" y="26"/>
                      <a:pt x="52" y="25"/>
                      <a:pt x="44" y="27"/>
                    </a:cubicBezTo>
                    <a:cubicBezTo>
                      <a:pt x="37" y="29"/>
                      <a:pt x="30" y="31"/>
                      <a:pt x="23" y="32"/>
                    </a:cubicBezTo>
                    <a:cubicBezTo>
                      <a:pt x="21" y="33"/>
                      <a:pt x="14" y="34"/>
                      <a:pt x="13" y="36"/>
                    </a:cubicBezTo>
                    <a:cubicBezTo>
                      <a:pt x="12" y="34"/>
                      <a:pt x="7" y="32"/>
                      <a:pt x="6" y="31"/>
                    </a:cubicBezTo>
                    <a:cubicBezTo>
                      <a:pt x="7" y="32"/>
                      <a:pt x="6" y="32"/>
                      <a:pt x="7" y="32"/>
                    </a:cubicBezTo>
                    <a:cubicBezTo>
                      <a:pt x="7" y="32"/>
                      <a:pt x="7" y="32"/>
                      <a:pt x="7" y="32"/>
                    </a:cubicBezTo>
                    <a:cubicBezTo>
                      <a:pt x="2" y="34"/>
                      <a:pt x="0" y="39"/>
                      <a:pt x="5" y="39"/>
                    </a:cubicBezTo>
                    <a:cubicBezTo>
                      <a:pt x="5" y="39"/>
                      <a:pt x="6" y="39"/>
                      <a:pt x="6" y="39"/>
                    </a:cubicBezTo>
                    <a:cubicBezTo>
                      <a:pt x="7" y="38"/>
                      <a:pt x="7" y="38"/>
                      <a:pt x="8" y="38"/>
                    </a:cubicBezTo>
                    <a:cubicBezTo>
                      <a:pt x="8" y="38"/>
                      <a:pt x="8" y="38"/>
                      <a:pt x="9" y="38"/>
                    </a:cubicBezTo>
                    <a:cubicBezTo>
                      <a:pt x="9" y="38"/>
                      <a:pt x="9" y="38"/>
                      <a:pt x="10" y="38"/>
                    </a:cubicBezTo>
                    <a:cubicBezTo>
                      <a:pt x="10" y="38"/>
                      <a:pt x="11" y="38"/>
                      <a:pt x="11" y="38"/>
                    </a:cubicBezTo>
                    <a:cubicBezTo>
                      <a:pt x="12" y="38"/>
                      <a:pt x="12" y="38"/>
                      <a:pt x="12" y="38"/>
                    </a:cubicBezTo>
                    <a:cubicBezTo>
                      <a:pt x="16" y="38"/>
                      <a:pt x="20" y="38"/>
                      <a:pt x="24" y="39"/>
                    </a:cubicBezTo>
                    <a:cubicBezTo>
                      <a:pt x="24" y="40"/>
                      <a:pt x="23" y="42"/>
                      <a:pt x="23" y="42"/>
                    </a:cubicBezTo>
                    <a:cubicBezTo>
                      <a:pt x="23" y="44"/>
                      <a:pt x="24" y="46"/>
                      <a:pt x="23" y="48"/>
                    </a:cubicBezTo>
                    <a:cubicBezTo>
                      <a:pt x="22" y="47"/>
                      <a:pt x="20" y="45"/>
                      <a:pt x="17" y="45"/>
                    </a:cubicBezTo>
                    <a:cubicBezTo>
                      <a:pt x="18" y="49"/>
                      <a:pt x="18" y="49"/>
                      <a:pt x="18" y="49"/>
                    </a:cubicBezTo>
                    <a:cubicBezTo>
                      <a:pt x="19" y="49"/>
                      <a:pt x="19" y="50"/>
                      <a:pt x="19" y="50"/>
                    </a:cubicBezTo>
                    <a:cubicBezTo>
                      <a:pt x="19" y="51"/>
                      <a:pt x="19" y="51"/>
                      <a:pt x="19" y="51"/>
                    </a:cubicBezTo>
                    <a:cubicBezTo>
                      <a:pt x="20" y="55"/>
                      <a:pt x="21" y="59"/>
                      <a:pt x="21" y="65"/>
                    </a:cubicBezTo>
                    <a:cubicBezTo>
                      <a:pt x="20" y="67"/>
                      <a:pt x="20" y="70"/>
                      <a:pt x="18" y="72"/>
                    </a:cubicBezTo>
                    <a:cubicBezTo>
                      <a:pt x="17" y="73"/>
                      <a:pt x="17" y="73"/>
                      <a:pt x="17" y="73"/>
                    </a:cubicBezTo>
                    <a:cubicBezTo>
                      <a:pt x="16" y="74"/>
                      <a:pt x="15" y="74"/>
                      <a:pt x="15" y="74"/>
                    </a:cubicBezTo>
                    <a:cubicBezTo>
                      <a:pt x="15" y="75"/>
                      <a:pt x="15" y="75"/>
                      <a:pt x="15" y="75"/>
                    </a:cubicBezTo>
                    <a:cubicBezTo>
                      <a:pt x="16" y="76"/>
                      <a:pt x="16" y="76"/>
                      <a:pt x="16" y="76"/>
                    </a:cubicBezTo>
                    <a:cubicBezTo>
                      <a:pt x="18" y="78"/>
                      <a:pt x="18" y="78"/>
                      <a:pt x="18" y="78"/>
                    </a:cubicBezTo>
                    <a:cubicBezTo>
                      <a:pt x="20" y="80"/>
                      <a:pt x="21" y="81"/>
                      <a:pt x="23" y="82"/>
                    </a:cubicBezTo>
                    <a:cubicBezTo>
                      <a:pt x="24" y="83"/>
                      <a:pt x="26" y="84"/>
                      <a:pt x="26" y="85"/>
                    </a:cubicBezTo>
                    <a:cubicBezTo>
                      <a:pt x="27" y="85"/>
                      <a:pt x="27" y="85"/>
                      <a:pt x="27" y="85"/>
                    </a:cubicBezTo>
                    <a:cubicBezTo>
                      <a:pt x="28" y="89"/>
                      <a:pt x="27" y="92"/>
                      <a:pt x="26" y="93"/>
                    </a:cubicBezTo>
                    <a:cubicBezTo>
                      <a:pt x="25" y="94"/>
                      <a:pt x="25" y="94"/>
                      <a:pt x="25" y="95"/>
                    </a:cubicBezTo>
                    <a:cubicBezTo>
                      <a:pt x="25" y="95"/>
                      <a:pt x="26" y="96"/>
                      <a:pt x="26" y="96"/>
                    </a:cubicBezTo>
                    <a:cubicBezTo>
                      <a:pt x="27" y="98"/>
                      <a:pt x="27" y="98"/>
                      <a:pt x="27" y="98"/>
                    </a:cubicBezTo>
                    <a:cubicBezTo>
                      <a:pt x="29" y="100"/>
                      <a:pt x="29" y="100"/>
                      <a:pt x="29" y="100"/>
                    </a:cubicBezTo>
                    <a:cubicBezTo>
                      <a:pt x="29" y="101"/>
                      <a:pt x="29" y="102"/>
                      <a:pt x="30" y="103"/>
                    </a:cubicBezTo>
                    <a:cubicBezTo>
                      <a:pt x="30" y="105"/>
                      <a:pt x="30" y="106"/>
                      <a:pt x="30" y="107"/>
                    </a:cubicBezTo>
                    <a:cubicBezTo>
                      <a:pt x="30" y="111"/>
                      <a:pt x="29" y="113"/>
                      <a:pt x="27" y="117"/>
                    </a:cubicBezTo>
                    <a:cubicBezTo>
                      <a:pt x="27" y="117"/>
                      <a:pt x="28" y="118"/>
                      <a:pt x="29" y="120"/>
                    </a:cubicBezTo>
                    <a:cubicBezTo>
                      <a:pt x="29" y="121"/>
                      <a:pt x="29" y="121"/>
                      <a:pt x="29" y="121"/>
                    </a:cubicBezTo>
                    <a:cubicBezTo>
                      <a:pt x="30" y="122"/>
                      <a:pt x="30" y="124"/>
                      <a:pt x="30" y="124"/>
                    </a:cubicBezTo>
                    <a:cubicBezTo>
                      <a:pt x="31" y="125"/>
                      <a:pt x="31" y="125"/>
                      <a:pt x="31" y="126"/>
                    </a:cubicBezTo>
                    <a:cubicBezTo>
                      <a:pt x="31" y="126"/>
                      <a:pt x="31" y="126"/>
                      <a:pt x="31" y="126"/>
                    </a:cubicBezTo>
                    <a:cubicBezTo>
                      <a:pt x="31" y="126"/>
                      <a:pt x="31" y="126"/>
                      <a:pt x="31" y="126"/>
                    </a:cubicBezTo>
                    <a:cubicBezTo>
                      <a:pt x="32" y="127"/>
                      <a:pt x="32" y="127"/>
                      <a:pt x="32" y="127"/>
                    </a:cubicBezTo>
                    <a:cubicBezTo>
                      <a:pt x="34" y="128"/>
                      <a:pt x="36" y="130"/>
                      <a:pt x="38" y="133"/>
                    </a:cubicBezTo>
                    <a:cubicBezTo>
                      <a:pt x="38" y="135"/>
                      <a:pt x="38" y="136"/>
                      <a:pt x="38" y="137"/>
                    </a:cubicBezTo>
                    <a:cubicBezTo>
                      <a:pt x="39" y="138"/>
                      <a:pt x="39" y="138"/>
                      <a:pt x="39" y="138"/>
                    </a:cubicBezTo>
                    <a:cubicBezTo>
                      <a:pt x="39" y="139"/>
                      <a:pt x="38" y="139"/>
                      <a:pt x="38" y="140"/>
                    </a:cubicBezTo>
                    <a:cubicBezTo>
                      <a:pt x="38" y="141"/>
                      <a:pt x="38" y="141"/>
                      <a:pt x="38" y="141"/>
                    </a:cubicBezTo>
                    <a:cubicBezTo>
                      <a:pt x="38" y="142"/>
                      <a:pt x="38" y="143"/>
                      <a:pt x="38" y="143"/>
                    </a:cubicBezTo>
                    <a:cubicBezTo>
                      <a:pt x="39" y="144"/>
                      <a:pt x="39" y="144"/>
                      <a:pt x="39" y="144"/>
                    </a:cubicBezTo>
                    <a:cubicBezTo>
                      <a:pt x="42" y="145"/>
                      <a:pt x="43" y="146"/>
                      <a:pt x="44" y="148"/>
                    </a:cubicBezTo>
                    <a:cubicBezTo>
                      <a:pt x="45" y="149"/>
                      <a:pt x="45" y="149"/>
                      <a:pt x="45" y="149"/>
                    </a:cubicBezTo>
                    <a:cubicBezTo>
                      <a:pt x="46" y="150"/>
                      <a:pt x="47" y="152"/>
                      <a:pt x="47" y="152"/>
                    </a:cubicBezTo>
                    <a:cubicBezTo>
                      <a:pt x="48" y="152"/>
                      <a:pt x="48" y="152"/>
                      <a:pt x="48" y="152"/>
                    </a:cubicBezTo>
                    <a:cubicBezTo>
                      <a:pt x="48" y="153"/>
                      <a:pt x="48" y="153"/>
                      <a:pt x="48" y="153"/>
                    </a:cubicBezTo>
                    <a:cubicBezTo>
                      <a:pt x="49" y="153"/>
                      <a:pt x="49" y="153"/>
                      <a:pt x="49" y="153"/>
                    </a:cubicBezTo>
                    <a:cubicBezTo>
                      <a:pt x="51" y="153"/>
                      <a:pt x="51" y="153"/>
                      <a:pt x="51" y="153"/>
                    </a:cubicBezTo>
                    <a:cubicBezTo>
                      <a:pt x="66" y="157"/>
                      <a:pt x="66" y="157"/>
                      <a:pt x="66" y="157"/>
                    </a:cubicBezTo>
                    <a:cubicBezTo>
                      <a:pt x="66" y="157"/>
                      <a:pt x="66" y="157"/>
                      <a:pt x="66" y="157"/>
                    </a:cubicBezTo>
                    <a:cubicBezTo>
                      <a:pt x="66" y="157"/>
                      <a:pt x="67" y="157"/>
                      <a:pt x="68" y="156"/>
                    </a:cubicBezTo>
                    <a:cubicBezTo>
                      <a:pt x="69" y="156"/>
                      <a:pt x="70" y="156"/>
                      <a:pt x="71" y="156"/>
                    </a:cubicBezTo>
                    <a:cubicBezTo>
                      <a:pt x="72" y="156"/>
                      <a:pt x="73" y="157"/>
                      <a:pt x="74" y="157"/>
                    </a:cubicBezTo>
                    <a:cubicBezTo>
                      <a:pt x="75" y="158"/>
                      <a:pt x="77" y="160"/>
                      <a:pt x="77" y="162"/>
                    </a:cubicBezTo>
                    <a:cubicBezTo>
                      <a:pt x="77" y="163"/>
                      <a:pt x="77" y="163"/>
                      <a:pt x="77" y="163"/>
                    </a:cubicBezTo>
                    <a:cubicBezTo>
                      <a:pt x="77" y="165"/>
                      <a:pt x="77" y="167"/>
                      <a:pt x="76" y="168"/>
                    </a:cubicBezTo>
                    <a:cubicBezTo>
                      <a:pt x="75" y="170"/>
                      <a:pt x="75" y="170"/>
                      <a:pt x="75" y="170"/>
                    </a:cubicBezTo>
                    <a:cubicBezTo>
                      <a:pt x="75" y="170"/>
                      <a:pt x="75" y="170"/>
                      <a:pt x="75" y="170"/>
                    </a:cubicBezTo>
                    <a:cubicBezTo>
                      <a:pt x="76" y="171"/>
                      <a:pt x="76" y="171"/>
                      <a:pt x="76" y="171"/>
                    </a:cubicBezTo>
                    <a:cubicBezTo>
                      <a:pt x="77" y="172"/>
                      <a:pt x="78" y="172"/>
                      <a:pt x="79" y="173"/>
                    </a:cubicBezTo>
                    <a:cubicBezTo>
                      <a:pt x="80" y="174"/>
                      <a:pt x="81" y="176"/>
                      <a:pt x="82" y="176"/>
                    </a:cubicBezTo>
                    <a:cubicBezTo>
                      <a:pt x="82" y="176"/>
                      <a:pt x="82" y="176"/>
                      <a:pt x="82" y="176"/>
                    </a:cubicBezTo>
                    <a:cubicBezTo>
                      <a:pt x="82" y="176"/>
                      <a:pt x="84" y="176"/>
                      <a:pt x="84" y="175"/>
                    </a:cubicBezTo>
                    <a:cubicBezTo>
                      <a:pt x="85" y="175"/>
                      <a:pt x="85" y="175"/>
                      <a:pt x="85" y="175"/>
                    </a:cubicBezTo>
                    <a:cubicBezTo>
                      <a:pt x="86" y="174"/>
                      <a:pt x="87" y="174"/>
                      <a:pt x="87" y="173"/>
                    </a:cubicBezTo>
                    <a:cubicBezTo>
                      <a:pt x="87" y="173"/>
                      <a:pt x="87" y="173"/>
                      <a:pt x="87" y="172"/>
                    </a:cubicBezTo>
                    <a:cubicBezTo>
                      <a:pt x="83" y="163"/>
                      <a:pt x="83" y="163"/>
                      <a:pt x="83" y="163"/>
                    </a:cubicBezTo>
                    <a:cubicBezTo>
                      <a:pt x="93" y="166"/>
                      <a:pt x="93" y="166"/>
                      <a:pt x="93" y="166"/>
                    </a:cubicBezTo>
                    <a:cubicBezTo>
                      <a:pt x="94" y="166"/>
                      <a:pt x="95" y="167"/>
                      <a:pt x="96" y="167"/>
                    </a:cubicBezTo>
                    <a:cubicBezTo>
                      <a:pt x="96" y="167"/>
                      <a:pt x="96" y="167"/>
                      <a:pt x="96" y="167"/>
                    </a:cubicBezTo>
                    <a:cubicBezTo>
                      <a:pt x="97" y="167"/>
                      <a:pt x="97" y="167"/>
                      <a:pt x="98" y="168"/>
                    </a:cubicBezTo>
                    <a:cubicBezTo>
                      <a:pt x="99" y="168"/>
                      <a:pt x="99" y="168"/>
                      <a:pt x="99" y="168"/>
                    </a:cubicBezTo>
                    <a:cubicBezTo>
                      <a:pt x="99" y="168"/>
                      <a:pt x="100" y="168"/>
                      <a:pt x="101" y="168"/>
                    </a:cubicBezTo>
                    <a:cubicBezTo>
                      <a:pt x="102" y="169"/>
                      <a:pt x="102" y="169"/>
                      <a:pt x="102" y="169"/>
                    </a:cubicBezTo>
                    <a:cubicBezTo>
                      <a:pt x="104" y="169"/>
                      <a:pt x="107" y="170"/>
                      <a:pt x="109" y="170"/>
                    </a:cubicBezTo>
                    <a:cubicBezTo>
                      <a:pt x="109" y="170"/>
                      <a:pt x="109" y="170"/>
                      <a:pt x="109" y="170"/>
                    </a:cubicBezTo>
                    <a:cubicBezTo>
                      <a:pt x="114" y="161"/>
                      <a:pt x="114" y="161"/>
                      <a:pt x="114" y="161"/>
                    </a:cubicBezTo>
                    <a:cubicBezTo>
                      <a:pt x="115" y="172"/>
                      <a:pt x="115" y="172"/>
                      <a:pt x="115" y="172"/>
                    </a:cubicBezTo>
                    <a:cubicBezTo>
                      <a:pt x="116" y="175"/>
                      <a:pt x="115" y="178"/>
                      <a:pt x="114" y="180"/>
                    </a:cubicBezTo>
                    <a:cubicBezTo>
                      <a:pt x="114" y="180"/>
                      <a:pt x="114" y="180"/>
                      <a:pt x="114" y="180"/>
                    </a:cubicBezTo>
                    <a:cubicBezTo>
                      <a:pt x="115" y="181"/>
                      <a:pt x="116" y="182"/>
                      <a:pt x="116" y="182"/>
                    </a:cubicBezTo>
                    <a:cubicBezTo>
                      <a:pt x="117" y="182"/>
                      <a:pt x="117" y="182"/>
                      <a:pt x="117" y="182"/>
                    </a:cubicBezTo>
                    <a:cubicBezTo>
                      <a:pt x="117" y="182"/>
                      <a:pt x="117" y="182"/>
                      <a:pt x="117" y="182"/>
                    </a:cubicBezTo>
                    <a:cubicBezTo>
                      <a:pt x="119" y="181"/>
                      <a:pt x="120" y="180"/>
                      <a:pt x="122" y="180"/>
                    </a:cubicBezTo>
                    <a:cubicBezTo>
                      <a:pt x="123" y="180"/>
                      <a:pt x="124" y="180"/>
                      <a:pt x="126" y="181"/>
                    </a:cubicBezTo>
                    <a:cubicBezTo>
                      <a:pt x="128" y="178"/>
                      <a:pt x="128" y="178"/>
                      <a:pt x="128" y="178"/>
                    </a:cubicBezTo>
                    <a:cubicBezTo>
                      <a:pt x="127" y="182"/>
                      <a:pt x="127" y="182"/>
                      <a:pt x="127" y="182"/>
                    </a:cubicBezTo>
                    <a:cubicBezTo>
                      <a:pt x="128" y="183"/>
                      <a:pt x="129" y="183"/>
                      <a:pt x="130" y="184"/>
                    </a:cubicBezTo>
                    <a:cubicBezTo>
                      <a:pt x="134" y="186"/>
                      <a:pt x="138" y="188"/>
                      <a:pt x="141" y="192"/>
                    </a:cubicBezTo>
                    <a:cubicBezTo>
                      <a:pt x="142" y="194"/>
                      <a:pt x="143" y="195"/>
                      <a:pt x="144" y="197"/>
                    </a:cubicBezTo>
                    <a:cubicBezTo>
                      <a:pt x="145" y="198"/>
                      <a:pt x="145" y="198"/>
                      <a:pt x="145" y="198"/>
                    </a:cubicBezTo>
                    <a:cubicBezTo>
                      <a:pt x="145" y="198"/>
                      <a:pt x="146" y="199"/>
                      <a:pt x="146" y="200"/>
                    </a:cubicBezTo>
                    <a:cubicBezTo>
                      <a:pt x="152" y="202"/>
                      <a:pt x="152" y="202"/>
                      <a:pt x="152" y="202"/>
                    </a:cubicBezTo>
                    <a:cubicBezTo>
                      <a:pt x="151" y="203"/>
                      <a:pt x="151" y="203"/>
                      <a:pt x="151" y="203"/>
                    </a:cubicBezTo>
                    <a:cubicBezTo>
                      <a:pt x="152" y="203"/>
                      <a:pt x="152" y="203"/>
                      <a:pt x="152" y="203"/>
                    </a:cubicBezTo>
                    <a:cubicBezTo>
                      <a:pt x="152" y="203"/>
                      <a:pt x="152" y="203"/>
                      <a:pt x="152" y="203"/>
                    </a:cubicBezTo>
                    <a:cubicBezTo>
                      <a:pt x="152" y="203"/>
                      <a:pt x="152" y="203"/>
                      <a:pt x="152" y="203"/>
                    </a:cubicBezTo>
                    <a:cubicBezTo>
                      <a:pt x="154" y="202"/>
                      <a:pt x="156" y="201"/>
                      <a:pt x="158" y="200"/>
                    </a:cubicBezTo>
                    <a:cubicBezTo>
                      <a:pt x="159" y="199"/>
                      <a:pt x="159" y="199"/>
                      <a:pt x="159" y="199"/>
                    </a:cubicBezTo>
                    <a:cubicBezTo>
                      <a:pt x="160" y="199"/>
                      <a:pt x="161" y="198"/>
                      <a:pt x="161" y="198"/>
                    </a:cubicBezTo>
                    <a:cubicBezTo>
                      <a:pt x="165" y="196"/>
                      <a:pt x="165" y="196"/>
                      <a:pt x="165" y="196"/>
                    </a:cubicBezTo>
                    <a:cubicBezTo>
                      <a:pt x="166" y="199"/>
                      <a:pt x="166" y="199"/>
                      <a:pt x="166" y="199"/>
                    </a:cubicBezTo>
                    <a:cubicBezTo>
                      <a:pt x="167" y="201"/>
                      <a:pt x="168" y="202"/>
                      <a:pt x="169" y="203"/>
                    </a:cubicBezTo>
                    <a:cubicBezTo>
                      <a:pt x="169" y="203"/>
                      <a:pt x="169" y="203"/>
                      <a:pt x="169" y="203"/>
                    </a:cubicBezTo>
                    <a:cubicBezTo>
                      <a:pt x="170" y="203"/>
                      <a:pt x="170" y="203"/>
                      <a:pt x="170" y="203"/>
                    </a:cubicBezTo>
                    <a:cubicBezTo>
                      <a:pt x="174" y="203"/>
                      <a:pt x="174" y="203"/>
                      <a:pt x="174" y="203"/>
                    </a:cubicBezTo>
                    <a:cubicBezTo>
                      <a:pt x="174" y="206"/>
                      <a:pt x="174" y="206"/>
                      <a:pt x="174" y="206"/>
                    </a:cubicBezTo>
                    <a:cubicBezTo>
                      <a:pt x="174" y="207"/>
                      <a:pt x="174" y="208"/>
                      <a:pt x="174" y="209"/>
                    </a:cubicBezTo>
                    <a:cubicBezTo>
                      <a:pt x="174" y="210"/>
                      <a:pt x="174" y="210"/>
                      <a:pt x="174" y="210"/>
                    </a:cubicBezTo>
                    <a:cubicBezTo>
                      <a:pt x="174" y="210"/>
                      <a:pt x="174" y="210"/>
                      <a:pt x="174" y="210"/>
                    </a:cubicBezTo>
                    <a:cubicBezTo>
                      <a:pt x="175" y="210"/>
                      <a:pt x="176" y="209"/>
                      <a:pt x="177" y="209"/>
                    </a:cubicBezTo>
                    <a:cubicBezTo>
                      <a:pt x="178" y="208"/>
                      <a:pt x="178" y="208"/>
                      <a:pt x="178" y="208"/>
                    </a:cubicBezTo>
                    <a:cubicBezTo>
                      <a:pt x="181" y="207"/>
                      <a:pt x="182" y="206"/>
                      <a:pt x="184" y="205"/>
                    </a:cubicBezTo>
                    <a:cubicBezTo>
                      <a:pt x="185" y="205"/>
                      <a:pt x="187" y="205"/>
                      <a:pt x="188" y="204"/>
                    </a:cubicBezTo>
                    <a:cubicBezTo>
                      <a:pt x="189" y="204"/>
                      <a:pt x="189" y="204"/>
                      <a:pt x="189" y="204"/>
                    </a:cubicBezTo>
                    <a:cubicBezTo>
                      <a:pt x="189" y="204"/>
                      <a:pt x="190" y="204"/>
                      <a:pt x="190" y="204"/>
                    </a:cubicBezTo>
                    <a:cubicBezTo>
                      <a:pt x="191" y="204"/>
                      <a:pt x="192" y="204"/>
                      <a:pt x="193" y="205"/>
                    </a:cubicBezTo>
                    <a:cubicBezTo>
                      <a:pt x="194" y="205"/>
                      <a:pt x="195" y="205"/>
                      <a:pt x="196" y="205"/>
                    </a:cubicBezTo>
                    <a:cubicBezTo>
                      <a:pt x="200" y="206"/>
                      <a:pt x="202" y="207"/>
                      <a:pt x="203" y="207"/>
                    </a:cubicBezTo>
                    <a:cubicBezTo>
                      <a:pt x="204" y="207"/>
                      <a:pt x="204" y="207"/>
                      <a:pt x="204" y="207"/>
                    </a:cubicBezTo>
                    <a:cubicBezTo>
                      <a:pt x="209" y="205"/>
                      <a:pt x="209" y="205"/>
                      <a:pt x="209" y="205"/>
                    </a:cubicBezTo>
                    <a:cubicBezTo>
                      <a:pt x="212" y="204"/>
                      <a:pt x="214" y="203"/>
                      <a:pt x="217" y="203"/>
                    </a:cubicBezTo>
                    <a:cubicBezTo>
                      <a:pt x="217" y="203"/>
                      <a:pt x="217" y="203"/>
                      <a:pt x="217" y="203"/>
                    </a:cubicBezTo>
                    <a:cubicBezTo>
                      <a:pt x="225" y="203"/>
                      <a:pt x="231" y="207"/>
                      <a:pt x="238" y="211"/>
                    </a:cubicBezTo>
                    <a:cubicBezTo>
                      <a:pt x="239" y="212"/>
                      <a:pt x="241" y="213"/>
                      <a:pt x="243" y="214"/>
                    </a:cubicBezTo>
                    <a:cubicBezTo>
                      <a:pt x="244" y="214"/>
                      <a:pt x="245" y="214"/>
                      <a:pt x="246" y="214"/>
                    </a:cubicBezTo>
                    <a:cubicBezTo>
                      <a:pt x="247" y="215"/>
                      <a:pt x="248" y="215"/>
                      <a:pt x="249" y="215"/>
                    </a:cubicBezTo>
                    <a:cubicBezTo>
                      <a:pt x="250" y="215"/>
                      <a:pt x="250" y="215"/>
                      <a:pt x="250" y="215"/>
                    </a:cubicBezTo>
                    <a:cubicBezTo>
                      <a:pt x="250" y="214"/>
                      <a:pt x="250" y="214"/>
                      <a:pt x="250" y="213"/>
                    </a:cubicBezTo>
                    <a:cubicBezTo>
                      <a:pt x="250" y="212"/>
                      <a:pt x="250" y="211"/>
                      <a:pt x="250" y="211"/>
                    </a:cubicBezTo>
                    <a:cubicBezTo>
                      <a:pt x="250" y="210"/>
                      <a:pt x="250" y="210"/>
                      <a:pt x="250" y="210"/>
                    </a:cubicBezTo>
                    <a:cubicBezTo>
                      <a:pt x="249" y="204"/>
                      <a:pt x="249" y="200"/>
                      <a:pt x="251" y="197"/>
                    </a:cubicBezTo>
                    <a:cubicBezTo>
                      <a:pt x="266" y="182"/>
                      <a:pt x="266" y="182"/>
                      <a:pt x="266" y="182"/>
                    </a:cubicBezTo>
                    <a:cubicBezTo>
                      <a:pt x="267" y="182"/>
                      <a:pt x="267" y="181"/>
                      <a:pt x="268" y="180"/>
                    </a:cubicBezTo>
                    <a:cubicBezTo>
                      <a:pt x="271" y="177"/>
                      <a:pt x="273" y="174"/>
                      <a:pt x="276" y="172"/>
                    </a:cubicBezTo>
                    <a:cubicBezTo>
                      <a:pt x="277" y="172"/>
                      <a:pt x="278" y="172"/>
                      <a:pt x="279" y="171"/>
                    </a:cubicBezTo>
                    <a:cubicBezTo>
                      <a:pt x="280" y="171"/>
                      <a:pt x="280" y="171"/>
                      <a:pt x="280" y="171"/>
                    </a:cubicBezTo>
                    <a:cubicBezTo>
                      <a:pt x="283" y="170"/>
                      <a:pt x="287" y="168"/>
                      <a:pt x="288" y="167"/>
                    </a:cubicBezTo>
                    <a:cubicBezTo>
                      <a:pt x="288" y="166"/>
                      <a:pt x="289" y="163"/>
                      <a:pt x="290" y="162"/>
                    </a:cubicBezTo>
                    <a:cubicBezTo>
                      <a:pt x="289" y="161"/>
                      <a:pt x="289" y="161"/>
                      <a:pt x="289" y="161"/>
                    </a:cubicBezTo>
                    <a:cubicBezTo>
                      <a:pt x="288" y="160"/>
                      <a:pt x="287" y="159"/>
                      <a:pt x="287" y="158"/>
                    </a:cubicBezTo>
                    <a:cubicBezTo>
                      <a:pt x="286" y="156"/>
                      <a:pt x="286" y="154"/>
                      <a:pt x="287" y="152"/>
                    </a:cubicBezTo>
                    <a:cubicBezTo>
                      <a:pt x="287" y="151"/>
                      <a:pt x="287" y="151"/>
                      <a:pt x="287" y="151"/>
                    </a:cubicBezTo>
                    <a:cubicBezTo>
                      <a:pt x="287" y="151"/>
                      <a:pt x="287" y="151"/>
                      <a:pt x="287" y="151"/>
                    </a:cubicBezTo>
                    <a:cubicBezTo>
                      <a:pt x="287" y="151"/>
                      <a:pt x="287" y="151"/>
                      <a:pt x="287" y="151"/>
                    </a:cubicBezTo>
                    <a:cubicBezTo>
                      <a:pt x="283" y="146"/>
                      <a:pt x="281" y="141"/>
                      <a:pt x="279" y="137"/>
                    </a:cubicBezTo>
                    <a:cubicBezTo>
                      <a:pt x="279" y="135"/>
                      <a:pt x="278" y="133"/>
                      <a:pt x="277" y="132"/>
                    </a:cubicBezTo>
                    <a:cubicBezTo>
                      <a:pt x="277" y="131"/>
                      <a:pt x="276" y="130"/>
                      <a:pt x="276" y="130"/>
                    </a:cubicBezTo>
                    <a:cubicBezTo>
                      <a:pt x="276" y="128"/>
                      <a:pt x="276" y="128"/>
                      <a:pt x="276" y="128"/>
                    </a:cubicBezTo>
                    <a:cubicBezTo>
                      <a:pt x="275" y="128"/>
                      <a:pt x="275" y="128"/>
                      <a:pt x="275" y="128"/>
                    </a:cubicBezTo>
                    <a:cubicBezTo>
                      <a:pt x="269" y="130"/>
                      <a:pt x="269" y="130"/>
                      <a:pt x="269" y="130"/>
                    </a:cubicBezTo>
                    <a:cubicBezTo>
                      <a:pt x="274" y="126"/>
                      <a:pt x="274" y="126"/>
                      <a:pt x="274" y="126"/>
                    </a:cubicBezTo>
                    <a:cubicBezTo>
                      <a:pt x="273" y="126"/>
                      <a:pt x="273" y="126"/>
                      <a:pt x="273" y="126"/>
                    </a:cubicBezTo>
                    <a:cubicBezTo>
                      <a:pt x="275" y="125"/>
                      <a:pt x="275" y="125"/>
                      <a:pt x="275" y="125"/>
                    </a:cubicBezTo>
                    <a:cubicBezTo>
                      <a:pt x="274" y="124"/>
                      <a:pt x="274" y="124"/>
                      <a:pt x="274" y="123"/>
                    </a:cubicBezTo>
                    <a:cubicBezTo>
                      <a:pt x="274" y="122"/>
                      <a:pt x="274" y="122"/>
                      <a:pt x="274" y="122"/>
                    </a:cubicBezTo>
                    <a:cubicBezTo>
                      <a:pt x="274" y="121"/>
                      <a:pt x="274" y="120"/>
                      <a:pt x="274" y="118"/>
                    </a:cubicBezTo>
                    <a:cubicBezTo>
                      <a:pt x="274" y="118"/>
                      <a:pt x="275" y="117"/>
                      <a:pt x="275" y="116"/>
                    </a:cubicBezTo>
                    <a:cubicBezTo>
                      <a:pt x="275" y="115"/>
                      <a:pt x="275" y="115"/>
                      <a:pt x="275" y="115"/>
                    </a:cubicBezTo>
                    <a:cubicBezTo>
                      <a:pt x="276" y="111"/>
                      <a:pt x="277" y="109"/>
                      <a:pt x="276" y="108"/>
                    </a:cubicBezTo>
                    <a:cubicBezTo>
                      <a:pt x="276" y="108"/>
                      <a:pt x="274" y="107"/>
                      <a:pt x="274" y="106"/>
                    </a:cubicBezTo>
                    <a:cubicBezTo>
                      <a:pt x="273" y="106"/>
                      <a:pt x="273" y="106"/>
                      <a:pt x="273" y="106"/>
                    </a:cubicBezTo>
                    <a:cubicBezTo>
                      <a:pt x="272" y="105"/>
                      <a:pt x="271" y="105"/>
                      <a:pt x="270" y="104"/>
                    </a:cubicBezTo>
                    <a:cubicBezTo>
                      <a:pt x="269" y="104"/>
                      <a:pt x="269" y="104"/>
                      <a:pt x="269" y="104"/>
                    </a:cubicBezTo>
                    <a:cubicBezTo>
                      <a:pt x="268" y="103"/>
                      <a:pt x="266" y="103"/>
                      <a:pt x="265" y="102"/>
                    </a:cubicBezTo>
                    <a:cubicBezTo>
                      <a:pt x="261" y="99"/>
                      <a:pt x="261" y="99"/>
                      <a:pt x="261" y="99"/>
                    </a:cubicBezTo>
                    <a:cubicBezTo>
                      <a:pt x="281" y="82"/>
                      <a:pt x="281" y="82"/>
                      <a:pt x="281" y="82"/>
                    </a:cubicBezTo>
                    <a:cubicBezTo>
                      <a:pt x="281" y="82"/>
                      <a:pt x="282" y="81"/>
                      <a:pt x="282" y="81"/>
                    </a:cubicBezTo>
                    <a:cubicBezTo>
                      <a:pt x="283" y="80"/>
                      <a:pt x="284" y="79"/>
                      <a:pt x="285" y="79"/>
                    </a:cubicBezTo>
                    <a:cubicBezTo>
                      <a:pt x="285" y="78"/>
                      <a:pt x="285" y="78"/>
                      <a:pt x="285" y="78"/>
                    </a:cubicBezTo>
                    <a:cubicBezTo>
                      <a:pt x="285" y="78"/>
                      <a:pt x="285" y="78"/>
                      <a:pt x="285" y="78"/>
                    </a:cubicBezTo>
                    <a:cubicBezTo>
                      <a:pt x="286" y="75"/>
                      <a:pt x="285" y="69"/>
                      <a:pt x="284" y="66"/>
                    </a:cubicBezTo>
                    <a:cubicBezTo>
                      <a:pt x="283" y="62"/>
                      <a:pt x="281" y="59"/>
                      <a:pt x="280" y="55"/>
                    </a:cubicBezTo>
                    <a:cubicBezTo>
                      <a:pt x="279" y="54"/>
                      <a:pt x="279" y="54"/>
                      <a:pt x="279" y="54"/>
                    </a:cubicBezTo>
                    <a:cubicBezTo>
                      <a:pt x="276" y="48"/>
                      <a:pt x="275" y="42"/>
                      <a:pt x="273" y="37"/>
                    </a:cubicBezTo>
                    <a:cubicBezTo>
                      <a:pt x="273" y="34"/>
                      <a:pt x="273" y="34"/>
                      <a:pt x="273" y="34"/>
                    </a:cubicBezTo>
                    <a:cubicBezTo>
                      <a:pt x="272" y="34"/>
                      <a:pt x="272" y="34"/>
                      <a:pt x="272" y="34"/>
                    </a:cubicBezTo>
                    <a:cubicBezTo>
                      <a:pt x="272" y="32"/>
                      <a:pt x="271" y="31"/>
                      <a:pt x="270" y="29"/>
                    </a:cubicBezTo>
                    <a:cubicBezTo>
                      <a:pt x="270" y="29"/>
                      <a:pt x="270" y="29"/>
                      <a:pt x="270" y="29"/>
                    </a:cubicBezTo>
                    <a:cubicBezTo>
                      <a:pt x="269" y="27"/>
                      <a:pt x="267" y="26"/>
                      <a:pt x="266" y="25"/>
                    </a:cubicBezTo>
                    <a:cubicBezTo>
                      <a:pt x="265" y="24"/>
                      <a:pt x="264" y="24"/>
                      <a:pt x="262" y="23"/>
                    </a:cubicBezTo>
                    <a:cubicBezTo>
                      <a:pt x="262" y="23"/>
                      <a:pt x="262" y="23"/>
                      <a:pt x="262" y="23"/>
                    </a:cubicBezTo>
                    <a:cubicBezTo>
                      <a:pt x="261" y="22"/>
                      <a:pt x="259" y="22"/>
                      <a:pt x="257" y="22"/>
                    </a:cubicBezTo>
                    <a:cubicBezTo>
                      <a:pt x="257" y="22"/>
                      <a:pt x="257" y="22"/>
                      <a:pt x="257" y="22"/>
                    </a:cubicBezTo>
                    <a:cubicBezTo>
                      <a:pt x="256" y="22"/>
                      <a:pt x="256" y="22"/>
                      <a:pt x="256" y="22"/>
                    </a:cubicBezTo>
                    <a:cubicBezTo>
                      <a:pt x="255" y="22"/>
                      <a:pt x="254" y="22"/>
                      <a:pt x="253" y="22"/>
                    </a:cubicBezTo>
                    <a:cubicBezTo>
                      <a:pt x="245" y="23"/>
                      <a:pt x="237" y="23"/>
                      <a:pt x="228" y="23"/>
                    </a:cubicBezTo>
                    <a:cubicBezTo>
                      <a:pt x="210" y="23"/>
                      <a:pt x="190" y="22"/>
                      <a:pt x="170" y="19"/>
                    </a:cubicBezTo>
                    <a:cubicBezTo>
                      <a:pt x="169" y="19"/>
                      <a:pt x="169" y="19"/>
                      <a:pt x="169" y="19"/>
                    </a:cubicBezTo>
                    <a:cubicBezTo>
                      <a:pt x="169" y="18"/>
                      <a:pt x="169" y="18"/>
                      <a:pt x="169" y="18"/>
                    </a:cubicBezTo>
                    <a:cubicBezTo>
                      <a:pt x="167" y="17"/>
                      <a:pt x="167" y="17"/>
                      <a:pt x="167" y="17"/>
                    </a:cubicBezTo>
                    <a:cubicBezTo>
                      <a:pt x="165" y="19"/>
                      <a:pt x="162" y="20"/>
                      <a:pt x="160" y="21"/>
                    </a:cubicBezTo>
                    <a:cubicBezTo>
                      <a:pt x="159" y="22"/>
                      <a:pt x="160" y="23"/>
                      <a:pt x="158" y="23"/>
                    </a:cubicBezTo>
                    <a:cubicBezTo>
                      <a:pt x="158" y="23"/>
                      <a:pt x="158" y="23"/>
                      <a:pt x="158" y="23"/>
                    </a:cubicBezTo>
                    <a:cubicBezTo>
                      <a:pt x="156" y="23"/>
                      <a:pt x="155" y="21"/>
                      <a:pt x="155" y="20"/>
                    </a:cubicBezTo>
                    <a:cubicBezTo>
                      <a:pt x="159" y="18"/>
                      <a:pt x="163" y="16"/>
                      <a:pt x="167" y="15"/>
                    </a:cubicBezTo>
                    <a:cubicBezTo>
                      <a:pt x="166" y="15"/>
                      <a:pt x="165" y="15"/>
                      <a:pt x="164" y="15"/>
                    </a:cubicBezTo>
                    <a:cubicBezTo>
                      <a:pt x="159" y="15"/>
                      <a:pt x="152" y="18"/>
                      <a:pt x="147" y="19"/>
                    </a:cubicBezTo>
                    <a:cubicBezTo>
                      <a:pt x="147" y="19"/>
                      <a:pt x="147" y="19"/>
                      <a:pt x="146" y="19"/>
                    </a:cubicBezTo>
                    <a:cubicBezTo>
                      <a:pt x="144" y="19"/>
                      <a:pt x="137" y="17"/>
                      <a:pt x="136" y="15"/>
                    </a:cubicBezTo>
                    <a:cubicBezTo>
                      <a:pt x="135" y="14"/>
                      <a:pt x="134" y="9"/>
                      <a:pt x="133" y="7"/>
                    </a:cubicBezTo>
                    <a:cubicBezTo>
                      <a:pt x="132" y="6"/>
                      <a:pt x="131" y="4"/>
                      <a:pt x="132" y="3"/>
                    </a:cubicBezTo>
                    <a:cubicBezTo>
                      <a:pt x="132" y="2"/>
                      <a:pt x="132" y="2"/>
                      <a:pt x="133" y="2"/>
                    </a:cubicBezTo>
                    <a:cubicBezTo>
                      <a:pt x="135" y="2"/>
                      <a:pt x="142" y="7"/>
                      <a:pt x="143" y="8"/>
                    </a:cubicBezTo>
                    <a:cubicBezTo>
                      <a:pt x="138" y="2"/>
                      <a:pt x="131" y="0"/>
                      <a:pt x="1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308"/>
              <p:cNvSpPr/>
              <p:nvPr/>
            </p:nvSpPr>
            <p:spPr bwMode="auto">
              <a:xfrm flipH="1">
                <a:off x="5693504" y="3810410"/>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309"/>
              <p:cNvSpPr/>
              <p:nvPr/>
            </p:nvSpPr>
            <p:spPr bwMode="auto">
              <a:xfrm flipH="1">
                <a:off x="5693504" y="3810410"/>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Rectangle 310"/>
              <p:cNvSpPr>
                <a:spLocks noChangeArrowheads="1"/>
              </p:cNvSpPr>
              <p:nvPr/>
            </p:nvSpPr>
            <p:spPr bwMode="auto">
              <a:xfrm>
                <a:off x="6194680" y="406099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311"/>
              <p:cNvSpPr/>
              <p:nvPr/>
            </p:nvSpPr>
            <p:spPr bwMode="auto">
              <a:xfrm flipH="1">
                <a:off x="6194680" y="406099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312"/>
              <p:cNvSpPr/>
              <p:nvPr/>
            </p:nvSpPr>
            <p:spPr bwMode="auto">
              <a:xfrm flipH="1">
                <a:off x="6994350" y="4403714"/>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313"/>
              <p:cNvSpPr/>
              <p:nvPr/>
            </p:nvSpPr>
            <p:spPr bwMode="auto">
              <a:xfrm flipH="1">
                <a:off x="6994350" y="4403714"/>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314"/>
              <p:cNvSpPr/>
              <p:nvPr/>
            </p:nvSpPr>
            <p:spPr bwMode="auto">
              <a:xfrm>
                <a:off x="6784298" y="4182607"/>
                <a:ext cx="261643" cy="320605"/>
              </a:xfrm>
              <a:custGeom>
                <a:gdLst>
                  <a:gd name="T0" fmla="*/ 7 w 83"/>
                  <a:gd name="T1" fmla="*/ 3 h 100"/>
                  <a:gd name="T2" fmla="*/ 5 w 83"/>
                  <a:gd name="T3" fmla="*/ 3 h 100"/>
                  <a:gd name="T4" fmla="*/ 0 w 83"/>
                  <a:gd name="T5" fmla="*/ 3 h 100"/>
                  <a:gd name="T6" fmla="*/ 1 w 83"/>
                  <a:gd name="T7" fmla="*/ 3 h 100"/>
                  <a:gd name="T8" fmla="*/ 7 w 83"/>
                  <a:gd name="T9" fmla="*/ 7 h 100"/>
                  <a:gd name="T10" fmla="*/ 11 w 83"/>
                  <a:gd name="T11" fmla="*/ 14 h 100"/>
                  <a:gd name="T12" fmla="*/ 13 w 83"/>
                  <a:gd name="T13" fmla="*/ 19 h 100"/>
                  <a:gd name="T14" fmla="*/ 26 w 83"/>
                  <a:gd name="T15" fmla="*/ 38 h 100"/>
                  <a:gd name="T16" fmla="*/ 35 w 83"/>
                  <a:gd name="T17" fmla="*/ 46 h 100"/>
                  <a:gd name="T18" fmla="*/ 38 w 83"/>
                  <a:gd name="T19" fmla="*/ 55 h 100"/>
                  <a:gd name="T20" fmla="*/ 41 w 83"/>
                  <a:gd name="T21" fmla="*/ 73 h 100"/>
                  <a:gd name="T22" fmla="*/ 37 w 83"/>
                  <a:gd name="T23" fmla="*/ 91 h 100"/>
                  <a:gd name="T24" fmla="*/ 36 w 83"/>
                  <a:gd name="T25" fmla="*/ 97 h 100"/>
                  <a:gd name="T26" fmla="*/ 37 w 83"/>
                  <a:gd name="T27" fmla="*/ 100 h 100"/>
                  <a:gd name="T28" fmla="*/ 40 w 83"/>
                  <a:gd name="T29" fmla="*/ 98 h 100"/>
                  <a:gd name="T30" fmla="*/ 43 w 83"/>
                  <a:gd name="T31" fmla="*/ 94 h 100"/>
                  <a:gd name="T32" fmla="*/ 47 w 83"/>
                  <a:gd name="T33" fmla="*/ 90 h 100"/>
                  <a:gd name="T34" fmla="*/ 49 w 83"/>
                  <a:gd name="T35" fmla="*/ 88 h 100"/>
                  <a:gd name="T36" fmla="*/ 50 w 83"/>
                  <a:gd name="T37" fmla="*/ 85 h 100"/>
                  <a:gd name="T38" fmla="*/ 54 w 83"/>
                  <a:gd name="T39" fmla="*/ 82 h 100"/>
                  <a:gd name="T40" fmla="*/ 54 w 83"/>
                  <a:gd name="T41" fmla="*/ 81 h 100"/>
                  <a:gd name="T42" fmla="*/ 56 w 83"/>
                  <a:gd name="T43" fmla="*/ 78 h 100"/>
                  <a:gd name="T44" fmla="*/ 55 w 83"/>
                  <a:gd name="T45" fmla="*/ 76 h 100"/>
                  <a:gd name="T46" fmla="*/ 56 w 83"/>
                  <a:gd name="T47" fmla="*/ 71 h 100"/>
                  <a:gd name="T48" fmla="*/ 61 w 83"/>
                  <a:gd name="T49" fmla="*/ 64 h 100"/>
                  <a:gd name="T50" fmla="*/ 65 w 83"/>
                  <a:gd name="T51" fmla="*/ 66 h 100"/>
                  <a:gd name="T52" fmla="*/ 66 w 83"/>
                  <a:gd name="T53" fmla="*/ 67 h 100"/>
                  <a:gd name="T54" fmla="*/ 69 w 83"/>
                  <a:gd name="T55" fmla="*/ 66 h 100"/>
                  <a:gd name="T56" fmla="*/ 73 w 83"/>
                  <a:gd name="T57" fmla="*/ 65 h 100"/>
                  <a:gd name="T58" fmla="*/ 75 w 83"/>
                  <a:gd name="T59" fmla="*/ 65 h 100"/>
                  <a:gd name="T60" fmla="*/ 77 w 83"/>
                  <a:gd name="T61" fmla="*/ 67 h 100"/>
                  <a:gd name="T62" fmla="*/ 79 w 83"/>
                  <a:gd name="T63" fmla="*/ 68 h 100"/>
                  <a:gd name="T64" fmla="*/ 80 w 83"/>
                  <a:gd name="T65" fmla="*/ 68 h 100"/>
                  <a:gd name="T66" fmla="*/ 83 w 83"/>
                  <a:gd name="T67" fmla="*/ 68 h 100"/>
                  <a:gd name="T68" fmla="*/ 83 w 83"/>
                  <a:gd name="T69" fmla="*/ 61 h 100"/>
                  <a:gd name="T70" fmla="*/ 83 w 83"/>
                  <a:gd name="T71" fmla="*/ 57 h 100"/>
                  <a:gd name="T72" fmla="*/ 77 w 83"/>
                  <a:gd name="T73" fmla="*/ 61 h 100"/>
                  <a:gd name="T74" fmla="*/ 79 w 83"/>
                  <a:gd name="T75" fmla="*/ 56 h 100"/>
                  <a:gd name="T76" fmla="*/ 67 w 83"/>
                  <a:gd name="T77" fmla="*/ 42 h 100"/>
                  <a:gd name="T78" fmla="*/ 71 w 83"/>
                  <a:gd name="T79" fmla="*/ 42 h 100"/>
                  <a:gd name="T80" fmla="*/ 70 w 83"/>
                  <a:gd name="T81" fmla="*/ 41 h 100"/>
                  <a:gd name="T82" fmla="*/ 60 w 83"/>
                  <a:gd name="T83" fmla="*/ 29 h 100"/>
                  <a:gd name="T84" fmla="*/ 61 w 83"/>
                  <a:gd name="T85" fmla="*/ 27 h 100"/>
                  <a:gd name="T86" fmla="*/ 62 w 83"/>
                  <a:gd name="T87" fmla="*/ 25 h 100"/>
                  <a:gd name="T88" fmla="*/ 63 w 83"/>
                  <a:gd name="T89" fmla="*/ 18 h 100"/>
                  <a:gd name="T90" fmla="*/ 61 w 83"/>
                  <a:gd name="T91" fmla="*/ 18 h 100"/>
                  <a:gd name="T92" fmla="*/ 51 w 83"/>
                  <a:gd name="T93" fmla="*/ 15 h 100"/>
                  <a:gd name="T94" fmla="*/ 41 w 83"/>
                  <a:gd name="T95" fmla="*/ 10 h 100"/>
                  <a:gd name="T96" fmla="*/ 22 w 83"/>
                  <a:gd name="T97" fmla="*/ 1 h 100"/>
                  <a:gd name="T98" fmla="*/ 18 w 83"/>
                  <a:gd name="T99" fmla="*/ 0 h 1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 h="100">
                    <a:moveTo>
                      <a:pt x="18" y="0"/>
                    </a:moveTo>
                    <a:cubicBezTo>
                      <a:pt x="14" y="2"/>
                      <a:pt x="11" y="3"/>
                      <a:pt x="7" y="3"/>
                    </a:cubicBezTo>
                    <a:cubicBezTo>
                      <a:pt x="6" y="3"/>
                      <a:pt x="6" y="3"/>
                      <a:pt x="5" y="3"/>
                    </a:cubicBezTo>
                    <a:cubicBezTo>
                      <a:pt x="5" y="3"/>
                      <a:pt x="5" y="3"/>
                      <a:pt x="5" y="3"/>
                    </a:cubicBezTo>
                    <a:cubicBezTo>
                      <a:pt x="4" y="3"/>
                      <a:pt x="3" y="3"/>
                      <a:pt x="2" y="3"/>
                    </a:cubicBezTo>
                    <a:cubicBezTo>
                      <a:pt x="1" y="3"/>
                      <a:pt x="1" y="3"/>
                      <a:pt x="0" y="3"/>
                    </a:cubicBezTo>
                    <a:cubicBezTo>
                      <a:pt x="0" y="3"/>
                      <a:pt x="0" y="3"/>
                      <a:pt x="0" y="3"/>
                    </a:cubicBezTo>
                    <a:cubicBezTo>
                      <a:pt x="1" y="3"/>
                      <a:pt x="1" y="3"/>
                      <a:pt x="1" y="3"/>
                    </a:cubicBezTo>
                    <a:cubicBezTo>
                      <a:pt x="2" y="4"/>
                      <a:pt x="3" y="4"/>
                      <a:pt x="4" y="5"/>
                    </a:cubicBezTo>
                    <a:cubicBezTo>
                      <a:pt x="5" y="5"/>
                      <a:pt x="6" y="6"/>
                      <a:pt x="7" y="7"/>
                    </a:cubicBezTo>
                    <a:cubicBezTo>
                      <a:pt x="8" y="9"/>
                      <a:pt x="9" y="11"/>
                      <a:pt x="10" y="12"/>
                    </a:cubicBezTo>
                    <a:cubicBezTo>
                      <a:pt x="10" y="13"/>
                      <a:pt x="11" y="14"/>
                      <a:pt x="11" y="14"/>
                    </a:cubicBezTo>
                    <a:cubicBezTo>
                      <a:pt x="11" y="15"/>
                      <a:pt x="12" y="15"/>
                      <a:pt x="12" y="16"/>
                    </a:cubicBezTo>
                    <a:cubicBezTo>
                      <a:pt x="13" y="19"/>
                      <a:pt x="13" y="19"/>
                      <a:pt x="13" y="19"/>
                    </a:cubicBezTo>
                    <a:cubicBezTo>
                      <a:pt x="14" y="21"/>
                      <a:pt x="16" y="24"/>
                      <a:pt x="17" y="26"/>
                    </a:cubicBezTo>
                    <a:cubicBezTo>
                      <a:pt x="20" y="31"/>
                      <a:pt x="23" y="34"/>
                      <a:pt x="26" y="38"/>
                    </a:cubicBezTo>
                    <a:cubicBezTo>
                      <a:pt x="27" y="39"/>
                      <a:pt x="27" y="39"/>
                      <a:pt x="27" y="39"/>
                    </a:cubicBezTo>
                    <a:cubicBezTo>
                      <a:pt x="30" y="41"/>
                      <a:pt x="33" y="43"/>
                      <a:pt x="35" y="46"/>
                    </a:cubicBezTo>
                    <a:cubicBezTo>
                      <a:pt x="36" y="48"/>
                      <a:pt x="37" y="51"/>
                      <a:pt x="37" y="52"/>
                    </a:cubicBezTo>
                    <a:cubicBezTo>
                      <a:pt x="38" y="54"/>
                      <a:pt x="38" y="55"/>
                      <a:pt x="38" y="55"/>
                    </a:cubicBezTo>
                    <a:cubicBezTo>
                      <a:pt x="39" y="58"/>
                      <a:pt x="40" y="60"/>
                      <a:pt x="41" y="62"/>
                    </a:cubicBezTo>
                    <a:cubicBezTo>
                      <a:pt x="42" y="66"/>
                      <a:pt x="42" y="69"/>
                      <a:pt x="41" y="73"/>
                    </a:cubicBezTo>
                    <a:cubicBezTo>
                      <a:pt x="38" y="79"/>
                      <a:pt x="37" y="83"/>
                      <a:pt x="37" y="88"/>
                    </a:cubicBezTo>
                    <a:cubicBezTo>
                      <a:pt x="37" y="89"/>
                      <a:pt x="37" y="90"/>
                      <a:pt x="37" y="91"/>
                    </a:cubicBezTo>
                    <a:cubicBezTo>
                      <a:pt x="37" y="92"/>
                      <a:pt x="37" y="92"/>
                      <a:pt x="37" y="92"/>
                    </a:cubicBezTo>
                    <a:cubicBezTo>
                      <a:pt x="37" y="94"/>
                      <a:pt x="36" y="96"/>
                      <a:pt x="36" y="97"/>
                    </a:cubicBezTo>
                    <a:cubicBezTo>
                      <a:pt x="37" y="98"/>
                      <a:pt x="37" y="99"/>
                      <a:pt x="37" y="99"/>
                    </a:cubicBezTo>
                    <a:cubicBezTo>
                      <a:pt x="37" y="99"/>
                      <a:pt x="37" y="99"/>
                      <a:pt x="37" y="100"/>
                    </a:cubicBezTo>
                    <a:cubicBezTo>
                      <a:pt x="38" y="99"/>
                      <a:pt x="39" y="99"/>
                      <a:pt x="39" y="98"/>
                    </a:cubicBezTo>
                    <a:cubicBezTo>
                      <a:pt x="40" y="98"/>
                      <a:pt x="40" y="98"/>
                      <a:pt x="40" y="98"/>
                    </a:cubicBezTo>
                    <a:cubicBezTo>
                      <a:pt x="40" y="98"/>
                      <a:pt x="41" y="97"/>
                      <a:pt x="42" y="97"/>
                    </a:cubicBezTo>
                    <a:cubicBezTo>
                      <a:pt x="42" y="96"/>
                      <a:pt x="42" y="95"/>
                      <a:pt x="43" y="94"/>
                    </a:cubicBezTo>
                    <a:cubicBezTo>
                      <a:pt x="44" y="92"/>
                      <a:pt x="45" y="91"/>
                      <a:pt x="46" y="90"/>
                    </a:cubicBezTo>
                    <a:cubicBezTo>
                      <a:pt x="47" y="90"/>
                      <a:pt x="47" y="90"/>
                      <a:pt x="47" y="90"/>
                    </a:cubicBezTo>
                    <a:cubicBezTo>
                      <a:pt x="47" y="90"/>
                      <a:pt x="48" y="89"/>
                      <a:pt x="48" y="89"/>
                    </a:cubicBezTo>
                    <a:cubicBezTo>
                      <a:pt x="49" y="88"/>
                      <a:pt x="49" y="88"/>
                      <a:pt x="49" y="88"/>
                    </a:cubicBezTo>
                    <a:cubicBezTo>
                      <a:pt x="49" y="88"/>
                      <a:pt x="49" y="88"/>
                      <a:pt x="49" y="88"/>
                    </a:cubicBezTo>
                    <a:cubicBezTo>
                      <a:pt x="50" y="87"/>
                      <a:pt x="50" y="86"/>
                      <a:pt x="50" y="85"/>
                    </a:cubicBezTo>
                    <a:cubicBezTo>
                      <a:pt x="51" y="84"/>
                      <a:pt x="52" y="83"/>
                      <a:pt x="54" y="82"/>
                    </a:cubicBezTo>
                    <a:cubicBezTo>
                      <a:pt x="54" y="82"/>
                      <a:pt x="54" y="82"/>
                      <a:pt x="54" y="82"/>
                    </a:cubicBezTo>
                    <a:cubicBezTo>
                      <a:pt x="54" y="82"/>
                      <a:pt x="54" y="82"/>
                      <a:pt x="54" y="82"/>
                    </a:cubicBezTo>
                    <a:cubicBezTo>
                      <a:pt x="54" y="81"/>
                      <a:pt x="54" y="81"/>
                      <a:pt x="54" y="81"/>
                    </a:cubicBezTo>
                    <a:cubicBezTo>
                      <a:pt x="55" y="79"/>
                      <a:pt x="55" y="79"/>
                      <a:pt x="55" y="79"/>
                    </a:cubicBezTo>
                    <a:cubicBezTo>
                      <a:pt x="55" y="79"/>
                      <a:pt x="55" y="78"/>
                      <a:pt x="56" y="78"/>
                    </a:cubicBezTo>
                    <a:cubicBezTo>
                      <a:pt x="55" y="77"/>
                      <a:pt x="55" y="77"/>
                      <a:pt x="55" y="77"/>
                    </a:cubicBezTo>
                    <a:cubicBezTo>
                      <a:pt x="55" y="76"/>
                      <a:pt x="55" y="76"/>
                      <a:pt x="55" y="76"/>
                    </a:cubicBezTo>
                    <a:cubicBezTo>
                      <a:pt x="55" y="74"/>
                      <a:pt x="55" y="73"/>
                      <a:pt x="56" y="71"/>
                    </a:cubicBezTo>
                    <a:cubicBezTo>
                      <a:pt x="56" y="71"/>
                      <a:pt x="56" y="71"/>
                      <a:pt x="56" y="71"/>
                    </a:cubicBezTo>
                    <a:cubicBezTo>
                      <a:pt x="56" y="69"/>
                      <a:pt x="56" y="65"/>
                      <a:pt x="60" y="64"/>
                    </a:cubicBezTo>
                    <a:cubicBezTo>
                      <a:pt x="61" y="64"/>
                      <a:pt x="61" y="64"/>
                      <a:pt x="61" y="64"/>
                    </a:cubicBezTo>
                    <a:cubicBezTo>
                      <a:pt x="61" y="64"/>
                      <a:pt x="61" y="64"/>
                      <a:pt x="61" y="64"/>
                    </a:cubicBezTo>
                    <a:cubicBezTo>
                      <a:pt x="63" y="64"/>
                      <a:pt x="64" y="65"/>
                      <a:pt x="65" y="66"/>
                    </a:cubicBezTo>
                    <a:cubicBezTo>
                      <a:pt x="65" y="66"/>
                      <a:pt x="66" y="66"/>
                      <a:pt x="66" y="67"/>
                    </a:cubicBezTo>
                    <a:cubicBezTo>
                      <a:pt x="66" y="67"/>
                      <a:pt x="66" y="67"/>
                      <a:pt x="66" y="67"/>
                    </a:cubicBezTo>
                    <a:cubicBezTo>
                      <a:pt x="67" y="67"/>
                      <a:pt x="67" y="67"/>
                      <a:pt x="67" y="67"/>
                    </a:cubicBezTo>
                    <a:cubicBezTo>
                      <a:pt x="67" y="67"/>
                      <a:pt x="68" y="66"/>
                      <a:pt x="69" y="66"/>
                    </a:cubicBezTo>
                    <a:cubicBezTo>
                      <a:pt x="70" y="65"/>
                      <a:pt x="71" y="65"/>
                      <a:pt x="72" y="65"/>
                    </a:cubicBezTo>
                    <a:cubicBezTo>
                      <a:pt x="73" y="65"/>
                      <a:pt x="73" y="65"/>
                      <a:pt x="73" y="65"/>
                    </a:cubicBezTo>
                    <a:cubicBezTo>
                      <a:pt x="74" y="65"/>
                      <a:pt x="74" y="65"/>
                      <a:pt x="74" y="65"/>
                    </a:cubicBezTo>
                    <a:cubicBezTo>
                      <a:pt x="75" y="65"/>
                      <a:pt x="75" y="65"/>
                      <a:pt x="75" y="65"/>
                    </a:cubicBezTo>
                    <a:cubicBezTo>
                      <a:pt x="75" y="66"/>
                      <a:pt x="76" y="66"/>
                      <a:pt x="76" y="66"/>
                    </a:cubicBezTo>
                    <a:cubicBezTo>
                      <a:pt x="77" y="67"/>
                      <a:pt x="77" y="67"/>
                      <a:pt x="77" y="67"/>
                    </a:cubicBezTo>
                    <a:cubicBezTo>
                      <a:pt x="78" y="68"/>
                      <a:pt x="78" y="68"/>
                      <a:pt x="78" y="68"/>
                    </a:cubicBezTo>
                    <a:cubicBezTo>
                      <a:pt x="79" y="68"/>
                      <a:pt x="79" y="68"/>
                      <a:pt x="79" y="68"/>
                    </a:cubicBezTo>
                    <a:cubicBezTo>
                      <a:pt x="79" y="68"/>
                      <a:pt x="79" y="68"/>
                      <a:pt x="79" y="68"/>
                    </a:cubicBezTo>
                    <a:cubicBezTo>
                      <a:pt x="79" y="68"/>
                      <a:pt x="80" y="68"/>
                      <a:pt x="80" y="68"/>
                    </a:cubicBezTo>
                    <a:cubicBezTo>
                      <a:pt x="81" y="68"/>
                      <a:pt x="81" y="68"/>
                      <a:pt x="81" y="68"/>
                    </a:cubicBezTo>
                    <a:cubicBezTo>
                      <a:pt x="81" y="68"/>
                      <a:pt x="82" y="68"/>
                      <a:pt x="83" y="68"/>
                    </a:cubicBezTo>
                    <a:cubicBezTo>
                      <a:pt x="83" y="68"/>
                      <a:pt x="83" y="68"/>
                      <a:pt x="83" y="68"/>
                    </a:cubicBezTo>
                    <a:cubicBezTo>
                      <a:pt x="82" y="65"/>
                      <a:pt x="82" y="63"/>
                      <a:pt x="83" y="61"/>
                    </a:cubicBezTo>
                    <a:cubicBezTo>
                      <a:pt x="83" y="60"/>
                      <a:pt x="83" y="59"/>
                      <a:pt x="83" y="58"/>
                    </a:cubicBezTo>
                    <a:cubicBezTo>
                      <a:pt x="83" y="57"/>
                      <a:pt x="83" y="57"/>
                      <a:pt x="83" y="57"/>
                    </a:cubicBezTo>
                    <a:cubicBezTo>
                      <a:pt x="82" y="57"/>
                      <a:pt x="81" y="57"/>
                      <a:pt x="81" y="57"/>
                    </a:cubicBezTo>
                    <a:cubicBezTo>
                      <a:pt x="77" y="61"/>
                      <a:pt x="77" y="61"/>
                      <a:pt x="77" y="61"/>
                    </a:cubicBezTo>
                    <a:cubicBezTo>
                      <a:pt x="79" y="56"/>
                      <a:pt x="79" y="56"/>
                      <a:pt x="79" y="56"/>
                    </a:cubicBezTo>
                    <a:cubicBezTo>
                      <a:pt x="79" y="56"/>
                      <a:pt x="79" y="56"/>
                      <a:pt x="79" y="56"/>
                    </a:cubicBezTo>
                    <a:cubicBezTo>
                      <a:pt x="76" y="53"/>
                      <a:pt x="73" y="50"/>
                      <a:pt x="71" y="47"/>
                    </a:cubicBezTo>
                    <a:cubicBezTo>
                      <a:pt x="67" y="42"/>
                      <a:pt x="67" y="42"/>
                      <a:pt x="67" y="42"/>
                    </a:cubicBezTo>
                    <a:cubicBezTo>
                      <a:pt x="72" y="42"/>
                      <a:pt x="72" y="42"/>
                      <a:pt x="72" y="42"/>
                    </a:cubicBezTo>
                    <a:cubicBezTo>
                      <a:pt x="71" y="42"/>
                      <a:pt x="71" y="42"/>
                      <a:pt x="71" y="42"/>
                    </a:cubicBezTo>
                    <a:cubicBezTo>
                      <a:pt x="71" y="41"/>
                      <a:pt x="71" y="41"/>
                      <a:pt x="71" y="41"/>
                    </a:cubicBezTo>
                    <a:cubicBezTo>
                      <a:pt x="70" y="41"/>
                      <a:pt x="70" y="41"/>
                      <a:pt x="70" y="41"/>
                    </a:cubicBezTo>
                    <a:cubicBezTo>
                      <a:pt x="68" y="40"/>
                      <a:pt x="66" y="38"/>
                      <a:pt x="64" y="37"/>
                    </a:cubicBezTo>
                    <a:cubicBezTo>
                      <a:pt x="61" y="33"/>
                      <a:pt x="60" y="31"/>
                      <a:pt x="60" y="29"/>
                    </a:cubicBezTo>
                    <a:cubicBezTo>
                      <a:pt x="60" y="28"/>
                      <a:pt x="60" y="28"/>
                      <a:pt x="60" y="28"/>
                    </a:cubicBezTo>
                    <a:cubicBezTo>
                      <a:pt x="61" y="27"/>
                      <a:pt x="61" y="27"/>
                      <a:pt x="61" y="27"/>
                    </a:cubicBezTo>
                    <a:cubicBezTo>
                      <a:pt x="61" y="26"/>
                      <a:pt x="61" y="26"/>
                      <a:pt x="62" y="26"/>
                    </a:cubicBezTo>
                    <a:cubicBezTo>
                      <a:pt x="62" y="25"/>
                      <a:pt x="62" y="25"/>
                      <a:pt x="62" y="25"/>
                    </a:cubicBezTo>
                    <a:cubicBezTo>
                      <a:pt x="63" y="23"/>
                      <a:pt x="63" y="20"/>
                      <a:pt x="63" y="18"/>
                    </a:cubicBezTo>
                    <a:cubicBezTo>
                      <a:pt x="63" y="18"/>
                      <a:pt x="63" y="18"/>
                      <a:pt x="63" y="18"/>
                    </a:cubicBezTo>
                    <a:cubicBezTo>
                      <a:pt x="61" y="18"/>
                      <a:pt x="61" y="18"/>
                      <a:pt x="61" y="18"/>
                    </a:cubicBezTo>
                    <a:cubicBezTo>
                      <a:pt x="61" y="18"/>
                      <a:pt x="61" y="18"/>
                      <a:pt x="61" y="18"/>
                    </a:cubicBezTo>
                    <a:cubicBezTo>
                      <a:pt x="59" y="18"/>
                      <a:pt x="56" y="17"/>
                      <a:pt x="52" y="15"/>
                    </a:cubicBezTo>
                    <a:cubicBezTo>
                      <a:pt x="51" y="15"/>
                      <a:pt x="51" y="15"/>
                      <a:pt x="51" y="15"/>
                    </a:cubicBezTo>
                    <a:cubicBezTo>
                      <a:pt x="50" y="14"/>
                      <a:pt x="49" y="14"/>
                      <a:pt x="48" y="13"/>
                    </a:cubicBezTo>
                    <a:cubicBezTo>
                      <a:pt x="46" y="12"/>
                      <a:pt x="43" y="11"/>
                      <a:pt x="41" y="10"/>
                    </a:cubicBezTo>
                    <a:cubicBezTo>
                      <a:pt x="39" y="9"/>
                      <a:pt x="38" y="9"/>
                      <a:pt x="37" y="8"/>
                    </a:cubicBezTo>
                    <a:cubicBezTo>
                      <a:pt x="32" y="5"/>
                      <a:pt x="27" y="3"/>
                      <a:pt x="22" y="1"/>
                    </a:cubicBezTo>
                    <a:cubicBezTo>
                      <a:pt x="21" y="1"/>
                      <a:pt x="20" y="1"/>
                      <a:pt x="19" y="1"/>
                    </a:cubicBezTo>
                    <a:cubicBezTo>
                      <a:pt x="18" y="0"/>
                      <a:pt x="18" y="0"/>
                      <a:pt x="18" y="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Rectangle 315"/>
              <p:cNvSpPr>
                <a:spLocks noChangeArrowheads="1"/>
              </p:cNvSpPr>
              <p:nvPr/>
            </p:nvSpPr>
            <p:spPr bwMode="auto">
              <a:xfrm>
                <a:off x="7171235" y="374039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Rectangle 316"/>
              <p:cNvSpPr>
                <a:spLocks noChangeArrowheads="1"/>
              </p:cNvSpPr>
              <p:nvPr/>
            </p:nvSpPr>
            <p:spPr bwMode="auto">
              <a:xfrm>
                <a:off x="7171235" y="374039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317"/>
              <p:cNvSpPr/>
              <p:nvPr/>
            </p:nvSpPr>
            <p:spPr bwMode="auto">
              <a:xfrm>
                <a:off x="6467378" y="3250273"/>
                <a:ext cx="829151" cy="567508"/>
              </a:xfrm>
              <a:custGeom>
                <a:gdLst>
                  <a:gd name="T0" fmla="*/ 132 w 262"/>
                  <a:gd name="T1" fmla="*/ 1 h 179"/>
                  <a:gd name="T2" fmla="*/ 120 w 262"/>
                  <a:gd name="T3" fmla="*/ 13 h 179"/>
                  <a:gd name="T4" fmla="*/ 109 w 262"/>
                  <a:gd name="T5" fmla="*/ 13 h 179"/>
                  <a:gd name="T6" fmla="*/ 99 w 262"/>
                  <a:gd name="T7" fmla="*/ 17 h 179"/>
                  <a:gd name="T8" fmla="*/ 95 w 262"/>
                  <a:gd name="T9" fmla="*/ 19 h 179"/>
                  <a:gd name="T10" fmla="*/ 92 w 262"/>
                  <a:gd name="T11" fmla="*/ 26 h 179"/>
                  <a:gd name="T12" fmla="*/ 95 w 262"/>
                  <a:gd name="T13" fmla="*/ 28 h 179"/>
                  <a:gd name="T14" fmla="*/ 91 w 262"/>
                  <a:gd name="T15" fmla="*/ 40 h 179"/>
                  <a:gd name="T16" fmla="*/ 70 w 262"/>
                  <a:gd name="T17" fmla="*/ 53 h 179"/>
                  <a:gd name="T18" fmla="*/ 67 w 262"/>
                  <a:gd name="T19" fmla="*/ 69 h 179"/>
                  <a:gd name="T20" fmla="*/ 65 w 262"/>
                  <a:gd name="T21" fmla="*/ 80 h 179"/>
                  <a:gd name="T22" fmla="*/ 57 w 262"/>
                  <a:gd name="T23" fmla="*/ 76 h 179"/>
                  <a:gd name="T24" fmla="*/ 48 w 262"/>
                  <a:gd name="T25" fmla="*/ 80 h 179"/>
                  <a:gd name="T26" fmla="*/ 42 w 262"/>
                  <a:gd name="T27" fmla="*/ 85 h 179"/>
                  <a:gd name="T28" fmla="*/ 29 w 262"/>
                  <a:gd name="T29" fmla="*/ 89 h 179"/>
                  <a:gd name="T30" fmla="*/ 24 w 262"/>
                  <a:gd name="T31" fmla="*/ 88 h 179"/>
                  <a:gd name="T32" fmla="*/ 8 w 262"/>
                  <a:gd name="T33" fmla="*/ 87 h 179"/>
                  <a:gd name="T34" fmla="*/ 13 w 262"/>
                  <a:gd name="T35" fmla="*/ 101 h 179"/>
                  <a:gd name="T36" fmla="*/ 14 w 262"/>
                  <a:gd name="T37" fmla="*/ 135 h 179"/>
                  <a:gd name="T38" fmla="*/ 8 w 262"/>
                  <a:gd name="T39" fmla="*/ 152 h 179"/>
                  <a:gd name="T40" fmla="*/ 8 w 262"/>
                  <a:gd name="T41" fmla="*/ 169 h 179"/>
                  <a:gd name="T42" fmla="*/ 16 w 262"/>
                  <a:gd name="T43" fmla="*/ 171 h 179"/>
                  <a:gd name="T44" fmla="*/ 34 w 262"/>
                  <a:gd name="T45" fmla="*/ 159 h 179"/>
                  <a:gd name="T46" fmla="*/ 45 w 262"/>
                  <a:gd name="T47" fmla="*/ 158 h 179"/>
                  <a:gd name="T48" fmla="*/ 75 w 262"/>
                  <a:gd name="T49" fmla="*/ 161 h 179"/>
                  <a:gd name="T50" fmla="*/ 133 w 262"/>
                  <a:gd name="T51" fmla="*/ 169 h 179"/>
                  <a:gd name="T52" fmla="*/ 140 w 262"/>
                  <a:gd name="T53" fmla="*/ 169 h 179"/>
                  <a:gd name="T54" fmla="*/ 155 w 262"/>
                  <a:gd name="T55" fmla="*/ 172 h 179"/>
                  <a:gd name="T56" fmla="*/ 160 w 262"/>
                  <a:gd name="T57" fmla="*/ 170 h 179"/>
                  <a:gd name="T58" fmla="*/ 170 w 262"/>
                  <a:gd name="T59" fmla="*/ 178 h 179"/>
                  <a:gd name="T60" fmla="*/ 181 w 262"/>
                  <a:gd name="T61" fmla="*/ 177 h 179"/>
                  <a:gd name="T62" fmla="*/ 192 w 262"/>
                  <a:gd name="T63" fmla="*/ 175 h 179"/>
                  <a:gd name="T64" fmla="*/ 201 w 262"/>
                  <a:gd name="T65" fmla="*/ 168 h 179"/>
                  <a:gd name="T66" fmla="*/ 215 w 262"/>
                  <a:gd name="T67" fmla="*/ 153 h 179"/>
                  <a:gd name="T68" fmla="*/ 223 w 262"/>
                  <a:gd name="T69" fmla="*/ 153 h 179"/>
                  <a:gd name="T70" fmla="*/ 229 w 262"/>
                  <a:gd name="T71" fmla="*/ 141 h 179"/>
                  <a:gd name="T72" fmla="*/ 221 w 262"/>
                  <a:gd name="T73" fmla="*/ 119 h 179"/>
                  <a:gd name="T74" fmla="*/ 224 w 262"/>
                  <a:gd name="T75" fmla="*/ 114 h 179"/>
                  <a:gd name="T76" fmla="*/ 233 w 262"/>
                  <a:gd name="T77" fmla="*/ 112 h 179"/>
                  <a:gd name="T78" fmla="*/ 262 w 262"/>
                  <a:gd name="T79" fmla="*/ 105 h 179"/>
                  <a:gd name="T80" fmla="*/ 233 w 262"/>
                  <a:gd name="T81" fmla="*/ 88 h 179"/>
                  <a:gd name="T82" fmla="*/ 209 w 262"/>
                  <a:gd name="T83" fmla="*/ 54 h 179"/>
                  <a:gd name="T84" fmla="*/ 208 w 262"/>
                  <a:gd name="T85" fmla="*/ 32 h 179"/>
                  <a:gd name="T86" fmla="*/ 195 w 262"/>
                  <a:gd name="T87" fmla="*/ 13 h 179"/>
                  <a:gd name="T88" fmla="*/ 180 w 262"/>
                  <a:gd name="T89" fmla="*/ 15 h 179"/>
                  <a:gd name="T90" fmla="*/ 172 w 262"/>
                  <a:gd name="T91" fmla="*/ 18 h 179"/>
                  <a:gd name="T92" fmla="*/ 168 w 262"/>
                  <a:gd name="T93" fmla="*/ 15 h 179"/>
                  <a:gd name="T94" fmla="*/ 167 w 262"/>
                  <a:gd name="T95" fmla="*/ 9 h 179"/>
                  <a:gd name="T96" fmla="*/ 160 w 262"/>
                  <a:gd name="T97" fmla="*/ 8 h 179"/>
                  <a:gd name="T98" fmla="*/ 148 w 262"/>
                  <a:gd name="T99" fmla="*/ 7 h 179"/>
                  <a:gd name="T100" fmla="*/ 145 w 262"/>
                  <a:gd name="T101" fmla="*/ 5 h 179"/>
                  <a:gd name="T102" fmla="*/ 139 w 262"/>
                  <a:gd name="T103" fmla="*/ 2 h 179"/>
                  <a:gd name="T104" fmla="*/ 136 w 262"/>
                  <a:gd name="T105" fmla="*/ 0 h 1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2" h="179">
                    <a:moveTo>
                      <a:pt x="136" y="0"/>
                    </a:moveTo>
                    <a:cubicBezTo>
                      <a:pt x="135" y="0"/>
                      <a:pt x="135" y="0"/>
                      <a:pt x="135" y="0"/>
                    </a:cubicBezTo>
                    <a:cubicBezTo>
                      <a:pt x="135" y="1"/>
                      <a:pt x="135" y="1"/>
                      <a:pt x="135" y="1"/>
                    </a:cubicBezTo>
                    <a:cubicBezTo>
                      <a:pt x="134" y="1"/>
                      <a:pt x="134" y="1"/>
                      <a:pt x="134" y="1"/>
                    </a:cubicBezTo>
                    <a:cubicBezTo>
                      <a:pt x="134" y="1"/>
                      <a:pt x="133" y="1"/>
                      <a:pt x="132" y="1"/>
                    </a:cubicBezTo>
                    <a:cubicBezTo>
                      <a:pt x="132" y="1"/>
                      <a:pt x="130" y="2"/>
                      <a:pt x="129" y="4"/>
                    </a:cubicBezTo>
                    <a:cubicBezTo>
                      <a:pt x="128" y="5"/>
                      <a:pt x="127" y="5"/>
                      <a:pt x="126" y="6"/>
                    </a:cubicBezTo>
                    <a:cubicBezTo>
                      <a:pt x="126" y="7"/>
                      <a:pt x="125" y="7"/>
                      <a:pt x="124" y="8"/>
                    </a:cubicBezTo>
                    <a:cubicBezTo>
                      <a:pt x="124" y="8"/>
                      <a:pt x="124" y="8"/>
                      <a:pt x="124" y="8"/>
                    </a:cubicBezTo>
                    <a:cubicBezTo>
                      <a:pt x="124" y="12"/>
                      <a:pt x="122" y="13"/>
                      <a:pt x="120" y="13"/>
                    </a:cubicBezTo>
                    <a:cubicBezTo>
                      <a:pt x="117" y="13"/>
                      <a:pt x="117" y="13"/>
                      <a:pt x="117" y="13"/>
                    </a:cubicBezTo>
                    <a:cubicBezTo>
                      <a:pt x="116" y="13"/>
                      <a:pt x="114" y="13"/>
                      <a:pt x="113" y="13"/>
                    </a:cubicBezTo>
                    <a:cubicBezTo>
                      <a:pt x="113" y="13"/>
                      <a:pt x="113" y="13"/>
                      <a:pt x="113" y="13"/>
                    </a:cubicBezTo>
                    <a:cubicBezTo>
                      <a:pt x="112" y="13"/>
                      <a:pt x="111" y="13"/>
                      <a:pt x="111" y="13"/>
                    </a:cubicBezTo>
                    <a:cubicBezTo>
                      <a:pt x="109" y="13"/>
                      <a:pt x="109" y="13"/>
                      <a:pt x="109" y="13"/>
                    </a:cubicBezTo>
                    <a:cubicBezTo>
                      <a:pt x="107" y="13"/>
                      <a:pt x="106" y="13"/>
                      <a:pt x="105" y="13"/>
                    </a:cubicBezTo>
                    <a:cubicBezTo>
                      <a:pt x="104" y="13"/>
                      <a:pt x="104" y="13"/>
                      <a:pt x="103" y="14"/>
                    </a:cubicBezTo>
                    <a:cubicBezTo>
                      <a:pt x="102" y="14"/>
                      <a:pt x="102" y="14"/>
                      <a:pt x="102" y="14"/>
                    </a:cubicBezTo>
                    <a:cubicBezTo>
                      <a:pt x="109" y="14"/>
                      <a:pt x="109" y="14"/>
                      <a:pt x="109" y="14"/>
                    </a:cubicBezTo>
                    <a:cubicBezTo>
                      <a:pt x="99" y="17"/>
                      <a:pt x="99" y="17"/>
                      <a:pt x="99" y="17"/>
                    </a:cubicBezTo>
                    <a:cubicBezTo>
                      <a:pt x="99" y="17"/>
                      <a:pt x="98" y="18"/>
                      <a:pt x="98" y="18"/>
                    </a:cubicBezTo>
                    <a:cubicBezTo>
                      <a:pt x="97" y="18"/>
                      <a:pt x="97" y="18"/>
                      <a:pt x="97" y="18"/>
                    </a:cubicBezTo>
                    <a:cubicBezTo>
                      <a:pt x="96" y="19"/>
                      <a:pt x="96" y="19"/>
                      <a:pt x="95" y="19"/>
                    </a:cubicBezTo>
                    <a:cubicBezTo>
                      <a:pt x="95" y="19"/>
                      <a:pt x="95" y="19"/>
                      <a:pt x="95" y="19"/>
                    </a:cubicBezTo>
                    <a:cubicBezTo>
                      <a:pt x="95" y="19"/>
                      <a:pt x="95" y="19"/>
                      <a:pt x="95" y="19"/>
                    </a:cubicBezTo>
                    <a:cubicBezTo>
                      <a:pt x="95" y="20"/>
                      <a:pt x="95" y="20"/>
                      <a:pt x="95" y="20"/>
                    </a:cubicBezTo>
                    <a:cubicBezTo>
                      <a:pt x="94" y="20"/>
                      <a:pt x="94" y="20"/>
                      <a:pt x="94" y="20"/>
                    </a:cubicBezTo>
                    <a:cubicBezTo>
                      <a:pt x="94" y="21"/>
                      <a:pt x="94" y="22"/>
                      <a:pt x="93" y="23"/>
                    </a:cubicBezTo>
                    <a:cubicBezTo>
                      <a:pt x="92" y="26"/>
                      <a:pt x="92" y="26"/>
                      <a:pt x="92" y="26"/>
                    </a:cubicBezTo>
                    <a:cubicBezTo>
                      <a:pt x="92" y="26"/>
                      <a:pt x="92" y="26"/>
                      <a:pt x="92" y="26"/>
                    </a:cubicBezTo>
                    <a:cubicBezTo>
                      <a:pt x="92" y="27"/>
                      <a:pt x="92" y="27"/>
                      <a:pt x="92" y="27"/>
                    </a:cubicBezTo>
                    <a:cubicBezTo>
                      <a:pt x="92" y="27"/>
                      <a:pt x="92" y="27"/>
                      <a:pt x="92" y="27"/>
                    </a:cubicBezTo>
                    <a:cubicBezTo>
                      <a:pt x="92" y="27"/>
                      <a:pt x="92" y="27"/>
                      <a:pt x="92" y="27"/>
                    </a:cubicBezTo>
                    <a:cubicBezTo>
                      <a:pt x="92" y="27"/>
                      <a:pt x="93" y="27"/>
                      <a:pt x="93" y="28"/>
                    </a:cubicBezTo>
                    <a:cubicBezTo>
                      <a:pt x="95" y="28"/>
                      <a:pt x="95" y="28"/>
                      <a:pt x="95" y="28"/>
                    </a:cubicBezTo>
                    <a:cubicBezTo>
                      <a:pt x="95" y="29"/>
                      <a:pt x="96" y="29"/>
                      <a:pt x="97" y="30"/>
                    </a:cubicBezTo>
                    <a:cubicBezTo>
                      <a:pt x="101" y="33"/>
                      <a:pt x="101" y="33"/>
                      <a:pt x="101" y="33"/>
                    </a:cubicBezTo>
                    <a:cubicBezTo>
                      <a:pt x="97" y="36"/>
                      <a:pt x="97" y="36"/>
                      <a:pt x="97" y="36"/>
                    </a:cubicBezTo>
                    <a:cubicBezTo>
                      <a:pt x="96" y="36"/>
                      <a:pt x="94" y="37"/>
                      <a:pt x="93" y="38"/>
                    </a:cubicBezTo>
                    <a:cubicBezTo>
                      <a:pt x="91" y="40"/>
                      <a:pt x="91" y="40"/>
                      <a:pt x="91" y="40"/>
                    </a:cubicBezTo>
                    <a:cubicBezTo>
                      <a:pt x="88" y="41"/>
                      <a:pt x="85" y="43"/>
                      <a:pt x="82" y="45"/>
                    </a:cubicBezTo>
                    <a:cubicBezTo>
                      <a:pt x="81" y="46"/>
                      <a:pt x="81" y="46"/>
                      <a:pt x="81" y="46"/>
                    </a:cubicBezTo>
                    <a:cubicBezTo>
                      <a:pt x="79" y="46"/>
                      <a:pt x="78" y="47"/>
                      <a:pt x="77" y="48"/>
                    </a:cubicBezTo>
                    <a:cubicBezTo>
                      <a:pt x="72" y="50"/>
                      <a:pt x="72" y="50"/>
                      <a:pt x="72" y="50"/>
                    </a:cubicBezTo>
                    <a:cubicBezTo>
                      <a:pt x="72" y="50"/>
                      <a:pt x="71" y="51"/>
                      <a:pt x="70" y="53"/>
                    </a:cubicBezTo>
                    <a:cubicBezTo>
                      <a:pt x="70" y="54"/>
                      <a:pt x="70" y="54"/>
                      <a:pt x="70" y="54"/>
                    </a:cubicBezTo>
                    <a:cubicBezTo>
                      <a:pt x="70" y="54"/>
                      <a:pt x="70" y="55"/>
                      <a:pt x="70" y="56"/>
                    </a:cubicBezTo>
                    <a:cubicBezTo>
                      <a:pt x="69" y="57"/>
                      <a:pt x="69" y="58"/>
                      <a:pt x="68" y="59"/>
                    </a:cubicBezTo>
                    <a:cubicBezTo>
                      <a:pt x="67" y="62"/>
                      <a:pt x="66" y="65"/>
                      <a:pt x="65" y="68"/>
                    </a:cubicBezTo>
                    <a:cubicBezTo>
                      <a:pt x="66" y="69"/>
                      <a:pt x="66" y="69"/>
                      <a:pt x="67" y="69"/>
                    </a:cubicBezTo>
                    <a:cubicBezTo>
                      <a:pt x="69" y="72"/>
                      <a:pt x="69" y="72"/>
                      <a:pt x="69" y="72"/>
                    </a:cubicBezTo>
                    <a:cubicBezTo>
                      <a:pt x="70" y="73"/>
                      <a:pt x="70" y="73"/>
                      <a:pt x="71" y="74"/>
                    </a:cubicBezTo>
                    <a:cubicBezTo>
                      <a:pt x="73" y="78"/>
                      <a:pt x="73" y="78"/>
                      <a:pt x="73" y="78"/>
                    </a:cubicBezTo>
                    <a:cubicBezTo>
                      <a:pt x="69" y="79"/>
                      <a:pt x="69" y="79"/>
                      <a:pt x="69" y="79"/>
                    </a:cubicBezTo>
                    <a:cubicBezTo>
                      <a:pt x="67" y="79"/>
                      <a:pt x="66" y="80"/>
                      <a:pt x="65" y="80"/>
                    </a:cubicBezTo>
                    <a:cubicBezTo>
                      <a:pt x="65" y="80"/>
                      <a:pt x="65" y="80"/>
                      <a:pt x="65" y="80"/>
                    </a:cubicBezTo>
                    <a:cubicBezTo>
                      <a:pt x="63" y="80"/>
                      <a:pt x="63" y="80"/>
                      <a:pt x="63" y="80"/>
                    </a:cubicBezTo>
                    <a:cubicBezTo>
                      <a:pt x="63" y="80"/>
                      <a:pt x="63" y="80"/>
                      <a:pt x="63" y="80"/>
                    </a:cubicBezTo>
                    <a:cubicBezTo>
                      <a:pt x="62" y="80"/>
                      <a:pt x="61" y="80"/>
                      <a:pt x="60" y="79"/>
                    </a:cubicBezTo>
                    <a:cubicBezTo>
                      <a:pt x="59" y="79"/>
                      <a:pt x="57" y="78"/>
                      <a:pt x="57" y="76"/>
                    </a:cubicBezTo>
                    <a:cubicBezTo>
                      <a:pt x="57" y="75"/>
                      <a:pt x="57" y="75"/>
                      <a:pt x="57" y="75"/>
                    </a:cubicBezTo>
                    <a:cubicBezTo>
                      <a:pt x="56" y="76"/>
                      <a:pt x="55" y="76"/>
                      <a:pt x="54" y="77"/>
                    </a:cubicBezTo>
                    <a:cubicBezTo>
                      <a:pt x="54" y="77"/>
                      <a:pt x="54" y="77"/>
                      <a:pt x="54" y="77"/>
                    </a:cubicBezTo>
                    <a:cubicBezTo>
                      <a:pt x="52" y="78"/>
                      <a:pt x="51" y="79"/>
                      <a:pt x="50" y="79"/>
                    </a:cubicBezTo>
                    <a:cubicBezTo>
                      <a:pt x="49" y="80"/>
                      <a:pt x="49" y="80"/>
                      <a:pt x="48" y="80"/>
                    </a:cubicBezTo>
                    <a:cubicBezTo>
                      <a:pt x="47" y="80"/>
                      <a:pt x="47" y="80"/>
                      <a:pt x="47" y="80"/>
                    </a:cubicBezTo>
                    <a:cubicBezTo>
                      <a:pt x="46" y="80"/>
                      <a:pt x="45" y="80"/>
                      <a:pt x="45" y="80"/>
                    </a:cubicBezTo>
                    <a:cubicBezTo>
                      <a:pt x="44" y="80"/>
                      <a:pt x="44" y="80"/>
                      <a:pt x="44" y="80"/>
                    </a:cubicBezTo>
                    <a:cubicBezTo>
                      <a:pt x="45" y="81"/>
                      <a:pt x="44" y="83"/>
                      <a:pt x="44" y="83"/>
                    </a:cubicBezTo>
                    <a:cubicBezTo>
                      <a:pt x="43" y="84"/>
                      <a:pt x="43" y="85"/>
                      <a:pt x="42" y="85"/>
                    </a:cubicBezTo>
                    <a:cubicBezTo>
                      <a:pt x="41" y="86"/>
                      <a:pt x="41" y="86"/>
                      <a:pt x="41" y="86"/>
                    </a:cubicBezTo>
                    <a:cubicBezTo>
                      <a:pt x="41" y="86"/>
                      <a:pt x="40" y="86"/>
                      <a:pt x="39" y="87"/>
                    </a:cubicBezTo>
                    <a:cubicBezTo>
                      <a:pt x="38" y="87"/>
                      <a:pt x="37" y="87"/>
                      <a:pt x="37" y="88"/>
                    </a:cubicBezTo>
                    <a:cubicBezTo>
                      <a:pt x="34" y="88"/>
                      <a:pt x="31" y="89"/>
                      <a:pt x="30" y="89"/>
                    </a:cubicBezTo>
                    <a:cubicBezTo>
                      <a:pt x="29" y="89"/>
                      <a:pt x="29" y="89"/>
                      <a:pt x="29" y="89"/>
                    </a:cubicBezTo>
                    <a:cubicBezTo>
                      <a:pt x="28" y="89"/>
                      <a:pt x="28" y="89"/>
                      <a:pt x="27" y="89"/>
                    </a:cubicBezTo>
                    <a:cubicBezTo>
                      <a:pt x="27" y="89"/>
                      <a:pt x="27" y="89"/>
                      <a:pt x="27" y="89"/>
                    </a:cubicBezTo>
                    <a:cubicBezTo>
                      <a:pt x="27" y="88"/>
                      <a:pt x="27" y="88"/>
                      <a:pt x="27" y="88"/>
                    </a:cubicBezTo>
                    <a:cubicBezTo>
                      <a:pt x="27" y="89"/>
                      <a:pt x="27" y="89"/>
                      <a:pt x="27" y="89"/>
                    </a:cubicBezTo>
                    <a:cubicBezTo>
                      <a:pt x="25" y="89"/>
                      <a:pt x="25" y="89"/>
                      <a:pt x="24" y="88"/>
                    </a:cubicBezTo>
                    <a:cubicBezTo>
                      <a:pt x="22" y="88"/>
                      <a:pt x="22" y="88"/>
                      <a:pt x="22" y="88"/>
                    </a:cubicBezTo>
                    <a:cubicBezTo>
                      <a:pt x="20" y="87"/>
                      <a:pt x="17" y="87"/>
                      <a:pt x="13" y="87"/>
                    </a:cubicBezTo>
                    <a:cubicBezTo>
                      <a:pt x="12" y="87"/>
                      <a:pt x="11" y="87"/>
                      <a:pt x="10" y="87"/>
                    </a:cubicBezTo>
                    <a:cubicBezTo>
                      <a:pt x="9" y="87"/>
                      <a:pt x="9" y="87"/>
                      <a:pt x="9" y="87"/>
                    </a:cubicBezTo>
                    <a:cubicBezTo>
                      <a:pt x="9" y="87"/>
                      <a:pt x="8" y="87"/>
                      <a:pt x="8" y="87"/>
                    </a:cubicBezTo>
                    <a:cubicBezTo>
                      <a:pt x="8" y="89"/>
                      <a:pt x="9" y="90"/>
                      <a:pt x="9" y="91"/>
                    </a:cubicBezTo>
                    <a:cubicBezTo>
                      <a:pt x="9" y="92"/>
                      <a:pt x="9" y="92"/>
                      <a:pt x="9" y="92"/>
                    </a:cubicBezTo>
                    <a:cubicBezTo>
                      <a:pt x="10" y="93"/>
                      <a:pt x="10" y="93"/>
                      <a:pt x="10" y="93"/>
                    </a:cubicBezTo>
                    <a:cubicBezTo>
                      <a:pt x="10" y="95"/>
                      <a:pt x="11" y="98"/>
                      <a:pt x="12" y="100"/>
                    </a:cubicBezTo>
                    <a:cubicBezTo>
                      <a:pt x="13" y="101"/>
                      <a:pt x="13" y="101"/>
                      <a:pt x="13" y="101"/>
                    </a:cubicBezTo>
                    <a:cubicBezTo>
                      <a:pt x="15" y="105"/>
                      <a:pt x="17" y="109"/>
                      <a:pt x="18" y="113"/>
                    </a:cubicBezTo>
                    <a:cubicBezTo>
                      <a:pt x="18" y="115"/>
                      <a:pt x="20" y="122"/>
                      <a:pt x="19" y="128"/>
                    </a:cubicBezTo>
                    <a:cubicBezTo>
                      <a:pt x="19" y="129"/>
                      <a:pt x="19" y="129"/>
                      <a:pt x="19" y="129"/>
                    </a:cubicBezTo>
                    <a:cubicBezTo>
                      <a:pt x="19" y="131"/>
                      <a:pt x="18" y="132"/>
                      <a:pt x="16" y="134"/>
                    </a:cubicBezTo>
                    <a:cubicBezTo>
                      <a:pt x="15" y="134"/>
                      <a:pt x="15" y="135"/>
                      <a:pt x="14" y="135"/>
                    </a:cubicBezTo>
                    <a:cubicBezTo>
                      <a:pt x="13" y="136"/>
                      <a:pt x="13" y="136"/>
                      <a:pt x="13" y="136"/>
                    </a:cubicBezTo>
                    <a:cubicBezTo>
                      <a:pt x="0" y="147"/>
                      <a:pt x="0" y="147"/>
                      <a:pt x="0" y="147"/>
                    </a:cubicBezTo>
                    <a:cubicBezTo>
                      <a:pt x="1" y="148"/>
                      <a:pt x="3" y="148"/>
                      <a:pt x="3" y="149"/>
                    </a:cubicBezTo>
                    <a:cubicBezTo>
                      <a:pt x="4" y="149"/>
                      <a:pt x="4" y="149"/>
                      <a:pt x="4" y="149"/>
                    </a:cubicBezTo>
                    <a:cubicBezTo>
                      <a:pt x="5" y="150"/>
                      <a:pt x="7" y="151"/>
                      <a:pt x="8" y="152"/>
                    </a:cubicBezTo>
                    <a:cubicBezTo>
                      <a:pt x="9" y="153"/>
                      <a:pt x="9" y="153"/>
                      <a:pt x="9" y="153"/>
                    </a:cubicBezTo>
                    <a:cubicBezTo>
                      <a:pt x="10" y="154"/>
                      <a:pt x="10" y="154"/>
                      <a:pt x="10" y="154"/>
                    </a:cubicBezTo>
                    <a:cubicBezTo>
                      <a:pt x="10" y="155"/>
                      <a:pt x="10" y="155"/>
                      <a:pt x="10" y="156"/>
                    </a:cubicBezTo>
                    <a:cubicBezTo>
                      <a:pt x="11" y="159"/>
                      <a:pt x="10" y="162"/>
                      <a:pt x="9" y="166"/>
                    </a:cubicBezTo>
                    <a:cubicBezTo>
                      <a:pt x="9" y="167"/>
                      <a:pt x="8" y="168"/>
                      <a:pt x="8" y="169"/>
                    </a:cubicBezTo>
                    <a:cubicBezTo>
                      <a:pt x="8" y="169"/>
                      <a:pt x="8" y="170"/>
                      <a:pt x="8" y="171"/>
                    </a:cubicBezTo>
                    <a:cubicBezTo>
                      <a:pt x="8" y="172"/>
                      <a:pt x="8" y="172"/>
                      <a:pt x="8" y="173"/>
                    </a:cubicBezTo>
                    <a:cubicBezTo>
                      <a:pt x="8" y="173"/>
                      <a:pt x="8" y="173"/>
                      <a:pt x="8" y="173"/>
                    </a:cubicBezTo>
                    <a:cubicBezTo>
                      <a:pt x="10" y="172"/>
                      <a:pt x="13" y="172"/>
                      <a:pt x="15" y="171"/>
                    </a:cubicBezTo>
                    <a:cubicBezTo>
                      <a:pt x="16" y="171"/>
                      <a:pt x="16" y="171"/>
                      <a:pt x="16" y="171"/>
                    </a:cubicBezTo>
                    <a:cubicBezTo>
                      <a:pt x="17" y="170"/>
                      <a:pt x="18" y="170"/>
                      <a:pt x="18" y="170"/>
                    </a:cubicBezTo>
                    <a:cubicBezTo>
                      <a:pt x="19" y="169"/>
                      <a:pt x="20" y="168"/>
                      <a:pt x="21" y="166"/>
                    </a:cubicBezTo>
                    <a:cubicBezTo>
                      <a:pt x="23" y="164"/>
                      <a:pt x="26" y="161"/>
                      <a:pt x="30" y="160"/>
                    </a:cubicBezTo>
                    <a:cubicBezTo>
                      <a:pt x="31" y="159"/>
                      <a:pt x="32" y="159"/>
                      <a:pt x="33" y="159"/>
                    </a:cubicBezTo>
                    <a:cubicBezTo>
                      <a:pt x="34" y="159"/>
                      <a:pt x="34" y="159"/>
                      <a:pt x="34" y="159"/>
                    </a:cubicBezTo>
                    <a:cubicBezTo>
                      <a:pt x="35" y="159"/>
                      <a:pt x="36" y="159"/>
                      <a:pt x="37" y="159"/>
                    </a:cubicBezTo>
                    <a:cubicBezTo>
                      <a:pt x="37" y="159"/>
                      <a:pt x="38" y="159"/>
                      <a:pt x="39" y="159"/>
                    </a:cubicBezTo>
                    <a:cubicBezTo>
                      <a:pt x="39" y="159"/>
                      <a:pt x="40" y="159"/>
                      <a:pt x="40" y="159"/>
                    </a:cubicBezTo>
                    <a:cubicBezTo>
                      <a:pt x="42" y="159"/>
                      <a:pt x="43" y="159"/>
                      <a:pt x="45" y="158"/>
                    </a:cubicBezTo>
                    <a:cubicBezTo>
                      <a:pt x="45" y="158"/>
                      <a:pt x="45" y="158"/>
                      <a:pt x="45" y="158"/>
                    </a:cubicBezTo>
                    <a:cubicBezTo>
                      <a:pt x="47" y="158"/>
                      <a:pt x="49" y="157"/>
                      <a:pt x="51" y="157"/>
                    </a:cubicBezTo>
                    <a:cubicBezTo>
                      <a:pt x="52" y="157"/>
                      <a:pt x="52" y="157"/>
                      <a:pt x="53" y="157"/>
                    </a:cubicBezTo>
                    <a:cubicBezTo>
                      <a:pt x="54" y="157"/>
                      <a:pt x="55" y="157"/>
                      <a:pt x="56" y="157"/>
                    </a:cubicBezTo>
                    <a:cubicBezTo>
                      <a:pt x="62" y="158"/>
                      <a:pt x="68" y="159"/>
                      <a:pt x="74" y="161"/>
                    </a:cubicBezTo>
                    <a:cubicBezTo>
                      <a:pt x="75" y="161"/>
                      <a:pt x="75" y="161"/>
                      <a:pt x="75" y="161"/>
                    </a:cubicBezTo>
                    <a:cubicBezTo>
                      <a:pt x="111" y="168"/>
                      <a:pt x="111" y="168"/>
                      <a:pt x="111" y="168"/>
                    </a:cubicBezTo>
                    <a:cubicBezTo>
                      <a:pt x="112" y="168"/>
                      <a:pt x="113" y="168"/>
                      <a:pt x="113" y="168"/>
                    </a:cubicBezTo>
                    <a:cubicBezTo>
                      <a:pt x="117" y="169"/>
                      <a:pt x="122" y="169"/>
                      <a:pt x="124" y="172"/>
                    </a:cubicBezTo>
                    <a:cubicBezTo>
                      <a:pt x="127" y="170"/>
                      <a:pt x="129" y="170"/>
                      <a:pt x="133" y="169"/>
                    </a:cubicBezTo>
                    <a:cubicBezTo>
                      <a:pt x="133" y="169"/>
                      <a:pt x="133" y="169"/>
                      <a:pt x="133" y="169"/>
                    </a:cubicBezTo>
                    <a:cubicBezTo>
                      <a:pt x="134" y="169"/>
                      <a:pt x="134" y="169"/>
                      <a:pt x="135" y="169"/>
                    </a:cubicBezTo>
                    <a:cubicBezTo>
                      <a:pt x="136" y="169"/>
                      <a:pt x="136" y="169"/>
                      <a:pt x="136" y="169"/>
                    </a:cubicBezTo>
                    <a:cubicBezTo>
                      <a:pt x="138" y="168"/>
                      <a:pt x="138" y="168"/>
                      <a:pt x="138" y="168"/>
                    </a:cubicBezTo>
                    <a:cubicBezTo>
                      <a:pt x="139" y="169"/>
                      <a:pt x="139" y="169"/>
                      <a:pt x="139" y="169"/>
                    </a:cubicBezTo>
                    <a:cubicBezTo>
                      <a:pt x="139" y="169"/>
                      <a:pt x="140" y="169"/>
                      <a:pt x="140" y="169"/>
                    </a:cubicBezTo>
                    <a:cubicBezTo>
                      <a:pt x="141" y="170"/>
                      <a:pt x="141" y="170"/>
                      <a:pt x="141" y="170"/>
                    </a:cubicBezTo>
                    <a:cubicBezTo>
                      <a:pt x="141" y="170"/>
                      <a:pt x="142" y="171"/>
                      <a:pt x="142" y="171"/>
                    </a:cubicBezTo>
                    <a:cubicBezTo>
                      <a:pt x="144" y="173"/>
                      <a:pt x="146" y="174"/>
                      <a:pt x="148" y="175"/>
                    </a:cubicBezTo>
                    <a:cubicBezTo>
                      <a:pt x="149" y="175"/>
                      <a:pt x="150" y="176"/>
                      <a:pt x="151" y="176"/>
                    </a:cubicBezTo>
                    <a:cubicBezTo>
                      <a:pt x="152" y="174"/>
                      <a:pt x="153" y="174"/>
                      <a:pt x="155" y="172"/>
                    </a:cubicBezTo>
                    <a:cubicBezTo>
                      <a:pt x="156" y="172"/>
                      <a:pt x="156" y="172"/>
                      <a:pt x="156" y="172"/>
                    </a:cubicBezTo>
                    <a:cubicBezTo>
                      <a:pt x="156" y="172"/>
                      <a:pt x="156" y="172"/>
                      <a:pt x="157" y="172"/>
                    </a:cubicBezTo>
                    <a:cubicBezTo>
                      <a:pt x="157" y="171"/>
                      <a:pt x="157" y="171"/>
                      <a:pt x="157" y="171"/>
                    </a:cubicBezTo>
                    <a:cubicBezTo>
                      <a:pt x="159" y="170"/>
                      <a:pt x="159" y="170"/>
                      <a:pt x="159" y="170"/>
                    </a:cubicBezTo>
                    <a:cubicBezTo>
                      <a:pt x="160" y="170"/>
                      <a:pt x="160" y="170"/>
                      <a:pt x="160" y="170"/>
                    </a:cubicBezTo>
                    <a:cubicBezTo>
                      <a:pt x="160" y="169"/>
                      <a:pt x="161" y="169"/>
                      <a:pt x="161" y="169"/>
                    </a:cubicBezTo>
                    <a:cubicBezTo>
                      <a:pt x="165" y="169"/>
                      <a:pt x="168" y="173"/>
                      <a:pt x="169" y="175"/>
                    </a:cubicBezTo>
                    <a:cubicBezTo>
                      <a:pt x="170" y="176"/>
                      <a:pt x="170" y="176"/>
                      <a:pt x="170" y="176"/>
                    </a:cubicBezTo>
                    <a:cubicBezTo>
                      <a:pt x="173" y="174"/>
                      <a:pt x="173" y="174"/>
                      <a:pt x="173" y="174"/>
                    </a:cubicBezTo>
                    <a:cubicBezTo>
                      <a:pt x="170" y="178"/>
                      <a:pt x="170" y="178"/>
                      <a:pt x="170" y="178"/>
                    </a:cubicBezTo>
                    <a:cubicBezTo>
                      <a:pt x="171" y="179"/>
                      <a:pt x="171" y="179"/>
                      <a:pt x="171" y="179"/>
                    </a:cubicBezTo>
                    <a:cubicBezTo>
                      <a:pt x="172" y="179"/>
                      <a:pt x="172" y="179"/>
                      <a:pt x="173" y="179"/>
                    </a:cubicBezTo>
                    <a:cubicBezTo>
                      <a:pt x="174" y="179"/>
                      <a:pt x="175" y="179"/>
                      <a:pt x="176" y="178"/>
                    </a:cubicBezTo>
                    <a:cubicBezTo>
                      <a:pt x="176" y="178"/>
                      <a:pt x="177" y="178"/>
                      <a:pt x="177" y="178"/>
                    </a:cubicBezTo>
                    <a:cubicBezTo>
                      <a:pt x="178" y="178"/>
                      <a:pt x="180" y="177"/>
                      <a:pt x="181" y="177"/>
                    </a:cubicBezTo>
                    <a:cubicBezTo>
                      <a:pt x="182" y="177"/>
                      <a:pt x="184" y="176"/>
                      <a:pt x="185" y="176"/>
                    </a:cubicBezTo>
                    <a:cubicBezTo>
                      <a:pt x="186" y="176"/>
                      <a:pt x="186" y="176"/>
                      <a:pt x="187" y="176"/>
                    </a:cubicBezTo>
                    <a:cubicBezTo>
                      <a:pt x="188" y="175"/>
                      <a:pt x="189" y="175"/>
                      <a:pt x="190" y="175"/>
                    </a:cubicBezTo>
                    <a:cubicBezTo>
                      <a:pt x="191" y="175"/>
                      <a:pt x="191" y="175"/>
                      <a:pt x="191" y="175"/>
                    </a:cubicBezTo>
                    <a:cubicBezTo>
                      <a:pt x="192" y="175"/>
                      <a:pt x="192" y="175"/>
                      <a:pt x="192" y="175"/>
                    </a:cubicBezTo>
                    <a:cubicBezTo>
                      <a:pt x="193" y="175"/>
                      <a:pt x="193" y="175"/>
                      <a:pt x="193" y="175"/>
                    </a:cubicBezTo>
                    <a:cubicBezTo>
                      <a:pt x="194" y="175"/>
                      <a:pt x="195" y="176"/>
                      <a:pt x="196" y="176"/>
                    </a:cubicBezTo>
                    <a:cubicBezTo>
                      <a:pt x="198" y="177"/>
                      <a:pt x="199" y="178"/>
                      <a:pt x="201" y="179"/>
                    </a:cubicBezTo>
                    <a:cubicBezTo>
                      <a:pt x="200" y="178"/>
                      <a:pt x="200" y="178"/>
                      <a:pt x="200" y="177"/>
                    </a:cubicBezTo>
                    <a:cubicBezTo>
                      <a:pt x="199" y="173"/>
                      <a:pt x="200" y="171"/>
                      <a:pt x="201" y="168"/>
                    </a:cubicBezTo>
                    <a:cubicBezTo>
                      <a:pt x="202" y="167"/>
                      <a:pt x="202" y="166"/>
                      <a:pt x="203" y="166"/>
                    </a:cubicBezTo>
                    <a:cubicBezTo>
                      <a:pt x="203" y="165"/>
                      <a:pt x="203" y="165"/>
                      <a:pt x="203" y="165"/>
                    </a:cubicBezTo>
                    <a:cubicBezTo>
                      <a:pt x="203" y="165"/>
                      <a:pt x="203" y="164"/>
                      <a:pt x="204" y="164"/>
                    </a:cubicBezTo>
                    <a:cubicBezTo>
                      <a:pt x="207" y="160"/>
                      <a:pt x="207" y="160"/>
                      <a:pt x="207" y="160"/>
                    </a:cubicBezTo>
                    <a:cubicBezTo>
                      <a:pt x="210" y="156"/>
                      <a:pt x="212" y="154"/>
                      <a:pt x="215" y="153"/>
                    </a:cubicBezTo>
                    <a:cubicBezTo>
                      <a:pt x="217" y="152"/>
                      <a:pt x="218" y="152"/>
                      <a:pt x="220" y="152"/>
                    </a:cubicBezTo>
                    <a:cubicBezTo>
                      <a:pt x="220" y="152"/>
                      <a:pt x="220" y="152"/>
                      <a:pt x="220" y="152"/>
                    </a:cubicBezTo>
                    <a:cubicBezTo>
                      <a:pt x="221" y="152"/>
                      <a:pt x="221" y="152"/>
                      <a:pt x="221" y="152"/>
                    </a:cubicBezTo>
                    <a:cubicBezTo>
                      <a:pt x="221" y="152"/>
                      <a:pt x="222" y="153"/>
                      <a:pt x="222" y="153"/>
                    </a:cubicBezTo>
                    <a:cubicBezTo>
                      <a:pt x="223" y="153"/>
                      <a:pt x="223" y="153"/>
                      <a:pt x="223" y="153"/>
                    </a:cubicBezTo>
                    <a:cubicBezTo>
                      <a:pt x="223" y="152"/>
                      <a:pt x="223" y="152"/>
                      <a:pt x="224" y="152"/>
                    </a:cubicBezTo>
                    <a:cubicBezTo>
                      <a:pt x="224" y="152"/>
                      <a:pt x="224" y="152"/>
                      <a:pt x="224" y="152"/>
                    </a:cubicBezTo>
                    <a:cubicBezTo>
                      <a:pt x="226" y="151"/>
                      <a:pt x="227" y="151"/>
                      <a:pt x="229" y="151"/>
                    </a:cubicBezTo>
                    <a:cubicBezTo>
                      <a:pt x="230" y="151"/>
                      <a:pt x="231" y="151"/>
                      <a:pt x="232" y="151"/>
                    </a:cubicBezTo>
                    <a:cubicBezTo>
                      <a:pt x="230" y="149"/>
                      <a:pt x="229" y="146"/>
                      <a:pt x="229" y="141"/>
                    </a:cubicBezTo>
                    <a:cubicBezTo>
                      <a:pt x="230" y="131"/>
                      <a:pt x="229" y="129"/>
                      <a:pt x="228" y="129"/>
                    </a:cubicBezTo>
                    <a:cubicBezTo>
                      <a:pt x="226" y="128"/>
                      <a:pt x="224" y="125"/>
                      <a:pt x="223" y="123"/>
                    </a:cubicBezTo>
                    <a:cubicBezTo>
                      <a:pt x="222" y="123"/>
                      <a:pt x="222" y="122"/>
                      <a:pt x="222" y="122"/>
                    </a:cubicBezTo>
                    <a:cubicBezTo>
                      <a:pt x="220" y="121"/>
                      <a:pt x="220" y="121"/>
                      <a:pt x="220" y="121"/>
                    </a:cubicBezTo>
                    <a:cubicBezTo>
                      <a:pt x="221" y="119"/>
                      <a:pt x="221" y="119"/>
                      <a:pt x="221" y="119"/>
                    </a:cubicBezTo>
                    <a:cubicBezTo>
                      <a:pt x="221" y="118"/>
                      <a:pt x="221" y="117"/>
                      <a:pt x="222" y="116"/>
                    </a:cubicBezTo>
                    <a:cubicBezTo>
                      <a:pt x="222" y="115"/>
                      <a:pt x="222" y="115"/>
                      <a:pt x="222" y="115"/>
                    </a:cubicBezTo>
                    <a:cubicBezTo>
                      <a:pt x="224" y="116"/>
                      <a:pt x="224" y="116"/>
                      <a:pt x="224" y="116"/>
                    </a:cubicBezTo>
                    <a:cubicBezTo>
                      <a:pt x="223" y="115"/>
                      <a:pt x="223" y="115"/>
                      <a:pt x="223" y="115"/>
                    </a:cubicBezTo>
                    <a:cubicBezTo>
                      <a:pt x="223" y="115"/>
                      <a:pt x="223" y="114"/>
                      <a:pt x="224" y="114"/>
                    </a:cubicBezTo>
                    <a:cubicBezTo>
                      <a:pt x="224" y="114"/>
                      <a:pt x="224" y="114"/>
                      <a:pt x="224" y="114"/>
                    </a:cubicBezTo>
                    <a:cubicBezTo>
                      <a:pt x="225" y="113"/>
                      <a:pt x="226" y="113"/>
                      <a:pt x="227" y="113"/>
                    </a:cubicBezTo>
                    <a:cubicBezTo>
                      <a:pt x="227" y="113"/>
                      <a:pt x="228" y="112"/>
                      <a:pt x="228" y="112"/>
                    </a:cubicBezTo>
                    <a:cubicBezTo>
                      <a:pt x="229" y="112"/>
                      <a:pt x="230" y="112"/>
                      <a:pt x="232" y="112"/>
                    </a:cubicBezTo>
                    <a:cubicBezTo>
                      <a:pt x="232" y="112"/>
                      <a:pt x="233" y="112"/>
                      <a:pt x="233" y="112"/>
                    </a:cubicBezTo>
                    <a:cubicBezTo>
                      <a:pt x="235" y="112"/>
                      <a:pt x="236" y="112"/>
                      <a:pt x="238" y="112"/>
                    </a:cubicBezTo>
                    <a:cubicBezTo>
                      <a:pt x="239" y="112"/>
                      <a:pt x="241" y="113"/>
                      <a:pt x="243" y="113"/>
                    </a:cubicBezTo>
                    <a:cubicBezTo>
                      <a:pt x="244" y="113"/>
                      <a:pt x="245" y="113"/>
                      <a:pt x="245" y="113"/>
                    </a:cubicBezTo>
                    <a:cubicBezTo>
                      <a:pt x="250" y="113"/>
                      <a:pt x="255" y="110"/>
                      <a:pt x="258" y="108"/>
                    </a:cubicBezTo>
                    <a:cubicBezTo>
                      <a:pt x="260" y="107"/>
                      <a:pt x="261" y="106"/>
                      <a:pt x="262" y="105"/>
                    </a:cubicBezTo>
                    <a:cubicBezTo>
                      <a:pt x="261" y="105"/>
                      <a:pt x="260" y="104"/>
                      <a:pt x="260" y="104"/>
                    </a:cubicBezTo>
                    <a:cubicBezTo>
                      <a:pt x="256" y="102"/>
                      <a:pt x="254" y="99"/>
                      <a:pt x="253" y="96"/>
                    </a:cubicBezTo>
                    <a:cubicBezTo>
                      <a:pt x="253" y="96"/>
                      <a:pt x="253" y="96"/>
                      <a:pt x="253" y="96"/>
                    </a:cubicBezTo>
                    <a:cubicBezTo>
                      <a:pt x="243" y="95"/>
                      <a:pt x="237" y="93"/>
                      <a:pt x="235" y="91"/>
                    </a:cubicBezTo>
                    <a:cubicBezTo>
                      <a:pt x="233" y="88"/>
                      <a:pt x="233" y="88"/>
                      <a:pt x="233" y="88"/>
                    </a:cubicBezTo>
                    <a:cubicBezTo>
                      <a:pt x="236" y="86"/>
                      <a:pt x="236" y="86"/>
                      <a:pt x="236" y="86"/>
                    </a:cubicBezTo>
                    <a:cubicBezTo>
                      <a:pt x="236" y="86"/>
                      <a:pt x="237" y="84"/>
                      <a:pt x="236" y="83"/>
                    </a:cubicBezTo>
                    <a:cubicBezTo>
                      <a:pt x="236" y="80"/>
                      <a:pt x="234" y="79"/>
                      <a:pt x="232" y="78"/>
                    </a:cubicBezTo>
                    <a:cubicBezTo>
                      <a:pt x="222" y="73"/>
                      <a:pt x="218" y="64"/>
                      <a:pt x="218" y="59"/>
                    </a:cubicBezTo>
                    <a:cubicBezTo>
                      <a:pt x="218" y="58"/>
                      <a:pt x="214" y="55"/>
                      <a:pt x="209" y="54"/>
                    </a:cubicBezTo>
                    <a:cubicBezTo>
                      <a:pt x="206" y="53"/>
                      <a:pt x="206" y="53"/>
                      <a:pt x="206" y="53"/>
                    </a:cubicBezTo>
                    <a:cubicBezTo>
                      <a:pt x="207" y="50"/>
                      <a:pt x="207" y="50"/>
                      <a:pt x="207" y="50"/>
                    </a:cubicBezTo>
                    <a:cubicBezTo>
                      <a:pt x="207" y="48"/>
                      <a:pt x="211" y="43"/>
                      <a:pt x="213" y="40"/>
                    </a:cubicBezTo>
                    <a:cubicBezTo>
                      <a:pt x="213" y="39"/>
                      <a:pt x="212" y="38"/>
                      <a:pt x="211" y="37"/>
                    </a:cubicBezTo>
                    <a:cubicBezTo>
                      <a:pt x="210" y="36"/>
                      <a:pt x="209" y="34"/>
                      <a:pt x="208" y="32"/>
                    </a:cubicBezTo>
                    <a:cubicBezTo>
                      <a:pt x="207" y="29"/>
                      <a:pt x="207" y="29"/>
                      <a:pt x="207" y="29"/>
                    </a:cubicBezTo>
                    <a:cubicBezTo>
                      <a:pt x="211" y="26"/>
                      <a:pt x="211" y="26"/>
                      <a:pt x="211" y="26"/>
                    </a:cubicBezTo>
                    <a:cubicBezTo>
                      <a:pt x="211" y="20"/>
                      <a:pt x="211" y="20"/>
                      <a:pt x="211" y="20"/>
                    </a:cubicBezTo>
                    <a:cubicBezTo>
                      <a:pt x="209" y="19"/>
                      <a:pt x="206" y="17"/>
                      <a:pt x="200" y="14"/>
                    </a:cubicBezTo>
                    <a:cubicBezTo>
                      <a:pt x="198" y="14"/>
                      <a:pt x="197" y="13"/>
                      <a:pt x="195" y="13"/>
                    </a:cubicBezTo>
                    <a:cubicBezTo>
                      <a:pt x="194" y="12"/>
                      <a:pt x="194" y="12"/>
                      <a:pt x="194" y="12"/>
                    </a:cubicBezTo>
                    <a:cubicBezTo>
                      <a:pt x="193" y="12"/>
                      <a:pt x="191" y="12"/>
                      <a:pt x="189" y="12"/>
                    </a:cubicBezTo>
                    <a:cubicBezTo>
                      <a:pt x="187" y="12"/>
                      <a:pt x="185" y="12"/>
                      <a:pt x="184" y="13"/>
                    </a:cubicBezTo>
                    <a:cubicBezTo>
                      <a:pt x="183" y="14"/>
                      <a:pt x="181" y="15"/>
                      <a:pt x="180" y="15"/>
                    </a:cubicBezTo>
                    <a:cubicBezTo>
                      <a:pt x="180" y="15"/>
                      <a:pt x="180" y="15"/>
                      <a:pt x="180" y="15"/>
                    </a:cubicBezTo>
                    <a:cubicBezTo>
                      <a:pt x="179" y="16"/>
                      <a:pt x="178" y="16"/>
                      <a:pt x="177" y="17"/>
                    </a:cubicBezTo>
                    <a:cubicBezTo>
                      <a:pt x="176" y="17"/>
                      <a:pt x="176" y="18"/>
                      <a:pt x="175" y="18"/>
                    </a:cubicBezTo>
                    <a:cubicBezTo>
                      <a:pt x="174" y="18"/>
                      <a:pt x="174" y="18"/>
                      <a:pt x="174" y="18"/>
                    </a:cubicBezTo>
                    <a:cubicBezTo>
                      <a:pt x="174" y="18"/>
                      <a:pt x="174" y="18"/>
                      <a:pt x="174" y="18"/>
                    </a:cubicBezTo>
                    <a:cubicBezTo>
                      <a:pt x="173" y="18"/>
                      <a:pt x="173" y="18"/>
                      <a:pt x="172" y="18"/>
                    </a:cubicBezTo>
                    <a:cubicBezTo>
                      <a:pt x="172" y="18"/>
                      <a:pt x="172" y="18"/>
                      <a:pt x="172" y="18"/>
                    </a:cubicBezTo>
                    <a:cubicBezTo>
                      <a:pt x="171" y="17"/>
                      <a:pt x="170" y="17"/>
                      <a:pt x="170" y="17"/>
                    </a:cubicBezTo>
                    <a:cubicBezTo>
                      <a:pt x="169" y="16"/>
                      <a:pt x="169" y="16"/>
                      <a:pt x="169" y="16"/>
                    </a:cubicBezTo>
                    <a:cubicBezTo>
                      <a:pt x="169" y="16"/>
                      <a:pt x="169" y="16"/>
                      <a:pt x="169" y="16"/>
                    </a:cubicBezTo>
                    <a:cubicBezTo>
                      <a:pt x="168" y="15"/>
                      <a:pt x="168" y="15"/>
                      <a:pt x="168" y="15"/>
                    </a:cubicBezTo>
                    <a:cubicBezTo>
                      <a:pt x="168" y="15"/>
                      <a:pt x="168" y="15"/>
                      <a:pt x="168" y="15"/>
                    </a:cubicBezTo>
                    <a:cubicBezTo>
                      <a:pt x="168" y="14"/>
                      <a:pt x="168" y="14"/>
                      <a:pt x="168" y="14"/>
                    </a:cubicBezTo>
                    <a:cubicBezTo>
                      <a:pt x="167" y="13"/>
                      <a:pt x="167" y="12"/>
                      <a:pt x="167" y="12"/>
                    </a:cubicBezTo>
                    <a:cubicBezTo>
                      <a:pt x="167" y="11"/>
                      <a:pt x="167" y="11"/>
                      <a:pt x="167" y="11"/>
                    </a:cubicBezTo>
                    <a:cubicBezTo>
                      <a:pt x="167" y="11"/>
                      <a:pt x="167" y="10"/>
                      <a:pt x="167" y="9"/>
                    </a:cubicBezTo>
                    <a:cubicBezTo>
                      <a:pt x="167" y="9"/>
                      <a:pt x="167" y="8"/>
                      <a:pt x="166" y="7"/>
                    </a:cubicBezTo>
                    <a:cubicBezTo>
                      <a:pt x="166" y="7"/>
                      <a:pt x="165" y="7"/>
                      <a:pt x="165" y="6"/>
                    </a:cubicBezTo>
                    <a:cubicBezTo>
                      <a:pt x="164" y="7"/>
                      <a:pt x="163" y="7"/>
                      <a:pt x="161" y="7"/>
                    </a:cubicBezTo>
                    <a:cubicBezTo>
                      <a:pt x="161" y="8"/>
                      <a:pt x="161" y="8"/>
                      <a:pt x="161" y="8"/>
                    </a:cubicBezTo>
                    <a:cubicBezTo>
                      <a:pt x="160" y="8"/>
                      <a:pt x="160" y="8"/>
                      <a:pt x="160" y="8"/>
                    </a:cubicBezTo>
                    <a:cubicBezTo>
                      <a:pt x="159" y="8"/>
                      <a:pt x="158" y="8"/>
                      <a:pt x="156" y="8"/>
                    </a:cubicBezTo>
                    <a:cubicBezTo>
                      <a:pt x="156" y="8"/>
                      <a:pt x="156" y="8"/>
                      <a:pt x="156" y="8"/>
                    </a:cubicBezTo>
                    <a:cubicBezTo>
                      <a:pt x="155" y="8"/>
                      <a:pt x="154" y="8"/>
                      <a:pt x="153" y="8"/>
                    </a:cubicBezTo>
                    <a:cubicBezTo>
                      <a:pt x="152" y="8"/>
                      <a:pt x="152" y="8"/>
                      <a:pt x="152" y="8"/>
                    </a:cubicBezTo>
                    <a:cubicBezTo>
                      <a:pt x="150" y="7"/>
                      <a:pt x="149" y="7"/>
                      <a:pt x="148" y="7"/>
                    </a:cubicBezTo>
                    <a:cubicBezTo>
                      <a:pt x="147" y="6"/>
                      <a:pt x="147" y="6"/>
                      <a:pt x="147" y="6"/>
                    </a:cubicBezTo>
                    <a:cubicBezTo>
                      <a:pt x="147" y="6"/>
                      <a:pt x="147" y="6"/>
                      <a:pt x="147" y="6"/>
                    </a:cubicBezTo>
                    <a:cubicBezTo>
                      <a:pt x="147" y="6"/>
                      <a:pt x="147" y="6"/>
                      <a:pt x="147" y="6"/>
                    </a:cubicBezTo>
                    <a:cubicBezTo>
                      <a:pt x="146" y="6"/>
                      <a:pt x="146" y="6"/>
                      <a:pt x="146" y="6"/>
                    </a:cubicBezTo>
                    <a:cubicBezTo>
                      <a:pt x="145" y="5"/>
                      <a:pt x="145" y="5"/>
                      <a:pt x="145" y="5"/>
                    </a:cubicBezTo>
                    <a:cubicBezTo>
                      <a:pt x="145" y="5"/>
                      <a:pt x="144" y="5"/>
                      <a:pt x="143" y="4"/>
                    </a:cubicBezTo>
                    <a:cubicBezTo>
                      <a:pt x="142" y="4"/>
                      <a:pt x="142" y="4"/>
                      <a:pt x="142" y="4"/>
                    </a:cubicBezTo>
                    <a:cubicBezTo>
                      <a:pt x="141" y="3"/>
                      <a:pt x="141" y="3"/>
                      <a:pt x="141" y="3"/>
                    </a:cubicBezTo>
                    <a:cubicBezTo>
                      <a:pt x="139" y="2"/>
                      <a:pt x="139" y="2"/>
                      <a:pt x="139" y="2"/>
                    </a:cubicBezTo>
                    <a:cubicBezTo>
                      <a:pt x="139" y="2"/>
                      <a:pt x="139" y="2"/>
                      <a:pt x="139" y="2"/>
                    </a:cubicBezTo>
                    <a:cubicBezTo>
                      <a:pt x="138" y="2"/>
                      <a:pt x="138" y="2"/>
                      <a:pt x="138" y="2"/>
                    </a:cubicBezTo>
                    <a:cubicBezTo>
                      <a:pt x="138" y="1"/>
                      <a:pt x="137" y="1"/>
                      <a:pt x="137" y="1"/>
                    </a:cubicBezTo>
                    <a:cubicBezTo>
                      <a:pt x="137" y="1"/>
                      <a:pt x="137" y="1"/>
                      <a:pt x="137" y="1"/>
                    </a:cubicBezTo>
                    <a:cubicBezTo>
                      <a:pt x="136" y="1"/>
                      <a:pt x="136" y="1"/>
                      <a:pt x="136" y="1"/>
                    </a:cubicBezTo>
                    <a:cubicBezTo>
                      <a:pt x="136" y="0"/>
                      <a:pt x="136" y="0"/>
                      <a:pt x="1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318"/>
              <p:cNvSpPr/>
              <p:nvPr/>
            </p:nvSpPr>
            <p:spPr bwMode="auto">
              <a:xfrm>
                <a:off x="6253642" y="3217107"/>
                <a:ext cx="493805" cy="294809"/>
              </a:xfrm>
              <a:custGeom>
                <a:gdLst>
                  <a:gd name="T0" fmla="*/ 105 w 155"/>
                  <a:gd name="T1" fmla="*/ 2 h 93"/>
                  <a:gd name="T2" fmla="*/ 101 w 155"/>
                  <a:gd name="T3" fmla="*/ 5 h 93"/>
                  <a:gd name="T4" fmla="*/ 96 w 155"/>
                  <a:gd name="T5" fmla="*/ 5 h 93"/>
                  <a:gd name="T6" fmla="*/ 90 w 155"/>
                  <a:gd name="T7" fmla="*/ 6 h 93"/>
                  <a:gd name="T8" fmla="*/ 80 w 155"/>
                  <a:gd name="T9" fmla="*/ 3 h 93"/>
                  <a:gd name="T10" fmla="*/ 78 w 155"/>
                  <a:gd name="T11" fmla="*/ 3 h 93"/>
                  <a:gd name="T12" fmla="*/ 71 w 155"/>
                  <a:gd name="T13" fmla="*/ 3 h 93"/>
                  <a:gd name="T14" fmla="*/ 62 w 155"/>
                  <a:gd name="T15" fmla="*/ 2 h 93"/>
                  <a:gd name="T16" fmla="*/ 58 w 155"/>
                  <a:gd name="T17" fmla="*/ 4 h 93"/>
                  <a:gd name="T18" fmla="*/ 53 w 155"/>
                  <a:gd name="T19" fmla="*/ 1 h 93"/>
                  <a:gd name="T20" fmla="*/ 45 w 155"/>
                  <a:gd name="T21" fmla="*/ 2 h 93"/>
                  <a:gd name="T22" fmla="*/ 36 w 155"/>
                  <a:gd name="T23" fmla="*/ 1 h 93"/>
                  <a:gd name="T24" fmla="*/ 15 w 155"/>
                  <a:gd name="T25" fmla="*/ 6 h 93"/>
                  <a:gd name="T26" fmla="*/ 8 w 155"/>
                  <a:gd name="T27" fmla="*/ 10 h 93"/>
                  <a:gd name="T28" fmla="*/ 1 w 155"/>
                  <a:gd name="T29" fmla="*/ 15 h 93"/>
                  <a:gd name="T30" fmla="*/ 5 w 155"/>
                  <a:gd name="T31" fmla="*/ 32 h 93"/>
                  <a:gd name="T32" fmla="*/ 9 w 155"/>
                  <a:gd name="T33" fmla="*/ 41 h 93"/>
                  <a:gd name="T34" fmla="*/ 30 w 155"/>
                  <a:gd name="T35" fmla="*/ 48 h 93"/>
                  <a:gd name="T36" fmla="*/ 31 w 155"/>
                  <a:gd name="T37" fmla="*/ 48 h 93"/>
                  <a:gd name="T38" fmla="*/ 40 w 155"/>
                  <a:gd name="T39" fmla="*/ 47 h 93"/>
                  <a:gd name="T40" fmla="*/ 46 w 155"/>
                  <a:gd name="T41" fmla="*/ 49 h 93"/>
                  <a:gd name="T42" fmla="*/ 55 w 155"/>
                  <a:gd name="T43" fmla="*/ 61 h 93"/>
                  <a:gd name="T44" fmla="*/ 53 w 155"/>
                  <a:gd name="T45" fmla="*/ 64 h 93"/>
                  <a:gd name="T46" fmla="*/ 52 w 155"/>
                  <a:gd name="T47" fmla="*/ 66 h 93"/>
                  <a:gd name="T48" fmla="*/ 57 w 155"/>
                  <a:gd name="T49" fmla="*/ 76 h 93"/>
                  <a:gd name="T50" fmla="*/ 61 w 155"/>
                  <a:gd name="T51" fmla="*/ 77 h 93"/>
                  <a:gd name="T52" fmla="*/ 65 w 155"/>
                  <a:gd name="T53" fmla="*/ 80 h 93"/>
                  <a:gd name="T54" fmla="*/ 70 w 155"/>
                  <a:gd name="T55" fmla="*/ 86 h 93"/>
                  <a:gd name="T56" fmla="*/ 72 w 155"/>
                  <a:gd name="T57" fmla="*/ 89 h 93"/>
                  <a:gd name="T58" fmla="*/ 73 w 155"/>
                  <a:gd name="T59" fmla="*/ 91 h 93"/>
                  <a:gd name="T60" fmla="*/ 80 w 155"/>
                  <a:gd name="T61" fmla="*/ 91 h 93"/>
                  <a:gd name="T62" fmla="*/ 92 w 155"/>
                  <a:gd name="T63" fmla="*/ 93 h 93"/>
                  <a:gd name="T64" fmla="*/ 102 w 155"/>
                  <a:gd name="T65" fmla="*/ 92 h 93"/>
                  <a:gd name="T66" fmla="*/ 105 w 155"/>
                  <a:gd name="T67" fmla="*/ 91 h 93"/>
                  <a:gd name="T68" fmla="*/ 105 w 155"/>
                  <a:gd name="T69" fmla="*/ 87 h 93"/>
                  <a:gd name="T70" fmla="*/ 108 w 155"/>
                  <a:gd name="T71" fmla="*/ 85 h 93"/>
                  <a:gd name="T72" fmla="*/ 109 w 155"/>
                  <a:gd name="T73" fmla="*/ 84 h 93"/>
                  <a:gd name="T74" fmla="*/ 113 w 155"/>
                  <a:gd name="T75" fmla="*/ 84 h 93"/>
                  <a:gd name="T76" fmla="*/ 117 w 155"/>
                  <a:gd name="T77" fmla="*/ 82 h 93"/>
                  <a:gd name="T78" fmla="*/ 124 w 155"/>
                  <a:gd name="T79" fmla="*/ 79 h 93"/>
                  <a:gd name="T80" fmla="*/ 131 w 155"/>
                  <a:gd name="T81" fmla="*/ 62 h 93"/>
                  <a:gd name="T82" fmla="*/ 141 w 155"/>
                  <a:gd name="T83" fmla="*/ 52 h 93"/>
                  <a:gd name="T84" fmla="*/ 145 w 155"/>
                  <a:gd name="T85" fmla="*/ 50 h 93"/>
                  <a:gd name="T86" fmla="*/ 152 w 155"/>
                  <a:gd name="T87" fmla="*/ 43 h 93"/>
                  <a:gd name="T88" fmla="*/ 155 w 155"/>
                  <a:gd name="T89" fmla="*/ 29 h 93"/>
                  <a:gd name="T90" fmla="*/ 148 w 155"/>
                  <a:gd name="T91" fmla="*/ 25 h 93"/>
                  <a:gd name="T92" fmla="*/ 138 w 155"/>
                  <a:gd name="T93" fmla="*/ 18 h 93"/>
                  <a:gd name="T94" fmla="*/ 129 w 155"/>
                  <a:gd name="T95" fmla="*/ 11 h 93"/>
                  <a:gd name="T96" fmla="*/ 125 w 155"/>
                  <a:gd name="T97" fmla="*/ 10 h 93"/>
                  <a:gd name="T98" fmla="*/ 111 w 155"/>
                  <a:gd name="T99" fmla="*/ 4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5" h="93">
                    <a:moveTo>
                      <a:pt x="108" y="0"/>
                    </a:moveTo>
                    <a:cubicBezTo>
                      <a:pt x="108" y="0"/>
                      <a:pt x="107" y="0"/>
                      <a:pt x="106" y="1"/>
                    </a:cubicBezTo>
                    <a:cubicBezTo>
                      <a:pt x="106" y="1"/>
                      <a:pt x="105" y="2"/>
                      <a:pt x="105" y="2"/>
                    </a:cubicBezTo>
                    <a:cubicBezTo>
                      <a:pt x="104" y="3"/>
                      <a:pt x="104" y="3"/>
                      <a:pt x="104" y="3"/>
                    </a:cubicBezTo>
                    <a:cubicBezTo>
                      <a:pt x="103" y="3"/>
                      <a:pt x="103" y="4"/>
                      <a:pt x="102" y="4"/>
                    </a:cubicBezTo>
                    <a:cubicBezTo>
                      <a:pt x="102" y="4"/>
                      <a:pt x="101" y="5"/>
                      <a:pt x="101" y="5"/>
                    </a:cubicBezTo>
                    <a:cubicBezTo>
                      <a:pt x="101" y="5"/>
                      <a:pt x="100" y="5"/>
                      <a:pt x="100" y="5"/>
                    </a:cubicBezTo>
                    <a:cubicBezTo>
                      <a:pt x="99" y="5"/>
                      <a:pt x="98" y="5"/>
                      <a:pt x="98" y="5"/>
                    </a:cubicBezTo>
                    <a:cubicBezTo>
                      <a:pt x="97" y="5"/>
                      <a:pt x="96" y="5"/>
                      <a:pt x="96" y="5"/>
                    </a:cubicBezTo>
                    <a:cubicBezTo>
                      <a:pt x="95" y="5"/>
                      <a:pt x="95" y="5"/>
                      <a:pt x="94" y="5"/>
                    </a:cubicBezTo>
                    <a:cubicBezTo>
                      <a:pt x="94" y="5"/>
                      <a:pt x="93" y="5"/>
                      <a:pt x="93" y="5"/>
                    </a:cubicBezTo>
                    <a:cubicBezTo>
                      <a:pt x="92" y="5"/>
                      <a:pt x="91" y="6"/>
                      <a:pt x="90" y="6"/>
                    </a:cubicBezTo>
                    <a:cubicBezTo>
                      <a:pt x="90" y="6"/>
                      <a:pt x="89" y="6"/>
                      <a:pt x="88" y="6"/>
                    </a:cubicBezTo>
                    <a:cubicBezTo>
                      <a:pt x="87" y="6"/>
                      <a:pt x="86" y="5"/>
                      <a:pt x="83" y="4"/>
                    </a:cubicBezTo>
                    <a:cubicBezTo>
                      <a:pt x="82" y="4"/>
                      <a:pt x="81" y="4"/>
                      <a:pt x="80" y="3"/>
                    </a:cubicBezTo>
                    <a:cubicBezTo>
                      <a:pt x="79" y="3"/>
                      <a:pt x="79" y="3"/>
                      <a:pt x="79" y="3"/>
                    </a:cubicBezTo>
                    <a:cubicBezTo>
                      <a:pt x="79" y="9"/>
                      <a:pt x="79" y="9"/>
                      <a:pt x="79" y="9"/>
                    </a:cubicBezTo>
                    <a:cubicBezTo>
                      <a:pt x="78" y="3"/>
                      <a:pt x="78" y="3"/>
                      <a:pt x="78" y="3"/>
                    </a:cubicBezTo>
                    <a:cubicBezTo>
                      <a:pt x="77" y="3"/>
                      <a:pt x="77" y="3"/>
                      <a:pt x="77" y="3"/>
                    </a:cubicBezTo>
                    <a:cubicBezTo>
                      <a:pt x="76" y="3"/>
                      <a:pt x="75" y="3"/>
                      <a:pt x="74" y="3"/>
                    </a:cubicBezTo>
                    <a:cubicBezTo>
                      <a:pt x="71" y="3"/>
                      <a:pt x="71" y="3"/>
                      <a:pt x="71" y="3"/>
                    </a:cubicBezTo>
                    <a:cubicBezTo>
                      <a:pt x="69" y="3"/>
                      <a:pt x="66" y="3"/>
                      <a:pt x="63" y="2"/>
                    </a:cubicBezTo>
                    <a:cubicBezTo>
                      <a:pt x="63" y="2"/>
                      <a:pt x="63" y="2"/>
                      <a:pt x="63" y="2"/>
                    </a:cubicBezTo>
                    <a:cubicBezTo>
                      <a:pt x="63" y="2"/>
                      <a:pt x="63" y="2"/>
                      <a:pt x="62" y="2"/>
                    </a:cubicBezTo>
                    <a:cubicBezTo>
                      <a:pt x="62" y="3"/>
                      <a:pt x="61" y="3"/>
                      <a:pt x="61" y="3"/>
                    </a:cubicBezTo>
                    <a:cubicBezTo>
                      <a:pt x="61" y="3"/>
                      <a:pt x="61" y="3"/>
                      <a:pt x="61" y="3"/>
                    </a:cubicBezTo>
                    <a:cubicBezTo>
                      <a:pt x="60" y="4"/>
                      <a:pt x="59" y="4"/>
                      <a:pt x="58" y="4"/>
                    </a:cubicBezTo>
                    <a:cubicBezTo>
                      <a:pt x="56" y="4"/>
                      <a:pt x="54" y="2"/>
                      <a:pt x="53" y="1"/>
                    </a:cubicBezTo>
                    <a:cubicBezTo>
                      <a:pt x="53" y="1"/>
                      <a:pt x="53" y="1"/>
                      <a:pt x="53" y="1"/>
                    </a:cubicBezTo>
                    <a:cubicBezTo>
                      <a:pt x="53" y="1"/>
                      <a:pt x="53" y="1"/>
                      <a:pt x="53" y="1"/>
                    </a:cubicBezTo>
                    <a:cubicBezTo>
                      <a:pt x="52" y="1"/>
                      <a:pt x="51" y="2"/>
                      <a:pt x="51" y="2"/>
                    </a:cubicBezTo>
                    <a:cubicBezTo>
                      <a:pt x="49" y="2"/>
                      <a:pt x="48" y="2"/>
                      <a:pt x="48" y="2"/>
                    </a:cubicBezTo>
                    <a:cubicBezTo>
                      <a:pt x="46" y="2"/>
                      <a:pt x="46" y="2"/>
                      <a:pt x="45" y="2"/>
                    </a:cubicBezTo>
                    <a:cubicBezTo>
                      <a:pt x="44" y="1"/>
                      <a:pt x="44" y="1"/>
                      <a:pt x="44" y="1"/>
                    </a:cubicBezTo>
                    <a:cubicBezTo>
                      <a:pt x="42" y="1"/>
                      <a:pt x="42" y="1"/>
                      <a:pt x="42" y="1"/>
                    </a:cubicBezTo>
                    <a:cubicBezTo>
                      <a:pt x="40" y="1"/>
                      <a:pt x="38" y="1"/>
                      <a:pt x="36" y="1"/>
                    </a:cubicBezTo>
                    <a:cubicBezTo>
                      <a:pt x="34" y="1"/>
                      <a:pt x="34" y="1"/>
                      <a:pt x="34" y="1"/>
                    </a:cubicBezTo>
                    <a:cubicBezTo>
                      <a:pt x="34" y="1"/>
                      <a:pt x="34" y="1"/>
                      <a:pt x="34" y="1"/>
                    </a:cubicBezTo>
                    <a:cubicBezTo>
                      <a:pt x="28" y="1"/>
                      <a:pt x="21" y="3"/>
                      <a:pt x="15" y="6"/>
                    </a:cubicBezTo>
                    <a:cubicBezTo>
                      <a:pt x="14" y="6"/>
                      <a:pt x="12" y="7"/>
                      <a:pt x="11" y="8"/>
                    </a:cubicBezTo>
                    <a:cubicBezTo>
                      <a:pt x="10" y="8"/>
                      <a:pt x="10" y="9"/>
                      <a:pt x="9" y="9"/>
                    </a:cubicBezTo>
                    <a:cubicBezTo>
                      <a:pt x="8" y="10"/>
                      <a:pt x="8" y="10"/>
                      <a:pt x="8" y="10"/>
                    </a:cubicBezTo>
                    <a:cubicBezTo>
                      <a:pt x="8" y="10"/>
                      <a:pt x="7" y="11"/>
                      <a:pt x="7" y="11"/>
                    </a:cubicBezTo>
                    <a:cubicBezTo>
                      <a:pt x="5" y="12"/>
                      <a:pt x="4" y="13"/>
                      <a:pt x="2" y="14"/>
                    </a:cubicBezTo>
                    <a:cubicBezTo>
                      <a:pt x="1" y="15"/>
                      <a:pt x="1" y="15"/>
                      <a:pt x="1" y="15"/>
                    </a:cubicBezTo>
                    <a:cubicBezTo>
                      <a:pt x="0" y="14"/>
                      <a:pt x="0" y="14"/>
                      <a:pt x="0" y="14"/>
                    </a:cubicBezTo>
                    <a:cubicBezTo>
                      <a:pt x="0" y="15"/>
                      <a:pt x="1" y="17"/>
                      <a:pt x="0" y="19"/>
                    </a:cubicBezTo>
                    <a:cubicBezTo>
                      <a:pt x="0" y="23"/>
                      <a:pt x="4" y="28"/>
                      <a:pt x="5" y="32"/>
                    </a:cubicBezTo>
                    <a:cubicBezTo>
                      <a:pt x="6" y="35"/>
                      <a:pt x="6" y="37"/>
                      <a:pt x="6" y="40"/>
                    </a:cubicBezTo>
                    <a:cubicBezTo>
                      <a:pt x="7" y="39"/>
                      <a:pt x="7" y="39"/>
                      <a:pt x="7" y="39"/>
                    </a:cubicBezTo>
                    <a:cubicBezTo>
                      <a:pt x="9" y="41"/>
                      <a:pt x="9" y="41"/>
                      <a:pt x="9" y="41"/>
                    </a:cubicBezTo>
                    <a:cubicBezTo>
                      <a:pt x="10" y="41"/>
                      <a:pt x="10" y="41"/>
                      <a:pt x="10" y="41"/>
                    </a:cubicBezTo>
                    <a:cubicBezTo>
                      <a:pt x="14" y="43"/>
                      <a:pt x="23" y="46"/>
                      <a:pt x="28" y="48"/>
                    </a:cubicBezTo>
                    <a:cubicBezTo>
                      <a:pt x="29" y="48"/>
                      <a:pt x="29" y="48"/>
                      <a:pt x="30" y="48"/>
                    </a:cubicBezTo>
                    <a:cubicBezTo>
                      <a:pt x="30" y="48"/>
                      <a:pt x="30" y="48"/>
                      <a:pt x="30" y="48"/>
                    </a:cubicBezTo>
                    <a:cubicBezTo>
                      <a:pt x="31" y="48"/>
                      <a:pt x="31" y="48"/>
                      <a:pt x="31" y="48"/>
                    </a:cubicBezTo>
                    <a:cubicBezTo>
                      <a:pt x="31" y="48"/>
                      <a:pt x="31" y="48"/>
                      <a:pt x="31" y="48"/>
                    </a:cubicBezTo>
                    <a:cubicBezTo>
                      <a:pt x="33" y="48"/>
                      <a:pt x="34" y="48"/>
                      <a:pt x="35" y="48"/>
                    </a:cubicBezTo>
                    <a:cubicBezTo>
                      <a:pt x="35" y="48"/>
                      <a:pt x="35" y="48"/>
                      <a:pt x="35" y="48"/>
                    </a:cubicBezTo>
                    <a:cubicBezTo>
                      <a:pt x="37" y="47"/>
                      <a:pt x="38" y="47"/>
                      <a:pt x="40" y="47"/>
                    </a:cubicBezTo>
                    <a:cubicBezTo>
                      <a:pt x="40" y="47"/>
                      <a:pt x="40" y="47"/>
                      <a:pt x="40" y="47"/>
                    </a:cubicBezTo>
                    <a:cubicBezTo>
                      <a:pt x="42" y="47"/>
                      <a:pt x="44" y="47"/>
                      <a:pt x="46" y="49"/>
                    </a:cubicBezTo>
                    <a:cubicBezTo>
                      <a:pt x="46" y="49"/>
                      <a:pt x="46" y="49"/>
                      <a:pt x="46" y="49"/>
                    </a:cubicBezTo>
                    <a:cubicBezTo>
                      <a:pt x="47" y="50"/>
                      <a:pt x="47" y="50"/>
                      <a:pt x="47" y="50"/>
                    </a:cubicBezTo>
                    <a:cubicBezTo>
                      <a:pt x="48" y="50"/>
                      <a:pt x="48" y="51"/>
                      <a:pt x="48" y="52"/>
                    </a:cubicBezTo>
                    <a:cubicBezTo>
                      <a:pt x="55" y="61"/>
                      <a:pt x="55" y="61"/>
                      <a:pt x="55" y="61"/>
                    </a:cubicBezTo>
                    <a:cubicBezTo>
                      <a:pt x="53" y="63"/>
                      <a:pt x="53" y="63"/>
                      <a:pt x="53" y="63"/>
                    </a:cubicBezTo>
                    <a:cubicBezTo>
                      <a:pt x="53" y="63"/>
                      <a:pt x="53" y="63"/>
                      <a:pt x="53" y="63"/>
                    </a:cubicBezTo>
                    <a:cubicBezTo>
                      <a:pt x="53" y="64"/>
                      <a:pt x="53" y="64"/>
                      <a:pt x="53" y="64"/>
                    </a:cubicBezTo>
                    <a:cubicBezTo>
                      <a:pt x="53" y="64"/>
                      <a:pt x="53" y="64"/>
                      <a:pt x="53" y="65"/>
                    </a:cubicBezTo>
                    <a:cubicBezTo>
                      <a:pt x="53" y="66"/>
                      <a:pt x="53" y="66"/>
                      <a:pt x="53" y="66"/>
                    </a:cubicBezTo>
                    <a:cubicBezTo>
                      <a:pt x="52" y="66"/>
                      <a:pt x="52" y="66"/>
                      <a:pt x="52" y="66"/>
                    </a:cubicBezTo>
                    <a:cubicBezTo>
                      <a:pt x="53" y="75"/>
                      <a:pt x="53" y="75"/>
                      <a:pt x="53" y="75"/>
                    </a:cubicBezTo>
                    <a:cubicBezTo>
                      <a:pt x="54" y="75"/>
                      <a:pt x="54" y="75"/>
                      <a:pt x="55" y="75"/>
                    </a:cubicBezTo>
                    <a:cubicBezTo>
                      <a:pt x="55" y="75"/>
                      <a:pt x="56" y="76"/>
                      <a:pt x="57" y="76"/>
                    </a:cubicBezTo>
                    <a:cubicBezTo>
                      <a:pt x="58" y="76"/>
                      <a:pt x="58" y="76"/>
                      <a:pt x="58" y="76"/>
                    </a:cubicBezTo>
                    <a:cubicBezTo>
                      <a:pt x="59" y="76"/>
                      <a:pt x="60" y="77"/>
                      <a:pt x="60" y="77"/>
                    </a:cubicBezTo>
                    <a:cubicBezTo>
                      <a:pt x="61" y="77"/>
                      <a:pt x="61" y="77"/>
                      <a:pt x="61" y="77"/>
                    </a:cubicBezTo>
                    <a:cubicBezTo>
                      <a:pt x="62" y="78"/>
                      <a:pt x="62" y="78"/>
                      <a:pt x="62" y="78"/>
                    </a:cubicBezTo>
                    <a:cubicBezTo>
                      <a:pt x="63" y="78"/>
                      <a:pt x="63" y="79"/>
                      <a:pt x="64" y="79"/>
                    </a:cubicBezTo>
                    <a:cubicBezTo>
                      <a:pt x="65" y="80"/>
                      <a:pt x="65" y="80"/>
                      <a:pt x="65" y="80"/>
                    </a:cubicBezTo>
                    <a:cubicBezTo>
                      <a:pt x="66" y="81"/>
                      <a:pt x="67" y="82"/>
                      <a:pt x="68" y="83"/>
                    </a:cubicBezTo>
                    <a:cubicBezTo>
                      <a:pt x="68" y="83"/>
                      <a:pt x="68" y="83"/>
                      <a:pt x="68" y="83"/>
                    </a:cubicBezTo>
                    <a:cubicBezTo>
                      <a:pt x="68" y="83"/>
                      <a:pt x="69" y="84"/>
                      <a:pt x="70" y="86"/>
                    </a:cubicBezTo>
                    <a:cubicBezTo>
                      <a:pt x="70" y="86"/>
                      <a:pt x="70" y="86"/>
                      <a:pt x="70" y="86"/>
                    </a:cubicBezTo>
                    <a:cubicBezTo>
                      <a:pt x="71" y="87"/>
                      <a:pt x="71" y="87"/>
                      <a:pt x="71" y="87"/>
                    </a:cubicBezTo>
                    <a:cubicBezTo>
                      <a:pt x="71" y="88"/>
                      <a:pt x="72" y="88"/>
                      <a:pt x="72" y="89"/>
                    </a:cubicBezTo>
                    <a:cubicBezTo>
                      <a:pt x="72" y="90"/>
                      <a:pt x="72" y="90"/>
                      <a:pt x="73" y="91"/>
                    </a:cubicBezTo>
                    <a:cubicBezTo>
                      <a:pt x="73" y="91"/>
                      <a:pt x="73" y="91"/>
                      <a:pt x="73" y="91"/>
                    </a:cubicBezTo>
                    <a:cubicBezTo>
                      <a:pt x="73" y="91"/>
                      <a:pt x="73" y="91"/>
                      <a:pt x="73" y="91"/>
                    </a:cubicBezTo>
                    <a:cubicBezTo>
                      <a:pt x="74" y="91"/>
                      <a:pt x="75" y="91"/>
                      <a:pt x="77" y="91"/>
                    </a:cubicBezTo>
                    <a:cubicBezTo>
                      <a:pt x="77" y="91"/>
                      <a:pt x="77" y="91"/>
                      <a:pt x="77" y="91"/>
                    </a:cubicBezTo>
                    <a:cubicBezTo>
                      <a:pt x="78" y="91"/>
                      <a:pt x="79" y="91"/>
                      <a:pt x="80" y="91"/>
                    </a:cubicBezTo>
                    <a:cubicBezTo>
                      <a:pt x="84" y="91"/>
                      <a:pt x="88" y="92"/>
                      <a:pt x="91" y="92"/>
                    </a:cubicBezTo>
                    <a:cubicBezTo>
                      <a:pt x="91" y="92"/>
                      <a:pt x="91" y="92"/>
                      <a:pt x="91" y="92"/>
                    </a:cubicBezTo>
                    <a:cubicBezTo>
                      <a:pt x="92" y="92"/>
                      <a:pt x="92" y="93"/>
                      <a:pt x="92" y="93"/>
                    </a:cubicBezTo>
                    <a:cubicBezTo>
                      <a:pt x="94" y="93"/>
                      <a:pt x="95" y="93"/>
                      <a:pt x="95" y="93"/>
                    </a:cubicBezTo>
                    <a:cubicBezTo>
                      <a:pt x="95" y="93"/>
                      <a:pt x="96" y="93"/>
                      <a:pt x="96" y="93"/>
                    </a:cubicBezTo>
                    <a:cubicBezTo>
                      <a:pt x="97" y="93"/>
                      <a:pt x="99" y="93"/>
                      <a:pt x="102" y="92"/>
                    </a:cubicBezTo>
                    <a:cubicBezTo>
                      <a:pt x="102" y="92"/>
                      <a:pt x="103" y="92"/>
                      <a:pt x="103" y="91"/>
                    </a:cubicBezTo>
                    <a:cubicBezTo>
                      <a:pt x="104" y="91"/>
                      <a:pt x="104" y="91"/>
                      <a:pt x="104" y="91"/>
                    </a:cubicBezTo>
                    <a:cubicBezTo>
                      <a:pt x="105" y="91"/>
                      <a:pt x="105" y="91"/>
                      <a:pt x="105" y="91"/>
                    </a:cubicBezTo>
                    <a:cubicBezTo>
                      <a:pt x="105" y="91"/>
                      <a:pt x="105" y="91"/>
                      <a:pt x="105" y="91"/>
                    </a:cubicBezTo>
                    <a:cubicBezTo>
                      <a:pt x="105" y="90"/>
                      <a:pt x="105" y="89"/>
                      <a:pt x="105" y="89"/>
                    </a:cubicBezTo>
                    <a:cubicBezTo>
                      <a:pt x="105" y="87"/>
                      <a:pt x="105" y="87"/>
                      <a:pt x="105" y="87"/>
                    </a:cubicBezTo>
                    <a:cubicBezTo>
                      <a:pt x="105" y="86"/>
                      <a:pt x="105" y="85"/>
                      <a:pt x="106" y="85"/>
                    </a:cubicBezTo>
                    <a:cubicBezTo>
                      <a:pt x="107" y="84"/>
                      <a:pt x="107" y="84"/>
                      <a:pt x="107" y="84"/>
                    </a:cubicBezTo>
                    <a:cubicBezTo>
                      <a:pt x="108" y="85"/>
                      <a:pt x="108" y="85"/>
                      <a:pt x="108" y="85"/>
                    </a:cubicBezTo>
                    <a:cubicBezTo>
                      <a:pt x="107" y="84"/>
                      <a:pt x="107" y="84"/>
                      <a:pt x="107" y="84"/>
                    </a:cubicBezTo>
                    <a:cubicBezTo>
                      <a:pt x="108" y="84"/>
                      <a:pt x="108" y="84"/>
                      <a:pt x="108" y="84"/>
                    </a:cubicBezTo>
                    <a:cubicBezTo>
                      <a:pt x="109" y="84"/>
                      <a:pt x="109" y="84"/>
                      <a:pt x="109" y="84"/>
                    </a:cubicBezTo>
                    <a:cubicBezTo>
                      <a:pt x="109" y="84"/>
                      <a:pt x="110" y="83"/>
                      <a:pt x="110" y="83"/>
                    </a:cubicBezTo>
                    <a:cubicBezTo>
                      <a:pt x="111" y="83"/>
                      <a:pt x="112" y="84"/>
                      <a:pt x="112" y="84"/>
                    </a:cubicBezTo>
                    <a:cubicBezTo>
                      <a:pt x="113" y="84"/>
                      <a:pt x="113" y="84"/>
                      <a:pt x="113" y="84"/>
                    </a:cubicBezTo>
                    <a:cubicBezTo>
                      <a:pt x="114" y="84"/>
                      <a:pt x="114" y="84"/>
                      <a:pt x="114" y="84"/>
                    </a:cubicBezTo>
                    <a:cubicBezTo>
                      <a:pt x="115" y="84"/>
                      <a:pt x="115" y="84"/>
                      <a:pt x="115" y="84"/>
                    </a:cubicBezTo>
                    <a:cubicBezTo>
                      <a:pt x="115" y="84"/>
                      <a:pt x="116" y="83"/>
                      <a:pt x="117" y="82"/>
                    </a:cubicBezTo>
                    <a:cubicBezTo>
                      <a:pt x="118" y="82"/>
                      <a:pt x="118" y="82"/>
                      <a:pt x="118" y="82"/>
                    </a:cubicBezTo>
                    <a:cubicBezTo>
                      <a:pt x="119" y="81"/>
                      <a:pt x="121" y="80"/>
                      <a:pt x="123" y="79"/>
                    </a:cubicBezTo>
                    <a:cubicBezTo>
                      <a:pt x="124" y="79"/>
                      <a:pt x="124" y="79"/>
                      <a:pt x="124" y="79"/>
                    </a:cubicBezTo>
                    <a:cubicBezTo>
                      <a:pt x="124" y="78"/>
                      <a:pt x="125" y="78"/>
                      <a:pt x="125" y="78"/>
                    </a:cubicBezTo>
                    <a:cubicBezTo>
                      <a:pt x="126" y="75"/>
                      <a:pt x="127" y="72"/>
                      <a:pt x="128" y="69"/>
                    </a:cubicBezTo>
                    <a:cubicBezTo>
                      <a:pt x="131" y="62"/>
                      <a:pt x="131" y="62"/>
                      <a:pt x="131" y="62"/>
                    </a:cubicBezTo>
                    <a:cubicBezTo>
                      <a:pt x="132" y="59"/>
                      <a:pt x="133" y="57"/>
                      <a:pt x="136" y="55"/>
                    </a:cubicBezTo>
                    <a:cubicBezTo>
                      <a:pt x="137" y="54"/>
                      <a:pt x="138" y="54"/>
                      <a:pt x="139" y="53"/>
                    </a:cubicBezTo>
                    <a:cubicBezTo>
                      <a:pt x="141" y="52"/>
                      <a:pt x="141" y="52"/>
                      <a:pt x="141" y="52"/>
                    </a:cubicBezTo>
                    <a:cubicBezTo>
                      <a:pt x="142" y="52"/>
                      <a:pt x="143" y="51"/>
                      <a:pt x="144" y="51"/>
                    </a:cubicBezTo>
                    <a:cubicBezTo>
                      <a:pt x="142" y="47"/>
                      <a:pt x="142" y="47"/>
                      <a:pt x="142" y="47"/>
                    </a:cubicBezTo>
                    <a:cubicBezTo>
                      <a:pt x="145" y="50"/>
                      <a:pt x="145" y="50"/>
                      <a:pt x="145" y="50"/>
                    </a:cubicBezTo>
                    <a:cubicBezTo>
                      <a:pt x="148" y="48"/>
                      <a:pt x="151" y="46"/>
                      <a:pt x="154" y="45"/>
                    </a:cubicBezTo>
                    <a:cubicBezTo>
                      <a:pt x="155" y="44"/>
                      <a:pt x="155" y="44"/>
                      <a:pt x="155" y="44"/>
                    </a:cubicBezTo>
                    <a:cubicBezTo>
                      <a:pt x="154" y="44"/>
                      <a:pt x="153" y="44"/>
                      <a:pt x="152" y="43"/>
                    </a:cubicBezTo>
                    <a:cubicBezTo>
                      <a:pt x="150" y="40"/>
                      <a:pt x="152" y="36"/>
                      <a:pt x="153" y="34"/>
                    </a:cubicBezTo>
                    <a:cubicBezTo>
                      <a:pt x="154" y="32"/>
                      <a:pt x="154" y="32"/>
                      <a:pt x="154" y="32"/>
                    </a:cubicBezTo>
                    <a:cubicBezTo>
                      <a:pt x="154" y="31"/>
                      <a:pt x="154" y="30"/>
                      <a:pt x="155" y="29"/>
                    </a:cubicBezTo>
                    <a:cubicBezTo>
                      <a:pt x="154" y="29"/>
                      <a:pt x="154" y="29"/>
                      <a:pt x="154" y="29"/>
                    </a:cubicBezTo>
                    <a:cubicBezTo>
                      <a:pt x="152" y="28"/>
                      <a:pt x="150" y="27"/>
                      <a:pt x="148" y="26"/>
                    </a:cubicBezTo>
                    <a:cubicBezTo>
                      <a:pt x="148" y="25"/>
                      <a:pt x="148" y="25"/>
                      <a:pt x="148" y="25"/>
                    </a:cubicBezTo>
                    <a:cubicBezTo>
                      <a:pt x="147" y="24"/>
                      <a:pt x="146" y="23"/>
                      <a:pt x="145" y="23"/>
                    </a:cubicBezTo>
                    <a:cubicBezTo>
                      <a:pt x="142" y="20"/>
                      <a:pt x="142" y="20"/>
                      <a:pt x="142" y="20"/>
                    </a:cubicBezTo>
                    <a:cubicBezTo>
                      <a:pt x="140" y="19"/>
                      <a:pt x="139" y="18"/>
                      <a:pt x="138" y="18"/>
                    </a:cubicBezTo>
                    <a:cubicBezTo>
                      <a:pt x="137" y="17"/>
                      <a:pt x="136" y="16"/>
                      <a:pt x="135" y="15"/>
                    </a:cubicBezTo>
                    <a:cubicBezTo>
                      <a:pt x="134" y="15"/>
                      <a:pt x="133" y="14"/>
                      <a:pt x="133" y="13"/>
                    </a:cubicBezTo>
                    <a:cubicBezTo>
                      <a:pt x="131" y="12"/>
                      <a:pt x="130" y="11"/>
                      <a:pt x="129" y="11"/>
                    </a:cubicBezTo>
                    <a:cubicBezTo>
                      <a:pt x="128" y="11"/>
                      <a:pt x="128" y="10"/>
                      <a:pt x="127" y="10"/>
                    </a:cubicBezTo>
                    <a:cubicBezTo>
                      <a:pt x="125" y="10"/>
                      <a:pt x="125" y="10"/>
                      <a:pt x="125" y="10"/>
                    </a:cubicBezTo>
                    <a:cubicBezTo>
                      <a:pt x="125" y="10"/>
                      <a:pt x="125" y="10"/>
                      <a:pt x="125" y="10"/>
                    </a:cubicBezTo>
                    <a:cubicBezTo>
                      <a:pt x="124" y="10"/>
                      <a:pt x="122" y="10"/>
                      <a:pt x="120" y="10"/>
                    </a:cubicBezTo>
                    <a:cubicBezTo>
                      <a:pt x="119" y="10"/>
                      <a:pt x="119" y="10"/>
                      <a:pt x="119" y="10"/>
                    </a:cubicBezTo>
                    <a:cubicBezTo>
                      <a:pt x="116" y="9"/>
                      <a:pt x="113" y="8"/>
                      <a:pt x="111" y="4"/>
                    </a:cubicBezTo>
                    <a:cubicBezTo>
                      <a:pt x="109" y="1"/>
                      <a:pt x="109" y="1"/>
                      <a:pt x="109" y="1"/>
                    </a:cubicBezTo>
                    <a:cubicBezTo>
                      <a:pt x="109" y="1"/>
                      <a:pt x="109" y="0"/>
                      <a:pt x="1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319"/>
              <p:cNvSpPr/>
              <p:nvPr/>
            </p:nvSpPr>
            <p:spPr bwMode="auto">
              <a:xfrm>
                <a:off x="6132033" y="3338716"/>
                <a:ext cx="269013" cy="117924"/>
              </a:xfrm>
              <a:custGeom>
                <a:gdLst>
                  <a:gd name="T0" fmla="*/ 37 w 85"/>
                  <a:gd name="T1" fmla="*/ 0 h 37"/>
                  <a:gd name="T2" fmla="*/ 35 w 85"/>
                  <a:gd name="T3" fmla="*/ 3 h 37"/>
                  <a:gd name="T4" fmla="*/ 11 w 85"/>
                  <a:gd name="T5" fmla="*/ 16 h 37"/>
                  <a:gd name="T6" fmla="*/ 7 w 85"/>
                  <a:gd name="T7" fmla="*/ 25 h 37"/>
                  <a:gd name="T8" fmla="*/ 0 w 85"/>
                  <a:gd name="T9" fmla="*/ 34 h 37"/>
                  <a:gd name="T10" fmla="*/ 1 w 85"/>
                  <a:gd name="T11" fmla="*/ 34 h 37"/>
                  <a:gd name="T12" fmla="*/ 8 w 85"/>
                  <a:gd name="T13" fmla="*/ 26 h 37"/>
                  <a:gd name="T14" fmla="*/ 9 w 85"/>
                  <a:gd name="T15" fmla="*/ 26 h 37"/>
                  <a:gd name="T16" fmla="*/ 10 w 85"/>
                  <a:gd name="T17" fmla="*/ 26 h 37"/>
                  <a:gd name="T18" fmla="*/ 10 w 85"/>
                  <a:gd name="T19" fmla="*/ 27 h 37"/>
                  <a:gd name="T20" fmla="*/ 10 w 85"/>
                  <a:gd name="T21" fmla="*/ 27 h 37"/>
                  <a:gd name="T22" fmla="*/ 13 w 85"/>
                  <a:gd name="T23" fmla="*/ 26 h 37"/>
                  <a:gd name="T24" fmla="*/ 14 w 85"/>
                  <a:gd name="T25" fmla="*/ 26 h 37"/>
                  <a:gd name="T26" fmla="*/ 20 w 85"/>
                  <a:gd name="T27" fmla="*/ 27 h 37"/>
                  <a:gd name="T28" fmla="*/ 8 w 85"/>
                  <a:gd name="T29" fmla="*/ 34 h 37"/>
                  <a:gd name="T30" fmla="*/ 61 w 85"/>
                  <a:gd name="T31" fmla="*/ 37 h 37"/>
                  <a:gd name="T32" fmla="*/ 84 w 85"/>
                  <a:gd name="T33" fmla="*/ 36 h 37"/>
                  <a:gd name="T34" fmla="*/ 83 w 85"/>
                  <a:gd name="T35" fmla="*/ 27 h 37"/>
                  <a:gd name="T36" fmla="*/ 85 w 85"/>
                  <a:gd name="T37" fmla="*/ 22 h 37"/>
                  <a:gd name="T38" fmla="*/ 83 w 85"/>
                  <a:gd name="T39" fmla="*/ 20 h 37"/>
                  <a:gd name="T40" fmla="*/ 82 w 85"/>
                  <a:gd name="T41" fmla="*/ 19 h 37"/>
                  <a:gd name="T42" fmla="*/ 82 w 85"/>
                  <a:gd name="T43" fmla="*/ 18 h 37"/>
                  <a:gd name="T44" fmla="*/ 81 w 85"/>
                  <a:gd name="T45" fmla="*/ 17 h 37"/>
                  <a:gd name="T46" fmla="*/ 80 w 85"/>
                  <a:gd name="T47" fmla="*/ 15 h 37"/>
                  <a:gd name="T48" fmla="*/ 79 w 85"/>
                  <a:gd name="T49" fmla="*/ 15 h 37"/>
                  <a:gd name="T50" fmla="*/ 78 w 85"/>
                  <a:gd name="T51" fmla="*/ 15 h 37"/>
                  <a:gd name="T52" fmla="*/ 74 w 85"/>
                  <a:gd name="T53" fmla="*/ 16 h 37"/>
                  <a:gd name="T54" fmla="*/ 72 w 85"/>
                  <a:gd name="T55" fmla="*/ 16 h 37"/>
                  <a:gd name="T56" fmla="*/ 73 w 85"/>
                  <a:gd name="T57" fmla="*/ 23 h 37"/>
                  <a:gd name="T58" fmla="*/ 70 w 85"/>
                  <a:gd name="T59" fmla="*/ 16 h 37"/>
                  <a:gd name="T60" fmla="*/ 68 w 85"/>
                  <a:gd name="T61" fmla="*/ 16 h 37"/>
                  <a:gd name="T62" fmla="*/ 64 w 85"/>
                  <a:gd name="T63" fmla="*/ 15 h 37"/>
                  <a:gd name="T64" fmla="*/ 45 w 85"/>
                  <a:gd name="T65" fmla="*/ 8 h 37"/>
                  <a:gd name="T66" fmla="*/ 44 w 85"/>
                  <a:gd name="T67" fmla="*/ 8 h 37"/>
                  <a:gd name="T68" fmla="*/ 43 w 85"/>
                  <a:gd name="T69" fmla="*/ 13 h 37"/>
                  <a:gd name="T70" fmla="*/ 36 w 85"/>
                  <a:gd name="T71" fmla="*/ 17 h 37"/>
                  <a:gd name="T72" fmla="*/ 32 w 85"/>
                  <a:gd name="T73" fmla="*/ 18 h 37"/>
                  <a:gd name="T74" fmla="*/ 24 w 85"/>
                  <a:gd name="T75" fmla="*/ 16 h 37"/>
                  <a:gd name="T76" fmla="*/ 37 w 85"/>
                  <a:gd name="T77" fmla="*/ 3 h 37"/>
                  <a:gd name="T78" fmla="*/ 37 w 85"/>
                  <a:gd name="T79"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37">
                    <a:moveTo>
                      <a:pt x="37" y="0"/>
                    </a:moveTo>
                    <a:cubicBezTo>
                      <a:pt x="37" y="1"/>
                      <a:pt x="36" y="2"/>
                      <a:pt x="35" y="3"/>
                    </a:cubicBezTo>
                    <a:cubicBezTo>
                      <a:pt x="28" y="8"/>
                      <a:pt x="20" y="16"/>
                      <a:pt x="11" y="16"/>
                    </a:cubicBezTo>
                    <a:cubicBezTo>
                      <a:pt x="4" y="17"/>
                      <a:pt x="8" y="21"/>
                      <a:pt x="7" y="25"/>
                    </a:cubicBezTo>
                    <a:cubicBezTo>
                      <a:pt x="6" y="28"/>
                      <a:pt x="2" y="31"/>
                      <a:pt x="0" y="34"/>
                    </a:cubicBezTo>
                    <a:cubicBezTo>
                      <a:pt x="1" y="34"/>
                      <a:pt x="1" y="34"/>
                      <a:pt x="1" y="34"/>
                    </a:cubicBezTo>
                    <a:cubicBezTo>
                      <a:pt x="4" y="31"/>
                      <a:pt x="6" y="27"/>
                      <a:pt x="8" y="26"/>
                    </a:cubicBezTo>
                    <a:cubicBezTo>
                      <a:pt x="8" y="26"/>
                      <a:pt x="9" y="26"/>
                      <a:pt x="9" y="26"/>
                    </a:cubicBezTo>
                    <a:cubicBezTo>
                      <a:pt x="9" y="26"/>
                      <a:pt x="9" y="26"/>
                      <a:pt x="10" y="26"/>
                    </a:cubicBezTo>
                    <a:cubicBezTo>
                      <a:pt x="10" y="27"/>
                      <a:pt x="10" y="27"/>
                      <a:pt x="10" y="27"/>
                    </a:cubicBezTo>
                    <a:cubicBezTo>
                      <a:pt x="10" y="27"/>
                      <a:pt x="10" y="27"/>
                      <a:pt x="10" y="27"/>
                    </a:cubicBezTo>
                    <a:cubicBezTo>
                      <a:pt x="11" y="27"/>
                      <a:pt x="12" y="26"/>
                      <a:pt x="13" y="26"/>
                    </a:cubicBezTo>
                    <a:cubicBezTo>
                      <a:pt x="14" y="26"/>
                      <a:pt x="14" y="26"/>
                      <a:pt x="14" y="26"/>
                    </a:cubicBezTo>
                    <a:cubicBezTo>
                      <a:pt x="16" y="27"/>
                      <a:pt x="18" y="27"/>
                      <a:pt x="20" y="27"/>
                    </a:cubicBezTo>
                    <a:cubicBezTo>
                      <a:pt x="16" y="29"/>
                      <a:pt x="12" y="32"/>
                      <a:pt x="8" y="34"/>
                    </a:cubicBezTo>
                    <a:cubicBezTo>
                      <a:pt x="26" y="36"/>
                      <a:pt x="44" y="37"/>
                      <a:pt x="61" y="37"/>
                    </a:cubicBezTo>
                    <a:cubicBezTo>
                      <a:pt x="69" y="37"/>
                      <a:pt x="77" y="37"/>
                      <a:pt x="84" y="36"/>
                    </a:cubicBezTo>
                    <a:cubicBezTo>
                      <a:pt x="83" y="27"/>
                      <a:pt x="83" y="27"/>
                      <a:pt x="83" y="27"/>
                    </a:cubicBezTo>
                    <a:cubicBezTo>
                      <a:pt x="83" y="25"/>
                      <a:pt x="84" y="24"/>
                      <a:pt x="85" y="22"/>
                    </a:cubicBezTo>
                    <a:cubicBezTo>
                      <a:pt x="83" y="20"/>
                      <a:pt x="83" y="20"/>
                      <a:pt x="83" y="20"/>
                    </a:cubicBezTo>
                    <a:cubicBezTo>
                      <a:pt x="82" y="19"/>
                      <a:pt x="82" y="19"/>
                      <a:pt x="82" y="19"/>
                    </a:cubicBezTo>
                    <a:cubicBezTo>
                      <a:pt x="82" y="18"/>
                      <a:pt x="82" y="18"/>
                      <a:pt x="82" y="18"/>
                    </a:cubicBezTo>
                    <a:cubicBezTo>
                      <a:pt x="81" y="17"/>
                      <a:pt x="81" y="17"/>
                      <a:pt x="81" y="17"/>
                    </a:cubicBezTo>
                    <a:cubicBezTo>
                      <a:pt x="80" y="16"/>
                      <a:pt x="80" y="16"/>
                      <a:pt x="80" y="15"/>
                    </a:cubicBezTo>
                    <a:cubicBezTo>
                      <a:pt x="79" y="15"/>
                      <a:pt x="79" y="15"/>
                      <a:pt x="79" y="15"/>
                    </a:cubicBezTo>
                    <a:cubicBezTo>
                      <a:pt x="78" y="15"/>
                      <a:pt x="78" y="15"/>
                      <a:pt x="78" y="15"/>
                    </a:cubicBezTo>
                    <a:cubicBezTo>
                      <a:pt x="77" y="15"/>
                      <a:pt x="75" y="15"/>
                      <a:pt x="74" y="16"/>
                    </a:cubicBezTo>
                    <a:cubicBezTo>
                      <a:pt x="73" y="16"/>
                      <a:pt x="72" y="16"/>
                      <a:pt x="72" y="16"/>
                    </a:cubicBezTo>
                    <a:cubicBezTo>
                      <a:pt x="73" y="23"/>
                      <a:pt x="73" y="23"/>
                      <a:pt x="73" y="23"/>
                    </a:cubicBezTo>
                    <a:cubicBezTo>
                      <a:pt x="70" y="16"/>
                      <a:pt x="70" y="16"/>
                      <a:pt x="70" y="16"/>
                    </a:cubicBezTo>
                    <a:cubicBezTo>
                      <a:pt x="69" y="16"/>
                      <a:pt x="69" y="16"/>
                      <a:pt x="68" y="16"/>
                    </a:cubicBezTo>
                    <a:cubicBezTo>
                      <a:pt x="66" y="16"/>
                      <a:pt x="65" y="16"/>
                      <a:pt x="64" y="15"/>
                    </a:cubicBezTo>
                    <a:cubicBezTo>
                      <a:pt x="59" y="14"/>
                      <a:pt x="50" y="11"/>
                      <a:pt x="45" y="8"/>
                    </a:cubicBezTo>
                    <a:cubicBezTo>
                      <a:pt x="45" y="8"/>
                      <a:pt x="45" y="8"/>
                      <a:pt x="44" y="8"/>
                    </a:cubicBezTo>
                    <a:cubicBezTo>
                      <a:pt x="44" y="10"/>
                      <a:pt x="43" y="11"/>
                      <a:pt x="43" y="13"/>
                    </a:cubicBezTo>
                    <a:cubicBezTo>
                      <a:pt x="43" y="14"/>
                      <a:pt x="38" y="16"/>
                      <a:pt x="36" y="17"/>
                    </a:cubicBezTo>
                    <a:cubicBezTo>
                      <a:pt x="35" y="18"/>
                      <a:pt x="34" y="18"/>
                      <a:pt x="32" y="18"/>
                    </a:cubicBezTo>
                    <a:cubicBezTo>
                      <a:pt x="30" y="18"/>
                      <a:pt x="27" y="17"/>
                      <a:pt x="24" y="16"/>
                    </a:cubicBezTo>
                    <a:cubicBezTo>
                      <a:pt x="27" y="11"/>
                      <a:pt x="33" y="7"/>
                      <a:pt x="37" y="3"/>
                    </a:cubicBezTo>
                    <a:cubicBezTo>
                      <a:pt x="37" y="2"/>
                      <a:pt x="37" y="1"/>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Rectangle 320"/>
              <p:cNvSpPr>
                <a:spLocks noChangeArrowheads="1"/>
              </p:cNvSpPr>
              <p:nvPr/>
            </p:nvSpPr>
            <p:spPr bwMode="auto">
              <a:xfrm>
                <a:off x="6401046" y="3456639"/>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321"/>
              <p:cNvSpPr/>
              <p:nvPr/>
            </p:nvSpPr>
            <p:spPr bwMode="auto">
              <a:xfrm flipH="1">
                <a:off x="6401046" y="345663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322"/>
              <p:cNvSpPr/>
              <p:nvPr/>
            </p:nvSpPr>
            <p:spPr bwMode="auto">
              <a:xfrm flipH="1">
                <a:off x="6128348" y="3449269"/>
                <a:ext cx="0" cy="3685"/>
              </a:xfrm>
              <a:custGeom>
                <a:gdLst>
                  <a:gd name="T0" fmla="*/ 1 w 1"/>
                  <a:gd name="T1" fmla="*/ 0 h 2"/>
                  <a:gd name="T2" fmla="*/ 0 w 1"/>
                  <a:gd name="T3" fmla="*/ 2 h 2"/>
                  <a:gd name="T4" fmla="*/ 1 w 1"/>
                  <a:gd name="T5" fmla="*/ 1 h 2"/>
                  <a:gd name="T6" fmla="*/ 1 w 1"/>
                  <a:gd name="T7" fmla="*/ 0 h 2"/>
                </a:gdLst>
                <a:cxnLst>
                  <a:cxn ang="0">
                    <a:pos x="T0" y="T1"/>
                  </a:cxn>
                  <a:cxn ang="0">
                    <a:pos x="T2" y="T3"/>
                  </a:cxn>
                  <a:cxn ang="0">
                    <a:pos x="T4" y="T5"/>
                  </a:cxn>
                  <a:cxn ang="0">
                    <a:pos x="T6" y="T7"/>
                  </a:cxn>
                </a:cxnLst>
                <a:rect l="0" t="0" r="r" b="b"/>
                <a:pathLst>
                  <a:path w="1" h="2">
                    <a:moveTo>
                      <a:pt x="1" y="0"/>
                    </a:moveTo>
                    <a:cubicBezTo>
                      <a:pt x="1" y="1"/>
                      <a:pt x="0" y="1"/>
                      <a:pt x="0" y="2"/>
                    </a:cubicBezTo>
                    <a:cubicBezTo>
                      <a:pt x="1"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323"/>
              <p:cNvSpPr/>
              <p:nvPr/>
            </p:nvSpPr>
            <p:spPr bwMode="auto">
              <a:xfrm>
                <a:off x="6242586" y="3007055"/>
                <a:ext cx="648580" cy="280069"/>
              </a:xfrm>
              <a:custGeom>
                <a:gdLst>
                  <a:gd name="T0" fmla="*/ 115 w 204"/>
                  <a:gd name="T1" fmla="*/ 1 h 89"/>
                  <a:gd name="T2" fmla="*/ 96 w 204"/>
                  <a:gd name="T3" fmla="*/ 7 h 89"/>
                  <a:gd name="T4" fmla="*/ 91 w 204"/>
                  <a:gd name="T5" fmla="*/ 35 h 89"/>
                  <a:gd name="T6" fmla="*/ 64 w 204"/>
                  <a:gd name="T7" fmla="*/ 27 h 89"/>
                  <a:gd name="T8" fmla="*/ 44 w 204"/>
                  <a:gd name="T9" fmla="*/ 11 h 89"/>
                  <a:gd name="T10" fmla="*/ 16 w 204"/>
                  <a:gd name="T11" fmla="*/ 24 h 89"/>
                  <a:gd name="T12" fmla="*/ 3 w 204"/>
                  <a:gd name="T13" fmla="*/ 64 h 89"/>
                  <a:gd name="T14" fmla="*/ 3 w 204"/>
                  <a:gd name="T15" fmla="*/ 73 h 89"/>
                  <a:gd name="T16" fmla="*/ 9 w 204"/>
                  <a:gd name="T17" fmla="*/ 69 h 89"/>
                  <a:gd name="T18" fmla="*/ 37 w 204"/>
                  <a:gd name="T19" fmla="*/ 60 h 89"/>
                  <a:gd name="T20" fmla="*/ 46 w 204"/>
                  <a:gd name="T21" fmla="*/ 60 h 89"/>
                  <a:gd name="T22" fmla="*/ 51 w 204"/>
                  <a:gd name="T23" fmla="*/ 61 h 89"/>
                  <a:gd name="T24" fmla="*/ 57 w 204"/>
                  <a:gd name="T25" fmla="*/ 60 h 89"/>
                  <a:gd name="T26" fmla="*/ 62 w 204"/>
                  <a:gd name="T27" fmla="*/ 62 h 89"/>
                  <a:gd name="T28" fmla="*/ 66 w 204"/>
                  <a:gd name="T29" fmla="*/ 61 h 89"/>
                  <a:gd name="T30" fmla="*/ 77 w 204"/>
                  <a:gd name="T31" fmla="*/ 62 h 89"/>
                  <a:gd name="T32" fmla="*/ 82 w 204"/>
                  <a:gd name="T33" fmla="*/ 62 h 89"/>
                  <a:gd name="T34" fmla="*/ 92 w 204"/>
                  <a:gd name="T35" fmla="*/ 65 h 89"/>
                  <a:gd name="T36" fmla="*/ 97 w 204"/>
                  <a:gd name="T37" fmla="*/ 64 h 89"/>
                  <a:gd name="T38" fmla="*/ 101 w 204"/>
                  <a:gd name="T39" fmla="*/ 64 h 89"/>
                  <a:gd name="T40" fmla="*/ 102 w 204"/>
                  <a:gd name="T41" fmla="*/ 64 h 89"/>
                  <a:gd name="T42" fmla="*/ 110 w 204"/>
                  <a:gd name="T43" fmla="*/ 59 h 89"/>
                  <a:gd name="T44" fmla="*/ 114 w 204"/>
                  <a:gd name="T45" fmla="*/ 57 h 89"/>
                  <a:gd name="T46" fmla="*/ 118 w 204"/>
                  <a:gd name="T47" fmla="*/ 64 h 89"/>
                  <a:gd name="T48" fmla="*/ 125 w 204"/>
                  <a:gd name="T49" fmla="*/ 69 h 89"/>
                  <a:gd name="T50" fmla="*/ 134 w 204"/>
                  <a:gd name="T51" fmla="*/ 70 h 89"/>
                  <a:gd name="T52" fmla="*/ 142 w 204"/>
                  <a:gd name="T53" fmla="*/ 76 h 89"/>
                  <a:gd name="T54" fmla="*/ 151 w 204"/>
                  <a:gd name="T55" fmla="*/ 82 h 89"/>
                  <a:gd name="T56" fmla="*/ 156 w 204"/>
                  <a:gd name="T57" fmla="*/ 86 h 89"/>
                  <a:gd name="T58" fmla="*/ 161 w 204"/>
                  <a:gd name="T59" fmla="*/ 89 h 89"/>
                  <a:gd name="T60" fmla="*/ 162 w 204"/>
                  <a:gd name="T61" fmla="*/ 89 h 89"/>
                  <a:gd name="T62" fmla="*/ 165 w 204"/>
                  <a:gd name="T63" fmla="*/ 89 h 89"/>
                  <a:gd name="T64" fmla="*/ 178 w 204"/>
                  <a:gd name="T65" fmla="*/ 83 h 89"/>
                  <a:gd name="T66" fmla="*/ 187 w 204"/>
                  <a:gd name="T67" fmla="*/ 83 h 89"/>
                  <a:gd name="T68" fmla="*/ 192 w 204"/>
                  <a:gd name="T69" fmla="*/ 78 h 89"/>
                  <a:gd name="T70" fmla="*/ 201 w 204"/>
                  <a:gd name="T71" fmla="*/ 71 h 89"/>
                  <a:gd name="T72" fmla="*/ 203 w 204"/>
                  <a:gd name="T73" fmla="*/ 68 h 89"/>
                  <a:gd name="T74" fmla="*/ 203 w 204"/>
                  <a:gd name="T75" fmla="*/ 66 h 89"/>
                  <a:gd name="T76" fmla="*/ 202 w 204"/>
                  <a:gd name="T77" fmla="*/ 63 h 89"/>
                  <a:gd name="T78" fmla="*/ 194 w 204"/>
                  <a:gd name="T79" fmla="*/ 48 h 89"/>
                  <a:gd name="T80" fmla="*/ 183 w 204"/>
                  <a:gd name="T81" fmla="*/ 55 h 89"/>
                  <a:gd name="T82" fmla="*/ 190 w 204"/>
                  <a:gd name="T83" fmla="*/ 38 h 89"/>
                  <a:gd name="T84" fmla="*/ 193 w 204"/>
                  <a:gd name="T85" fmla="*/ 28 h 89"/>
                  <a:gd name="T86" fmla="*/ 188 w 204"/>
                  <a:gd name="T87" fmla="*/ 26 h 89"/>
                  <a:gd name="T88" fmla="*/ 185 w 204"/>
                  <a:gd name="T89" fmla="*/ 24 h 89"/>
                  <a:gd name="T90" fmla="*/ 183 w 204"/>
                  <a:gd name="T91" fmla="*/ 22 h 89"/>
                  <a:gd name="T92" fmla="*/ 176 w 204"/>
                  <a:gd name="T93" fmla="*/ 20 h 89"/>
                  <a:gd name="T94" fmla="*/ 171 w 204"/>
                  <a:gd name="T95" fmla="*/ 18 h 89"/>
                  <a:gd name="T96" fmla="*/ 166 w 204"/>
                  <a:gd name="T97" fmla="*/ 19 h 89"/>
                  <a:gd name="T98" fmla="*/ 156 w 204"/>
                  <a:gd name="T99" fmla="*/ 20 h 89"/>
                  <a:gd name="T100" fmla="*/ 143 w 204"/>
                  <a:gd name="T101" fmla="*/ 9 h 89"/>
                  <a:gd name="T102" fmla="*/ 135 w 204"/>
                  <a:gd name="T103" fmla="*/ 5 h 89"/>
                  <a:gd name="T104" fmla="*/ 130 w 204"/>
                  <a:gd name="T105" fmla="*/ 3 h 89"/>
                  <a:gd name="T106" fmla="*/ 126 w 204"/>
                  <a:gd name="T107" fmla="*/ 1 h 89"/>
                  <a:gd name="T108" fmla="*/ 118 w 204"/>
                  <a:gd name="T109" fmla="*/ 0 h 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4" h="89">
                    <a:moveTo>
                      <a:pt x="118" y="0"/>
                    </a:moveTo>
                    <a:cubicBezTo>
                      <a:pt x="118" y="0"/>
                      <a:pt x="118" y="0"/>
                      <a:pt x="118" y="0"/>
                    </a:cubicBezTo>
                    <a:cubicBezTo>
                      <a:pt x="117" y="0"/>
                      <a:pt x="116" y="1"/>
                      <a:pt x="115" y="1"/>
                    </a:cubicBezTo>
                    <a:cubicBezTo>
                      <a:pt x="114" y="1"/>
                      <a:pt x="114" y="1"/>
                      <a:pt x="114" y="1"/>
                    </a:cubicBezTo>
                    <a:cubicBezTo>
                      <a:pt x="112" y="3"/>
                      <a:pt x="110" y="3"/>
                      <a:pt x="107" y="4"/>
                    </a:cubicBezTo>
                    <a:cubicBezTo>
                      <a:pt x="96" y="7"/>
                      <a:pt x="96" y="7"/>
                      <a:pt x="96" y="7"/>
                    </a:cubicBezTo>
                    <a:cubicBezTo>
                      <a:pt x="96" y="9"/>
                      <a:pt x="97" y="11"/>
                      <a:pt x="97" y="14"/>
                    </a:cubicBezTo>
                    <a:cubicBezTo>
                      <a:pt x="98" y="17"/>
                      <a:pt x="100" y="23"/>
                      <a:pt x="99" y="25"/>
                    </a:cubicBezTo>
                    <a:cubicBezTo>
                      <a:pt x="98" y="28"/>
                      <a:pt x="93" y="33"/>
                      <a:pt x="91" y="35"/>
                    </a:cubicBezTo>
                    <a:cubicBezTo>
                      <a:pt x="88" y="39"/>
                      <a:pt x="84" y="40"/>
                      <a:pt x="80" y="40"/>
                    </a:cubicBezTo>
                    <a:cubicBezTo>
                      <a:pt x="76" y="40"/>
                      <a:pt x="73" y="39"/>
                      <a:pt x="71" y="38"/>
                    </a:cubicBezTo>
                    <a:cubicBezTo>
                      <a:pt x="67" y="36"/>
                      <a:pt x="66" y="30"/>
                      <a:pt x="64" y="27"/>
                    </a:cubicBezTo>
                    <a:cubicBezTo>
                      <a:pt x="63" y="25"/>
                      <a:pt x="59" y="23"/>
                      <a:pt x="57" y="21"/>
                    </a:cubicBezTo>
                    <a:cubicBezTo>
                      <a:pt x="55" y="19"/>
                      <a:pt x="51" y="13"/>
                      <a:pt x="47" y="12"/>
                    </a:cubicBezTo>
                    <a:cubicBezTo>
                      <a:pt x="46" y="12"/>
                      <a:pt x="45" y="11"/>
                      <a:pt x="44" y="11"/>
                    </a:cubicBezTo>
                    <a:cubicBezTo>
                      <a:pt x="41" y="11"/>
                      <a:pt x="38" y="12"/>
                      <a:pt x="36" y="12"/>
                    </a:cubicBezTo>
                    <a:cubicBezTo>
                      <a:pt x="32" y="13"/>
                      <a:pt x="26" y="14"/>
                      <a:pt x="23" y="16"/>
                    </a:cubicBezTo>
                    <a:cubicBezTo>
                      <a:pt x="21" y="17"/>
                      <a:pt x="18" y="22"/>
                      <a:pt x="16" y="24"/>
                    </a:cubicBezTo>
                    <a:cubicBezTo>
                      <a:pt x="13" y="29"/>
                      <a:pt x="15" y="32"/>
                      <a:pt x="14" y="37"/>
                    </a:cubicBezTo>
                    <a:cubicBezTo>
                      <a:pt x="13" y="40"/>
                      <a:pt x="9" y="42"/>
                      <a:pt x="7" y="44"/>
                    </a:cubicBezTo>
                    <a:cubicBezTo>
                      <a:pt x="0" y="50"/>
                      <a:pt x="5" y="57"/>
                      <a:pt x="3" y="64"/>
                    </a:cubicBezTo>
                    <a:cubicBezTo>
                      <a:pt x="3" y="63"/>
                      <a:pt x="3" y="61"/>
                      <a:pt x="3" y="61"/>
                    </a:cubicBezTo>
                    <a:cubicBezTo>
                      <a:pt x="2" y="61"/>
                      <a:pt x="2" y="61"/>
                      <a:pt x="2" y="61"/>
                    </a:cubicBezTo>
                    <a:cubicBezTo>
                      <a:pt x="2" y="66"/>
                      <a:pt x="2" y="69"/>
                      <a:pt x="3" y="73"/>
                    </a:cubicBezTo>
                    <a:cubicBezTo>
                      <a:pt x="4" y="73"/>
                      <a:pt x="5" y="72"/>
                      <a:pt x="5" y="72"/>
                    </a:cubicBezTo>
                    <a:cubicBezTo>
                      <a:pt x="6" y="71"/>
                      <a:pt x="6" y="71"/>
                      <a:pt x="7" y="71"/>
                    </a:cubicBezTo>
                    <a:cubicBezTo>
                      <a:pt x="7" y="70"/>
                      <a:pt x="8" y="69"/>
                      <a:pt x="9" y="69"/>
                    </a:cubicBezTo>
                    <a:cubicBezTo>
                      <a:pt x="11" y="68"/>
                      <a:pt x="11" y="68"/>
                      <a:pt x="11" y="68"/>
                    </a:cubicBezTo>
                    <a:cubicBezTo>
                      <a:pt x="12" y="67"/>
                      <a:pt x="14" y="66"/>
                      <a:pt x="15" y="65"/>
                    </a:cubicBezTo>
                    <a:cubicBezTo>
                      <a:pt x="22" y="63"/>
                      <a:pt x="29" y="60"/>
                      <a:pt x="37" y="60"/>
                    </a:cubicBezTo>
                    <a:cubicBezTo>
                      <a:pt x="38" y="60"/>
                      <a:pt x="38" y="60"/>
                      <a:pt x="38" y="60"/>
                    </a:cubicBezTo>
                    <a:cubicBezTo>
                      <a:pt x="39" y="60"/>
                      <a:pt x="39" y="60"/>
                      <a:pt x="39" y="60"/>
                    </a:cubicBezTo>
                    <a:cubicBezTo>
                      <a:pt x="42" y="60"/>
                      <a:pt x="44" y="60"/>
                      <a:pt x="46" y="60"/>
                    </a:cubicBezTo>
                    <a:cubicBezTo>
                      <a:pt x="47" y="60"/>
                      <a:pt x="47" y="60"/>
                      <a:pt x="47" y="60"/>
                    </a:cubicBezTo>
                    <a:cubicBezTo>
                      <a:pt x="49" y="60"/>
                      <a:pt x="50" y="61"/>
                      <a:pt x="51" y="61"/>
                    </a:cubicBezTo>
                    <a:cubicBezTo>
                      <a:pt x="51" y="61"/>
                      <a:pt x="51" y="61"/>
                      <a:pt x="51" y="61"/>
                    </a:cubicBezTo>
                    <a:cubicBezTo>
                      <a:pt x="51" y="61"/>
                      <a:pt x="51" y="61"/>
                      <a:pt x="51" y="61"/>
                    </a:cubicBezTo>
                    <a:cubicBezTo>
                      <a:pt x="52" y="61"/>
                      <a:pt x="53" y="61"/>
                      <a:pt x="54" y="61"/>
                    </a:cubicBezTo>
                    <a:cubicBezTo>
                      <a:pt x="55" y="60"/>
                      <a:pt x="56" y="60"/>
                      <a:pt x="57" y="60"/>
                    </a:cubicBezTo>
                    <a:cubicBezTo>
                      <a:pt x="57" y="60"/>
                      <a:pt x="57" y="60"/>
                      <a:pt x="58" y="60"/>
                    </a:cubicBezTo>
                    <a:cubicBezTo>
                      <a:pt x="58" y="60"/>
                      <a:pt x="58" y="60"/>
                      <a:pt x="58" y="60"/>
                    </a:cubicBezTo>
                    <a:cubicBezTo>
                      <a:pt x="59" y="60"/>
                      <a:pt x="61" y="61"/>
                      <a:pt x="62" y="62"/>
                    </a:cubicBezTo>
                    <a:cubicBezTo>
                      <a:pt x="62" y="62"/>
                      <a:pt x="62" y="62"/>
                      <a:pt x="62" y="62"/>
                    </a:cubicBezTo>
                    <a:cubicBezTo>
                      <a:pt x="63" y="62"/>
                      <a:pt x="63" y="62"/>
                      <a:pt x="63" y="62"/>
                    </a:cubicBezTo>
                    <a:cubicBezTo>
                      <a:pt x="64" y="62"/>
                      <a:pt x="65" y="61"/>
                      <a:pt x="66" y="61"/>
                    </a:cubicBezTo>
                    <a:cubicBezTo>
                      <a:pt x="66" y="61"/>
                      <a:pt x="67" y="61"/>
                      <a:pt x="67" y="61"/>
                    </a:cubicBezTo>
                    <a:cubicBezTo>
                      <a:pt x="69" y="62"/>
                      <a:pt x="72" y="62"/>
                      <a:pt x="74" y="62"/>
                    </a:cubicBezTo>
                    <a:cubicBezTo>
                      <a:pt x="77" y="62"/>
                      <a:pt x="77" y="62"/>
                      <a:pt x="77" y="62"/>
                    </a:cubicBezTo>
                    <a:cubicBezTo>
                      <a:pt x="77" y="62"/>
                      <a:pt x="77" y="62"/>
                      <a:pt x="77" y="62"/>
                    </a:cubicBezTo>
                    <a:cubicBezTo>
                      <a:pt x="78" y="62"/>
                      <a:pt x="80" y="62"/>
                      <a:pt x="81" y="62"/>
                    </a:cubicBezTo>
                    <a:cubicBezTo>
                      <a:pt x="82" y="62"/>
                      <a:pt x="82" y="62"/>
                      <a:pt x="82" y="62"/>
                    </a:cubicBezTo>
                    <a:cubicBezTo>
                      <a:pt x="83" y="62"/>
                      <a:pt x="84" y="62"/>
                      <a:pt x="84" y="63"/>
                    </a:cubicBezTo>
                    <a:cubicBezTo>
                      <a:pt x="86" y="63"/>
                      <a:pt x="87" y="63"/>
                      <a:pt x="89" y="64"/>
                    </a:cubicBezTo>
                    <a:cubicBezTo>
                      <a:pt x="91" y="65"/>
                      <a:pt x="91" y="65"/>
                      <a:pt x="92" y="65"/>
                    </a:cubicBezTo>
                    <a:cubicBezTo>
                      <a:pt x="92" y="65"/>
                      <a:pt x="92" y="65"/>
                      <a:pt x="92" y="65"/>
                    </a:cubicBezTo>
                    <a:cubicBezTo>
                      <a:pt x="93" y="65"/>
                      <a:pt x="94" y="64"/>
                      <a:pt x="95" y="64"/>
                    </a:cubicBezTo>
                    <a:cubicBezTo>
                      <a:pt x="96" y="64"/>
                      <a:pt x="96" y="64"/>
                      <a:pt x="97" y="64"/>
                    </a:cubicBezTo>
                    <a:cubicBezTo>
                      <a:pt x="98" y="64"/>
                      <a:pt x="99" y="64"/>
                      <a:pt x="99" y="64"/>
                    </a:cubicBezTo>
                    <a:cubicBezTo>
                      <a:pt x="100" y="64"/>
                      <a:pt x="100" y="64"/>
                      <a:pt x="100" y="64"/>
                    </a:cubicBezTo>
                    <a:cubicBezTo>
                      <a:pt x="100" y="64"/>
                      <a:pt x="100" y="64"/>
                      <a:pt x="101" y="64"/>
                    </a:cubicBezTo>
                    <a:cubicBezTo>
                      <a:pt x="101" y="64"/>
                      <a:pt x="101" y="64"/>
                      <a:pt x="101" y="64"/>
                    </a:cubicBezTo>
                    <a:cubicBezTo>
                      <a:pt x="101" y="64"/>
                      <a:pt x="101" y="64"/>
                      <a:pt x="101" y="64"/>
                    </a:cubicBezTo>
                    <a:cubicBezTo>
                      <a:pt x="101" y="64"/>
                      <a:pt x="102" y="64"/>
                      <a:pt x="102" y="64"/>
                    </a:cubicBezTo>
                    <a:cubicBezTo>
                      <a:pt x="102" y="64"/>
                      <a:pt x="102" y="64"/>
                      <a:pt x="103" y="63"/>
                    </a:cubicBezTo>
                    <a:cubicBezTo>
                      <a:pt x="104" y="62"/>
                      <a:pt x="105" y="62"/>
                      <a:pt x="106" y="61"/>
                    </a:cubicBezTo>
                    <a:cubicBezTo>
                      <a:pt x="107" y="60"/>
                      <a:pt x="109" y="59"/>
                      <a:pt x="110" y="59"/>
                    </a:cubicBezTo>
                    <a:cubicBezTo>
                      <a:pt x="110" y="59"/>
                      <a:pt x="110" y="59"/>
                      <a:pt x="110" y="59"/>
                    </a:cubicBezTo>
                    <a:cubicBezTo>
                      <a:pt x="111" y="59"/>
                      <a:pt x="111" y="59"/>
                      <a:pt x="111" y="58"/>
                    </a:cubicBezTo>
                    <a:cubicBezTo>
                      <a:pt x="114" y="57"/>
                      <a:pt x="114" y="57"/>
                      <a:pt x="114" y="57"/>
                    </a:cubicBezTo>
                    <a:cubicBezTo>
                      <a:pt x="116" y="60"/>
                      <a:pt x="116" y="60"/>
                      <a:pt x="116" y="60"/>
                    </a:cubicBezTo>
                    <a:cubicBezTo>
                      <a:pt x="116" y="60"/>
                      <a:pt x="116" y="60"/>
                      <a:pt x="116" y="61"/>
                    </a:cubicBezTo>
                    <a:cubicBezTo>
                      <a:pt x="117" y="62"/>
                      <a:pt x="118" y="63"/>
                      <a:pt x="118" y="64"/>
                    </a:cubicBezTo>
                    <a:cubicBezTo>
                      <a:pt x="119" y="66"/>
                      <a:pt x="119" y="66"/>
                      <a:pt x="119" y="66"/>
                    </a:cubicBezTo>
                    <a:cubicBezTo>
                      <a:pt x="121" y="68"/>
                      <a:pt x="121" y="68"/>
                      <a:pt x="124" y="69"/>
                    </a:cubicBezTo>
                    <a:cubicBezTo>
                      <a:pt x="125" y="69"/>
                      <a:pt x="125" y="69"/>
                      <a:pt x="125" y="69"/>
                    </a:cubicBezTo>
                    <a:cubicBezTo>
                      <a:pt x="126" y="69"/>
                      <a:pt x="127" y="69"/>
                      <a:pt x="128" y="69"/>
                    </a:cubicBezTo>
                    <a:cubicBezTo>
                      <a:pt x="130" y="69"/>
                      <a:pt x="130" y="69"/>
                      <a:pt x="130" y="69"/>
                    </a:cubicBezTo>
                    <a:cubicBezTo>
                      <a:pt x="132" y="69"/>
                      <a:pt x="133" y="70"/>
                      <a:pt x="134" y="70"/>
                    </a:cubicBezTo>
                    <a:cubicBezTo>
                      <a:pt x="137" y="71"/>
                      <a:pt x="139" y="73"/>
                      <a:pt x="140" y="74"/>
                    </a:cubicBezTo>
                    <a:cubicBezTo>
                      <a:pt x="141" y="75"/>
                      <a:pt x="141" y="75"/>
                      <a:pt x="141" y="75"/>
                    </a:cubicBezTo>
                    <a:cubicBezTo>
                      <a:pt x="142" y="76"/>
                      <a:pt x="142" y="76"/>
                      <a:pt x="142" y="76"/>
                    </a:cubicBezTo>
                    <a:cubicBezTo>
                      <a:pt x="143" y="76"/>
                      <a:pt x="144" y="77"/>
                      <a:pt x="144" y="78"/>
                    </a:cubicBezTo>
                    <a:cubicBezTo>
                      <a:pt x="146" y="78"/>
                      <a:pt x="148" y="80"/>
                      <a:pt x="149" y="81"/>
                    </a:cubicBezTo>
                    <a:cubicBezTo>
                      <a:pt x="150" y="81"/>
                      <a:pt x="150" y="82"/>
                      <a:pt x="151" y="82"/>
                    </a:cubicBezTo>
                    <a:cubicBezTo>
                      <a:pt x="152" y="84"/>
                      <a:pt x="152" y="84"/>
                      <a:pt x="152" y="84"/>
                    </a:cubicBezTo>
                    <a:cubicBezTo>
                      <a:pt x="153" y="84"/>
                      <a:pt x="154" y="85"/>
                      <a:pt x="155" y="86"/>
                    </a:cubicBezTo>
                    <a:cubicBezTo>
                      <a:pt x="156" y="86"/>
                      <a:pt x="156" y="86"/>
                      <a:pt x="156" y="86"/>
                    </a:cubicBezTo>
                    <a:cubicBezTo>
                      <a:pt x="157" y="87"/>
                      <a:pt x="158" y="88"/>
                      <a:pt x="160" y="89"/>
                    </a:cubicBezTo>
                    <a:cubicBezTo>
                      <a:pt x="160" y="89"/>
                      <a:pt x="160" y="89"/>
                      <a:pt x="160" y="89"/>
                    </a:cubicBezTo>
                    <a:cubicBezTo>
                      <a:pt x="161" y="89"/>
                      <a:pt x="161" y="89"/>
                      <a:pt x="161" y="89"/>
                    </a:cubicBezTo>
                    <a:cubicBezTo>
                      <a:pt x="162" y="89"/>
                      <a:pt x="162" y="89"/>
                      <a:pt x="162" y="89"/>
                    </a:cubicBezTo>
                    <a:cubicBezTo>
                      <a:pt x="162" y="89"/>
                      <a:pt x="162" y="89"/>
                      <a:pt x="162" y="89"/>
                    </a:cubicBezTo>
                    <a:cubicBezTo>
                      <a:pt x="162" y="89"/>
                      <a:pt x="162" y="89"/>
                      <a:pt x="162" y="89"/>
                    </a:cubicBezTo>
                    <a:cubicBezTo>
                      <a:pt x="162" y="89"/>
                      <a:pt x="162" y="89"/>
                      <a:pt x="162" y="89"/>
                    </a:cubicBezTo>
                    <a:cubicBezTo>
                      <a:pt x="163" y="89"/>
                      <a:pt x="164" y="89"/>
                      <a:pt x="164" y="89"/>
                    </a:cubicBezTo>
                    <a:cubicBezTo>
                      <a:pt x="165" y="89"/>
                      <a:pt x="165" y="89"/>
                      <a:pt x="165" y="89"/>
                    </a:cubicBezTo>
                    <a:cubicBezTo>
                      <a:pt x="166" y="88"/>
                      <a:pt x="167" y="87"/>
                      <a:pt x="168" y="86"/>
                    </a:cubicBezTo>
                    <a:cubicBezTo>
                      <a:pt x="169" y="85"/>
                      <a:pt x="171" y="83"/>
                      <a:pt x="175" y="83"/>
                    </a:cubicBezTo>
                    <a:cubicBezTo>
                      <a:pt x="176" y="83"/>
                      <a:pt x="177" y="83"/>
                      <a:pt x="178" y="83"/>
                    </a:cubicBezTo>
                    <a:cubicBezTo>
                      <a:pt x="181" y="83"/>
                      <a:pt x="181" y="83"/>
                      <a:pt x="181" y="83"/>
                    </a:cubicBezTo>
                    <a:cubicBezTo>
                      <a:pt x="183" y="83"/>
                      <a:pt x="183" y="83"/>
                      <a:pt x="183" y="83"/>
                    </a:cubicBezTo>
                    <a:cubicBezTo>
                      <a:pt x="184" y="83"/>
                      <a:pt x="186" y="83"/>
                      <a:pt x="187" y="83"/>
                    </a:cubicBezTo>
                    <a:cubicBezTo>
                      <a:pt x="187" y="83"/>
                      <a:pt x="187" y="83"/>
                      <a:pt x="187" y="83"/>
                    </a:cubicBezTo>
                    <a:cubicBezTo>
                      <a:pt x="188" y="82"/>
                      <a:pt x="188" y="81"/>
                      <a:pt x="189" y="80"/>
                    </a:cubicBezTo>
                    <a:cubicBezTo>
                      <a:pt x="190" y="79"/>
                      <a:pt x="191" y="78"/>
                      <a:pt x="192" y="78"/>
                    </a:cubicBezTo>
                    <a:cubicBezTo>
                      <a:pt x="192" y="77"/>
                      <a:pt x="192" y="77"/>
                      <a:pt x="192" y="77"/>
                    </a:cubicBezTo>
                    <a:cubicBezTo>
                      <a:pt x="193" y="77"/>
                      <a:pt x="193" y="76"/>
                      <a:pt x="193" y="76"/>
                    </a:cubicBezTo>
                    <a:cubicBezTo>
                      <a:pt x="196" y="74"/>
                      <a:pt x="198" y="72"/>
                      <a:pt x="201" y="71"/>
                    </a:cubicBezTo>
                    <a:cubicBezTo>
                      <a:pt x="202" y="71"/>
                      <a:pt x="202" y="71"/>
                      <a:pt x="203" y="71"/>
                    </a:cubicBezTo>
                    <a:cubicBezTo>
                      <a:pt x="203" y="71"/>
                      <a:pt x="203" y="71"/>
                      <a:pt x="203" y="71"/>
                    </a:cubicBezTo>
                    <a:cubicBezTo>
                      <a:pt x="203" y="68"/>
                      <a:pt x="203" y="68"/>
                      <a:pt x="203" y="68"/>
                    </a:cubicBezTo>
                    <a:cubicBezTo>
                      <a:pt x="203" y="67"/>
                      <a:pt x="203" y="67"/>
                      <a:pt x="203" y="66"/>
                    </a:cubicBezTo>
                    <a:cubicBezTo>
                      <a:pt x="204" y="66"/>
                      <a:pt x="204" y="66"/>
                      <a:pt x="204" y="66"/>
                    </a:cubicBezTo>
                    <a:cubicBezTo>
                      <a:pt x="203" y="66"/>
                      <a:pt x="203" y="66"/>
                      <a:pt x="203" y="66"/>
                    </a:cubicBezTo>
                    <a:cubicBezTo>
                      <a:pt x="202" y="65"/>
                      <a:pt x="202" y="65"/>
                      <a:pt x="202" y="65"/>
                    </a:cubicBezTo>
                    <a:cubicBezTo>
                      <a:pt x="202" y="64"/>
                      <a:pt x="202" y="64"/>
                      <a:pt x="202" y="64"/>
                    </a:cubicBezTo>
                    <a:cubicBezTo>
                      <a:pt x="202" y="63"/>
                      <a:pt x="202" y="63"/>
                      <a:pt x="202" y="63"/>
                    </a:cubicBezTo>
                    <a:cubicBezTo>
                      <a:pt x="202" y="62"/>
                      <a:pt x="202" y="62"/>
                      <a:pt x="202" y="62"/>
                    </a:cubicBezTo>
                    <a:cubicBezTo>
                      <a:pt x="200" y="61"/>
                      <a:pt x="200" y="60"/>
                      <a:pt x="198" y="53"/>
                    </a:cubicBezTo>
                    <a:cubicBezTo>
                      <a:pt x="197" y="51"/>
                      <a:pt x="196" y="49"/>
                      <a:pt x="194" y="48"/>
                    </a:cubicBezTo>
                    <a:cubicBezTo>
                      <a:pt x="194" y="48"/>
                      <a:pt x="194" y="48"/>
                      <a:pt x="194" y="48"/>
                    </a:cubicBezTo>
                    <a:cubicBezTo>
                      <a:pt x="193" y="48"/>
                      <a:pt x="193" y="48"/>
                      <a:pt x="193" y="48"/>
                    </a:cubicBezTo>
                    <a:cubicBezTo>
                      <a:pt x="183" y="55"/>
                      <a:pt x="183" y="55"/>
                      <a:pt x="183" y="55"/>
                    </a:cubicBezTo>
                    <a:cubicBezTo>
                      <a:pt x="188" y="44"/>
                      <a:pt x="188" y="44"/>
                      <a:pt x="188" y="44"/>
                    </a:cubicBezTo>
                    <a:cubicBezTo>
                      <a:pt x="188" y="44"/>
                      <a:pt x="189" y="41"/>
                      <a:pt x="190" y="38"/>
                    </a:cubicBezTo>
                    <a:cubicBezTo>
                      <a:pt x="190" y="38"/>
                      <a:pt x="190" y="38"/>
                      <a:pt x="190" y="38"/>
                    </a:cubicBezTo>
                    <a:cubicBezTo>
                      <a:pt x="190" y="37"/>
                      <a:pt x="190" y="37"/>
                      <a:pt x="190" y="37"/>
                    </a:cubicBezTo>
                    <a:cubicBezTo>
                      <a:pt x="190" y="36"/>
                      <a:pt x="189" y="33"/>
                      <a:pt x="192" y="31"/>
                    </a:cubicBezTo>
                    <a:cubicBezTo>
                      <a:pt x="192" y="30"/>
                      <a:pt x="192" y="29"/>
                      <a:pt x="193" y="28"/>
                    </a:cubicBezTo>
                    <a:cubicBezTo>
                      <a:pt x="192" y="28"/>
                      <a:pt x="192" y="28"/>
                      <a:pt x="191" y="28"/>
                    </a:cubicBezTo>
                    <a:cubicBezTo>
                      <a:pt x="191" y="27"/>
                      <a:pt x="190" y="27"/>
                      <a:pt x="189" y="27"/>
                    </a:cubicBezTo>
                    <a:cubicBezTo>
                      <a:pt x="189" y="26"/>
                      <a:pt x="188" y="26"/>
                      <a:pt x="188" y="26"/>
                    </a:cubicBezTo>
                    <a:cubicBezTo>
                      <a:pt x="187" y="25"/>
                      <a:pt x="187" y="25"/>
                      <a:pt x="187" y="25"/>
                    </a:cubicBezTo>
                    <a:cubicBezTo>
                      <a:pt x="186" y="25"/>
                      <a:pt x="186" y="25"/>
                      <a:pt x="186" y="25"/>
                    </a:cubicBezTo>
                    <a:cubicBezTo>
                      <a:pt x="186" y="24"/>
                      <a:pt x="185" y="24"/>
                      <a:pt x="185" y="24"/>
                    </a:cubicBezTo>
                    <a:cubicBezTo>
                      <a:pt x="184" y="23"/>
                      <a:pt x="184" y="23"/>
                      <a:pt x="184" y="23"/>
                    </a:cubicBezTo>
                    <a:cubicBezTo>
                      <a:pt x="183" y="22"/>
                      <a:pt x="183" y="22"/>
                      <a:pt x="183" y="22"/>
                    </a:cubicBezTo>
                    <a:cubicBezTo>
                      <a:pt x="183" y="22"/>
                      <a:pt x="183" y="22"/>
                      <a:pt x="183" y="22"/>
                    </a:cubicBezTo>
                    <a:cubicBezTo>
                      <a:pt x="179" y="26"/>
                      <a:pt x="179" y="26"/>
                      <a:pt x="179" y="26"/>
                    </a:cubicBezTo>
                    <a:cubicBezTo>
                      <a:pt x="179" y="21"/>
                      <a:pt x="179" y="21"/>
                      <a:pt x="179" y="21"/>
                    </a:cubicBezTo>
                    <a:cubicBezTo>
                      <a:pt x="176" y="20"/>
                      <a:pt x="176" y="20"/>
                      <a:pt x="176" y="20"/>
                    </a:cubicBezTo>
                    <a:cubicBezTo>
                      <a:pt x="175" y="20"/>
                      <a:pt x="174" y="19"/>
                      <a:pt x="172" y="18"/>
                    </a:cubicBezTo>
                    <a:cubicBezTo>
                      <a:pt x="172" y="18"/>
                      <a:pt x="172" y="18"/>
                      <a:pt x="172" y="18"/>
                    </a:cubicBezTo>
                    <a:cubicBezTo>
                      <a:pt x="171" y="18"/>
                      <a:pt x="171" y="18"/>
                      <a:pt x="171" y="18"/>
                    </a:cubicBezTo>
                    <a:cubicBezTo>
                      <a:pt x="170" y="18"/>
                      <a:pt x="170" y="18"/>
                      <a:pt x="169" y="19"/>
                    </a:cubicBezTo>
                    <a:cubicBezTo>
                      <a:pt x="168" y="19"/>
                      <a:pt x="168" y="19"/>
                      <a:pt x="167" y="19"/>
                    </a:cubicBezTo>
                    <a:cubicBezTo>
                      <a:pt x="167" y="19"/>
                      <a:pt x="166" y="19"/>
                      <a:pt x="166" y="19"/>
                    </a:cubicBezTo>
                    <a:cubicBezTo>
                      <a:pt x="166" y="19"/>
                      <a:pt x="166" y="19"/>
                      <a:pt x="166" y="19"/>
                    </a:cubicBezTo>
                    <a:cubicBezTo>
                      <a:pt x="164" y="20"/>
                      <a:pt x="162" y="21"/>
                      <a:pt x="159" y="21"/>
                    </a:cubicBezTo>
                    <a:cubicBezTo>
                      <a:pt x="158" y="21"/>
                      <a:pt x="157" y="21"/>
                      <a:pt x="156" y="20"/>
                    </a:cubicBezTo>
                    <a:cubicBezTo>
                      <a:pt x="154" y="19"/>
                      <a:pt x="153" y="18"/>
                      <a:pt x="151" y="17"/>
                    </a:cubicBezTo>
                    <a:cubicBezTo>
                      <a:pt x="149" y="15"/>
                      <a:pt x="149" y="15"/>
                      <a:pt x="149" y="15"/>
                    </a:cubicBezTo>
                    <a:cubicBezTo>
                      <a:pt x="147" y="14"/>
                      <a:pt x="145" y="11"/>
                      <a:pt x="143" y="9"/>
                    </a:cubicBezTo>
                    <a:cubicBezTo>
                      <a:pt x="143" y="8"/>
                      <a:pt x="143" y="8"/>
                      <a:pt x="143" y="8"/>
                    </a:cubicBezTo>
                    <a:cubicBezTo>
                      <a:pt x="143" y="8"/>
                      <a:pt x="143" y="8"/>
                      <a:pt x="143" y="8"/>
                    </a:cubicBezTo>
                    <a:cubicBezTo>
                      <a:pt x="140" y="7"/>
                      <a:pt x="137" y="6"/>
                      <a:pt x="135" y="5"/>
                    </a:cubicBezTo>
                    <a:cubicBezTo>
                      <a:pt x="134" y="5"/>
                      <a:pt x="134" y="5"/>
                      <a:pt x="134" y="5"/>
                    </a:cubicBezTo>
                    <a:cubicBezTo>
                      <a:pt x="133" y="4"/>
                      <a:pt x="133" y="4"/>
                      <a:pt x="132" y="3"/>
                    </a:cubicBezTo>
                    <a:cubicBezTo>
                      <a:pt x="130" y="3"/>
                      <a:pt x="130" y="3"/>
                      <a:pt x="130" y="3"/>
                    </a:cubicBezTo>
                    <a:cubicBezTo>
                      <a:pt x="129" y="2"/>
                      <a:pt x="128" y="1"/>
                      <a:pt x="128" y="1"/>
                    </a:cubicBezTo>
                    <a:cubicBezTo>
                      <a:pt x="127" y="1"/>
                      <a:pt x="127" y="1"/>
                      <a:pt x="127" y="1"/>
                    </a:cubicBezTo>
                    <a:cubicBezTo>
                      <a:pt x="126" y="1"/>
                      <a:pt x="126" y="1"/>
                      <a:pt x="126" y="1"/>
                    </a:cubicBezTo>
                    <a:cubicBezTo>
                      <a:pt x="125" y="1"/>
                      <a:pt x="125" y="1"/>
                      <a:pt x="125" y="1"/>
                    </a:cubicBezTo>
                    <a:cubicBezTo>
                      <a:pt x="124" y="1"/>
                      <a:pt x="124" y="1"/>
                      <a:pt x="124" y="1"/>
                    </a:cubicBezTo>
                    <a:cubicBezTo>
                      <a:pt x="121" y="1"/>
                      <a:pt x="120" y="1"/>
                      <a:pt x="1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324"/>
              <p:cNvSpPr/>
              <p:nvPr/>
            </p:nvSpPr>
            <p:spPr bwMode="auto">
              <a:xfrm>
                <a:off x="6471063" y="2782263"/>
                <a:ext cx="405363" cy="269013"/>
              </a:xfrm>
              <a:custGeom>
                <a:gdLst>
                  <a:gd name="T0" fmla="*/ 60 w 128"/>
                  <a:gd name="T1" fmla="*/ 5 h 85"/>
                  <a:gd name="T2" fmla="*/ 26 w 128"/>
                  <a:gd name="T3" fmla="*/ 10 h 85"/>
                  <a:gd name="T4" fmla="*/ 19 w 128"/>
                  <a:gd name="T5" fmla="*/ 15 h 85"/>
                  <a:gd name="T6" fmla="*/ 0 w 128"/>
                  <a:gd name="T7" fmla="*/ 27 h 85"/>
                  <a:gd name="T8" fmla="*/ 4 w 128"/>
                  <a:gd name="T9" fmla="*/ 27 h 85"/>
                  <a:gd name="T10" fmla="*/ 3 w 128"/>
                  <a:gd name="T11" fmla="*/ 29 h 85"/>
                  <a:gd name="T12" fmla="*/ 6 w 128"/>
                  <a:gd name="T13" fmla="*/ 29 h 85"/>
                  <a:gd name="T14" fmla="*/ 0 w 128"/>
                  <a:gd name="T15" fmla="*/ 37 h 85"/>
                  <a:gd name="T16" fmla="*/ 6 w 128"/>
                  <a:gd name="T17" fmla="*/ 37 h 85"/>
                  <a:gd name="T18" fmla="*/ 13 w 128"/>
                  <a:gd name="T19" fmla="*/ 38 h 85"/>
                  <a:gd name="T20" fmla="*/ 2 w 128"/>
                  <a:gd name="T21" fmla="*/ 45 h 85"/>
                  <a:gd name="T22" fmla="*/ 18 w 128"/>
                  <a:gd name="T23" fmla="*/ 57 h 85"/>
                  <a:gd name="T24" fmla="*/ 27 w 128"/>
                  <a:gd name="T25" fmla="*/ 55 h 85"/>
                  <a:gd name="T26" fmla="*/ 31 w 128"/>
                  <a:gd name="T27" fmla="*/ 57 h 85"/>
                  <a:gd name="T28" fmla="*/ 35 w 128"/>
                  <a:gd name="T29" fmla="*/ 68 h 85"/>
                  <a:gd name="T30" fmla="*/ 40 w 128"/>
                  <a:gd name="T31" fmla="*/ 66 h 85"/>
                  <a:gd name="T32" fmla="*/ 45 w 128"/>
                  <a:gd name="T33" fmla="*/ 64 h 85"/>
                  <a:gd name="T34" fmla="*/ 48 w 128"/>
                  <a:gd name="T35" fmla="*/ 62 h 85"/>
                  <a:gd name="T36" fmla="*/ 53 w 128"/>
                  <a:gd name="T37" fmla="*/ 65 h 85"/>
                  <a:gd name="T38" fmla="*/ 54 w 128"/>
                  <a:gd name="T39" fmla="*/ 65 h 85"/>
                  <a:gd name="T40" fmla="*/ 57 w 128"/>
                  <a:gd name="T41" fmla="*/ 65 h 85"/>
                  <a:gd name="T42" fmla="*/ 62 w 128"/>
                  <a:gd name="T43" fmla="*/ 67 h 85"/>
                  <a:gd name="T44" fmla="*/ 66 w 128"/>
                  <a:gd name="T45" fmla="*/ 69 h 85"/>
                  <a:gd name="T46" fmla="*/ 75 w 128"/>
                  <a:gd name="T47" fmla="*/ 72 h 85"/>
                  <a:gd name="T48" fmla="*/ 78 w 128"/>
                  <a:gd name="T49" fmla="*/ 76 h 85"/>
                  <a:gd name="T50" fmla="*/ 84 w 128"/>
                  <a:gd name="T51" fmla="*/ 82 h 85"/>
                  <a:gd name="T52" fmla="*/ 88 w 128"/>
                  <a:gd name="T53" fmla="*/ 85 h 85"/>
                  <a:gd name="T54" fmla="*/ 92 w 128"/>
                  <a:gd name="T55" fmla="*/ 83 h 85"/>
                  <a:gd name="T56" fmla="*/ 95 w 128"/>
                  <a:gd name="T57" fmla="*/ 83 h 85"/>
                  <a:gd name="T58" fmla="*/ 98 w 128"/>
                  <a:gd name="T59" fmla="*/ 81 h 85"/>
                  <a:gd name="T60" fmla="*/ 104 w 128"/>
                  <a:gd name="T61" fmla="*/ 83 h 85"/>
                  <a:gd name="T62" fmla="*/ 109 w 128"/>
                  <a:gd name="T63" fmla="*/ 85 h 85"/>
                  <a:gd name="T64" fmla="*/ 110 w 128"/>
                  <a:gd name="T65" fmla="*/ 84 h 85"/>
                  <a:gd name="T66" fmla="*/ 111 w 128"/>
                  <a:gd name="T67" fmla="*/ 81 h 85"/>
                  <a:gd name="T68" fmla="*/ 112 w 128"/>
                  <a:gd name="T69" fmla="*/ 78 h 85"/>
                  <a:gd name="T70" fmla="*/ 115 w 128"/>
                  <a:gd name="T71" fmla="*/ 75 h 85"/>
                  <a:gd name="T72" fmla="*/ 116 w 128"/>
                  <a:gd name="T73" fmla="*/ 74 h 85"/>
                  <a:gd name="T74" fmla="*/ 120 w 128"/>
                  <a:gd name="T75" fmla="*/ 73 h 85"/>
                  <a:gd name="T76" fmla="*/ 117 w 128"/>
                  <a:gd name="T77" fmla="*/ 69 h 85"/>
                  <a:gd name="T78" fmla="*/ 111 w 128"/>
                  <a:gd name="T79" fmla="*/ 53 h 85"/>
                  <a:gd name="T80" fmla="*/ 111 w 128"/>
                  <a:gd name="T81" fmla="*/ 43 h 85"/>
                  <a:gd name="T82" fmla="*/ 121 w 128"/>
                  <a:gd name="T83" fmla="*/ 21 h 85"/>
                  <a:gd name="T84" fmla="*/ 124 w 128"/>
                  <a:gd name="T85" fmla="*/ 14 h 85"/>
                  <a:gd name="T86" fmla="*/ 127 w 128"/>
                  <a:gd name="T87" fmla="*/ 10 h 85"/>
                  <a:gd name="T88" fmla="*/ 112 w 128"/>
                  <a:gd name="T89" fmla="*/ 9 h 85"/>
                  <a:gd name="T90" fmla="*/ 101 w 128"/>
                  <a:gd name="T91" fmla="*/ 9 h 85"/>
                  <a:gd name="T92" fmla="*/ 70 w 128"/>
                  <a:gd name="T93" fmla="*/ 4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5">
                    <a:moveTo>
                      <a:pt x="59" y="0"/>
                    </a:moveTo>
                    <a:cubicBezTo>
                      <a:pt x="59" y="2"/>
                      <a:pt x="60" y="4"/>
                      <a:pt x="60" y="5"/>
                    </a:cubicBezTo>
                    <a:cubicBezTo>
                      <a:pt x="53" y="8"/>
                      <a:pt x="46" y="6"/>
                      <a:pt x="38" y="7"/>
                    </a:cubicBezTo>
                    <a:cubicBezTo>
                      <a:pt x="34" y="8"/>
                      <a:pt x="30" y="9"/>
                      <a:pt x="26" y="10"/>
                    </a:cubicBezTo>
                    <a:cubicBezTo>
                      <a:pt x="23" y="11"/>
                      <a:pt x="22" y="14"/>
                      <a:pt x="19" y="15"/>
                    </a:cubicBezTo>
                    <a:cubicBezTo>
                      <a:pt x="19" y="15"/>
                      <a:pt x="19" y="15"/>
                      <a:pt x="19" y="15"/>
                    </a:cubicBezTo>
                    <a:cubicBezTo>
                      <a:pt x="16" y="16"/>
                      <a:pt x="1" y="18"/>
                      <a:pt x="1" y="20"/>
                    </a:cubicBezTo>
                    <a:cubicBezTo>
                      <a:pt x="1" y="21"/>
                      <a:pt x="0" y="26"/>
                      <a:pt x="0" y="27"/>
                    </a:cubicBezTo>
                    <a:cubicBezTo>
                      <a:pt x="0" y="27"/>
                      <a:pt x="1" y="27"/>
                      <a:pt x="2" y="27"/>
                    </a:cubicBezTo>
                    <a:cubicBezTo>
                      <a:pt x="2" y="27"/>
                      <a:pt x="3" y="27"/>
                      <a:pt x="4" y="27"/>
                    </a:cubicBezTo>
                    <a:cubicBezTo>
                      <a:pt x="3" y="28"/>
                      <a:pt x="3" y="28"/>
                      <a:pt x="3" y="28"/>
                    </a:cubicBezTo>
                    <a:cubicBezTo>
                      <a:pt x="3" y="29"/>
                      <a:pt x="3" y="29"/>
                      <a:pt x="3" y="29"/>
                    </a:cubicBezTo>
                    <a:cubicBezTo>
                      <a:pt x="5" y="27"/>
                      <a:pt x="5" y="27"/>
                      <a:pt x="5" y="27"/>
                    </a:cubicBezTo>
                    <a:cubicBezTo>
                      <a:pt x="5" y="27"/>
                      <a:pt x="6" y="28"/>
                      <a:pt x="6" y="29"/>
                    </a:cubicBezTo>
                    <a:cubicBezTo>
                      <a:pt x="2" y="31"/>
                      <a:pt x="2" y="30"/>
                      <a:pt x="1" y="35"/>
                    </a:cubicBezTo>
                    <a:cubicBezTo>
                      <a:pt x="1" y="35"/>
                      <a:pt x="1" y="37"/>
                      <a:pt x="0" y="37"/>
                    </a:cubicBezTo>
                    <a:cubicBezTo>
                      <a:pt x="1" y="37"/>
                      <a:pt x="2" y="37"/>
                      <a:pt x="3" y="37"/>
                    </a:cubicBezTo>
                    <a:cubicBezTo>
                      <a:pt x="4" y="37"/>
                      <a:pt x="5" y="37"/>
                      <a:pt x="6" y="37"/>
                    </a:cubicBezTo>
                    <a:cubicBezTo>
                      <a:pt x="7" y="37"/>
                      <a:pt x="8" y="37"/>
                      <a:pt x="9" y="37"/>
                    </a:cubicBezTo>
                    <a:cubicBezTo>
                      <a:pt x="10" y="37"/>
                      <a:pt x="11" y="37"/>
                      <a:pt x="13" y="38"/>
                    </a:cubicBezTo>
                    <a:cubicBezTo>
                      <a:pt x="11" y="38"/>
                      <a:pt x="5" y="38"/>
                      <a:pt x="3" y="40"/>
                    </a:cubicBezTo>
                    <a:cubicBezTo>
                      <a:pt x="2" y="41"/>
                      <a:pt x="2" y="44"/>
                      <a:pt x="2" y="45"/>
                    </a:cubicBezTo>
                    <a:cubicBezTo>
                      <a:pt x="2" y="47"/>
                      <a:pt x="4" y="46"/>
                      <a:pt x="5" y="47"/>
                    </a:cubicBezTo>
                    <a:cubicBezTo>
                      <a:pt x="9" y="53"/>
                      <a:pt x="11" y="55"/>
                      <a:pt x="18" y="57"/>
                    </a:cubicBezTo>
                    <a:cubicBezTo>
                      <a:pt x="20" y="58"/>
                      <a:pt x="21" y="58"/>
                      <a:pt x="22" y="58"/>
                    </a:cubicBezTo>
                    <a:cubicBezTo>
                      <a:pt x="24" y="58"/>
                      <a:pt x="24" y="57"/>
                      <a:pt x="27" y="55"/>
                    </a:cubicBezTo>
                    <a:cubicBezTo>
                      <a:pt x="28" y="55"/>
                      <a:pt x="29" y="54"/>
                      <a:pt x="30" y="54"/>
                    </a:cubicBezTo>
                    <a:cubicBezTo>
                      <a:pt x="31" y="54"/>
                      <a:pt x="32" y="55"/>
                      <a:pt x="31" y="57"/>
                    </a:cubicBezTo>
                    <a:cubicBezTo>
                      <a:pt x="30" y="61"/>
                      <a:pt x="29" y="66"/>
                      <a:pt x="27" y="70"/>
                    </a:cubicBezTo>
                    <a:cubicBezTo>
                      <a:pt x="35" y="68"/>
                      <a:pt x="35" y="68"/>
                      <a:pt x="35" y="68"/>
                    </a:cubicBezTo>
                    <a:cubicBezTo>
                      <a:pt x="37" y="67"/>
                      <a:pt x="38" y="67"/>
                      <a:pt x="40" y="66"/>
                    </a:cubicBezTo>
                    <a:cubicBezTo>
                      <a:pt x="40" y="66"/>
                      <a:pt x="40" y="66"/>
                      <a:pt x="40" y="66"/>
                    </a:cubicBezTo>
                    <a:cubicBezTo>
                      <a:pt x="42" y="65"/>
                      <a:pt x="43" y="65"/>
                      <a:pt x="44" y="64"/>
                    </a:cubicBezTo>
                    <a:cubicBezTo>
                      <a:pt x="45" y="64"/>
                      <a:pt x="45" y="64"/>
                      <a:pt x="45" y="64"/>
                    </a:cubicBezTo>
                    <a:cubicBezTo>
                      <a:pt x="46" y="63"/>
                      <a:pt x="46" y="63"/>
                      <a:pt x="46" y="63"/>
                    </a:cubicBezTo>
                    <a:cubicBezTo>
                      <a:pt x="48" y="62"/>
                      <a:pt x="48" y="62"/>
                      <a:pt x="48" y="62"/>
                    </a:cubicBezTo>
                    <a:cubicBezTo>
                      <a:pt x="50" y="64"/>
                      <a:pt x="50" y="64"/>
                      <a:pt x="50" y="64"/>
                    </a:cubicBezTo>
                    <a:cubicBezTo>
                      <a:pt x="51" y="65"/>
                      <a:pt x="52" y="65"/>
                      <a:pt x="53" y="65"/>
                    </a:cubicBezTo>
                    <a:cubicBezTo>
                      <a:pt x="53" y="65"/>
                      <a:pt x="53" y="65"/>
                      <a:pt x="54" y="65"/>
                    </a:cubicBezTo>
                    <a:cubicBezTo>
                      <a:pt x="54" y="65"/>
                      <a:pt x="54" y="65"/>
                      <a:pt x="54" y="65"/>
                    </a:cubicBezTo>
                    <a:cubicBezTo>
                      <a:pt x="54" y="65"/>
                      <a:pt x="54" y="65"/>
                      <a:pt x="55" y="65"/>
                    </a:cubicBezTo>
                    <a:cubicBezTo>
                      <a:pt x="55" y="65"/>
                      <a:pt x="56" y="65"/>
                      <a:pt x="57" y="65"/>
                    </a:cubicBezTo>
                    <a:cubicBezTo>
                      <a:pt x="57" y="65"/>
                      <a:pt x="58" y="65"/>
                      <a:pt x="58" y="65"/>
                    </a:cubicBezTo>
                    <a:cubicBezTo>
                      <a:pt x="59" y="66"/>
                      <a:pt x="59" y="66"/>
                      <a:pt x="62" y="67"/>
                    </a:cubicBezTo>
                    <a:cubicBezTo>
                      <a:pt x="63" y="68"/>
                      <a:pt x="63" y="68"/>
                      <a:pt x="63" y="68"/>
                    </a:cubicBezTo>
                    <a:cubicBezTo>
                      <a:pt x="64" y="68"/>
                      <a:pt x="65" y="69"/>
                      <a:pt x="66" y="69"/>
                    </a:cubicBezTo>
                    <a:cubicBezTo>
                      <a:pt x="67" y="70"/>
                      <a:pt x="67" y="70"/>
                      <a:pt x="67" y="70"/>
                    </a:cubicBezTo>
                    <a:cubicBezTo>
                      <a:pt x="70" y="71"/>
                      <a:pt x="72" y="72"/>
                      <a:pt x="75" y="72"/>
                    </a:cubicBezTo>
                    <a:cubicBezTo>
                      <a:pt x="80" y="73"/>
                      <a:pt x="80" y="73"/>
                      <a:pt x="80" y="73"/>
                    </a:cubicBezTo>
                    <a:cubicBezTo>
                      <a:pt x="78" y="76"/>
                      <a:pt x="78" y="76"/>
                      <a:pt x="78" y="76"/>
                    </a:cubicBezTo>
                    <a:cubicBezTo>
                      <a:pt x="79" y="78"/>
                      <a:pt x="81" y="80"/>
                      <a:pt x="83" y="81"/>
                    </a:cubicBezTo>
                    <a:cubicBezTo>
                      <a:pt x="84" y="82"/>
                      <a:pt x="84" y="82"/>
                      <a:pt x="84" y="82"/>
                    </a:cubicBezTo>
                    <a:cubicBezTo>
                      <a:pt x="86" y="83"/>
                      <a:pt x="87" y="84"/>
                      <a:pt x="88" y="85"/>
                    </a:cubicBezTo>
                    <a:cubicBezTo>
                      <a:pt x="88" y="85"/>
                      <a:pt x="88" y="85"/>
                      <a:pt x="88" y="85"/>
                    </a:cubicBezTo>
                    <a:cubicBezTo>
                      <a:pt x="89" y="85"/>
                      <a:pt x="90" y="85"/>
                      <a:pt x="92" y="84"/>
                    </a:cubicBezTo>
                    <a:cubicBezTo>
                      <a:pt x="92" y="83"/>
                      <a:pt x="92" y="83"/>
                      <a:pt x="92" y="83"/>
                    </a:cubicBezTo>
                    <a:cubicBezTo>
                      <a:pt x="93" y="83"/>
                      <a:pt x="94" y="83"/>
                      <a:pt x="95" y="83"/>
                    </a:cubicBezTo>
                    <a:cubicBezTo>
                      <a:pt x="95" y="83"/>
                      <a:pt x="95" y="83"/>
                      <a:pt x="95" y="83"/>
                    </a:cubicBezTo>
                    <a:cubicBezTo>
                      <a:pt x="95" y="82"/>
                      <a:pt x="96" y="81"/>
                      <a:pt x="98" y="81"/>
                    </a:cubicBezTo>
                    <a:cubicBezTo>
                      <a:pt x="98" y="81"/>
                      <a:pt x="98" y="81"/>
                      <a:pt x="98" y="81"/>
                    </a:cubicBezTo>
                    <a:cubicBezTo>
                      <a:pt x="99" y="81"/>
                      <a:pt x="100" y="81"/>
                      <a:pt x="101" y="81"/>
                    </a:cubicBezTo>
                    <a:cubicBezTo>
                      <a:pt x="102" y="82"/>
                      <a:pt x="103" y="82"/>
                      <a:pt x="104" y="83"/>
                    </a:cubicBezTo>
                    <a:cubicBezTo>
                      <a:pt x="105" y="84"/>
                      <a:pt x="106" y="84"/>
                      <a:pt x="107" y="84"/>
                    </a:cubicBezTo>
                    <a:cubicBezTo>
                      <a:pt x="109" y="85"/>
                      <a:pt x="109" y="85"/>
                      <a:pt x="109" y="85"/>
                    </a:cubicBezTo>
                    <a:cubicBezTo>
                      <a:pt x="110" y="84"/>
                      <a:pt x="110" y="84"/>
                      <a:pt x="110" y="84"/>
                    </a:cubicBezTo>
                    <a:cubicBezTo>
                      <a:pt x="110" y="84"/>
                      <a:pt x="110" y="84"/>
                      <a:pt x="110" y="84"/>
                    </a:cubicBezTo>
                    <a:cubicBezTo>
                      <a:pt x="110" y="83"/>
                      <a:pt x="110" y="83"/>
                      <a:pt x="110" y="83"/>
                    </a:cubicBezTo>
                    <a:cubicBezTo>
                      <a:pt x="110" y="82"/>
                      <a:pt x="110" y="82"/>
                      <a:pt x="111" y="81"/>
                    </a:cubicBezTo>
                    <a:cubicBezTo>
                      <a:pt x="111" y="80"/>
                      <a:pt x="112" y="79"/>
                      <a:pt x="112" y="79"/>
                    </a:cubicBezTo>
                    <a:cubicBezTo>
                      <a:pt x="112" y="78"/>
                      <a:pt x="112" y="78"/>
                      <a:pt x="112" y="78"/>
                    </a:cubicBezTo>
                    <a:cubicBezTo>
                      <a:pt x="113" y="78"/>
                      <a:pt x="113" y="77"/>
                      <a:pt x="113" y="77"/>
                    </a:cubicBezTo>
                    <a:cubicBezTo>
                      <a:pt x="114" y="76"/>
                      <a:pt x="115" y="75"/>
                      <a:pt x="115" y="75"/>
                    </a:cubicBezTo>
                    <a:cubicBezTo>
                      <a:pt x="116" y="75"/>
                      <a:pt x="116" y="75"/>
                      <a:pt x="116" y="75"/>
                    </a:cubicBezTo>
                    <a:cubicBezTo>
                      <a:pt x="116" y="74"/>
                      <a:pt x="116" y="74"/>
                      <a:pt x="116" y="74"/>
                    </a:cubicBezTo>
                    <a:cubicBezTo>
                      <a:pt x="116" y="74"/>
                      <a:pt x="117" y="74"/>
                      <a:pt x="117" y="74"/>
                    </a:cubicBezTo>
                    <a:cubicBezTo>
                      <a:pt x="118" y="73"/>
                      <a:pt x="119" y="73"/>
                      <a:pt x="120" y="73"/>
                    </a:cubicBezTo>
                    <a:cubicBezTo>
                      <a:pt x="120" y="72"/>
                      <a:pt x="119" y="71"/>
                      <a:pt x="118" y="71"/>
                    </a:cubicBezTo>
                    <a:cubicBezTo>
                      <a:pt x="118" y="70"/>
                      <a:pt x="117" y="70"/>
                      <a:pt x="117" y="69"/>
                    </a:cubicBezTo>
                    <a:cubicBezTo>
                      <a:pt x="111" y="64"/>
                      <a:pt x="111" y="56"/>
                      <a:pt x="111" y="54"/>
                    </a:cubicBezTo>
                    <a:cubicBezTo>
                      <a:pt x="111" y="54"/>
                      <a:pt x="111" y="53"/>
                      <a:pt x="111" y="53"/>
                    </a:cubicBezTo>
                    <a:cubicBezTo>
                      <a:pt x="111" y="52"/>
                      <a:pt x="111" y="52"/>
                      <a:pt x="111" y="52"/>
                    </a:cubicBezTo>
                    <a:cubicBezTo>
                      <a:pt x="111" y="50"/>
                      <a:pt x="112" y="45"/>
                      <a:pt x="111" y="43"/>
                    </a:cubicBezTo>
                    <a:cubicBezTo>
                      <a:pt x="110" y="38"/>
                      <a:pt x="111" y="33"/>
                      <a:pt x="114" y="31"/>
                    </a:cubicBezTo>
                    <a:cubicBezTo>
                      <a:pt x="115" y="31"/>
                      <a:pt x="120" y="26"/>
                      <a:pt x="121" y="21"/>
                    </a:cubicBezTo>
                    <a:cubicBezTo>
                      <a:pt x="122" y="19"/>
                      <a:pt x="124" y="17"/>
                      <a:pt x="126" y="15"/>
                    </a:cubicBezTo>
                    <a:cubicBezTo>
                      <a:pt x="124" y="14"/>
                      <a:pt x="124" y="14"/>
                      <a:pt x="124" y="14"/>
                    </a:cubicBezTo>
                    <a:cubicBezTo>
                      <a:pt x="128" y="11"/>
                      <a:pt x="128" y="11"/>
                      <a:pt x="128" y="11"/>
                    </a:cubicBezTo>
                    <a:cubicBezTo>
                      <a:pt x="127" y="10"/>
                      <a:pt x="127" y="10"/>
                      <a:pt x="127" y="10"/>
                    </a:cubicBezTo>
                    <a:cubicBezTo>
                      <a:pt x="126" y="10"/>
                      <a:pt x="125" y="10"/>
                      <a:pt x="124" y="10"/>
                    </a:cubicBezTo>
                    <a:cubicBezTo>
                      <a:pt x="120" y="10"/>
                      <a:pt x="115" y="9"/>
                      <a:pt x="112" y="9"/>
                    </a:cubicBezTo>
                    <a:cubicBezTo>
                      <a:pt x="109" y="9"/>
                      <a:pt x="105" y="9"/>
                      <a:pt x="101" y="9"/>
                    </a:cubicBezTo>
                    <a:cubicBezTo>
                      <a:pt x="101" y="9"/>
                      <a:pt x="101" y="9"/>
                      <a:pt x="101" y="9"/>
                    </a:cubicBezTo>
                    <a:cubicBezTo>
                      <a:pt x="99" y="9"/>
                      <a:pt x="96" y="7"/>
                      <a:pt x="93" y="6"/>
                    </a:cubicBezTo>
                    <a:cubicBezTo>
                      <a:pt x="85" y="5"/>
                      <a:pt x="78" y="5"/>
                      <a:pt x="70" y="4"/>
                    </a:cubicBezTo>
                    <a:cubicBezTo>
                      <a:pt x="65" y="4"/>
                      <a:pt x="62" y="4"/>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Rectangle 325"/>
              <p:cNvSpPr>
                <a:spLocks noChangeArrowheads="1"/>
              </p:cNvSpPr>
              <p:nvPr/>
            </p:nvSpPr>
            <p:spPr bwMode="auto">
              <a:xfrm>
                <a:off x="12024532" y="401309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326"/>
              <p:cNvSpPr/>
              <p:nvPr/>
            </p:nvSpPr>
            <p:spPr bwMode="auto">
              <a:xfrm flipH="1">
                <a:off x="12024532" y="401309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Rectangle 327"/>
              <p:cNvSpPr>
                <a:spLocks noChangeArrowheads="1"/>
              </p:cNvSpPr>
              <p:nvPr/>
            </p:nvSpPr>
            <p:spPr bwMode="auto">
              <a:xfrm>
                <a:off x="10484154" y="3397677"/>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328"/>
              <p:cNvSpPr/>
              <p:nvPr/>
            </p:nvSpPr>
            <p:spPr bwMode="auto">
              <a:xfrm flipH="1">
                <a:off x="10484154" y="339767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329"/>
              <p:cNvSpPr/>
              <p:nvPr/>
            </p:nvSpPr>
            <p:spPr bwMode="auto">
              <a:xfrm>
                <a:off x="8564209" y="3353456"/>
                <a:ext cx="3615098" cy="1680413"/>
              </a:xfrm>
              <a:custGeom>
                <a:gdLst>
                  <a:gd name="T0" fmla="*/ 617 w 1138"/>
                  <a:gd name="T1" fmla="*/ 12 h 530"/>
                  <a:gd name="T2" fmla="*/ 573 w 1138"/>
                  <a:gd name="T3" fmla="*/ 24 h 530"/>
                  <a:gd name="T4" fmla="*/ 546 w 1138"/>
                  <a:gd name="T5" fmla="*/ 28 h 530"/>
                  <a:gd name="T6" fmla="*/ 510 w 1138"/>
                  <a:gd name="T7" fmla="*/ 38 h 530"/>
                  <a:gd name="T8" fmla="*/ 461 w 1138"/>
                  <a:gd name="T9" fmla="*/ 49 h 530"/>
                  <a:gd name="T10" fmla="*/ 441 w 1138"/>
                  <a:gd name="T11" fmla="*/ 52 h 530"/>
                  <a:gd name="T12" fmla="*/ 416 w 1138"/>
                  <a:gd name="T13" fmla="*/ 60 h 530"/>
                  <a:gd name="T14" fmla="*/ 423 w 1138"/>
                  <a:gd name="T15" fmla="*/ 75 h 530"/>
                  <a:gd name="T16" fmla="*/ 439 w 1138"/>
                  <a:gd name="T17" fmla="*/ 93 h 530"/>
                  <a:gd name="T18" fmla="*/ 423 w 1138"/>
                  <a:gd name="T19" fmla="*/ 93 h 530"/>
                  <a:gd name="T20" fmla="*/ 411 w 1138"/>
                  <a:gd name="T21" fmla="*/ 116 h 530"/>
                  <a:gd name="T22" fmla="*/ 390 w 1138"/>
                  <a:gd name="T23" fmla="*/ 132 h 530"/>
                  <a:gd name="T24" fmla="*/ 429 w 1138"/>
                  <a:gd name="T25" fmla="*/ 158 h 530"/>
                  <a:gd name="T26" fmla="*/ 380 w 1138"/>
                  <a:gd name="T27" fmla="*/ 178 h 530"/>
                  <a:gd name="T28" fmla="*/ 338 w 1138"/>
                  <a:gd name="T29" fmla="*/ 168 h 530"/>
                  <a:gd name="T30" fmla="*/ 281 w 1138"/>
                  <a:gd name="T31" fmla="*/ 166 h 530"/>
                  <a:gd name="T32" fmla="*/ 232 w 1138"/>
                  <a:gd name="T33" fmla="*/ 173 h 530"/>
                  <a:gd name="T34" fmla="*/ 169 w 1138"/>
                  <a:gd name="T35" fmla="*/ 151 h 530"/>
                  <a:gd name="T36" fmla="*/ 138 w 1138"/>
                  <a:gd name="T37" fmla="*/ 150 h 530"/>
                  <a:gd name="T38" fmla="*/ 101 w 1138"/>
                  <a:gd name="T39" fmla="*/ 158 h 530"/>
                  <a:gd name="T40" fmla="*/ 63 w 1138"/>
                  <a:gd name="T41" fmla="*/ 191 h 530"/>
                  <a:gd name="T42" fmla="*/ 28 w 1138"/>
                  <a:gd name="T43" fmla="*/ 191 h 530"/>
                  <a:gd name="T44" fmla="*/ 11 w 1138"/>
                  <a:gd name="T45" fmla="*/ 226 h 530"/>
                  <a:gd name="T46" fmla="*/ 39 w 1138"/>
                  <a:gd name="T47" fmla="*/ 280 h 530"/>
                  <a:gd name="T48" fmla="*/ 66 w 1138"/>
                  <a:gd name="T49" fmla="*/ 325 h 530"/>
                  <a:gd name="T50" fmla="*/ 93 w 1138"/>
                  <a:gd name="T51" fmla="*/ 326 h 530"/>
                  <a:gd name="T52" fmla="*/ 182 w 1138"/>
                  <a:gd name="T53" fmla="*/ 319 h 530"/>
                  <a:gd name="T54" fmla="*/ 203 w 1138"/>
                  <a:gd name="T55" fmla="*/ 384 h 530"/>
                  <a:gd name="T56" fmla="*/ 136 w 1138"/>
                  <a:gd name="T57" fmla="*/ 369 h 530"/>
                  <a:gd name="T58" fmla="*/ 130 w 1138"/>
                  <a:gd name="T59" fmla="*/ 400 h 530"/>
                  <a:gd name="T60" fmla="*/ 141 w 1138"/>
                  <a:gd name="T61" fmla="*/ 446 h 530"/>
                  <a:gd name="T62" fmla="*/ 169 w 1138"/>
                  <a:gd name="T63" fmla="*/ 462 h 530"/>
                  <a:gd name="T64" fmla="*/ 245 w 1138"/>
                  <a:gd name="T65" fmla="*/ 499 h 530"/>
                  <a:gd name="T66" fmla="*/ 342 w 1138"/>
                  <a:gd name="T67" fmla="*/ 354 h 530"/>
                  <a:gd name="T68" fmla="*/ 359 w 1138"/>
                  <a:gd name="T69" fmla="*/ 359 h 530"/>
                  <a:gd name="T70" fmla="*/ 374 w 1138"/>
                  <a:gd name="T71" fmla="*/ 344 h 530"/>
                  <a:gd name="T72" fmla="*/ 374 w 1138"/>
                  <a:gd name="T73" fmla="*/ 350 h 530"/>
                  <a:gd name="T74" fmla="*/ 434 w 1138"/>
                  <a:gd name="T75" fmla="*/ 428 h 530"/>
                  <a:gd name="T76" fmla="*/ 530 w 1138"/>
                  <a:gd name="T77" fmla="*/ 431 h 530"/>
                  <a:gd name="T78" fmla="*/ 555 w 1138"/>
                  <a:gd name="T79" fmla="*/ 482 h 530"/>
                  <a:gd name="T80" fmla="*/ 602 w 1138"/>
                  <a:gd name="T81" fmla="*/ 510 h 530"/>
                  <a:gd name="T82" fmla="*/ 632 w 1138"/>
                  <a:gd name="T83" fmla="*/ 511 h 530"/>
                  <a:gd name="T84" fmla="*/ 707 w 1138"/>
                  <a:gd name="T85" fmla="*/ 457 h 530"/>
                  <a:gd name="T86" fmla="*/ 799 w 1138"/>
                  <a:gd name="T87" fmla="*/ 448 h 530"/>
                  <a:gd name="T88" fmla="*/ 853 w 1138"/>
                  <a:gd name="T89" fmla="*/ 451 h 530"/>
                  <a:gd name="T90" fmla="*/ 924 w 1138"/>
                  <a:gd name="T91" fmla="*/ 455 h 530"/>
                  <a:gd name="T92" fmla="*/ 967 w 1138"/>
                  <a:gd name="T93" fmla="*/ 444 h 530"/>
                  <a:gd name="T94" fmla="*/ 952 w 1138"/>
                  <a:gd name="T95" fmla="*/ 378 h 530"/>
                  <a:gd name="T96" fmla="*/ 1017 w 1138"/>
                  <a:gd name="T97" fmla="*/ 368 h 530"/>
                  <a:gd name="T98" fmla="*/ 1112 w 1138"/>
                  <a:gd name="T99" fmla="*/ 257 h 530"/>
                  <a:gd name="T100" fmla="*/ 1120 w 1138"/>
                  <a:gd name="T101" fmla="*/ 224 h 530"/>
                  <a:gd name="T102" fmla="*/ 1086 w 1138"/>
                  <a:gd name="T103" fmla="*/ 207 h 530"/>
                  <a:gd name="T104" fmla="*/ 1038 w 1138"/>
                  <a:gd name="T105" fmla="*/ 168 h 530"/>
                  <a:gd name="T106" fmla="*/ 989 w 1138"/>
                  <a:gd name="T107" fmla="*/ 177 h 530"/>
                  <a:gd name="T108" fmla="*/ 965 w 1138"/>
                  <a:gd name="T109" fmla="*/ 166 h 530"/>
                  <a:gd name="T110" fmla="*/ 923 w 1138"/>
                  <a:gd name="T111" fmla="*/ 137 h 530"/>
                  <a:gd name="T112" fmla="*/ 783 w 1138"/>
                  <a:gd name="T113" fmla="*/ 71 h 530"/>
                  <a:gd name="T114" fmla="*/ 733 w 1138"/>
                  <a:gd name="T115" fmla="*/ 55 h 530"/>
                  <a:gd name="T116" fmla="*/ 693 w 1138"/>
                  <a:gd name="T117" fmla="*/ 46 h 530"/>
                  <a:gd name="T118" fmla="*/ 685 w 1138"/>
                  <a:gd name="T119" fmla="*/ 2 h 5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530">
                    <a:moveTo>
                      <a:pt x="644" y="0"/>
                    </a:moveTo>
                    <a:cubicBezTo>
                      <a:pt x="644" y="0"/>
                      <a:pt x="644" y="0"/>
                      <a:pt x="644" y="0"/>
                    </a:cubicBezTo>
                    <a:cubicBezTo>
                      <a:pt x="644" y="0"/>
                      <a:pt x="643" y="0"/>
                      <a:pt x="643" y="0"/>
                    </a:cubicBezTo>
                    <a:cubicBezTo>
                      <a:pt x="642" y="0"/>
                      <a:pt x="642" y="0"/>
                      <a:pt x="642" y="0"/>
                    </a:cubicBezTo>
                    <a:cubicBezTo>
                      <a:pt x="642" y="0"/>
                      <a:pt x="642" y="0"/>
                      <a:pt x="642" y="0"/>
                    </a:cubicBezTo>
                    <a:cubicBezTo>
                      <a:pt x="641" y="0"/>
                      <a:pt x="641" y="0"/>
                      <a:pt x="641" y="0"/>
                    </a:cubicBezTo>
                    <a:cubicBezTo>
                      <a:pt x="640" y="1"/>
                      <a:pt x="640" y="1"/>
                      <a:pt x="640" y="1"/>
                    </a:cubicBezTo>
                    <a:cubicBezTo>
                      <a:pt x="639" y="1"/>
                      <a:pt x="639" y="1"/>
                      <a:pt x="638" y="1"/>
                    </a:cubicBezTo>
                    <a:cubicBezTo>
                      <a:pt x="638" y="1"/>
                      <a:pt x="638" y="1"/>
                      <a:pt x="638" y="1"/>
                    </a:cubicBezTo>
                    <a:cubicBezTo>
                      <a:pt x="637" y="1"/>
                      <a:pt x="637" y="1"/>
                      <a:pt x="637" y="1"/>
                    </a:cubicBezTo>
                    <a:cubicBezTo>
                      <a:pt x="637" y="2"/>
                      <a:pt x="636" y="2"/>
                      <a:pt x="635" y="2"/>
                    </a:cubicBezTo>
                    <a:cubicBezTo>
                      <a:pt x="634" y="2"/>
                      <a:pt x="632" y="1"/>
                      <a:pt x="631" y="1"/>
                    </a:cubicBezTo>
                    <a:cubicBezTo>
                      <a:pt x="631" y="0"/>
                      <a:pt x="631" y="0"/>
                      <a:pt x="631" y="0"/>
                    </a:cubicBezTo>
                    <a:cubicBezTo>
                      <a:pt x="631" y="0"/>
                      <a:pt x="630" y="0"/>
                      <a:pt x="630" y="0"/>
                    </a:cubicBezTo>
                    <a:cubicBezTo>
                      <a:pt x="629" y="1"/>
                      <a:pt x="629" y="2"/>
                      <a:pt x="628" y="3"/>
                    </a:cubicBezTo>
                    <a:cubicBezTo>
                      <a:pt x="627" y="6"/>
                      <a:pt x="624" y="8"/>
                      <a:pt x="620" y="9"/>
                    </a:cubicBezTo>
                    <a:cubicBezTo>
                      <a:pt x="619" y="10"/>
                      <a:pt x="618" y="11"/>
                      <a:pt x="618" y="11"/>
                    </a:cubicBezTo>
                    <a:cubicBezTo>
                      <a:pt x="617" y="12"/>
                      <a:pt x="617" y="12"/>
                      <a:pt x="617" y="12"/>
                    </a:cubicBezTo>
                    <a:cubicBezTo>
                      <a:pt x="615" y="13"/>
                      <a:pt x="614" y="13"/>
                      <a:pt x="613" y="14"/>
                    </a:cubicBezTo>
                    <a:cubicBezTo>
                      <a:pt x="612" y="15"/>
                      <a:pt x="611" y="15"/>
                      <a:pt x="609" y="16"/>
                    </a:cubicBezTo>
                    <a:cubicBezTo>
                      <a:pt x="609" y="16"/>
                      <a:pt x="609" y="16"/>
                      <a:pt x="609" y="16"/>
                    </a:cubicBezTo>
                    <a:cubicBezTo>
                      <a:pt x="608" y="16"/>
                      <a:pt x="607" y="16"/>
                      <a:pt x="606" y="15"/>
                    </a:cubicBezTo>
                    <a:cubicBezTo>
                      <a:pt x="605" y="15"/>
                      <a:pt x="605" y="15"/>
                      <a:pt x="605" y="15"/>
                    </a:cubicBezTo>
                    <a:cubicBezTo>
                      <a:pt x="604" y="15"/>
                      <a:pt x="604" y="15"/>
                      <a:pt x="604" y="15"/>
                    </a:cubicBezTo>
                    <a:cubicBezTo>
                      <a:pt x="604" y="15"/>
                      <a:pt x="604" y="15"/>
                      <a:pt x="604" y="15"/>
                    </a:cubicBezTo>
                    <a:cubicBezTo>
                      <a:pt x="604" y="15"/>
                      <a:pt x="604" y="15"/>
                      <a:pt x="604" y="15"/>
                    </a:cubicBezTo>
                    <a:cubicBezTo>
                      <a:pt x="603" y="17"/>
                      <a:pt x="603" y="17"/>
                      <a:pt x="603" y="17"/>
                    </a:cubicBezTo>
                    <a:cubicBezTo>
                      <a:pt x="586" y="20"/>
                      <a:pt x="586" y="20"/>
                      <a:pt x="586" y="20"/>
                    </a:cubicBezTo>
                    <a:cubicBezTo>
                      <a:pt x="585" y="20"/>
                      <a:pt x="584" y="20"/>
                      <a:pt x="583" y="21"/>
                    </a:cubicBezTo>
                    <a:cubicBezTo>
                      <a:pt x="590" y="25"/>
                      <a:pt x="590" y="25"/>
                      <a:pt x="590" y="25"/>
                    </a:cubicBezTo>
                    <a:cubicBezTo>
                      <a:pt x="576" y="23"/>
                      <a:pt x="576" y="23"/>
                      <a:pt x="576" y="23"/>
                    </a:cubicBezTo>
                    <a:cubicBezTo>
                      <a:pt x="575" y="23"/>
                      <a:pt x="575" y="23"/>
                      <a:pt x="575" y="23"/>
                    </a:cubicBezTo>
                    <a:cubicBezTo>
                      <a:pt x="574" y="23"/>
                      <a:pt x="574" y="23"/>
                      <a:pt x="574" y="23"/>
                    </a:cubicBezTo>
                    <a:cubicBezTo>
                      <a:pt x="574" y="23"/>
                      <a:pt x="574" y="23"/>
                      <a:pt x="574" y="23"/>
                    </a:cubicBezTo>
                    <a:cubicBezTo>
                      <a:pt x="574" y="23"/>
                      <a:pt x="574" y="23"/>
                      <a:pt x="574" y="23"/>
                    </a:cubicBezTo>
                    <a:cubicBezTo>
                      <a:pt x="573" y="24"/>
                      <a:pt x="573" y="24"/>
                      <a:pt x="573" y="24"/>
                    </a:cubicBezTo>
                    <a:cubicBezTo>
                      <a:pt x="572" y="25"/>
                      <a:pt x="571" y="25"/>
                      <a:pt x="571" y="25"/>
                    </a:cubicBezTo>
                    <a:cubicBezTo>
                      <a:pt x="570" y="25"/>
                      <a:pt x="570" y="25"/>
                      <a:pt x="570" y="25"/>
                    </a:cubicBezTo>
                    <a:cubicBezTo>
                      <a:pt x="570" y="25"/>
                      <a:pt x="570" y="25"/>
                      <a:pt x="570" y="25"/>
                    </a:cubicBezTo>
                    <a:cubicBezTo>
                      <a:pt x="569" y="25"/>
                      <a:pt x="569" y="25"/>
                      <a:pt x="569" y="25"/>
                    </a:cubicBezTo>
                    <a:cubicBezTo>
                      <a:pt x="569" y="25"/>
                      <a:pt x="569" y="25"/>
                      <a:pt x="569" y="25"/>
                    </a:cubicBezTo>
                    <a:cubicBezTo>
                      <a:pt x="569" y="25"/>
                      <a:pt x="569" y="25"/>
                      <a:pt x="569" y="25"/>
                    </a:cubicBezTo>
                    <a:cubicBezTo>
                      <a:pt x="569" y="25"/>
                      <a:pt x="569" y="25"/>
                      <a:pt x="569" y="25"/>
                    </a:cubicBezTo>
                    <a:cubicBezTo>
                      <a:pt x="568" y="25"/>
                      <a:pt x="568" y="25"/>
                      <a:pt x="568" y="25"/>
                    </a:cubicBezTo>
                    <a:cubicBezTo>
                      <a:pt x="567" y="25"/>
                      <a:pt x="566" y="25"/>
                      <a:pt x="565" y="25"/>
                    </a:cubicBezTo>
                    <a:cubicBezTo>
                      <a:pt x="564" y="25"/>
                      <a:pt x="564" y="25"/>
                      <a:pt x="564" y="25"/>
                    </a:cubicBezTo>
                    <a:cubicBezTo>
                      <a:pt x="562" y="26"/>
                      <a:pt x="562" y="26"/>
                      <a:pt x="562" y="26"/>
                    </a:cubicBezTo>
                    <a:cubicBezTo>
                      <a:pt x="561" y="26"/>
                      <a:pt x="559" y="26"/>
                      <a:pt x="558" y="27"/>
                    </a:cubicBezTo>
                    <a:cubicBezTo>
                      <a:pt x="553" y="28"/>
                      <a:pt x="553" y="28"/>
                      <a:pt x="553" y="28"/>
                    </a:cubicBezTo>
                    <a:cubicBezTo>
                      <a:pt x="553" y="28"/>
                      <a:pt x="553" y="28"/>
                      <a:pt x="552" y="28"/>
                    </a:cubicBezTo>
                    <a:cubicBezTo>
                      <a:pt x="552" y="28"/>
                      <a:pt x="552" y="28"/>
                      <a:pt x="551" y="28"/>
                    </a:cubicBezTo>
                    <a:cubicBezTo>
                      <a:pt x="546" y="28"/>
                      <a:pt x="546" y="28"/>
                      <a:pt x="546" y="28"/>
                    </a:cubicBezTo>
                    <a:cubicBezTo>
                      <a:pt x="546" y="28"/>
                      <a:pt x="546" y="28"/>
                      <a:pt x="546" y="28"/>
                    </a:cubicBezTo>
                    <a:cubicBezTo>
                      <a:pt x="546" y="28"/>
                      <a:pt x="546" y="28"/>
                      <a:pt x="546" y="28"/>
                    </a:cubicBezTo>
                    <a:cubicBezTo>
                      <a:pt x="538" y="28"/>
                      <a:pt x="538" y="28"/>
                      <a:pt x="538" y="28"/>
                    </a:cubicBezTo>
                    <a:cubicBezTo>
                      <a:pt x="536" y="28"/>
                      <a:pt x="536" y="28"/>
                      <a:pt x="536" y="28"/>
                    </a:cubicBezTo>
                    <a:cubicBezTo>
                      <a:pt x="536" y="28"/>
                      <a:pt x="536" y="29"/>
                      <a:pt x="535" y="29"/>
                    </a:cubicBezTo>
                    <a:cubicBezTo>
                      <a:pt x="531" y="32"/>
                      <a:pt x="531" y="32"/>
                      <a:pt x="531" y="32"/>
                    </a:cubicBezTo>
                    <a:cubicBezTo>
                      <a:pt x="536" y="36"/>
                      <a:pt x="536" y="36"/>
                      <a:pt x="536" y="36"/>
                    </a:cubicBezTo>
                    <a:cubicBezTo>
                      <a:pt x="529" y="33"/>
                      <a:pt x="529" y="33"/>
                      <a:pt x="529" y="33"/>
                    </a:cubicBezTo>
                    <a:cubicBezTo>
                      <a:pt x="529" y="33"/>
                      <a:pt x="529" y="33"/>
                      <a:pt x="529" y="33"/>
                    </a:cubicBezTo>
                    <a:cubicBezTo>
                      <a:pt x="528" y="34"/>
                      <a:pt x="528" y="35"/>
                      <a:pt x="527" y="36"/>
                    </a:cubicBezTo>
                    <a:cubicBezTo>
                      <a:pt x="524" y="40"/>
                      <a:pt x="524" y="40"/>
                      <a:pt x="524" y="40"/>
                    </a:cubicBezTo>
                    <a:cubicBezTo>
                      <a:pt x="521" y="39"/>
                      <a:pt x="521" y="39"/>
                      <a:pt x="521" y="39"/>
                    </a:cubicBezTo>
                    <a:cubicBezTo>
                      <a:pt x="520" y="37"/>
                      <a:pt x="520" y="37"/>
                      <a:pt x="520" y="37"/>
                    </a:cubicBezTo>
                    <a:cubicBezTo>
                      <a:pt x="519" y="38"/>
                      <a:pt x="519" y="38"/>
                      <a:pt x="519" y="38"/>
                    </a:cubicBezTo>
                    <a:cubicBezTo>
                      <a:pt x="518" y="39"/>
                      <a:pt x="518" y="39"/>
                      <a:pt x="518" y="39"/>
                    </a:cubicBezTo>
                    <a:cubicBezTo>
                      <a:pt x="516" y="39"/>
                      <a:pt x="516" y="39"/>
                      <a:pt x="516" y="39"/>
                    </a:cubicBezTo>
                    <a:cubicBezTo>
                      <a:pt x="515" y="39"/>
                      <a:pt x="514" y="39"/>
                      <a:pt x="513" y="39"/>
                    </a:cubicBezTo>
                    <a:cubicBezTo>
                      <a:pt x="511" y="39"/>
                      <a:pt x="511" y="39"/>
                      <a:pt x="511" y="39"/>
                    </a:cubicBezTo>
                    <a:cubicBezTo>
                      <a:pt x="511" y="39"/>
                      <a:pt x="511" y="39"/>
                      <a:pt x="511" y="39"/>
                    </a:cubicBezTo>
                    <a:cubicBezTo>
                      <a:pt x="511" y="39"/>
                      <a:pt x="510" y="39"/>
                      <a:pt x="510" y="38"/>
                    </a:cubicBezTo>
                    <a:cubicBezTo>
                      <a:pt x="509" y="38"/>
                      <a:pt x="509" y="38"/>
                      <a:pt x="509" y="38"/>
                    </a:cubicBezTo>
                    <a:cubicBezTo>
                      <a:pt x="509" y="38"/>
                      <a:pt x="509" y="39"/>
                      <a:pt x="508" y="39"/>
                    </a:cubicBezTo>
                    <a:cubicBezTo>
                      <a:pt x="506" y="39"/>
                      <a:pt x="506" y="39"/>
                      <a:pt x="506" y="39"/>
                    </a:cubicBezTo>
                    <a:cubicBezTo>
                      <a:pt x="504" y="40"/>
                      <a:pt x="504" y="40"/>
                      <a:pt x="504" y="40"/>
                    </a:cubicBezTo>
                    <a:cubicBezTo>
                      <a:pt x="504" y="40"/>
                      <a:pt x="503" y="40"/>
                      <a:pt x="503" y="40"/>
                    </a:cubicBezTo>
                    <a:cubicBezTo>
                      <a:pt x="502" y="40"/>
                      <a:pt x="502" y="40"/>
                      <a:pt x="502" y="40"/>
                    </a:cubicBezTo>
                    <a:cubicBezTo>
                      <a:pt x="502" y="40"/>
                      <a:pt x="502" y="40"/>
                      <a:pt x="502" y="40"/>
                    </a:cubicBezTo>
                    <a:cubicBezTo>
                      <a:pt x="486" y="43"/>
                      <a:pt x="486" y="43"/>
                      <a:pt x="486" y="43"/>
                    </a:cubicBezTo>
                    <a:cubicBezTo>
                      <a:pt x="486" y="43"/>
                      <a:pt x="486" y="43"/>
                      <a:pt x="486" y="43"/>
                    </a:cubicBezTo>
                    <a:cubicBezTo>
                      <a:pt x="486" y="43"/>
                      <a:pt x="486" y="43"/>
                      <a:pt x="486" y="43"/>
                    </a:cubicBezTo>
                    <a:cubicBezTo>
                      <a:pt x="485" y="44"/>
                      <a:pt x="485" y="44"/>
                      <a:pt x="485" y="44"/>
                    </a:cubicBezTo>
                    <a:cubicBezTo>
                      <a:pt x="474" y="46"/>
                      <a:pt x="474" y="46"/>
                      <a:pt x="474" y="46"/>
                    </a:cubicBezTo>
                    <a:cubicBezTo>
                      <a:pt x="472" y="46"/>
                      <a:pt x="472" y="46"/>
                      <a:pt x="472" y="46"/>
                    </a:cubicBezTo>
                    <a:cubicBezTo>
                      <a:pt x="471" y="46"/>
                      <a:pt x="471" y="46"/>
                      <a:pt x="471" y="46"/>
                    </a:cubicBezTo>
                    <a:cubicBezTo>
                      <a:pt x="470" y="46"/>
                      <a:pt x="470" y="46"/>
                      <a:pt x="470" y="46"/>
                    </a:cubicBezTo>
                    <a:cubicBezTo>
                      <a:pt x="470" y="47"/>
                      <a:pt x="470" y="47"/>
                      <a:pt x="470" y="47"/>
                    </a:cubicBezTo>
                    <a:cubicBezTo>
                      <a:pt x="468" y="47"/>
                      <a:pt x="468" y="47"/>
                      <a:pt x="468" y="47"/>
                    </a:cubicBezTo>
                    <a:cubicBezTo>
                      <a:pt x="461" y="49"/>
                      <a:pt x="461" y="49"/>
                      <a:pt x="461" y="49"/>
                    </a:cubicBezTo>
                    <a:cubicBezTo>
                      <a:pt x="461" y="49"/>
                      <a:pt x="461" y="49"/>
                      <a:pt x="461" y="49"/>
                    </a:cubicBezTo>
                    <a:cubicBezTo>
                      <a:pt x="460" y="49"/>
                      <a:pt x="460" y="49"/>
                      <a:pt x="460" y="49"/>
                    </a:cubicBezTo>
                    <a:cubicBezTo>
                      <a:pt x="459" y="49"/>
                      <a:pt x="458" y="50"/>
                      <a:pt x="457" y="50"/>
                    </a:cubicBezTo>
                    <a:cubicBezTo>
                      <a:pt x="457" y="50"/>
                      <a:pt x="457" y="50"/>
                      <a:pt x="457" y="50"/>
                    </a:cubicBezTo>
                    <a:cubicBezTo>
                      <a:pt x="457" y="50"/>
                      <a:pt x="457" y="50"/>
                      <a:pt x="457" y="50"/>
                    </a:cubicBezTo>
                    <a:cubicBezTo>
                      <a:pt x="455" y="51"/>
                      <a:pt x="455" y="51"/>
                      <a:pt x="455" y="51"/>
                    </a:cubicBezTo>
                    <a:cubicBezTo>
                      <a:pt x="453" y="54"/>
                      <a:pt x="453" y="54"/>
                      <a:pt x="453" y="54"/>
                    </a:cubicBezTo>
                    <a:cubicBezTo>
                      <a:pt x="452" y="55"/>
                      <a:pt x="452" y="55"/>
                      <a:pt x="452" y="55"/>
                    </a:cubicBezTo>
                    <a:cubicBezTo>
                      <a:pt x="449" y="57"/>
                      <a:pt x="449" y="57"/>
                      <a:pt x="449" y="57"/>
                    </a:cubicBezTo>
                    <a:cubicBezTo>
                      <a:pt x="449" y="56"/>
                      <a:pt x="449" y="56"/>
                      <a:pt x="449" y="56"/>
                    </a:cubicBezTo>
                    <a:cubicBezTo>
                      <a:pt x="442" y="62"/>
                      <a:pt x="442" y="62"/>
                      <a:pt x="442" y="62"/>
                    </a:cubicBezTo>
                    <a:cubicBezTo>
                      <a:pt x="446" y="54"/>
                      <a:pt x="446" y="54"/>
                      <a:pt x="446" y="54"/>
                    </a:cubicBezTo>
                    <a:cubicBezTo>
                      <a:pt x="446" y="54"/>
                      <a:pt x="446" y="54"/>
                      <a:pt x="446" y="54"/>
                    </a:cubicBezTo>
                    <a:cubicBezTo>
                      <a:pt x="445" y="53"/>
                      <a:pt x="445" y="53"/>
                      <a:pt x="445" y="53"/>
                    </a:cubicBezTo>
                    <a:cubicBezTo>
                      <a:pt x="444" y="52"/>
                      <a:pt x="444" y="52"/>
                      <a:pt x="444" y="52"/>
                    </a:cubicBezTo>
                    <a:cubicBezTo>
                      <a:pt x="444" y="52"/>
                      <a:pt x="444" y="52"/>
                      <a:pt x="444" y="52"/>
                    </a:cubicBezTo>
                    <a:cubicBezTo>
                      <a:pt x="443" y="52"/>
                      <a:pt x="443" y="52"/>
                      <a:pt x="443" y="52"/>
                    </a:cubicBezTo>
                    <a:cubicBezTo>
                      <a:pt x="442" y="52"/>
                      <a:pt x="441" y="52"/>
                      <a:pt x="441" y="52"/>
                    </a:cubicBezTo>
                    <a:cubicBezTo>
                      <a:pt x="439" y="60"/>
                      <a:pt x="439" y="60"/>
                      <a:pt x="439" y="60"/>
                    </a:cubicBezTo>
                    <a:cubicBezTo>
                      <a:pt x="439" y="52"/>
                      <a:pt x="439" y="52"/>
                      <a:pt x="439" y="52"/>
                    </a:cubicBezTo>
                    <a:cubicBezTo>
                      <a:pt x="438" y="52"/>
                      <a:pt x="438" y="52"/>
                      <a:pt x="438" y="52"/>
                    </a:cubicBezTo>
                    <a:cubicBezTo>
                      <a:pt x="437" y="53"/>
                      <a:pt x="437" y="53"/>
                      <a:pt x="437" y="53"/>
                    </a:cubicBezTo>
                    <a:cubicBezTo>
                      <a:pt x="431" y="53"/>
                      <a:pt x="431" y="53"/>
                      <a:pt x="431" y="53"/>
                    </a:cubicBezTo>
                    <a:cubicBezTo>
                      <a:pt x="431" y="53"/>
                      <a:pt x="430" y="53"/>
                      <a:pt x="430" y="53"/>
                    </a:cubicBezTo>
                    <a:cubicBezTo>
                      <a:pt x="426" y="53"/>
                      <a:pt x="424" y="52"/>
                      <a:pt x="420" y="51"/>
                    </a:cubicBezTo>
                    <a:cubicBezTo>
                      <a:pt x="419" y="51"/>
                      <a:pt x="419" y="51"/>
                      <a:pt x="419" y="51"/>
                    </a:cubicBezTo>
                    <a:cubicBezTo>
                      <a:pt x="419" y="51"/>
                      <a:pt x="419" y="51"/>
                      <a:pt x="419" y="51"/>
                    </a:cubicBezTo>
                    <a:cubicBezTo>
                      <a:pt x="419" y="51"/>
                      <a:pt x="418" y="51"/>
                      <a:pt x="418" y="51"/>
                    </a:cubicBezTo>
                    <a:cubicBezTo>
                      <a:pt x="417" y="51"/>
                      <a:pt x="415" y="53"/>
                      <a:pt x="415" y="53"/>
                    </a:cubicBezTo>
                    <a:cubicBezTo>
                      <a:pt x="414" y="53"/>
                      <a:pt x="414" y="53"/>
                      <a:pt x="414" y="53"/>
                    </a:cubicBezTo>
                    <a:cubicBezTo>
                      <a:pt x="417" y="55"/>
                      <a:pt x="417" y="55"/>
                      <a:pt x="417" y="55"/>
                    </a:cubicBezTo>
                    <a:cubicBezTo>
                      <a:pt x="417" y="56"/>
                      <a:pt x="417" y="56"/>
                      <a:pt x="417" y="57"/>
                    </a:cubicBezTo>
                    <a:cubicBezTo>
                      <a:pt x="417" y="58"/>
                      <a:pt x="417" y="58"/>
                      <a:pt x="417" y="58"/>
                    </a:cubicBezTo>
                    <a:cubicBezTo>
                      <a:pt x="417" y="59"/>
                      <a:pt x="417" y="59"/>
                      <a:pt x="417" y="59"/>
                    </a:cubicBezTo>
                    <a:cubicBezTo>
                      <a:pt x="417" y="60"/>
                      <a:pt x="417" y="60"/>
                      <a:pt x="417" y="60"/>
                    </a:cubicBezTo>
                    <a:cubicBezTo>
                      <a:pt x="416" y="60"/>
                      <a:pt x="416" y="60"/>
                      <a:pt x="416" y="60"/>
                    </a:cubicBezTo>
                    <a:cubicBezTo>
                      <a:pt x="414" y="63"/>
                      <a:pt x="414" y="63"/>
                      <a:pt x="414" y="63"/>
                    </a:cubicBezTo>
                    <a:cubicBezTo>
                      <a:pt x="416" y="63"/>
                      <a:pt x="416" y="63"/>
                      <a:pt x="416" y="63"/>
                    </a:cubicBezTo>
                    <a:cubicBezTo>
                      <a:pt x="417" y="63"/>
                      <a:pt x="418" y="62"/>
                      <a:pt x="419" y="62"/>
                    </a:cubicBezTo>
                    <a:cubicBezTo>
                      <a:pt x="419" y="62"/>
                      <a:pt x="419" y="62"/>
                      <a:pt x="419" y="62"/>
                    </a:cubicBezTo>
                    <a:cubicBezTo>
                      <a:pt x="420" y="62"/>
                      <a:pt x="420" y="62"/>
                      <a:pt x="421" y="62"/>
                    </a:cubicBezTo>
                    <a:cubicBezTo>
                      <a:pt x="421" y="62"/>
                      <a:pt x="421" y="62"/>
                      <a:pt x="421" y="62"/>
                    </a:cubicBezTo>
                    <a:cubicBezTo>
                      <a:pt x="422" y="62"/>
                      <a:pt x="423" y="62"/>
                      <a:pt x="423" y="63"/>
                    </a:cubicBezTo>
                    <a:cubicBezTo>
                      <a:pt x="424" y="63"/>
                      <a:pt x="424" y="63"/>
                      <a:pt x="424" y="63"/>
                    </a:cubicBezTo>
                    <a:cubicBezTo>
                      <a:pt x="424" y="63"/>
                      <a:pt x="424" y="63"/>
                      <a:pt x="424" y="63"/>
                    </a:cubicBezTo>
                    <a:cubicBezTo>
                      <a:pt x="427" y="64"/>
                      <a:pt x="427" y="64"/>
                      <a:pt x="427" y="64"/>
                    </a:cubicBezTo>
                    <a:cubicBezTo>
                      <a:pt x="427" y="65"/>
                      <a:pt x="427" y="65"/>
                      <a:pt x="427" y="65"/>
                    </a:cubicBezTo>
                    <a:cubicBezTo>
                      <a:pt x="433" y="64"/>
                      <a:pt x="433" y="64"/>
                      <a:pt x="433" y="64"/>
                    </a:cubicBezTo>
                    <a:cubicBezTo>
                      <a:pt x="427" y="70"/>
                      <a:pt x="427" y="70"/>
                      <a:pt x="427" y="70"/>
                    </a:cubicBezTo>
                    <a:cubicBezTo>
                      <a:pt x="427" y="70"/>
                      <a:pt x="427" y="70"/>
                      <a:pt x="427" y="70"/>
                    </a:cubicBezTo>
                    <a:cubicBezTo>
                      <a:pt x="426" y="71"/>
                      <a:pt x="426" y="71"/>
                      <a:pt x="426" y="71"/>
                    </a:cubicBezTo>
                    <a:cubicBezTo>
                      <a:pt x="425" y="72"/>
                      <a:pt x="425" y="72"/>
                      <a:pt x="424" y="73"/>
                    </a:cubicBezTo>
                    <a:cubicBezTo>
                      <a:pt x="424" y="73"/>
                      <a:pt x="424" y="73"/>
                      <a:pt x="424" y="73"/>
                    </a:cubicBezTo>
                    <a:cubicBezTo>
                      <a:pt x="423" y="75"/>
                      <a:pt x="423" y="75"/>
                      <a:pt x="423" y="75"/>
                    </a:cubicBezTo>
                    <a:cubicBezTo>
                      <a:pt x="421" y="75"/>
                      <a:pt x="421" y="75"/>
                      <a:pt x="421" y="75"/>
                    </a:cubicBezTo>
                    <a:cubicBezTo>
                      <a:pt x="420" y="75"/>
                      <a:pt x="420" y="75"/>
                      <a:pt x="420" y="75"/>
                    </a:cubicBezTo>
                    <a:cubicBezTo>
                      <a:pt x="420" y="75"/>
                      <a:pt x="420" y="75"/>
                      <a:pt x="420" y="75"/>
                    </a:cubicBezTo>
                    <a:cubicBezTo>
                      <a:pt x="420" y="75"/>
                      <a:pt x="421" y="75"/>
                      <a:pt x="421" y="75"/>
                    </a:cubicBezTo>
                    <a:cubicBezTo>
                      <a:pt x="424" y="77"/>
                      <a:pt x="424" y="77"/>
                      <a:pt x="424" y="77"/>
                    </a:cubicBezTo>
                    <a:cubicBezTo>
                      <a:pt x="424" y="76"/>
                      <a:pt x="424" y="76"/>
                      <a:pt x="424" y="76"/>
                    </a:cubicBezTo>
                    <a:cubicBezTo>
                      <a:pt x="425" y="77"/>
                      <a:pt x="425" y="77"/>
                      <a:pt x="425" y="77"/>
                    </a:cubicBezTo>
                    <a:cubicBezTo>
                      <a:pt x="427" y="77"/>
                      <a:pt x="428" y="78"/>
                      <a:pt x="430" y="78"/>
                    </a:cubicBezTo>
                    <a:cubicBezTo>
                      <a:pt x="436" y="80"/>
                      <a:pt x="436" y="80"/>
                      <a:pt x="436" y="80"/>
                    </a:cubicBezTo>
                    <a:cubicBezTo>
                      <a:pt x="438" y="81"/>
                      <a:pt x="440" y="82"/>
                      <a:pt x="442" y="82"/>
                    </a:cubicBezTo>
                    <a:cubicBezTo>
                      <a:pt x="444" y="84"/>
                      <a:pt x="444" y="84"/>
                      <a:pt x="444" y="84"/>
                    </a:cubicBezTo>
                    <a:cubicBezTo>
                      <a:pt x="443" y="87"/>
                      <a:pt x="443" y="87"/>
                      <a:pt x="443" y="87"/>
                    </a:cubicBezTo>
                    <a:cubicBezTo>
                      <a:pt x="443" y="87"/>
                      <a:pt x="443" y="88"/>
                      <a:pt x="442" y="89"/>
                    </a:cubicBezTo>
                    <a:cubicBezTo>
                      <a:pt x="442" y="89"/>
                      <a:pt x="442" y="90"/>
                      <a:pt x="442" y="90"/>
                    </a:cubicBezTo>
                    <a:cubicBezTo>
                      <a:pt x="441" y="90"/>
                      <a:pt x="441" y="90"/>
                      <a:pt x="441" y="90"/>
                    </a:cubicBezTo>
                    <a:cubicBezTo>
                      <a:pt x="441" y="91"/>
                      <a:pt x="440" y="92"/>
                      <a:pt x="440" y="92"/>
                    </a:cubicBezTo>
                    <a:cubicBezTo>
                      <a:pt x="439" y="93"/>
                      <a:pt x="439" y="93"/>
                      <a:pt x="439" y="93"/>
                    </a:cubicBezTo>
                    <a:cubicBezTo>
                      <a:pt x="439" y="93"/>
                      <a:pt x="439" y="93"/>
                      <a:pt x="439" y="93"/>
                    </a:cubicBezTo>
                    <a:cubicBezTo>
                      <a:pt x="438" y="94"/>
                      <a:pt x="438" y="94"/>
                      <a:pt x="438" y="94"/>
                    </a:cubicBezTo>
                    <a:cubicBezTo>
                      <a:pt x="438" y="94"/>
                      <a:pt x="438" y="94"/>
                      <a:pt x="438" y="94"/>
                    </a:cubicBezTo>
                    <a:cubicBezTo>
                      <a:pt x="437" y="94"/>
                      <a:pt x="437" y="94"/>
                      <a:pt x="437" y="94"/>
                    </a:cubicBezTo>
                    <a:cubicBezTo>
                      <a:pt x="437" y="94"/>
                      <a:pt x="436" y="94"/>
                      <a:pt x="436" y="94"/>
                    </a:cubicBezTo>
                    <a:cubicBezTo>
                      <a:pt x="435" y="94"/>
                      <a:pt x="434" y="94"/>
                      <a:pt x="434" y="93"/>
                    </a:cubicBezTo>
                    <a:cubicBezTo>
                      <a:pt x="434" y="92"/>
                      <a:pt x="434" y="92"/>
                      <a:pt x="434" y="92"/>
                    </a:cubicBezTo>
                    <a:cubicBezTo>
                      <a:pt x="434" y="92"/>
                      <a:pt x="434" y="92"/>
                      <a:pt x="434" y="92"/>
                    </a:cubicBezTo>
                    <a:cubicBezTo>
                      <a:pt x="433" y="93"/>
                      <a:pt x="433" y="93"/>
                      <a:pt x="433" y="93"/>
                    </a:cubicBezTo>
                    <a:cubicBezTo>
                      <a:pt x="433" y="93"/>
                      <a:pt x="433" y="93"/>
                      <a:pt x="433" y="93"/>
                    </a:cubicBezTo>
                    <a:cubicBezTo>
                      <a:pt x="434" y="100"/>
                      <a:pt x="434" y="100"/>
                      <a:pt x="434" y="100"/>
                    </a:cubicBezTo>
                    <a:cubicBezTo>
                      <a:pt x="431" y="93"/>
                      <a:pt x="431" y="93"/>
                      <a:pt x="431" y="93"/>
                    </a:cubicBezTo>
                    <a:cubicBezTo>
                      <a:pt x="430" y="93"/>
                      <a:pt x="430" y="93"/>
                      <a:pt x="429" y="93"/>
                    </a:cubicBezTo>
                    <a:cubicBezTo>
                      <a:pt x="429" y="93"/>
                      <a:pt x="428" y="93"/>
                      <a:pt x="428" y="93"/>
                    </a:cubicBezTo>
                    <a:cubicBezTo>
                      <a:pt x="428" y="93"/>
                      <a:pt x="428" y="93"/>
                      <a:pt x="428" y="93"/>
                    </a:cubicBezTo>
                    <a:cubicBezTo>
                      <a:pt x="428" y="93"/>
                      <a:pt x="428" y="93"/>
                      <a:pt x="428" y="93"/>
                    </a:cubicBezTo>
                    <a:cubicBezTo>
                      <a:pt x="427" y="93"/>
                      <a:pt x="426" y="93"/>
                      <a:pt x="425" y="93"/>
                    </a:cubicBezTo>
                    <a:cubicBezTo>
                      <a:pt x="425" y="93"/>
                      <a:pt x="425" y="93"/>
                      <a:pt x="424" y="93"/>
                    </a:cubicBezTo>
                    <a:cubicBezTo>
                      <a:pt x="423" y="93"/>
                      <a:pt x="423" y="93"/>
                      <a:pt x="423" y="93"/>
                    </a:cubicBezTo>
                    <a:cubicBezTo>
                      <a:pt x="423" y="93"/>
                      <a:pt x="422" y="92"/>
                      <a:pt x="422" y="92"/>
                    </a:cubicBezTo>
                    <a:cubicBezTo>
                      <a:pt x="422" y="92"/>
                      <a:pt x="422" y="92"/>
                      <a:pt x="422" y="92"/>
                    </a:cubicBezTo>
                    <a:cubicBezTo>
                      <a:pt x="420" y="98"/>
                      <a:pt x="420" y="98"/>
                      <a:pt x="420" y="98"/>
                    </a:cubicBezTo>
                    <a:cubicBezTo>
                      <a:pt x="420" y="92"/>
                      <a:pt x="420" y="92"/>
                      <a:pt x="420" y="92"/>
                    </a:cubicBezTo>
                    <a:cubicBezTo>
                      <a:pt x="419" y="92"/>
                      <a:pt x="419" y="92"/>
                      <a:pt x="419" y="92"/>
                    </a:cubicBezTo>
                    <a:cubicBezTo>
                      <a:pt x="418" y="92"/>
                      <a:pt x="417" y="92"/>
                      <a:pt x="416" y="92"/>
                    </a:cubicBezTo>
                    <a:cubicBezTo>
                      <a:pt x="414" y="91"/>
                      <a:pt x="414" y="91"/>
                      <a:pt x="414" y="91"/>
                    </a:cubicBezTo>
                    <a:cubicBezTo>
                      <a:pt x="413" y="91"/>
                      <a:pt x="413" y="91"/>
                      <a:pt x="413" y="91"/>
                    </a:cubicBezTo>
                    <a:cubicBezTo>
                      <a:pt x="412" y="92"/>
                      <a:pt x="412" y="92"/>
                      <a:pt x="412" y="92"/>
                    </a:cubicBezTo>
                    <a:cubicBezTo>
                      <a:pt x="409" y="95"/>
                      <a:pt x="409" y="95"/>
                      <a:pt x="409" y="95"/>
                    </a:cubicBezTo>
                    <a:cubicBezTo>
                      <a:pt x="407" y="97"/>
                      <a:pt x="406" y="98"/>
                      <a:pt x="404" y="100"/>
                    </a:cubicBezTo>
                    <a:cubicBezTo>
                      <a:pt x="404" y="100"/>
                      <a:pt x="404" y="100"/>
                      <a:pt x="404" y="100"/>
                    </a:cubicBezTo>
                    <a:cubicBezTo>
                      <a:pt x="409" y="108"/>
                      <a:pt x="409" y="108"/>
                      <a:pt x="409" y="108"/>
                    </a:cubicBezTo>
                    <a:cubicBezTo>
                      <a:pt x="410" y="109"/>
                      <a:pt x="411" y="110"/>
                      <a:pt x="411" y="110"/>
                    </a:cubicBezTo>
                    <a:cubicBezTo>
                      <a:pt x="412" y="112"/>
                      <a:pt x="412" y="112"/>
                      <a:pt x="412" y="112"/>
                    </a:cubicBezTo>
                    <a:cubicBezTo>
                      <a:pt x="413" y="114"/>
                      <a:pt x="412" y="115"/>
                      <a:pt x="411" y="116"/>
                    </a:cubicBezTo>
                    <a:cubicBezTo>
                      <a:pt x="411" y="116"/>
                      <a:pt x="411" y="116"/>
                      <a:pt x="411" y="116"/>
                    </a:cubicBezTo>
                    <a:cubicBezTo>
                      <a:pt x="411" y="116"/>
                      <a:pt x="411" y="116"/>
                      <a:pt x="411" y="116"/>
                    </a:cubicBezTo>
                    <a:cubicBezTo>
                      <a:pt x="409" y="118"/>
                      <a:pt x="409" y="118"/>
                      <a:pt x="409" y="118"/>
                    </a:cubicBezTo>
                    <a:cubicBezTo>
                      <a:pt x="408" y="119"/>
                      <a:pt x="407" y="119"/>
                      <a:pt x="406" y="120"/>
                    </a:cubicBezTo>
                    <a:cubicBezTo>
                      <a:pt x="406" y="120"/>
                      <a:pt x="406" y="120"/>
                      <a:pt x="406" y="120"/>
                    </a:cubicBezTo>
                    <a:cubicBezTo>
                      <a:pt x="404" y="121"/>
                      <a:pt x="404" y="121"/>
                      <a:pt x="404" y="121"/>
                    </a:cubicBezTo>
                    <a:cubicBezTo>
                      <a:pt x="404" y="121"/>
                      <a:pt x="404" y="121"/>
                      <a:pt x="404" y="121"/>
                    </a:cubicBezTo>
                    <a:cubicBezTo>
                      <a:pt x="403" y="122"/>
                      <a:pt x="403" y="122"/>
                      <a:pt x="403" y="122"/>
                    </a:cubicBezTo>
                    <a:cubicBezTo>
                      <a:pt x="401" y="124"/>
                      <a:pt x="400" y="124"/>
                      <a:pt x="396" y="124"/>
                    </a:cubicBezTo>
                    <a:cubicBezTo>
                      <a:pt x="395" y="124"/>
                      <a:pt x="395" y="124"/>
                      <a:pt x="395" y="124"/>
                    </a:cubicBezTo>
                    <a:cubicBezTo>
                      <a:pt x="395" y="124"/>
                      <a:pt x="395" y="124"/>
                      <a:pt x="395" y="124"/>
                    </a:cubicBezTo>
                    <a:cubicBezTo>
                      <a:pt x="394" y="124"/>
                      <a:pt x="394" y="124"/>
                      <a:pt x="394" y="124"/>
                    </a:cubicBezTo>
                    <a:cubicBezTo>
                      <a:pt x="393" y="125"/>
                      <a:pt x="393" y="125"/>
                      <a:pt x="393" y="125"/>
                    </a:cubicBezTo>
                    <a:cubicBezTo>
                      <a:pt x="392" y="126"/>
                      <a:pt x="392" y="126"/>
                      <a:pt x="391" y="127"/>
                    </a:cubicBezTo>
                    <a:cubicBezTo>
                      <a:pt x="400" y="131"/>
                      <a:pt x="400" y="131"/>
                      <a:pt x="400" y="131"/>
                    </a:cubicBezTo>
                    <a:cubicBezTo>
                      <a:pt x="394" y="131"/>
                      <a:pt x="394" y="131"/>
                      <a:pt x="394" y="131"/>
                    </a:cubicBezTo>
                    <a:cubicBezTo>
                      <a:pt x="394" y="131"/>
                      <a:pt x="394" y="131"/>
                      <a:pt x="394" y="131"/>
                    </a:cubicBezTo>
                    <a:cubicBezTo>
                      <a:pt x="393" y="131"/>
                      <a:pt x="393" y="131"/>
                      <a:pt x="393" y="131"/>
                    </a:cubicBezTo>
                    <a:cubicBezTo>
                      <a:pt x="387" y="130"/>
                      <a:pt x="387" y="130"/>
                      <a:pt x="387" y="130"/>
                    </a:cubicBezTo>
                    <a:cubicBezTo>
                      <a:pt x="388" y="131"/>
                      <a:pt x="389" y="132"/>
                      <a:pt x="390" y="132"/>
                    </a:cubicBezTo>
                    <a:cubicBezTo>
                      <a:pt x="391" y="133"/>
                      <a:pt x="391" y="133"/>
                      <a:pt x="391" y="133"/>
                    </a:cubicBezTo>
                    <a:cubicBezTo>
                      <a:pt x="392" y="133"/>
                      <a:pt x="393" y="133"/>
                      <a:pt x="393" y="134"/>
                    </a:cubicBezTo>
                    <a:cubicBezTo>
                      <a:pt x="396" y="135"/>
                      <a:pt x="396" y="135"/>
                      <a:pt x="396" y="135"/>
                    </a:cubicBezTo>
                    <a:cubicBezTo>
                      <a:pt x="396" y="137"/>
                      <a:pt x="396" y="137"/>
                      <a:pt x="396" y="137"/>
                    </a:cubicBezTo>
                    <a:cubicBezTo>
                      <a:pt x="396" y="137"/>
                      <a:pt x="396" y="137"/>
                      <a:pt x="396" y="137"/>
                    </a:cubicBezTo>
                    <a:cubicBezTo>
                      <a:pt x="397" y="137"/>
                      <a:pt x="397" y="137"/>
                      <a:pt x="397" y="137"/>
                    </a:cubicBezTo>
                    <a:cubicBezTo>
                      <a:pt x="397" y="137"/>
                      <a:pt x="397" y="137"/>
                      <a:pt x="397" y="137"/>
                    </a:cubicBezTo>
                    <a:cubicBezTo>
                      <a:pt x="401" y="138"/>
                      <a:pt x="401" y="138"/>
                      <a:pt x="401" y="138"/>
                    </a:cubicBezTo>
                    <a:cubicBezTo>
                      <a:pt x="411" y="143"/>
                      <a:pt x="411" y="143"/>
                      <a:pt x="411" y="143"/>
                    </a:cubicBezTo>
                    <a:cubicBezTo>
                      <a:pt x="414" y="143"/>
                      <a:pt x="414" y="143"/>
                      <a:pt x="414" y="143"/>
                    </a:cubicBezTo>
                    <a:cubicBezTo>
                      <a:pt x="414" y="144"/>
                      <a:pt x="414" y="144"/>
                      <a:pt x="414" y="144"/>
                    </a:cubicBezTo>
                    <a:cubicBezTo>
                      <a:pt x="426" y="150"/>
                      <a:pt x="426" y="150"/>
                      <a:pt x="426" y="150"/>
                    </a:cubicBezTo>
                    <a:cubicBezTo>
                      <a:pt x="428" y="145"/>
                      <a:pt x="428" y="145"/>
                      <a:pt x="428" y="145"/>
                    </a:cubicBezTo>
                    <a:cubicBezTo>
                      <a:pt x="428" y="151"/>
                      <a:pt x="428" y="151"/>
                      <a:pt x="428" y="151"/>
                    </a:cubicBezTo>
                    <a:cubicBezTo>
                      <a:pt x="434" y="153"/>
                      <a:pt x="434" y="153"/>
                      <a:pt x="434" y="153"/>
                    </a:cubicBezTo>
                    <a:cubicBezTo>
                      <a:pt x="432" y="154"/>
                      <a:pt x="432" y="154"/>
                      <a:pt x="432" y="154"/>
                    </a:cubicBezTo>
                    <a:cubicBezTo>
                      <a:pt x="440" y="160"/>
                      <a:pt x="440" y="160"/>
                      <a:pt x="440" y="160"/>
                    </a:cubicBezTo>
                    <a:cubicBezTo>
                      <a:pt x="429" y="158"/>
                      <a:pt x="429" y="158"/>
                      <a:pt x="429" y="158"/>
                    </a:cubicBezTo>
                    <a:cubicBezTo>
                      <a:pt x="429" y="159"/>
                      <a:pt x="429" y="159"/>
                      <a:pt x="429" y="159"/>
                    </a:cubicBezTo>
                    <a:cubicBezTo>
                      <a:pt x="427" y="160"/>
                      <a:pt x="426" y="162"/>
                      <a:pt x="425" y="164"/>
                    </a:cubicBezTo>
                    <a:cubicBezTo>
                      <a:pt x="425" y="165"/>
                      <a:pt x="425" y="165"/>
                      <a:pt x="425" y="165"/>
                    </a:cubicBezTo>
                    <a:cubicBezTo>
                      <a:pt x="425" y="166"/>
                      <a:pt x="425" y="166"/>
                      <a:pt x="425" y="166"/>
                    </a:cubicBezTo>
                    <a:cubicBezTo>
                      <a:pt x="425" y="167"/>
                      <a:pt x="425" y="167"/>
                      <a:pt x="425" y="167"/>
                    </a:cubicBezTo>
                    <a:cubicBezTo>
                      <a:pt x="425" y="167"/>
                      <a:pt x="425" y="167"/>
                      <a:pt x="425" y="167"/>
                    </a:cubicBezTo>
                    <a:cubicBezTo>
                      <a:pt x="425" y="169"/>
                      <a:pt x="425" y="169"/>
                      <a:pt x="425" y="169"/>
                    </a:cubicBezTo>
                    <a:cubicBezTo>
                      <a:pt x="424" y="170"/>
                      <a:pt x="424" y="171"/>
                      <a:pt x="424" y="172"/>
                    </a:cubicBezTo>
                    <a:cubicBezTo>
                      <a:pt x="422" y="175"/>
                      <a:pt x="422" y="175"/>
                      <a:pt x="422" y="175"/>
                    </a:cubicBezTo>
                    <a:cubicBezTo>
                      <a:pt x="419" y="176"/>
                      <a:pt x="419" y="176"/>
                      <a:pt x="419" y="176"/>
                    </a:cubicBezTo>
                    <a:cubicBezTo>
                      <a:pt x="415" y="178"/>
                      <a:pt x="407" y="180"/>
                      <a:pt x="403" y="180"/>
                    </a:cubicBezTo>
                    <a:cubicBezTo>
                      <a:pt x="402" y="180"/>
                      <a:pt x="402" y="181"/>
                      <a:pt x="402" y="181"/>
                    </a:cubicBezTo>
                    <a:cubicBezTo>
                      <a:pt x="401" y="181"/>
                      <a:pt x="401" y="181"/>
                      <a:pt x="401" y="181"/>
                    </a:cubicBezTo>
                    <a:cubicBezTo>
                      <a:pt x="399" y="180"/>
                      <a:pt x="399" y="180"/>
                      <a:pt x="399" y="180"/>
                    </a:cubicBezTo>
                    <a:cubicBezTo>
                      <a:pt x="395" y="180"/>
                      <a:pt x="391" y="179"/>
                      <a:pt x="386" y="177"/>
                    </a:cubicBezTo>
                    <a:cubicBezTo>
                      <a:pt x="383" y="176"/>
                      <a:pt x="383" y="176"/>
                      <a:pt x="383" y="176"/>
                    </a:cubicBezTo>
                    <a:cubicBezTo>
                      <a:pt x="381" y="175"/>
                      <a:pt x="381" y="175"/>
                      <a:pt x="381" y="175"/>
                    </a:cubicBezTo>
                    <a:cubicBezTo>
                      <a:pt x="381" y="176"/>
                      <a:pt x="381" y="177"/>
                      <a:pt x="380" y="178"/>
                    </a:cubicBezTo>
                    <a:cubicBezTo>
                      <a:pt x="380" y="180"/>
                      <a:pt x="379" y="181"/>
                      <a:pt x="377" y="183"/>
                    </a:cubicBezTo>
                    <a:cubicBezTo>
                      <a:pt x="377" y="183"/>
                      <a:pt x="377" y="183"/>
                      <a:pt x="377" y="183"/>
                    </a:cubicBezTo>
                    <a:cubicBezTo>
                      <a:pt x="376" y="184"/>
                      <a:pt x="374" y="185"/>
                      <a:pt x="373" y="185"/>
                    </a:cubicBezTo>
                    <a:cubicBezTo>
                      <a:pt x="372" y="185"/>
                      <a:pt x="371" y="186"/>
                      <a:pt x="371" y="186"/>
                    </a:cubicBezTo>
                    <a:cubicBezTo>
                      <a:pt x="370" y="186"/>
                      <a:pt x="370" y="186"/>
                      <a:pt x="370" y="186"/>
                    </a:cubicBezTo>
                    <a:cubicBezTo>
                      <a:pt x="369" y="186"/>
                      <a:pt x="369" y="186"/>
                      <a:pt x="369" y="186"/>
                    </a:cubicBezTo>
                    <a:cubicBezTo>
                      <a:pt x="363" y="193"/>
                      <a:pt x="363" y="193"/>
                      <a:pt x="363" y="193"/>
                    </a:cubicBezTo>
                    <a:cubicBezTo>
                      <a:pt x="363" y="184"/>
                      <a:pt x="363" y="184"/>
                      <a:pt x="363" y="184"/>
                    </a:cubicBezTo>
                    <a:cubicBezTo>
                      <a:pt x="363" y="183"/>
                      <a:pt x="363" y="183"/>
                      <a:pt x="364" y="182"/>
                    </a:cubicBezTo>
                    <a:cubicBezTo>
                      <a:pt x="361" y="182"/>
                      <a:pt x="358" y="181"/>
                      <a:pt x="355" y="181"/>
                    </a:cubicBezTo>
                    <a:cubicBezTo>
                      <a:pt x="355" y="180"/>
                      <a:pt x="354" y="180"/>
                      <a:pt x="353" y="180"/>
                    </a:cubicBezTo>
                    <a:cubicBezTo>
                      <a:pt x="352" y="180"/>
                      <a:pt x="351" y="180"/>
                      <a:pt x="349" y="180"/>
                    </a:cubicBezTo>
                    <a:cubicBezTo>
                      <a:pt x="347" y="185"/>
                      <a:pt x="347" y="185"/>
                      <a:pt x="347" y="185"/>
                    </a:cubicBezTo>
                    <a:cubicBezTo>
                      <a:pt x="348" y="179"/>
                      <a:pt x="348" y="179"/>
                      <a:pt x="348" y="179"/>
                    </a:cubicBezTo>
                    <a:cubicBezTo>
                      <a:pt x="348" y="179"/>
                      <a:pt x="348" y="179"/>
                      <a:pt x="348" y="179"/>
                    </a:cubicBezTo>
                    <a:cubicBezTo>
                      <a:pt x="346" y="179"/>
                      <a:pt x="345" y="178"/>
                      <a:pt x="343" y="177"/>
                    </a:cubicBezTo>
                    <a:cubicBezTo>
                      <a:pt x="340" y="176"/>
                      <a:pt x="340" y="175"/>
                      <a:pt x="339" y="174"/>
                    </a:cubicBezTo>
                    <a:cubicBezTo>
                      <a:pt x="338" y="172"/>
                      <a:pt x="338" y="170"/>
                      <a:pt x="338" y="168"/>
                    </a:cubicBezTo>
                    <a:cubicBezTo>
                      <a:pt x="337" y="167"/>
                      <a:pt x="336" y="165"/>
                      <a:pt x="335" y="164"/>
                    </a:cubicBezTo>
                    <a:cubicBezTo>
                      <a:pt x="332" y="163"/>
                      <a:pt x="330" y="163"/>
                      <a:pt x="326" y="163"/>
                    </a:cubicBezTo>
                    <a:cubicBezTo>
                      <a:pt x="325" y="163"/>
                      <a:pt x="323" y="163"/>
                      <a:pt x="322" y="163"/>
                    </a:cubicBezTo>
                    <a:cubicBezTo>
                      <a:pt x="321" y="163"/>
                      <a:pt x="321" y="163"/>
                      <a:pt x="321" y="163"/>
                    </a:cubicBezTo>
                    <a:cubicBezTo>
                      <a:pt x="320" y="163"/>
                      <a:pt x="320" y="163"/>
                      <a:pt x="320" y="163"/>
                    </a:cubicBezTo>
                    <a:cubicBezTo>
                      <a:pt x="320" y="165"/>
                      <a:pt x="320" y="166"/>
                      <a:pt x="319" y="168"/>
                    </a:cubicBezTo>
                    <a:cubicBezTo>
                      <a:pt x="318" y="169"/>
                      <a:pt x="318" y="169"/>
                      <a:pt x="318" y="169"/>
                    </a:cubicBezTo>
                    <a:cubicBezTo>
                      <a:pt x="318" y="170"/>
                      <a:pt x="317" y="170"/>
                      <a:pt x="316" y="171"/>
                    </a:cubicBezTo>
                    <a:cubicBezTo>
                      <a:pt x="315" y="172"/>
                      <a:pt x="313" y="173"/>
                      <a:pt x="311" y="173"/>
                    </a:cubicBezTo>
                    <a:cubicBezTo>
                      <a:pt x="310" y="173"/>
                      <a:pt x="309" y="173"/>
                      <a:pt x="309" y="173"/>
                    </a:cubicBezTo>
                    <a:cubicBezTo>
                      <a:pt x="308" y="173"/>
                      <a:pt x="308" y="173"/>
                      <a:pt x="308" y="173"/>
                    </a:cubicBezTo>
                    <a:cubicBezTo>
                      <a:pt x="304" y="172"/>
                      <a:pt x="302" y="170"/>
                      <a:pt x="300" y="167"/>
                    </a:cubicBezTo>
                    <a:cubicBezTo>
                      <a:pt x="299" y="166"/>
                      <a:pt x="298" y="165"/>
                      <a:pt x="298" y="165"/>
                    </a:cubicBezTo>
                    <a:cubicBezTo>
                      <a:pt x="297" y="164"/>
                      <a:pt x="297" y="164"/>
                      <a:pt x="297" y="164"/>
                    </a:cubicBezTo>
                    <a:cubicBezTo>
                      <a:pt x="296" y="164"/>
                      <a:pt x="296" y="164"/>
                      <a:pt x="296" y="164"/>
                    </a:cubicBezTo>
                    <a:cubicBezTo>
                      <a:pt x="292" y="165"/>
                      <a:pt x="292" y="165"/>
                      <a:pt x="292" y="165"/>
                    </a:cubicBezTo>
                    <a:cubicBezTo>
                      <a:pt x="289" y="165"/>
                      <a:pt x="286" y="166"/>
                      <a:pt x="282" y="166"/>
                    </a:cubicBezTo>
                    <a:cubicBezTo>
                      <a:pt x="282" y="166"/>
                      <a:pt x="281" y="166"/>
                      <a:pt x="281" y="166"/>
                    </a:cubicBezTo>
                    <a:cubicBezTo>
                      <a:pt x="281" y="167"/>
                      <a:pt x="280" y="169"/>
                      <a:pt x="279" y="170"/>
                    </a:cubicBezTo>
                    <a:cubicBezTo>
                      <a:pt x="277" y="172"/>
                      <a:pt x="275" y="172"/>
                      <a:pt x="274" y="173"/>
                    </a:cubicBezTo>
                    <a:cubicBezTo>
                      <a:pt x="273" y="173"/>
                      <a:pt x="273" y="173"/>
                      <a:pt x="273" y="173"/>
                    </a:cubicBezTo>
                    <a:cubicBezTo>
                      <a:pt x="272" y="174"/>
                      <a:pt x="272" y="175"/>
                      <a:pt x="271" y="176"/>
                    </a:cubicBezTo>
                    <a:cubicBezTo>
                      <a:pt x="270" y="179"/>
                      <a:pt x="268" y="180"/>
                      <a:pt x="266" y="180"/>
                    </a:cubicBezTo>
                    <a:cubicBezTo>
                      <a:pt x="266" y="181"/>
                      <a:pt x="265" y="181"/>
                      <a:pt x="264" y="182"/>
                    </a:cubicBezTo>
                    <a:cubicBezTo>
                      <a:pt x="263" y="182"/>
                      <a:pt x="263" y="182"/>
                      <a:pt x="263" y="182"/>
                    </a:cubicBezTo>
                    <a:cubicBezTo>
                      <a:pt x="263" y="182"/>
                      <a:pt x="263" y="182"/>
                      <a:pt x="263" y="182"/>
                    </a:cubicBezTo>
                    <a:cubicBezTo>
                      <a:pt x="261" y="184"/>
                      <a:pt x="260" y="184"/>
                      <a:pt x="259" y="184"/>
                    </a:cubicBezTo>
                    <a:cubicBezTo>
                      <a:pt x="258" y="185"/>
                      <a:pt x="258" y="185"/>
                      <a:pt x="257" y="185"/>
                    </a:cubicBezTo>
                    <a:cubicBezTo>
                      <a:pt x="255" y="185"/>
                      <a:pt x="252" y="183"/>
                      <a:pt x="247" y="180"/>
                    </a:cubicBezTo>
                    <a:cubicBezTo>
                      <a:pt x="243" y="178"/>
                      <a:pt x="240" y="175"/>
                      <a:pt x="236" y="173"/>
                    </a:cubicBezTo>
                    <a:cubicBezTo>
                      <a:pt x="234" y="171"/>
                      <a:pt x="234" y="171"/>
                      <a:pt x="234" y="171"/>
                    </a:cubicBezTo>
                    <a:cubicBezTo>
                      <a:pt x="233" y="171"/>
                      <a:pt x="233" y="170"/>
                      <a:pt x="232" y="170"/>
                    </a:cubicBezTo>
                    <a:cubicBezTo>
                      <a:pt x="232" y="169"/>
                      <a:pt x="231" y="169"/>
                      <a:pt x="231" y="168"/>
                    </a:cubicBezTo>
                    <a:cubicBezTo>
                      <a:pt x="231" y="169"/>
                      <a:pt x="231" y="170"/>
                      <a:pt x="231" y="170"/>
                    </a:cubicBezTo>
                    <a:cubicBezTo>
                      <a:pt x="231" y="171"/>
                      <a:pt x="231" y="171"/>
                      <a:pt x="231" y="171"/>
                    </a:cubicBezTo>
                    <a:cubicBezTo>
                      <a:pt x="231" y="172"/>
                      <a:pt x="232" y="173"/>
                      <a:pt x="232" y="173"/>
                    </a:cubicBezTo>
                    <a:cubicBezTo>
                      <a:pt x="232" y="175"/>
                      <a:pt x="232" y="175"/>
                      <a:pt x="232" y="175"/>
                    </a:cubicBezTo>
                    <a:cubicBezTo>
                      <a:pt x="232" y="177"/>
                      <a:pt x="232" y="179"/>
                      <a:pt x="231" y="180"/>
                    </a:cubicBezTo>
                    <a:cubicBezTo>
                      <a:pt x="231" y="182"/>
                      <a:pt x="229" y="183"/>
                      <a:pt x="226" y="185"/>
                    </a:cubicBezTo>
                    <a:cubicBezTo>
                      <a:pt x="222" y="188"/>
                      <a:pt x="222" y="188"/>
                      <a:pt x="222" y="188"/>
                    </a:cubicBezTo>
                    <a:cubicBezTo>
                      <a:pt x="220" y="183"/>
                      <a:pt x="220" y="183"/>
                      <a:pt x="220" y="183"/>
                    </a:cubicBezTo>
                    <a:cubicBezTo>
                      <a:pt x="220" y="180"/>
                      <a:pt x="219" y="176"/>
                      <a:pt x="219" y="172"/>
                    </a:cubicBezTo>
                    <a:cubicBezTo>
                      <a:pt x="219" y="171"/>
                      <a:pt x="219" y="171"/>
                      <a:pt x="219" y="171"/>
                    </a:cubicBezTo>
                    <a:cubicBezTo>
                      <a:pt x="218" y="170"/>
                      <a:pt x="217" y="170"/>
                      <a:pt x="217" y="169"/>
                    </a:cubicBezTo>
                    <a:cubicBezTo>
                      <a:pt x="215" y="168"/>
                      <a:pt x="213" y="166"/>
                      <a:pt x="211" y="164"/>
                    </a:cubicBezTo>
                    <a:cubicBezTo>
                      <a:pt x="210" y="164"/>
                      <a:pt x="210" y="164"/>
                      <a:pt x="210" y="164"/>
                    </a:cubicBezTo>
                    <a:cubicBezTo>
                      <a:pt x="204" y="158"/>
                      <a:pt x="198" y="153"/>
                      <a:pt x="192" y="150"/>
                    </a:cubicBezTo>
                    <a:cubicBezTo>
                      <a:pt x="190" y="149"/>
                      <a:pt x="187" y="149"/>
                      <a:pt x="184" y="149"/>
                    </a:cubicBezTo>
                    <a:cubicBezTo>
                      <a:pt x="183" y="149"/>
                      <a:pt x="183" y="149"/>
                      <a:pt x="182" y="149"/>
                    </a:cubicBezTo>
                    <a:cubicBezTo>
                      <a:pt x="179" y="149"/>
                      <a:pt x="176" y="149"/>
                      <a:pt x="174" y="150"/>
                    </a:cubicBezTo>
                    <a:cubicBezTo>
                      <a:pt x="174" y="150"/>
                      <a:pt x="174" y="150"/>
                      <a:pt x="174" y="150"/>
                    </a:cubicBezTo>
                    <a:cubicBezTo>
                      <a:pt x="173" y="150"/>
                      <a:pt x="173" y="150"/>
                      <a:pt x="173" y="150"/>
                    </a:cubicBezTo>
                    <a:cubicBezTo>
                      <a:pt x="172" y="150"/>
                      <a:pt x="171" y="151"/>
                      <a:pt x="170" y="151"/>
                    </a:cubicBezTo>
                    <a:cubicBezTo>
                      <a:pt x="169" y="151"/>
                      <a:pt x="169" y="151"/>
                      <a:pt x="169" y="151"/>
                    </a:cubicBezTo>
                    <a:cubicBezTo>
                      <a:pt x="168" y="151"/>
                      <a:pt x="168" y="150"/>
                      <a:pt x="167" y="150"/>
                    </a:cubicBezTo>
                    <a:cubicBezTo>
                      <a:pt x="167" y="150"/>
                      <a:pt x="167" y="150"/>
                      <a:pt x="167" y="150"/>
                    </a:cubicBezTo>
                    <a:cubicBezTo>
                      <a:pt x="166" y="149"/>
                      <a:pt x="166" y="149"/>
                      <a:pt x="166" y="149"/>
                    </a:cubicBezTo>
                    <a:cubicBezTo>
                      <a:pt x="166" y="149"/>
                      <a:pt x="165" y="149"/>
                      <a:pt x="165" y="149"/>
                    </a:cubicBezTo>
                    <a:cubicBezTo>
                      <a:pt x="165" y="148"/>
                      <a:pt x="164" y="148"/>
                      <a:pt x="164" y="147"/>
                    </a:cubicBezTo>
                    <a:cubicBezTo>
                      <a:pt x="163" y="146"/>
                      <a:pt x="163" y="146"/>
                      <a:pt x="163" y="145"/>
                    </a:cubicBezTo>
                    <a:cubicBezTo>
                      <a:pt x="162" y="144"/>
                      <a:pt x="162" y="144"/>
                      <a:pt x="162" y="144"/>
                    </a:cubicBezTo>
                    <a:cubicBezTo>
                      <a:pt x="161" y="143"/>
                      <a:pt x="161" y="141"/>
                      <a:pt x="160" y="140"/>
                    </a:cubicBezTo>
                    <a:cubicBezTo>
                      <a:pt x="157" y="142"/>
                      <a:pt x="155" y="143"/>
                      <a:pt x="150" y="143"/>
                    </a:cubicBezTo>
                    <a:cubicBezTo>
                      <a:pt x="150" y="144"/>
                      <a:pt x="150" y="144"/>
                      <a:pt x="150" y="144"/>
                    </a:cubicBezTo>
                    <a:cubicBezTo>
                      <a:pt x="149" y="144"/>
                      <a:pt x="149" y="144"/>
                      <a:pt x="149" y="144"/>
                    </a:cubicBezTo>
                    <a:cubicBezTo>
                      <a:pt x="150" y="144"/>
                      <a:pt x="150" y="145"/>
                      <a:pt x="150" y="145"/>
                    </a:cubicBezTo>
                    <a:cubicBezTo>
                      <a:pt x="150" y="146"/>
                      <a:pt x="149" y="147"/>
                      <a:pt x="148" y="148"/>
                    </a:cubicBezTo>
                    <a:cubicBezTo>
                      <a:pt x="147" y="149"/>
                      <a:pt x="147" y="149"/>
                      <a:pt x="147" y="149"/>
                    </a:cubicBezTo>
                    <a:cubicBezTo>
                      <a:pt x="146" y="150"/>
                      <a:pt x="145" y="151"/>
                      <a:pt x="143" y="151"/>
                    </a:cubicBezTo>
                    <a:cubicBezTo>
                      <a:pt x="142" y="151"/>
                      <a:pt x="142" y="151"/>
                      <a:pt x="142" y="151"/>
                    </a:cubicBezTo>
                    <a:cubicBezTo>
                      <a:pt x="141" y="151"/>
                      <a:pt x="141" y="151"/>
                      <a:pt x="140" y="151"/>
                    </a:cubicBezTo>
                    <a:cubicBezTo>
                      <a:pt x="140" y="151"/>
                      <a:pt x="139" y="150"/>
                      <a:pt x="138" y="150"/>
                    </a:cubicBezTo>
                    <a:cubicBezTo>
                      <a:pt x="136" y="157"/>
                      <a:pt x="136" y="157"/>
                      <a:pt x="136" y="157"/>
                    </a:cubicBezTo>
                    <a:cubicBezTo>
                      <a:pt x="136" y="150"/>
                      <a:pt x="136" y="150"/>
                      <a:pt x="136" y="150"/>
                    </a:cubicBezTo>
                    <a:cubicBezTo>
                      <a:pt x="136" y="150"/>
                      <a:pt x="136" y="150"/>
                      <a:pt x="136" y="150"/>
                    </a:cubicBezTo>
                    <a:cubicBezTo>
                      <a:pt x="133" y="148"/>
                      <a:pt x="132" y="147"/>
                      <a:pt x="131" y="145"/>
                    </a:cubicBezTo>
                    <a:cubicBezTo>
                      <a:pt x="130" y="142"/>
                      <a:pt x="130" y="142"/>
                      <a:pt x="130" y="142"/>
                    </a:cubicBezTo>
                    <a:cubicBezTo>
                      <a:pt x="130" y="142"/>
                      <a:pt x="130" y="142"/>
                      <a:pt x="130" y="142"/>
                    </a:cubicBezTo>
                    <a:cubicBezTo>
                      <a:pt x="129" y="142"/>
                      <a:pt x="128" y="142"/>
                      <a:pt x="126" y="141"/>
                    </a:cubicBezTo>
                    <a:cubicBezTo>
                      <a:pt x="126" y="141"/>
                      <a:pt x="125" y="141"/>
                      <a:pt x="124" y="141"/>
                    </a:cubicBezTo>
                    <a:cubicBezTo>
                      <a:pt x="123" y="140"/>
                      <a:pt x="123" y="140"/>
                      <a:pt x="122" y="140"/>
                    </a:cubicBezTo>
                    <a:cubicBezTo>
                      <a:pt x="122" y="141"/>
                      <a:pt x="122" y="141"/>
                      <a:pt x="122" y="141"/>
                    </a:cubicBezTo>
                    <a:cubicBezTo>
                      <a:pt x="122" y="142"/>
                      <a:pt x="122" y="142"/>
                      <a:pt x="122" y="142"/>
                    </a:cubicBezTo>
                    <a:cubicBezTo>
                      <a:pt x="121" y="144"/>
                      <a:pt x="120" y="145"/>
                      <a:pt x="117" y="146"/>
                    </a:cubicBezTo>
                    <a:cubicBezTo>
                      <a:pt x="116" y="146"/>
                      <a:pt x="116" y="146"/>
                      <a:pt x="116" y="146"/>
                    </a:cubicBezTo>
                    <a:cubicBezTo>
                      <a:pt x="115" y="146"/>
                      <a:pt x="115" y="146"/>
                      <a:pt x="115" y="146"/>
                    </a:cubicBezTo>
                    <a:cubicBezTo>
                      <a:pt x="113" y="146"/>
                      <a:pt x="113" y="146"/>
                      <a:pt x="111" y="149"/>
                    </a:cubicBezTo>
                    <a:cubicBezTo>
                      <a:pt x="109" y="152"/>
                      <a:pt x="109" y="152"/>
                      <a:pt x="109" y="152"/>
                    </a:cubicBezTo>
                    <a:cubicBezTo>
                      <a:pt x="109" y="152"/>
                      <a:pt x="109" y="154"/>
                      <a:pt x="108" y="155"/>
                    </a:cubicBezTo>
                    <a:cubicBezTo>
                      <a:pt x="107" y="157"/>
                      <a:pt x="104" y="158"/>
                      <a:pt x="101" y="158"/>
                    </a:cubicBezTo>
                    <a:cubicBezTo>
                      <a:pt x="101" y="159"/>
                      <a:pt x="101" y="159"/>
                      <a:pt x="101" y="159"/>
                    </a:cubicBezTo>
                    <a:cubicBezTo>
                      <a:pt x="100" y="159"/>
                      <a:pt x="100" y="159"/>
                      <a:pt x="100" y="159"/>
                    </a:cubicBezTo>
                    <a:cubicBezTo>
                      <a:pt x="82" y="166"/>
                      <a:pt x="82" y="166"/>
                      <a:pt x="82" y="166"/>
                    </a:cubicBezTo>
                    <a:cubicBezTo>
                      <a:pt x="83" y="168"/>
                      <a:pt x="83" y="170"/>
                      <a:pt x="82" y="171"/>
                    </a:cubicBezTo>
                    <a:cubicBezTo>
                      <a:pt x="82" y="172"/>
                      <a:pt x="82" y="172"/>
                      <a:pt x="82" y="172"/>
                    </a:cubicBezTo>
                    <a:cubicBezTo>
                      <a:pt x="80" y="173"/>
                      <a:pt x="78" y="174"/>
                      <a:pt x="73" y="176"/>
                    </a:cubicBezTo>
                    <a:cubicBezTo>
                      <a:pt x="72" y="176"/>
                      <a:pt x="72" y="176"/>
                      <a:pt x="72" y="176"/>
                    </a:cubicBezTo>
                    <a:cubicBezTo>
                      <a:pt x="72" y="177"/>
                      <a:pt x="71" y="177"/>
                      <a:pt x="71" y="177"/>
                    </a:cubicBezTo>
                    <a:cubicBezTo>
                      <a:pt x="70" y="177"/>
                      <a:pt x="70" y="177"/>
                      <a:pt x="70" y="177"/>
                    </a:cubicBezTo>
                    <a:cubicBezTo>
                      <a:pt x="69" y="176"/>
                      <a:pt x="69" y="176"/>
                      <a:pt x="69" y="176"/>
                    </a:cubicBezTo>
                    <a:cubicBezTo>
                      <a:pt x="70" y="177"/>
                      <a:pt x="70" y="177"/>
                      <a:pt x="70" y="177"/>
                    </a:cubicBezTo>
                    <a:cubicBezTo>
                      <a:pt x="69" y="178"/>
                      <a:pt x="69" y="178"/>
                      <a:pt x="69" y="178"/>
                    </a:cubicBezTo>
                    <a:cubicBezTo>
                      <a:pt x="68" y="178"/>
                      <a:pt x="68" y="178"/>
                      <a:pt x="68" y="179"/>
                    </a:cubicBezTo>
                    <a:cubicBezTo>
                      <a:pt x="66" y="180"/>
                      <a:pt x="63" y="181"/>
                      <a:pt x="61" y="182"/>
                    </a:cubicBezTo>
                    <a:cubicBezTo>
                      <a:pt x="61" y="183"/>
                      <a:pt x="61" y="183"/>
                      <a:pt x="61" y="183"/>
                    </a:cubicBezTo>
                    <a:cubicBezTo>
                      <a:pt x="62" y="184"/>
                      <a:pt x="62" y="186"/>
                      <a:pt x="62" y="187"/>
                    </a:cubicBezTo>
                    <a:cubicBezTo>
                      <a:pt x="63" y="189"/>
                      <a:pt x="63" y="189"/>
                      <a:pt x="63" y="189"/>
                    </a:cubicBezTo>
                    <a:cubicBezTo>
                      <a:pt x="63" y="189"/>
                      <a:pt x="63" y="190"/>
                      <a:pt x="63" y="191"/>
                    </a:cubicBezTo>
                    <a:cubicBezTo>
                      <a:pt x="64" y="192"/>
                      <a:pt x="64" y="192"/>
                      <a:pt x="64" y="192"/>
                    </a:cubicBezTo>
                    <a:cubicBezTo>
                      <a:pt x="64" y="192"/>
                      <a:pt x="64" y="193"/>
                      <a:pt x="65" y="193"/>
                    </a:cubicBezTo>
                    <a:cubicBezTo>
                      <a:pt x="65" y="194"/>
                      <a:pt x="65" y="194"/>
                      <a:pt x="65" y="194"/>
                    </a:cubicBezTo>
                    <a:cubicBezTo>
                      <a:pt x="65" y="195"/>
                      <a:pt x="65" y="195"/>
                      <a:pt x="65" y="195"/>
                    </a:cubicBezTo>
                    <a:cubicBezTo>
                      <a:pt x="65" y="195"/>
                      <a:pt x="65" y="195"/>
                      <a:pt x="65" y="195"/>
                    </a:cubicBezTo>
                    <a:cubicBezTo>
                      <a:pt x="66" y="196"/>
                      <a:pt x="66" y="196"/>
                      <a:pt x="66" y="196"/>
                    </a:cubicBezTo>
                    <a:cubicBezTo>
                      <a:pt x="67" y="197"/>
                      <a:pt x="68" y="199"/>
                      <a:pt x="68" y="201"/>
                    </a:cubicBezTo>
                    <a:cubicBezTo>
                      <a:pt x="68" y="203"/>
                      <a:pt x="67" y="204"/>
                      <a:pt x="64" y="206"/>
                    </a:cubicBezTo>
                    <a:cubicBezTo>
                      <a:pt x="63" y="207"/>
                      <a:pt x="61" y="208"/>
                      <a:pt x="57" y="210"/>
                    </a:cubicBezTo>
                    <a:cubicBezTo>
                      <a:pt x="56" y="210"/>
                      <a:pt x="55" y="210"/>
                      <a:pt x="54" y="211"/>
                    </a:cubicBezTo>
                    <a:cubicBezTo>
                      <a:pt x="53" y="211"/>
                      <a:pt x="52" y="212"/>
                      <a:pt x="51" y="212"/>
                    </a:cubicBezTo>
                    <a:cubicBezTo>
                      <a:pt x="49" y="212"/>
                      <a:pt x="47" y="210"/>
                      <a:pt x="46" y="209"/>
                    </a:cubicBezTo>
                    <a:cubicBezTo>
                      <a:pt x="44" y="207"/>
                      <a:pt x="42" y="205"/>
                      <a:pt x="40" y="202"/>
                    </a:cubicBezTo>
                    <a:cubicBezTo>
                      <a:pt x="39" y="201"/>
                      <a:pt x="39" y="201"/>
                      <a:pt x="39" y="201"/>
                    </a:cubicBezTo>
                    <a:cubicBezTo>
                      <a:pt x="38" y="201"/>
                      <a:pt x="38" y="200"/>
                      <a:pt x="37" y="200"/>
                    </a:cubicBezTo>
                    <a:cubicBezTo>
                      <a:pt x="36" y="198"/>
                      <a:pt x="36" y="198"/>
                      <a:pt x="36" y="198"/>
                    </a:cubicBezTo>
                    <a:cubicBezTo>
                      <a:pt x="34" y="196"/>
                      <a:pt x="31" y="192"/>
                      <a:pt x="28" y="191"/>
                    </a:cubicBezTo>
                    <a:cubicBezTo>
                      <a:pt x="28" y="191"/>
                      <a:pt x="28" y="191"/>
                      <a:pt x="28" y="191"/>
                    </a:cubicBezTo>
                    <a:cubicBezTo>
                      <a:pt x="26" y="191"/>
                      <a:pt x="25" y="191"/>
                      <a:pt x="25" y="191"/>
                    </a:cubicBezTo>
                    <a:cubicBezTo>
                      <a:pt x="25" y="192"/>
                      <a:pt x="25" y="192"/>
                      <a:pt x="25" y="192"/>
                    </a:cubicBezTo>
                    <a:cubicBezTo>
                      <a:pt x="25" y="192"/>
                      <a:pt x="25" y="193"/>
                      <a:pt x="24" y="194"/>
                    </a:cubicBezTo>
                    <a:cubicBezTo>
                      <a:pt x="24" y="196"/>
                      <a:pt x="23" y="199"/>
                      <a:pt x="22" y="201"/>
                    </a:cubicBezTo>
                    <a:cubicBezTo>
                      <a:pt x="21" y="203"/>
                      <a:pt x="21" y="203"/>
                      <a:pt x="21" y="203"/>
                    </a:cubicBezTo>
                    <a:cubicBezTo>
                      <a:pt x="21" y="204"/>
                      <a:pt x="20" y="204"/>
                      <a:pt x="20" y="204"/>
                    </a:cubicBezTo>
                    <a:cubicBezTo>
                      <a:pt x="20" y="205"/>
                      <a:pt x="19" y="205"/>
                      <a:pt x="19" y="205"/>
                    </a:cubicBezTo>
                    <a:cubicBezTo>
                      <a:pt x="18" y="206"/>
                      <a:pt x="18" y="206"/>
                      <a:pt x="18" y="206"/>
                    </a:cubicBezTo>
                    <a:cubicBezTo>
                      <a:pt x="17" y="207"/>
                      <a:pt x="15" y="208"/>
                      <a:pt x="14" y="208"/>
                    </a:cubicBezTo>
                    <a:cubicBezTo>
                      <a:pt x="12" y="209"/>
                      <a:pt x="11" y="209"/>
                      <a:pt x="11" y="210"/>
                    </a:cubicBezTo>
                    <a:cubicBezTo>
                      <a:pt x="10" y="212"/>
                      <a:pt x="10" y="212"/>
                      <a:pt x="10" y="212"/>
                    </a:cubicBezTo>
                    <a:cubicBezTo>
                      <a:pt x="10" y="213"/>
                      <a:pt x="10" y="214"/>
                      <a:pt x="10" y="214"/>
                    </a:cubicBezTo>
                    <a:cubicBezTo>
                      <a:pt x="9" y="220"/>
                      <a:pt x="9" y="220"/>
                      <a:pt x="9" y="220"/>
                    </a:cubicBezTo>
                    <a:cubicBezTo>
                      <a:pt x="9" y="221"/>
                      <a:pt x="9" y="222"/>
                      <a:pt x="8" y="223"/>
                    </a:cubicBezTo>
                    <a:cubicBezTo>
                      <a:pt x="8" y="224"/>
                      <a:pt x="8" y="224"/>
                      <a:pt x="8" y="224"/>
                    </a:cubicBezTo>
                    <a:cubicBezTo>
                      <a:pt x="9" y="224"/>
                      <a:pt x="9" y="224"/>
                      <a:pt x="9" y="225"/>
                    </a:cubicBezTo>
                    <a:cubicBezTo>
                      <a:pt x="10" y="225"/>
                      <a:pt x="10" y="225"/>
                      <a:pt x="10" y="225"/>
                    </a:cubicBezTo>
                    <a:cubicBezTo>
                      <a:pt x="10" y="225"/>
                      <a:pt x="11" y="225"/>
                      <a:pt x="11" y="226"/>
                    </a:cubicBezTo>
                    <a:cubicBezTo>
                      <a:pt x="18" y="232"/>
                      <a:pt x="14" y="237"/>
                      <a:pt x="12" y="239"/>
                    </a:cubicBezTo>
                    <a:cubicBezTo>
                      <a:pt x="12" y="239"/>
                      <a:pt x="12" y="240"/>
                      <a:pt x="11" y="241"/>
                    </a:cubicBezTo>
                    <a:cubicBezTo>
                      <a:pt x="8" y="244"/>
                      <a:pt x="5" y="248"/>
                      <a:pt x="3" y="253"/>
                    </a:cubicBezTo>
                    <a:cubicBezTo>
                      <a:pt x="2" y="254"/>
                      <a:pt x="1" y="256"/>
                      <a:pt x="0" y="258"/>
                    </a:cubicBezTo>
                    <a:cubicBezTo>
                      <a:pt x="1" y="258"/>
                      <a:pt x="1" y="258"/>
                      <a:pt x="1" y="258"/>
                    </a:cubicBezTo>
                    <a:cubicBezTo>
                      <a:pt x="3" y="259"/>
                      <a:pt x="3" y="259"/>
                      <a:pt x="3" y="259"/>
                    </a:cubicBezTo>
                    <a:cubicBezTo>
                      <a:pt x="5" y="259"/>
                      <a:pt x="7" y="260"/>
                      <a:pt x="9" y="261"/>
                    </a:cubicBezTo>
                    <a:cubicBezTo>
                      <a:pt x="13" y="262"/>
                      <a:pt x="13" y="262"/>
                      <a:pt x="13" y="262"/>
                    </a:cubicBezTo>
                    <a:cubicBezTo>
                      <a:pt x="13" y="262"/>
                      <a:pt x="14" y="262"/>
                      <a:pt x="14" y="263"/>
                    </a:cubicBezTo>
                    <a:cubicBezTo>
                      <a:pt x="18" y="265"/>
                      <a:pt x="18" y="270"/>
                      <a:pt x="18" y="273"/>
                    </a:cubicBezTo>
                    <a:cubicBezTo>
                      <a:pt x="18" y="274"/>
                      <a:pt x="18" y="275"/>
                      <a:pt x="18" y="276"/>
                    </a:cubicBezTo>
                    <a:cubicBezTo>
                      <a:pt x="18" y="280"/>
                      <a:pt x="18" y="280"/>
                      <a:pt x="19" y="281"/>
                    </a:cubicBezTo>
                    <a:cubicBezTo>
                      <a:pt x="21" y="282"/>
                      <a:pt x="22" y="282"/>
                      <a:pt x="23" y="282"/>
                    </a:cubicBezTo>
                    <a:cubicBezTo>
                      <a:pt x="24" y="282"/>
                      <a:pt x="25" y="282"/>
                      <a:pt x="26" y="282"/>
                    </a:cubicBezTo>
                    <a:cubicBezTo>
                      <a:pt x="27" y="282"/>
                      <a:pt x="28" y="282"/>
                      <a:pt x="28" y="281"/>
                    </a:cubicBezTo>
                    <a:cubicBezTo>
                      <a:pt x="30" y="281"/>
                      <a:pt x="30" y="281"/>
                      <a:pt x="30" y="281"/>
                    </a:cubicBezTo>
                    <a:cubicBezTo>
                      <a:pt x="31" y="281"/>
                      <a:pt x="33" y="280"/>
                      <a:pt x="35" y="280"/>
                    </a:cubicBezTo>
                    <a:cubicBezTo>
                      <a:pt x="36" y="280"/>
                      <a:pt x="38" y="280"/>
                      <a:pt x="39" y="280"/>
                    </a:cubicBezTo>
                    <a:cubicBezTo>
                      <a:pt x="40" y="280"/>
                      <a:pt x="41" y="280"/>
                      <a:pt x="42" y="280"/>
                    </a:cubicBezTo>
                    <a:cubicBezTo>
                      <a:pt x="43" y="280"/>
                      <a:pt x="44" y="281"/>
                      <a:pt x="45" y="281"/>
                    </a:cubicBezTo>
                    <a:cubicBezTo>
                      <a:pt x="47" y="283"/>
                      <a:pt x="49" y="285"/>
                      <a:pt x="50" y="287"/>
                    </a:cubicBezTo>
                    <a:cubicBezTo>
                      <a:pt x="51" y="289"/>
                      <a:pt x="52" y="290"/>
                      <a:pt x="53" y="292"/>
                    </a:cubicBezTo>
                    <a:cubicBezTo>
                      <a:pt x="57" y="298"/>
                      <a:pt x="57" y="298"/>
                      <a:pt x="57" y="298"/>
                    </a:cubicBezTo>
                    <a:cubicBezTo>
                      <a:pt x="59" y="301"/>
                      <a:pt x="61" y="303"/>
                      <a:pt x="63" y="306"/>
                    </a:cubicBezTo>
                    <a:cubicBezTo>
                      <a:pt x="63" y="306"/>
                      <a:pt x="63" y="307"/>
                      <a:pt x="64" y="308"/>
                    </a:cubicBezTo>
                    <a:cubicBezTo>
                      <a:pt x="65" y="308"/>
                      <a:pt x="65" y="308"/>
                      <a:pt x="65" y="308"/>
                    </a:cubicBezTo>
                    <a:cubicBezTo>
                      <a:pt x="67" y="311"/>
                      <a:pt x="70" y="315"/>
                      <a:pt x="70" y="318"/>
                    </a:cubicBezTo>
                    <a:cubicBezTo>
                      <a:pt x="72" y="319"/>
                      <a:pt x="72" y="319"/>
                      <a:pt x="72" y="319"/>
                    </a:cubicBezTo>
                    <a:cubicBezTo>
                      <a:pt x="71" y="320"/>
                      <a:pt x="71" y="320"/>
                      <a:pt x="71" y="320"/>
                    </a:cubicBezTo>
                    <a:cubicBezTo>
                      <a:pt x="71" y="320"/>
                      <a:pt x="71" y="320"/>
                      <a:pt x="71" y="320"/>
                    </a:cubicBezTo>
                    <a:cubicBezTo>
                      <a:pt x="70" y="321"/>
                      <a:pt x="70" y="321"/>
                      <a:pt x="70" y="321"/>
                    </a:cubicBezTo>
                    <a:cubicBezTo>
                      <a:pt x="69" y="323"/>
                      <a:pt x="69" y="323"/>
                      <a:pt x="69" y="323"/>
                    </a:cubicBezTo>
                    <a:cubicBezTo>
                      <a:pt x="67" y="325"/>
                      <a:pt x="67" y="325"/>
                      <a:pt x="67" y="325"/>
                    </a:cubicBezTo>
                    <a:cubicBezTo>
                      <a:pt x="66" y="325"/>
                      <a:pt x="66" y="325"/>
                      <a:pt x="66" y="325"/>
                    </a:cubicBezTo>
                    <a:cubicBezTo>
                      <a:pt x="66" y="325"/>
                      <a:pt x="66" y="325"/>
                      <a:pt x="66" y="325"/>
                    </a:cubicBezTo>
                    <a:cubicBezTo>
                      <a:pt x="66" y="325"/>
                      <a:pt x="66" y="325"/>
                      <a:pt x="66" y="325"/>
                    </a:cubicBezTo>
                    <a:cubicBezTo>
                      <a:pt x="65" y="325"/>
                      <a:pt x="64" y="326"/>
                      <a:pt x="63" y="326"/>
                    </a:cubicBezTo>
                    <a:cubicBezTo>
                      <a:pt x="64" y="326"/>
                      <a:pt x="64" y="326"/>
                      <a:pt x="64" y="326"/>
                    </a:cubicBezTo>
                    <a:cubicBezTo>
                      <a:pt x="65" y="327"/>
                      <a:pt x="65" y="327"/>
                      <a:pt x="65" y="327"/>
                    </a:cubicBezTo>
                    <a:cubicBezTo>
                      <a:pt x="67" y="328"/>
                      <a:pt x="69" y="329"/>
                      <a:pt x="72" y="330"/>
                    </a:cubicBezTo>
                    <a:cubicBezTo>
                      <a:pt x="72" y="330"/>
                      <a:pt x="73" y="330"/>
                      <a:pt x="73" y="331"/>
                    </a:cubicBezTo>
                    <a:cubicBezTo>
                      <a:pt x="73" y="331"/>
                      <a:pt x="73" y="331"/>
                      <a:pt x="73" y="331"/>
                    </a:cubicBezTo>
                    <a:cubicBezTo>
                      <a:pt x="73" y="330"/>
                      <a:pt x="73" y="330"/>
                      <a:pt x="73" y="330"/>
                    </a:cubicBezTo>
                    <a:cubicBezTo>
                      <a:pt x="73" y="330"/>
                      <a:pt x="74" y="330"/>
                      <a:pt x="74" y="330"/>
                    </a:cubicBezTo>
                    <a:cubicBezTo>
                      <a:pt x="75" y="330"/>
                      <a:pt x="76" y="330"/>
                      <a:pt x="75" y="328"/>
                    </a:cubicBezTo>
                    <a:cubicBezTo>
                      <a:pt x="75" y="328"/>
                      <a:pt x="75" y="328"/>
                      <a:pt x="75" y="328"/>
                    </a:cubicBezTo>
                    <a:cubicBezTo>
                      <a:pt x="75" y="328"/>
                      <a:pt x="75" y="328"/>
                      <a:pt x="76" y="328"/>
                    </a:cubicBezTo>
                    <a:cubicBezTo>
                      <a:pt x="76" y="328"/>
                      <a:pt x="76" y="328"/>
                      <a:pt x="77" y="328"/>
                    </a:cubicBezTo>
                    <a:cubicBezTo>
                      <a:pt x="77" y="328"/>
                      <a:pt x="77" y="328"/>
                      <a:pt x="77" y="328"/>
                    </a:cubicBezTo>
                    <a:cubicBezTo>
                      <a:pt x="76" y="328"/>
                      <a:pt x="76" y="327"/>
                      <a:pt x="75" y="326"/>
                    </a:cubicBezTo>
                    <a:cubicBezTo>
                      <a:pt x="77" y="326"/>
                      <a:pt x="78" y="326"/>
                      <a:pt x="79" y="326"/>
                    </a:cubicBezTo>
                    <a:cubicBezTo>
                      <a:pt x="81" y="326"/>
                      <a:pt x="82" y="326"/>
                      <a:pt x="83" y="326"/>
                    </a:cubicBezTo>
                    <a:cubicBezTo>
                      <a:pt x="85" y="326"/>
                      <a:pt x="86" y="326"/>
                      <a:pt x="87" y="326"/>
                    </a:cubicBezTo>
                    <a:cubicBezTo>
                      <a:pt x="89" y="326"/>
                      <a:pt x="91" y="326"/>
                      <a:pt x="93" y="326"/>
                    </a:cubicBezTo>
                    <a:cubicBezTo>
                      <a:pt x="95" y="325"/>
                      <a:pt x="96" y="324"/>
                      <a:pt x="98" y="322"/>
                    </a:cubicBezTo>
                    <a:cubicBezTo>
                      <a:pt x="100" y="321"/>
                      <a:pt x="102" y="320"/>
                      <a:pt x="104" y="318"/>
                    </a:cubicBezTo>
                    <a:cubicBezTo>
                      <a:pt x="105" y="318"/>
                      <a:pt x="105" y="317"/>
                      <a:pt x="107" y="316"/>
                    </a:cubicBezTo>
                    <a:cubicBezTo>
                      <a:pt x="109" y="315"/>
                      <a:pt x="110" y="315"/>
                      <a:pt x="113" y="315"/>
                    </a:cubicBezTo>
                    <a:cubicBezTo>
                      <a:pt x="113" y="314"/>
                      <a:pt x="118" y="312"/>
                      <a:pt x="119" y="311"/>
                    </a:cubicBezTo>
                    <a:cubicBezTo>
                      <a:pt x="119" y="311"/>
                      <a:pt x="119" y="310"/>
                      <a:pt x="119" y="310"/>
                    </a:cubicBezTo>
                    <a:cubicBezTo>
                      <a:pt x="120" y="310"/>
                      <a:pt x="122" y="310"/>
                      <a:pt x="122" y="309"/>
                    </a:cubicBezTo>
                    <a:cubicBezTo>
                      <a:pt x="124" y="309"/>
                      <a:pt x="125" y="309"/>
                      <a:pt x="126" y="309"/>
                    </a:cubicBezTo>
                    <a:cubicBezTo>
                      <a:pt x="127" y="308"/>
                      <a:pt x="128" y="307"/>
                      <a:pt x="129" y="307"/>
                    </a:cubicBezTo>
                    <a:cubicBezTo>
                      <a:pt x="129" y="307"/>
                      <a:pt x="130" y="307"/>
                      <a:pt x="130" y="307"/>
                    </a:cubicBezTo>
                    <a:cubicBezTo>
                      <a:pt x="133" y="307"/>
                      <a:pt x="139" y="309"/>
                      <a:pt x="142" y="310"/>
                    </a:cubicBezTo>
                    <a:cubicBezTo>
                      <a:pt x="147" y="311"/>
                      <a:pt x="153" y="315"/>
                      <a:pt x="159" y="317"/>
                    </a:cubicBezTo>
                    <a:cubicBezTo>
                      <a:pt x="158" y="317"/>
                      <a:pt x="158" y="316"/>
                      <a:pt x="157" y="316"/>
                    </a:cubicBezTo>
                    <a:cubicBezTo>
                      <a:pt x="158" y="316"/>
                      <a:pt x="159" y="316"/>
                      <a:pt x="159" y="316"/>
                    </a:cubicBezTo>
                    <a:cubicBezTo>
                      <a:pt x="163" y="316"/>
                      <a:pt x="163" y="312"/>
                      <a:pt x="165" y="311"/>
                    </a:cubicBezTo>
                    <a:cubicBezTo>
                      <a:pt x="165" y="311"/>
                      <a:pt x="166" y="311"/>
                      <a:pt x="166" y="311"/>
                    </a:cubicBezTo>
                    <a:cubicBezTo>
                      <a:pt x="168" y="311"/>
                      <a:pt x="170" y="313"/>
                      <a:pt x="172" y="313"/>
                    </a:cubicBezTo>
                    <a:cubicBezTo>
                      <a:pt x="177" y="314"/>
                      <a:pt x="179" y="314"/>
                      <a:pt x="182" y="319"/>
                    </a:cubicBezTo>
                    <a:cubicBezTo>
                      <a:pt x="185" y="326"/>
                      <a:pt x="189" y="333"/>
                      <a:pt x="188" y="342"/>
                    </a:cubicBezTo>
                    <a:cubicBezTo>
                      <a:pt x="187" y="348"/>
                      <a:pt x="182" y="353"/>
                      <a:pt x="182" y="359"/>
                    </a:cubicBezTo>
                    <a:cubicBezTo>
                      <a:pt x="181" y="361"/>
                      <a:pt x="182" y="362"/>
                      <a:pt x="183" y="365"/>
                    </a:cubicBezTo>
                    <a:cubicBezTo>
                      <a:pt x="185" y="369"/>
                      <a:pt x="185" y="368"/>
                      <a:pt x="188" y="369"/>
                    </a:cubicBezTo>
                    <a:cubicBezTo>
                      <a:pt x="191" y="370"/>
                      <a:pt x="194" y="371"/>
                      <a:pt x="197" y="371"/>
                    </a:cubicBezTo>
                    <a:cubicBezTo>
                      <a:pt x="197" y="371"/>
                      <a:pt x="198" y="371"/>
                      <a:pt x="199" y="370"/>
                    </a:cubicBezTo>
                    <a:cubicBezTo>
                      <a:pt x="202" y="370"/>
                      <a:pt x="205" y="369"/>
                      <a:pt x="207" y="368"/>
                    </a:cubicBezTo>
                    <a:cubicBezTo>
                      <a:pt x="208" y="366"/>
                      <a:pt x="207" y="364"/>
                      <a:pt x="210" y="364"/>
                    </a:cubicBezTo>
                    <a:cubicBezTo>
                      <a:pt x="210" y="364"/>
                      <a:pt x="210" y="364"/>
                      <a:pt x="210" y="364"/>
                    </a:cubicBezTo>
                    <a:cubicBezTo>
                      <a:pt x="217" y="364"/>
                      <a:pt x="214" y="372"/>
                      <a:pt x="216" y="376"/>
                    </a:cubicBezTo>
                    <a:cubicBezTo>
                      <a:pt x="217" y="377"/>
                      <a:pt x="219" y="378"/>
                      <a:pt x="219" y="380"/>
                    </a:cubicBezTo>
                    <a:cubicBezTo>
                      <a:pt x="219" y="381"/>
                      <a:pt x="215" y="382"/>
                      <a:pt x="213" y="382"/>
                    </a:cubicBezTo>
                    <a:cubicBezTo>
                      <a:pt x="213" y="382"/>
                      <a:pt x="212" y="382"/>
                      <a:pt x="212" y="382"/>
                    </a:cubicBezTo>
                    <a:cubicBezTo>
                      <a:pt x="212" y="382"/>
                      <a:pt x="212" y="382"/>
                      <a:pt x="212" y="382"/>
                    </a:cubicBezTo>
                    <a:cubicBezTo>
                      <a:pt x="210" y="382"/>
                      <a:pt x="209" y="383"/>
                      <a:pt x="208" y="383"/>
                    </a:cubicBezTo>
                    <a:cubicBezTo>
                      <a:pt x="207" y="384"/>
                      <a:pt x="206" y="384"/>
                      <a:pt x="205" y="384"/>
                    </a:cubicBezTo>
                    <a:cubicBezTo>
                      <a:pt x="205" y="384"/>
                      <a:pt x="205" y="384"/>
                      <a:pt x="204" y="384"/>
                    </a:cubicBezTo>
                    <a:cubicBezTo>
                      <a:pt x="204" y="384"/>
                      <a:pt x="204" y="384"/>
                      <a:pt x="203" y="384"/>
                    </a:cubicBezTo>
                    <a:cubicBezTo>
                      <a:pt x="203" y="384"/>
                      <a:pt x="202" y="384"/>
                      <a:pt x="202" y="384"/>
                    </a:cubicBezTo>
                    <a:cubicBezTo>
                      <a:pt x="198" y="385"/>
                      <a:pt x="195" y="389"/>
                      <a:pt x="193" y="393"/>
                    </a:cubicBezTo>
                    <a:cubicBezTo>
                      <a:pt x="193" y="394"/>
                      <a:pt x="189" y="402"/>
                      <a:pt x="187" y="402"/>
                    </a:cubicBezTo>
                    <a:cubicBezTo>
                      <a:pt x="184" y="402"/>
                      <a:pt x="186" y="399"/>
                      <a:pt x="187" y="398"/>
                    </a:cubicBezTo>
                    <a:cubicBezTo>
                      <a:pt x="189" y="393"/>
                      <a:pt x="192" y="388"/>
                      <a:pt x="196" y="384"/>
                    </a:cubicBezTo>
                    <a:cubicBezTo>
                      <a:pt x="199" y="381"/>
                      <a:pt x="202" y="382"/>
                      <a:pt x="206" y="381"/>
                    </a:cubicBezTo>
                    <a:cubicBezTo>
                      <a:pt x="211" y="379"/>
                      <a:pt x="210" y="373"/>
                      <a:pt x="206" y="373"/>
                    </a:cubicBezTo>
                    <a:cubicBezTo>
                      <a:pt x="206" y="373"/>
                      <a:pt x="205" y="374"/>
                      <a:pt x="204" y="374"/>
                    </a:cubicBezTo>
                    <a:cubicBezTo>
                      <a:pt x="202" y="375"/>
                      <a:pt x="201" y="375"/>
                      <a:pt x="199" y="375"/>
                    </a:cubicBezTo>
                    <a:cubicBezTo>
                      <a:pt x="198" y="375"/>
                      <a:pt x="197" y="375"/>
                      <a:pt x="195" y="374"/>
                    </a:cubicBezTo>
                    <a:cubicBezTo>
                      <a:pt x="191" y="373"/>
                      <a:pt x="187" y="374"/>
                      <a:pt x="183" y="373"/>
                    </a:cubicBezTo>
                    <a:cubicBezTo>
                      <a:pt x="178" y="373"/>
                      <a:pt x="173" y="372"/>
                      <a:pt x="167" y="371"/>
                    </a:cubicBezTo>
                    <a:cubicBezTo>
                      <a:pt x="161" y="370"/>
                      <a:pt x="153" y="371"/>
                      <a:pt x="148" y="368"/>
                    </a:cubicBezTo>
                    <a:cubicBezTo>
                      <a:pt x="147" y="368"/>
                      <a:pt x="146" y="367"/>
                      <a:pt x="145" y="367"/>
                    </a:cubicBezTo>
                    <a:cubicBezTo>
                      <a:pt x="145" y="367"/>
                      <a:pt x="144" y="367"/>
                      <a:pt x="144" y="368"/>
                    </a:cubicBezTo>
                    <a:cubicBezTo>
                      <a:pt x="144" y="368"/>
                      <a:pt x="141" y="370"/>
                      <a:pt x="140" y="370"/>
                    </a:cubicBezTo>
                    <a:cubicBezTo>
                      <a:pt x="140" y="370"/>
                      <a:pt x="140" y="370"/>
                      <a:pt x="140" y="370"/>
                    </a:cubicBezTo>
                    <a:cubicBezTo>
                      <a:pt x="138" y="370"/>
                      <a:pt x="136" y="369"/>
                      <a:pt x="136" y="369"/>
                    </a:cubicBezTo>
                    <a:cubicBezTo>
                      <a:pt x="136" y="369"/>
                      <a:pt x="133" y="372"/>
                      <a:pt x="133" y="373"/>
                    </a:cubicBezTo>
                    <a:cubicBezTo>
                      <a:pt x="131" y="375"/>
                      <a:pt x="131" y="379"/>
                      <a:pt x="129" y="380"/>
                    </a:cubicBezTo>
                    <a:cubicBezTo>
                      <a:pt x="126" y="382"/>
                      <a:pt x="126" y="382"/>
                      <a:pt x="126" y="382"/>
                    </a:cubicBezTo>
                    <a:cubicBezTo>
                      <a:pt x="124" y="383"/>
                      <a:pt x="121" y="382"/>
                      <a:pt x="123" y="385"/>
                    </a:cubicBezTo>
                    <a:cubicBezTo>
                      <a:pt x="125" y="388"/>
                      <a:pt x="128" y="390"/>
                      <a:pt x="130" y="392"/>
                    </a:cubicBezTo>
                    <a:cubicBezTo>
                      <a:pt x="131" y="393"/>
                      <a:pt x="131" y="396"/>
                      <a:pt x="132" y="396"/>
                    </a:cubicBezTo>
                    <a:cubicBezTo>
                      <a:pt x="133" y="396"/>
                      <a:pt x="133" y="396"/>
                      <a:pt x="133" y="396"/>
                    </a:cubicBezTo>
                    <a:cubicBezTo>
                      <a:pt x="133" y="396"/>
                      <a:pt x="134" y="396"/>
                      <a:pt x="134" y="396"/>
                    </a:cubicBezTo>
                    <a:cubicBezTo>
                      <a:pt x="134" y="396"/>
                      <a:pt x="134" y="396"/>
                      <a:pt x="135" y="396"/>
                    </a:cubicBezTo>
                    <a:cubicBezTo>
                      <a:pt x="135" y="396"/>
                      <a:pt x="135" y="396"/>
                      <a:pt x="135" y="396"/>
                    </a:cubicBezTo>
                    <a:cubicBezTo>
                      <a:pt x="136" y="396"/>
                      <a:pt x="139" y="397"/>
                      <a:pt x="139" y="398"/>
                    </a:cubicBezTo>
                    <a:cubicBezTo>
                      <a:pt x="140" y="398"/>
                      <a:pt x="140" y="398"/>
                      <a:pt x="140" y="398"/>
                    </a:cubicBezTo>
                    <a:cubicBezTo>
                      <a:pt x="140" y="398"/>
                      <a:pt x="140" y="398"/>
                      <a:pt x="140" y="398"/>
                    </a:cubicBezTo>
                    <a:cubicBezTo>
                      <a:pt x="139" y="398"/>
                      <a:pt x="138" y="399"/>
                      <a:pt x="138" y="399"/>
                    </a:cubicBezTo>
                    <a:cubicBezTo>
                      <a:pt x="137" y="399"/>
                      <a:pt x="136" y="399"/>
                      <a:pt x="135" y="399"/>
                    </a:cubicBezTo>
                    <a:cubicBezTo>
                      <a:pt x="135" y="399"/>
                      <a:pt x="134" y="399"/>
                      <a:pt x="134" y="398"/>
                    </a:cubicBezTo>
                    <a:cubicBezTo>
                      <a:pt x="134" y="398"/>
                      <a:pt x="133" y="398"/>
                      <a:pt x="133" y="398"/>
                    </a:cubicBezTo>
                    <a:cubicBezTo>
                      <a:pt x="132" y="398"/>
                      <a:pt x="131" y="400"/>
                      <a:pt x="130" y="400"/>
                    </a:cubicBezTo>
                    <a:cubicBezTo>
                      <a:pt x="129" y="400"/>
                      <a:pt x="129" y="400"/>
                      <a:pt x="128" y="400"/>
                    </a:cubicBezTo>
                    <a:cubicBezTo>
                      <a:pt x="126" y="400"/>
                      <a:pt x="124" y="399"/>
                      <a:pt x="122" y="397"/>
                    </a:cubicBezTo>
                    <a:cubicBezTo>
                      <a:pt x="120" y="396"/>
                      <a:pt x="119" y="395"/>
                      <a:pt x="118" y="395"/>
                    </a:cubicBezTo>
                    <a:cubicBezTo>
                      <a:pt x="117" y="395"/>
                      <a:pt x="116" y="396"/>
                      <a:pt x="114" y="396"/>
                    </a:cubicBezTo>
                    <a:cubicBezTo>
                      <a:pt x="112" y="396"/>
                      <a:pt x="108" y="394"/>
                      <a:pt x="106" y="394"/>
                    </a:cubicBezTo>
                    <a:cubicBezTo>
                      <a:pt x="105" y="394"/>
                      <a:pt x="105" y="394"/>
                      <a:pt x="105" y="394"/>
                    </a:cubicBezTo>
                    <a:cubicBezTo>
                      <a:pt x="103" y="395"/>
                      <a:pt x="103" y="396"/>
                      <a:pt x="102" y="398"/>
                    </a:cubicBezTo>
                    <a:cubicBezTo>
                      <a:pt x="102" y="397"/>
                      <a:pt x="102" y="397"/>
                      <a:pt x="102" y="397"/>
                    </a:cubicBezTo>
                    <a:cubicBezTo>
                      <a:pt x="101" y="403"/>
                      <a:pt x="102" y="406"/>
                      <a:pt x="108" y="407"/>
                    </a:cubicBezTo>
                    <a:cubicBezTo>
                      <a:pt x="110" y="407"/>
                      <a:pt x="112" y="407"/>
                      <a:pt x="113" y="408"/>
                    </a:cubicBezTo>
                    <a:cubicBezTo>
                      <a:pt x="122" y="410"/>
                      <a:pt x="124" y="421"/>
                      <a:pt x="127" y="429"/>
                    </a:cubicBezTo>
                    <a:cubicBezTo>
                      <a:pt x="129" y="433"/>
                      <a:pt x="130" y="437"/>
                      <a:pt x="132" y="441"/>
                    </a:cubicBezTo>
                    <a:cubicBezTo>
                      <a:pt x="133" y="442"/>
                      <a:pt x="132" y="443"/>
                      <a:pt x="132" y="444"/>
                    </a:cubicBezTo>
                    <a:cubicBezTo>
                      <a:pt x="132" y="444"/>
                      <a:pt x="131" y="445"/>
                      <a:pt x="131" y="446"/>
                    </a:cubicBezTo>
                    <a:cubicBezTo>
                      <a:pt x="131" y="446"/>
                      <a:pt x="132" y="446"/>
                      <a:pt x="133" y="446"/>
                    </a:cubicBezTo>
                    <a:cubicBezTo>
                      <a:pt x="134" y="446"/>
                      <a:pt x="135" y="446"/>
                      <a:pt x="136" y="446"/>
                    </a:cubicBezTo>
                    <a:cubicBezTo>
                      <a:pt x="137" y="446"/>
                      <a:pt x="139" y="446"/>
                      <a:pt x="140" y="446"/>
                    </a:cubicBezTo>
                    <a:cubicBezTo>
                      <a:pt x="140" y="446"/>
                      <a:pt x="140" y="446"/>
                      <a:pt x="141" y="446"/>
                    </a:cubicBezTo>
                    <a:cubicBezTo>
                      <a:pt x="146" y="447"/>
                      <a:pt x="146" y="454"/>
                      <a:pt x="150" y="456"/>
                    </a:cubicBezTo>
                    <a:cubicBezTo>
                      <a:pt x="150" y="457"/>
                      <a:pt x="151" y="457"/>
                      <a:pt x="151" y="457"/>
                    </a:cubicBezTo>
                    <a:cubicBezTo>
                      <a:pt x="152" y="457"/>
                      <a:pt x="152" y="457"/>
                      <a:pt x="153" y="456"/>
                    </a:cubicBezTo>
                    <a:cubicBezTo>
                      <a:pt x="154" y="456"/>
                      <a:pt x="154" y="456"/>
                      <a:pt x="155" y="456"/>
                    </a:cubicBezTo>
                    <a:cubicBezTo>
                      <a:pt x="155" y="456"/>
                      <a:pt x="155" y="456"/>
                      <a:pt x="156" y="456"/>
                    </a:cubicBezTo>
                    <a:cubicBezTo>
                      <a:pt x="157" y="456"/>
                      <a:pt x="157" y="456"/>
                      <a:pt x="158" y="457"/>
                    </a:cubicBezTo>
                    <a:cubicBezTo>
                      <a:pt x="159" y="457"/>
                      <a:pt x="159" y="458"/>
                      <a:pt x="160" y="458"/>
                    </a:cubicBezTo>
                    <a:cubicBezTo>
                      <a:pt x="160" y="459"/>
                      <a:pt x="160" y="459"/>
                      <a:pt x="160" y="459"/>
                    </a:cubicBezTo>
                    <a:cubicBezTo>
                      <a:pt x="161" y="459"/>
                      <a:pt x="161" y="459"/>
                      <a:pt x="161" y="459"/>
                    </a:cubicBezTo>
                    <a:cubicBezTo>
                      <a:pt x="161" y="458"/>
                      <a:pt x="161" y="458"/>
                      <a:pt x="161" y="458"/>
                    </a:cubicBezTo>
                    <a:cubicBezTo>
                      <a:pt x="161" y="458"/>
                      <a:pt x="161" y="458"/>
                      <a:pt x="161" y="458"/>
                    </a:cubicBezTo>
                    <a:cubicBezTo>
                      <a:pt x="161" y="458"/>
                      <a:pt x="161" y="458"/>
                      <a:pt x="162" y="458"/>
                    </a:cubicBezTo>
                    <a:cubicBezTo>
                      <a:pt x="162" y="458"/>
                      <a:pt x="163" y="458"/>
                      <a:pt x="163" y="458"/>
                    </a:cubicBezTo>
                    <a:cubicBezTo>
                      <a:pt x="164" y="458"/>
                      <a:pt x="164" y="458"/>
                      <a:pt x="165" y="458"/>
                    </a:cubicBezTo>
                    <a:cubicBezTo>
                      <a:pt x="166" y="458"/>
                      <a:pt x="166" y="458"/>
                      <a:pt x="167" y="458"/>
                    </a:cubicBezTo>
                    <a:cubicBezTo>
                      <a:pt x="169" y="459"/>
                      <a:pt x="171" y="460"/>
                      <a:pt x="173" y="461"/>
                    </a:cubicBezTo>
                    <a:cubicBezTo>
                      <a:pt x="172" y="462"/>
                      <a:pt x="171" y="462"/>
                      <a:pt x="170" y="462"/>
                    </a:cubicBezTo>
                    <a:cubicBezTo>
                      <a:pt x="170" y="462"/>
                      <a:pt x="170" y="462"/>
                      <a:pt x="169" y="462"/>
                    </a:cubicBezTo>
                    <a:cubicBezTo>
                      <a:pt x="173" y="467"/>
                      <a:pt x="171" y="469"/>
                      <a:pt x="168" y="474"/>
                    </a:cubicBezTo>
                    <a:cubicBezTo>
                      <a:pt x="167" y="476"/>
                      <a:pt x="164" y="479"/>
                      <a:pt x="164" y="481"/>
                    </a:cubicBezTo>
                    <a:cubicBezTo>
                      <a:pt x="164" y="484"/>
                      <a:pt x="164" y="487"/>
                      <a:pt x="164" y="490"/>
                    </a:cubicBezTo>
                    <a:cubicBezTo>
                      <a:pt x="165" y="490"/>
                      <a:pt x="166" y="489"/>
                      <a:pt x="167" y="488"/>
                    </a:cubicBezTo>
                    <a:cubicBezTo>
                      <a:pt x="168" y="487"/>
                      <a:pt x="170" y="485"/>
                      <a:pt x="172" y="484"/>
                    </a:cubicBezTo>
                    <a:cubicBezTo>
                      <a:pt x="173" y="482"/>
                      <a:pt x="175" y="481"/>
                      <a:pt x="178" y="479"/>
                    </a:cubicBezTo>
                    <a:cubicBezTo>
                      <a:pt x="183" y="476"/>
                      <a:pt x="190" y="474"/>
                      <a:pt x="196" y="473"/>
                    </a:cubicBezTo>
                    <a:cubicBezTo>
                      <a:pt x="199" y="472"/>
                      <a:pt x="202" y="472"/>
                      <a:pt x="205" y="471"/>
                    </a:cubicBezTo>
                    <a:cubicBezTo>
                      <a:pt x="207" y="471"/>
                      <a:pt x="207" y="471"/>
                      <a:pt x="207" y="471"/>
                    </a:cubicBezTo>
                    <a:cubicBezTo>
                      <a:pt x="208" y="471"/>
                      <a:pt x="210" y="471"/>
                      <a:pt x="211" y="471"/>
                    </a:cubicBezTo>
                    <a:cubicBezTo>
                      <a:pt x="212" y="471"/>
                      <a:pt x="213" y="471"/>
                      <a:pt x="213" y="471"/>
                    </a:cubicBezTo>
                    <a:cubicBezTo>
                      <a:pt x="216" y="471"/>
                      <a:pt x="217" y="473"/>
                      <a:pt x="219" y="474"/>
                    </a:cubicBezTo>
                    <a:cubicBezTo>
                      <a:pt x="222" y="476"/>
                      <a:pt x="226" y="479"/>
                      <a:pt x="229" y="482"/>
                    </a:cubicBezTo>
                    <a:cubicBezTo>
                      <a:pt x="230" y="483"/>
                      <a:pt x="230" y="483"/>
                      <a:pt x="230" y="483"/>
                    </a:cubicBezTo>
                    <a:cubicBezTo>
                      <a:pt x="231" y="484"/>
                      <a:pt x="233" y="486"/>
                      <a:pt x="234" y="487"/>
                    </a:cubicBezTo>
                    <a:cubicBezTo>
                      <a:pt x="236" y="488"/>
                      <a:pt x="236" y="488"/>
                      <a:pt x="236" y="488"/>
                    </a:cubicBezTo>
                    <a:cubicBezTo>
                      <a:pt x="239" y="490"/>
                      <a:pt x="241" y="492"/>
                      <a:pt x="243" y="494"/>
                    </a:cubicBezTo>
                    <a:cubicBezTo>
                      <a:pt x="244" y="496"/>
                      <a:pt x="244" y="497"/>
                      <a:pt x="245" y="499"/>
                    </a:cubicBezTo>
                    <a:cubicBezTo>
                      <a:pt x="246" y="500"/>
                      <a:pt x="246" y="500"/>
                      <a:pt x="246" y="500"/>
                    </a:cubicBezTo>
                    <a:cubicBezTo>
                      <a:pt x="248" y="502"/>
                      <a:pt x="249" y="503"/>
                      <a:pt x="251" y="505"/>
                    </a:cubicBezTo>
                    <a:cubicBezTo>
                      <a:pt x="252" y="505"/>
                      <a:pt x="252" y="506"/>
                      <a:pt x="252" y="506"/>
                    </a:cubicBezTo>
                    <a:cubicBezTo>
                      <a:pt x="254" y="506"/>
                      <a:pt x="255" y="506"/>
                      <a:pt x="257" y="506"/>
                    </a:cubicBezTo>
                    <a:cubicBezTo>
                      <a:pt x="259" y="506"/>
                      <a:pt x="260" y="506"/>
                      <a:pt x="262" y="505"/>
                    </a:cubicBezTo>
                    <a:cubicBezTo>
                      <a:pt x="262" y="442"/>
                      <a:pt x="262" y="442"/>
                      <a:pt x="262" y="442"/>
                    </a:cubicBezTo>
                    <a:cubicBezTo>
                      <a:pt x="262" y="423"/>
                      <a:pt x="262" y="404"/>
                      <a:pt x="262" y="384"/>
                    </a:cubicBezTo>
                    <a:cubicBezTo>
                      <a:pt x="262" y="383"/>
                      <a:pt x="262" y="383"/>
                      <a:pt x="262" y="383"/>
                    </a:cubicBezTo>
                    <a:cubicBezTo>
                      <a:pt x="262" y="380"/>
                      <a:pt x="264" y="379"/>
                      <a:pt x="267" y="378"/>
                    </a:cubicBezTo>
                    <a:cubicBezTo>
                      <a:pt x="269" y="377"/>
                      <a:pt x="272" y="376"/>
                      <a:pt x="274" y="376"/>
                    </a:cubicBezTo>
                    <a:cubicBezTo>
                      <a:pt x="275" y="376"/>
                      <a:pt x="276" y="375"/>
                      <a:pt x="277" y="375"/>
                    </a:cubicBezTo>
                    <a:cubicBezTo>
                      <a:pt x="289" y="372"/>
                      <a:pt x="302" y="368"/>
                      <a:pt x="314" y="365"/>
                    </a:cubicBezTo>
                    <a:cubicBezTo>
                      <a:pt x="326" y="362"/>
                      <a:pt x="326" y="362"/>
                      <a:pt x="326" y="362"/>
                    </a:cubicBezTo>
                    <a:cubicBezTo>
                      <a:pt x="329" y="361"/>
                      <a:pt x="332" y="360"/>
                      <a:pt x="334" y="360"/>
                    </a:cubicBezTo>
                    <a:cubicBezTo>
                      <a:pt x="337" y="359"/>
                      <a:pt x="337" y="359"/>
                      <a:pt x="337" y="359"/>
                    </a:cubicBezTo>
                    <a:cubicBezTo>
                      <a:pt x="337" y="359"/>
                      <a:pt x="337" y="359"/>
                      <a:pt x="338" y="359"/>
                    </a:cubicBezTo>
                    <a:cubicBezTo>
                      <a:pt x="339" y="359"/>
                      <a:pt x="340" y="359"/>
                      <a:pt x="341" y="360"/>
                    </a:cubicBezTo>
                    <a:cubicBezTo>
                      <a:pt x="341" y="358"/>
                      <a:pt x="341" y="356"/>
                      <a:pt x="342" y="354"/>
                    </a:cubicBezTo>
                    <a:cubicBezTo>
                      <a:pt x="343" y="353"/>
                      <a:pt x="345" y="351"/>
                      <a:pt x="347" y="351"/>
                    </a:cubicBezTo>
                    <a:cubicBezTo>
                      <a:pt x="347" y="351"/>
                      <a:pt x="347" y="351"/>
                      <a:pt x="348" y="351"/>
                    </a:cubicBezTo>
                    <a:cubicBezTo>
                      <a:pt x="348" y="351"/>
                      <a:pt x="349" y="351"/>
                      <a:pt x="350" y="351"/>
                    </a:cubicBezTo>
                    <a:cubicBezTo>
                      <a:pt x="350" y="351"/>
                      <a:pt x="350" y="351"/>
                      <a:pt x="350" y="351"/>
                    </a:cubicBezTo>
                    <a:cubicBezTo>
                      <a:pt x="350" y="351"/>
                      <a:pt x="350" y="351"/>
                      <a:pt x="350" y="351"/>
                    </a:cubicBezTo>
                    <a:cubicBezTo>
                      <a:pt x="351" y="351"/>
                      <a:pt x="351" y="351"/>
                      <a:pt x="351" y="351"/>
                    </a:cubicBezTo>
                    <a:cubicBezTo>
                      <a:pt x="351" y="351"/>
                      <a:pt x="351" y="350"/>
                      <a:pt x="351" y="350"/>
                    </a:cubicBezTo>
                    <a:cubicBezTo>
                      <a:pt x="351" y="350"/>
                      <a:pt x="351" y="350"/>
                      <a:pt x="351" y="350"/>
                    </a:cubicBezTo>
                    <a:cubicBezTo>
                      <a:pt x="351" y="350"/>
                      <a:pt x="352" y="350"/>
                      <a:pt x="353" y="350"/>
                    </a:cubicBezTo>
                    <a:cubicBezTo>
                      <a:pt x="353" y="350"/>
                      <a:pt x="353" y="350"/>
                      <a:pt x="353" y="350"/>
                    </a:cubicBezTo>
                    <a:cubicBezTo>
                      <a:pt x="353" y="350"/>
                      <a:pt x="353" y="350"/>
                      <a:pt x="353" y="350"/>
                    </a:cubicBezTo>
                    <a:cubicBezTo>
                      <a:pt x="354" y="350"/>
                      <a:pt x="354" y="350"/>
                      <a:pt x="354" y="350"/>
                    </a:cubicBezTo>
                    <a:cubicBezTo>
                      <a:pt x="355" y="350"/>
                      <a:pt x="355" y="350"/>
                      <a:pt x="355" y="350"/>
                    </a:cubicBezTo>
                    <a:cubicBezTo>
                      <a:pt x="356" y="350"/>
                      <a:pt x="356" y="350"/>
                      <a:pt x="356" y="350"/>
                    </a:cubicBezTo>
                    <a:cubicBezTo>
                      <a:pt x="357" y="350"/>
                      <a:pt x="358" y="348"/>
                      <a:pt x="359" y="348"/>
                    </a:cubicBezTo>
                    <a:cubicBezTo>
                      <a:pt x="359" y="348"/>
                      <a:pt x="359" y="348"/>
                      <a:pt x="359" y="348"/>
                    </a:cubicBezTo>
                    <a:cubicBezTo>
                      <a:pt x="363" y="348"/>
                      <a:pt x="359" y="351"/>
                      <a:pt x="358" y="353"/>
                    </a:cubicBezTo>
                    <a:cubicBezTo>
                      <a:pt x="357" y="355"/>
                      <a:pt x="356" y="358"/>
                      <a:pt x="359" y="359"/>
                    </a:cubicBezTo>
                    <a:cubicBezTo>
                      <a:pt x="359" y="359"/>
                      <a:pt x="359" y="359"/>
                      <a:pt x="359" y="359"/>
                    </a:cubicBezTo>
                    <a:cubicBezTo>
                      <a:pt x="359" y="359"/>
                      <a:pt x="360" y="358"/>
                      <a:pt x="361" y="358"/>
                    </a:cubicBezTo>
                    <a:cubicBezTo>
                      <a:pt x="361" y="358"/>
                      <a:pt x="362" y="358"/>
                      <a:pt x="362" y="358"/>
                    </a:cubicBezTo>
                    <a:cubicBezTo>
                      <a:pt x="363" y="358"/>
                      <a:pt x="363" y="358"/>
                      <a:pt x="363" y="360"/>
                    </a:cubicBezTo>
                    <a:cubicBezTo>
                      <a:pt x="364" y="359"/>
                      <a:pt x="365" y="357"/>
                      <a:pt x="366" y="357"/>
                    </a:cubicBezTo>
                    <a:cubicBezTo>
                      <a:pt x="366" y="357"/>
                      <a:pt x="366" y="357"/>
                      <a:pt x="366" y="357"/>
                    </a:cubicBezTo>
                    <a:cubicBezTo>
                      <a:pt x="367" y="357"/>
                      <a:pt x="369" y="357"/>
                      <a:pt x="369" y="358"/>
                    </a:cubicBezTo>
                    <a:cubicBezTo>
                      <a:pt x="370" y="357"/>
                      <a:pt x="369" y="355"/>
                      <a:pt x="369" y="354"/>
                    </a:cubicBezTo>
                    <a:cubicBezTo>
                      <a:pt x="369" y="353"/>
                      <a:pt x="370" y="351"/>
                      <a:pt x="370" y="350"/>
                    </a:cubicBezTo>
                    <a:cubicBezTo>
                      <a:pt x="372" y="346"/>
                      <a:pt x="372" y="345"/>
                      <a:pt x="369" y="342"/>
                    </a:cubicBezTo>
                    <a:cubicBezTo>
                      <a:pt x="368" y="341"/>
                      <a:pt x="367" y="340"/>
                      <a:pt x="367" y="339"/>
                    </a:cubicBezTo>
                    <a:cubicBezTo>
                      <a:pt x="366" y="337"/>
                      <a:pt x="366" y="337"/>
                      <a:pt x="366" y="337"/>
                    </a:cubicBezTo>
                    <a:cubicBezTo>
                      <a:pt x="366" y="337"/>
                      <a:pt x="366" y="337"/>
                      <a:pt x="367" y="337"/>
                    </a:cubicBezTo>
                    <a:cubicBezTo>
                      <a:pt x="367" y="337"/>
                      <a:pt x="367" y="337"/>
                      <a:pt x="367" y="337"/>
                    </a:cubicBezTo>
                    <a:cubicBezTo>
                      <a:pt x="367" y="337"/>
                      <a:pt x="368" y="337"/>
                      <a:pt x="368" y="337"/>
                    </a:cubicBezTo>
                    <a:cubicBezTo>
                      <a:pt x="369" y="337"/>
                      <a:pt x="369" y="337"/>
                      <a:pt x="370" y="337"/>
                    </a:cubicBezTo>
                    <a:cubicBezTo>
                      <a:pt x="372" y="337"/>
                      <a:pt x="373" y="338"/>
                      <a:pt x="374" y="340"/>
                    </a:cubicBezTo>
                    <a:cubicBezTo>
                      <a:pt x="374" y="341"/>
                      <a:pt x="374" y="343"/>
                      <a:pt x="374" y="344"/>
                    </a:cubicBezTo>
                    <a:cubicBezTo>
                      <a:pt x="374" y="345"/>
                      <a:pt x="370" y="346"/>
                      <a:pt x="373" y="347"/>
                    </a:cubicBezTo>
                    <a:cubicBezTo>
                      <a:pt x="373" y="347"/>
                      <a:pt x="373" y="347"/>
                      <a:pt x="373" y="347"/>
                    </a:cubicBezTo>
                    <a:cubicBezTo>
                      <a:pt x="374" y="347"/>
                      <a:pt x="377" y="346"/>
                      <a:pt x="378" y="346"/>
                    </a:cubicBezTo>
                    <a:cubicBezTo>
                      <a:pt x="378" y="346"/>
                      <a:pt x="379" y="346"/>
                      <a:pt x="379" y="346"/>
                    </a:cubicBezTo>
                    <a:cubicBezTo>
                      <a:pt x="380" y="346"/>
                      <a:pt x="380" y="346"/>
                      <a:pt x="380" y="346"/>
                    </a:cubicBezTo>
                    <a:cubicBezTo>
                      <a:pt x="381" y="346"/>
                      <a:pt x="381" y="346"/>
                      <a:pt x="381" y="346"/>
                    </a:cubicBezTo>
                    <a:cubicBezTo>
                      <a:pt x="382" y="346"/>
                      <a:pt x="382" y="346"/>
                      <a:pt x="382" y="346"/>
                    </a:cubicBezTo>
                    <a:cubicBezTo>
                      <a:pt x="384" y="346"/>
                      <a:pt x="386" y="345"/>
                      <a:pt x="388" y="345"/>
                    </a:cubicBezTo>
                    <a:cubicBezTo>
                      <a:pt x="389" y="345"/>
                      <a:pt x="389" y="345"/>
                      <a:pt x="390" y="345"/>
                    </a:cubicBezTo>
                    <a:cubicBezTo>
                      <a:pt x="393" y="346"/>
                      <a:pt x="397" y="345"/>
                      <a:pt x="400" y="347"/>
                    </a:cubicBezTo>
                    <a:cubicBezTo>
                      <a:pt x="399" y="349"/>
                      <a:pt x="396" y="348"/>
                      <a:pt x="395" y="350"/>
                    </a:cubicBezTo>
                    <a:cubicBezTo>
                      <a:pt x="393" y="352"/>
                      <a:pt x="393" y="353"/>
                      <a:pt x="391" y="353"/>
                    </a:cubicBezTo>
                    <a:cubicBezTo>
                      <a:pt x="391" y="353"/>
                      <a:pt x="390" y="353"/>
                      <a:pt x="389" y="353"/>
                    </a:cubicBezTo>
                    <a:cubicBezTo>
                      <a:pt x="387" y="353"/>
                      <a:pt x="385" y="352"/>
                      <a:pt x="382" y="352"/>
                    </a:cubicBezTo>
                    <a:cubicBezTo>
                      <a:pt x="381" y="352"/>
                      <a:pt x="379" y="351"/>
                      <a:pt x="377" y="351"/>
                    </a:cubicBezTo>
                    <a:cubicBezTo>
                      <a:pt x="377" y="351"/>
                      <a:pt x="376" y="351"/>
                      <a:pt x="376" y="352"/>
                    </a:cubicBezTo>
                    <a:cubicBezTo>
                      <a:pt x="376" y="351"/>
                      <a:pt x="376" y="351"/>
                      <a:pt x="377" y="350"/>
                    </a:cubicBezTo>
                    <a:cubicBezTo>
                      <a:pt x="376" y="350"/>
                      <a:pt x="375" y="350"/>
                      <a:pt x="374" y="350"/>
                    </a:cubicBezTo>
                    <a:cubicBezTo>
                      <a:pt x="374" y="350"/>
                      <a:pt x="373" y="350"/>
                      <a:pt x="373" y="350"/>
                    </a:cubicBezTo>
                    <a:cubicBezTo>
                      <a:pt x="375" y="351"/>
                      <a:pt x="375" y="352"/>
                      <a:pt x="373" y="352"/>
                    </a:cubicBezTo>
                    <a:cubicBezTo>
                      <a:pt x="374" y="353"/>
                      <a:pt x="375" y="353"/>
                      <a:pt x="375" y="354"/>
                    </a:cubicBezTo>
                    <a:cubicBezTo>
                      <a:pt x="375" y="354"/>
                      <a:pt x="373" y="354"/>
                      <a:pt x="372" y="354"/>
                    </a:cubicBezTo>
                    <a:cubicBezTo>
                      <a:pt x="372" y="355"/>
                      <a:pt x="376" y="356"/>
                      <a:pt x="373" y="356"/>
                    </a:cubicBezTo>
                    <a:cubicBezTo>
                      <a:pt x="375" y="358"/>
                      <a:pt x="369" y="361"/>
                      <a:pt x="373" y="363"/>
                    </a:cubicBezTo>
                    <a:cubicBezTo>
                      <a:pt x="373" y="364"/>
                      <a:pt x="374" y="364"/>
                      <a:pt x="374" y="364"/>
                    </a:cubicBezTo>
                    <a:cubicBezTo>
                      <a:pt x="375" y="364"/>
                      <a:pt x="376" y="364"/>
                      <a:pt x="377" y="363"/>
                    </a:cubicBezTo>
                    <a:cubicBezTo>
                      <a:pt x="378" y="363"/>
                      <a:pt x="378" y="363"/>
                      <a:pt x="379" y="363"/>
                    </a:cubicBezTo>
                    <a:cubicBezTo>
                      <a:pt x="380" y="363"/>
                      <a:pt x="381" y="363"/>
                      <a:pt x="382" y="365"/>
                    </a:cubicBezTo>
                    <a:cubicBezTo>
                      <a:pt x="385" y="370"/>
                      <a:pt x="383" y="378"/>
                      <a:pt x="383" y="383"/>
                    </a:cubicBezTo>
                    <a:cubicBezTo>
                      <a:pt x="385" y="385"/>
                      <a:pt x="385" y="385"/>
                      <a:pt x="385" y="385"/>
                    </a:cubicBezTo>
                    <a:cubicBezTo>
                      <a:pt x="386" y="385"/>
                      <a:pt x="387" y="386"/>
                      <a:pt x="389" y="387"/>
                    </a:cubicBezTo>
                    <a:cubicBezTo>
                      <a:pt x="401" y="394"/>
                      <a:pt x="411" y="400"/>
                      <a:pt x="414" y="404"/>
                    </a:cubicBezTo>
                    <a:cubicBezTo>
                      <a:pt x="417" y="409"/>
                      <a:pt x="421" y="414"/>
                      <a:pt x="422" y="415"/>
                    </a:cubicBezTo>
                    <a:cubicBezTo>
                      <a:pt x="425" y="418"/>
                      <a:pt x="429" y="421"/>
                      <a:pt x="432" y="425"/>
                    </a:cubicBezTo>
                    <a:cubicBezTo>
                      <a:pt x="433" y="426"/>
                      <a:pt x="433" y="426"/>
                      <a:pt x="434" y="427"/>
                    </a:cubicBezTo>
                    <a:cubicBezTo>
                      <a:pt x="434" y="428"/>
                      <a:pt x="434" y="428"/>
                      <a:pt x="434" y="428"/>
                    </a:cubicBezTo>
                    <a:cubicBezTo>
                      <a:pt x="435" y="428"/>
                      <a:pt x="436" y="429"/>
                      <a:pt x="437" y="430"/>
                    </a:cubicBezTo>
                    <a:cubicBezTo>
                      <a:pt x="437" y="430"/>
                      <a:pt x="438" y="431"/>
                      <a:pt x="438" y="431"/>
                    </a:cubicBezTo>
                    <a:cubicBezTo>
                      <a:pt x="439" y="431"/>
                      <a:pt x="439" y="431"/>
                      <a:pt x="440" y="431"/>
                    </a:cubicBezTo>
                    <a:cubicBezTo>
                      <a:pt x="440" y="431"/>
                      <a:pt x="440" y="431"/>
                      <a:pt x="440" y="431"/>
                    </a:cubicBezTo>
                    <a:cubicBezTo>
                      <a:pt x="444" y="430"/>
                      <a:pt x="449" y="430"/>
                      <a:pt x="453" y="429"/>
                    </a:cubicBezTo>
                    <a:cubicBezTo>
                      <a:pt x="458" y="428"/>
                      <a:pt x="464" y="427"/>
                      <a:pt x="470" y="426"/>
                    </a:cubicBezTo>
                    <a:cubicBezTo>
                      <a:pt x="472" y="426"/>
                      <a:pt x="473" y="426"/>
                      <a:pt x="474" y="426"/>
                    </a:cubicBezTo>
                    <a:cubicBezTo>
                      <a:pt x="479" y="426"/>
                      <a:pt x="483" y="427"/>
                      <a:pt x="487" y="427"/>
                    </a:cubicBezTo>
                    <a:cubicBezTo>
                      <a:pt x="489" y="427"/>
                      <a:pt x="489" y="427"/>
                      <a:pt x="489" y="427"/>
                    </a:cubicBezTo>
                    <a:cubicBezTo>
                      <a:pt x="492" y="427"/>
                      <a:pt x="494" y="427"/>
                      <a:pt x="497" y="428"/>
                    </a:cubicBezTo>
                    <a:cubicBezTo>
                      <a:pt x="505" y="428"/>
                      <a:pt x="505" y="428"/>
                      <a:pt x="505" y="428"/>
                    </a:cubicBezTo>
                    <a:cubicBezTo>
                      <a:pt x="507" y="428"/>
                      <a:pt x="509" y="428"/>
                      <a:pt x="510" y="427"/>
                    </a:cubicBezTo>
                    <a:cubicBezTo>
                      <a:pt x="511" y="427"/>
                      <a:pt x="511" y="427"/>
                      <a:pt x="511" y="427"/>
                    </a:cubicBezTo>
                    <a:cubicBezTo>
                      <a:pt x="511" y="426"/>
                      <a:pt x="512" y="426"/>
                      <a:pt x="512" y="426"/>
                    </a:cubicBezTo>
                    <a:cubicBezTo>
                      <a:pt x="515" y="424"/>
                      <a:pt x="517" y="423"/>
                      <a:pt x="519" y="423"/>
                    </a:cubicBezTo>
                    <a:cubicBezTo>
                      <a:pt x="520" y="423"/>
                      <a:pt x="520" y="423"/>
                      <a:pt x="520" y="423"/>
                    </a:cubicBezTo>
                    <a:cubicBezTo>
                      <a:pt x="522" y="423"/>
                      <a:pt x="523" y="424"/>
                      <a:pt x="525" y="426"/>
                    </a:cubicBezTo>
                    <a:cubicBezTo>
                      <a:pt x="526" y="427"/>
                      <a:pt x="528" y="429"/>
                      <a:pt x="530" y="431"/>
                    </a:cubicBezTo>
                    <a:cubicBezTo>
                      <a:pt x="532" y="433"/>
                      <a:pt x="532" y="433"/>
                      <a:pt x="532" y="433"/>
                    </a:cubicBezTo>
                    <a:cubicBezTo>
                      <a:pt x="533" y="434"/>
                      <a:pt x="533" y="434"/>
                      <a:pt x="533" y="434"/>
                    </a:cubicBezTo>
                    <a:cubicBezTo>
                      <a:pt x="535" y="436"/>
                      <a:pt x="535" y="436"/>
                      <a:pt x="535" y="436"/>
                    </a:cubicBezTo>
                    <a:cubicBezTo>
                      <a:pt x="538" y="439"/>
                      <a:pt x="541" y="441"/>
                      <a:pt x="544" y="445"/>
                    </a:cubicBezTo>
                    <a:cubicBezTo>
                      <a:pt x="546" y="447"/>
                      <a:pt x="546" y="447"/>
                      <a:pt x="546" y="447"/>
                    </a:cubicBezTo>
                    <a:cubicBezTo>
                      <a:pt x="546" y="448"/>
                      <a:pt x="547" y="448"/>
                      <a:pt x="547" y="449"/>
                    </a:cubicBezTo>
                    <a:cubicBezTo>
                      <a:pt x="548" y="449"/>
                      <a:pt x="548" y="450"/>
                      <a:pt x="549" y="450"/>
                    </a:cubicBezTo>
                    <a:cubicBezTo>
                      <a:pt x="552" y="449"/>
                      <a:pt x="552" y="449"/>
                      <a:pt x="552" y="449"/>
                    </a:cubicBezTo>
                    <a:cubicBezTo>
                      <a:pt x="552" y="449"/>
                      <a:pt x="553" y="449"/>
                      <a:pt x="553" y="449"/>
                    </a:cubicBezTo>
                    <a:cubicBezTo>
                      <a:pt x="554" y="449"/>
                      <a:pt x="556" y="449"/>
                      <a:pt x="556" y="450"/>
                    </a:cubicBezTo>
                    <a:cubicBezTo>
                      <a:pt x="558" y="452"/>
                      <a:pt x="558" y="456"/>
                      <a:pt x="557" y="462"/>
                    </a:cubicBezTo>
                    <a:cubicBezTo>
                      <a:pt x="557" y="462"/>
                      <a:pt x="557" y="462"/>
                      <a:pt x="557" y="462"/>
                    </a:cubicBezTo>
                    <a:cubicBezTo>
                      <a:pt x="556" y="464"/>
                      <a:pt x="556" y="466"/>
                      <a:pt x="556" y="468"/>
                    </a:cubicBezTo>
                    <a:cubicBezTo>
                      <a:pt x="556" y="470"/>
                      <a:pt x="555" y="473"/>
                      <a:pt x="555" y="475"/>
                    </a:cubicBezTo>
                    <a:cubicBezTo>
                      <a:pt x="555" y="475"/>
                      <a:pt x="555" y="476"/>
                      <a:pt x="555" y="477"/>
                    </a:cubicBezTo>
                    <a:cubicBezTo>
                      <a:pt x="555" y="478"/>
                      <a:pt x="555" y="478"/>
                      <a:pt x="555" y="478"/>
                    </a:cubicBezTo>
                    <a:cubicBezTo>
                      <a:pt x="555" y="478"/>
                      <a:pt x="555" y="479"/>
                      <a:pt x="555" y="480"/>
                    </a:cubicBezTo>
                    <a:cubicBezTo>
                      <a:pt x="555" y="481"/>
                      <a:pt x="555" y="482"/>
                      <a:pt x="555" y="482"/>
                    </a:cubicBezTo>
                    <a:cubicBezTo>
                      <a:pt x="555" y="482"/>
                      <a:pt x="555" y="482"/>
                      <a:pt x="555" y="482"/>
                    </a:cubicBezTo>
                    <a:cubicBezTo>
                      <a:pt x="555" y="482"/>
                      <a:pt x="555" y="482"/>
                      <a:pt x="556" y="482"/>
                    </a:cubicBezTo>
                    <a:cubicBezTo>
                      <a:pt x="556" y="482"/>
                      <a:pt x="556" y="482"/>
                      <a:pt x="556" y="482"/>
                    </a:cubicBezTo>
                    <a:cubicBezTo>
                      <a:pt x="556" y="482"/>
                      <a:pt x="557" y="482"/>
                      <a:pt x="557" y="482"/>
                    </a:cubicBezTo>
                    <a:cubicBezTo>
                      <a:pt x="558" y="482"/>
                      <a:pt x="558" y="482"/>
                      <a:pt x="558" y="482"/>
                    </a:cubicBezTo>
                    <a:cubicBezTo>
                      <a:pt x="559" y="482"/>
                      <a:pt x="561" y="482"/>
                      <a:pt x="562" y="482"/>
                    </a:cubicBezTo>
                    <a:cubicBezTo>
                      <a:pt x="564" y="482"/>
                      <a:pt x="566" y="482"/>
                      <a:pt x="567" y="483"/>
                    </a:cubicBezTo>
                    <a:cubicBezTo>
                      <a:pt x="568" y="485"/>
                      <a:pt x="569" y="486"/>
                      <a:pt x="569" y="487"/>
                    </a:cubicBezTo>
                    <a:cubicBezTo>
                      <a:pt x="569" y="488"/>
                      <a:pt x="569" y="489"/>
                      <a:pt x="569" y="491"/>
                    </a:cubicBezTo>
                    <a:cubicBezTo>
                      <a:pt x="569" y="491"/>
                      <a:pt x="569" y="491"/>
                      <a:pt x="569" y="491"/>
                    </a:cubicBezTo>
                    <a:cubicBezTo>
                      <a:pt x="569" y="492"/>
                      <a:pt x="569" y="492"/>
                      <a:pt x="569" y="492"/>
                    </a:cubicBezTo>
                    <a:cubicBezTo>
                      <a:pt x="570" y="495"/>
                      <a:pt x="571" y="499"/>
                      <a:pt x="572" y="502"/>
                    </a:cubicBezTo>
                    <a:cubicBezTo>
                      <a:pt x="573" y="506"/>
                      <a:pt x="573" y="506"/>
                      <a:pt x="573" y="506"/>
                    </a:cubicBezTo>
                    <a:cubicBezTo>
                      <a:pt x="573" y="508"/>
                      <a:pt x="573" y="508"/>
                      <a:pt x="573" y="508"/>
                    </a:cubicBezTo>
                    <a:cubicBezTo>
                      <a:pt x="574" y="511"/>
                      <a:pt x="574" y="511"/>
                      <a:pt x="574" y="511"/>
                    </a:cubicBezTo>
                    <a:cubicBezTo>
                      <a:pt x="596" y="510"/>
                      <a:pt x="596" y="510"/>
                      <a:pt x="596" y="510"/>
                    </a:cubicBezTo>
                    <a:cubicBezTo>
                      <a:pt x="597" y="510"/>
                      <a:pt x="597" y="510"/>
                      <a:pt x="598" y="510"/>
                    </a:cubicBezTo>
                    <a:cubicBezTo>
                      <a:pt x="599" y="510"/>
                      <a:pt x="601" y="510"/>
                      <a:pt x="602" y="510"/>
                    </a:cubicBezTo>
                    <a:cubicBezTo>
                      <a:pt x="603" y="510"/>
                      <a:pt x="604" y="510"/>
                      <a:pt x="605" y="510"/>
                    </a:cubicBezTo>
                    <a:cubicBezTo>
                      <a:pt x="605" y="510"/>
                      <a:pt x="605" y="510"/>
                      <a:pt x="605" y="510"/>
                    </a:cubicBezTo>
                    <a:cubicBezTo>
                      <a:pt x="605" y="510"/>
                      <a:pt x="606" y="510"/>
                      <a:pt x="607" y="510"/>
                    </a:cubicBezTo>
                    <a:cubicBezTo>
                      <a:pt x="607" y="511"/>
                      <a:pt x="607" y="511"/>
                      <a:pt x="607" y="511"/>
                    </a:cubicBezTo>
                    <a:cubicBezTo>
                      <a:pt x="608" y="512"/>
                      <a:pt x="608" y="512"/>
                      <a:pt x="608" y="512"/>
                    </a:cubicBezTo>
                    <a:cubicBezTo>
                      <a:pt x="608" y="512"/>
                      <a:pt x="608" y="512"/>
                      <a:pt x="608" y="512"/>
                    </a:cubicBezTo>
                    <a:cubicBezTo>
                      <a:pt x="609" y="513"/>
                      <a:pt x="609" y="513"/>
                      <a:pt x="609" y="513"/>
                    </a:cubicBezTo>
                    <a:cubicBezTo>
                      <a:pt x="609" y="513"/>
                      <a:pt x="609" y="513"/>
                      <a:pt x="609" y="513"/>
                    </a:cubicBezTo>
                    <a:cubicBezTo>
                      <a:pt x="610" y="514"/>
                      <a:pt x="611" y="514"/>
                      <a:pt x="612" y="515"/>
                    </a:cubicBezTo>
                    <a:cubicBezTo>
                      <a:pt x="613" y="515"/>
                      <a:pt x="614" y="517"/>
                      <a:pt x="614" y="518"/>
                    </a:cubicBezTo>
                    <a:cubicBezTo>
                      <a:pt x="614" y="518"/>
                      <a:pt x="614" y="519"/>
                      <a:pt x="614" y="519"/>
                    </a:cubicBezTo>
                    <a:cubicBezTo>
                      <a:pt x="615" y="521"/>
                      <a:pt x="614" y="523"/>
                      <a:pt x="613" y="525"/>
                    </a:cubicBezTo>
                    <a:cubicBezTo>
                      <a:pt x="615" y="527"/>
                      <a:pt x="618" y="528"/>
                      <a:pt x="621" y="529"/>
                    </a:cubicBezTo>
                    <a:cubicBezTo>
                      <a:pt x="622" y="530"/>
                      <a:pt x="622" y="530"/>
                      <a:pt x="622" y="530"/>
                    </a:cubicBezTo>
                    <a:cubicBezTo>
                      <a:pt x="622" y="529"/>
                      <a:pt x="622" y="528"/>
                      <a:pt x="622" y="527"/>
                    </a:cubicBezTo>
                    <a:cubicBezTo>
                      <a:pt x="622" y="524"/>
                      <a:pt x="622" y="524"/>
                      <a:pt x="622" y="524"/>
                    </a:cubicBezTo>
                    <a:cubicBezTo>
                      <a:pt x="622" y="519"/>
                      <a:pt x="626" y="515"/>
                      <a:pt x="630" y="513"/>
                    </a:cubicBezTo>
                    <a:cubicBezTo>
                      <a:pt x="631" y="512"/>
                      <a:pt x="632" y="512"/>
                      <a:pt x="632" y="511"/>
                    </a:cubicBezTo>
                    <a:cubicBezTo>
                      <a:pt x="633" y="511"/>
                      <a:pt x="633" y="511"/>
                      <a:pt x="633" y="511"/>
                    </a:cubicBezTo>
                    <a:cubicBezTo>
                      <a:pt x="634" y="510"/>
                      <a:pt x="634" y="510"/>
                      <a:pt x="634" y="510"/>
                    </a:cubicBezTo>
                    <a:cubicBezTo>
                      <a:pt x="634" y="509"/>
                      <a:pt x="634" y="509"/>
                      <a:pt x="634" y="509"/>
                    </a:cubicBezTo>
                    <a:cubicBezTo>
                      <a:pt x="636" y="508"/>
                      <a:pt x="638" y="506"/>
                      <a:pt x="640" y="505"/>
                    </a:cubicBezTo>
                    <a:cubicBezTo>
                      <a:pt x="640" y="504"/>
                      <a:pt x="640" y="504"/>
                      <a:pt x="640" y="504"/>
                    </a:cubicBezTo>
                    <a:cubicBezTo>
                      <a:pt x="641" y="504"/>
                      <a:pt x="641" y="504"/>
                      <a:pt x="641" y="504"/>
                    </a:cubicBezTo>
                    <a:cubicBezTo>
                      <a:pt x="643" y="502"/>
                      <a:pt x="646" y="500"/>
                      <a:pt x="648" y="498"/>
                    </a:cubicBezTo>
                    <a:cubicBezTo>
                      <a:pt x="653" y="495"/>
                      <a:pt x="657" y="492"/>
                      <a:pt x="661" y="490"/>
                    </a:cubicBezTo>
                    <a:cubicBezTo>
                      <a:pt x="686" y="476"/>
                      <a:pt x="686" y="476"/>
                      <a:pt x="686" y="476"/>
                    </a:cubicBezTo>
                    <a:cubicBezTo>
                      <a:pt x="686" y="475"/>
                      <a:pt x="686" y="474"/>
                      <a:pt x="686" y="474"/>
                    </a:cubicBezTo>
                    <a:cubicBezTo>
                      <a:pt x="686" y="472"/>
                      <a:pt x="687" y="471"/>
                      <a:pt x="688" y="470"/>
                    </a:cubicBezTo>
                    <a:cubicBezTo>
                      <a:pt x="689" y="469"/>
                      <a:pt x="691" y="467"/>
                      <a:pt x="692" y="466"/>
                    </a:cubicBezTo>
                    <a:cubicBezTo>
                      <a:pt x="694" y="464"/>
                      <a:pt x="694" y="464"/>
                      <a:pt x="694" y="464"/>
                    </a:cubicBezTo>
                    <a:cubicBezTo>
                      <a:pt x="694" y="464"/>
                      <a:pt x="695" y="464"/>
                      <a:pt x="695" y="463"/>
                    </a:cubicBezTo>
                    <a:cubicBezTo>
                      <a:pt x="696" y="461"/>
                      <a:pt x="698" y="460"/>
                      <a:pt x="699" y="458"/>
                    </a:cubicBezTo>
                    <a:cubicBezTo>
                      <a:pt x="700" y="458"/>
                      <a:pt x="701" y="458"/>
                      <a:pt x="701" y="457"/>
                    </a:cubicBezTo>
                    <a:cubicBezTo>
                      <a:pt x="703" y="457"/>
                      <a:pt x="704" y="457"/>
                      <a:pt x="705" y="457"/>
                    </a:cubicBezTo>
                    <a:cubicBezTo>
                      <a:pt x="706" y="457"/>
                      <a:pt x="707" y="457"/>
                      <a:pt x="707" y="457"/>
                    </a:cubicBezTo>
                    <a:cubicBezTo>
                      <a:pt x="708" y="457"/>
                      <a:pt x="708" y="457"/>
                      <a:pt x="708" y="457"/>
                    </a:cubicBezTo>
                    <a:cubicBezTo>
                      <a:pt x="709" y="457"/>
                      <a:pt x="709" y="457"/>
                      <a:pt x="710" y="457"/>
                    </a:cubicBezTo>
                    <a:cubicBezTo>
                      <a:pt x="724" y="457"/>
                      <a:pt x="724" y="457"/>
                      <a:pt x="724" y="457"/>
                    </a:cubicBezTo>
                    <a:cubicBezTo>
                      <a:pt x="724" y="457"/>
                      <a:pt x="724" y="457"/>
                      <a:pt x="724" y="457"/>
                    </a:cubicBezTo>
                    <a:cubicBezTo>
                      <a:pt x="727" y="457"/>
                      <a:pt x="730" y="458"/>
                      <a:pt x="733" y="458"/>
                    </a:cubicBezTo>
                    <a:cubicBezTo>
                      <a:pt x="740" y="460"/>
                      <a:pt x="747" y="462"/>
                      <a:pt x="753" y="465"/>
                    </a:cubicBezTo>
                    <a:cubicBezTo>
                      <a:pt x="757" y="466"/>
                      <a:pt x="757" y="466"/>
                      <a:pt x="757" y="466"/>
                    </a:cubicBezTo>
                    <a:cubicBezTo>
                      <a:pt x="757" y="466"/>
                      <a:pt x="758" y="466"/>
                      <a:pt x="759" y="466"/>
                    </a:cubicBezTo>
                    <a:cubicBezTo>
                      <a:pt x="757" y="458"/>
                      <a:pt x="761" y="449"/>
                      <a:pt x="769" y="445"/>
                    </a:cubicBezTo>
                    <a:cubicBezTo>
                      <a:pt x="767" y="438"/>
                      <a:pt x="767" y="438"/>
                      <a:pt x="767" y="438"/>
                    </a:cubicBezTo>
                    <a:cubicBezTo>
                      <a:pt x="771" y="444"/>
                      <a:pt x="771" y="444"/>
                      <a:pt x="771" y="444"/>
                    </a:cubicBezTo>
                    <a:cubicBezTo>
                      <a:pt x="774" y="443"/>
                      <a:pt x="777" y="442"/>
                      <a:pt x="781" y="441"/>
                    </a:cubicBezTo>
                    <a:cubicBezTo>
                      <a:pt x="782" y="442"/>
                      <a:pt x="782" y="442"/>
                      <a:pt x="782" y="442"/>
                    </a:cubicBezTo>
                    <a:cubicBezTo>
                      <a:pt x="783" y="442"/>
                      <a:pt x="783" y="442"/>
                      <a:pt x="784" y="442"/>
                    </a:cubicBezTo>
                    <a:cubicBezTo>
                      <a:pt x="787" y="442"/>
                      <a:pt x="790" y="442"/>
                      <a:pt x="793" y="444"/>
                    </a:cubicBezTo>
                    <a:cubicBezTo>
                      <a:pt x="795" y="445"/>
                      <a:pt x="796" y="446"/>
                      <a:pt x="797" y="447"/>
                    </a:cubicBezTo>
                    <a:cubicBezTo>
                      <a:pt x="798" y="447"/>
                      <a:pt x="798" y="447"/>
                      <a:pt x="798" y="447"/>
                    </a:cubicBezTo>
                    <a:cubicBezTo>
                      <a:pt x="799" y="448"/>
                      <a:pt x="799" y="448"/>
                      <a:pt x="799" y="448"/>
                    </a:cubicBezTo>
                    <a:cubicBezTo>
                      <a:pt x="801" y="449"/>
                      <a:pt x="802" y="449"/>
                      <a:pt x="804" y="450"/>
                    </a:cubicBezTo>
                    <a:cubicBezTo>
                      <a:pt x="805" y="450"/>
                      <a:pt x="805" y="450"/>
                      <a:pt x="805" y="450"/>
                    </a:cubicBezTo>
                    <a:cubicBezTo>
                      <a:pt x="807" y="451"/>
                      <a:pt x="808" y="451"/>
                      <a:pt x="809" y="452"/>
                    </a:cubicBezTo>
                    <a:cubicBezTo>
                      <a:pt x="810" y="452"/>
                      <a:pt x="810" y="452"/>
                      <a:pt x="810" y="452"/>
                    </a:cubicBezTo>
                    <a:cubicBezTo>
                      <a:pt x="811" y="452"/>
                      <a:pt x="812" y="453"/>
                      <a:pt x="813" y="453"/>
                    </a:cubicBezTo>
                    <a:cubicBezTo>
                      <a:pt x="815" y="453"/>
                      <a:pt x="815" y="453"/>
                      <a:pt x="815" y="453"/>
                    </a:cubicBezTo>
                    <a:cubicBezTo>
                      <a:pt x="816" y="453"/>
                      <a:pt x="816" y="453"/>
                      <a:pt x="817" y="453"/>
                    </a:cubicBezTo>
                    <a:cubicBezTo>
                      <a:pt x="817" y="453"/>
                      <a:pt x="817" y="453"/>
                      <a:pt x="817" y="453"/>
                    </a:cubicBezTo>
                    <a:cubicBezTo>
                      <a:pt x="818" y="453"/>
                      <a:pt x="819" y="453"/>
                      <a:pt x="820" y="453"/>
                    </a:cubicBezTo>
                    <a:cubicBezTo>
                      <a:pt x="821" y="453"/>
                      <a:pt x="821" y="453"/>
                      <a:pt x="821" y="453"/>
                    </a:cubicBezTo>
                    <a:cubicBezTo>
                      <a:pt x="822" y="452"/>
                      <a:pt x="823" y="452"/>
                      <a:pt x="824" y="452"/>
                    </a:cubicBezTo>
                    <a:cubicBezTo>
                      <a:pt x="825" y="451"/>
                      <a:pt x="826" y="451"/>
                      <a:pt x="828" y="450"/>
                    </a:cubicBezTo>
                    <a:cubicBezTo>
                      <a:pt x="828" y="450"/>
                      <a:pt x="828" y="450"/>
                      <a:pt x="828" y="450"/>
                    </a:cubicBezTo>
                    <a:cubicBezTo>
                      <a:pt x="829" y="450"/>
                      <a:pt x="830" y="450"/>
                      <a:pt x="831" y="450"/>
                    </a:cubicBezTo>
                    <a:cubicBezTo>
                      <a:pt x="832" y="450"/>
                      <a:pt x="834" y="450"/>
                      <a:pt x="836" y="450"/>
                    </a:cubicBezTo>
                    <a:cubicBezTo>
                      <a:pt x="839" y="450"/>
                      <a:pt x="843" y="450"/>
                      <a:pt x="846" y="450"/>
                    </a:cubicBezTo>
                    <a:cubicBezTo>
                      <a:pt x="846" y="450"/>
                      <a:pt x="846" y="450"/>
                      <a:pt x="846" y="450"/>
                    </a:cubicBezTo>
                    <a:cubicBezTo>
                      <a:pt x="849" y="451"/>
                      <a:pt x="851" y="451"/>
                      <a:pt x="853" y="451"/>
                    </a:cubicBezTo>
                    <a:cubicBezTo>
                      <a:pt x="856" y="451"/>
                      <a:pt x="856" y="451"/>
                      <a:pt x="856" y="451"/>
                    </a:cubicBezTo>
                    <a:cubicBezTo>
                      <a:pt x="862" y="451"/>
                      <a:pt x="868" y="451"/>
                      <a:pt x="874" y="451"/>
                    </a:cubicBezTo>
                    <a:cubicBezTo>
                      <a:pt x="874" y="446"/>
                      <a:pt x="874" y="446"/>
                      <a:pt x="874" y="446"/>
                    </a:cubicBezTo>
                    <a:cubicBezTo>
                      <a:pt x="875" y="451"/>
                      <a:pt x="875" y="451"/>
                      <a:pt x="875" y="451"/>
                    </a:cubicBezTo>
                    <a:cubicBezTo>
                      <a:pt x="876" y="451"/>
                      <a:pt x="876" y="451"/>
                      <a:pt x="876" y="451"/>
                    </a:cubicBezTo>
                    <a:cubicBezTo>
                      <a:pt x="878" y="452"/>
                      <a:pt x="880" y="452"/>
                      <a:pt x="882" y="452"/>
                    </a:cubicBezTo>
                    <a:cubicBezTo>
                      <a:pt x="886" y="452"/>
                      <a:pt x="891" y="453"/>
                      <a:pt x="896" y="453"/>
                    </a:cubicBezTo>
                    <a:cubicBezTo>
                      <a:pt x="898" y="453"/>
                      <a:pt x="899" y="452"/>
                      <a:pt x="900" y="452"/>
                    </a:cubicBezTo>
                    <a:cubicBezTo>
                      <a:pt x="901" y="452"/>
                      <a:pt x="901" y="452"/>
                      <a:pt x="901" y="452"/>
                    </a:cubicBezTo>
                    <a:cubicBezTo>
                      <a:pt x="902" y="452"/>
                      <a:pt x="902" y="452"/>
                      <a:pt x="903" y="452"/>
                    </a:cubicBezTo>
                    <a:cubicBezTo>
                      <a:pt x="904" y="452"/>
                      <a:pt x="904" y="452"/>
                      <a:pt x="905" y="452"/>
                    </a:cubicBezTo>
                    <a:cubicBezTo>
                      <a:pt x="906" y="453"/>
                      <a:pt x="908" y="453"/>
                      <a:pt x="909" y="453"/>
                    </a:cubicBezTo>
                    <a:cubicBezTo>
                      <a:pt x="910" y="453"/>
                      <a:pt x="911" y="454"/>
                      <a:pt x="913" y="454"/>
                    </a:cubicBezTo>
                    <a:cubicBezTo>
                      <a:pt x="915" y="455"/>
                      <a:pt x="915" y="455"/>
                      <a:pt x="915" y="455"/>
                    </a:cubicBezTo>
                    <a:cubicBezTo>
                      <a:pt x="916" y="455"/>
                      <a:pt x="918" y="456"/>
                      <a:pt x="919" y="456"/>
                    </a:cubicBezTo>
                    <a:cubicBezTo>
                      <a:pt x="920" y="456"/>
                      <a:pt x="920" y="456"/>
                      <a:pt x="920" y="456"/>
                    </a:cubicBezTo>
                    <a:cubicBezTo>
                      <a:pt x="921" y="455"/>
                      <a:pt x="922" y="455"/>
                      <a:pt x="923" y="455"/>
                    </a:cubicBezTo>
                    <a:cubicBezTo>
                      <a:pt x="923" y="455"/>
                      <a:pt x="924" y="455"/>
                      <a:pt x="924" y="455"/>
                    </a:cubicBezTo>
                    <a:cubicBezTo>
                      <a:pt x="925" y="455"/>
                      <a:pt x="925" y="455"/>
                      <a:pt x="925" y="455"/>
                    </a:cubicBezTo>
                    <a:cubicBezTo>
                      <a:pt x="928" y="456"/>
                      <a:pt x="930" y="459"/>
                      <a:pt x="932" y="463"/>
                    </a:cubicBezTo>
                    <a:cubicBezTo>
                      <a:pt x="932" y="464"/>
                      <a:pt x="932" y="464"/>
                      <a:pt x="932" y="464"/>
                    </a:cubicBezTo>
                    <a:cubicBezTo>
                      <a:pt x="934" y="466"/>
                      <a:pt x="935" y="467"/>
                      <a:pt x="938" y="467"/>
                    </a:cubicBezTo>
                    <a:cubicBezTo>
                      <a:pt x="939" y="467"/>
                      <a:pt x="939" y="467"/>
                      <a:pt x="939" y="467"/>
                    </a:cubicBezTo>
                    <a:cubicBezTo>
                      <a:pt x="940" y="467"/>
                      <a:pt x="941" y="467"/>
                      <a:pt x="941" y="467"/>
                    </a:cubicBezTo>
                    <a:cubicBezTo>
                      <a:pt x="942" y="467"/>
                      <a:pt x="942" y="467"/>
                      <a:pt x="942" y="467"/>
                    </a:cubicBezTo>
                    <a:cubicBezTo>
                      <a:pt x="944" y="467"/>
                      <a:pt x="945" y="468"/>
                      <a:pt x="947" y="468"/>
                    </a:cubicBezTo>
                    <a:cubicBezTo>
                      <a:pt x="948" y="469"/>
                      <a:pt x="949" y="470"/>
                      <a:pt x="950" y="470"/>
                    </a:cubicBezTo>
                    <a:cubicBezTo>
                      <a:pt x="951" y="471"/>
                      <a:pt x="951" y="471"/>
                      <a:pt x="951" y="471"/>
                    </a:cubicBezTo>
                    <a:cubicBezTo>
                      <a:pt x="951" y="470"/>
                      <a:pt x="951" y="470"/>
                      <a:pt x="951" y="470"/>
                    </a:cubicBezTo>
                    <a:cubicBezTo>
                      <a:pt x="950" y="468"/>
                      <a:pt x="950" y="468"/>
                      <a:pt x="950" y="468"/>
                    </a:cubicBezTo>
                    <a:cubicBezTo>
                      <a:pt x="949" y="464"/>
                      <a:pt x="950" y="461"/>
                      <a:pt x="951" y="458"/>
                    </a:cubicBezTo>
                    <a:cubicBezTo>
                      <a:pt x="953" y="455"/>
                      <a:pt x="955" y="454"/>
                      <a:pt x="956" y="454"/>
                    </a:cubicBezTo>
                    <a:cubicBezTo>
                      <a:pt x="957" y="454"/>
                      <a:pt x="957" y="454"/>
                      <a:pt x="957" y="454"/>
                    </a:cubicBezTo>
                    <a:cubicBezTo>
                      <a:pt x="955" y="452"/>
                      <a:pt x="955" y="450"/>
                      <a:pt x="956" y="449"/>
                    </a:cubicBezTo>
                    <a:cubicBezTo>
                      <a:pt x="957" y="446"/>
                      <a:pt x="961" y="445"/>
                      <a:pt x="965" y="444"/>
                    </a:cubicBezTo>
                    <a:cubicBezTo>
                      <a:pt x="966" y="444"/>
                      <a:pt x="966" y="444"/>
                      <a:pt x="967" y="444"/>
                    </a:cubicBezTo>
                    <a:cubicBezTo>
                      <a:pt x="967" y="442"/>
                      <a:pt x="966" y="440"/>
                      <a:pt x="966" y="439"/>
                    </a:cubicBezTo>
                    <a:cubicBezTo>
                      <a:pt x="966" y="438"/>
                      <a:pt x="966" y="438"/>
                      <a:pt x="966" y="438"/>
                    </a:cubicBezTo>
                    <a:cubicBezTo>
                      <a:pt x="965" y="437"/>
                      <a:pt x="965" y="437"/>
                      <a:pt x="965" y="437"/>
                    </a:cubicBezTo>
                    <a:cubicBezTo>
                      <a:pt x="965" y="436"/>
                      <a:pt x="965" y="435"/>
                      <a:pt x="964" y="434"/>
                    </a:cubicBezTo>
                    <a:cubicBezTo>
                      <a:pt x="964" y="434"/>
                      <a:pt x="964" y="434"/>
                      <a:pt x="964" y="434"/>
                    </a:cubicBezTo>
                    <a:cubicBezTo>
                      <a:pt x="963" y="431"/>
                      <a:pt x="962" y="428"/>
                      <a:pt x="961" y="426"/>
                    </a:cubicBezTo>
                    <a:cubicBezTo>
                      <a:pt x="960" y="424"/>
                      <a:pt x="959" y="423"/>
                      <a:pt x="959" y="421"/>
                    </a:cubicBezTo>
                    <a:cubicBezTo>
                      <a:pt x="957" y="417"/>
                      <a:pt x="956" y="413"/>
                      <a:pt x="956" y="409"/>
                    </a:cubicBezTo>
                    <a:cubicBezTo>
                      <a:pt x="955" y="407"/>
                      <a:pt x="955" y="407"/>
                      <a:pt x="955" y="407"/>
                    </a:cubicBezTo>
                    <a:cubicBezTo>
                      <a:pt x="954" y="403"/>
                      <a:pt x="954" y="399"/>
                      <a:pt x="955" y="395"/>
                    </a:cubicBezTo>
                    <a:cubicBezTo>
                      <a:pt x="955" y="394"/>
                      <a:pt x="956" y="393"/>
                      <a:pt x="956" y="393"/>
                    </a:cubicBezTo>
                    <a:cubicBezTo>
                      <a:pt x="955" y="392"/>
                      <a:pt x="954" y="392"/>
                      <a:pt x="953" y="392"/>
                    </a:cubicBezTo>
                    <a:cubicBezTo>
                      <a:pt x="953" y="392"/>
                      <a:pt x="952" y="392"/>
                      <a:pt x="952" y="392"/>
                    </a:cubicBezTo>
                    <a:cubicBezTo>
                      <a:pt x="951" y="392"/>
                      <a:pt x="950" y="393"/>
                      <a:pt x="949" y="393"/>
                    </a:cubicBezTo>
                    <a:cubicBezTo>
                      <a:pt x="948" y="393"/>
                      <a:pt x="946" y="392"/>
                      <a:pt x="944" y="391"/>
                    </a:cubicBezTo>
                    <a:cubicBezTo>
                      <a:pt x="943" y="390"/>
                      <a:pt x="943" y="390"/>
                      <a:pt x="943" y="390"/>
                    </a:cubicBezTo>
                    <a:cubicBezTo>
                      <a:pt x="942" y="389"/>
                      <a:pt x="940" y="387"/>
                      <a:pt x="942" y="384"/>
                    </a:cubicBezTo>
                    <a:cubicBezTo>
                      <a:pt x="945" y="379"/>
                      <a:pt x="949" y="378"/>
                      <a:pt x="952" y="378"/>
                    </a:cubicBezTo>
                    <a:cubicBezTo>
                      <a:pt x="953" y="378"/>
                      <a:pt x="953" y="378"/>
                      <a:pt x="953" y="378"/>
                    </a:cubicBezTo>
                    <a:cubicBezTo>
                      <a:pt x="959" y="376"/>
                      <a:pt x="965" y="374"/>
                      <a:pt x="970" y="373"/>
                    </a:cubicBezTo>
                    <a:cubicBezTo>
                      <a:pt x="988" y="368"/>
                      <a:pt x="988" y="368"/>
                      <a:pt x="988" y="368"/>
                    </a:cubicBezTo>
                    <a:cubicBezTo>
                      <a:pt x="988" y="368"/>
                      <a:pt x="988" y="368"/>
                      <a:pt x="989" y="368"/>
                    </a:cubicBezTo>
                    <a:cubicBezTo>
                      <a:pt x="989" y="368"/>
                      <a:pt x="989" y="368"/>
                      <a:pt x="989" y="368"/>
                    </a:cubicBezTo>
                    <a:cubicBezTo>
                      <a:pt x="992" y="367"/>
                      <a:pt x="994" y="366"/>
                      <a:pt x="996" y="366"/>
                    </a:cubicBezTo>
                    <a:cubicBezTo>
                      <a:pt x="997" y="366"/>
                      <a:pt x="997" y="366"/>
                      <a:pt x="998" y="367"/>
                    </a:cubicBezTo>
                    <a:cubicBezTo>
                      <a:pt x="1002" y="368"/>
                      <a:pt x="1002" y="370"/>
                      <a:pt x="1002" y="372"/>
                    </a:cubicBezTo>
                    <a:cubicBezTo>
                      <a:pt x="1002" y="372"/>
                      <a:pt x="1002" y="372"/>
                      <a:pt x="1002" y="372"/>
                    </a:cubicBezTo>
                    <a:cubicBezTo>
                      <a:pt x="1003" y="372"/>
                      <a:pt x="1003" y="372"/>
                      <a:pt x="1004" y="372"/>
                    </a:cubicBezTo>
                    <a:cubicBezTo>
                      <a:pt x="1005" y="372"/>
                      <a:pt x="1007" y="372"/>
                      <a:pt x="1007" y="372"/>
                    </a:cubicBezTo>
                    <a:cubicBezTo>
                      <a:pt x="1009" y="372"/>
                      <a:pt x="1010" y="372"/>
                      <a:pt x="1011" y="372"/>
                    </a:cubicBezTo>
                    <a:cubicBezTo>
                      <a:pt x="1012" y="372"/>
                      <a:pt x="1012" y="372"/>
                      <a:pt x="1012" y="372"/>
                    </a:cubicBezTo>
                    <a:cubicBezTo>
                      <a:pt x="1013" y="372"/>
                      <a:pt x="1015" y="372"/>
                      <a:pt x="1016" y="372"/>
                    </a:cubicBezTo>
                    <a:cubicBezTo>
                      <a:pt x="1017" y="372"/>
                      <a:pt x="1018" y="372"/>
                      <a:pt x="1019" y="372"/>
                    </a:cubicBezTo>
                    <a:cubicBezTo>
                      <a:pt x="1019" y="370"/>
                      <a:pt x="1019" y="369"/>
                      <a:pt x="1019" y="369"/>
                    </a:cubicBezTo>
                    <a:cubicBezTo>
                      <a:pt x="1019" y="369"/>
                      <a:pt x="1019" y="368"/>
                      <a:pt x="1018" y="368"/>
                    </a:cubicBezTo>
                    <a:cubicBezTo>
                      <a:pt x="1017" y="368"/>
                      <a:pt x="1017" y="368"/>
                      <a:pt x="1017" y="368"/>
                    </a:cubicBezTo>
                    <a:cubicBezTo>
                      <a:pt x="1015" y="368"/>
                      <a:pt x="1012" y="367"/>
                      <a:pt x="1011" y="365"/>
                    </a:cubicBezTo>
                    <a:cubicBezTo>
                      <a:pt x="1010" y="364"/>
                      <a:pt x="1010" y="363"/>
                      <a:pt x="1010" y="361"/>
                    </a:cubicBezTo>
                    <a:cubicBezTo>
                      <a:pt x="1030" y="306"/>
                      <a:pt x="1030" y="306"/>
                      <a:pt x="1030" y="306"/>
                    </a:cubicBezTo>
                    <a:cubicBezTo>
                      <a:pt x="1031" y="303"/>
                      <a:pt x="1032" y="300"/>
                      <a:pt x="1037" y="300"/>
                    </a:cubicBezTo>
                    <a:cubicBezTo>
                      <a:pt x="1037" y="300"/>
                      <a:pt x="1038" y="300"/>
                      <a:pt x="1039" y="300"/>
                    </a:cubicBezTo>
                    <a:cubicBezTo>
                      <a:pt x="1041" y="300"/>
                      <a:pt x="1044" y="302"/>
                      <a:pt x="1047" y="304"/>
                    </a:cubicBezTo>
                    <a:cubicBezTo>
                      <a:pt x="1048" y="305"/>
                      <a:pt x="1048" y="305"/>
                      <a:pt x="1048" y="305"/>
                    </a:cubicBezTo>
                    <a:cubicBezTo>
                      <a:pt x="1053" y="307"/>
                      <a:pt x="1059" y="309"/>
                      <a:pt x="1062" y="309"/>
                    </a:cubicBezTo>
                    <a:cubicBezTo>
                      <a:pt x="1063" y="309"/>
                      <a:pt x="1064" y="309"/>
                      <a:pt x="1064" y="309"/>
                    </a:cubicBezTo>
                    <a:cubicBezTo>
                      <a:pt x="1066" y="308"/>
                      <a:pt x="1068" y="307"/>
                      <a:pt x="1071" y="307"/>
                    </a:cubicBezTo>
                    <a:cubicBezTo>
                      <a:pt x="1076" y="307"/>
                      <a:pt x="1082" y="309"/>
                      <a:pt x="1084" y="310"/>
                    </a:cubicBezTo>
                    <a:cubicBezTo>
                      <a:pt x="1086" y="310"/>
                      <a:pt x="1087" y="310"/>
                      <a:pt x="1088" y="310"/>
                    </a:cubicBezTo>
                    <a:cubicBezTo>
                      <a:pt x="1090" y="310"/>
                      <a:pt x="1092" y="310"/>
                      <a:pt x="1095" y="308"/>
                    </a:cubicBezTo>
                    <a:cubicBezTo>
                      <a:pt x="1097" y="307"/>
                      <a:pt x="1097" y="307"/>
                      <a:pt x="1097" y="307"/>
                    </a:cubicBezTo>
                    <a:cubicBezTo>
                      <a:pt x="1104" y="304"/>
                      <a:pt x="1107" y="302"/>
                      <a:pt x="1106" y="297"/>
                    </a:cubicBezTo>
                    <a:cubicBezTo>
                      <a:pt x="1106" y="294"/>
                      <a:pt x="1105" y="290"/>
                      <a:pt x="1104" y="286"/>
                    </a:cubicBezTo>
                    <a:cubicBezTo>
                      <a:pt x="1104" y="283"/>
                      <a:pt x="1103" y="279"/>
                      <a:pt x="1103" y="276"/>
                    </a:cubicBezTo>
                    <a:cubicBezTo>
                      <a:pt x="1102" y="272"/>
                      <a:pt x="1107" y="259"/>
                      <a:pt x="1112" y="257"/>
                    </a:cubicBezTo>
                    <a:cubicBezTo>
                      <a:pt x="1114" y="256"/>
                      <a:pt x="1116" y="256"/>
                      <a:pt x="1118" y="256"/>
                    </a:cubicBezTo>
                    <a:cubicBezTo>
                      <a:pt x="1119" y="256"/>
                      <a:pt x="1119" y="256"/>
                      <a:pt x="1120" y="256"/>
                    </a:cubicBezTo>
                    <a:cubicBezTo>
                      <a:pt x="1124" y="256"/>
                      <a:pt x="1128" y="254"/>
                      <a:pt x="1132" y="253"/>
                    </a:cubicBezTo>
                    <a:cubicBezTo>
                      <a:pt x="1134" y="252"/>
                      <a:pt x="1136" y="250"/>
                      <a:pt x="1137" y="247"/>
                    </a:cubicBezTo>
                    <a:cubicBezTo>
                      <a:pt x="1137" y="247"/>
                      <a:pt x="1137" y="247"/>
                      <a:pt x="1137" y="247"/>
                    </a:cubicBezTo>
                    <a:cubicBezTo>
                      <a:pt x="1137" y="247"/>
                      <a:pt x="1138" y="246"/>
                      <a:pt x="1138" y="246"/>
                    </a:cubicBezTo>
                    <a:cubicBezTo>
                      <a:pt x="1138" y="245"/>
                      <a:pt x="1138" y="245"/>
                      <a:pt x="1138" y="245"/>
                    </a:cubicBezTo>
                    <a:cubicBezTo>
                      <a:pt x="1137" y="244"/>
                      <a:pt x="1137" y="243"/>
                      <a:pt x="1137" y="242"/>
                    </a:cubicBezTo>
                    <a:cubicBezTo>
                      <a:pt x="1137" y="241"/>
                      <a:pt x="1137" y="240"/>
                      <a:pt x="1138" y="240"/>
                    </a:cubicBezTo>
                    <a:cubicBezTo>
                      <a:pt x="1138" y="239"/>
                      <a:pt x="1138" y="239"/>
                      <a:pt x="1138" y="239"/>
                    </a:cubicBezTo>
                    <a:cubicBezTo>
                      <a:pt x="1138" y="223"/>
                      <a:pt x="1138" y="223"/>
                      <a:pt x="1138" y="223"/>
                    </a:cubicBezTo>
                    <a:cubicBezTo>
                      <a:pt x="1137" y="223"/>
                      <a:pt x="1137" y="222"/>
                      <a:pt x="1136" y="222"/>
                    </a:cubicBezTo>
                    <a:cubicBezTo>
                      <a:pt x="1135" y="221"/>
                      <a:pt x="1135" y="221"/>
                      <a:pt x="1134" y="220"/>
                    </a:cubicBezTo>
                    <a:cubicBezTo>
                      <a:pt x="1133" y="219"/>
                      <a:pt x="1133" y="218"/>
                      <a:pt x="1132" y="218"/>
                    </a:cubicBezTo>
                    <a:cubicBezTo>
                      <a:pt x="1132" y="218"/>
                      <a:pt x="1131" y="219"/>
                      <a:pt x="1130" y="220"/>
                    </a:cubicBezTo>
                    <a:cubicBezTo>
                      <a:pt x="1123" y="226"/>
                      <a:pt x="1123" y="226"/>
                      <a:pt x="1123" y="226"/>
                    </a:cubicBezTo>
                    <a:cubicBezTo>
                      <a:pt x="1121" y="224"/>
                      <a:pt x="1121" y="224"/>
                      <a:pt x="1121" y="224"/>
                    </a:cubicBezTo>
                    <a:cubicBezTo>
                      <a:pt x="1120" y="224"/>
                      <a:pt x="1120" y="224"/>
                      <a:pt x="1120" y="224"/>
                    </a:cubicBezTo>
                    <a:cubicBezTo>
                      <a:pt x="1117" y="224"/>
                      <a:pt x="1117" y="224"/>
                      <a:pt x="1117" y="224"/>
                    </a:cubicBezTo>
                    <a:cubicBezTo>
                      <a:pt x="1116" y="224"/>
                      <a:pt x="1116" y="224"/>
                      <a:pt x="1116" y="224"/>
                    </a:cubicBezTo>
                    <a:cubicBezTo>
                      <a:pt x="1114" y="222"/>
                      <a:pt x="1114" y="222"/>
                      <a:pt x="1114" y="222"/>
                    </a:cubicBezTo>
                    <a:cubicBezTo>
                      <a:pt x="1114" y="222"/>
                      <a:pt x="1114" y="222"/>
                      <a:pt x="1114" y="222"/>
                    </a:cubicBezTo>
                    <a:cubicBezTo>
                      <a:pt x="1112" y="222"/>
                      <a:pt x="1112" y="222"/>
                      <a:pt x="1112" y="222"/>
                    </a:cubicBezTo>
                    <a:cubicBezTo>
                      <a:pt x="1112" y="222"/>
                      <a:pt x="1112" y="222"/>
                      <a:pt x="1112" y="222"/>
                    </a:cubicBezTo>
                    <a:cubicBezTo>
                      <a:pt x="1096" y="220"/>
                      <a:pt x="1096" y="220"/>
                      <a:pt x="1096" y="220"/>
                    </a:cubicBezTo>
                    <a:cubicBezTo>
                      <a:pt x="1093" y="217"/>
                      <a:pt x="1093" y="217"/>
                      <a:pt x="1093" y="217"/>
                    </a:cubicBezTo>
                    <a:cubicBezTo>
                      <a:pt x="1093" y="217"/>
                      <a:pt x="1093" y="217"/>
                      <a:pt x="1093" y="217"/>
                    </a:cubicBezTo>
                    <a:cubicBezTo>
                      <a:pt x="1093" y="216"/>
                      <a:pt x="1093" y="216"/>
                      <a:pt x="1093" y="216"/>
                    </a:cubicBezTo>
                    <a:cubicBezTo>
                      <a:pt x="1092" y="215"/>
                      <a:pt x="1092" y="215"/>
                      <a:pt x="1092" y="215"/>
                    </a:cubicBezTo>
                    <a:cubicBezTo>
                      <a:pt x="1092" y="214"/>
                      <a:pt x="1092" y="214"/>
                      <a:pt x="1092" y="214"/>
                    </a:cubicBezTo>
                    <a:cubicBezTo>
                      <a:pt x="1092" y="213"/>
                      <a:pt x="1092" y="213"/>
                      <a:pt x="1092" y="213"/>
                    </a:cubicBezTo>
                    <a:cubicBezTo>
                      <a:pt x="1091" y="213"/>
                      <a:pt x="1091" y="212"/>
                      <a:pt x="1090" y="211"/>
                    </a:cubicBezTo>
                    <a:cubicBezTo>
                      <a:pt x="1090" y="211"/>
                      <a:pt x="1089" y="210"/>
                      <a:pt x="1089" y="209"/>
                    </a:cubicBezTo>
                    <a:cubicBezTo>
                      <a:pt x="1089" y="209"/>
                      <a:pt x="1089" y="209"/>
                      <a:pt x="1089" y="209"/>
                    </a:cubicBezTo>
                    <a:cubicBezTo>
                      <a:pt x="1089" y="209"/>
                      <a:pt x="1088" y="208"/>
                      <a:pt x="1087" y="208"/>
                    </a:cubicBezTo>
                    <a:cubicBezTo>
                      <a:pt x="1086" y="207"/>
                      <a:pt x="1086" y="207"/>
                      <a:pt x="1086" y="207"/>
                    </a:cubicBezTo>
                    <a:cubicBezTo>
                      <a:pt x="1086" y="205"/>
                      <a:pt x="1086" y="205"/>
                      <a:pt x="1086" y="205"/>
                    </a:cubicBezTo>
                    <a:cubicBezTo>
                      <a:pt x="1086" y="202"/>
                      <a:pt x="1086" y="202"/>
                      <a:pt x="1086" y="202"/>
                    </a:cubicBezTo>
                    <a:cubicBezTo>
                      <a:pt x="1074" y="196"/>
                      <a:pt x="1074" y="196"/>
                      <a:pt x="1074" y="196"/>
                    </a:cubicBezTo>
                    <a:cubicBezTo>
                      <a:pt x="1072" y="195"/>
                      <a:pt x="1072" y="195"/>
                      <a:pt x="1072" y="195"/>
                    </a:cubicBezTo>
                    <a:cubicBezTo>
                      <a:pt x="1072" y="195"/>
                      <a:pt x="1072" y="195"/>
                      <a:pt x="1072" y="195"/>
                    </a:cubicBezTo>
                    <a:cubicBezTo>
                      <a:pt x="1071" y="195"/>
                      <a:pt x="1071" y="195"/>
                      <a:pt x="1071" y="195"/>
                    </a:cubicBezTo>
                    <a:cubicBezTo>
                      <a:pt x="1066" y="194"/>
                      <a:pt x="1066" y="194"/>
                      <a:pt x="1066" y="194"/>
                    </a:cubicBezTo>
                    <a:cubicBezTo>
                      <a:pt x="1066" y="192"/>
                      <a:pt x="1066" y="192"/>
                      <a:pt x="1066" y="192"/>
                    </a:cubicBezTo>
                    <a:cubicBezTo>
                      <a:pt x="1065" y="191"/>
                      <a:pt x="1065" y="190"/>
                      <a:pt x="1064" y="188"/>
                    </a:cubicBezTo>
                    <a:cubicBezTo>
                      <a:pt x="1064" y="187"/>
                      <a:pt x="1064" y="187"/>
                      <a:pt x="1064" y="187"/>
                    </a:cubicBezTo>
                    <a:cubicBezTo>
                      <a:pt x="1064" y="187"/>
                      <a:pt x="1064" y="186"/>
                      <a:pt x="1064" y="186"/>
                    </a:cubicBezTo>
                    <a:cubicBezTo>
                      <a:pt x="1063" y="184"/>
                      <a:pt x="1063" y="184"/>
                      <a:pt x="1063" y="184"/>
                    </a:cubicBezTo>
                    <a:cubicBezTo>
                      <a:pt x="1063" y="183"/>
                      <a:pt x="1062" y="180"/>
                      <a:pt x="1061" y="178"/>
                    </a:cubicBezTo>
                    <a:cubicBezTo>
                      <a:pt x="1058" y="174"/>
                      <a:pt x="1058" y="174"/>
                      <a:pt x="1058" y="174"/>
                    </a:cubicBezTo>
                    <a:cubicBezTo>
                      <a:pt x="1055" y="172"/>
                      <a:pt x="1055" y="172"/>
                      <a:pt x="1055" y="172"/>
                    </a:cubicBezTo>
                    <a:cubicBezTo>
                      <a:pt x="1055" y="172"/>
                      <a:pt x="1054" y="172"/>
                      <a:pt x="1054" y="172"/>
                    </a:cubicBezTo>
                    <a:cubicBezTo>
                      <a:pt x="1053" y="172"/>
                      <a:pt x="1052" y="171"/>
                      <a:pt x="1051" y="171"/>
                    </a:cubicBezTo>
                    <a:cubicBezTo>
                      <a:pt x="1038" y="168"/>
                      <a:pt x="1038" y="168"/>
                      <a:pt x="1038" y="168"/>
                    </a:cubicBezTo>
                    <a:cubicBezTo>
                      <a:pt x="1029" y="171"/>
                      <a:pt x="1029" y="171"/>
                      <a:pt x="1029" y="171"/>
                    </a:cubicBezTo>
                    <a:cubicBezTo>
                      <a:pt x="1029" y="171"/>
                      <a:pt x="1029" y="171"/>
                      <a:pt x="1029" y="171"/>
                    </a:cubicBezTo>
                    <a:cubicBezTo>
                      <a:pt x="1027" y="175"/>
                      <a:pt x="1027" y="175"/>
                      <a:pt x="1027" y="175"/>
                    </a:cubicBezTo>
                    <a:cubicBezTo>
                      <a:pt x="1026" y="175"/>
                      <a:pt x="1026" y="175"/>
                      <a:pt x="1026" y="175"/>
                    </a:cubicBezTo>
                    <a:cubicBezTo>
                      <a:pt x="1026" y="175"/>
                      <a:pt x="1025" y="176"/>
                      <a:pt x="1024" y="176"/>
                    </a:cubicBezTo>
                    <a:cubicBezTo>
                      <a:pt x="1024" y="176"/>
                      <a:pt x="1023" y="177"/>
                      <a:pt x="1022" y="177"/>
                    </a:cubicBezTo>
                    <a:cubicBezTo>
                      <a:pt x="1022" y="177"/>
                      <a:pt x="1022" y="177"/>
                      <a:pt x="1022" y="177"/>
                    </a:cubicBezTo>
                    <a:cubicBezTo>
                      <a:pt x="1020" y="178"/>
                      <a:pt x="1020" y="178"/>
                      <a:pt x="1020" y="178"/>
                    </a:cubicBezTo>
                    <a:cubicBezTo>
                      <a:pt x="1019" y="178"/>
                      <a:pt x="1019" y="178"/>
                      <a:pt x="1019" y="178"/>
                    </a:cubicBezTo>
                    <a:cubicBezTo>
                      <a:pt x="1015" y="178"/>
                      <a:pt x="1015" y="178"/>
                      <a:pt x="1015" y="178"/>
                    </a:cubicBezTo>
                    <a:cubicBezTo>
                      <a:pt x="1002" y="177"/>
                      <a:pt x="1002" y="177"/>
                      <a:pt x="1002" y="177"/>
                    </a:cubicBezTo>
                    <a:cubicBezTo>
                      <a:pt x="1002" y="177"/>
                      <a:pt x="1002" y="177"/>
                      <a:pt x="1001" y="177"/>
                    </a:cubicBezTo>
                    <a:cubicBezTo>
                      <a:pt x="1000" y="177"/>
                      <a:pt x="999" y="177"/>
                      <a:pt x="998" y="177"/>
                    </a:cubicBezTo>
                    <a:cubicBezTo>
                      <a:pt x="998" y="177"/>
                      <a:pt x="997" y="177"/>
                      <a:pt x="996" y="178"/>
                    </a:cubicBezTo>
                    <a:cubicBezTo>
                      <a:pt x="995" y="178"/>
                      <a:pt x="995" y="178"/>
                      <a:pt x="995" y="178"/>
                    </a:cubicBezTo>
                    <a:cubicBezTo>
                      <a:pt x="995" y="178"/>
                      <a:pt x="994" y="178"/>
                      <a:pt x="993" y="178"/>
                    </a:cubicBezTo>
                    <a:cubicBezTo>
                      <a:pt x="993" y="178"/>
                      <a:pt x="993" y="178"/>
                      <a:pt x="992" y="178"/>
                    </a:cubicBezTo>
                    <a:cubicBezTo>
                      <a:pt x="989" y="177"/>
                      <a:pt x="989" y="177"/>
                      <a:pt x="989" y="177"/>
                    </a:cubicBezTo>
                    <a:cubicBezTo>
                      <a:pt x="988" y="177"/>
                      <a:pt x="988" y="177"/>
                      <a:pt x="988" y="177"/>
                    </a:cubicBezTo>
                    <a:cubicBezTo>
                      <a:pt x="987" y="176"/>
                      <a:pt x="987" y="176"/>
                      <a:pt x="987" y="176"/>
                    </a:cubicBezTo>
                    <a:cubicBezTo>
                      <a:pt x="985" y="175"/>
                      <a:pt x="984" y="174"/>
                      <a:pt x="982" y="172"/>
                    </a:cubicBezTo>
                    <a:cubicBezTo>
                      <a:pt x="981" y="171"/>
                      <a:pt x="981" y="171"/>
                      <a:pt x="980" y="170"/>
                    </a:cubicBezTo>
                    <a:cubicBezTo>
                      <a:pt x="976" y="170"/>
                      <a:pt x="976" y="170"/>
                      <a:pt x="976" y="170"/>
                    </a:cubicBezTo>
                    <a:cubicBezTo>
                      <a:pt x="975" y="166"/>
                      <a:pt x="975" y="166"/>
                      <a:pt x="975" y="166"/>
                    </a:cubicBezTo>
                    <a:cubicBezTo>
                      <a:pt x="975" y="165"/>
                      <a:pt x="975" y="165"/>
                      <a:pt x="975" y="165"/>
                    </a:cubicBezTo>
                    <a:cubicBezTo>
                      <a:pt x="975" y="165"/>
                      <a:pt x="975" y="164"/>
                      <a:pt x="975" y="163"/>
                    </a:cubicBezTo>
                    <a:cubicBezTo>
                      <a:pt x="975" y="162"/>
                      <a:pt x="976" y="160"/>
                      <a:pt x="976" y="159"/>
                    </a:cubicBezTo>
                    <a:cubicBezTo>
                      <a:pt x="969" y="157"/>
                      <a:pt x="969" y="157"/>
                      <a:pt x="969" y="157"/>
                    </a:cubicBezTo>
                    <a:cubicBezTo>
                      <a:pt x="968" y="159"/>
                      <a:pt x="968" y="159"/>
                      <a:pt x="968" y="159"/>
                    </a:cubicBezTo>
                    <a:cubicBezTo>
                      <a:pt x="966" y="160"/>
                      <a:pt x="966" y="160"/>
                      <a:pt x="966" y="160"/>
                    </a:cubicBezTo>
                    <a:cubicBezTo>
                      <a:pt x="966" y="160"/>
                      <a:pt x="965" y="160"/>
                      <a:pt x="965" y="160"/>
                    </a:cubicBezTo>
                    <a:cubicBezTo>
                      <a:pt x="965" y="160"/>
                      <a:pt x="965" y="160"/>
                      <a:pt x="965" y="160"/>
                    </a:cubicBezTo>
                    <a:cubicBezTo>
                      <a:pt x="965" y="160"/>
                      <a:pt x="965" y="160"/>
                      <a:pt x="965" y="160"/>
                    </a:cubicBezTo>
                    <a:cubicBezTo>
                      <a:pt x="965" y="161"/>
                      <a:pt x="965" y="163"/>
                      <a:pt x="965" y="164"/>
                    </a:cubicBezTo>
                    <a:cubicBezTo>
                      <a:pt x="965" y="166"/>
                      <a:pt x="965" y="166"/>
                      <a:pt x="965" y="166"/>
                    </a:cubicBezTo>
                    <a:cubicBezTo>
                      <a:pt x="965" y="166"/>
                      <a:pt x="965" y="166"/>
                      <a:pt x="965" y="166"/>
                    </a:cubicBezTo>
                    <a:cubicBezTo>
                      <a:pt x="973" y="172"/>
                      <a:pt x="973" y="172"/>
                      <a:pt x="973" y="172"/>
                    </a:cubicBezTo>
                    <a:cubicBezTo>
                      <a:pt x="963" y="168"/>
                      <a:pt x="963" y="168"/>
                      <a:pt x="963" y="168"/>
                    </a:cubicBezTo>
                    <a:cubicBezTo>
                      <a:pt x="963" y="169"/>
                      <a:pt x="963" y="169"/>
                      <a:pt x="962" y="169"/>
                    </a:cubicBezTo>
                    <a:cubicBezTo>
                      <a:pt x="959" y="171"/>
                      <a:pt x="959" y="171"/>
                      <a:pt x="959" y="171"/>
                    </a:cubicBezTo>
                    <a:cubicBezTo>
                      <a:pt x="958" y="171"/>
                      <a:pt x="958" y="171"/>
                      <a:pt x="958" y="171"/>
                    </a:cubicBezTo>
                    <a:cubicBezTo>
                      <a:pt x="958" y="171"/>
                      <a:pt x="957" y="171"/>
                      <a:pt x="957" y="171"/>
                    </a:cubicBezTo>
                    <a:cubicBezTo>
                      <a:pt x="957" y="171"/>
                      <a:pt x="957" y="171"/>
                      <a:pt x="957" y="171"/>
                    </a:cubicBezTo>
                    <a:cubicBezTo>
                      <a:pt x="956" y="171"/>
                      <a:pt x="956" y="171"/>
                      <a:pt x="956" y="171"/>
                    </a:cubicBezTo>
                    <a:cubicBezTo>
                      <a:pt x="956" y="173"/>
                      <a:pt x="955" y="173"/>
                      <a:pt x="954" y="174"/>
                    </a:cubicBezTo>
                    <a:cubicBezTo>
                      <a:pt x="954" y="175"/>
                      <a:pt x="954" y="175"/>
                      <a:pt x="954" y="175"/>
                    </a:cubicBezTo>
                    <a:cubicBezTo>
                      <a:pt x="951" y="177"/>
                      <a:pt x="951" y="177"/>
                      <a:pt x="951" y="177"/>
                    </a:cubicBezTo>
                    <a:cubicBezTo>
                      <a:pt x="949" y="177"/>
                      <a:pt x="949" y="177"/>
                      <a:pt x="949" y="177"/>
                    </a:cubicBezTo>
                    <a:cubicBezTo>
                      <a:pt x="948" y="176"/>
                      <a:pt x="948" y="176"/>
                      <a:pt x="948" y="176"/>
                    </a:cubicBezTo>
                    <a:cubicBezTo>
                      <a:pt x="946" y="173"/>
                      <a:pt x="946" y="173"/>
                      <a:pt x="946" y="173"/>
                    </a:cubicBezTo>
                    <a:cubicBezTo>
                      <a:pt x="942" y="169"/>
                      <a:pt x="942" y="169"/>
                      <a:pt x="942" y="169"/>
                    </a:cubicBezTo>
                    <a:cubicBezTo>
                      <a:pt x="943" y="169"/>
                      <a:pt x="943" y="169"/>
                      <a:pt x="943" y="169"/>
                    </a:cubicBezTo>
                    <a:cubicBezTo>
                      <a:pt x="937" y="160"/>
                      <a:pt x="932" y="151"/>
                      <a:pt x="926" y="142"/>
                    </a:cubicBezTo>
                    <a:cubicBezTo>
                      <a:pt x="923" y="137"/>
                      <a:pt x="923" y="137"/>
                      <a:pt x="923" y="137"/>
                    </a:cubicBezTo>
                    <a:cubicBezTo>
                      <a:pt x="917" y="127"/>
                      <a:pt x="911" y="117"/>
                      <a:pt x="904" y="107"/>
                    </a:cubicBezTo>
                    <a:cubicBezTo>
                      <a:pt x="898" y="97"/>
                      <a:pt x="898" y="97"/>
                      <a:pt x="898" y="97"/>
                    </a:cubicBezTo>
                    <a:cubicBezTo>
                      <a:pt x="887" y="83"/>
                      <a:pt x="887" y="83"/>
                      <a:pt x="887" y="83"/>
                    </a:cubicBezTo>
                    <a:cubicBezTo>
                      <a:pt x="883" y="78"/>
                      <a:pt x="880" y="75"/>
                      <a:pt x="877" y="73"/>
                    </a:cubicBezTo>
                    <a:cubicBezTo>
                      <a:pt x="860" y="62"/>
                      <a:pt x="860" y="62"/>
                      <a:pt x="860" y="62"/>
                    </a:cubicBezTo>
                    <a:cubicBezTo>
                      <a:pt x="854" y="56"/>
                      <a:pt x="854" y="56"/>
                      <a:pt x="854" y="56"/>
                    </a:cubicBezTo>
                    <a:cubicBezTo>
                      <a:pt x="852" y="54"/>
                      <a:pt x="850" y="53"/>
                      <a:pt x="848" y="51"/>
                    </a:cubicBezTo>
                    <a:cubicBezTo>
                      <a:pt x="841" y="43"/>
                      <a:pt x="841" y="43"/>
                      <a:pt x="841" y="43"/>
                    </a:cubicBezTo>
                    <a:cubicBezTo>
                      <a:pt x="829" y="48"/>
                      <a:pt x="829" y="48"/>
                      <a:pt x="829" y="48"/>
                    </a:cubicBezTo>
                    <a:cubicBezTo>
                      <a:pt x="825" y="49"/>
                      <a:pt x="821" y="51"/>
                      <a:pt x="818" y="53"/>
                    </a:cubicBezTo>
                    <a:cubicBezTo>
                      <a:pt x="817" y="54"/>
                      <a:pt x="817" y="54"/>
                      <a:pt x="817" y="54"/>
                    </a:cubicBezTo>
                    <a:cubicBezTo>
                      <a:pt x="813" y="56"/>
                      <a:pt x="810" y="58"/>
                      <a:pt x="806" y="59"/>
                    </a:cubicBezTo>
                    <a:cubicBezTo>
                      <a:pt x="794" y="64"/>
                      <a:pt x="794" y="64"/>
                      <a:pt x="794" y="64"/>
                    </a:cubicBezTo>
                    <a:cubicBezTo>
                      <a:pt x="794" y="65"/>
                      <a:pt x="794" y="65"/>
                      <a:pt x="794" y="65"/>
                    </a:cubicBezTo>
                    <a:cubicBezTo>
                      <a:pt x="793" y="66"/>
                      <a:pt x="793" y="66"/>
                      <a:pt x="793" y="67"/>
                    </a:cubicBezTo>
                    <a:cubicBezTo>
                      <a:pt x="792" y="71"/>
                      <a:pt x="792" y="71"/>
                      <a:pt x="792" y="71"/>
                    </a:cubicBezTo>
                    <a:cubicBezTo>
                      <a:pt x="788" y="74"/>
                      <a:pt x="788" y="74"/>
                      <a:pt x="788" y="74"/>
                    </a:cubicBezTo>
                    <a:cubicBezTo>
                      <a:pt x="783" y="71"/>
                      <a:pt x="783" y="71"/>
                      <a:pt x="783" y="71"/>
                    </a:cubicBezTo>
                    <a:cubicBezTo>
                      <a:pt x="783" y="71"/>
                      <a:pt x="783" y="70"/>
                      <a:pt x="782" y="70"/>
                    </a:cubicBezTo>
                    <a:cubicBezTo>
                      <a:pt x="780" y="70"/>
                      <a:pt x="780" y="70"/>
                      <a:pt x="780" y="70"/>
                    </a:cubicBezTo>
                    <a:cubicBezTo>
                      <a:pt x="773" y="69"/>
                      <a:pt x="773" y="69"/>
                      <a:pt x="773" y="69"/>
                    </a:cubicBezTo>
                    <a:cubicBezTo>
                      <a:pt x="773" y="69"/>
                      <a:pt x="773" y="69"/>
                      <a:pt x="772" y="69"/>
                    </a:cubicBezTo>
                    <a:cubicBezTo>
                      <a:pt x="771" y="69"/>
                      <a:pt x="770" y="70"/>
                      <a:pt x="769" y="71"/>
                    </a:cubicBezTo>
                    <a:cubicBezTo>
                      <a:pt x="760" y="77"/>
                      <a:pt x="760" y="77"/>
                      <a:pt x="760" y="77"/>
                    </a:cubicBezTo>
                    <a:cubicBezTo>
                      <a:pt x="752" y="63"/>
                      <a:pt x="752" y="63"/>
                      <a:pt x="752" y="63"/>
                    </a:cubicBezTo>
                    <a:cubicBezTo>
                      <a:pt x="754" y="59"/>
                      <a:pt x="754" y="59"/>
                      <a:pt x="754" y="59"/>
                    </a:cubicBezTo>
                    <a:cubicBezTo>
                      <a:pt x="755" y="57"/>
                      <a:pt x="757" y="55"/>
                      <a:pt x="758" y="54"/>
                    </a:cubicBezTo>
                    <a:cubicBezTo>
                      <a:pt x="759" y="53"/>
                      <a:pt x="759" y="53"/>
                      <a:pt x="759" y="53"/>
                    </a:cubicBezTo>
                    <a:cubicBezTo>
                      <a:pt x="752" y="54"/>
                      <a:pt x="752" y="54"/>
                      <a:pt x="752" y="54"/>
                    </a:cubicBezTo>
                    <a:cubicBezTo>
                      <a:pt x="751" y="53"/>
                      <a:pt x="751" y="53"/>
                      <a:pt x="751" y="53"/>
                    </a:cubicBezTo>
                    <a:cubicBezTo>
                      <a:pt x="748" y="53"/>
                      <a:pt x="745" y="51"/>
                      <a:pt x="742" y="50"/>
                    </a:cubicBezTo>
                    <a:cubicBezTo>
                      <a:pt x="742" y="50"/>
                      <a:pt x="742" y="50"/>
                      <a:pt x="742" y="50"/>
                    </a:cubicBezTo>
                    <a:cubicBezTo>
                      <a:pt x="741" y="50"/>
                      <a:pt x="741" y="50"/>
                      <a:pt x="741" y="50"/>
                    </a:cubicBezTo>
                    <a:cubicBezTo>
                      <a:pt x="739" y="52"/>
                      <a:pt x="739" y="52"/>
                      <a:pt x="739" y="52"/>
                    </a:cubicBezTo>
                    <a:cubicBezTo>
                      <a:pt x="738" y="53"/>
                      <a:pt x="737" y="53"/>
                      <a:pt x="736" y="54"/>
                    </a:cubicBezTo>
                    <a:cubicBezTo>
                      <a:pt x="733" y="55"/>
                      <a:pt x="733" y="55"/>
                      <a:pt x="733" y="55"/>
                    </a:cubicBezTo>
                    <a:cubicBezTo>
                      <a:pt x="726" y="58"/>
                      <a:pt x="726" y="58"/>
                      <a:pt x="726" y="58"/>
                    </a:cubicBezTo>
                    <a:cubicBezTo>
                      <a:pt x="728" y="51"/>
                      <a:pt x="728" y="51"/>
                      <a:pt x="728" y="51"/>
                    </a:cubicBezTo>
                    <a:cubicBezTo>
                      <a:pt x="728" y="51"/>
                      <a:pt x="729" y="50"/>
                      <a:pt x="729" y="49"/>
                    </a:cubicBezTo>
                    <a:cubicBezTo>
                      <a:pt x="728" y="49"/>
                      <a:pt x="728" y="49"/>
                      <a:pt x="728" y="49"/>
                    </a:cubicBezTo>
                    <a:cubicBezTo>
                      <a:pt x="728" y="48"/>
                      <a:pt x="728" y="48"/>
                      <a:pt x="728" y="48"/>
                    </a:cubicBezTo>
                    <a:cubicBezTo>
                      <a:pt x="728" y="47"/>
                      <a:pt x="728" y="46"/>
                      <a:pt x="728" y="46"/>
                    </a:cubicBezTo>
                    <a:cubicBezTo>
                      <a:pt x="725" y="49"/>
                      <a:pt x="725" y="49"/>
                      <a:pt x="725" y="49"/>
                    </a:cubicBezTo>
                    <a:cubicBezTo>
                      <a:pt x="721" y="46"/>
                      <a:pt x="721" y="46"/>
                      <a:pt x="721" y="46"/>
                    </a:cubicBezTo>
                    <a:cubicBezTo>
                      <a:pt x="720" y="46"/>
                      <a:pt x="720" y="46"/>
                      <a:pt x="720" y="46"/>
                    </a:cubicBezTo>
                    <a:cubicBezTo>
                      <a:pt x="719" y="46"/>
                      <a:pt x="719" y="46"/>
                      <a:pt x="719" y="46"/>
                    </a:cubicBezTo>
                    <a:cubicBezTo>
                      <a:pt x="713" y="48"/>
                      <a:pt x="713" y="48"/>
                      <a:pt x="713" y="48"/>
                    </a:cubicBezTo>
                    <a:cubicBezTo>
                      <a:pt x="708" y="48"/>
                      <a:pt x="708" y="48"/>
                      <a:pt x="708" y="48"/>
                    </a:cubicBezTo>
                    <a:cubicBezTo>
                      <a:pt x="707" y="49"/>
                      <a:pt x="705" y="49"/>
                      <a:pt x="703" y="49"/>
                    </a:cubicBezTo>
                    <a:cubicBezTo>
                      <a:pt x="703" y="49"/>
                      <a:pt x="702" y="49"/>
                      <a:pt x="701" y="49"/>
                    </a:cubicBezTo>
                    <a:cubicBezTo>
                      <a:pt x="701" y="49"/>
                      <a:pt x="701" y="49"/>
                      <a:pt x="701" y="49"/>
                    </a:cubicBezTo>
                    <a:cubicBezTo>
                      <a:pt x="698" y="48"/>
                      <a:pt x="698" y="48"/>
                      <a:pt x="698" y="48"/>
                    </a:cubicBezTo>
                    <a:cubicBezTo>
                      <a:pt x="694" y="47"/>
                      <a:pt x="694" y="47"/>
                      <a:pt x="694" y="47"/>
                    </a:cubicBezTo>
                    <a:cubicBezTo>
                      <a:pt x="693" y="46"/>
                      <a:pt x="693" y="46"/>
                      <a:pt x="693" y="46"/>
                    </a:cubicBezTo>
                    <a:cubicBezTo>
                      <a:pt x="692" y="45"/>
                      <a:pt x="692" y="45"/>
                      <a:pt x="692" y="45"/>
                    </a:cubicBezTo>
                    <a:cubicBezTo>
                      <a:pt x="691" y="44"/>
                      <a:pt x="691" y="44"/>
                      <a:pt x="691" y="44"/>
                    </a:cubicBezTo>
                    <a:cubicBezTo>
                      <a:pt x="691" y="43"/>
                      <a:pt x="691" y="43"/>
                      <a:pt x="691" y="43"/>
                    </a:cubicBezTo>
                    <a:cubicBezTo>
                      <a:pt x="690" y="42"/>
                      <a:pt x="690" y="41"/>
                      <a:pt x="689" y="41"/>
                    </a:cubicBezTo>
                    <a:cubicBezTo>
                      <a:pt x="689" y="40"/>
                      <a:pt x="689" y="39"/>
                      <a:pt x="689" y="38"/>
                    </a:cubicBezTo>
                    <a:cubicBezTo>
                      <a:pt x="688" y="38"/>
                      <a:pt x="688" y="38"/>
                      <a:pt x="688" y="38"/>
                    </a:cubicBezTo>
                    <a:cubicBezTo>
                      <a:pt x="689" y="35"/>
                      <a:pt x="689" y="35"/>
                      <a:pt x="689" y="35"/>
                    </a:cubicBezTo>
                    <a:cubicBezTo>
                      <a:pt x="690" y="33"/>
                      <a:pt x="690" y="33"/>
                      <a:pt x="690" y="33"/>
                    </a:cubicBezTo>
                    <a:cubicBezTo>
                      <a:pt x="692" y="33"/>
                      <a:pt x="692" y="33"/>
                      <a:pt x="692" y="33"/>
                    </a:cubicBezTo>
                    <a:cubicBezTo>
                      <a:pt x="693" y="33"/>
                      <a:pt x="693" y="33"/>
                      <a:pt x="693" y="33"/>
                    </a:cubicBezTo>
                    <a:cubicBezTo>
                      <a:pt x="693" y="33"/>
                      <a:pt x="693" y="33"/>
                      <a:pt x="693" y="33"/>
                    </a:cubicBezTo>
                    <a:cubicBezTo>
                      <a:pt x="694" y="33"/>
                      <a:pt x="694" y="33"/>
                      <a:pt x="694" y="33"/>
                    </a:cubicBezTo>
                    <a:cubicBezTo>
                      <a:pt x="693" y="31"/>
                      <a:pt x="693" y="31"/>
                      <a:pt x="693" y="31"/>
                    </a:cubicBezTo>
                    <a:cubicBezTo>
                      <a:pt x="693" y="26"/>
                      <a:pt x="693" y="26"/>
                      <a:pt x="693" y="26"/>
                    </a:cubicBezTo>
                    <a:cubicBezTo>
                      <a:pt x="695" y="22"/>
                      <a:pt x="695" y="22"/>
                      <a:pt x="695" y="22"/>
                    </a:cubicBezTo>
                    <a:cubicBezTo>
                      <a:pt x="694" y="20"/>
                      <a:pt x="694" y="20"/>
                      <a:pt x="694" y="20"/>
                    </a:cubicBezTo>
                    <a:cubicBezTo>
                      <a:pt x="691" y="13"/>
                      <a:pt x="691" y="13"/>
                      <a:pt x="691" y="13"/>
                    </a:cubicBezTo>
                    <a:cubicBezTo>
                      <a:pt x="689" y="9"/>
                      <a:pt x="687" y="6"/>
                      <a:pt x="685" y="2"/>
                    </a:cubicBezTo>
                    <a:cubicBezTo>
                      <a:pt x="684" y="2"/>
                      <a:pt x="684" y="2"/>
                      <a:pt x="684" y="2"/>
                    </a:cubicBezTo>
                    <a:cubicBezTo>
                      <a:pt x="680" y="2"/>
                      <a:pt x="680" y="2"/>
                      <a:pt x="680" y="2"/>
                    </a:cubicBezTo>
                    <a:cubicBezTo>
                      <a:pt x="677" y="3"/>
                      <a:pt x="675" y="5"/>
                      <a:pt x="674" y="6"/>
                    </a:cubicBezTo>
                    <a:cubicBezTo>
                      <a:pt x="673" y="7"/>
                      <a:pt x="673" y="7"/>
                      <a:pt x="673" y="7"/>
                    </a:cubicBezTo>
                    <a:cubicBezTo>
                      <a:pt x="670" y="8"/>
                      <a:pt x="670" y="8"/>
                      <a:pt x="670" y="8"/>
                    </a:cubicBezTo>
                    <a:cubicBezTo>
                      <a:pt x="667" y="7"/>
                      <a:pt x="667" y="7"/>
                      <a:pt x="667" y="7"/>
                    </a:cubicBezTo>
                    <a:cubicBezTo>
                      <a:pt x="665" y="7"/>
                      <a:pt x="663" y="6"/>
                      <a:pt x="661" y="5"/>
                    </a:cubicBezTo>
                    <a:cubicBezTo>
                      <a:pt x="661" y="5"/>
                      <a:pt x="661" y="5"/>
                      <a:pt x="661" y="5"/>
                    </a:cubicBezTo>
                    <a:cubicBezTo>
                      <a:pt x="658" y="4"/>
                      <a:pt x="657" y="3"/>
                      <a:pt x="655" y="2"/>
                    </a:cubicBezTo>
                    <a:cubicBezTo>
                      <a:pt x="654" y="0"/>
                      <a:pt x="654" y="0"/>
                      <a:pt x="654" y="0"/>
                    </a:cubicBezTo>
                    <a:cubicBezTo>
                      <a:pt x="653" y="0"/>
                      <a:pt x="653" y="0"/>
                      <a:pt x="653" y="0"/>
                    </a:cubicBezTo>
                    <a:cubicBezTo>
                      <a:pt x="644" y="0"/>
                      <a:pt x="644" y="0"/>
                      <a:pt x="6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330"/>
              <p:cNvSpPr/>
              <p:nvPr/>
            </p:nvSpPr>
            <p:spPr bwMode="auto">
              <a:xfrm>
                <a:off x="11261713" y="3471380"/>
                <a:ext cx="11055" cy="11055"/>
              </a:xfrm>
              <a:custGeom>
                <a:gdLst>
                  <a:gd name="T0" fmla="*/ 4 w 4"/>
                  <a:gd name="T1" fmla="*/ 0 h 3"/>
                  <a:gd name="T2" fmla="*/ 0 w 4"/>
                  <a:gd name="T3" fmla="*/ 2 h 3"/>
                  <a:gd name="T4" fmla="*/ 3 w 4"/>
                  <a:gd name="T5" fmla="*/ 3 h 3"/>
                  <a:gd name="T6" fmla="*/ 4 w 4"/>
                  <a:gd name="T7" fmla="*/ 2 h 3"/>
                  <a:gd name="T8" fmla="*/ 4 w 4"/>
                  <a:gd name="T9" fmla="*/ 1 h 3"/>
                  <a:gd name="T10" fmla="*/ 4 w 4"/>
                  <a:gd name="T11" fmla="*/ 0 h 3"/>
                </a:gdLst>
                <a:cxnLst>
                  <a:cxn ang="0">
                    <a:pos x="T0" y="T1"/>
                  </a:cxn>
                  <a:cxn ang="0">
                    <a:pos x="T2" y="T3"/>
                  </a:cxn>
                  <a:cxn ang="0">
                    <a:pos x="T4" y="T5"/>
                  </a:cxn>
                  <a:cxn ang="0">
                    <a:pos x="T6" y="T7"/>
                  </a:cxn>
                  <a:cxn ang="0">
                    <a:pos x="T8" y="T9"/>
                  </a:cxn>
                  <a:cxn ang="0">
                    <a:pos x="T10" y="T11"/>
                  </a:cxn>
                </a:cxnLst>
                <a:rect l="0" t="0" r="r" b="b"/>
                <a:pathLst>
                  <a:path w="4" h="3">
                    <a:moveTo>
                      <a:pt x="4" y="0"/>
                    </a:moveTo>
                    <a:cubicBezTo>
                      <a:pt x="0" y="2"/>
                      <a:pt x="0" y="2"/>
                      <a:pt x="0" y="2"/>
                    </a:cubicBezTo>
                    <a:cubicBezTo>
                      <a:pt x="2" y="2"/>
                      <a:pt x="3" y="2"/>
                      <a:pt x="3" y="3"/>
                    </a:cubicBezTo>
                    <a:cubicBezTo>
                      <a:pt x="4" y="2"/>
                      <a:pt x="4" y="2"/>
                      <a:pt x="4" y="2"/>
                    </a:cubicBezTo>
                    <a:cubicBezTo>
                      <a:pt x="4" y="1"/>
                      <a:pt x="4" y="1"/>
                      <a:pt x="4" y="1"/>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Rectangle 331"/>
              <p:cNvSpPr>
                <a:spLocks noChangeArrowheads="1"/>
              </p:cNvSpPr>
              <p:nvPr/>
            </p:nvSpPr>
            <p:spPr bwMode="auto">
              <a:xfrm>
                <a:off x="8947461" y="3799355"/>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332"/>
              <p:cNvSpPr/>
              <p:nvPr/>
            </p:nvSpPr>
            <p:spPr bwMode="auto">
              <a:xfrm flipH="1">
                <a:off x="8947461" y="3799355"/>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333"/>
              <p:cNvSpPr>
                <a:spLocks noEditPoints="1"/>
              </p:cNvSpPr>
              <p:nvPr/>
            </p:nvSpPr>
            <p:spPr bwMode="auto">
              <a:xfrm>
                <a:off x="11011125" y="4171552"/>
                <a:ext cx="1168182" cy="2148422"/>
              </a:xfrm>
              <a:custGeom>
                <a:gdLst>
                  <a:gd name="T0" fmla="*/ 152 w 368"/>
                  <a:gd name="T1" fmla="*/ 491 h 677"/>
                  <a:gd name="T2" fmla="*/ 148 w 368"/>
                  <a:gd name="T3" fmla="*/ 491 h 677"/>
                  <a:gd name="T4" fmla="*/ 166 w 368"/>
                  <a:gd name="T5" fmla="*/ 484 h 677"/>
                  <a:gd name="T6" fmla="*/ 166 w 368"/>
                  <a:gd name="T7" fmla="*/ 478 h 677"/>
                  <a:gd name="T8" fmla="*/ 169 w 368"/>
                  <a:gd name="T9" fmla="*/ 478 h 677"/>
                  <a:gd name="T10" fmla="*/ 168 w 368"/>
                  <a:gd name="T11" fmla="*/ 478 h 677"/>
                  <a:gd name="T12" fmla="*/ 168 w 368"/>
                  <a:gd name="T13" fmla="*/ 478 h 677"/>
                  <a:gd name="T14" fmla="*/ 182 w 368"/>
                  <a:gd name="T15" fmla="*/ 462 h 677"/>
                  <a:gd name="T16" fmla="*/ 185 w 368"/>
                  <a:gd name="T17" fmla="*/ 455 h 677"/>
                  <a:gd name="T18" fmla="*/ 368 w 368"/>
                  <a:gd name="T19" fmla="*/ 0 h 677"/>
                  <a:gd name="T20" fmla="*/ 343 w 368"/>
                  <a:gd name="T21" fmla="*/ 39 h 677"/>
                  <a:gd name="T22" fmla="*/ 275 w 368"/>
                  <a:gd name="T23" fmla="*/ 53 h 677"/>
                  <a:gd name="T24" fmla="*/ 256 w 368"/>
                  <a:gd name="T25" fmla="*/ 115 h 677"/>
                  <a:gd name="T26" fmla="*/ 225 w 368"/>
                  <a:gd name="T27" fmla="*/ 115 h 677"/>
                  <a:gd name="T28" fmla="*/ 183 w 368"/>
                  <a:gd name="T29" fmla="*/ 127 h 677"/>
                  <a:gd name="T30" fmla="*/ 195 w 368"/>
                  <a:gd name="T31" fmla="*/ 160 h 677"/>
                  <a:gd name="T32" fmla="*/ 197 w 368"/>
                  <a:gd name="T33" fmla="*/ 193 h 677"/>
                  <a:gd name="T34" fmla="*/ 188 w 368"/>
                  <a:gd name="T35" fmla="*/ 221 h 677"/>
                  <a:gd name="T36" fmla="*/ 160 w 368"/>
                  <a:gd name="T37" fmla="*/ 239 h 677"/>
                  <a:gd name="T38" fmla="*/ 135 w 368"/>
                  <a:gd name="T39" fmla="*/ 254 h 677"/>
                  <a:gd name="T40" fmla="*/ 104 w 368"/>
                  <a:gd name="T41" fmla="*/ 262 h 677"/>
                  <a:gd name="T42" fmla="*/ 86 w 368"/>
                  <a:gd name="T43" fmla="*/ 273 h 677"/>
                  <a:gd name="T44" fmla="*/ 72 w 368"/>
                  <a:gd name="T45" fmla="*/ 286 h 677"/>
                  <a:gd name="T46" fmla="*/ 65 w 368"/>
                  <a:gd name="T47" fmla="*/ 286 h 677"/>
                  <a:gd name="T48" fmla="*/ 50 w 368"/>
                  <a:gd name="T49" fmla="*/ 280 h 677"/>
                  <a:gd name="T50" fmla="*/ 19 w 368"/>
                  <a:gd name="T51" fmla="*/ 293 h 677"/>
                  <a:gd name="T52" fmla="*/ 5 w 368"/>
                  <a:gd name="T53" fmla="*/ 314 h 677"/>
                  <a:gd name="T54" fmla="*/ 2 w 368"/>
                  <a:gd name="T55" fmla="*/ 323 h 677"/>
                  <a:gd name="T56" fmla="*/ 5 w 368"/>
                  <a:gd name="T57" fmla="*/ 334 h 677"/>
                  <a:gd name="T58" fmla="*/ 14 w 368"/>
                  <a:gd name="T59" fmla="*/ 336 h 677"/>
                  <a:gd name="T60" fmla="*/ 36 w 368"/>
                  <a:gd name="T61" fmla="*/ 352 h 677"/>
                  <a:gd name="T62" fmla="*/ 39 w 368"/>
                  <a:gd name="T63" fmla="*/ 387 h 677"/>
                  <a:gd name="T64" fmla="*/ 58 w 368"/>
                  <a:gd name="T65" fmla="*/ 400 h 677"/>
                  <a:gd name="T66" fmla="*/ 71 w 368"/>
                  <a:gd name="T67" fmla="*/ 429 h 677"/>
                  <a:gd name="T68" fmla="*/ 84 w 368"/>
                  <a:gd name="T69" fmla="*/ 432 h 677"/>
                  <a:gd name="T70" fmla="*/ 124 w 368"/>
                  <a:gd name="T71" fmla="*/ 437 h 677"/>
                  <a:gd name="T72" fmla="*/ 121 w 368"/>
                  <a:gd name="T73" fmla="*/ 443 h 677"/>
                  <a:gd name="T74" fmla="*/ 129 w 368"/>
                  <a:gd name="T75" fmla="*/ 468 h 677"/>
                  <a:gd name="T76" fmla="*/ 142 w 368"/>
                  <a:gd name="T77" fmla="*/ 492 h 677"/>
                  <a:gd name="T78" fmla="*/ 151 w 368"/>
                  <a:gd name="T79" fmla="*/ 508 h 677"/>
                  <a:gd name="T80" fmla="*/ 166 w 368"/>
                  <a:gd name="T81" fmla="*/ 527 h 677"/>
                  <a:gd name="T82" fmla="*/ 148 w 368"/>
                  <a:gd name="T83" fmla="*/ 547 h 677"/>
                  <a:gd name="T84" fmla="*/ 145 w 368"/>
                  <a:gd name="T85" fmla="*/ 561 h 677"/>
                  <a:gd name="T86" fmla="*/ 157 w 368"/>
                  <a:gd name="T87" fmla="*/ 572 h 677"/>
                  <a:gd name="T88" fmla="*/ 166 w 368"/>
                  <a:gd name="T89" fmla="*/ 583 h 677"/>
                  <a:gd name="T90" fmla="*/ 207 w 368"/>
                  <a:gd name="T91" fmla="*/ 607 h 677"/>
                  <a:gd name="T92" fmla="*/ 223 w 368"/>
                  <a:gd name="T93" fmla="*/ 601 h 677"/>
                  <a:gd name="T94" fmla="*/ 250 w 368"/>
                  <a:gd name="T95" fmla="*/ 616 h 677"/>
                  <a:gd name="T96" fmla="*/ 268 w 368"/>
                  <a:gd name="T97" fmla="*/ 626 h 677"/>
                  <a:gd name="T98" fmla="*/ 276 w 368"/>
                  <a:gd name="T99" fmla="*/ 631 h 677"/>
                  <a:gd name="T100" fmla="*/ 294 w 368"/>
                  <a:gd name="T101" fmla="*/ 638 h 677"/>
                  <a:gd name="T102" fmla="*/ 306 w 368"/>
                  <a:gd name="T103" fmla="*/ 653 h 677"/>
                  <a:gd name="T104" fmla="*/ 322 w 368"/>
                  <a:gd name="T105" fmla="*/ 659 h 677"/>
                  <a:gd name="T106" fmla="*/ 329 w 368"/>
                  <a:gd name="T107" fmla="*/ 667 h 677"/>
                  <a:gd name="T108" fmla="*/ 351 w 368"/>
                  <a:gd name="T109" fmla="*/ 673 h 677"/>
                  <a:gd name="T110" fmla="*/ 368 w 368"/>
                  <a:gd name="T111" fmla="*/ 674 h 6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8" h="677">
                    <a:moveTo>
                      <a:pt x="154" y="491"/>
                    </a:moveTo>
                    <a:cubicBezTo>
                      <a:pt x="155" y="491"/>
                      <a:pt x="155" y="491"/>
                      <a:pt x="155" y="491"/>
                    </a:cubicBezTo>
                    <a:cubicBezTo>
                      <a:pt x="154" y="491"/>
                      <a:pt x="154" y="491"/>
                      <a:pt x="154" y="491"/>
                    </a:cubicBezTo>
                    <a:moveTo>
                      <a:pt x="147" y="495"/>
                    </a:moveTo>
                    <a:cubicBezTo>
                      <a:pt x="147" y="494"/>
                      <a:pt x="147" y="493"/>
                      <a:pt x="147" y="493"/>
                    </a:cubicBezTo>
                    <a:cubicBezTo>
                      <a:pt x="148" y="492"/>
                      <a:pt x="148" y="492"/>
                      <a:pt x="148" y="492"/>
                    </a:cubicBezTo>
                    <a:cubicBezTo>
                      <a:pt x="152" y="491"/>
                      <a:pt x="152" y="491"/>
                      <a:pt x="152" y="491"/>
                    </a:cubicBezTo>
                    <a:cubicBezTo>
                      <a:pt x="152" y="491"/>
                      <a:pt x="152" y="491"/>
                      <a:pt x="152" y="491"/>
                    </a:cubicBezTo>
                    <a:cubicBezTo>
                      <a:pt x="152" y="491"/>
                      <a:pt x="152" y="491"/>
                      <a:pt x="153" y="491"/>
                    </a:cubicBezTo>
                    <a:cubicBezTo>
                      <a:pt x="147" y="494"/>
                      <a:pt x="147" y="494"/>
                      <a:pt x="147" y="494"/>
                    </a:cubicBezTo>
                    <a:cubicBezTo>
                      <a:pt x="147" y="495"/>
                      <a:pt x="147" y="495"/>
                      <a:pt x="147" y="495"/>
                    </a:cubicBezTo>
                    <a:moveTo>
                      <a:pt x="151" y="491"/>
                    </a:moveTo>
                    <a:cubicBezTo>
                      <a:pt x="151" y="491"/>
                      <a:pt x="151" y="491"/>
                      <a:pt x="151" y="491"/>
                    </a:cubicBezTo>
                    <a:cubicBezTo>
                      <a:pt x="151" y="491"/>
                      <a:pt x="151" y="491"/>
                      <a:pt x="151" y="491"/>
                    </a:cubicBezTo>
                    <a:moveTo>
                      <a:pt x="148" y="492"/>
                    </a:moveTo>
                    <a:cubicBezTo>
                      <a:pt x="148" y="491"/>
                      <a:pt x="148" y="491"/>
                      <a:pt x="148" y="491"/>
                    </a:cubicBezTo>
                    <a:cubicBezTo>
                      <a:pt x="149" y="491"/>
                      <a:pt x="149" y="491"/>
                      <a:pt x="150" y="491"/>
                    </a:cubicBezTo>
                    <a:cubicBezTo>
                      <a:pt x="150" y="491"/>
                      <a:pt x="150" y="491"/>
                      <a:pt x="150" y="491"/>
                    </a:cubicBezTo>
                    <a:cubicBezTo>
                      <a:pt x="150" y="491"/>
                      <a:pt x="150" y="491"/>
                      <a:pt x="150" y="491"/>
                    </a:cubicBezTo>
                    <a:cubicBezTo>
                      <a:pt x="150" y="491"/>
                      <a:pt x="150" y="491"/>
                      <a:pt x="150" y="491"/>
                    </a:cubicBezTo>
                    <a:cubicBezTo>
                      <a:pt x="149" y="491"/>
                      <a:pt x="149" y="491"/>
                      <a:pt x="148" y="491"/>
                    </a:cubicBezTo>
                    <a:cubicBezTo>
                      <a:pt x="148" y="492"/>
                      <a:pt x="148" y="492"/>
                      <a:pt x="148" y="492"/>
                    </a:cubicBezTo>
                    <a:moveTo>
                      <a:pt x="164" y="487"/>
                    </a:moveTo>
                    <a:cubicBezTo>
                      <a:pt x="165" y="486"/>
                      <a:pt x="165" y="485"/>
                      <a:pt x="166" y="484"/>
                    </a:cubicBezTo>
                    <a:cubicBezTo>
                      <a:pt x="165" y="485"/>
                      <a:pt x="165" y="486"/>
                      <a:pt x="164" y="487"/>
                    </a:cubicBezTo>
                    <a:moveTo>
                      <a:pt x="167" y="478"/>
                    </a:moveTo>
                    <a:cubicBezTo>
                      <a:pt x="167" y="478"/>
                      <a:pt x="167" y="478"/>
                      <a:pt x="167" y="478"/>
                    </a:cubicBezTo>
                    <a:cubicBezTo>
                      <a:pt x="167" y="478"/>
                      <a:pt x="167" y="478"/>
                      <a:pt x="167" y="478"/>
                    </a:cubicBezTo>
                    <a:cubicBezTo>
                      <a:pt x="167" y="478"/>
                      <a:pt x="167" y="478"/>
                      <a:pt x="167" y="478"/>
                    </a:cubicBezTo>
                    <a:cubicBezTo>
                      <a:pt x="167" y="478"/>
                      <a:pt x="167" y="478"/>
                      <a:pt x="167" y="478"/>
                    </a:cubicBezTo>
                    <a:moveTo>
                      <a:pt x="166" y="478"/>
                    </a:moveTo>
                    <a:cubicBezTo>
                      <a:pt x="166" y="478"/>
                      <a:pt x="166" y="478"/>
                      <a:pt x="166" y="478"/>
                    </a:cubicBezTo>
                    <a:cubicBezTo>
                      <a:pt x="166" y="478"/>
                      <a:pt x="166" y="478"/>
                      <a:pt x="166" y="478"/>
                    </a:cubicBezTo>
                    <a:moveTo>
                      <a:pt x="169" y="478"/>
                    </a:moveTo>
                    <a:cubicBezTo>
                      <a:pt x="169" y="478"/>
                      <a:pt x="169" y="478"/>
                      <a:pt x="169" y="478"/>
                    </a:cubicBezTo>
                    <a:cubicBezTo>
                      <a:pt x="169" y="478"/>
                      <a:pt x="169" y="478"/>
                      <a:pt x="169" y="478"/>
                    </a:cubicBezTo>
                    <a:moveTo>
                      <a:pt x="169" y="478"/>
                    </a:moveTo>
                    <a:cubicBezTo>
                      <a:pt x="169" y="478"/>
                      <a:pt x="169" y="478"/>
                      <a:pt x="169" y="478"/>
                    </a:cubicBezTo>
                    <a:cubicBezTo>
                      <a:pt x="169" y="478"/>
                      <a:pt x="169" y="478"/>
                      <a:pt x="169" y="478"/>
                    </a:cubicBezTo>
                    <a:cubicBezTo>
                      <a:pt x="169" y="478"/>
                      <a:pt x="169" y="478"/>
                      <a:pt x="169" y="478"/>
                    </a:cubicBezTo>
                    <a:moveTo>
                      <a:pt x="166" y="478"/>
                    </a:moveTo>
                    <a:cubicBezTo>
                      <a:pt x="166" y="478"/>
                      <a:pt x="166" y="478"/>
                      <a:pt x="166" y="478"/>
                    </a:cubicBezTo>
                    <a:cubicBezTo>
                      <a:pt x="166" y="478"/>
                      <a:pt x="166" y="478"/>
                      <a:pt x="166" y="478"/>
                    </a:cubicBezTo>
                    <a:cubicBezTo>
                      <a:pt x="166" y="478"/>
                      <a:pt x="166" y="478"/>
                      <a:pt x="166" y="478"/>
                    </a:cubicBezTo>
                    <a:moveTo>
                      <a:pt x="169" y="478"/>
                    </a:moveTo>
                    <a:cubicBezTo>
                      <a:pt x="169" y="478"/>
                      <a:pt x="168" y="478"/>
                      <a:pt x="168" y="478"/>
                    </a:cubicBezTo>
                    <a:cubicBezTo>
                      <a:pt x="168" y="478"/>
                      <a:pt x="168" y="478"/>
                      <a:pt x="168" y="478"/>
                    </a:cubicBezTo>
                    <a:cubicBezTo>
                      <a:pt x="168" y="478"/>
                      <a:pt x="168" y="478"/>
                      <a:pt x="168" y="478"/>
                    </a:cubicBezTo>
                    <a:cubicBezTo>
                      <a:pt x="168" y="478"/>
                      <a:pt x="169" y="478"/>
                      <a:pt x="169" y="478"/>
                    </a:cubicBezTo>
                    <a:moveTo>
                      <a:pt x="168" y="478"/>
                    </a:moveTo>
                    <a:cubicBezTo>
                      <a:pt x="168" y="478"/>
                      <a:pt x="168" y="478"/>
                      <a:pt x="168" y="478"/>
                    </a:cubicBezTo>
                    <a:cubicBezTo>
                      <a:pt x="168" y="478"/>
                      <a:pt x="168" y="478"/>
                      <a:pt x="168" y="478"/>
                    </a:cubicBezTo>
                    <a:moveTo>
                      <a:pt x="168" y="478"/>
                    </a:moveTo>
                    <a:cubicBezTo>
                      <a:pt x="168" y="478"/>
                      <a:pt x="168" y="478"/>
                      <a:pt x="168" y="478"/>
                    </a:cubicBezTo>
                    <a:cubicBezTo>
                      <a:pt x="168" y="478"/>
                      <a:pt x="168" y="478"/>
                      <a:pt x="168" y="478"/>
                    </a:cubicBezTo>
                    <a:cubicBezTo>
                      <a:pt x="168" y="478"/>
                      <a:pt x="168" y="478"/>
                      <a:pt x="168" y="478"/>
                    </a:cubicBezTo>
                    <a:moveTo>
                      <a:pt x="170" y="477"/>
                    </a:moveTo>
                    <a:cubicBezTo>
                      <a:pt x="170" y="477"/>
                      <a:pt x="170" y="477"/>
                      <a:pt x="170" y="477"/>
                    </a:cubicBezTo>
                    <a:cubicBezTo>
                      <a:pt x="172" y="476"/>
                      <a:pt x="173" y="474"/>
                      <a:pt x="174" y="472"/>
                    </a:cubicBezTo>
                    <a:cubicBezTo>
                      <a:pt x="177" y="469"/>
                      <a:pt x="179" y="466"/>
                      <a:pt x="182" y="462"/>
                    </a:cubicBezTo>
                    <a:cubicBezTo>
                      <a:pt x="182" y="461"/>
                      <a:pt x="183" y="460"/>
                      <a:pt x="184" y="459"/>
                    </a:cubicBezTo>
                    <a:cubicBezTo>
                      <a:pt x="184" y="458"/>
                      <a:pt x="185" y="457"/>
                      <a:pt x="185" y="455"/>
                    </a:cubicBezTo>
                    <a:cubicBezTo>
                      <a:pt x="185" y="457"/>
                      <a:pt x="184" y="458"/>
                      <a:pt x="184" y="459"/>
                    </a:cubicBezTo>
                    <a:cubicBezTo>
                      <a:pt x="183" y="460"/>
                      <a:pt x="182" y="461"/>
                      <a:pt x="182" y="462"/>
                    </a:cubicBezTo>
                    <a:cubicBezTo>
                      <a:pt x="179" y="466"/>
                      <a:pt x="177" y="469"/>
                      <a:pt x="174" y="472"/>
                    </a:cubicBezTo>
                    <a:cubicBezTo>
                      <a:pt x="173" y="474"/>
                      <a:pt x="172" y="476"/>
                      <a:pt x="170" y="477"/>
                    </a:cubicBezTo>
                    <a:cubicBezTo>
                      <a:pt x="170" y="477"/>
                      <a:pt x="170" y="477"/>
                      <a:pt x="170" y="477"/>
                    </a:cubicBezTo>
                    <a:moveTo>
                      <a:pt x="185" y="455"/>
                    </a:moveTo>
                    <a:cubicBezTo>
                      <a:pt x="186" y="452"/>
                      <a:pt x="187" y="450"/>
                      <a:pt x="188" y="447"/>
                    </a:cubicBezTo>
                    <a:cubicBezTo>
                      <a:pt x="188" y="447"/>
                      <a:pt x="188" y="446"/>
                      <a:pt x="188" y="445"/>
                    </a:cubicBezTo>
                    <a:cubicBezTo>
                      <a:pt x="188" y="446"/>
                      <a:pt x="188" y="447"/>
                      <a:pt x="188" y="447"/>
                    </a:cubicBezTo>
                    <a:cubicBezTo>
                      <a:pt x="187" y="450"/>
                      <a:pt x="186" y="452"/>
                      <a:pt x="185" y="455"/>
                    </a:cubicBezTo>
                    <a:moveTo>
                      <a:pt x="154" y="429"/>
                    </a:moveTo>
                    <a:cubicBezTo>
                      <a:pt x="154" y="429"/>
                      <a:pt x="154" y="429"/>
                      <a:pt x="154" y="429"/>
                    </a:cubicBezTo>
                    <a:cubicBezTo>
                      <a:pt x="154" y="429"/>
                      <a:pt x="154" y="429"/>
                      <a:pt x="154" y="429"/>
                    </a:cubicBezTo>
                    <a:cubicBezTo>
                      <a:pt x="154" y="429"/>
                      <a:pt x="154" y="429"/>
                      <a:pt x="154" y="429"/>
                    </a:cubicBezTo>
                    <a:moveTo>
                      <a:pt x="154" y="429"/>
                    </a:moveTo>
                    <a:cubicBezTo>
                      <a:pt x="153" y="429"/>
                      <a:pt x="153" y="429"/>
                      <a:pt x="153" y="429"/>
                    </a:cubicBezTo>
                    <a:cubicBezTo>
                      <a:pt x="153" y="429"/>
                      <a:pt x="153" y="429"/>
                      <a:pt x="154" y="429"/>
                    </a:cubicBezTo>
                    <a:moveTo>
                      <a:pt x="368" y="0"/>
                    </a:moveTo>
                    <a:cubicBezTo>
                      <a:pt x="367" y="0"/>
                      <a:pt x="366" y="1"/>
                      <a:pt x="365" y="1"/>
                    </a:cubicBezTo>
                    <a:cubicBezTo>
                      <a:pt x="360" y="3"/>
                      <a:pt x="355" y="4"/>
                      <a:pt x="350" y="5"/>
                    </a:cubicBezTo>
                    <a:cubicBezTo>
                      <a:pt x="350" y="5"/>
                      <a:pt x="349" y="5"/>
                      <a:pt x="348" y="5"/>
                    </a:cubicBezTo>
                    <a:cubicBezTo>
                      <a:pt x="348" y="5"/>
                      <a:pt x="346" y="5"/>
                      <a:pt x="345" y="5"/>
                    </a:cubicBezTo>
                    <a:cubicBezTo>
                      <a:pt x="344" y="6"/>
                      <a:pt x="339" y="15"/>
                      <a:pt x="340" y="17"/>
                    </a:cubicBezTo>
                    <a:cubicBezTo>
                      <a:pt x="340" y="20"/>
                      <a:pt x="341" y="24"/>
                      <a:pt x="341" y="27"/>
                    </a:cubicBezTo>
                    <a:cubicBezTo>
                      <a:pt x="341" y="27"/>
                      <a:pt x="341" y="27"/>
                      <a:pt x="341" y="27"/>
                    </a:cubicBezTo>
                    <a:cubicBezTo>
                      <a:pt x="342" y="31"/>
                      <a:pt x="343" y="35"/>
                      <a:pt x="343" y="39"/>
                    </a:cubicBezTo>
                    <a:cubicBezTo>
                      <a:pt x="344" y="48"/>
                      <a:pt x="336" y="52"/>
                      <a:pt x="331" y="55"/>
                    </a:cubicBezTo>
                    <a:cubicBezTo>
                      <a:pt x="329" y="56"/>
                      <a:pt x="329" y="56"/>
                      <a:pt x="329" y="56"/>
                    </a:cubicBezTo>
                    <a:cubicBezTo>
                      <a:pt x="325" y="58"/>
                      <a:pt x="322" y="60"/>
                      <a:pt x="318" y="60"/>
                    </a:cubicBezTo>
                    <a:cubicBezTo>
                      <a:pt x="316" y="60"/>
                      <a:pt x="314" y="59"/>
                      <a:pt x="311" y="58"/>
                    </a:cubicBezTo>
                    <a:cubicBezTo>
                      <a:pt x="309" y="57"/>
                      <a:pt x="304" y="56"/>
                      <a:pt x="301" y="56"/>
                    </a:cubicBezTo>
                    <a:cubicBezTo>
                      <a:pt x="299" y="56"/>
                      <a:pt x="298" y="56"/>
                      <a:pt x="297" y="57"/>
                    </a:cubicBezTo>
                    <a:cubicBezTo>
                      <a:pt x="296" y="58"/>
                      <a:pt x="294" y="58"/>
                      <a:pt x="292" y="58"/>
                    </a:cubicBezTo>
                    <a:cubicBezTo>
                      <a:pt x="285" y="58"/>
                      <a:pt x="275" y="53"/>
                      <a:pt x="275" y="53"/>
                    </a:cubicBezTo>
                    <a:cubicBezTo>
                      <a:pt x="274" y="52"/>
                      <a:pt x="274" y="52"/>
                      <a:pt x="274" y="52"/>
                    </a:cubicBezTo>
                    <a:cubicBezTo>
                      <a:pt x="272" y="51"/>
                      <a:pt x="269" y="49"/>
                      <a:pt x="267" y="49"/>
                    </a:cubicBezTo>
                    <a:cubicBezTo>
                      <a:pt x="267" y="49"/>
                      <a:pt x="267" y="49"/>
                      <a:pt x="267" y="49"/>
                    </a:cubicBezTo>
                    <a:cubicBezTo>
                      <a:pt x="267" y="49"/>
                      <a:pt x="267" y="49"/>
                      <a:pt x="266" y="50"/>
                    </a:cubicBezTo>
                    <a:cubicBezTo>
                      <a:pt x="248" y="103"/>
                      <a:pt x="248" y="103"/>
                      <a:pt x="248" y="103"/>
                    </a:cubicBezTo>
                    <a:cubicBezTo>
                      <a:pt x="249" y="103"/>
                      <a:pt x="249" y="103"/>
                      <a:pt x="249" y="103"/>
                    </a:cubicBezTo>
                    <a:cubicBezTo>
                      <a:pt x="252" y="104"/>
                      <a:pt x="253" y="104"/>
                      <a:pt x="255" y="106"/>
                    </a:cubicBezTo>
                    <a:cubicBezTo>
                      <a:pt x="257" y="108"/>
                      <a:pt x="256" y="112"/>
                      <a:pt x="256" y="115"/>
                    </a:cubicBezTo>
                    <a:cubicBezTo>
                      <a:pt x="256" y="116"/>
                      <a:pt x="256" y="116"/>
                      <a:pt x="256" y="117"/>
                    </a:cubicBezTo>
                    <a:cubicBezTo>
                      <a:pt x="256" y="120"/>
                      <a:pt x="253" y="121"/>
                      <a:pt x="246" y="121"/>
                    </a:cubicBezTo>
                    <a:cubicBezTo>
                      <a:pt x="245" y="121"/>
                      <a:pt x="244" y="121"/>
                      <a:pt x="242" y="121"/>
                    </a:cubicBezTo>
                    <a:cubicBezTo>
                      <a:pt x="241" y="121"/>
                      <a:pt x="241" y="121"/>
                      <a:pt x="241" y="121"/>
                    </a:cubicBezTo>
                    <a:cubicBezTo>
                      <a:pt x="240" y="121"/>
                      <a:pt x="239" y="121"/>
                      <a:pt x="238" y="121"/>
                    </a:cubicBezTo>
                    <a:cubicBezTo>
                      <a:pt x="237" y="121"/>
                      <a:pt x="236" y="121"/>
                      <a:pt x="234" y="121"/>
                    </a:cubicBezTo>
                    <a:cubicBezTo>
                      <a:pt x="231" y="121"/>
                      <a:pt x="228" y="120"/>
                      <a:pt x="227" y="118"/>
                    </a:cubicBezTo>
                    <a:cubicBezTo>
                      <a:pt x="226" y="117"/>
                      <a:pt x="226" y="116"/>
                      <a:pt x="225" y="115"/>
                    </a:cubicBezTo>
                    <a:cubicBezTo>
                      <a:pt x="225" y="115"/>
                      <a:pt x="224" y="116"/>
                      <a:pt x="222" y="116"/>
                    </a:cubicBezTo>
                    <a:cubicBezTo>
                      <a:pt x="221" y="117"/>
                      <a:pt x="220" y="117"/>
                      <a:pt x="219" y="117"/>
                    </a:cubicBezTo>
                    <a:cubicBezTo>
                      <a:pt x="202" y="122"/>
                      <a:pt x="202" y="122"/>
                      <a:pt x="202" y="122"/>
                    </a:cubicBezTo>
                    <a:cubicBezTo>
                      <a:pt x="196" y="123"/>
                      <a:pt x="191" y="125"/>
                      <a:pt x="185" y="126"/>
                    </a:cubicBezTo>
                    <a:cubicBezTo>
                      <a:pt x="183" y="127"/>
                      <a:pt x="183" y="127"/>
                      <a:pt x="183" y="127"/>
                    </a:cubicBezTo>
                    <a:cubicBezTo>
                      <a:pt x="182" y="127"/>
                      <a:pt x="181" y="127"/>
                      <a:pt x="180" y="128"/>
                    </a:cubicBezTo>
                    <a:cubicBezTo>
                      <a:pt x="180" y="128"/>
                      <a:pt x="180" y="128"/>
                      <a:pt x="180" y="128"/>
                    </a:cubicBezTo>
                    <a:cubicBezTo>
                      <a:pt x="181" y="127"/>
                      <a:pt x="182" y="127"/>
                      <a:pt x="183" y="127"/>
                    </a:cubicBezTo>
                    <a:cubicBezTo>
                      <a:pt x="187" y="127"/>
                      <a:pt x="191" y="129"/>
                      <a:pt x="194" y="130"/>
                    </a:cubicBezTo>
                    <a:cubicBezTo>
                      <a:pt x="198" y="133"/>
                      <a:pt x="198" y="133"/>
                      <a:pt x="198" y="133"/>
                    </a:cubicBezTo>
                    <a:cubicBezTo>
                      <a:pt x="195" y="136"/>
                      <a:pt x="195" y="136"/>
                      <a:pt x="195" y="136"/>
                    </a:cubicBezTo>
                    <a:cubicBezTo>
                      <a:pt x="194" y="137"/>
                      <a:pt x="193" y="137"/>
                      <a:pt x="193" y="138"/>
                    </a:cubicBezTo>
                    <a:cubicBezTo>
                      <a:pt x="192" y="138"/>
                      <a:pt x="192" y="138"/>
                      <a:pt x="192" y="139"/>
                    </a:cubicBezTo>
                    <a:cubicBezTo>
                      <a:pt x="191" y="141"/>
                      <a:pt x="192" y="145"/>
                      <a:pt x="192" y="147"/>
                    </a:cubicBezTo>
                    <a:cubicBezTo>
                      <a:pt x="192" y="150"/>
                      <a:pt x="192" y="150"/>
                      <a:pt x="192" y="150"/>
                    </a:cubicBezTo>
                    <a:cubicBezTo>
                      <a:pt x="193" y="154"/>
                      <a:pt x="194" y="157"/>
                      <a:pt x="195" y="160"/>
                    </a:cubicBezTo>
                    <a:cubicBezTo>
                      <a:pt x="196" y="162"/>
                      <a:pt x="196" y="163"/>
                      <a:pt x="197" y="165"/>
                    </a:cubicBezTo>
                    <a:cubicBezTo>
                      <a:pt x="197" y="166"/>
                      <a:pt x="197" y="166"/>
                      <a:pt x="197" y="166"/>
                    </a:cubicBezTo>
                    <a:cubicBezTo>
                      <a:pt x="198" y="168"/>
                      <a:pt x="199" y="170"/>
                      <a:pt x="200" y="172"/>
                    </a:cubicBezTo>
                    <a:cubicBezTo>
                      <a:pt x="201" y="174"/>
                      <a:pt x="202" y="175"/>
                      <a:pt x="202" y="177"/>
                    </a:cubicBezTo>
                    <a:cubicBezTo>
                      <a:pt x="202" y="178"/>
                      <a:pt x="202" y="178"/>
                      <a:pt x="202" y="178"/>
                    </a:cubicBezTo>
                    <a:cubicBezTo>
                      <a:pt x="202" y="178"/>
                      <a:pt x="203" y="178"/>
                      <a:pt x="203" y="179"/>
                    </a:cubicBezTo>
                    <a:cubicBezTo>
                      <a:pt x="205" y="188"/>
                      <a:pt x="205" y="189"/>
                      <a:pt x="204" y="190"/>
                    </a:cubicBezTo>
                    <a:cubicBezTo>
                      <a:pt x="203" y="192"/>
                      <a:pt x="200" y="192"/>
                      <a:pt x="197" y="193"/>
                    </a:cubicBezTo>
                    <a:cubicBezTo>
                      <a:pt x="196" y="193"/>
                      <a:pt x="195" y="193"/>
                      <a:pt x="195" y="193"/>
                    </a:cubicBezTo>
                    <a:cubicBezTo>
                      <a:pt x="196" y="194"/>
                      <a:pt x="197" y="196"/>
                      <a:pt x="197" y="198"/>
                    </a:cubicBezTo>
                    <a:cubicBezTo>
                      <a:pt x="197" y="201"/>
                      <a:pt x="194" y="202"/>
                      <a:pt x="190" y="203"/>
                    </a:cubicBezTo>
                    <a:cubicBezTo>
                      <a:pt x="189" y="203"/>
                      <a:pt x="188" y="203"/>
                      <a:pt x="188" y="203"/>
                    </a:cubicBezTo>
                    <a:cubicBezTo>
                      <a:pt x="187" y="205"/>
                      <a:pt x="187" y="206"/>
                      <a:pt x="187" y="208"/>
                    </a:cubicBezTo>
                    <a:cubicBezTo>
                      <a:pt x="188" y="210"/>
                      <a:pt x="188" y="210"/>
                      <a:pt x="188" y="210"/>
                    </a:cubicBezTo>
                    <a:cubicBezTo>
                      <a:pt x="188" y="213"/>
                      <a:pt x="189" y="217"/>
                      <a:pt x="188" y="220"/>
                    </a:cubicBezTo>
                    <a:cubicBezTo>
                      <a:pt x="188" y="221"/>
                      <a:pt x="188" y="221"/>
                      <a:pt x="188" y="221"/>
                    </a:cubicBezTo>
                    <a:cubicBezTo>
                      <a:pt x="188" y="222"/>
                      <a:pt x="188" y="222"/>
                      <a:pt x="188" y="222"/>
                    </a:cubicBezTo>
                    <a:cubicBezTo>
                      <a:pt x="189" y="224"/>
                      <a:pt x="189" y="224"/>
                      <a:pt x="189" y="224"/>
                    </a:cubicBezTo>
                    <a:cubicBezTo>
                      <a:pt x="189" y="225"/>
                      <a:pt x="189" y="227"/>
                      <a:pt x="187" y="228"/>
                    </a:cubicBezTo>
                    <a:cubicBezTo>
                      <a:pt x="187" y="232"/>
                      <a:pt x="187" y="232"/>
                      <a:pt x="187" y="232"/>
                    </a:cubicBezTo>
                    <a:cubicBezTo>
                      <a:pt x="186" y="230"/>
                      <a:pt x="186" y="230"/>
                      <a:pt x="186" y="230"/>
                    </a:cubicBezTo>
                    <a:cubicBezTo>
                      <a:pt x="184" y="231"/>
                      <a:pt x="183" y="231"/>
                      <a:pt x="182" y="231"/>
                    </a:cubicBezTo>
                    <a:cubicBezTo>
                      <a:pt x="178" y="233"/>
                      <a:pt x="178" y="233"/>
                      <a:pt x="178" y="233"/>
                    </a:cubicBezTo>
                    <a:cubicBezTo>
                      <a:pt x="172" y="235"/>
                      <a:pt x="166" y="237"/>
                      <a:pt x="160" y="239"/>
                    </a:cubicBezTo>
                    <a:cubicBezTo>
                      <a:pt x="159" y="240"/>
                      <a:pt x="157" y="240"/>
                      <a:pt x="155" y="241"/>
                    </a:cubicBezTo>
                    <a:cubicBezTo>
                      <a:pt x="155" y="241"/>
                      <a:pt x="155" y="241"/>
                      <a:pt x="155" y="241"/>
                    </a:cubicBezTo>
                    <a:cubicBezTo>
                      <a:pt x="151" y="243"/>
                      <a:pt x="147" y="244"/>
                      <a:pt x="144" y="246"/>
                    </a:cubicBezTo>
                    <a:cubicBezTo>
                      <a:pt x="143" y="247"/>
                      <a:pt x="143" y="247"/>
                      <a:pt x="143" y="247"/>
                    </a:cubicBezTo>
                    <a:cubicBezTo>
                      <a:pt x="141" y="247"/>
                      <a:pt x="139" y="249"/>
                      <a:pt x="138" y="251"/>
                    </a:cubicBezTo>
                    <a:cubicBezTo>
                      <a:pt x="137" y="251"/>
                      <a:pt x="137" y="251"/>
                      <a:pt x="137" y="251"/>
                    </a:cubicBezTo>
                    <a:cubicBezTo>
                      <a:pt x="137" y="252"/>
                      <a:pt x="136" y="253"/>
                      <a:pt x="136" y="253"/>
                    </a:cubicBezTo>
                    <a:cubicBezTo>
                      <a:pt x="136" y="253"/>
                      <a:pt x="135" y="254"/>
                      <a:pt x="135" y="254"/>
                    </a:cubicBezTo>
                    <a:cubicBezTo>
                      <a:pt x="134" y="256"/>
                      <a:pt x="134" y="256"/>
                      <a:pt x="134" y="256"/>
                    </a:cubicBezTo>
                    <a:cubicBezTo>
                      <a:pt x="133" y="256"/>
                      <a:pt x="132" y="257"/>
                      <a:pt x="132" y="258"/>
                    </a:cubicBezTo>
                    <a:cubicBezTo>
                      <a:pt x="131" y="258"/>
                      <a:pt x="130" y="259"/>
                      <a:pt x="129" y="259"/>
                    </a:cubicBezTo>
                    <a:cubicBezTo>
                      <a:pt x="128" y="260"/>
                      <a:pt x="128" y="260"/>
                      <a:pt x="127" y="260"/>
                    </a:cubicBezTo>
                    <a:cubicBezTo>
                      <a:pt x="120" y="261"/>
                      <a:pt x="120" y="261"/>
                      <a:pt x="120" y="261"/>
                    </a:cubicBezTo>
                    <a:cubicBezTo>
                      <a:pt x="117" y="261"/>
                      <a:pt x="114" y="262"/>
                      <a:pt x="111" y="262"/>
                    </a:cubicBezTo>
                    <a:cubicBezTo>
                      <a:pt x="109" y="262"/>
                      <a:pt x="109" y="262"/>
                      <a:pt x="109" y="262"/>
                    </a:cubicBezTo>
                    <a:cubicBezTo>
                      <a:pt x="108" y="262"/>
                      <a:pt x="106" y="262"/>
                      <a:pt x="104" y="262"/>
                    </a:cubicBezTo>
                    <a:cubicBezTo>
                      <a:pt x="100" y="262"/>
                      <a:pt x="97" y="263"/>
                      <a:pt x="95" y="264"/>
                    </a:cubicBezTo>
                    <a:cubicBezTo>
                      <a:pt x="93" y="264"/>
                      <a:pt x="92" y="266"/>
                      <a:pt x="90" y="268"/>
                    </a:cubicBezTo>
                    <a:cubicBezTo>
                      <a:pt x="90" y="268"/>
                      <a:pt x="90" y="268"/>
                      <a:pt x="90" y="268"/>
                    </a:cubicBezTo>
                    <a:cubicBezTo>
                      <a:pt x="89" y="269"/>
                      <a:pt x="89" y="269"/>
                      <a:pt x="88" y="270"/>
                    </a:cubicBezTo>
                    <a:cubicBezTo>
                      <a:pt x="87" y="271"/>
                      <a:pt x="87" y="271"/>
                      <a:pt x="87" y="271"/>
                    </a:cubicBezTo>
                    <a:cubicBezTo>
                      <a:pt x="86" y="271"/>
                      <a:pt x="86" y="272"/>
                      <a:pt x="86" y="272"/>
                    </a:cubicBezTo>
                    <a:cubicBezTo>
                      <a:pt x="86" y="272"/>
                      <a:pt x="86" y="272"/>
                      <a:pt x="86" y="272"/>
                    </a:cubicBezTo>
                    <a:cubicBezTo>
                      <a:pt x="86" y="273"/>
                      <a:pt x="86" y="273"/>
                      <a:pt x="86" y="273"/>
                    </a:cubicBezTo>
                    <a:cubicBezTo>
                      <a:pt x="86" y="274"/>
                      <a:pt x="86" y="275"/>
                      <a:pt x="86" y="276"/>
                    </a:cubicBezTo>
                    <a:cubicBezTo>
                      <a:pt x="85" y="277"/>
                      <a:pt x="84" y="279"/>
                      <a:pt x="83" y="281"/>
                    </a:cubicBezTo>
                    <a:cubicBezTo>
                      <a:pt x="82" y="282"/>
                      <a:pt x="81" y="283"/>
                      <a:pt x="80" y="284"/>
                    </a:cubicBezTo>
                    <a:cubicBezTo>
                      <a:pt x="79" y="285"/>
                      <a:pt x="78" y="286"/>
                      <a:pt x="77" y="286"/>
                    </a:cubicBezTo>
                    <a:cubicBezTo>
                      <a:pt x="76" y="287"/>
                      <a:pt x="76" y="287"/>
                      <a:pt x="76" y="287"/>
                    </a:cubicBezTo>
                    <a:cubicBezTo>
                      <a:pt x="75" y="287"/>
                      <a:pt x="75" y="287"/>
                      <a:pt x="75" y="287"/>
                    </a:cubicBezTo>
                    <a:cubicBezTo>
                      <a:pt x="75" y="287"/>
                      <a:pt x="75" y="287"/>
                      <a:pt x="75" y="287"/>
                    </a:cubicBezTo>
                    <a:cubicBezTo>
                      <a:pt x="74" y="287"/>
                      <a:pt x="73" y="286"/>
                      <a:pt x="72" y="286"/>
                    </a:cubicBezTo>
                    <a:cubicBezTo>
                      <a:pt x="71" y="286"/>
                      <a:pt x="71" y="286"/>
                      <a:pt x="70" y="286"/>
                    </a:cubicBezTo>
                    <a:cubicBezTo>
                      <a:pt x="70" y="286"/>
                      <a:pt x="70" y="286"/>
                      <a:pt x="70" y="286"/>
                    </a:cubicBezTo>
                    <a:cubicBezTo>
                      <a:pt x="69" y="286"/>
                      <a:pt x="69" y="286"/>
                      <a:pt x="68" y="286"/>
                    </a:cubicBezTo>
                    <a:cubicBezTo>
                      <a:pt x="67" y="286"/>
                      <a:pt x="67" y="286"/>
                      <a:pt x="67" y="286"/>
                    </a:cubicBezTo>
                    <a:cubicBezTo>
                      <a:pt x="67" y="286"/>
                      <a:pt x="66" y="286"/>
                      <a:pt x="66" y="287"/>
                    </a:cubicBezTo>
                    <a:cubicBezTo>
                      <a:pt x="65" y="286"/>
                      <a:pt x="65" y="286"/>
                      <a:pt x="65" y="286"/>
                    </a:cubicBezTo>
                    <a:cubicBezTo>
                      <a:pt x="65" y="286"/>
                      <a:pt x="65" y="286"/>
                      <a:pt x="65" y="286"/>
                    </a:cubicBezTo>
                    <a:cubicBezTo>
                      <a:pt x="65" y="286"/>
                      <a:pt x="65" y="286"/>
                      <a:pt x="65" y="286"/>
                    </a:cubicBezTo>
                    <a:cubicBezTo>
                      <a:pt x="66" y="287"/>
                      <a:pt x="66" y="287"/>
                      <a:pt x="66" y="287"/>
                    </a:cubicBezTo>
                    <a:cubicBezTo>
                      <a:pt x="64" y="288"/>
                      <a:pt x="64" y="288"/>
                      <a:pt x="64" y="288"/>
                    </a:cubicBezTo>
                    <a:cubicBezTo>
                      <a:pt x="64" y="288"/>
                      <a:pt x="63" y="289"/>
                      <a:pt x="62" y="289"/>
                    </a:cubicBezTo>
                    <a:cubicBezTo>
                      <a:pt x="61" y="289"/>
                      <a:pt x="60" y="289"/>
                      <a:pt x="60" y="289"/>
                    </a:cubicBezTo>
                    <a:cubicBezTo>
                      <a:pt x="56" y="289"/>
                      <a:pt x="54" y="287"/>
                      <a:pt x="52" y="284"/>
                    </a:cubicBezTo>
                    <a:cubicBezTo>
                      <a:pt x="52" y="283"/>
                      <a:pt x="52" y="282"/>
                      <a:pt x="51" y="282"/>
                    </a:cubicBezTo>
                    <a:cubicBezTo>
                      <a:pt x="51" y="281"/>
                      <a:pt x="51" y="280"/>
                      <a:pt x="51" y="279"/>
                    </a:cubicBezTo>
                    <a:cubicBezTo>
                      <a:pt x="50" y="280"/>
                      <a:pt x="50" y="280"/>
                      <a:pt x="50" y="280"/>
                    </a:cubicBezTo>
                    <a:cubicBezTo>
                      <a:pt x="49" y="280"/>
                      <a:pt x="49" y="280"/>
                      <a:pt x="48" y="281"/>
                    </a:cubicBezTo>
                    <a:cubicBezTo>
                      <a:pt x="45" y="283"/>
                      <a:pt x="43" y="283"/>
                      <a:pt x="40" y="283"/>
                    </a:cubicBezTo>
                    <a:cubicBezTo>
                      <a:pt x="38" y="283"/>
                      <a:pt x="37" y="283"/>
                      <a:pt x="36" y="283"/>
                    </a:cubicBezTo>
                    <a:cubicBezTo>
                      <a:pt x="36" y="284"/>
                      <a:pt x="36" y="285"/>
                      <a:pt x="35" y="286"/>
                    </a:cubicBezTo>
                    <a:cubicBezTo>
                      <a:pt x="35" y="287"/>
                      <a:pt x="34" y="288"/>
                      <a:pt x="34" y="288"/>
                    </a:cubicBezTo>
                    <a:cubicBezTo>
                      <a:pt x="31" y="290"/>
                      <a:pt x="26" y="291"/>
                      <a:pt x="21" y="293"/>
                    </a:cubicBezTo>
                    <a:cubicBezTo>
                      <a:pt x="20" y="293"/>
                      <a:pt x="20" y="293"/>
                      <a:pt x="20" y="293"/>
                    </a:cubicBezTo>
                    <a:cubicBezTo>
                      <a:pt x="20" y="293"/>
                      <a:pt x="19" y="293"/>
                      <a:pt x="19" y="293"/>
                    </a:cubicBezTo>
                    <a:cubicBezTo>
                      <a:pt x="11" y="296"/>
                      <a:pt x="11" y="296"/>
                      <a:pt x="11" y="296"/>
                    </a:cubicBezTo>
                    <a:cubicBezTo>
                      <a:pt x="11" y="296"/>
                      <a:pt x="11" y="297"/>
                      <a:pt x="11" y="298"/>
                    </a:cubicBezTo>
                    <a:cubicBezTo>
                      <a:pt x="11" y="299"/>
                      <a:pt x="10" y="300"/>
                      <a:pt x="10" y="300"/>
                    </a:cubicBezTo>
                    <a:cubicBezTo>
                      <a:pt x="10" y="302"/>
                      <a:pt x="10" y="302"/>
                      <a:pt x="10" y="302"/>
                    </a:cubicBezTo>
                    <a:cubicBezTo>
                      <a:pt x="10" y="302"/>
                      <a:pt x="10" y="302"/>
                      <a:pt x="10" y="302"/>
                    </a:cubicBezTo>
                    <a:cubicBezTo>
                      <a:pt x="9" y="308"/>
                      <a:pt x="9" y="308"/>
                      <a:pt x="9" y="308"/>
                    </a:cubicBezTo>
                    <a:cubicBezTo>
                      <a:pt x="9" y="310"/>
                      <a:pt x="8" y="311"/>
                      <a:pt x="7" y="312"/>
                    </a:cubicBezTo>
                    <a:cubicBezTo>
                      <a:pt x="6" y="313"/>
                      <a:pt x="6" y="313"/>
                      <a:pt x="5" y="314"/>
                    </a:cubicBezTo>
                    <a:cubicBezTo>
                      <a:pt x="4" y="315"/>
                      <a:pt x="4" y="315"/>
                      <a:pt x="4" y="315"/>
                    </a:cubicBezTo>
                    <a:cubicBezTo>
                      <a:pt x="3" y="315"/>
                      <a:pt x="3" y="315"/>
                      <a:pt x="2" y="315"/>
                    </a:cubicBezTo>
                    <a:cubicBezTo>
                      <a:pt x="1" y="316"/>
                      <a:pt x="1" y="316"/>
                      <a:pt x="1" y="316"/>
                    </a:cubicBezTo>
                    <a:cubicBezTo>
                      <a:pt x="1" y="316"/>
                      <a:pt x="1" y="316"/>
                      <a:pt x="1" y="316"/>
                    </a:cubicBezTo>
                    <a:cubicBezTo>
                      <a:pt x="0" y="321"/>
                      <a:pt x="0" y="321"/>
                      <a:pt x="0" y="321"/>
                    </a:cubicBezTo>
                    <a:cubicBezTo>
                      <a:pt x="1" y="322"/>
                      <a:pt x="1" y="322"/>
                      <a:pt x="1" y="322"/>
                    </a:cubicBezTo>
                    <a:cubicBezTo>
                      <a:pt x="1" y="322"/>
                      <a:pt x="1" y="322"/>
                      <a:pt x="1" y="322"/>
                    </a:cubicBezTo>
                    <a:cubicBezTo>
                      <a:pt x="2" y="323"/>
                      <a:pt x="2" y="323"/>
                      <a:pt x="2" y="323"/>
                    </a:cubicBezTo>
                    <a:cubicBezTo>
                      <a:pt x="3" y="324"/>
                      <a:pt x="3" y="324"/>
                      <a:pt x="3" y="324"/>
                    </a:cubicBezTo>
                    <a:cubicBezTo>
                      <a:pt x="2" y="324"/>
                      <a:pt x="2" y="324"/>
                      <a:pt x="2" y="324"/>
                    </a:cubicBezTo>
                    <a:cubicBezTo>
                      <a:pt x="3" y="325"/>
                      <a:pt x="3" y="325"/>
                      <a:pt x="3" y="325"/>
                    </a:cubicBezTo>
                    <a:cubicBezTo>
                      <a:pt x="4" y="325"/>
                      <a:pt x="4" y="325"/>
                      <a:pt x="4" y="325"/>
                    </a:cubicBezTo>
                    <a:cubicBezTo>
                      <a:pt x="4" y="326"/>
                      <a:pt x="5" y="327"/>
                      <a:pt x="5" y="327"/>
                    </a:cubicBezTo>
                    <a:cubicBezTo>
                      <a:pt x="6" y="328"/>
                      <a:pt x="6" y="328"/>
                      <a:pt x="6" y="328"/>
                    </a:cubicBezTo>
                    <a:cubicBezTo>
                      <a:pt x="6" y="329"/>
                      <a:pt x="6" y="331"/>
                      <a:pt x="5" y="333"/>
                    </a:cubicBezTo>
                    <a:cubicBezTo>
                      <a:pt x="5" y="334"/>
                      <a:pt x="5" y="334"/>
                      <a:pt x="5" y="334"/>
                    </a:cubicBezTo>
                    <a:cubicBezTo>
                      <a:pt x="3" y="334"/>
                      <a:pt x="3" y="334"/>
                      <a:pt x="3" y="334"/>
                    </a:cubicBezTo>
                    <a:cubicBezTo>
                      <a:pt x="3" y="335"/>
                      <a:pt x="3" y="335"/>
                      <a:pt x="3" y="335"/>
                    </a:cubicBezTo>
                    <a:cubicBezTo>
                      <a:pt x="4" y="335"/>
                      <a:pt x="4" y="335"/>
                      <a:pt x="4" y="335"/>
                    </a:cubicBezTo>
                    <a:cubicBezTo>
                      <a:pt x="4" y="337"/>
                      <a:pt x="4" y="338"/>
                      <a:pt x="4" y="338"/>
                    </a:cubicBezTo>
                    <a:cubicBezTo>
                      <a:pt x="5" y="338"/>
                      <a:pt x="5" y="338"/>
                      <a:pt x="6" y="338"/>
                    </a:cubicBezTo>
                    <a:cubicBezTo>
                      <a:pt x="7" y="337"/>
                      <a:pt x="7" y="337"/>
                      <a:pt x="7" y="337"/>
                    </a:cubicBezTo>
                    <a:cubicBezTo>
                      <a:pt x="9" y="337"/>
                      <a:pt x="11" y="337"/>
                      <a:pt x="13" y="336"/>
                    </a:cubicBezTo>
                    <a:cubicBezTo>
                      <a:pt x="14" y="336"/>
                      <a:pt x="14" y="336"/>
                      <a:pt x="14" y="336"/>
                    </a:cubicBezTo>
                    <a:cubicBezTo>
                      <a:pt x="14" y="336"/>
                      <a:pt x="14" y="336"/>
                      <a:pt x="14" y="336"/>
                    </a:cubicBezTo>
                    <a:cubicBezTo>
                      <a:pt x="15" y="336"/>
                      <a:pt x="16" y="336"/>
                      <a:pt x="17" y="337"/>
                    </a:cubicBezTo>
                    <a:cubicBezTo>
                      <a:pt x="19" y="337"/>
                      <a:pt x="21" y="338"/>
                      <a:pt x="22" y="338"/>
                    </a:cubicBezTo>
                    <a:cubicBezTo>
                      <a:pt x="24" y="339"/>
                      <a:pt x="25" y="340"/>
                      <a:pt x="26" y="341"/>
                    </a:cubicBezTo>
                    <a:cubicBezTo>
                      <a:pt x="27" y="341"/>
                      <a:pt x="27" y="341"/>
                      <a:pt x="27" y="341"/>
                    </a:cubicBezTo>
                    <a:cubicBezTo>
                      <a:pt x="27" y="342"/>
                      <a:pt x="28" y="342"/>
                      <a:pt x="28" y="343"/>
                    </a:cubicBezTo>
                    <a:cubicBezTo>
                      <a:pt x="30" y="344"/>
                      <a:pt x="30" y="344"/>
                      <a:pt x="30" y="344"/>
                    </a:cubicBezTo>
                    <a:cubicBezTo>
                      <a:pt x="33" y="346"/>
                      <a:pt x="35" y="347"/>
                      <a:pt x="36" y="352"/>
                    </a:cubicBezTo>
                    <a:cubicBezTo>
                      <a:pt x="36" y="357"/>
                      <a:pt x="37" y="362"/>
                      <a:pt x="38" y="366"/>
                    </a:cubicBezTo>
                    <a:cubicBezTo>
                      <a:pt x="38" y="368"/>
                      <a:pt x="38" y="368"/>
                      <a:pt x="38" y="368"/>
                    </a:cubicBezTo>
                    <a:cubicBezTo>
                      <a:pt x="38" y="370"/>
                      <a:pt x="39" y="371"/>
                      <a:pt x="39" y="372"/>
                    </a:cubicBezTo>
                    <a:cubicBezTo>
                      <a:pt x="39" y="375"/>
                      <a:pt x="39" y="375"/>
                      <a:pt x="39" y="375"/>
                    </a:cubicBezTo>
                    <a:cubicBezTo>
                      <a:pt x="39" y="375"/>
                      <a:pt x="41" y="377"/>
                      <a:pt x="43" y="378"/>
                    </a:cubicBezTo>
                    <a:cubicBezTo>
                      <a:pt x="46" y="381"/>
                      <a:pt x="46" y="381"/>
                      <a:pt x="46" y="381"/>
                    </a:cubicBezTo>
                    <a:cubicBezTo>
                      <a:pt x="43" y="384"/>
                      <a:pt x="43" y="384"/>
                      <a:pt x="43" y="384"/>
                    </a:cubicBezTo>
                    <a:cubicBezTo>
                      <a:pt x="42" y="385"/>
                      <a:pt x="41" y="386"/>
                      <a:pt x="39" y="387"/>
                    </a:cubicBezTo>
                    <a:cubicBezTo>
                      <a:pt x="52" y="385"/>
                      <a:pt x="52" y="385"/>
                      <a:pt x="52" y="385"/>
                    </a:cubicBezTo>
                    <a:cubicBezTo>
                      <a:pt x="36" y="392"/>
                      <a:pt x="36" y="392"/>
                      <a:pt x="36" y="392"/>
                    </a:cubicBezTo>
                    <a:cubicBezTo>
                      <a:pt x="37" y="392"/>
                      <a:pt x="37" y="392"/>
                      <a:pt x="37" y="392"/>
                    </a:cubicBezTo>
                    <a:cubicBezTo>
                      <a:pt x="40" y="392"/>
                      <a:pt x="42" y="392"/>
                      <a:pt x="46" y="394"/>
                    </a:cubicBezTo>
                    <a:cubicBezTo>
                      <a:pt x="48" y="395"/>
                      <a:pt x="50" y="396"/>
                      <a:pt x="52" y="397"/>
                    </a:cubicBezTo>
                    <a:cubicBezTo>
                      <a:pt x="53" y="398"/>
                      <a:pt x="54" y="399"/>
                      <a:pt x="55" y="399"/>
                    </a:cubicBezTo>
                    <a:cubicBezTo>
                      <a:pt x="56" y="400"/>
                      <a:pt x="56" y="400"/>
                      <a:pt x="57" y="400"/>
                    </a:cubicBezTo>
                    <a:cubicBezTo>
                      <a:pt x="58" y="400"/>
                      <a:pt x="58" y="400"/>
                      <a:pt x="58" y="400"/>
                    </a:cubicBezTo>
                    <a:cubicBezTo>
                      <a:pt x="61" y="402"/>
                      <a:pt x="64" y="405"/>
                      <a:pt x="66" y="409"/>
                    </a:cubicBezTo>
                    <a:cubicBezTo>
                      <a:pt x="67" y="411"/>
                      <a:pt x="68" y="412"/>
                      <a:pt x="68" y="414"/>
                    </a:cubicBezTo>
                    <a:cubicBezTo>
                      <a:pt x="68" y="416"/>
                      <a:pt x="69" y="417"/>
                      <a:pt x="68" y="419"/>
                    </a:cubicBezTo>
                    <a:cubicBezTo>
                      <a:pt x="68" y="421"/>
                      <a:pt x="68" y="422"/>
                      <a:pt x="67" y="423"/>
                    </a:cubicBezTo>
                    <a:cubicBezTo>
                      <a:pt x="66" y="424"/>
                      <a:pt x="66" y="424"/>
                      <a:pt x="66" y="424"/>
                    </a:cubicBezTo>
                    <a:cubicBezTo>
                      <a:pt x="67" y="425"/>
                      <a:pt x="67" y="425"/>
                      <a:pt x="67" y="425"/>
                    </a:cubicBezTo>
                    <a:cubicBezTo>
                      <a:pt x="69" y="426"/>
                      <a:pt x="69" y="427"/>
                      <a:pt x="70" y="428"/>
                    </a:cubicBezTo>
                    <a:cubicBezTo>
                      <a:pt x="70" y="429"/>
                      <a:pt x="71" y="429"/>
                      <a:pt x="71" y="429"/>
                    </a:cubicBezTo>
                    <a:cubicBezTo>
                      <a:pt x="71" y="429"/>
                      <a:pt x="71" y="429"/>
                      <a:pt x="71" y="429"/>
                    </a:cubicBezTo>
                    <a:cubicBezTo>
                      <a:pt x="71" y="430"/>
                      <a:pt x="71" y="430"/>
                      <a:pt x="71" y="430"/>
                    </a:cubicBezTo>
                    <a:cubicBezTo>
                      <a:pt x="72" y="430"/>
                      <a:pt x="72" y="430"/>
                      <a:pt x="72" y="430"/>
                    </a:cubicBezTo>
                    <a:cubicBezTo>
                      <a:pt x="75" y="429"/>
                      <a:pt x="77" y="429"/>
                      <a:pt x="77" y="428"/>
                    </a:cubicBezTo>
                    <a:cubicBezTo>
                      <a:pt x="81" y="423"/>
                      <a:pt x="81" y="423"/>
                      <a:pt x="81" y="423"/>
                    </a:cubicBezTo>
                    <a:cubicBezTo>
                      <a:pt x="83" y="430"/>
                      <a:pt x="83" y="430"/>
                      <a:pt x="83" y="430"/>
                    </a:cubicBezTo>
                    <a:cubicBezTo>
                      <a:pt x="83" y="430"/>
                      <a:pt x="84" y="431"/>
                      <a:pt x="84" y="431"/>
                    </a:cubicBezTo>
                    <a:cubicBezTo>
                      <a:pt x="84" y="432"/>
                      <a:pt x="84" y="432"/>
                      <a:pt x="84" y="432"/>
                    </a:cubicBezTo>
                    <a:cubicBezTo>
                      <a:pt x="84" y="432"/>
                      <a:pt x="84" y="432"/>
                      <a:pt x="84" y="432"/>
                    </a:cubicBezTo>
                    <a:cubicBezTo>
                      <a:pt x="84" y="433"/>
                      <a:pt x="84" y="433"/>
                      <a:pt x="84" y="433"/>
                    </a:cubicBezTo>
                    <a:cubicBezTo>
                      <a:pt x="85" y="434"/>
                      <a:pt x="86" y="435"/>
                      <a:pt x="88" y="436"/>
                    </a:cubicBezTo>
                    <a:cubicBezTo>
                      <a:pt x="93" y="439"/>
                      <a:pt x="100" y="439"/>
                      <a:pt x="107" y="439"/>
                    </a:cubicBezTo>
                    <a:cubicBezTo>
                      <a:pt x="110" y="440"/>
                      <a:pt x="113" y="440"/>
                      <a:pt x="115" y="440"/>
                    </a:cubicBezTo>
                    <a:cubicBezTo>
                      <a:pt x="116" y="440"/>
                      <a:pt x="116" y="440"/>
                      <a:pt x="116" y="440"/>
                    </a:cubicBezTo>
                    <a:cubicBezTo>
                      <a:pt x="117" y="440"/>
                      <a:pt x="117" y="440"/>
                      <a:pt x="117" y="440"/>
                    </a:cubicBezTo>
                    <a:cubicBezTo>
                      <a:pt x="119" y="439"/>
                      <a:pt x="121" y="438"/>
                      <a:pt x="124" y="437"/>
                    </a:cubicBezTo>
                    <a:cubicBezTo>
                      <a:pt x="125" y="436"/>
                      <a:pt x="125" y="436"/>
                      <a:pt x="125" y="436"/>
                    </a:cubicBezTo>
                    <a:cubicBezTo>
                      <a:pt x="126" y="440"/>
                      <a:pt x="126" y="440"/>
                      <a:pt x="126" y="440"/>
                    </a:cubicBezTo>
                    <a:cubicBezTo>
                      <a:pt x="125" y="440"/>
                      <a:pt x="125" y="440"/>
                      <a:pt x="125" y="440"/>
                    </a:cubicBezTo>
                    <a:cubicBezTo>
                      <a:pt x="123" y="441"/>
                      <a:pt x="121" y="442"/>
                      <a:pt x="118" y="443"/>
                    </a:cubicBezTo>
                    <a:cubicBezTo>
                      <a:pt x="118" y="443"/>
                      <a:pt x="117" y="443"/>
                      <a:pt x="117" y="443"/>
                    </a:cubicBezTo>
                    <a:cubicBezTo>
                      <a:pt x="116" y="444"/>
                      <a:pt x="116" y="444"/>
                      <a:pt x="116" y="444"/>
                    </a:cubicBezTo>
                    <a:cubicBezTo>
                      <a:pt x="116" y="444"/>
                      <a:pt x="116" y="444"/>
                      <a:pt x="116" y="444"/>
                    </a:cubicBezTo>
                    <a:cubicBezTo>
                      <a:pt x="116" y="444"/>
                      <a:pt x="119" y="443"/>
                      <a:pt x="121" y="443"/>
                    </a:cubicBezTo>
                    <a:cubicBezTo>
                      <a:pt x="121" y="443"/>
                      <a:pt x="122" y="443"/>
                      <a:pt x="122" y="443"/>
                    </a:cubicBezTo>
                    <a:cubicBezTo>
                      <a:pt x="122" y="443"/>
                      <a:pt x="123" y="444"/>
                      <a:pt x="123" y="444"/>
                    </a:cubicBezTo>
                    <a:cubicBezTo>
                      <a:pt x="123" y="444"/>
                      <a:pt x="123" y="445"/>
                      <a:pt x="123" y="445"/>
                    </a:cubicBezTo>
                    <a:cubicBezTo>
                      <a:pt x="123" y="447"/>
                      <a:pt x="122" y="449"/>
                      <a:pt x="122" y="450"/>
                    </a:cubicBezTo>
                    <a:cubicBezTo>
                      <a:pt x="122" y="451"/>
                      <a:pt x="122" y="453"/>
                      <a:pt x="123" y="454"/>
                    </a:cubicBezTo>
                    <a:cubicBezTo>
                      <a:pt x="124" y="456"/>
                      <a:pt x="125" y="457"/>
                      <a:pt x="126" y="459"/>
                    </a:cubicBezTo>
                    <a:cubicBezTo>
                      <a:pt x="126" y="460"/>
                      <a:pt x="126" y="460"/>
                      <a:pt x="126" y="461"/>
                    </a:cubicBezTo>
                    <a:cubicBezTo>
                      <a:pt x="127" y="463"/>
                      <a:pt x="128" y="466"/>
                      <a:pt x="129" y="468"/>
                    </a:cubicBezTo>
                    <a:cubicBezTo>
                      <a:pt x="129" y="469"/>
                      <a:pt x="129" y="469"/>
                      <a:pt x="129" y="469"/>
                    </a:cubicBezTo>
                    <a:cubicBezTo>
                      <a:pt x="130" y="471"/>
                      <a:pt x="132" y="473"/>
                      <a:pt x="135" y="475"/>
                    </a:cubicBezTo>
                    <a:cubicBezTo>
                      <a:pt x="137" y="476"/>
                      <a:pt x="140" y="477"/>
                      <a:pt x="142" y="478"/>
                    </a:cubicBezTo>
                    <a:cubicBezTo>
                      <a:pt x="145" y="479"/>
                      <a:pt x="147" y="480"/>
                      <a:pt x="149" y="481"/>
                    </a:cubicBezTo>
                    <a:cubicBezTo>
                      <a:pt x="149" y="482"/>
                      <a:pt x="148" y="483"/>
                      <a:pt x="148" y="484"/>
                    </a:cubicBezTo>
                    <a:cubicBezTo>
                      <a:pt x="143" y="488"/>
                      <a:pt x="143" y="488"/>
                      <a:pt x="143" y="488"/>
                    </a:cubicBezTo>
                    <a:cubicBezTo>
                      <a:pt x="143" y="489"/>
                      <a:pt x="143" y="489"/>
                      <a:pt x="143" y="489"/>
                    </a:cubicBezTo>
                    <a:cubicBezTo>
                      <a:pt x="142" y="490"/>
                      <a:pt x="142" y="491"/>
                      <a:pt x="142" y="492"/>
                    </a:cubicBezTo>
                    <a:cubicBezTo>
                      <a:pt x="142" y="493"/>
                      <a:pt x="143" y="494"/>
                      <a:pt x="143" y="495"/>
                    </a:cubicBezTo>
                    <a:cubicBezTo>
                      <a:pt x="143" y="496"/>
                      <a:pt x="143" y="496"/>
                      <a:pt x="143" y="496"/>
                    </a:cubicBezTo>
                    <a:cubicBezTo>
                      <a:pt x="144" y="497"/>
                      <a:pt x="144" y="498"/>
                      <a:pt x="144" y="499"/>
                    </a:cubicBezTo>
                    <a:cubicBezTo>
                      <a:pt x="147" y="496"/>
                      <a:pt x="147" y="496"/>
                      <a:pt x="147" y="496"/>
                    </a:cubicBezTo>
                    <a:cubicBezTo>
                      <a:pt x="148" y="501"/>
                      <a:pt x="148" y="501"/>
                      <a:pt x="148" y="501"/>
                    </a:cubicBezTo>
                    <a:cubicBezTo>
                      <a:pt x="148" y="501"/>
                      <a:pt x="148" y="501"/>
                      <a:pt x="148" y="501"/>
                    </a:cubicBezTo>
                    <a:cubicBezTo>
                      <a:pt x="150" y="506"/>
                      <a:pt x="150" y="506"/>
                      <a:pt x="150" y="506"/>
                    </a:cubicBezTo>
                    <a:cubicBezTo>
                      <a:pt x="151" y="508"/>
                      <a:pt x="151" y="508"/>
                      <a:pt x="151" y="508"/>
                    </a:cubicBezTo>
                    <a:cubicBezTo>
                      <a:pt x="151" y="509"/>
                      <a:pt x="151" y="509"/>
                      <a:pt x="151" y="509"/>
                    </a:cubicBezTo>
                    <a:cubicBezTo>
                      <a:pt x="152" y="510"/>
                      <a:pt x="152" y="510"/>
                      <a:pt x="152" y="510"/>
                    </a:cubicBezTo>
                    <a:cubicBezTo>
                      <a:pt x="154" y="511"/>
                      <a:pt x="156" y="513"/>
                      <a:pt x="158" y="514"/>
                    </a:cubicBezTo>
                    <a:cubicBezTo>
                      <a:pt x="159" y="514"/>
                      <a:pt x="159" y="514"/>
                      <a:pt x="159" y="514"/>
                    </a:cubicBezTo>
                    <a:cubicBezTo>
                      <a:pt x="160" y="514"/>
                      <a:pt x="163" y="515"/>
                      <a:pt x="164" y="518"/>
                    </a:cubicBezTo>
                    <a:cubicBezTo>
                      <a:pt x="164" y="518"/>
                      <a:pt x="165" y="519"/>
                      <a:pt x="165" y="521"/>
                    </a:cubicBezTo>
                    <a:cubicBezTo>
                      <a:pt x="165" y="524"/>
                      <a:pt x="165" y="524"/>
                      <a:pt x="165" y="524"/>
                    </a:cubicBezTo>
                    <a:cubicBezTo>
                      <a:pt x="165" y="525"/>
                      <a:pt x="165" y="526"/>
                      <a:pt x="166" y="527"/>
                    </a:cubicBezTo>
                    <a:cubicBezTo>
                      <a:pt x="166" y="528"/>
                      <a:pt x="166" y="528"/>
                      <a:pt x="166" y="528"/>
                    </a:cubicBezTo>
                    <a:cubicBezTo>
                      <a:pt x="166" y="528"/>
                      <a:pt x="166" y="528"/>
                      <a:pt x="166" y="528"/>
                    </a:cubicBezTo>
                    <a:cubicBezTo>
                      <a:pt x="166" y="528"/>
                      <a:pt x="166" y="528"/>
                      <a:pt x="166" y="528"/>
                    </a:cubicBezTo>
                    <a:cubicBezTo>
                      <a:pt x="170" y="530"/>
                      <a:pt x="170" y="530"/>
                      <a:pt x="170" y="530"/>
                    </a:cubicBezTo>
                    <a:cubicBezTo>
                      <a:pt x="167" y="533"/>
                      <a:pt x="167" y="533"/>
                      <a:pt x="167" y="533"/>
                    </a:cubicBezTo>
                    <a:cubicBezTo>
                      <a:pt x="162" y="540"/>
                      <a:pt x="156" y="547"/>
                      <a:pt x="150" y="547"/>
                    </a:cubicBezTo>
                    <a:cubicBezTo>
                      <a:pt x="149" y="547"/>
                      <a:pt x="149" y="547"/>
                      <a:pt x="149" y="547"/>
                    </a:cubicBezTo>
                    <a:cubicBezTo>
                      <a:pt x="148" y="547"/>
                      <a:pt x="148" y="547"/>
                      <a:pt x="148" y="547"/>
                    </a:cubicBezTo>
                    <a:cubicBezTo>
                      <a:pt x="144" y="546"/>
                      <a:pt x="141" y="542"/>
                      <a:pt x="140" y="540"/>
                    </a:cubicBezTo>
                    <a:cubicBezTo>
                      <a:pt x="140" y="540"/>
                      <a:pt x="140" y="540"/>
                      <a:pt x="140" y="540"/>
                    </a:cubicBezTo>
                    <a:cubicBezTo>
                      <a:pt x="138" y="540"/>
                      <a:pt x="138" y="540"/>
                      <a:pt x="138" y="540"/>
                    </a:cubicBezTo>
                    <a:cubicBezTo>
                      <a:pt x="138" y="540"/>
                      <a:pt x="137" y="541"/>
                      <a:pt x="136" y="541"/>
                    </a:cubicBezTo>
                    <a:cubicBezTo>
                      <a:pt x="137" y="544"/>
                      <a:pt x="138" y="546"/>
                      <a:pt x="140" y="549"/>
                    </a:cubicBezTo>
                    <a:cubicBezTo>
                      <a:pt x="141" y="550"/>
                      <a:pt x="143" y="553"/>
                      <a:pt x="144" y="554"/>
                    </a:cubicBezTo>
                    <a:cubicBezTo>
                      <a:pt x="145" y="556"/>
                      <a:pt x="146" y="557"/>
                      <a:pt x="146" y="559"/>
                    </a:cubicBezTo>
                    <a:cubicBezTo>
                      <a:pt x="146" y="559"/>
                      <a:pt x="146" y="560"/>
                      <a:pt x="145" y="561"/>
                    </a:cubicBezTo>
                    <a:cubicBezTo>
                      <a:pt x="146" y="563"/>
                      <a:pt x="145" y="566"/>
                      <a:pt x="145" y="569"/>
                    </a:cubicBezTo>
                    <a:cubicBezTo>
                      <a:pt x="145" y="570"/>
                      <a:pt x="145" y="570"/>
                      <a:pt x="145" y="570"/>
                    </a:cubicBezTo>
                    <a:cubicBezTo>
                      <a:pt x="145" y="570"/>
                      <a:pt x="145" y="570"/>
                      <a:pt x="145" y="570"/>
                    </a:cubicBezTo>
                    <a:cubicBezTo>
                      <a:pt x="145" y="570"/>
                      <a:pt x="146" y="571"/>
                      <a:pt x="146" y="573"/>
                    </a:cubicBezTo>
                    <a:cubicBezTo>
                      <a:pt x="146" y="573"/>
                      <a:pt x="146" y="573"/>
                      <a:pt x="146" y="573"/>
                    </a:cubicBezTo>
                    <a:cubicBezTo>
                      <a:pt x="148" y="571"/>
                      <a:pt x="150" y="570"/>
                      <a:pt x="152" y="570"/>
                    </a:cubicBezTo>
                    <a:cubicBezTo>
                      <a:pt x="153" y="570"/>
                      <a:pt x="153" y="570"/>
                      <a:pt x="154" y="570"/>
                    </a:cubicBezTo>
                    <a:cubicBezTo>
                      <a:pt x="155" y="570"/>
                      <a:pt x="156" y="571"/>
                      <a:pt x="157" y="572"/>
                    </a:cubicBezTo>
                    <a:cubicBezTo>
                      <a:pt x="157" y="573"/>
                      <a:pt x="158" y="573"/>
                      <a:pt x="158" y="574"/>
                    </a:cubicBezTo>
                    <a:cubicBezTo>
                      <a:pt x="164" y="571"/>
                      <a:pt x="164" y="571"/>
                      <a:pt x="164" y="571"/>
                    </a:cubicBezTo>
                    <a:cubicBezTo>
                      <a:pt x="159" y="575"/>
                      <a:pt x="159" y="575"/>
                      <a:pt x="159" y="575"/>
                    </a:cubicBezTo>
                    <a:cubicBezTo>
                      <a:pt x="160" y="576"/>
                      <a:pt x="161" y="578"/>
                      <a:pt x="162" y="579"/>
                    </a:cubicBezTo>
                    <a:cubicBezTo>
                      <a:pt x="162" y="579"/>
                      <a:pt x="162" y="579"/>
                      <a:pt x="162" y="579"/>
                    </a:cubicBezTo>
                    <a:cubicBezTo>
                      <a:pt x="162" y="580"/>
                      <a:pt x="163" y="581"/>
                      <a:pt x="163" y="581"/>
                    </a:cubicBezTo>
                    <a:cubicBezTo>
                      <a:pt x="164" y="581"/>
                      <a:pt x="164" y="582"/>
                      <a:pt x="164" y="583"/>
                    </a:cubicBezTo>
                    <a:cubicBezTo>
                      <a:pt x="165" y="583"/>
                      <a:pt x="165" y="583"/>
                      <a:pt x="166" y="583"/>
                    </a:cubicBezTo>
                    <a:cubicBezTo>
                      <a:pt x="167" y="584"/>
                      <a:pt x="168" y="584"/>
                      <a:pt x="169" y="584"/>
                    </a:cubicBezTo>
                    <a:cubicBezTo>
                      <a:pt x="173" y="585"/>
                      <a:pt x="179" y="587"/>
                      <a:pt x="183" y="589"/>
                    </a:cubicBezTo>
                    <a:cubicBezTo>
                      <a:pt x="185" y="590"/>
                      <a:pt x="186" y="591"/>
                      <a:pt x="187" y="592"/>
                    </a:cubicBezTo>
                    <a:cubicBezTo>
                      <a:pt x="188" y="591"/>
                      <a:pt x="188" y="591"/>
                      <a:pt x="188" y="591"/>
                    </a:cubicBezTo>
                    <a:cubicBezTo>
                      <a:pt x="187" y="592"/>
                      <a:pt x="187" y="592"/>
                      <a:pt x="187" y="592"/>
                    </a:cubicBezTo>
                    <a:cubicBezTo>
                      <a:pt x="188" y="593"/>
                      <a:pt x="188" y="593"/>
                      <a:pt x="188" y="594"/>
                    </a:cubicBezTo>
                    <a:cubicBezTo>
                      <a:pt x="189" y="595"/>
                      <a:pt x="189" y="596"/>
                      <a:pt x="188" y="598"/>
                    </a:cubicBezTo>
                    <a:cubicBezTo>
                      <a:pt x="207" y="607"/>
                      <a:pt x="207" y="607"/>
                      <a:pt x="207" y="607"/>
                    </a:cubicBezTo>
                    <a:cubicBezTo>
                      <a:pt x="207" y="607"/>
                      <a:pt x="207" y="607"/>
                      <a:pt x="207" y="607"/>
                    </a:cubicBezTo>
                    <a:cubicBezTo>
                      <a:pt x="212" y="612"/>
                      <a:pt x="212" y="612"/>
                      <a:pt x="212" y="612"/>
                    </a:cubicBezTo>
                    <a:cubicBezTo>
                      <a:pt x="213" y="610"/>
                      <a:pt x="214" y="608"/>
                      <a:pt x="215" y="607"/>
                    </a:cubicBezTo>
                    <a:cubicBezTo>
                      <a:pt x="215" y="606"/>
                      <a:pt x="215" y="606"/>
                      <a:pt x="215" y="606"/>
                    </a:cubicBezTo>
                    <a:cubicBezTo>
                      <a:pt x="215" y="606"/>
                      <a:pt x="216" y="605"/>
                      <a:pt x="216" y="605"/>
                    </a:cubicBezTo>
                    <a:cubicBezTo>
                      <a:pt x="216" y="604"/>
                      <a:pt x="217" y="604"/>
                      <a:pt x="217" y="603"/>
                    </a:cubicBezTo>
                    <a:cubicBezTo>
                      <a:pt x="218" y="603"/>
                      <a:pt x="218" y="603"/>
                      <a:pt x="218" y="603"/>
                    </a:cubicBezTo>
                    <a:cubicBezTo>
                      <a:pt x="219" y="602"/>
                      <a:pt x="221" y="601"/>
                      <a:pt x="223" y="601"/>
                    </a:cubicBezTo>
                    <a:cubicBezTo>
                      <a:pt x="224" y="601"/>
                      <a:pt x="225" y="602"/>
                      <a:pt x="226" y="602"/>
                    </a:cubicBezTo>
                    <a:cubicBezTo>
                      <a:pt x="230" y="602"/>
                      <a:pt x="235" y="603"/>
                      <a:pt x="238" y="604"/>
                    </a:cubicBezTo>
                    <a:cubicBezTo>
                      <a:pt x="240" y="606"/>
                      <a:pt x="241" y="609"/>
                      <a:pt x="241" y="610"/>
                    </a:cubicBezTo>
                    <a:cubicBezTo>
                      <a:pt x="242" y="611"/>
                      <a:pt x="242" y="612"/>
                      <a:pt x="242" y="612"/>
                    </a:cubicBezTo>
                    <a:cubicBezTo>
                      <a:pt x="243" y="613"/>
                      <a:pt x="244" y="614"/>
                      <a:pt x="245" y="614"/>
                    </a:cubicBezTo>
                    <a:cubicBezTo>
                      <a:pt x="246" y="614"/>
                      <a:pt x="246" y="614"/>
                      <a:pt x="246" y="614"/>
                    </a:cubicBezTo>
                    <a:cubicBezTo>
                      <a:pt x="247" y="615"/>
                      <a:pt x="248" y="615"/>
                      <a:pt x="248" y="616"/>
                    </a:cubicBezTo>
                    <a:cubicBezTo>
                      <a:pt x="250" y="616"/>
                      <a:pt x="250" y="616"/>
                      <a:pt x="250" y="616"/>
                    </a:cubicBezTo>
                    <a:cubicBezTo>
                      <a:pt x="252" y="617"/>
                      <a:pt x="253" y="618"/>
                      <a:pt x="255" y="619"/>
                    </a:cubicBezTo>
                    <a:cubicBezTo>
                      <a:pt x="256" y="620"/>
                      <a:pt x="257" y="621"/>
                      <a:pt x="258" y="622"/>
                    </a:cubicBezTo>
                    <a:cubicBezTo>
                      <a:pt x="260" y="624"/>
                      <a:pt x="260" y="624"/>
                      <a:pt x="260" y="624"/>
                    </a:cubicBezTo>
                    <a:cubicBezTo>
                      <a:pt x="261" y="625"/>
                      <a:pt x="262" y="625"/>
                      <a:pt x="264" y="625"/>
                    </a:cubicBezTo>
                    <a:cubicBezTo>
                      <a:pt x="265" y="626"/>
                      <a:pt x="266" y="626"/>
                      <a:pt x="266" y="626"/>
                    </a:cubicBezTo>
                    <a:cubicBezTo>
                      <a:pt x="266" y="626"/>
                      <a:pt x="266" y="626"/>
                      <a:pt x="266" y="626"/>
                    </a:cubicBezTo>
                    <a:cubicBezTo>
                      <a:pt x="266" y="626"/>
                      <a:pt x="267" y="626"/>
                      <a:pt x="267" y="626"/>
                    </a:cubicBezTo>
                    <a:cubicBezTo>
                      <a:pt x="268" y="626"/>
                      <a:pt x="268" y="626"/>
                      <a:pt x="268" y="626"/>
                    </a:cubicBezTo>
                    <a:cubicBezTo>
                      <a:pt x="268" y="626"/>
                      <a:pt x="269" y="626"/>
                      <a:pt x="270" y="627"/>
                    </a:cubicBezTo>
                    <a:cubicBezTo>
                      <a:pt x="270" y="627"/>
                      <a:pt x="271" y="627"/>
                      <a:pt x="271" y="627"/>
                    </a:cubicBezTo>
                    <a:cubicBezTo>
                      <a:pt x="271" y="628"/>
                      <a:pt x="271" y="628"/>
                      <a:pt x="271" y="628"/>
                    </a:cubicBezTo>
                    <a:cubicBezTo>
                      <a:pt x="272" y="628"/>
                      <a:pt x="272" y="628"/>
                      <a:pt x="273" y="629"/>
                    </a:cubicBezTo>
                    <a:cubicBezTo>
                      <a:pt x="273" y="629"/>
                      <a:pt x="274" y="629"/>
                      <a:pt x="274" y="630"/>
                    </a:cubicBezTo>
                    <a:cubicBezTo>
                      <a:pt x="278" y="627"/>
                      <a:pt x="278" y="627"/>
                      <a:pt x="278" y="627"/>
                    </a:cubicBezTo>
                    <a:cubicBezTo>
                      <a:pt x="275" y="631"/>
                      <a:pt x="275" y="631"/>
                      <a:pt x="275" y="631"/>
                    </a:cubicBezTo>
                    <a:cubicBezTo>
                      <a:pt x="276" y="631"/>
                      <a:pt x="276" y="631"/>
                      <a:pt x="276" y="631"/>
                    </a:cubicBezTo>
                    <a:cubicBezTo>
                      <a:pt x="277" y="633"/>
                      <a:pt x="278" y="635"/>
                      <a:pt x="280" y="636"/>
                    </a:cubicBezTo>
                    <a:cubicBezTo>
                      <a:pt x="280" y="637"/>
                      <a:pt x="281" y="637"/>
                      <a:pt x="281" y="638"/>
                    </a:cubicBezTo>
                    <a:cubicBezTo>
                      <a:pt x="281" y="638"/>
                      <a:pt x="281" y="638"/>
                      <a:pt x="281" y="638"/>
                    </a:cubicBezTo>
                    <a:cubicBezTo>
                      <a:pt x="282" y="639"/>
                      <a:pt x="283" y="640"/>
                      <a:pt x="283" y="640"/>
                    </a:cubicBezTo>
                    <a:cubicBezTo>
                      <a:pt x="283" y="640"/>
                      <a:pt x="283" y="640"/>
                      <a:pt x="283" y="640"/>
                    </a:cubicBezTo>
                    <a:cubicBezTo>
                      <a:pt x="284" y="640"/>
                      <a:pt x="284" y="640"/>
                      <a:pt x="284" y="640"/>
                    </a:cubicBezTo>
                    <a:cubicBezTo>
                      <a:pt x="287" y="639"/>
                      <a:pt x="290" y="638"/>
                      <a:pt x="292" y="638"/>
                    </a:cubicBezTo>
                    <a:cubicBezTo>
                      <a:pt x="293" y="638"/>
                      <a:pt x="293" y="638"/>
                      <a:pt x="294" y="638"/>
                    </a:cubicBezTo>
                    <a:cubicBezTo>
                      <a:pt x="295" y="638"/>
                      <a:pt x="297" y="638"/>
                      <a:pt x="298" y="639"/>
                    </a:cubicBezTo>
                    <a:cubicBezTo>
                      <a:pt x="300" y="641"/>
                      <a:pt x="300" y="643"/>
                      <a:pt x="300" y="644"/>
                    </a:cubicBezTo>
                    <a:cubicBezTo>
                      <a:pt x="300" y="644"/>
                      <a:pt x="300" y="644"/>
                      <a:pt x="300" y="644"/>
                    </a:cubicBezTo>
                    <a:cubicBezTo>
                      <a:pt x="301" y="645"/>
                      <a:pt x="301" y="645"/>
                      <a:pt x="301" y="645"/>
                    </a:cubicBezTo>
                    <a:cubicBezTo>
                      <a:pt x="302" y="646"/>
                      <a:pt x="302" y="648"/>
                      <a:pt x="302" y="650"/>
                    </a:cubicBezTo>
                    <a:cubicBezTo>
                      <a:pt x="302" y="650"/>
                      <a:pt x="303" y="651"/>
                      <a:pt x="304" y="652"/>
                    </a:cubicBezTo>
                    <a:cubicBezTo>
                      <a:pt x="304" y="652"/>
                      <a:pt x="304" y="652"/>
                      <a:pt x="304" y="652"/>
                    </a:cubicBezTo>
                    <a:cubicBezTo>
                      <a:pt x="305" y="653"/>
                      <a:pt x="306" y="653"/>
                      <a:pt x="306" y="653"/>
                    </a:cubicBezTo>
                    <a:cubicBezTo>
                      <a:pt x="308" y="654"/>
                      <a:pt x="308" y="654"/>
                      <a:pt x="308" y="654"/>
                    </a:cubicBezTo>
                    <a:cubicBezTo>
                      <a:pt x="308" y="655"/>
                      <a:pt x="309" y="655"/>
                      <a:pt x="309" y="655"/>
                    </a:cubicBezTo>
                    <a:cubicBezTo>
                      <a:pt x="311" y="656"/>
                      <a:pt x="311" y="656"/>
                      <a:pt x="311" y="656"/>
                    </a:cubicBezTo>
                    <a:cubicBezTo>
                      <a:pt x="312" y="657"/>
                      <a:pt x="313" y="657"/>
                      <a:pt x="314" y="658"/>
                    </a:cubicBezTo>
                    <a:cubicBezTo>
                      <a:pt x="315" y="658"/>
                      <a:pt x="316" y="659"/>
                      <a:pt x="317" y="659"/>
                    </a:cubicBezTo>
                    <a:cubicBezTo>
                      <a:pt x="317" y="659"/>
                      <a:pt x="318" y="659"/>
                      <a:pt x="318" y="659"/>
                    </a:cubicBezTo>
                    <a:cubicBezTo>
                      <a:pt x="319" y="659"/>
                      <a:pt x="319" y="659"/>
                      <a:pt x="320" y="659"/>
                    </a:cubicBezTo>
                    <a:cubicBezTo>
                      <a:pt x="322" y="659"/>
                      <a:pt x="322" y="659"/>
                      <a:pt x="322" y="659"/>
                    </a:cubicBezTo>
                    <a:cubicBezTo>
                      <a:pt x="322" y="658"/>
                      <a:pt x="323" y="658"/>
                      <a:pt x="324" y="658"/>
                    </a:cubicBezTo>
                    <a:cubicBezTo>
                      <a:pt x="325" y="658"/>
                      <a:pt x="325" y="658"/>
                      <a:pt x="326" y="658"/>
                    </a:cubicBezTo>
                    <a:cubicBezTo>
                      <a:pt x="331" y="659"/>
                      <a:pt x="331" y="659"/>
                      <a:pt x="331" y="659"/>
                    </a:cubicBezTo>
                    <a:cubicBezTo>
                      <a:pt x="328" y="665"/>
                      <a:pt x="328" y="665"/>
                      <a:pt x="328" y="665"/>
                    </a:cubicBezTo>
                    <a:cubicBezTo>
                      <a:pt x="328" y="665"/>
                      <a:pt x="327" y="666"/>
                      <a:pt x="327" y="667"/>
                    </a:cubicBezTo>
                    <a:cubicBezTo>
                      <a:pt x="327" y="667"/>
                      <a:pt x="327" y="667"/>
                      <a:pt x="327" y="667"/>
                    </a:cubicBezTo>
                    <a:cubicBezTo>
                      <a:pt x="328" y="667"/>
                      <a:pt x="328" y="667"/>
                      <a:pt x="328" y="667"/>
                    </a:cubicBezTo>
                    <a:cubicBezTo>
                      <a:pt x="329" y="667"/>
                      <a:pt x="329" y="667"/>
                      <a:pt x="329" y="667"/>
                    </a:cubicBezTo>
                    <a:cubicBezTo>
                      <a:pt x="330" y="667"/>
                      <a:pt x="330" y="666"/>
                      <a:pt x="331" y="666"/>
                    </a:cubicBezTo>
                    <a:cubicBezTo>
                      <a:pt x="333" y="666"/>
                      <a:pt x="334" y="666"/>
                      <a:pt x="336" y="666"/>
                    </a:cubicBezTo>
                    <a:cubicBezTo>
                      <a:pt x="336" y="666"/>
                      <a:pt x="336" y="666"/>
                      <a:pt x="337" y="666"/>
                    </a:cubicBezTo>
                    <a:cubicBezTo>
                      <a:pt x="339" y="666"/>
                      <a:pt x="341" y="667"/>
                      <a:pt x="343" y="668"/>
                    </a:cubicBezTo>
                    <a:cubicBezTo>
                      <a:pt x="344" y="669"/>
                      <a:pt x="344" y="670"/>
                      <a:pt x="345" y="670"/>
                    </a:cubicBezTo>
                    <a:cubicBezTo>
                      <a:pt x="346" y="672"/>
                      <a:pt x="346" y="672"/>
                      <a:pt x="346" y="672"/>
                    </a:cubicBezTo>
                    <a:cubicBezTo>
                      <a:pt x="347" y="673"/>
                      <a:pt x="348" y="675"/>
                      <a:pt x="349" y="676"/>
                    </a:cubicBezTo>
                    <a:cubicBezTo>
                      <a:pt x="350" y="675"/>
                      <a:pt x="350" y="674"/>
                      <a:pt x="351" y="673"/>
                    </a:cubicBezTo>
                    <a:cubicBezTo>
                      <a:pt x="358" y="665"/>
                      <a:pt x="358" y="665"/>
                      <a:pt x="358" y="665"/>
                    </a:cubicBezTo>
                    <a:cubicBezTo>
                      <a:pt x="357" y="675"/>
                      <a:pt x="357" y="675"/>
                      <a:pt x="357" y="675"/>
                    </a:cubicBezTo>
                    <a:cubicBezTo>
                      <a:pt x="357" y="676"/>
                      <a:pt x="357" y="676"/>
                      <a:pt x="357" y="676"/>
                    </a:cubicBezTo>
                    <a:cubicBezTo>
                      <a:pt x="358" y="676"/>
                      <a:pt x="359" y="676"/>
                      <a:pt x="360" y="677"/>
                    </a:cubicBezTo>
                    <a:cubicBezTo>
                      <a:pt x="362" y="677"/>
                      <a:pt x="362" y="677"/>
                      <a:pt x="362" y="677"/>
                    </a:cubicBezTo>
                    <a:cubicBezTo>
                      <a:pt x="362" y="677"/>
                      <a:pt x="362" y="677"/>
                      <a:pt x="362" y="677"/>
                    </a:cubicBezTo>
                    <a:cubicBezTo>
                      <a:pt x="363" y="676"/>
                      <a:pt x="364" y="675"/>
                      <a:pt x="366" y="674"/>
                    </a:cubicBezTo>
                    <a:cubicBezTo>
                      <a:pt x="367" y="674"/>
                      <a:pt x="367" y="674"/>
                      <a:pt x="368" y="674"/>
                    </a:cubicBezTo>
                    <a:cubicBezTo>
                      <a:pt x="368" y="0"/>
                      <a:pt x="368" y="0"/>
                      <a:pt x="3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334"/>
              <p:cNvSpPr/>
              <p:nvPr/>
            </p:nvSpPr>
            <p:spPr bwMode="auto">
              <a:xfrm>
                <a:off x="10506265" y="5590321"/>
                <a:ext cx="1673042" cy="1267680"/>
              </a:xfrm>
              <a:custGeom>
                <a:gdLst>
                  <a:gd name="T0" fmla="*/ 249 w 526"/>
                  <a:gd name="T1" fmla="*/ 17 h 399"/>
                  <a:gd name="T2" fmla="*/ 231 w 526"/>
                  <a:gd name="T3" fmla="*/ 26 h 399"/>
                  <a:gd name="T4" fmla="*/ 204 w 526"/>
                  <a:gd name="T5" fmla="*/ 30 h 399"/>
                  <a:gd name="T6" fmla="*/ 183 w 526"/>
                  <a:gd name="T7" fmla="*/ 25 h 399"/>
                  <a:gd name="T8" fmla="*/ 164 w 526"/>
                  <a:gd name="T9" fmla="*/ 32 h 399"/>
                  <a:gd name="T10" fmla="*/ 174 w 526"/>
                  <a:gd name="T11" fmla="*/ 51 h 399"/>
                  <a:gd name="T12" fmla="*/ 172 w 526"/>
                  <a:gd name="T13" fmla="*/ 56 h 399"/>
                  <a:gd name="T14" fmla="*/ 178 w 526"/>
                  <a:gd name="T15" fmla="*/ 81 h 399"/>
                  <a:gd name="T16" fmla="*/ 188 w 526"/>
                  <a:gd name="T17" fmla="*/ 87 h 399"/>
                  <a:gd name="T18" fmla="*/ 201 w 526"/>
                  <a:gd name="T19" fmla="*/ 93 h 399"/>
                  <a:gd name="T20" fmla="*/ 190 w 526"/>
                  <a:gd name="T21" fmla="*/ 112 h 399"/>
                  <a:gd name="T22" fmla="*/ 184 w 526"/>
                  <a:gd name="T23" fmla="*/ 120 h 399"/>
                  <a:gd name="T24" fmla="*/ 175 w 526"/>
                  <a:gd name="T25" fmla="*/ 150 h 399"/>
                  <a:gd name="T26" fmla="*/ 166 w 526"/>
                  <a:gd name="T27" fmla="*/ 161 h 399"/>
                  <a:gd name="T28" fmla="*/ 153 w 526"/>
                  <a:gd name="T29" fmla="*/ 174 h 399"/>
                  <a:gd name="T30" fmla="*/ 144 w 526"/>
                  <a:gd name="T31" fmla="*/ 194 h 399"/>
                  <a:gd name="T32" fmla="*/ 122 w 526"/>
                  <a:gd name="T33" fmla="*/ 214 h 399"/>
                  <a:gd name="T34" fmla="*/ 87 w 526"/>
                  <a:gd name="T35" fmla="*/ 242 h 399"/>
                  <a:gd name="T36" fmla="*/ 70 w 526"/>
                  <a:gd name="T37" fmla="*/ 242 h 399"/>
                  <a:gd name="T38" fmla="*/ 64 w 526"/>
                  <a:gd name="T39" fmla="*/ 236 h 399"/>
                  <a:gd name="T40" fmla="*/ 58 w 526"/>
                  <a:gd name="T41" fmla="*/ 242 h 399"/>
                  <a:gd name="T42" fmla="*/ 47 w 526"/>
                  <a:gd name="T43" fmla="*/ 272 h 399"/>
                  <a:gd name="T44" fmla="*/ 60 w 526"/>
                  <a:gd name="T45" fmla="*/ 293 h 399"/>
                  <a:gd name="T46" fmla="*/ 65 w 526"/>
                  <a:gd name="T47" fmla="*/ 300 h 399"/>
                  <a:gd name="T48" fmla="*/ 75 w 526"/>
                  <a:gd name="T49" fmla="*/ 307 h 399"/>
                  <a:gd name="T50" fmla="*/ 84 w 526"/>
                  <a:gd name="T51" fmla="*/ 337 h 399"/>
                  <a:gd name="T52" fmla="*/ 81 w 526"/>
                  <a:gd name="T53" fmla="*/ 347 h 399"/>
                  <a:gd name="T54" fmla="*/ 73 w 526"/>
                  <a:gd name="T55" fmla="*/ 350 h 399"/>
                  <a:gd name="T56" fmla="*/ 57 w 526"/>
                  <a:gd name="T57" fmla="*/ 349 h 399"/>
                  <a:gd name="T58" fmla="*/ 33 w 526"/>
                  <a:gd name="T59" fmla="*/ 350 h 399"/>
                  <a:gd name="T60" fmla="*/ 13 w 526"/>
                  <a:gd name="T61" fmla="*/ 359 h 399"/>
                  <a:gd name="T62" fmla="*/ 17 w 526"/>
                  <a:gd name="T63" fmla="*/ 359 h 399"/>
                  <a:gd name="T64" fmla="*/ 8 w 526"/>
                  <a:gd name="T65" fmla="*/ 368 h 399"/>
                  <a:gd name="T66" fmla="*/ 39 w 526"/>
                  <a:gd name="T67" fmla="*/ 392 h 399"/>
                  <a:gd name="T68" fmla="*/ 62 w 526"/>
                  <a:gd name="T69" fmla="*/ 386 h 399"/>
                  <a:gd name="T70" fmla="*/ 524 w 526"/>
                  <a:gd name="T71" fmla="*/ 283 h 399"/>
                  <a:gd name="T72" fmla="*/ 511 w 526"/>
                  <a:gd name="T73" fmla="*/ 279 h 399"/>
                  <a:gd name="T74" fmla="*/ 499 w 526"/>
                  <a:gd name="T75" fmla="*/ 277 h 399"/>
                  <a:gd name="T76" fmla="*/ 487 w 526"/>
                  <a:gd name="T77" fmla="*/ 274 h 399"/>
                  <a:gd name="T78" fmla="*/ 473 w 526"/>
                  <a:gd name="T79" fmla="*/ 267 h 399"/>
                  <a:gd name="T80" fmla="*/ 463 w 526"/>
                  <a:gd name="T81" fmla="*/ 255 h 399"/>
                  <a:gd name="T82" fmla="*/ 452 w 526"/>
                  <a:gd name="T83" fmla="*/ 259 h 399"/>
                  <a:gd name="T84" fmla="*/ 437 w 526"/>
                  <a:gd name="T85" fmla="*/ 253 h 399"/>
                  <a:gd name="T86" fmla="*/ 430 w 526"/>
                  <a:gd name="T87" fmla="*/ 256 h 399"/>
                  <a:gd name="T88" fmla="*/ 410 w 526"/>
                  <a:gd name="T89" fmla="*/ 246 h 399"/>
                  <a:gd name="T90" fmla="*/ 394 w 526"/>
                  <a:gd name="T91" fmla="*/ 239 h 399"/>
                  <a:gd name="T92" fmla="*/ 380 w 526"/>
                  <a:gd name="T93" fmla="*/ 236 h 399"/>
                  <a:gd name="T94" fmla="*/ 357 w 526"/>
                  <a:gd name="T95" fmla="*/ 219 h 399"/>
                  <a:gd name="T96" fmla="*/ 339 w 526"/>
                  <a:gd name="T97" fmla="*/ 195 h 399"/>
                  <a:gd name="T98" fmla="*/ 344 w 526"/>
                  <a:gd name="T99" fmla="*/ 182 h 399"/>
                  <a:gd name="T100" fmla="*/ 339 w 526"/>
                  <a:gd name="T101" fmla="*/ 150 h 399"/>
                  <a:gd name="T102" fmla="*/ 316 w 526"/>
                  <a:gd name="T103" fmla="*/ 139 h 399"/>
                  <a:gd name="T104" fmla="*/ 310 w 526"/>
                  <a:gd name="T105" fmla="*/ 131 h 399"/>
                  <a:gd name="T106" fmla="*/ 301 w 526"/>
                  <a:gd name="T107" fmla="*/ 133 h 399"/>
                  <a:gd name="T108" fmla="*/ 296 w 526"/>
                  <a:gd name="T109" fmla="*/ 114 h 399"/>
                  <a:gd name="T110" fmla="*/ 288 w 526"/>
                  <a:gd name="T111" fmla="*/ 89 h 399"/>
                  <a:gd name="T112" fmla="*/ 305 w 526"/>
                  <a:gd name="T113" fmla="*/ 90 h 399"/>
                  <a:gd name="T114" fmla="*/ 316 w 526"/>
                  <a:gd name="T115" fmla="*/ 78 h 399"/>
                  <a:gd name="T116" fmla="*/ 303 w 526"/>
                  <a:gd name="T117" fmla="*/ 65 h 399"/>
                  <a:gd name="T118" fmla="*/ 298 w 526"/>
                  <a:gd name="T119" fmla="*/ 49 h 399"/>
                  <a:gd name="T120" fmla="*/ 300 w 526"/>
                  <a:gd name="T121" fmla="*/ 35 h 399"/>
                  <a:gd name="T122" fmla="*/ 278 w 526"/>
                  <a:gd name="T123" fmla="*/ 8 h 3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6" h="399">
                    <a:moveTo>
                      <a:pt x="277" y="0"/>
                    </a:moveTo>
                    <a:cubicBezTo>
                      <a:pt x="276" y="0"/>
                      <a:pt x="275" y="0"/>
                      <a:pt x="275" y="0"/>
                    </a:cubicBezTo>
                    <a:cubicBezTo>
                      <a:pt x="273" y="1"/>
                      <a:pt x="271" y="2"/>
                      <a:pt x="270" y="3"/>
                    </a:cubicBezTo>
                    <a:cubicBezTo>
                      <a:pt x="268" y="4"/>
                      <a:pt x="266" y="5"/>
                      <a:pt x="264" y="6"/>
                    </a:cubicBezTo>
                    <a:cubicBezTo>
                      <a:pt x="262" y="7"/>
                      <a:pt x="261" y="8"/>
                      <a:pt x="260" y="9"/>
                    </a:cubicBezTo>
                    <a:cubicBezTo>
                      <a:pt x="254" y="13"/>
                      <a:pt x="254" y="13"/>
                      <a:pt x="254" y="13"/>
                    </a:cubicBezTo>
                    <a:cubicBezTo>
                      <a:pt x="252" y="13"/>
                      <a:pt x="251" y="15"/>
                      <a:pt x="249" y="17"/>
                    </a:cubicBezTo>
                    <a:cubicBezTo>
                      <a:pt x="248" y="19"/>
                      <a:pt x="248" y="19"/>
                      <a:pt x="248" y="19"/>
                    </a:cubicBezTo>
                    <a:cubicBezTo>
                      <a:pt x="246" y="22"/>
                      <a:pt x="244" y="24"/>
                      <a:pt x="240" y="25"/>
                    </a:cubicBezTo>
                    <a:cubicBezTo>
                      <a:pt x="238" y="25"/>
                      <a:pt x="238" y="25"/>
                      <a:pt x="238" y="25"/>
                    </a:cubicBezTo>
                    <a:cubicBezTo>
                      <a:pt x="237" y="25"/>
                      <a:pt x="237" y="25"/>
                      <a:pt x="236" y="25"/>
                    </a:cubicBezTo>
                    <a:cubicBezTo>
                      <a:pt x="235" y="25"/>
                      <a:pt x="235" y="25"/>
                      <a:pt x="235" y="25"/>
                    </a:cubicBezTo>
                    <a:cubicBezTo>
                      <a:pt x="234" y="25"/>
                      <a:pt x="233" y="25"/>
                      <a:pt x="233" y="26"/>
                    </a:cubicBezTo>
                    <a:cubicBezTo>
                      <a:pt x="232" y="26"/>
                      <a:pt x="231" y="26"/>
                      <a:pt x="231" y="26"/>
                    </a:cubicBezTo>
                    <a:cubicBezTo>
                      <a:pt x="230" y="26"/>
                      <a:pt x="230" y="27"/>
                      <a:pt x="229" y="27"/>
                    </a:cubicBezTo>
                    <a:cubicBezTo>
                      <a:pt x="229" y="27"/>
                      <a:pt x="229" y="27"/>
                      <a:pt x="229" y="27"/>
                    </a:cubicBezTo>
                    <a:cubicBezTo>
                      <a:pt x="228" y="28"/>
                      <a:pt x="227" y="28"/>
                      <a:pt x="226" y="28"/>
                    </a:cubicBezTo>
                    <a:cubicBezTo>
                      <a:pt x="221" y="30"/>
                      <a:pt x="217" y="32"/>
                      <a:pt x="213" y="32"/>
                    </a:cubicBezTo>
                    <a:cubicBezTo>
                      <a:pt x="212" y="32"/>
                      <a:pt x="211" y="32"/>
                      <a:pt x="211" y="31"/>
                    </a:cubicBezTo>
                    <a:cubicBezTo>
                      <a:pt x="208" y="31"/>
                      <a:pt x="208" y="31"/>
                      <a:pt x="208" y="31"/>
                    </a:cubicBezTo>
                    <a:cubicBezTo>
                      <a:pt x="207" y="31"/>
                      <a:pt x="205" y="30"/>
                      <a:pt x="204" y="30"/>
                    </a:cubicBezTo>
                    <a:cubicBezTo>
                      <a:pt x="203" y="29"/>
                      <a:pt x="203" y="29"/>
                      <a:pt x="202" y="29"/>
                    </a:cubicBezTo>
                    <a:cubicBezTo>
                      <a:pt x="202" y="29"/>
                      <a:pt x="202" y="29"/>
                      <a:pt x="202" y="29"/>
                    </a:cubicBezTo>
                    <a:cubicBezTo>
                      <a:pt x="201" y="28"/>
                      <a:pt x="200" y="28"/>
                      <a:pt x="199" y="27"/>
                    </a:cubicBezTo>
                    <a:cubicBezTo>
                      <a:pt x="195" y="27"/>
                      <a:pt x="195" y="27"/>
                      <a:pt x="195" y="27"/>
                    </a:cubicBezTo>
                    <a:cubicBezTo>
                      <a:pt x="194" y="27"/>
                      <a:pt x="192" y="26"/>
                      <a:pt x="191" y="26"/>
                    </a:cubicBezTo>
                    <a:cubicBezTo>
                      <a:pt x="189" y="26"/>
                      <a:pt x="186" y="25"/>
                      <a:pt x="184" y="25"/>
                    </a:cubicBezTo>
                    <a:cubicBezTo>
                      <a:pt x="183" y="25"/>
                      <a:pt x="183" y="25"/>
                      <a:pt x="183" y="25"/>
                    </a:cubicBezTo>
                    <a:cubicBezTo>
                      <a:pt x="181" y="25"/>
                      <a:pt x="180" y="26"/>
                      <a:pt x="178" y="26"/>
                    </a:cubicBezTo>
                    <a:cubicBezTo>
                      <a:pt x="177" y="26"/>
                      <a:pt x="177" y="26"/>
                      <a:pt x="177" y="26"/>
                    </a:cubicBezTo>
                    <a:cubicBezTo>
                      <a:pt x="174" y="26"/>
                      <a:pt x="170" y="26"/>
                      <a:pt x="168" y="27"/>
                    </a:cubicBezTo>
                    <a:cubicBezTo>
                      <a:pt x="167" y="27"/>
                      <a:pt x="167" y="27"/>
                      <a:pt x="166" y="27"/>
                    </a:cubicBezTo>
                    <a:cubicBezTo>
                      <a:pt x="166" y="28"/>
                      <a:pt x="166" y="28"/>
                      <a:pt x="166" y="28"/>
                    </a:cubicBezTo>
                    <a:cubicBezTo>
                      <a:pt x="165" y="29"/>
                      <a:pt x="164" y="30"/>
                      <a:pt x="164" y="31"/>
                    </a:cubicBezTo>
                    <a:cubicBezTo>
                      <a:pt x="164" y="32"/>
                      <a:pt x="164" y="32"/>
                      <a:pt x="164" y="32"/>
                    </a:cubicBezTo>
                    <a:cubicBezTo>
                      <a:pt x="164" y="32"/>
                      <a:pt x="164" y="32"/>
                      <a:pt x="164" y="32"/>
                    </a:cubicBezTo>
                    <a:cubicBezTo>
                      <a:pt x="165" y="32"/>
                      <a:pt x="165" y="32"/>
                      <a:pt x="165" y="32"/>
                    </a:cubicBezTo>
                    <a:cubicBezTo>
                      <a:pt x="166" y="32"/>
                      <a:pt x="166" y="32"/>
                      <a:pt x="166" y="32"/>
                    </a:cubicBezTo>
                    <a:cubicBezTo>
                      <a:pt x="168" y="34"/>
                      <a:pt x="168" y="34"/>
                      <a:pt x="168" y="34"/>
                    </a:cubicBezTo>
                    <a:cubicBezTo>
                      <a:pt x="169" y="36"/>
                      <a:pt x="168" y="38"/>
                      <a:pt x="168" y="40"/>
                    </a:cubicBezTo>
                    <a:cubicBezTo>
                      <a:pt x="172" y="41"/>
                      <a:pt x="175" y="42"/>
                      <a:pt x="176" y="45"/>
                    </a:cubicBezTo>
                    <a:cubicBezTo>
                      <a:pt x="177" y="46"/>
                      <a:pt x="177" y="49"/>
                      <a:pt x="174" y="51"/>
                    </a:cubicBezTo>
                    <a:cubicBezTo>
                      <a:pt x="174" y="51"/>
                      <a:pt x="174" y="52"/>
                      <a:pt x="174" y="52"/>
                    </a:cubicBezTo>
                    <a:cubicBezTo>
                      <a:pt x="173" y="52"/>
                      <a:pt x="173" y="52"/>
                      <a:pt x="173" y="52"/>
                    </a:cubicBezTo>
                    <a:cubicBezTo>
                      <a:pt x="172" y="53"/>
                      <a:pt x="171" y="53"/>
                      <a:pt x="171" y="53"/>
                    </a:cubicBezTo>
                    <a:cubicBezTo>
                      <a:pt x="170" y="53"/>
                      <a:pt x="170" y="53"/>
                      <a:pt x="170" y="53"/>
                    </a:cubicBezTo>
                    <a:cubicBezTo>
                      <a:pt x="170" y="53"/>
                      <a:pt x="170" y="53"/>
                      <a:pt x="170" y="53"/>
                    </a:cubicBezTo>
                    <a:cubicBezTo>
                      <a:pt x="170" y="54"/>
                      <a:pt x="170" y="54"/>
                      <a:pt x="171" y="55"/>
                    </a:cubicBezTo>
                    <a:cubicBezTo>
                      <a:pt x="172" y="56"/>
                      <a:pt x="172" y="56"/>
                      <a:pt x="172" y="56"/>
                    </a:cubicBezTo>
                    <a:cubicBezTo>
                      <a:pt x="175" y="60"/>
                      <a:pt x="173" y="65"/>
                      <a:pt x="171" y="68"/>
                    </a:cubicBezTo>
                    <a:cubicBezTo>
                      <a:pt x="171" y="68"/>
                      <a:pt x="171" y="69"/>
                      <a:pt x="170" y="70"/>
                    </a:cubicBezTo>
                    <a:cubicBezTo>
                      <a:pt x="170" y="71"/>
                      <a:pt x="170" y="71"/>
                      <a:pt x="170" y="71"/>
                    </a:cubicBezTo>
                    <a:cubicBezTo>
                      <a:pt x="171" y="72"/>
                      <a:pt x="173" y="74"/>
                      <a:pt x="173" y="75"/>
                    </a:cubicBezTo>
                    <a:cubicBezTo>
                      <a:pt x="177" y="79"/>
                      <a:pt x="177" y="79"/>
                      <a:pt x="177" y="79"/>
                    </a:cubicBezTo>
                    <a:cubicBezTo>
                      <a:pt x="177" y="80"/>
                      <a:pt x="177" y="80"/>
                      <a:pt x="177" y="80"/>
                    </a:cubicBezTo>
                    <a:cubicBezTo>
                      <a:pt x="178" y="81"/>
                      <a:pt x="178" y="81"/>
                      <a:pt x="178" y="81"/>
                    </a:cubicBezTo>
                    <a:cubicBezTo>
                      <a:pt x="179" y="81"/>
                      <a:pt x="179" y="81"/>
                      <a:pt x="181" y="80"/>
                    </a:cubicBezTo>
                    <a:cubicBezTo>
                      <a:pt x="182" y="79"/>
                      <a:pt x="184" y="79"/>
                      <a:pt x="185" y="79"/>
                    </a:cubicBezTo>
                    <a:cubicBezTo>
                      <a:pt x="191" y="78"/>
                      <a:pt x="191" y="78"/>
                      <a:pt x="191" y="78"/>
                    </a:cubicBezTo>
                    <a:cubicBezTo>
                      <a:pt x="188" y="85"/>
                      <a:pt x="188" y="85"/>
                      <a:pt x="188" y="85"/>
                    </a:cubicBezTo>
                    <a:cubicBezTo>
                      <a:pt x="188" y="85"/>
                      <a:pt x="188" y="85"/>
                      <a:pt x="188" y="85"/>
                    </a:cubicBezTo>
                    <a:cubicBezTo>
                      <a:pt x="188" y="87"/>
                      <a:pt x="188" y="87"/>
                      <a:pt x="188" y="87"/>
                    </a:cubicBezTo>
                    <a:cubicBezTo>
                      <a:pt x="188" y="87"/>
                      <a:pt x="188" y="87"/>
                      <a:pt x="188" y="87"/>
                    </a:cubicBezTo>
                    <a:cubicBezTo>
                      <a:pt x="188" y="88"/>
                      <a:pt x="188" y="89"/>
                      <a:pt x="188" y="90"/>
                    </a:cubicBezTo>
                    <a:cubicBezTo>
                      <a:pt x="189" y="90"/>
                      <a:pt x="189" y="90"/>
                      <a:pt x="189" y="90"/>
                    </a:cubicBezTo>
                    <a:cubicBezTo>
                      <a:pt x="189" y="90"/>
                      <a:pt x="189" y="90"/>
                      <a:pt x="191" y="90"/>
                    </a:cubicBezTo>
                    <a:cubicBezTo>
                      <a:pt x="194" y="91"/>
                      <a:pt x="194" y="91"/>
                      <a:pt x="194" y="91"/>
                    </a:cubicBezTo>
                    <a:cubicBezTo>
                      <a:pt x="196" y="91"/>
                      <a:pt x="197" y="91"/>
                      <a:pt x="198" y="92"/>
                    </a:cubicBezTo>
                    <a:cubicBezTo>
                      <a:pt x="199" y="92"/>
                      <a:pt x="200" y="92"/>
                      <a:pt x="200" y="92"/>
                    </a:cubicBezTo>
                    <a:cubicBezTo>
                      <a:pt x="201" y="92"/>
                      <a:pt x="201" y="93"/>
                      <a:pt x="201" y="93"/>
                    </a:cubicBezTo>
                    <a:cubicBezTo>
                      <a:pt x="202" y="93"/>
                      <a:pt x="203" y="94"/>
                      <a:pt x="204" y="94"/>
                    </a:cubicBezTo>
                    <a:cubicBezTo>
                      <a:pt x="206" y="96"/>
                      <a:pt x="207" y="100"/>
                      <a:pt x="206" y="104"/>
                    </a:cubicBezTo>
                    <a:cubicBezTo>
                      <a:pt x="204" y="107"/>
                      <a:pt x="201" y="109"/>
                      <a:pt x="198" y="110"/>
                    </a:cubicBezTo>
                    <a:cubicBezTo>
                      <a:pt x="196" y="110"/>
                      <a:pt x="196" y="110"/>
                      <a:pt x="196" y="110"/>
                    </a:cubicBezTo>
                    <a:cubicBezTo>
                      <a:pt x="195" y="111"/>
                      <a:pt x="195" y="111"/>
                      <a:pt x="194" y="111"/>
                    </a:cubicBezTo>
                    <a:cubicBezTo>
                      <a:pt x="192" y="112"/>
                      <a:pt x="192" y="112"/>
                      <a:pt x="192" y="112"/>
                    </a:cubicBezTo>
                    <a:cubicBezTo>
                      <a:pt x="192" y="112"/>
                      <a:pt x="191" y="112"/>
                      <a:pt x="190" y="112"/>
                    </a:cubicBezTo>
                    <a:cubicBezTo>
                      <a:pt x="190" y="113"/>
                      <a:pt x="189" y="113"/>
                      <a:pt x="189" y="113"/>
                    </a:cubicBezTo>
                    <a:cubicBezTo>
                      <a:pt x="188" y="113"/>
                      <a:pt x="188" y="113"/>
                      <a:pt x="188" y="113"/>
                    </a:cubicBezTo>
                    <a:cubicBezTo>
                      <a:pt x="188" y="114"/>
                      <a:pt x="187" y="114"/>
                      <a:pt x="187" y="114"/>
                    </a:cubicBezTo>
                    <a:cubicBezTo>
                      <a:pt x="186" y="114"/>
                      <a:pt x="186" y="114"/>
                      <a:pt x="186" y="114"/>
                    </a:cubicBezTo>
                    <a:cubicBezTo>
                      <a:pt x="185" y="115"/>
                      <a:pt x="184" y="116"/>
                      <a:pt x="184" y="117"/>
                    </a:cubicBezTo>
                    <a:cubicBezTo>
                      <a:pt x="184" y="117"/>
                      <a:pt x="184" y="117"/>
                      <a:pt x="184" y="117"/>
                    </a:cubicBezTo>
                    <a:cubicBezTo>
                      <a:pt x="184" y="120"/>
                      <a:pt x="184" y="120"/>
                      <a:pt x="184" y="120"/>
                    </a:cubicBezTo>
                    <a:cubicBezTo>
                      <a:pt x="184" y="122"/>
                      <a:pt x="184" y="125"/>
                      <a:pt x="185" y="127"/>
                    </a:cubicBezTo>
                    <a:cubicBezTo>
                      <a:pt x="185" y="128"/>
                      <a:pt x="185" y="128"/>
                      <a:pt x="185" y="128"/>
                    </a:cubicBezTo>
                    <a:cubicBezTo>
                      <a:pt x="185" y="128"/>
                      <a:pt x="185" y="129"/>
                      <a:pt x="185" y="130"/>
                    </a:cubicBezTo>
                    <a:cubicBezTo>
                      <a:pt x="186" y="133"/>
                      <a:pt x="186" y="133"/>
                      <a:pt x="186" y="133"/>
                    </a:cubicBezTo>
                    <a:cubicBezTo>
                      <a:pt x="186" y="135"/>
                      <a:pt x="186" y="136"/>
                      <a:pt x="186" y="137"/>
                    </a:cubicBezTo>
                    <a:cubicBezTo>
                      <a:pt x="187" y="140"/>
                      <a:pt x="185" y="143"/>
                      <a:pt x="182" y="145"/>
                    </a:cubicBezTo>
                    <a:cubicBezTo>
                      <a:pt x="180" y="147"/>
                      <a:pt x="177" y="149"/>
                      <a:pt x="175" y="150"/>
                    </a:cubicBezTo>
                    <a:cubicBezTo>
                      <a:pt x="174" y="151"/>
                      <a:pt x="174" y="151"/>
                      <a:pt x="174" y="151"/>
                    </a:cubicBezTo>
                    <a:cubicBezTo>
                      <a:pt x="173" y="151"/>
                      <a:pt x="171" y="153"/>
                      <a:pt x="171" y="153"/>
                    </a:cubicBezTo>
                    <a:cubicBezTo>
                      <a:pt x="171" y="154"/>
                      <a:pt x="171" y="154"/>
                      <a:pt x="171" y="154"/>
                    </a:cubicBezTo>
                    <a:cubicBezTo>
                      <a:pt x="169" y="155"/>
                      <a:pt x="168" y="156"/>
                      <a:pt x="167" y="158"/>
                    </a:cubicBezTo>
                    <a:cubicBezTo>
                      <a:pt x="167" y="158"/>
                      <a:pt x="167" y="158"/>
                      <a:pt x="167" y="158"/>
                    </a:cubicBezTo>
                    <a:cubicBezTo>
                      <a:pt x="166" y="159"/>
                      <a:pt x="166" y="159"/>
                      <a:pt x="165" y="160"/>
                    </a:cubicBezTo>
                    <a:cubicBezTo>
                      <a:pt x="166" y="161"/>
                      <a:pt x="166" y="161"/>
                      <a:pt x="166" y="161"/>
                    </a:cubicBezTo>
                    <a:cubicBezTo>
                      <a:pt x="167" y="162"/>
                      <a:pt x="167" y="162"/>
                      <a:pt x="167" y="162"/>
                    </a:cubicBezTo>
                    <a:cubicBezTo>
                      <a:pt x="167" y="163"/>
                      <a:pt x="167" y="163"/>
                      <a:pt x="167" y="163"/>
                    </a:cubicBezTo>
                    <a:cubicBezTo>
                      <a:pt x="169" y="166"/>
                      <a:pt x="169" y="166"/>
                      <a:pt x="169" y="166"/>
                    </a:cubicBezTo>
                    <a:cubicBezTo>
                      <a:pt x="166" y="168"/>
                      <a:pt x="166" y="168"/>
                      <a:pt x="166" y="168"/>
                    </a:cubicBezTo>
                    <a:cubicBezTo>
                      <a:pt x="164" y="169"/>
                      <a:pt x="163" y="170"/>
                      <a:pt x="161" y="170"/>
                    </a:cubicBezTo>
                    <a:cubicBezTo>
                      <a:pt x="160" y="171"/>
                      <a:pt x="160" y="171"/>
                      <a:pt x="160" y="171"/>
                    </a:cubicBezTo>
                    <a:cubicBezTo>
                      <a:pt x="157" y="172"/>
                      <a:pt x="155" y="173"/>
                      <a:pt x="153" y="174"/>
                    </a:cubicBezTo>
                    <a:cubicBezTo>
                      <a:pt x="152" y="175"/>
                      <a:pt x="151" y="175"/>
                      <a:pt x="151" y="176"/>
                    </a:cubicBezTo>
                    <a:cubicBezTo>
                      <a:pt x="150" y="177"/>
                      <a:pt x="149" y="179"/>
                      <a:pt x="149" y="181"/>
                    </a:cubicBezTo>
                    <a:cubicBezTo>
                      <a:pt x="149" y="182"/>
                      <a:pt x="149" y="182"/>
                      <a:pt x="149" y="183"/>
                    </a:cubicBezTo>
                    <a:cubicBezTo>
                      <a:pt x="148" y="185"/>
                      <a:pt x="148" y="185"/>
                      <a:pt x="148" y="185"/>
                    </a:cubicBezTo>
                    <a:cubicBezTo>
                      <a:pt x="148" y="186"/>
                      <a:pt x="147" y="187"/>
                      <a:pt x="147" y="187"/>
                    </a:cubicBezTo>
                    <a:cubicBezTo>
                      <a:pt x="146" y="189"/>
                      <a:pt x="145" y="191"/>
                      <a:pt x="144" y="193"/>
                    </a:cubicBezTo>
                    <a:cubicBezTo>
                      <a:pt x="144" y="194"/>
                      <a:pt x="144" y="194"/>
                      <a:pt x="144" y="194"/>
                    </a:cubicBezTo>
                    <a:cubicBezTo>
                      <a:pt x="143" y="195"/>
                      <a:pt x="142" y="197"/>
                      <a:pt x="141" y="198"/>
                    </a:cubicBezTo>
                    <a:cubicBezTo>
                      <a:pt x="138" y="203"/>
                      <a:pt x="136" y="204"/>
                      <a:pt x="131" y="207"/>
                    </a:cubicBezTo>
                    <a:cubicBezTo>
                      <a:pt x="131" y="207"/>
                      <a:pt x="131" y="207"/>
                      <a:pt x="131" y="207"/>
                    </a:cubicBezTo>
                    <a:cubicBezTo>
                      <a:pt x="130" y="208"/>
                      <a:pt x="129" y="208"/>
                      <a:pt x="128" y="209"/>
                    </a:cubicBezTo>
                    <a:cubicBezTo>
                      <a:pt x="126" y="210"/>
                      <a:pt x="124" y="211"/>
                      <a:pt x="123" y="213"/>
                    </a:cubicBezTo>
                    <a:cubicBezTo>
                      <a:pt x="126" y="215"/>
                      <a:pt x="126" y="215"/>
                      <a:pt x="126" y="215"/>
                    </a:cubicBezTo>
                    <a:cubicBezTo>
                      <a:pt x="122" y="214"/>
                      <a:pt x="122" y="214"/>
                      <a:pt x="122" y="214"/>
                    </a:cubicBezTo>
                    <a:cubicBezTo>
                      <a:pt x="104" y="238"/>
                      <a:pt x="104" y="238"/>
                      <a:pt x="104" y="238"/>
                    </a:cubicBezTo>
                    <a:cubicBezTo>
                      <a:pt x="102" y="239"/>
                      <a:pt x="101" y="239"/>
                      <a:pt x="100" y="240"/>
                    </a:cubicBezTo>
                    <a:cubicBezTo>
                      <a:pt x="98" y="240"/>
                      <a:pt x="96" y="240"/>
                      <a:pt x="93" y="241"/>
                    </a:cubicBezTo>
                    <a:cubicBezTo>
                      <a:pt x="92" y="241"/>
                      <a:pt x="92" y="241"/>
                      <a:pt x="92" y="241"/>
                    </a:cubicBezTo>
                    <a:cubicBezTo>
                      <a:pt x="91" y="241"/>
                      <a:pt x="91" y="241"/>
                      <a:pt x="91" y="241"/>
                    </a:cubicBezTo>
                    <a:cubicBezTo>
                      <a:pt x="90" y="241"/>
                      <a:pt x="89" y="241"/>
                      <a:pt x="89" y="241"/>
                    </a:cubicBezTo>
                    <a:cubicBezTo>
                      <a:pt x="87" y="242"/>
                      <a:pt x="87" y="242"/>
                      <a:pt x="87" y="242"/>
                    </a:cubicBezTo>
                    <a:cubicBezTo>
                      <a:pt x="87" y="242"/>
                      <a:pt x="87" y="242"/>
                      <a:pt x="87" y="242"/>
                    </a:cubicBezTo>
                    <a:cubicBezTo>
                      <a:pt x="85" y="242"/>
                      <a:pt x="83" y="243"/>
                      <a:pt x="81" y="244"/>
                    </a:cubicBezTo>
                    <a:cubicBezTo>
                      <a:pt x="80" y="244"/>
                      <a:pt x="80" y="244"/>
                      <a:pt x="80" y="244"/>
                    </a:cubicBezTo>
                    <a:cubicBezTo>
                      <a:pt x="79" y="245"/>
                      <a:pt x="77" y="245"/>
                      <a:pt x="76" y="245"/>
                    </a:cubicBezTo>
                    <a:cubicBezTo>
                      <a:pt x="75" y="245"/>
                      <a:pt x="73" y="244"/>
                      <a:pt x="72" y="243"/>
                    </a:cubicBezTo>
                    <a:cubicBezTo>
                      <a:pt x="72" y="243"/>
                      <a:pt x="72" y="243"/>
                      <a:pt x="72" y="243"/>
                    </a:cubicBezTo>
                    <a:cubicBezTo>
                      <a:pt x="71" y="243"/>
                      <a:pt x="71" y="242"/>
                      <a:pt x="70" y="242"/>
                    </a:cubicBezTo>
                    <a:cubicBezTo>
                      <a:pt x="70" y="241"/>
                      <a:pt x="69" y="240"/>
                      <a:pt x="68" y="239"/>
                    </a:cubicBezTo>
                    <a:cubicBezTo>
                      <a:pt x="68" y="238"/>
                      <a:pt x="67" y="237"/>
                      <a:pt x="67" y="236"/>
                    </a:cubicBezTo>
                    <a:cubicBezTo>
                      <a:pt x="67" y="236"/>
                      <a:pt x="67" y="236"/>
                      <a:pt x="67" y="236"/>
                    </a:cubicBezTo>
                    <a:cubicBezTo>
                      <a:pt x="66" y="236"/>
                      <a:pt x="66" y="236"/>
                      <a:pt x="66" y="236"/>
                    </a:cubicBezTo>
                    <a:cubicBezTo>
                      <a:pt x="66" y="235"/>
                      <a:pt x="66" y="235"/>
                      <a:pt x="66" y="235"/>
                    </a:cubicBezTo>
                    <a:cubicBezTo>
                      <a:pt x="65" y="235"/>
                      <a:pt x="65" y="235"/>
                      <a:pt x="65" y="235"/>
                    </a:cubicBezTo>
                    <a:cubicBezTo>
                      <a:pt x="64" y="236"/>
                      <a:pt x="64" y="236"/>
                      <a:pt x="64" y="236"/>
                    </a:cubicBezTo>
                    <a:cubicBezTo>
                      <a:pt x="64" y="236"/>
                      <a:pt x="64" y="236"/>
                      <a:pt x="63" y="236"/>
                    </a:cubicBezTo>
                    <a:cubicBezTo>
                      <a:pt x="62" y="237"/>
                      <a:pt x="62" y="237"/>
                      <a:pt x="62" y="237"/>
                    </a:cubicBezTo>
                    <a:cubicBezTo>
                      <a:pt x="62" y="238"/>
                      <a:pt x="62" y="238"/>
                      <a:pt x="62" y="238"/>
                    </a:cubicBezTo>
                    <a:cubicBezTo>
                      <a:pt x="61" y="238"/>
                      <a:pt x="61" y="238"/>
                      <a:pt x="61" y="238"/>
                    </a:cubicBezTo>
                    <a:cubicBezTo>
                      <a:pt x="59" y="241"/>
                      <a:pt x="59" y="241"/>
                      <a:pt x="59" y="241"/>
                    </a:cubicBezTo>
                    <a:cubicBezTo>
                      <a:pt x="58" y="241"/>
                      <a:pt x="58" y="241"/>
                      <a:pt x="58" y="241"/>
                    </a:cubicBezTo>
                    <a:cubicBezTo>
                      <a:pt x="58" y="242"/>
                      <a:pt x="58" y="242"/>
                      <a:pt x="58" y="242"/>
                    </a:cubicBezTo>
                    <a:cubicBezTo>
                      <a:pt x="57" y="243"/>
                      <a:pt x="56" y="244"/>
                      <a:pt x="56" y="244"/>
                    </a:cubicBezTo>
                    <a:cubicBezTo>
                      <a:pt x="55" y="246"/>
                      <a:pt x="53" y="248"/>
                      <a:pt x="51" y="249"/>
                    </a:cubicBezTo>
                    <a:cubicBezTo>
                      <a:pt x="49" y="253"/>
                      <a:pt x="45" y="256"/>
                      <a:pt x="43" y="260"/>
                    </a:cubicBezTo>
                    <a:cubicBezTo>
                      <a:pt x="41" y="264"/>
                      <a:pt x="40" y="267"/>
                      <a:pt x="40" y="268"/>
                    </a:cubicBezTo>
                    <a:cubicBezTo>
                      <a:pt x="40" y="269"/>
                      <a:pt x="41" y="269"/>
                      <a:pt x="41" y="269"/>
                    </a:cubicBezTo>
                    <a:cubicBezTo>
                      <a:pt x="42" y="270"/>
                      <a:pt x="43" y="271"/>
                      <a:pt x="46" y="272"/>
                    </a:cubicBezTo>
                    <a:cubicBezTo>
                      <a:pt x="47" y="272"/>
                      <a:pt x="47" y="272"/>
                      <a:pt x="47" y="272"/>
                    </a:cubicBezTo>
                    <a:cubicBezTo>
                      <a:pt x="48" y="272"/>
                      <a:pt x="50" y="272"/>
                      <a:pt x="52" y="272"/>
                    </a:cubicBezTo>
                    <a:cubicBezTo>
                      <a:pt x="52" y="272"/>
                      <a:pt x="53" y="272"/>
                      <a:pt x="53" y="273"/>
                    </a:cubicBezTo>
                    <a:cubicBezTo>
                      <a:pt x="55" y="273"/>
                      <a:pt x="56" y="273"/>
                      <a:pt x="57" y="274"/>
                    </a:cubicBezTo>
                    <a:cubicBezTo>
                      <a:pt x="59" y="275"/>
                      <a:pt x="60" y="277"/>
                      <a:pt x="60" y="279"/>
                    </a:cubicBezTo>
                    <a:cubicBezTo>
                      <a:pt x="60" y="281"/>
                      <a:pt x="60" y="283"/>
                      <a:pt x="60" y="285"/>
                    </a:cubicBezTo>
                    <a:cubicBezTo>
                      <a:pt x="59" y="288"/>
                      <a:pt x="59" y="290"/>
                      <a:pt x="59" y="291"/>
                    </a:cubicBezTo>
                    <a:cubicBezTo>
                      <a:pt x="60" y="292"/>
                      <a:pt x="60" y="292"/>
                      <a:pt x="60" y="293"/>
                    </a:cubicBezTo>
                    <a:cubicBezTo>
                      <a:pt x="60" y="294"/>
                      <a:pt x="60" y="294"/>
                      <a:pt x="60" y="294"/>
                    </a:cubicBezTo>
                    <a:cubicBezTo>
                      <a:pt x="61" y="296"/>
                      <a:pt x="61" y="298"/>
                      <a:pt x="62" y="299"/>
                    </a:cubicBezTo>
                    <a:cubicBezTo>
                      <a:pt x="63" y="300"/>
                      <a:pt x="63" y="300"/>
                      <a:pt x="63" y="300"/>
                    </a:cubicBezTo>
                    <a:cubicBezTo>
                      <a:pt x="64" y="300"/>
                      <a:pt x="64" y="300"/>
                      <a:pt x="64" y="300"/>
                    </a:cubicBezTo>
                    <a:cubicBezTo>
                      <a:pt x="64" y="300"/>
                      <a:pt x="65" y="300"/>
                      <a:pt x="65" y="300"/>
                    </a:cubicBezTo>
                    <a:cubicBezTo>
                      <a:pt x="65" y="300"/>
                      <a:pt x="65" y="300"/>
                      <a:pt x="65" y="300"/>
                    </a:cubicBezTo>
                    <a:cubicBezTo>
                      <a:pt x="65" y="300"/>
                      <a:pt x="65" y="300"/>
                      <a:pt x="65" y="300"/>
                    </a:cubicBezTo>
                    <a:cubicBezTo>
                      <a:pt x="66" y="300"/>
                      <a:pt x="66" y="300"/>
                      <a:pt x="66" y="300"/>
                    </a:cubicBezTo>
                    <a:cubicBezTo>
                      <a:pt x="66" y="300"/>
                      <a:pt x="66" y="300"/>
                      <a:pt x="66" y="300"/>
                    </a:cubicBezTo>
                    <a:cubicBezTo>
                      <a:pt x="67" y="300"/>
                      <a:pt x="67" y="299"/>
                      <a:pt x="67" y="299"/>
                    </a:cubicBezTo>
                    <a:cubicBezTo>
                      <a:pt x="68" y="299"/>
                      <a:pt x="68" y="299"/>
                      <a:pt x="69" y="299"/>
                    </a:cubicBezTo>
                    <a:cubicBezTo>
                      <a:pt x="69" y="299"/>
                      <a:pt x="70" y="299"/>
                      <a:pt x="70" y="299"/>
                    </a:cubicBezTo>
                    <a:cubicBezTo>
                      <a:pt x="72" y="300"/>
                      <a:pt x="74" y="302"/>
                      <a:pt x="74" y="304"/>
                    </a:cubicBezTo>
                    <a:cubicBezTo>
                      <a:pt x="75" y="305"/>
                      <a:pt x="75" y="306"/>
                      <a:pt x="75" y="307"/>
                    </a:cubicBezTo>
                    <a:cubicBezTo>
                      <a:pt x="75" y="309"/>
                      <a:pt x="76" y="310"/>
                      <a:pt x="76" y="312"/>
                    </a:cubicBezTo>
                    <a:cubicBezTo>
                      <a:pt x="77" y="313"/>
                      <a:pt x="77" y="314"/>
                      <a:pt x="77" y="315"/>
                    </a:cubicBezTo>
                    <a:cubicBezTo>
                      <a:pt x="78" y="315"/>
                      <a:pt x="78" y="315"/>
                      <a:pt x="78" y="315"/>
                    </a:cubicBezTo>
                    <a:cubicBezTo>
                      <a:pt x="78" y="315"/>
                      <a:pt x="78" y="315"/>
                      <a:pt x="78" y="315"/>
                    </a:cubicBezTo>
                    <a:cubicBezTo>
                      <a:pt x="84" y="329"/>
                      <a:pt x="84" y="329"/>
                      <a:pt x="84" y="329"/>
                    </a:cubicBezTo>
                    <a:cubicBezTo>
                      <a:pt x="85" y="331"/>
                      <a:pt x="85" y="332"/>
                      <a:pt x="85" y="333"/>
                    </a:cubicBezTo>
                    <a:cubicBezTo>
                      <a:pt x="85" y="335"/>
                      <a:pt x="84" y="336"/>
                      <a:pt x="84" y="337"/>
                    </a:cubicBezTo>
                    <a:cubicBezTo>
                      <a:pt x="83" y="338"/>
                      <a:pt x="83" y="338"/>
                      <a:pt x="83" y="338"/>
                    </a:cubicBezTo>
                    <a:cubicBezTo>
                      <a:pt x="84" y="338"/>
                      <a:pt x="84" y="338"/>
                      <a:pt x="84" y="338"/>
                    </a:cubicBezTo>
                    <a:cubicBezTo>
                      <a:pt x="85" y="339"/>
                      <a:pt x="85" y="339"/>
                      <a:pt x="85" y="339"/>
                    </a:cubicBezTo>
                    <a:cubicBezTo>
                      <a:pt x="86" y="340"/>
                      <a:pt x="86" y="340"/>
                      <a:pt x="86" y="340"/>
                    </a:cubicBezTo>
                    <a:cubicBezTo>
                      <a:pt x="86" y="341"/>
                      <a:pt x="86" y="341"/>
                      <a:pt x="86" y="341"/>
                    </a:cubicBezTo>
                    <a:cubicBezTo>
                      <a:pt x="86" y="343"/>
                      <a:pt x="84" y="345"/>
                      <a:pt x="84" y="345"/>
                    </a:cubicBezTo>
                    <a:cubicBezTo>
                      <a:pt x="83" y="346"/>
                      <a:pt x="82" y="347"/>
                      <a:pt x="81" y="347"/>
                    </a:cubicBezTo>
                    <a:cubicBezTo>
                      <a:pt x="80" y="347"/>
                      <a:pt x="80" y="347"/>
                      <a:pt x="80" y="347"/>
                    </a:cubicBezTo>
                    <a:cubicBezTo>
                      <a:pt x="80" y="347"/>
                      <a:pt x="80" y="347"/>
                      <a:pt x="80" y="347"/>
                    </a:cubicBezTo>
                    <a:cubicBezTo>
                      <a:pt x="79" y="348"/>
                      <a:pt x="79" y="348"/>
                      <a:pt x="79" y="348"/>
                    </a:cubicBezTo>
                    <a:cubicBezTo>
                      <a:pt x="79" y="349"/>
                      <a:pt x="79" y="349"/>
                      <a:pt x="79" y="349"/>
                    </a:cubicBezTo>
                    <a:cubicBezTo>
                      <a:pt x="78" y="349"/>
                      <a:pt x="78" y="349"/>
                      <a:pt x="78" y="349"/>
                    </a:cubicBezTo>
                    <a:cubicBezTo>
                      <a:pt x="76" y="350"/>
                      <a:pt x="75" y="350"/>
                      <a:pt x="74" y="350"/>
                    </a:cubicBezTo>
                    <a:cubicBezTo>
                      <a:pt x="74" y="350"/>
                      <a:pt x="73" y="350"/>
                      <a:pt x="73" y="350"/>
                    </a:cubicBezTo>
                    <a:cubicBezTo>
                      <a:pt x="71" y="350"/>
                      <a:pt x="69" y="349"/>
                      <a:pt x="67" y="348"/>
                    </a:cubicBezTo>
                    <a:cubicBezTo>
                      <a:pt x="67" y="347"/>
                      <a:pt x="66" y="347"/>
                      <a:pt x="66" y="347"/>
                    </a:cubicBezTo>
                    <a:cubicBezTo>
                      <a:pt x="66" y="346"/>
                      <a:pt x="66" y="346"/>
                      <a:pt x="66" y="346"/>
                    </a:cubicBezTo>
                    <a:cubicBezTo>
                      <a:pt x="65" y="346"/>
                      <a:pt x="65" y="346"/>
                      <a:pt x="65" y="346"/>
                    </a:cubicBezTo>
                    <a:cubicBezTo>
                      <a:pt x="63" y="346"/>
                      <a:pt x="63" y="346"/>
                      <a:pt x="63" y="346"/>
                    </a:cubicBezTo>
                    <a:cubicBezTo>
                      <a:pt x="61" y="347"/>
                      <a:pt x="59" y="348"/>
                      <a:pt x="57" y="348"/>
                    </a:cubicBezTo>
                    <a:cubicBezTo>
                      <a:pt x="57" y="349"/>
                      <a:pt x="57" y="349"/>
                      <a:pt x="57" y="349"/>
                    </a:cubicBezTo>
                    <a:cubicBezTo>
                      <a:pt x="56" y="351"/>
                      <a:pt x="56" y="351"/>
                      <a:pt x="56" y="351"/>
                    </a:cubicBezTo>
                    <a:cubicBezTo>
                      <a:pt x="55" y="352"/>
                      <a:pt x="55" y="352"/>
                      <a:pt x="55" y="352"/>
                    </a:cubicBezTo>
                    <a:cubicBezTo>
                      <a:pt x="53" y="352"/>
                      <a:pt x="52" y="353"/>
                      <a:pt x="50" y="353"/>
                    </a:cubicBezTo>
                    <a:cubicBezTo>
                      <a:pt x="50" y="353"/>
                      <a:pt x="49" y="353"/>
                      <a:pt x="48" y="352"/>
                    </a:cubicBezTo>
                    <a:cubicBezTo>
                      <a:pt x="47" y="352"/>
                      <a:pt x="46" y="352"/>
                      <a:pt x="44" y="352"/>
                    </a:cubicBezTo>
                    <a:cubicBezTo>
                      <a:pt x="44" y="352"/>
                      <a:pt x="43" y="352"/>
                      <a:pt x="42" y="351"/>
                    </a:cubicBezTo>
                    <a:cubicBezTo>
                      <a:pt x="33" y="350"/>
                      <a:pt x="33" y="350"/>
                      <a:pt x="33" y="350"/>
                    </a:cubicBezTo>
                    <a:cubicBezTo>
                      <a:pt x="29" y="350"/>
                      <a:pt x="24" y="349"/>
                      <a:pt x="20" y="349"/>
                    </a:cubicBezTo>
                    <a:cubicBezTo>
                      <a:pt x="20" y="350"/>
                      <a:pt x="20" y="352"/>
                      <a:pt x="19" y="353"/>
                    </a:cubicBezTo>
                    <a:cubicBezTo>
                      <a:pt x="19" y="354"/>
                      <a:pt x="19" y="354"/>
                      <a:pt x="19" y="354"/>
                    </a:cubicBezTo>
                    <a:cubicBezTo>
                      <a:pt x="19" y="355"/>
                      <a:pt x="19" y="355"/>
                      <a:pt x="19" y="356"/>
                    </a:cubicBezTo>
                    <a:cubicBezTo>
                      <a:pt x="18" y="357"/>
                      <a:pt x="18" y="357"/>
                      <a:pt x="18" y="357"/>
                    </a:cubicBezTo>
                    <a:cubicBezTo>
                      <a:pt x="18" y="358"/>
                      <a:pt x="17" y="358"/>
                      <a:pt x="16" y="358"/>
                    </a:cubicBezTo>
                    <a:cubicBezTo>
                      <a:pt x="15" y="359"/>
                      <a:pt x="14" y="359"/>
                      <a:pt x="13" y="359"/>
                    </a:cubicBezTo>
                    <a:cubicBezTo>
                      <a:pt x="13" y="359"/>
                      <a:pt x="13" y="359"/>
                      <a:pt x="13" y="359"/>
                    </a:cubicBezTo>
                    <a:cubicBezTo>
                      <a:pt x="12" y="359"/>
                      <a:pt x="12" y="359"/>
                      <a:pt x="11" y="359"/>
                    </a:cubicBezTo>
                    <a:cubicBezTo>
                      <a:pt x="10" y="359"/>
                      <a:pt x="10" y="359"/>
                      <a:pt x="10" y="359"/>
                    </a:cubicBezTo>
                    <a:cubicBezTo>
                      <a:pt x="0" y="367"/>
                      <a:pt x="0" y="367"/>
                      <a:pt x="0" y="367"/>
                    </a:cubicBezTo>
                    <a:cubicBezTo>
                      <a:pt x="1" y="367"/>
                      <a:pt x="1" y="367"/>
                      <a:pt x="1" y="367"/>
                    </a:cubicBezTo>
                    <a:cubicBezTo>
                      <a:pt x="3" y="367"/>
                      <a:pt x="4" y="366"/>
                      <a:pt x="5" y="365"/>
                    </a:cubicBezTo>
                    <a:cubicBezTo>
                      <a:pt x="9" y="363"/>
                      <a:pt x="13" y="361"/>
                      <a:pt x="17" y="359"/>
                    </a:cubicBezTo>
                    <a:cubicBezTo>
                      <a:pt x="17" y="359"/>
                      <a:pt x="17" y="359"/>
                      <a:pt x="17" y="359"/>
                    </a:cubicBezTo>
                    <a:cubicBezTo>
                      <a:pt x="17" y="359"/>
                      <a:pt x="17" y="359"/>
                      <a:pt x="17" y="359"/>
                    </a:cubicBezTo>
                    <a:cubicBezTo>
                      <a:pt x="15" y="360"/>
                      <a:pt x="13" y="361"/>
                      <a:pt x="12" y="362"/>
                    </a:cubicBezTo>
                    <a:cubicBezTo>
                      <a:pt x="10" y="363"/>
                      <a:pt x="9" y="366"/>
                      <a:pt x="8" y="366"/>
                    </a:cubicBezTo>
                    <a:cubicBezTo>
                      <a:pt x="8" y="366"/>
                      <a:pt x="7" y="366"/>
                      <a:pt x="7" y="365"/>
                    </a:cubicBezTo>
                    <a:cubicBezTo>
                      <a:pt x="7" y="366"/>
                      <a:pt x="7" y="366"/>
                      <a:pt x="7" y="366"/>
                    </a:cubicBezTo>
                    <a:cubicBezTo>
                      <a:pt x="8" y="367"/>
                      <a:pt x="8" y="367"/>
                      <a:pt x="8" y="368"/>
                    </a:cubicBezTo>
                    <a:cubicBezTo>
                      <a:pt x="9" y="370"/>
                      <a:pt x="10" y="373"/>
                      <a:pt x="11" y="375"/>
                    </a:cubicBezTo>
                    <a:cubicBezTo>
                      <a:pt x="13" y="378"/>
                      <a:pt x="14" y="380"/>
                      <a:pt x="16" y="381"/>
                    </a:cubicBezTo>
                    <a:cubicBezTo>
                      <a:pt x="17" y="382"/>
                      <a:pt x="18" y="383"/>
                      <a:pt x="19" y="383"/>
                    </a:cubicBezTo>
                    <a:cubicBezTo>
                      <a:pt x="20" y="384"/>
                      <a:pt x="22" y="385"/>
                      <a:pt x="23" y="386"/>
                    </a:cubicBezTo>
                    <a:cubicBezTo>
                      <a:pt x="25" y="387"/>
                      <a:pt x="28" y="388"/>
                      <a:pt x="31" y="389"/>
                    </a:cubicBezTo>
                    <a:cubicBezTo>
                      <a:pt x="31" y="389"/>
                      <a:pt x="32" y="390"/>
                      <a:pt x="33" y="390"/>
                    </a:cubicBezTo>
                    <a:cubicBezTo>
                      <a:pt x="34" y="390"/>
                      <a:pt x="37" y="391"/>
                      <a:pt x="39" y="392"/>
                    </a:cubicBezTo>
                    <a:cubicBezTo>
                      <a:pt x="40" y="392"/>
                      <a:pt x="41" y="392"/>
                      <a:pt x="42" y="392"/>
                    </a:cubicBezTo>
                    <a:cubicBezTo>
                      <a:pt x="43" y="392"/>
                      <a:pt x="43" y="392"/>
                      <a:pt x="43" y="392"/>
                    </a:cubicBezTo>
                    <a:cubicBezTo>
                      <a:pt x="45" y="391"/>
                      <a:pt x="47" y="389"/>
                      <a:pt x="49" y="388"/>
                    </a:cubicBezTo>
                    <a:cubicBezTo>
                      <a:pt x="51" y="388"/>
                      <a:pt x="56" y="387"/>
                      <a:pt x="55" y="386"/>
                    </a:cubicBezTo>
                    <a:cubicBezTo>
                      <a:pt x="56" y="386"/>
                      <a:pt x="56" y="386"/>
                      <a:pt x="56" y="386"/>
                    </a:cubicBezTo>
                    <a:cubicBezTo>
                      <a:pt x="57" y="386"/>
                      <a:pt x="59" y="387"/>
                      <a:pt x="61" y="387"/>
                    </a:cubicBezTo>
                    <a:cubicBezTo>
                      <a:pt x="62" y="387"/>
                      <a:pt x="62" y="387"/>
                      <a:pt x="62" y="386"/>
                    </a:cubicBezTo>
                    <a:cubicBezTo>
                      <a:pt x="64" y="386"/>
                      <a:pt x="64" y="382"/>
                      <a:pt x="66" y="381"/>
                    </a:cubicBezTo>
                    <a:cubicBezTo>
                      <a:pt x="64" y="384"/>
                      <a:pt x="62" y="389"/>
                      <a:pt x="60" y="393"/>
                    </a:cubicBezTo>
                    <a:cubicBezTo>
                      <a:pt x="59" y="395"/>
                      <a:pt x="57" y="397"/>
                      <a:pt x="56" y="398"/>
                    </a:cubicBezTo>
                    <a:cubicBezTo>
                      <a:pt x="55" y="398"/>
                      <a:pt x="54" y="399"/>
                      <a:pt x="54" y="399"/>
                    </a:cubicBezTo>
                    <a:cubicBezTo>
                      <a:pt x="526" y="399"/>
                      <a:pt x="526" y="399"/>
                      <a:pt x="526" y="399"/>
                    </a:cubicBezTo>
                    <a:cubicBezTo>
                      <a:pt x="526" y="284"/>
                      <a:pt x="526" y="284"/>
                      <a:pt x="526" y="284"/>
                    </a:cubicBezTo>
                    <a:cubicBezTo>
                      <a:pt x="525" y="284"/>
                      <a:pt x="525" y="283"/>
                      <a:pt x="524" y="283"/>
                    </a:cubicBezTo>
                    <a:cubicBezTo>
                      <a:pt x="524" y="283"/>
                      <a:pt x="524" y="283"/>
                      <a:pt x="524" y="283"/>
                    </a:cubicBezTo>
                    <a:cubicBezTo>
                      <a:pt x="524" y="283"/>
                      <a:pt x="523" y="283"/>
                      <a:pt x="523" y="283"/>
                    </a:cubicBezTo>
                    <a:cubicBezTo>
                      <a:pt x="519" y="281"/>
                      <a:pt x="519" y="281"/>
                      <a:pt x="519" y="281"/>
                    </a:cubicBezTo>
                    <a:cubicBezTo>
                      <a:pt x="519" y="281"/>
                      <a:pt x="518" y="280"/>
                      <a:pt x="517" y="280"/>
                    </a:cubicBezTo>
                    <a:cubicBezTo>
                      <a:pt x="516" y="280"/>
                      <a:pt x="515" y="279"/>
                      <a:pt x="514" y="279"/>
                    </a:cubicBezTo>
                    <a:cubicBezTo>
                      <a:pt x="513" y="279"/>
                      <a:pt x="513" y="279"/>
                      <a:pt x="513" y="279"/>
                    </a:cubicBezTo>
                    <a:cubicBezTo>
                      <a:pt x="512" y="279"/>
                      <a:pt x="512" y="279"/>
                      <a:pt x="511" y="279"/>
                    </a:cubicBezTo>
                    <a:cubicBezTo>
                      <a:pt x="511" y="279"/>
                      <a:pt x="511" y="279"/>
                      <a:pt x="511" y="279"/>
                    </a:cubicBezTo>
                    <a:cubicBezTo>
                      <a:pt x="510" y="279"/>
                      <a:pt x="510" y="279"/>
                      <a:pt x="509" y="279"/>
                    </a:cubicBezTo>
                    <a:cubicBezTo>
                      <a:pt x="508" y="280"/>
                      <a:pt x="508" y="280"/>
                      <a:pt x="508" y="280"/>
                    </a:cubicBezTo>
                    <a:cubicBezTo>
                      <a:pt x="507" y="280"/>
                      <a:pt x="506" y="280"/>
                      <a:pt x="505" y="280"/>
                    </a:cubicBezTo>
                    <a:cubicBezTo>
                      <a:pt x="504" y="280"/>
                      <a:pt x="504" y="280"/>
                      <a:pt x="503" y="280"/>
                    </a:cubicBezTo>
                    <a:cubicBezTo>
                      <a:pt x="502" y="279"/>
                      <a:pt x="501" y="279"/>
                      <a:pt x="501" y="279"/>
                    </a:cubicBezTo>
                    <a:cubicBezTo>
                      <a:pt x="500" y="278"/>
                      <a:pt x="499" y="278"/>
                      <a:pt x="499" y="277"/>
                    </a:cubicBezTo>
                    <a:cubicBezTo>
                      <a:pt x="498" y="276"/>
                      <a:pt x="497" y="275"/>
                      <a:pt x="497" y="274"/>
                    </a:cubicBezTo>
                    <a:cubicBezTo>
                      <a:pt x="497" y="274"/>
                      <a:pt x="496" y="273"/>
                      <a:pt x="496" y="272"/>
                    </a:cubicBezTo>
                    <a:cubicBezTo>
                      <a:pt x="495" y="272"/>
                      <a:pt x="495" y="272"/>
                      <a:pt x="495" y="272"/>
                    </a:cubicBezTo>
                    <a:cubicBezTo>
                      <a:pt x="495" y="272"/>
                      <a:pt x="494" y="273"/>
                      <a:pt x="493" y="273"/>
                    </a:cubicBezTo>
                    <a:cubicBezTo>
                      <a:pt x="491" y="274"/>
                      <a:pt x="491" y="274"/>
                      <a:pt x="491" y="274"/>
                    </a:cubicBezTo>
                    <a:cubicBezTo>
                      <a:pt x="490" y="274"/>
                      <a:pt x="489" y="274"/>
                      <a:pt x="488" y="274"/>
                    </a:cubicBezTo>
                    <a:cubicBezTo>
                      <a:pt x="487" y="274"/>
                      <a:pt x="487" y="274"/>
                      <a:pt x="487" y="274"/>
                    </a:cubicBezTo>
                    <a:cubicBezTo>
                      <a:pt x="486" y="274"/>
                      <a:pt x="485" y="274"/>
                      <a:pt x="484" y="273"/>
                    </a:cubicBezTo>
                    <a:cubicBezTo>
                      <a:pt x="483" y="273"/>
                      <a:pt x="483" y="272"/>
                      <a:pt x="483" y="272"/>
                    </a:cubicBezTo>
                    <a:cubicBezTo>
                      <a:pt x="482" y="272"/>
                      <a:pt x="482" y="272"/>
                      <a:pt x="482" y="272"/>
                    </a:cubicBezTo>
                    <a:cubicBezTo>
                      <a:pt x="482" y="271"/>
                      <a:pt x="481" y="271"/>
                      <a:pt x="481" y="271"/>
                    </a:cubicBezTo>
                    <a:cubicBezTo>
                      <a:pt x="480" y="270"/>
                      <a:pt x="480" y="270"/>
                      <a:pt x="480" y="270"/>
                    </a:cubicBezTo>
                    <a:cubicBezTo>
                      <a:pt x="478" y="269"/>
                      <a:pt x="476" y="268"/>
                      <a:pt x="474" y="268"/>
                    </a:cubicBezTo>
                    <a:cubicBezTo>
                      <a:pt x="473" y="267"/>
                      <a:pt x="473" y="267"/>
                      <a:pt x="473" y="267"/>
                    </a:cubicBezTo>
                    <a:cubicBezTo>
                      <a:pt x="472" y="267"/>
                      <a:pt x="471" y="267"/>
                      <a:pt x="470" y="266"/>
                    </a:cubicBezTo>
                    <a:cubicBezTo>
                      <a:pt x="467" y="265"/>
                      <a:pt x="466" y="264"/>
                      <a:pt x="465" y="262"/>
                    </a:cubicBezTo>
                    <a:cubicBezTo>
                      <a:pt x="465" y="261"/>
                      <a:pt x="464" y="260"/>
                      <a:pt x="464" y="259"/>
                    </a:cubicBezTo>
                    <a:cubicBezTo>
                      <a:pt x="464" y="258"/>
                      <a:pt x="464" y="258"/>
                      <a:pt x="464" y="257"/>
                    </a:cubicBezTo>
                    <a:cubicBezTo>
                      <a:pt x="464" y="256"/>
                      <a:pt x="464" y="256"/>
                      <a:pt x="464" y="256"/>
                    </a:cubicBezTo>
                    <a:cubicBezTo>
                      <a:pt x="464" y="256"/>
                      <a:pt x="464" y="256"/>
                      <a:pt x="464" y="255"/>
                    </a:cubicBezTo>
                    <a:cubicBezTo>
                      <a:pt x="463" y="255"/>
                      <a:pt x="463" y="255"/>
                      <a:pt x="463" y="255"/>
                    </a:cubicBezTo>
                    <a:cubicBezTo>
                      <a:pt x="462" y="254"/>
                      <a:pt x="459" y="253"/>
                      <a:pt x="457" y="253"/>
                    </a:cubicBezTo>
                    <a:cubicBezTo>
                      <a:pt x="456" y="252"/>
                      <a:pt x="456" y="252"/>
                      <a:pt x="456" y="252"/>
                    </a:cubicBezTo>
                    <a:cubicBezTo>
                      <a:pt x="456" y="252"/>
                      <a:pt x="455" y="252"/>
                      <a:pt x="455" y="252"/>
                    </a:cubicBezTo>
                    <a:cubicBezTo>
                      <a:pt x="454" y="252"/>
                      <a:pt x="454" y="251"/>
                      <a:pt x="454" y="251"/>
                    </a:cubicBezTo>
                    <a:cubicBezTo>
                      <a:pt x="453" y="251"/>
                      <a:pt x="453" y="251"/>
                      <a:pt x="453" y="251"/>
                    </a:cubicBezTo>
                    <a:cubicBezTo>
                      <a:pt x="453" y="252"/>
                      <a:pt x="452" y="252"/>
                      <a:pt x="451" y="252"/>
                    </a:cubicBezTo>
                    <a:cubicBezTo>
                      <a:pt x="452" y="259"/>
                      <a:pt x="452" y="259"/>
                      <a:pt x="452" y="259"/>
                    </a:cubicBezTo>
                    <a:cubicBezTo>
                      <a:pt x="450" y="253"/>
                      <a:pt x="450" y="253"/>
                      <a:pt x="450" y="253"/>
                    </a:cubicBezTo>
                    <a:cubicBezTo>
                      <a:pt x="448" y="254"/>
                      <a:pt x="448" y="254"/>
                      <a:pt x="448" y="254"/>
                    </a:cubicBezTo>
                    <a:cubicBezTo>
                      <a:pt x="447" y="255"/>
                      <a:pt x="447" y="255"/>
                      <a:pt x="447" y="255"/>
                    </a:cubicBezTo>
                    <a:cubicBezTo>
                      <a:pt x="446" y="254"/>
                      <a:pt x="446" y="254"/>
                      <a:pt x="446" y="254"/>
                    </a:cubicBezTo>
                    <a:cubicBezTo>
                      <a:pt x="445" y="256"/>
                      <a:pt x="445" y="256"/>
                      <a:pt x="445" y="256"/>
                    </a:cubicBezTo>
                    <a:cubicBezTo>
                      <a:pt x="444" y="256"/>
                      <a:pt x="444" y="256"/>
                      <a:pt x="444" y="256"/>
                    </a:cubicBezTo>
                    <a:cubicBezTo>
                      <a:pt x="437" y="253"/>
                      <a:pt x="437" y="253"/>
                      <a:pt x="437" y="253"/>
                    </a:cubicBezTo>
                    <a:cubicBezTo>
                      <a:pt x="436" y="253"/>
                      <a:pt x="436" y="253"/>
                      <a:pt x="436" y="254"/>
                    </a:cubicBezTo>
                    <a:cubicBezTo>
                      <a:pt x="434" y="255"/>
                      <a:pt x="434" y="255"/>
                      <a:pt x="434" y="255"/>
                    </a:cubicBezTo>
                    <a:cubicBezTo>
                      <a:pt x="434" y="255"/>
                      <a:pt x="434" y="255"/>
                      <a:pt x="434" y="255"/>
                    </a:cubicBezTo>
                    <a:cubicBezTo>
                      <a:pt x="434" y="255"/>
                      <a:pt x="433" y="256"/>
                      <a:pt x="432" y="256"/>
                    </a:cubicBezTo>
                    <a:cubicBezTo>
                      <a:pt x="432" y="256"/>
                      <a:pt x="432" y="256"/>
                      <a:pt x="432" y="256"/>
                    </a:cubicBezTo>
                    <a:cubicBezTo>
                      <a:pt x="432" y="256"/>
                      <a:pt x="431" y="256"/>
                      <a:pt x="431" y="256"/>
                    </a:cubicBezTo>
                    <a:cubicBezTo>
                      <a:pt x="430" y="256"/>
                      <a:pt x="430" y="256"/>
                      <a:pt x="430" y="256"/>
                    </a:cubicBezTo>
                    <a:cubicBezTo>
                      <a:pt x="430" y="256"/>
                      <a:pt x="429" y="256"/>
                      <a:pt x="429" y="256"/>
                    </a:cubicBezTo>
                    <a:cubicBezTo>
                      <a:pt x="428" y="256"/>
                      <a:pt x="428" y="256"/>
                      <a:pt x="427" y="255"/>
                    </a:cubicBezTo>
                    <a:cubicBezTo>
                      <a:pt x="426" y="254"/>
                      <a:pt x="425" y="254"/>
                      <a:pt x="423" y="253"/>
                    </a:cubicBezTo>
                    <a:cubicBezTo>
                      <a:pt x="421" y="253"/>
                      <a:pt x="420" y="253"/>
                      <a:pt x="419" y="252"/>
                    </a:cubicBezTo>
                    <a:cubicBezTo>
                      <a:pt x="416" y="252"/>
                      <a:pt x="416" y="252"/>
                      <a:pt x="416" y="252"/>
                    </a:cubicBezTo>
                    <a:cubicBezTo>
                      <a:pt x="414" y="252"/>
                      <a:pt x="413" y="251"/>
                      <a:pt x="412" y="250"/>
                    </a:cubicBezTo>
                    <a:cubicBezTo>
                      <a:pt x="411" y="249"/>
                      <a:pt x="410" y="247"/>
                      <a:pt x="410" y="246"/>
                    </a:cubicBezTo>
                    <a:cubicBezTo>
                      <a:pt x="410" y="245"/>
                      <a:pt x="410" y="245"/>
                      <a:pt x="410" y="245"/>
                    </a:cubicBezTo>
                    <a:cubicBezTo>
                      <a:pt x="410" y="245"/>
                      <a:pt x="410" y="245"/>
                      <a:pt x="410" y="245"/>
                    </a:cubicBezTo>
                    <a:cubicBezTo>
                      <a:pt x="402" y="242"/>
                      <a:pt x="402" y="242"/>
                      <a:pt x="402" y="242"/>
                    </a:cubicBezTo>
                    <a:cubicBezTo>
                      <a:pt x="400" y="248"/>
                      <a:pt x="400" y="248"/>
                      <a:pt x="400" y="248"/>
                    </a:cubicBezTo>
                    <a:cubicBezTo>
                      <a:pt x="400" y="242"/>
                      <a:pt x="400" y="242"/>
                      <a:pt x="400" y="242"/>
                    </a:cubicBezTo>
                    <a:cubicBezTo>
                      <a:pt x="400" y="242"/>
                      <a:pt x="400" y="242"/>
                      <a:pt x="400" y="242"/>
                    </a:cubicBezTo>
                    <a:cubicBezTo>
                      <a:pt x="398" y="241"/>
                      <a:pt x="396" y="240"/>
                      <a:pt x="394" y="239"/>
                    </a:cubicBezTo>
                    <a:cubicBezTo>
                      <a:pt x="393" y="239"/>
                      <a:pt x="393" y="239"/>
                      <a:pt x="393" y="239"/>
                    </a:cubicBezTo>
                    <a:cubicBezTo>
                      <a:pt x="392" y="240"/>
                      <a:pt x="391" y="240"/>
                      <a:pt x="391" y="240"/>
                    </a:cubicBezTo>
                    <a:cubicBezTo>
                      <a:pt x="390" y="241"/>
                      <a:pt x="390" y="241"/>
                      <a:pt x="390" y="241"/>
                    </a:cubicBezTo>
                    <a:cubicBezTo>
                      <a:pt x="390" y="241"/>
                      <a:pt x="390" y="241"/>
                      <a:pt x="389" y="241"/>
                    </a:cubicBezTo>
                    <a:cubicBezTo>
                      <a:pt x="389" y="241"/>
                      <a:pt x="389" y="241"/>
                      <a:pt x="389" y="241"/>
                    </a:cubicBezTo>
                    <a:cubicBezTo>
                      <a:pt x="387" y="240"/>
                      <a:pt x="385" y="239"/>
                      <a:pt x="382" y="237"/>
                    </a:cubicBezTo>
                    <a:cubicBezTo>
                      <a:pt x="380" y="236"/>
                      <a:pt x="380" y="236"/>
                      <a:pt x="380" y="236"/>
                    </a:cubicBezTo>
                    <a:cubicBezTo>
                      <a:pt x="379" y="235"/>
                      <a:pt x="379" y="235"/>
                      <a:pt x="378" y="235"/>
                    </a:cubicBezTo>
                    <a:cubicBezTo>
                      <a:pt x="377" y="234"/>
                      <a:pt x="377" y="233"/>
                      <a:pt x="376" y="233"/>
                    </a:cubicBezTo>
                    <a:cubicBezTo>
                      <a:pt x="375" y="232"/>
                      <a:pt x="375" y="232"/>
                      <a:pt x="375" y="232"/>
                    </a:cubicBezTo>
                    <a:cubicBezTo>
                      <a:pt x="373" y="231"/>
                      <a:pt x="371" y="229"/>
                      <a:pt x="369" y="227"/>
                    </a:cubicBezTo>
                    <a:cubicBezTo>
                      <a:pt x="369" y="226"/>
                      <a:pt x="369" y="226"/>
                      <a:pt x="369" y="226"/>
                    </a:cubicBezTo>
                    <a:cubicBezTo>
                      <a:pt x="367" y="225"/>
                      <a:pt x="365" y="223"/>
                      <a:pt x="364" y="223"/>
                    </a:cubicBezTo>
                    <a:cubicBezTo>
                      <a:pt x="361" y="221"/>
                      <a:pt x="359" y="220"/>
                      <a:pt x="357" y="219"/>
                    </a:cubicBezTo>
                    <a:cubicBezTo>
                      <a:pt x="353" y="217"/>
                      <a:pt x="353" y="217"/>
                      <a:pt x="353" y="217"/>
                    </a:cubicBezTo>
                    <a:cubicBezTo>
                      <a:pt x="352" y="220"/>
                      <a:pt x="352" y="220"/>
                      <a:pt x="352" y="220"/>
                    </a:cubicBezTo>
                    <a:cubicBezTo>
                      <a:pt x="349" y="218"/>
                      <a:pt x="349" y="218"/>
                      <a:pt x="349" y="218"/>
                    </a:cubicBezTo>
                    <a:cubicBezTo>
                      <a:pt x="346" y="217"/>
                      <a:pt x="342" y="215"/>
                      <a:pt x="340" y="214"/>
                    </a:cubicBezTo>
                    <a:cubicBezTo>
                      <a:pt x="336" y="211"/>
                      <a:pt x="334" y="207"/>
                      <a:pt x="335" y="204"/>
                    </a:cubicBezTo>
                    <a:cubicBezTo>
                      <a:pt x="335" y="203"/>
                      <a:pt x="336" y="201"/>
                      <a:pt x="336" y="200"/>
                    </a:cubicBezTo>
                    <a:cubicBezTo>
                      <a:pt x="337" y="198"/>
                      <a:pt x="338" y="197"/>
                      <a:pt x="339" y="195"/>
                    </a:cubicBezTo>
                    <a:cubicBezTo>
                      <a:pt x="340" y="193"/>
                      <a:pt x="340" y="193"/>
                      <a:pt x="340" y="193"/>
                    </a:cubicBezTo>
                    <a:cubicBezTo>
                      <a:pt x="340" y="193"/>
                      <a:pt x="341" y="192"/>
                      <a:pt x="341" y="192"/>
                    </a:cubicBezTo>
                    <a:cubicBezTo>
                      <a:pt x="340" y="191"/>
                      <a:pt x="340" y="191"/>
                      <a:pt x="340" y="190"/>
                    </a:cubicBezTo>
                    <a:cubicBezTo>
                      <a:pt x="340" y="189"/>
                      <a:pt x="340" y="188"/>
                      <a:pt x="340" y="187"/>
                    </a:cubicBezTo>
                    <a:cubicBezTo>
                      <a:pt x="340" y="186"/>
                      <a:pt x="341" y="185"/>
                      <a:pt x="342" y="184"/>
                    </a:cubicBezTo>
                    <a:cubicBezTo>
                      <a:pt x="344" y="182"/>
                      <a:pt x="344" y="182"/>
                      <a:pt x="344" y="182"/>
                    </a:cubicBezTo>
                    <a:cubicBezTo>
                      <a:pt x="344" y="182"/>
                      <a:pt x="344" y="182"/>
                      <a:pt x="344" y="182"/>
                    </a:cubicBezTo>
                    <a:cubicBezTo>
                      <a:pt x="344" y="181"/>
                      <a:pt x="344" y="181"/>
                      <a:pt x="344" y="181"/>
                    </a:cubicBezTo>
                    <a:cubicBezTo>
                      <a:pt x="345" y="180"/>
                      <a:pt x="345" y="180"/>
                      <a:pt x="345" y="180"/>
                    </a:cubicBezTo>
                    <a:cubicBezTo>
                      <a:pt x="359" y="166"/>
                      <a:pt x="359" y="166"/>
                      <a:pt x="359" y="166"/>
                    </a:cubicBezTo>
                    <a:cubicBezTo>
                      <a:pt x="341" y="156"/>
                      <a:pt x="341" y="156"/>
                      <a:pt x="341" y="156"/>
                    </a:cubicBezTo>
                    <a:cubicBezTo>
                      <a:pt x="339" y="156"/>
                      <a:pt x="339" y="154"/>
                      <a:pt x="338" y="154"/>
                    </a:cubicBezTo>
                    <a:cubicBezTo>
                      <a:pt x="338" y="153"/>
                      <a:pt x="338" y="153"/>
                      <a:pt x="338" y="153"/>
                    </a:cubicBezTo>
                    <a:cubicBezTo>
                      <a:pt x="339" y="150"/>
                      <a:pt x="339" y="150"/>
                      <a:pt x="339" y="150"/>
                    </a:cubicBezTo>
                    <a:cubicBezTo>
                      <a:pt x="339" y="150"/>
                      <a:pt x="339" y="150"/>
                      <a:pt x="339" y="149"/>
                    </a:cubicBezTo>
                    <a:cubicBezTo>
                      <a:pt x="339" y="149"/>
                      <a:pt x="338" y="149"/>
                      <a:pt x="337" y="148"/>
                    </a:cubicBezTo>
                    <a:cubicBezTo>
                      <a:pt x="334" y="147"/>
                      <a:pt x="329" y="145"/>
                      <a:pt x="325" y="144"/>
                    </a:cubicBezTo>
                    <a:cubicBezTo>
                      <a:pt x="324" y="144"/>
                      <a:pt x="324" y="144"/>
                      <a:pt x="324" y="144"/>
                    </a:cubicBezTo>
                    <a:cubicBezTo>
                      <a:pt x="323" y="144"/>
                      <a:pt x="323" y="143"/>
                      <a:pt x="322" y="143"/>
                    </a:cubicBezTo>
                    <a:cubicBezTo>
                      <a:pt x="320" y="143"/>
                      <a:pt x="319" y="142"/>
                      <a:pt x="317" y="140"/>
                    </a:cubicBezTo>
                    <a:cubicBezTo>
                      <a:pt x="316" y="139"/>
                      <a:pt x="316" y="139"/>
                      <a:pt x="316" y="139"/>
                    </a:cubicBezTo>
                    <a:cubicBezTo>
                      <a:pt x="315" y="138"/>
                      <a:pt x="315" y="137"/>
                      <a:pt x="314" y="136"/>
                    </a:cubicBezTo>
                    <a:cubicBezTo>
                      <a:pt x="313" y="135"/>
                      <a:pt x="313" y="135"/>
                      <a:pt x="313" y="135"/>
                    </a:cubicBezTo>
                    <a:cubicBezTo>
                      <a:pt x="313" y="134"/>
                      <a:pt x="312" y="133"/>
                      <a:pt x="312" y="132"/>
                    </a:cubicBezTo>
                    <a:cubicBezTo>
                      <a:pt x="311" y="132"/>
                      <a:pt x="311" y="132"/>
                      <a:pt x="311" y="132"/>
                    </a:cubicBezTo>
                    <a:cubicBezTo>
                      <a:pt x="311" y="132"/>
                      <a:pt x="311" y="132"/>
                      <a:pt x="311" y="132"/>
                    </a:cubicBezTo>
                    <a:cubicBezTo>
                      <a:pt x="310" y="131"/>
                      <a:pt x="310" y="131"/>
                      <a:pt x="310" y="131"/>
                    </a:cubicBezTo>
                    <a:cubicBezTo>
                      <a:pt x="310" y="131"/>
                      <a:pt x="310" y="131"/>
                      <a:pt x="310" y="131"/>
                    </a:cubicBezTo>
                    <a:cubicBezTo>
                      <a:pt x="310" y="130"/>
                      <a:pt x="310" y="130"/>
                      <a:pt x="310" y="130"/>
                    </a:cubicBezTo>
                    <a:cubicBezTo>
                      <a:pt x="310" y="130"/>
                      <a:pt x="310" y="130"/>
                      <a:pt x="310" y="130"/>
                    </a:cubicBezTo>
                    <a:cubicBezTo>
                      <a:pt x="309" y="131"/>
                      <a:pt x="308" y="131"/>
                      <a:pt x="308" y="132"/>
                    </a:cubicBezTo>
                    <a:cubicBezTo>
                      <a:pt x="307" y="133"/>
                      <a:pt x="307" y="133"/>
                      <a:pt x="307" y="133"/>
                    </a:cubicBezTo>
                    <a:cubicBezTo>
                      <a:pt x="306" y="133"/>
                      <a:pt x="306" y="133"/>
                      <a:pt x="306" y="133"/>
                    </a:cubicBezTo>
                    <a:cubicBezTo>
                      <a:pt x="303" y="136"/>
                      <a:pt x="303" y="136"/>
                      <a:pt x="303" y="136"/>
                    </a:cubicBezTo>
                    <a:cubicBezTo>
                      <a:pt x="301" y="133"/>
                      <a:pt x="301" y="133"/>
                      <a:pt x="301" y="133"/>
                    </a:cubicBezTo>
                    <a:cubicBezTo>
                      <a:pt x="301" y="132"/>
                      <a:pt x="300" y="132"/>
                      <a:pt x="300" y="131"/>
                    </a:cubicBezTo>
                    <a:cubicBezTo>
                      <a:pt x="299" y="131"/>
                      <a:pt x="299" y="130"/>
                      <a:pt x="299" y="129"/>
                    </a:cubicBezTo>
                    <a:cubicBezTo>
                      <a:pt x="298" y="128"/>
                      <a:pt x="297" y="127"/>
                      <a:pt x="297" y="126"/>
                    </a:cubicBezTo>
                    <a:cubicBezTo>
                      <a:pt x="296" y="125"/>
                      <a:pt x="296" y="125"/>
                      <a:pt x="296" y="125"/>
                    </a:cubicBezTo>
                    <a:cubicBezTo>
                      <a:pt x="296" y="124"/>
                      <a:pt x="296" y="124"/>
                      <a:pt x="296" y="122"/>
                    </a:cubicBezTo>
                    <a:cubicBezTo>
                      <a:pt x="296" y="121"/>
                      <a:pt x="296" y="121"/>
                      <a:pt x="296" y="121"/>
                    </a:cubicBezTo>
                    <a:cubicBezTo>
                      <a:pt x="296" y="118"/>
                      <a:pt x="297" y="116"/>
                      <a:pt x="296" y="114"/>
                    </a:cubicBezTo>
                    <a:cubicBezTo>
                      <a:pt x="297" y="113"/>
                      <a:pt x="297" y="113"/>
                      <a:pt x="297" y="113"/>
                    </a:cubicBezTo>
                    <a:cubicBezTo>
                      <a:pt x="297" y="112"/>
                      <a:pt x="297" y="112"/>
                      <a:pt x="297" y="112"/>
                    </a:cubicBezTo>
                    <a:cubicBezTo>
                      <a:pt x="296" y="111"/>
                      <a:pt x="296" y="111"/>
                      <a:pt x="296" y="111"/>
                    </a:cubicBezTo>
                    <a:cubicBezTo>
                      <a:pt x="295" y="110"/>
                      <a:pt x="294" y="108"/>
                      <a:pt x="293" y="106"/>
                    </a:cubicBezTo>
                    <a:cubicBezTo>
                      <a:pt x="292" y="106"/>
                      <a:pt x="292" y="106"/>
                      <a:pt x="292" y="106"/>
                    </a:cubicBezTo>
                    <a:cubicBezTo>
                      <a:pt x="290" y="102"/>
                      <a:pt x="289" y="99"/>
                      <a:pt x="287" y="94"/>
                    </a:cubicBezTo>
                    <a:cubicBezTo>
                      <a:pt x="287" y="93"/>
                      <a:pt x="287" y="91"/>
                      <a:pt x="288" y="89"/>
                    </a:cubicBezTo>
                    <a:cubicBezTo>
                      <a:pt x="289" y="88"/>
                      <a:pt x="291" y="87"/>
                      <a:pt x="293" y="87"/>
                    </a:cubicBezTo>
                    <a:cubicBezTo>
                      <a:pt x="293" y="87"/>
                      <a:pt x="294" y="87"/>
                      <a:pt x="294" y="87"/>
                    </a:cubicBezTo>
                    <a:cubicBezTo>
                      <a:pt x="295" y="86"/>
                      <a:pt x="295" y="86"/>
                      <a:pt x="295" y="86"/>
                    </a:cubicBezTo>
                    <a:cubicBezTo>
                      <a:pt x="295" y="86"/>
                      <a:pt x="296" y="86"/>
                      <a:pt x="297" y="86"/>
                    </a:cubicBezTo>
                    <a:cubicBezTo>
                      <a:pt x="307" y="84"/>
                      <a:pt x="307" y="84"/>
                      <a:pt x="307" y="84"/>
                    </a:cubicBezTo>
                    <a:cubicBezTo>
                      <a:pt x="304" y="89"/>
                      <a:pt x="304" y="89"/>
                      <a:pt x="304" y="89"/>
                    </a:cubicBezTo>
                    <a:cubicBezTo>
                      <a:pt x="305" y="90"/>
                      <a:pt x="305" y="90"/>
                      <a:pt x="305" y="90"/>
                    </a:cubicBezTo>
                    <a:cubicBezTo>
                      <a:pt x="304" y="90"/>
                      <a:pt x="304" y="90"/>
                      <a:pt x="304" y="90"/>
                    </a:cubicBezTo>
                    <a:cubicBezTo>
                      <a:pt x="306" y="92"/>
                      <a:pt x="307" y="93"/>
                      <a:pt x="308" y="93"/>
                    </a:cubicBezTo>
                    <a:cubicBezTo>
                      <a:pt x="308" y="93"/>
                      <a:pt x="308" y="93"/>
                      <a:pt x="308" y="93"/>
                    </a:cubicBezTo>
                    <a:cubicBezTo>
                      <a:pt x="309" y="93"/>
                      <a:pt x="313" y="90"/>
                      <a:pt x="318" y="84"/>
                    </a:cubicBezTo>
                    <a:cubicBezTo>
                      <a:pt x="318" y="84"/>
                      <a:pt x="317" y="83"/>
                      <a:pt x="317" y="83"/>
                    </a:cubicBezTo>
                    <a:cubicBezTo>
                      <a:pt x="317" y="82"/>
                      <a:pt x="317" y="82"/>
                      <a:pt x="317" y="81"/>
                    </a:cubicBezTo>
                    <a:cubicBezTo>
                      <a:pt x="316" y="80"/>
                      <a:pt x="316" y="79"/>
                      <a:pt x="316" y="78"/>
                    </a:cubicBezTo>
                    <a:cubicBezTo>
                      <a:pt x="316" y="75"/>
                      <a:pt x="316" y="75"/>
                      <a:pt x="316" y="75"/>
                    </a:cubicBezTo>
                    <a:cubicBezTo>
                      <a:pt x="316" y="74"/>
                      <a:pt x="316" y="74"/>
                      <a:pt x="316" y="74"/>
                    </a:cubicBezTo>
                    <a:cubicBezTo>
                      <a:pt x="315" y="74"/>
                      <a:pt x="315" y="74"/>
                      <a:pt x="315" y="74"/>
                    </a:cubicBezTo>
                    <a:cubicBezTo>
                      <a:pt x="314" y="74"/>
                      <a:pt x="314" y="74"/>
                      <a:pt x="314" y="74"/>
                    </a:cubicBezTo>
                    <a:cubicBezTo>
                      <a:pt x="310" y="72"/>
                      <a:pt x="308" y="70"/>
                      <a:pt x="306" y="68"/>
                    </a:cubicBezTo>
                    <a:cubicBezTo>
                      <a:pt x="304" y="67"/>
                      <a:pt x="304" y="67"/>
                      <a:pt x="304" y="67"/>
                    </a:cubicBezTo>
                    <a:cubicBezTo>
                      <a:pt x="303" y="67"/>
                      <a:pt x="303" y="66"/>
                      <a:pt x="303" y="65"/>
                    </a:cubicBezTo>
                    <a:cubicBezTo>
                      <a:pt x="302" y="64"/>
                      <a:pt x="302" y="64"/>
                      <a:pt x="302" y="64"/>
                    </a:cubicBezTo>
                    <a:cubicBezTo>
                      <a:pt x="302" y="62"/>
                      <a:pt x="302" y="62"/>
                      <a:pt x="302" y="62"/>
                    </a:cubicBezTo>
                    <a:cubicBezTo>
                      <a:pt x="301" y="61"/>
                      <a:pt x="301" y="61"/>
                      <a:pt x="301" y="61"/>
                    </a:cubicBezTo>
                    <a:cubicBezTo>
                      <a:pt x="300" y="57"/>
                      <a:pt x="300" y="57"/>
                      <a:pt x="300" y="57"/>
                    </a:cubicBezTo>
                    <a:cubicBezTo>
                      <a:pt x="293" y="59"/>
                      <a:pt x="293" y="59"/>
                      <a:pt x="293" y="59"/>
                    </a:cubicBezTo>
                    <a:cubicBezTo>
                      <a:pt x="299" y="55"/>
                      <a:pt x="299" y="55"/>
                      <a:pt x="299" y="55"/>
                    </a:cubicBezTo>
                    <a:cubicBezTo>
                      <a:pt x="298" y="49"/>
                      <a:pt x="298" y="49"/>
                      <a:pt x="298" y="49"/>
                    </a:cubicBezTo>
                    <a:cubicBezTo>
                      <a:pt x="297" y="48"/>
                      <a:pt x="297" y="48"/>
                      <a:pt x="297" y="48"/>
                    </a:cubicBezTo>
                    <a:cubicBezTo>
                      <a:pt x="297" y="48"/>
                      <a:pt x="297" y="48"/>
                      <a:pt x="297" y="48"/>
                    </a:cubicBezTo>
                    <a:cubicBezTo>
                      <a:pt x="297" y="47"/>
                      <a:pt x="297" y="47"/>
                      <a:pt x="297" y="46"/>
                    </a:cubicBezTo>
                    <a:cubicBezTo>
                      <a:pt x="296" y="43"/>
                      <a:pt x="297" y="41"/>
                      <a:pt x="298" y="40"/>
                    </a:cubicBezTo>
                    <a:cubicBezTo>
                      <a:pt x="299" y="39"/>
                      <a:pt x="299" y="39"/>
                      <a:pt x="299" y="39"/>
                    </a:cubicBezTo>
                    <a:cubicBezTo>
                      <a:pt x="302" y="35"/>
                      <a:pt x="302" y="35"/>
                      <a:pt x="302" y="35"/>
                    </a:cubicBezTo>
                    <a:cubicBezTo>
                      <a:pt x="301" y="35"/>
                      <a:pt x="301" y="35"/>
                      <a:pt x="300" y="35"/>
                    </a:cubicBezTo>
                    <a:cubicBezTo>
                      <a:pt x="299" y="34"/>
                      <a:pt x="299" y="34"/>
                      <a:pt x="299" y="34"/>
                    </a:cubicBezTo>
                    <a:cubicBezTo>
                      <a:pt x="297" y="33"/>
                      <a:pt x="294" y="32"/>
                      <a:pt x="291" y="31"/>
                    </a:cubicBezTo>
                    <a:cubicBezTo>
                      <a:pt x="288" y="29"/>
                      <a:pt x="285" y="26"/>
                      <a:pt x="284" y="24"/>
                    </a:cubicBezTo>
                    <a:cubicBezTo>
                      <a:pt x="284" y="23"/>
                      <a:pt x="284" y="23"/>
                      <a:pt x="284" y="22"/>
                    </a:cubicBezTo>
                    <a:cubicBezTo>
                      <a:pt x="280" y="13"/>
                      <a:pt x="280" y="13"/>
                      <a:pt x="280" y="13"/>
                    </a:cubicBezTo>
                    <a:cubicBezTo>
                      <a:pt x="280" y="12"/>
                      <a:pt x="279" y="11"/>
                      <a:pt x="279" y="10"/>
                    </a:cubicBezTo>
                    <a:cubicBezTo>
                      <a:pt x="278" y="9"/>
                      <a:pt x="278" y="9"/>
                      <a:pt x="278" y="8"/>
                    </a:cubicBezTo>
                    <a:cubicBezTo>
                      <a:pt x="277" y="7"/>
                      <a:pt x="276" y="5"/>
                      <a:pt x="276" y="3"/>
                    </a:cubicBezTo>
                    <a:cubicBezTo>
                      <a:pt x="276" y="2"/>
                      <a:pt x="276" y="1"/>
                      <a:pt x="2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Rectangle 335"/>
              <p:cNvSpPr>
                <a:spLocks noChangeArrowheads="1"/>
              </p:cNvSpPr>
              <p:nvPr/>
            </p:nvSpPr>
            <p:spPr bwMode="auto">
              <a:xfrm>
                <a:off x="10506265" y="675481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336"/>
              <p:cNvSpPr/>
              <p:nvPr/>
            </p:nvSpPr>
            <p:spPr bwMode="auto">
              <a:xfrm flipH="1">
                <a:off x="10506265" y="675481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337"/>
              <p:cNvSpPr/>
              <p:nvPr/>
            </p:nvSpPr>
            <p:spPr bwMode="auto">
              <a:xfrm flipH="1">
                <a:off x="10565226" y="5973573"/>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338"/>
              <p:cNvSpPr/>
              <p:nvPr/>
            </p:nvSpPr>
            <p:spPr bwMode="auto">
              <a:xfrm flipH="1">
                <a:off x="10565226" y="5973573"/>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339"/>
              <p:cNvSpPr>
                <a:spLocks noEditPoints="1"/>
              </p:cNvSpPr>
              <p:nvPr/>
            </p:nvSpPr>
            <p:spPr bwMode="auto">
              <a:xfrm>
                <a:off x="9876110" y="5431861"/>
                <a:ext cx="1455621" cy="1308216"/>
              </a:xfrm>
              <a:custGeom>
                <a:gdLst>
                  <a:gd name="T0" fmla="*/ 369 w 458"/>
                  <a:gd name="T1" fmla="*/ 6 h 412"/>
                  <a:gd name="T2" fmla="*/ 345 w 458"/>
                  <a:gd name="T3" fmla="*/ 6 h 412"/>
                  <a:gd name="T4" fmla="*/ 302 w 458"/>
                  <a:gd name="T5" fmla="*/ 20 h 412"/>
                  <a:gd name="T6" fmla="*/ 297 w 458"/>
                  <a:gd name="T7" fmla="*/ 40 h 412"/>
                  <a:gd name="T8" fmla="*/ 301 w 458"/>
                  <a:gd name="T9" fmla="*/ 57 h 412"/>
                  <a:gd name="T10" fmla="*/ 285 w 458"/>
                  <a:gd name="T11" fmla="*/ 76 h 412"/>
                  <a:gd name="T12" fmla="*/ 285 w 458"/>
                  <a:gd name="T13" fmla="*/ 90 h 412"/>
                  <a:gd name="T14" fmla="*/ 251 w 458"/>
                  <a:gd name="T15" fmla="*/ 97 h 412"/>
                  <a:gd name="T16" fmla="*/ 250 w 458"/>
                  <a:gd name="T17" fmla="*/ 127 h 412"/>
                  <a:gd name="T18" fmla="*/ 243 w 458"/>
                  <a:gd name="T19" fmla="*/ 128 h 412"/>
                  <a:gd name="T20" fmla="*/ 238 w 458"/>
                  <a:gd name="T21" fmla="*/ 139 h 412"/>
                  <a:gd name="T22" fmla="*/ 222 w 458"/>
                  <a:gd name="T23" fmla="*/ 172 h 412"/>
                  <a:gd name="T24" fmla="*/ 213 w 458"/>
                  <a:gd name="T25" fmla="*/ 170 h 412"/>
                  <a:gd name="T26" fmla="*/ 200 w 458"/>
                  <a:gd name="T27" fmla="*/ 169 h 412"/>
                  <a:gd name="T28" fmla="*/ 179 w 458"/>
                  <a:gd name="T29" fmla="*/ 186 h 412"/>
                  <a:gd name="T30" fmla="*/ 161 w 458"/>
                  <a:gd name="T31" fmla="*/ 186 h 412"/>
                  <a:gd name="T32" fmla="*/ 149 w 458"/>
                  <a:gd name="T33" fmla="*/ 207 h 412"/>
                  <a:gd name="T34" fmla="*/ 139 w 458"/>
                  <a:gd name="T35" fmla="*/ 231 h 412"/>
                  <a:gd name="T36" fmla="*/ 89 w 458"/>
                  <a:gd name="T37" fmla="*/ 241 h 412"/>
                  <a:gd name="T38" fmla="*/ 78 w 458"/>
                  <a:gd name="T39" fmla="*/ 242 h 412"/>
                  <a:gd name="T40" fmla="*/ 55 w 458"/>
                  <a:gd name="T41" fmla="*/ 242 h 412"/>
                  <a:gd name="T42" fmla="*/ 2 w 458"/>
                  <a:gd name="T43" fmla="*/ 235 h 412"/>
                  <a:gd name="T44" fmla="*/ 35 w 458"/>
                  <a:gd name="T45" fmla="*/ 268 h 412"/>
                  <a:gd name="T46" fmla="*/ 49 w 458"/>
                  <a:gd name="T47" fmla="*/ 287 h 412"/>
                  <a:gd name="T48" fmla="*/ 64 w 458"/>
                  <a:gd name="T49" fmla="*/ 304 h 412"/>
                  <a:gd name="T50" fmla="*/ 36 w 458"/>
                  <a:gd name="T51" fmla="*/ 331 h 412"/>
                  <a:gd name="T52" fmla="*/ 18 w 458"/>
                  <a:gd name="T53" fmla="*/ 361 h 412"/>
                  <a:gd name="T54" fmla="*/ 33 w 458"/>
                  <a:gd name="T55" fmla="*/ 371 h 412"/>
                  <a:gd name="T56" fmla="*/ 83 w 458"/>
                  <a:gd name="T57" fmla="*/ 360 h 412"/>
                  <a:gd name="T58" fmla="*/ 140 w 458"/>
                  <a:gd name="T59" fmla="*/ 362 h 412"/>
                  <a:gd name="T60" fmla="*/ 148 w 458"/>
                  <a:gd name="T61" fmla="*/ 358 h 412"/>
                  <a:gd name="T62" fmla="*/ 166 w 458"/>
                  <a:gd name="T63" fmla="*/ 377 h 412"/>
                  <a:gd name="T64" fmla="*/ 197 w 458"/>
                  <a:gd name="T65" fmla="*/ 411 h 412"/>
                  <a:gd name="T66" fmla="*/ 212 w 458"/>
                  <a:gd name="T67" fmla="*/ 402 h 412"/>
                  <a:gd name="T68" fmla="*/ 242 w 458"/>
                  <a:gd name="T69" fmla="*/ 395 h 412"/>
                  <a:gd name="T70" fmla="*/ 261 w 458"/>
                  <a:gd name="T71" fmla="*/ 389 h 412"/>
                  <a:gd name="T72" fmla="*/ 274 w 458"/>
                  <a:gd name="T73" fmla="*/ 392 h 412"/>
                  <a:gd name="T74" fmla="*/ 266 w 458"/>
                  <a:gd name="T75" fmla="*/ 371 h 412"/>
                  <a:gd name="T76" fmla="*/ 261 w 458"/>
                  <a:gd name="T77" fmla="*/ 357 h 412"/>
                  <a:gd name="T78" fmla="*/ 252 w 458"/>
                  <a:gd name="T79" fmla="*/ 343 h 412"/>
                  <a:gd name="T80" fmla="*/ 244 w 458"/>
                  <a:gd name="T81" fmla="*/ 334 h 412"/>
                  <a:gd name="T82" fmla="*/ 249 w 458"/>
                  <a:gd name="T83" fmla="*/ 290 h 412"/>
                  <a:gd name="T84" fmla="*/ 258 w 458"/>
                  <a:gd name="T85" fmla="*/ 281 h 412"/>
                  <a:gd name="T86" fmla="*/ 268 w 458"/>
                  <a:gd name="T87" fmla="*/ 279 h 412"/>
                  <a:gd name="T88" fmla="*/ 277 w 458"/>
                  <a:gd name="T89" fmla="*/ 287 h 412"/>
                  <a:gd name="T90" fmla="*/ 298 w 458"/>
                  <a:gd name="T91" fmla="*/ 283 h 412"/>
                  <a:gd name="T92" fmla="*/ 337 w 458"/>
                  <a:gd name="T93" fmla="*/ 240 h 412"/>
                  <a:gd name="T94" fmla="*/ 358 w 458"/>
                  <a:gd name="T95" fmla="*/ 213 h 412"/>
                  <a:gd name="T96" fmla="*/ 377 w 458"/>
                  <a:gd name="T97" fmla="*/ 190 h 412"/>
                  <a:gd name="T98" fmla="*/ 375 w 458"/>
                  <a:gd name="T99" fmla="*/ 167 h 412"/>
                  <a:gd name="T100" fmla="*/ 392 w 458"/>
                  <a:gd name="T101" fmla="*/ 154 h 412"/>
                  <a:gd name="T102" fmla="*/ 392 w 458"/>
                  <a:gd name="T103" fmla="*/ 148 h 412"/>
                  <a:gd name="T104" fmla="*/ 368 w 458"/>
                  <a:gd name="T105" fmla="*/ 131 h 412"/>
                  <a:gd name="T106" fmla="*/ 365 w 458"/>
                  <a:gd name="T107" fmla="*/ 110 h 412"/>
                  <a:gd name="T108" fmla="*/ 365 w 458"/>
                  <a:gd name="T109" fmla="*/ 97 h 412"/>
                  <a:gd name="T110" fmla="*/ 360 w 458"/>
                  <a:gd name="T111" fmla="*/ 88 h 412"/>
                  <a:gd name="T112" fmla="*/ 376 w 458"/>
                  <a:gd name="T113" fmla="*/ 69 h 412"/>
                  <a:gd name="T114" fmla="*/ 405 w 458"/>
                  <a:gd name="T115" fmla="*/ 73 h 412"/>
                  <a:gd name="T116" fmla="*/ 431 w 458"/>
                  <a:gd name="T117" fmla="*/ 69 h 412"/>
                  <a:gd name="T118" fmla="*/ 455 w 458"/>
                  <a:gd name="T119" fmla="*/ 53 h 412"/>
                  <a:gd name="T120" fmla="*/ 429 w 458"/>
                  <a:gd name="T121" fmla="*/ 39 h 412"/>
                  <a:gd name="T122" fmla="*/ 418 w 458"/>
                  <a:gd name="T123" fmla="*/ 23 h 412"/>
                  <a:gd name="T124" fmla="*/ 394 w 458"/>
                  <a:gd name="T125" fmla="*/ 2 h 4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8" h="412">
                    <a:moveTo>
                      <a:pt x="151" y="362"/>
                    </a:moveTo>
                    <a:cubicBezTo>
                      <a:pt x="151" y="362"/>
                      <a:pt x="151" y="362"/>
                      <a:pt x="151" y="362"/>
                    </a:cubicBezTo>
                    <a:cubicBezTo>
                      <a:pt x="151" y="362"/>
                      <a:pt x="151" y="362"/>
                      <a:pt x="151" y="362"/>
                    </a:cubicBezTo>
                    <a:moveTo>
                      <a:pt x="383" y="0"/>
                    </a:moveTo>
                    <a:cubicBezTo>
                      <a:pt x="382" y="0"/>
                      <a:pt x="382" y="0"/>
                      <a:pt x="381" y="0"/>
                    </a:cubicBezTo>
                    <a:cubicBezTo>
                      <a:pt x="380" y="1"/>
                      <a:pt x="379" y="2"/>
                      <a:pt x="377" y="2"/>
                    </a:cubicBezTo>
                    <a:cubicBezTo>
                      <a:pt x="377" y="3"/>
                      <a:pt x="377" y="3"/>
                      <a:pt x="377" y="3"/>
                    </a:cubicBezTo>
                    <a:cubicBezTo>
                      <a:pt x="374" y="4"/>
                      <a:pt x="372" y="6"/>
                      <a:pt x="369" y="6"/>
                    </a:cubicBezTo>
                    <a:cubicBezTo>
                      <a:pt x="369" y="7"/>
                      <a:pt x="368" y="7"/>
                      <a:pt x="368" y="7"/>
                    </a:cubicBezTo>
                    <a:cubicBezTo>
                      <a:pt x="367" y="7"/>
                      <a:pt x="366" y="7"/>
                      <a:pt x="365" y="7"/>
                    </a:cubicBezTo>
                    <a:cubicBezTo>
                      <a:pt x="363" y="7"/>
                      <a:pt x="361" y="6"/>
                      <a:pt x="359" y="6"/>
                    </a:cubicBezTo>
                    <a:cubicBezTo>
                      <a:pt x="359" y="6"/>
                      <a:pt x="359" y="6"/>
                      <a:pt x="359" y="6"/>
                    </a:cubicBezTo>
                    <a:cubicBezTo>
                      <a:pt x="358" y="5"/>
                      <a:pt x="358" y="5"/>
                      <a:pt x="357" y="5"/>
                    </a:cubicBezTo>
                    <a:cubicBezTo>
                      <a:pt x="357" y="5"/>
                      <a:pt x="356" y="5"/>
                      <a:pt x="355" y="5"/>
                    </a:cubicBezTo>
                    <a:cubicBezTo>
                      <a:pt x="353" y="5"/>
                      <a:pt x="351" y="5"/>
                      <a:pt x="349" y="5"/>
                    </a:cubicBezTo>
                    <a:cubicBezTo>
                      <a:pt x="345" y="6"/>
                      <a:pt x="345" y="6"/>
                      <a:pt x="345" y="6"/>
                    </a:cubicBezTo>
                    <a:cubicBezTo>
                      <a:pt x="342" y="6"/>
                      <a:pt x="339" y="6"/>
                      <a:pt x="336" y="6"/>
                    </a:cubicBezTo>
                    <a:cubicBezTo>
                      <a:pt x="330" y="7"/>
                      <a:pt x="330" y="7"/>
                      <a:pt x="330" y="7"/>
                    </a:cubicBezTo>
                    <a:cubicBezTo>
                      <a:pt x="328" y="7"/>
                      <a:pt x="325" y="8"/>
                      <a:pt x="323" y="9"/>
                    </a:cubicBezTo>
                    <a:cubicBezTo>
                      <a:pt x="320" y="10"/>
                      <a:pt x="317" y="12"/>
                      <a:pt x="314" y="14"/>
                    </a:cubicBezTo>
                    <a:cubicBezTo>
                      <a:pt x="312" y="15"/>
                      <a:pt x="312" y="15"/>
                      <a:pt x="312" y="15"/>
                    </a:cubicBezTo>
                    <a:cubicBezTo>
                      <a:pt x="310" y="16"/>
                      <a:pt x="308" y="18"/>
                      <a:pt x="306" y="19"/>
                    </a:cubicBezTo>
                    <a:cubicBezTo>
                      <a:pt x="305" y="20"/>
                      <a:pt x="304" y="20"/>
                      <a:pt x="303" y="20"/>
                    </a:cubicBezTo>
                    <a:cubicBezTo>
                      <a:pt x="302" y="20"/>
                      <a:pt x="302" y="20"/>
                      <a:pt x="302" y="20"/>
                    </a:cubicBezTo>
                    <a:cubicBezTo>
                      <a:pt x="301" y="20"/>
                      <a:pt x="300" y="20"/>
                      <a:pt x="299" y="19"/>
                    </a:cubicBezTo>
                    <a:cubicBezTo>
                      <a:pt x="298" y="19"/>
                      <a:pt x="298" y="19"/>
                      <a:pt x="298" y="19"/>
                    </a:cubicBezTo>
                    <a:cubicBezTo>
                      <a:pt x="295" y="23"/>
                      <a:pt x="292" y="26"/>
                      <a:pt x="289" y="29"/>
                    </a:cubicBezTo>
                    <a:cubicBezTo>
                      <a:pt x="291" y="31"/>
                      <a:pt x="292" y="33"/>
                      <a:pt x="293" y="35"/>
                    </a:cubicBezTo>
                    <a:cubicBezTo>
                      <a:pt x="294" y="35"/>
                      <a:pt x="294" y="36"/>
                      <a:pt x="294" y="36"/>
                    </a:cubicBezTo>
                    <a:cubicBezTo>
                      <a:pt x="294" y="37"/>
                      <a:pt x="295" y="37"/>
                      <a:pt x="295" y="38"/>
                    </a:cubicBezTo>
                    <a:cubicBezTo>
                      <a:pt x="296" y="38"/>
                      <a:pt x="296" y="39"/>
                      <a:pt x="297" y="40"/>
                    </a:cubicBezTo>
                    <a:cubicBezTo>
                      <a:pt x="297" y="40"/>
                      <a:pt x="297" y="40"/>
                      <a:pt x="297" y="40"/>
                    </a:cubicBezTo>
                    <a:cubicBezTo>
                      <a:pt x="301" y="38"/>
                      <a:pt x="301" y="38"/>
                      <a:pt x="301" y="38"/>
                    </a:cubicBezTo>
                    <a:cubicBezTo>
                      <a:pt x="298" y="42"/>
                      <a:pt x="298" y="42"/>
                      <a:pt x="298" y="42"/>
                    </a:cubicBezTo>
                    <a:cubicBezTo>
                      <a:pt x="299" y="44"/>
                      <a:pt x="299" y="44"/>
                      <a:pt x="299" y="44"/>
                    </a:cubicBezTo>
                    <a:cubicBezTo>
                      <a:pt x="300" y="46"/>
                      <a:pt x="299" y="48"/>
                      <a:pt x="299" y="50"/>
                    </a:cubicBezTo>
                    <a:cubicBezTo>
                      <a:pt x="299" y="51"/>
                      <a:pt x="299" y="52"/>
                      <a:pt x="299" y="52"/>
                    </a:cubicBezTo>
                    <a:cubicBezTo>
                      <a:pt x="299" y="53"/>
                      <a:pt x="299" y="53"/>
                      <a:pt x="299" y="53"/>
                    </a:cubicBezTo>
                    <a:cubicBezTo>
                      <a:pt x="300" y="54"/>
                      <a:pt x="300" y="54"/>
                      <a:pt x="300" y="54"/>
                    </a:cubicBezTo>
                    <a:cubicBezTo>
                      <a:pt x="301" y="55"/>
                      <a:pt x="301" y="56"/>
                      <a:pt x="301" y="57"/>
                    </a:cubicBezTo>
                    <a:cubicBezTo>
                      <a:pt x="300" y="57"/>
                      <a:pt x="300" y="57"/>
                      <a:pt x="300" y="57"/>
                    </a:cubicBezTo>
                    <a:cubicBezTo>
                      <a:pt x="300" y="58"/>
                      <a:pt x="300" y="59"/>
                      <a:pt x="299" y="59"/>
                    </a:cubicBezTo>
                    <a:cubicBezTo>
                      <a:pt x="298" y="61"/>
                      <a:pt x="298" y="61"/>
                      <a:pt x="298" y="61"/>
                    </a:cubicBezTo>
                    <a:cubicBezTo>
                      <a:pt x="297" y="62"/>
                      <a:pt x="297" y="62"/>
                      <a:pt x="297" y="62"/>
                    </a:cubicBezTo>
                    <a:cubicBezTo>
                      <a:pt x="297" y="66"/>
                      <a:pt x="294" y="67"/>
                      <a:pt x="292" y="68"/>
                    </a:cubicBezTo>
                    <a:cubicBezTo>
                      <a:pt x="291" y="68"/>
                      <a:pt x="291" y="69"/>
                      <a:pt x="290" y="69"/>
                    </a:cubicBezTo>
                    <a:cubicBezTo>
                      <a:pt x="290" y="70"/>
                      <a:pt x="289" y="70"/>
                      <a:pt x="289" y="71"/>
                    </a:cubicBezTo>
                    <a:cubicBezTo>
                      <a:pt x="288" y="72"/>
                      <a:pt x="287" y="74"/>
                      <a:pt x="285" y="76"/>
                    </a:cubicBezTo>
                    <a:cubicBezTo>
                      <a:pt x="284" y="76"/>
                      <a:pt x="284" y="77"/>
                      <a:pt x="283" y="77"/>
                    </a:cubicBezTo>
                    <a:cubicBezTo>
                      <a:pt x="282" y="78"/>
                      <a:pt x="282" y="78"/>
                      <a:pt x="283" y="79"/>
                    </a:cubicBezTo>
                    <a:cubicBezTo>
                      <a:pt x="283" y="80"/>
                      <a:pt x="284" y="80"/>
                      <a:pt x="284" y="81"/>
                    </a:cubicBezTo>
                    <a:cubicBezTo>
                      <a:pt x="284" y="81"/>
                      <a:pt x="284" y="81"/>
                      <a:pt x="284" y="81"/>
                    </a:cubicBezTo>
                    <a:cubicBezTo>
                      <a:pt x="285" y="82"/>
                      <a:pt x="285" y="82"/>
                      <a:pt x="286" y="83"/>
                    </a:cubicBezTo>
                    <a:cubicBezTo>
                      <a:pt x="286" y="85"/>
                      <a:pt x="286" y="85"/>
                      <a:pt x="286" y="86"/>
                    </a:cubicBezTo>
                    <a:cubicBezTo>
                      <a:pt x="286" y="87"/>
                      <a:pt x="286" y="88"/>
                      <a:pt x="286" y="89"/>
                    </a:cubicBezTo>
                    <a:cubicBezTo>
                      <a:pt x="286" y="90"/>
                      <a:pt x="286" y="90"/>
                      <a:pt x="285" y="90"/>
                    </a:cubicBezTo>
                    <a:cubicBezTo>
                      <a:pt x="285" y="91"/>
                      <a:pt x="285" y="91"/>
                      <a:pt x="285" y="91"/>
                    </a:cubicBezTo>
                    <a:cubicBezTo>
                      <a:pt x="285" y="91"/>
                      <a:pt x="285" y="92"/>
                      <a:pt x="284" y="92"/>
                    </a:cubicBezTo>
                    <a:cubicBezTo>
                      <a:pt x="283" y="94"/>
                      <a:pt x="282" y="95"/>
                      <a:pt x="280" y="96"/>
                    </a:cubicBezTo>
                    <a:cubicBezTo>
                      <a:pt x="276" y="99"/>
                      <a:pt x="272" y="100"/>
                      <a:pt x="267" y="100"/>
                    </a:cubicBezTo>
                    <a:cubicBezTo>
                      <a:pt x="266" y="100"/>
                      <a:pt x="265" y="100"/>
                      <a:pt x="263" y="100"/>
                    </a:cubicBezTo>
                    <a:cubicBezTo>
                      <a:pt x="263" y="100"/>
                      <a:pt x="263" y="100"/>
                      <a:pt x="262" y="100"/>
                    </a:cubicBezTo>
                    <a:cubicBezTo>
                      <a:pt x="261" y="100"/>
                      <a:pt x="260" y="99"/>
                      <a:pt x="259" y="99"/>
                    </a:cubicBezTo>
                    <a:cubicBezTo>
                      <a:pt x="256" y="98"/>
                      <a:pt x="253" y="97"/>
                      <a:pt x="251" y="97"/>
                    </a:cubicBezTo>
                    <a:cubicBezTo>
                      <a:pt x="253" y="100"/>
                      <a:pt x="253" y="100"/>
                      <a:pt x="253" y="100"/>
                    </a:cubicBezTo>
                    <a:cubicBezTo>
                      <a:pt x="254" y="100"/>
                      <a:pt x="255" y="101"/>
                      <a:pt x="255" y="102"/>
                    </a:cubicBezTo>
                    <a:cubicBezTo>
                      <a:pt x="258" y="106"/>
                      <a:pt x="258" y="106"/>
                      <a:pt x="258" y="106"/>
                    </a:cubicBezTo>
                    <a:cubicBezTo>
                      <a:pt x="263" y="113"/>
                      <a:pt x="265" y="117"/>
                      <a:pt x="262" y="119"/>
                    </a:cubicBezTo>
                    <a:cubicBezTo>
                      <a:pt x="261" y="120"/>
                      <a:pt x="261" y="120"/>
                      <a:pt x="261" y="120"/>
                    </a:cubicBezTo>
                    <a:cubicBezTo>
                      <a:pt x="261" y="120"/>
                      <a:pt x="261" y="120"/>
                      <a:pt x="261" y="120"/>
                    </a:cubicBezTo>
                    <a:cubicBezTo>
                      <a:pt x="260" y="121"/>
                      <a:pt x="260" y="121"/>
                      <a:pt x="260" y="121"/>
                    </a:cubicBezTo>
                    <a:cubicBezTo>
                      <a:pt x="258" y="122"/>
                      <a:pt x="254" y="125"/>
                      <a:pt x="250" y="127"/>
                    </a:cubicBezTo>
                    <a:cubicBezTo>
                      <a:pt x="252" y="132"/>
                      <a:pt x="252" y="132"/>
                      <a:pt x="252" y="132"/>
                    </a:cubicBezTo>
                    <a:cubicBezTo>
                      <a:pt x="249" y="127"/>
                      <a:pt x="249" y="127"/>
                      <a:pt x="249" y="127"/>
                    </a:cubicBezTo>
                    <a:cubicBezTo>
                      <a:pt x="248" y="127"/>
                      <a:pt x="248" y="127"/>
                      <a:pt x="248" y="127"/>
                    </a:cubicBezTo>
                    <a:cubicBezTo>
                      <a:pt x="247" y="127"/>
                      <a:pt x="246" y="127"/>
                      <a:pt x="246" y="128"/>
                    </a:cubicBezTo>
                    <a:cubicBezTo>
                      <a:pt x="245" y="128"/>
                      <a:pt x="245" y="128"/>
                      <a:pt x="245" y="128"/>
                    </a:cubicBezTo>
                    <a:cubicBezTo>
                      <a:pt x="244" y="128"/>
                      <a:pt x="244" y="128"/>
                      <a:pt x="244" y="128"/>
                    </a:cubicBezTo>
                    <a:cubicBezTo>
                      <a:pt x="243" y="128"/>
                      <a:pt x="243" y="128"/>
                      <a:pt x="243" y="128"/>
                    </a:cubicBezTo>
                    <a:cubicBezTo>
                      <a:pt x="243" y="128"/>
                      <a:pt x="243" y="128"/>
                      <a:pt x="243" y="128"/>
                    </a:cubicBezTo>
                    <a:cubicBezTo>
                      <a:pt x="243" y="128"/>
                      <a:pt x="242" y="128"/>
                      <a:pt x="242" y="128"/>
                    </a:cubicBezTo>
                    <a:cubicBezTo>
                      <a:pt x="241" y="126"/>
                      <a:pt x="241" y="126"/>
                      <a:pt x="241" y="126"/>
                    </a:cubicBezTo>
                    <a:cubicBezTo>
                      <a:pt x="241" y="128"/>
                      <a:pt x="241" y="128"/>
                      <a:pt x="241" y="128"/>
                    </a:cubicBezTo>
                    <a:cubicBezTo>
                      <a:pt x="240" y="128"/>
                      <a:pt x="240" y="128"/>
                      <a:pt x="240" y="128"/>
                    </a:cubicBezTo>
                    <a:cubicBezTo>
                      <a:pt x="240" y="129"/>
                      <a:pt x="239" y="131"/>
                      <a:pt x="239" y="133"/>
                    </a:cubicBezTo>
                    <a:cubicBezTo>
                      <a:pt x="239" y="134"/>
                      <a:pt x="238" y="136"/>
                      <a:pt x="238" y="137"/>
                    </a:cubicBezTo>
                    <a:cubicBezTo>
                      <a:pt x="238" y="137"/>
                      <a:pt x="238" y="137"/>
                      <a:pt x="238" y="137"/>
                    </a:cubicBezTo>
                    <a:cubicBezTo>
                      <a:pt x="238" y="138"/>
                      <a:pt x="238" y="139"/>
                      <a:pt x="238" y="139"/>
                    </a:cubicBezTo>
                    <a:cubicBezTo>
                      <a:pt x="237" y="141"/>
                      <a:pt x="235" y="142"/>
                      <a:pt x="234" y="144"/>
                    </a:cubicBezTo>
                    <a:cubicBezTo>
                      <a:pt x="233" y="144"/>
                      <a:pt x="233" y="144"/>
                      <a:pt x="233" y="144"/>
                    </a:cubicBezTo>
                    <a:cubicBezTo>
                      <a:pt x="234" y="153"/>
                      <a:pt x="234" y="153"/>
                      <a:pt x="234" y="153"/>
                    </a:cubicBezTo>
                    <a:cubicBezTo>
                      <a:pt x="234" y="153"/>
                      <a:pt x="234" y="153"/>
                      <a:pt x="234" y="153"/>
                    </a:cubicBezTo>
                    <a:cubicBezTo>
                      <a:pt x="235" y="158"/>
                      <a:pt x="235" y="158"/>
                      <a:pt x="235" y="158"/>
                    </a:cubicBezTo>
                    <a:cubicBezTo>
                      <a:pt x="235" y="161"/>
                      <a:pt x="234" y="163"/>
                      <a:pt x="232" y="164"/>
                    </a:cubicBezTo>
                    <a:cubicBezTo>
                      <a:pt x="229" y="167"/>
                      <a:pt x="226" y="169"/>
                      <a:pt x="223" y="172"/>
                    </a:cubicBezTo>
                    <a:cubicBezTo>
                      <a:pt x="222" y="172"/>
                      <a:pt x="222" y="172"/>
                      <a:pt x="222" y="172"/>
                    </a:cubicBezTo>
                    <a:cubicBezTo>
                      <a:pt x="221" y="173"/>
                      <a:pt x="220" y="173"/>
                      <a:pt x="220" y="173"/>
                    </a:cubicBezTo>
                    <a:cubicBezTo>
                      <a:pt x="219" y="173"/>
                      <a:pt x="219" y="173"/>
                      <a:pt x="219" y="173"/>
                    </a:cubicBezTo>
                    <a:cubicBezTo>
                      <a:pt x="219" y="173"/>
                      <a:pt x="219" y="173"/>
                      <a:pt x="219" y="173"/>
                    </a:cubicBezTo>
                    <a:cubicBezTo>
                      <a:pt x="219" y="173"/>
                      <a:pt x="218" y="173"/>
                      <a:pt x="217" y="173"/>
                    </a:cubicBezTo>
                    <a:cubicBezTo>
                      <a:pt x="217" y="173"/>
                      <a:pt x="217" y="173"/>
                      <a:pt x="217" y="173"/>
                    </a:cubicBezTo>
                    <a:cubicBezTo>
                      <a:pt x="216" y="172"/>
                      <a:pt x="216" y="172"/>
                      <a:pt x="216" y="172"/>
                    </a:cubicBezTo>
                    <a:cubicBezTo>
                      <a:pt x="215" y="172"/>
                      <a:pt x="214" y="171"/>
                      <a:pt x="213" y="171"/>
                    </a:cubicBezTo>
                    <a:cubicBezTo>
                      <a:pt x="213" y="170"/>
                      <a:pt x="213" y="170"/>
                      <a:pt x="213" y="170"/>
                    </a:cubicBezTo>
                    <a:cubicBezTo>
                      <a:pt x="212" y="169"/>
                      <a:pt x="211" y="169"/>
                      <a:pt x="210" y="168"/>
                    </a:cubicBezTo>
                    <a:cubicBezTo>
                      <a:pt x="209" y="168"/>
                      <a:pt x="209" y="168"/>
                      <a:pt x="209" y="168"/>
                    </a:cubicBezTo>
                    <a:cubicBezTo>
                      <a:pt x="209" y="168"/>
                      <a:pt x="208" y="167"/>
                      <a:pt x="208" y="167"/>
                    </a:cubicBezTo>
                    <a:cubicBezTo>
                      <a:pt x="208" y="167"/>
                      <a:pt x="207" y="167"/>
                      <a:pt x="207" y="168"/>
                    </a:cubicBezTo>
                    <a:cubicBezTo>
                      <a:pt x="206" y="168"/>
                      <a:pt x="205" y="168"/>
                      <a:pt x="204" y="168"/>
                    </a:cubicBezTo>
                    <a:cubicBezTo>
                      <a:pt x="204" y="168"/>
                      <a:pt x="204" y="168"/>
                      <a:pt x="204" y="168"/>
                    </a:cubicBezTo>
                    <a:cubicBezTo>
                      <a:pt x="203" y="168"/>
                      <a:pt x="202" y="169"/>
                      <a:pt x="202" y="169"/>
                    </a:cubicBezTo>
                    <a:cubicBezTo>
                      <a:pt x="201" y="169"/>
                      <a:pt x="201" y="169"/>
                      <a:pt x="200" y="169"/>
                    </a:cubicBezTo>
                    <a:cubicBezTo>
                      <a:pt x="199" y="169"/>
                      <a:pt x="199" y="169"/>
                      <a:pt x="199" y="170"/>
                    </a:cubicBezTo>
                    <a:cubicBezTo>
                      <a:pt x="198" y="170"/>
                      <a:pt x="197" y="170"/>
                      <a:pt x="196" y="171"/>
                    </a:cubicBezTo>
                    <a:cubicBezTo>
                      <a:pt x="195" y="172"/>
                      <a:pt x="195" y="172"/>
                      <a:pt x="195" y="172"/>
                    </a:cubicBezTo>
                    <a:cubicBezTo>
                      <a:pt x="193" y="173"/>
                      <a:pt x="191" y="174"/>
                      <a:pt x="190" y="175"/>
                    </a:cubicBezTo>
                    <a:cubicBezTo>
                      <a:pt x="195" y="179"/>
                      <a:pt x="195" y="179"/>
                      <a:pt x="195" y="179"/>
                    </a:cubicBezTo>
                    <a:cubicBezTo>
                      <a:pt x="189" y="181"/>
                      <a:pt x="189" y="181"/>
                      <a:pt x="189" y="181"/>
                    </a:cubicBezTo>
                    <a:cubicBezTo>
                      <a:pt x="188" y="182"/>
                      <a:pt x="187" y="182"/>
                      <a:pt x="186" y="183"/>
                    </a:cubicBezTo>
                    <a:cubicBezTo>
                      <a:pt x="184" y="184"/>
                      <a:pt x="182" y="185"/>
                      <a:pt x="179" y="186"/>
                    </a:cubicBezTo>
                    <a:cubicBezTo>
                      <a:pt x="178" y="186"/>
                      <a:pt x="178" y="186"/>
                      <a:pt x="178" y="186"/>
                    </a:cubicBezTo>
                    <a:cubicBezTo>
                      <a:pt x="177" y="186"/>
                      <a:pt x="177" y="186"/>
                      <a:pt x="176" y="186"/>
                    </a:cubicBezTo>
                    <a:cubicBezTo>
                      <a:pt x="173" y="186"/>
                      <a:pt x="170" y="185"/>
                      <a:pt x="167" y="184"/>
                    </a:cubicBezTo>
                    <a:cubicBezTo>
                      <a:pt x="166" y="184"/>
                      <a:pt x="166" y="184"/>
                      <a:pt x="166" y="184"/>
                    </a:cubicBezTo>
                    <a:cubicBezTo>
                      <a:pt x="166" y="184"/>
                      <a:pt x="166" y="184"/>
                      <a:pt x="166" y="184"/>
                    </a:cubicBezTo>
                    <a:cubicBezTo>
                      <a:pt x="165" y="184"/>
                      <a:pt x="164" y="184"/>
                      <a:pt x="164" y="184"/>
                    </a:cubicBezTo>
                    <a:cubicBezTo>
                      <a:pt x="163" y="184"/>
                      <a:pt x="163" y="184"/>
                      <a:pt x="162" y="185"/>
                    </a:cubicBezTo>
                    <a:cubicBezTo>
                      <a:pt x="162" y="185"/>
                      <a:pt x="161" y="185"/>
                      <a:pt x="161" y="186"/>
                    </a:cubicBezTo>
                    <a:cubicBezTo>
                      <a:pt x="160" y="186"/>
                      <a:pt x="160" y="186"/>
                      <a:pt x="160" y="186"/>
                    </a:cubicBezTo>
                    <a:cubicBezTo>
                      <a:pt x="159" y="187"/>
                      <a:pt x="158" y="188"/>
                      <a:pt x="157" y="189"/>
                    </a:cubicBezTo>
                    <a:cubicBezTo>
                      <a:pt x="155" y="190"/>
                      <a:pt x="154" y="192"/>
                      <a:pt x="153" y="193"/>
                    </a:cubicBezTo>
                    <a:cubicBezTo>
                      <a:pt x="152" y="193"/>
                      <a:pt x="152" y="193"/>
                      <a:pt x="152" y="193"/>
                    </a:cubicBezTo>
                    <a:cubicBezTo>
                      <a:pt x="152" y="194"/>
                      <a:pt x="152" y="194"/>
                      <a:pt x="151" y="195"/>
                    </a:cubicBezTo>
                    <a:cubicBezTo>
                      <a:pt x="151" y="196"/>
                      <a:pt x="151" y="196"/>
                      <a:pt x="151" y="196"/>
                    </a:cubicBezTo>
                    <a:cubicBezTo>
                      <a:pt x="151" y="198"/>
                      <a:pt x="151" y="198"/>
                      <a:pt x="151" y="198"/>
                    </a:cubicBezTo>
                    <a:cubicBezTo>
                      <a:pt x="150" y="201"/>
                      <a:pt x="149" y="205"/>
                      <a:pt x="149" y="207"/>
                    </a:cubicBezTo>
                    <a:cubicBezTo>
                      <a:pt x="149" y="209"/>
                      <a:pt x="149" y="210"/>
                      <a:pt x="149" y="211"/>
                    </a:cubicBezTo>
                    <a:cubicBezTo>
                      <a:pt x="149" y="213"/>
                      <a:pt x="149" y="214"/>
                      <a:pt x="148" y="216"/>
                    </a:cubicBezTo>
                    <a:cubicBezTo>
                      <a:pt x="148" y="217"/>
                      <a:pt x="148" y="217"/>
                      <a:pt x="148" y="217"/>
                    </a:cubicBezTo>
                    <a:cubicBezTo>
                      <a:pt x="148" y="217"/>
                      <a:pt x="148" y="217"/>
                      <a:pt x="148" y="217"/>
                    </a:cubicBezTo>
                    <a:cubicBezTo>
                      <a:pt x="149" y="218"/>
                      <a:pt x="149" y="219"/>
                      <a:pt x="149" y="221"/>
                    </a:cubicBezTo>
                    <a:cubicBezTo>
                      <a:pt x="149" y="222"/>
                      <a:pt x="149" y="225"/>
                      <a:pt x="148" y="227"/>
                    </a:cubicBezTo>
                    <a:cubicBezTo>
                      <a:pt x="147" y="229"/>
                      <a:pt x="144" y="229"/>
                      <a:pt x="142" y="230"/>
                    </a:cubicBezTo>
                    <a:cubicBezTo>
                      <a:pt x="139" y="231"/>
                      <a:pt x="139" y="231"/>
                      <a:pt x="139" y="231"/>
                    </a:cubicBezTo>
                    <a:cubicBezTo>
                      <a:pt x="137" y="231"/>
                      <a:pt x="134" y="232"/>
                      <a:pt x="132" y="233"/>
                    </a:cubicBezTo>
                    <a:cubicBezTo>
                      <a:pt x="129" y="234"/>
                      <a:pt x="125" y="235"/>
                      <a:pt x="122" y="235"/>
                    </a:cubicBezTo>
                    <a:cubicBezTo>
                      <a:pt x="114" y="235"/>
                      <a:pt x="114" y="235"/>
                      <a:pt x="114" y="235"/>
                    </a:cubicBezTo>
                    <a:cubicBezTo>
                      <a:pt x="111" y="236"/>
                      <a:pt x="109" y="236"/>
                      <a:pt x="106" y="236"/>
                    </a:cubicBezTo>
                    <a:cubicBezTo>
                      <a:pt x="103" y="236"/>
                      <a:pt x="99" y="237"/>
                      <a:pt x="95" y="237"/>
                    </a:cubicBezTo>
                    <a:cubicBezTo>
                      <a:pt x="95" y="238"/>
                      <a:pt x="94" y="238"/>
                      <a:pt x="93" y="238"/>
                    </a:cubicBezTo>
                    <a:cubicBezTo>
                      <a:pt x="92" y="239"/>
                      <a:pt x="91" y="239"/>
                      <a:pt x="91" y="240"/>
                    </a:cubicBezTo>
                    <a:cubicBezTo>
                      <a:pt x="89" y="241"/>
                      <a:pt x="89" y="241"/>
                      <a:pt x="89" y="241"/>
                    </a:cubicBezTo>
                    <a:cubicBezTo>
                      <a:pt x="88" y="241"/>
                      <a:pt x="88" y="241"/>
                      <a:pt x="88" y="241"/>
                    </a:cubicBezTo>
                    <a:cubicBezTo>
                      <a:pt x="87" y="242"/>
                      <a:pt x="87" y="242"/>
                      <a:pt x="86" y="242"/>
                    </a:cubicBezTo>
                    <a:cubicBezTo>
                      <a:pt x="86" y="242"/>
                      <a:pt x="86" y="242"/>
                      <a:pt x="85" y="242"/>
                    </a:cubicBezTo>
                    <a:cubicBezTo>
                      <a:pt x="85" y="242"/>
                      <a:pt x="84" y="243"/>
                      <a:pt x="84" y="243"/>
                    </a:cubicBezTo>
                    <a:cubicBezTo>
                      <a:pt x="83" y="243"/>
                      <a:pt x="83" y="243"/>
                      <a:pt x="82" y="243"/>
                    </a:cubicBezTo>
                    <a:cubicBezTo>
                      <a:pt x="82" y="243"/>
                      <a:pt x="82" y="243"/>
                      <a:pt x="82" y="243"/>
                    </a:cubicBezTo>
                    <a:cubicBezTo>
                      <a:pt x="81" y="243"/>
                      <a:pt x="80" y="243"/>
                      <a:pt x="80" y="243"/>
                    </a:cubicBezTo>
                    <a:cubicBezTo>
                      <a:pt x="79" y="242"/>
                      <a:pt x="79" y="242"/>
                      <a:pt x="78" y="242"/>
                    </a:cubicBezTo>
                    <a:cubicBezTo>
                      <a:pt x="75" y="242"/>
                      <a:pt x="75" y="242"/>
                      <a:pt x="75" y="242"/>
                    </a:cubicBezTo>
                    <a:cubicBezTo>
                      <a:pt x="74" y="241"/>
                      <a:pt x="73" y="241"/>
                      <a:pt x="71" y="241"/>
                    </a:cubicBezTo>
                    <a:cubicBezTo>
                      <a:pt x="71" y="241"/>
                      <a:pt x="71" y="241"/>
                      <a:pt x="71" y="241"/>
                    </a:cubicBezTo>
                    <a:cubicBezTo>
                      <a:pt x="70" y="241"/>
                      <a:pt x="69" y="241"/>
                      <a:pt x="68" y="241"/>
                    </a:cubicBezTo>
                    <a:cubicBezTo>
                      <a:pt x="68" y="241"/>
                      <a:pt x="68" y="241"/>
                      <a:pt x="68" y="241"/>
                    </a:cubicBezTo>
                    <a:cubicBezTo>
                      <a:pt x="56" y="241"/>
                      <a:pt x="56" y="241"/>
                      <a:pt x="56" y="241"/>
                    </a:cubicBezTo>
                    <a:cubicBezTo>
                      <a:pt x="57" y="247"/>
                      <a:pt x="57" y="247"/>
                      <a:pt x="57" y="247"/>
                    </a:cubicBezTo>
                    <a:cubicBezTo>
                      <a:pt x="55" y="242"/>
                      <a:pt x="55" y="242"/>
                      <a:pt x="55" y="242"/>
                    </a:cubicBezTo>
                    <a:cubicBezTo>
                      <a:pt x="50" y="242"/>
                      <a:pt x="50" y="242"/>
                      <a:pt x="50" y="242"/>
                    </a:cubicBezTo>
                    <a:cubicBezTo>
                      <a:pt x="49" y="242"/>
                      <a:pt x="48" y="242"/>
                      <a:pt x="47" y="242"/>
                    </a:cubicBezTo>
                    <a:cubicBezTo>
                      <a:pt x="47" y="242"/>
                      <a:pt x="47" y="242"/>
                      <a:pt x="47" y="242"/>
                    </a:cubicBezTo>
                    <a:cubicBezTo>
                      <a:pt x="46" y="242"/>
                      <a:pt x="45" y="243"/>
                      <a:pt x="44" y="243"/>
                    </a:cubicBezTo>
                    <a:cubicBezTo>
                      <a:pt x="43" y="243"/>
                      <a:pt x="43" y="243"/>
                      <a:pt x="43" y="243"/>
                    </a:cubicBezTo>
                    <a:cubicBezTo>
                      <a:pt x="41" y="243"/>
                      <a:pt x="40" y="243"/>
                      <a:pt x="39" y="242"/>
                    </a:cubicBezTo>
                    <a:cubicBezTo>
                      <a:pt x="0" y="231"/>
                      <a:pt x="0" y="231"/>
                      <a:pt x="0" y="231"/>
                    </a:cubicBezTo>
                    <a:cubicBezTo>
                      <a:pt x="0" y="232"/>
                      <a:pt x="1" y="234"/>
                      <a:pt x="2" y="235"/>
                    </a:cubicBezTo>
                    <a:cubicBezTo>
                      <a:pt x="3" y="235"/>
                      <a:pt x="3" y="236"/>
                      <a:pt x="3" y="237"/>
                    </a:cubicBezTo>
                    <a:cubicBezTo>
                      <a:pt x="4" y="237"/>
                      <a:pt x="4" y="238"/>
                      <a:pt x="5" y="239"/>
                    </a:cubicBezTo>
                    <a:cubicBezTo>
                      <a:pt x="8" y="242"/>
                      <a:pt x="10" y="246"/>
                      <a:pt x="13" y="250"/>
                    </a:cubicBezTo>
                    <a:cubicBezTo>
                      <a:pt x="16" y="254"/>
                      <a:pt x="19" y="258"/>
                      <a:pt x="22" y="262"/>
                    </a:cubicBezTo>
                    <a:cubicBezTo>
                      <a:pt x="24" y="264"/>
                      <a:pt x="26" y="265"/>
                      <a:pt x="28" y="266"/>
                    </a:cubicBezTo>
                    <a:cubicBezTo>
                      <a:pt x="29" y="266"/>
                      <a:pt x="30" y="267"/>
                      <a:pt x="31" y="267"/>
                    </a:cubicBezTo>
                    <a:cubicBezTo>
                      <a:pt x="32" y="267"/>
                      <a:pt x="32" y="267"/>
                      <a:pt x="32" y="267"/>
                    </a:cubicBezTo>
                    <a:cubicBezTo>
                      <a:pt x="33" y="268"/>
                      <a:pt x="34" y="268"/>
                      <a:pt x="35" y="268"/>
                    </a:cubicBezTo>
                    <a:cubicBezTo>
                      <a:pt x="35" y="268"/>
                      <a:pt x="35" y="268"/>
                      <a:pt x="35" y="268"/>
                    </a:cubicBezTo>
                    <a:cubicBezTo>
                      <a:pt x="36" y="269"/>
                      <a:pt x="37" y="269"/>
                      <a:pt x="38" y="270"/>
                    </a:cubicBezTo>
                    <a:cubicBezTo>
                      <a:pt x="40" y="270"/>
                      <a:pt x="41" y="271"/>
                      <a:pt x="43" y="271"/>
                    </a:cubicBezTo>
                    <a:cubicBezTo>
                      <a:pt x="46" y="273"/>
                      <a:pt x="48" y="274"/>
                      <a:pt x="48" y="275"/>
                    </a:cubicBezTo>
                    <a:cubicBezTo>
                      <a:pt x="50" y="277"/>
                      <a:pt x="50" y="280"/>
                      <a:pt x="49" y="284"/>
                    </a:cubicBezTo>
                    <a:cubicBezTo>
                      <a:pt x="49" y="285"/>
                      <a:pt x="49" y="285"/>
                      <a:pt x="49" y="285"/>
                    </a:cubicBezTo>
                    <a:cubicBezTo>
                      <a:pt x="55" y="285"/>
                      <a:pt x="55" y="285"/>
                      <a:pt x="55" y="285"/>
                    </a:cubicBezTo>
                    <a:cubicBezTo>
                      <a:pt x="49" y="287"/>
                      <a:pt x="49" y="287"/>
                      <a:pt x="49" y="287"/>
                    </a:cubicBezTo>
                    <a:cubicBezTo>
                      <a:pt x="49" y="297"/>
                      <a:pt x="49" y="297"/>
                      <a:pt x="49" y="297"/>
                    </a:cubicBezTo>
                    <a:cubicBezTo>
                      <a:pt x="49" y="297"/>
                      <a:pt x="49" y="298"/>
                      <a:pt x="49" y="299"/>
                    </a:cubicBezTo>
                    <a:cubicBezTo>
                      <a:pt x="49" y="300"/>
                      <a:pt x="48" y="302"/>
                      <a:pt x="49" y="303"/>
                    </a:cubicBezTo>
                    <a:cubicBezTo>
                      <a:pt x="49" y="303"/>
                      <a:pt x="49" y="303"/>
                      <a:pt x="49" y="303"/>
                    </a:cubicBezTo>
                    <a:cubicBezTo>
                      <a:pt x="49" y="303"/>
                      <a:pt x="50" y="303"/>
                      <a:pt x="50" y="303"/>
                    </a:cubicBezTo>
                    <a:cubicBezTo>
                      <a:pt x="54" y="303"/>
                      <a:pt x="54" y="303"/>
                      <a:pt x="54" y="303"/>
                    </a:cubicBezTo>
                    <a:cubicBezTo>
                      <a:pt x="56" y="303"/>
                      <a:pt x="58" y="303"/>
                      <a:pt x="61" y="304"/>
                    </a:cubicBezTo>
                    <a:cubicBezTo>
                      <a:pt x="64" y="304"/>
                      <a:pt x="64" y="304"/>
                      <a:pt x="64" y="304"/>
                    </a:cubicBezTo>
                    <a:cubicBezTo>
                      <a:pt x="63" y="308"/>
                      <a:pt x="63" y="308"/>
                      <a:pt x="63" y="308"/>
                    </a:cubicBezTo>
                    <a:cubicBezTo>
                      <a:pt x="62" y="312"/>
                      <a:pt x="61" y="317"/>
                      <a:pt x="60" y="321"/>
                    </a:cubicBezTo>
                    <a:cubicBezTo>
                      <a:pt x="59" y="324"/>
                      <a:pt x="59" y="324"/>
                      <a:pt x="59" y="324"/>
                    </a:cubicBezTo>
                    <a:cubicBezTo>
                      <a:pt x="59" y="325"/>
                      <a:pt x="59" y="326"/>
                      <a:pt x="57" y="327"/>
                    </a:cubicBezTo>
                    <a:cubicBezTo>
                      <a:pt x="55" y="329"/>
                      <a:pt x="52" y="329"/>
                      <a:pt x="50" y="329"/>
                    </a:cubicBezTo>
                    <a:cubicBezTo>
                      <a:pt x="49" y="329"/>
                      <a:pt x="49" y="329"/>
                      <a:pt x="49" y="329"/>
                    </a:cubicBezTo>
                    <a:cubicBezTo>
                      <a:pt x="49" y="329"/>
                      <a:pt x="48" y="329"/>
                      <a:pt x="47" y="329"/>
                    </a:cubicBezTo>
                    <a:cubicBezTo>
                      <a:pt x="36" y="331"/>
                      <a:pt x="36" y="331"/>
                      <a:pt x="36" y="331"/>
                    </a:cubicBezTo>
                    <a:cubicBezTo>
                      <a:pt x="34" y="331"/>
                      <a:pt x="33" y="332"/>
                      <a:pt x="32" y="333"/>
                    </a:cubicBezTo>
                    <a:cubicBezTo>
                      <a:pt x="31" y="333"/>
                      <a:pt x="30" y="334"/>
                      <a:pt x="29" y="335"/>
                    </a:cubicBezTo>
                    <a:cubicBezTo>
                      <a:pt x="29" y="335"/>
                      <a:pt x="29" y="335"/>
                      <a:pt x="29" y="335"/>
                    </a:cubicBezTo>
                    <a:cubicBezTo>
                      <a:pt x="27" y="337"/>
                      <a:pt x="26" y="337"/>
                      <a:pt x="25" y="338"/>
                    </a:cubicBezTo>
                    <a:cubicBezTo>
                      <a:pt x="24" y="339"/>
                      <a:pt x="24" y="339"/>
                      <a:pt x="24" y="339"/>
                    </a:cubicBezTo>
                    <a:cubicBezTo>
                      <a:pt x="22" y="340"/>
                      <a:pt x="22" y="340"/>
                      <a:pt x="22" y="343"/>
                    </a:cubicBezTo>
                    <a:cubicBezTo>
                      <a:pt x="20" y="349"/>
                      <a:pt x="19" y="354"/>
                      <a:pt x="18" y="359"/>
                    </a:cubicBezTo>
                    <a:cubicBezTo>
                      <a:pt x="18" y="361"/>
                      <a:pt x="18" y="361"/>
                      <a:pt x="18" y="361"/>
                    </a:cubicBezTo>
                    <a:cubicBezTo>
                      <a:pt x="18" y="361"/>
                      <a:pt x="17" y="362"/>
                      <a:pt x="17" y="363"/>
                    </a:cubicBezTo>
                    <a:cubicBezTo>
                      <a:pt x="17" y="364"/>
                      <a:pt x="17" y="366"/>
                      <a:pt x="16" y="368"/>
                    </a:cubicBezTo>
                    <a:cubicBezTo>
                      <a:pt x="16" y="369"/>
                      <a:pt x="16" y="369"/>
                      <a:pt x="16" y="369"/>
                    </a:cubicBezTo>
                    <a:cubicBezTo>
                      <a:pt x="17" y="369"/>
                      <a:pt x="16" y="370"/>
                      <a:pt x="17" y="373"/>
                    </a:cubicBezTo>
                    <a:cubicBezTo>
                      <a:pt x="17" y="373"/>
                      <a:pt x="17" y="373"/>
                      <a:pt x="17" y="373"/>
                    </a:cubicBezTo>
                    <a:cubicBezTo>
                      <a:pt x="19" y="373"/>
                      <a:pt x="21" y="371"/>
                      <a:pt x="24" y="371"/>
                    </a:cubicBezTo>
                    <a:cubicBezTo>
                      <a:pt x="27" y="371"/>
                      <a:pt x="29" y="368"/>
                      <a:pt x="31" y="368"/>
                    </a:cubicBezTo>
                    <a:cubicBezTo>
                      <a:pt x="31" y="368"/>
                      <a:pt x="32" y="369"/>
                      <a:pt x="33" y="371"/>
                    </a:cubicBezTo>
                    <a:cubicBezTo>
                      <a:pt x="37" y="368"/>
                      <a:pt x="40" y="367"/>
                      <a:pt x="44" y="367"/>
                    </a:cubicBezTo>
                    <a:cubicBezTo>
                      <a:pt x="45" y="367"/>
                      <a:pt x="46" y="367"/>
                      <a:pt x="47" y="367"/>
                    </a:cubicBezTo>
                    <a:cubicBezTo>
                      <a:pt x="51" y="367"/>
                      <a:pt x="56" y="368"/>
                      <a:pt x="60" y="368"/>
                    </a:cubicBezTo>
                    <a:cubicBezTo>
                      <a:pt x="61" y="368"/>
                      <a:pt x="63" y="368"/>
                      <a:pt x="64" y="368"/>
                    </a:cubicBezTo>
                    <a:cubicBezTo>
                      <a:pt x="66" y="368"/>
                      <a:pt x="67" y="368"/>
                      <a:pt x="66" y="367"/>
                    </a:cubicBezTo>
                    <a:cubicBezTo>
                      <a:pt x="70" y="364"/>
                      <a:pt x="75" y="364"/>
                      <a:pt x="80" y="364"/>
                    </a:cubicBezTo>
                    <a:cubicBezTo>
                      <a:pt x="81" y="364"/>
                      <a:pt x="81" y="364"/>
                      <a:pt x="82" y="364"/>
                    </a:cubicBezTo>
                    <a:cubicBezTo>
                      <a:pt x="81" y="362"/>
                      <a:pt x="82" y="360"/>
                      <a:pt x="83" y="360"/>
                    </a:cubicBezTo>
                    <a:cubicBezTo>
                      <a:pt x="84" y="360"/>
                      <a:pt x="84" y="361"/>
                      <a:pt x="84" y="361"/>
                    </a:cubicBezTo>
                    <a:cubicBezTo>
                      <a:pt x="82" y="361"/>
                      <a:pt x="82" y="362"/>
                      <a:pt x="83" y="363"/>
                    </a:cubicBezTo>
                    <a:cubicBezTo>
                      <a:pt x="84" y="365"/>
                      <a:pt x="86" y="365"/>
                      <a:pt x="88" y="365"/>
                    </a:cubicBezTo>
                    <a:cubicBezTo>
                      <a:pt x="90" y="366"/>
                      <a:pt x="92" y="365"/>
                      <a:pt x="94" y="366"/>
                    </a:cubicBezTo>
                    <a:cubicBezTo>
                      <a:pt x="96" y="367"/>
                      <a:pt x="98" y="369"/>
                      <a:pt x="99" y="369"/>
                    </a:cubicBezTo>
                    <a:cubicBezTo>
                      <a:pt x="100" y="369"/>
                      <a:pt x="100" y="369"/>
                      <a:pt x="100" y="369"/>
                    </a:cubicBezTo>
                    <a:cubicBezTo>
                      <a:pt x="99" y="368"/>
                      <a:pt x="99" y="368"/>
                      <a:pt x="99" y="368"/>
                    </a:cubicBezTo>
                    <a:cubicBezTo>
                      <a:pt x="113" y="363"/>
                      <a:pt x="125" y="363"/>
                      <a:pt x="140" y="362"/>
                    </a:cubicBezTo>
                    <a:cubicBezTo>
                      <a:pt x="140" y="362"/>
                      <a:pt x="140" y="362"/>
                      <a:pt x="140" y="362"/>
                    </a:cubicBezTo>
                    <a:cubicBezTo>
                      <a:pt x="140" y="362"/>
                      <a:pt x="141" y="362"/>
                      <a:pt x="143" y="363"/>
                    </a:cubicBezTo>
                    <a:cubicBezTo>
                      <a:pt x="144" y="363"/>
                      <a:pt x="145" y="363"/>
                      <a:pt x="146" y="363"/>
                    </a:cubicBezTo>
                    <a:cubicBezTo>
                      <a:pt x="149" y="363"/>
                      <a:pt x="151" y="362"/>
                      <a:pt x="151" y="362"/>
                    </a:cubicBezTo>
                    <a:cubicBezTo>
                      <a:pt x="151" y="362"/>
                      <a:pt x="151" y="362"/>
                      <a:pt x="151" y="362"/>
                    </a:cubicBezTo>
                    <a:cubicBezTo>
                      <a:pt x="151" y="362"/>
                      <a:pt x="151" y="360"/>
                      <a:pt x="151" y="360"/>
                    </a:cubicBezTo>
                    <a:cubicBezTo>
                      <a:pt x="150" y="360"/>
                      <a:pt x="150" y="360"/>
                      <a:pt x="150" y="360"/>
                    </a:cubicBezTo>
                    <a:cubicBezTo>
                      <a:pt x="149" y="360"/>
                      <a:pt x="148" y="359"/>
                      <a:pt x="148" y="358"/>
                    </a:cubicBezTo>
                    <a:cubicBezTo>
                      <a:pt x="148" y="357"/>
                      <a:pt x="148" y="357"/>
                      <a:pt x="149" y="357"/>
                    </a:cubicBezTo>
                    <a:cubicBezTo>
                      <a:pt x="150" y="357"/>
                      <a:pt x="150" y="357"/>
                      <a:pt x="150" y="357"/>
                    </a:cubicBezTo>
                    <a:cubicBezTo>
                      <a:pt x="150" y="357"/>
                      <a:pt x="152" y="359"/>
                      <a:pt x="152" y="360"/>
                    </a:cubicBezTo>
                    <a:cubicBezTo>
                      <a:pt x="154" y="363"/>
                      <a:pt x="152" y="362"/>
                      <a:pt x="154" y="365"/>
                    </a:cubicBezTo>
                    <a:cubicBezTo>
                      <a:pt x="156" y="368"/>
                      <a:pt x="157" y="367"/>
                      <a:pt x="157" y="371"/>
                    </a:cubicBezTo>
                    <a:cubicBezTo>
                      <a:pt x="157" y="372"/>
                      <a:pt x="156" y="377"/>
                      <a:pt x="157" y="378"/>
                    </a:cubicBezTo>
                    <a:cubicBezTo>
                      <a:pt x="158" y="378"/>
                      <a:pt x="158" y="378"/>
                      <a:pt x="159" y="378"/>
                    </a:cubicBezTo>
                    <a:cubicBezTo>
                      <a:pt x="166" y="377"/>
                      <a:pt x="166" y="377"/>
                      <a:pt x="166" y="377"/>
                    </a:cubicBezTo>
                    <a:cubicBezTo>
                      <a:pt x="168" y="382"/>
                      <a:pt x="168" y="382"/>
                      <a:pt x="168" y="382"/>
                    </a:cubicBezTo>
                    <a:cubicBezTo>
                      <a:pt x="171" y="384"/>
                      <a:pt x="171" y="384"/>
                      <a:pt x="171" y="384"/>
                    </a:cubicBezTo>
                    <a:cubicBezTo>
                      <a:pt x="172" y="387"/>
                      <a:pt x="172" y="390"/>
                      <a:pt x="173" y="392"/>
                    </a:cubicBezTo>
                    <a:cubicBezTo>
                      <a:pt x="174" y="398"/>
                      <a:pt x="174" y="403"/>
                      <a:pt x="179" y="403"/>
                    </a:cubicBezTo>
                    <a:cubicBezTo>
                      <a:pt x="180" y="403"/>
                      <a:pt x="181" y="402"/>
                      <a:pt x="182" y="402"/>
                    </a:cubicBezTo>
                    <a:cubicBezTo>
                      <a:pt x="183" y="402"/>
                      <a:pt x="184" y="402"/>
                      <a:pt x="186" y="402"/>
                    </a:cubicBezTo>
                    <a:cubicBezTo>
                      <a:pt x="192" y="402"/>
                      <a:pt x="198" y="405"/>
                      <a:pt x="195" y="412"/>
                    </a:cubicBezTo>
                    <a:cubicBezTo>
                      <a:pt x="196" y="412"/>
                      <a:pt x="196" y="411"/>
                      <a:pt x="197" y="411"/>
                    </a:cubicBezTo>
                    <a:cubicBezTo>
                      <a:pt x="196" y="410"/>
                      <a:pt x="196" y="410"/>
                      <a:pt x="196" y="410"/>
                    </a:cubicBezTo>
                    <a:cubicBezTo>
                      <a:pt x="198" y="409"/>
                      <a:pt x="198" y="409"/>
                      <a:pt x="198" y="409"/>
                    </a:cubicBezTo>
                    <a:cubicBezTo>
                      <a:pt x="198" y="408"/>
                      <a:pt x="198" y="408"/>
                      <a:pt x="198" y="408"/>
                    </a:cubicBezTo>
                    <a:cubicBezTo>
                      <a:pt x="198" y="408"/>
                      <a:pt x="198" y="408"/>
                      <a:pt x="198" y="408"/>
                    </a:cubicBezTo>
                    <a:cubicBezTo>
                      <a:pt x="207" y="402"/>
                      <a:pt x="207" y="402"/>
                      <a:pt x="207" y="402"/>
                    </a:cubicBezTo>
                    <a:cubicBezTo>
                      <a:pt x="208" y="402"/>
                      <a:pt x="208" y="402"/>
                      <a:pt x="208" y="402"/>
                    </a:cubicBezTo>
                    <a:cubicBezTo>
                      <a:pt x="209" y="402"/>
                      <a:pt x="210" y="402"/>
                      <a:pt x="210" y="402"/>
                    </a:cubicBezTo>
                    <a:cubicBezTo>
                      <a:pt x="212" y="402"/>
                      <a:pt x="212" y="402"/>
                      <a:pt x="212" y="402"/>
                    </a:cubicBezTo>
                    <a:cubicBezTo>
                      <a:pt x="212" y="401"/>
                      <a:pt x="212" y="400"/>
                      <a:pt x="212" y="398"/>
                    </a:cubicBezTo>
                    <a:cubicBezTo>
                      <a:pt x="212" y="396"/>
                      <a:pt x="212" y="395"/>
                      <a:pt x="212" y="394"/>
                    </a:cubicBezTo>
                    <a:cubicBezTo>
                      <a:pt x="212" y="391"/>
                      <a:pt x="212" y="391"/>
                      <a:pt x="212" y="391"/>
                    </a:cubicBezTo>
                    <a:cubicBezTo>
                      <a:pt x="216" y="391"/>
                      <a:pt x="216" y="391"/>
                      <a:pt x="216" y="391"/>
                    </a:cubicBezTo>
                    <a:cubicBezTo>
                      <a:pt x="221" y="392"/>
                      <a:pt x="227" y="392"/>
                      <a:pt x="232" y="393"/>
                    </a:cubicBezTo>
                    <a:cubicBezTo>
                      <a:pt x="233" y="388"/>
                      <a:pt x="233" y="388"/>
                      <a:pt x="233" y="388"/>
                    </a:cubicBezTo>
                    <a:cubicBezTo>
                      <a:pt x="234" y="393"/>
                      <a:pt x="234" y="393"/>
                      <a:pt x="234" y="393"/>
                    </a:cubicBezTo>
                    <a:cubicBezTo>
                      <a:pt x="242" y="395"/>
                      <a:pt x="242" y="395"/>
                      <a:pt x="242" y="395"/>
                    </a:cubicBezTo>
                    <a:cubicBezTo>
                      <a:pt x="243" y="395"/>
                      <a:pt x="244" y="395"/>
                      <a:pt x="245" y="395"/>
                    </a:cubicBezTo>
                    <a:cubicBezTo>
                      <a:pt x="246" y="395"/>
                      <a:pt x="247" y="395"/>
                      <a:pt x="248" y="396"/>
                    </a:cubicBezTo>
                    <a:cubicBezTo>
                      <a:pt x="248" y="396"/>
                      <a:pt x="249" y="396"/>
                      <a:pt x="249" y="396"/>
                    </a:cubicBezTo>
                    <a:cubicBezTo>
                      <a:pt x="249" y="396"/>
                      <a:pt x="250" y="396"/>
                      <a:pt x="250" y="396"/>
                    </a:cubicBezTo>
                    <a:cubicBezTo>
                      <a:pt x="250" y="395"/>
                      <a:pt x="250" y="395"/>
                      <a:pt x="250" y="395"/>
                    </a:cubicBezTo>
                    <a:cubicBezTo>
                      <a:pt x="250" y="395"/>
                      <a:pt x="251" y="394"/>
                      <a:pt x="251" y="393"/>
                    </a:cubicBezTo>
                    <a:cubicBezTo>
                      <a:pt x="254" y="391"/>
                      <a:pt x="257" y="390"/>
                      <a:pt x="261" y="390"/>
                    </a:cubicBezTo>
                    <a:cubicBezTo>
                      <a:pt x="261" y="389"/>
                      <a:pt x="261" y="389"/>
                      <a:pt x="261" y="389"/>
                    </a:cubicBezTo>
                    <a:cubicBezTo>
                      <a:pt x="262" y="389"/>
                      <a:pt x="262" y="389"/>
                      <a:pt x="263" y="389"/>
                    </a:cubicBezTo>
                    <a:cubicBezTo>
                      <a:pt x="264" y="389"/>
                      <a:pt x="264" y="389"/>
                      <a:pt x="264" y="389"/>
                    </a:cubicBezTo>
                    <a:cubicBezTo>
                      <a:pt x="265" y="388"/>
                      <a:pt x="266" y="388"/>
                      <a:pt x="267" y="388"/>
                    </a:cubicBezTo>
                    <a:cubicBezTo>
                      <a:pt x="268" y="388"/>
                      <a:pt x="269" y="388"/>
                      <a:pt x="270" y="390"/>
                    </a:cubicBezTo>
                    <a:cubicBezTo>
                      <a:pt x="271" y="390"/>
                      <a:pt x="271" y="391"/>
                      <a:pt x="271" y="392"/>
                    </a:cubicBezTo>
                    <a:cubicBezTo>
                      <a:pt x="271" y="392"/>
                      <a:pt x="272" y="393"/>
                      <a:pt x="272" y="393"/>
                    </a:cubicBezTo>
                    <a:cubicBezTo>
                      <a:pt x="273" y="392"/>
                      <a:pt x="273" y="392"/>
                      <a:pt x="273" y="392"/>
                    </a:cubicBezTo>
                    <a:cubicBezTo>
                      <a:pt x="274" y="392"/>
                      <a:pt x="274" y="392"/>
                      <a:pt x="274" y="392"/>
                    </a:cubicBezTo>
                    <a:cubicBezTo>
                      <a:pt x="274" y="391"/>
                      <a:pt x="275" y="391"/>
                      <a:pt x="276" y="391"/>
                    </a:cubicBezTo>
                    <a:cubicBezTo>
                      <a:pt x="275" y="390"/>
                      <a:pt x="275" y="389"/>
                      <a:pt x="275" y="387"/>
                    </a:cubicBezTo>
                    <a:cubicBezTo>
                      <a:pt x="275" y="387"/>
                      <a:pt x="276" y="386"/>
                      <a:pt x="276" y="386"/>
                    </a:cubicBezTo>
                    <a:cubicBezTo>
                      <a:pt x="276" y="385"/>
                      <a:pt x="277" y="384"/>
                      <a:pt x="277" y="383"/>
                    </a:cubicBezTo>
                    <a:cubicBezTo>
                      <a:pt x="277" y="383"/>
                      <a:pt x="277" y="382"/>
                      <a:pt x="277" y="382"/>
                    </a:cubicBezTo>
                    <a:cubicBezTo>
                      <a:pt x="272" y="372"/>
                      <a:pt x="272" y="372"/>
                      <a:pt x="272" y="372"/>
                    </a:cubicBezTo>
                    <a:cubicBezTo>
                      <a:pt x="272" y="371"/>
                      <a:pt x="271" y="370"/>
                      <a:pt x="271" y="369"/>
                    </a:cubicBezTo>
                    <a:cubicBezTo>
                      <a:pt x="266" y="371"/>
                      <a:pt x="266" y="371"/>
                      <a:pt x="266" y="371"/>
                    </a:cubicBezTo>
                    <a:cubicBezTo>
                      <a:pt x="270" y="368"/>
                      <a:pt x="270" y="368"/>
                      <a:pt x="270" y="368"/>
                    </a:cubicBezTo>
                    <a:cubicBezTo>
                      <a:pt x="270" y="367"/>
                      <a:pt x="270" y="367"/>
                      <a:pt x="270" y="367"/>
                    </a:cubicBezTo>
                    <a:cubicBezTo>
                      <a:pt x="269" y="366"/>
                      <a:pt x="269" y="365"/>
                      <a:pt x="269" y="365"/>
                    </a:cubicBezTo>
                    <a:cubicBezTo>
                      <a:pt x="268" y="362"/>
                      <a:pt x="268" y="360"/>
                      <a:pt x="267" y="358"/>
                    </a:cubicBezTo>
                    <a:cubicBezTo>
                      <a:pt x="267" y="358"/>
                      <a:pt x="267" y="357"/>
                      <a:pt x="267" y="357"/>
                    </a:cubicBezTo>
                    <a:cubicBezTo>
                      <a:pt x="266" y="357"/>
                      <a:pt x="266" y="357"/>
                      <a:pt x="265" y="357"/>
                    </a:cubicBezTo>
                    <a:cubicBezTo>
                      <a:pt x="264" y="357"/>
                      <a:pt x="264" y="357"/>
                      <a:pt x="264" y="357"/>
                    </a:cubicBezTo>
                    <a:cubicBezTo>
                      <a:pt x="263" y="357"/>
                      <a:pt x="262" y="357"/>
                      <a:pt x="261" y="357"/>
                    </a:cubicBezTo>
                    <a:cubicBezTo>
                      <a:pt x="261" y="357"/>
                      <a:pt x="261" y="357"/>
                      <a:pt x="261" y="357"/>
                    </a:cubicBezTo>
                    <a:cubicBezTo>
                      <a:pt x="260" y="357"/>
                      <a:pt x="260" y="356"/>
                      <a:pt x="259" y="356"/>
                    </a:cubicBezTo>
                    <a:cubicBezTo>
                      <a:pt x="259" y="356"/>
                      <a:pt x="259" y="356"/>
                      <a:pt x="259" y="356"/>
                    </a:cubicBezTo>
                    <a:cubicBezTo>
                      <a:pt x="258" y="356"/>
                      <a:pt x="258" y="356"/>
                      <a:pt x="258" y="356"/>
                    </a:cubicBezTo>
                    <a:cubicBezTo>
                      <a:pt x="258" y="355"/>
                      <a:pt x="258" y="355"/>
                      <a:pt x="258" y="355"/>
                    </a:cubicBezTo>
                    <a:cubicBezTo>
                      <a:pt x="257" y="355"/>
                      <a:pt x="257" y="355"/>
                      <a:pt x="256" y="354"/>
                    </a:cubicBezTo>
                    <a:cubicBezTo>
                      <a:pt x="254" y="352"/>
                      <a:pt x="253" y="349"/>
                      <a:pt x="252" y="346"/>
                    </a:cubicBezTo>
                    <a:cubicBezTo>
                      <a:pt x="252" y="345"/>
                      <a:pt x="252" y="344"/>
                      <a:pt x="252" y="343"/>
                    </a:cubicBezTo>
                    <a:cubicBezTo>
                      <a:pt x="251" y="340"/>
                      <a:pt x="251" y="337"/>
                      <a:pt x="252" y="334"/>
                    </a:cubicBezTo>
                    <a:cubicBezTo>
                      <a:pt x="252" y="334"/>
                      <a:pt x="252" y="334"/>
                      <a:pt x="252" y="334"/>
                    </a:cubicBezTo>
                    <a:cubicBezTo>
                      <a:pt x="252" y="332"/>
                      <a:pt x="252" y="331"/>
                      <a:pt x="252" y="330"/>
                    </a:cubicBezTo>
                    <a:cubicBezTo>
                      <a:pt x="252" y="330"/>
                      <a:pt x="252" y="330"/>
                      <a:pt x="252" y="330"/>
                    </a:cubicBezTo>
                    <a:cubicBezTo>
                      <a:pt x="252" y="330"/>
                      <a:pt x="252" y="330"/>
                      <a:pt x="251" y="330"/>
                    </a:cubicBezTo>
                    <a:cubicBezTo>
                      <a:pt x="251" y="329"/>
                      <a:pt x="251" y="329"/>
                      <a:pt x="251" y="329"/>
                    </a:cubicBezTo>
                    <a:cubicBezTo>
                      <a:pt x="249" y="329"/>
                      <a:pt x="247" y="329"/>
                      <a:pt x="245" y="329"/>
                    </a:cubicBezTo>
                    <a:cubicBezTo>
                      <a:pt x="244" y="334"/>
                      <a:pt x="244" y="334"/>
                      <a:pt x="244" y="334"/>
                    </a:cubicBezTo>
                    <a:cubicBezTo>
                      <a:pt x="244" y="328"/>
                      <a:pt x="244" y="328"/>
                      <a:pt x="244" y="328"/>
                    </a:cubicBezTo>
                    <a:cubicBezTo>
                      <a:pt x="243" y="328"/>
                      <a:pt x="243" y="328"/>
                      <a:pt x="243" y="328"/>
                    </a:cubicBezTo>
                    <a:cubicBezTo>
                      <a:pt x="239" y="327"/>
                      <a:pt x="236" y="326"/>
                      <a:pt x="234" y="324"/>
                    </a:cubicBezTo>
                    <a:cubicBezTo>
                      <a:pt x="234" y="322"/>
                      <a:pt x="233" y="321"/>
                      <a:pt x="233" y="320"/>
                    </a:cubicBezTo>
                    <a:cubicBezTo>
                      <a:pt x="232" y="316"/>
                      <a:pt x="233" y="312"/>
                      <a:pt x="236" y="306"/>
                    </a:cubicBezTo>
                    <a:cubicBezTo>
                      <a:pt x="239" y="302"/>
                      <a:pt x="242" y="298"/>
                      <a:pt x="245" y="295"/>
                    </a:cubicBezTo>
                    <a:cubicBezTo>
                      <a:pt x="246" y="294"/>
                      <a:pt x="246" y="294"/>
                      <a:pt x="246" y="294"/>
                    </a:cubicBezTo>
                    <a:cubicBezTo>
                      <a:pt x="247" y="292"/>
                      <a:pt x="248" y="291"/>
                      <a:pt x="249" y="290"/>
                    </a:cubicBezTo>
                    <a:cubicBezTo>
                      <a:pt x="250" y="290"/>
                      <a:pt x="250" y="289"/>
                      <a:pt x="251" y="288"/>
                    </a:cubicBezTo>
                    <a:cubicBezTo>
                      <a:pt x="251" y="287"/>
                      <a:pt x="251" y="287"/>
                      <a:pt x="251" y="287"/>
                    </a:cubicBezTo>
                    <a:cubicBezTo>
                      <a:pt x="252" y="287"/>
                      <a:pt x="252" y="286"/>
                      <a:pt x="253" y="286"/>
                    </a:cubicBezTo>
                    <a:cubicBezTo>
                      <a:pt x="255" y="283"/>
                      <a:pt x="255" y="283"/>
                      <a:pt x="255" y="283"/>
                    </a:cubicBezTo>
                    <a:cubicBezTo>
                      <a:pt x="255" y="283"/>
                      <a:pt x="256" y="283"/>
                      <a:pt x="256" y="282"/>
                    </a:cubicBezTo>
                    <a:cubicBezTo>
                      <a:pt x="256" y="282"/>
                      <a:pt x="256" y="282"/>
                      <a:pt x="256" y="282"/>
                    </a:cubicBezTo>
                    <a:cubicBezTo>
                      <a:pt x="253" y="278"/>
                      <a:pt x="253" y="278"/>
                      <a:pt x="253" y="278"/>
                    </a:cubicBezTo>
                    <a:cubicBezTo>
                      <a:pt x="258" y="281"/>
                      <a:pt x="258" y="281"/>
                      <a:pt x="258" y="281"/>
                    </a:cubicBezTo>
                    <a:cubicBezTo>
                      <a:pt x="258" y="281"/>
                      <a:pt x="258" y="281"/>
                      <a:pt x="258" y="281"/>
                    </a:cubicBezTo>
                    <a:cubicBezTo>
                      <a:pt x="259" y="280"/>
                      <a:pt x="260" y="280"/>
                      <a:pt x="260" y="279"/>
                    </a:cubicBezTo>
                    <a:cubicBezTo>
                      <a:pt x="261" y="279"/>
                      <a:pt x="261" y="279"/>
                      <a:pt x="261" y="279"/>
                    </a:cubicBezTo>
                    <a:cubicBezTo>
                      <a:pt x="262" y="279"/>
                      <a:pt x="263" y="278"/>
                      <a:pt x="264" y="278"/>
                    </a:cubicBezTo>
                    <a:cubicBezTo>
                      <a:pt x="264" y="275"/>
                      <a:pt x="264" y="275"/>
                      <a:pt x="264" y="275"/>
                    </a:cubicBezTo>
                    <a:cubicBezTo>
                      <a:pt x="265" y="278"/>
                      <a:pt x="265" y="278"/>
                      <a:pt x="265" y="278"/>
                    </a:cubicBezTo>
                    <a:cubicBezTo>
                      <a:pt x="265" y="278"/>
                      <a:pt x="266" y="278"/>
                      <a:pt x="266" y="279"/>
                    </a:cubicBezTo>
                    <a:cubicBezTo>
                      <a:pt x="267" y="279"/>
                      <a:pt x="267" y="279"/>
                      <a:pt x="268" y="279"/>
                    </a:cubicBezTo>
                    <a:cubicBezTo>
                      <a:pt x="268" y="279"/>
                      <a:pt x="269" y="280"/>
                      <a:pt x="269" y="280"/>
                    </a:cubicBezTo>
                    <a:cubicBezTo>
                      <a:pt x="270" y="281"/>
                      <a:pt x="270" y="281"/>
                      <a:pt x="271" y="281"/>
                    </a:cubicBezTo>
                    <a:cubicBezTo>
                      <a:pt x="272" y="283"/>
                      <a:pt x="273" y="284"/>
                      <a:pt x="273" y="285"/>
                    </a:cubicBezTo>
                    <a:cubicBezTo>
                      <a:pt x="273" y="285"/>
                      <a:pt x="273" y="285"/>
                      <a:pt x="273" y="285"/>
                    </a:cubicBezTo>
                    <a:cubicBezTo>
                      <a:pt x="274" y="286"/>
                      <a:pt x="274" y="287"/>
                      <a:pt x="275" y="287"/>
                    </a:cubicBezTo>
                    <a:cubicBezTo>
                      <a:pt x="275" y="288"/>
                      <a:pt x="275" y="288"/>
                      <a:pt x="276" y="288"/>
                    </a:cubicBezTo>
                    <a:cubicBezTo>
                      <a:pt x="276" y="288"/>
                      <a:pt x="276" y="288"/>
                      <a:pt x="277" y="288"/>
                    </a:cubicBezTo>
                    <a:cubicBezTo>
                      <a:pt x="277" y="287"/>
                      <a:pt x="277" y="287"/>
                      <a:pt x="277" y="287"/>
                    </a:cubicBezTo>
                    <a:cubicBezTo>
                      <a:pt x="280" y="286"/>
                      <a:pt x="282" y="285"/>
                      <a:pt x="285" y="285"/>
                    </a:cubicBezTo>
                    <a:cubicBezTo>
                      <a:pt x="285" y="285"/>
                      <a:pt x="285" y="285"/>
                      <a:pt x="285" y="285"/>
                    </a:cubicBezTo>
                    <a:cubicBezTo>
                      <a:pt x="285" y="279"/>
                      <a:pt x="285" y="279"/>
                      <a:pt x="285" y="279"/>
                    </a:cubicBezTo>
                    <a:cubicBezTo>
                      <a:pt x="287" y="284"/>
                      <a:pt x="287" y="284"/>
                      <a:pt x="287" y="284"/>
                    </a:cubicBezTo>
                    <a:cubicBezTo>
                      <a:pt x="288" y="284"/>
                      <a:pt x="288" y="284"/>
                      <a:pt x="288" y="284"/>
                    </a:cubicBezTo>
                    <a:cubicBezTo>
                      <a:pt x="289" y="284"/>
                      <a:pt x="289" y="284"/>
                      <a:pt x="290" y="284"/>
                    </a:cubicBezTo>
                    <a:cubicBezTo>
                      <a:pt x="291" y="284"/>
                      <a:pt x="291" y="284"/>
                      <a:pt x="291" y="284"/>
                    </a:cubicBezTo>
                    <a:cubicBezTo>
                      <a:pt x="293" y="284"/>
                      <a:pt x="296" y="283"/>
                      <a:pt x="298" y="283"/>
                    </a:cubicBezTo>
                    <a:cubicBezTo>
                      <a:pt x="298" y="283"/>
                      <a:pt x="298" y="283"/>
                      <a:pt x="298" y="283"/>
                    </a:cubicBezTo>
                    <a:cubicBezTo>
                      <a:pt x="315" y="260"/>
                      <a:pt x="315" y="260"/>
                      <a:pt x="315" y="260"/>
                    </a:cubicBezTo>
                    <a:cubicBezTo>
                      <a:pt x="316" y="259"/>
                      <a:pt x="316" y="259"/>
                      <a:pt x="316" y="259"/>
                    </a:cubicBezTo>
                    <a:cubicBezTo>
                      <a:pt x="318" y="256"/>
                      <a:pt x="320" y="254"/>
                      <a:pt x="323" y="252"/>
                    </a:cubicBezTo>
                    <a:cubicBezTo>
                      <a:pt x="324" y="252"/>
                      <a:pt x="325" y="251"/>
                      <a:pt x="327" y="251"/>
                    </a:cubicBezTo>
                    <a:cubicBezTo>
                      <a:pt x="331" y="249"/>
                      <a:pt x="332" y="248"/>
                      <a:pt x="334" y="244"/>
                    </a:cubicBezTo>
                    <a:cubicBezTo>
                      <a:pt x="335" y="243"/>
                      <a:pt x="336" y="242"/>
                      <a:pt x="336" y="240"/>
                    </a:cubicBezTo>
                    <a:cubicBezTo>
                      <a:pt x="337" y="240"/>
                      <a:pt x="337" y="240"/>
                      <a:pt x="337" y="240"/>
                    </a:cubicBezTo>
                    <a:cubicBezTo>
                      <a:pt x="338" y="238"/>
                      <a:pt x="339" y="236"/>
                      <a:pt x="340" y="235"/>
                    </a:cubicBezTo>
                    <a:cubicBezTo>
                      <a:pt x="340" y="234"/>
                      <a:pt x="340" y="233"/>
                      <a:pt x="340" y="232"/>
                    </a:cubicBezTo>
                    <a:cubicBezTo>
                      <a:pt x="340" y="232"/>
                      <a:pt x="340" y="232"/>
                      <a:pt x="340" y="232"/>
                    </a:cubicBezTo>
                    <a:cubicBezTo>
                      <a:pt x="341" y="231"/>
                      <a:pt x="341" y="231"/>
                      <a:pt x="341" y="230"/>
                    </a:cubicBezTo>
                    <a:cubicBezTo>
                      <a:pt x="342" y="227"/>
                      <a:pt x="343" y="224"/>
                      <a:pt x="344" y="221"/>
                    </a:cubicBezTo>
                    <a:cubicBezTo>
                      <a:pt x="346" y="220"/>
                      <a:pt x="347" y="219"/>
                      <a:pt x="348" y="218"/>
                    </a:cubicBezTo>
                    <a:cubicBezTo>
                      <a:pt x="350" y="217"/>
                      <a:pt x="353" y="216"/>
                      <a:pt x="356" y="215"/>
                    </a:cubicBezTo>
                    <a:cubicBezTo>
                      <a:pt x="357" y="214"/>
                      <a:pt x="358" y="214"/>
                      <a:pt x="358" y="213"/>
                    </a:cubicBezTo>
                    <a:cubicBezTo>
                      <a:pt x="358" y="213"/>
                      <a:pt x="358" y="213"/>
                      <a:pt x="358" y="213"/>
                    </a:cubicBezTo>
                    <a:cubicBezTo>
                      <a:pt x="356" y="210"/>
                      <a:pt x="357" y="208"/>
                      <a:pt x="358" y="207"/>
                    </a:cubicBezTo>
                    <a:cubicBezTo>
                      <a:pt x="358" y="206"/>
                      <a:pt x="358" y="206"/>
                      <a:pt x="358" y="206"/>
                    </a:cubicBezTo>
                    <a:cubicBezTo>
                      <a:pt x="359" y="205"/>
                      <a:pt x="360" y="204"/>
                      <a:pt x="360" y="204"/>
                    </a:cubicBezTo>
                    <a:cubicBezTo>
                      <a:pt x="362" y="202"/>
                      <a:pt x="363" y="200"/>
                      <a:pt x="365" y="198"/>
                    </a:cubicBezTo>
                    <a:cubicBezTo>
                      <a:pt x="366" y="198"/>
                      <a:pt x="367" y="196"/>
                      <a:pt x="370" y="195"/>
                    </a:cubicBezTo>
                    <a:cubicBezTo>
                      <a:pt x="371" y="194"/>
                      <a:pt x="371" y="194"/>
                      <a:pt x="371" y="194"/>
                    </a:cubicBezTo>
                    <a:cubicBezTo>
                      <a:pt x="373" y="193"/>
                      <a:pt x="375" y="191"/>
                      <a:pt x="377" y="190"/>
                    </a:cubicBezTo>
                    <a:cubicBezTo>
                      <a:pt x="378" y="189"/>
                      <a:pt x="378" y="188"/>
                      <a:pt x="378" y="188"/>
                    </a:cubicBezTo>
                    <a:cubicBezTo>
                      <a:pt x="378" y="187"/>
                      <a:pt x="378" y="186"/>
                      <a:pt x="378" y="185"/>
                    </a:cubicBezTo>
                    <a:cubicBezTo>
                      <a:pt x="377" y="178"/>
                      <a:pt x="377" y="178"/>
                      <a:pt x="377" y="178"/>
                    </a:cubicBezTo>
                    <a:cubicBezTo>
                      <a:pt x="377" y="177"/>
                      <a:pt x="376" y="175"/>
                      <a:pt x="376" y="173"/>
                    </a:cubicBezTo>
                    <a:cubicBezTo>
                      <a:pt x="376" y="170"/>
                      <a:pt x="376" y="170"/>
                      <a:pt x="376" y="170"/>
                    </a:cubicBezTo>
                    <a:cubicBezTo>
                      <a:pt x="372" y="171"/>
                      <a:pt x="372" y="171"/>
                      <a:pt x="372" y="171"/>
                    </a:cubicBezTo>
                    <a:cubicBezTo>
                      <a:pt x="376" y="168"/>
                      <a:pt x="376" y="168"/>
                      <a:pt x="376" y="168"/>
                    </a:cubicBezTo>
                    <a:cubicBezTo>
                      <a:pt x="375" y="167"/>
                      <a:pt x="375" y="167"/>
                      <a:pt x="375" y="167"/>
                    </a:cubicBezTo>
                    <a:cubicBezTo>
                      <a:pt x="375" y="167"/>
                      <a:pt x="376" y="166"/>
                      <a:pt x="376" y="165"/>
                    </a:cubicBezTo>
                    <a:cubicBezTo>
                      <a:pt x="376" y="163"/>
                      <a:pt x="378" y="161"/>
                      <a:pt x="381" y="159"/>
                    </a:cubicBezTo>
                    <a:cubicBezTo>
                      <a:pt x="382" y="158"/>
                      <a:pt x="383" y="157"/>
                      <a:pt x="384" y="157"/>
                    </a:cubicBezTo>
                    <a:cubicBezTo>
                      <a:pt x="384" y="157"/>
                      <a:pt x="384" y="157"/>
                      <a:pt x="384" y="157"/>
                    </a:cubicBezTo>
                    <a:cubicBezTo>
                      <a:pt x="385" y="157"/>
                      <a:pt x="385" y="157"/>
                      <a:pt x="386" y="157"/>
                    </a:cubicBezTo>
                    <a:cubicBezTo>
                      <a:pt x="386" y="156"/>
                      <a:pt x="386" y="156"/>
                      <a:pt x="387" y="156"/>
                    </a:cubicBezTo>
                    <a:cubicBezTo>
                      <a:pt x="388" y="156"/>
                      <a:pt x="389" y="155"/>
                      <a:pt x="390" y="155"/>
                    </a:cubicBezTo>
                    <a:cubicBezTo>
                      <a:pt x="391" y="155"/>
                      <a:pt x="392" y="154"/>
                      <a:pt x="392" y="154"/>
                    </a:cubicBezTo>
                    <a:cubicBezTo>
                      <a:pt x="394" y="153"/>
                      <a:pt x="394" y="153"/>
                      <a:pt x="394" y="153"/>
                    </a:cubicBezTo>
                    <a:cubicBezTo>
                      <a:pt x="396" y="153"/>
                      <a:pt x="398" y="152"/>
                      <a:pt x="398" y="151"/>
                    </a:cubicBezTo>
                    <a:cubicBezTo>
                      <a:pt x="399" y="150"/>
                      <a:pt x="398" y="149"/>
                      <a:pt x="398" y="149"/>
                    </a:cubicBezTo>
                    <a:cubicBezTo>
                      <a:pt x="397" y="149"/>
                      <a:pt x="397" y="149"/>
                      <a:pt x="397" y="149"/>
                    </a:cubicBezTo>
                    <a:cubicBezTo>
                      <a:pt x="397" y="149"/>
                      <a:pt x="397" y="149"/>
                      <a:pt x="397" y="149"/>
                    </a:cubicBezTo>
                    <a:cubicBezTo>
                      <a:pt x="396" y="149"/>
                      <a:pt x="396" y="149"/>
                      <a:pt x="396" y="148"/>
                    </a:cubicBezTo>
                    <a:cubicBezTo>
                      <a:pt x="395" y="148"/>
                      <a:pt x="394" y="148"/>
                      <a:pt x="392" y="148"/>
                    </a:cubicBezTo>
                    <a:cubicBezTo>
                      <a:pt x="392" y="148"/>
                      <a:pt x="392" y="148"/>
                      <a:pt x="392" y="148"/>
                    </a:cubicBezTo>
                    <a:cubicBezTo>
                      <a:pt x="391" y="148"/>
                      <a:pt x="390" y="148"/>
                      <a:pt x="390" y="147"/>
                    </a:cubicBezTo>
                    <a:cubicBezTo>
                      <a:pt x="386" y="147"/>
                      <a:pt x="384" y="146"/>
                      <a:pt x="382" y="144"/>
                    </a:cubicBezTo>
                    <a:cubicBezTo>
                      <a:pt x="382" y="144"/>
                      <a:pt x="381" y="143"/>
                      <a:pt x="381" y="143"/>
                    </a:cubicBezTo>
                    <a:cubicBezTo>
                      <a:pt x="380" y="141"/>
                      <a:pt x="380" y="140"/>
                      <a:pt x="380" y="137"/>
                    </a:cubicBezTo>
                    <a:cubicBezTo>
                      <a:pt x="379" y="138"/>
                      <a:pt x="378" y="138"/>
                      <a:pt x="377" y="138"/>
                    </a:cubicBezTo>
                    <a:cubicBezTo>
                      <a:pt x="375" y="138"/>
                      <a:pt x="372" y="137"/>
                      <a:pt x="371" y="134"/>
                    </a:cubicBezTo>
                    <a:cubicBezTo>
                      <a:pt x="370" y="133"/>
                      <a:pt x="370" y="133"/>
                      <a:pt x="370" y="133"/>
                    </a:cubicBezTo>
                    <a:cubicBezTo>
                      <a:pt x="369" y="132"/>
                      <a:pt x="369" y="132"/>
                      <a:pt x="368" y="131"/>
                    </a:cubicBezTo>
                    <a:cubicBezTo>
                      <a:pt x="367" y="129"/>
                      <a:pt x="367" y="129"/>
                      <a:pt x="367" y="129"/>
                    </a:cubicBezTo>
                    <a:cubicBezTo>
                      <a:pt x="365" y="127"/>
                      <a:pt x="364" y="125"/>
                      <a:pt x="363" y="123"/>
                    </a:cubicBezTo>
                    <a:cubicBezTo>
                      <a:pt x="355" y="125"/>
                      <a:pt x="355" y="125"/>
                      <a:pt x="355" y="125"/>
                    </a:cubicBezTo>
                    <a:cubicBezTo>
                      <a:pt x="362" y="121"/>
                      <a:pt x="362" y="121"/>
                      <a:pt x="362" y="121"/>
                    </a:cubicBezTo>
                    <a:cubicBezTo>
                      <a:pt x="362" y="121"/>
                      <a:pt x="362" y="121"/>
                      <a:pt x="362" y="121"/>
                    </a:cubicBezTo>
                    <a:cubicBezTo>
                      <a:pt x="362" y="120"/>
                      <a:pt x="362" y="119"/>
                      <a:pt x="363" y="118"/>
                    </a:cubicBezTo>
                    <a:cubicBezTo>
                      <a:pt x="363" y="117"/>
                      <a:pt x="364" y="116"/>
                      <a:pt x="364" y="115"/>
                    </a:cubicBezTo>
                    <a:cubicBezTo>
                      <a:pt x="366" y="112"/>
                      <a:pt x="366" y="111"/>
                      <a:pt x="365" y="110"/>
                    </a:cubicBezTo>
                    <a:cubicBezTo>
                      <a:pt x="365" y="110"/>
                      <a:pt x="365" y="110"/>
                      <a:pt x="365" y="110"/>
                    </a:cubicBezTo>
                    <a:cubicBezTo>
                      <a:pt x="364" y="108"/>
                      <a:pt x="363" y="108"/>
                      <a:pt x="362" y="107"/>
                    </a:cubicBezTo>
                    <a:cubicBezTo>
                      <a:pt x="362" y="106"/>
                      <a:pt x="361" y="105"/>
                      <a:pt x="361" y="104"/>
                    </a:cubicBezTo>
                    <a:cubicBezTo>
                      <a:pt x="361" y="103"/>
                      <a:pt x="361" y="103"/>
                      <a:pt x="361" y="103"/>
                    </a:cubicBezTo>
                    <a:cubicBezTo>
                      <a:pt x="361" y="103"/>
                      <a:pt x="361" y="103"/>
                      <a:pt x="361" y="103"/>
                    </a:cubicBezTo>
                    <a:cubicBezTo>
                      <a:pt x="361" y="102"/>
                      <a:pt x="362" y="102"/>
                      <a:pt x="362" y="101"/>
                    </a:cubicBezTo>
                    <a:cubicBezTo>
                      <a:pt x="362" y="101"/>
                      <a:pt x="362" y="101"/>
                      <a:pt x="362" y="101"/>
                    </a:cubicBezTo>
                    <a:cubicBezTo>
                      <a:pt x="362" y="100"/>
                      <a:pt x="364" y="98"/>
                      <a:pt x="365" y="97"/>
                    </a:cubicBezTo>
                    <a:cubicBezTo>
                      <a:pt x="365" y="97"/>
                      <a:pt x="365" y="97"/>
                      <a:pt x="365" y="97"/>
                    </a:cubicBezTo>
                    <a:cubicBezTo>
                      <a:pt x="364" y="97"/>
                      <a:pt x="364" y="97"/>
                      <a:pt x="364" y="97"/>
                    </a:cubicBezTo>
                    <a:cubicBezTo>
                      <a:pt x="363" y="97"/>
                      <a:pt x="362" y="97"/>
                      <a:pt x="361" y="96"/>
                    </a:cubicBezTo>
                    <a:cubicBezTo>
                      <a:pt x="358" y="96"/>
                      <a:pt x="358" y="96"/>
                      <a:pt x="358" y="96"/>
                    </a:cubicBezTo>
                    <a:cubicBezTo>
                      <a:pt x="359" y="92"/>
                      <a:pt x="359" y="92"/>
                      <a:pt x="359" y="92"/>
                    </a:cubicBezTo>
                    <a:cubicBezTo>
                      <a:pt x="359" y="92"/>
                      <a:pt x="359" y="91"/>
                      <a:pt x="359" y="91"/>
                    </a:cubicBezTo>
                    <a:cubicBezTo>
                      <a:pt x="359" y="90"/>
                      <a:pt x="359" y="90"/>
                      <a:pt x="359" y="90"/>
                    </a:cubicBezTo>
                    <a:cubicBezTo>
                      <a:pt x="360" y="89"/>
                      <a:pt x="360" y="89"/>
                      <a:pt x="360" y="88"/>
                    </a:cubicBezTo>
                    <a:cubicBezTo>
                      <a:pt x="359" y="88"/>
                      <a:pt x="359" y="88"/>
                      <a:pt x="358" y="88"/>
                    </a:cubicBezTo>
                    <a:cubicBezTo>
                      <a:pt x="358" y="87"/>
                      <a:pt x="358" y="87"/>
                      <a:pt x="358" y="87"/>
                    </a:cubicBezTo>
                    <a:cubicBezTo>
                      <a:pt x="356" y="86"/>
                      <a:pt x="355" y="85"/>
                      <a:pt x="355" y="83"/>
                    </a:cubicBezTo>
                    <a:cubicBezTo>
                      <a:pt x="355" y="82"/>
                      <a:pt x="356" y="80"/>
                      <a:pt x="356" y="79"/>
                    </a:cubicBezTo>
                    <a:cubicBezTo>
                      <a:pt x="357" y="77"/>
                      <a:pt x="358" y="75"/>
                      <a:pt x="359" y="74"/>
                    </a:cubicBezTo>
                    <a:cubicBezTo>
                      <a:pt x="359" y="73"/>
                      <a:pt x="359" y="73"/>
                      <a:pt x="360" y="72"/>
                    </a:cubicBezTo>
                    <a:cubicBezTo>
                      <a:pt x="362" y="71"/>
                      <a:pt x="363" y="70"/>
                      <a:pt x="365" y="70"/>
                    </a:cubicBezTo>
                    <a:cubicBezTo>
                      <a:pt x="368" y="69"/>
                      <a:pt x="372" y="69"/>
                      <a:pt x="376" y="69"/>
                    </a:cubicBezTo>
                    <a:cubicBezTo>
                      <a:pt x="377" y="69"/>
                      <a:pt x="377" y="69"/>
                      <a:pt x="377" y="69"/>
                    </a:cubicBezTo>
                    <a:cubicBezTo>
                      <a:pt x="378" y="69"/>
                      <a:pt x="380" y="69"/>
                      <a:pt x="381" y="68"/>
                    </a:cubicBezTo>
                    <a:cubicBezTo>
                      <a:pt x="381" y="68"/>
                      <a:pt x="382" y="68"/>
                      <a:pt x="383" y="68"/>
                    </a:cubicBezTo>
                    <a:cubicBezTo>
                      <a:pt x="386" y="68"/>
                      <a:pt x="388" y="69"/>
                      <a:pt x="391" y="69"/>
                    </a:cubicBezTo>
                    <a:cubicBezTo>
                      <a:pt x="392" y="70"/>
                      <a:pt x="392" y="70"/>
                      <a:pt x="392" y="70"/>
                    </a:cubicBezTo>
                    <a:cubicBezTo>
                      <a:pt x="393" y="70"/>
                      <a:pt x="394" y="70"/>
                      <a:pt x="395" y="70"/>
                    </a:cubicBezTo>
                    <a:cubicBezTo>
                      <a:pt x="399" y="71"/>
                      <a:pt x="399" y="71"/>
                      <a:pt x="399" y="71"/>
                    </a:cubicBezTo>
                    <a:cubicBezTo>
                      <a:pt x="401" y="71"/>
                      <a:pt x="403" y="72"/>
                      <a:pt x="405" y="73"/>
                    </a:cubicBezTo>
                    <a:cubicBezTo>
                      <a:pt x="405" y="73"/>
                      <a:pt x="406" y="73"/>
                      <a:pt x="406" y="73"/>
                    </a:cubicBezTo>
                    <a:cubicBezTo>
                      <a:pt x="407" y="74"/>
                      <a:pt x="407" y="74"/>
                      <a:pt x="408" y="74"/>
                    </a:cubicBezTo>
                    <a:cubicBezTo>
                      <a:pt x="410" y="74"/>
                      <a:pt x="410" y="74"/>
                      <a:pt x="410" y="74"/>
                    </a:cubicBezTo>
                    <a:cubicBezTo>
                      <a:pt x="411" y="75"/>
                      <a:pt x="412" y="75"/>
                      <a:pt x="413" y="75"/>
                    </a:cubicBezTo>
                    <a:cubicBezTo>
                      <a:pt x="415" y="75"/>
                      <a:pt x="418" y="74"/>
                      <a:pt x="422" y="72"/>
                    </a:cubicBezTo>
                    <a:cubicBezTo>
                      <a:pt x="423" y="71"/>
                      <a:pt x="424" y="71"/>
                      <a:pt x="425" y="71"/>
                    </a:cubicBezTo>
                    <a:cubicBezTo>
                      <a:pt x="425" y="70"/>
                      <a:pt x="426" y="70"/>
                      <a:pt x="427" y="70"/>
                    </a:cubicBezTo>
                    <a:cubicBezTo>
                      <a:pt x="428" y="69"/>
                      <a:pt x="429" y="69"/>
                      <a:pt x="431" y="69"/>
                    </a:cubicBezTo>
                    <a:cubicBezTo>
                      <a:pt x="432" y="69"/>
                      <a:pt x="433" y="68"/>
                      <a:pt x="434" y="68"/>
                    </a:cubicBezTo>
                    <a:cubicBezTo>
                      <a:pt x="434" y="68"/>
                      <a:pt x="434" y="68"/>
                      <a:pt x="434" y="68"/>
                    </a:cubicBezTo>
                    <a:cubicBezTo>
                      <a:pt x="435" y="68"/>
                      <a:pt x="435" y="68"/>
                      <a:pt x="436" y="68"/>
                    </a:cubicBezTo>
                    <a:cubicBezTo>
                      <a:pt x="437" y="68"/>
                      <a:pt x="437" y="68"/>
                      <a:pt x="437" y="68"/>
                    </a:cubicBezTo>
                    <a:cubicBezTo>
                      <a:pt x="439" y="67"/>
                      <a:pt x="440" y="66"/>
                      <a:pt x="442" y="64"/>
                    </a:cubicBezTo>
                    <a:cubicBezTo>
                      <a:pt x="443" y="63"/>
                      <a:pt x="443" y="63"/>
                      <a:pt x="443" y="63"/>
                    </a:cubicBezTo>
                    <a:cubicBezTo>
                      <a:pt x="445" y="61"/>
                      <a:pt x="446" y="58"/>
                      <a:pt x="449" y="57"/>
                    </a:cubicBezTo>
                    <a:cubicBezTo>
                      <a:pt x="455" y="53"/>
                      <a:pt x="455" y="53"/>
                      <a:pt x="455" y="53"/>
                    </a:cubicBezTo>
                    <a:cubicBezTo>
                      <a:pt x="456" y="52"/>
                      <a:pt x="457" y="52"/>
                      <a:pt x="458" y="51"/>
                    </a:cubicBezTo>
                    <a:cubicBezTo>
                      <a:pt x="449" y="52"/>
                      <a:pt x="449" y="52"/>
                      <a:pt x="449" y="52"/>
                    </a:cubicBezTo>
                    <a:cubicBezTo>
                      <a:pt x="457" y="49"/>
                      <a:pt x="457" y="49"/>
                      <a:pt x="457" y="49"/>
                    </a:cubicBezTo>
                    <a:cubicBezTo>
                      <a:pt x="452" y="48"/>
                      <a:pt x="446" y="47"/>
                      <a:pt x="442" y="45"/>
                    </a:cubicBezTo>
                    <a:cubicBezTo>
                      <a:pt x="440" y="43"/>
                      <a:pt x="438" y="42"/>
                      <a:pt x="436" y="41"/>
                    </a:cubicBezTo>
                    <a:cubicBezTo>
                      <a:pt x="436" y="40"/>
                      <a:pt x="435" y="40"/>
                      <a:pt x="435" y="39"/>
                    </a:cubicBezTo>
                    <a:cubicBezTo>
                      <a:pt x="433" y="39"/>
                      <a:pt x="431" y="39"/>
                      <a:pt x="429" y="39"/>
                    </a:cubicBezTo>
                    <a:cubicBezTo>
                      <a:pt x="429" y="39"/>
                      <a:pt x="429" y="39"/>
                      <a:pt x="429" y="39"/>
                    </a:cubicBezTo>
                    <a:cubicBezTo>
                      <a:pt x="428" y="39"/>
                      <a:pt x="428" y="39"/>
                      <a:pt x="428" y="39"/>
                    </a:cubicBezTo>
                    <a:cubicBezTo>
                      <a:pt x="426" y="39"/>
                      <a:pt x="425" y="39"/>
                      <a:pt x="424" y="38"/>
                    </a:cubicBezTo>
                    <a:cubicBezTo>
                      <a:pt x="423" y="38"/>
                      <a:pt x="422" y="37"/>
                      <a:pt x="422" y="36"/>
                    </a:cubicBezTo>
                    <a:cubicBezTo>
                      <a:pt x="422" y="36"/>
                      <a:pt x="422" y="36"/>
                      <a:pt x="422" y="36"/>
                    </a:cubicBezTo>
                    <a:cubicBezTo>
                      <a:pt x="422" y="35"/>
                      <a:pt x="422" y="35"/>
                      <a:pt x="422" y="35"/>
                    </a:cubicBezTo>
                    <a:cubicBezTo>
                      <a:pt x="421" y="34"/>
                      <a:pt x="420" y="34"/>
                      <a:pt x="419" y="33"/>
                    </a:cubicBezTo>
                    <a:cubicBezTo>
                      <a:pt x="417" y="31"/>
                      <a:pt x="417" y="31"/>
                      <a:pt x="417" y="31"/>
                    </a:cubicBezTo>
                    <a:cubicBezTo>
                      <a:pt x="414" y="28"/>
                      <a:pt x="417" y="25"/>
                      <a:pt x="418" y="23"/>
                    </a:cubicBezTo>
                    <a:cubicBezTo>
                      <a:pt x="418" y="22"/>
                      <a:pt x="418" y="22"/>
                      <a:pt x="418" y="21"/>
                    </a:cubicBezTo>
                    <a:cubicBezTo>
                      <a:pt x="419" y="21"/>
                      <a:pt x="418" y="20"/>
                      <a:pt x="418" y="18"/>
                    </a:cubicBezTo>
                    <a:cubicBezTo>
                      <a:pt x="418" y="18"/>
                      <a:pt x="418" y="16"/>
                      <a:pt x="417" y="15"/>
                    </a:cubicBezTo>
                    <a:cubicBezTo>
                      <a:pt x="415" y="12"/>
                      <a:pt x="413" y="11"/>
                      <a:pt x="412" y="10"/>
                    </a:cubicBezTo>
                    <a:cubicBezTo>
                      <a:pt x="411" y="9"/>
                      <a:pt x="410" y="9"/>
                      <a:pt x="409" y="9"/>
                    </a:cubicBezTo>
                    <a:cubicBezTo>
                      <a:pt x="407" y="8"/>
                      <a:pt x="406" y="7"/>
                      <a:pt x="405" y="6"/>
                    </a:cubicBezTo>
                    <a:cubicBezTo>
                      <a:pt x="403" y="5"/>
                      <a:pt x="402" y="4"/>
                      <a:pt x="400" y="3"/>
                    </a:cubicBezTo>
                    <a:cubicBezTo>
                      <a:pt x="398" y="2"/>
                      <a:pt x="396" y="2"/>
                      <a:pt x="394" y="2"/>
                    </a:cubicBezTo>
                    <a:cubicBezTo>
                      <a:pt x="393" y="2"/>
                      <a:pt x="393" y="2"/>
                      <a:pt x="393" y="2"/>
                    </a:cubicBezTo>
                    <a:cubicBezTo>
                      <a:pt x="392" y="2"/>
                      <a:pt x="391" y="2"/>
                      <a:pt x="390" y="2"/>
                    </a:cubicBezTo>
                    <a:cubicBezTo>
                      <a:pt x="390" y="2"/>
                      <a:pt x="390" y="2"/>
                      <a:pt x="389" y="2"/>
                    </a:cubicBezTo>
                    <a:cubicBezTo>
                      <a:pt x="387" y="2"/>
                      <a:pt x="386" y="1"/>
                      <a:pt x="385" y="0"/>
                    </a:cubicBezTo>
                    <a:cubicBezTo>
                      <a:pt x="384" y="0"/>
                      <a:pt x="384" y="0"/>
                      <a:pt x="384" y="0"/>
                    </a:cubicBezTo>
                    <a:cubicBezTo>
                      <a:pt x="384" y="0"/>
                      <a:pt x="384" y="0"/>
                      <a:pt x="384" y="0"/>
                    </a:cubicBezTo>
                    <a:cubicBezTo>
                      <a:pt x="384" y="0"/>
                      <a:pt x="383" y="0"/>
                      <a:pt x="3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340"/>
              <p:cNvSpPr/>
              <p:nvPr/>
            </p:nvSpPr>
            <p:spPr bwMode="auto">
              <a:xfrm>
                <a:off x="10918998" y="5387640"/>
                <a:ext cx="154775" cy="44221"/>
              </a:xfrm>
              <a:custGeom>
                <a:gdLst>
                  <a:gd name="T0" fmla="*/ 19 w 49"/>
                  <a:gd name="T1" fmla="*/ 0 h 14"/>
                  <a:gd name="T2" fmla="*/ 16 w 49"/>
                  <a:gd name="T3" fmla="*/ 1 h 14"/>
                  <a:gd name="T4" fmla="*/ 14 w 49"/>
                  <a:gd name="T5" fmla="*/ 2 h 14"/>
                  <a:gd name="T6" fmla="*/ 2 w 49"/>
                  <a:gd name="T7" fmla="*/ 12 h 14"/>
                  <a:gd name="T8" fmla="*/ 0 w 49"/>
                  <a:gd name="T9" fmla="*/ 14 h 14"/>
                  <a:gd name="T10" fmla="*/ 1 w 49"/>
                  <a:gd name="T11" fmla="*/ 14 h 14"/>
                  <a:gd name="T12" fmla="*/ 7 w 49"/>
                  <a:gd name="T13" fmla="*/ 13 h 14"/>
                  <a:gd name="T14" fmla="*/ 19 w 49"/>
                  <a:gd name="T15" fmla="*/ 12 h 14"/>
                  <a:gd name="T16" fmla="*/ 21 w 49"/>
                  <a:gd name="T17" fmla="*/ 12 h 14"/>
                  <a:gd name="T18" fmla="*/ 26 w 49"/>
                  <a:gd name="T19" fmla="*/ 12 h 14"/>
                  <a:gd name="T20" fmla="*/ 27 w 49"/>
                  <a:gd name="T21" fmla="*/ 12 h 14"/>
                  <a:gd name="T22" fmla="*/ 29 w 49"/>
                  <a:gd name="T23" fmla="*/ 12 h 14"/>
                  <a:gd name="T24" fmla="*/ 31 w 49"/>
                  <a:gd name="T25" fmla="*/ 13 h 14"/>
                  <a:gd name="T26" fmla="*/ 32 w 49"/>
                  <a:gd name="T27" fmla="*/ 13 h 14"/>
                  <a:gd name="T28" fmla="*/ 34 w 49"/>
                  <a:gd name="T29" fmla="*/ 13 h 14"/>
                  <a:gd name="T30" fmla="*/ 38 w 49"/>
                  <a:gd name="T31" fmla="*/ 14 h 14"/>
                  <a:gd name="T32" fmla="*/ 38 w 49"/>
                  <a:gd name="T33" fmla="*/ 14 h 14"/>
                  <a:gd name="T34" fmla="*/ 39 w 49"/>
                  <a:gd name="T35" fmla="*/ 14 h 14"/>
                  <a:gd name="T36" fmla="*/ 46 w 49"/>
                  <a:gd name="T37" fmla="*/ 10 h 14"/>
                  <a:gd name="T38" fmla="*/ 44 w 49"/>
                  <a:gd name="T39" fmla="*/ 7 h 14"/>
                  <a:gd name="T40" fmla="*/ 46 w 49"/>
                  <a:gd name="T41" fmla="*/ 3 h 14"/>
                  <a:gd name="T42" fmla="*/ 49 w 49"/>
                  <a:gd name="T43" fmla="*/ 2 h 14"/>
                  <a:gd name="T44" fmla="*/ 49 w 49"/>
                  <a:gd name="T45" fmla="*/ 2 h 14"/>
                  <a:gd name="T46" fmla="*/ 47 w 49"/>
                  <a:gd name="T47" fmla="*/ 2 h 14"/>
                  <a:gd name="T48" fmla="*/ 46 w 49"/>
                  <a:gd name="T49" fmla="*/ 2 h 14"/>
                  <a:gd name="T50" fmla="*/ 45 w 49"/>
                  <a:gd name="T51" fmla="*/ 2 h 14"/>
                  <a:gd name="T52" fmla="*/ 44 w 49"/>
                  <a:gd name="T53" fmla="*/ 4 h 14"/>
                  <a:gd name="T54" fmla="*/ 43 w 49"/>
                  <a:gd name="T55" fmla="*/ 4 h 14"/>
                  <a:gd name="T56" fmla="*/ 42 w 49"/>
                  <a:gd name="T57" fmla="*/ 4 h 14"/>
                  <a:gd name="T58" fmla="*/ 41 w 49"/>
                  <a:gd name="T59" fmla="*/ 4 h 14"/>
                  <a:gd name="T60" fmla="*/ 35 w 49"/>
                  <a:gd name="T61" fmla="*/ 6 h 14"/>
                  <a:gd name="T62" fmla="*/ 32 w 49"/>
                  <a:gd name="T63" fmla="*/ 7 h 14"/>
                  <a:gd name="T64" fmla="*/ 28 w 49"/>
                  <a:gd name="T65" fmla="*/ 8 h 14"/>
                  <a:gd name="T66" fmla="*/ 26 w 49"/>
                  <a:gd name="T67" fmla="*/ 8 h 14"/>
                  <a:gd name="T68" fmla="*/ 25 w 49"/>
                  <a:gd name="T69" fmla="*/ 7 h 14"/>
                  <a:gd name="T70" fmla="*/ 24 w 49"/>
                  <a:gd name="T71" fmla="*/ 7 h 14"/>
                  <a:gd name="T72" fmla="*/ 22 w 49"/>
                  <a:gd name="T73" fmla="*/ 3 h 14"/>
                  <a:gd name="T74" fmla="*/ 23 w 49"/>
                  <a:gd name="T75" fmla="*/ 1 h 14"/>
                  <a:gd name="T76" fmla="*/ 19 w 49"/>
                  <a:gd name="T7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 h="14">
                    <a:moveTo>
                      <a:pt x="19" y="0"/>
                    </a:moveTo>
                    <a:cubicBezTo>
                      <a:pt x="18" y="0"/>
                      <a:pt x="17" y="1"/>
                      <a:pt x="16" y="1"/>
                    </a:cubicBezTo>
                    <a:cubicBezTo>
                      <a:pt x="16" y="1"/>
                      <a:pt x="15" y="1"/>
                      <a:pt x="14" y="2"/>
                    </a:cubicBezTo>
                    <a:cubicBezTo>
                      <a:pt x="10" y="4"/>
                      <a:pt x="6" y="8"/>
                      <a:pt x="2" y="12"/>
                    </a:cubicBezTo>
                    <a:cubicBezTo>
                      <a:pt x="2" y="13"/>
                      <a:pt x="1" y="13"/>
                      <a:pt x="0" y="14"/>
                    </a:cubicBezTo>
                    <a:cubicBezTo>
                      <a:pt x="0" y="14"/>
                      <a:pt x="1" y="14"/>
                      <a:pt x="1" y="14"/>
                    </a:cubicBezTo>
                    <a:cubicBezTo>
                      <a:pt x="7" y="13"/>
                      <a:pt x="7" y="13"/>
                      <a:pt x="7" y="13"/>
                    </a:cubicBezTo>
                    <a:cubicBezTo>
                      <a:pt x="11" y="13"/>
                      <a:pt x="15" y="13"/>
                      <a:pt x="19" y="12"/>
                    </a:cubicBezTo>
                    <a:cubicBezTo>
                      <a:pt x="21" y="12"/>
                      <a:pt x="21" y="12"/>
                      <a:pt x="21" y="12"/>
                    </a:cubicBezTo>
                    <a:cubicBezTo>
                      <a:pt x="23" y="12"/>
                      <a:pt x="25" y="12"/>
                      <a:pt x="26" y="12"/>
                    </a:cubicBezTo>
                    <a:cubicBezTo>
                      <a:pt x="27" y="12"/>
                      <a:pt x="27" y="12"/>
                      <a:pt x="27" y="12"/>
                    </a:cubicBezTo>
                    <a:cubicBezTo>
                      <a:pt x="28" y="12"/>
                      <a:pt x="28" y="12"/>
                      <a:pt x="29" y="12"/>
                    </a:cubicBezTo>
                    <a:cubicBezTo>
                      <a:pt x="30" y="12"/>
                      <a:pt x="31" y="12"/>
                      <a:pt x="31" y="13"/>
                    </a:cubicBezTo>
                    <a:cubicBezTo>
                      <a:pt x="32" y="13"/>
                      <a:pt x="32" y="13"/>
                      <a:pt x="32" y="13"/>
                    </a:cubicBezTo>
                    <a:cubicBezTo>
                      <a:pt x="34" y="13"/>
                      <a:pt x="34" y="13"/>
                      <a:pt x="34" y="13"/>
                    </a:cubicBezTo>
                    <a:cubicBezTo>
                      <a:pt x="35" y="14"/>
                      <a:pt x="36" y="14"/>
                      <a:pt x="38" y="14"/>
                    </a:cubicBezTo>
                    <a:cubicBezTo>
                      <a:pt x="38" y="14"/>
                      <a:pt x="38" y="14"/>
                      <a:pt x="38" y="14"/>
                    </a:cubicBezTo>
                    <a:cubicBezTo>
                      <a:pt x="39" y="14"/>
                      <a:pt x="39" y="14"/>
                      <a:pt x="39" y="14"/>
                    </a:cubicBezTo>
                    <a:cubicBezTo>
                      <a:pt x="41" y="13"/>
                      <a:pt x="44" y="12"/>
                      <a:pt x="46" y="10"/>
                    </a:cubicBezTo>
                    <a:cubicBezTo>
                      <a:pt x="45" y="10"/>
                      <a:pt x="44" y="9"/>
                      <a:pt x="44" y="7"/>
                    </a:cubicBezTo>
                    <a:cubicBezTo>
                      <a:pt x="44" y="6"/>
                      <a:pt x="45" y="4"/>
                      <a:pt x="46" y="3"/>
                    </a:cubicBezTo>
                    <a:cubicBezTo>
                      <a:pt x="47" y="3"/>
                      <a:pt x="48" y="3"/>
                      <a:pt x="49" y="2"/>
                    </a:cubicBezTo>
                    <a:cubicBezTo>
                      <a:pt x="49" y="2"/>
                      <a:pt x="49" y="2"/>
                      <a:pt x="49" y="2"/>
                    </a:cubicBezTo>
                    <a:cubicBezTo>
                      <a:pt x="48" y="2"/>
                      <a:pt x="48" y="2"/>
                      <a:pt x="47" y="2"/>
                    </a:cubicBezTo>
                    <a:cubicBezTo>
                      <a:pt x="47" y="2"/>
                      <a:pt x="46" y="2"/>
                      <a:pt x="46" y="2"/>
                    </a:cubicBezTo>
                    <a:cubicBezTo>
                      <a:pt x="45" y="2"/>
                      <a:pt x="45" y="2"/>
                      <a:pt x="45" y="2"/>
                    </a:cubicBezTo>
                    <a:cubicBezTo>
                      <a:pt x="45" y="3"/>
                      <a:pt x="44" y="3"/>
                      <a:pt x="44" y="4"/>
                    </a:cubicBezTo>
                    <a:cubicBezTo>
                      <a:pt x="43" y="4"/>
                      <a:pt x="43" y="4"/>
                      <a:pt x="43" y="4"/>
                    </a:cubicBezTo>
                    <a:cubicBezTo>
                      <a:pt x="42" y="4"/>
                      <a:pt x="42" y="4"/>
                      <a:pt x="42" y="4"/>
                    </a:cubicBezTo>
                    <a:cubicBezTo>
                      <a:pt x="41" y="4"/>
                      <a:pt x="41" y="4"/>
                      <a:pt x="41" y="4"/>
                    </a:cubicBezTo>
                    <a:cubicBezTo>
                      <a:pt x="40" y="5"/>
                      <a:pt x="38" y="6"/>
                      <a:pt x="35" y="6"/>
                    </a:cubicBezTo>
                    <a:cubicBezTo>
                      <a:pt x="34" y="7"/>
                      <a:pt x="33" y="7"/>
                      <a:pt x="32" y="7"/>
                    </a:cubicBezTo>
                    <a:cubicBezTo>
                      <a:pt x="30" y="8"/>
                      <a:pt x="29" y="8"/>
                      <a:pt x="28" y="8"/>
                    </a:cubicBezTo>
                    <a:cubicBezTo>
                      <a:pt x="27" y="8"/>
                      <a:pt x="26" y="8"/>
                      <a:pt x="26" y="8"/>
                    </a:cubicBezTo>
                    <a:cubicBezTo>
                      <a:pt x="25" y="7"/>
                      <a:pt x="25" y="7"/>
                      <a:pt x="25" y="7"/>
                    </a:cubicBezTo>
                    <a:cubicBezTo>
                      <a:pt x="24" y="7"/>
                      <a:pt x="24" y="7"/>
                      <a:pt x="24" y="7"/>
                    </a:cubicBezTo>
                    <a:cubicBezTo>
                      <a:pt x="22" y="5"/>
                      <a:pt x="22" y="4"/>
                      <a:pt x="22" y="3"/>
                    </a:cubicBezTo>
                    <a:cubicBezTo>
                      <a:pt x="22" y="2"/>
                      <a:pt x="22" y="2"/>
                      <a:pt x="23" y="1"/>
                    </a:cubicBezTo>
                    <a:cubicBezTo>
                      <a:pt x="21" y="1"/>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341"/>
              <p:cNvSpPr/>
              <p:nvPr/>
            </p:nvSpPr>
            <p:spPr bwMode="auto">
              <a:xfrm>
                <a:off x="9824518" y="5284457"/>
                <a:ext cx="1050258" cy="899168"/>
              </a:xfrm>
              <a:custGeom>
                <a:gdLst>
                  <a:gd name="T0" fmla="*/ 279 w 331"/>
                  <a:gd name="T1" fmla="*/ 14 h 283"/>
                  <a:gd name="T2" fmla="*/ 276 w 331"/>
                  <a:gd name="T3" fmla="*/ 27 h 283"/>
                  <a:gd name="T4" fmla="*/ 269 w 331"/>
                  <a:gd name="T5" fmla="*/ 31 h 283"/>
                  <a:gd name="T6" fmla="*/ 255 w 331"/>
                  <a:gd name="T7" fmla="*/ 33 h 283"/>
                  <a:gd name="T8" fmla="*/ 251 w 331"/>
                  <a:gd name="T9" fmla="*/ 43 h 283"/>
                  <a:gd name="T10" fmla="*/ 236 w 331"/>
                  <a:gd name="T11" fmla="*/ 38 h 283"/>
                  <a:gd name="T12" fmla="*/ 223 w 331"/>
                  <a:gd name="T13" fmla="*/ 44 h 283"/>
                  <a:gd name="T14" fmla="*/ 211 w 331"/>
                  <a:gd name="T15" fmla="*/ 50 h 283"/>
                  <a:gd name="T16" fmla="*/ 200 w 331"/>
                  <a:gd name="T17" fmla="*/ 42 h 283"/>
                  <a:gd name="T18" fmla="*/ 190 w 331"/>
                  <a:gd name="T19" fmla="*/ 42 h 283"/>
                  <a:gd name="T20" fmla="*/ 172 w 331"/>
                  <a:gd name="T21" fmla="*/ 37 h 283"/>
                  <a:gd name="T22" fmla="*/ 166 w 331"/>
                  <a:gd name="T23" fmla="*/ 37 h 283"/>
                  <a:gd name="T24" fmla="*/ 152 w 331"/>
                  <a:gd name="T25" fmla="*/ 34 h 283"/>
                  <a:gd name="T26" fmla="*/ 134 w 331"/>
                  <a:gd name="T27" fmla="*/ 41 h 283"/>
                  <a:gd name="T28" fmla="*/ 112 w 331"/>
                  <a:gd name="T29" fmla="*/ 70 h 283"/>
                  <a:gd name="T30" fmla="*/ 77 w 331"/>
                  <a:gd name="T31" fmla="*/ 86 h 283"/>
                  <a:gd name="T32" fmla="*/ 66 w 331"/>
                  <a:gd name="T33" fmla="*/ 102 h 283"/>
                  <a:gd name="T34" fmla="*/ 49 w 331"/>
                  <a:gd name="T35" fmla="*/ 108 h 283"/>
                  <a:gd name="T36" fmla="*/ 39 w 331"/>
                  <a:gd name="T37" fmla="*/ 101 h 283"/>
                  <a:gd name="T38" fmla="*/ 25 w 331"/>
                  <a:gd name="T39" fmla="*/ 96 h 283"/>
                  <a:gd name="T40" fmla="*/ 16 w 331"/>
                  <a:gd name="T41" fmla="*/ 114 h 283"/>
                  <a:gd name="T42" fmla="*/ 12 w 331"/>
                  <a:gd name="T43" fmla="*/ 130 h 283"/>
                  <a:gd name="T44" fmla="*/ 3 w 331"/>
                  <a:gd name="T45" fmla="*/ 153 h 283"/>
                  <a:gd name="T46" fmla="*/ 12 w 331"/>
                  <a:gd name="T47" fmla="*/ 160 h 283"/>
                  <a:gd name="T48" fmla="*/ 9 w 331"/>
                  <a:gd name="T49" fmla="*/ 193 h 283"/>
                  <a:gd name="T50" fmla="*/ 9 w 331"/>
                  <a:gd name="T51" fmla="*/ 211 h 283"/>
                  <a:gd name="T52" fmla="*/ 11 w 331"/>
                  <a:gd name="T53" fmla="*/ 218 h 283"/>
                  <a:gd name="T54" fmla="*/ 35 w 331"/>
                  <a:gd name="T55" fmla="*/ 244 h 283"/>
                  <a:gd name="T56" fmla="*/ 57 w 331"/>
                  <a:gd name="T57" fmla="*/ 283 h 283"/>
                  <a:gd name="T58" fmla="*/ 71 w 331"/>
                  <a:gd name="T59" fmla="*/ 281 h 283"/>
                  <a:gd name="T60" fmla="*/ 88 w 331"/>
                  <a:gd name="T61" fmla="*/ 281 h 283"/>
                  <a:gd name="T62" fmla="*/ 98 w 331"/>
                  <a:gd name="T63" fmla="*/ 283 h 283"/>
                  <a:gd name="T64" fmla="*/ 136 w 331"/>
                  <a:gd name="T65" fmla="*/ 275 h 283"/>
                  <a:gd name="T66" fmla="*/ 158 w 331"/>
                  <a:gd name="T67" fmla="*/ 269 h 283"/>
                  <a:gd name="T68" fmla="*/ 160 w 331"/>
                  <a:gd name="T69" fmla="*/ 241 h 283"/>
                  <a:gd name="T70" fmla="*/ 173 w 331"/>
                  <a:gd name="T71" fmla="*/ 227 h 283"/>
                  <a:gd name="T72" fmla="*/ 181 w 331"/>
                  <a:gd name="T73" fmla="*/ 224 h 283"/>
                  <a:gd name="T74" fmla="*/ 191 w 331"/>
                  <a:gd name="T75" fmla="*/ 226 h 283"/>
                  <a:gd name="T76" fmla="*/ 207 w 331"/>
                  <a:gd name="T77" fmla="*/ 213 h 283"/>
                  <a:gd name="T78" fmla="*/ 218 w 331"/>
                  <a:gd name="T79" fmla="*/ 208 h 283"/>
                  <a:gd name="T80" fmla="*/ 229 w 331"/>
                  <a:gd name="T81" fmla="*/ 209 h 283"/>
                  <a:gd name="T82" fmla="*/ 237 w 331"/>
                  <a:gd name="T83" fmla="*/ 211 h 283"/>
                  <a:gd name="T84" fmla="*/ 243 w 331"/>
                  <a:gd name="T85" fmla="*/ 188 h 283"/>
                  <a:gd name="T86" fmla="*/ 248 w 331"/>
                  <a:gd name="T87" fmla="*/ 179 h 283"/>
                  <a:gd name="T88" fmla="*/ 259 w 331"/>
                  <a:gd name="T89" fmla="*/ 168 h 283"/>
                  <a:gd name="T90" fmla="*/ 265 w 331"/>
                  <a:gd name="T91" fmla="*/ 153 h 283"/>
                  <a:gd name="T92" fmla="*/ 262 w 331"/>
                  <a:gd name="T93" fmla="*/ 138 h 283"/>
                  <a:gd name="T94" fmla="*/ 283 w 331"/>
                  <a:gd name="T95" fmla="*/ 140 h 283"/>
                  <a:gd name="T96" fmla="*/ 295 w 331"/>
                  <a:gd name="T97" fmla="*/ 133 h 283"/>
                  <a:gd name="T98" fmla="*/ 302 w 331"/>
                  <a:gd name="T99" fmla="*/ 111 h 283"/>
                  <a:gd name="T100" fmla="*/ 308 w 331"/>
                  <a:gd name="T101" fmla="*/ 101 h 283"/>
                  <a:gd name="T102" fmla="*/ 306 w 331"/>
                  <a:gd name="T103" fmla="*/ 89 h 283"/>
                  <a:gd name="T104" fmla="*/ 299 w 331"/>
                  <a:gd name="T105" fmla="*/ 79 h 283"/>
                  <a:gd name="T106" fmla="*/ 314 w 331"/>
                  <a:gd name="T107" fmla="*/ 59 h 283"/>
                  <a:gd name="T108" fmla="*/ 331 w 331"/>
                  <a:gd name="T109" fmla="*/ 52 h 283"/>
                  <a:gd name="T110" fmla="*/ 312 w 331"/>
                  <a:gd name="T111" fmla="*/ 58 h 283"/>
                  <a:gd name="T112" fmla="*/ 305 w 331"/>
                  <a:gd name="T113" fmla="*/ 37 h 283"/>
                  <a:gd name="T114" fmla="*/ 302 w 331"/>
                  <a:gd name="T115" fmla="*/ 16 h 283"/>
                  <a:gd name="T116" fmla="*/ 299 w 331"/>
                  <a:gd name="T117" fmla="*/ 5 h 2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1" h="283">
                    <a:moveTo>
                      <a:pt x="294" y="0"/>
                    </a:moveTo>
                    <a:cubicBezTo>
                      <a:pt x="294" y="0"/>
                      <a:pt x="294" y="0"/>
                      <a:pt x="294" y="0"/>
                    </a:cubicBezTo>
                    <a:cubicBezTo>
                      <a:pt x="292" y="1"/>
                      <a:pt x="291" y="1"/>
                      <a:pt x="290" y="1"/>
                    </a:cubicBezTo>
                    <a:cubicBezTo>
                      <a:pt x="288" y="3"/>
                      <a:pt x="286" y="6"/>
                      <a:pt x="284" y="8"/>
                    </a:cubicBezTo>
                    <a:cubicBezTo>
                      <a:pt x="283" y="9"/>
                      <a:pt x="281" y="11"/>
                      <a:pt x="280" y="13"/>
                    </a:cubicBezTo>
                    <a:cubicBezTo>
                      <a:pt x="279" y="14"/>
                      <a:pt x="279" y="14"/>
                      <a:pt x="279" y="14"/>
                    </a:cubicBezTo>
                    <a:cubicBezTo>
                      <a:pt x="277" y="14"/>
                      <a:pt x="276" y="15"/>
                      <a:pt x="275" y="16"/>
                    </a:cubicBezTo>
                    <a:cubicBezTo>
                      <a:pt x="275" y="16"/>
                      <a:pt x="275" y="16"/>
                      <a:pt x="275" y="16"/>
                    </a:cubicBezTo>
                    <a:cubicBezTo>
                      <a:pt x="275" y="17"/>
                      <a:pt x="275" y="17"/>
                      <a:pt x="275" y="17"/>
                    </a:cubicBezTo>
                    <a:cubicBezTo>
                      <a:pt x="276" y="18"/>
                      <a:pt x="277" y="19"/>
                      <a:pt x="278" y="20"/>
                    </a:cubicBezTo>
                    <a:cubicBezTo>
                      <a:pt x="278" y="21"/>
                      <a:pt x="278" y="22"/>
                      <a:pt x="278" y="23"/>
                    </a:cubicBezTo>
                    <a:cubicBezTo>
                      <a:pt x="278" y="24"/>
                      <a:pt x="277" y="25"/>
                      <a:pt x="276" y="27"/>
                    </a:cubicBezTo>
                    <a:cubicBezTo>
                      <a:pt x="276" y="28"/>
                      <a:pt x="275" y="29"/>
                      <a:pt x="273" y="30"/>
                    </a:cubicBezTo>
                    <a:cubicBezTo>
                      <a:pt x="273" y="30"/>
                      <a:pt x="273" y="30"/>
                      <a:pt x="273" y="30"/>
                    </a:cubicBezTo>
                    <a:cubicBezTo>
                      <a:pt x="274" y="36"/>
                      <a:pt x="274" y="36"/>
                      <a:pt x="274" y="36"/>
                    </a:cubicBezTo>
                    <a:cubicBezTo>
                      <a:pt x="271" y="30"/>
                      <a:pt x="271" y="30"/>
                      <a:pt x="271" y="30"/>
                    </a:cubicBezTo>
                    <a:cubicBezTo>
                      <a:pt x="271" y="30"/>
                      <a:pt x="271" y="30"/>
                      <a:pt x="271" y="30"/>
                    </a:cubicBezTo>
                    <a:cubicBezTo>
                      <a:pt x="271" y="31"/>
                      <a:pt x="270" y="31"/>
                      <a:pt x="269" y="31"/>
                    </a:cubicBezTo>
                    <a:cubicBezTo>
                      <a:pt x="269" y="31"/>
                      <a:pt x="269" y="31"/>
                      <a:pt x="269" y="31"/>
                    </a:cubicBezTo>
                    <a:cubicBezTo>
                      <a:pt x="267" y="31"/>
                      <a:pt x="265" y="30"/>
                      <a:pt x="264" y="30"/>
                    </a:cubicBezTo>
                    <a:cubicBezTo>
                      <a:pt x="263" y="30"/>
                      <a:pt x="262" y="30"/>
                      <a:pt x="262" y="30"/>
                    </a:cubicBezTo>
                    <a:cubicBezTo>
                      <a:pt x="261" y="29"/>
                      <a:pt x="257" y="29"/>
                      <a:pt x="256" y="29"/>
                    </a:cubicBezTo>
                    <a:cubicBezTo>
                      <a:pt x="256" y="29"/>
                      <a:pt x="256" y="29"/>
                      <a:pt x="256" y="29"/>
                    </a:cubicBezTo>
                    <a:cubicBezTo>
                      <a:pt x="255" y="30"/>
                      <a:pt x="255" y="31"/>
                      <a:pt x="255" y="33"/>
                    </a:cubicBezTo>
                    <a:cubicBezTo>
                      <a:pt x="254" y="35"/>
                      <a:pt x="254" y="35"/>
                      <a:pt x="254" y="35"/>
                    </a:cubicBezTo>
                    <a:cubicBezTo>
                      <a:pt x="254" y="36"/>
                      <a:pt x="254" y="37"/>
                      <a:pt x="254" y="37"/>
                    </a:cubicBezTo>
                    <a:cubicBezTo>
                      <a:pt x="254" y="38"/>
                      <a:pt x="253" y="38"/>
                      <a:pt x="253" y="39"/>
                    </a:cubicBezTo>
                    <a:cubicBezTo>
                      <a:pt x="253" y="40"/>
                      <a:pt x="252" y="41"/>
                      <a:pt x="252" y="42"/>
                    </a:cubicBezTo>
                    <a:cubicBezTo>
                      <a:pt x="257" y="46"/>
                      <a:pt x="257" y="46"/>
                      <a:pt x="257" y="46"/>
                    </a:cubicBezTo>
                    <a:cubicBezTo>
                      <a:pt x="251" y="43"/>
                      <a:pt x="251" y="43"/>
                      <a:pt x="251" y="43"/>
                    </a:cubicBezTo>
                    <a:cubicBezTo>
                      <a:pt x="250" y="44"/>
                      <a:pt x="249" y="44"/>
                      <a:pt x="248" y="45"/>
                    </a:cubicBezTo>
                    <a:cubicBezTo>
                      <a:pt x="247" y="45"/>
                      <a:pt x="247" y="45"/>
                      <a:pt x="246" y="45"/>
                    </a:cubicBezTo>
                    <a:cubicBezTo>
                      <a:pt x="246" y="45"/>
                      <a:pt x="245" y="45"/>
                      <a:pt x="244" y="45"/>
                    </a:cubicBezTo>
                    <a:cubicBezTo>
                      <a:pt x="242" y="44"/>
                      <a:pt x="241" y="42"/>
                      <a:pt x="240" y="41"/>
                    </a:cubicBezTo>
                    <a:cubicBezTo>
                      <a:pt x="236" y="39"/>
                      <a:pt x="236" y="39"/>
                      <a:pt x="236" y="39"/>
                    </a:cubicBezTo>
                    <a:cubicBezTo>
                      <a:pt x="236" y="38"/>
                      <a:pt x="236" y="38"/>
                      <a:pt x="236" y="38"/>
                    </a:cubicBezTo>
                    <a:cubicBezTo>
                      <a:pt x="236" y="38"/>
                      <a:pt x="236" y="38"/>
                      <a:pt x="235" y="38"/>
                    </a:cubicBezTo>
                    <a:cubicBezTo>
                      <a:pt x="235" y="39"/>
                      <a:pt x="234" y="39"/>
                      <a:pt x="234" y="39"/>
                    </a:cubicBezTo>
                    <a:cubicBezTo>
                      <a:pt x="233" y="39"/>
                      <a:pt x="233" y="39"/>
                      <a:pt x="233" y="39"/>
                    </a:cubicBezTo>
                    <a:cubicBezTo>
                      <a:pt x="233" y="40"/>
                      <a:pt x="232" y="40"/>
                      <a:pt x="231" y="40"/>
                    </a:cubicBezTo>
                    <a:cubicBezTo>
                      <a:pt x="228" y="42"/>
                      <a:pt x="226" y="42"/>
                      <a:pt x="223" y="43"/>
                    </a:cubicBezTo>
                    <a:cubicBezTo>
                      <a:pt x="223" y="44"/>
                      <a:pt x="223" y="44"/>
                      <a:pt x="223" y="44"/>
                    </a:cubicBezTo>
                    <a:cubicBezTo>
                      <a:pt x="222" y="44"/>
                      <a:pt x="221" y="44"/>
                      <a:pt x="221" y="44"/>
                    </a:cubicBezTo>
                    <a:cubicBezTo>
                      <a:pt x="219" y="46"/>
                      <a:pt x="218" y="46"/>
                      <a:pt x="217" y="47"/>
                    </a:cubicBezTo>
                    <a:cubicBezTo>
                      <a:pt x="216" y="48"/>
                      <a:pt x="216" y="48"/>
                      <a:pt x="216" y="48"/>
                    </a:cubicBezTo>
                    <a:cubicBezTo>
                      <a:pt x="217" y="49"/>
                      <a:pt x="217" y="49"/>
                      <a:pt x="217" y="49"/>
                    </a:cubicBezTo>
                    <a:cubicBezTo>
                      <a:pt x="216" y="48"/>
                      <a:pt x="216" y="48"/>
                      <a:pt x="216" y="48"/>
                    </a:cubicBezTo>
                    <a:cubicBezTo>
                      <a:pt x="214" y="49"/>
                      <a:pt x="213" y="50"/>
                      <a:pt x="211" y="50"/>
                    </a:cubicBezTo>
                    <a:cubicBezTo>
                      <a:pt x="210" y="50"/>
                      <a:pt x="210" y="50"/>
                      <a:pt x="210" y="50"/>
                    </a:cubicBezTo>
                    <a:cubicBezTo>
                      <a:pt x="209" y="50"/>
                      <a:pt x="208" y="49"/>
                      <a:pt x="206" y="48"/>
                    </a:cubicBezTo>
                    <a:cubicBezTo>
                      <a:pt x="202" y="45"/>
                      <a:pt x="202" y="45"/>
                      <a:pt x="202" y="45"/>
                    </a:cubicBezTo>
                    <a:cubicBezTo>
                      <a:pt x="201" y="45"/>
                      <a:pt x="201" y="44"/>
                      <a:pt x="201" y="43"/>
                    </a:cubicBezTo>
                    <a:cubicBezTo>
                      <a:pt x="201" y="42"/>
                      <a:pt x="201" y="42"/>
                      <a:pt x="201" y="42"/>
                    </a:cubicBezTo>
                    <a:cubicBezTo>
                      <a:pt x="200" y="42"/>
                      <a:pt x="200" y="42"/>
                      <a:pt x="200" y="42"/>
                    </a:cubicBezTo>
                    <a:cubicBezTo>
                      <a:pt x="200" y="42"/>
                      <a:pt x="200" y="42"/>
                      <a:pt x="200" y="42"/>
                    </a:cubicBezTo>
                    <a:cubicBezTo>
                      <a:pt x="199" y="42"/>
                      <a:pt x="198" y="42"/>
                      <a:pt x="197" y="42"/>
                    </a:cubicBezTo>
                    <a:cubicBezTo>
                      <a:pt x="196" y="42"/>
                      <a:pt x="195" y="43"/>
                      <a:pt x="194" y="43"/>
                    </a:cubicBezTo>
                    <a:cubicBezTo>
                      <a:pt x="194" y="43"/>
                      <a:pt x="194" y="43"/>
                      <a:pt x="194" y="43"/>
                    </a:cubicBezTo>
                    <a:cubicBezTo>
                      <a:pt x="193" y="43"/>
                      <a:pt x="191" y="42"/>
                      <a:pt x="190" y="42"/>
                    </a:cubicBezTo>
                    <a:cubicBezTo>
                      <a:pt x="190" y="42"/>
                      <a:pt x="190" y="42"/>
                      <a:pt x="190" y="42"/>
                    </a:cubicBezTo>
                    <a:cubicBezTo>
                      <a:pt x="187" y="42"/>
                      <a:pt x="186" y="41"/>
                      <a:pt x="185" y="40"/>
                    </a:cubicBezTo>
                    <a:cubicBezTo>
                      <a:pt x="184" y="39"/>
                      <a:pt x="184" y="39"/>
                      <a:pt x="183" y="38"/>
                    </a:cubicBezTo>
                    <a:cubicBezTo>
                      <a:pt x="182" y="37"/>
                      <a:pt x="181" y="37"/>
                      <a:pt x="180" y="37"/>
                    </a:cubicBezTo>
                    <a:cubicBezTo>
                      <a:pt x="179" y="37"/>
                      <a:pt x="178" y="37"/>
                      <a:pt x="177" y="37"/>
                    </a:cubicBezTo>
                    <a:cubicBezTo>
                      <a:pt x="172" y="36"/>
                      <a:pt x="172" y="36"/>
                      <a:pt x="172" y="36"/>
                    </a:cubicBezTo>
                    <a:cubicBezTo>
                      <a:pt x="172" y="37"/>
                      <a:pt x="172" y="37"/>
                      <a:pt x="172" y="37"/>
                    </a:cubicBezTo>
                    <a:cubicBezTo>
                      <a:pt x="169" y="37"/>
                      <a:pt x="169" y="37"/>
                      <a:pt x="169" y="37"/>
                    </a:cubicBezTo>
                    <a:cubicBezTo>
                      <a:pt x="169" y="37"/>
                      <a:pt x="169" y="37"/>
                      <a:pt x="169" y="37"/>
                    </a:cubicBezTo>
                    <a:cubicBezTo>
                      <a:pt x="168" y="37"/>
                      <a:pt x="168" y="37"/>
                      <a:pt x="168" y="37"/>
                    </a:cubicBezTo>
                    <a:cubicBezTo>
                      <a:pt x="167" y="37"/>
                      <a:pt x="167" y="37"/>
                      <a:pt x="167" y="37"/>
                    </a:cubicBezTo>
                    <a:cubicBezTo>
                      <a:pt x="166" y="37"/>
                      <a:pt x="166" y="37"/>
                      <a:pt x="166" y="37"/>
                    </a:cubicBezTo>
                    <a:cubicBezTo>
                      <a:pt x="166" y="37"/>
                      <a:pt x="166" y="37"/>
                      <a:pt x="166" y="37"/>
                    </a:cubicBezTo>
                    <a:cubicBezTo>
                      <a:pt x="164" y="37"/>
                      <a:pt x="163" y="37"/>
                      <a:pt x="162" y="37"/>
                    </a:cubicBezTo>
                    <a:cubicBezTo>
                      <a:pt x="162" y="37"/>
                      <a:pt x="162" y="37"/>
                      <a:pt x="162" y="37"/>
                    </a:cubicBezTo>
                    <a:cubicBezTo>
                      <a:pt x="161" y="37"/>
                      <a:pt x="159" y="37"/>
                      <a:pt x="158" y="36"/>
                    </a:cubicBezTo>
                    <a:cubicBezTo>
                      <a:pt x="157" y="36"/>
                      <a:pt x="157" y="36"/>
                      <a:pt x="157" y="36"/>
                    </a:cubicBezTo>
                    <a:cubicBezTo>
                      <a:pt x="157" y="36"/>
                      <a:pt x="155" y="35"/>
                      <a:pt x="154" y="35"/>
                    </a:cubicBezTo>
                    <a:cubicBezTo>
                      <a:pt x="152" y="34"/>
                      <a:pt x="152" y="34"/>
                      <a:pt x="152" y="34"/>
                    </a:cubicBezTo>
                    <a:cubicBezTo>
                      <a:pt x="151" y="33"/>
                      <a:pt x="150" y="33"/>
                      <a:pt x="150" y="33"/>
                    </a:cubicBezTo>
                    <a:cubicBezTo>
                      <a:pt x="148" y="32"/>
                      <a:pt x="148" y="32"/>
                      <a:pt x="148" y="32"/>
                    </a:cubicBezTo>
                    <a:cubicBezTo>
                      <a:pt x="147" y="32"/>
                      <a:pt x="147" y="32"/>
                      <a:pt x="147" y="32"/>
                    </a:cubicBezTo>
                    <a:cubicBezTo>
                      <a:pt x="145" y="36"/>
                      <a:pt x="143" y="39"/>
                      <a:pt x="140" y="40"/>
                    </a:cubicBezTo>
                    <a:cubicBezTo>
                      <a:pt x="139" y="41"/>
                      <a:pt x="138" y="41"/>
                      <a:pt x="136" y="41"/>
                    </a:cubicBezTo>
                    <a:cubicBezTo>
                      <a:pt x="135" y="41"/>
                      <a:pt x="135" y="41"/>
                      <a:pt x="134" y="41"/>
                    </a:cubicBezTo>
                    <a:cubicBezTo>
                      <a:pt x="134" y="41"/>
                      <a:pt x="133" y="41"/>
                      <a:pt x="133" y="41"/>
                    </a:cubicBezTo>
                    <a:cubicBezTo>
                      <a:pt x="117" y="57"/>
                      <a:pt x="117" y="57"/>
                      <a:pt x="117" y="57"/>
                    </a:cubicBezTo>
                    <a:cubicBezTo>
                      <a:pt x="117" y="57"/>
                      <a:pt x="117" y="57"/>
                      <a:pt x="117" y="57"/>
                    </a:cubicBezTo>
                    <a:cubicBezTo>
                      <a:pt x="117" y="58"/>
                      <a:pt x="117" y="59"/>
                      <a:pt x="117" y="59"/>
                    </a:cubicBezTo>
                    <a:cubicBezTo>
                      <a:pt x="117" y="63"/>
                      <a:pt x="117" y="67"/>
                      <a:pt x="113" y="70"/>
                    </a:cubicBezTo>
                    <a:cubicBezTo>
                      <a:pt x="112" y="70"/>
                      <a:pt x="112" y="70"/>
                      <a:pt x="112" y="70"/>
                    </a:cubicBezTo>
                    <a:cubicBezTo>
                      <a:pt x="109" y="73"/>
                      <a:pt x="107" y="75"/>
                      <a:pt x="102" y="77"/>
                    </a:cubicBezTo>
                    <a:cubicBezTo>
                      <a:pt x="100" y="78"/>
                      <a:pt x="97" y="79"/>
                      <a:pt x="94" y="80"/>
                    </a:cubicBezTo>
                    <a:cubicBezTo>
                      <a:pt x="91" y="81"/>
                      <a:pt x="91" y="81"/>
                      <a:pt x="91" y="81"/>
                    </a:cubicBezTo>
                    <a:cubicBezTo>
                      <a:pt x="88" y="82"/>
                      <a:pt x="86" y="83"/>
                      <a:pt x="84" y="84"/>
                    </a:cubicBezTo>
                    <a:cubicBezTo>
                      <a:pt x="82" y="84"/>
                      <a:pt x="80" y="85"/>
                      <a:pt x="78" y="85"/>
                    </a:cubicBezTo>
                    <a:cubicBezTo>
                      <a:pt x="77" y="86"/>
                      <a:pt x="77" y="86"/>
                      <a:pt x="77" y="86"/>
                    </a:cubicBezTo>
                    <a:cubicBezTo>
                      <a:pt x="77" y="86"/>
                      <a:pt x="77" y="86"/>
                      <a:pt x="77" y="86"/>
                    </a:cubicBezTo>
                    <a:cubicBezTo>
                      <a:pt x="78" y="89"/>
                      <a:pt x="76" y="92"/>
                      <a:pt x="74" y="94"/>
                    </a:cubicBezTo>
                    <a:cubicBezTo>
                      <a:pt x="73" y="95"/>
                      <a:pt x="73" y="95"/>
                      <a:pt x="73" y="95"/>
                    </a:cubicBezTo>
                    <a:cubicBezTo>
                      <a:pt x="72" y="97"/>
                      <a:pt x="69" y="100"/>
                      <a:pt x="66" y="102"/>
                    </a:cubicBezTo>
                    <a:cubicBezTo>
                      <a:pt x="66" y="102"/>
                      <a:pt x="66" y="102"/>
                      <a:pt x="66" y="102"/>
                    </a:cubicBezTo>
                    <a:cubicBezTo>
                      <a:pt x="66" y="102"/>
                      <a:pt x="66" y="102"/>
                      <a:pt x="66" y="102"/>
                    </a:cubicBezTo>
                    <a:cubicBezTo>
                      <a:pt x="65" y="102"/>
                      <a:pt x="64" y="103"/>
                      <a:pt x="63" y="103"/>
                    </a:cubicBezTo>
                    <a:cubicBezTo>
                      <a:pt x="62" y="103"/>
                      <a:pt x="61" y="103"/>
                      <a:pt x="60" y="103"/>
                    </a:cubicBezTo>
                    <a:cubicBezTo>
                      <a:pt x="58" y="103"/>
                      <a:pt x="58" y="103"/>
                      <a:pt x="58" y="103"/>
                    </a:cubicBezTo>
                    <a:cubicBezTo>
                      <a:pt x="56" y="104"/>
                      <a:pt x="54" y="104"/>
                      <a:pt x="53" y="105"/>
                    </a:cubicBezTo>
                    <a:cubicBezTo>
                      <a:pt x="52" y="106"/>
                      <a:pt x="52" y="106"/>
                      <a:pt x="52" y="106"/>
                    </a:cubicBezTo>
                    <a:cubicBezTo>
                      <a:pt x="52" y="107"/>
                      <a:pt x="51" y="108"/>
                      <a:pt x="49" y="108"/>
                    </a:cubicBezTo>
                    <a:cubicBezTo>
                      <a:pt x="48" y="108"/>
                      <a:pt x="48" y="108"/>
                      <a:pt x="48" y="108"/>
                    </a:cubicBezTo>
                    <a:cubicBezTo>
                      <a:pt x="47" y="108"/>
                      <a:pt x="45" y="107"/>
                      <a:pt x="43" y="105"/>
                    </a:cubicBezTo>
                    <a:cubicBezTo>
                      <a:pt x="42" y="104"/>
                      <a:pt x="42" y="104"/>
                      <a:pt x="41" y="103"/>
                    </a:cubicBezTo>
                    <a:cubicBezTo>
                      <a:pt x="41" y="103"/>
                      <a:pt x="40" y="102"/>
                      <a:pt x="40" y="102"/>
                    </a:cubicBezTo>
                    <a:cubicBezTo>
                      <a:pt x="39" y="101"/>
                      <a:pt x="39" y="101"/>
                      <a:pt x="39" y="101"/>
                    </a:cubicBezTo>
                    <a:cubicBezTo>
                      <a:pt x="39" y="101"/>
                      <a:pt x="39" y="101"/>
                      <a:pt x="39" y="101"/>
                    </a:cubicBezTo>
                    <a:cubicBezTo>
                      <a:pt x="38" y="100"/>
                      <a:pt x="38" y="100"/>
                      <a:pt x="38" y="100"/>
                    </a:cubicBezTo>
                    <a:cubicBezTo>
                      <a:pt x="36" y="99"/>
                      <a:pt x="35" y="98"/>
                      <a:pt x="34" y="98"/>
                    </a:cubicBezTo>
                    <a:cubicBezTo>
                      <a:pt x="33" y="98"/>
                      <a:pt x="33" y="98"/>
                      <a:pt x="33" y="98"/>
                    </a:cubicBezTo>
                    <a:cubicBezTo>
                      <a:pt x="33" y="97"/>
                      <a:pt x="32" y="97"/>
                      <a:pt x="31" y="97"/>
                    </a:cubicBezTo>
                    <a:cubicBezTo>
                      <a:pt x="29" y="97"/>
                      <a:pt x="28" y="97"/>
                      <a:pt x="27" y="96"/>
                    </a:cubicBezTo>
                    <a:cubicBezTo>
                      <a:pt x="25" y="96"/>
                      <a:pt x="25" y="96"/>
                      <a:pt x="25" y="96"/>
                    </a:cubicBezTo>
                    <a:cubicBezTo>
                      <a:pt x="24" y="96"/>
                      <a:pt x="24" y="96"/>
                      <a:pt x="24" y="96"/>
                    </a:cubicBezTo>
                    <a:cubicBezTo>
                      <a:pt x="20" y="100"/>
                      <a:pt x="20" y="100"/>
                      <a:pt x="20" y="100"/>
                    </a:cubicBezTo>
                    <a:cubicBezTo>
                      <a:pt x="18" y="107"/>
                      <a:pt x="18" y="107"/>
                      <a:pt x="18" y="107"/>
                    </a:cubicBezTo>
                    <a:cubicBezTo>
                      <a:pt x="18" y="108"/>
                      <a:pt x="17" y="109"/>
                      <a:pt x="17" y="111"/>
                    </a:cubicBezTo>
                    <a:cubicBezTo>
                      <a:pt x="17" y="114"/>
                      <a:pt x="17" y="114"/>
                      <a:pt x="17" y="114"/>
                    </a:cubicBezTo>
                    <a:cubicBezTo>
                      <a:pt x="16" y="114"/>
                      <a:pt x="16" y="114"/>
                      <a:pt x="16" y="114"/>
                    </a:cubicBezTo>
                    <a:cubicBezTo>
                      <a:pt x="16" y="115"/>
                      <a:pt x="16" y="115"/>
                      <a:pt x="16" y="115"/>
                    </a:cubicBezTo>
                    <a:cubicBezTo>
                      <a:pt x="15" y="118"/>
                      <a:pt x="15" y="119"/>
                      <a:pt x="12" y="122"/>
                    </a:cubicBezTo>
                    <a:cubicBezTo>
                      <a:pt x="10" y="123"/>
                      <a:pt x="10" y="123"/>
                      <a:pt x="10" y="123"/>
                    </a:cubicBezTo>
                    <a:cubicBezTo>
                      <a:pt x="9" y="124"/>
                      <a:pt x="8" y="125"/>
                      <a:pt x="8" y="125"/>
                    </a:cubicBezTo>
                    <a:cubicBezTo>
                      <a:pt x="8" y="126"/>
                      <a:pt x="9" y="127"/>
                      <a:pt x="10" y="128"/>
                    </a:cubicBezTo>
                    <a:cubicBezTo>
                      <a:pt x="12" y="130"/>
                      <a:pt x="12" y="130"/>
                      <a:pt x="12" y="130"/>
                    </a:cubicBezTo>
                    <a:cubicBezTo>
                      <a:pt x="0" y="141"/>
                      <a:pt x="0" y="141"/>
                      <a:pt x="0" y="141"/>
                    </a:cubicBezTo>
                    <a:cubicBezTo>
                      <a:pt x="0" y="142"/>
                      <a:pt x="0" y="144"/>
                      <a:pt x="0" y="146"/>
                    </a:cubicBezTo>
                    <a:cubicBezTo>
                      <a:pt x="0" y="147"/>
                      <a:pt x="0" y="149"/>
                      <a:pt x="0" y="150"/>
                    </a:cubicBezTo>
                    <a:cubicBezTo>
                      <a:pt x="1" y="151"/>
                      <a:pt x="1" y="151"/>
                      <a:pt x="1" y="151"/>
                    </a:cubicBezTo>
                    <a:cubicBezTo>
                      <a:pt x="1" y="151"/>
                      <a:pt x="1" y="152"/>
                      <a:pt x="1" y="152"/>
                    </a:cubicBezTo>
                    <a:cubicBezTo>
                      <a:pt x="1" y="152"/>
                      <a:pt x="1" y="152"/>
                      <a:pt x="3" y="153"/>
                    </a:cubicBezTo>
                    <a:cubicBezTo>
                      <a:pt x="4" y="153"/>
                      <a:pt x="4" y="153"/>
                      <a:pt x="4" y="153"/>
                    </a:cubicBezTo>
                    <a:cubicBezTo>
                      <a:pt x="5" y="153"/>
                      <a:pt x="6" y="153"/>
                      <a:pt x="6" y="153"/>
                    </a:cubicBezTo>
                    <a:cubicBezTo>
                      <a:pt x="7" y="153"/>
                      <a:pt x="7" y="153"/>
                      <a:pt x="7" y="153"/>
                    </a:cubicBezTo>
                    <a:cubicBezTo>
                      <a:pt x="8" y="154"/>
                      <a:pt x="9" y="154"/>
                      <a:pt x="10" y="154"/>
                    </a:cubicBezTo>
                    <a:cubicBezTo>
                      <a:pt x="15" y="156"/>
                      <a:pt x="15" y="156"/>
                      <a:pt x="15" y="156"/>
                    </a:cubicBezTo>
                    <a:cubicBezTo>
                      <a:pt x="12" y="160"/>
                      <a:pt x="12" y="160"/>
                      <a:pt x="12" y="160"/>
                    </a:cubicBezTo>
                    <a:cubicBezTo>
                      <a:pt x="11" y="160"/>
                      <a:pt x="10" y="161"/>
                      <a:pt x="9" y="162"/>
                    </a:cubicBezTo>
                    <a:cubicBezTo>
                      <a:pt x="9" y="163"/>
                      <a:pt x="9" y="163"/>
                      <a:pt x="9" y="163"/>
                    </a:cubicBezTo>
                    <a:cubicBezTo>
                      <a:pt x="5" y="166"/>
                      <a:pt x="3" y="168"/>
                      <a:pt x="3" y="169"/>
                    </a:cubicBezTo>
                    <a:cubicBezTo>
                      <a:pt x="8" y="188"/>
                      <a:pt x="8" y="188"/>
                      <a:pt x="8" y="188"/>
                    </a:cubicBezTo>
                    <a:cubicBezTo>
                      <a:pt x="8" y="189"/>
                      <a:pt x="8" y="189"/>
                      <a:pt x="8" y="190"/>
                    </a:cubicBezTo>
                    <a:cubicBezTo>
                      <a:pt x="9" y="193"/>
                      <a:pt x="9" y="193"/>
                      <a:pt x="9" y="193"/>
                    </a:cubicBezTo>
                    <a:cubicBezTo>
                      <a:pt x="10" y="194"/>
                      <a:pt x="10" y="195"/>
                      <a:pt x="10" y="196"/>
                    </a:cubicBezTo>
                    <a:cubicBezTo>
                      <a:pt x="10" y="199"/>
                      <a:pt x="10" y="201"/>
                      <a:pt x="9" y="203"/>
                    </a:cubicBezTo>
                    <a:cubicBezTo>
                      <a:pt x="9" y="204"/>
                      <a:pt x="9" y="206"/>
                      <a:pt x="9" y="208"/>
                    </a:cubicBezTo>
                    <a:cubicBezTo>
                      <a:pt x="9" y="208"/>
                      <a:pt x="9" y="208"/>
                      <a:pt x="9" y="208"/>
                    </a:cubicBezTo>
                    <a:cubicBezTo>
                      <a:pt x="9" y="209"/>
                      <a:pt x="9" y="210"/>
                      <a:pt x="9" y="210"/>
                    </a:cubicBezTo>
                    <a:cubicBezTo>
                      <a:pt x="9" y="211"/>
                      <a:pt x="9" y="211"/>
                      <a:pt x="9" y="211"/>
                    </a:cubicBezTo>
                    <a:cubicBezTo>
                      <a:pt x="15" y="211"/>
                      <a:pt x="15" y="211"/>
                      <a:pt x="15" y="211"/>
                    </a:cubicBezTo>
                    <a:cubicBezTo>
                      <a:pt x="10" y="213"/>
                      <a:pt x="10" y="213"/>
                      <a:pt x="10" y="213"/>
                    </a:cubicBezTo>
                    <a:cubicBezTo>
                      <a:pt x="10" y="213"/>
                      <a:pt x="10" y="213"/>
                      <a:pt x="10" y="213"/>
                    </a:cubicBezTo>
                    <a:cubicBezTo>
                      <a:pt x="10" y="214"/>
                      <a:pt x="10" y="215"/>
                      <a:pt x="10" y="216"/>
                    </a:cubicBezTo>
                    <a:cubicBezTo>
                      <a:pt x="9" y="217"/>
                      <a:pt x="9" y="218"/>
                      <a:pt x="9" y="218"/>
                    </a:cubicBezTo>
                    <a:cubicBezTo>
                      <a:pt x="10" y="218"/>
                      <a:pt x="10" y="218"/>
                      <a:pt x="11" y="218"/>
                    </a:cubicBezTo>
                    <a:cubicBezTo>
                      <a:pt x="26" y="220"/>
                      <a:pt x="26" y="220"/>
                      <a:pt x="26" y="220"/>
                    </a:cubicBezTo>
                    <a:cubicBezTo>
                      <a:pt x="29" y="221"/>
                      <a:pt x="31" y="223"/>
                      <a:pt x="32" y="224"/>
                    </a:cubicBezTo>
                    <a:cubicBezTo>
                      <a:pt x="35" y="228"/>
                      <a:pt x="35" y="228"/>
                      <a:pt x="35" y="228"/>
                    </a:cubicBezTo>
                    <a:cubicBezTo>
                      <a:pt x="35" y="229"/>
                      <a:pt x="35" y="229"/>
                      <a:pt x="36" y="230"/>
                    </a:cubicBezTo>
                    <a:cubicBezTo>
                      <a:pt x="37" y="231"/>
                      <a:pt x="37" y="233"/>
                      <a:pt x="38" y="234"/>
                    </a:cubicBezTo>
                    <a:cubicBezTo>
                      <a:pt x="38" y="237"/>
                      <a:pt x="38" y="241"/>
                      <a:pt x="35" y="244"/>
                    </a:cubicBezTo>
                    <a:cubicBezTo>
                      <a:pt x="34" y="247"/>
                      <a:pt x="31" y="250"/>
                      <a:pt x="30" y="252"/>
                    </a:cubicBezTo>
                    <a:cubicBezTo>
                      <a:pt x="29" y="252"/>
                      <a:pt x="28" y="253"/>
                      <a:pt x="27" y="254"/>
                    </a:cubicBezTo>
                    <a:cubicBezTo>
                      <a:pt x="24" y="258"/>
                      <a:pt x="24" y="258"/>
                      <a:pt x="24" y="258"/>
                    </a:cubicBezTo>
                    <a:cubicBezTo>
                      <a:pt x="23" y="260"/>
                      <a:pt x="21" y="261"/>
                      <a:pt x="19" y="263"/>
                    </a:cubicBezTo>
                    <a:cubicBezTo>
                      <a:pt x="13" y="270"/>
                      <a:pt x="13" y="270"/>
                      <a:pt x="13" y="270"/>
                    </a:cubicBezTo>
                    <a:cubicBezTo>
                      <a:pt x="57" y="283"/>
                      <a:pt x="57" y="283"/>
                      <a:pt x="57" y="283"/>
                    </a:cubicBezTo>
                    <a:cubicBezTo>
                      <a:pt x="57" y="283"/>
                      <a:pt x="58" y="283"/>
                      <a:pt x="58" y="283"/>
                    </a:cubicBezTo>
                    <a:cubicBezTo>
                      <a:pt x="59" y="283"/>
                      <a:pt x="59" y="283"/>
                      <a:pt x="59" y="283"/>
                    </a:cubicBezTo>
                    <a:cubicBezTo>
                      <a:pt x="60" y="283"/>
                      <a:pt x="61" y="282"/>
                      <a:pt x="62" y="282"/>
                    </a:cubicBezTo>
                    <a:cubicBezTo>
                      <a:pt x="62" y="282"/>
                      <a:pt x="62" y="282"/>
                      <a:pt x="62" y="282"/>
                    </a:cubicBezTo>
                    <a:cubicBezTo>
                      <a:pt x="63" y="282"/>
                      <a:pt x="65" y="282"/>
                      <a:pt x="65" y="282"/>
                    </a:cubicBezTo>
                    <a:cubicBezTo>
                      <a:pt x="71" y="281"/>
                      <a:pt x="71" y="281"/>
                      <a:pt x="71" y="281"/>
                    </a:cubicBezTo>
                    <a:cubicBezTo>
                      <a:pt x="71" y="281"/>
                      <a:pt x="71" y="281"/>
                      <a:pt x="71" y="281"/>
                    </a:cubicBezTo>
                    <a:cubicBezTo>
                      <a:pt x="83" y="281"/>
                      <a:pt x="83" y="281"/>
                      <a:pt x="83" y="281"/>
                    </a:cubicBezTo>
                    <a:cubicBezTo>
                      <a:pt x="84" y="281"/>
                      <a:pt x="84" y="281"/>
                      <a:pt x="85" y="281"/>
                    </a:cubicBezTo>
                    <a:cubicBezTo>
                      <a:pt x="85" y="281"/>
                      <a:pt x="86" y="281"/>
                      <a:pt x="87" y="281"/>
                    </a:cubicBezTo>
                    <a:cubicBezTo>
                      <a:pt x="87" y="281"/>
                      <a:pt x="87" y="281"/>
                      <a:pt x="87" y="281"/>
                    </a:cubicBezTo>
                    <a:cubicBezTo>
                      <a:pt x="88" y="281"/>
                      <a:pt x="88" y="281"/>
                      <a:pt x="88" y="281"/>
                    </a:cubicBezTo>
                    <a:cubicBezTo>
                      <a:pt x="89" y="281"/>
                      <a:pt x="89" y="281"/>
                      <a:pt x="89" y="281"/>
                    </a:cubicBezTo>
                    <a:cubicBezTo>
                      <a:pt x="90" y="281"/>
                      <a:pt x="91" y="282"/>
                      <a:pt x="93" y="282"/>
                    </a:cubicBezTo>
                    <a:cubicBezTo>
                      <a:pt x="93" y="282"/>
                      <a:pt x="93" y="282"/>
                      <a:pt x="94" y="282"/>
                    </a:cubicBezTo>
                    <a:cubicBezTo>
                      <a:pt x="95" y="282"/>
                      <a:pt x="95" y="282"/>
                      <a:pt x="95" y="282"/>
                    </a:cubicBezTo>
                    <a:cubicBezTo>
                      <a:pt x="96" y="282"/>
                      <a:pt x="97" y="283"/>
                      <a:pt x="97" y="283"/>
                    </a:cubicBezTo>
                    <a:cubicBezTo>
                      <a:pt x="98" y="283"/>
                      <a:pt x="98" y="283"/>
                      <a:pt x="98" y="283"/>
                    </a:cubicBezTo>
                    <a:cubicBezTo>
                      <a:pt x="99" y="283"/>
                      <a:pt x="101" y="282"/>
                      <a:pt x="103" y="281"/>
                    </a:cubicBezTo>
                    <a:cubicBezTo>
                      <a:pt x="104" y="280"/>
                      <a:pt x="105" y="279"/>
                      <a:pt x="106" y="279"/>
                    </a:cubicBezTo>
                    <a:cubicBezTo>
                      <a:pt x="107" y="278"/>
                      <a:pt x="108" y="278"/>
                      <a:pt x="109" y="278"/>
                    </a:cubicBezTo>
                    <a:cubicBezTo>
                      <a:pt x="114" y="277"/>
                      <a:pt x="118" y="276"/>
                      <a:pt x="121" y="276"/>
                    </a:cubicBezTo>
                    <a:cubicBezTo>
                      <a:pt x="124" y="276"/>
                      <a:pt x="127" y="276"/>
                      <a:pt x="130" y="275"/>
                    </a:cubicBezTo>
                    <a:cubicBezTo>
                      <a:pt x="136" y="275"/>
                      <a:pt x="136" y="275"/>
                      <a:pt x="136" y="275"/>
                    </a:cubicBezTo>
                    <a:cubicBezTo>
                      <a:pt x="136" y="275"/>
                      <a:pt x="137" y="275"/>
                      <a:pt x="137" y="275"/>
                    </a:cubicBezTo>
                    <a:cubicBezTo>
                      <a:pt x="140" y="275"/>
                      <a:pt x="143" y="274"/>
                      <a:pt x="146" y="273"/>
                    </a:cubicBezTo>
                    <a:cubicBezTo>
                      <a:pt x="148" y="272"/>
                      <a:pt x="151" y="272"/>
                      <a:pt x="153" y="271"/>
                    </a:cubicBezTo>
                    <a:cubicBezTo>
                      <a:pt x="156" y="270"/>
                      <a:pt x="156" y="270"/>
                      <a:pt x="156" y="270"/>
                    </a:cubicBezTo>
                    <a:cubicBezTo>
                      <a:pt x="157" y="270"/>
                      <a:pt x="157" y="270"/>
                      <a:pt x="158" y="270"/>
                    </a:cubicBezTo>
                    <a:cubicBezTo>
                      <a:pt x="158" y="269"/>
                      <a:pt x="158" y="269"/>
                      <a:pt x="158" y="269"/>
                    </a:cubicBezTo>
                    <a:cubicBezTo>
                      <a:pt x="156" y="267"/>
                      <a:pt x="157" y="264"/>
                      <a:pt x="157" y="262"/>
                    </a:cubicBezTo>
                    <a:cubicBezTo>
                      <a:pt x="157" y="262"/>
                      <a:pt x="157" y="262"/>
                      <a:pt x="157" y="262"/>
                    </a:cubicBezTo>
                    <a:cubicBezTo>
                      <a:pt x="158" y="260"/>
                      <a:pt x="158" y="259"/>
                      <a:pt x="158" y="257"/>
                    </a:cubicBezTo>
                    <a:cubicBezTo>
                      <a:pt x="158" y="256"/>
                      <a:pt x="158" y="255"/>
                      <a:pt x="158" y="255"/>
                    </a:cubicBezTo>
                    <a:cubicBezTo>
                      <a:pt x="158" y="251"/>
                      <a:pt x="159" y="247"/>
                      <a:pt x="160" y="244"/>
                    </a:cubicBezTo>
                    <a:cubicBezTo>
                      <a:pt x="160" y="241"/>
                      <a:pt x="160" y="241"/>
                      <a:pt x="160" y="241"/>
                    </a:cubicBezTo>
                    <a:cubicBezTo>
                      <a:pt x="161" y="240"/>
                      <a:pt x="161" y="240"/>
                      <a:pt x="161" y="239"/>
                    </a:cubicBezTo>
                    <a:cubicBezTo>
                      <a:pt x="162" y="238"/>
                      <a:pt x="162" y="236"/>
                      <a:pt x="163" y="236"/>
                    </a:cubicBezTo>
                    <a:cubicBezTo>
                      <a:pt x="164" y="235"/>
                      <a:pt x="164" y="235"/>
                      <a:pt x="164" y="235"/>
                    </a:cubicBezTo>
                    <a:cubicBezTo>
                      <a:pt x="165" y="234"/>
                      <a:pt x="166" y="232"/>
                      <a:pt x="168" y="231"/>
                    </a:cubicBezTo>
                    <a:cubicBezTo>
                      <a:pt x="170" y="229"/>
                      <a:pt x="171" y="229"/>
                      <a:pt x="172" y="228"/>
                    </a:cubicBezTo>
                    <a:cubicBezTo>
                      <a:pt x="173" y="227"/>
                      <a:pt x="173" y="227"/>
                      <a:pt x="173" y="227"/>
                    </a:cubicBezTo>
                    <a:cubicBezTo>
                      <a:pt x="173" y="227"/>
                      <a:pt x="174" y="227"/>
                      <a:pt x="174" y="226"/>
                    </a:cubicBezTo>
                    <a:cubicBezTo>
                      <a:pt x="170" y="224"/>
                      <a:pt x="170" y="224"/>
                      <a:pt x="170" y="224"/>
                    </a:cubicBezTo>
                    <a:cubicBezTo>
                      <a:pt x="175" y="226"/>
                      <a:pt x="175" y="226"/>
                      <a:pt x="175" y="226"/>
                    </a:cubicBezTo>
                    <a:cubicBezTo>
                      <a:pt x="175" y="225"/>
                      <a:pt x="175" y="225"/>
                      <a:pt x="175" y="225"/>
                    </a:cubicBezTo>
                    <a:cubicBezTo>
                      <a:pt x="177" y="225"/>
                      <a:pt x="179" y="224"/>
                      <a:pt x="180" y="224"/>
                    </a:cubicBezTo>
                    <a:cubicBezTo>
                      <a:pt x="181" y="224"/>
                      <a:pt x="181" y="224"/>
                      <a:pt x="181" y="224"/>
                    </a:cubicBezTo>
                    <a:cubicBezTo>
                      <a:pt x="182" y="224"/>
                      <a:pt x="182" y="224"/>
                      <a:pt x="183" y="224"/>
                    </a:cubicBezTo>
                    <a:cubicBezTo>
                      <a:pt x="185" y="225"/>
                      <a:pt x="185" y="225"/>
                      <a:pt x="185" y="225"/>
                    </a:cubicBezTo>
                    <a:cubicBezTo>
                      <a:pt x="186" y="225"/>
                      <a:pt x="187" y="225"/>
                      <a:pt x="188" y="225"/>
                    </a:cubicBezTo>
                    <a:cubicBezTo>
                      <a:pt x="188" y="226"/>
                      <a:pt x="188" y="226"/>
                      <a:pt x="188" y="226"/>
                    </a:cubicBezTo>
                    <a:cubicBezTo>
                      <a:pt x="189" y="226"/>
                      <a:pt x="189" y="226"/>
                      <a:pt x="189" y="226"/>
                    </a:cubicBezTo>
                    <a:cubicBezTo>
                      <a:pt x="190" y="226"/>
                      <a:pt x="191" y="226"/>
                      <a:pt x="191" y="226"/>
                    </a:cubicBezTo>
                    <a:cubicBezTo>
                      <a:pt x="192" y="226"/>
                      <a:pt x="192" y="226"/>
                      <a:pt x="192" y="226"/>
                    </a:cubicBezTo>
                    <a:cubicBezTo>
                      <a:pt x="193" y="226"/>
                      <a:pt x="193" y="226"/>
                      <a:pt x="193" y="226"/>
                    </a:cubicBezTo>
                    <a:cubicBezTo>
                      <a:pt x="195" y="226"/>
                      <a:pt x="196" y="225"/>
                      <a:pt x="198" y="224"/>
                    </a:cubicBezTo>
                    <a:cubicBezTo>
                      <a:pt x="189" y="217"/>
                      <a:pt x="189" y="217"/>
                      <a:pt x="189" y="217"/>
                    </a:cubicBezTo>
                    <a:cubicBezTo>
                      <a:pt x="198" y="217"/>
                      <a:pt x="198" y="217"/>
                      <a:pt x="198" y="217"/>
                    </a:cubicBezTo>
                    <a:cubicBezTo>
                      <a:pt x="202" y="216"/>
                      <a:pt x="203" y="216"/>
                      <a:pt x="207" y="213"/>
                    </a:cubicBezTo>
                    <a:cubicBezTo>
                      <a:pt x="207" y="213"/>
                      <a:pt x="207" y="213"/>
                      <a:pt x="207" y="213"/>
                    </a:cubicBezTo>
                    <a:cubicBezTo>
                      <a:pt x="208" y="212"/>
                      <a:pt x="208" y="212"/>
                      <a:pt x="208" y="212"/>
                    </a:cubicBezTo>
                    <a:cubicBezTo>
                      <a:pt x="210" y="211"/>
                      <a:pt x="211" y="211"/>
                      <a:pt x="212" y="210"/>
                    </a:cubicBezTo>
                    <a:cubicBezTo>
                      <a:pt x="213" y="210"/>
                      <a:pt x="213" y="210"/>
                      <a:pt x="214" y="210"/>
                    </a:cubicBezTo>
                    <a:cubicBezTo>
                      <a:pt x="215" y="209"/>
                      <a:pt x="216" y="209"/>
                      <a:pt x="216" y="209"/>
                    </a:cubicBezTo>
                    <a:cubicBezTo>
                      <a:pt x="217" y="209"/>
                      <a:pt x="218" y="209"/>
                      <a:pt x="218" y="208"/>
                    </a:cubicBezTo>
                    <a:cubicBezTo>
                      <a:pt x="219" y="208"/>
                      <a:pt x="219" y="208"/>
                      <a:pt x="219" y="208"/>
                    </a:cubicBezTo>
                    <a:cubicBezTo>
                      <a:pt x="220" y="208"/>
                      <a:pt x="221" y="208"/>
                      <a:pt x="223" y="208"/>
                    </a:cubicBezTo>
                    <a:cubicBezTo>
                      <a:pt x="223" y="208"/>
                      <a:pt x="223" y="207"/>
                      <a:pt x="224" y="207"/>
                    </a:cubicBezTo>
                    <a:cubicBezTo>
                      <a:pt x="224" y="207"/>
                      <a:pt x="225" y="208"/>
                      <a:pt x="226" y="208"/>
                    </a:cubicBezTo>
                    <a:cubicBezTo>
                      <a:pt x="226" y="208"/>
                      <a:pt x="226" y="208"/>
                      <a:pt x="226" y="208"/>
                    </a:cubicBezTo>
                    <a:cubicBezTo>
                      <a:pt x="227" y="208"/>
                      <a:pt x="228" y="208"/>
                      <a:pt x="229" y="209"/>
                    </a:cubicBezTo>
                    <a:cubicBezTo>
                      <a:pt x="230" y="209"/>
                      <a:pt x="230" y="209"/>
                      <a:pt x="230" y="209"/>
                    </a:cubicBezTo>
                    <a:cubicBezTo>
                      <a:pt x="230" y="210"/>
                      <a:pt x="231" y="211"/>
                      <a:pt x="233" y="212"/>
                    </a:cubicBezTo>
                    <a:cubicBezTo>
                      <a:pt x="233" y="212"/>
                      <a:pt x="233" y="212"/>
                      <a:pt x="233" y="212"/>
                    </a:cubicBezTo>
                    <a:cubicBezTo>
                      <a:pt x="234" y="213"/>
                      <a:pt x="235" y="213"/>
                      <a:pt x="235" y="213"/>
                    </a:cubicBezTo>
                    <a:cubicBezTo>
                      <a:pt x="235" y="213"/>
                      <a:pt x="235" y="213"/>
                      <a:pt x="235" y="213"/>
                    </a:cubicBezTo>
                    <a:cubicBezTo>
                      <a:pt x="237" y="211"/>
                      <a:pt x="237" y="211"/>
                      <a:pt x="237" y="211"/>
                    </a:cubicBezTo>
                    <a:cubicBezTo>
                      <a:pt x="239" y="209"/>
                      <a:pt x="241" y="208"/>
                      <a:pt x="243" y="206"/>
                    </a:cubicBezTo>
                    <a:cubicBezTo>
                      <a:pt x="244" y="205"/>
                      <a:pt x="244" y="205"/>
                      <a:pt x="244" y="205"/>
                    </a:cubicBezTo>
                    <a:cubicBezTo>
                      <a:pt x="243" y="196"/>
                      <a:pt x="243" y="196"/>
                      <a:pt x="243" y="196"/>
                    </a:cubicBezTo>
                    <a:cubicBezTo>
                      <a:pt x="243" y="196"/>
                      <a:pt x="243" y="196"/>
                      <a:pt x="243" y="196"/>
                    </a:cubicBezTo>
                    <a:cubicBezTo>
                      <a:pt x="242" y="191"/>
                      <a:pt x="242" y="191"/>
                      <a:pt x="242" y="191"/>
                    </a:cubicBezTo>
                    <a:cubicBezTo>
                      <a:pt x="242" y="189"/>
                      <a:pt x="243" y="188"/>
                      <a:pt x="243" y="188"/>
                    </a:cubicBezTo>
                    <a:cubicBezTo>
                      <a:pt x="243" y="188"/>
                      <a:pt x="243" y="187"/>
                      <a:pt x="244" y="187"/>
                    </a:cubicBezTo>
                    <a:cubicBezTo>
                      <a:pt x="245" y="186"/>
                      <a:pt x="245" y="186"/>
                      <a:pt x="246" y="185"/>
                    </a:cubicBezTo>
                    <a:cubicBezTo>
                      <a:pt x="247" y="184"/>
                      <a:pt x="247" y="184"/>
                      <a:pt x="247" y="184"/>
                    </a:cubicBezTo>
                    <a:cubicBezTo>
                      <a:pt x="247" y="184"/>
                      <a:pt x="247" y="183"/>
                      <a:pt x="247" y="183"/>
                    </a:cubicBezTo>
                    <a:cubicBezTo>
                      <a:pt x="247" y="182"/>
                      <a:pt x="247" y="182"/>
                      <a:pt x="247" y="182"/>
                    </a:cubicBezTo>
                    <a:cubicBezTo>
                      <a:pt x="248" y="181"/>
                      <a:pt x="248" y="180"/>
                      <a:pt x="248" y="179"/>
                    </a:cubicBezTo>
                    <a:cubicBezTo>
                      <a:pt x="249" y="176"/>
                      <a:pt x="249" y="172"/>
                      <a:pt x="251" y="170"/>
                    </a:cubicBezTo>
                    <a:cubicBezTo>
                      <a:pt x="252" y="169"/>
                      <a:pt x="252" y="169"/>
                      <a:pt x="252" y="169"/>
                    </a:cubicBezTo>
                    <a:cubicBezTo>
                      <a:pt x="253" y="168"/>
                      <a:pt x="254" y="168"/>
                      <a:pt x="255" y="168"/>
                    </a:cubicBezTo>
                    <a:cubicBezTo>
                      <a:pt x="255" y="168"/>
                      <a:pt x="255" y="168"/>
                      <a:pt x="255" y="168"/>
                    </a:cubicBezTo>
                    <a:cubicBezTo>
                      <a:pt x="256" y="168"/>
                      <a:pt x="257" y="168"/>
                      <a:pt x="258" y="168"/>
                    </a:cubicBezTo>
                    <a:cubicBezTo>
                      <a:pt x="259" y="168"/>
                      <a:pt x="259" y="168"/>
                      <a:pt x="259" y="168"/>
                    </a:cubicBezTo>
                    <a:cubicBezTo>
                      <a:pt x="260" y="168"/>
                      <a:pt x="261" y="168"/>
                      <a:pt x="262" y="167"/>
                    </a:cubicBezTo>
                    <a:cubicBezTo>
                      <a:pt x="263" y="167"/>
                      <a:pt x="263" y="167"/>
                      <a:pt x="263" y="167"/>
                    </a:cubicBezTo>
                    <a:cubicBezTo>
                      <a:pt x="265" y="167"/>
                      <a:pt x="270" y="164"/>
                      <a:pt x="271" y="162"/>
                    </a:cubicBezTo>
                    <a:cubicBezTo>
                      <a:pt x="271" y="162"/>
                      <a:pt x="271" y="162"/>
                      <a:pt x="271" y="162"/>
                    </a:cubicBezTo>
                    <a:cubicBezTo>
                      <a:pt x="271" y="161"/>
                      <a:pt x="270" y="160"/>
                      <a:pt x="268" y="157"/>
                    </a:cubicBezTo>
                    <a:cubicBezTo>
                      <a:pt x="265" y="153"/>
                      <a:pt x="265" y="153"/>
                      <a:pt x="265" y="153"/>
                    </a:cubicBezTo>
                    <a:cubicBezTo>
                      <a:pt x="265" y="152"/>
                      <a:pt x="265" y="152"/>
                      <a:pt x="265" y="152"/>
                    </a:cubicBezTo>
                    <a:cubicBezTo>
                      <a:pt x="265" y="152"/>
                      <a:pt x="265" y="152"/>
                      <a:pt x="265" y="152"/>
                    </a:cubicBezTo>
                    <a:cubicBezTo>
                      <a:pt x="264" y="151"/>
                      <a:pt x="264" y="151"/>
                      <a:pt x="264" y="151"/>
                    </a:cubicBezTo>
                    <a:cubicBezTo>
                      <a:pt x="261" y="147"/>
                      <a:pt x="261" y="147"/>
                      <a:pt x="261" y="147"/>
                    </a:cubicBezTo>
                    <a:cubicBezTo>
                      <a:pt x="259" y="143"/>
                      <a:pt x="260" y="140"/>
                      <a:pt x="262" y="139"/>
                    </a:cubicBezTo>
                    <a:cubicBezTo>
                      <a:pt x="262" y="138"/>
                      <a:pt x="262" y="138"/>
                      <a:pt x="262" y="138"/>
                    </a:cubicBezTo>
                    <a:cubicBezTo>
                      <a:pt x="264" y="138"/>
                      <a:pt x="265" y="137"/>
                      <a:pt x="267" y="137"/>
                    </a:cubicBezTo>
                    <a:cubicBezTo>
                      <a:pt x="269" y="137"/>
                      <a:pt x="273" y="138"/>
                      <a:pt x="277" y="139"/>
                    </a:cubicBezTo>
                    <a:cubicBezTo>
                      <a:pt x="278" y="139"/>
                      <a:pt x="278" y="139"/>
                      <a:pt x="278" y="139"/>
                    </a:cubicBezTo>
                    <a:cubicBezTo>
                      <a:pt x="278" y="139"/>
                      <a:pt x="279" y="140"/>
                      <a:pt x="280" y="140"/>
                    </a:cubicBezTo>
                    <a:cubicBezTo>
                      <a:pt x="281" y="140"/>
                      <a:pt x="281" y="140"/>
                      <a:pt x="281" y="140"/>
                    </a:cubicBezTo>
                    <a:cubicBezTo>
                      <a:pt x="281" y="140"/>
                      <a:pt x="282" y="140"/>
                      <a:pt x="283" y="140"/>
                    </a:cubicBezTo>
                    <a:cubicBezTo>
                      <a:pt x="283" y="140"/>
                      <a:pt x="284" y="140"/>
                      <a:pt x="285" y="140"/>
                    </a:cubicBezTo>
                    <a:cubicBezTo>
                      <a:pt x="287" y="140"/>
                      <a:pt x="290" y="139"/>
                      <a:pt x="292" y="138"/>
                    </a:cubicBezTo>
                    <a:cubicBezTo>
                      <a:pt x="293" y="137"/>
                      <a:pt x="294" y="136"/>
                      <a:pt x="294" y="135"/>
                    </a:cubicBezTo>
                    <a:cubicBezTo>
                      <a:pt x="295" y="135"/>
                      <a:pt x="295" y="135"/>
                      <a:pt x="295" y="135"/>
                    </a:cubicBezTo>
                    <a:cubicBezTo>
                      <a:pt x="295" y="134"/>
                      <a:pt x="295" y="134"/>
                      <a:pt x="295" y="134"/>
                    </a:cubicBezTo>
                    <a:cubicBezTo>
                      <a:pt x="295" y="134"/>
                      <a:pt x="295" y="133"/>
                      <a:pt x="295" y="133"/>
                    </a:cubicBezTo>
                    <a:cubicBezTo>
                      <a:pt x="295" y="133"/>
                      <a:pt x="295" y="133"/>
                      <a:pt x="295" y="133"/>
                    </a:cubicBezTo>
                    <a:cubicBezTo>
                      <a:pt x="294" y="132"/>
                      <a:pt x="293" y="131"/>
                      <a:pt x="293" y="129"/>
                    </a:cubicBezTo>
                    <a:cubicBezTo>
                      <a:pt x="291" y="126"/>
                      <a:pt x="291" y="122"/>
                      <a:pt x="294" y="120"/>
                    </a:cubicBezTo>
                    <a:cubicBezTo>
                      <a:pt x="294" y="119"/>
                      <a:pt x="295" y="118"/>
                      <a:pt x="297" y="117"/>
                    </a:cubicBezTo>
                    <a:cubicBezTo>
                      <a:pt x="298" y="116"/>
                      <a:pt x="298" y="116"/>
                      <a:pt x="299" y="115"/>
                    </a:cubicBezTo>
                    <a:cubicBezTo>
                      <a:pt x="299" y="114"/>
                      <a:pt x="300" y="112"/>
                      <a:pt x="302" y="111"/>
                    </a:cubicBezTo>
                    <a:cubicBezTo>
                      <a:pt x="303" y="110"/>
                      <a:pt x="304" y="109"/>
                      <a:pt x="306" y="109"/>
                    </a:cubicBezTo>
                    <a:cubicBezTo>
                      <a:pt x="306" y="108"/>
                      <a:pt x="306" y="108"/>
                      <a:pt x="306" y="108"/>
                    </a:cubicBezTo>
                    <a:cubicBezTo>
                      <a:pt x="306" y="108"/>
                      <a:pt x="306" y="108"/>
                      <a:pt x="307" y="107"/>
                    </a:cubicBezTo>
                    <a:cubicBezTo>
                      <a:pt x="307" y="105"/>
                      <a:pt x="308" y="104"/>
                      <a:pt x="309" y="103"/>
                    </a:cubicBezTo>
                    <a:cubicBezTo>
                      <a:pt x="309" y="103"/>
                      <a:pt x="309" y="102"/>
                      <a:pt x="308" y="101"/>
                    </a:cubicBezTo>
                    <a:cubicBezTo>
                      <a:pt x="308" y="101"/>
                      <a:pt x="308" y="101"/>
                      <a:pt x="308" y="101"/>
                    </a:cubicBezTo>
                    <a:cubicBezTo>
                      <a:pt x="308" y="99"/>
                      <a:pt x="308" y="98"/>
                      <a:pt x="308" y="97"/>
                    </a:cubicBezTo>
                    <a:cubicBezTo>
                      <a:pt x="308" y="96"/>
                      <a:pt x="308" y="94"/>
                      <a:pt x="308" y="94"/>
                    </a:cubicBezTo>
                    <a:cubicBezTo>
                      <a:pt x="307" y="91"/>
                      <a:pt x="307" y="91"/>
                      <a:pt x="307" y="91"/>
                    </a:cubicBezTo>
                    <a:cubicBezTo>
                      <a:pt x="307" y="91"/>
                      <a:pt x="307" y="91"/>
                      <a:pt x="307" y="91"/>
                    </a:cubicBezTo>
                    <a:cubicBezTo>
                      <a:pt x="307" y="91"/>
                      <a:pt x="307" y="91"/>
                      <a:pt x="307" y="91"/>
                    </a:cubicBezTo>
                    <a:cubicBezTo>
                      <a:pt x="306" y="89"/>
                      <a:pt x="306" y="89"/>
                      <a:pt x="306" y="89"/>
                    </a:cubicBezTo>
                    <a:cubicBezTo>
                      <a:pt x="305" y="88"/>
                      <a:pt x="305" y="88"/>
                      <a:pt x="304" y="87"/>
                    </a:cubicBezTo>
                    <a:cubicBezTo>
                      <a:pt x="304" y="87"/>
                      <a:pt x="304" y="86"/>
                      <a:pt x="304" y="86"/>
                    </a:cubicBezTo>
                    <a:cubicBezTo>
                      <a:pt x="303" y="85"/>
                      <a:pt x="303" y="85"/>
                      <a:pt x="303" y="85"/>
                    </a:cubicBezTo>
                    <a:cubicBezTo>
                      <a:pt x="302" y="83"/>
                      <a:pt x="301" y="81"/>
                      <a:pt x="300" y="80"/>
                    </a:cubicBezTo>
                    <a:cubicBezTo>
                      <a:pt x="299" y="80"/>
                      <a:pt x="299" y="80"/>
                      <a:pt x="299" y="80"/>
                    </a:cubicBezTo>
                    <a:cubicBezTo>
                      <a:pt x="299" y="79"/>
                      <a:pt x="299" y="79"/>
                      <a:pt x="299" y="79"/>
                    </a:cubicBezTo>
                    <a:cubicBezTo>
                      <a:pt x="295" y="77"/>
                      <a:pt x="295" y="77"/>
                      <a:pt x="295" y="77"/>
                    </a:cubicBezTo>
                    <a:cubicBezTo>
                      <a:pt x="298" y="74"/>
                      <a:pt x="298" y="74"/>
                      <a:pt x="298" y="74"/>
                    </a:cubicBezTo>
                    <a:cubicBezTo>
                      <a:pt x="302" y="69"/>
                      <a:pt x="306" y="64"/>
                      <a:pt x="311" y="60"/>
                    </a:cubicBezTo>
                    <a:cubicBezTo>
                      <a:pt x="312" y="59"/>
                      <a:pt x="312" y="59"/>
                      <a:pt x="312" y="59"/>
                    </a:cubicBezTo>
                    <a:cubicBezTo>
                      <a:pt x="314" y="59"/>
                      <a:pt x="314" y="59"/>
                      <a:pt x="314" y="59"/>
                    </a:cubicBezTo>
                    <a:cubicBezTo>
                      <a:pt x="314" y="59"/>
                      <a:pt x="314" y="59"/>
                      <a:pt x="314" y="59"/>
                    </a:cubicBezTo>
                    <a:cubicBezTo>
                      <a:pt x="315" y="59"/>
                      <a:pt x="315" y="59"/>
                      <a:pt x="316" y="59"/>
                    </a:cubicBezTo>
                    <a:cubicBezTo>
                      <a:pt x="317" y="60"/>
                      <a:pt x="317" y="60"/>
                      <a:pt x="317" y="60"/>
                    </a:cubicBezTo>
                    <a:cubicBezTo>
                      <a:pt x="318" y="60"/>
                      <a:pt x="318" y="60"/>
                      <a:pt x="318" y="60"/>
                    </a:cubicBezTo>
                    <a:cubicBezTo>
                      <a:pt x="320" y="59"/>
                      <a:pt x="321" y="58"/>
                      <a:pt x="323" y="57"/>
                    </a:cubicBezTo>
                    <a:cubicBezTo>
                      <a:pt x="327" y="55"/>
                      <a:pt x="327" y="55"/>
                      <a:pt x="327" y="55"/>
                    </a:cubicBezTo>
                    <a:cubicBezTo>
                      <a:pt x="328" y="54"/>
                      <a:pt x="329" y="53"/>
                      <a:pt x="331" y="52"/>
                    </a:cubicBezTo>
                    <a:cubicBezTo>
                      <a:pt x="330" y="52"/>
                      <a:pt x="330" y="52"/>
                      <a:pt x="330" y="52"/>
                    </a:cubicBezTo>
                    <a:cubicBezTo>
                      <a:pt x="327" y="54"/>
                      <a:pt x="323" y="55"/>
                      <a:pt x="319" y="57"/>
                    </a:cubicBezTo>
                    <a:cubicBezTo>
                      <a:pt x="316" y="58"/>
                      <a:pt x="316" y="58"/>
                      <a:pt x="316" y="58"/>
                    </a:cubicBezTo>
                    <a:cubicBezTo>
                      <a:pt x="316" y="58"/>
                      <a:pt x="315" y="58"/>
                      <a:pt x="314" y="58"/>
                    </a:cubicBezTo>
                    <a:cubicBezTo>
                      <a:pt x="314" y="58"/>
                      <a:pt x="314" y="58"/>
                      <a:pt x="314" y="58"/>
                    </a:cubicBezTo>
                    <a:cubicBezTo>
                      <a:pt x="313" y="58"/>
                      <a:pt x="313" y="58"/>
                      <a:pt x="312" y="58"/>
                    </a:cubicBezTo>
                    <a:cubicBezTo>
                      <a:pt x="309" y="56"/>
                      <a:pt x="308" y="54"/>
                      <a:pt x="307" y="52"/>
                    </a:cubicBezTo>
                    <a:cubicBezTo>
                      <a:pt x="307" y="51"/>
                      <a:pt x="306" y="51"/>
                      <a:pt x="306" y="50"/>
                    </a:cubicBezTo>
                    <a:cubicBezTo>
                      <a:pt x="306" y="50"/>
                      <a:pt x="306" y="50"/>
                      <a:pt x="306" y="50"/>
                    </a:cubicBezTo>
                    <a:cubicBezTo>
                      <a:pt x="305" y="48"/>
                      <a:pt x="304" y="45"/>
                      <a:pt x="304" y="43"/>
                    </a:cubicBezTo>
                    <a:cubicBezTo>
                      <a:pt x="304" y="42"/>
                      <a:pt x="304" y="41"/>
                      <a:pt x="304" y="40"/>
                    </a:cubicBezTo>
                    <a:cubicBezTo>
                      <a:pt x="305" y="39"/>
                      <a:pt x="305" y="38"/>
                      <a:pt x="305" y="37"/>
                    </a:cubicBezTo>
                    <a:cubicBezTo>
                      <a:pt x="305" y="36"/>
                      <a:pt x="305" y="36"/>
                      <a:pt x="305" y="36"/>
                    </a:cubicBezTo>
                    <a:cubicBezTo>
                      <a:pt x="306" y="33"/>
                      <a:pt x="307" y="29"/>
                      <a:pt x="307" y="24"/>
                    </a:cubicBezTo>
                    <a:cubicBezTo>
                      <a:pt x="307" y="22"/>
                      <a:pt x="307" y="19"/>
                      <a:pt x="308" y="17"/>
                    </a:cubicBezTo>
                    <a:cubicBezTo>
                      <a:pt x="307" y="16"/>
                      <a:pt x="305" y="16"/>
                      <a:pt x="305" y="16"/>
                    </a:cubicBezTo>
                    <a:cubicBezTo>
                      <a:pt x="304" y="16"/>
                      <a:pt x="304" y="16"/>
                      <a:pt x="304" y="16"/>
                    </a:cubicBezTo>
                    <a:cubicBezTo>
                      <a:pt x="303" y="16"/>
                      <a:pt x="303" y="16"/>
                      <a:pt x="302" y="16"/>
                    </a:cubicBezTo>
                    <a:cubicBezTo>
                      <a:pt x="298" y="15"/>
                      <a:pt x="298" y="15"/>
                      <a:pt x="298" y="15"/>
                    </a:cubicBezTo>
                    <a:cubicBezTo>
                      <a:pt x="300" y="10"/>
                      <a:pt x="300" y="10"/>
                      <a:pt x="300" y="10"/>
                    </a:cubicBezTo>
                    <a:cubicBezTo>
                      <a:pt x="300" y="9"/>
                      <a:pt x="301" y="9"/>
                      <a:pt x="301" y="8"/>
                    </a:cubicBezTo>
                    <a:cubicBezTo>
                      <a:pt x="300" y="8"/>
                      <a:pt x="300" y="8"/>
                      <a:pt x="300" y="8"/>
                    </a:cubicBezTo>
                    <a:cubicBezTo>
                      <a:pt x="300" y="7"/>
                      <a:pt x="300" y="6"/>
                      <a:pt x="299" y="6"/>
                    </a:cubicBezTo>
                    <a:cubicBezTo>
                      <a:pt x="299" y="5"/>
                      <a:pt x="299" y="5"/>
                      <a:pt x="299" y="5"/>
                    </a:cubicBezTo>
                    <a:cubicBezTo>
                      <a:pt x="292" y="11"/>
                      <a:pt x="292" y="11"/>
                      <a:pt x="292" y="11"/>
                    </a:cubicBezTo>
                    <a:cubicBezTo>
                      <a:pt x="297" y="3"/>
                      <a:pt x="297" y="3"/>
                      <a:pt x="297" y="3"/>
                    </a:cubicBezTo>
                    <a:cubicBezTo>
                      <a:pt x="297" y="3"/>
                      <a:pt x="296" y="2"/>
                      <a:pt x="296" y="2"/>
                    </a:cubicBezTo>
                    <a:cubicBezTo>
                      <a:pt x="295" y="1"/>
                      <a:pt x="294" y="1"/>
                      <a:pt x="29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342"/>
              <p:cNvSpPr>
                <a:spLocks noEditPoints="1"/>
              </p:cNvSpPr>
              <p:nvPr/>
            </p:nvSpPr>
            <p:spPr bwMode="auto">
              <a:xfrm>
                <a:off x="8343102" y="5148107"/>
                <a:ext cx="1709894" cy="1459306"/>
              </a:xfrm>
              <a:custGeom>
                <a:gdLst>
                  <a:gd name="T0" fmla="*/ 136 w 539"/>
                  <a:gd name="T1" fmla="*/ 298 h 459"/>
                  <a:gd name="T2" fmla="*/ 8 w 539"/>
                  <a:gd name="T3" fmla="*/ 38 h 459"/>
                  <a:gd name="T4" fmla="*/ 15 w 539"/>
                  <a:gd name="T5" fmla="*/ 61 h 459"/>
                  <a:gd name="T6" fmla="*/ 21 w 539"/>
                  <a:gd name="T7" fmla="*/ 82 h 459"/>
                  <a:gd name="T8" fmla="*/ 26 w 539"/>
                  <a:gd name="T9" fmla="*/ 93 h 459"/>
                  <a:gd name="T10" fmla="*/ 33 w 539"/>
                  <a:gd name="T11" fmla="*/ 105 h 459"/>
                  <a:gd name="T12" fmla="*/ 47 w 539"/>
                  <a:gd name="T13" fmla="*/ 122 h 459"/>
                  <a:gd name="T14" fmla="*/ 63 w 539"/>
                  <a:gd name="T15" fmla="*/ 129 h 459"/>
                  <a:gd name="T16" fmla="*/ 60 w 539"/>
                  <a:gd name="T17" fmla="*/ 145 h 459"/>
                  <a:gd name="T18" fmla="*/ 47 w 539"/>
                  <a:gd name="T19" fmla="*/ 167 h 459"/>
                  <a:gd name="T20" fmla="*/ 39 w 539"/>
                  <a:gd name="T21" fmla="*/ 184 h 459"/>
                  <a:gd name="T22" fmla="*/ 48 w 539"/>
                  <a:gd name="T23" fmla="*/ 193 h 459"/>
                  <a:gd name="T24" fmla="*/ 58 w 539"/>
                  <a:gd name="T25" fmla="*/ 213 h 459"/>
                  <a:gd name="T26" fmla="*/ 94 w 539"/>
                  <a:gd name="T27" fmla="*/ 232 h 459"/>
                  <a:gd name="T28" fmla="*/ 107 w 539"/>
                  <a:gd name="T29" fmla="*/ 259 h 459"/>
                  <a:gd name="T30" fmla="*/ 112 w 539"/>
                  <a:gd name="T31" fmla="*/ 277 h 459"/>
                  <a:gd name="T32" fmla="*/ 123 w 539"/>
                  <a:gd name="T33" fmla="*/ 303 h 459"/>
                  <a:gd name="T34" fmla="*/ 143 w 539"/>
                  <a:gd name="T35" fmla="*/ 301 h 459"/>
                  <a:gd name="T36" fmla="*/ 166 w 539"/>
                  <a:gd name="T37" fmla="*/ 305 h 459"/>
                  <a:gd name="T38" fmla="*/ 192 w 539"/>
                  <a:gd name="T39" fmla="*/ 343 h 459"/>
                  <a:gd name="T40" fmla="*/ 216 w 539"/>
                  <a:gd name="T41" fmla="*/ 376 h 459"/>
                  <a:gd name="T42" fmla="*/ 242 w 539"/>
                  <a:gd name="T43" fmla="*/ 392 h 459"/>
                  <a:gd name="T44" fmla="*/ 277 w 539"/>
                  <a:gd name="T45" fmla="*/ 413 h 459"/>
                  <a:gd name="T46" fmla="*/ 334 w 539"/>
                  <a:gd name="T47" fmla="*/ 399 h 459"/>
                  <a:gd name="T48" fmla="*/ 368 w 539"/>
                  <a:gd name="T49" fmla="*/ 424 h 459"/>
                  <a:gd name="T50" fmla="*/ 414 w 539"/>
                  <a:gd name="T51" fmla="*/ 446 h 459"/>
                  <a:gd name="T52" fmla="*/ 449 w 539"/>
                  <a:gd name="T53" fmla="*/ 450 h 459"/>
                  <a:gd name="T54" fmla="*/ 485 w 539"/>
                  <a:gd name="T55" fmla="*/ 459 h 459"/>
                  <a:gd name="T56" fmla="*/ 498 w 539"/>
                  <a:gd name="T57" fmla="*/ 431 h 459"/>
                  <a:gd name="T58" fmla="*/ 536 w 539"/>
                  <a:gd name="T59" fmla="*/ 411 h 459"/>
                  <a:gd name="T60" fmla="*/ 525 w 539"/>
                  <a:gd name="T61" fmla="*/ 393 h 459"/>
                  <a:gd name="T62" fmla="*/ 515 w 539"/>
                  <a:gd name="T63" fmla="*/ 364 h 459"/>
                  <a:gd name="T64" fmla="*/ 466 w 539"/>
                  <a:gd name="T65" fmla="*/ 316 h 459"/>
                  <a:gd name="T66" fmla="*/ 491 w 539"/>
                  <a:gd name="T67" fmla="*/ 289 h 459"/>
                  <a:gd name="T68" fmla="*/ 470 w 539"/>
                  <a:gd name="T69" fmla="*/ 263 h 459"/>
                  <a:gd name="T70" fmla="*/ 469 w 539"/>
                  <a:gd name="T71" fmla="*/ 234 h 459"/>
                  <a:gd name="T72" fmla="*/ 461 w 539"/>
                  <a:gd name="T73" fmla="*/ 192 h 459"/>
                  <a:gd name="T74" fmla="*/ 472 w 539"/>
                  <a:gd name="T75" fmla="*/ 160 h 459"/>
                  <a:gd name="T76" fmla="*/ 484 w 539"/>
                  <a:gd name="T77" fmla="*/ 134 h 459"/>
                  <a:gd name="T78" fmla="*/ 479 w 539"/>
                  <a:gd name="T79" fmla="*/ 109 h 459"/>
                  <a:gd name="T80" fmla="*/ 463 w 539"/>
                  <a:gd name="T81" fmla="*/ 102 h 459"/>
                  <a:gd name="T82" fmla="*/ 448 w 539"/>
                  <a:gd name="T83" fmla="*/ 89 h 459"/>
                  <a:gd name="T84" fmla="*/ 430 w 539"/>
                  <a:gd name="T85" fmla="*/ 74 h 459"/>
                  <a:gd name="T86" fmla="*/ 403 w 539"/>
                  <a:gd name="T87" fmla="*/ 69 h 459"/>
                  <a:gd name="T88" fmla="*/ 377 w 539"/>
                  <a:gd name="T89" fmla="*/ 59 h 459"/>
                  <a:gd name="T90" fmla="*/ 359 w 539"/>
                  <a:gd name="T91" fmla="*/ 48 h 459"/>
                  <a:gd name="T92" fmla="*/ 339 w 539"/>
                  <a:gd name="T93" fmla="*/ 60 h 459"/>
                  <a:gd name="T94" fmla="*/ 268 w 539"/>
                  <a:gd name="T95" fmla="*/ 91 h 459"/>
                  <a:gd name="T96" fmla="*/ 215 w 539"/>
                  <a:gd name="T97" fmla="*/ 99 h 459"/>
                  <a:gd name="T98" fmla="*/ 171 w 539"/>
                  <a:gd name="T99" fmla="*/ 77 h 459"/>
                  <a:gd name="T100" fmla="*/ 134 w 539"/>
                  <a:gd name="T101" fmla="*/ 43 h 459"/>
                  <a:gd name="T102" fmla="*/ 125 w 539"/>
                  <a:gd name="T103" fmla="*/ 44 h 459"/>
                  <a:gd name="T104" fmla="*/ 103 w 539"/>
                  <a:gd name="T105" fmla="*/ 25 h 459"/>
                  <a:gd name="T106" fmla="*/ 101 w 539"/>
                  <a:gd name="T107" fmla="*/ 4 h 459"/>
                  <a:gd name="T108" fmla="*/ 69 w 539"/>
                  <a:gd name="T109" fmla="*/ 28 h 459"/>
                  <a:gd name="T110" fmla="*/ 60 w 539"/>
                  <a:gd name="T111" fmla="*/ 29 h 459"/>
                  <a:gd name="T112" fmla="*/ 16 w 539"/>
                  <a:gd name="T113" fmla="*/ 4 h 4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9" h="459">
                    <a:moveTo>
                      <a:pt x="136" y="298"/>
                    </a:moveTo>
                    <a:cubicBezTo>
                      <a:pt x="138" y="297"/>
                      <a:pt x="137" y="295"/>
                      <a:pt x="136" y="294"/>
                    </a:cubicBezTo>
                    <a:cubicBezTo>
                      <a:pt x="136" y="294"/>
                      <a:pt x="138" y="294"/>
                      <a:pt x="139" y="294"/>
                    </a:cubicBezTo>
                    <a:cubicBezTo>
                      <a:pt x="140" y="294"/>
                      <a:pt x="141" y="294"/>
                      <a:pt x="142" y="294"/>
                    </a:cubicBezTo>
                    <a:cubicBezTo>
                      <a:pt x="143" y="295"/>
                      <a:pt x="144" y="295"/>
                      <a:pt x="144" y="297"/>
                    </a:cubicBezTo>
                    <a:cubicBezTo>
                      <a:pt x="144" y="298"/>
                      <a:pt x="143" y="298"/>
                      <a:pt x="142" y="298"/>
                    </a:cubicBezTo>
                    <a:cubicBezTo>
                      <a:pt x="141" y="298"/>
                      <a:pt x="139" y="298"/>
                      <a:pt x="138" y="298"/>
                    </a:cubicBezTo>
                    <a:cubicBezTo>
                      <a:pt x="138" y="298"/>
                      <a:pt x="137" y="298"/>
                      <a:pt x="137" y="298"/>
                    </a:cubicBezTo>
                    <a:cubicBezTo>
                      <a:pt x="137" y="298"/>
                      <a:pt x="137" y="298"/>
                      <a:pt x="136" y="298"/>
                    </a:cubicBezTo>
                    <a:moveTo>
                      <a:pt x="12" y="0"/>
                    </a:moveTo>
                    <a:cubicBezTo>
                      <a:pt x="11" y="0"/>
                      <a:pt x="11" y="0"/>
                      <a:pt x="11" y="0"/>
                    </a:cubicBezTo>
                    <a:cubicBezTo>
                      <a:pt x="11" y="0"/>
                      <a:pt x="11" y="0"/>
                      <a:pt x="11" y="0"/>
                    </a:cubicBezTo>
                    <a:cubicBezTo>
                      <a:pt x="12" y="7"/>
                      <a:pt x="9" y="10"/>
                      <a:pt x="7" y="10"/>
                    </a:cubicBezTo>
                    <a:cubicBezTo>
                      <a:pt x="5" y="11"/>
                      <a:pt x="3" y="11"/>
                      <a:pt x="0" y="12"/>
                    </a:cubicBezTo>
                    <a:cubicBezTo>
                      <a:pt x="1" y="13"/>
                      <a:pt x="1" y="13"/>
                      <a:pt x="1" y="13"/>
                    </a:cubicBezTo>
                    <a:cubicBezTo>
                      <a:pt x="1" y="15"/>
                      <a:pt x="1" y="16"/>
                      <a:pt x="2" y="17"/>
                    </a:cubicBezTo>
                    <a:cubicBezTo>
                      <a:pt x="3" y="20"/>
                      <a:pt x="4" y="22"/>
                      <a:pt x="5" y="24"/>
                    </a:cubicBezTo>
                    <a:cubicBezTo>
                      <a:pt x="8" y="26"/>
                      <a:pt x="8" y="33"/>
                      <a:pt x="8" y="38"/>
                    </a:cubicBezTo>
                    <a:cubicBezTo>
                      <a:pt x="9" y="38"/>
                      <a:pt x="10" y="39"/>
                      <a:pt x="11" y="40"/>
                    </a:cubicBezTo>
                    <a:cubicBezTo>
                      <a:pt x="13" y="43"/>
                      <a:pt x="11" y="48"/>
                      <a:pt x="10" y="50"/>
                    </a:cubicBezTo>
                    <a:cubicBezTo>
                      <a:pt x="8" y="51"/>
                      <a:pt x="6" y="54"/>
                      <a:pt x="6" y="54"/>
                    </a:cubicBezTo>
                    <a:cubicBezTo>
                      <a:pt x="6" y="54"/>
                      <a:pt x="6" y="54"/>
                      <a:pt x="6" y="54"/>
                    </a:cubicBezTo>
                    <a:cubicBezTo>
                      <a:pt x="6" y="54"/>
                      <a:pt x="6" y="54"/>
                      <a:pt x="6" y="54"/>
                    </a:cubicBezTo>
                    <a:cubicBezTo>
                      <a:pt x="7" y="55"/>
                      <a:pt x="8" y="56"/>
                      <a:pt x="9" y="57"/>
                    </a:cubicBezTo>
                    <a:cubicBezTo>
                      <a:pt x="10" y="57"/>
                      <a:pt x="12" y="58"/>
                      <a:pt x="13" y="59"/>
                    </a:cubicBezTo>
                    <a:cubicBezTo>
                      <a:pt x="13" y="59"/>
                      <a:pt x="14" y="60"/>
                      <a:pt x="14" y="60"/>
                    </a:cubicBezTo>
                    <a:cubicBezTo>
                      <a:pt x="14" y="60"/>
                      <a:pt x="15" y="60"/>
                      <a:pt x="15" y="61"/>
                    </a:cubicBezTo>
                    <a:cubicBezTo>
                      <a:pt x="16" y="62"/>
                      <a:pt x="16" y="64"/>
                      <a:pt x="16" y="65"/>
                    </a:cubicBezTo>
                    <a:cubicBezTo>
                      <a:pt x="16" y="66"/>
                      <a:pt x="16" y="66"/>
                      <a:pt x="15" y="67"/>
                    </a:cubicBezTo>
                    <a:cubicBezTo>
                      <a:pt x="15" y="68"/>
                      <a:pt x="15" y="68"/>
                      <a:pt x="15" y="68"/>
                    </a:cubicBezTo>
                    <a:cubicBezTo>
                      <a:pt x="15" y="68"/>
                      <a:pt x="15" y="69"/>
                      <a:pt x="15" y="70"/>
                    </a:cubicBezTo>
                    <a:cubicBezTo>
                      <a:pt x="15" y="70"/>
                      <a:pt x="16" y="71"/>
                      <a:pt x="16" y="71"/>
                    </a:cubicBezTo>
                    <a:cubicBezTo>
                      <a:pt x="18" y="72"/>
                      <a:pt x="20" y="73"/>
                      <a:pt x="21" y="75"/>
                    </a:cubicBezTo>
                    <a:cubicBezTo>
                      <a:pt x="21" y="76"/>
                      <a:pt x="21" y="76"/>
                      <a:pt x="21" y="76"/>
                    </a:cubicBezTo>
                    <a:cubicBezTo>
                      <a:pt x="22" y="78"/>
                      <a:pt x="21" y="80"/>
                      <a:pt x="21" y="81"/>
                    </a:cubicBezTo>
                    <a:cubicBezTo>
                      <a:pt x="21" y="82"/>
                      <a:pt x="21" y="82"/>
                      <a:pt x="21" y="82"/>
                    </a:cubicBezTo>
                    <a:cubicBezTo>
                      <a:pt x="21" y="82"/>
                      <a:pt x="22" y="83"/>
                      <a:pt x="22" y="85"/>
                    </a:cubicBezTo>
                    <a:cubicBezTo>
                      <a:pt x="24" y="87"/>
                      <a:pt x="24" y="88"/>
                      <a:pt x="24" y="89"/>
                    </a:cubicBezTo>
                    <a:cubicBezTo>
                      <a:pt x="24" y="89"/>
                      <a:pt x="24" y="90"/>
                      <a:pt x="23" y="91"/>
                    </a:cubicBezTo>
                    <a:cubicBezTo>
                      <a:pt x="23" y="91"/>
                      <a:pt x="23" y="91"/>
                      <a:pt x="23" y="91"/>
                    </a:cubicBezTo>
                    <a:cubicBezTo>
                      <a:pt x="24" y="91"/>
                      <a:pt x="24" y="91"/>
                      <a:pt x="24" y="91"/>
                    </a:cubicBezTo>
                    <a:cubicBezTo>
                      <a:pt x="24" y="90"/>
                      <a:pt x="24" y="90"/>
                      <a:pt x="24" y="90"/>
                    </a:cubicBezTo>
                    <a:cubicBezTo>
                      <a:pt x="24" y="92"/>
                      <a:pt x="24" y="92"/>
                      <a:pt x="24" y="92"/>
                    </a:cubicBezTo>
                    <a:cubicBezTo>
                      <a:pt x="25" y="92"/>
                      <a:pt x="25" y="92"/>
                      <a:pt x="25" y="92"/>
                    </a:cubicBezTo>
                    <a:cubicBezTo>
                      <a:pt x="26" y="93"/>
                      <a:pt x="26" y="93"/>
                      <a:pt x="26" y="93"/>
                    </a:cubicBezTo>
                    <a:cubicBezTo>
                      <a:pt x="28" y="94"/>
                      <a:pt x="28" y="96"/>
                      <a:pt x="28" y="97"/>
                    </a:cubicBezTo>
                    <a:cubicBezTo>
                      <a:pt x="28" y="98"/>
                      <a:pt x="28" y="99"/>
                      <a:pt x="28" y="100"/>
                    </a:cubicBezTo>
                    <a:cubicBezTo>
                      <a:pt x="28" y="100"/>
                      <a:pt x="28" y="100"/>
                      <a:pt x="28" y="100"/>
                    </a:cubicBezTo>
                    <a:cubicBezTo>
                      <a:pt x="28" y="100"/>
                      <a:pt x="28" y="100"/>
                      <a:pt x="28" y="100"/>
                    </a:cubicBezTo>
                    <a:cubicBezTo>
                      <a:pt x="29" y="101"/>
                      <a:pt x="29" y="101"/>
                      <a:pt x="29" y="101"/>
                    </a:cubicBezTo>
                    <a:cubicBezTo>
                      <a:pt x="29" y="101"/>
                      <a:pt x="31" y="102"/>
                      <a:pt x="32" y="103"/>
                    </a:cubicBezTo>
                    <a:cubicBezTo>
                      <a:pt x="38" y="102"/>
                      <a:pt x="38" y="102"/>
                      <a:pt x="38" y="102"/>
                    </a:cubicBezTo>
                    <a:cubicBezTo>
                      <a:pt x="33" y="105"/>
                      <a:pt x="33" y="105"/>
                      <a:pt x="33" y="105"/>
                    </a:cubicBezTo>
                    <a:cubicBezTo>
                      <a:pt x="33" y="105"/>
                      <a:pt x="33" y="105"/>
                      <a:pt x="33" y="105"/>
                    </a:cubicBezTo>
                    <a:cubicBezTo>
                      <a:pt x="33" y="105"/>
                      <a:pt x="34" y="106"/>
                      <a:pt x="34" y="106"/>
                    </a:cubicBezTo>
                    <a:cubicBezTo>
                      <a:pt x="35" y="109"/>
                      <a:pt x="35" y="111"/>
                      <a:pt x="36" y="114"/>
                    </a:cubicBezTo>
                    <a:cubicBezTo>
                      <a:pt x="36" y="116"/>
                      <a:pt x="36" y="116"/>
                      <a:pt x="36" y="116"/>
                    </a:cubicBezTo>
                    <a:cubicBezTo>
                      <a:pt x="36" y="116"/>
                      <a:pt x="37" y="115"/>
                      <a:pt x="37" y="115"/>
                    </a:cubicBezTo>
                    <a:cubicBezTo>
                      <a:pt x="37" y="115"/>
                      <a:pt x="38" y="116"/>
                      <a:pt x="39" y="116"/>
                    </a:cubicBezTo>
                    <a:cubicBezTo>
                      <a:pt x="40" y="116"/>
                      <a:pt x="41" y="117"/>
                      <a:pt x="42" y="118"/>
                    </a:cubicBezTo>
                    <a:cubicBezTo>
                      <a:pt x="44" y="119"/>
                      <a:pt x="45" y="120"/>
                      <a:pt x="46" y="121"/>
                    </a:cubicBezTo>
                    <a:cubicBezTo>
                      <a:pt x="46" y="121"/>
                      <a:pt x="46" y="122"/>
                      <a:pt x="47" y="122"/>
                    </a:cubicBezTo>
                    <a:cubicBezTo>
                      <a:pt x="47" y="122"/>
                      <a:pt x="47" y="122"/>
                      <a:pt x="47" y="122"/>
                    </a:cubicBezTo>
                    <a:cubicBezTo>
                      <a:pt x="48" y="122"/>
                      <a:pt x="49" y="121"/>
                      <a:pt x="50" y="121"/>
                    </a:cubicBezTo>
                    <a:cubicBezTo>
                      <a:pt x="51" y="121"/>
                      <a:pt x="51" y="121"/>
                      <a:pt x="51" y="121"/>
                    </a:cubicBezTo>
                    <a:cubicBezTo>
                      <a:pt x="52" y="121"/>
                      <a:pt x="52" y="121"/>
                      <a:pt x="52" y="121"/>
                    </a:cubicBezTo>
                    <a:cubicBezTo>
                      <a:pt x="53" y="121"/>
                      <a:pt x="53" y="121"/>
                      <a:pt x="53" y="121"/>
                    </a:cubicBezTo>
                    <a:cubicBezTo>
                      <a:pt x="53" y="121"/>
                      <a:pt x="54" y="121"/>
                      <a:pt x="54" y="121"/>
                    </a:cubicBezTo>
                    <a:cubicBezTo>
                      <a:pt x="56" y="121"/>
                      <a:pt x="57" y="121"/>
                      <a:pt x="59" y="122"/>
                    </a:cubicBezTo>
                    <a:cubicBezTo>
                      <a:pt x="59" y="122"/>
                      <a:pt x="60" y="122"/>
                      <a:pt x="60" y="122"/>
                    </a:cubicBezTo>
                    <a:cubicBezTo>
                      <a:pt x="71" y="125"/>
                      <a:pt x="71" y="125"/>
                      <a:pt x="71" y="125"/>
                    </a:cubicBezTo>
                    <a:cubicBezTo>
                      <a:pt x="63" y="129"/>
                      <a:pt x="63" y="129"/>
                      <a:pt x="63" y="129"/>
                    </a:cubicBezTo>
                    <a:cubicBezTo>
                      <a:pt x="62" y="130"/>
                      <a:pt x="61" y="130"/>
                      <a:pt x="60" y="130"/>
                    </a:cubicBezTo>
                    <a:cubicBezTo>
                      <a:pt x="57" y="131"/>
                      <a:pt x="56" y="132"/>
                      <a:pt x="56" y="132"/>
                    </a:cubicBezTo>
                    <a:cubicBezTo>
                      <a:pt x="56" y="132"/>
                      <a:pt x="56" y="132"/>
                      <a:pt x="56" y="132"/>
                    </a:cubicBezTo>
                    <a:cubicBezTo>
                      <a:pt x="56" y="133"/>
                      <a:pt x="56" y="133"/>
                      <a:pt x="56" y="134"/>
                    </a:cubicBezTo>
                    <a:cubicBezTo>
                      <a:pt x="56" y="135"/>
                      <a:pt x="56" y="135"/>
                      <a:pt x="56" y="135"/>
                    </a:cubicBezTo>
                    <a:cubicBezTo>
                      <a:pt x="56" y="135"/>
                      <a:pt x="56" y="135"/>
                      <a:pt x="56" y="136"/>
                    </a:cubicBezTo>
                    <a:cubicBezTo>
                      <a:pt x="56" y="137"/>
                      <a:pt x="56" y="137"/>
                      <a:pt x="57" y="137"/>
                    </a:cubicBezTo>
                    <a:cubicBezTo>
                      <a:pt x="57" y="138"/>
                      <a:pt x="57" y="138"/>
                      <a:pt x="57" y="138"/>
                    </a:cubicBezTo>
                    <a:cubicBezTo>
                      <a:pt x="58" y="140"/>
                      <a:pt x="60" y="142"/>
                      <a:pt x="60" y="145"/>
                    </a:cubicBezTo>
                    <a:cubicBezTo>
                      <a:pt x="60" y="146"/>
                      <a:pt x="60" y="147"/>
                      <a:pt x="60" y="147"/>
                    </a:cubicBezTo>
                    <a:cubicBezTo>
                      <a:pt x="60" y="148"/>
                      <a:pt x="60" y="148"/>
                      <a:pt x="60" y="148"/>
                    </a:cubicBezTo>
                    <a:cubicBezTo>
                      <a:pt x="60" y="151"/>
                      <a:pt x="60" y="151"/>
                      <a:pt x="60" y="151"/>
                    </a:cubicBezTo>
                    <a:cubicBezTo>
                      <a:pt x="57" y="151"/>
                      <a:pt x="57" y="151"/>
                      <a:pt x="57" y="151"/>
                    </a:cubicBezTo>
                    <a:cubicBezTo>
                      <a:pt x="56" y="152"/>
                      <a:pt x="55" y="152"/>
                      <a:pt x="54" y="152"/>
                    </a:cubicBezTo>
                    <a:cubicBezTo>
                      <a:pt x="53" y="153"/>
                      <a:pt x="52" y="153"/>
                      <a:pt x="51" y="153"/>
                    </a:cubicBezTo>
                    <a:cubicBezTo>
                      <a:pt x="49" y="156"/>
                      <a:pt x="48" y="158"/>
                      <a:pt x="48" y="161"/>
                    </a:cubicBezTo>
                    <a:cubicBezTo>
                      <a:pt x="48" y="163"/>
                      <a:pt x="48" y="163"/>
                      <a:pt x="48" y="163"/>
                    </a:cubicBezTo>
                    <a:cubicBezTo>
                      <a:pt x="47" y="165"/>
                      <a:pt x="47" y="166"/>
                      <a:pt x="47" y="167"/>
                    </a:cubicBezTo>
                    <a:cubicBezTo>
                      <a:pt x="46" y="168"/>
                      <a:pt x="45" y="169"/>
                      <a:pt x="43" y="169"/>
                    </a:cubicBezTo>
                    <a:cubicBezTo>
                      <a:pt x="42" y="169"/>
                      <a:pt x="42" y="169"/>
                      <a:pt x="41" y="169"/>
                    </a:cubicBezTo>
                    <a:cubicBezTo>
                      <a:pt x="41" y="169"/>
                      <a:pt x="41" y="169"/>
                      <a:pt x="41" y="169"/>
                    </a:cubicBezTo>
                    <a:cubicBezTo>
                      <a:pt x="41" y="169"/>
                      <a:pt x="41" y="169"/>
                      <a:pt x="41" y="169"/>
                    </a:cubicBezTo>
                    <a:cubicBezTo>
                      <a:pt x="41" y="170"/>
                      <a:pt x="42" y="170"/>
                      <a:pt x="42" y="171"/>
                    </a:cubicBezTo>
                    <a:cubicBezTo>
                      <a:pt x="43" y="172"/>
                      <a:pt x="43" y="174"/>
                      <a:pt x="43" y="176"/>
                    </a:cubicBezTo>
                    <a:cubicBezTo>
                      <a:pt x="42" y="176"/>
                      <a:pt x="42" y="177"/>
                      <a:pt x="42" y="177"/>
                    </a:cubicBezTo>
                    <a:cubicBezTo>
                      <a:pt x="41" y="179"/>
                      <a:pt x="41" y="179"/>
                      <a:pt x="41" y="179"/>
                    </a:cubicBezTo>
                    <a:cubicBezTo>
                      <a:pt x="41" y="180"/>
                      <a:pt x="40" y="182"/>
                      <a:pt x="39" y="184"/>
                    </a:cubicBezTo>
                    <a:cubicBezTo>
                      <a:pt x="39" y="184"/>
                      <a:pt x="39" y="184"/>
                      <a:pt x="39" y="184"/>
                    </a:cubicBezTo>
                    <a:cubicBezTo>
                      <a:pt x="47" y="184"/>
                      <a:pt x="47" y="184"/>
                      <a:pt x="47" y="184"/>
                    </a:cubicBezTo>
                    <a:cubicBezTo>
                      <a:pt x="43" y="189"/>
                      <a:pt x="43" y="189"/>
                      <a:pt x="43" y="189"/>
                    </a:cubicBezTo>
                    <a:cubicBezTo>
                      <a:pt x="45" y="191"/>
                      <a:pt x="45" y="191"/>
                      <a:pt x="45" y="191"/>
                    </a:cubicBezTo>
                    <a:cubicBezTo>
                      <a:pt x="50" y="186"/>
                      <a:pt x="50" y="186"/>
                      <a:pt x="50" y="186"/>
                    </a:cubicBezTo>
                    <a:cubicBezTo>
                      <a:pt x="46" y="192"/>
                      <a:pt x="46" y="192"/>
                      <a:pt x="46" y="192"/>
                    </a:cubicBezTo>
                    <a:cubicBezTo>
                      <a:pt x="46" y="192"/>
                      <a:pt x="46" y="192"/>
                      <a:pt x="46" y="192"/>
                    </a:cubicBezTo>
                    <a:cubicBezTo>
                      <a:pt x="47" y="193"/>
                      <a:pt x="47" y="193"/>
                      <a:pt x="47" y="193"/>
                    </a:cubicBezTo>
                    <a:cubicBezTo>
                      <a:pt x="48" y="193"/>
                      <a:pt x="48" y="193"/>
                      <a:pt x="48" y="193"/>
                    </a:cubicBezTo>
                    <a:cubicBezTo>
                      <a:pt x="49" y="193"/>
                      <a:pt x="51" y="194"/>
                      <a:pt x="53" y="196"/>
                    </a:cubicBezTo>
                    <a:cubicBezTo>
                      <a:pt x="53" y="196"/>
                      <a:pt x="53" y="197"/>
                      <a:pt x="54" y="197"/>
                    </a:cubicBezTo>
                    <a:cubicBezTo>
                      <a:pt x="54" y="199"/>
                      <a:pt x="54" y="200"/>
                      <a:pt x="54" y="201"/>
                    </a:cubicBezTo>
                    <a:cubicBezTo>
                      <a:pt x="54" y="202"/>
                      <a:pt x="54" y="203"/>
                      <a:pt x="54" y="203"/>
                    </a:cubicBezTo>
                    <a:cubicBezTo>
                      <a:pt x="54" y="204"/>
                      <a:pt x="55" y="205"/>
                      <a:pt x="55" y="206"/>
                    </a:cubicBezTo>
                    <a:cubicBezTo>
                      <a:pt x="55" y="207"/>
                      <a:pt x="55" y="207"/>
                      <a:pt x="55" y="207"/>
                    </a:cubicBezTo>
                    <a:cubicBezTo>
                      <a:pt x="55" y="209"/>
                      <a:pt x="56" y="211"/>
                      <a:pt x="56" y="212"/>
                    </a:cubicBezTo>
                    <a:cubicBezTo>
                      <a:pt x="57" y="213"/>
                      <a:pt x="57" y="213"/>
                      <a:pt x="57" y="213"/>
                    </a:cubicBezTo>
                    <a:cubicBezTo>
                      <a:pt x="58" y="213"/>
                      <a:pt x="58" y="213"/>
                      <a:pt x="58" y="213"/>
                    </a:cubicBezTo>
                    <a:cubicBezTo>
                      <a:pt x="59" y="213"/>
                      <a:pt x="59" y="213"/>
                      <a:pt x="60" y="213"/>
                    </a:cubicBezTo>
                    <a:cubicBezTo>
                      <a:pt x="62" y="214"/>
                      <a:pt x="63" y="214"/>
                      <a:pt x="65" y="215"/>
                    </a:cubicBezTo>
                    <a:cubicBezTo>
                      <a:pt x="67" y="216"/>
                      <a:pt x="69" y="217"/>
                      <a:pt x="71" y="218"/>
                    </a:cubicBezTo>
                    <a:cubicBezTo>
                      <a:pt x="84" y="228"/>
                      <a:pt x="84" y="228"/>
                      <a:pt x="84" y="228"/>
                    </a:cubicBezTo>
                    <a:cubicBezTo>
                      <a:pt x="84" y="228"/>
                      <a:pt x="84" y="228"/>
                      <a:pt x="84" y="229"/>
                    </a:cubicBezTo>
                    <a:cubicBezTo>
                      <a:pt x="85" y="228"/>
                      <a:pt x="85" y="228"/>
                      <a:pt x="85" y="228"/>
                    </a:cubicBezTo>
                    <a:cubicBezTo>
                      <a:pt x="85" y="228"/>
                      <a:pt x="86" y="228"/>
                      <a:pt x="87" y="228"/>
                    </a:cubicBezTo>
                    <a:cubicBezTo>
                      <a:pt x="87" y="228"/>
                      <a:pt x="88" y="228"/>
                      <a:pt x="89" y="229"/>
                    </a:cubicBezTo>
                    <a:cubicBezTo>
                      <a:pt x="91" y="229"/>
                      <a:pt x="92" y="230"/>
                      <a:pt x="94" y="232"/>
                    </a:cubicBezTo>
                    <a:cubicBezTo>
                      <a:pt x="96" y="234"/>
                      <a:pt x="98" y="237"/>
                      <a:pt x="99" y="239"/>
                    </a:cubicBezTo>
                    <a:cubicBezTo>
                      <a:pt x="100" y="241"/>
                      <a:pt x="100" y="241"/>
                      <a:pt x="100" y="241"/>
                    </a:cubicBezTo>
                    <a:cubicBezTo>
                      <a:pt x="101" y="242"/>
                      <a:pt x="102" y="244"/>
                      <a:pt x="103" y="245"/>
                    </a:cubicBezTo>
                    <a:cubicBezTo>
                      <a:pt x="106" y="249"/>
                      <a:pt x="107" y="252"/>
                      <a:pt x="108" y="254"/>
                    </a:cubicBezTo>
                    <a:cubicBezTo>
                      <a:pt x="108" y="254"/>
                      <a:pt x="108" y="254"/>
                      <a:pt x="108" y="254"/>
                    </a:cubicBezTo>
                    <a:cubicBezTo>
                      <a:pt x="108" y="255"/>
                      <a:pt x="108" y="255"/>
                      <a:pt x="108" y="255"/>
                    </a:cubicBezTo>
                    <a:cubicBezTo>
                      <a:pt x="108" y="255"/>
                      <a:pt x="108" y="256"/>
                      <a:pt x="107" y="257"/>
                    </a:cubicBezTo>
                    <a:cubicBezTo>
                      <a:pt x="107" y="257"/>
                      <a:pt x="107" y="257"/>
                      <a:pt x="107" y="257"/>
                    </a:cubicBezTo>
                    <a:cubicBezTo>
                      <a:pt x="107" y="259"/>
                      <a:pt x="107" y="259"/>
                      <a:pt x="107" y="259"/>
                    </a:cubicBezTo>
                    <a:cubicBezTo>
                      <a:pt x="106" y="260"/>
                      <a:pt x="106" y="261"/>
                      <a:pt x="105" y="263"/>
                    </a:cubicBezTo>
                    <a:cubicBezTo>
                      <a:pt x="105" y="263"/>
                      <a:pt x="105" y="263"/>
                      <a:pt x="105" y="263"/>
                    </a:cubicBezTo>
                    <a:cubicBezTo>
                      <a:pt x="104" y="264"/>
                      <a:pt x="104" y="264"/>
                      <a:pt x="104" y="264"/>
                    </a:cubicBezTo>
                    <a:cubicBezTo>
                      <a:pt x="104" y="266"/>
                      <a:pt x="104" y="268"/>
                      <a:pt x="104" y="270"/>
                    </a:cubicBezTo>
                    <a:cubicBezTo>
                      <a:pt x="103" y="272"/>
                      <a:pt x="103" y="273"/>
                      <a:pt x="103" y="275"/>
                    </a:cubicBezTo>
                    <a:cubicBezTo>
                      <a:pt x="104" y="275"/>
                      <a:pt x="105" y="275"/>
                      <a:pt x="106" y="275"/>
                    </a:cubicBezTo>
                    <a:cubicBezTo>
                      <a:pt x="108" y="275"/>
                      <a:pt x="109" y="275"/>
                      <a:pt x="110" y="276"/>
                    </a:cubicBezTo>
                    <a:cubicBezTo>
                      <a:pt x="111" y="276"/>
                      <a:pt x="111" y="276"/>
                      <a:pt x="111" y="276"/>
                    </a:cubicBezTo>
                    <a:cubicBezTo>
                      <a:pt x="112" y="277"/>
                      <a:pt x="112" y="277"/>
                      <a:pt x="112" y="277"/>
                    </a:cubicBezTo>
                    <a:cubicBezTo>
                      <a:pt x="112" y="278"/>
                      <a:pt x="113" y="279"/>
                      <a:pt x="113" y="279"/>
                    </a:cubicBezTo>
                    <a:cubicBezTo>
                      <a:pt x="113" y="280"/>
                      <a:pt x="113" y="281"/>
                      <a:pt x="113" y="282"/>
                    </a:cubicBezTo>
                    <a:cubicBezTo>
                      <a:pt x="114" y="284"/>
                      <a:pt x="113" y="287"/>
                      <a:pt x="113" y="290"/>
                    </a:cubicBezTo>
                    <a:cubicBezTo>
                      <a:pt x="113" y="291"/>
                      <a:pt x="113" y="292"/>
                      <a:pt x="113" y="292"/>
                    </a:cubicBezTo>
                    <a:cubicBezTo>
                      <a:pt x="113" y="293"/>
                      <a:pt x="113" y="293"/>
                      <a:pt x="114" y="293"/>
                    </a:cubicBezTo>
                    <a:cubicBezTo>
                      <a:pt x="115" y="294"/>
                      <a:pt x="116" y="295"/>
                      <a:pt x="117" y="296"/>
                    </a:cubicBezTo>
                    <a:cubicBezTo>
                      <a:pt x="119" y="297"/>
                      <a:pt x="120" y="299"/>
                      <a:pt x="121" y="300"/>
                    </a:cubicBezTo>
                    <a:cubicBezTo>
                      <a:pt x="122" y="301"/>
                      <a:pt x="122" y="302"/>
                      <a:pt x="123" y="303"/>
                    </a:cubicBezTo>
                    <a:cubicBezTo>
                      <a:pt x="123" y="303"/>
                      <a:pt x="123" y="303"/>
                      <a:pt x="123" y="303"/>
                    </a:cubicBezTo>
                    <a:cubicBezTo>
                      <a:pt x="124" y="304"/>
                      <a:pt x="125" y="306"/>
                      <a:pt x="128" y="308"/>
                    </a:cubicBezTo>
                    <a:cubicBezTo>
                      <a:pt x="131" y="310"/>
                      <a:pt x="131" y="310"/>
                      <a:pt x="131" y="310"/>
                    </a:cubicBezTo>
                    <a:cubicBezTo>
                      <a:pt x="133" y="309"/>
                      <a:pt x="134" y="309"/>
                      <a:pt x="135" y="308"/>
                    </a:cubicBezTo>
                    <a:cubicBezTo>
                      <a:pt x="135" y="308"/>
                      <a:pt x="135" y="305"/>
                      <a:pt x="135" y="304"/>
                    </a:cubicBezTo>
                    <a:cubicBezTo>
                      <a:pt x="135" y="303"/>
                      <a:pt x="134" y="303"/>
                      <a:pt x="134" y="302"/>
                    </a:cubicBezTo>
                    <a:cubicBezTo>
                      <a:pt x="133" y="301"/>
                      <a:pt x="133" y="300"/>
                      <a:pt x="133" y="300"/>
                    </a:cubicBezTo>
                    <a:cubicBezTo>
                      <a:pt x="135" y="299"/>
                      <a:pt x="136" y="298"/>
                      <a:pt x="136" y="298"/>
                    </a:cubicBezTo>
                    <a:cubicBezTo>
                      <a:pt x="137" y="298"/>
                      <a:pt x="137" y="299"/>
                      <a:pt x="137" y="299"/>
                    </a:cubicBezTo>
                    <a:cubicBezTo>
                      <a:pt x="139" y="299"/>
                      <a:pt x="141" y="300"/>
                      <a:pt x="143" y="301"/>
                    </a:cubicBezTo>
                    <a:cubicBezTo>
                      <a:pt x="143" y="302"/>
                      <a:pt x="144" y="302"/>
                      <a:pt x="145" y="302"/>
                    </a:cubicBezTo>
                    <a:cubicBezTo>
                      <a:pt x="147" y="303"/>
                      <a:pt x="150" y="305"/>
                      <a:pt x="151" y="307"/>
                    </a:cubicBezTo>
                    <a:cubicBezTo>
                      <a:pt x="151" y="307"/>
                      <a:pt x="152" y="308"/>
                      <a:pt x="152" y="308"/>
                    </a:cubicBezTo>
                    <a:cubicBezTo>
                      <a:pt x="152" y="309"/>
                      <a:pt x="153" y="309"/>
                      <a:pt x="153" y="309"/>
                    </a:cubicBezTo>
                    <a:cubicBezTo>
                      <a:pt x="153" y="309"/>
                      <a:pt x="153" y="309"/>
                      <a:pt x="154" y="309"/>
                    </a:cubicBezTo>
                    <a:cubicBezTo>
                      <a:pt x="155" y="309"/>
                      <a:pt x="156" y="307"/>
                      <a:pt x="157" y="307"/>
                    </a:cubicBezTo>
                    <a:cubicBezTo>
                      <a:pt x="159" y="306"/>
                      <a:pt x="162" y="306"/>
                      <a:pt x="164" y="305"/>
                    </a:cubicBezTo>
                    <a:cubicBezTo>
                      <a:pt x="164" y="305"/>
                      <a:pt x="165" y="305"/>
                      <a:pt x="165" y="305"/>
                    </a:cubicBezTo>
                    <a:cubicBezTo>
                      <a:pt x="165" y="305"/>
                      <a:pt x="166" y="305"/>
                      <a:pt x="166" y="305"/>
                    </a:cubicBezTo>
                    <a:cubicBezTo>
                      <a:pt x="168" y="305"/>
                      <a:pt x="170" y="307"/>
                      <a:pt x="170" y="309"/>
                    </a:cubicBezTo>
                    <a:cubicBezTo>
                      <a:pt x="171" y="311"/>
                      <a:pt x="172" y="313"/>
                      <a:pt x="172" y="314"/>
                    </a:cubicBezTo>
                    <a:cubicBezTo>
                      <a:pt x="173" y="315"/>
                      <a:pt x="174" y="316"/>
                      <a:pt x="174" y="317"/>
                    </a:cubicBezTo>
                    <a:cubicBezTo>
                      <a:pt x="176" y="319"/>
                      <a:pt x="178" y="320"/>
                      <a:pt x="180" y="322"/>
                    </a:cubicBezTo>
                    <a:cubicBezTo>
                      <a:pt x="182" y="324"/>
                      <a:pt x="183" y="327"/>
                      <a:pt x="184" y="329"/>
                    </a:cubicBezTo>
                    <a:cubicBezTo>
                      <a:pt x="185" y="331"/>
                      <a:pt x="185" y="333"/>
                      <a:pt x="183" y="336"/>
                    </a:cubicBezTo>
                    <a:cubicBezTo>
                      <a:pt x="185" y="336"/>
                      <a:pt x="186" y="337"/>
                      <a:pt x="187" y="337"/>
                    </a:cubicBezTo>
                    <a:cubicBezTo>
                      <a:pt x="190" y="338"/>
                      <a:pt x="191" y="339"/>
                      <a:pt x="192" y="342"/>
                    </a:cubicBezTo>
                    <a:cubicBezTo>
                      <a:pt x="192" y="343"/>
                      <a:pt x="192" y="343"/>
                      <a:pt x="192" y="343"/>
                    </a:cubicBezTo>
                    <a:cubicBezTo>
                      <a:pt x="192" y="346"/>
                      <a:pt x="193" y="349"/>
                      <a:pt x="194" y="352"/>
                    </a:cubicBezTo>
                    <a:cubicBezTo>
                      <a:pt x="195" y="354"/>
                      <a:pt x="197" y="357"/>
                      <a:pt x="198" y="360"/>
                    </a:cubicBezTo>
                    <a:cubicBezTo>
                      <a:pt x="199" y="362"/>
                      <a:pt x="200" y="364"/>
                      <a:pt x="201" y="367"/>
                    </a:cubicBezTo>
                    <a:cubicBezTo>
                      <a:pt x="201" y="367"/>
                      <a:pt x="201" y="367"/>
                      <a:pt x="201" y="367"/>
                    </a:cubicBezTo>
                    <a:cubicBezTo>
                      <a:pt x="203" y="370"/>
                      <a:pt x="204" y="372"/>
                      <a:pt x="206" y="373"/>
                    </a:cubicBezTo>
                    <a:cubicBezTo>
                      <a:pt x="207" y="374"/>
                      <a:pt x="209" y="375"/>
                      <a:pt x="211" y="376"/>
                    </a:cubicBezTo>
                    <a:cubicBezTo>
                      <a:pt x="212" y="376"/>
                      <a:pt x="213" y="376"/>
                      <a:pt x="214" y="376"/>
                    </a:cubicBezTo>
                    <a:cubicBezTo>
                      <a:pt x="214" y="376"/>
                      <a:pt x="215" y="376"/>
                      <a:pt x="215" y="376"/>
                    </a:cubicBezTo>
                    <a:cubicBezTo>
                      <a:pt x="216" y="376"/>
                      <a:pt x="216" y="376"/>
                      <a:pt x="216" y="376"/>
                    </a:cubicBezTo>
                    <a:cubicBezTo>
                      <a:pt x="216" y="376"/>
                      <a:pt x="217" y="376"/>
                      <a:pt x="217" y="376"/>
                    </a:cubicBezTo>
                    <a:cubicBezTo>
                      <a:pt x="219" y="376"/>
                      <a:pt x="221" y="376"/>
                      <a:pt x="222" y="377"/>
                    </a:cubicBezTo>
                    <a:cubicBezTo>
                      <a:pt x="223" y="377"/>
                      <a:pt x="223" y="378"/>
                      <a:pt x="224" y="378"/>
                    </a:cubicBezTo>
                    <a:cubicBezTo>
                      <a:pt x="226" y="379"/>
                      <a:pt x="229" y="380"/>
                      <a:pt x="231" y="381"/>
                    </a:cubicBezTo>
                    <a:cubicBezTo>
                      <a:pt x="232" y="381"/>
                      <a:pt x="232" y="382"/>
                      <a:pt x="232" y="382"/>
                    </a:cubicBezTo>
                    <a:cubicBezTo>
                      <a:pt x="233" y="382"/>
                      <a:pt x="233" y="382"/>
                      <a:pt x="234" y="382"/>
                    </a:cubicBezTo>
                    <a:cubicBezTo>
                      <a:pt x="234" y="383"/>
                      <a:pt x="235" y="383"/>
                      <a:pt x="236" y="384"/>
                    </a:cubicBezTo>
                    <a:cubicBezTo>
                      <a:pt x="236" y="385"/>
                      <a:pt x="237" y="385"/>
                      <a:pt x="238" y="386"/>
                    </a:cubicBezTo>
                    <a:cubicBezTo>
                      <a:pt x="239" y="388"/>
                      <a:pt x="241" y="390"/>
                      <a:pt x="242" y="392"/>
                    </a:cubicBezTo>
                    <a:cubicBezTo>
                      <a:pt x="244" y="394"/>
                      <a:pt x="246" y="396"/>
                      <a:pt x="248" y="397"/>
                    </a:cubicBezTo>
                    <a:cubicBezTo>
                      <a:pt x="248" y="397"/>
                      <a:pt x="248" y="397"/>
                      <a:pt x="248" y="397"/>
                    </a:cubicBezTo>
                    <a:cubicBezTo>
                      <a:pt x="251" y="399"/>
                      <a:pt x="253" y="400"/>
                      <a:pt x="256" y="401"/>
                    </a:cubicBezTo>
                    <a:cubicBezTo>
                      <a:pt x="256" y="401"/>
                      <a:pt x="256" y="401"/>
                      <a:pt x="256" y="401"/>
                    </a:cubicBezTo>
                    <a:cubicBezTo>
                      <a:pt x="259" y="402"/>
                      <a:pt x="261" y="403"/>
                      <a:pt x="263" y="404"/>
                    </a:cubicBezTo>
                    <a:cubicBezTo>
                      <a:pt x="264" y="405"/>
                      <a:pt x="264" y="405"/>
                      <a:pt x="264" y="405"/>
                    </a:cubicBezTo>
                    <a:cubicBezTo>
                      <a:pt x="265" y="407"/>
                      <a:pt x="266" y="408"/>
                      <a:pt x="269" y="410"/>
                    </a:cubicBezTo>
                    <a:cubicBezTo>
                      <a:pt x="269" y="410"/>
                      <a:pt x="269" y="410"/>
                      <a:pt x="269" y="410"/>
                    </a:cubicBezTo>
                    <a:cubicBezTo>
                      <a:pt x="272" y="411"/>
                      <a:pt x="274" y="412"/>
                      <a:pt x="277" y="413"/>
                    </a:cubicBezTo>
                    <a:cubicBezTo>
                      <a:pt x="280" y="413"/>
                      <a:pt x="283" y="413"/>
                      <a:pt x="287" y="414"/>
                    </a:cubicBezTo>
                    <a:cubicBezTo>
                      <a:pt x="287" y="414"/>
                      <a:pt x="288" y="414"/>
                      <a:pt x="289" y="414"/>
                    </a:cubicBezTo>
                    <a:cubicBezTo>
                      <a:pt x="291" y="415"/>
                      <a:pt x="294" y="415"/>
                      <a:pt x="296" y="416"/>
                    </a:cubicBezTo>
                    <a:cubicBezTo>
                      <a:pt x="296" y="417"/>
                      <a:pt x="296" y="417"/>
                      <a:pt x="296" y="418"/>
                    </a:cubicBezTo>
                    <a:cubicBezTo>
                      <a:pt x="301" y="416"/>
                      <a:pt x="305" y="415"/>
                      <a:pt x="309" y="414"/>
                    </a:cubicBezTo>
                    <a:cubicBezTo>
                      <a:pt x="310" y="413"/>
                      <a:pt x="311" y="413"/>
                      <a:pt x="312" y="413"/>
                    </a:cubicBezTo>
                    <a:cubicBezTo>
                      <a:pt x="315" y="412"/>
                      <a:pt x="318" y="411"/>
                      <a:pt x="321" y="410"/>
                    </a:cubicBezTo>
                    <a:cubicBezTo>
                      <a:pt x="323" y="409"/>
                      <a:pt x="323" y="406"/>
                      <a:pt x="324" y="405"/>
                    </a:cubicBezTo>
                    <a:cubicBezTo>
                      <a:pt x="326" y="402"/>
                      <a:pt x="330" y="400"/>
                      <a:pt x="334" y="399"/>
                    </a:cubicBezTo>
                    <a:cubicBezTo>
                      <a:pt x="338" y="398"/>
                      <a:pt x="342" y="398"/>
                      <a:pt x="345" y="398"/>
                    </a:cubicBezTo>
                    <a:cubicBezTo>
                      <a:pt x="345" y="398"/>
                      <a:pt x="346" y="398"/>
                      <a:pt x="346" y="398"/>
                    </a:cubicBezTo>
                    <a:cubicBezTo>
                      <a:pt x="347" y="398"/>
                      <a:pt x="347" y="398"/>
                      <a:pt x="347" y="398"/>
                    </a:cubicBezTo>
                    <a:cubicBezTo>
                      <a:pt x="350" y="398"/>
                      <a:pt x="354" y="398"/>
                      <a:pt x="357" y="399"/>
                    </a:cubicBezTo>
                    <a:cubicBezTo>
                      <a:pt x="359" y="399"/>
                      <a:pt x="361" y="400"/>
                      <a:pt x="363" y="403"/>
                    </a:cubicBezTo>
                    <a:cubicBezTo>
                      <a:pt x="363" y="403"/>
                      <a:pt x="363" y="403"/>
                      <a:pt x="363" y="403"/>
                    </a:cubicBezTo>
                    <a:cubicBezTo>
                      <a:pt x="364" y="406"/>
                      <a:pt x="365" y="409"/>
                      <a:pt x="366" y="412"/>
                    </a:cubicBezTo>
                    <a:cubicBezTo>
                      <a:pt x="366" y="415"/>
                      <a:pt x="367" y="419"/>
                      <a:pt x="367" y="421"/>
                    </a:cubicBezTo>
                    <a:cubicBezTo>
                      <a:pt x="367" y="422"/>
                      <a:pt x="367" y="423"/>
                      <a:pt x="368" y="424"/>
                    </a:cubicBezTo>
                    <a:cubicBezTo>
                      <a:pt x="368" y="426"/>
                      <a:pt x="369" y="428"/>
                      <a:pt x="369" y="430"/>
                    </a:cubicBezTo>
                    <a:cubicBezTo>
                      <a:pt x="370" y="433"/>
                      <a:pt x="371" y="436"/>
                      <a:pt x="373" y="438"/>
                    </a:cubicBezTo>
                    <a:cubicBezTo>
                      <a:pt x="373" y="438"/>
                      <a:pt x="373" y="438"/>
                      <a:pt x="373" y="438"/>
                    </a:cubicBezTo>
                    <a:cubicBezTo>
                      <a:pt x="374" y="441"/>
                      <a:pt x="377" y="441"/>
                      <a:pt x="381" y="441"/>
                    </a:cubicBezTo>
                    <a:cubicBezTo>
                      <a:pt x="381" y="441"/>
                      <a:pt x="382" y="441"/>
                      <a:pt x="382" y="441"/>
                    </a:cubicBezTo>
                    <a:cubicBezTo>
                      <a:pt x="385" y="442"/>
                      <a:pt x="387" y="442"/>
                      <a:pt x="390" y="442"/>
                    </a:cubicBezTo>
                    <a:cubicBezTo>
                      <a:pt x="394" y="443"/>
                      <a:pt x="397" y="443"/>
                      <a:pt x="400" y="444"/>
                    </a:cubicBezTo>
                    <a:cubicBezTo>
                      <a:pt x="403" y="444"/>
                      <a:pt x="406" y="445"/>
                      <a:pt x="409" y="445"/>
                    </a:cubicBezTo>
                    <a:cubicBezTo>
                      <a:pt x="411" y="446"/>
                      <a:pt x="412" y="446"/>
                      <a:pt x="414" y="446"/>
                    </a:cubicBezTo>
                    <a:cubicBezTo>
                      <a:pt x="415" y="446"/>
                      <a:pt x="416" y="446"/>
                      <a:pt x="417" y="447"/>
                    </a:cubicBezTo>
                    <a:cubicBezTo>
                      <a:pt x="418" y="448"/>
                      <a:pt x="418" y="448"/>
                      <a:pt x="418" y="448"/>
                    </a:cubicBezTo>
                    <a:cubicBezTo>
                      <a:pt x="421" y="450"/>
                      <a:pt x="422" y="451"/>
                      <a:pt x="424" y="451"/>
                    </a:cubicBezTo>
                    <a:cubicBezTo>
                      <a:pt x="425" y="451"/>
                      <a:pt x="426" y="450"/>
                      <a:pt x="426" y="450"/>
                    </a:cubicBezTo>
                    <a:cubicBezTo>
                      <a:pt x="427" y="450"/>
                      <a:pt x="427" y="450"/>
                      <a:pt x="428" y="450"/>
                    </a:cubicBezTo>
                    <a:cubicBezTo>
                      <a:pt x="431" y="449"/>
                      <a:pt x="434" y="449"/>
                      <a:pt x="436" y="449"/>
                    </a:cubicBezTo>
                    <a:cubicBezTo>
                      <a:pt x="437" y="449"/>
                      <a:pt x="438" y="449"/>
                      <a:pt x="439" y="449"/>
                    </a:cubicBezTo>
                    <a:cubicBezTo>
                      <a:pt x="441" y="449"/>
                      <a:pt x="442" y="449"/>
                      <a:pt x="444" y="450"/>
                    </a:cubicBezTo>
                    <a:cubicBezTo>
                      <a:pt x="446" y="450"/>
                      <a:pt x="447" y="450"/>
                      <a:pt x="449" y="450"/>
                    </a:cubicBezTo>
                    <a:cubicBezTo>
                      <a:pt x="453" y="450"/>
                      <a:pt x="457" y="450"/>
                      <a:pt x="460" y="450"/>
                    </a:cubicBezTo>
                    <a:cubicBezTo>
                      <a:pt x="461" y="450"/>
                      <a:pt x="462" y="450"/>
                      <a:pt x="462" y="450"/>
                    </a:cubicBezTo>
                    <a:cubicBezTo>
                      <a:pt x="463" y="450"/>
                      <a:pt x="463" y="450"/>
                      <a:pt x="463" y="450"/>
                    </a:cubicBezTo>
                    <a:cubicBezTo>
                      <a:pt x="465" y="451"/>
                      <a:pt x="465" y="452"/>
                      <a:pt x="467" y="454"/>
                    </a:cubicBezTo>
                    <a:cubicBezTo>
                      <a:pt x="467" y="454"/>
                      <a:pt x="467" y="454"/>
                      <a:pt x="467" y="454"/>
                    </a:cubicBezTo>
                    <a:cubicBezTo>
                      <a:pt x="469" y="456"/>
                      <a:pt x="472" y="457"/>
                      <a:pt x="475" y="457"/>
                    </a:cubicBezTo>
                    <a:cubicBezTo>
                      <a:pt x="478" y="458"/>
                      <a:pt x="481" y="459"/>
                      <a:pt x="483" y="459"/>
                    </a:cubicBezTo>
                    <a:cubicBezTo>
                      <a:pt x="484" y="459"/>
                      <a:pt x="484" y="459"/>
                      <a:pt x="484" y="459"/>
                    </a:cubicBezTo>
                    <a:cubicBezTo>
                      <a:pt x="484" y="459"/>
                      <a:pt x="485" y="459"/>
                      <a:pt x="485" y="459"/>
                    </a:cubicBezTo>
                    <a:cubicBezTo>
                      <a:pt x="487" y="459"/>
                      <a:pt x="490" y="459"/>
                      <a:pt x="492" y="458"/>
                    </a:cubicBezTo>
                    <a:cubicBezTo>
                      <a:pt x="492" y="457"/>
                      <a:pt x="492" y="457"/>
                      <a:pt x="492" y="456"/>
                    </a:cubicBezTo>
                    <a:cubicBezTo>
                      <a:pt x="492" y="456"/>
                      <a:pt x="492" y="455"/>
                      <a:pt x="492" y="455"/>
                    </a:cubicBezTo>
                    <a:cubicBezTo>
                      <a:pt x="492" y="454"/>
                      <a:pt x="492" y="454"/>
                      <a:pt x="492" y="454"/>
                    </a:cubicBezTo>
                    <a:cubicBezTo>
                      <a:pt x="493" y="453"/>
                      <a:pt x="493" y="452"/>
                      <a:pt x="493" y="451"/>
                    </a:cubicBezTo>
                    <a:cubicBezTo>
                      <a:pt x="493" y="450"/>
                      <a:pt x="493" y="450"/>
                      <a:pt x="493" y="450"/>
                    </a:cubicBezTo>
                    <a:cubicBezTo>
                      <a:pt x="494" y="449"/>
                      <a:pt x="494" y="449"/>
                      <a:pt x="494" y="448"/>
                    </a:cubicBezTo>
                    <a:cubicBezTo>
                      <a:pt x="494" y="446"/>
                      <a:pt x="494" y="446"/>
                      <a:pt x="494" y="446"/>
                    </a:cubicBezTo>
                    <a:cubicBezTo>
                      <a:pt x="496" y="441"/>
                      <a:pt x="497" y="436"/>
                      <a:pt x="498" y="431"/>
                    </a:cubicBezTo>
                    <a:cubicBezTo>
                      <a:pt x="499" y="425"/>
                      <a:pt x="500" y="424"/>
                      <a:pt x="504" y="422"/>
                    </a:cubicBezTo>
                    <a:cubicBezTo>
                      <a:pt x="505" y="421"/>
                      <a:pt x="505" y="421"/>
                      <a:pt x="505" y="421"/>
                    </a:cubicBezTo>
                    <a:cubicBezTo>
                      <a:pt x="506" y="421"/>
                      <a:pt x="506" y="420"/>
                      <a:pt x="507" y="419"/>
                    </a:cubicBezTo>
                    <a:cubicBezTo>
                      <a:pt x="508" y="419"/>
                      <a:pt x="508" y="419"/>
                      <a:pt x="508" y="419"/>
                    </a:cubicBezTo>
                    <a:cubicBezTo>
                      <a:pt x="509" y="418"/>
                      <a:pt x="510" y="417"/>
                      <a:pt x="511" y="416"/>
                    </a:cubicBezTo>
                    <a:cubicBezTo>
                      <a:pt x="513" y="414"/>
                      <a:pt x="515" y="414"/>
                      <a:pt x="518" y="413"/>
                    </a:cubicBezTo>
                    <a:cubicBezTo>
                      <a:pt x="529" y="411"/>
                      <a:pt x="529" y="411"/>
                      <a:pt x="529" y="411"/>
                    </a:cubicBezTo>
                    <a:cubicBezTo>
                      <a:pt x="530" y="411"/>
                      <a:pt x="531" y="411"/>
                      <a:pt x="532" y="411"/>
                    </a:cubicBezTo>
                    <a:cubicBezTo>
                      <a:pt x="534" y="411"/>
                      <a:pt x="535" y="411"/>
                      <a:pt x="536" y="411"/>
                    </a:cubicBezTo>
                    <a:cubicBezTo>
                      <a:pt x="537" y="404"/>
                      <a:pt x="537" y="404"/>
                      <a:pt x="537" y="404"/>
                    </a:cubicBezTo>
                    <a:cubicBezTo>
                      <a:pt x="538" y="402"/>
                      <a:pt x="538" y="401"/>
                      <a:pt x="539" y="399"/>
                    </a:cubicBezTo>
                    <a:cubicBezTo>
                      <a:pt x="538" y="399"/>
                      <a:pt x="538" y="399"/>
                      <a:pt x="538" y="399"/>
                    </a:cubicBezTo>
                    <a:cubicBezTo>
                      <a:pt x="537" y="399"/>
                      <a:pt x="537" y="399"/>
                      <a:pt x="537" y="399"/>
                    </a:cubicBezTo>
                    <a:cubicBezTo>
                      <a:pt x="536" y="399"/>
                      <a:pt x="536" y="399"/>
                      <a:pt x="535" y="399"/>
                    </a:cubicBezTo>
                    <a:cubicBezTo>
                      <a:pt x="534" y="399"/>
                      <a:pt x="534" y="399"/>
                      <a:pt x="534" y="399"/>
                    </a:cubicBezTo>
                    <a:cubicBezTo>
                      <a:pt x="533" y="399"/>
                      <a:pt x="533" y="399"/>
                      <a:pt x="532" y="399"/>
                    </a:cubicBezTo>
                    <a:cubicBezTo>
                      <a:pt x="532" y="399"/>
                      <a:pt x="532" y="399"/>
                      <a:pt x="532" y="399"/>
                    </a:cubicBezTo>
                    <a:cubicBezTo>
                      <a:pt x="528" y="399"/>
                      <a:pt x="526" y="397"/>
                      <a:pt x="525" y="393"/>
                    </a:cubicBezTo>
                    <a:cubicBezTo>
                      <a:pt x="524" y="391"/>
                      <a:pt x="525" y="389"/>
                      <a:pt x="525" y="387"/>
                    </a:cubicBezTo>
                    <a:cubicBezTo>
                      <a:pt x="525" y="386"/>
                      <a:pt x="525" y="386"/>
                      <a:pt x="525" y="386"/>
                    </a:cubicBezTo>
                    <a:cubicBezTo>
                      <a:pt x="525" y="375"/>
                      <a:pt x="525" y="375"/>
                      <a:pt x="525" y="375"/>
                    </a:cubicBezTo>
                    <a:cubicBezTo>
                      <a:pt x="525" y="374"/>
                      <a:pt x="525" y="373"/>
                      <a:pt x="525" y="372"/>
                    </a:cubicBezTo>
                    <a:cubicBezTo>
                      <a:pt x="525" y="370"/>
                      <a:pt x="526" y="369"/>
                      <a:pt x="526" y="368"/>
                    </a:cubicBezTo>
                    <a:cubicBezTo>
                      <a:pt x="525" y="368"/>
                      <a:pt x="524" y="367"/>
                      <a:pt x="524" y="367"/>
                    </a:cubicBezTo>
                    <a:cubicBezTo>
                      <a:pt x="523" y="367"/>
                      <a:pt x="523" y="367"/>
                      <a:pt x="523" y="367"/>
                    </a:cubicBezTo>
                    <a:cubicBezTo>
                      <a:pt x="522" y="366"/>
                      <a:pt x="520" y="366"/>
                      <a:pt x="519" y="365"/>
                    </a:cubicBezTo>
                    <a:cubicBezTo>
                      <a:pt x="518" y="365"/>
                      <a:pt x="516" y="364"/>
                      <a:pt x="515" y="364"/>
                    </a:cubicBezTo>
                    <a:cubicBezTo>
                      <a:pt x="515" y="364"/>
                      <a:pt x="514" y="363"/>
                      <a:pt x="513" y="363"/>
                    </a:cubicBezTo>
                    <a:cubicBezTo>
                      <a:pt x="512" y="363"/>
                      <a:pt x="512" y="363"/>
                      <a:pt x="512" y="363"/>
                    </a:cubicBezTo>
                    <a:cubicBezTo>
                      <a:pt x="511" y="362"/>
                      <a:pt x="510" y="362"/>
                      <a:pt x="509" y="361"/>
                    </a:cubicBezTo>
                    <a:cubicBezTo>
                      <a:pt x="506" y="360"/>
                      <a:pt x="502" y="358"/>
                      <a:pt x="500" y="355"/>
                    </a:cubicBezTo>
                    <a:cubicBezTo>
                      <a:pt x="497" y="351"/>
                      <a:pt x="494" y="348"/>
                      <a:pt x="491" y="344"/>
                    </a:cubicBezTo>
                    <a:cubicBezTo>
                      <a:pt x="491" y="343"/>
                      <a:pt x="491" y="343"/>
                      <a:pt x="491" y="343"/>
                    </a:cubicBezTo>
                    <a:cubicBezTo>
                      <a:pt x="485" y="335"/>
                      <a:pt x="478" y="327"/>
                      <a:pt x="472" y="318"/>
                    </a:cubicBezTo>
                    <a:cubicBezTo>
                      <a:pt x="472" y="317"/>
                      <a:pt x="472" y="317"/>
                      <a:pt x="472" y="317"/>
                    </a:cubicBezTo>
                    <a:cubicBezTo>
                      <a:pt x="466" y="316"/>
                      <a:pt x="466" y="316"/>
                      <a:pt x="466" y="316"/>
                    </a:cubicBezTo>
                    <a:cubicBezTo>
                      <a:pt x="471" y="313"/>
                      <a:pt x="471" y="313"/>
                      <a:pt x="471" y="313"/>
                    </a:cubicBezTo>
                    <a:cubicBezTo>
                      <a:pt x="471" y="312"/>
                      <a:pt x="471" y="312"/>
                      <a:pt x="471" y="312"/>
                    </a:cubicBezTo>
                    <a:cubicBezTo>
                      <a:pt x="472" y="311"/>
                      <a:pt x="472" y="311"/>
                      <a:pt x="472" y="311"/>
                    </a:cubicBezTo>
                    <a:cubicBezTo>
                      <a:pt x="473" y="310"/>
                      <a:pt x="475" y="308"/>
                      <a:pt x="476" y="306"/>
                    </a:cubicBezTo>
                    <a:cubicBezTo>
                      <a:pt x="482" y="299"/>
                      <a:pt x="482" y="299"/>
                      <a:pt x="482" y="299"/>
                    </a:cubicBezTo>
                    <a:cubicBezTo>
                      <a:pt x="484" y="298"/>
                      <a:pt x="485" y="297"/>
                      <a:pt x="486" y="295"/>
                    </a:cubicBezTo>
                    <a:cubicBezTo>
                      <a:pt x="487" y="294"/>
                      <a:pt x="487" y="294"/>
                      <a:pt x="487" y="294"/>
                    </a:cubicBezTo>
                    <a:cubicBezTo>
                      <a:pt x="488" y="293"/>
                      <a:pt x="488" y="292"/>
                      <a:pt x="489" y="292"/>
                    </a:cubicBezTo>
                    <a:cubicBezTo>
                      <a:pt x="489" y="291"/>
                      <a:pt x="490" y="290"/>
                      <a:pt x="491" y="289"/>
                    </a:cubicBezTo>
                    <a:cubicBezTo>
                      <a:pt x="493" y="287"/>
                      <a:pt x="495" y="285"/>
                      <a:pt x="496" y="283"/>
                    </a:cubicBezTo>
                    <a:cubicBezTo>
                      <a:pt x="498" y="280"/>
                      <a:pt x="498" y="279"/>
                      <a:pt x="498" y="277"/>
                    </a:cubicBezTo>
                    <a:cubicBezTo>
                      <a:pt x="498" y="277"/>
                      <a:pt x="497" y="276"/>
                      <a:pt x="497" y="276"/>
                    </a:cubicBezTo>
                    <a:cubicBezTo>
                      <a:pt x="497" y="275"/>
                      <a:pt x="496" y="274"/>
                      <a:pt x="496" y="274"/>
                    </a:cubicBezTo>
                    <a:cubicBezTo>
                      <a:pt x="493" y="270"/>
                      <a:pt x="493" y="270"/>
                      <a:pt x="493" y="270"/>
                    </a:cubicBezTo>
                    <a:cubicBezTo>
                      <a:pt x="493" y="270"/>
                      <a:pt x="493" y="269"/>
                      <a:pt x="492" y="269"/>
                    </a:cubicBezTo>
                    <a:cubicBezTo>
                      <a:pt x="477" y="267"/>
                      <a:pt x="477" y="267"/>
                      <a:pt x="477" y="267"/>
                    </a:cubicBezTo>
                    <a:cubicBezTo>
                      <a:pt x="477" y="267"/>
                      <a:pt x="476" y="267"/>
                      <a:pt x="476" y="267"/>
                    </a:cubicBezTo>
                    <a:cubicBezTo>
                      <a:pt x="475" y="267"/>
                      <a:pt x="471" y="267"/>
                      <a:pt x="470" y="263"/>
                    </a:cubicBezTo>
                    <a:cubicBezTo>
                      <a:pt x="470" y="263"/>
                      <a:pt x="470" y="262"/>
                      <a:pt x="470" y="261"/>
                    </a:cubicBezTo>
                    <a:cubicBezTo>
                      <a:pt x="469" y="260"/>
                      <a:pt x="469" y="259"/>
                      <a:pt x="470" y="258"/>
                    </a:cubicBezTo>
                    <a:cubicBezTo>
                      <a:pt x="470" y="257"/>
                      <a:pt x="470" y="257"/>
                      <a:pt x="470" y="257"/>
                    </a:cubicBezTo>
                    <a:cubicBezTo>
                      <a:pt x="470" y="257"/>
                      <a:pt x="470" y="256"/>
                      <a:pt x="470" y="256"/>
                    </a:cubicBezTo>
                    <a:cubicBezTo>
                      <a:pt x="469" y="250"/>
                      <a:pt x="469" y="250"/>
                      <a:pt x="469" y="250"/>
                    </a:cubicBezTo>
                    <a:cubicBezTo>
                      <a:pt x="469" y="248"/>
                      <a:pt x="469" y="246"/>
                      <a:pt x="470" y="243"/>
                    </a:cubicBezTo>
                    <a:cubicBezTo>
                      <a:pt x="470" y="242"/>
                      <a:pt x="470" y="241"/>
                      <a:pt x="470" y="239"/>
                    </a:cubicBezTo>
                    <a:cubicBezTo>
                      <a:pt x="470" y="238"/>
                      <a:pt x="470" y="237"/>
                      <a:pt x="469" y="237"/>
                    </a:cubicBezTo>
                    <a:cubicBezTo>
                      <a:pt x="469" y="234"/>
                      <a:pt x="469" y="234"/>
                      <a:pt x="469" y="234"/>
                    </a:cubicBezTo>
                    <a:cubicBezTo>
                      <a:pt x="468" y="234"/>
                      <a:pt x="468" y="233"/>
                      <a:pt x="468" y="232"/>
                    </a:cubicBezTo>
                    <a:cubicBezTo>
                      <a:pt x="465" y="222"/>
                      <a:pt x="465" y="222"/>
                      <a:pt x="465" y="222"/>
                    </a:cubicBezTo>
                    <a:cubicBezTo>
                      <a:pt x="465" y="221"/>
                      <a:pt x="465" y="220"/>
                      <a:pt x="465" y="220"/>
                    </a:cubicBezTo>
                    <a:cubicBezTo>
                      <a:pt x="463" y="212"/>
                      <a:pt x="463" y="212"/>
                      <a:pt x="463" y="212"/>
                    </a:cubicBezTo>
                    <a:cubicBezTo>
                      <a:pt x="463" y="208"/>
                      <a:pt x="466" y="205"/>
                      <a:pt x="469" y="201"/>
                    </a:cubicBezTo>
                    <a:cubicBezTo>
                      <a:pt x="469" y="201"/>
                      <a:pt x="469" y="201"/>
                      <a:pt x="469" y="201"/>
                    </a:cubicBezTo>
                    <a:cubicBezTo>
                      <a:pt x="466" y="201"/>
                      <a:pt x="464" y="200"/>
                      <a:pt x="463" y="198"/>
                    </a:cubicBezTo>
                    <a:cubicBezTo>
                      <a:pt x="462" y="197"/>
                      <a:pt x="461" y="195"/>
                      <a:pt x="461" y="193"/>
                    </a:cubicBezTo>
                    <a:cubicBezTo>
                      <a:pt x="461" y="192"/>
                      <a:pt x="461" y="192"/>
                      <a:pt x="461" y="192"/>
                    </a:cubicBezTo>
                    <a:cubicBezTo>
                      <a:pt x="460" y="191"/>
                      <a:pt x="460" y="189"/>
                      <a:pt x="460" y="188"/>
                    </a:cubicBezTo>
                    <a:cubicBezTo>
                      <a:pt x="460" y="184"/>
                      <a:pt x="461" y="182"/>
                      <a:pt x="461" y="181"/>
                    </a:cubicBezTo>
                    <a:cubicBezTo>
                      <a:pt x="461" y="180"/>
                      <a:pt x="461" y="180"/>
                      <a:pt x="461" y="180"/>
                    </a:cubicBezTo>
                    <a:cubicBezTo>
                      <a:pt x="459" y="181"/>
                      <a:pt x="459" y="181"/>
                      <a:pt x="459" y="181"/>
                    </a:cubicBezTo>
                    <a:cubicBezTo>
                      <a:pt x="469" y="171"/>
                      <a:pt x="469" y="171"/>
                      <a:pt x="469" y="171"/>
                    </a:cubicBezTo>
                    <a:cubicBezTo>
                      <a:pt x="469" y="171"/>
                      <a:pt x="468" y="170"/>
                      <a:pt x="468" y="170"/>
                    </a:cubicBezTo>
                    <a:cubicBezTo>
                      <a:pt x="465" y="167"/>
                      <a:pt x="465" y="167"/>
                      <a:pt x="465" y="167"/>
                    </a:cubicBezTo>
                    <a:cubicBezTo>
                      <a:pt x="467" y="165"/>
                      <a:pt x="467" y="165"/>
                      <a:pt x="467" y="165"/>
                    </a:cubicBezTo>
                    <a:cubicBezTo>
                      <a:pt x="469" y="163"/>
                      <a:pt x="470" y="162"/>
                      <a:pt x="472" y="160"/>
                    </a:cubicBezTo>
                    <a:cubicBezTo>
                      <a:pt x="474" y="159"/>
                      <a:pt x="474" y="159"/>
                      <a:pt x="474" y="159"/>
                    </a:cubicBezTo>
                    <a:cubicBezTo>
                      <a:pt x="476" y="157"/>
                      <a:pt x="476" y="157"/>
                      <a:pt x="476" y="155"/>
                    </a:cubicBezTo>
                    <a:cubicBezTo>
                      <a:pt x="477" y="153"/>
                      <a:pt x="477" y="153"/>
                      <a:pt x="477" y="153"/>
                    </a:cubicBezTo>
                    <a:cubicBezTo>
                      <a:pt x="477" y="152"/>
                      <a:pt x="477" y="152"/>
                      <a:pt x="477" y="152"/>
                    </a:cubicBezTo>
                    <a:cubicBezTo>
                      <a:pt x="477" y="151"/>
                      <a:pt x="477" y="151"/>
                      <a:pt x="477" y="151"/>
                    </a:cubicBezTo>
                    <a:cubicBezTo>
                      <a:pt x="478" y="150"/>
                      <a:pt x="478" y="149"/>
                      <a:pt x="478" y="148"/>
                    </a:cubicBezTo>
                    <a:cubicBezTo>
                      <a:pt x="481" y="138"/>
                      <a:pt x="481" y="138"/>
                      <a:pt x="481" y="138"/>
                    </a:cubicBezTo>
                    <a:cubicBezTo>
                      <a:pt x="484" y="134"/>
                      <a:pt x="484" y="134"/>
                      <a:pt x="484" y="134"/>
                    </a:cubicBezTo>
                    <a:cubicBezTo>
                      <a:pt x="484" y="134"/>
                      <a:pt x="484" y="134"/>
                      <a:pt x="484" y="134"/>
                    </a:cubicBezTo>
                    <a:cubicBezTo>
                      <a:pt x="483" y="134"/>
                      <a:pt x="483" y="133"/>
                      <a:pt x="483" y="133"/>
                    </a:cubicBezTo>
                    <a:cubicBezTo>
                      <a:pt x="482" y="131"/>
                      <a:pt x="482" y="131"/>
                      <a:pt x="482" y="131"/>
                    </a:cubicBezTo>
                    <a:cubicBezTo>
                      <a:pt x="482" y="130"/>
                      <a:pt x="482" y="129"/>
                      <a:pt x="482" y="128"/>
                    </a:cubicBezTo>
                    <a:cubicBezTo>
                      <a:pt x="481" y="128"/>
                      <a:pt x="481" y="127"/>
                      <a:pt x="481" y="127"/>
                    </a:cubicBezTo>
                    <a:cubicBezTo>
                      <a:pt x="480" y="124"/>
                      <a:pt x="480" y="124"/>
                      <a:pt x="480" y="124"/>
                    </a:cubicBezTo>
                    <a:cubicBezTo>
                      <a:pt x="479" y="120"/>
                      <a:pt x="479" y="117"/>
                      <a:pt x="479" y="114"/>
                    </a:cubicBezTo>
                    <a:cubicBezTo>
                      <a:pt x="479" y="113"/>
                      <a:pt x="479" y="113"/>
                      <a:pt x="479" y="113"/>
                    </a:cubicBezTo>
                    <a:cubicBezTo>
                      <a:pt x="479" y="112"/>
                      <a:pt x="479" y="111"/>
                      <a:pt x="479" y="110"/>
                    </a:cubicBezTo>
                    <a:cubicBezTo>
                      <a:pt x="479" y="109"/>
                      <a:pt x="479" y="109"/>
                      <a:pt x="479" y="109"/>
                    </a:cubicBezTo>
                    <a:cubicBezTo>
                      <a:pt x="480" y="107"/>
                      <a:pt x="480" y="104"/>
                      <a:pt x="479" y="102"/>
                    </a:cubicBezTo>
                    <a:cubicBezTo>
                      <a:pt x="479" y="102"/>
                      <a:pt x="479" y="102"/>
                      <a:pt x="479" y="102"/>
                    </a:cubicBezTo>
                    <a:cubicBezTo>
                      <a:pt x="478" y="101"/>
                      <a:pt x="477" y="101"/>
                      <a:pt x="475" y="101"/>
                    </a:cubicBezTo>
                    <a:cubicBezTo>
                      <a:pt x="474" y="101"/>
                      <a:pt x="474" y="101"/>
                      <a:pt x="473" y="101"/>
                    </a:cubicBezTo>
                    <a:cubicBezTo>
                      <a:pt x="470" y="102"/>
                      <a:pt x="470" y="102"/>
                      <a:pt x="470" y="102"/>
                    </a:cubicBezTo>
                    <a:cubicBezTo>
                      <a:pt x="468" y="102"/>
                      <a:pt x="467" y="102"/>
                      <a:pt x="465" y="102"/>
                    </a:cubicBezTo>
                    <a:cubicBezTo>
                      <a:pt x="465" y="106"/>
                      <a:pt x="465" y="106"/>
                      <a:pt x="465" y="106"/>
                    </a:cubicBezTo>
                    <a:cubicBezTo>
                      <a:pt x="464" y="102"/>
                      <a:pt x="464" y="102"/>
                      <a:pt x="464" y="102"/>
                    </a:cubicBezTo>
                    <a:cubicBezTo>
                      <a:pt x="463" y="102"/>
                      <a:pt x="463" y="102"/>
                      <a:pt x="463" y="102"/>
                    </a:cubicBezTo>
                    <a:cubicBezTo>
                      <a:pt x="461" y="102"/>
                      <a:pt x="460" y="101"/>
                      <a:pt x="458" y="101"/>
                    </a:cubicBezTo>
                    <a:cubicBezTo>
                      <a:pt x="457" y="101"/>
                      <a:pt x="457" y="100"/>
                      <a:pt x="456" y="100"/>
                    </a:cubicBezTo>
                    <a:cubicBezTo>
                      <a:pt x="456" y="99"/>
                      <a:pt x="456" y="99"/>
                      <a:pt x="456" y="99"/>
                    </a:cubicBezTo>
                    <a:cubicBezTo>
                      <a:pt x="455" y="98"/>
                      <a:pt x="454" y="97"/>
                      <a:pt x="453" y="96"/>
                    </a:cubicBezTo>
                    <a:cubicBezTo>
                      <a:pt x="452" y="94"/>
                      <a:pt x="452" y="94"/>
                      <a:pt x="452" y="94"/>
                    </a:cubicBezTo>
                    <a:cubicBezTo>
                      <a:pt x="451" y="93"/>
                      <a:pt x="450" y="92"/>
                      <a:pt x="450" y="91"/>
                    </a:cubicBezTo>
                    <a:cubicBezTo>
                      <a:pt x="449" y="91"/>
                      <a:pt x="449" y="91"/>
                      <a:pt x="449" y="91"/>
                    </a:cubicBezTo>
                    <a:cubicBezTo>
                      <a:pt x="449" y="90"/>
                      <a:pt x="449" y="90"/>
                      <a:pt x="448" y="89"/>
                    </a:cubicBezTo>
                    <a:cubicBezTo>
                      <a:pt x="448" y="89"/>
                      <a:pt x="448" y="89"/>
                      <a:pt x="448" y="89"/>
                    </a:cubicBezTo>
                    <a:cubicBezTo>
                      <a:pt x="446" y="88"/>
                      <a:pt x="444" y="87"/>
                      <a:pt x="441" y="87"/>
                    </a:cubicBezTo>
                    <a:cubicBezTo>
                      <a:pt x="441" y="87"/>
                      <a:pt x="441" y="87"/>
                      <a:pt x="441" y="87"/>
                    </a:cubicBezTo>
                    <a:cubicBezTo>
                      <a:pt x="440" y="86"/>
                      <a:pt x="439" y="86"/>
                      <a:pt x="438" y="86"/>
                    </a:cubicBezTo>
                    <a:cubicBezTo>
                      <a:pt x="437" y="86"/>
                      <a:pt x="437" y="86"/>
                      <a:pt x="437" y="86"/>
                    </a:cubicBezTo>
                    <a:cubicBezTo>
                      <a:pt x="436" y="85"/>
                      <a:pt x="436" y="85"/>
                      <a:pt x="436" y="85"/>
                    </a:cubicBezTo>
                    <a:cubicBezTo>
                      <a:pt x="436" y="84"/>
                      <a:pt x="436" y="84"/>
                      <a:pt x="436" y="84"/>
                    </a:cubicBezTo>
                    <a:cubicBezTo>
                      <a:pt x="435" y="83"/>
                      <a:pt x="434" y="83"/>
                      <a:pt x="434" y="82"/>
                    </a:cubicBezTo>
                    <a:cubicBezTo>
                      <a:pt x="433" y="79"/>
                      <a:pt x="433" y="79"/>
                      <a:pt x="433" y="79"/>
                    </a:cubicBezTo>
                    <a:cubicBezTo>
                      <a:pt x="432" y="78"/>
                      <a:pt x="431" y="76"/>
                      <a:pt x="430" y="74"/>
                    </a:cubicBezTo>
                    <a:cubicBezTo>
                      <a:pt x="429" y="74"/>
                      <a:pt x="429" y="74"/>
                      <a:pt x="429" y="74"/>
                    </a:cubicBezTo>
                    <a:cubicBezTo>
                      <a:pt x="427" y="71"/>
                      <a:pt x="424" y="70"/>
                      <a:pt x="419" y="69"/>
                    </a:cubicBezTo>
                    <a:cubicBezTo>
                      <a:pt x="419" y="69"/>
                      <a:pt x="418" y="69"/>
                      <a:pt x="418" y="69"/>
                    </a:cubicBezTo>
                    <a:cubicBezTo>
                      <a:pt x="417" y="69"/>
                      <a:pt x="416" y="69"/>
                      <a:pt x="414" y="69"/>
                    </a:cubicBezTo>
                    <a:cubicBezTo>
                      <a:pt x="407" y="69"/>
                      <a:pt x="407" y="69"/>
                      <a:pt x="407" y="69"/>
                    </a:cubicBezTo>
                    <a:cubicBezTo>
                      <a:pt x="407" y="69"/>
                      <a:pt x="407" y="69"/>
                      <a:pt x="407" y="69"/>
                    </a:cubicBezTo>
                    <a:cubicBezTo>
                      <a:pt x="407" y="69"/>
                      <a:pt x="406" y="69"/>
                      <a:pt x="406" y="69"/>
                    </a:cubicBezTo>
                    <a:cubicBezTo>
                      <a:pt x="403" y="69"/>
                      <a:pt x="403" y="69"/>
                      <a:pt x="403" y="69"/>
                    </a:cubicBezTo>
                    <a:cubicBezTo>
                      <a:pt x="403" y="69"/>
                      <a:pt x="403" y="69"/>
                      <a:pt x="403" y="69"/>
                    </a:cubicBezTo>
                    <a:cubicBezTo>
                      <a:pt x="403" y="69"/>
                      <a:pt x="402" y="69"/>
                      <a:pt x="402" y="69"/>
                    </a:cubicBezTo>
                    <a:cubicBezTo>
                      <a:pt x="400" y="69"/>
                      <a:pt x="400" y="69"/>
                      <a:pt x="399" y="68"/>
                    </a:cubicBezTo>
                    <a:cubicBezTo>
                      <a:pt x="398" y="68"/>
                      <a:pt x="397" y="68"/>
                      <a:pt x="397" y="67"/>
                    </a:cubicBezTo>
                    <a:cubicBezTo>
                      <a:pt x="392" y="64"/>
                      <a:pt x="392" y="64"/>
                      <a:pt x="392" y="64"/>
                    </a:cubicBezTo>
                    <a:cubicBezTo>
                      <a:pt x="391" y="63"/>
                      <a:pt x="390" y="62"/>
                      <a:pt x="389" y="62"/>
                    </a:cubicBezTo>
                    <a:cubicBezTo>
                      <a:pt x="387" y="61"/>
                      <a:pt x="387" y="61"/>
                      <a:pt x="387" y="61"/>
                    </a:cubicBezTo>
                    <a:cubicBezTo>
                      <a:pt x="386" y="61"/>
                      <a:pt x="385" y="61"/>
                      <a:pt x="384" y="61"/>
                    </a:cubicBezTo>
                    <a:cubicBezTo>
                      <a:pt x="382" y="60"/>
                      <a:pt x="381" y="60"/>
                      <a:pt x="378" y="60"/>
                    </a:cubicBezTo>
                    <a:cubicBezTo>
                      <a:pt x="377" y="59"/>
                      <a:pt x="377" y="59"/>
                      <a:pt x="377" y="59"/>
                    </a:cubicBezTo>
                    <a:cubicBezTo>
                      <a:pt x="374" y="59"/>
                      <a:pt x="373" y="57"/>
                      <a:pt x="371" y="55"/>
                    </a:cubicBezTo>
                    <a:cubicBezTo>
                      <a:pt x="371" y="54"/>
                      <a:pt x="371" y="54"/>
                      <a:pt x="371" y="54"/>
                    </a:cubicBezTo>
                    <a:cubicBezTo>
                      <a:pt x="364" y="57"/>
                      <a:pt x="364" y="57"/>
                      <a:pt x="364" y="57"/>
                    </a:cubicBezTo>
                    <a:cubicBezTo>
                      <a:pt x="370" y="53"/>
                      <a:pt x="370" y="53"/>
                      <a:pt x="370" y="53"/>
                    </a:cubicBezTo>
                    <a:cubicBezTo>
                      <a:pt x="370" y="52"/>
                      <a:pt x="370" y="52"/>
                      <a:pt x="370" y="52"/>
                    </a:cubicBezTo>
                    <a:cubicBezTo>
                      <a:pt x="369" y="49"/>
                      <a:pt x="369" y="49"/>
                      <a:pt x="368" y="49"/>
                    </a:cubicBezTo>
                    <a:cubicBezTo>
                      <a:pt x="367" y="49"/>
                      <a:pt x="365" y="49"/>
                      <a:pt x="364" y="49"/>
                    </a:cubicBezTo>
                    <a:cubicBezTo>
                      <a:pt x="363" y="49"/>
                      <a:pt x="363" y="49"/>
                      <a:pt x="363" y="49"/>
                    </a:cubicBezTo>
                    <a:cubicBezTo>
                      <a:pt x="361" y="49"/>
                      <a:pt x="360" y="48"/>
                      <a:pt x="359" y="48"/>
                    </a:cubicBezTo>
                    <a:cubicBezTo>
                      <a:pt x="358" y="48"/>
                      <a:pt x="358" y="48"/>
                      <a:pt x="358" y="48"/>
                    </a:cubicBezTo>
                    <a:cubicBezTo>
                      <a:pt x="357" y="48"/>
                      <a:pt x="357" y="48"/>
                      <a:pt x="356" y="48"/>
                    </a:cubicBezTo>
                    <a:cubicBezTo>
                      <a:pt x="355" y="48"/>
                      <a:pt x="353" y="48"/>
                      <a:pt x="351" y="49"/>
                    </a:cubicBezTo>
                    <a:cubicBezTo>
                      <a:pt x="350" y="49"/>
                      <a:pt x="350" y="49"/>
                      <a:pt x="350" y="49"/>
                    </a:cubicBezTo>
                    <a:cubicBezTo>
                      <a:pt x="350" y="49"/>
                      <a:pt x="350" y="49"/>
                      <a:pt x="350" y="49"/>
                    </a:cubicBezTo>
                    <a:cubicBezTo>
                      <a:pt x="350" y="49"/>
                      <a:pt x="350" y="49"/>
                      <a:pt x="350" y="49"/>
                    </a:cubicBezTo>
                    <a:cubicBezTo>
                      <a:pt x="346" y="53"/>
                      <a:pt x="345" y="55"/>
                      <a:pt x="341" y="55"/>
                    </a:cubicBezTo>
                    <a:cubicBezTo>
                      <a:pt x="340" y="55"/>
                      <a:pt x="340" y="55"/>
                      <a:pt x="340" y="55"/>
                    </a:cubicBezTo>
                    <a:cubicBezTo>
                      <a:pt x="339" y="60"/>
                      <a:pt x="339" y="60"/>
                      <a:pt x="339" y="60"/>
                    </a:cubicBezTo>
                    <a:cubicBezTo>
                      <a:pt x="338" y="55"/>
                      <a:pt x="338" y="55"/>
                      <a:pt x="338" y="55"/>
                    </a:cubicBezTo>
                    <a:cubicBezTo>
                      <a:pt x="336" y="55"/>
                      <a:pt x="334" y="54"/>
                      <a:pt x="333" y="54"/>
                    </a:cubicBezTo>
                    <a:cubicBezTo>
                      <a:pt x="332" y="54"/>
                      <a:pt x="331" y="54"/>
                      <a:pt x="330" y="55"/>
                    </a:cubicBezTo>
                    <a:cubicBezTo>
                      <a:pt x="325" y="55"/>
                      <a:pt x="321" y="56"/>
                      <a:pt x="317" y="57"/>
                    </a:cubicBezTo>
                    <a:cubicBezTo>
                      <a:pt x="281" y="94"/>
                      <a:pt x="281" y="94"/>
                      <a:pt x="281" y="94"/>
                    </a:cubicBezTo>
                    <a:cubicBezTo>
                      <a:pt x="280" y="93"/>
                      <a:pt x="280" y="93"/>
                      <a:pt x="280" y="93"/>
                    </a:cubicBezTo>
                    <a:cubicBezTo>
                      <a:pt x="279" y="93"/>
                      <a:pt x="278" y="93"/>
                      <a:pt x="277" y="93"/>
                    </a:cubicBezTo>
                    <a:cubicBezTo>
                      <a:pt x="276" y="93"/>
                      <a:pt x="276" y="93"/>
                      <a:pt x="275" y="93"/>
                    </a:cubicBezTo>
                    <a:cubicBezTo>
                      <a:pt x="273" y="93"/>
                      <a:pt x="271" y="92"/>
                      <a:pt x="268" y="91"/>
                    </a:cubicBezTo>
                    <a:cubicBezTo>
                      <a:pt x="269" y="91"/>
                      <a:pt x="269" y="91"/>
                      <a:pt x="270" y="91"/>
                    </a:cubicBezTo>
                    <a:cubicBezTo>
                      <a:pt x="271" y="91"/>
                      <a:pt x="273" y="91"/>
                      <a:pt x="275" y="90"/>
                    </a:cubicBezTo>
                    <a:cubicBezTo>
                      <a:pt x="273" y="90"/>
                      <a:pt x="271" y="90"/>
                      <a:pt x="268" y="91"/>
                    </a:cubicBezTo>
                    <a:cubicBezTo>
                      <a:pt x="264" y="91"/>
                      <a:pt x="260" y="92"/>
                      <a:pt x="255" y="93"/>
                    </a:cubicBezTo>
                    <a:cubicBezTo>
                      <a:pt x="250" y="93"/>
                      <a:pt x="246" y="94"/>
                      <a:pt x="241" y="96"/>
                    </a:cubicBezTo>
                    <a:cubicBezTo>
                      <a:pt x="239" y="96"/>
                      <a:pt x="237" y="97"/>
                      <a:pt x="234" y="97"/>
                    </a:cubicBezTo>
                    <a:cubicBezTo>
                      <a:pt x="232" y="98"/>
                      <a:pt x="229" y="98"/>
                      <a:pt x="227" y="99"/>
                    </a:cubicBezTo>
                    <a:cubicBezTo>
                      <a:pt x="224" y="99"/>
                      <a:pt x="222" y="100"/>
                      <a:pt x="219" y="100"/>
                    </a:cubicBezTo>
                    <a:cubicBezTo>
                      <a:pt x="218" y="100"/>
                      <a:pt x="217" y="100"/>
                      <a:pt x="215" y="99"/>
                    </a:cubicBezTo>
                    <a:cubicBezTo>
                      <a:pt x="214" y="99"/>
                      <a:pt x="213" y="99"/>
                      <a:pt x="211" y="99"/>
                    </a:cubicBezTo>
                    <a:cubicBezTo>
                      <a:pt x="210" y="98"/>
                      <a:pt x="208" y="98"/>
                      <a:pt x="206" y="97"/>
                    </a:cubicBezTo>
                    <a:cubicBezTo>
                      <a:pt x="203" y="97"/>
                      <a:pt x="201" y="96"/>
                      <a:pt x="198" y="95"/>
                    </a:cubicBezTo>
                    <a:cubicBezTo>
                      <a:pt x="195" y="94"/>
                      <a:pt x="193" y="93"/>
                      <a:pt x="190" y="92"/>
                    </a:cubicBezTo>
                    <a:cubicBezTo>
                      <a:pt x="190" y="92"/>
                      <a:pt x="190" y="92"/>
                      <a:pt x="190" y="92"/>
                    </a:cubicBezTo>
                    <a:cubicBezTo>
                      <a:pt x="188" y="91"/>
                      <a:pt x="185" y="90"/>
                      <a:pt x="183" y="88"/>
                    </a:cubicBezTo>
                    <a:cubicBezTo>
                      <a:pt x="180" y="87"/>
                      <a:pt x="178" y="85"/>
                      <a:pt x="176" y="83"/>
                    </a:cubicBezTo>
                    <a:cubicBezTo>
                      <a:pt x="175" y="82"/>
                      <a:pt x="174" y="81"/>
                      <a:pt x="173" y="80"/>
                    </a:cubicBezTo>
                    <a:cubicBezTo>
                      <a:pt x="173" y="79"/>
                      <a:pt x="172" y="78"/>
                      <a:pt x="171" y="77"/>
                    </a:cubicBezTo>
                    <a:cubicBezTo>
                      <a:pt x="169" y="76"/>
                      <a:pt x="167" y="74"/>
                      <a:pt x="164" y="74"/>
                    </a:cubicBezTo>
                    <a:cubicBezTo>
                      <a:pt x="161" y="73"/>
                      <a:pt x="158" y="72"/>
                      <a:pt x="155" y="71"/>
                    </a:cubicBezTo>
                    <a:cubicBezTo>
                      <a:pt x="155" y="71"/>
                      <a:pt x="155" y="71"/>
                      <a:pt x="155" y="71"/>
                    </a:cubicBezTo>
                    <a:cubicBezTo>
                      <a:pt x="152" y="71"/>
                      <a:pt x="149" y="70"/>
                      <a:pt x="146" y="69"/>
                    </a:cubicBezTo>
                    <a:cubicBezTo>
                      <a:pt x="144" y="68"/>
                      <a:pt x="141" y="67"/>
                      <a:pt x="140" y="65"/>
                    </a:cubicBezTo>
                    <a:cubicBezTo>
                      <a:pt x="139" y="64"/>
                      <a:pt x="138" y="63"/>
                      <a:pt x="138" y="62"/>
                    </a:cubicBezTo>
                    <a:cubicBezTo>
                      <a:pt x="137" y="60"/>
                      <a:pt x="137" y="59"/>
                      <a:pt x="136" y="57"/>
                    </a:cubicBezTo>
                    <a:cubicBezTo>
                      <a:pt x="136" y="54"/>
                      <a:pt x="135" y="51"/>
                      <a:pt x="134" y="48"/>
                    </a:cubicBezTo>
                    <a:cubicBezTo>
                      <a:pt x="134" y="46"/>
                      <a:pt x="134" y="45"/>
                      <a:pt x="134" y="43"/>
                    </a:cubicBezTo>
                    <a:cubicBezTo>
                      <a:pt x="132" y="43"/>
                      <a:pt x="132" y="43"/>
                      <a:pt x="132" y="43"/>
                    </a:cubicBezTo>
                    <a:cubicBezTo>
                      <a:pt x="132" y="43"/>
                      <a:pt x="131" y="43"/>
                      <a:pt x="130" y="43"/>
                    </a:cubicBezTo>
                    <a:cubicBezTo>
                      <a:pt x="130" y="44"/>
                      <a:pt x="130" y="44"/>
                      <a:pt x="130" y="44"/>
                    </a:cubicBezTo>
                    <a:cubicBezTo>
                      <a:pt x="129" y="44"/>
                      <a:pt x="128" y="44"/>
                      <a:pt x="128" y="44"/>
                    </a:cubicBezTo>
                    <a:cubicBezTo>
                      <a:pt x="128" y="44"/>
                      <a:pt x="128" y="44"/>
                      <a:pt x="128" y="44"/>
                    </a:cubicBezTo>
                    <a:cubicBezTo>
                      <a:pt x="127" y="44"/>
                      <a:pt x="127" y="44"/>
                      <a:pt x="127" y="44"/>
                    </a:cubicBezTo>
                    <a:cubicBezTo>
                      <a:pt x="127" y="44"/>
                      <a:pt x="126" y="44"/>
                      <a:pt x="126" y="44"/>
                    </a:cubicBezTo>
                    <a:cubicBezTo>
                      <a:pt x="126" y="44"/>
                      <a:pt x="126" y="44"/>
                      <a:pt x="126" y="44"/>
                    </a:cubicBezTo>
                    <a:cubicBezTo>
                      <a:pt x="125" y="44"/>
                      <a:pt x="125" y="44"/>
                      <a:pt x="125" y="44"/>
                    </a:cubicBezTo>
                    <a:cubicBezTo>
                      <a:pt x="125" y="44"/>
                      <a:pt x="124" y="44"/>
                      <a:pt x="124" y="43"/>
                    </a:cubicBezTo>
                    <a:cubicBezTo>
                      <a:pt x="122" y="43"/>
                      <a:pt x="121" y="41"/>
                      <a:pt x="121" y="40"/>
                    </a:cubicBezTo>
                    <a:cubicBezTo>
                      <a:pt x="120" y="39"/>
                      <a:pt x="120" y="39"/>
                      <a:pt x="120" y="38"/>
                    </a:cubicBezTo>
                    <a:cubicBezTo>
                      <a:pt x="120" y="38"/>
                      <a:pt x="119" y="38"/>
                      <a:pt x="118" y="38"/>
                    </a:cubicBezTo>
                    <a:cubicBezTo>
                      <a:pt x="117" y="36"/>
                      <a:pt x="116" y="36"/>
                      <a:pt x="115" y="35"/>
                    </a:cubicBezTo>
                    <a:cubicBezTo>
                      <a:pt x="114" y="35"/>
                      <a:pt x="114" y="34"/>
                      <a:pt x="113" y="34"/>
                    </a:cubicBezTo>
                    <a:cubicBezTo>
                      <a:pt x="112" y="33"/>
                      <a:pt x="112" y="33"/>
                      <a:pt x="112" y="33"/>
                    </a:cubicBezTo>
                    <a:cubicBezTo>
                      <a:pt x="112" y="32"/>
                      <a:pt x="112" y="32"/>
                      <a:pt x="112" y="32"/>
                    </a:cubicBezTo>
                    <a:cubicBezTo>
                      <a:pt x="103" y="25"/>
                      <a:pt x="103" y="25"/>
                      <a:pt x="103" y="25"/>
                    </a:cubicBezTo>
                    <a:cubicBezTo>
                      <a:pt x="112" y="19"/>
                      <a:pt x="112" y="19"/>
                      <a:pt x="112" y="19"/>
                    </a:cubicBezTo>
                    <a:cubicBezTo>
                      <a:pt x="110" y="17"/>
                      <a:pt x="109" y="15"/>
                      <a:pt x="111" y="12"/>
                    </a:cubicBezTo>
                    <a:cubicBezTo>
                      <a:pt x="111" y="11"/>
                      <a:pt x="112" y="10"/>
                      <a:pt x="112" y="9"/>
                    </a:cubicBezTo>
                    <a:cubicBezTo>
                      <a:pt x="113" y="8"/>
                      <a:pt x="113" y="8"/>
                      <a:pt x="113" y="8"/>
                    </a:cubicBezTo>
                    <a:cubicBezTo>
                      <a:pt x="112" y="7"/>
                      <a:pt x="112" y="7"/>
                      <a:pt x="112" y="7"/>
                    </a:cubicBezTo>
                    <a:cubicBezTo>
                      <a:pt x="111" y="5"/>
                      <a:pt x="111" y="5"/>
                      <a:pt x="111" y="5"/>
                    </a:cubicBezTo>
                    <a:cubicBezTo>
                      <a:pt x="108" y="2"/>
                      <a:pt x="107" y="1"/>
                      <a:pt x="107" y="1"/>
                    </a:cubicBezTo>
                    <a:cubicBezTo>
                      <a:pt x="107" y="1"/>
                      <a:pt x="105" y="1"/>
                      <a:pt x="102" y="4"/>
                    </a:cubicBezTo>
                    <a:cubicBezTo>
                      <a:pt x="101" y="4"/>
                      <a:pt x="101" y="4"/>
                      <a:pt x="101" y="4"/>
                    </a:cubicBezTo>
                    <a:cubicBezTo>
                      <a:pt x="97" y="7"/>
                      <a:pt x="94" y="9"/>
                      <a:pt x="90" y="11"/>
                    </a:cubicBezTo>
                    <a:cubicBezTo>
                      <a:pt x="88" y="13"/>
                      <a:pt x="88" y="13"/>
                      <a:pt x="88" y="13"/>
                    </a:cubicBezTo>
                    <a:cubicBezTo>
                      <a:pt x="86" y="14"/>
                      <a:pt x="85" y="14"/>
                      <a:pt x="84" y="15"/>
                    </a:cubicBezTo>
                    <a:cubicBezTo>
                      <a:pt x="81" y="17"/>
                      <a:pt x="79" y="18"/>
                      <a:pt x="78" y="20"/>
                    </a:cubicBezTo>
                    <a:cubicBezTo>
                      <a:pt x="77" y="20"/>
                      <a:pt x="76" y="21"/>
                      <a:pt x="76" y="22"/>
                    </a:cubicBezTo>
                    <a:cubicBezTo>
                      <a:pt x="75" y="23"/>
                      <a:pt x="75" y="23"/>
                      <a:pt x="75" y="23"/>
                    </a:cubicBezTo>
                    <a:cubicBezTo>
                      <a:pt x="73" y="24"/>
                      <a:pt x="73" y="24"/>
                      <a:pt x="73" y="24"/>
                    </a:cubicBezTo>
                    <a:cubicBezTo>
                      <a:pt x="72" y="25"/>
                      <a:pt x="71" y="26"/>
                      <a:pt x="70" y="27"/>
                    </a:cubicBezTo>
                    <a:cubicBezTo>
                      <a:pt x="69" y="28"/>
                      <a:pt x="69" y="28"/>
                      <a:pt x="69" y="28"/>
                    </a:cubicBezTo>
                    <a:cubicBezTo>
                      <a:pt x="65" y="35"/>
                      <a:pt x="65" y="35"/>
                      <a:pt x="65" y="35"/>
                    </a:cubicBezTo>
                    <a:cubicBezTo>
                      <a:pt x="65" y="32"/>
                      <a:pt x="65" y="32"/>
                      <a:pt x="65" y="32"/>
                    </a:cubicBezTo>
                    <a:cubicBezTo>
                      <a:pt x="65" y="32"/>
                      <a:pt x="65" y="32"/>
                      <a:pt x="65" y="32"/>
                    </a:cubicBezTo>
                    <a:cubicBezTo>
                      <a:pt x="64" y="28"/>
                      <a:pt x="64" y="28"/>
                      <a:pt x="64" y="28"/>
                    </a:cubicBezTo>
                    <a:cubicBezTo>
                      <a:pt x="64" y="28"/>
                      <a:pt x="64" y="28"/>
                      <a:pt x="64" y="28"/>
                    </a:cubicBezTo>
                    <a:cubicBezTo>
                      <a:pt x="64" y="28"/>
                      <a:pt x="64" y="28"/>
                      <a:pt x="64" y="28"/>
                    </a:cubicBezTo>
                    <a:cubicBezTo>
                      <a:pt x="64" y="28"/>
                      <a:pt x="64" y="28"/>
                      <a:pt x="64" y="28"/>
                    </a:cubicBezTo>
                    <a:cubicBezTo>
                      <a:pt x="63" y="28"/>
                      <a:pt x="62" y="28"/>
                      <a:pt x="61" y="29"/>
                    </a:cubicBezTo>
                    <a:cubicBezTo>
                      <a:pt x="60" y="29"/>
                      <a:pt x="60" y="29"/>
                      <a:pt x="60" y="29"/>
                    </a:cubicBezTo>
                    <a:cubicBezTo>
                      <a:pt x="60" y="30"/>
                      <a:pt x="60" y="30"/>
                      <a:pt x="60" y="30"/>
                    </a:cubicBezTo>
                    <a:cubicBezTo>
                      <a:pt x="57" y="30"/>
                      <a:pt x="57" y="30"/>
                      <a:pt x="57" y="30"/>
                    </a:cubicBezTo>
                    <a:cubicBezTo>
                      <a:pt x="57" y="30"/>
                      <a:pt x="52" y="29"/>
                      <a:pt x="49" y="29"/>
                    </a:cubicBezTo>
                    <a:cubicBezTo>
                      <a:pt x="44" y="28"/>
                      <a:pt x="34" y="25"/>
                      <a:pt x="32" y="22"/>
                    </a:cubicBezTo>
                    <a:cubicBezTo>
                      <a:pt x="31" y="21"/>
                      <a:pt x="29" y="19"/>
                      <a:pt x="28" y="18"/>
                    </a:cubicBezTo>
                    <a:cubicBezTo>
                      <a:pt x="27" y="17"/>
                      <a:pt x="27" y="17"/>
                      <a:pt x="27" y="17"/>
                    </a:cubicBezTo>
                    <a:cubicBezTo>
                      <a:pt x="27" y="16"/>
                      <a:pt x="26" y="16"/>
                      <a:pt x="25" y="15"/>
                    </a:cubicBezTo>
                    <a:cubicBezTo>
                      <a:pt x="20" y="10"/>
                      <a:pt x="17" y="7"/>
                      <a:pt x="16" y="5"/>
                    </a:cubicBezTo>
                    <a:cubicBezTo>
                      <a:pt x="16" y="4"/>
                      <a:pt x="16" y="4"/>
                      <a:pt x="16" y="4"/>
                    </a:cubicBezTo>
                    <a:cubicBezTo>
                      <a:pt x="15" y="4"/>
                      <a:pt x="15" y="4"/>
                      <a:pt x="15" y="4"/>
                    </a:cubicBezTo>
                    <a:cubicBezTo>
                      <a:pt x="15" y="3"/>
                      <a:pt x="15" y="3"/>
                      <a:pt x="15" y="3"/>
                    </a:cubicBezTo>
                    <a:cubicBezTo>
                      <a:pt x="14" y="2"/>
                      <a:pt x="14" y="2"/>
                      <a:pt x="14" y="2"/>
                    </a:cubicBezTo>
                    <a:cubicBezTo>
                      <a:pt x="14" y="2"/>
                      <a:pt x="14" y="2"/>
                      <a:pt x="14" y="2"/>
                    </a:cubicBezTo>
                    <a:cubicBezTo>
                      <a:pt x="14" y="1"/>
                      <a:pt x="14" y="1"/>
                      <a:pt x="14" y="1"/>
                    </a:cubicBezTo>
                    <a:cubicBezTo>
                      <a:pt x="12" y="0"/>
                      <a:pt x="12"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343"/>
              <p:cNvSpPr/>
              <p:nvPr/>
            </p:nvSpPr>
            <p:spPr bwMode="auto">
              <a:xfrm>
                <a:off x="9091180" y="4893834"/>
                <a:ext cx="51592" cy="103183"/>
              </a:xfrm>
              <a:custGeom>
                <a:gdLst>
                  <a:gd name="T0" fmla="*/ 16 w 16"/>
                  <a:gd name="T1" fmla="*/ 0 h 33"/>
                  <a:gd name="T2" fmla="*/ 15 w 16"/>
                  <a:gd name="T3" fmla="*/ 0 h 33"/>
                  <a:gd name="T4" fmla="*/ 10 w 16"/>
                  <a:gd name="T5" fmla="*/ 4 h 33"/>
                  <a:gd name="T6" fmla="*/ 5 w 16"/>
                  <a:gd name="T7" fmla="*/ 8 h 33"/>
                  <a:gd name="T8" fmla="*/ 2 w 16"/>
                  <a:gd name="T9" fmla="*/ 12 h 33"/>
                  <a:gd name="T10" fmla="*/ 0 w 16"/>
                  <a:gd name="T11" fmla="*/ 13 h 33"/>
                  <a:gd name="T12" fmla="*/ 11 w 16"/>
                  <a:gd name="T13" fmla="*/ 33 h 33"/>
                  <a:gd name="T14" fmla="*/ 9 w 16"/>
                  <a:gd name="T15" fmla="*/ 23 h 33"/>
                  <a:gd name="T16" fmla="*/ 12 w 16"/>
                  <a:gd name="T17" fmla="*/ 15 h 33"/>
                  <a:gd name="T18" fmla="*/ 11 w 16"/>
                  <a:gd name="T19" fmla="*/ 12 h 33"/>
                  <a:gd name="T20" fmla="*/ 9 w 16"/>
                  <a:gd name="T21" fmla="*/ 12 h 33"/>
                  <a:gd name="T22" fmla="*/ 8 w 16"/>
                  <a:gd name="T23" fmla="*/ 12 h 33"/>
                  <a:gd name="T24" fmla="*/ 10 w 16"/>
                  <a:gd name="T25" fmla="*/ 8 h 33"/>
                  <a:gd name="T26" fmla="*/ 15 w 16"/>
                  <a:gd name="T27" fmla="*/ 1 h 33"/>
                  <a:gd name="T28" fmla="*/ 16 w 16"/>
                  <a:gd name="T29"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33">
                    <a:moveTo>
                      <a:pt x="16" y="0"/>
                    </a:moveTo>
                    <a:cubicBezTo>
                      <a:pt x="15" y="0"/>
                      <a:pt x="15" y="0"/>
                      <a:pt x="15" y="0"/>
                    </a:cubicBezTo>
                    <a:cubicBezTo>
                      <a:pt x="13" y="1"/>
                      <a:pt x="12" y="3"/>
                      <a:pt x="10" y="4"/>
                    </a:cubicBezTo>
                    <a:cubicBezTo>
                      <a:pt x="8" y="6"/>
                      <a:pt x="7" y="7"/>
                      <a:pt x="5" y="8"/>
                    </a:cubicBezTo>
                    <a:cubicBezTo>
                      <a:pt x="2" y="11"/>
                      <a:pt x="2" y="12"/>
                      <a:pt x="2" y="12"/>
                    </a:cubicBezTo>
                    <a:cubicBezTo>
                      <a:pt x="1" y="12"/>
                      <a:pt x="1" y="12"/>
                      <a:pt x="0" y="13"/>
                    </a:cubicBezTo>
                    <a:cubicBezTo>
                      <a:pt x="4" y="20"/>
                      <a:pt x="8" y="26"/>
                      <a:pt x="11" y="33"/>
                    </a:cubicBezTo>
                    <a:cubicBezTo>
                      <a:pt x="11" y="30"/>
                      <a:pt x="10" y="27"/>
                      <a:pt x="9" y="23"/>
                    </a:cubicBezTo>
                    <a:cubicBezTo>
                      <a:pt x="9" y="20"/>
                      <a:pt x="11" y="18"/>
                      <a:pt x="12" y="15"/>
                    </a:cubicBezTo>
                    <a:cubicBezTo>
                      <a:pt x="12" y="13"/>
                      <a:pt x="12" y="12"/>
                      <a:pt x="11" y="12"/>
                    </a:cubicBezTo>
                    <a:cubicBezTo>
                      <a:pt x="11" y="12"/>
                      <a:pt x="10" y="12"/>
                      <a:pt x="9" y="12"/>
                    </a:cubicBezTo>
                    <a:cubicBezTo>
                      <a:pt x="9" y="12"/>
                      <a:pt x="9" y="12"/>
                      <a:pt x="8" y="12"/>
                    </a:cubicBezTo>
                    <a:cubicBezTo>
                      <a:pt x="7" y="12"/>
                      <a:pt x="10" y="9"/>
                      <a:pt x="10" y="8"/>
                    </a:cubicBezTo>
                    <a:cubicBezTo>
                      <a:pt x="12" y="5"/>
                      <a:pt x="13" y="3"/>
                      <a:pt x="15" y="1"/>
                    </a:cubicBezTo>
                    <a:cubicBezTo>
                      <a:pt x="15"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344"/>
              <p:cNvSpPr/>
              <p:nvPr/>
            </p:nvSpPr>
            <p:spPr bwMode="auto">
              <a:xfrm>
                <a:off x="9109606" y="4827502"/>
                <a:ext cx="1249254" cy="773874"/>
              </a:xfrm>
              <a:custGeom>
                <a:gdLst>
                  <a:gd name="T0" fmla="*/ 163 w 393"/>
                  <a:gd name="T1" fmla="*/ 14 h 244"/>
                  <a:gd name="T2" fmla="*/ 153 w 393"/>
                  <a:gd name="T3" fmla="*/ 9 h 244"/>
                  <a:gd name="T4" fmla="*/ 130 w 393"/>
                  <a:gd name="T5" fmla="*/ 23 h 244"/>
                  <a:gd name="T6" fmla="*/ 126 w 393"/>
                  <a:gd name="T7" fmla="*/ 36 h 244"/>
                  <a:gd name="T8" fmla="*/ 107 w 393"/>
                  <a:gd name="T9" fmla="*/ 49 h 244"/>
                  <a:gd name="T10" fmla="*/ 86 w 393"/>
                  <a:gd name="T11" fmla="*/ 49 h 244"/>
                  <a:gd name="T12" fmla="*/ 74 w 393"/>
                  <a:gd name="T13" fmla="*/ 46 h 244"/>
                  <a:gd name="T14" fmla="*/ 53 w 393"/>
                  <a:gd name="T15" fmla="*/ 24 h 244"/>
                  <a:gd name="T16" fmla="*/ 36 w 393"/>
                  <a:gd name="T17" fmla="*/ 14 h 244"/>
                  <a:gd name="T18" fmla="*/ 30 w 393"/>
                  <a:gd name="T19" fmla="*/ 18 h 244"/>
                  <a:gd name="T20" fmla="*/ 53 w 393"/>
                  <a:gd name="T21" fmla="*/ 60 h 244"/>
                  <a:gd name="T22" fmla="*/ 47 w 393"/>
                  <a:gd name="T23" fmla="*/ 66 h 244"/>
                  <a:gd name="T24" fmla="*/ 31 w 393"/>
                  <a:gd name="T25" fmla="*/ 69 h 244"/>
                  <a:gd name="T26" fmla="*/ 21 w 393"/>
                  <a:gd name="T27" fmla="*/ 65 h 244"/>
                  <a:gd name="T28" fmla="*/ 7 w 393"/>
                  <a:gd name="T29" fmla="*/ 89 h 244"/>
                  <a:gd name="T30" fmla="*/ 17 w 393"/>
                  <a:gd name="T31" fmla="*/ 91 h 244"/>
                  <a:gd name="T32" fmla="*/ 20 w 393"/>
                  <a:gd name="T33" fmla="*/ 90 h 244"/>
                  <a:gd name="T34" fmla="*/ 17 w 393"/>
                  <a:gd name="T35" fmla="*/ 105 h 244"/>
                  <a:gd name="T36" fmla="*/ 14 w 393"/>
                  <a:gd name="T37" fmla="*/ 111 h 244"/>
                  <a:gd name="T38" fmla="*/ 35 w 393"/>
                  <a:gd name="T39" fmla="*/ 183 h 244"/>
                  <a:gd name="T40" fmla="*/ 97 w 393"/>
                  <a:gd name="T41" fmla="*/ 150 h 244"/>
                  <a:gd name="T42" fmla="*/ 104 w 393"/>
                  <a:gd name="T43" fmla="*/ 145 h 244"/>
                  <a:gd name="T44" fmla="*/ 116 w 393"/>
                  <a:gd name="T45" fmla="*/ 143 h 244"/>
                  <a:gd name="T46" fmla="*/ 137 w 393"/>
                  <a:gd name="T47" fmla="*/ 155 h 244"/>
                  <a:gd name="T48" fmla="*/ 156 w 393"/>
                  <a:gd name="T49" fmla="*/ 161 h 244"/>
                  <a:gd name="T50" fmla="*/ 163 w 393"/>
                  <a:gd name="T51" fmla="*/ 164 h 244"/>
                  <a:gd name="T52" fmla="*/ 186 w 393"/>
                  <a:gd name="T53" fmla="*/ 166 h 244"/>
                  <a:gd name="T54" fmla="*/ 197 w 393"/>
                  <a:gd name="T55" fmla="*/ 178 h 244"/>
                  <a:gd name="T56" fmla="*/ 213 w 393"/>
                  <a:gd name="T57" fmla="*/ 188 h 244"/>
                  <a:gd name="T58" fmla="*/ 222 w 393"/>
                  <a:gd name="T59" fmla="*/ 197 h 244"/>
                  <a:gd name="T60" fmla="*/ 239 w 393"/>
                  <a:gd name="T61" fmla="*/ 197 h 244"/>
                  <a:gd name="T62" fmla="*/ 244 w 393"/>
                  <a:gd name="T63" fmla="*/ 216 h 244"/>
                  <a:gd name="T64" fmla="*/ 251 w 393"/>
                  <a:gd name="T65" fmla="*/ 233 h 244"/>
                  <a:gd name="T66" fmla="*/ 269 w 393"/>
                  <a:gd name="T67" fmla="*/ 240 h 244"/>
                  <a:gd name="T68" fmla="*/ 285 w 393"/>
                  <a:gd name="T69" fmla="*/ 241 h 244"/>
                  <a:gd name="T70" fmla="*/ 294 w 393"/>
                  <a:gd name="T71" fmla="*/ 229 h 244"/>
                  <a:gd name="T72" fmla="*/ 325 w 393"/>
                  <a:gd name="T73" fmla="*/ 214 h 244"/>
                  <a:gd name="T74" fmla="*/ 336 w 393"/>
                  <a:gd name="T75" fmla="*/ 198 h 244"/>
                  <a:gd name="T76" fmla="*/ 362 w 393"/>
                  <a:gd name="T77" fmla="*/ 178 h 244"/>
                  <a:gd name="T78" fmla="*/ 371 w 393"/>
                  <a:gd name="T79" fmla="*/ 168 h 244"/>
                  <a:gd name="T80" fmla="*/ 383 w 393"/>
                  <a:gd name="T81" fmla="*/ 173 h 244"/>
                  <a:gd name="T82" fmla="*/ 390 w 393"/>
                  <a:gd name="T83" fmla="*/ 174 h 244"/>
                  <a:gd name="T84" fmla="*/ 393 w 393"/>
                  <a:gd name="T85" fmla="*/ 162 h 244"/>
                  <a:gd name="T86" fmla="*/ 376 w 393"/>
                  <a:gd name="T87" fmla="*/ 150 h 244"/>
                  <a:gd name="T88" fmla="*/ 357 w 393"/>
                  <a:gd name="T89" fmla="*/ 145 h 244"/>
                  <a:gd name="T90" fmla="*/ 313 w 393"/>
                  <a:gd name="T91" fmla="*/ 118 h 244"/>
                  <a:gd name="T92" fmla="*/ 283 w 393"/>
                  <a:gd name="T93" fmla="*/ 98 h 244"/>
                  <a:gd name="T94" fmla="*/ 273 w 393"/>
                  <a:gd name="T95" fmla="*/ 85 h 244"/>
                  <a:gd name="T96" fmla="*/ 255 w 393"/>
                  <a:gd name="T97" fmla="*/ 52 h 244"/>
                  <a:gd name="T98" fmla="*/ 227 w 393"/>
                  <a:gd name="T99" fmla="*/ 51 h 244"/>
                  <a:gd name="T100" fmla="*/ 212 w 393"/>
                  <a:gd name="T101" fmla="*/ 47 h 244"/>
                  <a:gd name="T102" fmla="*/ 207 w 393"/>
                  <a:gd name="T103" fmla="*/ 34 h 244"/>
                  <a:gd name="T104" fmla="*/ 204 w 393"/>
                  <a:gd name="T105" fmla="*/ 20 h 244"/>
                  <a:gd name="T106" fmla="*/ 189 w 393"/>
                  <a:gd name="T107" fmla="*/ 14 h 244"/>
                  <a:gd name="T108" fmla="*/ 181 w 393"/>
                  <a:gd name="T109" fmla="*/ 7 h 244"/>
                  <a:gd name="T110" fmla="*/ 174 w 393"/>
                  <a:gd name="T111" fmla="*/ 5 h 2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3" h="244">
                    <a:moveTo>
                      <a:pt x="168" y="0"/>
                    </a:moveTo>
                    <a:cubicBezTo>
                      <a:pt x="168" y="0"/>
                      <a:pt x="168" y="0"/>
                      <a:pt x="168" y="0"/>
                    </a:cubicBezTo>
                    <a:cubicBezTo>
                      <a:pt x="165" y="3"/>
                      <a:pt x="164" y="4"/>
                      <a:pt x="165" y="5"/>
                    </a:cubicBezTo>
                    <a:cubicBezTo>
                      <a:pt x="165" y="6"/>
                      <a:pt x="167" y="8"/>
                      <a:pt x="167" y="9"/>
                    </a:cubicBezTo>
                    <a:cubicBezTo>
                      <a:pt x="182" y="26"/>
                      <a:pt x="182" y="26"/>
                      <a:pt x="182" y="26"/>
                    </a:cubicBezTo>
                    <a:cubicBezTo>
                      <a:pt x="163" y="14"/>
                      <a:pt x="163" y="14"/>
                      <a:pt x="163" y="14"/>
                    </a:cubicBezTo>
                    <a:cubicBezTo>
                      <a:pt x="162" y="14"/>
                      <a:pt x="161" y="13"/>
                      <a:pt x="161" y="12"/>
                    </a:cubicBezTo>
                    <a:cubicBezTo>
                      <a:pt x="160" y="11"/>
                      <a:pt x="160" y="11"/>
                      <a:pt x="160" y="11"/>
                    </a:cubicBezTo>
                    <a:cubicBezTo>
                      <a:pt x="159" y="10"/>
                      <a:pt x="158" y="10"/>
                      <a:pt x="157" y="9"/>
                    </a:cubicBezTo>
                    <a:cubicBezTo>
                      <a:pt x="156" y="9"/>
                      <a:pt x="156" y="9"/>
                      <a:pt x="156" y="9"/>
                    </a:cubicBezTo>
                    <a:cubicBezTo>
                      <a:pt x="155" y="9"/>
                      <a:pt x="155" y="9"/>
                      <a:pt x="154" y="9"/>
                    </a:cubicBezTo>
                    <a:cubicBezTo>
                      <a:pt x="153" y="9"/>
                      <a:pt x="153" y="9"/>
                      <a:pt x="153" y="9"/>
                    </a:cubicBezTo>
                    <a:cubicBezTo>
                      <a:pt x="153" y="9"/>
                      <a:pt x="153" y="10"/>
                      <a:pt x="152" y="11"/>
                    </a:cubicBezTo>
                    <a:cubicBezTo>
                      <a:pt x="152" y="12"/>
                      <a:pt x="152" y="13"/>
                      <a:pt x="151" y="14"/>
                    </a:cubicBezTo>
                    <a:cubicBezTo>
                      <a:pt x="149" y="18"/>
                      <a:pt x="146" y="19"/>
                      <a:pt x="142" y="20"/>
                    </a:cubicBezTo>
                    <a:cubicBezTo>
                      <a:pt x="141" y="21"/>
                      <a:pt x="140" y="21"/>
                      <a:pt x="138" y="21"/>
                    </a:cubicBezTo>
                    <a:cubicBezTo>
                      <a:pt x="136" y="22"/>
                      <a:pt x="133" y="22"/>
                      <a:pt x="131" y="23"/>
                    </a:cubicBezTo>
                    <a:cubicBezTo>
                      <a:pt x="131" y="23"/>
                      <a:pt x="130" y="23"/>
                      <a:pt x="130" y="23"/>
                    </a:cubicBezTo>
                    <a:cubicBezTo>
                      <a:pt x="130" y="23"/>
                      <a:pt x="130" y="23"/>
                      <a:pt x="130" y="23"/>
                    </a:cubicBezTo>
                    <a:cubicBezTo>
                      <a:pt x="129" y="24"/>
                      <a:pt x="128" y="28"/>
                      <a:pt x="127" y="29"/>
                    </a:cubicBezTo>
                    <a:cubicBezTo>
                      <a:pt x="127" y="31"/>
                      <a:pt x="126" y="32"/>
                      <a:pt x="126" y="33"/>
                    </a:cubicBezTo>
                    <a:cubicBezTo>
                      <a:pt x="126" y="34"/>
                      <a:pt x="126" y="34"/>
                      <a:pt x="126" y="34"/>
                    </a:cubicBezTo>
                    <a:cubicBezTo>
                      <a:pt x="126" y="35"/>
                      <a:pt x="126" y="35"/>
                      <a:pt x="126" y="35"/>
                    </a:cubicBezTo>
                    <a:cubicBezTo>
                      <a:pt x="126" y="36"/>
                      <a:pt x="126" y="36"/>
                      <a:pt x="126" y="36"/>
                    </a:cubicBezTo>
                    <a:cubicBezTo>
                      <a:pt x="126" y="36"/>
                      <a:pt x="126" y="37"/>
                      <a:pt x="127" y="38"/>
                    </a:cubicBezTo>
                    <a:cubicBezTo>
                      <a:pt x="127" y="39"/>
                      <a:pt x="127" y="40"/>
                      <a:pt x="127" y="40"/>
                    </a:cubicBezTo>
                    <a:cubicBezTo>
                      <a:pt x="128" y="40"/>
                      <a:pt x="128" y="40"/>
                      <a:pt x="128" y="40"/>
                    </a:cubicBezTo>
                    <a:cubicBezTo>
                      <a:pt x="148" y="42"/>
                      <a:pt x="148" y="42"/>
                      <a:pt x="148" y="42"/>
                    </a:cubicBezTo>
                    <a:cubicBezTo>
                      <a:pt x="128" y="47"/>
                      <a:pt x="128" y="47"/>
                      <a:pt x="128" y="47"/>
                    </a:cubicBezTo>
                    <a:cubicBezTo>
                      <a:pt x="121" y="48"/>
                      <a:pt x="114" y="49"/>
                      <a:pt x="107" y="49"/>
                    </a:cubicBezTo>
                    <a:cubicBezTo>
                      <a:pt x="102" y="49"/>
                      <a:pt x="98" y="49"/>
                      <a:pt x="94" y="48"/>
                    </a:cubicBezTo>
                    <a:cubicBezTo>
                      <a:pt x="93" y="48"/>
                      <a:pt x="93" y="48"/>
                      <a:pt x="93" y="48"/>
                    </a:cubicBezTo>
                    <a:cubicBezTo>
                      <a:pt x="93" y="49"/>
                      <a:pt x="92" y="49"/>
                      <a:pt x="92" y="49"/>
                    </a:cubicBezTo>
                    <a:cubicBezTo>
                      <a:pt x="90" y="49"/>
                      <a:pt x="90" y="49"/>
                      <a:pt x="90" y="49"/>
                    </a:cubicBezTo>
                    <a:cubicBezTo>
                      <a:pt x="90" y="48"/>
                      <a:pt x="90" y="48"/>
                      <a:pt x="90" y="48"/>
                    </a:cubicBezTo>
                    <a:cubicBezTo>
                      <a:pt x="89" y="49"/>
                      <a:pt x="87" y="49"/>
                      <a:pt x="86" y="49"/>
                    </a:cubicBezTo>
                    <a:cubicBezTo>
                      <a:pt x="84" y="49"/>
                      <a:pt x="81" y="49"/>
                      <a:pt x="79" y="49"/>
                    </a:cubicBezTo>
                    <a:cubicBezTo>
                      <a:pt x="79" y="50"/>
                      <a:pt x="79" y="50"/>
                      <a:pt x="79" y="50"/>
                    </a:cubicBezTo>
                    <a:cubicBezTo>
                      <a:pt x="78" y="49"/>
                      <a:pt x="78" y="49"/>
                      <a:pt x="78" y="49"/>
                    </a:cubicBezTo>
                    <a:cubicBezTo>
                      <a:pt x="78" y="49"/>
                      <a:pt x="77" y="49"/>
                      <a:pt x="76" y="49"/>
                    </a:cubicBezTo>
                    <a:cubicBezTo>
                      <a:pt x="76" y="48"/>
                      <a:pt x="76" y="48"/>
                      <a:pt x="76" y="48"/>
                    </a:cubicBezTo>
                    <a:cubicBezTo>
                      <a:pt x="75" y="48"/>
                      <a:pt x="74" y="47"/>
                      <a:pt x="74" y="46"/>
                    </a:cubicBezTo>
                    <a:cubicBezTo>
                      <a:pt x="72" y="44"/>
                      <a:pt x="70" y="42"/>
                      <a:pt x="68" y="40"/>
                    </a:cubicBezTo>
                    <a:cubicBezTo>
                      <a:pt x="67" y="38"/>
                      <a:pt x="67" y="38"/>
                      <a:pt x="67" y="38"/>
                    </a:cubicBezTo>
                    <a:cubicBezTo>
                      <a:pt x="67" y="37"/>
                      <a:pt x="66" y="36"/>
                      <a:pt x="65" y="35"/>
                    </a:cubicBezTo>
                    <a:cubicBezTo>
                      <a:pt x="64" y="33"/>
                      <a:pt x="62" y="31"/>
                      <a:pt x="60" y="30"/>
                    </a:cubicBezTo>
                    <a:cubicBezTo>
                      <a:pt x="58" y="28"/>
                      <a:pt x="58" y="28"/>
                      <a:pt x="58" y="28"/>
                    </a:cubicBezTo>
                    <a:cubicBezTo>
                      <a:pt x="56" y="27"/>
                      <a:pt x="54" y="25"/>
                      <a:pt x="53" y="24"/>
                    </a:cubicBezTo>
                    <a:cubicBezTo>
                      <a:pt x="50" y="21"/>
                      <a:pt x="46" y="18"/>
                      <a:pt x="43" y="16"/>
                    </a:cubicBezTo>
                    <a:cubicBezTo>
                      <a:pt x="42" y="15"/>
                      <a:pt x="42" y="15"/>
                      <a:pt x="42" y="15"/>
                    </a:cubicBezTo>
                    <a:cubicBezTo>
                      <a:pt x="42" y="15"/>
                      <a:pt x="41" y="14"/>
                      <a:pt x="41" y="14"/>
                    </a:cubicBezTo>
                    <a:cubicBezTo>
                      <a:pt x="40" y="14"/>
                      <a:pt x="40" y="14"/>
                      <a:pt x="39" y="14"/>
                    </a:cubicBezTo>
                    <a:cubicBezTo>
                      <a:pt x="39" y="14"/>
                      <a:pt x="39" y="14"/>
                      <a:pt x="38" y="14"/>
                    </a:cubicBezTo>
                    <a:cubicBezTo>
                      <a:pt x="38" y="14"/>
                      <a:pt x="37" y="14"/>
                      <a:pt x="36" y="14"/>
                    </a:cubicBezTo>
                    <a:cubicBezTo>
                      <a:pt x="35" y="14"/>
                      <a:pt x="35" y="14"/>
                      <a:pt x="35" y="14"/>
                    </a:cubicBezTo>
                    <a:cubicBezTo>
                      <a:pt x="32" y="15"/>
                      <a:pt x="29" y="15"/>
                      <a:pt x="25" y="16"/>
                    </a:cubicBezTo>
                    <a:cubicBezTo>
                      <a:pt x="21" y="16"/>
                      <a:pt x="16" y="18"/>
                      <a:pt x="12" y="20"/>
                    </a:cubicBezTo>
                    <a:cubicBezTo>
                      <a:pt x="14" y="19"/>
                      <a:pt x="16" y="19"/>
                      <a:pt x="19" y="18"/>
                    </a:cubicBezTo>
                    <a:cubicBezTo>
                      <a:pt x="21" y="18"/>
                      <a:pt x="24" y="17"/>
                      <a:pt x="27" y="17"/>
                    </a:cubicBezTo>
                    <a:cubicBezTo>
                      <a:pt x="28" y="17"/>
                      <a:pt x="29" y="17"/>
                      <a:pt x="30" y="18"/>
                    </a:cubicBezTo>
                    <a:cubicBezTo>
                      <a:pt x="37" y="19"/>
                      <a:pt x="33" y="21"/>
                      <a:pt x="34" y="25"/>
                    </a:cubicBezTo>
                    <a:cubicBezTo>
                      <a:pt x="35" y="28"/>
                      <a:pt x="37" y="30"/>
                      <a:pt x="38" y="33"/>
                    </a:cubicBezTo>
                    <a:cubicBezTo>
                      <a:pt x="38" y="36"/>
                      <a:pt x="38" y="38"/>
                      <a:pt x="40" y="40"/>
                    </a:cubicBezTo>
                    <a:cubicBezTo>
                      <a:pt x="44" y="44"/>
                      <a:pt x="50" y="47"/>
                      <a:pt x="55" y="50"/>
                    </a:cubicBezTo>
                    <a:cubicBezTo>
                      <a:pt x="57" y="52"/>
                      <a:pt x="60" y="55"/>
                      <a:pt x="58" y="58"/>
                    </a:cubicBezTo>
                    <a:cubicBezTo>
                      <a:pt x="57" y="60"/>
                      <a:pt x="55" y="60"/>
                      <a:pt x="53" y="60"/>
                    </a:cubicBezTo>
                    <a:cubicBezTo>
                      <a:pt x="53" y="60"/>
                      <a:pt x="52" y="60"/>
                      <a:pt x="51" y="60"/>
                    </a:cubicBezTo>
                    <a:cubicBezTo>
                      <a:pt x="50" y="60"/>
                      <a:pt x="49" y="60"/>
                      <a:pt x="48" y="60"/>
                    </a:cubicBezTo>
                    <a:cubicBezTo>
                      <a:pt x="46" y="60"/>
                      <a:pt x="45" y="61"/>
                      <a:pt x="45" y="63"/>
                    </a:cubicBezTo>
                    <a:cubicBezTo>
                      <a:pt x="45" y="64"/>
                      <a:pt x="46" y="66"/>
                      <a:pt x="48" y="66"/>
                    </a:cubicBezTo>
                    <a:cubicBezTo>
                      <a:pt x="48" y="66"/>
                      <a:pt x="48" y="66"/>
                      <a:pt x="48" y="66"/>
                    </a:cubicBezTo>
                    <a:cubicBezTo>
                      <a:pt x="47" y="66"/>
                      <a:pt x="47" y="66"/>
                      <a:pt x="47" y="66"/>
                    </a:cubicBezTo>
                    <a:cubicBezTo>
                      <a:pt x="48" y="67"/>
                      <a:pt x="48" y="67"/>
                      <a:pt x="48" y="67"/>
                    </a:cubicBezTo>
                    <a:cubicBezTo>
                      <a:pt x="47" y="67"/>
                      <a:pt x="45" y="67"/>
                      <a:pt x="43" y="67"/>
                    </a:cubicBezTo>
                    <a:cubicBezTo>
                      <a:pt x="43" y="67"/>
                      <a:pt x="42" y="67"/>
                      <a:pt x="42" y="67"/>
                    </a:cubicBezTo>
                    <a:cubicBezTo>
                      <a:pt x="41" y="67"/>
                      <a:pt x="41" y="67"/>
                      <a:pt x="40" y="67"/>
                    </a:cubicBezTo>
                    <a:cubicBezTo>
                      <a:pt x="38" y="67"/>
                      <a:pt x="36" y="67"/>
                      <a:pt x="34" y="68"/>
                    </a:cubicBezTo>
                    <a:cubicBezTo>
                      <a:pt x="33" y="68"/>
                      <a:pt x="32" y="69"/>
                      <a:pt x="31" y="69"/>
                    </a:cubicBezTo>
                    <a:cubicBezTo>
                      <a:pt x="30" y="69"/>
                      <a:pt x="30" y="69"/>
                      <a:pt x="30" y="69"/>
                    </a:cubicBezTo>
                    <a:cubicBezTo>
                      <a:pt x="27" y="68"/>
                      <a:pt x="28" y="63"/>
                      <a:pt x="27" y="62"/>
                    </a:cubicBezTo>
                    <a:cubicBezTo>
                      <a:pt x="26" y="61"/>
                      <a:pt x="26" y="61"/>
                      <a:pt x="26" y="61"/>
                    </a:cubicBezTo>
                    <a:cubicBezTo>
                      <a:pt x="26" y="61"/>
                      <a:pt x="26" y="62"/>
                      <a:pt x="24" y="64"/>
                    </a:cubicBezTo>
                    <a:cubicBezTo>
                      <a:pt x="23" y="64"/>
                      <a:pt x="23" y="65"/>
                      <a:pt x="21" y="65"/>
                    </a:cubicBezTo>
                    <a:cubicBezTo>
                      <a:pt x="21" y="65"/>
                      <a:pt x="21" y="65"/>
                      <a:pt x="21" y="65"/>
                    </a:cubicBezTo>
                    <a:cubicBezTo>
                      <a:pt x="20" y="65"/>
                      <a:pt x="15" y="64"/>
                      <a:pt x="14" y="64"/>
                    </a:cubicBezTo>
                    <a:cubicBezTo>
                      <a:pt x="10" y="63"/>
                      <a:pt x="8" y="58"/>
                      <a:pt x="6" y="54"/>
                    </a:cubicBezTo>
                    <a:cubicBezTo>
                      <a:pt x="5" y="60"/>
                      <a:pt x="5" y="66"/>
                      <a:pt x="2" y="71"/>
                    </a:cubicBezTo>
                    <a:cubicBezTo>
                      <a:pt x="1" y="73"/>
                      <a:pt x="0" y="76"/>
                      <a:pt x="0" y="79"/>
                    </a:cubicBezTo>
                    <a:cubicBezTo>
                      <a:pt x="0" y="81"/>
                      <a:pt x="1" y="83"/>
                      <a:pt x="2" y="85"/>
                    </a:cubicBezTo>
                    <a:cubicBezTo>
                      <a:pt x="2" y="90"/>
                      <a:pt x="1" y="89"/>
                      <a:pt x="7" y="89"/>
                    </a:cubicBezTo>
                    <a:cubicBezTo>
                      <a:pt x="8" y="89"/>
                      <a:pt x="8" y="89"/>
                      <a:pt x="9" y="89"/>
                    </a:cubicBezTo>
                    <a:cubicBezTo>
                      <a:pt x="9" y="89"/>
                      <a:pt x="10" y="89"/>
                      <a:pt x="10" y="89"/>
                    </a:cubicBezTo>
                    <a:cubicBezTo>
                      <a:pt x="11" y="89"/>
                      <a:pt x="11" y="89"/>
                      <a:pt x="12" y="89"/>
                    </a:cubicBezTo>
                    <a:cubicBezTo>
                      <a:pt x="12" y="89"/>
                      <a:pt x="12" y="89"/>
                      <a:pt x="12" y="89"/>
                    </a:cubicBezTo>
                    <a:cubicBezTo>
                      <a:pt x="14" y="90"/>
                      <a:pt x="15" y="90"/>
                      <a:pt x="16" y="91"/>
                    </a:cubicBezTo>
                    <a:cubicBezTo>
                      <a:pt x="16" y="91"/>
                      <a:pt x="17" y="91"/>
                      <a:pt x="17" y="91"/>
                    </a:cubicBezTo>
                    <a:cubicBezTo>
                      <a:pt x="17" y="91"/>
                      <a:pt x="17" y="91"/>
                      <a:pt x="18" y="91"/>
                    </a:cubicBezTo>
                    <a:cubicBezTo>
                      <a:pt x="18" y="90"/>
                      <a:pt x="18" y="90"/>
                      <a:pt x="18" y="90"/>
                    </a:cubicBezTo>
                    <a:cubicBezTo>
                      <a:pt x="19" y="90"/>
                      <a:pt x="19" y="90"/>
                      <a:pt x="19" y="90"/>
                    </a:cubicBezTo>
                    <a:cubicBezTo>
                      <a:pt x="19" y="90"/>
                      <a:pt x="19" y="90"/>
                      <a:pt x="19" y="90"/>
                    </a:cubicBezTo>
                    <a:cubicBezTo>
                      <a:pt x="19" y="90"/>
                      <a:pt x="19" y="90"/>
                      <a:pt x="20" y="90"/>
                    </a:cubicBezTo>
                    <a:cubicBezTo>
                      <a:pt x="20" y="90"/>
                      <a:pt x="20" y="90"/>
                      <a:pt x="20" y="90"/>
                    </a:cubicBezTo>
                    <a:cubicBezTo>
                      <a:pt x="20" y="90"/>
                      <a:pt x="21" y="90"/>
                      <a:pt x="21" y="90"/>
                    </a:cubicBezTo>
                    <a:cubicBezTo>
                      <a:pt x="22" y="91"/>
                      <a:pt x="20" y="95"/>
                      <a:pt x="20" y="96"/>
                    </a:cubicBezTo>
                    <a:cubicBezTo>
                      <a:pt x="21" y="100"/>
                      <a:pt x="25" y="102"/>
                      <a:pt x="29" y="104"/>
                    </a:cubicBezTo>
                    <a:cubicBezTo>
                      <a:pt x="27" y="105"/>
                      <a:pt x="25" y="105"/>
                      <a:pt x="23" y="106"/>
                    </a:cubicBezTo>
                    <a:cubicBezTo>
                      <a:pt x="23" y="105"/>
                      <a:pt x="23" y="103"/>
                      <a:pt x="23" y="102"/>
                    </a:cubicBezTo>
                    <a:cubicBezTo>
                      <a:pt x="22" y="103"/>
                      <a:pt x="19" y="105"/>
                      <a:pt x="17" y="105"/>
                    </a:cubicBezTo>
                    <a:cubicBezTo>
                      <a:pt x="16" y="105"/>
                      <a:pt x="16" y="105"/>
                      <a:pt x="15" y="105"/>
                    </a:cubicBezTo>
                    <a:cubicBezTo>
                      <a:pt x="15" y="104"/>
                      <a:pt x="17" y="101"/>
                      <a:pt x="17" y="100"/>
                    </a:cubicBezTo>
                    <a:cubicBezTo>
                      <a:pt x="16" y="100"/>
                      <a:pt x="12" y="105"/>
                      <a:pt x="12" y="107"/>
                    </a:cubicBezTo>
                    <a:cubicBezTo>
                      <a:pt x="11" y="110"/>
                      <a:pt x="13" y="113"/>
                      <a:pt x="13" y="116"/>
                    </a:cubicBezTo>
                    <a:cubicBezTo>
                      <a:pt x="14" y="114"/>
                      <a:pt x="15" y="112"/>
                      <a:pt x="13" y="111"/>
                    </a:cubicBezTo>
                    <a:cubicBezTo>
                      <a:pt x="14" y="111"/>
                      <a:pt x="14" y="111"/>
                      <a:pt x="14" y="111"/>
                    </a:cubicBezTo>
                    <a:cubicBezTo>
                      <a:pt x="21" y="111"/>
                      <a:pt x="26" y="117"/>
                      <a:pt x="32" y="122"/>
                    </a:cubicBezTo>
                    <a:cubicBezTo>
                      <a:pt x="35" y="124"/>
                      <a:pt x="36" y="124"/>
                      <a:pt x="35" y="128"/>
                    </a:cubicBezTo>
                    <a:cubicBezTo>
                      <a:pt x="34" y="131"/>
                      <a:pt x="33" y="133"/>
                      <a:pt x="32" y="136"/>
                    </a:cubicBezTo>
                    <a:cubicBezTo>
                      <a:pt x="31" y="145"/>
                      <a:pt x="31" y="156"/>
                      <a:pt x="32" y="165"/>
                    </a:cubicBezTo>
                    <a:cubicBezTo>
                      <a:pt x="33" y="167"/>
                      <a:pt x="33" y="176"/>
                      <a:pt x="34" y="177"/>
                    </a:cubicBezTo>
                    <a:cubicBezTo>
                      <a:pt x="35" y="179"/>
                      <a:pt x="35" y="181"/>
                      <a:pt x="35" y="183"/>
                    </a:cubicBezTo>
                    <a:cubicBezTo>
                      <a:pt x="36" y="185"/>
                      <a:pt x="36" y="187"/>
                      <a:pt x="36" y="188"/>
                    </a:cubicBezTo>
                    <a:cubicBezTo>
                      <a:pt x="72" y="153"/>
                      <a:pt x="72" y="153"/>
                      <a:pt x="72" y="153"/>
                    </a:cubicBezTo>
                    <a:cubicBezTo>
                      <a:pt x="76" y="151"/>
                      <a:pt x="82" y="150"/>
                      <a:pt x="88" y="150"/>
                    </a:cubicBezTo>
                    <a:cubicBezTo>
                      <a:pt x="89" y="150"/>
                      <a:pt x="90" y="149"/>
                      <a:pt x="90" y="149"/>
                    </a:cubicBezTo>
                    <a:cubicBezTo>
                      <a:pt x="92" y="149"/>
                      <a:pt x="94" y="150"/>
                      <a:pt x="96" y="150"/>
                    </a:cubicBezTo>
                    <a:cubicBezTo>
                      <a:pt x="97" y="150"/>
                      <a:pt x="97" y="150"/>
                      <a:pt x="97" y="150"/>
                    </a:cubicBezTo>
                    <a:cubicBezTo>
                      <a:pt x="97" y="150"/>
                      <a:pt x="97" y="150"/>
                      <a:pt x="98" y="150"/>
                    </a:cubicBezTo>
                    <a:cubicBezTo>
                      <a:pt x="98" y="150"/>
                      <a:pt x="98" y="150"/>
                      <a:pt x="98" y="150"/>
                    </a:cubicBezTo>
                    <a:cubicBezTo>
                      <a:pt x="98" y="150"/>
                      <a:pt x="98" y="150"/>
                      <a:pt x="98" y="150"/>
                    </a:cubicBezTo>
                    <a:cubicBezTo>
                      <a:pt x="98" y="150"/>
                      <a:pt x="98" y="150"/>
                      <a:pt x="98" y="150"/>
                    </a:cubicBezTo>
                    <a:cubicBezTo>
                      <a:pt x="100" y="150"/>
                      <a:pt x="100" y="150"/>
                      <a:pt x="102" y="147"/>
                    </a:cubicBezTo>
                    <a:cubicBezTo>
                      <a:pt x="103" y="146"/>
                      <a:pt x="103" y="146"/>
                      <a:pt x="104" y="145"/>
                    </a:cubicBezTo>
                    <a:cubicBezTo>
                      <a:pt x="104" y="145"/>
                      <a:pt x="104" y="145"/>
                      <a:pt x="104" y="145"/>
                    </a:cubicBezTo>
                    <a:cubicBezTo>
                      <a:pt x="105" y="145"/>
                      <a:pt x="106" y="144"/>
                      <a:pt x="107" y="144"/>
                    </a:cubicBezTo>
                    <a:cubicBezTo>
                      <a:pt x="107" y="144"/>
                      <a:pt x="107" y="144"/>
                      <a:pt x="107" y="144"/>
                    </a:cubicBezTo>
                    <a:cubicBezTo>
                      <a:pt x="109" y="144"/>
                      <a:pt x="111" y="143"/>
                      <a:pt x="114" y="143"/>
                    </a:cubicBezTo>
                    <a:cubicBezTo>
                      <a:pt x="114" y="143"/>
                      <a:pt x="115" y="143"/>
                      <a:pt x="115" y="143"/>
                    </a:cubicBezTo>
                    <a:cubicBezTo>
                      <a:pt x="116" y="143"/>
                      <a:pt x="116" y="143"/>
                      <a:pt x="116" y="143"/>
                    </a:cubicBezTo>
                    <a:cubicBezTo>
                      <a:pt x="118" y="143"/>
                      <a:pt x="120" y="144"/>
                      <a:pt x="122" y="144"/>
                    </a:cubicBezTo>
                    <a:cubicBezTo>
                      <a:pt x="123" y="144"/>
                      <a:pt x="123" y="144"/>
                      <a:pt x="123" y="144"/>
                    </a:cubicBezTo>
                    <a:cubicBezTo>
                      <a:pt x="124" y="144"/>
                      <a:pt x="125" y="144"/>
                      <a:pt x="126" y="144"/>
                    </a:cubicBezTo>
                    <a:cubicBezTo>
                      <a:pt x="132" y="145"/>
                      <a:pt x="134" y="149"/>
                      <a:pt x="135" y="152"/>
                    </a:cubicBezTo>
                    <a:cubicBezTo>
                      <a:pt x="135" y="152"/>
                      <a:pt x="135" y="152"/>
                      <a:pt x="135" y="152"/>
                    </a:cubicBezTo>
                    <a:cubicBezTo>
                      <a:pt x="136" y="154"/>
                      <a:pt x="136" y="154"/>
                      <a:pt x="137" y="155"/>
                    </a:cubicBezTo>
                    <a:cubicBezTo>
                      <a:pt x="140" y="155"/>
                      <a:pt x="142" y="155"/>
                      <a:pt x="144" y="156"/>
                    </a:cubicBezTo>
                    <a:cubicBezTo>
                      <a:pt x="144" y="156"/>
                      <a:pt x="146" y="156"/>
                      <a:pt x="147" y="157"/>
                    </a:cubicBezTo>
                    <a:cubicBezTo>
                      <a:pt x="148" y="157"/>
                      <a:pt x="148" y="157"/>
                      <a:pt x="148" y="157"/>
                    </a:cubicBezTo>
                    <a:cubicBezTo>
                      <a:pt x="149" y="157"/>
                      <a:pt x="149" y="157"/>
                      <a:pt x="150" y="157"/>
                    </a:cubicBezTo>
                    <a:cubicBezTo>
                      <a:pt x="152" y="158"/>
                      <a:pt x="153" y="159"/>
                      <a:pt x="155" y="160"/>
                    </a:cubicBezTo>
                    <a:cubicBezTo>
                      <a:pt x="156" y="161"/>
                      <a:pt x="156" y="161"/>
                      <a:pt x="156" y="161"/>
                    </a:cubicBezTo>
                    <a:cubicBezTo>
                      <a:pt x="156" y="162"/>
                      <a:pt x="157" y="162"/>
                      <a:pt x="158" y="163"/>
                    </a:cubicBezTo>
                    <a:cubicBezTo>
                      <a:pt x="159" y="164"/>
                      <a:pt x="159" y="164"/>
                      <a:pt x="159" y="164"/>
                    </a:cubicBezTo>
                    <a:cubicBezTo>
                      <a:pt x="159" y="164"/>
                      <a:pt x="159" y="164"/>
                      <a:pt x="159" y="164"/>
                    </a:cubicBezTo>
                    <a:cubicBezTo>
                      <a:pt x="160" y="164"/>
                      <a:pt x="160" y="164"/>
                      <a:pt x="161" y="164"/>
                    </a:cubicBezTo>
                    <a:cubicBezTo>
                      <a:pt x="162" y="164"/>
                      <a:pt x="162" y="164"/>
                      <a:pt x="162" y="164"/>
                    </a:cubicBezTo>
                    <a:cubicBezTo>
                      <a:pt x="162" y="164"/>
                      <a:pt x="163" y="164"/>
                      <a:pt x="163" y="164"/>
                    </a:cubicBezTo>
                    <a:cubicBezTo>
                      <a:pt x="164" y="164"/>
                      <a:pt x="164" y="164"/>
                      <a:pt x="164" y="164"/>
                    </a:cubicBezTo>
                    <a:cubicBezTo>
                      <a:pt x="164" y="164"/>
                      <a:pt x="165" y="164"/>
                      <a:pt x="165" y="164"/>
                    </a:cubicBezTo>
                    <a:cubicBezTo>
                      <a:pt x="165" y="164"/>
                      <a:pt x="165" y="164"/>
                      <a:pt x="166" y="164"/>
                    </a:cubicBezTo>
                    <a:cubicBezTo>
                      <a:pt x="172" y="164"/>
                      <a:pt x="172" y="164"/>
                      <a:pt x="172" y="164"/>
                    </a:cubicBezTo>
                    <a:cubicBezTo>
                      <a:pt x="173" y="164"/>
                      <a:pt x="174" y="164"/>
                      <a:pt x="175" y="164"/>
                    </a:cubicBezTo>
                    <a:cubicBezTo>
                      <a:pt x="179" y="164"/>
                      <a:pt x="182" y="165"/>
                      <a:pt x="186" y="166"/>
                    </a:cubicBezTo>
                    <a:cubicBezTo>
                      <a:pt x="186" y="166"/>
                      <a:pt x="186" y="166"/>
                      <a:pt x="187" y="166"/>
                    </a:cubicBezTo>
                    <a:cubicBezTo>
                      <a:pt x="187" y="167"/>
                      <a:pt x="187" y="167"/>
                      <a:pt x="187" y="167"/>
                    </a:cubicBezTo>
                    <a:cubicBezTo>
                      <a:pt x="188" y="167"/>
                      <a:pt x="188" y="167"/>
                      <a:pt x="188" y="167"/>
                    </a:cubicBezTo>
                    <a:cubicBezTo>
                      <a:pt x="190" y="168"/>
                      <a:pt x="192" y="170"/>
                      <a:pt x="193" y="171"/>
                    </a:cubicBezTo>
                    <a:cubicBezTo>
                      <a:pt x="193" y="172"/>
                      <a:pt x="193" y="172"/>
                      <a:pt x="193" y="172"/>
                    </a:cubicBezTo>
                    <a:cubicBezTo>
                      <a:pt x="195" y="174"/>
                      <a:pt x="196" y="176"/>
                      <a:pt x="197" y="178"/>
                    </a:cubicBezTo>
                    <a:cubicBezTo>
                      <a:pt x="198" y="179"/>
                      <a:pt x="198" y="179"/>
                      <a:pt x="198" y="179"/>
                    </a:cubicBezTo>
                    <a:cubicBezTo>
                      <a:pt x="198" y="180"/>
                      <a:pt x="198" y="181"/>
                      <a:pt x="199" y="181"/>
                    </a:cubicBezTo>
                    <a:cubicBezTo>
                      <a:pt x="201" y="182"/>
                      <a:pt x="201" y="182"/>
                      <a:pt x="201" y="182"/>
                    </a:cubicBezTo>
                    <a:cubicBezTo>
                      <a:pt x="204" y="182"/>
                      <a:pt x="207" y="183"/>
                      <a:pt x="209" y="184"/>
                    </a:cubicBezTo>
                    <a:cubicBezTo>
                      <a:pt x="211" y="185"/>
                      <a:pt x="212" y="186"/>
                      <a:pt x="212" y="187"/>
                    </a:cubicBezTo>
                    <a:cubicBezTo>
                      <a:pt x="213" y="188"/>
                      <a:pt x="213" y="188"/>
                      <a:pt x="213" y="188"/>
                    </a:cubicBezTo>
                    <a:cubicBezTo>
                      <a:pt x="214" y="189"/>
                      <a:pt x="215" y="191"/>
                      <a:pt x="215" y="192"/>
                    </a:cubicBezTo>
                    <a:cubicBezTo>
                      <a:pt x="217" y="194"/>
                      <a:pt x="217" y="194"/>
                      <a:pt x="217" y="194"/>
                    </a:cubicBezTo>
                    <a:cubicBezTo>
                      <a:pt x="218" y="195"/>
                      <a:pt x="218" y="196"/>
                      <a:pt x="219" y="196"/>
                    </a:cubicBezTo>
                    <a:cubicBezTo>
                      <a:pt x="219" y="196"/>
                      <a:pt x="219" y="196"/>
                      <a:pt x="219" y="196"/>
                    </a:cubicBezTo>
                    <a:cubicBezTo>
                      <a:pt x="219" y="196"/>
                      <a:pt x="220" y="197"/>
                      <a:pt x="221" y="197"/>
                    </a:cubicBezTo>
                    <a:cubicBezTo>
                      <a:pt x="222" y="197"/>
                      <a:pt x="222" y="197"/>
                      <a:pt x="222" y="197"/>
                    </a:cubicBezTo>
                    <a:cubicBezTo>
                      <a:pt x="224" y="197"/>
                      <a:pt x="225" y="197"/>
                      <a:pt x="227" y="197"/>
                    </a:cubicBezTo>
                    <a:cubicBezTo>
                      <a:pt x="228" y="197"/>
                      <a:pt x="228" y="197"/>
                      <a:pt x="228" y="197"/>
                    </a:cubicBezTo>
                    <a:cubicBezTo>
                      <a:pt x="229" y="196"/>
                      <a:pt x="230" y="196"/>
                      <a:pt x="230" y="196"/>
                    </a:cubicBezTo>
                    <a:cubicBezTo>
                      <a:pt x="231" y="196"/>
                      <a:pt x="232" y="196"/>
                      <a:pt x="233" y="196"/>
                    </a:cubicBezTo>
                    <a:cubicBezTo>
                      <a:pt x="235" y="196"/>
                      <a:pt x="237" y="196"/>
                      <a:pt x="239" y="197"/>
                    </a:cubicBezTo>
                    <a:cubicBezTo>
                      <a:pt x="239" y="197"/>
                      <a:pt x="239" y="197"/>
                      <a:pt x="239" y="197"/>
                    </a:cubicBezTo>
                    <a:cubicBezTo>
                      <a:pt x="240" y="197"/>
                      <a:pt x="241" y="197"/>
                      <a:pt x="242" y="198"/>
                    </a:cubicBezTo>
                    <a:cubicBezTo>
                      <a:pt x="243" y="199"/>
                      <a:pt x="244" y="200"/>
                      <a:pt x="244" y="201"/>
                    </a:cubicBezTo>
                    <a:cubicBezTo>
                      <a:pt x="244" y="202"/>
                      <a:pt x="244" y="202"/>
                      <a:pt x="244" y="202"/>
                    </a:cubicBezTo>
                    <a:cubicBezTo>
                      <a:pt x="245" y="205"/>
                      <a:pt x="245" y="208"/>
                      <a:pt x="244" y="211"/>
                    </a:cubicBezTo>
                    <a:cubicBezTo>
                      <a:pt x="244" y="212"/>
                      <a:pt x="244" y="213"/>
                      <a:pt x="244" y="214"/>
                    </a:cubicBezTo>
                    <a:cubicBezTo>
                      <a:pt x="244" y="216"/>
                      <a:pt x="244" y="216"/>
                      <a:pt x="244" y="216"/>
                    </a:cubicBezTo>
                    <a:cubicBezTo>
                      <a:pt x="244" y="219"/>
                      <a:pt x="244" y="222"/>
                      <a:pt x="245" y="224"/>
                    </a:cubicBezTo>
                    <a:cubicBezTo>
                      <a:pt x="246" y="228"/>
                      <a:pt x="246" y="228"/>
                      <a:pt x="246" y="228"/>
                    </a:cubicBezTo>
                    <a:cubicBezTo>
                      <a:pt x="247" y="229"/>
                      <a:pt x="247" y="230"/>
                      <a:pt x="247" y="231"/>
                    </a:cubicBezTo>
                    <a:cubicBezTo>
                      <a:pt x="247" y="232"/>
                      <a:pt x="247" y="232"/>
                      <a:pt x="247" y="232"/>
                    </a:cubicBezTo>
                    <a:cubicBezTo>
                      <a:pt x="248" y="232"/>
                      <a:pt x="248" y="232"/>
                      <a:pt x="248" y="232"/>
                    </a:cubicBezTo>
                    <a:cubicBezTo>
                      <a:pt x="251" y="233"/>
                      <a:pt x="251" y="233"/>
                      <a:pt x="251" y="233"/>
                    </a:cubicBezTo>
                    <a:cubicBezTo>
                      <a:pt x="251" y="233"/>
                      <a:pt x="251" y="233"/>
                      <a:pt x="251" y="233"/>
                    </a:cubicBezTo>
                    <a:cubicBezTo>
                      <a:pt x="253" y="234"/>
                      <a:pt x="255" y="234"/>
                      <a:pt x="257" y="234"/>
                    </a:cubicBezTo>
                    <a:cubicBezTo>
                      <a:pt x="257" y="234"/>
                      <a:pt x="257" y="234"/>
                      <a:pt x="257" y="234"/>
                    </a:cubicBezTo>
                    <a:cubicBezTo>
                      <a:pt x="259" y="235"/>
                      <a:pt x="260" y="235"/>
                      <a:pt x="261" y="235"/>
                    </a:cubicBezTo>
                    <a:cubicBezTo>
                      <a:pt x="263" y="236"/>
                      <a:pt x="265" y="237"/>
                      <a:pt x="267" y="238"/>
                    </a:cubicBezTo>
                    <a:cubicBezTo>
                      <a:pt x="268" y="239"/>
                      <a:pt x="268" y="239"/>
                      <a:pt x="269" y="240"/>
                    </a:cubicBezTo>
                    <a:cubicBezTo>
                      <a:pt x="271" y="242"/>
                      <a:pt x="271" y="242"/>
                      <a:pt x="271" y="242"/>
                    </a:cubicBezTo>
                    <a:cubicBezTo>
                      <a:pt x="271" y="243"/>
                      <a:pt x="272" y="243"/>
                      <a:pt x="272" y="244"/>
                    </a:cubicBezTo>
                    <a:cubicBezTo>
                      <a:pt x="273" y="244"/>
                      <a:pt x="273" y="244"/>
                      <a:pt x="273" y="244"/>
                    </a:cubicBezTo>
                    <a:cubicBezTo>
                      <a:pt x="273" y="244"/>
                      <a:pt x="273" y="244"/>
                      <a:pt x="273" y="244"/>
                    </a:cubicBezTo>
                    <a:cubicBezTo>
                      <a:pt x="277" y="241"/>
                      <a:pt x="280" y="241"/>
                      <a:pt x="282" y="241"/>
                    </a:cubicBezTo>
                    <a:cubicBezTo>
                      <a:pt x="285" y="241"/>
                      <a:pt x="285" y="241"/>
                      <a:pt x="285" y="241"/>
                    </a:cubicBezTo>
                    <a:cubicBezTo>
                      <a:pt x="286" y="240"/>
                      <a:pt x="286" y="240"/>
                      <a:pt x="286" y="240"/>
                    </a:cubicBezTo>
                    <a:cubicBezTo>
                      <a:pt x="287" y="240"/>
                      <a:pt x="287" y="240"/>
                      <a:pt x="287" y="240"/>
                    </a:cubicBezTo>
                    <a:cubicBezTo>
                      <a:pt x="288" y="240"/>
                      <a:pt x="290" y="238"/>
                      <a:pt x="293" y="235"/>
                    </a:cubicBezTo>
                    <a:cubicBezTo>
                      <a:pt x="294" y="234"/>
                      <a:pt x="294" y="234"/>
                      <a:pt x="294" y="234"/>
                    </a:cubicBezTo>
                    <a:cubicBezTo>
                      <a:pt x="294" y="233"/>
                      <a:pt x="295" y="232"/>
                      <a:pt x="295" y="231"/>
                    </a:cubicBezTo>
                    <a:cubicBezTo>
                      <a:pt x="294" y="229"/>
                      <a:pt x="294" y="229"/>
                      <a:pt x="294" y="229"/>
                    </a:cubicBezTo>
                    <a:cubicBezTo>
                      <a:pt x="300" y="222"/>
                      <a:pt x="300" y="222"/>
                      <a:pt x="300" y="222"/>
                    </a:cubicBezTo>
                    <a:cubicBezTo>
                      <a:pt x="302" y="222"/>
                      <a:pt x="302" y="222"/>
                      <a:pt x="302" y="222"/>
                    </a:cubicBezTo>
                    <a:cubicBezTo>
                      <a:pt x="303" y="222"/>
                      <a:pt x="305" y="222"/>
                      <a:pt x="306" y="221"/>
                    </a:cubicBezTo>
                    <a:cubicBezTo>
                      <a:pt x="308" y="221"/>
                      <a:pt x="309" y="220"/>
                      <a:pt x="311" y="220"/>
                    </a:cubicBezTo>
                    <a:cubicBezTo>
                      <a:pt x="316" y="217"/>
                      <a:pt x="316" y="217"/>
                      <a:pt x="316" y="217"/>
                    </a:cubicBezTo>
                    <a:cubicBezTo>
                      <a:pt x="319" y="216"/>
                      <a:pt x="322" y="215"/>
                      <a:pt x="325" y="214"/>
                    </a:cubicBezTo>
                    <a:cubicBezTo>
                      <a:pt x="328" y="213"/>
                      <a:pt x="330" y="211"/>
                      <a:pt x="333" y="209"/>
                    </a:cubicBezTo>
                    <a:cubicBezTo>
                      <a:pt x="334" y="208"/>
                      <a:pt x="334" y="208"/>
                      <a:pt x="334" y="208"/>
                    </a:cubicBezTo>
                    <a:cubicBezTo>
                      <a:pt x="335" y="207"/>
                      <a:pt x="335" y="206"/>
                      <a:pt x="335" y="203"/>
                    </a:cubicBezTo>
                    <a:cubicBezTo>
                      <a:pt x="335" y="202"/>
                      <a:pt x="335" y="202"/>
                      <a:pt x="335" y="201"/>
                    </a:cubicBezTo>
                    <a:cubicBezTo>
                      <a:pt x="335" y="200"/>
                      <a:pt x="335" y="200"/>
                      <a:pt x="335" y="200"/>
                    </a:cubicBezTo>
                    <a:cubicBezTo>
                      <a:pt x="336" y="199"/>
                      <a:pt x="336" y="198"/>
                      <a:pt x="336" y="198"/>
                    </a:cubicBezTo>
                    <a:cubicBezTo>
                      <a:pt x="337" y="197"/>
                      <a:pt x="337" y="197"/>
                      <a:pt x="337" y="197"/>
                    </a:cubicBezTo>
                    <a:cubicBezTo>
                      <a:pt x="355" y="178"/>
                      <a:pt x="355" y="178"/>
                      <a:pt x="355" y="178"/>
                    </a:cubicBezTo>
                    <a:cubicBezTo>
                      <a:pt x="357" y="178"/>
                      <a:pt x="357" y="178"/>
                      <a:pt x="357" y="178"/>
                    </a:cubicBezTo>
                    <a:cubicBezTo>
                      <a:pt x="358" y="178"/>
                      <a:pt x="359" y="178"/>
                      <a:pt x="360" y="178"/>
                    </a:cubicBezTo>
                    <a:cubicBezTo>
                      <a:pt x="360" y="178"/>
                      <a:pt x="360" y="178"/>
                      <a:pt x="360" y="178"/>
                    </a:cubicBezTo>
                    <a:cubicBezTo>
                      <a:pt x="361" y="178"/>
                      <a:pt x="362" y="178"/>
                      <a:pt x="362" y="178"/>
                    </a:cubicBezTo>
                    <a:cubicBezTo>
                      <a:pt x="363" y="177"/>
                      <a:pt x="365" y="174"/>
                      <a:pt x="366" y="172"/>
                    </a:cubicBezTo>
                    <a:cubicBezTo>
                      <a:pt x="368" y="170"/>
                      <a:pt x="368" y="170"/>
                      <a:pt x="368" y="170"/>
                    </a:cubicBezTo>
                    <a:cubicBezTo>
                      <a:pt x="368" y="170"/>
                      <a:pt x="369" y="169"/>
                      <a:pt x="370" y="169"/>
                    </a:cubicBezTo>
                    <a:cubicBezTo>
                      <a:pt x="370" y="169"/>
                      <a:pt x="370" y="169"/>
                      <a:pt x="370" y="169"/>
                    </a:cubicBezTo>
                    <a:cubicBezTo>
                      <a:pt x="371" y="168"/>
                      <a:pt x="371" y="168"/>
                      <a:pt x="371" y="168"/>
                    </a:cubicBezTo>
                    <a:cubicBezTo>
                      <a:pt x="371" y="168"/>
                      <a:pt x="371" y="168"/>
                      <a:pt x="371" y="168"/>
                    </a:cubicBezTo>
                    <a:cubicBezTo>
                      <a:pt x="374" y="168"/>
                      <a:pt x="374" y="168"/>
                      <a:pt x="374" y="168"/>
                    </a:cubicBezTo>
                    <a:cubicBezTo>
                      <a:pt x="375" y="169"/>
                      <a:pt x="376" y="169"/>
                      <a:pt x="377" y="170"/>
                    </a:cubicBezTo>
                    <a:cubicBezTo>
                      <a:pt x="378" y="170"/>
                      <a:pt x="378" y="170"/>
                      <a:pt x="378" y="170"/>
                    </a:cubicBezTo>
                    <a:cubicBezTo>
                      <a:pt x="379" y="171"/>
                      <a:pt x="379" y="171"/>
                      <a:pt x="379" y="171"/>
                    </a:cubicBezTo>
                    <a:cubicBezTo>
                      <a:pt x="380" y="171"/>
                      <a:pt x="381" y="172"/>
                      <a:pt x="382" y="172"/>
                    </a:cubicBezTo>
                    <a:cubicBezTo>
                      <a:pt x="383" y="173"/>
                      <a:pt x="383" y="173"/>
                      <a:pt x="383" y="173"/>
                    </a:cubicBezTo>
                    <a:cubicBezTo>
                      <a:pt x="384" y="173"/>
                      <a:pt x="385" y="173"/>
                      <a:pt x="385" y="173"/>
                    </a:cubicBezTo>
                    <a:cubicBezTo>
                      <a:pt x="385" y="174"/>
                      <a:pt x="386" y="174"/>
                      <a:pt x="386" y="174"/>
                    </a:cubicBezTo>
                    <a:cubicBezTo>
                      <a:pt x="387" y="174"/>
                      <a:pt x="387" y="174"/>
                      <a:pt x="387" y="174"/>
                    </a:cubicBezTo>
                    <a:cubicBezTo>
                      <a:pt x="387" y="174"/>
                      <a:pt x="387" y="174"/>
                      <a:pt x="388" y="174"/>
                    </a:cubicBezTo>
                    <a:cubicBezTo>
                      <a:pt x="390" y="174"/>
                      <a:pt x="390" y="174"/>
                      <a:pt x="390" y="174"/>
                    </a:cubicBezTo>
                    <a:cubicBezTo>
                      <a:pt x="390" y="174"/>
                      <a:pt x="390" y="174"/>
                      <a:pt x="390" y="174"/>
                    </a:cubicBezTo>
                    <a:cubicBezTo>
                      <a:pt x="390" y="174"/>
                      <a:pt x="390" y="174"/>
                      <a:pt x="390" y="174"/>
                    </a:cubicBezTo>
                    <a:cubicBezTo>
                      <a:pt x="391" y="173"/>
                      <a:pt x="391" y="172"/>
                      <a:pt x="391" y="171"/>
                    </a:cubicBezTo>
                    <a:cubicBezTo>
                      <a:pt x="391" y="170"/>
                      <a:pt x="391" y="170"/>
                      <a:pt x="391" y="170"/>
                    </a:cubicBezTo>
                    <a:cubicBezTo>
                      <a:pt x="391" y="170"/>
                      <a:pt x="391" y="169"/>
                      <a:pt x="391" y="169"/>
                    </a:cubicBezTo>
                    <a:cubicBezTo>
                      <a:pt x="392" y="165"/>
                      <a:pt x="392" y="165"/>
                      <a:pt x="392" y="165"/>
                    </a:cubicBezTo>
                    <a:cubicBezTo>
                      <a:pt x="392" y="164"/>
                      <a:pt x="392" y="163"/>
                      <a:pt x="393" y="162"/>
                    </a:cubicBezTo>
                    <a:cubicBezTo>
                      <a:pt x="393" y="161"/>
                      <a:pt x="393" y="161"/>
                      <a:pt x="393" y="161"/>
                    </a:cubicBezTo>
                    <a:cubicBezTo>
                      <a:pt x="393" y="160"/>
                      <a:pt x="393" y="159"/>
                      <a:pt x="393" y="159"/>
                    </a:cubicBezTo>
                    <a:cubicBezTo>
                      <a:pt x="389" y="157"/>
                      <a:pt x="389" y="157"/>
                      <a:pt x="389" y="157"/>
                    </a:cubicBezTo>
                    <a:cubicBezTo>
                      <a:pt x="387" y="156"/>
                      <a:pt x="385" y="155"/>
                      <a:pt x="383" y="154"/>
                    </a:cubicBezTo>
                    <a:cubicBezTo>
                      <a:pt x="381" y="153"/>
                      <a:pt x="381" y="153"/>
                      <a:pt x="381" y="153"/>
                    </a:cubicBezTo>
                    <a:cubicBezTo>
                      <a:pt x="377" y="150"/>
                      <a:pt x="376" y="150"/>
                      <a:pt x="376" y="150"/>
                    </a:cubicBezTo>
                    <a:cubicBezTo>
                      <a:pt x="375" y="151"/>
                      <a:pt x="375" y="151"/>
                      <a:pt x="375" y="151"/>
                    </a:cubicBezTo>
                    <a:cubicBezTo>
                      <a:pt x="374" y="151"/>
                      <a:pt x="373" y="151"/>
                      <a:pt x="372" y="152"/>
                    </a:cubicBezTo>
                    <a:cubicBezTo>
                      <a:pt x="371" y="152"/>
                      <a:pt x="371" y="152"/>
                      <a:pt x="370" y="152"/>
                    </a:cubicBezTo>
                    <a:cubicBezTo>
                      <a:pt x="366" y="152"/>
                      <a:pt x="364" y="150"/>
                      <a:pt x="361" y="148"/>
                    </a:cubicBezTo>
                    <a:cubicBezTo>
                      <a:pt x="360" y="148"/>
                      <a:pt x="360" y="148"/>
                      <a:pt x="360" y="148"/>
                    </a:cubicBezTo>
                    <a:cubicBezTo>
                      <a:pt x="359" y="147"/>
                      <a:pt x="358" y="146"/>
                      <a:pt x="357" y="145"/>
                    </a:cubicBezTo>
                    <a:cubicBezTo>
                      <a:pt x="355" y="144"/>
                      <a:pt x="352" y="142"/>
                      <a:pt x="350" y="140"/>
                    </a:cubicBezTo>
                    <a:cubicBezTo>
                      <a:pt x="349" y="140"/>
                      <a:pt x="348" y="139"/>
                      <a:pt x="347" y="139"/>
                    </a:cubicBezTo>
                    <a:cubicBezTo>
                      <a:pt x="346" y="138"/>
                      <a:pt x="345" y="137"/>
                      <a:pt x="343" y="137"/>
                    </a:cubicBezTo>
                    <a:cubicBezTo>
                      <a:pt x="339" y="135"/>
                      <a:pt x="335" y="132"/>
                      <a:pt x="332" y="129"/>
                    </a:cubicBezTo>
                    <a:cubicBezTo>
                      <a:pt x="328" y="125"/>
                      <a:pt x="322" y="122"/>
                      <a:pt x="316" y="120"/>
                    </a:cubicBezTo>
                    <a:cubicBezTo>
                      <a:pt x="313" y="118"/>
                      <a:pt x="313" y="118"/>
                      <a:pt x="313" y="118"/>
                    </a:cubicBezTo>
                    <a:cubicBezTo>
                      <a:pt x="312" y="118"/>
                      <a:pt x="311" y="117"/>
                      <a:pt x="309" y="116"/>
                    </a:cubicBezTo>
                    <a:cubicBezTo>
                      <a:pt x="304" y="114"/>
                      <a:pt x="300" y="110"/>
                      <a:pt x="295" y="107"/>
                    </a:cubicBezTo>
                    <a:cubicBezTo>
                      <a:pt x="294" y="106"/>
                      <a:pt x="294" y="106"/>
                      <a:pt x="294" y="106"/>
                    </a:cubicBezTo>
                    <a:cubicBezTo>
                      <a:pt x="293" y="105"/>
                      <a:pt x="292" y="104"/>
                      <a:pt x="290" y="103"/>
                    </a:cubicBezTo>
                    <a:cubicBezTo>
                      <a:pt x="286" y="100"/>
                      <a:pt x="286" y="100"/>
                      <a:pt x="286" y="100"/>
                    </a:cubicBezTo>
                    <a:cubicBezTo>
                      <a:pt x="285" y="99"/>
                      <a:pt x="284" y="99"/>
                      <a:pt x="283" y="98"/>
                    </a:cubicBezTo>
                    <a:cubicBezTo>
                      <a:pt x="283" y="98"/>
                      <a:pt x="283" y="98"/>
                      <a:pt x="283" y="98"/>
                    </a:cubicBezTo>
                    <a:cubicBezTo>
                      <a:pt x="281" y="97"/>
                      <a:pt x="278" y="95"/>
                      <a:pt x="276" y="93"/>
                    </a:cubicBezTo>
                    <a:cubicBezTo>
                      <a:pt x="276" y="93"/>
                      <a:pt x="276" y="92"/>
                      <a:pt x="276" y="92"/>
                    </a:cubicBezTo>
                    <a:cubicBezTo>
                      <a:pt x="275" y="91"/>
                      <a:pt x="275" y="91"/>
                      <a:pt x="275" y="91"/>
                    </a:cubicBezTo>
                    <a:cubicBezTo>
                      <a:pt x="275" y="91"/>
                      <a:pt x="275" y="91"/>
                      <a:pt x="275" y="91"/>
                    </a:cubicBezTo>
                    <a:cubicBezTo>
                      <a:pt x="274" y="89"/>
                      <a:pt x="274" y="86"/>
                      <a:pt x="273" y="85"/>
                    </a:cubicBezTo>
                    <a:cubicBezTo>
                      <a:pt x="273" y="84"/>
                      <a:pt x="273" y="83"/>
                      <a:pt x="272" y="82"/>
                    </a:cubicBezTo>
                    <a:cubicBezTo>
                      <a:pt x="272" y="81"/>
                      <a:pt x="272" y="81"/>
                      <a:pt x="272" y="81"/>
                    </a:cubicBezTo>
                    <a:cubicBezTo>
                      <a:pt x="272" y="80"/>
                      <a:pt x="271" y="79"/>
                      <a:pt x="270" y="78"/>
                    </a:cubicBezTo>
                    <a:cubicBezTo>
                      <a:pt x="268" y="77"/>
                      <a:pt x="267" y="75"/>
                      <a:pt x="266" y="73"/>
                    </a:cubicBezTo>
                    <a:cubicBezTo>
                      <a:pt x="265" y="71"/>
                      <a:pt x="264" y="70"/>
                      <a:pt x="264" y="68"/>
                    </a:cubicBezTo>
                    <a:cubicBezTo>
                      <a:pt x="261" y="62"/>
                      <a:pt x="259" y="55"/>
                      <a:pt x="255" y="52"/>
                    </a:cubicBezTo>
                    <a:cubicBezTo>
                      <a:pt x="252" y="50"/>
                      <a:pt x="251" y="49"/>
                      <a:pt x="250" y="49"/>
                    </a:cubicBezTo>
                    <a:cubicBezTo>
                      <a:pt x="250" y="50"/>
                      <a:pt x="250" y="50"/>
                      <a:pt x="249" y="51"/>
                    </a:cubicBezTo>
                    <a:cubicBezTo>
                      <a:pt x="248" y="52"/>
                      <a:pt x="245" y="53"/>
                      <a:pt x="242" y="54"/>
                    </a:cubicBezTo>
                    <a:cubicBezTo>
                      <a:pt x="239" y="53"/>
                      <a:pt x="239" y="53"/>
                      <a:pt x="239" y="53"/>
                    </a:cubicBezTo>
                    <a:cubicBezTo>
                      <a:pt x="238" y="53"/>
                      <a:pt x="237" y="53"/>
                      <a:pt x="235" y="52"/>
                    </a:cubicBezTo>
                    <a:cubicBezTo>
                      <a:pt x="232" y="52"/>
                      <a:pt x="230" y="51"/>
                      <a:pt x="227" y="51"/>
                    </a:cubicBezTo>
                    <a:cubicBezTo>
                      <a:pt x="227" y="51"/>
                      <a:pt x="226" y="51"/>
                      <a:pt x="226" y="51"/>
                    </a:cubicBezTo>
                    <a:cubicBezTo>
                      <a:pt x="225" y="51"/>
                      <a:pt x="225" y="51"/>
                      <a:pt x="224" y="51"/>
                    </a:cubicBezTo>
                    <a:cubicBezTo>
                      <a:pt x="223" y="51"/>
                      <a:pt x="223" y="51"/>
                      <a:pt x="222" y="51"/>
                    </a:cubicBezTo>
                    <a:cubicBezTo>
                      <a:pt x="220" y="51"/>
                      <a:pt x="218" y="51"/>
                      <a:pt x="215" y="49"/>
                    </a:cubicBezTo>
                    <a:cubicBezTo>
                      <a:pt x="214" y="48"/>
                      <a:pt x="214" y="48"/>
                      <a:pt x="214" y="48"/>
                    </a:cubicBezTo>
                    <a:cubicBezTo>
                      <a:pt x="213" y="48"/>
                      <a:pt x="213" y="48"/>
                      <a:pt x="212" y="47"/>
                    </a:cubicBezTo>
                    <a:cubicBezTo>
                      <a:pt x="210" y="46"/>
                      <a:pt x="210" y="46"/>
                      <a:pt x="210" y="46"/>
                    </a:cubicBezTo>
                    <a:cubicBezTo>
                      <a:pt x="210" y="46"/>
                      <a:pt x="210" y="46"/>
                      <a:pt x="210" y="46"/>
                    </a:cubicBezTo>
                    <a:cubicBezTo>
                      <a:pt x="208" y="45"/>
                      <a:pt x="205" y="42"/>
                      <a:pt x="207" y="38"/>
                    </a:cubicBezTo>
                    <a:cubicBezTo>
                      <a:pt x="208" y="36"/>
                      <a:pt x="208" y="36"/>
                      <a:pt x="208" y="36"/>
                    </a:cubicBezTo>
                    <a:cubicBezTo>
                      <a:pt x="208" y="35"/>
                      <a:pt x="208" y="35"/>
                      <a:pt x="208" y="35"/>
                    </a:cubicBezTo>
                    <a:cubicBezTo>
                      <a:pt x="208" y="35"/>
                      <a:pt x="208" y="35"/>
                      <a:pt x="207" y="34"/>
                    </a:cubicBezTo>
                    <a:cubicBezTo>
                      <a:pt x="204" y="30"/>
                      <a:pt x="204" y="30"/>
                      <a:pt x="204" y="30"/>
                    </a:cubicBezTo>
                    <a:cubicBezTo>
                      <a:pt x="208" y="28"/>
                      <a:pt x="208" y="28"/>
                      <a:pt x="208" y="28"/>
                    </a:cubicBezTo>
                    <a:cubicBezTo>
                      <a:pt x="207" y="28"/>
                      <a:pt x="206" y="27"/>
                      <a:pt x="204" y="26"/>
                    </a:cubicBezTo>
                    <a:cubicBezTo>
                      <a:pt x="196" y="23"/>
                      <a:pt x="196" y="23"/>
                      <a:pt x="196" y="23"/>
                    </a:cubicBezTo>
                    <a:cubicBezTo>
                      <a:pt x="204" y="20"/>
                      <a:pt x="204" y="20"/>
                      <a:pt x="204" y="20"/>
                    </a:cubicBezTo>
                    <a:cubicBezTo>
                      <a:pt x="204" y="20"/>
                      <a:pt x="204" y="20"/>
                      <a:pt x="204" y="20"/>
                    </a:cubicBezTo>
                    <a:cubicBezTo>
                      <a:pt x="204" y="20"/>
                      <a:pt x="204" y="20"/>
                      <a:pt x="204" y="20"/>
                    </a:cubicBezTo>
                    <a:cubicBezTo>
                      <a:pt x="204" y="19"/>
                      <a:pt x="204" y="18"/>
                      <a:pt x="204" y="17"/>
                    </a:cubicBezTo>
                    <a:cubicBezTo>
                      <a:pt x="202" y="16"/>
                      <a:pt x="199" y="15"/>
                      <a:pt x="198" y="15"/>
                    </a:cubicBezTo>
                    <a:cubicBezTo>
                      <a:pt x="197" y="15"/>
                      <a:pt x="197" y="15"/>
                      <a:pt x="197" y="15"/>
                    </a:cubicBezTo>
                    <a:cubicBezTo>
                      <a:pt x="196" y="14"/>
                      <a:pt x="192" y="15"/>
                      <a:pt x="189" y="14"/>
                    </a:cubicBezTo>
                    <a:cubicBezTo>
                      <a:pt x="189" y="14"/>
                      <a:pt x="189" y="14"/>
                      <a:pt x="189" y="14"/>
                    </a:cubicBezTo>
                    <a:cubicBezTo>
                      <a:pt x="188" y="14"/>
                      <a:pt x="188" y="14"/>
                      <a:pt x="188" y="14"/>
                    </a:cubicBezTo>
                    <a:cubicBezTo>
                      <a:pt x="187" y="14"/>
                      <a:pt x="186" y="13"/>
                      <a:pt x="185" y="12"/>
                    </a:cubicBezTo>
                    <a:cubicBezTo>
                      <a:pt x="184" y="11"/>
                      <a:pt x="183" y="11"/>
                      <a:pt x="183" y="10"/>
                    </a:cubicBezTo>
                    <a:cubicBezTo>
                      <a:pt x="182" y="9"/>
                      <a:pt x="182" y="9"/>
                      <a:pt x="182" y="9"/>
                    </a:cubicBezTo>
                    <a:cubicBezTo>
                      <a:pt x="182" y="9"/>
                      <a:pt x="182" y="8"/>
                      <a:pt x="181" y="8"/>
                    </a:cubicBezTo>
                    <a:cubicBezTo>
                      <a:pt x="181" y="7"/>
                      <a:pt x="181" y="7"/>
                      <a:pt x="181" y="7"/>
                    </a:cubicBezTo>
                    <a:cubicBezTo>
                      <a:pt x="180" y="7"/>
                      <a:pt x="180" y="7"/>
                      <a:pt x="180" y="7"/>
                    </a:cubicBezTo>
                    <a:cubicBezTo>
                      <a:pt x="180" y="7"/>
                      <a:pt x="180" y="7"/>
                      <a:pt x="180" y="7"/>
                    </a:cubicBezTo>
                    <a:cubicBezTo>
                      <a:pt x="180" y="7"/>
                      <a:pt x="180" y="7"/>
                      <a:pt x="179" y="7"/>
                    </a:cubicBezTo>
                    <a:cubicBezTo>
                      <a:pt x="179" y="7"/>
                      <a:pt x="179" y="7"/>
                      <a:pt x="179" y="7"/>
                    </a:cubicBezTo>
                    <a:cubicBezTo>
                      <a:pt x="178" y="7"/>
                      <a:pt x="177" y="7"/>
                      <a:pt x="177" y="7"/>
                    </a:cubicBezTo>
                    <a:cubicBezTo>
                      <a:pt x="176" y="7"/>
                      <a:pt x="175" y="6"/>
                      <a:pt x="174" y="5"/>
                    </a:cubicBezTo>
                    <a:cubicBezTo>
                      <a:pt x="172" y="4"/>
                      <a:pt x="170" y="2"/>
                      <a:pt x="169" y="0"/>
                    </a:cubicBezTo>
                    <a:cubicBezTo>
                      <a:pt x="168" y="0"/>
                      <a:pt x="168" y="0"/>
                      <a:pt x="1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Rectangle 345"/>
              <p:cNvSpPr>
                <a:spLocks noChangeArrowheads="1"/>
              </p:cNvSpPr>
              <p:nvPr/>
            </p:nvSpPr>
            <p:spPr bwMode="auto">
              <a:xfrm>
                <a:off x="10616818" y="5100201"/>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346"/>
              <p:cNvSpPr/>
              <p:nvPr/>
            </p:nvSpPr>
            <p:spPr bwMode="auto">
              <a:xfrm flipH="1">
                <a:off x="10616818" y="510020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347"/>
              <p:cNvSpPr/>
              <p:nvPr/>
            </p:nvSpPr>
            <p:spPr bwMode="auto">
              <a:xfrm>
                <a:off x="10447303" y="5100201"/>
                <a:ext cx="674376" cy="346401"/>
              </a:xfrm>
              <a:custGeom>
                <a:gdLst>
                  <a:gd name="T0" fmla="*/ 44 w 212"/>
                  <a:gd name="T1" fmla="*/ 5 h 109"/>
                  <a:gd name="T2" fmla="*/ 41 w 212"/>
                  <a:gd name="T3" fmla="*/ 5 h 109"/>
                  <a:gd name="T4" fmla="*/ 40 w 212"/>
                  <a:gd name="T5" fmla="*/ 23 h 109"/>
                  <a:gd name="T6" fmla="*/ 35 w 212"/>
                  <a:gd name="T7" fmla="*/ 12 h 109"/>
                  <a:gd name="T8" fmla="*/ 27 w 212"/>
                  <a:gd name="T9" fmla="*/ 22 h 109"/>
                  <a:gd name="T10" fmla="*/ 19 w 212"/>
                  <a:gd name="T11" fmla="*/ 22 h 109"/>
                  <a:gd name="T12" fmla="*/ 6 w 212"/>
                  <a:gd name="T13" fmla="*/ 20 h 109"/>
                  <a:gd name="T14" fmla="*/ 4 w 212"/>
                  <a:gd name="T15" fmla="*/ 21 h 109"/>
                  <a:gd name="T16" fmla="*/ 0 w 212"/>
                  <a:gd name="T17" fmla="*/ 27 h 109"/>
                  <a:gd name="T18" fmla="*/ 4 w 212"/>
                  <a:gd name="T19" fmla="*/ 31 h 109"/>
                  <a:gd name="T20" fmla="*/ 22 w 212"/>
                  <a:gd name="T21" fmla="*/ 39 h 109"/>
                  <a:gd name="T22" fmla="*/ 21 w 212"/>
                  <a:gd name="T23" fmla="*/ 53 h 109"/>
                  <a:gd name="T24" fmla="*/ 24 w 212"/>
                  <a:gd name="T25" fmla="*/ 57 h 109"/>
                  <a:gd name="T26" fmla="*/ 17 w 212"/>
                  <a:gd name="T27" fmla="*/ 82 h 109"/>
                  <a:gd name="T28" fmla="*/ 13 w 212"/>
                  <a:gd name="T29" fmla="*/ 92 h 109"/>
                  <a:gd name="T30" fmla="*/ 15 w 212"/>
                  <a:gd name="T31" fmla="*/ 101 h 109"/>
                  <a:gd name="T32" fmla="*/ 21 w 212"/>
                  <a:gd name="T33" fmla="*/ 97 h 109"/>
                  <a:gd name="T34" fmla="*/ 34 w 212"/>
                  <a:gd name="T35" fmla="*/ 91 h 109"/>
                  <a:gd name="T36" fmla="*/ 36 w 212"/>
                  <a:gd name="T37" fmla="*/ 90 h 109"/>
                  <a:gd name="T38" fmla="*/ 46 w 212"/>
                  <a:gd name="T39" fmla="*/ 92 h 109"/>
                  <a:gd name="T40" fmla="*/ 51 w 212"/>
                  <a:gd name="T41" fmla="*/ 95 h 109"/>
                  <a:gd name="T42" fmla="*/ 51 w 212"/>
                  <a:gd name="T43" fmla="*/ 91 h 109"/>
                  <a:gd name="T44" fmla="*/ 54 w 212"/>
                  <a:gd name="T45" fmla="*/ 84 h 109"/>
                  <a:gd name="T46" fmla="*/ 69 w 212"/>
                  <a:gd name="T47" fmla="*/ 81 h 109"/>
                  <a:gd name="T48" fmla="*/ 74 w 212"/>
                  <a:gd name="T49" fmla="*/ 82 h 109"/>
                  <a:gd name="T50" fmla="*/ 74 w 212"/>
                  <a:gd name="T51" fmla="*/ 79 h 109"/>
                  <a:gd name="T52" fmla="*/ 74 w 212"/>
                  <a:gd name="T53" fmla="*/ 69 h 109"/>
                  <a:gd name="T54" fmla="*/ 84 w 212"/>
                  <a:gd name="T55" fmla="*/ 62 h 109"/>
                  <a:gd name="T56" fmla="*/ 97 w 212"/>
                  <a:gd name="T57" fmla="*/ 51 h 109"/>
                  <a:gd name="T58" fmla="*/ 104 w 212"/>
                  <a:gd name="T59" fmla="*/ 54 h 109"/>
                  <a:gd name="T60" fmla="*/ 110 w 212"/>
                  <a:gd name="T61" fmla="*/ 54 h 109"/>
                  <a:gd name="T62" fmla="*/ 109 w 212"/>
                  <a:gd name="T63" fmla="*/ 60 h 109"/>
                  <a:gd name="T64" fmla="*/ 116 w 212"/>
                  <a:gd name="T65" fmla="*/ 69 h 109"/>
                  <a:gd name="T66" fmla="*/ 116 w 212"/>
                  <a:gd name="T67" fmla="*/ 95 h 109"/>
                  <a:gd name="T68" fmla="*/ 116 w 212"/>
                  <a:gd name="T69" fmla="*/ 97 h 109"/>
                  <a:gd name="T70" fmla="*/ 116 w 212"/>
                  <a:gd name="T71" fmla="*/ 104 h 109"/>
                  <a:gd name="T72" fmla="*/ 119 w 212"/>
                  <a:gd name="T73" fmla="*/ 109 h 109"/>
                  <a:gd name="T74" fmla="*/ 136 w 212"/>
                  <a:gd name="T75" fmla="*/ 102 h 109"/>
                  <a:gd name="T76" fmla="*/ 162 w 212"/>
                  <a:gd name="T77" fmla="*/ 85 h 109"/>
                  <a:gd name="T78" fmla="*/ 179 w 212"/>
                  <a:gd name="T79" fmla="*/ 90 h 109"/>
                  <a:gd name="T80" fmla="*/ 188 w 212"/>
                  <a:gd name="T81" fmla="*/ 88 h 109"/>
                  <a:gd name="T82" fmla="*/ 194 w 212"/>
                  <a:gd name="T83" fmla="*/ 86 h 109"/>
                  <a:gd name="T84" fmla="*/ 210 w 212"/>
                  <a:gd name="T85" fmla="*/ 91 h 109"/>
                  <a:gd name="T86" fmla="*/ 209 w 212"/>
                  <a:gd name="T87" fmla="*/ 81 h 109"/>
                  <a:gd name="T88" fmla="*/ 206 w 212"/>
                  <a:gd name="T89" fmla="*/ 61 h 109"/>
                  <a:gd name="T90" fmla="*/ 199 w 212"/>
                  <a:gd name="T91" fmla="*/ 55 h 109"/>
                  <a:gd name="T92" fmla="*/ 193 w 212"/>
                  <a:gd name="T93" fmla="*/ 51 h 109"/>
                  <a:gd name="T94" fmla="*/ 186 w 212"/>
                  <a:gd name="T95" fmla="*/ 52 h 109"/>
                  <a:gd name="T96" fmla="*/ 180 w 212"/>
                  <a:gd name="T97" fmla="*/ 53 h 109"/>
                  <a:gd name="T98" fmla="*/ 173 w 212"/>
                  <a:gd name="T99" fmla="*/ 38 h 109"/>
                  <a:gd name="T100" fmla="*/ 167 w 212"/>
                  <a:gd name="T101" fmla="*/ 40 h 109"/>
                  <a:gd name="T102" fmla="*/ 170 w 212"/>
                  <a:gd name="T103" fmla="*/ 30 h 109"/>
                  <a:gd name="T104" fmla="*/ 164 w 212"/>
                  <a:gd name="T105" fmla="*/ 27 h 109"/>
                  <a:gd name="T106" fmla="*/ 144 w 212"/>
                  <a:gd name="T107" fmla="*/ 28 h 109"/>
                  <a:gd name="T108" fmla="*/ 132 w 212"/>
                  <a:gd name="T109" fmla="*/ 33 h 109"/>
                  <a:gd name="T110" fmla="*/ 120 w 212"/>
                  <a:gd name="T111" fmla="*/ 31 h 109"/>
                  <a:gd name="T112" fmla="*/ 117 w 212"/>
                  <a:gd name="T113" fmla="*/ 25 h 109"/>
                  <a:gd name="T114" fmla="*/ 114 w 212"/>
                  <a:gd name="T115" fmla="*/ 25 h 109"/>
                  <a:gd name="T116" fmla="*/ 101 w 212"/>
                  <a:gd name="T117" fmla="*/ 27 h 109"/>
                  <a:gd name="T118" fmla="*/ 99 w 212"/>
                  <a:gd name="T119" fmla="*/ 26 h 109"/>
                  <a:gd name="T120" fmla="*/ 83 w 212"/>
                  <a:gd name="T121" fmla="*/ 23 h 109"/>
                  <a:gd name="T122" fmla="*/ 47 w 212"/>
                  <a:gd name="T123" fmla="*/ 23 h 109"/>
                  <a:gd name="T124" fmla="*/ 48 w 212"/>
                  <a:gd name="T125" fmla="*/ 1 h 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 h="109">
                    <a:moveTo>
                      <a:pt x="46" y="0"/>
                    </a:moveTo>
                    <a:cubicBezTo>
                      <a:pt x="46" y="1"/>
                      <a:pt x="46" y="3"/>
                      <a:pt x="45" y="4"/>
                    </a:cubicBezTo>
                    <a:cubicBezTo>
                      <a:pt x="44" y="5"/>
                      <a:pt x="44" y="5"/>
                      <a:pt x="44" y="5"/>
                    </a:cubicBezTo>
                    <a:cubicBezTo>
                      <a:pt x="42" y="5"/>
                      <a:pt x="42" y="5"/>
                      <a:pt x="42" y="5"/>
                    </a:cubicBezTo>
                    <a:cubicBezTo>
                      <a:pt x="42" y="5"/>
                      <a:pt x="42" y="5"/>
                      <a:pt x="42" y="5"/>
                    </a:cubicBezTo>
                    <a:cubicBezTo>
                      <a:pt x="41" y="5"/>
                      <a:pt x="41" y="5"/>
                      <a:pt x="41" y="5"/>
                    </a:cubicBezTo>
                    <a:cubicBezTo>
                      <a:pt x="41" y="6"/>
                      <a:pt x="41" y="6"/>
                      <a:pt x="41" y="6"/>
                    </a:cubicBezTo>
                    <a:cubicBezTo>
                      <a:pt x="41" y="7"/>
                      <a:pt x="41" y="7"/>
                      <a:pt x="41" y="8"/>
                    </a:cubicBezTo>
                    <a:cubicBezTo>
                      <a:pt x="40" y="23"/>
                      <a:pt x="40" y="23"/>
                      <a:pt x="40" y="23"/>
                    </a:cubicBezTo>
                    <a:cubicBezTo>
                      <a:pt x="35" y="10"/>
                      <a:pt x="35" y="10"/>
                      <a:pt x="35" y="10"/>
                    </a:cubicBezTo>
                    <a:cubicBezTo>
                      <a:pt x="35" y="11"/>
                      <a:pt x="35" y="11"/>
                      <a:pt x="35" y="11"/>
                    </a:cubicBezTo>
                    <a:cubicBezTo>
                      <a:pt x="35" y="12"/>
                      <a:pt x="35" y="12"/>
                      <a:pt x="35" y="12"/>
                    </a:cubicBezTo>
                    <a:cubicBezTo>
                      <a:pt x="33" y="18"/>
                      <a:pt x="32" y="21"/>
                      <a:pt x="30" y="22"/>
                    </a:cubicBezTo>
                    <a:cubicBezTo>
                      <a:pt x="30" y="22"/>
                      <a:pt x="29" y="22"/>
                      <a:pt x="29" y="22"/>
                    </a:cubicBezTo>
                    <a:cubicBezTo>
                      <a:pt x="28" y="22"/>
                      <a:pt x="27" y="22"/>
                      <a:pt x="27" y="22"/>
                    </a:cubicBezTo>
                    <a:cubicBezTo>
                      <a:pt x="26" y="22"/>
                      <a:pt x="25" y="22"/>
                      <a:pt x="25" y="22"/>
                    </a:cubicBezTo>
                    <a:cubicBezTo>
                      <a:pt x="24" y="22"/>
                      <a:pt x="24" y="22"/>
                      <a:pt x="24" y="22"/>
                    </a:cubicBezTo>
                    <a:cubicBezTo>
                      <a:pt x="22" y="22"/>
                      <a:pt x="21" y="22"/>
                      <a:pt x="19" y="22"/>
                    </a:cubicBezTo>
                    <a:cubicBezTo>
                      <a:pt x="16" y="21"/>
                      <a:pt x="13" y="21"/>
                      <a:pt x="9" y="20"/>
                    </a:cubicBezTo>
                    <a:cubicBezTo>
                      <a:pt x="8" y="20"/>
                      <a:pt x="7" y="20"/>
                      <a:pt x="7" y="20"/>
                    </a:cubicBezTo>
                    <a:cubicBezTo>
                      <a:pt x="7" y="20"/>
                      <a:pt x="6" y="20"/>
                      <a:pt x="6" y="20"/>
                    </a:cubicBezTo>
                    <a:cubicBezTo>
                      <a:pt x="6" y="20"/>
                      <a:pt x="6" y="20"/>
                      <a:pt x="6" y="20"/>
                    </a:cubicBezTo>
                    <a:cubicBezTo>
                      <a:pt x="5" y="20"/>
                      <a:pt x="5" y="20"/>
                      <a:pt x="5" y="20"/>
                    </a:cubicBezTo>
                    <a:cubicBezTo>
                      <a:pt x="5" y="21"/>
                      <a:pt x="4" y="21"/>
                      <a:pt x="4" y="21"/>
                    </a:cubicBezTo>
                    <a:cubicBezTo>
                      <a:pt x="3" y="22"/>
                      <a:pt x="3" y="22"/>
                      <a:pt x="3" y="22"/>
                    </a:cubicBezTo>
                    <a:cubicBezTo>
                      <a:pt x="1" y="23"/>
                      <a:pt x="1" y="24"/>
                      <a:pt x="0" y="26"/>
                    </a:cubicBezTo>
                    <a:cubicBezTo>
                      <a:pt x="0" y="27"/>
                      <a:pt x="0" y="27"/>
                      <a:pt x="0" y="27"/>
                    </a:cubicBezTo>
                    <a:cubicBezTo>
                      <a:pt x="1" y="27"/>
                      <a:pt x="1" y="28"/>
                      <a:pt x="2" y="29"/>
                    </a:cubicBezTo>
                    <a:cubicBezTo>
                      <a:pt x="2" y="29"/>
                      <a:pt x="2" y="29"/>
                      <a:pt x="2" y="29"/>
                    </a:cubicBezTo>
                    <a:cubicBezTo>
                      <a:pt x="3" y="30"/>
                      <a:pt x="4" y="30"/>
                      <a:pt x="4" y="31"/>
                    </a:cubicBezTo>
                    <a:cubicBezTo>
                      <a:pt x="7" y="33"/>
                      <a:pt x="7" y="33"/>
                      <a:pt x="11" y="33"/>
                    </a:cubicBezTo>
                    <a:cubicBezTo>
                      <a:pt x="11" y="33"/>
                      <a:pt x="13" y="33"/>
                      <a:pt x="14" y="34"/>
                    </a:cubicBezTo>
                    <a:cubicBezTo>
                      <a:pt x="17" y="34"/>
                      <a:pt x="21" y="36"/>
                      <a:pt x="22" y="39"/>
                    </a:cubicBezTo>
                    <a:cubicBezTo>
                      <a:pt x="22" y="39"/>
                      <a:pt x="23" y="40"/>
                      <a:pt x="23" y="41"/>
                    </a:cubicBezTo>
                    <a:cubicBezTo>
                      <a:pt x="23" y="43"/>
                      <a:pt x="22" y="46"/>
                      <a:pt x="22" y="49"/>
                    </a:cubicBezTo>
                    <a:cubicBezTo>
                      <a:pt x="21" y="53"/>
                      <a:pt x="21" y="53"/>
                      <a:pt x="21" y="53"/>
                    </a:cubicBezTo>
                    <a:cubicBezTo>
                      <a:pt x="21" y="53"/>
                      <a:pt x="21" y="54"/>
                      <a:pt x="21" y="54"/>
                    </a:cubicBezTo>
                    <a:cubicBezTo>
                      <a:pt x="22" y="55"/>
                      <a:pt x="22" y="55"/>
                      <a:pt x="22" y="55"/>
                    </a:cubicBezTo>
                    <a:cubicBezTo>
                      <a:pt x="24" y="57"/>
                      <a:pt x="24" y="57"/>
                      <a:pt x="24" y="57"/>
                    </a:cubicBezTo>
                    <a:cubicBezTo>
                      <a:pt x="25" y="58"/>
                      <a:pt x="26" y="59"/>
                      <a:pt x="26" y="60"/>
                    </a:cubicBezTo>
                    <a:cubicBezTo>
                      <a:pt x="31" y="65"/>
                      <a:pt x="24" y="74"/>
                      <a:pt x="19" y="80"/>
                    </a:cubicBezTo>
                    <a:cubicBezTo>
                      <a:pt x="18" y="81"/>
                      <a:pt x="17" y="82"/>
                      <a:pt x="17" y="82"/>
                    </a:cubicBezTo>
                    <a:cubicBezTo>
                      <a:pt x="16" y="84"/>
                      <a:pt x="16" y="84"/>
                      <a:pt x="16" y="84"/>
                    </a:cubicBezTo>
                    <a:cubicBezTo>
                      <a:pt x="15" y="86"/>
                      <a:pt x="14" y="87"/>
                      <a:pt x="13" y="89"/>
                    </a:cubicBezTo>
                    <a:cubicBezTo>
                      <a:pt x="13" y="89"/>
                      <a:pt x="13" y="90"/>
                      <a:pt x="13" y="92"/>
                    </a:cubicBezTo>
                    <a:cubicBezTo>
                      <a:pt x="12" y="94"/>
                      <a:pt x="12" y="95"/>
                      <a:pt x="11" y="97"/>
                    </a:cubicBezTo>
                    <a:cubicBezTo>
                      <a:pt x="11" y="97"/>
                      <a:pt x="11" y="98"/>
                      <a:pt x="11" y="98"/>
                    </a:cubicBezTo>
                    <a:cubicBezTo>
                      <a:pt x="15" y="101"/>
                      <a:pt x="15" y="101"/>
                      <a:pt x="15" y="101"/>
                    </a:cubicBezTo>
                    <a:cubicBezTo>
                      <a:pt x="15" y="101"/>
                      <a:pt x="15" y="101"/>
                      <a:pt x="15" y="101"/>
                    </a:cubicBezTo>
                    <a:cubicBezTo>
                      <a:pt x="15" y="101"/>
                      <a:pt x="16" y="100"/>
                      <a:pt x="16" y="100"/>
                    </a:cubicBezTo>
                    <a:cubicBezTo>
                      <a:pt x="18" y="98"/>
                      <a:pt x="20" y="97"/>
                      <a:pt x="21" y="97"/>
                    </a:cubicBezTo>
                    <a:cubicBezTo>
                      <a:pt x="22" y="96"/>
                      <a:pt x="23" y="95"/>
                      <a:pt x="24" y="95"/>
                    </a:cubicBezTo>
                    <a:cubicBezTo>
                      <a:pt x="27" y="94"/>
                      <a:pt x="30" y="93"/>
                      <a:pt x="32" y="92"/>
                    </a:cubicBezTo>
                    <a:cubicBezTo>
                      <a:pt x="33" y="92"/>
                      <a:pt x="33" y="92"/>
                      <a:pt x="34" y="91"/>
                    </a:cubicBezTo>
                    <a:cubicBezTo>
                      <a:pt x="35" y="92"/>
                      <a:pt x="35" y="92"/>
                      <a:pt x="35" y="92"/>
                    </a:cubicBezTo>
                    <a:cubicBezTo>
                      <a:pt x="34" y="91"/>
                      <a:pt x="34" y="91"/>
                      <a:pt x="34" y="91"/>
                    </a:cubicBezTo>
                    <a:cubicBezTo>
                      <a:pt x="35" y="91"/>
                      <a:pt x="35" y="90"/>
                      <a:pt x="36" y="90"/>
                    </a:cubicBezTo>
                    <a:cubicBezTo>
                      <a:pt x="38" y="89"/>
                      <a:pt x="39" y="89"/>
                      <a:pt x="40" y="89"/>
                    </a:cubicBezTo>
                    <a:cubicBezTo>
                      <a:pt x="42" y="89"/>
                      <a:pt x="43" y="90"/>
                      <a:pt x="44" y="91"/>
                    </a:cubicBezTo>
                    <a:cubicBezTo>
                      <a:pt x="45" y="91"/>
                      <a:pt x="45" y="92"/>
                      <a:pt x="46" y="92"/>
                    </a:cubicBezTo>
                    <a:cubicBezTo>
                      <a:pt x="48" y="94"/>
                      <a:pt x="48" y="94"/>
                      <a:pt x="48" y="94"/>
                    </a:cubicBezTo>
                    <a:cubicBezTo>
                      <a:pt x="49" y="95"/>
                      <a:pt x="50" y="95"/>
                      <a:pt x="50" y="96"/>
                    </a:cubicBezTo>
                    <a:cubicBezTo>
                      <a:pt x="50" y="96"/>
                      <a:pt x="50" y="96"/>
                      <a:pt x="51" y="95"/>
                    </a:cubicBezTo>
                    <a:cubicBezTo>
                      <a:pt x="51" y="95"/>
                      <a:pt x="51" y="95"/>
                      <a:pt x="51" y="94"/>
                    </a:cubicBezTo>
                    <a:cubicBezTo>
                      <a:pt x="51" y="94"/>
                      <a:pt x="51" y="94"/>
                      <a:pt x="51" y="94"/>
                    </a:cubicBezTo>
                    <a:cubicBezTo>
                      <a:pt x="51" y="93"/>
                      <a:pt x="51" y="92"/>
                      <a:pt x="51" y="91"/>
                    </a:cubicBezTo>
                    <a:cubicBezTo>
                      <a:pt x="52" y="89"/>
                      <a:pt x="52" y="89"/>
                      <a:pt x="52" y="89"/>
                    </a:cubicBezTo>
                    <a:cubicBezTo>
                      <a:pt x="52" y="88"/>
                      <a:pt x="52" y="86"/>
                      <a:pt x="54" y="84"/>
                    </a:cubicBezTo>
                    <a:cubicBezTo>
                      <a:pt x="54" y="84"/>
                      <a:pt x="54" y="84"/>
                      <a:pt x="54" y="84"/>
                    </a:cubicBezTo>
                    <a:cubicBezTo>
                      <a:pt x="55" y="81"/>
                      <a:pt x="57" y="80"/>
                      <a:pt x="61" y="80"/>
                    </a:cubicBezTo>
                    <a:cubicBezTo>
                      <a:pt x="63" y="80"/>
                      <a:pt x="66" y="80"/>
                      <a:pt x="67" y="81"/>
                    </a:cubicBezTo>
                    <a:cubicBezTo>
                      <a:pt x="68" y="81"/>
                      <a:pt x="68" y="81"/>
                      <a:pt x="69" y="81"/>
                    </a:cubicBezTo>
                    <a:cubicBezTo>
                      <a:pt x="71" y="81"/>
                      <a:pt x="72" y="82"/>
                      <a:pt x="73" y="82"/>
                    </a:cubicBezTo>
                    <a:cubicBezTo>
                      <a:pt x="74" y="82"/>
                      <a:pt x="74" y="82"/>
                      <a:pt x="74" y="82"/>
                    </a:cubicBezTo>
                    <a:cubicBezTo>
                      <a:pt x="74" y="82"/>
                      <a:pt x="74" y="82"/>
                      <a:pt x="74" y="82"/>
                    </a:cubicBezTo>
                    <a:cubicBezTo>
                      <a:pt x="74" y="81"/>
                      <a:pt x="74" y="81"/>
                      <a:pt x="75" y="81"/>
                    </a:cubicBezTo>
                    <a:cubicBezTo>
                      <a:pt x="75" y="80"/>
                      <a:pt x="75" y="80"/>
                      <a:pt x="75" y="80"/>
                    </a:cubicBezTo>
                    <a:cubicBezTo>
                      <a:pt x="75" y="80"/>
                      <a:pt x="74" y="80"/>
                      <a:pt x="74" y="79"/>
                    </a:cubicBezTo>
                    <a:cubicBezTo>
                      <a:pt x="74" y="79"/>
                      <a:pt x="74" y="79"/>
                      <a:pt x="74" y="79"/>
                    </a:cubicBezTo>
                    <a:cubicBezTo>
                      <a:pt x="73" y="78"/>
                      <a:pt x="72" y="76"/>
                      <a:pt x="72" y="75"/>
                    </a:cubicBezTo>
                    <a:cubicBezTo>
                      <a:pt x="71" y="74"/>
                      <a:pt x="71" y="71"/>
                      <a:pt x="74" y="69"/>
                    </a:cubicBezTo>
                    <a:cubicBezTo>
                      <a:pt x="75" y="68"/>
                      <a:pt x="77" y="67"/>
                      <a:pt x="79" y="65"/>
                    </a:cubicBezTo>
                    <a:cubicBezTo>
                      <a:pt x="80" y="65"/>
                      <a:pt x="81" y="63"/>
                      <a:pt x="82" y="62"/>
                    </a:cubicBezTo>
                    <a:cubicBezTo>
                      <a:pt x="84" y="62"/>
                      <a:pt x="84" y="62"/>
                      <a:pt x="84" y="62"/>
                    </a:cubicBezTo>
                    <a:cubicBezTo>
                      <a:pt x="83" y="61"/>
                      <a:pt x="83" y="61"/>
                      <a:pt x="83" y="61"/>
                    </a:cubicBezTo>
                    <a:cubicBezTo>
                      <a:pt x="85" y="58"/>
                      <a:pt x="87" y="55"/>
                      <a:pt x="90" y="54"/>
                    </a:cubicBezTo>
                    <a:cubicBezTo>
                      <a:pt x="92" y="52"/>
                      <a:pt x="94" y="52"/>
                      <a:pt x="97" y="51"/>
                    </a:cubicBezTo>
                    <a:cubicBezTo>
                      <a:pt x="99" y="51"/>
                      <a:pt x="99" y="51"/>
                      <a:pt x="99" y="51"/>
                    </a:cubicBezTo>
                    <a:cubicBezTo>
                      <a:pt x="101" y="52"/>
                      <a:pt x="101" y="52"/>
                      <a:pt x="101" y="52"/>
                    </a:cubicBezTo>
                    <a:cubicBezTo>
                      <a:pt x="102" y="53"/>
                      <a:pt x="103" y="53"/>
                      <a:pt x="104" y="54"/>
                    </a:cubicBezTo>
                    <a:cubicBezTo>
                      <a:pt x="105" y="55"/>
                      <a:pt x="105" y="56"/>
                      <a:pt x="106" y="56"/>
                    </a:cubicBezTo>
                    <a:cubicBezTo>
                      <a:pt x="111" y="52"/>
                      <a:pt x="111" y="52"/>
                      <a:pt x="111" y="52"/>
                    </a:cubicBezTo>
                    <a:cubicBezTo>
                      <a:pt x="110" y="54"/>
                      <a:pt x="110" y="54"/>
                      <a:pt x="110" y="54"/>
                    </a:cubicBezTo>
                    <a:cubicBezTo>
                      <a:pt x="111" y="53"/>
                      <a:pt x="111" y="53"/>
                      <a:pt x="111" y="53"/>
                    </a:cubicBezTo>
                    <a:cubicBezTo>
                      <a:pt x="107" y="58"/>
                      <a:pt x="107" y="58"/>
                      <a:pt x="107" y="58"/>
                    </a:cubicBezTo>
                    <a:cubicBezTo>
                      <a:pt x="109" y="60"/>
                      <a:pt x="109" y="60"/>
                      <a:pt x="109" y="60"/>
                    </a:cubicBezTo>
                    <a:cubicBezTo>
                      <a:pt x="109" y="61"/>
                      <a:pt x="110" y="61"/>
                      <a:pt x="110" y="62"/>
                    </a:cubicBezTo>
                    <a:cubicBezTo>
                      <a:pt x="111" y="63"/>
                      <a:pt x="112" y="65"/>
                      <a:pt x="112" y="67"/>
                    </a:cubicBezTo>
                    <a:cubicBezTo>
                      <a:pt x="113" y="68"/>
                      <a:pt x="115" y="68"/>
                      <a:pt x="116" y="69"/>
                    </a:cubicBezTo>
                    <a:cubicBezTo>
                      <a:pt x="118" y="70"/>
                      <a:pt x="119" y="72"/>
                      <a:pt x="119" y="74"/>
                    </a:cubicBezTo>
                    <a:cubicBezTo>
                      <a:pt x="118" y="77"/>
                      <a:pt x="118" y="80"/>
                      <a:pt x="118" y="83"/>
                    </a:cubicBezTo>
                    <a:cubicBezTo>
                      <a:pt x="118" y="87"/>
                      <a:pt x="117" y="91"/>
                      <a:pt x="116" y="95"/>
                    </a:cubicBezTo>
                    <a:cubicBezTo>
                      <a:pt x="124" y="97"/>
                      <a:pt x="124" y="97"/>
                      <a:pt x="124" y="97"/>
                    </a:cubicBezTo>
                    <a:cubicBezTo>
                      <a:pt x="116" y="97"/>
                      <a:pt x="116" y="97"/>
                      <a:pt x="116" y="97"/>
                    </a:cubicBezTo>
                    <a:cubicBezTo>
                      <a:pt x="116" y="97"/>
                      <a:pt x="116" y="97"/>
                      <a:pt x="116" y="97"/>
                    </a:cubicBezTo>
                    <a:cubicBezTo>
                      <a:pt x="116" y="98"/>
                      <a:pt x="115" y="98"/>
                      <a:pt x="115" y="99"/>
                    </a:cubicBezTo>
                    <a:cubicBezTo>
                      <a:pt x="115" y="100"/>
                      <a:pt x="115" y="100"/>
                      <a:pt x="115" y="101"/>
                    </a:cubicBezTo>
                    <a:cubicBezTo>
                      <a:pt x="115" y="102"/>
                      <a:pt x="115" y="103"/>
                      <a:pt x="116" y="104"/>
                    </a:cubicBezTo>
                    <a:cubicBezTo>
                      <a:pt x="116" y="105"/>
                      <a:pt x="117" y="106"/>
                      <a:pt x="117" y="107"/>
                    </a:cubicBezTo>
                    <a:cubicBezTo>
                      <a:pt x="117" y="107"/>
                      <a:pt x="117" y="107"/>
                      <a:pt x="117" y="107"/>
                    </a:cubicBezTo>
                    <a:cubicBezTo>
                      <a:pt x="118" y="107"/>
                      <a:pt x="118" y="108"/>
                      <a:pt x="119" y="109"/>
                    </a:cubicBezTo>
                    <a:cubicBezTo>
                      <a:pt x="132" y="104"/>
                      <a:pt x="132" y="104"/>
                      <a:pt x="132" y="104"/>
                    </a:cubicBezTo>
                    <a:cubicBezTo>
                      <a:pt x="132" y="104"/>
                      <a:pt x="132" y="104"/>
                      <a:pt x="133" y="103"/>
                    </a:cubicBezTo>
                    <a:cubicBezTo>
                      <a:pt x="136" y="102"/>
                      <a:pt x="136" y="102"/>
                      <a:pt x="136" y="102"/>
                    </a:cubicBezTo>
                    <a:cubicBezTo>
                      <a:pt x="139" y="101"/>
                      <a:pt x="143" y="100"/>
                      <a:pt x="145" y="98"/>
                    </a:cubicBezTo>
                    <a:cubicBezTo>
                      <a:pt x="149" y="94"/>
                      <a:pt x="153" y="90"/>
                      <a:pt x="159" y="87"/>
                    </a:cubicBezTo>
                    <a:cubicBezTo>
                      <a:pt x="160" y="86"/>
                      <a:pt x="161" y="86"/>
                      <a:pt x="162" y="85"/>
                    </a:cubicBezTo>
                    <a:cubicBezTo>
                      <a:pt x="164" y="85"/>
                      <a:pt x="165" y="84"/>
                      <a:pt x="167" y="84"/>
                    </a:cubicBezTo>
                    <a:cubicBezTo>
                      <a:pt x="170" y="84"/>
                      <a:pt x="172" y="85"/>
                      <a:pt x="175" y="87"/>
                    </a:cubicBezTo>
                    <a:cubicBezTo>
                      <a:pt x="176" y="88"/>
                      <a:pt x="178" y="89"/>
                      <a:pt x="179" y="90"/>
                    </a:cubicBezTo>
                    <a:cubicBezTo>
                      <a:pt x="180" y="91"/>
                      <a:pt x="180" y="91"/>
                      <a:pt x="180" y="91"/>
                    </a:cubicBezTo>
                    <a:cubicBezTo>
                      <a:pt x="183" y="90"/>
                      <a:pt x="186" y="89"/>
                      <a:pt x="187" y="89"/>
                    </a:cubicBezTo>
                    <a:cubicBezTo>
                      <a:pt x="188" y="88"/>
                      <a:pt x="188" y="88"/>
                      <a:pt x="188" y="88"/>
                    </a:cubicBezTo>
                    <a:cubicBezTo>
                      <a:pt x="188" y="87"/>
                      <a:pt x="189" y="87"/>
                      <a:pt x="190" y="86"/>
                    </a:cubicBezTo>
                    <a:cubicBezTo>
                      <a:pt x="191" y="86"/>
                      <a:pt x="192" y="86"/>
                      <a:pt x="193" y="86"/>
                    </a:cubicBezTo>
                    <a:cubicBezTo>
                      <a:pt x="194" y="86"/>
                      <a:pt x="194" y="86"/>
                      <a:pt x="194" y="86"/>
                    </a:cubicBezTo>
                    <a:cubicBezTo>
                      <a:pt x="195" y="86"/>
                      <a:pt x="196" y="86"/>
                      <a:pt x="196" y="86"/>
                    </a:cubicBezTo>
                    <a:cubicBezTo>
                      <a:pt x="199" y="87"/>
                      <a:pt x="202" y="88"/>
                      <a:pt x="205" y="89"/>
                    </a:cubicBezTo>
                    <a:cubicBezTo>
                      <a:pt x="210" y="91"/>
                      <a:pt x="210" y="91"/>
                      <a:pt x="210" y="91"/>
                    </a:cubicBezTo>
                    <a:cubicBezTo>
                      <a:pt x="211" y="91"/>
                      <a:pt x="212" y="90"/>
                      <a:pt x="212" y="89"/>
                    </a:cubicBezTo>
                    <a:cubicBezTo>
                      <a:pt x="211" y="88"/>
                      <a:pt x="210" y="86"/>
                      <a:pt x="209" y="84"/>
                    </a:cubicBezTo>
                    <a:cubicBezTo>
                      <a:pt x="209" y="81"/>
                      <a:pt x="209" y="81"/>
                      <a:pt x="209" y="81"/>
                    </a:cubicBezTo>
                    <a:cubicBezTo>
                      <a:pt x="209" y="80"/>
                      <a:pt x="208" y="79"/>
                      <a:pt x="208" y="77"/>
                    </a:cubicBezTo>
                    <a:cubicBezTo>
                      <a:pt x="208" y="75"/>
                      <a:pt x="208" y="75"/>
                      <a:pt x="208" y="75"/>
                    </a:cubicBezTo>
                    <a:cubicBezTo>
                      <a:pt x="207" y="70"/>
                      <a:pt x="207" y="66"/>
                      <a:pt x="206" y="61"/>
                    </a:cubicBezTo>
                    <a:cubicBezTo>
                      <a:pt x="206" y="59"/>
                      <a:pt x="206" y="59"/>
                      <a:pt x="203" y="58"/>
                    </a:cubicBezTo>
                    <a:cubicBezTo>
                      <a:pt x="202" y="57"/>
                      <a:pt x="202" y="57"/>
                      <a:pt x="202" y="57"/>
                    </a:cubicBezTo>
                    <a:cubicBezTo>
                      <a:pt x="201" y="56"/>
                      <a:pt x="200" y="55"/>
                      <a:pt x="199" y="55"/>
                    </a:cubicBezTo>
                    <a:cubicBezTo>
                      <a:pt x="198" y="54"/>
                      <a:pt x="198" y="54"/>
                      <a:pt x="198" y="54"/>
                    </a:cubicBezTo>
                    <a:cubicBezTo>
                      <a:pt x="197" y="54"/>
                      <a:pt x="196" y="53"/>
                      <a:pt x="196" y="53"/>
                    </a:cubicBezTo>
                    <a:cubicBezTo>
                      <a:pt x="194" y="52"/>
                      <a:pt x="193" y="52"/>
                      <a:pt x="193" y="51"/>
                    </a:cubicBezTo>
                    <a:cubicBezTo>
                      <a:pt x="192" y="51"/>
                      <a:pt x="192" y="51"/>
                      <a:pt x="191" y="51"/>
                    </a:cubicBezTo>
                    <a:cubicBezTo>
                      <a:pt x="190" y="51"/>
                      <a:pt x="190" y="51"/>
                      <a:pt x="190" y="51"/>
                    </a:cubicBezTo>
                    <a:cubicBezTo>
                      <a:pt x="189" y="51"/>
                      <a:pt x="188" y="52"/>
                      <a:pt x="186" y="52"/>
                    </a:cubicBezTo>
                    <a:cubicBezTo>
                      <a:pt x="185" y="52"/>
                      <a:pt x="185" y="52"/>
                      <a:pt x="185" y="52"/>
                    </a:cubicBezTo>
                    <a:cubicBezTo>
                      <a:pt x="184" y="53"/>
                      <a:pt x="182" y="53"/>
                      <a:pt x="181" y="53"/>
                    </a:cubicBezTo>
                    <a:cubicBezTo>
                      <a:pt x="181" y="53"/>
                      <a:pt x="180" y="53"/>
                      <a:pt x="180" y="53"/>
                    </a:cubicBezTo>
                    <a:cubicBezTo>
                      <a:pt x="178" y="53"/>
                      <a:pt x="176" y="52"/>
                      <a:pt x="176" y="50"/>
                    </a:cubicBezTo>
                    <a:cubicBezTo>
                      <a:pt x="175" y="49"/>
                      <a:pt x="174" y="48"/>
                      <a:pt x="174" y="45"/>
                    </a:cubicBezTo>
                    <a:cubicBezTo>
                      <a:pt x="173" y="44"/>
                      <a:pt x="172" y="41"/>
                      <a:pt x="173" y="38"/>
                    </a:cubicBezTo>
                    <a:cubicBezTo>
                      <a:pt x="174" y="38"/>
                      <a:pt x="174" y="37"/>
                      <a:pt x="174" y="37"/>
                    </a:cubicBezTo>
                    <a:cubicBezTo>
                      <a:pt x="174" y="36"/>
                      <a:pt x="174" y="36"/>
                      <a:pt x="174" y="36"/>
                    </a:cubicBezTo>
                    <a:cubicBezTo>
                      <a:pt x="167" y="40"/>
                      <a:pt x="167" y="40"/>
                      <a:pt x="167" y="40"/>
                    </a:cubicBezTo>
                    <a:cubicBezTo>
                      <a:pt x="173" y="35"/>
                      <a:pt x="173" y="35"/>
                      <a:pt x="173" y="35"/>
                    </a:cubicBezTo>
                    <a:cubicBezTo>
                      <a:pt x="172" y="34"/>
                      <a:pt x="171" y="32"/>
                      <a:pt x="170" y="30"/>
                    </a:cubicBezTo>
                    <a:cubicBezTo>
                      <a:pt x="170" y="30"/>
                      <a:pt x="170" y="30"/>
                      <a:pt x="170" y="30"/>
                    </a:cubicBezTo>
                    <a:cubicBezTo>
                      <a:pt x="171" y="26"/>
                      <a:pt x="171" y="26"/>
                      <a:pt x="171" y="26"/>
                    </a:cubicBezTo>
                    <a:cubicBezTo>
                      <a:pt x="170" y="26"/>
                      <a:pt x="169" y="26"/>
                      <a:pt x="167" y="27"/>
                    </a:cubicBezTo>
                    <a:cubicBezTo>
                      <a:pt x="164" y="27"/>
                      <a:pt x="164" y="27"/>
                      <a:pt x="164" y="27"/>
                    </a:cubicBezTo>
                    <a:cubicBezTo>
                      <a:pt x="163" y="27"/>
                      <a:pt x="161" y="27"/>
                      <a:pt x="160" y="27"/>
                    </a:cubicBezTo>
                    <a:cubicBezTo>
                      <a:pt x="156" y="28"/>
                      <a:pt x="154" y="28"/>
                      <a:pt x="151" y="28"/>
                    </a:cubicBezTo>
                    <a:cubicBezTo>
                      <a:pt x="144" y="28"/>
                      <a:pt x="144" y="28"/>
                      <a:pt x="144" y="28"/>
                    </a:cubicBezTo>
                    <a:cubicBezTo>
                      <a:pt x="141" y="28"/>
                      <a:pt x="141" y="29"/>
                      <a:pt x="139" y="32"/>
                    </a:cubicBezTo>
                    <a:cubicBezTo>
                      <a:pt x="135" y="36"/>
                      <a:pt x="135" y="36"/>
                      <a:pt x="135" y="36"/>
                    </a:cubicBezTo>
                    <a:cubicBezTo>
                      <a:pt x="132" y="33"/>
                      <a:pt x="132" y="33"/>
                      <a:pt x="132" y="33"/>
                    </a:cubicBezTo>
                    <a:cubicBezTo>
                      <a:pt x="131" y="32"/>
                      <a:pt x="128" y="32"/>
                      <a:pt x="125" y="31"/>
                    </a:cubicBezTo>
                    <a:cubicBezTo>
                      <a:pt x="124" y="31"/>
                      <a:pt x="124" y="31"/>
                      <a:pt x="124" y="31"/>
                    </a:cubicBezTo>
                    <a:cubicBezTo>
                      <a:pt x="120" y="31"/>
                      <a:pt x="120" y="31"/>
                      <a:pt x="120" y="31"/>
                    </a:cubicBezTo>
                    <a:cubicBezTo>
                      <a:pt x="120" y="31"/>
                      <a:pt x="120" y="31"/>
                      <a:pt x="120" y="31"/>
                    </a:cubicBezTo>
                    <a:cubicBezTo>
                      <a:pt x="117" y="29"/>
                      <a:pt x="117" y="27"/>
                      <a:pt x="117" y="25"/>
                    </a:cubicBezTo>
                    <a:cubicBezTo>
                      <a:pt x="117" y="25"/>
                      <a:pt x="117" y="25"/>
                      <a:pt x="117" y="25"/>
                    </a:cubicBezTo>
                    <a:cubicBezTo>
                      <a:pt x="117" y="25"/>
                      <a:pt x="116" y="25"/>
                      <a:pt x="116" y="25"/>
                    </a:cubicBezTo>
                    <a:cubicBezTo>
                      <a:pt x="116" y="25"/>
                      <a:pt x="115" y="25"/>
                      <a:pt x="115" y="25"/>
                    </a:cubicBezTo>
                    <a:cubicBezTo>
                      <a:pt x="114" y="25"/>
                      <a:pt x="114" y="25"/>
                      <a:pt x="114" y="25"/>
                    </a:cubicBezTo>
                    <a:cubicBezTo>
                      <a:pt x="113" y="24"/>
                      <a:pt x="112" y="24"/>
                      <a:pt x="112" y="23"/>
                    </a:cubicBezTo>
                    <a:cubicBezTo>
                      <a:pt x="111" y="22"/>
                      <a:pt x="111" y="22"/>
                      <a:pt x="111" y="22"/>
                    </a:cubicBezTo>
                    <a:cubicBezTo>
                      <a:pt x="107" y="25"/>
                      <a:pt x="104" y="27"/>
                      <a:pt x="101" y="27"/>
                    </a:cubicBezTo>
                    <a:cubicBezTo>
                      <a:pt x="100" y="27"/>
                      <a:pt x="100" y="27"/>
                      <a:pt x="100" y="26"/>
                    </a:cubicBezTo>
                    <a:cubicBezTo>
                      <a:pt x="100" y="26"/>
                      <a:pt x="100" y="26"/>
                      <a:pt x="100" y="26"/>
                    </a:cubicBezTo>
                    <a:cubicBezTo>
                      <a:pt x="99" y="26"/>
                      <a:pt x="99" y="26"/>
                      <a:pt x="99" y="26"/>
                    </a:cubicBezTo>
                    <a:cubicBezTo>
                      <a:pt x="99" y="26"/>
                      <a:pt x="99" y="26"/>
                      <a:pt x="99" y="26"/>
                    </a:cubicBezTo>
                    <a:cubicBezTo>
                      <a:pt x="98" y="26"/>
                      <a:pt x="98" y="26"/>
                      <a:pt x="98" y="26"/>
                    </a:cubicBezTo>
                    <a:cubicBezTo>
                      <a:pt x="93" y="25"/>
                      <a:pt x="89" y="24"/>
                      <a:pt x="83" y="23"/>
                    </a:cubicBezTo>
                    <a:cubicBezTo>
                      <a:pt x="79" y="22"/>
                      <a:pt x="75" y="22"/>
                      <a:pt x="70" y="22"/>
                    </a:cubicBezTo>
                    <a:cubicBezTo>
                      <a:pt x="65" y="22"/>
                      <a:pt x="59" y="22"/>
                      <a:pt x="52" y="23"/>
                    </a:cubicBezTo>
                    <a:cubicBezTo>
                      <a:pt x="47" y="23"/>
                      <a:pt x="47" y="23"/>
                      <a:pt x="47" y="23"/>
                    </a:cubicBezTo>
                    <a:cubicBezTo>
                      <a:pt x="47" y="19"/>
                      <a:pt x="47" y="19"/>
                      <a:pt x="47" y="19"/>
                    </a:cubicBezTo>
                    <a:cubicBezTo>
                      <a:pt x="48" y="16"/>
                      <a:pt x="48" y="12"/>
                      <a:pt x="48" y="9"/>
                    </a:cubicBezTo>
                    <a:cubicBezTo>
                      <a:pt x="48" y="1"/>
                      <a:pt x="48" y="1"/>
                      <a:pt x="48" y="1"/>
                    </a:cubicBezTo>
                    <a:cubicBezTo>
                      <a:pt x="48" y="0"/>
                      <a:pt x="48" y="0"/>
                      <a:pt x="48" y="0"/>
                    </a:cubicBezTo>
                    <a:cubicBezTo>
                      <a:pt x="47" y="0"/>
                      <a:pt x="47"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348"/>
              <p:cNvSpPr/>
              <p:nvPr/>
            </p:nvSpPr>
            <p:spPr bwMode="auto">
              <a:xfrm>
                <a:off x="10613133" y="5011758"/>
                <a:ext cx="117924" cy="88443"/>
              </a:xfrm>
              <a:custGeom>
                <a:gdLst>
                  <a:gd name="T0" fmla="*/ 31 w 37"/>
                  <a:gd name="T1" fmla="*/ 0 h 27"/>
                  <a:gd name="T2" fmla="*/ 31 w 37"/>
                  <a:gd name="T3" fmla="*/ 0 h 27"/>
                  <a:gd name="T4" fmla="*/ 30 w 37"/>
                  <a:gd name="T5" fmla="*/ 1 h 27"/>
                  <a:gd name="T6" fmla="*/ 29 w 37"/>
                  <a:gd name="T7" fmla="*/ 2 h 27"/>
                  <a:gd name="T8" fmla="*/ 27 w 37"/>
                  <a:gd name="T9" fmla="*/ 3 h 27"/>
                  <a:gd name="T10" fmla="*/ 26 w 37"/>
                  <a:gd name="T11" fmla="*/ 4 h 27"/>
                  <a:gd name="T12" fmla="*/ 21 w 37"/>
                  <a:gd name="T13" fmla="*/ 8 h 27"/>
                  <a:gd name="T14" fmla="*/ 21 w 37"/>
                  <a:gd name="T15" fmla="*/ 8 h 27"/>
                  <a:gd name="T16" fmla="*/ 19 w 37"/>
                  <a:gd name="T17" fmla="*/ 9 h 27"/>
                  <a:gd name="T18" fmla="*/ 16 w 37"/>
                  <a:gd name="T19" fmla="*/ 10 h 27"/>
                  <a:gd name="T20" fmla="*/ 10 w 37"/>
                  <a:gd name="T21" fmla="*/ 12 h 27"/>
                  <a:gd name="T22" fmla="*/ 6 w 37"/>
                  <a:gd name="T23" fmla="*/ 11 h 27"/>
                  <a:gd name="T24" fmla="*/ 6 w 37"/>
                  <a:gd name="T25" fmla="*/ 11 h 27"/>
                  <a:gd name="T26" fmla="*/ 5 w 37"/>
                  <a:gd name="T27" fmla="*/ 11 h 27"/>
                  <a:gd name="T28" fmla="*/ 2 w 37"/>
                  <a:gd name="T29" fmla="*/ 9 h 27"/>
                  <a:gd name="T30" fmla="*/ 2 w 37"/>
                  <a:gd name="T31" fmla="*/ 9 h 27"/>
                  <a:gd name="T32" fmla="*/ 0 w 37"/>
                  <a:gd name="T33" fmla="*/ 12 h 27"/>
                  <a:gd name="T34" fmla="*/ 1 w 37"/>
                  <a:gd name="T35" fmla="*/ 20 h 27"/>
                  <a:gd name="T36" fmla="*/ 1 w 37"/>
                  <a:gd name="T37" fmla="*/ 20 h 27"/>
                  <a:gd name="T38" fmla="*/ 2 w 37"/>
                  <a:gd name="T39" fmla="*/ 23 h 27"/>
                  <a:gd name="T40" fmla="*/ 2 w 37"/>
                  <a:gd name="T41" fmla="*/ 25 h 27"/>
                  <a:gd name="T42" fmla="*/ 6 w 37"/>
                  <a:gd name="T43" fmla="*/ 23 h 27"/>
                  <a:gd name="T44" fmla="*/ 8 w 37"/>
                  <a:gd name="T45" fmla="*/ 22 h 27"/>
                  <a:gd name="T46" fmla="*/ 9 w 37"/>
                  <a:gd name="T47" fmla="*/ 22 h 27"/>
                  <a:gd name="T48" fmla="*/ 17 w 37"/>
                  <a:gd name="T49" fmla="*/ 20 h 27"/>
                  <a:gd name="T50" fmla="*/ 35 w 37"/>
                  <a:gd name="T51" fmla="*/ 27 h 27"/>
                  <a:gd name="T52" fmla="*/ 37 w 37"/>
                  <a:gd name="T53" fmla="*/ 25 h 27"/>
                  <a:gd name="T54" fmla="*/ 36 w 37"/>
                  <a:gd name="T55" fmla="*/ 25 h 27"/>
                  <a:gd name="T56" fmla="*/ 36 w 37"/>
                  <a:gd name="T57" fmla="*/ 25 h 27"/>
                  <a:gd name="T58" fmla="*/ 28 w 37"/>
                  <a:gd name="T59" fmla="*/ 20 h 27"/>
                  <a:gd name="T60" fmla="*/ 23 w 37"/>
                  <a:gd name="T61" fmla="*/ 17 h 27"/>
                  <a:gd name="T62" fmla="*/ 27 w 37"/>
                  <a:gd name="T63" fmla="*/ 14 h 27"/>
                  <a:gd name="T64" fmla="*/ 36 w 37"/>
                  <a:gd name="T65" fmla="*/ 6 h 27"/>
                  <a:gd name="T66" fmla="*/ 31 w 37"/>
                  <a:gd name="T67"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27">
                    <a:moveTo>
                      <a:pt x="31" y="0"/>
                    </a:moveTo>
                    <a:cubicBezTo>
                      <a:pt x="31" y="0"/>
                      <a:pt x="31" y="0"/>
                      <a:pt x="31" y="0"/>
                    </a:cubicBezTo>
                    <a:cubicBezTo>
                      <a:pt x="30" y="1"/>
                      <a:pt x="30" y="1"/>
                      <a:pt x="30" y="1"/>
                    </a:cubicBezTo>
                    <a:cubicBezTo>
                      <a:pt x="30" y="1"/>
                      <a:pt x="30" y="2"/>
                      <a:pt x="29" y="2"/>
                    </a:cubicBezTo>
                    <a:cubicBezTo>
                      <a:pt x="28" y="2"/>
                      <a:pt x="28" y="3"/>
                      <a:pt x="27" y="3"/>
                    </a:cubicBezTo>
                    <a:cubicBezTo>
                      <a:pt x="26" y="4"/>
                      <a:pt x="26" y="4"/>
                      <a:pt x="26" y="4"/>
                    </a:cubicBezTo>
                    <a:cubicBezTo>
                      <a:pt x="25" y="5"/>
                      <a:pt x="23" y="7"/>
                      <a:pt x="21" y="8"/>
                    </a:cubicBezTo>
                    <a:cubicBezTo>
                      <a:pt x="21" y="8"/>
                      <a:pt x="21" y="8"/>
                      <a:pt x="21" y="8"/>
                    </a:cubicBezTo>
                    <a:cubicBezTo>
                      <a:pt x="20" y="8"/>
                      <a:pt x="19" y="9"/>
                      <a:pt x="19" y="9"/>
                    </a:cubicBezTo>
                    <a:cubicBezTo>
                      <a:pt x="18" y="9"/>
                      <a:pt x="17" y="10"/>
                      <a:pt x="16" y="10"/>
                    </a:cubicBezTo>
                    <a:cubicBezTo>
                      <a:pt x="15" y="11"/>
                      <a:pt x="13" y="12"/>
                      <a:pt x="10" y="12"/>
                    </a:cubicBezTo>
                    <a:cubicBezTo>
                      <a:pt x="9" y="12"/>
                      <a:pt x="8" y="12"/>
                      <a:pt x="6" y="11"/>
                    </a:cubicBezTo>
                    <a:cubicBezTo>
                      <a:pt x="6" y="11"/>
                      <a:pt x="6" y="11"/>
                      <a:pt x="6" y="11"/>
                    </a:cubicBezTo>
                    <a:cubicBezTo>
                      <a:pt x="5" y="11"/>
                      <a:pt x="5" y="11"/>
                      <a:pt x="5" y="11"/>
                    </a:cubicBezTo>
                    <a:cubicBezTo>
                      <a:pt x="4" y="10"/>
                      <a:pt x="3" y="9"/>
                      <a:pt x="2" y="9"/>
                    </a:cubicBezTo>
                    <a:cubicBezTo>
                      <a:pt x="2" y="9"/>
                      <a:pt x="2" y="9"/>
                      <a:pt x="2" y="9"/>
                    </a:cubicBezTo>
                    <a:cubicBezTo>
                      <a:pt x="0" y="11"/>
                      <a:pt x="0" y="12"/>
                      <a:pt x="0" y="12"/>
                    </a:cubicBezTo>
                    <a:cubicBezTo>
                      <a:pt x="0" y="14"/>
                      <a:pt x="0" y="17"/>
                      <a:pt x="1" y="20"/>
                    </a:cubicBezTo>
                    <a:cubicBezTo>
                      <a:pt x="1" y="20"/>
                      <a:pt x="1" y="20"/>
                      <a:pt x="1" y="20"/>
                    </a:cubicBezTo>
                    <a:cubicBezTo>
                      <a:pt x="2" y="21"/>
                      <a:pt x="2" y="22"/>
                      <a:pt x="2" y="23"/>
                    </a:cubicBezTo>
                    <a:cubicBezTo>
                      <a:pt x="2" y="25"/>
                      <a:pt x="2" y="25"/>
                      <a:pt x="2" y="25"/>
                    </a:cubicBezTo>
                    <a:cubicBezTo>
                      <a:pt x="3" y="24"/>
                      <a:pt x="5" y="23"/>
                      <a:pt x="6" y="23"/>
                    </a:cubicBezTo>
                    <a:cubicBezTo>
                      <a:pt x="7" y="23"/>
                      <a:pt x="7" y="23"/>
                      <a:pt x="8" y="22"/>
                    </a:cubicBezTo>
                    <a:cubicBezTo>
                      <a:pt x="9" y="22"/>
                      <a:pt x="9" y="22"/>
                      <a:pt x="9" y="22"/>
                    </a:cubicBezTo>
                    <a:cubicBezTo>
                      <a:pt x="12" y="21"/>
                      <a:pt x="15" y="20"/>
                      <a:pt x="17" y="20"/>
                    </a:cubicBezTo>
                    <a:cubicBezTo>
                      <a:pt x="23" y="20"/>
                      <a:pt x="31" y="24"/>
                      <a:pt x="35" y="27"/>
                    </a:cubicBezTo>
                    <a:cubicBezTo>
                      <a:pt x="37" y="25"/>
                      <a:pt x="37" y="25"/>
                      <a:pt x="37" y="25"/>
                    </a:cubicBezTo>
                    <a:cubicBezTo>
                      <a:pt x="36" y="25"/>
                      <a:pt x="36" y="25"/>
                      <a:pt x="36" y="25"/>
                    </a:cubicBezTo>
                    <a:cubicBezTo>
                      <a:pt x="36" y="25"/>
                      <a:pt x="36" y="25"/>
                      <a:pt x="36" y="25"/>
                    </a:cubicBezTo>
                    <a:cubicBezTo>
                      <a:pt x="33" y="23"/>
                      <a:pt x="31" y="22"/>
                      <a:pt x="28" y="20"/>
                    </a:cubicBezTo>
                    <a:cubicBezTo>
                      <a:pt x="23" y="17"/>
                      <a:pt x="23" y="17"/>
                      <a:pt x="23" y="17"/>
                    </a:cubicBezTo>
                    <a:cubicBezTo>
                      <a:pt x="27" y="14"/>
                      <a:pt x="27" y="14"/>
                      <a:pt x="27" y="14"/>
                    </a:cubicBezTo>
                    <a:cubicBezTo>
                      <a:pt x="30" y="11"/>
                      <a:pt x="33" y="9"/>
                      <a:pt x="36" y="6"/>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349"/>
              <p:cNvSpPr/>
              <p:nvPr/>
            </p:nvSpPr>
            <p:spPr bwMode="auto">
              <a:xfrm>
                <a:off x="11593374" y="6102552"/>
                <a:ext cx="585933" cy="364826"/>
              </a:xfrm>
              <a:custGeom>
                <a:gdLst>
                  <a:gd name="T0" fmla="*/ 38 w 184"/>
                  <a:gd name="T1" fmla="*/ 1 h 115"/>
                  <a:gd name="T2" fmla="*/ 37 w 184"/>
                  <a:gd name="T3" fmla="*/ 2 h 115"/>
                  <a:gd name="T4" fmla="*/ 31 w 184"/>
                  <a:gd name="T5" fmla="*/ 11 h 115"/>
                  <a:gd name="T6" fmla="*/ 22 w 184"/>
                  <a:gd name="T7" fmla="*/ 10 h 115"/>
                  <a:gd name="T8" fmla="*/ 8 w 184"/>
                  <a:gd name="T9" fmla="*/ 25 h 115"/>
                  <a:gd name="T10" fmla="*/ 5 w 184"/>
                  <a:gd name="T11" fmla="*/ 28 h 115"/>
                  <a:gd name="T12" fmla="*/ 3 w 184"/>
                  <a:gd name="T13" fmla="*/ 37 h 115"/>
                  <a:gd name="T14" fmla="*/ 0 w 184"/>
                  <a:gd name="T15" fmla="*/ 44 h 115"/>
                  <a:gd name="T16" fmla="*/ 6 w 184"/>
                  <a:gd name="T17" fmla="*/ 43 h 115"/>
                  <a:gd name="T18" fmla="*/ 18 w 184"/>
                  <a:gd name="T19" fmla="*/ 52 h 115"/>
                  <a:gd name="T20" fmla="*/ 33 w 184"/>
                  <a:gd name="T21" fmla="*/ 56 h 115"/>
                  <a:gd name="T22" fmla="*/ 38 w 184"/>
                  <a:gd name="T23" fmla="*/ 66 h 115"/>
                  <a:gd name="T24" fmla="*/ 42 w 184"/>
                  <a:gd name="T25" fmla="*/ 69 h 115"/>
                  <a:gd name="T26" fmla="*/ 47 w 184"/>
                  <a:gd name="T27" fmla="*/ 72 h 115"/>
                  <a:gd name="T28" fmla="*/ 52 w 184"/>
                  <a:gd name="T29" fmla="*/ 71 h 115"/>
                  <a:gd name="T30" fmla="*/ 60 w 184"/>
                  <a:gd name="T31" fmla="*/ 74 h 115"/>
                  <a:gd name="T32" fmla="*/ 73 w 184"/>
                  <a:gd name="T33" fmla="*/ 79 h 115"/>
                  <a:gd name="T34" fmla="*/ 75 w 184"/>
                  <a:gd name="T35" fmla="*/ 84 h 115"/>
                  <a:gd name="T36" fmla="*/ 88 w 184"/>
                  <a:gd name="T37" fmla="*/ 88 h 115"/>
                  <a:gd name="T38" fmla="*/ 92 w 184"/>
                  <a:gd name="T39" fmla="*/ 85 h 115"/>
                  <a:gd name="T40" fmla="*/ 95 w 184"/>
                  <a:gd name="T41" fmla="*/ 85 h 115"/>
                  <a:gd name="T42" fmla="*/ 102 w 184"/>
                  <a:gd name="T43" fmla="*/ 87 h 115"/>
                  <a:gd name="T44" fmla="*/ 104 w 184"/>
                  <a:gd name="T45" fmla="*/ 79 h 115"/>
                  <a:gd name="T46" fmla="*/ 115 w 184"/>
                  <a:gd name="T47" fmla="*/ 84 h 115"/>
                  <a:gd name="T48" fmla="*/ 118 w 184"/>
                  <a:gd name="T49" fmla="*/ 85 h 115"/>
                  <a:gd name="T50" fmla="*/ 129 w 184"/>
                  <a:gd name="T51" fmla="*/ 95 h 115"/>
                  <a:gd name="T52" fmla="*/ 130 w 184"/>
                  <a:gd name="T53" fmla="*/ 99 h 115"/>
                  <a:gd name="T54" fmla="*/ 141 w 184"/>
                  <a:gd name="T55" fmla="*/ 103 h 115"/>
                  <a:gd name="T56" fmla="*/ 143 w 184"/>
                  <a:gd name="T57" fmla="*/ 104 h 115"/>
                  <a:gd name="T58" fmla="*/ 146 w 184"/>
                  <a:gd name="T59" fmla="*/ 106 h 115"/>
                  <a:gd name="T60" fmla="*/ 148 w 184"/>
                  <a:gd name="T61" fmla="*/ 106 h 115"/>
                  <a:gd name="T62" fmla="*/ 154 w 184"/>
                  <a:gd name="T63" fmla="*/ 104 h 115"/>
                  <a:gd name="T64" fmla="*/ 157 w 184"/>
                  <a:gd name="T65" fmla="*/ 105 h 115"/>
                  <a:gd name="T66" fmla="*/ 159 w 184"/>
                  <a:gd name="T67" fmla="*/ 107 h 115"/>
                  <a:gd name="T68" fmla="*/ 163 w 184"/>
                  <a:gd name="T69" fmla="*/ 112 h 115"/>
                  <a:gd name="T70" fmla="*/ 168 w 184"/>
                  <a:gd name="T71" fmla="*/ 111 h 115"/>
                  <a:gd name="T72" fmla="*/ 173 w 184"/>
                  <a:gd name="T73" fmla="*/ 111 h 115"/>
                  <a:gd name="T74" fmla="*/ 184 w 184"/>
                  <a:gd name="T75" fmla="*/ 115 h 115"/>
                  <a:gd name="T76" fmla="*/ 176 w 184"/>
                  <a:gd name="T77" fmla="*/ 76 h 115"/>
                  <a:gd name="T78" fmla="*/ 170 w 184"/>
                  <a:gd name="T79" fmla="*/ 74 h 115"/>
                  <a:gd name="T80" fmla="*/ 156 w 184"/>
                  <a:gd name="T81" fmla="*/ 68 h 115"/>
                  <a:gd name="T82" fmla="*/ 155 w 184"/>
                  <a:gd name="T83" fmla="*/ 66 h 115"/>
                  <a:gd name="T84" fmla="*/ 148 w 184"/>
                  <a:gd name="T85" fmla="*/ 65 h 115"/>
                  <a:gd name="T86" fmla="*/ 143 w 184"/>
                  <a:gd name="T87" fmla="*/ 66 h 115"/>
                  <a:gd name="T88" fmla="*/ 136 w 184"/>
                  <a:gd name="T89" fmla="*/ 58 h 115"/>
                  <a:gd name="T90" fmla="*/ 127 w 184"/>
                  <a:gd name="T91" fmla="*/ 56 h 115"/>
                  <a:gd name="T92" fmla="*/ 120 w 184"/>
                  <a:gd name="T93" fmla="*/ 52 h 115"/>
                  <a:gd name="T94" fmla="*/ 116 w 184"/>
                  <a:gd name="T95" fmla="*/ 49 h 115"/>
                  <a:gd name="T96" fmla="*/ 109 w 184"/>
                  <a:gd name="T97" fmla="*/ 37 h 115"/>
                  <a:gd name="T98" fmla="*/ 101 w 184"/>
                  <a:gd name="T99" fmla="*/ 39 h 115"/>
                  <a:gd name="T100" fmla="*/ 91 w 184"/>
                  <a:gd name="T101" fmla="*/ 34 h 115"/>
                  <a:gd name="T102" fmla="*/ 87 w 184"/>
                  <a:gd name="T103" fmla="*/ 28 h 115"/>
                  <a:gd name="T104" fmla="*/ 86 w 184"/>
                  <a:gd name="T105" fmla="*/ 27 h 115"/>
                  <a:gd name="T106" fmla="*/ 82 w 184"/>
                  <a:gd name="T107" fmla="*/ 32 h 115"/>
                  <a:gd name="T108" fmla="*/ 79 w 184"/>
                  <a:gd name="T109" fmla="*/ 24 h 115"/>
                  <a:gd name="T110" fmla="*/ 70 w 184"/>
                  <a:gd name="T111" fmla="*/ 20 h 115"/>
                  <a:gd name="T112" fmla="*/ 62 w 184"/>
                  <a:gd name="T113" fmla="*/ 14 h 115"/>
                  <a:gd name="T114" fmla="*/ 53 w 184"/>
                  <a:gd name="T115" fmla="*/ 9 h 115"/>
                  <a:gd name="T116" fmla="*/ 41 w 184"/>
                  <a:gd name="T117" fmla="*/ 1 h 1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 h="115">
                    <a:moveTo>
                      <a:pt x="39" y="0"/>
                    </a:moveTo>
                    <a:cubicBezTo>
                      <a:pt x="39" y="0"/>
                      <a:pt x="38" y="1"/>
                      <a:pt x="38" y="1"/>
                    </a:cubicBezTo>
                    <a:cubicBezTo>
                      <a:pt x="38" y="1"/>
                      <a:pt x="38" y="1"/>
                      <a:pt x="38" y="1"/>
                    </a:cubicBezTo>
                    <a:cubicBezTo>
                      <a:pt x="37" y="1"/>
                      <a:pt x="37" y="1"/>
                      <a:pt x="37" y="1"/>
                    </a:cubicBezTo>
                    <a:cubicBezTo>
                      <a:pt x="37" y="2"/>
                      <a:pt x="37" y="2"/>
                      <a:pt x="37" y="2"/>
                    </a:cubicBezTo>
                    <a:cubicBezTo>
                      <a:pt x="37" y="2"/>
                      <a:pt x="37" y="2"/>
                      <a:pt x="37" y="2"/>
                    </a:cubicBezTo>
                    <a:cubicBezTo>
                      <a:pt x="35" y="4"/>
                      <a:pt x="35" y="6"/>
                      <a:pt x="34" y="8"/>
                    </a:cubicBezTo>
                    <a:cubicBezTo>
                      <a:pt x="33" y="11"/>
                      <a:pt x="33" y="11"/>
                      <a:pt x="33" y="11"/>
                    </a:cubicBezTo>
                    <a:cubicBezTo>
                      <a:pt x="31" y="11"/>
                      <a:pt x="31" y="11"/>
                      <a:pt x="31" y="11"/>
                    </a:cubicBezTo>
                    <a:cubicBezTo>
                      <a:pt x="29" y="12"/>
                      <a:pt x="28" y="12"/>
                      <a:pt x="27" y="12"/>
                    </a:cubicBezTo>
                    <a:cubicBezTo>
                      <a:pt x="25" y="12"/>
                      <a:pt x="24" y="12"/>
                      <a:pt x="24" y="11"/>
                    </a:cubicBezTo>
                    <a:cubicBezTo>
                      <a:pt x="22" y="10"/>
                      <a:pt x="22" y="10"/>
                      <a:pt x="22" y="10"/>
                    </a:cubicBezTo>
                    <a:cubicBezTo>
                      <a:pt x="22" y="10"/>
                      <a:pt x="22" y="10"/>
                      <a:pt x="22" y="10"/>
                    </a:cubicBezTo>
                    <a:cubicBezTo>
                      <a:pt x="8" y="24"/>
                      <a:pt x="8" y="24"/>
                      <a:pt x="8" y="24"/>
                    </a:cubicBezTo>
                    <a:cubicBezTo>
                      <a:pt x="8" y="24"/>
                      <a:pt x="8" y="24"/>
                      <a:pt x="8" y="25"/>
                    </a:cubicBezTo>
                    <a:cubicBezTo>
                      <a:pt x="7" y="25"/>
                      <a:pt x="7" y="26"/>
                      <a:pt x="6" y="26"/>
                    </a:cubicBezTo>
                    <a:cubicBezTo>
                      <a:pt x="5" y="27"/>
                      <a:pt x="5" y="27"/>
                      <a:pt x="5" y="27"/>
                    </a:cubicBezTo>
                    <a:cubicBezTo>
                      <a:pt x="5" y="28"/>
                      <a:pt x="5" y="28"/>
                      <a:pt x="5" y="28"/>
                    </a:cubicBezTo>
                    <a:cubicBezTo>
                      <a:pt x="5" y="28"/>
                      <a:pt x="5" y="28"/>
                      <a:pt x="5" y="28"/>
                    </a:cubicBezTo>
                    <a:cubicBezTo>
                      <a:pt x="5" y="29"/>
                      <a:pt x="6" y="30"/>
                      <a:pt x="6" y="32"/>
                    </a:cubicBezTo>
                    <a:cubicBezTo>
                      <a:pt x="6" y="33"/>
                      <a:pt x="5" y="35"/>
                      <a:pt x="3" y="37"/>
                    </a:cubicBezTo>
                    <a:cubicBezTo>
                      <a:pt x="3" y="38"/>
                      <a:pt x="3" y="38"/>
                      <a:pt x="3" y="38"/>
                    </a:cubicBezTo>
                    <a:cubicBezTo>
                      <a:pt x="2" y="39"/>
                      <a:pt x="1" y="40"/>
                      <a:pt x="1" y="42"/>
                    </a:cubicBezTo>
                    <a:cubicBezTo>
                      <a:pt x="0" y="42"/>
                      <a:pt x="0" y="43"/>
                      <a:pt x="0" y="44"/>
                    </a:cubicBezTo>
                    <a:cubicBezTo>
                      <a:pt x="0" y="45"/>
                      <a:pt x="1" y="46"/>
                      <a:pt x="2" y="47"/>
                    </a:cubicBezTo>
                    <a:cubicBezTo>
                      <a:pt x="2" y="47"/>
                      <a:pt x="4" y="48"/>
                      <a:pt x="6" y="49"/>
                    </a:cubicBezTo>
                    <a:cubicBezTo>
                      <a:pt x="6" y="43"/>
                      <a:pt x="6" y="43"/>
                      <a:pt x="6" y="43"/>
                    </a:cubicBezTo>
                    <a:cubicBezTo>
                      <a:pt x="11" y="48"/>
                      <a:pt x="11" y="48"/>
                      <a:pt x="11" y="48"/>
                    </a:cubicBezTo>
                    <a:cubicBezTo>
                      <a:pt x="13" y="49"/>
                      <a:pt x="15" y="50"/>
                      <a:pt x="17" y="51"/>
                    </a:cubicBezTo>
                    <a:cubicBezTo>
                      <a:pt x="18" y="52"/>
                      <a:pt x="18" y="52"/>
                      <a:pt x="18" y="52"/>
                    </a:cubicBezTo>
                    <a:cubicBezTo>
                      <a:pt x="20" y="53"/>
                      <a:pt x="23" y="54"/>
                      <a:pt x="25" y="56"/>
                    </a:cubicBezTo>
                    <a:cubicBezTo>
                      <a:pt x="27" y="57"/>
                      <a:pt x="29" y="58"/>
                      <a:pt x="31" y="59"/>
                    </a:cubicBezTo>
                    <a:cubicBezTo>
                      <a:pt x="33" y="56"/>
                      <a:pt x="33" y="56"/>
                      <a:pt x="33" y="56"/>
                    </a:cubicBezTo>
                    <a:cubicBezTo>
                      <a:pt x="32" y="60"/>
                      <a:pt x="32" y="60"/>
                      <a:pt x="32" y="60"/>
                    </a:cubicBezTo>
                    <a:cubicBezTo>
                      <a:pt x="32" y="61"/>
                      <a:pt x="32" y="61"/>
                      <a:pt x="32" y="61"/>
                    </a:cubicBezTo>
                    <a:cubicBezTo>
                      <a:pt x="34" y="63"/>
                      <a:pt x="36" y="64"/>
                      <a:pt x="38" y="66"/>
                    </a:cubicBezTo>
                    <a:cubicBezTo>
                      <a:pt x="38" y="66"/>
                      <a:pt x="38" y="66"/>
                      <a:pt x="38" y="66"/>
                    </a:cubicBezTo>
                    <a:cubicBezTo>
                      <a:pt x="39" y="67"/>
                      <a:pt x="39" y="67"/>
                      <a:pt x="40" y="67"/>
                    </a:cubicBezTo>
                    <a:cubicBezTo>
                      <a:pt x="40" y="68"/>
                      <a:pt x="41" y="68"/>
                      <a:pt x="42" y="69"/>
                    </a:cubicBezTo>
                    <a:cubicBezTo>
                      <a:pt x="44" y="71"/>
                      <a:pt x="44" y="71"/>
                      <a:pt x="44" y="71"/>
                    </a:cubicBezTo>
                    <a:cubicBezTo>
                      <a:pt x="46" y="72"/>
                      <a:pt x="47" y="72"/>
                      <a:pt x="47" y="72"/>
                    </a:cubicBezTo>
                    <a:cubicBezTo>
                      <a:pt x="47" y="72"/>
                      <a:pt x="47" y="72"/>
                      <a:pt x="47" y="72"/>
                    </a:cubicBezTo>
                    <a:cubicBezTo>
                      <a:pt x="48" y="72"/>
                      <a:pt x="48" y="72"/>
                      <a:pt x="48" y="72"/>
                    </a:cubicBezTo>
                    <a:cubicBezTo>
                      <a:pt x="49" y="72"/>
                      <a:pt x="50" y="71"/>
                      <a:pt x="51" y="71"/>
                    </a:cubicBezTo>
                    <a:cubicBezTo>
                      <a:pt x="52" y="71"/>
                      <a:pt x="52" y="71"/>
                      <a:pt x="52" y="71"/>
                    </a:cubicBezTo>
                    <a:cubicBezTo>
                      <a:pt x="53" y="71"/>
                      <a:pt x="53" y="71"/>
                      <a:pt x="53" y="71"/>
                    </a:cubicBezTo>
                    <a:cubicBezTo>
                      <a:pt x="53" y="71"/>
                      <a:pt x="54" y="71"/>
                      <a:pt x="54" y="72"/>
                    </a:cubicBezTo>
                    <a:cubicBezTo>
                      <a:pt x="56" y="73"/>
                      <a:pt x="58" y="73"/>
                      <a:pt x="60" y="74"/>
                    </a:cubicBezTo>
                    <a:cubicBezTo>
                      <a:pt x="72" y="78"/>
                      <a:pt x="72" y="78"/>
                      <a:pt x="72" y="78"/>
                    </a:cubicBezTo>
                    <a:cubicBezTo>
                      <a:pt x="73" y="79"/>
                      <a:pt x="73" y="79"/>
                      <a:pt x="73" y="79"/>
                    </a:cubicBezTo>
                    <a:cubicBezTo>
                      <a:pt x="73" y="79"/>
                      <a:pt x="73" y="79"/>
                      <a:pt x="73" y="79"/>
                    </a:cubicBezTo>
                    <a:cubicBezTo>
                      <a:pt x="74" y="80"/>
                      <a:pt x="74" y="80"/>
                      <a:pt x="74" y="80"/>
                    </a:cubicBezTo>
                    <a:cubicBezTo>
                      <a:pt x="74" y="81"/>
                      <a:pt x="74" y="82"/>
                      <a:pt x="75" y="83"/>
                    </a:cubicBezTo>
                    <a:cubicBezTo>
                      <a:pt x="75" y="83"/>
                      <a:pt x="75" y="84"/>
                      <a:pt x="75" y="84"/>
                    </a:cubicBezTo>
                    <a:cubicBezTo>
                      <a:pt x="76" y="84"/>
                      <a:pt x="77" y="84"/>
                      <a:pt x="77" y="84"/>
                    </a:cubicBezTo>
                    <a:cubicBezTo>
                      <a:pt x="79" y="85"/>
                      <a:pt x="81" y="85"/>
                      <a:pt x="82" y="85"/>
                    </a:cubicBezTo>
                    <a:cubicBezTo>
                      <a:pt x="84" y="86"/>
                      <a:pt x="86" y="87"/>
                      <a:pt x="88" y="88"/>
                    </a:cubicBezTo>
                    <a:cubicBezTo>
                      <a:pt x="91" y="86"/>
                      <a:pt x="91" y="86"/>
                      <a:pt x="91" y="86"/>
                    </a:cubicBezTo>
                    <a:cubicBezTo>
                      <a:pt x="91" y="86"/>
                      <a:pt x="91" y="86"/>
                      <a:pt x="92" y="85"/>
                    </a:cubicBezTo>
                    <a:cubicBezTo>
                      <a:pt x="92" y="85"/>
                      <a:pt x="92" y="85"/>
                      <a:pt x="92" y="85"/>
                    </a:cubicBezTo>
                    <a:cubicBezTo>
                      <a:pt x="93" y="85"/>
                      <a:pt x="93" y="85"/>
                      <a:pt x="94" y="85"/>
                    </a:cubicBezTo>
                    <a:cubicBezTo>
                      <a:pt x="94" y="85"/>
                      <a:pt x="94" y="85"/>
                      <a:pt x="94" y="85"/>
                    </a:cubicBezTo>
                    <a:cubicBezTo>
                      <a:pt x="95" y="85"/>
                      <a:pt x="95" y="85"/>
                      <a:pt x="95" y="85"/>
                    </a:cubicBezTo>
                    <a:cubicBezTo>
                      <a:pt x="95" y="85"/>
                      <a:pt x="95" y="85"/>
                      <a:pt x="95" y="85"/>
                    </a:cubicBezTo>
                    <a:cubicBezTo>
                      <a:pt x="96" y="85"/>
                      <a:pt x="96" y="85"/>
                      <a:pt x="96" y="85"/>
                    </a:cubicBezTo>
                    <a:cubicBezTo>
                      <a:pt x="102" y="87"/>
                      <a:pt x="102" y="87"/>
                      <a:pt x="102" y="87"/>
                    </a:cubicBezTo>
                    <a:cubicBezTo>
                      <a:pt x="103" y="87"/>
                      <a:pt x="103" y="87"/>
                      <a:pt x="103" y="87"/>
                    </a:cubicBezTo>
                    <a:cubicBezTo>
                      <a:pt x="103" y="86"/>
                      <a:pt x="104" y="85"/>
                      <a:pt x="105" y="85"/>
                    </a:cubicBezTo>
                    <a:cubicBezTo>
                      <a:pt x="104" y="79"/>
                      <a:pt x="104" y="79"/>
                      <a:pt x="104" y="79"/>
                    </a:cubicBezTo>
                    <a:cubicBezTo>
                      <a:pt x="107" y="84"/>
                      <a:pt x="107" y="84"/>
                      <a:pt x="107" y="84"/>
                    </a:cubicBezTo>
                    <a:cubicBezTo>
                      <a:pt x="108" y="84"/>
                      <a:pt x="110" y="83"/>
                      <a:pt x="111" y="83"/>
                    </a:cubicBezTo>
                    <a:cubicBezTo>
                      <a:pt x="113" y="83"/>
                      <a:pt x="114" y="84"/>
                      <a:pt x="115" y="84"/>
                    </a:cubicBezTo>
                    <a:cubicBezTo>
                      <a:pt x="116" y="84"/>
                      <a:pt x="116" y="84"/>
                      <a:pt x="116" y="84"/>
                    </a:cubicBezTo>
                    <a:cubicBezTo>
                      <a:pt x="117" y="85"/>
                      <a:pt x="117" y="85"/>
                      <a:pt x="117" y="85"/>
                    </a:cubicBezTo>
                    <a:cubicBezTo>
                      <a:pt x="118" y="85"/>
                      <a:pt x="118" y="85"/>
                      <a:pt x="118" y="85"/>
                    </a:cubicBezTo>
                    <a:cubicBezTo>
                      <a:pt x="120" y="86"/>
                      <a:pt x="123" y="87"/>
                      <a:pt x="125" y="88"/>
                    </a:cubicBezTo>
                    <a:cubicBezTo>
                      <a:pt x="126" y="89"/>
                      <a:pt x="128" y="90"/>
                      <a:pt x="128" y="93"/>
                    </a:cubicBezTo>
                    <a:cubicBezTo>
                      <a:pt x="129" y="94"/>
                      <a:pt x="129" y="94"/>
                      <a:pt x="129" y="95"/>
                    </a:cubicBezTo>
                    <a:cubicBezTo>
                      <a:pt x="129" y="95"/>
                      <a:pt x="129" y="96"/>
                      <a:pt x="129" y="97"/>
                    </a:cubicBezTo>
                    <a:cubicBezTo>
                      <a:pt x="129" y="98"/>
                      <a:pt x="129" y="98"/>
                      <a:pt x="129" y="98"/>
                    </a:cubicBezTo>
                    <a:cubicBezTo>
                      <a:pt x="129" y="98"/>
                      <a:pt x="130" y="98"/>
                      <a:pt x="130" y="99"/>
                    </a:cubicBezTo>
                    <a:cubicBezTo>
                      <a:pt x="131" y="99"/>
                      <a:pt x="132" y="99"/>
                      <a:pt x="133" y="100"/>
                    </a:cubicBezTo>
                    <a:cubicBezTo>
                      <a:pt x="134" y="100"/>
                      <a:pt x="134" y="100"/>
                      <a:pt x="134" y="100"/>
                    </a:cubicBezTo>
                    <a:cubicBezTo>
                      <a:pt x="136" y="101"/>
                      <a:pt x="139" y="101"/>
                      <a:pt x="141" y="103"/>
                    </a:cubicBezTo>
                    <a:cubicBezTo>
                      <a:pt x="145" y="96"/>
                      <a:pt x="145" y="96"/>
                      <a:pt x="145" y="96"/>
                    </a:cubicBezTo>
                    <a:cubicBezTo>
                      <a:pt x="143" y="104"/>
                      <a:pt x="143" y="104"/>
                      <a:pt x="143" y="104"/>
                    </a:cubicBezTo>
                    <a:cubicBezTo>
                      <a:pt x="143" y="104"/>
                      <a:pt x="143" y="104"/>
                      <a:pt x="143" y="104"/>
                    </a:cubicBezTo>
                    <a:cubicBezTo>
                      <a:pt x="144" y="104"/>
                      <a:pt x="144" y="105"/>
                      <a:pt x="145" y="105"/>
                    </a:cubicBezTo>
                    <a:cubicBezTo>
                      <a:pt x="145" y="106"/>
                      <a:pt x="145" y="106"/>
                      <a:pt x="145" y="106"/>
                    </a:cubicBezTo>
                    <a:cubicBezTo>
                      <a:pt x="146" y="106"/>
                      <a:pt x="146" y="106"/>
                      <a:pt x="146" y="106"/>
                    </a:cubicBezTo>
                    <a:cubicBezTo>
                      <a:pt x="146" y="106"/>
                      <a:pt x="146" y="106"/>
                      <a:pt x="146" y="106"/>
                    </a:cubicBezTo>
                    <a:cubicBezTo>
                      <a:pt x="146" y="106"/>
                      <a:pt x="146" y="106"/>
                      <a:pt x="147" y="106"/>
                    </a:cubicBezTo>
                    <a:cubicBezTo>
                      <a:pt x="148" y="106"/>
                      <a:pt x="148" y="106"/>
                      <a:pt x="148" y="106"/>
                    </a:cubicBezTo>
                    <a:cubicBezTo>
                      <a:pt x="149" y="105"/>
                      <a:pt x="150" y="105"/>
                      <a:pt x="151" y="104"/>
                    </a:cubicBezTo>
                    <a:cubicBezTo>
                      <a:pt x="152" y="104"/>
                      <a:pt x="152" y="104"/>
                      <a:pt x="152" y="104"/>
                    </a:cubicBezTo>
                    <a:cubicBezTo>
                      <a:pt x="153" y="104"/>
                      <a:pt x="153" y="104"/>
                      <a:pt x="154" y="104"/>
                    </a:cubicBezTo>
                    <a:cubicBezTo>
                      <a:pt x="154" y="104"/>
                      <a:pt x="154" y="104"/>
                      <a:pt x="154" y="104"/>
                    </a:cubicBezTo>
                    <a:cubicBezTo>
                      <a:pt x="156" y="104"/>
                      <a:pt x="156" y="104"/>
                      <a:pt x="156" y="104"/>
                    </a:cubicBezTo>
                    <a:cubicBezTo>
                      <a:pt x="157" y="105"/>
                      <a:pt x="157" y="105"/>
                      <a:pt x="157" y="105"/>
                    </a:cubicBezTo>
                    <a:cubicBezTo>
                      <a:pt x="157" y="105"/>
                      <a:pt x="158" y="105"/>
                      <a:pt x="158" y="106"/>
                    </a:cubicBezTo>
                    <a:cubicBezTo>
                      <a:pt x="158" y="106"/>
                      <a:pt x="158" y="106"/>
                      <a:pt x="158" y="106"/>
                    </a:cubicBezTo>
                    <a:cubicBezTo>
                      <a:pt x="159" y="107"/>
                      <a:pt x="159" y="107"/>
                      <a:pt x="159" y="107"/>
                    </a:cubicBezTo>
                    <a:cubicBezTo>
                      <a:pt x="160" y="108"/>
                      <a:pt x="160" y="109"/>
                      <a:pt x="161" y="110"/>
                    </a:cubicBezTo>
                    <a:cubicBezTo>
                      <a:pt x="161" y="110"/>
                      <a:pt x="162" y="111"/>
                      <a:pt x="162" y="112"/>
                    </a:cubicBezTo>
                    <a:cubicBezTo>
                      <a:pt x="162" y="112"/>
                      <a:pt x="163" y="112"/>
                      <a:pt x="163" y="112"/>
                    </a:cubicBezTo>
                    <a:cubicBezTo>
                      <a:pt x="164" y="112"/>
                      <a:pt x="164" y="112"/>
                      <a:pt x="165" y="112"/>
                    </a:cubicBezTo>
                    <a:cubicBezTo>
                      <a:pt x="166" y="111"/>
                      <a:pt x="166" y="111"/>
                      <a:pt x="166" y="111"/>
                    </a:cubicBezTo>
                    <a:cubicBezTo>
                      <a:pt x="167" y="111"/>
                      <a:pt x="167" y="111"/>
                      <a:pt x="168" y="111"/>
                    </a:cubicBezTo>
                    <a:cubicBezTo>
                      <a:pt x="168" y="111"/>
                      <a:pt x="169" y="111"/>
                      <a:pt x="169" y="111"/>
                    </a:cubicBezTo>
                    <a:cubicBezTo>
                      <a:pt x="170" y="111"/>
                      <a:pt x="171" y="111"/>
                      <a:pt x="172" y="111"/>
                    </a:cubicBezTo>
                    <a:cubicBezTo>
                      <a:pt x="173" y="111"/>
                      <a:pt x="173" y="111"/>
                      <a:pt x="173" y="111"/>
                    </a:cubicBezTo>
                    <a:cubicBezTo>
                      <a:pt x="174" y="112"/>
                      <a:pt x="176" y="112"/>
                      <a:pt x="177" y="112"/>
                    </a:cubicBezTo>
                    <a:cubicBezTo>
                      <a:pt x="178" y="113"/>
                      <a:pt x="179" y="113"/>
                      <a:pt x="180" y="114"/>
                    </a:cubicBezTo>
                    <a:cubicBezTo>
                      <a:pt x="184" y="115"/>
                      <a:pt x="184" y="115"/>
                      <a:pt x="184" y="115"/>
                    </a:cubicBezTo>
                    <a:cubicBezTo>
                      <a:pt x="184" y="73"/>
                      <a:pt x="184" y="73"/>
                      <a:pt x="184" y="73"/>
                    </a:cubicBezTo>
                    <a:cubicBezTo>
                      <a:pt x="183" y="74"/>
                      <a:pt x="181" y="76"/>
                      <a:pt x="178" y="76"/>
                    </a:cubicBezTo>
                    <a:cubicBezTo>
                      <a:pt x="178" y="76"/>
                      <a:pt x="177" y="76"/>
                      <a:pt x="176" y="76"/>
                    </a:cubicBezTo>
                    <a:cubicBezTo>
                      <a:pt x="175" y="76"/>
                      <a:pt x="175" y="76"/>
                      <a:pt x="175" y="76"/>
                    </a:cubicBezTo>
                    <a:cubicBezTo>
                      <a:pt x="173" y="75"/>
                      <a:pt x="172" y="75"/>
                      <a:pt x="170" y="74"/>
                    </a:cubicBezTo>
                    <a:cubicBezTo>
                      <a:pt x="170" y="74"/>
                      <a:pt x="170" y="74"/>
                      <a:pt x="170" y="74"/>
                    </a:cubicBezTo>
                    <a:cubicBezTo>
                      <a:pt x="167" y="82"/>
                      <a:pt x="167" y="82"/>
                      <a:pt x="167" y="82"/>
                    </a:cubicBezTo>
                    <a:cubicBezTo>
                      <a:pt x="161" y="75"/>
                      <a:pt x="161" y="75"/>
                      <a:pt x="161" y="75"/>
                    </a:cubicBezTo>
                    <a:cubicBezTo>
                      <a:pt x="160" y="72"/>
                      <a:pt x="158" y="70"/>
                      <a:pt x="156" y="68"/>
                    </a:cubicBezTo>
                    <a:cubicBezTo>
                      <a:pt x="156" y="67"/>
                      <a:pt x="156" y="67"/>
                      <a:pt x="156" y="67"/>
                    </a:cubicBezTo>
                    <a:cubicBezTo>
                      <a:pt x="156" y="67"/>
                      <a:pt x="155" y="67"/>
                      <a:pt x="155" y="66"/>
                    </a:cubicBezTo>
                    <a:cubicBezTo>
                      <a:pt x="155" y="66"/>
                      <a:pt x="155" y="66"/>
                      <a:pt x="155" y="66"/>
                    </a:cubicBezTo>
                    <a:cubicBezTo>
                      <a:pt x="154" y="65"/>
                      <a:pt x="153" y="65"/>
                      <a:pt x="152" y="65"/>
                    </a:cubicBezTo>
                    <a:cubicBezTo>
                      <a:pt x="152" y="65"/>
                      <a:pt x="152" y="65"/>
                      <a:pt x="152" y="65"/>
                    </a:cubicBezTo>
                    <a:cubicBezTo>
                      <a:pt x="151" y="65"/>
                      <a:pt x="150" y="65"/>
                      <a:pt x="148" y="65"/>
                    </a:cubicBezTo>
                    <a:cubicBezTo>
                      <a:pt x="148" y="65"/>
                      <a:pt x="148" y="65"/>
                      <a:pt x="148" y="65"/>
                    </a:cubicBezTo>
                    <a:cubicBezTo>
                      <a:pt x="147" y="65"/>
                      <a:pt x="146" y="66"/>
                      <a:pt x="145" y="66"/>
                    </a:cubicBezTo>
                    <a:cubicBezTo>
                      <a:pt x="144" y="66"/>
                      <a:pt x="143" y="66"/>
                      <a:pt x="143" y="66"/>
                    </a:cubicBezTo>
                    <a:cubicBezTo>
                      <a:pt x="142" y="66"/>
                      <a:pt x="141" y="66"/>
                      <a:pt x="141" y="66"/>
                    </a:cubicBezTo>
                    <a:cubicBezTo>
                      <a:pt x="139" y="65"/>
                      <a:pt x="137" y="64"/>
                      <a:pt x="137" y="63"/>
                    </a:cubicBezTo>
                    <a:cubicBezTo>
                      <a:pt x="135" y="61"/>
                      <a:pt x="136" y="59"/>
                      <a:pt x="136" y="58"/>
                    </a:cubicBezTo>
                    <a:cubicBezTo>
                      <a:pt x="135" y="58"/>
                      <a:pt x="135" y="58"/>
                      <a:pt x="134" y="58"/>
                    </a:cubicBezTo>
                    <a:cubicBezTo>
                      <a:pt x="133" y="58"/>
                      <a:pt x="132" y="58"/>
                      <a:pt x="132" y="58"/>
                    </a:cubicBezTo>
                    <a:cubicBezTo>
                      <a:pt x="130" y="58"/>
                      <a:pt x="128" y="57"/>
                      <a:pt x="127" y="56"/>
                    </a:cubicBezTo>
                    <a:cubicBezTo>
                      <a:pt x="125" y="56"/>
                      <a:pt x="124" y="55"/>
                      <a:pt x="123" y="54"/>
                    </a:cubicBezTo>
                    <a:cubicBezTo>
                      <a:pt x="122" y="54"/>
                      <a:pt x="122" y="54"/>
                      <a:pt x="122" y="54"/>
                    </a:cubicBezTo>
                    <a:cubicBezTo>
                      <a:pt x="122" y="53"/>
                      <a:pt x="121" y="53"/>
                      <a:pt x="120" y="52"/>
                    </a:cubicBezTo>
                    <a:cubicBezTo>
                      <a:pt x="119" y="51"/>
                      <a:pt x="119" y="51"/>
                      <a:pt x="119" y="51"/>
                    </a:cubicBezTo>
                    <a:cubicBezTo>
                      <a:pt x="118" y="51"/>
                      <a:pt x="117" y="50"/>
                      <a:pt x="116" y="50"/>
                    </a:cubicBezTo>
                    <a:cubicBezTo>
                      <a:pt x="116" y="49"/>
                      <a:pt x="116" y="49"/>
                      <a:pt x="116" y="49"/>
                    </a:cubicBezTo>
                    <a:cubicBezTo>
                      <a:pt x="114" y="49"/>
                      <a:pt x="111" y="46"/>
                      <a:pt x="111" y="41"/>
                    </a:cubicBezTo>
                    <a:cubicBezTo>
                      <a:pt x="110" y="40"/>
                      <a:pt x="110" y="40"/>
                      <a:pt x="110" y="40"/>
                    </a:cubicBezTo>
                    <a:cubicBezTo>
                      <a:pt x="109" y="39"/>
                      <a:pt x="109" y="38"/>
                      <a:pt x="109" y="37"/>
                    </a:cubicBezTo>
                    <a:cubicBezTo>
                      <a:pt x="109" y="37"/>
                      <a:pt x="109" y="37"/>
                      <a:pt x="109" y="37"/>
                    </a:cubicBezTo>
                    <a:cubicBezTo>
                      <a:pt x="107" y="37"/>
                      <a:pt x="104" y="38"/>
                      <a:pt x="102" y="38"/>
                    </a:cubicBezTo>
                    <a:cubicBezTo>
                      <a:pt x="101" y="39"/>
                      <a:pt x="101" y="39"/>
                      <a:pt x="101" y="39"/>
                    </a:cubicBezTo>
                    <a:cubicBezTo>
                      <a:pt x="100" y="39"/>
                      <a:pt x="99" y="39"/>
                      <a:pt x="99" y="39"/>
                    </a:cubicBezTo>
                    <a:cubicBezTo>
                      <a:pt x="95" y="39"/>
                      <a:pt x="94" y="37"/>
                      <a:pt x="92" y="34"/>
                    </a:cubicBezTo>
                    <a:cubicBezTo>
                      <a:pt x="91" y="34"/>
                      <a:pt x="91" y="34"/>
                      <a:pt x="91" y="34"/>
                    </a:cubicBezTo>
                    <a:cubicBezTo>
                      <a:pt x="91" y="34"/>
                      <a:pt x="91" y="33"/>
                      <a:pt x="91" y="33"/>
                    </a:cubicBezTo>
                    <a:cubicBezTo>
                      <a:pt x="90" y="33"/>
                      <a:pt x="90" y="33"/>
                      <a:pt x="90" y="33"/>
                    </a:cubicBezTo>
                    <a:cubicBezTo>
                      <a:pt x="89" y="31"/>
                      <a:pt x="88" y="30"/>
                      <a:pt x="87" y="28"/>
                    </a:cubicBezTo>
                    <a:cubicBezTo>
                      <a:pt x="87" y="28"/>
                      <a:pt x="87" y="28"/>
                      <a:pt x="87" y="28"/>
                    </a:cubicBezTo>
                    <a:cubicBezTo>
                      <a:pt x="87" y="28"/>
                      <a:pt x="87" y="28"/>
                      <a:pt x="87" y="28"/>
                    </a:cubicBezTo>
                    <a:cubicBezTo>
                      <a:pt x="86" y="27"/>
                      <a:pt x="86" y="27"/>
                      <a:pt x="86" y="27"/>
                    </a:cubicBezTo>
                    <a:cubicBezTo>
                      <a:pt x="85" y="27"/>
                      <a:pt x="85" y="26"/>
                      <a:pt x="84" y="26"/>
                    </a:cubicBezTo>
                    <a:cubicBezTo>
                      <a:pt x="84" y="25"/>
                      <a:pt x="84" y="25"/>
                      <a:pt x="84" y="25"/>
                    </a:cubicBezTo>
                    <a:cubicBezTo>
                      <a:pt x="82" y="32"/>
                      <a:pt x="82" y="32"/>
                      <a:pt x="82" y="32"/>
                    </a:cubicBezTo>
                    <a:cubicBezTo>
                      <a:pt x="82" y="25"/>
                      <a:pt x="82" y="25"/>
                      <a:pt x="82" y="25"/>
                    </a:cubicBezTo>
                    <a:cubicBezTo>
                      <a:pt x="81" y="25"/>
                      <a:pt x="81" y="25"/>
                      <a:pt x="81" y="25"/>
                    </a:cubicBezTo>
                    <a:cubicBezTo>
                      <a:pt x="80" y="25"/>
                      <a:pt x="80" y="24"/>
                      <a:pt x="79" y="24"/>
                    </a:cubicBezTo>
                    <a:cubicBezTo>
                      <a:pt x="79" y="24"/>
                      <a:pt x="79" y="24"/>
                      <a:pt x="79" y="24"/>
                    </a:cubicBezTo>
                    <a:cubicBezTo>
                      <a:pt x="76" y="24"/>
                      <a:pt x="74" y="23"/>
                      <a:pt x="71" y="21"/>
                    </a:cubicBezTo>
                    <a:cubicBezTo>
                      <a:pt x="70" y="20"/>
                      <a:pt x="70" y="20"/>
                      <a:pt x="70" y="20"/>
                    </a:cubicBezTo>
                    <a:cubicBezTo>
                      <a:pt x="68" y="19"/>
                      <a:pt x="67" y="17"/>
                      <a:pt x="66" y="16"/>
                    </a:cubicBezTo>
                    <a:cubicBezTo>
                      <a:pt x="65" y="15"/>
                      <a:pt x="64" y="15"/>
                      <a:pt x="64" y="15"/>
                    </a:cubicBezTo>
                    <a:cubicBezTo>
                      <a:pt x="62" y="14"/>
                      <a:pt x="62" y="14"/>
                      <a:pt x="62" y="14"/>
                    </a:cubicBezTo>
                    <a:cubicBezTo>
                      <a:pt x="61" y="13"/>
                      <a:pt x="60" y="13"/>
                      <a:pt x="59" y="13"/>
                    </a:cubicBezTo>
                    <a:cubicBezTo>
                      <a:pt x="56" y="12"/>
                      <a:pt x="55" y="11"/>
                      <a:pt x="53" y="10"/>
                    </a:cubicBezTo>
                    <a:cubicBezTo>
                      <a:pt x="53" y="9"/>
                      <a:pt x="53" y="9"/>
                      <a:pt x="53" y="9"/>
                    </a:cubicBezTo>
                    <a:cubicBezTo>
                      <a:pt x="52" y="7"/>
                      <a:pt x="51" y="6"/>
                      <a:pt x="51" y="5"/>
                    </a:cubicBezTo>
                    <a:cubicBezTo>
                      <a:pt x="50" y="4"/>
                      <a:pt x="50" y="2"/>
                      <a:pt x="49" y="2"/>
                    </a:cubicBezTo>
                    <a:cubicBezTo>
                      <a:pt x="49" y="2"/>
                      <a:pt x="45" y="1"/>
                      <a:pt x="41" y="1"/>
                    </a:cubicBezTo>
                    <a:cubicBezTo>
                      <a:pt x="40" y="1"/>
                      <a:pt x="40" y="1"/>
                      <a:pt x="40" y="1"/>
                    </a:cubicBezTo>
                    <a:cubicBezTo>
                      <a:pt x="40"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Rectangle 350"/>
              <p:cNvSpPr>
                <a:spLocks noChangeArrowheads="1"/>
              </p:cNvSpPr>
              <p:nvPr/>
            </p:nvSpPr>
            <p:spPr bwMode="auto">
              <a:xfrm>
                <a:off x="11707612" y="610255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351"/>
              <p:cNvSpPr/>
              <p:nvPr/>
            </p:nvSpPr>
            <p:spPr bwMode="auto">
              <a:xfrm flipH="1">
                <a:off x="11707612" y="610255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352"/>
              <p:cNvSpPr/>
              <p:nvPr/>
            </p:nvSpPr>
            <p:spPr bwMode="auto">
              <a:xfrm>
                <a:off x="10620503" y="4775911"/>
                <a:ext cx="961815" cy="405363"/>
              </a:xfrm>
              <a:custGeom>
                <a:gdLst>
                  <a:gd name="T0" fmla="*/ 124 w 303"/>
                  <a:gd name="T1" fmla="*/ 4 h 128"/>
                  <a:gd name="T2" fmla="*/ 115 w 303"/>
                  <a:gd name="T3" fmla="*/ 27 h 128"/>
                  <a:gd name="T4" fmla="*/ 78 w 303"/>
                  <a:gd name="T5" fmla="*/ 16 h 128"/>
                  <a:gd name="T6" fmla="*/ 57 w 303"/>
                  <a:gd name="T7" fmla="*/ 16 h 128"/>
                  <a:gd name="T8" fmla="*/ 51 w 303"/>
                  <a:gd name="T9" fmla="*/ 19 h 128"/>
                  <a:gd name="T10" fmla="*/ 47 w 303"/>
                  <a:gd name="T11" fmla="*/ 26 h 128"/>
                  <a:gd name="T12" fmla="*/ 50 w 303"/>
                  <a:gd name="T13" fmla="*/ 37 h 128"/>
                  <a:gd name="T14" fmla="*/ 30 w 303"/>
                  <a:gd name="T15" fmla="*/ 54 h 128"/>
                  <a:gd name="T16" fmla="*/ 42 w 303"/>
                  <a:gd name="T17" fmla="*/ 61 h 128"/>
                  <a:gd name="T18" fmla="*/ 58 w 303"/>
                  <a:gd name="T19" fmla="*/ 51 h 128"/>
                  <a:gd name="T20" fmla="*/ 76 w 303"/>
                  <a:gd name="T21" fmla="*/ 61 h 128"/>
                  <a:gd name="T22" fmla="*/ 85 w 303"/>
                  <a:gd name="T23" fmla="*/ 68 h 128"/>
                  <a:gd name="T24" fmla="*/ 106 w 303"/>
                  <a:gd name="T25" fmla="*/ 74 h 128"/>
                  <a:gd name="T26" fmla="*/ 104 w 303"/>
                  <a:gd name="T27" fmla="*/ 84 h 128"/>
                  <a:gd name="T28" fmla="*/ 97 w 303"/>
                  <a:gd name="T29" fmla="*/ 87 h 128"/>
                  <a:gd name="T30" fmla="*/ 88 w 303"/>
                  <a:gd name="T31" fmla="*/ 92 h 128"/>
                  <a:gd name="T32" fmla="*/ 78 w 303"/>
                  <a:gd name="T33" fmla="*/ 95 h 128"/>
                  <a:gd name="T34" fmla="*/ 57 w 303"/>
                  <a:gd name="T35" fmla="*/ 100 h 128"/>
                  <a:gd name="T36" fmla="*/ 52 w 303"/>
                  <a:gd name="T37" fmla="*/ 99 h 128"/>
                  <a:gd name="T38" fmla="*/ 44 w 303"/>
                  <a:gd name="T39" fmla="*/ 101 h 128"/>
                  <a:gd name="T40" fmla="*/ 38 w 303"/>
                  <a:gd name="T41" fmla="*/ 106 h 128"/>
                  <a:gd name="T42" fmla="*/ 34 w 303"/>
                  <a:gd name="T43" fmla="*/ 109 h 128"/>
                  <a:gd name="T44" fmla="*/ 29 w 303"/>
                  <a:gd name="T45" fmla="*/ 111 h 128"/>
                  <a:gd name="T46" fmla="*/ 8 w 303"/>
                  <a:gd name="T47" fmla="*/ 104 h 128"/>
                  <a:gd name="T48" fmla="*/ 2 w 303"/>
                  <a:gd name="T49" fmla="*/ 110 h 128"/>
                  <a:gd name="T50" fmla="*/ 44 w 303"/>
                  <a:gd name="T51" fmla="*/ 121 h 128"/>
                  <a:gd name="T52" fmla="*/ 57 w 303"/>
                  <a:gd name="T53" fmla="*/ 116 h 128"/>
                  <a:gd name="T54" fmla="*/ 70 w 303"/>
                  <a:gd name="T55" fmla="*/ 126 h 128"/>
                  <a:gd name="T56" fmla="*/ 96 w 303"/>
                  <a:gd name="T57" fmla="*/ 123 h 128"/>
                  <a:gd name="T58" fmla="*/ 117 w 303"/>
                  <a:gd name="T59" fmla="*/ 120 h 128"/>
                  <a:gd name="T60" fmla="*/ 124 w 303"/>
                  <a:gd name="T61" fmla="*/ 117 h 128"/>
                  <a:gd name="T62" fmla="*/ 126 w 303"/>
                  <a:gd name="T63" fmla="*/ 107 h 128"/>
                  <a:gd name="T64" fmla="*/ 151 w 303"/>
                  <a:gd name="T65" fmla="*/ 93 h 128"/>
                  <a:gd name="T66" fmla="*/ 155 w 303"/>
                  <a:gd name="T67" fmla="*/ 85 h 128"/>
                  <a:gd name="T68" fmla="*/ 167 w 303"/>
                  <a:gd name="T69" fmla="*/ 84 h 128"/>
                  <a:gd name="T70" fmla="*/ 175 w 303"/>
                  <a:gd name="T71" fmla="*/ 81 h 128"/>
                  <a:gd name="T72" fmla="*/ 181 w 303"/>
                  <a:gd name="T73" fmla="*/ 92 h 128"/>
                  <a:gd name="T74" fmla="*/ 188 w 303"/>
                  <a:gd name="T75" fmla="*/ 89 h 128"/>
                  <a:gd name="T76" fmla="*/ 197 w 303"/>
                  <a:gd name="T77" fmla="*/ 89 h 128"/>
                  <a:gd name="T78" fmla="*/ 202 w 303"/>
                  <a:gd name="T79" fmla="*/ 78 h 128"/>
                  <a:gd name="T80" fmla="*/ 230 w 303"/>
                  <a:gd name="T81" fmla="*/ 65 h 128"/>
                  <a:gd name="T82" fmla="*/ 251 w 303"/>
                  <a:gd name="T83" fmla="*/ 61 h 128"/>
                  <a:gd name="T84" fmla="*/ 263 w 303"/>
                  <a:gd name="T85" fmla="*/ 50 h 128"/>
                  <a:gd name="T86" fmla="*/ 302 w 303"/>
                  <a:gd name="T87" fmla="*/ 35 h 128"/>
                  <a:gd name="T88" fmla="*/ 302 w 303"/>
                  <a:gd name="T89" fmla="*/ 32 h 128"/>
                  <a:gd name="T90" fmla="*/ 290 w 303"/>
                  <a:gd name="T91" fmla="*/ 26 h 128"/>
                  <a:gd name="T92" fmla="*/ 275 w 303"/>
                  <a:gd name="T93" fmla="*/ 14 h 128"/>
                  <a:gd name="T94" fmla="*/ 259 w 303"/>
                  <a:gd name="T95" fmla="*/ 12 h 128"/>
                  <a:gd name="T96" fmla="*/ 248 w 303"/>
                  <a:gd name="T97" fmla="*/ 12 h 128"/>
                  <a:gd name="T98" fmla="*/ 227 w 303"/>
                  <a:gd name="T99" fmla="*/ 10 h 128"/>
                  <a:gd name="T100" fmla="*/ 197 w 303"/>
                  <a:gd name="T101" fmla="*/ 9 h 128"/>
                  <a:gd name="T102" fmla="*/ 169 w 303"/>
                  <a:gd name="T103" fmla="*/ 12 h 128"/>
                  <a:gd name="T104" fmla="*/ 155 w 303"/>
                  <a:gd name="T105" fmla="*/ 9 h 128"/>
                  <a:gd name="T106" fmla="*/ 142 w 303"/>
                  <a:gd name="T107" fmla="*/ 2 h 1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3" h="128">
                    <a:moveTo>
                      <a:pt x="133" y="0"/>
                    </a:moveTo>
                    <a:cubicBezTo>
                      <a:pt x="131" y="1"/>
                      <a:pt x="128" y="1"/>
                      <a:pt x="126" y="3"/>
                    </a:cubicBezTo>
                    <a:cubicBezTo>
                      <a:pt x="126" y="3"/>
                      <a:pt x="126" y="3"/>
                      <a:pt x="126" y="3"/>
                    </a:cubicBezTo>
                    <a:cubicBezTo>
                      <a:pt x="124" y="4"/>
                      <a:pt x="124" y="4"/>
                      <a:pt x="124" y="4"/>
                    </a:cubicBezTo>
                    <a:cubicBezTo>
                      <a:pt x="124" y="4"/>
                      <a:pt x="124" y="4"/>
                      <a:pt x="124" y="4"/>
                    </a:cubicBezTo>
                    <a:cubicBezTo>
                      <a:pt x="118" y="6"/>
                      <a:pt x="117" y="13"/>
                      <a:pt x="118" y="18"/>
                    </a:cubicBezTo>
                    <a:cubicBezTo>
                      <a:pt x="118" y="18"/>
                      <a:pt x="118" y="19"/>
                      <a:pt x="118" y="19"/>
                    </a:cubicBezTo>
                    <a:cubicBezTo>
                      <a:pt x="118" y="20"/>
                      <a:pt x="119" y="21"/>
                      <a:pt x="119" y="22"/>
                    </a:cubicBezTo>
                    <a:cubicBezTo>
                      <a:pt x="124" y="30"/>
                      <a:pt x="124" y="30"/>
                      <a:pt x="124" y="30"/>
                    </a:cubicBezTo>
                    <a:cubicBezTo>
                      <a:pt x="115" y="27"/>
                      <a:pt x="115" y="27"/>
                      <a:pt x="115" y="27"/>
                    </a:cubicBezTo>
                    <a:cubicBezTo>
                      <a:pt x="111" y="26"/>
                      <a:pt x="107" y="24"/>
                      <a:pt x="103" y="23"/>
                    </a:cubicBezTo>
                    <a:cubicBezTo>
                      <a:pt x="96" y="21"/>
                      <a:pt x="90" y="19"/>
                      <a:pt x="83" y="17"/>
                    </a:cubicBezTo>
                    <a:cubicBezTo>
                      <a:pt x="82" y="17"/>
                      <a:pt x="81" y="16"/>
                      <a:pt x="80" y="16"/>
                    </a:cubicBezTo>
                    <a:cubicBezTo>
                      <a:pt x="79" y="16"/>
                      <a:pt x="79" y="16"/>
                      <a:pt x="79" y="16"/>
                    </a:cubicBezTo>
                    <a:cubicBezTo>
                      <a:pt x="78" y="16"/>
                      <a:pt x="78" y="16"/>
                      <a:pt x="78" y="16"/>
                    </a:cubicBezTo>
                    <a:cubicBezTo>
                      <a:pt x="77" y="16"/>
                      <a:pt x="77" y="16"/>
                      <a:pt x="76" y="16"/>
                    </a:cubicBezTo>
                    <a:cubicBezTo>
                      <a:pt x="62" y="16"/>
                      <a:pt x="62" y="16"/>
                      <a:pt x="62" y="16"/>
                    </a:cubicBezTo>
                    <a:cubicBezTo>
                      <a:pt x="62" y="16"/>
                      <a:pt x="62" y="16"/>
                      <a:pt x="62" y="16"/>
                    </a:cubicBezTo>
                    <a:cubicBezTo>
                      <a:pt x="61" y="16"/>
                      <a:pt x="61" y="16"/>
                      <a:pt x="60" y="16"/>
                    </a:cubicBezTo>
                    <a:cubicBezTo>
                      <a:pt x="59" y="16"/>
                      <a:pt x="58" y="16"/>
                      <a:pt x="57" y="16"/>
                    </a:cubicBezTo>
                    <a:cubicBezTo>
                      <a:pt x="56" y="16"/>
                      <a:pt x="56" y="16"/>
                      <a:pt x="56" y="16"/>
                    </a:cubicBezTo>
                    <a:cubicBezTo>
                      <a:pt x="56" y="16"/>
                      <a:pt x="56" y="16"/>
                      <a:pt x="56" y="16"/>
                    </a:cubicBezTo>
                    <a:cubicBezTo>
                      <a:pt x="56" y="16"/>
                      <a:pt x="56" y="16"/>
                      <a:pt x="56" y="16"/>
                    </a:cubicBezTo>
                    <a:cubicBezTo>
                      <a:pt x="55" y="17"/>
                      <a:pt x="53" y="18"/>
                      <a:pt x="53" y="19"/>
                    </a:cubicBezTo>
                    <a:cubicBezTo>
                      <a:pt x="51" y="19"/>
                      <a:pt x="51" y="19"/>
                      <a:pt x="51" y="19"/>
                    </a:cubicBezTo>
                    <a:cubicBezTo>
                      <a:pt x="52" y="19"/>
                      <a:pt x="52" y="19"/>
                      <a:pt x="52" y="19"/>
                    </a:cubicBezTo>
                    <a:cubicBezTo>
                      <a:pt x="52" y="20"/>
                      <a:pt x="51" y="21"/>
                      <a:pt x="51" y="21"/>
                    </a:cubicBezTo>
                    <a:cubicBezTo>
                      <a:pt x="49" y="23"/>
                      <a:pt x="49" y="23"/>
                      <a:pt x="49" y="23"/>
                    </a:cubicBezTo>
                    <a:cubicBezTo>
                      <a:pt x="48" y="24"/>
                      <a:pt x="47" y="25"/>
                      <a:pt x="46" y="26"/>
                    </a:cubicBezTo>
                    <a:cubicBezTo>
                      <a:pt x="47" y="26"/>
                      <a:pt x="47" y="26"/>
                      <a:pt x="47" y="26"/>
                    </a:cubicBezTo>
                    <a:cubicBezTo>
                      <a:pt x="47" y="26"/>
                      <a:pt x="47" y="26"/>
                      <a:pt x="47" y="26"/>
                    </a:cubicBezTo>
                    <a:cubicBezTo>
                      <a:pt x="47" y="26"/>
                      <a:pt x="48" y="27"/>
                      <a:pt x="50" y="27"/>
                    </a:cubicBezTo>
                    <a:cubicBezTo>
                      <a:pt x="51" y="27"/>
                      <a:pt x="52" y="27"/>
                      <a:pt x="53" y="28"/>
                    </a:cubicBezTo>
                    <a:cubicBezTo>
                      <a:pt x="61" y="29"/>
                      <a:pt x="61" y="29"/>
                      <a:pt x="61" y="29"/>
                    </a:cubicBezTo>
                    <a:cubicBezTo>
                      <a:pt x="50" y="37"/>
                      <a:pt x="50" y="37"/>
                      <a:pt x="50" y="37"/>
                    </a:cubicBezTo>
                    <a:cubicBezTo>
                      <a:pt x="45" y="39"/>
                      <a:pt x="33" y="47"/>
                      <a:pt x="27" y="52"/>
                    </a:cubicBezTo>
                    <a:cubicBezTo>
                      <a:pt x="27" y="52"/>
                      <a:pt x="27" y="52"/>
                      <a:pt x="27" y="52"/>
                    </a:cubicBezTo>
                    <a:cubicBezTo>
                      <a:pt x="27" y="52"/>
                      <a:pt x="28" y="52"/>
                      <a:pt x="28" y="52"/>
                    </a:cubicBezTo>
                    <a:cubicBezTo>
                      <a:pt x="29" y="53"/>
                      <a:pt x="29" y="53"/>
                      <a:pt x="29" y="53"/>
                    </a:cubicBezTo>
                    <a:cubicBezTo>
                      <a:pt x="29" y="53"/>
                      <a:pt x="30" y="53"/>
                      <a:pt x="30" y="54"/>
                    </a:cubicBezTo>
                    <a:cubicBezTo>
                      <a:pt x="38" y="51"/>
                      <a:pt x="38" y="51"/>
                      <a:pt x="38" y="51"/>
                    </a:cubicBezTo>
                    <a:cubicBezTo>
                      <a:pt x="39" y="55"/>
                      <a:pt x="39" y="55"/>
                      <a:pt x="39" y="55"/>
                    </a:cubicBezTo>
                    <a:cubicBezTo>
                      <a:pt x="39" y="56"/>
                      <a:pt x="39" y="56"/>
                      <a:pt x="39" y="57"/>
                    </a:cubicBezTo>
                    <a:cubicBezTo>
                      <a:pt x="40" y="59"/>
                      <a:pt x="40" y="60"/>
                      <a:pt x="41" y="60"/>
                    </a:cubicBezTo>
                    <a:cubicBezTo>
                      <a:pt x="41" y="60"/>
                      <a:pt x="41" y="61"/>
                      <a:pt x="42" y="61"/>
                    </a:cubicBezTo>
                    <a:cubicBezTo>
                      <a:pt x="45" y="62"/>
                      <a:pt x="49" y="63"/>
                      <a:pt x="53" y="63"/>
                    </a:cubicBezTo>
                    <a:cubicBezTo>
                      <a:pt x="53" y="62"/>
                      <a:pt x="53" y="61"/>
                      <a:pt x="54" y="59"/>
                    </a:cubicBezTo>
                    <a:cubicBezTo>
                      <a:pt x="55" y="55"/>
                      <a:pt x="55" y="55"/>
                      <a:pt x="55" y="55"/>
                    </a:cubicBezTo>
                    <a:cubicBezTo>
                      <a:pt x="58" y="57"/>
                      <a:pt x="58" y="57"/>
                      <a:pt x="58" y="57"/>
                    </a:cubicBezTo>
                    <a:cubicBezTo>
                      <a:pt x="58" y="51"/>
                      <a:pt x="58" y="51"/>
                      <a:pt x="58" y="51"/>
                    </a:cubicBezTo>
                    <a:cubicBezTo>
                      <a:pt x="63" y="52"/>
                      <a:pt x="63" y="52"/>
                      <a:pt x="63" y="52"/>
                    </a:cubicBezTo>
                    <a:cubicBezTo>
                      <a:pt x="69" y="54"/>
                      <a:pt x="71" y="57"/>
                      <a:pt x="73" y="61"/>
                    </a:cubicBezTo>
                    <a:cubicBezTo>
                      <a:pt x="74" y="62"/>
                      <a:pt x="74" y="62"/>
                      <a:pt x="74" y="62"/>
                    </a:cubicBezTo>
                    <a:cubicBezTo>
                      <a:pt x="74" y="62"/>
                      <a:pt x="74" y="62"/>
                      <a:pt x="74" y="62"/>
                    </a:cubicBezTo>
                    <a:cubicBezTo>
                      <a:pt x="74" y="62"/>
                      <a:pt x="75" y="61"/>
                      <a:pt x="76" y="61"/>
                    </a:cubicBezTo>
                    <a:cubicBezTo>
                      <a:pt x="77" y="61"/>
                      <a:pt x="78" y="62"/>
                      <a:pt x="80" y="62"/>
                    </a:cubicBezTo>
                    <a:cubicBezTo>
                      <a:pt x="81" y="64"/>
                      <a:pt x="81" y="65"/>
                      <a:pt x="81" y="68"/>
                    </a:cubicBezTo>
                    <a:cubicBezTo>
                      <a:pt x="82" y="68"/>
                      <a:pt x="82" y="68"/>
                      <a:pt x="83" y="68"/>
                    </a:cubicBezTo>
                    <a:cubicBezTo>
                      <a:pt x="85" y="61"/>
                      <a:pt x="85" y="61"/>
                      <a:pt x="85" y="61"/>
                    </a:cubicBezTo>
                    <a:cubicBezTo>
                      <a:pt x="85" y="68"/>
                      <a:pt x="85" y="68"/>
                      <a:pt x="85" y="68"/>
                    </a:cubicBezTo>
                    <a:cubicBezTo>
                      <a:pt x="87" y="69"/>
                      <a:pt x="87" y="69"/>
                      <a:pt x="87" y="69"/>
                    </a:cubicBezTo>
                    <a:cubicBezTo>
                      <a:pt x="88" y="69"/>
                      <a:pt x="89" y="70"/>
                      <a:pt x="90" y="70"/>
                    </a:cubicBezTo>
                    <a:cubicBezTo>
                      <a:pt x="91" y="71"/>
                      <a:pt x="92" y="72"/>
                      <a:pt x="92" y="73"/>
                    </a:cubicBezTo>
                    <a:cubicBezTo>
                      <a:pt x="94" y="73"/>
                      <a:pt x="98" y="73"/>
                      <a:pt x="101" y="73"/>
                    </a:cubicBezTo>
                    <a:cubicBezTo>
                      <a:pt x="103" y="73"/>
                      <a:pt x="104" y="74"/>
                      <a:pt x="106" y="74"/>
                    </a:cubicBezTo>
                    <a:cubicBezTo>
                      <a:pt x="110" y="74"/>
                      <a:pt x="110" y="74"/>
                      <a:pt x="110" y="74"/>
                    </a:cubicBezTo>
                    <a:cubicBezTo>
                      <a:pt x="109" y="78"/>
                      <a:pt x="109" y="78"/>
                      <a:pt x="109" y="78"/>
                    </a:cubicBezTo>
                    <a:cubicBezTo>
                      <a:pt x="108" y="80"/>
                      <a:pt x="107" y="81"/>
                      <a:pt x="106" y="82"/>
                    </a:cubicBezTo>
                    <a:cubicBezTo>
                      <a:pt x="105" y="82"/>
                      <a:pt x="105" y="82"/>
                      <a:pt x="105" y="82"/>
                    </a:cubicBezTo>
                    <a:cubicBezTo>
                      <a:pt x="105" y="83"/>
                      <a:pt x="104" y="83"/>
                      <a:pt x="104" y="84"/>
                    </a:cubicBezTo>
                    <a:cubicBezTo>
                      <a:pt x="102" y="84"/>
                      <a:pt x="101" y="85"/>
                      <a:pt x="100" y="85"/>
                    </a:cubicBezTo>
                    <a:cubicBezTo>
                      <a:pt x="99" y="85"/>
                      <a:pt x="99" y="85"/>
                      <a:pt x="99" y="85"/>
                    </a:cubicBezTo>
                    <a:cubicBezTo>
                      <a:pt x="98" y="86"/>
                      <a:pt x="98" y="86"/>
                      <a:pt x="98" y="86"/>
                    </a:cubicBezTo>
                    <a:cubicBezTo>
                      <a:pt x="98" y="86"/>
                      <a:pt x="98" y="86"/>
                      <a:pt x="98" y="86"/>
                    </a:cubicBezTo>
                    <a:cubicBezTo>
                      <a:pt x="98" y="86"/>
                      <a:pt x="97" y="87"/>
                      <a:pt x="97" y="87"/>
                    </a:cubicBezTo>
                    <a:cubicBezTo>
                      <a:pt x="96" y="89"/>
                      <a:pt x="95" y="91"/>
                      <a:pt x="92" y="92"/>
                    </a:cubicBezTo>
                    <a:cubicBezTo>
                      <a:pt x="92" y="92"/>
                      <a:pt x="92" y="92"/>
                      <a:pt x="92" y="92"/>
                    </a:cubicBezTo>
                    <a:cubicBezTo>
                      <a:pt x="91" y="92"/>
                      <a:pt x="91" y="92"/>
                      <a:pt x="90" y="92"/>
                    </a:cubicBezTo>
                    <a:cubicBezTo>
                      <a:pt x="89" y="92"/>
                      <a:pt x="88" y="91"/>
                      <a:pt x="88" y="91"/>
                    </a:cubicBezTo>
                    <a:cubicBezTo>
                      <a:pt x="88" y="92"/>
                      <a:pt x="88" y="92"/>
                      <a:pt x="88" y="92"/>
                    </a:cubicBezTo>
                    <a:cubicBezTo>
                      <a:pt x="89" y="98"/>
                      <a:pt x="89" y="98"/>
                      <a:pt x="89" y="98"/>
                    </a:cubicBezTo>
                    <a:cubicBezTo>
                      <a:pt x="82" y="96"/>
                      <a:pt x="82" y="96"/>
                      <a:pt x="82" y="96"/>
                    </a:cubicBezTo>
                    <a:cubicBezTo>
                      <a:pt x="81" y="95"/>
                      <a:pt x="79" y="94"/>
                      <a:pt x="78" y="94"/>
                    </a:cubicBezTo>
                    <a:cubicBezTo>
                      <a:pt x="78" y="95"/>
                      <a:pt x="78" y="95"/>
                      <a:pt x="78" y="95"/>
                    </a:cubicBezTo>
                    <a:cubicBezTo>
                      <a:pt x="78" y="95"/>
                      <a:pt x="78" y="95"/>
                      <a:pt x="78" y="95"/>
                    </a:cubicBezTo>
                    <a:cubicBezTo>
                      <a:pt x="77" y="98"/>
                      <a:pt x="76" y="99"/>
                      <a:pt x="74" y="101"/>
                    </a:cubicBezTo>
                    <a:cubicBezTo>
                      <a:pt x="72" y="101"/>
                      <a:pt x="72" y="101"/>
                      <a:pt x="72" y="101"/>
                    </a:cubicBezTo>
                    <a:cubicBezTo>
                      <a:pt x="70" y="102"/>
                      <a:pt x="68" y="103"/>
                      <a:pt x="65" y="103"/>
                    </a:cubicBezTo>
                    <a:cubicBezTo>
                      <a:pt x="63" y="103"/>
                      <a:pt x="62" y="103"/>
                      <a:pt x="59" y="102"/>
                    </a:cubicBezTo>
                    <a:cubicBezTo>
                      <a:pt x="59" y="101"/>
                      <a:pt x="58" y="101"/>
                      <a:pt x="57" y="100"/>
                    </a:cubicBezTo>
                    <a:cubicBezTo>
                      <a:pt x="56" y="100"/>
                      <a:pt x="56" y="100"/>
                      <a:pt x="56" y="100"/>
                    </a:cubicBezTo>
                    <a:cubicBezTo>
                      <a:pt x="55" y="100"/>
                      <a:pt x="54" y="99"/>
                      <a:pt x="54" y="99"/>
                    </a:cubicBezTo>
                    <a:cubicBezTo>
                      <a:pt x="54" y="99"/>
                      <a:pt x="54" y="99"/>
                      <a:pt x="54" y="99"/>
                    </a:cubicBezTo>
                    <a:cubicBezTo>
                      <a:pt x="54" y="99"/>
                      <a:pt x="53" y="99"/>
                      <a:pt x="53" y="99"/>
                    </a:cubicBezTo>
                    <a:cubicBezTo>
                      <a:pt x="53" y="99"/>
                      <a:pt x="52" y="99"/>
                      <a:pt x="52" y="99"/>
                    </a:cubicBezTo>
                    <a:cubicBezTo>
                      <a:pt x="51" y="99"/>
                      <a:pt x="51" y="99"/>
                      <a:pt x="50" y="99"/>
                    </a:cubicBezTo>
                    <a:cubicBezTo>
                      <a:pt x="49" y="99"/>
                      <a:pt x="48" y="99"/>
                      <a:pt x="48" y="100"/>
                    </a:cubicBezTo>
                    <a:cubicBezTo>
                      <a:pt x="47" y="100"/>
                      <a:pt x="47" y="100"/>
                      <a:pt x="47" y="100"/>
                    </a:cubicBezTo>
                    <a:cubicBezTo>
                      <a:pt x="46" y="100"/>
                      <a:pt x="46" y="100"/>
                      <a:pt x="46" y="100"/>
                    </a:cubicBezTo>
                    <a:cubicBezTo>
                      <a:pt x="44" y="101"/>
                      <a:pt x="44" y="101"/>
                      <a:pt x="44" y="101"/>
                    </a:cubicBezTo>
                    <a:cubicBezTo>
                      <a:pt x="42" y="103"/>
                      <a:pt x="42" y="103"/>
                      <a:pt x="42" y="103"/>
                    </a:cubicBezTo>
                    <a:cubicBezTo>
                      <a:pt x="41" y="104"/>
                      <a:pt x="41" y="104"/>
                      <a:pt x="41" y="104"/>
                    </a:cubicBezTo>
                    <a:cubicBezTo>
                      <a:pt x="40" y="104"/>
                      <a:pt x="40" y="104"/>
                      <a:pt x="40" y="104"/>
                    </a:cubicBezTo>
                    <a:cubicBezTo>
                      <a:pt x="40" y="105"/>
                      <a:pt x="39" y="105"/>
                      <a:pt x="38" y="106"/>
                    </a:cubicBezTo>
                    <a:cubicBezTo>
                      <a:pt x="38" y="106"/>
                      <a:pt x="38" y="106"/>
                      <a:pt x="38" y="106"/>
                    </a:cubicBezTo>
                    <a:cubicBezTo>
                      <a:pt x="38" y="106"/>
                      <a:pt x="38" y="106"/>
                      <a:pt x="38" y="106"/>
                    </a:cubicBezTo>
                    <a:cubicBezTo>
                      <a:pt x="37" y="107"/>
                      <a:pt x="37" y="107"/>
                      <a:pt x="36" y="107"/>
                    </a:cubicBezTo>
                    <a:cubicBezTo>
                      <a:pt x="35" y="108"/>
                      <a:pt x="35" y="108"/>
                      <a:pt x="35" y="108"/>
                    </a:cubicBezTo>
                    <a:cubicBezTo>
                      <a:pt x="35" y="109"/>
                      <a:pt x="34" y="109"/>
                      <a:pt x="34" y="109"/>
                    </a:cubicBezTo>
                    <a:cubicBezTo>
                      <a:pt x="34" y="109"/>
                      <a:pt x="34" y="109"/>
                      <a:pt x="34" y="109"/>
                    </a:cubicBezTo>
                    <a:cubicBezTo>
                      <a:pt x="33" y="110"/>
                      <a:pt x="33" y="110"/>
                      <a:pt x="33" y="110"/>
                    </a:cubicBezTo>
                    <a:cubicBezTo>
                      <a:pt x="33" y="110"/>
                      <a:pt x="33" y="110"/>
                      <a:pt x="33" y="110"/>
                    </a:cubicBezTo>
                    <a:cubicBezTo>
                      <a:pt x="33" y="110"/>
                      <a:pt x="33" y="110"/>
                      <a:pt x="33" y="110"/>
                    </a:cubicBezTo>
                    <a:cubicBezTo>
                      <a:pt x="32" y="111"/>
                      <a:pt x="32" y="111"/>
                      <a:pt x="32" y="111"/>
                    </a:cubicBezTo>
                    <a:cubicBezTo>
                      <a:pt x="30" y="111"/>
                      <a:pt x="30" y="111"/>
                      <a:pt x="29" y="111"/>
                    </a:cubicBezTo>
                    <a:cubicBezTo>
                      <a:pt x="26" y="111"/>
                      <a:pt x="26" y="111"/>
                      <a:pt x="26" y="111"/>
                    </a:cubicBezTo>
                    <a:cubicBezTo>
                      <a:pt x="25" y="108"/>
                      <a:pt x="25" y="108"/>
                      <a:pt x="25" y="108"/>
                    </a:cubicBezTo>
                    <a:cubicBezTo>
                      <a:pt x="25" y="107"/>
                      <a:pt x="26" y="107"/>
                      <a:pt x="26" y="106"/>
                    </a:cubicBezTo>
                    <a:cubicBezTo>
                      <a:pt x="22" y="104"/>
                      <a:pt x="17" y="102"/>
                      <a:pt x="14" y="102"/>
                    </a:cubicBezTo>
                    <a:cubicBezTo>
                      <a:pt x="13" y="102"/>
                      <a:pt x="11" y="103"/>
                      <a:pt x="8" y="104"/>
                    </a:cubicBezTo>
                    <a:cubicBezTo>
                      <a:pt x="8" y="104"/>
                      <a:pt x="8" y="104"/>
                      <a:pt x="8" y="104"/>
                    </a:cubicBezTo>
                    <a:cubicBezTo>
                      <a:pt x="7" y="104"/>
                      <a:pt x="6" y="105"/>
                      <a:pt x="5" y="105"/>
                    </a:cubicBezTo>
                    <a:cubicBezTo>
                      <a:pt x="5" y="105"/>
                      <a:pt x="5" y="105"/>
                      <a:pt x="5" y="105"/>
                    </a:cubicBezTo>
                    <a:cubicBezTo>
                      <a:pt x="5" y="105"/>
                      <a:pt x="4" y="105"/>
                      <a:pt x="3" y="108"/>
                    </a:cubicBezTo>
                    <a:cubicBezTo>
                      <a:pt x="2" y="109"/>
                      <a:pt x="2" y="109"/>
                      <a:pt x="2" y="110"/>
                    </a:cubicBezTo>
                    <a:cubicBezTo>
                      <a:pt x="0" y="112"/>
                      <a:pt x="0" y="112"/>
                      <a:pt x="0" y="112"/>
                    </a:cubicBezTo>
                    <a:cubicBezTo>
                      <a:pt x="0" y="118"/>
                      <a:pt x="0" y="118"/>
                      <a:pt x="0" y="118"/>
                    </a:cubicBezTo>
                    <a:cubicBezTo>
                      <a:pt x="5" y="117"/>
                      <a:pt x="10" y="117"/>
                      <a:pt x="15" y="117"/>
                    </a:cubicBezTo>
                    <a:cubicBezTo>
                      <a:pt x="20" y="117"/>
                      <a:pt x="25" y="117"/>
                      <a:pt x="29" y="118"/>
                    </a:cubicBezTo>
                    <a:cubicBezTo>
                      <a:pt x="35" y="119"/>
                      <a:pt x="39" y="120"/>
                      <a:pt x="44" y="121"/>
                    </a:cubicBezTo>
                    <a:cubicBezTo>
                      <a:pt x="45" y="116"/>
                      <a:pt x="45" y="116"/>
                      <a:pt x="45" y="116"/>
                    </a:cubicBezTo>
                    <a:cubicBezTo>
                      <a:pt x="46" y="122"/>
                      <a:pt x="46" y="122"/>
                      <a:pt x="46" y="122"/>
                    </a:cubicBezTo>
                    <a:cubicBezTo>
                      <a:pt x="47" y="121"/>
                      <a:pt x="51" y="119"/>
                      <a:pt x="53" y="118"/>
                    </a:cubicBezTo>
                    <a:cubicBezTo>
                      <a:pt x="54" y="118"/>
                      <a:pt x="54" y="118"/>
                      <a:pt x="54" y="118"/>
                    </a:cubicBezTo>
                    <a:cubicBezTo>
                      <a:pt x="56" y="117"/>
                      <a:pt x="57" y="116"/>
                      <a:pt x="57" y="116"/>
                    </a:cubicBezTo>
                    <a:cubicBezTo>
                      <a:pt x="62" y="114"/>
                      <a:pt x="62" y="114"/>
                      <a:pt x="62" y="114"/>
                    </a:cubicBezTo>
                    <a:cubicBezTo>
                      <a:pt x="62" y="120"/>
                      <a:pt x="62" y="120"/>
                      <a:pt x="62" y="120"/>
                    </a:cubicBezTo>
                    <a:cubicBezTo>
                      <a:pt x="62" y="120"/>
                      <a:pt x="62" y="120"/>
                      <a:pt x="62" y="120"/>
                    </a:cubicBezTo>
                    <a:cubicBezTo>
                      <a:pt x="68" y="120"/>
                      <a:pt x="69" y="125"/>
                      <a:pt x="69" y="126"/>
                    </a:cubicBezTo>
                    <a:cubicBezTo>
                      <a:pt x="70" y="126"/>
                      <a:pt x="70" y="126"/>
                      <a:pt x="70" y="126"/>
                    </a:cubicBezTo>
                    <a:cubicBezTo>
                      <a:pt x="71" y="126"/>
                      <a:pt x="71" y="126"/>
                      <a:pt x="71" y="126"/>
                    </a:cubicBezTo>
                    <a:cubicBezTo>
                      <a:pt x="74" y="127"/>
                      <a:pt x="77" y="127"/>
                      <a:pt x="79" y="128"/>
                    </a:cubicBezTo>
                    <a:cubicBezTo>
                      <a:pt x="81" y="125"/>
                      <a:pt x="84" y="123"/>
                      <a:pt x="89" y="123"/>
                    </a:cubicBezTo>
                    <a:cubicBezTo>
                      <a:pt x="90" y="123"/>
                      <a:pt x="90" y="123"/>
                      <a:pt x="90" y="123"/>
                    </a:cubicBezTo>
                    <a:cubicBezTo>
                      <a:pt x="96" y="123"/>
                      <a:pt x="96" y="123"/>
                      <a:pt x="96" y="123"/>
                    </a:cubicBezTo>
                    <a:cubicBezTo>
                      <a:pt x="98" y="123"/>
                      <a:pt x="101" y="123"/>
                      <a:pt x="104" y="123"/>
                    </a:cubicBezTo>
                    <a:cubicBezTo>
                      <a:pt x="105" y="122"/>
                      <a:pt x="106" y="122"/>
                      <a:pt x="108" y="122"/>
                    </a:cubicBezTo>
                    <a:cubicBezTo>
                      <a:pt x="111" y="122"/>
                      <a:pt x="111" y="122"/>
                      <a:pt x="111" y="122"/>
                    </a:cubicBezTo>
                    <a:cubicBezTo>
                      <a:pt x="113" y="121"/>
                      <a:pt x="115" y="121"/>
                      <a:pt x="117" y="121"/>
                    </a:cubicBezTo>
                    <a:cubicBezTo>
                      <a:pt x="117" y="120"/>
                      <a:pt x="117" y="120"/>
                      <a:pt x="117" y="120"/>
                    </a:cubicBezTo>
                    <a:cubicBezTo>
                      <a:pt x="119" y="120"/>
                      <a:pt x="119" y="120"/>
                      <a:pt x="119" y="120"/>
                    </a:cubicBezTo>
                    <a:cubicBezTo>
                      <a:pt x="121" y="119"/>
                      <a:pt x="121" y="119"/>
                      <a:pt x="121" y="119"/>
                    </a:cubicBezTo>
                    <a:cubicBezTo>
                      <a:pt x="121" y="119"/>
                      <a:pt x="122" y="119"/>
                      <a:pt x="122" y="118"/>
                    </a:cubicBezTo>
                    <a:cubicBezTo>
                      <a:pt x="124" y="118"/>
                      <a:pt x="124" y="118"/>
                      <a:pt x="124" y="118"/>
                    </a:cubicBezTo>
                    <a:cubicBezTo>
                      <a:pt x="124" y="117"/>
                      <a:pt x="124" y="117"/>
                      <a:pt x="124" y="117"/>
                    </a:cubicBezTo>
                    <a:cubicBezTo>
                      <a:pt x="124" y="116"/>
                      <a:pt x="124" y="115"/>
                      <a:pt x="124" y="114"/>
                    </a:cubicBezTo>
                    <a:cubicBezTo>
                      <a:pt x="125" y="112"/>
                      <a:pt x="125" y="112"/>
                      <a:pt x="125" y="112"/>
                    </a:cubicBezTo>
                    <a:cubicBezTo>
                      <a:pt x="125" y="111"/>
                      <a:pt x="125" y="110"/>
                      <a:pt x="125" y="110"/>
                    </a:cubicBezTo>
                    <a:cubicBezTo>
                      <a:pt x="125" y="109"/>
                      <a:pt x="125" y="109"/>
                      <a:pt x="125" y="109"/>
                    </a:cubicBezTo>
                    <a:cubicBezTo>
                      <a:pt x="126" y="108"/>
                      <a:pt x="126" y="108"/>
                      <a:pt x="126" y="107"/>
                    </a:cubicBezTo>
                    <a:cubicBezTo>
                      <a:pt x="126" y="105"/>
                      <a:pt x="127" y="101"/>
                      <a:pt x="130" y="100"/>
                    </a:cubicBezTo>
                    <a:cubicBezTo>
                      <a:pt x="139" y="97"/>
                      <a:pt x="139" y="97"/>
                      <a:pt x="139" y="97"/>
                    </a:cubicBezTo>
                    <a:cubicBezTo>
                      <a:pt x="139" y="97"/>
                      <a:pt x="140" y="96"/>
                      <a:pt x="140" y="96"/>
                    </a:cubicBezTo>
                    <a:cubicBezTo>
                      <a:pt x="141" y="96"/>
                      <a:pt x="141" y="96"/>
                      <a:pt x="141" y="96"/>
                    </a:cubicBezTo>
                    <a:cubicBezTo>
                      <a:pt x="144" y="95"/>
                      <a:pt x="148" y="94"/>
                      <a:pt x="151" y="93"/>
                    </a:cubicBezTo>
                    <a:cubicBezTo>
                      <a:pt x="151" y="93"/>
                      <a:pt x="151" y="93"/>
                      <a:pt x="151" y="93"/>
                    </a:cubicBezTo>
                    <a:cubicBezTo>
                      <a:pt x="151" y="92"/>
                      <a:pt x="151" y="92"/>
                      <a:pt x="151" y="92"/>
                    </a:cubicBezTo>
                    <a:cubicBezTo>
                      <a:pt x="150" y="90"/>
                      <a:pt x="150" y="89"/>
                      <a:pt x="150" y="89"/>
                    </a:cubicBezTo>
                    <a:cubicBezTo>
                      <a:pt x="150" y="85"/>
                      <a:pt x="150" y="85"/>
                      <a:pt x="150" y="85"/>
                    </a:cubicBezTo>
                    <a:cubicBezTo>
                      <a:pt x="155" y="85"/>
                      <a:pt x="155" y="85"/>
                      <a:pt x="155" y="85"/>
                    </a:cubicBezTo>
                    <a:cubicBezTo>
                      <a:pt x="155" y="86"/>
                      <a:pt x="156" y="86"/>
                      <a:pt x="157" y="86"/>
                    </a:cubicBezTo>
                    <a:cubicBezTo>
                      <a:pt x="157" y="86"/>
                      <a:pt x="158" y="86"/>
                      <a:pt x="159" y="86"/>
                    </a:cubicBezTo>
                    <a:cubicBezTo>
                      <a:pt x="160" y="86"/>
                      <a:pt x="161" y="87"/>
                      <a:pt x="162" y="87"/>
                    </a:cubicBezTo>
                    <a:cubicBezTo>
                      <a:pt x="163" y="87"/>
                      <a:pt x="164" y="86"/>
                      <a:pt x="167" y="85"/>
                    </a:cubicBezTo>
                    <a:cubicBezTo>
                      <a:pt x="167" y="84"/>
                      <a:pt x="167" y="84"/>
                      <a:pt x="167" y="84"/>
                    </a:cubicBezTo>
                    <a:cubicBezTo>
                      <a:pt x="168" y="84"/>
                      <a:pt x="168" y="84"/>
                      <a:pt x="168" y="84"/>
                    </a:cubicBezTo>
                    <a:cubicBezTo>
                      <a:pt x="169" y="83"/>
                      <a:pt x="171" y="81"/>
                      <a:pt x="173" y="81"/>
                    </a:cubicBezTo>
                    <a:cubicBezTo>
                      <a:pt x="174" y="81"/>
                      <a:pt x="174" y="81"/>
                      <a:pt x="174" y="81"/>
                    </a:cubicBezTo>
                    <a:cubicBezTo>
                      <a:pt x="174" y="81"/>
                      <a:pt x="174" y="81"/>
                      <a:pt x="174" y="81"/>
                    </a:cubicBezTo>
                    <a:cubicBezTo>
                      <a:pt x="175" y="81"/>
                      <a:pt x="175" y="81"/>
                      <a:pt x="175" y="81"/>
                    </a:cubicBezTo>
                    <a:cubicBezTo>
                      <a:pt x="176" y="81"/>
                      <a:pt x="176" y="81"/>
                      <a:pt x="176" y="81"/>
                    </a:cubicBezTo>
                    <a:cubicBezTo>
                      <a:pt x="177" y="82"/>
                      <a:pt x="177" y="82"/>
                      <a:pt x="177" y="82"/>
                    </a:cubicBezTo>
                    <a:cubicBezTo>
                      <a:pt x="179" y="83"/>
                      <a:pt x="179" y="85"/>
                      <a:pt x="179" y="86"/>
                    </a:cubicBezTo>
                    <a:cubicBezTo>
                      <a:pt x="180" y="87"/>
                      <a:pt x="180" y="89"/>
                      <a:pt x="180" y="90"/>
                    </a:cubicBezTo>
                    <a:cubicBezTo>
                      <a:pt x="180" y="91"/>
                      <a:pt x="181" y="91"/>
                      <a:pt x="181" y="92"/>
                    </a:cubicBezTo>
                    <a:cubicBezTo>
                      <a:pt x="181" y="92"/>
                      <a:pt x="181" y="92"/>
                      <a:pt x="181" y="92"/>
                    </a:cubicBezTo>
                    <a:cubicBezTo>
                      <a:pt x="182" y="92"/>
                      <a:pt x="182" y="92"/>
                      <a:pt x="182" y="92"/>
                    </a:cubicBezTo>
                    <a:cubicBezTo>
                      <a:pt x="183" y="92"/>
                      <a:pt x="183" y="92"/>
                      <a:pt x="183" y="92"/>
                    </a:cubicBezTo>
                    <a:cubicBezTo>
                      <a:pt x="183" y="91"/>
                      <a:pt x="184" y="91"/>
                      <a:pt x="185" y="90"/>
                    </a:cubicBezTo>
                    <a:cubicBezTo>
                      <a:pt x="186" y="90"/>
                      <a:pt x="187" y="89"/>
                      <a:pt x="188" y="89"/>
                    </a:cubicBezTo>
                    <a:cubicBezTo>
                      <a:pt x="189" y="89"/>
                      <a:pt x="191" y="89"/>
                      <a:pt x="192" y="89"/>
                    </a:cubicBezTo>
                    <a:cubicBezTo>
                      <a:pt x="192" y="89"/>
                      <a:pt x="192" y="89"/>
                      <a:pt x="193" y="89"/>
                    </a:cubicBezTo>
                    <a:cubicBezTo>
                      <a:pt x="194" y="89"/>
                      <a:pt x="195" y="89"/>
                      <a:pt x="196" y="89"/>
                    </a:cubicBezTo>
                    <a:cubicBezTo>
                      <a:pt x="196" y="90"/>
                      <a:pt x="196" y="90"/>
                      <a:pt x="196" y="90"/>
                    </a:cubicBezTo>
                    <a:cubicBezTo>
                      <a:pt x="197" y="89"/>
                      <a:pt x="197" y="89"/>
                      <a:pt x="197" y="89"/>
                    </a:cubicBezTo>
                    <a:cubicBezTo>
                      <a:pt x="197" y="89"/>
                      <a:pt x="198" y="88"/>
                      <a:pt x="199" y="87"/>
                    </a:cubicBezTo>
                    <a:cubicBezTo>
                      <a:pt x="200" y="86"/>
                      <a:pt x="201" y="84"/>
                      <a:pt x="201" y="84"/>
                    </a:cubicBezTo>
                    <a:cubicBezTo>
                      <a:pt x="201" y="83"/>
                      <a:pt x="201" y="83"/>
                      <a:pt x="201" y="83"/>
                    </a:cubicBezTo>
                    <a:cubicBezTo>
                      <a:pt x="201" y="82"/>
                      <a:pt x="201" y="81"/>
                      <a:pt x="201" y="80"/>
                    </a:cubicBezTo>
                    <a:cubicBezTo>
                      <a:pt x="202" y="78"/>
                      <a:pt x="202" y="78"/>
                      <a:pt x="202" y="78"/>
                    </a:cubicBezTo>
                    <a:cubicBezTo>
                      <a:pt x="203" y="77"/>
                      <a:pt x="204" y="76"/>
                      <a:pt x="205" y="75"/>
                    </a:cubicBezTo>
                    <a:cubicBezTo>
                      <a:pt x="206" y="75"/>
                      <a:pt x="206" y="74"/>
                      <a:pt x="207" y="73"/>
                    </a:cubicBezTo>
                    <a:cubicBezTo>
                      <a:pt x="209" y="71"/>
                      <a:pt x="211" y="68"/>
                      <a:pt x="214" y="67"/>
                    </a:cubicBezTo>
                    <a:cubicBezTo>
                      <a:pt x="217" y="66"/>
                      <a:pt x="222" y="66"/>
                      <a:pt x="225" y="65"/>
                    </a:cubicBezTo>
                    <a:cubicBezTo>
                      <a:pt x="227" y="65"/>
                      <a:pt x="228" y="65"/>
                      <a:pt x="230" y="65"/>
                    </a:cubicBezTo>
                    <a:cubicBezTo>
                      <a:pt x="232" y="65"/>
                      <a:pt x="232" y="65"/>
                      <a:pt x="232" y="65"/>
                    </a:cubicBezTo>
                    <a:cubicBezTo>
                      <a:pt x="235" y="65"/>
                      <a:pt x="238" y="64"/>
                      <a:pt x="241" y="64"/>
                    </a:cubicBezTo>
                    <a:cubicBezTo>
                      <a:pt x="248" y="63"/>
                      <a:pt x="248" y="63"/>
                      <a:pt x="248" y="63"/>
                    </a:cubicBezTo>
                    <a:cubicBezTo>
                      <a:pt x="249" y="63"/>
                      <a:pt x="249" y="63"/>
                      <a:pt x="249" y="63"/>
                    </a:cubicBezTo>
                    <a:cubicBezTo>
                      <a:pt x="249" y="62"/>
                      <a:pt x="250" y="61"/>
                      <a:pt x="251" y="61"/>
                    </a:cubicBezTo>
                    <a:cubicBezTo>
                      <a:pt x="252" y="60"/>
                      <a:pt x="252" y="60"/>
                      <a:pt x="252" y="60"/>
                    </a:cubicBezTo>
                    <a:cubicBezTo>
                      <a:pt x="252" y="59"/>
                      <a:pt x="252" y="59"/>
                      <a:pt x="253" y="58"/>
                    </a:cubicBezTo>
                    <a:cubicBezTo>
                      <a:pt x="253" y="58"/>
                      <a:pt x="254" y="57"/>
                      <a:pt x="255" y="56"/>
                    </a:cubicBezTo>
                    <a:cubicBezTo>
                      <a:pt x="257" y="54"/>
                      <a:pt x="259" y="51"/>
                      <a:pt x="262" y="50"/>
                    </a:cubicBezTo>
                    <a:cubicBezTo>
                      <a:pt x="263" y="50"/>
                      <a:pt x="263" y="50"/>
                      <a:pt x="263" y="50"/>
                    </a:cubicBezTo>
                    <a:cubicBezTo>
                      <a:pt x="266" y="48"/>
                      <a:pt x="270" y="46"/>
                      <a:pt x="274" y="45"/>
                    </a:cubicBezTo>
                    <a:cubicBezTo>
                      <a:pt x="275" y="44"/>
                      <a:pt x="275" y="44"/>
                      <a:pt x="275" y="44"/>
                    </a:cubicBezTo>
                    <a:cubicBezTo>
                      <a:pt x="277" y="44"/>
                      <a:pt x="278" y="43"/>
                      <a:pt x="280" y="43"/>
                    </a:cubicBezTo>
                    <a:cubicBezTo>
                      <a:pt x="285" y="40"/>
                      <a:pt x="291" y="38"/>
                      <a:pt x="297" y="36"/>
                    </a:cubicBezTo>
                    <a:cubicBezTo>
                      <a:pt x="302" y="35"/>
                      <a:pt x="302" y="35"/>
                      <a:pt x="302" y="35"/>
                    </a:cubicBezTo>
                    <a:cubicBezTo>
                      <a:pt x="303" y="34"/>
                      <a:pt x="303" y="34"/>
                      <a:pt x="303" y="34"/>
                    </a:cubicBezTo>
                    <a:cubicBezTo>
                      <a:pt x="303" y="33"/>
                      <a:pt x="303" y="33"/>
                      <a:pt x="303" y="33"/>
                    </a:cubicBezTo>
                    <a:cubicBezTo>
                      <a:pt x="303" y="33"/>
                      <a:pt x="303" y="33"/>
                      <a:pt x="303" y="33"/>
                    </a:cubicBezTo>
                    <a:cubicBezTo>
                      <a:pt x="303" y="33"/>
                      <a:pt x="303" y="33"/>
                      <a:pt x="303" y="33"/>
                    </a:cubicBezTo>
                    <a:cubicBezTo>
                      <a:pt x="302" y="32"/>
                      <a:pt x="302" y="32"/>
                      <a:pt x="302" y="32"/>
                    </a:cubicBezTo>
                    <a:cubicBezTo>
                      <a:pt x="302" y="32"/>
                      <a:pt x="301" y="31"/>
                      <a:pt x="301" y="30"/>
                    </a:cubicBezTo>
                    <a:cubicBezTo>
                      <a:pt x="300" y="29"/>
                      <a:pt x="299" y="29"/>
                      <a:pt x="298" y="28"/>
                    </a:cubicBezTo>
                    <a:cubicBezTo>
                      <a:pt x="297" y="27"/>
                      <a:pt x="297" y="27"/>
                      <a:pt x="296" y="27"/>
                    </a:cubicBezTo>
                    <a:cubicBezTo>
                      <a:pt x="295" y="26"/>
                      <a:pt x="294" y="26"/>
                      <a:pt x="293" y="26"/>
                    </a:cubicBezTo>
                    <a:cubicBezTo>
                      <a:pt x="292" y="26"/>
                      <a:pt x="291" y="26"/>
                      <a:pt x="290" y="26"/>
                    </a:cubicBezTo>
                    <a:cubicBezTo>
                      <a:pt x="285" y="26"/>
                      <a:pt x="282" y="25"/>
                      <a:pt x="278" y="20"/>
                    </a:cubicBezTo>
                    <a:cubicBezTo>
                      <a:pt x="278" y="19"/>
                      <a:pt x="278" y="19"/>
                      <a:pt x="278" y="19"/>
                    </a:cubicBezTo>
                    <a:cubicBezTo>
                      <a:pt x="278" y="18"/>
                      <a:pt x="277" y="16"/>
                      <a:pt x="276" y="15"/>
                    </a:cubicBezTo>
                    <a:cubicBezTo>
                      <a:pt x="275" y="14"/>
                      <a:pt x="275" y="14"/>
                      <a:pt x="275" y="14"/>
                    </a:cubicBezTo>
                    <a:cubicBezTo>
                      <a:pt x="275" y="14"/>
                      <a:pt x="275" y="14"/>
                      <a:pt x="275" y="14"/>
                    </a:cubicBezTo>
                    <a:cubicBezTo>
                      <a:pt x="274" y="14"/>
                      <a:pt x="274" y="14"/>
                      <a:pt x="273" y="14"/>
                    </a:cubicBezTo>
                    <a:cubicBezTo>
                      <a:pt x="273" y="15"/>
                      <a:pt x="272" y="15"/>
                      <a:pt x="271" y="15"/>
                    </a:cubicBezTo>
                    <a:cubicBezTo>
                      <a:pt x="269" y="15"/>
                      <a:pt x="267" y="14"/>
                      <a:pt x="265" y="14"/>
                    </a:cubicBezTo>
                    <a:cubicBezTo>
                      <a:pt x="262" y="13"/>
                      <a:pt x="262" y="13"/>
                      <a:pt x="262" y="13"/>
                    </a:cubicBezTo>
                    <a:cubicBezTo>
                      <a:pt x="261" y="12"/>
                      <a:pt x="260" y="12"/>
                      <a:pt x="259" y="12"/>
                    </a:cubicBezTo>
                    <a:cubicBezTo>
                      <a:pt x="258" y="12"/>
                      <a:pt x="257" y="11"/>
                      <a:pt x="256" y="11"/>
                    </a:cubicBezTo>
                    <a:cubicBezTo>
                      <a:pt x="256" y="11"/>
                      <a:pt x="256" y="11"/>
                      <a:pt x="255" y="11"/>
                    </a:cubicBezTo>
                    <a:cubicBezTo>
                      <a:pt x="255" y="11"/>
                      <a:pt x="254" y="11"/>
                      <a:pt x="254" y="11"/>
                    </a:cubicBezTo>
                    <a:cubicBezTo>
                      <a:pt x="253" y="11"/>
                      <a:pt x="253" y="11"/>
                      <a:pt x="253" y="11"/>
                    </a:cubicBezTo>
                    <a:cubicBezTo>
                      <a:pt x="251" y="11"/>
                      <a:pt x="250" y="12"/>
                      <a:pt x="248" y="12"/>
                    </a:cubicBezTo>
                    <a:cubicBezTo>
                      <a:pt x="243" y="12"/>
                      <a:pt x="238" y="11"/>
                      <a:pt x="233" y="11"/>
                    </a:cubicBezTo>
                    <a:cubicBezTo>
                      <a:pt x="232" y="11"/>
                      <a:pt x="232" y="11"/>
                      <a:pt x="232" y="11"/>
                    </a:cubicBezTo>
                    <a:cubicBezTo>
                      <a:pt x="231" y="11"/>
                      <a:pt x="230" y="11"/>
                      <a:pt x="229" y="11"/>
                    </a:cubicBezTo>
                    <a:cubicBezTo>
                      <a:pt x="228" y="16"/>
                      <a:pt x="228" y="16"/>
                      <a:pt x="228" y="16"/>
                    </a:cubicBezTo>
                    <a:cubicBezTo>
                      <a:pt x="227" y="10"/>
                      <a:pt x="227" y="10"/>
                      <a:pt x="227" y="10"/>
                    </a:cubicBezTo>
                    <a:cubicBezTo>
                      <a:pt x="226" y="10"/>
                      <a:pt x="226" y="10"/>
                      <a:pt x="226" y="10"/>
                    </a:cubicBezTo>
                    <a:cubicBezTo>
                      <a:pt x="220" y="10"/>
                      <a:pt x="213" y="10"/>
                      <a:pt x="206" y="10"/>
                    </a:cubicBezTo>
                    <a:cubicBezTo>
                      <a:pt x="205" y="10"/>
                      <a:pt x="205" y="10"/>
                      <a:pt x="205" y="10"/>
                    </a:cubicBezTo>
                    <a:cubicBezTo>
                      <a:pt x="203" y="10"/>
                      <a:pt x="200" y="10"/>
                      <a:pt x="198" y="9"/>
                    </a:cubicBezTo>
                    <a:cubicBezTo>
                      <a:pt x="197" y="9"/>
                      <a:pt x="197" y="9"/>
                      <a:pt x="197" y="9"/>
                    </a:cubicBezTo>
                    <a:cubicBezTo>
                      <a:pt x="194" y="9"/>
                      <a:pt x="191" y="9"/>
                      <a:pt x="188" y="9"/>
                    </a:cubicBezTo>
                    <a:cubicBezTo>
                      <a:pt x="186" y="9"/>
                      <a:pt x="184" y="9"/>
                      <a:pt x="182" y="9"/>
                    </a:cubicBezTo>
                    <a:cubicBezTo>
                      <a:pt x="181" y="9"/>
                      <a:pt x="181" y="9"/>
                      <a:pt x="181" y="9"/>
                    </a:cubicBezTo>
                    <a:cubicBezTo>
                      <a:pt x="180" y="10"/>
                      <a:pt x="179" y="10"/>
                      <a:pt x="178" y="10"/>
                    </a:cubicBezTo>
                    <a:cubicBezTo>
                      <a:pt x="175" y="11"/>
                      <a:pt x="172" y="12"/>
                      <a:pt x="169" y="12"/>
                    </a:cubicBezTo>
                    <a:cubicBezTo>
                      <a:pt x="168" y="12"/>
                      <a:pt x="167" y="12"/>
                      <a:pt x="166" y="12"/>
                    </a:cubicBezTo>
                    <a:cubicBezTo>
                      <a:pt x="164" y="12"/>
                      <a:pt x="164" y="12"/>
                      <a:pt x="164" y="12"/>
                    </a:cubicBezTo>
                    <a:cubicBezTo>
                      <a:pt x="163" y="11"/>
                      <a:pt x="162" y="11"/>
                      <a:pt x="162" y="11"/>
                    </a:cubicBezTo>
                    <a:cubicBezTo>
                      <a:pt x="159" y="10"/>
                      <a:pt x="159" y="10"/>
                      <a:pt x="159" y="10"/>
                    </a:cubicBezTo>
                    <a:cubicBezTo>
                      <a:pt x="158" y="10"/>
                      <a:pt x="157" y="10"/>
                      <a:pt x="155" y="9"/>
                    </a:cubicBezTo>
                    <a:cubicBezTo>
                      <a:pt x="153" y="9"/>
                      <a:pt x="153" y="9"/>
                      <a:pt x="153" y="9"/>
                    </a:cubicBezTo>
                    <a:cubicBezTo>
                      <a:pt x="152" y="8"/>
                      <a:pt x="150" y="7"/>
                      <a:pt x="148" y="6"/>
                    </a:cubicBezTo>
                    <a:cubicBezTo>
                      <a:pt x="147" y="6"/>
                      <a:pt x="147" y="6"/>
                      <a:pt x="147" y="6"/>
                    </a:cubicBezTo>
                    <a:cubicBezTo>
                      <a:pt x="147" y="5"/>
                      <a:pt x="146" y="5"/>
                      <a:pt x="146" y="5"/>
                    </a:cubicBezTo>
                    <a:cubicBezTo>
                      <a:pt x="145" y="4"/>
                      <a:pt x="143" y="3"/>
                      <a:pt x="142" y="2"/>
                    </a:cubicBezTo>
                    <a:cubicBezTo>
                      <a:pt x="140" y="1"/>
                      <a:pt x="138" y="1"/>
                      <a:pt x="135" y="1"/>
                    </a:cubicBezTo>
                    <a:cubicBezTo>
                      <a:pt x="134" y="1"/>
                      <a:pt x="133" y="1"/>
                      <a:pt x="1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353"/>
              <p:cNvSpPr/>
              <p:nvPr/>
            </p:nvSpPr>
            <p:spPr bwMode="auto">
              <a:xfrm>
                <a:off x="10797389" y="4820132"/>
                <a:ext cx="3685" cy="3685"/>
              </a:xfrm>
              <a:custGeom>
                <a:gdLst>
                  <a:gd name="T0" fmla="*/ 0 w 1"/>
                  <a:gd name="T1" fmla="*/ 0 h 1"/>
                  <a:gd name="T2" fmla="*/ 0 w 1"/>
                  <a:gd name="T3" fmla="*/ 0 h 1"/>
                  <a:gd name="T4" fmla="*/ 0 w 1"/>
                  <a:gd name="T5" fmla="*/ 1 h 1"/>
                  <a:gd name="T6" fmla="*/ 1 w 1"/>
                  <a:gd name="T7" fmla="*/ 1 h 1"/>
                  <a:gd name="T8" fmla="*/ 0 w 1"/>
                  <a:gd name="T9" fmla="*/ 0 h 1"/>
                </a:gdLst>
                <a:cxnLst>
                  <a:cxn ang="0">
                    <a:pos x="T0" y="T1"/>
                  </a:cxn>
                  <a:cxn ang="0">
                    <a:pos x="T2" y="T3"/>
                  </a:cxn>
                  <a:cxn ang="0">
                    <a:pos x="T4" y="T5"/>
                  </a:cxn>
                  <a:cxn ang="0">
                    <a:pos x="T6" y="T7"/>
                  </a:cxn>
                  <a:cxn ang="0">
                    <a:pos x="T8" y="T9"/>
                  </a:cxn>
                </a:cxnLst>
                <a:rect l="0" t="0" r="r" b="b"/>
                <a:pathLst>
                  <a:path w="1" h="1">
                    <a:moveTo>
                      <a:pt x="0" y="0"/>
                    </a:moveTo>
                    <a:lnTo>
                      <a:pt x="0" y="0"/>
                    </a:lnTo>
                    <a:lnTo>
                      <a:pt x="0" y="1"/>
                    </a:lnTo>
                    <a:lnTo>
                      <a:pt x="1"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354"/>
              <p:cNvSpPr/>
              <p:nvPr/>
            </p:nvSpPr>
            <p:spPr bwMode="auto">
              <a:xfrm>
                <a:off x="10797389" y="4820132"/>
                <a:ext cx="3685" cy="3685"/>
              </a:xfrm>
              <a:custGeom>
                <a:gdLst>
                  <a:gd name="T0" fmla="*/ 0 w 1"/>
                  <a:gd name="T1" fmla="*/ 0 h 1"/>
                  <a:gd name="T2" fmla="*/ 0 w 1"/>
                  <a:gd name="T3" fmla="*/ 0 h 1"/>
                  <a:gd name="T4" fmla="*/ 0 w 1"/>
                  <a:gd name="T5" fmla="*/ 1 h 1"/>
                  <a:gd name="T6" fmla="*/ 1 w 1"/>
                  <a:gd name="T7" fmla="*/ 1 h 1"/>
                  <a:gd name="T8" fmla="*/ 0 w 1"/>
                  <a:gd name="T9" fmla="*/ 0 h 1"/>
                </a:gdLst>
                <a:cxnLst>
                  <a:cxn ang="0">
                    <a:pos x="T0" y="T1"/>
                  </a:cxn>
                  <a:cxn ang="0">
                    <a:pos x="T2" y="T3"/>
                  </a:cxn>
                  <a:cxn ang="0">
                    <a:pos x="T4" y="T5"/>
                  </a:cxn>
                  <a:cxn ang="0">
                    <a:pos x="T6" y="T7"/>
                  </a:cxn>
                  <a:cxn ang="0">
                    <a:pos x="T8" y="T9"/>
                  </a:cxn>
                </a:cxnLst>
                <a:rect l="0" t="0" r="r" b="b"/>
                <a:pathLst>
                  <a:path w="1" h="1">
                    <a:moveTo>
                      <a:pt x="0" y="0"/>
                    </a:moveTo>
                    <a:lnTo>
                      <a:pt x="0" y="0"/>
                    </a:lnTo>
                    <a:lnTo>
                      <a:pt x="0" y="1"/>
                    </a:lnTo>
                    <a:lnTo>
                      <a:pt x="1"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355"/>
              <p:cNvSpPr>
                <a:spLocks noEditPoints="1"/>
              </p:cNvSpPr>
              <p:nvPr/>
            </p:nvSpPr>
            <p:spPr bwMode="auto">
              <a:xfrm>
                <a:off x="9419156" y="4477416"/>
                <a:ext cx="1499842" cy="921279"/>
              </a:xfrm>
              <a:custGeom>
                <a:gdLst>
                  <a:gd name="T0" fmla="*/ 91 w 473"/>
                  <a:gd name="T1" fmla="*/ 13 h 290"/>
                  <a:gd name="T2" fmla="*/ 82 w 473"/>
                  <a:gd name="T3" fmla="*/ 1 h 290"/>
                  <a:gd name="T4" fmla="*/ 75 w 473"/>
                  <a:gd name="T5" fmla="*/ 11 h 290"/>
                  <a:gd name="T6" fmla="*/ 73 w 473"/>
                  <a:gd name="T7" fmla="*/ 30 h 290"/>
                  <a:gd name="T8" fmla="*/ 74 w 473"/>
                  <a:gd name="T9" fmla="*/ 39 h 290"/>
                  <a:gd name="T10" fmla="*/ 63 w 473"/>
                  <a:gd name="T11" fmla="*/ 50 h 290"/>
                  <a:gd name="T12" fmla="*/ 70 w 473"/>
                  <a:gd name="T13" fmla="*/ 12 h 290"/>
                  <a:gd name="T14" fmla="*/ 1 w 473"/>
                  <a:gd name="T15" fmla="*/ 30 h 290"/>
                  <a:gd name="T16" fmla="*/ 11 w 473"/>
                  <a:gd name="T17" fmla="*/ 152 h 290"/>
                  <a:gd name="T18" fmla="*/ 23 w 473"/>
                  <a:gd name="T19" fmla="*/ 151 h 290"/>
                  <a:gd name="T20" fmla="*/ 41 w 473"/>
                  <a:gd name="T21" fmla="*/ 124 h 290"/>
                  <a:gd name="T22" fmla="*/ 61 w 473"/>
                  <a:gd name="T23" fmla="*/ 112 h 290"/>
                  <a:gd name="T24" fmla="*/ 82 w 473"/>
                  <a:gd name="T25" fmla="*/ 110 h 290"/>
                  <a:gd name="T26" fmla="*/ 101 w 473"/>
                  <a:gd name="T27" fmla="*/ 118 h 290"/>
                  <a:gd name="T28" fmla="*/ 120 w 473"/>
                  <a:gd name="T29" fmla="*/ 142 h 290"/>
                  <a:gd name="T30" fmla="*/ 120 w 473"/>
                  <a:gd name="T31" fmla="*/ 152 h 290"/>
                  <a:gd name="T32" fmla="*/ 146 w 473"/>
                  <a:gd name="T33" fmla="*/ 157 h 290"/>
                  <a:gd name="T34" fmla="*/ 175 w 473"/>
                  <a:gd name="T35" fmla="*/ 180 h 290"/>
                  <a:gd name="T36" fmla="*/ 190 w 473"/>
                  <a:gd name="T37" fmla="*/ 202 h 290"/>
                  <a:gd name="T38" fmla="*/ 250 w 473"/>
                  <a:gd name="T39" fmla="*/ 241 h 290"/>
                  <a:gd name="T40" fmla="*/ 274 w 473"/>
                  <a:gd name="T41" fmla="*/ 255 h 290"/>
                  <a:gd name="T42" fmla="*/ 303 w 473"/>
                  <a:gd name="T43" fmla="*/ 268 h 290"/>
                  <a:gd name="T44" fmla="*/ 309 w 473"/>
                  <a:gd name="T45" fmla="*/ 284 h 290"/>
                  <a:gd name="T46" fmla="*/ 324 w 473"/>
                  <a:gd name="T47" fmla="*/ 289 h 290"/>
                  <a:gd name="T48" fmla="*/ 330 w 473"/>
                  <a:gd name="T49" fmla="*/ 282 h 290"/>
                  <a:gd name="T50" fmla="*/ 343 w 473"/>
                  <a:gd name="T51" fmla="*/ 258 h 290"/>
                  <a:gd name="T52" fmla="*/ 334 w 473"/>
                  <a:gd name="T53" fmla="*/ 236 h 290"/>
                  <a:gd name="T54" fmla="*/ 324 w 473"/>
                  <a:gd name="T55" fmla="*/ 212 h 290"/>
                  <a:gd name="T56" fmla="*/ 350 w 473"/>
                  <a:gd name="T57" fmla="*/ 211 h 290"/>
                  <a:gd name="T58" fmla="*/ 366 w 473"/>
                  <a:gd name="T59" fmla="*/ 189 h 290"/>
                  <a:gd name="T60" fmla="*/ 376 w 473"/>
                  <a:gd name="T61" fmla="*/ 170 h 290"/>
                  <a:gd name="T62" fmla="*/ 385 w 473"/>
                  <a:gd name="T63" fmla="*/ 174 h 290"/>
                  <a:gd name="T64" fmla="*/ 398 w 473"/>
                  <a:gd name="T65" fmla="*/ 168 h 290"/>
                  <a:gd name="T66" fmla="*/ 419 w 473"/>
                  <a:gd name="T67" fmla="*/ 178 h 290"/>
                  <a:gd name="T68" fmla="*/ 425 w 473"/>
                  <a:gd name="T69" fmla="*/ 187 h 290"/>
                  <a:gd name="T70" fmla="*/ 448 w 473"/>
                  <a:gd name="T71" fmla="*/ 189 h 290"/>
                  <a:gd name="T72" fmla="*/ 456 w 473"/>
                  <a:gd name="T73" fmla="*/ 181 h 290"/>
                  <a:gd name="T74" fmla="*/ 461 w 473"/>
                  <a:gd name="T75" fmla="*/ 176 h 290"/>
                  <a:gd name="T76" fmla="*/ 470 w 473"/>
                  <a:gd name="T77" fmla="*/ 177 h 290"/>
                  <a:gd name="T78" fmla="*/ 464 w 473"/>
                  <a:gd name="T79" fmla="*/ 170 h 290"/>
                  <a:gd name="T80" fmla="*/ 454 w 473"/>
                  <a:gd name="T81" fmla="*/ 171 h 290"/>
                  <a:gd name="T82" fmla="*/ 446 w 473"/>
                  <a:gd name="T83" fmla="*/ 158 h 290"/>
                  <a:gd name="T84" fmla="*/ 439 w 473"/>
                  <a:gd name="T85" fmla="*/ 162 h 290"/>
                  <a:gd name="T86" fmla="*/ 412 w 473"/>
                  <a:gd name="T87" fmla="*/ 155 h 290"/>
                  <a:gd name="T88" fmla="*/ 402 w 473"/>
                  <a:gd name="T89" fmla="*/ 152 h 290"/>
                  <a:gd name="T90" fmla="*/ 383 w 473"/>
                  <a:gd name="T91" fmla="*/ 151 h 290"/>
                  <a:gd name="T92" fmla="*/ 360 w 473"/>
                  <a:gd name="T93" fmla="*/ 171 h 290"/>
                  <a:gd name="T94" fmla="*/ 353 w 473"/>
                  <a:gd name="T95" fmla="*/ 183 h 290"/>
                  <a:gd name="T96" fmla="*/ 333 w 473"/>
                  <a:gd name="T97" fmla="*/ 172 h 290"/>
                  <a:gd name="T98" fmla="*/ 333 w 473"/>
                  <a:gd name="T99" fmla="*/ 163 h 290"/>
                  <a:gd name="T100" fmla="*/ 297 w 473"/>
                  <a:gd name="T101" fmla="*/ 155 h 290"/>
                  <a:gd name="T102" fmla="*/ 290 w 473"/>
                  <a:gd name="T103" fmla="*/ 135 h 290"/>
                  <a:gd name="T104" fmla="*/ 279 w 473"/>
                  <a:gd name="T105" fmla="*/ 120 h 290"/>
                  <a:gd name="T106" fmla="*/ 272 w 473"/>
                  <a:gd name="T107" fmla="*/ 98 h 290"/>
                  <a:gd name="T108" fmla="*/ 250 w 473"/>
                  <a:gd name="T109" fmla="*/ 76 h 290"/>
                  <a:gd name="T110" fmla="*/ 228 w 473"/>
                  <a:gd name="T111" fmla="*/ 81 h 290"/>
                  <a:gd name="T112" fmla="*/ 167 w 473"/>
                  <a:gd name="T113" fmla="*/ 83 h 290"/>
                  <a:gd name="T114" fmla="*/ 117 w 473"/>
                  <a:gd name="T115" fmla="*/ 39 h 290"/>
                  <a:gd name="T116" fmla="*/ 104 w 473"/>
                  <a:gd name="T117" fmla="*/ 60 h 290"/>
                  <a:gd name="T118" fmla="*/ 95 w 473"/>
                  <a:gd name="T119" fmla="*/ 23 h 290"/>
                  <a:gd name="T120" fmla="*/ 95 w 473"/>
                  <a:gd name="T121" fmla="*/ 19 h 2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2" h="290">
                    <a:moveTo>
                      <a:pt x="91" y="13"/>
                    </a:moveTo>
                    <a:cubicBezTo>
                      <a:pt x="91" y="13"/>
                      <a:pt x="91" y="13"/>
                      <a:pt x="91" y="13"/>
                    </a:cubicBezTo>
                    <a:cubicBezTo>
                      <a:pt x="91" y="13"/>
                      <a:pt x="91" y="13"/>
                      <a:pt x="91" y="13"/>
                    </a:cubicBezTo>
                    <a:cubicBezTo>
                      <a:pt x="91" y="13"/>
                      <a:pt x="91" y="13"/>
                      <a:pt x="91" y="13"/>
                    </a:cubicBezTo>
                    <a:moveTo>
                      <a:pt x="91" y="16"/>
                    </a:moveTo>
                    <a:cubicBezTo>
                      <a:pt x="91" y="16"/>
                      <a:pt x="91" y="16"/>
                      <a:pt x="91" y="15"/>
                    </a:cubicBezTo>
                    <a:cubicBezTo>
                      <a:pt x="91" y="14"/>
                      <a:pt x="91" y="12"/>
                      <a:pt x="91" y="10"/>
                    </a:cubicBezTo>
                    <a:cubicBezTo>
                      <a:pt x="93" y="11"/>
                      <a:pt x="91" y="11"/>
                      <a:pt x="91" y="13"/>
                    </a:cubicBezTo>
                    <a:cubicBezTo>
                      <a:pt x="91" y="13"/>
                      <a:pt x="91" y="14"/>
                      <a:pt x="91" y="14"/>
                    </a:cubicBezTo>
                    <a:cubicBezTo>
                      <a:pt x="91" y="15"/>
                      <a:pt x="91" y="16"/>
                      <a:pt x="91" y="16"/>
                    </a:cubicBezTo>
                    <a:moveTo>
                      <a:pt x="85" y="0"/>
                    </a:moveTo>
                    <a:cubicBezTo>
                      <a:pt x="84" y="0"/>
                      <a:pt x="84" y="1"/>
                      <a:pt x="84" y="3"/>
                    </a:cubicBezTo>
                    <a:cubicBezTo>
                      <a:pt x="84" y="4"/>
                      <a:pt x="84" y="5"/>
                      <a:pt x="83" y="5"/>
                    </a:cubicBezTo>
                    <a:cubicBezTo>
                      <a:pt x="83" y="5"/>
                      <a:pt x="83" y="5"/>
                      <a:pt x="83" y="5"/>
                    </a:cubicBezTo>
                    <a:cubicBezTo>
                      <a:pt x="82" y="4"/>
                      <a:pt x="84" y="2"/>
                      <a:pt x="82" y="2"/>
                    </a:cubicBezTo>
                    <a:cubicBezTo>
                      <a:pt x="82" y="1"/>
                      <a:pt x="82" y="1"/>
                      <a:pt x="82" y="1"/>
                    </a:cubicBezTo>
                    <a:cubicBezTo>
                      <a:pt x="81" y="1"/>
                      <a:pt x="81" y="4"/>
                      <a:pt x="81" y="5"/>
                    </a:cubicBezTo>
                    <a:cubicBezTo>
                      <a:pt x="81" y="7"/>
                      <a:pt x="79" y="9"/>
                      <a:pt x="77" y="10"/>
                    </a:cubicBezTo>
                    <a:cubicBezTo>
                      <a:pt x="77" y="10"/>
                      <a:pt x="77" y="10"/>
                      <a:pt x="77" y="10"/>
                    </a:cubicBezTo>
                    <a:cubicBezTo>
                      <a:pt x="76" y="11"/>
                      <a:pt x="76" y="11"/>
                      <a:pt x="76" y="11"/>
                    </a:cubicBezTo>
                    <a:cubicBezTo>
                      <a:pt x="75" y="11"/>
                      <a:pt x="75" y="11"/>
                      <a:pt x="75" y="11"/>
                    </a:cubicBezTo>
                    <a:cubicBezTo>
                      <a:pt x="75" y="11"/>
                      <a:pt x="75" y="11"/>
                      <a:pt x="75" y="11"/>
                    </a:cubicBezTo>
                    <a:cubicBezTo>
                      <a:pt x="75" y="11"/>
                      <a:pt x="75" y="11"/>
                      <a:pt x="75" y="11"/>
                    </a:cubicBezTo>
                    <a:cubicBezTo>
                      <a:pt x="75" y="11"/>
                      <a:pt x="75" y="11"/>
                      <a:pt x="75" y="11"/>
                    </a:cubicBezTo>
                    <a:cubicBezTo>
                      <a:pt x="76" y="11"/>
                      <a:pt x="76" y="11"/>
                      <a:pt x="76" y="11"/>
                    </a:cubicBezTo>
                    <a:cubicBezTo>
                      <a:pt x="74" y="13"/>
                      <a:pt x="74" y="13"/>
                      <a:pt x="74" y="13"/>
                    </a:cubicBezTo>
                    <a:cubicBezTo>
                      <a:pt x="74" y="13"/>
                      <a:pt x="74" y="13"/>
                      <a:pt x="74" y="13"/>
                    </a:cubicBezTo>
                    <a:cubicBezTo>
                      <a:pt x="73" y="15"/>
                      <a:pt x="72" y="17"/>
                      <a:pt x="73" y="20"/>
                    </a:cubicBezTo>
                    <a:cubicBezTo>
                      <a:pt x="74" y="21"/>
                      <a:pt x="76" y="22"/>
                      <a:pt x="75" y="23"/>
                    </a:cubicBezTo>
                    <a:cubicBezTo>
                      <a:pt x="75" y="24"/>
                      <a:pt x="73" y="26"/>
                      <a:pt x="72" y="27"/>
                    </a:cubicBezTo>
                    <a:cubicBezTo>
                      <a:pt x="72" y="28"/>
                      <a:pt x="71" y="30"/>
                      <a:pt x="72" y="30"/>
                    </a:cubicBezTo>
                    <a:cubicBezTo>
                      <a:pt x="72" y="30"/>
                      <a:pt x="73" y="30"/>
                      <a:pt x="73" y="30"/>
                    </a:cubicBezTo>
                    <a:cubicBezTo>
                      <a:pt x="74" y="29"/>
                      <a:pt x="76" y="28"/>
                      <a:pt x="76" y="28"/>
                    </a:cubicBezTo>
                    <a:cubicBezTo>
                      <a:pt x="76" y="28"/>
                      <a:pt x="76" y="28"/>
                      <a:pt x="76" y="29"/>
                    </a:cubicBezTo>
                    <a:cubicBezTo>
                      <a:pt x="77" y="31"/>
                      <a:pt x="75" y="31"/>
                      <a:pt x="75" y="31"/>
                    </a:cubicBezTo>
                    <a:cubicBezTo>
                      <a:pt x="75" y="32"/>
                      <a:pt x="75" y="33"/>
                      <a:pt x="75" y="34"/>
                    </a:cubicBezTo>
                    <a:cubicBezTo>
                      <a:pt x="75" y="38"/>
                      <a:pt x="77" y="37"/>
                      <a:pt x="77" y="39"/>
                    </a:cubicBezTo>
                    <a:cubicBezTo>
                      <a:pt x="76" y="39"/>
                      <a:pt x="76" y="38"/>
                      <a:pt x="76" y="38"/>
                    </a:cubicBezTo>
                    <a:cubicBezTo>
                      <a:pt x="76" y="38"/>
                      <a:pt x="75" y="39"/>
                      <a:pt x="75" y="39"/>
                    </a:cubicBezTo>
                    <a:cubicBezTo>
                      <a:pt x="75" y="39"/>
                      <a:pt x="74" y="39"/>
                      <a:pt x="74" y="39"/>
                    </a:cubicBezTo>
                    <a:cubicBezTo>
                      <a:pt x="74" y="39"/>
                      <a:pt x="74" y="39"/>
                      <a:pt x="73" y="39"/>
                    </a:cubicBezTo>
                    <a:cubicBezTo>
                      <a:pt x="73" y="39"/>
                      <a:pt x="72" y="37"/>
                      <a:pt x="71" y="37"/>
                    </a:cubicBezTo>
                    <a:cubicBezTo>
                      <a:pt x="71" y="37"/>
                      <a:pt x="71" y="38"/>
                      <a:pt x="70" y="39"/>
                    </a:cubicBezTo>
                    <a:cubicBezTo>
                      <a:pt x="70" y="40"/>
                      <a:pt x="70" y="41"/>
                      <a:pt x="71" y="41"/>
                    </a:cubicBezTo>
                    <a:cubicBezTo>
                      <a:pt x="71" y="41"/>
                      <a:pt x="71" y="40"/>
                      <a:pt x="71" y="40"/>
                    </a:cubicBezTo>
                    <a:cubicBezTo>
                      <a:pt x="72" y="40"/>
                      <a:pt x="72" y="40"/>
                      <a:pt x="72" y="40"/>
                    </a:cubicBezTo>
                    <a:cubicBezTo>
                      <a:pt x="72" y="40"/>
                      <a:pt x="73" y="41"/>
                      <a:pt x="72" y="43"/>
                    </a:cubicBezTo>
                    <a:cubicBezTo>
                      <a:pt x="71" y="47"/>
                      <a:pt x="66" y="50"/>
                      <a:pt x="63" y="50"/>
                    </a:cubicBezTo>
                    <a:cubicBezTo>
                      <a:pt x="61" y="50"/>
                      <a:pt x="59" y="48"/>
                      <a:pt x="60" y="45"/>
                    </a:cubicBezTo>
                    <a:cubicBezTo>
                      <a:pt x="61" y="43"/>
                      <a:pt x="62" y="43"/>
                      <a:pt x="62" y="42"/>
                    </a:cubicBezTo>
                    <a:cubicBezTo>
                      <a:pt x="62" y="40"/>
                      <a:pt x="61" y="39"/>
                      <a:pt x="60" y="37"/>
                    </a:cubicBezTo>
                    <a:cubicBezTo>
                      <a:pt x="59" y="33"/>
                      <a:pt x="61" y="32"/>
                      <a:pt x="62" y="29"/>
                    </a:cubicBezTo>
                    <a:cubicBezTo>
                      <a:pt x="62" y="27"/>
                      <a:pt x="63" y="23"/>
                      <a:pt x="64" y="21"/>
                    </a:cubicBezTo>
                    <a:cubicBezTo>
                      <a:pt x="65" y="20"/>
                      <a:pt x="65" y="19"/>
                      <a:pt x="66" y="18"/>
                    </a:cubicBezTo>
                    <a:cubicBezTo>
                      <a:pt x="67" y="16"/>
                      <a:pt x="68" y="16"/>
                      <a:pt x="69" y="14"/>
                    </a:cubicBezTo>
                    <a:cubicBezTo>
                      <a:pt x="69" y="14"/>
                      <a:pt x="69" y="13"/>
                      <a:pt x="70" y="12"/>
                    </a:cubicBezTo>
                    <a:cubicBezTo>
                      <a:pt x="69" y="12"/>
                      <a:pt x="69" y="12"/>
                      <a:pt x="69" y="12"/>
                    </a:cubicBezTo>
                    <a:cubicBezTo>
                      <a:pt x="66" y="13"/>
                      <a:pt x="66" y="13"/>
                      <a:pt x="66" y="13"/>
                    </a:cubicBezTo>
                    <a:cubicBezTo>
                      <a:pt x="64" y="13"/>
                      <a:pt x="62" y="14"/>
                      <a:pt x="60" y="14"/>
                    </a:cubicBezTo>
                    <a:cubicBezTo>
                      <a:pt x="58" y="15"/>
                      <a:pt x="58" y="15"/>
                      <a:pt x="58" y="15"/>
                    </a:cubicBezTo>
                    <a:cubicBezTo>
                      <a:pt x="50" y="17"/>
                      <a:pt x="50" y="17"/>
                      <a:pt x="50" y="17"/>
                    </a:cubicBezTo>
                    <a:cubicBezTo>
                      <a:pt x="36" y="21"/>
                      <a:pt x="23" y="24"/>
                      <a:pt x="10" y="28"/>
                    </a:cubicBezTo>
                    <a:cubicBezTo>
                      <a:pt x="9" y="28"/>
                      <a:pt x="8" y="28"/>
                      <a:pt x="7" y="29"/>
                    </a:cubicBezTo>
                    <a:cubicBezTo>
                      <a:pt x="5" y="29"/>
                      <a:pt x="2" y="30"/>
                      <a:pt x="1" y="30"/>
                    </a:cubicBezTo>
                    <a:cubicBezTo>
                      <a:pt x="0" y="31"/>
                      <a:pt x="0" y="31"/>
                      <a:pt x="0" y="31"/>
                    </a:cubicBezTo>
                    <a:cubicBezTo>
                      <a:pt x="0" y="31"/>
                      <a:pt x="0" y="31"/>
                      <a:pt x="0" y="31"/>
                    </a:cubicBezTo>
                    <a:cubicBezTo>
                      <a:pt x="0" y="50"/>
                      <a:pt x="0" y="69"/>
                      <a:pt x="0" y="88"/>
                    </a:cubicBezTo>
                    <a:cubicBezTo>
                      <a:pt x="0" y="151"/>
                      <a:pt x="0" y="151"/>
                      <a:pt x="0" y="151"/>
                    </a:cubicBezTo>
                    <a:cubicBezTo>
                      <a:pt x="8" y="151"/>
                      <a:pt x="8" y="151"/>
                      <a:pt x="8" y="151"/>
                    </a:cubicBezTo>
                    <a:cubicBezTo>
                      <a:pt x="7" y="152"/>
                      <a:pt x="7" y="152"/>
                      <a:pt x="7" y="152"/>
                    </a:cubicBezTo>
                    <a:cubicBezTo>
                      <a:pt x="7" y="152"/>
                      <a:pt x="7" y="152"/>
                      <a:pt x="7" y="152"/>
                    </a:cubicBezTo>
                    <a:cubicBezTo>
                      <a:pt x="8" y="152"/>
                      <a:pt x="10" y="152"/>
                      <a:pt x="11" y="152"/>
                    </a:cubicBezTo>
                    <a:cubicBezTo>
                      <a:pt x="11" y="152"/>
                      <a:pt x="12" y="152"/>
                      <a:pt x="12" y="152"/>
                    </a:cubicBezTo>
                    <a:cubicBezTo>
                      <a:pt x="12" y="152"/>
                      <a:pt x="12" y="152"/>
                      <a:pt x="12" y="152"/>
                    </a:cubicBezTo>
                    <a:cubicBezTo>
                      <a:pt x="12" y="152"/>
                      <a:pt x="13" y="152"/>
                      <a:pt x="13" y="152"/>
                    </a:cubicBezTo>
                    <a:cubicBezTo>
                      <a:pt x="13" y="152"/>
                      <a:pt x="13" y="152"/>
                      <a:pt x="13" y="152"/>
                    </a:cubicBezTo>
                    <a:cubicBezTo>
                      <a:pt x="14" y="152"/>
                      <a:pt x="15" y="152"/>
                      <a:pt x="17" y="152"/>
                    </a:cubicBezTo>
                    <a:cubicBezTo>
                      <a:pt x="19" y="152"/>
                      <a:pt x="19" y="152"/>
                      <a:pt x="19" y="152"/>
                    </a:cubicBezTo>
                    <a:cubicBezTo>
                      <a:pt x="21" y="151"/>
                      <a:pt x="22" y="151"/>
                      <a:pt x="23" y="151"/>
                    </a:cubicBezTo>
                    <a:cubicBezTo>
                      <a:pt x="23" y="151"/>
                      <a:pt x="23" y="151"/>
                      <a:pt x="23" y="151"/>
                    </a:cubicBezTo>
                    <a:cubicBezTo>
                      <a:pt x="23" y="150"/>
                      <a:pt x="22" y="148"/>
                      <a:pt x="22" y="146"/>
                    </a:cubicBezTo>
                    <a:cubicBezTo>
                      <a:pt x="21" y="144"/>
                      <a:pt x="22" y="143"/>
                      <a:pt x="23" y="140"/>
                    </a:cubicBezTo>
                    <a:cubicBezTo>
                      <a:pt x="23" y="139"/>
                      <a:pt x="23" y="138"/>
                      <a:pt x="24" y="137"/>
                    </a:cubicBezTo>
                    <a:cubicBezTo>
                      <a:pt x="25" y="134"/>
                      <a:pt x="26" y="130"/>
                      <a:pt x="28" y="128"/>
                    </a:cubicBezTo>
                    <a:cubicBezTo>
                      <a:pt x="30" y="127"/>
                      <a:pt x="30" y="127"/>
                      <a:pt x="30" y="127"/>
                    </a:cubicBezTo>
                    <a:cubicBezTo>
                      <a:pt x="30" y="127"/>
                      <a:pt x="31" y="126"/>
                      <a:pt x="32" y="126"/>
                    </a:cubicBezTo>
                    <a:cubicBezTo>
                      <a:pt x="34" y="125"/>
                      <a:pt x="37" y="125"/>
                      <a:pt x="40" y="124"/>
                    </a:cubicBezTo>
                    <a:cubicBezTo>
                      <a:pt x="41" y="124"/>
                      <a:pt x="41" y="124"/>
                      <a:pt x="41" y="124"/>
                    </a:cubicBezTo>
                    <a:cubicBezTo>
                      <a:pt x="42" y="124"/>
                      <a:pt x="43" y="124"/>
                      <a:pt x="44" y="124"/>
                    </a:cubicBezTo>
                    <a:cubicBezTo>
                      <a:pt x="47" y="123"/>
                      <a:pt x="47" y="122"/>
                      <a:pt x="48" y="121"/>
                    </a:cubicBezTo>
                    <a:cubicBezTo>
                      <a:pt x="48" y="120"/>
                      <a:pt x="49" y="119"/>
                      <a:pt x="49" y="119"/>
                    </a:cubicBezTo>
                    <a:cubicBezTo>
                      <a:pt x="50" y="116"/>
                      <a:pt x="51" y="112"/>
                      <a:pt x="55" y="111"/>
                    </a:cubicBezTo>
                    <a:cubicBezTo>
                      <a:pt x="55" y="111"/>
                      <a:pt x="56" y="111"/>
                      <a:pt x="56" y="111"/>
                    </a:cubicBezTo>
                    <a:cubicBezTo>
                      <a:pt x="57" y="111"/>
                      <a:pt x="58" y="111"/>
                      <a:pt x="58" y="112"/>
                    </a:cubicBezTo>
                    <a:cubicBezTo>
                      <a:pt x="59" y="112"/>
                      <a:pt x="60" y="112"/>
                      <a:pt x="60" y="112"/>
                    </a:cubicBezTo>
                    <a:cubicBezTo>
                      <a:pt x="61" y="112"/>
                      <a:pt x="61" y="112"/>
                      <a:pt x="61" y="112"/>
                    </a:cubicBezTo>
                    <a:cubicBezTo>
                      <a:pt x="62" y="109"/>
                      <a:pt x="64" y="107"/>
                      <a:pt x="66" y="105"/>
                    </a:cubicBezTo>
                    <a:cubicBezTo>
                      <a:pt x="67" y="104"/>
                      <a:pt x="68" y="103"/>
                      <a:pt x="69" y="103"/>
                    </a:cubicBezTo>
                    <a:cubicBezTo>
                      <a:pt x="71" y="100"/>
                      <a:pt x="71" y="100"/>
                      <a:pt x="71" y="100"/>
                    </a:cubicBezTo>
                    <a:cubicBezTo>
                      <a:pt x="74" y="102"/>
                      <a:pt x="74" y="102"/>
                      <a:pt x="74" y="102"/>
                    </a:cubicBezTo>
                    <a:cubicBezTo>
                      <a:pt x="74" y="103"/>
                      <a:pt x="75" y="103"/>
                      <a:pt x="75" y="104"/>
                    </a:cubicBezTo>
                    <a:cubicBezTo>
                      <a:pt x="77" y="105"/>
                      <a:pt x="77" y="105"/>
                      <a:pt x="77" y="105"/>
                    </a:cubicBezTo>
                    <a:cubicBezTo>
                      <a:pt x="78" y="107"/>
                      <a:pt x="80" y="109"/>
                      <a:pt x="81" y="110"/>
                    </a:cubicBezTo>
                    <a:cubicBezTo>
                      <a:pt x="82" y="110"/>
                      <a:pt x="82" y="110"/>
                      <a:pt x="82" y="110"/>
                    </a:cubicBezTo>
                    <a:cubicBezTo>
                      <a:pt x="82" y="110"/>
                      <a:pt x="83" y="110"/>
                      <a:pt x="83" y="110"/>
                    </a:cubicBezTo>
                    <a:cubicBezTo>
                      <a:pt x="84" y="110"/>
                      <a:pt x="84" y="110"/>
                      <a:pt x="85" y="110"/>
                    </a:cubicBezTo>
                    <a:cubicBezTo>
                      <a:pt x="87" y="110"/>
                      <a:pt x="88" y="111"/>
                      <a:pt x="89" y="113"/>
                    </a:cubicBezTo>
                    <a:cubicBezTo>
                      <a:pt x="92" y="116"/>
                      <a:pt x="92" y="116"/>
                      <a:pt x="92" y="116"/>
                    </a:cubicBezTo>
                    <a:cubicBezTo>
                      <a:pt x="92" y="116"/>
                      <a:pt x="92" y="117"/>
                      <a:pt x="93" y="117"/>
                    </a:cubicBezTo>
                    <a:cubicBezTo>
                      <a:pt x="93" y="117"/>
                      <a:pt x="93" y="117"/>
                      <a:pt x="93" y="117"/>
                    </a:cubicBezTo>
                    <a:cubicBezTo>
                      <a:pt x="94" y="118"/>
                      <a:pt x="94" y="118"/>
                      <a:pt x="94" y="118"/>
                    </a:cubicBezTo>
                    <a:cubicBezTo>
                      <a:pt x="96" y="118"/>
                      <a:pt x="99" y="118"/>
                      <a:pt x="101" y="118"/>
                    </a:cubicBezTo>
                    <a:cubicBezTo>
                      <a:pt x="102" y="118"/>
                      <a:pt x="102" y="118"/>
                      <a:pt x="102" y="118"/>
                    </a:cubicBezTo>
                    <a:cubicBezTo>
                      <a:pt x="106" y="118"/>
                      <a:pt x="110" y="121"/>
                      <a:pt x="114" y="122"/>
                    </a:cubicBezTo>
                    <a:cubicBezTo>
                      <a:pt x="120" y="126"/>
                      <a:pt x="120" y="126"/>
                      <a:pt x="120" y="126"/>
                    </a:cubicBezTo>
                    <a:cubicBezTo>
                      <a:pt x="114" y="129"/>
                      <a:pt x="114" y="129"/>
                      <a:pt x="114" y="129"/>
                    </a:cubicBezTo>
                    <a:cubicBezTo>
                      <a:pt x="114" y="129"/>
                      <a:pt x="115" y="131"/>
                      <a:pt x="114" y="132"/>
                    </a:cubicBezTo>
                    <a:cubicBezTo>
                      <a:pt x="117" y="133"/>
                      <a:pt x="119" y="135"/>
                      <a:pt x="121" y="137"/>
                    </a:cubicBezTo>
                    <a:cubicBezTo>
                      <a:pt x="124" y="140"/>
                      <a:pt x="124" y="140"/>
                      <a:pt x="124" y="140"/>
                    </a:cubicBezTo>
                    <a:cubicBezTo>
                      <a:pt x="120" y="142"/>
                      <a:pt x="120" y="142"/>
                      <a:pt x="120" y="142"/>
                    </a:cubicBezTo>
                    <a:cubicBezTo>
                      <a:pt x="119" y="143"/>
                      <a:pt x="119" y="143"/>
                      <a:pt x="118" y="143"/>
                    </a:cubicBezTo>
                    <a:cubicBezTo>
                      <a:pt x="118" y="144"/>
                      <a:pt x="118" y="145"/>
                      <a:pt x="118" y="146"/>
                    </a:cubicBezTo>
                    <a:cubicBezTo>
                      <a:pt x="118" y="147"/>
                      <a:pt x="118" y="147"/>
                      <a:pt x="118" y="147"/>
                    </a:cubicBezTo>
                    <a:cubicBezTo>
                      <a:pt x="118" y="148"/>
                      <a:pt x="118" y="148"/>
                      <a:pt x="117" y="149"/>
                    </a:cubicBezTo>
                    <a:cubicBezTo>
                      <a:pt x="117" y="149"/>
                      <a:pt x="117" y="149"/>
                      <a:pt x="117" y="149"/>
                    </a:cubicBezTo>
                    <a:cubicBezTo>
                      <a:pt x="117" y="150"/>
                      <a:pt x="117" y="150"/>
                      <a:pt x="117" y="150"/>
                    </a:cubicBezTo>
                    <a:cubicBezTo>
                      <a:pt x="119" y="151"/>
                      <a:pt x="119" y="151"/>
                      <a:pt x="119" y="151"/>
                    </a:cubicBezTo>
                    <a:cubicBezTo>
                      <a:pt x="119" y="152"/>
                      <a:pt x="120" y="152"/>
                      <a:pt x="120" y="152"/>
                    </a:cubicBezTo>
                    <a:cubicBezTo>
                      <a:pt x="121" y="153"/>
                      <a:pt x="121" y="153"/>
                      <a:pt x="121" y="153"/>
                    </a:cubicBezTo>
                    <a:cubicBezTo>
                      <a:pt x="123" y="154"/>
                      <a:pt x="124" y="154"/>
                      <a:pt x="125" y="154"/>
                    </a:cubicBezTo>
                    <a:cubicBezTo>
                      <a:pt x="125" y="154"/>
                      <a:pt x="126" y="154"/>
                      <a:pt x="127" y="154"/>
                    </a:cubicBezTo>
                    <a:cubicBezTo>
                      <a:pt x="127" y="154"/>
                      <a:pt x="128" y="154"/>
                      <a:pt x="129" y="154"/>
                    </a:cubicBezTo>
                    <a:cubicBezTo>
                      <a:pt x="130" y="154"/>
                      <a:pt x="130" y="154"/>
                      <a:pt x="131" y="154"/>
                    </a:cubicBezTo>
                    <a:cubicBezTo>
                      <a:pt x="134" y="154"/>
                      <a:pt x="137" y="155"/>
                      <a:pt x="140" y="155"/>
                    </a:cubicBezTo>
                    <a:cubicBezTo>
                      <a:pt x="141" y="156"/>
                      <a:pt x="142" y="156"/>
                      <a:pt x="144" y="156"/>
                    </a:cubicBezTo>
                    <a:cubicBezTo>
                      <a:pt x="146" y="157"/>
                      <a:pt x="146" y="157"/>
                      <a:pt x="146" y="157"/>
                    </a:cubicBezTo>
                    <a:cubicBezTo>
                      <a:pt x="146" y="157"/>
                      <a:pt x="147" y="156"/>
                      <a:pt x="147" y="156"/>
                    </a:cubicBezTo>
                    <a:cubicBezTo>
                      <a:pt x="147" y="155"/>
                      <a:pt x="148" y="155"/>
                      <a:pt x="148" y="154"/>
                    </a:cubicBezTo>
                    <a:cubicBezTo>
                      <a:pt x="149" y="153"/>
                      <a:pt x="150" y="153"/>
                      <a:pt x="151" y="152"/>
                    </a:cubicBezTo>
                    <a:cubicBezTo>
                      <a:pt x="152" y="152"/>
                      <a:pt x="152" y="152"/>
                      <a:pt x="153" y="152"/>
                    </a:cubicBezTo>
                    <a:cubicBezTo>
                      <a:pt x="156" y="152"/>
                      <a:pt x="159" y="154"/>
                      <a:pt x="162" y="157"/>
                    </a:cubicBezTo>
                    <a:cubicBezTo>
                      <a:pt x="167" y="161"/>
                      <a:pt x="170" y="169"/>
                      <a:pt x="173" y="175"/>
                    </a:cubicBezTo>
                    <a:cubicBezTo>
                      <a:pt x="174" y="176"/>
                      <a:pt x="174" y="176"/>
                      <a:pt x="174" y="176"/>
                    </a:cubicBezTo>
                    <a:cubicBezTo>
                      <a:pt x="174" y="178"/>
                      <a:pt x="175" y="179"/>
                      <a:pt x="175" y="180"/>
                    </a:cubicBezTo>
                    <a:cubicBezTo>
                      <a:pt x="176" y="181"/>
                      <a:pt x="176" y="182"/>
                      <a:pt x="177" y="183"/>
                    </a:cubicBezTo>
                    <a:cubicBezTo>
                      <a:pt x="179" y="184"/>
                      <a:pt x="181" y="186"/>
                      <a:pt x="182" y="189"/>
                    </a:cubicBezTo>
                    <a:cubicBezTo>
                      <a:pt x="182" y="189"/>
                      <a:pt x="182" y="189"/>
                      <a:pt x="182" y="190"/>
                    </a:cubicBezTo>
                    <a:cubicBezTo>
                      <a:pt x="182" y="191"/>
                      <a:pt x="183" y="192"/>
                      <a:pt x="183" y="193"/>
                    </a:cubicBezTo>
                    <a:cubicBezTo>
                      <a:pt x="183" y="193"/>
                      <a:pt x="183" y="193"/>
                      <a:pt x="183" y="193"/>
                    </a:cubicBezTo>
                    <a:cubicBezTo>
                      <a:pt x="183" y="195"/>
                      <a:pt x="184" y="196"/>
                      <a:pt x="184" y="198"/>
                    </a:cubicBezTo>
                    <a:cubicBezTo>
                      <a:pt x="185" y="199"/>
                      <a:pt x="185" y="199"/>
                      <a:pt x="185" y="199"/>
                    </a:cubicBezTo>
                    <a:cubicBezTo>
                      <a:pt x="186" y="200"/>
                      <a:pt x="188" y="201"/>
                      <a:pt x="190" y="202"/>
                    </a:cubicBezTo>
                    <a:cubicBezTo>
                      <a:pt x="191" y="203"/>
                      <a:pt x="192" y="203"/>
                      <a:pt x="193" y="204"/>
                    </a:cubicBezTo>
                    <a:cubicBezTo>
                      <a:pt x="197" y="207"/>
                      <a:pt x="197" y="207"/>
                      <a:pt x="197" y="207"/>
                    </a:cubicBezTo>
                    <a:cubicBezTo>
                      <a:pt x="199" y="209"/>
                      <a:pt x="201" y="210"/>
                      <a:pt x="202" y="211"/>
                    </a:cubicBezTo>
                    <a:cubicBezTo>
                      <a:pt x="206" y="214"/>
                      <a:pt x="211" y="218"/>
                      <a:pt x="216" y="220"/>
                    </a:cubicBezTo>
                    <a:cubicBezTo>
                      <a:pt x="217" y="221"/>
                      <a:pt x="218" y="222"/>
                      <a:pt x="220" y="222"/>
                    </a:cubicBezTo>
                    <a:cubicBezTo>
                      <a:pt x="223" y="224"/>
                      <a:pt x="223" y="224"/>
                      <a:pt x="223" y="224"/>
                    </a:cubicBezTo>
                    <a:cubicBezTo>
                      <a:pt x="228" y="226"/>
                      <a:pt x="235" y="229"/>
                      <a:pt x="239" y="234"/>
                    </a:cubicBezTo>
                    <a:cubicBezTo>
                      <a:pt x="242" y="237"/>
                      <a:pt x="246" y="239"/>
                      <a:pt x="250" y="241"/>
                    </a:cubicBezTo>
                    <a:cubicBezTo>
                      <a:pt x="253" y="243"/>
                      <a:pt x="253" y="243"/>
                      <a:pt x="253" y="243"/>
                    </a:cubicBezTo>
                    <a:cubicBezTo>
                      <a:pt x="254" y="243"/>
                      <a:pt x="256" y="244"/>
                      <a:pt x="257" y="245"/>
                    </a:cubicBezTo>
                    <a:cubicBezTo>
                      <a:pt x="259" y="246"/>
                      <a:pt x="261" y="248"/>
                      <a:pt x="264" y="249"/>
                    </a:cubicBezTo>
                    <a:cubicBezTo>
                      <a:pt x="265" y="250"/>
                      <a:pt x="265" y="250"/>
                      <a:pt x="265" y="250"/>
                    </a:cubicBezTo>
                    <a:cubicBezTo>
                      <a:pt x="266" y="251"/>
                      <a:pt x="266" y="251"/>
                      <a:pt x="267" y="252"/>
                    </a:cubicBezTo>
                    <a:cubicBezTo>
                      <a:pt x="268" y="253"/>
                      <a:pt x="268" y="253"/>
                      <a:pt x="268" y="253"/>
                    </a:cubicBezTo>
                    <a:cubicBezTo>
                      <a:pt x="271" y="254"/>
                      <a:pt x="272" y="255"/>
                      <a:pt x="273" y="255"/>
                    </a:cubicBezTo>
                    <a:cubicBezTo>
                      <a:pt x="273" y="255"/>
                      <a:pt x="273" y="255"/>
                      <a:pt x="274" y="255"/>
                    </a:cubicBezTo>
                    <a:cubicBezTo>
                      <a:pt x="274" y="255"/>
                      <a:pt x="274" y="255"/>
                      <a:pt x="274" y="255"/>
                    </a:cubicBezTo>
                    <a:cubicBezTo>
                      <a:pt x="276" y="254"/>
                      <a:pt x="276" y="254"/>
                      <a:pt x="276" y="254"/>
                    </a:cubicBezTo>
                    <a:cubicBezTo>
                      <a:pt x="277" y="254"/>
                      <a:pt x="278" y="253"/>
                      <a:pt x="279" y="253"/>
                    </a:cubicBezTo>
                    <a:cubicBezTo>
                      <a:pt x="282" y="253"/>
                      <a:pt x="285" y="255"/>
                      <a:pt x="288" y="257"/>
                    </a:cubicBezTo>
                    <a:cubicBezTo>
                      <a:pt x="289" y="257"/>
                      <a:pt x="289" y="257"/>
                      <a:pt x="289" y="257"/>
                    </a:cubicBezTo>
                    <a:cubicBezTo>
                      <a:pt x="291" y="258"/>
                      <a:pt x="292" y="259"/>
                      <a:pt x="294" y="260"/>
                    </a:cubicBezTo>
                    <a:cubicBezTo>
                      <a:pt x="301" y="263"/>
                      <a:pt x="301" y="263"/>
                      <a:pt x="301" y="263"/>
                    </a:cubicBezTo>
                    <a:cubicBezTo>
                      <a:pt x="304" y="265"/>
                      <a:pt x="303" y="267"/>
                      <a:pt x="303" y="268"/>
                    </a:cubicBezTo>
                    <a:cubicBezTo>
                      <a:pt x="303" y="269"/>
                      <a:pt x="303" y="269"/>
                      <a:pt x="303" y="270"/>
                    </a:cubicBezTo>
                    <a:cubicBezTo>
                      <a:pt x="303" y="270"/>
                      <a:pt x="303" y="271"/>
                      <a:pt x="303" y="272"/>
                    </a:cubicBezTo>
                    <a:cubicBezTo>
                      <a:pt x="303" y="273"/>
                      <a:pt x="303" y="273"/>
                      <a:pt x="303" y="273"/>
                    </a:cubicBezTo>
                    <a:cubicBezTo>
                      <a:pt x="302" y="274"/>
                      <a:pt x="302" y="275"/>
                      <a:pt x="302" y="276"/>
                    </a:cubicBezTo>
                    <a:cubicBezTo>
                      <a:pt x="301" y="282"/>
                      <a:pt x="301" y="282"/>
                      <a:pt x="301" y="282"/>
                    </a:cubicBezTo>
                    <a:cubicBezTo>
                      <a:pt x="301" y="282"/>
                      <a:pt x="301" y="283"/>
                      <a:pt x="301" y="284"/>
                    </a:cubicBezTo>
                    <a:cubicBezTo>
                      <a:pt x="305" y="284"/>
                      <a:pt x="305" y="284"/>
                      <a:pt x="305" y="284"/>
                    </a:cubicBezTo>
                    <a:cubicBezTo>
                      <a:pt x="306" y="284"/>
                      <a:pt x="308" y="284"/>
                      <a:pt x="309" y="284"/>
                    </a:cubicBezTo>
                    <a:cubicBezTo>
                      <a:pt x="312" y="284"/>
                      <a:pt x="314" y="285"/>
                      <a:pt x="316" y="288"/>
                    </a:cubicBezTo>
                    <a:cubicBezTo>
                      <a:pt x="317" y="288"/>
                      <a:pt x="317" y="288"/>
                      <a:pt x="317" y="288"/>
                    </a:cubicBezTo>
                    <a:cubicBezTo>
                      <a:pt x="318" y="289"/>
                      <a:pt x="318" y="289"/>
                      <a:pt x="318" y="289"/>
                    </a:cubicBezTo>
                    <a:cubicBezTo>
                      <a:pt x="318" y="289"/>
                      <a:pt x="318" y="289"/>
                      <a:pt x="318" y="289"/>
                    </a:cubicBezTo>
                    <a:cubicBezTo>
                      <a:pt x="318" y="289"/>
                      <a:pt x="318" y="289"/>
                      <a:pt x="318" y="289"/>
                    </a:cubicBezTo>
                    <a:cubicBezTo>
                      <a:pt x="319" y="289"/>
                      <a:pt x="319" y="289"/>
                      <a:pt x="319" y="289"/>
                    </a:cubicBezTo>
                    <a:cubicBezTo>
                      <a:pt x="320" y="289"/>
                      <a:pt x="321" y="290"/>
                      <a:pt x="322" y="290"/>
                    </a:cubicBezTo>
                    <a:cubicBezTo>
                      <a:pt x="323" y="290"/>
                      <a:pt x="324" y="289"/>
                      <a:pt x="324" y="289"/>
                    </a:cubicBezTo>
                    <a:cubicBezTo>
                      <a:pt x="326" y="289"/>
                      <a:pt x="327" y="289"/>
                      <a:pt x="328" y="289"/>
                    </a:cubicBezTo>
                    <a:cubicBezTo>
                      <a:pt x="328" y="287"/>
                      <a:pt x="328" y="287"/>
                      <a:pt x="328" y="287"/>
                    </a:cubicBezTo>
                    <a:cubicBezTo>
                      <a:pt x="329" y="288"/>
                      <a:pt x="329" y="288"/>
                      <a:pt x="329" y="288"/>
                    </a:cubicBezTo>
                    <a:cubicBezTo>
                      <a:pt x="330" y="287"/>
                      <a:pt x="330" y="287"/>
                      <a:pt x="330" y="287"/>
                    </a:cubicBezTo>
                    <a:cubicBezTo>
                      <a:pt x="330" y="286"/>
                      <a:pt x="330" y="286"/>
                      <a:pt x="330" y="286"/>
                    </a:cubicBezTo>
                    <a:cubicBezTo>
                      <a:pt x="330" y="286"/>
                      <a:pt x="330" y="285"/>
                      <a:pt x="330" y="285"/>
                    </a:cubicBezTo>
                    <a:cubicBezTo>
                      <a:pt x="330" y="284"/>
                      <a:pt x="330" y="283"/>
                      <a:pt x="330" y="283"/>
                    </a:cubicBezTo>
                    <a:cubicBezTo>
                      <a:pt x="330" y="282"/>
                      <a:pt x="330" y="282"/>
                      <a:pt x="330" y="282"/>
                    </a:cubicBezTo>
                    <a:cubicBezTo>
                      <a:pt x="330" y="282"/>
                      <a:pt x="330" y="281"/>
                      <a:pt x="331" y="281"/>
                    </a:cubicBezTo>
                    <a:cubicBezTo>
                      <a:pt x="332" y="279"/>
                      <a:pt x="333" y="278"/>
                      <a:pt x="334" y="276"/>
                    </a:cubicBezTo>
                    <a:cubicBezTo>
                      <a:pt x="335" y="274"/>
                      <a:pt x="335" y="274"/>
                      <a:pt x="335" y="274"/>
                    </a:cubicBezTo>
                    <a:cubicBezTo>
                      <a:pt x="336" y="274"/>
                      <a:pt x="336" y="273"/>
                      <a:pt x="336" y="273"/>
                    </a:cubicBezTo>
                    <a:cubicBezTo>
                      <a:pt x="337" y="272"/>
                      <a:pt x="337" y="272"/>
                      <a:pt x="337" y="272"/>
                    </a:cubicBezTo>
                    <a:cubicBezTo>
                      <a:pt x="344" y="263"/>
                      <a:pt x="345" y="261"/>
                      <a:pt x="345" y="260"/>
                    </a:cubicBezTo>
                    <a:cubicBezTo>
                      <a:pt x="345" y="260"/>
                      <a:pt x="345" y="260"/>
                      <a:pt x="345" y="260"/>
                    </a:cubicBezTo>
                    <a:cubicBezTo>
                      <a:pt x="344" y="259"/>
                      <a:pt x="344" y="259"/>
                      <a:pt x="343" y="258"/>
                    </a:cubicBezTo>
                    <a:cubicBezTo>
                      <a:pt x="343" y="258"/>
                      <a:pt x="342" y="257"/>
                      <a:pt x="342" y="257"/>
                    </a:cubicBezTo>
                    <a:cubicBezTo>
                      <a:pt x="341" y="256"/>
                      <a:pt x="341" y="256"/>
                      <a:pt x="341" y="256"/>
                    </a:cubicBezTo>
                    <a:cubicBezTo>
                      <a:pt x="341" y="256"/>
                      <a:pt x="340" y="255"/>
                      <a:pt x="340" y="255"/>
                    </a:cubicBezTo>
                    <a:cubicBezTo>
                      <a:pt x="339" y="254"/>
                      <a:pt x="338" y="252"/>
                      <a:pt x="338" y="250"/>
                    </a:cubicBezTo>
                    <a:cubicBezTo>
                      <a:pt x="338" y="250"/>
                      <a:pt x="338" y="249"/>
                      <a:pt x="338" y="248"/>
                    </a:cubicBezTo>
                    <a:cubicBezTo>
                      <a:pt x="339" y="244"/>
                      <a:pt x="339" y="244"/>
                      <a:pt x="339" y="244"/>
                    </a:cubicBezTo>
                    <a:cubicBezTo>
                      <a:pt x="340" y="239"/>
                      <a:pt x="340" y="238"/>
                      <a:pt x="340" y="238"/>
                    </a:cubicBezTo>
                    <a:cubicBezTo>
                      <a:pt x="339" y="237"/>
                      <a:pt x="336" y="236"/>
                      <a:pt x="334" y="236"/>
                    </a:cubicBezTo>
                    <a:cubicBezTo>
                      <a:pt x="329" y="236"/>
                      <a:pt x="327" y="236"/>
                      <a:pt x="323" y="232"/>
                    </a:cubicBezTo>
                    <a:cubicBezTo>
                      <a:pt x="322" y="231"/>
                      <a:pt x="322" y="231"/>
                      <a:pt x="322" y="231"/>
                    </a:cubicBezTo>
                    <a:cubicBezTo>
                      <a:pt x="321" y="230"/>
                      <a:pt x="321" y="230"/>
                      <a:pt x="321" y="230"/>
                    </a:cubicBezTo>
                    <a:cubicBezTo>
                      <a:pt x="320" y="229"/>
                      <a:pt x="320" y="228"/>
                      <a:pt x="319" y="228"/>
                    </a:cubicBezTo>
                    <a:cubicBezTo>
                      <a:pt x="318" y="226"/>
                      <a:pt x="317" y="224"/>
                      <a:pt x="317" y="222"/>
                    </a:cubicBezTo>
                    <a:cubicBezTo>
                      <a:pt x="317" y="221"/>
                      <a:pt x="317" y="221"/>
                      <a:pt x="317" y="221"/>
                    </a:cubicBezTo>
                    <a:cubicBezTo>
                      <a:pt x="318" y="217"/>
                      <a:pt x="319" y="215"/>
                      <a:pt x="323" y="212"/>
                    </a:cubicBezTo>
                    <a:cubicBezTo>
                      <a:pt x="324" y="212"/>
                      <a:pt x="324" y="212"/>
                      <a:pt x="324" y="212"/>
                    </a:cubicBezTo>
                    <a:cubicBezTo>
                      <a:pt x="325" y="211"/>
                      <a:pt x="326" y="210"/>
                      <a:pt x="328" y="209"/>
                    </a:cubicBezTo>
                    <a:cubicBezTo>
                      <a:pt x="328" y="209"/>
                      <a:pt x="328" y="209"/>
                      <a:pt x="328" y="209"/>
                    </a:cubicBezTo>
                    <a:cubicBezTo>
                      <a:pt x="329" y="209"/>
                      <a:pt x="330" y="209"/>
                      <a:pt x="331" y="209"/>
                    </a:cubicBezTo>
                    <a:cubicBezTo>
                      <a:pt x="332" y="209"/>
                      <a:pt x="333" y="209"/>
                      <a:pt x="334" y="209"/>
                    </a:cubicBezTo>
                    <a:cubicBezTo>
                      <a:pt x="337" y="210"/>
                      <a:pt x="341" y="210"/>
                      <a:pt x="344" y="211"/>
                    </a:cubicBezTo>
                    <a:cubicBezTo>
                      <a:pt x="345" y="211"/>
                      <a:pt x="347" y="211"/>
                      <a:pt x="348" y="211"/>
                    </a:cubicBezTo>
                    <a:cubicBezTo>
                      <a:pt x="348" y="211"/>
                      <a:pt x="349" y="211"/>
                      <a:pt x="349" y="211"/>
                    </a:cubicBezTo>
                    <a:cubicBezTo>
                      <a:pt x="350" y="211"/>
                      <a:pt x="350" y="211"/>
                      <a:pt x="350" y="211"/>
                    </a:cubicBezTo>
                    <a:cubicBezTo>
                      <a:pt x="350" y="211"/>
                      <a:pt x="350" y="211"/>
                      <a:pt x="350" y="211"/>
                    </a:cubicBezTo>
                    <a:cubicBezTo>
                      <a:pt x="351" y="210"/>
                      <a:pt x="351" y="209"/>
                      <a:pt x="352" y="206"/>
                    </a:cubicBezTo>
                    <a:cubicBezTo>
                      <a:pt x="352" y="205"/>
                      <a:pt x="352" y="205"/>
                      <a:pt x="352" y="205"/>
                    </a:cubicBezTo>
                    <a:cubicBezTo>
                      <a:pt x="353" y="203"/>
                      <a:pt x="354" y="201"/>
                      <a:pt x="356" y="200"/>
                    </a:cubicBezTo>
                    <a:cubicBezTo>
                      <a:pt x="356" y="199"/>
                      <a:pt x="356" y="199"/>
                      <a:pt x="357" y="198"/>
                    </a:cubicBezTo>
                    <a:cubicBezTo>
                      <a:pt x="355" y="198"/>
                      <a:pt x="354" y="197"/>
                      <a:pt x="353" y="195"/>
                    </a:cubicBezTo>
                    <a:cubicBezTo>
                      <a:pt x="351" y="191"/>
                      <a:pt x="351" y="191"/>
                      <a:pt x="351" y="191"/>
                    </a:cubicBezTo>
                    <a:cubicBezTo>
                      <a:pt x="366" y="189"/>
                      <a:pt x="366" y="189"/>
                      <a:pt x="366" y="189"/>
                    </a:cubicBezTo>
                    <a:cubicBezTo>
                      <a:pt x="367" y="189"/>
                      <a:pt x="367" y="189"/>
                      <a:pt x="367" y="189"/>
                    </a:cubicBezTo>
                    <a:cubicBezTo>
                      <a:pt x="368" y="189"/>
                      <a:pt x="369" y="189"/>
                      <a:pt x="370" y="189"/>
                    </a:cubicBezTo>
                    <a:cubicBezTo>
                      <a:pt x="369" y="186"/>
                      <a:pt x="369" y="182"/>
                      <a:pt x="369" y="180"/>
                    </a:cubicBezTo>
                    <a:cubicBezTo>
                      <a:pt x="370" y="178"/>
                      <a:pt x="371" y="176"/>
                      <a:pt x="372" y="174"/>
                    </a:cubicBezTo>
                    <a:cubicBezTo>
                      <a:pt x="372" y="173"/>
                      <a:pt x="372" y="173"/>
                      <a:pt x="372" y="173"/>
                    </a:cubicBezTo>
                    <a:cubicBezTo>
                      <a:pt x="373" y="172"/>
                      <a:pt x="373" y="172"/>
                      <a:pt x="373" y="172"/>
                    </a:cubicBezTo>
                    <a:cubicBezTo>
                      <a:pt x="374" y="171"/>
                      <a:pt x="374" y="171"/>
                      <a:pt x="374" y="171"/>
                    </a:cubicBezTo>
                    <a:cubicBezTo>
                      <a:pt x="376" y="170"/>
                      <a:pt x="376" y="170"/>
                      <a:pt x="376" y="170"/>
                    </a:cubicBezTo>
                    <a:cubicBezTo>
                      <a:pt x="376" y="170"/>
                      <a:pt x="376" y="170"/>
                      <a:pt x="376" y="170"/>
                    </a:cubicBezTo>
                    <a:cubicBezTo>
                      <a:pt x="377" y="170"/>
                      <a:pt x="377" y="170"/>
                      <a:pt x="378" y="171"/>
                    </a:cubicBezTo>
                    <a:cubicBezTo>
                      <a:pt x="378" y="171"/>
                      <a:pt x="378" y="171"/>
                      <a:pt x="378" y="171"/>
                    </a:cubicBezTo>
                    <a:cubicBezTo>
                      <a:pt x="379" y="171"/>
                      <a:pt x="380" y="171"/>
                      <a:pt x="380" y="171"/>
                    </a:cubicBezTo>
                    <a:cubicBezTo>
                      <a:pt x="381" y="172"/>
                      <a:pt x="381" y="172"/>
                      <a:pt x="381" y="172"/>
                    </a:cubicBezTo>
                    <a:cubicBezTo>
                      <a:pt x="382" y="172"/>
                      <a:pt x="382" y="172"/>
                      <a:pt x="382" y="172"/>
                    </a:cubicBezTo>
                    <a:cubicBezTo>
                      <a:pt x="383" y="172"/>
                      <a:pt x="383" y="173"/>
                      <a:pt x="384" y="173"/>
                    </a:cubicBezTo>
                    <a:cubicBezTo>
                      <a:pt x="385" y="174"/>
                      <a:pt x="385" y="174"/>
                      <a:pt x="385" y="174"/>
                    </a:cubicBezTo>
                    <a:cubicBezTo>
                      <a:pt x="386" y="174"/>
                      <a:pt x="386" y="174"/>
                      <a:pt x="386" y="174"/>
                    </a:cubicBezTo>
                    <a:cubicBezTo>
                      <a:pt x="386" y="174"/>
                      <a:pt x="386" y="174"/>
                      <a:pt x="386" y="174"/>
                    </a:cubicBezTo>
                    <a:cubicBezTo>
                      <a:pt x="387" y="174"/>
                      <a:pt x="387" y="174"/>
                      <a:pt x="387" y="174"/>
                    </a:cubicBezTo>
                    <a:cubicBezTo>
                      <a:pt x="387" y="174"/>
                      <a:pt x="388" y="174"/>
                      <a:pt x="388" y="173"/>
                    </a:cubicBezTo>
                    <a:cubicBezTo>
                      <a:pt x="390" y="172"/>
                      <a:pt x="391" y="172"/>
                      <a:pt x="393" y="171"/>
                    </a:cubicBezTo>
                    <a:cubicBezTo>
                      <a:pt x="393" y="171"/>
                      <a:pt x="393" y="171"/>
                      <a:pt x="393" y="171"/>
                    </a:cubicBezTo>
                    <a:cubicBezTo>
                      <a:pt x="394" y="170"/>
                      <a:pt x="394" y="170"/>
                      <a:pt x="394" y="170"/>
                    </a:cubicBezTo>
                    <a:cubicBezTo>
                      <a:pt x="395" y="170"/>
                      <a:pt x="397" y="168"/>
                      <a:pt x="398" y="168"/>
                    </a:cubicBezTo>
                    <a:cubicBezTo>
                      <a:pt x="399" y="167"/>
                      <a:pt x="399" y="167"/>
                      <a:pt x="399" y="167"/>
                    </a:cubicBezTo>
                    <a:cubicBezTo>
                      <a:pt x="400" y="166"/>
                      <a:pt x="400" y="166"/>
                      <a:pt x="401" y="165"/>
                    </a:cubicBezTo>
                    <a:cubicBezTo>
                      <a:pt x="402" y="165"/>
                      <a:pt x="402" y="164"/>
                      <a:pt x="403" y="164"/>
                    </a:cubicBezTo>
                    <a:cubicBezTo>
                      <a:pt x="403" y="163"/>
                      <a:pt x="404" y="163"/>
                      <a:pt x="405" y="162"/>
                    </a:cubicBezTo>
                    <a:cubicBezTo>
                      <a:pt x="406" y="162"/>
                      <a:pt x="406" y="162"/>
                      <a:pt x="406" y="162"/>
                    </a:cubicBezTo>
                    <a:cubicBezTo>
                      <a:pt x="408" y="160"/>
                      <a:pt x="408" y="160"/>
                      <a:pt x="408" y="160"/>
                    </a:cubicBezTo>
                    <a:cubicBezTo>
                      <a:pt x="422" y="176"/>
                      <a:pt x="422" y="176"/>
                      <a:pt x="422" y="176"/>
                    </a:cubicBezTo>
                    <a:cubicBezTo>
                      <a:pt x="419" y="178"/>
                      <a:pt x="419" y="178"/>
                      <a:pt x="419" y="178"/>
                    </a:cubicBezTo>
                    <a:cubicBezTo>
                      <a:pt x="417" y="180"/>
                      <a:pt x="414" y="182"/>
                      <a:pt x="411" y="185"/>
                    </a:cubicBezTo>
                    <a:cubicBezTo>
                      <a:pt x="412" y="186"/>
                      <a:pt x="414" y="187"/>
                      <a:pt x="415" y="188"/>
                    </a:cubicBezTo>
                    <a:cubicBezTo>
                      <a:pt x="416" y="188"/>
                      <a:pt x="417" y="188"/>
                      <a:pt x="418" y="188"/>
                    </a:cubicBezTo>
                    <a:cubicBezTo>
                      <a:pt x="419" y="188"/>
                      <a:pt x="419" y="188"/>
                      <a:pt x="419" y="188"/>
                    </a:cubicBezTo>
                    <a:cubicBezTo>
                      <a:pt x="419" y="188"/>
                      <a:pt x="420" y="188"/>
                      <a:pt x="420" y="188"/>
                    </a:cubicBezTo>
                    <a:cubicBezTo>
                      <a:pt x="422" y="187"/>
                      <a:pt x="422" y="187"/>
                      <a:pt x="422" y="187"/>
                    </a:cubicBezTo>
                    <a:cubicBezTo>
                      <a:pt x="423" y="187"/>
                      <a:pt x="423" y="187"/>
                      <a:pt x="423" y="187"/>
                    </a:cubicBezTo>
                    <a:cubicBezTo>
                      <a:pt x="423" y="187"/>
                      <a:pt x="424" y="187"/>
                      <a:pt x="425" y="187"/>
                    </a:cubicBezTo>
                    <a:cubicBezTo>
                      <a:pt x="425" y="187"/>
                      <a:pt x="425" y="187"/>
                      <a:pt x="425" y="187"/>
                    </a:cubicBezTo>
                    <a:cubicBezTo>
                      <a:pt x="427" y="186"/>
                      <a:pt x="429" y="186"/>
                      <a:pt x="431" y="186"/>
                    </a:cubicBezTo>
                    <a:cubicBezTo>
                      <a:pt x="433" y="186"/>
                      <a:pt x="433" y="186"/>
                      <a:pt x="433" y="186"/>
                    </a:cubicBezTo>
                    <a:cubicBezTo>
                      <a:pt x="434" y="186"/>
                      <a:pt x="435" y="186"/>
                      <a:pt x="435" y="186"/>
                    </a:cubicBezTo>
                    <a:cubicBezTo>
                      <a:pt x="436" y="187"/>
                      <a:pt x="437" y="187"/>
                      <a:pt x="439" y="188"/>
                    </a:cubicBezTo>
                    <a:cubicBezTo>
                      <a:pt x="440" y="188"/>
                      <a:pt x="441" y="189"/>
                      <a:pt x="442" y="190"/>
                    </a:cubicBezTo>
                    <a:cubicBezTo>
                      <a:pt x="443" y="190"/>
                      <a:pt x="443" y="190"/>
                      <a:pt x="444" y="190"/>
                    </a:cubicBezTo>
                    <a:cubicBezTo>
                      <a:pt x="445" y="190"/>
                      <a:pt x="446" y="190"/>
                      <a:pt x="448" y="189"/>
                    </a:cubicBezTo>
                    <a:cubicBezTo>
                      <a:pt x="448" y="189"/>
                      <a:pt x="448" y="189"/>
                      <a:pt x="448" y="189"/>
                    </a:cubicBezTo>
                    <a:cubicBezTo>
                      <a:pt x="449" y="189"/>
                      <a:pt x="449" y="189"/>
                      <a:pt x="449" y="189"/>
                    </a:cubicBezTo>
                    <a:cubicBezTo>
                      <a:pt x="449" y="188"/>
                      <a:pt x="450" y="188"/>
                      <a:pt x="450" y="188"/>
                    </a:cubicBezTo>
                    <a:cubicBezTo>
                      <a:pt x="450" y="187"/>
                      <a:pt x="450" y="186"/>
                      <a:pt x="450" y="186"/>
                    </a:cubicBezTo>
                    <a:cubicBezTo>
                      <a:pt x="451" y="184"/>
                      <a:pt x="452" y="183"/>
                      <a:pt x="453" y="183"/>
                    </a:cubicBezTo>
                    <a:cubicBezTo>
                      <a:pt x="453" y="182"/>
                      <a:pt x="454" y="182"/>
                      <a:pt x="454" y="182"/>
                    </a:cubicBezTo>
                    <a:cubicBezTo>
                      <a:pt x="455" y="182"/>
                      <a:pt x="455" y="182"/>
                      <a:pt x="455" y="182"/>
                    </a:cubicBezTo>
                    <a:cubicBezTo>
                      <a:pt x="456" y="181"/>
                      <a:pt x="456" y="181"/>
                      <a:pt x="456" y="181"/>
                    </a:cubicBezTo>
                    <a:cubicBezTo>
                      <a:pt x="456" y="183"/>
                      <a:pt x="456" y="183"/>
                      <a:pt x="456" y="183"/>
                    </a:cubicBezTo>
                    <a:cubicBezTo>
                      <a:pt x="456" y="181"/>
                      <a:pt x="456" y="181"/>
                      <a:pt x="456" y="181"/>
                    </a:cubicBezTo>
                    <a:cubicBezTo>
                      <a:pt x="456" y="181"/>
                      <a:pt x="457" y="181"/>
                      <a:pt x="457" y="181"/>
                    </a:cubicBezTo>
                    <a:cubicBezTo>
                      <a:pt x="457" y="181"/>
                      <a:pt x="457" y="181"/>
                      <a:pt x="457" y="181"/>
                    </a:cubicBezTo>
                    <a:cubicBezTo>
                      <a:pt x="458" y="181"/>
                      <a:pt x="458" y="181"/>
                      <a:pt x="459" y="181"/>
                    </a:cubicBezTo>
                    <a:cubicBezTo>
                      <a:pt x="459" y="180"/>
                      <a:pt x="459" y="180"/>
                      <a:pt x="459" y="180"/>
                    </a:cubicBezTo>
                    <a:cubicBezTo>
                      <a:pt x="459" y="180"/>
                      <a:pt x="459" y="180"/>
                      <a:pt x="459" y="180"/>
                    </a:cubicBezTo>
                    <a:cubicBezTo>
                      <a:pt x="459" y="178"/>
                      <a:pt x="460" y="177"/>
                      <a:pt x="461" y="176"/>
                    </a:cubicBezTo>
                    <a:cubicBezTo>
                      <a:pt x="462" y="176"/>
                      <a:pt x="462" y="176"/>
                      <a:pt x="462" y="176"/>
                    </a:cubicBezTo>
                    <a:cubicBezTo>
                      <a:pt x="463" y="176"/>
                      <a:pt x="463" y="176"/>
                      <a:pt x="463" y="176"/>
                    </a:cubicBezTo>
                    <a:cubicBezTo>
                      <a:pt x="464" y="176"/>
                      <a:pt x="465" y="176"/>
                      <a:pt x="466" y="176"/>
                    </a:cubicBezTo>
                    <a:cubicBezTo>
                      <a:pt x="466" y="176"/>
                      <a:pt x="466" y="176"/>
                      <a:pt x="466" y="176"/>
                    </a:cubicBezTo>
                    <a:cubicBezTo>
                      <a:pt x="467" y="177"/>
                      <a:pt x="468" y="177"/>
                      <a:pt x="468" y="178"/>
                    </a:cubicBezTo>
                    <a:cubicBezTo>
                      <a:pt x="469" y="178"/>
                      <a:pt x="469" y="178"/>
                      <a:pt x="469" y="179"/>
                    </a:cubicBezTo>
                    <a:cubicBezTo>
                      <a:pt x="470" y="178"/>
                      <a:pt x="470" y="178"/>
                      <a:pt x="470" y="178"/>
                    </a:cubicBezTo>
                    <a:cubicBezTo>
                      <a:pt x="470" y="177"/>
                      <a:pt x="470" y="177"/>
                      <a:pt x="470" y="177"/>
                    </a:cubicBezTo>
                    <a:cubicBezTo>
                      <a:pt x="471" y="177"/>
                      <a:pt x="471" y="176"/>
                      <a:pt x="471" y="176"/>
                    </a:cubicBezTo>
                    <a:cubicBezTo>
                      <a:pt x="473" y="174"/>
                      <a:pt x="473" y="174"/>
                      <a:pt x="473" y="174"/>
                    </a:cubicBezTo>
                    <a:cubicBezTo>
                      <a:pt x="473" y="174"/>
                      <a:pt x="473" y="174"/>
                      <a:pt x="473" y="174"/>
                    </a:cubicBezTo>
                    <a:cubicBezTo>
                      <a:pt x="471" y="174"/>
                      <a:pt x="469" y="173"/>
                      <a:pt x="467" y="173"/>
                    </a:cubicBezTo>
                    <a:cubicBezTo>
                      <a:pt x="467" y="172"/>
                      <a:pt x="467" y="172"/>
                      <a:pt x="467" y="172"/>
                    </a:cubicBezTo>
                    <a:cubicBezTo>
                      <a:pt x="466" y="171"/>
                      <a:pt x="466" y="171"/>
                      <a:pt x="466" y="171"/>
                    </a:cubicBezTo>
                    <a:cubicBezTo>
                      <a:pt x="466" y="171"/>
                      <a:pt x="465" y="170"/>
                      <a:pt x="465" y="170"/>
                    </a:cubicBezTo>
                    <a:cubicBezTo>
                      <a:pt x="465" y="170"/>
                      <a:pt x="465" y="170"/>
                      <a:pt x="464" y="170"/>
                    </a:cubicBezTo>
                    <a:cubicBezTo>
                      <a:pt x="463" y="169"/>
                      <a:pt x="463" y="169"/>
                      <a:pt x="463" y="169"/>
                    </a:cubicBezTo>
                    <a:cubicBezTo>
                      <a:pt x="462" y="173"/>
                      <a:pt x="462" y="173"/>
                      <a:pt x="462" y="173"/>
                    </a:cubicBezTo>
                    <a:cubicBezTo>
                      <a:pt x="462" y="169"/>
                      <a:pt x="462" y="169"/>
                      <a:pt x="462" y="169"/>
                    </a:cubicBezTo>
                    <a:cubicBezTo>
                      <a:pt x="461" y="169"/>
                      <a:pt x="461" y="169"/>
                      <a:pt x="461" y="169"/>
                    </a:cubicBezTo>
                    <a:cubicBezTo>
                      <a:pt x="461" y="169"/>
                      <a:pt x="460" y="169"/>
                      <a:pt x="460" y="169"/>
                    </a:cubicBezTo>
                    <a:cubicBezTo>
                      <a:pt x="460" y="169"/>
                      <a:pt x="460" y="169"/>
                      <a:pt x="460" y="169"/>
                    </a:cubicBezTo>
                    <a:cubicBezTo>
                      <a:pt x="459" y="169"/>
                      <a:pt x="459" y="169"/>
                      <a:pt x="458" y="169"/>
                    </a:cubicBezTo>
                    <a:cubicBezTo>
                      <a:pt x="454" y="171"/>
                      <a:pt x="454" y="171"/>
                      <a:pt x="454" y="171"/>
                    </a:cubicBezTo>
                    <a:cubicBezTo>
                      <a:pt x="454" y="166"/>
                      <a:pt x="454" y="166"/>
                      <a:pt x="454" y="166"/>
                    </a:cubicBezTo>
                    <a:cubicBezTo>
                      <a:pt x="454" y="166"/>
                      <a:pt x="453" y="165"/>
                      <a:pt x="453" y="164"/>
                    </a:cubicBezTo>
                    <a:cubicBezTo>
                      <a:pt x="453" y="164"/>
                      <a:pt x="453" y="163"/>
                      <a:pt x="453" y="163"/>
                    </a:cubicBezTo>
                    <a:cubicBezTo>
                      <a:pt x="453" y="163"/>
                      <a:pt x="453" y="163"/>
                      <a:pt x="453" y="163"/>
                    </a:cubicBezTo>
                    <a:cubicBezTo>
                      <a:pt x="452" y="163"/>
                      <a:pt x="452" y="163"/>
                      <a:pt x="452" y="163"/>
                    </a:cubicBezTo>
                    <a:cubicBezTo>
                      <a:pt x="451" y="163"/>
                      <a:pt x="451" y="163"/>
                      <a:pt x="451" y="163"/>
                    </a:cubicBezTo>
                    <a:cubicBezTo>
                      <a:pt x="450" y="163"/>
                      <a:pt x="448" y="162"/>
                      <a:pt x="448" y="161"/>
                    </a:cubicBezTo>
                    <a:cubicBezTo>
                      <a:pt x="447" y="160"/>
                      <a:pt x="447" y="159"/>
                      <a:pt x="446" y="158"/>
                    </a:cubicBezTo>
                    <a:cubicBezTo>
                      <a:pt x="445" y="157"/>
                      <a:pt x="445" y="156"/>
                      <a:pt x="444" y="155"/>
                    </a:cubicBezTo>
                    <a:cubicBezTo>
                      <a:pt x="444" y="158"/>
                      <a:pt x="444" y="158"/>
                      <a:pt x="444" y="158"/>
                    </a:cubicBezTo>
                    <a:cubicBezTo>
                      <a:pt x="440" y="158"/>
                      <a:pt x="440" y="158"/>
                      <a:pt x="440" y="158"/>
                    </a:cubicBezTo>
                    <a:cubicBezTo>
                      <a:pt x="440" y="158"/>
                      <a:pt x="440" y="158"/>
                      <a:pt x="440" y="158"/>
                    </a:cubicBezTo>
                    <a:cubicBezTo>
                      <a:pt x="440" y="158"/>
                      <a:pt x="440" y="158"/>
                      <a:pt x="440" y="158"/>
                    </a:cubicBezTo>
                    <a:cubicBezTo>
                      <a:pt x="440" y="158"/>
                      <a:pt x="439" y="158"/>
                      <a:pt x="439" y="158"/>
                    </a:cubicBezTo>
                    <a:cubicBezTo>
                      <a:pt x="439" y="159"/>
                      <a:pt x="439" y="159"/>
                      <a:pt x="439" y="159"/>
                    </a:cubicBezTo>
                    <a:cubicBezTo>
                      <a:pt x="439" y="160"/>
                      <a:pt x="439" y="161"/>
                      <a:pt x="439" y="162"/>
                    </a:cubicBezTo>
                    <a:cubicBezTo>
                      <a:pt x="439" y="165"/>
                      <a:pt x="439" y="165"/>
                      <a:pt x="439" y="165"/>
                    </a:cubicBezTo>
                    <a:cubicBezTo>
                      <a:pt x="435" y="165"/>
                      <a:pt x="435" y="165"/>
                      <a:pt x="435" y="165"/>
                    </a:cubicBezTo>
                    <a:cubicBezTo>
                      <a:pt x="434" y="165"/>
                      <a:pt x="434" y="165"/>
                      <a:pt x="433" y="165"/>
                    </a:cubicBezTo>
                    <a:cubicBezTo>
                      <a:pt x="433" y="165"/>
                      <a:pt x="432" y="165"/>
                      <a:pt x="432" y="164"/>
                    </a:cubicBezTo>
                    <a:cubicBezTo>
                      <a:pt x="430" y="164"/>
                      <a:pt x="430" y="164"/>
                      <a:pt x="430" y="164"/>
                    </a:cubicBezTo>
                    <a:cubicBezTo>
                      <a:pt x="430" y="164"/>
                      <a:pt x="429" y="164"/>
                      <a:pt x="428" y="164"/>
                    </a:cubicBezTo>
                    <a:cubicBezTo>
                      <a:pt x="425" y="163"/>
                      <a:pt x="421" y="163"/>
                      <a:pt x="418" y="161"/>
                    </a:cubicBezTo>
                    <a:cubicBezTo>
                      <a:pt x="414" y="159"/>
                      <a:pt x="413" y="157"/>
                      <a:pt x="412" y="155"/>
                    </a:cubicBezTo>
                    <a:cubicBezTo>
                      <a:pt x="412" y="154"/>
                      <a:pt x="412" y="154"/>
                      <a:pt x="412" y="154"/>
                    </a:cubicBezTo>
                    <a:cubicBezTo>
                      <a:pt x="410" y="155"/>
                      <a:pt x="410" y="155"/>
                      <a:pt x="410" y="155"/>
                    </a:cubicBezTo>
                    <a:cubicBezTo>
                      <a:pt x="410" y="155"/>
                      <a:pt x="409" y="155"/>
                      <a:pt x="408" y="155"/>
                    </a:cubicBezTo>
                    <a:cubicBezTo>
                      <a:pt x="407" y="155"/>
                      <a:pt x="406" y="155"/>
                      <a:pt x="404" y="153"/>
                    </a:cubicBezTo>
                    <a:cubicBezTo>
                      <a:pt x="404" y="153"/>
                      <a:pt x="404" y="153"/>
                      <a:pt x="404" y="153"/>
                    </a:cubicBezTo>
                    <a:cubicBezTo>
                      <a:pt x="403" y="152"/>
                      <a:pt x="403" y="152"/>
                      <a:pt x="403" y="152"/>
                    </a:cubicBezTo>
                    <a:cubicBezTo>
                      <a:pt x="403" y="152"/>
                      <a:pt x="403" y="152"/>
                      <a:pt x="403" y="152"/>
                    </a:cubicBezTo>
                    <a:cubicBezTo>
                      <a:pt x="402" y="152"/>
                      <a:pt x="402" y="152"/>
                      <a:pt x="402" y="152"/>
                    </a:cubicBezTo>
                    <a:cubicBezTo>
                      <a:pt x="401" y="152"/>
                      <a:pt x="400" y="152"/>
                      <a:pt x="399" y="152"/>
                    </a:cubicBezTo>
                    <a:cubicBezTo>
                      <a:pt x="399" y="151"/>
                      <a:pt x="399" y="151"/>
                      <a:pt x="399" y="151"/>
                    </a:cubicBezTo>
                    <a:cubicBezTo>
                      <a:pt x="398" y="151"/>
                      <a:pt x="397" y="150"/>
                      <a:pt x="397" y="150"/>
                    </a:cubicBezTo>
                    <a:cubicBezTo>
                      <a:pt x="395" y="146"/>
                      <a:pt x="398" y="143"/>
                      <a:pt x="401" y="141"/>
                    </a:cubicBezTo>
                    <a:cubicBezTo>
                      <a:pt x="403" y="139"/>
                      <a:pt x="407" y="136"/>
                      <a:pt x="411" y="133"/>
                    </a:cubicBezTo>
                    <a:cubicBezTo>
                      <a:pt x="395" y="142"/>
                      <a:pt x="395" y="142"/>
                      <a:pt x="395" y="142"/>
                    </a:cubicBezTo>
                    <a:cubicBezTo>
                      <a:pt x="391" y="144"/>
                      <a:pt x="388" y="147"/>
                      <a:pt x="384" y="150"/>
                    </a:cubicBezTo>
                    <a:cubicBezTo>
                      <a:pt x="383" y="151"/>
                      <a:pt x="383" y="151"/>
                      <a:pt x="383" y="151"/>
                    </a:cubicBezTo>
                    <a:cubicBezTo>
                      <a:pt x="381" y="152"/>
                      <a:pt x="379" y="153"/>
                      <a:pt x="377" y="155"/>
                    </a:cubicBezTo>
                    <a:cubicBezTo>
                      <a:pt x="381" y="161"/>
                      <a:pt x="381" y="161"/>
                      <a:pt x="381" y="161"/>
                    </a:cubicBezTo>
                    <a:cubicBezTo>
                      <a:pt x="375" y="156"/>
                      <a:pt x="375" y="156"/>
                      <a:pt x="375" y="156"/>
                    </a:cubicBezTo>
                    <a:cubicBezTo>
                      <a:pt x="375" y="156"/>
                      <a:pt x="375" y="156"/>
                      <a:pt x="375" y="156"/>
                    </a:cubicBezTo>
                    <a:cubicBezTo>
                      <a:pt x="373" y="157"/>
                      <a:pt x="372" y="158"/>
                      <a:pt x="371" y="160"/>
                    </a:cubicBezTo>
                    <a:cubicBezTo>
                      <a:pt x="370" y="161"/>
                      <a:pt x="370" y="162"/>
                      <a:pt x="368" y="163"/>
                    </a:cubicBezTo>
                    <a:cubicBezTo>
                      <a:pt x="365" y="165"/>
                      <a:pt x="365" y="165"/>
                      <a:pt x="365" y="165"/>
                    </a:cubicBezTo>
                    <a:cubicBezTo>
                      <a:pt x="361" y="167"/>
                      <a:pt x="360" y="169"/>
                      <a:pt x="360" y="171"/>
                    </a:cubicBezTo>
                    <a:cubicBezTo>
                      <a:pt x="360" y="172"/>
                      <a:pt x="360" y="172"/>
                      <a:pt x="360" y="172"/>
                    </a:cubicBezTo>
                    <a:cubicBezTo>
                      <a:pt x="360" y="173"/>
                      <a:pt x="360" y="173"/>
                      <a:pt x="360" y="173"/>
                    </a:cubicBezTo>
                    <a:cubicBezTo>
                      <a:pt x="360" y="176"/>
                      <a:pt x="360" y="179"/>
                      <a:pt x="357" y="182"/>
                    </a:cubicBezTo>
                    <a:cubicBezTo>
                      <a:pt x="357" y="182"/>
                      <a:pt x="356" y="182"/>
                      <a:pt x="355" y="182"/>
                    </a:cubicBezTo>
                    <a:cubicBezTo>
                      <a:pt x="355" y="183"/>
                      <a:pt x="355" y="183"/>
                      <a:pt x="355" y="183"/>
                    </a:cubicBezTo>
                    <a:cubicBezTo>
                      <a:pt x="354" y="181"/>
                      <a:pt x="354" y="181"/>
                      <a:pt x="354" y="181"/>
                    </a:cubicBezTo>
                    <a:cubicBezTo>
                      <a:pt x="354" y="183"/>
                      <a:pt x="354" y="183"/>
                      <a:pt x="354" y="183"/>
                    </a:cubicBezTo>
                    <a:cubicBezTo>
                      <a:pt x="353" y="183"/>
                      <a:pt x="353" y="183"/>
                      <a:pt x="353" y="183"/>
                    </a:cubicBezTo>
                    <a:cubicBezTo>
                      <a:pt x="353" y="183"/>
                      <a:pt x="353" y="183"/>
                      <a:pt x="353" y="183"/>
                    </a:cubicBezTo>
                    <a:cubicBezTo>
                      <a:pt x="353" y="183"/>
                      <a:pt x="352" y="183"/>
                      <a:pt x="352" y="183"/>
                    </a:cubicBezTo>
                    <a:cubicBezTo>
                      <a:pt x="352" y="181"/>
                      <a:pt x="352" y="181"/>
                      <a:pt x="352" y="181"/>
                    </a:cubicBezTo>
                    <a:cubicBezTo>
                      <a:pt x="352" y="181"/>
                      <a:pt x="352" y="181"/>
                      <a:pt x="352" y="181"/>
                    </a:cubicBezTo>
                    <a:cubicBezTo>
                      <a:pt x="351" y="182"/>
                      <a:pt x="351" y="182"/>
                      <a:pt x="351" y="182"/>
                    </a:cubicBezTo>
                    <a:cubicBezTo>
                      <a:pt x="351" y="182"/>
                      <a:pt x="350" y="182"/>
                      <a:pt x="350" y="182"/>
                    </a:cubicBezTo>
                    <a:cubicBezTo>
                      <a:pt x="344" y="180"/>
                      <a:pt x="341" y="178"/>
                      <a:pt x="336" y="175"/>
                    </a:cubicBezTo>
                    <a:cubicBezTo>
                      <a:pt x="333" y="172"/>
                      <a:pt x="333" y="172"/>
                      <a:pt x="333" y="172"/>
                    </a:cubicBezTo>
                    <a:cubicBezTo>
                      <a:pt x="336" y="169"/>
                      <a:pt x="336" y="169"/>
                      <a:pt x="336" y="169"/>
                    </a:cubicBezTo>
                    <a:cubicBezTo>
                      <a:pt x="336" y="169"/>
                      <a:pt x="338" y="168"/>
                      <a:pt x="338" y="167"/>
                    </a:cubicBezTo>
                    <a:cubicBezTo>
                      <a:pt x="337" y="166"/>
                      <a:pt x="337" y="166"/>
                      <a:pt x="337" y="166"/>
                    </a:cubicBezTo>
                    <a:cubicBezTo>
                      <a:pt x="337" y="165"/>
                      <a:pt x="337" y="165"/>
                      <a:pt x="337" y="165"/>
                    </a:cubicBezTo>
                    <a:cubicBezTo>
                      <a:pt x="337" y="165"/>
                      <a:pt x="337" y="165"/>
                      <a:pt x="337" y="165"/>
                    </a:cubicBezTo>
                    <a:cubicBezTo>
                      <a:pt x="336" y="165"/>
                      <a:pt x="336" y="165"/>
                      <a:pt x="335" y="164"/>
                    </a:cubicBezTo>
                    <a:cubicBezTo>
                      <a:pt x="335" y="164"/>
                      <a:pt x="334" y="163"/>
                      <a:pt x="334" y="163"/>
                    </a:cubicBezTo>
                    <a:cubicBezTo>
                      <a:pt x="334" y="163"/>
                      <a:pt x="333" y="163"/>
                      <a:pt x="333" y="163"/>
                    </a:cubicBezTo>
                    <a:cubicBezTo>
                      <a:pt x="332" y="163"/>
                      <a:pt x="330" y="163"/>
                      <a:pt x="330" y="163"/>
                    </a:cubicBezTo>
                    <a:cubicBezTo>
                      <a:pt x="329" y="163"/>
                      <a:pt x="329" y="163"/>
                      <a:pt x="329" y="163"/>
                    </a:cubicBezTo>
                    <a:cubicBezTo>
                      <a:pt x="328" y="163"/>
                      <a:pt x="328" y="163"/>
                      <a:pt x="327" y="163"/>
                    </a:cubicBezTo>
                    <a:cubicBezTo>
                      <a:pt x="303" y="164"/>
                      <a:pt x="303" y="164"/>
                      <a:pt x="303" y="164"/>
                    </a:cubicBezTo>
                    <a:cubicBezTo>
                      <a:pt x="303" y="164"/>
                      <a:pt x="303" y="164"/>
                      <a:pt x="303" y="164"/>
                    </a:cubicBezTo>
                    <a:cubicBezTo>
                      <a:pt x="301" y="163"/>
                      <a:pt x="299" y="162"/>
                      <a:pt x="299" y="161"/>
                    </a:cubicBezTo>
                    <a:cubicBezTo>
                      <a:pt x="299" y="159"/>
                      <a:pt x="298" y="158"/>
                      <a:pt x="298" y="157"/>
                    </a:cubicBezTo>
                    <a:cubicBezTo>
                      <a:pt x="297" y="155"/>
                      <a:pt x="297" y="155"/>
                      <a:pt x="297" y="155"/>
                    </a:cubicBezTo>
                    <a:cubicBezTo>
                      <a:pt x="297" y="154"/>
                      <a:pt x="297" y="154"/>
                      <a:pt x="297" y="154"/>
                    </a:cubicBezTo>
                    <a:cubicBezTo>
                      <a:pt x="296" y="150"/>
                      <a:pt x="296" y="150"/>
                      <a:pt x="296" y="150"/>
                    </a:cubicBezTo>
                    <a:cubicBezTo>
                      <a:pt x="295" y="146"/>
                      <a:pt x="294" y="143"/>
                      <a:pt x="293" y="139"/>
                    </a:cubicBezTo>
                    <a:cubicBezTo>
                      <a:pt x="293" y="138"/>
                      <a:pt x="293" y="138"/>
                      <a:pt x="293" y="137"/>
                    </a:cubicBezTo>
                    <a:cubicBezTo>
                      <a:pt x="293" y="137"/>
                      <a:pt x="293" y="137"/>
                      <a:pt x="293" y="137"/>
                    </a:cubicBezTo>
                    <a:cubicBezTo>
                      <a:pt x="293" y="136"/>
                      <a:pt x="293" y="135"/>
                      <a:pt x="293" y="135"/>
                    </a:cubicBezTo>
                    <a:cubicBezTo>
                      <a:pt x="292" y="135"/>
                      <a:pt x="292" y="135"/>
                      <a:pt x="292" y="135"/>
                    </a:cubicBezTo>
                    <a:cubicBezTo>
                      <a:pt x="291" y="135"/>
                      <a:pt x="290" y="135"/>
                      <a:pt x="290" y="135"/>
                    </a:cubicBezTo>
                    <a:cubicBezTo>
                      <a:pt x="289" y="135"/>
                      <a:pt x="288" y="135"/>
                      <a:pt x="287" y="135"/>
                    </a:cubicBezTo>
                    <a:cubicBezTo>
                      <a:pt x="287" y="135"/>
                      <a:pt x="286" y="135"/>
                      <a:pt x="286" y="135"/>
                    </a:cubicBezTo>
                    <a:cubicBezTo>
                      <a:pt x="286" y="135"/>
                      <a:pt x="286" y="135"/>
                      <a:pt x="286" y="135"/>
                    </a:cubicBezTo>
                    <a:cubicBezTo>
                      <a:pt x="285" y="136"/>
                      <a:pt x="285" y="136"/>
                      <a:pt x="285" y="136"/>
                    </a:cubicBezTo>
                    <a:cubicBezTo>
                      <a:pt x="282" y="135"/>
                      <a:pt x="280" y="134"/>
                      <a:pt x="279" y="132"/>
                    </a:cubicBezTo>
                    <a:cubicBezTo>
                      <a:pt x="279" y="130"/>
                      <a:pt x="279" y="128"/>
                      <a:pt x="279" y="126"/>
                    </a:cubicBezTo>
                    <a:cubicBezTo>
                      <a:pt x="279" y="124"/>
                      <a:pt x="279" y="123"/>
                      <a:pt x="279" y="122"/>
                    </a:cubicBezTo>
                    <a:cubicBezTo>
                      <a:pt x="279" y="121"/>
                      <a:pt x="279" y="121"/>
                      <a:pt x="279" y="120"/>
                    </a:cubicBezTo>
                    <a:cubicBezTo>
                      <a:pt x="279" y="118"/>
                      <a:pt x="280" y="116"/>
                      <a:pt x="280" y="113"/>
                    </a:cubicBezTo>
                    <a:cubicBezTo>
                      <a:pt x="280" y="111"/>
                      <a:pt x="281" y="109"/>
                      <a:pt x="281" y="107"/>
                    </a:cubicBezTo>
                    <a:cubicBezTo>
                      <a:pt x="281" y="106"/>
                      <a:pt x="281" y="106"/>
                      <a:pt x="281" y="106"/>
                    </a:cubicBezTo>
                    <a:cubicBezTo>
                      <a:pt x="281" y="105"/>
                      <a:pt x="281" y="104"/>
                      <a:pt x="282" y="103"/>
                    </a:cubicBezTo>
                    <a:cubicBezTo>
                      <a:pt x="281" y="103"/>
                      <a:pt x="280" y="103"/>
                      <a:pt x="280" y="103"/>
                    </a:cubicBezTo>
                    <a:cubicBezTo>
                      <a:pt x="276" y="103"/>
                      <a:pt x="274" y="100"/>
                      <a:pt x="273" y="99"/>
                    </a:cubicBezTo>
                    <a:cubicBezTo>
                      <a:pt x="272" y="98"/>
                      <a:pt x="272" y="98"/>
                      <a:pt x="272" y="98"/>
                    </a:cubicBezTo>
                    <a:cubicBezTo>
                      <a:pt x="272" y="98"/>
                      <a:pt x="272" y="98"/>
                      <a:pt x="272" y="98"/>
                    </a:cubicBezTo>
                    <a:cubicBezTo>
                      <a:pt x="271" y="97"/>
                      <a:pt x="271" y="97"/>
                      <a:pt x="271" y="97"/>
                    </a:cubicBezTo>
                    <a:cubicBezTo>
                      <a:pt x="270" y="95"/>
                      <a:pt x="270" y="95"/>
                      <a:pt x="270" y="95"/>
                    </a:cubicBezTo>
                    <a:cubicBezTo>
                      <a:pt x="267" y="92"/>
                      <a:pt x="265" y="90"/>
                      <a:pt x="262" y="87"/>
                    </a:cubicBezTo>
                    <a:cubicBezTo>
                      <a:pt x="260" y="86"/>
                      <a:pt x="260" y="86"/>
                      <a:pt x="260" y="86"/>
                    </a:cubicBezTo>
                    <a:cubicBezTo>
                      <a:pt x="259" y="85"/>
                      <a:pt x="258" y="84"/>
                      <a:pt x="258" y="84"/>
                    </a:cubicBezTo>
                    <a:cubicBezTo>
                      <a:pt x="255" y="81"/>
                      <a:pt x="255" y="81"/>
                      <a:pt x="255" y="81"/>
                    </a:cubicBezTo>
                    <a:cubicBezTo>
                      <a:pt x="254" y="80"/>
                      <a:pt x="253" y="78"/>
                      <a:pt x="251" y="78"/>
                    </a:cubicBezTo>
                    <a:cubicBezTo>
                      <a:pt x="251" y="77"/>
                      <a:pt x="250" y="76"/>
                      <a:pt x="250" y="76"/>
                    </a:cubicBezTo>
                    <a:cubicBezTo>
                      <a:pt x="249" y="77"/>
                      <a:pt x="247" y="77"/>
                      <a:pt x="247" y="78"/>
                    </a:cubicBezTo>
                    <a:cubicBezTo>
                      <a:pt x="246" y="78"/>
                      <a:pt x="246" y="78"/>
                      <a:pt x="246" y="78"/>
                    </a:cubicBezTo>
                    <a:cubicBezTo>
                      <a:pt x="249" y="84"/>
                      <a:pt x="249" y="84"/>
                      <a:pt x="249" y="84"/>
                    </a:cubicBezTo>
                    <a:cubicBezTo>
                      <a:pt x="244" y="79"/>
                      <a:pt x="244" y="79"/>
                      <a:pt x="244" y="79"/>
                    </a:cubicBezTo>
                    <a:cubicBezTo>
                      <a:pt x="244" y="79"/>
                      <a:pt x="244" y="79"/>
                      <a:pt x="244" y="79"/>
                    </a:cubicBezTo>
                    <a:cubicBezTo>
                      <a:pt x="242" y="80"/>
                      <a:pt x="239" y="81"/>
                      <a:pt x="237" y="81"/>
                    </a:cubicBezTo>
                    <a:cubicBezTo>
                      <a:pt x="236" y="81"/>
                      <a:pt x="236" y="81"/>
                      <a:pt x="236" y="81"/>
                    </a:cubicBezTo>
                    <a:cubicBezTo>
                      <a:pt x="228" y="81"/>
                      <a:pt x="228" y="81"/>
                      <a:pt x="228" y="81"/>
                    </a:cubicBezTo>
                    <a:cubicBezTo>
                      <a:pt x="225" y="80"/>
                      <a:pt x="222" y="80"/>
                      <a:pt x="219" y="80"/>
                    </a:cubicBezTo>
                    <a:cubicBezTo>
                      <a:pt x="214" y="80"/>
                      <a:pt x="210" y="79"/>
                      <a:pt x="206" y="79"/>
                    </a:cubicBezTo>
                    <a:cubicBezTo>
                      <a:pt x="204" y="79"/>
                      <a:pt x="203" y="79"/>
                      <a:pt x="202" y="79"/>
                    </a:cubicBezTo>
                    <a:cubicBezTo>
                      <a:pt x="196" y="80"/>
                      <a:pt x="191" y="81"/>
                      <a:pt x="185" y="82"/>
                    </a:cubicBezTo>
                    <a:cubicBezTo>
                      <a:pt x="181" y="82"/>
                      <a:pt x="176" y="83"/>
                      <a:pt x="172" y="84"/>
                    </a:cubicBezTo>
                    <a:cubicBezTo>
                      <a:pt x="172" y="84"/>
                      <a:pt x="171" y="84"/>
                      <a:pt x="171" y="84"/>
                    </a:cubicBezTo>
                    <a:cubicBezTo>
                      <a:pt x="170" y="84"/>
                      <a:pt x="169" y="84"/>
                      <a:pt x="168" y="83"/>
                    </a:cubicBezTo>
                    <a:cubicBezTo>
                      <a:pt x="167" y="83"/>
                      <a:pt x="167" y="83"/>
                      <a:pt x="167" y="83"/>
                    </a:cubicBezTo>
                    <a:cubicBezTo>
                      <a:pt x="166" y="83"/>
                      <a:pt x="164" y="82"/>
                      <a:pt x="163" y="81"/>
                    </a:cubicBezTo>
                    <a:cubicBezTo>
                      <a:pt x="163" y="81"/>
                      <a:pt x="163" y="81"/>
                      <a:pt x="163" y="81"/>
                    </a:cubicBezTo>
                    <a:cubicBezTo>
                      <a:pt x="162" y="80"/>
                      <a:pt x="161" y="79"/>
                      <a:pt x="161" y="79"/>
                    </a:cubicBezTo>
                    <a:cubicBezTo>
                      <a:pt x="159" y="77"/>
                      <a:pt x="159" y="77"/>
                      <a:pt x="159" y="77"/>
                    </a:cubicBezTo>
                    <a:cubicBezTo>
                      <a:pt x="159" y="77"/>
                      <a:pt x="158" y="76"/>
                      <a:pt x="158" y="76"/>
                    </a:cubicBezTo>
                    <a:cubicBezTo>
                      <a:pt x="155" y="72"/>
                      <a:pt x="151" y="69"/>
                      <a:pt x="148" y="66"/>
                    </a:cubicBezTo>
                    <a:cubicBezTo>
                      <a:pt x="148" y="65"/>
                      <a:pt x="142" y="59"/>
                      <a:pt x="139" y="54"/>
                    </a:cubicBezTo>
                    <a:cubicBezTo>
                      <a:pt x="137" y="51"/>
                      <a:pt x="122" y="42"/>
                      <a:pt x="117" y="39"/>
                    </a:cubicBezTo>
                    <a:cubicBezTo>
                      <a:pt x="114" y="38"/>
                      <a:pt x="114" y="38"/>
                      <a:pt x="114" y="38"/>
                    </a:cubicBezTo>
                    <a:cubicBezTo>
                      <a:pt x="114" y="42"/>
                      <a:pt x="114" y="47"/>
                      <a:pt x="113" y="51"/>
                    </a:cubicBezTo>
                    <a:cubicBezTo>
                      <a:pt x="113" y="52"/>
                      <a:pt x="113" y="54"/>
                      <a:pt x="112" y="55"/>
                    </a:cubicBezTo>
                    <a:cubicBezTo>
                      <a:pt x="111" y="56"/>
                      <a:pt x="107" y="57"/>
                      <a:pt x="107" y="58"/>
                    </a:cubicBezTo>
                    <a:cubicBezTo>
                      <a:pt x="106" y="59"/>
                      <a:pt x="108" y="61"/>
                      <a:pt x="107" y="62"/>
                    </a:cubicBezTo>
                    <a:cubicBezTo>
                      <a:pt x="107" y="62"/>
                      <a:pt x="107" y="62"/>
                      <a:pt x="107" y="62"/>
                    </a:cubicBezTo>
                    <a:cubicBezTo>
                      <a:pt x="106" y="62"/>
                      <a:pt x="106" y="60"/>
                      <a:pt x="105" y="60"/>
                    </a:cubicBezTo>
                    <a:cubicBezTo>
                      <a:pt x="104" y="60"/>
                      <a:pt x="104" y="60"/>
                      <a:pt x="104" y="60"/>
                    </a:cubicBezTo>
                    <a:cubicBezTo>
                      <a:pt x="103" y="60"/>
                      <a:pt x="103" y="60"/>
                      <a:pt x="102" y="60"/>
                    </a:cubicBezTo>
                    <a:cubicBezTo>
                      <a:pt x="101" y="61"/>
                      <a:pt x="100" y="61"/>
                      <a:pt x="99" y="61"/>
                    </a:cubicBezTo>
                    <a:cubicBezTo>
                      <a:pt x="99" y="61"/>
                      <a:pt x="99" y="61"/>
                      <a:pt x="99" y="61"/>
                    </a:cubicBezTo>
                    <a:cubicBezTo>
                      <a:pt x="95" y="60"/>
                      <a:pt x="97" y="58"/>
                      <a:pt x="95" y="56"/>
                    </a:cubicBezTo>
                    <a:cubicBezTo>
                      <a:pt x="91" y="52"/>
                      <a:pt x="89" y="48"/>
                      <a:pt x="87" y="43"/>
                    </a:cubicBezTo>
                    <a:cubicBezTo>
                      <a:pt x="86" y="37"/>
                      <a:pt x="91" y="31"/>
                      <a:pt x="94" y="25"/>
                    </a:cubicBezTo>
                    <a:cubicBezTo>
                      <a:pt x="94" y="25"/>
                      <a:pt x="94" y="25"/>
                      <a:pt x="94" y="25"/>
                    </a:cubicBezTo>
                    <a:cubicBezTo>
                      <a:pt x="95" y="23"/>
                      <a:pt x="95" y="23"/>
                      <a:pt x="95" y="23"/>
                    </a:cubicBezTo>
                    <a:cubicBezTo>
                      <a:pt x="95" y="23"/>
                      <a:pt x="95" y="23"/>
                      <a:pt x="95" y="23"/>
                    </a:cubicBezTo>
                    <a:cubicBezTo>
                      <a:pt x="100" y="26"/>
                      <a:pt x="105" y="29"/>
                      <a:pt x="110" y="32"/>
                    </a:cubicBezTo>
                    <a:cubicBezTo>
                      <a:pt x="105" y="29"/>
                      <a:pt x="100" y="26"/>
                      <a:pt x="95" y="23"/>
                    </a:cubicBezTo>
                    <a:cubicBezTo>
                      <a:pt x="96" y="22"/>
                      <a:pt x="96" y="22"/>
                      <a:pt x="96" y="21"/>
                    </a:cubicBezTo>
                    <a:cubicBezTo>
                      <a:pt x="96" y="21"/>
                      <a:pt x="96" y="21"/>
                      <a:pt x="96" y="21"/>
                    </a:cubicBezTo>
                    <a:cubicBezTo>
                      <a:pt x="95" y="20"/>
                      <a:pt x="95" y="20"/>
                      <a:pt x="95" y="20"/>
                    </a:cubicBezTo>
                    <a:cubicBezTo>
                      <a:pt x="95" y="20"/>
                      <a:pt x="96" y="19"/>
                      <a:pt x="95" y="18"/>
                    </a:cubicBezTo>
                    <a:cubicBezTo>
                      <a:pt x="95" y="19"/>
                      <a:pt x="95" y="19"/>
                      <a:pt x="95" y="19"/>
                    </a:cubicBezTo>
                    <a:cubicBezTo>
                      <a:pt x="93" y="18"/>
                      <a:pt x="93" y="15"/>
                      <a:pt x="93" y="13"/>
                    </a:cubicBezTo>
                    <a:cubicBezTo>
                      <a:pt x="93" y="11"/>
                      <a:pt x="94" y="9"/>
                      <a:pt x="93" y="9"/>
                    </a:cubicBezTo>
                    <a:cubicBezTo>
                      <a:pt x="92" y="9"/>
                      <a:pt x="92" y="9"/>
                      <a:pt x="91" y="10"/>
                    </a:cubicBezTo>
                    <a:cubicBezTo>
                      <a:pt x="91" y="8"/>
                      <a:pt x="91" y="7"/>
                      <a:pt x="91" y="7"/>
                    </a:cubicBezTo>
                    <a:cubicBezTo>
                      <a:pt x="90" y="6"/>
                      <a:pt x="89" y="6"/>
                      <a:pt x="88" y="5"/>
                    </a:cubicBezTo>
                    <a:cubicBezTo>
                      <a:pt x="87" y="4"/>
                      <a:pt x="88" y="2"/>
                      <a:pt x="86" y="1"/>
                    </a:cubicBezTo>
                    <a:cubicBezTo>
                      <a:pt x="86"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356"/>
              <p:cNvSpPr/>
              <p:nvPr/>
            </p:nvSpPr>
            <p:spPr bwMode="auto">
              <a:xfrm>
                <a:off x="9349138" y="6636894"/>
                <a:ext cx="401678" cy="221107"/>
              </a:xfrm>
              <a:custGeom>
                <a:gdLst>
                  <a:gd name="T0" fmla="*/ 31 w 127"/>
                  <a:gd name="T1" fmla="*/ 0 h 70"/>
                  <a:gd name="T2" fmla="*/ 27 w 127"/>
                  <a:gd name="T3" fmla="*/ 3 h 70"/>
                  <a:gd name="T4" fmla="*/ 24 w 127"/>
                  <a:gd name="T5" fmla="*/ 5 h 70"/>
                  <a:gd name="T6" fmla="*/ 19 w 127"/>
                  <a:gd name="T7" fmla="*/ 9 h 70"/>
                  <a:gd name="T8" fmla="*/ 18 w 127"/>
                  <a:gd name="T9" fmla="*/ 6 h 70"/>
                  <a:gd name="T10" fmla="*/ 18 w 127"/>
                  <a:gd name="T11" fmla="*/ 6 h 70"/>
                  <a:gd name="T12" fmla="*/ 16 w 127"/>
                  <a:gd name="T13" fmla="*/ 16 h 70"/>
                  <a:gd name="T14" fmla="*/ 17 w 127"/>
                  <a:gd name="T15" fmla="*/ 17 h 70"/>
                  <a:gd name="T16" fmla="*/ 17 w 127"/>
                  <a:gd name="T17" fmla="*/ 17 h 70"/>
                  <a:gd name="T18" fmla="*/ 22 w 127"/>
                  <a:gd name="T19" fmla="*/ 21 h 70"/>
                  <a:gd name="T20" fmla="*/ 25 w 127"/>
                  <a:gd name="T21" fmla="*/ 26 h 70"/>
                  <a:gd name="T22" fmla="*/ 18 w 127"/>
                  <a:gd name="T23" fmla="*/ 27 h 70"/>
                  <a:gd name="T24" fmla="*/ 12 w 127"/>
                  <a:gd name="T25" fmla="*/ 28 h 70"/>
                  <a:gd name="T26" fmla="*/ 11 w 127"/>
                  <a:gd name="T27" fmla="*/ 28 h 70"/>
                  <a:gd name="T28" fmla="*/ 12 w 127"/>
                  <a:gd name="T29" fmla="*/ 34 h 70"/>
                  <a:gd name="T30" fmla="*/ 9 w 127"/>
                  <a:gd name="T31" fmla="*/ 28 h 70"/>
                  <a:gd name="T32" fmla="*/ 9 w 127"/>
                  <a:gd name="T33" fmla="*/ 28 h 70"/>
                  <a:gd name="T34" fmla="*/ 6 w 127"/>
                  <a:gd name="T35" fmla="*/ 33 h 70"/>
                  <a:gd name="T36" fmla="*/ 6 w 127"/>
                  <a:gd name="T37" fmla="*/ 34 h 70"/>
                  <a:gd name="T38" fmla="*/ 5 w 127"/>
                  <a:gd name="T39" fmla="*/ 38 h 70"/>
                  <a:gd name="T40" fmla="*/ 3 w 127"/>
                  <a:gd name="T41" fmla="*/ 49 h 70"/>
                  <a:gd name="T42" fmla="*/ 1 w 127"/>
                  <a:gd name="T43" fmla="*/ 57 h 70"/>
                  <a:gd name="T44" fmla="*/ 1 w 127"/>
                  <a:gd name="T45" fmla="*/ 59 h 70"/>
                  <a:gd name="T46" fmla="*/ 1 w 127"/>
                  <a:gd name="T47" fmla="*/ 60 h 70"/>
                  <a:gd name="T48" fmla="*/ 0 w 127"/>
                  <a:gd name="T49" fmla="*/ 63 h 70"/>
                  <a:gd name="T50" fmla="*/ 2 w 127"/>
                  <a:gd name="T51" fmla="*/ 68 h 70"/>
                  <a:gd name="T52" fmla="*/ 3 w 127"/>
                  <a:gd name="T53" fmla="*/ 68 h 70"/>
                  <a:gd name="T54" fmla="*/ 4 w 127"/>
                  <a:gd name="T55" fmla="*/ 70 h 70"/>
                  <a:gd name="T56" fmla="*/ 127 w 127"/>
                  <a:gd name="T57" fmla="*/ 70 h 70"/>
                  <a:gd name="T58" fmla="*/ 123 w 127"/>
                  <a:gd name="T59" fmla="*/ 69 h 70"/>
                  <a:gd name="T60" fmla="*/ 116 w 127"/>
                  <a:gd name="T61" fmla="*/ 66 h 70"/>
                  <a:gd name="T62" fmla="*/ 112 w 127"/>
                  <a:gd name="T63" fmla="*/ 60 h 70"/>
                  <a:gd name="T64" fmla="*/ 106 w 127"/>
                  <a:gd name="T65" fmla="*/ 53 h 70"/>
                  <a:gd name="T66" fmla="*/ 98 w 127"/>
                  <a:gd name="T67" fmla="*/ 43 h 70"/>
                  <a:gd name="T68" fmla="*/ 92 w 127"/>
                  <a:gd name="T69" fmla="*/ 36 h 70"/>
                  <a:gd name="T70" fmla="*/ 91 w 127"/>
                  <a:gd name="T71" fmla="*/ 36 h 70"/>
                  <a:gd name="T72" fmla="*/ 88 w 127"/>
                  <a:gd name="T73" fmla="*/ 37 h 70"/>
                  <a:gd name="T74" fmla="*/ 87 w 127"/>
                  <a:gd name="T75" fmla="*/ 37 h 70"/>
                  <a:gd name="T76" fmla="*/ 81 w 127"/>
                  <a:gd name="T77" fmla="*/ 35 h 70"/>
                  <a:gd name="T78" fmla="*/ 70 w 127"/>
                  <a:gd name="T79" fmla="*/ 32 h 70"/>
                  <a:gd name="T80" fmla="*/ 48 w 127"/>
                  <a:gd name="T81" fmla="*/ 24 h 70"/>
                  <a:gd name="T82" fmla="*/ 42 w 127"/>
                  <a:gd name="T83" fmla="*/ 17 h 70"/>
                  <a:gd name="T84" fmla="*/ 36 w 127"/>
                  <a:gd name="T85" fmla="*/ 10 h 70"/>
                  <a:gd name="T86" fmla="*/ 33 w 127"/>
                  <a:gd name="T87" fmla="*/ 5 h 70"/>
                  <a:gd name="T88" fmla="*/ 32 w 127"/>
                  <a:gd name="T89" fmla="*/ 1 h 70"/>
                  <a:gd name="T90" fmla="*/ 31 w 127"/>
                  <a:gd name="T91" fmla="*/ 0 h 7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70">
                    <a:moveTo>
                      <a:pt x="31" y="0"/>
                    </a:moveTo>
                    <a:cubicBezTo>
                      <a:pt x="30" y="2"/>
                      <a:pt x="28" y="3"/>
                      <a:pt x="27" y="3"/>
                    </a:cubicBezTo>
                    <a:cubicBezTo>
                      <a:pt x="26" y="4"/>
                      <a:pt x="25" y="4"/>
                      <a:pt x="24" y="5"/>
                    </a:cubicBezTo>
                    <a:cubicBezTo>
                      <a:pt x="19" y="9"/>
                      <a:pt x="19" y="9"/>
                      <a:pt x="19" y="9"/>
                    </a:cubicBezTo>
                    <a:cubicBezTo>
                      <a:pt x="18" y="6"/>
                      <a:pt x="18" y="6"/>
                      <a:pt x="18" y="6"/>
                    </a:cubicBezTo>
                    <a:cubicBezTo>
                      <a:pt x="18" y="6"/>
                      <a:pt x="18" y="6"/>
                      <a:pt x="18" y="6"/>
                    </a:cubicBezTo>
                    <a:cubicBezTo>
                      <a:pt x="17" y="9"/>
                      <a:pt x="16" y="12"/>
                      <a:pt x="16" y="16"/>
                    </a:cubicBezTo>
                    <a:cubicBezTo>
                      <a:pt x="17" y="17"/>
                      <a:pt x="17" y="17"/>
                      <a:pt x="17" y="17"/>
                    </a:cubicBezTo>
                    <a:cubicBezTo>
                      <a:pt x="17" y="17"/>
                      <a:pt x="17" y="17"/>
                      <a:pt x="17" y="17"/>
                    </a:cubicBezTo>
                    <a:cubicBezTo>
                      <a:pt x="20" y="19"/>
                      <a:pt x="21" y="20"/>
                      <a:pt x="22" y="21"/>
                    </a:cubicBezTo>
                    <a:cubicBezTo>
                      <a:pt x="25" y="26"/>
                      <a:pt x="25" y="26"/>
                      <a:pt x="25" y="26"/>
                    </a:cubicBezTo>
                    <a:cubicBezTo>
                      <a:pt x="18" y="27"/>
                      <a:pt x="18" y="27"/>
                      <a:pt x="18" y="27"/>
                    </a:cubicBezTo>
                    <a:cubicBezTo>
                      <a:pt x="16" y="28"/>
                      <a:pt x="14" y="28"/>
                      <a:pt x="12" y="28"/>
                    </a:cubicBezTo>
                    <a:cubicBezTo>
                      <a:pt x="11" y="28"/>
                      <a:pt x="11" y="28"/>
                      <a:pt x="11" y="28"/>
                    </a:cubicBezTo>
                    <a:cubicBezTo>
                      <a:pt x="12" y="34"/>
                      <a:pt x="12" y="34"/>
                      <a:pt x="12" y="34"/>
                    </a:cubicBezTo>
                    <a:cubicBezTo>
                      <a:pt x="9" y="28"/>
                      <a:pt x="9" y="28"/>
                      <a:pt x="9" y="28"/>
                    </a:cubicBezTo>
                    <a:cubicBezTo>
                      <a:pt x="9" y="28"/>
                      <a:pt x="9" y="28"/>
                      <a:pt x="9" y="28"/>
                    </a:cubicBezTo>
                    <a:cubicBezTo>
                      <a:pt x="7" y="29"/>
                      <a:pt x="7" y="30"/>
                      <a:pt x="6" y="33"/>
                    </a:cubicBezTo>
                    <a:cubicBezTo>
                      <a:pt x="6" y="34"/>
                      <a:pt x="6" y="34"/>
                      <a:pt x="6" y="34"/>
                    </a:cubicBezTo>
                    <a:cubicBezTo>
                      <a:pt x="6" y="36"/>
                      <a:pt x="6" y="37"/>
                      <a:pt x="5" y="38"/>
                    </a:cubicBezTo>
                    <a:cubicBezTo>
                      <a:pt x="5" y="41"/>
                      <a:pt x="4" y="45"/>
                      <a:pt x="3" y="49"/>
                    </a:cubicBezTo>
                    <a:cubicBezTo>
                      <a:pt x="1" y="57"/>
                      <a:pt x="1" y="57"/>
                      <a:pt x="1" y="57"/>
                    </a:cubicBezTo>
                    <a:cubicBezTo>
                      <a:pt x="1" y="58"/>
                      <a:pt x="1" y="59"/>
                      <a:pt x="1" y="59"/>
                    </a:cubicBezTo>
                    <a:cubicBezTo>
                      <a:pt x="1" y="60"/>
                      <a:pt x="1" y="60"/>
                      <a:pt x="1" y="60"/>
                    </a:cubicBezTo>
                    <a:cubicBezTo>
                      <a:pt x="0" y="61"/>
                      <a:pt x="0" y="63"/>
                      <a:pt x="0" y="63"/>
                    </a:cubicBezTo>
                    <a:cubicBezTo>
                      <a:pt x="1" y="65"/>
                      <a:pt x="2" y="66"/>
                      <a:pt x="2" y="68"/>
                    </a:cubicBezTo>
                    <a:cubicBezTo>
                      <a:pt x="3" y="68"/>
                      <a:pt x="3" y="68"/>
                      <a:pt x="3" y="68"/>
                    </a:cubicBezTo>
                    <a:cubicBezTo>
                      <a:pt x="3" y="69"/>
                      <a:pt x="3" y="70"/>
                      <a:pt x="4" y="70"/>
                    </a:cubicBezTo>
                    <a:cubicBezTo>
                      <a:pt x="127" y="70"/>
                      <a:pt x="127" y="70"/>
                      <a:pt x="127" y="70"/>
                    </a:cubicBezTo>
                    <a:cubicBezTo>
                      <a:pt x="126" y="69"/>
                      <a:pt x="125" y="69"/>
                      <a:pt x="123" y="69"/>
                    </a:cubicBezTo>
                    <a:cubicBezTo>
                      <a:pt x="119" y="69"/>
                      <a:pt x="118" y="68"/>
                      <a:pt x="116" y="66"/>
                    </a:cubicBezTo>
                    <a:cubicBezTo>
                      <a:pt x="115" y="64"/>
                      <a:pt x="113" y="62"/>
                      <a:pt x="112" y="60"/>
                    </a:cubicBezTo>
                    <a:cubicBezTo>
                      <a:pt x="110" y="58"/>
                      <a:pt x="108" y="56"/>
                      <a:pt x="106" y="53"/>
                    </a:cubicBezTo>
                    <a:cubicBezTo>
                      <a:pt x="103" y="50"/>
                      <a:pt x="101" y="47"/>
                      <a:pt x="98" y="43"/>
                    </a:cubicBezTo>
                    <a:cubicBezTo>
                      <a:pt x="97" y="41"/>
                      <a:pt x="94" y="37"/>
                      <a:pt x="92" y="36"/>
                    </a:cubicBezTo>
                    <a:cubicBezTo>
                      <a:pt x="92" y="36"/>
                      <a:pt x="91" y="36"/>
                      <a:pt x="91" y="36"/>
                    </a:cubicBezTo>
                    <a:cubicBezTo>
                      <a:pt x="90" y="36"/>
                      <a:pt x="90" y="37"/>
                      <a:pt x="88" y="37"/>
                    </a:cubicBezTo>
                    <a:cubicBezTo>
                      <a:pt x="88" y="37"/>
                      <a:pt x="88" y="37"/>
                      <a:pt x="87" y="37"/>
                    </a:cubicBezTo>
                    <a:cubicBezTo>
                      <a:pt x="85" y="37"/>
                      <a:pt x="84" y="36"/>
                      <a:pt x="81" y="35"/>
                    </a:cubicBezTo>
                    <a:cubicBezTo>
                      <a:pt x="77" y="33"/>
                      <a:pt x="74" y="34"/>
                      <a:pt x="70" y="32"/>
                    </a:cubicBezTo>
                    <a:cubicBezTo>
                      <a:pt x="63" y="29"/>
                      <a:pt x="54" y="29"/>
                      <a:pt x="48" y="24"/>
                    </a:cubicBezTo>
                    <a:cubicBezTo>
                      <a:pt x="45" y="22"/>
                      <a:pt x="44" y="20"/>
                      <a:pt x="42" y="17"/>
                    </a:cubicBezTo>
                    <a:cubicBezTo>
                      <a:pt x="40" y="15"/>
                      <a:pt x="38" y="13"/>
                      <a:pt x="36" y="10"/>
                    </a:cubicBezTo>
                    <a:cubicBezTo>
                      <a:pt x="35" y="8"/>
                      <a:pt x="34" y="7"/>
                      <a:pt x="33" y="5"/>
                    </a:cubicBezTo>
                    <a:cubicBezTo>
                      <a:pt x="32" y="3"/>
                      <a:pt x="32" y="2"/>
                      <a:pt x="32" y="1"/>
                    </a:cubicBezTo>
                    <a:cubicBezTo>
                      <a:pt x="31" y="1"/>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357"/>
              <p:cNvSpPr/>
              <p:nvPr/>
            </p:nvSpPr>
            <p:spPr bwMode="auto">
              <a:xfrm>
                <a:off x="9032218" y="6526341"/>
                <a:ext cx="412733" cy="298494"/>
              </a:xfrm>
              <a:custGeom>
                <a:gdLst>
                  <a:gd name="T0" fmla="*/ 118 w 130"/>
                  <a:gd name="T1" fmla="*/ 0 h 94"/>
                  <a:gd name="T2" fmla="*/ 112 w 130"/>
                  <a:gd name="T3" fmla="*/ 9 h 94"/>
                  <a:gd name="T4" fmla="*/ 104 w 130"/>
                  <a:gd name="T5" fmla="*/ 16 h 94"/>
                  <a:gd name="T6" fmla="*/ 85 w 130"/>
                  <a:gd name="T7" fmla="*/ 34 h 94"/>
                  <a:gd name="T8" fmla="*/ 79 w 130"/>
                  <a:gd name="T9" fmla="*/ 42 h 94"/>
                  <a:gd name="T10" fmla="*/ 73 w 130"/>
                  <a:gd name="T11" fmla="*/ 52 h 94"/>
                  <a:gd name="T12" fmla="*/ 70 w 130"/>
                  <a:gd name="T13" fmla="*/ 53 h 94"/>
                  <a:gd name="T14" fmla="*/ 64 w 130"/>
                  <a:gd name="T15" fmla="*/ 51 h 94"/>
                  <a:gd name="T16" fmla="*/ 55 w 130"/>
                  <a:gd name="T17" fmla="*/ 58 h 94"/>
                  <a:gd name="T18" fmla="*/ 54 w 130"/>
                  <a:gd name="T19" fmla="*/ 58 h 94"/>
                  <a:gd name="T20" fmla="*/ 48 w 130"/>
                  <a:gd name="T21" fmla="*/ 57 h 94"/>
                  <a:gd name="T22" fmla="*/ 37 w 130"/>
                  <a:gd name="T23" fmla="*/ 56 h 94"/>
                  <a:gd name="T24" fmla="*/ 26 w 130"/>
                  <a:gd name="T25" fmla="*/ 57 h 94"/>
                  <a:gd name="T26" fmla="*/ 6 w 130"/>
                  <a:gd name="T27" fmla="*/ 61 h 94"/>
                  <a:gd name="T28" fmla="*/ 0 w 130"/>
                  <a:gd name="T29" fmla="*/ 60 h 94"/>
                  <a:gd name="T30" fmla="*/ 4 w 130"/>
                  <a:gd name="T31" fmla="*/ 63 h 94"/>
                  <a:gd name="T32" fmla="*/ 5 w 130"/>
                  <a:gd name="T33" fmla="*/ 65 h 94"/>
                  <a:gd name="T34" fmla="*/ 9 w 130"/>
                  <a:gd name="T35" fmla="*/ 70 h 94"/>
                  <a:gd name="T36" fmla="*/ 13 w 130"/>
                  <a:gd name="T37" fmla="*/ 75 h 94"/>
                  <a:gd name="T38" fmla="*/ 23 w 130"/>
                  <a:gd name="T39" fmla="*/ 88 h 94"/>
                  <a:gd name="T40" fmla="*/ 93 w 130"/>
                  <a:gd name="T41" fmla="*/ 94 h 94"/>
                  <a:gd name="T42" fmla="*/ 94 w 130"/>
                  <a:gd name="T43" fmla="*/ 91 h 94"/>
                  <a:gd name="T44" fmla="*/ 94 w 130"/>
                  <a:gd name="T45" fmla="*/ 90 h 94"/>
                  <a:gd name="T46" fmla="*/ 96 w 130"/>
                  <a:gd name="T47" fmla="*/ 83 h 94"/>
                  <a:gd name="T48" fmla="*/ 98 w 130"/>
                  <a:gd name="T49" fmla="*/ 70 h 94"/>
                  <a:gd name="T50" fmla="*/ 99 w 130"/>
                  <a:gd name="T51" fmla="*/ 68 h 94"/>
                  <a:gd name="T52" fmla="*/ 99 w 130"/>
                  <a:gd name="T53" fmla="*/ 67 h 94"/>
                  <a:gd name="T54" fmla="*/ 99 w 130"/>
                  <a:gd name="T55" fmla="*/ 65 h 94"/>
                  <a:gd name="T56" fmla="*/ 106 w 130"/>
                  <a:gd name="T57" fmla="*/ 56 h 94"/>
                  <a:gd name="T58" fmla="*/ 108 w 130"/>
                  <a:gd name="T59" fmla="*/ 55 h 94"/>
                  <a:gd name="T60" fmla="*/ 109 w 130"/>
                  <a:gd name="T61" fmla="*/ 55 h 94"/>
                  <a:gd name="T62" fmla="*/ 110 w 130"/>
                  <a:gd name="T63" fmla="*/ 55 h 94"/>
                  <a:gd name="T64" fmla="*/ 110 w 130"/>
                  <a:gd name="T65" fmla="*/ 55 h 94"/>
                  <a:gd name="T66" fmla="*/ 111 w 130"/>
                  <a:gd name="T67" fmla="*/ 55 h 94"/>
                  <a:gd name="T68" fmla="*/ 109 w 130"/>
                  <a:gd name="T69" fmla="*/ 52 h 94"/>
                  <a:gd name="T70" fmla="*/ 112 w 130"/>
                  <a:gd name="T71" fmla="*/ 35 h 94"/>
                  <a:gd name="T72" fmla="*/ 113 w 130"/>
                  <a:gd name="T73" fmla="*/ 33 h 94"/>
                  <a:gd name="T74" fmla="*/ 121 w 130"/>
                  <a:gd name="T75" fmla="*/ 33 h 94"/>
                  <a:gd name="T76" fmla="*/ 125 w 130"/>
                  <a:gd name="T77" fmla="*/ 31 h 94"/>
                  <a:gd name="T78" fmla="*/ 126 w 130"/>
                  <a:gd name="T79" fmla="*/ 27 h 94"/>
                  <a:gd name="T80" fmla="*/ 127 w 130"/>
                  <a:gd name="T81" fmla="*/ 26 h 94"/>
                  <a:gd name="T82" fmla="*/ 128 w 130"/>
                  <a:gd name="T83" fmla="*/ 27 h 94"/>
                  <a:gd name="T84" fmla="*/ 128 w 130"/>
                  <a:gd name="T85" fmla="*/ 25 h 94"/>
                  <a:gd name="T86" fmla="*/ 129 w 130"/>
                  <a:gd name="T87" fmla="*/ 25 h 94"/>
                  <a:gd name="T88" fmla="*/ 130 w 130"/>
                  <a:gd name="T89" fmla="*/ 19 h 94"/>
                  <a:gd name="T90" fmla="*/ 128 w 130"/>
                  <a:gd name="T91" fmla="*/ 13 h 94"/>
                  <a:gd name="T92" fmla="*/ 125 w 130"/>
                  <a:gd name="T93" fmla="*/ 14 h 94"/>
                  <a:gd name="T94" fmla="*/ 122 w 130"/>
                  <a:gd name="T95" fmla="*/ 13 h 94"/>
                  <a:gd name="T96" fmla="*/ 118 w 130"/>
                  <a:gd name="T97" fmla="*/ 1 h 94"/>
                  <a:gd name="T98" fmla="*/ 118 w 130"/>
                  <a:gd name="T99" fmla="*/ 0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0" h="94">
                    <a:moveTo>
                      <a:pt x="118" y="0"/>
                    </a:moveTo>
                    <a:cubicBezTo>
                      <a:pt x="116" y="3"/>
                      <a:pt x="114" y="6"/>
                      <a:pt x="112" y="9"/>
                    </a:cubicBezTo>
                    <a:cubicBezTo>
                      <a:pt x="110" y="11"/>
                      <a:pt x="106" y="13"/>
                      <a:pt x="104" y="16"/>
                    </a:cubicBezTo>
                    <a:cubicBezTo>
                      <a:pt x="98" y="22"/>
                      <a:pt x="92" y="29"/>
                      <a:pt x="85" y="34"/>
                    </a:cubicBezTo>
                    <a:cubicBezTo>
                      <a:pt x="81" y="37"/>
                      <a:pt x="80" y="38"/>
                      <a:pt x="79" y="42"/>
                    </a:cubicBezTo>
                    <a:cubicBezTo>
                      <a:pt x="77" y="44"/>
                      <a:pt x="76" y="50"/>
                      <a:pt x="73" y="52"/>
                    </a:cubicBezTo>
                    <a:cubicBezTo>
                      <a:pt x="72" y="52"/>
                      <a:pt x="71" y="53"/>
                      <a:pt x="70" y="53"/>
                    </a:cubicBezTo>
                    <a:cubicBezTo>
                      <a:pt x="68" y="53"/>
                      <a:pt x="66" y="51"/>
                      <a:pt x="64" y="51"/>
                    </a:cubicBezTo>
                    <a:cubicBezTo>
                      <a:pt x="68" y="54"/>
                      <a:pt x="58" y="57"/>
                      <a:pt x="55" y="58"/>
                    </a:cubicBezTo>
                    <a:cubicBezTo>
                      <a:pt x="55" y="58"/>
                      <a:pt x="54" y="58"/>
                      <a:pt x="54" y="58"/>
                    </a:cubicBezTo>
                    <a:cubicBezTo>
                      <a:pt x="52" y="58"/>
                      <a:pt x="50" y="57"/>
                      <a:pt x="48" y="57"/>
                    </a:cubicBezTo>
                    <a:cubicBezTo>
                      <a:pt x="45" y="56"/>
                      <a:pt x="41" y="56"/>
                      <a:pt x="37" y="56"/>
                    </a:cubicBezTo>
                    <a:cubicBezTo>
                      <a:pt x="34" y="56"/>
                      <a:pt x="30" y="56"/>
                      <a:pt x="26" y="57"/>
                    </a:cubicBezTo>
                    <a:cubicBezTo>
                      <a:pt x="23" y="58"/>
                      <a:pt x="13" y="61"/>
                      <a:pt x="6" y="61"/>
                    </a:cubicBezTo>
                    <a:cubicBezTo>
                      <a:pt x="4" y="61"/>
                      <a:pt x="2" y="61"/>
                      <a:pt x="0" y="60"/>
                    </a:cubicBezTo>
                    <a:cubicBezTo>
                      <a:pt x="1" y="61"/>
                      <a:pt x="3" y="62"/>
                      <a:pt x="4" y="63"/>
                    </a:cubicBezTo>
                    <a:cubicBezTo>
                      <a:pt x="5" y="65"/>
                      <a:pt x="5" y="65"/>
                      <a:pt x="5" y="65"/>
                    </a:cubicBezTo>
                    <a:cubicBezTo>
                      <a:pt x="6" y="66"/>
                      <a:pt x="9" y="70"/>
                      <a:pt x="9" y="70"/>
                    </a:cubicBezTo>
                    <a:cubicBezTo>
                      <a:pt x="13" y="75"/>
                      <a:pt x="13" y="75"/>
                      <a:pt x="13" y="75"/>
                    </a:cubicBezTo>
                    <a:cubicBezTo>
                      <a:pt x="17" y="79"/>
                      <a:pt x="20" y="84"/>
                      <a:pt x="23" y="88"/>
                    </a:cubicBezTo>
                    <a:cubicBezTo>
                      <a:pt x="93" y="94"/>
                      <a:pt x="93" y="94"/>
                      <a:pt x="93" y="94"/>
                    </a:cubicBezTo>
                    <a:cubicBezTo>
                      <a:pt x="93" y="93"/>
                      <a:pt x="94" y="92"/>
                      <a:pt x="94" y="91"/>
                    </a:cubicBezTo>
                    <a:cubicBezTo>
                      <a:pt x="94" y="91"/>
                      <a:pt x="94" y="90"/>
                      <a:pt x="94" y="90"/>
                    </a:cubicBezTo>
                    <a:cubicBezTo>
                      <a:pt x="96" y="83"/>
                      <a:pt x="96" y="83"/>
                      <a:pt x="96" y="83"/>
                    </a:cubicBezTo>
                    <a:cubicBezTo>
                      <a:pt x="97" y="79"/>
                      <a:pt x="98" y="74"/>
                      <a:pt x="98" y="70"/>
                    </a:cubicBezTo>
                    <a:cubicBezTo>
                      <a:pt x="99" y="70"/>
                      <a:pt x="99" y="69"/>
                      <a:pt x="99" y="68"/>
                    </a:cubicBezTo>
                    <a:cubicBezTo>
                      <a:pt x="99" y="67"/>
                      <a:pt x="99" y="67"/>
                      <a:pt x="99" y="67"/>
                    </a:cubicBezTo>
                    <a:cubicBezTo>
                      <a:pt x="99" y="66"/>
                      <a:pt x="99" y="66"/>
                      <a:pt x="99" y="65"/>
                    </a:cubicBezTo>
                    <a:cubicBezTo>
                      <a:pt x="100" y="62"/>
                      <a:pt x="101" y="58"/>
                      <a:pt x="106" y="56"/>
                    </a:cubicBezTo>
                    <a:cubicBezTo>
                      <a:pt x="107" y="55"/>
                      <a:pt x="108" y="55"/>
                      <a:pt x="108" y="55"/>
                    </a:cubicBezTo>
                    <a:cubicBezTo>
                      <a:pt x="109" y="55"/>
                      <a:pt x="109" y="55"/>
                      <a:pt x="109" y="55"/>
                    </a:cubicBezTo>
                    <a:cubicBezTo>
                      <a:pt x="110" y="55"/>
                      <a:pt x="110" y="55"/>
                      <a:pt x="110" y="55"/>
                    </a:cubicBezTo>
                    <a:cubicBezTo>
                      <a:pt x="110" y="55"/>
                      <a:pt x="110" y="55"/>
                      <a:pt x="110" y="55"/>
                    </a:cubicBezTo>
                    <a:cubicBezTo>
                      <a:pt x="111" y="55"/>
                      <a:pt x="111" y="55"/>
                      <a:pt x="111" y="55"/>
                    </a:cubicBezTo>
                    <a:cubicBezTo>
                      <a:pt x="110" y="54"/>
                      <a:pt x="109" y="53"/>
                      <a:pt x="109" y="52"/>
                    </a:cubicBezTo>
                    <a:cubicBezTo>
                      <a:pt x="109" y="46"/>
                      <a:pt x="110" y="41"/>
                      <a:pt x="112" y="35"/>
                    </a:cubicBezTo>
                    <a:cubicBezTo>
                      <a:pt x="113" y="33"/>
                      <a:pt x="113" y="33"/>
                      <a:pt x="113" y="33"/>
                    </a:cubicBezTo>
                    <a:cubicBezTo>
                      <a:pt x="121" y="33"/>
                      <a:pt x="121" y="33"/>
                      <a:pt x="121" y="33"/>
                    </a:cubicBezTo>
                    <a:cubicBezTo>
                      <a:pt x="122" y="32"/>
                      <a:pt x="124" y="31"/>
                      <a:pt x="125" y="31"/>
                    </a:cubicBezTo>
                    <a:cubicBezTo>
                      <a:pt x="125" y="30"/>
                      <a:pt x="126" y="29"/>
                      <a:pt x="126" y="27"/>
                    </a:cubicBezTo>
                    <a:cubicBezTo>
                      <a:pt x="127" y="26"/>
                      <a:pt x="127" y="26"/>
                      <a:pt x="127" y="26"/>
                    </a:cubicBezTo>
                    <a:cubicBezTo>
                      <a:pt x="128" y="27"/>
                      <a:pt x="128" y="27"/>
                      <a:pt x="128" y="27"/>
                    </a:cubicBezTo>
                    <a:cubicBezTo>
                      <a:pt x="128" y="25"/>
                      <a:pt x="128" y="25"/>
                      <a:pt x="128" y="25"/>
                    </a:cubicBezTo>
                    <a:cubicBezTo>
                      <a:pt x="129" y="25"/>
                      <a:pt x="129" y="25"/>
                      <a:pt x="129" y="25"/>
                    </a:cubicBezTo>
                    <a:cubicBezTo>
                      <a:pt x="130" y="23"/>
                      <a:pt x="130" y="20"/>
                      <a:pt x="130" y="19"/>
                    </a:cubicBezTo>
                    <a:cubicBezTo>
                      <a:pt x="129" y="17"/>
                      <a:pt x="128" y="15"/>
                      <a:pt x="128" y="13"/>
                    </a:cubicBezTo>
                    <a:cubicBezTo>
                      <a:pt x="127" y="13"/>
                      <a:pt x="126" y="14"/>
                      <a:pt x="125" y="14"/>
                    </a:cubicBezTo>
                    <a:cubicBezTo>
                      <a:pt x="124" y="14"/>
                      <a:pt x="123" y="13"/>
                      <a:pt x="122" y="13"/>
                    </a:cubicBezTo>
                    <a:cubicBezTo>
                      <a:pt x="119" y="11"/>
                      <a:pt x="119" y="6"/>
                      <a:pt x="118" y="1"/>
                    </a:cubicBezTo>
                    <a:cubicBezTo>
                      <a:pt x="118" y="0"/>
                      <a:pt x="118" y="0"/>
                      <a:pt x="1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358"/>
              <p:cNvSpPr/>
              <p:nvPr/>
            </p:nvSpPr>
            <p:spPr bwMode="auto">
              <a:xfrm>
                <a:off x="7469730" y="5933037"/>
                <a:ext cx="1868353" cy="924964"/>
              </a:xfrm>
              <a:custGeom>
                <a:gdLst>
                  <a:gd name="T0" fmla="*/ 117 w 588"/>
                  <a:gd name="T1" fmla="*/ 6 h 291"/>
                  <a:gd name="T2" fmla="*/ 80 w 588"/>
                  <a:gd name="T3" fmla="*/ 17 h 291"/>
                  <a:gd name="T4" fmla="*/ 97 w 588"/>
                  <a:gd name="T5" fmla="*/ 39 h 291"/>
                  <a:gd name="T6" fmla="*/ 100 w 588"/>
                  <a:gd name="T7" fmla="*/ 43 h 291"/>
                  <a:gd name="T8" fmla="*/ 87 w 588"/>
                  <a:gd name="T9" fmla="*/ 66 h 291"/>
                  <a:gd name="T10" fmla="*/ 74 w 588"/>
                  <a:gd name="T11" fmla="*/ 69 h 291"/>
                  <a:gd name="T12" fmla="*/ 67 w 588"/>
                  <a:gd name="T13" fmla="*/ 70 h 291"/>
                  <a:gd name="T14" fmla="*/ 53 w 588"/>
                  <a:gd name="T15" fmla="*/ 84 h 291"/>
                  <a:gd name="T16" fmla="*/ 36 w 588"/>
                  <a:gd name="T17" fmla="*/ 90 h 291"/>
                  <a:gd name="T18" fmla="*/ 16 w 588"/>
                  <a:gd name="T19" fmla="*/ 87 h 291"/>
                  <a:gd name="T20" fmla="*/ 13 w 588"/>
                  <a:gd name="T21" fmla="*/ 88 h 291"/>
                  <a:gd name="T22" fmla="*/ 3 w 588"/>
                  <a:gd name="T23" fmla="*/ 124 h 291"/>
                  <a:gd name="T24" fmla="*/ 5 w 588"/>
                  <a:gd name="T25" fmla="*/ 121 h 291"/>
                  <a:gd name="T26" fmla="*/ 9 w 588"/>
                  <a:gd name="T27" fmla="*/ 122 h 291"/>
                  <a:gd name="T28" fmla="*/ 14 w 588"/>
                  <a:gd name="T29" fmla="*/ 121 h 291"/>
                  <a:gd name="T30" fmla="*/ 39 w 588"/>
                  <a:gd name="T31" fmla="*/ 155 h 291"/>
                  <a:gd name="T32" fmla="*/ 67 w 588"/>
                  <a:gd name="T33" fmla="*/ 198 h 291"/>
                  <a:gd name="T34" fmla="*/ 86 w 588"/>
                  <a:gd name="T35" fmla="*/ 236 h 291"/>
                  <a:gd name="T36" fmla="*/ 113 w 588"/>
                  <a:gd name="T37" fmla="*/ 255 h 291"/>
                  <a:gd name="T38" fmla="*/ 130 w 588"/>
                  <a:gd name="T39" fmla="*/ 291 h 291"/>
                  <a:gd name="T40" fmla="*/ 585 w 588"/>
                  <a:gd name="T41" fmla="*/ 288 h 291"/>
                  <a:gd name="T42" fmla="*/ 499 w 588"/>
                  <a:gd name="T43" fmla="*/ 266 h 291"/>
                  <a:gd name="T44" fmla="*/ 482 w 588"/>
                  <a:gd name="T45" fmla="*/ 242 h 291"/>
                  <a:gd name="T46" fmla="*/ 478 w 588"/>
                  <a:gd name="T47" fmla="*/ 234 h 291"/>
                  <a:gd name="T48" fmla="*/ 482 w 588"/>
                  <a:gd name="T49" fmla="*/ 227 h 291"/>
                  <a:gd name="T50" fmla="*/ 478 w 588"/>
                  <a:gd name="T51" fmla="*/ 228 h 291"/>
                  <a:gd name="T52" fmla="*/ 472 w 588"/>
                  <a:gd name="T53" fmla="*/ 228 h 291"/>
                  <a:gd name="T54" fmla="*/ 469 w 588"/>
                  <a:gd name="T55" fmla="*/ 229 h 291"/>
                  <a:gd name="T56" fmla="*/ 468 w 588"/>
                  <a:gd name="T57" fmla="*/ 228 h 291"/>
                  <a:gd name="T58" fmla="*/ 463 w 588"/>
                  <a:gd name="T59" fmla="*/ 222 h 291"/>
                  <a:gd name="T60" fmla="*/ 440 w 588"/>
                  <a:gd name="T61" fmla="*/ 181 h 291"/>
                  <a:gd name="T62" fmla="*/ 446 w 588"/>
                  <a:gd name="T63" fmla="*/ 174 h 291"/>
                  <a:gd name="T64" fmla="*/ 445 w 588"/>
                  <a:gd name="T65" fmla="*/ 166 h 291"/>
                  <a:gd name="T66" fmla="*/ 426 w 588"/>
                  <a:gd name="T67" fmla="*/ 150 h 291"/>
                  <a:gd name="T68" fmla="*/ 415 w 588"/>
                  <a:gd name="T69" fmla="*/ 142 h 291"/>
                  <a:gd name="T70" fmla="*/ 417 w 588"/>
                  <a:gd name="T71" fmla="*/ 139 h 291"/>
                  <a:gd name="T72" fmla="*/ 412 w 588"/>
                  <a:gd name="T73" fmla="*/ 137 h 291"/>
                  <a:gd name="T74" fmla="*/ 397 w 588"/>
                  <a:gd name="T75" fmla="*/ 111 h 291"/>
                  <a:gd name="T76" fmla="*/ 394 w 588"/>
                  <a:gd name="T77" fmla="*/ 111 h 291"/>
                  <a:gd name="T78" fmla="*/ 389 w 588"/>
                  <a:gd name="T79" fmla="*/ 112 h 291"/>
                  <a:gd name="T80" fmla="*/ 369 w 588"/>
                  <a:gd name="T81" fmla="*/ 106 h 291"/>
                  <a:gd name="T82" fmla="*/ 368 w 588"/>
                  <a:gd name="T83" fmla="*/ 104 h 291"/>
                  <a:gd name="T84" fmla="*/ 368 w 588"/>
                  <a:gd name="T85" fmla="*/ 101 h 291"/>
                  <a:gd name="T86" fmla="*/ 367 w 588"/>
                  <a:gd name="T87" fmla="*/ 100 h 291"/>
                  <a:gd name="T88" fmla="*/ 342 w 588"/>
                  <a:gd name="T89" fmla="*/ 94 h 291"/>
                  <a:gd name="T90" fmla="*/ 338 w 588"/>
                  <a:gd name="T91" fmla="*/ 96 h 291"/>
                  <a:gd name="T92" fmla="*/ 333 w 588"/>
                  <a:gd name="T93" fmla="*/ 95 h 291"/>
                  <a:gd name="T94" fmla="*/ 274 w 588"/>
                  <a:gd name="T95" fmla="*/ 79 h 291"/>
                  <a:gd name="T96" fmla="*/ 232 w 588"/>
                  <a:gd name="T97" fmla="*/ 47 h 291"/>
                  <a:gd name="T98" fmla="*/ 199 w 588"/>
                  <a:gd name="T99" fmla="*/ 24 h 291"/>
                  <a:gd name="T100" fmla="*/ 167 w 588"/>
                  <a:gd name="T101" fmla="*/ 5 h 2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8" h="291">
                    <a:moveTo>
                      <a:pt x="133" y="0"/>
                    </a:moveTo>
                    <a:cubicBezTo>
                      <a:pt x="131" y="0"/>
                      <a:pt x="131" y="0"/>
                      <a:pt x="131" y="0"/>
                    </a:cubicBezTo>
                    <a:cubicBezTo>
                      <a:pt x="127" y="3"/>
                      <a:pt x="122" y="4"/>
                      <a:pt x="117" y="6"/>
                    </a:cubicBezTo>
                    <a:cubicBezTo>
                      <a:pt x="115" y="6"/>
                      <a:pt x="115" y="6"/>
                      <a:pt x="115" y="6"/>
                    </a:cubicBezTo>
                    <a:cubicBezTo>
                      <a:pt x="113" y="7"/>
                      <a:pt x="111" y="7"/>
                      <a:pt x="109" y="8"/>
                    </a:cubicBezTo>
                    <a:cubicBezTo>
                      <a:pt x="100" y="11"/>
                      <a:pt x="90" y="14"/>
                      <a:pt x="80" y="17"/>
                    </a:cubicBezTo>
                    <a:cubicBezTo>
                      <a:pt x="77" y="18"/>
                      <a:pt x="77" y="18"/>
                      <a:pt x="77" y="18"/>
                    </a:cubicBezTo>
                    <a:cubicBezTo>
                      <a:pt x="83" y="24"/>
                      <a:pt x="89" y="30"/>
                      <a:pt x="95" y="37"/>
                    </a:cubicBezTo>
                    <a:cubicBezTo>
                      <a:pt x="95" y="38"/>
                      <a:pt x="96" y="38"/>
                      <a:pt x="97" y="39"/>
                    </a:cubicBezTo>
                    <a:cubicBezTo>
                      <a:pt x="97" y="39"/>
                      <a:pt x="97" y="39"/>
                      <a:pt x="97" y="39"/>
                    </a:cubicBezTo>
                    <a:cubicBezTo>
                      <a:pt x="98" y="40"/>
                      <a:pt x="98" y="41"/>
                      <a:pt x="99" y="41"/>
                    </a:cubicBezTo>
                    <a:cubicBezTo>
                      <a:pt x="99" y="42"/>
                      <a:pt x="100" y="42"/>
                      <a:pt x="100" y="43"/>
                    </a:cubicBezTo>
                    <a:cubicBezTo>
                      <a:pt x="102" y="44"/>
                      <a:pt x="102" y="45"/>
                      <a:pt x="102" y="47"/>
                    </a:cubicBezTo>
                    <a:cubicBezTo>
                      <a:pt x="103" y="48"/>
                      <a:pt x="103" y="51"/>
                      <a:pt x="89" y="63"/>
                    </a:cubicBezTo>
                    <a:cubicBezTo>
                      <a:pt x="88" y="64"/>
                      <a:pt x="88" y="65"/>
                      <a:pt x="87" y="66"/>
                    </a:cubicBezTo>
                    <a:cubicBezTo>
                      <a:pt x="84" y="67"/>
                      <a:pt x="81" y="68"/>
                      <a:pt x="78" y="68"/>
                    </a:cubicBezTo>
                    <a:cubicBezTo>
                      <a:pt x="77" y="68"/>
                      <a:pt x="77" y="68"/>
                      <a:pt x="77" y="68"/>
                    </a:cubicBezTo>
                    <a:cubicBezTo>
                      <a:pt x="76" y="68"/>
                      <a:pt x="75" y="68"/>
                      <a:pt x="74" y="69"/>
                    </a:cubicBezTo>
                    <a:cubicBezTo>
                      <a:pt x="73" y="69"/>
                      <a:pt x="73" y="69"/>
                      <a:pt x="72" y="69"/>
                    </a:cubicBezTo>
                    <a:cubicBezTo>
                      <a:pt x="70" y="69"/>
                      <a:pt x="70" y="69"/>
                      <a:pt x="70" y="69"/>
                    </a:cubicBezTo>
                    <a:cubicBezTo>
                      <a:pt x="69" y="69"/>
                      <a:pt x="68" y="70"/>
                      <a:pt x="67" y="70"/>
                    </a:cubicBezTo>
                    <a:cubicBezTo>
                      <a:pt x="64" y="71"/>
                      <a:pt x="62" y="74"/>
                      <a:pt x="59" y="77"/>
                    </a:cubicBezTo>
                    <a:cubicBezTo>
                      <a:pt x="59" y="78"/>
                      <a:pt x="58" y="79"/>
                      <a:pt x="57" y="80"/>
                    </a:cubicBezTo>
                    <a:cubicBezTo>
                      <a:pt x="53" y="84"/>
                      <a:pt x="53" y="84"/>
                      <a:pt x="53" y="84"/>
                    </a:cubicBezTo>
                    <a:cubicBezTo>
                      <a:pt x="50" y="88"/>
                      <a:pt x="48" y="90"/>
                      <a:pt x="46" y="91"/>
                    </a:cubicBezTo>
                    <a:cubicBezTo>
                      <a:pt x="46" y="91"/>
                      <a:pt x="45" y="92"/>
                      <a:pt x="44" y="92"/>
                    </a:cubicBezTo>
                    <a:cubicBezTo>
                      <a:pt x="42" y="92"/>
                      <a:pt x="39" y="91"/>
                      <a:pt x="36" y="90"/>
                    </a:cubicBezTo>
                    <a:cubicBezTo>
                      <a:pt x="35" y="90"/>
                      <a:pt x="35" y="90"/>
                      <a:pt x="35" y="90"/>
                    </a:cubicBezTo>
                    <a:cubicBezTo>
                      <a:pt x="35" y="90"/>
                      <a:pt x="34" y="90"/>
                      <a:pt x="34" y="90"/>
                    </a:cubicBezTo>
                    <a:cubicBezTo>
                      <a:pt x="16" y="87"/>
                      <a:pt x="16" y="87"/>
                      <a:pt x="16" y="87"/>
                    </a:cubicBezTo>
                    <a:cubicBezTo>
                      <a:pt x="16" y="87"/>
                      <a:pt x="15" y="87"/>
                      <a:pt x="15" y="87"/>
                    </a:cubicBezTo>
                    <a:cubicBezTo>
                      <a:pt x="15" y="87"/>
                      <a:pt x="14" y="87"/>
                      <a:pt x="14" y="87"/>
                    </a:cubicBezTo>
                    <a:cubicBezTo>
                      <a:pt x="13" y="88"/>
                      <a:pt x="13" y="88"/>
                      <a:pt x="13" y="88"/>
                    </a:cubicBezTo>
                    <a:cubicBezTo>
                      <a:pt x="12" y="88"/>
                      <a:pt x="12" y="88"/>
                      <a:pt x="12" y="88"/>
                    </a:cubicBezTo>
                    <a:cubicBezTo>
                      <a:pt x="10" y="96"/>
                      <a:pt x="8" y="103"/>
                      <a:pt x="5" y="111"/>
                    </a:cubicBezTo>
                    <a:cubicBezTo>
                      <a:pt x="5" y="113"/>
                      <a:pt x="0" y="124"/>
                      <a:pt x="3" y="124"/>
                    </a:cubicBezTo>
                    <a:cubicBezTo>
                      <a:pt x="3" y="124"/>
                      <a:pt x="3" y="124"/>
                      <a:pt x="3" y="124"/>
                    </a:cubicBezTo>
                    <a:cubicBezTo>
                      <a:pt x="4" y="124"/>
                      <a:pt x="4" y="122"/>
                      <a:pt x="4" y="122"/>
                    </a:cubicBezTo>
                    <a:cubicBezTo>
                      <a:pt x="5" y="121"/>
                      <a:pt x="5" y="121"/>
                      <a:pt x="5" y="121"/>
                    </a:cubicBezTo>
                    <a:cubicBezTo>
                      <a:pt x="6" y="121"/>
                      <a:pt x="6" y="122"/>
                      <a:pt x="7" y="122"/>
                    </a:cubicBezTo>
                    <a:cubicBezTo>
                      <a:pt x="7" y="122"/>
                      <a:pt x="8" y="122"/>
                      <a:pt x="8" y="122"/>
                    </a:cubicBezTo>
                    <a:cubicBezTo>
                      <a:pt x="8" y="122"/>
                      <a:pt x="9" y="122"/>
                      <a:pt x="9" y="122"/>
                    </a:cubicBezTo>
                    <a:cubicBezTo>
                      <a:pt x="9" y="122"/>
                      <a:pt x="10" y="122"/>
                      <a:pt x="10" y="122"/>
                    </a:cubicBezTo>
                    <a:cubicBezTo>
                      <a:pt x="11" y="122"/>
                      <a:pt x="11" y="122"/>
                      <a:pt x="12" y="122"/>
                    </a:cubicBezTo>
                    <a:cubicBezTo>
                      <a:pt x="12" y="122"/>
                      <a:pt x="13" y="121"/>
                      <a:pt x="14" y="121"/>
                    </a:cubicBezTo>
                    <a:cubicBezTo>
                      <a:pt x="14" y="121"/>
                      <a:pt x="14" y="121"/>
                      <a:pt x="14" y="121"/>
                    </a:cubicBezTo>
                    <a:cubicBezTo>
                      <a:pt x="16" y="121"/>
                      <a:pt x="18" y="123"/>
                      <a:pt x="20" y="125"/>
                    </a:cubicBezTo>
                    <a:cubicBezTo>
                      <a:pt x="27" y="135"/>
                      <a:pt x="32" y="146"/>
                      <a:pt x="39" y="155"/>
                    </a:cubicBezTo>
                    <a:cubicBezTo>
                      <a:pt x="47" y="165"/>
                      <a:pt x="51" y="179"/>
                      <a:pt x="61" y="185"/>
                    </a:cubicBezTo>
                    <a:cubicBezTo>
                      <a:pt x="63" y="186"/>
                      <a:pt x="62" y="187"/>
                      <a:pt x="62" y="189"/>
                    </a:cubicBezTo>
                    <a:cubicBezTo>
                      <a:pt x="62" y="193"/>
                      <a:pt x="64" y="195"/>
                      <a:pt x="67" y="198"/>
                    </a:cubicBezTo>
                    <a:cubicBezTo>
                      <a:pt x="71" y="202"/>
                      <a:pt x="76" y="208"/>
                      <a:pt x="78" y="213"/>
                    </a:cubicBezTo>
                    <a:cubicBezTo>
                      <a:pt x="79" y="216"/>
                      <a:pt x="79" y="221"/>
                      <a:pt x="80" y="224"/>
                    </a:cubicBezTo>
                    <a:cubicBezTo>
                      <a:pt x="81" y="229"/>
                      <a:pt x="83" y="232"/>
                      <a:pt x="86" y="236"/>
                    </a:cubicBezTo>
                    <a:cubicBezTo>
                      <a:pt x="88" y="240"/>
                      <a:pt x="91" y="239"/>
                      <a:pt x="95" y="240"/>
                    </a:cubicBezTo>
                    <a:cubicBezTo>
                      <a:pt x="100" y="240"/>
                      <a:pt x="105" y="247"/>
                      <a:pt x="109" y="250"/>
                    </a:cubicBezTo>
                    <a:cubicBezTo>
                      <a:pt x="111" y="252"/>
                      <a:pt x="111" y="253"/>
                      <a:pt x="113" y="255"/>
                    </a:cubicBezTo>
                    <a:cubicBezTo>
                      <a:pt x="116" y="261"/>
                      <a:pt x="120" y="266"/>
                      <a:pt x="122" y="273"/>
                    </a:cubicBezTo>
                    <a:cubicBezTo>
                      <a:pt x="125" y="279"/>
                      <a:pt x="127" y="284"/>
                      <a:pt x="130" y="290"/>
                    </a:cubicBezTo>
                    <a:cubicBezTo>
                      <a:pt x="130" y="290"/>
                      <a:pt x="130" y="291"/>
                      <a:pt x="130" y="291"/>
                    </a:cubicBezTo>
                    <a:cubicBezTo>
                      <a:pt x="588" y="291"/>
                      <a:pt x="588" y="291"/>
                      <a:pt x="588" y="291"/>
                    </a:cubicBezTo>
                    <a:cubicBezTo>
                      <a:pt x="587" y="290"/>
                      <a:pt x="587" y="289"/>
                      <a:pt x="586" y="289"/>
                    </a:cubicBezTo>
                    <a:cubicBezTo>
                      <a:pt x="585" y="288"/>
                      <a:pt x="585" y="288"/>
                      <a:pt x="585" y="288"/>
                    </a:cubicBezTo>
                    <a:cubicBezTo>
                      <a:pt x="513" y="281"/>
                      <a:pt x="513" y="281"/>
                      <a:pt x="513" y="281"/>
                    </a:cubicBezTo>
                    <a:cubicBezTo>
                      <a:pt x="512" y="281"/>
                      <a:pt x="511" y="280"/>
                      <a:pt x="510" y="280"/>
                    </a:cubicBezTo>
                    <a:cubicBezTo>
                      <a:pt x="506" y="275"/>
                      <a:pt x="503" y="270"/>
                      <a:pt x="499" y="266"/>
                    </a:cubicBezTo>
                    <a:cubicBezTo>
                      <a:pt x="492" y="257"/>
                      <a:pt x="492" y="257"/>
                      <a:pt x="492" y="257"/>
                    </a:cubicBezTo>
                    <a:cubicBezTo>
                      <a:pt x="491" y="255"/>
                      <a:pt x="491" y="255"/>
                      <a:pt x="491" y="255"/>
                    </a:cubicBezTo>
                    <a:cubicBezTo>
                      <a:pt x="487" y="251"/>
                      <a:pt x="483" y="247"/>
                      <a:pt x="482" y="242"/>
                    </a:cubicBezTo>
                    <a:cubicBezTo>
                      <a:pt x="481" y="238"/>
                      <a:pt x="481" y="238"/>
                      <a:pt x="481" y="238"/>
                    </a:cubicBezTo>
                    <a:cubicBezTo>
                      <a:pt x="480" y="238"/>
                      <a:pt x="478" y="238"/>
                      <a:pt x="477" y="237"/>
                    </a:cubicBezTo>
                    <a:cubicBezTo>
                      <a:pt x="476" y="237"/>
                      <a:pt x="477" y="234"/>
                      <a:pt x="478" y="234"/>
                    </a:cubicBezTo>
                    <a:cubicBezTo>
                      <a:pt x="479" y="232"/>
                      <a:pt x="481" y="231"/>
                      <a:pt x="481" y="230"/>
                    </a:cubicBezTo>
                    <a:cubicBezTo>
                      <a:pt x="482" y="230"/>
                      <a:pt x="482" y="230"/>
                      <a:pt x="482" y="230"/>
                    </a:cubicBezTo>
                    <a:cubicBezTo>
                      <a:pt x="482" y="227"/>
                      <a:pt x="482" y="227"/>
                      <a:pt x="482" y="227"/>
                    </a:cubicBezTo>
                    <a:cubicBezTo>
                      <a:pt x="482" y="227"/>
                      <a:pt x="482" y="227"/>
                      <a:pt x="482" y="227"/>
                    </a:cubicBezTo>
                    <a:cubicBezTo>
                      <a:pt x="480" y="228"/>
                      <a:pt x="479" y="228"/>
                      <a:pt x="479" y="228"/>
                    </a:cubicBezTo>
                    <a:cubicBezTo>
                      <a:pt x="479" y="228"/>
                      <a:pt x="478" y="228"/>
                      <a:pt x="478" y="228"/>
                    </a:cubicBezTo>
                    <a:cubicBezTo>
                      <a:pt x="478" y="228"/>
                      <a:pt x="477" y="228"/>
                      <a:pt x="476" y="228"/>
                    </a:cubicBezTo>
                    <a:cubicBezTo>
                      <a:pt x="476" y="228"/>
                      <a:pt x="476" y="228"/>
                      <a:pt x="476" y="228"/>
                    </a:cubicBezTo>
                    <a:cubicBezTo>
                      <a:pt x="475" y="228"/>
                      <a:pt x="473" y="228"/>
                      <a:pt x="472" y="228"/>
                    </a:cubicBezTo>
                    <a:cubicBezTo>
                      <a:pt x="471" y="228"/>
                      <a:pt x="471" y="228"/>
                      <a:pt x="470" y="229"/>
                    </a:cubicBezTo>
                    <a:cubicBezTo>
                      <a:pt x="469" y="229"/>
                      <a:pt x="469" y="229"/>
                      <a:pt x="469" y="229"/>
                    </a:cubicBezTo>
                    <a:cubicBezTo>
                      <a:pt x="469" y="229"/>
                      <a:pt x="469" y="229"/>
                      <a:pt x="469" y="229"/>
                    </a:cubicBezTo>
                    <a:cubicBezTo>
                      <a:pt x="469" y="229"/>
                      <a:pt x="469" y="229"/>
                      <a:pt x="469" y="229"/>
                    </a:cubicBezTo>
                    <a:cubicBezTo>
                      <a:pt x="468" y="229"/>
                      <a:pt x="468" y="229"/>
                      <a:pt x="468" y="229"/>
                    </a:cubicBezTo>
                    <a:cubicBezTo>
                      <a:pt x="468" y="228"/>
                      <a:pt x="468" y="228"/>
                      <a:pt x="468" y="228"/>
                    </a:cubicBezTo>
                    <a:cubicBezTo>
                      <a:pt x="466" y="228"/>
                      <a:pt x="465" y="226"/>
                      <a:pt x="464" y="224"/>
                    </a:cubicBezTo>
                    <a:cubicBezTo>
                      <a:pt x="463" y="222"/>
                      <a:pt x="463" y="222"/>
                      <a:pt x="463" y="222"/>
                    </a:cubicBezTo>
                    <a:cubicBezTo>
                      <a:pt x="463" y="222"/>
                      <a:pt x="463" y="222"/>
                      <a:pt x="463" y="222"/>
                    </a:cubicBezTo>
                    <a:cubicBezTo>
                      <a:pt x="459" y="216"/>
                      <a:pt x="455" y="210"/>
                      <a:pt x="451" y="204"/>
                    </a:cubicBezTo>
                    <a:cubicBezTo>
                      <a:pt x="448" y="198"/>
                      <a:pt x="442" y="192"/>
                      <a:pt x="440" y="186"/>
                    </a:cubicBezTo>
                    <a:cubicBezTo>
                      <a:pt x="440" y="185"/>
                      <a:pt x="439" y="182"/>
                      <a:pt x="440" y="181"/>
                    </a:cubicBezTo>
                    <a:cubicBezTo>
                      <a:pt x="441" y="181"/>
                      <a:pt x="441" y="180"/>
                      <a:pt x="441" y="180"/>
                    </a:cubicBezTo>
                    <a:cubicBezTo>
                      <a:pt x="442" y="180"/>
                      <a:pt x="443" y="183"/>
                      <a:pt x="444" y="185"/>
                    </a:cubicBezTo>
                    <a:cubicBezTo>
                      <a:pt x="445" y="182"/>
                      <a:pt x="447" y="176"/>
                      <a:pt x="446" y="174"/>
                    </a:cubicBezTo>
                    <a:cubicBezTo>
                      <a:pt x="444" y="170"/>
                      <a:pt x="438" y="169"/>
                      <a:pt x="440" y="164"/>
                    </a:cubicBezTo>
                    <a:cubicBezTo>
                      <a:pt x="441" y="165"/>
                      <a:pt x="442" y="166"/>
                      <a:pt x="444" y="166"/>
                    </a:cubicBezTo>
                    <a:cubicBezTo>
                      <a:pt x="444" y="166"/>
                      <a:pt x="444" y="166"/>
                      <a:pt x="445" y="166"/>
                    </a:cubicBezTo>
                    <a:cubicBezTo>
                      <a:pt x="442" y="164"/>
                      <a:pt x="441" y="161"/>
                      <a:pt x="438" y="160"/>
                    </a:cubicBezTo>
                    <a:cubicBezTo>
                      <a:pt x="437" y="159"/>
                      <a:pt x="435" y="159"/>
                      <a:pt x="434" y="158"/>
                    </a:cubicBezTo>
                    <a:cubicBezTo>
                      <a:pt x="431" y="156"/>
                      <a:pt x="430" y="150"/>
                      <a:pt x="426" y="150"/>
                    </a:cubicBezTo>
                    <a:cubicBezTo>
                      <a:pt x="426" y="150"/>
                      <a:pt x="426" y="150"/>
                      <a:pt x="426" y="150"/>
                    </a:cubicBezTo>
                    <a:cubicBezTo>
                      <a:pt x="426" y="150"/>
                      <a:pt x="426" y="151"/>
                      <a:pt x="426" y="151"/>
                    </a:cubicBezTo>
                    <a:cubicBezTo>
                      <a:pt x="422" y="151"/>
                      <a:pt x="420" y="144"/>
                      <a:pt x="415" y="142"/>
                    </a:cubicBezTo>
                    <a:cubicBezTo>
                      <a:pt x="417" y="142"/>
                      <a:pt x="418" y="141"/>
                      <a:pt x="420" y="140"/>
                    </a:cubicBezTo>
                    <a:cubicBezTo>
                      <a:pt x="419" y="139"/>
                      <a:pt x="418" y="139"/>
                      <a:pt x="417" y="139"/>
                    </a:cubicBezTo>
                    <a:cubicBezTo>
                      <a:pt x="417" y="139"/>
                      <a:pt x="417" y="139"/>
                      <a:pt x="417" y="139"/>
                    </a:cubicBezTo>
                    <a:cubicBezTo>
                      <a:pt x="416" y="139"/>
                      <a:pt x="416" y="139"/>
                      <a:pt x="416" y="139"/>
                    </a:cubicBezTo>
                    <a:cubicBezTo>
                      <a:pt x="415" y="139"/>
                      <a:pt x="415" y="139"/>
                      <a:pt x="414" y="139"/>
                    </a:cubicBezTo>
                    <a:cubicBezTo>
                      <a:pt x="413" y="138"/>
                      <a:pt x="412" y="137"/>
                      <a:pt x="412" y="137"/>
                    </a:cubicBezTo>
                    <a:cubicBezTo>
                      <a:pt x="409" y="136"/>
                      <a:pt x="408" y="137"/>
                      <a:pt x="406" y="134"/>
                    </a:cubicBezTo>
                    <a:cubicBezTo>
                      <a:pt x="404" y="132"/>
                      <a:pt x="404" y="127"/>
                      <a:pt x="402" y="124"/>
                    </a:cubicBezTo>
                    <a:cubicBezTo>
                      <a:pt x="401" y="120"/>
                      <a:pt x="399" y="116"/>
                      <a:pt x="397" y="111"/>
                    </a:cubicBezTo>
                    <a:cubicBezTo>
                      <a:pt x="396" y="112"/>
                      <a:pt x="396" y="112"/>
                      <a:pt x="396" y="112"/>
                    </a:cubicBezTo>
                    <a:cubicBezTo>
                      <a:pt x="395" y="112"/>
                      <a:pt x="395" y="112"/>
                      <a:pt x="395" y="112"/>
                    </a:cubicBezTo>
                    <a:cubicBezTo>
                      <a:pt x="394" y="111"/>
                      <a:pt x="394" y="111"/>
                      <a:pt x="394" y="111"/>
                    </a:cubicBezTo>
                    <a:cubicBezTo>
                      <a:pt x="393" y="112"/>
                      <a:pt x="393" y="112"/>
                      <a:pt x="393" y="112"/>
                    </a:cubicBezTo>
                    <a:cubicBezTo>
                      <a:pt x="392" y="112"/>
                      <a:pt x="391" y="112"/>
                      <a:pt x="390" y="112"/>
                    </a:cubicBezTo>
                    <a:cubicBezTo>
                      <a:pt x="389" y="112"/>
                      <a:pt x="389" y="112"/>
                      <a:pt x="389" y="112"/>
                    </a:cubicBezTo>
                    <a:cubicBezTo>
                      <a:pt x="387" y="112"/>
                      <a:pt x="385" y="112"/>
                      <a:pt x="383" y="112"/>
                    </a:cubicBezTo>
                    <a:cubicBezTo>
                      <a:pt x="379" y="112"/>
                      <a:pt x="376" y="112"/>
                      <a:pt x="374" y="111"/>
                    </a:cubicBezTo>
                    <a:cubicBezTo>
                      <a:pt x="372" y="110"/>
                      <a:pt x="370" y="108"/>
                      <a:pt x="369" y="106"/>
                    </a:cubicBezTo>
                    <a:cubicBezTo>
                      <a:pt x="368" y="105"/>
                      <a:pt x="368" y="105"/>
                      <a:pt x="368" y="104"/>
                    </a:cubicBezTo>
                    <a:cubicBezTo>
                      <a:pt x="368" y="104"/>
                      <a:pt x="368" y="104"/>
                      <a:pt x="368" y="104"/>
                    </a:cubicBezTo>
                    <a:cubicBezTo>
                      <a:pt x="368" y="104"/>
                      <a:pt x="368" y="104"/>
                      <a:pt x="368" y="104"/>
                    </a:cubicBezTo>
                    <a:cubicBezTo>
                      <a:pt x="368" y="103"/>
                      <a:pt x="368" y="103"/>
                      <a:pt x="368" y="103"/>
                    </a:cubicBezTo>
                    <a:cubicBezTo>
                      <a:pt x="368" y="103"/>
                      <a:pt x="368" y="103"/>
                      <a:pt x="368" y="103"/>
                    </a:cubicBezTo>
                    <a:cubicBezTo>
                      <a:pt x="368" y="102"/>
                      <a:pt x="368" y="102"/>
                      <a:pt x="368" y="101"/>
                    </a:cubicBezTo>
                    <a:cubicBezTo>
                      <a:pt x="367" y="101"/>
                      <a:pt x="367" y="101"/>
                      <a:pt x="367" y="101"/>
                    </a:cubicBezTo>
                    <a:cubicBezTo>
                      <a:pt x="367" y="101"/>
                      <a:pt x="367" y="100"/>
                      <a:pt x="367" y="100"/>
                    </a:cubicBezTo>
                    <a:cubicBezTo>
                      <a:pt x="367" y="100"/>
                      <a:pt x="367" y="100"/>
                      <a:pt x="367" y="100"/>
                    </a:cubicBezTo>
                    <a:cubicBezTo>
                      <a:pt x="343" y="94"/>
                      <a:pt x="343" y="94"/>
                      <a:pt x="343" y="94"/>
                    </a:cubicBezTo>
                    <a:cubicBezTo>
                      <a:pt x="343" y="94"/>
                      <a:pt x="343" y="94"/>
                      <a:pt x="343" y="94"/>
                    </a:cubicBezTo>
                    <a:cubicBezTo>
                      <a:pt x="342" y="94"/>
                      <a:pt x="342" y="94"/>
                      <a:pt x="342" y="94"/>
                    </a:cubicBezTo>
                    <a:cubicBezTo>
                      <a:pt x="341" y="95"/>
                      <a:pt x="341" y="95"/>
                      <a:pt x="341" y="95"/>
                    </a:cubicBezTo>
                    <a:cubicBezTo>
                      <a:pt x="341" y="95"/>
                      <a:pt x="340" y="95"/>
                      <a:pt x="339" y="95"/>
                    </a:cubicBezTo>
                    <a:cubicBezTo>
                      <a:pt x="338" y="96"/>
                      <a:pt x="338" y="96"/>
                      <a:pt x="338" y="96"/>
                    </a:cubicBezTo>
                    <a:cubicBezTo>
                      <a:pt x="337" y="96"/>
                      <a:pt x="336" y="95"/>
                      <a:pt x="335" y="95"/>
                    </a:cubicBezTo>
                    <a:cubicBezTo>
                      <a:pt x="334" y="95"/>
                      <a:pt x="334" y="95"/>
                      <a:pt x="334" y="95"/>
                    </a:cubicBezTo>
                    <a:cubicBezTo>
                      <a:pt x="333" y="95"/>
                      <a:pt x="333" y="95"/>
                      <a:pt x="333" y="95"/>
                    </a:cubicBezTo>
                    <a:cubicBezTo>
                      <a:pt x="294" y="91"/>
                      <a:pt x="294" y="91"/>
                      <a:pt x="294" y="91"/>
                    </a:cubicBezTo>
                    <a:cubicBezTo>
                      <a:pt x="292" y="91"/>
                      <a:pt x="289" y="91"/>
                      <a:pt x="287" y="89"/>
                    </a:cubicBezTo>
                    <a:cubicBezTo>
                      <a:pt x="282" y="86"/>
                      <a:pt x="278" y="83"/>
                      <a:pt x="274" y="79"/>
                    </a:cubicBezTo>
                    <a:cubicBezTo>
                      <a:pt x="270" y="76"/>
                      <a:pt x="266" y="74"/>
                      <a:pt x="263" y="71"/>
                    </a:cubicBezTo>
                    <a:cubicBezTo>
                      <a:pt x="244" y="56"/>
                      <a:pt x="244" y="56"/>
                      <a:pt x="244" y="56"/>
                    </a:cubicBezTo>
                    <a:cubicBezTo>
                      <a:pt x="240" y="53"/>
                      <a:pt x="236" y="50"/>
                      <a:pt x="232" y="47"/>
                    </a:cubicBezTo>
                    <a:cubicBezTo>
                      <a:pt x="226" y="42"/>
                      <a:pt x="220" y="36"/>
                      <a:pt x="213" y="32"/>
                    </a:cubicBezTo>
                    <a:cubicBezTo>
                      <a:pt x="207" y="28"/>
                      <a:pt x="207" y="28"/>
                      <a:pt x="207" y="28"/>
                    </a:cubicBezTo>
                    <a:cubicBezTo>
                      <a:pt x="204" y="27"/>
                      <a:pt x="202" y="26"/>
                      <a:pt x="199" y="24"/>
                    </a:cubicBezTo>
                    <a:cubicBezTo>
                      <a:pt x="192" y="21"/>
                      <a:pt x="183" y="16"/>
                      <a:pt x="175" y="11"/>
                    </a:cubicBezTo>
                    <a:cubicBezTo>
                      <a:pt x="174" y="10"/>
                      <a:pt x="174" y="10"/>
                      <a:pt x="173" y="9"/>
                    </a:cubicBezTo>
                    <a:cubicBezTo>
                      <a:pt x="171" y="8"/>
                      <a:pt x="168" y="6"/>
                      <a:pt x="167" y="5"/>
                    </a:cubicBezTo>
                    <a:cubicBezTo>
                      <a:pt x="133" y="0"/>
                      <a:pt x="133" y="0"/>
                      <a:pt x="1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359"/>
              <p:cNvSpPr/>
              <p:nvPr/>
            </p:nvSpPr>
            <p:spPr bwMode="auto">
              <a:xfrm>
                <a:off x="3637210" y="3357141"/>
                <a:ext cx="228477" cy="151090"/>
              </a:xfrm>
              <a:custGeom>
                <a:gdLst>
                  <a:gd name="T0" fmla="*/ 47 w 72"/>
                  <a:gd name="T1" fmla="*/ 0 h 47"/>
                  <a:gd name="T2" fmla="*/ 44 w 72"/>
                  <a:gd name="T3" fmla="*/ 0 h 47"/>
                  <a:gd name="T4" fmla="*/ 42 w 72"/>
                  <a:gd name="T5" fmla="*/ 0 h 47"/>
                  <a:gd name="T6" fmla="*/ 40 w 72"/>
                  <a:gd name="T7" fmla="*/ 0 h 47"/>
                  <a:gd name="T8" fmla="*/ 25 w 72"/>
                  <a:gd name="T9" fmla="*/ 6 h 47"/>
                  <a:gd name="T10" fmla="*/ 23 w 72"/>
                  <a:gd name="T11" fmla="*/ 6 h 47"/>
                  <a:gd name="T12" fmla="*/ 22 w 72"/>
                  <a:gd name="T13" fmla="*/ 6 h 47"/>
                  <a:gd name="T14" fmla="*/ 23 w 72"/>
                  <a:gd name="T15" fmla="*/ 7 h 47"/>
                  <a:gd name="T16" fmla="*/ 22 w 72"/>
                  <a:gd name="T17" fmla="*/ 8 h 47"/>
                  <a:gd name="T18" fmla="*/ 22 w 72"/>
                  <a:gd name="T19" fmla="*/ 9 h 47"/>
                  <a:gd name="T20" fmla="*/ 21 w 72"/>
                  <a:gd name="T21" fmla="*/ 10 h 47"/>
                  <a:gd name="T22" fmla="*/ 20 w 72"/>
                  <a:gd name="T23" fmla="*/ 11 h 47"/>
                  <a:gd name="T24" fmla="*/ 16 w 72"/>
                  <a:gd name="T25" fmla="*/ 18 h 47"/>
                  <a:gd name="T26" fmla="*/ 11 w 72"/>
                  <a:gd name="T27" fmla="*/ 22 h 47"/>
                  <a:gd name="T28" fmla="*/ 14 w 72"/>
                  <a:gd name="T29" fmla="*/ 25 h 47"/>
                  <a:gd name="T30" fmla="*/ 0 w 72"/>
                  <a:gd name="T31" fmla="*/ 31 h 47"/>
                  <a:gd name="T32" fmla="*/ 5 w 72"/>
                  <a:gd name="T33" fmla="*/ 34 h 47"/>
                  <a:gd name="T34" fmla="*/ 16 w 72"/>
                  <a:gd name="T35" fmla="*/ 39 h 47"/>
                  <a:gd name="T36" fmla="*/ 19 w 72"/>
                  <a:gd name="T37" fmla="*/ 34 h 47"/>
                  <a:gd name="T38" fmla="*/ 23 w 72"/>
                  <a:gd name="T39" fmla="*/ 31 h 47"/>
                  <a:gd name="T40" fmla="*/ 25 w 72"/>
                  <a:gd name="T41" fmla="*/ 31 h 47"/>
                  <a:gd name="T42" fmla="*/ 26 w 72"/>
                  <a:gd name="T43" fmla="*/ 31 h 47"/>
                  <a:gd name="T44" fmla="*/ 29 w 72"/>
                  <a:gd name="T45" fmla="*/ 32 h 47"/>
                  <a:gd name="T46" fmla="*/ 40 w 72"/>
                  <a:gd name="T47" fmla="*/ 39 h 47"/>
                  <a:gd name="T48" fmla="*/ 40 w 72"/>
                  <a:gd name="T49" fmla="*/ 39 h 47"/>
                  <a:gd name="T50" fmla="*/ 41 w 72"/>
                  <a:gd name="T51" fmla="*/ 42 h 47"/>
                  <a:gd name="T52" fmla="*/ 42 w 72"/>
                  <a:gd name="T53" fmla="*/ 42 h 47"/>
                  <a:gd name="T54" fmla="*/ 47 w 72"/>
                  <a:gd name="T55" fmla="*/ 41 h 47"/>
                  <a:gd name="T56" fmla="*/ 50 w 72"/>
                  <a:gd name="T57" fmla="*/ 41 h 47"/>
                  <a:gd name="T58" fmla="*/ 49 w 72"/>
                  <a:gd name="T59" fmla="*/ 45 h 47"/>
                  <a:gd name="T60" fmla="*/ 53 w 72"/>
                  <a:gd name="T61" fmla="*/ 47 h 47"/>
                  <a:gd name="T62" fmla="*/ 54 w 72"/>
                  <a:gd name="T63" fmla="*/ 46 h 47"/>
                  <a:gd name="T64" fmla="*/ 63 w 72"/>
                  <a:gd name="T65" fmla="*/ 39 h 47"/>
                  <a:gd name="T66" fmla="*/ 65 w 72"/>
                  <a:gd name="T67" fmla="*/ 39 h 47"/>
                  <a:gd name="T68" fmla="*/ 65 w 72"/>
                  <a:gd name="T69" fmla="*/ 39 h 47"/>
                  <a:gd name="T70" fmla="*/ 65 w 72"/>
                  <a:gd name="T71" fmla="*/ 39 h 47"/>
                  <a:gd name="T72" fmla="*/ 66 w 72"/>
                  <a:gd name="T73" fmla="*/ 38 h 47"/>
                  <a:gd name="T74" fmla="*/ 64 w 72"/>
                  <a:gd name="T75" fmla="*/ 34 h 47"/>
                  <a:gd name="T76" fmla="*/ 66 w 72"/>
                  <a:gd name="T77" fmla="*/ 30 h 47"/>
                  <a:gd name="T78" fmla="*/ 70 w 72"/>
                  <a:gd name="T79" fmla="*/ 34 h 47"/>
                  <a:gd name="T80" fmla="*/ 70 w 72"/>
                  <a:gd name="T81" fmla="*/ 34 h 47"/>
                  <a:gd name="T82" fmla="*/ 69 w 72"/>
                  <a:gd name="T83" fmla="*/ 25 h 47"/>
                  <a:gd name="T84" fmla="*/ 67 w 72"/>
                  <a:gd name="T85" fmla="*/ 22 h 47"/>
                  <a:gd name="T86" fmla="*/ 66 w 72"/>
                  <a:gd name="T87" fmla="*/ 22 h 47"/>
                  <a:gd name="T88" fmla="*/ 60 w 72"/>
                  <a:gd name="T89" fmla="*/ 23 h 47"/>
                  <a:gd name="T90" fmla="*/ 59 w 72"/>
                  <a:gd name="T91" fmla="*/ 23 h 47"/>
                  <a:gd name="T92" fmla="*/ 64 w 72"/>
                  <a:gd name="T93" fmla="*/ 16 h 47"/>
                  <a:gd name="T94" fmla="*/ 56 w 72"/>
                  <a:gd name="T95" fmla="*/ 5 h 47"/>
                  <a:gd name="T96" fmla="*/ 47 w 72"/>
                  <a:gd name="T97"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47">
                    <a:moveTo>
                      <a:pt x="47" y="0"/>
                    </a:moveTo>
                    <a:cubicBezTo>
                      <a:pt x="46" y="0"/>
                      <a:pt x="45" y="0"/>
                      <a:pt x="44" y="0"/>
                    </a:cubicBezTo>
                    <a:cubicBezTo>
                      <a:pt x="44" y="0"/>
                      <a:pt x="43" y="0"/>
                      <a:pt x="42" y="0"/>
                    </a:cubicBezTo>
                    <a:cubicBezTo>
                      <a:pt x="41" y="0"/>
                      <a:pt x="41" y="0"/>
                      <a:pt x="40" y="0"/>
                    </a:cubicBezTo>
                    <a:cubicBezTo>
                      <a:pt x="34" y="1"/>
                      <a:pt x="30" y="3"/>
                      <a:pt x="25" y="6"/>
                    </a:cubicBezTo>
                    <a:cubicBezTo>
                      <a:pt x="24" y="6"/>
                      <a:pt x="24" y="6"/>
                      <a:pt x="23" y="6"/>
                    </a:cubicBezTo>
                    <a:cubicBezTo>
                      <a:pt x="23" y="6"/>
                      <a:pt x="22" y="6"/>
                      <a:pt x="22" y="6"/>
                    </a:cubicBezTo>
                    <a:cubicBezTo>
                      <a:pt x="23" y="7"/>
                      <a:pt x="23" y="7"/>
                      <a:pt x="23" y="7"/>
                    </a:cubicBezTo>
                    <a:cubicBezTo>
                      <a:pt x="22" y="8"/>
                      <a:pt x="22" y="8"/>
                      <a:pt x="22" y="8"/>
                    </a:cubicBezTo>
                    <a:cubicBezTo>
                      <a:pt x="22" y="9"/>
                      <a:pt x="22" y="9"/>
                      <a:pt x="22" y="9"/>
                    </a:cubicBezTo>
                    <a:cubicBezTo>
                      <a:pt x="21" y="10"/>
                      <a:pt x="21" y="10"/>
                      <a:pt x="21" y="10"/>
                    </a:cubicBezTo>
                    <a:cubicBezTo>
                      <a:pt x="20" y="10"/>
                      <a:pt x="20" y="11"/>
                      <a:pt x="20" y="11"/>
                    </a:cubicBezTo>
                    <a:cubicBezTo>
                      <a:pt x="19" y="13"/>
                      <a:pt x="17" y="15"/>
                      <a:pt x="16" y="18"/>
                    </a:cubicBezTo>
                    <a:cubicBezTo>
                      <a:pt x="15" y="21"/>
                      <a:pt x="12" y="22"/>
                      <a:pt x="11" y="22"/>
                    </a:cubicBezTo>
                    <a:cubicBezTo>
                      <a:pt x="14" y="25"/>
                      <a:pt x="14" y="25"/>
                      <a:pt x="14" y="25"/>
                    </a:cubicBezTo>
                    <a:cubicBezTo>
                      <a:pt x="0" y="31"/>
                      <a:pt x="0" y="31"/>
                      <a:pt x="0" y="31"/>
                    </a:cubicBezTo>
                    <a:cubicBezTo>
                      <a:pt x="1" y="32"/>
                      <a:pt x="3" y="33"/>
                      <a:pt x="5" y="34"/>
                    </a:cubicBezTo>
                    <a:cubicBezTo>
                      <a:pt x="16" y="39"/>
                      <a:pt x="16" y="39"/>
                      <a:pt x="16" y="39"/>
                    </a:cubicBezTo>
                    <a:cubicBezTo>
                      <a:pt x="17" y="37"/>
                      <a:pt x="17" y="35"/>
                      <a:pt x="19" y="34"/>
                    </a:cubicBezTo>
                    <a:cubicBezTo>
                      <a:pt x="20" y="32"/>
                      <a:pt x="22" y="31"/>
                      <a:pt x="23" y="31"/>
                    </a:cubicBezTo>
                    <a:cubicBezTo>
                      <a:pt x="24" y="31"/>
                      <a:pt x="24" y="31"/>
                      <a:pt x="25" y="31"/>
                    </a:cubicBezTo>
                    <a:cubicBezTo>
                      <a:pt x="26" y="31"/>
                      <a:pt x="26" y="31"/>
                      <a:pt x="26" y="31"/>
                    </a:cubicBezTo>
                    <a:cubicBezTo>
                      <a:pt x="27" y="31"/>
                      <a:pt x="28" y="31"/>
                      <a:pt x="29" y="32"/>
                    </a:cubicBezTo>
                    <a:cubicBezTo>
                      <a:pt x="34" y="32"/>
                      <a:pt x="38" y="35"/>
                      <a:pt x="40" y="39"/>
                    </a:cubicBezTo>
                    <a:cubicBezTo>
                      <a:pt x="40" y="39"/>
                      <a:pt x="40" y="39"/>
                      <a:pt x="40" y="39"/>
                    </a:cubicBezTo>
                    <a:cubicBezTo>
                      <a:pt x="41" y="40"/>
                      <a:pt x="41" y="41"/>
                      <a:pt x="41" y="42"/>
                    </a:cubicBezTo>
                    <a:cubicBezTo>
                      <a:pt x="42" y="42"/>
                      <a:pt x="42" y="42"/>
                      <a:pt x="42" y="42"/>
                    </a:cubicBezTo>
                    <a:cubicBezTo>
                      <a:pt x="47" y="41"/>
                      <a:pt x="47" y="41"/>
                      <a:pt x="47" y="41"/>
                    </a:cubicBezTo>
                    <a:cubicBezTo>
                      <a:pt x="50" y="41"/>
                      <a:pt x="50" y="41"/>
                      <a:pt x="50" y="41"/>
                    </a:cubicBezTo>
                    <a:cubicBezTo>
                      <a:pt x="49" y="45"/>
                      <a:pt x="49" y="45"/>
                      <a:pt x="49" y="45"/>
                    </a:cubicBezTo>
                    <a:cubicBezTo>
                      <a:pt x="51" y="45"/>
                      <a:pt x="52" y="47"/>
                      <a:pt x="53" y="47"/>
                    </a:cubicBezTo>
                    <a:cubicBezTo>
                      <a:pt x="54" y="47"/>
                      <a:pt x="54" y="46"/>
                      <a:pt x="54" y="46"/>
                    </a:cubicBezTo>
                    <a:cubicBezTo>
                      <a:pt x="58" y="44"/>
                      <a:pt x="59" y="41"/>
                      <a:pt x="63" y="39"/>
                    </a:cubicBezTo>
                    <a:cubicBezTo>
                      <a:pt x="64" y="39"/>
                      <a:pt x="64" y="39"/>
                      <a:pt x="65" y="39"/>
                    </a:cubicBezTo>
                    <a:cubicBezTo>
                      <a:pt x="65" y="39"/>
                      <a:pt x="65" y="39"/>
                      <a:pt x="65" y="39"/>
                    </a:cubicBezTo>
                    <a:cubicBezTo>
                      <a:pt x="65" y="39"/>
                      <a:pt x="65" y="39"/>
                      <a:pt x="65" y="39"/>
                    </a:cubicBezTo>
                    <a:cubicBezTo>
                      <a:pt x="65" y="39"/>
                      <a:pt x="66" y="39"/>
                      <a:pt x="66" y="38"/>
                    </a:cubicBezTo>
                    <a:cubicBezTo>
                      <a:pt x="69" y="36"/>
                      <a:pt x="68" y="34"/>
                      <a:pt x="64" y="34"/>
                    </a:cubicBezTo>
                    <a:cubicBezTo>
                      <a:pt x="65" y="33"/>
                      <a:pt x="65" y="31"/>
                      <a:pt x="66" y="30"/>
                    </a:cubicBezTo>
                    <a:cubicBezTo>
                      <a:pt x="67" y="31"/>
                      <a:pt x="69" y="34"/>
                      <a:pt x="70" y="34"/>
                    </a:cubicBezTo>
                    <a:cubicBezTo>
                      <a:pt x="70" y="34"/>
                      <a:pt x="70" y="34"/>
                      <a:pt x="70" y="34"/>
                    </a:cubicBezTo>
                    <a:cubicBezTo>
                      <a:pt x="72" y="33"/>
                      <a:pt x="69" y="26"/>
                      <a:pt x="69" y="25"/>
                    </a:cubicBezTo>
                    <a:cubicBezTo>
                      <a:pt x="68" y="23"/>
                      <a:pt x="69" y="22"/>
                      <a:pt x="67" y="22"/>
                    </a:cubicBezTo>
                    <a:cubicBezTo>
                      <a:pt x="67" y="22"/>
                      <a:pt x="67" y="22"/>
                      <a:pt x="66" y="22"/>
                    </a:cubicBezTo>
                    <a:cubicBezTo>
                      <a:pt x="65" y="22"/>
                      <a:pt x="61" y="23"/>
                      <a:pt x="60" y="23"/>
                    </a:cubicBezTo>
                    <a:cubicBezTo>
                      <a:pt x="60" y="23"/>
                      <a:pt x="60" y="23"/>
                      <a:pt x="59" y="23"/>
                    </a:cubicBezTo>
                    <a:cubicBezTo>
                      <a:pt x="55" y="20"/>
                      <a:pt x="67" y="19"/>
                      <a:pt x="64" y="16"/>
                    </a:cubicBezTo>
                    <a:cubicBezTo>
                      <a:pt x="62" y="12"/>
                      <a:pt x="57" y="9"/>
                      <a:pt x="56" y="5"/>
                    </a:cubicBezTo>
                    <a:cubicBezTo>
                      <a:pt x="54" y="0"/>
                      <a:pt x="51" y="0"/>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360"/>
              <p:cNvSpPr/>
              <p:nvPr/>
            </p:nvSpPr>
            <p:spPr bwMode="auto">
              <a:xfrm>
                <a:off x="3559822" y="3338716"/>
                <a:ext cx="169515" cy="103183"/>
              </a:xfrm>
              <a:custGeom>
                <a:gdLst>
                  <a:gd name="T0" fmla="*/ 41 w 53"/>
                  <a:gd name="T1" fmla="*/ 0 h 32"/>
                  <a:gd name="T2" fmla="*/ 44 w 53"/>
                  <a:gd name="T3" fmla="*/ 3 h 32"/>
                  <a:gd name="T4" fmla="*/ 42 w 53"/>
                  <a:gd name="T5" fmla="*/ 3 h 32"/>
                  <a:gd name="T6" fmla="*/ 37 w 53"/>
                  <a:gd name="T7" fmla="*/ 3 h 32"/>
                  <a:gd name="T8" fmla="*/ 38 w 53"/>
                  <a:gd name="T9" fmla="*/ 12 h 32"/>
                  <a:gd name="T10" fmla="*/ 35 w 53"/>
                  <a:gd name="T11" fmla="*/ 13 h 32"/>
                  <a:gd name="T12" fmla="*/ 34 w 53"/>
                  <a:gd name="T13" fmla="*/ 12 h 32"/>
                  <a:gd name="T14" fmla="*/ 35 w 53"/>
                  <a:gd name="T15" fmla="*/ 9 h 32"/>
                  <a:gd name="T16" fmla="*/ 34 w 53"/>
                  <a:gd name="T17" fmla="*/ 5 h 32"/>
                  <a:gd name="T18" fmla="*/ 32 w 53"/>
                  <a:gd name="T19" fmla="*/ 4 h 32"/>
                  <a:gd name="T20" fmla="*/ 30 w 53"/>
                  <a:gd name="T21" fmla="*/ 4 h 32"/>
                  <a:gd name="T22" fmla="*/ 32 w 53"/>
                  <a:gd name="T23" fmla="*/ 10 h 32"/>
                  <a:gd name="T24" fmla="*/ 29 w 53"/>
                  <a:gd name="T25" fmla="*/ 5 h 32"/>
                  <a:gd name="T26" fmla="*/ 23 w 53"/>
                  <a:gd name="T27" fmla="*/ 8 h 32"/>
                  <a:gd name="T28" fmla="*/ 24 w 53"/>
                  <a:gd name="T29" fmla="*/ 6 h 32"/>
                  <a:gd name="T30" fmla="*/ 18 w 53"/>
                  <a:gd name="T31" fmla="*/ 9 h 32"/>
                  <a:gd name="T32" fmla="*/ 19 w 53"/>
                  <a:gd name="T33" fmla="*/ 8 h 32"/>
                  <a:gd name="T34" fmla="*/ 16 w 53"/>
                  <a:gd name="T35" fmla="*/ 9 h 32"/>
                  <a:gd name="T36" fmla="*/ 16 w 53"/>
                  <a:gd name="T37" fmla="*/ 9 h 32"/>
                  <a:gd name="T38" fmla="*/ 13 w 53"/>
                  <a:gd name="T39" fmla="*/ 11 h 32"/>
                  <a:gd name="T40" fmla="*/ 9 w 53"/>
                  <a:gd name="T41" fmla="*/ 20 h 32"/>
                  <a:gd name="T42" fmla="*/ 0 w 53"/>
                  <a:gd name="T43" fmla="*/ 26 h 32"/>
                  <a:gd name="T44" fmla="*/ 14 w 53"/>
                  <a:gd name="T45" fmla="*/ 29 h 32"/>
                  <a:gd name="T46" fmla="*/ 19 w 53"/>
                  <a:gd name="T47" fmla="*/ 28 h 32"/>
                  <a:gd name="T48" fmla="*/ 17 w 53"/>
                  <a:gd name="T49" fmla="*/ 32 h 32"/>
                  <a:gd name="T50" fmla="*/ 23 w 53"/>
                  <a:gd name="T51" fmla="*/ 30 h 32"/>
                  <a:gd name="T52" fmla="*/ 22 w 53"/>
                  <a:gd name="T53" fmla="*/ 28 h 32"/>
                  <a:gd name="T54" fmla="*/ 20 w 53"/>
                  <a:gd name="T55" fmla="*/ 24 h 32"/>
                  <a:gd name="T56" fmla="*/ 24 w 53"/>
                  <a:gd name="T57" fmla="*/ 23 h 32"/>
                  <a:gd name="T58" fmla="*/ 29 w 53"/>
                  <a:gd name="T59" fmla="*/ 22 h 32"/>
                  <a:gd name="T60" fmla="*/ 32 w 53"/>
                  <a:gd name="T61" fmla="*/ 22 h 32"/>
                  <a:gd name="T62" fmla="*/ 34 w 53"/>
                  <a:gd name="T63" fmla="*/ 21 h 32"/>
                  <a:gd name="T64" fmla="*/ 38 w 53"/>
                  <a:gd name="T65" fmla="*/ 13 h 32"/>
                  <a:gd name="T66" fmla="*/ 40 w 53"/>
                  <a:gd name="T67" fmla="*/ 11 h 32"/>
                  <a:gd name="T68" fmla="*/ 41 w 53"/>
                  <a:gd name="T69" fmla="*/ 9 h 32"/>
                  <a:gd name="T70" fmla="*/ 42 w 53"/>
                  <a:gd name="T71" fmla="*/ 8 h 32"/>
                  <a:gd name="T72" fmla="*/ 45 w 53"/>
                  <a:gd name="T73" fmla="*/ 11 h 32"/>
                  <a:gd name="T74" fmla="*/ 48 w 53"/>
                  <a:gd name="T75" fmla="*/ 8 h 32"/>
                  <a:gd name="T76" fmla="*/ 52 w 53"/>
                  <a:gd name="T77" fmla="*/ 6 h 32"/>
                  <a:gd name="T78" fmla="*/ 52 w 53"/>
                  <a:gd name="T79" fmla="*/ 5 h 32"/>
                  <a:gd name="T80" fmla="*/ 41 w 53"/>
                  <a:gd name="T81"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32">
                    <a:moveTo>
                      <a:pt x="41" y="0"/>
                    </a:moveTo>
                    <a:cubicBezTo>
                      <a:pt x="41" y="1"/>
                      <a:pt x="43" y="2"/>
                      <a:pt x="44" y="3"/>
                    </a:cubicBezTo>
                    <a:cubicBezTo>
                      <a:pt x="43" y="3"/>
                      <a:pt x="42" y="3"/>
                      <a:pt x="42" y="3"/>
                    </a:cubicBezTo>
                    <a:cubicBezTo>
                      <a:pt x="40" y="3"/>
                      <a:pt x="39" y="3"/>
                      <a:pt x="37" y="3"/>
                    </a:cubicBezTo>
                    <a:cubicBezTo>
                      <a:pt x="37" y="5"/>
                      <a:pt x="39" y="11"/>
                      <a:pt x="38" y="12"/>
                    </a:cubicBezTo>
                    <a:cubicBezTo>
                      <a:pt x="38" y="12"/>
                      <a:pt x="36" y="13"/>
                      <a:pt x="35" y="13"/>
                    </a:cubicBezTo>
                    <a:cubicBezTo>
                      <a:pt x="34" y="13"/>
                      <a:pt x="34" y="13"/>
                      <a:pt x="34" y="12"/>
                    </a:cubicBezTo>
                    <a:cubicBezTo>
                      <a:pt x="34" y="10"/>
                      <a:pt x="36" y="10"/>
                      <a:pt x="35" y="9"/>
                    </a:cubicBezTo>
                    <a:cubicBezTo>
                      <a:pt x="34" y="5"/>
                      <a:pt x="34" y="5"/>
                      <a:pt x="34" y="5"/>
                    </a:cubicBezTo>
                    <a:cubicBezTo>
                      <a:pt x="33" y="4"/>
                      <a:pt x="33" y="4"/>
                      <a:pt x="32" y="4"/>
                    </a:cubicBezTo>
                    <a:cubicBezTo>
                      <a:pt x="32" y="4"/>
                      <a:pt x="31" y="4"/>
                      <a:pt x="30" y="4"/>
                    </a:cubicBezTo>
                    <a:cubicBezTo>
                      <a:pt x="31" y="6"/>
                      <a:pt x="33" y="8"/>
                      <a:pt x="32" y="10"/>
                    </a:cubicBezTo>
                    <a:cubicBezTo>
                      <a:pt x="30" y="8"/>
                      <a:pt x="27" y="7"/>
                      <a:pt x="29" y="5"/>
                    </a:cubicBezTo>
                    <a:cubicBezTo>
                      <a:pt x="26" y="6"/>
                      <a:pt x="25" y="8"/>
                      <a:pt x="23" y="8"/>
                    </a:cubicBezTo>
                    <a:cubicBezTo>
                      <a:pt x="23" y="7"/>
                      <a:pt x="23" y="6"/>
                      <a:pt x="24" y="6"/>
                    </a:cubicBezTo>
                    <a:cubicBezTo>
                      <a:pt x="22" y="6"/>
                      <a:pt x="20" y="8"/>
                      <a:pt x="18" y="9"/>
                    </a:cubicBezTo>
                    <a:cubicBezTo>
                      <a:pt x="19" y="8"/>
                      <a:pt x="19" y="8"/>
                      <a:pt x="19" y="8"/>
                    </a:cubicBezTo>
                    <a:cubicBezTo>
                      <a:pt x="17" y="9"/>
                      <a:pt x="17" y="9"/>
                      <a:pt x="16" y="9"/>
                    </a:cubicBezTo>
                    <a:cubicBezTo>
                      <a:pt x="16" y="9"/>
                      <a:pt x="16" y="9"/>
                      <a:pt x="16" y="9"/>
                    </a:cubicBezTo>
                    <a:cubicBezTo>
                      <a:pt x="15" y="9"/>
                      <a:pt x="14" y="9"/>
                      <a:pt x="13" y="11"/>
                    </a:cubicBezTo>
                    <a:cubicBezTo>
                      <a:pt x="11" y="15"/>
                      <a:pt x="10" y="15"/>
                      <a:pt x="9" y="20"/>
                    </a:cubicBezTo>
                    <a:cubicBezTo>
                      <a:pt x="8" y="24"/>
                      <a:pt x="4" y="24"/>
                      <a:pt x="0" y="26"/>
                    </a:cubicBezTo>
                    <a:cubicBezTo>
                      <a:pt x="4" y="27"/>
                      <a:pt x="10" y="29"/>
                      <a:pt x="14" y="29"/>
                    </a:cubicBezTo>
                    <a:cubicBezTo>
                      <a:pt x="16" y="29"/>
                      <a:pt x="18" y="29"/>
                      <a:pt x="19" y="28"/>
                    </a:cubicBezTo>
                    <a:cubicBezTo>
                      <a:pt x="18" y="30"/>
                      <a:pt x="17" y="31"/>
                      <a:pt x="17" y="32"/>
                    </a:cubicBezTo>
                    <a:cubicBezTo>
                      <a:pt x="23" y="30"/>
                      <a:pt x="23" y="30"/>
                      <a:pt x="23" y="30"/>
                    </a:cubicBezTo>
                    <a:cubicBezTo>
                      <a:pt x="22" y="29"/>
                      <a:pt x="22" y="29"/>
                      <a:pt x="22" y="28"/>
                    </a:cubicBezTo>
                    <a:cubicBezTo>
                      <a:pt x="20" y="24"/>
                      <a:pt x="20" y="24"/>
                      <a:pt x="20" y="24"/>
                    </a:cubicBezTo>
                    <a:cubicBezTo>
                      <a:pt x="24" y="23"/>
                      <a:pt x="24" y="23"/>
                      <a:pt x="24" y="23"/>
                    </a:cubicBezTo>
                    <a:cubicBezTo>
                      <a:pt x="25" y="23"/>
                      <a:pt x="27" y="23"/>
                      <a:pt x="29" y="22"/>
                    </a:cubicBezTo>
                    <a:cubicBezTo>
                      <a:pt x="32" y="22"/>
                      <a:pt x="32" y="22"/>
                      <a:pt x="32" y="22"/>
                    </a:cubicBezTo>
                    <a:cubicBezTo>
                      <a:pt x="32" y="22"/>
                      <a:pt x="34" y="21"/>
                      <a:pt x="34" y="21"/>
                    </a:cubicBezTo>
                    <a:cubicBezTo>
                      <a:pt x="35" y="18"/>
                      <a:pt x="37" y="15"/>
                      <a:pt x="38" y="13"/>
                    </a:cubicBezTo>
                    <a:cubicBezTo>
                      <a:pt x="39" y="12"/>
                      <a:pt x="39" y="11"/>
                      <a:pt x="40" y="11"/>
                    </a:cubicBezTo>
                    <a:cubicBezTo>
                      <a:pt x="40" y="10"/>
                      <a:pt x="41" y="10"/>
                      <a:pt x="41" y="9"/>
                    </a:cubicBezTo>
                    <a:cubicBezTo>
                      <a:pt x="42" y="8"/>
                      <a:pt x="42" y="8"/>
                      <a:pt x="42" y="8"/>
                    </a:cubicBezTo>
                    <a:cubicBezTo>
                      <a:pt x="45" y="11"/>
                      <a:pt x="45" y="11"/>
                      <a:pt x="45" y="11"/>
                    </a:cubicBezTo>
                    <a:cubicBezTo>
                      <a:pt x="46" y="10"/>
                      <a:pt x="47" y="9"/>
                      <a:pt x="48" y="8"/>
                    </a:cubicBezTo>
                    <a:cubicBezTo>
                      <a:pt x="49" y="8"/>
                      <a:pt x="51" y="7"/>
                      <a:pt x="52" y="6"/>
                    </a:cubicBezTo>
                    <a:cubicBezTo>
                      <a:pt x="53" y="5"/>
                      <a:pt x="53" y="7"/>
                      <a:pt x="52" y="5"/>
                    </a:cubicBezTo>
                    <a:cubicBezTo>
                      <a:pt x="50" y="2"/>
                      <a:pt x="44" y="1"/>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361"/>
              <p:cNvSpPr/>
              <p:nvPr/>
            </p:nvSpPr>
            <p:spPr bwMode="auto">
              <a:xfrm>
                <a:off x="3412418" y="3449269"/>
                <a:ext cx="397992" cy="372197"/>
              </a:xfrm>
              <a:custGeom>
                <a:gdLst>
                  <a:gd name="T0" fmla="*/ 57 w 126"/>
                  <a:gd name="T1" fmla="*/ 4 h 117"/>
                  <a:gd name="T2" fmla="*/ 55 w 126"/>
                  <a:gd name="T3" fmla="*/ 10 h 117"/>
                  <a:gd name="T4" fmla="*/ 38 w 126"/>
                  <a:gd name="T5" fmla="*/ 12 h 117"/>
                  <a:gd name="T6" fmla="*/ 18 w 126"/>
                  <a:gd name="T7" fmla="*/ 6 h 117"/>
                  <a:gd name="T8" fmla="*/ 14 w 126"/>
                  <a:gd name="T9" fmla="*/ 8 h 117"/>
                  <a:gd name="T10" fmla="*/ 17 w 126"/>
                  <a:gd name="T11" fmla="*/ 14 h 117"/>
                  <a:gd name="T12" fmla="*/ 25 w 126"/>
                  <a:gd name="T13" fmla="*/ 23 h 117"/>
                  <a:gd name="T14" fmla="*/ 17 w 126"/>
                  <a:gd name="T15" fmla="*/ 34 h 117"/>
                  <a:gd name="T16" fmla="*/ 7 w 126"/>
                  <a:gd name="T17" fmla="*/ 36 h 117"/>
                  <a:gd name="T18" fmla="*/ 8 w 126"/>
                  <a:gd name="T19" fmla="*/ 41 h 117"/>
                  <a:gd name="T20" fmla="*/ 25 w 126"/>
                  <a:gd name="T21" fmla="*/ 48 h 117"/>
                  <a:gd name="T22" fmla="*/ 43 w 126"/>
                  <a:gd name="T23" fmla="*/ 47 h 117"/>
                  <a:gd name="T24" fmla="*/ 39 w 126"/>
                  <a:gd name="T25" fmla="*/ 52 h 117"/>
                  <a:gd name="T26" fmla="*/ 38 w 126"/>
                  <a:gd name="T27" fmla="*/ 53 h 117"/>
                  <a:gd name="T28" fmla="*/ 35 w 126"/>
                  <a:gd name="T29" fmla="*/ 52 h 117"/>
                  <a:gd name="T30" fmla="*/ 33 w 126"/>
                  <a:gd name="T31" fmla="*/ 54 h 117"/>
                  <a:gd name="T32" fmla="*/ 24 w 126"/>
                  <a:gd name="T33" fmla="*/ 68 h 117"/>
                  <a:gd name="T34" fmla="*/ 39 w 126"/>
                  <a:gd name="T35" fmla="*/ 68 h 117"/>
                  <a:gd name="T36" fmla="*/ 27 w 126"/>
                  <a:gd name="T37" fmla="*/ 74 h 117"/>
                  <a:gd name="T38" fmla="*/ 24 w 126"/>
                  <a:gd name="T39" fmla="*/ 74 h 117"/>
                  <a:gd name="T40" fmla="*/ 15 w 126"/>
                  <a:gd name="T41" fmla="*/ 80 h 117"/>
                  <a:gd name="T42" fmla="*/ 13 w 126"/>
                  <a:gd name="T43" fmla="*/ 84 h 117"/>
                  <a:gd name="T44" fmla="*/ 8 w 126"/>
                  <a:gd name="T45" fmla="*/ 85 h 117"/>
                  <a:gd name="T46" fmla="*/ 1 w 126"/>
                  <a:gd name="T47" fmla="*/ 89 h 117"/>
                  <a:gd name="T48" fmla="*/ 10 w 126"/>
                  <a:gd name="T49" fmla="*/ 91 h 117"/>
                  <a:gd name="T50" fmla="*/ 17 w 126"/>
                  <a:gd name="T51" fmla="*/ 90 h 117"/>
                  <a:gd name="T52" fmla="*/ 16 w 126"/>
                  <a:gd name="T53" fmla="*/ 91 h 117"/>
                  <a:gd name="T54" fmla="*/ 8 w 126"/>
                  <a:gd name="T55" fmla="*/ 95 h 117"/>
                  <a:gd name="T56" fmla="*/ 17 w 126"/>
                  <a:gd name="T57" fmla="*/ 102 h 117"/>
                  <a:gd name="T58" fmla="*/ 9 w 126"/>
                  <a:gd name="T59" fmla="*/ 111 h 117"/>
                  <a:gd name="T60" fmla="*/ 17 w 126"/>
                  <a:gd name="T61" fmla="*/ 113 h 117"/>
                  <a:gd name="T62" fmla="*/ 23 w 126"/>
                  <a:gd name="T63" fmla="*/ 113 h 117"/>
                  <a:gd name="T64" fmla="*/ 21 w 126"/>
                  <a:gd name="T65" fmla="*/ 117 h 117"/>
                  <a:gd name="T66" fmla="*/ 49 w 126"/>
                  <a:gd name="T67" fmla="*/ 112 h 117"/>
                  <a:gd name="T68" fmla="*/ 65 w 126"/>
                  <a:gd name="T69" fmla="*/ 103 h 117"/>
                  <a:gd name="T70" fmla="*/ 98 w 126"/>
                  <a:gd name="T71" fmla="*/ 85 h 117"/>
                  <a:gd name="T72" fmla="*/ 116 w 126"/>
                  <a:gd name="T73" fmla="*/ 89 h 117"/>
                  <a:gd name="T74" fmla="*/ 119 w 126"/>
                  <a:gd name="T75" fmla="*/ 76 h 117"/>
                  <a:gd name="T76" fmla="*/ 124 w 126"/>
                  <a:gd name="T77" fmla="*/ 50 h 117"/>
                  <a:gd name="T78" fmla="*/ 120 w 126"/>
                  <a:gd name="T79" fmla="*/ 29 h 117"/>
                  <a:gd name="T80" fmla="*/ 120 w 126"/>
                  <a:gd name="T81" fmla="*/ 16 h 117"/>
                  <a:gd name="T82" fmla="*/ 115 w 126"/>
                  <a:gd name="T83" fmla="*/ 19 h 117"/>
                  <a:gd name="T84" fmla="*/ 106 w 126"/>
                  <a:gd name="T85" fmla="*/ 16 h 117"/>
                  <a:gd name="T86" fmla="*/ 99 w 126"/>
                  <a:gd name="T87" fmla="*/ 10 h 117"/>
                  <a:gd name="T88" fmla="*/ 95 w 126"/>
                  <a:gd name="T89" fmla="*/ 9 h 117"/>
                  <a:gd name="T90" fmla="*/ 93 w 126"/>
                  <a:gd name="T91" fmla="*/ 16 h 117"/>
                  <a:gd name="T92" fmla="*/ 64 w 126"/>
                  <a:gd name="T93" fmla="*/ 5 h 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117">
                    <a:moveTo>
                      <a:pt x="59" y="0"/>
                    </a:moveTo>
                    <a:cubicBezTo>
                      <a:pt x="59" y="0"/>
                      <a:pt x="59" y="0"/>
                      <a:pt x="59" y="0"/>
                    </a:cubicBezTo>
                    <a:cubicBezTo>
                      <a:pt x="58" y="1"/>
                      <a:pt x="58" y="3"/>
                      <a:pt x="57" y="4"/>
                    </a:cubicBezTo>
                    <a:cubicBezTo>
                      <a:pt x="56" y="5"/>
                      <a:pt x="54" y="7"/>
                      <a:pt x="56" y="8"/>
                    </a:cubicBezTo>
                    <a:cubicBezTo>
                      <a:pt x="55" y="8"/>
                      <a:pt x="55" y="9"/>
                      <a:pt x="54" y="10"/>
                    </a:cubicBezTo>
                    <a:cubicBezTo>
                      <a:pt x="54" y="10"/>
                      <a:pt x="55" y="10"/>
                      <a:pt x="55" y="10"/>
                    </a:cubicBezTo>
                    <a:cubicBezTo>
                      <a:pt x="52" y="10"/>
                      <a:pt x="47" y="8"/>
                      <a:pt x="44" y="8"/>
                    </a:cubicBezTo>
                    <a:cubicBezTo>
                      <a:pt x="43" y="8"/>
                      <a:pt x="43" y="8"/>
                      <a:pt x="43" y="8"/>
                    </a:cubicBezTo>
                    <a:cubicBezTo>
                      <a:pt x="40" y="8"/>
                      <a:pt x="39" y="9"/>
                      <a:pt x="38" y="12"/>
                    </a:cubicBezTo>
                    <a:cubicBezTo>
                      <a:pt x="36" y="11"/>
                      <a:pt x="36" y="10"/>
                      <a:pt x="35" y="9"/>
                    </a:cubicBezTo>
                    <a:cubicBezTo>
                      <a:pt x="33" y="6"/>
                      <a:pt x="26" y="6"/>
                      <a:pt x="21" y="6"/>
                    </a:cubicBezTo>
                    <a:cubicBezTo>
                      <a:pt x="20" y="6"/>
                      <a:pt x="19" y="6"/>
                      <a:pt x="18" y="6"/>
                    </a:cubicBezTo>
                    <a:cubicBezTo>
                      <a:pt x="18" y="6"/>
                      <a:pt x="17" y="6"/>
                      <a:pt x="17" y="8"/>
                    </a:cubicBezTo>
                    <a:cubicBezTo>
                      <a:pt x="15" y="10"/>
                      <a:pt x="15" y="11"/>
                      <a:pt x="15" y="11"/>
                    </a:cubicBezTo>
                    <a:cubicBezTo>
                      <a:pt x="14" y="11"/>
                      <a:pt x="14" y="8"/>
                      <a:pt x="14" y="8"/>
                    </a:cubicBezTo>
                    <a:cubicBezTo>
                      <a:pt x="13" y="8"/>
                      <a:pt x="13" y="7"/>
                      <a:pt x="13" y="7"/>
                    </a:cubicBezTo>
                    <a:cubicBezTo>
                      <a:pt x="12" y="7"/>
                      <a:pt x="11" y="8"/>
                      <a:pt x="11" y="9"/>
                    </a:cubicBezTo>
                    <a:cubicBezTo>
                      <a:pt x="17" y="14"/>
                      <a:pt x="17" y="14"/>
                      <a:pt x="17" y="14"/>
                    </a:cubicBezTo>
                    <a:cubicBezTo>
                      <a:pt x="17" y="18"/>
                      <a:pt x="15" y="20"/>
                      <a:pt x="15" y="24"/>
                    </a:cubicBezTo>
                    <a:cubicBezTo>
                      <a:pt x="15" y="24"/>
                      <a:pt x="16" y="24"/>
                      <a:pt x="17" y="24"/>
                    </a:cubicBezTo>
                    <a:cubicBezTo>
                      <a:pt x="19" y="24"/>
                      <a:pt x="22" y="23"/>
                      <a:pt x="25" y="23"/>
                    </a:cubicBezTo>
                    <a:cubicBezTo>
                      <a:pt x="22" y="27"/>
                      <a:pt x="20" y="27"/>
                      <a:pt x="16" y="28"/>
                    </a:cubicBezTo>
                    <a:cubicBezTo>
                      <a:pt x="18" y="30"/>
                      <a:pt x="20" y="32"/>
                      <a:pt x="22" y="34"/>
                    </a:cubicBezTo>
                    <a:cubicBezTo>
                      <a:pt x="21" y="34"/>
                      <a:pt x="19" y="34"/>
                      <a:pt x="17" y="34"/>
                    </a:cubicBezTo>
                    <a:cubicBezTo>
                      <a:pt x="14" y="34"/>
                      <a:pt x="11" y="34"/>
                      <a:pt x="13" y="36"/>
                    </a:cubicBezTo>
                    <a:cubicBezTo>
                      <a:pt x="12" y="36"/>
                      <a:pt x="12" y="36"/>
                      <a:pt x="11" y="36"/>
                    </a:cubicBezTo>
                    <a:cubicBezTo>
                      <a:pt x="10" y="36"/>
                      <a:pt x="9" y="36"/>
                      <a:pt x="7" y="36"/>
                    </a:cubicBezTo>
                    <a:cubicBezTo>
                      <a:pt x="9" y="38"/>
                      <a:pt x="10" y="39"/>
                      <a:pt x="11" y="40"/>
                    </a:cubicBezTo>
                    <a:cubicBezTo>
                      <a:pt x="11" y="40"/>
                      <a:pt x="10" y="40"/>
                      <a:pt x="10" y="40"/>
                    </a:cubicBezTo>
                    <a:cubicBezTo>
                      <a:pt x="9" y="40"/>
                      <a:pt x="8" y="41"/>
                      <a:pt x="8" y="41"/>
                    </a:cubicBezTo>
                    <a:cubicBezTo>
                      <a:pt x="11" y="42"/>
                      <a:pt x="24" y="41"/>
                      <a:pt x="25" y="43"/>
                    </a:cubicBezTo>
                    <a:cubicBezTo>
                      <a:pt x="26" y="44"/>
                      <a:pt x="24" y="47"/>
                      <a:pt x="24" y="48"/>
                    </a:cubicBezTo>
                    <a:cubicBezTo>
                      <a:pt x="24" y="48"/>
                      <a:pt x="24" y="48"/>
                      <a:pt x="25" y="48"/>
                    </a:cubicBezTo>
                    <a:cubicBezTo>
                      <a:pt x="27" y="48"/>
                      <a:pt x="30" y="48"/>
                      <a:pt x="32" y="48"/>
                    </a:cubicBezTo>
                    <a:cubicBezTo>
                      <a:pt x="35" y="47"/>
                      <a:pt x="37" y="47"/>
                      <a:pt x="40" y="47"/>
                    </a:cubicBezTo>
                    <a:cubicBezTo>
                      <a:pt x="41" y="47"/>
                      <a:pt x="42" y="47"/>
                      <a:pt x="43" y="47"/>
                    </a:cubicBezTo>
                    <a:cubicBezTo>
                      <a:pt x="43" y="50"/>
                      <a:pt x="42" y="52"/>
                      <a:pt x="40" y="52"/>
                    </a:cubicBezTo>
                    <a:cubicBezTo>
                      <a:pt x="40" y="52"/>
                      <a:pt x="39" y="52"/>
                      <a:pt x="39" y="52"/>
                    </a:cubicBezTo>
                    <a:cubicBezTo>
                      <a:pt x="39" y="52"/>
                      <a:pt x="39" y="52"/>
                      <a:pt x="39" y="52"/>
                    </a:cubicBezTo>
                    <a:cubicBezTo>
                      <a:pt x="38" y="52"/>
                      <a:pt x="38" y="52"/>
                      <a:pt x="38" y="52"/>
                    </a:cubicBezTo>
                    <a:cubicBezTo>
                      <a:pt x="38" y="53"/>
                      <a:pt x="38" y="53"/>
                      <a:pt x="38" y="53"/>
                    </a:cubicBezTo>
                    <a:cubicBezTo>
                      <a:pt x="38" y="53"/>
                      <a:pt x="38" y="53"/>
                      <a:pt x="38" y="53"/>
                    </a:cubicBezTo>
                    <a:cubicBezTo>
                      <a:pt x="36" y="53"/>
                      <a:pt x="36" y="53"/>
                      <a:pt x="36" y="53"/>
                    </a:cubicBezTo>
                    <a:cubicBezTo>
                      <a:pt x="36" y="53"/>
                      <a:pt x="36" y="53"/>
                      <a:pt x="36" y="53"/>
                    </a:cubicBezTo>
                    <a:cubicBezTo>
                      <a:pt x="36" y="53"/>
                      <a:pt x="35" y="52"/>
                      <a:pt x="35" y="52"/>
                    </a:cubicBezTo>
                    <a:cubicBezTo>
                      <a:pt x="35" y="52"/>
                      <a:pt x="34" y="52"/>
                      <a:pt x="34" y="52"/>
                    </a:cubicBezTo>
                    <a:cubicBezTo>
                      <a:pt x="34" y="52"/>
                      <a:pt x="34" y="52"/>
                      <a:pt x="34" y="52"/>
                    </a:cubicBezTo>
                    <a:cubicBezTo>
                      <a:pt x="33" y="52"/>
                      <a:pt x="33" y="53"/>
                      <a:pt x="33" y="54"/>
                    </a:cubicBezTo>
                    <a:cubicBezTo>
                      <a:pt x="31" y="55"/>
                      <a:pt x="30" y="57"/>
                      <a:pt x="29" y="59"/>
                    </a:cubicBezTo>
                    <a:cubicBezTo>
                      <a:pt x="28" y="61"/>
                      <a:pt x="29" y="65"/>
                      <a:pt x="27" y="67"/>
                    </a:cubicBezTo>
                    <a:cubicBezTo>
                      <a:pt x="26" y="68"/>
                      <a:pt x="25" y="68"/>
                      <a:pt x="24" y="68"/>
                    </a:cubicBezTo>
                    <a:cubicBezTo>
                      <a:pt x="23" y="69"/>
                      <a:pt x="22" y="70"/>
                      <a:pt x="21" y="71"/>
                    </a:cubicBezTo>
                    <a:cubicBezTo>
                      <a:pt x="19" y="72"/>
                      <a:pt x="17" y="73"/>
                      <a:pt x="15" y="74"/>
                    </a:cubicBezTo>
                    <a:cubicBezTo>
                      <a:pt x="23" y="72"/>
                      <a:pt x="31" y="70"/>
                      <a:pt x="39" y="68"/>
                    </a:cubicBezTo>
                    <a:cubicBezTo>
                      <a:pt x="41" y="67"/>
                      <a:pt x="42" y="67"/>
                      <a:pt x="43" y="67"/>
                    </a:cubicBezTo>
                    <a:cubicBezTo>
                      <a:pt x="44" y="67"/>
                      <a:pt x="45" y="68"/>
                      <a:pt x="49" y="70"/>
                    </a:cubicBezTo>
                    <a:cubicBezTo>
                      <a:pt x="42" y="72"/>
                      <a:pt x="34" y="74"/>
                      <a:pt x="27" y="74"/>
                    </a:cubicBezTo>
                    <a:cubicBezTo>
                      <a:pt x="27" y="74"/>
                      <a:pt x="27" y="74"/>
                      <a:pt x="27" y="74"/>
                    </a:cubicBezTo>
                    <a:cubicBezTo>
                      <a:pt x="26" y="74"/>
                      <a:pt x="26" y="74"/>
                      <a:pt x="26" y="74"/>
                    </a:cubicBezTo>
                    <a:cubicBezTo>
                      <a:pt x="25" y="74"/>
                      <a:pt x="25" y="74"/>
                      <a:pt x="24" y="74"/>
                    </a:cubicBezTo>
                    <a:cubicBezTo>
                      <a:pt x="24" y="74"/>
                      <a:pt x="23" y="74"/>
                      <a:pt x="23" y="74"/>
                    </a:cubicBezTo>
                    <a:cubicBezTo>
                      <a:pt x="21" y="75"/>
                      <a:pt x="21" y="78"/>
                      <a:pt x="19" y="79"/>
                    </a:cubicBezTo>
                    <a:cubicBezTo>
                      <a:pt x="17" y="80"/>
                      <a:pt x="16" y="79"/>
                      <a:pt x="15" y="80"/>
                    </a:cubicBezTo>
                    <a:cubicBezTo>
                      <a:pt x="19" y="81"/>
                      <a:pt x="17" y="85"/>
                      <a:pt x="20" y="86"/>
                    </a:cubicBezTo>
                    <a:cubicBezTo>
                      <a:pt x="19" y="86"/>
                      <a:pt x="17" y="87"/>
                      <a:pt x="15" y="87"/>
                    </a:cubicBezTo>
                    <a:cubicBezTo>
                      <a:pt x="13" y="87"/>
                      <a:pt x="12" y="86"/>
                      <a:pt x="13" y="84"/>
                    </a:cubicBezTo>
                    <a:cubicBezTo>
                      <a:pt x="11" y="84"/>
                      <a:pt x="11" y="86"/>
                      <a:pt x="9" y="87"/>
                    </a:cubicBezTo>
                    <a:cubicBezTo>
                      <a:pt x="9" y="87"/>
                      <a:pt x="9" y="87"/>
                      <a:pt x="9" y="87"/>
                    </a:cubicBezTo>
                    <a:cubicBezTo>
                      <a:pt x="8" y="87"/>
                      <a:pt x="9" y="85"/>
                      <a:pt x="8" y="85"/>
                    </a:cubicBezTo>
                    <a:cubicBezTo>
                      <a:pt x="8" y="85"/>
                      <a:pt x="8" y="85"/>
                      <a:pt x="8" y="85"/>
                    </a:cubicBezTo>
                    <a:cubicBezTo>
                      <a:pt x="6" y="85"/>
                      <a:pt x="2" y="87"/>
                      <a:pt x="1" y="89"/>
                    </a:cubicBezTo>
                    <a:cubicBezTo>
                      <a:pt x="1" y="89"/>
                      <a:pt x="1" y="89"/>
                      <a:pt x="1" y="89"/>
                    </a:cubicBezTo>
                    <a:cubicBezTo>
                      <a:pt x="1" y="89"/>
                      <a:pt x="1" y="89"/>
                      <a:pt x="0" y="89"/>
                    </a:cubicBezTo>
                    <a:cubicBezTo>
                      <a:pt x="3" y="90"/>
                      <a:pt x="6" y="91"/>
                      <a:pt x="10" y="91"/>
                    </a:cubicBezTo>
                    <a:cubicBezTo>
                      <a:pt x="10" y="91"/>
                      <a:pt x="10" y="91"/>
                      <a:pt x="10" y="91"/>
                    </a:cubicBezTo>
                    <a:cubicBezTo>
                      <a:pt x="11" y="91"/>
                      <a:pt x="12" y="91"/>
                      <a:pt x="13" y="91"/>
                    </a:cubicBezTo>
                    <a:cubicBezTo>
                      <a:pt x="13" y="91"/>
                      <a:pt x="14" y="91"/>
                      <a:pt x="15" y="91"/>
                    </a:cubicBezTo>
                    <a:cubicBezTo>
                      <a:pt x="14" y="90"/>
                      <a:pt x="16" y="90"/>
                      <a:pt x="17" y="90"/>
                    </a:cubicBezTo>
                    <a:cubicBezTo>
                      <a:pt x="18" y="90"/>
                      <a:pt x="19" y="90"/>
                      <a:pt x="20" y="90"/>
                    </a:cubicBezTo>
                    <a:cubicBezTo>
                      <a:pt x="19" y="91"/>
                      <a:pt x="18" y="91"/>
                      <a:pt x="17" y="91"/>
                    </a:cubicBezTo>
                    <a:cubicBezTo>
                      <a:pt x="16" y="91"/>
                      <a:pt x="16" y="91"/>
                      <a:pt x="16" y="91"/>
                    </a:cubicBezTo>
                    <a:cubicBezTo>
                      <a:pt x="15" y="92"/>
                      <a:pt x="15" y="93"/>
                      <a:pt x="14" y="93"/>
                    </a:cubicBezTo>
                    <a:cubicBezTo>
                      <a:pt x="14" y="92"/>
                      <a:pt x="14" y="92"/>
                      <a:pt x="14" y="92"/>
                    </a:cubicBezTo>
                    <a:cubicBezTo>
                      <a:pt x="13" y="95"/>
                      <a:pt x="10" y="94"/>
                      <a:pt x="8" y="95"/>
                    </a:cubicBezTo>
                    <a:cubicBezTo>
                      <a:pt x="7" y="96"/>
                      <a:pt x="6" y="96"/>
                      <a:pt x="5" y="96"/>
                    </a:cubicBezTo>
                    <a:cubicBezTo>
                      <a:pt x="4" y="98"/>
                      <a:pt x="4" y="100"/>
                      <a:pt x="2" y="100"/>
                    </a:cubicBezTo>
                    <a:cubicBezTo>
                      <a:pt x="7" y="101"/>
                      <a:pt x="12" y="102"/>
                      <a:pt x="17" y="102"/>
                    </a:cubicBezTo>
                    <a:cubicBezTo>
                      <a:pt x="18" y="102"/>
                      <a:pt x="19" y="102"/>
                      <a:pt x="21" y="101"/>
                    </a:cubicBezTo>
                    <a:cubicBezTo>
                      <a:pt x="22" y="101"/>
                      <a:pt x="23" y="101"/>
                      <a:pt x="25" y="100"/>
                    </a:cubicBezTo>
                    <a:cubicBezTo>
                      <a:pt x="20" y="104"/>
                      <a:pt x="13" y="107"/>
                      <a:pt x="9" y="111"/>
                    </a:cubicBezTo>
                    <a:cubicBezTo>
                      <a:pt x="9" y="111"/>
                      <a:pt x="9" y="111"/>
                      <a:pt x="9" y="111"/>
                    </a:cubicBezTo>
                    <a:cubicBezTo>
                      <a:pt x="14" y="111"/>
                      <a:pt x="19" y="110"/>
                      <a:pt x="24" y="109"/>
                    </a:cubicBezTo>
                    <a:cubicBezTo>
                      <a:pt x="21" y="110"/>
                      <a:pt x="20" y="112"/>
                      <a:pt x="17" y="113"/>
                    </a:cubicBezTo>
                    <a:cubicBezTo>
                      <a:pt x="18" y="113"/>
                      <a:pt x="18" y="113"/>
                      <a:pt x="18" y="113"/>
                    </a:cubicBezTo>
                    <a:cubicBezTo>
                      <a:pt x="19" y="113"/>
                      <a:pt x="20" y="113"/>
                      <a:pt x="21" y="113"/>
                    </a:cubicBezTo>
                    <a:cubicBezTo>
                      <a:pt x="21" y="113"/>
                      <a:pt x="22" y="113"/>
                      <a:pt x="23" y="113"/>
                    </a:cubicBezTo>
                    <a:cubicBezTo>
                      <a:pt x="23" y="113"/>
                      <a:pt x="23" y="113"/>
                      <a:pt x="23" y="113"/>
                    </a:cubicBezTo>
                    <a:cubicBezTo>
                      <a:pt x="21" y="114"/>
                      <a:pt x="19" y="114"/>
                      <a:pt x="18" y="115"/>
                    </a:cubicBezTo>
                    <a:cubicBezTo>
                      <a:pt x="18" y="116"/>
                      <a:pt x="19" y="117"/>
                      <a:pt x="21" y="117"/>
                    </a:cubicBezTo>
                    <a:cubicBezTo>
                      <a:pt x="24" y="117"/>
                      <a:pt x="29" y="115"/>
                      <a:pt x="31" y="115"/>
                    </a:cubicBezTo>
                    <a:cubicBezTo>
                      <a:pt x="31" y="116"/>
                      <a:pt x="31" y="116"/>
                      <a:pt x="31" y="116"/>
                    </a:cubicBezTo>
                    <a:cubicBezTo>
                      <a:pt x="37" y="116"/>
                      <a:pt x="43" y="113"/>
                      <a:pt x="49" y="112"/>
                    </a:cubicBezTo>
                    <a:cubicBezTo>
                      <a:pt x="55" y="110"/>
                      <a:pt x="57" y="107"/>
                      <a:pt x="60" y="102"/>
                    </a:cubicBezTo>
                    <a:cubicBezTo>
                      <a:pt x="61" y="102"/>
                      <a:pt x="63" y="103"/>
                      <a:pt x="64" y="103"/>
                    </a:cubicBezTo>
                    <a:cubicBezTo>
                      <a:pt x="65" y="103"/>
                      <a:pt x="65" y="103"/>
                      <a:pt x="65" y="103"/>
                    </a:cubicBezTo>
                    <a:cubicBezTo>
                      <a:pt x="70" y="100"/>
                      <a:pt x="74" y="96"/>
                      <a:pt x="80" y="94"/>
                    </a:cubicBezTo>
                    <a:cubicBezTo>
                      <a:pt x="85" y="91"/>
                      <a:pt x="91" y="93"/>
                      <a:pt x="96" y="91"/>
                    </a:cubicBezTo>
                    <a:cubicBezTo>
                      <a:pt x="99" y="89"/>
                      <a:pt x="98" y="89"/>
                      <a:pt x="98" y="85"/>
                    </a:cubicBezTo>
                    <a:cubicBezTo>
                      <a:pt x="99" y="87"/>
                      <a:pt x="100" y="88"/>
                      <a:pt x="101" y="90"/>
                    </a:cubicBezTo>
                    <a:cubicBezTo>
                      <a:pt x="102" y="87"/>
                      <a:pt x="104" y="86"/>
                      <a:pt x="106" y="86"/>
                    </a:cubicBezTo>
                    <a:cubicBezTo>
                      <a:pt x="109" y="86"/>
                      <a:pt x="113" y="88"/>
                      <a:pt x="116" y="89"/>
                    </a:cubicBezTo>
                    <a:cubicBezTo>
                      <a:pt x="115" y="87"/>
                      <a:pt x="115" y="84"/>
                      <a:pt x="113" y="82"/>
                    </a:cubicBezTo>
                    <a:cubicBezTo>
                      <a:pt x="113" y="82"/>
                      <a:pt x="114" y="83"/>
                      <a:pt x="114" y="83"/>
                    </a:cubicBezTo>
                    <a:cubicBezTo>
                      <a:pt x="117" y="83"/>
                      <a:pt x="118" y="79"/>
                      <a:pt x="119" y="76"/>
                    </a:cubicBezTo>
                    <a:cubicBezTo>
                      <a:pt x="121" y="71"/>
                      <a:pt x="124" y="66"/>
                      <a:pt x="125" y="61"/>
                    </a:cubicBezTo>
                    <a:cubicBezTo>
                      <a:pt x="126" y="59"/>
                      <a:pt x="126" y="59"/>
                      <a:pt x="126" y="57"/>
                    </a:cubicBezTo>
                    <a:cubicBezTo>
                      <a:pt x="126" y="55"/>
                      <a:pt x="125" y="52"/>
                      <a:pt x="124" y="50"/>
                    </a:cubicBezTo>
                    <a:cubicBezTo>
                      <a:pt x="124" y="47"/>
                      <a:pt x="124" y="45"/>
                      <a:pt x="124" y="43"/>
                    </a:cubicBezTo>
                    <a:cubicBezTo>
                      <a:pt x="124" y="41"/>
                      <a:pt x="125" y="36"/>
                      <a:pt x="124" y="35"/>
                    </a:cubicBezTo>
                    <a:cubicBezTo>
                      <a:pt x="121" y="33"/>
                      <a:pt x="121" y="32"/>
                      <a:pt x="120" y="29"/>
                    </a:cubicBezTo>
                    <a:cubicBezTo>
                      <a:pt x="119" y="28"/>
                      <a:pt x="116" y="24"/>
                      <a:pt x="116" y="22"/>
                    </a:cubicBezTo>
                    <a:cubicBezTo>
                      <a:pt x="117" y="19"/>
                      <a:pt x="122" y="20"/>
                      <a:pt x="124" y="19"/>
                    </a:cubicBezTo>
                    <a:cubicBezTo>
                      <a:pt x="122" y="17"/>
                      <a:pt x="121" y="17"/>
                      <a:pt x="120" y="16"/>
                    </a:cubicBezTo>
                    <a:cubicBezTo>
                      <a:pt x="120" y="19"/>
                      <a:pt x="120" y="19"/>
                      <a:pt x="120" y="19"/>
                    </a:cubicBezTo>
                    <a:cubicBezTo>
                      <a:pt x="118" y="19"/>
                      <a:pt x="118" y="19"/>
                      <a:pt x="118" y="19"/>
                    </a:cubicBezTo>
                    <a:cubicBezTo>
                      <a:pt x="115" y="19"/>
                      <a:pt x="115" y="19"/>
                      <a:pt x="115" y="19"/>
                    </a:cubicBezTo>
                    <a:cubicBezTo>
                      <a:pt x="113" y="20"/>
                      <a:pt x="112" y="20"/>
                      <a:pt x="111" y="20"/>
                    </a:cubicBezTo>
                    <a:cubicBezTo>
                      <a:pt x="110" y="20"/>
                      <a:pt x="109" y="20"/>
                      <a:pt x="108" y="19"/>
                    </a:cubicBezTo>
                    <a:cubicBezTo>
                      <a:pt x="106" y="18"/>
                      <a:pt x="106" y="17"/>
                      <a:pt x="106" y="16"/>
                    </a:cubicBezTo>
                    <a:cubicBezTo>
                      <a:pt x="106" y="15"/>
                      <a:pt x="106" y="15"/>
                      <a:pt x="105" y="14"/>
                    </a:cubicBezTo>
                    <a:cubicBezTo>
                      <a:pt x="105" y="13"/>
                      <a:pt x="105" y="13"/>
                      <a:pt x="105" y="13"/>
                    </a:cubicBezTo>
                    <a:cubicBezTo>
                      <a:pt x="104" y="11"/>
                      <a:pt x="102" y="10"/>
                      <a:pt x="99" y="10"/>
                    </a:cubicBezTo>
                    <a:cubicBezTo>
                      <a:pt x="98" y="9"/>
                      <a:pt x="97" y="9"/>
                      <a:pt x="97" y="9"/>
                    </a:cubicBezTo>
                    <a:cubicBezTo>
                      <a:pt x="95" y="9"/>
                      <a:pt x="95" y="9"/>
                      <a:pt x="95" y="9"/>
                    </a:cubicBezTo>
                    <a:cubicBezTo>
                      <a:pt x="95" y="9"/>
                      <a:pt x="95" y="9"/>
                      <a:pt x="95" y="9"/>
                    </a:cubicBezTo>
                    <a:cubicBezTo>
                      <a:pt x="95" y="9"/>
                      <a:pt x="95" y="9"/>
                      <a:pt x="95" y="9"/>
                    </a:cubicBezTo>
                    <a:cubicBezTo>
                      <a:pt x="94" y="10"/>
                      <a:pt x="94" y="12"/>
                      <a:pt x="94" y="13"/>
                    </a:cubicBezTo>
                    <a:cubicBezTo>
                      <a:pt x="93" y="14"/>
                      <a:pt x="93" y="15"/>
                      <a:pt x="93" y="16"/>
                    </a:cubicBezTo>
                    <a:cubicBezTo>
                      <a:pt x="91" y="19"/>
                      <a:pt x="91" y="19"/>
                      <a:pt x="91" y="19"/>
                    </a:cubicBezTo>
                    <a:cubicBezTo>
                      <a:pt x="73" y="12"/>
                      <a:pt x="73" y="12"/>
                      <a:pt x="73" y="12"/>
                    </a:cubicBezTo>
                    <a:cubicBezTo>
                      <a:pt x="69" y="10"/>
                      <a:pt x="67" y="7"/>
                      <a:pt x="64" y="5"/>
                    </a:cubicBezTo>
                    <a:cubicBezTo>
                      <a:pt x="59"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362"/>
              <p:cNvSpPr/>
              <p:nvPr/>
            </p:nvSpPr>
            <p:spPr bwMode="auto">
              <a:xfrm>
                <a:off x="5103886" y="3379252"/>
                <a:ext cx="29481" cy="36851"/>
              </a:xfrm>
              <a:custGeom>
                <a:gdLst>
                  <a:gd name="T0" fmla="*/ 4 w 9"/>
                  <a:gd name="T1" fmla="*/ 0 h 11"/>
                  <a:gd name="T2" fmla="*/ 0 w 9"/>
                  <a:gd name="T3" fmla="*/ 11 h 11"/>
                  <a:gd name="T4" fmla="*/ 1 w 9"/>
                  <a:gd name="T5" fmla="*/ 7 h 11"/>
                  <a:gd name="T6" fmla="*/ 1 w 9"/>
                  <a:gd name="T7" fmla="*/ 6 h 11"/>
                  <a:gd name="T8" fmla="*/ 2 w 9"/>
                  <a:gd name="T9" fmla="*/ 7 h 11"/>
                  <a:gd name="T10" fmla="*/ 3 w 9"/>
                  <a:gd name="T11" fmla="*/ 7 h 11"/>
                  <a:gd name="T12" fmla="*/ 3 w 9"/>
                  <a:gd name="T13" fmla="*/ 7 h 11"/>
                  <a:gd name="T14" fmla="*/ 8 w 9"/>
                  <a:gd name="T15" fmla="*/ 6 h 11"/>
                  <a:gd name="T16" fmla="*/ 9 w 9"/>
                  <a:gd name="T17" fmla="*/ 6 h 11"/>
                  <a:gd name="T18" fmla="*/ 9 w 9"/>
                  <a:gd name="T19" fmla="*/ 6 h 11"/>
                  <a:gd name="T20" fmla="*/ 7 w 9"/>
                  <a:gd name="T21" fmla="*/ 6 h 11"/>
                  <a:gd name="T22" fmla="*/ 5 w 9"/>
                  <a:gd name="T23" fmla="*/ 6 h 11"/>
                  <a:gd name="T24" fmla="*/ 4 w 9"/>
                  <a:gd name="T25" fmla="*/ 6 h 11"/>
                  <a:gd name="T26" fmla="*/ 4 w 9"/>
                  <a:gd name="T2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4" y="0"/>
                    </a:moveTo>
                    <a:cubicBezTo>
                      <a:pt x="0" y="1"/>
                      <a:pt x="0" y="8"/>
                      <a:pt x="0" y="11"/>
                    </a:cubicBezTo>
                    <a:cubicBezTo>
                      <a:pt x="0" y="10"/>
                      <a:pt x="0" y="7"/>
                      <a:pt x="1" y="7"/>
                    </a:cubicBezTo>
                    <a:cubicBezTo>
                      <a:pt x="1" y="6"/>
                      <a:pt x="1" y="6"/>
                      <a:pt x="1" y="6"/>
                    </a:cubicBezTo>
                    <a:cubicBezTo>
                      <a:pt x="2" y="6"/>
                      <a:pt x="2" y="7"/>
                      <a:pt x="2" y="7"/>
                    </a:cubicBezTo>
                    <a:cubicBezTo>
                      <a:pt x="2" y="7"/>
                      <a:pt x="3" y="7"/>
                      <a:pt x="3" y="7"/>
                    </a:cubicBezTo>
                    <a:cubicBezTo>
                      <a:pt x="3" y="7"/>
                      <a:pt x="3" y="7"/>
                      <a:pt x="3" y="7"/>
                    </a:cubicBezTo>
                    <a:cubicBezTo>
                      <a:pt x="5" y="7"/>
                      <a:pt x="6" y="6"/>
                      <a:pt x="8" y="6"/>
                    </a:cubicBezTo>
                    <a:cubicBezTo>
                      <a:pt x="8" y="6"/>
                      <a:pt x="9" y="6"/>
                      <a:pt x="9" y="6"/>
                    </a:cubicBezTo>
                    <a:cubicBezTo>
                      <a:pt x="9" y="6"/>
                      <a:pt x="9" y="6"/>
                      <a:pt x="9" y="6"/>
                    </a:cubicBezTo>
                    <a:cubicBezTo>
                      <a:pt x="8" y="6"/>
                      <a:pt x="8" y="6"/>
                      <a:pt x="7" y="6"/>
                    </a:cubicBezTo>
                    <a:cubicBezTo>
                      <a:pt x="7" y="6"/>
                      <a:pt x="6" y="6"/>
                      <a:pt x="5" y="6"/>
                    </a:cubicBezTo>
                    <a:cubicBezTo>
                      <a:pt x="5" y="6"/>
                      <a:pt x="5" y="6"/>
                      <a:pt x="4" y="6"/>
                    </a:cubicBezTo>
                    <a:cubicBezTo>
                      <a:pt x="0" y="5"/>
                      <a:pt x="3"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363"/>
              <p:cNvSpPr/>
              <p:nvPr/>
            </p:nvSpPr>
            <p:spPr bwMode="auto">
              <a:xfrm>
                <a:off x="4904889" y="3405048"/>
                <a:ext cx="795985" cy="884428"/>
              </a:xfrm>
              <a:custGeom>
                <a:gdLst>
                  <a:gd name="T0" fmla="*/ 83 w 251"/>
                  <a:gd name="T1" fmla="*/ 2 h 278"/>
                  <a:gd name="T2" fmla="*/ 74 w 251"/>
                  <a:gd name="T3" fmla="*/ 17 h 278"/>
                  <a:gd name="T4" fmla="*/ 89 w 251"/>
                  <a:gd name="T5" fmla="*/ 38 h 278"/>
                  <a:gd name="T6" fmla="*/ 70 w 251"/>
                  <a:gd name="T7" fmla="*/ 40 h 278"/>
                  <a:gd name="T8" fmla="*/ 63 w 251"/>
                  <a:gd name="T9" fmla="*/ 48 h 278"/>
                  <a:gd name="T10" fmla="*/ 49 w 251"/>
                  <a:gd name="T11" fmla="*/ 44 h 278"/>
                  <a:gd name="T12" fmla="*/ 34 w 251"/>
                  <a:gd name="T13" fmla="*/ 59 h 278"/>
                  <a:gd name="T14" fmla="*/ 34 w 251"/>
                  <a:gd name="T15" fmla="*/ 75 h 278"/>
                  <a:gd name="T16" fmla="*/ 24 w 251"/>
                  <a:gd name="T17" fmla="*/ 89 h 278"/>
                  <a:gd name="T18" fmla="*/ 26 w 251"/>
                  <a:gd name="T19" fmla="*/ 110 h 278"/>
                  <a:gd name="T20" fmla="*/ 14 w 251"/>
                  <a:gd name="T21" fmla="*/ 118 h 278"/>
                  <a:gd name="T22" fmla="*/ 3 w 251"/>
                  <a:gd name="T23" fmla="*/ 117 h 278"/>
                  <a:gd name="T24" fmla="*/ 5 w 251"/>
                  <a:gd name="T25" fmla="*/ 137 h 278"/>
                  <a:gd name="T26" fmla="*/ 1 w 251"/>
                  <a:gd name="T27" fmla="*/ 147 h 278"/>
                  <a:gd name="T28" fmla="*/ 2 w 251"/>
                  <a:gd name="T29" fmla="*/ 155 h 278"/>
                  <a:gd name="T30" fmla="*/ 9 w 251"/>
                  <a:gd name="T31" fmla="*/ 178 h 278"/>
                  <a:gd name="T32" fmla="*/ 6 w 251"/>
                  <a:gd name="T33" fmla="*/ 184 h 278"/>
                  <a:gd name="T34" fmla="*/ 12 w 251"/>
                  <a:gd name="T35" fmla="*/ 201 h 278"/>
                  <a:gd name="T36" fmla="*/ 26 w 251"/>
                  <a:gd name="T37" fmla="*/ 212 h 278"/>
                  <a:gd name="T38" fmla="*/ 44 w 251"/>
                  <a:gd name="T39" fmla="*/ 215 h 278"/>
                  <a:gd name="T40" fmla="*/ 50 w 251"/>
                  <a:gd name="T41" fmla="*/ 216 h 278"/>
                  <a:gd name="T42" fmla="*/ 64 w 251"/>
                  <a:gd name="T43" fmla="*/ 225 h 278"/>
                  <a:gd name="T44" fmla="*/ 45 w 251"/>
                  <a:gd name="T45" fmla="*/ 259 h 278"/>
                  <a:gd name="T46" fmla="*/ 46 w 251"/>
                  <a:gd name="T47" fmla="*/ 271 h 278"/>
                  <a:gd name="T48" fmla="*/ 51 w 251"/>
                  <a:gd name="T49" fmla="*/ 270 h 278"/>
                  <a:gd name="T50" fmla="*/ 63 w 251"/>
                  <a:gd name="T51" fmla="*/ 270 h 278"/>
                  <a:gd name="T52" fmla="*/ 74 w 251"/>
                  <a:gd name="T53" fmla="*/ 261 h 278"/>
                  <a:gd name="T54" fmla="*/ 82 w 251"/>
                  <a:gd name="T55" fmla="*/ 267 h 278"/>
                  <a:gd name="T56" fmla="*/ 101 w 251"/>
                  <a:gd name="T57" fmla="*/ 271 h 278"/>
                  <a:gd name="T58" fmla="*/ 110 w 251"/>
                  <a:gd name="T59" fmla="*/ 271 h 278"/>
                  <a:gd name="T60" fmla="*/ 120 w 251"/>
                  <a:gd name="T61" fmla="*/ 278 h 278"/>
                  <a:gd name="T62" fmla="*/ 143 w 251"/>
                  <a:gd name="T63" fmla="*/ 276 h 278"/>
                  <a:gd name="T64" fmla="*/ 166 w 251"/>
                  <a:gd name="T65" fmla="*/ 269 h 278"/>
                  <a:gd name="T66" fmla="*/ 181 w 251"/>
                  <a:gd name="T67" fmla="*/ 266 h 278"/>
                  <a:gd name="T68" fmla="*/ 188 w 251"/>
                  <a:gd name="T69" fmla="*/ 266 h 278"/>
                  <a:gd name="T70" fmla="*/ 193 w 251"/>
                  <a:gd name="T71" fmla="*/ 264 h 278"/>
                  <a:gd name="T72" fmla="*/ 201 w 251"/>
                  <a:gd name="T73" fmla="*/ 244 h 278"/>
                  <a:gd name="T74" fmla="*/ 211 w 251"/>
                  <a:gd name="T75" fmla="*/ 233 h 278"/>
                  <a:gd name="T76" fmla="*/ 215 w 251"/>
                  <a:gd name="T77" fmla="*/ 233 h 278"/>
                  <a:gd name="T78" fmla="*/ 211 w 251"/>
                  <a:gd name="T79" fmla="*/ 226 h 278"/>
                  <a:gd name="T80" fmla="*/ 189 w 251"/>
                  <a:gd name="T81" fmla="*/ 210 h 278"/>
                  <a:gd name="T82" fmla="*/ 178 w 251"/>
                  <a:gd name="T83" fmla="*/ 189 h 278"/>
                  <a:gd name="T84" fmla="*/ 168 w 251"/>
                  <a:gd name="T85" fmla="*/ 174 h 278"/>
                  <a:gd name="T86" fmla="*/ 176 w 251"/>
                  <a:gd name="T87" fmla="*/ 173 h 278"/>
                  <a:gd name="T88" fmla="*/ 192 w 251"/>
                  <a:gd name="T89" fmla="*/ 166 h 278"/>
                  <a:gd name="T90" fmla="*/ 221 w 251"/>
                  <a:gd name="T91" fmla="*/ 152 h 278"/>
                  <a:gd name="T92" fmla="*/ 235 w 251"/>
                  <a:gd name="T93" fmla="*/ 143 h 278"/>
                  <a:gd name="T94" fmla="*/ 250 w 251"/>
                  <a:gd name="T95" fmla="*/ 136 h 278"/>
                  <a:gd name="T96" fmla="*/ 242 w 251"/>
                  <a:gd name="T97" fmla="*/ 124 h 278"/>
                  <a:gd name="T98" fmla="*/ 237 w 251"/>
                  <a:gd name="T99" fmla="*/ 95 h 278"/>
                  <a:gd name="T100" fmla="*/ 229 w 251"/>
                  <a:gd name="T101" fmla="*/ 80 h 278"/>
                  <a:gd name="T102" fmla="*/ 231 w 251"/>
                  <a:gd name="T103" fmla="*/ 51 h 278"/>
                  <a:gd name="T104" fmla="*/ 214 w 251"/>
                  <a:gd name="T105" fmla="*/ 27 h 278"/>
                  <a:gd name="T106" fmla="*/ 180 w 251"/>
                  <a:gd name="T107" fmla="*/ 19 h 278"/>
                  <a:gd name="T108" fmla="*/ 171 w 251"/>
                  <a:gd name="T109" fmla="*/ 28 h 278"/>
                  <a:gd name="T110" fmla="*/ 136 w 251"/>
                  <a:gd name="T111" fmla="*/ 31 h 278"/>
                  <a:gd name="T112" fmla="*/ 121 w 251"/>
                  <a:gd name="T113" fmla="*/ 16 h 278"/>
                  <a:gd name="T114" fmla="*/ 97 w 251"/>
                  <a:gd name="T115" fmla="*/ 0 h 2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1" h="278">
                    <a:moveTo>
                      <a:pt x="97" y="0"/>
                    </a:moveTo>
                    <a:cubicBezTo>
                      <a:pt x="98" y="4"/>
                      <a:pt x="98" y="4"/>
                      <a:pt x="98" y="4"/>
                    </a:cubicBezTo>
                    <a:cubicBezTo>
                      <a:pt x="96" y="4"/>
                      <a:pt x="96" y="4"/>
                      <a:pt x="96" y="4"/>
                    </a:cubicBezTo>
                    <a:cubicBezTo>
                      <a:pt x="96" y="4"/>
                      <a:pt x="95" y="4"/>
                      <a:pt x="95" y="4"/>
                    </a:cubicBezTo>
                    <a:cubicBezTo>
                      <a:pt x="91" y="4"/>
                      <a:pt x="87" y="3"/>
                      <a:pt x="84" y="2"/>
                    </a:cubicBezTo>
                    <a:cubicBezTo>
                      <a:pt x="83" y="2"/>
                      <a:pt x="83" y="2"/>
                      <a:pt x="83" y="2"/>
                    </a:cubicBezTo>
                    <a:cubicBezTo>
                      <a:pt x="80" y="2"/>
                      <a:pt x="78" y="1"/>
                      <a:pt x="75" y="1"/>
                    </a:cubicBezTo>
                    <a:cubicBezTo>
                      <a:pt x="75" y="1"/>
                      <a:pt x="75" y="1"/>
                      <a:pt x="75" y="1"/>
                    </a:cubicBezTo>
                    <a:cubicBezTo>
                      <a:pt x="77" y="3"/>
                      <a:pt x="79" y="7"/>
                      <a:pt x="80" y="9"/>
                    </a:cubicBezTo>
                    <a:cubicBezTo>
                      <a:pt x="80" y="10"/>
                      <a:pt x="82" y="11"/>
                      <a:pt x="82" y="12"/>
                    </a:cubicBezTo>
                    <a:cubicBezTo>
                      <a:pt x="83" y="14"/>
                      <a:pt x="84" y="14"/>
                      <a:pt x="81" y="16"/>
                    </a:cubicBezTo>
                    <a:cubicBezTo>
                      <a:pt x="78" y="17"/>
                      <a:pt x="76" y="16"/>
                      <a:pt x="74" y="17"/>
                    </a:cubicBezTo>
                    <a:cubicBezTo>
                      <a:pt x="73" y="18"/>
                      <a:pt x="72" y="18"/>
                      <a:pt x="72" y="19"/>
                    </a:cubicBezTo>
                    <a:cubicBezTo>
                      <a:pt x="72" y="21"/>
                      <a:pt x="79" y="21"/>
                      <a:pt x="82" y="21"/>
                    </a:cubicBezTo>
                    <a:cubicBezTo>
                      <a:pt x="80" y="22"/>
                      <a:pt x="78" y="23"/>
                      <a:pt x="78" y="25"/>
                    </a:cubicBezTo>
                    <a:cubicBezTo>
                      <a:pt x="77" y="27"/>
                      <a:pt x="81" y="30"/>
                      <a:pt x="78" y="31"/>
                    </a:cubicBezTo>
                    <a:cubicBezTo>
                      <a:pt x="82" y="34"/>
                      <a:pt x="87" y="35"/>
                      <a:pt x="90" y="38"/>
                    </a:cubicBezTo>
                    <a:cubicBezTo>
                      <a:pt x="90" y="38"/>
                      <a:pt x="89" y="38"/>
                      <a:pt x="89" y="38"/>
                    </a:cubicBezTo>
                    <a:cubicBezTo>
                      <a:pt x="88" y="38"/>
                      <a:pt x="87" y="38"/>
                      <a:pt x="86" y="38"/>
                    </a:cubicBezTo>
                    <a:cubicBezTo>
                      <a:pt x="86" y="38"/>
                      <a:pt x="85" y="38"/>
                      <a:pt x="85" y="38"/>
                    </a:cubicBezTo>
                    <a:cubicBezTo>
                      <a:pt x="83" y="38"/>
                      <a:pt x="82" y="38"/>
                      <a:pt x="80" y="38"/>
                    </a:cubicBezTo>
                    <a:cubicBezTo>
                      <a:pt x="78" y="38"/>
                      <a:pt x="77" y="37"/>
                      <a:pt x="75" y="37"/>
                    </a:cubicBezTo>
                    <a:cubicBezTo>
                      <a:pt x="75" y="37"/>
                      <a:pt x="74" y="38"/>
                      <a:pt x="73" y="38"/>
                    </a:cubicBezTo>
                    <a:cubicBezTo>
                      <a:pt x="71" y="38"/>
                      <a:pt x="72" y="38"/>
                      <a:pt x="70" y="40"/>
                    </a:cubicBezTo>
                    <a:cubicBezTo>
                      <a:pt x="70" y="40"/>
                      <a:pt x="70" y="42"/>
                      <a:pt x="69" y="42"/>
                    </a:cubicBezTo>
                    <a:cubicBezTo>
                      <a:pt x="69" y="44"/>
                      <a:pt x="69" y="45"/>
                      <a:pt x="69" y="47"/>
                    </a:cubicBezTo>
                    <a:cubicBezTo>
                      <a:pt x="69" y="49"/>
                      <a:pt x="71" y="50"/>
                      <a:pt x="70" y="52"/>
                    </a:cubicBezTo>
                    <a:cubicBezTo>
                      <a:pt x="70" y="54"/>
                      <a:pt x="69" y="56"/>
                      <a:pt x="69" y="58"/>
                    </a:cubicBezTo>
                    <a:cubicBezTo>
                      <a:pt x="70" y="52"/>
                      <a:pt x="71" y="52"/>
                      <a:pt x="67" y="49"/>
                    </a:cubicBezTo>
                    <a:cubicBezTo>
                      <a:pt x="66" y="49"/>
                      <a:pt x="65" y="48"/>
                      <a:pt x="63" y="48"/>
                    </a:cubicBezTo>
                    <a:cubicBezTo>
                      <a:pt x="63" y="48"/>
                      <a:pt x="62" y="48"/>
                      <a:pt x="62" y="48"/>
                    </a:cubicBezTo>
                    <a:cubicBezTo>
                      <a:pt x="60" y="51"/>
                      <a:pt x="64" y="50"/>
                      <a:pt x="64" y="51"/>
                    </a:cubicBezTo>
                    <a:cubicBezTo>
                      <a:pt x="64" y="52"/>
                      <a:pt x="64" y="52"/>
                      <a:pt x="63" y="52"/>
                    </a:cubicBezTo>
                    <a:cubicBezTo>
                      <a:pt x="62" y="54"/>
                      <a:pt x="61" y="55"/>
                      <a:pt x="60" y="55"/>
                    </a:cubicBezTo>
                    <a:cubicBezTo>
                      <a:pt x="59" y="55"/>
                      <a:pt x="58" y="54"/>
                      <a:pt x="56" y="52"/>
                    </a:cubicBezTo>
                    <a:cubicBezTo>
                      <a:pt x="64" y="51"/>
                      <a:pt x="52" y="44"/>
                      <a:pt x="49" y="44"/>
                    </a:cubicBezTo>
                    <a:cubicBezTo>
                      <a:pt x="49" y="44"/>
                      <a:pt x="48" y="44"/>
                      <a:pt x="48" y="44"/>
                    </a:cubicBezTo>
                    <a:cubicBezTo>
                      <a:pt x="43" y="45"/>
                      <a:pt x="33" y="45"/>
                      <a:pt x="29" y="49"/>
                    </a:cubicBezTo>
                    <a:cubicBezTo>
                      <a:pt x="29" y="49"/>
                      <a:pt x="29" y="49"/>
                      <a:pt x="29" y="49"/>
                    </a:cubicBezTo>
                    <a:cubicBezTo>
                      <a:pt x="29" y="49"/>
                      <a:pt x="28" y="52"/>
                      <a:pt x="27" y="52"/>
                    </a:cubicBezTo>
                    <a:cubicBezTo>
                      <a:pt x="27" y="53"/>
                      <a:pt x="27" y="53"/>
                      <a:pt x="27" y="54"/>
                    </a:cubicBezTo>
                    <a:cubicBezTo>
                      <a:pt x="26" y="59"/>
                      <a:pt x="30" y="58"/>
                      <a:pt x="34" y="59"/>
                    </a:cubicBezTo>
                    <a:cubicBezTo>
                      <a:pt x="33" y="60"/>
                      <a:pt x="33" y="60"/>
                      <a:pt x="33" y="60"/>
                    </a:cubicBezTo>
                    <a:cubicBezTo>
                      <a:pt x="35" y="59"/>
                      <a:pt x="35" y="59"/>
                      <a:pt x="35" y="59"/>
                    </a:cubicBezTo>
                    <a:cubicBezTo>
                      <a:pt x="35" y="61"/>
                      <a:pt x="35" y="61"/>
                      <a:pt x="35" y="61"/>
                    </a:cubicBezTo>
                    <a:cubicBezTo>
                      <a:pt x="35" y="62"/>
                      <a:pt x="36" y="65"/>
                      <a:pt x="35" y="68"/>
                    </a:cubicBezTo>
                    <a:cubicBezTo>
                      <a:pt x="35" y="69"/>
                      <a:pt x="35" y="71"/>
                      <a:pt x="35" y="72"/>
                    </a:cubicBezTo>
                    <a:cubicBezTo>
                      <a:pt x="34" y="73"/>
                      <a:pt x="34" y="74"/>
                      <a:pt x="34" y="75"/>
                    </a:cubicBezTo>
                    <a:cubicBezTo>
                      <a:pt x="33" y="77"/>
                      <a:pt x="32" y="79"/>
                      <a:pt x="32" y="81"/>
                    </a:cubicBezTo>
                    <a:cubicBezTo>
                      <a:pt x="32" y="81"/>
                      <a:pt x="32" y="81"/>
                      <a:pt x="32" y="81"/>
                    </a:cubicBezTo>
                    <a:cubicBezTo>
                      <a:pt x="32" y="83"/>
                      <a:pt x="31" y="86"/>
                      <a:pt x="28" y="88"/>
                    </a:cubicBezTo>
                    <a:cubicBezTo>
                      <a:pt x="26" y="89"/>
                      <a:pt x="24" y="89"/>
                      <a:pt x="23" y="89"/>
                    </a:cubicBezTo>
                    <a:cubicBezTo>
                      <a:pt x="23" y="89"/>
                      <a:pt x="23" y="89"/>
                      <a:pt x="23" y="89"/>
                    </a:cubicBezTo>
                    <a:cubicBezTo>
                      <a:pt x="24" y="89"/>
                      <a:pt x="24" y="89"/>
                      <a:pt x="24" y="89"/>
                    </a:cubicBezTo>
                    <a:cubicBezTo>
                      <a:pt x="26" y="90"/>
                      <a:pt x="32" y="92"/>
                      <a:pt x="31" y="99"/>
                    </a:cubicBezTo>
                    <a:cubicBezTo>
                      <a:pt x="31" y="103"/>
                      <a:pt x="27" y="105"/>
                      <a:pt x="24" y="107"/>
                    </a:cubicBezTo>
                    <a:cubicBezTo>
                      <a:pt x="23" y="108"/>
                      <a:pt x="23" y="108"/>
                      <a:pt x="23" y="108"/>
                    </a:cubicBezTo>
                    <a:cubicBezTo>
                      <a:pt x="23" y="108"/>
                      <a:pt x="23" y="108"/>
                      <a:pt x="23" y="108"/>
                    </a:cubicBezTo>
                    <a:cubicBezTo>
                      <a:pt x="24" y="108"/>
                      <a:pt x="24" y="108"/>
                      <a:pt x="24" y="108"/>
                    </a:cubicBezTo>
                    <a:cubicBezTo>
                      <a:pt x="26" y="110"/>
                      <a:pt x="26" y="110"/>
                      <a:pt x="26" y="110"/>
                    </a:cubicBezTo>
                    <a:cubicBezTo>
                      <a:pt x="24" y="113"/>
                      <a:pt x="24" y="113"/>
                      <a:pt x="24" y="113"/>
                    </a:cubicBezTo>
                    <a:cubicBezTo>
                      <a:pt x="24" y="114"/>
                      <a:pt x="23" y="115"/>
                      <a:pt x="22" y="115"/>
                    </a:cubicBezTo>
                    <a:cubicBezTo>
                      <a:pt x="21" y="116"/>
                      <a:pt x="21" y="116"/>
                      <a:pt x="21" y="116"/>
                    </a:cubicBezTo>
                    <a:cubicBezTo>
                      <a:pt x="22" y="121"/>
                      <a:pt x="22" y="121"/>
                      <a:pt x="22" y="121"/>
                    </a:cubicBezTo>
                    <a:cubicBezTo>
                      <a:pt x="19" y="117"/>
                      <a:pt x="19" y="117"/>
                      <a:pt x="19" y="117"/>
                    </a:cubicBezTo>
                    <a:cubicBezTo>
                      <a:pt x="18" y="117"/>
                      <a:pt x="16" y="118"/>
                      <a:pt x="14" y="118"/>
                    </a:cubicBezTo>
                    <a:cubicBezTo>
                      <a:pt x="13" y="118"/>
                      <a:pt x="12" y="119"/>
                      <a:pt x="12" y="119"/>
                    </a:cubicBezTo>
                    <a:cubicBezTo>
                      <a:pt x="11" y="119"/>
                      <a:pt x="11" y="119"/>
                      <a:pt x="11" y="119"/>
                    </a:cubicBezTo>
                    <a:cubicBezTo>
                      <a:pt x="10" y="119"/>
                      <a:pt x="10" y="119"/>
                      <a:pt x="10" y="119"/>
                    </a:cubicBezTo>
                    <a:cubicBezTo>
                      <a:pt x="10" y="119"/>
                      <a:pt x="10" y="119"/>
                      <a:pt x="10" y="119"/>
                    </a:cubicBezTo>
                    <a:cubicBezTo>
                      <a:pt x="8" y="119"/>
                      <a:pt x="6" y="118"/>
                      <a:pt x="4" y="117"/>
                    </a:cubicBezTo>
                    <a:cubicBezTo>
                      <a:pt x="3" y="117"/>
                      <a:pt x="3" y="117"/>
                      <a:pt x="3" y="117"/>
                    </a:cubicBezTo>
                    <a:cubicBezTo>
                      <a:pt x="3" y="117"/>
                      <a:pt x="3" y="117"/>
                      <a:pt x="3" y="117"/>
                    </a:cubicBezTo>
                    <a:cubicBezTo>
                      <a:pt x="2" y="117"/>
                      <a:pt x="2" y="117"/>
                      <a:pt x="2" y="117"/>
                    </a:cubicBezTo>
                    <a:cubicBezTo>
                      <a:pt x="1" y="117"/>
                      <a:pt x="1" y="117"/>
                      <a:pt x="1" y="117"/>
                    </a:cubicBezTo>
                    <a:cubicBezTo>
                      <a:pt x="1" y="118"/>
                      <a:pt x="0" y="118"/>
                      <a:pt x="0" y="118"/>
                    </a:cubicBezTo>
                    <a:cubicBezTo>
                      <a:pt x="2" y="121"/>
                      <a:pt x="4" y="123"/>
                      <a:pt x="6" y="126"/>
                    </a:cubicBezTo>
                    <a:cubicBezTo>
                      <a:pt x="8" y="129"/>
                      <a:pt x="8" y="133"/>
                      <a:pt x="5" y="137"/>
                    </a:cubicBezTo>
                    <a:cubicBezTo>
                      <a:pt x="5" y="138"/>
                      <a:pt x="5" y="138"/>
                      <a:pt x="5" y="138"/>
                    </a:cubicBezTo>
                    <a:cubicBezTo>
                      <a:pt x="17" y="139"/>
                      <a:pt x="17" y="139"/>
                      <a:pt x="17" y="139"/>
                    </a:cubicBezTo>
                    <a:cubicBezTo>
                      <a:pt x="4" y="145"/>
                      <a:pt x="4" y="145"/>
                      <a:pt x="4" y="145"/>
                    </a:cubicBezTo>
                    <a:cubicBezTo>
                      <a:pt x="3" y="145"/>
                      <a:pt x="3" y="145"/>
                      <a:pt x="2" y="146"/>
                    </a:cubicBezTo>
                    <a:cubicBezTo>
                      <a:pt x="2" y="146"/>
                      <a:pt x="2" y="146"/>
                      <a:pt x="2" y="146"/>
                    </a:cubicBezTo>
                    <a:cubicBezTo>
                      <a:pt x="1" y="146"/>
                      <a:pt x="1" y="146"/>
                      <a:pt x="1" y="147"/>
                    </a:cubicBezTo>
                    <a:cubicBezTo>
                      <a:pt x="1" y="147"/>
                      <a:pt x="1" y="147"/>
                      <a:pt x="1" y="147"/>
                    </a:cubicBezTo>
                    <a:cubicBezTo>
                      <a:pt x="2" y="148"/>
                      <a:pt x="2" y="148"/>
                      <a:pt x="3" y="149"/>
                    </a:cubicBezTo>
                    <a:cubicBezTo>
                      <a:pt x="3" y="150"/>
                      <a:pt x="3" y="150"/>
                      <a:pt x="3" y="150"/>
                    </a:cubicBezTo>
                    <a:cubicBezTo>
                      <a:pt x="3" y="151"/>
                      <a:pt x="3" y="151"/>
                      <a:pt x="3" y="151"/>
                    </a:cubicBezTo>
                    <a:cubicBezTo>
                      <a:pt x="3" y="152"/>
                      <a:pt x="3" y="153"/>
                      <a:pt x="2" y="154"/>
                    </a:cubicBezTo>
                    <a:cubicBezTo>
                      <a:pt x="2" y="155"/>
                      <a:pt x="2" y="155"/>
                      <a:pt x="2" y="155"/>
                    </a:cubicBezTo>
                    <a:cubicBezTo>
                      <a:pt x="2" y="155"/>
                      <a:pt x="2" y="155"/>
                      <a:pt x="2" y="155"/>
                    </a:cubicBezTo>
                    <a:cubicBezTo>
                      <a:pt x="2" y="155"/>
                      <a:pt x="2" y="155"/>
                      <a:pt x="2" y="155"/>
                    </a:cubicBezTo>
                    <a:cubicBezTo>
                      <a:pt x="4" y="159"/>
                      <a:pt x="4" y="159"/>
                      <a:pt x="4" y="159"/>
                    </a:cubicBezTo>
                    <a:cubicBezTo>
                      <a:pt x="7" y="162"/>
                      <a:pt x="9" y="165"/>
                      <a:pt x="11" y="168"/>
                    </a:cubicBezTo>
                    <a:cubicBezTo>
                      <a:pt x="13" y="174"/>
                      <a:pt x="11" y="176"/>
                      <a:pt x="9" y="178"/>
                    </a:cubicBezTo>
                    <a:cubicBezTo>
                      <a:pt x="9" y="178"/>
                      <a:pt x="9" y="178"/>
                      <a:pt x="9" y="178"/>
                    </a:cubicBezTo>
                    <a:cubicBezTo>
                      <a:pt x="8" y="178"/>
                      <a:pt x="8" y="179"/>
                      <a:pt x="8" y="179"/>
                    </a:cubicBezTo>
                    <a:cubicBezTo>
                      <a:pt x="7" y="180"/>
                      <a:pt x="6" y="180"/>
                      <a:pt x="6" y="180"/>
                    </a:cubicBezTo>
                    <a:cubicBezTo>
                      <a:pt x="6" y="181"/>
                      <a:pt x="6" y="181"/>
                      <a:pt x="6" y="181"/>
                    </a:cubicBezTo>
                    <a:cubicBezTo>
                      <a:pt x="9" y="185"/>
                      <a:pt x="9" y="185"/>
                      <a:pt x="9" y="185"/>
                    </a:cubicBezTo>
                    <a:cubicBezTo>
                      <a:pt x="6" y="184"/>
                      <a:pt x="6" y="184"/>
                      <a:pt x="6" y="184"/>
                    </a:cubicBezTo>
                    <a:cubicBezTo>
                      <a:pt x="6" y="184"/>
                      <a:pt x="6" y="184"/>
                      <a:pt x="6" y="184"/>
                    </a:cubicBezTo>
                    <a:cubicBezTo>
                      <a:pt x="6" y="185"/>
                      <a:pt x="6" y="185"/>
                      <a:pt x="6" y="185"/>
                    </a:cubicBezTo>
                    <a:cubicBezTo>
                      <a:pt x="6" y="185"/>
                      <a:pt x="6" y="186"/>
                      <a:pt x="8" y="187"/>
                    </a:cubicBezTo>
                    <a:cubicBezTo>
                      <a:pt x="9" y="187"/>
                      <a:pt x="9" y="188"/>
                      <a:pt x="10" y="188"/>
                    </a:cubicBezTo>
                    <a:cubicBezTo>
                      <a:pt x="11" y="188"/>
                      <a:pt x="12" y="189"/>
                      <a:pt x="12" y="189"/>
                    </a:cubicBezTo>
                    <a:cubicBezTo>
                      <a:pt x="13" y="190"/>
                      <a:pt x="13" y="190"/>
                      <a:pt x="13" y="191"/>
                    </a:cubicBezTo>
                    <a:cubicBezTo>
                      <a:pt x="16" y="194"/>
                      <a:pt x="14" y="198"/>
                      <a:pt x="12" y="201"/>
                    </a:cubicBezTo>
                    <a:cubicBezTo>
                      <a:pt x="12" y="201"/>
                      <a:pt x="12" y="201"/>
                      <a:pt x="12" y="201"/>
                    </a:cubicBezTo>
                    <a:cubicBezTo>
                      <a:pt x="12" y="201"/>
                      <a:pt x="12" y="202"/>
                      <a:pt x="11" y="202"/>
                    </a:cubicBezTo>
                    <a:cubicBezTo>
                      <a:pt x="15" y="204"/>
                      <a:pt x="17" y="206"/>
                      <a:pt x="19" y="209"/>
                    </a:cubicBezTo>
                    <a:cubicBezTo>
                      <a:pt x="20" y="210"/>
                      <a:pt x="20" y="210"/>
                      <a:pt x="20" y="210"/>
                    </a:cubicBezTo>
                    <a:cubicBezTo>
                      <a:pt x="21" y="211"/>
                      <a:pt x="22" y="211"/>
                      <a:pt x="24" y="212"/>
                    </a:cubicBezTo>
                    <a:cubicBezTo>
                      <a:pt x="25" y="212"/>
                      <a:pt x="26" y="212"/>
                      <a:pt x="26" y="212"/>
                    </a:cubicBezTo>
                    <a:cubicBezTo>
                      <a:pt x="28" y="212"/>
                      <a:pt x="29" y="213"/>
                      <a:pt x="30" y="213"/>
                    </a:cubicBezTo>
                    <a:cubicBezTo>
                      <a:pt x="31" y="213"/>
                      <a:pt x="31" y="213"/>
                      <a:pt x="31" y="213"/>
                    </a:cubicBezTo>
                    <a:cubicBezTo>
                      <a:pt x="31" y="212"/>
                      <a:pt x="32" y="212"/>
                      <a:pt x="32" y="212"/>
                    </a:cubicBezTo>
                    <a:cubicBezTo>
                      <a:pt x="35" y="212"/>
                      <a:pt x="35" y="212"/>
                      <a:pt x="35" y="212"/>
                    </a:cubicBezTo>
                    <a:cubicBezTo>
                      <a:pt x="35" y="212"/>
                      <a:pt x="36" y="212"/>
                      <a:pt x="36" y="212"/>
                    </a:cubicBezTo>
                    <a:cubicBezTo>
                      <a:pt x="39" y="212"/>
                      <a:pt x="42" y="214"/>
                      <a:pt x="44" y="215"/>
                    </a:cubicBezTo>
                    <a:cubicBezTo>
                      <a:pt x="44" y="216"/>
                      <a:pt x="44" y="216"/>
                      <a:pt x="44" y="216"/>
                    </a:cubicBezTo>
                    <a:cubicBezTo>
                      <a:pt x="45" y="216"/>
                      <a:pt x="45" y="216"/>
                      <a:pt x="45" y="216"/>
                    </a:cubicBezTo>
                    <a:cubicBezTo>
                      <a:pt x="46" y="216"/>
                      <a:pt x="46" y="216"/>
                      <a:pt x="46" y="216"/>
                    </a:cubicBezTo>
                    <a:cubicBezTo>
                      <a:pt x="46" y="217"/>
                      <a:pt x="47" y="217"/>
                      <a:pt x="47" y="217"/>
                    </a:cubicBezTo>
                    <a:cubicBezTo>
                      <a:pt x="48" y="217"/>
                      <a:pt x="48" y="217"/>
                      <a:pt x="48" y="217"/>
                    </a:cubicBezTo>
                    <a:cubicBezTo>
                      <a:pt x="49" y="217"/>
                      <a:pt x="49" y="216"/>
                      <a:pt x="50" y="216"/>
                    </a:cubicBezTo>
                    <a:cubicBezTo>
                      <a:pt x="51" y="216"/>
                      <a:pt x="52" y="217"/>
                      <a:pt x="53" y="217"/>
                    </a:cubicBezTo>
                    <a:cubicBezTo>
                      <a:pt x="54" y="217"/>
                      <a:pt x="54" y="217"/>
                      <a:pt x="55" y="218"/>
                    </a:cubicBezTo>
                    <a:cubicBezTo>
                      <a:pt x="58" y="218"/>
                      <a:pt x="58" y="218"/>
                      <a:pt x="58" y="218"/>
                    </a:cubicBezTo>
                    <a:cubicBezTo>
                      <a:pt x="59" y="219"/>
                      <a:pt x="60" y="219"/>
                      <a:pt x="61" y="219"/>
                    </a:cubicBezTo>
                    <a:cubicBezTo>
                      <a:pt x="67" y="221"/>
                      <a:pt x="67" y="221"/>
                      <a:pt x="67" y="221"/>
                    </a:cubicBezTo>
                    <a:cubicBezTo>
                      <a:pt x="64" y="225"/>
                      <a:pt x="64" y="225"/>
                      <a:pt x="64" y="225"/>
                    </a:cubicBezTo>
                    <a:cubicBezTo>
                      <a:pt x="58" y="232"/>
                      <a:pt x="54" y="238"/>
                      <a:pt x="51" y="246"/>
                    </a:cubicBezTo>
                    <a:cubicBezTo>
                      <a:pt x="51" y="247"/>
                      <a:pt x="50" y="247"/>
                      <a:pt x="50" y="248"/>
                    </a:cubicBezTo>
                    <a:cubicBezTo>
                      <a:pt x="48" y="251"/>
                      <a:pt x="47" y="253"/>
                      <a:pt x="46" y="255"/>
                    </a:cubicBezTo>
                    <a:cubicBezTo>
                      <a:pt x="46" y="256"/>
                      <a:pt x="46" y="256"/>
                      <a:pt x="46" y="256"/>
                    </a:cubicBezTo>
                    <a:cubicBezTo>
                      <a:pt x="46" y="256"/>
                      <a:pt x="45" y="257"/>
                      <a:pt x="45" y="257"/>
                    </a:cubicBezTo>
                    <a:cubicBezTo>
                      <a:pt x="45" y="259"/>
                      <a:pt x="45" y="259"/>
                      <a:pt x="45" y="259"/>
                    </a:cubicBezTo>
                    <a:cubicBezTo>
                      <a:pt x="45" y="260"/>
                      <a:pt x="45" y="260"/>
                      <a:pt x="45" y="261"/>
                    </a:cubicBezTo>
                    <a:cubicBezTo>
                      <a:pt x="45" y="261"/>
                      <a:pt x="45" y="261"/>
                      <a:pt x="45" y="261"/>
                    </a:cubicBezTo>
                    <a:cubicBezTo>
                      <a:pt x="45" y="263"/>
                      <a:pt x="45" y="264"/>
                      <a:pt x="45" y="265"/>
                    </a:cubicBezTo>
                    <a:cubicBezTo>
                      <a:pt x="45" y="265"/>
                      <a:pt x="45" y="267"/>
                      <a:pt x="45" y="268"/>
                    </a:cubicBezTo>
                    <a:cubicBezTo>
                      <a:pt x="45" y="268"/>
                      <a:pt x="45" y="269"/>
                      <a:pt x="46" y="270"/>
                    </a:cubicBezTo>
                    <a:cubicBezTo>
                      <a:pt x="46" y="271"/>
                      <a:pt x="46" y="271"/>
                      <a:pt x="46" y="271"/>
                    </a:cubicBezTo>
                    <a:cubicBezTo>
                      <a:pt x="47" y="271"/>
                      <a:pt x="47" y="271"/>
                      <a:pt x="47" y="271"/>
                    </a:cubicBezTo>
                    <a:cubicBezTo>
                      <a:pt x="47" y="270"/>
                      <a:pt x="48" y="270"/>
                      <a:pt x="48" y="270"/>
                    </a:cubicBezTo>
                    <a:cubicBezTo>
                      <a:pt x="49" y="270"/>
                      <a:pt x="49" y="270"/>
                      <a:pt x="49" y="270"/>
                    </a:cubicBezTo>
                    <a:cubicBezTo>
                      <a:pt x="49" y="270"/>
                      <a:pt x="50" y="270"/>
                      <a:pt x="50" y="270"/>
                    </a:cubicBezTo>
                    <a:cubicBezTo>
                      <a:pt x="51" y="270"/>
                      <a:pt x="51" y="270"/>
                      <a:pt x="51" y="270"/>
                    </a:cubicBezTo>
                    <a:cubicBezTo>
                      <a:pt x="51" y="270"/>
                      <a:pt x="51" y="270"/>
                      <a:pt x="51" y="270"/>
                    </a:cubicBezTo>
                    <a:cubicBezTo>
                      <a:pt x="52" y="270"/>
                      <a:pt x="52" y="270"/>
                      <a:pt x="53" y="270"/>
                    </a:cubicBezTo>
                    <a:cubicBezTo>
                      <a:pt x="53" y="270"/>
                      <a:pt x="54" y="270"/>
                      <a:pt x="54" y="270"/>
                    </a:cubicBezTo>
                    <a:cubicBezTo>
                      <a:pt x="55" y="270"/>
                      <a:pt x="55" y="270"/>
                      <a:pt x="55" y="270"/>
                    </a:cubicBezTo>
                    <a:cubicBezTo>
                      <a:pt x="57" y="270"/>
                      <a:pt x="59" y="270"/>
                      <a:pt x="61" y="270"/>
                    </a:cubicBezTo>
                    <a:cubicBezTo>
                      <a:pt x="61" y="270"/>
                      <a:pt x="62" y="270"/>
                      <a:pt x="63" y="270"/>
                    </a:cubicBezTo>
                    <a:cubicBezTo>
                      <a:pt x="63" y="270"/>
                      <a:pt x="63" y="270"/>
                      <a:pt x="63" y="270"/>
                    </a:cubicBezTo>
                    <a:cubicBezTo>
                      <a:pt x="63" y="270"/>
                      <a:pt x="63" y="270"/>
                      <a:pt x="64" y="270"/>
                    </a:cubicBezTo>
                    <a:cubicBezTo>
                      <a:pt x="64" y="270"/>
                      <a:pt x="64" y="270"/>
                      <a:pt x="65" y="270"/>
                    </a:cubicBezTo>
                    <a:cubicBezTo>
                      <a:pt x="65" y="270"/>
                      <a:pt x="65" y="270"/>
                      <a:pt x="65" y="270"/>
                    </a:cubicBezTo>
                    <a:cubicBezTo>
                      <a:pt x="64" y="268"/>
                      <a:pt x="64" y="267"/>
                      <a:pt x="65" y="266"/>
                    </a:cubicBezTo>
                    <a:cubicBezTo>
                      <a:pt x="66" y="264"/>
                      <a:pt x="68" y="263"/>
                      <a:pt x="70" y="262"/>
                    </a:cubicBezTo>
                    <a:cubicBezTo>
                      <a:pt x="74" y="261"/>
                      <a:pt x="74" y="261"/>
                      <a:pt x="74" y="261"/>
                    </a:cubicBezTo>
                    <a:cubicBezTo>
                      <a:pt x="75" y="264"/>
                      <a:pt x="75" y="264"/>
                      <a:pt x="75" y="264"/>
                    </a:cubicBezTo>
                    <a:cubicBezTo>
                      <a:pt x="75" y="264"/>
                      <a:pt x="75" y="264"/>
                      <a:pt x="75" y="264"/>
                    </a:cubicBezTo>
                    <a:cubicBezTo>
                      <a:pt x="76" y="265"/>
                      <a:pt x="76" y="265"/>
                      <a:pt x="76" y="265"/>
                    </a:cubicBezTo>
                    <a:cubicBezTo>
                      <a:pt x="77" y="266"/>
                      <a:pt x="77" y="266"/>
                      <a:pt x="77" y="266"/>
                    </a:cubicBezTo>
                    <a:cubicBezTo>
                      <a:pt x="78" y="266"/>
                      <a:pt x="79" y="267"/>
                      <a:pt x="80" y="267"/>
                    </a:cubicBezTo>
                    <a:cubicBezTo>
                      <a:pt x="81" y="267"/>
                      <a:pt x="82" y="267"/>
                      <a:pt x="82" y="267"/>
                    </a:cubicBezTo>
                    <a:cubicBezTo>
                      <a:pt x="83" y="267"/>
                      <a:pt x="83" y="267"/>
                      <a:pt x="83" y="267"/>
                    </a:cubicBezTo>
                    <a:cubicBezTo>
                      <a:pt x="84" y="267"/>
                      <a:pt x="84" y="267"/>
                      <a:pt x="85" y="267"/>
                    </a:cubicBezTo>
                    <a:cubicBezTo>
                      <a:pt x="85" y="267"/>
                      <a:pt x="86" y="267"/>
                      <a:pt x="87" y="267"/>
                    </a:cubicBezTo>
                    <a:cubicBezTo>
                      <a:pt x="88" y="267"/>
                      <a:pt x="89" y="267"/>
                      <a:pt x="90" y="267"/>
                    </a:cubicBezTo>
                    <a:cubicBezTo>
                      <a:pt x="93" y="268"/>
                      <a:pt x="97" y="269"/>
                      <a:pt x="100" y="271"/>
                    </a:cubicBezTo>
                    <a:cubicBezTo>
                      <a:pt x="100" y="271"/>
                      <a:pt x="101" y="271"/>
                      <a:pt x="101" y="271"/>
                    </a:cubicBezTo>
                    <a:cubicBezTo>
                      <a:pt x="102" y="271"/>
                      <a:pt x="102" y="271"/>
                      <a:pt x="102" y="271"/>
                    </a:cubicBezTo>
                    <a:cubicBezTo>
                      <a:pt x="102" y="271"/>
                      <a:pt x="102" y="271"/>
                      <a:pt x="102" y="271"/>
                    </a:cubicBezTo>
                    <a:cubicBezTo>
                      <a:pt x="106" y="271"/>
                      <a:pt x="106" y="271"/>
                      <a:pt x="106" y="271"/>
                    </a:cubicBezTo>
                    <a:cubicBezTo>
                      <a:pt x="107" y="271"/>
                      <a:pt x="108" y="271"/>
                      <a:pt x="108" y="271"/>
                    </a:cubicBezTo>
                    <a:cubicBezTo>
                      <a:pt x="109" y="271"/>
                      <a:pt x="109" y="271"/>
                      <a:pt x="109" y="271"/>
                    </a:cubicBezTo>
                    <a:cubicBezTo>
                      <a:pt x="109" y="271"/>
                      <a:pt x="110" y="271"/>
                      <a:pt x="110" y="271"/>
                    </a:cubicBezTo>
                    <a:cubicBezTo>
                      <a:pt x="111" y="271"/>
                      <a:pt x="111" y="272"/>
                      <a:pt x="111" y="272"/>
                    </a:cubicBezTo>
                    <a:cubicBezTo>
                      <a:pt x="112" y="272"/>
                      <a:pt x="112" y="272"/>
                      <a:pt x="113" y="273"/>
                    </a:cubicBezTo>
                    <a:cubicBezTo>
                      <a:pt x="114" y="273"/>
                      <a:pt x="115" y="274"/>
                      <a:pt x="115" y="274"/>
                    </a:cubicBezTo>
                    <a:cubicBezTo>
                      <a:pt x="115" y="274"/>
                      <a:pt x="115" y="274"/>
                      <a:pt x="115" y="274"/>
                    </a:cubicBezTo>
                    <a:cubicBezTo>
                      <a:pt x="117" y="275"/>
                      <a:pt x="118" y="276"/>
                      <a:pt x="119" y="277"/>
                    </a:cubicBezTo>
                    <a:cubicBezTo>
                      <a:pt x="120" y="278"/>
                      <a:pt x="120" y="278"/>
                      <a:pt x="120" y="278"/>
                    </a:cubicBezTo>
                    <a:cubicBezTo>
                      <a:pt x="121" y="277"/>
                      <a:pt x="121" y="276"/>
                      <a:pt x="121" y="273"/>
                    </a:cubicBezTo>
                    <a:cubicBezTo>
                      <a:pt x="121" y="269"/>
                      <a:pt x="121" y="269"/>
                      <a:pt x="121" y="269"/>
                    </a:cubicBezTo>
                    <a:cubicBezTo>
                      <a:pt x="137" y="271"/>
                      <a:pt x="137" y="271"/>
                      <a:pt x="137" y="271"/>
                    </a:cubicBezTo>
                    <a:cubicBezTo>
                      <a:pt x="140" y="272"/>
                      <a:pt x="141" y="275"/>
                      <a:pt x="141" y="276"/>
                    </a:cubicBezTo>
                    <a:cubicBezTo>
                      <a:pt x="141" y="276"/>
                      <a:pt x="141" y="276"/>
                      <a:pt x="141" y="276"/>
                    </a:cubicBezTo>
                    <a:cubicBezTo>
                      <a:pt x="142" y="276"/>
                      <a:pt x="142" y="276"/>
                      <a:pt x="143" y="276"/>
                    </a:cubicBezTo>
                    <a:cubicBezTo>
                      <a:pt x="146" y="276"/>
                      <a:pt x="148" y="275"/>
                      <a:pt x="149" y="275"/>
                    </a:cubicBezTo>
                    <a:cubicBezTo>
                      <a:pt x="149" y="274"/>
                      <a:pt x="149" y="274"/>
                      <a:pt x="149" y="274"/>
                    </a:cubicBezTo>
                    <a:cubicBezTo>
                      <a:pt x="151" y="270"/>
                      <a:pt x="158" y="269"/>
                      <a:pt x="160" y="269"/>
                    </a:cubicBezTo>
                    <a:cubicBezTo>
                      <a:pt x="161" y="269"/>
                      <a:pt x="161" y="269"/>
                      <a:pt x="161" y="269"/>
                    </a:cubicBezTo>
                    <a:cubicBezTo>
                      <a:pt x="162" y="269"/>
                      <a:pt x="164" y="269"/>
                      <a:pt x="165" y="269"/>
                    </a:cubicBezTo>
                    <a:cubicBezTo>
                      <a:pt x="166" y="269"/>
                      <a:pt x="166" y="269"/>
                      <a:pt x="166" y="269"/>
                    </a:cubicBezTo>
                    <a:cubicBezTo>
                      <a:pt x="167" y="269"/>
                      <a:pt x="169" y="269"/>
                      <a:pt x="169" y="269"/>
                    </a:cubicBezTo>
                    <a:cubicBezTo>
                      <a:pt x="170" y="268"/>
                      <a:pt x="171" y="268"/>
                      <a:pt x="171" y="268"/>
                    </a:cubicBezTo>
                    <a:cubicBezTo>
                      <a:pt x="172" y="268"/>
                      <a:pt x="172" y="268"/>
                      <a:pt x="172" y="268"/>
                    </a:cubicBezTo>
                    <a:cubicBezTo>
                      <a:pt x="173" y="267"/>
                      <a:pt x="176" y="266"/>
                      <a:pt x="178" y="266"/>
                    </a:cubicBezTo>
                    <a:cubicBezTo>
                      <a:pt x="179" y="266"/>
                      <a:pt x="179" y="266"/>
                      <a:pt x="180" y="266"/>
                    </a:cubicBezTo>
                    <a:cubicBezTo>
                      <a:pt x="181" y="266"/>
                      <a:pt x="181" y="266"/>
                      <a:pt x="181" y="266"/>
                    </a:cubicBezTo>
                    <a:cubicBezTo>
                      <a:pt x="182" y="267"/>
                      <a:pt x="182" y="267"/>
                      <a:pt x="182" y="267"/>
                    </a:cubicBezTo>
                    <a:cubicBezTo>
                      <a:pt x="182" y="267"/>
                      <a:pt x="183" y="267"/>
                      <a:pt x="183" y="267"/>
                    </a:cubicBezTo>
                    <a:cubicBezTo>
                      <a:pt x="184" y="267"/>
                      <a:pt x="184" y="267"/>
                      <a:pt x="184" y="267"/>
                    </a:cubicBezTo>
                    <a:cubicBezTo>
                      <a:pt x="184" y="267"/>
                      <a:pt x="184" y="267"/>
                      <a:pt x="184" y="267"/>
                    </a:cubicBezTo>
                    <a:cubicBezTo>
                      <a:pt x="185" y="267"/>
                      <a:pt x="185" y="267"/>
                      <a:pt x="186" y="267"/>
                    </a:cubicBezTo>
                    <a:cubicBezTo>
                      <a:pt x="186" y="266"/>
                      <a:pt x="187" y="266"/>
                      <a:pt x="188" y="266"/>
                    </a:cubicBezTo>
                    <a:cubicBezTo>
                      <a:pt x="188" y="266"/>
                      <a:pt x="188" y="266"/>
                      <a:pt x="188" y="266"/>
                    </a:cubicBezTo>
                    <a:cubicBezTo>
                      <a:pt x="189" y="266"/>
                      <a:pt x="189" y="266"/>
                      <a:pt x="189" y="266"/>
                    </a:cubicBezTo>
                    <a:cubicBezTo>
                      <a:pt x="191" y="267"/>
                      <a:pt x="191" y="267"/>
                      <a:pt x="191" y="267"/>
                    </a:cubicBezTo>
                    <a:cubicBezTo>
                      <a:pt x="191" y="266"/>
                      <a:pt x="191" y="266"/>
                      <a:pt x="191" y="266"/>
                    </a:cubicBezTo>
                    <a:cubicBezTo>
                      <a:pt x="191" y="266"/>
                      <a:pt x="192" y="265"/>
                      <a:pt x="192" y="264"/>
                    </a:cubicBezTo>
                    <a:cubicBezTo>
                      <a:pt x="193" y="264"/>
                      <a:pt x="193" y="264"/>
                      <a:pt x="193" y="264"/>
                    </a:cubicBezTo>
                    <a:cubicBezTo>
                      <a:pt x="192" y="263"/>
                      <a:pt x="192" y="263"/>
                      <a:pt x="192" y="263"/>
                    </a:cubicBezTo>
                    <a:cubicBezTo>
                      <a:pt x="192" y="263"/>
                      <a:pt x="192" y="263"/>
                      <a:pt x="192" y="263"/>
                    </a:cubicBezTo>
                    <a:cubicBezTo>
                      <a:pt x="188" y="259"/>
                      <a:pt x="186" y="256"/>
                      <a:pt x="186" y="253"/>
                    </a:cubicBezTo>
                    <a:cubicBezTo>
                      <a:pt x="187" y="250"/>
                      <a:pt x="190" y="248"/>
                      <a:pt x="197" y="245"/>
                    </a:cubicBezTo>
                    <a:cubicBezTo>
                      <a:pt x="198" y="245"/>
                      <a:pt x="198" y="245"/>
                      <a:pt x="198" y="245"/>
                    </a:cubicBezTo>
                    <a:cubicBezTo>
                      <a:pt x="199" y="245"/>
                      <a:pt x="200" y="244"/>
                      <a:pt x="201" y="244"/>
                    </a:cubicBezTo>
                    <a:cubicBezTo>
                      <a:pt x="202" y="244"/>
                      <a:pt x="202" y="244"/>
                      <a:pt x="202" y="244"/>
                    </a:cubicBezTo>
                    <a:cubicBezTo>
                      <a:pt x="203" y="243"/>
                      <a:pt x="205" y="243"/>
                      <a:pt x="205" y="242"/>
                    </a:cubicBezTo>
                    <a:cubicBezTo>
                      <a:pt x="205" y="242"/>
                      <a:pt x="205" y="241"/>
                      <a:pt x="205" y="241"/>
                    </a:cubicBezTo>
                    <a:cubicBezTo>
                      <a:pt x="205" y="240"/>
                      <a:pt x="205" y="240"/>
                      <a:pt x="206" y="239"/>
                    </a:cubicBezTo>
                    <a:cubicBezTo>
                      <a:pt x="206" y="235"/>
                      <a:pt x="209" y="234"/>
                      <a:pt x="210" y="234"/>
                    </a:cubicBezTo>
                    <a:cubicBezTo>
                      <a:pt x="211" y="233"/>
                      <a:pt x="211" y="233"/>
                      <a:pt x="211" y="233"/>
                    </a:cubicBezTo>
                    <a:cubicBezTo>
                      <a:pt x="211" y="233"/>
                      <a:pt x="211" y="233"/>
                      <a:pt x="211" y="233"/>
                    </a:cubicBezTo>
                    <a:cubicBezTo>
                      <a:pt x="212" y="233"/>
                      <a:pt x="212" y="234"/>
                      <a:pt x="212" y="234"/>
                    </a:cubicBezTo>
                    <a:cubicBezTo>
                      <a:pt x="213" y="234"/>
                      <a:pt x="213" y="234"/>
                      <a:pt x="213" y="234"/>
                    </a:cubicBezTo>
                    <a:cubicBezTo>
                      <a:pt x="213" y="234"/>
                      <a:pt x="213" y="234"/>
                      <a:pt x="214" y="234"/>
                    </a:cubicBezTo>
                    <a:cubicBezTo>
                      <a:pt x="214" y="234"/>
                      <a:pt x="214" y="234"/>
                      <a:pt x="215" y="234"/>
                    </a:cubicBezTo>
                    <a:cubicBezTo>
                      <a:pt x="215" y="234"/>
                      <a:pt x="215" y="233"/>
                      <a:pt x="215" y="233"/>
                    </a:cubicBezTo>
                    <a:cubicBezTo>
                      <a:pt x="215" y="232"/>
                      <a:pt x="215" y="232"/>
                      <a:pt x="215" y="232"/>
                    </a:cubicBezTo>
                    <a:cubicBezTo>
                      <a:pt x="215" y="232"/>
                      <a:pt x="215" y="232"/>
                      <a:pt x="215" y="232"/>
                    </a:cubicBezTo>
                    <a:cubicBezTo>
                      <a:pt x="216" y="232"/>
                      <a:pt x="216" y="232"/>
                      <a:pt x="216" y="232"/>
                    </a:cubicBezTo>
                    <a:cubicBezTo>
                      <a:pt x="216" y="231"/>
                      <a:pt x="216" y="231"/>
                      <a:pt x="216" y="231"/>
                    </a:cubicBezTo>
                    <a:cubicBezTo>
                      <a:pt x="215" y="230"/>
                      <a:pt x="214" y="229"/>
                      <a:pt x="213" y="228"/>
                    </a:cubicBezTo>
                    <a:cubicBezTo>
                      <a:pt x="211" y="226"/>
                      <a:pt x="211" y="226"/>
                      <a:pt x="211" y="226"/>
                    </a:cubicBezTo>
                    <a:cubicBezTo>
                      <a:pt x="209" y="226"/>
                      <a:pt x="208" y="226"/>
                      <a:pt x="207" y="225"/>
                    </a:cubicBezTo>
                    <a:cubicBezTo>
                      <a:pt x="205" y="224"/>
                      <a:pt x="203" y="222"/>
                      <a:pt x="202" y="221"/>
                    </a:cubicBezTo>
                    <a:cubicBezTo>
                      <a:pt x="201" y="220"/>
                      <a:pt x="201" y="220"/>
                      <a:pt x="201" y="220"/>
                    </a:cubicBezTo>
                    <a:cubicBezTo>
                      <a:pt x="199" y="218"/>
                      <a:pt x="196" y="216"/>
                      <a:pt x="193" y="214"/>
                    </a:cubicBezTo>
                    <a:cubicBezTo>
                      <a:pt x="193" y="213"/>
                      <a:pt x="193" y="213"/>
                      <a:pt x="193" y="213"/>
                    </a:cubicBezTo>
                    <a:cubicBezTo>
                      <a:pt x="192" y="213"/>
                      <a:pt x="190" y="212"/>
                      <a:pt x="189" y="210"/>
                    </a:cubicBezTo>
                    <a:cubicBezTo>
                      <a:pt x="188" y="210"/>
                      <a:pt x="188" y="210"/>
                      <a:pt x="188" y="210"/>
                    </a:cubicBezTo>
                    <a:cubicBezTo>
                      <a:pt x="188" y="210"/>
                      <a:pt x="187" y="209"/>
                      <a:pt x="187" y="209"/>
                    </a:cubicBezTo>
                    <a:cubicBezTo>
                      <a:pt x="186" y="208"/>
                      <a:pt x="186" y="208"/>
                      <a:pt x="186" y="208"/>
                    </a:cubicBezTo>
                    <a:cubicBezTo>
                      <a:pt x="184" y="207"/>
                      <a:pt x="183" y="206"/>
                      <a:pt x="182" y="205"/>
                    </a:cubicBezTo>
                    <a:cubicBezTo>
                      <a:pt x="179" y="201"/>
                      <a:pt x="177" y="198"/>
                      <a:pt x="177" y="196"/>
                    </a:cubicBezTo>
                    <a:cubicBezTo>
                      <a:pt x="175" y="193"/>
                      <a:pt x="177" y="191"/>
                      <a:pt x="178" y="189"/>
                    </a:cubicBezTo>
                    <a:cubicBezTo>
                      <a:pt x="178" y="189"/>
                      <a:pt x="179" y="189"/>
                      <a:pt x="179" y="188"/>
                    </a:cubicBezTo>
                    <a:cubicBezTo>
                      <a:pt x="179" y="188"/>
                      <a:pt x="179" y="188"/>
                      <a:pt x="179" y="188"/>
                    </a:cubicBezTo>
                    <a:cubicBezTo>
                      <a:pt x="178" y="188"/>
                      <a:pt x="178" y="188"/>
                      <a:pt x="178" y="187"/>
                    </a:cubicBezTo>
                    <a:cubicBezTo>
                      <a:pt x="173" y="185"/>
                      <a:pt x="171" y="181"/>
                      <a:pt x="169" y="177"/>
                    </a:cubicBezTo>
                    <a:cubicBezTo>
                      <a:pt x="169" y="176"/>
                      <a:pt x="169" y="176"/>
                      <a:pt x="169" y="176"/>
                    </a:cubicBezTo>
                    <a:cubicBezTo>
                      <a:pt x="168" y="176"/>
                      <a:pt x="168" y="175"/>
                      <a:pt x="168" y="174"/>
                    </a:cubicBezTo>
                    <a:cubicBezTo>
                      <a:pt x="160" y="158"/>
                      <a:pt x="160" y="158"/>
                      <a:pt x="160" y="158"/>
                    </a:cubicBezTo>
                    <a:cubicBezTo>
                      <a:pt x="173" y="170"/>
                      <a:pt x="173" y="170"/>
                      <a:pt x="173" y="170"/>
                    </a:cubicBezTo>
                    <a:cubicBezTo>
                      <a:pt x="174" y="170"/>
                      <a:pt x="174" y="171"/>
                      <a:pt x="175" y="172"/>
                    </a:cubicBezTo>
                    <a:cubicBezTo>
                      <a:pt x="175" y="172"/>
                      <a:pt x="175" y="172"/>
                      <a:pt x="175" y="172"/>
                    </a:cubicBezTo>
                    <a:cubicBezTo>
                      <a:pt x="175" y="172"/>
                      <a:pt x="176" y="173"/>
                      <a:pt x="176" y="173"/>
                    </a:cubicBezTo>
                    <a:cubicBezTo>
                      <a:pt x="176" y="173"/>
                      <a:pt x="176" y="173"/>
                      <a:pt x="176" y="173"/>
                    </a:cubicBezTo>
                    <a:cubicBezTo>
                      <a:pt x="179" y="169"/>
                      <a:pt x="182" y="167"/>
                      <a:pt x="185" y="166"/>
                    </a:cubicBezTo>
                    <a:cubicBezTo>
                      <a:pt x="185" y="166"/>
                      <a:pt x="185" y="166"/>
                      <a:pt x="185" y="166"/>
                    </a:cubicBezTo>
                    <a:cubicBezTo>
                      <a:pt x="186" y="166"/>
                      <a:pt x="186" y="166"/>
                      <a:pt x="186" y="166"/>
                    </a:cubicBezTo>
                    <a:cubicBezTo>
                      <a:pt x="186" y="166"/>
                      <a:pt x="187" y="166"/>
                      <a:pt x="188" y="166"/>
                    </a:cubicBezTo>
                    <a:cubicBezTo>
                      <a:pt x="189" y="166"/>
                      <a:pt x="190" y="166"/>
                      <a:pt x="191" y="166"/>
                    </a:cubicBezTo>
                    <a:cubicBezTo>
                      <a:pt x="191" y="166"/>
                      <a:pt x="192" y="166"/>
                      <a:pt x="192" y="166"/>
                    </a:cubicBezTo>
                    <a:cubicBezTo>
                      <a:pt x="193" y="166"/>
                      <a:pt x="193" y="166"/>
                      <a:pt x="193" y="166"/>
                    </a:cubicBezTo>
                    <a:cubicBezTo>
                      <a:pt x="194" y="166"/>
                      <a:pt x="194" y="166"/>
                      <a:pt x="194" y="166"/>
                    </a:cubicBezTo>
                    <a:cubicBezTo>
                      <a:pt x="198" y="164"/>
                      <a:pt x="202" y="162"/>
                      <a:pt x="205" y="159"/>
                    </a:cubicBezTo>
                    <a:cubicBezTo>
                      <a:pt x="208" y="157"/>
                      <a:pt x="211" y="157"/>
                      <a:pt x="213" y="156"/>
                    </a:cubicBezTo>
                    <a:cubicBezTo>
                      <a:pt x="214" y="155"/>
                      <a:pt x="215" y="155"/>
                      <a:pt x="216" y="155"/>
                    </a:cubicBezTo>
                    <a:cubicBezTo>
                      <a:pt x="218" y="154"/>
                      <a:pt x="219" y="153"/>
                      <a:pt x="221" y="152"/>
                    </a:cubicBezTo>
                    <a:cubicBezTo>
                      <a:pt x="220" y="149"/>
                      <a:pt x="220" y="149"/>
                      <a:pt x="220" y="149"/>
                    </a:cubicBezTo>
                    <a:cubicBezTo>
                      <a:pt x="223" y="152"/>
                      <a:pt x="223" y="152"/>
                      <a:pt x="223" y="152"/>
                    </a:cubicBezTo>
                    <a:cubicBezTo>
                      <a:pt x="231" y="149"/>
                      <a:pt x="231" y="149"/>
                      <a:pt x="231" y="149"/>
                    </a:cubicBezTo>
                    <a:cubicBezTo>
                      <a:pt x="231" y="149"/>
                      <a:pt x="231" y="148"/>
                      <a:pt x="231" y="148"/>
                    </a:cubicBezTo>
                    <a:cubicBezTo>
                      <a:pt x="229" y="139"/>
                      <a:pt x="229" y="139"/>
                      <a:pt x="229" y="139"/>
                    </a:cubicBezTo>
                    <a:cubicBezTo>
                      <a:pt x="235" y="143"/>
                      <a:pt x="235" y="143"/>
                      <a:pt x="235" y="143"/>
                    </a:cubicBezTo>
                    <a:cubicBezTo>
                      <a:pt x="236" y="143"/>
                      <a:pt x="237" y="143"/>
                      <a:pt x="238" y="143"/>
                    </a:cubicBezTo>
                    <a:cubicBezTo>
                      <a:pt x="240" y="143"/>
                      <a:pt x="242" y="144"/>
                      <a:pt x="244" y="145"/>
                    </a:cubicBezTo>
                    <a:cubicBezTo>
                      <a:pt x="244" y="146"/>
                      <a:pt x="245" y="146"/>
                      <a:pt x="245" y="146"/>
                    </a:cubicBezTo>
                    <a:cubicBezTo>
                      <a:pt x="246" y="147"/>
                      <a:pt x="247" y="147"/>
                      <a:pt x="247" y="148"/>
                    </a:cubicBezTo>
                    <a:cubicBezTo>
                      <a:pt x="248" y="146"/>
                      <a:pt x="248" y="146"/>
                      <a:pt x="248" y="146"/>
                    </a:cubicBezTo>
                    <a:cubicBezTo>
                      <a:pt x="250" y="142"/>
                      <a:pt x="251" y="138"/>
                      <a:pt x="250" y="136"/>
                    </a:cubicBezTo>
                    <a:cubicBezTo>
                      <a:pt x="250" y="135"/>
                      <a:pt x="248" y="134"/>
                      <a:pt x="246" y="132"/>
                    </a:cubicBezTo>
                    <a:cubicBezTo>
                      <a:pt x="245" y="131"/>
                      <a:pt x="245" y="131"/>
                      <a:pt x="245" y="131"/>
                    </a:cubicBezTo>
                    <a:cubicBezTo>
                      <a:pt x="245" y="131"/>
                      <a:pt x="243" y="129"/>
                      <a:pt x="243" y="127"/>
                    </a:cubicBezTo>
                    <a:cubicBezTo>
                      <a:pt x="243" y="127"/>
                      <a:pt x="243" y="126"/>
                      <a:pt x="243" y="126"/>
                    </a:cubicBezTo>
                    <a:cubicBezTo>
                      <a:pt x="242" y="125"/>
                      <a:pt x="242" y="125"/>
                      <a:pt x="242" y="124"/>
                    </a:cubicBezTo>
                    <a:cubicBezTo>
                      <a:pt x="242" y="124"/>
                      <a:pt x="242" y="124"/>
                      <a:pt x="242" y="124"/>
                    </a:cubicBezTo>
                    <a:cubicBezTo>
                      <a:pt x="240" y="121"/>
                      <a:pt x="238" y="118"/>
                      <a:pt x="240" y="114"/>
                    </a:cubicBezTo>
                    <a:cubicBezTo>
                      <a:pt x="242" y="109"/>
                      <a:pt x="242" y="108"/>
                      <a:pt x="242" y="104"/>
                    </a:cubicBezTo>
                    <a:cubicBezTo>
                      <a:pt x="241" y="103"/>
                      <a:pt x="241" y="103"/>
                      <a:pt x="241" y="103"/>
                    </a:cubicBezTo>
                    <a:cubicBezTo>
                      <a:pt x="241" y="103"/>
                      <a:pt x="241" y="102"/>
                      <a:pt x="240" y="102"/>
                    </a:cubicBezTo>
                    <a:cubicBezTo>
                      <a:pt x="240" y="101"/>
                      <a:pt x="240" y="101"/>
                      <a:pt x="240" y="101"/>
                    </a:cubicBezTo>
                    <a:cubicBezTo>
                      <a:pt x="238" y="99"/>
                      <a:pt x="237" y="97"/>
                      <a:pt x="237" y="95"/>
                    </a:cubicBezTo>
                    <a:cubicBezTo>
                      <a:pt x="237" y="93"/>
                      <a:pt x="238" y="91"/>
                      <a:pt x="239" y="89"/>
                    </a:cubicBezTo>
                    <a:cubicBezTo>
                      <a:pt x="239" y="89"/>
                      <a:pt x="239" y="89"/>
                      <a:pt x="239" y="89"/>
                    </a:cubicBezTo>
                    <a:cubicBezTo>
                      <a:pt x="238" y="88"/>
                      <a:pt x="238" y="88"/>
                      <a:pt x="238" y="88"/>
                    </a:cubicBezTo>
                    <a:cubicBezTo>
                      <a:pt x="236" y="87"/>
                      <a:pt x="234" y="85"/>
                      <a:pt x="232" y="83"/>
                    </a:cubicBezTo>
                    <a:cubicBezTo>
                      <a:pt x="231" y="81"/>
                      <a:pt x="231" y="81"/>
                      <a:pt x="231" y="81"/>
                    </a:cubicBezTo>
                    <a:cubicBezTo>
                      <a:pt x="230" y="81"/>
                      <a:pt x="230" y="80"/>
                      <a:pt x="229" y="80"/>
                    </a:cubicBezTo>
                    <a:cubicBezTo>
                      <a:pt x="228" y="78"/>
                      <a:pt x="226" y="76"/>
                      <a:pt x="226" y="73"/>
                    </a:cubicBezTo>
                    <a:cubicBezTo>
                      <a:pt x="227" y="71"/>
                      <a:pt x="228" y="69"/>
                      <a:pt x="230" y="68"/>
                    </a:cubicBezTo>
                    <a:cubicBezTo>
                      <a:pt x="231" y="68"/>
                      <a:pt x="231" y="68"/>
                      <a:pt x="231" y="68"/>
                    </a:cubicBezTo>
                    <a:cubicBezTo>
                      <a:pt x="232" y="67"/>
                      <a:pt x="232" y="66"/>
                      <a:pt x="233" y="64"/>
                    </a:cubicBezTo>
                    <a:cubicBezTo>
                      <a:pt x="233" y="60"/>
                      <a:pt x="233" y="57"/>
                      <a:pt x="232" y="53"/>
                    </a:cubicBezTo>
                    <a:cubicBezTo>
                      <a:pt x="231" y="52"/>
                      <a:pt x="231" y="51"/>
                      <a:pt x="231" y="51"/>
                    </a:cubicBezTo>
                    <a:cubicBezTo>
                      <a:pt x="229" y="43"/>
                      <a:pt x="229" y="43"/>
                      <a:pt x="229" y="43"/>
                    </a:cubicBezTo>
                    <a:cubicBezTo>
                      <a:pt x="229" y="43"/>
                      <a:pt x="229" y="43"/>
                      <a:pt x="229" y="43"/>
                    </a:cubicBezTo>
                    <a:cubicBezTo>
                      <a:pt x="228" y="43"/>
                      <a:pt x="228" y="43"/>
                      <a:pt x="227" y="42"/>
                    </a:cubicBezTo>
                    <a:cubicBezTo>
                      <a:pt x="224" y="42"/>
                      <a:pt x="223" y="39"/>
                      <a:pt x="220" y="38"/>
                    </a:cubicBezTo>
                    <a:cubicBezTo>
                      <a:pt x="221" y="36"/>
                      <a:pt x="220" y="34"/>
                      <a:pt x="219" y="32"/>
                    </a:cubicBezTo>
                    <a:cubicBezTo>
                      <a:pt x="218" y="28"/>
                      <a:pt x="218" y="27"/>
                      <a:pt x="214" y="27"/>
                    </a:cubicBezTo>
                    <a:cubicBezTo>
                      <a:pt x="210" y="26"/>
                      <a:pt x="207" y="27"/>
                      <a:pt x="204" y="24"/>
                    </a:cubicBezTo>
                    <a:cubicBezTo>
                      <a:pt x="202" y="22"/>
                      <a:pt x="200" y="20"/>
                      <a:pt x="199" y="17"/>
                    </a:cubicBezTo>
                    <a:cubicBezTo>
                      <a:pt x="198" y="16"/>
                      <a:pt x="197" y="16"/>
                      <a:pt x="197" y="16"/>
                    </a:cubicBezTo>
                    <a:cubicBezTo>
                      <a:pt x="196" y="16"/>
                      <a:pt x="196" y="16"/>
                      <a:pt x="195" y="16"/>
                    </a:cubicBezTo>
                    <a:cubicBezTo>
                      <a:pt x="192" y="19"/>
                      <a:pt x="189" y="20"/>
                      <a:pt x="185" y="20"/>
                    </a:cubicBezTo>
                    <a:cubicBezTo>
                      <a:pt x="183" y="20"/>
                      <a:pt x="182" y="19"/>
                      <a:pt x="180" y="19"/>
                    </a:cubicBezTo>
                    <a:cubicBezTo>
                      <a:pt x="181" y="17"/>
                      <a:pt x="183" y="17"/>
                      <a:pt x="185" y="17"/>
                    </a:cubicBezTo>
                    <a:cubicBezTo>
                      <a:pt x="188" y="16"/>
                      <a:pt x="190" y="16"/>
                      <a:pt x="194" y="15"/>
                    </a:cubicBezTo>
                    <a:cubicBezTo>
                      <a:pt x="191" y="15"/>
                      <a:pt x="188" y="14"/>
                      <a:pt x="186" y="14"/>
                    </a:cubicBezTo>
                    <a:cubicBezTo>
                      <a:pt x="184" y="14"/>
                      <a:pt x="183" y="14"/>
                      <a:pt x="182" y="15"/>
                    </a:cubicBezTo>
                    <a:cubicBezTo>
                      <a:pt x="179" y="18"/>
                      <a:pt x="174" y="28"/>
                      <a:pt x="171" y="28"/>
                    </a:cubicBezTo>
                    <a:cubicBezTo>
                      <a:pt x="171" y="28"/>
                      <a:pt x="171" y="28"/>
                      <a:pt x="171" y="28"/>
                    </a:cubicBezTo>
                    <a:cubicBezTo>
                      <a:pt x="169" y="28"/>
                      <a:pt x="169" y="26"/>
                      <a:pt x="167" y="26"/>
                    </a:cubicBezTo>
                    <a:cubicBezTo>
                      <a:pt x="167" y="26"/>
                      <a:pt x="166" y="27"/>
                      <a:pt x="166" y="27"/>
                    </a:cubicBezTo>
                    <a:cubicBezTo>
                      <a:pt x="163" y="28"/>
                      <a:pt x="160" y="30"/>
                      <a:pt x="157" y="31"/>
                    </a:cubicBezTo>
                    <a:cubicBezTo>
                      <a:pt x="153" y="33"/>
                      <a:pt x="150" y="35"/>
                      <a:pt x="146" y="35"/>
                    </a:cubicBezTo>
                    <a:cubicBezTo>
                      <a:pt x="146" y="35"/>
                      <a:pt x="146" y="35"/>
                      <a:pt x="146" y="35"/>
                    </a:cubicBezTo>
                    <a:cubicBezTo>
                      <a:pt x="142" y="35"/>
                      <a:pt x="134" y="36"/>
                      <a:pt x="136" y="31"/>
                    </a:cubicBezTo>
                    <a:cubicBezTo>
                      <a:pt x="139" y="26"/>
                      <a:pt x="141" y="22"/>
                      <a:pt x="143" y="17"/>
                    </a:cubicBezTo>
                    <a:cubicBezTo>
                      <a:pt x="142" y="18"/>
                      <a:pt x="139" y="18"/>
                      <a:pt x="137" y="18"/>
                    </a:cubicBezTo>
                    <a:cubicBezTo>
                      <a:pt x="136" y="19"/>
                      <a:pt x="135" y="21"/>
                      <a:pt x="132" y="21"/>
                    </a:cubicBezTo>
                    <a:cubicBezTo>
                      <a:pt x="132" y="21"/>
                      <a:pt x="132" y="21"/>
                      <a:pt x="132" y="21"/>
                    </a:cubicBezTo>
                    <a:cubicBezTo>
                      <a:pt x="129" y="21"/>
                      <a:pt x="124" y="17"/>
                      <a:pt x="121" y="16"/>
                    </a:cubicBezTo>
                    <a:cubicBezTo>
                      <a:pt x="121" y="16"/>
                      <a:pt x="121" y="16"/>
                      <a:pt x="121" y="16"/>
                    </a:cubicBezTo>
                    <a:cubicBezTo>
                      <a:pt x="119" y="16"/>
                      <a:pt x="117" y="19"/>
                      <a:pt x="116" y="20"/>
                    </a:cubicBezTo>
                    <a:cubicBezTo>
                      <a:pt x="117" y="18"/>
                      <a:pt x="117" y="16"/>
                      <a:pt x="117" y="15"/>
                    </a:cubicBezTo>
                    <a:cubicBezTo>
                      <a:pt x="114" y="15"/>
                      <a:pt x="110" y="15"/>
                      <a:pt x="107" y="14"/>
                    </a:cubicBezTo>
                    <a:cubicBezTo>
                      <a:pt x="108" y="14"/>
                      <a:pt x="110" y="13"/>
                      <a:pt x="111" y="12"/>
                    </a:cubicBezTo>
                    <a:cubicBezTo>
                      <a:pt x="114" y="9"/>
                      <a:pt x="111" y="2"/>
                      <a:pt x="107" y="2"/>
                    </a:cubicBezTo>
                    <a:cubicBezTo>
                      <a:pt x="104" y="1"/>
                      <a:pt x="100" y="1"/>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364"/>
              <p:cNvSpPr/>
              <p:nvPr/>
            </p:nvSpPr>
            <p:spPr bwMode="auto">
              <a:xfrm>
                <a:off x="5085460" y="3124979"/>
                <a:ext cx="257958" cy="276384"/>
              </a:xfrm>
              <a:custGeom>
                <a:gdLst>
                  <a:gd name="T0" fmla="*/ 45 w 81"/>
                  <a:gd name="T1" fmla="*/ 1 h 87"/>
                  <a:gd name="T2" fmla="*/ 42 w 81"/>
                  <a:gd name="T3" fmla="*/ 1 h 87"/>
                  <a:gd name="T4" fmla="*/ 37 w 81"/>
                  <a:gd name="T5" fmla="*/ 1 h 87"/>
                  <a:gd name="T6" fmla="*/ 31 w 81"/>
                  <a:gd name="T7" fmla="*/ 14 h 87"/>
                  <a:gd name="T8" fmla="*/ 27 w 81"/>
                  <a:gd name="T9" fmla="*/ 17 h 87"/>
                  <a:gd name="T10" fmla="*/ 24 w 81"/>
                  <a:gd name="T11" fmla="*/ 10 h 87"/>
                  <a:gd name="T12" fmla="*/ 18 w 81"/>
                  <a:gd name="T13" fmla="*/ 16 h 87"/>
                  <a:gd name="T14" fmla="*/ 4 w 81"/>
                  <a:gd name="T15" fmla="*/ 14 h 87"/>
                  <a:gd name="T16" fmla="*/ 1 w 81"/>
                  <a:gd name="T17" fmla="*/ 31 h 87"/>
                  <a:gd name="T18" fmla="*/ 4 w 81"/>
                  <a:gd name="T19" fmla="*/ 38 h 87"/>
                  <a:gd name="T20" fmla="*/ 8 w 81"/>
                  <a:gd name="T21" fmla="*/ 45 h 87"/>
                  <a:gd name="T22" fmla="*/ 6 w 81"/>
                  <a:gd name="T23" fmla="*/ 45 h 87"/>
                  <a:gd name="T24" fmla="*/ 1 w 81"/>
                  <a:gd name="T25" fmla="*/ 57 h 87"/>
                  <a:gd name="T26" fmla="*/ 5 w 81"/>
                  <a:gd name="T27" fmla="*/ 59 h 87"/>
                  <a:gd name="T28" fmla="*/ 14 w 81"/>
                  <a:gd name="T29" fmla="*/ 75 h 87"/>
                  <a:gd name="T30" fmla="*/ 13 w 81"/>
                  <a:gd name="T31" fmla="*/ 74 h 87"/>
                  <a:gd name="T32" fmla="*/ 11 w 81"/>
                  <a:gd name="T33" fmla="*/ 75 h 87"/>
                  <a:gd name="T34" fmla="*/ 17 w 81"/>
                  <a:gd name="T35" fmla="*/ 76 h 87"/>
                  <a:gd name="T36" fmla="*/ 17 w 81"/>
                  <a:gd name="T37" fmla="*/ 84 h 87"/>
                  <a:gd name="T38" fmla="*/ 19 w 81"/>
                  <a:gd name="T39" fmla="*/ 82 h 87"/>
                  <a:gd name="T40" fmla="*/ 38 w 81"/>
                  <a:gd name="T41" fmla="*/ 85 h 87"/>
                  <a:gd name="T42" fmla="*/ 40 w 81"/>
                  <a:gd name="T43" fmla="*/ 85 h 87"/>
                  <a:gd name="T44" fmla="*/ 44 w 81"/>
                  <a:gd name="T45" fmla="*/ 85 h 87"/>
                  <a:gd name="T46" fmla="*/ 44 w 81"/>
                  <a:gd name="T47" fmla="*/ 81 h 87"/>
                  <a:gd name="T48" fmla="*/ 42 w 81"/>
                  <a:gd name="T49" fmla="*/ 80 h 87"/>
                  <a:gd name="T50" fmla="*/ 40 w 81"/>
                  <a:gd name="T51" fmla="*/ 79 h 87"/>
                  <a:gd name="T52" fmla="*/ 43 w 81"/>
                  <a:gd name="T53" fmla="*/ 67 h 87"/>
                  <a:gd name="T54" fmla="*/ 43 w 81"/>
                  <a:gd name="T55" fmla="*/ 54 h 87"/>
                  <a:gd name="T56" fmla="*/ 50 w 81"/>
                  <a:gd name="T57" fmla="*/ 54 h 87"/>
                  <a:gd name="T58" fmla="*/ 54 w 81"/>
                  <a:gd name="T59" fmla="*/ 54 h 87"/>
                  <a:gd name="T60" fmla="*/ 56 w 81"/>
                  <a:gd name="T61" fmla="*/ 47 h 87"/>
                  <a:gd name="T62" fmla="*/ 60 w 81"/>
                  <a:gd name="T63" fmla="*/ 47 h 87"/>
                  <a:gd name="T64" fmla="*/ 69 w 81"/>
                  <a:gd name="T65" fmla="*/ 31 h 87"/>
                  <a:gd name="T66" fmla="*/ 69 w 81"/>
                  <a:gd name="T67" fmla="*/ 37 h 87"/>
                  <a:gd name="T68" fmla="*/ 81 w 81"/>
                  <a:gd name="T69" fmla="*/ 23 h 87"/>
                  <a:gd name="T70" fmla="*/ 65 w 81"/>
                  <a:gd name="T71" fmla="*/ 19 h 87"/>
                  <a:gd name="T72" fmla="*/ 64 w 81"/>
                  <a:gd name="T73" fmla="*/ 18 h 87"/>
                  <a:gd name="T74" fmla="*/ 65 w 81"/>
                  <a:gd name="T75" fmla="*/ 15 h 87"/>
                  <a:gd name="T76" fmla="*/ 62 w 81"/>
                  <a:gd name="T77" fmla="*/ 13 h 87"/>
                  <a:gd name="T78" fmla="*/ 63 w 81"/>
                  <a:gd name="T79" fmla="*/ 8 h 87"/>
                  <a:gd name="T80" fmla="*/ 57 w 81"/>
                  <a:gd name="T81" fmla="*/ 0 h 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87">
                    <a:moveTo>
                      <a:pt x="57" y="0"/>
                    </a:moveTo>
                    <a:cubicBezTo>
                      <a:pt x="53" y="0"/>
                      <a:pt x="49" y="1"/>
                      <a:pt x="45" y="1"/>
                    </a:cubicBezTo>
                    <a:cubicBezTo>
                      <a:pt x="45" y="1"/>
                      <a:pt x="45" y="1"/>
                      <a:pt x="45" y="1"/>
                    </a:cubicBezTo>
                    <a:cubicBezTo>
                      <a:pt x="44" y="1"/>
                      <a:pt x="43" y="1"/>
                      <a:pt x="42" y="1"/>
                    </a:cubicBezTo>
                    <a:cubicBezTo>
                      <a:pt x="41" y="1"/>
                      <a:pt x="39" y="1"/>
                      <a:pt x="38" y="1"/>
                    </a:cubicBezTo>
                    <a:cubicBezTo>
                      <a:pt x="38" y="1"/>
                      <a:pt x="37" y="1"/>
                      <a:pt x="37" y="1"/>
                    </a:cubicBezTo>
                    <a:cubicBezTo>
                      <a:pt x="35" y="4"/>
                      <a:pt x="32" y="6"/>
                      <a:pt x="32" y="10"/>
                    </a:cubicBezTo>
                    <a:cubicBezTo>
                      <a:pt x="31" y="11"/>
                      <a:pt x="31" y="13"/>
                      <a:pt x="31" y="14"/>
                    </a:cubicBezTo>
                    <a:cubicBezTo>
                      <a:pt x="36" y="14"/>
                      <a:pt x="35" y="14"/>
                      <a:pt x="36" y="20"/>
                    </a:cubicBezTo>
                    <a:cubicBezTo>
                      <a:pt x="33" y="18"/>
                      <a:pt x="31" y="18"/>
                      <a:pt x="27" y="17"/>
                    </a:cubicBezTo>
                    <a:cubicBezTo>
                      <a:pt x="29" y="16"/>
                      <a:pt x="29" y="14"/>
                      <a:pt x="31" y="13"/>
                    </a:cubicBezTo>
                    <a:cubicBezTo>
                      <a:pt x="29" y="12"/>
                      <a:pt x="27" y="11"/>
                      <a:pt x="24" y="10"/>
                    </a:cubicBezTo>
                    <a:cubicBezTo>
                      <a:pt x="24" y="11"/>
                      <a:pt x="23" y="13"/>
                      <a:pt x="22" y="14"/>
                    </a:cubicBezTo>
                    <a:cubicBezTo>
                      <a:pt x="21" y="15"/>
                      <a:pt x="18" y="15"/>
                      <a:pt x="18" y="16"/>
                    </a:cubicBezTo>
                    <a:cubicBezTo>
                      <a:pt x="17" y="19"/>
                      <a:pt x="20" y="19"/>
                      <a:pt x="18" y="22"/>
                    </a:cubicBezTo>
                    <a:cubicBezTo>
                      <a:pt x="15" y="21"/>
                      <a:pt x="3" y="18"/>
                      <a:pt x="4" y="14"/>
                    </a:cubicBezTo>
                    <a:cubicBezTo>
                      <a:pt x="3" y="16"/>
                      <a:pt x="1" y="19"/>
                      <a:pt x="1" y="21"/>
                    </a:cubicBezTo>
                    <a:cubicBezTo>
                      <a:pt x="1" y="25"/>
                      <a:pt x="2" y="28"/>
                      <a:pt x="1" y="31"/>
                    </a:cubicBezTo>
                    <a:cubicBezTo>
                      <a:pt x="1" y="35"/>
                      <a:pt x="0" y="38"/>
                      <a:pt x="1" y="41"/>
                    </a:cubicBezTo>
                    <a:cubicBezTo>
                      <a:pt x="2" y="40"/>
                      <a:pt x="3" y="39"/>
                      <a:pt x="4" y="38"/>
                    </a:cubicBezTo>
                    <a:cubicBezTo>
                      <a:pt x="6" y="40"/>
                      <a:pt x="7" y="42"/>
                      <a:pt x="9" y="45"/>
                    </a:cubicBezTo>
                    <a:cubicBezTo>
                      <a:pt x="8" y="45"/>
                      <a:pt x="8" y="45"/>
                      <a:pt x="8" y="45"/>
                    </a:cubicBezTo>
                    <a:cubicBezTo>
                      <a:pt x="8" y="45"/>
                      <a:pt x="7" y="45"/>
                      <a:pt x="7" y="45"/>
                    </a:cubicBezTo>
                    <a:cubicBezTo>
                      <a:pt x="6" y="45"/>
                      <a:pt x="6" y="45"/>
                      <a:pt x="6" y="45"/>
                    </a:cubicBezTo>
                    <a:cubicBezTo>
                      <a:pt x="4" y="45"/>
                      <a:pt x="2" y="45"/>
                      <a:pt x="1" y="42"/>
                    </a:cubicBezTo>
                    <a:cubicBezTo>
                      <a:pt x="2" y="48"/>
                      <a:pt x="4" y="52"/>
                      <a:pt x="1" y="57"/>
                    </a:cubicBezTo>
                    <a:cubicBezTo>
                      <a:pt x="0" y="61"/>
                      <a:pt x="3" y="62"/>
                      <a:pt x="6" y="63"/>
                    </a:cubicBezTo>
                    <a:cubicBezTo>
                      <a:pt x="6" y="61"/>
                      <a:pt x="5" y="60"/>
                      <a:pt x="5" y="59"/>
                    </a:cubicBezTo>
                    <a:cubicBezTo>
                      <a:pt x="5" y="59"/>
                      <a:pt x="6" y="59"/>
                      <a:pt x="6" y="59"/>
                    </a:cubicBezTo>
                    <a:cubicBezTo>
                      <a:pt x="13" y="59"/>
                      <a:pt x="21" y="73"/>
                      <a:pt x="14" y="75"/>
                    </a:cubicBezTo>
                    <a:cubicBezTo>
                      <a:pt x="14" y="75"/>
                      <a:pt x="14" y="75"/>
                      <a:pt x="14" y="75"/>
                    </a:cubicBezTo>
                    <a:cubicBezTo>
                      <a:pt x="13" y="75"/>
                      <a:pt x="13" y="75"/>
                      <a:pt x="13" y="74"/>
                    </a:cubicBezTo>
                    <a:cubicBezTo>
                      <a:pt x="12" y="74"/>
                      <a:pt x="12" y="74"/>
                      <a:pt x="12" y="74"/>
                    </a:cubicBezTo>
                    <a:cubicBezTo>
                      <a:pt x="12" y="74"/>
                      <a:pt x="11" y="74"/>
                      <a:pt x="11" y="75"/>
                    </a:cubicBezTo>
                    <a:cubicBezTo>
                      <a:pt x="10" y="76"/>
                      <a:pt x="12" y="77"/>
                      <a:pt x="13" y="77"/>
                    </a:cubicBezTo>
                    <a:cubicBezTo>
                      <a:pt x="15" y="77"/>
                      <a:pt x="16" y="76"/>
                      <a:pt x="17" y="76"/>
                    </a:cubicBezTo>
                    <a:cubicBezTo>
                      <a:pt x="16" y="79"/>
                      <a:pt x="15" y="82"/>
                      <a:pt x="16" y="84"/>
                    </a:cubicBezTo>
                    <a:cubicBezTo>
                      <a:pt x="17" y="84"/>
                      <a:pt x="17" y="84"/>
                      <a:pt x="17" y="84"/>
                    </a:cubicBezTo>
                    <a:cubicBezTo>
                      <a:pt x="17" y="82"/>
                      <a:pt x="17" y="82"/>
                      <a:pt x="17" y="82"/>
                    </a:cubicBezTo>
                    <a:cubicBezTo>
                      <a:pt x="19" y="82"/>
                      <a:pt x="19" y="82"/>
                      <a:pt x="19" y="82"/>
                    </a:cubicBezTo>
                    <a:cubicBezTo>
                      <a:pt x="22" y="82"/>
                      <a:pt x="25" y="83"/>
                      <a:pt x="28" y="83"/>
                    </a:cubicBezTo>
                    <a:cubicBezTo>
                      <a:pt x="32" y="84"/>
                      <a:pt x="35" y="85"/>
                      <a:pt x="38" y="85"/>
                    </a:cubicBezTo>
                    <a:cubicBezTo>
                      <a:pt x="38" y="85"/>
                      <a:pt x="38" y="85"/>
                      <a:pt x="39" y="85"/>
                    </a:cubicBezTo>
                    <a:cubicBezTo>
                      <a:pt x="40" y="85"/>
                      <a:pt x="40" y="85"/>
                      <a:pt x="40" y="85"/>
                    </a:cubicBezTo>
                    <a:cubicBezTo>
                      <a:pt x="40" y="87"/>
                      <a:pt x="40" y="87"/>
                      <a:pt x="40" y="87"/>
                    </a:cubicBezTo>
                    <a:cubicBezTo>
                      <a:pt x="42" y="86"/>
                      <a:pt x="42" y="85"/>
                      <a:pt x="44" y="85"/>
                    </a:cubicBezTo>
                    <a:cubicBezTo>
                      <a:pt x="44" y="85"/>
                      <a:pt x="45" y="85"/>
                      <a:pt x="46" y="86"/>
                    </a:cubicBezTo>
                    <a:cubicBezTo>
                      <a:pt x="48" y="83"/>
                      <a:pt x="46" y="82"/>
                      <a:pt x="44" y="81"/>
                    </a:cubicBezTo>
                    <a:cubicBezTo>
                      <a:pt x="43" y="80"/>
                      <a:pt x="43" y="80"/>
                      <a:pt x="42" y="80"/>
                    </a:cubicBezTo>
                    <a:cubicBezTo>
                      <a:pt x="42" y="80"/>
                      <a:pt x="42" y="80"/>
                      <a:pt x="42" y="80"/>
                    </a:cubicBezTo>
                    <a:cubicBezTo>
                      <a:pt x="41" y="80"/>
                      <a:pt x="41" y="80"/>
                      <a:pt x="41" y="80"/>
                    </a:cubicBezTo>
                    <a:cubicBezTo>
                      <a:pt x="40" y="80"/>
                      <a:pt x="40" y="80"/>
                      <a:pt x="40" y="79"/>
                    </a:cubicBezTo>
                    <a:cubicBezTo>
                      <a:pt x="39" y="74"/>
                      <a:pt x="43" y="77"/>
                      <a:pt x="45" y="74"/>
                    </a:cubicBezTo>
                    <a:cubicBezTo>
                      <a:pt x="46" y="72"/>
                      <a:pt x="44" y="69"/>
                      <a:pt x="43" y="67"/>
                    </a:cubicBezTo>
                    <a:cubicBezTo>
                      <a:pt x="42" y="61"/>
                      <a:pt x="43" y="60"/>
                      <a:pt x="47" y="57"/>
                    </a:cubicBezTo>
                    <a:cubicBezTo>
                      <a:pt x="46" y="56"/>
                      <a:pt x="44" y="55"/>
                      <a:pt x="43" y="54"/>
                    </a:cubicBezTo>
                    <a:cubicBezTo>
                      <a:pt x="44" y="53"/>
                      <a:pt x="46" y="53"/>
                      <a:pt x="47" y="53"/>
                    </a:cubicBezTo>
                    <a:cubicBezTo>
                      <a:pt x="48" y="53"/>
                      <a:pt x="49" y="53"/>
                      <a:pt x="50" y="54"/>
                    </a:cubicBezTo>
                    <a:cubicBezTo>
                      <a:pt x="51" y="54"/>
                      <a:pt x="52" y="54"/>
                      <a:pt x="53" y="54"/>
                    </a:cubicBezTo>
                    <a:cubicBezTo>
                      <a:pt x="54" y="54"/>
                      <a:pt x="54" y="54"/>
                      <a:pt x="54" y="54"/>
                    </a:cubicBezTo>
                    <a:cubicBezTo>
                      <a:pt x="54" y="52"/>
                      <a:pt x="52" y="47"/>
                      <a:pt x="54" y="47"/>
                    </a:cubicBezTo>
                    <a:cubicBezTo>
                      <a:pt x="55" y="47"/>
                      <a:pt x="55" y="47"/>
                      <a:pt x="56" y="47"/>
                    </a:cubicBezTo>
                    <a:cubicBezTo>
                      <a:pt x="57" y="48"/>
                      <a:pt x="58" y="48"/>
                      <a:pt x="59" y="48"/>
                    </a:cubicBezTo>
                    <a:cubicBezTo>
                      <a:pt x="59" y="48"/>
                      <a:pt x="59" y="48"/>
                      <a:pt x="60" y="47"/>
                    </a:cubicBezTo>
                    <a:cubicBezTo>
                      <a:pt x="62" y="45"/>
                      <a:pt x="62" y="30"/>
                      <a:pt x="67" y="30"/>
                    </a:cubicBezTo>
                    <a:cubicBezTo>
                      <a:pt x="67" y="30"/>
                      <a:pt x="68" y="30"/>
                      <a:pt x="69" y="31"/>
                    </a:cubicBezTo>
                    <a:cubicBezTo>
                      <a:pt x="66" y="34"/>
                      <a:pt x="64" y="36"/>
                      <a:pt x="69" y="36"/>
                    </a:cubicBezTo>
                    <a:cubicBezTo>
                      <a:pt x="69" y="37"/>
                      <a:pt x="69" y="37"/>
                      <a:pt x="69" y="37"/>
                    </a:cubicBezTo>
                    <a:cubicBezTo>
                      <a:pt x="70" y="37"/>
                      <a:pt x="70" y="37"/>
                      <a:pt x="71" y="37"/>
                    </a:cubicBezTo>
                    <a:cubicBezTo>
                      <a:pt x="77" y="33"/>
                      <a:pt x="79" y="30"/>
                      <a:pt x="81" y="23"/>
                    </a:cubicBezTo>
                    <a:cubicBezTo>
                      <a:pt x="78" y="23"/>
                      <a:pt x="75" y="22"/>
                      <a:pt x="72" y="21"/>
                    </a:cubicBezTo>
                    <a:cubicBezTo>
                      <a:pt x="69" y="21"/>
                      <a:pt x="68" y="19"/>
                      <a:pt x="65" y="19"/>
                    </a:cubicBezTo>
                    <a:cubicBezTo>
                      <a:pt x="65" y="18"/>
                      <a:pt x="64" y="18"/>
                      <a:pt x="64" y="18"/>
                    </a:cubicBezTo>
                    <a:cubicBezTo>
                      <a:pt x="64" y="18"/>
                      <a:pt x="64" y="18"/>
                      <a:pt x="64" y="18"/>
                    </a:cubicBezTo>
                    <a:cubicBezTo>
                      <a:pt x="62" y="20"/>
                      <a:pt x="62" y="23"/>
                      <a:pt x="60" y="23"/>
                    </a:cubicBezTo>
                    <a:cubicBezTo>
                      <a:pt x="61" y="20"/>
                      <a:pt x="63" y="18"/>
                      <a:pt x="65" y="15"/>
                    </a:cubicBezTo>
                    <a:cubicBezTo>
                      <a:pt x="62" y="15"/>
                      <a:pt x="60" y="14"/>
                      <a:pt x="58" y="14"/>
                    </a:cubicBezTo>
                    <a:cubicBezTo>
                      <a:pt x="59" y="13"/>
                      <a:pt x="61" y="13"/>
                      <a:pt x="62" y="13"/>
                    </a:cubicBezTo>
                    <a:cubicBezTo>
                      <a:pt x="63" y="13"/>
                      <a:pt x="63" y="13"/>
                      <a:pt x="64" y="13"/>
                    </a:cubicBezTo>
                    <a:cubicBezTo>
                      <a:pt x="64" y="12"/>
                      <a:pt x="63" y="10"/>
                      <a:pt x="63" y="8"/>
                    </a:cubicBezTo>
                    <a:cubicBezTo>
                      <a:pt x="62" y="7"/>
                      <a:pt x="64" y="4"/>
                      <a:pt x="63" y="3"/>
                    </a:cubicBezTo>
                    <a:cubicBezTo>
                      <a:pt x="62" y="1"/>
                      <a:pt x="59" y="0"/>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365"/>
              <p:cNvSpPr/>
              <p:nvPr/>
            </p:nvSpPr>
            <p:spPr bwMode="auto">
              <a:xfrm>
                <a:off x="9422841" y="6489489"/>
                <a:ext cx="33166" cy="62647"/>
              </a:xfrm>
              <a:custGeom>
                <a:gdLst>
                  <a:gd name="T0" fmla="*/ 7 w 11"/>
                  <a:gd name="T1" fmla="*/ 0 h 20"/>
                  <a:gd name="T2" fmla="*/ 0 w 11"/>
                  <a:gd name="T3" fmla="*/ 6 h 20"/>
                  <a:gd name="T4" fmla="*/ 2 w 11"/>
                  <a:gd name="T5" fmla="*/ 6 h 20"/>
                  <a:gd name="T6" fmla="*/ 2 w 11"/>
                  <a:gd name="T7" fmla="*/ 7 h 20"/>
                  <a:gd name="T8" fmla="*/ 2 w 11"/>
                  <a:gd name="T9" fmla="*/ 10 h 20"/>
                  <a:gd name="T10" fmla="*/ 2 w 11"/>
                  <a:gd name="T11" fmla="*/ 12 h 20"/>
                  <a:gd name="T12" fmla="*/ 3 w 11"/>
                  <a:gd name="T13" fmla="*/ 18 h 20"/>
                  <a:gd name="T14" fmla="*/ 3 w 11"/>
                  <a:gd name="T15" fmla="*/ 18 h 20"/>
                  <a:gd name="T16" fmla="*/ 5 w 11"/>
                  <a:gd name="T17" fmla="*/ 20 h 20"/>
                  <a:gd name="T18" fmla="*/ 9 w 11"/>
                  <a:gd name="T19" fmla="*/ 8 h 20"/>
                  <a:gd name="T20" fmla="*/ 5 w 11"/>
                  <a:gd name="T21" fmla="*/ 6 h 20"/>
                  <a:gd name="T22" fmla="*/ 11 w 11"/>
                  <a:gd name="T23" fmla="*/ 1 h 20"/>
                  <a:gd name="T24" fmla="*/ 7 w 11"/>
                  <a:gd name="T25"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0">
                    <a:moveTo>
                      <a:pt x="7" y="0"/>
                    </a:moveTo>
                    <a:cubicBezTo>
                      <a:pt x="4" y="0"/>
                      <a:pt x="2" y="3"/>
                      <a:pt x="0" y="6"/>
                    </a:cubicBezTo>
                    <a:cubicBezTo>
                      <a:pt x="2" y="6"/>
                      <a:pt x="2" y="6"/>
                      <a:pt x="2" y="6"/>
                    </a:cubicBezTo>
                    <a:cubicBezTo>
                      <a:pt x="2" y="7"/>
                      <a:pt x="2" y="7"/>
                      <a:pt x="2" y="7"/>
                    </a:cubicBezTo>
                    <a:cubicBezTo>
                      <a:pt x="2" y="8"/>
                      <a:pt x="2" y="9"/>
                      <a:pt x="2" y="10"/>
                    </a:cubicBezTo>
                    <a:cubicBezTo>
                      <a:pt x="2" y="12"/>
                      <a:pt x="2" y="12"/>
                      <a:pt x="2" y="12"/>
                    </a:cubicBezTo>
                    <a:cubicBezTo>
                      <a:pt x="2" y="15"/>
                      <a:pt x="3" y="17"/>
                      <a:pt x="3" y="18"/>
                    </a:cubicBezTo>
                    <a:cubicBezTo>
                      <a:pt x="3" y="18"/>
                      <a:pt x="3" y="18"/>
                      <a:pt x="3" y="18"/>
                    </a:cubicBezTo>
                    <a:cubicBezTo>
                      <a:pt x="5" y="20"/>
                      <a:pt x="5" y="20"/>
                      <a:pt x="5" y="20"/>
                    </a:cubicBezTo>
                    <a:cubicBezTo>
                      <a:pt x="7" y="17"/>
                      <a:pt x="8" y="10"/>
                      <a:pt x="9" y="8"/>
                    </a:cubicBezTo>
                    <a:cubicBezTo>
                      <a:pt x="7" y="8"/>
                      <a:pt x="6" y="7"/>
                      <a:pt x="5" y="6"/>
                    </a:cubicBezTo>
                    <a:cubicBezTo>
                      <a:pt x="7" y="4"/>
                      <a:pt x="9" y="3"/>
                      <a:pt x="11" y="1"/>
                    </a:cubicBezTo>
                    <a:cubicBezTo>
                      <a:pt x="9"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366"/>
              <p:cNvSpPr/>
              <p:nvPr/>
            </p:nvSpPr>
            <p:spPr bwMode="auto">
              <a:xfrm>
                <a:off x="6253642" y="1263995"/>
                <a:ext cx="936019" cy="1485102"/>
              </a:xfrm>
              <a:custGeom>
                <a:gdLst>
                  <a:gd name="T0" fmla="*/ 179 w 295"/>
                  <a:gd name="T1" fmla="*/ 5 h 468"/>
                  <a:gd name="T2" fmla="*/ 166 w 295"/>
                  <a:gd name="T3" fmla="*/ 6 h 468"/>
                  <a:gd name="T4" fmla="*/ 145 w 295"/>
                  <a:gd name="T5" fmla="*/ 19 h 468"/>
                  <a:gd name="T6" fmla="*/ 138 w 295"/>
                  <a:gd name="T7" fmla="*/ 50 h 468"/>
                  <a:gd name="T8" fmla="*/ 127 w 295"/>
                  <a:gd name="T9" fmla="*/ 60 h 468"/>
                  <a:gd name="T10" fmla="*/ 109 w 295"/>
                  <a:gd name="T11" fmla="*/ 75 h 468"/>
                  <a:gd name="T12" fmla="*/ 81 w 295"/>
                  <a:gd name="T13" fmla="*/ 65 h 468"/>
                  <a:gd name="T14" fmla="*/ 35 w 295"/>
                  <a:gd name="T15" fmla="*/ 62 h 468"/>
                  <a:gd name="T16" fmla="*/ 9 w 295"/>
                  <a:gd name="T17" fmla="*/ 40 h 468"/>
                  <a:gd name="T18" fmla="*/ 2 w 295"/>
                  <a:gd name="T19" fmla="*/ 50 h 468"/>
                  <a:gd name="T20" fmla="*/ 75 w 295"/>
                  <a:gd name="T21" fmla="*/ 98 h 468"/>
                  <a:gd name="T22" fmla="*/ 75 w 295"/>
                  <a:gd name="T23" fmla="*/ 108 h 468"/>
                  <a:gd name="T24" fmla="*/ 74 w 295"/>
                  <a:gd name="T25" fmla="*/ 123 h 468"/>
                  <a:gd name="T26" fmla="*/ 80 w 295"/>
                  <a:gd name="T27" fmla="*/ 137 h 468"/>
                  <a:gd name="T28" fmla="*/ 85 w 295"/>
                  <a:gd name="T29" fmla="*/ 152 h 468"/>
                  <a:gd name="T30" fmla="*/ 85 w 295"/>
                  <a:gd name="T31" fmla="*/ 164 h 468"/>
                  <a:gd name="T32" fmla="*/ 79 w 295"/>
                  <a:gd name="T33" fmla="*/ 182 h 468"/>
                  <a:gd name="T34" fmla="*/ 91 w 295"/>
                  <a:gd name="T35" fmla="*/ 206 h 468"/>
                  <a:gd name="T36" fmla="*/ 120 w 295"/>
                  <a:gd name="T37" fmla="*/ 237 h 468"/>
                  <a:gd name="T38" fmla="*/ 120 w 295"/>
                  <a:gd name="T39" fmla="*/ 250 h 468"/>
                  <a:gd name="T40" fmla="*/ 94 w 295"/>
                  <a:gd name="T41" fmla="*/ 265 h 468"/>
                  <a:gd name="T42" fmla="*/ 68 w 295"/>
                  <a:gd name="T43" fmla="*/ 286 h 468"/>
                  <a:gd name="T44" fmla="*/ 36 w 295"/>
                  <a:gd name="T45" fmla="*/ 314 h 468"/>
                  <a:gd name="T46" fmla="*/ 15 w 295"/>
                  <a:gd name="T47" fmla="*/ 326 h 468"/>
                  <a:gd name="T48" fmla="*/ 6 w 295"/>
                  <a:gd name="T49" fmla="*/ 361 h 468"/>
                  <a:gd name="T50" fmla="*/ 14 w 295"/>
                  <a:gd name="T51" fmla="*/ 396 h 468"/>
                  <a:gd name="T52" fmla="*/ 10 w 295"/>
                  <a:gd name="T53" fmla="*/ 421 h 468"/>
                  <a:gd name="T54" fmla="*/ 19 w 295"/>
                  <a:gd name="T55" fmla="*/ 438 h 468"/>
                  <a:gd name="T56" fmla="*/ 58 w 295"/>
                  <a:gd name="T57" fmla="*/ 448 h 468"/>
                  <a:gd name="T58" fmla="*/ 41 w 295"/>
                  <a:gd name="T59" fmla="*/ 456 h 468"/>
                  <a:gd name="T60" fmla="*/ 39 w 295"/>
                  <a:gd name="T61" fmla="*/ 464 h 468"/>
                  <a:gd name="T62" fmla="*/ 61 w 295"/>
                  <a:gd name="T63" fmla="*/ 468 h 468"/>
                  <a:gd name="T64" fmla="*/ 78 w 295"/>
                  <a:gd name="T65" fmla="*/ 464 h 468"/>
                  <a:gd name="T66" fmla="*/ 99 w 295"/>
                  <a:gd name="T67" fmla="*/ 463 h 468"/>
                  <a:gd name="T68" fmla="*/ 140 w 295"/>
                  <a:gd name="T69" fmla="*/ 453 h 468"/>
                  <a:gd name="T70" fmla="*/ 142 w 295"/>
                  <a:gd name="T71" fmla="*/ 444 h 468"/>
                  <a:gd name="T72" fmla="*/ 179 w 295"/>
                  <a:gd name="T73" fmla="*/ 442 h 468"/>
                  <a:gd name="T74" fmla="*/ 227 w 295"/>
                  <a:gd name="T75" fmla="*/ 409 h 468"/>
                  <a:gd name="T76" fmla="*/ 288 w 295"/>
                  <a:gd name="T77" fmla="*/ 352 h 468"/>
                  <a:gd name="T78" fmla="*/ 292 w 295"/>
                  <a:gd name="T79" fmla="*/ 333 h 468"/>
                  <a:gd name="T80" fmla="*/ 253 w 295"/>
                  <a:gd name="T81" fmla="*/ 297 h 468"/>
                  <a:gd name="T82" fmla="*/ 259 w 295"/>
                  <a:gd name="T83" fmla="*/ 276 h 468"/>
                  <a:gd name="T84" fmla="*/ 253 w 295"/>
                  <a:gd name="T85" fmla="*/ 258 h 468"/>
                  <a:gd name="T86" fmla="*/ 241 w 295"/>
                  <a:gd name="T87" fmla="*/ 245 h 468"/>
                  <a:gd name="T88" fmla="*/ 242 w 295"/>
                  <a:gd name="T89" fmla="*/ 225 h 468"/>
                  <a:gd name="T90" fmla="*/ 241 w 295"/>
                  <a:gd name="T91" fmla="*/ 211 h 468"/>
                  <a:gd name="T92" fmla="*/ 231 w 295"/>
                  <a:gd name="T93" fmla="*/ 163 h 468"/>
                  <a:gd name="T94" fmla="*/ 226 w 295"/>
                  <a:gd name="T95" fmla="*/ 148 h 468"/>
                  <a:gd name="T96" fmla="*/ 231 w 295"/>
                  <a:gd name="T97" fmla="*/ 98 h 468"/>
                  <a:gd name="T98" fmla="*/ 211 w 295"/>
                  <a:gd name="T99" fmla="*/ 84 h 468"/>
                  <a:gd name="T100" fmla="*/ 212 w 295"/>
                  <a:gd name="T101" fmla="*/ 67 h 468"/>
                  <a:gd name="T102" fmla="*/ 203 w 295"/>
                  <a:gd name="T103" fmla="*/ 56 h 468"/>
                  <a:gd name="T104" fmla="*/ 222 w 295"/>
                  <a:gd name="T105" fmla="*/ 48 h 468"/>
                  <a:gd name="T106" fmla="*/ 222 w 295"/>
                  <a:gd name="T107" fmla="*/ 46 h 468"/>
                  <a:gd name="T108" fmla="*/ 228 w 295"/>
                  <a:gd name="T109" fmla="*/ 31 h 468"/>
                  <a:gd name="T110" fmla="*/ 216 w 295"/>
                  <a:gd name="T111" fmla="*/ 15 h 468"/>
                  <a:gd name="T112" fmla="*/ 200 w 295"/>
                  <a:gd name="T113" fmla="*/ 5 h 4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5" h="468">
                    <a:moveTo>
                      <a:pt x="191" y="0"/>
                    </a:moveTo>
                    <a:cubicBezTo>
                      <a:pt x="190" y="0"/>
                      <a:pt x="189" y="0"/>
                      <a:pt x="188" y="1"/>
                    </a:cubicBezTo>
                    <a:cubicBezTo>
                      <a:pt x="188" y="1"/>
                      <a:pt x="188" y="1"/>
                      <a:pt x="187" y="2"/>
                    </a:cubicBezTo>
                    <a:cubicBezTo>
                      <a:pt x="186" y="2"/>
                      <a:pt x="185" y="3"/>
                      <a:pt x="183" y="4"/>
                    </a:cubicBezTo>
                    <a:cubicBezTo>
                      <a:pt x="182" y="4"/>
                      <a:pt x="181" y="5"/>
                      <a:pt x="179" y="5"/>
                    </a:cubicBezTo>
                    <a:cubicBezTo>
                      <a:pt x="178" y="5"/>
                      <a:pt x="177" y="6"/>
                      <a:pt x="176" y="6"/>
                    </a:cubicBezTo>
                    <a:cubicBezTo>
                      <a:pt x="175" y="6"/>
                      <a:pt x="175" y="6"/>
                      <a:pt x="175" y="6"/>
                    </a:cubicBezTo>
                    <a:cubicBezTo>
                      <a:pt x="174" y="6"/>
                      <a:pt x="173" y="6"/>
                      <a:pt x="172" y="6"/>
                    </a:cubicBezTo>
                    <a:cubicBezTo>
                      <a:pt x="168" y="6"/>
                      <a:pt x="168" y="6"/>
                      <a:pt x="168" y="6"/>
                    </a:cubicBezTo>
                    <a:cubicBezTo>
                      <a:pt x="168" y="6"/>
                      <a:pt x="167" y="6"/>
                      <a:pt x="166" y="6"/>
                    </a:cubicBezTo>
                    <a:cubicBezTo>
                      <a:pt x="160" y="7"/>
                      <a:pt x="158" y="7"/>
                      <a:pt x="155" y="12"/>
                    </a:cubicBezTo>
                    <a:cubicBezTo>
                      <a:pt x="154" y="12"/>
                      <a:pt x="154" y="12"/>
                      <a:pt x="154" y="12"/>
                    </a:cubicBezTo>
                    <a:cubicBezTo>
                      <a:pt x="153" y="14"/>
                      <a:pt x="151" y="15"/>
                      <a:pt x="149" y="16"/>
                    </a:cubicBezTo>
                    <a:cubicBezTo>
                      <a:pt x="149" y="16"/>
                      <a:pt x="149" y="16"/>
                      <a:pt x="149" y="16"/>
                    </a:cubicBezTo>
                    <a:cubicBezTo>
                      <a:pt x="147" y="17"/>
                      <a:pt x="146" y="18"/>
                      <a:pt x="145" y="19"/>
                    </a:cubicBezTo>
                    <a:cubicBezTo>
                      <a:pt x="144" y="19"/>
                      <a:pt x="144" y="19"/>
                      <a:pt x="144" y="19"/>
                    </a:cubicBezTo>
                    <a:cubicBezTo>
                      <a:pt x="143" y="21"/>
                      <a:pt x="143" y="22"/>
                      <a:pt x="142" y="25"/>
                    </a:cubicBezTo>
                    <a:cubicBezTo>
                      <a:pt x="141" y="30"/>
                      <a:pt x="141" y="30"/>
                      <a:pt x="141" y="30"/>
                    </a:cubicBezTo>
                    <a:cubicBezTo>
                      <a:pt x="140" y="33"/>
                      <a:pt x="140" y="36"/>
                      <a:pt x="140" y="39"/>
                    </a:cubicBezTo>
                    <a:cubicBezTo>
                      <a:pt x="139" y="43"/>
                      <a:pt x="139" y="47"/>
                      <a:pt x="138" y="50"/>
                    </a:cubicBezTo>
                    <a:cubicBezTo>
                      <a:pt x="137" y="52"/>
                      <a:pt x="137" y="54"/>
                      <a:pt x="136" y="56"/>
                    </a:cubicBezTo>
                    <a:cubicBezTo>
                      <a:pt x="135" y="57"/>
                      <a:pt x="135" y="57"/>
                      <a:pt x="135" y="57"/>
                    </a:cubicBezTo>
                    <a:cubicBezTo>
                      <a:pt x="134" y="59"/>
                      <a:pt x="132" y="60"/>
                      <a:pt x="130" y="60"/>
                    </a:cubicBezTo>
                    <a:cubicBezTo>
                      <a:pt x="129" y="60"/>
                      <a:pt x="128" y="60"/>
                      <a:pt x="128" y="60"/>
                    </a:cubicBezTo>
                    <a:cubicBezTo>
                      <a:pt x="127" y="60"/>
                      <a:pt x="127" y="60"/>
                      <a:pt x="127" y="60"/>
                    </a:cubicBezTo>
                    <a:cubicBezTo>
                      <a:pt x="119" y="69"/>
                      <a:pt x="119" y="69"/>
                      <a:pt x="119" y="69"/>
                    </a:cubicBezTo>
                    <a:cubicBezTo>
                      <a:pt x="119" y="69"/>
                      <a:pt x="119" y="69"/>
                      <a:pt x="119" y="69"/>
                    </a:cubicBezTo>
                    <a:cubicBezTo>
                      <a:pt x="118" y="70"/>
                      <a:pt x="118" y="70"/>
                      <a:pt x="118" y="70"/>
                    </a:cubicBezTo>
                    <a:cubicBezTo>
                      <a:pt x="116" y="72"/>
                      <a:pt x="114" y="75"/>
                      <a:pt x="111" y="75"/>
                    </a:cubicBezTo>
                    <a:cubicBezTo>
                      <a:pt x="110" y="75"/>
                      <a:pt x="110" y="75"/>
                      <a:pt x="109" y="75"/>
                    </a:cubicBezTo>
                    <a:cubicBezTo>
                      <a:pt x="94" y="68"/>
                      <a:pt x="94" y="68"/>
                      <a:pt x="94" y="68"/>
                    </a:cubicBezTo>
                    <a:cubicBezTo>
                      <a:pt x="93" y="68"/>
                      <a:pt x="92" y="67"/>
                      <a:pt x="90" y="66"/>
                    </a:cubicBezTo>
                    <a:cubicBezTo>
                      <a:pt x="88" y="65"/>
                      <a:pt x="84" y="63"/>
                      <a:pt x="82" y="63"/>
                    </a:cubicBezTo>
                    <a:cubicBezTo>
                      <a:pt x="82" y="63"/>
                      <a:pt x="82" y="63"/>
                      <a:pt x="81" y="63"/>
                    </a:cubicBezTo>
                    <a:cubicBezTo>
                      <a:pt x="81" y="64"/>
                      <a:pt x="81" y="65"/>
                      <a:pt x="81" y="65"/>
                    </a:cubicBezTo>
                    <a:cubicBezTo>
                      <a:pt x="80" y="66"/>
                      <a:pt x="79" y="67"/>
                      <a:pt x="77" y="67"/>
                    </a:cubicBezTo>
                    <a:cubicBezTo>
                      <a:pt x="43" y="68"/>
                      <a:pt x="43" y="68"/>
                      <a:pt x="43" y="68"/>
                    </a:cubicBezTo>
                    <a:cubicBezTo>
                      <a:pt x="43" y="68"/>
                      <a:pt x="42" y="68"/>
                      <a:pt x="42" y="68"/>
                    </a:cubicBezTo>
                    <a:cubicBezTo>
                      <a:pt x="41" y="68"/>
                      <a:pt x="40" y="68"/>
                      <a:pt x="39" y="67"/>
                    </a:cubicBezTo>
                    <a:cubicBezTo>
                      <a:pt x="36" y="67"/>
                      <a:pt x="36" y="65"/>
                      <a:pt x="35" y="62"/>
                    </a:cubicBezTo>
                    <a:cubicBezTo>
                      <a:pt x="35" y="62"/>
                      <a:pt x="35" y="62"/>
                      <a:pt x="35" y="62"/>
                    </a:cubicBezTo>
                    <a:cubicBezTo>
                      <a:pt x="35" y="60"/>
                      <a:pt x="30" y="55"/>
                      <a:pt x="24" y="50"/>
                    </a:cubicBezTo>
                    <a:cubicBezTo>
                      <a:pt x="12" y="42"/>
                      <a:pt x="12" y="42"/>
                      <a:pt x="12" y="42"/>
                    </a:cubicBezTo>
                    <a:cubicBezTo>
                      <a:pt x="11" y="41"/>
                      <a:pt x="10" y="40"/>
                      <a:pt x="9" y="40"/>
                    </a:cubicBezTo>
                    <a:cubicBezTo>
                      <a:pt x="9" y="40"/>
                      <a:pt x="9" y="40"/>
                      <a:pt x="9" y="40"/>
                    </a:cubicBezTo>
                    <a:cubicBezTo>
                      <a:pt x="9" y="40"/>
                      <a:pt x="8" y="40"/>
                      <a:pt x="7" y="40"/>
                    </a:cubicBezTo>
                    <a:cubicBezTo>
                      <a:pt x="6" y="41"/>
                      <a:pt x="6" y="41"/>
                      <a:pt x="5" y="41"/>
                    </a:cubicBezTo>
                    <a:cubicBezTo>
                      <a:pt x="5" y="41"/>
                      <a:pt x="5" y="42"/>
                      <a:pt x="5" y="42"/>
                    </a:cubicBezTo>
                    <a:cubicBezTo>
                      <a:pt x="5" y="43"/>
                      <a:pt x="5" y="44"/>
                      <a:pt x="5" y="46"/>
                    </a:cubicBezTo>
                    <a:cubicBezTo>
                      <a:pt x="5" y="46"/>
                      <a:pt x="5" y="48"/>
                      <a:pt x="2" y="50"/>
                    </a:cubicBezTo>
                    <a:cubicBezTo>
                      <a:pt x="1" y="51"/>
                      <a:pt x="1" y="51"/>
                      <a:pt x="1" y="51"/>
                    </a:cubicBezTo>
                    <a:cubicBezTo>
                      <a:pt x="0" y="51"/>
                      <a:pt x="0" y="51"/>
                      <a:pt x="0" y="51"/>
                    </a:cubicBezTo>
                    <a:cubicBezTo>
                      <a:pt x="63" y="87"/>
                      <a:pt x="63" y="87"/>
                      <a:pt x="63" y="87"/>
                    </a:cubicBezTo>
                    <a:cubicBezTo>
                      <a:pt x="67" y="90"/>
                      <a:pt x="69" y="92"/>
                      <a:pt x="73" y="95"/>
                    </a:cubicBezTo>
                    <a:cubicBezTo>
                      <a:pt x="75" y="98"/>
                      <a:pt x="75" y="98"/>
                      <a:pt x="75" y="98"/>
                    </a:cubicBezTo>
                    <a:cubicBezTo>
                      <a:pt x="76" y="99"/>
                      <a:pt x="76" y="99"/>
                      <a:pt x="77" y="100"/>
                    </a:cubicBezTo>
                    <a:cubicBezTo>
                      <a:pt x="78" y="101"/>
                      <a:pt x="78" y="102"/>
                      <a:pt x="78" y="103"/>
                    </a:cubicBezTo>
                    <a:cubicBezTo>
                      <a:pt x="78" y="104"/>
                      <a:pt x="78" y="104"/>
                      <a:pt x="78" y="104"/>
                    </a:cubicBezTo>
                    <a:cubicBezTo>
                      <a:pt x="78" y="104"/>
                      <a:pt x="78" y="104"/>
                      <a:pt x="78" y="104"/>
                    </a:cubicBezTo>
                    <a:cubicBezTo>
                      <a:pt x="78" y="107"/>
                      <a:pt x="76" y="107"/>
                      <a:pt x="75" y="108"/>
                    </a:cubicBezTo>
                    <a:cubicBezTo>
                      <a:pt x="74" y="109"/>
                      <a:pt x="75" y="111"/>
                      <a:pt x="75" y="113"/>
                    </a:cubicBezTo>
                    <a:cubicBezTo>
                      <a:pt x="75" y="114"/>
                      <a:pt x="75" y="116"/>
                      <a:pt x="75" y="117"/>
                    </a:cubicBezTo>
                    <a:cubicBezTo>
                      <a:pt x="75" y="119"/>
                      <a:pt x="75" y="121"/>
                      <a:pt x="74" y="123"/>
                    </a:cubicBezTo>
                    <a:cubicBezTo>
                      <a:pt x="74" y="123"/>
                      <a:pt x="74" y="123"/>
                      <a:pt x="74" y="123"/>
                    </a:cubicBezTo>
                    <a:cubicBezTo>
                      <a:pt x="74" y="123"/>
                      <a:pt x="74" y="123"/>
                      <a:pt x="74" y="123"/>
                    </a:cubicBezTo>
                    <a:cubicBezTo>
                      <a:pt x="74" y="124"/>
                      <a:pt x="75" y="124"/>
                      <a:pt x="75" y="124"/>
                    </a:cubicBezTo>
                    <a:cubicBezTo>
                      <a:pt x="78" y="125"/>
                      <a:pt x="81" y="128"/>
                      <a:pt x="82" y="130"/>
                    </a:cubicBezTo>
                    <a:cubicBezTo>
                      <a:pt x="82" y="131"/>
                      <a:pt x="82" y="131"/>
                      <a:pt x="82" y="131"/>
                    </a:cubicBezTo>
                    <a:cubicBezTo>
                      <a:pt x="83" y="133"/>
                      <a:pt x="82" y="134"/>
                      <a:pt x="81" y="136"/>
                    </a:cubicBezTo>
                    <a:cubicBezTo>
                      <a:pt x="80" y="137"/>
                      <a:pt x="80" y="137"/>
                      <a:pt x="80" y="137"/>
                    </a:cubicBezTo>
                    <a:cubicBezTo>
                      <a:pt x="79" y="137"/>
                      <a:pt x="78" y="138"/>
                      <a:pt x="78" y="139"/>
                    </a:cubicBezTo>
                    <a:cubicBezTo>
                      <a:pt x="77" y="139"/>
                      <a:pt x="77" y="140"/>
                      <a:pt x="77" y="140"/>
                    </a:cubicBezTo>
                    <a:cubicBezTo>
                      <a:pt x="77" y="142"/>
                      <a:pt x="80" y="145"/>
                      <a:pt x="82" y="148"/>
                    </a:cubicBezTo>
                    <a:cubicBezTo>
                      <a:pt x="83" y="149"/>
                      <a:pt x="84" y="150"/>
                      <a:pt x="85" y="151"/>
                    </a:cubicBezTo>
                    <a:cubicBezTo>
                      <a:pt x="85" y="152"/>
                      <a:pt x="85" y="152"/>
                      <a:pt x="85" y="152"/>
                    </a:cubicBezTo>
                    <a:cubicBezTo>
                      <a:pt x="86" y="153"/>
                      <a:pt x="87" y="154"/>
                      <a:pt x="88" y="156"/>
                    </a:cubicBezTo>
                    <a:cubicBezTo>
                      <a:pt x="88" y="157"/>
                      <a:pt x="88" y="158"/>
                      <a:pt x="88" y="159"/>
                    </a:cubicBezTo>
                    <a:cubicBezTo>
                      <a:pt x="87" y="165"/>
                      <a:pt x="87" y="165"/>
                      <a:pt x="87" y="165"/>
                    </a:cubicBezTo>
                    <a:cubicBezTo>
                      <a:pt x="85" y="163"/>
                      <a:pt x="85" y="163"/>
                      <a:pt x="85" y="163"/>
                    </a:cubicBezTo>
                    <a:cubicBezTo>
                      <a:pt x="85" y="164"/>
                      <a:pt x="85" y="164"/>
                      <a:pt x="85" y="164"/>
                    </a:cubicBezTo>
                    <a:cubicBezTo>
                      <a:pt x="85" y="165"/>
                      <a:pt x="85" y="165"/>
                      <a:pt x="85" y="165"/>
                    </a:cubicBezTo>
                    <a:cubicBezTo>
                      <a:pt x="84" y="167"/>
                      <a:pt x="83" y="169"/>
                      <a:pt x="82" y="171"/>
                    </a:cubicBezTo>
                    <a:cubicBezTo>
                      <a:pt x="81" y="174"/>
                      <a:pt x="79" y="178"/>
                      <a:pt x="79" y="180"/>
                    </a:cubicBezTo>
                    <a:cubicBezTo>
                      <a:pt x="79" y="181"/>
                      <a:pt x="79" y="181"/>
                      <a:pt x="79" y="182"/>
                    </a:cubicBezTo>
                    <a:cubicBezTo>
                      <a:pt x="79" y="182"/>
                      <a:pt x="79" y="182"/>
                      <a:pt x="79" y="182"/>
                    </a:cubicBezTo>
                    <a:cubicBezTo>
                      <a:pt x="80" y="183"/>
                      <a:pt x="80" y="183"/>
                      <a:pt x="80" y="183"/>
                    </a:cubicBezTo>
                    <a:cubicBezTo>
                      <a:pt x="80" y="183"/>
                      <a:pt x="81" y="184"/>
                      <a:pt x="82" y="185"/>
                    </a:cubicBezTo>
                    <a:cubicBezTo>
                      <a:pt x="83" y="186"/>
                      <a:pt x="85" y="187"/>
                      <a:pt x="86" y="190"/>
                    </a:cubicBezTo>
                    <a:cubicBezTo>
                      <a:pt x="92" y="205"/>
                      <a:pt x="92" y="205"/>
                      <a:pt x="92" y="205"/>
                    </a:cubicBezTo>
                    <a:cubicBezTo>
                      <a:pt x="91" y="206"/>
                      <a:pt x="91" y="206"/>
                      <a:pt x="91" y="206"/>
                    </a:cubicBezTo>
                    <a:cubicBezTo>
                      <a:pt x="93" y="206"/>
                      <a:pt x="98" y="207"/>
                      <a:pt x="99" y="208"/>
                    </a:cubicBezTo>
                    <a:cubicBezTo>
                      <a:pt x="103" y="211"/>
                      <a:pt x="105" y="212"/>
                      <a:pt x="109" y="214"/>
                    </a:cubicBezTo>
                    <a:cubicBezTo>
                      <a:pt x="112" y="215"/>
                      <a:pt x="119" y="216"/>
                      <a:pt x="121" y="219"/>
                    </a:cubicBezTo>
                    <a:cubicBezTo>
                      <a:pt x="122" y="221"/>
                      <a:pt x="122" y="228"/>
                      <a:pt x="122" y="231"/>
                    </a:cubicBezTo>
                    <a:cubicBezTo>
                      <a:pt x="121" y="234"/>
                      <a:pt x="118" y="235"/>
                      <a:pt x="120" y="237"/>
                    </a:cubicBezTo>
                    <a:cubicBezTo>
                      <a:pt x="121" y="238"/>
                      <a:pt x="123" y="238"/>
                      <a:pt x="124" y="239"/>
                    </a:cubicBezTo>
                    <a:cubicBezTo>
                      <a:pt x="125" y="241"/>
                      <a:pt x="126" y="243"/>
                      <a:pt x="127" y="245"/>
                    </a:cubicBezTo>
                    <a:cubicBezTo>
                      <a:pt x="124" y="244"/>
                      <a:pt x="122" y="243"/>
                      <a:pt x="121" y="243"/>
                    </a:cubicBezTo>
                    <a:cubicBezTo>
                      <a:pt x="120" y="243"/>
                      <a:pt x="120" y="245"/>
                      <a:pt x="124" y="248"/>
                    </a:cubicBezTo>
                    <a:cubicBezTo>
                      <a:pt x="123" y="250"/>
                      <a:pt x="121" y="250"/>
                      <a:pt x="120" y="250"/>
                    </a:cubicBezTo>
                    <a:cubicBezTo>
                      <a:pt x="119" y="250"/>
                      <a:pt x="117" y="249"/>
                      <a:pt x="115" y="248"/>
                    </a:cubicBezTo>
                    <a:cubicBezTo>
                      <a:pt x="114" y="248"/>
                      <a:pt x="114" y="248"/>
                      <a:pt x="113" y="248"/>
                    </a:cubicBezTo>
                    <a:cubicBezTo>
                      <a:pt x="111" y="248"/>
                      <a:pt x="108" y="250"/>
                      <a:pt x="106" y="251"/>
                    </a:cubicBezTo>
                    <a:cubicBezTo>
                      <a:pt x="102" y="252"/>
                      <a:pt x="101" y="253"/>
                      <a:pt x="99" y="256"/>
                    </a:cubicBezTo>
                    <a:cubicBezTo>
                      <a:pt x="97" y="259"/>
                      <a:pt x="96" y="263"/>
                      <a:pt x="94" y="265"/>
                    </a:cubicBezTo>
                    <a:cubicBezTo>
                      <a:pt x="88" y="269"/>
                      <a:pt x="83" y="274"/>
                      <a:pt x="78" y="280"/>
                    </a:cubicBezTo>
                    <a:cubicBezTo>
                      <a:pt x="77" y="281"/>
                      <a:pt x="75" y="286"/>
                      <a:pt x="74" y="286"/>
                    </a:cubicBezTo>
                    <a:cubicBezTo>
                      <a:pt x="74" y="286"/>
                      <a:pt x="74" y="286"/>
                      <a:pt x="74" y="286"/>
                    </a:cubicBezTo>
                    <a:cubicBezTo>
                      <a:pt x="73" y="286"/>
                      <a:pt x="70" y="285"/>
                      <a:pt x="69" y="285"/>
                    </a:cubicBezTo>
                    <a:cubicBezTo>
                      <a:pt x="68" y="285"/>
                      <a:pt x="68" y="285"/>
                      <a:pt x="68" y="286"/>
                    </a:cubicBezTo>
                    <a:cubicBezTo>
                      <a:pt x="67" y="288"/>
                      <a:pt x="69" y="291"/>
                      <a:pt x="67" y="292"/>
                    </a:cubicBezTo>
                    <a:cubicBezTo>
                      <a:pt x="62" y="293"/>
                      <a:pt x="61" y="295"/>
                      <a:pt x="58" y="298"/>
                    </a:cubicBezTo>
                    <a:cubicBezTo>
                      <a:pt x="56" y="300"/>
                      <a:pt x="54" y="302"/>
                      <a:pt x="51" y="303"/>
                    </a:cubicBezTo>
                    <a:cubicBezTo>
                      <a:pt x="48" y="304"/>
                      <a:pt x="44" y="305"/>
                      <a:pt x="41" y="307"/>
                    </a:cubicBezTo>
                    <a:cubicBezTo>
                      <a:pt x="39" y="308"/>
                      <a:pt x="33" y="311"/>
                      <a:pt x="36" y="314"/>
                    </a:cubicBezTo>
                    <a:cubicBezTo>
                      <a:pt x="39" y="318"/>
                      <a:pt x="40" y="319"/>
                      <a:pt x="35" y="322"/>
                    </a:cubicBezTo>
                    <a:cubicBezTo>
                      <a:pt x="33" y="323"/>
                      <a:pt x="30" y="323"/>
                      <a:pt x="29" y="326"/>
                    </a:cubicBezTo>
                    <a:cubicBezTo>
                      <a:pt x="28" y="323"/>
                      <a:pt x="28" y="321"/>
                      <a:pt x="25" y="321"/>
                    </a:cubicBezTo>
                    <a:cubicBezTo>
                      <a:pt x="25" y="321"/>
                      <a:pt x="24" y="321"/>
                      <a:pt x="24" y="321"/>
                    </a:cubicBezTo>
                    <a:cubicBezTo>
                      <a:pt x="19" y="322"/>
                      <a:pt x="18" y="322"/>
                      <a:pt x="15" y="326"/>
                    </a:cubicBezTo>
                    <a:cubicBezTo>
                      <a:pt x="15" y="326"/>
                      <a:pt x="19" y="330"/>
                      <a:pt x="19" y="330"/>
                    </a:cubicBezTo>
                    <a:cubicBezTo>
                      <a:pt x="20" y="333"/>
                      <a:pt x="16" y="333"/>
                      <a:pt x="14" y="334"/>
                    </a:cubicBezTo>
                    <a:cubicBezTo>
                      <a:pt x="10" y="335"/>
                      <a:pt x="7" y="339"/>
                      <a:pt x="5" y="343"/>
                    </a:cubicBezTo>
                    <a:cubicBezTo>
                      <a:pt x="2" y="348"/>
                      <a:pt x="3" y="350"/>
                      <a:pt x="4" y="356"/>
                    </a:cubicBezTo>
                    <a:cubicBezTo>
                      <a:pt x="4" y="358"/>
                      <a:pt x="5" y="360"/>
                      <a:pt x="6" y="361"/>
                    </a:cubicBezTo>
                    <a:cubicBezTo>
                      <a:pt x="7" y="363"/>
                      <a:pt x="9" y="362"/>
                      <a:pt x="10" y="364"/>
                    </a:cubicBezTo>
                    <a:cubicBezTo>
                      <a:pt x="12" y="369"/>
                      <a:pt x="11" y="371"/>
                      <a:pt x="9" y="376"/>
                    </a:cubicBezTo>
                    <a:cubicBezTo>
                      <a:pt x="8" y="381"/>
                      <a:pt x="12" y="384"/>
                      <a:pt x="15" y="388"/>
                    </a:cubicBezTo>
                    <a:cubicBezTo>
                      <a:pt x="17" y="391"/>
                      <a:pt x="18" y="394"/>
                      <a:pt x="20" y="397"/>
                    </a:cubicBezTo>
                    <a:cubicBezTo>
                      <a:pt x="18" y="397"/>
                      <a:pt x="16" y="396"/>
                      <a:pt x="14" y="396"/>
                    </a:cubicBezTo>
                    <a:cubicBezTo>
                      <a:pt x="14" y="396"/>
                      <a:pt x="13" y="396"/>
                      <a:pt x="13" y="397"/>
                    </a:cubicBezTo>
                    <a:cubicBezTo>
                      <a:pt x="14" y="398"/>
                      <a:pt x="13" y="400"/>
                      <a:pt x="13" y="402"/>
                    </a:cubicBezTo>
                    <a:cubicBezTo>
                      <a:pt x="13" y="404"/>
                      <a:pt x="16" y="406"/>
                      <a:pt x="15" y="408"/>
                    </a:cubicBezTo>
                    <a:cubicBezTo>
                      <a:pt x="15" y="412"/>
                      <a:pt x="15" y="413"/>
                      <a:pt x="12" y="415"/>
                    </a:cubicBezTo>
                    <a:cubicBezTo>
                      <a:pt x="8" y="418"/>
                      <a:pt x="8" y="417"/>
                      <a:pt x="10" y="421"/>
                    </a:cubicBezTo>
                    <a:cubicBezTo>
                      <a:pt x="11" y="424"/>
                      <a:pt x="12" y="426"/>
                      <a:pt x="12" y="429"/>
                    </a:cubicBezTo>
                    <a:cubicBezTo>
                      <a:pt x="12" y="431"/>
                      <a:pt x="11" y="435"/>
                      <a:pt x="12" y="437"/>
                    </a:cubicBezTo>
                    <a:cubicBezTo>
                      <a:pt x="13" y="439"/>
                      <a:pt x="15" y="442"/>
                      <a:pt x="17" y="442"/>
                    </a:cubicBezTo>
                    <a:cubicBezTo>
                      <a:pt x="17" y="442"/>
                      <a:pt x="17" y="442"/>
                      <a:pt x="17" y="442"/>
                    </a:cubicBezTo>
                    <a:cubicBezTo>
                      <a:pt x="19" y="442"/>
                      <a:pt x="20" y="439"/>
                      <a:pt x="19" y="438"/>
                    </a:cubicBezTo>
                    <a:cubicBezTo>
                      <a:pt x="24" y="438"/>
                      <a:pt x="27" y="442"/>
                      <a:pt x="31" y="444"/>
                    </a:cubicBezTo>
                    <a:cubicBezTo>
                      <a:pt x="33" y="445"/>
                      <a:pt x="45" y="448"/>
                      <a:pt x="45" y="449"/>
                    </a:cubicBezTo>
                    <a:cubicBezTo>
                      <a:pt x="44" y="452"/>
                      <a:pt x="43" y="454"/>
                      <a:pt x="45" y="454"/>
                    </a:cubicBezTo>
                    <a:cubicBezTo>
                      <a:pt x="45" y="454"/>
                      <a:pt x="46" y="454"/>
                      <a:pt x="47" y="454"/>
                    </a:cubicBezTo>
                    <a:cubicBezTo>
                      <a:pt x="51" y="453"/>
                      <a:pt x="55" y="450"/>
                      <a:pt x="58" y="448"/>
                    </a:cubicBezTo>
                    <a:cubicBezTo>
                      <a:pt x="58" y="450"/>
                      <a:pt x="56" y="452"/>
                      <a:pt x="54" y="454"/>
                    </a:cubicBezTo>
                    <a:cubicBezTo>
                      <a:pt x="55" y="453"/>
                      <a:pt x="55" y="452"/>
                      <a:pt x="55" y="451"/>
                    </a:cubicBezTo>
                    <a:cubicBezTo>
                      <a:pt x="53" y="451"/>
                      <a:pt x="53" y="453"/>
                      <a:pt x="51" y="454"/>
                    </a:cubicBezTo>
                    <a:cubicBezTo>
                      <a:pt x="50" y="454"/>
                      <a:pt x="47" y="454"/>
                      <a:pt x="45" y="455"/>
                    </a:cubicBezTo>
                    <a:cubicBezTo>
                      <a:pt x="45" y="455"/>
                      <a:pt x="41" y="455"/>
                      <a:pt x="41" y="456"/>
                    </a:cubicBezTo>
                    <a:cubicBezTo>
                      <a:pt x="39" y="458"/>
                      <a:pt x="44" y="457"/>
                      <a:pt x="45" y="458"/>
                    </a:cubicBezTo>
                    <a:cubicBezTo>
                      <a:pt x="45" y="458"/>
                      <a:pt x="44" y="458"/>
                      <a:pt x="44" y="458"/>
                    </a:cubicBezTo>
                    <a:cubicBezTo>
                      <a:pt x="42" y="458"/>
                      <a:pt x="41" y="458"/>
                      <a:pt x="42" y="460"/>
                    </a:cubicBezTo>
                    <a:cubicBezTo>
                      <a:pt x="41" y="460"/>
                      <a:pt x="41" y="460"/>
                      <a:pt x="41" y="460"/>
                    </a:cubicBezTo>
                    <a:cubicBezTo>
                      <a:pt x="39" y="460"/>
                      <a:pt x="40" y="462"/>
                      <a:pt x="39" y="464"/>
                    </a:cubicBezTo>
                    <a:cubicBezTo>
                      <a:pt x="45" y="464"/>
                      <a:pt x="49" y="465"/>
                      <a:pt x="51" y="460"/>
                    </a:cubicBezTo>
                    <a:cubicBezTo>
                      <a:pt x="52" y="459"/>
                      <a:pt x="53" y="458"/>
                      <a:pt x="53" y="457"/>
                    </a:cubicBezTo>
                    <a:cubicBezTo>
                      <a:pt x="53" y="457"/>
                      <a:pt x="53" y="457"/>
                      <a:pt x="53" y="457"/>
                    </a:cubicBezTo>
                    <a:cubicBezTo>
                      <a:pt x="54" y="460"/>
                      <a:pt x="61" y="461"/>
                      <a:pt x="63" y="462"/>
                    </a:cubicBezTo>
                    <a:cubicBezTo>
                      <a:pt x="63" y="463"/>
                      <a:pt x="61" y="466"/>
                      <a:pt x="61" y="468"/>
                    </a:cubicBezTo>
                    <a:cubicBezTo>
                      <a:pt x="62" y="467"/>
                      <a:pt x="63" y="465"/>
                      <a:pt x="65" y="464"/>
                    </a:cubicBezTo>
                    <a:cubicBezTo>
                      <a:pt x="64" y="466"/>
                      <a:pt x="63" y="467"/>
                      <a:pt x="61" y="468"/>
                    </a:cubicBezTo>
                    <a:cubicBezTo>
                      <a:pt x="67" y="465"/>
                      <a:pt x="70" y="464"/>
                      <a:pt x="75" y="464"/>
                    </a:cubicBezTo>
                    <a:cubicBezTo>
                      <a:pt x="76" y="464"/>
                      <a:pt x="77" y="464"/>
                      <a:pt x="78" y="464"/>
                    </a:cubicBezTo>
                    <a:cubicBezTo>
                      <a:pt x="78" y="464"/>
                      <a:pt x="78" y="464"/>
                      <a:pt x="78" y="464"/>
                    </a:cubicBezTo>
                    <a:cubicBezTo>
                      <a:pt x="82" y="464"/>
                      <a:pt x="90" y="463"/>
                      <a:pt x="92" y="461"/>
                    </a:cubicBezTo>
                    <a:cubicBezTo>
                      <a:pt x="93" y="461"/>
                      <a:pt x="93" y="461"/>
                      <a:pt x="94" y="461"/>
                    </a:cubicBezTo>
                    <a:cubicBezTo>
                      <a:pt x="95" y="461"/>
                      <a:pt x="95" y="462"/>
                      <a:pt x="96" y="462"/>
                    </a:cubicBezTo>
                    <a:cubicBezTo>
                      <a:pt x="97" y="463"/>
                      <a:pt x="97" y="464"/>
                      <a:pt x="98" y="464"/>
                    </a:cubicBezTo>
                    <a:cubicBezTo>
                      <a:pt x="98" y="464"/>
                      <a:pt x="99" y="464"/>
                      <a:pt x="99" y="463"/>
                    </a:cubicBezTo>
                    <a:cubicBezTo>
                      <a:pt x="101" y="462"/>
                      <a:pt x="101" y="459"/>
                      <a:pt x="100" y="457"/>
                    </a:cubicBezTo>
                    <a:cubicBezTo>
                      <a:pt x="106" y="455"/>
                      <a:pt x="113" y="456"/>
                      <a:pt x="119" y="455"/>
                    </a:cubicBezTo>
                    <a:cubicBezTo>
                      <a:pt x="121" y="454"/>
                      <a:pt x="126" y="454"/>
                      <a:pt x="128" y="452"/>
                    </a:cubicBezTo>
                    <a:cubicBezTo>
                      <a:pt x="130" y="451"/>
                      <a:pt x="131" y="449"/>
                      <a:pt x="133" y="448"/>
                    </a:cubicBezTo>
                    <a:cubicBezTo>
                      <a:pt x="134" y="450"/>
                      <a:pt x="138" y="452"/>
                      <a:pt x="140" y="453"/>
                    </a:cubicBezTo>
                    <a:cubicBezTo>
                      <a:pt x="139" y="451"/>
                      <a:pt x="140" y="450"/>
                      <a:pt x="140" y="448"/>
                    </a:cubicBezTo>
                    <a:cubicBezTo>
                      <a:pt x="141" y="449"/>
                      <a:pt x="142" y="449"/>
                      <a:pt x="144" y="449"/>
                    </a:cubicBezTo>
                    <a:cubicBezTo>
                      <a:pt x="144" y="449"/>
                      <a:pt x="144" y="449"/>
                      <a:pt x="145" y="449"/>
                    </a:cubicBezTo>
                    <a:cubicBezTo>
                      <a:pt x="143" y="449"/>
                      <a:pt x="143" y="447"/>
                      <a:pt x="142" y="446"/>
                    </a:cubicBezTo>
                    <a:cubicBezTo>
                      <a:pt x="142" y="445"/>
                      <a:pt x="142" y="444"/>
                      <a:pt x="142" y="444"/>
                    </a:cubicBezTo>
                    <a:cubicBezTo>
                      <a:pt x="143" y="444"/>
                      <a:pt x="144" y="445"/>
                      <a:pt x="145" y="445"/>
                    </a:cubicBezTo>
                    <a:cubicBezTo>
                      <a:pt x="146" y="446"/>
                      <a:pt x="148" y="446"/>
                      <a:pt x="149" y="446"/>
                    </a:cubicBezTo>
                    <a:cubicBezTo>
                      <a:pt x="149" y="446"/>
                      <a:pt x="150" y="446"/>
                      <a:pt x="150" y="446"/>
                    </a:cubicBezTo>
                    <a:cubicBezTo>
                      <a:pt x="156" y="443"/>
                      <a:pt x="162" y="442"/>
                      <a:pt x="169" y="442"/>
                    </a:cubicBezTo>
                    <a:cubicBezTo>
                      <a:pt x="172" y="442"/>
                      <a:pt x="176" y="442"/>
                      <a:pt x="179" y="442"/>
                    </a:cubicBezTo>
                    <a:cubicBezTo>
                      <a:pt x="180" y="440"/>
                      <a:pt x="180" y="440"/>
                      <a:pt x="180" y="440"/>
                    </a:cubicBezTo>
                    <a:cubicBezTo>
                      <a:pt x="181" y="440"/>
                      <a:pt x="181" y="440"/>
                      <a:pt x="181" y="440"/>
                    </a:cubicBezTo>
                    <a:cubicBezTo>
                      <a:pt x="181" y="440"/>
                      <a:pt x="182" y="440"/>
                      <a:pt x="182" y="440"/>
                    </a:cubicBezTo>
                    <a:cubicBezTo>
                      <a:pt x="185" y="440"/>
                      <a:pt x="189" y="438"/>
                      <a:pt x="193" y="436"/>
                    </a:cubicBezTo>
                    <a:cubicBezTo>
                      <a:pt x="203" y="426"/>
                      <a:pt x="215" y="417"/>
                      <a:pt x="227" y="409"/>
                    </a:cubicBezTo>
                    <a:cubicBezTo>
                      <a:pt x="236" y="403"/>
                      <a:pt x="244" y="395"/>
                      <a:pt x="252" y="387"/>
                    </a:cubicBezTo>
                    <a:cubicBezTo>
                      <a:pt x="255" y="383"/>
                      <a:pt x="258" y="380"/>
                      <a:pt x="261" y="377"/>
                    </a:cubicBezTo>
                    <a:cubicBezTo>
                      <a:pt x="266" y="372"/>
                      <a:pt x="272" y="367"/>
                      <a:pt x="278" y="362"/>
                    </a:cubicBezTo>
                    <a:cubicBezTo>
                      <a:pt x="279" y="361"/>
                      <a:pt x="280" y="360"/>
                      <a:pt x="281" y="359"/>
                    </a:cubicBezTo>
                    <a:cubicBezTo>
                      <a:pt x="284" y="357"/>
                      <a:pt x="287" y="354"/>
                      <a:pt x="288" y="352"/>
                    </a:cubicBezTo>
                    <a:cubicBezTo>
                      <a:pt x="289" y="350"/>
                      <a:pt x="290" y="348"/>
                      <a:pt x="291" y="346"/>
                    </a:cubicBezTo>
                    <a:cubicBezTo>
                      <a:pt x="291" y="346"/>
                      <a:pt x="291" y="346"/>
                      <a:pt x="291" y="346"/>
                    </a:cubicBezTo>
                    <a:cubicBezTo>
                      <a:pt x="292" y="344"/>
                      <a:pt x="293" y="341"/>
                      <a:pt x="294" y="339"/>
                    </a:cubicBezTo>
                    <a:cubicBezTo>
                      <a:pt x="295" y="337"/>
                      <a:pt x="295" y="337"/>
                      <a:pt x="294" y="335"/>
                    </a:cubicBezTo>
                    <a:cubicBezTo>
                      <a:pt x="293" y="335"/>
                      <a:pt x="293" y="334"/>
                      <a:pt x="292" y="333"/>
                    </a:cubicBezTo>
                    <a:cubicBezTo>
                      <a:pt x="285" y="323"/>
                      <a:pt x="274" y="317"/>
                      <a:pt x="264" y="310"/>
                    </a:cubicBezTo>
                    <a:cubicBezTo>
                      <a:pt x="263" y="310"/>
                      <a:pt x="263" y="310"/>
                      <a:pt x="263" y="310"/>
                    </a:cubicBezTo>
                    <a:cubicBezTo>
                      <a:pt x="259" y="307"/>
                      <a:pt x="256" y="305"/>
                      <a:pt x="253" y="303"/>
                    </a:cubicBezTo>
                    <a:cubicBezTo>
                      <a:pt x="248" y="299"/>
                      <a:pt x="248" y="299"/>
                      <a:pt x="248" y="299"/>
                    </a:cubicBezTo>
                    <a:cubicBezTo>
                      <a:pt x="253" y="297"/>
                      <a:pt x="253" y="297"/>
                      <a:pt x="253" y="297"/>
                    </a:cubicBezTo>
                    <a:cubicBezTo>
                      <a:pt x="258" y="294"/>
                      <a:pt x="261" y="292"/>
                      <a:pt x="265" y="288"/>
                    </a:cubicBezTo>
                    <a:cubicBezTo>
                      <a:pt x="267" y="286"/>
                      <a:pt x="267" y="286"/>
                      <a:pt x="267" y="286"/>
                    </a:cubicBezTo>
                    <a:cubicBezTo>
                      <a:pt x="268" y="285"/>
                      <a:pt x="270" y="282"/>
                      <a:pt x="268" y="280"/>
                    </a:cubicBezTo>
                    <a:cubicBezTo>
                      <a:pt x="268" y="279"/>
                      <a:pt x="264" y="278"/>
                      <a:pt x="262" y="277"/>
                    </a:cubicBezTo>
                    <a:cubicBezTo>
                      <a:pt x="261" y="277"/>
                      <a:pt x="260" y="276"/>
                      <a:pt x="259" y="276"/>
                    </a:cubicBezTo>
                    <a:cubicBezTo>
                      <a:pt x="256" y="274"/>
                      <a:pt x="254" y="269"/>
                      <a:pt x="252" y="266"/>
                    </a:cubicBezTo>
                    <a:cubicBezTo>
                      <a:pt x="252" y="265"/>
                      <a:pt x="252" y="265"/>
                      <a:pt x="252" y="265"/>
                    </a:cubicBezTo>
                    <a:cubicBezTo>
                      <a:pt x="252" y="264"/>
                      <a:pt x="252" y="263"/>
                      <a:pt x="251" y="263"/>
                    </a:cubicBezTo>
                    <a:cubicBezTo>
                      <a:pt x="250" y="260"/>
                      <a:pt x="250" y="260"/>
                      <a:pt x="250" y="260"/>
                    </a:cubicBezTo>
                    <a:cubicBezTo>
                      <a:pt x="253" y="258"/>
                      <a:pt x="253" y="258"/>
                      <a:pt x="253" y="258"/>
                    </a:cubicBezTo>
                    <a:cubicBezTo>
                      <a:pt x="254" y="258"/>
                      <a:pt x="254" y="258"/>
                      <a:pt x="255" y="258"/>
                    </a:cubicBezTo>
                    <a:cubicBezTo>
                      <a:pt x="256" y="257"/>
                      <a:pt x="256" y="257"/>
                      <a:pt x="256" y="257"/>
                    </a:cubicBezTo>
                    <a:cubicBezTo>
                      <a:pt x="256" y="257"/>
                      <a:pt x="256" y="257"/>
                      <a:pt x="256" y="257"/>
                    </a:cubicBezTo>
                    <a:cubicBezTo>
                      <a:pt x="254" y="256"/>
                      <a:pt x="254" y="256"/>
                      <a:pt x="251" y="256"/>
                    </a:cubicBezTo>
                    <a:cubicBezTo>
                      <a:pt x="246" y="255"/>
                      <a:pt x="242" y="250"/>
                      <a:pt x="241" y="245"/>
                    </a:cubicBezTo>
                    <a:cubicBezTo>
                      <a:pt x="240" y="240"/>
                      <a:pt x="244" y="237"/>
                      <a:pt x="246" y="236"/>
                    </a:cubicBezTo>
                    <a:cubicBezTo>
                      <a:pt x="245" y="236"/>
                      <a:pt x="245" y="236"/>
                      <a:pt x="245" y="236"/>
                    </a:cubicBezTo>
                    <a:cubicBezTo>
                      <a:pt x="245" y="235"/>
                      <a:pt x="244" y="235"/>
                      <a:pt x="244" y="235"/>
                    </a:cubicBezTo>
                    <a:cubicBezTo>
                      <a:pt x="239" y="233"/>
                      <a:pt x="241" y="229"/>
                      <a:pt x="241" y="226"/>
                    </a:cubicBezTo>
                    <a:cubicBezTo>
                      <a:pt x="242" y="225"/>
                      <a:pt x="242" y="225"/>
                      <a:pt x="242" y="225"/>
                    </a:cubicBezTo>
                    <a:cubicBezTo>
                      <a:pt x="242" y="224"/>
                      <a:pt x="242" y="224"/>
                      <a:pt x="242" y="224"/>
                    </a:cubicBezTo>
                    <a:cubicBezTo>
                      <a:pt x="242" y="224"/>
                      <a:pt x="242" y="224"/>
                      <a:pt x="242" y="224"/>
                    </a:cubicBezTo>
                    <a:cubicBezTo>
                      <a:pt x="243" y="221"/>
                      <a:pt x="245" y="218"/>
                      <a:pt x="245" y="216"/>
                    </a:cubicBezTo>
                    <a:cubicBezTo>
                      <a:pt x="245" y="216"/>
                      <a:pt x="245" y="215"/>
                      <a:pt x="244" y="215"/>
                    </a:cubicBezTo>
                    <a:cubicBezTo>
                      <a:pt x="241" y="211"/>
                      <a:pt x="241" y="211"/>
                      <a:pt x="241" y="211"/>
                    </a:cubicBezTo>
                    <a:cubicBezTo>
                      <a:pt x="246" y="210"/>
                      <a:pt x="246" y="210"/>
                      <a:pt x="246" y="210"/>
                    </a:cubicBezTo>
                    <a:cubicBezTo>
                      <a:pt x="248" y="209"/>
                      <a:pt x="251" y="209"/>
                      <a:pt x="253" y="209"/>
                    </a:cubicBezTo>
                    <a:cubicBezTo>
                      <a:pt x="239" y="176"/>
                      <a:pt x="239" y="176"/>
                      <a:pt x="239" y="176"/>
                    </a:cubicBezTo>
                    <a:cubicBezTo>
                      <a:pt x="238" y="172"/>
                      <a:pt x="235" y="169"/>
                      <a:pt x="233" y="166"/>
                    </a:cubicBezTo>
                    <a:cubicBezTo>
                      <a:pt x="233" y="165"/>
                      <a:pt x="232" y="164"/>
                      <a:pt x="231" y="163"/>
                    </a:cubicBezTo>
                    <a:cubicBezTo>
                      <a:pt x="231" y="163"/>
                      <a:pt x="231" y="162"/>
                      <a:pt x="230" y="162"/>
                    </a:cubicBezTo>
                    <a:cubicBezTo>
                      <a:pt x="230" y="162"/>
                      <a:pt x="230" y="162"/>
                      <a:pt x="230" y="162"/>
                    </a:cubicBezTo>
                    <a:cubicBezTo>
                      <a:pt x="229" y="161"/>
                      <a:pt x="227" y="159"/>
                      <a:pt x="226" y="157"/>
                    </a:cubicBezTo>
                    <a:cubicBezTo>
                      <a:pt x="225" y="156"/>
                      <a:pt x="225" y="154"/>
                      <a:pt x="225" y="153"/>
                    </a:cubicBezTo>
                    <a:cubicBezTo>
                      <a:pt x="225" y="151"/>
                      <a:pt x="225" y="149"/>
                      <a:pt x="226" y="148"/>
                    </a:cubicBezTo>
                    <a:cubicBezTo>
                      <a:pt x="250" y="116"/>
                      <a:pt x="250" y="116"/>
                      <a:pt x="250" y="116"/>
                    </a:cubicBezTo>
                    <a:cubicBezTo>
                      <a:pt x="249" y="115"/>
                      <a:pt x="247" y="114"/>
                      <a:pt x="246" y="114"/>
                    </a:cubicBezTo>
                    <a:cubicBezTo>
                      <a:pt x="246" y="113"/>
                      <a:pt x="245" y="113"/>
                      <a:pt x="245" y="113"/>
                    </a:cubicBezTo>
                    <a:cubicBezTo>
                      <a:pt x="242" y="110"/>
                      <a:pt x="240" y="107"/>
                      <a:pt x="239" y="105"/>
                    </a:cubicBezTo>
                    <a:cubicBezTo>
                      <a:pt x="237" y="102"/>
                      <a:pt x="235" y="99"/>
                      <a:pt x="231" y="98"/>
                    </a:cubicBezTo>
                    <a:cubicBezTo>
                      <a:pt x="231" y="98"/>
                      <a:pt x="230" y="98"/>
                      <a:pt x="230" y="98"/>
                    </a:cubicBezTo>
                    <a:cubicBezTo>
                      <a:pt x="230" y="98"/>
                      <a:pt x="229" y="98"/>
                      <a:pt x="228" y="98"/>
                    </a:cubicBezTo>
                    <a:cubicBezTo>
                      <a:pt x="228" y="97"/>
                      <a:pt x="228" y="97"/>
                      <a:pt x="228" y="97"/>
                    </a:cubicBezTo>
                    <a:cubicBezTo>
                      <a:pt x="223" y="97"/>
                      <a:pt x="218" y="96"/>
                      <a:pt x="216" y="93"/>
                    </a:cubicBezTo>
                    <a:cubicBezTo>
                      <a:pt x="213" y="91"/>
                      <a:pt x="212" y="87"/>
                      <a:pt x="211" y="84"/>
                    </a:cubicBezTo>
                    <a:cubicBezTo>
                      <a:pt x="211" y="83"/>
                      <a:pt x="211" y="83"/>
                      <a:pt x="211" y="83"/>
                    </a:cubicBezTo>
                    <a:cubicBezTo>
                      <a:pt x="210" y="82"/>
                      <a:pt x="210" y="81"/>
                      <a:pt x="210" y="80"/>
                    </a:cubicBezTo>
                    <a:cubicBezTo>
                      <a:pt x="208" y="76"/>
                      <a:pt x="210" y="72"/>
                      <a:pt x="211" y="69"/>
                    </a:cubicBezTo>
                    <a:cubicBezTo>
                      <a:pt x="212" y="68"/>
                      <a:pt x="212" y="68"/>
                      <a:pt x="212" y="68"/>
                    </a:cubicBezTo>
                    <a:cubicBezTo>
                      <a:pt x="212" y="68"/>
                      <a:pt x="212" y="67"/>
                      <a:pt x="212" y="67"/>
                    </a:cubicBezTo>
                    <a:cubicBezTo>
                      <a:pt x="213" y="65"/>
                      <a:pt x="213" y="65"/>
                      <a:pt x="213" y="65"/>
                    </a:cubicBezTo>
                    <a:cubicBezTo>
                      <a:pt x="213" y="63"/>
                      <a:pt x="214" y="62"/>
                      <a:pt x="214" y="61"/>
                    </a:cubicBezTo>
                    <a:cubicBezTo>
                      <a:pt x="214" y="61"/>
                      <a:pt x="214" y="61"/>
                      <a:pt x="214" y="61"/>
                    </a:cubicBezTo>
                    <a:cubicBezTo>
                      <a:pt x="212" y="61"/>
                      <a:pt x="210" y="61"/>
                      <a:pt x="209" y="60"/>
                    </a:cubicBezTo>
                    <a:cubicBezTo>
                      <a:pt x="203" y="56"/>
                      <a:pt x="203" y="56"/>
                      <a:pt x="203" y="56"/>
                    </a:cubicBezTo>
                    <a:cubicBezTo>
                      <a:pt x="209" y="53"/>
                      <a:pt x="209" y="53"/>
                      <a:pt x="209" y="53"/>
                    </a:cubicBezTo>
                    <a:cubicBezTo>
                      <a:pt x="211" y="52"/>
                      <a:pt x="213" y="52"/>
                      <a:pt x="215" y="51"/>
                    </a:cubicBezTo>
                    <a:cubicBezTo>
                      <a:pt x="220" y="49"/>
                      <a:pt x="220" y="49"/>
                      <a:pt x="220" y="49"/>
                    </a:cubicBezTo>
                    <a:cubicBezTo>
                      <a:pt x="220" y="49"/>
                      <a:pt x="221" y="49"/>
                      <a:pt x="222" y="49"/>
                    </a:cubicBezTo>
                    <a:cubicBezTo>
                      <a:pt x="222" y="48"/>
                      <a:pt x="222" y="48"/>
                      <a:pt x="222" y="48"/>
                    </a:cubicBezTo>
                    <a:cubicBezTo>
                      <a:pt x="223" y="48"/>
                      <a:pt x="223" y="48"/>
                      <a:pt x="223" y="48"/>
                    </a:cubicBezTo>
                    <a:cubicBezTo>
                      <a:pt x="222" y="47"/>
                      <a:pt x="222" y="47"/>
                      <a:pt x="222" y="47"/>
                    </a:cubicBezTo>
                    <a:cubicBezTo>
                      <a:pt x="222" y="47"/>
                      <a:pt x="222" y="47"/>
                      <a:pt x="222" y="47"/>
                    </a:cubicBezTo>
                    <a:cubicBezTo>
                      <a:pt x="222" y="47"/>
                      <a:pt x="222" y="47"/>
                      <a:pt x="222" y="47"/>
                    </a:cubicBezTo>
                    <a:cubicBezTo>
                      <a:pt x="222" y="46"/>
                      <a:pt x="222" y="46"/>
                      <a:pt x="222" y="46"/>
                    </a:cubicBezTo>
                    <a:cubicBezTo>
                      <a:pt x="222" y="45"/>
                      <a:pt x="222" y="44"/>
                      <a:pt x="222" y="43"/>
                    </a:cubicBezTo>
                    <a:cubicBezTo>
                      <a:pt x="221" y="42"/>
                      <a:pt x="222" y="41"/>
                      <a:pt x="222" y="41"/>
                    </a:cubicBezTo>
                    <a:cubicBezTo>
                      <a:pt x="222" y="39"/>
                      <a:pt x="222" y="38"/>
                      <a:pt x="223" y="37"/>
                    </a:cubicBezTo>
                    <a:cubicBezTo>
                      <a:pt x="225" y="34"/>
                      <a:pt x="225" y="34"/>
                      <a:pt x="225" y="34"/>
                    </a:cubicBezTo>
                    <a:cubicBezTo>
                      <a:pt x="226" y="33"/>
                      <a:pt x="227" y="32"/>
                      <a:pt x="228" y="31"/>
                    </a:cubicBezTo>
                    <a:cubicBezTo>
                      <a:pt x="229" y="30"/>
                      <a:pt x="230" y="28"/>
                      <a:pt x="231" y="27"/>
                    </a:cubicBezTo>
                    <a:cubicBezTo>
                      <a:pt x="231" y="27"/>
                      <a:pt x="231" y="27"/>
                      <a:pt x="231" y="27"/>
                    </a:cubicBezTo>
                    <a:cubicBezTo>
                      <a:pt x="232" y="26"/>
                      <a:pt x="232" y="26"/>
                      <a:pt x="232" y="25"/>
                    </a:cubicBezTo>
                    <a:cubicBezTo>
                      <a:pt x="231" y="23"/>
                      <a:pt x="227" y="20"/>
                      <a:pt x="222" y="17"/>
                    </a:cubicBezTo>
                    <a:cubicBezTo>
                      <a:pt x="220" y="16"/>
                      <a:pt x="218" y="15"/>
                      <a:pt x="216" y="15"/>
                    </a:cubicBezTo>
                    <a:cubicBezTo>
                      <a:pt x="211" y="12"/>
                      <a:pt x="211" y="12"/>
                      <a:pt x="211" y="12"/>
                    </a:cubicBezTo>
                    <a:cubicBezTo>
                      <a:pt x="207" y="11"/>
                      <a:pt x="205" y="9"/>
                      <a:pt x="204" y="8"/>
                    </a:cubicBezTo>
                    <a:cubicBezTo>
                      <a:pt x="203" y="8"/>
                      <a:pt x="202" y="7"/>
                      <a:pt x="201" y="6"/>
                    </a:cubicBezTo>
                    <a:cubicBezTo>
                      <a:pt x="201" y="6"/>
                      <a:pt x="201" y="6"/>
                      <a:pt x="201" y="6"/>
                    </a:cubicBezTo>
                    <a:cubicBezTo>
                      <a:pt x="200" y="5"/>
                      <a:pt x="200" y="5"/>
                      <a:pt x="200" y="5"/>
                    </a:cubicBezTo>
                    <a:cubicBezTo>
                      <a:pt x="196" y="2"/>
                      <a:pt x="194" y="0"/>
                      <a:pt x="1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367"/>
              <p:cNvSpPr/>
              <p:nvPr/>
            </p:nvSpPr>
            <p:spPr bwMode="auto">
              <a:xfrm>
                <a:off x="7974590" y="4735374"/>
                <a:ext cx="582248" cy="246903"/>
              </a:xfrm>
              <a:custGeom>
                <a:gdLst>
                  <a:gd name="T0" fmla="*/ 0 w 183"/>
                  <a:gd name="T1" fmla="*/ 5 h 78"/>
                  <a:gd name="T2" fmla="*/ 13 w 183"/>
                  <a:gd name="T3" fmla="*/ 12 h 78"/>
                  <a:gd name="T4" fmla="*/ 40 w 183"/>
                  <a:gd name="T5" fmla="*/ 32 h 78"/>
                  <a:gd name="T6" fmla="*/ 47 w 183"/>
                  <a:gd name="T7" fmla="*/ 56 h 78"/>
                  <a:gd name="T8" fmla="*/ 43 w 183"/>
                  <a:gd name="T9" fmla="*/ 64 h 78"/>
                  <a:gd name="T10" fmla="*/ 49 w 183"/>
                  <a:gd name="T11" fmla="*/ 65 h 78"/>
                  <a:gd name="T12" fmla="*/ 56 w 183"/>
                  <a:gd name="T13" fmla="*/ 65 h 78"/>
                  <a:gd name="T14" fmla="*/ 66 w 183"/>
                  <a:gd name="T15" fmla="*/ 66 h 78"/>
                  <a:gd name="T16" fmla="*/ 74 w 183"/>
                  <a:gd name="T17" fmla="*/ 62 h 78"/>
                  <a:gd name="T18" fmla="*/ 82 w 183"/>
                  <a:gd name="T19" fmla="*/ 68 h 78"/>
                  <a:gd name="T20" fmla="*/ 84 w 183"/>
                  <a:gd name="T21" fmla="*/ 67 h 78"/>
                  <a:gd name="T22" fmla="*/ 86 w 183"/>
                  <a:gd name="T23" fmla="*/ 69 h 78"/>
                  <a:gd name="T24" fmla="*/ 92 w 183"/>
                  <a:gd name="T25" fmla="*/ 73 h 78"/>
                  <a:gd name="T26" fmla="*/ 96 w 183"/>
                  <a:gd name="T27" fmla="*/ 76 h 78"/>
                  <a:gd name="T28" fmla="*/ 97 w 183"/>
                  <a:gd name="T29" fmla="*/ 77 h 78"/>
                  <a:gd name="T30" fmla="*/ 101 w 183"/>
                  <a:gd name="T31" fmla="*/ 77 h 78"/>
                  <a:gd name="T32" fmla="*/ 124 w 183"/>
                  <a:gd name="T33" fmla="*/ 74 h 78"/>
                  <a:gd name="T34" fmla="*/ 128 w 183"/>
                  <a:gd name="T35" fmla="*/ 74 h 78"/>
                  <a:gd name="T36" fmla="*/ 132 w 183"/>
                  <a:gd name="T37" fmla="*/ 74 h 78"/>
                  <a:gd name="T38" fmla="*/ 132 w 183"/>
                  <a:gd name="T39" fmla="*/ 73 h 78"/>
                  <a:gd name="T40" fmla="*/ 142 w 183"/>
                  <a:gd name="T41" fmla="*/ 69 h 78"/>
                  <a:gd name="T42" fmla="*/ 149 w 183"/>
                  <a:gd name="T43" fmla="*/ 66 h 78"/>
                  <a:gd name="T44" fmla="*/ 158 w 183"/>
                  <a:gd name="T45" fmla="*/ 71 h 78"/>
                  <a:gd name="T46" fmla="*/ 162 w 183"/>
                  <a:gd name="T47" fmla="*/ 73 h 78"/>
                  <a:gd name="T48" fmla="*/ 179 w 183"/>
                  <a:gd name="T49" fmla="*/ 77 h 78"/>
                  <a:gd name="T50" fmla="*/ 182 w 183"/>
                  <a:gd name="T51" fmla="*/ 75 h 78"/>
                  <a:gd name="T52" fmla="*/ 172 w 183"/>
                  <a:gd name="T53" fmla="*/ 67 h 78"/>
                  <a:gd name="T54" fmla="*/ 175 w 183"/>
                  <a:gd name="T55" fmla="*/ 56 h 78"/>
                  <a:gd name="T56" fmla="*/ 157 w 183"/>
                  <a:gd name="T57" fmla="*/ 48 h 78"/>
                  <a:gd name="T58" fmla="*/ 155 w 183"/>
                  <a:gd name="T59" fmla="*/ 37 h 78"/>
                  <a:gd name="T60" fmla="*/ 138 w 183"/>
                  <a:gd name="T61" fmla="*/ 29 h 78"/>
                  <a:gd name="T62" fmla="*/ 135 w 183"/>
                  <a:gd name="T63" fmla="*/ 40 h 78"/>
                  <a:gd name="T64" fmla="*/ 127 w 183"/>
                  <a:gd name="T65" fmla="*/ 29 h 78"/>
                  <a:gd name="T66" fmla="*/ 120 w 183"/>
                  <a:gd name="T67" fmla="*/ 31 h 78"/>
                  <a:gd name="T68" fmla="*/ 107 w 183"/>
                  <a:gd name="T69" fmla="*/ 34 h 78"/>
                  <a:gd name="T70" fmla="*/ 100 w 183"/>
                  <a:gd name="T71" fmla="*/ 29 h 78"/>
                  <a:gd name="T72" fmla="*/ 100 w 183"/>
                  <a:gd name="T73" fmla="*/ 27 h 78"/>
                  <a:gd name="T74" fmla="*/ 67 w 183"/>
                  <a:gd name="T75" fmla="*/ 12 h 78"/>
                  <a:gd name="T76" fmla="*/ 56 w 183"/>
                  <a:gd name="T77" fmla="*/ 13 h 78"/>
                  <a:gd name="T78" fmla="*/ 15 w 183"/>
                  <a:gd name="T79" fmla="*/ 2 h 78"/>
                  <a:gd name="T80" fmla="*/ 11 w 183"/>
                  <a:gd name="T81" fmla="*/ 2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3" h="78">
                    <a:moveTo>
                      <a:pt x="2" y="0"/>
                    </a:moveTo>
                    <a:cubicBezTo>
                      <a:pt x="2" y="1"/>
                      <a:pt x="1" y="3"/>
                      <a:pt x="0" y="5"/>
                    </a:cubicBezTo>
                    <a:cubicBezTo>
                      <a:pt x="0" y="6"/>
                      <a:pt x="0" y="6"/>
                      <a:pt x="0" y="6"/>
                    </a:cubicBezTo>
                    <a:cubicBezTo>
                      <a:pt x="4" y="9"/>
                      <a:pt x="8" y="11"/>
                      <a:pt x="13" y="12"/>
                    </a:cubicBezTo>
                    <a:cubicBezTo>
                      <a:pt x="19" y="14"/>
                      <a:pt x="25" y="15"/>
                      <a:pt x="28" y="21"/>
                    </a:cubicBezTo>
                    <a:cubicBezTo>
                      <a:pt x="31" y="27"/>
                      <a:pt x="39" y="26"/>
                      <a:pt x="40" y="32"/>
                    </a:cubicBezTo>
                    <a:cubicBezTo>
                      <a:pt x="41" y="36"/>
                      <a:pt x="42" y="46"/>
                      <a:pt x="47" y="46"/>
                    </a:cubicBezTo>
                    <a:cubicBezTo>
                      <a:pt x="44" y="50"/>
                      <a:pt x="48" y="52"/>
                      <a:pt x="47" y="56"/>
                    </a:cubicBezTo>
                    <a:cubicBezTo>
                      <a:pt x="46" y="60"/>
                      <a:pt x="45" y="62"/>
                      <a:pt x="43" y="64"/>
                    </a:cubicBezTo>
                    <a:cubicBezTo>
                      <a:pt x="43" y="64"/>
                      <a:pt x="43" y="64"/>
                      <a:pt x="43" y="64"/>
                    </a:cubicBezTo>
                    <a:cubicBezTo>
                      <a:pt x="44" y="65"/>
                      <a:pt x="45" y="65"/>
                      <a:pt x="46" y="65"/>
                    </a:cubicBezTo>
                    <a:cubicBezTo>
                      <a:pt x="47" y="65"/>
                      <a:pt x="48" y="65"/>
                      <a:pt x="49" y="65"/>
                    </a:cubicBezTo>
                    <a:cubicBezTo>
                      <a:pt x="51" y="65"/>
                      <a:pt x="52" y="65"/>
                      <a:pt x="53" y="65"/>
                    </a:cubicBezTo>
                    <a:cubicBezTo>
                      <a:pt x="54" y="65"/>
                      <a:pt x="55" y="65"/>
                      <a:pt x="56" y="65"/>
                    </a:cubicBezTo>
                    <a:cubicBezTo>
                      <a:pt x="58" y="65"/>
                      <a:pt x="58" y="65"/>
                      <a:pt x="58" y="65"/>
                    </a:cubicBezTo>
                    <a:cubicBezTo>
                      <a:pt x="61" y="65"/>
                      <a:pt x="63" y="66"/>
                      <a:pt x="66" y="66"/>
                    </a:cubicBezTo>
                    <a:cubicBezTo>
                      <a:pt x="67" y="64"/>
                      <a:pt x="69" y="62"/>
                      <a:pt x="71" y="62"/>
                    </a:cubicBezTo>
                    <a:cubicBezTo>
                      <a:pt x="72" y="62"/>
                      <a:pt x="73" y="62"/>
                      <a:pt x="74" y="62"/>
                    </a:cubicBezTo>
                    <a:cubicBezTo>
                      <a:pt x="77" y="62"/>
                      <a:pt x="80" y="63"/>
                      <a:pt x="83" y="66"/>
                    </a:cubicBezTo>
                    <a:cubicBezTo>
                      <a:pt x="82" y="68"/>
                      <a:pt x="82" y="68"/>
                      <a:pt x="82" y="68"/>
                    </a:cubicBezTo>
                    <a:cubicBezTo>
                      <a:pt x="83" y="67"/>
                      <a:pt x="83" y="67"/>
                      <a:pt x="83" y="67"/>
                    </a:cubicBezTo>
                    <a:cubicBezTo>
                      <a:pt x="84" y="67"/>
                      <a:pt x="84" y="67"/>
                      <a:pt x="84" y="67"/>
                    </a:cubicBezTo>
                    <a:cubicBezTo>
                      <a:pt x="84" y="68"/>
                      <a:pt x="85" y="68"/>
                      <a:pt x="85" y="68"/>
                    </a:cubicBezTo>
                    <a:cubicBezTo>
                      <a:pt x="85" y="69"/>
                      <a:pt x="86" y="69"/>
                      <a:pt x="86" y="69"/>
                    </a:cubicBezTo>
                    <a:cubicBezTo>
                      <a:pt x="87" y="70"/>
                      <a:pt x="87" y="70"/>
                      <a:pt x="87" y="70"/>
                    </a:cubicBezTo>
                    <a:cubicBezTo>
                      <a:pt x="89" y="71"/>
                      <a:pt x="90" y="72"/>
                      <a:pt x="92" y="73"/>
                    </a:cubicBezTo>
                    <a:cubicBezTo>
                      <a:pt x="93" y="74"/>
                      <a:pt x="93" y="74"/>
                      <a:pt x="93" y="74"/>
                    </a:cubicBezTo>
                    <a:cubicBezTo>
                      <a:pt x="94" y="75"/>
                      <a:pt x="95" y="76"/>
                      <a:pt x="96" y="76"/>
                    </a:cubicBezTo>
                    <a:cubicBezTo>
                      <a:pt x="97" y="77"/>
                      <a:pt x="97" y="77"/>
                      <a:pt x="97" y="77"/>
                    </a:cubicBezTo>
                    <a:cubicBezTo>
                      <a:pt x="97" y="77"/>
                      <a:pt x="97" y="77"/>
                      <a:pt x="97" y="77"/>
                    </a:cubicBezTo>
                    <a:cubicBezTo>
                      <a:pt x="98" y="77"/>
                      <a:pt x="98" y="77"/>
                      <a:pt x="98" y="77"/>
                    </a:cubicBezTo>
                    <a:cubicBezTo>
                      <a:pt x="101" y="77"/>
                      <a:pt x="101" y="77"/>
                      <a:pt x="101" y="77"/>
                    </a:cubicBezTo>
                    <a:cubicBezTo>
                      <a:pt x="106" y="76"/>
                      <a:pt x="112" y="76"/>
                      <a:pt x="118" y="75"/>
                    </a:cubicBezTo>
                    <a:cubicBezTo>
                      <a:pt x="120" y="74"/>
                      <a:pt x="122" y="74"/>
                      <a:pt x="124" y="74"/>
                    </a:cubicBezTo>
                    <a:cubicBezTo>
                      <a:pt x="125" y="74"/>
                      <a:pt x="126" y="74"/>
                      <a:pt x="127" y="74"/>
                    </a:cubicBezTo>
                    <a:cubicBezTo>
                      <a:pt x="128" y="74"/>
                      <a:pt x="128" y="74"/>
                      <a:pt x="128" y="74"/>
                    </a:cubicBezTo>
                    <a:cubicBezTo>
                      <a:pt x="129" y="74"/>
                      <a:pt x="130" y="74"/>
                      <a:pt x="131" y="74"/>
                    </a:cubicBezTo>
                    <a:cubicBezTo>
                      <a:pt x="132" y="74"/>
                      <a:pt x="132" y="74"/>
                      <a:pt x="132" y="74"/>
                    </a:cubicBezTo>
                    <a:cubicBezTo>
                      <a:pt x="132" y="74"/>
                      <a:pt x="133" y="74"/>
                      <a:pt x="133" y="74"/>
                    </a:cubicBezTo>
                    <a:cubicBezTo>
                      <a:pt x="132" y="73"/>
                      <a:pt x="132" y="73"/>
                      <a:pt x="132" y="73"/>
                    </a:cubicBezTo>
                    <a:cubicBezTo>
                      <a:pt x="138" y="72"/>
                      <a:pt x="138" y="72"/>
                      <a:pt x="138" y="72"/>
                    </a:cubicBezTo>
                    <a:cubicBezTo>
                      <a:pt x="139" y="71"/>
                      <a:pt x="141" y="70"/>
                      <a:pt x="142" y="69"/>
                    </a:cubicBezTo>
                    <a:cubicBezTo>
                      <a:pt x="144" y="68"/>
                      <a:pt x="144" y="68"/>
                      <a:pt x="144" y="68"/>
                    </a:cubicBezTo>
                    <a:cubicBezTo>
                      <a:pt x="146" y="67"/>
                      <a:pt x="147" y="66"/>
                      <a:pt x="149" y="66"/>
                    </a:cubicBezTo>
                    <a:cubicBezTo>
                      <a:pt x="149" y="66"/>
                      <a:pt x="150" y="66"/>
                      <a:pt x="150" y="66"/>
                    </a:cubicBezTo>
                    <a:cubicBezTo>
                      <a:pt x="154" y="68"/>
                      <a:pt x="156" y="69"/>
                      <a:pt x="158" y="71"/>
                    </a:cubicBezTo>
                    <a:cubicBezTo>
                      <a:pt x="159" y="71"/>
                      <a:pt x="159" y="71"/>
                      <a:pt x="159" y="71"/>
                    </a:cubicBezTo>
                    <a:cubicBezTo>
                      <a:pt x="160" y="72"/>
                      <a:pt x="161" y="73"/>
                      <a:pt x="162" y="73"/>
                    </a:cubicBezTo>
                    <a:cubicBezTo>
                      <a:pt x="163" y="74"/>
                      <a:pt x="164" y="74"/>
                      <a:pt x="165" y="74"/>
                    </a:cubicBezTo>
                    <a:cubicBezTo>
                      <a:pt x="169" y="76"/>
                      <a:pt x="174" y="76"/>
                      <a:pt x="179" y="77"/>
                    </a:cubicBezTo>
                    <a:cubicBezTo>
                      <a:pt x="180" y="77"/>
                      <a:pt x="181" y="77"/>
                      <a:pt x="182" y="78"/>
                    </a:cubicBezTo>
                    <a:cubicBezTo>
                      <a:pt x="183" y="75"/>
                      <a:pt x="183" y="75"/>
                      <a:pt x="182" y="75"/>
                    </a:cubicBezTo>
                    <a:cubicBezTo>
                      <a:pt x="180" y="73"/>
                      <a:pt x="178" y="72"/>
                      <a:pt x="177" y="70"/>
                    </a:cubicBezTo>
                    <a:cubicBezTo>
                      <a:pt x="175" y="69"/>
                      <a:pt x="174" y="68"/>
                      <a:pt x="172" y="67"/>
                    </a:cubicBezTo>
                    <a:cubicBezTo>
                      <a:pt x="168" y="65"/>
                      <a:pt x="168" y="65"/>
                      <a:pt x="168" y="65"/>
                    </a:cubicBezTo>
                    <a:cubicBezTo>
                      <a:pt x="175" y="56"/>
                      <a:pt x="175" y="56"/>
                      <a:pt x="175" y="56"/>
                    </a:cubicBezTo>
                    <a:cubicBezTo>
                      <a:pt x="174" y="55"/>
                      <a:pt x="174" y="55"/>
                      <a:pt x="173" y="55"/>
                    </a:cubicBezTo>
                    <a:cubicBezTo>
                      <a:pt x="168" y="54"/>
                      <a:pt x="157" y="48"/>
                      <a:pt x="157" y="48"/>
                    </a:cubicBezTo>
                    <a:cubicBezTo>
                      <a:pt x="156" y="47"/>
                      <a:pt x="155" y="46"/>
                      <a:pt x="155" y="44"/>
                    </a:cubicBezTo>
                    <a:cubicBezTo>
                      <a:pt x="154" y="42"/>
                      <a:pt x="154" y="40"/>
                      <a:pt x="155" y="37"/>
                    </a:cubicBezTo>
                    <a:cubicBezTo>
                      <a:pt x="150" y="36"/>
                      <a:pt x="142" y="32"/>
                      <a:pt x="138" y="30"/>
                    </a:cubicBezTo>
                    <a:cubicBezTo>
                      <a:pt x="138" y="29"/>
                      <a:pt x="138" y="29"/>
                      <a:pt x="138" y="29"/>
                    </a:cubicBezTo>
                    <a:cubicBezTo>
                      <a:pt x="137" y="30"/>
                      <a:pt x="137" y="30"/>
                      <a:pt x="137" y="31"/>
                    </a:cubicBezTo>
                    <a:cubicBezTo>
                      <a:pt x="135" y="40"/>
                      <a:pt x="135" y="40"/>
                      <a:pt x="135" y="40"/>
                    </a:cubicBezTo>
                    <a:cubicBezTo>
                      <a:pt x="131" y="32"/>
                      <a:pt x="131" y="32"/>
                      <a:pt x="131" y="32"/>
                    </a:cubicBezTo>
                    <a:cubicBezTo>
                      <a:pt x="130" y="30"/>
                      <a:pt x="129" y="30"/>
                      <a:pt x="127" y="29"/>
                    </a:cubicBezTo>
                    <a:cubicBezTo>
                      <a:pt x="127" y="29"/>
                      <a:pt x="127" y="29"/>
                      <a:pt x="127" y="29"/>
                    </a:cubicBezTo>
                    <a:cubicBezTo>
                      <a:pt x="125" y="29"/>
                      <a:pt x="123" y="30"/>
                      <a:pt x="120" y="31"/>
                    </a:cubicBezTo>
                    <a:cubicBezTo>
                      <a:pt x="116" y="34"/>
                      <a:pt x="113" y="35"/>
                      <a:pt x="111" y="35"/>
                    </a:cubicBezTo>
                    <a:cubicBezTo>
                      <a:pt x="109" y="35"/>
                      <a:pt x="108" y="35"/>
                      <a:pt x="107" y="34"/>
                    </a:cubicBezTo>
                    <a:cubicBezTo>
                      <a:pt x="107" y="34"/>
                      <a:pt x="102" y="33"/>
                      <a:pt x="100" y="30"/>
                    </a:cubicBezTo>
                    <a:cubicBezTo>
                      <a:pt x="100" y="29"/>
                      <a:pt x="100" y="29"/>
                      <a:pt x="100" y="29"/>
                    </a:cubicBezTo>
                    <a:cubicBezTo>
                      <a:pt x="100" y="27"/>
                      <a:pt x="100" y="27"/>
                      <a:pt x="100" y="27"/>
                    </a:cubicBezTo>
                    <a:cubicBezTo>
                      <a:pt x="100" y="27"/>
                      <a:pt x="100" y="27"/>
                      <a:pt x="100" y="27"/>
                    </a:cubicBezTo>
                    <a:cubicBezTo>
                      <a:pt x="94" y="26"/>
                      <a:pt x="81" y="19"/>
                      <a:pt x="79" y="16"/>
                    </a:cubicBezTo>
                    <a:cubicBezTo>
                      <a:pt x="77" y="15"/>
                      <a:pt x="72" y="12"/>
                      <a:pt x="67" y="12"/>
                    </a:cubicBezTo>
                    <a:cubicBezTo>
                      <a:pt x="65" y="12"/>
                      <a:pt x="63" y="12"/>
                      <a:pt x="62" y="13"/>
                    </a:cubicBezTo>
                    <a:cubicBezTo>
                      <a:pt x="60" y="13"/>
                      <a:pt x="58" y="13"/>
                      <a:pt x="56" y="13"/>
                    </a:cubicBezTo>
                    <a:cubicBezTo>
                      <a:pt x="44" y="13"/>
                      <a:pt x="25" y="7"/>
                      <a:pt x="22" y="5"/>
                    </a:cubicBezTo>
                    <a:cubicBezTo>
                      <a:pt x="19" y="3"/>
                      <a:pt x="16" y="2"/>
                      <a:pt x="15" y="2"/>
                    </a:cubicBezTo>
                    <a:cubicBezTo>
                      <a:pt x="14" y="2"/>
                      <a:pt x="14" y="2"/>
                      <a:pt x="14" y="2"/>
                    </a:cubicBezTo>
                    <a:cubicBezTo>
                      <a:pt x="13" y="2"/>
                      <a:pt x="12" y="2"/>
                      <a:pt x="11" y="2"/>
                    </a:cubicBezTo>
                    <a:cubicBezTo>
                      <a:pt x="9" y="2"/>
                      <a:pt x="5"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368"/>
              <p:cNvSpPr/>
              <p:nvPr/>
            </p:nvSpPr>
            <p:spPr bwMode="auto">
              <a:xfrm>
                <a:off x="9912961" y="3618784"/>
                <a:ext cx="18426" cy="7370"/>
              </a:xfrm>
              <a:custGeom>
                <a:gdLst>
                  <a:gd name="T0" fmla="*/ 0 w 5"/>
                  <a:gd name="T1" fmla="*/ 0 h 2"/>
                  <a:gd name="T2" fmla="*/ 0 w 5"/>
                  <a:gd name="T3" fmla="*/ 1 h 2"/>
                  <a:gd name="T4" fmla="*/ 1 w 5"/>
                  <a:gd name="T5" fmla="*/ 2 h 2"/>
                  <a:gd name="T6" fmla="*/ 2 w 5"/>
                  <a:gd name="T7" fmla="*/ 2 h 2"/>
                  <a:gd name="T8" fmla="*/ 3 w 5"/>
                  <a:gd name="T9" fmla="*/ 2 h 2"/>
                  <a:gd name="T10" fmla="*/ 4 w 5"/>
                  <a:gd name="T11" fmla="*/ 2 h 2"/>
                  <a:gd name="T12" fmla="*/ 5 w 5"/>
                  <a:gd name="T13" fmla="*/ 2 h 2"/>
                  <a:gd name="T14" fmla="*/ 5 w 5"/>
                  <a:gd name="T15" fmla="*/ 2 h 2"/>
                  <a:gd name="T16" fmla="*/ 3 w 5"/>
                  <a:gd name="T17" fmla="*/ 1 h 2"/>
                  <a:gd name="T18" fmla="*/ 0 w 5"/>
                  <a:gd name="T19"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cubicBezTo>
                      <a:pt x="0" y="1"/>
                      <a:pt x="0" y="1"/>
                      <a:pt x="0" y="1"/>
                    </a:cubicBezTo>
                    <a:cubicBezTo>
                      <a:pt x="1" y="2"/>
                      <a:pt x="1" y="2"/>
                      <a:pt x="1" y="2"/>
                    </a:cubicBezTo>
                    <a:cubicBezTo>
                      <a:pt x="1" y="2"/>
                      <a:pt x="1" y="2"/>
                      <a:pt x="2" y="2"/>
                    </a:cubicBezTo>
                    <a:cubicBezTo>
                      <a:pt x="2" y="2"/>
                      <a:pt x="2" y="2"/>
                      <a:pt x="3" y="2"/>
                    </a:cubicBezTo>
                    <a:cubicBezTo>
                      <a:pt x="3" y="2"/>
                      <a:pt x="4" y="2"/>
                      <a:pt x="4" y="2"/>
                    </a:cubicBezTo>
                    <a:cubicBezTo>
                      <a:pt x="5" y="2"/>
                      <a:pt x="5" y="2"/>
                      <a:pt x="5" y="2"/>
                    </a:cubicBezTo>
                    <a:cubicBezTo>
                      <a:pt x="5" y="2"/>
                      <a:pt x="5" y="2"/>
                      <a:pt x="5" y="2"/>
                    </a:cubicBezTo>
                    <a:cubicBezTo>
                      <a:pt x="3"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Rectangle 369"/>
              <p:cNvSpPr>
                <a:spLocks noChangeArrowheads="1"/>
              </p:cNvSpPr>
              <p:nvPr/>
            </p:nvSpPr>
            <p:spPr bwMode="auto">
              <a:xfrm>
                <a:off x="10288843" y="342347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Rectangle 370"/>
              <p:cNvSpPr>
                <a:spLocks noChangeArrowheads="1"/>
              </p:cNvSpPr>
              <p:nvPr/>
            </p:nvSpPr>
            <p:spPr bwMode="auto">
              <a:xfrm>
                <a:off x="10288843" y="342347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371"/>
              <p:cNvSpPr/>
              <p:nvPr/>
            </p:nvSpPr>
            <p:spPr bwMode="auto">
              <a:xfrm>
                <a:off x="8800056" y="4422140"/>
                <a:ext cx="3685" cy="3685"/>
              </a:xfrm>
              <a:custGeom>
                <a:gdLst>
                  <a:gd name="T0" fmla="*/ 0 w 1"/>
                  <a:gd name="T1" fmla="*/ 0 h 1"/>
                  <a:gd name="T2" fmla="*/ 0 w 1"/>
                  <a:gd name="T3" fmla="*/ 0 h 1"/>
                  <a:gd name="T4" fmla="*/ 1 w 1"/>
                  <a:gd name="T5" fmla="*/ 1 h 1"/>
                  <a:gd name="T6" fmla="*/ 0 w 1"/>
                  <a:gd name="T7" fmla="*/ 0 h 1"/>
                </a:gd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0"/>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Rectangle 372"/>
              <p:cNvSpPr>
                <a:spLocks noChangeArrowheads="1"/>
              </p:cNvSpPr>
              <p:nvPr/>
            </p:nvSpPr>
            <p:spPr bwMode="auto">
              <a:xfrm>
                <a:off x="876689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373"/>
              <p:cNvSpPr/>
              <p:nvPr/>
            </p:nvSpPr>
            <p:spPr bwMode="auto">
              <a:xfrm flipH="1">
                <a:off x="8766890" y="436686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374"/>
              <p:cNvSpPr>
                <a:spLocks noEditPoints="1"/>
              </p:cNvSpPr>
              <p:nvPr/>
            </p:nvSpPr>
            <p:spPr bwMode="auto">
              <a:xfrm>
                <a:off x="12090864" y="445900"/>
                <a:ext cx="88443" cy="103183"/>
              </a:xfrm>
              <a:custGeom>
                <a:gdLst>
                  <a:gd name="T0" fmla="*/ 9 w 28"/>
                  <a:gd name="T1" fmla="*/ 22 h 32"/>
                  <a:gd name="T2" fmla="*/ 10 w 28"/>
                  <a:gd name="T3" fmla="*/ 23 h 32"/>
                  <a:gd name="T4" fmla="*/ 7 w 28"/>
                  <a:gd name="T5" fmla="*/ 25 h 32"/>
                  <a:gd name="T6" fmla="*/ 5 w 28"/>
                  <a:gd name="T7" fmla="*/ 26 h 32"/>
                  <a:gd name="T8" fmla="*/ 5 w 28"/>
                  <a:gd name="T9" fmla="*/ 27 h 32"/>
                  <a:gd name="T10" fmla="*/ 6 w 28"/>
                  <a:gd name="T11" fmla="*/ 27 h 32"/>
                  <a:gd name="T12" fmla="*/ 6 w 28"/>
                  <a:gd name="T13" fmla="*/ 28 h 32"/>
                  <a:gd name="T14" fmla="*/ 6 w 28"/>
                  <a:gd name="T15" fmla="*/ 28 h 32"/>
                  <a:gd name="T16" fmla="*/ 6 w 28"/>
                  <a:gd name="T17" fmla="*/ 29 h 32"/>
                  <a:gd name="T18" fmla="*/ 6 w 28"/>
                  <a:gd name="T19" fmla="*/ 30 h 32"/>
                  <a:gd name="T20" fmla="*/ 12 w 28"/>
                  <a:gd name="T21" fmla="*/ 31 h 32"/>
                  <a:gd name="T22" fmla="*/ 17 w 28"/>
                  <a:gd name="T23" fmla="*/ 31 h 32"/>
                  <a:gd name="T24" fmla="*/ 18 w 28"/>
                  <a:gd name="T25" fmla="*/ 31 h 32"/>
                  <a:gd name="T26" fmla="*/ 22 w 28"/>
                  <a:gd name="T27" fmla="*/ 31 h 32"/>
                  <a:gd name="T28" fmla="*/ 22 w 28"/>
                  <a:gd name="T29" fmla="*/ 31 h 32"/>
                  <a:gd name="T30" fmla="*/ 27 w 28"/>
                  <a:gd name="T31" fmla="*/ 24 h 32"/>
                  <a:gd name="T32" fmla="*/ 22 w 28"/>
                  <a:gd name="T33" fmla="*/ 23 h 32"/>
                  <a:gd name="T34" fmla="*/ 11 w 28"/>
                  <a:gd name="T35" fmla="*/ 22 h 32"/>
                  <a:gd name="T36" fmla="*/ 26 w 28"/>
                  <a:gd name="T37" fmla="*/ 15 h 32"/>
                  <a:gd name="T38" fmla="*/ 24 w 28"/>
                  <a:gd name="T39" fmla="*/ 16 h 32"/>
                  <a:gd name="T40" fmla="*/ 23 w 28"/>
                  <a:gd name="T41" fmla="*/ 16 h 32"/>
                  <a:gd name="T42" fmla="*/ 23 w 28"/>
                  <a:gd name="T43" fmla="*/ 17 h 32"/>
                  <a:gd name="T44" fmla="*/ 24 w 28"/>
                  <a:gd name="T45" fmla="*/ 17 h 32"/>
                  <a:gd name="T46" fmla="*/ 25 w 28"/>
                  <a:gd name="T47" fmla="*/ 18 h 32"/>
                  <a:gd name="T48" fmla="*/ 26 w 28"/>
                  <a:gd name="T49" fmla="*/ 18 h 32"/>
                  <a:gd name="T50" fmla="*/ 27 w 28"/>
                  <a:gd name="T51" fmla="*/ 15 h 32"/>
                  <a:gd name="T52" fmla="*/ 9 w 28"/>
                  <a:gd name="T53" fmla="*/ 0 h 32"/>
                  <a:gd name="T54" fmla="*/ 10 w 28"/>
                  <a:gd name="T55" fmla="*/ 1 h 32"/>
                  <a:gd name="T56" fmla="*/ 10 w 28"/>
                  <a:gd name="T57" fmla="*/ 1 h 32"/>
                  <a:gd name="T58" fmla="*/ 10 w 28"/>
                  <a:gd name="T59" fmla="*/ 2 h 32"/>
                  <a:gd name="T60" fmla="*/ 6 w 28"/>
                  <a:gd name="T61" fmla="*/ 4 h 32"/>
                  <a:gd name="T62" fmla="*/ 4 w 28"/>
                  <a:gd name="T63" fmla="*/ 5 h 32"/>
                  <a:gd name="T64" fmla="*/ 3 w 28"/>
                  <a:gd name="T65" fmla="*/ 6 h 32"/>
                  <a:gd name="T66" fmla="*/ 3 w 28"/>
                  <a:gd name="T67" fmla="*/ 7 h 32"/>
                  <a:gd name="T68" fmla="*/ 3 w 28"/>
                  <a:gd name="T69" fmla="*/ 8 h 32"/>
                  <a:gd name="T70" fmla="*/ 3 w 28"/>
                  <a:gd name="T71" fmla="*/ 8 h 32"/>
                  <a:gd name="T72" fmla="*/ 1 w 28"/>
                  <a:gd name="T73" fmla="*/ 9 h 32"/>
                  <a:gd name="T74" fmla="*/ 1 w 28"/>
                  <a:gd name="T75" fmla="*/ 9 h 32"/>
                  <a:gd name="T76" fmla="*/ 0 w 28"/>
                  <a:gd name="T77" fmla="*/ 10 h 32"/>
                  <a:gd name="T78" fmla="*/ 1 w 28"/>
                  <a:gd name="T79" fmla="*/ 10 h 32"/>
                  <a:gd name="T80" fmla="*/ 2 w 28"/>
                  <a:gd name="T81" fmla="*/ 10 h 32"/>
                  <a:gd name="T82" fmla="*/ 5 w 28"/>
                  <a:gd name="T83" fmla="*/ 11 h 32"/>
                  <a:gd name="T84" fmla="*/ 7 w 28"/>
                  <a:gd name="T85" fmla="*/ 11 h 32"/>
                  <a:gd name="T86" fmla="*/ 10 w 28"/>
                  <a:gd name="T87" fmla="*/ 11 h 32"/>
                  <a:gd name="T88" fmla="*/ 10 w 28"/>
                  <a:gd name="T89" fmla="*/ 11 h 32"/>
                  <a:gd name="T90" fmla="*/ 13 w 28"/>
                  <a:gd name="T91" fmla="*/ 11 h 32"/>
                  <a:gd name="T92" fmla="*/ 15 w 28"/>
                  <a:gd name="T93" fmla="*/ 11 h 32"/>
                  <a:gd name="T94" fmla="*/ 19 w 28"/>
                  <a:gd name="T95" fmla="*/ 13 h 32"/>
                  <a:gd name="T96" fmla="*/ 20 w 28"/>
                  <a:gd name="T97" fmla="*/ 13 h 32"/>
                  <a:gd name="T98" fmla="*/ 26 w 28"/>
                  <a:gd name="T99" fmla="*/ 14 h 32"/>
                  <a:gd name="T100" fmla="*/ 27 w 28"/>
                  <a:gd name="T101" fmla="*/ 14 h 32"/>
                  <a:gd name="T102" fmla="*/ 27 w 28"/>
                  <a:gd name="T103" fmla="*/ 10 h 32"/>
                  <a:gd name="T104" fmla="*/ 26 w 28"/>
                  <a:gd name="T105" fmla="*/ 9 h 32"/>
                  <a:gd name="T106" fmla="*/ 25 w 28"/>
                  <a:gd name="T107" fmla="*/ 9 h 32"/>
                  <a:gd name="T108" fmla="*/ 23 w 28"/>
                  <a:gd name="T109" fmla="*/ 6 h 32"/>
                  <a:gd name="T110" fmla="*/ 18 w 28"/>
                  <a:gd name="T111" fmla="*/ 6 h 32"/>
                  <a:gd name="T112" fmla="*/ 9 w 28"/>
                  <a:gd name="T113"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32">
                    <a:moveTo>
                      <a:pt x="11" y="22"/>
                    </a:moveTo>
                    <a:cubicBezTo>
                      <a:pt x="9" y="22"/>
                      <a:pt x="9" y="22"/>
                      <a:pt x="9" y="22"/>
                    </a:cubicBezTo>
                    <a:cubicBezTo>
                      <a:pt x="10" y="23"/>
                      <a:pt x="10" y="23"/>
                      <a:pt x="10" y="23"/>
                    </a:cubicBezTo>
                    <a:cubicBezTo>
                      <a:pt x="10" y="23"/>
                      <a:pt x="10" y="23"/>
                      <a:pt x="10" y="23"/>
                    </a:cubicBezTo>
                    <a:cubicBezTo>
                      <a:pt x="9" y="23"/>
                      <a:pt x="9" y="23"/>
                      <a:pt x="9" y="23"/>
                    </a:cubicBezTo>
                    <a:cubicBezTo>
                      <a:pt x="7" y="25"/>
                      <a:pt x="7" y="25"/>
                      <a:pt x="7" y="25"/>
                    </a:cubicBezTo>
                    <a:cubicBezTo>
                      <a:pt x="5" y="25"/>
                      <a:pt x="5" y="25"/>
                      <a:pt x="5" y="25"/>
                    </a:cubicBezTo>
                    <a:cubicBezTo>
                      <a:pt x="5" y="26"/>
                      <a:pt x="5" y="26"/>
                      <a:pt x="5" y="26"/>
                    </a:cubicBezTo>
                    <a:cubicBezTo>
                      <a:pt x="5" y="26"/>
                      <a:pt x="5" y="26"/>
                      <a:pt x="5" y="26"/>
                    </a:cubicBezTo>
                    <a:cubicBezTo>
                      <a:pt x="5" y="27"/>
                      <a:pt x="5" y="27"/>
                      <a:pt x="5" y="27"/>
                    </a:cubicBezTo>
                    <a:cubicBezTo>
                      <a:pt x="5" y="27"/>
                      <a:pt x="5" y="27"/>
                      <a:pt x="5" y="27"/>
                    </a:cubicBezTo>
                    <a:cubicBezTo>
                      <a:pt x="6" y="27"/>
                      <a:pt x="6" y="27"/>
                      <a:pt x="6" y="27"/>
                    </a:cubicBezTo>
                    <a:cubicBezTo>
                      <a:pt x="6" y="27"/>
                      <a:pt x="6" y="27"/>
                      <a:pt x="6" y="27"/>
                    </a:cubicBezTo>
                    <a:cubicBezTo>
                      <a:pt x="6" y="28"/>
                      <a:pt x="6" y="28"/>
                      <a:pt x="6" y="28"/>
                    </a:cubicBezTo>
                    <a:cubicBezTo>
                      <a:pt x="6" y="28"/>
                      <a:pt x="6" y="28"/>
                      <a:pt x="6" y="28"/>
                    </a:cubicBezTo>
                    <a:cubicBezTo>
                      <a:pt x="6" y="28"/>
                      <a:pt x="6" y="28"/>
                      <a:pt x="6" y="28"/>
                    </a:cubicBezTo>
                    <a:cubicBezTo>
                      <a:pt x="6" y="29"/>
                      <a:pt x="6" y="29"/>
                      <a:pt x="6" y="29"/>
                    </a:cubicBezTo>
                    <a:cubicBezTo>
                      <a:pt x="6" y="29"/>
                      <a:pt x="6" y="29"/>
                      <a:pt x="6" y="29"/>
                    </a:cubicBezTo>
                    <a:cubicBezTo>
                      <a:pt x="6" y="30"/>
                      <a:pt x="6" y="30"/>
                      <a:pt x="6" y="30"/>
                    </a:cubicBezTo>
                    <a:cubicBezTo>
                      <a:pt x="6" y="30"/>
                      <a:pt x="6" y="30"/>
                      <a:pt x="6" y="30"/>
                    </a:cubicBezTo>
                    <a:cubicBezTo>
                      <a:pt x="7" y="30"/>
                      <a:pt x="7" y="30"/>
                      <a:pt x="7" y="30"/>
                    </a:cubicBezTo>
                    <a:cubicBezTo>
                      <a:pt x="8" y="31"/>
                      <a:pt x="10" y="31"/>
                      <a:pt x="12" y="31"/>
                    </a:cubicBezTo>
                    <a:cubicBezTo>
                      <a:pt x="14" y="31"/>
                      <a:pt x="15" y="31"/>
                      <a:pt x="16" y="31"/>
                    </a:cubicBezTo>
                    <a:cubicBezTo>
                      <a:pt x="17" y="31"/>
                      <a:pt x="17" y="31"/>
                      <a:pt x="17" y="31"/>
                    </a:cubicBezTo>
                    <a:cubicBezTo>
                      <a:pt x="17" y="31"/>
                      <a:pt x="17" y="31"/>
                      <a:pt x="17" y="31"/>
                    </a:cubicBezTo>
                    <a:cubicBezTo>
                      <a:pt x="18" y="31"/>
                      <a:pt x="18" y="31"/>
                      <a:pt x="18" y="31"/>
                    </a:cubicBezTo>
                    <a:cubicBezTo>
                      <a:pt x="19" y="31"/>
                      <a:pt x="19" y="31"/>
                      <a:pt x="19" y="31"/>
                    </a:cubicBezTo>
                    <a:cubicBezTo>
                      <a:pt x="20" y="31"/>
                      <a:pt x="21" y="31"/>
                      <a:pt x="22" y="31"/>
                    </a:cubicBezTo>
                    <a:cubicBezTo>
                      <a:pt x="22" y="31"/>
                      <a:pt x="22" y="31"/>
                      <a:pt x="22" y="31"/>
                    </a:cubicBezTo>
                    <a:cubicBezTo>
                      <a:pt x="22" y="31"/>
                      <a:pt x="22" y="31"/>
                      <a:pt x="22" y="31"/>
                    </a:cubicBezTo>
                    <a:cubicBezTo>
                      <a:pt x="23" y="31"/>
                      <a:pt x="24" y="31"/>
                      <a:pt x="27" y="32"/>
                    </a:cubicBezTo>
                    <a:cubicBezTo>
                      <a:pt x="27" y="24"/>
                      <a:pt x="27" y="24"/>
                      <a:pt x="27" y="24"/>
                    </a:cubicBezTo>
                    <a:cubicBezTo>
                      <a:pt x="25" y="23"/>
                      <a:pt x="25" y="23"/>
                      <a:pt x="25" y="23"/>
                    </a:cubicBezTo>
                    <a:cubicBezTo>
                      <a:pt x="22" y="23"/>
                      <a:pt x="22" y="23"/>
                      <a:pt x="22" y="23"/>
                    </a:cubicBezTo>
                    <a:cubicBezTo>
                      <a:pt x="14" y="22"/>
                      <a:pt x="14" y="22"/>
                      <a:pt x="14" y="22"/>
                    </a:cubicBezTo>
                    <a:cubicBezTo>
                      <a:pt x="11" y="22"/>
                      <a:pt x="11" y="22"/>
                      <a:pt x="11" y="22"/>
                    </a:cubicBezTo>
                    <a:moveTo>
                      <a:pt x="27" y="15"/>
                    </a:moveTo>
                    <a:cubicBezTo>
                      <a:pt x="26" y="15"/>
                      <a:pt x="26" y="15"/>
                      <a:pt x="26" y="15"/>
                    </a:cubicBezTo>
                    <a:cubicBezTo>
                      <a:pt x="25" y="16"/>
                      <a:pt x="25" y="16"/>
                      <a:pt x="25" y="16"/>
                    </a:cubicBezTo>
                    <a:cubicBezTo>
                      <a:pt x="24" y="16"/>
                      <a:pt x="24" y="16"/>
                      <a:pt x="24" y="16"/>
                    </a:cubicBezTo>
                    <a:cubicBezTo>
                      <a:pt x="23" y="16"/>
                      <a:pt x="23" y="16"/>
                      <a:pt x="23" y="16"/>
                    </a:cubicBezTo>
                    <a:cubicBezTo>
                      <a:pt x="23" y="16"/>
                      <a:pt x="23" y="16"/>
                      <a:pt x="23" y="16"/>
                    </a:cubicBezTo>
                    <a:cubicBezTo>
                      <a:pt x="23" y="17"/>
                      <a:pt x="23" y="17"/>
                      <a:pt x="23" y="17"/>
                    </a:cubicBezTo>
                    <a:cubicBezTo>
                      <a:pt x="23" y="17"/>
                      <a:pt x="23" y="17"/>
                      <a:pt x="23" y="17"/>
                    </a:cubicBezTo>
                    <a:cubicBezTo>
                      <a:pt x="24" y="17"/>
                      <a:pt x="24" y="17"/>
                      <a:pt x="24" y="17"/>
                    </a:cubicBezTo>
                    <a:cubicBezTo>
                      <a:pt x="24" y="17"/>
                      <a:pt x="24" y="17"/>
                      <a:pt x="24" y="17"/>
                    </a:cubicBezTo>
                    <a:cubicBezTo>
                      <a:pt x="25" y="18"/>
                      <a:pt x="25" y="18"/>
                      <a:pt x="25" y="18"/>
                    </a:cubicBezTo>
                    <a:cubicBezTo>
                      <a:pt x="25" y="18"/>
                      <a:pt x="25" y="18"/>
                      <a:pt x="25" y="18"/>
                    </a:cubicBezTo>
                    <a:cubicBezTo>
                      <a:pt x="25" y="18"/>
                      <a:pt x="25" y="18"/>
                      <a:pt x="25" y="18"/>
                    </a:cubicBezTo>
                    <a:cubicBezTo>
                      <a:pt x="26" y="18"/>
                      <a:pt x="26" y="18"/>
                      <a:pt x="26" y="18"/>
                    </a:cubicBezTo>
                    <a:cubicBezTo>
                      <a:pt x="27" y="19"/>
                      <a:pt x="27" y="19"/>
                      <a:pt x="27" y="19"/>
                    </a:cubicBezTo>
                    <a:cubicBezTo>
                      <a:pt x="27" y="15"/>
                      <a:pt x="27" y="15"/>
                      <a:pt x="27" y="15"/>
                    </a:cubicBezTo>
                    <a:moveTo>
                      <a:pt x="9" y="0"/>
                    </a:moveTo>
                    <a:cubicBezTo>
                      <a:pt x="9" y="0"/>
                      <a:pt x="9" y="0"/>
                      <a:pt x="9" y="0"/>
                    </a:cubicBezTo>
                    <a:cubicBezTo>
                      <a:pt x="9" y="1"/>
                      <a:pt x="9" y="1"/>
                      <a:pt x="9" y="1"/>
                    </a:cubicBezTo>
                    <a:cubicBezTo>
                      <a:pt x="10" y="1"/>
                      <a:pt x="10" y="1"/>
                      <a:pt x="10" y="1"/>
                    </a:cubicBezTo>
                    <a:cubicBezTo>
                      <a:pt x="10" y="1"/>
                      <a:pt x="10" y="1"/>
                      <a:pt x="10" y="1"/>
                    </a:cubicBezTo>
                    <a:cubicBezTo>
                      <a:pt x="10" y="1"/>
                      <a:pt x="10" y="1"/>
                      <a:pt x="10" y="1"/>
                    </a:cubicBezTo>
                    <a:cubicBezTo>
                      <a:pt x="11" y="2"/>
                      <a:pt x="11" y="2"/>
                      <a:pt x="11" y="2"/>
                    </a:cubicBezTo>
                    <a:cubicBezTo>
                      <a:pt x="10" y="2"/>
                      <a:pt x="10" y="2"/>
                      <a:pt x="10" y="2"/>
                    </a:cubicBezTo>
                    <a:cubicBezTo>
                      <a:pt x="9" y="3"/>
                      <a:pt x="9" y="3"/>
                      <a:pt x="9" y="3"/>
                    </a:cubicBezTo>
                    <a:cubicBezTo>
                      <a:pt x="6" y="4"/>
                      <a:pt x="6" y="4"/>
                      <a:pt x="6" y="4"/>
                    </a:cubicBezTo>
                    <a:cubicBezTo>
                      <a:pt x="5" y="5"/>
                      <a:pt x="5" y="5"/>
                      <a:pt x="5" y="5"/>
                    </a:cubicBezTo>
                    <a:cubicBezTo>
                      <a:pt x="4" y="5"/>
                      <a:pt x="4" y="5"/>
                      <a:pt x="4" y="5"/>
                    </a:cubicBezTo>
                    <a:cubicBezTo>
                      <a:pt x="3" y="6"/>
                      <a:pt x="3" y="6"/>
                      <a:pt x="3" y="6"/>
                    </a:cubicBezTo>
                    <a:cubicBezTo>
                      <a:pt x="3" y="6"/>
                      <a:pt x="3" y="6"/>
                      <a:pt x="3" y="6"/>
                    </a:cubicBezTo>
                    <a:cubicBezTo>
                      <a:pt x="3" y="6"/>
                      <a:pt x="3" y="6"/>
                      <a:pt x="3" y="6"/>
                    </a:cubicBezTo>
                    <a:cubicBezTo>
                      <a:pt x="3" y="7"/>
                      <a:pt x="3" y="7"/>
                      <a:pt x="3" y="7"/>
                    </a:cubicBezTo>
                    <a:cubicBezTo>
                      <a:pt x="3" y="7"/>
                      <a:pt x="3" y="7"/>
                      <a:pt x="3" y="7"/>
                    </a:cubicBezTo>
                    <a:cubicBezTo>
                      <a:pt x="3" y="8"/>
                      <a:pt x="3" y="8"/>
                      <a:pt x="3" y="8"/>
                    </a:cubicBezTo>
                    <a:cubicBezTo>
                      <a:pt x="3" y="8"/>
                      <a:pt x="3" y="8"/>
                      <a:pt x="3" y="8"/>
                    </a:cubicBezTo>
                    <a:cubicBezTo>
                      <a:pt x="3" y="8"/>
                      <a:pt x="3" y="8"/>
                      <a:pt x="3" y="8"/>
                    </a:cubicBezTo>
                    <a:cubicBezTo>
                      <a:pt x="2" y="8"/>
                      <a:pt x="2" y="8"/>
                      <a:pt x="2" y="8"/>
                    </a:cubicBezTo>
                    <a:cubicBezTo>
                      <a:pt x="1" y="9"/>
                      <a:pt x="1" y="9"/>
                      <a:pt x="1" y="9"/>
                    </a:cubicBezTo>
                    <a:cubicBezTo>
                      <a:pt x="1" y="9"/>
                      <a:pt x="1" y="9"/>
                      <a:pt x="1" y="9"/>
                    </a:cubicBezTo>
                    <a:cubicBezTo>
                      <a:pt x="1" y="9"/>
                      <a:pt x="1" y="9"/>
                      <a:pt x="1" y="9"/>
                    </a:cubicBezTo>
                    <a:cubicBezTo>
                      <a:pt x="0" y="9"/>
                      <a:pt x="0" y="9"/>
                      <a:pt x="0" y="9"/>
                    </a:cubicBezTo>
                    <a:cubicBezTo>
                      <a:pt x="0" y="10"/>
                      <a:pt x="0" y="10"/>
                      <a:pt x="0" y="10"/>
                    </a:cubicBezTo>
                    <a:cubicBezTo>
                      <a:pt x="1" y="10"/>
                      <a:pt x="1" y="10"/>
                      <a:pt x="1" y="10"/>
                    </a:cubicBezTo>
                    <a:cubicBezTo>
                      <a:pt x="1" y="10"/>
                      <a:pt x="1" y="10"/>
                      <a:pt x="1" y="10"/>
                    </a:cubicBezTo>
                    <a:cubicBezTo>
                      <a:pt x="2" y="10"/>
                      <a:pt x="2" y="10"/>
                      <a:pt x="2" y="10"/>
                    </a:cubicBezTo>
                    <a:cubicBezTo>
                      <a:pt x="2" y="10"/>
                      <a:pt x="2" y="10"/>
                      <a:pt x="2" y="10"/>
                    </a:cubicBezTo>
                    <a:cubicBezTo>
                      <a:pt x="3" y="10"/>
                      <a:pt x="3" y="10"/>
                      <a:pt x="4" y="10"/>
                    </a:cubicBezTo>
                    <a:cubicBezTo>
                      <a:pt x="4" y="11"/>
                      <a:pt x="5" y="11"/>
                      <a:pt x="5" y="11"/>
                    </a:cubicBezTo>
                    <a:cubicBezTo>
                      <a:pt x="6" y="11"/>
                      <a:pt x="6" y="11"/>
                      <a:pt x="7" y="11"/>
                    </a:cubicBezTo>
                    <a:cubicBezTo>
                      <a:pt x="7" y="11"/>
                      <a:pt x="7" y="11"/>
                      <a:pt x="7" y="11"/>
                    </a:cubicBezTo>
                    <a:cubicBezTo>
                      <a:pt x="8" y="10"/>
                      <a:pt x="8" y="10"/>
                      <a:pt x="8" y="10"/>
                    </a:cubicBezTo>
                    <a:cubicBezTo>
                      <a:pt x="9" y="11"/>
                      <a:pt x="9" y="11"/>
                      <a:pt x="10" y="11"/>
                    </a:cubicBezTo>
                    <a:cubicBezTo>
                      <a:pt x="10" y="11"/>
                      <a:pt x="10" y="11"/>
                      <a:pt x="10" y="11"/>
                    </a:cubicBezTo>
                    <a:cubicBezTo>
                      <a:pt x="10" y="11"/>
                      <a:pt x="10" y="11"/>
                      <a:pt x="10" y="11"/>
                    </a:cubicBezTo>
                    <a:cubicBezTo>
                      <a:pt x="11" y="11"/>
                      <a:pt x="12" y="11"/>
                      <a:pt x="13" y="11"/>
                    </a:cubicBezTo>
                    <a:cubicBezTo>
                      <a:pt x="13" y="11"/>
                      <a:pt x="13" y="11"/>
                      <a:pt x="13" y="11"/>
                    </a:cubicBezTo>
                    <a:cubicBezTo>
                      <a:pt x="14" y="11"/>
                      <a:pt x="14" y="11"/>
                      <a:pt x="14" y="11"/>
                    </a:cubicBezTo>
                    <a:cubicBezTo>
                      <a:pt x="15" y="11"/>
                      <a:pt x="15" y="11"/>
                      <a:pt x="15" y="11"/>
                    </a:cubicBezTo>
                    <a:cubicBezTo>
                      <a:pt x="16" y="11"/>
                      <a:pt x="16" y="11"/>
                      <a:pt x="16" y="11"/>
                    </a:cubicBezTo>
                    <a:cubicBezTo>
                      <a:pt x="18" y="12"/>
                      <a:pt x="17" y="13"/>
                      <a:pt x="19" y="13"/>
                    </a:cubicBezTo>
                    <a:cubicBezTo>
                      <a:pt x="20" y="13"/>
                      <a:pt x="20" y="13"/>
                      <a:pt x="20" y="13"/>
                    </a:cubicBezTo>
                    <a:cubicBezTo>
                      <a:pt x="20" y="13"/>
                      <a:pt x="20" y="13"/>
                      <a:pt x="20" y="13"/>
                    </a:cubicBezTo>
                    <a:cubicBezTo>
                      <a:pt x="21" y="14"/>
                      <a:pt x="22" y="14"/>
                      <a:pt x="23" y="14"/>
                    </a:cubicBezTo>
                    <a:cubicBezTo>
                      <a:pt x="24" y="14"/>
                      <a:pt x="25" y="14"/>
                      <a:pt x="26" y="14"/>
                    </a:cubicBezTo>
                    <a:cubicBezTo>
                      <a:pt x="27" y="14"/>
                      <a:pt x="27" y="14"/>
                      <a:pt x="27" y="14"/>
                    </a:cubicBezTo>
                    <a:cubicBezTo>
                      <a:pt x="27" y="14"/>
                      <a:pt x="27" y="14"/>
                      <a:pt x="27" y="14"/>
                    </a:cubicBezTo>
                    <a:cubicBezTo>
                      <a:pt x="27" y="10"/>
                      <a:pt x="27" y="10"/>
                      <a:pt x="27" y="10"/>
                    </a:cubicBezTo>
                    <a:cubicBezTo>
                      <a:pt x="27" y="10"/>
                      <a:pt x="27" y="10"/>
                      <a:pt x="27" y="10"/>
                    </a:cubicBezTo>
                    <a:cubicBezTo>
                      <a:pt x="26" y="10"/>
                      <a:pt x="26" y="10"/>
                      <a:pt x="26" y="10"/>
                    </a:cubicBezTo>
                    <a:cubicBezTo>
                      <a:pt x="26" y="9"/>
                      <a:pt x="26" y="9"/>
                      <a:pt x="26" y="9"/>
                    </a:cubicBezTo>
                    <a:cubicBezTo>
                      <a:pt x="26" y="9"/>
                      <a:pt x="26" y="9"/>
                      <a:pt x="26" y="9"/>
                    </a:cubicBezTo>
                    <a:cubicBezTo>
                      <a:pt x="25" y="9"/>
                      <a:pt x="25" y="9"/>
                      <a:pt x="25" y="9"/>
                    </a:cubicBezTo>
                    <a:cubicBezTo>
                      <a:pt x="23" y="8"/>
                      <a:pt x="28" y="6"/>
                      <a:pt x="24" y="6"/>
                    </a:cubicBezTo>
                    <a:cubicBezTo>
                      <a:pt x="23" y="6"/>
                      <a:pt x="23" y="6"/>
                      <a:pt x="23" y="6"/>
                    </a:cubicBezTo>
                    <a:cubicBezTo>
                      <a:pt x="22" y="6"/>
                      <a:pt x="22" y="6"/>
                      <a:pt x="22" y="6"/>
                    </a:cubicBezTo>
                    <a:cubicBezTo>
                      <a:pt x="20" y="6"/>
                      <a:pt x="19" y="6"/>
                      <a:pt x="18" y="6"/>
                    </a:cubicBezTo>
                    <a:cubicBezTo>
                      <a:pt x="15" y="6"/>
                      <a:pt x="17" y="5"/>
                      <a:pt x="10" y="1"/>
                    </a:cubicBezTo>
                    <a:cubicBezTo>
                      <a:pt x="9" y="0"/>
                      <a:pt x="9"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375"/>
              <p:cNvSpPr>
                <a:spLocks noEditPoints="1"/>
              </p:cNvSpPr>
              <p:nvPr/>
            </p:nvSpPr>
            <p:spPr bwMode="auto">
              <a:xfrm>
                <a:off x="6839575" y="615415"/>
                <a:ext cx="5339732" cy="4326326"/>
              </a:xfrm>
              <a:custGeom>
                <a:gdLst>
                  <a:gd name="T0" fmla="*/ 235 w 1682"/>
                  <a:gd name="T1" fmla="*/ 574 h 1362"/>
                  <a:gd name="T2" fmla="*/ 211 w 1682"/>
                  <a:gd name="T3" fmla="*/ 553 h 1362"/>
                  <a:gd name="T4" fmla="*/ 88 w 1682"/>
                  <a:gd name="T5" fmla="*/ 495 h 1362"/>
                  <a:gd name="T6" fmla="*/ 8 w 1682"/>
                  <a:gd name="T7" fmla="*/ 761 h 1362"/>
                  <a:gd name="T8" fmla="*/ 39 w 1682"/>
                  <a:gd name="T9" fmla="*/ 831 h 1362"/>
                  <a:gd name="T10" fmla="*/ 1149 w 1682"/>
                  <a:gd name="T11" fmla="*/ 870 h 1362"/>
                  <a:gd name="T12" fmla="*/ 1245 w 1682"/>
                  <a:gd name="T13" fmla="*/ 904 h 1362"/>
                  <a:gd name="T14" fmla="*/ 943 w 1682"/>
                  <a:gd name="T15" fmla="*/ 250 h 1362"/>
                  <a:gd name="T16" fmla="*/ 748 w 1682"/>
                  <a:gd name="T17" fmla="*/ 284 h 1362"/>
                  <a:gd name="T18" fmla="*/ 569 w 1682"/>
                  <a:gd name="T19" fmla="*/ 359 h 1362"/>
                  <a:gd name="T20" fmla="*/ 1119 w 1682"/>
                  <a:gd name="T21" fmla="*/ 205 h 1362"/>
                  <a:gd name="T22" fmla="*/ 1116 w 1682"/>
                  <a:gd name="T23" fmla="*/ 150 h 1362"/>
                  <a:gd name="T24" fmla="*/ 142 w 1682"/>
                  <a:gd name="T25" fmla="*/ 946 h 1362"/>
                  <a:gd name="T26" fmla="*/ 229 w 1682"/>
                  <a:gd name="T27" fmla="*/ 1024 h 1362"/>
                  <a:gd name="T28" fmla="*/ 312 w 1682"/>
                  <a:gd name="T29" fmla="*/ 1168 h 1362"/>
                  <a:gd name="T30" fmla="*/ 357 w 1682"/>
                  <a:gd name="T31" fmla="*/ 1291 h 1362"/>
                  <a:gd name="T32" fmla="*/ 552 w 1682"/>
                  <a:gd name="T33" fmla="*/ 1130 h 1362"/>
                  <a:gd name="T34" fmla="*/ 1346 w 1682"/>
                  <a:gd name="T35" fmla="*/ 915 h 1362"/>
                  <a:gd name="T36" fmla="*/ 1562 w 1682"/>
                  <a:gd name="T37" fmla="*/ 1033 h 1362"/>
                  <a:gd name="T38" fmla="*/ 1675 w 1682"/>
                  <a:gd name="T39" fmla="*/ 1072 h 1362"/>
                  <a:gd name="T40" fmla="*/ 1039 w 1682"/>
                  <a:gd name="T41" fmla="*/ 895 h 1362"/>
                  <a:gd name="T42" fmla="*/ 259 w 1682"/>
                  <a:gd name="T43" fmla="*/ 457 h 1362"/>
                  <a:gd name="T44" fmla="*/ 367 w 1682"/>
                  <a:gd name="T45" fmla="*/ 457 h 1362"/>
                  <a:gd name="T46" fmla="*/ 56 w 1682"/>
                  <a:gd name="T47" fmla="*/ 240 h 1362"/>
                  <a:gd name="T48" fmla="*/ 194 w 1682"/>
                  <a:gd name="T49" fmla="*/ 428 h 1362"/>
                  <a:gd name="T50" fmla="*/ 213 w 1682"/>
                  <a:gd name="T51" fmla="*/ 374 h 1362"/>
                  <a:gd name="T52" fmla="*/ 134 w 1682"/>
                  <a:gd name="T53" fmla="*/ 233 h 1362"/>
                  <a:gd name="T54" fmla="*/ 1501 w 1682"/>
                  <a:gd name="T55" fmla="*/ 31 h 1362"/>
                  <a:gd name="T56" fmla="*/ 1510 w 1682"/>
                  <a:gd name="T57" fmla="*/ 63 h 1362"/>
                  <a:gd name="T58" fmla="*/ 1516 w 1682"/>
                  <a:gd name="T59" fmla="*/ 97 h 1362"/>
                  <a:gd name="T60" fmla="*/ 1378 w 1682"/>
                  <a:gd name="T61" fmla="*/ 106 h 1362"/>
                  <a:gd name="T62" fmla="*/ 1431 w 1682"/>
                  <a:gd name="T63" fmla="*/ 136 h 1362"/>
                  <a:gd name="T64" fmla="*/ 1457 w 1682"/>
                  <a:gd name="T65" fmla="*/ 157 h 1362"/>
                  <a:gd name="T66" fmla="*/ 1432 w 1682"/>
                  <a:gd name="T67" fmla="*/ 152 h 1362"/>
                  <a:gd name="T68" fmla="*/ 1386 w 1682"/>
                  <a:gd name="T69" fmla="*/ 142 h 1362"/>
                  <a:gd name="T70" fmla="*/ 1364 w 1682"/>
                  <a:gd name="T71" fmla="*/ 120 h 1362"/>
                  <a:gd name="T72" fmla="*/ 1365 w 1682"/>
                  <a:gd name="T73" fmla="*/ 96 h 1362"/>
                  <a:gd name="T74" fmla="*/ 1366 w 1682"/>
                  <a:gd name="T75" fmla="*/ 74 h 1362"/>
                  <a:gd name="T76" fmla="*/ 1313 w 1682"/>
                  <a:gd name="T77" fmla="*/ 108 h 1362"/>
                  <a:gd name="T78" fmla="*/ 1315 w 1682"/>
                  <a:gd name="T79" fmla="*/ 195 h 1362"/>
                  <a:gd name="T80" fmla="*/ 1317 w 1682"/>
                  <a:gd name="T81" fmla="*/ 249 h 1362"/>
                  <a:gd name="T82" fmla="*/ 1399 w 1682"/>
                  <a:gd name="T83" fmla="*/ 248 h 1362"/>
                  <a:gd name="T84" fmla="*/ 1421 w 1682"/>
                  <a:gd name="T85" fmla="*/ 306 h 1362"/>
                  <a:gd name="T86" fmla="*/ 1445 w 1682"/>
                  <a:gd name="T87" fmla="*/ 321 h 1362"/>
                  <a:gd name="T88" fmla="*/ 1463 w 1682"/>
                  <a:gd name="T89" fmla="*/ 326 h 1362"/>
                  <a:gd name="T90" fmla="*/ 1414 w 1682"/>
                  <a:gd name="T91" fmla="*/ 277 h 1362"/>
                  <a:gd name="T92" fmla="*/ 1331 w 1682"/>
                  <a:gd name="T93" fmla="*/ 286 h 1362"/>
                  <a:gd name="T94" fmla="*/ 1316 w 1682"/>
                  <a:gd name="T95" fmla="*/ 354 h 1362"/>
                  <a:gd name="T96" fmla="*/ 1270 w 1682"/>
                  <a:gd name="T97" fmla="*/ 387 h 1362"/>
                  <a:gd name="T98" fmla="*/ 1204 w 1682"/>
                  <a:gd name="T99" fmla="*/ 359 h 1362"/>
                  <a:gd name="T100" fmla="*/ 1271 w 1682"/>
                  <a:gd name="T101" fmla="*/ 344 h 1362"/>
                  <a:gd name="T102" fmla="*/ 1298 w 1682"/>
                  <a:gd name="T103" fmla="*/ 303 h 1362"/>
                  <a:gd name="T104" fmla="*/ 1281 w 1682"/>
                  <a:gd name="T105" fmla="*/ 226 h 1362"/>
                  <a:gd name="T106" fmla="*/ 1285 w 1682"/>
                  <a:gd name="T107" fmla="*/ 176 h 1362"/>
                  <a:gd name="T108" fmla="*/ 1274 w 1682"/>
                  <a:gd name="T109" fmla="*/ 108 h 1362"/>
                  <a:gd name="T110" fmla="*/ 1260 w 1682"/>
                  <a:gd name="T111" fmla="*/ 57 h 1362"/>
                  <a:gd name="T112" fmla="*/ 1188 w 1682"/>
                  <a:gd name="T113" fmla="*/ 52 h 1362"/>
                  <a:gd name="T114" fmla="*/ 1174 w 1682"/>
                  <a:gd name="T115" fmla="*/ 82 h 1362"/>
                  <a:gd name="T116" fmla="*/ 1143 w 1682"/>
                  <a:gd name="T117" fmla="*/ 129 h 1362"/>
                  <a:gd name="T118" fmla="*/ 1125 w 1682"/>
                  <a:gd name="T119" fmla="*/ 194 h 1362"/>
                  <a:gd name="T120" fmla="*/ 1144 w 1682"/>
                  <a:gd name="T121" fmla="*/ 229 h 1362"/>
                  <a:gd name="T122" fmla="*/ 1163 w 1682"/>
                  <a:gd name="T123" fmla="*/ 255 h 1362"/>
                  <a:gd name="T124" fmla="*/ 1180 w 1682"/>
                  <a:gd name="T125" fmla="*/ 265 h 13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2" h="1362">
                    <a:moveTo>
                      <a:pt x="86" y="603"/>
                    </a:moveTo>
                    <a:cubicBezTo>
                      <a:pt x="86" y="603"/>
                      <a:pt x="87" y="603"/>
                      <a:pt x="87" y="602"/>
                    </a:cubicBezTo>
                    <a:cubicBezTo>
                      <a:pt x="89" y="602"/>
                      <a:pt x="93" y="594"/>
                      <a:pt x="94" y="593"/>
                    </a:cubicBezTo>
                    <a:cubicBezTo>
                      <a:pt x="94" y="592"/>
                      <a:pt x="94" y="592"/>
                      <a:pt x="95" y="592"/>
                    </a:cubicBezTo>
                    <a:cubicBezTo>
                      <a:pt x="96" y="592"/>
                      <a:pt x="98" y="594"/>
                      <a:pt x="99" y="595"/>
                    </a:cubicBezTo>
                    <a:cubicBezTo>
                      <a:pt x="109" y="601"/>
                      <a:pt x="119" y="607"/>
                      <a:pt x="128" y="613"/>
                    </a:cubicBezTo>
                    <a:cubicBezTo>
                      <a:pt x="135" y="617"/>
                      <a:pt x="138" y="620"/>
                      <a:pt x="143" y="626"/>
                    </a:cubicBezTo>
                    <a:cubicBezTo>
                      <a:pt x="146" y="630"/>
                      <a:pt x="149" y="634"/>
                      <a:pt x="152" y="638"/>
                    </a:cubicBezTo>
                    <a:cubicBezTo>
                      <a:pt x="154" y="640"/>
                      <a:pt x="151" y="646"/>
                      <a:pt x="150" y="648"/>
                    </a:cubicBezTo>
                    <a:cubicBezTo>
                      <a:pt x="149" y="647"/>
                      <a:pt x="147" y="646"/>
                      <a:pt x="147" y="646"/>
                    </a:cubicBezTo>
                    <a:cubicBezTo>
                      <a:pt x="146" y="646"/>
                      <a:pt x="146" y="647"/>
                      <a:pt x="146" y="649"/>
                    </a:cubicBezTo>
                    <a:cubicBezTo>
                      <a:pt x="147" y="651"/>
                      <a:pt x="146" y="651"/>
                      <a:pt x="146" y="653"/>
                    </a:cubicBezTo>
                    <a:cubicBezTo>
                      <a:pt x="146" y="654"/>
                      <a:pt x="145" y="655"/>
                      <a:pt x="145" y="656"/>
                    </a:cubicBezTo>
                    <a:cubicBezTo>
                      <a:pt x="145" y="656"/>
                      <a:pt x="146" y="657"/>
                      <a:pt x="145" y="658"/>
                    </a:cubicBezTo>
                    <a:cubicBezTo>
                      <a:pt x="145" y="660"/>
                      <a:pt x="144" y="661"/>
                      <a:pt x="142" y="661"/>
                    </a:cubicBezTo>
                    <a:cubicBezTo>
                      <a:pt x="142" y="661"/>
                      <a:pt x="141" y="661"/>
                      <a:pt x="141" y="661"/>
                    </a:cubicBezTo>
                    <a:cubicBezTo>
                      <a:pt x="136" y="660"/>
                      <a:pt x="131" y="659"/>
                      <a:pt x="126" y="659"/>
                    </a:cubicBezTo>
                    <a:cubicBezTo>
                      <a:pt x="125" y="658"/>
                      <a:pt x="122" y="658"/>
                      <a:pt x="121" y="658"/>
                    </a:cubicBezTo>
                    <a:cubicBezTo>
                      <a:pt x="121" y="658"/>
                      <a:pt x="121" y="658"/>
                      <a:pt x="121" y="658"/>
                    </a:cubicBezTo>
                    <a:cubicBezTo>
                      <a:pt x="118" y="659"/>
                      <a:pt x="116" y="666"/>
                      <a:pt x="115" y="669"/>
                    </a:cubicBezTo>
                    <a:cubicBezTo>
                      <a:pt x="116" y="669"/>
                      <a:pt x="116" y="669"/>
                      <a:pt x="116" y="669"/>
                    </a:cubicBezTo>
                    <a:cubicBezTo>
                      <a:pt x="115" y="669"/>
                      <a:pt x="114" y="672"/>
                      <a:pt x="113" y="672"/>
                    </a:cubicBezTo>
                    <a:cubicBezTo>
                      <a:pt x="112" y="673"/>
                      <a:pt x="111" y="673"/>
                      <a:pt x="110" y="673"/>
                    </a:cubicBezTo>
                    <a:cubicBezTo>
                      <a:pt x="107" y="673"/>
                      <a:pt x="104" y="671"/>
                      <a:pt x="101" y="671"/>
                    </a:cubicBezTo>
                    <a:cubicBezTo>
                      <a:pt x="102" y="670"/>
                      <a:pt x="102" y="669"/>
                      <a:pt x="103" y="669"/>
                    </a:cubicBezTo>
                    <a:cubicBezTo>
                      <a:pt x="99" y="661"/>
                      <a:pt x="95" y="653"/>
                      <a:pt x="91" y="645"/>
                    </a:cubicBezTo>
                    <a:cubicBezTo>
                      <a:pt x="89" y="640"/>
                      <a:pt x="87" y="635"/>
                      <a:pt x="84" y="630"/>
                    </a:cubicBezTo>
                    <a:cubicBezTo>
                      <a:pt x="81" y="626"/>
                      <a:pt x="67" y="620"/>
                      <a:pt x="67" y="617"/>
                    </a:cubicBezTo>
                    <a:cubicBezTo>
                      <a:pt x="68" y="615"/>
                      <a:pt x="68" y="614"/>
                      <a:pt x="69" y="614"/>
                    </a:cubicBezTo>
                    <a:cubicBezTo>
                      <a:pt x="69" y="614"/>
                      <a:pt x="69" y="614"/>
                      <a:pt x="70" y="615"/>
                    </a:cubicBezTo>
                    <a:cubicBezTo>
                      <a:pt x="70" y="615"/>
                      <a:pt x="71" y="616"/>
                      <a:pt x="72" y="616"/>
                    </a:cubicBezTo>
                    <a:cubicBezTo>
                      <a:pt x="72" y="616"/>
                      <a:pt x="72" y="616"/>
                      <a:pt x="72" y="616"/>
                    </a:cubicBezTo>
                    <a:cubicBezTo>
                      <a:pt x="74" y="615"/>
                      <a:pt x="77" y="608"/>
                      <a:pt x="77" y="607"/>
                    </a:cubicBezTo>
                    <a:cubicBezTo>
                      <a:pt x="78" y="606"/>
                      <a:pt x="77" y="604"/>
                      <a:pt x="77" y="604"/>
                    </a:cubicBezTo>
                    <a:cubicBezTo>
                      <a:pt x="77" y="604"/>
                      <a:pt x="77" y="604"/>
                      <a:pt x="77" y="604"/>
                    </a:cubicBezTo>
                    <a:cubicBezTo>
                      <a:pt x="78" y="603"/>
                      <a:pt x="81" y="603"/>
                      <a:pt x="84" y="603"/>
                    </a:cubicBezTo>
                    <a:cubicBezTo>
                      <a:pt x="84" y="603"/>
                      <a:pt x="85" y="603"/>
                      <a:pt x="85" y="603"/>
                    </a:cubicBezTo>
                    <a:cubicBezTo>
                      <a:pt x="85" y="603"/>
                      <a:pt x="85" y="603"/>
                      <a:pt x="86" y="603"/>
                    </a:cubicBezTo>
                    <a:moveTo>
                      <a:pt x="213" y="562"/>
                    </a:moveTo>
                    <a:cubicBezTo>
                      <a:pt x="213" y="561"/>
                      <a:pt x="212" y="560"/>
                      <a:pt x="211" y="558"/>
                    </a:cubicBezTo>
                    <a:cubicBezTo>
                      <a:pt x="211" y="558"/>
                      <a:pt x="211" y="558"/>
                      <a:pt x="211" y="558"/>
                    </a:cubicBezTo>
                    <a:cubicBezTo>
                      <a:pt x="212" y="559"/>
                      <a:pt x="213" y="561"/>
                      <a:pt x="213" y="562"/>
                    </a:cubicBezTo>
                    <a:moveTo>
                      <a:pt x="211" y="558"/>
                    </a:moveTo>
                    <a:cubicBezTo>
                      <a:pt x="210" y="557"/>
                      <a:pt x="209" y="557"/>
                      <a:pt x="208" y="556"/>
                    </a:cubicBezTo>
                    <a:cubicBezTo>
                      <a:pt x="206" y="554"/>
                      <a:pt x="205" y="553"/>
                      <a:pt x="203" y="551"/>
                    </a:cubicBezTo>
                    <a:cubicBezTo>
                      <a:pt x="201" y="549"/>
                      <a:pt x="201" y="547"/>
                      <a:pt x="199" y="544"/>
                    </a:cubicBezTo>
                    <a:cubicBezTo>
                      <a:pt x="199" y="544"/>
                      <a:pt x="196" y="544"/>
                      <a:pt x="198" y="542"/>
                    </a:cubicBezTo>
                    <a:cubicBezTo>
                      <a:pt x="198" y="542"/>
                      <a:pt x="198" y="542"/>
                      <a:pt x="198" y="542"/>
                    </a:cubicBezTo>
                    <a:cubicBezTo>
                      <a:pt x="200" y="542"/>
                      <a:pt x="203" y="544"/>
                      <a:pt x="204" y="545"/>
                    </a:cubicBezTo>
                    <a:cubicBezTo>
                      <a:pt x="214" y="549"/>
                      <a:pt x="223" y="554"/>
                      <a:pt x="233" y="559"/>
                    </a:cubicBezTo>
                    <a:cubicBezTo>
                      <a:pt x="236" y="561"/>
                      <a:pt x="236" y="571"/>
                      <a:pt x="235" y="574"/>
                    </a:cubicBezTo>
                    <a:cubicBezTo>
                      <a:pt x="234" y="576"/>
                      <a:pt x="230" y="578"/>
                      <a:pt x="232" y="581"/>
                    </a:cubicBezTo>
                    <a:cubicBezTo>
                      <a:pt x="239" y="589"/>
                      <a:pt x="245" y="597"/>
                      <a:pt x="252" y="606"/>
                    </a:cubicBezTo>
                    <a:cubicBezTo>
                      <a:pt x="255" y="610"/>
                      <a:pt x="251" y="610"/>
                      <a:pt x="252" y="615"/>
                    </a:cubicBezTo>
                    <a:cubicBezTo>
                      <a:pt x="252" y="616"/>
                      <a:pt x="253" y="617"/>
                      <a:pt x="254" y="618"/>
                    </a:cubicBezTo>
                    <a:cubicBezTo>
                      <a:pt x="249" y="622"/>
                      <a:pt x="243" y="625"/>
                      <a:pt x="238" y="629"/>
                    </a:cubicBezTo>
                    <a:cubicBezTo>
                      <a:pt x="240" y="630"/>
                      <a:pt x="240" y="630"/>
                      <a:pt x="238" y="630"/>
                    </a:cubicBezTo>
                    <a:cubicBezTo>
                      <a:pt x="238" y="630"/>
                      <a:pt x="238" y="630"/>
                      <a:pt x="237" y="630"/>
                    </a:cubicBezTo>
                    <a:cubicBezTo>
                      <a:pt x="235" y="630"/>
                      <a:pt x="228" y="629"/>
                      <a:pt x="228" y="628"/>
                    </a:cubicBezTo>
                    <a:cubicBezTo>
                      <a:pt x="228" y="626"/>
                      <a:pt x="227" y="626"/>
                      <a:pt x="227" y="625"/>
                    </a:cubicBezTo>
                    <a:cubicBezTo>
                      <a:pt x="227" y="625"/>
                      <a:pt x="227" y="625"/>
                      <a:pt x="227" y="625"/>
                    </a:cubicBezTo>
                    <a:cubicBezTo>
                      <a:pt x="228" y="625"/>
                      <a:pt x="229" y="625"/>
                      <a:pt x="230" y="623"/>
                    </a:cubicBezTo>
                    <a:cubicBezTo>
                      <a:pt x="232" y="621"/>
                      <a:pt x="232" y="619"/>
                      <a:pt x="229" y="617"/>
                    </a:cubicBezTo>
                    <a:cubicBezTo>
                      <a:pt x="225" y="613"/>
                      <a:pt x="221" y="610"/>
                      <a:pt x="216" y="606"/>
                    </a:cubicBezTo>
                    <a:cubicBezTo>
                      <a:pt x="213" y="603"/>
                      <a:pt x="209" y="603"/>
                      <a:pt x="206" y="601"/>
                    </a:cubicBezTo>
                    <a:cubicBezTo>
                      <a:pt x="201" y="598"/>
                      <a:pt x="199" y="593"/>
                      <a:pt x="195" y="590"/>
                    </a:cubicBezTo>
                    <a:cubicBezTo>
                      <a:pt x="195" y="590"/>
                      <a:pt x="196" y="590"/>
                      <a:pt x="197" y="590"/>
                    </a:cubicBezTo>
                    <a:cubicBezTo>
                      <a:pt x="198" y="590"/>
                      <a:pt x="199" y="591"/>
                      <a:pt x="200" y="592"/>
                    </a:cubicBezTo>
                    <a:cubicBezTo>
                      <a:pt x="201" y="588"/>
                      <a:pt x="199" y="585"/>
                      <a:pt x="199" y="581"/>
                    </a:cubicBezTo>
                    <a:cubicBezTo>
                      <a:pt x="198" y="579"/>
                      <a:pt x="195" y="579"/>
                      <a:pt x="194" y="578"/>
                    </a:cubicBezTo>
                    <a:cubicBezTo>
                      <a:pt x="191" y="575"/>
                      <a:pt x="193" y="573"/>
                      <a:pt x="192" y="570"/>
                    </a:cubicBezTo>
                    <a:cubicBezTo>
                      <a:pt x="192" y="570"/>
                      <a:pt x="187" y="564"/>
                      <a:pt x="187" y="564"/>
                    </a:cubicBezTo>
                    <a:cubicBezTo>
                      <a:pt x="187" y="564"/>
                      <a:pt x="186" y="564"/>
                      <a:pt x="186" y="564"/>
                    </a:cubicBezTo>
                    <a:cubicBezTo>
                      <a:pt x="186" y="564"/>
                      <a:pt x="185" y="564"/>
                      <a:pt x="185" y="564"/>
                    </a:cubicBezTo>
                    <a:cubicBezTo>
                      <a:pt x="185" y="565"/>
                      <a:pt x="185" y="565"/>
                      <a:pt x="184" y="565"/>
                    </a:cubicBezTo>
                    <a:cubicBezTo>
                      <a:pt x="184" y="565"/>
                      <a:pt x="184" y="565"/>
                      <a:pt x="184" y="565"/>
                    </a:cubicBezTo>
                    <a:cubicBezTo>
                      <a:pt x="183" y="564"/>
                      <a:pt x="183" y="562"/>
                      <a:pt x="182" y="561"/>
                    </a:cubicBezTo>
                    <a:cubicBezTo>
                      <a:pt x="183" y="561"/>
                      <a:pt x="183" y="560"/>
                      <a:pt x="183" y="560"/>
                    </a:cubicBezTo>
                    <a:cubicBezTo>
                      <a:pt x="186" y="562"/>
                      <a:pt x="189" y="566"/>
                      <a:pt x="192" y="568"/>
                    </a:cubicBezTo>
                    <a:cubicBezTo>
                      <a:pt x="193" y="569"/>
                      <a:pt x="195" y="570"/>
                      <a:pt x="195" y="570"/>
                    </a:cubicBezTo>
                    <a:cubicBezTo>
                      <a:pt x="195" y="572"/>
                      <a:pt x="193" y="571"/>
                      <a:pt x="193" y="572"/>
                    </a:cubicBezTo>
                    <a:cubicBezTo>
                      <a:pt x="194" y="577"/>
                      <a:pt x="201" y="578"/>
                      <a:pt x="204" y="581"/>
                    </a:cubicBezTo>
                    <a:cubicBezTo>
                      <a:pt x="204" y="578"/>
                      <a:pt x="203" y="575"/>
                      <a:pt x="201" y="573"/>
                    </a:cubicBezTo>
                    <a:cubicBezTo>
                      <a:pt x="202" y="573"/>
                      <a:pt x="204" y="574"/>
                      <a:pt x="205" y="575"/>
                    </a:cubicBezTo>
                    <a:cubicBezTo>
                      <a:pt x="204" y="572"/>
                      <a:pt x="201" y="565"/>
                      <a:pt x="198" y="563"/>
                    </a:cubicBezTo>
                    <a:cubicBezTo>
                      <a:pt x="201" y="565"/>
                      <a:pt x="203" y="569"/>
                      <a:pt x="207" y="570"/>
                    </a:cubicBezTo>
                    <a:cubicBezTo>
                      <a:pt x="205" y="565"/>
                      <a:pt x="199" y="562"/>
                      <a:pt x="198" y="557"/>
                    </a:cubicBezTo>
                    <a:cubicBezTo>
                      <a:pt x="203" y="559"/>
                      <a:pt x="207" y="564"/>
                      <a:pt x="208" y="569"/>
                    </a:cubicBezTo>
                    <a:cubicBezTo>
                      <a:pt x="209" y="571"/>
                      <a:pt x="209" y="573"/>
                      <a:pt x="211" y="576"/>
                    </a:cubicBezTo>
                    <a:cubicBezTo>
                      <a:pt x="212" y="577"/>
                      <a:pt x="215" y="581"/>
                      <a:pt x="216" y="581"/>
                    </a:cubicBezTo>
                    <a:cubicBezTo>
                      <a:pt x="217" y="581"/>
                      <a:pt x="217" y="581"/>
                      <a:pt x="217" y="580"/>
                    </a:cubicBezTo>
                    <a:cubicBezTo>
                      <a:pt x="220" y="578"/>
                      <a:pt x="213" y="574"/>
                      <a:pt x="214" y="571"/>
                    </a:cubicBezTo>
                    <a:cubicBezTo>
                      <a:pt x="216" y="572"/>
                      <a:pt x="217" y="574"/>
                      <a:pt x="219" y="574"/>
                    </a:cubicBezTo>
                    <a:cubicBezTo>
                      <a:pt x="221" y="574"/>
                      <a:pt x="222" y="575"/>
                      <a:pt x="223" y="577"/>
                    </a:cubicBezTo>
                    <a:cubicBezTo>
                      <a:pt x="225" y="572"/>
                      <a:pt x="228" y="566"/>
                      <a:pt x="225" y="561"/>
                    </a:cubicBezTo>
                    <a:cubicBezTo>
                      <a:pt x="225" y="560"/>
                      <a:pt x="224" y="559"/>
                      <a:pt x="223" y="559"/>
                    </a:cubicBezTo>
                    <a:cubicBezTo>
                      <a:pt x="223" y="558"/>
                      <a:pt x="223" y="557"/>
                      <a:pt x="222" y="557"/>
                    </a:cubicBezTo>
                    <a:cubicBezTo>
                      <a:pt x="222" y="557"/>
                      <a:pt x="222" y="557"/>
                      <a:pt x="222" y="557"/>
                    </a:cubicBezTo>
                    <a:cubicBezTo>
                      <a:pt x="221" y="557"/>
                      <a:pt x="220" y="558"/>
                      <a:pt x="219" y="558"/>
                    </a:cubicBezTo>
                    <a:cubicBezTo>
                      <a:pt x="219" y="558"/>
                      <a:pt x="219" y="558"/>
                      <a:pt x="219" y="558"/>
                    </a:cubicBezTo>
                    <a:cubicBezTo>
                      <a:pt x="217" y="558"/>
                      <a:pt x="216" y="557"/>
                      <a:pt x="215" y="556"/>
                    </a:cubicBezTo>
                    <a:cubicBezTo>
                      <a:pt x="214" y="554"/>
                      <a:pt x="213" y="553"/>
                      <a:pt x="211" y="553"/>
                    </a:cubicBezTo>
                    <a:cubicBezTo>
                      <a:pt x="211" y="553"/>
                      <a:pt x="211" y="553"/>
                      <a:pt x="211" y="553"/>
                    </a:cubicBezTo>
                    <a:cubicBezTo>
                      <a:pt x="209" y="553"/>
                      <a:pt x="210" y="556"/>
                      <a:pt x="211" y="558"/>
                    </a:cubicBezTo>
                    <a:moveTo>
                      <a:pt x="560" y="457"/>
                    </a:moveTo>
                    <a:cubicBezTo>
                      <a:pt x="367" y="457"/>
                      <a:pt x="367" y="457"/>
                      <a:pt x="367" y="457"/>
                    </a:cubicBezTo>
                    <a:cubicBezTo>
                      <a:pt x="367" y="457"/>
                      <a:pt x="368" y="457"/>
                      <a:pt x="368" y="457"/>
                    </a:cubicBezTo>
                    <a:cubicBezTo>
                      <a:pt x="368" y="458"/>
                      <a:pt x="371" y="468"/>
                      <a:pt x="370" y="468"/>
                    </a:cubicBezTo>
                    <a:cubicBezTo>
                      <a:pt x="370" y="468"/>
                      <a:pt x="370" y="468"/>
                      <a:pt x="370" y="468"/>
                    </a:cubicBezTo>
                    <a:cubicBezTo>
                      <a:pt x="367" y="467"/>
                      <a:pt x="365" y="467"/>
                      <a:pt x="362" y="467"/>
                    </a:cubicBezTo>
                    <a:cubicBezTo>
                      <a:pt x="343" y="464"/>
                      <a:pt x="324" y="462"/>
                      <a:pt x="305" y="459"/>
                    </a:cubicBezTo>
                    <a:cubicBezTo>
                      <a:pt x="305" y="459"/>
                      <a:pt x="305" y="459"/>
                      <a:pt x="304" y="459"/>
                    </a:cubicBezTo>
                    <a:cubicBezTo>
                      <a:pt x="303" y="459"/>
                      <a:pt x="304" y="461"/>
                      <a:pt x="302" y="462"/>
                    </a:cubicBezTo>
                    <a:cubicBezTo>
                      <a:pt x="302" y="462"/>
                      <a:pt x="301" y="462"/>
                      <a:pt x="301" y="462"/>
                    </a:cubicBezTo>
                    <a:cubicBezTo>
                      <a:pt x="299" y="462"/>
                      <a:pt x="298" y="461"/>
                      <a:pt x="299" y="458"/>
                    </a:cubicBezTo>
                    <a:cubicBezTo>
                      <a:pt x="300" y="458"/>
                      <a:pt x="300" y="457"/>
                      <a:pt x="301" y="457"/>
                    </a:cubicBezTo>
                    <a:cubicBezTo>
                      <a:pt x="259" y="457"/>
                      <a:pt x="259" y="457"/>
                      <a:pt x="259" y="457"/>
                    </a:cubicBezTo>
                    <a:cubicBezTo>
                      <a:pt x="263" y="462"/>
                      <a:pt x="268" y="467"/>
                      <a:pt x="272" y="471"/>
                    </a:cubicBezTo>
                    <a:cubicBezTo>
                      <a:pt x="274" y="473"/>
                      <a:pt x="276" y="476"/>
                      <a:pt x="280" y="476"/>
                    </a:cubicBezTo>
                    <a:cubicBezTo>
                      <a:pt x="280" y="476"/>
                      <a:pt x="280" y="476"/>
                      <a:pt x="280" y="476"/>
                    </a:cubicBezTo>
                    <a:cubicBezTo>
                      <a:pt x="281" y="476"/>
                      <a:pt x="282" y="475"/>
                      <a:pt x="284" y="475"/>
                    </a:cubicBezTo>
                    <a:cubicBezTo>
                      <a:pt x="284" y="475"/>
                      <a:pt x="284" y="475"/>
                      <a:pt x="284" y="475"/>
                    </a:cubicBezTo>
                    <a:cubicBezTo>
                      <a:pt x="285" y="475"/>
                      <a:pt x="285" y="475"/>
                      <a:pt x="286" y="475"/>
                    </a:cubicBezTo>
                    <a:cubicBezTo>
                      <a:pt x="286" y="475"/>
                      <a:pt x="287" y="475"/>
                      <a:pt x="287" y="475"/>
                    </a:cubicBezTo>
                    <a:cubicBezTo>
                      <a:pt x="288" y="475"/>
                      <a:pt x="288" y="475"/>
                      <a:pt x="288" y="475"/>
                    </a:cubicBezTo>
                    <a:cubicBezTo>
                      <a:pt x="290" y="474"/>
                      <a:pt x="289" y="472"/>
                      <a:pt x="291" y="472"/>
                    </a:cubicBezTo>
                    <a:cubicBezTo>
                      <a:pt x="291" y="472"/>
                      <a:pt x="291" y="472"/>
                      <a:pt x="291" y="472"/>
                    </a:cubicBezTo>
                    <a:cubicBezTo>
                      <a:pt x="293" y="472"/>
                      <a:pt x="293" y="474"/>
                      <a:pt x="294" y="475"/>
                    </a:cubicBezTo>
                    <a:cubicBezTo>
                      <a:pt x="295" y="477"/>
                      <a:pt x="296" y="476"/>
                      <a:pt x="298" y="478"/>
                    </a:cubicBezTo>
                    <a:cubicBezTo>
                      <a:pt x="299" y="480"/>
                      <a:pt x="298" y="481"/>
                      <a:pt x="298" y="484"/>
                    </a:cubicBezTo>
                    <a:cubicBezTo>
                      <a:pt x="299" y="486"/>
                      <a:pt x="301" y="488"/>
                      <a:pt x="300" y="491"/>
                    </a:cubicBezTo>
                    <a:cubicBezTo>
                      <a:pt x="299" y="493"/>
                      <a:pt x="295" y="496"/>
                      <a:pt x="293" y="496"/>
                    </a:cubicBezTo>
                    <a:cubicBezTo>
                      <a:pt x="291" y="497"/>
                      <a:pt x="290" y="497"/>
                      <a:pt x="288" y="497"/>
                    </a:cubicBezTo>
                    <a:cubicBezTo>
                      <a:pt x="286" y="497"/>
                      <a:pt x="287" y="498"/>
                      <a:pt x="286" y="499"/>
                    </a:cubicBezTo>
                    <a:cubicBezTo>
                      <a:pt x="285" y="500"/>
                      <a:pt x="284" y="501"/>
                      <a:pt x="282" y="501"/>
                    </a:cubicBezTo>
                    <a:cubicBezTo>
                      <a:pt x="281" y="501"/>
                      <a:pt x="281" y="501"/>
                      <a:pt x="280" y="501"/>
                    </a:cubicBezTo>
                    <a:cubicBezTo>
                      <a:pt x="274" y="499"/>
                      <a:pt x="269" y="498"/>
                      <a:pt x="264" y="496"/>
                    </a:cubicBezTo>
                    <a:cubicBezTo>
                      <a:pt x="257" y="494"/>
                      <a:pt x="255" y="493"/>
                      <a:pt x="250" y="487"/>
                    </a:cubicBezTo>
                    <a:cubicBezTo>
                      <a:pt x="248" y="485"/>
                      <a:pt x="246" y="483"/>
                      <a:pt x="244" y="481"/>
                    </a:cubicBezTo>
                    <a:cubicBezTo>
                      <a:pt x="235" y="474"/>
                      <a:pt x="223" y="477"/>
                      <a:pt x="213" y="472"/>
                    </a:cubicBezTo>
                    <a:cubicBezTo>
                      <a:pt x="212" y="472"/>
                      <a:pt x="208" y="469"/>
                      <a:pt x="207" y="468"/>
                    </a:cubicBezTo>
                    <a:cubicBezTo>
                      <a:pt x="206" y="466"/>
                      <a:pt x="207" y="466"/>
                      <a:pt x="207" y="464"/>
                    </a:cubicBezTo>
                    <a:cubicBezTo>
                      <a:pt x="208" y="462"/>
                      <a:pt x="207" y="460"/>
                      <a:pt x="209" y="459"/>
                    </a:cubicBezTo>
                    <a:cubicBezTo>
                      <a:pt x="210" y="458"/>
                      <a:pt x="212" y="458"/>
                      <a:pt x="213" y="457"/>
                    </a:cubicBezTo>
                    <a:cubicBezTo>
                      <a:pt x="77" y="457"/>
                      <a:pt x="77" y="457"/>
                      <a:pt x="77" y="457"/>
                    </a:cubicBezTo>
                    <a:cubicBezTo>
                      <a:pt x="78" y="457"/>
                      <a:pt x="78" y="458"/>
                      <a:pt x="78" y="458"/>
                    </a:cubicBezTo>
                    <a:cubicBezTo>
                      <a:pt x="80" y="461"/>
                      <a:pt x="80" y="463"/>
                      <a:pt x="80" y="464"/>
                    </a:cubicBezTo>
                    <a:cubicBezTo>
                      <a:pt x="79" y="466"/>
                      <a:pt x="77" y="467"/>
                      <a:pt x="75" y="468"/>
                    </a:cubicBezTo>
                    <a:cubicBezTo>
                      <a:pt x="77" y="471"/>
                      <a:pt x="77" y="473"/>
                      <a:pt x="78" y="474"/>
                    </a:cubicBezTo>
                    <a:cubicBezTo>
                      <a:pt x="79" y="474"/>
                      <a:pt x="79" y="474"/>
                      <a:pt x="80" y="474"/>
                    </a:cubicBezTo>
                    <a:cubicBezTo>
                      <a:pt x="80" y="474"/>
                      <a:pt x="80" y="474"/>
                      <a:pt x="80" y="474"/>
                    </a:cubicBezTo>
                    <a:cubicBezTo>
                      <a:pt x="84" y="476"/>
                      <a:pt x="88" y="477"/>
                      <a:pt x="90" y="480"/>
                    </a:cubicBezTo>
                    <a:cubicBezTo>
                      <a:pt x="94" y="486"/>
                      <a:pt x="91" y="492"/>
                      <a:pt x="88" y="495"/>
                    </a:cubicBezTo>
                    <a:cubicBezTo>
                      <a:pt x="86" y="497"/>
                      <a:pt x="86" y="497"/>
                      <a:pt x="86" y="497"/>
                    </a:cubicBezTo>
                    <a:cubicBezTo>
                      <a:pt x="83" y="500"/>
                      <a:pt x="81" y="502"/>
                      <a:pt x="77" y="504"/>
                    </a:cubicBezTo>
                    <a:cubicBezTo>
                      <a:pt x="79" y="506"/>
                      <a:pt x="81" y="507"/>
                      <a:pt x="83" y="508"/>
                    </a:cubicBezTo>
                    <a:cubicBezTo>
                      <a:pt x="94" y="515"/>
                      <a:pt x="106" y="522"/>
                      <a:pt x="114" y="533"/>
                    </a:cubicBezTo>
                    <a:cubicBezTo>
                      <a:pt x="114" y="533"/>
                      <a:pt x="115" y="534"/>
                      <a:pt x="115" y="535"/>
                    </a:cubicBezTo>
                    <a:cubicBezTo>
                      <a:pt x="115" y="535"/>
                      <a:pt x="115" y="535"/>
                      <a:pt x="115" y="535"/>
                    </a:cubicBezTo>
                    <a:cubicBezTo>
                      <a:pt x="118" y="538"/>
                      <a:pt x="120" y="541"/>
                      <a:pt x="116" y="547"/>
                    </a:cubicBezTo>
                    <a:cubicBezTo>
                      <a:pt x="115" y="548"/>
                      <a:pt x="114" y="550"/>
                      <a:pt x="114" y="552"/>
                    </a:cubicBezTo>
                    <a:cubicBezTo>
                      <a:pt x="113" y="555"/>
                      <a:pt x="112" y="557"/>
                      <a:pt x="110" y="560"/>
                    </a:cubicBezTo>
                    <a:cubicBezTo>
                      <a:pt x="108" y="563"/>
                      <a:pt x="105" y="566"/>
                      <a:pt x="101" y="568"/>
                    </a:cubicBezTo>
                    <a:cubicBezTo>
                      <a:pt x="100" y="569"/>
                      <a:pt x="99" y="570"/>
                      <a:pt x="98" y="571"/>
                    </a:cubicBezTo>
                    <a:cubicBezTo>
                      <a:pt x="92" y="576"/>
                      <a:pt x="87" y="581"/>
                      <a:pt x="82" y="586"/>
                    </a:cubicBezTo>
                    <a:cubicBezTo>
                      <a:pt x="79" y="589"/>
                      <a:pt x="76" y="592"/>
                      <a:pt x="73" y="595"/>
                    </a:cubicBezTo>
                    <a:cubicBezTo>
                      <a:pt x="65" y="604"/>
                      <a:pt x="57" y="612"/>
                      <a:pt x="47" y="619"/>
                    </a:cubicBezTo>
                    <a:cubicBezTo>
                      <a:pt x="36" y="626"/>
                      <a:pt x="24" y="634"/>
                      <a:pt x="15" y="644"/>
                    </a:cubicBezTo>
                    <a:cubicBezTo>
                      <a:pt x="18" y="643"/>
                      <a:pt x="21" y="643"/>
                      <a:pt x="24" y="642"/>
                    </a:cubicBezTo>
                    <a:cubicBezTo>
                      <a:pt x="24" y="639"/>
                      <a:pt x="30" y="640"/>
                      <a:pt x="33" y="636"/>
                    </a:cubicBezTo>
                    <a:cubicBezTo>
                      <a:pt x="36" y="644"/>
                      <a:pt x="26" y="638"/>
                      <a:pt x="32" y="645"/>
                    </a:cubicBezTo>
                    <a:cubicBezTo>
                      <a:pt x="34" y="647"/>
                      <a:pt x="34" y="648"/>
                      <a:pt x="34" y="648"/>
                    </a:cubicBezTo>
                    <a:cubicBezTo>
                      <a:pt x="33" y="648"/>
                      <a:pt x="28" y="645"/>
                      <a:pt x="27" y="644"/>
                    </a:cubicBezTo>
                    <a:cubicBezTo>
                      <a:pt x="31" y="654"/>
                      <a:pt x="44" y="656"/>
                      <a:pt x="53" y="660"/>
                    </a:cubicBezTo>
                    <a:cubicBezTo>
                      <a:pt x="57" y="661"/>
                      <a:pt x="60" y="662"/>
                      <a:pt x="63" y="663"/>
                    </a:cubicBezTo>
                    <a:cubicBezTo>
                      <a:pt x="66" y="664"/>
                      <a:pt x="69" y="666"/>
                      <a:pt x="73" y="667"/>
                    </a:cubicBezTo>
                    <a:cubicBezTo>
                      <a:pt x="75" y="672"/>
                      <a:pt x="75" y="672"/>
                      <a:pt x="75" y="672"/>
                    </a:cubicBezTo>
                    <a:cubicBezTo>
                      <a:pt x="71" y="672"/>
                      <a:pt x="71" y="672"/>
                      <a:pt x="71" y="672"/>
                    </a:cubicBezTo>
                    <a:cubicBezTo>
                      <a:pt x="68" y="672"/>
                      <a:pt x="65" y="671"/>
                      <a:pt x="62" y="670"/>
                    </a:cubicBezTo>
                    <a:cubicBezTo>
                      <a:pt x="59" y="669"/>
                      <a:pt x="54" y="668"/>
                      <a:pt x="51" y="668"/>
                    </a:cubicBezTo>
                    <a:cubicBezTo>
                      <a:pt x="49" y="668"/>
                      <a:pt x="48" y="668"/>
                      <a:pt x="47" y="668"/>
                    </a:cubicBezTo>
                    <a:cubicBezTo>
                      <a:pt x="44" y="670"/>
                      <a:pt x="40" y="674"/>
                      <a:pt x="38" y="677"/>
                    </a:cubicBezTo>
                    <a:cubicBezTo>
                      <a:pt x="37" y="677"/>
                      <a:pt x="37" y="677"/>
                      <a:pt x="37" y="677"/>
                    </a:cubicBezTo>
                    <a:cubicBezTo>
                      <a:pt x="35" y="677"/>
                      <a:pt x="32" y="675"/>
                      <a:pt x="30" y="675"/>
                    </a:cubicBezTo>
                    <a:cubicBezTo>
                      <a:pt x="30" y="675"/>
                      <a:pt x="30" y="675"/>
                      <a:pt x="29" y="675"/>
                    </a:cubicBezTo>
                    <a:cubicBezTo>
                      <a:pt x="28" y="675"/>
                      <a:pt x="26" y="675"/>
                      <a:pt x="25" y="676"/>
                    </a:cubicBezTo>
                    <a:cubicBezTo>
                      <a:pt x="23" y="677"/>
                      <a:pt x="21" y="678"/>
                      <a:pt x="20" y="678"/>
                    </a:cubicBezTo>
                    <a:cubicBezTo>
                      <a:pt x="19" y="678"/>
                      <a:pt x="18" y="677"/>
                      <a:pt x="17" y="676"/>
                    </a:cubicBezTo>
                    <a:cubicBezTo>
                      <a:pt x="15" y="679"/>
                      <a:pt x="15" y="683"/>
                      <a:pt x="15" y="686"/>
                    </a:cubicBezTo>
                    <a:cubicBezTo>
                      <a:pt x="22" y="691"/>
                      <a:pt x="22" y="691"/>
                      <a:pt x="22" y="691"/>
                    </a:cubicBezTo>
                    <a:cubicBezTo>
                      <a:pt x="21" y="694"/>
                      <a:pt x="21" y="694"/>
                      <a:pt x="21" y="694"/>
                    </a:cubicBezTo>
                    <a:cubicBezTo>
                      <a:pt x="21" y="694"/>
                      <a:pt x="20" y="695"/>
                      <a:pt x="20" y="695"/>
                    </a:cubicBezTo>
                    <a:cubicBezTo>
                      <a:pt x="25" y="698"/>
                      <a:pt x="25" y="698"/>
                      <a:pt x="25" y="698"/>
                    </a:cubicBezTo>
                    <a:cubicBezTo>
                      <a:pt x="18" y="700"/>
                      <a:pt x="18" y="700"/>
                      <a:pt x="18" y="700"/>
                    </a:cubicBezTo>
                    <a:cubicBezTo>
                      <a:pt x="17" y="701"/>
                      <a:pt x="13" y="702"/>
                      <a:pt x="12" y="706"/>
                    </a:cubicBezTo>
                    <a:cubicBezTo>
                      <a:pt x="10" y="712"/>
                      <a:pt x="5" y="718"/>
                      <a:pt x="2" y="719"/>
                    </a:cubicBezTo>
                    <a:cubicBezTo>
                      <a:pt x="2" y="719"/>
                      <a:pt x="1" y="721"/>
                      <a:pt x="2" y="723"/>
                    </a:cubicBezTo>
                    <a:cubicBezTo>
                      <a:pt x="3" y="727"/>
                      <a:pt x="2" y="732"/>
                      <a:pt x="2" y="735"/>
                    </a:cubicBezTo>
                    <a:cubicBezTo>
                      <a:pt x="2" y="736"/>
                      <a:pt x="2" y="736"/>
                      <a:pt x="2" y="737"/>
                    </a:cubicBezTo>
                    <a:cubicBezTo>
                      <a:pt x="2" y="737"/>
                      <a:pt x="2" y="743"/>
                      <a:pt x="5" y="746"/>
                    </a:cubicBezTo>
                    <a:cubicBezTo>
                      <a:pt x="10" y="749"/>
                      <a:pt x="11" y="754"/>
                      <a:pt x="12" y="756"/>
                    </a:cubicBezTo>
                    <a:cubicBezTo>
                      <a:pt x="12" y="758"/>
                      <a:pt x="11" y="759"/>
                      <a:pt x="10" y="760"/>
                    </a:cubicBezTo>
                    <a:cubicBezTo>
                      <a:pt x="9" y="761"/>
                      <a:pt x="9" y="761"/>
                      <a:pt x="9" y="761"/>
                    </a:cubicBezTo>
                    <a:cubicBezTo>
                      <a:pt x="8" y="761"/>
                      <a:pt x="8" y="761"/>
                      <a:pt x="8" y="761"/>
                    </a:cubicBezTo>
                    <a:cubicBezTo>
                      <a:pt x="7" y="761"/>
                      <a:pt x="7" y="761"/>
                      <a:pt x="7" y="761"/>
                    </a:cubicBezTo>
                    <a:cubicBezTo>
                      <a:pt x="7" y="761"/>
                      <a:pt x="7" y="761"/>
                      <a:pt x="6" y="761"/>
                    </a:cubicBezTo>
                    <a:cubicBezTo>
                      <a:pt x="6" y="761"/>
                      <a:pt x="6" y="761"/>
                      <a:pt x="6" y="761"/>
                    </a:cubicBezTo>
                    <a:cubicBezTo>
                      <a:pt x="5" y="762"/>
                      <a:pt x="5" y="762"/>
                      <a:pt x="5" y="762"/>
                    </a:cubicBezTo>
                    <a:cubicBezTo>
                      <a:pt x="4" y="762"/>
                      <a:pt x="4" y="762"/>
                      <a:pt x="4" y="762"/>
                    </a:cubicBezTo>
                    <a:cubicBezTo>
                      <a:pt x="4" y="762"/>
                      <a:pt x="4" y="762"/>
                      <a:pt x="4" y="762"/>
                    </a:cubicBezTo>
                    <a:cubicBezTo>
                      <a:pt x="3" y="763"/>
                      <a:pt x="3" y="763"/>
                      <a:pt x="3" y="763"/>
                    </a:cubicBezTo>
                    <a:cubicBezTo>
                      <a:pt x="3" y="763"/>
                      <a:pt x="3" y="763"/>
                      <a:pt x="3" y="763"/>
                    </a:cubicBezTo>
                    <a:cubicBezTo>
                      <a:pt x="2" y="764"/>
                      <a:pt x="2" y="764"/>
                      <a:pt x="2" y="764"/>
                    </a:cubicBezTo>
                    <a:cubicBezTo>
                      <a:pt x="2" y="764"/>
                      <a:pt x="2" y="765"/>
                      <a:pt x="1" y="765"/>
                    </a:cubicBezTo>
                    <a:cubicBezTo>
                      <a:pt x="1" y="765"/>
                      <a:pt x="1" y="765"/>
                      <a:pt x="1" y="765"/>
                    </a:cubicBezTo>
                    <a:cubicBezTo>
                      <a:pt x="1" y="766"/>
                      <a:pt x="1" y="766"/>
                      <a:pt x="1" y="766"/>
                    </a:cubicBezTo>
                    <a:cubicBezTo>
                      <a:pt x="1" y="766"/>
                      <a:pt x="1" y="766"/>
                      <a:pt x="1" y="766"/>
                    </a:cubicBezTo>
                    <a:cubicBezTo>
                      <a:pt x="1" y="766"/>
                      <a:pt x="1" y="767"/>
                      <a:pt x="1" y="767"/>
                    </a:cubicBezTo>
                    <a:cubicBezTo>
                      <a:pt x="0" y="768"/>
                      <a:pt x="0" y="768"/>
                      <a:pt x="0" y="768"/>
                    </a:cubicBezTo>
                    <a:cubicBezTo>
                      <a:pt x="0" y="768"/>
                      <a:pt x="0" y="768"/>
                      <a:pt x="0" y="768"/>
                    </a:cubicBezTo>
                    <a:cubicBezTo>
                      <a:pt x="0" y="769"/>
                      <a:pt x="0" y="769"/>
                      <a:pt x="0" y="769"/>
                    </a:cubicBezTo>
                    <a:cubicBezTo>
                      <a:pt x="1" y="770"/>
                      <a:pt x="1" y="770"/>
                      <a:pt x="1" y="770"/>
                    </a:cubicBezTo>
                    <a:cubicBezTo>
                      <a:pt x="1" y="771"/>
                      <a:pt x="1" y="771"/>
                      <a:pt x="1" y="771"/>
                    </a:cubicBezTo>
                    <a:cubicBezTo>
                      <a:pt x="1" y="771"/>
                      <a:pt x="1" y="771"/>
                      <a:pt x="1" y="771"/>
                    </a:cubicBezTo>
                    <a:cubicBezTo>
                      <a:pt x="2" y="771"/>
                      <a:pt x="2" y="771"/>
                      <a:pt x="2" y="771"/>
                    </a:cubicBezTo>
                    <a:cubicBezTo>
                      <a:pt x="2" y="771"/>
                      <a:pt x="2" y="771"/>
                      <a:pt x="2" y="771"/>
                    </a:cubicBezTo>
                    <a:cubicBezTo>
                      <a:pt x="5" y="773"/>
                      <a:pt x="9" y="775"/>
                      <a:pt x="9" y="775"/>
                    </a:cubicBezTo>
                    <a:cubicBezTo>
                      <a:pt x="11" y="776"/>
                      <a:pt x="12" y="777"/>
                      <a:pt x="13" y="778"/>
                    </a:cubicBezTo>
                    <a:cubicBezTo>
                      <a:pt x="14" y="781"/>
                      <a:pt x="12" y="786"/>
                      <a:pt x="10" y="788"/>
                    </a:cubicBezTo>
                    <a:cubicBezTo>
                      <a:pt x="10" y="789"/>
                      <a:pt x="10" y="789"/>
                      <a:pt x="10" y="789"/>
                    </a:cubicBezTo>
                    <a:cubicBezTo>
                      <a:pt x="10" y="790"/>
                      <a:pt x="11" y="792"/>
                      <a:pt x="10" y="794"/>
                    </a:cubicBezTo>
                    <a:cubicBezTo>
                      <a:pt x="9" y="794"/>
                      <a:pt x="9" y="794"/>
                      <a:pt x="9" y="794"/>
                    </a:cubicBezTo>
                    <a:cubicBezTo>
                      <a:pt x="10" y="795"/>
                      <a:pt x="10" y="795"/>
                      <a:pt x="10" y="795"/>
                    </a:cubicBezTo>
                    <a:cubicBezTo>
                      <a:pt x="14" y="796"/>
                      <a:pt x="16" y="799"/>
                      <a:pt x="18" y="805"/>
                    </a:cubicBezTo>
                    <a:cubicBezTo>
                      <a:pt x="20" y="810"/>
                      <a:pt x="20" y="811"/>
                      <a:pt x="20" y="812"/>
                    </a:cubicBezTo>
                    <a:cubicBezTo>
                      <a:pt x="21" y="813"/>
                      <a:pt x="21" y="813"/>
                      <a:pt x="21" y="813"/>
                    </a:cubicBezTo>
                    <a:cubicBezTo>
                      <a:pt x="21" y="813"/>
                      <a:pt x="21" y="813"/>
                      <a:pt x="22" y="814"/>
                    </a:cubicBezTo>
                    <a:cubicBezTo>
                      <a:pt x="22" y="814"/>
                      <a:pt x="22" y="814"/>
                      <a:pt x="22" y="814"/>
                    </a:cubicBezTo>
                    <a:cubicBezTo>
                      <a:pt x="22" y="815"/>
                      <a:pt x="22" y="815"/>
                      <a:pt x="22" y="815"/>
                    </a:cubicBezTo>
                    <a:cubicBezTo>
                      <a:pt x="22" y="816"/>
                      <a:pt x="22" y="816"/>
                      <a:pt x="22" y="816"/>
                    </a:cubicBezTo>
                    <a:cubicBezTo>
                      <a:pt x="22" y="818"/>
                      <a:pt x="22" y="818"/>
                      <a:pt x="22" y="818"/>
                    </a:cubicBezTo>
                    <a:cubicBezTo>
                      <a:pt x="23" y="819"/>
                      <a:pt x="23" y="819"/>
                      <a:pt x="23" y="819"/>
                    </a:cubicBezTo>
                    <a:cubicBezTo>
                      <a:pt x="23" y="824"/>
                      <a:pt x="23" y="824"/>
                      <a:pt x="23" y="824"/>
                    </a:cubicBezTo>
                    <a:cubicBezTo>
                      <a:pt x="23" y="825"/>
                      <a:pt x="23" y="825"/>
                      <a:pt x="23" y="825"/>
                    </a:cubicBezTo>
                    <a:cubicBezTo>
                      <a:pt x="24" y="825"/>
                      <a:pt x="24" y="825"/>
                      <a:pt x="24" y="825"/>
                    </a:cubicBezTo>
                    <a:cubicBezTo>
                      <a:pt x="24" y="825"/>
                      <a:pt x="25" y="826"/>
                      <a:pt x="25" y="826"/>
                    </a:cubicBezTo>
                    <a:cubicBezTo>
                      <a:pt x="26" y="827"/>
                      <a:pt x="26" y="827"/>
                      <a:pt x="26" y="827"/>
                    </a:cubicBezTo>
                    <a:cubicBezTo>
                      <a:pt x="27" y="827"/>
                      <a:pt x="28" y="827"/>
                      <a:pt x="29" y="828"/>
                    </a:cubicBezTo>
                    <a:cubicBezTo>
                      <a:pt x="29" y="828"/>
                      <a:pt x="29" y="828"/>
                      <a:pt x="29" y="828"/>
                    </a:cubicBezTo>
                    <a:cubicBezTo>
                      <a:pt x="34" y="830"/>
                      <a:pt x="34" y="830"/>
                      <a:pt x="34" y="830"/>
                    </a:cubicBezTo>
                    <a:cubicBezTo>
                      <a:pt x="35" y="830"/>
                      <a:pt x="35" y="830"/>
                      <a:pt x="35" y="831"/>
                    </a:cubicBezTo>
                    <a:cubicBezTo>
                      <a:pt x="36" y="831"/>
                      <a:pt x="36" y="831"/>
                      <a:pt x="37" y="831"/>
                    </a:cubicBezTo>
                    <a:cubicBezTo>
                      <a:pt x="37" y="831"/>
                      <a:pt x="37" y="831"/>
                      <a:pt x="37" y="831"/>
                    </a:cubicBezTo>
                    <a:cubicBezTo>
                      <a:pt x="38" y="831"/>
                      <a:pt x="38" y="831"/>
                      <a:pt x="39" y="831"/>
                    </a:cubicBezTo>
                    <a:cubicBezTo>
                      <a:pt x="39" y="831"/>
                      <a:pt x="39" y="831"/>
                      <a:pt x="39" y="831"/>
                    </a:cubicBezTo>
                    <a:cubicBezTo>
                      <a:pt x="40" y="831"/>
                      <a:pt x="41" y="831"/>
                      <a:pt x="42" y="831"/>
                    </a:cubicBezTo>
                    <a:cubicBezTo>
                      <a:pt x="43" y="831"/>
                      <a:pt x="43" y="831"/>
                      <a:pt x="43" y="831"/>
                    </a:cubicBezTo>
                    <a:cubicBezTo>
                      <a:pt x="44" y="830"/>
                      <a:pt x="45" y="830"/>
                      <a:pt x="47" y="830"/>
                    </a:cubicBezTo>
                    <a:cubicBezTo>
                      <a:pt x="47" y="829"/>
                      <a:pt x="48" y="829"/>
                      <a:pt x="48" y="829"/>
                    </a:cubicBezTo>
                    <a:cubicBezTo>
                      <a:pt x="48" y="829"/>
                      <a:pt x="49" y="829"/>
                      <a:pt x="49" y="830"/>
                    </a:cubicBezTo>
                    <a:cubicBezTo>
                      <a:pt x="50" y="830"/>
                      <a:pt x="50" y="830"/>
                      <a:pt x="50" y="830"/>
                    </a:cubicBezTo>
                    <a:cubicBezTo>
                      <a:pt x="51" y="830"/>
                      <a:pt x="53" y="831"/>
                      <a:pt x="54" y="833"/>
                    </a:cubicBezTo>
                    <a:cubicBezTo>
                      <a:pt x="54" y="834"/>
                      <a:pt x="54" y="834"/>
                      <a:pt x="54" y="834"/>
                    </a:cubicBezTo>
                    <a:cubicBezTo>
                      <a:pt x="55" y="833"/>
                      <a:pt x="55" y="833"/>
                      <a:pt x="55" y="833"/>
                    </a:cubicBezTo>
                    <a:cubicBezTo>
                      <a:pt x="56" y="835"/>
                      <a:pt x="57" y="837"/>
                      <a:pt x="57" y="838"/>
                    </a:cubicBezTo>
                    <a:cubicBezTo>
                      <a:pt x="57" y="839"/>
                      <a:pt x="57" y="839"/>
                      <a:pt x="57" y="839"/>
                    </a:cubicBezTo>
                    <a:cubicBezTo>
                      <a:pt x="57" y="840"/>
                      <a:pt x="57" y="840"/>
                      <a:pt x="57" y="841"/>
                    </a:cubicBezTo>
                    <a:cubicBezTo>
                      <a:pt x="58" y="840"/>
                      <a:pt x="59" y="840"/>
                      <a:pt x="60" y="839"/>
                    </a:cubicBezTo>
                    <a:cubicBezTo>
                      <a:pt x="61" y="839"/>
                      <a:pt x="62" y="838"/>
                      <a:pt x="63" y="837"/>
                    </a:cubicBezTo>
                    <a:cubicBezTo>
                      <a:pt x="63" y="837"/>
                      <a:pt x="64" y="837"/>
                      <a:pt x="65" y="836"/>
                    </a:cubicBezTo>
                    <a:cubicBezTo>
                      <a:pt x="66" y="836"/>
                      <a:pt x="66" y="836"/>
                      <a:pt x="66" y="836"/>
                    </a:cubicBezTo>
                    <a:cubicBezTo>
                      <a:pt x="66" y="836"/>
                      <a:pt x="66" y="836"/>
                      <a:pt x="67" y="836"/>
                    </a:cubicBezTo>
                    <a:cubicBezTo>
                      <a:pt x="67" y="836"/>
                      <a:pt x="68" y="835"/>
                      <a:pt x="68" y="835"/>
                    </a:cubicBezTo>
                    <a:cubicBezTo>
                      <a:pt x="69" y="835"/>
                      <a:pt x="69" y="835"/>
                      <a:pt x="69" y="835"/>
                    </a:cubicBezTo>
                    <a:cubicBezTo>
                      <a:pt x="70" y="835"/>
                      <a:pt x="71" y="835"/>
                      <a:pt x="72" y="835"/>
                    </a:cubicBezTo>
                    <a:cubicBezTo>
                      <a:pt x="73" y="835"/>
                      <a:pt x="73" y="835"/>
                      <a:pt x="73" y="835"/>
                    </a:cubicBezTo>
                    <a:cubicBezTo>
                      <a:pt x="75" y="835"/>
                      <a:pt x="77" y="835"/>
                      <a:pt x="79" y="836"/>
                    </a:cubicBezTo>
                    <a:cubicBezTo>
                      <a:pt x="79" y="836"/>
                      <a:pt x="79" y="836"/>
                      <a:pt x="79" y="836"/>
                    </a:cubicBezTo>
                    <a:cubicBezTo>
                      <a:pt x="82" y="836"/>
                      <a:pt x="84" y="837"/>
                      <a:pt x="86" y="838"/>
                    </a:cubicBezTo>
                    <a:cubicBezTo>
                      <a:pt x="96" y="842"/>
                      <a:pt x="99" y="845"/>
                      <a:pt x="99" y="846"/>
                    </a:cubicBezTo>
                    <a:cubicBezTo>
                      <a:pt x="100" y="847"/>
                      <a:pt x="100" y="847"/>
                      <a:pt x="100" y="847"/>
                    </a:cubicBezTo>
                    <a:cubicBezTo>
                      <a:pt x="101" y="858"/>
                      <a:pt x="101" y="858"/>
                      <a:pt x="101" y="858"/>
                    </a:cubicBezTo>
                    <a:cubicBezTo>
                      <a:pt x="98" y="861"/>
                      <a:pt x="98" y="861"/>
                      <a:pt x="98" y="861"/>
                    </a:cubicBezTo>
                    <a:cubicBezTo>
                      <a:pt x="99" y="862"/>
                      <a:pt x="99" y="862"/>
                      <a:pt x="99" y="862"/>
                    </a:cubicBezTo>
                    <a:cubicBezTo>
                      <a:pt x="100" y="863"/>
                      <a:pt x="105" y="869"/>
                      <a:pt x="103" y="873"/>
                    </a:cubicBezTo>
                    <a:cubicBezTo>
                      <a:pt x="102" y="874"/>
                      <a:pt x="102" y="874"/>
                      <a:pt x="102" y="874"/>
                    </a:cubicBezTo>
                    <a:cubicBezTo>
                      <a:pt x="101" y="874"/>
                      <a:pt x="100" y="876"/>
                      <a:pt x="98" y="879"/>
                    </a:cubicBezTo>
                    <a:cubicBezTo>
                      <a:pt x="103" y="881"/>
                      <a:pt x="108" y="884"/>
                      <a:pt x="108" y="889"/>
                    </a:cubicBezTo>
                    <a:cubicBezTo>
                      <a:pt x="108" y="891"/>
                      <a:pt x="110" y="898"/>
                      <a:pt x="118" y="902"/>
                    </a:cubicBezTo>
                    <a:cubicBezTo>
                      <a:pt x="124" y="904"/>
                      <a:pt x="126" y="909"/>
                      <a:pt x="126" y="911"/>
                    </a:cubicBezTo>
                    <a:cubicBezTo>
                      <a:pt x="127" y="913"/>
                      <a:pt x="127" y="914"/>
                      <a:pt x="126" y="915"/>
                    </a:cubicBezTo>
                    <a:cubicBezTo>
                      <a:pt x="560" y="915"/>
                      <a:pt x="560" y="915"/>
                      <a:pt x="560" y="915"/>
                    </a:cubicBezTo>
                    <a:cubicBezTo>
                      <a:pt x="560" y="457"/>
                      <a:pt x="560" y="457"/>
                      <a:pt x="560" y="457"/>
                    </a:cubicBezTo>
                    <a:moveTo>
                      <a:pt x="1682" y="457"/>
                    </a:moveTo>
                    <a:cubicBezTo>
                      <a:pt x="1122" y="457"/>
                      <a:pt x="1122" y="457"/>
                      <a:pt x="1122" y="457"/>
                    </a:cubicBezTo>
                    <a:cubicBezTo>
                      <a:pt x="1122" y="877"/>
                      <a:pt x="1122" y="877"/>
                      <a:pt x="1122" y="877"/>
                    </a:cubicBezTo>
                    <a:cubicBezTo>
                      <a:pt x="1122" y="877"/>
                      <a:pt x="1122" y="877"/>
                      <a:pt x="1122" y="877"/>
                    </a:cubicBezTo>
                    <a:cubicBezTo>
                      <a:pt x="1124" y="877"/>
                      <a:pt x="1125" y="876"/>
                      <a:pt x="1127" y="875"/>
                    </a:cubicBezTo>
                    <a:cubicBezTo>
                      <a:pt x="1129" y="875"/>
                      <a:pt x="1129" y="875"/>
                      <a:pt x="1129" y="875"/>
                    </a:cubicBezTo>
                    <a:cubicBezTo>
                      <a:pt x="1131" y="874"/>
                      <a:pt x="1131" y="874"/>
                      <a:pt x="1131" y="874"/>
                    </a:cubicBezTo>
                    <a:cubicBezTo>
                      <a:pt x="1132" y="874"/>
                      <a:pt x="1132" y="874"/>
                      <a:pt x="1132" y="874"/>
                    </a:cubicBezTo>
                    <a:cubicBezTo>
                      <a:pt x="1143" y="872"/>
                      <a:pt x="1143" y="872"/>
                      <a:pt x="1143" y="872"/>
                    </a:cubicBezTo>
                    <a:cubicBezTo>
                      <a:pt x="1143" y="872"/>
                      <a:pt x="1143" y="872"/>
                      <a:pt x="1143" y="872"/>
                    </a:cubicBezTo>
                    <a:cubicBezTo>
                      <a:pt x="1144" y="871"/>
                      <a:pt x="1144" y="871"/>
                      <a:pt x="1144" y="871"/>
                    </a:cubicBezTo>
                    <a:cubicBezTo>
                      <a:pt x="1145" y="870"/>
                      <a:pt x="1146" y="870"/>
                      <a:pt x="1147" y="870"/>
                    </a:cubicBezTo>
                    <a:cubicBezTo>
                      <a:pt x="1148" y="870"/>
                      <a:pt x="1148" y="870"/>
                      <a:pt x="1149" y="870"/>
                    </a:cubicBezTo>
                    <a:cubicBezTo>
                      <a:pt x="1150" y="870"/>
                      <a:pt x="1150" y="870"/>
                      <a:pt x="1151" y="870"/>
                    </a:cubicBezTo>
                    <a:cubicBezTo>
                      <a:pt x="1152" y="871"/>
                      <a:pt x="1152" y="871"/>
                      <a:pt x="1152" y="871"/>
                    </a:cubicBezTo>
                    <a:cubicBezTo>
                      <a:pt x="1152" y="871"/>
                      <a:pt x="1152" y="871"/>
                      <a:pt x="1152" y="871"/>
                    </a:cubicBezTo>
                    <a:cubicBezTo>
                      <a:pt x="1153" y="871"/>
                      <a:pt x="1153" y="870"/>
                      <a:pt x="1154" y="870"/>
                    </a:cubicBezTo>
                    <a:cubicBezTo>
                      <a:pt x="1156" y="868"/>
                      <a:pt x="1156" y="868"/>
                      <a:pt x="1156" y="868"/>
                    </a:cubicBezTo>
                    <a:cubicBezTo>
                      <a:pt x="1157" y="868"/>
                      <a:pt x="1157" y="868"/>
                      <a:pt x="1157" y="868"/>
                    </a:cubicBezTo>
                    <a:cubicBezTo>
                      <a:pt x="1158" y="867"/>
                      <a:pt x="1158" y="867"/>
                      <a:pt x="1158" y="867"/>
                    </a:cubicBezTo>
                    <a:cubicBezTo>
                      <a:pt x="1159" y="867"/>
                      <a:pt x="1160" y="866"/>
                      <a:pt x="1161" y="865"/>
                    </a:cubicBezTo>
                    <a:cubicBezTo>
                      <a:pt x="1162" y="865"/>
                      <a:pt x="1165" y="863"/>
                      <a:pt x="1166" y="862"/>
                    </a:cubicBezTo>
                    <a:cubicBezTo>
                      <a:pt x="1167" y="861"/>
                      <a:pt x="1167" y="860"/>
                      <a:pt x="1167" y="859"/>
                    </a:cubicBezTo>
                    <a:cubicBezTo>
                      <a:pt x="1168" y="857"/>
                      <a:pt x="1168" y="857"/>
                      <a:pt x="1168" y="857"/>
                    </a:cubicBezTo>
                    <a:cubicBezTo>
                      <a:pt x="1169" y="856"/>
                      <a:pt x="1171" y="855"/>
                      <a:pt x="1173" y="855"/>
                    </a:cubicBezTo>
                    <a:cubicBezTo>
                      <a:pt x="1173" y="855"/>
                      <a:pt x="1173" y="855"/>
                      <a:pt x="1173" y="855"/>
                    </a:cubicBezTo>
                    <a:cubicBezTo>
                      <a:pt x="1174" y="855"/>
                      <a:pt x="1174" y="855"/>
                      <a:pt x="1174" y="855"/>
                    </a:cubicBezTo>
                    <a:cubicBezTo>
                      <a:pt x="1174" y="855"/>
                      <a:pt x="1174" y="855"/>
                      <a:pt x="1174" y="855"/>
                    </a:cubicBezTo>
                    <a:cubicBezTo>
                      <a:pt x="1181" y="855"/>
                      <a:pt x="1181" y="855"/>
                      <a:pt x="1181" y="855"/>
                    </a:cubicBezTo>
                    <a:cubicBezTo>
                      <a:pt x="1182" y="855"/>
                      <a:pt x="1182" y="855"/>
                      <a:pt x="1182" y="855"/>
                    </a:cubicBezTo>
                    <a:cubicBezTo>
                      <a:pt x="1182" y="855"/>
                      <a:pt x="1182" y="855"/>
                      <a:pt x="1182" y="855"/>
                    </a:cubicBezTo>
                    <a:cubicBezTo>
                      <a:pt x="1186" y="855"/>
                      <a:pt x="1186" y="855"/>
                      <a:pt x="1186" y="855"/>
                    </a:cubicBezTo>
                    <a:cubicBezTo>
                      <a:pt x="1186" y="855"/>
                      <a:pt x="1186" y="855"/>
                      <a:pt x="1186" y="855"/>
                    </a:cubicBezTo>
                    <a:cubicBezTo>
                      <a:pt x="1187" y="855"/>
                      <a:pt x="1187" y="855"/>
                      <a:pt x="1187" y="855"/>
                    </a:cubicBezTo>
                    <a:cubicBezTo>
                      <a:pt x="1187" y="855"/>
                      <a:pt x="1187" y="855"/>
                      <a:pt x="1187" y="855"/>
                    </a:cubicBezTo>
                    <a:cubicBezTo>
                      <a:pt x="1198" y="855"/>
                      <a:pt x="1198" y="855"/>
                      <a:pt x="1198" y="855"/>
                    </a:cubicBezTo>
                    <a:cubicBezTo>
                      <a:pt x="1200" y="855"/>
                      <a:pt x="1201" y="856"/>
                      <a:pt x="1202" y="857"/>
                    </a:cubicBezTo>
                    <a:cubicBezTo>
                      <a:pt x="1204" y="858"/>
                      <a:pt x="1204" y="858"/>
                      <a:pt x="1204" y="858"/>
                    </a:cubicBezTo>
                    <a:cubicBezTo>
                      <a:pt x="1205" y="859"/>
                      <a:pt x="1206" y="860"/>
                      <a:pt x="1207" y="861"/>
                    </a:cubicBezTo>
                    <a:cubicBezTo>
                      <a:pt x="1208" y="861"/>
                      <a:pt x="1208" y="861"/>
                      <a:pt x="1208" y="861"/>
                    </a:cubicBezTo>
                    <a:cubicBezTo>
                      <a:pt x="1209" y="861"/>
                      <a:pt x="1209" y="861"/>
                      <a:pt x="1209" y="861"/>
                    </a:cubicBezTo>
                    <a:cubicBezTo>
                      <a:pt x="1210" y="862"/>
                      <a:pt x="1211" y="862"/>
                      <a:pt x="1213" y="863"/>
                    </a:cubicBezTo>
                    <a:cubicBezTo>
                      <a:pt x="1214" y="863"/>
                      <a:pt x="1214" y="863"/>
                      <a:pt x="1214" y="863"/>
                    </a:cubicBezTo>
                    <a:cubicBezTo>
                      <a:pt x="1215" y="861"/>
                      <a:pt x="1219" y="859"/>
                      <a:pt x="1222" y="857"/>
                    </a:cubicBezTo>
                    <a:cubicBezTo>
                      <a:pt x="1223" y="857"/>
                      <a:pt x="1223" y="857"/>
                      <a:pt x="1223" y="857"/>
                    </a:cubicBezTo>
                    <a:cubicBezTo>
                      <a:pt x="1229" y="856"/>
                      <a:pt x="1229" y="856"/>
                      <a:pt x="1229" y="856"/>
                    </a:cubicBezTo>
                    <a:cubicBezTo>
                      <a:pt x="1230" y="857"/>
                      <a:pt x="1230" y="857"/>
                      <a:pt x="1230" y="857"/>
                    </a:cubicBezTo>
                    <a:cubicBezTo>
                      <a:pt x="1232" y="857"/>
                      <a:pt x="1234" y="859"/>
                      <a:pt x="1235" y="860"/>
                    </a:cubicBezTo>
                    <a:cubicBezTo>
                      <a:pt x="1237" y="864"/>
                      <a:pt x="1239" y="868"/>
                      <a:pt x="1241" y="872"/>
                    </a:cubicBezTo>
                    <a:cubicBezTo>
                      <a:pt x="1247" y="883"/>
                      <a:pt x="1247" y="883"/>
                      <a:pt x="1247" y="883"/>
                    </a:cubicBezTo>
                    <a:cubicBezTo>
                      <a:pt x="1247" y="885"/>
                      <a:pt x="1247" y="886"/>
                      <a:pt x="1246" y="887"/>
                    </a:cubicBezTo>
                    <a:cubicBezTo>
                      <a:pt x="1246" y="888"/>
                      <a:pt x="1246" y="888"/>
                      <a:pt x="1246" y="888"/>
                    </a:cubicBezTo>
                    <a:cubicBezTo>
                      <a:pt x="1244" y="890"/>
                      <a:pt x="1244" y="890"/>
                      <a:pt x="1244" y="890"/>
                    </a:cubicBezTo>
                    <a:cubicBezTo>
                      <a:pt x="1244" y="892"/>
                      <a:pt x="1244" y="892"/>
                      <a:pt x="1244" y="892"/>
                    </a:cubicBezTo>
                    <a:cubicBezTo>
                      <a:pt x="1245" y="892"/>
                      <a:pt x="1245" y="892"/>
                      <a:pt x="1245" y="892"/>
                    </a:cubicBezTo>
                    <a:cubicBezTo>
                      <a:pt x="1245" y="893"/>
                      <a:pt x="1245" y="893"/>
                      <a:pt x="1245" y="893"/>
                    </a:cubicBezTo>
                    <a:cubicBezTo>
                      <a:pt x="1245" y="894"/>
                      <a:pt x="1245" y="894"/>
                      <a:pt x="1245" y="894"/>
                    </a:cubicBezTo>
                    <a:cubicBezTo>
                      <a:pt x="1245" y="894"/>
                      <a:pt x="1245" y="894"/>
                      <a:pt x="1245" y="894"/>
                    </a:cubicBezTo>
                    <a:cubicBezTo>
                      <a:pt x="1246" y="896"/>
                      <a:pt x="1246" y="896"/>
                      <a:pt x="1246" y="896"/>
                    </a:cubicBezTo>
                    <a:cubicBezTo>
                      <a:pt x="1246" y="899"/>
                      <a:pt x="1245" y="900"/>
                      <a:pt x="1243" y="901"/>
                    </a:cubicBezTo>
                    <a:cubicBezTo>
                      <a:pt x="1243" y="902"/>
                      <a:pt x="1242" y="902"/>
                      <a:pt x="1242" y="902"/>
                    </a:cubicBezTo>
                    <a:cubicBezTo>
                      <a:pt x="1243" y="903"/>
                      <a:pt x="1243" y="903"/>
                      <a:pt x="1243" y="903"/>
                    </a:cubicBezTo>
                    <a:cubicBezTo>
                      <a:pt x="1245" y="904"/>
                      <a:pt x="1245" y="904"/>
                      <a:pt x="1245" y="904"/>
                    </a:cubicBezTo>
                    <a:cubicBezTo>
                      <a:pt x="1245" y="904"/>
                      <a:pt x="1245" y="904"/>
                      <a:pt x="1245" y="904"/>
                    </a:cubicBezTo>
                    <a:cubicBezTo>
                      <a:pt x="1246" y="904"/>
                      <a:pt x="1246" y="904"/>
                      <a:pt x="1247" y="904"/>
                    </a:cubicBezTo>
                    <a:cubicBezTo>
                      <a:pt x="1248" y="904"/>
                      <a:pt x="1250" y="904"/>
                      <a:pt x="1251" y="903"/>
                    </a:cubicBezTo>
                    <a:cubicBezTo>
                      <a:pt x="1256" y="903"/>
                      <a:pt x="1256" y="903"/>
                      <a:pt x="1256" y="903"/>
                    </a:cubicBezTo>
                    <a:cubicBezTo>
                      <a:pt x="1263" y="901"/>
                      <a:pt x="1263" y="901"/>
                      <a:pt x="1263" y="901"/>
                    </a:cubicBezTo>
                    <a:cubicBezTo>
                      <a:pt x="1264" y="901"/>
                      <a:pt x="1264" y="901"/>
                      <a:pt x="1264" y="901"/>
                    </a:cubicBezTo>
                    <a:cubicBezTo>
                      <a:pt x="1263" y="900"/>
                      <a:pt x="1263" y="899"/>
                      <a:pt x="1263" y="898"/>
                    </a:cubicBezTo>
                    <a:cubicBezTo>
                      <a:pt x="1262" y="895"/>
                      <a:pt x="1262" y="895"/>
                      <a:pt x="1262" y="895"/>
                    </a:cubicBezTo>
                    <a:cubicBezTo>
                      <a:pt x="1269" y="893"/>
                      <a:pt x="1269" y="893"/>
                      <a:pt x="1269" y="893"/>
                    </a:cubicBezTo>
                    <a:cubicBezTo>
                      <a:pt x="1271" y="894"/>
                      <a:pt x="1271" y="894"/>
                      <a:pt x="1271" y="894"/>
                    </a:cubicBezTo>
                    <a:cubicBezTo>
                      <a:pt x="1272" y="895"/>
                      <a:pt x="1272" y="895"/>
                      <a:pt x="1272" y="895"/>
                    </a:cubicBezTo>
                    <a:cubicBezTo>
                      <a:pt x="1277" y="900"/>
                      <a:pt x="1277" y="900"/>
                      <a:pt x="1277" y="900"/>
                    </a:cubicBezTo>
                    <a:cubicBezTo>
                      <a:pt x="1278" y="901"/>
                      <a:pt x="1278" y="903"/>
                      <a:pt x="1279" y="904"/>
                    </a:cubicBezTo>
                    <a:cubicBezTo>
                      <a:pt x="1279" y="904"/>
                      <a:pt x="1279" y="904"/>
                      <a:pt x="1279" y="904"/>
                    </a:cubicBezTo>
                    <a:cubicBezTo>
                      <a:pt x="1280" y="903"/>
                      <a:pt x="1280" y="903"/>
                      <a:pt x="1280" y="903"/>
                    </a:cubicBezTo>
                    <a:cubicBezTo>
                      <a:pt x="1280" y="903"/>
                      <a:pt x="1281" y="903"/>
                      <a:pt x="1282" y="903"/>
                    </a:cubicBezTo>
                    <a:cubicBezTo>
                      <a:pt x="1283" y="903"/>
                      <a:pt x="1283" y="903"/>
                      <a:pt x="1284" y="903"/>
                    </a:cubicBezTo>
                    <a:cubicBezTo>
                      <a:pt x="1285" y="903"/>
                      <a:pt x="1285" y="904"/>
                      <a:pt x="1285" y="904"/>
                    </a:cubicBezTo>
                    <a:cubicBezTo>
                      <a:pt x="1286" y="904"/>
                      <a:pt x="1286" y="904"/>
                      <a:pt x="1286" y="904"/>
                    </a:cubicBezTo>
                    <a:cubicBezTo>
                      <a:pt x="1287" y="904"/>
                      <a:pt x="1288" y="905"/>
                      <a:pt x="1289" y="905"/>
                    </a:cubicBezTo>
                    <a:cubicBezTo>
                      <a:pt x="1289" y="906"/>
                      <a:pt x="1289" y="906"/>
                      <a:pt x="1289" y="906"/>
                    </a:cubicBezTo>
                    <a:cubicBezTo>
                      <a:pt x="1292" y="907"/>
                      <a:pt x="1295" y="908"/>
                      <a:pt x="1296" y="909"/>
                    </a:cubicBezTo>
                    <a:cubicBezTo>
                      <a:pt x="1297" y="909"/>
                      <a:pt x="1297" y="909"/>
                      <a:pt x="1297" y="909"/>
                    </a:cubicBezTo>
                    <a:cubicBezTo>
                      <a:pt x="1321" y="904"/>
                      <a:pt x="1321" y="904"/>
                      <a:pt x="1321" y="904"/>
                    </a:cubicBezTo>
                    <a:cubicBezTo>
                      <a:pt x="1318" y="911"/>
                      <a:pt x="1318" y="911"/>
                      <a:pt x="1318" y="911"/>
                    </a:cubicBezTo>
                    <a:cubicBezTo>
                      <a:pt x="1317" y="911"/>
                      <a:pt x="1317" y="912"/>
                      <a:pt x="1316" y="913"/>
                    </a:cubicBezTo>
                    <a:cubicBezTo>
                      <a:pt x="1314" y="915"/>
                      <a:pt x="1314" y="915"/>
                      <a:pt x="1314" y="915"/>
                    </a:cubicBezTo>
                    <a:cubicBezTo>
                      <a:pt x="1346" y="915"/>
                      <a:pt x="1346" y="915"/>
                      <a:pt x="1346" y="915"/>
                    </a:cubicBezTo>
                    <a:cubicBezTo>
                      <a:pt x="1347" y="915"/>
                      <a:pt x="1347" y="915"/>
                      <a:pt x="1347" y="915"/>
                    </a:cubicBezTo>
                    <a:cubicBezTo>
                      <a:pt x="1351" y="913"/>
                      <a:pt x="1355" y="911"/>
                      <a:pt x="1359" y="909"/>
                    </a:cubicBezTo>
                    <a:cubicBezTo>
                      <a:pt x="1362" y="907"/>
                      <a:pt x="1366" y="905"/>
                      <a:pt x="1371" y="903"/>
                    </a:cubicBezTo>
                    <a:cubicBezTo>
                      <a:pt x="1424" y="881"/>
                      <a:pt x="1424" y="881"/>
                      <a:pt x="1424" y="881"/>
                    </a:cubicBezTo>
                    <a:cubicBezTo>
                      <a:pt x="1404" y="898"/>
                      <a:pt x="1404" y="898"/>
                      <a:pt x="1404" y="898"/>
                    </a:cubicBezTo>
                    <a:cubicBezTo>
                      <a:pt x="1404" y="901"/>
                      <a:pt x="1404" y="901"/>
                      <a:pt x="1404" y="901"/>
                    </a:cubicBezTo>
                    <a:cubicBezTo>
                      <a:pt x="1404" y="903"/>
                      <a:pt x="1404" y="904"/>
                      <a:pt x="1403" y="906"/>
                    </a:cubicBezTo>
                    <a:cubicBezTo>
                      <a:pt x="1403" y="907"/>
                      <a:pt x="1403" y="907"/>
                      <a:pt x="1403" y="907"/>
                    </a:cubicBezTo>
                    <a:cubicBezTo>
                      <a:pt x="1402" y="907"/>
                      <a:pt x="1402" y="907"/>
                      <a:pt x="1402" y="907"/>
                    </a:cubicBezTo>
                    <a:cubicBezTo>
                      <a:pt x="1402" y="907"/>
                      <a:pt x="1402" y="907"/>
                      <a:pt x="1402" y="907"/>
                    </a:cubicBezTo>
                    <a:cubicBezTo>
                      <a:pt x="1401" y="908"/>
                      <a:pt x="1401" y="908"/>
                      <a:pt x="1401" y="908"/>
                    </a:cubicBezTo>
                    <a:cubicBezTo>
                      <a:pt x="1401" y="908"/>
                      <a:pt x="1400" y="909"/>
                      <a:pt x="1400" y="909"/>
                    </a:cubicBezTo>
                    <a:cubicBezTo>
                      <a:pt x="1399" y="909"/>
                      <a:pt x="1399" y="909"/>
                      <a:pt x="1399" y="909"/>
                    </a:cubicBezTo>
                    <a:cubicBezTo>
                      <a:pt x="1400" y="911"/>
                      <a:pt x="1402" y="912"/>
                      <a:pt x="1403" y="913"/>
                    </a:cubicBezTo>
                    <a:cubicBezTo>
                      <a:pt x="1405" y="915"/>
                      <a:pt x="1405" y="915"/>
                      <a:pt x="1405" y="915"/>
                    </a:cubicBezTo>
                    <a:cubicBezTo>
                      <a:pt x="1682" y="915"/>
                      <a:pt x="1682" y="915"/>
                      <a:pt x="1682" y="915"/>
                    </a:cubicBezTo>
                    <a:cubicBezTo>
                      <a:pt x="1682" y="457"/>
                      <a:pt x="1682" y="457"/>
                      <a:pt x="1682" y="457"/>
                    </a:cubicBezTo>
                    <a:moveTo>
                      <a:pt x="955" y="212"/>
                    </a:moveTo>
                    <a:cubicBezTo>
                      <a:pt x="955" y="212"/>
                      <a:pt x="955" y="212"/>
                      <a:pt x="955" y="212"/>
                    </a:cubicBezTo>
                    <a:cubicBezTo>
                      <a:pt x="948" y="214"/>
                      <a:pt x="942" y="220"/>
                      <a:pt x="936" y="221"/>
                    </a:cubicBezTo>
                    <a:cubicBezTo>
                      <a:pt x="933" y="222"/>
                      <a:pt x="927" y="220"/>
                      <a:pt x="929" y="225"/>
                    </a:cubicBezTo>
                    <a:cubicBezTo>
                      <a:pt x="931" y="230"/>
                      <a:pt x="932" y="232"/>
                      <a:pt x="935" y="235"/>
                    </a:cubicBezTo>
                    <a:cubicBezTo>
                      <a:pt x="937" y="237"/>
                      <a:pt x="940" y="240"/>
                      <a:pt x="940" y="243"/>
                    </a:cubicBezTo>
                    <a:cubicBezTo>
                      <a:pt x="940" y="243"/>
                      <a:pt x="941" y="250"/>
                      <a:pt x="943" y="250"/>
                    </a:cubicBezTo>
                    <a:cubicBezTo>
                      <a:pt x="943" y="250"/>
                      <a:pt x="944" y="250"/>
                      <a:pt x="945" y="249"/>
                    </a:cubicBezTo>
                    <a:cubicBezTo>
                      <a:pt x="945" y="248"/>
                      <a:pt x="946" y="247"/>
                      <a:pt x="947" y="247"/>
                    </a:cubicBezTo>
                    <a:cubicBezTo>
                      <a:pt x="948" y="247"/>
                      <a:pt x="949" y="250"/>
                      <a:pt x="950" y="252"/>
                    </a:cubicBezTo>
                    <a:cubicBezTo>
                      <a:pt x="951" y="256"/>
                      <a:pt x="951" y="258"/>
                      <a:pt x="948" y="260"/>
                    </a:cubicBezTo>
                    <a:cubicBezTo>
                      <a:pt x="941" y="265"/>
                      <a:pt x="931" y="267"/>
                      <a:pt x="924" y="270"/>
                    </a:cubicBezTo>
                    <a:cubicBezTo>
                      <a:pt x="923" y="270"/>
                      <a:pt x="923" y="270"/>
                      <a:pt x="923" y="270"/>
                    </a:cubicBezTo>
                    <a:cubicBezTo>
                      <a:pt x="923" y="270"/>
                      <a:pt x="923" y="270"/>
                      <a:pt x="923" y="270"/>
                    </a:cubicBezTo>
                    <a:cubicBezTo>
                      <a:pt x="922" y="272"/>
                      <a:pt x="920" y="274"/>
                      <a:pt x="920" y="276"/>
                    </a:cubicBezTo>
                    <a:cubicBezTo>
                      <a:pt x="920" y="277"/>
                      <a:pt x="922" y="278"/>
                      <a:pt x="922" y="279"/>
                    </a:cubicBezTo>
                    <a:cubicBezTo>
                      <a:pt x="922" y="282"/>
                      <a:pt x="921" y="285"/>
                      <a:pt x="919" y="286"/>
                    </a:cubicBezTo>
                    <a:cubicBezTo>
                      <a:pt x="917" y="287"/>
                      <a:pt x="916" y="287"/>
                      <a:pt x="914" y="287"/>
                    </a:cubicBezTo>
                    <a:cubicBezTo>
                      <a:pt x="910" y="287"/>
                      <a:pt x="905" y="285"/>
                      <a:pt x="902" y="285"/>
                    </a:cubicBezTo>
                    <a:cubicBezTo>
                      <a:pt x="895" y="283"/>
                      <a:pt x="899" y="282"/>
                      <a:pt x="898" y="278"/>
                    </a:cubicBezTo>
                    <a:cubicBezTo>
                      <a:pt x="898" y="277"/>
                      <a:pt x="897" y="276"/>
                      <a:pt x="897" y="274"/>
                    </a:cubicBezTo>
                    <a:cubicBezTo>
                      <a:pt x="897" y="274"/>
                      <a:pt x="899" y="271"/>
                      <a:pt x="899" y="271"/>
                    </a:cubicBezTo>
                    <a:cubicBezTo>
                      <a:pt x="902" y="269"/>
                      <a:pt x="908" y="270"/>
                      <a:pt x="907" y="266"/>
                    </a:cubicBezTo>
                    <a:cubicBezTo>
                      <a:pt x="906" y="265"/>
                      <a:pt x="901" y="262"/>
                      <a:pt x="900" y="261"/>
                    </a:cubicBezTo>
                    <a:cubicBezTo>
                      <a:pt x="897" y="259"/>
                      <a:pt x="895" y="259"/>
                      <a:pt x="892" y="258"/>
                    </a:cubicBezTo>
                    <a:cubicBezTo>
                      <a:pt x="895" y="256"/>
                      <a:pt x="898" y="256"/>
                      <a:pt x="901" y="255"/>
                    </a:cubicBezTo>
                    <a:cubicBezTo>
                      <a:pt x="900" y="255"/>
                      <a:pt x="899" y="255"/>
                      <a:pt x="898" y="255"/>
                    </a:cubicBezTo>
                    <a:cubicBezTo>
                      <a:pt x="890" y="255"/>
                      <a:pt x="882" y="259"/>
                      <a:pt x="875" y="265"/>
                    </a:cubicBezTo>
                    <a:cubicBezTo>
                      <a:pt x="877" y="266"/>
                      <a:pt x="879" y="266"/>
                      <a:pt x="879" y="268"/>
                    </a:cubicBezTo>
                    <a:cubicBezTo>
                      <a:pt x="877" y="267"/>
                      <a:pt x="874" y="265"/>
                      <a:pt x="872" y="263"/>
                    </a:cubicBezTo>
                    <a:cubicBezTo>
                      <a:pt x="872" y="262"/>
                      <a:pt x="874" y="261"/>
                      <a:pt x="873" y="261"/>
                    </a:cubicBezTo>
                    <a:cubicBezTo>
                      <a:pt x="873" y="261"/>
                      <a:pt x="872" y="261"/>
                      <a:pt x="870" y="262"/>
                    </a:cubicBezTo>
                    <a:cubicBezTo>
                      <a:pt x="864" y="265"/>
                      <a:pt x="855" y="268"/>
                      <a:pt x="851" y="273"/>
                    </a:cubicBezTo>
                    <a:cubicBezTo>
                      <a:pt x="849" y="275"/>
                      <a:pt x="851" y="276"/>
                      <a:pt x="847" y="276"/>
                    </a:cubicBezTo>
                    <a:cubicBezTo>
                      <a:pt x="846" y="276"/>
                      <a:pt x="846" y="276"/>
                      <a:pt x="845" y="276"/>
                    </a:cubicBezTo>
                    <a:cubicBezTo>
                      <a:pt x="842" y="276"/>
                      <a:pt x="838" y="275"/>
                      <a:pt x="835" y="275"/>
                    </a:cubicBezTo>
                    <a:cubicBezTo>
                      <a:pt x="831" y="274"/>
                      <a:pt x="828" y="273"/>
                      <a:pt x="825" y="273"/>
                    </a:cubicBezTo>
                    <a:cubicBezTo>
                      <a:pt x="824" y="273"/>
                      <a:pt x="822" y="273"/>
                      <a:pt x="821" y="274"/>
                    </a:cubicBezTo>
                    <a:cubicBezTo>
                      <a:pt x="820" y="274"/>
                      <a:pt x="819" y="274"/>
                      <a:pt x="818" y="274"/>
                    </a:cubicBezTo>
                    <a:cubicBezTo>
                      <a:pt x="816" y="274"/>
                      <a:pt x="814" y="273"/>
                      <a:pt x="811" y="272"/>
                    </a:cubicBezTo>
                    <a:cubicBezTo>
                      <a:pt x="810" y="272"/>
                      <a:pt x="810" y="272"/>
                      <a:pt x="810" y="272"/>
                    </a:cubicBezTo>
                    <a:cubicBezTo>
                      <a:pt x="805" y="272"/>
                      <a:pt x="797" y="279"/>
                      <a:pt x="793" y="281"/>
                    </a:cubicBezTo>
                    <a:cubicBezTo>
                      <a:pt x="789" y="284"/>
                      <a:pt x="785" y="287"/>
                      <a:pt x="781" y="289"/>
                    </a:cubicBezTo>
                    <a:cubicBezTo>
                      <a:pt x="779" y="291"/>
                      <a:pt x="780" y="292"/>
                      <a:pt x="779" y="293"/>
                    </a:cubicBezTo>
                    <a:cubicBezTo>
                      <a:pt x="778" y="294"/>
                      <a:pt x="777" y="295"/>
                      <a:pt x="776" y="295"/>
                    </a:cubicBezTo>
                    <a:cubicBezTo>
                      <a:pt x="776" y="295"/>
                      <a:pt x="775" y="294"/>
                      <a:pt x="773" y="293"/>
                    </a:cubicBezTo>
                    <a:cubicBezTo>
                      <a:pt x="771" y="292"/>
                      <a:pt x="770" y="290"/>
                      <a:pt x="767" y="290"/>
                    </a:cubicBezTo>
                    <a:cubicBezTo>
                      <a:pt x="767" y="290"/>
                      <a:pt x="766" y="290"/>
                      <a:pt x="765" y="291"/>
                    </a:cubicBezTo>
                    <a:cubicBezTo>
                      <a:pt x="762" y="292"/>
                      <a:pt x="761" y="294"/>
                      <a:pt x="760" y="294"/>
                    </a:cubicBezTo>
                    <a:cubicBezTo>
                      <a:pt x="759" y="294"/>
                      <a:pt x="758" y="293"/>
                      <a:pt x="758" y="290"/>
                    </a:cubicBezTo>
                    <a:cubicBezTo>
                      <a:pt x="755" y="291"/>
                      <a:pt x="754" y="293"/>
                      <a:pt x="752" y="293"/>
                    </a:cubicBezTo>
                    <a:cubicBezTo>
                      <a:pt x="751" y="293"/>
                      <a:pt x="750" y="293"/>
                      <a:pt x="749" y="292"/>
                    </a:cubicBezTo>
                    <a:cubicBezTo>
                      <a:pt x="744" y="291"/>
                      <a:pt x="739" y="290"/>
                      <a:pt x="735" y="287"/>
                    </a:cubicBezTo>
                    <a:cubicBezTo>
                      <a:pt x="738" y="286"/>
                      <a:pt x="740" y="287"/>
                      <a:pt x="743" y="286"/>
                    </a:cubicBezTo>
                    <a:cubicBezTo>
                      <a:pt x="742" y="286"/>
                      <a:pt x="742" y="285"/>
                      <a:pt x="741" y="285"/>
                    </a:cubicBezTo>
                    <a:cubicBezTo>
                      <a:pt x="742" y="284"/>
                      <a:pt x="743" y="284"/>
                      <a:pt x="744" y="284"/>
                    </a:cubicBezTo>
                    <a:cubicBezTo>
                      <a:pt x="745" y="284"/>
                      <a:pt x="746" y="284"/>
                      <a:pt x="746" y="284"/>
                    </a:cubicBezTo>
                    <a:cubicBezTo>
                      <a:pt x="747" y="284"/>
                      <a:pt x="748" y="284"/>
                      <a:pt x="748" y="284"/>
                    </a:cubicBezTo>
                    <a:cubicBezTo>
                      <a:pt x="749" y="284"/>
                      <a:pt x="750" y="284"/>
                      <a:pt x="751" y="284"/>
                    </a:cubicBezTo>
                    <a:cubicBezTo>
                      <a:pt x="750" y="280"/>
                      <a:pt x="750" y="279"/>
                      <a:pt x="748" y="276"/>
                    </a:cubicBezTo>
                    <a:cubicBezTo>
                      <a:pt x="744" y="272"/>
                      <a:pt x="746" y="272"/>
                      <a:pt x="748" y="268"/>
                    </a:cubicBezTo>
                    <a:cubicBezTo>
                      <a:pt x="749" y="266"/>
                      <a:pt x="749" y="266"/>
                      <a:pt x="751" y="264"/>
                    </a:cubicBezTo>
                    <a:cubicBezTo>
                      <a:pt x="753" y="263"/>
                      <a:pt x="755" y="263"/>
                      <a:pt x="752" y="261"/>
                    </a:cubicBezTo>
                    <a:cubicBezTo>
                      <a:pt x="749" y="260"/>
                      <a:pt x="744" y="261"/>
                      <a:pt x="742" y="259"/>
                    </a:cubicBezTo>
                    <a:cubicBezTo>
                      <a:pt x="743" y="259"/>
                      <a:pt x="744" y="259"/>
                      <a:pt x="745" y="259"/>
                    </a:cubicBezTo>
                    <a:cubicBezTo>
                      <a:pt x="736" y="261"/>
                      <a:pt x="728" y="263"/>
                      <a:pt x="719" y="267"/>
                    </a:cubicBezTo>
                    <a:cubicBezTo>
                      <a:pt x="716" y="268"/>
                      <a:pt x="713" y="270"/>
                      <a:pt x="710" y="271"/>
                    </a:cubicBezTo>
                    <a:cubicBezTo>
                      <a:pt x="707" y="272"/>
                      <a:pt x="702" y="274"/>
                      <a:pt x="706" y="275"/>
                    </a:cubicBezTo>
                    <a:cubicBezTo>
                      <a:pt x="707" y="276"/>
                      <a:pt x="708" y="276"/>
                      <a:pt x="708" y="276"/>
                    </a:cubicBezTo>
                    <a:cubicBezTo>
                      <a:pt x="708" y="276"/>
                      <a:pt x="709" y="276"/>
                      <a:pt x="709" y="276"/>
                    </a:cubicBezTo>
                    <a:cubicBezTo>
                      <a:pt x="709" y="276"/>
                      <a:pt x="709" y="276"/>
                      <a:pt x="709" y="276"/>
                    </a:cubicBezTo>
                    <a:cubicBezTo>
                      <a:pt x="710" y="276"/>
                      <a:pt x="710" y="276"/>
                      <a:pt x="711" y="276"/>
                    </a:cubicBezTo>
                    <a:cubicBezTo>
                      <a:pt x="712" y="276"/>
                      <a:pt x="713" y="278"/>
                      <a:pt x="714" y="279"/>
                    </a:cubicBezTo>
                    <a:cubicBezTo>
                      <a:pt x="716" y="281"/>
                      <a:pt x="718" y="281"/>
                      <a:pt x="714" y="284"/>
                    </a:cubicBezTo>
                    <a:cubicBezTo>
                      <a:pt x="713" y="285"/>
                      <a:pt x="708" y="288"/>
                      <a:pt x="706" y="288"/>
                    </a:cubicBezTo>
                    <a:cubicBezTo>
                      <a:pt x="706" y="288"/>
                      <a:pt x="706" y="288"/>
                      <a:pt x="706" y="288"/>
                    </a:cubicBezTo>
                    <a:cubicBezTo>
                      <a:pt x="703" y="288"/>
                      <a:pt x="704" y="288"/>
                      <a:pt x="704" y="284"/>
                    </a:cubicBezTo>
                    <a:cubicBezTo>
                      <a:pt x="705" y="283"/>
                      <a:pt x="704" y="281"/>
                      <a:pt x="706" y="281"/>
                    </a:cubicBezTo>
                    <a:cubicBezTo>
                      <a:pt x="705" y="279"/>
                      <a:pt x="701" y="279"/>
                      <a:pt x="699" y="279"/>
                    </a:cubicBezTo>
                    <a:cubicBezTo>
                      <a:pt x="700" y="279"/>
                      <a:pt x="701" y="278"/>
                      <a:pt x="702" y="276"/>
                    </a:cubicBezTo>
                    <a:cubicBezTo>
                      <a:pt x="697" y="277"/>
                      <a:pt x="687" y="278"/>
                      <a:pt x="683" y="281"/>
                    </a:cubicBezTo>
                    <a:cubicBezTo>
                      <a:pt x="682" y="282"/>
                      <a:pt x="685" y="282"/>
                      <a:pt x="684" y="283"/>
                    </a:cubicBezTo>
                    <a:cubicBezTo>
                      <a:pt x="683" y="284"/>
                      <a:pt x="682" y="283"/>
                      <a:pt x="681" y="284"/>
                    </a:cubicBezTo>
                    <a:cubicBezTo>
                      <a:pt x="680" y="284"/>
                      <a:pt x="677" y="285"/>
                      <a:pt x="675" y="285"/>
                    </a:cubicBezTo>
                    <a:cubicBezTo>
                      <a:pt x="672" y="286"/>
                      <a:pt x="669" y="287"/>
                      <a:pt x="665" y="287"/>
                    </a:cubicBezTo>
                    <a:cubicBezTo>
                      <a:pt x="660" y="288"/>
                      <a:pt x="658" y="289"/>
                      <a:pt x="654" y="292"/>
                    </a:cubicBezTo>
                    <a:cubicBezTo>
                      <a:pt x="651" y="294"/>
                      <a:pt x="647" y="295"/>
                      <a:pt x="644" y="297"/>
                    </a:cubicBezTo>
                    <a:cubicBezTo>
                      <a:pt x="641" y="298"/>
                      <a:pt x="640" y="301"/>
                      <a:pt x="637" y="303"/>
                    </a:cubicBezTo>
                    <a:cubicBezTo>
                      <a:pt x="634" y="304"/>
                      <a:pt x="631" y="305"/>
                      <a:pt x="628" y="306"/>
                    </a:cubicBezTo>
                    <a:cubicBezTo>
                      <a:pt x="625" y="307"/>
                      <a:pt x="622" y="309"/>
                      <a:pt x="618" y="310"/>
                    </a:cubicBezTo>
                    <a:cubicBezTo>
                      <a:pt x="616" y="311"/>
                      <a:pt x="614" y="311"/>
                      <a:pt x="611" y="311"/>
                    </a:cubicBezTo>
                    <a:cubicBezTo>
                      <a:pt x="610" y="312"/>
                      <a:pt x="609" y="312"/>
                      <a:pt x="608" y="312"/>
                    </a:cubicBezTo>
                    <a:cubicBezTo>
                      <a:pt x="605" y="312"/>
                      <a:pt x="606" y="312"/>
                      <a:pt x="605" y="314"/>
                    </a:cubicBezTo>
                    <a:cubicBezTo>
                      <a:pt x="604" y="318"/>
                      <a:pt x="605" y="317"/>
                      <a:pt x="608" y="318"/>
                    </a:cubicBezTo>
                    <a:cubicBezTo>
                      <a:pt x="611" y="319"/>
                      <a:pt x="612" y="321"/>
                      <a:pt x="614" y="322"/>
                    </a:cubicBezTo>
                    <a:cubicBezTo>
                      <a:pt x="613" y="322"/>
                      <a:pt x="612" y="322"/>
                      <a:pt x="612" y="322"/>
                    </a:cubicBezTo>
                    <a:cubicBezTo>
                      <a:pt x="609" y="322"/>
                      <a:pt x="606" y="322"/>
                      <a:pt x="603" y="321"/>
                    </a:cubicBezTo>
                    <a:cubicBezTo>
                      <a:pt x="600" y="321"/>
                      <a:pt x="597" y="321"/>
                      <a:pt x="594" y="321"/>
                    </a:cubicBezTo>
                    <a:cubicBezTo>
                      <a:pt x="593" y="321"/>
                      <a:pt x="592" y="321"/>
                      <a:pt x="591" y="321"/>
                    </a:cubicBezTo>
                    <a:cubicBezTo>
                      <a:pt x="588" y="321"/>
                      <a:pt x="588" y="322"/>
                      <a:pt x="586" y="323"/>
                    </a:cubicBezTo>
                    <a:cubicBezTo>
                      <a:pt x="584" y="324"/>
                      <a:pt x="578" y="323"/>
                      <a:pt x="577" y="324"/>
                    </a:cubicBezTo>
                    <a:cubicBezTo>
                      <a:pt x="576" y="326"/>
                      <a:pt x="581" y="328"/>
                      <a:pt x="581" y="330"/>
                    </a:cubicBezTo>
                    <a:cubicBezTo>
                      <a:pt x="581" y="333"/>
                      <a:pt x="577" y="335"/>
                      <a:pt x="576" y="338"/>
                    </a:cubicBezTo>
                    <a:cubicBezTo>
                      <a:pt x="576" y="339"/>
                      <a:pt x="576" y="340"/>
                      <a:pt x="576" y="342"/>
                    </a:cubicBezTo>
                    <a:cubicBezTo>
                      <a:pt x="575" y="342"/>
                      <a:pt x="574" y="342"/>
                      <a:pt x="574" y="343"/>
                    </a:cubicBezTo>
                    <a:cubicBezTo>
                      <a:pt x="573" y="344"/>
                      <a:pt x="574" y="344"/>
                      <a:pt x="574" y="345"/>
                    </a:cubicBezTo>
                    <a:cubicBezTo>
                      <a:pt x="575" y="348"/>
                      <a:pt x="576" y="350"/>
                      <a:pt x="574" y="353"/>
                    </a:cubicBezTo>
                    <a:cubicBezTo>
                      <a:pt x="573" y="354"/>
                      <a:pt x="572" y="355"/>
                      <a:pt x="571" y="356"/>
                    </a:cubicBezTo>
                    <a:cubicBezTo>
                      <a:pt x="570" y="357"/>
                      <a:pt x="571" y="359"/>
                      <a:pt x="569" y="359"/>
                    </a:cubicBezTo>
                    <a:cubicBezTo>
                      <a:pt x="569" y="359"/>
                      <a:pt x="568" y="359"/>
                      <a:pt x="567" y="359"/>
                    </a:cubicBezTo>
                    <a:cubicBezTo>
                      <a:pt x="566" y="358"/>
                      <a:pt x="564" y="358"/>
                      <a:pt x="563" y="358"/>
                    </a:cubicBezTo>
                    <a:cubicBezTo>
                      <a:pt x="562" y="358"/>
                      <a:pt x="561" y="358"/>
                      <a:pt x="560" y="358"/>
                    </a:cubicBezTo>
                    <a:cubicBezTo>
                      <a:pt x="560" y="457"/>
                      <a:pt x="560" y="457"/>
                      <a:pt x="560" y="457"/>
                    </a:cubicBezTo>
                    <a:cubicBezTo>
                      <a:pt x="1122" y="457"/>
                      <a:pt x="1122" y="457"/>
                      <a:pt x="1122" y="457"/>
                    </a:cubicBezTo>
                    <a:cubicBezTo>
                      <a:pt x="1122" y="261"/>
                      <a:pt x="1122" y="261"/>
                      <a:pt x="1122" y="261"/>
                    </a:cubicBezTo>
                    <a:cubicBezTo>
                      <a:pt x="1120" y="261"/>
                      <a:pt x="1119" y="261"/>
                      <a:pt x="1118" y="260"/>
                    </a:cubicBezTo>
                    <a:cubicBezTo>
                      <a:pt x="1117" y="260"/>
                      <a:pt x="1117" y="260"/>
                      <a:pt x="1117" y="260"/>
                    </a:cubicBezTo>
                    <a:cubicBezTo>
                      <a:pt x="1117" y="260"/>
                      <a:pt x="1117" y="260"/>
                      <a:pt x="1117" y="260"/>
                    </a:cubicBezTo>
                    <a:cubicBezTo>
                      <a:pt x="1117" y="260"/>
                      <a:pt x="1116" y="260"/>
                      <a:pt x="1116" y="260"/>
                    </a:cubicBezTo>
                    <a:cubicBezTo>
                      <a:pt x="1111" y="260"/>
                      <a:pt x="1108" y="258"/>
                      <a:pt x="1103" y="257"/>
                    </a:cubicBezTo>
                    <a:cubicBezTo>
                      <a:pt x="1092" y="253"/>
                      <a:pt x="1092" y="253"/>
                      <a:pt x="1092" y="253"/>
                    </a:cubicBezTo>
                    <a:cubicBezTo>
                      <a:pt x="1089" y="251"/>
                      <a:pt x="1089" y="251"/>
                      <a:pt x="1089" y="251"/>
                    </a:cubicBezTo>
                    <a:cubicBezTo>
                      <a:pt x="1089" y="249"/>
                      <a:pt x="1089" y="249"/>
                      <a:pt x="1089" y="249"/>
                    </a:cubicBezTo>
                    <a:cubicBezTo>
                      <a:pt x="1089" y="249"/>
                      <a:pt x="1089" y="249"/>
                      <a:pt x="1089" y="249"/>
                    </a:cubicBezTo>
                    <a:cubicBezTo>
                      <a:pt x="1087" y="248"/>
                      <a:pt x="1087" y="248"/>
                      <a:pt x="1087" y="248"/>
                    </a:cubicBezTo>
                    <a:cubicBezTo>
                      <a:pt x="1085" y="247"/>
                      <a:pt x="1085" y="247"/>
                      <a:pt x="1085" y="247"/>
                    </a:cubicBezTo>
                    <a:cubicBezTo>
                      <a:pt x="1067" y="241"/>
                      <a:pt x="1067" y="241"/>
                      <a:pt x="1067" y="241"/>
                    </a:cubicBezTo>
                    <a:cubicBezTo>
                      <a:pt x="1066" y="242"/>
                      <a:pt x="1066" y="242"/>
                      <a:pt x="1066" y="242"/>
                    </a:cubicBezTo>
                    <a:cubicBezTo>
                      <a:pt x="1066" y="243"/>
                      <a:pt x="1066" y="243"/>
                      <a:pt x="1066" y="243"/>
                    </a:cubicBezTo>
                    <a:cubicBezTo>
                      <a:pt x="1066" y="243"/>
                      <a:pt x="1066" y="243"/>
                      <a:pt x="1066" y="243"/>
                    </a:cubicBezTo>
                    <a:cubicBezTo>
                      <a:pt x="1066" y="242"/>
                      <a:pt x="1066" y="242"/>
                      <a:pt x="1066" y="242"/>
                    </a:cubicBezTo>
                    <a:cubicBezTo>
                      <a:pt x="1065" y="243"/>
                      <a:pt x="1063" y="245"/>
                      <a:pt x="1063" y="245"/>
                    </a:cubicBezTo>
                    <a:cubicBezTo>
                      <a:pt x="1063" y="245"/>
                      <a:pt x="1063" y="245"/>
                      <a:pt x="1063" y="245"/>
                    </a:cubicBezTo>
                    <a:cubicBezTo>
                      <a:pt x="1063" y="246"/>
                      <a:pt x="1063" y="246"/>
                      <a:pt x="1063" y="246"/>
                    </a:cubicBezTo>
                    <a:cubicBezTo>
                      <a:pt x="1061" y="247"/>
                      <a:pt x="1061" y="247"/>
                      <a:pt x="1061" y="247"/>
                    </a:cubicBezTo>
                    <a:cubicBezTo>
                      <a:pt x="1061" y="247"/>
                      <a:pt x="1059" y="242"/>
                      <a:pt x="1061" y="241"/>
                    </a:cubicBezTo>
                    <a:cubicBezTo>
                      <a:pt x="1061" y="240"/>
                      <a:pt x="1061" y="240"/>
                      <a:pt x="1062" y="240"/>
                    </a:cubicBezTo>
                    <a:cubicBezTo>
                      <a:pt x="1062" y="240"/>
                      <a:pt x="1063" y="240"/>
                      <a:pt x="1063" y="241"/>
                    </a:cubicBezTo>
                    <a:cubicBezTo>
                      <a:pt x="1064" y="241"/>
                      <a:pt x="1064" y="241"/>
                      <a:pt x="1065" y="241"/>
                    </a:cubicBezTo>
                    <a:cubicBezTo>
                      <a:pt x="1065" y="241"/>
                      <a:pt x="1066" y="241"/>
                      <a:pt x="1066" y="240"/>
                    </a:cubicBezTo>
                    <a:cubicBezTo>
                      <a:pt x="1066" y="239"/>
                      <a:pt x="1060" y="237"/>
                      <a:pt x="1059" y="236"/>
                    </a:cubicBezTo>
                    <a:cubicBezTo>
                      <a:pt x="1054" y="234"/>
                      <a:pt x="1050" y="231"/>
                      <a:pt x="1044" y="229"/>
                    </a:cubicBezTo>
                    <a:cubicBezTo>
                      <a:pt x="1029" y="223"/>
                      <a:pt x="1013" y="220"/>
                      <a:pt x="997" y="218"/>
                    </a:cubicBezTo>
                    <a:cubicBezTo>
                      <a:pt x="986" y="217"/>
                      <a:pt x="975" y="216"/>
                      <a:pt x="964" y="214"/>
                    </a:cubicBezTo>
                    <a:cubicBezTo>
                      <a:pt x="962" y="214"/>
                      <a:pt x="957" y="212"/>
                      <a:pt x="955" y="212"/>
                    </a:cubicBezTo>
                    <a:moveTo>
                      <a:pt x="1121" y="202"/>
                    </a:moveTo>
                    <a:cubicBezTo>
                      <a:pt x="1121" y="202"/>
                      <a:pt x="1121" y="202"/>
                      <a:pt x="1121" y="202"/>
                    </a:cubicBezTo>
                    <a:cubicBezTo>
                      <a:pt x="1121" y="202"/>
                      <a:pt x="1121" y="202"/>
                      <a:pt x="1121" y="202"/>
                    </a:cubicBezTo>
                    <a:cubicBezTo>
                      <a:pt x="1120" y="203"/>
                      <a:pt x="1120" y="203"/>
                      <a:pt x="1120" y="203"/>
                    </a:cubicBezTo>
                    <a:cubicBezTo>
                      <a:pt x="1120" y="203"/>
                      <a:pt x="1120" y="203"/>
                      <a:pt x="1120" y="203"/>
                    </a:cubicBezTo>
                    <a:cubicBezTo>
                      <a:pt x="1120" y="203"/>
                      <a:pt x="1120" y="203"/>
                      <a:pt x="1120" y="203"/>
                    </a:cubicBezTo>
                    <a:cubicBezTo>
                      <a:pt x="1119" y="204"/>
                      <a:pt x="1119" y="204"/>
                      <a:pt x="1119" y="204"/>
                    </a:cubicBezTo>
                    <a:cubicBezTo>
                      <a:pt x="1119" y="204"/>
                      <a:pt x="1119" y="204"/>
                      <a:pt x="1119" y="204"/>
                    </a:cubicBezTo>
                    <a:cubicBezTo>
                      <a:pt x="1119" y="204"/>
                      <a:pt x="1119" y="204"/>
                      <a:pt x="1119" y="204"/>
                    </a:cubicBezTo>
                    <a:cubicBezTo>
                      <a:pt x="1119" y="204"/>
                      <a:pt x="1119" y="204"/>
                      <a:pt x="1119" y="204"/>
                    </a:cubicBezTo>
                    <a:cubicBezTo>
                      <a:pt x="1119" y="204"/>
                      <a:pt x="1119" y="204"/>
                      <a:pt x="1119" y="204"/>
                    </a:cubicBezTo>
                    <a:cubicBezTo>
                      <a:pt x="1119" y="205"/>
                      <a:pt x="1119" y="205"/>
                      <a:pt x="1119" y="205"/>
                    </a:cubicBezTo>
                    <a:cubicBezTo>
                      <a:pt x="1119" y="205"/>
                      <a:pt x="1119" y="205"/>
                      <a:pt x="1119" y="205"/>
                    </a:cubicBezTo>
                    <a:cubicBezTo>
                      <a:pt x="1119" y="205"/>
                      <a:pt x="1119" y="205"/>
                      <a:pt x="1119" y="205"/>
                    </a:cubicBezTo>
                    <a:cubicBezTo>
                      <a:pt x="1119" y="205"/>
                      <a:pt x="1119" y="205"/>
                      <a:pt x="1119" y="205"/>
                    </a:cubicBezTo>
                    <a:cubicBezTo>
                      <a:pt x="1118" y="213"/>
                      <a:pt x="1115" y="214"/>
                      <a:pt x="1116" y="225"/>
                    </a:cubicBezTo>
                    <a:cubicBezTo>
                      <a:pt x="1117" y="226"/>
                      <a:pt x="1117" y="226"/>
                      <a:pt x="1117" y="226"/>
                    </a:cubicBezTo>
                    <a:cubicBezTo>
                      <a:pt x="1117" y="226"/>
                      <a:pt x="1117" y="226"/>
                      <a:pt x="1117" y="226"/>
                    </a:cubicBezTo>
                    <a:cubicBezTo>
                      <a:pt x="1117" y="226"/>
                      <a:pt x="1117" y="226"/>
                      <a:pt x="1117" y="226"/>
                    </a:cubicBezTo>
                    <a:cubicBezTo>
                      <a:pt x="1117" y="227"/>
                      <a:pt x="1117" y="227"/>
                      <a:pt x="1117" y="227"/>
                    </a:cubicBezTo>
                    <a:cubicBezTo>
                      <a:pt x="1118" y="226"/>
                      <a:pt x="1118" y="226"/>
                      <a:pt x="1118" y="226"/>
                    </a:cubicBezTo>
                    <a:cubicBezTo>
                      <a:pt x="1118" y="226"/>
                      <a:pt x="1118" y="226"/>
                      <a:pt x="1118" y="226"/>
                    </a:cubicBezTo>
                    <a:cubicBezTo>
                      <a:pt x="1118" y="224"/>
                      <a:pt x="1118" y="224"/>
                      <a:pt x="1118" y="224"/>
                    </a:cubicBezTo>
                    <a:cubicBezTo>
                      <a:pt x="1118" y="223"/>
                      <a:pt x="1118" y="223"/>
                      <a:pt x="1118" y="223"/>
                    </a:cubicBezTo>
                    <a:cubicBezTo>
                      <a:pt x="1119" y="223"/>
                      <a:pt x="1119" y="223"/>
                      <a:pt x="1119" y="223"/>
                    </a:cubicBezTo>
                    <a:cubicBezTo>
                      <a:pt x="1119" y="223"/>
                      <a:pt x="1119" y="223"/>
                      <a:pt x="1119" y="223"/>
                    </a:cubicBezTo>
                    <a:cubicBezTo>
                      <a:pt x="1119" y="223"/>
                      <a:pt x="1119" y="223"/>
                      <a:pt x="1119" y="223"/>
                    </a:cubicBezTo>
                    <a:cubicBezTo>
                      <a:pt x="1120" y="223"/>
                      <a:pt x="1120" y="223"/>
                      <a:pt x="1120" y="223"/>
                    </a:cubicBezTo>
                    <a:cubicBezTo>
                      <a:pt x="1120" y="223"/>
                      <a:pt x="1120" y="223"/>
                      <a:pt x="1120" y="223"/>
                    </a:cubicBezTo>
                    <a:cubicBezTo>
                      <a:pt x="1120" y="223"/>
                      <a:pt x="1120" y="223"/>
                      <a:pt x="1120" y="223"/>
                    </a:cubicBezTo>
                    <a:cubicBezTo>
                      <a:pt x="1121" y="223"/>
                      <a:pt x="1121" y="223"/>
                      <a:pt x="1121" y="223"/>
                    </a:cubicBezTo>
                    <a:cubicBezTo>
                      <a:pt x="1121" y="222"/>
                      <a:pt x="1121" y="222"/>
                      <a:pt x="1121" y="222"/>
                    </a:cubicBezTo>
                    <a:cubicBezTo>
                      <a:pt x="1122" y="221"/>
                      <a:pt x="1122" y="221"/>
                      <a:pt x="1122" y="221"/>
                    </a:cubicBezTo>
                    <a:cubicBezTo>
                      <a:pt x="1122" y="220"/>
                      <a:pt x="1122" y="220"/>
                      <a:pt x="1122" y="220"/>
                    </a:cubicBezTo>
                    <a:cubicBezTo>
                      <a:pt x="1122" y="202"/>
                      <a:pt x="1122" y="202"/>
                      <a:pt x="1122" y="202"/>
                    </a:cubicBezTo>
                    <a:cubicBezTo>
                      <a:pt x="1122" y="202"/>
                      <a:pt x="1122" y="202"/>
                      <a:pt x="1121" y="202"/>
                    </a:cubicBezTo>
                    <a:moveTo>
                      <a:pt x="1121" y="138"/>
                    </a:moveTo>
                    <a:cubicBezTo>
                      <a:pt x="1119" y="138"/>
                      <a:pt x="1119" y="140"/>
                      <a:pt x="1118" y="142"/>
                    </a:cubicBezTo>
                    <a:cubicBezTo>
                      <a:pt x="1118" y="142"/>
                      <a:pt x="1118" y="142"/>
                      <a:pt x="1118" y="142"/>
                    </a:cubicBezTo>
                    <a:cubicBezTo>
                      <a:pt x="1118" y="143"/>
                      <a:pt x="1118" y="143"/>
                      <a:pt x="1118" y="143"/>
                    </a:cubicBezTo>
                    <a:cubicBezTo>
                      <a:pt x="1118" y="143"/>
                      <a:pt x="1118" y="143"/>
                      <a:pt x="1118" y="143"/>
                    </a:cubicBezTo>
                    <a:cubicBezTo>
                      <a:pt x="1118" y="143"/>
                      <a:pt x="1118" y="143"/>
                      <a:pt x="1118" y="143"/>
                    </a:cubicBezTo>
                    <a:cubicBezTo>
                      <a:pt x="1117" y="144"/>
                      <a:pt x="1117" y="144"/>
                      <a:pt x="1117" y="144"/>
                    </a:cubicBezTo>
                    <a:cubicBezTo>
                      <a:pt x="1117" y="144"/>
                      <a:pt x="1117" y="144"/>
                      <a:pt x="1117" y="144"/>
                    </a:cubicBezTo>
                    <a:cubicBezTo>
                      <a:pt x="1117" y="144"/>
                      <a:pt x="1117" y="144"/>
                      <a:pt x="1117" y="144"/>
                    </a:cubicBezTo>
                    <a:cubicBezTo>
                      <a:pt x="1117" y="145"/>
                      <a:pt x="1117" y="145"/>
                      <a:pt x="1117" y="145"/>
                    </a:cubicBezTo>
                    <a:cubicBezTo>
                      <a:pt x="1117" y="145"/>
                      <a:pt x="1117" y="145"/>
                      <a:pt x="1117" y="145"/>
                    </a:cubicBezTo>
                    <a:cubicBezTo>
                      <a:pt x="1116" y="145"/>
                      <a:pt x="1116" y="145"/>
                      <a:pt x="1116" y="145"/>
                    </a:cubicBezTo>
                    <a:cubicBezTo>
                      <a:pt x="1116" y="146"/>
                      <a:pt x="1116" y="146"/>
                      <a:pt x="1116" y="146"/>
                    </a:cubicBezTo>
                    <a:cubicBezTo>
                      <a:pt x="1116" y="146"/>
                      <a:pt x="1116" y="146"/>
                      <a:pt x="1116" y="146"/>
                    </a:cubicBezTo>
                    <a:cubicBezTo>
                      <a:pt x="1115" y="147"/>
                      <a:pt x="1114" y="147"/>
                      <a:pt x="1113" y="149"/>
                    </a:cubicBezTo>
                    <a:cubicBezTo>
                      <a:pt x="1112" y="151"/>
                      <a:pt x="1112" y="151"/>
                      <a:pt x="1112" y="151"/>
                    </a:cubicBezTo>
                    <a:cubicBezTo>
                      <a:pt x="1112" y="152"/>
                      <a:pt x="1112" y="152"/>
                      <a:pt x="1112" y="152"/>
                    </a:cubicBezTo>
                    <a:cubicBezTo>
                      <a:pt x="1112" y="152"/>
                      <a:pt x="1112" y="152"/>
                      <a:pt x="1112" y="152"/>
                    </a:cubicBezTo>
                    <a:cubicBezTo>
                      <a:pt x="1112" y="153"/>
                      <a:pt x="1112" y="153"/>
                      <a:pt x="1112" y="153"/>
                    </a:cubicBezTo>
                    <a:cubicBezTo>
                      <a:pt x="1113" y="153"/>
                      <a:pt x="1113" y="153"/>
                      <a:pt x="1114" y="153"/>
                    </a:cubicBezTo>
                    <a:cubicBezTo>
                      <a:pt x="1114" y="153"/>
                      <a:pt x="1114" y="153"/>
                      <a:pt x="1114" y="153"/>
                    </a:cubicBezTo>
                    <a:cubicBezTo>
                      <a:pt x="1114" y="153"/>
                      <a:pt x="1114" y="153"/>
                      <a:pt x="1114" y="153"/>
                    </a:cubicBezTo>
                    <a:cubicBezTo>
                      <a:pt x="1114" y="153"/>
                      <a:pt x="1114" y="153"/>
                      <a:pt x="1114" y="153"/>
                    </a:cubicBezTo>
                    <a:cubicBezTo>
                      <a:pt x="1115" y="153"/>
                      <a:pt x="1115" y="153"/>
                      <a:pt x="1115" y="153"/>
                    </a:cubicBezTo>
                    <a:cubicBezTo>
                      <a:pt x="1115" y="153"/>
                      <a:pt x="1115" y="153"/>
                      <a:pt x="1115" y="153"/>
                    </a:cubicBezTo>
                    <a:cubicBezTo>
                      <a:pt x="1115" y="153"/>
                      <a:pt x="1115" y="153"/>
                      <a:pt x="1115" y="153"/>
                    </a:cubicBezTo>
                    <a:cubicBezTo>
                      <a:pt x="1115" y="152"/>
                      <a:pt x="1115" y="152"/>
                      <a:pt x="1115" y="152"/>
                    </a:cubicBezTo>
                    <a:cubicBezTo>
                      <a:pt x="1115" y="151"/>
                      <a:pt x="1115" y="151"/>
                      <a:pt x="1115" y="151"/>
                    </a:cubicBezTo>
                    <a:cubicBezTo>
                      <a:pt x="1115" y="151"/>
                      <a:pt x="1115" y="151"/>
                      <a:pt x="1115" y="151"/>
                    </a:cubicBezTo>
                    <a:cubicBezTo>
                      <a:pt x="1116" y="150"/>
                      <a:pt x="1116" y="150"/>
                      <a:pt x="1116" y="150"/>
                    </a:cubicBezTo>
                    <a:cubicBezTo>
                      <a:pt x="1117" y="150"/>
                      <a:pt x="1117" y="150"/>
                      <a:pt x="1117" y="150"/>
                    </a:cubicBezTo>
                    <a:cubicBezTo>
                      <a:pt x="1118" y="149"/>
                      <a:pt x="1118" y="149"/>
                      <a:pt x="1118" y="149"/>
                    </a:cubicBezTo>
                    <a:cubicBezTo>
                      <a:pt x="1119" y="150"/>
                      <a:pt x="1119" y="150"/>
                      <a:pt x="1119" y="150"/>
                    </a:cubicBezTo>
                    <a:cubicBezTo>
                      <a:pt x="1119" y="150"/>
                      <a:pt x="1119" y="150"/>
                      <a:pt x="1119" y="150"/>
                    </a:cubicBezTo>
                    <a:cubicBezTo>
                      <a:pt x="1118" y="150"/>
                      <a:pt x="1118" y="150"/>
                      <a:pt x="1118" y="150"/>
                    </a:cubicBezTo>
                    <a:cubicBezTo>
                      <a:pt x="1118" y="150"/>
                      <a:pt x="1118" y="150"/>
                      <a:pt x="1118" y="150"/>
                    </a:cubicBezTo>
                    <a:cubicBezTo>
                      <a:pt x="1118" y="151"/>
                      <a:pt x="1118" y="151"/>
                      <a:pt x="1118" y="151"/>
                    </a:cubicBezTo>
                    <a:cubicBezTo>
                      <a:pt x="1118" y="151"/>
                      <a:pt x="1118" y="151"/>
                      <a:pt x="1118" y="151"/>
                    </a:cubicBezTo>
                    <a:cubicBezTo>
                      <a:pt x="1118" y="152"/>
                      <a:pt x="1118" y="153"/>
                      <a:pt x="1117" y="153"/>
                    </a:cubicBezTo>
                    <a:cubicBezTo>
                      <a:pt x="1117" y="154"/>
                      <a:pt x="1117" y="154"/>
                      <a:pt x="1117" y="154"/>
                    </a:cubicBezTo>
                    <a:cubicBezTo>
                      <a:pt x="1117" y="154"/>
                      <a:pt x="1117" y="154"/>
                      <a:pt x="1117" y="154"/>
                    </a:cubicBezTo>
                    <a:cubicBezTo>
                      <a:pt x="1115" y="157"/>
                      <a:pt x="1115" y="157"/>
                      <a:pt x="1112" y="159"/>
                    </a:cubicBezTo>
                    <a:cubicBezTo>
                      <a:pt x="1112" y="160"/>
                      <a:pt x="1112" y="160"/>
                      <a:pt x="1112" y="160"/>
                    </a:cubicBezTo>
                    <a:cubicBezTo>
                      <a:pt x="1112" y="161"/>
                      <a:pt x="1112" y="161"/>
                      <a:pt x="1112" y="161"/>
                    </a:cubicBezTo>
                    <a:cubicBezTo>
                      <a:pt x="1112" y="161"/>
                      <a:pt x="1112" y="161"/>
                      <a:pt x="1112" y="161"/>
                    </a:cubicBezTo>
                    <a:cubicBezTo>
                      <a:pt x="1112" y="161"/>
                      <a:pt x="1112" y="161"/>
                      <a:pt x="1112" y="161"/>
                    </a:cubicBezTo>
                    <a:cubicBezTo>
                      <a:pt x="1112" y="162"/>
                      <a:pt x="1112" y="162"/>
                      <a:pt x="1112" y="162"/>
                    </a:cubicBezTo>
                    <a:cubicBezTo>
                      <a:pt x="1113" y="162"/>
                      <a:pt x="1113" y="162"/>
                      <a:pt x="1113" y="162"/>
                    </a:cubicBezTo>
                    <a:cubicBezTo>
                      <a:pt x="1113" y="162"/>
                      <a:pt x="1113" y="162"/>
                      <a:pt x="1113" y="162"/>
                    </a:cubicBezTo>
                    <a:cubicBezTo>
                      <a:pt x="1113" y="163"/>
                      <a:pt x="1113" y="163"/>
                      <a:pt x="1113" y="163"/>
                    </a:cubicBezTo>
                    <a:cubicBezTo>
                      <a:pt x="1113" y="164"/>
                      <a:pt x="1113" y="164"/>
                      <a:pt x="1113" y="164"/>
                    </a:cubicBezTo>
                    <a:cubicBezTo>
                      <a:pt x="1113" y="165"/>
                      <a:pt x="1113" y="165"/>
                      <a:pt x="1113" y="165"/>
                    </a:cubicBezTo>
                    <a:cubicBezTo>
                      <a:pt x="1113" y="165"/>
                      <a:pt x="1113" y="165"/>
                      <a:pt x="1113" y="165"/>
                    </a:cubicBezTo>
                    <a:cubicBezTo>
                      <a:pt x="1114" y="165"/>
                      <a:pt x="1114" y="165"/>
                      <a:pt x="1114" y="165"/>
                    </a:cubicBezTo>
                    <a:cubicBezTo>
                      <a:pt x="1114" y="165"/>
                      <a:pt x="1114" y="165"/>
                      <a:pt x="1114" y="165"/>
                    </a:cubicBezTo>
                    <a:cubicBezTo>
                      <a:pt x="1114" y="165"/>
                      <a:pt x="1114" y="165"/>
                      <a:pt x="1114" y="165"/>
                    </a:cubicBezTo>
                    <a:cubicBezTo>
                      <a:pt x="1115" y="165"/>
                      <a:pt x="1115" y="165"/>
                      <a:pt x="1115" y="165"/>
                    </a:cubicBezTo>
                    <a:cubicBezTo>
                      <a:pt x="1116" y="164"/>
                      <a:pt x="1118" y="164"/>
                      <a:pt x="1120" y="164"/>
                    </a:cubicBezTo>
                    <a:cubicBezTo>
                      <a:pt x="1121" y="164"/>
                      <a:pt x="1121" y="164"/>
                      <a:pt x="1121" y="164"/>
                    </a:cubicBezTo>
                    <a:cubicBezTo>
                      <a:pt x="1121" y="164"/>
                      <a:pt x="1121" y="164"/>
                      <a:pt x="1121" y="164"/>
                    </a:cubicBezTo>
                    <a:cubicBezTo>
                      <a:pt x="1122" y="164"/>
                      <a:pt x="1122" y="164"/>
                      <a:pt x="1122" y="164"/>
                    </a:cubicBezTo>
                    <a:cubicBezTo>
                      <a:pt x="1122" y="163"/>
                      <a:pt x="1122" y="163"/>
                      <a:pt x="1122" y="163"/>
                    </a:cubicBezTo>
                    <a:cubicBezTo>
                      <a:pt x="1122" y="138"/>
                      <a:pt x="1122" y="138"/>
                      <a:pt x="1122" y="138"/>
                    </a:cubicBezTo>
                    <a:cubicBezTo>
                      <a:pt x="1122" y="138"/>
                      <a:pt x="1122" y="138"/>
                      <a:pt x="1122" y="138"/>
                    </a:cubicBezTo>
                    <a:cubicBezTo>
                      <a:pt x="1121" y="138"/>
                      <a:pt x="1121" y="138"/>
                      <a:pt x="1121" y="138"/>
                    </a:cubicBezTo>
                    <a:moveTo>
                      <a:pt x="560" y="915"/>
                    </a:moveTo>
                    <a:cubicBezTo>
                      <a:pt x="126" y="915"/>
                      <a:pt x="126" y="915"/>
                      <a:pt x="126" y="915"/>
                    </a:cubicBezTo>
                    <a:cubicBezTo>
                      <a:pt x="126" y="916"/>
                      <a:pt x="126" y="916"/>
                      <a:pt x="126" y="917"/>
                    </a:cubicBezTo>
                    <a:cubicBezTo>
                      <a:pt x="128" y="918"/>
                      <a:pt x="133" y="919"/>
                      <a:pt x="142" y="920"/>
                    </a:cubicBezTo>
                    <a:cubicBezTo>
                      <a:pt x="150" y="920"/>
                      <a:pt x="150" y="920"/>
                      <a:pt x="150" y="920"/>
                    </a:cubicBezTo>
                    <a:cubicBezTo>
                      <a:pt x="144" y="926"/>
                      <a:pt x="144" y="926"/>
                      <a:pt x="144" y="926"/>
                    </a:cubicBezTo>
                    <a:cubicBezTo>
                      <a:pt x="143" y="926"/>
                      <a:pt x="143" y="926"/>
                      <a:pt x="143" y="926"/>
                    </a:cubicBezTo>
                    <a:cubicBezTo>
                      <a:pt x="144" y="926"/>
                      <a:pt x="144" y="927"/>
                      <a:pt x="146" y="928"/>
                    </a:cubicBezTo>
                    <a:cubicBezTo>
                      <a:pt x="147" y="928"/>
                      <a:pt x="148" y="929"/>
                      <a:pt x="149" y="930"/>
                    </a:cubicBezTo>
                    <a:cubicBezTo>
                      <a:pt x="151" y="931"/>
                      <a:pt x="153" y="933"/>
                      <a:pt x="153" y="936"/>
                    </a:cubicBezTo>
                    <a:cubicBezTo>
                      <a:pt x="153" y="937"/>
                      <a:pt x="152" y="938"/>
                      <a:pt x="151" y="940"/>
                    </a:cubicBezTo>
                    <a:cubicBezTo>
                      <a:pt x="151" y="940"/>
                      <a:pt x="150" y="941"/>
                      <a:pt x="149" y="941"/>
                    </a:cubicBezTo>
                    <a:cubicBezTo>
                      <a:pt x="148" y="941"/>
                      <a:pt x="147" y="942"/>
                      <a:pt x="145" y="943"/>
                    </a:cubicBezTo>
                    <a:cubicBezTo>
                      <a:pt x="145" y="944"/>
                      <a:pt x="144" y="944"/>
                      <a:pt x="144" y="945"/>
                    </a:cubicBezTo>
                    <a:cubicBezTo>
                      <a:pt x="143" y="945"/>
                      <a:pt x="143" y="945"/>
                      <a:pt x="143" y="945"/>
                    </a:cubicBezTo>
                    <a:cubicBezTo>
                      <a:pt x="142" y="946"/>
                      <a:pt x="142" y="946"/>
                      <a:pt x="142" y="946"/>
                    </a:cubicBezTo>
                    <a:cubicBezTo>
                      <a:pt x="141" y="946"/>
                      <a:pt x="141" y="946"/>
                      <a:pt x="141" y="946"/>
                    </a:cubicBezTo>
                    <a:cubicBezTo>
                      <a:pt x="138" y="948"/>
                      <a:pt x="138" y="948"/>
                      <a:pt x="138" y="948"/>
                    </a:cubicBezTo>
                    <a:cubicBezTo>
                      <a:pt x="137" y="948"/>
                      <a:pt x="137" y="948"/>
                      <a:pt x="137" y="948"/>
                    </a:cubicBezTo>
                    <a:cubicBezTo>
                      <a:pt x="136" y="948"/>
                      <a:pt x="136" y="949"/>
                      <a:pt x="136" y="949"/>
                    </a:cubicBezTo>
                    <a:cubicBezTo>
                      <a:pt x="135" y="949"/>
                      <a:pt x="135" y="949"/>
                      <a:pt x="134" y="949"/>
                    </a:cubicBezTo>
                    <a:cubicBezTo>
                      <a:pt x="134" y="949"/>
                      <a:pt x="134" y="949"/>
                      <a:pt x="134" y="949"/>
                    </a:cubicBezTo>
                    <a:cubicBezTo>
                      <a:pt x="132" y="950"/>
                      <a:pt x="130" y="950"/>
                      <a:pt x="128" y="950"/>
                    </a:cubicBezTo>
                    <a:cubicBezTo>
                      <a:pt x="127" y="950"/>
                      <a:pt x="126" y="950"/>
                      <a:pt x="125" y="950"/>
                    </a:cubicBezTo>
                    <a:cubicBezTo>
                      <a:pt x="123" y="950"/>
                      <a:pt x="121" y="949"/>
                      <a:pt x="119" y="949"/>
                    </a:cubicBezTo>
                    <a:cubicBezTo>
                      <a:pt x="119" y="949"/>
                      <a:pt x="119" y="949"/>
                      <a:pt x="119" y="949"/>
                    </a:cubicBezTo>
                    <a:cubicBezTo>
                      <a:pt x="117" y="949"/>
                      <a:pt x="116" y="949"/>
                      <a:pt x="115" y="949"/>
                    </a:cubicBezTo>
                    <a:cubicBezTo>
                      <a:pt x="114" y="949"/>
                      <a:pt x="114" y="949"/>
                      <a:pt x="114" y="949"/>
                    </a:cubicBezTo>
                    <a:cubicBezTo>
                      <a:pt x="113" y="949"/>
                      <a:pt x="113" y="949"/>
                      <a:pt x="112" y="949"/>
                    </a:cubicBezTo>
                    <a:cubicBezTo>
                      <a:pt x="112" y="949"/>
                      <a:pt x="112" y="949"/>
                      <a:pt x="112" y="949"/>
                    </a:cubicBezTo>
                    <a:cubicBezTo>
                      <a:pt x="112" y="949"/>
                      <a:pt x="112" y="949"/>
                      <a:pt x="112" y="949"/>
                    </a:cubicBezTo>
                    <a:cubicBezTo>
                      <a:pt x="113" y="951"/>
                      <a:pt x="114" y="953"/>
                      <a:pt x="115" y="953"/>
                    </a:cubicBezTo>
                    <a:cubicBezTo>
                      <a:pt x="118" y="955"/>
                      <a:pt x="121" y="959"/>
                      <a:pt x="119" y="972"/>
                    </a:cubicBezTo>
                    <a:cubicBezTo>
                      <a:pt x="119" y="975"/>
                      <a:pt x="120" y="976"/>
                      <a:pt x="121" y="977"/>
                    </a:cubicBezTo>
                    <a:cubicBezTo>
                      <a:pt x="122" y="978"/>
                      <a:pt x="122" y="978"/>
                      <a:pt x="122" y="978"/>
                    </a:cubicBezTo>
                    <a:cubicBezTo>
                      <a:pt x="123" y="979"/>
                      <a:pt x="123" y="979"/>
                      <a:pt x="123" y="979"/>
                    </a:cubicBezTo>
                    <a:cubicBezTo>
                      <a:pt x="123" y="979"/>
                      <a:pt x="123" y="979"/>
                      <a:pt x="123" y="979"/>
                    </a:cubicBezTo>
                    <a:cubicBezTo>
                      <a:pt x="123" y="980"/>
                      <a:pt x="123" y="980"/>
                      <a:pt x="123" y="980"/>
                    </a:cubicBezTo>
                    <a:cubicBezTo>
                      <a:pt x="125" y="983"/>
                      <a:pt x="125" y="983"/>
                      <a:pt x="125" y="983"/>
                    </a:cubicBezTo>
                    <a:cubicBezTo>
                      <a:pt x="126" y="983"/>
                      <a:pt x="128" y="983"/>
                      <a:pt x="129" y="983"/>
                    </a:cubicBezTo>
                    <a:cubicBezTo>
                      <a:pt x="131" y="983"/>
                      <a:pt x="132" y="983"/>
                      <a:pt x="133" y="982"/>
                    </a:cubicBezTo>
                    <a:cubicBezTo>
                      <a:pt x="133" y="982"/>
                      <a:pt x="133" y="982"/>
                      <a:pt x="133" y="982"/>
                    </a:cubicBezTo>
                    <a:cubicBezTo>
                      <a:pt x="136" y="978"/>
                      <a:pt x="139" y="973"/>
                      <a:pt x="145" y="973"/>
                    </a:cubicBezTo>
                    <a:cubicBezTo>
                      <a:pt x="146" y="973"/>
                      <a:pt x="147" y="973"/>
                      <a:pt x="147" y="973"/>
                    </a:cubicBezTo>
                    <a:cubicBezTo>
                      <a:pt x="149" y="974"/>
                      <a:pt x="151" y="974"/>
                      <a:pt x="154" y="974"/>
                    </a:cubicBezTo>
                    <a:cubicBezTo>
                      <a:pt x="157" y="974"/>
                      <a:pt x="161" y="973"/>
                      <a:pt x="165" y="972"/>
                    </a:cubicBezTo>
                    <a:cubicBezTo>
                      <a:pt x="168" y="971"/>
                      <a:pt x="172" y="971"/>
                      <a:pt x="175" y="971"/>
                    </a:cubicBezTo>
                    <a:cubicBezTo>
                      <a:pt x="177" y="971"/>
                      <a:pt x="180" y="971"/>
                      <a:pt x="181" y="973"/>
                    </a:cubicBezTo>
                    <a:cubicBezTo>
                      <a:pt x="182" y="973"/>
                      <a:pt x="182" y="973"/>
                      <a:pt x="182" y="973"/>
                    </a:cubicBezTo>
                    <a:cubicBezTo>
                      <a:pt x="189" y="979"/>
                      <a:pt x="192" y="983"/>
                      <a:pt x="191" y="986"/>
                    </a:cubicBezTo>
                    <a:cubicBezTo>
                      <a:pt x="191" y="987"/>
                      <a:pt x="191" y="987"/>
                      <a:pt x="191" y="987"/>
                    </a:cubicBezTo>
                    <a:cubicBezTo>
                      <a:pt x="191" y="988"/>
                      <a:pt x="191" y="989"/>
                      <a:pt x="192" y="989"/>
                    </a:cubicBezTo>
                    <a:cubicBezTo>
                      <a:pt x="194" y="990"/>
                      <a:pt x="197" y="992"/>
                      <a:pt x="199" y="994"/>
                    </a:cubicBezTo>
                    <a:cubicBezTo>
                      <a:pt x="200" y="996"/>
                      <a:pt x="200" y="996"/>
                      <a:pt x="200" y="997"/>
                    </a:cubicBezTo>
                    <a:cubicBezTo>
                      <a:pt x="201" y="1000"/>
                      <a:pt x="201" y="1000"/>
                      <a:pt x="201" y="1000"/>
                    </a:cubicBezTo>
                    <a:cubicBezTo>
                      <a:pt x="198" y="1001"/>
                      <a:pt x="198" y="1001"/>
                      <a:pt x="198" y="1001"/>
                    </a:cubicBezTo>
                    <a:cubicBezTo>
                      <a:pt x="195" y="1001"/>
                      <a:pt x="194" y="1002"/>
                      <a:pt x="192" y="1002"/>
                    </a:cubicBezTo>
                    <a:cubicBezTo>
                      <a:pt x="194" y="1005"/>
                      <a:pt x="195" y="1009"/>
                      <a:pt x="194" y="1012"/>
                    </a:cubicBezTo>
                    <a:cubicBezTo>
                      <a:pt x="194" y="1013"/>
                      <a:pt x="194" y="1013"/>
                      <a:pt x="194" y="1014"/>
                    </a:cubicBezTo>
                    <a:cubicBezTo>
                      <a:pt x="195" y="1014"/>
                      <a:pt x="196" y="1014"/>
                      <a:pt x="197" y="1014"/>
                    </a:cubicBezTo>
                    <a:cubicBezTo>
                      <a:pt x="199" y="1014"/>
                      <a:pt x="201" y="1014"/>
                      <a:pt x="203" y="1016"/>
                    </a:cubicBezTo>
                    <a:cubicBezTo>
                      <a:pt x="204" y="1016"/>
                      <a:pt x="205" y="1016"/>
                      <a:pt x="206" y="1016"/>
                    </a:cubicBezTo>
                    <a:cubicBezTo>
                      <a:pt x="207" y="1016"/>
                      <a:pt x="207" y="1016"/>
                      <a:pt x="208" y="1016"/>
                    </a:cubicBezTo>
                    <a:cubicBezTo>
                      <a:pt x="209" y="1016"/>
                      <a:pt x="210" y="1015"/>
                      <a:pt x="211" y="1015"/>
                    </a:cubicBezTo>
                    <a:cubicBezTo>
                      <a:pt x="213" y="1015"/>
                      <a:pt x="216" y="1016"/>
                      <a:pt x="219" y="1018"/>
                    </a:cubicBezTo>
                    <a:cubicBezTo>
                      <a:pt x="222" y="1021"/>
                      <a:pt x="225" y="1022"/>
                      <a:pt x="225" y="1022"/>
                    </a:cubicBezTo>
                    <a:cubicBezTo>
                      <a:pt x="229" y="1024"/>
                      <a:pt x="229" y="1024"/>
                      <a:pt x="229" y="1024"/>
                    </a:cubicBezTo>
                    <a:cubicBezTo>
                      <a:pt x="226" y="1028"/>
                      <a:pt x="226" y="1028"/>
                      <a:pt x="226" y="1028"/>
                    </a:cubicBezTo>
                    <a:cubicBezTo>
                      <a:pt x="226" y="1028"/>
                      <a:pt x="225" y="1029"/>
                      <a:pt x="226" y="1030"/>
                    </a:cubicBezTo>
                    <a:cubicBezTo>
                      <a:pt x="228" y="1035"/>
                      <a:pt x="230" y="1040"/>
                      <a:pt x="229" y="1043"/>
                    </a:cubicBezTo>
                    <a:cubicBezTo>
                      <a:pt x="229" y="1044"/>
                      <a:pt x="230" y="1045"/>
                      <a:pt x="231" y="1046"/>
                    </a:cubicBezTo>
                    <a:cubicBezTo>
                      <a:pt x="232" y="1046"/>
                      <a:pt x="233" y="1047"/>
                      <a:pt x="234" y="1047"/>
                    </a:cubicBezTo>
                    <a:cubicBezTo>
                      <a:pt x="235" y="1047"/>
                      <a:pt x="235" y="1047"/>
                      <a:pt x="236" y="1046"/>
                    </a:cubicBezTo>
                    <a:cubicBezTo>
                      <a:pt x="238" y="1045"/>
                      <a:pt x="240" y="1045"/>
                      <a:pt x="243" y="1045"/>
                    </a:cubicBezTo>
                    <a:cubicBezTo>
                      <a:pt x="246" y="1045"/>
                      <a:pt x="249" y="1046"/>
                      <a:pt x="252" y="1048"/>
                    </a:cubicBezTo>
                    <a:cubicBezTo>
                      <a:pt x="254" y="1049"/>
                      <a:pt x="257" y="1050"/>
                      <a:pt x="260" y="1050"/>
                    </a:cubicBezTo>
                    <a:cubicBezTo>
                      <a:pt x="263" y="1050"/>
                      <a:pt x="265" y="1049"/>
                      <a:pt x="267" y="1049"/>
                    </a:cubicBezTo>
                    <a:cubicBezTo>
                      <a:pt x="273" y="1046"/>
                      <a:pt x="281" y="1044"/>
                      <a:pt x="281" y="1044"/>
                    </a:cubicBezTo>
                    <a:cubicBezTo>
                      <a:pt x="282" y="1044"/>
                      <a:pt x="282" y="1044"/>
                      <a:pt x="282" y="1044"/>
                    </a:cubicBezTo>
                    <a:cubicBezTo>
                      <a:pt x="283" y="1044"/>
                      <a:pt x="286" y="1045"/>
                      <a:pt x="291" y="1050"/>
                    </a:cubicBezTo>
                    <a:cubicBezTo>
                      <a:pt x="293" y="1053"/>
                      <a:pt x="297" y="1059"/>
                      <a:pt x="299" y="1062"/>
                    </a:cubicBezTo>
                    <a:cubicBezTo>
                      <a:pt x="302" y="1059"/>
                      <a:pt x="304" y="1058"/>
                      <a:pt x="306" y="1058"/>
                    </a:cubicBezTo>
                    <a:cubicBezTo>
                      <a:pt x="306" y="1058"/>
                      <a:pt x="306" y="1058"/>
                      <a:pt x="307" y="1058"/>
                    </a:cubicBezTo>
                    <a:cubicBezTo>
                      <a:pt x="308" y="1058"/>
                      <a:pt x="310" y="1058"/>
                      <a:pt x="311" y="1059"/>
                    </a:cubicBezTo>
                    <a:cubicBezTo>
                      <a:pt x="312" y="1059"/>
                      <a:pt x="313" y="1059"/>
                      <a:pt x="314" y="1059"/>
                    </a:cubicBezTo>
                    <a:cubicBezTo>
                      <a:pt x="319" y="1060"/>
                      <a:pt x="323" y="1064"/>
                      <a:pt x="324" y="1066"/>
                    </a:cubicBezTo>
                    <a:cubicBezTo>
                      <a:pt x="325" y="1067"/>
                      <a:pt x="325" y="1067"/>
                      <a:pt x="325" y="1067"/>
                    </a:cubicBezTo>
                    <a:cubicBezTo>
                      <a:pt x="326" y="1067"/>
                      <a:pt x="326" y="1067"/>
                      <a:pt x="326" y="1067"/>
                    </a:cubicBezTo>
                    <a:cubicBezTo>
                      <a:pt x="327" y="1066"/>
                      <a:pt x="329" y="1065"/>
                      <a:pt x="332" y="1065"/>
                    </a:cubicBezTo>
                    <a:cubicBezTo>
                      <a:pt x="334" y="1065"/>
                      <a:pt x="338" y="1066"/>
                      <a:pt x="341" y="1070"/>
                    </a:cubicBezTo>
                    <a:cubicBezTo>
                      <a:pt x="342" y="1070"/>
                      <a:pt x="343" y="1071"/>
                      <a:pt x="343" y="1072"/>
                    </a:cubicBezTo>
                    <a:cubicBezTo>
                      <a:pt x="346" y="1075"/>
                      <a:pt x="348" y="1077"/>
                      <a:pt x="352" y="1077"/>
                    </a:cubicBezTo>
                    <a:cubicBezTo>
                      <a:pt x="353" y="1077"/>
                      <a:pt x="355" y="1077"/>
                      <a:pt x="357" y="1075"/>
                    </a:cubicBezTo>
                    <a:cubicBezTo>
                      <a:pt x="361" y="1074"/>
                      <a:pt x="361" y="1074"/>
                      <a:pt x="361" y="1074"/>
                    </a:cubicBezTo>
                    <a:cubicBezTo>
                      <a:pt x="362" y="1078"/>
                      <a:pt x="362" y="1078"/>
                      <a:pt x="362" y="1078"/>
                    </a:cubicBezTo>
                    <a:cubicBezTo>
                      <a:pt x="364" y="1085"/>
                      <a:pt x="363" y="1089"/>
                      <a:pt x="362" y="1092"/>
                    </a:cubicBezTo>
                    <a:cubicBezTo>
                      <a:pt x="362" y="1092"/>
                      <a:pt x="362" y="1092"/>
                      <a:pt x="362" y="1092"/>
                    </a:cubicBezTo>
                    <a:cubicBezTo>
                      <a:pt x="361" y="1095"/>
                      <a:pt x="356" y="1099"/>
                      <a:pt x="352" y="1102"/>
                    </a:cubicBezTo>
                    <a:cubicBezTo>
                      <a:pt x="354" y="1102"/>
                      <a:pt x="357" y="1103"/>
                      <a:pt x="357" y="1103"/>
                    </a:cubicBezTo>
                    <a:cubicBezTo>
                      <a:pt x="378" y="1107"/>
                      <a:pt x="378" y="1107"/>
                      <a:pt x="378" y="1107"/>
                    </a:cubicBezTo>
                    <a:cubicBezTo>
                      <a:pt x="357" y="1110"/>
                      <a:pt x="357" y="1110"/>
                      <a:pt x="357" y="1110"/>
                    </a:cubicBezTo>
                    <a:cubicBezTo>
                      <a:pt x="354" y="1110"/>
                      <a:pt x="351" y="1112"/>
                      <a:pt x="349" y="1113"/>
                    </a:cubicBezTo>
                    <a:cubicBezTo>
                      <a:pt x="353" y="1114"/>
                      <a:pt x="354" y="1117"/>
                      <a:pt x="355" y="1119"/>
                    </a:cubicBezTo>
                    <a:cubicBezTo>
                      <a:pt x="356" y="1121"/>
                      <a:pt x="358" y="1125"/>
                      <a:pt x="357" y="1128"/>
                    </a:cubicBezTo>
                    <a:cubicBezTo>
                      <a:pt x="357" y="1129"/>
                      <a:pt x="357" y="1130"/>
                      <a:pt x="356" y="1131"/>
                    </a:cubicBezTo>
                    <a:cubicBezTo>
                      <a:pt x="355" y="1132"/>
                      <a:pt x="353" y="1138"/>
                      <a:pt x="352" y="1141"/>
                    </a:cubicBezTo>
                    <a:cubicBezTo>
                      <a:pt x="352" y="1142"/>
                      <a:pt x="351" y="1144"/>
                      <a:pt x="350" y="1145"/>
                    </a:cubicBezTo>
                    <a:cubicBezTo>
                      <a:pt x="349" y="1146"/>
                      <a:pt x="346" y="1147"/>
                      <a:pt x="344" y="1147"/>
                    </a:cubicBezTo>
                    <a:cubicBezTo>
                      <a:pt x="343" y="1147"/>
                      <a:pt x="342" y="1147"/>
                      <a:pt x="341" y="1146"/>
                    </a:cubicBezTo>
                    <a:cubicBezTo>
                      <a:pt x="338" y="1146"/>
                      <a:pt x="333" y="1145"/>
                      <a:pt x="330" y="1145"/>
                    </a:cubicBezTo>
                    <a:cubicBezTo>
                      <a:pt x="329" y="1145"/>
                      <a:pt x="328" y="1145"/>
                      <a:pt x="328" y="1146"/>
                    </a:cubicBezTo>
                    <a:cubicBezTo>
                      <a:pt x="326" y="1148"/>
                      <a:pt x="321" y="1151"/>
                      <a:pt x="316" y="1152"/>
                    </a:cubicBezTo>
                    <a:cubicBezTo>
                      <a:pt x="313" y="1152"/>
                      <a:pt x="309" y="1154"/>
                      <a:pt x="309" y="1159"/>
                    </a:cubicBezTo>
                    <a:cubicBezTo>
                      <a:pt x="309" y="1160"/>
                      <a:pt x="309" y="1161"/>
                      <a:pt x="309" y="1162"/>
                    </a:cubicBezTo>
                    <a:cubicBezTo>
                      <a:pt x="309" y="1165"/>
                      <a:pt x="309" y="1165"/>
                      <a:pt x="309" y="1165"/>
                    </a:cubicBezTo>
                    <a:cubicBezTo>
                      <a:pt x="309" y="1166"/>
                      <a:pt x="309" y="1167"/>
                      <a:pt x="308" y="1168"/>
                    </a:cubicBezTo>
                    <a:cubicBezTo>
                      <a:pt x="310" y="1167"/>
                      <a:pt x="312" y="1167"/>
                      <a:pt x="314" y="1166"/>
                    </a:cubicBezTo>
                    <a:cubicBezTo>
                      <a:pt x="313" y="1167"/>
                      <a:pt x="312" y="1167"/>
                      <a:pt x="312" y="1168"/>
                    </a:cubicBezTo>
                    <a:cubicBezTo>
                      <a:pt x="315" y="1168"/>
                      <a:pt x="320" y="1168"/>
                      <a:pt x="323" y="1167"/>
                    </a:cubicBezTo>
                    <a:cubicBezTo>
                      <a:pt x="324" y="1166"/>
                      <a:pt x="324" y="1164"/>
                      <a:pt x="326" y="1164"/>
                    </a:cubicBezTo>
                    <a:cubicBezTo>
                      <a:pt x="326" y="1164"/>
                      <a:pt x="326" y="1164"/>
                      <a:pt x="326" y="1164"/>
                    </a:cubicBezTo>
                    <a:cubicBezTo>
                      <a:pt x="329" y="1165"/>
                      <a:pt x="332" y="1165"/>
                      <a:pt x="334" y="1165"/>
                    </a:cubicBezTo>
                    <a:cubicBezTo>
                      <a:pt x="334" y="1167"/>
                      <a:pt x="333" y="1170"/>
                      <a:pt x="335" y="1170"/>
                    </a:cubicBezTo>
                    <a:cubicBezTo>
                      <a:pt x="336" y="1170"/>
                      <a:pt x="336" y="1169"/>
                      <a:pt x="337" y="1169"/>
                    </a:cubicBezTo>
                    <a:cubicBezTo>
                      <a:pt x="332" y="1172"/>
                      <a:pt x="322" y="1178"/>
                      <a:pt x="316" y="1178"/>
                    </a:cubicBezTo>
                    <a:cubicBezTo>
                      <a:pt x="315" y="1178"/>
                      <a:pt x="315" y="1178"/>
                      <a:pt x="315" y="1178"/>
                    </a:cubicBezTo>
                    <a:cubicBezTo>
                      <a:pt x="314" y="1178"/>
                      <a:pt x="314" y="1178"/>
                      <a:pt x="314" y="1178"/>
                    </a:cubicBezTo>
                    <a:cubicBezTo>
                      <a:pt x="313" y="1178"/>
                      <a:pt x="313" y="1178"/>
                      <a:pt x="313" y="1178"/>
                    </a:cubicBezTo>
                    <a:cubicBezTo>
                      <a:pt x="312" y="1178"/>
                      <a:pt x="311" y="1178"/>
                      <a:pt x="310" y="1179"/>
                    </a:cubicBezTo>
                    <a:cubicBezTo>
                      <a:pt x="311" y="1180"/>
                      <a:pt x="315" y="1184"/>
                      <a:pt x="315" y="1184"/>
                    </a:cubicBezTo>
                    <a:cubicBezTo>
                      <a:pt x="314" y="1186"/>
                      <a:pt x="300" y="1186"/>
                      <a:pt x="298" y="1187"/>
                    </a:cubicBezTo>
                    <a:cubicBezTo>
                      <a:pt x="298" y="1187"/>
                      <a:pt x="298" y="1187"/>
                      <a:pt x="298" y="1187"/>
                    </a:cubicBezTo>
                    <a:cubicBezTo>
                      <a:pt x="297" y="1187"/>
                      <a:pt x="295" y="1186"/>
                      <a:pt x="294" y="1186"/>
                    </a:cubicBezTo>
                    <a:cubicBezTo>
                      <a:pt x="293" y="1186"/>
                      <a:pt x="292" y="1185"/>
                      <a:pt x="292" y="1185"/>
                    </a:cubicBezTo>
                    <a:cubicBezTo>
                      <a:pt x="292" y="1185"/>
                      <a:pt x="292" y="1185"/>
                      <a:pt x="291" y="1185"/>
                    </a:cubicBezTo>
                    <a:cubicBezTo>
                      <a:pt x="291" y="1186"/>
                      <a:pt x="292" y="1188"/>
                      <a:pt x="293" y="1190"/>
                    </a:cubicBezTo>
                    <a:cubicBezTo>
                      <a:pt x="294" y="1192"/>
                      <a:pt x="295" y="1193"/>
                      <a:pt x="297" y="1194"/>
                    </a:cubicBezTo>
                    <a:cubicBezTo>
                      <a:pt x="301" y="1197"/>
                      <a:pt x="315" y="1202"/>
                      <a:pt x="314" y="1208"/>
                    </a:cubicBezTo>
                    <a:cubicBezTo>
                      <a:pt x="312" y="1207"/>
                      <a:pt x="310" y="1207"/>
                      <a:pt x="308" y="1206"/>
                    </a:cubicBezTo>
                    <a:cubicBezTo>
                      <a:pt x="307" y="1206"/>
                      <a:pt x="306" y="1205"/>
                      <a:pt x="306" y="1204"/>
                    </a:cubicBezTo>
                    <a:cubicBezTo>
                      <a:pt x="306" y="1204"/>
                      <a:pt x="306" y="1204"/>
                      <a:pt x="306" y="1204"/>
                    </a:cubicBezTo>
                    <a:cubicBezTo>
                      <a:pt x="302" y="1204"/>
                      <a:pt x="300" y="1212"/>
                      <a:pt x="300" y="1215"/>
                    </a:cubicBezTo>
                    <a:cubicBezTo>
                      <a:pt x="300" y="1213"/>
                      <a:pt x="300" y="1208"/>
                      <a:pt x="299" y="1208"/>
                    </a:cubicBezTo>
                    <a:cubicBezTo>
                      <a:pt x="300" y="1208"/>
                      <a:pt x="300" y="1207"/>
                      <a:pt x="301" y="1207"/>
                    </a:cubicBezTo>
                    <a:cubicBezTo>
                      <a:pt x="300" y="1207"/>
                      <a:pt x="300" y="1207"/>
                      <a:pt x="300" y="1207"/>
                    </a:cubicBezTo>
                    <a:cubicBezTo>
                      <a:pt x="299" y="1207"/>
                      <a:pt x="298" y="1208"/>
                      <a:pt x="297" y="1209"/>
                    </a:cubicBezTo>
                    <a:cubicBezTo>
                      <a:pt x="296" y="1209"/>
                      <a:pt x="290" y="1222"/>
                      <a:pt x="288" y="1222"/>
                    </a:cubicBezTo>
                    <a:cubicBezTo>
                      <a:pt x="288" y="1222"/>
                      <a:pt x="287" y="1221"/>
                      <a:pt x="287" y="1221"/>
                    </a:cubicBezTo>
                    <a:cubicBezTo>
                      <a:pt x="286" y="1223"/>
                      <a:pt x="296" y="1233"/>
                      <a:pt x="287" y="1233"/>
                    </a:cubicBezTo>
                    <a:cubicBezTo>
                      <a:pt x="287" y="1233"/>
                      <a:pt x="287" y="1233"/>
                      <a:pt x="287" y="1233"/>
                    </a:cubicBezTo>
                    <a:cubicBezTo>
                      <a:pt x="281" y="1233"/>
                      <a:pt x="277" y="1232"/>
                      <a:pt x="271" y="1230"/>
                    </a:cubicBezTo>
                    <a:cubicBezTo>
                      <a:pt x="269" y="1230"/>
                      <a:pt x="267" y="1230"/>
                      <a:pt x="266" y="1230"/>
                    </a:cubicBezTo>
                    <a:cubicBezTo>
                      <a:pt x="264" y="1230"/>
                      <a:pt x="263" y="1230"/>
                      <a:pt x="261" y="1232"/>
                    </a:cubicBezTo>
                    <a:cubicBezTo>
                      <a:pt x="262" y="1231"/>
                      <a:pt x="262" y="1231"/>
                      <a:pt x="263" y="1231"/>
                    </a:cubicBezTo>
                    <a:cubicBezTo>
                      <a:pt x="264" y="1231"/>
                      <a:pt x="265" y="1232"/>
                      <a:pt x="265" y="1232"/>
                    </a:cubicBezTo>
                    <a:cubicBezTo>
                      <a:pt x="266" y="1233"/>
                      <a:pt x="267" y="1233"/>
                      <a:pt x="268" y="1233"/>
                    </a:cubicBezTo>
                    <a:cubicBezTo>
                      <a:pt x="268" y="1233"/>
                      <a:pt x="268" y="1233"/>
                      <a:pt x="269" y="1233"/>
                    </a:cubicBezTo>
                    <a:cubicBezTo>
                      <a:pt x="265" y="1237"/>
                      <a:pt x="262" y="1237"/>
                      <a:pt x="258" y="1237"/>
                    </a:cubicBezTo>
                    <a:cubicBezTo>
                      <a:pt x="262" y="1240"/>
                      <a:pt x="266" y="1241"/>
                      <a:pt x="270" y="1243"/>
                    </a:cubicBezTo>
                    <a:cubicBezTo>
                      <a:pt x="275" y="1244"/>
                      <a:pt x="279" y="1252"/>
                      <a:pt x="283" y="1255"/>
                    </a:cubicBezTo>
                    <a:cubicBezTo>
                      <a:pt x="283" y="1255"/>
                      <a:pt x="284" y="1255"/>
                      <a:pt x="285" y="1255"/>
                    </a:cubicBezTo>
                    <a:cubicBezTo>
                      <a:pt x="287" y="1255"/>
                      <a:pt x="290" y="1255"/>
                      <a:pt x="291" y="1255"/>
                    </a:cubicBezTo>
                    <a:cubicBezTo>
                      <a:pt x="291" y="1255"/>
                      <a:pt x="292" y="1255"/>
                      <a:pt x="292" y="1255"/>
                    </a:cubicBezTo>
                    <a:cubicBezTo>
                      <a:pt x="295" y="1255"/>
                      <a:pt x="295" y="1256"/>
                      <a:pt x="298" y="1258"/>
                    </a:cubicBezTo>
                    <a:cubicBezTo>
                      <a:pt x="299" y="1260"/>
                      <a:pt x="301" y="1264"/>
                      <a:pt x="303" y="1265"/>
                    </a:cubicBezTo>
                    <a:cubicBezTo>
                      <a:pt x="306" y="1267"/>
                      <a:pt x="311" y="1267"/>
                      <a:pt x="314" y="1268"/>
                    </a:cubicBezTo>
                    <a:cubicBezTo>
                      <a:pt x="320" y="1269"/>
                      <a:pt x="325" y="1275"/>
                      <a:pt x="329" y="1278"/>
                    </a:cubicBezTo>
                    <a:cubicBezTo>
                      <a:pt x="337" y="1284"/>
                      <a:pt x="345" y="1291"/>
                      <a:pt x="352" y="1298"/>
                    </a:cubicBezTo>
                    <a:cubicBezTo>
                      <a:pt x="354" y="1293"/>
                      <a:pt x="356" y="1292"/>
                      <a:pt x="357" y="1291"/>
                    </a:cubicBezTo>
                    <a:cubicBezTo>
                      <a:pt x="358" y="1290"/>
                      <a:pt x="358" y="1290"/>
                      <a:pt x="359" y="1290"/>
                    </a:cubicBezTo>
                    <a:cubicBezTo>
                      <a:pt x="360" y="1290"/>
                      <a:pt x="360" y="1290"/>
                      <a:pt x="361" y="1290"/>
                    </a:cubicBezTo>
                    <a:cubicBezTo>
                      <a:pt x="361" y="1291"/>
                      <a:pt x="361" y="1291"/>
                      <a:pt x="361" y="1291"/>
                    </a:cubicBezTo>
                    <a:cubicBezTo>
                      <a:pt x="365" y="1292"/>
                      <a:pt x="368" y="1292"/>
                      <a:pt x="369" y="1292"/>
                    </a:cubicBezTo>
                    <a:cubicBezTo>
                      <a:pt x="370" y="1292"/>
                      <a:pt x="370" y="1292"/>
                      <a:pt x="370" y="1292"/>
                    </a:cubicBezTo>
                    <a:cubicBezTo>
                      <a:pt x="371" y="1292"/>
                      <a:pt x="372" y="1292"/>
                      <a:pt x="373" y="1292"/>
                    </a:cubicBezTo>
                    <a:cubicBezTo>
                      <a:pt x="377" y="1292"/>
                      <a:pt x="381" y="1294"/>
                      <a:pt x="384" y="1296"/>
                    </a:cubicBezTo>
                    <a:cubicBezTo>
                      <a:pt x="384" y="1296"/>
                      <a:pt x="385" y="1296"/>
                      <a:pt x="387" y="1297"/>
                    </a:cubicBezTo>
                    <a:cubicBezTo>
                      <a:pt x="394" y="1300"/>
                      <a:pt x="407" y="1304"/>
                      <a:pt x="414" y="1304"/>
                    </a:cubicBezTo>
                    <a:cubicBezTo>
                      <a:pt x="415" y="1304"/>
                      <a:pt x="417" y="1303"/>
                      <a:pt x="418" y="1303"/>
                    </a:cubicBezTo>
                    <a:cubicBezTo>
                      <a:pt x="420" y="1302"/>
                      <a:pt x="422" y="1302"/>
                      <a:pt x="425" y="1302"/>
                    </a:cubicBezTo>
                    <a:cubicBezTo>
                      <a:pt x="432" y="1302"/>
                      <a:pt x="439" y="1306"/>
                      <a:pt x="442" y="1308"/>
                    </a:cubicBezTo>
                    <a:cubicBezTo>
                      <a:pt x="444" y="1311"/>
                      <a:pt x="457" y="1317"/>
                      <a:pt x="459" y="1317"/>
                    </a:cubicBezTo>
                    <a:cubicBezTo>
                      <a:pt x="462" y="1317"/>
                      <a:pt x="463" y="1318"/>
                      <a:pt x="464" y="1319"/>
                    </a:cubicBezTo>
                    <a:cubicBezTo>
                      <a:pt x="465" y="1321"/>
                      <a:pt x="465" y="1323"/>
                      <a:pt x="465" y="1324"/>
                    </a:cubicBezTo>
                    <a:cubicBezTo>
                      <a:pt x="466" y="1324"/>
                      <a:pt x="466" y="1324"/>
                      <a:pt x="467" y="1325"/>
                    </a:cubicBezTo>
                    <a:cubicBezTo>
                      <a:pt x="468" y="1325"/>
                      <a:pt x="468" y="1325"/>
                      <a:pt x="469" y="1325"/>
                    </a:cubicBezTo>
                    <a:cubicBezTo>
                      <a:pt x="470" y="1325"/>
                      <a:pt x="472" y="1324"/>
                      <a:pt x="474" y="1323"/>
                    </a:cubicBezTo>
                    <a:cubicBezTo>
                      <a:pt x="478" y="1320"/>
                      <a:pt x="481" y="1319"/>
                      <a:pt x="484" y="1319"/>
                    </a:cubicBezTo>
                    <a:cubicBezTo>
                      <a:pt x="485" y="1319"/>
                      <a:pt x="486" y="1319"/>
                      <a:pt x="487" y="1319"/>
                    </a:cubicBezTo>
                    <a:cubicBezTo>
                      <a:pt x="489" y="1320"/>
                      <a:pt x="490" y="1320"/>
                      <a:pt x="491" y="1321"/>
                    </a:cubicBezTo>
                    <a:cubicBezTo>
                      <a:pt x="492" y="1320"/>
                      <a:pt x="492" y="1320"/>
                      <a:pt x="493" y="1320"/>
                    </a:cubicBezTo>
                    <a:cubicBezTo>
                      <a:pt x="494" y="1319"/>
                      <a:pt x="494" y="1319"/>
                      <a:pt x="495" y="1319"/>
                    </a:cubicBezTo>
                    <a:cubicBezTo>
                      <a:pt x="497" y="1319"/>
                      <a:pt x="499" y="1320"/>
                      <a:pt x="501" y="1321"/>
                    </a:cubicBezTo>
                    <a:cubicBezTo>
                      <a:pt x="504" y="1324"/>
                      <a:pt x="516" y="1328"/>
                      <a:pt x="518" y="1328"/>
                    </a:cubicBezTo>
                    <a:cubicBezTo>
                      <a:pt x="525" y="1328"/>
                      <a:pt x="525" y="1328"/>
                      <a:pt x="525" y="1328"/>
                    </a:cubicBezTo>
                    <a:cubicBezTo>
                      <a:pt x="521" y="1334"/>
                      <a:pt x="521" y="1334"/>
                      <a:pt x="521" y="1334"/>
                    </a:cubicBezTo>
                    <a:cubicBezTo>
                      <a:pt x="520" y="1336"/>
                      <a:pt x="519" y="1339"/>
                      <a:pt x="519" y="1339"/>
                    </a:cubicBezTo>
                    <a:cubicBezTo>
                      <a:pt x="523" y="1341"/>
                      <a:pt x="530" y="1345"/>
                      <a:pt x="532" y="1345"/>
                    </a:cubicBezTo>
                    <a:cubicBezTo>
                      <a:pt x="533" y="1344"/>
                      <a:pt x="533" y="1344"/>
                      <a:pt x="533" y="1344"/>
                    </a:cubicBezTo>
                    <a:cubicBezTo>
                      <a:pt x="534" y="1345"/>
                      <a:pt x="534" y="1345"/>
                      <a:pt x="534" y="1345"/>
                    </a:cubicBezTo>
                    <a:cubicBezTo>
                      <a:pt x="535" y="1346"/>
                      <a:pt x="536" y="1347"/>
                      <a:pt x="537" y="1348"/>
                    </a:cubicBezTo>
                    <a:cubicBezTo>
                      <a:pt x="537" y="1348"/>
                      <a:pt x="537" y="1348"/>
                      <a:pt x="537" y="1348"/>
                    </a:cubicBezTo>
                    <a:cubicBezTo>
                      <a:pt x="539" y="1348"/>
                      <a:pt x="539" y="1348"/>
                      <a:pt x="539" y="1348"/>
                    </a:cubicBezTo>
                    <a:cubicBezTo>
                      <a:pt x="541" y="1348"/>
                      <a:pt x="542" y="1348"/>
                      <a:pt x="543" y="1348"/>
                    </a:cubicBezTo>
                    <a:cubicBezTo>
                      <a:pt x="543" y="1348"/>
                      <a:pt x="544" y="1348"/>
                      <a:pt x="544" y="1348"/>
                    </a:cubicBezTo>
                    <a:cubicBezTo>
                      <a:pt x="549" y="1349"/>
                      <a:pt x="553" y="1353"/>
                      <a:pt x="555" y="1357"/>
                    </a:cubicBezTo>
                    <a:cubicBezTo>
                      <a:pt x="556" y="1359"/>
                      <a:pt x="558" y="1361"/>
                      <a:pt x="558" y="1361"/>
                    </a:cubicBezTo>
                    <a:cubicBezTo>
                      <a:pt x="559" y="1361"/>
                      <a:pt x="559" y="1361"/>
                      <a:pt x="560" y="1362"/>
                    </a:cubicBezTo>
                    <a:cubicBezTo>
                      <a:pt x="560" y="1272"/>
                      <a:pt x="560" y="1272"/>
                      <a:pt x="560" y="1272"/>
                    </a:cubicBezTo>
                    <a:cubicBezTo>
                      <a:pt x="559" y="1271"/>
                      <a:pt x="557" y="1269"/>
                      <a:pt x="555" y="1268"/>
                    </a:cubicBezTo>
                    <a:cubicBezTo>
                      <a:pt x="552" y="1266"/>
                      <a:pt x="549" y="1266"/>
                      <a:pt x="547" y="1265"/>
                    </a:cubicBezTo>
                    <a:cubicBezTo>
                      <a:pt x="542" y="1262"/>
                      <a:pt x="549" y="1255"/>
                      <a:pt x="552" y="1252"/>
                    </a:cubicBezTo>
                    <a:cubicBezTo>
                      <a:pt x="556" y="1248"/>
                      <a:pt x="558" y="1246"/>
                      <a:pt x="560" y="1243"/>
                    </a:cubicBezTo>
                    <a:cubicBezTo>
                      <a:pt x="560" y="1149"/>
                      <a:pt x="560" y="1149"/>
                      <a:pt x="560" y="1149"/>
                    </a:cubicBezTo>
                    <a:cubicBezTo>
                      <a:pt x="560" y="1149"/>
                      <a:pt x="560" y="1149"/>
                      <a:pt x="559" y="1149"/>
                    </a:cubicBezTo>
                    <a:cubicBezTo>
                      <a:pt x="555" y="1146"/>
                      <a:pt x="555" y="1143"/>
                      <a:pt x="555" y="1138"/>
                    </a:cubicBezTo>
                    <a:cubicBezTo>
                      <a:pt x="555" y="1137"/>
                      <a:pt x="555" y="1136"/>
                      <a:pt x="555" y="1135"/>
                    </a:cubicBezTo>
                    <a:cubicBezTo>
                      <a:pt x="555" y="1133"/>
                      <a:pt x="555" y="1132"/>
                      <a:pt x="555" y="1131"/>
                    </a:cubicBezTo>
                    <a:cubicBezTo>
                      <a:pt x="554" y="1130"/>
                      <a:pt x="554" y="1130"/>
                      <a:pt x="554" y="1130"/>
                    </a:cubicBezTo>
                    <a:cubicBezTo>
                      <a:pt x="554" y="1130"/>
                      <a:pt x="553" y="1130"/>
                      <a:pt x="552" y="1130"/>
                    </a:cubicBezTo>
                    <a:cubicBezTo>
                      <a:pt x="551" y="1129"/>
                      <a:pt x="551" y="1129"/>
                      <a:pt x="551" y="1129"/>
                    </a:cubicBezTo>
                    <a:cubicBezTo>
                      <a:pt x="549" y="1128"/>
                      <a:pt x="547" y="1128"/>
                      <a:pt x="545" y="1127"/>
                    </a:cubicBezTo>
                    <a:cubicBezTo>
                      <a:pt x="543" y="1126"/>
                      <a:pt x="543" y="1126"/>
                      <a:pt x="543" y="1126"/>
                    </a:cubicBezTo>
                    <a:cubicBezTo>
                      <a:pt x="542" y="1126"/>
                      <a:pt x="542" y="1126"/>
                      <a:pt x="542" y="1126"/>
                    </a:cubicBezTo>
                    <a:cubicBezTo>
                      <a:pt x="541" y="1126"/>
                      <a:pt x="541" y="1126"/>
                      <a:pt x="541" y="1126"/>
                    </a:cubicBezTo>
                    <a:cubicBezTo>
                      <a:pt x="539" y="1125"/>
                      <a:pt x="537" y="1123"/>
                      <a:pt x="537" y="1121"/>
                    </a:cubicBezTo>
                    <a:cubicBezTo>
                      <a:pt x="537" y="1120"/>
                      <a:pt x="537" y="1120"/>
                      <a:pt x="537" y="1120"/>
                    </a:cubicBezTo>
                    <a:cubicBezTo>
                      <a:pt x="537" y="1120"/>
                      <a:pt x="537" y="1120"/>
                      <a:pt x="537" y="1120"/>
                    </a:cubicBezTo>
                    <a:cubicBezTo>
                      <a:pt x="538" y="1117"/>
                      <a:pt x="539" y="1113"/>
                      <a:pt x="541" y="1111"/>
                    </a:cubicBezTo>
                    <a:cubicBezTo>
                      <a:pt x="541" y="1110"/>
                      <a:pt x="541" y="1110"/>
                      <a:pt x="541" y="1110"/>
                    </a:cubicBezTo>
                    <a:cubicBezTo>
                      <a:pt x="544" y="1106"/>
                      <a:pt x="547" y="1102"/>
                      <a:pt x="550" y="1098"/>
                    </a:cubicBezTo>
                    <a:cubicBezTo>
                      <a:pt x="550" y="1098"/>
                      <a:pt x="550" y="1098"/>
                      <a:pt x="550" y="1098"/>
                    </a:cubicBezTo>
                    <a:cubicBezTo>
                      <a:pt x="551" y="1097"/>
                      <a:pt x="551" y="1097"/>
                      <a:pt x="551" y="1097"/>
                    </a:cubicBezTo>
                    <a:cubicBezTo>
                      <a:pt x="552" y="1095"/>
                      <a:pt x="552" y="1095"/>
                      <a:pt x="550" y="1093"/>
                    </a:cubicBezTo>
                    <a:cubicBezTo>
                      <a:pt x="550" y="1093"/>
                      <a:pt x="550" y="1093"/>
                      <a:pt x="550" y="1093"/>
                    </a:cubicBezTo>
                    <a:cubicBezTo>
                      <a:pt x="548" y="1091"/>
                      <a:pt x="548" y="1091"/>
                      <a:pt x="548" y="1091"/>
                    </a:cubicBezTo>
                    <a:cubicBezTo>
                      <a:pt x="547" y="1091"/>
                      <a:pt x="546" y="1090"/>
                      <a:pt x="546" y="1090"/>
                    </a:cubicBezTo>
                    <a:cubicBezTo>
                      <a:pt x="545" y="1088"/>
                      <a:pt x="545" y="1087"/>
                      <a:pt x="545" y="1086"/>
                    </a:cubicBezTo>
                    <a:cubicBezTo>
                      <a:pt x="545" y="1085"/>
                      <a:pt x="545" y="1084"/>
                      <a:pt x="546" y="1084"/>
                    </a:cubicBezTo>
                    <a:cubicBezTo>
                      <a:pt x="546" y="1083"/>
                      <a:pt x="546" y="1081"/>
                      <a:pt x="546" y="1080"/>
                    </a:cubicBezTo>
                    <a:cubicBezTo>
                      <a:pt x="547" y="1075"/>
                      <a:pt x="547" y="1075"/>
                      <a:pt x="547" y="1075"/>
                    </a:cubicBezTo>
                    <a:cubicBezTo>
                      <a:pt x="547" y="1074"/>
                      <a:pt x="547" y="1074"/>
                      <a:pt x="548" y="1073"/>
                    </a:cubicBezTo>
                    <a:cubicBezTo>
                      <a:pt x="548" y="1071"/>
                      <a:pt x="548" y="1071"/>
                      <a:pt x="548" y="1071"/>
                    </a:cubicBezTo>
                    <a:cubicBezTo>
                      <a:pt x="548" y="1070"/>
                      <a:pt x="548" y="1070"/>
                      <a:pt x="548" y="1069"/>
                    </a:cubicBezTo>
                    <a:cubicBezTo>
                      <a:pt x="550" y="1066"/>
                      <a:pt x="553" y="1065"/>
                      <a:pt x="555" y="1064"/>
                    </a:cubicBezTo>
                    <a:cubicBezTo>
                      <a:pt x="556" y="1063"/>
                      <a:pt x="557" y="1063"/>
                      <a:pt x="558" y="1063"/>
                    </a:cubicBezTo>
                    <a:cubicBezTo>
                      <a:pt x="558" y="1062"/>
                      <a:pt x="558" y="1062"/>
                      <a:pt x="558" y="1062"/>
                    </a:cubicBezTo>
                    <a:cubicBezTo>
                      <a:pt x="559" y="1062"/>
                      <a:pt x="559" y="1062"/>
                      <a:pt x="559" y="1062"/>
                    </a:cubicBezTo>
                    <a:cubicBezTo>
                      <a:pt x="560" y="1060"/>
                      <a:pt x="560" y="1060"/>
                      <a:pt x="560" y="1060"/>
                    </a:cubicBezTo>
                    <a:cubicBezTo>
                      <a:pt x="560" y="1060"/>
                      <a:pt x="560" y="1060"/>
                      <a:pt x="560" y="1059"/>
                    </a:cubicBezTo>
                    <a:cubicBezTo>
                      <a:pt x="560" y="915"/>
                      <a:pt x="560" y="915"/>
                      <a:pt x="560" y="915"/>
                    </a:cubicBezTo>
                    <a:moveTo>
                      <a:pt x="1346" y="915"/>
                    </a:moveTo>
                    <a:cubicBezTo>
                      <a:pt x="1314" y="915"/>
                      <a:pt x="1314" y="915"/>
                      <a:pt x="1314" y="915"/>
                    </a:cubicBezTo>
                    <a:cubicBezTo>
                      <a:pt x="1314" y="915"/>
                      <a:pt x="1314" y="915"/>
                      <a:pt x="1314" y="915"/>
                    </a:cubicBezTo>
                    <a:cubicBezTo>
                      <a:pt x="1312" y="917"/>
                      <a:pt x="1311" y="918"/>
                      <a:pt x="1310" y="919"/>
                    </a:cubicBezTo>
                    <a:cubicBezTo>
                      <a:pt x="1308" y="920"/>
                      <a:pt x="1308" y="920"/>
                      <a:pt x="1308" y="920"/>
                    </a:cubicBezTo>
                    <a:cubicBezTo>
                      <a:pt x="1307" y="921"/>
                      <a:pt x="1307" y="921"/>
                      <a:pt x="1307" y="921"/>
                    </a:cubicBezTo>
                    <a:cubicBezTo>
                      <a:pt x="1306" y="922"/>
                      <a:pt x="1305" y="923"/>
                      <a:pt x="1304" y="924"/>
                    </a:cubicBezTo>
                    <a:cubicBezTo>
                      <a:pt x="1304" y="925"/>
                      <a:pt x="1304" y="925"/>
                      <a:pt x="1304" y="925"/>
                    </a:cubicBezTo>
                    <a:cubicBezTo>
                      <a:pt x="1306" y="929"/>
                      <a:pt x="1306" y="929"/>
                      <a:pt x="1306" y="929"/>
                    </a:cubicBezTo>
                    <a:cubicBezTo>
                      <a:pt x="1309" y="927"/>
                      <a:pt x="1309" y="927"/>
                      <a:pt x="1309" y="927"/>
                    </a:cubicBezTo>
                    <a:cubicBezTo>
                      <a:pt x="1312" y="925"/>
                      <a:pt x="1314" y="924"/>
                      <a:pt x="1316" y="924"/>
                    </a:cubicBezTo>
                    <a:cubicBezTo>
                      <a:pt x="1317" y="924"/>
                      <a:pt x="1317" y="924"/>
                      <a:pt x="1317" y="924"/>
                    </a:cubicBezTo>
                    <a:cubicBezTo>
                      <a:pt x="1325" y="925"/>
                      <a:pt x="1325" y="925"/>
                      <a:pt x="1325" y="925"/>
                    </a:cubicBezTo>
                    <a:cubicBezTo>
                      <a:pt x="1328" y="925"/>
                      <a:pt x="1328" y="925"/>
                      <a:pt x="1328" y="925"/>
                    </a:cubicBezTo>
                    <a:cubicBezTo>
                      <a:pt x="1329" y="926"/>
                      <a:pt x="1330" y="926"/>
                      <a:pt x="1330" y="926"/>
                    </a:cubicBezTo>
                    <a:cubicBezTo>
                      <a:pt x="1331" y="926"/>
                      <a:pt x="1331" y="926"/>
                      <a:pt x="1331" y="926"/>
                    </a:cubicBezTo>
                    <a:cubicBezTo>
                      <a:pt x="1331" y="924"/>
                      <a:pt x="1331" y="924"/>
                      <a:pt x="1331" y="924"/>
                    </a:cubicBezTo>
                    <a:cubicBezTo>
                      <a:pt x="1331" y="923"/>
                      <a:pt x="1332" y="922"/>
                      <a:pt x="1333" y="921"/>
                    </a:cubicBezTo>
                    <a:cubicBezTo>
                      <a:pt x="1334" y="920"/>
                      <a:pt x="1334" y="920"/>
                      <a:pt x="1334" y="920"/>
                    </a:cubicBezTo>
                    <a:cubicBezTo>
                      <a:pt x="1346" y="915"/>
                      <a:pt x="1346" y="915"/>
                      <a:pt x="1346" y="915"/>
                    </a:cubicBezTo>
                    <a:moveTo>
                      <a:pt x="1682" y="915"/>
                    </a:moveTo>
                    <a:cubicBezTo>
                      <a:pt x="1405" y="915"/>
                      <a:pt x="1405" y="915"/>
                      <a:pt x="1405" y="915"/>
                    </a:cubicBezTo>
                    <a:cubicBezTo>
                      <a:pt x="1409" y="918"/>
                      <a:pt x="1409" y="918"/>
                      <a:pt x="1409" y="918"/>
                    </a:cubicBezTo>
                    <a:cubicBezTo>
                      <a:pt x="1425" y="930"/>
                      <a:pt x="1425" y="930"/>
                      <a:pt x="1425" y="930"/>
                    </a:cubicBezTo>
                    <a:cubicBezTo>
                      <a:pt x="1429" y="933"/>
                      <a:pt x="1433" y="937"/>
                      <a:pt x="1436" y="940"/>
                    </a:cubicBezTo>
                    <a:cubicBezTo>
                      <a:pt x="1449" y="958"/>
                      <a:pt x="1449" y="958"/>
                      <a:pt x="1449" y="958"/>
                    </a:cubicBezTo>
                    <a:cubicBezTo>
                      <a:pt x="1454" y="965"/>
                      <a:pt x="1454" y="965"/>
                      <a:pt x="1454" y="965"/>
                    </a:cubicBezTo>
                    <a:cubicBezTo>
                      <a:pt x="1461" y="976"/>
                      <a:pt x="1468" y="988"/>
                      <a:pt x="1475" y="998"/>
                    </a:cubicBezTo>
                    <a:cubicBezTo>
                      <a:pt x="1481" y="1008"/>
                      <a:pt x="1487" y="1018"/>
                      <a:pt x="1493" y="1027"/>
                    </a:cubicBezTo>
                    <a:cubicBezTo>
                      <a:pt x="1495" y="1029"/>
                      <a:pt x="1495" y="1029"/>
                      <a:pt x="1495" y="1029"/>
                    </a:cubicBezTo>
                    <a:cubicBezTo>
                      <a:pt x="1495" y="1029"/>
                      <a:pt x="1496" y="1028"/>
                      <a:pt x="1497" y="1027"/>
                    </a:cubicBezTo>
                    <a:cubicBezTo>
                      <a:pt x="1497" y="1027"/>
                      <a:pt x="1497" y="1027"/>
                      <a:pt x="1497" y="1027"/>
                    </a:cubicBezTo>
                    <a:cubicBezTo>
                      <a:pt x="1499" y="1027"/>
                      <a:pt x="1500" y="1026"/>
                      <a:pt x="1501" y="1026"/>
                    </a:cubicBezTo>
                    <a:cubicBezTo>
                      <a:pt x="1502" y="1026"/>
                      <a:pt x="1502" y="1026"/>
                      <a:pt x="1502" y="1026"/>
                    </a:cubicBezTo>
                    <a:cubicBezTo>
                      <a:pt x="1502" y="1025"/>
                      <a:pt x="1502" y="1025"/>
                      <a:pt x="1502" y="1025"/>
                    </a:cubicBezTo>
                    <a:cubicBezTo>
                      <a:pt x="1502" y="1025"/>
                      <a:pt x="1502" y="1025"/>
                      <a:pt x="1502" y="1025"/>
                    </a:cubicBezTo>
                    <a:cubicBezTo>
                      <a:pt x="1501" y="1024"/>
                      <a:pt x="1501" y="1024"/>
                      <a:pt x="1501" y="1024"/>
                    </a:cubicBezTo>
                    <a:cubicBezTo>
                      <a:pt x="1501" y="1023"/>
                      <a:pt x="1501" y="1023"/>
                      <a:pt x="1501" y="1022"/>
                    </a:cubicBezTo>
                    <a:cubicBezTo>
                      <a:pt x="1501" y="1021"/>
                      <a:pt x="1501" y="1021"/>
                      <a:pt x="1501" y="1021"/>
                    </a:cubicBezTo>
                    <a:cubicBezTo>
                      <a:pt x="1501" y="1021"/>
                      <a:pt x="1501" y="1021"/>
                      <a:pt x="1501" y="1021"/>
                    </a:cubicBezTo>
                    <a:cubicBezTo>
                      <a:pt x="1501" y="1020"/>
                      <a:pt x="1501" y="1020"/>
                      <a:pt x="1501" y="1020"/>
                    </a:cubicBezTo>
                    <a:cubicBezTo>
                      <a:pt x="1501" y="1019"/>
                      <a:pt x="1501" y="1019"/>
                      <a:pt x="1501" y="1019"/>
                    </a:cubicBezTo>
                    <a:cubicBezTo>
                      <a:pt x="1501" y="1018"/>
                      <a:pt x="1501" y="1018"/>
                      <a:pt x="1501" y="1018"/>
                    </a:cubicBezTo>
                    <a:cubicBezTo>
                      <a:pt x="1502" y="1017"/>
                      <a:pt x="1502" y="1016"/>
                      <a:pt x="1503" y="1016"/>
                    </a:cubicBezTo>
                    <a:cubicBezTo>
                      <a:pt x="1504" y="1015"/>
                      <a:pt x="1505" y="1015"/>
                      <a:pt x="1506" y="1015"/>
                    </a:cubicBezTo>
                    <a:cubicBezTo>
                      <a:pt x="1506" y="1015"/>
                      <a:pt x="1506" y="1015"/>
                      <a:pt x="1506" y="1015"/>
                    </a:cubicBezTo>
                    <a:cubicBezTo>
                      <a:pt x="1506" y="1015"/>
                      <a:pt x="1506" y="1015"/>
                      <a:pt x="1506" y="1015"/>
                    </a:cubicBezTo>
                    <a:cubicBezTo>
                      <a:pt x="1507" y="1015"/>
                      <a:pt x="1507" y="1015"/>
                      <a:pt x="1507" y="1015"/>
                    </a:cubicBezTo>
                    <a:cubicBezTo>
                      <a:pt x="1508" y="1015"/>
                      <a:pt x="1508" y="1015"/>
                      <a:pt x="1508" y="1015"/>
                    </a:cubicBezTo>
                    <a:cubicBezTo>
                      <a:pt x="1508" y="1014"/>
                      <a:pt x="1509" y="1011"/>
                      <a:pt x="1512" y="1011"/>
                    </a:cubicBezTo>
                    <a:cubicBezTo>
                      <a:pt x="1512" y="1011"/>
                      <a:pt x="1513" y="1011"/>
                      <a:pt x="1513" y="1012"/>
                    </a:cubicBezTo>
                    <a:cubicBezTo>
                      <a:pt x="1523" y="1015"/>
                      <a:pt x="1523" y="1015"/>
                      <a:pt x="1523" y="1015"/>
                    </a:cubicBezTo>
                    <a:cubicBezTo>
                      <a:pt x="1527" y="1016"/>
                      <a:pt x="1528" y="1019"/>
                      <a:pt x="1528" y="1020"/>
                    </a:cubicBezTo>
                    <a:cubicBezTo>
                      <a:pt x="1527" y="1022"/>
                      <a:pt x="1527" y="1022"/>
                      <a:pt x="1527" y="1022"/>
                    </a:cubicBezTo>
                    <a:cubicBezTo>
                      <a:pt x="1527" y="1023"/>
                      <a:pt x="1527" y="1023"/>
                      <a:pt x="1527" y="1024"/>
                    </a:cubicBezTo>
                    <a:cubicBezTo>
                      <a:pt x="1527" y="1024"/>
                      <a:pt x="1526" y="1025"/>
                      <a:pt x="1526" y="1025"/>
                    </a:cubicBezTo>
                    <a:cubicBezTo>
                      <a:pt x="1526" y="1025"/>
                      <a:pt x="1526" y="1025"/>
                      <a:pt x="1526" y="1025"/>
                    </a:cubicBezTo>
                    <a:cubicBezTo>
                      <a:pt x="1527" y="1026"/>
                      <a:pt x="1527" y="1026"/>
                      <a:pt x="1527" y="1026"/>
                    </a:cubicBezTo>
                    <a:cubicBezTo>
                      <a:pt x="1528" y="1027"/>
                      <a:pt x="1529" y="1028"/>
                      <a:pt x="1531" y="1029"/>
                    </a:cubicBezTo>
                    <a:cubicBezTo>
                      <a:pt x="1531" y="1029"/>
                      <a:pt x="1531" y="1029"/>
                      <a:pt x="1531" y="1029"/>
                    </a:cubicBezTo>
                    <a:cubicBezTo>
                      <a:pt x="1532" y="1030"/>
                      <a:pt x="1533" y="1032"/>
                      <a:pt x="1535" y="1032"/>
                    </a:cubicBezTo>
                    <a:cubicBezTo>
                      <a:pt x="1535" y="1033"/>
                      <a:pt x="1535" y="1033"/>
                      <a:pt x="1535" y="1033"/>
                    </a:cubicBezTo>
                    <a:cubicBezTo>
                      <a:pt x="1536" y="1033"/>
                      <a:pt x="1536" y="1033"/>
                      <a:pt x="1536" y="1033"/>
                    </a:cubicBezTo>
                    <a:cubicBezTo>
                      <a:pt x="1537" y="1033"/>
                      <a:pt x="1537" y="1033"/>
                      <a:pt x="1537" y="1033"/>
                    </a:cubicBezTo>
                    <a:cubicBezTo>
                      <a:pt x="1537" y="1033"/>
                      <a:pt x="1538" y="1033"/>
                      <a:pt x="1538" y="1033"/>
                    </a:cubicBezTo>
                    <a:cubicBezTo>
                      <a:pt x="1539" y="1033"/>
                      <a:pt x="1539" y="1033"/>
                      <a:pt x="1539" y="1033"/>
                    </a:cubicBezTo>
                    <a:cubicBezTo>
                      <a:pt x="1539" y="1033"/>
                      <a:pt x="1540" y="1032"/>
                      <a:pt x="1540" y="1032"/>
                    </a:cubicBezTo>
                    <a:cubicBezTo>
                      <a:pt x="1541" y="1032"/>
                      <a:pt x="1541" y="1032"/>
                      <a:pt x="1541" y="1032"/>
                    </a:cubicBezTo>
                    <a:cubicBezTo>
                      <a:pt x="1542" y="1032"/>
                      <a:pt x="1543" y="1032"/>
                      <a:pt x="1545" y="1032"/>
                    </a:cubicBezTo>
                    <a:cubicBezTo>
                      <a:pt x="1546" y="1032"/>
                      <a:pt x="1546" y="1032"/>
                      <a:pt x="1547" y="1032"/>
                    </a:cubicBezTo>
                    <a:cubicBezTo>
                      <a:pt x="1562" y="1033"/>
                      <a:pt x="1562" y="1033"/>
                      <a:pt x="1562" y="1033"/>
                    </a:cubicBezTo>
                    <a:cubicBezTo>
                      <a:pt x="1563" y="1033"/>
                      <a:pt x="1563" y="1033"/>
                      <a:pt x="1563" y="1033"/>
                    </a:cubicBezTo>
                    <a:cubicBezTo>
                      <a:pt x="1564" y="1033"/>
                      <a:pt x="1564" y="1032"/>
                      <a:pt x="1565" y="1032"/>
                    </a:cubicBezTo>
                    <a:cubicBezTo>
                      <a:pt x="1566" y="1031"/>
                      <a:pt x="1566" y="1031"/>
                      <a:pt x="1566" y="1031"/>
                    </a:cubicBezTo>
                    <a:cubicBezTo>
                      <a:pt x="1566" y="1031"/>
                      <a:pt x="1566" y="1031"/>
                      <a:pt x="1566" y="1031"/>
                    </a:cubicBezTo>
                    <a:cubicBezTo>
                      <a:pt x="1567" y="1030"/>
                      <a:pt x="1567" y="1030"/>
                      <a:pt x="1567" y="1030"/>
                    </a:cubicBezTo>
                    <a:cubicBezTo>
                      <a:pt x="1567" y="1029"/>
                      <a:pt x="1568" y="1027"/>
                      <a:pt x="1570" y="1026"/>
                    </a:cubicBezTo>
                    <a:cubicBezTo>
                      <a:pt x="1571" y="1026"/>
                      <a:pt x="1571" y="1026"/>
                      <a:pt x="1571" y="1026"/>
                    </a:cubicBezTo>
                    <a:cubicBezTo>
                      <a:pt x="1580" y="1023"/>
                      <a:pt x="1580" y="1023"/>
                      <a:pt x="1580" y="1023"/>
                    </a:cubicBezTo>
                    <a:cubicBezTo>
                      <a:pt x="1581" y="1023"/>
                      <a:pt x="1581" y="1023"/>
                      <a:pt x="1582" y="1023"/>
                    </a:cubicBezTo>
                    <a:cubicBezTo>
                      <a:pt x="1582" y="1023"/>
                      <a:pt x="1582" y="1023"/>
                      <a:pt x="1582" y="1023"/>
                    </a:cubicBezTo>
                    <a:cubicBezTo>
                      <a:pt x="1583" y="1023"/>
                      <a:pt x="1583" y="1023"/>
                      <a:pt x="1583" y="1023"/>
                    </a:cubicBezTo>
                    <a:cubicBezTo>
                      <a:pt x="1596" y="1026"/>
                      <a:pt x="1596" y="1026"/>
                      <a:pt x="1596" y="1026"/>
                    </a:cubicBezTo>
                    <a:cubicBezTo>
                      <a:pt x="1597" y="1026"/>
                      <a:pt x="1598" y="1027"/>
                      <a:pt x="1600" y="1027"/>
                    </a:cubicBezTo>
                    <a:cubicBezTo>
                      <a:pt x="1601" y="1027"/>
                      <a:pt x="1602" y="1028"/>
                      <a:pt x="1603" y="1029"/>
                    </a:cubicBezTo>
                    <a:cubicBezTo>
                      <a:pt x="1604" y="1029"/>
                      <a:pt x="1604" y="1029"/>
                      <a:pt x="1604" y="1029"/>
                    </a:cubicBezTo>
                    <a:cubicBezTo>
                      <a:pt x="1605" y="1030"/>
                      <a:pt x="1605" y="1030"/>
                      <a:pt x="1605" y="1030"/>
                    </a:cubicBezTo>
                    <a:cubicBezTo>
                      <a:pt x="1607" y="1032"/>
                      <a:pt x="1607" y="1032"/>
                      <a:pt x="1607" y="1032"/>
                    </a:cubicBezTo>
                    <a:cubicBezTo>
                      <a:pt x="1611" y="1037"/>
                      <a:pt x="1611" y="1037"/>
                      <a:pt x="1611" y="1037"/>
                    </a:cubicBezTo>
                    <a:cubicBezTo>
                      <a:pt x="1612" y="1039"/>
                      <a:pt x="1613" y="1042"/>
                      <a:pt x="1614" y="1044"/>
                    </a:cubicBezTo>
                    <a:cubicBezTo>
                      <a:pt x="1614" y="1045"/>
                      <a:pt x="1614" y="1045"/>
                      <a:pt x="1614" y="1045"/>
                    </a:cubicBezTo>
                    <a:cubicBezTo>
                      <a:pt x="1615" y="1046"/>
                      <a:pt x="1615" y="1047"/>
                      <a:pt x="1615" y="1048"/>
                    </a:cubicBezTo>
                    <a:cubicBezTo>
                      <a:pt x="1615" y="1049"/>
                      <a:pt x="1615" y="1049"/>
                      <a:pt x="1615" y="1049"/>
                    </a:cubicBezTo>
                    <a:cubicBezTo>
                      <a:pt x="1616" y="1050"/>
                      <a:pt x="1616" y="1050"/>
                      <a:pt x="1616" y="1050"/>
                    </a:cubicBezTo>
                    <a:cubicBezTo>
                      <a:pt x="1616" y="1050"/>
                      <a:pt x="1616" y="1050"/>
                      <a:pt x="1616" y="1050"/>
                    </a:cubicBezTo>
                    <a:cubicBezTo>
                      <a:pt x="1619" y="1051"/>
                      <a:pt x="1619" y="1051"/>
                      <a:pt x="1619" y="1051"/>
                    </a:cubicBezTo>
                    <a:cubicBezTo>
                      <a:pt x="1620" y="1051"/>
                      <a:pt x="1620" y="1051"/>
                      <a:pt x="1621" y="1051"/>
                    </a:cubicBezTo>
                    <a:cubicBezTo>
                      <a:pt x="1638" y="1061"/>
                      <a:pt x="1638" y="1061"/>
                      <a:pt x="1638" y="1061"/>
                    </a:cubicBezTo>
                    <a:cubicBezTo>
                      <a:pt x="1639" y="1062"/>
                      <a:pt x="1639" y="1062"/>
                      <a:pt x="1639" y="1062"/>
                    </a:cubicBezTo>
                    <a:cubicBezTo>
                      <a:pt x="1639" y="1062"/>
                      <a:pt x="1639" y="1063"/>
                      <a:pt x="1639" y="1063"/>
                    </a:cubicBezTo>
                    <a:cubicBezTo>
                      <a:pt x="1644" y="1063"/>
                      <a:pt x="1644" y="1063"/>
                      <a:pt x="1644" y="1063"/>
                    </a:cubicBezTo>
                    <a:cubicBezTo>
                      <a:pt x="1639" y="1065"/>
                      <a:pt x="1639" y="1065"/>
                      <a:pt x="1639" y="1065"/>
                    </a:cubicBezTo>
                    <a:cubicBezTo>
                      <a:pt x="1638" y="1065"/>
                      <a:pt x="1638" y="1065"/>
                      <a:pt x="1638" y="1065"/>
                    </a:cubicBezTo>
                    <a:cubicBezTo>
                      <a:pt x="1638" y="1066"/>
                      <a:pt x="1638" y="1066"/>
                      <a:pt x="1638" y="1066"/>
                    </a:cubicBezTo>
                    <a:cubicBezTo>
                      <a:pt x="1638" y="1066"/>
                      <a:pt x="1639" y="1066"/>
                      <a:pt x="1639" y="1067"/>
                    </a:cubicBezTo>
                    <a:cubicBezTo>
                      <a:pt x="1640" y="1068"/>
                      <a:pt x="1640" y="1068"/>
                      <a:pt x="1640" y="1068"/>
                    </a:cubicBezTo>
                    <a:cubicBezTo>
                      <a:pt x="1640" y="1069"/>
                      <a:pt x="1640" y="1069"/>
                      <a:pt x="1640" y="1069"/>
                    </a:cubicBezTo>
                    <a:cubicBezTo>
                      <a:pt x="1641" y="1070"/>
                      <a:pt x="1641" y="1070"/>
                      <a:pt x="1641" y="1070"/>
                    </a:cubicBezTo>
                    <a:cubicBezTo>
                      <a:pt x="1641" y="1070"/>
                      <a:pt x="1641" y="1070"/>
                      <a:pt x="1641" y="1070"/>
                    </a:cubicBezTo>
                    <a:cubicBezTo>
                      <a:pt x="1641" y="1071"/>
                      <a:pt x="1641" y="1071"/>
                      <a:pt x="1641" y="1071"/>
                    </a:cubicBezTo>
                    <a:cubicBezTo>
                      <a:pt x="1642" y="1071"/>
                      <a:pt x="1643" y="1072"/>
                      <a:pt x="1643" y="1074"/>
                    </a:cubicBezTo>
                    <a:cubicBezTo>
                      <a:pt x="1643" y="1075"/>
                      <a:pt x="1643" y="1075"/>
                      <a:pt x="1643" y="1075"/>
                    </a:cubicBezTo>
                    <a:cubicBezTo>
                      <a:pt x="1644" y="1075"/>
                      <a:pt x="1644" y="1075"/>
                      <a:pt x="1644" y="1075"/>
                    </a:cubicBezTo>
                    <a:cubicBezTo>
                      <a:pt x="1648" y="1073"/>
                      <a:pt x="1648" y="1073"/>
                      <a:pt x="1648" y="1073"/>
                    </a:cubicBezTo>
                    <a:cubicBezTo>
                      <a:pt x="1645" y="1076"/>
                      <a:pt x="1645" y="1076"/>
                      <a:pt x="1645" y="1076"/>
                    </a:cubicBezTo>
                    <a:cubicBezTo>
                      <a:pt x="1658" y="1077"/>
                      <a:pt x="1658" y="1077"/>
                      <a:pt x="1658" y="1077"/>
                    </a:cubicBezTo>
                    <a:cubicBezTo>
                      <a:pt x="1660" y="1077"/>
                      <a:pt x="1660" y="1077"/>
                      <a:pt x="1660" y="1077"/>
                    </a:cubicBezTo>
                    <a:cubicBezTo>
                      <a:pt x="1666" y="1077"/>
                      <a:pt x="1666" y="1077"/>
                      <a:pt x="1666" y="1077"/>
                    </a:cubicBezTo>
                    <a:cubicBezTo>
                      <a:pt x="1666" y="1079"/>
                      <a:pt x="1666" y="1079"/>
                      <a:pt x="1666" y="1079"/>
                    </a:cubicBezTo>
                    <a:cubicBezTo>
                      <a:pt x="1666" y="1079"/>
                      <a:pt x="1666" y="1079"/>
                      <a:pt x="1667" y="1079"/>
                    </a:cubicBezTo>
                    <a:cubicBezTo>
                      <a:pt x="1670" y="1077"/>
                      <a:pt x="1670" y="1077"/>
                      <a:pt x="1670" y="1077"/>
                    </a:cubicBezTo>
                    <a:cubicBezTo>
                      <a:pt x="1671" y="1075"/>
                      <a:pt x="1673" y="1073"/>
                      <a:pt x="1675" y="1072"/>
                    </a:cubicBezTo>
                    <a:cubicBezTo>
                      <a:pt x="1682" y="1065"/>
                      <a:pt x="1682" y="1065"/>
                      <a:pt x="1682" y="1065"/>
                    </a:cubicBezTo>
                    <a:cubicBezTo>
                      <a:pt x="1682" y="915"/>
                      <a:pt x="1682" y="915"/>
                      <a:pt x="1682" y="915"/>
                    </a:cubicBezTo>
                    <a:moveTo>
                      <a:pt x="1122" y="457"/>
                    </a:moveTo>
                    <a:cubicBezTo>
                      <a:pt x="560" y="457"/>
                      <a:pt x="560" y="457"/>
                      <a:pt x="560" y="457"/>
                    </a:cubicBezTo>
                    <a:cubicBezTo>
                      <a:pt x="560" y="915"/>
                      <a:pt x="560" y="915"/>
                      <a:pt x="560" y="915"/>
                    </a:cubicBezTo>
                    <a:cubicBezTo>
                      <a:pt x="946" y="915"/>
                      <a:pt x="946" y="915"/>
                      <a:pt x="946" y="915"/>
                    </a:cubicBezTo>
                    <a:cubicBezTo>
                      <a:pt x="944" y="914"/>
                      <a:pt x="944" y="914"/>
                      <a:pt x="944" y="914"/>
                    </a:cubicBezTo>
                    <a:cubicBezTo>
                      <a:pt x="950" y="912"/>
                      <a:pt x="950" y="912"/>
                      <a:pt x="950" y="912"/>
                    </a:cubicBezTo>
                    <a:cubicBezTo>
                      <a:pt x="951" y="910"/>
                      <a:pt x="951" y="910"/>
                      <a:pt x="951" y="910"/>
                    </a:cubicBezTo>
                    <a:cubicBezTo>
                      <a:pt x="951" y="910"/>
                      <a:pt x="952" y="910"/>
                      <a:pt x="954" y="910"/>
                    </a:cubicBezTo>
                    <a:cubicBezTo>
                      <a:pt x="954" y="910"/>
                      <a:pt x="954" y="910"/>
                      <a:pt x="954" y="910"/>
                    </a:cubicBezTo>
                    <a:cubicBezTo>
                      <a:pt x="956" y="908"/>
                      <a:pt x="958" y="906"/>
                      <a:pt x="961" y="906"/>
                    </a:cubicBezTo>
                    <a:cubicBezTo>
                      <a:pt x="961" y="906"/>
                      <a:pt x="962" y="906"/>
                      <a:pt x="962" y="906"/>
                    </a:cubicBezTo>
                    <a:cubicBezTo>
                      <a:pt x="963" y="906"/>
                      <a:pt x="963" y="906"/>
                      <a:pt x="963" y="906"/>
                    </a:cubicBezTo>
                    <a:cubicBezTo>
                      <a:pt x="964" y="906"/>
                      <a:pt x="964" y="906"/>
                      <a:pt x="964" y="906"/>
                    </a:cubicBezTo>
                    <a:cubicBezTo>
                      <a:pt x="964" y="905"/>
                      <a:pt x="964" y="905"/>
                      <a:pt x="964" y="905"/>
                    </a:cubicBezTo>
                    <a:cubicBezTo>
                      <a:pt x="966" y="906"/>
                      <a:pt x="966" y="906"/>
                      <a:pt x="966" y="906"/>
                    </a:cubicBezTo>
                    <a:cubicBezTo>
                      <a:pt x="969" y="907"/>
                      <a:pt x="971" y="908"/>
                      <a:pt x="974" y="908"/>
                    </a:cubicBezTo>
                    <a:cubicBezTo>
                      <a:pt x="974" y="908"/>
                      <a:pt x="974" y="908"/>
                      <a:pt x="975" y="908"/>
                    </a:cubicBezTo>
                    <a:cubicBezTo>
                      <a:pt x="975" y="908"/>
                      <a:pt x="975" y="908"/>
                      <a:pt x="975" y="908"/>
                    </a:cubicBezTo>
                    <a:cubicBezTo>
                      <a:pt x="976" y="908"/>
                      <a:pt x="976" y="908"/>
                      <a:pt x="976" y="908"/>
                    </a:cubicBezTo>
                    <a:cubicBezTo>
                      <a:pt x="983" y="907"/>
                      <a:pt x="983" y="907"/>
                      <a:pt x="983" y="907"/>
                    </a:cubicBezTo>
                    <a:cubicBezTo>
                      <a:pt x="984" y="903"/>
                      <a:pt x="984" y="903"/>
                      <a:pt x="984" y="903"/>
                    </a:cubicBezTo>
                    <a:cubicBezTo>
                      <a:pt x="985" y="907"/>
                      <a:pt x="985" y="907"/>
                      <a:pt x="985" y="907"/>
                    </a:cubicBezTo>
                    <a:cubicBezTo>
                      <a:pt x="985" y="907"/>
                      <a:pt x="985" y="907"/>
                      <a:pt x="985" y="907"/>
                    </a:cubicBezTo>
                    <a:cubicBezTo>
                      <a:pt x="986" y="907"/>
                      <a:pt x="987" y="907"/>
                      <a:pt x="988" y="907"/>
                    </a:cubicBezTo>
                    <a:cubicBezTo>
                      <a:pt x="989" y="907"/>
                      <a:pt x="989" y="907"/>
                      <a:pt x="989" y="907"/>
                    </a:cubicBezTo>
                    <a:cubicBezTo>
                      <a:pt x="989" y="907"/>
                      <a:pt x="989" y="907"/>
                      <a:pt x="989" y="907"/>
                    </a:cubicBezTo>
                    <a:cubicBezTo>
                      <a:pt x="990" y="907"/>
                      <a:pt x="991" y="907"/>
                      <a:pt x="992" y="907"/>
                    </a:cubicBezTo>
                    <a:cubicBezTo>
                      <a:pt x="993" y="907"/>
                      <a:pt x="993" y="907"/>
                      <a:pt x="993" y="907"/>
                    </a:cubicBezTo>
                    <a:cubicBezTo>
                      <a:pt x="994" y="907"/>
                      <a:pt x="994" y="907"/>
                      <a:pt x="994" y="907"/>
                    </a:cubicBezTo>
                    <a:cubicBezTo>
                      <a:pt x="995" y="905"/>
                      <a:pt x="995" y="905"/>
                      <a:pt x="995" y="905"/>
                    </a:cubicBezTo>
                    <a:cubicBezTo>
                      <a:pt x="997" y="906"/>
                      <a:pt x="997" y="906"/>
                      <a:pt x="997" y="906"/>
                    </a:cubicBezTo>
                    <a:cubicBezTo>
                      <a:pt x="997" y="906"/>
                      <a:pt x="997" y="906"/>
                      <a:pt x="997" y="906"/>
                    </a:cubicBezTo>
                    <a:cubicBezTo>
                      <a:pt x="998" y="905"/>
                      <a:pt x="999" y="905"/>
                      <a:pt x="1000" y="905"/>
                    </a:cubicBezTo>
                    <a:cubicBezTo>
                      <a:pt x="1000" y="905"/>
                      <a:pt x="1000" y="905"/>
                      <a:pt x="1000" y="905"/>
                    </a:cubicBezTo>
                    <a:cubicBezTo>
                      <a:pt x="1001" y="905"/>
                      <a:pt x="1001" y="905"/>
                      <a:pt x="1001" y="905"/>
                    </a:cubicBezTo>
                    <a:cubicBezTo>
                      <a:pt x="1001" y="905"/>
                      <a:pt x="1002" y="904"/>
                      <a:pt x="1002" y="904"/>
                    </a:cubicBezTo>
                    <a:cubicBezTo>
                      <a:pt x="1003" y="904"/>
                      <a:pt x="1003" y="904"/>
                      <a:pt x="1003" y="904"/>
                    </a:cubicBezTo>
                    <a:cubicBezTo>
                      <a:pt x="997" y="904"/>
                      <a:pt x="997" y="904"/>
                      <a:pt x="997" y="904"/>
                    </a:cubicBezTo>
                    <a:cubicBezTo>
                      <a:pt x="1013" y="901"/>
                      <a:pt x="1013" y="901"/>
                      <a:pt x="1013" y="901"/>
                    </a:cubicBezTo>
                    <a:cubicBezTo>
                      <a:pt x="1013" y="894"/>
                      <a:pt x="1013" y="894"/>
                      <a:pt x="1013" y="894"/>
                    </a:cubicBezTo>
                    <a:cubicBezTo>
                      <a:pt x="1014" y="901"/>
                      <a:pt x="1014" y="901"/>
                      <a:pt x="1014" y="901"/>
                    </a:cubicBezTo>
                    <a:cubicBezTo>
                      <a:pt x="1028" y="898"/>
                      <a:pt x="1028" y="898"/>
                      <a:pt x="1028" y="898"/>
                    </a:cubicBezTo>
                    <a:cubicBezTo>
                      <a:pt x="1028" y="898"/>
                      <a:pt x="1028" y="898"/>
                      <a:pt x="1029" y="898"/>
                    </a:cubicBezTo>
                    <a:cubicBezTo>
                      <a:pt x="1031" y="897"/>
                      <a:pt x="1031" y="897"/>
                      <a:pt x="1031" y="897"/>
                    </a:cubicBezTo>
                    <a:cubicBezTo>
                      <a:pt x="1031" y="898"/>
                      <a:pt x="1031" y="898"/>
                      <a:pt x="1031" y="898"/>
                    </a:cubicBezTo>
                    <a:cubicBezTo>
                      <a:pt x="1035" y="897"/>
                      <a:pt x="1035" y="897"/>
                      <a:pt x="1035" y="897"/>
                    </a:cubicBezTo>
                    <a:cubicBezTo>
                      <a:pt x="1036" y="896"/>
                      <a:pt x="1036" y="896"/>
                      <a:pt x="1036" y="896"/>
                    </a:cubicBezTo>
                    <a:cubicBezTo>
                      <a:pt x="1037" y="896"/>
                      <a:pt x="1037" y="896"/>
                      <a:pt x="1037" y="896"/>
                    </a:cubicBezTo>
                    <a:cubicBezTo>
                      <a:pt x="1039" y="895"/>
                      <a:pt x="1039" y="895"/>
                      <a:pt x="1039" y="895"/>
                    </a:cubicBezTo>
                    <a:cubicBezTo>
                      <a:pt x="1039" y="896"/>
                      <a:pt x="1039" y="896"/>
                      <a:pt x="1039" y="896"/>
                    </a:cubicBezTo>
                    <a:cubicBezTo>
                      <a:pt x="1042" y="895"/>
                      <a:pt x="1042" y="895"/>
                      <a:pt x="1042" y="895"/>
                    </a:cubicBezTo>
                    <a:cubicBezTo>
                      <a:pt x="1042" y="895"/>
                      <a:pt x="1042" y="895"/>
                      <a:pt x="1042" y="895"/>
                    </a:cubicBezTo>
                    <a:cubicBezTo>
                      <a:pt x="1046" y="895"/>
                      <a:pt x="1046" y="895"/>
                      <a:pt x="1046" y="895"/>
                    </a:cubicBezTo>
                    <a:cubicBezTo>
                      <a:pt x="1046" y="895"/>
                      <a:pt x="1046" y="895"/>
                      <a:pt x="1046" y="895"/>
                    </a:cubicBezTo>
                    <a:cubicBezTo>
                      <a:pt x="1047" y="895"/>
                      <a:pt x="1047" y="895"/>
                      <a:pt x="1048" y="895"/>
                    </a:cubicBezTo>
                    <a:cubicBezTo>
                      <a:pt x="1048" y="895"/>
                      <a:pt x="1048" y="895"/>
                      <a:pt x="1048" y="895"/>
                    </a:cubicBezTo>
                    <a:cubicBezTo>
                      <a:pt x="1049" y="894"/>
                      <a:pt x="1050" y="894"/>
                      <a:pt x="1051" y="894"/>
                    </a:cubicBezTo>
                    <a:cubicBezTo>
                      <a:pt x="1051" y="894"/>
                      <a:pt x="1051" y="894"/>
                      <a:pt x="1051" y="894"/>
                    </a:cubicBezTo>
                    <a:cubicBezTo>
                      <a:pt x="1051" y="894"/>
                      <a:pt x="1052" y="894"/>
                      <a:pt x="1052" y="894"/>
                    </a:cubicBezTo>
                    <a:cubicBezTo>
                      <a:pt x="1053" y="893"/>
                      <a:pt x="1053" y="893"/>
                      <a:pt x="1054" y="893"/>
                    </a:cubicBezTo>
                    <a:cubicBezTo>
                      <a:pt x="1054" y="893"/>
                      <a:pt x="1054" y="893"/>
                      <a:pt x="1054" y="893"/>
                    </a:cubicBezTo>
                    <a:cubicBezTo>
                      <a:pt x="1054" y="893"/>
                      <a:pt x="1055" y="893"/>
                      <a:pt x="1055" y="893"/>
                    </a:cubicBezTo>
                    <a:cubicBezTo>
                      <a:pt x="1056" y="893"/>
                      <a:pt x="1056" y="893"/>
                      <a:pt x="1056" y="894"/>
                    </a:cubicBezTo>
                    <a:cubicBezTo>
                      <a:pt x="1057" y="894"/>
                      <a:pt x="1057" y="894"/>
                      <a:pt x="1057" y="894"/>
                    </a:cubicBezTo>
                    <a:cubicBezTo>
                      <a:pt x="1058" y="894"/>
                      <a:pt x="1058" y="894"/>
                      <a:pt x="1058" y="894"/>
                    </a:cubicBezTo>
                    <a:cubicBezTo>
                      <a:pt x="1060" y="894"/>
                      <a:pt x="1060" y="894"/>
                      <a:pt x="1060" y="894"/>
                    </a:cubicBezTo>
                    <a:cubicBezTo>
                      <a:pt x="1060" y="893"/>
                      <a:pt x="1062" y="892"/>
                      <a:pt x="1064" y="892"/>
                    </a:cubicBezTo>
                    <a:cubicBezTo>
                      <a:pt x="1065" y="892"/>
                      <a:pt x="1065" y="892"/>
                      <a:pt x="1066" y="893"/>
                    </a:cubicBezTo>
                    <a:cubicBezTo>
                      <a:pt x="1067" y="892"/>
                      <a:pt x="1067" y="892"/>
                      <a:pt x="1067" y="891"/>
                    </a:cubicBezTo>
                    <a:cubicBezTo>
                      <a:pt x="1067" y="891"/>
                      <a:pt x="1067" y="891"/>
                      <a:pt x="1067" y="891"/>
                    </a:cubicBezTo>
                    <a:cubicBezTo>
                      <a:pt x="1069" y="890"/>
                      <a:pt x="1069" y="890"/>
                      <a:pt x="1069" y="890"/>
                    </a:cubicBezTo>
                    <a:cubicBezTo>
                      <a:pt x="1069" y="890"/>
                      <a:pt x="1069" y="890"/>
                      <a:pt x="1069" y="890"/>
                    </a:cubicBezTo>
                    <a:cubicBezTo>
                      <a:pt x="1070" y="888"/>
                      <a:pt x="1070" y="888"/>
                      <a:pt x="1070" y="888"/>
                    </a:cubicBezTo>
                    <a:cubicBezTo>
                      <a:pt x="1060" y="886"/>
                      <a:pt x="1060" y="886"/>
                      <a:pt x="1060" y="886"/>
                    </a:cubicBezTo>
                    <a:cubicBezTo>
                      <a:pt x="1080" y="883"/>
                      <a:pt x="1080" y="883"/>
                      <a:pt x="1080" y="883"/>
                    </a:cubicBezTo>
                    <a:cubicBezTo>
                      <a:pt x="1082" y="883"/>
                      <a:pt x="1082" y="883"/>
                      <a:pt x="1082" y="883"/>
                    </a:cubicBezTo>
                    <a:cubicBezTo>
                      <a:pt x="1087" y="883"/>
                      <a:pt x="1087" y="883"/>
                      <a:pt x="1087" y="883"/>
                    </a:cubicBezTo>
                    <a:cubicBezTo>
                      <a:pt x="1089" y="881"/>
                      <a:pt x="1089" y="881"/>
                      <a:pt x="1089" y="881"/>
                    </a:cubicBezTo>
                    <a:cubicBezTo>
                      <a:pt x="1090" y="881"/>
                      <a:pt x="1091" y="881"/>
                      <a:pt x="1092" y="881"/>
                    </a:cubicBezTo>
                    <a:cubicBezTo>
                      <a:pt x="1092" y="880"/>
                      <a:pt x="1092" y="880"/>
                      <a:pt x="1093" y="880"/>
                    </a:cubicBezTo>
                    <a:cubicBezTo>
                      <a:pt x="1093" y="880"/>
                      <a:pt x="1093" y="880"/>
                      <a:pt x="1093" y="880"/>
                    </a:cubicBezTo>
                    <a:cubicBezTo>
                      <a:pt x="1094" y="880"/>
                      <a:pt x="1094" y="881"/>
                      <a:pt x="1095" y="881"/>
                    </a:cubicBezTo>
                    <a:cubicBezTo>
                      <a:pt x="1096" y="881"/>
                      <a:pt x="1096" y="882"/>
                      <a:pt x="1096" y="883"/>
                    </a:cubicBezTo>
                    <a:cubicBezTo>
                      <a:pt x="1100" y="882"/>
                      <a:pt x="1100" y="882"/>
                      <a:pt x="1100" y="882"/>
                    </a:cubicBezTo>
                    <a:cubicBezTo>
                      <a:pt x="1101" y="882"/>
                      <a:pt x="1103" y="881"/>
                      <a:pt x="1104" y="881"/>
                    </a:cubicBezTo>
                    <a:cubicBezTo>
                      <a:pt x="1106" y="880"/>
                      <a:pt x="1106" y="880"/>
                      <a:pt x="1106" y="880"/>
                    </a:cubicBezTo>
                    <a:cubicBezTo>
                      <a:pt x="1108" y="880"/>
                      <a:pt x="1110" y="880"/>
                      <a:pt x="1111" y="880"/>
                    </a:cubicBezTo>
                    <a:cubicBezTo>
                      <a:pt x="1109" y="878"/>
                      <a:pt x="1109" y="878"/>
                      <a:pt x="1109" y="878"/>
                    </a:cubicBezTo>
                    <a:cubicBezTo>
                      <a:pt x="1120" y="878"/>
                      <a:pt x="1120" y="878"/>
                      <a:pt x="1120" y="878"/>
                    </a:cubicBezTo>
                    <a:cubicBezTo>
                      <a:pt x="1122" y="877"/>
                      <a:pt x="1122" y="877"/>
                      <a:pt x="1122" y="877"/>
                    </a:cubicBezTo>
                    <a:cubicBezTo>
                      <a:pt x="1122" y="457"/>
                      <a:pt x="1122" y="457"/>
                      <a:pt x="1122" y="457"/>
                    </a:cubicBezTo>
                    <a:moveTo>
                      <a:pt x="271" y="437"/>
                    </a:moveTo>
                    <a:cubicBezTo>
                      <a:pt x="271" y="437"/>
                      <a:pt x="271" y="437"/>
                      <a:pt x="271" y="437"/>
                    </a:cubicBezTo>
                    <a:cubicBezTo>
                      <a:pt x="265" y="438"/>
                      <a:pt x="265" y="440"/>
                      <a:pt x="265" y="445"/>
                    </a:cubicBezTo>
                    <a:cubicBezTo>
                      <a:pt x="265" y="447"/>
                      <a:pt x="261" y="450"/>
                      <a:pt x="260" y="450"/>
                    </a:cubicBezTo>
                    <a:cubicBezTo>
                      <a:pt x="260" y="450"/>
                      <a:pt x="259" y="450"/>
                      <a:pt x="259" y="450"/>
                    </a:cubicBezTo>
                    <a:cubicBezTo>
                      <a:pt x="258" y="450"/>
                      <a:pt x="258" y="450"/>
                      <a:pt x="257" y="450"/>
                    </a:cubicBezTo>
                    <a:cubicBezTo>
                      <a:pt x="256" y="449"/>
                      <a:pt x="256" y="449"/>
                      <a:pt x="255" y="449"/>
                    </a:cubicBezTo>
                    <a:cubicBezTo>
                      <a:pt x="255" y="449"/>
                      <a:pt x="254" y="449"/>
                      <a:pt x="254" y="449"/>
                    </a:cubicBezTo>
                    <a:cubicBezTo>
                      <a:pt x="255" y="452"/>
                      <a:pt x="257" y="455"/>
                      <a:pt x="259" y="457"/>
                    </a:cubicBezTo>
                    <a:cubicBezTo>
                      <a:pt x="301" y="457"/>
                      <a:pt x="301" y="457"/>
                      <a:pt x="301" y="457"/>
                    </a:cubicBezTo>
                    <a:cubicBezTo>
                      <a:pt x="302" y="456"/>
                      <a:pt x="305" y="456"/>
                      <a:pt x="307" y="456"/>
                    </a:cubicBezTo>
                    <a:cubicBezTo>
                      <a:pt x="308" y="456"/>
                      <a:pt x="309" y="456"/>
                      <a:pt x="309" y="456"/>
                    </a:cubicBezTo>
                    <a:cubicBezTo>
                      <a:pt x="309" y="455"/>
                      <a:pt x="309" y="455"/>
                      <a:pt x="310" y="454"/>
                    </a:cubicBezTo>
                    <a:cubicBezTo>
                      <a:pt x="303" y="450"/>
                      <a:pt x="296" y="447"/>
                      <a:pt x="289" y="444"/>
                    </a:cubicBezTo>
                    <a:cubicBezTo>
                      <a:pt x="285" y="442"/>
                      <a:pt x="281" y="440"/>
                      <a:pt x="276" y="439"/>
                    </a:cubicBezTo>
                    <a:cubicBezTo>
                      <a:pt x="275" y="438"/>
                      <a:pt x="273" y="437"/>
                      <a:pt x="271" y="437"/>
                    </a:cubicBezTo>
                    <a:moveTo>
                      <a:pt x="448" y="271"/>
                    </a:moveTo>
                    <a:cubicBezTo>
                      <a:pt x="453" y="277"/>
                      <a:pt x="458" y="281"/>
                      <a:pt x="466" y="283"/>
                    </a:cubicBezTo>
                    <a:cubicBezTo>
                      <a:pt x="468" y="284"/>
                      <a:pt x="472" y="286"/>
                      <a:pt x="474" y="289"/>
                    </a:cubicBezTo>
                    <a:cubicBezTo>
                      <a:pt x="476" y="290"/>
                      <a:pt x="476" y="292"/>
                      <a:pt x="477" y="295"/>
                    </a:cubicBezTo>
                    <a:cubicBezTo>
                      <a:pt x="477" y="295"/>
                      <a:pt x="479" y="299"/>
                      <a:pt x="479" y="300"/>
                    </a:cubicBezTo>
                    <a:cubicBezTo>
                      <a:pt x="479" y="302"/>
                      <a:pt x="479" y="301"/>
                      <a:pt x="477" y="302"/>
                    </a:cubicBezTo>
                    <a:cubicBezTo>
                      <a:pt x="476" y="303"/>
                      <a:pt x="473" y="303"/>
                      <a:pt x="473" y="304"/>
                    </a:cubicBezTo>
                    <a:cubicBezTo>
                      <a:pt x="471" y="307"/>
                      <a:pt x="475" y="307"/>
                      <a:pt x="475" y="307"/>
                    </a:cubicBezTo>
                    <a:cubicBezTo>
                      <a:pt x="475" y="309"/>
                      <a:pt x="473" y="309"/>
                      <a:pt x="471" y="310"/>
                    </a:cubicBezTo>
                    <a:cubicBezTo>
                      <a:pt x="470" y="313"/>
                      <a:pt x="471" y="318"/>
                      <a:pt x="470" y="320"/>
                    </a:cubicBezTo>
                    <a:cubicBezTo>
                      <a:pt x="468" y="325"/>
                      <a:pt x="461" y="332"/>
                      <a:pt x="462" y="337"/>
                    </a:cubicBezTo>
                    <a:cubicBezTo>
                      <a:pt x="462" y="342"/>
                      <a:pt x="468" y="343"/>
                      <a:pt x="471" y="344"/>
                    </a:cubicBezTo>
                    <a:cubicBezTo>
                      <a:pt x="473" y="345"/>
                      <a:pt x="474" y="347"/>
                      <a:pt x="477" y="348"/>
                    </a:cubicBezTo>
                    <a:cubicBezTo>
                      <a:pt x="477" y="348"/>
                      <a:pt x="477" y="349"/>
                      <a:pt x="478" y="349"/>
                    </a:cubicBezTo>
                    <a:cubicBezTo>
                      <a:pt x="478" y="349"/>
                      <a:pt x="478" y="348"/>
                      <a:pt x="478" y="348"/>
                    </a:cubicBezTo>
                    <a:cubicBezTo>
                      <a:pt x="478" y="348"/>
                      <a:pt x="479" y="348"/>
                      <a:pt x="479" y="348"/>
                    </a:cubicBezTo>
                    <a:cubicBezTo>
                      <a:pt x="479" y="348"/>
                      <a:pt x="480" y="349"/>
                      <a:pt x="480" y="350"/>
                    </a:cubicBezTo>
                    <a:cubicBezTo>
                      <a:pt x="481" y="352"/>
                      <a:pt x="482" y="354"/>
                      <a:pt x="483" y="356"/>
                    </a:cubicBezTo>
                    <a:cubicBezTo>
                      <a:pt x="484" y="360"/>
                      <a:pt x="485" y="367"/>
                      <a:pt x="483" y="371"/>
                    </a:cubicBezTo>
                    <a:cubicBezTo>
                      <a:pt x="478" y="377"/>
                      <a:pt x="469" y="385"/>
                      <a:pt x="471" y="394"/>
                    </a:cubicBezTo>
                    <a:cubicBezTo>
                      <a:pt x="472" y="395"/>
                      <a:pt x="473" y="395"/>
                      <a:pt x="473" y="397"/>
                    </a:cubicBezTo>
                    <a:cubicBezTo>
                      <a:pt x="473" y="398"/>
                      <a:pt x="472" y="399"/>
                      <a:pt x="472" y="400"/>
                    </a:cubicBezTo>
                    <a:cubicBezTo>
                      <a:pt x="472" y="402"/>
                      <a:pt x="474" y="403"/>
                      <a:pt x="474" y="406"/>
                    </a:cubicBezTo>
                    <a:cubicBezTo>
                      <a:pt x="473" y="405"/>
                      <a:pt x="470" y="402"/>
                      <a:pt x="470" y="400"/>
                    </a:cubicBezTo>
                    <a:cubicBezTo>
                      <a:pt x="469" y="398"/>
                      <a:pt x="470" y="398"/>
                      <a:pt x="469" y="396"/>
                    </a:cubicBezTo>
                    <a:cubicBezTo>
                      <a:pt x="468" y="393"/>
                      <a:pt x="466" y="392"/>
                      <a:pt x="464" y="392"/>
                    </a:cubicBezTo>
                    <a:cubicBezTo>
                      <a:pt x="460" y="392"/>
                      <a:pt x="456" y="395"/>
                      <a:pt x="454" y="397"/>
                    </a:cubicBezTo>
                    <a:cubicBezTo>
                      <a:pt x="455" y="398"/>
                      <a:pt x="456" y="399"/>
                      <a:pt x="455" y="401"/>
                    </a:cubicBezTo>
                    <a:cubicBezTo>
                      <a:pt x="454" y="400"/>
                      <a:pt x="449" y="397"/>
                      <a:pt x="449" y="396"/>
                    </a:cubicBezTo>
                    <a:cubicBezTo>
                      <a:pt x="449" y="396"/>
                      <a:pt x="452" y="394"/>
                      <a:pt x="452" y="394"/>
                    </a:cubicBezTo>
                    <a:cubicBezTo>
                      <a:pt x="454" y="393"/>
                      <a:pt x="460" y="390"/>
                      <a:pt x="460" y="389"/>
                    </a:cubicBezTo>
                    <a:cubicBezTo>
                      <a:pt x="461" y="386"/>
                      <a:pt x="455" y="385"/>
                      <a:pt x="453" y="384"/>
                    </a:cubicBezTo>
                    <a:cubicBezTo>
                      <a:pt x="452" y="384"/>
                      <a:pt x="451" y="384"/>
                      <a:pt x="451" y="383"/>
                    </a:cubicBezTo>
                    <a:cubicBezTo>
                      <a:pt x="450" y="383"/>
                      <a:pt x="450" y="382"/>
                      <a:pt x="450" y="381"/>
                    </a:cubicBezTo>
                    <a:cubicBezTo>
                      <a:pt x="448" y="380"/>
                      <a:pt x="446" y="380"/>
                      <a:pt x="443" y="380"/>
                    </a:cubicBezTo>
                    <a:cubicBezTo>
                      <a:pt x="436" y="380"/>
                      <a:pt x="432" y="379"/>
                      <a:pt x="426" y="377"/>
                    </a:cubicBezTo>
                    <a:cubicBezTo>
                      <a:pt x="424" y="377"/>
                      <a:pt x="422" y="375"/>
                      <a:pt x="420" y="375"/>
                    </a:cubicBezTo>
                    <a:cubicBezTo>
                      <a:pt x="419" y="375"/>
                      <a:pt x="419" y="375"/>
                      <a:pt x="418" y="376"/>
                    </a:cubicBezTo>
                    <a:cubicBezTo>
                      <a:pt x="413" y="379"/>
                      <a:pt x="409" y="385"/>
                      <a:pt x="404" y="389"/>
                    </a:cubicBezTo>
                    <a:cubicBezTo>
                      <a:pt x="400" y="393"/>
                      <a:pt x="396" y="394"/>
                      <a:pt x="390" y="396"/>
                    </a:cubicBezTo>
                    <a:cubicBezTo>
                      <a:pt x="383" y="399"/>
                      <a:pt x="375" y="401"/>
                      <a:pt x="369" y="406"/>
                    </a:cubicBezTo>
                    <a:cubicBezTo>
                      <a:pt x="363" y="410"/>
                      <a:pt x="356" y="414"/>
                      <a:pt x="350" y="419"/>
                    </a:cubicBezTo>
                    <a:cubicBezTo>
                      <a:pt x="341" y="426"/>
                      <a:pt x="354" y="437"/>
                      <a:pt x="360" y="443"/>
                    </a:cubicBezTo>
                    <a:cubicBezTo>
                      <a:pt x="364" y="448"/>
                      <a:pt x="366" y="451"/>
                      <a:pt x="367" y="457"/>
                    </a:cubicBezTo>
                    <a:cubicBezTo>
                      <a:pt x="560" y="457"/>
                      <a:pt x="560" y="457"/>
                      <a:pt x="560" y="457"/>
                    </a:cubicBezTo>
                    <a:cubicBezTo>
                      <a:pt x="560" y="358"/>
                      <a:pt x="560" y="358"/>
                      <a:pt x="560" y="358"/>
                    </a:cubicBezTo>
                    <a:cubicBezTo>
                      <a:pt x="558" y="359"/>
                      <a:pt x="555" y="359"/>
                      <a:pt x="552" y="360"/>
                    </a:cubicBezTo>
                    <a:cubicBezTo>
                      <a:pt x="550" y="360"/>
                      <a:pt x="547" y="360"/>
                      <a:pt x="544" y="361"/>
                    </a:cubicBezTo>
                    <a:cubicBezTo>
                      <a:pt x="541" y="362"/>
                      <a:pt x="540" y="364"/>
                      <a:pt x="537" y="365"/>
                    </a:cubicBezTo>
                    <a:cubicBezTo>
                      <a:pt x="540" y="362"/>
                      <a:pt x="545" y="359"/>
                      <a:pt x="540" y="359"/>
                    </a:cubicBezTo>
                    <a:cubicBezTo>
                      <a:pt x="539" y="359"/>
                      <a:pt x="539" y="359"/>
                      <a:pt x="538" y="360"/>
                    </a:cubicBezTo>
                    <a:cubicBezTo>
                      <a:pt x="535" y="360"/>
                      <a:pt x="532" y="361"/>
                      <a:pt x="529" y="361"/>
                    </a:cubicBezTo>
                    <a:cubicBezTo>
                      <a:pt x="528" y="361"/>
                      <a:pt x="527" y="361"/>
                      <a:pt x="527" y="361"/>
                    </a:cubicBezTo>
                    <a:cubicBezTo>
                      <a:pt x="522" y="360"/>
                      <a:pt x="519" y="355"/>
                      <a:pt x="517" y="352"/>
                    </a:cubicBezTo>
                    <a:cubicBezTo>
                      <a:pt x="513" y="346"/>
                      <a:pt x="508" y="342"/>
                      <a:pt x="502" y="339"/>
                    </a:cubicBezTo>
                    <a:cubicBezTo>
                      <a:pt x="497" y="338"/>
                      <a:pt x="494" y="335"/>
                      <a:pt x="496" y="330"/>
                    </a:cubicBezTo>
                    <a:cubicBezTo>
                      <a:pt x="497" y="327"/>
                      <a:pt x="500" y="325"/>
                      <a:pt x="503" y="324"/>
                    </a:cubicBezTo>
                    <a:cubicBezTo>
                      <a:pt x="506" y="323"/>
                      <a:pt x="508" y="323"/>
                      <a:pt x="507" y="319"/>
                    </a:cubicBezTo>
                    <a:cubicBezTo>
                      <a:pt x="506" y="316"/>
                      <a:pt x="515" y="315"/>
                      <a:pt x="516" y="315"/>
                    </a:cubicBezTo>
                    <a:cubicBezTo>
                      <a:pt x="521" y="315"/>
                      <a:pt x="527" y="315"/>
                      <a:pt x="532" y="313"/>
                    </a:cubicBezTo>
                    <a:cubicBezTo>
                      <a:pt x="534" y="313"/>
                      <a:pt x="535" y="313"/>
                      <a:pt x="537" y="313"/>
                    </a:cubicBezTo>
                    <a:cubicBezTo>
                      <a:pt x="537" y="313"/>
                      <a:pt x="538" y="313"/>
                      <a:pt x="539" y="313"/>
                    </a:cubicBezTo>
                    <a:cubicBezTo>
                      <a:pt x="540" y="313"/>
                      <a:pt x="542" y="314"/>
                      <a:pt x="544" y="314"/>
                    </a:cubicBezTo>
                    <a:cubicBezTo>
                      <a:pt x="544" y="314"/>
                      <a:pt x="545" y="313"/>
                      <a:pt x="546" y="313"/>
                    </a:cubicBezTo>
                    <a:cubicBezTo>
                      <a:pt x="548" y="310"/>
                      <a:pt x="543" y="306"/>
                      <a:pt x="542" y="304"/>
                    </a:cubicBezTo>
                    <a:cubicBezTo>
                      <a:pt x="540" y="300"/>
                      <a:pt x="541" y="298"/>
                      <a:pt x="537" y="295"/>
                    </a:cubicBezTo>
                    <a:cubicBezTo>
                      <a:pt x="533" y="292"/>
                      <a:pt x="528" y="290"/>
                      <a:pt x="526" y="286"/>
                    </a:cubicBezTo>
                    <a:cubicBezTo>
                      <a:pt x="524" y="284"/>
                      <a:pt x="523" y="282"/>
                      <a:pt x="526" y="282"/>
                    </a:cubicBezTo>
                    <a:cubicBezTo>
                      <a:pt x="500" y="278"/>
                      <a:pt x="474" y="275"/>
                      <a:pt x="448" y="271"/>
                    </a:cubicBezTo>
                    <a:moveTo>
                      <a:pt x="128" y="206"/>
                    </a:moveTo>
                    <a:cubicBezTo>
                      <a:pt x="128" y="206"/>
                      <a:pt x="127" y="206"/>
                      <a:pt x="127" y="206"/>
                    </a:cubicBezTo>
                    <a:cubicBezTo>
                      <a:pt x="123" y="207"/>
                      <a:pt x="127" y="210"/>
                      <a:pt x="129" y="212"/>
                    </a:cubicBezTo>
                    <a:cubicBezTo>
                      <a:pt x="129" y="213"/>
                      <a:pt x="131" y="214"/>
                      <a:pt x="130" y="215"/>
                    </a:cubicBezTo>
                    <a:cubicBezTo>
                      <a:pt x="130" y="216"/>
                      <a:pt x="130" y="216"/>
                      <a:pt x="130" y="216"/>
                    </a:cubicBezTo>
                    <a:cubicBezTo>
                      <a:pt x="129" y="216"/>
                      <a:pt x="128" y="215"/>
                      <a:pt x="128" y="215"/>
                    </a:cubicBezTo>
                    <a:cubicBezTo>
                      <a:pt x="126" y="214"/>
                      <a:pt x="124" y="212"/>
                      <a:pt x="122" y="212"/>
                    </a:cubicBezTo>
                    <a:cubicBezTo>
                      <a:pt x="122" y="212"/>
                      <a:pt x="122" y="212"/>
                      <a:pt x="122" y="212"/>
                    </a:cubicBezTo>
                    <a:cubicBezTo>
                      <a:pt x="118" y="213"/>
                      <a:pt x="121" y="215"/>
                      <a:pt x="120" y="216"/>
                    </a:cubicBezTo>
                    <a:cubicBezTo>
                      <a:pt x="119" y="218"/>
                      <a:pt x="117" y="218"/>
                      <a:pt x="114" y="218"/>
                    </a:cubicBezTo>
                    <a:cubicBezTo>
                      <a:pt x="109" y="218"/>
                      <a:pt x="102" y="217"/>
                      <a:pt x="98" y="216"/>
                    </a:cubicBezTo>
                    <a:cubicBezTo>
                      <a:pt x="98" y="217"/>
                      <a:pt x="98" y="217"/>
                      <a:pt x="98" y="217"/>
                    </a:cubicBezTo>
                    <a:cubicBezTo>
                      <a:pt x="99" y="220"/>
                      <a:pt x="100" y="224"/>
                      <a:pt x="98" y="226"/>
                    </a:cubicBezTo>
                    <a:cubicBezTo>
                      <a:pt x="96" y="228"/>
                      <a:pt x="95" y="229"/>
                      <a:pt x="92" y="229"/>
                    </a:cubicBezTo>
                    <a:cubicBezTo>
                      <a:pt x="92" y="229"/>
                      <a:pt x="92" y="229"/>
                      <a:pt x="92" y="229"/>
                    </a:cubicBezTo>
                    <a:cubicBezTo>
                      <a:pt x="91" y="229"/>
                      <a:pt x="91" y="229"/>
                      <a:pt x="91" y="229"/>
                    </a:cubicBezTo>
                    <a:cubicBezTo>
                      <a:pt x="90" y="229"/>
                      <a:pt x="90" y="229"/>
                      <a:pt x="89" y="229"/>
                    </a:cubicBezTo>
                    <a:cubicBezTo>
                      <a:pt x="89" y="229"/>
                      <a:pt x="89" y="229"/>
                      <a:pt x="89" y="229"/>
                    </a:cubicBezTo>
                    <a:cubicBezTo>
                      <a:pt x="88" y="229"/>
                      <a:pt x="88" y="229"/>
                      <a:pt x="88" y="229"/>
                    </a:cubicBezTo>
                    <a:cubicBezTo>
                      <a:pt x="85" y="228"/>
                      <a:pt x="82" y="227"/>
                      <a:pt x="80" y="226"/>
                    </a:cubicBezTo>
                    <a:cubicBezTo>
                      <a:pt x="78" y="225"/>
                      <a:pt x="78" y="225"/>
                      <a:pt x="78" y="225"/>
                    </a:cubicBezTo>
                    <a:cubicBezTo>
                      <a:pt x="78" y="225"/>
                      <a:pt x="78" y="225"/>
                      <a:pt x="78" y="225"/>
                    </a:cubicBezTo>
                    <a:cubicBezTo>
                      <a:pt x="77" y="227"/>
                      <a:pt x="77" y="228"/>
                      <a:pt x="76" y="229"/>
                    </a:cubicBezTo>
                    <a:cubicBezTo>
                      <a:pt x="73" y="234"/>
                      <a:pt x="71" y="237"/>
                      <a:pt x="64" y="238"/>
                    </a:cubicBezTo>
                    <a:cubicBezTo>
                      <a:pt x="62" y="239"/>
                      <a:pt x="62" y="239"/>
                      <a:pt x="62" y="239"/>
                    </a:cubicBezTo>
                    <a:cubicBezTo>
                      <a:pt x="60" y="239"/>
                      <a:pt x="58" y="239"/>
                      <a:pt x="56" y="240"/>
                    </a:cubicBezTo>
                    <a:cubicBezTo>
                      <a:pt x="55" y="240"/>
                      <a:pt x="55" y="240"/>
                      <a:pt x="55" y="240"/>
                    </a:cubicBezTo>
                    <a:cubicBezTo>
                      <a:pt x="55" y="241"/>
                      <a:pt x="55" y="241"/>
                      <a:pt x="55" y="241"/>
                    </a:cubicBezTo>
                    <a:cubicBezTo>
                      <a:pt x="53" y="241"/>
                      <a:pt x="49" y="246"/>
                      <a:pt x="48" y="250"/>
                    </a:cubicBezTo>
                    <a:cubicBezTo>
                      <a:pt x="46" y="252"/>
                      <a:pt x="46" y="252"/>
                      <a:pt x="46" y="252"/>
                    </a:cubicBezTo>
                    <a:cubicBezTo>
                      <a:pt x="46" y="257"/>
                      <a:pt x="42" y="258"/>
                      <a:pt x="40" y="259"/>
                    </a:cubicBezTo>
                    <a:cubicBezTo>
                      <a:pt x="40" y="259"/>
                      <a:pt x="39" y="259"/>
                      <a:pt x="38" y="260"/>
                    </a:cubicBezTo>
                    <a:cubicBezTo>
                      <a:pt x="38" y="261"/>
                      <a:pt x="38" y="261"/>
                      <a:pt x="38" y="261"/>
                    </a:cubicBezTo>
                    <a:cubicBezTo>
                      <a:pt x="38" y="265"/>
                      <a:pt x="36" y="268"/>
                      <a:pt x="35" y="271"/>
                    </a:cubicBezTo>
                    <a:cubicBezTo>
                      <a:pt x="35" y="273"/>
                      <a:pt x="35" y="273"/>
                      <a:pt x="35" y="273"/>
                    </a:cubicBezTo>
                    <a:cubicBezTo>
                      <a:pt x="35" y="274"/>
                      <a:pt x="34" y="275"/>
                      <a:pt x="34" y="276"/>
                    </a:cubicBezTo>
                    <a:cubicBezTo>
                      <a:pt x="33" y="277"/>
                      <a:pt x="32" y="280"/>
                      <a:pt x="32" y="281"/>
                    </a:cubicBezTo>
                    <a:cubicBezTo>
                      <a:pt x="33" y="282"/>
                      <a:pt x="33" y="284"/>
                      <a:pt x="34" y="285"/>
                    </a:cubicBezTo>
                    <a:cubicBezTo>
                      <a:pt x="34" y="288"/>
                      <a:pt x="35" y="291"/>
                      <a:pt x="37" y="292"/>
                    </a:cubicBezTo>
                    <a:cubicBezTo>
                      <a:pt x="38" y="293"/>
                      <a:pt x="43" y="294"/>
                      <a:pt x="45" y="295"/>
                    </a:cubicBezTo>
                    <a:cubicBezTo>
                      <a:pt x="46" y="295"/>
                      <a:pt x="47" y="295"/>
                      <a:pt x="47" y="295"/>
                    </a:cubicBezTo>
                    <a:cubicBezTo>
                      <a:pt x="48" y="295"/>
                      <a:pt x="49" y="295"/>
                      <a:pt x="49" y="295"/>
                    </a:cubicBezTo>
                    <a:cubicBezTo>
                      <a:pt x="55" y="297"/>
                      <a:pt x="58" y="301"/>
                      <a:pt x="60" y="305"/>
                    </a:cubicBezTo>
                    <a:cubicBezTo>
                      <a:pt x="62" y="308"/>
                      <a:pt x="63" y="310"/>
                      <a:pt x="65" y="311"/>
                    </a:cubicBezTo>
                    <a:cubicBezTo>
                      <a:pt x="66" y="312"/>
                      <a:pt x="66" y="312"/>
                      <a:pt x="66" y="312"/>
                    </a:cubicBezTo>
                    <a:cubicBezTo>
                      <a:pt x="71" y="316"/>
                      <a:pt x="73" y="317"/>
                      <a:pt x="74" y="320"/>
                    </a:cubicBezTo>
                    <a:cubicBezTo>
                      <a:pt x="74" y="321"/>
                      <a:pt x="74" y="321"/>
                      <a:pt x="74" y="321"/>
                    </a:cubicBezTo>
                    <a:cubicBezTo>
                      <a:pt x="73" y="323"/>
                      <a:pt x="73" y="323"/>
                      <a:pt x="73" y="323"/>
                    </a:cubicBezTo>
                    <a:cubicBezTo>
                      <a:pt x="48" y="356"/>
                      <a:pt x="48" y="356"/>
                      <a:pt x="48" y="356"/>
                    </a:cubicBezTo>
                    <a:cubicBezTo>
                      <a:pt x="48" y="356"/>
                      <a:pt x="48" y="356"/>
                      <a:pt x="48" y="356"/>
                    </a:cubicBezTo>
                    <a:cubicBezTo>
                      <a:pt x="48" y="357"/>
                      <a:pt x="48" y="358"/>
                      <a:pt x="48" y="358"/>
                    </a:cubicBezTo>
                    <a:cubicBezTo>
                      <a:pt x="49" y="359"/>
                      <a:pt x="49" y="360"/>
                      <a:pt x="50" y="360"/>
                    </a:cubicBezTo>
                    <a:cubicBezTo>
                      <a:pt x="51" y="361"/>
                      <a:pt x="52" y="362"/>
                      <a:pt x="52" y="362"/>
                    </a:cubicBezTo>
                    <a:cubicBezTo>
                      <a:pt x="53" y="363"/>
                      <a:pt x="54" y="364"/>
                      <a:pt x="55" y="366"/>
                    </a:cubicBezTo>
                    <a:cubicBezTo>
                      <a:pt x="57" y="369"/>
                      <a:pt x="60" y="373"/>
                      <a:pt x="62" y="377"/>
                    </a:cubicBezTo>
                    <a:cubicBezTo>
                      <a:pt x="79" y="419"/>
                      <a:pt x="79" y="419"/>
                      <a:pt x="79" y="419"/>
                    </a:cubicBezTo>
                    <a:cubicBezTo>
                      <a:pt x="75" y="419"/>
                      <a:pt x="75" y="419"/>
                      <a:pt x="75" y="419"/>
                    </a:cubicBezTo>
                    <a:cubicBezTo>
                      <a:pt x="74" y="419"/>
                      <a:pt x="73" y="419"/>
                      <a:pt x="71" y="419"/>
                    </a:cubicBezTo>
                    <a:cubicBezTo>
                      <a:pt x="71" y="419"/>
                      <a:pt x="71" y="419"/>
                      <a:pt x="71" y="419"/>
                    </a:cubicBezTo>
                    <a:cubicBezTo>
                      <a:pt x="70" y="419"/>
                      <a:pt x="69" y="420"/>
                      <a:pt x="68" y="420"/>
                    </a:cubicBezTo>
                    <a:cubicBezTo>
                      <a:pt x="68" y="420"/>
                      <a:pt x="68" y="420"/>
                      <a:pt x="68" y="420"/>
                    </a:cubicBezTo>
                    <a:cubicBezTo>
                      <a:pt x="68" y="424"/>
                      <a:pt x="66" y="428"/>
                      <a:pt x="65" y="431"/>
                    </a:cubicBezTo>
                    <a:cubicBezTo>
                      <a:pt x="64" y="432"/>
                      <a:pt x="64" y="432"/>
                      <a:pt x="64" y="432"/>
                    </a:cubicBezTo>
                    <a:cubicBezTo>
                      <a:pt x="64" y="433"/>
                      <a:pt x="64" y="433"/>
                      <a:pt x="64" y="433"/>
                    </a:cubicBezTo>
                    <a:cubicBezTo>
                      <a:pt x="64" y="433"/>
                      <a:pt x="65" y="434"/>
                      <a:pt x="66" y="434"/>
                    </a:cubicBezTo>
                    <a:cubicBezTo>
                      <a:pt x="67" y="436"/>
                      <a:pt x="70" y="438"/>
                      <a:pt x="69" y="441"/>
                    </a:cubicBezTo>
                    <a:cubicBezTo>
                      <a:pt x="69" y="444"/>
                      <a:pt x="67" y="445"/>
                      <a:pt x="66" y="446"/>
                    </a:cubicBezTo>
                    <a:cubicBezTo>
                      <a:pt x="64" y="447"/>
                      <a:pt x="64" y="447"/>
                      <a:pt x="64" y="448"/>
                    </a:cubicBezTo>
                    <a:cubicBezTo>
                      <a:pt x="64" y="450"/>
                      <a:pt x="66" y="452"/>
                      <a:pt x="68" y="453"/>
                    </a:cubicBezTo>
                    <a:cubicBezTo>
                      <a:pt x="72" y="453"/>
                      <a:pt x="74" y="454"/>
                      <a:pt x="77" y="457"/>
                    </a:cubicBezTo>
                    <a:cubicBezTo>
                      <a:pt x="213" y="457"/>
                      <a:pt x="213" y="457"/>
                      <a:pt x="213" y="457"/>
                    </a:cubicBezTo>
                    <a:cubicBezTo>
                      <a:pt x="213" y="457"/>
                      <a:pt x="213" y="457"/>
                      <a:pt x="213" y="457"/>
                    </a:cubicBezTo>
                    <a:cubicBezTo>
                      <a:pt x="212" y="457"/>
                      <a:pt x="211" y="456"/>
                      <a:pt x="210" y="456"/>
                    </a:cubicBezTo>
                    <a:cubicBezTo>
                      <a:pt x="209" y="456"/>
                      <a:pt x="208" y="457"/>
                      <a:pt x="207" y="457"/>
                    </a:cubicBezTo>
                    <a:cubicBezTo>
                      <a:pt x="208" y="456"/>
                      <a:pt x="210" y="455"/>
                      <a:pt x="211" y="454"/>
                    </a:cubicBezTo>
                    <a:cubicBezTo>
                      <a:pt x="207" y="449"/>
                      <a:pt x="205" y="446"/>
                      <a:pt x="203" y="439"/>
                    </a:cubicBezTo>
                    <a:cubicBezTo>
                      <a:pt x="202" y="434"/>
                      <a:pt x="197" y="432"/>
                      <a:pt x="194" y="428"/>
                    </a:cubicBezTo>
                    <a:cubicBezTo>
                      <a:pt x="195" y="428"/>
                      <a:pt x="195" y="428"/>
                      <a:pt x="196" y="427"/>
                    </a:cubicBezTo>
                    <a:cubicBezTo>
                      <a:pt x="197" y="427"/>
                      <a:pt x="198" y="426"/>
                      <a:pt x="199" y="426"/>
                    </a:cubicBezTo>
                    <a:cubicBezTo>
                      <a:pt x="199" y="426"/>
                      <a:pt x="199" y="426"/>
                      <a:pt x="199" y="426"/>
                    </a:cubicBezTo>
                    <a:cubicBezTo>
                      <a:pt x="200" y="426"/>
                      <a:pt x="200" y="426"/>
                      <a:pt x="200" y="426"/>
                    </a:cubicBezTo>
                    <a:cubicBezTo>
                      <a:pt x="201" y="426"/>
                      <a:pt x="201" y="426"/>
                      <a:pt x="201" y="426"/>
                    </a:cubicBezTo>
                    <a:cubicBezTo>
                      <a:pt x="201" y="426"/>
                      <a:pt x="202" y="426"/>
                      <a:pt x="202" y="426"/>
                    </a:cubicBezTo>
                    <a:cubicBezTo>
                      <a:pt x="203" y="425"/>
                      <a:pt x="203" y="420"/>
                      <a:pt x="203" y="419"/>
                    </a:cubicBezTo>
                    <a:cubicBezTo>
                      <a:pt x="203" y="416"/>
                      <a:pt x="204" y="413"/>
                      <a:pt x="204" y="410"/>
                    </a:cubicBezTo>
                    <a:cubicBezTo>
                      <a:pt x="204" y="410"/>
                      <a:pt x="204" y="409"/>
                      <a:pt x="204" y="409"/>
                    </a:cubicBezTo>
                    <a:cubicBezTo>
                      <a:pt x="205" y="409"/>
                      <a:pt x="206" y="410"/>
                      <a:pt x="206" y="411"/>
                    </a:cubicBezTo>
                    <a:cubicBezTo>
                      <a:pt x="207" y="411"/>
                      <a:pt x="209" y="413"/>
                      <a:pt x="211" y="413"/>
                    </a:cubicBezTo>
                    <a:cubicBezTo>
                      <a:pt x="211" y="413"/>
                      <a:pt x="211" y="412"/>
                      <a:pt x="211" y="411"/>
                    </a:cubicBezTo>
                    <a:cubicBezTo>
                      <a:pt x="209" y="405"/>
                      <a:pt x="205" y="401"/>
                      <a:pt x="201" y="396"/>
                    </a:cubicBezTo>
                    <a:cubicBezTo>
                      <a:pt x="198" y="393"/>
                      <a:pt x="187" y="392"/>
                      <a:pt x="183" y="391"/>
                    </a:cubicBezTo>
                    <a:cubicBezTo>
                      <a:pt x="177" y="389"/>
                      <a:pt x="171" y="387"/>
                      <a:pt x="165" y="385"/>
                    </a:cubicBezTo>
                    <a:cubicBezTo>
                      <a:pt x="167" y="384"/>
                      <a:pt x="178" y="383"/>
                      <a:pt x="176" y="379"/>
                    </a:cubicBezTo>
                    <a:cubicBezTo>
                      <a:pt x="173" y="375"/>
                      <a:pt x="160" y="376"/>
                      <a:pt x="156" y="375"/>
                    </a:cubicBezTo>
                    <a:cubicBezTo>
                      <a:pt x="158" y="374"/>
                      <a:pt x="159" y="374"/>
                      <a:pt x="161" y="374"/>
                    </a:cubicBezTo>
                    <a:cubicBezTo>
                      <a:pt x="158" y="373"/>
                      <a:pt x="155" y="373"/>
                      <a:pt x="152" y="372"/>
                    </a:cubicBezTo>
                    <a:cubicBezTo>
                      <a:pt x="156" y="371"/>
                      <a:pt x="161" y="371"/>
                      <a:pt x="164" y="369"/>
                    </a:cubicBezTo>
                    <a:cubicBezTo>
                      <a:pt x="163" y="368"/>
                      <a:pt x="161" y="368"/>
                      <a:pt x="160" y="368"/>
                    </a:cubicBezTo>
                    <a:cubicBezTo>
                      <a:pt x="159" y="368"/>
                      <a:pt x="159" y="368"/>
                      <a:pt x="159" y="368"/>
                    </a:cubicBezTo>
                    <a:cubicBezTo>
                      <a:pt x="158" y="368"/>
                      <a:pt x="158" y="368"/>
                      <a:pt x="158" y="368"/>
                    </a:cubicBezTo>
                    <a:cubicBezTo>
                      <a:pt x="157" y="368"/>
                      <a:pt x="156" y="368"/>
                      <a:pt x="155" y="367"/>
                    </a:cubicBezTo>
                    <a:cubicBezTo>
                      <a:pt x="154" y="367"/>
                      <a:pt x="153" y="366"/>
                      <a:pt x="151" y="366"/>
                    </a:cubicBezTo>
                    <a:cubicBezTo>
                      <a:pt x="149" y="365"/>
                      <a:pt x="153" y="364"/>
                      <a:pt x="152" y="364"/>
                    </a:cubicBezTo>
                    <a:cubicBezTo>
                      <a:pt x="151" y="362"/>
                      <a:pt x="149" y="362"/>
                      <a:pt x="146" y="361"/>
                    </a:cubicBezTo>
                    <a:cubicBezTo>
                      <a:pt x="145" y="361"/>
                      <a:pt x="138" y="358"/>
                      <a:pt x="139" y="355"/>
                    </a:cubicBezTo>
                    <a:cubicBezTo>
                      <a:pt x="142" y="351"/>
                      <a:pt x="142" y="352"/>
                      <a:pt x="139" y="350"/>
                    </a:cubicBezTo>
                    <a:cubicBezTo>
                      <a:pt x="134" y="346"/>
                      <a:pt x="130" y="348"/>
                      <a:pt x="124" y="345"/>
                    </a:cubicBezTo>
                    <a:cubicBezTo>
                      <a:pt x="124" y="345"/>
                      <a:pt x="125" y="345"/>
                      <a:pt x="125" y="345"/>
                    </a:cubicBezTo>
                    <a:cubicBezTo>
                      <a:pt x="127" y="345"/>
                      <a:pt x="128" y="346"/>
                      <a:pt x="130" y="346"/>
                    </a:cubicBezTo>
                    <a:cubicBezTo>
                      <a:pt x="131" y="346"/>
                      <a:pt x="131" y="346"/>
                      <a:pt x="131" y="346"/>
                    </a:cubicBezTo>
                    <a:cubicBezTo>
                      <a:pt x="132" y="346"/>
                      <a:pt x="133" y="346"/>
                      <a:pt x="134" y="346"/>
                    </a:cubicBezTo>
                    <a:cubicBezTo>
                      <a:pt x="135" y="345"/>
                      <a:pt x="137" y="345"/>
                      <a:pt x="138" y="345"/>
                    </a:cubicBezTo>
                    <a:cubicBezTo>
                      <a:pt x="138" y="345"/>
                      <a:pt x="138" y="345"/>
                      <a:pt x="139" y="345"/>
                    </a:cubicBezTo>
                    <a:cubicBezTo>
                      <a:pt x="141" y="345"/>
                      <a:pt x="144" y="346"/>
                      <a:pt x="146" y="347"/>
                    </a:cubicBezTo>
                    <a:cubicBezTo>
                      <a:pt x="149" y="347"/>
                      <a:pt x="153" y="348"/>
                      <a:pt x="155" y="349"/>
                    </a:cubicBezTo>
                    <a:cubicBezTo>
                      <a:pt x="150" y="350"/>
                      <a:pt x="150" y="351"/>
                      <a:pt x="152" y="354"/>
                    </a:cubicBezTo>
                    <a:cubicBezTo>
                      <a:pt x="154" y="356"/>
                      <a:pt x="157" y="358"/>
                      <a:pt x="159" y="359"/>
                    </a:cubicBezTo>
                    <a:cubicBezTo>
                      <a:pt x="162" y="361"/>
                      <a:pt x="167" y="365"/>
                      <a:pt x="171" y="366"/>
                    </a:cubicBezTo>
                    <a:cubicBezTo>
                      <a:pt x="174" y="367"/>
                      <a:pt x="178" y="367"/>
                      <a:pt x="181" y="367"/>
                    </a:cubicBezTo>
                    <a:cubicBezTo>
                      <a:pt x="181" y="367"/>
                      <a:pt x="182" y="367"/>
                      <a:pt x="182" y="367"/>
                    </a:cubicBezTo>
                    <a:cubicBezTo>
                      <a:pt x="185" y="367"/>
                      <a:pt x="184" y="366"/>
                      <a:pt x="188" y="365"/>
                    </a:cubicBezTo>
                    <a:cubicBezTo>
                      <a:pt x="188" y="365"/>
                      <a:pt x="188" y="364"/>
                      <a:pt x="189" y="364"/>
                    </a:cubicBezTo>
                    <a:cubicBezTo>
                      <a:pt x="191" y="364"/>
                      <a:pt x="194" y="367"/>
                      <a:pt x="196" y="368"/>
                    </a:cubicBezTo>
                    <a:cubicBezTo>
                      <a:pt x="200" y="369"/>
                      <a:pt x="198" y="369"/>
                      <a:pt x="198" y="371"/>
                    </a:cubicBezTo>
                    <a:cubicBezTo>
                      <a:pt x="199" y="374"/>
                      <a:pt x="198" y="375"/>
                      <a:pt x="200" y="375"/>
                    </a:cubicBezTo>
                    <a:cubicBezTo>
                      <a:pt x="200" y="375"/>
                      <a:pt x="201" y="375"/>
                      <a:pt x="202" y="375"/>
                    </a:cubicBezTo>
                    <a:cubicBezTo>
                      <a:pt x="204" y="374"/>
                      <a:pt x="208" y="374"/>
                      <a:pt x="211" y="374"/>
                    </a:cubicBezTo>
                    <a:cubicBezTo>
                      <a:pt x="211" y="374"/>
                      <a:pt x="212" y="374"/>
                      <a:pt x="213" y="374"/>
                    </a:cubicBezTo>
                    <a:cubicBezTo>
                      <a:pt x="219" y="375"/>
                      <a:pt x="225" y="377"/>
                      <a:pt x="231" y="378"/>
                    </a:cubicBezTo>
                    <a:cubicBezTo>
                      <a:pt x="253" y="383"/>
                      <a:pt x="276" y="389"/>
                      <a:pt x="299" y="394"/>
                    </a:cubicBezTo>
                    <a:cubicBezTo>
                      <a:pt x="305" y="396"/>
                      <a:pt x="309" y="397"/>
                      <a:pt x="314" y="397"/>
                    </a:cubicBezTo>
                    <a:cubicBezTo>
                      <a:pt x="317" y="397"/>
                      <a:pt x="320" y="396"/>
                      <a:pt x="323" y="396"/>
                    </a:cubicBezTo>
                    <a:cubicBezTo>
                      <a:pt x="327" y="395"/>
                      <a:pt x="330" y="395"/>
                      <a:pt x="334" y="394"/>
                    </a:cubicBezTo>
                    <a:cubicBezTo>
                      <a:pt x="337" y="394"/>
                      <a:pt x="339" y="392"/>
                      <a:pt x="343" y="391"/>
                    </a:cubicBezTo>
                    <a:cubicBezTo>
                      <a:pt x="351" y="389"/>
                      <a:pt x="360" y="387"/>
                      <a:pt x="366" y="381"/>
                    </a:cubicBezTo>
                    <a:cubicBezTo>
                      <a:pt x="373" y="376"/>
                      <a:pt x="379" y="368"/>
                      <a:pt x="385" y="361"/>
                    </a:cubicBezTo>
                    <a:cubicBezTo>
                      <a:pt x="389" y="357"/>
                      <a:pt x="395" y="353"/>
                      <a:pt x="394" y="347"/>
                    </a:cubicBezTo>
                    <a:cubicBezTo>
                      <a:pt x="394" y="343"/>
                      <a:pt x="393" y="343"/>
                      <a:pt x="391" y="342"/>
                    </a:cubicBezTo>
                    <a:cubicBezTo>
                      <a:pt x="388" y="341"/>
                      <a:pt x="387" y="342"/>
                      <a:pt x="387" y="337"/>
                    </a:cubicBezTo>
                    <a:cubicBezTo>
                      <a:pt x="388" y="335"/>
                      <a:pt x="388" y="333"/>
                      <a:pt x="386" y="331"/>
                    </a:cubicBezTo>
                    <a:cubicBezTo>
                      <a:pt x="386" y="330"/>
                      <a:pt x="385" y="330"/>
                      <a:pt x="385" y="330"/>
                    </a:cubicBezTo>
                    <a:cubicBezTo>
                      <a:pt x="385" y="330"/>
                      <a:pt x="384" y="330"/>
                      <a:pt x="384" y="330"/>
                    </a:cubicBezTo>
                    <a:cubicBezTo>
                      <a:pt x="384" y="330"/>
                      <a:pt x="384" y="330"/>
                      <a:pt x="384" y="330"/>
                    </a:cubicBezTo>
                    <a:cubicBezTo>
                      <a:pt x="384" y="330"/>
                      <a:pt x="384" y="329"/>
                      <a:pt x="384" y="326"/>
                    </a:cubicBezTo>
                    <a:cubicBezTo>
                      <a:pt x="383" y="325"/>
                      <a:pt x="384" y="318"/>
                      <a:pt x="383" y="318"/>
                    </a:cubicBezTo>
                    <a:cubicBezTo>
                      <a:pt x="379" y="318"/>
                      <a:pt x="376" y="317"/>
                      <a:pt x="372" y="317"/>
                    </a:cubicBezTo>
                    <a:cubicBezTo>
                      <a:pt x="368" y="316"/>
                      <a:pt x="367" y="315"/>
                      <a:pt x="364" y="312"/>
                    </a:cubicBezTo>
                    <a:cubicBezTo>
                      <a:pt x="360" y="308"/>
                      <a:pt x="356" y="304"/>
                      <a:pt x="352" y="300"/>
                    </a:cubicBezTo>
                    <a:cubicBezTo>
                      <a:pt x="352" y="299"/>
                      <a:pt x="348" y="296"/>
                      <a:pt x="347" y="296"/>
                    </a:cubicBezTo>
                    <a:cubicBezTo>
                      <a:pt x="347" y="296"/>
                      <a:pt x="347" y="296"/>
                      <a:pt x="347" y="297"/>
                    </a:cubicBezTo>
                    <a:cubicBezTo>
                      <a:pt x="347" y="297"/>
                      <a:pt x="349" y="298"/>
                      <a:pt x="349" y="299"/>
                    </a:cubicBezTo>
                    <a:cubicBezTo>
                      <a:pt x="341" y="297"/>
                      <a:pt x="332" y="294"/>
                      <a:pt x="323" y="292"/>
                    </a:cubicBezTo>
                    <a:cubicBezTo>
                      <a:pt x="319" y="290"/>
                      <a:pt x="315" y="289"/>
                      <a:pt x="311" y="288"/>
                    </a:cubicBezTo>
                    <a:cubicBezTo>
                      <a:pt x="308" y="287"/>
                      <a:pt x="307" y="285"/>
                      <a:pt x="305" y="283"/>
                    </a:cubicBezTo>
                    <a:cubicBezTo>
                      <a:pt x="300" y="278"/>
                      <a:pt x="297" y="275"/>
                      <a:pt x="291" y="273"/>
                    </a:cubicBezTo>
                    <a:cubicBezTo>
                      <a:pt x="281" y="268"/>
                      <a:pt x="271" y="264"/>
                      <a:pt x="261" y="259"/>
                    </a:cubicBezTo>
                    <a:cubicBezTo>
                      <a:pt x="251" y="254"/>
                      <a:pt x="241" y="250"/>
                      <a:pt x="230" y="245"/>
                    </a:cubicBezTo>
                    <a:cubicBezTo>
                      <a:pt x="226" y="243"/>
                      <a:pt x="223" y="241"/>
                      <a:pt x="218" y="241"/>
                    </a:cubicBezTo>
                    <a:cubicBezTo>
                      <a:pt x="218" y="241"/>
                      <a:pt x="218" y="241"/>
                      <a:pt x="218" y="241"/>
                    </a:cubicBezTo>
                    <a:cubicBezTo>
                      <a:pt x="217" y="241"/>
                      <a:pt x="217" y="241"/>
                      <a:pt x="217" y="241"/>
                    </a:cubicBezTo>
                    <a:cubicBezTo>
                      <a:pt x="211" y="241"/>
                      <a:pt x="205" y="241"/>
                      <a:pt x="199" y="240"/>
                    </a:cubicBezTo>
                    <a:cubicBezTo>
                      <a:pt x="194" y="239"/>
                      <a:pt x="188" y="238"/>
                      <a:pt x="182" y="238"/>
                    </a:cubicBezTo>
                    <a:cubicBezTo>
                      <a:pt x="181" y="238"/>
                      <a:pt x="181" y="238"/>
                      <a:pt x="180" y="238"/>
                    </a:cubicBezTo>
                    <a:cubicBezTo>
                      <a:pt x="180" y="238"/>
                      <a:pt x="180" y="238"/>
                      <a:pt x="179" y="238"/>
                    </a:cubicBezTo>
                    <a:cubicBezTo>
                      <a:pt x="179" y="238"/>
                      <a:pt x="179" y="238"/>
                      <a:pt x="179" y="238"/>
                    </a:cubicBezTo>
                    <a:cubicBezTo>
                      <a:pt x="178" y="238"/>
                      <a:pt x="178" y="238"/>
                      <a:pt x="178" y="238"/>
                    </a:cubicBezTo>
                    <a:cubicBezTo>
                      <a:pt x="175" y="238"/>
                      <a:pt x="173" y="239"/>
                      <a:pt x="172" y="241"/>
                    </a:cubicBezTo>
                    <a:cubicBezTo>
                      <a:pt x="171" y="245"/>
                      <a:pt x="173" y="245"/>
                      <a:pt x="169" y="248"/>
                    </a:cubicBezTo>
                    <a:cubicBezTo>
                      <a:pt x="168" y="249"/>
                      <a:pt x="168" y="249"/>
                      <a:pt x="167" y="250"/>
                    </a:cubicBezTo>
                    <a:cubicBezTo>
                      <a:pt x="166" y="250"/>
                      <a:pt x="163" y="251"/>
                      <a:pt x="162" y="251"/>
                    </a:cubicBezTo>
                    <a:cubicBezTo>
                      <a:pt x="158" y="252"/>
                      <a:pt x="159" y="253"/>
                      <a:pt x="156" y="257"/>
                    </a:cubicBezTo>
                    <a:cubicBezTo>
                      <a:pt x="156" y="253"/>
                      <a:pt x="157" y="251"/>
                      <a:pt x="161" y="250"/>
                    </a:cubicBezTo>
                    <a:cubicBezTo>
                      <a:pt x="165" y="249"/>
                      <a:pt x="167" y="247"/>
                      <a:pt x="170" y="246"/>
                    </a:cubicBezTo>
                    <a:cubicBezTo>
                      <a:pt x="169" y="245"/>
                      <a:pt x="163" y="243"/>
                      <a:pt x="164" y="241"/>
                    </a:cubicBezTo>
                    <a:cubicBezTo>
                      <a:pt x="164" y="240"/>
                      <a:pt x="166" y="240"/>
                      <a:pt x="167" y="239"/>
                    </a:cubicBezTo>
                    <a:cubicBezTo>
                      <a:pt x="168" y="238"/>
                      <a:pt x="167" y="235"/>
                      <a:pt x="167" y="233"/>
                    </a:cubicBezTo>
                    <a:cubicBezTo>
                      <a:pt x="162" y="235"/>
                      <a:pt x="156" y="238"/>
                      <a:pt x="151" y="239"/>
                    </a:cubicBezTo>
                    <a:cubicBezTo>
                      <a:pt x="153" y="237"/>
                      <a:pt x="149" y="236"/>
                      <a:pt x="147" y="236"/>
                    </a:cubicBezTo>
                    <a:cubicBezTo>
                      <a:pt x="142" y="235"/>
                      <a:pt x="138" y="235"/>
                      <a:pt x="134" y="233"/>
                    </a:cubicBezTo>
                    <a:cubicBezTo>
                      <a:pt x="135" y="231"/>
                      <a:pt x="129" y="229"/>
                      <a:pt x="128" y="227"/>
                    </a:cubicBezTo>
                    <a:cubicBezTo>
                      <a:pt x="127" y="225"/>
                      <a:pt x="130" y="219"/>
                      <a:pt x="132" y="217"/>
                    </a:cubicBezTo>
                    <a:cubicBezTo>
                      <a:pt x="133" y="218"/>
                      <a:pt x="132" y="220"/>
                      <a:pt x="133" y="221"/>
                    </a:cubicBezTo>
                    <a:cubicBezTo>
                      <a:pt x="135" y="223"/>
                      <a:pt x="143" y="223"/>
                      <a:pt x="146" y="224"/>
                    </a:cubicBezTo>
                    <a:cubicBezTo>
                      <a:pt x="147" y="224"/>
                      <a:pt x="150" y="225"/>
                      <a:pt x="153" y="225"/>
                    </a:cubicBezTo>
                    <a:cubicBezTo>
                      <a:pt x="153" y="225"/>
                      <a:pt x="154" y="225"/>
                      <a:pt x="154" y="225"/>
                    </a:cubicBezTo>
                    <a:cubicBezTo>
                      <a:pt x="156" y="224"/>
                      <a:pt x="160" y="219"/>
                      <a:pt x="159" y="218"/>
                    </a:cubicBezTo>
                    <a:cubicBezTo>
                      <a:pt x="159" y="217"/>
                      <a:pt x="152" y="216"/>
                      <a:pt x="151" y="215"/>
                    </a:cubicBezTo>
                    <a:cubicBezTo>
                      <a:pt x="150" y="215"/>
                      <a:pt x="150" y="215"/>
                      <a:pt x="150" y="215"/>
                    </a:cubicBezTo>
                    <a:cubicBezTo>
                      <a:pt x="149" y="215"/>
                      <a:pt x="149" y="215"/>
                      <a:pt x="148" y="216"/>
                    </a:cubicBezTo>
                    <a:cubicBezTo>
                      <a:pt x="147" y="216"/>
                      <a:pt x="147" y="216"/>
                      <a:pt x="146" y="216"/>
                    </a:cubicBezTo>
                    <a:cubicBezTo>
                      <a:pt x="145" y="216"/>
                      <a:pt x="144" y="215"/>
                      <a:pt x="143" y="215"/>
                    </a:cubicBezTo>
                    <a:cubicBezTo>
                      <a:pt x="142" y="214"/>
                      <a:pt x="142" y="213"/>
                      <a:pt x="141" y="212"/>
                    </a:cubicBezTo>
                    <a:cubicBezTo>
                      <a:pt x="139" y="211"/>
                      <a:pt x="138" y="211"/>
                      <a:pt x="137" y="211"/>
                    </a:cubicBezTo>
                    <a:cubicBezTo>
                      <a:pt x="137" y="211"/>
                      <a:pt x="136" y="211"/>
                      <a:pt x="136" y="211"/>
                    </a:cubicBezTo>
                    <a:cubicBezTo>
                      <a:pt x="136" y="211"/>
                      <a:pt x="136" y="211"/>
                      <a:pt x="136" y="211"/>
                    </a:cubicBezTo>
                    <a:cubicBezTo>
                      <a:pt x="134" y="211"/>
                      <a:pt x="133" y="210"/>
                      <a:pt x="132" y="208"/>
                    </a:cubicBezTo>
                    <a:cubicBezTo>
                      <a:pt x="131" y="207"/>
                      <a:pt x="129" y="206"/>
                      <a:pt x="128" y="206"/>
                    </a:cubicBezTo>
                    <a:moveTo>
                      <a:pt x="1682" y="0"/>
                    </a:moveTo>
                    <a:cubicBezTo>
                      <a:pt x="1506" y="16"/>
                      <a:pt x="1506" y="16"/>
                      <a:pt x="1506" y="16"/>
                    </a:cubicBezTo>
                    <a:cubicBezTo>
                      <a:pt x="1506" y="16"/>
                      <a:pt x="1506" y="16"/>
                      <a:pt x="1506" y="16"/>
                    </a:cubicBezTo>
                    <a:cubicBezTo>
                      <a:pt x="1507" y="17"/>
                      <a:pt x="1507" y="17"/>
                      <a:pt x="1507" y="17"/>
                    </a:cubicBezTo>
                    <a:cubicBezTo>
                      <a:pt x="1507" y="18"/>
                      <a:pt x="1507" y="18"/>
                      <a:pt x="1506" y="19"/>
                    </a:cubicBezTo>
                    <a:cubicBezTo>
                      <a:pt x="1506" y="19"/>
                      <a:pt x="1506" y="19"/>
                      <a:pt x="1506" y="19"/>
                    </a:cubicBezTo>
                    <a:cubicBezTo>
                      <a:pt x="1506" y="20"/>
                      <a:pt x="1506" y="20"/>
                      <a:pt x="1506" y="20"/>
                    </a:cubicBezTo>
                    <a:cubicBezTo>
                      <a:pt x="1506" y="20"/>
                      <a:pt x="1506" y="20"/>
                      <a:pt x="1506" y="20"/>
                    </a:cubicBezTo>
                    <a:cubicBezTo>
                      <a:pt x="1507" y="20"/>
                      <a:pt x="1507" y="20"/>
                      <a:pt x="1507" y="20"/>
                    </a:cubicBezTo>
                    <a:cubicBezTo>
                      <a:pt x="1508" y="20"/>
                      <a:pt x="1508" y="20"/>
                      <a:pt x="1508" y="20"/>
                    </a:cubicBezTo>
                    <a:cubicBezTo>
                      <a:pt x="1508" y="20"/>
                      <a:pt x="1508" y="20"/>
                      <a:pt x="1508" y="20"/>
                    </a:cubicBezTo>
                    <a:cubicBezTo>
                      <a:pt x="1509" y="19"/>
                      <a:pt x="1509" y="19"/>
                      <a:pt x="1509" y="19"/>
                    </a:cubicBezTo>
                    <a:cubicBezTo>
                      <a:pt x="1510" y="19"/>
                      <a:pt x="1510" y="19"/>
                      <a:pt x="1510" y="19"/>
                    </a:cubicBezTo>
                    <a:cubicBezTo>
                      <a:pt x="1510" y="19"/>
                      <a:pt x="1510" y="19"/>
                      <a:pt x="1510" y="19"/>
                    </a:cubicBezTo>
                    <a:cubicBezTo>
                      <a:pt x="1511" y="20"/>
                      <a:pt x="1511" y="20"/>
                      <a:pt x="1511" y="20"/>
                    </a:cubicBezTo>
                    <a:cubicBezTo>
                      <a:pt x="1511" y="20"/>
                      <a:pt x="1511" y="20"/>
                      <a:pt x="1511" y="20"/>
                    </a:cubicBezTo>
                    <a:cubicBezTo>
                      <a:pt x="1510" y="20"/>
                      <a:pt x="1510" y="20"/>
                      <a:pt x="1510" y="20"/>
                    </a:cubicBezTo>
                    <a:cubicBezTo>
                      <a:pt x="1510" y="21"/>
                      <a:pt x="1510" y="21"/>
                      <a:pt x="1510" y="21"/>
                    </a:cubicBezTo>
                    <a:cubicBezTo>
                      <a:pt x="1509" y="23"/>
                      <a:pt x="1508" y="23"/>
                      <a:pt x="1506" y="24"/>
                    </a:cubicBezTo>
                    <a:cubicBezTo>
                      <a:pt x="1505" y="25"/>
                      <a:pt x="1505" y="25"/>
                      <a:pt x="1505" y="25"/>
                    </a:cubicBezTo>
                    <a:cubicBezTo>
                      <a:pt x="1503" y="26"/>
                      <a:pt x="1503" y="26"/>
                      <a:pt x="1503" y="26"/>
                    </a:cubicBezTo>
                    <a:cubicBezTo>
                      <a:pt x="1501" y="27"/>
                      <a:pt x="1502" y="27"/>
                      <a:pt x="1500" y="28"/>
                    </a:cubicBezTo>
                    <a:cubicBezTo>
                      <a:pt x="1500" y="28"/>
                      <a:pt x="1500" y="28"/>
                      <a:pt x="1500" y="28"/>
                    </a:cubicBezTo>
                    <a:cubicBezTo>
                      <a:pt x="1500" y="29"/>
                      <a:pt x="1500" y="29"/>
                      <a:pt x="1500" y="29"/>
                    </a:cubicBezTo>
                    <a:cubicBezTo>
                      <a:pt x="1499" y="29"/>
                      <a:pt x="1499" y="29"/>
                      <a:pt x="1499" y="29"/>
                    </a:cubicBezTo>
                    <a:cubicBezTo>
                      <a:pt x="1499" y="29"/>
                      <a:pt x="1499" y="29"/>
                      <a:pt x="1499" y="29"/>
                    </a:cubicBezTo>
                    <a:cubicBezTo>
                      <a:pt x="1499" y="30"/>
                      <a:pt x="1499" y="30"/>
                      <a:pt x="1499" y="30"/>
                    </a:cubicBezTo>
                    <a:cubicBezTo>
                      <a:pt x="1499" y="30"/>
                      <a:pt x="1499" y="30"/>
                      <a:pt x="1499" y="30"/>
                    </a:cubicBezTo>
                    <a:cubicBezTo>
                      <a:pt x="1499" y="30"/>
                      <a:pt x="1499" y="30"/>
                      <a:pt x="1499" y="30"/>
                    </a:cubicBezTo>
                    <a:cubicBezTo>
                      <a:pt x="1500" y="30"/>
                      <a:pt x="1500" y="30"/>
                      <a:pt x="1500" y="30"/>
                    </a:cubicBezTo>
                    <a:cubicBezTo>
                      <a:pt x="1500" y="31"/>
                      <a:pt x="1500" y="31"/>
                      <a:pt x="1500" y="31"/>
                    </a:cubicBezTo>
                    <a:cubicBezTo>
                      <a:pt x="1501" y="31"/>
                      <a:pt x="1501" y="31"/>
                      <a:pt x="1501" y="31"/>
                    </a:cubicBezTo>
                    <a:cubicBezTo>
                      <a:pt x="1501" y="31"/>
                      <a:pt x="1501" y="31"/>
                      <a:pt x="1501" y="31"/>
                    </a:cubicBezTo>
                    <a:cubicBezTo>
                      <a:pt x="1502" y="31"/>
                      <a:pt x="1502" y="31"/>
                      <a:pt x="1502" y="31"/>
                    </a:cubicBezTo>
                    <a:cubicBezTo>
                      <a:pt x="1502" y="31"/>
                      <a:pt x="1502" y="31"/>
                      <a:pt x="1502" y="31"/>
                    </a:cubicBezTo>
                    <a:cubicBezTo>
                      <a:pt x="1503" y="31"/>
                      <a:pt x="1503" y="31"/>
                      <a:pt x="1503" y="31"/>
                    </a:cubicBezTo>
                    <a:cubicBezTo>
                      <a:pt x="1503" y="31"/>
                      <a:pt x="1504" y="31"/>
                      <a:pt x="1504" y="31"/>
                    </a:cubicBezTo>
                    <a:cubicBezTo>
                      <a:pt x="1504" y="31"/>
                      <a:pt x="1505" y="31"/>
                      <a:pt x="1505" y="32"/>
                    </a:cubicBezTo>
                    <a:cubicBezTo>
                      <a:pt x="1506" y="32"/>
                      <a:pt x="1506" y="32"/>
                      <a:pt x="1506" y="32"/>
                    </a:cubicBezTo>
                    <a:cubicBezTo>
                      <a:pt x="1506" y="32"/>
                      <a:pt x="1506" y="32"/>
                      <a:pt x="1506" y="32"/>
                    </a:cubicBezTo>
                    <a:cubicBezTo>
                      <a:pt x="1507" y="32"/>
                      <a:pt x="1507" y="32"/>
                      <a:pt x="1507" y="32"/>
                    </a:cubicBezTo>
                    <a:cubicBezTo>
                      <a:pt x="1506" y="33"/>
                      <a:pt x="1506" y="33"/>
                      <a:pt x="1506" y="33"/>
                    </a:cubicBezTo>
                    <a:cubicBezTo>
                      <a:pt x="1505" y="34"/>
                      <a:pt x="1505" y="34"/>
                      <a:pt x="1505" y="34"/>
                    </a:cubicBezTo>
                    <a:cubicBezTo>
                      <a:pt x="1501" y="36"/>
                      <a:pt x="1501" y="36"/>
                      <a:pt x="1501" y="36"/>
                    </a:cubicBezTo>
                    <a:cubicBezTo>
                      <a:pt x="1500" y="37"/>
                      <a:pt x="1500" y="37"/>
                      <a:pt x="1500" y="37"/>
                    </a:cubicBezTo>
                    <a:cubicBezTo>
                      <a:pt x="1499" y="37"/>
                      <a:pt x="1499" y="37"/>
                      <a:pt x="1499" y="37"/>
                    </a:cubicBezTo>
                    <a:cubicBezTo>
                      <a:pt x="1499" y="37"/>
                      <a:pt x="1499" y="37"/>
                      <a:pt x="1499" y="37"/>
                    </a:cubicBezTo>
                    <a:cubicBezTo>
                      <a:pt x="1500" y="37"/>
                      <a:pt x="1500" y="37"/>
                      <a:pt x="1500" y="37"/>
                    </a:cubicBezTo>
                    <a:cubicBezTo>
                      <a:pt x="1500" y="37"/>
                      <a:pt x="1500" y="37"/>
                      <a:pt x="1500" y="37"/>
                    </a:cubicBezTo>
                    <a:cubicBezTo>
                      <a:pt x="1501" y="38"/>
                      <a:pt x="1501" y="38"/>
                      <a:pt x="1501" y="38"/>
                    </a:cubicBezTo>
                    <a:cubicBezTo>
                      <a:pt x="1501" y="38"/>
                      <a:pt x="1501" y="38"/>
                      <a:pt x="1501" y="38"/>
                    </a:cubicBezTo>
                    <a:cubicBezTo>
                      <a:pt x="1502" y="38"/>
                      <a:pt x="1502" y="38"/>
                      <a:pt x="1502" y="38"/>
                    </a:cubicBezTo>
                    <a:cubicBezTo>
                      <a:pt x="1502" y="38"/>
                      <a:pt x="1502" y="38"/>
                      <a:pt x="1502" y="38"/>
                    </a:cubicBezTo>
                    <a:cubicBezTo>
                      <a:pt x="1503" y="38"/>
                      <a:pt x="1503" y="38"/>
                      <a:pt x="1503" y="38"/>
                    </a:cubicBezTo>
                    <a:cubicBezTo>
                      <a:pt x="1504" y="38"/>
                      <a:pt x="1504" y="38"/>
                      <a:pt x="1504" y="38"/>
                    </a:cubicBezTo>
                    <a:cubicBezTo>
                      <a:pt x="1504" y="38"/>
                      <a:pt x="1504" y="38"/>
                      <a:pt x="1504" y="38"/>
                    </a:cubicBezTo>
                    <a:cubicBezTo>
                      <a:pt x="1505" y="39"/>
                      <a:pt x="1505" y="39"/>
                      <a:pt x="1505" y="39"/>
                    </a:cubicBezTo>
                    <a:cubicBezTo>
                      <a:pt x="1505" y="39"/>
                      <a:pt x="1505" y="39"/>
                      <a:pt x="1505" y="39"/>
                    </a:cubicBezTo>
                    <a:cubicBezTo>
                      <a:pt x="1506" y="39"/>
                      <a:pt x="1506" y="39"/>
                      <a:pt x="1506" y="39"/>
                    </a:cubicBezTo>
                    <a:cubicBezTo>
                      <a:pt x="1507" y="39"/>
                      <a:pt x="1507" y="39"/>
                      <a:pt x="1507" y="39"/>
                    </a:cubicBezTo>
                    <a:cubicBezTo>
                      <a:pt x="1507" y="39"/>
                      <a:pt x="1507" y="39"/>
                      <a:pt x="1507" y="39"/>
                    </a:cubicBezTo>
                    <a:cubicBezTo>
                      <a:pt x="1507" y="40"/>
                      <a:pt x="1507" y="40"/>
                      <a:pt x="1507" y="40"/>
                    </a:cubicBezTo>
                    <a:cubicBezTo>
                      <a:pt x="1507" y="40"/>
                      <a:pt x="1507" y="40"/>
                      <a:pt x="1507" y="40"/>
                    </a:cubicBezTo>
                    <a:cubicBezTo>
                      <a:pt x="1505" y="41"/>
                      <a:pt x="1505" y="41"/>
                      <a:pt x="1505" y="41"/>
                    </a:cubicBezTo>
                    <a:cubicBezTo>
                      <a:pt x="1505" y="42"/>
                      <a:pt x="1505" y="42"/>
                      <a:pt x="1505" y="42"/>
                    </a:cubicBezTo>
                    <a:cubicBezTo>
                      <a:pt x="1505" y="42"/>
                      <a:pt x="1505" y="42"/>
                      <a:pt x="1505" y="42"/>
                    </a:cubicBezTo>
                    <a:cubicBezTo>
                      <a:pt x="1505" y="42"/>
                      <a:pt x="1505" y="42"/>
                      <a:pt x="1505" y="42"/>
                    </a:cubicBezTo>
                    <a:cubicBezTo>
                      <a:pt x="1506" y="43"/>
                      <a:pt x="1506" y="43"/>
                      <a:pt x="1506" y="43"/>
                    </a:cubicBezTo>
                    <a:cubicBezTo>
                      <a:pt x="1506" y="43"/>
                      <a:pt x="1506" y="43"/>
                      <a:pt x="1506" y="43"/>
                    </a:cubicBezTo>
                    <a:cubicBezTo>
                      <a:pt x="1507" y="43"/>
                      <a:pt x="1507" y="43"/>
                      <a:pt x="1507" y="43"/>
                    </a:cubicBezTo>
                    <a:cubicBezTo>
                      <a:pt x="1508" y="44"/>
                      <a:pt x="1511" y="43"/>
                      <a:pt x="1512" y="44"/>
                    </a:cubicBezTo>
                    <a:cubicBezTo>
                      <a:pt x="1512" y="44"/>
                      <a:pt x="1512" y="44"/>
                      <a:pt x="1512" y="44"/>
                    </a:cubicBezTo>
                    <a:cubicBezTo>
                      <a:pt x="1512" y="45"/>
                      <a:pt x="1512" y="45"/>
                      <a:pt x="1512" y="45"/>
                    </a:cubicBezTo>
                    <a:cubicBezTo>
                      <a:pt x="1514" y="46"/>
                      <a:pt x="1513" y="46"/>
                      <a:pt x="1514" y="47"/>
                    </a:cubicBezTo>
                    <a:cubicBezTo>
                      <a:pt x="1514" y="48"/>
                      <a:pt x="1514" y="48"/>
                      <a:pt x="1514" y="48"/>
                    </a:cubicBezTo>
                    <a:cubicBezTo>
                      <a:pt x="1515" y="48"/>
                      <a:pt x="1515" y="48"/>
                      <a:pt x="1515" y="48"/>
                    </a:cubicBezTo>
                    <a:cubicBezTo>
                      <a:pt x="1515" y="49"/>
                      <a:pt x="1515" y="49"/>
                      <a:pt x="1515" y="49"/>
                    </a:cubicBezTo>
                    <a:cubicBezTo>
                      <a:pt x="1516" y="53"/>
                      <a:pt x="1515" y="54"/>
                      <a:pt x="1513" y="58"/>
                    </a:cubicBezTo>
                    <a:cubicBezTo>
                      <a:pt x="1513" y="58"/>
                      <a:pt x="1513" y="58"/>
                      <a:pt x="1513" y="58"/>
                    </a:cubicBezTo>
                    <a:cubicBezTo>
                      <a:pt x="1513" y="59"/>
                      <a:pt x="1513" y="59"/>
                      <a:pt x="1513" y="59"/>
                    </a:cubicBezTo>
                    <a:cubicBezTo>
                      <a:pt x="1513" y="59"/>
                      <a:pt x="1513" y="59"/>
                      <a:pt x="1513" y="59"/>
                    </a:cubicBezTo>
                    <a:cubicBezTo>
                      <a:pt x="1513" y="59"/>
                      <a:pt x="1513" y="59"/>
                      <a:pt x="1513" y="59"/>
                    </a:cubicBezTo>
                    <a:cubicBezTo>
                      <a:pt x="1512" y="60"/>
                      <a:pt x="1512" y="60"/>
                      <a:pt x="1512" y="60"/>
                    </a:cubicBezTo>
                    <a:cubicBezTo>
                      <a:pt x="1511" y="61"/>
                      <a:pt x="1509" y="61"/>
                      <a:pt x="1510" y="63"/>
                    </a:cubicBezTo>
                    <a:cubicBezTo>
                      <a:pt x="1510" y="63"/>
                      <a:pt x="1510" y="63"/>
                      <a:pt x="1510" y="63"/>
                    </a:cubicBezTo>
                    <a:cubicBezTo>
                      <a:pt x="1510" y="63"/>
                      <a:pt x="1510" y="63"/>
                      <a:pt x="1510" y="63"/>
                    </a:cubicBezTo>
                    <a:cubicBezTo>
                      <a:pt x="1511" y="65"/>
                      <a:pt x="1510" y="66"/>
                      <a:pt x="1513" y="67"/>
                    </a:cubicBezTo>
                    <a:cubicBezTo>
                      <a:pt x="1513" y="67"/>
                      <a:pt x="1513" y="67"/>
                      <a:pt x="1513" y="67"/>
                    </a:cubicBezTo>
                    <a:cubicBezTo>
                      <a:pt x="1514" y="67"/>
                      <a:pt x="1514" y="67"/>
                      <a:pt x="1514" y="67"/>
                    </a:cubicBezTo>
                    <a:cubicBezTo>
                      <a:pt x="1514" y="67"/>
                      <a:pt x="1514" y="67"/>
                      <a:pt x="1514" y="67"/>
                    </a:cubicBezTo>
                    <a:cubicBezTo>
                      <a:pt x="1515" y="67"/>
                      <a:pt x="1515" y="67"/>
                      <a:pt x="1515" y="67"/>
                    </a:cubicBezTo>
                    <a:cubicBezTo>
                      <a:pt x="1515" y="67"/>
                      <a:pt x="1515" y="67"/>
                      <a:pt x="1515" y="67"/>
                    </a:cubicBezTo>
                    <a:cubicBezTo>
                      <a:pt x="1515" y="68"/>
                      <a:pt x="1515" y="68"/>
                      <a:pt x="1515" y="68"/>
                    </a:cubicBezTo>
                    <a:cubicBezTo>
                      <a:pt x="1515" y="68"/>
                      <a:pt x="1515" y="68"/>
                      <a:pt x="1515" y="68"/>
                    </a:cubicBezTo>
                    <a:cubicBezTo>
                      <a:pt x="1515" y="68"/>
                      <a:pt x="1515" y="68"/>
                      <a:pt x="1515" y="68"/>
                    </a:cubicBezTo>
                    <a:cubicBezTo>
                      <a:pt x="1515" y="69"/>
                      <a:pt x="1515" y="69"/>
                      <a:pt x="1515" y="69"/>
                    </a:cubicBezTo>
                    <a:cubicBezTo>
                      <a:pt x="1514" y="69"/>
                      <a:pt x="1514" y="69"/>
                      <a:pt x="1514" y="69"/>
                    </a:cubicBezTo>
                    <a:cubicBezTo>
                      <a:pt x="1514" y="69"/>
                      <a:pt x="1514" y="69"/>
                      <a:pt x="1514" y="69"/>
                    </a:cubicBezTo>
                    <a:cubicBezTo>
                      <a:pt x="1514" y="70"/>
                      <a:pt x="1514" y="70"/>
                      <a:pt x="1514" y="70"/>
                    </a:cubicBezTo>
                    <a:cubicBezTo>
                      <a:pt x="1513" y="70"/>
                      <a:pt x="1513" y="70"/>
                      <a:pt x="1513" y="70"/>
                    </a:cubicBezTo>
                    <a:cubicBezTo>
                      <a:pt x="1513" y="71"/>
                      <a:pt x="1513" y="71"/>
                      <a:pt x="1513" y="71"/>
                    </a:cubicBezTo>
                    <a:cubicBezTo>
                      <a:pt x="1512" y="71"/>
                      <a:pt x="1512" y="71"/>
                      <a:pt x="1512" y="71"/>
                    </a:cubicBezTo>
                    <a:cubicBezTo>
                      <a:pt x="1512" y="72"/>
                      <a:pt x="1512" y="72"/>
                      <a:pt x="1512" y="72"/>
                    </a:cubicBezTo>
                    <a:cubicBezTo>
                      <a:pt x="1512" y="73"/>
                      <a:pt x="1514" y="74"/>
                      <a:pt x="1515" y="74"/>
                    </a:cubicBezTo>
                    <a:cubicBezTo>
                      <a:pt x="1516" y="75"/>
                      <a:pt x="1516" y="75"/>
                      <a:pt x="1516" y="75"/>
                    </a:cubicBezTo>
                    <a:cubicBezTo>
                      <a:pt x="1516" y="76"/>
                      <a:pt x="1516" y="76"/>
                      <a:pt x="1516" y="76"/>
                    </a:cubicBezTo>
                    <a:cubicBezTo>
                      <a:pt x="1520" y="79"/>
                      <a:pt x="1520" y="79"/>
                      <a:pt x="1520" y="79"/>
                    </a:cubicBezTo>
                    <a:cubicBezTo>
                      <a:pt x="1554" y="86"/>
                      <a:pt x="1554" y="86"/>
                      <a:pt x="1554" y="86"/>
                    </a:cubicBezTo>
                    <a:cubicBezTo>
                      <a:pt x="1555" y="94"/>
                      <a:pt x="1555" y="94"/>
                      <a:pt x="1555" y="94"/>
                    </a:cubicBezTo>
                    <a:cubicBezTo>
                      <a:pt x="1554" y="94"/>
                      <a:pt x="1554" y="94"/>
                      <a:pt x="1554" y="94"/>
                    </a:cubicBezTo>
                    <a:cubicBezTo>
                      <a:pt x="1556" y="97"/>
                      <a:pt x="1556" y="97"/>
                      <a:pt x="1556" y="97"/>
                    </a:cubicBezTo>
                    <a:cubicBezTo>
                      <a:pt x="1556" y="98"/>
                      <a:pt x="1556" y="98"/>
                      <a:pt x="1556" y="98"/>
                    </a:cubicBezTo>
                    <a:cubicBezTo>
                      <a:pt x="1568" y="107"/>
                      <a:pt x="1568" y="107"/>
                      <a:pt x="1568" y="107"/>
                    </a:cubicBezTo>
                    <a:cubicBezTo>
                      <a:pt x="1568" y="113"/>
                      <a:pt x="1568" y="113"/>
                      <a:pt x="1568" y="113"/>
                    </a:cubicBezTo>
                    <a:cubicBezTo>
                      <a:pt x="1559" y="115"/>
                      <a:pt x="1559" y="115"/>
                      <a:pt x="1559" y="115"/>
                    </a:cubicBezTo>
                    <a:cubicBezTo>
                      <a:pt x="1558" y="115"/>
                      <a:pt x="1558" y="115"/>
                      <a:pt x="1558" y="115"/>
                    </a:cubicBezTo>
                    <a:cubicBezTo>
                      <a:pt x="1555" y="116"/>
                      <a:pt x="1553" y="117"/>
                      <a:pt x="1550" y="117"/>
                    </a:cubicBezTo>
                    <a:cubicBezTo>
                      <a:pt x="1550" y="117"/>
                      <a:pt x="1549" y="117"/>
                      <a:pt x="1549" y="117"/>
                    </a:cubicBezTo>
                    <a:cubicBezTo>
                      <a:pt x="1549" y="117"/>
                      <a:pt x="1549" y="117"/>
                      <a:pt x="1549" y="117"/>
                    </a:cubicBezTo>
                    <a:cubicBezTo>
                      <a:pt x="1548" y="117"/>
                      <a:pt x="1548" y="117"/>
                      <a:pt x="1548" y="117"/>
                    </a:cubicBezTo>
                    <a:cubicBezTo>
                      <a:pt x="1548" y="116"/>
                      <a:pt x="1548" y="116"/>
                      <a:pt x="1548" y="116"/>
                    </a:cubicBezTo>
                    <a:cubicBezTo>
                      <a:pt x="1547" y="116"/>
                      <a:pt x="1546" y="116"/>
                      <a:pt x="1545" y="116"/>
                    </a:cubicBezTo>
                    <a:cubicBezTo>
                      <a:pt x="1545" y="116"/>
                      <a:pt x="1544" y="116"/>
                      <a:pt x="1544" y="116"/>
                    </a:cubicBezTo>
                    <a:cubicBezTo>
                      <a:pt x="1544" y="116"/>
                      <a:pt x="1544" y="116"/>
                      <a:pt x="1544" y="116"/>
                    </a:cubicBezTo>
                    <a:cubicBezTo>
                      <a:pt x="1543" y="116"/>
                      <a:pt x="1543" y="116"/>
                      <a:pt x="1543" y="116"/>
                    </a:cubicBezTo>
                    <a:cubicBezTo>
                      <a:pt x="1543" y="117"/>
                      <a:pt x="1543" y="117"/>
                      <a:pt x="1543" y="117"/>
                    </a:cubicBezTo>
                    <a:cubicBezTo>
                      <a:pt x="1542" y="117"/>
                      <a:pt x="1542" y="117"/>
                      <a:pt x="1542" y="117"/>
                    </a:cubicBezTo>
                    <a:cubicBezTo>
                      <a:pt x="1541" y="117"/>
                      <a:pt x="1541" y="117"/>
                      <a:pt x="1541" y="117"/>
                    </a:cubicBezTo>
                    <a:cubicBezTo>
                      <a:pt x="1541" y="117"/>
                      <a:pt x="1541" y="117"/>
                      <a:pt x="1541" y="117"/>
                    </a:cubicBezTo>
                    <a:cubicBezTo>
                      <a:pt x="1538" y="115"/>
                      <a:pt x="1538" y="115"/>
                      <a:pt x="1538" y="115"/>
                    </a:cubicBezTo>
                    <a:cubicBezTo>
                      <a:pt x="1533" y="111"/>
                      <a:pt x="1533" y="111"/>
                      <a:pt x="1533" y="111"/>
                    </a:cubicBezTo>
                    <a:cubicBezTo>
                      <a:pt x="1521" y="102"/>
                      <a:pt x="1521" y="102"/>
                      <a:pt x="1521" y="102"/>
                    </a:cubicBezTo>
                    <a:cubicBezTo>
                      <a:pt x="1517" y="99"/>
                      <a:pt x="1517" y="99"/>
                      <a:pt x="1517" y="99"/>
                    </a:cubicBezTo>
                    <a:cubicBezTo>
                      <a:pt x="1516" y="97"/>
                      <a:pt x="1516" y="97"/>
                      <a:pt x="1516" y="97"/>
                    </a:cubicBezTo>
                    <a:cubicBezTo>
                      <a:pt x="1516" y="97"/>
                      <a:pt x="1516" y="97"/>
                      <a:pt x="1516" y="97"/>
                    </a:cubicBezTo>
                    <a:cubicBezTo>
                      <a:pt x="1514" y="96"/>
                      <a:pt x="1514" y="96"/>
                      <a:pt x="1514" y="96"/>
                    </a:cubicBezTo>
                    <a:cubicBezTo>
                      <a:pt x="1512" y="95"/>
                      <a:pt x="1512" y="95"/>
                      <a:pt x="1512" y="95"/>
                    </a:cubicBezTo>
                    <a:cubicBezTo>
                      <a:pt x="1492" y="89"/>
                      <a:pt x="1492" y="89"/>
                      <a:pt x="1492" y="89"/>
                    </a:cubicBezTo>
                    <a:cubicBezTo>
                      <a:pt x="1449" y="81"/>
                      <a:pt x="1449" y="81"/>
                      <a:pt x="1449" y="81"/>
                    </a:cubicBezTo>
                    <a:cubicBezTo>
                      <a:pt x="1449" y="81"/>
                      <a:pt x="1449" y="81"/>
                      <a:pt x="1449" y="81"/>
                    </a:cubicBezTo>
                    <a:cubicBezTo>
                      <a:pt x="1419" y="90"/>
                      <a:pt x="1419" y="90"/>
                      <a:pt x="1419" y="90"/>
                    </a:cubicBezTo>
                    <a:cubicBezTo>
                      <a:pt x="1419" y="91"/>
                      <a:pt x="1419" y="91"/>
                      <a:pt x="1419" y="91"/>
                    </a:cubicBezTo>
                    <a:cubicBezTo>
                      <a:pt x="1418" y="94"/>
                      <a:pt x="1418" y="94"/>
                      <a:pt x="1418" y="94"/>
                    </a:cubicBezTo>
                    <a:cubicBezTo>
                      <a:pt x="1417" y="95"/>
                      <a:pt x="1417" y="95"/>
                      <a:pt x="1417" y="95"/>
                    </a:cubicBezTo>
                    <a:cubicBezTo>
                      <a:pt x="1417" y="95"/>
                      <a:pt x="1417" y="95"/>
                      <a:pt x="1417" y="95"/>
                    </a:cubicBezTo>
                    <a:cubicBezTo>
                      <a:pt x="1417" y="96"/>
                      <a:pt x="1417" y="96"/>
                      <a:pt x="1417" y="96"/>
                    </a:cubicBezTo>
                    <a:cubicBezTo>
                      <a:pt x="1417" y="96"/>
                      <a:pt x="1417" y="96"/>
                      <a:pt x="1417" y="96"/>
                    </a:cubicBezTo>
                    <a:cubicBezTo>
                      <a:pt x="1418" y="96"/>
                      <a:pt x="1418" y="96"/>
                      <a:pt x="1418" y="96"/>
                    </a:cubicBezTo>
                    <a:cubicBezTo>
                      <a:pt x="1418" y="97"/>
                      <a:pt x="1418" y="97"/>
                      <a:pt x="1418" y="97"/>
                    </a:cubicBezTo>
                    <a:cubicBezTo>
                      <a:pt x="1419" y="97"/>
                      <a:pt x="1419" y="97"/>
                      <a:pt x="1419" y="97"/>
                    </a:cubicBezTo>
                    <a:cubicBezTo>
                      <a:pt x="1419" y="97"/>
                      <a:pt x="1419" y="97"/>
                      <a:pt x="1419" y="97"/>
                    </a:cubicBezTo>
                    <a:cubicBezTo>
                      <a:pt x="1420" y="97"/>
                      <a:pt x="1420" y="97"/>
                      <a:pt x="1420" y="97"/>
                    </a:cubicBezTo>
                    <a:cubicBezTo>
                      <a:pt x="1420" y="97"/>
                      <a:pt x="1420" y="97"/>
                      <a:pt x="1420" y="97"/>
                    </a:cubicBezTo>
                    <a:cubicBezTo>
                      <a:pt x="1421" y="97"/>
                      <a:pt x="1421" y="97"/>
                      <a:pt x="1421" y="97"/>
                    </a:cubicBezTo>
                    <a:cubicBezTo>
                      <a:pt x="1422" y="97"/>
                      <a:pt x="1422" y="97"/>
                      <a:pt x="1422" y="97"/>
                    </a:cubicBezTo>
                    <a:cubicBezTo>
                      <a:pt x="1424" y="97"/>
                      <a:pt x="1424" y="96"/>
                      <a:pt x="1426" y="95"/>
                    </a:cubicBezTo>
                    <a:cubicBezTo>
                      <a:pt x="1427" y="95"/>
                      <a:pt x="1427" y="95"/>
                      <a:pt x="1427" y="95"/>
                    </a:cubicBezTo>
                    <a:cubicBezTo>
                      <a:pt x="1427" y="95"/>
                      <a:pt x="1427" y="95"/>
                      <a:pt x="1427" y="95"/>
                    </a:cubicBezTo>
                    <a:cubicBezTo>
                      <a:pt x="1428" y="95"/>
                      <a:pt x="1428" y="95"/>
                      <a:pt x="1428" y="95"/>
                    </a:cubicBezTo>
                    <a:cubicBezTo>
                      <a:pt x="1429" y="95"/>
                      <a:pt x="1429" y="95"/>
                      <a:pt x="1429" y="95"/>
                    </a:cubicBezTo>
                    <a:cubicBezTo>
                      <a:pt x="1429" y="95"/>
                      <a:pt x="1431" y="94"/>
                      <a:pt x="1432" y="94"/>
                    </a:cubicBezTo>
                    <a:cubicBezTo>
                      <a:pt x="1432" y="94"/>
                      <a:pt x="1433" y="95"/>
                      <a:pt x="1434" y="95"/>
                    </a:cubicBezTo>
                    <a:cubicBezTo>
                      <a:pt x="1434" y="95"/>
                      <a:pt x="1434" y="95"/>
                      <a:pt x="1434" y="95"/>
                    </a:cubicBezTo>
                    <a:cubicBezTo>
                      <a:pt x="1435" y="95"/>
                      <a:pt x="1435" y="95"/>
                      <a:pt x="1435" y="95"/>
                    </a:cubicBezTo>
                    <a:cubicBezTo>
                      <a:pt x="1436" y="96"/>
                      <a:pt x="1437" y="97"/>
                      <a:pt x="1438" y="98"/>
                    </a:cubicBezTo>
                    <a:cubicBezTo>
                      <a:pt x="1438" y="99"/>
                      <a:pt x="1438" y="99"/>
                      <a:pt x="1438" y="99"/>
                    </a:cubicBezTo>
                    <a:cubicBezTo>
                      <a:pt x="1438" y="100"/>
                      <a:pt x="1438" y="100"/>
                      <a:pt x="1438" y="100"/>
                    </a:cubicBezTo>
                    <a:cubicBezTo>
                      <a:pt x="1438" y="105"/>
                      <a:pt x="1438" y="105"/>
                      <a:pt x="1438" y="105"/>
                    </a:cubicBezTo>
                    <a:cubicBezTo>
                      <a:pt x="1438" y="106"/>
                      <a:pt x="1438" y="106"/>
                      <a:pt x="1438" y="106"/>
                    </a:cubicBezTo>
                    <a:cubicBezTo>
                      <a:pt x="1437" y="107"/>
                      <a:pt x="1437" y="107"/>
                      <a:pt x="1437" y="107"/>
                    </a:cubicBezTo>
                    <a:cubicBezTo>
                      <a:pt x="1434" y="108"/>
                      <a:pt x="1429" y="110"/>
                      <a:pt x="1426" y="110"/>
                    </a:cubicBezTo>
                    <a:cubicBezTo>
                      <a:pt x="1426" y="110"/>
                      <a:pt x="1426" y="110"/>
                      <a:pt x="1426" y="110"/>
                    </a:cubicBezTo>
                    <a:cubicBezTo>
                      <a:pt x="1425" y="110"/>
                      <a:pt x="1425" y="110"/>
                      <a:pt x="1425" y="110"/>
                    </a:cubicBezTo>
                    <a:cubicBezTo>
                      <a:pt x="1425" y="110"/>
                      <a:pt x="1425" y="110"/>
                      <a:pt x="1425" y="110"/>
                    </a:cubicBezTo>
                    <a:cubicBezTo>
                      <a:pt x="1424" y="110"/>
                      <a:pt x="1424" y="110"/>
                      <a:pt x="1424" y="110"/>
                    </a:cubicBezTo>
                    <a:cubicBezTo>
                      <a:pt x="1423" y="110"/>
                      <a:pt x="1421" y="109"/>
                      <a:pt x="1419" y="108"/>
                    </a:cubicBezTo>
                    <a:cubicBezTo>
                      <a:pt x="1419" y="108"/>
                      <a:pt x="1419" y="108"/>
                      <a:pt x="1419" y="108"/>
                    </a:cubicBezTo>
                    <a:cubicBezTo>
                      <a:pt x="1419" y="107"/>
                      <a:pt x="1419" y="107"/>
                      <a:pt x="1419" y="107"/>
                    </a:cubicBezTo>
                    <a:cubicBezTo>
                      <a:pt x="1417" y="105"/>
                      <a:pt x="1418" y="106"/>
                      <a:pt x="1415" y="104"/>
                    </a:cubicBezTo>
                    <a:cubicBezTo>
                      <a:pt x="1414" y="104"/>
                      <a:pt x="1414" y="104"/>
                      <a:pt x="1414" y="104"/>
                    </a:cubicBezTo>
                    <a:cubicBezTo>
                      <a:pt x="1413" y="103"/>
                      <a:pt x="1413" y="103"/>
                      <a:pt x="1413" y="103"/>
                    </a:cubicBezTo>
                    <a:cubicBezTo>
                      <a:pt x="1409" y="101"/>
                      <a:pt x="1409" y="101"/>
                      <a:pt x="1409" y="101"/>
                    </a:cubicBezTo>
                    <a:cubicBezTo>
                      <a:pt x="1378" y="105"/>
                      <a:pt x="1378" y="105"/>
                      <a:pt x="1378" y="105"/>
                    </a:cubicBezTo>
                    <a:cubicBezTo>
                      <a:pt x="1378" y="105"/>
                      <a:pt x="1378" y="105"/>
                      <a:pt x="1378" y="105"/>
                    </a:cubicBezTo>
                    <a:cubicBezTo>
                      <a:pt x="1378" y="106"/>
                      <a:pt x="1378" y="106"/>
                      <a:pt x="1378" y="106"/>
                    </a:cubicBezTo>
                    <a:cubicBezTo>
                      <a:pt x="1378" y="106"/>
                      <a:pt x="1378" y="106"/>
                      <a:pt x="1378" y="106"/>
                    </a:cubicBezTo>
                    <a:cubicBezTo>
                      <a:pt x="1378" y="106"/>
                      <a:pt x="1378" y="106"/>
                      <a:pt x="1378" y="106"/>
                    </a:cubicBezTo>
                    <a:cubicBezTo>
                      <a:pt x="1379" y="106"/>
                      <a:pt x="1379" y="106"/>
                      <a:pt x="1379" y="106"/>
                    </a:cubicBezTo>
                    <a:cubicBezTo>
                      <a:pt x="1379" y="107"/>
                      <a:pt x="1379" y="107"/>
                      <a:pt x="1379" y="107"/>
                    </a:cubicBezTo>
                    <a:cubicBezTo>
                      <a:pt x="1379" y="107"/>
                      <a:pt x="1379" y="107"/>
                      <a:pt x="1379" y="107"/>
                    </a:cubicBezTo>
                    <a:cubicBezTo>
                      <a:pt x="1380" y="107"/>
                      <a:pt x="1380" y="107"/>
                      <a:pt x="1380" y="107"/>
                    </a:cubicBezTo>
                    <a:cubicBezTo>
                      <a:pt x="1380" y="107"/>
                      <a:pt x="1380" y="107"/>
                      <a:pt x="1380" y="107"/>
                    </a:cubicBezTo>
                    <a:cubicBezTo>
                      <a:pt x="1381" y="108"/>
                      <a:pt x="1381" y="108"/>
                      <a:pt x="1381" y="108"/>
                    </a:cubicBezTo>
                    <a:cubicBezTo>
                      <a:pt x="1381" y="109"/>
                      <a:pt x="1381" y="110"/>
                      <a:pt x="1382" y="111"/>
                    </a:cubicBezTo>
                    <a:cubicBezTo>
                      <a:pt x="1382" y="112"/>
                      <a:pt x="1382" y="112"/>
                      <a:pt x="1382" y="112"/>
                    </a:cubicBezTo>
                    <a:cubicBezTo>
                      <a:pt x="1382" y="112"/>
                      <a:pt x="1382" y="112"/>
                      <a:pt x="1382" y="112"/>
                    </a:cubicBezTo>
                    <a:cubicBezTo>
                      <a:pt x="1382" y="112"/>
                      <a:pt x="1382" y="112"/>
                      <a:pt x="1382" y="112"/>
                    </a:cubicBezTo>
                    <a:cubicBezTo>
                      <a:pt x="1382" y="113"/>
                      <a:pt x="1382" y="113"/>
                      <a:pt x="1382" y="113"/>
                    </a:cubicBezTo>
                    <a:cubicBezTo>
                      <a:pt x="1382" y="113"/>
                      <a:pt x="1383" y="114"/>
                      <a:pt x="1383" y="115"/>
                    </a:cubicBezTo>
                    <a:cubicBezTo>
                      <a:pt x="1383" y="116"/>
                      <a:pt x="1383" y="116"/>
                      <a:pt x="1383" y="116"/>
                    </a:cubicBezTo>
                    <a:cubicBezTo>
                      <a:pt x="1383" y="116"/>
                      <a:pt x="1383" y="116"/>
                      <a:pt x="1383" y="116"/>
                    </a:cubicBezTo>
                    <a:cubicBezTo>
                      <a:pt x="1385" y="118"/>
                      <a:pt x="1384" y="122"/>
                      <a:pt x="1386" y="124"/>
                    </a:cubicBezTo>
                    <a:cubicBezTo>
                      <a:pt x="1387" y="124"/>
                      <a:pt x="1387" y="124"/>
                      <a:pt x="1387" y="124"/>
                    </a:cubicBezTo>
                    <a:cubicBezTo>
                      <a:pt x="1388" y="124"/>
                      <a:pt x="1388" y="124"/>
                      <a:pt x="1388" y="124"/>
                    </a:cubicBezTo>
                    <a:cubicBezTo>
                      <a:pt x="1388" y="124"/>
                      <a:pt x="1388" y="124"/>
                      <a:pt x="1388" y="124"/>
                    </a:cubicBezTo>
                    <a:cubicBezTo>
                      <a:pt x="1389" y="124"/>
                      <a:pt x="1389" y="124"/>
                      <a:pt x="1389" y="124"/>
                    </a:cubicBezTo>
                    <a:cubicBezTo>
                      <a:pt x="1389" y="124"/>
                      <a:pt x="1389" y="124"/>
                      <a:pt x="1389" y="124"/>
                    </a:cubicBezTo>
                    <a:cubicBezTo>
                      <a:pt x="1397" y="125"/>
                      <a:pt x="1395" y="129"/>
                      <a:pt x="1403" y="130"/>
                    </a:cubicBezTo>
                    <a:cubicBezTo>
                      <a:pt x="1404" y="131"/>
                      <a:pt x="1404" y="131"/>
                      <a:pt x="1404" y="131"/>
                    </a:cubicBezTo>
                    <a:cubicBezTo>
                      <a:pt x="1405" y="131"/>
                      <a:pt x="1405" y="131"/>
                      <a:pt x="1405" y="131"/>
                    </a:cubicBezTo>
                    <a:cubicBezTo>
                      <a:pt x="1405" y="131"/>
                      <a:pt x="1406" y="131"/>
                      <a:pt x="1406" y="131"/>
                    </a:cubicBezTo>
                    <a:cubicBezTo>
                      <a:pt x="1407" y="131"/>
                      <a:pt x="1407" y="131"/>
                      <a:pt x="1407" y="131"/>
                    </a:cubicBezTo>
                    <a:cubicBezTo>
                      <a:pt x="1407" y="131"/>
                      <a:pt x="1407" y="131"/>
                      <a:pt x="1407" y="131"/>
                    </a:cubicBezTo>
                    <a:cubicBezTo>
                      <a:pt x="1408" y="131"/>
                      <a:pt x="1408" y="131"/>
                      <a:pt x="1409" y="132"/>
                    </a:cubicBezTo>
                    <a:cubicBezTo>
                      <a:pt x="1411" y="133"/>
                      <a:pt x="1411" y="133"/>
                      <a:pt x="1411" y="133"/>
                    </a:cubicBezTo>
                    <a:cubicBezTo>
                      <a:pt x="1412" y="134"/>
                      <a:pt x="1412" y="134"/>
                      <a:pt x="1412" y="134"/>
                    </a:cubicBezTo>
                    <a:cubicBezTo>
                      <a:pt x="1414" y="135"/>
                      <a:pt x="1415" y="136"/>
                      <a:pt x="1417" y="136"/>
                    </a:cubicBezTo>
                    <a:cubicBezTo>
                      <a:pt x="1418" y="137"/>
                      <a:pt x="1418" y="137"/>
                      <a:pt x="1418" y="137"/>
                    </a:cubicBezTo>
                    <a:cubicBezTo>
                      <a:pt x="1418" y="137"/>
                      <a:pt x="1418" y="137"/>
                      <a:pt x="1418" y="137"/>
                    </a:cubicBezTo>
                    <a:cubicBezTo>
                      <a:pt x="1419" y="137"/>
                      <a:pt x="1419" y="137"/>
                      <a:pt x="1419" y="137"/>
                    </a:cubicBezTo>
                    <a:cubicBezTo>
                      <a:pt x="1419" y="137"/>
                      <a:pt x="1419" y="137"/>
                      <a:pt x="1419" y="137"/>
                    </a:cubicBezTo>
                    <a:cubicBezTo>
                      <a:pt x="1419" y="137"/>
                      <a:pt x="1419" y="137"/>
                      <a:pt x="1419" y="137"/>
                    </a:cubicBezTo>
                    <a:cubicBezTo>
                      <a:pt x="1419" y="136"/>
                      <a:pt x="1419" y="136"/>
                      <a:pt x="1419" y="136"/>
                    </a:cubicBezTo>
                    <a:cubicBezTo>
                      <a:pt x="1419" y="136"/>
                      <a:pt x="1419" y="136"/>
                      <a:pt x="1419" y="136"/>
                    </a:cubicBezTo>
                    <a:cubicBezTo>
                      <a:pt x="1420" y="136"/>
                      <a:pt x="1420" y="136"/>
                      <a:pt x="1420" y="136"/>
                    </a:cubicBezTo>
                    <a:cubicBezTo>
                      <a:pt x="1421" y="136"/>
                      <a:pt x="1422" y="137"/>
                      <a:pt x="1423" y="137"/>
                    </a:cubicBezTo>
                    <a:cubicBezTo>
                      <a:pt x="1424" y="138"/>
                      <a:pt x="1425" y="139"/>
                      <a:pt x="1427" y="139"/>
                    </a:cubicBezTo>
                    <a:cubicBezTo>
                      <a:pt x="1427" y="139"/>
                      <a:pt x="1427" y="138"/>
                      <a:pt x="1427" y="138"/>
                    </a:cubicBezTo>
                    <a:cubicBezTo>
                      <a:pt x="1428" y="138"/>
                      <a:pt x="1428" y="138"/>
                      <a:pt x="1428" y="138"/>
                    </a:cubicBezTo>
                    <a:cubicBezTo>
                      <a:pt x="1428" y="138"/>
                      <a:pt x="1428" y="138"/>
                      <a:pt x="1428" y="138"/>
                    </a:cubicBezTo>
                    <a:cubicBezTo>
                      <a:pt x="1428" y="138"/>
                      <a:pt x="1428" y="138"/>
                      <a:pt x="1428" y="138"/>
                    </a:cubicBezTo>
                    <a:cubicBezTo>
                      <a:pt x="1427" y="137"/>
                      <a:pt x="1428" y="136"/>
                      <a:pt x="1429" y="136"/>
                    </a:cubicBezTo>
                    <a:cubicBezTo>
                      <a:pt x="1429" y="136"/>
                      <a:pt x="1429" y="136"/>
                      <a:pt x="1429" y="136"/>
                    </a:cubicBezTo>
                    <a:cubicBezTo>
                      <a:pt x="1430" y="136"/>
                      <a:pt x="1430" y="136"/>
                      <a:pt x="1430" y="136"/>
                    </a:cubicBezTo>
                    <a:cubicBezTo>
                      <a:pt x="1430" y="136"/>
                      <a:pt x="1430" y="136"/>
                      <a:pt x="1430" y="136"/>
                    </a:cubicBezTo>
                    <a:cubicBezTo>
                      <a:pt x="1431" y="136"/>
                      <a:pt x="1431" y="136"/>
                      <a:pt x="1431" y="136"/>
                    </a:cubicBezTo>
                    <a:cubicBezTo>
                      <a:pt x="1431" y="136"/>
                      <a:pt x="1431" y="136"/>
                      <a:pt x="1431" y="136"/>
                    </a:cubicBezTo>
                    <a:cubicBezTo>
                      <a:pt x="1432" y="135"/>
                      <a:pt x="1432" y="135"/>
                      <a:pt x="1432" y="135"/>
                    </a:cubicBezTo>
                    <a:cubicBezTo>
                      <a:pt x="1432" y="135"/>
                      <a:pt x="1432" y="135"/>
                      <a:pt x="1432" y="135"/>
                    </a:cubicBezTo>
                    <a:cubicBezTo>
                      <a:pt x="1434" y="135"/>
                      <a:pt x="1434" y="135"/>
                      <a:pt x="1434" y="135"/>
                    </a:cubicBezTo>
                    <a:cubicBezTo>
                      <a:pt x="1435" y="135"/>
                      <a:pt x="1435" y="135"/>
                      <a:pt x="1435" y="135"/>
                    </a:cubicBezTo>
                    <a:cubicBezTo>
                      <a:pt x="1435" y="135"/>
                      <a:pt x="1435" y="135"/>
                      <a:pt x="1435" y="135"/>
                    </a:cubicBezTo>
                    <a:cubicBezTo>
                      <a:pt x="1435" y="135"/>
                      <a:pt x="1435" y="135"/>
                      <a:pt x="1435" y="135"/>
                    </a:cubicBezTo>
                    <a:cubicBezTo>
                      <a:pt x="1435" y="136"/>
                      <a:pt x="1435" y="136"/>
                      <a:pt x="1435" y="136"/>
                    </a:cubicBezTo>
                    <a:cubicBezTo>
                      <a:pt x="1434" y="137"/>
                      <a:pt x="1434" y="137"/>
                      <a:pt x="1434" y="137"/>
                    </a:cubicBezTo>
                    <a:cubicBezTo>
                      <a:pt x="1434" y="139"/>
                      <a:pt x="1434" y="139"/>
                      <a:pt x="1434" y="139"/>
                    </a:cubicBezTo>
                    <a:cubicBezTo>
                      <a:pt x="1434" y="140"/>
                      <a:pt x="1434" y="140"/>
                      <a:pt x="1434" y="140"/>
                    </a:cubicBezTo>
                    <a:cubicBezTo>
                      <a:pt x="1434" y="140"/>
                      <a:pt x="1434" y="140"/>
                      <a:pt x="1434" y="140"/>
                    </a:cubicBezTo>
                    <a:cubicBezTo>
                      <a:pt x="1434" y="140"/>
                      <a:pt x="1434" y="140"/>
                      <a:pt x="1434" y="140"/>
                    </a:cubicBezTo>
                    <a:cubicBezTo>
                      <a:pt x="1434" y="139"/>
                      <a:pt x="1434" y="139"/>
                      <a:pt x="1434" y="139"/>
                    </a:cubicBezTo>
                    <a:cubicBezTo>
                      <a:pt x="1435" y="139"/>
                      <a:pt x="1435" y="139"/>
                      <a:pt x="1435" y="139"/>
                    </a:cubicBezTo>
                    <a:cubicBezTo>
                      <a:pt x="1435" y="139"/>
                      <a:pt x="1435" y="139"/>
                      <a:pt x="1435" y="139"/>
                    </a:cubicBezTo>
                    <a:cubicBezTo>
                      <a:pt x="1435" y="139"/>
                      <a:pt x="1435" y="139"/>
                      <a:pt x="1435" y="139"/>
                    </a:cubicBezTo>
                    <a:cubicBezTo>
                      <a:pt x="1436" y="139"/>
                      <a:pt x="1436" y="139"/>
                      <a:pt x="1436" y="139"/>
                    </a:cubicBezTo>
                    <a:cubicBezTo>
                      <a:pt x="1437" y="139"/>
                      <a:pt x="1437" y="139"/>
                      <a:pt x="1437" y="139"/>
                    </a:cubicBezTo>
                    <a:cubicBezTo>
                      <a:pt x="1438" y="139"/>
                      <a:pt x="1438" y="139"/>
                      <a:pt x="1438" y="139"/>
                    </a:cubicBezTo>
                    <a:cubicBezTo>
                      <a:pt x="1442" y="140"/>
                      <a:pt x="1442" y="140"/>
                      <a:pt x="1442" y="140"/>
                    </a:cubicBezTo>
                    <a:cubicBezTo>
                      <a:pt x="1443" y="141"/>
                      <a:pt x="1443" y="141"/>
                      <a:pt x="1443" y="141"/>
                    </a:cubicBezTo>
                    <a:cubicBezTo>
                      <a:pt x="1444" y="141"/>
                      <a:pt x="1444" y="141"/>
                      <a:pt x="1444" y="141"/>
                    </a:cubicBezTo>
                    <a:cubicBezTo>
                      <a:pt x="1444" y="141"/>
                      <a:pt x="1444" y="141"/>
                      <a:pt x="1444" y="141"/>
                    </a:cubicBezTo>
                    <a:cubicBezTo>
                      <a:pt x="1444" y="142"/>
                      <a:pt x="1444" y="142"/>
                      <a:pt x="1444" y="142"/>
                    </a:cubicBezTo>
                    <a:cubicBezTo>
                      <a:pt x="1444" y="143"/>
                      <a:pt x="1444" y="143"/>
                      <a:pt x="1444" y="143"/>
                    </a:cubicBezTo>
                    <a:cubicBezTo>
                      <a:pt x="1442" y="149"/>
                      <a:pt x="1442" y="147"/>
                      <a:pt x="1446" y="151"/>
                    </a:cubicBezTo>
                    <a:cubicBezTo>
                      <a:pt x="1446" y="151"/>
                      <a:pt x="1446" y="151"/>
                      <a:pt x="1446" y="151"/>
                    </a:cubicBezTo>
                    <a:cubicBezTo>
                      <a:pt x="1447" y="150"/>
                      <a:pt x="1447" y="150"/>
                      <a:pt x="1447" y="150"/>
                    </a:cubicBezTo>
                    <a:cubicBezTo>
                      <a:pt x="1447" y="149"/>
                      <a:pt x="1447" y="149"/>
                      <a:pt x="1447" y="149"/>
                    </a:cubicBezTo>
                    <a:cubicBezTo>
                      <a:pt x="1449" y="149"/>
                      <a:pt x="1449" y="149"/>
                      <a:pt x="1449" y="149"/>
                    </a:cubicBezTo>
                    <a:cubicBezTo>
                      <a:pt x="1449" y="149"/>
                      <a:pt x="1449" y="149"/>
                      <a:pt x="1449" y="149"/>
                    </a:cubicBezTo>
                    <a:cubicBezTo>
                      <a:pt x="1450" y="149"/>
                      <a:pt x="1450" y="149"/>
                      <a:pt x="1450" y="149"/>
                    </a:cubicBezTo>
                    <a:cubicBezTo>
                      <a:pt x="1450" y="150"/>
                      <a:pt x="1450" y="150"/>
                      <a:pt x="1450" y="150"/>
                    </a:cubicBezTo>
                    <a:cubicBezTo>
                      <a:pt x="1451" y="151"/>
                      <a:pt x="1451" y="151"/>
                      <a:pt x="1451" y="151"/>
                    </a:cubicBezTo>
                    <a:cubicBezTo>
                      <a:pt x="1450" y="151"/>
                      <a:pt x="1450" y="151"/>
                      <a:pt x="1450" y="151"/>
                    </a:cubicBezTo>
                    <a:cubicBezTo>
                      <a:pt x="1450" y="151"/>
                      <a:pt x="1450" y="151"/>
                      <a:pt x="1450" y="151"/>
                    </a:cubicBezTo>
                    <a:cubicBezTo>
                      <a:pt x="1450" y="151"/>
                      <a:pt x="1450" y="151"/>
                      <a:pt x="1450" y="151"/>
                    </a:cubicBezTo>
                    <a:cubicBezTo>
                      <a:pt x="1449" y="152"/>
                      <a:pt x="1449" y="152"/>
                      <a:pt x="1449" y="152"/>
                    </a:cubicBezTo>
                    <a:cubicBezTo>
                      <a:pt x="1449" y="152"/>
                      <a:pt x="1449" y="152"/>
                      <a:pt x="1449" y="152"/>
                    </a:cubicBezTo>
                    <a:cubicBezTo>
                      <a:pt x="1449" y="153"/>
                      <a:pt x="1449" y="153"/>
                      <a:pt x="1449" y="153"/>
                    </a:cubicBezTo>
                    <a:cubicBezTo>
                      <a:pt x="1448" y="154"/>
                      <a:pt x="1448" y="154"/>
                      <a:pt x="1448" y="154"/>
                    </a:cubicBezTo>
                    <a:cubicBezTo>
                      <a:pt x="1448" y="156"/>
                      <a:pt x="1448" y="156"/>
                      <a:pt x="1448" y="156"/>
                    </a:cubicBezTo>
                    <a:cubicBezTo>
                      <a:pt x="1448" y="157"/>
                      <a:pt x="1448" y="157"/>
                      <a:pt x="1448" y="157"/>
                    </a:cubicBezTo>
                    <a:cubicBezTo>
                      <a:pt x="1448" y="157"/>
                      <a:pt x="1448" y="157"/>
                      <a:pt x="1448" y="157"/>
                    </a:cubicBezTo>
                    <a:cubicBezTo>
                      <a:pt x="1449" y="157"/>
                      <a:pt x="1449" y="157"/>
                      <a:pt x="1449" y="157"/>
                    </a:cubicBezTo>
                    <a:cubicBezTo>
                      <a:pt x="1449" y="157"/>
                      <a:pt x="1449" y="157"/>
                      <a:pt x="1449" y="157"/>
                    </a:cubicBezTo>
                    <a:cubicBezTo>
                      <a:pt x="1450" y="156"/>
                      <a:pt x="1451" y="155"/>
                      <a:pt x="1452" y="155"/>
                    </a:cubicBezTo>
                    <a:cubicBezTo>
                      <a:pt x="1452" y="155"/>
                      <a:pt x="1453" y="156"/>
                      <a:pt x="1454" y="156"/>
                    </a:cubicBezTo>
                    <a:cubicBezTo>
                      <a:pt x="1454" y="156"/>
                      <a:pt x="1455" y="157"/>
                      <a:pt x="1456" y="157"/>
                    </a:cubicBezTo>
                    <a:cubicBezTo>
                      <a:pt x="1456" y="157"/>
                      <a:pt x="1456" y="157"/>
                      <a:pt x="1456" y="157"/>
                    </a:cubicBezTo>
                    <a:cubicBezTo>
                      <a:pt x="1457" y="157"/>
                      <a:pt x="1457" y="157"/>
                      <a:pt x="1457" y="157"/>
                    </a:cubicBezTo>
                    <a:cubicBezTo>
                      <a:pt x="1457" y="156"/>
                      <a:pt x="1457" y="156"/>
                      <a:pt x="1457" y="156"/>
                    </a:cubicBezTo>
                    <a:cubicBezTo>
                      <a:pt x="1458" y="156"/>
                      <a:pt x="1458" y="156"/>
                      <a:pt x="1458" y="156"/>
                    </a:cubicBezTo>
                    <a:cubicBezTo>
                      <a:pt x="1458" y="156"/>
                      <a:pt x="1458" y="156"/>
                      <a:pt x="1458" y="156"/>
                    </a:cubicBezTo>
                    <a:cubicBezTo>
                      <a:pt x="1458" y="155"/>
                      <a:pt x="1458" y="155"/>
                      <a:pt x="1458" y="155"/>
                    </a:cubicBezTo>
                    <a:cubicBezTo>
                      <a:pt x="1458" y="154"/>
                      <a:pt x="1458" y="154"/>
                      <a:pt x="1458" y="154"/>
                    </a:cubicBezTo>
                    <a:cubicBezTo>
                      <a:pt x="1458" y="154"/>
                      <a:pt x="1458" y="154"/>
                      <a:pt x="1458" y="154"/>
                    </a:cubicBezTo>
                    <a:cubicBezTo>
                      <a:pt x="1458" y="153"/>
                      <a:pt x="1458" y="153"/>
                      <a:pt x="1458" y="153"/>
                    </a:cubicBezTo>
                    <a:cubicBezTo>
                      <a:pt x="1458" y="153"/>
                      <a:pt x="1458" y="153"/>
                      <a:pt x="1458" y="153"/>
                    </a:cubicBezTo>
                    <a:cubicBezTo>
                      <a:pt x="1459" y="153"/>
                      <a:pt x="1459" y="153"/>
                      <a:pt x="1459" y="153"/>
                    </a:cubicBezTo>
                    <a:cubicBezTo>
                      <a:pt x="1459" y="153"/>
                      <a:pt x="1459" y="153"/>
                      <a:pt x="1459" y="153"/>
                    </a:cubicBezTo>
                    <a:cubicBezTo>
                      <a:pt x="1460" y="153"/>
                      <a:pt x="1460" y="153"/>
                      <a:pt x="1460" y="153"/>
                    </a:cubicBezTo>
                    <a:cubicBezTo>
                      <a:pt x="1460" y="153"/>
                      <a:pt x="1460" y="153"/>
                      <a:pt x="1460" y="153"/>
                    </a:cubicBezTo>
                    <a:cubicBezTo>
                      <a:pt x="1461" y="153"/>
                      <a:pt x="1461" y="153"/>
                      <a:pt x="1461" y="153"/>
                    </a:cubicBezTo>
                    <a:cubicBezTo>
                      <a:pt x="1462" y="153"/>
                      <a:pt x="1462" y="153"/>
                      <a:pt x="1462" y="153"/>
                    </a:cubicBezTo>
                    <a:cubicBezTo>
                      <a:pt x="1465" y="153"/>
                      <a:pt x="1465" y="153"/>
                      <a:pt x="1465" y="153"/>
                    </a:cubicBezTo>
                    <a:cubicBezTo>
                      <a:pt x="1466" y="153"/>
                      <a:pt x="1466" y="153"/>
                      <a:pt x="1466" y="153"/>
                    </a:cubicBezTo>
                    <a:cubicBezTo>
                      <a:pt x="1467" y="153"/>
                      <a:pt x="1467" y="153"/>
                      <a:pt x="1467" y="153"/>
                    </a:cubicBezTo>
                    <a:cubicBezTo>
                      <a:pt x="1466" y="153"/>
                      <a:pt x="1466" y="153"/>
                      <a:pt x="1466" y="153"/>
                    </a:cubicBezTo>
                    <a:cubicBezTo>
                      <a:pt x="1466" y="153"/>
                      <a:pt x="1466" y="153"/>
                      <a:pt x="1466" y="153"/>
                    </a:cubicBezTo>
                    <a:cubicBezTo>
                      <a:pt x="1466" y="154"/>
                      <a:pt x="1466" y="154"/>
                      <a:pt x="1466" y="154"/>
                    </a:cubicBezTo>
                    <a:cubicBezTo>
                      <a:pt x="1466" y="154"/>
                      <a:pt x="1466" y="154"/>
                      <a:pt x="1466" y="154"/>
                    </a:cubicBezTo>
                    <a:cubicBezTo>
                      <a:pt x="1463" y="157"/>
                      <a:pt x="1459" y="158"/>
                      <a:pt x="1456" y="158"/>
                    </a:cubicBezTo>
                    <a:cubicBezTo>
                      <a:pt x="1455" y="158"/>
                      <a:pt x="1455" y="158"/>
                      <a:pt x="1455" y="158"/>
                    </a:cubicBezTo>
                    <a:cubicBezTo>
                      <a:pt x="1454" y="158"/>
                      <a:pt x="1454" y="158"/>
                      <a:pt x="1454" y="158"/>
                    </a:cubicBezTo>
                    <a:cubicBezTo>
                      <a:pt x="1454" y="158"/>
                      <a:pt x="1454" y="158"/>
                      <a:pt x="1453" y="158"/>
                    </a:cubicBezTo>
                    <a:cubicBezTo>
                      <a:pt x="1452" y="158"/>
                      <a:pt x="1451" y="158"/>
                      <a:pt x="1450" y="158"/>
                    </a:cubicBezTo>
                    <a:cubicBezTo>
                      <a:pt x="1449" y="159"/>
                      <a:pt x="1448" y="159"/>
                      <a:pt x="1447" y="159"/>
                    </a:cubicBezTo>
                    <a:cubicBezTo>
                      <a:pt x="1447" y="159"/>
                      <a:pt x="1446" y="159"/>
                      <a:pt x="1445" y="158"/>
                    </a:cubicBezTo>
                    <a:cubicBezTo>
                      <a:pt x="1445" y="158"/>
                      <a:pt x="1445" y="158"/>
                      <a:pt x="1445" y="158"/>
                    </a:cubicBezTo>
                    <a:cubicBezTo>
                      <a:pt x="1444" y="157"/>
                      <a:pt x="1444" y="157"/>
                      <a:pt x="1444" y="157"/>
                    </a:cubicBezTo>
                    <a:cubicBezTo>
                      <a:pt x="1444" y="157"/>
                      <a:pt x="1444" y="157"/>
                      <a:pt x="1444" y="157"/>
                    </a:cubicBezTo>
                    <a:cubicBezTo>
                      <a:pt x="1443" y="157"/>
                      <a:pt x="1443" y="157"/>
                      <a:pt x="1443" y="157"/>
                    </a:cubicBezTo>
                    <a:cubicBezTo>
                      <a:pt x="1443" y="157"/>
                      <a:pt x="1443" y="157"/>
                      <a:pt x="1443" y="157"/>
                    </a:cubicBezTo>
                    <a:cubicBezTo>
                      <a:pt x="1442" y="156"/>
                      <a:pt x="1442" y="156"/>
                      <a:pt x="1442" y="156"/>
                    </a:cubicBezTo>
                    <a:cubicBezTo>
                      <a:pt x="1442" y="156"/>
                      <a:pt x="1442" y="156"/>
                      <a:pt x="1442" y="156"/>
                    </a:cubicBezTo>
                    <a:cubicBezTo>
                      <a:pt x="1441" y="156"/>
                      <a:pt x="1441" y="156"/>
                      <a:pt x="1441" y="156"/>
                    </a:cubicBezTo>
                    <a:cubicBezTo>
                      <a:pt x="1441" y="156"/>
                      <a:pt x="1441" y="156"/>
                      <a:pt x="1441" y="156"/>
                    </a:cubicBezTo>
                    <a:cubicBezTo>
                      <a:pt x="1440" y="156"/>
                      <a:pt x="1440" y="156"/>
                      <a:pt x="1440" y="156"/>
                    </a:cubicBezTo>
                    <a:cubicBezTo>
                      <a:pt x="1440" y="156"/>
                      <a:pt x="1440" y="156"/>
                      <a:pt x="1440" y="156"/>
                    </a:cubicBezTo>
                    <a:cubicBezTo>
                      <a:pt x="1439" y="156"/>
                      <a:pt x="1439" y="156"/>
                      <a:pt x="1439" y="156"/>
                    </a:cubicBezTo>
                    <a:cubicBezTo>
                      <a:pt x="1438" y="156"/>
                      <a:pt x="1438" y="156"/>
                      <a:pt x="1438" y="156"/>
                    </a:cubicBezTo>
                    <a:cubicBezTo>
                      <a:pt x="1438" y="156"/>
                      <a:pt x="1438" y="156"/>
                      <a:pt x="1438" y="156"/>
                    </a:cubicBezTo>
                    <a:cubicBezTo>
                      <a:pt x="1437" y="156"/>
                      <a:pt x="1437" y="156"/>
                      <a:pt x="1437" y="156"/>
                    </a:cubicBezTo>
                    <a:cubicBezTo>
                      <a:pt x="1437" y="156"/>
                      <a:pt x="1437" y="156"/>
                      <a:pt x="1437" y="156"/>
                    </a:cubicBezTo>
                    <a:cubicBezTo>
                      <a:pt x="1437" y="156"/>
                      <a:pt x="1437" y="156"/>
                      <a:pt x="1437" y="156"/>
                    </a:cubicBezTo>
                    <a:cubicBezTo>
                      <a:pt x="1435" y="156"/>
                      <a:pt x="1433" y="155"/>
                      <a:pt x="1432" y="153"/>
                    </a:cubicBezTo>
                    <a:cubicBezTo>
                      <a:pt x="1432" y="153"/>
                      <a:pt x="1432" y="153"/>
                      <a:pt x="1432" y="153"/>
                    </a:cubicBezTo>
                    <a:cubicBezTo>
                      <a:pt x="1432" y="153"/>
                      <a:pt x="1432" y="153"/>
                      <a:pt x="1432" y="153"/>
                    </a:cubicBezTo>
                    <a:cubicBezTo>
                      <a:pt x="1432" y="153"/>
                      <a:pt x="1432" y="153"/>
                      <a:pt x="1432" y="153"/>
                    </a:cubicBezTo>
                    <a:cubicBezTo>
                      <a:pt x="1432" y="152"/>
                      <a:pt x="1432" y="152"/>
                      <a:pt x="1432" y="152"/>
                    </a:cubicBezTo>
                    <a:cubicBezTo>
                      <a:pt x="1432" y="152"/>
                      <a:pt x="1432" y="152"/>
                      <a:pt x="1432" y="152"/>
                    </a:cubicBezTo>
                    <a:cubicBezTo>
                      <a:pt x="1432" y="152"/>
                      <a:pt x="1432" y="152"/>
                      <a:pt x="1432" y="152"/>
                    </a:cubicBezTo>
                    <a:cubicBezTo>
                      <a:pt x="1432" y="151"/>
                      <a:pt x="1432" y="151"/>
                      <a:pt x="1432" y="151"/>
                    </a:cubicBezTo>
                    <a:cubicBezTo>
                      <a:pt x="1432" y="151"/>
                      <a:pt x="1432" y="151"/>
                      <a:pt x="1432" y="151"/>
                    </a:cubicBezTo>
                    <a:cubicBezTo>
                      <a:pt x="1432" y="149"/>
                      <a:pt x="1432" y="149"/>
                      <a:pt x="1432" y="149"/>
                    </a:cubicBezTo>
                    <a:cubicBezTo>
                      <a:pt x="1432" y="149"/>
                      <a:pt x="1432" y="149"/>
                      <a:pt x="1432" y="149"/>
                    </a:cubicBezTo>
                    <a:cubicBezTo>
                      <a:pt x="1432" y="149"/>
                      <a:pt x="1432" y="149"/>
                      <a:pt x="1432" y="149"/>
                    </a:cubicBezTo>
                    <a:cubicBezTo>
                      <a:pt x="1432" y="149"/>
                      <a:pt x="1432" y="149"/>
                      <a:pt x="1432" y="149"/>
                    </a:cubicBezTo>
                    <a:cubicBezTo>
                      <a:pt x="1432" y="148"/>
                      <a:pt x="1432" y="148"/>
                      <a:pt x="1432" y="148"/>
                    </a:cubicBezTo>
                    <a:cubicBezTo>
                      <a:pt x="1431" y="148"/>
                      <a:pt x="1431" y="148"/>
                      <a:pt x="1431" y="148"/>
                    </a:cubicBezTo>
                    <a:cubicBezTo>
                      <a:pt x="1431" y="148"/>
                      <a:pt x="1431" y="148"/>
                      <a:pt x="1431" y="148"/>
                    </a:cubicBezTo>
                    <a:cubicBezTo>
                      <a:pt x="1430" y="146"/>
                      <a:pt x="1427" y="145"/>
                      <a:pt x="1425" y="145"/>
                    </a:cubicBezTo>
                    <a:cubicBezTo>
                      <a:pt x="1424" y="145"/>
                      <a:pt x="1424" y="145"/>
                      <a:pt x="1424" y="145"/>
                    </a:cubicBezTo>
                    <a:cubicBezTo>
                      <a:pt x="1424" y="145"/>
                      <a:pt x="1424" y="145"/>
                      <a:pt x="1424" y="145"/>
                    </a:cubicBezTo>
                    <a:cubicBezTo>
                      <a:pt x="1423" y="145"/>
                      <a:pt x="1423" y="145"/>
                      <a:pt x="1423" y="145"/>
                    </a:cubicBezTo>
                    <a:cubicBezTo>
                      <a:pt x="1422" y="145"/>
                      <a:pt x="1422" y="145"/>
                      <a:pt x="1422" y="145"/>
                    </a:cubicBezTo>
                    <a:cubicBezTo>
                      <a:pt x="1422" y="145"/>
                      <a:pt x="1422" y="145"/>
                      <a:pt x="1422" y="145"/>
                    </a:cubicBezTo>
                    <a:cubicBezTo>
                      <a:pt x="1421" y="145"/>
                      <a:pt x="1420" y="145"/>
                      <a:pt x="1419" y="145"/>
                    </a:cubicBezTo>
                    <a:cubicBezTo>
                      <a:pt x="1418" y="145"/>
                      <a:pt x="1417" y="145"/>
                      <a:pt x="1417" y="145"/>
                    </a:cubicBezTo>
                    <a:cubicBezTo>
                      <a:pt x="1416" y="145"/>
                      <a:pt x="1416" y="145"/>
                      <a:pt x="1416" y="145"/>
                    </a:cubicBezTo>
                    <a:cubicBezTo>
                      <a:pt x="1416" y="144"/>
                      <a:pt x="1416" y="144"/>
                      <a:pt x="1416" y="144"/>
                    </a:cubicBezTo>
                    <a:cubicBezTo>
                      <a:pt x="1415" y="144"/>
                      <a:pt x="1415" y="144"/>
                      <a:pt x="1415" y="144"/>
                    </a:cubicBezTo>
                    <a:cubicBezTo>
                      <a:pt x="1415" y="144"/>
                      <a:pt x="1415" y="144"/>
                      <a:pt x="1415" y="144"/>
                    </a:cubicBezTo>
                    <a:cubicBezTo>
                      <a:pt x="1414" y="144"/>
                      <a:pt x="1414" y="144"/>
                      <a:pt x="1414" y="144"/>
                    </a:cubicBezTo>
                    <a:cubicBezTo>
                      <a:pt x="1414" y="144"/>
                      <a:pt x="1414" y="144"/>
                      <a:pt x="1414" y="144"/>
                    </a:cubicBezTo>
                    <a:cubicBezTo>
                      <a:pt x="1413" y="144"/>
                      <a:pt x="1413" y="144"/>
                      <a:pt x="1413" y="144"/>
                    </a:cubicBezTo>
                    <a:cubicBezTo>
                      <a:pt x="1413" y="144"/>
                      <a:pt x="1413" y="144"/>
                      <a:pt x="1413" y="144"/>
                    </a:cubicBezTo>
                    <a:cubicBezTo>
                      <a:pt x="1412" y="144"/>
                      <a:pt x="1412" y="144"/>
                      <a:pt x="1412" y="144"/>
                    </a:cubicBezTo>
                    <a:cubicBezTo>
                      <a:pt x="1411" y="144"/>
                      <a:pt x="1411" y="144"/>
                      <a:pt x="1411" y="144"/>
                    </a:cubicBezTo>
                    <a:cubicBezTo>
                      <a:pt x="1411" y="144"/>
                      <a:pt x="1411" y="144"/>
                      <a:pt x="1411" y="144"/>
                    </a:cubicBezTo>
                    <a:cubicBezTo>
                      <a:pt x="1410" y="144"/>
                      <a:pt x="1410" y="144"/>
                      <a:pt x="1410" y="144"/>
                    </a:cubicBezTo>
                    <a:cubicBezTo>
                      <a:pt x="1410" y="144"/>
                      <a:pt x="1410" y="144"/>
                      <a:pt x="1410" y="144"/>
                    </a:cubicBezTo>
                    <a:cubicBezTo>
                      <a:pt x="1409" y="144"/>
                      <a:pt x="1409" y="144"/>
                      <a:pt x="1409" y="144"/>
                    </a:cubicBezTo>
                    <a:cubicBezTo>
                      <a:pt x="1408" y="144"/>
                      <a:pt x="1408" y="144"/>
                      <a:pt x="1408" y="144"/>
                    </a:cubicBezTo>
                    <a:cubicBezTo>
                      <a:pt x="1407" y="145"/>
                      <a:pt x="1407" y="145"/>
                      <a:pt x="1407" y="145"/>
                    </a:cubicBezTo>
                    <a:cubicBezTo>
                      <a:pt x="1405" y="148"/>
                      <a:pt x="1405" y="148"/>
                      <a:pt x="1405" y="148"/>
                    </a:cubicBezTo>
                    <a:cubicBezTo>
                      <a:pt x="1405" y="149"/>
                      <a:pt x="1405" y="149"/>
                      <a:pt x="1405" y="149"/>
                    </a:cubicBezTo>
                    <a:cubicBezTo>
                      <a:pt x="1404" y="149"/>
                      <a:pt x="1404" y="149"/>
                      <a:pt x="1404" y="149"/>
                    </a:cubicBezTo>
                    <a:cubicBezTo>
                      <a:pt x="1404" y="149"/>
                      <a:pt x="1404" y="149"/>
                      <a:pt x="1404" y="149"/>
                    </a:cubicBezTo>
                    <a:cubicBezTo>
                      <a:pt x="1405" y="147"/>
                      <a:pt x="1402" y="147"/>
                      <a:pt x="1404" y="144"/>
                    </a:cubicBezTo>
                    <a:cubicBezTo>
                      <a:pt x="1404" y="144"/>
                      <a:pt x="1404" y="144"/>
                      <a:pt x="1404" y="144"/>
                    </a:cubicBezTo>
                    <a:cubicBezTo>
                      <a:pt x="1404" y="144"/>
                      <a:pt x="1404" y="144"/>
                      <a:pt x="1404" y="144"/>
                    </a:cubicBezTo>
                    <a:cubicBezTo>
                      <a:pt x="1403" y="143"/>
                      <a:pt x="1403" y="143"/>
                      <a:pt x="1403" y="143"/>
                    </a:cubicBezTo>
                    <a:cubicBezTo>
                      <a:pt x="1403" y="143"/>
                      <a:pt x="1403" y="143"/>
                      <a:pt x="1403" y="143"/>
                    </a:cubicBezTo>
                    <a:cubicBezTo>
                      <a:pt x="1399" y="143"/>
                      <a:pt x="1397" y="142"/>
                      <a:pt x="1396" y="142"/>
                    </a:cubicBezTo>
                    <a:cubicBezTo>
                      <a:pt x="1395" y="142"/>
                      <a:pt x="1394" y="142"/>
                      <a:pt x="1394" y="142"/>
                    </a:cubicBezTo>
                    <a:cubicBezTo>
                      <a:pt x="1393" y="142"/>
                      <a:pt x="1392" y="143"/>
                      <a:pt x="1391" y="143"/>
                    </a:cubicBezTo>
                    <a:cubicBezTo>
                      <a:pt x="1390" y="143"/>
                      <a:pt x="1389" y="142"/>
                      <a:pt x="1388" y="142"/>
                    </a:cubicBezTo>
                    <a:cubicBezTo>
                      <a:pt x="1387" y="142"/>
                      <a:pt x="1387" y="142"/>
                      <a:pt x="1387" y="142"/>
                    </a:cubicBezTo>
                    <a:cubicBezTo>
                      <a:pt x="1387" y="142"/>
                      <a:pt x="1387" y="142"/>
                      <a:pt x="1387" y="142"/>
                    </a:cubicBezTo>
                    <a:cubicBezTo>
                      <a:pt x="1386" y="142"/>
                      <a:pt x="1386" y="142"/>
                      <a:pt x="1386" y="142"/>
                    </a:cubicBezTo>
                    <a:cubicBezTo>
                      <a:pt x="1386" y="142"/>
                      <a:pt x="1386" y="142"/>
                      <a:pt x="1386" y="142"/>
                    </a:cubicBezTo>
                    <a:cubicBezTo>
                      <a:pt x="1385" y="142"/>
                      <a:pt x="1385" y="142"/>
                      <a:pt x="1385" y="142"/>
                    </a:cubicBezTo>
                    <a:cubicBezTo>
                      <a:pt x="1384" y="142"/>
                      <a:pt x="1384" y="142"/>
                      <a:pt x="1384" y="142"/>
                    </a:cubicBezTo>
                    <a:cubicBezTo>
                      <a:pt x="1382" y="143"/>
                      <a:pt x="1382" y="143"/>
                      <a:pt x="1382" y="143"/>
                    </a:cubicBezTo>
                    <a:cubicBezTo>
                      <a:pt x="1381" y="143"/>
                      <a:pt x="1381" y="143"/>
                      <a:pt x="1381" y="143"/>
                    </a:cubicBezTo>
                    <a:cubicBezTo>
                      <a:pt x="1381" y="143"/>
                      <a:pt x="1381" y="143"/>
                      <a:pt x="1381" y="143"/>
                    </a:cubicBezTo>
                    <a:cubicBezTo>
                      <a:pt x="1381" y="142"/>
                      <a:pt x="1381" y="142"/>
                      <a:pt x="1381" y="142"/>
                    </a:cubicBezTo>
                    <a:cubicBezTo>
                      <a:pt x="1380" y="142"/>
                      <a:pt x="1380" y="142"/>
                      <a:pt x="1380" y="142"/>
                    </a:cubicBezTo>
                    <a:cubicBezTo>
                      <a:pt x="1380" y="142"/>
                      <a:pt x="1380" y="142"/>
                      <a:pt x="1380" y="142"/>
                    </a:cubicBezTo>
                    <a:cubicBezTo>
                      <a:pt x="1380" y="141"/>
                      <a:pt x="1380" y="141"/>
                      <a:pt x="1380" y="141"/>
                    </a:cubicBezTo>
                    <a:cubicBezTo>
                      <a:pt x="1379" y="141"/>
                      <a:pt x="1379" y="141"/>
                      <a:pt x="1379" y="141"/>
                    </a:cubicBezTo>
                    <a:cubicBezTo>
                      <a:pt x="1379" y="141"/>
                      <a:pt x="1379" y="141"/>
                      <a:pt x="1379" y="141"/>
                    </a:cubicBezTo>
                    <a:cubicBezTo>
                      <a:pt x="1378" y="141"/>
                      <a:pt x="1378" y="141"/>
                      <a:pt x="1378" y="141"/>
                    </a:cubicBezTo>
                    <a:cubicBezTo>
                      <a:pt x="1376" y="140"/>
                      <a:pt x="1374" y="140"/>
                      <a:pt x="1372" y="140"/>
                    </a:cubicBezTo>
                    <a:cubicBezTo>
                      <a:pt x="1371" y="139"/>
                      <a:pt x="1371" y="139"/>
                      <a:pt x="1371" y="139"/>
                    </a:cubicBezTo>
                    <a:cubicBezTo>
                      <a:pt x="1370" y="139"/>
                      <a:pt x="1370" y="139"/>
                      <a:pt x="1370" y="139"/>
                    </a:cubicBezTo>
                    <a:cubicBezTo>
                      <a:pt x="1370" y="139"/>
                      <a:pt x="1370" y="139"/>
                      <a:pt x="1370" y="139"/>
                    </a:cubicBezTo>
                    <a:cubicBezTo>
                      <a:pt x="1369" y="139"/>
                      <a:pt x="1369" y="139"/>
                      <a:pt x="1369" y="139"/>
                    </a:cubicBezTo>
                    <a:cubicBezTo>
                      <a:pt x="1369" y="139"/>
                      <a:pt x="1369" y="139"/>
                      <a:pt x="1369" y="139"/>
                    </a:cubicBezTo>
                    <a:cubicBezTo>
                      <a:pt x="1368" y="138"/>
                      <a:pt x="1368" y="138"/>
                      <a:pt x="1368" y="138"/>
                    </a:cubicBezTo>
                    <a:cubicBezTo>
                      <a:pt x="1364" y="137"/>
                      <a:pt x="1364" y="138"/>
                      <a:pt x="1359" y="135"/>
                    </a:cubicBezTo>
                    <a:cubicBezTo>
                      <a:pt x="1358" y="134"/>
                      <a:pt x="1358" y="134"/>
                      <a:pt x="1358" y="134"/>
                    </a:cubicBezTo>
                    <a:cubicBezTo>
                      <a:pt x="1357" y="134"/>
                      <a:pt x="1357" y="134"/>
                      <a:pt x="1357" y="134"/>
                    </a:cubicBezTo>
                    <a:cubicBezTo>
                      <a:pt x="1356" y="133"/>
                      <a:pt x="1357" y="132"/>
                      <a:pt x="1356" y="130"/>
                    </a:cubicBezTo>
                    <a:cubicBezTo>
                      <a:pt x="1357" y="130"/>
                      <a:pt x="1357" y="130"/>
                      <a:pt x="1357" y="130"/>
                    </a:cubicBezTo>
                    <a:cubicBezTo>
                      <a:pt x="1357" y="129"/>
                      <a:pt x="1357" y="129"/>
                      <a:pt x="1357" y="129"/>
                    </a:cubicBezTo>
                    <a:cubicBezTo>
                      <a:pt x="1358" y="129"/>
                      <a:pt x="1358" y="129"/>
                      <a:pt x="1358" y="129"/>
                    </a:cubicBezTo>
                    <a:cubicBezTo>
                      <a:pt x="1358" y="129"/>
                      <a:pt x="1358" y="129"/>
                      <a:pt x="1358" y="129"/>
                    </a:cubicBezTo>
                    <a:cubicBezTo>
                      <a:pt x="1359" y="129"/>
                      <a:pt x="1359" y="129"/>
                      <a:pt x="1359" y="129"/>
                    </a:cubicBezTo>
                    <a:cubicBezTo>
                      <a:pt x="1359" y="129"/>
                      <a:pt x="1359" y="129"/>
                      <a:pt x="1359" y="129"/>
                    </a:cubicBezTo>
                    <a:cubicBezTo>
                      <a:pt x="1360" y="129"/>
                      <a:pt x="1360" y="129"/>
                      <a:pt x="1360" y="129"/>
                    </a:cubicBezTo>
                    <a:cubicBezTo>
                      <a:pt x="1360" y="129"/>
                      <a:pt x="1360" y="129"/>
                      <a:pt x="1360" y="129"/>
                    </a:cubicBezTo>
                    <a:cubicBezTo>
                      <a:pt x="1361" y="130"/>
                      <a:pt x="1361" y="130"/>
                      <a:pt x="1361" y="130"/>
                    </a:cubicBezTo>
                    <a:cubicBezTo>
                      <a:pt x="1361" y="130"/>
                      <a:pt x="1361" y="130"/>
                      <a:pt x="1361" y="130"/>
                    </a:cubicBezTo>
                    <a:cubicBezTo>
                      <a:pt x="1362" y="129"/>
                      <a:pt x="1362" y="129"/>
                      <a:pt x="1362" y="129"/>
                    </a:cubicBezTo>
                    <a:cubicBezTo>
                      <a:pt x="1362" y="129"/>
                      <a:pt x="1362" y="129"/>
                      <a:pt x="1362" y="129"/>
                    </a:cubicBezTo>
                    <a:cubicBezTo>
                      <a:pt x="1362" y="129"/>
                      <a:pt x="1362" y="129"/>
                      <a:pt x="1362" y="129"/>
                    </a:cubicBezTo>
                    <a:cubicBezTo>
                      <a:pt x="1362" y="129"/>
                      <a:pt x="1362" y="129"/>
                      <a:pt x="1362" y="129"/>
                    </a:cubicBezTo>
                    <a:cubicBezTo>
                      <a:pt x="1362" y="128"/>
                      <a:pt x="1362" y="128"/>
                      <a:pt x="1362" y="128"/>
                    </a:cubicBezTo>
                    <a:cubicBezTo>
                      <a:pt x="1362" y="128"/>
                      <a:pt x="1362" y="128"/>
                      <a:pt x="1362" y="128"/>
                    </a:cubicBezTo>
                    <a:cubicBezTo>
                      <a:pt x="1362" y="128"/>
                      <a:pt x="1362" y="128"/>
                      <a:pt x="1362" y="128"/>
                    </a:cubicBezTo>
                    <a:cubicBezTo>
                      <a:pt x="1362" y="126"/>
                      <a:pt x="1367" y="126"/>
                      <a:pt x="1363" y="124"/>
                    </a:cubicBezTo>
                    <a:cubicBezTo>
                      <a:pt x="1361" y="122"/>
                      <a:pt x="1361" y="122"/>
                      <a:pt x="1361" y="122"/>
                    </a:cubicBezTo>
                    <a:cubicBezTo>
                      <a:pt x="1361" y="121"/>
                      <a:pt x="1361" y="121"/>
                      <a:pt x="1361" y="121"/>
                    </a:cubicBezTo>
                    <a:cubicBezTo>
                      <a:pt x="1361" y="121"/>
                      <a:pt x="1361" y="121"/>
                      <a:pt x="1361" y="121"/>
                    </a:cubicBezTo>
                    <a:cubicBezTo>
                      <a:pt x="1361" y="121"/>
                      <a:pt x="1361" y="121"/>
                      <a:pt x="1361" y="121"/>
                    </a:cubicBezTo>
                    <a:cubicBezTo>
                      <a:pt x="1362" y="121"/>
                      <a:pt x="1362" y="121"/>
                      <a:pt x="1362" y="121"/>
                    </a:cubicBezTo>
                    <a:cubicBezTo>
                      <a:pt x="1362" y="121"/>
                      <a:pt x="1362" y="121"/>
                      <a:pt x="1362" y="121"/>
                    </a:cubicBezTo>
                    <a:cubicBezTo>
                      <a:pt x="1363" y="120"/>
                      <a:pt x="1363" y="120"/>
                      <a:pt x="1363" y="120"/>
                    </a:cubicBezTo>
                    <a:cubicBezTo>
                      <a:pt x="1363" y="120"/>
                      <a:pt x="1363" y="120"/>
                      <a:pt x="1363" y="120"/>
                    </a:cubicBezTo>
                    <a:cubicBezTo>
                      <a:pt x="1364" y="120"/>
                      <a:pt x="1364" y="120"/>
                      <a:pt x="1364" y="120"/>
                    </a:cubicBezTo>
                    <a:cubicBezTo>
                      <a:pt x="1364" y="120"/>
                      <a:pt x="1364" y="120"/>
                      <a:pt x="1364" y="120"/>
                    </a:cubicBezTo>
                    <a:cubicBezTo>
                      <a:pt x="1363" y="119"/>
                      <a:pt x="1363" y="119"/>
                      <a:pt x="1363" y="119"/>
                    </a:cubicBezTo>
                    <a:cubicBezTo>
                      <a:pt x="1362" y="118"/>
                      <a:pt x="1362" y="118"/>
                      <a:pt x="1362" y="118"/>
                    </a:cubicBezTo>
                    <a:cubicBezTo>
                      <a:pt x="1359" y="116"/>
                      <a:pt x="1359" y="116"/>
                      <a:pt x="1359" y="116"/>
                    </a:cubicBezTo>
                    <a:cubicBezTo>
                      <a:pt x="1358" y="115"/>
                      <a:pt x="1358" y="115"/>
                      <a:pt x="1358" y="115"/>
                    </a:cubicBezTo>
                    <a:cubicBezTo>
                      <a:pt x="1357" y="114"/>
                      <a:pt x="1357" y="114"/>
                      <a:pt x="1357" y="114"/>
                    </a:cubicBezTo>
                    <a:cubicBezTo>
                      <a:pt x="1357" y="114"/>
                      <a:pt x="1357" y="114"/>
                      <a:pt x="1357" y="114"/>
                    </a:cubicBezTo>
                    <a:cubicBezTo>
                      <a:pt x="1357" y="114"/>
                      <a:pt x="1357" y="114"/>
                      <a:pt x="1357" y="114"/>
                    </a:cubicBezTo>
                    <a:cubicBezTo>
                      <a:pt x="1357" y="113"/>
                      <a:pt x="1357" y="113"/>
                      <a:pt x="1357" y="113"/>
                    </a:cubicBezTo>
                    <a:cubicBezTo>
                      <a:pt x="1357" y="113"/>
                      <a:pt x="1357" y="113"/>
                      <a:pt x="1357" y="113"/>
                    </a:cubicBezTo>
                    <a:cubicBezTo>
                      <a:pt x="1357" y="113"/>
                      <a:pt x="1357" y="113"/>
                      <a:pt x="1357" y="113"/>
                    </a:cubicBezTo>
                    <a:cubicBezTo>
                      <a:pt x="1356" y="113"/>
                      <a:pt x="1356" y="113"/>
                      <a:pt x="1356" y="113"/>
                    </a:cubicBezTo>
                    <a:cubicBezTo>
                      <a:pt x="1356" y="112"/>
                      <a:pt x="1356" y="112"/>
                      <a:pt x="1356" y="112"/>
                    </a:cubicBezTo>
                    <a:cubicBezTo>
                      <a:pt x="1356" y="112"/>
                      <a:pt x="1356" y="112"/>
                      <a:pt x="1356" y="112"/>
                    </a:cubicBezTo>
                    <a:cubicBezTo>
                      <a:pt x="1356" y="112"/>
                      <a:pt x="1356" y="112"/>
                      <a:pt x="1356" y="112"/>
                    </a:cubicBezTo>
                    <a:cubicBezTo>
                      <a:pt x="1356" y="111"/>
                      <a:pt x="1356" y="111"/>
                      <a:pt x="1356" y="111"/>
                    </a:cubicBezTo>
                    <a:cubicBezTo>
                      <a:pt x="1356" y="111"/>
                      <a:pt x="1356" y="111"/>
                      <a:pt x="1356" y="111"/>
                    </a:cubicBezTo>
                    <a:cubicBezTo>
                      <a:pt x="1356" y="111"/>
                      <a:pt x="1356" y="111"/>
                      <a:pt x="1356" y="111"/>
                    </a:cubicBezTo>
                    <a:cubicBezTo>
                      <a:pt x="1356" y="110"/>
                      <a:pt x="1356" y="110"/>
                      <a:pt x="1356" y="110"/>
                    </a:cubicBezTo>
                    <a:cubicBezTo>
                      <a:pt x="1356" y="110"/>
                      <a:pt x="1356" y="110"/>
                      <a:pt x="1356" y="110"/>
                    </a:cubicBezTo>
                    <a:cubicBezTo>
                      <a:pt x="1356" y="108"/>
                      <a:pt x="1358" y="107"/>
                      <a:pt x="1358" y="106"/>
                    </a:cubicBezTo>
                    <a:cubicBezTo>
                      <a:pt x="1357" y="105"/>
                      <a:pt x="1357" y="105"/>
                      <a:pt x="1357" y="105"/>
                    </a:cubicBezTo>
                    <a:cubicBezTo>
                      <a:pt x="1357" y="105"/>
                      <a:pt x="1357" y="105"/>
                      <a:pt x="1357" y="105"/>
                    </a:cubicBezTo>
                    <a:cubicBezTo>
                      <a:pt x="1357" y="104"/>
                      <a:pt x="1357" y="104"/>
                      <a:pt x="1357" y="104"/>
                    </a:cubicBezTo>
                    <a:cubicBezTo>
                      <a:pt x="1357" y="104"/>
                      <a:pt x="1357" y="104"/>
                      <a:pt x="1357" y="104"/>
                    </a:cubicBezTo>
                    <a:cubicBezTo>
                      <a:pt x="1357" y="104"/>
                      <a:pt x="1357" y="104"/>
                      <a:pt x="1357" y="104"/>
                    </a:cubicBezTo>
                    <a:cubicBezTo>
                      <a:pt x="1357" y="103"/>
                      <a:pt x="1357" y="103"/>
                      <a:pt x="1357" y="103"/>
                    </a:cubicBezTo>
                    <a:cubicBezTo>
                      <a:pt x="1358" y="103"/>
                      <a:pt x="1358" y="103"/>
                      <a:pt x="1358" y="103"/>
                    </a:cubicBezTo>
                    <a:cubicBezTo>
                      <a:pt x="1358" y="103"/>
                      <a:pt x="1358" y="103"/>
                      <a:pt x="1358" y="103"/>
                    </a:cubicBezTo>
                    <a:cubicBezTo>
                      <a:pt x="1359" y="103"/>
                      <a:pt x="1359" y="103"/>
                      <a:pt x="1359" y="103"/>
                    </a:cubicBezTo>
                    <a:cubicBezTo>
                      <a:pt x="1359" y="103"/>
                      <a:pt x="1359" y="103"/>
                      <a:pt x="1359" y="103"/>
                    </a:cubicBezTo>
                    <a:cubicBezTo>
                      <a:pt x="1360" y="103"/>
                      <a:pt x="1360" y="103"/>
                      <a:pt x="1360" y="103"/>
                    </a:cubicBezTo>
                    <a:cubicBezTo>
                      <a:pt x="1361" y="103"/>
                      <a:pt x="1361" y="103"/>
                      <a:pt x="1361" y="103"/>
                    </a:cubicBezTo>
                    <a:cubicBezTo>
                      <a:pt x="1361" y="103"/>
                      <a:pt x="1361" y="103"/>
                      <a:pt x="1361" y="103"/>
                    </a:cubicBezTo>
                    <a:cubicBezTo>
                      <a:pt x="1362" y="102"/>
                      <a:pt x="1362" y="102"/>
                      <a:pt x="1362" y="102"/>
                    </a:cubicBezTo>
                    <a:cubicBezTo>
                      <a:pt x="1362" y="102"/>
                      <a:pt x="1362" y="102"/>
                      <a:pt x="1362" y="102"/>
                    </a:cubicBezTo>
                    <a:cubicBezTo>
                      <a:pt x="1362" y="102"/>
                      <a:pt x="1362" y="102"/>
                      <a:pt x="1362" y="102"/>
                    </a:cubicBezTo>
                    <a:cubicBezTo>
                      <a:pt x="1362" y="101"/>
                      <a:pt x="1362" y="101"/>
                      <a:pt x="1362" y="101"/>
                    </a:cubicBezTo>
                    <a:cubicBezTo>
                      <a:pt x="1362" y="101"/>
                      <a:pt x="1362" y="101"/>
                      <a:pt x="1362" y="101"/>
                    </a:cubicBezTo>
                    <a:cubicBezTo>
                      <a:pt x="1362" y="101"/>
                      <a:pt x="1362" y="101"/>
                      <a:pt x="1362" y="101"/>
                    </a:cubicBezTo>
                    <a:cubicBezTo>
                      <a:pt x="1362" y="101"/>
                      <a:pt x="1362" y="101"/>
                      <a:pt x="1362" y="101"/>
                    </a:cubicBezTo>
                    <a:cubicBezTo>
                      <a:pt x="1362" y="101"/>
                      <a:pt x="1362" y="101"/>
                      <a:pt x="1362" y="101"/>
                    </a:cubicBezTo>
                    <a:cubicBezTo>
                      <a:pt x="1362" y="100"/>
                      <a:pt x="1362" y="100"/>
                      <a:pt x="1362" y="100"/>
                    </a:cubicBezTo>
                    <a:cubicBezTo>
                      <a:pt x="1362" y="100"/>
                      <a:pt x="1362" y="100"/>
                      <a:pt x="1362" y="100"/>
                    </a:cubicBezTo>
                    <a:cubicBezTo>
                      <a:pt x="1362" y="100"/>
                      <a:pt x="1362" y="100"/>
                      <a:pt x="1362" y="100"/>
                    </a:cubicBezTo>
                    <a:cubicBezTo>
                      <a:pt x="1362" y="99"/>
                      <a:pt x="1362" y="99"/>
                      <a:pt x="1362" y="99"/>
                    </a:cubicBezTo>
                    <a:cubicBezTo>
                      <a:pt x="1362" y="99"/>
                      <a:pt x="1362" y="99"/>
                      <a:pt x="1362" y="99"/>
                    </a:cubicBezTo>
                    <a:cubicBezTo>
                      <a:pt x="1362" y="98"/>
                      <a:pt x="1363" y="98"/>
                      <a:pt x="1364" y="97"/>
                    </a:cubicBezTo>
                    <a:cubicBezTo>
                      <a:pt x="1364" y="97"/>
                      <a:pt x="1364" y="97"/>
                      <a:pt x="1364" y="97"/>
                    </a:cubicBezTo>
                    <a:cubicBezTo>
                      <a:pt x="1364" y="97"/>
                      <a:pt x="1364" y="97"/>
                      <a:pt x="1364" y="97"/>
                    </a:cubicBezTo>
                    <a:cubicBezTo>
                      <a:pt x="1365" y="96"/>
                      <a:pt x="1365" y="96"/>
                      <a:pt x="1365" y="96"/>
                    </a:cubicBezTo>
                    <a:cubicBezTo>
                      <a:pt x="1365" y="96"/>
                      <a:pt x="1365" y="96"/>
                      <a:pt x="1365" y="96"/>
                    </a:cubicBezTo>
                    <a:cubicBezTo>
                      <a:pt x="1365" y="95"/>
                      <a:pt x="1365" y="95"/>
                      <a:pt x="1365" y="95"/>
                    </a:cubicBezTo>
                    <a:cubicBezTo>
                      <a:pt x="1364" y="95"/>
                      <a:pt x="1364" y="95"/>
                      <a:pt x="1364" y="95"/>
                    </a:cubicBezTo>
                    <a:cubicBezTo>
                      <a:pt x="1364" y="95"/>
                      <a:pt x="1364" y="95"/>
                      <a:pt x="1364" y="95"/>
                    </a:cubicBezTo>
                    <a:cubicBezTo>
                      <a:pt x="1364" y="94"/>
                      <a:pt x="1364" y="94"/>
                      <a:pt x="1364" y="94"/>
                    </a:cubicBezTo>
                    <a:cubicBezTo>
                      <a:pt x="1364" y="94"/>
                      <a:pt x="1364" y="94"/>
                      <a:pt x="1364" y="94"/>
                    </a:cubicBezTo>
                    <a:cubicBezTo>
                      <a:pt x="1364" y="93"/>
                      <a:pt x="1364" y="93"/>
                      <a:pt x="1364" y="93"/>
                    </a:cubicBezTo>
                    <a:cubicBezTo>
                      <a:pt x="1364" y="93"/>
                      <a:pt x="1364" y="93"/>
                      <a:pt x="1364" y="93"/>
                    </a:cubicBezTo>
                    <a:cubicBezTo>
                      <a:pt x="1365" y="93"/>
                      <a:pt x="1365" y="93"/>
                      <a:pt x="1365" y="93"/>
                    </a:cubicBezTo>
                    <a:cubicBezTo>
                      <a:pt x="1365" y="92"/>
                      <a:pt x="1365" y="92"/>
                      <a:pt x="1366" y="91"/>
                    </a:cubicBezTo>
                    <a:cubicBezTo>
                      <a:pt x="1366" y="90"/>
                      <a:pt x="1366" y="90"/>
                      <a:pt x="1366" y="90"/>
                    </a:cubicBezTo>
                    <a:cubicBezTo>
                      <a:pt x="1366" y="90"/>
                      <a:pt x="1366" y="90"/>
                      <a:pt x="1366" y="90"/>
                    </a:cubicBezTo>
                    <a:cubicBezTo>
                      <a:pt x="1367" y="90"/>
                      <a:pt x="1367" y="90"/>
                      <a:pt x="1367" y="90"/>
                    </a:cubicBezTo>
                    <a:cubicBezTo>
                      <a:pt x="1367" y="89"/>
                      <a:pt x="1368" y="88"/>
                      <a:pt x="1369" y="88"/>
                    </a:cubicBezTo>
                    <a:cubicBezTo>
                      <a:pt x="1369" y="88"/>
                      <a:pt x="1369" y="88"/>
                      <a:pt x="1369" y="88"/>
                    </a:cubicBezTo>
                    <a:cubicBezTo>
                      <a:pt x="1370" y="88"/>
                      <a:pt x="1370" y="88"/>
                      <a:pt x="1370" y="88"/>
                    </a:cubicBezTo>
                    <a:cubicBezTo>
                      <a:pt x="1370" y="87"/>
                      <a:pt x="1370" y="87"/>
                      <a:pt x="1370" y="87"/>
                    </a:cubicBezTo>
                    <a:cubicBezTo>
                      <a:pt x="1370" y="87"/>
                      <a:pt x="1370" y="87"/>
                      <a:pt x="1370" y="87"/>
                    </a:cubicBezTo>
                    <a:cubicBezTo>
                      <a:pt x="1371" y="87"/>
                      <a:pt x="1371" y="87"/>
                      <a:pt x="1371" y="87"/>
                    </a:cubicBezTo>
                    <a:cubicBezTo>
                      <a:pt x="1371" y="86"/>
                      <a:pt x="1371" y="86"/>
                      <a:pt x="1371" y="86"/>
                    </a:cubicBezTo>
                    <a:cubicBezTo>
                      <a:pt x="1371" y="86"/>
                      <a:pt x="1371" y="86"/>
                      <a:pt x="1371" y="86"/>
                    </a:cubicBezTo>
                    <a:cubicBezTo>
                      <a:pt x="1370" y="85"/>
                      <a:pt x="1370" y="85"/>
                      <a:pt x="1370" y="85"/>
                    </a:cubicBezTo>
                    <a:cubicBezTo>
                      <a:pt x="1369" y="84"/>
                      <a:pt x="1369" y="84"/>
                      <a:pt x="1369" y="84"/>
                    </a:cubicBezTo>
                    <a:cubicBezTo>
                      <a:pt x="1369" y="84"/>
                      <a:pt x="1369" y="84"/>
                      <a:pt x="1369" y="84"/>
                    </a:cubicBezTo>
                    <a:cubicBezTo>
                      <a:pt x="1369" y="83"/>
                      <a:pt x="1369" y="83"/>
                      <a:pt x="1369" y="83"/>
                    </a:cubicBezTo>
                    <a:cubicBezTo>
                      <a:pt x="1369" y="83"/>
                      <a:pt x="1369" y="83"/>
                      <a:pt x="1369" y="83"/>
                    </a:cubicBezTo>
                    <a:cubicBezTo>
                      <a:pt x="1369" y="83"/>
                      <a:pt x="1369" y="83"/>
                      <a:pt x="1369" y="83"/>
                    </a:cubicBezTo>
                    <a:cubicBezTo>
                      <a:pt x="1369" y="82"/>
                      <a:pt x="1369" y="82"/>
                      <a:pt x="1369" y="82"/>
                    </a:cubicBezTo>
                    <a:cubicBezTo>
                      <a:pt x="1368" y="82"/>
                      <a:pt x="1368" y="82"/>
                      <a:pt x="1368" y="82"/>
                    </a:cubicBezTo>
                    <a:cubicBezTo>
                      <a:pt x="1368" y="81"/>
                      <a:pt x="1368" y="81"/>
                      <a:pt x="1368" y="81"/>
                    </a:cubicBezTo>
                    <a:cubicBezTo>
                      <a:pt x="1368" y="81"/>
                      <a:pt x="1368" y="81"/>
                      <a:pt x="1368" y="81"/>
                    </a:cubicBezTo>
                    <a:cubicBezTo>
                      <a:pt x="1368" y="81"/>
                      <a:pt x="1368" y="81"/>
                      <a:pt x="1368" y="81"/>
                    </a:cubicBezTo>
                    <a:cubicBezTo>
                      <a:pt x="1368" y="80"/>
                      <a:pt x="1368" y="80"/>
                      <a:pt x="1368" y="80"/>
                    </a:cubicBezTo>
                    <a:cubicBezTo>
                      <a:pt x="1368" y="80"/>
                      <a:pt x="1368" y="80"/>
                      <a:pt x="1368" y="80"/>
                    </a:cubicBezTo>
                    <a:cubicBezTo>
                      <a:pt x="1368" y="79"/>
                      <a:pt x="1368" y="79"/>
                      <a:pt x="1368" y="79"/>
                    </a:cubicBezTo>
                    <a:cubicBezTo>
                      <a:pt x="1368" y="79"/>
                      <a:pt x="1368" y="79"/>
                      <a:pt x="1368" y="79"/>
                    </a:cubicBezTo>
                    <a:cubicBezTo>
                      <a:pt x="1367" y="79"/>
                      <a:pt x="1367" y="79"/>
                      <a:pt x="1367" y="79"/>
                    </a:cubicBezTo>
                    <a:cubicBezTo>
                      <a:pt x="1367" y="78"/>
                      <a:pt x="1367" y="78"/>
                      <a:pt x="1367" y="78"/>
                    </a:cubicBezTo>
                    <a:cubicBezTo>
                      <a:pt x="1367" y="78"/>
                      <a:pt x="1367" y="78"/>
                      <a:pt x="1367" y="78"/>
                    </a:cubicBezTo>
                    <a:cubicBezTo>
                      <a:pt x="1367" y="78"/>
                      <a:pt x="1367" y="78"/>
                      <a:pt x="1367" y="78"/>
                    </a:cubicBezTo>
                    <a:cubicBezTo>
                      <a:pt x="1367" y="78"/>
                      <a:pt x="1367" y="78"/>
                      <a:pt x="1367" y="78"/>
                    </a:cubicBezTo>
                    <a:cubicBezTo>
                      <a:pt x="1367" y="77"/>
                      <a:pt x="1367" y="77"/>
                      <a:pt x="1367" y="77"/>
                    </a:cubicBezTo>
                    <a:cubicBezTo>
                      <a:pt x="1366" y="77"/>
                      <a:pt x="1366" y="77"/>
                      <a:pt x="1366" y="77"/>
                    </a:cubicBezTo>
                    <a:cubicBezTo>
                      <a:pt x="1366" y="77"/>
                      <a:pt x="1366" y="77"/>
                      <a:pt x="1366" y="77"/>
                    </a:cubicBezTo>
                    <a:cubicBezTo>
                      <a:pt x="1366" y="76"/>
                      <a:pt x="1366" y="76"/>
                      <a:pt x="1366" y="76"/>
                    </a:cubicBezTo>
                    <a:cubicBezTo>
                      <a:pt x="1366" y="76"/>
                      <a:pt x="1366" y="76"/>
                      <a:pt x="1366" y="76"/>
                    </a:cubicBezTo>
                    <a:cubicBezTo>
                      <a:pt x="1366" y="76"/>
                      <a:pt x="1366" y="76"/>
                      <a:pt x="1366" y="76"/>
                    </a:cubicBezTo>
                    <a:cubicBezTo>
                      <a:pt x="1366" y="75"/>
                      <a:pt x="1366" y="75"/>
                      <a:pt x="1366" y="75"/>
                    </a:cubicBezTo>
                    <a:cubicBezTo>
                      <a:pt x="1365" y="75"/>
                      <a:pt x="1365" y="75"/>
                      <a:pt x="1365" y="75"/>
                    </a:cubicBezTo>
                    <a:cubicBezTo>
                      <a:pt x="1365" y="75"/>
                      <a:pt x="1365" y="75"/>
                      <a:pt x="1365" y="75"/>
                    </a:cubicBezTo>
                    <a:cubicBezTo>
                      <a:pt x="1366" y="74"/>
                      <a:pt x="1366" y="74"/>
                      <a:pt x="1366" y="74"/>
                    </a:cubicBezTo>
                    <a:cubicBezTo>
                      <a:pt x="1366" y="74"/>
                      <a:pt x="1366" y="74"/>
                      <a:pt x="1366" y="74"/>
                    </a:cubicBezTo>
                    <a:cubicBezTo>
                      <a:pt x="1366" y="74"/>
                      <a:pt x="1366" y="74"/>
                      <a:pt x="1366" y="74"/>
                    </a:cubicBezTo>
                    <a:cubicBezTo>
                      <a:pt x="1364" y="71"/>
                      <a:pt x="1364" y="71"/>
                      <a:pt x="1364" y="71"/>
                    </a:cubicBezTo>
                    <a:cubicBezTo>
                      <a:pt x="1361" y="68"/>
                      <a:pt x="1361" y="68"/>
                      <a:pt x="1361" y="68"/>
                    </a:cubicBezTo>
                    <a:cubicBezTo>
                      <a:pt x="1353" y="59"/>
                      <a:pt x="1353" y="59"/>
                      <a:pt x="1353" y="59"/>
                    </a:cubicBezTo>
                    <a:cubicBezTo>
                      <a:pt x="1350" y="56"/>
                      <a:pt x="1350" y="56"/>
                      <a:pt x="1350" y="56"/>
                    </a:cubicBezTo>
                    <a:cubicBezTo>
                      <a:pt x="1348" y="54"/>
                      <a:pt x="1348" y="54"/>
                      <a:pt x="1348" y="54"/>
                    </a:cubicBezTo>
                    <a:cubicBezTo>
                      <a:pt x="1348" y="55"/>
                      <a:pt x="1348" y="55"/>
                      <a:pt x="1348" y="55"/>
                    </a:cubicBezTo>
                    <a:cubicBezTo>
                      <a:pt x="1347" y="55"/>
                      <a:pt x="1347" y="55"/>
                      <a:pt x="1347" y="55"/>
                    </a:cubicBezTo>
                    <a:cubicBezTo>
                      <a:pt x="1347" y="55"/>
                      <a:pt x="1347" y="55"/>
                      <a:pt x="1347" y="55"/>
                    </a:cubicBezTo>
                    <a:cubicBezTo>
                      <a:pt x="1346" y="55"/>
                      <a:pt x="1346" y="55"/>
                      <a:pt x="1346" y="55"/>
                    </a:cubicBezTo>
                    <a:cubicBezTo>
                      <a:pt x="1345" y="56"/>
                      <a:pt x="1345" y="56"/>
                      <a:pt x="1345" y="56"/>
                    </a:cubicBezTo>
                    <a:cubicBezTo>
                      <a:pt x="1344" y="57"/>
                      <a:pt x="1341" y="57"/>
                      <a:pt x="1344" y="59"/>
                    </a:cubicBezTo>
                    <a:cubicBezTo>
                      <a:pt x="1344" y="59"/>
                      <a:pt x="1344" y="59"/>
                      <a:pt x="1344" y="59"/>
                    </a:cubicBezTo>
                    <a:cubicBezTo>
                      <a:pt x="1344" y="59"/>
                      <a:pt x="1344" y="59"/>
                      <a:pt x="1344" y="59"/>
                    </a:cubicBezTo>
                    <a:cubicBezTo>
                      <a:pt x="1346" y="60"/>
                      <a:pt x="1346" y="61"/>
                      <a:pt x="1347" y="62"/>
                    </a:cubicBezTo>
                    <a:cubicBezTo>
                      <a:pt x="1348" y="63"/>
                      <a:pt x="1348" y="63"/>
                      <a:pt x="1348" y="63"/>
                    </a:cubicBezTo>
                    <a:cubicBezTo>
                      <a:pt x="1348" y="63"/>
                      <a:pt x="1348" y="63"/>
                      <a:pt x="1348" y="63"/>
                    </a:cubicBezTo>
                    <a:cubicBezTo>
                      <a:pt x="1348" y="63"/>
                      <a:pt x="1348" y="63"/>
                      <a:pt x="1348" y="63"/>
                    </a:cubicBezTo>
                    <a:cubicBezTo>
                      <a:pt x="1349" y="64"/>
                      <a:pt x="1349" y="64"/>
                      <a:pt x="1349" y="64"/>
                    </a:cubicBezTo>
                    <a:cubicBezTo>
                      <a:pt x="1349" y="65"/>
                      <a:pt x="1350" y="66"/>
                      <a:pt x="1351" y="67"/>
                    </a:cubicBezTo>
                    <a:cubicBezTo>
                      <a:pt x="1351" y="67"/>
                      <a:pt x="1351" y="67"/>
                      <a:pt x="1351" y="67"/>
                    </a:cubicBezTo>
                    <a:cubicBezTo>
                      <a:pt x="1351" y="67"/>
                      <a:pt x="1351" y="67"/>
                      <a:pt x="1351" y="67"/>
                    </a:cubicBezTo>
                    <a:cubicBezTo>
                      <a:pt x="1351" y="69"/>
                      <a:pt x="1352" y="69"/>
                      <a:pt x="1351" y="71"/>
                    </a:cubicBezTo>
                    <a:cubicBezTo>
                      <a:pt x="1351" y="72"/>
                      <a:pt x="1351" y="72"/>
                      <a:pt x="1351" y="72"/>
                    </a:cubicBezTo>
                    <a:cubicBezTo>
                      <a:pt x="1351" y="72"/>
                      <a:pt x="1351" y="72"/>
                      <a:pt x="1351" y="72"/>
                    </a:cubicBezTo>
                    <a:cubicBezTo>
                      <a:pt x="1352" y="75"/>
                      <a:pt x="1353" y="77"/>
                      <a:pt x="1353" y="80"/>
                    </a:cubicBezTo>
                    <a:cubicBezTo>
                      <a:pt x="1353" y="81"/>
                      <a:pt x="1353" y="81"/>
                      <a:pt x="1353" y="81"/>
                    </a:cubicBezTo>
                    <a:cubicBezTo>
                      <a:pt x="1353" y="81"/>
                      <a:pt x="1353" y="81"/>
                      <a:pt x="1353" y="81"/>
                    </a:cubicBezTo>
                    <a:cubicBezTo>
                      <a:pt x="1353" y="82"/>
                      <a:pt x="1353" y="83"/>
                      <a:pt x="1353" y="84"/>
                    </a:cubicBezTo>
                    <a:cubicBezTo>
                      <a:pt x="1353" y="85"/>
                      <a:pt x="1353" y="85"/>
                      <a:pt x="1353" y="85"/>
                    </a:cubicBezTo>
                    <a:cubicBezTo>
                      <a:pt x="1353" y="85"/>
                      <a:pt x="1353" y="85"/>
                      <a:pt x="1353" y="85"/>
                    </a:cubicBezTo>
                    <a:cubicBezTo>
                      <a:pt x="1352" y="86"/>
                      <a:pt x="1352" y="87"/>
                      <a:pt x="1352" y="88"/>
                    </a:cubicBezTo>
                    <a:cubicBezTo>
                      <a:pt x="1352" y="89"/>
                      <a:pt x="1352" y="89"/>
                      <a:pt x="1352" y="89"/>
                    </a:cubicBezTo>
                    <a:cubicBezTo>
                      <a:pt x="1352" y="90"/>
                      <a:pt x="1352" y="90"/>
                      <a:pt x="1352" y="90"/>
                    </a:cubicBezTo>
                    <a:cubicBezTo>
                      <a:pt x="1351" y="90"/>
                      <a:pt x="1351" y="90"/>
                      <a:pt x="1351" y="90"/>
                    </a:cubicBezTo>
                    <a:cubicBezTo>
                      <a:pt x="1351" y="90"/>
                      <a:pt x="1351" y="90"/>
                      <a:pt x="1351" y="90"/>
                    </a:cubicBezTo>
                    <a:cubicBezTo>
                      <a:pt x="1351" y="91"/>
                      <a:pt x="1351" y="91"/>
                      <a:pt x="1351" y="91"/>
                    </a:cubicBezTo>
                    <a:cubicBezTo>
                      <a:pt x="1348" y="96"/>
                      <a:pt x="1349" y="95"/>
                      <a:pt x="1343" y="98"/>
                    </a:cubicBezTo>
                    <a:cubicBezTo>
                      <a:pt x="1342" y="98"/>
                      <a:pt x="1342" y="98"/>
                      <a:pt x="1342" y="98"/>
                    </a:cubicBezTo>
                    <a:cubicBezTo>
                      <a:pt x="1342" y="98"/>
                      <a:pt x="1342" y="98"/>
                      <a:pt x="1342" y="98"/>
                    </a:cubicBezTo>
                    <a:cubicBezTo>
                      <a:pt x="1341" y="98"/>
                      <a:pt x="1341" y="98"/>
                      <a:pt x="1341" y="98"/>
                    </a:cubicBezTo>
                    <a:cubicBezTo>
                      <a:pt x="1339" y="99"/>
                      <a:pt x="1338" y="100"/>
                      <a:pt x="1336" y="101"/>
                    </a:cubicBezTo>
                    <a:cubicBezTo>
                      <a:pt x="1335" y="101"/>
                      <a:pt x="1335" y="101"/>
                      <a:pt x="1335" y="101"/>
                    </a:cubicBezTo>
                    <a:cubicBezTo>
                      <a:pt x="1334" y="101"/>
                      <a:pt x="1334" y="101"/>
                      <a:pt x="1334" y="101"/>
                    </a:cubicBezTo>
                    <a:cubicBezTo>
                      <a:pt x="1328" y="103"/>
                      <a:pt x="1322" y="105"/>
                      <a:pt x="1316" y="107"/>
                    </a:cubicBezTo>
                    <a:cubicBezTo>
                      <a:pt x="1316" y="107"/>
                      <a:pt x="1316" y="107"/>
                      <a:pt x="1316" y="107"/>
                    </a:cubicBezTo>
                    <a:cubicBezTo>
                      <a:pt x="1315" y="107"/>
                      <a:pt x="1315" y="107"/>
                      <a:pt x="1315" y="107"/>
                    </a:cubicBezTo>
                    <a:cubicBezTo>
                      <a:pt x="1315" y="107"/>
                      <a:pt x="1315" y="107"/>
                      <a:pt x="1315" y="107"/>
                    </a:cubicBezTo>
                    <a:cubicBezTo>
                      <a:pt x="1314" y="107"/>
                      <a:pt x="1314" y="107"/>
                      <a:pt x="1314" y="107"/>
                    </a:cubicBezTo>
                    <a:cubicBezTo>
                      <a:pt x="1314" y="108"/>
                      <a:pt x="1314" y="108"/>
                      <a:pt x="1314" y="108"/>
                    </a:cubicBezTo>
                    <a:cubicBezTo>
                      <a:pt x="1313" y="108"/>
                      <a:pt x="1313" y="108"/>
                      <a:pt x="1313" y="108"/>
                    </a:cubicBezTo>
                    <a:cubicBezTo>
                      <a:pt x="1312" y="109"/>
                      <a:pt x="1309" y="109"/>
                      <a:pt x="1308" y="110"/>
                    </a:cubicBezTo>
                    <a:cubicBezTo>
                      <a:pt x="1308" y="111"/>
                      <a:pt x="1308" y="111"/>
                      <a:pt x="1308" y="111"/>
                    </a:cubicBezTo>
                    <a:cubicBezTo>
                      <a:pt x="1307" y="111"/>
                      <a:pt x="1307" y="111"/>
                      <a:pt x="1307" y="111"/>
                    </a:cubicBezTo>
                    <a:cubicBezTo>
                      <a:pt x="1306" y="112"/>
                      <a:pt x="1306" y="113"/>
                      <a:pt x="1307" y="114"/>
                    </a:cubicBezTo>
                    <a:cubicBezTo>
                      <a:pt x="1307" y="115"/>
                      <a:pt x="1307" y="115"/>
                      <a:pt x="1307" y="115"/>
                    </a:cubicBezTo>
                    <a:cubicBezTo>
                      <a:pt x="1308" y="115"/>
                      <a:pt x="1308" y="115"/>
                      <a:pt x="1308" y="115"/>
                    </a:cubicBezTo>
                    <a:cubicBezTo>
                      <a:pt x="1308" y="116"/>
                      <a:pt x="1308" y="116"/>
                      <a:pt x="1308" y="116"/>
                    </a:cubicBezTo>
                    <a:cubicBezTo>
                      <a:pt x="1308" y="116"/>
                      <a:pt x="1308" y="118"/>
                      <a:pt x="1307" y="119"/>
                    </a:cubicBezTo>
                    <a:cubicBezTo>
                      <a:pt x="1307" y="119"/>
                      <a:pt x="1307" y="119"/>
                      <a:pt x="1307" y="119"/>
                    </a:cubicBezTo>
                    <a:cubicBezTo>
                      <a:pt x="1306" y="120"/>
                      <a:pt x="1306" y="120"/>
                      <a:pt x="1306" y="120"/>
                    </a:cubicBezTo>
                    <a:cubicBezTo>
                      <a:pt x="1304" y="121"/>
                      <a:pt x="1304" y="122"/>
                      <a:pt x="1303" y="123"/>
                    </a:cubicBezTo>
                    <a:cubicBezTo>
                      <a:pt x="1302" y="124"/>
                      <a:pt x="1302" y="124"/>
                      <a:pt x="1302" y="124"/>
                    </a:cubicBezTo>
                    <a:cubicBezTo>
                      <a:pt x="1300" y="126"/>
                      <a:pt x="1300" y="126"/>
                      <a:pt x="1300" y="126"/>
                    </a:cubicBezTo>
                    <a:cubicBezTo>
                      <a:pt x="1296" y="130"/>
                      <a:pt x="1296" y="130"/>
                      <a:pt x="1296" y="130"/>
                    </a:cubicBezTo>
                    <a:cubicBezTo>
                      <a:pt x="1294" y="131"/>
                      <a:pt x="1294" y="131"/>
                      <a:pt x="1294" y="131"/>
                    </a:cubicBezTo>
                    <a:cubicBezTo>
                      <a:pt x="1294" y="132"/>
                      <a:pt x="1294" y="132"/>
                      <a:pt x="1294" y="132"/>
                    </a:cubicBezTo>
                    <a:cubicBezTo>
                      <a:pt x="1294" y="132"/>
                      <a:pt x="1294" y="132"/>
                      <a:pt x="1294" y="132"/>
                    </a:cubicBezTo>
                    <a:cubicBezTo>
                      <a:pt x="1295" y="133"/>
                      <a:pt x="1295" y="133"/>
                      <a:pt x="1295" y="133"/>
                    </a:cubicBezTo>
                    <a:cubicBezTo>
                      <a:pt x="1295" y="133"/>
                      <a:pt x="1295" y="133"/>
                      <a:pt x="1295" y="133"/>
                    </a:cubicBezTo>
                    <a:cubicBezTo>
                      <a:pt x="1296" y="133"/>
                      <a:pt x="1296" y="133"/>
                      <a:pt x="1296" y="133"/>
                    </a:cubicBezTo>
                    <a:cubicBezTo>
                      <a:pt x="1307" y="138"/>
                      <a:pt x="1309" y="138"/>
                      <a:pt x="1313" y="150"/>
                    </a:cubicBezTo>
                    <a:cubicBezTo>
                      <a:pt x="1313" y="150"/>
                      <a:pt x="1313" y="150"/>
                      <a:pt x="1313" y="150"/>
                    </a:cubicBezTo>
                    <a:cubicBezTo>
                      <a:pt x="1313" y="150"/>
                      <a:pt x="1313" y="150"/>
                      <a:pt x="1313" y="150"/>
                    </a:cubicBezTo>
                    <a:cubicBezTo>
                      <a:pt x="1313" y="150"/>
                      <a:pt x="1313" y="150"/>
                      <a:pt x="1313" y="150"/>
                    </a:cubicBezTo>
                    <a:cubicBezTo>
                      <a:pt x="1316" y="154"/>
                      <a:pt x="1319" y="153"/>
                      <a:pt x="1319" y="158"/>
                    </a:cubicBezTo>
                    <a:cubicBezTo>
                      <a:pt x="1319" y="159"/>
                      <a:pt x="1319" y="159"/>
                      <a:pt x="1319" y="159"/>
                    </a:cubicBezTo>
                    <a:cubicBezTo>
                      <a:pt x="1319" y="160"/>
                      <a:pt x="1319" y="161"/>
                      <a:pt x="1320" y="162"/>
                    </a:cubicBezTo>
                    <a:cubicBezTo>
                      <a:pt x="1321" y="163"/>
                      <a:pt x="1321" y="163"/>
                      <a:pt x="1321" y="163"/>
                    </a:cubicBezTo>
                    <a:cubicBezTo>
                      <a:pt x="1321" y="163"/>
                      <a:pt x="1321" y="163"/>
                      <a:pt x="1321" y="163"/>
                    </a:cubicBezTo>
                    <a:cubicBezTo>
                      <a:pt x="1323" y="164"/>
                      <a:pt x="1324" y="165"/>
                      <a:pt x="1325" y="166"/>
                    </a:cubicBezTo>
                    <a:cubicBezTo>
                      <a:pt x="1326" y="166"/>
                      <a:pt x="1326" y="166"/>
                      <a:pt x="1326" y="166"/>
                    </a:cubicBezTo>
                    <a:cubicBezTo>
                      <a:pt x="1326" y="166"/>
                      <a:pt x="1326" y="166"/>
                      <a:pt x="1326" y="166"/>
                    </a:cubicBezTo>
                    <a:cubicBezTo>
                      <a:pt x="1327" y="167"/>
                      <a:pt x="1327" y="167"/>
                      <a:pt x="1327" y="167"/>
                    </a:cubicBezTo>
                    <a:cubicBezTo>
                      <a:pt x="1327" y="167"/>
                      <a:pt x="1327" y="167"/>
                      <a:pt x="1327" y="167"/>
                    </a:cubicBezTo>
                    <a:cubicBezTo>
                      <a:pt x="1328" y="167"/>
                      <a:pt x="1328" y="167"/>
                      <a:pt x="1328" y="167"/>
                    </a:cubicBezTo>
                    <a:cubicBezTo>
                      <a:pt x="1328" y="168"/>
                      <a:pt x="1328" y="168"/>
                      <a:pt x="1328" y="168"/>
                    </a:cubicBezTo>
                    <a:cubicBezTo>
                      <a:pt x="1328" y="168"/>
                      <a:pt x="1328" y="168"/>
                      <a:pt x="1328" y="168"/>
                    </a:cubicBezTo>
                    <a:cubicBezTo>
                      <a:pt x="1329" y="168"/>
                      <a:pt x="1329" y="168"/>
                      <a:pt x="1329" y="168"/>
                    </a:cubicBezTo>
                    <a:cubicBezTo>
                      <a:pt x="1330" y="170"/>
                      <a:pt x="1330" y="170"/>
                      <a:pt x="1330" y="172"/>
                    </a:cubicBezTo>
                    <a:cubicBezTo>
                      <a:pt x="1330" y="173"/>
                      <a:pt x="1330" y="173"/>
                      <a:pt x="1330" y="173"/>
                    </a:cubicBezTo>
                    <a:cubicBezTo>
                      <a:pt x="1331" y="173"/>
                      <a:pt x="1331" y="173"/>
                      <a:pt x="1331" y="173"/>
                    </a:cubicBezTo>
                    <a:cubicBezTo>
                      <a:pt x="1331" y="173"/>
                      <a:pt x="1331" y="173"/>
                      <a:pt x="1331" y="173"/>
                    </a:cubicBezTo>
                    <a:cubicBezTo>
                      <a:pt x="1331" y="174"/>
                      <a:pt x="1331" y="174"/>
                      <a:pt x="1331" y="174"/>
                    </a:cubicBezTo>
                    <a:cubicBezTo>
                      <a:pt x="1331" y="174"/>
                      <a:pt x="1331" y="174"/>
                      <a:pt x="1331" y="174"/>
                    </a:cubicBezTo>
                    <a:cubicBezTo>
                      <a:pt x="1331" y="174"/>
                      <a:pt x="1331" y="174"/>
                      <a:pt x="1331" y="174"/>
                    </a:cubicBezTo>
                    <a:cubicBezTo>
                      <a:pt x="1331" y="175"/>
                      <a:pt x="1331" y="175"/>
                      <a:pt x="1331" y="175"/>
                    </a:cubicBezTo>
                    <a:cubicBezTo>
                      <a:pt x="1331" y="175"/>
                      <a:pt x="1331" y="175"/>
                      <a:pt x="1331" y="175"/>
                    </a:cubicBezTo>
                    <a:cubicBezTo>
                      <a:pt x="1329" y="178"/>
                      <a:pt x="1329" y="178"/>
                      <a:pt x="1329" y="178"/>
                    </a:cubicBezTo>
                    <a:cubicBezTo>
                      <a:pt x="1326" y="181"/>
                      <a:pt x="1326" y="181"/>
                      <a:pt x="1326" y="181"/>
                    </a:cubicBezTo>
                    <a:cubicBezTo>
                      <a:pt x="1318" y="191"/>
                      <a:pt x="1318" y="191"/>
                      <a:pt x="1318" y="191"/>
                    </a:cubicBezTo>
                    <a:cubicBezTo>
                      <a:pt x="1315" y="195"/>
                      <a:pt x="1315" y="195"/>
                      <a:pt x="1315" y="195"/>
                    </a:cubicBezTo>
                    <a:cubicBezTo>
                      <a:pt x="1313" y="197"/>
                      <a:pt x="1313" y="197"/>
                      <a:pt x="1313" y="197"/>
                    </a:cubicBezTo>
                    <a:cubicBezTo>
                      <a:pt x="1311" y="199"/>
                      <a:pt x="1315" y="198"/>
                      <a:pt x="1315" y="200"/>
                    </a:cubicBezTo>
                    <a:cubicBezTo>
                      <a:pt x="1315" y="200"/>
                      <a:pt x="1315" y="200"/>
                      <a:pt x="1315" y="200"/>
                    </a:cubicBezTo>
                    <a:cubicBezTo>
                      <a:pt x="1315" y="201"/>
                      <a:pt x="1315" y="201"/>
                      <a:pt x="1315" y="201"/>
                    </a:cubicBezTo>
                    <a:cubicBezTo>
                      <a:pt x="1314" y="202"/>
                      <a:pt x="1313" y="203"/>
                      <a:pt x="1313" y="204"/>
                    </a:cubicBezTo>
                    <a:cubicBezTo>
                      <a:pt x="1313" y="205"/>
                      <a:pt x="1313" y="205"/>
                      <a:pt x="1313" y="205"/>
                    </a:cubicBezTo>
                    <a:cubicBezTo>
                      <a:pt x="1313" y="205"/>
                      <a:pt x="1313" y="205"/>
                      <a:pt x="1313" y="205"/>
                    </a:cubicBezTo>
                    <a:cubicBezTo>
                      <a:pt x="1312" y="206"/>
                      <a:pt x="1312" y="206"/>
                      <a:pt x="1312" y="206"/>
                    </a:cubicBezTo>
                    <a:cubicBezTo>
                      <a:pt x="1312" y="209"/>
                      <a:pt x="1312" y="209"/>
                      <a:pt x="1312" y="209"/>
                    </a:cubicBezTo>
                    <a:cubicBezTo>
                      <a:pt x="1309" y="215"/>
                      <a:pt x="1309" y="215"/>
                      <a:pt x="1309" y="215"/>
                    </a:cubicBezTo>
                    <a:cubicBezTo>
                      <a:pt x="1308" y="217"/>
                      <a:pt x="1308" y="217"/>
                      <a:pt x="1308" y="217"/>
                    </a:cubicBezTo>
                    <a:cubicBezTo>
                      <a:pt x="1308" y="219"/>
                      <a:pt x="1308" y="219"/>
                      <a:pt x="1308" y="219"/>
                    </a:cubicBezTo>
                    <a:cubicBezTo>
                      <a:pt x="1308" y="219"/>
                      <a:pt x="1308" y="219"/>
                      <a:pt x="1308" y="219"/>
                    </a:cubicBezTo>
                    <a:cubicBezTo>
                      <a:pt x="1308" y="219"/>
                      <a:pt x="1308" y="219"/>
                      <a:pt x="1308" y="219"/>
                    </a:cubicBezTo>
                    <a:cubicBezTo>
                      <a:pt x="1308" y="220"/>
                      <a:pt x="1308" y="220"/>
                      <a:pt x="1308" y="220"/>
                    </a:cubicBezTo>
                    <a:cubicBezTo>
                      <a:pt x="1309" y="220"/>
                      <a:pt x="1309" y="220"/>
                      <a:pt x="1309" y="220"/>
                    </a:cubicBezTo>
                    <a:cubicBezTo>
                      <a:pt x="1309" y="220"/>
                      <a:pt x="1309" y="220"/>
                      <a:pt x="1309" y="220"/>
                    </a:cubicBezTo>
                    <a:cubicBezTo>
                      <a:pt x="1309" y="221"/>
                      <a:pt x="1309" y="221"/>
                      <a:pt x="1309" y="221"/>
                    </a:cubicBezTo>
                    <a:cubicBezTo>
                      <a:pt x="1309" y="221"/>
                      <a:pt x="1309" y="221"/>
                      <a:pt x="1309" y="221"/>
                    </a:cubicBezTo>
                    <a:cubicBezTo>
                      <a:pt x="1309" y="221"/>
                      <a:pt x="1309" y="221"/>
                      <a:pt x="1309" y="221"/>
                    </a:cubicBezTo>
                    <a:cubicBezTo>
                      <a:pt x="1310" y="222"/>
                      <a:pt x="1310" y="222"/>
                      <a:pt x="1310" y="222"/>
                    </a:cubicBezTo>
                    <a:cubicBezTo>
                      <a:pt x="1310" y="222"/>
                      <a:pt x="1310" y="222"/>
                      <a:pt x="1310" y="222"/>
                    </a:cubicBezTo>
                    <a:cubicBezTo>
                      <a:pt x="1310" y="222"/>
                      <a:pt x="1310" y="222"/>
                      <a:pt x="1310" y="222"/>
                    </a:cubicBezTo>
                    <a:cubicBezTo>
                      <a:pt x="1311" y="224"/>
                      <a:pt x="1311" y="224"/>
                      <a:pt x="1313" y="225"/>
                    </a:cubicBezTo>
                    <a:cubicBezTo>
                      <a:pt x="1314" y="226"/>
                      <a:pt x="1314" y="226"/>
                      <a:pt x="1314" y="226"/>
                    </a:cubicBezTo>
                    <a:cubicBezTo>
                      <a:pt x="1314" y="226"/>
                      <a:pt x="1314" y="226"/>
                      <a:pt x="1314" y="226"/>
                    </a:cubicBezTo>
                    <a:cubicBezTo>
                      <a:pt x="1314" y="226"/>
                      <a:pt x="1314" y="226"/>
                      <a:pt x="1314" y="226"/>
                    </a:cubicBezTo>
                    <a:cubicBezTo>
                      <a:pt x="1314" y="227"/>
                      <a:pt x="1314" y="227"/>
                      <a:pt x="1314" y="227"/>
                    </a:cubicBezTo>
                    <a:cubicBezTo>
                      <a:pt x="1315" y="228"/>
                      <a:pt x="1316" y="229"/>
                      <a:pt x="1317" y="230"/>
                    </a:cubicBezTo>
                    <a:cubicBezTo>
                      <a:pt x="1317" y="230"/>
                      <a:pt x="1317" y="230"/>
                      <a:pt x="1317" y="230"/>
                    </a:cubicBezTo>
                    <a:cubicBezTo>
                      <a:pt x="1317" y="230"/>
                      <a:pt x="1317" y="230"/>
                      <a:pt x="1317" y="230"/>
                    </a:cubicBezTo>
                    <a:cubicBezTo>
                      <a:pt x="1317" y="231"/>
                      <a:pt x="1317" y="231"/>
                      <a:pt x="1317" y="231"/>
                    </a:cubicBezTo>
                    <a:cubicBezTo>
                      <a:pt x="1317" y="231"/>
                      <a:pt x="1317" y="231"/>
                      <a:pt x="1317" y="231"/>
                    </a:cubicBezTo>
                    <a:cubicBezTo>
                      <a:pt x="1317" y="231"/>
                      <a:pt x="1317" y="231"/>
                      <a:pt x="1317" y="231"/>
                    </a:cubicBezTo>
                    <a:cubicBezTo>
                      <a:pt x="1318" y="232"/>
                      <a:pt x="1318" y="232"/>
                      <a:pt x="1318" y="232"/>
                    </a:cubicBezTo>
                    <a:cubicBezTo>
                      <a:pt x="1318" y="232"/>
                      <a:pt x="1318" y="232"/>
                      <a:pt x="1318" y="232"/>
                    </a:cubicBezTo>
                    <a:cubicBezTo>
                      <a:pt x="1318" y="232"/>
                      <a:pt x="1318" y="232"/>
                      <a:pt x="1318" y="232"/>
                    </a:cubicBezTo>
                    <a:cubicBezTo>
                      <a:pt x="1318" y="233"/>
                      <a:pt x="1318" y="233"/>
                      <a:pt x="1318" y="233"/>
                    </a:cubicBezTo>
                    <a:cubicBezTo>
                      <a:pt x="1318" y="234"/>
                      <a:pt x="1318" y="234"/>
                      <a:pt x="1318" y="234"/>
                    </a:cubicBezTo>
                    <a:cubicBezTo>
                      <a:pt x="1317" y="237"/>
                      <a:pt x="1317" y="237"/>
                      <a:pt x="1317" y="237"/>
                    </a:cubicBezTo>
                    <a:cubicBezTo>
                      <a:pt x="1315" y="243"/>
                      <a:pt x="1315" y="243"/>
                      <a:pt x="1315" y="243"/>
                    </a:cubicBezTo>
                    <a:cubicBezTo>
                      <a:pt x="1315" y="245"/>
                      <a:pt x="1315" y="245"/>
                      <a:pt x="1315" y="245"/>
                    </a:cubicBezTo>
                    <a:cubicBezTo>
                      <a:pt x="1314" y="247"/>
                      <a:pt x="1314" y="247"/>
                      <a:pt x="1314" y="247"/>
                    </a:cubicBezTo>
                    <a:cubicBezTo>
                      <a:pt x="1315" y="247"/>
                      <a:pt x="1315" y="247"/>
                      <a:pt x="1315" y="247"/>
                    </a:cubicBezTo>
                    <a:cubicBezTo>
                      <a:pt x="1315" y="247"/>
                      <a:pt x="1315" y="247"/>
                      <a:pt x="1315" y="247"/>
                    </a:cubicBezTo>
                    <a:cubicBezTo>
                      <a:pt x="1315" y="248"/>
                      <a:pt x="1315" y="248"/>
                      <a:pt x="1315" y="248"/>
                    </a:cubicBezTo>
                    <a:cubicBezTo>
                      <a:pt x="1315" y="248"/>
                      <a:pt x="1315" y="248"/>
                      <a:pt x="1315" y="248"/>
                    </a:cubicBezTo>
                    <a:cubicBezTo>
                      <a:pt x="1316" y="248"/>
                      <a:pt x="1316" y="248"/>
                      <a:pt x="1316" y="248"/>
                    </a:cubicBezTo>
                    <a:cubicBezTo>
                      <a:pt x="1316" y="249"/>
                      <a:pt x="1316" y="249"/>
                      <a:pt x="1316" y="249"/>
                    </a:cubicBezTo>
                    <a:cubicBezTo>
                      <a:pt x="1316" y="249"/>
                      <a:pt x="1316" y="249"/>
                      <a:pt x="1316" y="249"/>
                    </a:cubicBezTo>
                    <a:cubicBezTo>
                      <a:pt x="1317" y="249"/>
                      <a:pt x="1317" y="249"/>
                      <a:pt x="1317" y="249"/>
                    </a:cubicBezTo>
                    <a:cubicBezTo>
                      <a:pt x="1317" y="249"/>
                      <a:pt x="1317" y="249"/>
                      <a:pt x="1317" y="249"/>
                    </a:cubicBezTo>
                    <a:cubicBezTo>
                      <a:pt x="1318" y="250"/>
                      <a:pt x="1319" y="251"/>
                      <a:pt x="1320" y="251"/>
                    </a:cubicBezTo>
                    <a:cubicBezTo>
                      <a:pt x="1320" y="251"/>
                      <a:pt x="1321" y="251"/>
                      <a:pt x="1322" y="251"/>
                    </a:cubicBezTo>
                    <a:cubicBezTo>
                      <a:pt x="1322" y="250"/>
                      <a:pt x="1322" y="250"/>
                      <a:pt x="1322" y="250"/>
                    </a:cubicBezTo>
                    <a:cubicBezTo>
                      <a:pt x="1323" y="250"/>
                      <a:pt x="1323" y="250"/>
                      <a:pt x="1323" y="250"/>
                    </a:cubicBezTo>
                    <a:cubicBezTo>
                      <a:pt x="1325" y="250"/>
                      <a:pt x="1326" y="248"/>
                      <a:pt x="1328" y="248"/>
                    </a:cubicBezTo>
                    <a:cubicBezTo>
                      <a:pt x="1328" y="248"/>
                      <a:pt x="1328" y="248"/>
                      <a:pt x="1328" y="248"/>
                    </a:cubicBezTo>
                    <a:cubicBezTo>
                      <a:pt x="1328" y="248"/>
                      <a:pt x="1328" y="248"/>
                      <a:pt x="1328" y="248"/>
                    </a:cubicBezTo>
                    <a:cubicBezTo>
                      <a:pt x="1329" y="248"/>
                      <a:pt x="1329" y="248"/>
                      <a:pt x="1329" y="248"/>
                    </a:cubicBezTo>
                    <a:cubicBezTo>
                      <a:pt x="1329" y="248"/>
                      <a:pt x="1329" y="248"/>
                      <a:pt x="1329" y="248"/>
                    </a:cubicBezTo>
                    <a:cubicBezTo>
                      <a:pt x="1330" y="248"/>
                      <a:pt x="1330" y="248"/>
                      <a:pt x="1331" y="248"/>
                    </a:cubicBezTo>
                    <a:cubicBezTo>
                      <a:pt x="1335" y="248"/>
                      <a:pt x="1338" y="249"/>
                      <a:pt x="1342" y="251"/>
                    </a:cubicBezTo>
                    <a:cubicBezTo>
                      <a:pt x="1343" y="251"/>
                      <a:pt x="1343" y="251"/>
                      <a:pt x="1343" y="251"/>
                    </a:cubicBezTo>
                    <a:cubicBezTo>
                      <a:pt x="1343" y="251"/>
                      <a:pt x="1343" y="251"/>
                      <a:pt x="1343" y="251"/>
                    </a:cubicBezTo>
                    <a:cubicBezTo>
                      <a:pt x="1344" y="251"/>
                      <a:pt x="1344" y="251"/>
                      <a:pt x="1344" y="251"/>
                    </a:cubicBezTo>
                    <a:cubicBezTo>
                      <a:pt x="1344" y="251"/>
                      <a:pt x="1344" y="251"/>
                      <a:pt x="1344" y="251"/>
                    </a:cubicBezTo>
                    <a:cubicBezTo>
                      <a:pt x="1345" y="251"/>
                      <a:pt x="1345" y="251"/>
                      <a:pt x="1345" y="251"/>
                    </a:cubicBezTo>
                    <a:cubicBezTo>
                      <a:pt x="1347" y="250"/>
                      <a:pt x="1347" y="250"/>
                      <a:pt x="1350" y="250"/>
                    </a:cubicBezTo>
                    <a:cubicBezTo>
                      <a:pt x="1350" y="250"/>
                      <a:pt x="1350" y="250"/>
                      <a:pt x="1350" y="250"/>
                    </a:cubicBezTo>
                    <a:cubicBezTo>
                      <a:pt x="1351" y="250"/>
                      <a:pt x="1351" y="250"/>
                      <a:pt x="1351" y="250"/>
                    </a:cubicBezTo>
                    <a:cubicBezTo>
                      <a:pt x="1354" y="250"/>
                      <a:pt x="1350" y="248"/>
                      <a:pt x="1355" y="246"/>
                    </a:cubicBezTo>
                    <a:cubicBezTo>
                      <a:pt x="1355" y="246"/>
                      <a:pt x="1355" y="246"/>
                      <a:pt x="1355" y="246"/>
                    </a:cubicBezTo>
                    <a:cubicBezTo>
                      <a:pt x="1356" y="246"/>
                      <a:pt x="1356" y="246"/>
                      <a:pt x="1356" y="246"/>
                    </a:cubicBezTo>
                    <a:cubicBezTo>
                      <a:pt x="1356" y="246"/>
                      <a:pt x="1356" y="246"/>
                      <a:pt x="1356" y="246"/>
                    </a:cubicBezTo>
                    <a:cubicBezTo>
                      <a:pt x="1357" y="246"/>
                      <a:pt x="1357" y="246"/>
                      <a:pt x="1357" y="246"/>
                    </a:cubicBezTo>
                    <a:cubicBezTo>
                      <a:pt x="1359" y="245"/>
                      <a:pt x="1359" y="244"/>
                      <a:pt x="1362" y="243"/>
                    </a:cubicBezTo>
                    <a:cubicBezTo>
                      <a:pt x="1362" y="243"/>
                      <a:pt x="1362" y="243"/>
                      <a:pt x="1362" y="243"/>
                    </a:cubicBezTo>
                    <a:cubicBezTo>
                      <a:pt x="1363" y="243"/>
                      <a:pt x="1363" y="243"/>
                      <a:pt x="1363" y="243"/>
                    </a:cubicBezTo>
                    <a:cubicBezTo>
                      <a:pt x="1363" y="242"/>
                      <a:pt x="1364" y="242"/>
                      <a:pt x="1366" y="242"/>
                    </a:cubicBezTo>
                    <a:cubicBezTo>
                      <a:pt x="1366" y="242"/>
                      <a:pt x="1367" y="242"/>
                      <a:pt x="1368" y="242"/>
                    </a:cubicBezTo>
                    <a:cubicBezTo>
                      <a:pt x="1369" y="243"/>
                      <a:pt x="1369" y="243"/>
                      <a:pt x="1369" y="243"/>
                    </a:cubicBezTo>
                    <a:cubicBezTo>
                      <a:pt x="1370" y="243"/>
                      <a:pt x="1370" y="243"/>
                      <a:pt x="1370" y="243"/>
                    </a:cubicBezTo>
                    <a:cubicBezTo>
                      <a:pt x="1370" y="243"/>
                      <a:pt x="1370" y="243"/>
                      <a:pt x="1370" y="243"/>
                    </a:cubicBezTo>
                    <a:cubicBezTo>
                      <a:pt x="1371" y="243"/>
                      <a:pt x="1371" y="243"/>
                      <a:pt x="1371" y="243"/>
                    </a:cubicBezTo>
                    <a:cubicBezTo>
                      <a:pt x="1371" y="243"/>
                      <a:pt x="1371" y="243"/>
                      <a:pt x="1371" y="243"/>
                    </a:cubicBezTo>
                    <a:cubicBezTo>
                      <a:pt x="1372" y="243"/>
                      <a:pt x="1372" y="243"/>
                      <a:pt x="1372" y="243"/>
                    </a:cubicBezTo>
                    <a:cubicBezTo>
                      <a:pt x="1372" y="243"/>
                      <a:pt x="1373" y="243"/>
                      <a:pt x="1373" y="243"/>
                    </a:cubicBezTo>
                    <a:cubicBezTo>
                      <a:pt x="1375" y="243"/>
                      <a:pt x="1376" y="243"/>
                      <a:pt x="1376" y="243"/>
                    </a:cubicBezTo>
                    <a:cubicBezTo>
                      <a:pt x="1377" y="243"/>
                      <a:pt x="1378" y="243"/>
                      <a:pt x="1378" y="243"/>
                    </a:cubicBezTo>
                    <a:cubicBezTo>
                      <a:pt x="1379" y="243"/>
                      <a:pt x="1380" y="243"/>
                      <a:pt x="1384" y="246"/>
                    </a:cubicBezTo>
                    <a:cubicBezTo>
                      <a:pt x="1385" y="246"/>
                      <a:pt x="1385" y="246"/>
                      <a:pt x="1385" y="246"/>
                    </a:cubicBezTo>
                    <a:cubicBezTo>
                      <a:pt x="1385" y="246"/>
                      <a:pt x="1385" y="246"/>
                      <a:pt x="1385" y="246"/>
                    </a:cubicBezTo>
                    <a:cubicBezTo>
                      <a:pt x="1386" y="246"/>
                      <a:pt x="1386" y="246"/>
                      <a:pt x="1386" y="246"/>
                    </a:cubicBezTo>
                    <a:cubicBezTo>
                      <a:pt x="1388" y="247"/>
                      <a:pt x="1388" y="248"/>
                      <a:pt x="1391" y="248"/>
                    </a:cubicBezTo>
                    <a:cubicBezTo>
                      <a:pt x="1392" y="248"/>
                      <a:pt x="1392" y="248"/>
                      <a:pt x="1392" y="248"/>
                    </a:cubicBezTo>
                    <a:cubicBezTo>
                      <a:pt x="1393" y="248"/>
                      <a:pt x="1393" y="248"/>
                      <a:pt x="1393" y="248"/>
                    </a:cubicBezTo>
                    <a:cubicBezTo>
                      <a:pt x="1394" y="248"/>
                      <a:pt x="1394" y="248"/>
                      <a:pt x="1395" y="248"/>
                    </a:cubicBezTo>
                    <a:cubicBezTo>
                      <a:pt x="1395" y="248"/>
                      <a:pt x="1395" y="248"/>
                      <a:pt x="1396" y="248"/>
                    </a:cubicBezTo>
                    <a:cubicBezTo>
                      <a:pt x="1396" y="248"/>
                      <a:pt x="1397" y="248"/>
                      <a:pt x="1398" y="248"/>
                    </a:cubicBezTo>
                    <a:cubicBezTo>
                      <a:pt x="1398" y="248"/>
                      <a:pt x="1398" y="248"/>
                      <a:pt x="1398" y="248"/>
                    </a:cubicBezTo>
                    <a:cubicBezTo>
                      <a:pt x="1399" y="248"/>
                      <a:pt x="1399" y="248"/>
                      <a:pt x="1399" y="248"/>
                    </a:cubicBezTo>
                    <a:cubicBezTo>
                      <a:pt x="1399" y="249"/>
                      <a:pt x="1399" y="249"/>
                      <a:pt x="1399" y="249"/>
                    </a:cubicBezTo>
                    <a:cubicBezTo>
                      <a:pt x="1400" y="249"/>
                      <a:pt x="1400" y="249"/>
                      <a:pt x="1400" y="249"/>
                    </a:cubicBezTo>
                    <a:cubicBezTo>
                      <a:pt x="1400" y="249"/>
                      <a:pt x="1400" y="249"/>
                      <a:pt x="1400" y="249"/>
                    </a:cubicBezTo>
                    <a:cubicBezTo>
                      <a:pt x="1400" y="249"/>
                      <a:pt x="1400" y="249"/>
                      <a:pt x="1400" y="249"/>
                    </a:cubicBezTo>
                    <a:cubicBezTo>
                      <a:pt x="1402" y="250"/>
                      <a:pt x="1401" y="252"/>
                      <a:pt x="1403" y="253"/>
                    </a:cubicBezTo>
                    <a:cubicBezTo>
                      <a:pt x="1403" y="253"/>
                      <a:pt x="1403" y="253"/>
                      <a:pt x="1403" y="253"/>
                    </a:cubicBezTo>
                    <a:cubicBezTo>
                      <a:pt x="1403" y="254"/>
                      <a:pt x="1403" y="254"/>
                      <a:pt x="1403" y="254"/>
                    </a:cubicBezTo>
                    <a:cubicBezTo>
                      <a:pt x="1404" y="255"/>
                      <a:pt x="1406" y="254"/>
                      <a:pt x="1407" y="255"/>
                    </a:cubicBezTo>
                    <a:cubicBezTo>
                      <a:pt x="1407" y="255"/>
                      <a:pt x="1407" y="255"/>
                      <a:pt x="1407" y="255"/>
                    </a:cubicBezTo>
                    <a:cubicBezTo>
                      <a:pt x="1408" y="255"/>
                      <a:pt x="1408" y="255"/>
                      <a:pt x="1408" y="255"/>
                    </a:cubicBezTo>
                    <a:cubicBezTo>
                      <a:pt x="1408" y="255"/>
                      <a:pt x="1408" y="255"/>
                      <a:pt x="1408" y="255"/>
                    </a:cubicBezTo>
                    <a:cubicBezTo>
                      <a:pt x="1417" y="255"/>
                      <a:pt x="1415" y="259"/>
                      <a:pt x="1421" y="259"/>
                    </a:cubicBezTo>
                    <a:cubicBezTo>
                      <a:pt x="1421" y="259"/>
                      <a:pt x="1421" y="259"/>
                      <a:pt x="1421" y="259"/>
                    </a:cubicBezTo>
                    <a:cubicBezTo>
                      <a:pt x="1422" y="259"/>
                      <a:pt x="1422" y="259"/>
                      <a:pt x="1422" y="259"/>
                    </a:cubicBezTo>
                    <a:cubicBezTo>
                      <a:pt x="1422" y="259"/>
                      <a:pt x="1422" y="259"/>
                      <a:pt x="1422" y="259"/>
                    </a:cubicBezTo>
                    <a:cubicBezTo>
                      <a:pt x="1423" y="259"/>
                      <a:pt x="1423" y="259"/>
                      <a:pt x="1423" y="259"/>
                    </a:cubicBezTo>
                    <a:cubicBezTo>
                      <a:pt x="1423" y="259"/>
                      <a:pt x="1423" y="259"/>
                      <a:pt x="1423" y="259"/>
                    </a:cubicBezTo>
                    <a:cubicBezTo>
                      <a:pt x="1424" y="260"/>
                      <a:pt x="1424" y="260"/>
                      <a:pt x="1424" y="260"/>
                    </a:cubicBezTo>
                    <a:cubicBezTo>
                      <a:pt x="1425" y="263"/>
                      <a:pt x="1425" y="263"/>
                      <a:pt x="1425" y="263"/>
                    </a:cubicBezTo>
                    <a:cubicBezTo>
                      <a:pt x="1426" y="270"/>
                      <a:pt x="1426" y="270"/>
                      <a:pt x="1426" y="270"/>
                    </a:cubicBezTo>
                    <a:cubicBezTo>
                      <a:pt x="1427" y="273"/>
                      <a:pt x="1427" y="273"/>
                      <a:pt x="1427" y="273"/>
                    </a:cubicBezTo>
                    <a:cubicBezTo>
                      <a:pt x="1427" y="275"/>
                      <a:pt x="1427" y="275"/>
                      <a:pt x="1427" y="275"/>
                    </a:cubicBezTo>
                    <a:cubicBezTo>
                      <a:pt x="1427" y="275"/>
                      <a:pt x="1427" y="275"/>
                      <a:pt x="1427" y="275"/>
                    </a:cubicBezTo>
                    <a:cubicBezTo>
                      <a:pt x="1428" y="275"/>
                      <a:pt x="1428" y="275"/>
                      <a:pt x="1428" y="275"/>
                    </a:cubicBezTo>
                    <a:cubicBezTo>
                      <a:pt x="1428" y="276"/>
                      <a:pt x="1428" y="276"/>
                      <a:pt x="1428" y="276"/>
                    </a:cubicBezTo>
                    <a:cubicBezTo>
                      <a:pt x="1428" y="278"/>
                      <a:pt x="1428" y="278"/>
                      <a:pt x="1428" y="278"/>
                    </a:cubicBezTo>
                    <a:cubicBezTo>
                      <a:pt x="1429" y="279"/>
                      <a:pt x="1429" y="279"/>
                      <a:pt x="1429" y="279"/>
                    </a:cubicBezTo>
                    <a:cubicBezTo>
                      <a:pt x="1429" y="279"/>
                      <a:pt x="1429" y="279"/>
                      <a:pt x="1429" y="279"/>
                    </a:cubicBezTo>
                    <a:cubicBezTo>
                      <a:pt x="1430" y="279"/>
                      <a:pt x="1430" y="279"/>
                      <a:pt x="1430" y="279"/>
                    </a:cubicBezTo>
                    <a:cubicBezTo>
                      <a:pt x="1430" y="279"/>
                      <a:pt x="1430" y="279"/>
                      <a:pt x="1430" y="279"/>
                    </a:cubicBezTo>
                    <a:cubicBezTo>
                      <a:pt x="1431" y="279"/>
                      <a:pt x="1431" y="279"/>
                      <a:pt x="1431" y="279"/>
                    </a:cubicBezTo>
                    <a:cubicBezTo>
                      <a:pt x="1431" y="279"/>
                      <a:pt x="1431" y="279"/>
                      <a:pt x="1431" y="279"/>
                    </a:cubicBezTo>
                    <a:cubicBezTo>
                      <a:pt x="1432" y="281"/>
                      <a:pt x="1432" y="281"/>
                      <a:pt x="1432" y="281"/>
                    </a:cubicBezTo>
                    <a:cubicBezTo>
                      <a:pt x="1432" y="282"/>
                      <a:pt x="1432" y="282"/>
                      <a:pt x="1432" y="282"/>
                    </a:cubicBezTo>
                    <a:cubicBezTo>
                      <a:pt x="1433" y="282"/>
                      <a:pt x="1433" y="282"/>
                      <a:pt x="1433" y="282"/>
                    </a:cubicBezTo>
                    <a:cubicBezTo>
                      <a:pt x="1433" y="283"/>
                      <a:pt x="1433" y="283"/>
                      <a:pt x="1433" y="283"/>
                    </a:cubicBezTo>
                    <a:cubicBezTo>
                      <a:pt x="1433" y="284"/>
                      <a:pt x="1433" y="284"/>
                      <a:pt x="1433" y="284"/>
                    </a:cubicBezTo>
                    <a:cubicBezTo>
                      <a:pt x="1434" y="285"/>
                      <a:pt x="1434" y="285"/>
                      <a:pt x="1434" y="285"/>
                    </a:cubicBezTo>
                    <a:cubicBezTo>
                      <a:pt x="1434" y="285"/>
                      <a:pt x="1434" y="285"/>
                      <a:pt x="1434" y="285"/>
                    </a:cubicBezTo>
                    <a:cubicBezTo>
                      <a:pt x="1434" y="285"/>
                      <a:pt x="1434" y="285"/>
                      <a:pt x="1434" y="285"/>
                    </a:cubicBezTo>
                    <a:cubicBezTo>
                      <a:pt x="1435" y="286"/>
                      <a:pt x="1436" y="286"/>
                      <a:pt x="1437" y="287"/>
                    </a:cubicBezTo>
                    <a:cubicBezTo>
                      <a:pt x="1439" y="290"/>
                      <a:pt x="1439" y="290"/>
                      <a:pt x="1439" y="290"/>
                    </a:cubicBezTo>
                    <a:cubicBezTo>
                      <a:pt x="1439" y="291"/>
                      <a:pt x="1439" y="291"/>
                      <a:pt x="1439" y="291"/>
                    </a:cubicBezTo>
                    <a:cubicBezTo>
                      <a:pt x="1439" y="292"/>
                      <a:pt x="1439" y="292"/>
                      <a:pt x="1439" y="292"/>
                    </a:cubicBezTo>
                    <a:cubicBezTo>
                      <a:pt x="1439" y="292"/>
                      <a:pt x="1439" y="292"/>
                      <a:pt x="1439" y="292"/>
                    </a:cubicBezTo>
                    <a:cubicBezTo>
                      <a:pt x="1438" y="292"/>
                      <a:pt x="1438" y="292"/>
                      <a:pt x="1438" y="292"/>
                    </a:cubicBezTo>
                    <a:cubicBezTo>
                      <a:pt x="1436" y="292"/>
                      <a:pt x="1433" y="293"/>
                      <a:pt x="1430" y="293"/>
                    </a:cubicBezTo>
                    <a:cubicBezTo>
                      <a:pt x="1430" y="293"/>
                      <a:pt x="1430" y="293"/>
                      <a:pt x="1430" y="293"/>
                    </a:cubicBezTo>
                    <a:cubicBezTo>
                      <a:pt x="1429" y="293"/>
                      <a:pt x="1429" y="293"/>
                      <a:pt x="1429" y="293"/>
                    </a:cubicBezTo>
                    <a:cubicBezTo>
                      <a:pt x="1423" y="294"/>
                      <a:pt x="1420" y="300"/>
                      <a:pt x="1420" y="305"/>
                    </a:cubicBezTo>
                    <a:cubicBezTo>
                      <a:pt x="1421" y="306"/>
                      <a:pt x="1421" y="306"/>
                      <a:pt x="1421" y="306"/>
                    </a:cubicBezTo>
                    <a:cubicBezTo>
                      <a:pt x="1422" y="307"/>
                      <a:pt x="1422" y="307"/>
                      <a:pt x="1422" y="307"/>
                    </a:cubicBezTo>
                    <a:cubicBezTo>
                      <a:pt x="1422" y="308"/>
                      <a:pt x="1422" y="308"/>
                      <a:pt x="1422" y="308"/>
                    </a:cubicBezTo>
                    <a:cubicBezTo>
                      <a:pt x="1422" y="310"/>
                      <a:pt x="1422" y="310"/>
                      <a:pt x="1422" y="310"/>
                    </a:cubicBezTo>
                    <a:cubicBezTo>
                      <a:pt x="1420" y="313"/>
                      <a:pt x="1420" y="313"/>
                      <a:pt x="1420" y="313"/>
                    </a:cubicBezTo>
                    <a:cubicBezTo>
                      <a:pt x="1420" y="315"/>
                      <a:pt x="1420" y="315"/>
                      <a:pt x="1420" y="315"/>
                    </a:cubicBezTo>
                    <a:cubicBezTo>
                      <a:pt x="1420" y="316"/>
                      <a:pt x="1420" y="316"/>
                      <a:pt x="1420" y="316"/>
                    </a:cubicBezTo>
                    <a:cubicBezTo>
                      <a:pt x="1420" y="316"/>
                      <a:pt x="1420" y="316"/>
                      <a:pt x="1420" y="316"/>
                    </a:cubicBezTo>
                    <a:cubicBezTo>
                      <a:pt x="1420" y="316"/>
                      <a:pt x="1420" y="316"/>
                      <a:pt x="1420" y="316"/>
                    </a:cubicBezTo>
                    <a:cubicBezTo>
                      <a:pt x="1421" y="317"/>
                      <a:pt x="1421" y="317"/>
                      <a:pt x="1421" y="317"/>
                    </a:cubicBezTo>
                    <a:cubicBezTo>
                      <a:pt x="1421" y="317"/>
                      <a:pt x="1421" y="317"/>
                      <a:pt x="1421" y="317"/>
                    </a:cubicBezTo>
                    <a:cubicBezTo>
                      <a:pt x="1422" y="317"/>
                      <a:pt x="1422" y="317"/>
                      <a:pt x="1422" y="317"/>
                    </a:cubicBezTo>
                    <a:cubicBezTo>
                      <a:pt x="1422" y="317"/>
                      <a:pt x="1422" y="317"/>
                      <a:pt x="1422" y="317"/>
                    </a:cubicBezTo>
                    <a:cubicBezTo>
                      <a:pt x="1423" y="317"/>
                      <a:pt x="1423" y="317"/>
                      <a:pt x="1423" y="317"/>
                    </a:cubicBezTo>
                    <a:cubicBezTo>
                      <a:pt x="1423" y="317"/>
                      <a:pt x="1423" y="317"/>
                      <a:pt x="1423" y="317"/>
                    </a:cubicBezTo>
                    <a:cubicBezTo>
                      <a:pt x="1424" y="317"/>
                      <a:pt x="1424" y="317"/>
                      <a:pt x="1424" y="317"/>
                    </a:cubicBezTo>
                    <a:cubicBezTo>
                      <a:pt x="1424" y="318"/>
                      <a:pt x="1424" y="318"/>
                      <a:pt x="1424" y="318"/>
                    </a:cubicBezTo>
                    <a:cubicBezTo>
                      <a:pt x="1425" y="318"/>
                      <a:pt x="1425" y="318"/>
                      <a:pt x="1425" y="318"/>
                    </a:cubicBezTo>
                    <a:cubicBezTo>
                      <a:pt x="1425" y="318"/>
                      <a:pt x="1425" y="318"/>
                      <a:pt x="1425" y="318"/>
                    </a:cubicBezTo>
                    <a:cubicBezTo>
                      <a:pt x="1426" y="318"/>
                      <a:pt x="1426" y="318"/>
                      <a:pt x="1426" y="318"/>
                    </a:cubicBezTo>
                    <a:cubicBezTo>
                      <a:pt x="1426" y="317"/>
                      <a:pt x="1426" y="317"/>
                      <a:pt x="1426" y="317"/>
                    </a:cubicBezTo>
                    <a:cubicBezTo>
                      <a:pt x="1427" y="317"/>
                      <a:pt x="1427" y="317"/>
                      <a:pt x="1427" y="317"/>
                    </a:cubicBezTo>
                    <a:cubicBezTo>
                      <a:pt x="1427" y="317"/>
                      <a:pt x="1427" y="317"/>
                      <a:pt x="1427" y="317"/>
                    </a:cubicBezTo>
                    <a:cubicBezTo>
                      <a:pt x="1427" y="317"/>
                      <a:pt x="1427" y="317"/>
                      <a:pt x="1427" y="317"/>
                    </a:cubicBezTo>
                    <a:cubicBezTo>
                      <a:pt x="1428" y="317"/>
                      <a:pt x="1428" y="317"/>
                      <a:pt x="1428" y="317"/>
                    </a:cubicBezTo>
                    <a:cubicBezTo>
                      <a:pt x="1428" y="316"/>
                      <a:pt x="1428" y="316"/>
                      <a:pt x="1428" y="316"/>
                    </a:cubicBezTo>
                    <a:cubicBezTo>
                      <a:pt x="1428" y="316"/>
                      <a:pt x="1428" y="316"/>
                      <a:pt x="1428" y="316"/>
                    </a:cubicBezTo>
                    <a:cubicBezTo>
                      <a:pt x="1428" y="315"/>
                      <a:pt x="1428" y="315"/>
                      <a:pt x="1428" y="315"/>
                    </a:cubicBezTo>
                    <a:cubicBezTo>
                      <a:pt x="1428" y="315"/>
                      <a:pt x="1428" y="315"/>
                      <a:pt x="1428" y="315"/>
                    </a:cubicBezTo>
                    <a:cubicBezTo>
                      <a:pt x="1429" y="315"/>
                      <a:pt x="1429" y="315"/>
                      <a:pt x="1429" y="315"/>
                    </a:cubicBezTo>
                    <a:cubicBezTo>
                      <a:pt x="1429" y="316"/>
                      <a:pt x="1429" y="316"/>
                      <a:pt x="1429" y="316"/>
                    </a:cubicBezTo>
                    <a:cubicBezTo>
                      <a:pt x="1429" y="316"/>
                      <a:pt x="1429" y="316"/>
                      <a:pt x="1429" y="316"/>
                    </a:cubicBezTo>
                    <a:cubicBezTo>
                      <a:pt x="1431" y="319"/>
                      <a:pt x="1431" y="320"/>
                      <a:pt x="1432" y="320"/>
                    </a:cubicBezTo>
                    <a:cubicBezTo>
                      <a:pt x="1432" y="320"/>
                      <a:pt x="1433" y="319"/>
                      <a:pt x="1434" y="319"/>
                    </a:cubicBezTo>
                    <a:cubicBezTo>
                      <a:pt x="1435" y="319"/>
                      <a:pt x="1435" y="319"/>
                      <a:pt x="1435" y="319"/>
                    </a:cubicBezTo>
                    <a:cubicBezTo>
                      <a:pt x="1435" y="319"/>
                      <a:pt x="1435" y="319"/>
                      <a:pt x="1435" y="319"/>
                    </a:cubicBezTo>
                    <a:cubicBezTo>
                      <a:pt x="1435" y="319"/>
                      <a:pt x="1435" y="319"/>
                      <a:pt x="1435" y="319"/>
                    </a:cubicBezTo>
                    <a:cubicBezTo>
                      <a:pt x="1436" y="320"/>
                      <a:pt x="1436" y="320"/>
                      <a:pt x="1437" y="320"/>
                    </a:cubicBezTo>
                    <a:cubicBezTo>
                      <a:pt x="1437" y="321"/>
                      <a:pt x="1437" y="321"/>
                      <a:pt x="1437" y="321"/>
                    </a:cubicBezTo>
                    <a:cubicBezTo>
                      <a:pt x="1438" y="321"/>
                      <a:pt x="1438" y="321"/>
                      <a:pt x="1438" y="321"/>
                    </a:cubicBezTo>
                    <a:cubicBezTo>
                      <a:pt x="1438" y="321"/>
                      <a:pt x="1439" y="321"/>
                      <a:pt x="1439" y="321"/>
                    </a:cubicBezTo>
                    <a:cubicBezTo>
                      <a:pt x="1439" y="321"/>
                      <a:pt x="1440" y="321"/>
                      <a:pt x="1440" y="320"/>
                    </a:cubicBezTo>
                    <a:cubicBezTo>
                      <a:pt x="1440" y="320"/>
                      <a:pt x="1440" y="320"/>
                      <a:pt x="1440" y="320"/>
                    </a:cubicBezTo>
                    <a:cubicBezTo>
                      <a:pt x="1441" y="320"/>
                      <a:pt x="1441" y="320"/>
                      <a:pt x="1441" y="320"/>
                    </a:cubicBezTo>
                    <a:cubicBezTo>
                      <a:pt x="1441" y="321"/>
                      <a:pt x="1441" y="321"/>
                      <a:pt x="1441" y="321"/>
                    </a:cubicBezTo>
                    <a:cubicBezTo>
                      <a:pt x="1442" y="321"/>
                      <a:pt x="1442" y="321"/>
                      <a:pt x="1442" y="321"/>
                    </a:cubicBezTo>
                    <a:cubicBezTo>
                      <a:pt x="1442" y="321"/>
                      <a:pt x="1442" y="321"/>
                      <a:pt x="1442" y="321"/>
                    </a:cubicBezTo>
                    <a:cubicBezTo>
                      <a:pt x="1443" y="321"/>
                      <a:pt x="1443" y="321"/>
                      <a:pt x="1443" y="321"/>
                    </a:cubicBezTo>
                    <a:cubicBezTo>
                      <a:pt x="1443" y="320"/>
                      <a:pt x="1443" y="320"/>
                      <a:pt x="1444" y="320"/>
                    </a:cubicBezTo>
                    <a:cubicBezTo>
                      <a:pt x="1444" y="320"/>
                      <a:pt x="1444" y="320"/>
                      <a:pt x="1445" y="320"/>
                    </a:cubicBezTo>
                    <a:cubicBezTo>
                      <a:pt x="1445" y="321"/>
                      <a:pt x="1445" y="321"/>
                      <a:pt x="1445" y="321"/>
                    </a:cubicBezTo>
                    <a:cubicBezTo>
                      <a:pt x="1445" y="321"/>
                      <a:pt x="1445" y="321"/>
                      <a:pt x="1445" y="321"/>
                    </a:cubicBezTo>
                    <a:cubicBezTo>
                      <a:pt x="1445" y="321"/>
                      <a:pt x="1445" y="321"/>
                      <a:pt x="1445" y="321"/>
                    </a:cubicBezTo>
                    <a:cubicBezTo>
                      <a:pt x="1446" y="322"/>
                      <a:pt x="1446" y="322"/>
                      <a:pt x="1446" y="322"/>
                    </a:cubicBezTo>
                    <a:cubicBezTo>
                      <a:pt x="1446" y="322"/>
                      <a:pt x="1446" y="322"/>
                      <a:pt x="1446" y="322"/>
                    </a:cubicBezTo>
                    <a:cubicBezTo>
                      <a:pt x="1446" y="322"/>
                      <a:pt x="1446" y="322"/>
                      <a:pt x="1446" y="322"/>
                    </a:cubicBezTo>
                    <a:cubicBezTo>
                      <a:pt x="1447" y="321"/>
                      <a:pt x="1447" y="321"/>
                      <a:pt x="1447" y="321"/>
                    </a:cubicBezTo>
                    <a:cubicBezTo>
                      <a:pt x="1447" y="321"/>
                      <a:pt x="1447" y="321"/>
                      <a:pt x="1447" y="321"/>
                    </a:cubicBezTo>
                    <a:cubicBezTo>
                      <a:pt x="1447" y="320"/>
                      <a:pt x="1447" y="320"/>
                      <a:pt x="1447" y="320"/>
                    </a:cubicBezTo>
                    <a:cubicBezTo>
                      <a:pt x="1447" y="320"/>
                      <a:pt x="1447" y="320"/>
                      <a:pt x="1447" y="320"/>
                    </a:cubicBezTo>
                    <a:cubicBezTo>
                      <a:pt x="1447" y="320"/>
                      <a:pt x="1447" y="320"/>
                      <a:pt x="1447" y="320"/>
                    </a:cubicBezTo>
                    <a:cubicBezTo>
                      <a:pt x="1447" y="319"/>
                      <a:pt x="1447" y="319"/>
                      <a:pt x="1447" y="319"/>
                    </a:cubicBezTo>
                    <a:cubicBezTo>
                      <a:pt x="1447" y="319"/>
                      <a:pt x="1447" y="319"/>
                      <a:pt x="1447" y="319"/>
                    </a:cubicBezTo>
                    <a:cubicBezTo>
                      <a:pt x="1447" y="319"/>
                      <a:pt x="1447" y="319"/>
                      <a:pt x="1447" y="319"/>
                    </a:cubicBezTo>
                    <a:cubicBezTo>
                      <a:pt x="1447" y="319"/>
                      <a:pt x="1447" y="319"/>
                      <a:pt x="1447" y="319"/>
                    </a:cubicBezTo>
                    <a:cubicBezTo>
                      <a:pt x="1448" y="319"/>
                      <a:pt x="1448" y="319"/>
                      <a:pt x="1448" y="319"/>
                    </a:cubicBezTo>
                    <a:cubicBezTo>
                      <a:pt x="1448" y="319"/>
                      <a:pt x="1448" y="319"/>
                      <a:pt x="1448" y="319"/>
                    </a:cubicBezTo>
                    <a:cubicBezTo>
                      <a:pt x="1448" y="319"/>
                      <a:pt x="1448" y="319"/>
                      <a:pt x="1448" y="319"/>
                    </a:cubicBezTo>
                    <a:cubicBezTo>
                      <a:pt x="1448" y="320"/>
                      <a:pt x="1448" y="320"/>
                      <a:pt x="1448" y="320"/>
                    </a:cubicBezTo>
                    <a:cubicBezTo>
                      <a:pt x="1448" y="320"/>
                      <a:pt x="1448" y="320"/>
                      <a:pt x="1448" y="320"/>
                    </a:cubicBezTo>
                    <a:cubicBezTo>
                      <a:pt x="1448" y="320"/>
                      <a:pt x="1448" y="320"/>
                      <a:pt x="1448" y="320"/>
                    </a:cubicBezTo>
                    <a:cubicBezTo>
                      <a:pt x="1449" y="321"/>
                      <a:pt x="1449" y="321"/>
                      <a:pt x="1449" y="321"/>
                    </a:cubicBezTo>
                    <a:cubicBezTo>
                      <a:pt x="1450" y="321"/>
                      <a:pt x="1450" y="321"/>
                      <a:pt x="1450" y="321"/>
                    </a:cubicBezTo>
                    <a:cubicBezTo>
                      <a:pt x="1452" y="321"/>
                      <a:pt x="1452" y="321"/>
                      <a:pt x="1452" y="321"/>
                    </a:cubicBezTo>
                    <a:cubicBezTo>
                      <a:pt x="1452" y="322"/>
                      <a:pt x="1452" y="322"/>
                      <a:pt x="1452" y="322"/>
                    </a:cubicBezTo>
                    <a:cubicBezTo>
                      <a:pt x="1452" y="322"/>
                      <a:pt x="1452" y="322"/>
                      <a:pt x="1452" y="322"/>
                    </a:cubicBezTo>
                    <a:cubicBezTo>
                      <a:pt x="1451" y="322"/>
                      <a:pt x="1451" y="322"/>
                      <a:pt x="1451" y="322"/>
                    </a:cubicBezTo>
                    <a:cubicBezTo>
                      <a:pt x="1451" y="322"/>
                      <a:pt x="1451" y="322"/>
                      <a:pt x="1451" y="322"/>
                    </a:cubicBezTo>
                    <a:cubicBezTo>
                      <a:pt x="1449" y="322"/>
                      <a:pt x="1449" y="322"/>
                      <a:pt x="1449" y="322"/>
                    </a:cubicBezTo>
                    <a:cubicBezTo>
                      <a:pt x="1449" y="322"/>
                      <a:pt x="1449" y="322"/>
                      <a:pt x="1449" y="322"/>
                    </a:cubicBezTo>
                    <a:cubicBezTo>
                      <a:pt x="1449" y="323"/>
                      <a:pt x="1449" y="323"/>
                      <a:pt x="1449" y="323"/>
                    </a:cubicBezTo>
                    <a:cubicBezTo>
                      <a:pt x="1449" y="323"/>
                      <a:pt x="1449" y="323"/>
                      <a:pt x="1449" y="323"/>
                    </a:cubicBezTo>
                    <a:cubicBezTo>
                      <a:pt x="1450" y="323"/>
                      <a:pt x="1451" y="323"/>
                      <a:pt x="1452" y="323"/>
                    </a:cubicBezTo>
                    <a:cubicBezTo>
                      <a:pt x="1453" y="323"/>
                      <a:pt x="1454" y="323"/>
                      <a:pt x="1455" y="322"/>
                    </a:cubicBezTo>
                    <a:cubicBezTo>
                      <a:pt x="1455" y="322"/>
                      <a:pt x="1455" y="322"/>
                      <a:pt x="1455" y="322"/>
                    </a:cubicBezTo>
                    <a:cubicBezTo>
                      <a:pt x="1455" y="322"/>
                      <a:pt x="1455" y="322"/>
                      <a:pt x="1455" y="322"/>
                    </a:cubicBezTo>
                    <a:cubicBezTo>
                      <a:pt x="1455" y="321"/>
                      <a:pt x="1455" y="321"/>
                      <a:pt x="1455" y="321"/>
                    </a:cubicBezTo>
                    <a:cubicBezTo>
                      <a:pt x="1456" y="321"/>
                      <a:pt x="1456" y="321"/>
                      <a:pt x="1456" y="321"/>
                    </a:cubicBezTo>
                    <a:cubicBezTo>
                      <a:pt x="1456" y="321"/>
                      <a:pt x="1456" y="321"/>
                      <a:pt x="1456" y="321"/>
                    </a:cubicBezTo>
                    <a:cubicBezTo>
                      <a:pt x="1457" y="321"/>
                      <a:pt x="1457" y="321"/>
                      <a:pt x="1457" y="321"/>
                    </a:cubicBezTo>
                    <a:cubicBezTo>
                      <a:pt x="1457" y="321"/>
                      <a:pt x="1457" y="321"/>
                      <a:pt x="1457" y="321"/>
                    </a:cubicBezTo>
                    <a:cubicBezTo>
                      <a:pt x="1458" y="322"/>
                      <a:pt x="1458" y="322"/>
                      <a:pt x="1458" y="322"/>
                    </a:cubicBezTo>
                    <a:cubicBezTo>
                      <a:pt x="1458" y="323"/>
                      <a:pt x="1458" y="323"/>
                      <a:pt x="1458" y="323"/>
                    </a:cubicBezTo>
                    <a:cubicBezTo>
                      <a:pt x="1459" y="323"/>
                      <a:pt x="1459" y="323"/>
                      <a:pt x="1459" y="323"/>
                    </a:cubicBezTo>
                    <a:cubicBezTo>
                      <a:pt x="1459" y="323"/>
                      <a:pt x="1459" y="323"/>
                      <a:pt x="1459" y="323"/>
                    </a:cubicBezTo>
                    <a:cubicBezTo>
                      <a:pt x="1460" y="323"/>
                      <a:pt x="1460" y="323"/>
                      <a:pt x="1460" y="323"/>
                    </a:cubicBezTo>
                    <a:cubicBezTo>
                      <a:pt x="1461" y="323"/>
                      <a:pt x="1461" y="323"/>
                      <a:pt x="1461" y="323"/>
                    </a:cubicBezTo>
                    <a:cubicBezTo>
                      <a:pt x="1462" y="324"/>
                      <a:pt x="1462" y="324"/>
                      <a:pt x="1462" y="324"/>
                    </a:cubicBezTo>
                    <a:cubicBezTo>
                      <a:pt x="1463" y="325"/>
                      <a:pt x="1463" y="325"/>
                      <a:pt x="1463" y="325"/>
                    </a:cubicBezTo>
                    <a:cubicBezTo>
                      <a:pt x="1464" y="325"/>
                      <a:pt x="1464" y="325"/>
                      <a:pt x="1464" y="325"/>
                    </a:cubicBezTo>
                    <a:cubicBezTo>
                      <a:pt x="1464" y="325"/>
                      <a:pt x="1464" y="325"/>
                      <a:pt x="1464" y="325"/>
                    </a:cubicBezTo>
                    <a:cubicBezTo>
                      <a:pt x="1463" y="325"/>
                      <a:pt x="1463" y="325"/>
                      <a:pt x="1463" y="325"/>
                    </a:cubicBezTo>
                    <a:cubicBezTo>
                      <a:pt x="1463" y="326"/>
                      <a:pt x="1463" y="326"/>
                      <a:pt x="1463" y="326"/>
                    </a:cubicBezTo>
                    <a:cubicBezTo>
                      <a:pt x="1463" y="326"/>
                      <a:pt x="1462" y="326"/>
                      <a:pt x="1462" y="326"/>
                    </a:cubicBezTo>
                    <a:cubicBezTo>
                      <a:pt x="1461" y="326"/>
                      <a:pt x="1460" y="325"/>
                      <a:pt x="1459" y="325"/>
                    </a:cubicBezTo>
                    <a:cubicBezTo>
                      <a:pt x="1458" y="324"/>
                      <a:pt x="1457" y="324"/>
                      <a:pt x="1456" y="324"/>
                    </a:cubicBezTo>
                    <a:cubicBezTo>
                      <a:pt x="1456" y="324"/>
                      <a:pt x="1455" y="324"/>
                      <a:pt x="1455" y="324"/>
                    </a:cubicBezTo>
                    <a:cubicBezTo>
                      <a:pt x="1455" y="324"/>
                      <a:pt x="1455" y="324"/>
                      <a:pt x="1455" y="324"/>
                    </a:cubicBezTo>
                    <a:cubicBezTo>
                      <a:pt x="1454" y="324"/>
                      <a:pt x="1454" y="324"/>
                      <a:pt x="1454" y="324"/>
                    </a:cubicBezTo>
                    <a:cubicBezTo>
                      <a:pt x="1454" y="325"/>
                      <a:pt x="1454" y="325"/>
                      <a:pt x="1454" y="325"/>
                    </a:cubicBezTo>
                    <a:cubicBezTo>
                      <a:pt x="1454" y="325"/>
                      <a:pt x="1453" y="324"/>
                      <a:pt x="1453" y="324"/>
                    </a:cubicBezTo>
                    <a:cubicBezTo>
                      <a:pt x="1452" y="324"/>
                      <a:pt x="1452" y="325"/>
                      <a:pt x="1451" y="325"/>
                    </a:cubicBezTo>
                    <a:cubicBezTo>
                      <a:pt x="1451" y="325"/>
                      <a:pt x="1451" y="325"/>
                      <a:pt x="1451" y="325"/>
                    </a:cubicBezTo>
                    <a:cubicBezTo>
                      <a:pt x="1451" y="325"/>
                      <a:pt x="1451" y="325"/>
                      <a:pt x="1451" y="325"/>
                    </a:cubicBezTo>
                    <a:cubicBezTo>
                      <a:pt x="1450" y="326"/>
                      <a:pt x="1449" y="326"/>
                      <a:pt x="1449" y="326"/>
                    </a:cubicBezTo>
                    <a:cubicBezTo>
                      <a:pt x="1448" y="326"/>
                      <a:pt x="1448" y="326"/>
                      <a:pt x="1447" y="326"/>
                    </a:cubicBezTo>
                    <a:cubicBezTo>
                      <a:pt x="1447" y="326"/>
                      <a:pt x="1447" y="326"/>
                      <a:pt x="1447" y="326"/>
                    </a:cubicBezTo>
                    <a:cubicBezTo>
                      <a:pt x="1444" y="325"/>
                      <a:pt x="1444" y="325"/>
                      <a:pt x="1444" y="325"/>
                    </a:cubicBezTo>
                    <a:cubicBezTo>
                      <a:pt x="1426" y="326"/>
                      <a:pt x="1426" y="326"/>
                      <a:pt x="1426" y="326"/>
                    </a:cubicBezTo>
                    <a:cubicBezTo>
                      <a:pt x="1417" y="319"/>
                      <a:pt x="1417" y="319"/>
                      <a:pt x="1417" y="319"/>
                    </a:cubicBezTo>
                    <a:cubicBezTo>
                      <a:pt x="1410" y="315"/>
                      <a:pt x="1410" y="315"/>
                      <a:pt x="1410" y="315"/>
                    </a:cubicBezTo>
                    <a:cubicBezTo>
                      <a:pt x="1409" y="314"/>
                      <a:pt x="1409" y="314"/>
                      <a:pt x="1409" y="314"/>
                    </a:cubicBezTo>
                    <a:cubicBezTo>
                      <a:pt x="1409" y="313"/>
                      <a:pt x="1409" y="313"/>
                      <a:pt x="1409" y="313"/>
                    </a:cubicBezTo>
                    <a:cubicBezTo>
                      <a:pt x="1409" y="313"/>
                      <a:pt x="1409" y="313"/>
                      <a:pt x="1409" y="313"/>
                    </a:cubicBezTo>
                    <a:cubicBezTo>
                      <a:pt x="1409" y="313"/>
                      <a:pt x="1409" y="313"/>
                      <a:pt x="1409" y="313"/>
                    </a:cubicBezTo>
                    <a:cubicBezTo>
                      <a:pt x="1409" y="312"/>
                      <a:pt x="1409" y="312"/>
                      <a:pt x="1409" y="312"/>
                    </a:cubicBezTo>
                    <a:cubicBezTo>
                      <a:pt x="1409" y="312"/>
                      <a:pt x="1409" y="312"/>
                      <a:pt x="1409" y="312"/>
                    </a:cubicBezTo>
                    <a:cubicBezTo>
                      <a:pt x="1410" y="312"/>
                      <a:pt x="1410" y="312"/>
                      <a:pt x="1410" y="312"/>
                    </a:cubicBezTo>
                    <a:cubicBezTo>
                      <a:pt x="1410" y="312"/>
                      <a:pt x="1410" y="312"/>
                      <a:pt x="1410" y="312"/>
                    </a:cubicBezTo>
                    <a:cubicBezTo>
                      <a:pt x="1411" y="312"/>
                      <a:pt x="1411" y="312"/>
                      <a:pt x="1411" y="312"/>
                    </a:cubicBezTo>
                    <a:cubicBezTo>
                      <a:pt x="1411" y="312"/>
                      <a:pt x="1411" y="312"/>
                      <a:pt x="1411" y="312"/>
                    </a:cubicBezTo>
                    <a:cubicBezTo>
                      <a:pt x="1411" y="312"/>
                      <a:pt x="1411" y="312"/>
                      <a:pt x="1411" y="312"/>
                    </a:cubicBezTo>
                    <a:cubicBezTo>
                      <a:pt x="1412" y="312"/>
                      <a:pt x="1412" y="312"/>
                      <a:pt x="1412" y="312"/>
                    </a:cubicBezTo>
                    <a:cubicBezTo>
                      <a:pt x="1412" y="312"/>
                      <a:pt x="1412" y="312"/>
                      <a:pt x="1412" y="312"/>
                    </a:cubicBezTo>
                    <a:cubicBezTo>
                      <a:pt x="1414" y="310"/>
                      <a:pt x="1414" y="310"/>
                      <a:pt x="1414" y="310"/>
                    </a:cubicBezTo>
                    <a:cubicBezTo>
                      <a:pt x="1413" y="301"/>
                      <a:pt x="1413" y="301"/>
                      <a:pt x="1413" y="301"/>
                    </a:cubicBezTo>
                    <a:cubicBezTo>
                      <a:pt x="1413" y="300"/>
                      <a:pt x="1413" y="300"/>
                      <a:pt x="1413" y="300"/>
                    </a:cubicBezTo>
                    <a:cubicBezTo>
                      <a:pt x="1414" y="297"/>
                      <a:pt x="1414" y="297"/>
                      <a:pt x="1414" y="297"/>
                    </a:cubicBezTo>
                    <a:cubicBezTo>
                      <a:pt x="1416" y="294"/>
                      <a:pt x="1416" y="294"/>
                      <a:pt x="1416" y="294"/>
                    </a:cubicBezTo>
                    <a:cubicBezTo>
                      <a:pt x="1416" y="293"/>
                      <a:pt x="1416" y="293"/>
                      <a:pt x="1416" y="293"/>
                    </a:cubicBezTo>
                    <a:cubicBezTo>
                      <a:pt x="1416" y="292"/>
                      <a:pt x="1416" y="292"/>
                      <a:pt x="1416" y="292"/>
                    </a:cubicBezTo>
                    <a:cubicBezTo>
                      <a:pt x="1415" y="292"/>
                      <a:pt x="1415" y="292"/>
                      <a:pt x="1415" y="292"/>
                    </a:cubicBezTo>
                    <a:cubicBezTo>
                      <a:pt x="1414" y="292"/>
                      <a:pt x="1414" y="292"/>
                      <a:pt x="1414" y="292"/>
                    </a:cubicBezTo>
                    <a:cubicBezTo>
                      <a:pt x="1412" y="290"/>
                      <a:pt x="1412" y="290"/>
                      <a:pt x="1412" y="290"/>
                    </a:cubicBezTo>
                    <a:cubicBezTo>
                      <a:pt x="1412" y="290"/>
                      <a:pt x="1412" y="290"/>
                      <a:pt x="1412" y="290"/>
                    </a:cubicBezTo>
                    <a:cubicBezTo>
                      <a:pt x="1411" y="289"/>
                      <a:pt x="1411" y="289"/>
                      <a:pt x="1411" y="289"/>
                    </a:cubicBezTo>
                    <a:cubicBezTo>
                      <a:pt x="1412" y="289"/>
                      <a:pt x="1412" y="289"/>
                      <a:pt x="1412" y="289"/>
                    </a:cubicBezTo>
                    <a:cubicBezTo>
                      <a:pt x="1412" y="288"/>
                      <a:pt x="1412" y="288"/>
                      <a:pt x="1412" y="288"/>
                    </a:cubicBezTo>
                    <a:cubicBezTo>
                      <a:pt x="1413" y="286"/>
                      <a:pt x="1413" y="286"/>
                      <a:pt x="1413" y="286"/>
                    </a:cubicBezTo>
                    <a:cubicBezTo>
                      <a:pt x="1414" y="281"/>
                      <a:pt x="1414" y="281"/>
                      <a:pt x="1414" y="281"/>
                    </a:cubicBezTo>
                    <a:cubicBezTo>
                      <a:pt x="1415" y="279"/>
                      <a:pt x="1415" y="279"/>
                      <a:pt x="1415" y="279"/>
                    </a:cubicBezTo>
                    <a:cubicBezTo>
                      <a:pt x="1415" y="278"/>
                      <a:pt x="1415" y="278"/>
                      <a:pt x="1415" y="278"/>
                    </a:cubicBezTo>
                    <a:cubicBezTo>
                      <a:pt x="1415" y="278"/>
                      <a:pt x="1415" y="278"/>
                      <a:pt x="1415" y="278"/>
                    </a:cubicBezTo>
                    <a:cubicBezTo>
                      <a:pt x="1414" y="277"/>
                      <a:pt x="1414" y="277"/>
                      <a:pt x="1414" y="277"/>
                    </a:cubicBezTo>
                    <a:cubicBezTo>
                      <a:pt x="1414" y="277"/>
                      <a:pt x="1414" y="277"/>
                      <a:pt x="1414" y="277"/>
                    </a:cubicBezTo>
                    <a:cubicBezTo>
                      <a:pt x="1414" y="277"/>
                      <a:pt x="1414" y="277"/>
                      <a:pt x="1414" y="277"/>
                    </a:cubicBezTo>
                    <a:cubicBezTo>
                      <a:pt x="1413" y="276"/>
                      <a:pt x="1412" y="275"/>
                      <a:pt x="1411" y="275"/>
                    </a:cubicBezTo>
                    <a:cubicBezTo>
                      <a:pt x="1411" y="275"/>
                      <a:pt x="1411" y="275"/>
                      <a:pt x="1411" y="275"/>
                    </a:cubicBezTo>
                    <a:cubicBezTo>
                      <a:pt x="1411" y="275"/>
                      <a:pt x="1411" y="275"/>
                      <a:pt x="1411" y="275"/>
                    </a:cubicBezTo>
                    <a:cubicBezTo>
                      <a:pt x="1411" y="276"/>
                      <a:pt x="1411" y="276"/>
                      <a:pt x="1411" y="276"/>
                    </a:cubicBezTo>
                    <a:cubicBezTo>
                      <a:pt x="1410" y="276"/>
                      <a:pt x="1410" y="276"/>
                      <a:pt x="1410" y="276"/>
                    </a:cubicBezTo>
                    <a:cubicBezTo>
                      <a:pt x="1410" y="276"/>
                      <a:pt x="1410" y="276"/>
                      <a:pt x="1410" y="276"/>
                    </a:cubicBezTo>
                    <a:cubicBezTo>
                      <a:pt x="1410" y="276"/>
                      <a:pt x="1410" y="276"/>
                      <a:pt x="1410" y="276"/>
                    </a:cubicBezTo>
                    <a:cubicBezTo>
                      <a:pt x="1409" y="276"/>
                      <a:pt x="1409" y="276"/>
                      <a:pt x="1409" y="276"/>
                    </a:cubicBezTo>
                    <a:cubicBezTo>
                      <a:pt x="1409" y="275"/>
                      <a:pt x="1409" y="275"/>
                      <a:pt x="1409" y="275"/>
                    </a:cubicBezTo>
                    <a:cubicBezTo>
                      <a:pt x="1408" y="274"/>
                      <a:pt x="1408" y="274"/>
                      <a:pt x="1408" y="274"/>
                    </a:cubicBezTo>
                    <a:cubicBezTo>
                      <a:pt x="1408" y="274"/>
                      <a:pt x="1408" y="274"/>
                      <a:pt x="1408" y="274"/>
                    </a:cubicBezTo>
                    <a:cubicBezTo>
                      <a:pt x="1408" y="273"/>
                      <a:pt x="1406" y="272"/>
                      <a:pt x="1405" y="272"/>
                    </a:cubicBezTo>
                    <a:cubicBezTo>
                      <a:pt x="1405" y="271"/>
                      <a:pt x="1405" y="271"/>
                      <a:pt x="1405" y="271"/>
                    </a:cubicBezTo>
                    <a:cubicBezTo>
                      <a:pt x="1404" y="270"/>
                      <a:pt x="1404" y="270"/>
                      <a:pt x="1404" y="270"/>
                    </a:cubicBezTo>
                    <a:cubicBezTo>
                      <a:pt x="1402" y="267"/>
                      <a:pt x="1402" y="267"/>
                      <a:pt x="1402" y="267"/>
                    </a:cubicBezTo>
                    <a:cubicBezTo>
                      <a:pt x="1398" y="260"/>
                      <a:pt x="1398" y="260"/>
                      <a:pt x="1398" y="260"/>
                    </a:cubicBezTo>
                    <a:cubicBezTo>
                      <a:pt x="1396" y="258"/>
                      <a:pt x="1396" y="258"/>
                      <a:pt x="1396" y="258"/>
                    </a:cubicBezTo>
                    <a:cubicBezTo>
                      <a:pt x="1394" y="256"/>
                      <a:pt x="1394" y="256"/>
                      <a:pt x="1394" y="256"/>
                    </a:cubicBezTo>
                    <a:cubicBezTo>
                      <a:pt x="1394" y="256"/>
                      <a:pt x="1394" y="256"/>
                      <a:pt x="1394" y="256"/>
                    </a:cubicBezTo>
                    <a:cubicBezTo>
                      <a:pt x="1393" y="256"/>
                      <a:pt x="1393" y="256"/>
                      <a:pt x="1393" y="256"/>
                    </a:cubicBezTo>
                    <a:cubicBezTo>
                      <a:pt x="1393" y="256"/>
                      <a:pt x="1393" y="256"/>
                      <a:pt x="1393" y="256"/>
                    </a:cubicBezTo>
                    <a:cubicBezTo>
                      <a:pt x="1392" y="256"/>
                      <a:pt x="1392" y="256"/>
                      <a:pt x="1392" y="256"/>
                    </a:cubicBezTo>
                    <a:cubicBezTo>
                      <a:pt x="1392" y="256"/>
                      <a:pt x="1392" y="256"/>
                      <a:pt x="1392" y="256"/>
                    </a:cubicBezTo>
                    <a:cubicBezTo>
                      <a:pt x="1391" y="256"/>
                      <a:pt x="1391" y="256"/>
                      <a:pt x="1391" y="256"/>
                    </a:cubicBezTo>
                    <a:cubicBezTo>
                      <a:pt x="1391" y="256"/>
                      <a:pt x="1391" y="256"/>
                      <a:pt x="1391" y="256"/>
                    </a:cubicBezTo>
                    <a:cubicBezTo>
                      <a:pt x="1390" y="256"/>
                      <a:pt x="1390" y="256"/>
                      <a:pt x="1390" y="256"/>
                    </a:cubicBezTo>
                    <a:cubicBezTo>
                      <a:pt x="1389" y="256"/>
                      <a:pt x="1388" y="256"/>
                      <a:pt x="1387" y="256"/>
                    </a:cubicBezTo>
                    <a:cubicBezTo>
                      <a:pt x="1384" y="256"/>
                      <a:pt x="1382" y="256"/>
                      <a:pt x="1380" y="257"/>
                    </a:cubicBezTo>
                    <a:cubicBezTo>
                      <a:pt x="1379" y="257"/>
                      <a:pt x="1379" y="257"/>
                      <a:pt x="1379" y="257"/>
                    </a:cubicBezTo>
                    <a:cubicBezTo>
                      <a:pt x="1379" y="257"/>
                      <a:pt x="1379" y="257"/>
                      <a:pt x="1379" y="257"/>
                    </a:cubicBezTo>
                    <a:cubicBezTo>
                      <a:pt x="1378" y="257"/>
                      <a:pt x="1378" y="257"/>
                      <a:pt x="1378" y="257"/>
                    </a:cubicBezTo>
                    <a:cubicBezTo>
                      <a:pt x="1378" y="257"/>
                      <a:pt x="1378" y="257"/>
                      <a:pt x="1378" y="257"/>
                    </a:cubicBezTo>
                    <a:cubicBezTo>
                      <a:pt x="1378" y="257"/>
                      <a:pt x="1378" y="257"/>
                      <a:pt x="1378" y="257"/>
                    </a:cubicBezTo>
                    <a:cubicBezTo>
                      <a:pt x="1377" y="257"/>
                      <a:pt x="1377" y="257"/>
                      <a:pt x="1377" y="257"/>
                    </a:cubicBezTo>
                    <a:cubicBezTo>
                      <a:pt x="1376" y="257"/>
                      <a:pt x="1376" y="257"/>
                      <a:pt x="1376" y="257"/>
                    </a:cubicBezTo>
                    <a:cubicBezTo>
                      <a:pt x="1372" y="258"/>
                      <a:pt x="1372" y="258"/>
                      <a:pt x="1372" y="258"/>
                    </a:cubicBezTo>
                    <a:cubicBezTo>
                      <a:pt x="1335" y="270"/>
                      <a:pt x="1335" y="270"/>
                      <a:pt x="1335" y="270"/>
                    </a:cubicBezTo>
                    <a:cubicBezTo>
                      <a:pt x="1334" y="270"/>
                      <a:pt x="1334" y="270"/>
                      <a:pt x="1334" y="270"/>
                    </a:cubicBezTo>
                    <a:cubicBezTo>
                      <a:pt x="1334" y="270"/>
                      <a:pt x="1334" y="270"/>
                      <a:pt x="1334" y="270"/>
                    </a:cubicBezTo>
                    <a:cubicBezTo>
                      <a:pt x="1334" y="271"/>
                      <a:pt x="1334" y="271"/>
                      <a:pt x="1334" y="271"/>
                    </a:cubicBezTo>
                    <a:cubicBezTo>
                      <a:pt x="1334" y="271"/>
                      <a:pt x="1334" y="271"/>
                      <a:pt x="1334" y="271"/>
                    </a:cubicBezTo>
                    <a:cubicBezTo>
                      <a:pt x="1334" y="271"/>
                      <a:pt x="1334" y="271"/>
                      <a:pt x="1334" y="271"/>
                    </a:cubicBezTo>
                    <a:cubicBezTo>
                      <a:pt x="1334" y="272"/>
                      <a:pt x="1334" y="272"/>
                      <a:pt x="1334" y="272"/>
                    </a:cubicBezTo>
                    <a:cubicBezTo>
                      <a:pt x="1334" y="273"/>
                      <a:pt x="1333" y="274"/>
                      <a:pt x="1333" y="275"/>
                    </a:cubicBezTo>
                    <a:cubicBezTo>
                      <a:pt x="1333" y="275"/>
                      <a:pt x="1333" y="275"/>
                      <a:pt x="1333" y="275"/>
                    </a:cubicBezTo>
                    <a:cubicBezTo>
                      <a:pt x="1334" y="276"/>
                      <a:pt x="1334" y="276"/>
                      <a:pt x="1334" y="276"/>
                    </a:cubicBezTo>
                    <a:cubicBezTo>
                      <a:pt x="1334" y="276"/>
                      <a:pt x="1334" y="276"/>
                      <a:pt x="1334" y="276"/>
                    </a:cubicBezTo>
                    <a:cubicBezTo>
                      <a:pt x="1337" y="280"/>
                      <a:pt x="1330" y="284"/>
                      <a:pt x="1331" y="286"/>
                    </a:cubicBezTo>
                    <a:cubicBezTo>
                      <a:pt x="1331" y="286"/>
                      <a:pt x="1331" y="286"/>
                      <a:pt x="1331" y="286"/>
                    </a:cubicBezTo>
                    <a:cubicBezTo>
                      <a:pt x="1331" y="286"/>
                      <a:pt x="1331" y="286"/>
                      <a:pt x="1331" y="286"/>
                    </a:cubicBezTo>
                    <a:cubicBezTo>
                      <a:pt x="1332" y="287"/>
                      <a:pt x="1332" y="287"/>
                      <a:pt x="1332" y="287"/>
                    </a:cubicBezTo>
                    <a:cubicBezTo>
                      <a:pt x="1332" y="287"/>
                      <a:pt x="1332" y="287"/>
                      <a:pt x="1332" y="287"/>
                    </a:cubicBezTo>
                    <a:cubicBezTo>
                      <a:pt x="1332" y="287"/>
                      <a:pt x="1332" y="287"/>
                      <a:pt x="1332" y="287"/>
                    </a:cubicBezTo>
                    <a:cubicBezTo>
                      <a:pt x="1333" y="287"/>
                      <a:pt x="1333" y="287"/>
                      <a:pt x="1333" y="287"/>
                    </a:cubicBezTo>
                    <a:cubicBezTo>
                      <a:pt x="1335" y="290"/>
                      <a:pt x="1338" y="291"/>
                      <a:pt x="1340" y="294"/>
                    </a:cubicBezTo>
                    <a:cubicBezTo>
                      <a:pt x="1340" y="294"/>
                      <a:pt x="1340" y="294"/>
                      <a:pt x="1340" y="294"/>
                    </a:cubicBezTo>
                    <a:cubicBezTo>
                      <a:pt x="1340" y="294"/>
                      <a:pt x="1340" y="294"/>
                      <a:pt x="1340" y="294"/>
                    </a:cubicBezTo>
                    <a:cubicBezTo>
                      <a:pt x="1343" y="298"/>
                      <a:pt x="1342" y="297"/>
                      <a:pt x="1343" y="301"/>
                    </a:cubicBezTo>
                    <a:cubicBezTo>
                      <a:pt x="1343" y="301"/>
                      <a:pt x="1343" y="301"/>
                      <a:pt x="1343" y="301"/>
                    </a:cubicBezTo>
                    <a:cubicBezTo>
                      <a:pt x="1343" y="302"/>
                      <a:pt x="1343" y="302"/>
                      <a:pt x="1343" y="302"/>
                    </a:cubicBezTo>
                    <a:cubicBezTo>
                      <a:pt x="1343" y="302"/>
                      <a:pt x="1343" y="302"/>
                      <a:pt x="1343" y="302"/>
                    </a:cubicBezTo>
                    <a:cubicBezTo>
                      <a:pt x="1343" y="302"/>
                      <a:pt x="1343" y="302"/>
                      <a:pt x="1343" y="302"/>
                    </a:cubicBezTo>
                    <a:cubicBezTo>
                      <a:pt x="1343" y="303"/>
                      <a:pt x="1343" y="303"/>
                      <a:pt x="1343" y="303"/>
                    </a:cubicBezTo>
                    <a:cubicBezTo>
                      <a:pt x="1343" y="303"/>
                      <a:pt x="1343" y="303"/>
                      <a:pt x="1343" y="303"/>
                    </a:cubicBezTo>
                    <a:cubicBezTo>
                      <a:pt x="1344" y="303"/>
                      <a:pt x="1344" y="303"/>
                      <a:pt x="1344" y="303"/>
                    </a:cubicBezTo>
                    <a:cubicBezTo>
                      <a:pt x="1344" y="304"/>
                      <a:pt x="1344" y="304"/>
                      <a:pt x="1344" y="304"/>
                    </a:cubicBezTo>
                    <a:cubicBezTo>
                      <a:pt x="1344" y="304"/>
                      <a:pt x="1344" y="304"/>
                      <a:pt x="1344" y="304"/>
                    </a:cubicBezTo>
                    <a:cubicBezTo>
                      <a:pt x="1344" y="304"/>
                      <a:pt x="1344" y="304"/>
                      <a:pt x="1344" y="304"/>
                    </a:cubicBezTo>
                    <a:cubicBezTo>
                      <a:pt x="1344" y="304"/>
                      <a:pt x="1344" y="304"/>
                      <a:pt x="1344" y="304"/>
                    </a:cubicBezTo>
                    <a:cubicBezTo>
                      <a:pt x="1344" y="304"/>
                      <a:pt x="1344" y="304"/>
                      <a:pt x="1344" y="304"/>
                    </a:cubicBezTo>
                    <a:cubicBezTo>
                      <a:pt x="1344" y="305"/>
                      <a:pt x="1344" y="305"/>
                      <a:pt x="1344" y="305"/>
                    </a:cubicBezTo>
                    <a:cubicBezTo>
                      <a:pt x="1344" y="305"/>
                      <a:pt x="1344" y="305"/>
                      <a:pt x="1344" y="305"/>
                    </a:cubicBezTo>
                    <a:cubicBezTo>
                      <a:pt x="1344" y="305"/>
                      <a:pt x="1344" y="305"/>
                      <a:pt x="1344" y="305"/>
                    </a:cubicBezTo>
                    <a:cubicBezTo>
                      <a:pt x="1344" y="305"/>
                      <a:pt x="1344" y="305"/>
                      <a:pt x="1344" y="305"/>
                    </a:cubicBezTo>
                    <a:cubicBezTo>
                      <a:pt x="1344" y="306"/>
                      <a:pt x="1344" y="306"/>
                      <a:pt x="1344" y="306"/>
                    </a:cubicBezTo>
                    <a:cubicBezTo>
                      <a:pt x="1344" y="306"/>
                      <a:pt x="1344" y="306"/>
                      <a:pt x="1344" y="306"/>
                    </a:cubicBezTo>
                    <a:cubicBezTo>
                      <a:pt x="1345" y="306"/>
                      <a:pt x="1345" y="306"/>
                      <a:pt x="1345" y="306"/>
                    </a:cubicBezTo>
                    <a:cubicBezTo>
                      <a:pt x="1344" y="308"/>
                      <a:pt x="1344" y="308"/>
                      <a:pt x="1344" y="308"/>
                    </a:cubicBezTo>
                    <a:cubicBezTo>
                      <a:pt x="1344" y="310"/>
                      <a:pt x="1344" y="310"/>
                      <a:pt x="1344" y="310"/>
                    </a:cubicBezTo>
                    <a:cubicBezTo>
                      <a:pt x="1343" y="316"/>
                      <a:pt x="1343" y="316"/>
                      <a:pt x="1343" y="316"/>
                    </a:cubicBezTo>
                    <a:cubicBezTo>
                      <a:pt x="1342" y="318"/>
                      <a:pt x="1342" y="318"/>
                      <a:pt x="1342" y="318"/>
                    </a:cubicBezTo>
                    <a:cubicBezTo>
                      <a:pt x="1342" y="320"/>
                      <a:pt x="1342" y="320"/>
                      <a:pt x="1342" y="320"/>
                    </a:cubicBezTo>
                    <a:cubicBezTo>
                      <a:pt x="1341" y="320"/>
                      <a:pt x="1341" y="320"/>
                      <a:pt x="1341" y="320"/>
                    </a:cubicBezTo>
                    <a:cubicBezTo>
                      <a:pt x="1341" y="320"/>
                      <a:pt x="1341" y="320"/>
                      <a:pt x="1341" y="320"/>
                    </a:cubicBezTo>
                    <a:cubicBezTo>
                      <a:pt x="1340" y="321"/>
                      <a:pt x="1340" y="321"/>
                      <a:pt x="1340" y="321"/>
                    </a:cubicBezTo>
                    <a:cubicBezTo>
                      <a:pt x="1337" y="324"/>
                      <a:pt x="1333" y="326"/>
                      <a:pt x="1330" y="328"/>
                    </a:cubicBezTo>
                    <a:cubicBezTo>
                      <a:pt x="1327" y="331"/>
                      <a:pt x="1327" y="331"/>
                      <a:pt x="1327" y="331"/>
                    </a:cubicBezTo>
                    <a:cubicBezTo>
                      <a:pt x="1322" y="336"/>
                      <a:pt x="1322" y="336"/>
                      <a:pt x="1322" y="336"/>
                    </a:cubicBezTo>
                    <a:cubicBezTo>
                      <a:pt x="1320" y="338"/>
                      <a:pt x="1320" y="338"/>
                      <a:pt x="1320" y="338"/>
                    </a:cubicBezTo>
                    <a:cubicBezTo>
                      <a:pt x="1319" y="339"/>
                      <a:pt x="1319" y="339"/>
                      <a:pt x="1319" y="339"/>
                    </a:cubicBezTo>
                    <a:cubicBezTo>
                      <a:pt x="1319" y="339"/>
                      <a:pt x="1319" y="339"/>
                      <a:pt x="1319" y="339"/>
                    </a:cubicBezTo>
                    <a:cubicBezTo>
                      <a:pt x="1319" y="340"/>
                      <a:pt x="1319" y="340"/>
                      <a:pt x="1319" y="340"/>
                    </a:cubicBezTo>
                    <a:cubicBezTo>
                      <a:pt x="1319" y="340"/>
                      <a:pt x="1319" y="340"/>
                      <a:pt x="1319" y="340"/>
                    </a:cubicBezTo>
                    <a:cubicBezTo>
                      <a:pt x="1319" y="340"/>
                      <a:pt x="1319" y="340"/>
                      <a:pt x="1319" y="340"/>
                    </a:cubicBezTo>
                    <a:cubicBezTo>
                      <a:pt x="1320" y="342"/>
                      <a:pt x="1319" y="343"/>
                      <a:pt x="1319" y="345"/>
                    </a:cubicBezTo>
                    <a:cubicBezTo>
                      <a:pt x="1318" y="350"/>
                      <a:pt x="1318" y="350"/>
                      <a:pt x="1318" y="350"/>
                    </a:cubicBezTo>
                    <a:cubicBezTo>
                      <a:pt x="1317" y="352"/>
                      <a:pt x="1317" y="352"/>
                      <a:pt x="1317" y="352"/>
                    </a:cubicBezTo>
                    <a:cubicBezTo>
                      <a:pt x="1317" y="354"/>
                      <a:pt x="1317" y="354"/>
                      <a:pt x="1317" y="354"/>
                    </a:cubicBezTo>
                    <a:cubicBezTo>
                      <a:pt x="1316" y="354"/>
                      <a:pt x="1316" y="354"/>
                      <a:pt x="1316" y="354"/>
                    </a:cubicBezTo>
                    <a:cubicBezTo>
                      <a:pt x="1316" y="354"/>
                      <a:pt x="1316" y="354"/>
                      <a:pt x="1316" y="354"/>
                    </a:cubicBezTo>
                    <a:cubicBezTo>
                      <a:pt x="1315" y="354"/>
                      <a:pt x="1315" y="354"/>
                      <a:pt x="1315" y="354"/>
                    </a:cubicBezTo>
                    <a:cubicBezTo>
                      <a:pt x="1315" y="355"/>
                      <a:pt x="1315" y="355"/>
                      <a:pt x="1315" y="355"/>
                    </a:cubicBezTo>
                    <a:cubicBezTo>
                      <a:pt x="1314" y="355"/>
                      <a:pt x="1314" y="355"/>
                      <a:pt x="1314" y="355"/>
                    </a:cubicBezTo>
                    <a:cubicBezTo>
                      <a:pt x="1314" y="355"/>
                      <a:pt x="1314" y="355"/>
                      <a:pt x="1314" y="355"/>
                    </a:cubicBezTo>
                    <a:cubicBezTo>
                      <a:pt x="1314" y="355"/>
                      <a:pt x="1314" y="355"/>
                      <a:pt x="1314" y="355"/>
                    </a:cubicBezTo>
                    <a:cubicBezTo>
                      <a:pt x="1313" y="355"/>
                      <a:pt x="1313" y="355"/>
                      <a:pt x="1313" y="355"/>
                    </a:cubicBezTo>
                    <a:cubicBezTo>
                      <a:pt x="1313" y="355"/>
                      <a:pt x="1313" y="355"/>
                      <a:pt x="1313" y="355"/>
                    </a:cubicBezTo>
                    <a:cubicBezTo>
                      <a:pt x="1310" y="357"/>
                      <a:pt x="1309" y="360"/>
                      <a:pt x="1307" y="361"/>
                    </a:cubicBezTo>
                    <a:cubicBezTo>
                      <a:pt x="1306" y="361"/>
                      <a:pt x="1306" y="361"/>
                      <a:pt x="1306" y="361"/>
                    </a:cubicBezTo>
                    <a:cubicBezTo>
                      <a:pt x="1306" y="361"/>
                      <a:pt x="1306" y="361"/>
                      <a:pt x="1306" y="361"/>
                    </a:cubicBezTo>
                    <a:cubicBezTo>
                      <a:pt x="1305" y="361"/>
                      <a:pt x="1304" y="361"/>
                      <a:pt x="1303" y="362"/>
                    </a:cubicBezTo>
                    <a:cubicBezTo>
                      <a:pt x="1303" y="362"/>
                      <a:pt x="1303" y="362"/>
                      <a:pt x="1303" y="362"/>
                    </a:cubicBezTo>
                    <a:cubicBezTo>
                      <a:pt x="1302" y="362"/>
                      <a:pt x="1302" y="362"/>
                      <a:pt x="1302" y="362"/>
                    </a:cubicBezTo>
                    <a:cubicBezTo>
                      <a:pt x="1302" y="362"/>
                      <a:pt x="1302" y="362"/>
                      <a:pt x="1302" y="362"/>
                    </a:cubicBezTo>
                    <a:cubicBezTo>
                      <a:pt x="1301" y="362"/>
                      <a:pt x="1301" y="362"/>
                      <a:pt x="1301" y="362"/>
                    </a:cubicBezTo>
                    <a:cubicBezTo>
                      <a:pt x="1301" y="362"/>
                      <a:pt x="1301" y="362"/>
                      <a:pt x="1301" y="362"/>
                    </a:cubicBezTo>
                    <a:cubicBezTo>
                      <a:pt x="1297" y="363"/>
                      <a:pt x="1294" y="366"/>
                      <a:pt x="1292" y="369"/>
                    </a:cubicBezTo>
                    <a:cubicBezTo>
                      <a:pt x="1291" y="369"/>
                      <a:pt x="1291" y="369"/>
                      <a:pt x="1291" y="369"/>
                    </a:cubicBezTo>
                    <a:cubicBezTo>
                      <a:pt x="1290" y="369"/>
                      <a:pt x="1290" y="369"/>
                      <a:pt x="1290" y="369"/>
                    </a:cubicBezTo>
                    <a:cubicBezTo>
                      <a:pt x="1290" y="369"/>
                      <a:pt x="1290" y="369"/>
                      <a:pt x="1290" y="369"/>
                    </a:cubicBezTo>
                    <a:cubicBezTo>
                      <a:pt x="1290" y="369"/>
                      <a:pt x="1290" y="369"/>
                      <a:pt x="1289" y="369"/>
                    </a:cubicBezTo>
                    <a:cubicBezTo>
                      <a:pt x="1289" y="369"/>
                      <a:pt x="1288" y="369"/>
                      <a:pt x="1287" y="370"/>
                    </a:cubicBezTo>
                    <a:cubicBezTo>
                      <a:pt x="1287" y="370"/>
                      <a:pt x="1287" y="370"/>
                      <a:pt x="1287" y="370"/>
                    </a:cubicBezTo>
                    <a:cubicBezTo>
                      <a:pt x="1286" y="370"/>
                      <a:pt x="1286" y="370"/>
                      <a:pt x="1286" y="370"/>
                    </a:cubicBezTo>
                    <a:cubicBezTo>
                      <a:pt x="1286" y="370"/>
                      <a:pt x="1286" y="370"/>
                      <a:pt x="1286" y="370"/>
                    </a:cubicBezTo>
                    <a:cubicBezTo>
                      <a:pt x="1286" y="370"/>
                      <a:pt x="1286" y="370"/>
                      <a:pt x="1286" y="370"/>
                    </a:cubicBezTo>
                    <a:cubicBezTo>
                      <a:pt x="1285" y="370"/>
                      <a:pt x="1285" y="370"/>
                      <a:pt x="1285" y="370"/>
                    </a:cubicBezTo>
                    <a:cubicBezTo>
                      <a:pt x="1285" y="370"/>
                      <a:pt x="1285" y="370"/>
                      <a:pt x="1285" y="370"/>
                    </a:cubicBezTo>
                    <a:cubicBezTo>
                      <a:pt x="1284" y="370"/>
                      <a:pt x="1284" y="370"/>
                      <a:pt x="1284" y="370"/>
                    </a:cubicBezTo>
                    <a:cubicBezTo>
                      <a:pt x="1283" y="371"/>
                      <a:pt x="1283" y="371"/>
                      <a:pt x="1283" y="371"/>
                    </a:cubicBezTo>
                    <a:cubicBezTo>
                      <a:pt x="1281" y="372"/>
                      <a:pt x="1281" y="372"/>
                      <a:pt x="1281" y="372"/>
                    </a:cubicBezTo>
                    <a:cubicBezTo>
                      <a:pt x="1276" y="375"/>
                      <a:pt x="1276" y="375"/>
                      <a:pt x="1276" y="375"/>
                    </a:cubicBezTo>
                    <a:cubicBezTo>
                      <a:pt x="1274" y="376"/>
                      <a:pt x="1274" y="376"/>
                      <a:pt x="1274" y="376"/>
                    </a:cubicBezTo>
                    <a:cubicBezTo>
                      <a:pt x="1273" y="376"/>
                      <a:pt x="1273" y="376"/>
                      <a:pt x="1273" y="376"/>
                    </a:cubicBezTo>
                    <a:cubicBezTo>
                      <a:pt x="1274" y="376"/>
                      <a:pt x="1274" y="376"/>
                      <a:pt x="1274" y="376"/>
                    </a:cubicBezTo>
                    <a:cubicBezTo>
                      <a:pt x="1274" y="376"/>
                      <a:pt x="1274" y="376"/>
                      <a:pt x="1274" y="376"/>
                    </a:cubicBezTo>
                    <a:cubicBezTo>
                      <a:pt x="1274" y="376"/>
                      <a:pt x="1274" y="376"/>
                      <a:pt x="1274" y="376"/>
                    </a:cubicBezTo>
                    <a:cubicBezTo>
                      <a:pt x="1275" y="376"/>
                      <a:pt x="1275" y="376"/>
                      <a:pt x="1275" y="376"/>
                    </a:cubicBezTo>
                    <a:cubicBezTo>
                      <a:pt x="1275" y="376"/>
                      <a:pt x="1275" y="376"/>
                      <a:pt x="1275" y="376"/>
                    </a:cubicBezTo>
                    <a:cubicBezTo>
                      <a:pt x="1275" y="376"/>
                      <a:pt x="1275" y="376"/>
                      <a:pt x="1275" y="376"/>
                    </a:cubicBezTo>
                    <a:cubicBezTo>
                      <a:pt x="1275" y="377"/>
                      <a:pt x="1275" y="377"/>
                      <a:pt x="1275" y="377"/>
                    </a:cubicBezTo>
                    <a:cubicBezTo>
                      <a:pt x="1275" y="378"/>
                      <a:pt x="1275" y="378"/>
                      <a:pt x="1275" y="378"/>
                    </a:cubicBezTo>
                    <a:cubicBezTo>
                      <a:pt x="1275" y="378"/>
                      <a:pt x="1275" y="378"/>
                      <a:pt x="1275" y="378"/>
                    </a:cubicBezTo>
                    <a:cubicBezTo>
                      <a:pt x="1275" y="379"/>
                      <a:pt x="1275" y="379"/>
                      <a:pt x="1275" y="379"/>
                    </a:cubicBezTo>
                    <a:cubicBezTo>
                      <a:pt x="1275" y="381"/>
                      <a:pt x="1275" y="381"/>
                      <a:pt x="1275" y="381"/>
                    </a:cubicBezTo>
                    <a:cubicBezTo>
                      <a:pt x="1274" y="384"/>
                      <a:pt x="1274" y="384"/>
                      <a:pt x="1274" y="384"/>
                    </a:cubicBezTo>
                    <a:cubicBezTo>
                      <a:pt x="1274" y="386"/>
                      <a:pt x="1274" y="386"/>
                      <a:pt x="1274" y="386"/>
                    </a:cubicBezTo>
                    <a:cubicBezTo>
                      <a:pt x="1273" y="386"/>
                      <a:pt x="1273" y="386"/>
                      <a:pt x="1273" y="386"/>
                    </a:cubicBezTo>
                    <a:cubicBezTo>
                      <a:pt x="1272" y="387"/>
                      <a:pt x="1272" y="387"/>
                      <a:pt x="1272" y="387"/>
                    </a:cubicBezTo>
                    <a:cubicBezTo>
                      <a:pt x="1272" y="387"/>
                      <a:pt x="1272" y="387"/>
                      <a:pt x="1272" y="387"/>
                    </a:cubicBezTo>
                    <a:cubicBezTo>
                      <a:pt x="1270" y="387"/>
                      <a:pt x="1270" y="387"/>
                      <a:pt x="1270" y="387"/>
                    </a:cubicBezTo>
                    <a:cubicBezTo>
                      <a:pt x="1269" y="388"/>
                      <a:pt x="1269" y="388"/>
                      <a:pt x="1269" y="388"/>
                    </a:cubicBezTo>
                    <a:cubicBezTo>
                      <a:pt x="1268" y="388"/>
                      <a:pt x="1268" y="388"/>
                      <a:pt x="1268" y="388"/>
                    </a:cubicBezTo>
                    <a:cubicBezTo>
                      <a:pt x="1267" y="389"/>
                      <a:pt x="1267" y="389"/>
                      <a:pt x="1267" y="389"/>
                    </a:cubicBezTo>
                    <a:cubicBezTo>
                      <a:pt x="1266" y="389"/>
                      <a:pt x="1266" y="389"/>
                      <a:pt x="1266" y="389"/>
                    </a:cubicBezTo>
                    <a:cubicBezTo>
                      <a:pt x="1265" y="389"/>
                      <a:pt x="1265" y="389"/>
                      <a:pt x="1265" y="389"/>
                    </a:cubicBezTo>
                    <a:cubicBezTo>
                      <a:pt x="1264" y="389"/>
                      <a:pt x="1264" y="389"/>
                      <a:pt x="1264" y="389"/>
                    </a:cubicBezTo>
                    <a:cubicBezTo>
                      <a:pt x="1264" y="389"/>
                      <a:pt x="1264" y="389"/>
                      <a:pt x="1264" y="389"/>
                    </a:cubicBezTo>
                    <a:cubicBezTo>
                      <a:pt x="1264" y="389"/>
                      <a:pt x="1264" y="389"/>
                      <a:pt x="1264" y="389"/>
                    </a:cubicBezTo>
                    <a:cubicBezTo>
                      <a:pt x="1264" y="389"/>
                      <a:pt x="1264" y="389"/>
                      <a:pt x="1264" y="389"/>
                    </a:cubicBezTo>
                    <a:cubicBezTo>
                      <a:pt x="1263" y="389"/>
                      <a:pt x="1263" y="389"/>
                      <a:pt x="1263" y="389"/>
                    </a:cubicBezTo>
                    <a:cubicBezTo>
                      <a:pt x="1263" y="388"/>
                      <a:pt x="1263" y="388"/>
                      <a:pt x="1263" y="388"/>
                    </a:cubicBezTo>
                    <a:cubicBezTo>
                      <a:pt x="1263" y="388"/>
                      <a:pt x="1263" y="388"/>
                      <a:pt x="1263" y="388"/>
                    </a:cubicBezTo>
                    <a:cubicBezTo>
                      <a:pt x="1262" y="388"/>
                      <a:pt x="1262" y="389"/>
                      <a:pt x="1261" y="389"/>
                    </a:cubicBezTo>
                    <a:cubicBezTo>
                      <a:pt x="1261" y="389"/>
                      <a:pt x="1261" y="389"/>
                      <a:pt x="1260" y="389"/>
                    </a:cubicBezTo>
                    <a:cubicBezTo>
                      <a:pt x="1260" y="389"/>
                      <a:pt x="1260" y="389"/>
                      <a:pt x="1259" y="389"/>
                    </a:cubicBezTo>
                    <a:cubicBezTo>
                      <a:pt x="1259" y="389"/>
                      <a:pt x="1259" y="389"/>
                      <a:pt x="1259" y="389"/>
                    </a:cubicBezTo>
                    <a:cubicBezTo>
                      <a:pt x="1259" y="388"/>
                      <a:pt x="1259" y="388"/>
                      <a:pt x="1259" y="388"/>
                    </a:cubicBezTo>
                    <a:cubicBezTo>
                      <a:pt x="1258" y="387"/>
                      <a:pt x="1258" y="386"/>
                      <a:pt x="1257" y="386"/>
                    </a:cubicBezTo>
                    <a:cubicBezTo>
                      <a:pt x="1256" y="385"/>
                      <a:pt x="1256" y="385"/>
                      <a:pt x="1256" y="385"/>
                    </a:cubicBezTo>
                    <a:cubicBezTo>
                      <a:pt x="1256" y="385"/>
                      <a:pt x="1256" y="385"/>
                      <a:pt x="1256" y="385"/>
                    </a:cubicBezTo>
                    <a:cubicBezTo>
                      <a:pt x="1255" y="385"/>
                      <a:pt x="1255" y="385"/>
                      <a:pt x="1255" y="385"/>
                    </a:cubicBezTo>
                    <a:cubicBezTo>
                      <a:pt x="1255" y="385"/>
                      <a:pt x="1255" y="385"/>
                      <a:pt x="1255" y="385"/>
                    </a:cubicBezTo>
                    <a:cubicBezTo>
                      <a:pt x="1254" y="385"/>
                      <a:pt x="1254" y="385"/>
                      <a:pt x="1254" y="385"/>
                    </a:cubicBezTo>
                    <a:cubicBezTo>
                      <a:pt x="1250" y="384"/>
                      <a:pt x="1248" y="383"/>
                      <a:pt x="1244" y="383"/>
                    </a:cubicBezTo>
                    <a:cubicBezTo>
                      <a:pt x="1244" y="383"/>
                      <a:pt x="1244" y="383"/>
                      <a:pt x="1244" y="383"/>
                    </a:cubicBezTo>
                    <a:cubicBezTo>
                      <a:pt x="1243" y="383"/>
                      <a:pt x="1243" y="383"/>
                      <a:pt x="1243" y="383"/>
                    </a:cubicBezTo>
                    <a:cubicBezTo>
                      <a:pt x="1243" y="383"/>
                      <a:pt x="1242" y="383"/>
                      <a:pt x="1242" y="383"/>
                    </a:cubicBezTo>
                    <a:cubicBezTo>
                      <a:pt x="1241" y="383"/>
                      <a:pt x="1240" y="383"/>
                      <a:pt x="1239" y="383"/>
                    </a:cubicBezTo>
                    <a:cubicBezTo>
                      <a:pt x="1238" y="383"/>
                      <a:pt x="1237" y="383"/>
                      <a:pt x="1236" y="383"/>
                    </a:cubicBezTo>
                    <a:cubicBezTo>
                      <a:pt x="1235" y="383"/>
                      <a:pt x="1234" y="383"/>
                      <a:pt x="1234" y="383"/>
                    </a:cubicBezTo>
                    <a:cubicBezTo>
                      <a:pt x="1233" y="383"/>
                      <a:pt x="1233" y="383"/>
                      <a:pt x="1233" y="383"/>
                    </a:cubicBezTo>
                    <a:cubicBezTo>
                      <a:pt x="1233" y="383"/>
                      <a:pt x="1233" y="383"/>
                      <a:pt x="1233" y="383"/>
                    </a:cubicBezTo>
                    <a:cubicBezTo>
                      <a:pt x="1232" y="383"/>
                      <a:pt x="1232" y="383"/>
                      <a:pt x="1232" y="383"/>
                    </a:cubicBezTo>
                    <a:cubicBezTo>
                      <a:pt x="1232" y="383"/>
                      <a:pt x="1232" y="383"/>
                      <a:pt x="1232" y="383"/>
                    </a:cubicBezTo>
                    <a:cubicBezTo>
                      <a:pt x="1231" y="383"/>
                      <a:pt x="1231" y="383"/>
                      <a:pt x="1231" y="383"/>
                    </a:cubicBezTo>
                    <a:cubicBezTo>
                      <a:pt x="1226" y="384"/>
                      <a:pt x="1223" y="384"/>
                      <a:pt x="1221" y="384"/>
                    </a:cubicBezTo>
                    <a:cubicBezTo>
                      <a:pt x="1218" y="384"/>
                      <a:pt x="1216" y="384"/>
                      <a:pt x="1209" y="381"/>
                    </a:cubicBezTo>
                    <a:cubicBezTo>
                      <a:pt x="1209" y="381"/>
                      <a:pt x="1209" y="381"/>
                      <a:pt x="1209" y="381"/>
                    </a:cubicBezTo>
                    <a:cubicBezTo>
                      <a:pt x="1208" y="381"/>
                      <a:pt x="1208" y="381"/>
                      <a:pt x="1208" y="381"/>
                    </a:cubicBezTo>
                    <a:cubicBezTo>
                      <a:pt x="1208" y="381"/>
                      <a:pt x="1208" y="381"/>
                      <a:pt x="1208" y="381"/>
                    </a:cubicBezTo>
                    <a:cubicBezTo>
                      <a:pt x="1202" y="380"/>
                      <a:pt x="1204" y="378"/>
                      <a:pt x="1199" y="377"/>
                    </a:cubicBezTo>
                    <a:cubicBezTo>
                      <a:pt x="1198" y="377"/>
                      <a:pt x="1198" y="377"/>
                      <a:pt x="1198" y="377"/>
                    </a:cubicBezTo>
                    <a:cubicBezTo>
                      <a:pt x="1198" y="377"/>
                      <a:pt x="1198" y="377"/>
                      <a:pt x="1198" y="377"/>
                    </a:cubicBezTo>
                    <a:cubicBezTo>
                      <a:pt x="1193" y="376"/>
                      <a:pt x="1191" y="377"/>
                      <a:pt x="1187" y="374"/>
                    </a:cubicBezTo>
                    <a:cubicBezTo>
                      <a:pt x="1186" y="374"/>
                      <a:pt x="1186" y="374"/>
                      <a:pt x="1186" y="374"/>
                    </a:cubicBezTo>
                    <a:cubicBezTo>
                      <a:pt x="1183" y="371"/>
                      <a:pt x="1183" y="371"/>
                      <a:pt x="1183" y="371"/>
                    </a:cubicBezTo>
                    <a:cubicBezTo>
                      <a:pt x="1179" y="363"/>
                      <a:pt x="1179" y="363"/>
                      <a:pt x="1179" y="363"/>
                    </a:cubicBezTo>
                    <a:cubicBezTo>
                      <a:pt x="1178" y="362"/>
                      <a:pt x="1178" y="362"/>
                      <a:pt x="1178" y="362"/>
                    </a:cubicBezTo>
                    <a:cubicBezTo>
                      <a:pt x="1187" y="361"/>
                      <a:pt x="1187" y="361"/>
                      <a:pt x="1187" y="361"/>
                    </a:cubicBezTo>
                    <a:cubicBezTo>
                      <a:pt x="1202" y="359"/>
                      <a:pt x="1202" y="359"/>
                      <a:pt x="1202" y="359"/>
                    </a:cubicBezTo>
                    <a:cubicBezTo>
                      <a:pt x="1204" y="359"/>
                      <a:pt x="1204" y="359"/>
                      <a:pt x="1204" y="359"/>
                    </a:cubicBezTo>
                    <a:cubicBezTo>
                      <a:pt x="1206" y="359"/>
                      <a:pt x="1206" y="359"/>
                      <a:pt x="1206" y="359"/>
                    </a:cubicBezTo>
                    <a:cubicBezTo>
                      <a:pt x="1206" y="360"/>
                      <a:pt x="1206" y="360"/>
                      <a:pt x="1206" y="360"/>
                    </a:cubicBezTo>
                    <a:cubicBezTo>
                      <a:pt x="1206" y="360"/>
                      <a:pt x="1206" y="360"/>
                      <a:pt x="1206" y="360"/>
                    </a:cubicBezTo>
                    <a:cubicBezTo>
                      <a:pt x="1207" y="360"/>
                      <a:pt x="1207" y="360"/>
                      <a:pt x="1207" y="360"/>
                    </a:cubicBezTo>
                    <a:cubicBezTo>
                      <a:pt x="1208" y="361"/>
                      <a:pt x="1208" y="361"/>
                      <a:pt x="1208" y="361"/>
                    </a:cubicBezTo>
                    <a:cubicBezTo>
                      <a:pt x="1209" y="363"/>
                      <a:pt x="1209" y="363"/>
                      <a:pt x="1209" y="363"/>
                    </a:cubicBezTo>
                    <a:cubicBezTo>
                      <a:pt x="1215" y="366"/>
                      <a:pt x="1215" y="366"/>
                      <a:pt x="1215" y="366"/>
                    </a:cubicBezTo>
                    <a:cubicBezTo>
                      <a:pt x="1217" y="367"/>
                      <a:pt x="1217" y="367"/>
                      <a:pt x="1217" y="367"/>
                    </a:cubicBezTo>
                    <a:cubicBezTo>
                      <a:pt x="1218" y="368"/>
                      <a:pt x="1218" y="368"/>
                      <a:pt x="1218" y="368"/>
                    </a:cubicBezTo>
                    <a:cubicBezTo>
                      <a:pt x="1219" y="368"/>
                      <a:pt x="1219" y="368"/>
                      <a:pt x="1219" y="368"/>
                    </a:cubicBezTo>
                    <a:cubicBezTo>
                      <a:pt x="1219" y="367"/>
                      <a:pt x="1219" y="367"/>
                      <a:pt x="1219" y="367"/>
                    </a:cubicBezTo>
                    <a:cubicBezTo>
                      <a:pt x="1220" y="367"/>
                      <a:pt x="1220" y="367"/>
                      <a:pt x="1220" y="367"/>
                    </a:cubicBezTo>
                    <a:cubicBezTo>
                      <a:pt x="1222" y="367"/>
                      <a:pt x="1222" y="367"/>
                      <a:pt x="1222" y="367"/>
                    </a:cubicBezTo>
                    <a:cubicBezTo>
                      <a:pt x="1222" y="367"/>
                      <a:pt x="1222" y="367"/>
                      <a:pt x="1222" y="367"/>
                    </a:cubicBezTo>
                    <a:cubicBezTo>
                      <a:pt x="1223" y="367"/>
                      <a:pt x="1223" y="367"/>
                      <a:pt x="1223" y="367"/>
                    </a:cubicBezTo>
                    <a:cubicBezTo>
                      <a:pt x="1223" y="367"/>
                      <a:pt x="1223" y="367"/>
                      <a:pt x="1223" y="367"/>
                    </a:cubicBezTo>
                    <a:cubicBezTo>
                      <a:pt x="1223" y="367"/>
                      <a:pt x="1223" y="367"/>
                      <a:pt x="1223" y="367"/>
                    </a:cubicBezTo>
                    <a:cubicBezTo>
                      <a:pt x="1222" y="366"/>
                      <a:pt x="1222" y="366"/>
                      <a:pt x="1222" y="366"/>
                    </a:cubicBezTo>
                    <a:cubicBezTo>
                      <a:pt x="1222" y="366"/>
                      <a:pt x="1222" y="366"/>
                      <a:pt x="1222" y="366"/>
                    </a:cubicBezTo>
                    <a:cubicBezTo>
                      <a:pt x="1221" y="366"/>
                      <a:pt x="1221" y="366"/>
                      <a:pt x="1221" y="366"/>
                    </a:cubicBezTo>
                    <a:cubicBezTo>
                      <a:pt x="1221" y="366"/>
                      <a:pt x="1221" y="366"/>
                      <a:pt x="1221" y="366"/>
                    </a:cubicBezTo>
                    <a:cubicBezTo>
                      <a:pt x="1221" y="366"/>
                      <a:pt x="1221" y="366"/>
                      <a:pt x="1221" y="366"/>
                    </a:cubicBezTo>
                    <a:cubicBezTo>
                      <a:pt x="1223" y="366"/>
                      <a:pt x="1223" y="366"/>
                      <a:pt x="1225" y="365"/>
                    </a:cubicBezTo>
                    <a:cubicBezTo>
                      <a:pt x="1225" y="365"/>
                      <a:pt x="1225" y="365"/>
                      <a:pt x="1225" y="365"/>
                    </a:cubicBezTo>
                    <a:cubicBezTo>
                      <a:pt x="1224" y="365"/>
                      <a:pt x="1224" y="365"/>
                      <a:pt x="1224" y="365"/>
                    </a:cubicBezTo>
                    <a:cubicBezTo>
                      <a:pt x="1224" y="365"/>
                      <a:pt x="1224" y="365"/>
                      <a:pt x="1224" y="365"/>
                    </a:cubicBezTo>
                    <a:cubicBezTo>
                      <a:pt x="1223" y="365"/>
                      <a:pt x="1223" y="365"/>
                      <a:pt x="1223" y="365"/>
                    </a:cubicBezTo>
                    <a:cubicBezTo>
                      <a:pt x="1223" y="365"/>
                      <a:pt x="1223" y="365"/>
                      <a:pt x="1223" y="365"/>
                    </a:cubicBezTo>
                    <a:cubicBezTo>
                      <a:pt x="1224" y="365"/>
                      <a:pt x="1224" y="365"/>
                      <a:pt x="1224" y="365"/>
                    </a:cubicBezTo>
                    <a:cubicBezTo>
                      <a:pt x="1224" y="364"/>
                      <a:pt x="1224" y="364"/>
                      <a:pt x="1224" y="364"/>
                    </a:cubicBezTo>
                    <a:cubicBezTo>
                      <a:pt x="1225" y="364"/>
                      <a:pt x="1225" y="364"/>
                      <a:pt x="1225" y="364"/>
                    </a:cubicBezTo>
                    <a:cubicBezTo>
                      <a:pt x="1226" y="364"/>
                      <a:pt x="1226" y="364"/>
                      <a:pt x="1226" y="364"/>
                    </a:cubicBezTo>
                    <a:cubicBezTo>
                      <a:pt x="1227" y="364"/>
                      <a:pt x="1227" y="364"/>
                      <a:pt x="1227" y="364"/>
                    </a:cubicBezTo>
                    <a:cubicBezTo>
                      <a:pt x="1228" y="364"/>
                      <a:pt x="1228" y="364"/>
                      <a:pt x="1228" y="364"/>
                    </a:cubicBezTo>
                    <a:cubicBezTo>
                      <a:pt x="1228" y="364"/>
                      <a:pt x="1228" y="364"/>
                      <a:pt x="1228" y="364"/>
                    </a:cubicBezTo>
                    <a:cubicBezTo>
                      <a:pt x="1229" y="364"/>
                      <a:pt x="1229" y="364"/>
                      <a:pt x="1229" y="364"/>
                    </a:cubicBezTo>
                    <a:cubicBezTo>
                      <a:pt x="1229" y="363"/>
                      <a:pt x="1229" y="363"/>
                      <a:pt x="1229" y="363"/>
                    </a:cubicBezTo>
                    <a:cubicBezTo>
                      <a:pt x="1258" y="357"/>
                      <a:pt x="1258" y="357"/>
                      <a:pt x="1258" y="357"/>
                    </a:cubicBezTo>
                    <a:cubicBezTo>
                      <a:pt x="1258" y="356"/>
                      <a:pt x="1258" y="356"/>
                      <a:pt x="1258" y="356"/>
                    </a:cubicBezTo>
                    <a:cubicBezTo>
                      <a:pt x="1258" y="356"/>
                      <a:pt x="1258" y="356"/>
                      <a:pt x="1258" y="356"/>
                    </a:cubicBezTo>
                    <a:cubicBezTo>
                      <a:pt x="1258" y="355"/>
                      <a:pt x="1260" y="354"/>
                      <a:pt x="1261" y="353"/>
                    </a:cubicBezTo>
                    <a:cubicBezTo>
                      <a:pt x="1261" y="352"/>
                      <a:pt x="1261" y="352"/>
                      <a:pt x="1261" y="352"/>
                    </a:cubicBezTo>
                    <a:cubicBezTo>
                      <a:pt x="1261" y="352"/>
                      <a:pt x="1261" y="352"/>
                      <a:pt x="1261" y="352"/>
                    </a:cubicBezTo>
                    <a:cubicBezTo>
                      <a:pt x="1261" y="352"/>
                      <a:pt x="1261" y="352"/>
                      <a:pt x="1261" y="352"/>
                    </a:cubicBezTo>
                    <a:cubicBezTo>
                      <a:pt x="1262" y="352"/>
                      <a:pt x="1262" y="352"/>
                      <a:pt x="1262" y="352"/>
                    </a:cubicBezTo>
                    <a:cubicBezTo>
                      <a:pt x="1263" y="351"/>
                      <a:pt x="1265" y="349"/>
                      <a:pt x="1266" y="348"/>
                    </a:cubicBezTo>
                    <a:cubicBezTo>
                      <a:pt x="1269" y="346"/>
                      <a:pt x="1269" y="346"/>
                      <a:pt x="1269" y="346"/>
                    </a:cubicBezTo>
                    <a:cubicBezTo>
                      <a:pt x="1270" y="345"/>
                      <a:pt x="1270" y="345"/>
                      <a:pt x="1270" y="345"/>
                    </a:cubicBezTo>
                    <a:cubicBezTo>
                      <a:pt x="1271" y="344"/>
                      <a:pt x="1271" y="344"/>
                      <a:pt x="1271" y="344"/>
                    </a:cubicBezTo>
                    <a:cubicBezTo>
                      <a:pt x="1271" y="344"/>
                      <a:pt x="1271" y="344"/>
                      <a:pt x="1271" y="344"/>
                    </a:cubicBezTo>
                    <a:cubicBezTo>
                      <a:pt x="1271" y="344"/>
                      <a:pt x="1271" y="344"/>
                      <a:pt x="1271" y="344"/>
                    </a:cubicBezTo>
                    <a:cubicBezTo>
                      <a:pt x="1271" y="343"/>
                      <a:pt x="1271" y="343"/>
                      <a:pt x="1271" y="343"/>
                    </a:cubicBezTo>
                    <a:cubicBezTo>
                      <a:pt x="1271" y="343"/>
                      <a:pt x="1271" y="343"/>
                      <a:pt x="1271" y="343"/>
                    </a:cubicBezTo>
                    <a:cubicBezTo>
                      <a:pt x="1271" y="342"/>
                      <a:pt x="1271" y="342"/>
                      <a:pt x="1271" y="342"/>
                    </a:cubicBezTo>
                    <a:cubicBezTo>
                      <a:pt x="1271" y="342"/>
                      <a:pt x="1271" y="342"/>
                      <a:pt x="1271" y="342"/>
                    </a:cubicBezTo>
                    <a:cubicBezTo>
                      <a:pt x="1270" y="342"/>
                      <a:pt x="1270" y="342"/>
                      <a:pt x="1270" y="342"/>
                    </a:cubicBezTo>
                    <a:cubicBezTo>
                      <a:pt x="1271" y="341"/>
                      <a:pt x="1271" y="341"/>
                      <a:pt x="1271" y="341"/>
                    </a:cubicBezTo>
                    <a:cubicBezTo>
                      <a:pt x="1272" y="340"/>
                      <a:pt x="1272" y="340"/>
                      <a:pt x="1272" y="340"/>
                    </a:cubicBezTo>
                    <a:cubicBezTo>
                      <a:pt x="1274" y="338"/>
                      <a:pt x="1274" y="338"/>
                      <a:pt x="1274" y="338"/>
                    </a:cubicBezTo>
                    <a:cubicBezTo>
                      <a:pt x="1275" y="337"/>
                      <a:pt x="1275" y="337"/>
                      <a:pt x="1275" y="337"/>
                    </a:cubicBezTo>
                    <a:cubicBezTo>
                      <a:pt x="1276" y="337"/>
                      <a:pt x="1276" y="337"/>
                      <a:pt x="1276" y="337"/>
                    </a:cubicBezTo>
                    <a:cubicBezTo>
                      <a:pt x="1276" y="336"/>
                      <a:pt x="1276" y="336"/>
                      <a:pt x="1276" y="336"/>
                    </a:cubicBezTo>
                    <a:cubicBezTo>
                      <a:pt x="1276" y="336"/>
                      <a:pt x="1276" y="336"/>
                      <a:pt x="1276" y="336"/>
                    </a:cubicBezTo>
                    <a:cubicBezTo>
                      <a:pt x="1277" y="336"/>
                      <a:pt x="1277" y="336"/>
                      <a:pt x="1277" y="336"/>
                    </a:cubicBezTo>
                    <a:cubicBezTo>
                      <a:pt x="1277" y="335"/>
                      <a:pt x="1277" y="335"/>
                      <a:pt x="1277" y="335"/>
                    </a:cubicBezTo>
                    <a:cubicBezTo>
                      <a:pt x="1277" y="335"/>
                      <a:pt x="1277" y="335"/>
                      <a:pt x="1277" y="335"/>
                    </a:cubicBezTo>
                    <a:cubicBezTo>
                      <a:pt x="1277" y="334"/>
                      <a:pt x="1277" y="334"/>
                      <a:pt x="1277" y="333"/>
                    </a:cubicBezTo>
                    <a:cubicBezTo>
                      <a:pt x="1277" y="333"/>
                      <a:pt x="1277" y="333"/>
                      <a:pt x="1277" y="333"/>
                    </a:cubicBezTo>
                    <a:cubicBezTo>
                      <a:pt x="1279" y="331"/>
                      <a:pt x="1279" y="331"/>
                      <a:pt x="1279" y="331"/>
                    </a:cubicBezTo>
                    <a:cubicBezTo>
                      <a:pt x="1282" y="329"/>
                      <a:pt x="1282" y="329"/>
                      <a:pt x="1282" y="329"/>
                    </a:cubicBezTo>
                    <a:cubicBezTo>
                      <a:pt x="1291" y="323"/>
                      <a:pt x="1291" y="323"/>
                      <a:pt x="1291" y="323"/>
                    </a:cubicBezTo>
                    <a:cubicBezTo>
                      <a:pt x="1295" y="320"/>
                      <a:pt x="1295" y="320"/>
                      <a:pt x="1295" y="320"/>
                    </a:cubicBezTo>
                    <a:cubicBezTo>
                      <a:pt x="1297" y="319"/>
                      <a:pt x="1297" y="319"/>
                      <a:pt x="1297" y="319"/>
                    </a:cubicBezTo>
                    <a:cubicBezTo>
                      <a:pt x="1297" y="318"/>
                      <a:pt x="1297" y="318"/>
                      <a:pt x="1297" y="318"/>
                    </a:cubicBezTo>
                    <a:cubicBezTo>
                      <a:pt x="1297" y="318"/>
                      <a:pt x="1297" y="317"/>
                      <a:pt x="1297" y="317"/>
                    </a:cubicBezTo>
                    <a:cubicBezTo>
                      <a:pt x="1297" y="316"/>
                      <a:pt x="1297" y="316"/>
                      <a:pt x="1297" y="316"/>
                    </a:cubicBezTo>
                    <a:cubicBezTo>
                      <a:pt x="1297" y="316"/>
                      <a:pt x="1297" y="316"/>
                      <a:pt x="1297" y="316"/>
                    </a:cubicBezTo>
                    <a:cubicBezTo>
                      <a:pt x="1296" y="316"/>
                      <a:pt x="1296" y="316"/>
                      <a:pt x="1295" y="315"/>
                    </a:cubicBezTo>
                    <a:cubicBezTo>
                      <a:pt x="1295" y="314"/>
                      <a:pt x="1295" y="314"/>
                      <a:pt x="1295" y="314"/>
                    </a:cubicBezTo>
                    <a:cubicBezTo>
                      <a:pt x="1296" y="314"/>
                      <a:pt x="1296" y="314"/>
                      <a:pt x="1296" y="314"/>
                    </a:cubicBezTo>
                    <a:cubicBezTo>
                      <a:pt x="1297" y="312"/>
                      <a:pt x="1297" y="312"/>
                      <a:pt x="1297" y="312"/>
                    </a:cubicBezTo>
                    <a:cubicBezTo>
                      <a:pt x="1298" y="312"/>
                      <a:pt x="1298" y="312"/>
                      <a:pt x="1298" y="312"/>
                    </a:cubicBezTo>
                    <a:cubicBezTo>
                      <a:pt x="1299" y="311"/>
                      <a:pt x="1299" y="311"/>
                      <a:pt x="1299" y="310"/>
                    </a:cubicBezTo>
                    <a:cubicBezTo>
                      <a:pt x="1299" y="310"/>
                      <a:pt x="1299" y="310"/>
                      <a:pt x="1299" y="310"/>
                    </a:cubicBezTo>
                    <a:cubicBezTo>
                      <a:pt x="1299" y="309"/>
                      <a:pt x="1299" y="309"/>
                      <a:pt x="1299" y="309"/>
                    </a:cubicBezTo>
                    <a:cubicBezTo>
                      <a:pt x="1299" y="309"/>
                      <a:pt x="1298" y="309"/>
                      <a:pt x="1299" y="308"/>
                    </a:cubicBezTo>
                    <a:cubicBezTo>
                      <a:pt x="1299" y="308"/>
                      <a:pt x="1299" y="308"/>
                      <a:pt x="1299" y="308"/>
                    </a:cubicBezTo>
                    <a:cubicBezTo>
                      <a:pt x="1299" y="307"/>
                      <a:pt x="1299" y="307"/>
                      <a:pt x="1299" y="307"/>
                    </a:cubicBezTo>
                    <a:cubicBezTo>
                      <a:pt x="1299" y="307"/>
                      <a:pt x="1299" y="307"/>
                      <a:pt x="1299" y="307"/>
                    </a:cubicBezTo>
                    <a:cubicBezTo>
                      <a:pt x="1299" y="306"/>
                      <a:pt x="1299" y="306"/>
                      <a:pt x="1299" y="306"/>
                    </a:cubicBezTo>
                    <a:cubicBezTo>
                      <a:pt x="1299" y="306"/>
                      <a:pt x="1299" y="306"/>
                      <a:pt x="1299" y="306"/>
                    </a:cubicBezTo>
                    <a:cubicBezTo>
                      <a:pt x="1299" y="305"/>
                      <a:pt x="1299" y="305"/>
                      <a:pt x="1299" y="305"/>
                    </a:cubicBezTo>
                    <a:cubicBezTo>
                      <a:pt x="1298" y="305"/>
                      <a:pt x="1298" y="305"/>
                      <a:pt x="1298" y="305"/>
                    </a:cubicBezTo>
                    <a:cubicBezTo>
                      <a:pt x="1298" y="305"/>
                      <a:pt x="1298" y="305"/>
                      <a:pt x="1298" y="305"/>
                    </a:cubicBezTo>
                    <a:cubicBezTo>
                      <a:pt x="1298" y="305"/>
                      <a:pt x="1298" y="305"/>
                      <a:pt x="1298" y="305"/>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3"/>
                      <a:pt x="1298" y="303"/>
                      <a:pt x="1298" y="303"/>
                    </a:cubicBezTo>
                    <a:cubicBezTo>
                      <a:pt x="1297" y="303"/>
                      <a:pt x="1297" y="303"/>
                      <a:pt x="1297" y="303"/>
                    </a:cubicBezTo>
                    <a:cubicBezTo>
                      <a:pt x="1297" y="303"/>
                      <a:pt x="1297" y="303"/>
                      <a:pt x="1297" y="303"/>
                    </a:cubicBezTo>
                    <a:cubicBezTo>
                      <a:pt x="1297" y="302"/>
                      <a:pt x="1297" y="302"/>
                      <a:pt x="1297" y="302"/>
                    </a:cubicBezTo>
                    <a:cubicBezTo>
                      <a:pt x="1296" y="301"/>
                      <a:pt x="1294" y="300"/>
                      <a:pt x="1296" y="298"/>
                    </a:cubicBezTo>
                    <a:cubicBezTo>
                      <a:pt x="1296" y="298"/>
                      <a:pt x="1296" y="298"/>
                      <a:pt x="1296" y="298"/>
                    </a:cubicBezTo>
                    <a:cubicBezTo>
                      <a:pt x="1298" y="296"/>
                      <a:pt x="1298" y="296"/>
                      <a:pt x="1298" y="296"/>
                    </a:cubicBezTo>
                    <a:cubicBezTo>
                      <a:pt x="1300" y="293"/>
                      <a:pt x="1300" y="293"/>
                      <a:pt x="1300" y="293"/>
                    </a:cubicBezTo>
                    <a:cubicBezTo>
                      <a:pt x="1307" y="286"/>
                      <a:pt x="1307" y="286"/>
                      <a:pt x="1307" y="286"/>
                    </a:cubicBezTo>
                    <a:cubicBezTo>
                      <a:pt x="1310" y="283"/>
                      <a:pt x="1310" y="283"/>
                      <a:pt x="1310" y="283"/>
                    </a:cubicBezTo>
                    <a:cubicBezTo>
                      <a:pt x="1311" y="281"/>
                      <a:pt x="1311" y="281"/>
                      <a:pt x="1311" y="281"/>
                    </a:cubicBezTo>
                    <a:cubicBezTo>
                      <a:pt x="1312" y="280"/>
                      <a:pt x="1311" y="278"/>
                      <a:pt x="1310" y="277"/>
                    </a:cubicBezTo>
                    <a:cubicBezTo>
                      <a:pt x="1309" y="277"/>
                      <a:pt x="1309" y="277"/>
                      <a:pt x="1309" y="277"/>
                    </a:cubicBezTo>
                    <a:cubicBezTo>
                      <a:pt x="1309" y="277"/>
                      <a:pt x="1309" y="277"/>
                      <a:pt x="1309" y="277"/>
                    </a:cubicBezTo>
                    <a:cubicBezTo>
                      <a:pt x="1306" y="274"/>
                      <a:pt x="1305" y="275"/>
                      <a:pt x="1303" y="273"/>
                    </a:cubicBezTo>
                    <a:cubicBezTo>
                      <a:pt x="1302" y="273"/>
                      <a:pt x="1302" y="273"/>
                      <a:pt x="1302" y="273"/>
                    </a:cubicBezTo>
                    <a:cubicBezTo>
                      <a:pt x="1302" y="272"/>
                      <a:pt x="1302" y="272"/>
                      <a:pt x="1302" y="272"/>
                    </a:cubicBezTo>
                    <a:cubicBezTo>
                      <a:pt x="1301" y="272"/>
                      <a:pt x="1301" y="272"/>
                      <a:pt x="1301" y="272"/>
                    </a:cubicBezTo>
                    <a:cubicBezTo>
                      <a:pt x="1294" y="266"/>
                      <a:pt x="1293" y="268"/>
                      <a:pt x="1287" y="264"/>
                    </a:cubicBezTo>
                    <a:cubicBezTo>
                      <a:pt x="1286" y="263"/>
                      <a:pt x="1286" y="263"/>
                      <a:pt x="1286" y="263"/>
                    </a:cubicBezTo>
                    <a:cubicBezTo>
                      <a:pt x="1286" y="263"/>
                      <a:pt x="1286" y="263"/>
                      <a:pt x="1286" y="263"/>
                    </a:cubicBezTo>
                    <a:cubicBezTo>
                      <a:pt x="1285" y="263"/>
                      <a:pt x="1285" y="263"/>
                      <a:pt x="1285" y="263"/>
                    </a:cubicBezTo>
                    <a:cubicBezTo>
                      <a:pt x="1285" y="263"/>
                      <a:pt x="1285" y="263"/>
                      <a:pt x="1285" y="263"/>
                    </a:cubicBezTo>
                    <a:cubicBezTo>
                      <a:pt x="1285" y="262"/>
                      <a:pt x="1285" y="262"/>
                      <a:pt x="1285" y="262"/>
                    </a:cubicBezTo>
                    <a:cubicBezTo>
                      <a:pt x="1284" y="262"/>
                      <a:pt x="1284" y="262"/>
                      <a:pt x="1284" y="262"/>
                    </a:cubicBezTo>
                    <a:cubicBezTo>
                      <a:pt x="1284" y="262"/>
                      <a:pt x="1284" y="262"/>
                      <a:pt x="1284" y="262"/>
                    </a:cubicBezTo>
                    <a:cubicBezTo>
                      <a:pt x="1283" y="261"/>
                      <a:pt x="1281" y="258"/>
                      <a:pt x="1281" y="258"/>
                    </a:cubicBezTo>
                    <a:cubicBezTo>
                      <a:pt x="1281" y="257"/>
                      <a:pt x="1281" y="257"/>
                      <a:pt x="1281" y="257"/>
                    </a:cubicBezTo>
                    <a:cubicBezTo>
                      <a:pt x="1281" y="257"/>
                      <a:pt x="1281" y="257"/>
                      <a:pt x="1281" y="257"/>
                    </a:cubicBezTo>
                    <a:cubicBezTo>
                      <a:pt x="1280" y="256"/>
                      <a:pt x="1280" y="255"/>
                      <a:pt x="1280" y="253"/>
                    </a:cubicBezTo>
                    <a:cubicBezTo>
                      <a:pt x="1280" y="253"/>
                      <a:pt x="1280" y="253"/>
                      <a:pt x="1280" y="253"/>
                    </a:cubicBezTo>
                    <a:cubicBezTo>
                      <a:pt x="1280" y="253"/>
                      <a:pt x="1280" y="253"/>
                      <a:pt x="1280" y="253"/>
                    </a:cubicBezTo>
                    <a:cubicBezTo>
                      <a:pt x="1280" y="253"/>
                      <a:pt x="1280" y="253"/>
                      <a:pt x="1280" y="253"/>
                    </a:cubicBezTo>
                    <a:cubicBezTo>
                      <a:pt x="1280" y="252"/>
                      <a:pt x="1280" y="252"/>
                      <a:pt x="1280" y="252"/>
                    </a:cubicBezTo>
                    <a:cubicBezTo>
                      <a:pt x="1280" y="252"/>
                      <a:pt x="1280" y="252"/>
                      <a:pt x="1280" y="252"/>
                    </a:cubicBezTo>
                    <a:cubicBezTo>
                      <a:pt x="1280" y="248"/>
                      <a:pt x="1282" y="244"/>
                      <a:pt x="1283" y="240"/>
                    </a:cubicBezTo>
                    <a:cubicBezTo>
                      <a:pt x="1283" y="240"/>
                      <a:pt x="1283" y="240"/>
                      <a:pt x="1283" y="240"/>
                    </a:cubicBezTo>
                    <a:cubicBezTo>
                      <a:pt x="1282" y="239"/>
                      <a:pt x="1282" y="239"/>
                      <a:pt x="1282" y="239"/>
                    </a:cubicBezTo>
                    <a:cubicBezTo>
                      <a:pt x="1282" y="239"/>
                      <a:pt x="1282" y="238"/>
                      <a:pt x="1282" y="238"/>
                    </a:cubicBezTo>
                    <a:cubicBezTo>
                      <a:pt x="1282" y="237"/>
                      <a:pt x="1282" y="237"/>
                      <a:pt x="1282" y="237"/>
                    </a:cubicBezTo>
                    <a:cubicBezTo>
                      <a:pt x="1282" y="237"/>
                      <a:pt x="1282" y="237"/>
                      <a:pt x="1282" y="237"/>
                    </a:cubicBezTo>
                    <a:cubicBezTo>
                      <a:pt x="1282" y="236"/>
                      <a:pt x="1282" y="236"/>
                      <a:pt x="1282" y="236"/>
                    </a:cubicBezTo>
                    <a:cubicBezTo>
                      <a:pt x="1282" y="234"/>
                      <a:pt x="1283" y="231"/>
                      <a:pt x="1282" y="229"/>
                    </a:cubicBezTo>
                    <a:cubicBezTo>
                      <a:pt x="1282" y="228"/>
                      <a:pt x="1282" y="228"/>
                      <a:pt x="1282" y="228"/>
                    </a:cubicBezTo>
                    <a:cubicBezTo>
                      <a:pt x="1282" y="228"/>
                      <a:pt x="1282" y="228"/>
                      <a:pt x="1282" y="228"/>
                    </a:cubicBezTo>
                    <a:cubicBezTo>
                      <a:pt x="1282" y="228"/>
                      <a:pt x="1282" y="228"/>
                      <a:pt x="1282" y="228"/>
                    </a:cubicBezTo>
                    <a:cubicBezTo>
                      <a:pt x="1282" y="227"/>
                      <a:pt x="1282" y="227"/>
                      <a:pt x="1282" y="227"/>
                    </a:cubicBezTo>
                    <a:cubicBezTo>
                      <a:pt x="1281" y="227"/>
                      <a:pt x="1281" y="227"/>
                      <a:pt x="1281" y="227"/>
                    </a:cubicBezTo>
                    <a:cubicBezTo>
                      <a:pt x="1281" y="227"/>
                      <a:pt x="1281" y="227"/>
                      <a:pt x="1281" y="227"/>
                    </a:cubicBezTo>
                    <a:cubicBezTo>
                      <a:pt x="1281" y="226"/>
                      <a:pt x="1281" y="226"/>
                      <a:pt x="1281" y="226"/>
                    </a:cubicBezTo>
                    <a:cubicBezTo>
                      <a:pt x="1281" y="226"/>
                      <a:pt x="1281" y="226"/>
                      <a:pt x="1281" y="226"/>
                    </a:cubicBezTo>
                    <a:cubicBezTo>
                      <a:pt x="1281" y="226"/>
                      <a:pt x="1281" y="226"/>
                      <a:pt x="1281" y="226"/>
                    </a:cubicBezTo>
                    <a:cubicBezTo>
                      <a:pt x="1281" y="225"/>
                      <a:pt x="1281" y="225"/>
                      <a:pt x="1281" y="225"/>
                    </a:cubicBezTo>
                    <a:cubicBezTo>
                      <a:pt x="1281" y="223"/>
                      <a:pt x="1281" y="223"/>
                      <a:pt x="1281" y="223"/>
                    </a:cubicBezTo>
                    <a:cubicBezTo>
                      <a:pt x="1283" y="219"/>
                      <a:pt x="1283" y="219"/>
                      <a:pt x="1283" y="219"/>
                    </a:cubicBezTo>
                    <a:cubicBezTo>
                      <a:pt x="1283" y="217"/>
                      <a:pt x="1283" y="217"/>
                      <a:pt x="1283" y="217"/>
                    </a:cubicBezTo>
                    <a:cubicBezTo>
                      <a:pt x="1284" y="216"/>
                      <a:pt x="1284" y="216"/>
                      <a:pt x="1284" y="216"/>
                    </a:cubicBezTo>
                    <a:cubicBezTo>
                      <a:pt x="1284" y="215"/>
                      <a:pt x="1284" y="214"/>
                      <a:pt x="1284" y="214"/>
                    </a:cubicBezTo>
                    <a:cubicBezTo>
                      <a:pt x="1284" y="213"/>
                      <a:pt x="1284" y="213"/>
                      <a:pt x="1284" y="213"/>
                    </a:cubicBezTo>
                    <a:cubicBezTo>
                      <a:pt x="1284" y="213"/>
                      <a:pt x="1284" y="213"/>
                      <a:pt x="1284" y="213"/>
                    </a:cubicBezTo>
                    <a:cubicBezTo>
                      <a:pt x="1284" y="213"/>
                      <a:pt x="1284" y="213"/>
                      <a:pt x="1284" y="213"/>
                    </a:cubicBezTo>
                    <a:cubicBezTo>
                      <a:pt x="1284" y="211"/>
                      <a:pt x="1283" y="210"/>
                      <a:pt x="1282" y="208"/>
                    </a:cubicBezTo>
                    <a:cubicBezTo>
                      <a:pt x="1282" y="208"/>
                      <a:pt x="1282" y="208"/>
                      <a:pt x="1282" y="208"/>
                    </a:cubicBezTo>
                    <a:cubicBezTo>
                      <a:pt x="1282" y="208"/>
                      <a:pt x="1282" y="208"/>
                      <a:pt x="1282" y="208"/>
                    </a:cubicBezTo>
                    <a:cubicBezTo>
                      <a:pt x="1281" y="208"/>
                      <a:pt x="1281" y="208"/>
                      <a:pt x="1281" y="208"/>
                    </a:cubicBezTo>
                    <a:cubicBezTo>
                      <a:pt x="1281" y="207"/>
                      <a:pt x="1281" y="207"/>
                      <a:pt x="1281" y="207"/>
                    </a:cubicBezTo>
                    <a:cubicBezTo>
                      <a:pt x="1281" y="207"/>
                      <a:pt x="1281" y="207"/>
                      <a:pt x="1281" y="207"/>
                    </a:cubicBezTo>
                    <a:cubicBezTo>
                      <a:pt x="1280" y="207"/>
                      <a:pt x="1280" y="207"/>
                      <a:pt x="1280" y="207"/>
                    </a:cubicBezTo>
                    <a:cubicBezTo>
                      <a:pt x="1280" y="206"/>
                      <a:pt x="1280" y="206"/>
                      <a:pt x="1280" y="206"/>
                    </a:cubicBezTo>
                    <a:cubicBezTo>
                      <a:pt x="1280" y="206"/>
                      <a:pt x="1280" y="206"/>
                      <a:pt x="1280" y="206"/>
                    </a:cubicBezTo>
                    <a:cubicBezTo>
                      <a:pt x="1280" y="206"/>
                      <a:pt x="1280" y="206"/>
                      <a:pt x="1280" y="206"/>
                    </a:cubicBezTo>
                    <a:cubicBezTo>
                      <a:pt x="1280" y="205"/>
                      <a:pt x="1280" y="205"/>
                      <a:pt x="1280" y="205"/>
                    </a:cubicBezTo>
                    <a:cubicBezTo>
                      <a:pt x="1280" y="203"/>
                      <a:pt x="1280" y="203"/>
                      <a:pt x="1280" y="203"/>
                    </a:cubicBezTo>
                    <a:cubicBezTo>
                      <a:pt x="1281" y="199"/>
                      <a:pt x="1281" y="199"/>
                      <a:pt x="1281" y="199"/>
                    </a:cubicBezTo>
                    <a:cubicBezTo>
                      <a:pt x="1282" y="198"/>
                      <a:pt x="1282" y="197"/>
                      <a:pt x="1282" y="195"/>
                    </a:cubicBezTo>
                    <a:cubicBezTo>
                      <a:pt x="1282" y="195"/>
                      <a:pt x="1282" y="195"/>
                      <a:pt x="1282" y="195"/>
                    </a:cubicBezTo>
                    <a:cubicBezTo>
                      <a:pt x="1281" y="195"/>
                      <a:pt x="1281" y="195"/>
                      <a:pt x="1281" y="195"/>
                    </a:cubicBezTo>
                    <a:cubicBezTo>
                      <a:pt x="1281" y="195"/>
                      <a:pt x="1281" y="195"/>
                      <a:pt x="1281" y="195"/>
                    </a:cubicBezTo>
                    <a:cubicBezTo>
                      <a:pt x="1281" y="194"/>
                      <a:pt x="1281" y="194"/>
                      <a:pt x="1281" y="194"/>
                    </a:cubicBezTo>
                    <a:cubicBezTo>
                      <a:pt x="1280" y="194"/>
                      <a:pt x="1280" y="194"/>
                      <a:pt x="1280" y="194"/>
                    </a:cubicBezTo>
                    <a:cubicBezTo>
                      <a:pt x="1280" y="193"/>
                      <a:pt x="1280" y="193"/>
                      <a:pt x="1280" y="193"/>
                    </a:cubicBezTo>
                    <a:cubicBezTo>
                      <a:pt x="1279" y="193"/>
                      <a:pt x="1279" y="193"/>
                      <a:pt x="1279" y="193"/>
                    </a:cubicBezTo>
                    <a:cubicBezTo>
                      <a:pt x="1278" y="191"/>
                      <a:pt x="1278" y="191"/>
                      <a:pt x="1278" y="191"/>
                    </a:cubicBezTo>
                    <a:cubicBezTo>
                      <a:pt x="1277" y="190"/>
                      <a:pt x="1277" y="190"/>
                      <a:pt x="1277" y="190"/>
                    </a:cubicBezTo>
                    <a:cubicBezTo>
                      <a:pt x="1277" y="189"/>
                      <a:pt x="1277" y="189"/>
                      <a:pt x="1277" y="189"/>
                    </a:cubicBezTo>
                    <a:cubicBezTo>
                      <a:pt x="1278" y="189"/>
                      <a:pt x="1278" y="189"/>
                      <a:pt x="1278" y="189"/>
                    </a:cubicBezTo>
                    <a:cubicBezTo>
                      <a:pt x="1278" y="188"/>
                      <a:pt x="1279" y="187"/>
                      <a:pt x="1280" y="187"/>
                    </a:cubicBezTo>
                    <a:cubicBezTo>
                      <a:pt x="1280" y="186"/>
                      <a:pt x="1280" y="186"/>
                      <a:pt x="1280" y="186"/>
                    </a:cubicBezTo>
                    <a:cubicBezTo>
                      <a:pt x="1281" y="186"/>
                      <a:pt x="1281" y="186"/>
                      <a:pt x="1281" y="186"/>
                    </a:cubicBezTo>
                    <a:cubicBezTo>
                      <a:pt x="1282" y="185"/>
                      <a:pt x="1282" y="185"/>
                      <a:pt x="1282" y="185"/>
                    </a:cubicBezTo>
                    <a:cubicBezTo>
                      <a:pt x="1285" y="184"/>
                      <a:pt x="1285" y="184"/>
                      <a:pt x="1285" y="184"/>
                    </a:cubicBezTo>
                    <a:cubicBezTo>
                      <a:pt x="1286" y="183"/>
                      <a:pt x="1286" y="183"/>
                      <a:pt x="1286" y="183"/>
                    </a:cubicBezTo>
                    <a:cubicBezTo>
                      <a:pt x="1287" y="183"/>
                      <a:pt x="1287" y="183"/>
                      <a:pt x="1287" y="183"/>
                    </a:cubicBezTo>
                    <a:cubicBezTo>
                      <a:pt x="1286" y="182"/>
                      <a:pt x="1286" y="182"/>
                      <a:pt x="1286" y="182"/>
                    </a:cubicBezTo>
                    <a:cubicBezTo>
                      <a:pt x="1286" y="182"/>
                      <a:pt x="1286" y="182"/>
                      <a:pt x="1286" y="182"/>
                    </a:cubicBezTo>
                    <a:cubicBezTo>
                      <a:pt x="1286" y="182"/>
                      <a:pt x="1286" y="182"/>
                      <a:pt x="1286" y="182"/>
                    </a:cubicBezTo>
                    <a:cubicBezTo>
                      <a:pt x="1286" y="181"/>
                      <a:pt x="1286" y="181"/>
                      <a:pt x="1286" y="181"/>
                    </a:cubicBezTo>
                    <a:cubicBezTo>
                      <a:pt x="1286" y="181"/>
                      <a:pt x="1286" y="181"/>
                      <a:pt x="1286" y="181"/>
                    </a:cubicBezTo>
                    <a:cubicBezTo>
                      <a:pt x="1286" y="180"/>
                      <a:pt x="1287" y="178"/>
                      <a:pt x="1286" y="177"/>
                    </a:cubicBezTo>
                    <a:cubicBezTo>
                      <a:pt x="1286" y="176"/>
                      <a:pt x="1286" y="176"/>
                      <a:pt x="1286" y="176"/>
                    </a:cubicBezTo>
                    <a:cubicBezTo>
                      <a:pt x="1286" y="176"/>
                      <a:pt x="1286" y="176"/>
                      <a:pt x="1286" y="176"/>
                    </a:cubicBezTo>
                    <a:cubicBezTo>
                      <a:pt x="1286" y="176"/>
                      <a:pt x="1286" y="176"/>
                      <a:pt x="1286" y="176"/>
                    </a:cubicBezTo>
                    <a:cubicBezTo>
                      <a:pt x="1285" y="176"/>
                      <a:pt x="1285" y="176"/>
                      <a:pt x="1285" y="176"/>
                    </a:cubicBezTo>
                    <a:cubicBezTo>
                      <a:pt x="1285" y="175"/>
                      <a:pt x="1285" y="175"/>
                      <a:pt x="1285" y="175"/>
                    </a:cubicBezTo>
                    <a:cubicBezTo>
                      <a:pt x="1285" y="173"/>
                      <a:pt x="1285" y="173"/>
                      <a:pt x="1285" y="173"/>
                    </a:cubicBezTo>
                    <a:cubicBezTo>
                      <a:pt x="1286" y="171"/>
                      <a:pt x="1286" y="171"/>
                      <a:pt x="1286" y="171"/>
                    </a:cubicBezTo>
                    <a:cubicBezTo>
                      <a:pt x="1286" y="169"/>
                      <a:pt x="1286" y="169"/>
                      <a:pt x="1286" y="169"/>
                    </a:cubicBezTo>
                    <a:cubicBezTo>
                      <a:pt x="1287" y="168"/>
                      <a:pt x="1287" y="168"/>
                      <a:pt x="1287" y="168"/>
                    </a:cubicBezTo>
                    <a:cubicBezTo>
                      <a:pt x="1287" y="167"/>
                      <a:pt x="1287" y="167"/>
                      <a:pt x="1287" y="167"/>
                    </a:cubicBezTo>
                    <a:cubicBezTo>
                      <a:pt x="1287" y="167"/>
                      <a:pt x="1287" y="167"/>
                      <a:pt x="1287" y="167"/>
                    </a:cubicBezTo>
                    <a:cubicBezTo>
                      <a:pt x="1287" y="166"/>
                      <a:pt x="1287" y="166"/>
                      <a:pt x="1287" y="166"/>
                    </a:cubicBezTo>
                    <a:cubicBezTo>
                      <a:pt x="1287" y="165"/>
                      <a:pt x="1287" y="165"/>
                      <a:pt x="1287" y="165"/>
                    </a:cubicBezTo>
                    <a:cubicBezTo>
                      <a:pt x="1288" y="164"/>
                      <a:pt x="1288" y="164"/>
                      <a:pt x="1288" y="164"/>
                    </a:cubicBezTo>
                    <a:cubicBezTo>
                      <a:pt x="1288" y="163"/>
                      <a:pt x="1288" y="163"/>
                      <a:pt x="1288" y="163"/>
                    </a:cubicBezTo>
                    <a:cubicBezTo>
                      <a:pt x="1288" y="161"/>
                      <a:pt x="1289" y="160"/>
                      <a:pt x="1288" y="159"/>
                    </a:cubicBezTo>
                    <a:cubicBezTo>
                      <a:pt x="1287" y="158"/>
                      <a:pt x="1287" y="158"/>
                      <a:pt x="1287" y="158"/>
                    </a:cubicBezTo>
                    <a:cubicBezTo>
                      <a:pt x="1287" y="158"/>
                      <a:pt x="1287" y="158"/>
                      <a:pt x="1287" y="158"/>
                    </a:cubicBezTo>
                    <a:cubicBezTo>
                      <a:pt x="1285" y="156"/>
                      <a:pt x="1285" y="157"/>
                      <a:pt x="1284" y="155"/>
                    </a:cubicBezTo>
                    <a:cubicBezTo>
                      <a:pt x="1284" y="154"/>
                      <a:pt x="1284" y="154"/>
                      <a:pt x="1284" y="154"/>
                    </a:cubicBezTo>
                    <a:cubicBezTo>
                      <a:pt x="1284" y="154"/>
                      <a:pt x="1284" y="154"/>
                      <a:pt x="1284" y="154"/>
                    </a:cubicBezTo>
                    <a:cubicBezTo>
                      <a:pt x="1284" y="154"/>
                      <a:pt x="1284" y="154"/>
                      <a:pt x="1284" y="154"/>
                    </a:cubicBezTo>
                    <a:cubicBezTo>
                      <a:pt x="1283" y="153"/>
                      <a:pt x="1283" y="153"/>
                      <a:pt x="1283" y="153"/>
                    </a:cubicBezTo>
                    <a:cubicBezTo>
                      <a:pt x="1283" y="153"/>
                      <a:pt x="1283" y="153"/>
                      <a:pt x="1283" y="153"/>
                    </a:cubicBezTo>
                    <a:cubicBezTo>
                      <a:pt x="1283" y="153"/>
                      <a:pt x="1283" y="153"/>
                      <a:pt x="1283" y="153"/>
                    </a:cubicBezTo>
                    <a:cubicBezTo>
                      <a:pt x="1282" y="149"/>
                      <a:pt x="1285" y="149"/>
                      <a:pt x="1282" y="146"/>
                    </a:cubicBezTo>
                    <a:cubicBezTo>
                      <a:pt x="1282" y="146"/>
                      <a:pt x="1282" y="146"/>
                      <a:pt x="1282" y="146"/>
                    </a:cubicBezTo>
                    <a:cubicBezTo>
                      <a:pt x="1282" y="145"/>
                      <a:pt x="1282" y="145"/>
                      <a:pt x="1282" y="145"/>
                    </a:cubicBezTo>
                    <a:cubicBezTo>
                      <a:pt x="1280" y="144"/>
                      <a:pt x="1278" y="145"/>
                      <a:pt x="1275" y="143"/>
                    </a:cubicBezTo>
                    <a:cubicBezTo>
                      <a:pt x="1275" y="143"/>
                      <a:pt x="1275" y="143"/>
                      <a:pt x="1275" y="143"/>
                    </a:cubicBezTo>
                    <a:cubicBezTo>
                      <a:pt x="1274" y="142"/>
                      <a:pt x="1274" y="142"/>
                      <a:pt x="1274" y="142"/>
                    </a:cubicBezTo>
                    <a:cubicBezTo>
                      <a:pt x="1274" y="142"/>
                      <a:pt x="1274" y="142"/>
                      <a:pt x="1274" y="142"/>
                    </a:cubicBezTo>
                    <a:cubicBezTo>
                      <a:pt x="1269" y="139"/>
                      <a:pt x="1267" y="139"/>
                      <a:pt x="1264" y="135"/>
                    </a:cubicBezTo>
                    <a:cubicBezTo>
                      <a:pt x="1263" y="134"/>
                      <a:pt x="1263" y="134"/>
                      <a:pt x="1263" y="134"/>
                    </a:cubicBezTo>
                    <a:cubicBezTo>
                      <a:pt x="1263" y="134"/>
                      <a:pt x="1263" y="134"/>
                      <a:pt x="1263" y="134"/>
                    </a:cubicBezTo>
                    <a:cubicBezTo>
                      <a:pt x="1263" y="134"/>
                      <a:pt x="1263" y="134"/>
                      <a:pt x="1263" y="134"/>
                    </a:cubicBezTo>
                    <a:cubicBezTo>
                      <a:pt x="1262" y="133"/>
                      <a:pt x="1262" y="133"/>
                      <a:pt x="1262" y="133"/>
                    </a:cubicBezTo>
                    <a:cubicBezTo>
                      <a:pt x="1262" y="133"/>
                      <a:pt x="1262" y="133"/>
                      <a:pt x="1262" y="133"/>
                    </a:cubicBezTo>
                    <a:cubicBezTo>
                      <a:pt x="1262" y="133"/>
                      <a:pt x="1262" y="133"/>
                      <a:pt x="1262" y="133"/>
                    </a:cubicBezTo>
                    <a:cubicBezTo>
                      <a:pt x="1262" y="133"/>
                      <a:pt x="1262" y="133"/>
                      <a:pt x="1262" y="133"/>
                    </a:cubicBezTo>
                    <a:cubicBezTo>
                      <a:pt x="1260" y="128"/>
                      <a:pt x="1258" y="126"/>
                      <a:pt x="1262" y="125"/>
                    </a:cubicBezTo>
                    <a:cubicBezTo>
                      <a:pt x="1262" y="124"/>
                      <a:pt x="1262" y="124"/>
                      <a:pt x="1262" y="124"/>
                    </a:cubicBezTo>
                    <a:cubicBezTo>
                      <a:pt x="1263" y="124"/>
                      <a:pt x="1263" y="124"/>
                      <a:pt x="1263" y="124"/>
                    </a:cubicBezTo>
                    <a:cubicBezTo>
                      <a:pt x="1263" y="124"/>
                      <a:pt x="1263" y="123"/>
                      <a:pt x="1264" y="123"/>
                    </a:cubicBezTo>
                    <a:cubicBezTo>
                      <a:pt x="1264" y="123"/>
                      <a:pt x="1264" y="123"/>
                      <a:pt x="1264" y="123"/>
                    </a:cubicBezTo>
                    <a:cubicBezTo>
                      <a:pt x="1264" y="124"/>
                      <a:pt x="1264" y="124"/>
                      <a:pt x="1265" y="124"/>
                    </a:cubicBezTo>
                    <a:cubicBezTo>
                      <a:pt x="1265" y="124"/>
                      <a:pt x="1266" y="123"/>
                      <a:pt x="1268" y="122"/>
                    </a:cubicBezTo>
                    <a:cubicBezTo>
                      <a:pt x="1269" y="122"/>
                      <a:pt x="1269" y="122"/>
                      <a:pt x="1269" y="122"/>
                    </a:cubicBezTo>
                    <a:cubicBezTo>
                      <a:pt x="1270" y="120"/>
                      <a:pt x="1270" y="120"/>
                      <a:pt x="1270" y="120"/>
                    </a:cubicBezTo>
                    <a:cubicBezTo>
                      <a:pt x="1273" y="116"/>
                      <a:pt x="1273" y="116"/>
                      <a:pt x="1273" y="116"/>
                    </a:cubicBezTo>
                    <a:cubicBezTo>
                      <a:pt x="1273" y="112"/>
                      <a:pt x="1273" y="112"/>
                      <a:pt x="1273" y="112"/>
                    </a:cubicBezTo>
                    <a:cubicBezTo>
                      <a:pt x="1274" y="110"/>
                      <a:pt x="1274" y="110"/>
                      <a:pt x="1274" y="110"/>
                    </a:cubicBezTo>
                    <a:cubicBezTo>
                      <a:pt x="1274" y="109"/>
                      <a:pt x="1274" y="109"/>
                      <a:pt x="1274" y="109"/>
                    </a:cubicBezTo>
                    <a:cubicBezTo>
                      <a:pt x="1274" y="108"/>
                      <a:pt x="1274" y="108"/>
                      <a:pt x="1274" y="108"/>
                    </a:cubicBezTo>
                    <a:cubicBezTo>
                      <a:pt x="1274" y="108"/>
                      <a:pt x="1274" y="108"/>
                      <a:pt x="1274" y="108"/>
                    </a:cubicBezTo>
                    <a:cubicBezTo>
                      <a:pt x="1275" y="108"/>
                      <a:pt x="1275" y="108"/>
                      <a:pt x="1275" y="108"/>
                    </a:cubicBezTo>
                    <a:cubicBezTo>
                      <a:pt x="1275" y="108"/>
                      <a:pt x="1275" y="108"/>
                      <a:pt x="1275" y="108"/>
                    </a:cubicBezTo>
                    <a:cubicBezTo>
                      <a:pt x="1276" y="107"/>
                      <a:pt x="1276" y="107"/>
                      <a:pt x="1276" y="107"/>
                    </a:cubicBezTo>
                    <a:cubicBezTo>
                      <a:pt x="1276" y="107"/>
                      <a:pt x="1276" y="107"/>
                      <a:pt x="1276" y="107"/>
                    </a:cubicBezTo>
                    <a:cubicBezTo>
                      <a:pt x="1277" y="107"/>
                      <a:pt x="1277" y="107"/>
                      <a:pt x="1277" y="107"/>
                    </a:cubicBezTo>
                    <a:cubicBezTo>
                      <a:pt x="1277" y="106"/>
                      <a:pt x="1277" y="106"/>
                      <a:pt x="1277" y="106"/>
                    </a:cubicBezTo>
                    <a:cubicBezTo>
                      <a:pt x="1278" y="105"/>
                      <a:pt x="1278" y="105"/>
                      <a:pt x="1278" y="105"/>
                    </a:cubicBezTo>
                    <a:cubicBezTo>
                      <a:pt x="1280" y="101"/>
                      <a:pt x="1280" y="101"/>
                      <a:pt x="1280" y="101"/>
                    </a:cubicBezTo>
                    <a:cubicBezTo>
                      <a:pt x="1281" y="99"/>
                      <a:pt x="1281" y="99"/>
                      <a:pt x="1281" y="99"/>
                    </a:cubicBezTo>
                    <a:cubicBezTo>
                      <a:pt x="1281" y="98"/>
                      <a:pt x="1281" y="98"/>
                      <a:pt x="1281" y="98"/>
                    </a:cubicBezTo>
                    <a:cubicBezTo>
                      <a:pt x="1282" y="96"/>
                      <a:pt x="1282" y="96"/>
                      <a:pt x="1282" y="96"/>
                    </a:cubicBezTo>
                    <a:cubicBezTo>
                      <a:pt x="1284" y="94"/>
                      <a:pt x="1284" y="94"/>
                      <a:pt x="1284" y="94"/>
                    </a:cubicBezTo>
                    <a:cubicBezTo>
                      <a:pt x="1288" y="89"/>
                      <a:pt x="1288" y="89"/>
                      <a:pt x="1288" y="89"/>
                    </a:cubicBezTo>
                    <a:cubicBezTo>
                      <a:pt x="1289" y="86"/>
                      <a:pt x="1289" y="86"/>
                      <a:pt x="1289" y="86"/>
                    </a:cubicBezTo>
                    <a:cubicBezTo>
                      <a:pt x="1290" y="85"/>
                      <a:pt x="1290" y="85"/>
                      <a:pt x="1290" y="85"/>
                    </a:cubicBezTo>
                    <a:cubicBezTo>
                      <a:pt x="1289" y="85"/>
                      <a:pt x="1289" y="85"/>
                      <a:pt x="1289" y="85"/>
                    </a:cubicBezTo>
                    <a:cubicBezTo>
                      <a:pt x="1289" y="84"/>
                      <a:pt x="1289" y="84"/>
                      <a:pt x="1289" y="84"/>
                    </a:cubicBezTo>
                    <a:cubicBezTo>
                      <a:pt x="1289" y="84"/>
                      <a:pt x="1289" y="84"/>
                      <a:pt x="1289" y="84"/>
                    </a:cubicBezTo>
                    <a:cubicBezTo>
                      <a:pt x="1289" y="84"/>
                      <a:pt x="1289" y="84"/>
                      <a:pt x="1289" y="84"/>
                    </a:cubicBezTo>
                    <a:cubicBezTo>
                      <a:pt x="1289" y="83"/>
                      <a:pt x="1289" y="83"/>
                      <a:pt x="1289" y="83"/>
                    </a:cubicBezTo>
                    <a:cubicBezTo>
                      <a:pt x="1288" y="83"/>
                      <a:pt x="1288" y="83"/>
                      <a:pt x="1288" y="83"/>
                    </a:cubicBezTo>
                    <a:cubicBezTo>
                      <a:pt x="1288" y="83"/>
                      <a:pt x="1288" y="83"/>
                      <a:pt x="1288" y="83"/>
                    </a:cubicBezTo>
                    <a:cubicBezTo>
                      <a:pt x="1288" y="82"/>
                      <a:pt x="1288" y="82"/>
                      <a:pt x="1288" y="82"/>
                    </a:cubicBezTo>
                    <a:cubicBezTo>
                      <a:pt x="1288" y="82"/>
                      <a:pt x="1288" y="82"/>
                      <a:pt x="1288" y="82"/>
                    </a:cubicBezTo>
                    <a:cubicBezTo>
                      <a:pt x="1288" y="81"/>
                      <a:pt x="1288" y="81"/>
                      <a:pt x="1288" y="81"/>
                    </a:cubicBezTo>
                    <a:cubicBezTo>
                      <a:pt x="1288" y="81"/>
                      <a:pt x="1288" y="81"/>
                      <a:pt x="1288" y="81"/>
                    </a:cubicBezTo>
                    <a:cubicBezTo>
                      <a:pt x="1287" y="80"/>
                      <a:pt x="1287" y="80"/>
                      <a:pt x="1287" y="80"/>
                    </a:cubicBezTo>
                    <a:cubicBezTo>
                      <a:pt x="1287" y="80"/>
                      <a:pt x="1287" y="80"/>
                      <a:pt x="1287" y="80"/>
                    </a:cubicBezTo>
                    <a:cubicBezTo>
                      <a:pt x="1287" y="80"/>
                      <a:pt x="1287" y="80"/>
                      <a:pt x="1287" y="80"/>
                    </a:cubicBezTo>
                    <a:cubicBezTo>
                      <a:pt x="1287" y="79"/>
                      <a:pt x="1287" y="79"/>
                      <a:pt x="1287" y="79"/>
                    </a:cubicBezTo>
                    <a:cubicBezTo>
                      <a:pt x="1288" y="78"/>
                      <a:pt x="1288" y="78"/>
                      <a:pt x="1288" y="78"/>
                    </a:cubicBezTo>
                    <a:cubicBezTo>
                      <a:pt x="1288" y="74"/>
                      <a:pt x="1288" y="74"/>
                      <a:pt x="1288" y="74"/>
                    </a:cubicBezTo>
                    <a:cubicBezTo>
                      <a:pt x="1288" y="71"/>
                      <a:pt x="1288" y="71"/>
                      <a:pt x="1288" y="71"/>
                    </a:cubicBezTo>
                    <a:cubicBezTo>
                      <a:pt x="1288" y="65"/>
                      <a:pt x="1288" y="65"/>
                      <a:pt x="1288" y="65"/>
                    </a:cubicBezTo>
                    <a:cubicBezTo>
                      <a:pt x="1288" y="63"/>
                      <a:pt x="1288" y="63"/>
                      <a:pt x="1288" y="63"/>
                    </a:cubicBezTo>
                    <a:cubicBezTo>
                      <a:pt x="1287" y="62"/>
                      <a:pt x="1287" y="62"/>
                      <a:pt x="1287" y="62"/>
                    </a:cubicBezTo>
                    <a:cubicBezTo>
                      <a:pt x="1284" y="62"/>
                      <a:pt x="1282" y="61"/>
                      <a:pt x="1280" y="60"/>
                    </a:cubicBezTo>
                    <a:cubicBezTo>
                      <a:pt x="1279" y="60"/>
                      <a:pt x="1279" y="60"/>
                      <a:pt x="1279" y="60"/>
                    </a:cubicBezTo>
                    <a:cubicBezTo>
                      <a:pt x="1279" y="60"/>
                      <a:pt x="1279" y="60"/>
                      <a:pt x="1279" y="60"/>
                    </a:cubicBezTo>
                    <a:cubicBezTo>
                      <a:pt x="1278" y="59"/>
                      <a:pt x="1278" y="59"/>
                      <a:pt x="1278" y="59"/>
                    </a:cubicBezTo>
                    <a:cubicBezTo>
                      <a:pt x="1277" y="59"/>
                      <a:pt x="1277" y="59"/>
                      <a:pt x="1277" y="59"/>
                    </a:cubicBezTo>
                    <a:cubicBezTo>
                      <a:pt x="1275" y="59"/>
                      <a:pt x="1273" y="58"/>
                      <a:pt x="1271" y="57"/>
                    </a:cubicBezTo>
                    <a:cubicBezTo>
                      <a:pt x="1270" y="57"/>
                      <a:pt x="1270" y="57"/>
                      <a:pt x="1270" y="57"/>
                    </a:cubicBezTo>
                    <a:cubicBezTo>
                      <a:pt x="1269" y="57"/>
                      <a:pt x="1269" y="57"/>
                      <a:pt x="1269" y="57"/>
                    </a:cubicBezTo>
                    <a:cubicBezTo>
                      <a:pt x="1268" y="56"/>
                      <a:pt x="1268" y="56"/>
                      <a:pt x="1267" y="56"/>
                    </a:cubicBezTo>
                    <a:cubicBezTo>
                      <a:pt x="1266" y="56"/>
                      <a:pt x="1266" y="57"/>
                      <a:pt x="1264" y="58"/>
                    </a:cubicBezTo>
                    <a:cubicBezTo>
                      <a:pt x="1263" y="58"/>
                      <a:pt x="1263" y="58"/>
                      <a:pt x="1263" y="58"/>
                    </a:cubicBezTo>
                    <a:cubicBezTo>
                      <a:pt x="1263" y="58"/>
                      <a:pt x="1263" y="58"/>
                      <a:pt x="1263" y="58"/>
                    </a:cubicBezTo>
                    <a:cubicBezTo>
                      <a:pt x="1262" y="58"/>
                      <a:pt x="1262" y="58"/>
                      <a:pt x="1262" y="58"/>
                    </a:cubicBezTo>
                    <a:cubicBezTo>
                      <a:pt x="1260" y="57"/>
                      <a:pt x="1260" y="57"/>
                      <a:pt x="1260" y="57"/>
                    </a:cubicBezTo>
                    <a:cubicBezTo>
                      <a:pt x="1260" y="57"/>
                      <a:pt x="1260" y="57"/>
                      <a:pt x="1260" y="57"/>
                    </a:cubicBezTo>
                    <a:cubicBezTo>
                      <a:pt x="1261" y="57"/>
                      <a:pt x="1261" y="57"/>
                      <a:pt x="1261" y="57"/>
                    </a:cubicBezTo>
                    <a:cubicBezTo>
                      <a:pt x="1262" y="57"/>
                      <a:pt x="1262" y="57"/>
                      <a:pt x="1262" y="57"/>
                    </a:cubicBezTo>
                    <a:cubicBezTo>
                      <a:pt x="1263" y="56"/>
                      <a:pt x="1263" y="56"/>
                      <a:pt x="1263" y="56"/>
                    </a:cubicBezTo>
                    <a:cubicBezTo>
                      <a:pt x="1264" y="56"/>
                      <a:pt x="1264" y="56"/>
                      <a:pt x="1264" y="56"/>
                    </a:cubicBezTo>
                    <a:cubicBezTo>
                      <a:pt x="1264" y="56"/>
                      <a:pt x="1264" y="56"/>
                      <a:pt x="1264" y="56"/>
                    </a:cubicBezTo>
                    <a:cubicBezTo>
                      <a:pt x="1263" y="55"/>
                      <a:pt x="1263" y="55"/>
                      <a:pt x="1263" y="55"/>
                    </a:cubicBezTo>
                    <a:cubicBezTo>
                      <a:pt x="1263" y="55"/>
                      <a:pt x="1263" y="55"/>
                      <a:pt x="1263" y="55"/>
                    </a:cubicBezTo>
                    <a:cubicBezTo>
                      <a:pt x="1262" y="55"/>
                      <a:pt x="1262" y="55"/>
                      <a:pt x="1262" y="55"/>
                    </a:cubicBezTo>
                    <a:cubicBezTo>
                      <a:pt x="1255" y="55"/>
                      <a:pt x="1255" y="52"/>
                      <a:pt x="1250" y="52"/>
                    </a:cubicBezTo>
                    <a:cubicBezTo>
                      <a:pt x="1249" y="52"/>
                      <a:pt x="1248" y="52"/>
                      <a:pt x="1247" y="52"/>
                    </a:cubicBezTo>
                    <a:cubicBezTo>
                      <a:pt x="1246" y="52"/>
                      <a:pt x="1246" y="52"/>
                      <a:pt x="1246" y="52"/>
                    </a:cubicBezTo>
                    <a:cubicBezTo>
                      <a:pt x="1246" y="52"/>
                      <a:pt x="1246" y="52"/>
                      <a:pt x="1246" y="52"/>
                    </a:cubicBezTo>
                    <a:cubicBezTo>
                      <a:pt x="1245" y="53"/>
                      <a:pt x="1245" y="53"/>
                      <a:pt x="1245" y="53"/>
                    </a:cubicBezTo>
                    <a:cubicBezTo>
                      <a:pt x="1244" y="53"/>
                      <a:pt x="1244" y="53"/>
                      <a:pt x="1243" y="53"/>
                    </a:cubicBezTo>
                    <a:cubicBezTo>
                      <a:pt x="1242" y="53"/>
                      <a:pt x="1242" y="53"/>
                      <a:pt x="1241" y="53"/>
                    </a:cubicBezTo>
                    <a:cubicBezTo>
                      <a:pt x="1241" y="52"/>
                      <a:pt x="1240" y="52"/>
                      <a:pt x="1240" y="52"/>
                    </a:cubicBezTo>
                    <a:cubicBezTo>
                      <a:pt x="1239" y="52"/>
                      <a:pt x="1239" y="52"/>
                      <a:pt x="1239" y="52"/>
                    </a:cubicBezTo>
                    <a:cubicBezTo>
                      <a:pt x="1238" y="52"/>
                      <a:pt x="1238" y="52"/>
                      <a:pt x="1238" y="52"/>
                    </a:cubicBezTo>
                    <a:cubicBezTo>
                      <a:pt x="1237" y="52"/>
                      <a:pt x="1237" y="52"/>
                      <a:pt x="1237" y="52"/>
                    </a:cubicBezTo>
                    <a:cubicBezTo>
                      <a:pt x="1237" y="52"/>
                      <a:pt x="1236" y="52"/>
                      <a:pt x="1235" y="52"/>
                    </a:cubicBezTo>
                    <a:cubicBezTo>
                      <a:pt x="1234" y="52"/>
                      <a:pt x="1233" y="53"/>
                      <a:pt x="1231" y="53"/>
                    </a:cubicBezTo>
                    <a:cubicBezTo>
                      <a:pt x="1231" y="53"/>
                      <a:pt x="1231" y="53"/>
                      <a:pt x="1231" y="53"/>
                    </a:cubicBezTo>
                    <a:cubicBezTo>
                      <a:pt x="1230" y="53"/>
                      <a:pt x="1230" y="53"/>
                      <a:pt x="1230" y="53"/>
                    </a:cubicBezTo>
                    <a:cubicBezTo>
                      <a:pt x="1230" y="53"/>
                      <a:pt x="1230" y="53"/>
                      <a:pt x="1230" y="53"/>
                    </a:cubicBezTo>
                    <a:cubicBezTo>
                      <a:pt x="1229" y="53"/>
                      <a:pt x="1229" y="53"/>
                      <a:pt x="1229" y="53"/>
                    </a:cubicBezTo>
                    <a:cubicBezTo>
                      <a:pt x="1229" y="53"/>
                      <a:pt x="1229" y="53"/>
                      <a:pt x="1229" y="53"/>
                    </a:cubicBezTo>
                    <a:cubicBezTo>
                      <a:pt x="1224" y="53"/>
                      <a:pt x="1220" y="52"/>
                      <a:pt x="1216" y="52"/>
                    </a:cubicBezTo>
                    <a:cubicBezTo>
                      <a:pt x="1215" y="52"/>
                      <a:pt x="1214" y="53"/>
                      <a:pt x="1213" y="53"/>
                    </a:cubicBezTo>
                    <a:cubicBezTo>
                      <a:pt x="1212" y="53"/>
                      <a:pt x="1212" y="53"/>
                      <a:pt x="1212" y="53"/>
                    </a:cubicBezTo>
                    <a:cubicBezTo>
                      <a:pt x="1212" y="53"/>
                      <a:pt x="1212" y="53"/>
                      <a:pt x="1212" y="53"/>
                    </a:cubicBezTo>
                    <a:cubicBezTo>
                      <a:pt x="1211" y="53"/>
                      <a:pt x="1211" y="53"/>
                      <a:pt x="1211" y="53"/>
                    </a:cubicBezTo>
                    <a:cubicBezTo>
                      <a:pt x="1210" y="53"/>
                      <a:pt x="1209" y="53"/>
                      <a:pt x="1207" y="53"/>
                    </a:cubicBezTo>
                    <a:cubicBezTo>
                      <a:pt x="1207" y="53"/>
                      <a:pt x="1206" y="53"/>
                      <a:pt x="1206" y="53"/>
                    </a:cubicBezTo>
                    <a:cubicBezTo>
                      <a:pt x="1205" y="53"/>
                      <a:pt x="1205" y="53"/>
                      <a:pt x="1205" y="53"/>
                    </a:cubicBezTo>
                    <a:cubicBezTo>
                      <a:pt x="1203" y="53"/>
                      <a:pt x="1201" y="54"/>
                      <a:pt x="1199" y="54"/>
                    </a:cubicBezTo>
                    <a:cubicBezTo>
                      <a:pt x="1199" y="54"/>
                      <a:pt x="1198" y="54"/>
                      <a:pt x="1198" y="54"/>
                    </a:cubicBezTo>
                    <a:cubicBezTo>
                      <a:pt x="1197" y="54"/>
                      <a:pt x="1197" y="54"/>
                      <a:pt x="1197" y="54"/>
                    </a:cubicBezTo>
                    <a:cubicBezTo>
                      <a:pt x="1196" y="53"/>
                      <a:pt x="1196" y="53"/>
                      <a:pt x="1196" y="53"/>
                    </a:cubicBezTo>
                    <a:cubicBezTo>
                      <a:pt x="1195" y="52"/>
                      <a:pt x="1195" y="52"/>
                      <a:pt x="1195" y="52"/>
                    </a:cubicBezTo>
                    <a:cubicBezTo>
                      <a:pt x="1195" y="52"/>
                      <a:pt x="1195" y="52"/>
                      <a:pt x="1195" y="52"/>
                    </a:cubicBezTo>
                    <a:cubicBezTo>
                      <a:pt x="1195" y="52"/>
                      <a:pt x="1195" y="52"/>
                      <a:pt x="1195" y="52"/>
                    </a:cubicBezTo>
                    <a:cubicBezTo>
                      <a:pt x="1198" y="51"/>
                      <a:pt x="1199" y="51"/>
                      <a:pt x="1201" y="50"/>
                    </a:cubicBezTo>
                    <a:cubicBezTo>
                      <a:pt x="1201" y="49"/>
                      <a:pt x="1201" y="49"/>
                      <a:pt x="1201" y="49"/>
                    </a:cubicBezTo>
                    <a:cubicBezTo>
                      <a:pt x="1201" y="49"/>
                      <a:pt x="1201" y="49"/>
                      <a:pt x="1201" y="49"/>
                    </a:cubicBezTo>
                    <a:cubicBezTo>
                      <a:pt x="1200" y="49"/>
                      <a:pt x="1200" y="49"/>
                      <a:pt x="1200" y="49"/>
                    </a:cubicBezTo>
                    <a:cubicBezTo>
                      <a:pt x="1200" y="49"/>
                      <a:pt x="1200" y="49"/>
                      <a:pt x="1200" y="49"/>
                    </a:cubicBezTo>
                    <a:cubicBezTo>
                      <a:pt x="1199" y="49"/>
                      <a:pt x="1199" y="49"/>
                      <a:pt x="1199" y="49"/>
                    </a:cubicBezTo>
                    <a:cubicBezTo>
                      <a:pt x="1198" y="49"/>
                      <a:pt x="1197" y="49"/>
                      <a:pt x="1195" y="49"/>
                    </a:cubicBezTo>
                    <a:cubicBezTo>
                      <a:pt x="1192" y="49"/>
                      <a:pt x="1188" y="49"/>
                      <a:pt x="1188" y="52"/>
                    </a:cubicBezTo>
                    <a:cubicBezTo>
                      <a:pt x="1188" y="52"/>
                      <a:pt x="1188" y="52"/>
                      <a:pt x="1188" y="52"/>
                    </a:cubicBezTo>
                    <a:cubicBezTo>
                      <a:pt x="1188" y="52"/>
                      <a:pt x="1188" y="52"/>
                      <a:pt x="1188" y="52"/>
                    </a:cubicBezTo>
                    <a:cubicBezTo>
                      <a:pt x="1188" y="53"/>
                      <a:pt x="1188" y="53"/>
                      <a:pt x="1188" y="53"/>
                    </a:cubicBezTo>
                    <a:cubicBezTo>
                      <a:pt x="1188" y="54"/>
                      <a:pt x="1188" y="55"/>
                      <a:pt x="1187" y="56"/>
                    </a:cubicBezTo>
                    <a:cubicBezTo>
                      <a:pt x="1187" y="56"/>
                      <a:pt x="1187" y="56"/>
                      <a:pt x="1187" y="56"/>
                    </a:cubicBezTo>
                    <a:cubicBezTo>
                      <a:pt x="1187" y="56"/>
                      <a:pt x="1187" y="56"/>
                      <a:pt x="1187" y="56"/>
                    </a:cubicBezTo>
                    <a:cubicBezTo>
                      <a:pt x="1186" y="58"/>
                      <a:pt x="1185" y="59"/>
                      <a:pt x="1184" y="60"/>
                    </a:cubicBezTo>
                    <a:cubicBezTo>
                      <a:pt x="1184" y="60"/>
                      <a:pt x="1184" y="60"/>
                      <a:pt x="1184" y="60"/>
                    </a:cubicBezTo>
                    <a:cubicBezTo>
                      <a:pt x="1183" y="60"/>
                      <a:pt x="1183" y="60"/>
                      <a:pt x="1183" y="60"/>
                    </a:cubicBezTo>
                    <a:cubicBezTo>
                      <a:pt x="1183" y="61"/>
                      <a:pt x="1183" y="61"/>
                      <a:pt x="1183" y="61"/>
                    </a:cubicBezTo>
                    <a:cubicBezTo>
                      <a:pt x="1181" y="61"/>
                      <a:pt x="1181" y="61"/>
                      <a:pt x="1181" y="61"/>
                    </a:cubicBezTo>
                    <a:cubicBezTo>
                      <a:pt x="1181" y="61"/>
                      <a:pt x="1181" y="61"/>
                      <a:pt x="1181" y="61"/>
                    </a:cubicBezTo>
                    <a:cubicBezTo>
                      <a:pt x="1181" y="62"/>
                      <a:pt x="1181" y="62"/>
                      <a:pt x="1181" y="62"/>
                    </a:cubicBezTo>
                    <a:cubicBezTo>
                      <a:pt x="1180" y="63"/>
                      <a:pt x="1180" y="63"/>
                      <a:pt x="1180" y="63"/>
                    </a:cubicBezTo>
                    <a:cubicBezTo>
                      <a:pt x="1180" y="65"/>
                      <a:pt x="1180" y="65"/>
                      <a:pt x="1180" y="65"/>
                    </a:cubicBezTo>
                    <a:cubicBezTo>
                      <a:pt x="1180" y="65"/>
                      <a:pt x="1180" y="65"/>
                      <a:pt x="1180" y="65"/>
                    </a:cubicBezTo>
                    <a:cubicBezTo>
                      <a:pt x="1180" y="66"/>
                      <a:pt x="1180" y="66"/>
                      <a:pt x="1180" y="66"/>
                    </a:cubicBezTo>
                    <a:cubicBezTo>
                      <a:pt x="1179" y="66"/>
                      <a:pt x="1179" y="66"/>
                      <a:pt x="1179" y="66"/>
                    </a:cubicBezTo>
                    <a:cubicBezTo>
                      <a:pt x="1179" y="66"/>
                      <a:pt x="1179" y="66"/>
                      <a:pt x="1179" y="66"/>
                    </a:cubicBezTo>
                    <a:cubicBezTo>
                      <a:pt x="1179" y="66"/>
                      <a:pt x="1179" y="66"/>
                      <a:pt x="1179" y="66"/>
                    </a:cubicBezTo>
                    <a:cubicBezTo>
                      <a:pt x="1179" y="66"/>
                      <a:pt x="1179" y="66"/>
                      <a:pt x="1179" y="66"/>
                    </a:cubicBezTo>
                    <a:cubicBezTo>
                      <a:pt x="1178" y="66"/>
                      <a:pt x="1178" y="66"/>
                      <a:pt x="1178" y="66"/>
                    </a:cubicBezTo>
                    <a:cubicBezTo>
                      <a:pt x="1178" y="67"/>
                      <a:pt x="1178" y="67"/>
                      <a:pt x="1178" y="67"/>
                    </a:cubicBezTo>
                    <a:cubicBezTo>
                      <a:pt x="1178" y="68"/>
                      <a:pt x="1178" y="69"/>
                      <a:pt x="1177" y="70"/>
                    </a:cubicBezTo>
                    <a:cubicBezTo>
                      <a:pt x="1177" y="70"/>
                      <a:pt x="1177" y="70"/>
                      <a:pt x="1177" y="70"/>
                    </a:cubicBezTo>
                    <a:cubicBezTo>
                      <a:pt x="1177" y="70"/>
                      <a:pt x="1177" y="70"/>
                      <a:pt x="1177" y="70"/>
                    </a:cubicBezTo>
                    <a:cubicBezTo>
                      <a:pt x="1177" y="71"/>
                      <a:pt x="1177" y="71"/>
                      <a:pt x="1177" y="71"/>
                    </a:cubicBezTo>
                    <a:cubicBezTo>
                      <a:pt x="1177" y="71"/>
                      <a:pt x="1177" y="71"/>
                      <a:pt x="1177" y="71"/>
                    </a:cubicBezTo>
                    <a:cubicBezTo>
                      <a:pt x="1176" y="72"/>
                      <a:pt x="1176" y="72"/>
                      <a:pt x="1176" y="72"/>
                    </a:cubicBezTo>
                    <a:cubicBezTo>
                      <a:pt x="1176" y="72"/>
                      <a:pt x="1176" y="72"/>
                      <a:pt x="1176" y="72"/>
                    </a:cubicBezTo>
                    <a:cubicBezTo>
                      <a:pt x="1177" y="74"/>
                      <a:pt x="1177" y="74"/>
                      <a:pt x="1177" y="74"/>
                    </a:cubicBezTo>
                    <a:cubicBezTo>
                      <a:pt x="1177" y="75"/>
                      <a:pt x="1177" y="75"/>
                      <a:pt x="1177" y="75"/>
                    </a:cubicBezTo>
                    <a:cubicBezTo>
                      <a:pt x="1176" y="75"/>
                      <a:pt x="1176" y="75"/>
                      <a:pt x="1176" y="75"/>
                    </a:cubicBezTo>
                    <a:cubicBezTo>
                      <a:pt x="1176" y="75"/>
                      <a:pt x="1176" y="75"/>
                      <a:pt x="1176" y="75"/>
                    </a:cubicBezTo>
                    <a:cubicBezTo>
                      <a:pt x="1176" y="76"/>
                      <a:pt x="1176" y="76"/>
                      <a:pt x="1176" y="76"/>
                    </a:cubicBezTo>
                    <a:cubicBezTo>
                      <a:pt x="1175" y="76"/>
                      <a:pt x="1175" y="76"/>
                      <a:pt x="1175" y="76"/>
                    </a:cubicBezTo>
                    <a:cubicBezTo>
                      <a:pt x="1175" y="76"/>
                      <a:pt x="1175" y="76"/>
                      <a:pt x="1175" y="76"/>
                    </a:cubicBezTo>
                    <a:cubicBezTo>
                      <a:pt x="1175" y="77"/>
                      <a:pt x="1175" y="77"/>
                      <a:pt x="1175" y="77"/>
                    </a:cubicBezTo>
                    <a:cubicBezTo>
                      <a:pt x="1175" y="77"/>
                      <a:pt x="1175" y="77"/>
                      <a:pt x="1175" y="77"/>
                    </a:cubicBezTo>
                    <a:cubicBezTo>
                      <a:pt x="1175" y="77"/>
                      <a:pt x="1175" y="77"/>
                      <a:pt x="1175" y="77"/>
                    </a:cubicBezTo>
                    <a:cubicBezTo>
                      <a:pt x="1175" y="78"/>
                      <a:pt x="1175" y="78"/>
                      <a:pt x="1175" y="78"/>
                    </a:cubicBezTo>
                    <a:cubicBezTo>
                      <a:pt x="1175" y="78"/>
                      <a:pt x="1175" y="78"/>
                      <a:pt x="1175" y="78"/>
                    </a:cubicBezTo>
                    <a:cubicBezTo>
                      <a:pt x="1175" y="78"/>
                      <a:pt x="1175" y="78"/>
                      <a:pt x="1175" y="78"/>
                    </a:cubicBezTo>
                    <a:cubicBezTo>
                      <a:pt x="1175" y="79"/>
                      <a:pt x="1175" y="79"/>
                      <a:pt x="1175" y="79"/>
                    </a:cubicBezTo>
                    <a:cubicBezTo>
                      <a:pt x="1174" y="79"/>
                      <a:pt x="1174" y="79"/>
                      <a:pt x="1174" y="79"/>
                    </a:cubicBezTo>
                    <a:cubicBezTo>
                      <a:pt x="1174" y="79"/>
                      <a:pt x="1174" y="79"/>
                      <a:pt x="1174" y="79"/>
                    </a:cubicBezTo>
                    <a:cubicBezTo>
                      <a:pt x="1174" y="80"/>
                      <a:pt x="1174" y="80"/>
                      <a:pt x="1174" y="80"/>
                    </a:cubicBezTo>
                    <a:cubicBezTo>
                      <a:pt x="1174" y="80"/>
                      <a:pt x="1174" y="80"/>
                      <a:pt x="1174" y="80"/>
                    </a:cubicBezTo>
                    <a:cubicBezTo>
                      <a:pt x="1174" y="80"/>
                      <a:pt x="1174" y="80"/>
                      <a:pt x="1174" y="80"/>
                    </a:cubicBezTo>
                    <a:cubicBezTo>
                      <a:pt x="1174" y="81"/>
                      <a:pt x="1174" y="81"/>
                      <a:pt x="1174" y="81"/>
                    </a:cubicBezTo>
                    <a:cubicBezTo>
                      <a:pt x="1174" y="81"/>
                      <a:pt x="1174" y="81"/>
                      <a:pt x="1174" y="81"/>
                    </a:cubicBezTo>
                    <a:cubicBezTo>
                      <a:pt x="1174" y="81"/>
                      <a:pt x="1174" y="81"/>
                      <a:pt x="1174" y="81"/>
                    </a:cubicBezTo>
                    <a:cubicBezTo>
                      <a:pt x="1174" y="82"/>
                      <a:pt x="1174" y="82"/>
                      <a:pt x="1174" y="82"/>
                    </a:cubicBezTo>
                    <a:cubicBezTo>
                      <a:pt x="1174" y="82"/>
                      <a:pt x="1174" y="82"/>
                      <a:pt x="1174" y="82"/>
                    </a:cubicBezTo>
                    <a:cubicBezTo>
                      <a:pt x="1174" y="83"/>
                      <a:pt x="1174" y="83"/>
                      <a:pt x="1174" y="83"/>
                    </a:cubicBezTo>
                    <a:cubicBezTo>
                      <a:pt x="1174" y="83"/>
                      <a:pt x="1174" y="83"/>
                      <a:pt x="1174" y="83"/>
                    </a:cubicBezTo>
                    <a:cubicBezTo>
                      <a:pt x="1174" y="84"/>
                      <a:pt x="1173" y="83"/>
                      <a:pt x="1173" y="86"/>
                    </a:cubicBezTo>
                    <a:cubicBezTo>
                      <a:pt x="1173" y="86"/>
                      <a:pt x="1173" y="86"/>
                      <a:pt x="1173" y="86"/>
                    </a:cubicBezTo>
                    <a:cubicBezTo>
                      <a:pt x="1173" y="86"/>
                      <a:pt x="1173" y="86"/>
                      <a:pt x="1173" y="86"/>
                    </a:cubicBezTo>
                    <a:cubicBezTo>
                      <a:pt x="1172" y="88"/>
                      <a:pt x="1172" y="88"/>
                      <a:pt x="1172" y="89"/>
                    </a:cubicBezTo>
                    <a:cubicBezTo>
                      <a:pt x="1172" y="90"/>
                      <a:pt x="1172" y="90"/>
                      <a:pt x="1172" y="90"/>
                    </a:cubicBezTo>
                    <a:cubicBezTo>
                      <a:pt x="1171" y="90"/>
                      <a:pt x="1171" y="90"/>
                      <a:pt x="1171" y="90"/>
                    </a:cubicBezTo>
                    <a:cubicBezTo>
                      <a:pt x="1171" y="90"/>
                      <a:pt x="1171" y="90"/>
                      <a:pt x="1171" y="90"/>
                    </a:cubicBezTo>
                    <a:cubicBezTo>
                      <a:pt x="1171" y="91"/>
                      <a:pt x="1171" y="91"/>
                      <a:pt x="1171" y="91"/>
                    </a:cubicBezTo>
                    <a:cubicBezTo>
                      <a:pt x="1171" y="92"/>
                      <a:pt x="1170" y="93"/>
                      <a:pt x="1170" y="94"/>
                    </a:cubicBezTo>
                    <a:cubicBezTo>
                      <a:pt x="1170" y="94"/>
                      <a:pt x="1170" y="94"/>
                      <a:pt x="1170" y="94"/>
                    </a:cubicBezTo>
                    <a:cubicBezTo>
                      <a:pt x="1169" y="96"/>
                      <a:pt x="1169" y="96"/>
                      <a:pt x="1169" y="98"/>
                    </a:cubicBezTo>
                    <a:cubicBezTo>
                      <a:pt x="1169" y="98"/>
                      <a:pt x="1169" y="98"/>
                      <a:pt x="1169" y="98"/>
                    </a:cubicBezTo>
                    <a:cubicBezTo>
                      <a:pt x="1169" y="98"/>
                      <a:pt x="1169" y="98"/>
                      <a:pt x="1169" y="98"/>
                    </a:cubicBezTo>
                    <a:cubicBezTo>
                      <a:pt x="1169" y="99"/>
                      <a:pt x="1169" y="99"/>
                      <a:pt x="1169" y="99"/>
                    </a:cubicBezTo>
                    <a:cubicBezTo>
                      <a:pt x="1169" y="99"/>
                      <a:pt x="1169" y="99"/>
                      <a:pt x="1169" y="99"/>
                    </a:cubicBezTo>
                    <a:cubicBezTo>
                      <a:pt x="1168" y="100"/>
                      <a:pt x="1168" y="100"/>
                      <a:pt x="1168" y="100"/>
                    </a:cubicBezTo>
                    <a:cubicBezTo>
                      <a:pt x="1168" y="100"/>
                      <a:pt x="1167" y="101"/>
                      <a:pt x="1167" y="102"/>
                    </a:cubicBezTo>
                    <a:cubicBezTo>
                      <a:pt x="1167" y="102"/>
                      <a:pt x="1167" y="102"/>
                      <a:pt x="1167" y="102"/>
                    </a:cubicBezTo>
                    <a:cubicBezTo>
                      <a:pt x="1167" y="103"/>
                      <a:pt x="1167" y="103"/>
                      <a:pt x="1167" y="103"/>
                    </a:cubicBezTo>
                    <a:cubicBezTo>
                      <a:pt x="1167" y="104"/>
                      <a:pt x="1167" y="104"/>
                      <a:pt x="1166" y="106"/>
                    </a:cubicBezTo>
                    <a:cubicBezTo>
                      <a:pt x="1165" y="106"/>
                      <a:pt x="1165" y="106"/>
                      <a:pt x="1165" y="106"/>
                    </a:cubicBezTo>
                    <a:cubicBezTo>
                      <a:pt x="1165" y="107"/>
                      <a:pt x="1165" y="107"/>
                      <a:pt x="1165" y="107"/>
                    </a:cubicBezTo>
                    <a:cubicBezTo>
                      <a:pt x="1165" y="107"/>
                      <a:pt x="1165" y="107"/>
                      <a:pt x="1165" y="107"/>
                    </a:cubicBezTo>
                    <a:cubicBezTo>
                      <a:pt x="1164" y="112"/>
                      <a:pt x="1164" y="110"/>
                      <a:pt x="1161" y="115"/>
                    </a:cubicBezTo>
                    <a:cubicBezTo>
                      <a:pt x="1160" y="115"/>
                      <a:pt x="1160" y="115"/>
                      <a:pt x="1160" y="115"/>
                    </a:cubicBezTo>
                    <a:cubicBezTo>
                      <a:pt x="1160" y="116"/>
                      <a:pt x="1160" y="116"/>
                      <a:pt x="1160" y="116"/>
                    </a:cubicBezTo>
                    <a:cubicBezTo>
                      <a:pt x="1160" y="117"/>
                      <a:pt x="1160" y="117"/>
                      <a:pt x="1160" y="117"/>
                    </a:cubicBezTo>
                    <a:cubicBezTo>
                      <a:pt x="1160" y="118"/>
                      <a:pt x="1160" y="118"/>
                      <a:pt x="1160" y="118"/>
                    </a:cubicBezTo>
                    <a:cubicBezTo>
                      <a:pt x="1160" y="118"/>
                      <a:pt x="1160" y="118"/>
                      <a:pt x="1160" y="118"/>
                    </a:cubicBezTo>
                    <a:cubicBezTo>
                      <a:pt x="1160" y="117"/>
                      <a:pt x="1160" y="117"/>
                      <a:pt x="1160" y="117"/>
                    </a:cubicBezTo>
                    <a:cubicBezTo>
                      <a:pt x="1160" y="117"/>
                      <a:pt x="1160" y="117"/>
                      <a:pt x="1160" y="117"/>
                    </a:cubicBezTo>
                    <a:cubicBezTo>
                      <a:pt x="1159" y="117"/>
                      <a:pt x="1159" y="117"/>
                      <a:pt x="1159" y="117"/>
                    </a:cubicBezTo>
                    <a:cubicBezTo>
                      <a:pt x="1158" y="117"/>
                      <a:pt x="1158" y="117"/>
                      <a:pt x="1158" y="117"/>
                    </a:cubicBezTo>
                    <a:cubicBezTo>
                      <a:pt x="1157" y="118"/>
                      <a:pt x="1155" y="121"/>
                      <a:pt x="1153" y="122"/>
                    </a:cubicBezTo>
                    <a:cubicBezTo>
                      <a:pt x="1153" y="123"/>
                      <a:pt x="1153" y="123"/>
                      <a:pt x="1153" y="123"/>
                    </a:cubicBezTo>
                    <a:cubicBezTo>
                      <a:pt x="1152" y="123"/>
                      <a:pt x="1152" y="123"/>
                      <a:pt x="1152" y="123"/>
                    </a:cubicBezTo>
                    <a:cubicBezTo>
                      <a:pt x="1152" y="123"/>
                      <a:pt x="1152" y="123"/>
                      <a:pt x="1152" y="123"/>
                    </a:cubicBezTo>
                    <a:cubicBezTo>
                      <a:pt x="1151" y="124"/>
                      <a:pt x="1151" y="124"/>
                      <a:pt x="1150" y="124"/>
                    </a:cubicBezTo>
                    <a:cubicBezTo>
                      <a:pt x="1150" y="125"/>
                      <a:pt x="1150" y="125"/>
                      <a:pt x="1150" y="125"/>
                    </a:cubicBezTo>
                    <a:cubicBezTo>
                      <a:pt x="1150" y="125"/>
                      <a:pt x="1150" y="125"/>
                      <a:pt x="1150" y="125"/>
                    </a:cubicBezTo>
                    <a:cubicBezTo>
                      <a:pt x="1149" y="126"/>
                      <a:pt x="1149" y="126"/>
                      <a:pt x="1148" y="126"/>
                    </a:cubicBezTo>
                    <a:cubicBezTo>
                      <a:pt x="1147" y="126"/>
                      <a:pt x="1147" y="126"/>
                      <a:pt x="1147" y="126"/>
                    </a:cubicBezTo>
                    <a:cubicBezTo>
                      <a:pt x="1147" y="127"/>
                      <a:pt x="1147" y="127"/>
                      <a:pt x="1147" y="127"/>
                    </a:cubicBezTo>
                    <a:cubicBezTo>
                      <a:pt x="1146" y="127"/>
                      <a:pt x="1146" y="127"/>
                      <a:pt x="1146" y="127"/>
                    </a:cubicBezTo>
                    <a:cubicBezTo>
                      <a:pt x="1146" y="127"/>
                      <a:pt x="1146" y="127"/>
                      <a:pt x="1146" y="127"/>
                    </a:cubicBezTo>
                    <a:cubicBezTo>
                      <a:pt x="1145" y="127"/>
                      <a:pt x="1145" y="127"/>
                      <a:pt x="1145" y="127"/>
                    </a:cubicBezTo>
                    <a:cubicBezTo>
                      <a:pt x="1145" y="128"/>
                      <a:pt x="1145" y="128"/>
                      <a:pt x="1145" y="128"/>
                    </a:cubicBezTo>
                    <a:cubicBezTo>
                      <a:pt x="1144" y="128"/>
                      <a:pt x="1144" y="129"/>
                      <a:pt x="1143" y="129"/>
                    </a:cubicBezTo>
                    <a:cubicBezTo>
                      <a:pt x="1142" y="129"/>
                      <a:pt x="1142" y="129"/>
                      <a:pt x="1142" y="129"/>
                    </a:cubicBezTo>
                    <a:cubicBezTo>
                      <a:pt x="1142" y="130"/>
                      <a:pt x="1142" y="130"/>
                      <a:pt x="1142" y="130"/>
                    </a:cubicBezTo>
                    <a:cubicBezTo>
                      <a:pt x="1141" y="130"/>
                      <a:pt x="1140" y="130"/>
                      <a:pt x="1139" y="131"/>
                    </a:cubicBezTo>
                    <a:cubicBezTo>
                      <a:pt x="1139" y="131"/>
                      <a:pt x="1139" y="131"/>
                      <a:pt x="1139" y="131"/>
                    </a:cubicBezTo>
                    <a:cubicBezTo>
                      <a:pt x="1139" y="131"/>
                      <a:pt x="1139" y="131"/>
                      <a:pt x="1139" y="131"/>
                    </a:cubicBezTo>
                    <a:cubicBezTo>
                      <a:pt x="1139" y="132"/>
                      <a:pt x="1139" y="132"/>
                      <a:pt x="1139" y="132"/>
                    </a:cubicBezTo>
                    <a:cubicBezTo>
                      <a:pt x="1139" y="132"/>
                      <a:pt x="1139" y="132"/>
                      <a:pt x="1139" y="132"/>
                    </a:cubicBezTo>
                    <a:cubicBezTo>
                      <a:pt x="1138" y="132"/>
                      <a:pt x="1137" y="132"/>
                      <a:pt x="1136" y="133"/>
                    </a:cubicBezTo>
                    <a:cubicBezTo>
                      <a:pt x="1136" y="133"/>
                      <a:pt x="1136" y="133"/>
                      <a:pt x="1136" y="133"/>
                    </a:cubicBezTo>
                    <a:cubicBezTo>
                      <a:pt x="1135" y="133"/>
                      <a:pt x="1135" y="133"/>
                      <a:pt x="1135" y="133"/>
                    </a:cubicBezTo>
                    <a:cubicBezTo>
                      <a:pt x="1134" y="134"/>
                      <a:pt x="1133" y="134"/>
                      <a:pt x="1132" y="135"/>
                    </a:cubicBezTo>
                    <a:cubicBezTo>
                      <a:pt x="1132" y="135"/>
                      <a:pt x="1132" y="135"/>
                      <a:pt x="1132" y="135"/>
                    </a:cubicBezTo>
                    <a:cubicBezTo>
                      <a:pt x="1131" y="135"/>
                      <a:pt x="1131" y="135"/>
                      <a:pt x="1131" y="135"/>
                    </a:cubicBezTo>
                    <a:cubicBezTo>
                      <a:pt x="1131" y="135"/>
                      <a:pt x="1131" y="135"/>
                      <a:pt x="1131" y="135"/>
                    </a:cubicBezTo>
                    <a:cubicBezTo>
                      <a:pt x="1130" y="135"/>
                      <a:pt x="1130" y="135"/>
                      <a:pt x="1130" y="135"/>
                    </a:cubicBezTo>
                    <a:cubicBezTo>
                      <a:pt x="1130" y="135"/>
                      <a:pt x="1130" y="135"/>
                      <a:pt x="1130" y="135"/>
                    </a:cubicBezTo>
                    <a:cubicBezTo>
                      <a:pt x="1129" y="136"/>
                      <a:pt x="1129" y="136"/>
                      <a:pt x="1129" y="136"/>
                    </a:cubicBezTo>
                    <a:cubicBezTo>
                      <a:pt x="1129" y="136"/>
                      <a:pt x="1129" y="136"/>
                      <a:pt x="1129" y="136"/>
                    </a:cubicBezTo>
                    <a:cubicBezTo>
                      <a:pt x="1126" y="137"/>
                      <a:pt x="1125" y="137"/>
                      <a:pt x="1122" y="138"/>
                    </a:cubicBezTo>
                    <a:cubicBezTo>
                      <a:pt x="1122" y="138"/>
                      <a:pt x="1122" y="138"/>
                      <a:pt x="1122" y="138"/>
                    </a:cubicBezTo>
                    <a:cubicBezTo>
                      <a:pt x="1122" y="138"/>
                      <a:pt x="1122" y="138"/>
                      <a:pt x="1122" y="138"/>
                    </a:cubicBezTo>
                    <a:cubicBezTo>
                      <a:pt x="1122" y="163"/>
                      <a:pt x="1122" y="163"/>
                      <a:pt x="1122" y="163"/>
                    </a:cubicBezTo>
                    <a:cubicBezTo>
                      <a:pt x="1122" y="163"/>
                      <a:pt x="1122" y="163"/>
                      <a:pt x="1122" y="163"/>
                    </a:cubicBezTo>
                    <a:cubicBezTo>
                      <a:pt x="1122" y="163"/>
                      <a:pt x="1122" y="163"/>
                      <a:pt x="1122" y="163"/>
                    </a:cubicBezTo>
                    <a:cubicBezTo>
                      <a:pt x="1122" y="163"/>
                      <a:pt x="1122" y="163"/>
                      <a:pt x="1122" y="163"/>
                    </a:cubicBezTo>
                    <a:cubicBezTo>
                      <a:pt x="1124" y="163"/>
                      <a:pt x="1125" y="162"/>
                      <a:pt x="1126" y="162"/>
                    </a:cubicBezTo>
                    <a:cubicBezTo>
                      <a:pt x="1126" y="162"/>
                      <a:pt x="1126" y="162"/>
                      <a:pt x="1127" y="162"/>
                    </a:cubicBezTo>
                    <a:cubicBezTo>
                      <a:pt x="1127" y="162"/>
                      <a:pt x="1127" y="162"/>
                      <a:pt x="1127" y="162"/>
                    </a:cubicBezTo>
                    <a:cubicBezTo>
                      <a:pt x="1129" y="163"/>
                      <a:pt x="1129" y="163"/>
                      <a:pt x="1129" y="163"/>
                    </a:cubicBezTo>
                    <a:cubicBezTo>
                      <a:pt x="1131" y="164"/>
                      <a:pt x="1133" y="165"/>
                      <a:pt x="1132" y="168"/>
                    </a:cubicBezTo>
                    <a:cubicBezTo>
                      <a:pt x="1131" y="168"/>
                      <a:pt x="1131" y="168"/>
                      <a:pt x="1131" y="168"/>
                    </a:cubicBezTo>
                    <a:cubicBezTo>
                      <a:pt x="1131" y="169"/>
                      <a:pt x="1131" y="169"/>
                      <a:pt x="1131" y="169"/>
                    </a:cubicBezTo>
                    <a:cubicBezTo>
                      <a:pt x="1131" y="169"/>
                      <a:pt x="1131" y="169"/>
                      <a:pt x="1131" y="169"/>
                    </a:cubicBezTo>
                    <a:cubicBezTo>
                      <a:pt x="1131" y="169"/>
                      <a:pt x="1131" y="169"/>
                      <a:pt x="1131" y="169"/>
                    </a:cubicBezTo>
                    <a:cubicBezTo>
                      <a:pt x="1130" y="171"/>
                      <a:pt x="1130" y="171"/>
                      <a:pt x="1130" y="173"/>
                    </a:cubicBezTo>
                    <a:cubicBezTo>
                      <a:pt x="1130" y="173"/>
                      <a:pt x="1130" y="173"/>
                      <a:pt x="1130" y="173"/>
                    </a:cubicBezTo>
                    <a:cubicBezTo>
                      <a:pt x="1130" y="173"/>
                      <a:pt x="1130" y="173"/>
                      <a:pt x="1130" y="173"/>
                    </a:cubicBezTo>
                    <a:cubicBezTo>
                      <a:pt x="1129" y="175"/>
                      <a:pt x="1129" y="175"/>
                      <a:pt x="1129" y="177"/>
                    </a:cubicBezTo>
                    <a:cubicBezTo>
                      <a:pt x="1130" y="179"/>
                      <a:pt x="1130" y="179"/>
                      <a:pt x="1130" y="179"/>
                    </a:cubicBezTo>
                    <a:cubicBezTo>
                      <a:pt x="1130" y="180"/>
                      <a:pt x="1130" y="180"/>
                      <a:pt x="1130" y="180"/>
                    </a:cubicBezTo>
                    <a:cubicBezTo>
                      <a:pt x="1130" y="181"/>
                      <a:pt x="1130" y="181"/>
                      <a:pt x="1130" y="181"/>
                    </a:cubicBezTo>
                    <a:cubicBezTo>
                      <a:pt x="1130" y="181"/>
                      <a:pt x="1130" y="181"/>
                      <a:pt x="1130" y="181"/>
                    </a:cubicBezTo>
                    <a:cubicBezTo>
                      <a:pt x="1130" y="181"/>
                      <a:pt x="1130" y="181"/>
                      <a:pt x="1130" y="181"/>
                    </a:cubicBezTo>
                    <a:cubicBezTo>
                      <a:pt x="1130" y="182"/>
                      <a:pt x="1130" y="182"/>
                      <a:pt x="1130" y="182"/>
                    </a:cubicBezTo>
                    <a:cubicBezTo>
                      <a:pt x="1130" y="182"/>
                      <a:pt x="1130" y="182"/>
                      <a:pt x="1130" y="182"/>
                    </a:cubicBezTo>
                    <a:cubicBezTo>
                      <a:pt x="1130" y="184"/>
                      <a:pt x="1129" y="183"/>
                      <a:pt x="1128" y="185"/>
                    </a:cubicBezTo>
                    <a:cubicBezTo>
                      <a:pt x="1128" y="186"/>
                      <a:pt x="1128" y="186"/>
                      <a:pt x="1128" y="186"/>
                    </a:cubicBezTo>
                    <a:cubicBezTo>
                      <a:pt x="1128" y="186"/>
                      <a:pt x="1128" y="186"/>
                      <a:pt x="1128" y="186"/>
                    </a:cubicBezTo>
                    <a:cubicBezTo>
                      <a:pt x="1127" y="188"/>
                      <a:pt x="1127" y="189"/>
                      <a:pt x="1126" y="190"/>
                    </a:cubicBezTo>
                    <a:cubicBezTo>
                      <a:pt x="1126" y="193"/>
                      <a:pt x="1126" y="193"/>
                      <a:pt x="1126" y="193"/>
                    </a:cubicBezTo>
                    <a:cubicBezTo>
                      <a:pt x="1125" y="194"/>
                      <a:pt x="1125" y="194"/>
                      <a:pt x="1125" y="194"/>
                    </a:cubicBezTo>
                    <a:cubicBezTo>
                      <a:pt x="1125" y="194"/>
                      <a:pt x="1125" y="194"/>
                      <a:pt x="1125" y="194"/>
                    </a:cubicBezTo>
                    <a:cubicBezTo>
                      <a:pt x="1126" y="195"/>
                      <a:pt x="1126" y="195"/>
                      <a:pt x="1126" y="195"/>
                    </a:cubicBezTo>
                    <a:cubicBezTo>
                      <a:pt x="1126" y="195"/>
                      <a:pt x="1126" y="195"/>
                      <a:pt x="1126" y="195"/>
                    </a:cubicBezTo>
                    <a:cubicBezTo>
                      <a:pt x="1127" y="195"/>
                      <a:pt x="1127" y="195"/>
                      <a:pt x="1127" y="195"/>
                    </a:cubicBezTo>
                    <a:cubicBezTo>
                      <a:pt x="1128" y="196"/>
                      <a:pt x="1128" y="196"/>
                      <a:pt x="1128" y="196"/>
                    </a:cubicBezTo>
                    <a:cubicBezTo>
                      <a:pt x="1130" y="196"/>
                      <a:pt x="1130" y="196"/>
                      <a:pt x="1130" y="196"/>
                    </a:cubicBezTo>
                    <a:cubicBezTo>
                      <a:pt x="1131" y="197"/>
                      <a:pt x="1131" y="197"/>
                      <a:pt x="1131" y="197"/>
                    </a:cubicBezTo>
                    <a:cubicBezTo>
                      <a:pt x="1131" y="199"/>
                      <a:pt x="1131" y="199"/>
                      <a:pt x="1131" y="199"/>
                    </a:cubicBezTo>
                    <a:cubicBezTo>
                      <a:pt x="1131" y="199"/>
                      <a:pt x="1131" y="199"/>
                      <a:pt x="1131" y="199"/>
                    </a:cubicBezTo>
                    <a:cubicBezTo>
                      <a:pt x="1131" y="200"/>
                      <a:pt x="1131" y="200"/>
                      <a:pt x="1131" y="200"/>
                    </a:cubicBezTo>
                    <a:cubicBezTo>
                      <a:pt x="1131" y="200"/>
                      <a:pt x="1131" y="200"/>
                      <a:pt x="1131" y="200"/>
                    </a:cubicBezTo>
                    <a:cubicBezTo>
                      <a:pt x="1131" y="201"/>
                      <a:pt x="1131" y="201"/>
                      <a:pt x="1131" y="201"/>
                    </a:cubicBezTo>
                    <a:cubicBezTo>
                      <a:pt x="1131" y="201"/>
                      <a:pt x="1131" y="201"/>
                      <a:pt x="1131" y="201"/>
                    </a:cubicBezTo>
                    <a:cubicBezTo>
                      <a:pt x="1130" y="202"/>
                      <a:pt x="1130" y="203"/>
                      <a:pt x="1129" y="204"/>
                    </a:cubicBezTo>
                    <a:cubicBezTo>
                      <a:pt x="1129" y="204"/>
                      <a:pt x="1129" y="204"/>
                      <a:pt x="1129" y="204"/>
                    </a:cubicBezTo>
                    <a:cubicBezTo>
                      <a:pt x="1129" y="205"/>
                      <a:pt x="1129" y="205"/>
                      <a:pt x="1129" y="205"/>
                    </a:cubicBezTo>
                    <a:cubicBezTo>
                      <a:pt x="1128" y="205"/>
                      <a:pt x="1128" y="205"/>
                      <a:pt x="1128" y="205"/>
                    </a:cubicBezTo>
                    <a:cubicBezTo>
                      <a:pt x="1128" y="205"/>
                      <a:pt x="1128" y="205"/>
                      <a:pt x="1128" y="205"/>
                    </a:cubicBezTo>
                    <a:cubicBezTo>
                      <a:pt x="1128" y="205"/>
                      <a:pt x="1128" y="205"/>
                      <a:pt x="1128" y="205"/>
                    </a:cubicBezTo>
                    <a:cubicBezTo>
                      <a:pt x="1127" y="205"/>
                      <a:pt x="1127" y="205"/>
                      <a:pt x="1127" y="205"/>
                    </a:cubicBezTo>
                    <a:cubicBezTo>
                      <a:pt x="1127" y="205"/>
                      <a:pt x="1126" y="206"/>
                      <a:pt x="1126" y="206"/>
                    </a:cubicBezTo>
                    <a:cubicBezTo>
                      <a:pt x="1124" y="206"/>
                      <a:pt x="1123" y="203"/>
                      <a:pt x="1122" y="202"/>
                    </a:cubicBezTo>
                    <a:cubicBezTo>
                      <a:pt x="1122" y="220"/>
                      <a:pt x="1122" y="220"/>
                      <a:pt x="1122" y="220"/>
                    </a:cubicBezTo>
                    <a:cubicBezTo>
                      <a:pt x="1122" y="220"/>
                      <a:pt x="1122" y="220"/>
                      <a:pt x="1122" y="220"/>
                    </a:cubicBezTo>
                    <a:cubicBezTo>
                      <a:pt x="1122" y="220"/>
                      <a:pt x="1122" y="220"/>
                      <a:pt x="1122" y="220"/>
                    </a:cubicBezTo>
                    <a:cubicBezTo>
                      <a:pt x="1123" y="220"/>
                      <a:pt x="1123" y="220"/>
                      <a:pt x="1123" y="220"/>
                    </a:cubicBezTo>
                    <a:cubicBezTo>
                      <a:pt x="1123" y="220"/>
                      <a:pt x="1123" y="220"/>
                      <a:pt x="1123" y="220"/>
                    </a:cubicBezTo>
                    <a:cubicBezTo>
                      <a:pt x="1124" y="220"/>
                      <a:pt x="1124" y="220"/>
                      <a:pt x="1124" y="220"/>
                    </a:cubicBezTo>
                    <a:cubicBezTo>
                      <a:pt x="1124" y="220"/>
                      <a:pt x="1124" y="220"/>
                      <a:pt x="1124" y="220"/>
                    </a:cubicBezTo>
                    <a:cubicBezTo>
                      <a:pt x="1126" y="221"/>
                      <a:pt x="1127" y="221"/>
                      <a:pt x="1128" y="222"/>
                    </a:cubicBezTo>
                    <a:cubicBezTo>
                      <a:pt x="1129" y="222"/>
                      <a:pt x="1129" y="222"/>
                      <a:pt x="1129" y="222"/>
                    </a:cubicBezTo>
                    <a:cubicBezTo>
                      <a:pt x="1130" y="223"/>
                      <a:pt x="1130" y="223"/>
                      <a:pt x="1130" y="223"/>
                    </a:cubicBezTo>
                    <a:cubicBezTo>
                      <a:pt x="1130" y="223"/>
                      <a:pt x="1130" y="223"/>
                      <a:pt x="1130" y="223"/>
                    </a:cubicBezTo>
                    <a:cubicBezTo>
                      <a:pt x="1131" y="223"/>
                      <a:pt x="1131" y="223"/>
                      <a:pt x="1131" y="223"/>
                    </a:cubicBezTo>
                    <a:cubicBezTo>
                      <a:pt x="1132" y="224"/>
                      <a:pt x="1133" y="224"/>
                      <a:pt x="1133" y="224"/>
                    </a:cubicBezTo>
                    <a:cubicBezTo>
                      <a:pt x="1134" y="224"/>
                      <a:pt x="1134" y="224"/>
                      <a:pt x="1135" y="224"/>
                    </a:cubicBezTo>
                    <a:cubicBezTo>
                      <a:pt x="1135" y="224"/>
                      <a:pt x="1135" y="224"/>
                      <a:pt x="1135" y="224"/>
                    </a:cubicBezTo>
                    <a:cubicBezTo>
                      <a:pt x="1136" y="224"/>
                      <a:pt x="1136" y="224"/>
                      <a:pt x="1136" y="224"/>
                    </a:cubicBezTo>
                    <a:cubicBezTo>
                      <a:pt x="1138" y="225"/>
                      <a:pt x="1138" y="225"/>
                      <a:pt x="1140" y="225"/>
                    </a:cubicBezTo>
                    <a:cubicBezTo>
                      <a:pt x="1141" y="226"/>
                      <a:pt x="1141" y="226"/>
                      <a:pt x="1141" y="226"/>
                    </a:cubicBezTo>
                    <a:cubicBezTo>
                      <a:pt x="1141" y="226"/>
                      <a:pt x="1141" y="226"/>
                      <a:pt x="1141" y="226"/>
                    </a:cubicBezTo>
                    <a:cubicBezTo>
                      <a:pt x="1141" y="226"/>
                      <a:pt x="1141" y="226"/>
                      <a:pt x="1141" y="226"/>
                    </a:cubicBezTo>
                    <a:cubicBezTo>
                      <a:pt x="1141" y="227"/>
                      <a:pt x="1141" y="227"/>
                      <a:pt x="1141" y="227"/>
                    </a:cubicBezTo>
                    <a:cubicBezTo>
                      <a:pt x="1142" y="227"/>
                      <a:pt x="1142" y="227"/>
                      <a:pt x="1142" y="227"/>
                    </a:cubicBezTo>
                    <a:cubicBezTo>
                      <a:pt x="1142" y="227"/>
                      <a:pt x="1142" y="227"/>
                      <a:pt x="1142" y="227"/>
                    </a:cubicBezTo>
                    <a:cubicBezTo>
                      <a:pt x="1142" y="227"/>
                      <a:pt x="1142" y="227"/>
                      <a:pt x="1142" y="227"/>
                    </a:cubicBezTo>
                    <a:cubicBezTo>
                      <a:pt x="1143" y="228"/>
                      <a:pt x="1143" y="228"/>
                      <a:pt x="1143" y="228"/>
                    </a:cubicBezTo>
                    <a:cubicBezTo>
                      <a:pt x="1143" y="228"/>
                      <a:pt x="1143" y="228"/>
                      <a:pt x="1143" y="228"/>
                    </a:cubicBezTo>
                    <a:cubicBezTo>
                      <a:pt x="1144" y="228"/>
                      <a:pt x="1144" y="228"/>
                      <a:pt x="1144" y="228"/>
                    </a:cubicBezTo>
                    <a:cubicBezTo>
                      <a:pt x="1144" y="228"/>
                      <a:pt x="1144" y="228"/>
                      <a:pt x="1144" y="228"/>
                    </a:cubicBezTo>
                    <a:cubicBezTo>
                      <a:pt x="1144" y="229"/>
                      <a:pt x="1144" y="229"/>
                      <a:pt x="1144" y="229"/>
                    </a:cubicBezTo>
                    <a:cubicBezTo>
                      <a:pt x="1145" y="229"/>
                      <a:pt x="1145" y="229"/>
                      <a:pt x="1145" y="229"/>
                    </a:cubicBezTo>
                    <a:cubicBezTo>
                      <a:pt x="1145" y="229"/>
                      <a:pt x="1145" y="229"/>
                      <a:pt x="1145" y="229"/>
                    </a:cubicBezTo>
                    <a:cubicBezTo>
                      <a:pt x="1146" y="229"/>
                      <a:pt x="1146" y="229"/>
                      <a:pt x="1146" y="229"/>
                    </a:cubicBezTo>
                    <a:cubicBezTo>
                      <a:pt x="1146" y="230"/>
                      <a:pt x="1146" y="230"/>
                      <a:pt x="1146" y="230"/>
                    </a:cubicBezTo>
                    <a:cubicBezTo>
                      <a:pt x="1147" y="230"/>
                      <a:pt x="1147" y="230"/>
                      <a:pt x="1147" y="230"/>
                    </a:cubicBezTo>
                    <a:cubicBezTo>
                      <a:pt x="1148" y="230"/>
                      <a:pt x="1148" y="230"/>
                      <a:pt x="1148" y="230"/>
                    </a:cubicBezTo>
                    <a:cubicBezTo>
                      <a:pt x="1148" y="230"/>
                      <a:pt x="1148" y="230"/>
                      <a:pt x="1148" y="230"/>
                    </a:cubicBezTo>
                    <a:cubicBezTo>
                      <a:pt x="1149" y="230"/>
                      <a:pt x="1149" y="230"/>
                      <a:pt x="1149" y="230"/>
                    </a:cubicBezTo>
                    <a:cubicBezTo>
                      <a:pt x="1149" y="230"/>
                      <a:pt x="1149" y="230"/>
                      <a:pt x="1149" y="230"/>
                    </a:cubicBezTo>
                    <a:cubicBezTo>
                      <a:pt x="1150" y="231"/>
                      <a:pt x="1150" y="231"/>
                      <a:pt x="1150" y="231"/>
                    </a:cubicBezTo>
                    <a:cubicBezTo>
                      <a:pt x="1150" y="231"/>
                      <a:pt x="1150" y="231"/>
                      <a:pt x="1150" y="231"/>
                    </a:cubicBezTo>
                    <a:cubicBezTo>
                      <a:pt x="1151" y="231"/>
                      <a:pt x="1151" y="231"/>
                      <a:pt x="1151" y="231"/>
                    </a:cubicBezTo>
                    <a:cubicBezTo>
                      <a:pt x="1151" y="230"/>
                      <a:pt x="1151" y="230"/>
                      <a:pt x="1151" y="230"/>
                    </a:cubicBezTo>
                    <a:cubicBezTo>
                      <a:pt x="1151" y="229"/>
                      <a:pt x="1151" y="229"/>
                      <a:pt x="1151" y="229"/>
                    </a:cubicBezTo>
                    <a:cubicBezTo>
                      <a:pt x="1152" y="229"/>
                      <a:pt x="1152" y="229"/>
                      <a:pt x="1152" y="229"/>
                    </a:cubicBezTo>
                    <a:cubicBezTo>
                      <a:pt x="1153" y="228"/>
                      <a:pt x="1153" y="228"/>
                      <a:pt x="1153" y="228"/>
                    </a:cubicBezTo>
                    <a:cubicBezTo>
                      <a:pt x="1153" y="228"/>
                      <a:pt x="1153" y="228"/>
                      <a:pt x="1153" y="228"/>
                    </a:cubicBezTo>
                    <a:cubicBezTo>
                      <a:pt x="1154" y="229"/>
                      <a:pt x="1154" y="229"/>
                      <a:pt x="1154" y="229"/>
                    </a:cubicBezTo>
                    <a:cubicBezTo>
                      <a:pt x="1154" y="229"/>
                      <a:pt x="1154" y="229"/>
                      <a:pt x="1154" y="229"/>
                    </a:cubicBezTo>
                    <a:cubicBezTo>
                      <a:pt x="1154" y="230"/>
                      <a:pt x="1154" y="230"/>
                      <a:pt x="1154" y="230"/>
                    </a:cubicBezTo>
                    <a:cubicBezTo>
                      <a:pt x="1154" y="231"/>
                      <a:pt x="1154" y="231"/>
                      <a:pt x="1154" y="231"/>
                    </a:cubicBezTo>
                    <a:cubicBezTo>
                      <a:pt x="1154" y="231"/>
                      <a:pt x="1154" y="231"/>
                      <a:pt x="1154" y="231"/>
                    </a:cubicBezTo>
                    <a:cubicBezTo>
                      <a:pt x="1154" y="232"/>
                      <a:pt x="1154" y="232"/>
                      <a:pt x="1154" y="232"/>
                    </a:cubicBezTo>
                    <a:cubicBezTo>
                      <a:pt x="1153" y="232"/>
                      <a:pt x="1153" y="232"/>
                      <a:pt x="1153" y="232"/>
                    </a:cubicBezTo>
                    <a:cubicBezTo>
                      <a:pt x="1153" y="232"/>
                      <a:pt x="1153" y="232"/>
                      <a:pt x="1153" y="232"/>
                    </a:cubicBezTo>
                    <a:cubicBezTo>
                      <a:pt x="1153" y="233"/>
                      <a:pt x="1153" y="233"/>
                      <a:pt x="1153" y="233"/>
                    </a:cubicBezTo>
                    <a:cubicBezTo>
                      <a:pt x="1153" y="233"/>
                      <a:pt x="1153" y="233"/>
                      <a:pt x="1153" y="233"/>
                    </a:cubicBezTo>
                    <a:cubicBezTo>
                      <a:pt x="1154" y="234"/>
                      <a:pt x="1154" y="234"/>
                      <a:pt x="1154" y="234"/>
                    </a:cubicBezTo>
                    <a:cubicBezTo>
                      <a:pt x="1154" y="235"/>
                      <a:pt x="1154" y="235"/>
                      <a:pt x="1154" y="235"/>
                    </a:cubicBezTo>
                    <a:cubicBezTo>
                      <a:pt x="1153" y="236"/>
                      <a:pt x="1153" y="236"/>
                      <a:pt x="1153" y="236"/>
                    </a:cubicBezTo>
                    <a:cubicBezTo>
                      <a:pt x="1152" y="238"/>
                      <a:pt x="1152" y="238"/>
                      <a:pt x="1152" y="238"/>
                    </a:cubicBezTo>
                    <a:cubicBezTo>
                      <a:pt x="1152" y="238"/>
                      <a:pt x="1152" y="238"/>
                      <a:pt x="1152" y="238"/>
                    </a:cubicBezTo>
                    <a:cubicBezTo>
                      <a:pt x="1152" y="239"/>
                      <a:pt x="1152" y="239"/>
                      <a:pt x="1152" y="239"/>
                    </a:cubicBezTo>
                    <a:cubicBezTo>
                      <a:pt x="1152" y="239"/>
                      <a:pt x="1152" y="239"/>
                      <a:pt x="1152" y="239"/>
                    </a:cubicBezTo>
                    <a:cubicBezTo>
                      <a:pt x="1152" y="240"/>
                      <a:pt x="1152" y="240"/>
                      <a:pt x="1152" y="240"/>
                    </a:cubicBezTo>
                    <a:cubicBezTo>
                      <a:pt x="1152" y="240"/>
                      <a:pt x="1152" y="240"/>
                      <a:pt x="1152" y="240"/>
                    </a:cubicBezTo>
                    <a:cubicBezTo>
                      <a:pt x="1152" y="240"/>
                      <a:pt x="1152" y="240"/>
                      <a:pt x="1152" y="240"/>
                    </a:cubicBezTo>
                    <a:cubicBezTo>
                      <a:pt x="1152" y="241"/>
                      <a:pt x="1152" y="241"/>
                      <a:pt x="1152" y="241"/>
                    </a:cubicBezTo>
                    <a:cubicBezTo>
                      <a:pt x="1152" y="241"/>
                      <a:pt x="1152" y="241"/>
                      <a:pt x="1152" y="241"/>
                    </a:cubicBezTo>
                    <a:cubicBezTo>
                      <a:pt x="1152" y="241"/>
                      <a:pt x="1152" y="241"/>
                      <a:pt x="1152" y="241"/>
                    </a:cubicBezTo>
                    <a:cubicBezTo>
                      <a:pt x="1154" y="243"/>
                      <a:pt x="1156" y="245"/>
                      <a:pt x="1157" y="247"/>
                    </a:cubicBezTo>
                    <a:cubicBezTo>
                      <a:pt x="1157" y="247"/>
                      <a:pt x="1157" y="247"/>
                      <a:pt x="1157" y="247"/>
                    </a:cubicBezTo>
                    <a:cubicBezTo>
                      <a:pt x="1158" y="248"/>
                      <a:pt x="1158" y="248"/>
                      <a:pt x="1158" y="248"/>
                    </a:cubicBezTo>
                    <a:cubicBezTo>
                      <a:pt x="1160" y="250"/>
                      <a:pt x="1161" y="250"/>
                      <a:pt x="1163" y="254"/>
                    </a:cubicBezTo>
                    <a:cubicBezTo>
                      <a:pt x="1163" y="254"/>
                      <a:pt x="1163" y="254"/>
                      <a:pt x="1163" y="254"/>
                    </a:cubicBezTo>
                    <a:cubicBezTo>
                      <a:pt x="1163" y="254"/>
                      <a:pt x="1163" y="254"/>
                      <a:pt x="1163" y="254"/>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4" y="256"/>
                      <a:pt x="1164" y="256"/>
                      <a:pt x="1164" y="256"/>
                    </a:cubicBezTo>
                    <a:cubicBezTo>
                      <a:pt x="1164" y="256"/>
                      <a:pt x="1164" y="256"/>
                      <a:pt x="1164" y="256"/>
                    </a:cubicBezTo>
                    <a:cubicBezTo>
                      <a:pt x="1164" y="256"/>
                      <a:pt x="1164" y="256"/>
                      <a:pt x="1164" y="256"/>
                    </a:cubicBezTo>
                    <a:cubicBezTo>
                      <a:pt x="1165" y="256"/>
                      <a:pt x="1165" y="256"/>
                      <a:pt x="1165" y="256"/>
                    </a:cubicBezTo>
                    <a:cubicBezTo>
                      <a:pt x="1165" y="257"/>
                      <a:pt x="1165" y="257"/>
                      <a:pt x="1165" y="257"/>
                    </a:cubicBezTo>
                    <a:cubicBezTo>
                      <a:pt x="1166" y="257"/>
                      <a:pt x="1166" y="257"/>
                      <a:pt x="1166" y="257"/>
                    </a:cubicBezTo>
                    <a:cubicBezTo>
                      <a:pt x="1166" y="257"/>
                      <a:pt x="1166" y="257"/>
                      <a:pt x="1166" y="257"/>
                    </a:cubicBezTo>
                    <a:cubicBezTo>
                      <a:pt x="1168" y="258"/>
                      <a:pt x="1169" y="259"/>
                      <a:pt x="1171" y="259"/>
                    </a:cubicBezTo>
                    <a:cubicBezTo>
                      <a:pt x="1172" y="259"/>
                      <a:pt x="1172" y="259"/>
                      <a:pt x="1172" y="259"/>
                    </a:cubicBezTo>
                    <a:cubicBezTo>
                      <a:pt x="1172" y="259"/>
                      <a:pt x="1172" y="259"/>
                      <a:pt x="1172" y="259"/>
                    </a:cubicBezTo>
                    <a:cubicBezTo>
                      <a:pt x="1173" y="259"/>
                      <a:pt x="1173" y="259"/>
                      <a:pt x="1173" y="259"/>
                    </a:cubicBezTo>
                    <a:cubicBezTo>
                      <a:pt x="1173" y="259"/>
                      <a:pt x="1173" y="259"/>
                      <a:pt x="1173" y="259"/>
                    </a:cubicBezTo>
                    <a:cubicBezTo>
                      <a:pt x="1173" y="259"/>
                      <a:pt x="1173" y="259"/>
                      <a:pt x="1173" y="259"/>
                    </a:cubicBezTo>
                    <a:cubicBezTo>
                      <a:pt x="1175" y="259"/>
                      <a:pt x="1175" y="258"/>
                      <a:pt x="1177" y="258"/>
                    </a:cubicBezTo>
                    <a:cubicBezTo>
                      <a:pt x="1177" y="257"/>
                      <a:pt x="1177" y="257"/>
                      <a:pt x="1177" y="257"/>
                    </a:cubicBezTo>
                    <a:cubicBezTo>
                      <a:pt x="1178" y="257"/>
                      <a:pt x="1178" y="257"/>
                      <a:pt x="1178" y="257"/>
                    </a:cubicBezTo>
                    <a:cubicBezTo>
                      <a:pt x="1178" y="257"/>
                      <a:pt x="1178" y="257"/>
                      <a:pt x="1178" y="257"/>
                    </a:cubicBezTo>
                    <a:cubicBezTo>
                      <a:pt x="1178" y="257"/>
                      <a:pt x="1178" y="257"/>
                      <a:pt x="1178" y="257"/>
                    </a:cubicBezTo>
                    <a:cubicBezTo>
                      <a:pt x="1179" y="257"/>
                      <a:pt x="1179" y="257"/>
                      <a:pt x="1179" y="257"/>
                    </a:cubicBezTo>
                    <a:cubicBezTo>
                      <a:pt x="1179" y="257"/>
                      <a:pt x="1179" y="257"/>
                      <a:pt x="1179" y="257"/>
                    </a:cubicBezTo>
                    <a:cubicBezTo>
                      <a:pt x="1179" y="257"/>
                      <a:pt x="1179" y="257"/>
                      <a:pt x="1179" y="257"/>
                    </a:cubicBezTo>
                    <a:cubicBezTo>
                      <a:pt x="1180" y="257"/>
                      <a:pt x="1180" y="257"/>
                      <a:pt x="1180" y="257"/>
                    </a:cubicBezTo>
                    <a:cubicBezTo>
                      <a:pt x="1180" y="258"/>
                      <a:pt x="1180" y="258"/>
                      <a:pt x="1180" y="258"/>
                    </a:cubicBezTo>
                    <a:cubicBezTo>
                      <a:pt x="1181" y="258"/>
                      <a:pt x="1181" y="258"/>
                      <a:pt x="1181" y="258"/>
                    </a:cubicBezTo>
                    <a:cubicBezTo>
                      <a:pt x="1181" y="258"/>
                      <a:pt x="1181" y="258"/>
                      <a:pt x="1181" y="258"/>
                    </a:cubicBezTo>
                    <a:cubicBezTo>
                      <a:pt x="1182" y="257"/>
                      <a:pt x="1182" y="257"/>
                      <a:pt x="1182" y="257"/>
                    </a:cubicBezTo>
                    <a:cubicBezTo>
                      <a:pt x="1182" y="257"/>
                      <a:pt x="1182" y="257"/>
                      <a:pt x="1182" y="257"/>
                    </a:cubicBezTo>
                    <a:cubicBezTo>
                      <a:pt x="1183" y="257"/>
                      <a:pt x="1183" y="257"/>
                      <a:pt x="1183" y="257"/>
                    </a:cubicBezTo>
                    <a:cubicBezTo>
                      <a:pt x="1185" y="257"/>
                      <a:pt x="1185" y="257"/>
                      <a:pt x="1185" y="257"/>
                    </a:cubicBezTo>
                    <a:cubicBezTo>
                      <a:pt x="1185" y="257"/>
                      <a:pt x="1185" y="257"/>
                      <a:pt x="1185" y="257"/>
                    </a:cubicBezTo>
                    <a:cubicBezTo>
                      <a:pt x="1185" y="257"/>
                      <a:pt x="1185" y="257"/>
                      <a:pt x="1185" y="257"/>
                    </a:cubicBezTo>
                    <a:cubicBezTo>
                      <a:pt x="1181" y="259"/>
                      <a:pt x="1186" y="258"/>
                      <a:pt x="1179" y="260"/>
                    </a:cubicBezTo>
                    <a:cubicBezTo>
                      <a:pt x="1178" y="260"/>
                      <a:pt x="1178" y="260"/>
                      <a:pt x="1178" y="260"/>
                    </a:cubicBezTo>
                    <a:cubicBezTo>
                      <a:pt x="1178" y="261"/>
                      <a:pt x="1178" y="261"/>
                      <a:pt x="1178" y="261"/>
                    </a:cubicBezTo>
                    <a:cubicBezTo>
                      <a:pt x="1179" y="261"/>
                      <a:pt x="1179" y="261"/>
                      <a:pt x="1179" y="261"/>
                    </a:cubicBezTo>
                    <a:cubicBezTo>
                      <a:pt x="1179" y="261"/>
                      <a:pt x="1179" y="261"/>
                      <a:pt x="1179" y="261"/>
                    </a:cubicBezTo>
                    <a:cubicBezTo>
                      <a:pt x="1180" y="261"/>
                      <a:pt x="1180" y="261"/>
                      <a:pt x="1180" y="261"/>
                    </a:cubicBezTo>
                    <a:cubicBezTo>
                      <a:pt x="1181" y="261"/>
                      <a:pt x="1181" y="261"/>
                      <a:pt x="1181" y="261"/>
                    </a:cubicBezTo>
                    <a:cubicBezTo>
                      <a:pt x="1182" y="262"/>
                      <a:pt x="1182" y="262"/>
                      <a:pt x="1182" y="262"/>
                    </a:cubicBezTo>
                    <a:cubicBezTo>
                      <a:pt x="1182" y="262"/>
                      <a:pt x="1182" y="262"/>
                      <a:pt x="1182" y="262"/>
                    </a:cubicBezTo>
                    <a:cubicBezTo>
                      <a:pt x="1182" y="262"/>
                      <a:pt x="1182" y="262"/>
                      <a:pt x="1182" y="262"/>
                    </a:cubicBezTo>
                    <a:cubicBezTo>
                      <a:pt x="1182" y="263"/>
                      <a:pt x="1182" y="263"/>
                      <a:pt x="1182" y="263"/>
                    </a:cubicBezTo>
                    <a:cubicBezTo>
                      <a:pt x="1182" y="263"/>
                      <a:pt x="1182" y="263"/>
                      <a:pt x="1182" y="263"/>
                    </a:cubicBezTo>
                    <a:cubicBezTo>
                      <a:pt x="1182" y="263"/>
                      <a:pt x="1182" y="263"/>
                      <a:pt x="1182" y="263"/>
                    </a:cubicBezTo>
                    <a:cubicBezTo>
                      <a:pt x="1181" y="264"/>
                      <a:pt x="1181" y="264"/>
                      <a:pt x="1181" y="264"/>
                    </a:cubicBezTo>
                    <a:cubicBezTo>
                      <a:pt x="1181" y="264"/>
                      <a:pt x="1181" y="264"/>
                      <a:pt x="1181" y="264"/>
                    </a:cubicBezTo>
                    <a:cubicBezTo>
                      <a:pt x="1180" y="264"/>
                      <a:pt x="1180" y="264"/>
                      <a:pt x="1180" y="264"/>
                    </a:cubicBezTo>
                    <a:cubicBezTo>
                      <a:pt x="1180" y="264"/>
                      <a:pt x="1180" y="264"/>
                      <a:pt x="1180" y="264"/>
                    </a:cubicBezTo>
                    <a:cubicBezTo>
                      <a:pt x="1180" y="264"/>
                      <a:pt x="1180" y="264"/>
                      <a:pt x="1180" y="264"/>
                    </a:cubicBezTo>
                    <a:cubicBezTo>
                      <a:pt x="1180" y="265"/>
                      <a:pt x="1180" y="265"/>
                      <a:pt x="1180" y="265"/>
                    </a:cubicBezTo>
                    <a:cubicBezTo>
                      <a:pt x="1179" y="265"/>
                      <a:pt x="1179" y="265"/>
                      <a:pt x="1179" y="265"/>
                    </a:cubicBezTo>
                    <a:cubicBezTo>
                      <a:pt x="1179" y="265"/>
                      <a:pt x="1179" y="265"/>
                      <a:pt x="1179" y="265"/>
                    </a:cubicBezTo>
                    <a:cubicBezTo>
                      <a:pt x="1179" y="267"/>
                      <a:pt x="1180" y="266"/>
                      <a:pt x="1179" y="267"/>
                    </a:cubicBezTo>
                    <a:cubicBezTo>
                      <a:pt x="1179" y="268"/>
                      <a:pt x="1179" y="268"/>
                      <a:pt x="1179" y="268"/>
                    </a:cubicBezTo>
                    <a:cubicBezTo>
                      <a:pt x="1179" y="268"/>
                      <a:pt x="1179" y="268"/>
                      <a:pt x="1179" y="268"/>
                    </a:cubicBezTo>
                    <a:cubicBezTo>
                      <a:pt x="1179" y="268"/>
                      <a:pt x="1179" y="268"/>
                      <a:pt x="1179" y="268"/>
                    </a:cubicBezTo>
                    <a:cubicBezTo>
                      <a:pt x="1178" y="270"/>
                      <a:pt x="1177" y="273"/>
                      <a:pt x="1176" y="275"/>
                    </a:cubicBezTo>
                    <a:cubicBezTo>
                      <a:pt x="1176" y="275"/>
                      <a:pt x="1176" y="275"/>
                      <a:pt x="1176" y="275"/>
                    </a:cubicBezTo>
                    <a:cubicBezTo>
                      <a:pt x="1176" y="275"/>
                      <a:pt x="1176" y="275"/>
                      <a:pt x="1176" y="275"/>
                    </a:cubicBezTo>
                    <a:cubicBezTo>
                      <a:pt x="1175" y="276"/>
                      <a:pt x="1175" y="276"/>
                      <a:pt x="1175" y="276"/>
                    </a:cubicBezTo>
                    <a:cubicBezTo>
                      <a:pt x="1175" y="276"/>
                      <a:pt x="1175" y="276"/>
                      <a:pt x="1175" y="276"/>
                    </a:cubicBezTo>
                    <a:cubicBezTo>
                      <a:pt x="1173" y="279"/>
                      <a:pt x="1172" y="280"/>
                      <a:pt x="1170" y="282"/>
                    </a:cubicBezTo>
                    <a:cubicBezTo>
                      <a:pt x="1170" y="283"/>
                      <a:pt x="1170" y="283"/>
                      <a:pt x="1170" y="283"/>
                    </a:cubicBezTo>
                    <a:cubicBezTo>
                      <a:pt x="1169" y="283"/>
                      <a:pt x="1169" y="283"/>
                      <a:pt x="1169" y="283"/>
                    </a:cubicBezTo>
                    <a:cubicBezTo>
                      <a:pt x="1169" y="283"/>
                      <a:pt x="1169" y="283"/>
                      <a:pt x="1169" y="283"/>
                    </a:cubicBezTo>
                    <a:cubicBezTo>
                      <a:pt x="1169" y="284"/>
                      <a:pt x="1169" y="284"/>
                      <a:pt x="1169" y="284"/>
                    </a:cubicBezTo>
                    <a:cubicBezTo>
                      <a:pt x="1169" y="284"/>
                      <a:pt x="1169" y="284"/>
                      <a:pt x="1169" y="284"/>
                    </a:cubicBezTo>
                    <a:cubicBezTo>
                      <a:pt x="1168" y="285"/>
                      <a:pt x="1168" y="285"/>
                      <a:pt x="1168" y="285"/>
                    </a:cubicBezTo>
                    <a:cubicBezTo>
                      <a:pt x="1168" y="286"/>
                      <a:pt x="1168" y="286"/>
                      <a:pt x="1168" y="286"/>
                    </a:cubicBezTo>
                    <a:cubicBezTo>
                      <a:pt x="1169" y="288"/>
                      <a:pt x="1169" y="288"/>
                      <a:pt x="1169" y="288"/>
                    </a:cubicBezTo>
                    <a:cubicBezTo>
                      <a:pt x="1169" y="288"/>
                      <a:pt x="1169" y="288"/>
                      <a:pt x="1169" y="288"/>
                    </a:cubicBezTo>
                    <a:cubicBezTo>
                      <a:pt x="1168" y="289"/>
                      <a:pt x="1168" y="289"/>
                      <a:pt x="1168" y="289"/>
                    </a:cubicBezTo>
                    <a:cubicBezTo>
                      <a:pt x="1168" y="289"/>
                      <a:pt x="1168" y="289"/>
                      <a:pt x="1168" y="289"/>
                    </a:cubicBezTo>
                    <a:cubicBezTo>
                      <a:pt x="1167" y="289"/>
                      <a:pt x="1167" y="289"/>
                      <a:pt x="1167" y="289"/>
                    </a:cubicBezTo>
                    <a:cubicBezTo>
                      <a:pt x="1166" y="289"/>
                      <a:pt x="1166" y="290"/>
                      <a:pt x="1165" y="291"/>
                    </a:cubicBezTo>
                    <a:cubicBezTo>
                      <a:pt x="1165" y="291"/>
                      <a:pt x="1165" y="291"/>
                      <a:pt x="1165" y="291"/>
                    </a:cubicBezTo>
                    <a:cubicBezTo>
                      <a:pt x="1164" y="292"/>
                      <a:pt x="1164" y="292"/>
                      <a:pt x="1164" y="292"/>
                    </a:cubicBezTo>
                    <a:cubicBezTo>
                      <a:pt x="1164" y="292"/>
                      <a:pt x="1164" y="292"/>
                      <a:pt x="1164" y="292"/>
                    </a:cubicBezTo>
                    <a:cubicBezTo>
                      <a:pt x="1161" y="293"/>
                      <a:pt x="1161" y="293"/>
                      <a:pt x="1161" y="293"/>
                    </a:cubicBezTo>
                    <a:cubicBezTo>
                      <a:pt x="1126" y="263"/>
                      <a:pt x="1126" y="263"/>
                      <a:pt x="1126" y="263"/>
                    </a:cubicBezTo>
                    <a:cubicBezTo>
                      <a:pt x="1125" y="262"/>
                      <a:pt x="1125" y="262"/>
                      <a:pt x="1125" y="262"/>
                    </a:cubicBezTo>
                    <a:cubicBezTo>
                      <a:pt x="1124" y="262"/>
                      <a:pt x="1123" y="262"/>
                      <a:pt x="1122" y="261"/>
                    </a:cubicBezTo>
                    <a:cubicBezTo>
                      <a:pt x="1122" y="457"/>
                      <a:pt x="1122" y="457"/>
                      <a:pt x="1122" y="457"/>
                    </a:cubicBezTo>
                    <a:cubicBezTo>
                      <a:pt x="1682" y="457"/>
                      <a:pt x="1682" y="457"/>
                      <a:pt x="1682" y="457"/>
                    </a:cubicBezTo>
                    <a:cubicBezTo>
                      <a:pt x="1682" y="0"/>
                      <a:pt x="1682" y="0"/>
                      <a:pt x="16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376"/>
              <p:cNvSpPr>
                <a:spLocks noEditPoints="1"/>
              </p:cNvSpPr>
              <p:nvPr/>
            </p:nvSpPr>
            <p:spPr bwMode="auto">
              <a:xfrm>
                <a:off x="8615800" y="3519286"/>
                <a:ext cx="1293475" cy="1448250"/>
              </a:xfrm>
              <a:custGeom>
                <a:gdLst>
                  <a:gd name="T0" fmla="*/ 19 w 408"/>
                  <a:gd name="T1" fmla="*/ 454 h 456"/>
                  <a:gd name="T2" fmla="*/ 36 w 408"/>
                  <a:gd name="T3" fmla="*/ 435 h 456"/>
                  <a:gd name="T4" fmla="*/ 13 w 408"/>
                  <a:gd name="T5" fmla="*/ 369 h 456"/>
                  <a:gd name="T6" fmla="*/ 0 w 408"/>
                  <a:gd name="T7" fmla="*/ 357 h 456"/>
                  <a:gd name="T8" fmla="*/ 0 w 408"/>
                  <a:gd name="T9" fmla="*/ 234 h 456"/>
                  <a:gd name="T10" fmla="*/ 7 w 408"/>
                  <a:gd name="T11" fmla="*/ 308 h 456"/>
                  <a:gd name="T12" fmla="*/ 25 w 408"/>
                  <a:gd name="T13" fmla="*/ 304 h 456"/>
                  <a:gd name="T14" fmla="*/ 43 w 408"/>
                  <a:gd name="T15" fmla="*/ 291 h 456"/>
                  <a:gd name="T16" fmla="*/ 52 w 408"/>
                  <a:gd name="T17" fmla="*/ 283 h 456"/>
                  <a:gd name="T18" fmla="*/ 40 w 408"/>
                  <a:gd name="T19" fmla="*/ 277 h 456"/>
                  <a:gd name="T20" fmla="*/ 34 w 408"/>
                  <a:gd name="T21" fmla="*/ 273 h 456"/>
                  <a:gd name="T22" fmla="*/ 44 w 408"/>
                  <a:gd name="T23" fmla="*/ 265 h 456"/>
                  <a:gd name="T24" fmla="*/ 47 w 408"/>
                  <a:gd name="T25" fmla="*/ 264 h 456"/>
                  <a:gd name="T26" fmla="*/ 41 w 408"/>
                  <a:gd name="T27" fmla="*/ 257 h 456"/>
                  <a:gd name="T28" fmla="*/ 24 w 408"/>
                  <a:gd name="T29" fmla="*/ 234 h 456"/>
                  <a:gd name="T30" fmla="*/ 2 w 408"/>
                  <a:gd name="T31" fmla="*/ 138 h 456"/>
                  <a:gd name="T32" fmla="*/ 14 w 408"/>
                  <a:gd name="T33" fmla="*/ 131 h 456"/>
                  <a:gd name="T34" fmla="*/ 35 w 408"/>
                  <a:gd name="T35" fmla="*/ 151 h 456"/>
                  <a:gd name="T36" fmla="*/ 43 w 408"/>
                  <a:gd name="T37" fmla="*/ 147 h 456"/>
                  <a:gd name="T38" fmla="*/ 40 w 408"/>
                  <a:gd name="T39" fmla="*/ 136 h 456"/>
                  <a:gd name="T40" fmla="*/ 41 w 408"/>
                  <a:gd name="T41" fmla="*/ 121 h 456"/>
                  <a:gd name="T42" fmla="*/ 55 w 408"/>
                  <a:gd name="T43" fmla="*/ 116 h 456"/>
                  <a:gd name="T44" fmla="*/ 83 w 408"/>
                  <a:gd name="T45" fmla="*/ 99 h 456"/>
                  <a:gd name="T46" fmla="*/ 89 w 408"/>
                  <a:gd name="T47" fmla="*/ 93 h 456"/>
                  <a:gd name="T48" fmla="*/ 104 w 408"/>
                  <a:gd name="T49" fmla="*/ 79 h 456"/>
                  <a:gd name="T50" fmla="*/ 123 w 408"/>
                  <a:gd name="T51" fmla="*/ 90 h 456"/>
                  <a:gd name="T52" fmla="*/ 127 w 408"/>
                  <a:gd name="T53" fmla="*/ 89 h 456"/>
                  <a:gd name="T54" fmla="*/ 151 w 408"/>
                  <a:gd name="T55" fmla="*/ 84 h 456"/>
                  <a:gd name="T56" fmla="*/ 154 w 408"/>
                  <a:gd name="T57" fmla="*/ 91 h 456"/>
                  <a:gd name="T58" fmla="*/ 166 w 408"/>
                  <a:gd name="T59" fmla="*/ 89 h 456"/>
                  <a:gd name="T60" fmla="*/ 206 w 408"/>
                  <a:gd name="T61" fmla="*/ 111 h 456"/>
                  <a:gd name="T62" fmla="*/ 214 w 408"/>
                  <a:gd name="T63" fmla="*/ 107 h 456"/>
                  <a:gd name="T64" fmla="*/ 241 w 408"/>
                  <a:gd name="T65" fmla="*/ 125 h 456"/>
                  <a:gd name="T66" fmla="*/ 250 w 408"/>
                  <a:gd name="T67" fmla="*/ 120 h 456"/>
                  <a:gd name="T68" fmla="*/ 259 w 408"/>
                  <a:gd name="T69" fmla="*/ 111 h 456"/>
                  <a:gd name="T70" fmla="*/ 289 w 408"/>
                  <a:gd name="T71" fmla="*/ 110 h 456"/>
                  <a:gd name="T72" fmla="*/ 297 w 408"/>
                  <a:gd name="T73" fmla="*/ 110 h 456"/>
                  <a:gd name="T74" fmla="*/ 329 w 408"/>
                  <a:gd name="T75" fmla="*/ 117 h 456"/>
                  <a:gd name="T76" fmla="*/ 338 w 408"/>
                  <a:gd name="T77" fmla="*/ 120 h 456"/>
                  <a:gd name="T78" fmla="*/ 355 w 408"/>
                  <a:gd name="T79" fmla="*/ 126 h 456"/>
                  <a:gd name="T80" fmla="*/ 360 w 408"/>
                  <a:gd name="T81" fmla="*/ 115 h 456"/>
                  <a:gd name="T82" fmla="*/ 386 w 408"/>
                  <a:gd name="T83" fmla="*/ 120 h 456"/>
                  <a:gd name="T84" fmla="*/ 402 w 408"/>
                  <a:gd name="T85" fmla="*/ 113 h 456"/>
                  <a:gd name="T86" fmla="*/ 377 w 408"/>
                  <a:gd name="T87" fmla="*/ 90 h 456"/>
                  <a:gd name="T88" fmla="*/ 364 w 408"/>
                  <a:gd name="T89" fmla="*/ 81 h 456"/>
                  <a:gd name="T90" fmla="*/ 364 w 408"/>
                  <a:gd name="T91" fmla="*/ 70 h 456"/>
                  <a:gd name="T92" fmla="*/ 378 w 408"/>
                  <a:gd name="T93" fmla="*/ 64 h 456"/>
                  <a:gd name="T94" fmla="*/ 388 w 408"/>
                  <a:gd name="T95" fmla="*/ 59 h 456"/>
                  <a:gd name="T96" fmla="*/ 384 w 408"/>
                  <a:gd name="T97" fmla="*/ 42 h 456"/>
                  <a:gd name="T98" fmla="*/ 395 w 408"/>
                  <a:gd name="T99" fmla="*/ 32 h 456"/>
                  <a:gd name="T100" fmla="*/ 405 w 408"/>
                  <a:gd name="T101" fmla="*/ 31 h 456"/>
                  <a:gd name="T102" fmla="*/ 402 w 408"/>
                  <a:gd name="T103" fmla="*/ 29 h 456"/>
                  <a:gd name="T104" fmla="*/ 388 w 408"/>
                  <a:gd name="T105" fmla="*/ 30 h 456"/>
                  <a:gd name="T106" fmla="*/ 395 w 408"/>
                  <a:gd name="T107" fmla="*/ 17 h 456"/>
                  <a:gd name="T108" fmla="*/ 386 w 408"/>
                  <a:gd name="T109" fmla="*/ 13 h 456"/>
                  <a:gd name="T110" fmla="*/ 391 w 408"/>
                  <a:gd name="T111" fmla="*/ 6 h 4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8" h="456">
                    <a:moveTo>
                      <a:pt x="0" y="357"/>
                    </a:moveTo>
                    <a:cubicBezTo>
                      <a:pt x="0" y="447"/>
                      <a:pt x="0" y="447"/>
                      <a:pt x="0" y="447"/>
                    </a:cubicBezTo>
                    <a:cubicBezTo>
                      <a:pt x="2" y="448"/>
                      <a:pt x="4" y="451"/>
                      <a:pt x="4" y="451"/>
                    </a:cubicBezTo>
                    <a:cubicBezTo>
                      <a:pt x="5" y="453"/>
                      <a:pt x="6" y="455"/>
                      <a:pt x="11" y="456"/>
                    </a:cubicBezTo>
                    <a:cubicBezTo>
                      <a:pt x="13" y="456"/>
                      <a:pt x="15" y="456"/>
                      <a:pt x="16" y="456"/>
                    </a:cubicBezTo>
                    <a:cubicBezTo>
                      <a:pt x="18" y="456"/>
                      <a:pt x="18" y="456"/>
                      <a:pt x="19" y="454"/>
                    </a:cubicBezTo>
                    <a:cubicBezTo>
                      <a:pt x="21" y="449"/>
                      <a:pt x="23" y="448"/>
                      <a:pt x="25" y="447"/>
                    </a:cubicBezTo>
                    <a:cubicBezTo>
                      <a:pt x="25" y="447"/>
                      <a:pt x="26" y="447"/>
                      <a:pt x="26" y="446"/>
                    </a:cubicBezTo>
                    <a:cubicBezTo>
                      <a:pt x="26" y="446"/>
                      <a:pt x="27" y="445"/>
                      <a:pt x="28" y="444"/>
                    </a:cubicBezTo>
                    <a:cubicBezTo>
                      <a:pt x="31" y="443"/>
                      <a:pt x="35" y="439"/>
                      <a:pt x="36" y="437"/>
                    </a:cubicBezTo>
                    <a:cubicBezTo>
                      <a:pt x="36" y="435"/>
                      <a:pt x="36" y="435"/>
                      <a:pt x="36" y="435"/>
                    </a:cubicBezTo>
                    <a:cubicBezTo>
                      <a:pt x="36" y="435"/>
                      <a:pt x="36" y="435"/>
                      <a:pt x="36" y="435"/>
                    </a:cubicBezTo>
                    <a:cubicBezTo>
                      <a:pt x="29" y="431"/>
                      <a:pt x="27" y="423"/>
                      <a:pt x="22" y="417"/>
                    </a:cubicBezTo>
                    <a:cubicBezTo>
                      <a:pt x="19" y="414"/>
                      <a:pt x="17" y="412"/>
                      <a:pt x="15" y="408"/>
                    </a:cubicBezTo>
                    <a:cubicBezTo>
                      <a:pt x="14" y="406"/>
                      <a:pt x="14" y="404"/>
                      <a:pt x="13" y="403"/>
                    </a:cubicBezTo>
                    <a:cubicBezTo>
                      <a:pt x="12" y="402"/>
                      <a:pt x="9" y="401"/>
                      <a:pt x="9" y="400"/>
                    </a:cubicBezTo>
                    <a:cubicBezTo>
                      <a:pt x="10" y="391"/>
                      <a:pt x="11" y="383"/>
                      <a:pt x="12" y="374"/>
                    </a:cubicBezTo>
                    <a:cubicBezTo>
                      <a:pt x="12" y="372"/>
                      <a:pt x="12" y="370"/>
                      <a:pt x="13" y="369"/>
                    </a:cubicBezTo>
                    <a:cubicBezTo>
                      <a:pt x="13" y="369"/>
                      <a:pt x="12" y="369"/>
                      <a:pt x="12" y="369"/>
                    </a:cubicBezTo>
                    <a:cubicBezTo>
                      <a:pt x="8" y="369"/>
                      <a:pt x="8" y="376"/>
                      <a:pt x="7" y="380"/>
                    </a:cubicBezTo>
                    <a:cubicBezTo>
                      <a:pt x="6" y="380"/>
                      <a:pt x="5" y="379"/>
                      <a:pt x="4" y="378"/>
                    </a:cubicBezTo>
                    <a:cubicBezTo>
                      <a:pt x="5" y="377"/>
                      <a:pt x="8" y="373"/>
                      <a:pt x="8" y="373"/>
                    </a:cubicBezTo>
                    <a:cubicBezTo>
                      <a:pt x="8" y="371"/>
                      <a:pt x="7" y="369"/>
                      <a:pt x="6" y="366"/>
                    </a:cubicBezTo>
                    <a:cubicBezTo>
                      <a:pt x="4" y="362"/>
                      <a:pt x="2" y="359"/>
                      <a:pt x="0" y="357"/>
                    </a:cubicBezTo>
                    <a:moveTo>
                      <a:pt x="23" y="234"/>
                    </a:moveTo>
                    <a:cubicBezTo>
                      <a:pt x="22" y="234"/>
                      <a:pt x="21" y="234"/>
                      <a:pt x="20" y="234"/>
                    </a:cubicBezTo>
                    <a:cubicBezTo>
                      <a:pt x="18" y="234"/>
                      <a:pt x="17" y="235"/>
                      <a:pt x="15" y="235"/>
                    </a:cubicBezTo>
                    <a:cubicBezTo>
                      <a:pt x="14" y="235"/>
                      <a:pt x="12" y="236"/>
                      <a:pt x="11" y="236"/>
                    </a:cubicBezTo>
                    <a:cubicBezTo>
                      <a:pt x="10" y="236"/>
                      <a:pt x="9" y="236"/>
                      <a:pt x="7" y="236"/>
                    </a:cubicBezTo>
                    <a:cubicBezTo>
                      <a:pt x="5" y="236"/>
                      <a:pt x="3" y="236"/>
                      <a:pt x="0" y="234"/>
                    </a:cubicBezTo>
                    <a:cubicBezTo>
                      <a:pt x="0" y="328"/>
                      <a:pt x="0" y="328"/>
                      <a:pt x="0" y="328"/>
                    </a:cubicBezTo>
                    <a:cubicBezTo>
                      <a:pt x="1" y="326"/>
                      <a:pt x="2" y="324"/>
                      <a:pt x="3" y="322"/>
                    </a:cubicBezTo>
                    <a:cubicBezTo>
                      <a:pt x="4" y="318"/>
                      <a:pt x="6" y="314"/>
                      <a:pt x="7" y="310"/>
                    </a:cubicBezTo>
                    <a:cubicBezTo>
                      <a:pt x="8" y="309"/>
                      <a:pt x="8" y="309"/>
                      <a:pt x="7" y="308"/>
                    </a:cubicBezTo>
                    <a:cubicBezTo>
                      <a:pt x="8" y="309"/>
                      <a:pt x="8" y="309"/>
                      <a:pt x="8" y="309"/>
                    </a:cubicBezTo>
                    <a:cubicBezTo>
                      <a:pt x="7" y="308"/>
                      <a:pt x="7" y="308"/>
                      <a:pt x="7" y="308"/>
                    </a:cubicBezTo>
                    <a:cubicBezTo>
                      <a:pt x="8" y="306"/>
                      <a:pt x="8" y="306"/>
                      <a:pt x="8" y="306"/>
                    </a:cubicBezTo>
                    <a:cubicBezTo>
                      <a:pt x="10" y="307"/>
                      <a:pt x="12" y="309"/>
                      <a:pt x="12" y="309"/>
                    </a:cubicBezTo>
                    <a:cubicBezTo>
                      <a:pt x="13" y="307"/>
                      <a:pt x="12" y="305"/>
                      <a:pt x="11" y="302"/>
                    </a:cubicBezTo>
                    <a:cubicBezTo>
                      <a:pt x="13" y="304"/>
                      <a:pt x="15" y="306"/>
                      <a:pt x="18" y="308"/>
                    </a:cubicBezTo>
                    <a:cubicBezTo>
                      <a:pt x="19" y="304"/>
                      <a:pt x="20" y="304"/>
                      <a:pt x="22" y="304"/>
                    </a:cubicBezTo>
                    <a:cubicBezTo>
                      <a:pt x="23" y="304"/>
                      <a:pt x="24" y="304"/>
                      <a:pt x="25" y="304"/>
                    </a:cubicBezTo>
                    <a:cubicBezTo>
                      <a:pt x="26" y="304"/>
                      <a:pt x="26" y="304"/>
                      <a:pt x="27" y="304"/>
                    </a:cubicBezTo>
                    <a:cubicBezTo>
                      <a:pt x="28" y="304"/>
                      <a:pt x="29" y="304"/>
                      <a:pt x="30" y="302"/>
                    </a:cubicBezTo>
                    <a:cubicBezTo>
                      <a:pt x="33" y="300"/>
                      <a:pt x="36" y="298"/>
                      <a:pt x="39" y="295"/>
                    </a:cubicBezTo>
                    <a:cubicBezTo>
                      <a:pt x="39" y="295"/>
                      <a:pt x="39" y="295"/>
                      <a:pt x="39" y="295"/>
                    </a:cubicBezTo>
                    <a:cubicBezTo>
                      <a:pt x="40" y="295"/>
                      <a:pt x="44" y="299"/>
                      <a:pt x="45" y="299"/>
                    </a:cubicBezTo>
                    <a:cubicBezTo>
                      <a:pt x="43" y="298"/>
                      <a:pt x="43" y="294"/>
                      <a:pt x="43" y="291"/>
                    </a:cubicBezTo>
                    <a:cubicBezTo>
                      <a:pt x="43" y="289"/>
                      <a:pt x="44" y="289"/>
                      <a:pt x="46" y="289"/>
                    </a:cubicBezTo>
                    <a:cubicBezTo>
                      <a:pt x="47" y="289"/>
                      <a:pt x="47" y="289"/>
                      <a:pt x="48" y="289"/>
                    </a:cubicBezTo>
                    <a:cubicBezTo>
                      <a:pt x="49" y="289"/>
                      <a:pt x="50" y="289"/>
                      <a:pt x="50" y="289"/>
                    </a:cubicBezTo>
                    <a:cubicBezTo>
                      <a:pt x="51" y="289"/>
                      <a:pt x="53" y="289"/>
                      <a:pt x="53" y="289"/>
                    </a:cubicBezTo>
                    <a:cubicBezTo>
                      <a:pt x="54" y="288"/>
                      <a:pt x="54" y="286"/>
                      <a:pt x="55" y="284"/>
                    </a:cubicBezTo>
                    <a:cubicBezTo>
                      <a:pt x="54" y="284"/>
                      <a:pt x="53" y="283"/>
                      <a:pt x="52" y="283"/>
                    </a:cubicBezTo>
                    <a:cubicBezTo>
                      <a:pt x="51" y="282"/>
                      <a:pt x="49" y="281"/>
                      <a:pt x="47" y="281"/>
                    </a:cubicBezTo>
                    <a:cubicBezTo>
                      <a:pt x="45" y="285"/>
                      <a:pt x="45" y="285"/>
                      <a:pt x="45" y="285"/>
                    </a:cubicBezTo>
                    <a:cubicBezTo>
                      <a:pt x="46" y="280"/>
                      <a:pt x="46" y="280"/>
                      <a:pt x="46" y="280"/>
                    </a:cubicBezTo>
                    <a:cubicBezTo>
                      <a:pt x="45" y="280"/>
                      <a:pt x="45" y="280"/>
                      <a:pt x="45" y="280"/>
                    </a:cubicBezTo>
                    <a:cubicBezTo>
                      <a:pt x="44" y="279"/>
                      <a:pt x="42" y="278"/>
                      <a:pt x="41" y="278"/>
                    </a:cubicBezTo>
                    <a:cubicBezTo>
                      <a:pt x="40" y="277"/>
                      <a:pt x="40" y="277"/>
                      <a:pt x="40" y="277"/>
                    </a:cubicBezTo>
                    <a:cubicBezTo>
                      <a:pt x="40" y="277"/>
                      <a:pt x="40" y="277"/>
                      <a:pt x="40" y="277"/>
                    </a:cubicBezTo>
                    <a:cubicBezTo>
                      <a:pt x="40" y="277"/>
                      <a:pt x="40" y="277"/>
                      <a:pt x="40" y="277"/>
                    </a:cubicBezTo>
                    <a:cubicBezTo>
                      <a:pt x="39" y="277"/>
                      <a:pt x="39" y="277"/>
                      <a:pt x="39" y="277"/>
                    </a:cubicBezTo>
                    <a:cubicBezTo>
                      <a:pt x="37" y="277"/>
                      <a:pt x="37" y="277"/>
                      <a:pt x="37" y="277"/>
                    </a:cubicBezTo>
                    <a:cubicBezTo>
                      <a:pt x="36" y="276"/>
                      <a:pt x="35" y="275"/>
                      <a:pt x="35" y="274"/>
                    </a:cubicBezTo>
                    <a:cubicBezTo>
                      <a:pt x="34" y="273"/>
                      <a:pt x="34" y="273"/>
                      <a:pt x="34" y="273"/>
                    </a:cubicBezTo>
                    <a:cubicBezTo>
                      <a:pt x="32" y="271"/>
                      <a:pt x="32" y="271"/>
                      <a:pt x="32" y="271"/>
                    </a:cubicBezTo>
                    <a:cubicBezTo>
                      <a:pt x="33" y="269"/>
                      <a:pt x="33" y="269"/>
                      <a:pt x="33" y="269"/>
                    </a:cubicBezTo>
                    <a:cubicBezTo>
                      <a:pt x="33" y="268"/>
                      <a:pt x="34" y="267"/>
                      <a:pt x="35" y="266"/>
                    </a:cubicBezTo>
                    <a:cubicBezTo>
                      <a:pt x="35" y="265"/>
                      <a:pt x="36" y="264"/>
                      <a:pt x="37" y="264"/>
                    </a:cubicBezTo>
                    <a:cubicBezTo>
                      <a:pt x="38" y="263"/>
                      <a:pt x="39" y="263"/>
                      <a:pt x="40" y="263"/>
                    </a:cubicBezTo>
                    <a:cubicBezTo>
                      <a:pt x="42" y="263"/>
                      <a:pt x="43" y="264"/>
                      <a:pt x="44" y="265"/>
                    </a:cubicBezTo>
                    <a:cubicBezTo>
                      <a:pt x="45" y="265"/>
                      <a:pt x="45" y="265"/>
                      <a:pt x="46" y="265"/>
                    </a:cubicBezTo>
                    <a:cubicBezTo>
                      <a:pt x="46" y="266"/>
                      <a:pt x="47" y="266"/>
                      <a:pt x="47" y="266"/>
                    </a:cubicBezTo>
                    <a:cubicBezTo>
                      <a:pt x="47" y="266"/>
                      <a:pt x="47" y="266"/>
                      <a:pt x="47" y="266"/>
                    </a:cubicBezTo>
                    <a:cubicBezTo>
                      <a:pt x="47" y="265"/>
                      <a:pt x="47" y="265"/>
                      <a:pt x="47" y="265"/>
                    </a:cubicBezTo>
                    <a:cubicBezTo>
                      <a:pt x="47" y="265"/>
                      <a:pt x="47" y="265"/>
                      <a:pt x="47" y="265"/>
                    </a:cubicBezTo>
                    <a:cubicBezTo>
                      <a:pt x="47" y="264"/>
                      <a:pt x="47" y="264"/>
                      <a:pt x="47" y="264"/>
                    </a:cubicBezTo>
                    <a:cubicBezTo>
                      <a:pt x="46" y="264"/>
                      <a:pt x="46" y="264"/>
                      <a:pt x="46" y="264"/>
                    </a:cubicBezTo>
                    <a:cubicBezTo>
                      <a:pt x="46" y="263"/>
                      <a:pt x="46" y="263"/>
                      <a:pt x="46" y="263"/>
                    </a:cubicBezTo>
                    <a:cubicBezTo>
                      <a:pt x="46" y="263"/>
                      <a:pt x="45" y="262"/>
                      <a:pt x="45" y="262"/>
                    </a:cubicBezTo>
                    <a:cubicBezTo>
                      <a:pt x="45" y="262"/>
                      <a:pt x="45" y="262"/>
                      <a:pt x="45" y="262"/>
                    </a:cubicBezTo>
                    <a:cubicBezTo>
                      <a:pt x="44" y="261"/>
                      <a:pt x="44" y="260"/>
                      <a:pt x="43" y="260"/>
                    </a:cubicBezTo>
                    <a:cubicBezTo>
                      <a:pt x="42" y="259"/>
                      <a:pt x="41" y="258"/>
                      <a:pt x="41" y="257"/>
                    </a:cubicBezTo>
                    <a:cubicBezTo>
                      <a:pt x="39" y="254"/>
                      <a:pt x="37" y="252"/>
                      <a:pt x="36" y="249"/>
                    </a:cubicBezTo>
                    <a:cubicBezTo>
                      <a:pt x="31" y="243"/>
                      <a:pt x="31" y="243"/>
                      <a:pt x="31" y="243"/>
                    </a:cubicBezTo>
                    <a:cubicBezTo>
                      <a:pt x="30" y="241"/>
                      <a:pt x="29" y="240"/>
                      <a:pt x="28" y="238"/>
                    </a:cubicBezTo>
                    <a:cubicBezTo>
                      <a:pt x="27" y="237"/>
                      <a:pt x="26" y="235"/>
                      <a:pt x="25" y="234"/>
                    </a:cubicBezTo>
                    <a:cubicBezTo>
                      <a:pt x="24" y="234"/>
                      <a:pt x="24" y="234"/>
                      <a:pt x="24" y="234"/>
                    </a:cubicBezTo>
                    <a:cubicBezTo>
                      <a:pt x="24" y="234"/>
                      <a:pt x="24" y="234"/>
                      <a:pt x="24" y="234"/>
                    </a:cubicBezTo>
                    <a:cubicBezTo>
                      <a:pt x="24" y="234"/>
                      <a:pt x="23" y="234"/>
                      <a:pt x="23" y="234"/>
                    </a:cubicBezTo>
                    <a:moveTo>
                      <a:pt x="386" y="0"/>
                    </a:moveTo>
                    <a:cubicBezTo>
                      <a:pt x="0" y="0"/>
                      <a:pt x="0" y="0"/>
                      <a:pt x="0" y="0"/>
                    </a:cubicBezTo>
                    <a:cubicBezTo>
                      <a:pt x="0" y="144"/>
                      <a:pt x="0" y="144"/>
                      <a:pt x="0" y="144"/>
                    </a:cubicBezTo>
                    <a:cubicBezTo>
                      <a:pt x="1" y="143"/>
                      <a:pt x="1" y="141"/>
                      <a:pt x="2" y="139"/>
                    </a:cubicBezTo>
                    <a:cubicBezTo>
                      <a:pt x="2" y="138"/>
                      <a:pt x="2" y="138"/>
                      <a:pt x="2" y="138"/>
                    </a:cubicBezTo>
                    <a:cubicBezTo>
                      <a:pt x="2" y="138"/>
                      <a:pt x="2" y="137"/>
                      <a:pt x="2" y="136"/>
                    </a:cubicBezTo>
                    <a:cubicBezTo>
                      <a:pt x="3" y="136"/>
                      <a:pt x="3" y="135"/>
                      <a:pt x="3" y="135"/>
                    </a:cubicBezTo>
                    <a:cubicBezTo>
                      <a:pt x="5" y="132"/>
                      <a:pt x="8" y="131"/>
                      <a:pt x="11" y="131"/>
                    </a:cubicBezTo>
                    <a:cubicBezTo>
                      <a:pt x="12" y="131"/>
                      <a:pt x="12" y="131"/>
                      <a:pt x="12" y="131"/>
                    </a:cubicBezTo>
                    <a:cubicBezTo>
                      <a:pt x="12" y="131"/>
                      <a:pt x="13" y="131"/>
                      <a:pt x="13" y="131"/>
                    </a:cubicBezTo>
                    <a:cubicBezTo>
                      <a:pt x="14" y="131"/>
                      <a:pt x="14" y="131"/>
                      <a:pt x="14" y="131"/>
                    </a:cubicBezTo>
                    <a:cubicBezTo>
                      <a:pt x="19" y="133"/>
                      <a:pt x="23" y="138"/>
                      <a:pt x="25" y="140"/>
                    </a:cubicBezTo>
                    <a:cubicBezTo>
                      <a:pt x="26" y="142"/>
                      <a:pt x="26" y="142"/>
                      <a:pt x="26" y="142"/>
                    </a:cubicBezTo>
                    <a:cubicBezTo>
                      <a:pt x="27" y="142"/>
                      <a:pt x="28" y="143"/>
                      <a:pt x="28" y="144"/>
                    </a:cubicBezTo>
                    <a:cubicBezTo>
                      <a:pt x="29" y="145"/>
                      <a:pt x="29" y="145"/>
                      <a:pt x="29" y="145"/>
                    </a:cubicBezTo>
                    <a:cubicBezTo>
                      <a:pt x="31" y="147"/>
                      <a:pt x="33" y="149"/>
                      <a:pt x="34" y="150"/>
                    </a:cubicBezTo>
                    <a:cubicBezTo>
                      <a:pt x="35" y="151"/>
                      <a:pt x="35" y="151"/>
                      <a:pt x="35" y="151"/>
                    </a:cubicBezTo>
                    <a:cubicBezTo>
                      <a:pt x="36" y="151"/>
                      <a:pt x="36" y="151"/>
                      <a:pt x="36" y="151"/>
                    </a:cubicBezTo>
                    <a:cubicBezTo>
                      <a:pt x="36" y="151"/>
                      <a:pt x="37" y="150"/>
                      <a:pt x="38" y="150"/>
                    </a:cubicBezTo>
                    <a:cubicBezTo>
                      <a:pt x="38" y="150"/>
                      <a:pt x="38" y="150"/>
                      <a:pt x="38" y="150"/>
                    </a:cubicBezTo>
                    <a:cubicBezTo>
                      <a:pt x="40" y="150"/>
                      <a:pt x="42" y="149"/>
                      <a:pt x="44" y="148"/>
                    </a:cubicBezTo>
                    <a:cubicBezTo>
                      <a:pt x="43" y="147"/>
                      <a:pt x="43" y="147"/>
                      <a:pt x="43" y="147"/>
                    </a:cubicBezTo>
                    <a:cubicBezTo>
                      <a:pt x="43" y="147"/>
                      <a:pt x="43" y="147"/>
                      <a:pt x="43" y="147"/>
                    </a:cubicBezTo>
                    <a:cubicBezTo>
                      <a:pt x="42" y="146"/>
                      <a:pt x="42" y="146"/>
                      <a:pt x="42" y="146"/>
                    </a:cubicBezTo>
                    <a:cubicBezTo>
                      <a:pt x="42" y="145"/>
                      <a:pt x="42" y="143"/>
                      <a:pt x="42" y="143"/>
                    </a:cubicBezTo>
                    <a:cubicBezTo>
                      <a:pt x="42" y="143"/>
                      <a:pt x="42" y="143"/>
                      <a:pt x="42" y="143"/>
                    </a:cubicBezTo>
                    <a:cubicBezTo>
                      <a:pt x="42" y="142"/>
                      <a:pt x="42" y="142"/>
                      <a:pt x="42" y="142"/>
                    </a:cubicBezTo>
                    <a:cubicBezTo>
                      <a:pt x="41" y="141"/>
                      <a:pt x="41" y="141"/>
                      <a:pt x="41" y="140"/>
                    </a:cubicBezTo>
                    <a:cubicBezTo>
                      <a:pt x="40" y="138"/>
                      <a:pt x="40" y="137"/>
                      <a:pt x="40" y="136"/>
                    </a:cubicBezTo>
                    <a:cubicBezTo>
                      <a:pt x="39" y="135"/>
                      <a:pt x="39" y="133"/>
                      <a:pt x="39" y="132"/>
                    </a:cubicBezTo>
                    <a:cubicBezTo>
                      <a:pt x="38" y="131"/>
                      <a:pt x="38" y="131"/>
                      <a:pt x="38" y="131"/>
                    </a:cubicBezTo>
                    <a:cubicBezTo>
                      <a:pt x="37" y="129"/>
                      <a:pt x="36" y="127"/>
                      <a:pt x="36" y="124"/>
                    </a:cubicBezTo>
                    <a:cubicBezTo>
                      <a:pt x="36" y="120"/>
                      <a:pt x="36" y="120"/>
                      <a:pt x="36" y="120"/>
                    </a:cubicBezTo>
                    <a:cubicBezTo>
                      <a:pt x="38" y="120"/>
                      <a:pt x="38" y="120"/>
                      <a:pt x="38" y="120"/>
                    </a:cubicBezTo>
                    <a:cubicBezTo>
                      <a:pt x="41" y="121"/>
                      <a:pt x="41" y="121"/>
                      <a:pt x="41" y="121"/>
                    </a:cubicBezTo>
                    <a:cubicBezTo>
                      <a:pt x="42" y="122"/>
                      <a:pt x="43" y="122"/>
                      <a:pt x="43" y="122"/>
                    </a:cubicBezTo>
                    <a:cubicBezTo>
                      <a:pt x="44" y="122"/>
                      <a:pt x="46" y="121"/>
                      <a:pt x="48" y="120"/>
                    </a:cubicBezTo>
                    <a:cubicBezTo>
                      <a:pt x="49" y="119"/>
                      <a:pt x="50" y="119"/>
                      <a:pt x="50" y="118"/>
                    </a:cubicBezTo>
                    <a:cubicBezTo>
                      <a:pt x="51" y="118"/>
                      <a:pt x="51" y="118"/>
                      <a:pt x="52" y="118"/>
                    </a:cubicBezTo>
                    <a:cubicBezTo>
                      <a:pt x="52" y="117"/>
                      <a:pt x="52" y="117"/>
                      <a:pt x="52" y="117"/>
                    </a:cubicBezTo>
                    <a:cubicBezTo>
                      <a:pt x="53" y="117"/>
                      <a:pt x="54" y="117"/>
                      <a:pt x="55" y="116"/>
                    </a:cubicBezTo>
                    <a:cubicBezTo>
                      <a:pt x="55" y="116"/>
                      <a:pt x="55" y="116"/>
                      <a:pt x="55" y="116"/>
                    </a:cubicBezTo>
                    <a:cubicBezTo>
                      <a:pt x="56" y="116"/>
                      <a:pt x="58" y="115"/>
                      <a:pt x="59" y="115"/>
                    </a:cubicBezTo>
                    <a:cubicBezTo>
                      <a:pt x="59" y="114"/>
                      <a:pt x="59" y="114"/>
                      <a:pt x="59" y="114"/>
                    </a:cubicBezTo>
                    <a:cubicBezTo>
                      <a:pt x="56" y="110"/>
                      <a:pt x="56" y="110"/>
                      <a:pt x="56" y="110"/>
                    </a:cubicBezTo>
                    <a:cubicBezTo>
                      <a:pt x="81" y="99"/>
                      <a:pt x="81" y="99"/>
                      <a:pt x="81" y="99"/>
                    </a:cubicBezTo>
                    <a:cubicBezTo>
                      <a:pt x="81" y="99"/>
                      <a:pt x="82" y="99"/>
                      <a:pt x="83" y="99"/>
                    </a:cubicBezTo>
                    <a:cubicBezTo>
                      <a:pt x="83" y="99"/>
                      <a:pt x="83" y="99"/>
                      <a:pt x="83" y="99"/>
                    </a:cubicBezTo>
                    <a:cubicBezTo>
                      <a:pt x="85" y="98"/>
                      <a:pt x="86" y="98"/>
                      <a:pt x="86" y="98"/>
                    </a:cubicBezTo>
                    <a:cubicBezTo>
                      <a:pt x="86" y="97"/>
                      <a:pt x="86" y="97"/>
                      <a:pt x="86" y="97"/>
                    </a:cubicBezTo>
                    <a:cubicBezTo>
                      <a:pt x="87" y="95"/>
                      <a:pt x="87" y="95"/>
                      <a:pt x="87" y="95"/>
                    </a:cubicBezTo>
                    <a:cubicBezTo>
                      <a:pt x="88" y="94"/>
                      <a:pt x="88" y="94"/>
                      <a:pt x="88" y="94"/>
                    </a:cubicBezTo>
                    <a:cubicBezTo>
                      <a:pt x="89" y="93"/>
                      <a:pt x="89" y="93"/>
                      <a:pt x="89" y="93"/>
                    </a:cubicBezTo>
                    <a:cubicBezTo>
                      <a:pt x="92" y="88"/>
                      <a:pt x="93" y="86"/>
                      <a:pt x="98" y="86"/>
                    </a:cubicBezTo>
                    <a:cubicBezTo>
                      <a:pt x="99" y="86"/>
                      <a:pt x="99" y="86"/>
                      <a:pt x="99" y="86"/>
                    </a:cubicBezTo>
                    <a:cubicBezTo>
                      <a:pt x="99" y="86"/>
                      <a:pt x="99" y="86"/>
                      <a:pt x="99" y="86"/>
                    </a:cubicBezTo>
                    <a:cubicBezTo>
                      <a:pt x="99" y="85"/>
                      <a:pt x="99" y="85"/>
                      <a:pt x="99" y="84"/>
                    </a:cubicBezTo>
                    <a:cubicBezTo>
                      <a:pt x="96" y="78"/>
                      <a:pt x="96" y="78"/>
                      <a:pt x="96" y="78"/>
                    </a:cubicBezTo>
                    <a:cubicBezTo>
                      <a:pt x="104" y="79"/>
                      <a:pt x="104" y="79"/>
                      <a:pt x="104" y="79"/>
                    </a:cubicBezTo>
                    <a:cubicBezTo>
                      <a:pt x="105" y="80"/>
                      <a:pt x="107" y="80"/>
                      <a:pt x="110" y="81"/>
                    </a:cubicBezTo>
                    <a:cubicBezTo>
                      <a:pt x="111" y="81"/>
                      <a:pt x="111" y="81"/>
                      <a:pt x="112" y="82"/>
                    </a:cubicBezTo>
                    <a:cubicBezTo>
                      <a:pt x="114" y="82"/>
                      <a:pt x="116" y="83"/>
                      <a:pt x="117" y="83"/>
                    </a:cubicBezTo>
                    <a:cubicBezTo>
                      <a:pt x="118" y="84"/>
                      <a:pt x="121" y="85"/>
                      <a:pt x="122" y="88"/>
                    </a:cubicBezTo>
                    <a:cubicBezTo>
                      <a:pt x="123" y="84"/>
                      <a:pt x="123" y="84"/>
                      <a:pt x="123" y="84"/>
                    </a:cubicBezTo>
                    <a:cubicBezTo>
                      <a:pt x="123" y="90"/>
                      <a:pt x="123" y="90"/>
                      <a:pt x="123" y="90"/>
                    </a:cubicBezTo>
                    <a:cubicBezTo>
                      <a:pt x="123" y="90"/>
                      <a:pt x="123" y="90"/>
                      <a:pt x="123" y="90"/>
                    </a:cubicBezTo>
                    <a:cubicBezTo>
                      <a:pt x="124" y="91"/>
                      <a:pt x="125" y="91"/>
                      <a:pt x="125" y="91"/>
                    </a:cubicBezTo>
                    <a:cubicBezTo>
                      <a:pt x="126" y="91"/>
                      <a:pt x="126" y="91"/>
                      <a:pt x="126" y="91"/>
                    </a:cubicBezTo>
                    <a:cubicBezTo>
                      <a:pt x="126" y="91"/>
                      <a:pt x="126" y="91"/>
                      <a:pt x="126" y="91"/>
                    </a:cubicBezTo>
                    <a:cubicBezTo>
                      <a:pt x="126" y="91"/>
                      <a:pt x="126" y="91"/>
                      <a:pt x="126" y="91"/>
                    </a:cubicBezTo>
                    <a:cubicBezTo>
                      <a:pt x="126" y="90"/>
                      <a:pt x="126" y="90"/>
                      <a:pt x="127" y="89"/>
                    </a:cubicBezTo>
                    <a:cubicBezTo>
                      <a:pt x="127" y="88"/>
                      <a:pt x="127" y="88"/>
                      <a:pt x="127" y="88"/>
                    </a:cubicBezTo>
                    <a:cubicBezTo>
                      <a:pt x="127" y="87"/>
                      <a:pt x="128" y="84"/>
                      <a:pt x="133" y="83"/>
                    </a:cubicBezTo>
                    <a:cubicBezTo>
                      <a:pt x="138" y="83"/>
                      <a:pt x="139" y="82"/>
                      <a:pt x="144" y="79"/>
                    </a:cubicBezTo>
                    <a:cubicBezTo>
                      <a:pt x="147" y="77"/>
                      <a:pt x="147" y="77"/>
                      <a:pt x="147" y="77"/>
                    </a:cubicBezTo>
                    <a:cubicBezTo>
                      <a:pt x="149" y="81"/>
                      <a:pt x="149" y="81"/>
                      <a:pt x="149" y="81"/>
                    </a:cubicBezTo>
                    <a:cubicBezTo>
                      <a:pt x="150" y="81"/>
                      <a:pt x="150" y="82"/>
                      <a:pt x="151" y="84"/>
                    </a:cubicBezTo>
                    <a:cubicBezTo>
                      <a:pt x="151" y="85"/>
                      <a:pt x="152" y="87"/>
                      <a:pt x="152" y="88"/>
                    </a:cubicBezTo>
                    <a:cubicBezTo>
                      <a:pt x="153" y="89"/>
                      <a:pt x="153" y="89"/>
                      <a:pt x="153" y="89"/>
                    </a:cubicBezTo>
                    <a:cubicBezTo>
                      <a:pt x="153" y="89"/>
                      <a:pt x="153" y="90"/>
                      <a:pt x="153" y="90"/>
                    </a:cubicBezTo>
                    <a:cubicBezTo>
                      <a:pt x="154" y="90"/>
                      <a:pt x="154" y="90"/>
                      <a:pt x="154" y="90"/>
                    </a:cubicBezTo>
                    <a:cubicBezTo>
                      <a:pt x="154" y="91"/>
                      <a:pt x="154" y="91"/>
                      <a:pt x="154" y="91"/>
                    </a:cubicBezTo>
                    <a:cubicBezTo>
                      <a:pt x="154" y="91"/>
                      <a:pt x="154" y="91"/>
                      <a:pt x="154" y="91"/>
                    </a:cubicBezTo>
                    <a:cubicBezTo>
                      <a:pt x="154" y="91"/>
                      <a:pt x="154" y="91"/>
                      <a:pt x="154" y="91"/>
                    </a:cubicBezTo>
                    <a:cubicBezTo>
                      <a:pt x="155" y="90"/>
                      <a:pt x="155" y="90"/>
                      <a:pt x="155" y="90"/>
                    </a:cubicBezTo>
                    <a:cubicBezTo>
                      <a:pt x="153" y="83"/>
                      <a:pt x="153" y="83"/>
                      <a:pt x="153" y="83"/>
                    </a:cubicBezTo>
                    <a:cubicBezTo>
                      <a:pt x="157" y="90"/>
                      <a:pt x="157" y="90"/>
                      <a:pt x="157" y="90"/>
                    </a:cubicBezTo>
                    <a:cubicBezTo>
                      <a:pt x="157" y="90"/>
                      <a:pt x="157" y="90"/>
                      <a:pt x="157" y="90"/>
                    </a:cubicBezTo>
                    <a:cubicBezTo>
                      <a:pt x="160" y="89"/>
                      <a:pt x="163" y="89"/>
                      <a:pt x="166" y="89"/>
                    </a:cubicBezTo>
                    <a:cubicBezTo>
                      <a:pt x="166" y="89"/>
                      <a:pt x="167" y="89"/>
                      <a:pt x="167" y="89"/>
                    </a:cubicBezTo>
                    <a:cubicBezTo>
                      <a:pt x="171" y="89"/>
                      <a:pt x="176" y="89"/>
                      <a:pt x="179" y="91"/>
                    </a:cubicBezTo>
                    <a:cubicBezTo>
                      <a:pt x="186" y="94"/>
                      <a:pt x="193" y="100"/>
                      <a:pt x="199" y="105"/>
                    </a:cubicBezTo>
                    <a:cubicBezTo>
                      <a:pt x="200" y="106"/>
                      <a:pt x="200" y="106"/>
                      <a:pt x="200" y="106"/>
                    </a:cubicBezTo>
                    <a:cubicBezTo>
                      <a:pt x="202" y="108"/>
                      <a:pt x="203" y="109"/>
                      <a:pt x="205" y="111"/>
                    </a:cubicBezTo>
                    <a:cubicBezTo>
                      <a:pt x="206" y="111"/>
                      <a:pt x="206" y="111"/>
                      <a:pt x="206" y="111"/>
                    </a:cubicBezTo>
                    <a:cubicBezTo>
                      <a:pt x="205" y="109"/>
                      <a:pt x="205" y="109"/>
                      <a:pt x="205" y="109"/>
                    </a:cubicBezTo>
                    <a:cubicBezTo>
                      <a:pt x="208" y="108"/>
                      <a:pt x="208" y="108"/>
                      <a:pt x="208" y="108"/>
                    </a:cubicBezTo>
                    <a:cubicBezTo>
                      <a:pt x="209" y="107"/>
                      <a:pt x="210" y="107"/>
                      <a:pt x="211" y="107"/>
                    </a:cubicBezTo>
                    <a:cubicBezTo>
                      <a:pt x="211" y="107"/>
                      <a:pt x="211" y="107"/>
                      <a:pt x="211" y="107"/>
                    </a:cubicBezTo>
                    <a:cubicBezTo>
                      <a:pt x="212" y="107"/>
                      <a:pt x="213" y="107"/>
                      <a:pt x="213" y="107"/>
                    </a:cubicBezTo>
                    <a:cubicBezTo>
                      <a:pt x="214" y="107"/>
                      <a:pt x="214" y="107"/>
                      <a:pt x="214" y="107"/>
                    </a:cubicBezTo>
                    <a:cubicBezTo>
                      <a:pt x="215" y="107"/>
                      <a:pt x="215" y="107"/>
                      <a:pt x="215" y="107"/>
                    </a:cubicBezTo>
                    <a:cubicBezTo>
                      <a:pt x="215" y="108"/>
                      <a:pt x="215" y="108"/>
                      <a:pt x="215" y="108"/>
                    </a:cubicBezTo>
                    <a:cubicBezTo>
                      <a:pt x="217" y="108"/>
                      <a:pt x="219" y="110"/>
                      <a:pt x="220" y="111"/>
                    </a:cubicBezTo>
                    <a:cubicBezTo>
                      <a:pt x="224" y="114"/>
                      <a:pt x="224" y="114"/>
                      <a:pt x="224" y="114"/>
                    </a:cubicBezTo>
                    <a:cubicBezTo>
                      <a:pt x="228" y="116"/>
                      <a:pt x="231" y="119"/>
                      <a:pt x="235" y="121"/>
                    </a:cubicBezTo>
                    <a:cubicBezTo>
                      <a:pt x="239" y="124"/>
                      <a:pt x="241" y="125"/>
                      <a:pt x="241" y="125"/>
                    </a:cubicBezTo>
                    <a:cubicBezTo>
                      <a:pt x="242" y="124"/>
                      <a:pt x="242" y="124"/>
                      <a:pt x="242" y="124"/>
                    </a:cubicBezTo>
                    <a:cubicBezTo>
                      <a:pt x="243" y="124"/>
                      <a:pt x="243" y="124"/>
                      <a:pt x="243" y="124"/>
                    </a:cubicBezTo>
                    <a:cubicBezTo>
                      <a:pt x="244" y="123"/>
                      <a:pt x="245" y="123"/>
                      <a:pt x="245" y="122"/>
                    </a:cubicBezTo>
                    <a:cubicBezTo>
                      <a:pt x="246" y="122"/>
                      <a:pt x="246" y="122"/>
                      <a:pt x="247" y="121"/>
                    </a:cubicBezTo>
                    <a:cubicBezTo>
                      <a:pt x="248" y="121"/>
                      <a:pt x="248" y="120"/>
                      <a:pt x="249" y="120"/>
                    </a:cubicBezTo>
                    <a:cubicBezTo>
                      <a:pt x="250" y="120"/>
                      <a:pt x="250" y="120"/>
                      <a:pt x="250" y="120"/>
                    </a:cubicBezTo>
                    <a:cubicBezTo>
                      <a:pt x="250" y="119"/>
                      <a:pt x="250" y="119"/>
                      <a:pt x="250" y="119"/>
                    </a:cubicBezTo>
                    <a:cubicBezTo>
                      <a:pt x="250" y="118"/>
                      <a:pt x="250" y="118"/>
                      <a:pt x="250" y="118"/>
                    </a:cubicBezTo>
                    <a:cubicBezTo>
                      <a:pt x="250" y="117"/>
                      <a:pt x="250" y="117"/>
                      <a:pt x="251" y="117"/>
                    </a:cubicBezTo>
                    <a:cubicBezTo>
                      <a:pt x="252" y="114"/>
                      <a:pt x="255" y="113"/>
                      <a:pt x="256" y="113"/>
                    </a:cubicBezTo>
                    <a:cubicBezTo>
                      <a:pt x="257" y="113"/>
                      <a:pt x="257" y="113"/>
                      <a:pt x="258" y="112"/>
                    </a:cubicBezTo>
                    <a:cubicBezTo>
                      <a:pt x="258" y="112"/>
                      <a:pt x="259" y="111"/>
                      <a:pt x="259" y="111"/>
                    </a:cubicBezTo>
                    <a:cubicBezTo>
                      <a:pt x="260" y="108"/>
                      <a:pt x="262" y="107"/>
                      <a:pt x="265" y="106"/>
                    </a:cubicBezTo>
                    <a:cubicBezTo>
                      <a:pt x="270" y="106"/>
                      <a:pt x="274" y="105"/>
                      <a:pt x="279" y="104"/>
                    </a:cubicBezTo>
                    <a:cubicBezTo>
                      <a:pt x="280" y="104"/>
                      <a:pt x="281" y="104"/>
                      <a:pt x="281" y="104"/>
                    </a:cubicBezTo>
                    <a:cubicBezTo>
                      <a:pt x="284" y="104"/>
                      <a:pt x="286" y="105"/>
                      <a:pt x="287" y="107"/>
                    </a:cubicBezTo>
                    <a:cubicBezTo>
                      <a:pt x="288" y="108"/>
                      <a:pt x="288" y="109"/>
                      <a:pt x="289" y="109"/>
                    </a:cubicBezTo>
                    <a:cubicBezTo>
                      <a:pt x="289" y="110"/>
                      <a:pt x="289" y="110"/>
                      <a:pt x="289" y="110"/>
                    </a:cubicBezTo>
                    <a:cubicBezTo>
                      <a:pt x="290" y="111"/>
                      <a:pt x="292" y="113"/>
                      <a:pt x="293" y="113"/>
                    </a:cubicBezTo>
                    <a:cubicBezTo>
                      <a:pt x="293" y="113"/>
                      <a:pt x="293" y="113"/>
                      <a:pt x="294" y="113"/>
                    </a:cubicBezTo>
                    <a:cubicBezTo>
                      <a:pt x="295" y="113"/>
                      <a:pt x="296" y="113"/>
                      <a:pt x="296" y="112"/>
                    </a:cubicBezTo>
                    <a:cubicBezTo>
                      <a:pt x="297" y="112"/>
                      <a:pt x="297" y="112"/>
                      <a:pt x="297" y="112"/>
                    </a:cubicBezTo>
                    <a:cubicBezTo>
                      <a:pt x="297" y="111"/>
                      <a:pt x="297" y="111"/>
                      <a:pt x="297" y="111"/>
                    </a:cubicBezTo>
                    <a:cubicBezTo>
                      <a:pt x="297" y="110"/>
                      <a:pt x="297" y="110"/>
                      <a:pt x="297" y="110"/>
                    </a:cubicBezTo>
                    <a:cubicBezTo>
                      <a:pt x="297" y="106"/>
                      <a:pt x="299" y="104"/>
                      <a:pt x="305" y="103"/>
                    </a:cubicBezTo>
                    <a:cubicBezTo>
                      <a:pt x="306" y="103"/>
                      <a:pt x="306" y="103"/>
                      <a:pt x="306" y="103"/>
                    </a:cubicBezTo>
                    <a:cubicBezTo>
                      <a:pt x="307" y="103"/>
                      <a:pt x="309" y="103"/>
                      <a:pt x="310" y="103"/>
                    </a:cubicBezTo>
                    <a:cubicBezTo>
                      <a:pt x="317" y="103"/>
                      <a:pt x="327" y="104"/>
                      <a:pt x="328" y="114"/>
                    </a:cubicBezTo>
                    <a:cubicBezTo>
                      <a:pt x="329" y="115"/>
                      <a:pt x="329" y="115"/>
                      <a:pt x="329" y="115"/>
                    </a:cubicBezTo>
                    <a:cubicBezTo>
                      <a:pt x="329" y="115"/>
                      <a:pt x="329" y="117"/>
                      <a:pt x="329" y="117"/>
                    </a:cubicBezTo>
                    <a:cubicBezTo>
                      <a:pt x="329" y="117"/>
                      <a:pt x="329" y="117"/>
                      <a:pt x="331" y="118"/>
                    </a:cubicBezTo>
                    <a:cubicBezTo>
                      <a:pt x="332" y="119"/>
                      <a:pt x="333" y="119"/>
                      <a:pt x="334" y="120"/>
                    </a:cubicBezTo>
                    <a:cubicBezTo>
                      <a:pt x="334" y="120"/>
                      <a:pt x="334" y="120"/>
                      <a:pt x="334" y="120"/>
                    </a:cubicBezTo>
                    <a:cubicBezTo>
                      <a:pt x="334" y="120"/>
                      <a:pt x="334" y="120"/>
                      <a:pt x="334" y="120"/>
                    </a:cubicBezTo>
                    <a:cubicBezTo>
                      <a:pt x="335" y="120"/>
                      <a:pt x="335" y="120"/>
                      <a:pt x="335" y="120"/>
                    </a:cubicBezTo>
                    <a:cubicBezTo>
                      <a:pt x="336" y="120"/>
                      <a:pt x="337" y="120"/>
                      <a:pt x="338" y="120"/>
                    </a:cubicBezTo>
                    <a:cubicBezTo>
                      <a:pt x="338" y="120"/>
                      <a:pt x="338" y="120"/>
                      <a:pt x="338" y="120"/>
                    </a:cubicBezTo>
                    <a:cubicBezTo>
                      <a:pt x="339" y="120"/>
                      <a:pt x="340" y="121"/>
                      <a:pt x="341" y="121"/>
                    </a:cubicBezTo>
                    <a:cubicBezTo>
                      <a:pt x="345" y="121"/>
                      <a:pt x="348" y="122"/>
                      <a:pt x="351" y="123"/>
                    </a:cubicBezTo>
                    <a:cubicBezTo>
                      <a:pt x="352" y="123"/>
                      <a:pt x="353" y="124"/>
                      <a:pt x="354" y="126"/>
                    </a:cubicBezTo>
                    <a:cubicBezTo>
                      <a:pt x="354" y="126"/>
                      <a:pt x="354" y="126"/>
                      <a:pt x="354" y="126"/>
                    </a:cubicBezTo>
                    <a:cubicBezTo>
                      <a:pt x="355" y="126"/>
                      <a:pt x="355" y="126"/>
                      <a:pt x="355" y="126"/>
                    </a:cubicBezTo>
                    <a:cubicBezTo>
                      <a:pt x="355" y="125"/>
                      <a:pt x="356" y="125"/>
                      <a:pt x="356" y="125"/>
                    </a:cubicBezTo>
                    <a:cubicBezTo>
                      <a:pt x="357" y="124"/>
                      <a:pt x="357" y="124"/>
                      <a:pt x="357" y="124"/>
                    </a:cubicBezTo>
                    <a:cubicBezTo>
                      <a:pt x="357" y="124"/>
                      <a:pt x="358" y="123"/>
                      <a:pt x="358" y="122"/>
                    </a:cubicBezTo>
                    <a:cubicBezTo>
                      <a:pt x="359" y="120"/>
                      <a:pt x="359" y="119"/>
                      <a:pt x="360" y="117"/>
                    </a:cubicBezTo>
                    <a:cubicBezTo>
                      <a:pt x="360" y="116"/>
                      <a:pt x="360" y="116"/>
                      <a:pt x="360" y="116"/>
                    </a:cubicBezTo>
                    <a:cubicBezTo>
                      <a:pt x="360" y="115"/>
                      <a:pt x="360" y="115"/>
                      <a:pt x="360" y="115"/>
                    </a:cubicBezTo>
                    <a:cubicBezTo>
                      <a:pt x="362" y="112"/>
                      <a:pt x="362" y="112"/>
                      <a:pt x="362" y="112"/>
                    </a:cubicBezTo>
                    <a:cubicBezTo>
                      <a:pt x="370" y="117"/>
                      <a:pt x="370" y="117"/>
                      <a:pt x="370" y="117"/>
                    </a:cubicBezTo>
                    <a:cubicBezTo>
                      <a:pt x="372" y="118"/>
                      <a:pt x="372" y="118"/>
                      <a:pt x="372" y="118"/>
                    </a:cubicBezTo>
                    <a:cubicBezTo>
                      <a:pt x="376" y="119"/>
                      <a:pt x="380" y="120"/>
                      <a:pt x="383" y="120"/>
                    </a:cubicBezTo>
                    <a:cubicBezTo>
                      <a:pt x="385" y="121"/>
                      <a:pt x="385" y="121"/>
                      <a:pt x="385" y="121"/>
                    </a:cubicBezTo>
                    <a:cubicBezTo>
                      <a:pt x="386" y="120"/>
                      <a:pt x="386" y="120"/>
                      <a:pt x="386" y="120"/>
                    </a:cubicBezTo>
                    <a:cubicBezTo>
                      <a:pt x="387" y="120"/>
                      <a:pt x="388" y="120"/>
                      <a:pt x="389" y="120"/>
                    </a:cubicBezTo>
                    <a:cubicBezTo>
                      <a:pt x="393" y="119"/>
                      <a:pt x="398" y="118"/>
                      <a:pt x="400" y="117"/>
                    </a:cubicBezTo>
                    <a:cubicBezTo>
                      <a:pt x="401" y="116"/>
                      <a:pt x="401" y="116"/>
                      <a:pt x="401" y="116"/>
                    </a:cubicBezTo>
                    <a:cubicBezTo>
                      <a:pt x="401" y="116"/>
                      <a:pt x="401" y="116"/>
                      <a:pt x="401" y="116"/>
                    </a:cubicBezTo>
                    <a:cubicBezTo>
                      <a:pt x="401" y="116"/>
                      <a:pt x="402" y="115"/>
                      <a:pt x="402" y="115"/>
                    </a:cubicBezTo>
                    <a:cubicBezTo>
                      <a:pt x="402" y="113"/>
                      <a:pt x="402" y="113"/>
                      <a:pt x="402" y="113"/>
                    </a:cubicBezTo>
                    <a:cubicBezTo>
                      <a:pt x="402" y="112"/>
                      <a:pt x="402" y="112"/>
                      <a:pt x="402" y="111"/>
                    </a:cubicBezTo>
                    <a:cubicBezTo>
                      <a:pt x="403" y="110"/>
                      <a:pt x="403" y="110"/>
                      <a:pt x="403" y="110"/>
                    </a:cubicBezTo>
                    <a:cubicBezTo>
                      <a:pt x="403" y="107"/>
                      <a:pt x="405" y="105"/>
                      <a:pt x="406" y="103"/>
                    </a:cubicBezTo>
                    <a:cubicBezTo>
                      <a:pt x="391" y="96"/>
                      <a:pt x="391" y="96"/>
                      <a:pt x="391" y="96"/>
                    </a:cubicBezTo>
                    <a:cubicBezTo>
                      <a:pt x="382" y="91"/>
                      <a:pt x="382" y="91"/>
                      <a:pt x="382" y="91"/>
                    </a:cubicBezTo>
                    <a:cubicBezTo>
                      <a:pt x="377" y="90"/>
                      <a:pt x="377" y="90"/>
                      <a:pt x="377" y="90"/>
                    </a:cubicBezTo>
                    <a:cubicBezTo>
                      <a:pt x="377" y="90"/>
                      <a:pt x="376" y="90"/>
                      <a:pt x="375" y="90"/>
                    </a:cubicBezTo>
                    <a:cubicBezTo>
                      <a:pt x="372" y="88"/>
                      <a:pt x="372" y="88"/>
                      <a:pt x="372" y="88"/>
                    </a:cubicBezTo>
                    <a:cubicBezTo>
                      <a:pt x="369" y="86"/>
                      <a:pt x="369" y="86"/>
                      <a:pt x="369" y="86"/>
                    </a:cubicBezTo>
                    <a:cubicBezTo>
                      <a:pt x="370" y="85"/>
                      <a:pt x="370" y="85"/>
                      <a:pt x="370" y="85"/>
                    </a:cubicBezTo>
                    <a:cubicBezTo>
                      <a:pt x="368" y="84"/>
                      <a:pt x="367" y="83"/>
                      <a:pt x="365" y="82"/>
                    </a:cubicBezTo>
                    <a:cubicBezTo>
                      <a:pt x="364" y="81"/>
                      <a:pt x="364" y="81"/>
                      <a:pt x="364" y="81"/>
                    </a:cubicBezTo>
                    <a:cubicBezTo>
                      <a:pt x="363" y="79"/>
                      <a:pt x="363" y="79"/>
                      <a:pt x="363" y="79"/>
                    </a:cubicBezTo>
                    <a:cubicBezTo>
                      <a:pt x="362" y="78"/>
                      <a:pt x="362" y="78"/>
                      <a:pt x="361" y="78"/>
                    </a:cubicBezTo>
                    <a:cubicBezTo>
                      <a:pt x="360" y="76"/>
                      <a:pt x="360" y="76"/>
                      <a:pt x="360" y="76"/>
                    </a:cubicBezTo>
                    <a:cubicBezTo>
                      <a:pt x="361" y="72"/>
                      <a:pt x="361" y="72"/>
                      <a:pt x="361" y="72"/>
                    </a:cubicBezTo>
                    <a:cubicBezTo>
                      <a:pt x="361" y="70"/>
                      <a:pt x="361" y="70"/>
                      <a:pt x="361" y="70"/>
                    </a:cubicBezTo>
                    <a:cubicBezTo>
                      <a:pt x="364" y="70"/>
                      <a:pt x="364" y="70"/>
                      <a:pt x="364" y="70"/>
                    </a:cubicBezTo>
                    <a:cubicBezTo>
                      <a:pt x="368" y="70"/>
                      <a:pt x="368" y="70"/>
                      <a:pt x="368" y="70"/>
                    </a:cubicBezTo>
                    <a:cubicBezTo>
                      <a:pt x="369" y="70"/>
                      <a:pt x="369" y="70"/>
                      <a:pt x="369" y="70"/>
                    </a:cubicBezTo>
                    <a:cubicBezTo>
                      <a:pt x="370" y="69"/>
                      <a:pt x="370" y="69"/>
                      <a:pt x="370" y="69"/>
                    </a:cubicBezTo>
                    <a:cubicBezTo>
                      <a:pt x="371" y="68"/>
                      <a:pt x="372" y="67"/>
                      <a:pt x="373" y="67"/>
                    </a:cubicBezTo>
                    <a:cubicBezTo>
                      <a:pt x="375" y="65"/>
                      <a:pt x="375" y="65"/>
                      <a:pt x="375" y="65"/>
                    </a:cubicBezTo>
                    <a:cubicBezTo>
                      <a:pt x="377" y="64"/>
                      <a:pt x="377" y="64"/>
                      <a:pt x="378" y="64"/>
                    </a:cubicBezTo>
                    <a:cubicBezTo>
                      <a:pt x="379" y="64"/>
                      <a:pt x="379" y="64"/>
                      <a:pt x="380" y="64"/>
                    </a:cubicBezTo>
                    <a:cubicBezTo>
                      <a:pt x="382" y="64"/>
                      <a:pt x="382" y="64"/>
                      <a:pt x="383" y="63"/>
                    </a:cubicBezTo>
                    <a:cubicBezTo>
                      <a:pt x="383" y="63"/>
                      <a:pt x="383" y="63"/>
                      <a:pt x="384" y="62"/>
                    </a:cubicBezTo>
                    <a:cubicBezTo>
                      <a:pt x="384" y="62"/>
                      <a:pt x="385" y="62"/>
                      <a:pt x="385" y="62"/>
                    </a:cubicBezTo>
                    <a:cubicBezTo>
                      <a:pt x="386" y="61"/>
                      <a:pt x="387" y="60"/>
                      <a:pt x="388" y="60"/>
                    </a:cubicBezTo>
                    <a:cubicBezTo>
                      <a:pt x="388" y="59"/>
                      <a:pt x="388" y="59"/>
                      <a:pt x="388" y="59"/>
                    </a:cubicBezTo>
                    <a:cubicBezTo>
                      <a:pt x="381" y="50"/>
                      <a:pt x="381" y="50"/>
                      <a:pt x="381" y="50"/>
                    </a:cubicBezTo>
                    <a:cubicBezTo>
                      <a:pt x="357" y="46"/>
                      <a:pt x="357" y="46"/>
                      <a:pt x="357" y="46"/>
                    </a:cubicBezTo>
                    <a:cubicBezTo>
                      <a:pt x="381" y="44"/>
                      <a:pt x="381" y="44"/>
                      <a:pt x="381" y="44"/>
                    </a:cubicBezTo>
                    <a:cubicBezTo>
                      <a:pt x="381" y="43"/>
                      <a:pt x="381" y="43"/>
                      <a:pt x="381" y="43"/>
                    </a:cubicBezTo>
                    <a:cubicBezTo>
                      <a:pt x="381" y="43"/>
                      <a:pt x="381" y="43"/>
                      <a:pt x="381" y="43"/>
                    </a:cubicBezTo>
                    <a:cubicBezTo>
                      <a:pt x="384" y="42"/>
                      <a:pt x="384" y="42"/>
                      <a:pt x="384" y="42"/>
                    </a:cubicBezTo>
                    <a:cubicBezTo>
                      <a:pt x="385" y="40"/>
                      <a:pt x="386" y="39"/>
                      <a:pt x="388" y="37"/>
                    </a:cubicBezTo>
                    <a:cubicBezTo>
                      <a:pt x="389" y="36"/>
                      <a:pt x="389" y="36"/>
                      <a:pt x="389" y="36"/>
                    </a:cubicBezTo>
                    <a:cubicBezTo>
                      <a:pt x="389" y="35"/>
                      <a:pt x="389" y="35"/>
                      <a:pt x="389" y="35"/>
                    </a:cubicBezTo>
                    <a:cubicBezTo>
                      <a:pt x="391" y="33"/>
                      <a:pt x="391" y="33"/>
                      <a:pt x="391" y="33"/>
                    </a:cubicBezTo>
                    <a:cubicBezTo>
                      <a:pt x="392" y="33"/>
                      <a:pt x="392" y="33"/>
                      <a:pt x="392" y="33"/>
                    </a:cubicBezTo>
                    <a:cubicBezTo>
                      <a:pt x="393" y="32"/>
                      <a:pt x="394" y="32"/>
                      <a:pt x="395" y="32"/>
                    </a:cubicBezTo>
                    <a:cubicBezTo>
                      <a:pt x="396" y="31"/>
                      <a:pt x="396" y="31"/>
                      <a:pt x="396" y="31"/>
                    </a:cubicBezTo>
                    <a:cubicBezTo>
                      <a:pt x="396" y="31"/>
                      <a:pt x="397" y="31"/>
                      <a:pt x="398" y="31"/>
                    </a:cubicBezTo>
                    <a:cubicBezTo>
                      <a:pt x="399" y="31"/>
                      <a:pt x="400" y="31"/>
                      <a:pt x="400" y="32"/>
                    </a:cubicBezTo>
                    <a:cubicBezTo>
                      <a:pt x="401" y="32"/>
                      <a:pt x="401" y="32"/>
                      <a:pt x="402" y="32"/>
                    </a:cubicBezTo>
                    <a:cubicBezTo>
                      <a:pt x="403" y="31"/>
                      <a:pt x="403" y="31"/>
                      <a:pt x="405" y="31"/>
                    </a:cubicBezTo>
                    <a:cubicBezTo>
                      <a:pt x="405" y="31"/>
                      <a:pt x="405" y="31"/>
                      <a:pt x="405" y="31"/>
                    </a:cubicBezTo>
                    <a:cubicBezTo>
                      <a:pt x="407" y="31"/>
                      <a:pt x="407" y="31"/>
                      <a:pt x="407" y="31"/>
                    </a:cubicBezTo>
                    <a:cubicBezTo>
                      <a:pt x="408" y="32"/>
                      <a:pt x="408" y="32"/>
                      <a:pt x="408" y="32"/>
                    </a:cubicBezTo>
                    <a:cubicBezTo>
                      <a:pt x="407" y="31"/>
                      <a:pt x="407" y="31"/>
                      <a:pt x="407" y="31"/>
                    </a:cubicBezTo>
                    <a:cubicBezTo>
                      <a:pt x="407" y="31"/>
                      <a:pt x="407" y="31"/>
                      <a:pt x="407" y="31"/>
                    </a:cubicBezTo>
                    <a:cubicBezTo>
                      <a:pt x="406" y="30"/>
                      <a:pt x="405" y="30"/>
                      <a:pt x="405" y="30"/>
                    </a:cubicBezTo>
                    <a:cubicBezTo>
                      <a:pt x="402" y="29"/>
                      <a:pt x="402" y="29"/>
                      <a:pt x="402" y="29"/>
                    </a:cubicBezTo>
                    <a:cubicBezTo>
                      <a:pt x="402" y="29"/>
                      <a:pt x="401" y="28"/>
                      <a:pt x="400" y="28"/>
                    </a:cubicBezTo>
                    <a:cubicBezTo>
                      <a:pt x="400" y="28"/>
                      <a:pt x="399" y="28"/>
                      <a:pt x="399" y="28"/>
                    </a:cubicBezTo>
                    <a:cubicBezTo>
                      <a:pt x="398" y="28"/>
                      <a:pt x="398" y="28"/>
                      <a:pt x="398" y="28"/>
                    </a:cubicBezTo>
                    <a:cubicBezTo>
                      <a:pt x="396" y="27"/>
                      <a:pt x="396" y="27"/>
                      <a:pt x="396" y="27"/>
                    </a:cubicBezTo>
                    <a:cubicBezTo>
                      <a:pt x="395" y="26"/>
                      <a:pt x="395" y="26"/>
                      <a:pt x="395" y="26"/>
                    </a:cubicBezTo>
                    <a:cubicBezTo>
                      <a:pt x="388" y="30"/>
                      <a:pt x="388" y="30"/>
                      <a:pt x="388" y="30"/>
                    </a:cubicBezTo>
                    <a:cubicBezTo>
                      <a:pt x="392" y="26"/>
                      <a:pt x="392" y="26"/>
                      <a:pt x="392" y="26"/>
                    </a:cubicBezTo>
                    <a:cubicBezTo>
                      <a:pt x="386" y="28"/>
                      <a:pt x="386" y="28"/>
                      <a:pt x="386" y="28"/>
                    </a:cubicBezTo>
                    <a:cubicBezTo>
                      <a:pt x="393" y="23"/>
                      <a:pt x="393" y="23"/>
                      <a:pt x="393" y="23"/>
                    </a:cubicBezTo>
                    <a:cubicBezTo>
                      <a:pt x="392" y="22"/>
                      <a:pt x="392" y="22"/>
                      <a:pt x="392" y="22"/>
                    </a:cubicBezTo>
                    <a:cubicBezTo>
                      <a:pt x="394" y="18"/>
                      <a:pt x="394" y="18"/>
                      <a:pt x="394" y="18"/>
                    </a:cubicBezTo>
                    <a:cubicBezTo>
                      <a:pt x="395" y="17"/>
                      <a:pt x="395" y="17"/>
                      <a:pt x="395" y="17"/>
                    </a:cubicBezTo>
                    <a:cubicBezTo>
                      <a:pt x="395" y="16"/>
                      <a:pt x="395" y="16"/>
                      <a:pt x="395" y="16"/>
                    </a:cubicBezTo>
                    <a:cubicBezTo>
                      <a:pt x="395" y="16"/>
                      <a:pt x="395" y="16"/>
                      <a:pt x="395" y="16"/>
                    </a:cubicBezTo>
                    <a:cubicBezTo>
                      <a:pt x="393" y="16"/>
                      <a:pt x="393" y="16"/>
                      <a:pt x="393" y="16"/>
                    </a:cubicBezTo>
                    <a:cubicBezTo>
                      <a:pt x="392" y="15"/>
                      <a:pt x="392" y="15"/>
                      <a:pt x="390" y="15"/>
                    </a:cubicBezTo>
                    <a:cubicBezTo>
                      <a:pt x="387" y="14"/>
                      <a:pt x="387" y="14"/>
                      <a:pt x="387" y="14"/>
                    </a:cubicBezTo>
                    <a:cubicBezTo>
                      <a:pt x="386" y="13"/>
                      <a:pt x="386" y="13"/>
                      <a:pt x="386" y="13"/>
                    </a:cubicBezTo>
                    <a:cubicBezTo>
                      <a:pt x="385" y="10"/>
                      <a:pt x="385" y="10"/>
                      <a:pt x="385" y="10"/>
                    </a:cubicBezTo>
                    <a:cubicBezTo>
                      <a:pt x="387" y="7"/>
                      <a:pt x="387" y="7"/>
                      <a:pt x="387" y="7"/>
                    </a:cubicBezTo>
                    <a:cubicBezTo>
                      <a:pt x="388" y="7"/>
                      <a:pt x="388" y="7"/>
                      <a:pt x="388" y="7"/>
                    </a:cubicBezTo>
                    <a:cubicBezTo>
                      <a:pt x="389" y="6"/>
                      <a:pt x="390" y="6"/>
                      <a:pt x="390" y="6"/>
                    </a:cubicBezTo>
                    <a:cubicBezTo>
                      <a:pt x="391" y="6"/>
                      <a:pt x="391" y="6"/>
                      <a:pt x="391" y="6"/>
                    </a:cubicBezTo>
                    <a:cubicBezTo>
                      <a:pt x="391" y="6"/>
                      <a:pt x="391" y="6"/>
                      <a:pt x="391" y="6"/>
                    </a:cubicBezTo>
                    <a:cubicBezTo>
                      <a:pt x="393" y="5"/>
                      <a:pt x="393" y="5"/>
                      <a:pt x="393" y="5"/>
                    </a:cubicBezTo>
                    <a:cubicBezTo>
                      <a:pt x="386" y="0"/>
                      <a:pt x="386" y="0"/>
                      <a:pt x="3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377"/>
              <p:cNvSpPr/>
              <p:nvPr/>
            </p:nvSpPr>
            <p:spPr bwMode="auto">
              <a:xfrm flipH="1">
                <a:off x="7665041" y="4529008"/>
                <a:ext cx="0" cy="0"/>
              </a:xfrm>
              <a:custGeom>
                <a:gdLst>
                  <a:gd name="T0" fmla="*/ 1 w 1"/>
                  <a:gd name="T1" fmla="*/ 0 w 1"/>
                  <a:gd name="T2" fmla="*/ 1 w 1"/>
                </a:gdLst>
                <a:cxnLst>
                  <a:cxn ang="0">
                    <a:pos x="T0" y="0"/>
                  </a:cxn>
                  <a:cxn ang="0">
                    <a:pos x="T1" y="0"/>
                  </a:cxn>
                  <a:cxn ang="0">
                    <a:pos x="T2" y="0"/>
                  </a:cxn>
                </a:cxnLst>
                <a:rect l="0" t="0" r="r" b="b"/>
                <a:pathLst>
                  <a:path w="1">
                    <a:moveTo>
                      <a:pt x="1" y="0"/>
                    </a:move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378"/>
              <p:cNvSpPr/>
              <p:nvPr/>
            </p:nvSpPr>
            <p:spPr bwMode="auto">
              <a:xfrm>
                <a:off x="7034886" y="4536378"/>
                <a:ext cx="7370" cy="3685"/>
              </a:xfrm>
              <a:custGeom>
                <a:gdLst>
                  <a:gd name="T0" fmla="*/ 2 w 2"/>
                  <a:gd name="T1" fmla="*/ 0 h 1"/>
                  <a:gd name="T2" fmla="*/ 0 w 2"/>
                  <a:gd name="T3" fmla="*/ 0 h 1"/>
                  <a:gd name="T4" fmla="*/ 1 w 2"/>
                  <a:gd name="T5" fmla="*/ 1 h 1"/>
                  <a:gd name="T6" fmla="*/ 2 w 2"/>
                  <a:gd name="T7" fmla="*/ 0 h 1"/>
                  <a:gd name="T8" fmla="*/ 2 w 2"/>
                  <a:gd name="T9" fmla="*/ 0 h 1"/>
                </a:gdLst>
                <a:cxnLst>
                  <a:cxn ang="0">
                    <a:pos x="T0" y="T1"/>
                  </a:cxn>
                  <a:cxn ang="0">
                    <a:pos x="T2" y="T3"/>
                  </a:cxn>
                  <a:cxn ang="0">
                    <a:pos x="T4" y="T5"/>
                  </a:cxn>
                  <a:cxn ang="0">
                    <a:pos x="T6" y="T7"/>
                  </a:cxn>
                  <a:cxn ang="0">
                    <a:pos x="T8" y="T9"/>
                  </a:cxn>
                </a:cxnLst>
                <a:rect l="0" t="0" r="r" b="b"/>
                <a:pathLst>
                  <a:path w="2" h="1">
                    <a:moveTo>
                      <a:pt x="2" y="0"/>
                    </a:moveTo>
                    <a:lnTo>
                      <a:pt x="0" y="0"/>
                    </a:lnTo>
                    <a:lnTo>
                      <a:pt x="1" y="1"/>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379"/>
              <p:cNvSpPr/>
              <p:nvPr/>
            </p:nvSpPr>
            <p:spPr bwMode="auto">
              <a:xfrm>
                <a:off x="7034886" y="4536378"/>
                <a:ext cx="7370" cy="3685"/>
              </a:xfrm>
              <a:custGeom>
                <a:gdLst>
                  <a:gd name="T0" fmla="*/ 2 w 2"/>
                  <a:gd name="T1" fmla="*/ 0 h 1"/>
                  <a:gd name="T2" fmla="*/ 0 w 2"/>
                  <a:gd name="T3" fmla="*/ 0 h 1"/>
                  <a:gd name="T4" fmla="*/ 1 w 2"/>
                  <a:gd name="T5" fmla="*/ 1 h 1"/>
                  <a:gd name="T6" fmla="*/ 2 w 2"/>
                  <a:gd name="T7" fmla="*/ 0 h 1"/>
                  <a:gd name="T8" fmla="*/ 2 w 2"/>
                  <a:gd name="T9" fmla="*/ 0 h 1"/>
                </a:gdLst>
                <a:cxnLst>
                  <a:cxn ang="0">
                    <a:pos x="T0" y="T1"/>
                  </a:cxn>
                  <a:cxn ang="0">
                    <a:pos x="T2" y="T3"/>
                  </a:cxn>
                  <a:cxn ang="0">
                    <a:pos x="T4" y="T5"/>
                  </a:cxn>
                  <a:cxn ang="0">
                    <a:pos x="T6" y="T7"/>
                  </a:cxn>
                  <a:cxn ang="0">
                    <a:pos x="T8" y="T9"/>
                  </a:cxn>
                </a:cxnLst>
                <a:rect l="0" t="0" r="r" b="b"/>
                <a:pathLst>
                  <a:path w="2" h="1">
                    <a:moveTo>
                      <a:pt x="2" y="0"/>
                    </a:moveTo>
                    <a:lnTo>
                      <a:pt x="0" y="0"/>
                    </a:lnTo>
                    <a:lnTo>
                      <a:pt x="1" y="1"/>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380"/>
              <p:cNvSpPr>
                <a:spLocks noEditPoints="1"/>
              </p:cNvSpPr>
              <p:nvPr/>
            </p:nvSpPr>
            <p:spPr bwMode="auto">
              <a:xfrm>
                <a:off x="6360510" y="3714597"/>
                <a:ext cx="1614081" cy="917594"/>
              </a:xfrm>
              <a:custGeom>
                <a:gdLst>
                  <a:gd name="T0" fmla="*/ 317 w 508"/>
                  <a:gd name="T1" fmla="*/ 1 h 289"/>
                  <a:gd name="T2" fmla="*/ 269 w 508"/>
                  <a:gd name="T3" fmla="*/ 10 h 289"/>
                  <a:gd name="T4" fmla="*/ 256 w 508"/>
                  <a:gd name="T5" fmla="*/ 12 h 289"/>
                  <a:gd name="T6" fmla="*/ 239 w 508"/>
                  <a:gd name="T7" fmla="*/ 29 h 289"/>
                  <a:gd name="T8" fmla="*/ 206 w 508"/>
                  <a:gd name="T9" fmla="*/ 38 h 289"/>
                  <a:gd name="T10" fmla="*/ 196 w 508"/>
                  <a:gd name="T11" fmla="*/ 30 h 289"/>
                  <a:gd name="T12" fmla="*/ 184 w 508"/>
                  <a:gd name="T13" fmla="*/ 36 h 289"/>
                  <a:gd name="T14" fmla="*/ 154 w 508"/>
                  <a:gd name="T15" fmla="*/ 30 h 289"/>
                  <a:gd name="T16" fmla="*/ 72 w 508"/>
                  <a:gd name="T17" fmla="*/ 18 h 289"/>
                  <a:gd name="T18" fmla="*/ 46 w 508"/>
                  <a:gd name="T19" fmla="*/ 31 h 289"/>
                  <a:gd name="T20" fmla="*/ 55 w 508"/>
                  <a:gd name="T21" fmla="*/ 57 h 289"/>
                  <a:gd name="T22" fmla="*/ 39 w 508"/>
                  <a:gd name="T23" fmla="*/ 80 h 289"/>
                  <a:gd name="T24" fmla="*/ 17 w 508"/>
                  <a:gd name="T25" fmla="*/ 118 h 289"/>
                  <a:gd name="T26" fmla="*/ 1 w 508"/>
                  <a:gd name="T27" fmla="*/ 140 h 289"/>
                  <a:gd name="T28" fmla="*/ 6 w 508"/>
                  <a:gd name="T29" fmla="*/ 150 h 289"/>
                  <a:gd name="T30" fmla="*/ 28 w 508"/>
                  <a:gd name="T31" fmla="*/ 155 h 289"/>
                  <a:gd name="T32" fmla="*/ 47 w 508"/>
                  <a:gd name="T33" fmla="*/ 159 h 289"/>
                  <a:gd name="T34" fmla="*/ 83 w 508"/>
                  <a:gd name="T35" fmla="*/ 165 h 289"/>
                  <a:gd name="T36" fmla="*/ 132 w 508"/>
                  <a:gd name="T37" fmla="*/ 145 h 289"/>
                  <a:gd name="T38" fmla="*/ 157 w 508"/>
                  <a:gd name="T39" fmla="*/ 144 h 289"/>
                  <a:gd name="T40" fmla="*/ 197 w 508"/>
                  <a:gd name="T41" fmla="*/ 159 h 289"/>
                  <a:gd name="T42" fmla="*/ 207 w 508"/>
                  <a:gd name="T43" fmla="*/ 182 h 289"/>
                  <a:gd name="T44" fmla="*/ 218 w 508"/>
                  <a:gd name="T45" fmla="*/ 200 h 289"/>
                  <a:gd name="T46" fmla="*/ 226 w 508"/>
                  <a:gd name="T47" fmla="*/ 218 h 289"/>
                  <a:gd name="T48" fmla="*/ 215 w 508"/>
                  <a:gd name="T49" fmla="*/ 221 h 289"/>
                  <a:gd name="T50" fmla="*/ 201 w 508"/>
                  <a:gd name="T51" fmla="*/ 221 h 289"/>
                  <a:gd name="T52" fmla="*/ 194 w 508"/>
                  <a:gd name="T53" fmla="*/ 220 h 289"/>
                  <a:gd name="T54" fmla="*/ 187 w 508"/>
                  <a:gd name="T55" fmla="*/ 239 h 289"/>
                  <a:gd name="T56" fmla="*/ 174 w 508"/>
                  <a:gd name="T57" fmla="*/ 252 h 289"/>
                  <a:gd name="T58" fmla="*/ 212 w 508"/>
                  <a:gd name="T59" fmla="*/ 254 h 289"/>
                  <a:gd name="T60" fmla="*/ 226 w 508"/>
                  <a:gd name="T61" fmla="*/ 238 h 289"/>
                  <a:gd name="T62" fmla="*/ 228 w 508"/>
                  <a:gd name="T63" fmla="*/ 221 h 289"/>
                  <a:gd name="T64" fmla="*/ 239 w 508"/>
                  <a:gd name="T65" fmla="*/ 218 h 289"/>
                  <a:gd name="T66" fmla="*/ 267 w 508"/>
                  <a:gd name="T67" fmla="*/ 204 h 289"/>
                  <a:gd name="T68" fmla="*/ 276 w 508"/>
                  <a:gd name="T69" fmla="*/ 200 h 289"/>
                  <a:gd name="T70" fmla="*/ 274 w 508"/>
                  <a:gd name="T71" fmla="*/ 198 h 289"/>
                  <a:gd name="T72" fmla="*/ 274 w 508"/>
                  <a:gd name="T73" fmla="*/ 196 h 289"/>
                  <a:gd name="T74" fmla="*/ 278 w 508"/>
                  <a:gd name="T75" fmla="*/ 201 h 289"/>
                  <a:gd name="T76" fmla="*/ 274 w 508"/>
                  <a:gd name="T77" fmla="*/ 214 h 289"/>
                  <a:gd name="T78" fmla="*/ 276 w 508"/>
                  <a:gd name="T79" fmla="*/ 221 h 289"/>
                  <a:gd name="T80" fmla="*/ 290 w 508"/>
                  <a:gd name="T81" fmla="*/ 229 h 289"/>
                  <a:gd name="T82" fmla="*/ 318 w 508"/>
                  <a:gd name="T83" fmla="*/ 231 h 289"/>
                  <a:gd name="T84" fmla="*/ 313 w 508"/>
                  <a:gd name="T85" fmla="*/ 242 h 289"/>
                  <a:gd name="T86" fmla="*/ 309 w 508"/>
                  <a:gd name="T87" fmla="*/ 261 h 289"/>
                  <a:gd name="T88" fmla="*/ 318 w 508"/>
                  <a:gd name="T89" fmla="*/ 285 h 289"/>
                  <a:gd name="T90" fmla="*/ 388 w 508"/>
                  <a:gd name="T91" fmla="*/ 268 h 289"/>
                  <a:gd name="T92" fmla="*/ 400 w 508"/>
                  <a:gd name="T93" fmla="*/ 267 h 289"/>
                  <a:gd name="T94" fmla="*/ 393 w 508"/>
                  <a:gd name="T95" fmla="*/ 256 h 289"/>
                  <a:gd name="T96" fmla="*/ 360 w 508"/>
                  <a:gd name="T97" fmla="*/ 236 h 289"/>
                  <a:gd name="T98" fmla="*/ 363 w 508"/>
                  <a:gd name="T99" fmla="*/ 229 h 289"/>
                  <a:gd name="T100" fmla="*/ 406 w 508"/>
                  <a:gd name="T101" fmla="*/ 206 h 289"/>
                  <a:gd name="T102" fmla="*/ 431 w 508"/>
                  <a:gd name="T103" fmla="*/ 199 h 289"/>
                  <a:gd name="T104" fmla="*/ 455 w 508"/>
                  <a:gd name="T105" fmla="*/ 193 h 289"/>
                  <a:gd name="T106" fmla="*/ 494 w 508"/>
                  <a:gd name="T107" fmla="*/ 165 h 289"/>
                  <a:gd name="T108" fmla="*/ 493 w 508"/>
                  <a:gd name="T109" fmla="*/ 136 h 289"/>
                  <a:gd name="T110" fmla="*/ 501 w 508"/>
                  <a:gd name="T111" fmla="*/ 106 h 289"/>
                  <a:gd name="T112" fmla="*/ 469 w 508"/>
                  <a:gd name="T113" fmla="*/ 93 h 289"/>
                  <a:gd name="T114" fmla="*/ 432 w 508"/>
                  <a:gd name="T115" fmla="*/ 73 h 289"/>
                  <a:gd name="T116" fmla="*/ 371 w 508"/>
                  <a:gd name="T117" fmla="*/ 57 h 289"/>
                  <a:gd name="T118" fmla="*/ 342 w 508"/>
                  <a:gd name="T119" fmla="*/ 43 h 289"/>
                  <a:gd name="T120" fmla="*/ 328 w 508"/>
                  <a:gd name="T121" fmla="*/ 1 h 2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289">
                    <a:moveTo>
                      <a:pt x="275" y="197"/>
                    </a:moveTo>
                    <a:cubicBezTo>
                      <a:pt x="275" y="197"/>
                      <a:pt x="275" y="197"/>
                      <a:pt x="275" y="197"/>
                    </a:cubicBezTo>
                    <a:cubicBezTo>
                      <a:pt x="275" y="197"/>
                      <a:pt x="275" y="197"/>
                      <a:pt x="275" y="197"/>
                    </a:cubicBezTo>
                    <a:cubicBezTo>
                      <a:pt x="275" y="197"/>
                      <a:pt x="275" y="197"/>
                      <a:pt x="275" y="197"/>
                    </a:cubicBezTo>
                    <a:moveTo>
                      <a:pt x="77" y="168"/>
                    </a:moveTo>
                    <a:cubicBezTo>
                      <a:pt x="77" y="168"/>
                      <a:pt x="77" y="168"/>
                      <a:pt x="77" y="168"/>
                    </a:cubicBezTo>
                    <a:cubicBezTo>
                      <a:pt x="77" y="168"/>
                      <a:pt x="77" y="168"/>
                      <a:pt x="77" y="168"/>
                    </a:cubicBezTo>
                    <a:moveTo>
                      <a:pt x="325" y="0"/>
                    </a:moveTo>
                    <a:cubicBezTo>
                      <a:pt x="323" y="0"/>
                      <a:pt x="320" y="0"/>
                      <a:pt x="317" y="1"/>
                    </a:cubicBezTo>
                    <a:cubicBezTo>
                      <a:pt x="312" y="2"/>
                      <a:pt x="308" y="3"/>
                      <a:pt x="304" y="3"/>
                    </a:cubicBezTo>
                    <a:cubicBezTo>
                      <a:pt x="301" y="3"/>
                      <a:pt x="299" y="3"/>
                      <a:pt x="296" y="2"/>
                    </a:cubicBezTo>
                    <a:cubicBezTo>
                      <a:pt x="296" y="2"/>
                      <a:pt x="296" y="2"/>
                      <a:pt x="295" y="2"/>
                    </a:cubicBezTo>
                    <a:cubicBezTo>
                      <a:pt x="292" y="2"/>
                      <a:pt x="290" y="5"/>
                      <a:pt x="288" y="8"/>
                    </a:cubicBezTo>
                    <a:cubicBezTo>
                      <a:pt x="287" y="9"/>
                      <a:pt x="287" y="9"/>
                      <a:pt x="287" y="9"/>
                    </a:cubicBezTo>
                    <a:cubicBezTo>
                      <a:pt x="286" y="12"/>
                      <a:pt x="283" y="12"/>
                      <a:pt x="279" y="12"/>
                    </a:cubicBezTo>
                    <a:cubicBezTo>
                      <a:pt x="276" y="12"/>
                      <a:pt x="273" y="12"/>
                      <a:pt x="271" y="11"/>
                    </a:cubicBezTo>
                    <a:cubicBezTo>
                      <a:pt x="269" y="10"/>
                      <a:pt x="269" y="10"/>
                      <a:pt x="269" y="10"/>
                    </a:cubicBezTo>
                    <a:cubicBezTo>
                      <a:pt x="269" y="10"/>
                      <a:pt x="269" y="10"/>
                      <a:pt x="269" y="10"/>
                    </a:cubicBezTo>
                    <a:cubicBezTo>
                      <a:pt x="267" y="10"/>
                      <a:pt x="267" y="10"/>
                      <a:pt x="267" y="10"/>
                    </a:cubicBezTo>
                    <a:cubicBezTo>
                      <a:pt x="267" y="10"/>
                      <a:pt x="267" y="10"/>
                      <a:pt x="267" y="10"/>
                    </a:cubicBezTo>
                    <a:cubicBezTo>
                      <a:pt x="266" y="10"/>
                      <a:pt x="266" y="10"/>
                      <a:pt x="265" y="10"/>
                    </a:cubicBezTo>
                    <a:cubicBezTo>
                      <a:pt x="264" y="10"/>
                      <a:pt x="263" y="10"/>
                      <a:pt x="263" y="10"/>
                    </a:cubicBezTo>
                    <a:cubicBezTo>
                      <a:pt x="263" y="10"/>
                      <a:pt x="262" y="10"/>
                      <a:pt x="262" y="10"/>
                    </a:cubicBezTo>
                    <a:cubicBezTo>
                      <a:pt x="261" y="10"/>
                      <a:pt x="260" y="10"/>
                      <a:pt x="260" y="10"/>
                    </a:cubicBezTo>
                    <a:cubicBezTo>
                      <a:pt x="259" y="11"/>
                      <a:pt x="259" y="11"/>
                      <a:pt x="259" y="11"/>
                    </a:cubicBezTo>
                    <a:cubicBezTo>
                      <a:pt x="258" y="11"/>
                      <a:pt x="257" y="12"/>
                      <a:pt x="256" y="12"/>
                    </a:cubicBezTo>
                    <a:cubicBezTo>
                      <a:pt x="256" y="12"/>
                      <a:pt x="256" y="12"/>
                      <a:pt x="256" y="12"/>
                    </a:cubicBezTo>
                    <a:cubicBezTo>
                      <a:pt x="255" y="12"/>
                      <a:pt x="254" y="12"/>
                      <a:pt x="253" y="12"/>
                    </a:cubicBezTo>
                    <a:cubicBezTo>
                      <a:pt x="252" y="11"/>
                      <a:pt x="252" y="11"/>
                      <a:pt x="252" y="11"/>
                    </a:cubicBezTo>
                    <a:cubicBezTo>
                      <a:pt x="249" y="11"/>
                      <a:pt x="248" y="13"/>
                      <a:pt x="245" y="17"/>
                    </a:cubicBezTo>
                    <a:cubicBezTo>
                      <a:pt x="243" y="19"/>
                      <a:pt x="243" y="19"/>
                      <a:pt x="243" y="19"/>
                    </a:cubicBezTo>
                    <a:cubicBezTo>
                      <a:pt x="242" y="20"/>
                      <a:pt x="242" y="20"/>
                      <a:pt x="241" y="21"/>
                    </a:cubicBezTo>
                    <a:cubicBezTo>
                      <a:pt x="241" y="21"/>
                      <a:pt x="241" y="21"/>
                      <a:pt x="241" y="22"/>
                    </a:cubicBezTo>
                    <a:cubicBezTo>
                      <a:pt x="241" y="22"/>
                      <a:pt x="241" y="22"/>
                      <a:pt x="241" y="22"/>
                    </a:cubicBezTo>
                    <a:cubicBezTo>
                      <a:pt x="240" y="23"/>
                      <a:pt x="240" y="23"/>
                      <a:pt x="239" y="24"/>
                    </a:cubicBezTo>
                    <a:cubicBezTo>
                      <a:pt x="239" y="26"/>
                      <a:pt x="238" y="27"/>
                      <a:pt x="239" y="29"/>
                    </a:cubicBezTo>
                    <a:cubicBezTo>
                      <a:pt x="239" y="30"/>
                      <a:pt x="239" y="31"/>
                      <a:pt x="239" y="32"/>
                    </a:cubicBezTo>
                    <a:cubicBezTo>
                      <a:pt x="240" y="35"/>
                      <a:pt x="240" y="37"/>
                      <a:pt x="239" y="41"/>
                    </a:cubicBezTo>
                    <a:cubicBezTo>
                      <a:pt x="237" y="44"/>
                      <a:pt x="237" y="44"/>
                      <a:pt x="237" y="44"/>
                    </a:cubicBezTo>
                    <a:cubicBezTo>
                      <a:pt x="235" y="42"/>
                      <a:pt x="235" y="42"/>
                      <a:pt x="235" y="42"/>
                    </a:cubicBezTo>
                    <a:cubicBezTo>
                      <a:pt x="234" y="41"/>
                      <a:pt x="233" y="40"/>
                      <a:pt x="232" y="39"/>
                    </a:cubicBezTo>
                    <a:cubicBezTo>
                      <a:pt x="230" y="37"/>
                      <a:pt x="229" y="36"/>
                      <a:pt x="227" y="35"/>
                    </a:cubicBezTo>
                    <a:cubicBezTo>
                      <a:pt x="226" y="34"/>
                      <a:pt x="226" y="34"/>
                      <a:pt x="225" y="34"/>
                    </a:cubicBezTo>
                    <a:cubicBezTo>
                      <a:pt x="222" y="34"/>
                      <a:pt x="219" y="35"/>
                      <a:pt x="215" y="36"/>
                    </a:cubicBezTo>
                    <a:cubicBezTo>
                      <a:pt x="212" y="37"/>
                      <a:pt x="208" y="38"/>
                      <a:pt x="206" y="38"/>
                    </a:cubicBezTo>
                    <a:cubicBezTo>
                      <a:pt x="205" y="38"/>
                      <a:pt x="204" y="38"/>
                      <a:pt x="203" y="38"/>
                    </a:cubicBezTo>
                    <a:cubicBezTo>
                      <a:pt x="202" y="38"/>
                      <a:pt x="201" y="37"/>
                      <a:pt x="200" y="36"/>
                    </a:cubicBezTo>
                    <a:cubicBezTo>
                      <a:pt x="200" y="36"/>
                      <a:pt x="200" y="36"/>
                      <a:pt x="200" y="36"/>
                    </a:cubicBezTo>
                    <a:cubicBezTo>
                      <a:pt x="199" y="35"/>
                      <a:pt x="199" y="35"/>
                      <a:pt x="199" y="35"/>
                    </a:cubicBezTo>
                    <a:cubicBezTo>
                      <a:pt x="200" y="33"/>
                      <a:pt x="200" y="33"/>
                      <a:pt x="200" y="33"/>
                    </a:cubicBezTo>
                    <a:cubicBezTo>
                      <a:pt x="200" y="33"/>
                      <a:pt x="200" y="33"/>
                      <a:pt x="200" y="33"/>
                    </a:cubicBezTo>
                    <a:cubicBezTo>
                      <a:pt x="199" y="34"/>
                      <a:pt x="199" y="34"/>
                      <a:pt x="199" y="34"/>
                    </a:cubicBezTo>
                    <a:cubicBezTo>
                      <a:pt x="198" y="34"/>
                      <a:pt x="198" y="33"/>
                      <a:pt x="197" y="32"/>
                    </a:cubicBezTo>
                    <a:cubicBezTo>
                      <a:pt x="197" y="31"/>
                      <a:pt x="196" y="30"/>
                      <a:pt x="196" y="30"/>
                    </a:cubicBezTo>
                    <a:cubicBezTo>
                      <a:pt x="195" y="29"/>
                      <a:pt x="195" y="29"/>
                      <a:pt x="195" y="29"/>
                    </a:cubicBezTo>
                    <a:cubicBezTo>
                      <a:pt x="194" y="29"/>
                      <a:pt x="194" y="29"/>
                      <a:pt x="194" y="29"/>
                    </a:cubicBezTo>
                    <a:cubicBezTo>
                      <a:pt x="194" y="29"/>
                      <a:pt x="194" y="29"/>
                      <a:pt x="194" y="29"/>
                    </a:cubicBezTo>
                    <a:cubicBezTo>
                      <a:pt x="194" y="29"/>
                      <a:pt x="194" y="29"/>
                      <a:pt x="194" y="29"/>
                    </a:cubicBezTo>
                    <a:cubicBezTo>
                      <a:pt x="194" y="29"/>
                      <a:pt x="193" y="30"/>
                      <a:pt x="192" y="30"/>
                    </a:cubicBezTo>
                    <a:cubicBezTo>
                      <a:pt x="192" y="31"/>
                      <a:pt x="191" y="31"/>
                      <a:pt x="190" y="31"/>
                    </a:cubicBezTo>
                    <a:cubicBezTo>
                      <a:pt x="189" y="32"/>
                      <a:pt x="189" y="32"/>
                      <a:pt x="187" y="35"/>
                    </a:cubicBezTo>
                    <a:cubicBezTo>
                      <a:pt x="186" y="37"/>
                      <a:pt x="186" y="37"/>
                      <a:pt x="186" y="37"/>
                    </a:cubicBezTo>
                    <a:cubicBezTo>
                      <a:pt x="184" y="36"/>
                      <a:pt x="184" y="36"/>
                      <a:pt x="184" y="36"/>
                    </a:cubicBezTo>
                    <a:cubicBezTo>
                      <a:pt x="182" y="35"/>
                      <a:pt x="181" y="35"/>
                      <a:pt x="179" y="34"/>
                    </a:cubicBezTo>
                    <a:cubicBezTo>
                      <a:pt x="176" y="32"/>
                      <a:pt x="173" y="31"/>
                      <a:pt x="171" y="28"/>
                    </a:cubicBezTo>
                    <a:cubicBezTo>
                      <a:pt x="171" y="28"/>
                      <a:pt x="171" y="28"/>
                      <a:pt x="171" y="28"/>
                    </a:cubicBezTo>
                    <a:cubicBezTo>
                      <a:pt x="170" y="28"/>
                      <a:pt x="170" y="28"/>
                      <a:pt x="169" y="28"/>
                    </a:cubicBezTo>
                    <a:cubicBezTo>
                      <a:pt x="168" y="28"/>
                      <a:pt x="167" y="29"/>
                      <a:pt x="166" y="29"/>
                    </a:cubicBezTo>
                    <a:cubicBezTo>
                      <a:pt x="161" y="29"/>
                      <a:pt x="161" y="29"/>
                      <a:pt x="156" y="33"/>
                    </a:cubicBezTo>
                    <a:cubicBezTo>
                      <a:pt x="144" y="45"/>
                      <a:pt x="144" y="45"/>
                      <a:pt x="144" y="45"/>
                    </a:cubicBezTo>
                    <a:cubicBezTo>
                      <a:pt x="153" y="30"/>
                      <a:pt x="153" y="30"/>
                      <a:pt x="153" y="30"/>
                    </a:cubicBezTo>
                    <a:cubicBezTo>
                      <a:pt x="154" y="30"/>
                      <a:pt x="154" y="30"/>
                      <a:pt x="154" y="30"/>
                    </a:cubicBezTo>
                    <a:cubicBezTo>
                      <a:pt x="153" y="29"/>
                      <a:pt x="151" y="28"/>
                      <a:pt x="146" y="27"/>
                    </a:cubicBezTo>
                    <a:cubicBezTo>
                      <a:pt x="145" y="27"/>
                      <a:pt x="144" y="27"/>
                      <a:pt x="143" y="27"/>
                    </a:cubicBezTo>
                    <a:cubicBezTo>
                      <a:pt x="107" y="20"/>
                      <a:pt x="107" y="20"/>
                      <a:pt x="107" y="20"/>
                    </a:cubicBezTo>
                    <a:cubicBezTo>
                      <a:pt x="100" y="19"/>
                      <a:pt x="94" y="17"/>
                      <a:pt x="88" y="17"/>
                    </a:cubicBezTo>
                    <a:cubicBezTo>
                      <a:pt x="87" y="16"/>
                      <a:pt x="87" y="16"/>
                      <a:pt x="86" y="16"/>
                    </a:cubicBezTo>
                    <a:cubicBezTo>
                      <a:pt x="85" y="16"/>
                      <a:pt x="85" y="16"/>
                      <a:pt x="85" y="16"/>
                    </a:cubicBezTo>
                    <a:cubicBezTo>
                      <a:pt x="83" y="17"/>
                      <a:pt x="81" y="17"/>
                      <a:pt x="79" y="17"/>
                    </a:cubicBezTo>
                    <a:cubicBezTo>
                      <a:pt x="78" y="18"/>
                      <a:pt x="76" y="18"/>
                      <a:pt x="74" y="18"/>
                    </a:cubicBezTo>
                    <a:cubicBezTo>
                      <a:pt x="73" y="18"/>
                      <a:pt x="72" y="18"/>
                      <a:pt x="72" y="18"/>
                    </a:cubicBezTo>
                    <a:cubicBezTo>
                      <a:pt x="71" y="18"/>
                      <a:pt x="70" y="18"/>
                      <a:pt x="70" y="18"/>
                    </a:cubicBezTo>
                    <a:cubicBezTo>
                      <a:pt x="69" y="18"/>
                      <a:pt x="68" y="18"/>
                      <a:pt x="68" y="18"/>
                    </a:cubicBezTo>
                    <a:cubicBezTo>
                      <a:pt x="66" y="18"/>
                      <a:pt x="65" y="18"/>
                      <a:pt x="64" y="19"/>
                    </a:cubicBezTo>
                    <a:cubicBezTo>
                      <a:pt x="62" y="19"/>
                      <a:pt x="60" y="21"/>
                      <a:pt x="59" y="23"/>
                    </a:cubicBezTo>
                    <a:cubicBezTo>
                      <a:pt x="57" y="25"/>
                      <a:pt x="56" y="27"/>
                      <a:pt x="54" y="28"/>
                    </a:cubicBezTo>
                    <a:cubicBezTo>
                      <a:pt x="53" y="28"/>
                      <a:pt x="52" y="29"/>
                      <a:pt x="51" y="29"/>
                    </a:cubicBezTo>
                    <a:cubicBezTo>
                      <a:pt x="50" y="30"/>
                      <a:pt x="50" y="30"/>
                      <a:pt x="50" y="30"/>
                    </a:cubicBezTo>
                    <a:cubicBezTo>
                      <a:pt x="49" y="30"/>
                      <a:pt x="48" y="31"/>
                      <a:pt x="47" y="31"/>
                    </a:cubicBezTo>
                    <a:cubicBezTo>
                      <a:pt x="46" y="31"/>
                      <a:pt x="46" y="31"/>
                      <a:pt x="46" y="31"/>
                    </a:cubicBezTo>
                    <a:cubicBezTo>
                      <a:pt x="45" y="31"/>
                      <a:pt x="44" y="32"/>
                      <a:pt x="43" y="32"/>
                    </a:cubicBezTo>
                    <a:cubicBezTo>
                      <a:pt x="42" y="32"/>
                      <a:pt x="42" y="32"/>
                      <a:pt x="42" y="32"/>
                    </a:cubicBezTo>
                    <a:cubicBezTo>
                      <a:pt x="43" y="34"/>
                      <a:pt x="44" y="35"/>
                      <a:pt x="44" y="37"/>
                    </a:cubicBezTo>
                    <a:cubicBezTo>
                      <a:pt x="46" y="42"/>
                      <a:pt x="48" y="46"/>
                      <a:pt x="51" y="50"/>
                    </a:cubicBezTo>
                    <a:cubicBezTo>
                      <a:pt x="51" y="50"/>
                      <a:pt x="51" y="50"/>
                      <a:pt x="51" y="50"/>
                    </a:cubicBezTo>
                    <a:cubicBezTo>
                      <a:pt x="52" y="51"/>
                      <a:pt x="52" y="51"/>
                      <a:pt x="53" y="52"/>
                    </a:cubicBezTo>
                    <a:cubicBezTo>
                      <a:pt x="54" y="52"/>
                      <a:pt x="54" y="53"/>
                      <a:pt x="55" y="53"/>
                    </a:cubicBezTo>
                    <a:cubicBezTo>
                      <a:pt x="59" y="55"/>
                      <a:pt x="59" y="55"/>
                      <a:pt x="59" y="55"/>
                    </a:cubicBezTo>
                    <a:cubicBezTo>
                      <a:pt x="55" y="57"/>
                      <a:pt x="55" y="57"/>
                      <a:pt x="55" y="57"/>
                    </a:cubicBezTo>
                    <a:cubicBezTo>
                      <a:pt x="55" y="57"/>
                      <a:pt x="54" y="57"/>
                      <a:pt x="54" y="58"/>
                    </a:cubicBezTo>
                    <a:cubicBezTo>
                      <a:pt x="53" y="58"/>
                      <a:pt x="53" y="58"/>
                      <a:pt x="53" y="58"/>
                    </a:cubicBezTo>
                    <a:cubicBezTo>
                      <a:pt x="52" y="58"/>
                      <a:pt x="52" y="58"/>
                      <a:pt x="52" y="58"/>
                    </a:cubicBezTo>
                    <a:cubicBezTo>
                      <a:pt x="52" y="58"/>
                      <a:pt x="52" y="58"/>
                      <a:pt x="52" y="58"/>
                    </a:cubicBezTo>
                    <a:cubicBezTo>
                      <a:pt x="52" y="58"/>
                      <a:pt x="53" y="59"/>
                      <a:pt x="53" y="60"/>
                    </a:cubicBezTo>
                    <a:cubicBezTo>
                      <a:pt x="54" y="61"/>
                      <a:pt x="55" y="62"/>
                      <a:pt x="56" y="64"/>
                    </a:cubicBezTo>
                    <a:cubicBezTo>
                      <a:pt x="56" y="66"/>
                      <a:pt x="54" y="72"/>
                      <a:pt x="52" y="73"/>
                    </a:cubicBezTo>
                    <a:cubicBezTo>
                      <a:pt x="50" y="76"/>
                      <a:pt x="46" y="77"/>
                      <a:pt x="42" y="79"/>
                    </a:cubicBezTo>
                    <a:cubicBezTo>
                      <a:pt x="41" y="79"/>
                      <a:pt x="40" y="80"/>
                      <a:pt x="39" y="80"/>
                    </a:cubicBezTo>
                    <a:cubicBezTo>
                      <a:pt x="37" y="81"/>
                      <a:pt x="34" y="84"/>
                      <a:pt x="33" y="86"/>
                    </a:cubicBezTo>
                    <a:cubicBezTo>
                      <a:pt x="32" y="87"/>
                      <a:pt x="31" y="88"/>
                      <a:pt x="30" y="89"/>
                    </a:cubicBezTo>
                    <a:cubicBezTo>
                      <a:pt x="15" y="104"/>
                      <a:pt x="15" y="104"/>
                      <a:pt x="15" y="104"/>
                    </a:cubicBezTo>
                    <a:cubicBezTo>
                      <a:pt x="14" y="105"/>
                      <a:pt x="15" y="110"/>
                      <a:pt x="15" y="112"/>
                    </a:cubicBezTo>
                    <a:cubicBezTo>
                      <a:pt x="16" y="113"/>
                      <a:pt x="16" y="115"/>
                      <a:pt x="16" y="115"/>
                    </a:cubicBezTo>
                    <a:cubicBezTo>
                      <a:pt x="16" y="116"/>
                      <a:pt x="16" y="116"/>
                      <a:pt x="16" y="116"/>
                    </a:cubicBezTo>
                    <a:cubicBezTo>
                      <a:pt x="16" y="117"/>
                      <a:pt x="16" y="117"/>
                      <a:pt x="16" y="117"/>
                    </a:cubicBezTo>
                    <a:cubicBezTo>
                      <a:pt x="18" y="116"/>
                      <a:pt x="18" y="116"/>
                      <a:pt x="18" y="116"/>
                    </a:cubicBezTo>
                    <a:cubicBezTo>
                      <a:pt x="17" y="118"/>
                      <a:pt x="17" y="118"/>
                      <a:pt x="17" y="118"/>
                    </a:cubicBezTo>
                    <a:cubicBezTo>
                      <a:pt x="17" y="119"/>
                      <a:pt x="18" y="120"/>
                      <a:pt x="19" y="122"/>
                    </a:cubicBezTo>
                    <a:cubicBezTo>
                      <a:pt x="25" y="128"/>
                      <a:pt x="25" y="128"/>
                      <a:pt x="25" y="128"/>
                    </a:cubicBezTo>
                    <a:cubicBezTo>
                      <a:pt x="18" y="126"/>
                      <a:pt x="18" y="126"/>
                      <a:pt x="18" y="126"/>
                    </a:cubicBezTo>
                    <a:cubicBezTo>
                      <a:pt x="16" y="125"/>
                      <a:pt x="14" y="125"/>
                      <a:pt x="12" y="124"/>
                    </a:cubicBezTo>
                    <a:cubicBezTo>
                      <a:pt x="10" y="124"/>
                      <a:pt x="10" y="124"/>
                      <a:pt x="10" y="124"/>
                    </a:cubicBezTo>
                    <a:cubicBezTo>
                      <a:pt x="9" y="125"/>
                      <a:pt x="8" y="128"/>
                      <a:pt x="7" y="129"/>
                    </a:cubicBezTo>
                    <a:cubicBezTo>
                      <a:pt x="7" y="129"/>
                      <a:pt x="7" y="130"/>
                      <a:pt x="7" y="130"/>
                    </a:cubicBezTo>
                    <a:cubicBezTo>
                      <a:pt x="6" y="131"/>
                      <a:pt x="6" y="131"/>
                      <a:pt x="5" y="132"/>
                    </a:cubicBezTo>
                    <a:cubicBezTo>
                      <a:pt x="3" y="135"/>
                      <a:pt x="2" y="137"/>
                      <a:pt x="1" y="140"/>
                    </a:cubicBezTo>
                    <a:cubicBezTo>
                      <a:pt x="0" y="141"/>
                      <a:pt x="0" y="141"/>
                      <a:pt x="0" y="141"/>
                    </a:cubicBezTo>
                    <a:cubicBezTo>
                      <a:pt x="0" y="141"/>
                      <a:pt x="0" y="142"/>
                      <a:pt x="0" y="143"/>
                    </a:cubicBezTo>
                    <a:cubicBezTo>
                      <a:pt x="0" y="144"/>
                      <a:pt x="0" y="144"/>
                      <a:pt x="0" y="144"/>
                    </a:cubicBezTo>
                    <a:cubicBezTo>
                      <a:pt x="0" y="144"/>
                      <a:pt x="0" y="144"/>
                      <a:pt x="0" y="144"/>
                    </a:cubicBezTo>
                    <a:cubicBezTo>
                      <a:pt x="0" y="144"/>
                      <a:pt x="0" y="144"/>
                      <a:pt x="0" y="144"/>
                    </a:cubicBezTo>
                    <a:cubicBezTo>
                      <a:pt x="1" y="144"/>
                      <a:pt x="1" y="144"/>
                      <a:pt x="1" y="144"/>
                    </a:cubicBezTo>
                    <a:cubicBezTo>
                      <a:pt x="0" y="145"/>
                      <a:pt x="0" y="145"/>
                      <a:pt x="0" y="145"/>
                    </a:cubicBezTo>
                    <a:cubicBezTo>
                      <a:pt x="1" y="145"/>
                      <a:pt x="1" y="145"/>
                      <a:pt x="1" y="145"/>
                    </a:cubicBezTo>
                    <a:cubicBezTo>
                      <a:pt x="2" y="147"/>
                      <a:pt x="4" y="148"/>
                      <a:pt x="6" y="150"/>
                    </a:cubicBezTo>
                    <a:cubicBezTo>
                      <a:pt x="7" y="150"/>
                      <a:pt x="8" y="151"/>
                      <a:pt x="9" y="152"/>
                    </a:cubicBezTo>
                    <a:cubicBezTo>
                      <a:pt x="10" y="152"/>
                      <a:pt x="11" y="153"/>
                      <a:pt x="12" y="154"/>
                    </a:cubicBezTo>
                    <a:cubicBezTo>
                      <a:pt x="14" y="156"/>
                      <a:pt x="16" y="159"/>
                      <a:pt x="18" y="159"/>
                    </a:cubicBezTo>
                    <a:cubicBezTo>
                      <a:pt x="19" y="159"/>
                      <a:pt x="19" y="159"/>
                      <a:pt x="19" y="159"/>
                    </a:cubicBezTo>
                    <a:cubicBezTo>
                      <a:pt x="19" y="159"/>
                      <a:pt x="19" y="159"/>
                      <a:pt x="19" y="159"/>
                    </a:cubicBezTo>
                    <a:cubicBezTo>
                      <a:pt x="21" y="158"/>
                      <a:pt x="23" y="157"/>
                      <a:pt x="24" y="156"/>
                    </a:cubicBezTo>
                    <a:cubicBezTo>
                      <a:pt x="25" y="156"/>
                      <a:pt x="26" y="155"/>
                      <a:pt x="27" y="155"/>
                    </a:cubicBezTo>
                    <a:cubicBezTo>
                      <a:pt x="27" y="155"/>
                      <a:pt x="27" y="155"/>
                      <a:pt x="27" y="155"/>
                    </a:cubicBezTo>
                    <a:cubicBezTo>
                      <a:pt x="28" y="155"/>
                      <a:pt x="28" y="155"/>
                      <a:pt x="28" y="155"/>
                    </a:cubicBezTo>
                    <a:cubicBezTo>
                      <a:pt x="28" y="155"/>
                      <a:pt x="28" y="155"/>
                      <a:pt x="29" y="155"/>
                    </a:cubicBezTo>
                    <a:cubicBezTo>
                      <a:pt x="29" y="155"/>
                      <a:pt x="30" y="156"/>
                      <a:pt x="30" y="156"/>
                    </a:cubicBezTo>
                    <a:cubicBezTo>
                      <a:pt x="30" y="156"/>
                      <a:pt x="30" y="156"/>
                      <a:pt x="30" y="156"/>
                    </a:cubicBezTo>
                    <a:cubicBezTo>
                      <a:pt x="32" y="156"/>
                      <a:pt x="33" y="157"/>
                      <a:pt x="34" y="158"/>
                    </a:cubicBezTo>
                    <a:cubicBezTo>
                      <a:pt x="35" y="159"/>
                      <a:pt x="35" y="159"/>
                      <a:pt x="35" y="159"/>
                    </a:cubicBezTo>
                    <a:cubicBezTo>
                      <a:pt x="36" y="159"/>
                      <a:pt x="36" y="159"/>
                      <a:pt x="36" y="159"/>
                    </a:cubicBezTo>
                    <a:cubicBezTo>
                      <a:pt x="37" y="158"/>
                      <a:pt x="38" y="158"/>
                      <a:pt x="39" y="158"/>
                    </a:cubicBezTo>
                    <a:cubicBezTo>
                      <a:pt x="41" y="158"/>
                      <a:pt x="43" y="158"/>
                      <a:pt x="45" y="159"/>
                    </a:cubicBezTo>
                    <a:cubicBezTo>
                      <a:pt x="46" y="159"/>
                      <a:pt x="46" y="159"/>
                      <a:pt x="47" y="159"/>
                    </a:cubicBezTo>
                    <a:cubicBezTo>
                      <a:pt x="54" y="160"/>
                      <a:pt x="54" y="160"/>
                      <a:pt x="54" y="160"/>
                    </a:cubicBezTo>
                    <a:cubicBezTo>
                      <a:pt x="55" y="160"/>
                      <a:pt x="56" y="160"/>
                      <a:pt x="57" y="160"/>
                    </a:cubicBezTo>
                    <a:cubicBezTo>
                      <a:pt x="57" y="160"/>
                      <a:pt x="58" y="160"/>
                      <a:pt x="58" y="160"/>
                    </a:cubicBezTo>
                    <a:cubicBezTo>
                      <a:pt x="59" y="160"/>
                      <a:pt x="59" y="160"/>
                      <a:pt x="59" y="160"/>
                    </a:cubicBezTo>
                    <a:cubicBezTo>
                      <a:pt x="62" y="160"/>
                      <a:pt x="65" y="160"/>
                      <a:pt x="67" y="161"/>
                    </a:cubicBezTo>
                    <a:cubicBezTo>
                      <a:pt x="70" y="162"/>
                      <a:pt x="72" y="164"/>
                      <a:pt x="73" y="165"/>
                    </a:cubicBezTo>
                    <a:cubicBezTo>
                      <a:pt x="75" y="167"/>
                      <a:pt x="76" y="168"/>
                      <a:pt x="77" y="168"/>
                    </a:cubicBezTo>
                    <a:cubicBezTo>
                      <a:pt x="77" y="168"/>
                      <a:pt x="78" y="168"/>
                      <a:pt x="79" y="167"/>
                    </a:cubicBezTo>
                    <a:cubicBezTo>
                      <a:pt x="83" y="165"/>
                      <a:pt x="83" y="165"/>
                      <a:pt x="83" y="165"/>
                    </a:cubicBezTo>
                    <a:cubicBezTo>
                      <a:pt x="84" y="163"/>
                      <a:pt x="87" y="162"/>
                      <a:pt x="89" y="162"/>
                    </a:cubicBezTo>
                    <a:cubicBezTo>
                      <a:pt x="90" y="161"/>
                      <a:pt x="91" y="161"/>
                      <a:pt x="92" y="161"/>
                    </a:cubicBezTo>
                    <a:cubicBezTo>
                      <a:pt x="92" y="161"/>
                      <a:pt x="92" y="161"/>
                      <a:pt x="92" y="161"/>
                    </a:cubicBezTo>
                    <a:cubicBezTo>
                      <a:pt x="94" y="161"/>
                      <a:pt x="96" y="161"/>
                      <a:pt x="98" y="161"/>
                    </a:cubicBezTo>
                    <a:cubicBezTo>
                      <a:pt x="102" y="161"/>
                      <a:pt x="106" y="161"/>
                      <a:pt x="109" y="160"/>
                    </a:cubicBezTo>
                    <a:cubicBezTo>
                      <a:pt x="109" y="159"/>
                      <a:pt x="110" y="159"/>
                      <a:pt x="110" y="159"/>
                    </a:cubicBezTo>
                    <a:cubicBezTo>
                      <a:pt x="123" y="150"/>
                      <a:pt x="123" y="150"/>
                      <a:pt x="123" y="150"/>
                    </a:cubicBezTo>
                    <a:cubicBezTo>
                      <a:pt x="126" y="149"/>
                      <a:pt x="126" y="149"/>
                      <a:pt x="126" y="149"/>
                    </a:cubicBezTo>
                    <a:cubicBezTo>
                      <a:pt x="127" y="147"/>
                      <a:pt x="130" y="145"/>
                      <a:pt x="132" y="145"/>
                    </a:cubicBezTo>
                    <a:cubicBezTo>
                      <a:pt x="133" y="145"/>
                      <a:pt x="134" y="145"/>
                      <a:pt x="135" y="145"/>
                    </a:cubicBezTo>
                    <a:cubicBezTo>
                      <a:pt x="136" y="145"/>
                      <a:pt x="137" y="145"/>
                      <a:pt x="138" y="145"/>
                    </a:cubicBezTo>
                    <a:cubicBezTo>
                      <a:pt x="139" y="145"/>
                      <a:pt x="139" y="145"/>
                      <a:pt x="140" y="145"/>
                    </a:cubicBezTo>
                    <a:cubicBezTo>
                      <a:pt x="143" y="145"/>
                      <a:pt x="145" y="144"/>
                      <a:pt x="150" y="142"/>
                    </a:cubicBezTo>
                    <a:cubicBezTo>
                      <a:pt x="150" y="142"/>
                      <a:pt x="150" y="142"/>
                      <a:pt x="150" y="142"/>
                    </a:cubicBezTo>
                    <a:cubicBezTo>
                      <a:pt x="151" y="142"/>
                      <a:pt x="151" y="142"/>
                      <a:pt x="151" y="142"/>
                    </a:cubicBezTo>
                    <a:cubicBezTo>
                      <a:pt x="152" y="142"/>
                      <a:pt x="152" y="142"/>
                      <a:pt x="153" y="142"/>
                    </a:cubicBezTo>
                    <a:cubicBezTo>
                      <a:pt x="154" y="143"/>
                      <a:pt x="154" y="143"/>
                      <a:pt x="154" y="143"/>
                    </a:cubicBezTo>
                    <a:cubicBezTo>
                      <a:pt x="154" y="143"/>
                      <a:pt x="155" y="143"/>
                      <a:pt x="157" y="144"/>
                    </a:cubicBezTo>
                    <a:cubicBezTo>
                      <a:pt x="162" y="145"/>
                      <a:pt x="167" y="148"/>
                      <a:pt x="172" y="151"/>
                    </a:cubicBezTo>
                    <a:cubicBezTo>
                      <a:pt x="174" y="151"/>
                      <a:pt x="175" y="152"/>
                      <a:pt x="176" y="153"/>
                    </a:cubicBezTo>
                    <a:cubicBezTo>
                      <a:pt x="179" y="154"/>
                      <a:pt x="181" y="155"/>
                      <a:pt x="183" y="156"/>
                    </a:cubicBezTo>
                    <a:cubicBezTo>
                      <a:pt x="184" y="156"/>
                      <a:pt x="185" y="157"/>
                      <a:pt x="187" y="158"/>
                    </a:cubicBezTo>
                    <a:cubicBezTo>
                      <a:pt x="188" y="158"/>
                      <a:pt x="188" y="158"/>
                      <a:pt x="188" y="158"/>
                    </a:cubicBezTo>
                    <a:cubicBezTo>
                      <a:pt x="190" y="159"/>
                      <a:pt x="192" y="160"/>
                      <a:pt x="194" y="160"/>
                    </a:cubicBezTo>
                    <a:cubicBezTo>
                      <a:pt x="194" y="160"/>
                      <a:pt x="194" y="160"/>
                      <a:pt x="194" y="160"/>
                    </a:cubicBezTo>
                    <a:cubicBezTo>
                      <a:pt x="194" y="159"/>
                      <a:pt x="195" y="159"/>
                      <a:pt x="196" y="159"/>
                    </a:cubicBezTo>
                    <a:cubicBezTo>
                      <a:pt x="196" y="159"/>
                      <a:pt x="197" y="159"/>
                      <a:pt x="197" y="159"/>
                    </a:cubicBezTo>
                    <a:cubicBezTo>
                      <a:pt x="199" y="160"/>
                      <a:pt x="200" y="162"/>
                      <a:pt x="200" y="162"/>
                    </a:cubicBezTo>
                    <a:cubicBezTo>
                      <a:pt x="201" y="163"/>
                      <a:pt x="201" y="164"/>
                      <a:pt x="201" y="164"/>
                    </a:cubicBezTo>
                    <a:cubicBezTo>
                      <a:pt x="202" y="168"/>
                      <a:pt x="201" y="174"/>
                      <a:pt x="200" y="175"/>
                    </a:cubicBezTo>
                    <a:cubicBezTo>
                      <a:pt x="200" y="176"/>
                      <a:pt x="199" y="177"/>
                      <a:pt x="199" y="177"/>
                    </a:cubicBezTo>
                    <a:cubicBezTo>
                      <a:pt x="199" y="178"/>
                      <a:pt x="200" y="179"/>
                      <a:pt x="201" y="180"/>
                    </a:cubicBezTo>
                    <a:cubicBezTo>
                      <a:pt x="202" y="181"/>
                      <a:pt x="204" y="183"/>
                      <a:pt x="205" y="183"/>
                    </a:cubicBezTo>
                    <a:cubicBezTo>
                      <a:pt x="205" y="183"/>
                      <a:pt x="205" y="183"/>
                      <a:pt x="206" y="183"/>
                    </a:cubicBezTo>
                    <a:cubicBezTo>
                      <a:pt x="206" y="182"/>
                      <a:pt x="207" y="182"/>
                      <a:pt x="207" y="182"/>
                    </a:cubicBezTo>
                    <a:cubicBezTo>
                      <a:pt x="207" y="182"/>
                      <a:pt x="207" y="182"/>
                      <a:pt x="207" y="182"/>
                    </a:cubicBezTo>
                    <a:cubicBezTo>
                      <a:pt x="208" y="182"/>
                      <a:pt x="208" y="182"/>
                      <a:pt x="209" y="183"/>
                    </a:cubicBezTo>
                    <a:cubicBezTo>
                      <a:pt x="211" y="183"/>
                      <a:pt x="211" y="185"/>
                      <a:pt x="211" y="188"/>
                    </a:cubicBezTo>
                    <a:cubicBezTo>
                      <a:pt x="211" y="189"/>
                      <a:pt x="211" y="191"/>
                      <a:pt x="210" y="193"/>
                    </a:cubicBezTo>
                    <a:cubicBezTo>
                      <a:pt x="210" y="193"/>
                      <a:pt x="210" y="193"/>
                      <a:pt x="210" y="193"/>
                    </a:cubicBezTo>
                    <a:cubicBezTo>
                      <a:pt x="212" y="195"/>
                      <a:pt x="214" y="197"/>
                      <a:pt x="216" y="199"/>
                    </a:cubicBezTo>
                    <a:cubicBezTo>
                      <a:pt x="215" y="201"/>
                      <a:pt x="215" y="201"/>
                      <a:pt x="215" y="201"/>
                    </a:cubicBezTo>
                    <a:cubicBezTo>
                      <a:pt x="216" y="200"/>
                      <a:pt x="216" y="200"/>
                      <a:pt x="216" y="200"/>
                    </a:cubicBezTo>
                    <a:cubicBezTo>
                      <a:pt x="216" y="200"/>
                      <a:pt x="217" y="200"/>
                      <a:pt x="217" y="200"/>
                    </a:cubicBezTo>
                    <a:cubicBezTo>
                      <a:pt x="217" y="200"/>
                      <a:pt x="218" y="200"/>
                      <a:pt x="218" y="200"/>
                    </a:cubicBezTo>
                    <a:cubicBezTo>
                      <a:pt x="218" y="200"/>
                      <a:pt x="218" y="200"/>
                      <a:pt x="218" y="200"/>
                    </a:cubicBezTo>
                    <a:cubicBezTo>
                      <a:pt x="219" y="201"/>
                      <a:pt x="219" y="201"/>
                      <a:pt x="219" y="201"/>
                    </a:cubicBezTo>
                    <a:cubicBezTo>
                      <a:pt x="220" y="202"/>
                      <a:pt x="221" y="202"/>
                      <a:pt x="221" y="204"/>
                    </a:cubicBezTo>
                    <a:cubicBezTo>
                      <a:pt x="222" y="207"/>
                      <a:pt x="221" y="209"/>
                      <a:pt x="221" y="210"/>
                    </a:cubicBezTo>
                    <a:cubicBezTo>
                      <a:pt x="220" y="212"/>
                      <a:pt x="220" y="212"/>
                      <a:pt x="222" y="214"/>
                    </a:cubicBezTo>
                    <a:cubicBezTo>
                      <a:pt x="223" y="214"/>
                      <a:pt x="223" y="214"/>
                      <a:pt x="223" y="214"/>
                    </a:cubicBezTo>
                    <a:cubicBezTo>
                      <a:pt x="224" y="215"/>
                      <a:pt x="225" y="216"/>
                      <a:pt x="226" y="216"/>
                    </a:cubicBezTo>
                    <a:cubicBezTo>
                      <a:pt x="226" y="217"/>
                      <a:pt x="226" y="217"/>
                      <a:pt x="226" y="217"/>
                    </a:cubicBezTo>
                    <a:cubicBezTo>
                      <a:pt x="226" y="218"/>
                      <a:pt x="226" y="218"/>
                      <a:pt x="226" y="218"/>
                    </a:cubicBezTo>
                    <a:cubicBezTo>
                      <a:pt x="226" y="220"/>
                      <a:pt x="225" y="220"/>
                      <a:pt x="223" y="221"/>
                    </a:cubicBezTo>
                    <a:cubicBezTo>
                      <a:pt x="223" y="221"/>
                      <a:pt x="223" y="221"/>
                      <a:pt x="223" y="221"/>
                    </a:cubicBezTo>
                    <a:cubicBezTo>
                      <a:pt x="222" y="221"/>
                      <a:pt x="220" y="222"/>
                      <a:pt x="219" y="222"/>
                    </a:cubicBezTo>
                    <a:cubicBezTo>
                      <a:pt x="218" y="222"/>
                      <a:pt x="218" y="222"/>
                      <a:pt x="218" y="222"/>
                    </a:cubicBezTo>
                    <a:cubicBezTo>
                      <a:pt x="217" y="222"/>
                      <a:pt x="217" y="222"/>
                      <a:pt x="217" y="222"/>
                    </a:cubicBezTo>
                    <a:cubicBezTo>
                      <a:pt x="217" y="222"/>
                      <a:pt x="217" y="222"/>
                      <a:pt x="217" y="222"/>
                    </a:cubicBezTo>
                    <a:cubicBezTo>
                      <a:pt x="216" y="222"/>
                      <a:pt x="215" y="222"/>
                      <a:pt x="215" y="221"/>
                    </a:cubicBezTo>
                    <a:cubicBezTo>
                      <a:pt x="215" y="221"/>
                      <a:pt x="215" y="221"/>
                      <a:pt x="215" y="221"/>
                    </a:cubicBezTo>
                    <a:cubicBezTo>
                      <a:pt x="215" y="221"/>
                      <a:pt x="215" y="221"/>
                      <a:pt x="215" y="221"/>
                    </a:cubicBezTo>
                    <a:cubicBezTo>
                      <a:pt x="215" y="221"/>
                      <a:pt x="215" y="221"/>
                      <a:pt x="215" y="221"/>
                    </a:cubicBezTo>
                    <a:cubicBezTo>
                      <a:pt x="214" y="221"/>
                      <a:pt x="214" y="221"/>
                      <a:pt x="214" y="221"/>
                    </a:cubicBezTo>
                    <a:cubicBezTo>
                      <a:pt x="213" y="221"/>
                      <a:pt x="212" y="221"/>
                      <a:pt x="212" y="221"/>
                    </a:cubicBezTo>
                    <a:cubicBezTo>
                      <a:pt x="211" y="221"/>
                      <a:pt x="209" y="221"/>
                      <a:pt x="208" y="220"/>
                    </a:cubicBezTo>
                    <a:cubicBezTo>
                      <a:pt x="207" y="220"/>
                      <a:pt x="207" y="219"/>
                      <a:pt x="206" y="219"/>
                    </a:cubicBezTo>
                    <a:cubicBezTo>
                      <a:pt x="206" y="218"/>
                      <a:pt x="206" y="218"/>
                      <a:pt x="206" y="218"/>
                    </a:cubicBezTo>
                    <a:cubicBezTo>
                      <a:pt x="205" y="218"/>
                      <a:pt x="205" y="218"/>
                      <a:pt x="205" y="218"/>
                    </a:cubicBezTo>
                    <a:cubicBezTo>
                      <a:pt x="204" y="219"/>
                      <a:pt x="203" y="220"/>
                      <a:pt x="202" y="220"/>
                    </a:cubicBezTo>
                    <a:cubicBezTo>
                      <a:pt x="201" y="220"/>
                      <a:pt x="201" y="221"/>
                      <a:pt x="201" y="221"/>
                    </a:cubicBezTo>
                    <a:cubicBezTo>
                      <a:pt x="200" y="221"/>
                      <a:pt x="200" y="221"/>
                      <a:pt x="199" y="221"/>
                    </a:cubicBezTo>
                    <a:cubicBezTo>
                      <a:pt x="199" y="221"/>
                      <a:pt x="199" y="221"/>
                      <a:pt x="199" y="221"/>
                    </a:cubicBezTo>
                    <a:cubicBezTo>
                      <a:pt x="198" y="221"/>
                      <a:pt x="197" y="221"/>
                      <a:pt x="197" y="220"/>
                    </a:cubicBezTo>
                    <a:cubicBezTo>
                      <a:pt x="196" y="220"/>
                      <a:pt x="196" y="220"/>
                      <a:pt x="196" y="220"/>
                    </a:cubicBezTo>
                    <a:cubicBezTo>
                      <a:pt x="196" y="219"/>
                      <a:pt x="195" y="219"/>
                      <a:pt x="195" y="218"/>
                    </a:cubicBezTo>
                    <a:cubicBezTo>
                      <a:pt x="195" y="218"/>
                      <a:pt x="195" y="218"/>
                      <a:pt x="195" y="218"/>
                    </a:cubicBezTo>
                    <a:cubicBezTo>
                      <a:pt x="194" y="217"/>
                      <a:pt x="194" y="217"/>
                      <a:pt x="194" y="217"/>
                    </a:cubicBezTo>
                    <a:cubicBezTo>
                      <a:pt x="194" y="218"/>
                      <a:pt x="194" y="218"/>
                      <a:pt x="194" y="219"/>
                    </a:cubicBezTo>
                    <a:cubicBezTo>
                      <a:pt x="194" y="219"/>
                      <a:pt x="194" y="219"/>
                      <a:pt x="194" y="220"/>
                    </a:cubicBezTo>
                    <a:cubicBezTo>
                      <a:pt x="194" y="221"/>
                      <a:pt x="194" y="222"/>
                      <a:pt x="194" y="223"/>
                    </a:cubicBezTo>
                    <a:cubicBezTo>
                      <a:pt x="194" y="224"/>
                      <a:pt x="195" y="225"/>
                      <a:pt x="194" y="226"/>
                    </a:cubicBezTo>
                    <a:cubicBezTo>
                      <a:pt x="194" y="227"/>
                      <a:pt x="194" y="228"/>
                      <a:pt x="193" y="229"/>
                    </a:cubicBezTo>
                    <a:cubicBezTo>
                      <a:pt x="193" y="230"/>
                      <a:pt x="193" y="230"/>
                      <a:pt x="193" y="230"/>
                    </a:cubicBezTo>
                    <a:cubicBezTo>
                      <a:pt x="193" y="230"/>
                      <a:pt x="193" y="231"/>
                      <a:pt x="193" y="231"/>
                    </a:cubicBezTo>
                    <a:cubicBezTo>
                      <a:pt x="192" y="232"/>
                      <a:pt x="192" y="232"/>
                      <a:pt x="192" y="232"/>
                    </a:cubicBezTo>
                    <a:cubicBezTo>
                      <a:pt x="192" y="234"/>
                      <a:pt x="190" y="234"/>
                      <a:pt x="190" y="235"/>
                    </a:cubicBezTo>
                    <a:cubicBezTo>
                      <a:pt x="189" y="235"/>
                      <a:pt x="189" y="235"/>
                      <a:pt x="189" y="235"/>
                    </a:cubicBezTo>
                    <a:cubicBezTo>
                      <a:pt x="188" y="236"/>
                      <a:pt x="188" y="237"/>
                      <a:pt x="187" y="239"/>
                    </a:cubicBezTo>
                    <a:cubicBezTo>
                      <a:pt x="186" y="239"/>
                      <a:pt x="186" y="239"/>
                      <a:pt x="186" y="239"/>
                    </a:cubicBezTo>
                    <a:cubicBezTo>
                      <a:pt x="186" y="240"/>
                      <a:pt x="186" y="240"/>
                      <a:pt x="186" y="240"/>
                    </a:cubicBezTo>
                    <a:cubicBezTo>
                      <a:pt x="185" y="240"/>
                      <a:pt x="185" y="240"/>
                      <a:pt x="185" y="240"/>
                    </a:cubicBezTo>
                    <a:cubicBezTo>
                      <a:pt x="185" y="241"/>
                      <a:pt x="184" y="241"/>
                      <a:pt x="183" y="242"/>
                    </a:cubicBezTo>
                    <a:cubicBezTo>
                      <a:pt x="182" y="243"/>
                      <a:pt x="181" y="244"/>
                      <a:pt x="181" y="244"/>
                    </a:cubicBezTo>
                    <a:cubicBezTo>
                      <a:pt x="180" y="245"/>
                      <a:pt x="180" y="245"/>
                      <a:pt x="181" y="245"/>
                    </a:cubicBezTo>
                    <a:cubicBezTo>
                      <a:pt x="184" y="248"/>
                      <a:pt x="184" y="248"/>
                      <a:pt x="184" y="248"/>
                    </a:cubicBezTo>
                    <a:cubicBezTo>
                      <a:pt x="180" y="249"/>
                      <a:pt x="180" y="249"/>
                      <a:pt x="180" y="249"/>
                    </a:cubicBezTo>
                    <a:cubicBezTo>
                      <a:pt x="177" y="250"/>
                      <a:pt x="175" y="251"/>
                      <a:pt x="174" y="252"/>
                    </a:cubicBezTo>
                    <a:cubicBezTo>
                      <a:pt x="174" y="252"/>
                      <a:pt x="174" y="252"/>
                      <a:pt x="174" y="252"/>
                    </a:cubicBezTo>
                    <a:cubicBezTo>
                      <a:pt x="176" y="253"/>
                      <a:pt x="177" y="254"/>
                      <a:pt x="179" y="255"/>
                    </a:cubicBezTo>
                    <a:cubicBezTo>
                      <a:pt x="180" y="256"/>
                      <a:pt x="181" y="256"/>
                      <a:pt x="182" y="257"/>
                    </a:cubicBezTo>
                    <a:cubicBezTo>
                      <a:pt x="185" y="256"/>
                      <a:pt x="185" y="256"/>
                      <a:pt x="185" y="256"/>
                    </a:cubicBezTo>
                    <a:cubicBezTo>
                      <a:pt x="189" y="256"/>
                      <a:pt x="189" y="255"/>
                      <a:pt x="191" y="255"/>
                    </a:cubicBezTo>
                    <a:cubicBezTo>
                      <a:pt x="193" y="254"/>
                      <a:pt x="193" y="254"/>
                      <a:pt x="193" y="254"/>
                    </a:cubicBezTo>
                    <a:cubicBezTo>
                      <a:pt x="196" y="253"/>
                      <a:pt x="201" y="250"/>
                      <a:pt x="204" y="250"/>
                    </a:cubicBezTo>
                    <a:cubicBezTo>
                      <a:pt x="204" y="250"/>
                      <a:pt x="205" y="250"/>
                      <a:pt x="205" y="251"/>
                    </a:cubicBezTo>
                    <a:cubicBezTo>
                      <a:pt x="207" y="251"/>
                      <a:pt x="211" y="252"/>
                      <a:pt x="212" y="254"/>
                    </a:cubicBezTo>
                    <a:cubicBezTo>
                      <a:pt x="213" y="255"/>
                      <a:pt x="213" y="255"/>
                      <a:pt x="213" y="255"/>
                    </a:cubicBezTo>
                    <a:cubicBezTo>
                      <a:pt x="213" y="250"/>
                      <a:pt x="211" y="245"/>
                      <a:pt x="210" y="239"/>
                    </a:cubicBezTo>
                    <a:cubicBezTo>
                      <a:pt x="213" y="241"/>
                      <a:pt x="211" y="244"/>
                      <a:pt x="212" y="244"/>
                    </a:cubicBezTo>
                    <a:cubicBezTo>
                      <a:pt x="213" y="244"/>
                      <a:pt x="214" y="244"/>
                      <a:pt x="215" y="242"/>
                    </a:cubicBezTo>
                    <a:cubicBezTo>
                      <a:pt x="217" y="241"/>
                      <a:pt x="219" y="239"/>
                      <a:pt x="220" y="239"/>
                    </a:cubicBezTo>
                    <a:cubicBezTo>
                      <a:pt x="221" y="238"/>
                      <a:pt x="221" y="238"/>
                      <a:pt x="222" y="238"/>
                    </a:cubicBezTo>
                    <a:cubicBezTo>
                      <a:pt x="222" y="238"/>
                      <a:pt x="222" y="238"/>
                      <a:pt x="223" y="238"/>
                    </a:cubicBezTo>
                    <a:cubicBezTo>
                      <a:pt x="223" y="239"/>
                      <a:pt x="223" y="239"/>
                      <a:pt x="224" y="239"/>
                    </a:cubicBezTo>
                    <a:cubicBezTo>
                      <a:pt x="224" y="239"/>
                      <a:pt x="225" y="238"/>
                      <a:pt x="226" y="238"/>
                    </a:cubicBezTo>
                    <a:cubicBezTo>
                      <a:pt x="227" y="237"/>
                      <a:pt x="233" y="232"/>
                      <a:pt x="232" y="232"/>
                    </a:cubicBezTo>
                    <a:cubicBezTo>
                      <a:pt x="231" y="229"/>
                      <a:pt x="229" y="226"/>
                      <a:pt x="227" y="223"/>
                    </a:cubicBezTo>
                    <a:cubicBezTo>
                      <a:pt x="226" y="222"/>
                      <a:pt x="225" y="221"/>
                      <a:pt x="225" y="220"/>
                    </a:cubicBezTo>
                    <a:cubicBezTo>
                      <a:pt x="226" y="220"/>
                      <a:pt x="226" y="220"/>
                      <a:pt x="226" y="219"/>
                    </a:cubicBezTo>
                    <a:cubicBezTo>
                      <a:pt x="226" y="219"/>
                      <a:pt x="227" y="219"/>
                      <a:pt x="227" y="219"/>
                    </a:cubicBezTo>
                    <a:cubicBezTo>
                      <a:pt x="227" y="219"/>
                      <a:pt x="227" y="219"/>
                      <a:pt x="227" y="219"/>
                    </a:cubicBezTo>
                    <a:cubicBezTo>
                      <a:pt x="228" y="220"/>
                      <a:pt x="228" y="220"/>
                      <a:pt x="228" y="220"/>
                    </a:cubicBezTo>
                    <a:cubicBezTo>
                      <a:pt x="228" y="221"/>
                      <a:pt x="228" y="221"/>
                      <a:pt x="228" y="221"/>
                    </a:cubicBezTo>
                    <a:cubicBezTo>
                      <a:pt x="228" y="221"/>
                      <a:pt x="228" y="221"/>
                      <a:pt x="228" y="221"/>
                    </a:cubicBezTo>
                    <a:cubicBezTo>
                      <a:pt x="228" y="221"/>
                      <a:pt x="228" y="221"/>
                      <a:pt x="228" y="221"/>
                    </a:cubicBezTo>
                    <a:cubicBezTo>
                      <a:pt x="229" y="221"/>
                      <a:pt x="229" y="221"/>
                      <a:pt x="229" y="221"/>
                    </a:cubicBezTo>
                    <a:cubicBezTo>
                      <a:pt x="229" y="221"/>
                      <a:pt x="229" y="220"/>
                      <a:pt x="230" y="220"/>
                    </a:cubicBezTo>
                    <a:cubicBezTo>
                      <a:pt x="230" y="221"/>
                      <a:pt x="230" y="221"/>
                      <a:pt x="230" y="222"/>
                    </a:cubicBezTo>
                    <a:cubicBezTo>
                      <a:pt x="231" y="222"/>
                      <a:pt x="232" y="223"/>
                      <a:pt x="232" y="224"/>
                    </a:cubicBezTo>
                    <a:cubicBezTo>
                      <a:pt x="233" y="224"/>
                      <a:pt x="233" y="225"/>
                      <a:pt x="233" y="225"/>
                    </a:cubicBezTo>
                    <a:cubicBezTo>
                      <a:pt x="233" y="225"/>
                      <a:pt x="233" y="225"/>
                      <a:pt x="233" y="225"/>
                    </a:cubicBezTo>
                    <a:cubicBezTo>
                      <a:pt x="234" y="224"/>
                      <a:pt x="235" y="223"/>
                      <a:pt x="236" y="222"/>
                    </a:cubicBezTo>
                    <a:cubicBezTo>
                      <a:pt x="237" y="220"/>
                      <a:pt x="238" y="219"/>
                      <a:pt x="239" y="218"/>
                    </a:cubicBezTo>
                    <a:cubicBezTo>
                      <a:pt x="241" y="215"/>
                      <a:pt x="244" y="213"/>
                      <a:pt x="247" y="212"/>
                    </a:cubicBezTo>
                    <a:cubicBezTo>
                      <a:pt x="248" y="212"/>
                      <a:pt x="248" y="212"/>
                      <a:pt x="249" y="212"/>
                    </a:cubicBezTo>
                    <a:cubicBezTo>
                      <a:pt x="250" y="212"/>
                      <a:pt x="251" y="211"/>
                      <a:pt x="251" y="211"/>
                    </a:cubicBezTo>
                    <a:cubicBezTo>
                      <a:pt x="252" y="211"/>
                      <a:pt x="253" y="211"/>
                      <a:pt x="253" y="211"/>
                    </a:cubicBezTo>
                    <a:cubicBezTo>
                      <a:pt x="254" y="211"/>
                      <a:pt x="255" y="211"/>
                      <a:pt x="256" y="211"/>
                    </a:cubicBezTo>
                    <a:cubicBezTo>
                      <a:pt x="257" y="211"/>
                      <a:pt x="257" y="211"/>
                      <a:pt x="257" y="211"/>
                    </a:cubicBezTo>
                    <a:cubicBezTo>
                      <a:pt x="258" y="211"/>
                      <a:pt x="258" y="211"/>
                      <a:pt x="259" y="210"/>
                    </a:cubicBezTo>
                    <a:cubicBezTo>
                      <a:pt x="260" y="210"/>
                      <a:pt x="260" y="210"/>
                      <a:pt x="260" y="210"/>
                    </a:cubicBezTo>
                    <a:cubicBezTo>
                      <a:pt x="262" y="208"/>
                      <a:pt x="264" y="205"/>
                      <a:pt x="267" y="204"/>
                    </a:cubicBezTo>
                    <a:cubicBezTo>
                      <a:pt x="267" y="204"/>
                      <a:pt x="267" y="204"/>
                      <a:pt x="267" y="204"/>
                    </a:cubicBezTo>
                    <a:cubicBezTo>
                      <a:pt x="267" y="204"/>
                      <a:pt x="266" y="204"/>
                      <a:pt x="266" y="205"/>
                    </a:cubicBezTo>
                    <a:cubicBezTo>
                      <a:pt x="266" y="205"/>
                      <a:pt x="265" y="206"/>
                      <a:pt x="265" y="206"/>
                    </a:cubicBezTo>
                    <a:cubicBezTo>
                      <a:pt x="265" y="206"/>
                      <a:pt x="265" y="206"/>
                      <a:pt x="265" y="206"/>
                    </a:cubicBezTo>
                    <a:cubicBezTo>
                      <a:pt x="266" y="207"/>
                      <a:pt x="264" y="207"/>
                      <a:pt x="267" y="207"/>
                    </a:cubicBezTo>
                    <a:cubicBezTo>
                      <a:pt x="270" y="208"/>
                      <a:pt x="272" y="209"/>
                      <a:pt x="275" y="209"/>
                    </a:cubicBezTo>
                    <a:cubicBezTo>
                      <a:pt x="275" y="206"/>
                      <a:pt x="275" y="205"/>
                      <a:pt x="276" y="202"/>
                    </a:cubicBezTo>
                    <a:cubicBezTo>
                      <a:pt x="277" y="201"/>
                      <a:pt x="277" y="200"/>
                      <a:pt x="276" y="200"/>
                    </a:cubicBezTo>
                    <a:cubicBezTo>
                      <a:pt x="276" y="200"/>
                      <a:pt x="276" y="200"/>
                      <a:pt x="276" y="200"/>
                    </a:cubicBezTo>
                    <a:cubicBezTo>
                      <a:pt x="276" y="200"/>
                      <a:pt x="276" y="200"/>
                      <a:pt x="276" y="200"/>
                    </a:cubicBezTo>
                    <a:cubicBezTo>
                      <a:pt x="276" y="200"/>
                      <a:pt x="276" y="200"/>
                      <a:pt x="276" y="200"/>
                    </a:cubicBezTo>
                    <a:cubicBezTo>
                      <a:pt x="276" y="200"/>
                      <a:pt x="275" y="199"/>
                      <a:pt x="275" y="199"/>
                    </a:cubicBezTo>
                    <a:cubicBezTo>
                      <a:pt x="275" y="199"/>
                      <a:pt x="275" y="199"/>
                      <a:pt x="275" y="199"/>
                    </a:cubicBezTo>
                    <a:cubicBezTo>
                      <a:pt x="275" y="199"/>
                      <a:pt x="275" y="199"/>
                      <a:pt x="276" y="198"/>
                    </a:cubicBezTo>
                    <a:cubicBezTo>
                      <a:pt x="276" y="198"/>
                      <a:pt x="276" y="197"/>
                      <a:pt x="276" y="197"/>
                    </a:cubicBezTo>
                    <a:cubicBezTo>
                      <a:pt x="276" y="197"/>
                      <a:pt x="276" y="197"/>
                      <a:pt x="276" y="197"/>
                    </a:cubicBezTo>
                    <a:cubicBezTo>
                      <a:pt x="275" y="197"/>
                      <a:pt x="275" y="198"/>
                      <a:pt x="274" y="198"/>
                    </a:cubicBezTo>
                    <a:cubicBezTo>
                      <a:pt x="274" y="198"/>
                      <a:pt x="274" y="198"/>
                      <a:pt x="274" y="198"/>
                    </a:cubicBezTo>
                    <a:cubicBezTo>
                      <a:pt x="273" y="197"/>
                      <a:pt x="274" y="195"/>
                      <a:pt x="274" y="194"/>
                    </a:cubicBezTo>
                    <a:cubicBezTo>
                      <a:pt x="274" y="193"/>
                      <a:pt x="272" y="193"/>
                      <a:pt x="272" y="193"/>
                    </a:cubicBezTo>
                    <a:cubicBezTo>
                      <a:pt x="272" y="192"/>
                      <a:pt x="272" y="192"/>
                      <a:pt x="272" y="191"/>
                    </a:cubicBezTo>
                    <a:cubicBezTo>
                      <a:pt x="272" y="191"/>
                      <a:pt x="272" y="191"/>
                      <a:pt x="272" y="190"/>
                    </a:cubicBezTo>
                    <a:cubicBezTo>
                      <a:pt x="272" y="190"/>
                      <a:pt x="272" y="190"/>
                      <a:pt x="272" y="190"/>
                    </a:cubicBezTo>
                    <a:cubicBezTo>
                      <a:pt x="273" y="190"/>
                      <a:pt x="273" y="190"/>
                      <a:pt x="273" y="191"/>
                    </a:cubicBezTo>
                    <a:cubicBezTo>
                      <a:pt x="274" y="192"/>
                      <a:pt x="274" y="195"/>
                      <a:pt x="274" y="195"/>
                    </a:cubicBezTo>
                    <a:cubicBezTo>
                      <a:pt x="274" y="195"/>
                      <a:pt x="274" y="195"/>
                      <a:pt x="274" y="195"/>
                    </a:cubicBezTo>
                    <a:cubicBezTo>
                      <a:pt x="274" y="195"/>
                      <a:pt x="274" y="196"/>
                      <a:pt x="274" y="196"/>
                    </a:cubicBezTo>
                    <a:cubicBezTo>
                      <a:pt x="275" y="196"/>
                      <a:pt x="275" y="197"/>
                      <a:pt x="275" y="197"/>
                    </a:cubicBezTo>
                    <a:cubicBezTo>
                      <a:pt x="275" y="197"/>
                      <a:pt x="275" y="197"/>
                      <a:pt x="275" y="197"/>
                    </a:cubicBezTo>
                    <a:cubicBezTo>
                      <a:pt x="275" y="197"/>
                      <a:pt x="275" y="197"/>
                      <a:pt x="275" y="197"/>
                    </a:cubicBezTo>
                    <a:cubicBezTo>
                      <a:pt x="276" y="197"/>
                      <a:pt x="276" y="197"/>
                      <a:pt x="276" y="197"/>
                    </a:cubicBezTo>
                    <a:cubicBezTo>
                      <a:pt x="277" y="197"/>
                      <a:pt x="277" y="197"/>
                      <a:pt x="277" y="197"/>
                    </a:cubicBezTo>
                    <a:cubicBezTo>
                      <a:pt x="277" y="197"/>
                      <a:pt x="277" y="197"/>
                      <a:pt x="277" y="197"/>
                    </a:cubicBezTo>
                    <a:cubicBezTo>
                      <a:pt x="277" y="198"/>
                      <a:pt x="276" y="198"/>
                      <a:pt x="276" y="199"/>
                    </a:cubicBezTo>
                    <a:cubicBezTo>
                      <a:pt x="276" y="200"/>
                      <a:pt x="276" y="200"/>
                      <a:pt x="277" y="200"/>
                    </a:cubicBezTo>
                    <a:cubicBezTo>
                      <a:pt x="277" y="200"/>
                      <a:pt x="278" y="200"/>
                      <a:pt x="278" y="201"/>
                    </a:cubicBezTo>
                    <a:cubicBezTo>
                      <a:pt x="278" y="201"/>
                      <a:pt x="278" y="201"/>
                      <a:pt x="278" y="201"/>
                    </a:cubicBezTo>
                    <a:cubicBezTo>
                      <a:pt x="278" y="204"/>
                      <a:pt x="275" y="205"/>
                      <a:pt x="278" y="208"/>
                    </a:cubicBezTo>
                    <a:cubicBezTo>
                      <a:pt x="280" y="211"/>
                      <a:pt x="281" y="213"/>
                      <a:pt x="284" y="213"/>
                    </a:cubicBezTo>
                    <a:cubicBezTo>
                      <a:pt x="285" y="213"/>
                      <a:pt x="285" y="213"/>
                      <a:pt x="286" y="213"/>
                    </a:cubicBezTo>
                    <a:cubicBezTo>
                      <a:pt x="286" y="213"/>
                      <a:pt x="287" y="213"/>
                      <a:pt x="288" y="213"/>
                    </a:cubicBezTo>
                    <a:cubicBezTo>
                      <a:pt x="291" y="213"/>
                      <a:pt x="293" y="210"/>
                      <a:pt x="296" y="210"/>
                    </a:cubicBezTo>
                    <a:cubicBezTo>
                      <a:pt x="292" y="213"/>
                      <a:pt x="290" y="216"/>
                      <a:pt x="286" y="216"/>
                    </a:cubicBezTo>
                    <a:cubicBezTo>
                      <a:pt x="285" y="216"/>
                      <a:pt x="285" y="216"/>
                      <a:pt x="285" y="216"/>
                    </a:cubicBezTo>
                    <a:cubicBezTo>
                      <a:pt x="281" y="216"/>
                      <a:pt x="278" y="215"/>
                      <a:pt x="274" y="214"/>
                    </a:cubicBezTo>
                    <a:cubicBezTo>
                      <a:pt x="271" y="214"/>
                      <a:pt x="267" y="213"/>
                      <a:pt x="264" y="212"/>
                    </a:cubicBezTo>
                    <a:cubicBezTo>
                      <a:pt x="265" y="213"/>
                      <a:pt x="266" y="215"/>
                      <a:pt x="266" y="215"/>
                    </a:cubicBezTo>
                    <a:cubicBezTo>
                      <a:pt x="267" y="215"/>
                      <a:pt x="267" y="216"/>
                      <a:pt x="268" y="216"/>
                    </a:cubicBezTo>
                    <a:cubicBezTo>
                      <a:pt x="268" y="216"/>
                      <a:pt x="269" y="216"/>
                      <a:pt x="269" y="216"/>
                    </a:cubicBezTo>
                    <a:cubicBezTo>
                      <a:pt x="269" y="216"/>
                      <a:pt x="270" y="216"/>
                      <a:pt x="270" y="216"/>
                    </a:cubicBezTo>
                    <a:cubicBezTo>
                      <a:pt x="271" y="216"/>
                      <a:pt x="271" y="216"/>
                      <a:pt x="272" y="216"/>
                    </a:cubicBezTo>
                    <a:cubicBezTo>
                      <a:pt x="272" y="216"/>
                      <a:pt x="273" y="216"/>
                      <a:pt x="273" y="217"/>
                    </a:cubicBezTo>
                    <a:cubicBezTo>
                      <a:pt x="275" y="218"/>
                      <a:pt x="276" y="219"/>
                      <a:pt x="277" y="221"/>
                    </a:cubicBezTo>
                    <a:cubicBezTo>
                      <a:pt x="276" y="221"/>
                      <a:pt x="276" y="221"/>
                      <a:pt x="276" y="221"/>
                    </a:cubicBezTo>
                    <a:cubicBezTo>
                      <a:pt x="276" y="221"/>
                      <a:pt x="275" y="221"/>
                      <a:pt x="275" y="221"/>
                    </a:cubicBezTo>
                    <a:cubicBezTo>
                      <a:pt x="275" y="221"/>
                      <a:pt x="275" y="221"/>
                      <a:pt x="275" y="221"/>
                    </a:cubicBezTo>
                    <a:cubicBezTo>
                      <a:pt x="273" y="221"/>
                      <a:pt x="271" y="221"/>
                      <a:pt x="271" y="222"/>
                    </a:cubicBezTo>
                    <a:cubicBezTo>
                      <a:pt x="271" y="223"/>
                      <a:pt x="273" y="224"/>
                      <a:pt x="276" y="224"/>
                    </a:cubicBezTo>
                    <a:cubicBezTo>
                      <a:pt x="280" y="225"/>
                      <a:pt x="283" y="226"/>
                      <a:pt x="284" y="227"/>
                    </a:cubicBezTo>
                    <a:cubicBezTo>
                      <a:pt x="285" y="227"/>
                      <a:pt x="285" y="228"/>
                      <a:pt x="286" y="228"/>
                    </a:cubicBezTo>
                    <a:cubicBezTo>
                      <a:pt x="286" y="228"/>
                      <a:pt x="286" y="229"/>
                      <a:pt x="287" y="229"/>
                    </a:cubicBezTo>
                    <a:cubicBezTo>
                      <a:pt x="288" y="229"/>
                      <a:pt x="289" y="229"/>
                      <a:pt x="290" y="229"/>
                    </a:cubicBezTo>
                    <a:cubicBezTo>
                      <a:pt x="290" y="229"/>
                      <a:pt x="290" y="229"/>
                      <a:pt x="290" y="229"/>
                    </a:cubicBezTo>
                    <a:cubicBezTo>
                      <a:pt x="291" y="229"/>
                      <a:pt x="292" y="229"/>
                      <a:pt x="293" y="229"/>
                    </a:cubicBezTo>
                    <a:cubicBezTo>
                      <a:pt x="296" y="229"/>
                      <a:pt x="298" y="228"/>
                      <a:pt x="299" y="228"/>
                    </a:cubicBezTo>
                    <a:cubicBezTo>
                      <a:pt x="300" y="228"/>
                      <a:pt x="300" y="228"/>
                      <a:pt x="300" y="228"/>
                    </a:cubicBezTo>
                    <a:cubicBezTo>
                      <a:pt x="303" y="227"/>
                      <a:pt x="307" y="226"/>
                      <a:pt x="310" y="226"/>
                    </a:cubicBezTo>
                    <a:cubicBezTo>
                      <a:pt x="310" y="226"/>
                      <a:pt x="311" y="226"/>
                      <a:pt x="311" y="226"/>
                    </a:cubicBezTo>
                    <a:cubicBezTo>
                      <a:pt x="313" y="226"/>
                      <a:pt x="313" y="227"/>
                      <a:pt x="313" y="227"/>
                    </a:cubicBezTo>
                    <a:cubicBezTo>
                      <a:pt x="313" y="228"/>
                      <a:pt x="314" y="229"/>
                      <a:pt x="314" y="230"/>
                    </a:cubicBezTo>
                    <a:cubicBezTo>
                      <a:pt x="315" y="230"/>
                      <a:pt x="316" y="231"/>
                      <a:pt x="317" y="231"/>
                    </a:cubicBezTo>
                    <a:cubicBezTo>
                      <a:pt x="317" y="231"/>
                      <a:pt x="317" y="231"/>
                      <a:pt x="318" y="231"/>
                    </a:cubicBezTo>
                    <a:cubicBezTo>
                      <a:pt x="319" y="231"/>
                      <a:pt x="320" y="230"/>
                      <a:pt x="321" y="230"/>
                    </a:cubicBezTo>
                    <a:cubicBezTo>
                      <a:pt x="322" y="229"/>
                      <a:pt x="323" y="229"/>
                      <a:pt x="324" y="228"/>
                    </a:cubicBezTo>
                    <a:cubicBezTo>
                      <a:pt x="324" y="229"/>
                      <a:pt x="324" y="230"/>
                      <a:pt x="324" y="231"/>
                    </a:cubicBezTo>
                    <a:cubicBezTo>
                      <a:pt x="324" y="233"/>
                      <a:pt x="324" y="236"/>
                      <a:pt x="326" y="236"/>
                    </a:cubicBezTo>
                    <a:cubicBezTo>
                      <a:pt x="326" y="238"/>
                      <a:pt x="323" y="238"/>
                      <a:pt x="321" y="238"/>
                    </a:cubicBezTo>
                    <a:cubicBezTo>
                      <a:pt x="320" y="238"/>
                      <a:pt x="319" y="239"/>
                      <a:pt x="318" y="239"/>
                    </a:cubicBezTo>
                    <a:cubicBezTo>
                      <a:pt x="317" y="239"/>
                      <a:pt x="316" y="240"/>
                      <a:pt x="315" y="241"/>
                    </a:cubicBezTo>
                    <a:cubicBezTo>
                      <a:pt x="314" y="241"/>
                      <a:pt x="314" y="242"/>
                      <a:pt x="313" y="242"/>
                    </a:cubicBezTo>
                    <a:cubicBezTo>
                      <a:pt x="313" y="242"/>
                      <a:pt x="313" y="242"/>
                      <a:pt x="313" y="242"/>
                    </a:cubicBezTo>
                    <a:cubicBezTo>
                      <a:pt x="312" y="242"/>
                      <a:pt x="312" y="242"/>
                      <a:pt x="311" y="242"/>
                    </a:cubicBezTo>
                    <a:cubicBezTo>
                      <a:pt x="311" y="243"/>
                      <a:pt x="306" y="244"/>
                      <a:pt x="304" y="245"/>
                    </a:cubicBezTo>
                    <a:cubicBezTo>
                      <a:pt x="303" y="245"/>
                      <a:pt x="303" y="246"/>
                      <a:pt x="302" y="247"/>
                    </a:cubicBezTo>
                    <a:cubicBezTo>
                      <a:pt x="301" y="248"/>
                      <a:pt x="301" y="248"/>
                      <a:pt x="300" y="249"/>
                    </a:cubicBezTo>
                    <a:cubicBezTo>
                      <a:pt x="300" y="249"/>
                      <a:pt x="298" y="249"/>
                      <a:pt x="297" y="250"/>
                    </a:cubicBezTo>
                    <a:cubicBezTo>
                      <a:pt x="296" y="250"/>
                      <a:pt x="295" y="250"/>
                      <a:pt x="295" y="251"/>
                    </a:cubicBezTo>
                    <a:cubicBezTo>
                      <a:pt x="293" y="252"/>
                      <a:pt x="292" y="252"/>
                      <a:pt x="292" y="253"/>
                    </a:cubicBezTo>
                    <a:cubicBezTo>
                      <a:pt x="292" y="254"/>
                      <a:pt x="292" y="254"/>
                      <a:pt x="292" y="254"/>
                    </a:cubicBezTo>
                    <a:cubicBezTo>
                      <a:pt x="292" y="258"/>
                      <a:pt x="302" y="260"/>
                      <a:pt x="309" y="261"/>
                    </a:cubicBezTo>
                    <a:cubicBezTo>
                      <a:pt x="310" y="261"/>
                      <a:pt x="312" y="262"/>
                      <a:pt x="313" y="262"/>
                    </a:cubicBezTo>
                    <a:cubicBezTo>
                      <a:pt x="316" y="263"/>
                      <a:pt x="321" y="263"/>
                      <a:pt x="323" y="266"/>
                    </a:cubicBezTo>
                    <a:cubicBezTo>
                      <a:pt x="323" y="267"/>
                      <a:pt x="324" y="269"/>
                      <a:pt x="324" y="270"/>
                    </a:cubicBezTo>
                    <a:cubicBezTo>
                      <a:pt x="324" y="273"/>
                      <a:pt x="322" y="273"/>
                      <a:pt x="322" y="274"/>
                    </a:cubicBezTo>
                    <a:cubicBezTo>
                      <a:pt x="321" y="275"/>
                      <a:pt x="321" y="275"/>
                      <a:pt x="321" y="276"/>
                    </a:cubicBezTo>
                    <a:cubicBezTo>
                      <a:pt x="321" y="277"/>
                      <a:pt x="321" y="278"/>
                      <a:pt x="321" y="279"/>
                    </a:cubicBezTo>
                    <a:cubicBezTo>
                      <a:pt x="321" y="281"/>
                      <a:pt x="322" y="282"/>
                      <a:pt x="322" y="282"/>
                    </a:cubicBezTo>
                    <a:cubicBezTo>
                      <a:pt x="320" y="282"/>
                      <a:pt x="318" y="282"/>
                      <a:pt x="317" y="283"/>
                    </a:cubicBezTo>
                    <a:cubicBezTo>
                      <a:pt x="317" y="284"/>
                      <a:pt x="318" y="284"/>
                      <a:pt x="318" y="285"/>
                    </a:cubicBezTo>
                    <a:cubicBezTo>
                      <a:pt x="319" y="285"/>
                      <a:pt x="320" y="285"/>
                      <a:pt x="321" y="286"/>
                    </a:cubicBezTo>
                    <a:cubicBezTo>
                      <a:pt x="323" y="287"/>
                      <a:pt x="324" y="289"/>
                      <a:pt x="326" y="289"/>
                    </a:cubicBezTo>
                    <a:cubicBezTo>
                      <a:pt x="327" y="289"/>
                      <a:pt x="327" y="289"/>
                      <a:pt x="327" y="289"/>
                    </a:cubicBezTo>
                    <a:cubicBezTo>
                      <a:pt x="328" y="289"/>
                      <a:pt x="329" y="288"/>
                      <a:pt x="330" y="288"/>
                    </a:cubicBezTo>
                    <a:cubicBezTo>
                      <a:pt x="337" y="284"/>
                      <a:pt x="345" y="280"/>
                      <a:pt x="353" y="277"/>
                    </a:cubicBezTo>
                    <a:cubicBezTo>
                      <a:pt x="360" y="273"/>
                      <a:pt x="367" y="269"/>
                      <a:pt x="375" y="266"/>
                    </a:cubicBezTo>
                    <a:cubicBezTo>
                      <a:pt x="376" y="265"/>
                      <a:pt x="377" y="265"/>
                      <a:pt x="379" y="265"/>
                    </a:cubicBezTo>
                    <a:cubicBezTo>
                      <a:pt x="381" y="265"/>
                      <a:pt x="383" y="266"/>
                      <a:pt x="386" y="267"/>
                    </a:cubicBezTo>
                    <a:cubicBezTo>
                      <a:pt x="387" y="268"/>
                      <a:pt x="387" y="268"/>
                      <a:pt x="388" y="268"/>
                    </a:cubicBezTo>
                    <a:cubicBezTo>
                      <a:pt x="388" y="268"/>
                      <a:pt x="388" y="268"/>
                      <a:pt x="388" y="268"/>
                    </a:cubicBezTo>
                    <a:cubicBezTo>
                      <a:pt x="389" y="268"/>
                      <a:pt x="389" y="269"/>
                      <a:pt x="389" y="269"/>
                    </a:cubicBezTo>
                    <a:cubicBezTo>
                      <a:pt x="391" y="269"/>
                      <a:pt x="393" y="268"/>
                      <a:pt x="395" y="267"/>
                    </a:cubicBezTo>
                    <a:cubicBezTo>
                      <a:pt x="395" y="267"/>
                      <a:pt x="395" y="267"/>
                      <a:pt x="395" y="267"/>
                    </a:cubicBezTo>
                    <a:cubicBezTo>
                      <a:pt x="396" y="267"/>
                      <a:pt x="396" y="267"/>
                      <a:pt x="396" y="267"/>
                    </a:cubicBezTo>
                    <a:cubicBezTo>
                      <a:pt x="397" y="268"/>
                      <a:pt x="397" y="268"/>
                      <a:pt x="398" y="268"/>
                    </a:cubicBezTo>
                    <a:cubicBezTo>
                      <a:pt x="398" y="268"/>
                      <a:pt x="398" y="268"/>
                      <a:pt x="398" y="268"/>
                    </a:cubicBezTo>
                    <a:cubicBezTo>
                      <a:pt x="398" y="268"/>
                      <a:pt x="399" y="268"/>
                      <a:pt x="399" y="268"/>
                    </a:cubicBezTo>
                    <a:cubicBezTo>
                      <a:pt x="399" y="268"/>
                      <a:pt x="400" y="267"/>
                      <a:pt x="400" y="267"/>
                    </a:cubicBezTo>
                    <a:cubicBezTo>
                      <a:pt x="403" y="266"/>
                      <a:pt x="402" y="264"/>
                      <a:pt x="403" y="261"/>
                    </a:cubicBezTo>
                    <a:cubicBezTo>
                      <a:pt x="404" y="259"/>
                      <a:pt x="405" y="258"/>
                      <a:pt x="405" y="258"/>
                    </a:cubicBezTo>
                    <a:cubicBezTo>
                      <a:pt x="406" y="257"/>
                      <a:pt x="407" y="257"/>
                      <a:pt x="407" y="257"/>
                    </a:cubicBezTo>
                    <a:cubicBezTo>
                      <a:pt x="408" y="257"/>
                      <a:pt x="409" y="256"/>
                      <a:pt x="409" y="256"/>
                    </a:cubicBezTo>
                    <a:cubicBezTo>
                      <a:pt x="408" y="256"/>
                      <a:pt x="407" y="256"/>
                      <a:pt x="406" y="256"/>
                    </a:cubicBezTo>
                    <a:cubicBezTo>
                      <a:pt x="405" y="256"/>
                      <a:pt x="405" y="256"/>
                      <a:pt x="405" y="256"/>
                    </a:cubicBezTo>
                    <a:cubicBezTo>
                      <a:pt x="404" y="256"/>
                      <a:pt x="402" y="256"/>
                      <a:pt x="400" y="256"/>
                    </a:cubicBezTo>
                    <a:cubicBezTo>
                      <a:pt x="399" y="256"/>
                      <a:pt x="399" y="256"/>
                      <a:pt x="398" y="256"/>
                    </a:cubicBezTo>
                    <a:cubicBezTo>
                      <a:pt x="397" y="256"/>
                      <a:pt x="395" y="256"/>
                      <a:pt x="393" y="256"/>
                    </a:cubicBezTo>
                    <a:cubicBezTo>
                      <a:pt x="393" y="256"/>
                      <a:pt x="392" y="256"/>
                      <a:pt x="391" y="256"/>
                    </a:cubicBezTo>
                    <a:cubicBezTo>
                      <a:pt x="390" y="256"/>
                      <a:pt x="389" y="255"/>
                      <a:pt x="388" y="255"/>
                    </a:cubicBezTo>
                    <a:cubicBezTo>
                      <a:pt x="387" y="255"/>
                      <a:pt x="387" y="255"/>
                      <a:pt x="386" y="255"/>
                    </a:cubicBezTo>
                    <a:cubicBezTo>
                      <a:pt x="386" y="255"/>
                      <a:pt x="386" y="255"/>
                      <a:pt x="386" y="255"/>
                    </a:cubicBezTo>
                    <a:cubicBezTo>
                      <a:pt x="385" y="255"/>
                      <a:pt x="385" y="255"/>
                      <a:pt x="384" y="255"/>
                    </a:cubicBezTo>
                    <a:cubicBezTo>
                      <a:pt x="383" y="255"/>
                      <a:pt x="381" y="258"/>
                      <a:pt x="379" y="258"/>
                    </a:cubicBezTo>
                    <a:cubicBezTo>
                      <a:pt x="379" y="258"/>
                      <a:pt x="379" y="258"/>
                      <a:pt x="379" y="258"/>
                    </a:cubicBezTo>
                    <a:cubicBezTo>
                      <a:pt x="375" y="258"/>
                      <a:pt x="374" y="254"/>
                      <a:pt x="371" y="252"/>
                    </a:cubicBezTo>
                    <a:cubicBezTo>
                      <a:pt x="366" y="246"/>
                      <a:pt x="363" y="242"/>
                      <a:pt x="360" y="236"/>
                    </a:cubicBezTo>
                    <a:cubicBezTo>
                      <a:pt x="360" y="234"/>
                      <a:pt x="359" y="232"/>
                      <a:pt x="358" y="229"/>
                    </a:cubicBezTo>
                    <a:cubicBezTo>
                      <a:pt x="358" y="228"/>
                      <a:pt x="358" y="227"/>
                      <a:pt x="358" y="226"/>
                    </a:cubicBezTo>
                    <a:cubicBezTo>
                      <a:pt x="358" y="226"/>
                      <a:pt x="359" y="225"/>
                      <a:pt x="360" y="225"/>
                    </a:cubicBezTo>
                    <a:cubicBezTo>
                      <a:pt x="360" y="224"/>
                      <a:pt x="361" y="224"/>
                      <a:pt x="362" y="224"/>
                    </a:cubicBezTo>
                    <a:cubicBezTo>
                      <a:pt x="363" y="224"/>
                      <a:pt x="364" y="223"/>
                      <a:pt x="366" y="223"/>
                    </a:cubicBezTo>
                    <a:cubicBezTo>
                      <a:pt x="367" y="222"/>
                      <a:pt x="368" y="217"/>
                      <a:pt x="368" y="215"/>
                    </a:cubicBezTo>
                    <a:cubicBezTo>
                      <a:pt x="369" y="216"/>
                      <a:pt x="370" y="217"/>
                      <a:pt x="371" y="218"/>
                    </a:cubicBezTo>
                    <a:cubicBezTo>
                      <a:pt x="370" y="219"/>
                      <a:pt x="370" y="219"/>
                      <a:pt x="372" y="220"/>
                    </a:cubicBezTo>
                    <a:cubicBezTo>
                      <a:pt x="375" y="221"/>
                      <a:pt x="364" y="229"/>
                      <a:pt x="363" y="229"/>
                    </a:cubicBezTo>
                    <a:cubicBezTo>
                      <a:pt x="367" y="226"/>
                      <a:pt x="372" y="223"/>
                      <a:pt x="376" y="220"/>
                    </a:cubicBezTo>
                    <a:cubicBezTo>
                      <a:pt x="376" y="219"/>
                      <a:pt x="377" y="218"/>
                      <a:pt x="378" y="217"/>
                    </a:cubicBezTo>
                    <a:cubicBezTo>
                      <a:pt x="379" y="216"/>
                      <a:pt x="380" y="215"/>
                      <a:pt x="381" y="215"/>
                    </a:cubicBezTo>
                    <a:cubicBezTo>
                      <a:pt x="383" y="213"/>
                      <a:pt x="384" y="212"/>
                      <a:pt x="386" y="211"/>
                    </a:cubicBezTo>
                    <a:cubicBezTo>
                      <a:pt x="387" y="211"/>
                      <a:pt x="387" y="210"/>
                      <a:pt x="387" y="210"/>
                    </a:cubicBezTo>
                    <a:cubicBezTo>
                      <a:pt x="389" y="210"/>
                      <a:pt x="390" y="210"/>
                      <a:pt x="391" y="210"/>
                    </a:cubicBezTo>
                    <a:cubicBezTo>
                      <a:pt x="392" y="209"/>
                      <a:pt x="393" y="210"/>
                      <a:pt x="394" y="209"/>
                    </a:cubicBezTo>
                    <a:cubicBezTo>
                      <a:pt x="397" y="209"/>
                      <a:pt x="399" y="208"/>
                      <a:pt x="402" y="207"/>
                    </a:cubicBezTo>
                    <a:cubicBezTo>
                      <a:pt x="404" y="206"/>
                      <a:pt x="405" y="206"/>
                      <a:pt x="406" y="206"/>
                    </a:cubicBezTo>
                    <a:cubicBezTo>
                      <a:pt x="407" y="205"/>
                      <a:pt x="408" y="205"/>
                      <a:pt x="409" y="205"/>
                    </a:cubicBezTo>
                    <a:cubicBezTo>
                      <a:pt x="409" y="205"/>
                      <a:pt x="410" y="205"/>
                      <a:pt x="410" y="205"/>
                    </a:cubicBezTo>
                    <a:cubicBezTo>
                      <a:pt x="411" y="206"/>
                      <a:pt x="412" y="206"/>
                      <a:pt x="412" y="206"/>
                    </a:cubicBezTo>
                    <a:cubicBezTo>
                      <a:pt x="413" y="206"/>
                      <a:pt x="413" y="206"/>
                      <a:pt x="413" y="207"/>
                    </a:cubicBezTo>
                    <a:cubicBezTo>
                      <a:pt x="414" y="207"/>
                      <a:pt x="413" y="208"/>
                      <a:pt x="414" y="210"/>
                    </a:cubicBezTo>
                    <a:cubicBezTo>
                      <a:pt x="415" y="208"/>
                      <a:pt x="417" y="206"/>
                      <a:pt x="419" y="203"/>
                    </a:cubicBezTo>
                    <a:cubicBezTo>
                      <a:pt x="420" y="203"/>
                      <a:pt x="421" y="202"/>
                      <a:pt x="422" y="202"/>
                    </a:cubicBezTo>
                    <a:cubicBezTo>
                      <a:pt x="424" y="201"/>
                      <a:pt x="426" y="202"/>
                      <a:pt x="428" y="201"/>
                    </a:cubicBezTo>
                    <a:cubicBezTo>
                      <a:pt x="429" y="201"/>
                      <a:pt x="430" y="200"/>
                      <a:pt x="431" y="199"/>
                    </a:cubicBezTo>
                    <a:cubicBezTo>
                      <a:pt x="434" y="196"/>
                      <a:pt x="435" y="195"/>
                      <a:pt x="438" y="194"/>
                    </a:cubicBezTo>
                    <a:cubicBezTo>
                      <a:pt x="440" y="194"/>
                      <a:pt x="442" y="193"/>
                      <a:pt x="445" y="193"/>
                    </a:cubicBezTo>
                    <a:cubicBezTo>
                      <a:pt x="445" y="193"/>
                      <a:pt x="445" y="193"/>
                      <a:pt x="445" y="193"/>
                    </a:cubicBezTo>
                    <a:cubicBezTo>
                      <a:pt x="446" y="193"/>
                      <a:pt x="446" y="193"/>
                      <a:pt x="447" y="193"/>
                    </a:cubicBezTo>
                    <a:cubicBezTo>
                      <a:pt x="447" y="193"/>
                      <a:pt x="447" y="193"/>
                      <a:pt x="448" y="193"/>
                    </a:cubicBezTo>
                    <a:cubicBezTo>
                      <a:pt x="449" y="193"/>
                      <a:pt x="450" y="193"/>
                      <a:pt x="451" y="193"/>
                    </a:cubicBezTo>
                    <a:cubicBezTo>
                      <a:pt x="451" y="193"/>
                      <a:pt x="451" y="193"/>
                      <a:pt x="451" y="193"/>
                    </a:cubicBezTo>
                    <a:cubicBezTo>
                      <a:pt x="452" y="193"/>
                      <a:pt x="453" y="193"/>
                      <a:pt x="454" y="193"/>
                    </a:cubicBezTo>
                    <a:cubicBezTo>
                      <a:pt x="455" y="193"/>
                      <a:pt x="455" y="193"/>
                      <a:pt x="455" y="193"/>
                    </a:cubicBezTo>
                    <a:cubicBezTo>
                      <a:pt x="455" y="193"/>
                      <a:pt x="455" y="193"/>
                      <a:pt x="455" y="193"/>
                    </a:cubicBezTo>
                    <a:cubicBezTo>
                      <a:pt x="453" y="192"/>
                      <a:pt x="453" y="192"/>
                      <a:pt x="453" y="192"/>
                    </a:cubicBezTo>
                    <a:cubicBezTo>
                      <a:pt x="453" y="192"/>
                      <a:pt x="453" y="190"/>
                      <a:pt x="453" y="188"/>
                    </a:cubicBezTo>
                    <a:cubicBezTo>
                      <a:pt x="453" y="187"/>
                      <a:pt x="453" y="185"/>
                      <a:pt x="453" y="182"/>
                    </a:cubicBezTo>
                    <a:cubicBezTo>
                      <a:pt x="454" y="176"/>
                      <a:pt x="458" y="171"/>
                      <a:pt x="465" y="170"/>
                    </a:cubicBezTo>
                    <a:cubicBezTo>
                      <a:pt x="469" y="169"/>
                      <a:pt x="472" y="167"/>
                      <a:pt x="474" y="165"/>
                    </a:cubicBezTo>
                    <a:cubicBezTo>
                      <a:pt x="476" y="164"/>
                      <a:pt x="478" y="163"/>
                      <a:pt x="481" y="163"/>
                    </a:cubicBezTo>
                    <a:cubicBezTo>
                      <a:pt x="484" y="163"/>
                      <a:pt x="487" y="164"/>
                      <a:pt x="492" y="165"/>
                    </a:cubicBezTo>
                    <a:cubicBezTo>
                      <a:pt x="493" y="165"/>
                      <a:pt x="493" y="165"/>
                      <a:pt x="494" y="165"/>
                    </a:cubicBezTo>
                    <a:cubicBezTo>
                      <a:pt x="496" y="165"/>
                      <a:pt x="496" y="164"/>
                      <a:pt x="496" y="164"/>
                    </a:cubicBezTo>
                    <a:cubicBezTo>
                      <a:pt x="496" y="164"/>
                      <a:pt x="496" y="164"/>
                      <a:pt x="496" y="164"/>
                    </a:cubicBezTo>
                    <a:cubicBezTo>
                      <a:pt x="496" y="163"/>
                      <a:pt x="496" y="163"/>
                      <a:pt x="496" y="163"/>
                    </a:cubicBezTo>
                    <a:cubicBezTo>
                      <a:pt x="497" y="162"/>
                      <a:pt x="500" y="154"/>
                      <a:pt x="502" y="152"/>
                    </a:cubicBezTo>
                    <a:cubicBezTo>
                      <a:pt x="502" y="151"/>
                      <a:pt x="503" y="150"/>
                      <a:pt x="500" y="145"/>
                    </a:cubicBezTo>
                    <a:cubicBezTo>
                      <a:pt x="499" y="143"/>
                      <a:pt x="498" y="142"/>
                      <a:pt x="496" y="142"/>
                    </a:cubicBezTo>
                    <a:cubicBezTo>
                      <a:pt x="495" y="142"/>
                      <a:pt x="495" y="142"/>
                      <a:pt x="495" y="142"/>
                    </a:cubicBezTo>
                    <a:cubicBezTo>
                      <a:pt x="494" y="141"/>
                      <a:pt x="494" y="141"/>
                      <a:pt x="494" y="141"/>
                    </a:cubicBezTo>
                    <a:cubicBezTo>
                      <a:pt x="493" y="140"/>
                      <a:pt x="493" y="138"/>
                      <a:pt x="493" y="136"/>
                    </a:cubicBezTo>
                    <a:cubicBezTo>
                      <a:pt x="494" y="134"/>
                      <a:pt x="496" y="132"/>
                      <a:pt x="499" y="130"/>
                    </a:cubicBezTo>
                    <a:cubicBezTo>
                      <a:pt x="497" y="130"/>
                      <a:pt x="497" y="129"/>
                      <a:pt x="496" y="128"/>
                    </a:cubicBezTo>
                    <a:cubicBezTo>
                      <a:pt x="495" y="127"/>
                      <a:pt x="495" y="127"/>
                      <a:pt x="495" y="127"/>
                    </a:cubicBezTo>
                    <a:cubicBezTo>
                      <a:pt x="492" y="125"/>
                      <a:pt x="492" y="125"/>
                      <a:pt x="492" y="125"/>
                    </a:cubicBezTo>
                    <a:cubicBezTo>
                      <a:pt x="495" y="123"/>
                      <a:pt x="495" y="123"/>
                      <a:pt x="495" y="123"/>
                    </a:cubicBezTo>
                    <a:cubicBezTo>
                      <a:pt x="500" y="120"/>
                      <a:pt x="506" y="115"/>
                      <a:pt x="506" y="114"/>
                    </a:cubicBezTo>
                    <a:cubicBezTo>
                      <a:pt x="506" y="114"/>
                      <a:pt x="506" y="114"/>
                      <a:pt x="506" y="114"/>
                    </a:cubicBezTo>
                    <a:cubicBezTo>
                      <a:pt x="507" y="112"/>
                      <a:pt x="508" y="109"/>
                      <a:pt x="507" y="105"/>
                    </a:cubicBezTo>
                    <a:cubicBezTo>
                      <a:pt x="505" y="106"/>
                      <a:pt x="503" y="106"/>
                      <a:pt x="501" y="106"/>
                    </a:cubicBezTo>
                    <a:cubicBezTo>
                      <a:pt x="496" y="106"/>
                      <a:pt x="492" y="102"/>
                      <a:pt x="489" y="99"/>
                    </a:cubicBezTo>
                    <a:cubicBezTo>
                      <a:pt x="489" y="99"/>
                      <a:pt x="488" y="98"/>
                      <a:pt x="487" y="97"/>
                    </a:cubicBezTo>
                    <a:cubicBezTo>
                      <a:pt x="485" y="95"/>
                      <a:pt x="483" y="94"/>
                      <a:pt x="482" y="94"/>
                    </a:cubicBezTo>
                    <a:cubicBezTo>
                      <a:pt x="481" y="94"/>
                      <a:pt x="480" y="95"/>
                      <a:pt x="479" y="95"/>
                    </a:cubicBezTo>
                    <a:cubicBezTo>
                      <a:pt x="478" y="96"/>
                      <a:pt x="477" y="96"/>
                      <a:pt x="476" y="96"/>
                    </a:cubicBezTo>
                    <a:cubicBezTo>
                      <a:pt x="476" y="96"/>
                      <a:pt x="476" y="96"/>
                      <a:pt x="476" y="96"/>
                    </a:cubicBezTo>
                    <a:cubicBezTo>
                      <a:pt x="475" y="96"/>
                      <a:pt x="475" y="96"/>
                      <a:pt x="475" y="96"/>
                    </a:cubicBezTo>
                    <a:cubicBezTo>
                      <a:pt x="474" y="96"/>
                      <a:pt x="474" y="96"/>
                      <a:pt x="474" y="96"/>
                    </a:cubicBezTo>
                    <a:cubicBezTo>
                      <a:pt x="472" y="96"/>
                      <a:pt x="470" y="94"/>
                      <a:pt x="469" y="93"/>
                    </a:cubicBezTo>
                    <a:cubicBezTo>
                      <a:pt x="469" y="92"/>
                      <a:pt x="467" y="89"/>
                      <a:pt x="464" y="89"/>
                    </a:cubicBezTo>
                    <a:cubicBezTo>
                      <a:pt x="462" y="89"/>
                      <a:pt x="460" y="88"/>
                      <a:pt x="459" y="87"/>
                    </a:cubicBezTo>
                    <a:cubicBezTo>
                      <a:pt x="458" y="87"/>
                      <a:pt x="457" y="87"/>
                      <a:pt x="457" y="87"/>
                    </a:cubicBezTo>
                    <a:cubicBezTo>
                      <a:pt x="457" y="87"/>
                      <a:pt x="457" y="87"/>
                      <a:pt x="457" y="87"/>
                    </a:cubicBezTo>
                    <a:cubicBezTo>
                      <a:pt x="456" y="87"/>
                      <a:pt x="453" y="90"/>
                      <a:pt x="450" y="92"/>
                    </a:cubicBezTo>
                    <a:cubicBezTo>
                      <a:pt x="449" y="94"/>
                      <a:pt x="449" y="94"/>
                      <a:pt x="449" y="94"/>
                    </a:cubicBezTo>
                    <a:cubicBezTo>
                      <a:pt x="447" y="92"/>
                      <a:pt x="447" y="92"/>
                      <a:pt x="447" y="92"/>
                    </a:cubicBezTo>
                    <a:cubicBezTo>
                      <a:pt x="447" y="92"/>
                      <a:pt x="440" y="81"/>
                      <a:pt x="436" y="77"/>
                    </a:cubicBezTo>
                    <a:cubicBezTo>
                      <a:pt x="434" y="74"/>
                      <a:pt x="433" y="74"/>
                      <a:pt x="432" y="73"/>
                    </a:cubicBezTo>
                    <a:cubicBezTo>
                      <a:pt x="430" y="74"/>
                      <a:pt x="424" y="76"/>
                      <a:pt x="419" y="78"/>
                    </a:cubicBezTo>
                    <a:cubicBezTo>
                      <a:pt x="416" y="79"/>
                      <a:pt x="413" y="79"/>
                      <a:pt x="410" y="79"/>
                    </a:cubicBezTo>
                    <a:cubicBezTo>
                      <a:pt x="406" y="79"/>
                      <a:pt x="401" y="78"/>
                      <a:pt x="399" y="76"/>
                    </a:cubicBezTo>
                    <a:cubicBezTo>
                      <a:pt x="397" y="75"/>
                      <a:pt x="395" y="74"/>
                      <a:pt x="393" y="74"/>
                    </a:cubicBezTo>
                    <a:cubicBezTo>
                      <a:pt x="391" y="74"/>
                      <a:pt x="390" y="74"/>
                      <a:pt x="389" y="75"/>
                    </a:cubicBezTo>
                    <a:cubicBezTo>
                      <a:pt x="387" y="76"/>
                      <a:pt x="386" y="76"/>
                      <a:pt x="384" y="76"/>
                    </a:cubicBezTo>
                    <a:cubicBezTo>
                      <a:pt x="382" y="76"/>
                      <a:pt x="380" y="75"/>
                      <a:pt x="378" y="74"/>
                    </a:cubicBezTo>
                    <a:cubicBezTo>
                      <a:pt x="376" y="72"/>
                      <a:pt x="373" y="69"/>
                      <a:pt x="374" y="66"/>
                    </a:cubicBezTo>
                    <a:cubicBezTo>
                      <a:pt x="374" y="65"/>
                      <a:pt x="373" y="61"/>
                      <a:pt x="371" y="57"/>
                    </a:cubicBezTo>
                    <a:cubicBezTo>
                      <a:pt x="369" y="54"/>
                      <a:pt x="370" y="52"/>
                      <a:pt x="370" y="50"/>
                    </a:cubicBezTo>
                    <a:cubicBezTo>
                      <a:pt x="369" y="49"/>
                      <a:pt x="368" y="48"/>
                      <a:pt x="366" y="47"/>
                    </a:cubicBezTo>
                    <a:cubicBezTo>
                      <a:pt x="363" y="45"/>
                      <a:pt x="362" y="45"/>
                      <a:pt x="361" y="45"/>
                    </a:cubicBezTo>
                    <a:cubicBezTo>
                      <a:pt x="361" y="45"/>
                      <a:pt x="361" y="45"/>
                      <a:pt x="360" y="45"/>
                    </a:cubicBezTo>
                    <a:cubicBezTo>
                      <a:pt x="359" y="45"/>
                      <a:pt x="358" y="46"/>
                      <a:pt x="356" y="46"/>
                    </a:cubicBezTo>
                    <a:cubicBezTo>
                      <a:pt x="354" y="46"/>
                      <a:pt x="352" y="45"/>
                      <a:pt x="350" y="44"/>
                    </a:cubicBezTo>
                    <a:cubicBezTo>
                      <a:pt x="349" y="43"/>
                      <a:pt x="348" y="43"/>
                      <a:pt x="347" y="43"/>
                    </a:cubicBezTo>
                    <a:cubicBezTo>
                      <a:pt x="346" y="43"/>
                      <a:pt x="345" y="43"/>
                      <a:pt x="343" y="43"/>
                    </a:cubicBezTo>
                    <a:cubicBezTo>
                      <a:pt x="343" y="43"/>
                      <a:pt x="343" y="43"/>
                      <a:pt x="342" y="43"/>
                    </a:cubicBezTo>
                    <a:cubicBezTo>
                      <a:pt x="341" y="43"/>
                      <a:pt x="340" y="43"/>
                      <a:pt x="340" y="42"/>
                    </a:cubicBezTo>
                    <a:cubicBezTo>
                      <a:pt x="338" y="41"/>
                      <a:pt x="338" y="38"/>
                      <a:pt x="339" y="34"/>
                    </a:cubicBezTo>
                    <a:cubicBezTo>
                      <a:pt x="339" y="32"/>
                      <a:pt x="338" y="28"/>
                      <a:pt x="336" y="27"/>
                    </a:cubicBezTo>
                    <a:cubicBezTo>
                      <a:pt x="334" y="26"/>
                      <a:pt x="334" y="26"/>
                      <a:pt x="334" y="26"/>
                    </a:cubicBezTo>
                    <a:cubicBezTo>
                      <a:pt x="335" y="24"/>
                      <a:pt x="335" y="24"/>
                      <a:pt x="335" y="24"/>
                    </a:cubicBezTo>
                    <a:cubicBezTo>
                      <a:pt x="336" y="24"/>
                      <a:pt x="336" y="22"/>
                      <a:pt x="343" y="20"/>
                    </a:cubicBezTo>
                    <a:cubicBezTo>
                      <a:pt x="342" y="19"/>
                      <a:pt x="341" y="18"/>
                      <a:pt x="340" y="18"/>
                    </a:cubicBezTo>
                    <a:cubicBezTo>
                      <a:pt x="336" y="16"/>
                      <a:pt x="334" y="12"/>
                      <a:pt x="335" y="8"/>
                    </a:cubicBezTo>
                    <a:cubicBezTo>
                      <a:pt x="335" y="8"/>
                      <a:pt x="335" y="6"/>
                      <a:pt x="328" y="1"/>
                    </a:cubicBezTo>
                    <a:cubicBezTo>
                      <a:pt x="328" y="0"/>
                      <a:pt x="328" y="0"/>
                      <a:pt x="328" y="0"/>
                    </a:cubicBezTo>
                    <a:cubicBezTo>
                      <a:pt x="328" y="0"/>
                      <a:pt x="327" y="0"/>
                      <a:pt x="3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9" name="Group 723"/>
            <p:cNvGrpSpPr>
              <a:grpSpLocks noChangeAspect="1"/>
            </p:cNvGrpSpPr>
            <p:nvPr/>
          </p:nvGrpSpPr>
          <p:grpSpPr>
            <a:xfrm>
              <a:off x="5156200" y="-232098"/>
              <a:ext cx="2459038" cy="1411288"/>
              <a:chOff x="3248" y="-337"/>
              <a:chExt cx="1549" cy="889"/>
            </a:xfrm>
            <a:grpFill/>
          </p:grpSpPr>
          <p:sp>
            <p:nvSpPr>
              <p:cNvPr id="380" name="Freeform 724"/>
              <p:cNvSpPr/>
              <p:nvPr/>
            </p:nvSpPr>
            <p:spPr bwMode="auto">
              <a:xfrm>
                <a:off x="4297" y="-82"/>
                <a:ext cx="54" cy="31"/>
              </a:xfrm>
              <a:custGeom>
                <a:gdLst>
                  <a:gd name="T0" fmla="*/ 10 w 23"/>
                  <a:gd name="T1" fmla="*/ 2 h 13"/>
                  <a:gd name="T2" fmla="*/ 15 w 23"/>
                  <a:gd name="T3" fmla="*/ 13 h 13"/>
                  <a:gd name="T4" fmla="*/ 21 w 23"/>
                  <a:gd name="T5" fmla="*/ 12 h 13"/>
                  <a:gd name="T6" fmla="*/ 23 w 23"/>
                  <a:gd name="T7" fmla="*/ 9 h 13"/>
                  <a:gd name="T8" fmla="*/ 14 w 23"/>
                  <a:gd name="T9" fmla="*/ 5 h 13"/>
                  <a:gd name="T10" fmla="*/ 10 w 23"/>
                  <a:gd name="T11" fmla="*/ 2 h 13"/>
                </a:gdLst>
                <a:cxnLst>
                  <a:cxn ang="0">
                    <a:pos x="T0" y="T1"/>
                  </a:cxn>
                  <a:cxn ang="0">
                    <a:pos x="T2" y="T3"/>
                  </a:cxn>
                  <a:cxn ang="0">
                    <a:pos x="T4" y="T5"/>
                  </a:cxn>
                  <a:cxn ang="0">
                    <a:pos x="T6" y="T7"/>
                  </a:cxn>
                  <a:cxn ang="0">
                    <a:pos x="T8" y="T9"/>
                  </a:cxn>
                  <a:cxn ang="0">
                    <a:pos x="T10" y="T11"/>
                  </a:cxn>
                </a:cxnLst>
                <a:rect l="0" t="0" r="r" b="b"/>
                <a:pathLst>
                  <a:path w="23" h="13">
                    <a:moveTo>
                      <a:pt x="10" y="2"/>
                    </a:moveTo>
                    <a:cubicBezTo>
                      <a:pt x="0" y="0"/>
                      <a:pt x="13" y="12"/>
                      <a:pt x="15" y="13"/>
                    </a:cubicBezTo>
                    <a:cubicBezTo>
                      <a:pt x="17" y="13"/>
                      <a:pt x="19" y="13"/>
                      <a:pt x="21" y="12"/>
                    </a:cubicBezTo>
                    <a:cubicBezTo>
                      <a:pt x="22" y="11"/>
                      <a:pt x="21" y="10"/>
                      <a:pt x="23" y="9"/>
                    </a:cubicBezTo>
                    <a:cubicBezTo>
                      <a:pt x="20" y="8"/>
                      <a:pt x="17" y="7"/>
                      <a:pt x="14" y="5"/>
                    </a:cubicBezTo>
                    <a:cubicBezTo>
                      <a:pt x="13" y="4"/>
                      <a:pt x="12"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725"/>
              <p:cNvSpPr/>
              <p:nvPr/>
            </p:nvSpPr>
            <p:spPr bwMode="auto">
              <a:xfrm>
                <a:off x="3789" y="530"/>
                <a:ext cx="38" cy="22"/>
              </a:xfrm>
              <a:custGeom>
                <a:gdLst>
                  <a:gd name="T0" fmla="*/ 10 w 16"/>
                  <a:gd name="T1" fmla="*/ 9 h 9"/>
                  <a:gd name="T2" fmla="*/ 16 w 16"/>
                  <a:gd name="T3" fmla="*/ 4 h 9"/>
                  <a:gd name="T4" fmla="*/ 10 w 16"/>
                  <a:gd name="T5" fmla="*/ 0 h 9"/>
                  <a:gd name="T6" fmla="*/ 4 w 16"/>
                  <a:gd name="T7" fmla="*/ 0 h 9"/>
                  <a:gd name="T8" fmla="*/ 10 w 16"/>
                  <a:gd name="T9" fmla="*/ 9 h 9"/>
                </a:gdLst>
                <a:cxnLst>
                  <a:cxn ang="0">
                    <a:pos x="T0" y="T1"/>
                  </a:cxn>
                  <a:cxn ang="0">
                    <a:pos x="T2" y="T3"/>
                  </a:cxn>
                  <a:cxn ang="0">
                    <a:pos x="T4" y="T5"/>
                  </a:cxn>
                  <a:cxn ang="0">
                    <a:pos x="T6" y="T7"/>
                  </a:cxn>
                  <a:cxn ang="0">
                    <a:pos x="T8" y="T9"/>
                  </a:cxn>
                </a:cxnLst>
                <a:rect l="0" t="0" r="r" b="b"/>
                <a:pathLst>
                  <a:path w="16" h="9">
                    <a:moveTo>
                      <a:pt x="10" y="9"/>
                    </a:moveTo>
                    <a:cubicBezTo>
                      <a:pt x="12" y="9"/>
                      <a:pt x="16" y="6"/>
                      <a:pt x="16" y="4"/>
                    </a:cubicBezTo>
                    <a:cubicBezTo>
                      <a:pt x="16" y="0"/>
                      <a:pt x="12" y="0"/>
                      <a:pt x="10" y="0"/>
                    </a:cubicBezTo>
                    <a:cubicBezTo>
                      <a:pt x="8" y="0"/>
                      <a:pt x="6" y="0"/>
                      <a:pt x="4" y="0"/>
                    </a:cubicBezTo>
                    <a:cubicBezTo>
                      <a:pt x="0" y="1"/>
                      <a:pt x="9" y="8"/>
                      <a:pt x="1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726"/>
              <p:cNvSpPr/>
              <p:nvPr/>
            </p:nvSpPr>
            <p:spPr bwMode="auto">
              <a:xfrm>
                <a:off x="3248" y="-263"/>
                <a:ext cx="733" cy="512"/>
              </a:xfrm>
              <a:custGeom>
                <a:gdLst>
                  <a:gd name="T0" fmla="*/ 27 w 309"/>
                  <a:gd name="T1" fmla="*/ 47 h 215"/>
                  <a:gd name="T2" fmla="*/ 34 w 309"/>
                  <a:gd name="T3" fmla="*/ 57 h 215"/>
                  <a:gd name="T4" fmla="*/ 32 w 309"/>
                  <a:gd name="T5" fmla="*/ 69 h 215"/>
                  <a:gd name="T6" fmla="*/ 22 w 309"/>
                  <a:gd name="T7" fmla="*/ 82 h 215"/>
                  <a:gd name="T8" fmla="*/ 65 w 309"/>
                  <a:gd name="T9" fmla="*/ 95 h 215"/>
                  <a:gd name="T10" fmla="*/ 83 w 309"/>
                  <a:gd name="T11" fmla="*/ 116 h 215"/>
                  <a:gd name="T12" fmla="*/ 98 w 309"/>
                  <a:gd name="T13" fmla="*/ 110 h 215"/>
                  <a:gd name="T14" fmla="*/ 103 w 309"/>
                  <a:gd name="T15" fmla="*/ 99 h 215"/>
                  <a:gd name="T16" fmla="*/ 118 w 309"/>
                  <a:gd name="T17" fmla="*/ 91 h 215"/>
                  <a:gd name="T18" fmla="*/ 130 w 309"/>
                  <a:gd name="T19" fmla="*/ 76 h 215"/>
                  <a:gd name="T20" fmla="*/ 150 w 309"/>
                  <a:gd name="T21" fmla="*/ 98 h 215"/>
                  <a:gd name="T22" fmla="*/ 162 w 309"/>
                  <a:gd name="T23" fmla="*/ 87 h 215"/>
                  <a:gd name="T24" fmla="*/ 166 w 309"/>
                  <a:gd name="T25" fmla="*/ 102 h 215"/>
                  <a:gd name="T26" fmla="*/ 138 w 309"/>
                  <a:gd name="T27" fmla="*/ 115 h 215"/>
                  <a:gd name="T28" fmla="*/ 83 w 309"/>
                  <a:gd name="T29" fmla="*/ 124 h 215"/>
                  <a:gd name="T30" fmla="*/ 93 w 309"/>
                  <a:gd name="T31" fmla="*/ 143 h 215"/>
                  <a:gd name="T32" fmla="*/ 128 w 309"/>
                  <a:gd name="T33" fmla="*/ 138 h 215"/>
                  <a:gd name="T34" fmla="*/ 167 w 309"/>
                  <a:gd name="T35" fmla="*/ 137 h 215"/>
                  <a:gd name="T36" fmla="*/ 181 w 309"/>
                  <a:gd name="T37" fmla="*/ 141 h 215"/>
                  <a:gd name="T38" fmla="*/ 129 w 309"/>
                  <a:gd name="T39" fmla="*/ 145 h 215"/>
                  <a:gd name="T40" fmla="*/ 157 w 309"/>
                  <a:gd name="T41" fmla="*/ 160 h 215"/>
                  <a:gd name="T42" fmla="*/ 128 w 309"/>
                  <a:gd name="T43" fmla="*/ 156 h 215"/>
                  <a:gd name="T44" fmla="*/ 106 w 309"/>
                  <a:gd name="T45" fmla="*/ 157 h 215"/>
                  <a:gd name="T46" fmla="*/ 111 w 309"/>
                  <a:gd name="T47" fmla="*/ 179 h 215"/>
                  <a:gd name="T48" fmla="*/ 145 w 309"/>
                  <a:gd name="T49" fmla="*/ 185 h 215"/>
                  <a:gd name="T50" fmla="*/ 158 w 309"/>
                  <a:gd name="T51" fmla="*/ 190 h 215"/>
                  <a:gd name="T52" fmla="*/ 150 w 309"/>
                  <a:gd name="T53" fmla="*/ 203 h 215"/>
                  <a:gd name="T54" fmla="*/ 179 w 309"/>
                  <a:gd name="T55" fmla="*/ 212 h 215"/>
                  <a:gd name="T56" fmla="*/ 180 w 309"/>
                  <a:gd name="T57" fmla="*/ 197 h 215"/>
                  <a:gd name="T58" fmla="*/ 192 w 309"/>
                  <a:gd name="T59" fmla="*/ 175 h 215"/>
                  <a:gd name="T60" fmla="*/ 214 w 309"/>
                  <a:gd name="T61" fmla="*/ 159 h 215"/>
                  <a:gd name="T62" fmla="*/ 238 w 309"/>
                  <a:gd name="T63" fmla="*/ 118 h 215"/>
                  <a:gd name="T64" fmla="*/ 248 w 309"/>
                  <a:gd name="T65" fmla="*/ 97 h 215"/>
                  <a:gd name="T66" fmla="*/ 268 w 309"/>
                  <a:gd name="T67" fmla="*/ 89 h 215"/>
                  <a:gd name="T68" fmla="*/ 288 w 309"/>
                  <a:gd name="T69" fmla="*/ 86 h 215"/>
                  <a:gd name="T70" fmla="*/ 305 w 309"/>
                  <a:gd name="T71" fmla="*/ 84 h 215"/>
                  <a:gd name="T72" fmla="*/ 263 w 309"/>
                  <a:gd name="T73" fmla="*/ 65 h 215"/>
                  <a:gd name="T74" fmla="*/ 236 w 309"/>
                  <a:gd name="T75" fmla="*/ 56 h 215"/>
                  <a:gd name="T76" fmla="*/ 221 w 309"/>
                  <a:gd name="T77" fmla="*/ 31 h 215"/>
                  <a:gd name="T78" fmla="*/ 200 w 309"/>
                  <a:gd name="T79" fmla="*/ 38 h 215"/>
                  <a:gd name="T80" fmla="*/ 180 w 309"/>
                  <a:gd name="T81" fmla="*/ 12 h 215"/>
                  <a:gd name="T82" fmla="*/ 158 w 309"/>
                  <a:gd name="T83" fmla="*/ 3 h 215"/>
                  <a:gd name="T84" fmla="*/ 148 w 309"/>
                  <a:gd name="T85" fmla="*/ 22 h 215"/>
                  <a:gd name="T86" fmla="*/ 161 w 309"/>
                  <a:gd name="T87" fmla="*/ 51 h 215"/>
                  <a:gd name="T88" fmla="*/ 161 w 309"/>
                  <a:gd name="T89" fmla="*/ 66 h 215"/>
                  <a:gd name="T90" fmla="*/ 148 w 309"/>
                  <a:gd name="T91" fmla="*/ 54 h 215"/>
                  <a:gd name="T92" fmla="*/ 138 w 309"/>
                  <a:gd name="T93" fmla="*/ 36 h 215"/>
                  <a:gd name="T94" fmla="*/ 117 w 309"/>
                  <a:gd name="T95" fmla="*/ 15 h 215"/>
                  <a:gd name="T96" fmla="*/ 100 w 309"/>
                  <a:gd name="T97" fmla="*/ 41 h 215"/>
                  <a:gd name="T98" fmla="*/ 86 w 309"/>
                  <a:gd name="T99" fmla="*/ 35 h 215"/>
                  <a:gd name="T100" fmla="*/ 52 w 309"/>
                  <a:gd name="T101" fmla="*/ 30 h 215"/>
                  <a:gd name="T102" fmla="*/ 96 w 309"/>
                  <a:gd name="T103" fmla="*/ 17 h 215"/>
                  <a:gd name="T104" fmla="*/ 53 w 309"/>
                  <a:gd name="T105" fmla="*/ 18 h 215"/>
                  <a:gd name="T106" fmla="*/ 41 w 309"/>
                  <a:gd name="T107" fmla="*/ 23 h 215"/>
                  <a:gd name="T108" fmla="*/ 16 w 309"/>
                  <a:gd name="T109" fmla="*/ 17 h 215"/>
                  <a:gd name="T110" fmla="*/ 12 w 309"/>
                  <a:gd name="T111" fmla="*/ 30 h 2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9" h="215">
                    <a:moveTo>
                      <a:pt x="15" y="53"/>
                    </a:moveTo>
                    <a:cubicBezTo>
                      <a:pt x="16" y="56"/>
                      <a:pt x="14" y="58"/>
                      <a:pt x="18" y="59"/>
                    </a:cubicBezTo>
                    <a:cubicBezTo>
                      <a:pt x="21" y="60"/>
                      <a:pt x="31" y="57"/>
                      <a:pt x="30" y="53"/>
                    </a:cubicBezTo>
                    <a:cubicBezTo>
                      <a:pt x="30" y="51"/>
                      <a:pt x="26" y="49"/>
                      <a:pt x="27" y="47"/>
                    </a:cubicBezTo>
                    <a:cubicBezTo>
                      <a:pt x="28" y="43"/>
                      <a:pt x="34" y="49"/>
                      <a:pt x="36" y="50"/>
                    </a:cubicBezTo>
                    <a:cubicBezTo>
                      <a:pt x="33" y="47"/>
                      <a:pt x="34" y="48"/>
                      <a:pt x="37" y="48"/>
                    </a:cubicBezTo>
                    <a:cubicBezTo>
                      <a:pt x="40" y="47"/>
                      <a:pt x="42" y="47"/>
                      <a:pt x="39" y="51"/>
                    </a:cubicBezTo>
                    <a:cubicBezTo>
                      <a:pt x="38" y="53"/>
                      <a:pt x="36" y="54"/>
                      <a:pt x="34" y="57"/>
                    </a:cubicBezTo>
                    <a:cubicBezTo>
                      <a:pt x="33" y="58"/>
                      <a:pt x="32" y="61"/>
                      <a:pt x="30" y="61"/>
                    </a:cubicBezTo>
                    <a:cubicBezTo>
                      <a:pt x="33" y="63"/>
                      <a:pt x="37" y="65"/>
                      <a:pt x="40" y="66"/>
                    </a:cubicBezTo>
                    <a:cubicBezTo>
                      <a:pt x="43" y="66"/>
                      <a:pt x="50" y="66"/>
                      <a:pt x="47" y="70"/>
                    </a:cubicBezTo>
                    <a:cubicBezTo>
                      <a:pt x="44" y="74"/>
                      <a:pt x="36" y="71"/>
                      <a:pt x="32" y="69"/>
                    </a:cubicBezTo>
                    <a:cubicBezTo>
                      <a:pt x="27" y="68"/>
                      <a:pt x="21" y="65"/>
                      <a:pt x="16" y="66"/>
                    </a:cubicBezTo>
                    <a:cubicBezTo>
                      <a:pt x="12" y="67"/>
                      <a:pt x="12" y="67"/>
                      <a:pt x="15" y="70"/>
                    </a:cubicBezTo>
                    <a:cubicBezTo>
                      <a:pt x="17" y="73"/>
                      <a:pt x="20" y="75"/>
                      <a:pt x="22" y="78"/>
                    </a:cubicBezTo>
                    <a:cubicBezTo>
                      <a:pt x="23" y="79"/>
                      <a:pt x="20" y="81"/>
                      <a:pt x="22" y="82"/>
                    </a:cubicBezTo>
                    <a:cubicBezTo>
                      <a:pt x="25" y="83"/>
                      <a:pt x="29" y="84"/>
                      <a:pt x="32" y="86"/>
                    </a:cubicBezTo>
                    <a:cubicBezTo>
                      <a:pt x="38" y="88"/>
                      <a:pt x="44" y="91"/>
                      <a:pt x="49" y="93"/>
                    </a:cubicBezTo>
                    <a:cubicBezTo>
                      <a:pt x="51" y="94"/>
                      <a:pt x="55" y="96"/>
                      <a:pt x="57" y="96"/>
                    </a:cubicBezTo>
                    <a:cubicBezTo>
                      <a:pt x="59" y="95"/>
                      <a:pt x="63" y="94"/>
                      <a:pt x="65" y="95"/>
                    </a:cubicBezTo>
                    <a:cubicBezTo>
                      <a:pt x="59" y="100"/>
                      <a:pt x="50" y="97"/>
                      <a:pt x="42" y="98"/>
                    </a:cubicBezTo>
                    <a:cubicBezTo>
                      <a:pt x="45" y="104"/>
                      <a:pt x="51" y="107"/>
                      <a:pt x="55" y="111"/>
                    </a:cubicBezTo>
                    <a:cubicBezTo>
                      <a:pt x="59" y="115"/>
                      <a:pt x="60" y="116"/>
                      <a:pt x="66" y="116"/>
                    </a:cubicBezTo>
                    <a:cubicBezTo>
                      <a:pt x="71" y="116"/>
                      <a:pt x="79" y="118"/>
                      <a:pt x="83" y="116"/>
                    </a:cubicBezTo>
                    <a:cubicBezTo>
                      <a:pt x="87" y="115"/>
                      <a:pt x="85" y="115"/>
                      <a:pt x="83" y="112"/>
                    </a:cubicBezTo>
                    <a:cubicBezTo>
                      <a:pt x="85" y="112"/>
                      <a:pt x="86" y="113"/>
                      <a:pt x="88" y="113"/>
                    </a:cubicBezTo>
                    <a:cubicBezTo>
                      <a:pt x="89" y="113"/>
                      <a:pt x="89" y="111"/>
                      <a:pt x="90" y="111"/>
                    </a:cubicBezTo>
                    <a:cubicBezTo>
                      <a:pt x="93" y="110"/>
                      <a:pt x="95" y="112"/>
                      <a:pt x="98" y="110"/>
                    </a:cubicBezTo>
                    <a:cubicBezTo>
                      <a:pt x="101" y="108"/>
                      <a:pt x="96" y="107"/>
                      <a:pt x="98" y="105"/>
                    </a:cubicBezTo>
                    <a:cubicBezTo>
                      <a:pt x="99" y="104"/>
                      <a:pt x="104" y="105"/>
                      <a:pt x="106" y="105"/>
                    </a:cubicBezTo>
                    <a:cubicBezTo>
                      <a:pt x="108" y="105"/>
                      <a:pt x="112" y="106"/>
                      <a:pt x="111" y="103"/>
                    </a:cubicBezTo>
                    <a:cubicBezTo>
                      <a:pt x="110" y="99"/>
                      <a:pt x="105" y="101"/>
                      <a:pt x="103" y="99"/>
                    </a:cubicBezTo>
                    <a:cubicBezTo>
                      <a:pt x="99" y="96"/>
                      <a:pt x="108" y="96"/>
                      <a:pt x="107" y="94"/>
                    </a:cubicBezTo>
                    <a:cubicBezTo>
                      <a:pt x="107" y="92"/>
                      <a:pt x="107" y="88"/>
                      <a:pt x="105" y="87"/>
                    </a:cubicBezTo>
                    <a:cubicBezTo>
                      <a:pt x="107" y="86"/>
                      <a:pt x="109" y="83"/>
                      <a:pt x="111" y="83"/>
                    </a:cubicBezTo>
                    <a:cubicBezTo>
                      <a:pt x="116" y="83"/>
                      <a:pt x="114" y="90"/>
                      <a:pt x="118" y="91"/>
                    </a:cubicBezTo>
                    <a:cubicBezTo>
                      <a:pt x="121" y="92"/>
                      <a:pt x="120" y="89"/>
                      <a:pt x="123" y="88"/>
                    </a:cubicBezTo>
                    <a:cubicBezTo>
                      <a:pt x="124" y="88"/>
                      <a:pt x="125" y="88"/>
                      <a:pt x="126" y="88"/>
                    </a:cubicBezTo>
                    <a:cubicBezTo>
                      <a:pt x="128" y="87"/>
                      <a:pt x="126" y="86"/>
                      <a:pt x="126" y="85"/>
                    </a:cubicBezTo>
                    <a:cubicBezTo>
                      <a:pt x="127" y="83"/>
                      <a:pt x="126" y="78"/>
                      <a:pt x="130" y="76"/>
                    </a:cubicBezTo>
                    <a:cubicBezTo>
                      <a:pt x="135" y="75"/>
                      <a:pt x="134" y="85"/>
                      <a:pt x="133" y="88"/>
                    </a:cubicBezTo>
                    <a:cubicBezTo>
                      <a:pt x="131" y="93"/>
                      <a:pt x="125" y="97"/>
                      <a:pt x="132" y="100"/>
                    </a:cubicBezTo>
                    <a:cubicBezTo>
                      <a:pt x="135" y="101"/>
                      <a:pt x="137" y="100"/>
                      <a:pt x="140" y="100"/>
                    </a:cubicBezTo>
                    <a:cubicBezTo>
                      <a:pt x="143" y="99"/>
                      <a:pt x="147" y="100"/>
                      <a:pt x="150" y="98"/>
                    </a:cubicBezTo>
                    <a:cubicBezTo>
                      <a:pt x="151" y="98"/>
                      <a:pt x="152" y="96"/>
                      <a:pt x="154" y="95"/>
                    </a:cubicBezTo>
                    <a:cubicBezTo>
                      <a:pt x="155" y="94"/>
                      <a:pt x="156" y="94"/>
                      <a:pt x="157" y="94"/>
                    </a:cubicBezTo>
                    <a:cubicBezTo>
                      <a:pt x="159" y="93"/>
                      <a:pt x="159" y="91"/>
                      <a:pt x="160" y="89"/>
                    </a:cubicBezTo>
                    <a:cubicBezTo>
                      <a:pt x="161" y="88"/>
                      <a:pt x="161" y="88"/>
                      <a:pt x="162" y="87"/>
                    </a:cubicBezTo>
                    <a:cubicBezTo>
                      <a:pt x="163" y="85"/>
                      <a:pt x="163" y="83"/>
                      <a:pt x="166" y="84"/>
                    </a:cubicBezTo>
                    <a:cubicBezTo>
                      <a:pt x="168" y="85"/>
                      <a:pt x="170" y="87"/>
                      <a:pt x="172" y="86"/>
                    </a:cubicBezTo>
                    <a:cubicBezTo>
                      <a:pt x="169" y="92"/>
                      <a:pt x="164" y="96"/>
                      <a:pt x="161" y="101"/>
                    </a:cubicBezTo>
                    <a:cubicBezTo>
                      <a:pt x="163" y="102"/>
                      <a:pt x="164" y="102"/>
                      <a:pt x="166" y="102"/>
                    </a:cubicBezTo>
                    <a:cubicBezTo>
                      <a:pt x="168" y="103"/>
                      <a:pt x="170" y="104"/>
                      <a:pt x="172" y="104"/>
                    </a:cubicBezTo>
                    <a:cubicBezTo>
                      <a:pt x="166" y="105"/>
                      <a:pt x="159" y="106"/>
                      <a:pt x="152" y="107"/>
                    </a:cubicBezTo>
                    <a:cubicBezTo>
                      <a:pt x="149" y="107"/>
                      <a:pt x="144" y="107"/>
                      <a:pt x="142" y="109"/>
                    </a:cubicBezTo>
                    <a:cubicBezTo>
                      <a:pt x="139" y="112"/>
                      <a:pt x="143" y="114"/>
                      <a:pt x="138" y="115"/>
                    </a:cubicBezTo>
                    <a:cubicBezTo>
                      <a:pt x="134" y="117"/>
                      <a:pt x="129" y="118"/>
                      <a:pt x="124" y="120"/>
                    </a:cubicBezTo>
                    <a:cubicBezTo>
                      <a:pt x="115" y="122"/>
                      <a:pt x="107" y="125"/>
                      <a:pt x="98" y="128"/>
                    </a:cubicBezTo>
                    <a:cubicBezTo>
                      <a:pt x="96" y="129"/>
                      <a:pt x="90" y="124"/>
                      <a:pt x="87" y="123"/>
                    </a:cubicBezTo>
                    <a:cubicBezTo>
                      <a:pt x="86" y="122"/>
                      <a:pt x="85" y="123"/>
                      <a:pt x="83" y="124"/>
                    </a:cubicBezTo>
                    <a:cubicBezTo>
                      <a:pt x="78" y="125"/>
                      <a:pt x="79" y="125"/>
                      <a:pt x="80" y="130"/>
                    </a:cubicBezTo>
                    <a:cubicBezTo>
                      <a:pt x="80" y="133"/>
                      <a:pt x="80" y="136"/>
                      <a:pt x="81" y="139"/>
                    </a:cubicBezTo>
                    <a:cubicBezTo>
                      <a:pt x="82" y="142"/>
                      <a:pt x="83" y="144"/>
                      <a:pt x="86" y="144"/>
                    </a:cubicBezTo>
                    <a:cubicBezTo>
                      <a:pt x="90" y="145"/>
                      <a:pt x="90" y="144"/>
                      <a:pt x="93" y="143"/>
                    </a:cubicBezTo>
                    <a:cubicBezTo>
                      <a:pt x="95" y="142"/>
                      <a:pt x="109" y="144"/>
                      <a:pt x="108" y="142"/>
                    </a:cubicBezTo>
                    <a:cubicBezTo>
                      <a:pt x="108" y="142"/>
                      <a:pt x="110" y="143"/>
                      <a:pt x="111" y="142"/>
                    </a:cubicBezTo>
                    <a:cubicBezTo>
                      <a:pt x="114" y="142"/>
                      <a:pt x="117" y="142"/>
                      <a:pt x="120" y="141"/>
                    </a:cubicBezTo>
                    <a:cubicBezTo>
                      <a:pt x="124" y="141"/>
                      <a:pt x="125" y="139"/>
                      <a:pt x="128" y="138"/>
                    </a:cubicBezTo>
                    <a:cubicBezTo>
                      <a:pt x="130" y="137"/>
                      <a:pt x="135" y="135"/>
                      <a:pt x="137" y="135"/>
                    </a:cubicBezTo>
                    <a:cubicBezTo>
                      <a:pt x="139" y="136"/>
                      <a:pt x="141" y="138"/>
                      <a:pt x="144" y="139"/>
                    </a:cubicBezTo>
                    <a:cubicBezTo>
                      <a:pt x="150" y="139"/>
                      <a:pt x="156" y="138"/>
                      <a:pt x="162" y="137"/>
                    </a:cubicBezTo>
                    <a:cubicBezTo>
                      <a:pt x="164" y="137"/>
                      <a:pt x="165" y="137"/>
                      <a:pt x="167" y="137"/>
                    </a:cubicBezTo>
                    <a:cubicBezTo>
                      <a:pt x="170" y="137"/>
                      <a:pt x="169" y="136"/>
                      <a:pt x="170" y="134"/>
                    </a:cubicBezTo>
                    <a:cubicBezTo>
                      <a:pt x="172" y="133"/>
                      <a:pt x="176" y="132"/>
                      <a:pt x="178" y="132"/>
                    </a:cubicBezTo>
                    <a:cubicBezTo>
                      <a:pt x="177" y="134"/>
                      <a:pt x="175" y="135"/>
                      <a:pt x="173" y="135"/>
                    </a:cubicBezTo>
                    <a:cubicBezTo>
                      <a:pt x="173" y="140"/>
                      <a:pt x="178" y="140"/>
                      <a:pt x="181" y="141"/>
                    </a:cubicBezTo>
                    <a:cubicBezTo>
                      <a:pt x="178" y="141"/>
                      <a:pt x="175" y="140"/>
                      <a:pt x="172" y="140"/>
                    </a:cubicBezTo>
                    <a:cubicBezTo>
                      <a:pt x="169" y="140"/>
                      <a:pt x="166" y="141"/>
                      <a:pt x="163" y="141"/>
                    </a:cubicBezTo>
                    <a:cubicBezTo>
                      <a:pt x="158" y="141"/>
                      <a:pt x="152" y="143"/>
                      <a:pt x="146" y="143"/>
                    </a:cubicBezTo>
                    <a:cubicBezTo>
                      <a:pt x="141" y="143"/>
                      <a:pt x="135" y="145"/>
                      <a:pt x="129" y="145"/>
                    </a:cubicBezTo>
                    <a:cubicBezTo>
                      <a:pt x="124" y="146"/>
                      <a:pt x="118" y="147"/>
                      <a:pt x="113" y="149"/>
                    </a:cubicBezTo>
                    <a:cubicBezTo>
                      <a:pt x="118" y="153"/>
                      <a:pt x="131" y="152"/>
                      <a:pt x="137" y="154"/>
                    </a:cubicBezTo>
                    <a:cubicBezTo>
                      <a:pt x="142" y="154"/>
                      <a:pt x="145" y="154"/>
                      <a:pt x="148" y="157"/>
                    </a:cubicBezTo>
                    <a:cubicBezTo>
                      <a:pt x="151" y="159"/>
                      <a:pt x="154" y="159"/>
                      <a:pt x="157" y="160"/>
                    </a:cubicBezTo>
                    <a:cubicBezTo>
                      <a:pt x="156" y="160"/>
                      <a:pt x="155" y="162"/>
                      <a:pt x="154" y="162"/>
                    </a:cubicBezTo>
                    <a:cubicBezTo>
                      <a:pt x="151" y="162"/>
                      <a:pt x="149" y="159"/>
                      <a:pt x="146" y="158"/>
                    </a:cubicBezTo>
                    <a:cubicBezTo>
                      <a:pt x="143" y="157"/>
                      <a:pt x="140" y="156"/>
                      <a:pt x="137" y="157"/>
                    </a:cubicBezTo>
                    <a:cubicBezTo>
                      <a:pt x="134" y="157"/>
                      <a:pt x="131" y="157"/>
                      <a:pt x="128" y="156"/>
                    </a:cubicBezTo>
                    <a:cubicBezTo>
                      <a:pt x="125" y="156"/>
                      <a:pt x="122" y="155"/>
                      <a:pt x="120" y="155"/>
                    </a:cubicBezTo>
                    <a:cubicBezTo>
                      <a:pt x="118" y="155"/>
                      <a:pt x="117" y="156"/>
                      <a:pt x="115" y="156"/>
                    </a:cubicBezTo>
                    <a:cubicBezTo>
                      <a:pt x="113" y="156"/>
                      <a:pt x="113" y="157"/>
                      <a:pt x="112" y="159"/>
                    </a:cubicBezTo>
                    <a:cubicBezTo>
                      <a:pt x="111" y="161"/>
                      <a:pt x="106" y="160"/>
                      <a:pt x="106" y="157"/>
                    </a:cubicBezTo>
                    <a:cubicBezTo>
                      <a:pt x="107" y="152"/>
                      <a:pt x="94" y="154"/>
                      <a:pt x="91" y="156"/>
                    </a:cubicBezTo>
                    <a:cubicBezTo>
                      <a:pt x="88" y="157"/>
                      <a:pt x="88" y="157"/>
                      <a:pt x="90" y="160"/>
                    </a:cubicBezTo>
                    <a:cubicBezTo>
                      <a:pt x="91" y="163"/>
                      <a:pt x="93" y="167"/>
                      <a:pt x="94" y="170"/>
                    </a:cubicBezTo>
                    <a:cubicBezTo>
                      <a:pt x="98" y="176"/>
                      <a:pt x="105" y="177"/>
                      <a:pt x="111" y="179"/>
                    </a:cubicBezTo>
                    <a:cubicBezTo>
                      <a:pt x="115" y="180"/>
                      <a:pt x="119" y="180"/>
                      <a:pt x="123" y="182"/>
                    </a:cubicBezTo>
                    <a:cubicBezTo>
                      <a:pt x="128" y="185"/>
                      <a:pt x="132" y="188"/>
                      <a:pt x="138" y="189"/>
                    </a:cubicBezTo>
                    <a:cubicBezTo>
                      <a:pt x="140" y="189"/>
                      <a:pt x="142" y="188"/>
                      <a:pt x="144" y="188"/>
                    </a:cubicBezTo>
                    <a:cubicBezTo>
                      <a:pt x="148" y="188"/>
                      <a:pt x="144" y="186"/>
                      <a:pt x="145" y="185"/>
                    </a:cubicBezTo>
                    <a:cubicBezTo>
                      <a:pt x="145" y="186"/>
                      <a:pt x="149" y="184"/>
                      <a:pt x="148" y="184"/>
                    </a:cubicBezTo>
                    <a:cubicBezTo>
                      <a:pt x="152" y="184"/>
                      <a:pt x="154" y="189"/>
                      <a:pt x="157" y="189"/>
                    </a:cubicBezTo>
                    <a:cubicBezTo>
                      <a:pt x="159" y="190"/>
                      <a:pt x="162" y="189"/>
                      <a:pt x="164" y="189"/>
                    </a:cubicBezTo>
                    <a:cubicBezTo>
                      <a:pt x="162" y="190"/>
                      <a:pt x="160" y="189"/>
                      <a:pt x="158" y="190"/>
                    </a:cubicBezTo>
                    <a:cubicBezTo>
                      <a:pt x="158" y="191"/>
                      <a:pt x="156" y="194"/>
                      <a:pt x="156" y="192"/>
                    </a:cubicBezTo>
                    <a:cubicBezTo>
                      <a:pt x="155" y="189"/>
                      <a:pt x="151" y="190"/>
                      <a:pt x="149" y="190"/>
                    </a:cubicBezTo>
                    <a:cubicBezTo>
                      <a:pt x="146" y="191"/>
                      <a:pt x="137" y="192"/>
                      <a:pt x="135" y="195"/>
                    </a:cubicBezTo>
                    <a:cubicBezTo>
                      <a:pt x="140" y="199"/>
                      <a:pt x="145" y="201"/>
                      <a:pt x="150" y="203"/>
                    </a:cubicBezTo>
                    <a:cubicBezTo>
                      <a:pt x="152" y="204"/>
                      <a:pt x="156" y="206"/>
                      <a:pt x="157" y="207"/>
                    </a:cubicBezTo>
                    <a:cubicBezTo>
                      <a:pt x="158" y="209"/>
                      <a:pt x="158" y="212"/>
                      <a:pt x="158" y="214"/>
                    </a:cubicBezTo>
                    <a:cubicBezTo>
                      <a:pt x="164" y="209"/>
                      <a:pt x="166" y="215"/>
                      <a:pt x="173" y="214"/>
                    </a:cubicBezTo>
                    <a:cubicBezTo>
                      <a:pt x="175" y="214"/>
                      <a:pt x="177" y="213"/>
                      <a:pt x="179" y="212"/>
                    </a:cubicBezTo>
                    <a:cubicBezTo>
                      <a:pt x="179" y="211"/>
                      <a:pt x="183" y="208"/>
                      <a:pt x="183" y="207"/>
                    </a:cubicBezTo>
                    <a:cubicBezTo>
                      <a:pt x="184" y="204"/>
                      <a:pt x="180" y="204"/>
                      <a:pt x="178" y="202"/>
                    </a:cubicBezTo>
                    <a:cubicBezTo>
                      <a:pt x="177" y="201"/>
                      <a:pt x="175" y="202"/>
                      <a:pt x="178" y="200"/>
                    </a:cubicBezTo>
                    <a:cubicBezTo>
                      <a:pt x="180" y="199"/>
                      <a:pt x="179" y="198"/>
                      <a:pt x="180" y="197"/>
                    </a:cubicBezTo>
                    <a:cubicBezTo>
                      <a:pt x="182" y="195"/>
                      <a:pt x="186" y="194"/>
                      <a:pt x="186" y="192"/>
                    </a:cubicBezTo>
                    <a:cubicBezTo>
                      <a:pt x="188" y="189"/>
                      <a:pt x="184" y="188"/>
                      <a:pt x="182" y="186"/>
                    </a:cubicBezTo>
                    <a:cubicBezTo>
                      <a:pt x="187" y="185"/>
                      <a:pt x="187" y="187"/>
                      <a:pt x="189" y="182"/>
                    </a:cubicBezTo>
                    <a:cubicBezTo>
                      <a:pt x="190" y="180"/>
                      <a:pt x="191" y="178"/>
                      <a:pt x="192" y="175"/>
                    </a:cubicBezTo>
                    <a:cubicBezTo>
                      <a:pt x="192" y="174"/>
                      <a:pt x="193" y="170"/>
                      <a:pt x="194" y="169"/>
                    </a:cubicBezTo>
                    <a:cubicBezTo>
                      <a:pt x="195" y="166"/>
                      <a:pt x="197" y="162"/>
                      <a:pt x="199" y="161"/>
                    </a:cubicBezTo>
                    <a:cubicBezTo>
                      <a:pt x="201" y="159"/>
                      <a:pt x="203" y="158"/>
                      <a:pt x="206" y="158"/>
                    </a:cubicBezTo>
                    <a:cubicBezTo>
                      <a:pt x="208" y="158"/>
                      <a:pt x="211" y="159"/>
                      <a:pt x="214" y="159"/>
                    </a:cubicBezTo>
                    <a:cubicBezTo>
                      <a:pt x="216" y="159"/>
                      <a:pt x="217" y="153"/>
                      <a:pt x="217" y="150"/>
                    </a:cubicBezTo>
                    <a:cubicBezTo>
                      <a:pt x="219" y="146"/>
                      <a:pt x="220" y="142"/>
                      <a:pt x="220" y="138"/>
                    </a:cubicBezTo>
                    <a:cubicBezTo>
                      <a:pt x="220" y="135"/>
                      <a:pt x="221" y="124"/>
                      <a:pt x="224" y="125"/>
                    </a:cubicBezTo>
                    <a:cubicBezTo>
                      <a:pt x="230" y="126"/>
                      <a:pt x="240" y="127"/>
                      <a:pt x="238" y="118"/>
                    </a:cubicBezTo>
                    <a:cubicBezTo>
                      <a:pt x="237" y="115"/>
                      <a:pt x="235" y="111"/>
                      <a:pt x="236" y="108"/>
                    </a:cubicBezTo>
                    <a:cubicBezTo>
                      <a:pt x="236" y="107"/>
                      <a:pt x="238" y="107"/>
                      <a:pt x="238" y="105"/>
                    </a:cubicBezTo>
                    <a:cubicBezTo>
                      <a:pt x="238" y="100"/>
                      <a:pt x="234" y="100"/>
                      <a:pt x="240" y="99"/>
                    </a:cubicBezTo>
                    <a:cubicBezTo>
                      <a:pt x="243" y="99"/>
                      <a:pt x="246" y="98"/>
                      <a:pt x="248" y="97"/>
                    </a:cubicBezTo>
                    <a:cubicBezTo>
                      <a:pt x="250" y="97"/>
                      <a:pt x="252" y="97"/>
                      <a:pt x="253" y="97"/>
                    </a:cubicBezTo>
                    <a:cubicBezTo>
                      <a:pt x="256" y="97"/>
                      <a:pt x="256" y="93"/>
                      <a:pt x="257" y="91"/>
                    </a:cubicBezTo>
                    <a:cubicBezTo>
                      <a:pt x="259" y="88"/>
                      <a:pt x="262" y="91"/>
                      <a:pt x="265" y="91"/>
                    </a:cubicBezTo>
                    <a:cubicBezTo>
                      <a:pt x="266" y="91"/>
                      <a:pt x="267" y="89"/>
                      <a:pt x="268" y="89"/>
                    </a:cubicBezTo>
                    <a:cubicBezTo>
                      <a:pt x="269" y="88"/>
                      <a:pt x="272" y="88"/>
                      <a:pt x="273" y="88"/>
                    </a:cubicBezTo>
                    <a:cubicBezTo>
                      <a:pt x="276" y="88"/>
                      <a:pt x="279" y="90"/>
                      <a:pt x="282" y="89"/>
                    </a:cubicBezTo>
                    <a:cubicBezTo>
                      <a:pt x="283" y="89"/>
                      <a:pt x="283" y="87"/>
                      <a:pt x="284" y="86"/>
                    </a:cubicBezTo>
                    <a:cubicBezTo>
                      <a:pt x="285" y="85"/>
                      <a:pt x="286" y="86"/>
                      <a:pt x="288" y="86"/>
                    </a:cubicBezTo>
                    <a:cubicBezTo>
                      <a:pt x="290" y="86"/>
                      <a:pt x="293" y="89"/>
                      <a:pt x="296" y="88"/>
                    </a:cubicBezTo>
                    <a:cubicBezTo>
                      <a:pt x="297" y="88"/>
                      <a:pt x="298" y="87"/>
                      <a:pt x="299" y="87"/>
                    </a:cubicBezTo>
                    <a:cubicBezTo>
                      <a:pt x="300" y="86"/>
                      <a:pt x="302" y="88"/>
                      <a:pt x="303" y="87"/>
                    </a:cubicBezTo>
                    <a:cubicBezTo>
                      <a:pt x="305" y="87"/>
                      <a:pt x="304" y="86"/>
                      <a:pt x="305" y="84"/>
                    </a:cubicBezTo>
                    <a:cubicBezTo>
                      <a:pt x="306" y="83"/>
                      <a:pt x="309" y="82"/>
                      <a:pt x="309" y="81"/>
                    </a:cubicBezTo>
                    <a:cubicBezTo>
                      <a:pt x="309" y="78"/>
                      <a:pt x="288" y="73"/>
                      <a:pt x="285" y="72"/>
                    </a:cubicBezTo>
                    <a:cubicBezTo>
                      <a:pt x="280" y="70"/>
                      <a:pt x="276" y="68"/>
                      <a:pt x="271" y="66"/>
                    </a:cubicBezTo>
                    <a:cubicBezTo>
                      <a:pt x="269" y="66"/>
                      <a:pt x="264" y="66"/>
                      <a:pt x="263" y="65"/>
                    </a:cubicBezTo>
                    <a:cubicBezTo>
                      <a:pt x="260" y="62"/>
                      <a:pt x="260" y="58"/>
                      <a:pt x="256" y="57"/>
                    </a:cubicBezTo>
                    <a:cubicBezTo>
                      <a:pt x="252" y="56"/>
                      <a:pt x="248" y="54"/>
                      <a:pt x="244" y="55"/>
                    </a:cubicBezTo>
                    <a:cubicBezTo>
                      <a:pt x="242" y="55"/>
                      <a:pt x="242" y="57"/>
                      <a:pt x="240" y="57"/>
                    </a:cubicBezTo>
                    <a:cubicBezTo>
                      <a:pt x="239" y="57"/>
                      <a:pt x="237" y="57"/>
                      <a:pt x="236" y="56"/>
                    </a:cubicBezTo>
                    <a:cubicBezTo>
                      <a:pt x="233" y="54"/>
                      <a:pt x="231" y="47"/>
                      <a:pt x="231" y="43"/>
                    </a:cubicBezTo>
                    <a:cubicBezTo>
                      <a:pt x="232" y="41"/>
                      <a:pt x="233" y="42"/>
                      <a:pt x="232" y="39"/>
                    </a:cubicBezTo>
                    <a:cubicBezTo>
                      <a:pt x="232" y="37"/>
                      <a:pt x="231" y="36"/>
                      <a:pt x="229" y="34"/>
                    </a:cubicBezTo>
                    <a:cubicBezTo>
                      <a:pt x="227" y="32"/>
                      <a:pt x="225" y="32"/>
                      <a:pt x="221" y="31"/>
                    </a:cubicBezTo>
                    <a:cubicBezTo>
                      <a:pt x="219" y="31"/>
                      <a:pt x="211" y="29"/>
                      <a:pt x="209" y="30"/>
                    </a:cubicBezTo>
                    <a:cubicBezTo>
                      <a:pt x="207" y="32"/>
                      <a:pt x="208" y="36"/>
                      <a:pt x="206" y="38"/>
                    </a:cubicBezTo>
                    <a:cubicBezTo>
                      <a:pt x="206" y="39"/>
                      <a:pt x="199" y="44"/>
                      <a:pt x="198" y="42"/>
                    </a:cubicBezTo>
                    <a:cubicBezTo>
                      <a:pt x="197" y="42"/>
                      <a:pt x="201" y="40"/>
                      <a:pt x="200" y="38"/>
                    </a:cubicBezTo>
                    <a:cubicBezTo>
                      <a:pt x="200" y="37"/>
                      <a:pt x="200" y="34"/>
                      <a:pt x="200" y="33"/>
                    </a:cubicBezTo>
                    <a:cubicBezTo>
                      <a:pt x="200" y="29"/>
                      <a:pt x="200" y="26"/>
                      <a:pt x="204" y="24"/>
                    </a:cubicBezTo>
                    <a:cubicBezTo>
                      <a:pt x="204" y="24"/>
                      <a:pt x="212" y="20"/>
                      <a:pt x="210" y="20"/>
                    </a:cubicBezTo>
                    <a:cubicBezTo>
                      <a:pt x="200" y="17"/>
                      <a:pt x="190" y="15"/>
                      <a:pt x="180" y="12"/>
                    </a:cubicBezTo>
                    <a:cubicBezTo>
                      <a:pt x="179" y="12"/>
                      <a:pt x="174" y="11"/>
                      <a:pt x="173" y="10"/>
                    </a:cubicBezTo>
                    <a:cubicBezTo>
                      <a:pt x="170" y="7"/>
                      <a:pt x="168" y="3"/>
                      <a:pt x="166" y="0"/>
                    </a:cubicBezTo>
                    <a:cubicBezTo>
                      <a:pt x="160" y="1"/>
                      <a:pt x="155" y="1"/>
                      <a:pt x="150" y="2"/>
                    </a:cubicBezTo>
                    <a:cubicBezTo>
                      <a:pt x="152" y="2"/>
                      <a:pt x="157" y="0"/>
                      <a:pt x="158" y="3"/>
                    </a:cubicBezTo>
                    <a:cubicBezTo>
                      <a:pt x="158" y="5"/>
                      <a:pt x="159" y="8"/>
                      <a:pt x="160" y="9"/>
                    </a:cubicBezTo>
                    <a:cubicBezTo>
                      <a:pt x="160" y="10"/>
                      <a:pt x="160" y="10"/>
                      <a:pt x="160" y="10"/>
                    </a:cubicBezTo>
                    <a:cubicBezTo>
                      <a:pt x="158" y="12"/>
                      <a:pt x="151" y="8"/>
                      <a:pt x="148" y="10"/>
                    </a:cubicBezTo>
                    <a:cubicBezTo>
                      <a:pt x="145" y="12"/>
                      <a:pt x="147" y="19"/>
                      <a:pt x="148" y="22"/>
                    </a:cubicBezTo>
                    <a:cubicBezTo>
                      <a:pt x="149" y="24"/>
                      <a:pt x="152" y="27"/>
                      <a:pt x="153" y="30"/>
                    </a:cubicBezTo>
                    <a:cubicBezTo>
                      <a:pt x="153" y="32"/>
                      <a:pt x="154" y="36"/>
                      <a:pt x="155" y="39"/>
                    </a:cubicBezTo>
                    <a:cubicBezTo>
                      <a:pt x="155" y="43"/>
                      <a:pt x="156" y="45"/>
                      <a:pt x="158" y="47"/>
                    </a:cubicBezTo>
                    <a:cubicBezTo>
                      <a:pt x="159" y="49"/>
                      <a:pt x="160" y="49"/>
                      <a:pt x="161" y="51"/>
                    </a:cubicBezTo>
                    <a:cubicBezTo>
                      <a:pt x="162" y="52"/>
                      <a:pt x="161" y="54"/>
                      <a:pt x="162" y="56"/>
                    </a:cubicBezTo>
                    <a:cubicBezTo>
                      <a:pt x="163" y="59"/>
                      <a:pt x="166" y="61"/>
                      <a:pt x="167" y="64"/>
                    </a:cubicBezTo>
                    <a:cubicBezTo>
                      <a:pt x="168" y="66"/>
                      <a:pt x="170" y="68"/>
                      <a:pt x="171" y="70"/>
                    </a:cubicBezTo>
                    <a:cubicBezTo>
                      <a:pt x="168" y="70"/>
                      <a:pt x="162" y="69"/>
                      <a:pt x="161" y="66"/>
                    </a:cubicBezTo>
                    <a:cubicBezTo>
                      <a:pt x="160" y="65"/>
                      <a:pt x="161" y="64"/>
                      <a:pt x="161" y="63"/>
                    </a:cubicBezTo>
                    <a:cubicBezTo>
                      <a:pt x="160" y="61"/>
                      <a:pt x="159" y="61"/>
                      <a:pt x="158" y="60"/>
                    </a:cubicBezTo>
                    <a:cubicBezTo>
                      <a:pt x="156" y="58"/>
                      <a:pt x="155" y="55"/>
                      <a:pt x="152" y="55"/>
                    </a:cubicBezTo>
                    <a:cubicBezTo>
                      <a:pt x="149" y="55"/>
                      <a:pt x="145" y="60"/>
                      <a:pt x="148" y="54"/>
                    </a:cubicBezTo>
                    <a:cubicBezTo>
                      <a:pt x="150" y="51"/>
                      <a:pt x="151" y="52"/>
                      <a:pt x="149" y="50"/>
                    </a:cubicBezTo>
                    <a:cubicBezTo>
                      <a:pt x="149" y="49"/>
                      <a:pt x="146" y="47"/>
                      <a:pt x="146" y="47"/>
                    </a:cubicBezTo>
                    <a:cubicBezTo>
                      <a:pt x="143" y="45"/>
                      <a:pt x="142" y="44"/>
                      <a:pt x="140" y="41"/>
                    </a:cubicBezTo>
                    <a:cubicBezTo>
                      <a:pt x="140" y="39"/>
                      <a:pt x="139" y="38"/>
                      <a:pt x="138" y="36"/>
                    </a:cubicBezTo>
                    <a:cubicBezTo>
                      <a:pt x="138" y="35"/>
                      <a:pt x="137" y="33"/>
                      <a:pt x="136" y="32"/>
                    </a:cubicBezTo>
                    <a:cubicBezTo>
                      <a:pt x="136" y="31"/>
                      <a:pt x="136" y="28"/>
                      <a:pt x="136" y="27"/>
                    </a:cubicBezTo>
                    <a:cubicBezTo>
                      <a:pt x="135" y="26"/>
                      <a:pt x="133" y="26"/>
                      <a:pt x="132" y="25"/>
                    </a:cubicBezTo>
                    <a:cubicBezTo>
                      <a:pt x="127" y="22"/>
                      <a:pt x="124" y="16"/>
                      <a:pt x="117" y="15"/>
                    </a:cubicBezTo>
                    <a:cubicBezTo>
                      <a:pt x="112" y="14"/>
                      <a:pt x="111" y="18"/>
                      <a:pt x="107" y="21"/>
                    </a:cubicBezTo>
                    <a:cubicBezTo>
                      <a:pt x="106" y="23"/>
                      <a:pt x="100" y="25"/>
                      <a:pt x="105" y="27"/>
                    </a:cubicBezTo>
                    <a:cubicBezTo>
                      <a:pt x="102" y="27"/>
                      <a:pt x="98" y="27"/>
                      <a:pt x="96" y="30"/>
                    </a:cubicBezTo>
                    <a:cubicBezTo>
                      <a:pt x="94" y="32"/>
                      <a:pt x="99" y="38"/>
                      <a:pt x="100" y="41"/>
                    </a:cubicBezTo>
                    <a:cubicBezTo>
                      <a:pt x="101" y="44"/>
                      <a:pt x="102" y="44"/>
                      <a:pt x="100" y="47"/>
                    </a:cubicBezTo>
                    <a:cubicBezTo>
                      <a:pt x="99" y="49"/>
                      <a:pt x="98" y="48"/>
                      <a:pt x="96" y="48"/>
                    </a:cubicBezTo>
                    <a:cubicBezTo>
                      <a:pt x="93" y="48"/>
                      <a:pt x="95" y="42"/>
                      <a:pt x="92" y="40"/>
                    </a:cubicBezTo>
                    <a:cubicBezTo>
                      <a:pt x="90" y="39"/>
                      <a:pt x="88" y="36"/>
                      <a:pt x="86" y="35"/>
                    </a:cubicBezTo>
                    <a:cubicBezTo>
                      <a:pt x="83" y="34"/>
                      <a:pt x="78" y="39"/>
                      <a:pt x="76" y="36"/>
                    </a:cubicBezTo>
                    <a:cubicBezTo>
                      <a:pt x="73" y="32"/>
                      <a:pt x="84" y="33"/>
                      <a:pt x="82" y="29"/>
                    </a:cubicBezTo>
                    <a:cubicBezTo>
                      <a:pt x="80" y="27"/>
                      <a:pt x="73" y="28"/>
                      <a:pt x="70" y="28"/>
                    </a:cubicBezTo>
                    <a:cubicBezTo>
                      <a:pt x="66" y="29"/>
                      <a:pt x="55" y="33"/>
                      <a:pt x="52" y="30"/>
                    </a:cubicBezTo>
                    <a:cubicBezTo>
                      <a:pt x="55" y="28"/>
                      <a:pt x="58" y="28"/>
                      <a:pt x="62" y="26"/>
                    </a:cubicBezTo>
                    <a:cubicBezTo>
                      <a:pt x="64" y="25"/>
                      <a:pt x="67" y="23"/>
                      <a:pt x="69" y="22"/>
                    </a:cubicBezTo>
                    <a:cubicBezTo>
                      <a:pt x="71" y="21"/>
                      <a:pt x="75" y="22"/>
                      <a:pt x="78" y="21"/>
                    </a:cubicBezTo>
                    <a:cubicBezTo>
                      <a:pt x="83" y="21"/>
                      <a:pt x="93" y="23"/>
                      <a:pt x="96" y="17"/>
                    </a:cubicBezTo>
                    <a:cubicBezTo>
                      <a:pt x="101" y="8"/>
                      <a:pt x="83" y="11"/>
                      <a:pt x="79" y="11"/>
                    </a:cubicBezTo>
                    <a:cubicBezTo>
                      <a:pt x="76" y="12"/>
                      <a:pt x="74" y="13"/>
                      <a:pt x="70" y="13"/>
                    </a:cubicBezTo>
                    <a:cubicBezTo>
                      <a:pt x="67" y="13"/>
                      <a:pt x="65" y="16"/>
                      <a:pt x="62" y="16"/>
                    </a:cubicBezTo>
                    <a:cubicBezTo>
                      <a:pt x="61" y="17"/>
                      <a:pt x="54" y="18"/>
                      <a:pt x="53" y="18"/>
                    </a:cubicBezTo>
                    <a:cubicBezTo>
                      <a:pt x="52" y="16"/>
                      <a:pt x="53" y="15"/>
                      <a:pt x="51" y="14"/>
                    </a:cubicBezTo>
                    <a:cubicBezTo>
                      <a:pt x="50" y="13"/>
                      <a:pt x="49" y="13"/>
                      <a:pt x="47" y="13"/>
                    </a:cubicBezTo>
                    <a:cubicBezTo>
                      <a:pt x="45" y="13"/>
                      <a:pt x="44" y="13"/>
                      <a:pt x="43" y="15"/>
                    </a:cubicBezTo>
                    <a:cubicBezTo>
                      <a:pt x="42" y="16"/>
                      <a:pt x="42" y="24"/>
                      <a:pt x="41" y="23"/>
                    </a:cubicBezTo>
                    <a:cubicBezTo>
                      <a:pt x="40" y="22"/>
                      <a:pt x="37" y="16"/>
                      <a:pt x="37" y="16"/>
                    </a:cubicBezTo>
                    <a:cubicBezTo>
                      <a:pt x="37" y="13"/>
                      <a:pt x="31" y="12"/>
                      <a:pt x="29" y="13"/>
                    </a:cubicBezTo>
                    <a:cubicBezTo>
                      <a:pt x="26" y="14"/>
                      <a:pt x="24" y="16"/>
                      <a:pt x="21" y="16"/>
                    </a:cubicBezTo>
                    <a:cubicBezTo>
                      <a:pt x="20" y="16"/>
                      <a:pt x="17" y="15"/>
                      <a:pt x="16" y="17"/>
                    </a:cubicBezTo>
                    <a:cubicBezTo>
                      <a:pt x="15" y="19"/>
                      <a:pt x="17" y="24"/>
                      <a:pt x="14" y="25"/>
                    </a:cubicBezTo>
                    <a:cubicBezTo>
                      <a:pt x="13" y="26"/>
                      <a:pt x="11" y="25"/>
                      <a:pt x="10" y="25"/>
                    </a:cubicBezTo>
                    <a:cubicBezTo>
                      <a:pt x="9" y="25"/>
                      <a:pt x="7" y="26"/>
                      <a:pt x="6" y="27"/>
                    </a:cubicBezTo>
                    <a:cubicBezTo>
                      <a:pt x="8" y="29"/>
                      <a:pt x="11" y="29"/>
                      <a:pt x="12" y="30"/>
                    </a:cubicBezTo>
                    <a:cubicBezTo>
                      <a:pt x="11" y="30"/>
                      <a:pt x="3" y="29"/>
                      <a:pt x="2" y="30"/>
                    </a:cubicBezTo>
                    <a:cubicBezTo>
                      <a:pt x="0" y="32"/>
                      <a:pt x="5" y="42"/>
                      <a:pt x="6" y="44"/>
                    </a:cubicBezTo>
                    <a:cubicBezTo>
                      <a:pt x="8" y="47"/>
                      <a:pt x="13" y="50"/>
                      <a:pt x="15"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727"/>
              <p:cNvSpPr/>
              <p:nvPr/>
            </p:nvSpPr>
            <p:spPr bwMode="auto">
              <a:xfrm>
                <a:off x="3922" y="4"/>
                <a:ext cx="287" cy="145"/>
              </a:xfrm>
              <a:custGeom>
                <a:gdLst>
                  <a:gd name="T0" fmla="*/ 121 w 121"/>
                  <a:gd name="T1" fmla="*/ 31 h 61"/>
                  <a:gd name="T2" fmla="*/ 105 w 121"/>
                  <a:gd name="T3" fmla="*/ 24 h 61"/>
                  <a:gd name="T4" fmla="*/ 103 w 121"/>
                  <a:gd name="T5" fmla="*/ 22 h 61"/>
                  <a:gd name="T6" fmla="*/ 102 w 121"/>
                  <a:gd name="T7" fmla="*/ 23 h 61"/>
                  <a:gd name="T8" fmla="*/ 97 w 121"/>
                  <a:gd name="T9" fmla="*/ 23 h 61"/>
                  <a:gd name="T10" fmla="*/ 90 w 121"/>
                  <a:gd name="T11" fmla="*/ 25 h 61"/>
                  <a:gd name="T12" fmla="*/ 81 w 121"/>
                  <a:gd name="T13" fmla="*/ 22 h 61"/>
                  <a:gd name="T14" fmla="*/ 74 w 121"/>
                  <a:gd name="T15" fmla="*/ 18 h 61"/>
                  <a:gd name="T16" fmla="*/ 78 w 121"/>
                  <a:gd name="T17" fmla="*/ 10 h 61"/>
                  <a:gd name="T18" fmla="*/ 77 w 121"/>
                  <a:gd name="T19" fmla="*/ 5 h 61"/>
                  <a:gd name="T20" fmla="*/ 69 w 121"/>
                  <a:gd name="T21" fmla="*/ 2 h 61"/>
                  <a:gd name="T22" fmla="*/ 52 w 121"/>
                  <a:gd name="T23" fmla="*/ 2 h 61"/>
                  <a:gd name="T24" fmla="*/ 48 w 121"/>
                  <a:gd name="T25" fmla="*/ 4 h 61"/>
                  <a:gd name="T26" fmla="*/ 43 w 121"/>
                  <a:gd name="T27" fmla="*/ 4 h 61"/>
                  <a:gd name="T28" fmla="*/ 34 w 121"/>
                  <a:gd name="T29" fmla="*/ 3 h 61"/>
                  <a:gd name="T30" fmla="*/ 18 w 121"/>
                  <a:gd name="T31" fmla="*/ 6 h 61"/>
                  <a:gd name="T32" fmla="*/ 9 w 121"/>
                  <a:gd name="T33" fmla="*/ 13 h 61"/>
                  <a:gd name="T34" fmla="*/ 17 w 121"/>
                  <a:gd name="T35" fmla="*/ 17 h 61"/>
                  <a:gd name="T36" fmla="*/ 28 w 121"/>
                  <a:gd name="T37" fmla="*/ 21 h 61"/>
                  <a:gd name="T38" fmla="*/ 26 w 121"/>
                  <a:gd name="T39" fmla="*/ 24 h 61"/>
                  <a:gd name="T40" fmla="*/ 22 w 121"/>
                  <a:gd name="T41" fmla="*/ 28 h 61"/>
                  <a:gd name="T42" fmla="*/ 17 w 121"/>
                  <a:gd name="T43" fmla="*/ 36 h 61"/>
                  <a:gd name="T44" fmla="*/ 12 w 121"/>
                  <a:gd name="T45" fmla="*/ 41 h 61"/>
                  <a:gd name="T46" fmla="*/ 5 w 121"/>
                  <a:gd name="T47" fmla="*/ 49 h 61"/>
                  <a:gd name="T48" fmla="*/ 28 w 121"/>
                  <a:gd name="T49" fmla="*/ 46 h 61"/>
                  <a:gd name="T50" fmla="*/ 59 w 121"/>
                  <a:gd name="T51" fmla="*/ 43 h 61"/>
                  <a:gd name="T52" fmla="*/ 55 w 121"/>
                  <a:gd name="T53" fmla="*/ 48 h 61"/>
                  <a:gd name="T54" fmla="*/ 53 w 121"/>
                  <a:gd name="T55" fmla="*/ 56 h 61"/>
                  <a:gd name="T56" fmla="*/ 61 w 121"/>
                  <a:gd name="T57" fmla="*/ 60 h 61"/>
                  <a:gd name="T58" fmla="*/ 64 w 121"/>
                  <a:gd name="T59" fmla="*/ 57 h 61"/>
                  <a:gd name="T60" fmla="*/ 75 w 121"/>
                  <a:gd name="T61" fmla="*/ 55 h 61"/>
                  <a:gd name="T62" fmla="*/ 81 w 121"/>
                  <a:gd name="T63" fmla="*/ 52 h 61"/>
                  <a:gd name="T64" fmla="*/ 89 w 121"/>
                  <a:gd name="T65" fmla="*/ 49 h 61"/>
                  <a:gd name="T66" fmla="*/ 98 w 121"/>
                  <a:gd name="T67" fmla="*/ 40 h 61"/>
                  <a:gd name="T68" fmla="*/ 121 w 121"/>
                  <a:gd name="T69" fmla="*/ 31 h 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61">
                    <a:moveTo>
                      <a:pt x="121" y="31"/>
                    </a:moveTo>
                    <a:cubicBezTo>
                      <a:pt x="115" y="28"/>
                      <a:pt x="111" y="25"/>
                      <a:pt x="105" y="24"/>
                    </a:cubicBezTo>
                    <a:cubicBezTo>
                      <a:pt x="104" y="23"/>
                      <a:pt x="104" y="22"/>
                      <a:pt x="103" y="22"/>
                    </a:cubicBezTo>
                    <a:cubicBezTo>
                      <a:pt x="103" y="22"/>
                      <a:pt x="102" y="23"/>
                      <a:pt x="102" y="23"/>
                    </a:cubicBezTo>
                    <a:cubicBezTo>
                      <a:pt x="100" y="23"/>
                      <a:pt x="98" y="23"/>
                      <a:pt x="97" y="23"/>
                    </a:cubicBezTo>
                    <a:cubicBezTo>
                      <a:pt x="94" y="24"/>
                      <a:pt x="93" y="25"/>
                      <a:pt x="90" y="25"/>
                    </a:cubicBezTo>
                    <a:cubicBezTo>
                      <a:pt x="86" y="25"/>
                      <a:pt x="84" y="23"/>
                      <a:pt x="81" y="22"/>
                    </a:cubicBezTo>
                    <a:cubicBezTo>
                      <a:pt x="81" y="22"/>
                      <a:pt x="74" y="19"/>
                      <a:pt x="74" y="18"/>
                    </a:cubicBezTo>
                    <a:cubicBezTo>
                      <a:pt x="73" y="16"/>
                      <a:pt x="77" y="12"/>
                      <a:pt x="78" y="10"/>
                    </a:cubicBezTo>
                    <a:cubicBezTo>
                      <a:pt x="79" y="7"/>
                      <a:pt x="79" y="7"/>
                      <a:pt x="77" y="5"/>
                    </a:cubicBezTo>
                    <a:cubicBezTo>
                      <a:pt x="75" y="3"/>
                      <a:pt x="72" y="2"/>
                      <a:pt x="69" y="2"/>
                    </a:cubicBezTo>
                    <a:cubicBezTo>
                      <a:pt x="63" y="1"/>
                      <a:pt x="58" y="0"/>
                      <a:pt x="52" y="2"/>
                    </a:cubicBezTo>
                    <a:cubicBezTo>
                      <a:pt x="51" y="3"/>
                      <a:pt x="51" y="4"/>
                      <a:pt x="48" y="4"/>
                    </a:cubicBezTo>
                    <a:cubicBezTo>
                      <a:pt x="47" y="4"/>
                      <a:pt x="45" y="4"/>
                      <a:pt x="43" y="4"/>
                    </a:cubicBezTo>
                    <a:cubicBezTo>
                      <a:pt x="40" y="4"/>
                      <a:pt x="37" y="3"/>
                      <a:pt x="34" y="3"/>
                    </a:cubicBezTo>
                    <a:cubicBezTo>
                      <a:pt x="29" y="3"/>
                      <a:pt x="23" y="4"/>
                      <a:pt x="18" y="6"/>
                    </a:cubicBezTo>
                    <a:cubicBezTo>
                      <a:pt x="14" y="7"/>
                      <a:pt x="0" y="9"/>
                      <a:pt x="9" y="13"/>
                    </a:cubicBezTo>
                    <a:cubicBezTo>
                      <a:pt x="12" y="14"/>
                      <a:pt x="14" y="15"/>
                      <a:pt x="17" y="17"/>
                    </a:cubicBezTo>
                    <a:cubicBezTo>
                      <a:pt x="20" y="18"/>
                      <a:pt x="26" y="19"/>
                      <a:pt x="28" y="21"/>
                    </a:cubicBezTo>
                    <a:cubicBezTo>
                      <a:pt x="25" y="22"/>
                      <a:pt x="26" y="23"/>
                      <a:pt x="26" y="24"/>
                    </a:cubicBezTo>
                    <a:cubicBezTo>
                      <a:pt x="24" y="25"/>
                      <a:pt x="23" y="26"/>
                      <a:pt x="22" y="28"/>
                    </a:cubicBezTo>
                    <a:cubicBezTo>
                      <a:pt x="19" y="30"/>
                      <a:pt x="17" y="32"/>
                      <a:pt x="17" y="36"/>
                    </a:cubicBezTo>
                    <a:cubicBezTo>
                      <a:pt x="16" y="39"/>
                      <a:pt x="16" y="41"/>
                      <a:pt x="12" y="41"/>
                    </a:cubicBezTo>
                    <a:cubicBezTo>
                      <a:pt x="6" y="42"/>
                      <a:pt x="6" y="43"/>
                      <a:pt x="5" y="49"/>
                    </a:cubicBezTo>
                    <a:cubicBezTo>
                      <a:pt x="13" y="48"/>
                      <a:pt x="21" y="47"/>
                      <a:pt x="28" y="46"/>
                    </a:cubicBezTo>
                    <a:cubicBezTo>
                      <a:pt x="38" y="45"/>
                      <a:pt x="48" y="44"/>
                      <a:pt x="59" y="43"/>
                    </a:cubicBezTo>
                    <a:cubicBezTo>
                      <a:pt x="63" y="43"/>
                      <a:pt x="56" y="47"/>
                      <a:pt x="55" y="48"/>
                    </a:cubicBezTo>
                    <a:cubicBezTo>
                      <a:pt x="50" y="51"/>
                      <a:pt x="49" y="51"/>
                      <a:pt x="53" y="56"/>
                    </a:cubicBezTo>
                    <a:cubicBezTo>
                      <a:pt x="55" y="58"/>
                      <a:pt x="58" y="61"/>
                      <a:pt x="61" y="60"/>
                    </a:cubicBezTo>
                    <a:cubicBezTo>
                      <a:pt x="64" y="59"/>
                      <a:pt x="63" y="58"/>
                      <a:pt x="64" y="57"/>
                    </a:cubicBezTo>
                    <a:cubicBezTo>
                      <a:pt x="66" y="55"/>
                      <a:pt x="72" y="55"/>
                      <a:pt x="75" y="55"/>
                    </a:cubicBezTo>
                    <a:cubicBezTo>
                      <a:pt x="77" y="54"/>
                      <a:pt x="79" y="53"/>
                      <a:pt x="81" y="52"/>
                    </a:cubicBezTo>
                    <a:cubicBezTo>
                      <a:pt x="84" y="50"/>
                      <a:pt x="86" y="50"/>
                      <a:pt x="89" y="49"/>
                    </a:cubicBezTo>
                    <a:cubicBezTo>
                      <a:pt x="93" y="46"/>
                      <a:pt x="94" y="42"/>
                      <a:pt x="98" y="40"/>
                    </a:cubicBezTo>
                    <a:cubicBezTo>
                      <a:pt x="106" y="37"/>
                      <a:pt x="114" y="35"/>
                      <a:pt x="121"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728"/>
              <p:cNvSpPr/>
              <p:nvPr/>
            </p:nvSpPr>
            <p:spPr bwMode="auto">
              <a:xfrm>
                <a:off x="3725" y="-337"/>
                <a:ext cx="643" cy="212"/>
              </a:xfrm>
              <a:custGeom>
                <a:gdLst>
                  <a:gd name="T0" fmla="*/ 30 w 271"/>
                  <a:gd name="T1" fmla="*/ 32 h 89"/>
                  <a:gd name="T2" fmla="*/ 27 w 271"/>
                  <a:gd name="T3" fmla="*/ 33 h 89"/>
                  <a:gd name="T4" fmla="*/ 23 w 271"/>
                  <a:gd name="T5" fmla="*/ 36 h 89"/>
                  <a:gd name="T6" fmla="*/ 25 w 271"/>
                  <a:gd name="T7" fmla="*/ 44 h 89"/>
                  <a:gd name="T8" fmla="*/ 35 w 271"/>
                  <a:gd name="T9" fmla="*/ 51 h 89"/>
                  <a:gd name="T10" fmla="*/ 71 w 271"/>
                  <a:gd name="T11" fmla="*/ 47 h 89"/>
                  <a:gd name="T12" fmla="*/ 129 w 271"/>
                  <a:gd name="T13" fmla="*/ 46 h 89"/>
                  <a:gd name="T14" fmla="*/ 117 w 271"/>
                  <a:gd name="T15" fmla="*/ 50 h 89"/>
                  <a:gd name="T16" fmla="*/ 114 w 271"/>
                  <a:gd name="T17" fmla="*/ 52 h 89"/>
                  <a:gd name="T18" fmla="*/ 86 w 271"/>
                  <a:gd name="T19" fmla="*/ 52 h 89"/>
                  <a:gd name="T20" fmla="*/ 83 w 271"/>
                  <a:gd name="T21" fmla="*/ 60 h 89"/>
                  <a:gd name="T22" fmla="*/ 90 w 271"/>
                  <a:gd name="T23" fmla="*/ 74 h 89"/>
                  <a:gd name="T24" fmla="*/ 115 w 271"/>
                  <a:gd name="T25" fmla="*/ 73 h 89"/>
                  <a:gd name="T26" fmla="*/ 147 w 271"/>
                  <a:gd name="T27" fmla="*/ 74 h 89"/>
                  <a:gd name="T28" fmla="*/ 186 w 271"/>
                  <a:gd name="T29" fmla="*/ 80 h 89"/>
                  <a:gd name="T30" fmla="*/ 193 w 271"/>
                  <a:gd name="T31" fmla="*/ 76 h 89"/>
                  <a:gd name="T32" fmla="*/ 220 w 271"/>
                  <a:gd name="T33" fmla="*/ 73 h 89"/>
                  <a:gd name="T34" fmla="*/ 233 w 271"/>
                  <a:gd name="T35" fmla="*/ 66 h 89"/>
                  <a:gd name="T36" fmla="*/ 236 w 271"/>
                  <a:gd name="T37" fmla="*/ 56 h 89"/>
                  <a:gd name="T38" fmla="*/ 264 w 271"/>
                  <a:gd name="T39" fmla="*/ 43 h 89"/>
                  <a:gd name="T40" fmla="*/ 267 w 271"/>
                  <a:gd name="T41" fmla="*/ 35 h 89"/>
                  <a:gd name="T42" fmla="*/ 210 w 271"/>
                  <a:gd name="T43" fmla="*/ 14 h 89"/>
                  <a:gd name="T44" fmla="*/ 183 w 271"/>
                  <a:gd name="T45" fmla="*/ 10 h 89"/>
                  <a:gd name="T46" fmla="*/ 174 w 271"/>
                  <a:gd name="T47" fmla="*/ 13 h 89"/>
                  <a:gd name="T48" fmla="*/ 152 w 271"/>
                  <a:gd name="T49" fmla="*/ 25 h 89"/>
                  <a:gd name="T50" fmla="*/ 157 w 271"/>
                  <a:gd name="T51" fmla="*/ 15 h 89"/>
                  <a:gd name="T52" fmla="*/ 152 w 271"/>
                  <a:gd name="T53" fmla="*/ 6 h 89"/>
                  <a:gd name="T54" fmla="*/ 132 w 271"/>
                  <a:gd name="T55" fmla="*/ 5 h 89"/>
                  <a:gd name="T56" fmla="*/ 136 w 271"/>
                  <a:gd name="T57" fmla="*/ 12 h 89"/>
                  <a:gd name="T58" fmla="*/ 134 w 271"/>
                  <a:gd name="T59" fmla="*/ 19 h 89"/>
                  <a:gd name="T60" fmla="*/ 127 w 271"/>
                  <a:gd name="T61" fmla="*/ 34 h 89"/>
                  <a:gd name="T62" fmla="*/ 110 w 271"/>
                  <a:gd name="T63" fmla="*/ 25 h 89"/>
                  <a:gd name="T64" fmla="*/ 91 w 271"/>
                  <a:gd name="T65" fmla="*/ 19 h 89"/>
                  <a:gd name="T66" fmla="*/ 71 w 271"/>
                  <a:gd name="T67" fmla="*/ 8 h 89"/>
                  <a:gd name="T68" fmla="*/ 49 w 271"/>
                  <a:gd name="T69" fmla="*/ 6 h 89"/>
                  <a:gd name="T70" fmla="*/ 58 w 271"/>
                  <a:gd name="T71" fmla="*/ 10 h 89"/>
                  <a:gd name="T72" fmla="*/ 53 w 271"/>
                  <a:gd name="T73" fmla="*/ 18 h 89"/>
                  <a:gd name="T74" fmla="*/ 35 w 271"/>
                  <a:gd name="T75" fmla="*/ 11 h 89"/>
                  <a:gd name="T76" fmla="*/ 40 w 271"/>
                  <a:gd name="T77" fmla="*/ 18 h 89"/>
                  <a:gd name="T78" fmla="*/ 33 w 271"/>
                  <a:gd name="T79" fmla="*/ 30 h 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89">
                    <a:moveTo>
                      <a:pt x="33" y="30"/>
                    </a:moveTo>
                    <a:cubicBezTo>
                      <a:pt x="32" y="31"/>
                      <a:pt x="32" y="32"/>
                      <a:pt x="30" y="32"/>
                    </a:cubicBezTo>
                    <a:cubicBezTo>
                      <a:pt x="28" y="32"/>
                      <a:pt x="30" y="33"/>
                      <a:pt x="29" y="34"/>
                    </a:cubicBezTo>
                    <a:cubicBezTo>
                      <a:pt x="28" y="34"/>
                      <a:pt x="29" y="35"/>
                      <a:pt x="27" y="33"/>
                    </a:cubicBezTo>
                    <a:cubicBezTo>
                      <a:pt x="26" y="32"/>
                      <a:pt x="24" y="32"/>
                      <a:pt x="25" y="34"/>
                    </a:cubicBezTo>
                    <a:cubicBezTo>
                      <a:pt x="27" y="36"/>
                      <a:pt x="23" y="35"/>
                      <a:pt x="23" y="36"/>
                    </a:cubicBezTo>
                    <a:cubicBezTo>
                      <a:pt x="22" y="37"/>
                      <a:pt x="22" y="37"/>
                      <a:pt x="22" y="39"/>
                    </a:cubicBezTo>
                    <a:cubicBezTo>
                      <a:pt x="23" y="41"/>
                      <a:pt x="24" y="42"/>
                      <a:pt x="25" y="44"/>
                    </a:cubicBezTo>
                    <a:cubicBezTo>
                      <a:pt x="25" y="45"/>
                      <a:pt x="28" y="51"/>
                      <a:pt x="30" y="51"/>
                    </a:cubicBezTo>
                    <a:cubicBezTo>
                      <a:pt x="32" y="50"/>
                      <a:pt x="33" y="50"/>
                      <a:pt x="35" y="51"/>
                    </a:cubicBezTo>
                    <a:cubicBezTo>
                      <a:pt x="43" y="51"/>
                      <a:pt x="50" y="52"/>
                      <a:pt x="57" y="50"/>
                    </a:cubicBezTo>
                    <a:cubicBezTo>
                      <a:pt x="62" y="49"/>
                      <a:pt x="67" y="48"/>
                      <a:pt x="71" y="47"/>
                    </a:cubicBezTo>
                    <a:cubicBezTo>
                      <a:pt x="80" y="45"/>
                      <a:pt x="89" y="46"/>
                      <a:pt x="97" y="46"/>
                    </a:cubicBezTo>
                    <a:cubicBezTo>
                      <a:pt x="108" y="46"/>
                      <a:pt x="118" y="46"/>
                      <a:pt x="129" y="46"/>
                    </a:cubicBezTo>
                    <a:cubicBezTo>
                      <a:pt x="133" y="46"/>
                      <a:pt x="126" y="48"/>
                      <a:pt x="125" y="48"/>
                    </a:cubicBezTo>
                    <a:cubicBezTo>
                      <a:pt x="122" y="49"/>
                      <a:pt x="119" y="49"/>
                      <a:pt x="117" y="50"/>
                    </a:cubicBezTo>
                    <a:cubicBezTo>
                      <a:pt x="117" y="50"/>
                      <a:pt x="117" y="52"/>
                      <a:pt x="116" y="52"/>
                    </a:cubicBezTo>
                    <a:cubicBezTo>
                      <a:pt x="116" y="52"/>
                      <a:pt x="114" y="52"/>
                      <a:pt x="114" y="52"/>
                    </a:cubicBezTo>
                    <a:cubicBezTo>
                      <a:pt x="112" y="52"/>
                      <a:pt x="110" y="52"/>
                      <a:pt x="108" y="52"/>
                    </a:cubicBezTo>
                    <a:cubicBezTo>
                      <a:pt x="100" y="51"/>
                      <a:pt x="93" y="52"/>
                      <a:pt x="86" y="52"/>
                    </a:cubicBezTo>
                    <a:cubicBezTo>
                      <a:pt x="88" y="56"/>
                      <a:pt x="93" y="58"/>
                      <a:pt x="97" y="61"/>
                    </a:cubicBezTo>
                    <a:cubicBezTo>
                      <a:pt x="94" y="62"/>
                      <a:pt x="86" y="60"/>
                      <a:pt x="83" y="60"/>
                    </a:cubicBezTo>
                    <a:cubicBezTo>
                      <a:pt x="76" y="59"/>
                      <a:pt x="71" y="55"/>
                      <a:pt x="64" y="56"/>
                    </a:cubicBezTo>
                    <a:cubicBezTo>
                      <a:pt x="68" y="67"/>
                      <a:pt x="79" y="73"/>
                      <a:pt x="90" y="74"/>
                    </a:cubicBezTo>
                    <a:cubicBezTo>
                      <a:pt x="95" y="74"/>
                      <a:pt x="99" y="72"/>
                      <a:pt x="104" y="72"/>
                    </a:cubicBezTo>
                    <a:cubicBezTo>
                      <a:pt x="107" y="72"/>
                      <a:pt x="111" y="74"/>
                      <a:pt x="115" y="73"/>
                    </a:cubicBezTo>
                    <a:cubicBezTo>
                      <a:pt x="117" y="73"/>
                      <a:pt x="119" y="72"/>
                      <a:pt x="121" y="72"/>
                    </a:cubicBezTo>
                    <a:cubicBezTo>
                      <a:pt x="130" y="70"/>
                      <a:pt x="139" y="73"/>
                      <a:pt x="147" y="74"/>
                    </a:cubicBezTo>
                    <a:cubicBezTo>
                      <a:pt x="159" y="76"/>
                      <a:pt x="168" y="89"/>
                      <a:pt x="181" y="85"/>
                    </a:cubicBezTo>
                    <a:cubicBezTo>
                      <a:pt x="184" y="84"/>
                      <a:pt x="184" y="82"/>
                      <a:pt x="186" y="80"/>
                    </a:cubicBezTo>
                    <a:cubicBezTo>
                      <a:pt x="187" y="78"/>
                      <a:pt x="186" y="77"/>
                      <a:pt x="189" y="77"/>
                    </a:cubicBezTo>
                    <a:cubicBezTo>
                      <a:pt x="190" y="77"/>
                      <a:pt x="192" y="77"/>
                      <a:pt x="193" y="76"/>
                    </a:cubicBezTo>
                    <a:cubicBezTo>
                      <a:pt x="199" y="75"/>
                      <a:pt x="206" y="77"/>
                      <a:pt x="213" y="76"/>
                    </a:cubicBezTo>
                    <a:cubicBezTo>
                      <a:pt x="215" y="75"/>
                      <a:pt x="217" y="74"/>
                      <a:pt x="220" y="73"/>
                    </a:cubicBezTo>
                    <a:cubicBezTo>
                      <a:pt x="222" y="72"/>
                      <a:pt x="225" y="72"/>
                      <a:pt x="227" y="71"/>
                    </a:cubicBezTo>
                    <a:cubicBezTo>
                      <a:pt x="230" y="69"/>
                      <a:pt x="230" y="67"/>
                      <a:pt x="233" y="66"/>
                    </a:cubicBezTo>
                    <a:cubicBezTo>
                      <a:pt x="237" y="63"/>
                      <a:pt x="231" y="61"/>
                      <a:pt x="230" y="59"/>
                    </a:cubicBezTo>
                    <a:cubicBezTo>
                      <a:pt x="230" y="57"/>
                      <a:pt x="233" y="56"/>
                      <a:pt x="236" y="56"/>
                    </a:cubicBezTo>
                    <a:cubicBezTo>
                      <a:pt x="241" y="54"/>
                      <a:pt x="246" y="53"/>
                      <a:pt x="250" y="50"/>
                    </a:cubicBezTo>
                    <a:cubicBezTo>
                      <a:pt x="254" y="48"/>
                      <a:pt x="258" y="44"/>
                      <a:pt x="264" y="43"/>
                    </a:cubicBezTo>
                    <a:cubicBezTo>
                      <a:pt x="266" y="43"/>
                      <a:pt x="271" y="41"/>
                      <a:pt x="270" y="38"/>
                    </a:cubicBezTo>
                    <a:cubicBezTo>
                      <a:pt x="270" y="37"/>
                      <a:pt x="267" y="37"/>
                      <a:pt x="267" y="35"/>
                    </a:cubicBezTo>
                    <a:cubicBezTo>
                      <a:pt x="267" y="33"/>
                      <a:pt x="270" y="28"/>
                      <a:pt x="270" y="27"/>
                    </a:cubicBezTo>
                    <a:cubicBezTo>
                      <a:pt x="250" y="22"/>
                      <a:pt x="230" y="18"/>
                      <a:pt x="210" y="14"/>
                    </a:cubicBezTo>
                    <a:cubicBezTo>
                      <a:pt x="202" y="12"/>
                      <a:pt x="195" y="10"/>
                      <a:pt x="187" y="9"/>
                    </a:cubicBezTo>
                    <a:cubicBezTo>
                      <a:pt x="186" y="9"/>
                      <a:pt x="182" y="9"/>
                      <a:pt x="183" y="10"/>
                    </a:cubicBezTo>
                    <a:cubicBezTo>
                      <a:pt x="183" y="12"/>
                      <a:pt x="188" y="12"/>
                      <a:pt x="189" y="12"/>
                    </a:cubicBezTo>
                    <a:cubicBezTo>
                      <a:pt x="184" y="13"/>
                      <a:pt x="179" y="13"/>
                      <a:pt x="174" y="13"/>
                    </a:cubicBezTo>
                    <a:cubicBezTo>
                      <a:pt x="171" y="13"/>
                      <a:pt x="169" y="16"/>
                      <a:pt x="172" y="17"/>
                    </a:cubicBezTo>
                    <a:cubicBezTo>
                      <a:pt x="168" y="20"/>
                      <a:pt x="158" y="26"/>
                      <a:pt x="152" y="25"/>
                    </a:cubicBezTo>
                    <a:cubicBezTo>
                      <a:pt x="149" y="24"/>
                      <a:pt x="149" y="17"/>
                      <a:pt x="152" y="16"/>
                    </a:cubicBezTo>
                    <a:cubicBezTo>
                      <a:pt x="154" y="16"/>
                      <a:pt x="156" y="16"/>
                      <a:pt x="157" y="15"/>
                    </a:cubicBezTo>
                    <a:cubicBezTo>
                      <a:pt x="158" y="15"/>
                      <a:pt x="159" y="12"/>
                      <a:pt x="159" y="11"/>
                    </a:cubicBezTo>
                    <a:cubicBezTo>
                      <a:pt x="158" y="10"/>
                      <a:pt x="153" y="7"/>
                      <a:pt x="152" y="6"/>
                    </a:cubicBezTo>
                    <a:cubicBezTo>
                      <a:pt x="149" y="4"/>
                      <a:pt x="146" y="1"/>
                      <a:pt x="143" y="0"/>
                    </a:cubicBezTo>
                    <a:cubicBezTo>
                      <a:pt x="146" y="7"/>
                      <a:pt x="136" y="2"/>
                      <a:pt x="132" y="5"/>
                    </a:cubicBezTo>
                    <a:cubicBezTo>
                      <a:pt x="130" y="7"/>
                      <a:pt x="130" y="9"/>
                      <a:pt x="132" y="11"/>
                    </a:cubicBezTo>
                    <a:cubicBezTo>
                      <a:pt x="133" y="12"/>
                      <a:pt x="135" y="11"/>
                      <a:pt x="136" y="12"/>
                    </a:cubicBezTo>
                    <a:cubicBezTo>
                      <a:pt x="139" y="15"/>
                      <a:pt x="135" y="14"/>
                      <a:pt x="134" y="16"/>
                    </a:cubicBezTo>
                    <a:cubicBezTo>
                      <a:pt x="134" y="17"/>
                      <a:pt x="135" y="18"/>
                      <a:pt x="134" y="19"/>
                    </a:cubicBezTo>
                    <a:cubicBezTo>
                      <a:pt x="134" y="20"/>
                      <a:pt x="133" y="21"/>
                      <a:pt x="133" y="21"/>
                    </a:cubicBezTo>
                    <a:cubicBezTo>
                      <a:pt x="132" y="26"/>
                      <a:pt x="133" y="31"/>
                      <a:pt x="127" y="34"/>
                    </a:cubicBezTo>
                    <a:cubicBezTo>
                      <a:pt x="126" y="31"/>
                      <a:pt x="127" y="31"/>
                      <a:pt x="125" y="29"/>
                    </a:cubicBezTo>
                    <a:cubicBezTo>
                      <a:pt x="122" y="25"/>
                      <a:pt x="115" y="27"/>
                      <a:pt x="110" y="25"/>
                    </a:cubicBezTo>
                    <a:cubicBezTo>
                      <a:pt x="110" y="25"/>
                      <a:pt x="111" y="23"/>
                      <a:pt x="112" y="23"/>
                    </a:cubicBezTo>
                    <a:cubicBezTo>
                      <a:pt x="105" y="21"/>
                      <a:pt x="98" y="21"/>
                      <a:pt x="91" y="19"/>
                    </a:cubicBezTo>
                    <a:cubicBezTo>
                      <a:pt x="87" y="19"/>
                      <a:pt x="86" y="16"/>
                      <a:pt x="83" y="14"/>
                    </a:cubicBezTo>
                    <a:cubicBezTo>
                      <a:pt x="79" y="12"/>
                      <a:pt x="76" y="10"/>
                      <a:pt x="71" y="8"/>
                    </a:cubicBezTo>
                    <a:cubicBezTo>
                      <a:pt x="65" y="6"/>
                      <a:pt x="59" y="3"/>
                      <a:pt x="53" y="1"/>
                    </a:cubicBezTo>
                    <a:cubicBezTo>
                      <a:pt x="53" y="1"/>
                      <a:pt x="45" y="4"/>
                      <a:pt x="49" y="6"/>
                    </a:cubicBezTo>
                    <a:cubicBezTo>
                      <a:pt x="52" y="8"/>
                      <a:pt x="57" y="7"/>
                      <a:pt x="61" y="8"/>
                    </a:cubicBezTo>
                    <a:cubicBezTo>
                      <a:pt x="60" y="9"/>
                      <a:pt x="59" y="10"/>
                      <a:pt x="58" y="10"/>
                    </a:cubicBezTo>
                    <a:cubicBezTo>
                      <a:pt x="58" y="11"/>
                      <a:pt x="59" y="11"/>
                      <a:pt x="59" y="11"/>
                    </a:cubicBezTo>
                    <a:cubicBezTo>
                      <a:pt x="56" y="12"/>
                      <a:pt x="56" y="17"/>
                      <a:pt x="53" y="18"/>
                    </a:cubicBezTo>
                    <a:cubicBezTo>
                      <a:pt x="51" y="19"/>
                      <a:pt x="42" y="13"/>
                      <a:pt x="40" y="12"/>
                    </a:cubicBezTo>
                    <a:cubicBezTo>
                      <a:pt x="40" y="12"/>
                      <a:pt x="35" y="10"/>
                      <a:pt x="35" y="11"/>
                    </a:cubicBezTo>
                    <a:cubicBezTo>
                      <a:pt x="35" y="12"/>
                      <a:pt x="37" y="12"/>
                      <a:pt x="37" y="13"/>
                    </a:cubicBezTo>
                    <a:cubicBezTo>
                      <a:pt x="38" y="15"/>
                      <a:pt x="38" y="17"/>
                      <a:pt x="40" y="18"/>
                    </a:cubicBezTo>
                    <a:cubicBezTo>
                      <a:pt x="27" y="20"/>
                      <a:pt x="13" y="23"/>
                      <a:pt x="0" y="25"/>
                    </a:cubicBezTo>
                    <a:cubicBezTo>
                      <a:pt x="11" y="26"/>
                      <a:pt x="22" y="28"/>
                      <a:pt x="33"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729"/>
              <p:cNvSpPr/>
              <p:nvPr/>
            </p:nvSpPr>
            <p:spPr bwMode="auto">
              <a:xfrm>
                <a:off x="4669" y="-291"/>
                <a:ext cx="128" cy="21"/>
              </a:xfrm>
              <a:custGeom>
                <a:gdLst>
                  <a:gd name="T0" fmla="*/ 41 w 54"/>
                  <a:gd name="T1" fmla="*/ 3 h 9"/>
                  <a:gd name="T2" fmla="*/ 54 w 54"/>
                  <a:gd name="T3" fmla="*/ 0 h 9"/>
                  <a:gd name="T4" fmla="*/ 0 w 54"/>
                  <a:gd name="T5" fmla="*/ 9 h 9"/>
                  <a:gd name="T6" fmla="*/ 28 w 54"/>
                  <a:gd name="T7" fmla="*/ 6 h 9"/>
                  <a:gd name="T8" fmla="*/ 41 w 54"/>
                  <a:gd name="T9" fmla="*/ 3 h 9"/>
                </a:gdLst>
                <a:cxnLst>
                  <a:cxn ang="0">
                    <a:pos x="T0" y="T1"/>
                  </a:cxn>
                  <a:cxn ang="0">
                    <a:pos x="T2" y="T3"/>
                  </a:cxn>
                  <a:cxn ang="0">
                    <a:pos x="T4" y="T5"/>
                  </a:cxn>
                  <a:cxn ang="0">
                    <a:pos x="T6" y="T7"/>
                  </a:cxn>
                  <a:cxn ang="0">
                    <a:pos x="T8" y="T9"/>
                  </a:cxn>
                </a:cxnLst>
                <a:rect l="0" t="0" r="r" b="b"/>
                <a:pathLst>
                  <a:path w="54" h="9">
                    <a:moveTo>
                      <a:pt x="41" y="3"/>
                    </a:moveTo>
                    <a:cubicBezTo>
                      <a:pt x="45" y="2"/>
                      <a:pt x="51" y="2"/>
                      <a:pt x="54" y="0"/>
                    </a:cubicBezTo>
                    <a:cubicBezTo>
                      <a:pt x="36" y="3"/>
                      <a:pt x="18" y="6"/>
                      <a:pt x="0" y="9"/>
                    </a:cubicBezTo>
                    <a:cubicBezTo>
                      <a:pt x="9" y="8"/>
                      <a:pt x="19" y="7"/>
                      <a:pt x="28" y="6"/>
                    </a:cubicBezTo>
                    <a:cubicBezTo>
                      <a:pt x="33" y="5"/>
                      <a:pt x="37" y="4"/>
                      <a:pt x="4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730"/>
              <p:cNvSpPr/>
              <p:nvPr/>
            </p:nvSpPr>
            <p:spPr bwMode="auto">
              <a:xfrm>
                <a:off x="4408" y="-101"/>
                <a:ext cx="121" cy="24"/>
              </a:xfrm>
              <a:custGeom>
                <a:gdLst>
                  <a:gd name="T0" fmla="*/ 18 w 51"/>
                  <a:gd name="T1" fmla="*/ 5 h 10"/>
                  <a:gd name="T2" fmla="*/ 29 w 51"/>
                  <a:gd name="T3" fmla="*/ 4 h 10"/>
                  <a:gd name="T4" fmla="*/ 41 w 51"/>
                  <a:gd name="T5" fmla="*/ 7 h 10"/>
                  <a:gd name="T6" fmla="*/ 51 w 51"/>
                  <a:gd name="T7" fmla="*/ 5 h 10"/>
                  <a:gd name="T8" fmla="*/ 24 w 51"/>
                  <a:gd name="T9" fmla="*/ 0 h 10"/>
                  <a:gd name="T10" fmla="*/ 0 w 51"/>
                  <a:gd name="T11" fmla="*/ 7 h 10"/>
                  <a:gd name="T12" fmla="*/ 7 w 51"/>
                  <a:gd name="T13" fmla="*/ 10 h 10"/>
                  <a:gd name="T14" fmla="*/ 18 w 51"/>
                  <a:gd name="T15" fmla="*/ 5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0">
                    <a:moveTo>
                      <a:pt x="18" y="5"/>
                    </a:moveTo>
                    <a:cubicBezTo>
                      <a:pt x="22" y="5"/>
                      <a:pt x="26" y="3"/>
                      <a:pt x="29" y="4"/>
                    </a:cubicBezTo>
                    <a:cubicBezTo>
                      <a:pt x="33" y="5"/>
                      <a:pt x="36" y="8"/>
                      <a:pt x="41" y="7"/>
                    </a:cubicBezTo>
                    <a:cubicBezTo>
                      <a:pt x="44" y="7"/>
                      <a:pt x="48" y="5"/>
                      <a:pt x="51" y="5"/>
                    </a:cubicBezTo>
                    <a:cubicBezTo>
                      <a:pt x="43" y="2"/>
                      <a:pt x="33" y="1"/>
                      <a:pt x="24" y="0"/>
                    </a:cubicBezTo>
                    <a:cubicBezTo>
                      <a:pt x="15" y="0"/>
                      <a:pt x="9" y="5"/>
                      <a:pt x="0" y="7"/>
                    </a:cubicBezTo>
                    <a:cubicBezTo>
                      <a:pt x="2" y="9"/>
                      <a:pt x="5" y="9"/>
                      <a:pt x="7" y="10"/>
                    </a:cubicBezTo>
                    <a:cubicBezTo>
                      <a:pt x="9" y="8"/>
                      <a:pt x="15" y="5"/>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731"/>
              <p:cNvSpPr/>
              <p:nvPr/>
            </p:nvSpPr>
            <p:spPr bwMode="auto">
              <a:xfrm>
                <a:off x="4213" y="242"/>
                <a:ext cx="27" cy="24"/>
              </a:xfrm>
              <a:custGeom>
                <a:gdLst>
                  <a:gd name="T0" fmla="*/ 0 w 11"/>
                  <a:gd name="T1" fmla="*/ 10 h 10"/>
                  <a:gd name="T2" fmla="*/ 11 w 11"/>
                  <a:gd name="T3" fmla="*/ 0 h 10"/>
                  <a:gd name="T4" fmla="*/ 0 w 11"/>
                  <a:gd name="T5" fmla="*/ 10 h 10"/>
                </a:gdLst>
                <a:cxnLst>
                  <a:cxn ang="0">
                    <a:pos x="T0" y="T1"/>
                  </a:cxn>
                  <a:cxn ang="0">
                    <a:pos x="T2" y="T3"/>
                  </a:cxn>
                  <a:cxn ang="0">
                    <a:pos x="T4" y="T5"/>
                  </a:cxn>
                </a:cxnLst>
                <a:rect l="0" t="0" r="r" b="b"/>
                <a:pathLst>
                  <a:path w="11" h="10">
                    <a:moveTo>
                      <a:pt x="0" y="10"/>
                    </a:moveTo>
                    <a:cubicBezTo>
                      <a:pt x="4" y="7"/>
                      <a:pt x="8" y="3"/>
                      <a:pt x="11" y="0"/>
                    </a:cubicBezTo>
                    <a:cubicBezTo>
                      <a:pt x="7" y="2"/>
                      <a:pt x="3" y="6"/>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732"/>
              <p:cNvSpPr/>
              <p:nvPr/>
            </p:nvSpPr>
            <p:spPr bwMode="auto">
              <a:xfrm>
                <a:off x="3886" y="-49"/>
                <a:ext cx="142" cy="62"/>
              </a:xfrm>
              <a:custGeom>
                <a:gdLst>
                  <a:gd name="T0" fmla="*/ 29 w 60"/>
                  <a:gd name="T1" fmla="*/ 25 h 26"/>
                  <a:gd name="T2" fmla="*/ 36 w 60"/>
                  <a:gd name="T3" fmla="*/ 24 h 26"/>
                  <a:gd name="T4" fmla="*/ 54 w 60"/>
                  <a:gd name="T5" fmla="*/ 22 h 26"/>
                  <a:gd name="T6" fmla="*/ 60 w 60"/>
                  <a:gd name="T7" fmla="*/ 18 h 26"/>
                  <a:gd name="T8" fmla="*/ 60 w 60"/>
                  <a:gd name="T9" fmla="*/ 13 h 26"/>
                  <a:gd name="T10" fmla="*/ 60 w 60"/>
                  <a:gd name="T11" fmla="*/ 8 h 26"/>
                  <a:gd name="T12" fmla="*/ 57 w 60"/>
                  <a:gd name="T13" fmla="*/ 6 h 26"/>
                  <a:gd name="T14" fmla="*/ 56 w 60"/>
                  <a:gd name="T15" fmla="*/ 2 h 26"/>
                  <a:gd name="T16" fmla="*/ 52 w 60"/>
                  <a:gd name="T17" fmla="*/ 3 h 26"/>
                  <a:gd name="T18" fmla="*/ 48 w 60"/>
                  <a:gd name="T19" fmla="*/ 2 h 26"/>
                  <a:gd name="T20" fmla="*/ 44 w 60"/>
                  <a:gd name="T21" fmla="*/ 1 h 26"/>
                  <a:gd name="T22" fmla="*/ 40 w 60"/>
                  <a:gd name="T23" fmla="*/ 3 h 26"/>
                  <a:gd name="T24" fmla="*/ 33 w 60"/>
                  <a:gd name="T25" fmla="*/ 0 h 26"/>
                  <a:gd name="T26" fmla="*/ 27 w 60"/>
                  <a:gd name="T27" fmla="*/ 4 h 26"/>
                  <a:gd name="T28" fmla="*/ 18 w 60"/>
                  <a:gd name="T29" fmla="*/ 5 h 26"/>
                  <a:gd name="T30" fmla="*/ 0 w 60"/>
                  <a:gd name="T31" fmla="*/ 9 h 26"/>
                  <a:gd name="T32" fmla="*/ 15 w 60"/>
                  <a:gd name="T33" fmla="*/ 16 h 26"/>
                  <a:gd name="T34" fmla="*/ 18 w 60"/>
                  <a:gd name="T35" fmla="*/ 21 h 26"/>
                  <a:gd name="T36" fmla="*/ 16 w 60"/>
                  <a:gd name="T37" fmla="*/ 26 h 26"/>
                  <a:gd name="T38" fmla="*/ 29 w 60"/>
                  <a:gd name="T39" fmla="*/ 25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26">
                    <a:moveTo>
                      <a:pt x="29" y="25"/>
                    </a:moveTo>
                    <a:cubicBezTo>
                      <a:pt x="31" y="25"/>
                      <a:pt x="33" y="24"/>
                      <a:pt x="36" y="24"/>
                    </a:cubicBezTo>
                    <a:cubicBezTo>
                      <a:pt x="42" y="23"/>
                      <a:pt x="48" y="23"/>
                      <a:pt x="54" y="22"/>
                    </a:cubicBezTo>
                    <a:cubicBezTo>
                      <a:pt x="57" y="22"/>
                      <a:pt x="60" y="21"/>
                      <a:pt x="60" y="18"/>
                    </a:cubicBezTo>
                    <a:cubicBezTo>
                      <a:pt x="60" y="16"/>
                      <a:pt x="59" y="15"/>
                      <a:pt x="60" y="13"/>
                    </a:cubicBezTo>
                    <a:cubicBezTo>
                      <a:pt x="60" y="11"/>
                      <a:pt x="60" y="9"/>
                      <a:pt x="60" y="8"/>
                    </a:cubicBezTo>
                    <a:cubicBezTo>
                      <a:pt x="59" y="7"/>
                      <a:pt x="58" y="7"/>
                      <a:pt x="57" y="6"/>
                    </a:cubicBezTo>
                    <a:cubicBezTo>
                      <a:pt x="57" y="6"/>
                      <a:pt x="56" y="2"/>
                      <a:pt x="56" y="2"/>
                    </a:cubicBezTo>
                    <a:cubicBezTo>
                      <a:pt x="54" y="1"/>
                      <a:pt x="53" y="3"/>
                      <a:pt x="52" y="3"/>
                    </a:cubicBezTo>
                    <a:cubicBezTo>
                      <a:pt x="51" y="3"/>
                      <a:pt x="48" y="2"/>
                      <a:pt x="48" y="2"/>
                    </a:cubicBezTo>
                    <a:cubicBezTo>
                      <a:pt x="46" y="2"/>
                      <a:pt x="46" y="1"/>
                      <a:pt x="44" y="1"/>
                    </a:cubicBezTo>
                    <a:cubicBezTo>
                      <a:pt x="42" y="1"/>
                      <a:pt x="41" y="3"/>
                      <a:pt x="40" y="3"/>
                    </a:cubicBezTo>
                    <a:cubicBezTo>
                      <a:pt x="37" y="3"/>
                      <a:pt x="36" y="0"/>
                      <a:pt x="33" y="0"/>
                    </a:cubicBezTo>
                    <a:cubicBezTo>
                      <a:pt x="28" y="0"/>
                      <a:pt x="30" y="2"/>
                      <a:pt x="27" y="4"/>
                    </a:cubicBezTo>
                    <a:cubicBezTo>
                      <a:pt x="24" y="5"/>
                      <a:pt x="21" y="4"/>
                      <a:pt x="18" y="5"/>
                    </a:cubicBezTo>
                    <a:cubicBezTo>
                      <a:pt x="12" y="6"/>
                      <a:pt x="5" y="6"/>
                      <a:pt x="0" y="9"/>
                    </a:cubicBezTo>
                    <a:cubicBezTo>
                      <a:pt x="4" y="11"/>
                      <a:pt x="14" y="12"/>
                      <a:pt x="15" y="16"/>
                    </a:cubicBezTo>
                    <a:cubicBezTo>
                      <a:pt x="16" y="18"/>
                      <a:pt x="18" y="20"/>
                      <a:pt x="18" y="21"/>
                    </a:cubicBezTo>
                    <a:cubicBezTo>
                      <a:pt x="18" y="23"/>
                      <a:pt x="16" y="25"/>
                      <a:pt x="16" y="26"/>
                    </a:cubicBezTo>
                    <a:cubicBezTo>
                      <a:pt x="18" y="23"/>
                      <a:pt x="25" y="26"/>
                      <a:pt x="29"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042217380"/>
      </p:ext>
    </p:extLst>
  </p:cSld>
  <p:clrMapOvr>
    <a:masterClrMapping/>
  </p:clrMapOvr>
  <p:transition/>
  <p:timing/>
</p:sldLayout>
</file>

<file path=ppt/slideLayouts/slideLayout18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si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grpSp>
        <p:nvGrpSpPr>
          <p:cNvPr id="365" name="Group 364"/>
          <p:cNvGrpSpPr/>
          <p:nvPr userDrawn="1"/>
        </p:nvGrpSpPr>
        <p:grpSpPr>
          <a:xfrm>
            <a:off x="2" y="939451"/>
            <a:ext cx="8898516" cy="5921261"/>
            <a:chOff x="1" y="2713"/>
            <a:chExt cx="10306255" cy="6858000"/>
          </a:xfrm>
          <a:gradFill>
            <a:gsLst>
              <a:gs pos="100000">
                <a:schemeClr val="accent5"/>
              </a:gs>
              <a:gs pos="0">
                <a:schemeClr val="accent1"/>
              </a:gs>
            </a:gsLst>
            <a:lin ang="0" scaled="1"/>
          </a:gradFill>
        </p:grpSpPr>
        <p:grpSp>
          <p:nvGrpSpPr>
            <p:cNvPr id="366" name="Group 205"/>
            <p:cNvGrpSpPr/>
            <p:nvPr/>
          </p:nvGrpSpPr>
          <p:grpSpPr>
            <a:xfrm>
              <a:off x="1" y="236540"/>
              <a:ext cx="10306255" cy="6624172"/>
              <a:chOff x="3665" y="-1441"/>
              <a:chExt cx="7493" cy="4816"/>
            </a:xfrm>
            <a:grpFill/>
          </p:grpSpPr>
          <p:sp>
            <p:nvSpPr>
              <p:cNvPr id="998" name="Rectangle 5"/>
              <p:cNvSpPr>
                <a:spLocks noChangeArrowheads="1"/>
              </p:cNvSpPr>
              <p:nvPr/>
            </p:nvSpPr>
            <p:spPr bwMode="auto">
              <a:xfrm>
                <a:off x="4719" y="103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9" name="Rectangle 6"/>
              <p:cNvSpPr>
                <a:spLocks noChangeArrowheads="1"/>
              </p:cNvSpPr>
              <p:nvPr/>
            </p:nvSpPr>
            <p:spPr bwMode="auto">
              <a:xfrm>
                <a:off x="4719" y="103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Freeform 7"/>
              <p:cNvSpPr/>
              <p:nvPr/>
            </p:nvSpPr>
            <p:spPr bwMode="auto">
              <a:xfrm>
                <a:off x="6931" y="2817"/>
                <a:ext cx="7" cy="12"/>
              </a:xfrm>
              <a:custGeom>
                <a:gdLst>
                  <a:gd name="T0" fmla="*/ 1 w 3"/>
                  <a:gd name="T1" fmla="*/ 0 h 5"/>
                  <a:gd name="T2" fmla="*/ 0 w 3"/>
                  <a:gd name="T3" fmla="*/ 1 h 5"/>
                  <a:gd name="T4" fmla="*/ 3 w 3"/>
                  <a:gd name="T5" fmla="*/ 5 h 5"/>
                  <a:gd name="T6" fmla="*/ 2 w 3"/>
                  <a:gd name="T7" fmla="*/ 0 h 5"/>
                  <a:gd name="T8" fmla="*/ 1 w 3"/>
                  <a:gd name="T9" fmla="*/ 0 h 5"/>
                  <a:gd name="T10" fmla="*/ 1 w 3"/>
                  <a:gd name="T11" fmla="*/ 0 h 5"/>
                  <a:gd name="T12" fmla="*/ 1 w 3"/>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3" h="5">
                    <a:moveTo>
                      <a:pt x="1" y="0"/>
                    </a:moveTo>
                    <a:cubicBezTo>
                      <a:pt x="0" y="0"/>
                      <a:pt x="0" y="0"/>
                      <a:pt x="0" y="1"/>
                    </a:cubicBezTo>
                    <a:cubicBezTo>
                      <a:pt x="0" y="2"/>
                      <a:pt x="3" y="4"/>
                      <a:pt x="3" y="5"/>
                    </a:cubicBezTo>
                    <a:cubicBezTo>
                      <a:pt x="3" y="4"/>
                      <a:pt x="2" y="1"/>
                      <a:pt x="2"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1" name="Freeform 8"/>
              <p:cNvSpPr/>
              <p:nvPr/>
            </p:nvSpPr>
            <p:spPr bwMode="auto">
              <a:xfrm>
                <a:off x="5733" y="2746"/>
                <a:ext cx="12" cy="15"/>
              </a:xfrm>
              <a:custGeom>
                <a:gdLst>
                  <a:gd name="T0" fmla="*/ 5 w 5"/>
                  <a:gd name="T1" fmla="*/ 0 h 6"/>
                  <a:gd name="T2" fmla="*/ 0 w 5"/>
                  <a:gd name="T3" fmla="*/ 0 h 6"/>
                  <a:gd name="T4" fmla="*/ 0 w 5"/>
                  <a:gd name="T5" fmla="*/ 6 h 6"/>
                  <a:gd name="T6" fmla="*/ 5 w 5"/>
                  <a:gd name="T7" fmla="*/ 0 h 6"/>
                </a:gdLst>
                <a:cxnLst>
                  <a:cxn ang="0">
                    <a:pos x="T0" y="T1"/>
                  </a:cxn>
                  <a:cxn ang="0">
                    <a:pos x="T2" y="T3"/>
                  </a:cxn>
                  <a:cxn ang="0">
                    <a:pos x="T4" y="T5"/>
                  </a:cxn>
                  <a:cxn ang="0">
                    <a:pos x="T6" y="T7"/>
                  </a:cxn>
                </a:cxnLst>
                <a:rect l="0" t="0" r="r" b="b"/>
                <a:pathLst>
                  <a:path w="5" h="6">
                    <a:moveTo>
                      <a:pt x="5" y="0"/>
                    </a:moveTo>
                    <a:cubicBezTo>
                      <a:pt x="3" y="0"/>
                      <a:pt x="2" y="0"/>
                      <a:pt x="0" y="0"/>
                    </a:cubicBezTo>
                    <a:cubicBezTo>
                      <a:pt x="0" y="2"/>
                      <a:pt x="0" y="4"/>
                      <a:pt x="0" y="6"/>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Freeform 9"/>
              <p:cNvSpPr/>
              <p:nvPr/>
            </p:nvSpPr>
            <p:spPr bwMode="auto">
              <a:xfrm>
                <a:off x="6697" y="2396"/>
                <a:ext cx="5" cy="12"/>
              </a:xfrm>
              <a:custGeom>
                <a:gdLst>
                  <a:gd name="T0" fmla="*/ 0 w 2"/>
                  <a:gd name="T1" fmla="*/ 0 h 5"/>
                  <a:gd name="T2" fmla="*/ 1 w 2"/>
                  <a:gd name="T3" fmla="*/ 3 h 5"/>
                  <a:gd name="T4" fmla="*/ 2 w 2"/>
                  <a:gd name="T5" fmla="*/ 5 h 5"/>
                  <a:gd name="T6" fmla="*/ 1 w 2"/>
                  <a:gd name="T7" fmla="*/ 2 h 5"/>
                  <a:gd name="T8" fmla="*/ 0 w 2"/>
                  <a:gd name="T9" fmla="*/ 0 h 5"/>
                </a:gdLst>
                <a:cxnLst>
                  <a:cxn ang="0">
                    <a:pos x="T0" y="T1"/>
                  </a:cxn>
                  <a:cxn ang="0">
                    <a:pos x="T2" y="T3"/>
                  </a:cxn>
                  <a:cxn ang="0">
                    <a:pos x="T4" y="T5"/>
                  </a:cxn>
                  <a:cxn ang="0">
                    <a:pos x="T6" y="T7"/>
                  </a:cxn>
                  <a:cxn ang="0">
                    <a:pos x="T8" y="T9"/>
                  </a:cxn>
                </a:cxnLst>
                <a:rect l="0" t="0" r="r" b="b"/>
                <a:pathLst>
                  <a:path w="2" h="5">
                    <a:moveTo>
                      <a:pt x="0" y="0"/>
                    </a:moveTo>
                    <a:cubicBezTo>
                      <a:pt x="0" y="1"/>
                      <a:pt x="1" y="2"/>
                      <a:pt x="1" y="3"/>
                    </a:cubicBezTo>
                    <a:cubicBezTo>
                      <a:pt x="1" y="4"/>
                      <a:pt x="2" y="4"/>
                      <a:pt x="2" y="5"/>
                    </a:cubicBezTo>
                    <a:cubicBezTo>
                      <a:pt x="2" y="4"/>
                      <a:pt x="2" y="3"/>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3" name="Rectangle 10"/>
              <p:cNvSpPr>
                <a:spLocks noChangeArrowheads="1"/>
              </p:cNvSpPr>
              <p:nvPr/>
            </p:nvSpPr>
            <p:spPr bwMode="auto">
              <a:xfrm>
                <a:off x="6099" y="284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Freeform 11"/>
              <p:cNvSpPr/>
              <p:nvPr/>
            </p:nvSpPr>
            <p:spPr bwMode="auto">
              <a:xfrm flipH="1">
                <a:off x="6099" y="284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5" name="Oval 12"/>
              <p:cNvSpPr>
                <a:spLocks noChangeArrowheads="1"/>
              </p:cNvSpPr>
              <p:nvPr/>
            </p:nvSpPr>
            <p:spPr bwMode="auto">
              <a:xfrm>
                <a:off x="9336" y="2978"/>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Freeform 13"/>
              <p:cNvSpPr/>
              <p:nvPr/>
            </p:nvSpPr>
            <p:spPr bwMode="auto">
              <a:xfrm>
                <a:off x="9348" y="2990"/>
                <a:ext cx="3" cy="0"/>
              </a:xfrm>
              <a:custGeom>
                <a:gdLst>
                  <a:gd name="T0" fmla="*/ 1 w 1"/>
                  <a:gd name="T1" fmla="*/ 0 w 1"/>
                  <a:gd name="T2" fmla="*/ 0 w 1"/>
                  <a:gd name="T3" fmla="*/ 1 w 1"/>
                  <a:gd name="T4" fmla="*/ 1 w 1"/>
                </a:gdLst>
                <a:cxnLst>
                  <a:cxn ang="0">
                    <a:pos x="T0" y="0"/>
                  </a:cxn>
                  <a:cxn ang="0">
                    <a:pos x="T1" y="0"/>
                  </a:cxn>
                  <a:cxn ang="0">
                    <a:pos x="T2" y="0"/>
                  </a:cxn>
                  <a:cxn ang="0">
                    <a:pos x="T3" y="0"/>
                  </a:cxn>
                  <a:cxn ang="0">
                    <a:pos x="T4" y="0"/>
                  </a:cxn>
                </a:cxnLst>
                <a:rect l="0" t="0" r="r" b="b"/>
                <a:pathLst>
                  <a:path w="1">
                    <a:moveTo>
                      <a:pt x="1" y="0"/>
                    </a:moveTo>
                    <a:cubicBezTo>
                      <a:pt x="1" y="0"/>
                      <a:pt x="1" y="0"/>
                      <a:pt x="0" y="0"/>
                    </a:cubicBezTo>
                    <a:cubicBezTo>
                      <a:pt x="0" y="0"/>
                      <a:pt x="0" y="0"/>
                      <a:pt x="0" y="0"/>
                    </a:cubicBezTo>
                    <a:cubicBezTo>
                      <a:pt x="0"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7" name="Freeform 14"/>
              <p:cNvSpPr/>
              <p:nvPr/>
            </p:nvSpPr>
            <p:spPr bwMode="auto">
              <a:xfrm>
                <a:off x="11078" y="446"/>
                <a:ext cx="12" cy="5"/>
              </a:xfrm>
              <a:custGeom>
                <a:gdLst>
                  <a:gd name="T0" fmla="*/ 0 w 5"/>
                  <a:gd name="T1" fmla="*/ 0 h 2"/>
                  <a:gd name="T2" fmla="*/ 4 w 5"/>
                  <a:gd name="T3" fmla="*/ 2 h 2"/>
                  <a:gd name="T4" fmla="*/ 5 w 5"/>
                  <a:gd name="T5" fmla="*/ 1 h 2"/>
                  <a:gd name="T6" fmla="*/ 0 w 5"/>
                  <a:gd name="T7" fmla="*/ 0 h 2"/>
                </a:gdLst>
                <a:cxnLst>
                  <a:cxn ang="0">
                    <a:pos x="T0" y="T1"/>
                  </a:cxn>
                  <a:cxn ang="0">
                    <a:pos x="T2" y="T3"/>
                  </a:cxn>
                  <a:cxn ang="0">
                    <a:pos x="T4" y="T5"/>
                  </a:cxn>
                  <a:cxn ang="0">
                    <a:pos x="T6" y="T7"/>
                  </a:cxn>
                </a:cxnLst>
                <a:rect l="0" t="0" r="r" b="b"/>
                <a:pathLst>
                  <a:path w="5" h="2">
                    <a:moveTo>
                      <a:pt x="0" y="0"/>
                    </a:moveTo>
                    <a:cubicBezTo>
                      <a:pt x="1" y="1"/>
                      <a:pt x="2" y="2"/>
                      <a:pt x="4" y="2"/>
                    </a:cubicBezTo>
                    <a:cubicBezTo>
                      <a:pt x="4" y="2"/>
                      <a:pt x="5" y="1"/>
                      <a:pt x="5" y="1"/>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8" name="Freeform 15"/>
              <p:cNvSpPr>
                <a:spLocks noEditPoints="1"/>
              </p:cNvSpPr>
              <p:nvPr/>
            </p:nvSpPr>
            <p:spPr bwMode="auto">
              <a:xfrm>
                <a:off x="10984" y="-39"/>
                <a:ext cx="144" cy="59"/>
              </a:xfrm>
              <a:custGeom>
                <a:gdLst>
                  <a:gd name="T0" fmla="*/ 37 w 61"/>
                  <a:gd name="T1" fmla="*/ 20 h 25"/>
                  <a:gd name="T2" fmla="*/ 38 w 61"/>
                  <a:gd name="T3" fmla="*/ 20 h 25"/>
                  <a:gd name="T4" fmla="*/ 37 w 61"/>
                  <a:gd name="T5" fmla="*/ 20 h 25"/>
                  <a:gd name="T6" fmla="*/ 3 w 61"/>
                  <a:gd name="T7" fmla="*/ 0 h 25"/>
                  <a:gd name="T8" fmla="*/ 1 w 61"/>
                  <a:gd name="T9" fmla="*/ 4 h 25"/>
                  <a:gd name="T10" fmla="*/ 1 w 61"/>
                  <a:gd name="T11" fmla="*/ 6 h 25"/>
                  <a:gd name="T12" fmla="*/ 1 w 61"/>
                  <a:gd name="T13" fmla="*/ 11 h 25"/>
                  <a:gd name="T14" fmla="*/ 6 w 61"/>
                  <a:gd name="T15" fmla="*/ 13 h 25"/>
                  <a:gd name="T16" fmla="*/ 11 w 61"/>
                  <a:gd name="T17" fmla="*/ 12 h 25"/>
                  <a:gd name="T18" fmla="*/ 15 w 61"/>
                  <a:gd name="T19" fmla="*/ 11 h 25"/>
                  <a:gd name="T20" fmla="*/ 28 w 61"/>
                  <a:gd name="T21" fmla="*/ 15 h 25"/>
                  <a:gd name="T22" fmla="*/ 15 w 61"/>
                  <a:gd name="T23" fmla="*/ 11 h 25"/>
                  <a:gd name="T24" fmla="*/ 19 w 61"/>
                  <a:gd name="T25" fmla="*/ 10 h 25"/>
                  <a:gd name="T26" fmla="*/ 19 w 61"/>
                  <a:gd name="T27" fmla="*/ 10 h 25"/>
                  <a:gd name="T28" fmla="*/ 28 w 61"/>
                  <a:gd name="T29" fmla="*/ 14 h 25"/>
                  <a:gd name="T30" fmla="*/ 31 w 61"/>
                  <a:gd name="T31" fmla="*/ 18 h 25"/>
                  <a:gd name="T32" fmla="*/ 37 w 61"/>
                  <a:gd name="T33" fmla="*/ 20 h 25"/>
                  <a:gd name="T34" fmla="*/ 36 w 61"/>
                  <a:gd name="T35" fmla="*/ 19 h 25"/>
                  <a:gd name="T36" fmla="*/ 41 w 61"/>
                  <a:gd name="T37" fmla="*/ 23 h 25"/>
                  <a:gd name="T38" fmla="*/ 41 w 61"/>
                  <a:gd name="T39" fmla="*/ 23 h 25"/>
                  <a:gd name="T40" fmla="*/ 40 w 61"/>
                  <a:gd name="T41" fmla="*/ 24 h 25"/>
                  <a:gd name="T42" fmla="*/ 41 w 61"/>
                  <a:gd name="T43" fmla="*/ 25 h 25"/>
                  <a:gd name="T44" fmla="*/ 43 w 61"/>
                  <a:gd name="T45" fmla="*/ 24 h 25"/>
                  <a:gd name="T46" fmla="*/ 50 w 61"/>
                  <a:gd name="T47" fmla="*/ 18 h 25"/>
                  <a:gd name="T48" fmla="*/ 52 w 61"/>
                  <a:gd name="T49" fmla="*/ 19 h 25"/>
                  <a:gd name="T50" fmla="*/ 55 w 61"/>
                  <a:gd name="T51" fmla="*/ 19 h 25"/>
                  <a:gd name="T52" fmla="*/ 61 w 61"/>
                  <a:gd name="T53" fmla="*/ 15 h 25"/>
                  <a:gd name="T54" fmla="*/ 38 w 61"/>
                  <a:gd name="T55" fmla="*/ 7 h 25"/>
                  <a:gd name="T56" fmla="*/ 28 w 61"/>
                  <a:gd name="T57" fmla="*/ 3 h 25"/>
                  <a:gd name="T58" fmla="*/ 27 w 61"/>
                  <a:gd name="T59" fmla="*/ 4 h 25"/>
                  <a:gd name="T60" fmla="*/ 17 w 61"/>
                  <a:gd name="T61" fmla="*/ 7 h 25"/>
                  <a:gd name="T62" fmla="*/ 17 w 61"/>
                  <a:gd name="T63" fmla="*/ 7 h 25"/>
                  <a:gd name="T64" fmla="*/ 8 w 61"/>
                  <a:gd name="T65" fmla="*/ 6 h 25"/>
                  <a:gd name="T66" fmla="*/ 3 w 61"/>
                  <a:gd name="T67"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25">
                    <a:moveTo>
                      <a:pt x="37" y="20"/>
                    </a:moveTo>
                    <a:cubicBezTo>
                      <a:pt x="37" y="20"/>
                      <a:pt x="38" y="20"/>
                      <a:pt x="38" y="20"/>
                    </a:cubicBezTo>
                    <a:cubicBezTo>
                      <a:pt x="38" y="20"/>
                      <a:pt x="37" y="20"/>
                      <a:pt x="37" y="20"/>
                    </a:cubicBezTo>
                    <a:moveTo>
                      <a:pt x="3" y="0"/>
                    </a:moveTo>
                    <a:cubicBezTo>
                      <a:pt x="2" y="2"/>
                      <a:pt x="2" y="3"/>
                      <a:pt x="1" y="4"/>
                    </a:cubicBezTo>
                    <a:cubicBezTo>
                      <a:pt x="1" y="5"/>
                      <a:pt x="1" y="6"/>
                      <a:pt x="1" y="6"/>
                    </a:cubicBezTo>
                    <a:cubicBezTo>
                      <a:pt x="0" y="8"/>
                      <a:pt x="0" y="10"/>
                      <a:pt x="1" y="11"/>
                    </a:cubicBezTo>
                    <a:cubicBezTo>
                      <a:pt x="2" y="13"/>
                      <a:pt x="4" y="13"/>
                      <a:pt x="6" y="13"/>
                    </a:cubicBezTo>
                    <a:cubicBezTo>
                      <a:pt x="7" y="13"/>
                      <a:pt x="9" y="13"/>
                      <a:pt x="11" y="12"/>
                    </a:cubicBezTo>
                    <a:cubicBezTo>
                      <a:pt x="12" y="12"/>
                      <a:pt x="14" y="11"/>
                      <a:pt x="15" y="11"/>
                    </a:cubicBezTo>
                    <a:cubicBezTo>
                      <a:pt x="19" y="11"/>
                      <a:pt x="24" y="13"/>
                      <a:pt x="28" y="15"/>
                    </a:cubicBezTo>
                    <a:cubicBezTo>
                      <a:pt x="25" y="12"/>
                      <a:pt x="20" y="11"/>
                      <a:pt x="15" y="11"/>
                    </a:cubicBezTo>
                    <a:cubicBezTo>
                      <a:pt x="16" y="11"/>
                      <a:pt x="18" y="10"/>
                      <a:pt x="19" y="10"/>
                    </a:cubicBezTo>
                    <a:cubicBezTo>
                      <a:pt x="19" y="10"/>
                      <a:pt x="19" y="10"/>
                      <a:pt x="19" y="10"/>
                    </a:cubicBezTo>
                    <a:cubicBezTo>
                      <a:pt x="22" y="10"/>
                      <a:pt x="25" y="13"/>
                      <a:pt x="28" y="14"/>
                    </a:cubicBezTo>
                    <a:cubicBezTo>
                      <a:pt x="29" y="14"/>
                      <a:pt x="34" y="16"/>
                      <a:pt x="31" y="18"/>
                    </a:cubicBezTo>
                    <a:cubicBezTo>
                      <a:pt x="33" y="19"/>
                      <a:pt x="35" y="18"/>
                      <a:pt x="37" y="20"/>
                    </a:cubicBezTo>
                    <a:cubicBezTo>
                      <a:pt x="37" y="20"/>
                      <a:pt x="37" y="19"/>
                      <a:pt x="36" y="19"/>
                    </a:cubicBezTo>
                    <a:cubicBezTo>
                      <a:pt x="39" y="20"/>
                      <a:pt x="40" y="21"/>
                      <a:pt x="41" y="23"/>
                    </a:cubicBezTo>
                    <a:cubicBezTo>
                      <a:pt x="41" y="23"/>
                      <a:pt x="41" y="23"/>
                      <a:pt x="41" y="23"/>
                    </a:cubicBezTo>
                    <a:cubicBezTo>
                      <a:pt x="41" y="23"/>
                      <a:pt x="40" y="24"/>
                      <a:pt x="40" y="24"/>
                    </a:cubicBezTo>
                    <a:cubicBezTo>
                      <a:pt x="41" y="25"/>
                      <a:pt x="41" y="25"/>
                      <a:pt x="41" y="25"/>
                    </a:cubicBezTo>
                    <a:cubicBezTo>
                      <a:pt x="42" y="25"/>
                      <a:pt x="42" y="24"/>
                      <a:pt x="43" y="24"/>
                    </a:cubicBezTo>
                    <a:cubicBezTo>
                      <a:pt x="46" y="21"/>
                      <a:pt x="47" y="18"/>
                      <a:pt x="50" y="18"/>
                    </a:cubicBezTo>
                    <a:cubicBezTo>
                      <a:pt x="51" y="18"/>
                      <a:pt x="51" y="18"/>
                      <a:pt x="52" y="19"/>
                    </a:cubicBezTo>
                    <a:cubicBezTo>
                      <a:pt x="53" y="19"/>
                      <a:pt x="54" y="19"/>
                      <a:pt x="55" y="19"/>
                    </a:cubicBezTo>
                    <a:cubicBezTo>
                      <a:pt x="57" y="19"/>
                      <a:pt x="58" y="18"/>
                      <a:pt x="61" y="15"/>
                    </a:cubicBezTo>
                    <a:cubicBezTo>
                      <a:pt x="53" y="12"/>
                      <a:pt x="45" y="9"/>
                      <a:pt x="38" y="7"/>
                    </a:cubicBezTo>
                    <a:cubicBezTo>
                      <a:pt x="35" y="5"/>
                      <a:pt x="32" y="3"/>
                      <a:pt x="28" y="3"/>
                    </a:cubicBezTo>
                    <a:cubicBezTo>
                      <a:pt x="28" y="3"/>
                      <a:pt x="27" y="3"/>
                      <a:pt x="27" y="4"/>
                    </a:cubicBezTo>
                    <a:cubicBezTo>
                      <a:pt x="24" y="4"/>
                      <a:pt x="20" y="7"/>
                      <a:pt x="17" y="7"/>
                    </a:cubicBezTo>
                    <a:cubicBezTo>
                      <a:pt x="17" y="7"/>
                      <a:pt x="17" y="7"/>
                      <a:pt x="17" y="7"/>
                    </a:cubicBezTo>
                    <a:cubicBezTo>
                      <a:pt x="14" y="6"/>
                      <a:pt x="11" y="6"/>
                      <a:pt x="8" y="6"/>
                    </a:cubicBezTo>
                    <a:cubicBezTo>
                      <a:pt x="6" y="6"/>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9" name="Freeform 16"/>
              <p:cNvSpPr/>
              <p:nvPr/>
            </p:nvSpPr>
            <p:spPr bwMode="auto">
              <a:xfrm>
                <a:off x="11066" y="680"/>
                <a:ext cx="17" cy="7"/>
              </a:xfrm>
              <a:custGeom>
                <a:gdLst>
                  <a:gd name="T0" fmla="*/ 4 w 7"/>
                  <a:gd name="T1" fmla="*/ 0 h 3"/>
                  <a:gd name="T2" fmla="*/ 0 w 7"/>
                  <a:gd name="T3" fmla="*/ 1 h 3"/>
                  <a:gd name="T4" fmla="*/ 6 w 7"/>
                  <a:gd name="T5" fmla="*/ 3 h 3"/>
                  <a:gd name="T6" fmla="*/ 4 w 7"/>
                  <a:gd name="T7" fmla="*/ 0 h 3"/>
                </a:gdLst>
                <a:cxnLst>
                  <a:cxn ang="0">
                    <a:pos x="T0" y="T1"/>
                  </a:cxn>
                  <a:cxn ang="0">
                    <a:pos x="T2" y="T3"/>
                  </a:cxn>
                  <a:cxn ang="0">
                    <a:pos x="T4" y="T5"/>
                  </a:cxn>
                  <a:cxn ang="0">
                    <a:pos x="T6" y="T7"/>
                  </a:cxn>
                </a:cxnLst>
                <a:rect l="0" t="0" r="r" b="b"/>
                <a:pathLst>
                  <a:path w="7" h="3">
                    <a:moveTo>
                      <a:pt x="4" y="0"/>
                    </a:moveTo>
                    <a:cubicBezTo>
                      <a:pt x="3" y="0"/>
                      <a:pt x="1" y="0"/>
                      <a:pt x="0" y="1"/>
                    </a:cubicBezTo>
                    <a:cubicBezTo>
                      <a:pt x="2" y="2"/>
                      <a:pt x="4" y="2"/>
                      <a:pt x="6" y="3"/>
                    </a:cubicBezTo>
                    <a:cubicBezTo>
                      <a:pt x="7" y="0"/>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0" name="Freeform 17"/>
              <p:cNvSpPr/>
              <p:nvPr/>
            </p:nvSpPr>
            <p:spPr bwMode="auto">
              <a:xfrm>
                <a:off x="10794" y="739"/>
                <a:ext cx="5" cy="2"/>
              </a:xfrm>
              <a:custGeom>
                <a:gdLst>
                  <a:gd name="T0" fmla="*/ 0 w 2"/>
                  <a:gd name="T1" fmla="*/ 0 h 1"/>
                  <a:gd name="T2" fmla="*/ 0 w 2"/>
                  <a:gd name="T3" fmla="*/ 0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0"/>
                      <a:pt x="0" y="0"/>
                      <a:pt x="0" y="0"/>
                    </a:cubicBezTo>
                    <a:cubicBezTo>
                      <a:pt x="0" y="1"/>
                      <a:pt x="1" y="1"/>
                      <a:pt x="2"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1" name="Freeform 18"/>
              <p:cNvSpPr/>
              <p:nvPr/>
            </p:nvSpPr>
            <p:spPr bwMode="auto">
              <a:xfrm>
                <a:off x="10887" y="725"/>
                <a:ext cx="47" cy="7"/>
              </a:xfrm>
              <a:custGeom>
                <a:gdLst>
                  <a:gd name="T0" fmla="*/ 8 w 20"/>
                  <a:gd name="T1" fmla="*/ 0 h 3"/>
                  <a:gd name="T2" fmla="*/ 6 w 20"/>
                  <a:gd name="T3" fmla="*/ 0 h 3"/>
                  <a:gd name="T4" fmla="*/ 4 w 20"/>
                  <a:gd name="T5" fmla="*/ 1 h 3"/>
                  <a:gd name="T6" fmla="*/ 3 w 20"/>
                  <a:gd name="T7" fmla="*/ 0 h 3"/>
                  <a:gd name="T8" fmla="*/ 0 w 20"/>
                  <a:gd name="T9" fmla="*/ 0 h 3"/>
                  <a:gd name="T10" fmla="*/ 10 w 20"/>
                  <a:gd name="T11" fmla="*/ 3 h 3"/>
                  <a:gd name="T12" fmla="*/ 11 w 20"/>
                  <a:gd name="T13" fmla="*/ 3 h 3"/>
                  <a:gd name="T14" fmla="*/ 14 w 20"/>
                  <a:gd name="T15" fmla="*/ 2 h 3"/>
                  <a:gd name="T16" fmla="*/ 20 w 20"/>
                  <a:gd name="T17" fmla="*/ 1 h 3"/>
                  <a:gd name="T18" fmla="*/ 9 w 20"/>
                  <a:gd name="T19" fmla="*/ 0 h 3"/>
                  <a:gd name="T20" fmla="*/ 8 w 20"/>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
                    <a:moveTo>
                      <a:pt x="8" y="0"/>
                    </a:moveTo>
                    <a:cubicBezTo>
                      <a:pt x="8" y="0"/>
                      <a:pt x="7" y="0"/>
                      <a:pt x="6" y="0"/>
                    </a:cubicBezTo>
                    <a:cubicBezTo>
                      <a:pt x="5" y="0"/>
                      <a:pt x="4" y="1"/>
                      <a:pt x="4" y="1"/>
                    </a:cubicBezTo>
                    <a:cubicBezTo>
                      <a:pt x="3" y="1"/>
                      <a:pt x="3" y="0"/>
                      <a:pt x="3" y="0"/>
                    </a:cubicBezTo>
                    <a:cubicBezTo>
                      <a:pt x="2" y="0"/>
                      <a:pt x="1" y="0"/>
                      <a:pt x="0" y="0"/>
                    </a:cubicBezTo>
                    <a:cubicBezTo>
                      <a:pt x="3" y="1"/>
                      <a:pt x="7" y="3"/>
                      <a:pt x="10" y="3"/>
                    </a:cubicBezTo>
                    <a:cubicBezTo>
                      <a:pt x="10" y="3"/>
                      <a:pt x="11" y="3"/>
                      <a:pt x="11" y="3"/>
                    </a:cubicBezTo>
                    <a:cubicBezTo>
                      <a:pt x="12" y="2"/>
                      <a:pt x="13" y="2"/>
                      <a:pt x="14" y="2"/>
                    </a:cubicBezTo>
                    <a:cubicBezTo>
                      <a:pt x="16" y="1"/>
                      <a:pt x="18" y="2"/>
                      <a:pt x="20" y="1"/>
                    </a:cubicBezTo>
                    <a:cubicBezTo>
                      <a:pt x="16" y="1"/>
                      <a:pt x="13"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2" name="Freeform 19"/>
              <p:cNvSpPr/>
              <p:nvPr/>
            </p:nvSpPr>
            <p:spPr bwMode="auto">
              <a:xfrm>
                <a:off x="10830" y="708"/>
                <a:ext cx="59" cy="24"/>
              </a:xfrm>
              <a:custGeom>
                <a:gdLst>
                  <a:gd name="T0" fmla="*/ 21 w 25"/>
                  <a:gd name="T1" fmla="*/ 0 h 10"/>
                  <a:gd name="T2" fmla="*/ 19 w 25"/>
                  <a:gd name="T3" fmla="*/ 4 h 10"/>
                  <a:gd name="T4" fmla="*/ 14 w 25"/>
                  <a:gd name="T5" fmla="*/ 7 h 10"/>
                  <a:gd name="T6" fmla="*/ 11 w 25"/>
                  <a:gd name="T7" fmla="*/ 8 h 10"/>
                  <a:gd name="T8" fmla="*/ 10 w 25"/>
                  <a:gd name="T9" fmla="*/ 8 h 10"/>
                  <a:gd name="T10" fmla="*/ 10 w 25"/>
                  <a:gd name="T11" fmla="*/ 8 h 10"/>
                  <a:gd name="T12" fmla="*/ 9 w 25"/>
                  <a:gd name="T13" fmla="*/ 8 h 10"/>
                  <a:gd name="T14" fmla="*/ 8 w 25"/>
                  <a:gd name="T15" fmla="*/ 8 h 10"/>
                  <a:gd name="T16" fmla="*/ 7 w 25"/>
                  <a:gd name="T17" fmla="*/ 8 h 10"/>
                  <a:gd name="T18" fmla="*/ 7 w 25"/>
                  <a:gd name="T19" fmla="*/ 8 h 10"/>
                  <a:gd name="T20" fmla="*/ 5 w 25"/>
                  <a:gd name="T21" fmla="*/ 10 h 10"/>
                  <a:gd name="T22" fmla="*/ 4 w 25"/>
                  <a:gd name="T23" fmla="*/ 10 h 10"/>
                  <a:gd name="T24" fmla="*/ 3 w 25"/>
                  <a:gd name="T25" fmla="*/ 10 h 10"/>
                  <a:gd name="T26" fmla="*/ 2 w 25"/>
                  <a:gd name="T27" fmla="*/ 10 h 10"/>
                  <a:gd name="T28" fmla="*/ 0 w 25"/>
                  <a:gd name="T29" fmla="*/ 10 h 10"/>
                  <a:gd name="T30" fmla="*/ 6 w 25"/>
                  <a:gd name="T31" fmla="*/ 10 h 10"/>
                  <a:gd name="T32" fmla="*/ 13 w 25"/>
                  <a:gd name="T33" fmla="*/ 10 h 10"/>
                  <a:gd name="T34" fmla="*/ 19 w 25"/>
                  <a:gd name="T35" fmla="*/ 7 h 10"/>
                  <a:gd name="T36" fmla="*/ 19 w 25"/>
                  <a:gd name="T37" fmla="*/ 7 h 10"/>
                  <a:gd name="T38" fmla="*/ 20 w 25"/>
                  <a:gd name="T39" fmla="*/ 7 h 10"/>
                  <a:gd name="T40" fmla="*/ 20 w 25"/>
                  <a:gd name="T41" fmla="*/ 7 h 10"/>
                  <a:gd name="T42" fmla="*/ 21 w 25"/>
                  <a:gd name="T43" fmla="*/ 7 h 10"/>
                  <a:gd name="T44" fmla="*/ 22 w 25"/>
                  <a:gd name="T45" fmla="*/ 7 h 10"/>
                  <a:gd name="T46" fmla="*/ 22 w 25"/>
                  <a:gd name="T47" fmla="*/ 7 h 10"/>
                  <a:gd name="T48" fmla="*/ 22 w 25"/>
                  <a:gd name="T49" fmla="*/ 8 h 10"/>
                  <a:gd name="T50" fmla="*/ 23 w 25"/>
                  <a:gd name="T51" fmla="*/ 7 h 10"/>
                  <a:gd name="T52" fmla="*/ 21 w 25"/>
                  <a:gd name="T53" fmla="*/ 5 h 10"/>
                  <a:gd name="T54" fmla="*/ 21 w 25"/>
                  <a:gd name="T55" fmla="*/ 5 h 10"/>
                  <a:gd name="T56" fmla="*/ 25 w 25"/>
                  <a:gd name="T57" fmla="*/ 3 h 10"/>
                  <a:gd name="T58" fmla="*/ 21 w 25"/>
                  <a:gd name="T5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10">
                    <a:moveTo>
                      <a:pt x="21" y="0"/>
                    </a:moveTo>
                    <a:cubicBezTo>
                      <a:pt x="21" y="1"/>
                      <a:pt x="20" y="3"/>
                      <a:pt x="19" y="4"/>
                    </a:cubicBezTo>
                    <a:cubicBezTo>
                      <a:pt x="18" y="6"/>
                      <a:pt x="16" y="6"/>
                      <a:pt x="14" y="7"/>
                    </a:cubicBezTo>
                    <a:cubicBezTo>
                      <a:pt x="13" y="8"/>
                      <a:pt x="12" y="7"/>
                      <a:pt x="11" y="8"/>
                    </a:cubicBezTo>
                    <a:cubicBezTo>
                      <a:pt x="10" y="8"/>
                      <a:pt x="10" y="8"/>
                      <a:pt x="10" y="8"/>
                    </a:cubicBezTo>
                    <a:cubicBezTo>
                      <a:pt x="10" y="8"/>
                      <a:pt x="10" y="8"/>
                      <a:pt x="10" y="8"/>
                    </a:cubicBezTo>
                    <a:cubicBezTo>
                      <a:pt x="9" y="8"/>
                      <a:pt x="9" y="8"/>
                      <a:pt x="9" y="8"/>
                    </a:cubicBezTo>
                    <a:cubicBezTo>
                      <a:pt x="9" y="8"/>
                      <a:pt x="9" y="8"/>
                      <a:pt x="8" y="8"/>
                    </a:cubicBezTo>
                    <a:cubicBezTo>
                      <a:pt x="8" y="8"/>
                      <a:pt x="8" y="8"/>
                      <a:pt x="7" y="8"/>
                    </a:cubicBezTo>
                    <a:cubicBezTo>
                      <a:pt x="7" y="8"/>
                      <a:pt x="7" y="8"/>
                      <a:pt x="7" y="8"/>
                    </a:cubicBezTo>
                    <a:cubicBezTo>
                      <a:pt x="6" y="9"/>
                      <a:pt x="5" y="8"/>
                      <a:pt x="5" y="10"/>
                    </a:cubicBezTo>
                    <a:cubicBezTo>
                      <a:pt x="5" y="10"/>
                      <a:pt x="4" y="10"/>
                      <a:pt x="4" y="10"/>
                    </a:cubicBezTo>
                    <a:cubicBezTo>
                      <a:pt x="4" y="10"/>
                      <a:pt x="3" y="10"/>
                      <a:pt x="3" y="10"/>
                    </a:cubicBezTo>
                    <a:cubicBezTo>
                      <a:pt x="3" y="10"/>
                      <a:pt x="2" y="10"/>
                      <a:pt x="2" y="10"/>
                    </a:cubicBezTo>
                    <a:cubicBezTo>
                      <a:pt x="1" y="10"/>
                      <a:pt x="1" y="10"/>
                      <a:pt x="0" y="10"/>
                    </a:cubicBezTo>
                    <a:cubicBezTo>
                      <a:pt x="2" y="10"/>
                      <a:pt x="4" y="10"/>
                      <a:pt x="6" y="10"/>
                    </a:cubicBezTo>
                    <a:cubicBezTo>
                      <a:pt x="8" y="10"/>
                      <a:pt x="11" y="10"/>
                      <a:pt x="13" y="10"/>
                    </a:cubicBezTo>
                    <a:cubicBezTo>
                      <a:pt x="15" y="9"/>
                      <a:pt x="17" y="8"/>
                      <a:pt x="19" y="7"/>
                    </a:cubicBezTo>
                    <a:cubicBezTo>
                      <a:pt x="19" y="7"/>
                      <a:pt x="19" y="7"/>
                      <a:pt x="19" y="7"/>
                    </a:cubicBezTo>
                    <a:cubicBezTo>
                      <a:pt x="20" y="7"/>
                      <a:pt x="20" y="7"/>
                      <a:pt x="20" y="7"/>
                    </a:cubicBezTo>
                    <a:cubicBezTo>
                      <a:pt x="20" y="7"/>
                      <a:pt x="20" y="7"/>
                      <a:pt x="20" y="7"/>
                    </a:cubicBezTo>
                    <a:cubicBezTo>
                      <a:pt x="21" y="7"/>
                      <a:pt x="21" y="7"/>
                      <a:pt x="21" y="7"/>
                    </a:cubicBezTo>
                    <a:cubicBezTo>
                      <a:pt x="21" y="7"/>
                      <a:pt x="22" y="7"/>
                      <a:pt x="22" y="7"/>
                    </a:cubicBezTo>
                    <a:cubicBezTo>
                      <a:pt x="22" y="7"/>
                      <a:pt x="22" y="7"/>
                      <a:pt x="22" y="7"/>
                    </a:cubicBezTo>
                    <a:cubicBezTo>
                      <a:pt x="22" y="7"/>
                      <a:pt x="22" y="8"/>
                      <a:pt x="22" y="8"/>
                    </a:cubicBezTo>
                    <a:cubicBezTo>
                      <a:pt x="23" y="8"/>
                      <a:pt x="23" y="7"/>
                      <a:pt x="23" y="7"/>
                    </a:cubicBezTo>
                    <a:cubicBezTo>
                      <a:pt x="23" y="7"/>
                      <a:pt x="21" y="5"/>
                      <a:pt x="21" y="5"/>
                    </a:cubicBezTo>
                    <a:cubicBezTo>
                      <a:pt x="21" y="5"/>
                      <a:pt x="21" y="5"/>
                      <a:pt x="21" y="5"/>
                    </a:cubicBezTo>
                    <a:cubicBezTo>
                      <a:pt x="23" y="5"/>
                      <a:pt x="25" y="4"/>
                      <a:pt x="25" y="3"/>
                    </a:cubicBezTo>
                    <a:cubicBezTo>
                      <a:pt x="25" y="1"/>
                      <a:pt x="23"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3" name="Freeform 20"/>
              <p:cNvSpPr/>
              <p:nvPr/>
            </p:nvSpPr>
            <p:spPr bwMode="auto">
              <a:xfrm>
                <a:off x="10790" y="739"/>
                <a:ext cx="7" cy="7"/>
              </a:xfrm>
              <a:custGeom>
                <a:gdLst>
                  <a:gd name="T0" fmla="*/ 0 w 3"/>
                  <a:gd name="T1" fmla="*/ 0 h 3"/>
                  <a:gd name="T2" fmla="*/ 1 w 3"/>
                  <a:gd name="T3" fmla="*/ 3 h 3"/>
                  <a:gd name="T4" fmla="*/ 3 w 3"/>
                  <a:gd name="T5" fmla="*/ 2 h 3"/>
                  <a:gd name="T6" fmla="*/ 0 w 3"/>
                  <a:gd name="T7" fmla="*/ 0 h 3"/>
                </a:gdLst>
                <a:cxnLst>
                  <a:cxn ang="0">
                    <a:pos x="T0" y="T1"/>
                  </a:cxn>
                  <a:cxn ang="0">
                    <a:pos x="T2" y="T3"/>
                  </a:cxn>
                  <a:cxn ang="0">
                    <a:pos x="T4" y="T5"/>
                  </a:cxn>
                  <a:cxn ang="0">
                    <a:pos x="T6" y="T7"/>
                  </a:cxn>
                </a:cxnLst>
                <a:rect l="0" t="0" r="r" b="b"/>
                <a:pathLst>
                  <a:path w="3" h="3">
                    <a:moveTo>
                      <a:pt x="0" y="0"/>
                    </a:moveTo>
                    <a:cubicBezTo>
                      <a:pt x="0" y="1"/>
                      <a:pt x="0" y="2"/>
                      <a:pt x="1" y="3"/>
                    </a:cubicBezTo>
                    <a:cubicBezTo>
                      <a:pt x="1" y="3"/>
                      <a:pt x="2"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Freeform 21"/>
              <p:cNvSpPr/>
              <p:nvPr/>
            </p:nvSpPr>
            <p:spPr bwMode="auto">
              <a:xfrm>
                <a:off x="11050" y="406"/>
                <a:ext cx="12" cy="9"/>
              </a:xfrm>
              <a:custGeom>
                <a:gdLst>
                  <a:gd name="T0" fmla="*/ 5 w 5"/>
                  <a:gd name="T1" fmla="*/ 0 h 4"/>
                  <a:gd name="T2" fmla="*/ 0 w 5"/>
                  <a:gd name="T3" fmla="*/ 1 h 4"/>
                  <a:gd name="T4" fmla="*/ 2 w 5"/>
                  <a:gd name="T5" fmla="*/ 4 h 4"/>
                  <a:gd name="T6" fmla="*/ 5 w 5"/>
                  <a:gd name="T7" fmla="*/ 0 h 4"/>
                </a:gdLst>
                <a:cxnLst>
                  <a:cxn ang="0">
                    <a:pos x="T0" y="T1"/>
                  </a:cxn>
                  <a:cxn ang="0">
                    <a:pos x="T2" y="T3"/>
                  </a:cxn>
                  <a:cxn ang="0">
                    <a:pos x="T4" y="T5"/>
                  </a:cxn>
                  <a:cxn ang="0">
                    <a:pos x="T6" y="T7"/>
                  </a:cxn>
                </a:cxnLst>
                <a:rect l="0" t="0" r="r" b="b"/>
                <a:pathLst>
                  <a:path w="5" h="4">
                    <a:moveTo>
                      <a:pt x="5" y="0"/>
                    </a:moveTo>
                    <a:cubicBezTo>
                      <a:pt x="4" y="0"/>
                      <a:pt x="2" y="1"/>
                      <a:pt x="0" y="1"/>
                    </a:cubicBezTo>
                    <a:cubicBezTo>
                      <a:pt x="1" y="2"/>
                      <a:pt x="1" y="3"/>
                      <a:pt x="2" y="4"/>
                    </a:cubicBezTo>
                    <a:cubicBezTo>
                      <a:pt x="4" y="2"/>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5" name="Freeform 22"/>
              <p:cNvSpPr/>
              <p:nvPr/>
            </p:nvSpPr>
            <p:spPr bwMode="auto">
              <a:xfrm>
                <a:off x="10778" y="741"/>
                <a:ext cx="9" cy="8"/>
              </a:xfrm>
              <a:custGeom>
                <a:gdLst>
                  <a:gd name="T0" fmla="*/ 2 w 4"/>
                  <a:gd name="T1" fmla="*/ 0 h 3"/>
                  <a:gd name="T2" fmla="*/ 2 w 4"/>
                  <a:gd name="T3" fmla="*/ 3 h 3"/>
                  <a:gd name="T4" fmla="*/ 2 w 4"/>
                  <a:gd name="T5" fmla="*/ 1 h 3"/>
                  <a:gd name="T6" fmla="*/ 3 w 4"/>
                  <a:gd name="T7" fmla="*/ 0 h 3"/>
                  <a:gd name="T8" fmla="*/ 2 w 4"/>
                  <a:gd name="T9" fmla="*/ 0 h 3"/>
                </a:gdLst>
                <a:cxnLst>
                  <a:cxn ang="0">
                    <a:pos x="T0" y="T1"/>
                  </a:cxn>
                  <a:cxn ang="0">
                    <a:pos x="T2" y="T3"/>
                  </a:cxn>
                  <a:cxn ang="0">
                    <a:pos x="T4" y="T5"/>
                  </a:cxn>
                  <a:cxn ang="0">
                    <a:pos x="T6" y="T7"/>
                  </a:cxn>
                  <a:cxn ang="0">
                    <a:pos x="T8" y="T9"/>
                  </a:cxn>
                </a:cxnLst>
                <a:rect l="0" t="0" r="r" b="b"/>
                <a:pathLst>
                  <a:path w="4" h="3">
                    <a:moveTo>
                      <a:pt x="2" y="0"/>
                    </a:moveTo>
                    <a:cubicBezTo>
                      <a:pt x="0" y="0"/>
                      <a:pt x="1" y="2"/>
                      <a:pt x="2" y="3"/>
                    </a:cubicBezTo>
                    <a:cubicBezTo>
                      <a:pt x="3" y="2"/>
                      <a:pt x="4" y="1"/>
                      <a:pt x="2" y="1"/>
                    </a:cubicBezTo>
                    <a:cubicBezTo>
                      <a:pt x="3" y="0"/>
                      <a:pt x="3"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6" name="Freeform 23"/>
              <p:cNvSpPr/>
              <p:nvPr/>
            </p:nvSpPr>
            <p:spPr bwMode="auto">
              <a:xfrm>
                <a:off x="10754" y="734"/>
                <a:ext cx="29" cy="24"/>
              </a:xfrm>
              <a:custGeom>
                <a:gdLst>
                  <a:gd name="T0" fmla="*/ 7 w 12"/>
                  <a:gd name="T1" fmla="*/ 0 h 10"/>
                  <a:gd name="T2" fmla="*/ 4 w 12"/>
                  <a:gd name="T3" fmla="*/ 1 h 10"/>
                  <a:gd name="T4" fmla="*/ 5 w 12"/>
                  <a:gd name="T5" fmla="*/ 5 h 10"/>
                  <a:gd name="T6" fmla="*/ 5 w 12"/>
                  <a:gd name="T7" fmla="*/ 5 h 10"/>
                  <a:gd name="T8" fmla="*/ 3 w 12"/>
                  <a:gd name="T9" fmla="*/ 4 h 10"/>
                  <a:gd name="T10" fmla="*/ 2 w 12"/>
                  <a:gd name="T11" fmla="*/ 4 h 10"/>
                  <a:gd name="T12" fmla="*/ 2 w 12"/>
                  <a:gd name="T13" fmla="*/ 4 h 10"/>
                  <a:gd name="T14" fmla="*/ 0 w 12"/>
                  <a:gd name="T15" fmla="*/ 10 h 10"/>
                  <a:gd name="T16" fmla="*/ 2 w 12"/>
                  <a:gd name="T17" fmla="*/ 7 h 10"/>
                  <a:gd name="T18" fmla="*/ 4 w 12"/>
                  <a:gd name="T19" fmla="*/ 9 h 10"/>
                  <a:gd name="T20" fmla="*/ 4 w 12"/>
                  <a:gd name="T21" fmla="*/ 9 h 10"/>
                  <a:gd name="T22" fmla="*/ 5 w 12"/>
                  <a:gd name="T23" fmla="*/ 7 h 10"/>
                  <a:gd name="T24" fmla="*/ 8 w 12"/>
                  <a:gd name="T25" fmla="*/ 7 h 10"/>
                  <a:gd name="T26" fmla="*/ 9 w 12"/>
                  <a:gd name="T27" fmla="*/ 6 h 10"/>
                  <a:gd name="T28" fmla="*/ 9 w 12"/>
                  <a:gd name="T29" fmla="*/ 6 h 10"/>
                  <a:gd name="T30" fmla="*/ 9 w 12"/>
                  <a:gd name="T31" fmla="*/ 6 h 10"/>
                  <a:gd name="T32" fmla="*/ 10 w 12"/>
                  <a:gd name="T33" fmla="*/ 6 h 10"/>
                  <a:gd name="T34" fmla="*/ 10 w 12"/>
                  <a:gd name="T35" fmla="*/ 6 h 10"/>
                  <a:gd name="T36" fmla="*/ 6 w 12"/>
                  <a:gd name="T37" fmla="*/ 3 h 10"/>
                  <a:gd name="T38" fmla="*/ 7 w 12"/>
                  <a:gd name="T3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0">
                    <a:moveTo>
                      <a:pt x="7" y="0"/>
                    </a:moveTo>
                    <a:cubicBezTo>
                      <a:pt x="4" y="1"/>
                      <a:pt x="4" y="1"/>
                      <a:pt x="4" y="1"/>
                    </a:cubicBezTo>
                    <a:cubicBezTo>
                      <a:pt x="4" y="1"/>
                      <a:pt x="5" y="4"/>
                      <a:pt x="5" y="5"/>
                    </a:cubicBezTo>
                    <a:cubicBezTo>
                      <a:pt x="5" y="5"/>
                      <a:pt x="5" y="5"/>
                      <a:pt x="5" y="5"/>
                    </a:cubicBezTo>
                    <a:cubicBezTo>
                      <a:pt x="4" y="5"/>
                      <a:pt x="4" y="5"/>
                      <a:pt x="3" y="4"/>
                    </a:cubicBezTo>
                    <a:cubicBezTo>
                      <a:pt x="3" y="4"/>
                      <a:pt x="2" y="4"/>
                      <a:pt x="2" y="4"/>
                    </a:cubicBezTo>
                    <a:cubicBezTo>
                      <a:pt x="2" y="4"/>
                      <a:pt x="2" y="4"/>
                      <a:pt x="2" y="4"/>
                    </a:cubicBezTo>
                    <a:cubicBezTo>
                      <a:pt x="0" y="5"/>
                      <a:pt x="1" y="9"/>
                      <a:pt x="0" y="10"/>
                    </a:cubicBezTo>
                    <a:cubicBezTo>
                      <a:pt x="1" y="9"/>
                      <a:pt x="2" y="8"/>
                      <a:pt x="2" y="7"/>
                    </a:cubicBezTo>
                    <a:cubicBezTo>
                      <a:pt x="3" y="8"/>
                      <a:pt x="3" y="9"/>
                      <a:pt x="4" y="9"/>
                    </a:cubicBezTo>
                    <a:cubicBezTo>
                      <a:pt x="4" y="9"/>
                      <a:pt x="4" y="9"/>
                      <a:pt x="4" y="9"/>
                    </a:cubicBezTo>
                    <a:cubicBezTo>
                      <a:pt x="5" y="9"/>
                      <a:pt x="4" y="8"/>
                      <a:pt x="5" y="7"/>
                    </a:cubicBezTo>
                    <a:cubicBezTo>
                      <a:pt x="6" y="7"/>
                      <a:pt x="7" y="7"/>
                      <a:pt x="8" y="7"/>
                    </a:cubicBezTo>
                    <a:cubicBezTo>
                      <a:pt x="8" y="7"/>
                      <a:pt x="8" y="6"/>
                      <a:pt x="9" y="6"/>
                    </a:cubicBezTo>
                    <a:cubicBezTo>
                      <a:pt x="9" y="6"/>
                      <a:pt x="9" y="6"/>
                      <a:pt x="9" y="6"/>
                    </a:cubicBezTo>
                    <a:cubicBezTo>
                      <a:pt x="9" y="6"/>
                      <a:pt x="9" y="6"/>
                      <a:pt x="9" y="6"/>
                    </a:cubicBezTo>
                    <a:cubicBezTo>
                      <a:pt x="9" y="6"/>
                      <a:pt x="9" y="6"/>
                      <a:pt x="10" y="6"/>
                    </a:cubicBezTo>
                    <a:cubicBezTo>
                      <a:pt x="10" y="6"/>
                      <a:pt x="10" y="6"/>
                      <a:pt x="10" y="6"/>
                    </a:cubicBezTo>
                    <a:cubicBezTo>
                      <a:pt x="12" y="4"/>
                      <a:pt x="8" y="3"/>
                      <a:pt x="6" y="3"/>
                    </a:cubicBezTo>
                    <a:cubicBezTo>
                      <a:pt x="7" y="1"/>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7" name="Freeform 24"/>
              <p:cNvSpPr/>
              <p:nvPr/>
            </p:nvSpPr>
            <p:spPr bwMode="auto">
              <a:xfrm>
                <a:off x="11113" y="637"/>
                <a:ext cx="45" cy="43"/>
              </a:xfrm>
              <a:custGeom>
                <a:gdLst>
                  <a:gd name="T0" fmla="*/ 19 w 19"/>
                  <a:gd name="T1" fmla="*/ 0 h 18"/>
                  <a:gd name="T2" fmla="*/ 11 w 19"/>
                  <a:gd name="T3" fmla="*/ 8 h 18"/>
                  <a:gd name="T4" fmla="*/ 7 w 19"/>
                  <a:gd name="T5" fmla="*/ 8 h 18"/>
                  <a:gd name="T6" fmla="*/ 7 w 19"/>
                  <a:gd name="T7" fmla="*/ 8 h 18"/>
                  <a:gd name="T8" fmla="*/ 4 w 19"/>
                  <a:gd name="T9" fmla="*/ 11 h 18"/>
                  <a:gd name="T10" fmla="*/ 4 w 19"/>
                  <a:gd name="T11" fmla="*/ 13 h 18"/>
                  <a:gd name="T12" fmla="*/ 2 w 19"/>
                  <a:gd name="T13" fmla="*/ 15 h 18"/>
                  <a:gd name="T14" fmla="*/ 2 w 19"/>
                  <a:gd name="T15" fmla="*/ 16 h 18"/>
                  <a:gd name="T16" fmla="*/ 1 w 19"/>
                  <a:gd name="T17" fmla="*/ 17 h 18"/>
                  <a:gd name="T18" fmla="*/ 1 w 19"/>
                  <a:gd name="T19" fmla="*/ 17 h 18"/>
                  <a:gd name="T20" fmla="*/ 1 w 19"/>
                  <a:gd name="T21" fmla="*/ 17 h 18"/>
                  <a:gd name="T22" fmla="*/ 0 w 19"/>
                  <a:gd name="T23" fmla="*/ 18 h 18"/>
                  <a:gd name="T24" fmla="*/ 19 w 19"/>
                  <a:gd name="T25" fmla="*/ 5 h 18"/>
                  <a:gd name="T26" fmla="*/ 19 w 19"/>
                  <a:gd name="T27"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19" y="0"/>
                    </a:moveTo>
                    <a:cubicBezTo>
                      <a:pt x="14" y="0"/>
                      <a:pt x="10" y="3"/>
                      <a:pt x="11" y="8"/>
                    </a:cubicBezTo>
                    <a:cubicBezTo>
                      <a:pt x="10" y="8"/>
                      <a:pt x="9" y="8"/>
                      <a:pt x="7" y="8"/>
                    </a:cubicBezTo>
                    <a:cubicBezTo>
                      <a:pt x="7" y="8"/>
                      <a:pt x="7" y="8"/>
                      <a:pt x="7" y="8"/>
                    </a:cubicBezTo>
                    <a:cubicBezTo>
                      <a:pt x="6" y="8"/>
                      <a:pt x="4" y="10"/>
                      <a:pt x="4" y="11"/>
                    </a:cubicBezTo>
                    <a:cubicBezTo>
                      <a:pt x="4" y="12"/>
                      <a:pt x="4" y="12"/>
                      <a:pt x="4" y="13"/>
                    </a:cubicBezTo>
                    <a:cubicBezTo>
                      <a:pt x="3" y="14"/>
                      <a:pt x="3" y="14"/>
                      <a:pt x="2" y="15"/>
                    </a:cubicBezTo>
                    <a:cubicBezTo>
                      <a:pt x="2" y="16"/>
                      <a:pt x="2" y="16"/>
                      <a:pt x="2" y="16"/>
                    </a:cubicBezTo>
                    <a:cubicBezTo>
                      <a:pt x="1" y="17"/>
                      <a:pt x="1" y="17"/>
                      <a:pt x="1" y="17"/>
                    </a:cubicBezTo>
                    <a:cubicBezTo>
                      <a:pt x="1" y="17"/>
                      <a:pt x="1" y="17"/>
                      <a:pt x="1" y="17"/>
                    </a:cubicBezTo>
                    <a:cubicBezTo>
                      <a:pt x="1" y="17"/>
                      <a:pt x="1" y="17"/>
                      <a:pt x="1" y="17"/>
                    </a:cubicBezTo>
                    <a:cubicBezTo>
                      <a:pt x="0" y="17"/>
                      <a:pt x="0" y="17"/>
                      <a:pt x="0" y="18"/>
                    </a:cubicBezTo>
                    <a:cubicBezTo>
                      <a:pt x="6" y="13"/>
                      <a:pt x="13" y="9"/>
                      <a:pt x="19" y="5"/>
                    </a:cubicBezTo>
                    <a:cubicBezTo>
                      <a:pt x="19" y="3"/>
                      <a:pt x="19" y="2"/>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8" name="Freeform 25"/>
              <p:cNvSpPr/>
              <p:nvPr/>
            </p:nvSpPr>
            <p:spPr bwMode="auto">
              <a:xfrm>
                <a:off x="11151" y="-181"/>
                <a:ext cx="7" cy="10"/>
              </a:xfrm>
              <a:custGeom>
                <a:gdLst>
                  <a:gd name="T0" fmla="*/ 3 w 3"/>
                  <a:gd name="T1" fmla="*/ 0 h 4"/>
                  <a:gd name="T2" fmla="*/ 3 w 3"/>
                  <a:gd name="T3" fmla="*/ 4 h 4"/>
                  <a:gd name="T4" fmla="*/ 3 w 3"/>
                  <a:gd name="T5" fmla="*/ 3 h 4"/>
                  <a:gd name="T6" fmla="*/ 2 w 3"/>
                  <a:gd name="T7" fmla="*/ 3 h 4"/>
                  <a:gd name="T8" fmla="*/ 3 w 3"/>
                  <a:gd name="T9" fmla="*/ 0 h 4"/>
                </a:gdLst>
                <a:cxnLst>
                  <a:cxn ang="0">
                    <a:pos x="T0" y="T1"/>
                  </a:cxn>
                  <a:cxn ang="0">
                    <a:pos x="T2" y="T3"/>
                  </a:cxn>
                  <a:cxn ang="0">
                    <a:pos x="T4" y="T5"/>
                  </a:cxn>
                  <a:cxn ang="0">
                    <a:pos x="T6" y="T7"/>
                  </a:cxn>
                  <a:cxn ang="0">
                    <a:pos x="T8" y="T9"/>
                  </a:cxn>
                </a:cxnLst>
                <a:rect l="0" t="0" r="r" b="b"/>
                <a:pathLst>
                  <a:path w="3" h="4">
                    <a:moveTo>
                      <a:pt x="3" y="0"/>
                    </a:moveTo>
                    <a:cubicBezTo>
                      <a:pt x="0" y="1"/>
                      <a:pt x="0" y="2"/>
                      <a:pt x="3" y="4"/>
                    </a:cubicBezTo>
                    <a:cubicBezTo>
                      <a:pt x="3" y="3"/>
                      <a:pt x="3" y="3"/>
                      <a:pt x="3" y="3"/>
                    </a:cubicBezTo>
                    <a:cubicBezTo>
                      <a:pt x="3" y="3"/>
                      <a:pt x="2" y="3"/>
                      <a:pt x="2" y="3"/>
                    </a:cubicBezTo>
                    <a:cubicBezTo>
                      <a:pt x="1"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9" name="Freeform 26"/>
              <p:cNvSpPr/>
              <p:nvPr/>
            </p:nvSpPr>
            <p:spPr bwMode="auto">
              <a:xfrm>
                <a:off x="10279" y="673"/>
                <a:ext cx="43" cy="14"/>
              </a:xfrm>
              <a:custGeom>
                <a:gdLst>
                  <a:gd name="T0" fmla="*/ 5 w 18"/>
                  <a:gd name="T1" fmla="*/ 0 h 6"/>
                  <a:gd name="T2" fmla="*/ 0 w 18"/>
                  <a:gd name="T3" fmla="*/ 2 h 6"/>
                  <a:gd name="T4" fmla="*/ 8 w 18"/>
                  <a:gd name="T5" fmla="*/ 6 h 6"/>
                  <a:gd name="T6" fmla="*/ 11 w 18"/>
                  <a:gd name="T7" fmla="*/ 4 h 6"/>
                  <a:gd name="T8" fmla="*/ 11 w 18"/>
                  <a:gd name="T9" fmla="*/ 4 h 6"/>
                  <a:gd name="T10" fmla="*/ 12 w 18"/>
                  <a:gd name="T11" fmla="*/ 5 h 6"/>
                  <a:gd name="T12" fmla="*/ 12 w 18"/>
                  <a:gd name="T13" fmla="*/ 5 h 6"/>
                  <a:gd name="T14" fmla="*/ 13 w 18"/>
                  <a:gd name="T15" fmla="*/ 5 h 6"/>
                  <a:gd name="T16" fmla="*/ 15 w 18"/>
                  <a:gd name="T17" fmla="*/ 4 h 6"/>
                  <a:gd name="T18" fmla="*/ 15 w 18"/>
                  <a:gd name="T19" fmla="*/ 4 h 6"/>
                  <a:gd name="T20" fmla="*/ 16 w 18"/>
                  <a:gd name="T21" fmla="*/ 4 h 6"/>
                  <a:gd name="T22" fmla="*/ 17 w 18"/>
                  <a:gd name="T23" fmla="*/ 4 h 6"/>
                  <a:gd name="T24" fmla="*/ 18 w 18"/>
                  <a:gd name="T25" fmla="*/ 4 h 6"/>
                  <a:gd name="T26" fmla="*/ 13 w 18"/>
                  <a:gd name="T27" fmla="*/ 1 h 6"/>
                  <a:gd name="T28" fmla="*/ 13 w 18"/>
                  <a:gd name="T29" fmla="*/ 1 h 6"/>
                  <a:gd name="T30" fmla="*/ 7 w 18"/>
                  <a:gd name="T31" fmla="*/ 0 h 6"/>
                  <a:gd name="T32" fmla="*/ 5 w 18"/>
                  <a:gd name="T3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6">
                    <a:moveTo>
                      <a:pt x="5" y="0"/>
                    </a:moveTo>
                    <a:cubicBezTo>
                      <a:pt x="3" y="0"/>
                      <a:pt x="2" y="0"/>
                      <a:pt x="0" y="2"/>
                    </a:cubicBezTo>
                    <a:cubicBezTo>
                      <a:pt x="3" y="3"/>
                      <a:pt x="5" y="5"/>
                      <a:pt x="8" y="6"/>
                    </a:cubicBezTo>
                    <a:cubicBezTo>
                      <a:pt x="9" y="6"/>
                      <a:pt x="10" y="4"/>
                      <a:pt x="11" y="4"/>
                    </a:cubicBezTo>
                    <a:cubicBezTo>
                      <a:pt x="11" y="4"/>
                      <a:pt x="11" y="4"/>
                      <a:pt x="11" y="4"/>
                    </a:cubicBezTo>
                    <a:cubicBezTo>
                      <a:pt x="11" y="4"/>
                      <a:pt x="12" y="4"/>
                      <a:pt x="12" y="5"/>
                    </a:cubicBezTo>
                    <a:cubicBezTo>
                      <a:pt x="12" y="5"/>
                      <a:pt x="12" y="5"/>
                      <a:pt x="12" y="5"/>
                    </a:cubicBezTo>
                    <a:cubicBezTo>
                      <a:pt x="12" y="5"/>
                      <a:pt x="12" y="5"/>
                      <a:pt x="13" y="5"/>
                    </a:cubicBezTo>
                    <a:cubicBezTo>
                      <a:pt x="14" y="5"/>
                      <a:pt x="14" y="4"/>
                      <a:pt x="15" y="4"/>
                    </a:cubicBezTo>
                    <a:cubicBezTo>
                      <a:pt x="15" y="4"/>
                      <a:pt x="15" y="4"/>
                      <a:pt x="15" y="4"/>
                    </a:cubicBezTo>
                    <a:cubicBezTo>
                      <a:pt x="15" y="4"/>
                      <a:pt x="15" y="4"/>
                      <a:pt x="16" y="4"/>
                    </a:cubicBezTo>
                    <a:cubicBezTo>
                      <a:pt x="16" y="4"/>
                      <a:pt x="17" y="4"/>
                      <a:pt x="17" y="4"/>
                    </a:cubicBezTo>
                    <a:cubicBezTo>
                      <a:pt x="18" y="4"/>
                      <a:pt x="18" y="4"/>
                      <a:pt x="18" y="4"/>
                    </a:cubicBezTo>
                    <a:cubicBezTo>
                      <a:pt x="18" y="2"/>
                      <a:pt x="15" y="1"/>
                      <a:pt x="13" y="1"/>
                    </a:cubicBezTo>
                    <a:cubicBezTo>
                      <a:pt x="13" y="1"/>
                      <a:pt x="13" y="1"/>
                      <a:pt x="13" y="1"/>
                    </a:cubicBezTo>
                    <a:cubicBezTo>
                      <a:pt x="15" y="0"/>
                      <a:pt x="8" y="0"/>
                      <a:pt x="7" y="0"/>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0" name="Freeform 27"/>
              <p:cNvSpPr/>
              <p:nvPr/>
            </p:nvSpPr>
            <p:spPr bwMode="auto">
              <a:xfrm>
                <a:off x="10487" y="727"/>
                <a:ext cx="26" cy="17"/>
              </a:xfrm>
              <a:custGeom>
                <a:gdLst>
                  <a:gd name="T0" fmla="*/ 11 w 11"/>
                  <a:gd name="T1" fmla="*/ 0 h 7"/>
                  <a:gd name="T2" fmla="*/ 4 w 11"/>
                  <a:gd name="T3" fmla="*/ 7 h 7"/>
                  <a:gd name="T4" fmla="*/ 6 w 11"/>
                  <a:gd name="T5" fmla="*/ 4 h 7"/>
                  <a:gd name="T6" fmla="*/ 7 w 11"/>
                  <a:gd name="T7" fmla="*/ 5 h 7"/>
                  <a:gd name="T8" fmla="*/ 8 w 11"/>
                  <a:gd name="T9" fmla="*/ 5 h 7"/>
                  <a:gd name="T10" fmla="*/ 9 w 11"/>
                  <a:gd name="T11" fmla="*/ 4 h 7"/>
                  <a:gd name="T12" fmla="*/ 10 w 11"/>
                  <a:gd name="T13" fmla="*/ 2 h 7"/>
                  <a:gd name="T14" fmla="*/ 11 w 11"/>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11" y="0"/>
                    </a:moveTo>
                    <a:cubicBezTo>
                      <a:pt x="9" y="1"/>
                      <a:pt x="0" y="5"/>
                      <a:pt x="4" y="7"/>
                    </a:cubicBezTo>
                    <a:cubicBezTo>
                      <a:pt x="5" y="5"/>
                      <a:pt x="5" y="4"/>
                      <a:pt x="6" y="4"/>
                    </a:cubicBezTo>
                    <a:cubicBezTo>
                      <a:pt x="6" y="4"/>
                      <a:pt x="7" y="5"/>
                      <a:pt x="7" y="5"/>
                    </a:cubicBezTo>
                    <a:cubicBezTo>
                      <a:pt x="7" y="5"/>
                      <a:pt x="7" y="5"/>
                      <a:pt x="8" y="5"/>
                    </a:cubicBezTo>
                    <a:cubicBezTo>
                      <a:pt x="8" y="5"/>
                      <a:pt x="9" y="5"/>
                      <a:pt x="9" y="4"/>
                    </a:cubicBezTo>
                    <a:cubicBezTo>
                      <a:pt x="10" y="4"/>
                      <a:pt x="9" y="3"/>
                      <a:pt x="10" y="2"/>
                    </a:cubicBezTo>
                    <a:cubicBezTo>
                      <a:pt x="10" y="1"/>
                      <a:pt x="11"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1" name="Freeform 28"/>
              <p:cNvSpPr/>
              <p:nvPr/>
            </p:nvSpPr>
            <p:spPr bwMode="auto">
              <a:xfrm>
                <a:off x="10319" y="704"/>
                <a:ext cx="19" cy="7"/>
              </a:xfrm>
              <a:custGeom>
                <a:gdLst>
                  <a:gd name="T0" fmla="*/ 6 w 8"/>
                  <a:gd name="T1" fmla="*/ 0 h 3"/>
                  <a:gd name="T2" fmla="*/ 3 w 8"/>
                  <a:gd name="T3" fmla="*/ 1 h 3"/>
                  <a:gd name="T4" fmla="*/ 2 w 8"/>
                  <a:gd name="T5" fmla="*/ 1 h 3"/>
                  <a:gd name="T6" fmla="*/ 2 w 8"/>
                  <a:gd name="T7" fmla="*/ 1 h 3"/>
                  <a:gd name="T8" fmla="*/ 1 w 8"/>
                  <a:gd name="T9" fmla="*/ 1 h 3"/>
                  <a:gd name="T10" fmla="*/ 0 w 8"/>
                  <a:gd name="T11" fmla="*/ 2 h 3"/>
                  <a:gd name="T12" fmla="*/ 5 w 8"/>
                  <a:gd name="T13" fmla="*/ 3 h 3"/>
                  <a:gd name="T14" fmla="*/ 8 w 8"/>
                  <a:gd name="T15" fmla="*/ 0 h 3"/>
                  <a:gd name="T16" fmla="*/ 6 w 8"/>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3">
                    <a:moveTo>
                      <a:pt x="6" y="0"/>
                    </a:moveTo>
                    <a:cubicBezTo>
                      <a:pt x="5" y="0"/>
                      <a:pt x="5" y="0"/>
                      <a:pt x="3" y="1"/>
                    </a:cubicBezTo>
                    <a:cubicBezTo>
                      <a:pt x="3" y="1"/>
                      <a:pt x="2" y="1"/>
                      <a:pt x="2" y="1"/>
                    </a:cubicBezTo>
                    <a:cubicBezTo>
                      <a:pt x="2" y="1"/>
                      <a:pt x="2" y="1"/>
                      <a:pt x="2" y="1"/>
                    </a:cubicBezTo>
                    <a:cubicBezTo>
                      <a:pt x="2" y="1"/>
                      <a:pt x="1" y="1"/>
                      <a:pt x="1" y="1"/>
                    </a:cubicBezTo>
                    <a:cubicBezTo>
                      <a:pt x="1" y="1"/>
                      <a:pt x="0" y="1"/>
                      <a:pt x="0" y="2"/>
                    </a:cubicBezTo>
                    <a:cubicBezTo>
                      <a:pt x="2" y="3"/>
                      <a:pt x="4" y="3"/>
                      <a:pt x="5" y="3"/>
                    </a:cubicBezTo>
                    <a:cubicBezTo>
                      <a:pt x="6" y="2"/>
                      <a:pt x="6" y="0"/>
                      <a:pt x="8"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Freeform 29"/>
              <p:cNvSpPr/>
              <p:nvPr/>
            </p:nvSpPr>
            <p:spPr bwMode="auto">
              <a:xfrm>
                <a:off x="10792" y="727"/>
                <a:ext cx="10" cy="7"/>
              </a:xfrm>
              <a:custGeom>
                <a:gdLst>
                  <a:gd name="T0" fmla="*/ 0 w 4"/>
                  <a:gd name="T1" fmla="*/ 0 h 3"/>
                  <a:gd name="T2" fmla="*/ 0 w 4"/>
                  <a:gd name="T3" fmla="*/ 0 h 3"/>
                  <a:gd name="T4" fmla="*/ 1 w 4"/>
                  <a:gd name="T5" fmla="*/ 3 h 3"/>
                  <a:gd name="T6" fmla="*/ 0 w 4"/>
                  <a:gd name="T7" fmla="*/ 0 h 3"/>
                </a:gdLst>
                <a:cxnLst>
                  <a:cxn ang="0">
                    <a:pos x="T0" y="T1"/>
                  </a:cxn>
                  <a:cxn ang="0">
                    <a:pos x="T2" y="T3"/>
                  </a:cxn>
                  <a:cxn ang="0">
                    <a:pos x="T4" y="T5"/>
                  </a:cxn>
                  <a:cxn ang="0">
                    <a:pos x="T6" y="T7"/>
                  </a:cxn>
                </a:cxnLst>
                <a:rect l="0" t="0" r="r" b="b"/>
                <a:pathLst>
                  <a:path w="4" h="3">
                    <a:moveTo>
                      <a:pt x="0" y="0"/>
                    </a:moveTo>
                    <a:cubicBezTo>
                      <a:pt x="0" y="0"/>
                      <a:pt x="0" y="0"/>
                      <a:pt x="0" y="0"/>
                    </a:cubicBezTo>
                    <a:cubicBezTo>
                      <a:pt x="0" y="1"/>
                      <a:pt x="1" y="2"/>
                      <a:pt x="1"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3" name="Freeform 30"/>
              <p:cNvSpPr/>
              <p:nvPr/>
            </p:nvSpPr>
            <p:spPr bwMode="auto">
              <a:xfrm>
                <a:off x="11036" y="694"/>
                <a:ext cx="7" cy="3"/>
              </a:xfrm>
              <a:custGeom>
                <a:gdLst>
                  <a:gd name="T0" fmla="*/ 3 w 3"/>
                  <a:gd name="T1" fmla="*/ 0 h 1"/>
                  <a:gd name="T2" fmla="*/ 0 w 3"/>
                  <a:gd name="T3" fmla="*/ 1 h 1"/>
                  <a:gd name="T4" fmla="*/ 1 w 3"/>
                  <a:gd name="T5" fmla="*/ 1 h 1"/>
                  <a:gd name="T6" fmla="*/ 3 w 3"/>
                  <a:gd name="T7" fmla="*/ 0 h 1"/>
                </a:gdLst>
                <a:cxnLst>
                  <a:cxn ang="0">
                    <a:pos x="T0" y="T1"/>
                  </a:cxn>
                  <a:cxn ang="0">
                    <a:pos x="T2" y="T3"/>
                  </a:cxn>
                  <a:cxn ang="0">
                    <a:pos x="T4" y="T5"/>
                  </a:cxn>
                  <a:cxn ang="0">
                    <a:pos x="T6" y="T7"/>
                  </a:cxn>
                </a:cxnLst>
                <a:rect l="0" t="0" r="r" b="b"/>
                <a:pathLst>
                  <a:path w="3" h="1">
                    <a:moveTo>
                      <a:pt x="3" y="0"/>
                    </a:moveTo>
                    <a:cubicBezTo>
                      <a:pt x="2" y="0"/>
                      <a:pt x="1" y="1"/>
                      <a:pt x="0" y="1"/>
                    </a:cubicBezTo>
                    <a:cubicBezTo>
                      <a:pt x="0" y="1"/>
                      <a:pt x="1" y="1"/>
                      <a:pt x="1" y="1"/>
                    </a:cubicBezTo>
                    <a:cubicBezTo>
                      <a:pt x="2"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Freeform 31"/>
              <p:cNvSpPr/>
              <p:nvPr/>
            </p:nvSpPr>
            <p:spPr bwMode="auto">
              <a:xfrm>
                <a:off x="10596" y="732"/>
                <a:ext cx="12" cy="9"/>
              </a:xfrm>
              <a:custGeom>
                <a:gdLst>
                  <a:gd name="T0" fmla="*/ 2 w 5"/>
                  <a:gd name="T1" fmla="*/ 0 h 4"/>
                  <a:gd name="T2" fmla="*/ 0 w 5"/>
                  <a:gd name="T3" fmla="*/ 1 h 4"/>
                  <a:gd name="T4" fmla="*/ 2 w 5"/>
                  <a:gd name="T5" fmla="*/ 4 h 4"/>
                  <a:gd name="T6" fmla="*/ 3 w 5"/>
                  <a:gd name="T7" fmla="*/ 0 h 4"/>
                  <a:gd name="T8" fmla="*/ 2 w 5"/>
                  <a:gd name="T9" fmla="*/ 0 h 4"/>
                </a:gdLst>
                <a:cxnLst>
                  <a:cxn ang="0">
                    <a:pos x="T0" y="T1"/>
                  </a:cxn>
                  <a:cxn ang="0">
                    <a:pos x="T2" y="T3"/>
                  </a:cxn>
                  <a:cxn ang="0">
                    <a:pos x="T4" y="T5"/>
                  </a:cxn>
                  <a:cxn ang="0">
                    <a:pos x="T6" y="T7"/>
                  </a:cxn>
                  <a:cxn ang="0">
                    <a:pos x="T8" y="T9"/>
                  </a:cxn>
                </a:cxnLst>
                <a:rect l="0" t="0" r="r" b="b"/>
                <a:pathLst>
                  <a:path w="5" h="4">
                    <a:moveTo>
                      <a:pt x="2" y="0"/>
                    </a:moveTo>
                    <a:cubicBezTo>
                      <a:pt x="1" y="0"/>
                      <a:pt x="1" y="1"/>
                      <a:pt x="0" y="1"/>
                    </a:cubicBezTo>
                    <a:cubicBezTo>
                      <a:pt x="0" y="2"/>
                      <a:pt x="1" y="3"/>
                      <a:pt x="2" y="4"/>
                    </a:cubicBezTo>
                    <a:cubicBezTo>
                      <a:pt x="4" y="3"/>
                      <a:pt x="5"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Freeform 32"/>
              <p:cNvSpPr/>
              <p:nvPr/>
            </p:nvSpPr>
            <p:spPr bwMode="auto">
              <a:xfrm>
                <a:off x="10953" y="711"/>
                <a:ext cx="12" cy="7"/>
              </a:xfrm>
              <a:custGeom>
                <a:gdLst>
                  <a:gd name="T0" fmla="*/ 2 w 5"/>
                  <a:gd name="T1" fmla="*/ 0 h 3"/>
                  <a:gd name="T2" fmla="*/ 1 w 5"/>
                  <a:gd name="T3" fmla="*/ 3 h 3"/>
                  <a:gd name="T4" fmla="*/ 5 w 5"/>
                  <a:gd name="T5" fmla="*/ 1 h 3"/>
                  <a:gd name="T6" fmla="*/ 2 w 5"/>
                  <a:gd name="T7" fmla="*/ 0 h 3"/>
                </a:gdLst>
                <a:cxnLst>
                  <a:cxn ang="0">
                    <a:pos x="T0" y="T1"/>
                  </a:cxn>
                  <a:cxn ang="0">
                    <a:pos x="T2" y="T3"/>
                  </a:cxn>
                  <a:cxn ang="0">
                    <a:pos x="T4" y="T5"/>
                  </a:cxn>
                  <a:cxn ang="0">
                    <a:pos x="T6" y="T7"/>
                  </a:cxn>
                </a:cxnLst>
                <a:rect l="0" t="0" r="r" b="b"/>
                <a:pathLst>
                  <a:path w="5" h="3">
                    <a:moveTo>
                      <a:pt x="2" y="0"/>
                    </a:moveTo>
                    <a:cubicBezTo>
                      <a:pt x="1" y="0"/>
                      <a:pt x="0" y="1"/>
                      <a:pt x="1" y="3"/>
                    </a:cubicBezTo>
                    <a:cubicBezTo>
                      <a:pt x="1" y="3"/>
                      <a:pt x="5" y="1"/>
                      <a:pt x="5"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Freeform 33"/>
              <p:cNvSpPr/>
              <p:nvPr/>
            </p:nvSpPr>
            <p:spPr bwMode="auto">
              <a:xfrm>
                <a:off x="10953" y="195"/>
                <a:ext cx="12" cy="10"/>
              </a:xfrm>
              <a:custGeom>
                <a:gdLst>
                  <a:gd name="T0" fmla="*/ 0 w 5"/>
                  <a:gd name="T1" fmla="*/ 1 h 4"/>
                  <a:gd name="T2" fmla="*/ 5 w 5"/>
                  <a:gd name="T3" fmla="*/ 4 h 4"/>
                  <a:gd name="T4" fmla="*/ 0 w 5"/>
                  <a:gd name="T5" fmla="*/ 1 h 4"/>
                </a:gdLst>
                <a:cxnLst>
                  <a:cxn ang="0">
                    <a:pos x="T0" y="T1"/>
                  </a:cxn>
                  <a:cxn ang="0">
                    <a:pos x="T2" y="T3"/>
                  </a:cxn>
                  <a:cxn ang="0">
                    <a:pos x="T4" y="T5"/>
                  </a:cxn>
                </a:cxnLst>
                <a:rect l="0" t="0" r="r" b="b"/>
                <a:pathLst>
                  <a:path w="5" h="4">
                    <a:moveTo>
                      <a:pt x="0" y="1"/>
                    </a:moveTo>
                    <a:cubicBezTo>
                      <a:pt x="1" y="2"/>
                      <a:pt x="3" y="3"/>
                      <a:pt x="5" y="4"/>
                    </a:cubicBezTo>
                    <a:cubicBezTo>
                      <a:pt x="3" y="0"/>
                      <a:pt x="3" y="2"/>
                      <a:pt x="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Freeform 34"/>
              <p:cNvSpPr>
                <a:spLocks noEditPoints="1"/>
              </p:cNvSpPr>
              <p:nvPr/>
            </p:nvSpPr>
            <p:spPr bwMode="auto">
              <a:xfrm>
                <a:off x="10932" y="183"/>
                <a:ext cx="11" cy="10"/>
              </a:xfrm>
              <a:custGeom>
                <a:gdLst>
                  <a:gd name="T0" fmla="*/ 5 w 5"/>
                  <a:gd name="T1" fmla="*/ 4 h 4"/>
                  <a:gd name="T2" fmla="*/ 5 w 5"/>
                  <a:gd name="T3" fmla="*/ 4 h 4"/>
                  <a:gd name="T4" fmla="*/ 5 w 5"/>
                  <a:gd name="T5" fmla="*/ 4 h 4"/>
                  <a:gd name="T6" fmla="*/ 2 w 5"/>
                  <a:gd name="T7" fmla="*/ 0 h 4"/>
                  <a:gd name="T8" fmla="*/ 1 w 5"/>
                  <a:gd name="T9" fmla="*/ 0 h 4"/>
                  <a:gd name="T10" fmla="*/ 0 w 5"/>
                  <a:gd name="T11" fmla="*/ 1 h 4"/>
                  <a:gd name="T12" fmla="*/ 5 w 5"/>
                  <a:gd name="T13" fmla="*/ 4 h 4"/>
                  <a:gd name="T14" fmla="*/ 2 w 5"/>
                  <a:gd name="T15" fmla="*/ 2 h 4"/>
                  <a:gd name="T16" fmla="*/ 2 w 5"/>
                  <a:gd name="T1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5" y="4"/>
                    </a:moveTo>
                    <a:cubicBezTo>
                      <a:pt x="5" y="4"/>
                      <a:pt x="5" y="4"/>
                      <a:pt x="5" y="4"/>
                    </a:cubicBezTo>
                    <a:cubicBezTo>
                      <a:pt x="5" y="4"/>
                      <a:pt x="5" y="4"/>
                      <a:pt x="5" y="4"/>
                    </a:cubicBezTo>
                    <a:moveTo>
                      <a:pt x="2" y="0"/>
                    </a:moveTo>
                    <a:cubicBezTo>
                      <a:pt x="1" y="0"/>
                      <a:pt x="1" y="0"/>
                      <a:pt x="1" y="0"/>
                    </a:cubicBezTo>
                    <a:cubicBezTo>
                      <a:pt x="0" y="1"/>
                      <a:pt x="0" y="1"/>
                      <a:pt x="0" y="1"/>
                    </a:cubicBezTo>
                    <a:cubicBezTo>
                      <a:pt x="2" y="2"/>
                      <a:pt x="3" y="3"/>
                      <a:pt x="5" y="4"/>
                    </a:cubicBezTo>
                    <a:cubicBezTo>
                      <a:pt x="3" y="3"/>
                      <a:pt x="3" y="3"/>
                      <a:pt x="2" y="2"/>
                    </a:cubicBezTo>
                    <a:cubicBezTo>
                      <a:pt x="1"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35"/>
              <p:cNvSpPr/>
              <p:nvPr/>
            </p:nvSpPr>
            <p:spPr bwMode="auto">
              <a:xfrm>
                <a:off x="10728" y="739"/>
                <a:ext cx="22" cy="12"/>
              </a:xfrm>
              <a:custGeom>
                <a:gdLst>
                  <a:gd name="T0" fmla="*/ 9 w 9"/>
                  <a:gd name="T1" fmla="*/ 0 h 5"/>
                  <a:gd name="T2" fmla="*/ 0 w 9"/>
                  <a:gd name="T3" fmla="*/ 5 h 5"/>
                  <a:gd name="T4" fmla="*/ 3 w 9"/>
                  <a:gd name="T5" fmla="*/ 4 h 5"/>
                  <a:gd name="T6" fmla="*/ 3 w 9"/>
                  <a:gd name="T7" fmla="*/ 4 h 5"/>
                  <a:gd name="T8" fmla="*/ 5 w 9"/>
                  <a:gd name="T9" fmla="*/ 5 h 5"/>
                  <a:gd name="T10" fmla="*/ 6 w 9"/>
                  <a:gd name="T11" fmla="*/ 5 h 5"/>
                  <a:gd name="T12" fmla="*/ 8 w 9"/>
                  <a:gd name="T13" fmla="*/ 3 h 5"/>
                  <a:gd name="T14" fmla="*/ 9 w 9"/>
                  <a:gd name="T15" fmla="*/ 0 h 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9" y="0"/>
                    </a:moveTo>
                    <a:cubicBezTo>
                      <a:pt x="6" y="2"/>
                      <a:pt x="3" y="3"/>
                      <a:pt x="0" y="5"/>
                    </a:cubicBezTo>
                    <a:cubicBezTo>
                      <a:pt x="1" y="5"/>
                      <a:pt x="2" y="4"/>
                      <a:pt x="3" y="4"/>
                    </a:cubicBezTo>
                    <a:cubicBezTo>
                      <a:pt x="3" y="4"/>
                      <a:pt x="3" y="4"/>
                      <a:pt x="3" y="4"/>
                    </a:cubicBezTo>
                    <a:cubicBezTo>
                      <a:pt x="5" y="5"/>
                      <a:pt x="4" y="5"/>
                      <a:pt x="5" y="5"/>
                    </a:cubicBezTo>
                    <a:cubicBezTo>
                      <a:pt x="5" y="5"/>
                      <a:pt x="6" y="5"/>
                      <a:pt x="6" y="5"/>
                    </a:cubicBezTo>
                    <a:cubicBezTo>
                      <a:pt x="8" y="5"/>
                      <a:pt x="7" y="5"/>
                      <a:pt x="8" y="3"/>
                    </a:cubicBezTo>
                    <a:cubicBezTo>
                      <a:pt x="9" y="2"/>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Freeform 36"/>
              <p:cNvSpPr/>
              <p:nvPr/>
            </p:nvSpPr>
            <p:spPr bwMode="auto">
              <a:xfrm>
                <a:off x="10698" y="737"/>
                <a:ext cx="26" cy="21"/>
              </a:xfrm>
              <a:custGeom>
                <a:gdLst>
                  <a:gd name="T0" fmla="*/ 4 w 11"/>
                  <a:gd name="T1" fmla="*/ 0 h 9"/>
                  <a:gd name="T2" fmla="*/ 1 w 11"/>
                  <a:gd name="T3" fmla="*/ 1 h 9"/>
                  <a:gd name="T4" fmla="*/ 6 w 11"/>
                  <a:gd name="T5" fmla="*/ 9 h 9"/>
                  <a:gd name="T6" fmla="*/ 8 w 11"/>
                  <a:gd name="T7" fmla="*/ 6 h 9"/>
                  <a:gd name="T8" fmla="*/ 8 w 11"/>
                  <a:gd name="T9" fmla="*/ 4 h 9"/>
                  <a:gd name="T10" fmla="*/ 11 w 11"/>
                  <a:gd name="T11" fmla="*/ 2 h 9"/>
                  <a:gd name="T12" fmla="*/ 10 w 11"/>
                  <a:gd name="T13" fmla="*/ 2 h 9"/>
                  <a:gd name="T14" fmla="*/ 9 w 11"/>
                  <a:gd name="T15" fmla="*/ 2 h 9"/>
                  <a:gd name="T16" fmla="*/ 8 w 11"/>
                  <a:gd name="T17" fmla="*/ 2 h 9"/>
                  <a:gd name="T18" fmla="*/ 7 w 11"/>
                  <a:gd name="T19" fmla="*/ 2 h 9"/>
                  <a:gd name="T20" fmla="*/ 5 w 11"/>
                  <a:gd name="T21" fmla="*/ 0 h 9"/>
                  <a:gd name="T22" fmla="*/ 4 w 11"/>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4" y="0"/>
                    </a:moveTo>
                    <a:cubicBezTo>
                      <a:pt x="3" y="0"/>
                      <a:pt x="1" y="0"/>
                      <a:pt x="1" y="1"/>
                    </a:cubicBezTo>
                    <a:cubicBezTo>
                      <a:pt x="0" y="2"/>
                      <a:pt x="5" y="7"/>
                      <a:pt x="6" y="9"/>
                    </a:cubicBezTo>
                    <a:cubicBezTo>
                      <a:pt x="7" y="8"/>
                      <a:pt x="7" y="7"/>
                      <a:pt x="8" y="6"/>
                    </a:cubicBezTo>
                    <a:cubicBezTo>
                      <a:pt x="8" y="5"/>
                      <a:pt x="8" y="4"/>
                      <a:pt x="8" y="4"/>
                    </a:cubicBezTo>
                    <a:cubicBezTo>
                      <a:pt x="9" y="3"/>
                      <a:pt x="11" y="4"/>
                      <a:pt x="11" y="2"/>
                    </a:cubicBezTo>
                    <a:cubicBezTo>
                      <a:pt x="11" y="2"/>
                      <a:pt x="11" y="2"/>
                      <a:pt x="10" y="2"/>
                    </a:cubicBezTo>
                    <a:cubicBezTo>
                      <a:pt x="10" y="2"/>
                      <a:pt x="10" y="2"/>
                      <a:pt x="9" y="2"/>
                    </a:cubicBezTo>
                    <a:cubicBezTo>
                      <a:pt x="9" y="2"/>
                      <a:pt x="9" y="2"/>
                      <a:pt x="8" y="2"/>
                    </a:cubicBezTo>
                    <a:cubicBezTo>
                      <a:pt x="8" y="2"/>
                      <a:pt x="7" y="2"/>
                      <a:pt x="7" y="2"/>
                    </a:cubicBezTo>
                    <a:cubicBezTo>
                      <a:pt x="6" y="2"/>
                      <a:pt x="6"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37"/>
              <p:cNvSpPr/>
              <p:nvPr/>
            </p:nvSpPr>
            <p:spPr bwMode="auto">
              <a:xfrm>
                <a:off x="10556" y="753"/>
                <a:ext cx="38" cy="19"/>
              </a:xfrm>
              <a:custGeom>
                <a:gdLst>
                  <a:gd name="T0" fmla="*/ 1 w 16"/>
                  <a:gd name="T1" fmla="*/ 0 h 8"/>
                  <a:gd name="T2" fmla="*/ 0 w 16"/>
                  <a:gd name="T3" fmla="*/ 0 h 8"/>
                  <a:gd name="T4" fmla="*/ 12 w 16"/>
                  <a:gd name="T5" fmla="*/ 8 h 8"/>
                  <a:gd name="T6" fmla="*/ 15 w 16"/>
                  <a:gd name="T7" fmla="*/ 7 h 8"/>
                  <a:gd name="T8" fmla="*/ 16 w 16"/>
                  <a:gd name="T9" fmla="*/ 7 h 8"/>
                  <a:gd name="T10" fmla="*/ 9 w 16"/>
                  <a:gd name="T11" fmla="*/ 4 h 8"/>
                  <a:gd name="T12" fmla="*/ 6 w 16"/>
                  <a:gd name="T13" fmla="*/ 2 h 8"/>
                  <a:gd name="T14" fmla="*/ 1 w 16"/>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8">
                    <a:moveTo>
                      <a:pt x="1" y="0"/>
                    </a:moveTo>
                    <a:cubicBezTo>
                      <a:pt x="1" y="0"/>
                      <a:pt x="1" y="0"/>
                      <a:pt x="0" y="0"/>
                    </a:cubicBezTo>
                    <a:cubicBezTo>
                      <a:pt x="4" y="3"/>
                      <a:pt x="8" y="5"/>
                      <a:pt x="12" y="8"/>
                    </a:cubicBezTo>
                    <a:cubicBezTo>
                      <a:pt x="13" y="8"/>
                      <a:pt x="14" y="7"/>
                      <a:pt x="15" y="7"/>
                    </a:cubicBezTo>
                    <a:cubicBezTo>
                      <a:pt x="15" y="7"/>
                      <a:pt x="16" y="7"/>
                      <a:pt x="16" y="7"/>
                    </a:cubicBezTo>
                    <a:cubicBezTo>
                      <a:pt x="14" y="6"/>
                      <a:pt x="11" y="6"/>
                      <a:pt x="9" y="4"/>
                    </a:cubicBezTo>
                    <a:cubicBezTo>
                      <a:pt x="8" y="3"/>
                      <a:pt x="7" y="3"/>
                      <a:pt x="6" y="2"/>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Freeform 38"/>
              <p:cNvSpPr/>
              <p:nvPr/>
            </p:nvSpPr>
            <p:spPr bwMode="auto">
              <a:xfrm>
                <a:off x="3932" y="1061"/>
                <a:ext cx="26" cy="11"/>
              </a:xfrm>
              <a:custGeom>
                <a:gdLst>
                  <a:gd name="T0" fmla="*/ 0 w 11"/>
                  <a:gd name="T1" fmla="*/ 0 h 5"/>
                  <a:gd name="T2" fmla="*/ 11 w 11"/>
                  <a:gd name="T3" fmla="*/ 5 h 5"/>
                  <a:gd name="T4" fmla="*/ 0 w 11"/>
                  <a:gd name="T5" fmla="*/ 0 h 5"/>
                </a:gdLst>
                <a:cxnLst>
                  <a:cxn ang="0">
                    <a:pos x="T0" y="T1"/>
                  </a:cxn>
                  <a:cxn ang="0">
                    <a:pos x="T2" y="T3"/>
                  </a:cxn>
                  <a:cxn ang="0">
                    <a:pos x="T4" y="T5"/>
                  </a:cxn>
                </a:cxnLst>
                <a:rect l="0" t="0" r="r" b="b"/>
                <a:pathLst>
                  <a:path w="11" h="5">
                    <a:moveTo>
                      <a:pt x="0" y="0"/>
                    </a:moveTo>
                    <a:cubicBezTo>
                      <a:pt x="1" y="4"/>
                      <a:pt x="7" y="4"/>
                      <a:pt x="11" y="5"/>
                    </a:cubicBezTo>
                    <a:cubicBezTo>
                      <a:pt x="7" y="3"/>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39"/>
              <p:cNvSpPr/>
              <p:nvPr/>
            </p:nvSpPr>
            <p:spPr bwMode="auto">
              <a:xfrm>
                <a:off x="4901" y="1458"/>
                <a:ext cx="2" cy="16"/>
              </a:xfrm>
              <a:custGeom>
                <a:gdLst>
                  <a:gd name="T0" fmla="*/ 1 w 1"/>
                  <a:gd name="T1" fmla="*/ 0 h 7"/>
                  <a:gd name="T2" fmla="*/ 1 w 1"/>
                  <a:gd name="T3" fmla="*/ 7 h 7"/>
                  <a:gd name="T4" fmla="*/ 1 w 1"/>
                  <a:gd name="T5" fmla="*/ 0 h 7"/>
                </a:gdLst>
                <a:cxnLst>
                  <a:cxn ang="0">
                    <a:pos x="T0" y="T1"/>
                  </a:cxn>
                  <a:cxn ang="0">
                    <a:pos x="T2" y="T3"/>
                  </a:cxn>
                  <a:cxn ang="0">
                    <a:pos x="T4" y="T5"/>
                  </a:cxn>
                </a:cxnLst>
                <a:rect l="0" t="0" r="r" b="b"/>
                <a:pathLst>
                  <a:path w="1" h="7">
                    <a:moveTo>
                      <a:pt x="1" y="0"/>
                    </a:moveTo>
                    <a:cubicBezTo>
                      <a:pt x="0" y="2"/>
                      <a:pt x="1" y="6"/>
                      <a:pt x="1" y="7"/>
                    </a:cubicBezTo>
                    <a:cubicBezTo>
                      <a:pt x="1" y="5"/>
                      <a:pt x="1"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Freeform 40"/>
              <p:cNvSpPr/>
              <p:nvPr/>
            </p:nvSpPr>
            <p:spPr bwMode="auto">
              <a:xfrm>
                <a:off x="3670" y="1401"/>
                <a:ext cx="14" cy="2"/>
              </a:xfrm>
              <a:custGeom>
                <a:gdLst>
                  <a:gd name="T0" fmla="*/ 6 w 6"/>
                  <a:gd name="T1" fmla="*/ 0 h 1"/>
                  <a:gd name="T2" fmla="*/ 0 w 6"/>
                  <a:gd name="T3" fmla="*/ 1 h 1"/>
                  <a:gd name="T4" fmla="*/ 2 w 6"/>
                  <a:gd name="T5" fmla="*/ 1 h 1"/>
                  <a:gd name="T6" fmla="*/ 6 w 6"/>
                  <a:gd name="T7" fmla="*/ 0 h 1"/>
                  <a:gd name="T8" fmla="*/ 6 w 6"/>
                  <a:gd name="T9" fmla="*/ 0 h 1"/>
                </a:gdLst>
                <a:cxnLst>
                  <a:cxn ang="0">
                    <a:pos x="T0" y="T1"/>
                  </a:cxn>
                  <a:cxn ang="0">
                    <a:pos x="T2" y="T3"/>
                  </a:cxn>
                  <a:cxn ang="0">
                    <a:pos x="T4" y="T5"/>
                  </a:cxn>
                  <a:cxn ang="0">
                    <a:pos x="T6" y="T7"/>
                  </a:cxn>
                  <a:cxn ang="0">
                    <a:pos x="T8" y="T9"/>
                  </a:cxn>
                </a:cxnLst>
                <a:rect l="0" t="0" r="r" b="b"/>
                <a:pathLst>
                  <a:path w="6" h="1">
                    <a:moveTo>
                      <a:pt x="6" y="0"/>
                    </a:moveTo>
                    <a:cubicBezTo>
                      <a:pt x="4" y="0"/>
                      <a:pt x="2" y="1"/>
                      <a:pt x="0" y="1"/>
                    </a:cubicBezTo>
                    <a:cubicBezTo>
                      <a:pt x="0" y="1"/>
                      <a:pt x="1" y="1"/>
                      <a:pt x="2" y="1"/>
                    </a:cubicBezTo>
                    <a:cubicBezTo>
                      <a:pt x="4" y="1"/>
                      <a:pt x="5"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41"/>
              <p:cNvSpPr/>
              <p:nvPr/>
            </p:nvSpPr>
            <p:spPr bwMode="auto">
              <a:xfrm>
                <a:off x="3696" y="-1297"/>
                <a:ext cx="33" cy="19"/>
              </a:xfrm>
              <a:custGeom>
                <a:gdLst>
                  <a:gd name="T0" fmla="*/ 5 w 14"/>
                  <a:gd name="T1" fmla="*/ 0 h 8"/>
                  <a:gd name="T2" fmla="*/ 9 w 14"/>
                  <a:gd name="T3" fmla="*/ 8 h 8"/>
                  <a:gd name="T4" fmla="*/ 13 w 14"/>
                  <a:gd name="T5" fmla="*/ 7 h 8"/>
                  <a:gd name="T6" fmla="*/ 14 w 14"/>
                  <a:gd name="T7" fmla="*/ 5 h 8"/>
                  <a:gd name="T8" fmla="*/ 8 w 14"/>
                  <a:gd name="T9" fmla="*/ 2 h 8"/>
                  <a:gd name="T10" fmla="*/ 6 w 14"/>
                  <a:gd name="T11" fmla="*/ 0 h 8"/>
                  <a:gd name="T12" fmla="*/ 5 w 14"/>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14" h="8">
                    <a:moveTo>
                      <a:pt x="5" y="0"/>
                    </a:moveTo>
                    <a:cubicBezTo>
                      <a:pt x="0" y="0"/>
                      <a:pt x="8" y="7"/>
                      <a:pt x="9" y="8"/>
                    </a:cubicBezTo>
                    <a:cubicBezTo>
                      <a:pt x="10" y="8"/>
                      <a:pt x="12" y="8"/>
                      <a:pt x="13" y="7"/>
                    </a:cubicBezTo>
                    <a:cubicBezTo>
                      <a:pt x="13" y="7"/>
                      <a:pt x="13" y="6"/>
                      <a:pt x="14" y="5"/>
                    </a:cubicBezTo>
                    <a:cubicBezTo>
                      <a:pt x="12" y="4"/>
                      <a:pt x="10" y="4"/>
                      <a:pt x="8" y="2"/>
                    </a:cubicBezTo>
                    <a:cubicBezTo>
                      <a:pt x="7" y="2"/>
                      <a:pt x="7" y="0"/>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5" name="Freeform 42"/>
              <p:cNvSpPr/>
              <p:nvPr/>
            </p:nvSpPr>
            <p:spPr bwMode="auto">
              <a:xfrm>
                <a:off x="3665" y="-1441"/>
                <a:ext cx="76" cy="88"/>
              </a:xfrm>
              <a:custGeom>
                <a:gdLst>
                  <a:gd name="T0" fmla="*/ 0 w 32"/>
                  <a:gd name="T1" fmla="*/ 0 h 37"/>
                  <a:gd name="T2" fmla="*/ 0 w 32"/>
                  <a:gd name="T3" fmla="*/ 37 h 37"/>
                  <a:gd name="T4" fmla="*/ 3 w 32"/>
                  <a:gd name="T5" fmla="*/ 36 h 37"/>
                  <a:gd name="T6" fmla="*/ 6 w 32"/>
                  <a:gd name="T7" fmla="*/ 32 h 37"/>
                  <a:gd name="T8" fmla="*/ 5 w 32"/>
                  <a:gd name="T9" fmla="*/ 28 h 37"/>
                  <a:gd name="T10" fmla="*/ 8 w 32"/>
                  <a:gd name="T11" fmla="*/ 26 h 37"/>
                  <a:gd name="T12" fmla="*/ 18 w 32"/>
                  <a:gd name="T13" fmla="*/ 22 h 37"/>
                  <a:gd name="T14" fmla="*/ 27 w 32"/>
                  <a:gd name="T15" fmla="*/ 17 h 37"/>
                  <a:gd name="T16" fmla="*/ 31 w 32"/>
                  <a:gd name="T17" fmla="*/ 14 h 37"/>
                  <a:gd name="T18" fmla="*/ 29 w 32"/>
                  <a:gd name="T19" fmla="*/ 12 h 37"/>
                  <a:gd name="T20" fmla="*/ 31 w 32"/>
                  <a:gd name="T21" fmla="*/ 6 h 37"/>
                  <a:gd name="T22" fmla="*/ 0 w 32"/>
                  <a:gd name="T23"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7">
                    <a:moveTo>
                      <a:pt x="0" y="0"/>
                    </a:moveTo>
                    <a:cubicBezTo>
                      <a:pt x="0" y="37"/>
                      <a:pt x="0" y="37"/>
                      <a:pt x="0" y="37"/>
                    </a:cubicBezTo>
                    <a:cubicBezTo>
                      <a:pt x="1" y="37"/>
                      <a:pt x="2" y="36"/>
                      <a:pt x="3" y="36"/>
                    </a:cubicBezTo>
                    <a:cubicBezTo>
                      <a:pt x="5" y="35"/>
                      <a:pt x="4" y="33"/>
                      <a:pt x="6" y="32"/>
                    </a:cubicBezTo>
                    <a:cubicBezTo>
                      <a:pt x="9" y="31"/>
                      <a:pt x="5" y="29"/>
                      <a:pt x="5" y="28"/>
                    </a:cubicBezTo>
                    <a:cubicBezTo>
                      <a:pt x="4" y="26"/>
                      <a:pt x="7" y="26"/>
                      <a:pt x="8" y="26"/>
                    </a:cubicBezTo>
                    <a:cubicBezTo>
                      <a:pt x="12" y="25"/>
                      <a:pt x="15" y="24"/>
                      <a:pt x="18" y="22"/>
                    </a:cubicBezTo>
                    <a:cubicBezTo>
                      <a:pt x="21" y="20"/>
                      <a:pt x="23" y="18"/>
                      <a:pt x="27" y="17"/>
                    </a:cubicBezTo>
                    <a:cubicBezTo>
                      <a:pt x="29" y="17"/>
                      <a:pt x="32" y="16"/>
                      <a:pt x="31" y="14"/>
                    </a:cubicBezTo>
                    <a:cubicBezTo>
                      <a:pt x="31" y="13"/>
                      <a:pt x="29" y="13"/>
                      <a:pt x="29" y="12"/>
                    </a:cubicBezTo>
                    <a:cubicBezTo>
                      <a:pt x="29" y="10"/>
                      <a:pt x="31" y="7"/>
                      <a:pt x="31" y="6"/>
                    </a:cubicBezTo>
                    <a:cubicBezTo>
                      <a:pt x="21" y="4"/>
                      <a:pt x="1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Freeform 43"/>
              <p:cNvSpPr/>
              <p:nvPr/>
            </p:nvSpPr>
            <p:spPr bwMode="auto">
              <a:xfrm>
                <a:off x="3941" y="-1438"/>
                <a:ext cx="86" cy="14"/>
              </a:xfrm>
              <a:custGeom>
                <a:gdLst>
                  <a:gd name="T0" fmla="*/ 36 w 36"/>
                  <a:gd name="T1" fmla="*/ 0 h 6"/>
                  <a:gd name="T2" fmla="*/ 0 w 36"/>
                  <a:gd name="T3" fmla="*/ 6 h 6"/>
                  <a:gd name="T4" fmla="*/ 19 w 36"/>
                  <a:gd name="T5" fmla="*/ 4 h 6"/>
                  <a:gd name="T6" fmla="*/ 28 w 36"/>
                  <a:gd name="T7" fmla="*/ 2 h 6"/>
                  <a:gd name="T8" fmla="*/ 36 w 36"/>
                  <a:gd name="T9" fmla="*/ 0 h 6"/>
                </a:gdLst>
                <a:cxnLst>
                  <a:cxn ang="0">
                    <a:pos x="T0" y="T1"/>
                  </a:cxn>
                  <a:cxn ang="0">
                    <a:pos x="T2" y="T3"/>
                  </a:cxn>
                  <a:cxn ang="0">
                    <a:pos x="T4" y="T5"/>
                  </a:cxn>
                  <a:cxn ang="0">
                    <a:pos x="T6" y="T7"/>
                  </a:cxn>
                  <a:cxn ang="0">
                    <a:pos x="T8" y="T9"/>
                  </a:cxn>
                </a:cxnLst>
                <a:rect l="0" t="0" r="r" b="b"/>
                <a:pathLst>
                  <a:path w="36" h="6">
                    <a:moveTo>
                      <a:pt x="36" y="0"/>
                    </a:moveTo>
                    <a:cubicBezTo>
                      <a:pt x="24" y="2"/>
                      <a:pt x="12" y="4"/>
                      <a:pt x="0" y="6"/>
                    </a:cubicBezTo>
                    <a:cubicBezTo>
                      <a:pt x="6" y="6"/>
                      <a:pt x="13" y="5"/>
                      <a:pt x="19" y="4"/>
                    </a:cubicBezTo>
                    <a:cubicBezTo>
                      <a:pt x="22" y="3"/>
                      <a:pt x="25" y="3"/>
                      <a:pt x="28" y="2"/>
                    </a:cubicBezTo>
                    <a:cubicBezTo>
                      <a:pt x="30" y="2"/>
                      <a:pt x="34" y="2"/>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Freeform 44"/>
              <p:cNvSpPr/>
              <p:nvPr/>
            </p:nvSpPr>
            <p:spPr bwMode="auto">
              <a:xfrm>
                <a:off x="3769" y="-1311"/>
                <a:ext cx="80" cy="14"/>
              </a:xfrm>
              <a:custGeom>
                <a:gdLst>
                  <a:gd name="T0" fmla="*/ 14 w 34"/>
                  <a:gd name="T1" fmla="*/ 0 h 6"/>
                  <a:gd name="T2" fmla="*/ 0 w 34"/>
                  <a:gd name="T3" fmla="*/ 5 h 6"/>
                  <a:gd name="T4" fmla="*/ 4 w 34"/>
                  <a:gd name="T5" fmla="*/ 6 h 6"/>
                  <a:gd name="T6" fmla="*/ 11 w 34"/>
                  <a:gd name="T7" fmla="*/ 3 h 6"/>
                  <a:gd name="T8" fmla="*/ 12 w 34"/>
                  <a:gd name="T9" fmla="*/ 3 h 6"/>
                  <a:gd name="T10" fmla="*/ 12 w 34"/>
                  <a:gd name="T11" fmla="*/ 3 h 6"/>
                  <a:gd name="T12" fmla="*/ 15 w 34"/>
                  <a:gd name="T13" fmla="*/ 3 h 6"/>
                  <a:gd name="T14" fmla="*/ 18 w 34"/>
                  <a:gd name="T15" fmla="*/ 2 h 6"/>
                  <a:gd name="T16" fmla="*/ 19 w 34"/>
                  <a:gd name="T17" fmla="*/ 2 h 6"/>
                  <a:gd name="T18" fmla="*/ 26 w 34"/>
                  <a:gd name="T19" fmla="*/ 5 h 6"/>
                  <a:gd name="T20" fmla="*/ 27 w 34"/>
                  <a:gd name="T21" fmla="*/ 5 h 6"/>
                  <a:gd name="T22" fmla="*/ 34 w 34"/>
                  <a:gd name="T23" fmla="*/ 3 h 6"/>
                  <a:gd name="T24" fmla="*/ 15 w 34"/>
                  <a:gd name="T25" fmla="*/ 0 h 6"/>
                  <a:gd name="T26" fmla="*/ 14 w 34"/>
                  <a:gd name="T2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6">
                    <a:moveTo>
                      <a:pt x="14" y="0"/>
                    </a:moveTo>
                    <a:cubicBezTo>
                      <a:pt x="9" y="0"/>
                      <a:pt x="5" y="3"/>
                      <a:pt x="0" y="5"/>
                    </a:cubicBezTo>
                    <a:cubicBezTo>
                      <a:pt x="1" y="6"/>
                      <a:pt x="3" y="6"/>
                      <a:pt x="4" y="6"/>
                    </a:cubicBezTo>
                    <a:cubicBezTo>
                      <a:pt x="6" y="5"/>
                      <a:pt x="9" y="3"/>
                      <a:pt x="11" y="3"/>
                    </a:cubicBezTo>
                    <a:cubicBezTo>
                      <a:pt x="11" y="3"/>
                      <a:pt x="12" y="3"/>
                      <a:pt x="12" y="3"/>
                    </a:cubicBezTo>
                    <a:cubicBezTo>
                      <a:pt x="12" y="3"/>
                      <a:pt x="12" y="3"/>
                      <a:pt x="12" y="3"/>
                    </a:cubicBezTo>
                    <a:cubicBezTo>
                      <a:pt x="13" y="3"/>
                      <a:pt x="14" y="3"/>
                      <a:pt x="15" y="3"/>
                    </a:cubicBezTo>
                    <a:cubicBezTo>
                      <a:pt x="16" y="3"/>
                      <a:pt x="17" y="2"/>
                      <a:pt x="18" y="2"/>
                    </a:cubicBezTo>
                    <a:cubicBezTo>
                      <a:pt x="18" y="2"/>
                      <a:pt x="19" y="2"/>
                      <a:pt x="19" y="2"/>
                    </a:cubicBezTo>
                    <a:cubicBezTo>
                      <a:pt x="21" y="3"/>
                      <a:pt x="24" y="5"/>
                      <a:pt x="26" y="5"/>
                    </a:cubicBezTo>
                    <a:cubicBezTo>
                      <a:pt x="26" y="5"/>
                      <a:pt x="26" y="5"/>
                      <a:pt x="27" y="5"/>
                    </a:cubicBezTo>
                    <a:cubicBezTo>
                      <a:pt x="29" y="5"/>
                      <a:pt x="31" y="3"/>
                      <a:pt x="34" y="3"/>
                    </a:cubicBezTo>
                    <a:cubicBezTo>
                      <a:pt x="28" y="1"/>
                      <a:pt x="21" y="1"/>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Freeform 45"/>
              <p:cNvSpPr/>
              <p:nvPr/>
            </p:nvSpPr>
            <p:spPr bwMode="auto">
              <a:xfrm>
                <a:off x="4523" y="2917"/>
                <a:ext cx="23" cy="7"/>
              </a:xfrm>
              <a:custGeom>
                <a:gdLst>
                  <a:gd name="T0" fmla="*/ 0 w 10"/>
                  <a:gd name="T1" fmla="*/ 0 h 3"/>
                  <a:gd name="T2" fmla="*/ 10 w 10"/>
                  <a:gd name="T3" fmla="*/ 3 h 3"/>
                  <a:gd name="T4" fmla="*/ 0 w 10"/>
                  <a:gd name="T5" fmla="*/ 0 h 3"/>
                  <a:gd name="T6" fmla="*/ 0 w 10"/>
                  <a:gd name="T7" fmla="*/ 0 h 3"/>
                </a:gdLst>
                <a:cxnLst>
                  <a:cxn ang="0">
                    <a:pos x="T0" y="T1"/>
                  </a:cxn>
                  <a:cxn ang="0">
                    <a:pos x="T2" y="T3"/>
                  </a:cxn>
                  <a:cxn ang="0">
                    <a:pos x="T4" y="T5"/>
                  </a:cxn>
                  <a:cxn ang="0">
                    <a:pos x="T6" y="T7"/>
                  </a:cxn>
                </a:cxnLst>
                <a:rect l="0" t="0" r="r" b="b"/>
                <a:pathLst>
                  <a:path w="10" h="3">
                    <a:moveTo>
                      <a:pt x="0" y="0"/>
                    </a:moveTo>
                    <a:cubicBezTo>
                      <a:pt x="3" y="1"/>
                      <a:pt x="7" y="2"/>
                      <a:pt x="10" y="3"/>
                    </a:cubicBezTo>
                    <a:cubicBezTo>
                      <a:pt x="7" y="2"/>
                      <a:pt x="4"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Freeform 46"/>
              <p:cNvSpPr/>
              <p:nvPr/>
            </p:nvSpPr>
            <p:spPr bwMode="auto">
              <a:xfrm>
                <a:off x="7179" y="3250"/>
                <a:ext cx="14" cy="2"/>
              </a:xfrm>
              <a:custGeom>
                <a:gdLst>
                  <a:gd name="T0" fmla="*/ 5 w 6"/>
                  <a:gd name="T1" fmla="*/ 0 h 1"/>
                  <a:gd name="T2" fmla="*/ 0 w 6"/>
                  <a:gd name="T3" fmla="*/ 1 h 1"/>
                  <a:gd name="T4" fmla="*/ 6 w 6"/>
                  <a:gd name="T5" fmla="*/ 0 h 1"/>
                  <a:gd name="T6" fmla="*/ 5 w 6"/>
                  <a:gd name="T7" fmla="*/ 0 h 1"/>
                </a:gdLst>
                <a:cxnLst>
                  <a:cxn ang="0">
                    <a:pos x="T0" y="T1"/>
                  </a:cxn>
                  <a:cxn ang="0">
                    <a:pos x="T2" y="T3"/>
                  </a:cxn>
                  <a:cxn ang="0">
                    <a:pos x="T4" y="T5"/>
                  </a:cxn>
                  <a:cxn ang="0">
                    <a:pos x="T6" y="T7"/>
                  </a:cxn>
                </a:cxnLst>
                <a:rect l="0" t="0" r="r" b="b"/>
                <a:pathLst>
                  <a:path w="6" h="1">
                    <a:moveTo>
                      <a:pt x="5" y="0"/>
                    </a:moveTo>
                    <a:cubicBezTo>
                      <a:pt x="3" y="0"/>
                      <a:pt x="1" y="0"/>
                      <a:pt x="0" y="1"/>
                    </a:cubicBezTo>
                    <a:cubicBezTo>
                      <a:pt x="2" y="1"/>
                      <a:pt x="4"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Freeform 47"/>
              <p:cNvSpPr>
                <a:spLocks noEditPoints="1"/>
              </p:cNvSpPr>
              <p:nvPr/>
            </p:nvSpPr>
            <p:spPr bwMode="auto">
              <a:xfrm>
                <a:off x="4395" y="2541"/>
                <a:ext cx="7" cy="12"/>
              </a:xfrm>
              <a:custGeom>
                <a:gdLst>
                  <a:gd name="T0" fmla="*/ 2 w 3"/>
                  <a:gd name="T1" fmla="*/ 0 h 5"/>
                  <a:gd name="T2" fmla="*/ 1 w 3"/>
                  <a:gd name="T3" fmla="*/ 3 h 5"/>
                  <a:gd name="T4" fmla="*/ 3 w 3"/>
                  <a:gd name="T5" fmla="*/ 5 h 5"/>
                  <a:gd name="T6" fmla="*/ 2 w 3"/>
                  <a:gd name="T7" fmla="*/ 0 h 5"/>
                  <a:gd name="T8" fmla="*/ 1 w 3"/>
                  <a:gd name="T9" fmla="*/ 0 h 5"/>
                  <a:gd name="T10" fmla="*/ 2 w 3"/>
                  <a:gd name="T11" fmla="*/ 0 h 5"/>
                  <a:gd name="T12" fmla="*/ 1 w 3"/>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2" y="2"/>
                      <a:pt x="0" y="1"/>
                      <a:pt x="1" y="3"/>
                    </a:cubicBezTo>
                    <a:cubicBezTo>
                      <a:pt x="1" y="4"/>
                      <a:pt x="3" y="4"/>
                      <a:pt x="3" y="5"/>
                    </a:cubicBezTo>
                    <a:cubicBezTo>
                      <a:pt x="3" y="3"/>
                      <a:pt x="2" y="2"/>
                      <a:pt x="2" y="0"/>
                    </a:cubicBezTo>
                    <a:moveTo>
                      <a:pt x="1" y="0"/>
                    </a:moveTo>
                    <a:cubicBezTo>
                      <a:pt x="1" y="0"/>
                      <a:pt x="1"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Freeform 48"/>
              <p:cNvSpPr/>
              <p:nvPr/>
            </p:nvSpPr>
            <p:spPr bwMode="auto">
              <a:xfrm>
                <a:off x="4402" y="2550"/>
                <a:ext cx="10" cy="10"/>
              </a:xfrm>
              <a:custGeom>
                <a:gdLst>
                  <a:gd name="T0" fmla="*/ 2 w 4"/>
                  <a:gd name="T1" fmla="*/ 0 h 4"/>
                  <a:gd name="T2" fmla="*/ 0 w 4"/>
                  <a:gd name="T3" fmla="*/ 1 h 4"/>
                  <a:gd name="T4" fmla="*/ 4 w 4"/>
                  <a:gd name="T5" fmla="*/ 4 h 4"/>
                  <a:gd name="T6" fmla="*/ 2 w 4"/>
                  <a:gd name="T7" fmla="*/ 0 h 4"/>
                </a:gdLst>
                <a:cxnLst>
                  <a:cxn ang="0">
                    <a:pos x="T0" y="T1"/>
                  </a:cxn>
                  <a:cxn ang="0">
                    <a:pos x="T2" y="T3"/>
                  </a:cxn>
                  <a:cxn ang="0">
                    <a:pos x="T4" y="T5"/>
                  </a:cxn>
                  <a:cxn ang="0">
                    <a:pos x="T6" y="T7"/>
                  </a:cxn>
                </a:cxnLst>
                <a:rect l="0" t="0" r="r" b="b"/>
                <a:pathLst>
                  <a:path w="4" h="4">
                    <a:moveTo>
                      <a:pt x="2" y="0"/>
                    </a:moveTo>
                    <a:cubicBezTo>
                      <a:pt x="2" y="0"/>
                      <a:pt x="1" y="0"/>
                      <a:pt x="0" y="1"/>
                    </a:cubicBezTo>
                    <a:cubicBezTo>
                      <a:pt x="2" y="2"/>
                      <a:pt x="3" y="3"/>
                      <a:pt x="4" y="4"/>
                    </a:cubicBezTo>
                    <a:cubicBezTo>
                      <a:pt x="4" y="3"/>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49"/>
              <p:cNvSpPr/>
              <p:nvPr/>
            </p:nvSpPr>
            <p:spPr bwMode="auto">
              <a:xfrm>
                <a:off x="4393" y="2545"/>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2" y="1"/>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50"/>
              <p:cNvSpPr/>
              <p:nvPr/>
            </p:nvSpPr>
            <p:spPr bwMode="auto">
              <a:xfrm>
                <a:off x="4398" y="2550"/>
                <a:ext cx="4" cy="3"/>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1"/>
                      <a:pt x="1" y="1"/>
                      <a:pt x="2" y="1"/>
                    </a:cubicBezTo>
                    <a:cubicBezTo>
                      <a:pt x="2" y="1"/>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51"/>
              <p:cNvSpPr>
                <a:spLocks noEditPoints="1"/>
              </p:cNvSpPr>
              <p:nvPr/>
            </p:nvSpPr>
            <p:spPr bwMode="auto">
              <a:xfrm>
                <a:off x="8084" y="2853"/>
                <a:ext cx="40" cy="28"/>
              </a:xfrm>
              <a:custGeom>
                <a:gdLst>
                  <a:gd name="T0" fmla="*/ 1 w 17"/>
                  <a:gd name="T1" fmla="*/ 8 h 12"/>
                  <a:gd name="T2" fmla="*/ 1 w 17"/>
                  <a:gd name="T3" fmla="*/ 8 h 12"/>
                  <a:gd name="T4" fmla="*/ 1 w 17"/>
                  <a:gd name="T5" fmla="*/ 8 h 12"/>
                  <a:gd name="T6" fmla="*/ 10 w 17"/>
                  <a:gd name="T7" fmla="*/ 0 h 12"/>
                  <a:gd name="T8" fmla="*/ 6 w 17"/>
                  <a:gd name="T9" fmla="*/ 3 h 12"/>
                  <a:gd name="T10" fmla="*/ 1 w 17"/>
                  <a:gd name="T11" fmla="*/ 8 h 12"/>
                  <a:gd name="T12" fmla="*/ 1 w 17"/>
                  <a:gd name="T13" fmla="*/ 8 h 12"/>
                  <a:gd name="T14" fmla="*/ 2 w 17"/>
                  <a:gd name="T15" fmla="*/ 9 h 12"/>
                  <a:gd name="T16" fmla="*/ 2 w 17"/>
                  <a:gd name="T17" fmla="*/ 10 h 12"/>
                  <a:gd name="T18" fmla="*/ 2 w 17"/>
                  <a:gd name="T19" fmla="*/ 10 h 12"/>
                  <a:gd name="T20" fmla="*/ 6 w 17"/>
                  <a:gd name="T21" fmla="*/ 12 h 12"/>
                  <a:gd name="T22" fmla="*/ 15 w 17"/>
                  <a:gd name="T23" fmla="*/ 9 h 12"/>
                  <a:gd name="T24" fmla="*/ 16 w 17"/>
                  <a:gd name="T25" fmla="*/ 7 h 12"/>
                  <a:gd name="T26" fmla="*/ 15 w 17"/>
                  <a:gd name="T27" fmla="*/ 7 h 12"/>
                  <a:gd name="T28" fmla="*/ 16 w 17"/>
                  <a:gd name="T29" fmla="*/ 6 h 12"/>
                  <a:gd name="T30" fmla="*/ 15 w 17"/>
                  <a:gd name="T31" fmla="*/ 3 h 12"/>
                  <a:gd name="T32" fmla="*/ 11 w 17"/>
                  <a:gd name="T33" fmla="*/ 0 h 12"/>
                  <a:gd name="T34" fmla="*/ 10 w 17"/>
                  <a:gd name="T35"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2">
                    <a:moveTo>
                      <a:pt x="1" y="8"/>
                    </a:moveTo>
                    <a:cubicBezTo>
                      <a:pt x="1" y="8"/>
                      <a:pt x="1" y="8"/>
                      <a:pt x="1" y="8"/>
                    </a:cubicBezTo>
                    <a:cubicBezTo>
                      <a:pt x="1" y="8"/>
                      <a:pt x="1" y="8"/>
                      <a:pt x="1" y="8"/>
                    </a:cubicBezTo>
                    <a:moveTo>
                      <a:pt x="10" y="0"/>
                    </a:moveTo>
                    <a:cubicBezTo>
                      <a:pt x="8" y="0"/>
                      <a:pt x="7" y="2"/>
                      <a:pt x="6" y="3"/>
                    </a:cubicBezTo>
                    <a:cubicBezTo>
                      <a:pt x="4" y="5"/>
                      <a:pt x="0" y="5"/>
                      <a:pt x="1" y="8"/>
                    </a:cubicBezTo>
                    <a:cubicBezTo>
                      <a:pt x="1" y="8"/>
                      <a:pt x="1" y="8"/>
                      <a:pt x="1" y="8"/>
                    </a:cubicBezTo>
                    <a:cubicBezTo>
                      <a:pt x="1" y="8"/>
                      <a:pt x="1" y="9"/>
                      <a:pt x="2" y="9"/>
                    </a:cubicBezTo>
                    <a:cubicBezTo>
                      <a:pt x="2" y="10"/>
                      <a:pt x="2" y="10"/>
                      <a:pt x="2" y="10"/>
                    </a:cubicBezTo>
                    <a:cubicBezTo>
                      <a:pt x="2" y="10"/>
                      <a:pt x="2" y="10"/>
                      <a:pt x="2" y="10"/>
                    </a:cubicBezTo>
                    <a:cubicBezTo>
                      <a:pt x="3" y="11"/>
                      <a:pt x="4" y="11"/>
                      <a:pt x="6" y="12"/>
                    </a:cubicBezTo>
                    <a:cubicBezTo>
                      <a:pt x="9" y="11"/>
                      <a:pt x="13" y="10"/>
                      <a:pt x="15" y="9"/>
                    </a:cubicBezTo>
                    <a:cubicBezTo>
                      <a:pt x="17" y="8"/>
                      <a:pt x="16" y="8"/>
                      <a:pt x="16" y="7"/>
                    </a:cubicBezTo>
                    <a:cubicBezTo>
                      <a:pt x="15" y="7"/>
                      <a:pt x="15" y="7"/>
                      <a:pt x="15" y="7"/>
                    </a:cubicBezTo>
                    <a:cubicBezTo>
                      <a:pt x="16" y="6"/>
                      <a:pt x="16" y="6"/>
                      <a:pt x="16" y="6"/>
                    </a:cubicBezTo>
                    <a:cubicBezTo>
                      <a:pt x="16" y="5"/>
                      <a:pt x="16" y="4"/>
                      <a:pt x="15" y="3"/>
                    </a:cubicBezTo>
                    <a:cubicBezTo>
                      <a:pt x="15" y="2"/>
                      <a:pt x="12" y="1"/>
                      <a:pt x="11"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52"/>
              <p:cNvSpPr/>
              <p:nvPr/>
            </p:nvSpPr>
            <p:spPr bwMode="auto">
              <a:xfrm>
                <a:off x="8108" y="2744"/>
                <a:ext cx="63" cy="69"/>
              </a:xfrm>
              <a:custGeom>
                <a:gdLst>
                  <a:gd name="T0" fmla="*/ 15 w 27"/>
                  <a:gd name="T1" fmla="*/ 0 h 29"/>
                  <a:gd name="T2" fmla="*/ 11 w 27"/>
                  <a:gd name="T3" fmla="*/ 0 h 29"/>
                  <a:gd name="T4" fmla="*/ 0 w 27"/>
                  <a:gd name="T5" fmla="*/ 0 h 29"/>
                  <a:gd name="T6" fmla="*/ 7 w 27"/>
                  <a:gd name="T7" fmla="*/ 9 h 29"/>
                  <a:gd name="T8" fmla="*/ 15 w 27"/>
                  <a:gd name="T9" fmla="*/ 16 h 29"/>
                  <a:gd name="T10" fmla="*/ 14 w 27"/>
                  <a:gd name="T11" fmla="*/ 18 h 29"/>
                  <a:gd name="T12" fmla="*/ 15 w 27"/>
                  <a:gd name="T13" fmla="*/ 24 h 29"/>
                  <a:gd name="T14" fmla="*/ 18 w 27"/>
                  <a:gd name="T15" fmla="*/ 28 h 29"/>
                  <a:gd name="T16" fmla="*/ 19 w 27"/>
                  <a:gd name="T17" fmla="*/ 29 h 29"/>
                  <a:gd name="T18" fmla="*/ 20 w 27"/>
                  <a:gd name="T19" fmla="*/ 28 h 29"/>
                  <a:gd name="T20" fmla="*/ 20 w 27"/>
                  <a:gd name="T21" fmla="*/ 28 h 29"/>
                  <a:gd name="T22" fmla="*/ 21 w 27"/>
                  <a:gd name="T23" fmla="*/ 28 h 29"/>
                  <a:gd name="T24" fmla="*/ 24 w 27"/>
                  <a:gd name="T25" fmla="*/ 29 h 29"/>
                  <a:gd name="T26" fmla="*/ 24 w 27"/>
                  <a:gd name="T27" fmla="*/ 28 h 29"/>
                  <a:gd name="T28" fmla="*/ 25 w 27"/>
                  <a:gd name="T29" fmla="*/ 28 h 29"/>
                  <a:gd name="T30" fmla="*/ 26 w 27"/>
                  <a:gd name="T31" fmla="*/ 28 h 29"/>
                  <a:gd name="T32" fmla="*/ 27 w 27"/>
                  <a:gd name="T33" fmla="*/ 28 h 29"/>
                  <a:gd name="T34" fmla="*/ 24 w 27"/>
                  <a:gd name="T35" fmla="*/ 27 h 29"/>
                  <a:gd name="T36" fmla="*/ 26 w 27"/>
                  <a:gd name="T37" fmla="*/ 24 h 29"/>
                  <a:gd name="T38" fmla="*/ 25 w 27"/>
                  <a:gd name="T39" fmla="*/ 15 h 29"/>
                  <a:gd name="T40" fmla="*/ 24 w 27"/>
                  <a:gd name="T41" fmla="*/ 8 h 29"/>
                  <a:gd name="T42" fmla="*/ 24 w 27"/>
                  <a:gd name="T43" fmla="*/ 7 h 29"/>
                  <a:gd name="T44" fmla="*/ 22 w 27"/>
                  <a:gd name="T45" fmla="*/ 6 h 29"/>
                  <a:gd name="T46" fmla="*/ 20 w 27"/>
                  <a:gd name="T47" fmla="*/ 4 h 29"/>
                  <a:gd name="T48" fmla="*/ 21 w 27"/>
                  <a:gd name="T49" fmla="*/ 3 h 29"/>
                  <a:gd name="T50" fmla="*/ 18 w 27"/>
                  <a:gd name="T51" fmla="*/ 0 h 29"/>
                  <a:gd name="T52" fmla="*/ 15 w 27"/>
                  <a:gd name="T53"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8">
                    <a:moveTo>
                      <a:pt x="15" y="0"/>
                    </a:moveTo>
                    <a:cubicBezTo>
                      <a:pt x="14" y="0"/>
                      <a:pt x="12" y="0"/>
                      <a:pt x="11" y="0"/>
                    </a:cubicBezTo>
                    <a:cubicBezTo>
                      <a:pt x="8" y="0"/>
                      <a:pt x="4" y="0"/>
                      <a:pt x="0" y="0"/>
                    </a:cubicBezTo>
                    <a:cubicBezTo>
                      <a:pt x="2" y="5"/>
                      <a:pt x="3" y="6"/>
                      <a:pt x="7" y="9"/>
                    </a:cubicBezTo>
                    <a:cubicBezTo>
                      <a:pt x="9" y="11"/>
                      <a:pt x="13" y="14"/>
                      <a:pt x="15" y="16"/>
                    </a:cubicBezTo>
                    <a:cubicBezTo>
                      <a:pt x="14" y="17"/>
                      <a:pt x="14" y="17"/>
                      <a:pt x="14" y="18"/>
                    </a:cubicBezTo>
                    <a:cubicBezTo>
                      <a:pt x="14" y="20"/>
                      <a:pt x="14" y="22"/>
                      <a:pt x="15" y="24"/>
                    </a:cubicBezTo>
                    <a:cubicBezTo>
                      <a:pt x="16" y="25"/>
                      <a:pt x="17" y="27"/>
                      <a:pt x="18" y="28"/>
                    </a:cubicBezTo>
                    <a:cubicBezTo>
                      <a:pt x="19" y="29"/>
                      <a:pt x="19" y="29"/>
                      <a:pt x="19" y="29"/>
                    </a:cubicBezTo>
                    <a:cubicBezTo>
                      <a:pt x="19" y="29"/>
                      <a:pt x="19" y="29"/>
                      <a:pt x="20" y="28"/>
                    </a:cubicBezTo>
                    <a:cubicBezTo>
                      <a:pt x="20" y="28"/>
                      <a:pt x="20" y="28"/>
                      <a:pt x="20" y="28"/>
                    </a:cubicBezTo>
                    <a:cubicBezTo>
                      <a:pt x="21" y="28"/>
                      <a:pt x="21" y="28"/>
                      <a:pt x="21" y="28"/>
                    </a:cubicBezTo>
                    <a:cubicBezTo>
                      <a:pt x="22" y="28"/>
                      <a:pt x="23" y="28"/>
                      <a:pt x="24" y="29"/>
                    </a:cubicBezTo>
                    <a:cubicBezTo>
                      <a:pt x="24" y="28"/>
                      <a:pt x="24" y="28"/>
                      <a:pt x="24" y="28"/>
                    </a:cubicBezTo>
                    <a:cubicBezTo>
                      <a:pt x="25" y="28"/>
                      <a:pt x="25" y="28"/>
                      <a:pt x="25" y="28"/>
                    </a:cubicBezTo>
                    <a:cubicBezTo>
                      <a:pt x="25" y="28"/>
                      <a:pt x="25" y="28"/>
                      <a:pt x="26" y="28"/>
                    </a:cubicBezTo>
                    <a:cubicBezTo>
                      <a:pt x="26" y="28"/>
                      <a:pt x="26" y="28"/>
                      <a:pt x="27" y="28"/>
                    </a:cubicBezTo>
                    <a:cubicBezTo>
                      <a:pt x="26" y="27"/>
                      <a:pt x="25" y="27"/>
                      <a:pt x="24" y="27"/>
                    </a:cubicBezTo>
                    <a:cubicBezTo>
                      <a:pt x="25" y="26"/>
                      <a:pt x="26" y="25"/>
                      <a:pt x="26" y="24"/>
                    </a:cubicBezTo>
                    <a:cubicBezTo>
                      <a:pt x="27" y="22"/>
                      <a:pt x="25" y="17"/>
                      <a:pt x="25" y="15"/>
                    </a:cubicBezTo>
                    <a:cubicBezTo>
                      <a:pt x="24" y="14"/>
                      <a:pt x="23" y="8"/>
                      <a:pt x="24" y="8"/>
                    </a:cubicBezTo>
                    <a:cubicBezTo>
                      <a:pt x="24" y="7"/>
                      <a:pt x="24" y="7"/>
                      <a:pt x="24" y="7"/>
                    </a:cubicBezTo>
                    <a:cubicBezTo>
                      <a:pt x="23" y="7"/>
                      <a:pt x="23" y="7"/>
                      <a:pt x="22" y="6"/>
                    </a:cubicBezTo>
                    <a:cubicBezTo>
                      <a:pt x="19" y="5"/>
                      <a:pt x="21" y="6"/>
                      <a:pt x="20" y="4"/>
                    </a:cubicBezTo>
                    <a:cubicBezTo>
                      <a:pt x="20" y="3"/>
                      <a:pt x="20" y="3"/>
                      <a:pt x="21" y="3"/>
                    </a:cubicBezTo>
                    <a:cubicBezTo>
                      <a:pt x="20" y="2"/>
                      <a:pt x="19" y="1"/>
                      <a:pt x="18" y="0"/>
                    </a:cubicBezTo>
                    <a:cubicBezTo>
                      <a:pt x="17"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53"/>
              <p:cNvSpPr/>
              <p:nvPr/>
            </p:nvSpPr>
            <p:spPr bwMode="auto">
              <a:xfrm>
                <a:off x="8110" y="2791"/>
                <a:ext cx="43" cy="69"/>
              </a:xfrm>
              <a:custGeom>
                <a:gdLst>
                  <a:gd name="T0" fmla="*/ 0 w 18"/>
                  <a:gd name="T1" fmla="*/ 0 h 29"/>
                  <a:gd name="T2" fmla="*/ 1 w 18"/>
                  <a:gd name="T3" fmla="*/ 5 h 29"/>
                  <a:gd name="T4" fmla="*/ 1 w 18"/>
                  <a:gd name="T5" fmla="*/ 9 h 29"/>
                  <a:gd name="T6" fmla="*/ 2 w 18"/>
                  <a:gd name="T7" fmla="*/ 12 h 29"/>
                  <a:gd name="T8" fmla="*/ 2 w 18"/>
                  <a:gd name="T9" fmla="*/ 11 h 29"/>
                  <a:gd name="T10" fmla="*/ 3 w 18"/>
                  <a:gd name="T11" fmla="*/ 13 h 29"/>
                  <a:gd name="T12" fmla="*/ 4 w 18"/>
                  <a:gd name="T13" fmla="*/ 12 h 29"/>
                  <a:gd name="T14" fmla="*/ 6 w 18"/>
                  <a:gd name="T15" fmla="*/ 10 h 29"/>
                  <a:gd name="T16" fmla="*/ 6 w 18"/>
                  <a:gd name="T17" fmla="*/ 10 h 29"/>
                  <a:gd name="T18" fmla="*/ 9 w 18"/>
                  <a:gd name="T19" fmla="*/ 26 h 29"/>
                  <a:gd name="T20" fmla="*/ 14 w 18"/>
                  <a:gd name="T21" fmla="*/ 29 h 29"/>
                  <a:gd name="T22" fmla="*/ 13 w 18"/>
                  <a:gd name="T23" fmla="*/ 22 h 29"/>
                  <a:gd name="T24" fmla="*/ 16 w 18"/>
                  <a:gd name="T25" fmla="*/ 26 h 29"/>
                  <a:gd name="T26" fmla="*/ 18 w 18"/>
                  <a:gd name="T27" fmla="*/ 23 h 29"/>
                  <a:gd name="T28" fmla="*/ 16 w 18"/>
                  <a:gd name="T29" fmla="*/ 17 h 29"/>
                  <a:gd name="T30" fmla="*/ 13 w 18"/>
                  <a:gd name="T31" fmla="*/ 3 h 29"/>
                  <a:gd name="T32" fmla="*/ 7 w 18"/>
                  <a:gd name="T33" fmla="*/ 4 h 29"/>
                  <a:gd name="T34" fmla="*/ 5 w 18"/>
                  <a:gd name="T35" fmla="*/ 4 h 29"/>
                  <a:gd name="T36" fmla="*/ 0 w 18"/>
                  <a:gd name="T37"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0"/>
                    </a:moveTo>
                    <a:cubicBezTo>
                      <a:pt x="0" y="2"/>
                      <a:pt x="1" y="4"/>
                      <a:pt x="1" y="5"/>
                    </a:cubicBezTo>
                    <a:cubicBezTo>
                      <a:pt x="2" y="6"/>
                      <a:pt x="1" y="8"/>
                      <a:pt x="1" y="9"/>
                    </a:cubicBezTo>
                    <a:cubicBezTo>
                      <a:pt x="1" y="10"/>
                      <a:pt x="1" y="12"/>
                      <a:pt x="2" y="12"/>
                    </a:cubicBezTo>
                    <a:cubicBezTo>
                      <a:pt x="2" y="12"/>
                      <a:pt x="2" y="12"/>
                      <a:pt x="2" y="11"/>
                    </a:cubicBezTo>
                    <a:cubicBezTo>
                      <a:pt x="2" y="12"/>
                      <a:pt x="3" y="13"/>
                      <a:pt x="3" y="13"/>
                    </a:cubicBezTo>
                    <a:cubicBezTo>
                      <a:pt x="3" y="13"/>
                      <a:pt x="4" y="12"/>
                      <a:pt x="4" y="12"/>
                    </a:cubicBezTo>
                    <a:cubicBezTo>
                      <a:pt x="5" y="11"/>
                      <a:pt x="5" y="10"/>
                      <a:pt x="6" y="10"/>
                    </a:cubicBezTo>
                    <a:cubicBezTo>
                      <a:pt x="6" y="10"/>
                      <a:pt x="6" y="10"/>
                      <a:pt x="6" y="10"/>
                    </a:cubicBezTo>
                    <a:cubicBezTo>
                      <a:pt x="11" y="11"/>
                      <a:pt x="9" y="24"/>
                      <a:pt x="9" y="26"/>
                    </a:cubicBezTo>
                    <a:cubicBezTo>
                      <a:pt x="10" y="27"/>
                      <a:pt x="12" y="28"/>
                      <a:pt x="14" y="29"/>
                    </a:cubicBezTo>
                    <a:cubicBezTo>
                      <a:pt x="14" y="26"/>
                      <a:pt x="12" y="25"/>
                      <a:pt x="13" y="22"/>
                    </a:cubicBezTo>
                    <a:cubicBezTo>
                      <a:pt x="14" y="24"/>
                      <a:pt x="15" y="25"/>
                      <a:pt x="16" y="26"/>
                    </a:cubicBezTo>
                    <a:cubicBezTo>
                      <a:pt x="17" y="25"/>
                      <a:pt x="18" y="24"/>
                      <a:pt x="18" y="23"/>
                    </a:cubicBezTo>
                    <a:cubicBezTo>
                      <a:pt x="18" y="21"/>
                      <a:pt x="17" y="18"/>
                      <a:pt x="16" y="17"/>
                    </a:cubicBezTo>
                    <a:cubicBezTo>
                      <a:pt x="12" y="14"/>
                      <a:pt x="13" y="8"/>
                      <a:pt x="13" y="3"/>
                    </a:cubicBezTo>
                    <a:cubicBezTo>
                      <a:pt x="11" y="3"/>
                      <a:pt x="9" y="4"/>
                      <a:pt x="7" y="4"/>
                    </a:cubicBezTo>
                    <a:cubicBezTo>
                      <a:pt x="6" y="4"/>
                      <a:pt x="5" y="4"/>
                      <a:pt x="5" y="4"/>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54"/>
              <p:cNvSpPr/>
              <p:nvPr/>
            </p:nvSpPr>
            <p:spPr bwMode="auto">
              <a:xfrm>
                <a:off x="7897" y="2465"/>
                <a:ext cx="208" cy="279"/>
              </a:xfrm>
              <a:custGeom>
                <a:gdLst>
                  <a:gd name="T0" fmla="*/ 23 w 88"/>
                  <a:gd name="T1" fmla="*/ 2 h 118"/>
                  <a:gd name="T2" fmla="*/ 21 w 88"/>
                  <a:gd name="T3" fmla="*/ 1 h 118"/>
                  <a:gd name="T4" fmla="*/ 20 w 88"/>
                  <a:gd name="T5" fmla="*/ 1 h 118"/>
                  <a:gd name="T6" fmla="*/ 18 w 88"/>
                  <a:gd name="T7" fmla="*/ 7 h 118"/>
                  <a:gd name="T8" fmla="*/ 16 w 88"/>
                  <a:gd name="T9" fmla="*/ 32 h 118"/>
                  <a:gd name="T10" fmla="*/ 15 w 88"/>
                  <a:gd name="T11" fmla="*/ 49 h 118"/>
                  <a:gd name="T12" fmla="*/ 12 w 88"/>
                  <a:gd name="T13" fmla="*/ 51 h 118"/>
                  <a:gd name="T14" fmla="*/ 6 w 88"/>
                  <a:gd name="T15" fmla="*/ 44 h 118"/>
                  <a:gd name="T16" fmla="*/ 6 w 88"/>
                  <a:gd name="T17" fmla="*/ 58 h 118"/>
                  <a:gd name="T18" fmla="*/ 10 w 88"/>
                  <a:gd name="T19" fmla="*/ 75 h 118"/>
                  <a:gd name="T20" fmla="*/ 15 w 88"/>
                  <a:gd name="T21" fmla="*/ 79 h 118"/>
                  <a:gd name="T22" fmla="*/ 16 w 88"/>
                  <a:gd name="T23" fmla="*/ 82 h 118"/>
                  <a:gd name="T24" fmla="*/ 18 w 88"/>
                  <a:gd name="T25" fmla="*/ 74 h 118"/>
                  <a:gd name="T26" fmla="*/ 27 w 88"/>
                  <a:gd name="T27" fmla="*/ 74 h 118"/>
                  <a:gd name="T28" fmla="*/ 27 w 88"/>
                  <a:gd name="T29" fmla="*/ 84 h 118"/>
                  <a:gd name="T30" fmla="*/ 19 w 88"/>
                  <a:gd name="T31" fmla="*/ 87 h 118"/>
                  <a:gd name="T32" fmla="*/ 22 w 88"/>
                  <a:gd name="T33" fmla="*/ 92 h 118"/>
                  <a:gd name="T34" fmla="*/ 25 w 88"/>
                  <a:gd name="T35" fmla="*/ 96 h 118"/>
                  <a:gd name="T36" fmla="*/ 32 w 88"/>
                  <a:gd name="T37" fmla="*/ 98 h 118"/>
                  <a:gd name="T38" fmla="*/ 36 w 88"/>
                  <a:gd name="T39" fmla="*/ 93 h 118"/>
                  <a:gd name="T40" fmla="*/ 45 w 88"/>
                  <a:gd name="T41" fmla="*/ 93 h 118"/>
                  <a:gd name="T42" fmla="*/ 52 w 88"/>
                  <a:gd name="T43" fmla="*/ 98 h 118"/>
                  <a:gd name="T44" fmla="*/ 52 w 88"/>
                  <a:gd name="T45" fmla="*/ 98 h 118"/>
                  <a:gd name="T46" fmla="*/ 56 w 88"/>
                  <a:gd name="T47" fmla="*/ 96 h 118"/>
                  <a:gd name="T48" fmla="*/ 56 w 88"/>
                  <a:gd name="T49" fmla="*/ 91 h 118"/>
                  <a:gd name="T50" fmla="*/ 69 w 88"/>
                  <a:gd name="T51" fmla="*/ 103 h 118"/>
                  <a:gd name="T52" fmla="*/ 75 w 88"/>
                  <a:gd name="T53" fmla="*/ 110 h 118"/>
                  <a:gd name="T54" fmla="*/ 82 w 88"/>
                  <a:gd name="T55" fmla="*/ 111 h 118"/>
                  <a:gd name="T56" fmla="*/ 83 w 88"/>
                  <a:gd name="T57" fmla="*/ 110 h 118"/>
                  <a:gd name="T58" fmla="*/ 84 w 88"/>
                  <a:gd name="T59" fmla="*/ 110 h 118"/>
                  <a:gd name="T60" fmla="*/ 83 w 88"/>
                  <a:gd name="T61" fmla="*/ 113 h 118"/>
                  <a:gd name="T62" fmla="*/ 82 w 88"/>
                  <a:gd name="T63" fmla="*/ 113 h 118"/>
                  <a:gd name="T64" fmla="*/ 81 w 88"/>
                  <a:gd name="T65" fmla="*/ 113 h 118"/>
                  <a:gd name="T66" fmla="*/ 88 w 88"/>
                  <a:gd name="T67" fmla="*/ 109 h 118"/>
                  <a:gd name="T68" fmla="*/ 83 w 88"/>
                  <a:gd name="T69" fmla="*/ 107 h 118"/>
                  <a:gd name="T70" fmla="*/ 82 w 88"/>
                  <a:gd name="T71" fmla="*/ 105 h 118"/>
                  <a:gd name="T72" fmla="*/ 76 w 88"/>
                  <a:gd name="T73" fmla="*/ 96 h 118"/>
                  <a:gd name="T74" fmla="*/ 79 w 88"/>
                  <a:gd name="T75" fmla="*/ 96 h 118"/>
                  <a:gd name="T76" fmla="*/ 81 w 88"/>
                  <a:gd name="T77" fmla="*/ 96 h 118"/>
                  <a:gd name="T78" fmla="*/ 84 w 88"/>
                  <a:gd name="T79" fmla="*/ 96 h 118"/>
                  <a:gd name="T80" fmla="*/ 72 w 88"/>
                  <a:gd name="T81" fmla="*/ 88 h 118"/>
                  <a:gd name="T82" fmla="*/ 71 w 88"/>
                  <a:gd name="T83" fmla="*/ 93 h 118"/>
                  <a:gd name="T84" fmla="*/ 66 w 88"/>
                  <a:gd name="T85" fmla="*/ 89 h 118"/>
                  <a:gd name="T86" fmla="*/ 57 w 88"/>
                  <a:gd name="T87" fmla="*/ 83 h 118"/>
                  <a:gd name="T88" fmla="*/ 51 w 88"/>
                  <a:gd name="T89" fmla="*/ 91 h 118"/>
                  <a:gd name="T90" fmla="*/ 50 w 88"/>
                  <a:gd name="T91" fmla="*/ 92 h 118"/>
                  <a:gd name="T92" fmla="*/ 41 w 88"/>
                  <a:gd name="T93" fmla="*/ 84 h 118"/>
                  <a:gd name="T94" fmla="*/ 38 w 88"/>
                  <a:gd name="T95" fmla="*/ 71 h 118"/>
                  <a:gd name="T96" fmla="*/ 39 w 88"/>
                  <a:gd name="T97" fmla="*/ 56 h 118"/>
                  <a:gd name="T98" fmla="*/ 38 w 88"/>
                  <a:gd name="T99" fmla="*/ 56 h 118"/>
                  <a:gd name="T100" fmla="*/ 38 w 88"/>
                  <a:gd name="T101" fmla="*/ 56 h 118"/>
                  <a:gd name="T102" fmla="*/ 47 w 88"/>
                  <a:gd name="T103" fmla="*/ 50 h 118"/>
                  <a:gd name="T104" fmla="*/ 55 w 88"/>
                  <a:gd name="T105" fmla="*/ 31 h 118"/>
                  <a:gd name="T106" fmla="*/ 50 w 88"/>
                  <a:gd name="T107" fmla="*/ 21 h 118"/>
                  <a:gd name="T108" fmla="*/ 51 w 88"/>
                  <a:gd name="T109" fmla="*/ 2 h 118"/>
                  <a:gd name="T110" fmla="*/ 45 w 88"/>
                  <a:gd name="T111" fmla="*/ 7 h 118"/>
                  <a:gd name="T112" fmla="*/ 42 w 88"/>
                  <a:gd name="T113" fmla="*/ 7 h 118"/>
                  <a:gd name="T114" fmla="*/ 27 w 88"/>
                  <a:gd name="T115" fmla="*/ 0 h 1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 h="118">
                    <a:moveTo>
                      <a:pt x="27" y="0"/>
                    </a:moveTo>
                    <a:cubicBezTo>
                      <a:pt x="25" y="1"/>
                      <a:pt x="24" y="1"/>
                      <a:pt x="23" y="2"/>
                    </a:cubicBezTo>
                    <a:cubicBezTo>
                      <a:pt x="22" y="2"/>
                      <a:pt x="22" y="2"/>
                      <a:pt x="22" y="2"/>
                    </a:cubicBezTo>
                    <a:cubicBezTo>
                      <a:pt x="22" y="2"/>
                      <a:pt x="22" y="2"/>
                      <a:pt x="21" y="1"/>
                    </a:cubicBezTo>
                    <a:cubicBezTo>
                      <a:pt x="21" y="1"/>
                      <a:pt x="21" y="1"/>
                      <a:pt x="20" y="1"/>
                    </a:cubicBezTo>
                    <a:cubicBezTo>
                      <a:pt x="20" y="1"/>
                      <a:pt x="20" y="1"/>
                      <a:pt x="20" y="1"/>
                    </a:cubicBezTo>
                    <a:cubicBezTo>
                      <a:pt x="19" y="2"/>
                      <a:pt x="19" y="2"/>
                      <a:pt x="19" y="2"/>
                    </a:cubicBezTo>
                    <a:cubicBezTo>
                      <a:pt x="18" y="3"/>
                      <a:pt x="18" y="6"/>
                      <a:pt x="18" y="7"/>
                    </a:cubicBezTo>
                    <a:cubicBezTo>
                      <a:pt x="17" y="9"/>
                      <a:pt x="16" y="12"/>
                      <a:pt x="16" y="14"/>
                    </a:cubicBezTo>
                    <a:cubicBezTo>
                      <a:pt x="16" y="20"/>
                      <a:pt x="16" y="26"/>
                      <a:pt x="16" y="32"/>
                    </a:cubicBezTo>
                    <a:cubicBezTo>
                      <a:pt x="16" y="34"/>
                      <a:pt x="15" y="39"/>
                      <a:pt x="13" y="39"/>
                    </a:cubicBezTo>
                    <a:cubicBezTo>
                      <a:pt x="14" y="42"/>
                      <a:pt x="17" y="47"/>
                      <a:pt x="15" y="49"/>
                    </a:cubicBezTo>
                    <a:cubicBezTo>
                      <a:pt x="15" y="50"/>
                      <a:pt x="13" y="51"/>
                      <a:pt x="12" y="51"/>
                    </a:cubicBezTo>
                    <a:cubicBezTo>
                      <a:pt x="12" y="51"/>
                      <a:pt x="12" y="51"/>
                      <a:pt x="12" y="51"/>
                    </a:cubicBezTo>
                    <a:cubicBezTo>
                      <a:pt x="10" y="50"/>
                      <a:pt x="6" y="47"/>
                      <a:pt x="6" y="45"/>
                    </a:cubicBezTo>
                    <a:cubicBezTo>
                      <a:pt x="7" y="44"/>
                      <a:pt x="7" y="44"/>
                      <a:pt x="6" y="44"/>
                    </a:cubicBezTo>
                    <a:cubicBezTo>
                      <a:pt x="6" y="44"/>
                      <a:pt x="6" y="44"/>
                      <a:pt x="5" y="44"/>
                    </a:cubicBezTo>
                    <a:cubicBezTo>
                      <a:pt x="0" y="44"/>
                      <a:pt x="6" y="56"/>
                      <a:pt x="6" y="58"/>
                    </a:cubicBezTo>
                    <a:cubicBezTo>
                      <a:pt x="8" y="63"/>
                      <a:pt x="9" y="69"/>
                      <a:pt x="10" y="75"/>
                    </a:cubicBezTo>
                    <a:cubicBezTo>
                      <a:pt x="10" y="75"/>
                      <a:pt x="10" y="75"/>
                      <a:pt x="10" y="75"/>
                    </a:cubicBezTo>
                    <a:cubicBezTo>
                      <a:pt x="11" y="75"/>
                      <a:pt x="13" y="75"/>
                      <a:pt x="14" y="75"/>
                    </a:cubicBezTo>
                    <a:cubicBezTo>
                      <a:pt x="11" y="78"/>
                      <a:pt x="14" y="77"/>
                      <a:pt x="15" y="79"/>
                    </a:cubicBezTo>
                    <a:cubicBezTo>
                      <a:pt x="16" y="79"/>
                      <a:pt x="15" y="80"/>
                      <a:pt x="15" y="80"/>
                    </a:cubicBezTo>
                    <a:cubicBezTo>
                      <a:pt x="16" y="81"/>
                      <a:pt x="15" y="81"/>
                      <a:pt x="16" y="82"/>
                    </a:cubicBezTo>
                    <a:cubicBezTo>
                      <a:pt x="17" y="82"/>
                      <a:pt x="17" y="82"/>
                      <a:pt x="17" y="82"/>
                    </a:cubicBezTo>
                    <a:cubicBezTo>
                      <a:pt x="20" y="82"/>
                      <a:pt x="19" y="76"/>
                      <a:pt x="18" y="74"/>
                    </a:cubicBezTo>
                    <a:cubicBezTo>
                      <a:pt x="20" y="75"/>
                      <a:pt x="21" y="76"/>
                      <a:pt x="23" y="76"/>
                    </a:cubicBezTo>
                    <a:cubicBezTo>
                      <a:pt x="24" y="75"/>
                      <a:pt x="25" y="74"/>
                      <a:pt x="27" y="74"/>
                    </a:cubicBezTo>
                    <a:cubicBezTo>
                      <a:pt x="30" y="74"/>
                      <a:pt x="32" y="76"/>
                      <a:pt x="32" y="79"/>
                    </a:cubicBezTo>
                    <a:cubicBezTo>
                      <a:pt x="32" y="82"/>
                      <a:pt x="30" y="84"/>
                      <a:pt x="27" y="84"/>
                    </a:cubicBezTo>
                    <a:cubicBezTo>
                      <a:pt x="26" y="84"/>
                      <a:pt x="25" y="84"/>
                      <a:pt x="24" y="83"/>
                    </a:cubicBezTo>
                    <a:cubicBezTo>
                      <a:pt x="22" y="84"/>
                      <a:pt x="19" y="85"/>
                      <a:pt x="19" y="87"/>
                    </a:cubicBezTo>
                    <a:cubicBezTo>
                      <a:pt x="20" y="89"/>
                      <a:pt x="20" y="92"/>
                      <a:pt x="20" y="95"/>
                    </a:cubicBezTo>
                    <a:cubicBezTo>
                      <a:pt x="22" y="93"/>
                      <a:pt x="22" y="92"/>
                      <a:pt x="22" y="92"/>
                    </a:cubicBezTo>
                    <a:cubicBezTo>
                      <a:pt x="23" y="92"/>
                      <a:pt x="23" y="93"/>
                      <a:pt x="25" y="94"/>
                    </a:cubicBezTo>
                    <a:cubicBezTo>
                      <a:pt x="26" y="95"/>
                      <a:pt x="24" y="95"/>
                      <a:pt x="25" y="96"/>
                    </a:cubicBezTo>
                    <a:cubicBezTo>
                      <a:pt x="25" y="97"/>
                      <a:pt x="28" y="98"/>
                      <a:pt x="29" y="98"/>
                    </a:cubicBezTo>
                    <a:cubicBezTo>
                      <a:pt x="30" y="98"/>
                      <a:pt x="31" y="98"/>
                      <a:pt x="32" y="98"/>
                    </a:cubicBezTo>
                    <a:cubicBezTo>
                      <a:pt x="32" y="98"/>
                      <a:pt x="32" y="98"/>
                      <a:pt x="32" y="98"/>
                    </a:cubicBezTo>
                    <a:cubicBezTo>
                      <a:pt x="34" y="97"/>
                      <a:pt x="35" y="94"/>
                      <a:pt x="36" y="93"/>
                    </a:cubicBezTo>
                    <a:cubicBezTo>
                      <a:pt x="39" y="92"/>
                      <a:pt x="40" y="92"/>
                      <a:pt x="41" y="92"/>
                    </a:cubicBezTo>
                    <a:cubicBezTo>
                      <a:pt x="42" y="92"/>
                      <a:pt x="43" y="92"/>
                      <a:pt x="45" y="93"/>
                    </a:cubicBezTo>
                    <a:cubicBezTo>
                      <a:pt x="46" y="94"/>
                      <a:pt x="47" y="94"/>
                      <a:pt x="48" y="95"/>
                    </a:cubicBezTo>
                    <a:cubicBezTo>
                      <a:pt x="50" y="96"/>
                      <a:pt x="50" y="98"/>
                      <a:pt x="52" y="98"/>
                    </a:cubicBezTo>
                    <a:cubicBezTo>
                      <a:pt x="52" y="98"/>
                      <a:pt x="52" y="98"/>
                      <a:pt x="52" y="98"/>
                    </a:cubicBezTo>
                    <a:cubicBezTo>
                      <a:pt x="52" y="98"/>
                      <a:pt x="52" y="98"/>
                      <a:pt x="52" y="98"/>
                    </a:cubicBezTo>
                    <a:cubicBezTo>
                      <a:pt x="55" y="98"/>
                      <a:pt x="55" y="105"/>
                      <a:pt x="57" y="106"/>
                    </a:cubicBezTo>
                    <a:cubicBezTo>
                      <a:pt x="57" y="103"/>
                      <a:pt x="56" y="100"/>
                      <a:pt x="56" y="96"/>
                    </a:cubicBezTo>
                    <a:cubicBezTo>
                      <a:pt x="55" y="95"/>
                      <a:pt x="55" y="93"/>
                      <a:pt x="54" y="92"/>
                    </a:cubicBezTo>
                    <a:cubicBezTo>
                      <a:pt x="55" y="92"/>
                      <a:pt x="55" y="91"/>
                      <a:pt x="56" y="91"/>
                    </a:cubicBezTo>
                    <a:cubicBezTo>
                      <a:pt x="57" y="91"/>
                      <a:pt x="58" y="93"/>
                      <a:pt x="59" y="94"/>
                    </a:cubicBezTo>
                    <a:cubicBezTo>
                      <a:pt x="62" y="97"/>
                      <a:pt x="66" y="100"/>
                      <a:pt x="69" y="103"/>
                    </a:cubicBezTo>
                    <a:cubicBezTo>
                      <a:pt x="71" y="105"/>
                      <a:pt x="71" y="105"/>
                      <a:pt x="71" y="108"/>
                    </a:cubicBezTo>
                    <a:cubicBezTo>
                      <a:pt x="71" y="109"/>
                      <a:pt x="74" y="110"/>
                      <a:pt x="75" y="110"/>
                    </a:cubicBezTo>
                    <a:cubicBezTo>
                      <a:pt x="77" y="111"/>
                      <a:pt x="79" y="111"/>
                      <a:pt x="80" y="111"/>
                    </a:cubicBezTo>
                    <a:cubicBezTo>
                      <a:pt x="81" y="111"/>
                      <a:pt x="81" y="111"/>
                      <a:pt x="82" y="111"/>
                    </a:cubicBezTo>
                    <a:cubicBezTo>
                      <a:pt x="82" y="111"/>
                      <a:pt x="82" y="110"/>
                      <a:pt x="82" y="110"/>
                    </a:cubicBezTo>
                    <a:cubicBezTo>
                      <a:pt x="82" y="110"/>
                      <a:pt x="83" y="110"/>
                      <a:pt x="83" y="110"/>
                    </a:cubicBezTo>
                    <a:cubicBezTo>
                      <a:pt x="83" y="110"/>
                      <a:pt x="83" y="110"/>
                      <a:pt x="83" y="110"/>
                    </a:cubicBezTo>
                    <a:cubicBezTo>
                      <a:pt x="84" y="110"/>
                      <a:pt x="84" y="110"/>
                      <a:pt x="84" y="110"/>
                    </a:cubicBezTo>
                    <a:cubicBezTo>
                      <a:pt x="84" y="110"/>
                      <a:pt x="84" y="110"/>
                      <a:pt x="84" y="110"/>
                    </a:cubicBezTo>
                    <a:cubicBezTo>
                      <a:pt x="84" y="111"/>
                      <a:pt x="83" y="112"/>
                      <a:pt x="83" y="113"/>
                    </a:cubicBezTo>
                    <a:cubicBezTo>
                      <a:pt x="83" y="113"/>
                      <a:pt x="83" y="113"/>
                      <a:pt x="83" y="113"/>
                    </a:cubicBezTo>
                    <a:cubicBezTo>
                      <a:pt x="82" y="113"/>
                      <a:pt x="82" y="113"/>
                      <a:pt x="82" y="113"/>
                    </a:cubicBezTo>
                    <a:cubicBezTo>
                      <a:pt x="82" y="112"/>
                      <a:pt x="82" y="112"/>
                      <a:pt x="82" y="112"/>
                    </a:cubicBezTo>
                    <a:cubicBezTo>
                      <a:pt x="82" y="112"/>
                      <a:pt x="81" y="112"/>
                      <a:pt x="81" y="113"/>
                    </a:cubicBezTo>
                    <a:cubicBezTo>
                      <a:pt x="80" y="115"/>
                      <a:pt x="85" y="117"/>
                      <a:pt x="86" y="118"/>
                    </a:cubicBezTo>
                    <a:cubicBezTo>
                      <a:pt x="86" y="117"/>
                      <a:pt x="88" y="109"/>
                      <a:pt x="88" y="109"/>
                    </a:cubicBezTo>
                    <a:cubicBezTo>
                      <a:pt x="87" y="108"/>
                      <a:pt x="85" y="107"/>
                      <a:pt x="83" y="107"/>
                    </a:cubicBezTo>
                    <a:cubicBezTo>
                      <a:pt x="83" y="107"/>
                      <a:pt x="83" y="107"/>
                      <a:pt x="83" y="107"/>
                    </a:cubicBezTo>
                    <a:cubicBezTo>
                      <a:pt x="80" y="109"/>
                      <a:pt x="80" y="109"/>
                      <a:pt x="80" y="109"/>
                    </a:cubicBezTo>
                    <a:cubicBezTo>
                      <a:pt x="79" y="108"/>
                      <a:pt x="80" y="105"/>
                      <a:pt x="82" y="105"/>
                    </a:cubicBezTo>
                    <a:cubicBezTo>
                      <a:pt x="82" y="105"/>
                      <a:pt x="82" y="105"/>
                      <a:pt x="82" y="105"/>
                    </a:cubicBezTo>
                    <a:cubicBezTo>
                      <a:pt x="80" y="104"/>
                      <a:pt x="74" y="98"/>
                      <a:pt x="76" y="96"/>
                    </a:cubicBezTo>
                    <a:cubicBezTo>
                      <a:pt x="76" y="96"/>
                      <a:pt x="77" y="96"/>
                      <a:pt x="77" y="96"/>
                    </a:cubicBezTo>
                    <a:cubicBezTo>
                      <a:pt x="77" y="96"/>
                      <a:pt x="78" y="96"/>
                      <a:pt x="79" y="96"/>
                    </a:cubicBezTo>
                    <a:cubicBezTo>
                      <a:pt x="79" y="96"/>
                      <a:pt x="79" y="96"/>
                      <a:pt x="79" y="96"/>
                    </a:cubicBezTo>
                    <a:cubicBezTo>
                      <a:pt x="80" y="96"/>
                      <a:pt x="81" y="96"/>
                      <a:pt x="81" y="96"/>
                    </a:cubicBezTo>
                    <a:cubicBezTo>
                      <a:pt x="82" y="96"/>
                      <a:pt x="82" y="96"/>
                      <a:pt x="83" y="96"/>
                    </a:cubicBezTo>
                    <a:cubicBezTo>
                      <a:pt x="83" y="96"/>
                      <a:pt x="83" y="96"/>
                      <a:pt x="84" y="96"/>
                    </a:cubicBezTo>
                    <a:cubicBezTo>
                      <a:pt x="83" y="91"/>
                      <a:pt x="74" y="91"/>
                      <a:pt x="72" y="90"/>
                    </a:cubicBezTo>
                    <a:cubicBezTo>
                      <a:pt x="72" y="89"/>
                      <a:pt x="72" y="89"/>
                      <a:pt x="72" y="88"/>
                    </a:cubicBezTo>
                    <a:cubicBezTo>
                      <a:pt x="71" y="89"/>
                      <a:pt x="71" y="91"/>
                      <a:pt x="71" y="92"/>
                    </a:cubicBezTo>
                    <a:cubicBezTo>
                      <a:pt x="71" y="93"/>
                      <a:pt x="71" y="93"/>
                      <a:pt x="71" y="93"/>
                    </a:cubicBezTo>
                    <a:cubicBezTo>
                      <a:pt x="70" y="95"/>
                      <a:pt x="68" y="95"/>
                      <a:pt x="67" y="97"/>
                    </a:cubicBezTo>
                    <a:cubicBezTo>
                      <a:pt x="65" y="94"/>
                      <a:pt x="67" y="92"/>
                      <a:pt x="66" y="89"/>
                    </a:cubicBezTo>
                    <a:cubicBezTo>
                      <a:pt x="65" y="89"/>
                      <a:pt x="64" y="86"/>
                      <a:pt x="63" y="86"/>
                    </a:cubicBezTo>
                    <a:cubicBezTo>
                      <a:pt x="62" y="85"/>
                      <a:pt x="59" y="83"/>
                      <a:pt x="57" y="83"/>
                    </a:cubicBezTo>
                    <a:cubicBezTo>
                      <a:pt x="56" y="83"/>
                      <a:pt x="56" y="84"/>
                      <a:pt x="55" y="84"/>
                    </a:cubicBezTo>
                    <a:cubicBezTo>
                      <a:pt x="53" y="85"/>
                      <a:pt x="53" y="91"/>
                      <a:pt x="51" y="91"/>
                    </a:cubicBezTo>
                    <a:cubicBezTo>
                      <a:pt x="50" y="91"/>
                      <a:pt x="50" y="91"/>
                      <a:pt x="50" y="90"/>
                    </a:cubicBezTo>
                    <a:cubicBezTo>
                      <a:pt x="50" y="91"/>
                      <a:pt x="50" y="92"/>
                      <a:pt x="50" y="92"/>
                    </a:cubicBezTo>
                    <a:cubicBezTo>
                      <a:pt x="48" y="92"/>
                      <a:pt x="46" y="91"/>
                      <a:pt x="44" y="90"/>
                    </a:cubicBezTo>
                    <a:cubicBezTo>
                      <a:pt x="42" y="88"/>
                      <a:pt x="41" y="87"/>
                      <a:pt x="41" y="84"/>
                    </a:cubicBezTo>
                    <a:cubicBezTo>
                      <a:pt x="41" y="82"/>
                      <a:pt x="41" y="79"/>
                      <a:pt x="41" y="77"/>
                    </a:cubicBezTo>
                    <a:cubicBezTo>
                      <a:pt x="40" y="75"/>
                      <a:pt x="39" y="73"/>
                      <a:pt x="38" y="71"/>
                    </a:cubicBezTo>
                    <a:cubicBezTo>
                      <a:pt x="35" y="67"/>
                      <a:pt x="33" y="65"/>
                      <a:pt x="36" y="61"/>
                    </a:cubicBezTo>
                    <a:cubicBezTo>
                      <a:pt x="37" y="60"/>
                      <a:pt x="39" y="58"/>
                      <a:pt x="39" y="56"/>
                    </a:cubicBezTo>
                    <a:cubicBezTo>
                      <a:pt x="39" y="56"/>
                      <a:pt x="39" y="56"/>
                      <a:pt x="39" y="56"/>
                    </a:cubicBezTo>
                    <a:cubicBezTo>
                      <a:pt x="39" y="56"/>
                      <a:pt x="39" y="56"/>
                      <a:pt x="38" y="56"/>
                    </a:cubicBezTo>
                    <a:cubicBezTo>
                      <a:pt x="38" y="56"/>
                      <a:pt x="38" y="56"/>
                      <a:pt x="38" y="56"/>
                    </a:cubicBezTo>
                    <a:cubicBezTo>
                      <a:pt x="38" y="56"/>
                      <a:pt x="38" y="56"/>
                      <a:pt x="38" y="56"/>
                    </a:cubicBezTo>
                    <a:cubicBezTo>
                      <a:pt x="37" y="50"/>
                      <a:pt x="46" y="51"/>
                      <a:pt x="48" y="46"/>
                    </a:cubicBezTo>
                    <a:cubicBezTo>
                      <a:pt x="48" y="48"/>
                      <a:pt x="47" y="49"/>
                      <a:pt x="47" y="50"/>
                    </a:cubicBezTo>
                    <a:cubicBezTo>
                      <a:pt x="49" y="45"/>
                      <a:pt x="52" y="41"/>
                      <a:pt x="54" y="36"/>
                    </a:cubicBezTo>
                    <a:cubicBezTo>
                      <a:pt x="55" y="35"/>
                      <a:pt x="55" y="33"/>
                      <a:pt x="55" y="31"/>
                    </a:cubicBezTo>
                    <a:cubicBezTo>
                      <a:pt x="55" y="31"/>
                      <a:pt x="56" y="31"/>
                      <a:pt x="56" y="30"/>
                    </a:cubicBezTo>
                    <a:cubicBezTo>
                      <a:pt x="54" y="27"/>
                      <a:pt x="52" y="24"/>
                      <a:pt x="50" y="21"/>
                    </a:cubicBezTo>
                    <a:cubicBezTo>
                      <a:pt x="49" y="20"/>
                      <a:pt x="51" y="12"/>
                      <a:pt x="52" y="10"/>
                    </a:cubicBezTo>
                    <a:cubicBezTo>
                      <a:pt x="52" y="7"/>
                      <a:pt x="52" y="5"/>
                      <a:pt x="51" y="2"/>
                    </a:cubicBezTo>
                    <a:cubicBezTo>
                      <a:pt x="49" y="3"/>
                      <a:pt x="48" y="6"/>
                      <a:pt x="46" y="6"/>
                    </a:cubicBezTo>
                    <a:cubicBezTo>
                      <a:pt x="46" y="7"/>
                      <a:pt x="45" y="7"/>
                      <a:pt x="45" y="7"/>
                    </a:cubicBezTo>
                    <a:cubicBezTo>
                      <a:pt x="44" y="7"/>
                      <a:pt x="44" y="7"/>
                      <a:pt x="43" y="7"/>
                    </a:cubicBezTo>
                    <a:cubicBezTo>
                      <a:pt x="43" y="7"/>
                      <a:pt x="43" y="7"/>
                      <a:pt x="42" y="7"/>
                    </a:cubicBezTo>
                    <a:cubicBezTo>
                      <a:pt x="41" y="7"/>
                      <a:pt x="40" y="7"/>
                      <a:pt x="40" y="8"/>
                    </a:cubicBezTo>
                    <a:cubicBezTo>
                      <a:pt x="40" y="3"/>
                      <a:pt x="30" y="2"/>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55"/>
              <p:cNvSpPr/>
              <p:nvPr/>
            </p:nvSpPr>
            <p:spPr bwMode="auto">
              <a:xfrm>
                <a:off x="7789" y="2796"/>
                <a:ext cx="113" cy="142"/>
              </a:xfrm>
              <a:custGeom>
                <a:gdLst>
                  <a:gd name="T0" fmla="*/ 44 w 48"/>
                  <a:gd name="T1" fmla="*/ 0 h 60"/>
                  <a:gd name="T2" fmla="*/ 41 w 48"/>
                  <a:gd name="T3" fmla="*/ 9 h 60"/>
                  <a:gd name="T4" fmla="*/ 43 w 48"/>
                  <a:gd name="T5" fmla="*/ 14 h 60"/>
                  <a:gd name="T6" fmla="*/ 43 w 48"/>
                  <a:gd name="T7" fmla="*/ 14 h 60"/>
                  <a:gd name="T8" fmla="*/ 41 w 48"/>
                  <a:gd name="T9" fmla="*/ 11 h 60"/>
                  <a:gd name="T10" fmla="*/ 39 w 48"/>
                  <a:gd name="T11" fmla="*/ 10 h 60"/>
                  <a:gd name="T12" fmla="*/ 39 w 48"/>
                  <a:gd name="T13" fmla="*/ 11 h 60"/>
                  <a:gd name="T14" fmla="*/ 40 w 48"/>
                  <a:gd name="T15" fmla="*/ 17 h 60"/>
                  <a:gd name="T16" fmla="*/ 37 w 48"/>
                  <a:gd name="T17" fmla="*/ 20 h 60"/>
                  <a:gd name="T18" fmla="*/ 37 w 48"/>
                  <a:gd name="T19" fmla="*/ 19 h 60"/>
                  <a:gd name="T20" fmla="*/ 32 w 48"/>
                  <a:gd name="T21" fmla="*/ 26 h 60"/>
                  <a:gd name="T22" fmla="*/ 31 w 48"/>
                  <a:gd name="T23" fmla="*/ 27 h 60"/>
                  <a:gd name="T24" fmla="*/ 30 w 48"/>
                  <a:gd name="T25" fmla="*/ 26 h 60"/>
                  <a:gd name="T26" fmla="*/ 21 w 48"/>
                  <a:gd name="T27" fmla="*/ 36 h 60"/>
                  <a:gd name="T28" fmla="*/ 16 w 48"/>
                  <a:gd name="T29" fmla="*/ 42 h 60"/>
                  <a:gd name="T30" fmla="*/ 15 w 48"/>
                  <a:gd name="T31" fmla="*/ 41 h 60"/>
                  <a:gd name="T32" fmla="*/ 8 w 48"/>
                  <a:gd name="T33" fmla="*/ 48 h 60"/>
                  <a:gd name="T34" fmla="*/ 2 w 48"/>
                  <a:gd name="T35" fmla="*/ 54 h 60"/>
                  <a:gd name="T36" fmla="*/ 0 w 48"/>
                  <a:gd name="T37" fmla="*/ 60 h 60"/>
                  <a:gd name="T38" fmla="*/ 13 w 48"/>
                  <a:gd name="T39" fmla="*/ 50 h 60"/>
                  <a:gd name="T40" fmla="*/ 25 w 48"/>
                  <a:gd name="T41" fmla="*/ 41 h 60"/>
                  <a:gd name="T42" fmla="*/ 28 w 48"/>
                  <a:gd name="T43" fmla="*/ 37 h 60"/>
                  <a:gd name="T44" fmla="*/ 30 w 48"/>
                  <a:gd name="T45" fmla="*/ 34 h 60"/>
                  <a:gd name="T46" fmla="*/ 33 w 48"/>
                  <a:gd name="T47" fmla="*/ 28 h 60"/>
                  <a:gd name="T48" fmla="*/ 36 w 48"/>
                  <a:gd name="T49" fmla="*/ 27 h 60"/>
                  <a:gd name="T50" fmla="*/ 42 w 48"/>
                  <a:gd name="T51" fmla="*/ 21 h 60"/>
                  <a:gd name="T52" fmla="*/ 48 w 48"/>
                  <a:gd name="T53" fmla="*/ 17 h 60"/>
                  <a:gd name="T54" fmla="*/ 48 w 48"/>
                  <a:gd name="T55" fmla="*/ 17 h 60"/>
                  <a:gd name="T56" fmla="*/ 47 w 48"/>
                  <a:gd name="T57" fmla="*/ 15 h 60"/>
                  <a:gd name="T58" fmla="*/ 46 w 48"/>
                  <a:gd name="T59" fmla="*/ 15 h 60"/>
                  <a:gd name="T60" fmla="*/ 46 w 48"/>
                  <a:gd name="T61" fmla="*/ 13 h 60"/>
                  <a:gd name="T62" fmla="*/ 45 w 48"/>
                  <a:gd name="T63" fmla="*/ 12 h 60"/>
                  <a:gd name="T64" fmla="*/ 45 w 48"/>
                  <a:gd name="T65" fmla="*/ 12 h 60"/>
                  <a:gd name="T66" fmla="*/ 45 w 48"/>
                  <a:gd name="T67" fmla="*/ 12 h 60"/>
                  <a:gd name="T68" fmla="*/ 45 w 48"/>
                  <a:gd name="T69" fmla="*/ 12 h 60"/>
                  <a:gd name="T70" fmla="*/ 44 w 48"/>
                  <a:gd name="T71" fmla="*/ 11 h 60"/>
                  <a:gd name="T72" fmla="*/ 45 w 48"/>
                  <a:gd name="T73" fmla="*/ 7 h 60"/>
                  <a:gd name="T74" fmla="*/ 45 w 48"/>
                  <a:gd name="T75" fmla="*/ 7 h 60"/>
                  <a:gd name="T76" fmla="*/ 45 w 48"/>
                  <a:gd name="T77" fmla="*/ 4 h 60"/>
                  <a:gd name="T78" fmla="*/ 44 w 48"/>
                  <a:gd name="T79" fmla="*/ 0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 h="60">
                    <a:moveTo>
                      <a:pt x="44" y="0"/>
                    </a:moveTo>
                    <a:cubicBezTo>
                      <a:pt x="43" y="3"/>
                      <a:pt x="40" y="7"/>
                      <a:pt x="41" y="9"/>
                    </a:cubicBezTo>
                    <a:cubicBezTo>
                      <a:pt x="41" y="11"/>
                      <a:pt x="43" y="12"/>
                      <a:pt x="43" y="14"/>
                    </a:cubicBezTo>
                    <a:cubicBezTo>
                      <a:pt x="43" y="14"/>
                      <a:pt x="43" y="14"/>
                      <a:pt x="43" y="14"/>
                    </a:cubicBezTo>
                    <a:cubicBezTo>
                      <a:pt x="43" y="13"/>
                      <a:pt x="41" y="11"/>
                      <a:pt x="41" y="11"/>
                    </a:cubicBezTo>
                    <a:cubicBezTo>
                      <a:pt x="40" y="10"/>
                      <a:pt x="39" y="10"/>
                      <a:pt x="39" y="10"/>
                    </a:cubicBezTo>
                    <a:cubicBezTo>
                      <a:pt x="39" y="10"/>
                      <a:pt x="39" y="10"/>
                      <a:pt x="39" y="11"/>
                    </a:cubicBezTo>
                    <a:cubicBezTo>
                      <a:pt x="39" y="12"/>
                      <a:pt x="39" y="15"/>
                      <a:pt x="40" y="17"/>
                    </a:cubicBezTo>
                    <a:cubicBezTo>
                      <a:pt x="40" y="18"/>
                      <a:pt x="38" y="20"/>
                      <a:pt x="37" y="20"/>
                    </a:cubicBezTo>
                    <a:cubicBezTo>
                      <a:pt x="37" y="20"/>
                      <a:pt x="37" y="20"/>
                      <a:pt x="37" y="19"/>
                    </a:cubicBezTo>
                    <a:cubicBezTo>
                      <a:pt x="35" y="21"/>
                      <a:pt x="34" y="25"/>
                      <a:pt x="32" y="26"/>
                    </a:cubicBezTo>
                    <a:cubicBezTo>
                      <a:pt x="31" y="27"/>
                      <a:pt x="31" y="27"/>
                      <a:pt x="31" y="27"/>
                    </a:cubicBezTo>
                    <a:cubicBezTo>
                      <a:pt x="30" y="27"/>
                      <a:pt x="30" y="27"/>
                      <a:pt x="30" y="26"/>
                    </a:cubicBezTo>
                    <a:cubicBezTo>
                      <a:pt x="27" y="30"/>
                      <a:pt x="24" y="33"/>
                      <a:pt x="21" y="36"/>
                    </a:cubicBezTo>
                    <a:cubicBezTo>
                      <a:pt x="21" y="37"/>
                      <a:pt x="17" y="42"/>
                      <a:pt x="16" y="42"/>
                    </a:cubicBezTo>
                    <a:cubicBezTo>
                      <a:pt x="16" y="42"/>
                      <a:pt x="16" y="42"/>
                      <a:pt x="15" y="41"/>
                    </a:cubicBezTo>
                    <a:cubicBezTo>
                      <a:pt x="13" y="42"/>
                      <a:pt x="11" y="46"/>
                      <a:pt x="8" y="48"/>
                    </a:cubicBezTo>
                    <a:cubicBezTo>
                      <a:pt x="7" y="50"/>
                      <a:pt x="4" y="51"/>
                      <a:pt x="2" y="54"/>
                    </a:cubicBezTo>
                    <a:cubicBezTo>
                      <a:pt x="1" y="55"/>
                      <a:pt x="1" y="57"/>
                      <a:pt x="0" y="60"/>
                    </a:cubicBezTo>
                    <a:cubicBezTo>
                      <a:pt x="5" y="56"/>
                      <a:pt x="9" y="53"/>
                      <a:pt x="13" y="50"/>
                    </a:cubicBezTo>
                    <a:cubicBezTo>
                      <a:pt x="17" y="47"/>
                      <a:pt x="23" y="44"/>
                      <a:pt x="25" y="41"/>
                    </a:cubicBezTo>
                    <a:cubicBezTo>
                      <a:pt x="26" y="39"/>
                      <a:pt x="27" y="38"/>
                      <a:pt x="28" y="37"/>
                    </a:cubicBezTo>
                    <a:cubicBezTo>
                      <a:pt x="29" y="36"/>
                      <a:pt x="31" y="34"/>
                      <a:pt x="30" y="34"/>
                    </a:cubicBezTo>
                    <a:cubicBezTo>
                      <a:pt x="32" y="31"/>
                      <a:pt x="29" y="29"/>
                      <a:pt x="33" y="28"/>
                    </a:cubicBezTo>
                    <a:cubicBezTo>
                      <a:pt x="34" y="28"/>
                      <a:pt x="35" y="28"/>
                      <a:pt x="36" y="27"/>
                    </a:cubicBezTo>
                    <a:cubicBezTo>
                      <a:pt x="40" y="26"/>
                      <a:pt x="39" y="22"/>
                      <a:pt x="42" y="21"/>
                    </a:cubicBezTo>
                    <a:cubicBezTo>
                      <a:pt x="44" y="20"/>
                      <a:pt x="48" y="19"/>
                      <a:pt x="48" y="17"/>
                    </a:cubicBezTo>
                    <a:cubicBezTo>
                      <a:pt x="48" y="17"/>
                      <a:pt x="48" y="17"/>
                      <a:pt x="48" y="17"/>
                    </a:cubicBezTo>
                    <a:cubicBezTo>
                      <a:pt x="48" y="16"/>
                      <a:pt x="48" y="15"/>
                      <a:pt x="47" y="15"/>
                    </a:cubicBezTo>
                    <a:cubicBezTo>
                      <a:pt x="47" y="15"/>
                      <a:pt x="46" y="15"/>
                      <a:pt x="46" y="15"/>
                    </a:cubicBezTo>
                    <a:cubicBezTo>
                      <a:pt x="46" y="14"/>
                      <a:pt x="46" y="13"/>
                      <a:pt x="46" y="13"/>
                    </a:cubicBezTo>
                    <a:cubicBezTo>
                      <a:pt x="46" y="12"/>
                      <a:pt x="46" y="12"/>
                      <a:pt x="45" y="12"/>
                    </a:cubicBezTo>
                    <a:cubicBezTo>
                      <a:pt x="45" y="12"/>
                      <a:pt x="45" y="12"/>
                      <a:pt x="45" y="12"/>
                    </a:cubicBezTo>
                    <a:cubicBezTo>
                      <a:pt x="45" y="12"/>
                      <a:pt x="45" y="12"/>
                      <a:pt x="45" y="12"/>
                    </a:cubicBezTo>
                    <a:cubicBezTo>
                      <a:pt x="45" y="12"/>
                      <a:pt x="45" y="12"/>
                      <a:pt x="45" y="12"/>
                    </a:cubicBezTo>
                    <a:cubicBezTo>
                      <a:pt x="45" y="12"/>
                      <a:pt x="44" y="11"/>
                      <a:pt x="44" y="11"/>
                    </a:cubicBezTo>
                    <a:cubicBezTo>
                      <a:pt x="44" y="9"/>
                      <a:pt x="46" y="9"/>
                      <a:pt x="45" y="7"/>
                    </a:cubicBezTo>
                    <a:cubicBezTo>
                      <a:pt x="45" y="7"/>
                      <a:pt x="45" y="7"/>
                      <a:pt x="45" y="7"/>
                    </a:cubicBezTo>
                    <a:cubicBezTo>
                      <a:pt x="44" y="7"/>
                      <a:pt x="45" y="5"/>
                      <a:pt x="45" y="4"/>
                    </a:cubicBezTo>
                    <a:cubicBezTo>
                      <a:pt x="46" y="1"/>
                      <a:pt x="44" y="3"/>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56"/>
              <p:cNvSpPr/>
              <p:nvPr/>
            </p:nvSpPr>
            <p:spPr bwMode="auto">
              <a:xfrm>
                <a:off x="8063" y="2803"/>
                <a:ext cx="35" cy="85"/>
              </a:xfrm>
              <a:custGeom>
                <a:gdLst>
                  <a:gd name="T0" fmla="*/ 15 w 15"/>
                  <a:gd name="T1" fmla="*/ 0 h 36"/>
                  <a:gd name="T2" fmla="*/ 13 w 15"/>
                  <a:gd name="T3" fmla="*/ 5 h 36"/>
                  <a:gd name="T4" fmla="*/ 10 w 15"/>
                  <a:gd name="T5" fmla="*/ 11 h 36"/>
                  <a:gd name="T6" fmla="*/ 5 w 15"/>
                  <a:gd name="T7" fmla="*/ 21 h 36"/>
                  <a:gd name="T8" fmla="*/ 2 w 15"/>
                  <a:gd name="T9" fmla="*/ 27 h 36"/>
                  <a:gd name="T10" fmla="*/ 1 w 15"/>
                  <a:gd name="T11" fmla="*/ 36 h 36"/>
                  <a:gd name="T12" fmla="*/ 9 w 15"/>
                  <a:gd name="T13" fmla="*/ 21 h 36"/>
                  <a:gd name="T14" fmla="*/ 15 w 15"/>
                  <a:gd name="T15" fmla="*/ 15 h 36"/>
                  <a:gd name="T16" fmla="*/ 14 w 15"/>
                  <a:gd name="T17" fmla="*/ 11 h 36"/>
                  <a:gd name="T18" fmla="*/ 15 w 15"/>
                  <a:gd name="T19"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36">
                    <a:moveTo>
                      <a:pt x="15" y="0"/>
                    </a:moveTo>
                    <a:cubicBezTo>
                      <a:pt x="13" y="0"/>
                      <a:pt x="13" y="4"/>
                      <a:pt x="13" y="5"/>
                    </a:cubicBezTo>
                    <a:cubicBezTo>
                      <a:pt x="12" y="7"/>
                      <a:pt x="11" y="9"/>
                      <a:pt x="10" y="11"/>
                    </a:cubicBezTo>
                    <a:cubicBezTo>
                      <a:pt x="8" y="14"/>
                      <a:pt x="7" y="18"/>
                      <a:pt x="5" y="21"/>
                    </a:cubicBezTo>
                    <a:cubicBezTo>
                      <a:pt x="3" y="24"/>
                      <a:pt x="3" y="25"/>
                      <a:pt x="2" y="27"/>
                    </a:cubicBezTo>
                    <a:cubicBezTo>
                      <a:pt x="2" y="30"/>
                      <a:pt x="0" y="33"/>
                      <a:pt x="1" y="36"/>
                    </a:cubicBezTo>
                    <a:cubicBezTo>
                      <a:pt x="4" y="31"/>
                      <a:pt x="5" y="25"/>
                      <a:pt x="9" y="21"/>
                    </a:cubicBezTo>
                    <a:cubicBezTo>
                      <a:pt x="11" y="19"/>
                      <a:pt x="14" y="19"/>
                      <a:pt x="15" y="15"/>
                    </a:cubicBezTo>
                    <a:cubicBezTo>
                      <a:pt x="15" y="14"/>
                      <a:pt x="14" y="13"/>
                      <a:pt x="14" y="11"/>
                    </a:cubicBezTo>
                    <a:cubicBezTo>
                      <a:pt x="15" y="7"/>
                      <a:pt x="15" y="4"/>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57"/>
              <p:cNvSpPr/>
              <p:nvPr/>
            </p:nvSpPr>
            <p:spPr bwMode="auto">
              <a:xfrm>
                <a:off x="8056" y="2742"/>
                <a:ext cx="42" cy="40"/>
              </a:xfrm>
              <a:custGeom>
                <a:gdLst>
                  <a:gd name="T0" fmla="*/ 3 w 18"/>
                  <a:gd name="T1" fmla="*/ 0 h 17"/>
                  <a:gd name="T2" fmla="*/ 3 w 18"/>
                  <a:gd name="T3" fmla="*/ 5 h 17"/>
                  <a:gd name="T4" fmla="*/ 2 w 18"/>
                  <a:gd name="T5" fmla="*/ 7 h 17"/>
                  <a:gd name="T6" fmla="*/ 3 w 18"/>
                  <a:gd name="T7" fmla="*/ 8 h 17"/>
                  <a:gd name="T8" fmla="*/ 3 w 18"/>
                  <a:gd name="T9" fmla="*/ 8 h 17"/>
                  <a:gd name="T10" fmla="*/ 3 w 18"/>
                  <a:gd name="T11" fmla="*/ 8 h 17"/>
                  <a:gd name="T12" fmla="*/ 3 w 18"/>
                  <a:gd name="T13" fmla="*/ 8 h 17"/>
                  <a:gd name="T14" fmla="*/ 3 w 18"/>
                  <a:gd name="T15" fmla="*/ 8 h 17"/>
                  <a:gd name="T16" fmla="*/ 3 w 18"/>
                  <a:gd name="T17" fmla="*/ 8 h 17"/>
                  <a:gd name="T18" fmla="*/ 3 w 18"/>
                  <a:gd name="T19" fmla="*/ 9 h 17"/>
                  <a:gd name="T20" fmla="*/ 1 w 18"/>
                  <a:gd name="T21" fmla="*/ 13 h 17"/>
                  <a:gd name="T22" fmla="*/ 3 w 18"/>
                  <a:gd name="T23" fmla="*/ 13 h 17"/>
                  <a:gd name="T24" fmla="*/ 7 w 18"/>
                  <a:gd name="T25" fmla="*/ 8 h 17"/>
                  <a:gd name="T26" fmla="*/ 9 w 18"/>
                  <a:gd name="T27" fmla="*/ 9 h 17"/>
                  <a:gd name="T28" fmla="*/ 10 w 18"/>
                  <a:gd name="T29" fmla="*/ 11 h 17"/>
                  <a:gd name="T30" fmla="*/ 12 w 18"/>
                  <a:gd name="T31" fmla="*/ 13 h 17"/>
                  <a:gd name="T32" fmla="*/ 14 w 18"/>
                  <a:gd name="T33" fmla="*/ 14 h 17"/>
                  <a:gd name="T34" fmla="*/ 18 w 18"/>
                  <a:gd name="T35" fmla="*/ 17 h 17"/>
                  <a:gd name="T36" fmla="*/ 15 w 18"/>
                  <a:gd name="T37" fmla="*/ 8 h 17"/>
                  <a:gd name="T38" fmla="*/ 12 w 18"/>
                  <a:gd name="T39" fmla="*/ 6 h 17"/>
                  <a:gd name="T40" fmla="*/ 3 w 18"/>
                  <a:gd name="T41"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7">
                    <a:moveTo>
                      <a:pt x="3" y="0"/>
                    </a:moveTo>
                    <a:cubicBezTo>
                      <a:pt x="3" y="2"/>
                      <a:pt x="3" y="3"/>
                      <a:pt x="3" y="5"/>
                    </a:cubicBezTo>
                    <a:cubicBezTo>
                      <a:pt x="3" y="6"/>
                      <a:pt x="2" y="7"/>
                      <a:pt x="2" y="7"/>
                    </a:cubicBezTo>
                    <a:cubicBezTo>
                      <a:pt x="2"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9"/>
                      <a:pt x="3" y="9"/>
                      <a:pt x="3" y="9"/>
                    </a:cubicBezTo>
                    <a:cubicBezTo>
                      <a:pt x="3" y="10"/>
                      <a:pt x="0" y="13"/>
                      <a:pt x="1" y="13"/>
                    </a:cubicBezTo>
                    <a:cubicBezTo>
                      <a:pt x="1" y="13"/>
                      <a:pt x="2" y="13"/>
                      <a:pt x="3" y="13"/>
                    </a:cubicBezTo>
                    <a:cubicBezTo>
                      <a:pt x="4" y="12"/>
                      <a:pt x="6" y="8"/>
                      <a:pt x="7" y="8"/>
                    </a:cubicBezTo>
                    <a:cubicBezTo>
                      <a:pt x="8" y="8"/>
                      <a:pt x="8" y="8"/>
                      <a:pt x="9" y="9"/>
                    </a:cubicBezTo>
                    <a:cubicBezTo>
                      <a:pt x="9" y="9"/>
                      <a:pt x="10" y="11"/>
                      <a:pt x="10" y="11"/>
                    </a:cubicBezTo>
                    <a:cubicBezTo>
                      <a:pt x="11" y="11"/>
                      <a:pt x="12" y="13"/>
                      <a:pt x="12" y="13"/>
                    </a:cubicBezTo>
                    <a:cubicBezTo>
                      <a:pt x="12" y="14"/>
                      <a:pt x="14" y="14"/>
                      <a:pt x="14" y="14"/>
                    </a:cubicBezTo>
                    <a:cubicBezTo>
                      <a:pt x="16" y="15"/>
                      <a:pt x="17" y="16"/>
                      <a:pt x="18" y="17"/>
                    </a:cubicBezTo>
                    <a:cubicBezTo>
                      <a:pt x="18" y="15"/>
                      <a:pt x="17" y="10"/>
                      <a:pt x="15" y="8"/>
                    </a:cubicBezTo>
                    <a:cubicBezTo>
                      <a:pt x="15" y="8"/>
                      <a:pt x="13" y="7"/>
                      <a:pt x="12" y="6"/>
                    </a:cubicBezTo>
                    <a:cubicBezTo>
                      <a:pt x="9" y="4"/>
                      <a:pt x="7"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1" name="Freeform 58"/>
              <p:cNvSpPr/>
              <p:nvPr/>
            </p:nvSpPr>
            <p:spPr bwMode="auto">
              <a:xfrm>
                <a:off x="7911" y="2770"/>
                <a:ext cx="8" cy="17"/>
              </a:xfrm>
              <a:custGeom>
                <a:gdLst>
                  <a:gd name="T0" fmla="*/ 0 w 3"/>
                  <a:gd name="T1" fmla="*/ 0 h 7"/>
                  <a:gd name="T2" fmla="*/ 1 w 3"/>
                  <a:gd name="T3" fmla="*/ 7 h 7"/>
                  <a:gd name="T4" fmla="*/ 3 w 3"/>
                  <a:gd name="T5" fmla="*/ 3 h 7"/>
                  <a:gd name="T6" fmla="*/ 3 w 3"/>
                  <a:gd name="T7" fmla="*/ 3 h 7"/>
                  <a:gd name="T8" fmla="*/ 2 w 3"/>
                  <a:gd name="T9" fmla="*/ 2 h 7"/>
                  <a:gd name="T10" fmla="*/ 2 w 3"/>
                  <a:gd name="T11" fmla="*/ 2 h 7"/>
                  <a:gd name="T12" fmla="*/ 0 w 3"/>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3" h="7">
                    <a:moveTo>
                      <a:pt x="0" y="0"/>
                    </a:moveTo>
                    <a:cubicBezTo>
                      <a:pt x="0" y="2"/>
                      <a:pt x="1" y="5"/>
                      <a:pt x="1" y="7"/>
                    </a:cubicBezTo>
                    <a:cubicBezTo>
                      <a:pt x="3" y="6"/>
                      <a:pt x="3" y="4"/>
                      <a:pt x="3" y="3"/>
                    </a:cubicBezTo>
                    <a:cubicBezTo>
                      <a:pt x="3" y="3"/>
                      <a:pt x="3" y="3"/>
                      <a:pt x="3" y="3"/>
                    </a:cubicBezTo>
                    <a:cubicBezTo>
                      <a:pt x="3" y="2"/>
                      <a:pt x="2" y="2"/>
                      <a:pt x="2" y="2"/>
                    </a:cubicBezTo>
                    <a:cubicBezTo>
                      <a:pt x="2" y="2"/>
                      <a:pt x="2" y="2"/>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59"/>
              <p:cNvSpPr/>
              <p:nvPr/>
            </p:nvSpPr>
            <p:spPr bwMode="auto">
              <a:xfrm>
                <a:off x="8127" y="2895"/>
                <a:ext cx="4" cy="7"/>
              </a:xfrm>
              <a:custGeom>
                <a:gdLst>
                  <a:gd name="T0" fmla="*/ 1 w 2"/>
                  <a:gd name="T1" fmla="*/ 0 h 3"/>
                  <a:gd name="T2" fmla="*/ 2 w 2"/>
                  <a:gd name="T3" fmla="*/ 3 h 3"/>
                  <a:gd name="T4" fmla="*/ 1 w 2"/>
                  <a:gd name="T5" fmla="*/ 0 h 3"/>
                </a:gdLst>
                <a:cxnLst>
                  <a:cxn ang="0">
                    <a:pos x="T0" y="T1"/>
                  </a:cxn>
                  <a:cxn ang="0">
                    <a:pos x="T2" y="T3"/>
                  </a:cxn>
                  <a:cxn ang="0">
                    <a:pos x="T4" y="T5"/>
                  </a:cxn>
                </a:cxnLst>
                <a:rect l="0" t="0" r="r" b="b"/>
                <a:pathLst>
                  <a:path w="2" h="3">
                    <a:moveTo>
                      <a:pt x="1" y="0"/>
                    </a:moveTo>
                    <a:cubicBezTo>
                      <a:pt x="0" y="1"/>
                      <a:pt x="1" y="2"/>
                      <a:pt x="2" y="3"/>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3" name="Freeform 60"/>
              <p:cNvSpPr/>
              <p:nvPr/>
            </p:nvSpPr>
            <p:spPr bwMode="auto">
              <a:xfrm>
                <a:off x="8020" y="2817"/>
                <a:ext cx="57" cy="88"/>
              </a:xfrm>
              <a:custGeom>
                <a:gdLst>
                  <a:gd name="T0" fmla="*/ 17 w 24"/>
                  <a:gd name="T1" fmla="*/ 0 h 37"/>
                  <a:gd name="T2" fmla="*/ 16 w 24"/>
                  <a:gd name="T3" fmla="*/ 0 h 37"/>
                  <a:gd name="T4" fmla="*/ 7 w 24"/>
                  <a:gd name="T5" fmla="*/ 15 h 37"/>
                  <a:gd name="T6" fmla="*/ 5 w 24"/>
                  <a:gd name="T7" fmla="*/ 19 h 37"/>
                  <a:gd name="T8" fmla="*/ 4 w 24"/>
                  <a:gd name="T9" fmla="*/ 19 h 37"/>
                  <a:gd name="T10" fmla="*/ 3 w 24"/>
                  <a:gd name="T11" fmla="*/ 19 h 37"/>
                  <a:gd name="T12" fmla="*/ 5 w 24"/>
                  <a:gd name="T13" fmla="*/ 29 h 37"/>
                  <a:gd name="T14" fmla="*/ 9 w 24"/>
                  <a:gd name="T15" fmla="*/ 31 h 37"/>
                  <a:gd name="T16" fmla="*/ 11 w 24"/>
                  <a:gd name="T17" fmla="*/ 33 h 37"/>
                  <a:gd name="T18" fmla="*/ 14 w 24"/>
                  <a:gd name="T19" fmla="*/ 37 h 37"/>
                  <a:gd name="T20" fmla="*/ 14 w 24"/>
                  <a:gd name="T21" fmla="*/ 37 h 37"/>
                  <a:gd name="T22" fmla="*/ 15 w 24"/>
                  <a:gd name="T23" fmla="*/ 27 h 37"/>
                  <a:gd name="T24" fmla="*/ 18 w 24"/>
                  <a:gd name="T25" fmla="*/ 15 h 37"/>
                  <a:gd name="T26" fmla="*/ 24 w 24"/>
                  <a:gd name="T27" fmla="*/ 2 h 37"/>
                  <a:gd name="T28" fmla="*/ 23 w 24"/>
                  <a:gd name="T29" fmla="*/ 1 h 37"/>
                  <a:gd name="T30" fmla="*/ 21 w 24"/>
                  <a:gd name="T31" fmla="*/ 0 h 37"/>
                  <a:gd name="T32" fmla="*/ 17 w 24"/>
                  <a:gd name="T33"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7">
                    <a:moveTo>
                      <a:pt x="17" y="0"/>
                    </a:moveTo>
                    <a:cubicBezTo>
                      <a:pt x="17" y="0"/>
                      <a:pt x="16" y="0"/>
                      <a:pt x="16" y="0"/>
                    </a:cubicBezTo>
                    <a:cubicBezTo>
                      <a:pt x="10" y="1"/>
                      <a:pt x="9" y="10"/>
                      <a:pt x="7" y="15"/>
                    </a:cubicBezTo>
                    <a:cubicBezTo>
                      <a:pt x="7" y="16"/>
                      <a:pt x="6" y="19"/>
                      <a:pt x="5" y="19"/>
                    </a:cubicBezTo>
                    <a:cubicBezTo>
                      <a:pt x="4" y="19"/>
                      <a:pt x="4" y="19"/>
                      <a:pt x="4" y="19"/>
                    </a:cubicBezTo>
                    <a:cubicBezTo>
                      <a:pt x="4" y="19"/>
                      <a:pt x="3" y="19"/>
                      <a:pt x="3" y="19"/>
                    </a:cubicBezTo>
                    <a:cubicBezTo>
                      <a:pt x="0" y="22"/>
                      <a:pt x="4" y="27"/>
                      <a:pt x="5" y="29"/>
                    </a:cubicBezTo>
                    <a:cubicBezTo>
                      <a:pt x="7" y="31"/>
                      <a:pt x="8" y="30"/>
                      <a:pt x="9" y="31"/>
                    </a:cubicBezTo>
                    <a:cubicBezTo>
                      <a:pt x="11" y="32"/>
                      <a:pt x="10" y="32"/>
                      <a:pt x="11" y="33"/>
                    </a:cubicBezTo>
                    <a:cubicBezTo>
                      <a:pt x="12" y="35"/>
                      <a:pt x="12" y="37"/>
                      <a:pt x="14" y="37"/>
                    </a:cubicBezTo>
                    <a:cubicBezTo>
                      <a:pt x="14" y="37"/>
                      <a:pt x="14" y="37"/>
                      <a:pt x="14" y="37"/>
                    </a:cubicBezTo>
                    <a:cubicBezTo>
                      <a:pt x="19" y="37"/>
                      <a:pt x="16" y="30"/>
                      <a:pt x="15" y="27"/>
                    </a:cubicBezTo>
                    <a:cubicBezTo>
                      <a:pt x="15" y="23"/>
                      <a:pt x="17" y="18"/>
                      <a:pt x="18" y="15"/>
                    </a:cubicBezTo>
                    <a:cubicBezTo>
                      <a:pt x="20" y="10"/>
                      <a:pt x="22" y="6"/>
                      <a:pt x="24" y="2"/>
                    </a:cubicBezTo>
                    <a:cubicBezTo>
                      <a:pt x="23" y="2"/>
                      <a:pt x="23" y="2"/>
                      <a:pt x="23" y="1"/>
                    </a:cubicBezTo>
                    <a:cubicBezTo>
                      <a:pt x="22" y="1"/>
                      <a:pt x="22" y="1"/>
                      <a:pt x="21" y="0"/>
                    </a:cubicBezTo>
                    <a:cubicBezTo>
                      <a:pt x="19" y="0"/>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61"/>
              <p:cNvSpPr/>
              <p:nvPr/>
            </p:nvSpPr>
            <p:spPr bwMode="auto">
              <a:xfrm>
                <a:off x="7997" y="2869"/>
                <a:ext cx="217" cy="192"/>
              </a:xfrm>
              <a:custGeom>
                <a:gdLst>
                  <a:gd name="T0" fmla="*/ 71 w 92"/>
                  <a:gd name="T1" fmla="*/ 12 h 81"/>
                  <a:gd name="T2" fmla="*/ 65 w 92"/>
                  <a:gd name="T3" fmla="*/ 14 h 81"/>
                  <a:gd name="T4" fmla="*/ 61 w 92"/>
                  <a:gd name="T5" fmla="*/ 17 h 81"/>
                  <a:gd name="T6" fmla="*/ 59 w 92"/>
                  <a:gd name="T7" fmla="*/ 16 h 81"/>
                  <a:gd name="T8" fmla="*/ 51 w 92"/>
                  <a:gd name="T9" fmla="*/ 23 h 81"/>
                  <a:gd name="T10" fmla="*/ 45 w 92"/>
                  <a:gd name="T11" fmla="*/ 30 h 81"/>
                  <a:gd name="T12" fmla="*/ 36 w 92"/>
                  <a:gd name="T13" fmla="*/ 35 h 81"/>
                  <a:gd name="T14" fmla="*/ 38 w 92"/>
                  <a:gd name="T15" fmla="*/ 24 h 81"/>
                  <a:gd name="T16" fmla="*/ 30 w 92"/>
                  <a:gd name="T17" fmla="*/ 21 h 81"/>
                  <a:gd name="T18" fmla="*/ 23 w 92"/>
                  <a:gd name="T19" fmla="*/ 28 h 81"/>
                  <a:gd name="T20" fmla="*/ 19 w 92"/>
                  <a:gd name="T21" fmla="*/ 33 h 81"/>
                  <a:gd name="T22" fmla="*/ 6 w 92"/>
                  <a:gd name="T23" fmla="*/ 43 h 81"/>
                  <a:gd name="T24" fmla="*/ 4 w 92"/>
                  <a:gd name="T25" fmla="*/ 55 h 81"/>
                  <a:gd name="T26" fmla="*/ 8 w 92"/>
                  <a:gd name="T27" fmla="*/ 54 h 81"/>
                  <a:gd name="T28" fmla="*/ 12 w 92"/>
                  <a:gd name="T29" fmla="*/ 47 h 81"/>
                  <a:gd name="T30" fmla="*/ 12 w 92"/>
                  <a:gd name="T31" fmla="*/ 43 h 81"/>
                  <a:gd name="T32" fmla="*/ 19 w 92"/>
                  <a:gd name="T33" fmla="*/ 42 h 81"/>
                  <a:gd name="T34" fmla="*/ 25 w 92"/>
                  <a:gd name="T35" fmla="*/ 41 h 81"/>
                  <a:gd name="T36" fmla="*/ 27 w 92"/>
                  <a:gd name="T37" fmla="*/ 43 h 81"/>
                  <a:gd name="T38" fmla="*/ 27 w 92"/>
                  <a:gd name="T39" fmla="*/ 45 h 81"/>
                  <a:gd name="T40" fmla="*/ 31 w 92"/>
                  <a:gd name="T41" fmla="*/ 47 h 81"/>
                  <a:gd name="T42" fmla="*/ 34 w 92"/>
                  <a:gd name="T43" fmla="*/ 38 h 81"/>
                  <a:gd name="T44" fmla="*/ 45 w 92"/>
                  <a:gd name="T45" fmla="*/ 49 h 81"/>
                  <a:gd name="T46" fmla="*/ 43 w 92"/>
                  <a:gd name="T47" fmla="*/ 62 h 81"/>
                  <a:gd name="T48" fmla="*/ 57 w 92"/>
                  <a:gd name="T49" fmla="*/ 74 h 81"/>
                  <a:gd name="T50" fmla="*/ 63 w 92"/>
                  <a:gd name="T51" fmla="*/ 75 h 81"/>
                  <a:gd name="T52" fmla="*/ 66 w 92"/>
                  <a:gd name="T53" fmla="*/ 71 h 81"/>
                  <a:gd name="T54" fmla="*/ 68 w 92"/>
                  <a:gd name="T55" fmla="*/ 81 h 81"/>
                  <a:gd name="T56" fmla="*/ 74 w 92"/>
                  <a:gd name="T57" fmla="*/ 75 h 81"/>
                  <a:gd name="T58" fmla="*/ 69 w 92"/>
                  <a:gd name="T59" fmla="*/ 61 h 81"/>
                  <a:gd name="T60" fmla="*/ 69 w 92"/>
                  <a:gd name="T61" fmla="*/ 58 h 81"/>
                  <a:gd name="T62" fmla="*/ 76 w 92"/>
                  <a:gd name="T63" fmla="*/ 48 h 81"/>
                  <a:gd name="T64" fmla="*/ 82 w 92"/>
                  <a:gd name="T65" fmla="*/ 57 h 81"/>
                  <a:gd name="T66" fmla="*/ 84 w 92"/>
                  <a:gd name="T67" fmla="*/ 68 h 81"/>
                  <a:gd name="T68" fmla="*/ 84 w 92"/>
                  <a:gd name="T69" fmla="*/ 56 h 81"/>
                  <a:gd name="T70" fmla="*/ 86 w 92"/>
                  <a:gd name="T71" fmla="*/ 57 h 81"/>
                  <a:gd name="T72" fmla="*/ 87 w 92"/>
                  <a:gd name="T73" fmla="*/ 56 h 81"/>
                  <a:gd name="T74" fmla="*/ 91 w 92"/>
                  <a:gd name="T75" fmla="*/ 50 h 81"/>
                  <a:gd name="T76" fmla="*/ 87 w 92"/>
                  <a:gd name="T77" fmla="*/ 37 h 81"/>
                  <a:gd name="T78" fmla="*/ 87 w 92"/>
                  <a:gd name="T79" fmla="*/ 31 h 81"/>
                  <a:gd name="T80" fmla="*/ 86 w 92"/>
                  <a:gd name="T81" fmla="*/ 25 h 81"/>
                  <a:gd name="T82" fmla="*/ 84 w 92"/>
                  <a:gd name="T83" fmla="*/ 25 h 81"/>
                  <a:gd name="T84" fmla="*/ 86 w 92"/>
                  <a:gd name="T85" fmla="*/ 20 h 81"/>
                  <a:gd name="T86" fmla="*/ 82 w 92"/>
                  <a:gd name="T87" fmla="*/ 11 h 81"/>
                  <a:gd name="T88" fmla="*/ 70 w 92"/>
                  <a:gd name="T89"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2" h="81">
                    <a:moveTo>
                      <a:pt x="70" y="0"/>
                    </a:moveTo>
                    <a:cubicBezTo>
                      <a:pt x="70" y="4"/>
                      <a:pt x="70" y="8"/>
                      <a:pt x="71" y="12"/>
                    </a:cubicBezTo>
                    <a:cubicBezTo>
                      <a:pt x="71" y="13"/>
                      <a:pt x="71" y="15"/>
                      <a:pt x="71" y="16"/>
                    </a:cubicBezTo>
                    <a:cubicBezTo>
                      <a:pt x="69" y="15"/>
                      <a:pt x="67" y="15"/>
                      <a:pt x="65" y="14"/>
                    </a:cubicBezTo>
                    <a:cubicBezTo>
                      <a:pt x="65" y="17"/>
                      <a:pt x="65" y="18"/>
                      <a:pt x="64" y="18"/>
                    </a:cubicBezTo>
                    <a:cubicBezTo>
                      <a:pt x="63" y="18"/>
                      <a:pt x="62" y="18"/>
                      <a:pt x="61" y="17"/>
                    </a:cubicBezTo>
                    <a:cubicBezTo>
                      <a:pt x="61" y="17"/>
                      <a:pt x="59" y="16"/>
                      <a:pt x="59" y="16"/>
                    </a:cubicBezTo>
                    <a:cubicBezTo>
                      <a:pt x="59" y="16"/>
                      <a:pt x="59" y="16"/>
                      <a:pt x="59" y="16"/>
                    </a:cubicBezTo>
                    <a:cubicBezTo>
                      <a:pt x="56" y="16"/>
                      <a:pt x="57" y="23"/>
                      <a:pt x="56" y="25"/>
                    </a:cubicBezTo>
                    <a:cubicBezTo>
                      <a:pt x="55" y="25"/>
                      <a:pt x="51" y="23"/>
                      <a:pt x="51" y="23"/>
                    </a:cubicBezTo>
                    <a:cubicBezTo>
                      <a:pt x="51" y="23"/>
                      <a:pt x="51" y="23"/>
                      <a:pt x="51" y="23"/>
                    </a:cubicBezTo>
                    <a:cubicBezTo>
                      <a:pt x="49" y="26"/>
                      <a:pt x="48" y="28"/>
                      <a:pt x="45" y="30"/>
                    </a:cubicBezTo>
                    <a:cubicBezTo>
                      <a:pt x="44" y="31"/>
                      <a:pt x="38" y="35"/>
                      <a:pt x="36" y="35"/>
                    </a:cubicBezTo>
                    <a:cubicBezTo>
                      <a:pt x="36" y="35"/>
                      <a:pt x="36" y="35"/>
                      <a:pt x="36" y="35"/>
                    </a:cubicBezTo>
                    <a:cubicBezTo>
                      <a:pt x="37" y="34"/>
                      <a:pt x="39" y="33"/>
                      <a:pt x="40" y="31"/>
                    </a:cubicBezTo>
                    <a:cubicBezTo>
                      <a:pt x="40" y="29"/>
                      <a:pt x="39" y="25"/>
                      <a:pt x="38" y="24"/>
                    </a:cubicBezTo>
                    <a:cubicBezTo>
                      <a:pt x="37" y="23"/>
                      <a:pt x="37" y="23"/>
                      <a:pt x="36" y="23"/>
                    </a:cubicBezTo>
                    <a:cubicBezTo>
                      <a:pt x="33" y="23"/>
                      <a:pt x="32" y="22"/>
                      <a:pt x="30" y="21"/>
                    </a:cubicBezTo>
                    <a:cubicBezTo>
                      <a:pt x="31" y="22"/>
                      <a:pt x="31" y="22"/>
                      <a:pt x="31" y="22"/>
                    </a:cubicBezTo>
                    <a:cubicBezTo>
                      <a:pt x="27" y="24"/>
                      <a:pt x="24" y="24"/>
                      <a:pt x="23" y="28"/>
                    </a:cubicBezTo>
                    <a:cubicBezTo>
                      <a:pt x="22" y="29"/>
                      <a:pt x="22" y="31"/>
                      <a:pt x="21" y="32"/>
                    </a:cubicBezTo>
                    <a:cubicBezTo>
                      <a:pt x="21" y="33"/>
                      <a:pt x="19" y="33"/>
                      <a:pt x="19" y="33"/>
                    </a:cubicBezTo>
                    <a:cubicBezTo>
                      <a:pt x="14" y="34"/>
                      <a:pt x="9" y="34"/>
                      <a:pt x="7" y="38"/>
                    </a:cubicBezTo>
                    <a:cubicBezTo>
                      <a:pt x="6" y="40"/>
                      <a:pt x="6" y="42"/>
                      <a:pt x="6" y="43"/>
                    </a:cubicBezTo>
                    <a:cubicBezTo>
                      <a:pt x="6" y="44"/>
                      <a:pt x="6" y="44"/>
                      <a:pt x="6" y="44"/>
                    </a:cubicBezTo>
                    <a:cubicBezTo>
                      <a:pt x="4" y="46"/>
                      <a:pt x="0" y="54"/>
                      <a:pt x="4" y="55"/>
                    </a:cubicBezTo>
                    <a:cubicBezTo>
                      <a:pt x="5" y="56"/>
                      <a:pt x="5" y="56"/>
                      <a:pt x="6" y="56"/>
                    </a:cubicBezTo>
                    <a:cubicBezTo>
                      <a:pt x="6" y="56"/>
                      <a:pt x="7" y="55"/>
                      <a:pt x="8" y="54"/>
                    </a:cubicBezTo>
                    <a:cubicBezTo>
                      <a:pt x="8" y="53"/>
                      <a:pt x="9" y="52"/>
                      <a:pt x="9" y="52"/>
                    </a:cubicBezTo>
                    <a:cubicBezTo>
                      <a:pt x="10" y="50"/>
                      <a:pt x="9" y="48"/>
                      <a:pt x="12" y="47"/>
                    </a:cubicBezTo>
                    <a:cubicBezTo>
                      <a:pt x="9" y="46"/>
                      <a:pt x="13" y="44"/>
                      <a:pt x="14" y="43"/>
                    </a:cubicBezTo>
                    <a:cubicBezTo>
                      <a:pt x="12" y="43"/>
                      <a:pt x="12" y="43"/>
                      <a:pt x="12" y="43"/>
                    </a:cubicBezTo>
                    <a:cubicBezTo>
                      <a:pt x="13" y="42"/>
                      <a:pt x="15" y="40"/>
                      <a:pt x="16" y="40"/>
                    </a:cubicBezTo>
                    <a:cubicBezTo>
                      <a:pt x="17" y="40"/>
                      <a:pt x="18" y="41"/>
                      <a:pt x="19" y="42"/>
                    </a:cubicBezTo>
                    <a:cubicBezTo>
                      <a:pt x="20" y="43"/>
                      <a:pt x="19" y="45"/>
                      <a:pt x="19" y="46"/>
                    </a:cubicBezTo>
                    <a:cubicBezTo>
                      <a:pt x="22" y="45"/>
                      <a:pt x="23" y="42"/>
                      <a:pt x="25" y="41"/>
                    </a:cubicBezTo>
                    <a:cubicBezTo>
                      <a:pt x="25" y="41"/>
                      <a:pt x="25" y="41"/>
                      <a:pt x="25" y="41"/>
                    </a:cubicBezTo>
                    <a:cubicBezTo>
                      <a:pt x="26" y="41"/>
                      <a:pt x="27" y="42"/>
                      <a:pt x="27" y="43"/>
                    </a:cubicBezTo>
                    <a:cubicBezTo>
                      <a:pt x="27" y="44"/>
                      <a:pt x="25" y="43"/>
                      <a:pt x="25" y="44"/>
                    </a:cubicBezTo>
                    <a:cubicBezTo>
                      <a:pt x="26" y="45"/>
                      <a:pt x="26" y="45"/>
                      <a:pt x="27" y="45"/>
                    </a:cubicBezTo>
                    <a:cubicBezTo>
                      <a:pt x="27" y="45"/>
                      <a:pt x="28" y="45"/>
                      <a:pt x="29" y="45"/>
                    </a:cubicBezTo>
                    <a:cubicBezTo>
                      <a:pt x="28" y="46"/>
                      <a:pt x="30" y="46"/>
                      <a:pt x="31" y="47"/>
                    </a:cubicBezTo>
                    <a:cubicBezTo>
                      <a:pt x="31" y="44"/>
                      <a:pt x="28" y="42"/>
                      <a:pt x="31" y="39"/>
                    </a:cubicBezTo>
                    <a:cubicBezTo>
                      <a:pt x="32" y="38"/>
                      <a:pt x="33" y="38"/>
                      <a:pt x="34" y="38"/>
                    </a:cubicBezTo>
                    <a:cubicBezTo>
                      <a:pt x="38" y="38"/>
                      <a:pt x="42" y="43"/>
                      <a:pt x="44" y="45"/>
                    </a:cubicBezTo>
                    <a:cubicBezTo>
                      <a:pt x="46" y="47"/>
                      <a:pt x="48" y="47"/>
                      <a:pt x="45" y="49"/>
                    </a:cubicBezTo>
                    <a:cubicBezTo>
                      <a:pt x="45" y="50"/>
                      <a:pt x="44" y="51"/>
                      <a:pt x="43" y="52"/>
                    </a:cubicBezTo>
                    <a:cubicBezTo>
                      <a:pt x="41" y="55"/>
                      <a:pt x="43" y="59"/>
                      <a:pt x="43" y="62"/>
                    </a:cubicBezTo>
                    <a:cubicBezTo>
                      <a:pt x="43" y="63"/>
                      <a:pt x="42" y="65"/>
                      <a:pt x="43" y="66"/>
                    </a:cubicBezTo>
                    <a:cubicBezTo>
                      <a:pt x="48" y="70"/>
                      <a:pt x="52" y="72"/>
                      <a:pt x="57" y="74"/>
                    </a:cubicBezTo>
                    <a:cubicBezTo>
                      <a:pt x="59" y="75"/>
                      <a:pt x="60" y="76"/>
                      <a:pt x="61" y="76"/>
                    </a:cubicBezTo>
                    <a:cubicBezTo>
                      <a:pt x="62" y="76"/>
                      <a:pt x="63" y="75"/>
                      <a:pt x="63" y="75"/>
                    </a:cubicBezTo>
                    <a:cubicBezTo>
                      <a:pt x="64" y="73"/>
                      <a:pt x="64" y="71"/>
                      <a:pt x="65" y="71"/>
                    </a:cubicBezTo>
                    <a:cubicBezTo>
                      <a:pt x="65" y="71"/>
                      <a:pt x="66" y="71"/>
                      <a:pt x="66" y="71"/>
                    </a:cubicBezTo>
                    <a:cubicBezTo>
                      <a:pt x="66" y="75"/>
                      <a:pt x="64" y="76"/>
                      <a:pt x="66" y="80"/>
                    </a:cubicBezTo>
                    <a:cubicBezTo>
                      <a:pt x="67" y="81"/>
                      <a:pt x="67" y="81"/>
                      <a:pt x="68" y="81"/>
                    </a:cubicBezTo>
                    <a:cubicBezTo>
                      <a:pt x="69" y="81"/>
                      <a:pt x="69" y="80"/>
                      <a:pt x="70" y="79"/>
                    </a:cubicBezTo>
                    <a:cubicBezTo>
                      <a:pt x="71" y="78"/>
                      <a:pt x="73" y="76"/>
                      <a:pt x="74" y="75"/>
                    </a:cubicBezTo>
                    <a:cubicBezTo>
                      <a:pt x="75" y="72"/>
                      <a:pt x="73" y="65"/>
                      <a:pt x="71" y="63"/>
                    </a:cubicBezTo>
                    <a:cubicBezTo>
                      <a:pt x="71" y="63"/>
                      <a:pt x="70" y="62"/>
                      <a:pt x="69" y="61"/>
                    </a:cubicBezTo>
                    <a:cubicBezTo>
                      <a:pt x="69" y="62"/>
                      <a:pt x="69" y="62"/>
                      <a:pt x="69" y="62"/>
                    </a:cubicBezTo>
                    <a:cubicBezTo>
                      <a:pt x="69" y="62"/>
                      <a:pt x="69" y="59"/>
                      <a:pt x="69" y="58"/>
                    </a:cubicBezTo>
                    <a:cubicBezTo>
                      <a:pt x="70" y="56"/>
                      <a:pt x="73" y="48"/>
                      <a:pt x="76" y="48"/>
                    </a:cubicBezTo>
                    <a:cubicBezTo>
                      <a:pt x="76" y="48"/>
                      <a:pt x="76" y="48"/>
                      <a:pt x="76" y="48"/>
                    </a:cubicBezTo>
                    <a:cubicBezTo>
                      <a:pt x="78" y="48"/>
                      <a:pt x="79" y="52"/>
                      <a:pt x="79" y="54"/>
                    </a:cubicBezTo>
                    <a:cubicBezTo>
                      <a:pt x="80" y="56"/>
                      <a:pt x="81" y="56"/>
                      <a:pt x="82" y="57"/>
                    </a:cubicBezTo>
                    <a:cubicBezTo>
                      <a:pt x="83" y="59"/>
                      <a:pt x="81" y="61"/>
                      <a:pt x="82" y="63"/>
                    </a:cubicBezTo>
                    <a:cubicBezTo>
                      <a:pt x="82" y="65"/>
                      <a:pt x="84" y="66"/>
                      <a:pt x="84" y="68"/>
                    </a:cubicBezTo>
                    <a:cubicBezTo>
                      <a:pt x="84" y="65"/>
                      <a:pt x="84" y="62"/>
                      <a:pt x="83" y="59"/>
                    </a:cubicBezTo>
                    <a:cubicBezTo>
                      <a:pt x="83" y="58"/>
                      <a:pt x="83" y="56"/>
                      <a:pt x="84" y="56"/>
                    </a:cubicBezTo>
                    <a:cubicBezTo>
                      <a:pt x="84" y="56"/>
                      <a:pt x="85" y="56"/>
                      <a:pt x="85" y="56"/>
                    </a:cubicBezTo>
                    <a:cubicBezTo>
                      <a:pt x="86" y="56"/>
                      <a:pt x="85" y="56"/>
                      <a:pt x="86" y="57"/>
                    </a:cubicBezTo>
                    <a:cubicBezTo>
                      <a:pt x="86" y="57"/>
                      <a:pt x="86" y="58"/>
                      <a:pt x="87" y="58"/>
                    </a:cubicBezTo>
                    <a:cubicBezTo>
                      <a:pt x="87" y="58"/>
                      <a:pt x="87" y="57"/>
                      <a:pt x="87" y="56"/>
                    </a:cubicBezTo>
                    <a:cubicBezTo>
                      <a:pt x="88" y="54"/>
                      <a:pt x="89" y="54"/>
                      <a:pt x="89" y="54"/>
                    </a:cubicBezTo>
                    <a:cubicBezTo>
                      <a:pt x="90" y="53"/>
                      <a:pt x="91" y="51"/>
                      <a:pt x="91" y="50"/>
                    </a:cubicBezTo>
                    <a:cubicBezTo>
                      <a:pt x="92" y="47"/>
                      <a:pt x="91" y="44"/>
                      <a:pt x="91" y="42"/>
                    </a:cubicBezTo>
                    <a:cubicBezTo>
                      <a:pt x="91" y="39"/>
                      <a:pt x="89" y="38"/>
                      <a:pt x="87" y="37"/>
                    </a:cubicBezTo>
                    <a:cubicBezTo>
                      <a:pt x="90" y="35"/>
                      <a:pt x="88" y="33"/>
                      <a:pt x="89" y="31"/>
                    </a:cubicBezTo>
                    <a:cubicBezTo>
                      <a:pt x="88" y="31"/>
                      <a:pt x="88" y="31"/>
                      <a:pt x="87" y="31"/>
                    </a:cubicBezTo>
                    <a:cubicBezTo>
                      <a:pt x="85" y="31"/>
                      <a:pt x="88" y="28"/>
                      <a:pt x="87" y="26"/>
                    </a:cubicBezTo>
                    <a:cubicBezTo>
                      <a:pt x="87" y="25"/>
                      <a:pt x="86" y="25"/>
                      <a:pt x="86" y="25"/>
                    </a:cubicBezTo>
                    <a:cubicBezTo>
                      <a:pt x="85" y="25"/>
                      <a:pt x="85" y="25"/>
                      <a:pt x="85" y="25"/>
                    </a:cubicBezTo>
                    <a:cubicBezTo>
                      <a:pt x="84" y="25"/>
                      <a:pt x="84" y="25"/>
                      <a:pt x="84" y="25"/>
                    </a:cubicBezTo>
                    <a:cubicBezTo>
                      <a:pt x="83" y="25"/>
                      <a:pt x="83" y="25"/>
                      <a:pt x="83" y="25"/>
                    </a:cubicBezTo>
                    <a:cubicBezTo>
                      <a:pt x="81" y="23"/>
                      <a:pt x="85" y="21"/>
                      <a:pt x="86" y="20"/>
                    </a:cubicBezTo>
                    <a:cubicBezTo>
                      <a:pt x="87" y="17"/>
                      <a:pt x="84" y="14"/>
                      <a:pt x="84" y="10"/>
                    </a:cubicBezTo>
                    <a:cubicBezTo>
                      <a:pt x="83" y="11"/>
                      <a:pt x="82" y="11"/>
                      <a:pt x="82" y="11"/>
                    </a:cubicBezTo>
                    <a:cubicBezTo>
                      <a:pt x="81" y="11"/>
                      <a:pt x="80" y="10"/>
                      <a:pt x="79" y="7"/>
                    </a:cubicBezTo>
                    <a:cubicBezTo>
                      <a:pt x="78" y="4"/>
                      <a:pt x="72" y="2"/>
                      <a:pt x="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Freeform 62"/>
              <p:cNvSpPr/>
              <p:nvPr/>
            </p:nvSpPr>
            <p:spPr bwMode="auto">
              <a:xfrm>
                <a:off x="8025" y="2746"/>
                <a:ext cx="12" cy="12"/>
              </a:xfrm>
              <a:custGeom>
                <a:gdLst>
                  <a:gd name="T0" fmla="*/ 3 w 5"/>
                  <a:gd name="T1" fmla="*/ 0 h 5"/>
                  <a:gd name="T2" fmla="*/ 0 w 5"/>
                  <a:gd name="T3" fmla="*/ 1 h 5"/>
                  <a:gd name="T4" fmla="*/ 4 w 5"/>
                  <a:gd name="T5" fmla="*/ 5 h 5"/>
                  <a:gd name="T6" fmla="*/ 4 w 5"/>
                  <a:gd name="T7" fmla="*/ 0 h 5"/>
                  <a:gd name="T8" fmla="*/ 3 w 5"/>
                  <a:gd name="T9" fmla="*/ 0 h 5"/>
                </a:gdLst>
                <a:cxnLst>
                  <a:cxn ang="0">
                    <a:pos x="T0" y="T1"/>
                  </a:cxn>
                  <a:cxn ang="0">
                    <a:pos x="T2" y="T3"/>
                  </a:cxn>
                  <a:cxn ang="0">
                    <a:pos x="T4" y="T5"/>
                  </a:cxn>
                  <a:cxn ang="0">
                    <a:pos x="T6" y="T7"/>
                  </a:cxn>
                  <a:cxn ang="0">
                    <a:pos x="T8" y="T9"/>
                  </a:cxn>
                </a:cxnLst>
                <a:rect l="0" t="0" r="r" b="b"/>
                <a:pathLst>
                  <a:path w="5" h="5">
                    <a:moveTo>
                      <a:pt x="3" y="0"/>
                    </a:moveTo>
                    <a:cubicBezTo>
                      <a:pt x="2" y="0"/>
                      <a:pt x="0" y="1"/>
                      <a:pt x="0" y="1"/>
                    </a:cubicBezTo>
                    <a:cubicBezTo>
                      <a:pt x="0" y="2"/>
                      <a:pt x="4" y="5"/>
                      <a:pt x="4" y="5"/>
                    </a:cubicBezTo>
                    <a:cubicBezTo>
                      <a:pt x="4" y="3"/>
                      <a:pt x="5"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63"/>
              <p:cNvSpPr/>
              <p:nvPr/>
            </p:nvSpPr>
            <p:spPr bwMode="auto">
              <a:xfrm>
                <a:off x="7992" y="2631"/>
                <a:ext cx="19" cy="18"/>
              </a:xfrm>
              <a:custGeom>
                <a:gdLst>
                  <a:gd name="T0" fmla="*/ 5 w 8"/>
                  <a:gd name="T1" fmla="*/ 0 h 8"/>
                  <a:gd name="T2" fmla="*/ 5 w 8"/>
                  <a:gd name="T3" fmla="*/ 0 h 8"/>
                  <a:gd name="T4" fmla="*/ 5 w 8"/>
                  <a:gd name="T5" fmla="*/ 8 h 8"/>
                  <a:gd name="T6" fmla="*/ 6 w 8"/>
                  <a:gd name="T7" fmla="*/ 3 h 8"/>
                  <a:gd name="T8" fmla="*/ 6 w 8"/>
                  <a:gd name="T9" fmla="*/ 1 h 8"/>
                  <a:gd name="T10" fmla="*/ 5 w 8"/>
                  <a:gd name="T11" fmla="*/ 0 h 8"/>
                </a:gdLst>
                <a:cxnLst>
                  <a:cxn ang="0">
                    <a:pos x="T0" y="T1"/>
                  </a:cxn>
                  <a:cxn ang="0">
                    <a:pos x="T2" y="T3"/>
                  </a:cxn>
                  <a:cxn ang="0">
                    <a:pos x="T4" y="T5"/>
                  </a:cxn>
                  <a:cxn ang="0">
                    <a:pos x="T6" y="T7"/>
                  </a:cxn>
                  <a:cxn ang="0">
                    <a:pos x="T8" y="T9"/>
                  </a:cxn>
                  <a:cxn ang="0">
                    <a:pos x="T10" y="T11"/>
                  </a:cxn>
                </a:cxnLst>
                <a:rect l="0" t="0" r="r" b="b"/>
                <a:pathLst>
                  <a:path w="8" h="8">
                    <a:moveTo>
                      <a:pt x="5" y="0"/>
                    </a:moveTo>
                    <a:cubicBezTo>
                      <a:pt x="5" y="0"/>
                      <a:pt x="5" y="0"/>
                      <a:pt x="5" y="0"/>
                    </a:cubicBezTo>
                    <a:cubicBezTo>
                      <a:pt x="0" y="0"/>
                      <a:pt x="4" y="6"/>
                      <a:pt x="5" y="8"/>
                    </a:cubicBezTo>
                    <a:cubicBezTo>
                      <a:pt x="8" y="6"/>
                      <a:pt x="6" y="6"/>
                      <a:pt x="6" y="3"/>
                    </a:cubicBezTo>
                    <a:cubicBezTo>
                      <a:pt x="6" y="3"/>
                      <a:pt x="6" y="2"/>
                      <a:pt x="6" y="1"/>
                    </a:cubicBezTo>
                    <a:cubicBezTo>
                      <a:pt x="6"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7" name="Freeform 64"/>
              <p:cNvSpPr/>
              <p:nvPr/>
            </p:nvSpPr>
            <p:spPr bwMode="auto">
              <a:xfrm>
                <a:off x="8027" y="2827"/>
                <a:ext cx="10" cy="16"/>
              </a:xfrm>
              <a:custGeom>
                <a:gdLst>
                  <a:gd name="T0" fmla="*/ 4 w 4"/>
                  <a:gd name="T1" fmla="*/ 0 h 7"/>
                  <a:gd name="T2" fmla="*/ 1 w 4"/>
                  <a:gd name="T3" fmla="*/ 4 h 7"/>
                  <a:gd name="T4" fmla="*/ 1 w 4"/>
                  <a:gd name="T5" fmla="*/ 7 h 7"/>
                  <a:gd name="T6" fmla="*/ 4 w 4"/>
                  <a:gd name="T7" fmla="*/ 0 h 7"/>
                </a:gdLst>
                <a:cxnLst>
                  <a:cxn ang="0">
                    <a:pos x="T0" y="T1"/>
                  </a:cxn>
                  <a:cxn ang="0">
                    <a:pos x="T2" y="T3"/>
                  </a:cxn>
                  <a:cxn ang="0">
                    <a:pos x="T4" y="T5"/>
                  </a:cxn>
                  <a:cxn ang="0">
                    <a:pos x="T6" y="T7"/>
                  </a:cxn>
                </a:cxnLst>
                <a:rect l="0" t="0" r="r" b="b"/>
                <a:pathLst>
                  <a:path w="4" h="7">
                    <a:moveTo>
                      <a:pt x="4" y="0"/>
                    </a:moveTo>
                    <a:cubicBezTo>
                      <a:pt x="3" y="1"/>
                      <a:pt x="0" y="3"/>
                      <a:pt x="1" y="4"/>
                    </a:cubicBezTo>
                    <a:cubicBezTo>
                      <a:pt x="0" y="5"/>
                      <a:pt x="0" y="6"/>
                      <a:pt x="1" y="7"/>
                    </a:cubicBezTo>
                    <a:cubicBezTo>
                      <a:pt x="3" y="4"/>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65"/>
              <p:cNvSpPr/>
              <p:nvPr/>
            </p:nvSpPr>
            <p:spPr bwMode="auto">
              <a:xfrm>
                <a:off x="8181" y="2860"/>
                <a:ext cx="12" cy="14"/>
              </a:xfrm>
              <a:custGeom>
                <a:gdLst>
                  <a:gd name="T0" fmla="*/ 3 w 5"/>
                  <a:gd name="T1" fmla="*/ 0 h 6"/>
                  <a:gd name="T2" fmla="*/ 3 w 5"/>
                  <a:gd name="T3" fmla="*/ 6 h 6"/>
                  <a:gd name="T4" fmla="*/ 5 w 5"/>
                  <a:gd name="T5" fmla="*/ 4 h 6"/>
                  <a:gd name="T6" fmla="*/ 3 w 5"/>
                  <a:gd name="T7" fmla="*/ 0 h 6"/>
                </a:gdLst>
                <a:cxnLst>
                  <a:cxn ang="0">
                    <a:pos x="T0" y="T1"/>
                  </a:cxn>
                  <a:cxn ang="0">
                    <a:pos x="T2" y="T3"/>
                  </a:cxn>
                  <a:cxn ang="0">
                    <a:pos x="T4" y="T5"/>
                  </a:cxn>
                  <a:cxn ang="0">
                    <a:pos x="T6" y="T7"/>
                  </a:cxn>
                </a:cxnLst>
                <a:rect l="0" t="0" r="r" b="b"/>
                <a:pathLst>
                  <a:path w="5" h="6">
                    <a:moveTo>
                      <a:pt x="3" y="0"/>
                    </a:moveTo>
                    <a:cubicBezTo>
                      <a:pt x="2" y="2"/>
                      <a:pt x="0" y="3"/>
                      <a:pt x="3" y="6"/>
                    </a:cubicBezTo>
                    <a:cubicBezTo>
                      <a:pt x="4" y="5"/>
                      <a:pt x="5" y="5"/>
                      <a:pt x="5" y="4"/>
                    </a:cubicBezTo>
                    <a:cubicBezTo>
                      <a:pt x="4" y="3"/>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9" name="Freeform 66"/>
              <p:cNvSpPr/>
              <p:nvPr/>
            </p:nvSpPr>
            <p:spPr bwMode="auto">
              <a:xfrm>
                <a:off x="8072" y="2893"/>
                <a:ext cx="12" cy="9"/>
              </a:xfrm>
              <a:custGeom>
                <a:gdLst>
                  <a:gd name="T0" fmla="*/ 3 w 5"/>
                  <a:gd name="T1" fmla="*/ 0 h 4"/>
                  <a:gd name="T2" fmla="*/ 0 w 5"/>
                  <a:gd name="T3" fmla="*/ 2 h 4"/>
                  <a:gd name="T4" fmla="*/ 2 w 5"/>
                  <a:gd name="T5" fmla="*/ 4 h 4"/>
                  <a:gd name="T6" fmla="*/ 3 w 5"/>
                  <a:gd name="T7" fmla="*/ 0 h 4"/>
                </a:gdLst>
                <a:cxnLst>
                  <a:cxn ang="0">
                    <a:pos x="T0" y="T1"/>
                  </a:cxn>
                  <a:cxn ang="0">
                    <a:pos x="T2" y="T3"/>
                  </a:cxn>
                  <a:cxn ang="0">
                    <a:pos x="T4" y="T5"/>
                  </a:cxn>
                  <a:cxn ang="0">
                    <a:pos x="T6" y="T7"/>
                  </a:cxn>
                </a:cxnLst>
                <a:rect l="0" t="0" r="r" b="b"/>
                <a:pathLst>
                  <a:path w="5" h="4">
                    <a:moveTo>
                      <a:pt x="3" y="0"/>
                    </a:moveTo>
                    <a:cubicBezTo>
                      <a:pt x="2" y="1"/>
                      <a:pt x="0" y="1"/>
                      <a:pt x="0" y="2"/>
                    </a:cubicBezTo>
                    <a:cubicBezTo>
                      <a:pt x="0" y="3"/>
                      <a:pt x="2" y="4"/>
                      <a:pt x="2" y="4"/>
                    </a:cubicBezTo>
                    <a:cubicBezTo>
                      <a:pt x="5"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67"/>
              <p:cNvSpPr/>
              <p:nvPr/>
            </p:nvSpPr>
            <p:spPr bwMode="auto">
              <a:xfrm>
                <a:off x="7779" y="2947"/>
                <a:ext cx="7" cy="15"/>
              </a:xfrm>
              <a:custGeom>
                <a:gdLst>
                  <a:gd name="T0" fmla="*/ 1 w 3"/>
                  <a:gd name="T1" fmla="*/ 0 h 6"/>
                  <a:gd name="T2" fmla="*/ 1 w 3"/>
                  <a:gd name="T3" fmla="*/ 6 h 6"/>
                  <a:gd name="T4" fmla="*/ 2 w 3"/>
                  <a:gd name="T5" fmla="*/ 2 h 6"/>
                  <a:gd name="T6" fmla="*/ 2 w 3"/>
                  <a:gd name="T7" fmla="*/ 1 h 6"/>
                  <a:gd name="T8" fmla="*/ 1 w 3"/>
                  <a:gd name="T9" fmla="*/ 0 h 6"/>
                </a:gdLst>
                <a:cxnLst>
                  <a:cxn ang="0">
                    <a:pos x="T0" y="T1"/>
                  </a:cxn>
                  <a:cxn ang="0">
                    <a:pos x="T2" y="T3"/>
                  </a:cxn>
                  <a:cxn ang="0">
                    <a:pos x="T4" y="T5"/>
                  </a:cxn>
                  <a:cxn ang="0">
                    <a:pos x="T6" y="T7"/>
                  </a:cxn>
                  <a:cxn ang="0">
                    <a:pos x="T8" y="T9"/>
                  </a:cxn>
                </a:cxnLst>
                <a:rect l="0" t="0" r="r" b="b"/>
                <a:pathLst>
                  <a:path w="3" h="6">
                    <a:moveTo>
                      <a:pt x="1" y="0"/>
                    </a:moveTo>
                    <a:cubicBezTo>
                      <a:pt x="0" y="0"/>
                      <a:pt x="1" y="5"/>
                      <a:pt x="1" y="6"/>
                    </a:cubicBezTo>
                    <a:cubicBezTo>
                      <a:pt x="2" y="4"/>
                      <a:pt x="3" y="3"/>
                      <a:pt x="2" y="2"/>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1" name="Freeform 68"/>
              <p:cNvSpPr/>
              <p:nvPr/>
            </p:nvSpPr>
            <p:spPr bwMode="auto">
              <a:xfrm>
                <a:off x="7999" y="3009"/>
                <a:ext cx="24" cy="14"/>
              </a:xfrm>
              <a:custGeom>
                <a:gdLst>
                  <a:gd name="T0" fmla="*/ 4 w 10"/>
                  <a:gd name="T1" fmla="*/ 0 h 6"/>
                  <a:gd name="T2" fmla="*/ 2 w 10"/>
                  <a:gd name="T3" fmla="*/ 1 h 6"/>
                  <a:gd name="T4" fmla="*/ 1 w 10"/>
                  <a:gd name="T5" fmla="*/ 2 h 6"/>
                  <a:gd name="T6" fmla="*/ 0 w 10"/>
                  <a:gd name="T7" fmla="*/ 1 h 6"/>
                  <a:gd name="T8" fmla="*/ 3 w 10"/>
                  <a:gd name="T9" fmla="*/ 6 h 6"/>
                  <a:gd name="T10" fmla="*/ 6 w 10"/>
                  <a:gd name="T11" fmla="*/ 5 h 6"/>
                  <a:gd name="T12" fmla="*/ 7 w 10"/>
                  <a:gd name="T13" fmla="*/ 4 h 6"/>
                  <a:gd name="T14" fmla="*/ 7 w 10"/>
                  <a:gd name="T15" fmla="*/ 2 h 6"/>
                  <a:gd name="T16" fmla="*/ 5 w 10"/>
                  <a:gd name="T17" fmla="*/ 0 h 6"/>
                  <a:gd name="T18" fmla="*/ 4 w 10"/>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6">
                    <a:moveTo>
                      <a:pt x="4" y="0"/>
                    </a:moveTo>
                    <a:cubicBezTo>
                      <a:pt x="3" y="0"/>
                      <a:pt x="3" y="0"/>
                      <a:pt x="2" y="1"/>
                    </a:cubicBezTo>
                    <a:cubicBezTo>
                      <a:pt x="2" y="1"/>
                      <a:pt x="1" y="2"/>
                      <a:pt x="1" y="2"/>
                    </a:cubicBezTo>
                    <a:cubicBezTo>
                      <a:pt x="0" y="2"/>
                      <a:pt x="0" y="1"/>
                      <a:pt x="0" y="1"/>
                    </a:cubicBezTo>
                    <a:cubicBezTo>
                      <a:pt x="0" y="3"/>
                      <a:pt x="2" y="5"/>
                      <a:pt x="3" y="6"/>
                    </a:cubicBezTo>
                    <a:cubicBezTo>
                      <a:pt x="3" y="6"/>
                      <a:pt x="6" y="6"/>
                      <a:pt x="6" y="5"/>
                    </a:cubicBezTo>
                    <a:cubicBezTo>
                      <a:pt x="7" y="5"/>
                      <a:pt x="7" y="4"/>
                      <a:pt x="7" y="4"/>
                    </a:cubicBezTo>
                    <a:cubicBezTo>
                      <a:pt x="8" y="3"/>
                      <a:pt x="10" y="2"/>
                      <a:pt x="7" y="2"/>
                    </a:cubicBezTo>
                    <a:cubicBezTo>
                      <a:pt x="6" y="1"/>
                      <a:pt x="6" y="0"/>
                      <a:pt x="5"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69"/>
              <p:cNvSpPr/>
              <p:nvPr/>
            </p:nvSpPr>
            <p:spPr bwMode="auto">
              <a:xfrm>
                <a:off x="8171" y="2990"/>
                <a:ext cx="5" cy="12"/>
              </a:xfrm>
              <a:custGeom>
                <a:gdLst>
                  <a:gd name="T0" fmla="*/ 0 w 2"/>
                  <a:gd name="T1" fmla="*/ 0 h 5"/>
                  <a:gd name="T2" fmla="*/ 2 w 2"/>
                  <a:gd name="T3" fmla="*/ 5 h 5"/>
                  <a:gd name="T4" fmla="*/ 0 w 2"/>
                  <a:gd name="T5" fmla="*/ 0 h 5"/>
                </a:gdLst>
                <a:cxnLst>
                  <a:cxn ang="0">
                    <a:pos x="T0" y="T1"/>
                  </a:cxn>
                  <a:cxn ang="0">
                    <a:pos x="T2" y="T3"/>
                  </a:cxn>
                  <a:cxn ang="0">
                    <a:pos x="T4" y="T5"/>
                  </a:cxn>
                </a:cxnLst>
                <a:rect l="0" t="0" r="r" b="b"/>
                <a:pathLst>
                  <a:path w="2" h="5">
                    <a:moveTo>
                      <a:pt x="0" y="0"/>
                    </a:moveTo>
                    <a:cubicBezTo>
                      <a:pt x="0" y="1"/>
                      <a:pt x="1" y="3"/>
                      <a:pt x="2" y="5"/>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3" name="Freeform 70"/>
              <p:cNvSpPr/>
              <p:nvPr/>
            </p:nvSpPr>
            <p:spPr bwMode="auto">
              <a:xfrm>
                <a:off x="7997" y="2361"/>
                <a:ext cx="2"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1" y="1"/>
                      <a:pt x="1"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71"/>
              <p:cNvSpPr/>
              <p:nvPr/>
            </p:nvSpPr>
            <p:spPr bwMode="auto">
              <a:xfrm>
                <a:off x="8075" y="2739"/>
                <a:ext cx="11" cy="14"/>
              </a:xfrm>
              <a:custGeom>
                <a:gdLst>
                  <a:gd name="T0" fmla="*/ 2 w 5"/>
                  <a:gd name="T1" fmla="*/ 0 h 6"/>
                  <a:gd name="T2" fmla="*/ 5 w 5"/>
                  <a:gd name="T3" fmla="*/ 6 h 6"/>
                  <a:gd name="T4" fmla="*/ 2 w 5"/>
                  <a:gd name="T5" fmla="*/ 0 h 6"/>
                </a:gdLst>
                <a:cxnLst>
                  <a:cxn ang="0">
                    <a:pos x="T0" y="T1"/>
                  </a:cxn>
                  <a:cxn ang="0">
                    <a:pos x="T2" y="T3"/>
                  </a:cxn>
                  <a:cxn ang="0">
                    <a:pos x="T4" y="T5"/>
                  </a:cxn>
                </a:cxnLst>
                <a:rect l="0" t="0" r="r" b="b"/>
                <a:pathLst>
                  <a:path w="5" h="6">
                    <a:moveTo>
                      <a:pt x="2" y="0"/>
                    </a:moveTo>
                    <a:cubicBezTo>
                      <a:pt x="0" y="1"/>
                      <a:pt x="4" y="5"/>
                      <a:pt x="5" y="6"/>
                    </a:cubicBezTo>
                    <a:cubicBezTo>
                      <a:pt x="4"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Freeform 72"/>
              <p:cNvSpPr/>
              <p:nvPr/>
            </p:nvSpPr>
            <p:spPr bwMode="auto">
              <a:xfrm>
                <a:off x="7999" y="2446"/>
                <a:ext cx="5" cy="10"/>
              </a:xfrm>
              <a:custGeom>
                <a:gdLst>
                  <a:gd name="T0" fmla="*/ 2 w 2"/>
                  <a:gd name="T1" fmla="*/ 0 h 4"/>
                  <a:gd name="T2" fmla="*/ 0 w 2"/>
                  <a:gd name="T3" fmla="*/ 4 h 4"/>
                  <a:gd name="T4" fmla="*/ 2 w 2"/>
                  <a:gd name="T5" fmla="*/ 0 h 4"/>
                </a:gdLst>
                <a:cxnLst>
                  <a:cxn ang="0">
                    <a:pos x="T0" y="T1"/>
                  </a:cxn>
                  <a:cxn ang="0">
                    <a:pos x="T2" y="T3"/>
                  </a:cxn>
                  <a:cxn ang="0">
                    <a:pos x="T4" y="T5"/>
                  </a:cxn>
                </a:cxnLst>
                <a:rect l="0" t="0" r="r" b="b"/>
                <a:pathLst>
                  <a:path w="2" h="4">
                    <a:moveTo>
                      <a:pt x="2" y="0"/>
                    </a:moveTo>
                    <a:cubicBezTo>
                      <a:pt x="0" y="0"/>
                      <a:pt x="0" y="3"/>
                      <a:pt x="0"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Freeform 73"/>
              <p:cNvSpPr/>
              <p:nvPr/>
            </p:nvSpPr>
            <p:spPr bwMode="auto">
              <a:xfrm>
                <a:off x="7999" y="2772"/>
                <a:ext cx="59" cy="69"/>
              </a:xfrm>
              <a:custGeom>
                <a:gdLst>
                  <a:gd name="T0" fmla="*/ 2 w 25"/>
                  <a:gd name="T1" fmla="*/ 0 h 29"/>
                  <a:gd name="T2" fmla="*/ 0 w 25"/>
                  <a:gd name="T3" fmla="*/ 3 h 29"/>
                  <a:gd name="T4" fmla="*/ 1 w 25"/>
                  <a:gd name="T5" fmla="*/ 4 h 29"/>
                  <a:gd name="T6" fmla="*/ 5 w 25"/>
                  <a:gd name="T7" fmla="*/ 9 h 29"/>
                  <a:gd name="T8" fmla="*/ 4 w 25"/>
                  <a:gd name="T9" fmla="*/ 15 h 29"/>
                  <a:gd name="T10" fmla="*/ 3 w 25"/>
                  <a:gd name="T11" fmla="*/ 21 h 29"/>
                  <a:gd name="T12" fmla="*/ 2 w 25"/>
                  <a:gd name="T13" fmla="*/ 29 h 29"/>
                  <a:gd name="T14" fmla="*/ 4 w 25"/>
                  <a:gd name="T15" fmla="*/ 28 h 29"/>
                  <a:gd name="T16" fmla="*/ 19 w 25"/>
                  <a:gd name="T17" fmla="*/ 21 h 29"/>
                  <a:gd name="T18" fmla="*/ 24 w 25"/>
                  <a:gd name="T19" fmla="*/ 15 h 29"/>
                  <a:gd name="T20" fmla="*/ 24 w 25"/>
                  <a:gd name="T21" fmla="*/ 14 h 29"/>
                  <a:gd name="T22" fmla="*/ 25 w 25"/>
                  <a:gd name="T23" fmla="*/ 10 h 29"/>
                  <a:gd name="T24" fmla="*/ 24 w 25"/>
                  <a:gd name="T25" fmla="*/ 8 h 29"/>
                  <a:gd name="T26" fmla="*/ 20 w 25"/>
                  <a:gd name="T27" fmla="*/ 10 h 29"/>
                  <a:gd name="T28" fmla="*/ 13 w 25"/>
                  <a:gd name="T29" fmla="*/ 7 h 29"/>
                  <a:gd name="T30" fmla="*/ 2 w 25"/>
                  <a:gd name="T31"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8">
                    <a:moveTo>
                      <a:pt x="2" y="0"/>
                    </a:moveTo>
                    <a:cubicBezTo>
                      <a:pt x="1" y="1"/>
                      <a:pt x="1" y="2"/>
                      <a:pt x="0" y="3"/>
                    </a:cubicBezTo>
                    <a:cubicBezTo>
                      <a:pt x="1" y="3"/>
                      <a:pt x="1" y="4"/>
                      <a:pt x="1" y="4"/>
                    </a:cubicBezTo>
                    <a:cubicBezTo>
                      <a:pt x="5" y="5"/>
                      <a:pt x="5" y="5"/>
                      <a:pt x="5" y="9"/>
                    </a:cubicBezTo>
                    <a:cubicBezTo>
                      <a:pt x="4" y="11"/>
                      <a:pt x="4" y="13"/>
                      <a:pt x="4" y="15"/>
                    </a:cubicBezTo>
                    <a:cubicBezTo>
                      <a:pt x="4" y="17"/>
                      <a:pt x="3" y="18"/>
                      <a:pt x="3" y="21"/>
                    </a:cubicBezTo>
                    <a:cubicBezTo>
                      <a:pt x="2" y="23"/>
                      <a:pt x="0" y="29"/>
                      <a:pt x="2" y="29"/>
                    </a:cubicBezTo>
                    <a:cubicBezTo>
                      <a:pt x="3" y="29"/>
                      <a:pt x="3" y="29"/>
                      <a:pt x="4" y="28"/>
                    </a:cubicBezTo>
                    <a:cubicBezTo>
                      <a:pt x="9" y="26"/>
                      <a:pt x="15" y="24"/>
                      <a:pt x="19" y="21"/>
                    </a:cubicBezTo>
                    <a:cubicBezTo>
                      <a:pt x="20" y="19"/>
                      <a:pt x="24" y="17"/>
                      <a:pt x="24" y="15"/>
                    </a:cubicBezTo>
                    <a:cubicBezTo>
                      <a:pt x="25" y="14"/>
                      <a:pt x="24" y="14"/>
                      <a:pt x="24" y="14"/>
                    </a:cubicBezTo>
                    <a:cubicBezTo>
                      <a:pt x="24" y="12"/>
                      <a:pt x="25" y="11"/>
                      <a:pt x="25" y="10"/>
                    </a:cubicBezTo>
                    <a:cubicBezTo>
                      <a:pt x="25" y="9"/>
                      <a:pt x="24" y="8"/>
                      <a:pt x="24" y="8"/>
                    </a:cubicBezTo>
                    <a:cubicBezTo>
                      <a:pt x="23" y="8"/>
                      <a:pt x="21" y="9"/>
                      <a:pt x="20" y="10"/>
                    </a:cubicBezTo>
                    <a:cubicBezTo>
                      <a:pt x="18" y="8"/>
                      <a:pt x="15" y="8"/>
                      <a:pt x="13" y="7"/>
                    </a:cubicBezTo>
                    <a:cubicBezTo>
                      <a:pt x="9" y="5"/>
                      <a:pt x="6"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Freeform 74"/>
              <p:cNvSpPr/>
              <p:nvPr/>
            </p:nvSpPr>
            <p:spPr bwMode="auto">
              <a:xfrm>
                <a:off x="8049" y="2720"/>
                <a:ext cx="4"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0" y="1"/>
                      <a:pt x="1" y="2"/>
                      <a:pt x="2" y="2"/>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Freeform 75"/>
              <p:cNvSpPr/>
              <p:nvPr/>
            </p:nvSpPr>
            <p:spPr bwMode="auto">
              <a:xfrm>
                <a:off x="7909" y="3075"/>
                <a:ext cx="19" cy="9"/>
              </a:xfrm>
              <a:custGeom>
                <a:gdLst>
                  <a:gd name="T0" fmla="*/ 7 w 8"/>
                  <a:gd name="T1" fmla="*/ 0 h 4"/>
                  <a:gd name="T2" fmla="*/ 0 w 8"/>
                  <a:gd name="T3" fmla="*/ 4 h 4"/>
                  <a:gd name="T4" fmla="*/ 3 w 8"/>
                  <a:gd name="T5" fmla="*/ 3 h 4"/>
                  <a:gd name="T6" fmla="*/ 3 w 8"/>
                  <a:gd name="T7" fmla="*/ 2 h 4"/>
                  <a:gd name="T8" fmla="*/ 4 w 8"/>
                  <a:gd name="T9" fmla="*/ 2 h 4"/>
                  <a:gd name="T10" fmla="*/ 4 w 8"/>
                  <a:gd name="T11" fmla="*/ 2 h 4"/>
                  <a:gd name="T12" fmla="*/ 5 w 8"/>
                  <a:gd name="T13" fmla="*/ 2 h 4"/>
                  <a:gd name="T14" fmla="*/ 5 w 8"/>
                  <a:gd name="T15" fmla="*/ 1 h 4"/>
                  <a:gd name="T16" fmla="*/ 6 w 8"/>
                  <a:gd name="T17" fmla="*/ 2 h 4"/>
                  <a:gd name="T18" fmla="*/ 7 w 8"/>
                  <a:gd name="T19" fmla="*/ 3 h 4"/>
                  <a:gd name="T20" fmla="*/ 8 w 8"/>
                  <a:gd name="T21" fmla="*/ 1 h 4"/>
                  <a:gd name="T22" fmla="*/ 7 w 8"/>
                  <a:gd name="T23"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4">
                    <a:moveTo>
                      <a:pt x="7" y="0"/>
                    </a:moveTo>
                    <a:cubicBezTo>
                      <a:pt x="5" y="0"/>
                      <a:pt x="1" y="3"/>
                      <a:pt x="0" y="4"/>
                    </a:cubicBezTo>
                    <a:cubicBezTo>
                      <a:pt x="1" y="4"/>
                      <a:pt x="2" y="3"/>
                      <a:pt x="3" y="3"/>
                    </a:cubicBezTo>
                    <a:cubicBezTo>
                      <a:pt x="3" y="2"/>
                      <a:pt x="3" y="2"/>
                      <a:pt x="3" y="2"/>
                    </a:cubicBezTo>
                    <a:cubicBezTo>
                      <a:pt x="4" y="2"/>
                      <a:pt x="4" y="2"/>
                      <a:pt x="4" y="2"/>
                    </a:cubicBezTo>
                    <a:cubicBezTo>
                      <a:pt x="4" y="2"/>
                      <a:pt x="4" y="2"/>
                      <a:pt x="4" y="2"/>
                    </a:cubicBezTo>
                    <a:cubicBezTo>
                      <a:pt x="5" y="2"/>
                      <a:pt x="5" y="2"/>
                      <a:pt x="5" y="2"/>
                    </a:cubicBezTo>
                    <a:cubicBezTo>
                      <a:pt x="5" y="2"/>
                      <a:pt x="5" y="2"/>
                      <a:pt x="5" y="1"/>
                    </a:cubicBezTo>
                    <a:cubicBezTo>
                      <a:pt x="6" y="2"/>
                      <a:pt x="6" y="2"/>
                      <a:pt x="6" y="2"/>
                    </a:cubicBezTo>
                    <a:cubicBezTo>
                      <a:pt x="6" y="2"/>
                      <a:pt x="7" y="2"/>
                      <a:pt x="7" y="3"/>
                    </a:cubicBezTo>
                    <a:cubicBezTo>
                      <a:pt x="7" y="2"/>
                      <a:pt x="8" y="1"/>
                      <a:pt x="8"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76"/>
              <p:cNvSpPr/>
              <p:nvPr/>
            </p:nvSpPr>
            <p:spPr bwMode="auto">
              <a:xfrm>
                <a:off x="7978" y="2430"/>
                <a:ext cx="7" cy="4"/>
              </a:xfrm>
              <a:custGeom>
                <a:gdLst>
                  <a:gd name="T0" fmla="*/ 3 w 3"/>
                  <a:gd name="T1" fmla="*/ 0 h 2"/>
                  <a:gd name="T2" fmla="*/ 0 w 3"/>
                  <a:gd name="T3" fmla="*/ 0 h 2"/>
                  <a:gd name="T4" fmla="*/ 3 w 3"/>
                  <a:gd name="T5" fmla="*/ 2 h 2"/>
                  <a:gd name="T6" fmla="*/ 3 w 3"/>
                  <a:gd name="T7" fmla="*/ 0 h 2"/>
                </a:gdLst>
                <a:cxnLst>
                  <a:cxn ang="0">
                    <a:pos x="T0" y="T1"/>
                  </a:cxn>
                  <a:cxn ang="0">
                    <a:pos x="T2" y="T3"/>
                  </a:cxn>
                  <a:cxn ang="0">
                    <a:pos x="T4" y="T5"/>
                  </a:cxn>
                  <a:cxn ang="0">
                    <a:pos x="T6" y="T7"/>
                  </a:cxn>
                </a:cxnLst>
                <a:rect l="0" t="0" r="r" b="b"/>
                <a:pathLst>
                  <a:path w="3" h="2">
                    <a:moveTo>
                      <a:pt x="3" y="0"/>
                    </a:moveTo>
                    <a:cubicBezTo>
                      <a:pt x="2" y="0"/>
                      <a:pt x="1" y="0"/>
                      <a:pt x="0" y="0"/>
                    </a:cubicBezTo>
                    <a:cubicBezTo>
                      <a:pt x="0" y="1"/>
                      <a:pt x="1" y="2"/>
                      <a:pt x="3" y="2"/>
                    </a:cubicBezTo>
                    <a:cubicBezTo>
                      <a:pt x="3"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77"/>
              <p:cNvSpPr/>
              <p:nvPr/>
            </p:nvSpPr>
            <p:spPr bwMode="auto">
              <a:xfrm>
                <a:off x="8112" y="2784"/>
                <a:ext cx="15" cy="10"/>
              </a:xfrm>
              <a:custGeom>
                <a:gdLst>
                  <a:gd name="T0" fmla="*/ 1 w 6"/>
                  <a:gd name="T1" fmla="*/ 0 h 4"/>
                  <a:gd name="T2" fmla="*/ 0 w 6"/>
                  <a:gd name="T3" fmla="*/ 0 h 4"/>
                  <a:gd name="T4" fmla="*/ 2 w 6"/>
                  <a:gd name="T5" fmla="*/ 4 h 4"/>
                  <a:gd name="T6" fmla="*/ 1 w 6"/>
                  <a:gd name="T7" fmla="*/ 0 h 4"/>
                </a:gdLst>
                <a:cxnLst>
                  <a:cxn ang="0">
                    <a:pos x="T0" y="T1"/>
                  </a:cxn>
                  <a:cxn ang="0">
                    <a:pos x="T2" y="T3"/>
                  </a:cxn>
                  <a:cxn ang="0">
                    <a:pos x="T4" y="T5"/>
                  </a:cxn>
                  <a:cxn ang="0">
                    <a:pos x="T6" y="T7"/>
                  </a:cxn>
                </a:cxnLst>
                <a:rect l="0" t="0" r="r" b="b"/>
                <a:pathLst>
                  <a:path w="6" h="4">
                    <a:moveTo>
                      <a:pt x="1" y="0"/>
                    </a:moveTo>
                    <a:cubicBezTo>
                      <a:pt x="0" y="0"/>
                      <a:pt x="0" y="0"/>
                      <a:pt x="0" y="0"/>
                    </a:cubicBezTo>
                    <a:cubicBezTo>
                      <a:pt x="1" y="1"/>
                      <a:pt x="1" y="3"/>
                      <a:pt x="2" y="4"/>
                    </a:cubicBezTo>
                    <a:cubicBezTo>
                      <a:pt x="6" y="3"/>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78"/>
              <p:cNvSpPr/>
              <p:nvPr/>
            </p:nvSpPr>
            <p:spPr bwMode="auto">
              <a:xfrm>
                <a:off x="7999" y="2699"/>
                <a:ext cx="14" cy="17"/>
              </a:xfrm>
              <a:custGeom>
                <a:gdLst>
                  <a:gd name="T0" fmla="*/ 0 w 6"/>
                  <a:gd name="T1" fmla="*/ 0 h 7"/>
                  <a:gd name="T2" fmla="*/ 0 w 6"/>
                  <a:gd name="T3" fmla="*/ 3 h 7"/>
                  <a:gd name="T4" fmla="*/ 4 w 6"/>
                  <a:gd name="T5" fmla="*/ 7 h 7"/>
                  <a:gd name="T6" fmla="*/ 4 w 6"/>
                  <a:gd name="T7" fmla="*/ 0 h 7"/>
                  <a:gd name="T8" fmla="*/ 0 w 6"/>
                  <a:gd name="T9" fmla="*/ 0 h 7"/>
                </a:gdLst>
                <a:cxnLst>
                  <a:cxn ang="0">
                    <a:pos x="T0" y="T1"/>
                  </a:cxn>
                  <a:cxn ang="0">
                    <a:pos x="T2" y="T3"/>
                  </a:cxn>
                  <a:cxn ang="0">
                    <a:pos x="T4" y="T5"/>
                  </a:cxn>
                  <a:cxn ang="0">
                    <a:pos x="T6" y="T7"/>
                  </a:cxn>
                  <a:cxn ang="0">
                    <a:pos x="T8" y="T9"/>
                  </a:cxn>
                </a:cxnLst>
                <a:rect l="0" t="0" r="r" b="b"/>
                <a:pathLst>
                  <a:path w="6" h="7">
                    <a:moveTo>
                      <a:pt x="0" y="0"/>
                    </a:moveTo>
                    <a:cubicBezTo>
                      <a:pt x="1" y="1"/>
                      <a:pt x="0" y="2"/>
                      <a:pt x="0" y="3"/>
                    </a:cubicBezTo>
                    <a:cubicBezTo>
                      <a:pt x="0" y="5"/>
                      <a:pt x="2" y="6"/>
                      <a:pt x="4" y="7"/>
                    </a:cubicBezTo>
                    <a:cubicBezTo>
                      <a:pt x="5" y="4"/>
                      <a:pt x="6" y="2"/>
                      <a:pt x="4" y="0"/>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Freeform 79"/>
              <p:cNvSpPr/>
              <p:nvPr/>
            </p:nvSpPr>
            <p:spPr bwMode="auto">
              <a:xfrm>
                <a:off x="7909" y="2756"/>
                <a:ext cx="21" cy="16"/>
              </a:xfrm>
              <a:custGeom>
                <a:gdLst>
                  <a:gd name="T0" fmla="*/ 1 w 9"/>
                  <a:gd name="T1" fmla="*/ 0 h 7"/>
                  <a:gd name="T2" fmla="*/ 1 w 9"/>
                  <a:gd name="T3" fmla="*/ 1 h 7"/>
                  <a:gd name="T4" fmla="*/ 0 w 9"/>
                  <a:gd name="T5" fmla="*/ 2 h 7"/>
                  <a:gd name="T6" fmla="*/ 1 w 9"/>
                  <a:gd name="T7" fmla="*/ 2 h 7"/>
                  <a:gd name="T8" fmla="*/ 2 w 9"/>
                  <a:gd name="T9" fmla="*/ 4 h 7"/>
                  <a:gd name="T10" fmla="*/ 5 w 9"/>
                  <a:gd name="T11" fmla="*/ 7 h 7"/>
                  <a:gd name="T12" fmla="*/ 9 w 9"/>
                  <a:gd name="T13" fmla="*/ 4 h 7"/>
                  <a:gd name="T14" fmla="*/ 7 w 9"/>
                  <a:gd name="T15" fmla="*/ 2 h 7"/>
                  <a:gd name="T16" fmla="*/ 7 w 9"/>
                  <a:gd name="T17" fmla="*/ 4 h 7"/>
                  <a:gd name="T18" fmla="*/ 7 w 9"/>
                  <a:gd name="T19" fmla="*/ 4 h 7"/>
                  <a:gd name="T20" fmla="*/ 4 w 9"/>
                  <a:gd name="T21" fmla="*/ 2 h 7"/>
                  <a:gd name="T22" fmla="*/ 1 w 9"/>
                  <a:gd name="T2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7">
                    <a:moveTo>
                      <a:pt x="1" y="0"/>
                    </a:moveTo>
                    <a:cubicBezTo>
                      <a:pt x="1" y="0"/>
                      <a:pt x="1" y="0"/>
                      <a:pt x="1" y="1"/>
                    </a:cubicBezTo>
                    <a:cubicBezTo>
                      <a:pt x="0" y="1"/>
                      <a:pt x="0" y="2"/>
                      <a:pt x="0" y="2"/>
                    </a:cubicBezTo>
                    <a:cubicBezTo>
                      <a:pt x="0" y="2"/>
                      <a:pt x="1" y="2"/>
                      <a:pt x="1" y="2"/>
                    </a:cubicBezTo>
                    <a:cubicBezTo>
                      <a:pt x="1" y="2"/>
                      <a:pt x="1" y="4"/>
                      <a:pt x="2" y="4"/>
                    </a:cubicBezTo>
                    <a:cubicBezTo>
                      <a:pt x="2" y="5"/>
                      <a:pt x="3" y="6"/>
                      <a:pt x="5" y="7"/>
                    </a:cubicBezTo>
                    <a:cubicBezTo>
                      <a:pt x="6" y="6"/>
                      <a:pt x="8" y="5"/>
                      <a:pt x="9" y="4"/>
                    </a:cubicBezTo>
                    <a:cubicBezTo>
                      <a:pt x="8" y="3"/>
                      <a:pt x="8" y="2"/>
                      <a:pt x="7" y="2"/>
                    </a:cubicBezTo>
                    <a:cubicBezTo>
                      <a:pt x="7" y="2"/>
                      <a:pt x="7" y="3"/>
                      <a:pt x="7" y="4"/>
                    </a:cubicBezTo>
                    <a:cubicBezTo>
                      <a:pt x="7" y="4"/>
                      <a:pt x="7" y="4"/>
                      <a:pt x="7" y="4"/>
                    </a:cubicBezTo>
                    <a:cubicBezTo>
                      <a:pt x="7" y="4"/>
                      <a:pt x="5" y="3"/>
                      <a:pt x="4" y="2"/>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80"/>
              <p:cNvSpPr/>
              <p:nvPr/>
            </p:nvSpPr>
            <p:spPr bwMode="auto">
              <a:xfrm>
                <a:off x="8162" y="2841"/>
                <a:ext cx="7" cy="24"/>
              </a:xfrm>
              <a:custGeom>
                <a:gdLst>
                  <a:gd name="T0" fmla="*/ 3 w 3"/>
                  <a:gd name="T1" fmla="*/ 0 h 10"/>
                  <a:gd name="T2" fmla="*/ 1 w 3"/>
                  <a:gd name="T3" fmla="*/ 5 h 10"/>
                  <a:gd name="T4" fmla="*/ 1 w 3"/>
                  <a:gd name="T5" fmla="*/ 7 h 10"/>
                  <a:gd name="T6" fmla="*/ 2 w 3"/>
                  <a:gd name="T7" fmla="*/ 9 h 10"/>
                  <a:gd name="T8" fmla="*/ 3 w 3"/>
                  <a:gd name="T9" fmla="*/ 9 h 10"/>
                  <a:gd name="T10" fmla="*/ 2 w 3"/>
                  <a:gd name="T11" fmla="*/ 9 h 10"/>
                  <a:gd name="T12" fmla="*/ 3 w 3"/>
                  <a:gd name="T13" fmla="*/ 10 h 10"/>
                  <a:gd name="T14" fmla="*/ 3 w 3"/>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3" y="0"/>
                    </a:moveTo>
                    <a:cubicBezTo>
                      <a:pt x="2" y="2"/>
                      <a:pt x="1" y="2"/>
                      <a:pt x="1" y="5"/>
                    </a:cubicBezTo>
                    <a:cubicBezTo>
                      <a:pt x="1" y="6"/>
                      <a:pt x="0" y="6"/>
                      <a:pt x="1" y="7"/>
                    </a:cubicBezTo>
                    <a:cubicBezTo>
                      <a:pt x="1" y="8"/>
                      <a:pt x="3" y="7"/>
                      <a:pt x="2" y="9"/>
                    </a:cubicBezTo>
                    <a:cubicBezTo>
                      <a:pt x="3" y="9"/>
                      <a:pt x="3" y="9"/>
                      <a:pt x="3" y="9"/>
                    </a:cubicBezTo>
                    <a:cubicBezTo>
                      <a:pt x="2" y="9"/>
                      <a:pt x="2" y="9"/>
                      <a:pt x="2" y="9"/>
                    </a:cubicBezTo>
                    <a:cubicBezTo>
                      <a:pt x="3" y="10"/>
                      <a:pt x="3" y="10"/>
                      <a:pt x="3" y="10"/>
                    </a:cubicBezTo>
                    <a:cubicBezTo>
                      <a:pt x="3" y="6"/>
                      <a:pt x="3"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81"/>
              <p:cNvSpPr/>
              <p:nvPr/>
            </p:nvSpPr>
            <p:spPr bwMode="auto">
              <a:xfrm>
                <a:off x="7930" y="2701"/>
                <a:ext cx="57" cy="60"/>
              </a:xfrm>
              <a:custGeom>
                <a:gdLst>
                  <a:gd name="T0" fmla="*/ 2 w 24"/>
                  <a:gd name="T1" fmla="*/ 0 h 25"/>
                  <a:gd name="T2" fmla="*/ 0 w 24"/>
                  <a:gd name="T3" fmla="*/ 1 h 25"/>
                  <a:gd name="T4" fmla="*/ 8 w 24"/>
                  <a:gd name="T5" fmla="*/ 12 h 25"/>
                  <a:gd name="T6" fmla="*/ 18 w 24"/>
                  <a:gd name="T7" fmla="*/ 25 h 25"/>
                  <a:gd name="T8" fmla="*/ 20 w 24"/>
                  <a:gd name="T9" fmla="*/ 23 h 25"/>
                  <a:gd name="T10" fmla="*/ 20 w 24"/>
                  <a:gd name="T11" fmla="*/ 23 h 25"/>
                  <a:gd name="T12" fmla="*/ 21 w 24"/>
                  <a:gd name="T13" fmla="*/ 22 h 25"/>
                  <a:gd name="T14" fmla="*/ 21 w 24"/>
                  <a:gd name="T15" fmla="*/ 22 h 25"/>
                  <a:gd name="T16" fmla="*/ 22 w 24"/>
                  <a:gd name="T17" fmla="*/ 19 h 25"/>
                  <a:gd name="T18" fmla="*/ 23 w 24"/>
                  <a:gd name="T19" fmla="*/ 13 h 25"/>
                  <a:gd name="T20" fmla="*/ 22 w 24"/>
                  <a:gd name="T21" fmla="*/ 9 h 25"/>
                  <a:gd name="T22" fmla="*/ 24 w 24"/>
                  <a:gd name="T23" fmla="*/ 8 h 25"/>
                  <a:gd name="T24" fmla="*/ 19 w 24"/>
                  <a:gd name="T25" fmla="*/ 5 h 25"/>
                  <a:gd name="T26" fmla="*/ 11 w 24"/>
                  <a:gd name="T27" fmla="*/ 0 h 25"/>
                  <a:gd name="T28" fmla="*/ 8 w 24"/>
                  <a:gd name="T29" fmla="*/ 0 h 25"/>
                  <a:gd name="T30" fmla="*/ 7 w 24"/>
                  <a:gd name="T31" fmla="*/ 0 h 25"/>
                  <a:gd name="T32" fmla="*/ 4 w 24"/>
                  <a:gd name="T33" fmla="*/ 0 h 25"/>
                  <a:gd name="T34" fmla="*/ 2 w 24"/>
                  <a:gd name="T35"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5">
                    <a:moveTo>
                      <a:pt x="2" y="0"/>
                    </a:moveTo>
                    <a:cubicBezTo>
                      <a:pt x="1" y="0"/>
                      <a:pt x="0" y="0"/>
                      <a:pt x="0" y="1"/>
                    </a:cubicBezTo>
                    <a:cubicBezTo>
                      <a:pt x="5" y="2"/>
                      <a:pt x="7" y="8"/>
                      <a:pt x="8" y="12"/>
                    </a:cubicBezTo>
                    <a:cubicBezTo>
                      <a:pt x="10" y="18"/>
                      <a:pt x="14" y="21"/>
                      <a:pt x="18" y="25"/>
                    </a:cubicBezTo>
                    <a:cubicBezTo>
                      <a:pt x="19" y="24"/>
                      <a:pt x="19" y="23"/>
                      <a:pt x="20" y="23"/>
                    </a:cubicBezTo>
                    <a:cubicBezTo>
                      <a:pt x="20" y="23"/>
                      <a:pt x="20" y="23"/>
                      <a:pt x="20" y="23"/>
                    </a:cubicBezTo>
                    <a:cubicBezTo>
                      <a:pt x="20" y="23"/>
                      <a:pt x="20" y="22"/>
                      <a:pt x="21" y="22"/>
                    </a:cubicBezTo>
                    <a:cubicBezTo>
                      <a:pt x="21" y="22"/>
                      <a:pt x="21" y="22"/>
                      <a:pt x="21" y="22"/>
                    </a:cubicBezTo>
                    <a:cubicBezTo>
                      <a:pt x="21" y="20"/>
                      <a:pt x="22" y="20"/>
                      <a:pt x="22" y="19"/>
                    </a:cubicBezTo>
                    <a:cubicBezTo>
                      <a:pt x="24" y="16"/>
                      <a:pt x="23" y="16"/>
                      <a:pt x="23" y="13"/>
                    </a:cubicBezTo>
                    <a:cubicBezTo>
                      <a:pt x="22" y="12"/>
                      <a:pt x="22" y="10"/>
                      <a:pt x="22" y="9"/>
                    </a:cubicBezTo>
                    <a:cubicBezTo>
                      <a:pt x="22" y="9"/>
                      <a:pt x="24" y="8"/>
                      <a:pt x="24" y="8"/>
                    </a:cubicBezTo>
                    <a:cubicBezTo>
                      <a:pt x="23" y="7"/>
                      <a:pt x="20" y="6"/>
                      <a:pt x="19" y="5"/>
                    </a:cubicBezTo>
                    <a:cubicBezTo>
                      <a:pt x="17" y="3"/>
                      <a:pt x="14" y="2"/>
                      <a:pt x="11" y="0"/>
                    </a:cubicBezTo>
                    <a:cubicBezTo>
                      <a:pt x="11" y="0"/>
                      <a:pt x="9" y="0"/>
                      <a:pt x="8" y="0"/>
                    </a:cubicBezTo>
                    <a:cubicBezTo>
                      <a:pt x="7" y="0"/>
                      <a:pt x="7" y="0"/>
                      <a:pt x="7" y="0"/>
                    </a:cubicBezTo>
                    <a:cubicBezTo>
                      <a:pt x="6" y="0"/>
                      <a:pt x="5" y="0"/>
                      <a:pt x="4"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5" name="Freeform 82"/>
              <p:cNvSpPr/>
              <p:nvPr/>
            </p:nvSpPr>
            <p:spPr bwMode="auto">
              <a:xfrm>
                <a:off x="7999" y="2739"/>
                <a:ext cx="14" cy="26"/>
              </a:xfrm>
              <a:custGeom>
                <a:gdLst>
                  <a:gd name="T0" fmla="*/ 5 w 6"/>
                  <a:gd name="T1" fmla="*/ 0 h 11"/>
                  <a:gd name="T2" fmla="*/ 5 w 6"/>
                  <a:gd name="T3" fmla="*/ 0 h 11"/>
                  <a:gd name="T4" fmla="*/ 3 w 6"/>
                  <a:gd name="T5" fmla="*/ 11 h 11"/>
                  <a:gd name="T6" fmla="*/ 6 w 6"/>
                  <a:gd name="T7" fmla="*/ 2 h 11"/>
                  <a:gd name="T8" fmla="*/ 5 w 6"/>
                  <a:gd name="T9" fmla="*/ 0 h 11"/>
                </a:gdLst>
                <a:cxnLst>
                  <a:cxn ang="0">
                    <a:pos x="T0" y="T1"/>
                  </a:cxn>
                  <a:cxn ang="0">
                    <a:pos x="T2" y="T3"/>
                  </a:cxn>
                  <a:cxn ang="0">
                    <a:pos x="T4" y="T5"/>
                  </a:cxn>
                  <a:cxn ang="0">
                    <a:pos x="T6" y="T7"/>
                  </a:cxn>
                  <a:cxn ang="0">
                    <a:pos x="T8" y="T9"/>
                  </a:cxn>
                </a:cxnLst>
                <a:rect l="0" t="0" r="r" b="b"/>
                <a:pathLst>
                  <a:path w="6" h="11">
                    <a:moveTo>
                      <a:pt x="5" y="0"/>
                    </a:moveTo>
                    <a:cubicBezTo>
                      <a:pt x="5" y="0"/>
                      <a:pt x="5" y="0"/>
                      <a:pt x="5" y="0"/>
                    </a:cubicBezTo>
                    <a:cubicBezTo>
                      <a:pt x="0" y="2"/>
                      <a:pt x="2" y="8"/>
                      <a:pt x="3" y="11"/>
                    </a:cubicBezTo>
                    <a:cubicBezTo>
                      <a:pt x="5" y="10"/>
                      <a:pt x="5" y="4"/>
                      <a:pt x="6" y="2"/>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83"/>
              <p:cNvSpPr/>
              <p:nvPr/>
            </p:nvSpPr>
            <p:spPr bwMode="auto">
              <a:xfrm>
                <a:off x="8096" y="2675"/>
                <a:ext cx="21" cy="26"/>
              </a:xfrm>
              <a:custGeom>
                <a:gdLst>
                  <a:gd name="T0" fmla="*/ 4 w 9"/>
                  <a:gd name="T1" fmla="*/ 0 h 11"/>
                  <a:gd name="T2" fmla="*/ 3 w 9"/>
                  <a:gd name="T3" fmla="*/ 4 h 11"/>
                  <a:gd name="T4" fmla="*/ 1 w 9"/>
                  <a:gd name="T5" fmla="*/ 8 h 11"/>
                  <a:gd name="T6" fmla="*/ 4 w 9"/>
                  <a:gd name="T7" fmla="*/ 11 h 11"/>
                  <a:gd name="T8" fmla="*/ 8 w 9"/>
                  <a:gd name="T9" fmla="*/ 3 h 11"/>
                  <a:gd name="T10" fmla="*/ 7 w 9"/>
                  <a:gd name="T11" fmla="*/ 3 h 11"/>
                  <a:gd name="T12" fmla="*/ 6 w 9"/>
                  <a:gd name="T13" fmla="*/ 3 h 11"/>
                  <a:gd name="T14" fmla="*/ 4 w 9"/>
                  <a:gd name="T15" fmla="*/ 0 h 1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4" y="0"/>
                    </a:moveTo>
                    <a:cubicBezTo>
                      <a:pt x="3" y="0"/>
                      <a:pt x="3" y="1"/>
                      <a:pt x="3" y="4"/>
                    </a:cubicBezTo>
                    <a:cubicBezTo>
                      <a:pt x="3" y="6"/>
                      <a:pt x="2" y="6"/>
                      <a:pt x="1" y="8"/>
                    </a:cubicBezTo>
                    <a:cubicBezTo>
                      <a:pt x="0" y="9"/>
                      <a:pt x="3" y="10"/>
                      <a:pt x="4" y="11"/>
                    </a:cubicBezTo>
                    <a:cubicBezTo>
                      <a:pt x="5" y="9"/>
                      <a:pt x="9" y="6"/>
                      <a:pt x="8" y="3"/>
                    </a:cubicBezTo>
                    <a:cubicBezTo>
                      <a:pt x="8" y="3"/>
                      <a:pt x="7" y="3"/>
                      <a:pt x="7" y="3"/>
                    </a:cubicBezTo>
                    <a:cubicBezTo>
                      <a:pt x="7" y="3"/>
                      <a:pt x="6" y="3"/>
                      <a:pt x="6" y="3"/>
                    </a:cubicBezTo>
                    <a:cubicBezTo>
                      <a:pt x="5"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Freeform 84"/>
              <p:cNvSpPr/>
              <p:nvPr/>
            </p:nvSpPr>
            <p:spPr bwMode="auto">
              <a:xfrm>
                <a:off x="7956" y="3040"/>
                <a:ext cx="26" cy="9"/>
              </a:xfrm>
              <a:custGeom>
                <a:gdLst>
                  <a:gd name="T0" fmla="*/ 3 w 11"/>
                  <a:gd name="T1" fmla="*/ 0 h 4"/>
                  <a:gd name="T2" fmla="*/ 1 w 11"/>
                  <a:gd name="T3" fmla="*/ 1 h 4"/>
                  <a:gd name="T4" fmla="*/ 0 w 11"/>
                  <a:gd name="T5" fmla="*/ 1 h 4"/>
                  <a:gd name="T6" fmla="*/ 7 w 11"/>
                  <a:gd name="T7" fmla="*/ 4 h 4"/>
                  <a:gd name="T8" fmla="*/ 8 w 11"/>
                  <a:gd name="T9" fmla="*/ 1 h 4"/>
                  <a:gd name="T10" fmla="*/ 8 w 11"/>
                  <a:gd name="T11" fmla="*/ 1 h 4"/>
                  <a:gd name="T12" fmla="*/ 7 w 11"/>
                  <a:gd name="T13" fmla="*/ 1 h 4"/>
                  <a:gd name="T14" fmla="*/ 6 w 11"/>
                  <a:gd name="T15" fmla="*/ 1 h 4"/>
                  <a:gd name="T16" fmla="*/ 6 w 11"/>
                  <a:gd name="T17" fmla="*/ 1 h 4"/>
                  <a:gd name="T18" fmla="*/ 5 w 11"/>
                  <a:gd name="T19" fmla="*/ 0 h 4"/>
                  <a:gd name="T20" fmla="*/ 3 w 11"/>
                  <a:gd name="T21"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4">
                    <a:moveTo>
                      <a:pt x="3" y="0"/>
                    </a:moveTo>
                    <a:cubicBezTo>
                      <a:pt x="3" y="0"/>
                      <a:pt x="2" y="0"/>
                      <a:pt x="1" y="1"/>
                    </a:cubicBezTo>
                    <a:cubicBezTo>
                      <a:pt x="1" y="1"/>
                      <a:pt x="0" y="1"/>
                      <a:pt x="0" y="1"/>
                    </a:cubicBezTo>
                    <a:cubicBezTo>
                      <a:pt x="0" y="3"/>
                      <a:pt x="6" y="4"/>
                      <a:pt x="7" y="4"/>
                    </a:cubicBezTo>
                    <a:cubicBezTo>
                      <a:pt x="10" y="3"/>
                      <a:pt x="11" y="2"/>
                      <a:pt x="8" y="1"/>
                    </a:cubicBezTo>
                    <a:cubicBezTo>
                      <a:pt x="8" y="1"/>
                      <a:pt x="8" y="1"/>
                      <a:pt x="8" y="1"/>
                    </a:cubicBezTo>
                    <a:cubicBezTo>
                      <a:pt x="8" y="1"/>
                      <a:pt x="7" y="1"/>
                      <a:pt x="7" y="1"/>
                    </a:cubicBezTo>
                    <a:cubicBezTo>
                      <a:pt x="7" y="1"/>
                      <a:pt x="6" y="1"/>
                      <a:pt x="6" y="1"/>
                    </a:cubicBezTo>
                    <a:cubicBezTo>
                      <a:pt x="6" y="1"/>
                      <a:pt x="6" y="1"/>
                      <a:pt x="6" y="1"/>
                    </a:cubicBezTo>
                    <a:cubicBezTo>
                      <a:pt x="6" y="1"/>
                      <a:pt x="6" y="0"/>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85"/>
              <p:cNvSpPr/>
              <p:nvPr/>
            </p:nvSpPr>
            <p:spPr bwMode="auto">
              <a:xfrm>
                <a:off x="8568" y="2966"/>
                <a:ext cx="8" cy="14"/>
              </a:xfrm>
              <a:custGeom>
                <a:gdLst>
                  <a:gd name="T0" fmla="*/ 3 w 3"/>
                  <a:gd name="T1" fmla="*/ 0 h 6"/>
                  <a:gd name="T2" fmla="*/ 3 w 3"/>
                  <a:gd name="T3" fmla="*/ 0 h 6"/>
                  <a:gd name="T4" fmla="*/ 2 w 3"/>
                  <a:gd name="T5" fmla="*/ 1 h 6"/>
                  <a:gd name="T6" fmla="*/ 0 w 3"/>
                  <a:gd name="T7" fmla="*/ 5 h 6"/>
                  <a:gd name="T8" fmla="*/ 1 w 3"/>
                  <a:gd name="T9" fmla="*/ 6 h 6"/>
                  <a:gd name="T10" fmla="*/ 1 w 3"/>
                  <a:gd name="T11" fmla="*/ 6 h 6"/>
                  <a:gd name="T12" fmla="*/ 3 w 3"/>
                  <a:gd name="T13" fmla="*/ 2 h 6"/>
                  <a:gd name="T14" fmla="*/ 3 w 3"/>
                  <a:gd name="T15" fmla="*/ 0 h 6"/>
                  <a:gd name="T16" fmla="*/ 3 w 3"/>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3" y="0"/>
                    </a:moveTo>
                    <a:cubicBezTo>
                      <a:pt x="3" y="0"/>
                      <a:pt x="3" y="0"/>
                      <a:pt x="3" y="0"/>
                    </a:cubicBezTo>
                    <a:cubicBezTo>
                      <a:pt x="3" y="0"/>
                      <a:pt x="2" y="1"/>
                      <a:pt x="2" y="1"/>
                    </a:cubicBezTo>
                    <a:cubicBezTo>
                      <a:pt x="1" y="2"/>
                      <a:pt x="0" y="4"/>
                      <a:pt x="0" y="5"/>
                    </a:cubicBezTo>
                    <a:cubicBezTo>
                      <a:pt x="0" y="5"/>
                      <a:pt x="1" y="6"/>
                      <a:pt x="1" y="6"/>
                    </a:cubicBezTo>
                    <a:cubicBezTo>
                      <a:pt x="1" y="6"/>
                      <a:pt x="1" y="6"/>
                      <a:pt x="1" y="6"/>
                    </a:cubicBezTo>
                    <a:cubicBezTo>
                      <a:pt x="2" y="5"/>
                      <a:pt x="3" y="3"/>
                      <a:pt x="3" y="2"/>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86"/>
              <p:cNvSpPr/>
              <p:nvPr/>
            </p:nvSpPr>
            <p:spPr bwMode="auto">
              <a:xfrm>
                <a:off x="8564" y="2983"/>
                <a:ext cx="2" cy="5"/>
              </a:xfrm>
              <a:custGeom>
                <a:gdLst>
                  <a:gd name="T0" fmla="*/ 1 w 1"/>
                  <a:gd name="T1" fmla="*/ 0 h 2"/>
                  <a:gd name="T2" fmla="*/ 1 w 1"/>
                  <a:gd name="T3" fmla="*/ 1 h 2"/>
                  <a:gd name="T4" fmla="*/ 0 w 1"/>
                  <a:gd name="T5" fmla="*/ 2 h 2"/>
                  <a:gd name="T6" fmla="*/ 1 w 1"/>
                  <a:gd name="T7" fmla="*/ 1 h 2"/>
                  <a:gd name="T8" fmla="*/ 1 w 1"/>
                  <a:gd name="T9" fmla="*/ 0 h 2"/>
                </a:gdLst>
                <a:cxnLst>
                  <a:cxn ang="0">
                    <a:pos x="T0" y="T1"/>
                  </a:cxn>
                  <a:cxn ang="0">
                    <a:pos x="T2" y="T3"/>
                  </a:cxn>
                  <a:cxn ang="0">
                    <a:pos x="T4" y="T5"/>
                  </a:cxn>
                  <a:cxn ang="0">
                    <a:pos x="T6" y="T7"/>
                  </a:cxn>
                  <a:cxn ang="0">
                    <a:pos x="T8" y="T9"/>
                  </a:cxn>
                </a:cxnLst>
                <a:rect l="0" t="0" r="r" b="b"/>
                <a:pathLst>
                  <a:path w="1" h="2">
                    <a:moveTo>
                      <a:pt x="1" y="0"/>
                    </a:moveTo>
                    <a:cubicBezTo>
                      <a:pt x="1" y="1"/>
                      <a:pt x="1" y="1"/>
                      <a:pt x="1" y="1"/>
                    </a:cubicBezTo>
                    <a:cubicBezTo>
                      <a:pt x="0" y="1"/>
                      <a:pt x="0" y="1"/>
                      <a:pt x="0" y="2"/>
                    </a:cubicBezTo>
                    <a:cubicBezTo>
                      <a:pt x="0" y="2"/>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87"/>
              <p:cNvSpPr/>
              <p:nvPr/>
            </p:nvSpPr>
            <p:spPr bwMode="auto">
              <a:xfrm>
                <a:off x="3665" y="-606"/>
                <a:ext cx="24" cy="19"/>
              </a:xfrm>
              <a:custGeom>
                <a:gdLst>
                  <a:gd name="T0" fmla="*/ 3 w 10"/>
                  <a:gd name="T1" fmla="*/ 0 h 8"/>
                  <a:gd name="T2" fmla="*/ 2 w 10"/>
                  <a:gd name="T3" fmla="*/ 0 h 8"/>
                  <a:gd name="T4" fmla="*/ 1 w 10"/>
                  <a:gd name="T5" fmla="*/ 1 h 8"/>
                  <a:gd name="T6" fmla="*/ 3 w 10"/>
                  <a:gd name="T7" fmla="*/ 4 h 8"/>
                  <a:gd name="T8" fmla="*/ 3 w 10"/>
                  <a:gd name="T9" fmla="*/ 4 h 8"/>
                  <a:gd name="T10" fmla="*/ 1 w 10"/>
                  <a:gd name="T11" fmla="*/ 4 h 8"/>
                  <a:gd name="T12" fmla="*/ 0 w 10"/>
                  <a:gd name="T13" fmla="*/ 4 h 8"/>
                  <a:gd name="T14" fmla="*/ 0 w 10"/>
                  <a:gd name="T15" fmla="*/ 8 h 8"/>
                  <a:gd name="T16" fmla="*/ 0 w 10"/>
                  <a:gd name="T17" fmla="*/ 8 h 8"/>
                  <a:gd name="T18" fmla="*/ 1 w 10"/>
                  <a:gd name="T19" fmla="*/ 8 h 8"/>
                  <a:gd name="T20" fmla="*/ 10 w 10"/>
                  <a:gd name="T21" fmla="*/ 6 h 8"/>
                  <a:gd name="T22" fmla="*/ 9 w 10"/>
                  <a:gd name="T23" fmla="*/ 6 h 8"/>
                  <a:gd name="T24" fmla="*/ 9 w 10"/>
                  <a:gd name="T25" fmla="*/ 2 h 8"/>
                  <a:gd name="T26" fmla="*/ 7 w 10"/>
                  <a:gd name="T27" fmla="*/ 2 h 8"/>
                  <a:gd name="T28" fmla="*/ 3 w 10"/>
                  <a:gd name="T2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8">
                    <a:moveTo>
                      <a:pt x="3" y="0"/>
                    </a:moveTo>
                    <a:cubicBezTo>
                      <a:pt x="3" y="0"/>
                      <a:pt x="3" y="0"/>
                      <a:pt x="2" y="0"/>
                    </a:cubicBezTo>
                    <a:cubicBezTo>
                      <a:pt x="2" y="0"/>
                      <a:pt x="1" y="1"/>
                      <a:pt x="1" y="1"/>
                    </a:cubicBezTo>
                    <a:cubicBezTo>
                      <a:pt x="1" y="2"/>
                      <a:pt x="2" y="3"/>
                      <a:pt x="3" y="4"/>
                    </a:cubicBezTo>
                    <a:cubicBezTo>
                      <a:pt x="3" y="4"/>
                      <a:pt x="3" y="4"/>
                      <a:pt x="3" y="4"/>
                    </a:cubicBezTo>
                    <a:cubicBezTo>
                      <a:pt x="2" y="4"/>
                      <a:pt x="1" y="4"/>
                      <a:pt x="1" y="4"/>
                    </a:cubicBezTo>
                    <a:cubicBezTo>
                      <a:pt x="1" y="4"/>
                      <a:pt x="0" y="4"/>
                      <a:pt x="0" y="4"/>
                    </a:cubicBezTo>
                    <a:cubicBezTo>
                      <a:pt x="0" y="8"/>
                      <a:pt x="0" y="8"/>
                      <a:pt x="0" y="8"/>
                    </a:cubicBezTo>
                    <a:cubicBezTo>
                      <a:pt x="0" y="8"/>
                      <a:pt x="0" y="8"/>
                      <a:pt x="0" y="8"/>
                    </a:cubicBezTo>
                    <a:cubicBezTo>
                      <a:pt x="1" y="8"/>
                      <a:pt x="1" y="8"/>
                      <a:pt x="1" y="8"/>
                    </a:cubicBezTo>
                    <a:cubicBezTo>
                      <a:pt x="4" y="7"/>
                      <a:pt x="7" y="7"/>
                      <a:pt x="10" y="6"/>
                    </a:cubicBezTo>
                    <a:cubicBezTo>
                      <a:pt x="10" y="6"/>
                      <a:pt x="9" y="6"/>
                      <a:pt x="9" y="6"/>
                    </a:cubicBezTo>
                    <a:cubicBezTo>
                      <a:pt x="8" y="6"/>
                      <a:pt x="10" y="3"/>
                      <a:pt x="9" y="2"/>
                    </a:cubicBezTo>
                    <a:cubicBezTo>
                      <a:pt x="7" y="2"/>
                      <a:pt x="7" y="2"/>
                      <a:pt x="7" y="2"/>
                    </a:cubicBezTo>
                    <a:cubicBezTo>
                      <a:pt x="5"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88"/>
              <p:cNvSpPr/>
              <p:nvPr/>
            </p:nvSpPr>
            <p:spPr bwMode="auto">
              <a:xfrm>
                <a:off x="7006" y="3030"/>
                <a:ext cx="3" cy="5"/>
              </a:xfrm>
              <a:custGeom>
                <a:gdLst>
                  <a:gd name="T0" fmla="*/ 1 w 1"/>
                  <a:gd name="T1" fmla="*/ 0 h 2"/>
                  <a:gd name="T2" fmla="*/ 0 w 1"/>
                  <a:gd name="T3" fmla="*/ 2 h 2"/>
                  <a:gd name="T4" fmla="*/ 0 w 1"/>
                  <a:gd name="T5" fmla="*/ 2 h 2"/>
                  <a:gd name="T6" fmla="*/ 1 w 1"/>
                  <a:gd name="T7" fmla="*/ 0 h 2"/>
                </a:gdLst>
                <a:cxnLst>
                  <a:cxn ang="0">
                    <a:pos x="T0" y="T1"/>
                  </a:cxn>
                  <a:cxn ang="0">
                    <a:pos x="T2" y="T3"/>
                  </a:cxn>
                  <a:cxn ang="0">
                    <a:pos x="T4" y="T5"/>
                  </a:cxn>
                  <a:cxn ang="0">
                    <a:pos x="T6" y="T7"/>
                  </a:cxn>
                </a:cxnLst>
                <a:rect l="0" t="0" r="r" b="b"/>
                <a:pathLst>
                  <a:path w="1" h="2">
                    <a:moveTo>
                      <a:pt x="1" y="0"/>
                    </a:moveTo>
                    <a:cubicBezTo>
                      <a:pt x="1" y="1"/>
                      <a:pt x="0" y="1"/>
                      <a:pt x="0" y="2"/>
                    </a:cubicBezTo>
                    <a:cubicBezTo>
                      <a:pt x="0" y="2"/>
                      <a:pt x="0" y="2"/>
                      <a:pt x="0" y="2"/>
                    </a:cubicBezTo>
                    <a:cubicBezTo>
                      <a:pt x="0"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89"/>
              <p:cNvSpPr/>
              <p:nvPr/>
            </p:nvSpPr>
            <p:spPr bwMode="auto">
              <a:xfrm>
                <a:off x="7855" y="3110"/>
                <a:ext cx="4" cy="3"/>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1" y="0"/>
                      <a:pt x="1" y="0"/>
                      <a:pt x="2" y="1"/>
                    </a:cubicBezTo>
                    <a:cubicBezTo>
                      <a:pt x="2" y="1"/>
                      <a:pt x="2" y="1"/>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90"/>
              <p:cNvSpPr/>
              <p:nvPr/>
            </p:nvSpPr>
            <p:spPr bwMode="auto">
              <a:xfrm>
                <a:off x="7699" y="3070"/>
                <a:ext cx="5" cy="5"/>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1"/>
                      <a:pt x="0" y="1"/>
                      <a:pt x="0" y="2"/>
                    </a:cubicBezTo>
                    <a:cubicBezTo>
                      <a:pt x="1"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Freeform 91"/>
              <p:cNvSpPr/>
              <p:nvPr/>
            </p:nvSpPr>
            <p:spPr bwMode="auto">
              <a:xfrm>
                <a:off x="6999" y="3021"/>
                <a:ext cx="15" cy="9"/>
              </a:xfrm>
              <a:custGeom>
                <a:gdLst>
                  <a:gd name="T0" fmla="*/ 4 w 6"/>
                  <a:gd name="T1" fmla="*/ 0 h 4"/>
                  <a:gd name="T2" fmla="*/ 2 w 6"/>
                  <a:gd name="T3" fmla="*/ 1 h 4"/>
                  <a:gd name="T4" fmla="*/ 0 w 6"/>
                  <a:gd name="T5" fmla="*/ 1 h 4"/>
                  <a:gd name="T6" fmla="*/ 3 w 6"/>
                  <a:gd name="T7" fmla="*/ 4 h 4"/>
                  <a:gd name="T8" fmla="*/ 4 w 6"/>
                  <a:gd name="T9" fmla="*/ 0 h 4"/>
                </a:gdLst>
                <a:cxnLst>
                  <a:cxn ang="0">
                    <a:pos x="T0" y="T1"/>
                  </a:cxn>
                  <a:cxn ang="0">
                    <a:pos x="T2" y="T3"/>
                  </a:cxn>
                  <a:cxn ang="0">
                    <a:pos x="T4" y="T5"/>
                  </a:cxn>
                  <a:cxn ang="0">
                    <a:pos x="T6" y="T7"/>
                  </a:cxn>
                  <a:cxn ang="0">
                    <a:pos x="T8" y="T9"/>
                  </a:cxn>
                </a:cxnLst>
                <a:rect l="0" t="0" r="r" b="b"/>
                <a:pathLst>
                  <a:path w="6" h="4">
                    <a:moveTo>
                      <a:pt x="4" y="0"/>
                    </a:moveTo>
                    <a:cubicBezTo>
                      <a:pt x="3" y="1"/>
                      <a:pt x="2" y="1"/>
                      <a:pt x="2" y="1"/>
                    </a:cubicBezTo>
                    <a:cubicBezTo>
                      <a:pt x="1" y="1"/>
                      <a:pt x="1" y="1"/>
                      <a:pt x="0" y="1"/>
                    </a:cubicBezTo>
                    <a:cubicBezTo>
                      <a:pt x="0" y="3"/>
                      <a:pt x="2" y="4"/>
                      <a:pt x="3" y="4"/>
                    </a:cubicBezTo>
                    <a:cubicBezTo>
                      <a:pt x="4"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92"/>
              <p:cNvSpPr/>
              <p:nvPr/>
            </p:nvSpPr>
            <p:spPr bwMode="auto">
              <a:xfrm>
                <a:off x="7796" y="3011"/>
                <a:ext cx="9" cy="3"/>
              </a:xfrm>
              <a:custGeom>
                <a:gdLst>
                  <a:gd name="T0" fmla="*/ 3 w 4"/>
                  <a:gd name="T1" fmla="*/ 0 h 1"/>
                  <a:gd name="T2" fmla="*/ 0 w 4"/>
                  <a:gd name="T3" fmla="*/ 0 h 1"/>
                  <a:gd name="T4" fmla="*/ 2 w 4"/>
                  <a:gd name="T5" fmla="*/ 1 h 1"/>
                  <a:gd name="T6" fmla="*/ 4 w 4"/>
                  <a:gd name="T7" fmla="*/ 0 h 1"/>
                  <a:gd name="T8" fmla="*/ 3 w 4"/>
                  <a:gd name="T9" fmla="*/ 0 h 1"/>
                </a:gdLst>
                <a:cxnLst>
                  <a:cxn ang="0">
                    <a:pos x="T0" y="T1"/>
                  </a:cxn>
                  <a:cxn ang="0">
                    <a:pos x="T2" y="T3"/>
                  </a:cxn>
                  <a:cxn ang="0">
                    <a:pos x="T4" y="T5"/>
                  </a:cxn>
                  <a:cxn ang="0">
                    <a:pos x="T6" y="T7"/>
                  </a:cxn>
                  <a:cxn ang="0">
                    <a:pos x="T8" y="T9"/>
                  </a:cxn>
                </a:cxnLst>
                <a:rect l="0" t="0" r="r" b="b"/>
                <a:pathLst>
                  <a:path w="4" h="1">
                    <a:moveTo>
                      <a:pt x="3" y="0"/>
                    </a:moveTo>
                    <a:cubicBezTo>
                      <a:pt x="2" y="0"/>
                      <a:pt x="1" y="0"/>
                      <a:pt x="0" y="0"/>
                    </a:cubicBezTo>
                    <a:cubicBezTo>
                      <a:pt x="1" y="1"/>
                      <a:pt x="1" y="1"/>
                      <a:pt x="2" y="1"/>
                    </a:cubicBezTo>
                    <a:cubicBezTo>
                      <a:pt x="3" y="1"/>
                      <a:pt x="3"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93"/>
              <p:cNvSpPr/>
              <p:nvPr/>
            </p:nvSpPr>
            <p:spPr bwMode="auto">
              <a:xfrm>
                <a:off x="7784" y="2983"/>
                <a:ext cx="9" cy="9"/>
              </a:xfrm>
              <a:custGeom>
                <a:gdLst>
                  <a:gd name="T0" fmla="*/ 3 w 4"/>
                  <a:gd name="T1" fmla="*/ 0 h 4"/>
                  <a:gd name="T2" fmla="*/ 1 w 4"/>
                  <a:gd name="T3" fmla="*/ 1 h 4"/>
                  <a:gd name="T4" fmla="*/ 0 w 4"/>
                  <a:gd name="T5" fmla="*/ 4 h 4"/>
                  <a:gd name="T6" fmla="*/ 4 w 4"/>
                  <a:gd name="T7" fmla="*/ 2 h 4"/>
                  <a:gd name="T8" fmla="*/ 3 w 4"/>
                  <a:gd name="T9" fmla="*/ 0 h 4"/>
                </a:gdLst>
                <a:cxnLst>
                  <a:cxn ang="0">
                    <a:pos x="T0" y="T1"/>
                  </a:cxn>
                  <a:cxn ang="0">
                    <a:pos x="T2" y="T3"/>
                  </a:cxn>
                  <a:cxn ang="0">
                    <a:pos x="T4" y="T5"/>
                  </a:cxn>
                  <a:cxn ang="0">
                    <a:pos x="T6" y="T7"/>
                  </a:cxn>
                  <a:cxn ang="0">
                    <a:pos x="T8" y="T9"/>
                  </a:cxn>
                </a:cxnLst>
                <a:rect l="0" t="0" r="r" b="b"/>
                <a:pathLst>
                  <a:path w="4" h="4">
                    <a:moveTo>
                      <a:pt x="3" y="0"/>
                    </a:moveTo>
                    <a:cubicBezTo>
                      <a:pt x="3" y="0"/>
                      <a:pt x="2" y="0"/>
                      <a:pt x="1" y="1"/>
                    </a:cubicBezTo>
                    <a:cubicBezTo>
                      <a:pt x="0" y="2"/>
                      <a:pt x="0" y="3"/>
                      <a:pt x="0" y="4"/>
                    </a:cubicBezTo>
                    <a:cubicBezTo>
                      <a:pt x="1" y="4"/>
                      <a:pt x="3" y="3"/>
                      <a:pt x="4" y="2"/>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Freeform 94"/>
              <p:cNvSpPr/>
              <p:nvPr/>
            </p:nvSpPr>
            <p:spPr bwMode="auto">
              <a:xfrm>
                <a:off x="7200" y="3184"/>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1"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95"/>
              <p:cNvSpPr/>
              <p:nvPr/>
            </p:nvSpPr>
            <p:spPr bwMode="auto">
              <a:xfrm>
                <a:off x="7524" y="3189"/>
                <a:ext cx="5" cy="16"/>
              </a:xfrm>
              <a:custGeom>
                <a:gdLst>
                  <a:gd name="T0" fmla="*/ 1 w 2"/>
                  <a:gd name="T1" fmla="*/ 0 h 7"/>
                  <a:gd name="T2" fmla="*/ 0 w 2"/>
                  <a:gd name="T3" fmla="*/ 5 h 7"/>
                  <a:gd name="T4" fmla="*/ 2 w 2"/>
                  <a:gd name="T5" fmla="*/ 7 h 7"/>
                  <a:gd name="T6" fmla="*/ 1 w 2"/>
                  <a:gd name="T7" fmla="*/ 0 h 7"/>
                </a:gdLst>
                <a:cxnLst>
                  <a:cxn ang="0">
                    <a:pos x="T0" y="T1"/>
                  </a:cxn>
                  <a:cxn ang="0">
                    <a:pos x="T2" y="T3"/>
                  </a:cxn>
                  <a:cxn ang="0">
                    <a:pos x="T4" y="T5"/>
                  </a:cxn>
                  <a:cxn ang="0">
                    <a:pos x="T6" y="T7"/>
                  </a:cxn>
                </a:cxnLst>
                <a:rect l="0" t="0" r="r" b="b"/>
                <a:pathLst>
                  <a:path w="2" h="7">
                    <a:moveTo>
                      <a:pt x="1" y="0"/>
                    </a:moveTo>
                    <a:cubicBezTo>
                      <a:pt x="0" y="1"/>
                      <a:pt x="1" y="3"/>
                      <a:pt x="0" y="5"/>
                    </a:cubicBezTo>
                    <a:cubicBezTo>
                      <a:pt x="1" y="7"/>
                      <a:pt x="1" y="7"/>
                      <a:pt x="2" y="7"/>
                    </a:cubicBezTo>
                    <a:cubicBezTo>
                      <a:pt x="2" y="7"/>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96"/>
              <p:cNvSpPr/>
              <p:nvPr/>
            </p:nvSpPr>
            <p:spPr bwMode="auto">
              <a:xfrm>
                <a:off x="7843" y="3103"/>
                <a:ext cx="9" cy="3"/>
              </a:xfrm>
              <a:custGeom>
                <a:gdLst>
                  <a:gd name="T0" fmla="*/ 0 w 4"/>
                  <a:gd name="T1" fmla="*/ 0 h 1"/>
                  <a:gd name="T2" fmla="*/ 3 w 4"/>
                  <a:gd name="T3" fmla="*/ 1 h 1"/>
                  <a:gd name="T4" fmla="*/ 4 w 4"/>
                  <a:gd name="T5" fmla="*/ 0 h 1"/>
                  <a:gd name="T6" fmla="*/ 0 w 4"/>
                  <a:gd name="T7" fmla="*/ 0 h 1"/>
                </a:gdLst>
                <a:cxnLst>
                  <a:cxn ang="0">
                    <a:pos x="T0" y="T1"/>
                  </a:cxn>
                  <a:cxn ang="0">
                    <a:pos x="T2" y="T3"/>
                  </a:cxn>
                  <a:cxn ang="0">
                    <a:pos x="T4" y="T5"/>
                  </a:cxn>
                  <a:cxn ang="0">
                    <a:pos x="T6" y="T7"/>
                  </a:cxn>
                </a:cxnLst>
                <a:rect l="0" t="0" r="r" b="b"/>
                <a:pathLst>
                  <a:path w="4" h="1">
                    <a:moveTo>
                      <a:pt x="0" y="0"/>
                    </a:moveTo>
                    <a:cubicBezTo>
                      <a:pt x="1" y="0"/>
                      <a:pt x="2" y="1"/>
                      <a:pt x="3" y="1"/>
                    </a:cubicBezTo>
                    <a:cubicBezTo>
                      <a:pt x="3" y="1"/>
                      <a:pt x="4" y="1"/>
                      <a:pt x="4" y="0"/>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Freeform 97"/>
              <p:cNvSpPr/>
              <p:nvPr/>
            </p:nvSpPr>
            <p:spPr bwMode="auto">
              <a:xfrm>
                <a:off x="5154" y="2368"/>
                <a:ext cx="14" cy="24"/>
              </a:xfrm>
              <a:custGeom>
                <a:gdLst>
                  <a:gd name="T0" fmla="*/ 5 w 6"/>
                  <a:gd name="T1" fmla="*/ 0 h 10"/>
                  <a:gd name="T2" fmla="*/ 0 w 6"/>
                  <a:gd name="T3" fmla="*/ 10 h 10"/>
                  <a:gd name="T4" fmla="*/ 6 w 6"/>
                  <a:gd name="T5" fmla="*/ 4 h 10"/>
                  <a:gd name="T6" fmla="*/ 5 w 6"/>
                  <a:gd name="T7" fmla="*/ 0 h 10"/>
                </a:gdLst>
                <a:cxnLst>
                  <a:cxn ang="0">
                    <a:pos x="T0" y="T1"/>
                  </a:cxn>
                  <a:cxn ang="0">
                    <a:pos x="T2" y="T3"/>
                  </a:cxn>
                  <a:cxn ang="0">
                    <a:pos x="T4" y="T5"/>
                  </a:cxn>
                  <a:cxn ang="0">
                    <a:pos x="T6" y="T7"/>
                  </a:cxn>
                </a:cxnLst>
                <a:rect l="0" t="0" r="r" b="b"/>
                <a:pathLst>
                  <a:path w="6" h="10">
                    <a:moveTo>
                      <a:pt x="5" y="0"/>
                    </a:moveTo>
                    <a:cubicBezTo>
                      <a:pt x="3" y="3"/>
                      <a:pt x="2" y="7"/>
                      <a:pt x="0" y="10"/>
                    </a:cubicBezTo>
                    <a:cubicBezTo>
                      <a:pt x="3" y="8"/>
                      <a:pt x="3" y="5"/>
                      <a:pt x="6" y="4"/>
                    </a:cubicBezTo>
                    <a:cubicBezTo>
                      <a:pt x="6" y="2"/>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98"/>
              <p:cNvSpPr/>
              <p:nvPr/>
            </p:nvSpPr>
            <p:spPr bwMode="auto">
              <a:xfrm>
                <a:off x="8299" y="1673"/>
                <a:ext cx="9" cy="9"/>
              </a:xfrm>
              <a:custGeom>
                <a:gdLst>
                  <a:gd name="T0" fmla="*/ 4 w 4"/>
                  <a:gd name="T1" fmla="*/ 0 h 4"/>
                  <a:gd name="T2" fmla="*/ 0 w 4"/>
                  <a:gd name="T3" fmla="*/ 1 h 4"/>
                  <a:gd name="T4" fmla="*/ 2 w 4"/>
                  <a:gd name="T5" fmla="*/ 4 h 4"/>
                  <a:gd name="T6" fmla="*/ 2 w 4"/>
                  <a:gd name="T7" fmla="*/ 4 h 4"/>
                  <a:gd name="T8" fmla="*/ 4 w 4"/>
                  <a:gd name="T9" fmla="*/ 0 h 4"/>
                  <a:gd name="T10" fmla="*/ 4 w 4"/>
                  <a:gd name="T11" fmla="*/ 0 h 4"/>
                </a:gdLst>
                <a:cxnLst>
                  <a:cxn ang="0">
                    <a:pos x="T0" y="T1"/>
                  </a:cxn>
                  <a:cxn ang="0">
                    <a:pos x="T2" y="T3"/>
                  </a:cxn>
                  <a:cxn ang="0">
                    <a:pos x="T4" y="T5"/>
                  </a:cxn>
                  <a:cxn ang="0">
                    <a:pos x="T6" y="T7"/>
                  </a:cxn>
                  <a:cxn ang="0">
                    <a:pos x="T8" y="T9"/>
                  </a:cxn>
                  <a:cxn ang="0">
                    <a:pos x="T10" y="T11"/>
                  </a:cxn>
                </a:cxnLst>
                <a:rect l="0" t="0" r="r" b="b"/>
                <a:pathLst>
                  <a:path w="4" h="4">
                    <a:moveTo>
                      <a:pt x="4" y="0"/>
                    </a:moveTo>
                    <a:cubicBezTo>
                      <a:pt x="3" y="0"/>
                      <a:pt x="1" y="0"/>
                      <a:pt x="0" y="1"/>
                    </a:cubicBezTo>
                    <a:cubicBezTo>
                      <a:pt x="0" y="2"/>
                      <a:pt x="0" y="4"/>
                      <a:pt x="2" y="4"/>
                    </a:cubicBezTo>
                    <a:cubicBezTo>
                      <a:pt x="2" y="4"/>
                      <a:pt x="2" y="4"/>
                      <a:pt x="2" y="4"/>
                    </a:cubicBezTo>
                    <a:cubicBezTo>
                      <a:pt x="3" y="3"/>
                      <a:pt x="3"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99"/>
              <p:cNvSpPr/>
              <p:nvPr/>
            </p:nvSpPr>
            <p:spPr bwMode="auto">
              <a:xfrm>
                <a:off x="8330" y="1704"/>
                <a:ext cx="7" cy="12"/>
              </a:xfrm>
              <a:custGeom>
                <a:gdLst>
                  <a:gd name="T0" fmla="*/ 0 w 3"/>
                  <a:gd name="T1" fmla="*/ 0 h 5"/>
                  <a:gd name="T2" fmla="*/ 0 w 3"/>
                  <a:gd name="T3" fmla="*/ 5 h 5"/>
                  <a:gd name="T4" fmla="*/ 3 w 3"/>
                  <a:gd name="T5" fmla="*/ 2 h 5"/>
                  <a:gd name="T6" fmla="*/ 0 w 3"/>
                  <a:gd name="T7" fmla="*/ 0 h 5"/>
                </a:gdLst>
                <a:cxnLst>
                  <a:cxn ang="0">
                    <a:pos x="T0" y="T1"/>
                  </a:cxn>
                  <a:cxn ang="0">
                    <a:pos x="T2" y="T3"/>
                  </a:cxn>
                  <a:cxn ang="0">
                    <a:pos x="T4" y="T5"/>
                  </a:cxn>
                  <a:cxn ang="0">
                    <a:pos x="T6" y="T7"/>
                  </a:cxn>
                </a:cxnLst>
                <a:rect l="0" t="0" r="r" b="b"/>
                <a:pathLst>
                  <a:path w="3" h="5">
                    <a:moveTo>
                      <a:pt x="0" y="0"/>
                    </a:moveTo>
                    <a:cubicBezTo>
                      <a:pt x="0" y="2"/>
                      <a:pt x="0" y="3"/>
                      <a:pt x="0" y="5"/>
                    </a:cubicBezTo>
                    <a:cubicBezTo>
                      <a:pt x="1" y="4"/>
                      <a:pt x="2" y="3"/>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00"/>
              <p:cNvSpPr/>
              <p:nvPr/>
            </p:nvSpPr>
            <p:spPr bwMode="auto">
              <a:xfrm>
                <a:off x="8332" y="1685"/>
                <a:ext cx="10" cy="19"/>
              </a:xfrm>
              <a:custGeom>
                <a:gdLst>
                  <a:gd name="T0" fmla="*/ 4 w 4"/>
                  <a:gd name="T1" fmla="*/ 0 h 8"/>
                  <a:gd name="T2" fmla="*/ 1 w 4"/>
                  <a:gd name="T3" fmla="*/ 2 h 8"/>
                  <a:gd name="T4" fmla="*/ 1 w 4"/>
                  <a:gd name="T5" fmla="*/ 4 h 8"/>
                  <a:gd name="T6" fmla="*/ 0 w 4"/>
                  <a:gd name="T7" fmla="*/ 7 h 8"/>
                  <a:gd name="T8" fmla="*/ 2 w 4"/>
                  <a:gd name="T9" fmla="*/ 8 h 8"/>
                  <a:gd name="T10" fmla="*/ 4 w 4"/>
                  <a:gd name="T11" fmla="*/ 0 h 8"/>
                </a:gdLst>
                <a:cxnLst>
                  <a:cxn ang="0">
                    <a:pos x="T0" y="T1"/>
                  </a:cxn>
                  <a:cxn ang="0">
                    <a:pos x="T2" y="T3"/>
                  </a:cxn>
                  <a:cxn ang="0">
                    <a:pos x="T4" y="T5"/>
                  </a:cxn>
                  <a:cxn ang="0">
                    <a:pos x="T6" y="T7"/>
                  </a:cxn>
                  <a:cxn ang="0">
                    <a:pos x="T8" y="T9"/>
                  </a:cxn>
                  <a:cxn ang="0">
                    <a:pos x="T10" y="T11"/>
                  </a:cxn>
                </a:cxnLst>
                <a:rect l="0" t="0" r="r" b="b"/>
                <a:pathLst>
                  <a:path w="4" h="8">
                    <a:moveTo>
                      <a:pt x="4" y="0"/>
                    </a:moveTo>
                    <a:cubicBezTo>
                      <a:pt x="3" y="1"/>
                      <a:pt x="2" y="1"/>
                      <a:pt x="1" y="2"/>
                    </a:cubicBezTo>
                    <a:cubicBezTo>
                      <a:pt x="1" y="3"/>
                      <a:pt x="1" y="3"/>
                      <a:pt x="1" y="4"/>
                    </a:cubicBezTo>
                    <a:cubicBezTo>
                      <a:pt x="1" y="5"/>
                      <a:pt x="1" y="7"/>
                      <a:pt x="0" y="7"/>
                    </a:cubicBezTo>
                    <a:cubicBezTo>
                      <a:pt x="0" y="8"/>
                      <a:pt x="1" y="8"/>
                      <a:pt x="2" y="8"/>
                    </a:cubicBezTo>
                    <a:cubicBezTo>
                      <a:pt x="2" y="5"/>
                      <a:pt x="3"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01"/>
              <p:cNvSpPr/>
              <p:nvPr/>
            </p:nvSpPr>
            <p:spPr bwMode="auto">
              <a:xfrm>
                <a:off x="8190" y="1692"/>
                <a:ext cx="15" cy="7"/>
              </a:xfrm>
              <a:custGeom>
                <a:gdLst>
                  <a:gd name="T0" fmla="*/ 3 w 6"/>
                  <a:gd name="T1" fmla="*/ 0 h 3"/>
                  <a:gd name="T2" fmla="*/ 2 w 6"/>
                  <a:gd name="T3" fmla="*/ 2 h 3"/>
                  <a:gd name="T4" fmla="*/ 0 w 6"/>
                  <a:gd name="T5" fmla="*/ 3 h 3"/>
                  <a:gd name="T6" fmla="*/ 6 w 6"/>
                  <a:gd name="T7" fmla="*/ 2 h 3"/>
                  <a:gd name="T8" fmla="*/ 3 w 6"/>
                  <a:gd name="T9" fmla="*/ 0 h 3"/>
                </a:gdLst>
                <a:cxnLst>
                  <a:cxn ang="0">
                    <a:pos x="T0" y="T1"/>
                  </a:cxn>
                  <a:cxn ang="0">
                    <a:pos x="T2" y="T3"/>
                  </a:cxn>
                  <a:cxn ang="0">
                    <a:pos x="T4" y="T5"/>
                  </a:cxn>
                  <a:cxn ang="0">
                    <a:pos x="T6" y="T7"/>
                  </a:cxn>
                  <a:cxn ang="0">
                    <a:pos x="T8" y="T9"/>
                  </a:cxn>
                </a:cxnLst>
                <a:rect l="0" t="0" r="r" b="b"/>
                <a:pathLst>
                  <a:path w="6" h="3">
                    <a:moveTo>
                      <a:pt x="3" y="0"/>
                    </a:moveTo>
                    <a:cubicBezTo>
                      <a:pt x="3" y="0"/>
                      <a:pt x="3" y="1"/>
                      <a:pt x="2" y="2"/>
                    </a:cubicBezTo>
                    <a:cubicBezTo>
                      <a:pt x="1" y="2"/>
                      <a:pt x="1" y="3"/>
                      <a:pt x="0" y="3"/>
                    </a:cubicBezTo>
                    <a:cubicBezTo>
                      <a:pt x="2" y="3"/>
                      <a:pt x="4" y="2"/>
                      <a:pt x="6"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02"/>
              <p:cNvSpPr/>
              <p:nvPr/>
            </p:nvSpPr>
            <p:spPr bwMode="auto">
              <a:xfrm>
                <a:off x="8268" y="1675"/>
                <a:ext cx="10" cy="10"/>
              </a:xfrm>
              <a:custGeom>
                <a:gdLst>
                  <a:gd name="T0" fmla="*/ 2 w 4"/>
                  <a:gd name="T1" fmla="*/ 0 h 4"/>
                  <a:gd name="T2" fmla="*/ 1 w 4"/>
                  <a:gd name="T3" fmla="*/ 3 h 4"/>
                  <a:gd name="T4" fmla="*/ 4 w 4"/>
                  <a:gd name="T5" fmla="*/ 4 h 4"/>
                  <a:gd name="T6" fmla="*/ 2 w 4"/>
                  <a:gd name="T7" fmla="*/ 0 h 4"/>
                </a:gdLst>
                <a:cxnLst>
                  <a:cxn ang="0">
                    <a:pos x="T0" y="T1"/>
                  </a:cxn>
                  <a:cxn ang="0">
                    <a:pos x="T2" y="T3"/>
                  </a:cxn>
                  <a:cxn ang="0">
                    <a:pos x="T4" y="T5"/>
                  </a:cxn>
                  <a:cxn ang="0">
                    <a:pos x="T6" y="T7"/>
                  </a:cxn>
                </a:cxnLst>
                <a:rect l="0" t="0" r="r" b="b"/>
                <a:pathLst>
                  <a:path w="4" h="4">
                    <a:moveTo>
                      <a:pt x="2" y="0"/>
                    </a:moveTo>
                    <a:cubicBezTo>
                      <a:pt x="0" y="0"/>
                      <a:pt x="0" y="1"/>
                      <a:pt x="1" y="3"/>
                    </a:cubicBezTo>
                    <a:cubicBezTo>
                      <a:pt x="1" y="4"/>
                      <a:pt x="3" y="4"/>
                      <a:pt x="4" y="4"/>
                    </a:cubicBezTo>
                    <a:cubicBezTo>
                      <a:pt x="4" y="3"/>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Freeform 103"/>
              <p:cNvSpPr/>
              <p:nvPr/>
            </p:nvSpPr>
            <p:spPr bwMode="auto">
              <a:xfrm>
                <a:off x="8193" y="1746"/>
                <a:ext cx="35" cy="14"/>
              </a:xfrm>
              <a:custGeom>
                <a:gdLst>
                  <a:gd name="T0" fmla="*/ 7 w 15"/>
                  <a:gd name="T1" fmla="*/ 0 h 6"/>
                  <a:gd name="T2" fmla="*/ 0 w 15"/>
                  <a:gd name="T3" fmla="*/ 5 h 6"/>
                  <a:gd name="T4" fmla="*/ 4 w 15"/>
                  <a:gd name="T5" fmla="*/ 6 h 6"/>
                  <a:gd name="T6" fmla="*/ 15 w 15"/>
                  <a:gd name="T7" fmla="*/ 0 h 6"/>
                  <a:gd name="T8" fmla="*/ 7 w 15"/>
                  <a:gd name="T9" fmla="*/ 0 h 6"/>
                </a:gdLst>
                <a:cxnLst>
                  <a:cxn ang="0">
                    <a:pos x="T0" y="T1"/>
                  </a:cxn>
                  <a:cxn ang="0">
                    <a:pos x="T2" y="T3"/>
                  </a:cxn>
                  <a:cxn ang="0">
                    <a:pos x="T4" y="T5"/>
                  </a:cxn>
                  <a:cxn ang="0">
                    <a:pos x="T6" y="T7"/>
                  </a:cxn>
                  <a:cxn ang="0">
                    <a:pos x="T8" y="T9"/>
                  </a:cxn>
                </a:cxnLst>
                <a:rect l="0" t="0" r="r" b="b"/>
                <a:pathLst>
                  <a:path w="15" h="6">
                    <a:moveTo>
                      <a:pt x="7" y="0"/>
                    </a:moveTo>
                    <a:cubicBezTo>
                      <a:pt x="4" y="1"/>
                      <a:pt x="2" y="3"/>
                      <a:pt x="0" y="5"/>
                    </a:cubicBezTo>
                    <a:cubicBezTo>
                      <a:pt x="1" y="6"/>
                      <a:pt x="3" y="6"/>
                      <a:pt x="4" y="6"/>
                    </a:cubicBezTo>
                    <a:cubicBezTo>
                      <a:pt x="8" y="6"/>
                      <a:pt x="12" y="3"/>
                      <a:pt x="15" y="0"/>
                    </a:cubicBezTo>
                    <a:cubicBezTo>
                      <a:pt x="12" y="0"/>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Freeform 104"/>
              <p:cNvSpPr/>
              <p:nvPr/>
            </p:nvSpPr>
            <p:spPr bwMode="auto">
              <a:xfrm>
                <a:off x="8788" y="1680"/>
                <a:ext cx="3" cy="7"/>
              </a:xfrm>
              <a:custGeom>
                <a:gdLst>
                  <a:gd name="T0" fmla="*/ 1 w 1"/>
                  <a:gd name="T1" fmla="*/ 0 h 3"/>
                  <a:gd name="T2" fmla="*/ 1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105"/>
              <p:cNvSpPr/>
              <p:nvPr/>
            </p:nvSpPr>
            <p:spPr bwMode="auto">
              <a:xfrm>
                <a:off x="8807" y="1110"/>
                <a:ext cx="272" cy="225"/>
              </a:xfrm>
              <a:custGeom>
                <a:gdLst>
                  <a:gd name="T0" fmla="*/ 37 w 115"/>
                  <a:gd name="T1" fmla="*/ 2 h 95"/>
                  <a:gd name="T2" fmla="*/ 36 w 115"/>
                  <a:gd name="T3" fmla="*/ 2 h 95"/>
                  <a:gd name="T4" fmla="*/ 35 w 115"/>
                  <a:gd name="T5" fmla="*/ 10 h 95"/>
                  <a:gd name="T6" fmla="*/ 36 w 115"/>
                  <a:gd name="T7" fmla="*/ 34 h 95"/>
                  <a:gd name="T8" fmla="*/ 31 w 115"/>
                  <a:gd name="T9" fmla="*/ 48 h 95"/>
                  <a:gd name="T10" fmla="*/ 26 w 115"/>
                  <a:gd name="T11" fmla="*/ 55 h 95"/>
                  <a:gd name="T12" fmla="*/ 22 w 115"/>
                  <a:gd name="T13" fmla="*/ 53 h 95"/>
                  <a:gd name="T14" fmla="*/ 21 w 115"/>
                  <a:gd name="T15" fmla="*/ 54 h 95"/>
                  <a:gd name="T16" fmla="*/ 19 w 115"/>
                  <a:gd name="T17" fmla="*/ 54 h 95"/>
                  <a:gd name="T18" fmla="*/ 12 w 115"/>
                  <a:gd name="T19" fmla="*/ 50 h 95"/>
                  <a:gd name="T20" fmla="*/ 13 w 115"/>
                  <a:gd name="T21" fmla="*/ 56 h 95"/>
                  <a:gd name="T22" fmla="*/ 10 w 115"/>
                  <a:gd name="T23" fmla="*/ 64 h 95"/>
                  <a:gd name="T24" fmla="*/ 8 w 115"/>
                  <a:gd name="T25" fmla="*/ 63 h 95"/>
                  <a:gd name="T26" fmla="*/ 7 w 115"/>
                  <a:gd name="T27" fmla="*/ 63 h 95"/>
                  <a:gd name="T28" fmla="*/ 4 w 115"/>
                  <a:gd name="T29" fmla="*/ 66 h 95"/>
                  <a:gd name="T30" fmla="*/ 3 w 115"/>
                  <a:gd name="T31" fmla="*/ 66 h 95"/>
                  <a:gd name="T32" fmla="*/ 0 w 115"/>
                  <a:gd name="T33" fmla="*/ 73 h 95"/>
                  <a:gd name="T34" fmla="*/ 4 w 115"/>
                  <a:gd name="T35" fmla="*/ 88 h 95"/>
                  <a:gd name="T36" fmla="*/ 8 w 115"/>
                  <a:gd name="T37" fmla="*/ 95 h 95"/>
                  <a:gd name="T38" fmla="*/ 12 w 115"/>
                  <a:gd name="T39" fmla="*/ 90 h 95"/>
                  <a:gd name="T40" fmla="*/ 16 w 115"/>
                  <a:gd name="T41" fmla="*/ 87 h 95"/>
                  <a:gd name="T42" fmla="*/ 17 w 115"/>
                  <a:gd name="T43" fmla="*/ 86 h 95"/>
                  <a:gd name="T44" fmla="*/ 23 w 115"/>
                  <a:gd name="T45" fmla="*/ 88 h 95"/>
                  <a:gd name="T46" fmla="*/ 23 w 115"/>
                  <a:gd name="T47" fmla="*/ 84 h 95"/>
                  <a:gd name="T48" fmla="*/ 16 w 115"/>
                  <a:gd name="T49" fmla="*/ 79 h 95"/>
                  <a:gd name="T50" fmla="*/ 10 w 115"/>
                  <a:gd name="T51" fmla="*/ 72 h 95"/>
                  <a:gd name="T52" fmla="*/ 19 w 115"/>
                  <a:gd name="T53" fmla="*/ 70 h 95"/>
                  <a:gd name="T54" fmla="*/ 22 w 115"/>
                  <a:gd name="T55" fmla="*/ 74 h 95"/>
                  <a:gd name="T56" fmla="*/ 30 w 115"/>
                  <a:gd name="T57" fmla="*/ 69 h 95"/>
                  <a:gd name="T58" fmla="*/ 40 w 115"/>
                  <a:gd name="T59" fmla="*/ 68 h 95"/>
                  <a:gd name="T60" fmla="*/ 49 w 115"/>
                  <a:gd name="T61" fmla="*/ 74 h 95"/>
                  <a:gd name="T62" fmla="*/ 65 w 115"/>
                  <a:gd name="T63" fmla="*/ 82 h 95"/>
                  <a:gd name="T64" fmla="*/ 67 w 115"/>
                  <a:gd name="T65" fmla="*/ 78 h 95"/>
                  <a:gd name="T66" fmla="*/ 73 w 115"/>
                  <a:gd name="T67" fmla="*/ 66 h 95"/>
                  <a:gd name="T68" fmla="*/ 88 w 115"/>
                  <a:gd name="T69" fmla="*/ 60 h 95"/>
                  <a:gd name="T70" fmla="*/ 93 w 115"/>
                  <a:gd name="T71" fmla="*/ 60 h 95"/>
                  <a:gd name="T72" fmla="*/ 96 w 115"/>
                  <a:gd name="T73" fmla="*/ 58 h 95"/>
                  <a:gd name="T74" fmla="*/ 98 w 115"/>
                  <a:gd name="T75" fmla="*/ 59 h 95"/>
                  <a:gd name="T76" fmla="*/ 101 w 115"/>
                  <a:gd name="T77" fmla="*/ 58 h 95"/>
                  <a:gd name="T78" fmla="*/ 109 w 115"/>
                  <a:gd name="T79" fmla="*/ 53 h 95"/>
                  <a:gd name="T80" fmla="*/ 104 w 115"/>
                  <a:gd name="T81" fmla="*/ 48 h 95"/>
                  <a:gd name="T82" fmla="*/ 106 w 115"/>
                  <a:gd name="T83" fmla="*/ 45 h 95"/>
                  <a:gd name="T84" fmla="*/ 101 w 115"/>
                  <a:gd name="T85" fmla="*/ 38 h 95"/>
                  <a:gd name="T86" fmla="*/ 106 w 115"/>
                  <a:gd name="T87" fmla="*/ 27 h 95"/>
                  <a:gd name="T88" fmla="*/ 93 w 115"/>
                  <a:gd name="T89" fmla="*/ 37 h 95"/>
                  <a:gd name="T90" fmla="*/ 85 w 115"/>
                  <a:gd name="T91" fmla="*/ 35 h 95"/>
                  <a:gd name="T92" fmla="*/ 83 w 115"/>
                  <a:gd name="T93" fmla="*/ 33 h 95"/>
                  <a:gd name="T94" fmla="*/ 79 w 115"/>
                  <a:gd name="T95" fmla="*/ 33 h 95"/>
                  <a:gd name="T96" fmla="*/ 62 w 115"/>
                  <a:gd name="T97" fmla="*/ 22 h 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95">
                    <a:moveTo>
                      <a:pt x="41" y="0"/>
                    </a:moveTo>
                    <a:cubicBezTo>
                      <a:pt x="40" y="0"/>
                      <a:pt x="39" y="2"/>
                      <a:pt x="37" y="2"/>
                    </a:cubicBezTo>
                    <a:cubicBezTo>
                      <a:pt x="37" y="2"/>
                      <a:pt x="37" y="2"/>
                      <a:pt x="37" y="2"/>
                    </a:cubicBezTo>
                    <a:cubicBezTo>
                      <a:pt x="37" y="2"/>
                      <a:pt x="35" y="2"/>
                      <a:pt x="36" y="2"/>
                    </a:cubicBezTo>
                    <a:cubicBezTo>
                      <a:pt x="36" y="2"/>
                      <a:pt x="35" y="1"/>
                      <a:pt x="35" y="3"/>
                    </a:cubicBezTo>
                    <a:cubicBezTo>
                      <a:pt x="35" y="5"/>
                      <a:pt x="35" y="8"/>
                      <a:pt x="35" y="10"/>
                    </a:cubicBezTo>
                    <a:cubicBezTo>
                      <a:pt x="36" y="12"/>
                      <a:pt x="37" y="13"/>
                      <a:pt x="38" y="15"/>
                    </a:cubicBezTo>
                    <a:cubicBezTo>
                      <a:pt x="39" y="21"/>
                      <a:pt x="36" y="28"/>
                      <a:pt x="36" y="34"/>
                    </a:cubicBezTo>
                    <a:cubicBezTo>
                      <a:pt x="35" y="38"/>
                      <a:pt x="29" y="39"/>
                      <a:pt x="30" y="42"/>
                    </a:cubicBezTo>
                    <a:cubicBezTo>
                      <a:pt x="30" y="44"/>
                      <a:pt x="30" y="46"/>
                      <a:pt x="31" y="48"/>
                    </a:cubicBezTo>
                    <a:cubicBezTo>
                      <a:pt x="31" y="49"/>
                      <a:pt x="32" y="50"/>
                      <a:pt x="31" y="51"/>
                    </a:cubicBezTo>
                    <a:cubicBezTo>
                      <a:pt x="29" y="53"/>
                      <a:pt x="28" y="55"/>
                      <a:pt x="26" y="55"/>
                    </a:cubicBezTo>
                    <a:cubicBezTo>
                      <a:pt x="25" y="55"/>
                      <a:pt x="25" y="55"/>
                      <a:pt x="24" y="54"/>
                    </a:cubicBezTo>
                    <a:cubicBezTo>
                      <a:pt x="23" y="54"/>
                      <a:pt x="24" y="53"/>
                      <a:pt x="22" y="53"/>
                    </a:cubicBezTo>
                    <a:cubicBezTo>
                      <a:pt x="22" y="53"/>
                      <a:pt x="22" y="53"/>
                      <a:pt x="22" y="53"/>
                    </a:cubicBezTo>
                    <a:cubicBezTo>
                      <a:pt x="21" y="53"/>
                      <a:pt x="21" y="53"/>
                      <a:pt x="21" y="54"/>
                    </a:cubicBezTo>
                    <a:cubicBezTo>
                      <a:pt x="20" y="54"/>
                      <a:pt x="20" y="54"/>
                      <a:pt x="19" y="54"/>
                    </a:cubicBezTo>
                    <a:cubicBezTo>
                      <a:pt x="19" y="54"/>
                      <a:pt x="19" y="54"/>
                      <a:pt x="19" y="54"/>
                    </a:cubicBezTo>
                    <a:cubicBezTo>
                      <a:pt x="18" y="53"/>
                      <a:pt x="17" y="52"/>
                      <a:pt x="16" y="52"/>
                    </a:cubicBezTo>
                    <a:cubicBezTo>
                      <a:pt x="15" y="51"/>
                      <a:pt x="14" y="50"/>
                      <a:pt x="12" y="50"/>
                    </a:cubicBezTo>
                    <a:cubicBezTo>
                      <a:pt x="12" y="50"/>
                      <a:pt x="11" y="51"/>
                      <a:pt x="10" y="52"/>
                    </a:cubicBezTo>
                    <a:cubicBezTo>
                      <a:pt x="10" y="53"/>
                      <a:pt x="12" y="55"/>
                      <a:pt x="13" y="56"/>
                    </a:cubicBezTo>
                    <a:cubicBezTo>
                      <a:pt x="14" y="59"/>
                      <a:pt x="13" y="58"/>
                      <a:pt x="12" y="60"/>
                    </a:cubicBezTo>
                    <a:cubicBezTo>
                      <a:pt x="11" y="61"/>
                      <a:pt x="10" y="64"/>
                      <a:pt x="10" y="64"/>
                    </a:cubicBezTo>
                    <a:cubicBezTo>
                      <a:pt x="9" y="64"/>
                      <a:pt x="9" y="64"/>
                      <a:pt x="9" y="64"/>
                    </a:cubicBezTo>
                    <a:cubicBezTo>
                      <a:pt x="9" y="64"/>
                      <a:pt x="9" y="64"/>
                      <a:pt x="8" y="63"/>
                    </a:cubicBezTo>
                    <a:cubicBezTo>
                      <a:pt x="8" y="63"/>
                      <a:pt x="8" y="63"/>
                      <a:pt x="8" y="63"/>
                    </a:cubicBezTo>
                    <a:cubicBezTo>
                      <a:pt x="7" y="63"/>
                      <a:pt x="7" y="63"/>
                      <a:pt x="7" y="63"/>
                    </a:cubicBezTo>
                    <a:cubicBezTo>
                      <a:pt x="6" y="64"/>
                      <a:pt x="6" y="65"/>
                      <a:pt x="5" y="66"/>
                    </a:cubicBezTo>
                    <a:cubicBezTo>
                      <a:pt x="5" y="66"/>
                      <a:pt x="4" y="66"/>
                      <a:pt x="4" y="66"/>
                    </a:cubicBezTo>
                    <a:cubicBezTo>
                      <a:pt x="4" y="66"/>
                      <a:pt x="4" y="66"/>
                      <a:pt x="3" y="66"/>
                    </a:cubicBezTo>
                    <a:cubicBezTo>
                      <a:pt x="3" y="66"/>
                      <a:pt x="3" y="66"/>
                      <a:pt x="3" y="66"/>
                    </a:cubicBezTo>
                    <a:cubicBezTo>
                      <a:pt x="2" y="66"/>
                      <a:pt x="2" y="66"/>
                      <a:pt x="2" y="66"/>
                    </a:cubicBezTo>
                    <a:cubicBezTo>
                      <a:pt x="0" y="67"/>
                      <a:pt x="0" y="72"/>
                      <a:pt x="0" y="73"/>
                    </a:cubicBezTo>
                    <a:cubicBezTo>
                      <a:pt x="0" y="76"/>
                      <a:pt x="2" y="77"/>
                      <a:pt x="4" y="79"/>
                    </a:cubicBezTo>
                    <a:cubicBezTo>
                      <a:pt x="7" y="82"/>
                      <a:pt x="6" y="84"/>
                      <a:pt x="4" y="88"/>
                    </a:cubicBezTo>
                    <a:cubicBezTo>
                      <a:pt x="4" y="89"/>
                      <a:pt x="3" y="90"/>
                      <a:pt x="4" y="91"/>
                    </a:cubicBezTo>
                    <a:cubicBezTo>
                      <a:pt x="4" y="92"/>
                      <a:pt x="7" y="95"/>
                      <a:pt x="8" y="95"/>
                    </a:cubicBezTo>
                    <a:cubicBezTo>
                      <a:pt x="8" y="95"/>
                      <a:pt x="8" y="95"/>
                      <a:pt x="8" y="94"/>
                    </a:cubicBezTo>
                    <a:cubicBezTo>
                      <a:pt x="10" y="93"/>
                      <a:pt x="11" y="92"/>
                      <a:pt x="12" y="90"/>
                    </a:cubicBezTo>
                    <a:cubicBezTo>
                      <a:pt x="13" y="90"/>
                      <a:pt x="12" y="89"/>
                      <a:pt x="13" y="88"/>
                    </a:cubicBezTo>
                    <a:cubicBezTo>
                      <a:pt x="13" y="88"/>
                      <a:pt x="15" y="87"/>
                      <a:pt x="16" y="87"/>
                    </a:cubicBezTo>
                    <a:cubicBezTo>
                      <a:pt x="17" y="86"/>
                      <a:pt x="15" y="86"/>
                      <a:pt x="17" y="86"/>
                    </a:cubicBezTo>
                    <a:cubicBezTo>
                      <a:pt x="17" y="86"/>
                      <a:pt x="17" y="86"/>
                      <a:pt x="17" y="86"/>
                    </a:cubicBezTo>
                    <a:cubicBezTo>
                      <a:pt x="18" y="86"/>
                      <a:pt x="20" y="87"/>
                      <a:pt x="21" y="87"/>
                    </a:cubicBezTo>
                    <a:cubicBezTo>
                      <a:pt x="22" y="87"/>
                      <a:pt x="22" y="88"/>
                      <a:pt x="23" y="88"/>
                    </a:cubicBezTo>
                    <a:cubicBezTo>
                      <a:pt x="23" y="88"/>
                      <a:pt x="23" y="88"/>
                      <a:pt x="24" y="87"/>
                    </a:cubicBezTo>
                    <a:cubicBezTo>
                      <a:pt x="26" y="84"/>
                      <a:pt x="25" y="85"/>
                      <a:pt x="23" y="84"/>
                    </a:cubicBezTo>
                    <a:cubicBezTo>
                      <a:pt x="21" y="83"/>
                      <a:pt x="20" y="81"/>
                      <a:pt x="19" y="80"/>
                    </a:cubicBezTo>
                    <a:cubicBezTo>
                      <a:pt x="18" y="78"/>
                      <a:pt x="18" y="79"/>
                      <a:pt x="16" y="79"/>
                    </a:cubicBezTo>
                    <a:cubicBezTo>
                      <a:pt x="14" y="78"/>
                      <a:pt x="14" y="78"/>
                      <a:pt x="13" y="77"/>
                    </a:cubicBezTo>
                    <a:cubicBezTo>
                      <a:pt x="10" y="76"/>
                      <a:pt x="9" y="76"/>
                      <a:pt x="10" y="72"/>
                    </a:cubicBezTo>
                    <a:cubicBezTo>
                      <a:pt x="11" y="70"/>
                      <a:pt x="12" y="68"/>
                      <a:pt x="15" y="68"/>
                    </a:cubicBezTo>
                    <a:cubicBezTo>
                      <a:pt x="16" y="68"/>
                      <a:pt x="18" y="69"/>
                      <a:pt x="19" y="70"/>
                    </a:cubicBezTo>
                    <a:cubicBezTo>
                      <a:pt x="20" y="70"/>
                      <a:pt x="20" y="71"/>
                      <a:pt x="21" y="72"/>
                    </a:cubicBezTo>
                    <a:cubicBezTo>
                      <a:pt x="22" y="73"/>
                      <a:pt x="23" y="74"/>
                      <a:pt x="22" y="74"/>
                    </a:cubicBezTo>
                    <a:cubicBezTo>
                      <a:pt x="22" y="74"/>
                      <a:pt x="22" y="74"/>
                      <a:pt x="22" y="74"/>
                    </a:cubicBezTo>
                    <a:cubicBezTo>
                      <a:pt x="24" y="74"/>
                      <a:pt x="28" y="70"/>
                      <a:pt x="30" y="69"/>
                    </a:cubicBezTo>
                    <a:cubicBezTo>
                      <a:pt x="32" y="68"/>
                      <a:pt x="33" y="68"/>
                      <a:pt x="35" y="68"/>
                    </a:cubicBezTo>
                    <a:cubicBezTo>
                      <a:pt x="37" y="68"/>
                      <a:pt x="38" y="68"/>
                      <a:pt x="40" y="68"/>
                    </a:cubicBezTo>
                    <a:cubicBezTo>
                      <a:pt x="41" y="69"/>
                      <a:pt x="44" y="71"/>
                      <a:pt x="45" y="71"/>
                    </a:cubicBezTo>
                    <a:cubicBezTo>
                      <a:pt x="47" y="72"/>
                      <a:pt x="48" y="73"/>
                      <a:pt x="49" y="74"/>
                    </a:cubicBezTo>
                    <a:cubicBezTo>
                      <a:pt x="54" y="77"/>
                      <a:pt x="59" y="78"/>
                      <a:pt x="63" y="80"/>
                    </a:cubicBezTo>
                    <a:cubicBezTo>
                      <a:pt x="63" y="81"/>
                      <a:pt x="64" y="82"/>
                      <a:pt x="65" y="82"/>
                    </a:cubicBezTo>
                    <a:cubicBezTo>
                      <a:pt x="65" y="82"/>
                      <a:pt x="65" y="82"/>
                      <a:pt x="65" y="82"/>
                    </a:cubicBezTo>
                    <a:cubicBezTo>
                      <a:pt x="67" y="82"/>
                      <a:pt x="67" y="80"/>
                      <a:pt x="67" y="78"/>
                    </a:cubicBezTo>
                    <a:cubicBezTo>
                      <a:pt x="68" y="76"/>
                      <a:pt x="67" y="74"/>
                      <a:pt x="69" y="72"/>
                    </a:cubicBezTo>
                    <a:cubicBezTo>
                      <a:pt x="70" y="70"/>
                      <a:pt x="71" y="68"/>
                      <a:pt x="73" y="66"/>
                    </a:cubicBezTo>
                    <a:cubicBezTo>
                      <a:pt x="75" y="65"/>
                      <a:pt x="77" y="62"/>
                      <a:pt x="80" y="61"/>
                    </a:cubicBezTo>
                    <a:cubicBezTo>
                      <a:pt x="82" y="60"/>
                      <a:pt x="85" y="60"/>
                      <a:pt x="88" y="60"/>
                    </a:cubicBezTo>
                    <a:cubicBezTo>
                      <a:pt x="90" y="60"/>
                      <a:pt x="91" y="60"/>
                      <a:pt x="92" y="60"/>
                    </a:cubicBezTo>
                    <a:cubicBezTo>
                      <a:pt x="92" y="60"/>
                      <a:pt x="93" y="60"/>
                      <a:pt x="93" y="60"/>
                    </a:cubicBezTo>
                    <a:cubicBezTo>
                      <a:pt x="94" y="60"/>
                      <a:pt x="94" y="60"/>
                      <a:pt x="95" y="59"/>
                    </a:cubicBezTo>
                    <a:cubicBezTo>
                      <a:pt x="96" y="59"/>
                      <a:pt x="95" y="58"/>
                      <a:pt x="96" y="58"/>
                    </a:cubicBezTo>
                    <a:cubicBezTo>
                      <a:pt x="96" y="58"/>
                      <a:pt x="96" y="58"/>
                      <a:pt x="96" y="58"/>
                    </a:cubicBezTo>
                    <a:cubicBezTo>
                      <a:pt x="97" y="58"/>
                      <a:pt x="97" y="59"/>
                      <a:pt x="98" y="59"/>
                    </a:cubicBezTo>
                    <a:cubicBezTo>
                      <a:pt x="98" y="59"/>
                      <a:pt x="98" y="59"/>
                      <a:pt x="98" y="59"/>
                    </a:cubicBezTo>
                    <a:cubicBezTo>
                      <a:pt x="99" y="59"/>
                      <a:pt x="100" y="58"/>
                      <a:pt x="101" y="58"/>
                    </a:cubicBezTo>
                    <a:cubicBezTo>
                      <a:pt x="106" y="55"/>
                      <a:pt x="110" y="52"/>
                      <a:pt x="115" y="50"/>
                    </a:cubicBezTo>
                    <a:cubicBezTo>
                      <a:pt x="114" y="50"/>
                      <a:pt x="107" y="50"/>
                      <a:pt x="109" y="53"/>
                    </a:cubicBezTo>
                    <a:cubicBezTo>
                      <a:pt x="108" y="53"/>
                      <a:pt x="107" y="53"/>
                      <a:pt x="106" y="52"/>
                    </a:cubicBezTo>
                    <a:cubicBezTo>
                      <a:pt x="105" y="51"/>
                      <a:pt x="105" y="50"/>
                      <a:pt x="104" y="48"/>
                    </a:cubicBezTo>
                    <a:cubicBezTo>
                      <a:pt x="104" y="47"/>
                      <a:pt x="104" y="46"/>
                      <a:pt x="103" y="44"/>
                    </a:cubicBezTo>
                    <a:cubicBezTo>
                      <a:pt x="104" y="45"/>
                      <a:pt x="105" y="45"/>
                      <a:pt x="106" y="45"/>
                    </a:cubicBezTo>
                    <a:cubicBezTo>
                      <a:pt x="105" y="44"/>
                      <a:pt x="101" y="42"/>
                      <a:pt x="101" y="40"/>
                    </a:cubicBezTo>
                    <a:cubicBezTo>
                      <a:pt x="101" y="38"/>
                      <a:pt x="101" y="38"/>
                      <a:pt x="101" y="38"/>
                    </a:cubicBezTo>
                    <a:cubicBezTo>
                      <a:pt x="102" y="37"/>
                      <a:pt x="102" y="36"/>
                      <a:pt x="103" y="35"/>
                    </a:cubicBezTo>
                    <a:cubicBezTo>
                      <a:pt x="104" y="33"/>
                      <a:pt x="107" y="29"/>
                      <a:pt x="106" y="27"/>
                    </a:cubicBezTo>
                    <a:cubicBezTo>
                      <a:pt x="102" y="30"/>
                      <a:pt x="100" y="33"/>
                      <a:pt x="97" y="36"/>
                    </a:cubicBezTo>
                    <a:cubicBezTo>
                      <a:pt x="96" y="37"/>
                      <a:pt x="94" y="37"/>
                      <a:pt x="93" y="37"/>
                    </a:cubicBezTo>
                    <a:cubicBezTo>
                      <a:pt x="92" y="37"/>
                      <a:pt x="91" y="37"/>
                      <a:pt x="90" y="37"/>
                    </a:cubicBezTo>
                    <a:cubicBezTo>
                      <a:pt x="88" y="36"/>
                      <a:pt x="87" y="36"/>
                      <a:pt x="85" y="35"/>
                    </a:cubicBezTo>
                    <a:cubicBezTo>
                      <a:pt x="84" y="35"/>
                      <a:pt x="83" y="35"/>
                      <a:pt x="83" y="35"/>
                    </a:cubicBezTo>
                    <a:cubicBezTo>
                      <a:pt x="82" y="34"/>
                      <a:pt x="83" y="33"/>
                      <a:pt x="83" y="33"/>
                    </a:cubicBezTo>
                    <a:cubicBezTo>
                      <a:pt x="82" y="33"/>
                      <a:pt x="82" y="33"/>
                      <a:pt x="81" y="33"/>
                    </a:cubicBezTo>
                    <a:cubicBezTo>
                      <a:pt x="81" y="33"/>
                      <a:pt x="80" y="33"/>
                      <a:pt x="79" y="33"/>
                    </a:cubicBezTo>
                    <a:cubicBezTo>
                      <a:pt x="79" y="33"/>
                      <a:pt x="79" y="33"/>
                      <a:pt x="79" y="33"/>
                    </a:cubicBezTo>
                    <a:cubicBezTo>
                      <a:pt x="73" y="33"/>
                      <a:pt x="66" y="26"/>
                      <a:pt x="62" y="22"/>
                    </a:cubicBezTo>
                    <a:cubicBezTo>
                      <a:pt x="54" y="15"/>
                      <a:pt x="48" y="7"/>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Freeform 106"/>
              <p:cNvSpPr/>
              <p:nvPr/>
            </p:nvSpPr>
            <p:spPr bwMode="auto">
              <a:xfrm>
                <a:off x="8346" y="1725"/>
                <a:ext cx="114" cy="147"/>
              </a:xfrm>
              <a:custGeom>
                <a:gdLst>
                  <a:gd name="T0" fmla="*/ 25 w 48"/>
                  <a:gd name="T1" fmla="*/ 0 h 62"/>
                  <a:gd name="T2" fmla="*/ 23 w 48"/>
                  <a:gd name="T3" fmla="*/ 0 h 62"/>
                  <a:gd name="T4" fmla="*/ 17 w 48"/>
                  <a:gd name="T5" fmla="*/ 3 h 62"/>
                  <a:gd name="T6" fmla="*/ 9 w 48"/>
                  <a:gd name="T7" fmla="*/ 10 h 62"/>
                  <a:gd name="T8" fmla="*/ 5 w 48"/>
                  <a:gd name="T9" fmla="*/ 13 h 62"/>
                  <a:gd name="T10" fmla="*/ 3 w 48"/>
                  <a:gd name="T11" fmla="*/ 18 h 62"/>
                  <a:gd name="T12" fmla="*/ 4 w 48"/>
                  <a:gd name="T13" fmla="*/ 29 h 62"/>
                  <a:gd name="T14" fmla="*/ 12 w 48"/>
                  <a:gd name="T15" fmla="*/ 28 h 62"/>
                  <a:gd name="T16" fmla="*/ 15 w 48"/>
                  <a:gd name="T17" fmla="*/ 27 h 62"/>
                  <a:gd name="T18" fmla="*/ 12 w 48"/>
                  <a:gd name="T19" fmla="*/ 20 h 62"/>
                  <a:gd name="T20" fmla="*/ 13 w 48"/>
                  <a:gd name="T21" fmla="*/ 16 h 62"/>
                  <a:gd name="T22" fmla="*/ 17 w 48"/>
                  <a:gd name="T23" fmla="*/ 21 h 62"/>
                  <a:gd name="T24" fmla="*/ 17 w 48"/>
                  <a:gd name="T25" fmla="*/ 28 h 62"/>
                  <a:gd name="T26" fmla="*/ 21 w 48"/>
                  <a:gd name="T27" fmla="*/ 27 h 62"/>
                  <a:gd name="T28" fmla="*/ 18 w 48"/>
                  <a:gd name="T29" fmla="*/ 33 h 62"/>
                  <a:gd name="T30" fmla="*/ 13 w 48"/>
                  <a:gd name="T31" fmla="*/ 54 h 62"/>
                  <a:gd name="T32" fmla="*/ 11 w 48"/>
                  <a:gd name="T33" fmla="*/ 54 h 62"/>
                  <a:gd name="T34" fmla="*/ 17 w 48"/>
                  <a:gd name="T35" fmla="*/ 57 h 62"/>
                  <a:gd name="T36" fmla="*/ 21 w 48"/>
                  <a:gd name="T37" fmla="*/ 58 h 62"/>
                  <a:gd name="T38" fmla="*/ 20 w 48"/>
                  <a:gd name="T39" fmla="*/ 48 h 62"/>
                  <a:gd name="T40" fmla="*/ 24 w 48"/>
                  <a:gd name="T41" fmla="*/ 48 h 62"/>
                  <a:gd name="T42" fmla="*/ 21 w 48"/>
                  <a:gd name="T43" fmla="*/ 62 h 62"/>
                  <a:gd name="T44" fmla="*/ 30 w 48"/>
                  <a:gd name="T45" fmla="*/ 52 h 62"/>
                  <a:gd name="T46" fmla="*/ 36 w 48"/>
                  <a:gd name="T47" fmla="*/ 49 h 62"/>
                  <a:gd name="T48" fmla="*/ 41 w 48"/>
                  <a:gd name="T49" fmla="*/ 33 h 62"/>
                  <a:gd name="T50" fmla="*/ 48 w 48"/>
                  <a:gd name="T51" fmla="*/ 21 h 62"/>
                  <a:gd name="T52" fmla="*/ 44 w 48"/>
                  <a:gd name="T53" fmla="*/ 14 h 62"/>
                  <a:gd name="T54" fmla="*/ 43 w 48"/>
                  <a:gd name="T55" fmla="*/ 14 h 62"/>
                  <a:gd name="T56" fmla="*/ 42 w 48"/>
                  <a:gd name="T57" fmla="*/ 14 h 62"/>
                  <a:gd name="T58" fmla="*/ 37 w 48"/>
                  <a:gd name="T59" fmla="*/ 12 h 62"/>
                  <a:gd name="T60" fmla="*/ 39 w 48"/>
                  <a:gd name="T61" fmla="*/ 5 h 62"/>
                  <a:gd name="T62" fmla="*/ 37 w 48"/>
                  <a:gd name="T63" fmla="*/ 6 h 62"/>
                  <a:gd name="T64" fmla="*/ 34 w 48"/>
                  <a:gd name="T65" fmla="*/ 7 h 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62">
                    <a:moveTo>
                      <a:pt x="27" y="0"/>
                    </a:moveTo>
                    <a:cubicBezTo>
                      <a:pt x="27" y="0"/>
                      <a:pt x="26" y="0"/>
                      <a:pt x="25" y="0"/>
                    </a:cubicBezTo>
                    <a:cubicBezTo>
                      <a:pt x="24" y="0"/>
                      <a:pt x="24" y="0"/>
                      <a:pt x="24" y="0"/>
                    </a:cubicBezTo>
                    <a:cubicBezTo>
                      <a:pt x="24" y="0"/>
                      <a:pt x="24" y="0"/>
                      <a:pt x="23" y="0"/>
                    </a:cubicBezTo>
                    <a:cubicBezTo>
                      <a:pt x="22" y="0"/>
                      <a:pt x="21" y="0"/>
                      <a:pt x="20" y="0"/>
                    </a:cubicBezTo>
                    <a:cubicBezTo>
                      <a:pt x="18" y="1"/>
                      <a:pt x="18" y="1"/>
                      <a:pt x="17" y="3"/>
                    </a:cubicBezTo>
                    <a:cubicBezTo>
                      <a:pt x="16" y="5"/>
                      <a:pt x="16" y="4"/>
                      <a:pt x="13" y="5"/>
                    </a:cubicBezTo>
                    <a:cubicBezTo>
                      <a:pt x="11" y="6"/>
                      <a:pt x="10" y="7"/>
                      <a:pt x="9" y="10"/>
                    </a:cubicBezTo>
                    <a:cubicBezTo>
                      <a:pt x="8" y="9"/>
                      <a:pt x="7" y="9"/>
                      <a:pt x="6" y="8"/>
                    </a:cubicBezTo>
                    <a:cubicBezTo>
                      <a:pt x="5" y="10"/>
                      <a:pt x="5" y="10"/>
                      <a:pt x="5" y="13"/>
                    </a:cubicBezTo>
                    <a:cubicBezTo>
                      <a:pt x="3" y="12"/>
                      <a:pt x="2" y="12"/>
                      <a:pt x="1" y="12"/>
                    </a:cubicBezTo>
                    <a:cubicBezTo>
                      <a:pt x="0" y="15"/>
                      <a:pt x="1" y="15"/>
                      <a:pt x="3" y="18"/>
                    </a:cubicBezTo>
                    <a:cubicBezTo>
                      <a:pt x="1" y="20"/>
                      <a:pt x="2" y="22"/>
                      <a:pt x="3" y="24"/>
                    </a:cubicBezTo>
                    <a:cubicBezTo>
                      <a:pt x="5" y="26"/>
                      <a:pt x="6" y="26"/>
                      <a:pt x="4" y="29"/>
                    </a:cubicBezTo>
                    <a:cubicBezTo>
                      <a:pt x="6" y="27"/>
                      <a:pt x="9" y="25"/>
                      <a:pt x="12" y="24"/>
                    </a:cubicBezTo>
                    <a:cubicBezTo>
                      <a:pt x="13" y="26"/>
                      <a:pt x="10" y="27"/>
                      <a:pt x="12" y="28"/>
                    </a:cubicBezTo>
                    <a:cubicBezTo>
                      <a:pt x="12" y="28"/>
                      <a:pt x="12" y="28"/>
                      <a:pt x="12" y="28"/>
                    </a:cubicBezTo>
                    <a:cubicBezTo>
                      <a:pt x="13" y="28"/>
                      <a:pt x="14" y="27"/>
                      <a:pt x="15" y="27"/>
                    </a:cubicBezTo>
                    <a:cubicBezTo>
                      <a:pt x="14" y="25"/>
                      <a:pt x="12" y="24"/>
                      <a:pt x="10" y="23"/>
                    </a:cubicBezTo>
                    <a:cubicBezTo>
                      <a:pt x="11" y="22"/>
                      <a:pt x="13" y="21"/>
                      <a:pt x="12" y="20"/>
                    </a:cubicBezTo>
                    <a:cubicBezTo>
                      <a:pt x="12" y="19"/>
                      <a:pt x="11" y="18"/>
                      <a:pt x="11" y="17"/>
                    </a:cubicBezTo>
                    <a:cubicBezTo>
                      <a:pt x="12" y="17"/>
                      <a:pt x="12" y="16"/>
                      <a:pt x="13" y="16"/>
                    </a:cubicBezTo>
                    <a:cubicBezTo>
                      <a:pt x="14" y="16"/>
                      <a:pt x="14" y="16"/>
                      <a:pt x="15" y="16"/>
                    </a:cubicBezTo>
                    <a:cubicBezTo>
                      <a:pt x="16" y="17"/>
                      <a:pt x="17" y="20"/>
                      <a:pt x="17" y="21"/>
                    </a:cubicBezTo>
                    <a:cubicBezTo>
                      <a:pt x="18" y="23"/>
                      <a:pt x="19" y="24"/>
                      <a:pt x="20" y="26"/>
                    </a:cubicBezTo>
                    <a:cubicBezTo>
                      <a:pt x="19" y="26"/>
                      <a:pt x="18" y="27"/>
                      <a:pt x="17" y="28"/>
                    </a:cubicBezTo>
                    <a:cubicBezTo>
                      <a:pt x="18" y="27"/>
                      <a:pt x="19" y="27"/>
                      <a:pt x="20" y="27"/>
                    </a:cubicBezTo>
                    <a:cubicBezTo>
                      <a:pt x="20" y="27"/>
                      <a:pt x="21" y="27"/>
                      <a:pt x="21" y="27"/>
                    </a:cubicBezTo>
                    <a:cubicBezTo>
                      <a:pt x="20" y="28"/>
                      <a:pt x="19" y="33"/>
                      <a:pt x="18" y="33"/>
                    </a:cubicBezTo>
                    <a:cubicBezTo>
                      <a:pt x="18" y="33"/>
                      <a:pt x="18" y="33"/>
                      <a:pt x="18" y="33"/>
                    </a:cubicBezTo>
                    <a:cubicBezTo>
                      <a:pt x="15" y="39"/>
                      <a:pt x="10" y="39"/>
                      <a:pt x="12" y="46"/>
                    </a:cubicBezTo>
                    <a:cubicBezTo>
                      <a:pt x="12" y="47"/>
                      <a:pt x="15" y="54"/>
                      <a:pt x="13" y="54"/>
                    </a:cubicBezTo>
                    <a:cubicBezTo>
                      <a:pt x="12" y="54"/>
                      <a:pt x="12" y="54"/>
                      <a:pt x="11" y="53"/>
                    </a:cubicBezTo>
                    <a:cubicBezTo>
                      <a:pt x="11" y="54"/>
                      <a:pt x="11" y="54"/>
                      <a:pt x="11" y="54"/>
                    </a:cubicBezTo>
                    <a:cubicBezTo>
                      <a:pt x="11" y="55"/>
                      <a:pt x="13" y="56"/>
                      <a:pt x="14" y="56"/>
                    </a:cubicBezTo>
                    <a:cubicBezTo>
                      <a:pt x="15" y="57"/>
                      <a:pt x="16" y="57"/>
                      <a:pt x="17" y="57"/>
                    </a:cubicBezTo>
                    <a:cubicBezTo>
                      <a:pt x="18" y="57"/>
                      <a:pt x="19" y="58"/>
                      <a:pt x="20" y="58"/>
                    </a:cubicBezTo>
                    <a:cubicBezTo>
                      <a:pt x="20" y="58"/>
                      <a:pt x="20" y="58"/>
                      <a:pt x="21" y="58"/>
                    </a:cubicBezTo>
                    <a:cubicBezTo>
                      <a:pt x="21" y="57"/>
                      <a:pt x="19" y="55"/>
                      <a:pt x="19" y="54"/>
                    </a:cubicBezTo>
                    <a:cubicBezTo>
                      <a:pt x="18" y="52"/>
                      <a:pt x="19" y="50"/>
                      <a:pt x="20" y="48"/>
                    </a:cubicBezTo>
                    <a:cubicBezTo>
                      <a:pt x="20" y="48"/>
                      <a:pt x="21" y="47"/>
                      <a:pt x="22" y="47"/>
                    </a:cubicBezTo>
                    <a:cubicBezTo>
                      <a:pt x="23" y="47"/>
                      <a:pt x="23" y="47"/>
                      <a:pt x="24" y="48"/>
                    </a:cubicBezTo>
                    <a:cubicBezTo>
                      <a:pt x="24" y="49"/>
                      <a:pt x="23" y="50"/>
                      <a:pt x="22" y="50"/>
                    </a:cubicBezTo>
                    <a:cubicBezTo>
                      <a:pt x="23" y="56"/>
                      <a:pt x="24" y="56"/>
                      <a:pt x="21" y="62"/>
                    </a:cubicBezTo>
                    <a:cubicBezTo>
                      <a:pt x="24" y="60"/>
                      <a:pt x="27" y="58"/>
                      <a:pt x="30" y="56"/>
                    </a:cubicBezTo>
                    <a:cubicBezTo>
                      <a:pt x="29" y="55"/>
                      <a:pt x="30" y="53"/>
                      <a:pt x="30" y="52"/>
                    </a:cubicBezTo>
                    <a:cubicBezTo>
                      <a:pt x="32" y="53"/>
                      <a:pt x="33" y="53"/>
                      <a:pt x="33" y="53"/>
                    </a:cubicBezTo>
                    <a:cubicBezTo>
                      <a:pt x="35" y="53"/>
                      <a:pt x="35" y="52"/>
                      <a:pt x="36" y="49"/>
                    </a:cubicBezTo>
                    <a:cubicBezTo>
                      <a:pt x="36" y="48"/>
                      <a:pt x="37" y="46"/>
                      <a:pt x="37" y="45"/>
                    </a:cubicBezTo>
                    <a:cubicBezTo>
                      <a:pt x="38" y="41"/>
                      <a:pt x="39" y="37"/>
                      <a:pt x="41" y="33"/>
                    </a:cubicBezTo>
                    <a:cubicBezTo>
                      <a:pt x="42" y="31"/>
                      <a:pt x="43" y="28"/>
                      <a:pt x="44" y="25"/>
                    </a:cubicBezTo>
                    <a:cubicBezTo>
                      <a:pt x="45" y="24"/>
                      <a:pt x="47" y="22"/>
                      <a:pt x="48" y="21"/>
                    </a:cubicBezTo>
                    <a:cubicBezTo>
                      <a:pt x="47" y="21"/>
                      <a:pt x="47" y="21"/>
                      <a:pt x="47" y="21"/>
                    </a:cubicBezTo>
                    <a:cubicBezTo>
                      <a:pt x="47" y="19"/>
                      <a:pt x="47" y="15"/>
                      <a:pt x="44" y="14"/>
                    </a:cubicBezTo>
                    <a:cubicBezTo>
                      <a:pt x="44" y="14"/>
                      <a:pt x="44" y="14"/>
                      <a:pt x="44" y="14"/>
                    </a:cubicBezTo>
                    <a:cubicBezTo>
                      <a:pt x="44" y="14"/>
                      <a:pt x="44" y="14"/>
                      <a:pt x="43" y="14"/>
                    </a:cubicBezTo>
                    <a:cubicBezTo>
                      <a:pt x="43" y="14"/>
                      <a:pt x="42" y="14"/>
                      <a:pt x="42" y="14"/>
                    </a:cubicBezTo>
                    <a:cubicBezTo>
                      <a:pt x="42" y="14"/>
                      <a:pt x="42" y="14"/>
                      <a:pt x="42" y="14"/>
                    </a:cubicBezTo>
                    <a:cubicBezTo>
                      <a:pt x="40" y="14"/>
                      <a:pt x="37" y="13"/>
                      <a:pt x="37" y="12"/>
                    </a:cubicBezTo>
                    <a:cubicBezTo>
                      <a:pt x="37" y="12"/>
                      <a:pt x="37" y="12"/>
                      <a:pt x="37" y="12"/>
                    </a:cubicBezTo>
                    <a:cubicBezTo>
                      <a:pt x="38" y="12"/>
                      <a:pt x="39" y="12"/>
                      <a:pt x="39" y="11"/>
                    </a:cubicBezTo>
                    <a:cubicBezTo>
                      <a:pt x="41" y="10"/>
                      <a:pt x="41" y="6"/>
                      <a:pt x="39" y="5"/>
                    </a:cubicBezTo>
                    <a:cubicBezTo>
                      <a:pt x="39" y="5"/>
                      <a:pt x="39" y="5"/>
                      <a:pt x="39" y="5"/>
                    </a:cubicBezTo>
                    <a:cubicBezTo>
                      <a:pt x="38" y="5"/>
                      <a:pt x="37" y="6"/>
                      <a:pt x="37" y="6"/>
                    </a:cubicBezTo>
                    <a:cubicBezTo>
                      <a:pt x="36" y="7"/>
                      <a:pt x="36" y="7"/>
                      <a:pt x="35" y="7"/>
                    </a:cubicBezTo>
                    <a:cubicBezTo>
                      <a:pt x="34" y="7"/>
                      <a:pt x="34" y="7"/>
                      <a:pt x="34" y="7"/>
                    </a:cubicBezTo>
                    <a:cubicBezTo>
                      <a:pt x="31" y="7"/>
                      <a:pt x="26" y="3"/>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107"/>
              <p:cNvSpPr/>
              <p:nvPr/>
            </p:nvSpPr>
            <p:spPr bwMode="auto">
              <a:xfrm>
                <a:off x="8351" y="1730"/>
                <a:ext cx="5" cy="4"/>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0" y="2"/>
                    </a:cubicBezTo>
                    <a:cubicBezTo>
                      <a:pt x="1" y="1"/>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Freeform 108"/>
              <p:cNvSpPr/>
              <p:nvPr/>
            </p:nvSpPr>
            <p:spPr bwMode="auto">
              <a:xfrm>
                <a:off x="8405" y="1328"/>
                <a:ext cx="508" cy="421"/>
              </a:xfrm>
              <a:custGeom>
                <a:gdLst>
                  <a:gd name="T0" fmla="*/ 189 w 215"/>
                  <a:gd name="T1" fmla="*/ 8 h 178"/>
                  <a:gd name="T2" fmla="*/ 197 w 215"/>
                  <a:gd name="T3" fmla="*/ 7 h 178"/>
                  <a:gd name="T4" fmla="*/ 196 w 215"/>
                  <a:gd name="T5" fmla="*/ 15 h 178"/>
                  <a:gd name="T6" fmla="*/ 191 w 215"/>
                  <a:gd name="T7" fmla="*/ 15 h 178"/>
                  <a:gd name="T8" fmla="*/ 189 w 215"/>
                  <a:gd name="T9" fmla="*/ 16 h 178"/>
                  <a:gd name="T10" fmla="*/ 180 w 215"/>
                  <a:gd name="T11" fmla="*/ 7 h 178"/>
                  <a:gd name="T12" fmla="*/ 173 w 215"/>
                  <a:gd name="T13" fmla="*/ 25 h 178"/>
                  <a:gd name="T14" fmla="*/ 171 w 215"/>
                  <a:gd name="T15" fmla="*/ 38 h 178"/>
                  <a:gd name="T16" fmla="*/ 172 w 215"/>
                  <a:gd name="T17" fmla="*/ 37 h 178"/>
                  <a:gd name="T18" fmla="*/ 173 w 215"/>
                  <a:gd name="T19" fmla="*/ 48 h 178"/>
                  <a:gd name="T20" fmla="*/ 163 w 215"/>
                  <a:gd name="T21" fmla="*/ 76 h 178"/>
                  <a:gd name="T22" fmla="*/ 145 w 215"/>
                  <a:gd name="T23" fmla="*/ 94 h 178"/>
                  <a:gd name="T24" fmla="*/ 118 w 215"/>
                  <a:gd name="T25" fmla="*/ 106 h 178"/>
                  <a:gd name="T26" fmla="*/ 117 w 215"/>
                  <a:gd name="T27" fmla="*/ 99 h 178"/>
                  <a:gd name="T28" fmla="*/ 117 w 215"/>
                  <a:gd name="T29" fmla="*/ 100 h 178"/>
                  <a:gd name="T30" fmla="*/ 120 w 215"/>
                  <a:gd name="T31" fmla="*/ 95 h 178"/>
                  <a:gd name="T32" fmla="*/ 121 w 215"/>
                  <a:gd name="T33" fmla="*/ 95 h 178"/>
                  <a:gd name="T34" fmla="*/ 122 w 215"/>
                  <a:gd name="T35" fmla="*/ 90 h 178"/>
                  <a:gd name="T36" fmla="*/ 112 w 215"/>
                  <a:gd name="T37" fmla="*/ 103 h 178"/>
                  <a:gd name="T38" fmla="*/ 99 w 215"/>
                  <a:gd name="T39" fmla="*/ 130 h 178"/>
                  <a:gd name="T40" fmla="*/ 92 w 215"/>
                  <a:gd name="T41" fmla="*/ 134 h 178"/>
                  <a:gd name="T42" fmla="*/ 85 w 215"/>
                  <a:gd name="T43" fmla="*/ 135 h 178"/>
                  <a:gd name="T44" fmla="*/ 83 w 215"/>
                  <a:gd name="T45" fmla="*/ 128 h 178"/>
                  <a:gd name="T46" fmla="*/ 34 w 215"/>
                  <a:gd name="T47" fmla="*/ 136 h 178"/>
                  <a:gd name="T48" fmla="*/ 11 w 215"/>
                  <a:gd name="T49" fmla="*/ 155 h 178"/>
                  <a:gd name="T50" fmla="*/ 5 w 215"/>
                  <a:gd name="T51" fmla="*/ 158 h 178"/>
                  <a:gd name="T52" fmla="*/ 1 w 215"/>
                  <a:gd name="T53" fmla="*/ 158 h 178"/>
                  <a:gd name="T54" fmla="*/ 0 w 215"/>
                  <a:gd name="T55" fmla="*/ 164 h 178"/>
                  <a:gd name="T56" fmla="*/ 1 w 215"/>
                  <a:gd name="T57" fmla="*/ 168 h 178"/>
                  <a:gd name="T58" fmla="*/ 2 w 215"/>
                  <a:gd name="T59" fmla="*/ 168 h 178"/>
                  <a:gd name="T60" fmla="*/ 23 w 215"/>
                  <a:gd name="T61" fmla="*/ 169 h 178"/>
                  <a:gd name="T62" fmla="*/ 33 w 215"/>
                  <a:gd name="T63" fmla="*/ 162 h 178"/>
                  <a:gd name="T64" fmla="*/ 50 w 215"/>
                  <a:gd name="T65" fmla="*/ 156 h 178"/>
                  <a:gd name="T66" fmla="*/ 57 w 215"/>
                  <a:gd name="T67" fmla="*/ 157 h 178"/>
                  <a:gd name="T68" fmla="*/ 85 w 215"/>
                  <a:gd name="T69" fmla="*/ 151 h 178"/>
                  <a:gd name="T70" fmla="*/ 81 w 215"/>
                  <a:gd name="T71" fmla="*/ 163 h 178"/>
                  <a:gd name="T72" fmla="*/ 86 w 215"/>
                  <a:gd name="T73" fmla="*/ 173 h 178"/>
                  <a:gd name="T74" fmla="*/ 109 w 215"/>
                  <a:gd name="T75" fmla="*/ 160 h 178"/>
                  <a:gd name="T76" fmla="*/ 111 w 215"/>
                  <a:gd name="T77" fmla="*/ 159 h 178"/>
                  <a:gd name="T78" fmla="*/ 114 w 215"/>
                  <a:gd name="T79" fmla="*/ 161 h 178"/>
                  <a:gd name="T80" fmla="*/ 109 w 215"/>
                  <a:gd name="T81" fmla="*/ 151 h 178"/>
                  <a:gd name="T82" fmla="*/ 115 w 215"/>
                  <a:gd name="T83" fmla="*/ 151 h 178"/>
                  <a:gd name="T84" fmla="*/ 120 w 215"/>
                  <a:gd name="T85" fmla="*/ 152 h 178"/>
                  <a:gd name="T86" fmla="*/ 141 w 215"/>
                  <a:gd name="T87" fmla="*/ 150 h 178"/>
                  <a:gd name="T88" fmla="*/ 146 w 215"/>
                  <a:gd name="T89" fmla="*/ 145 h 178"/>
                  <a:gd name="T90" fmla="*/ 153 w 215"/>
                  <a:gd name="T91" fmla="*/ 144 h 178"/>
                  <a:gd name="T92" fmla="*/ 154 w 215"/>
                  <a:gd name="T93" fmla="*/ 152 h 178"/>
                  <a:gd name="T94" fmla="*/ 163 w 215"/>
                  <a:gd name="T95" fmla="*/ 141 h 178"/>
                  <a:gd name="T96" fmla="*/ 171 w 215"/>
                  <a:gd name="T97" fmla="*/ 147 h 178"/>
                  <a:gd name="T98" fmla="*/ 182 w 215"/>
                  <a:gd name="T99" fmla="*/ 139 h 178"/>
                  <a:gd name="T100" fmla="*/ 186 w 215"/>
                  <a:gd name="T101" fmla="*/ 114 h 178"/>
                  <a:gd name="T102" fmla="*/ 193 w 215"/>
                  <a:gd name="T103" fmla="*/ 96 h 178"/>
                  <a:gd name="T104" fmla="*/ 197 w 215"/>
                  <a:gd name="T105" fmla="*/ 72 h 178"/>
                  <a:gd name="T106" fmla="*/ 203 w 215"/>
                  <a:gd name="T107" fmla="*/ 73 h 178"/>
                  <a:gd name="T108" fmla="*/ 205 w 215"/>
                  <a:gd name="T109" fmla="*/ 58 h 178"/>
                  <a:gd name="T110" fmla="*/ 209 w 215"/>
                  <a:gd name="T111" fmla="*/ 57 h 178"/>
                  <a:gd name="T112" fmla="*/ 201 w 215"/>
                  <a:gd name="T113" fmla="*/ 17 h 178"/>
                  <a:gd name="T114" fmla="*/ 197 w 215"/>
                  <a:gd name="T115" fmla="*/ 2 h 1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178">
                    <a:moveTo>
                      <a:pt x="192" y="0"/>
                    </a:moveTo>
                    <a:cubicBezTo>
                      <a:pt x="192" y="0"/>
                      <a:pt x="192" y="0"/>
                      <a:pt x="192" y="0"/>
                    </a:cubicBezTo>
                    <a:cubicBezTo>
                      <a:pt x="191" y="0"/>
                      <a:pt x="188" y="6"/>
                      <a:pt x="189" y="8"/>
                    </a:cubicBezTo>
                    <a:cubicBezTo>
                      <a:pt x="189" y="9"/>
                      <a:pt x="189" y="9"/>
                      <a:pt x="190" y="9"/>
                    </a:cubicBezTo>
                    <a:cubicBezTo>
                      <a:pt x="191" y="9"/>
                      <a:pt x="192" y="8"/>
                      <a:pt x="193" y="8"/>
                    </a:cubicBezTo>
                    <a:cubicBezTo>
                      <a:pt x="195" y="7"/>
                      <a:pt x="196" y="7"/>
                      <a:pt x="197" y="7"/>
                    </a:cubicBezTo>
                    <a:cubicBezTo>
                      <a:pt x="197" y="7"/>
                      <a:pt x="197" y="7"/>
                      <a:pt x="197" y="7"/>
                    </a:cubicBezTo>
                    <a:cubicBezTo>
                      <a:pt x="199" y="7"/>
                      <a:pt x="198" y="11"/>
                      <a:pt x="198" y="12"/>
                    </a:cubicBezTo>
                    <a:cubicBezTo>
                      <a:pt x="197" y="13"/>
                      <a:pt x="197" y="14"/>
                      <a:pt x="196" y="15"/>
                    </a:cubicBezTo>
                    <a:cubicBezTo>
                      <a:pt x="196" y="15"/>
                      <a:pt x="195" y="15"/>
                      <a:pt x="195" y="15"/>
                    </a:cubicBezTo>
                    <a:cubicBezTo>
                      <a:pt x="194" y="15"/>
                      <a:pt x="193" y="15"/>
                      <a:pt x="193" y="15"/>
                    </a:cubicBezTo>
                    <a:cubicBezTo>
                      <a:pt x="192" y="15"/>
                      <a:pt x="191" y="15"/>
                      <a:pt x="191" y="15"/>
                    </a:cubicBezTo>
                    <a:cubicBezTo>
                      <a:pt x="191" y="15"/>
                      <a:pt x="191" y="15"/>
                      <a:pt x="190" y="15"/>
                    </a:cubicBezTo>
                    <a:cubicBezTo>
                      <a:pt x="190" y="15"/>
                      <a:pt x="190" y="16"/>
                      <a:pt x="189" y="16"/>
                    </a:cubicBezTo>
                    <a:cubicBezTo>
                      <a:pt x="189" y="16"/>
                      <a:pt x="189" y="16"/>
                      <a:pt x="189" y="16"/>
                    </a:cubicBezTo>
                    <a:cubicBezTo>
                      <a:pt x="187" y="16"/>
                      <a:pt x="187" y="12"/>
                      <a:pt x="186" y="10"/>
                    </a:cubicBezTo>
                    <a:cubicBezTo>
                      <a:pt x="186" y="9"/>
                      <a:pt x="187" y="9"/>
                      <a:pt x="186" y="8"/>
                    </a:cubicBezTo>
                    <a:cubicBezTo>
                      <a:pt x="185" y="7"/>
                      <a:pt x="182" y="7"/>
                      <a:pt x="180" y="7"/>
                    </a:cubicBezTo>
                    <a:cubicBezTo>
                      <a:pt x="181" y="10"/>
                      <a:pt x="182" y="11"/>
                      <a:pt x="180" y="14"/>
                    </a:cubicBezTo>
                    <a:cubicBezTo>
                      <a:pt x="178" y="15"/>
                      <a:pt x="175" y="17"/>
                      <a:pt x="174" y="18"/>
                    </a:cubicBezTo>
                    <a:cubicBezTo>
                      <a:pt x="171" y="21"/>
                      <a:pt x="171" y="21"/>
                      <a:pt x="173" y="25"/>
                    </a:cubicBezTo>
                    <a:cubicBezTo>
                      <a:pt x="174" y="27"/>
                      <a:pt x="171" y="33"/>
                      <a:pt x="170" y="35"/>
                    </a:cubicBezTo>
                    <a:cubicBezTo>
                      <a:pt x="170" y="35"/>
                      <a:pt x="169" y="35"/>
                      <a:pt x="168" y="35"/>
                    </a:cubicBezTo>
                    <a:cubicBezTo>
                      <a:pt x="169" y="36"/>
                      <a:pt x="170" y="37"/>
                      <a:pt x="171" y="38"/>
                    </a:cubicBezTo>
                    <a:cubicBezTo>
                      <a:pt x="171" y="38"/>
                      <a:pt x="171" y="38"/>
                      <a:pt x="171" y="38"/>
                    </a:cubicBezTo>
                    <a:cubicBezTo>
                      <a:pt x="171" y="38"/>
                      <a:pt x="171" y="38"/>
                      <a:pt x="171" y="37"/>
                    </a:cubicBezTo>
                    <a:cubicBezTo>
                      <a:pt x="172" y="37"/>
                      <a:pt x="172" y="37"/>
                      <a:pt x="172" y="37"/>
                    </a:cubicBezTo>
                    <a:cubicBezTo>
                      <a:pt x="172" y="37"/>
                      <a:pt x="172" y="37"/>
                      <a:pt x="172" y="37"/>
                    </a:cubicBezTo>
                    <a:cubicBezTo>
                      <a:pt x="173" y="37"/>
                      <a:pt x="174" y="38"/>
                      <a:pt x="174" y="39"/>
                    </a:cubicBezTo>
                    <a:cubicBezTo>
                      <a:pt x="176" y="41"/>
                      <a:pt x="174" y="45"/>
                      <a:pt x="173" y="48"/>
                    </a:cubicBezTo>
                    <a:cubicBezTo>
                      <a:pt x="172" y="54"/>
                      <a:pt x="170" y="59"/>
                      <a:pt x="167" y="65"/>
                    </a:cubicBezTo>
                    <a:cubicBezTo>
                      <a:pt x="165" y="67"/>
                      <a:pt x="164" y="70"/>
                      <a:pt x="163" y="73"/>
                    </a:cubicBezTo>
                    <a:cubicBezTo>
                      <a:pt x="163" y="74"/>
                      <a:pt x="163" y="75"/>
                      <a:pt x="163" y="76"/>
                    </a:cubicBezTo>
                    <a:cubicBezTo>
                      <a:pt x="162" y="78"/>
                      <a:pt x="159" y="80"/>
                      <a:pt x="158" y="81"/>
                    </a:cubicBezTo>
                    <a:cubicBezTo>
                      <a:pt x="154" y="84"/>
                      <a:pt x="151" y="87"/>
                      <a:pt x="148" y="90"/>
                    </a:cubicBezTo>
                    <a:cubicBezTo>
                      <a:pt x="147" y="92"/>
                      <a:pt x="147" y="93"/>
                      <a:pt x="145" y="94"/>
                    </a:cubicBezTo>
                    <a:cubicBezTo>
                      <a:pt x="140" y="96"/>
                      <a:pt x="134" y="99"/>
                      <a:pt x="129" y="102"/>
                    </a:cubicBezTo>
                    <a:cubicBezTo>
                      <a:pt x="126" y="103"/>
                      <a:pt x="124" y="107"/>
                      <a:pt x="121" y="107"/>
                    </a:cubicBezTo>
                    <a:cubicBezTo>
                      <a:pt x="120" y="107"/>
                      <a:pt x="119" y="107"/>
                      <a:pt x="118" y="106"/>
                    </a:cubicBezTo>
                    <a:cubicBezTo>
                      <a:pt x="117" y="105"/>
                      <a:pt x="117" y="105"/>
                      <a:pt x="117" y="103"/>
                    </a:cubicBezTo>
                    <a:cubicBezTo>
                      <a:pt x="118" y="103"/>
                      <a:pt x="118" y="100"/>
                      <a:pt x="118" y="100"/>
                    </a:cubicBezTo>
                    <a:cubicBezTo>
                      <a:pt x="118" y="99"/>
                      <a:pt x="117" y="99"/>
                      <a:pt x="117" y="99"/>
                    </a:cubicBezTo>
                    <a:cubicBezTo>
                      <a:pt x="117" y="99"/>
                      <a:pt x="117" y="99"/>
                      <a:pt x="117" y="100"/>
                    </a:cubicBezTo>
                    <a:cubicBezTo>
                      <a:pt x="117" y="100"/>
                      <a:pt x="117" y="100"/>
                      <a:pt x="117" y="100"/>
                    </a:cubicBezTo>
                    <a:cubicBezTo>
                      <a:pt x="117" y="100"/>
                      <a:pt x="117" y="100"/>
                      <a:pt x="117" y="100"/>
                    </a:cubicBezTo>
                    <a:cubicBezTo>
                      <a:pt x="116" y="100"/>
                      <a:pt x="114" y="100"/>
                      <a:pt x="114" y="99"/>
                    </a:cubicBezTo>
                    <a:cubicBezTo>
                      <a:pt x="114" y="97"/>
                      <a:pt x="117" y="97"/>
                      <a:pt x="117" y="97"/>
                    </a:cubicBezTo>
                    <a:cubicBezTo>
                      <a:pt x="118" y="97"/>
                      <a:pt x="119" y="96"/>
                      <a:pt x="120" y="95"/>
                    </a:cubicBezTo>
                    <a:cubicBezTo>
                      <a:pt x="120" y="95"/>
                      <a:pt x="120" y="95"/>
                      <a:pt x="120" y="95"/>
                    </a:cubicBezTo>
                    <a:cubicBezTo>
                      <a:pt x="120" y="95"/>
                      <a:pt x="120" y="95"/>
                      <a:pt x="120" y="95"/>
                    </a:cubicBezTo>
                    <a:cubicBezTo>
                      <a:pt x="121" y="95"/>
                      <a:pt x="121" y="95"/>
                      <a:pt x="121" y="95"/>
                    </a:cubicBezTo>
                    <a:cubicBezTo>
                      <a:pt x="121" y="95"/>
                      <a:pt x="121" y="95"/>
                      <a:pt x="121" y="95"/>
                    </a:cubicBezTo>
                    <a:cubicBezTo>
                      <a:pt x="123" y="94"/>
                      <a:pt x="125" y="90"/>
                      <a:pt x="122" y="90"/>
                    </a:cubicBezTo>
                    <a:cubicBezTo>
                      <a:pt x="122" y="90"/>
                      <a:pt x="122" y="90"/>
                      <a:pt x="122" y="90"/>
                    </a:cubicBezTo>
                    <a:cubicBezTo>
                      <a:pt x="121" y="90"/>
                      <a:pt x="119" y="91"/>
                      <a:pt x="119" y="91"/>
                    </a:cubicBezTo>
                    <a:cubicBezTo>
                      <a:pt x="117" y="92"/>
                      <a:pt x="114" y="92"/>
                      <a:pt x="113" y="93"/>
                    </a:cubicBezTo>
                    <a:cubicBezTo>
                      <a:pt x="110" y="95"/>
                      <a:pt x="113" y="100"/>
                      <a:pt x="112" y="103"/>
                    </a:cubicBezTo>
                    <a:cubicBezTo>
                      <a:pt x="112" y="106"/>
                      <a:pt x="109" y="109"/>
                      <a:pt x="107" y="111"/>
                    </a:cubicBezTo>
                    <a:cubicBezTo>
                      <a:pt x="104" y="115"/>
                      <a:pt x="99" y="120"/>
                      <a:pt x="98" y="124"/>
                    </a:cubicBezTo>
                    <a:cubicBezTo>
                      <a:pt x="98" y="127"/>
                      <a:pt x="100" y="128"/>
                      <a:pt x="99" y="130"/>
                    </a:cubicBezTo>
                    <a:cubicBezTo>
                      <a:pt x="99" y="130"/>
                      <a:pt x="99" y="130"/>
                      <a:pt x="99" y="130"/>
                    </a:cubicBezTo>
                    <a:cubicBezTo>
                      <a:pt x="97" y="130"/>
                      <a:pt x="95" y="133"/>
                      <a:pt x="94" y="133"/>
                    </a:cubicBezTo>
                    <a:cubicBezTo>
                      <a:pt x="93" y="134"/>
                      <a:pt x="93" y="134"/>
                      <a:pt x="92" y="134"/>
                    </a:cubicBezTo>
                    <a:cubicBezTo>
                      <a:pt x="91" y="134"/>
                      <a:pt x="91" y="134"/>
                      <a:pt x="90" y="134"/>
                    </a:cubicBezTo>
                    <a:cubicBezTo>
                      <a:pt x="89" y="134"/>
                      <a:pt x="89" y="134"/>
                      <a:pt x="88" y="134"/>
                    </a:cubicBezTo>
                    <a:cubicBezTo>
                      <a:pt x="87" y="134"/>
                      <a:pt x="86" y="134"/>
                      <a:pt x="85" y="135"/>
                    </a:cubicBezTo>
                    <a:cubicBezTo>
                      <a:pt x="84" y="134"/>
                      <a:pt x="83" y="133"/>
                      <a:pt x="84" y="131"/>
                    </a:cubicBezTo>
                    <a:cubicBezTo>
                      <a:pt x="84" y="130"/>
                      <a:pt x="85" y="130"/>
                      <a:pt x="85" y="130"/>
                    </a:cubicBezTo>
                    <a:cubicBezTo>
                      <a:pt x="84" y="129"/>
                      <a:pt x="84" y="128"/>
                      <a:pt x="83" y="128"/>
                    </a:cubicBezTo>
                    <a:cubicBezTo>
                      <a:pt x="81" y="128"/>
                      <a:pt x="77" y="131"/>
                      <a:pt x="76" y="131"/>
                    </a:cubicBezTo>
                    <a:cubicBezTo>
                      <a:pt x="69" y="132"/>
                      <a:pt x="61" y="132"/>
                      <a:pt x="54" y="132"/>
                    </a:cubicBezTo>
                    <a:cubicBezTo>
                      <a:pt x="47" y="133"/>
                      <a:pt x="41" y="134"/>
                      <a:pt x="34" y="136"/>
                    </a:cubicBezTo>
                    <a:cubicBezTo>
                      <a:pt x="35" y="139"/>
                      <a:pt x="32" y="139"/>
                      <a:pt x="30" y="141"/>
                    </a:cubicBezTo>
                    <a:cubicBezTo>
                      <a:pt x="26" y="144"/>
                      <a:pt x="21" y="148"/>
                      <a:pt x="17" y="151"/>
                    </a:cubicBezTo>
                    <a:cubicBezTo>
                      <a:pt x="15" y="152"/>
                      <a:pt x="13" y="153"/>
                      <a:pt x="11" y="155"/>
                    </a:cubicBezTo>
                    <a:cubicBezTo>
                      <a:pt x="10" y="156"/>
                      <a:pt x="10" y="158"/>
                      <a:pt x="8" y="158"/>
                    </a:cubicBezTo>
                    <a:cubicBezTo>
                      <a:pt x="7" y="158"/>
                      <a:pt x="7" y="158"/>
                      <a:pt x="7" y="158"/>
                    </a:cubicBezTo>
                    <a:cubicBezTo>
                      <a:pt x="6" y="158"/>
                      <a:pt x="5" y="158"/>
                      <a:pt x="5" y="158"/>
                    </a:cubicBezTo>
                    <a:cubicBezTo>
                      <a:pt x="4" y="157"/>
                      <a:pt x="3" y="157"/>
                      <a:pt x="3" y="157"/>
                    </a:cubicBezTo>
                    <a:cubicBezTo>
                      <a:pt x="2" y="157"/>
                      <a:pt x="2" y="157"/>
                      <a:pt x="1" y="158"/>
                    </a:cubicBezTo>
                    <a:cubicBezTo>
                      <a:pt x="1" y="158"/>
                      <a:pt x="1" y="158"/>
                      <a:pt x="1" y="158"/>
                    </a:cubicBezTo>
                    <a:cubicBezTo>
                      <a:pt x="1" y="158"/>
                      <a:pt x="0" y="159"/>
                      <a:pt x="0" y="160"/>
                    </a:cubicBezTo>
                    <a:cubicBezTo>
                      <a:pt x="0" y="161"/>
                      <a:pt x="1" y="162"/>
                      <a:pt x="1" y="163"/>
                    </a:cubicBezTo>
                    <a:cubicBezTo>
                      <a:pt x="1" y="163"/>
                      <a:pt x="0" y="163"/>
                      <a:pt x="0" y="164"/>
                    </a:cubicBezTo>
                    <a:cubicBezTo>
                      <a:pt x="0" y="164"/>
                      <a:pt x="0" y="165"/>
                      <a:pt x="0" y="165"/>
                    </a:cubicBezTo>
                    <a:cubicBezTo>
                      <a:pt x="0" y="166"/>
                      <a:pt x="1" y="166"/>
                      <a:pt x="0" y="167"/>
                    </a:cubicBezTo>
                    <a:cubicBezTo>
                      <a:pt x="0" y="168"/>
                      <a:pt x="1" y="168"/>
                      <a:pt x="1" y="168"/>
                    </a:cubicBezTo>
                    <a:cubicBezTo>
                      <a:pt x="1" y="168"/>
                      <a:pt x="1" y="168"/>
                      <a:pt x="2" y="167"/>
                    </a:cubicBezTo>
                    <a:cubicBezTo>
                      <a:pt x="2" y="167"/>
                      <a:pt x="2" y="167"/>
                      <a:pt x="2" y="167"/>
                    </a:cubicBezTo>
                    <a:cubicBezTo>
                      <a:pt x="2" y="167"/>
                      <a:pt x="2" y="167"/>
                      <a:pt x="2" y="168"/>
                    </a:cubicBezTo>
                    <a:cubicBezTo>
                      <a:pt x="8" y="167"/>
                      <a:pt x="13" y="167"/>
                      <a:pt x="18" y="166"/>
                    </a:cubicBezTo>
                    <a:cubicBezTo>
                      <a:pt x="17" y="167"/>
                      <a:pt x="20" y="167"/>
                      <a:pt x="21" y="168"/>
                    </a:cubicBezTo>
                    <a:cubicBezTo>
                      <a:pt x="21" y="168"/>
                      <a:pt x="23" y="168"/>
                      <a:pt x="23" y="169"/>
                    </a:cubicBezTo>
                    <a:cubicBezTo>
                      <a:pt x="24" y="168"/>
                      <a:pt x="26" y="159"/>
                      <a:pt x="29" y="159"/>
                    </a:cubicBezTo>
                    <a:cubicBezTo>
                      <a:pt x="29" y="159"/>
                      <a:pt x="29" y="159"/>
                      <a:pt x="29" y="159"/>
                    </a:cubicBezTo>
                    <a:cubicBezTo>
                      <a:pt x="32" y="160"/>
                      <a:pt x="31" y="162"/>
                      <a:pt x="33" y="162"/>
                    </a:cubicBezTo>
                    <a:cubicBezTo>
                      <a:pt x="34" y="162"/>
                      <a:pt x="35" y="162"/>
                      <a:pt x="35" y="162"/>
                    </a:cubicBezTo>
                    <a:cubicBezTo>
                      <a:pt x="40" y="162"/>
                      <a:pt x="44" y="159"/>
                      <a:pt x="48" y="157"/>
                    </a:cubicBezTo>
                    <a:cubicBezTo>
                      <a:pt x="49" y="156"/>
                      <a:pt x="50" y="156"/>
                      <a:pt x="50" y="156"/>
                    </a:cubicBezTo>
                    <a:cubicBezTo>
                      <a:pt x="51" y="156"/>
                      <a:pt x="52" y="156"/>
                      <a:pt x="53" y="156"/>
                    </a:cubicBezTo>
                    <a:cubicBezTo>
                      <a:pt x="54" y="157"/>
                      <a:pt x="55" y="157"/>
                      <a:pt x="56" y="157"/>
                    </a:cubicBezTo>
                    <a:cubicBezTo>
                      <a:pt x="56" y="157"/>
                      <a:pt x="57" y="157"/>
                      <a:pt x="57" y="157"/>
                    </a:cubicBezTo>
                    <a:cubicBezTo>
                      <a:pt x="59" y="156"/>
                      <a:pt x="58" y="154"/>
                      <a:pt x="60" y="153"/>
                    </a:cubicBezTo>
                    <a:cubicBezTo>
                      <a:pt x="61" y="152"/>
                      <a:pt x="64" y="151"/>
                      <a:pt x="66" y="151"/>
                    </a:cubicBezTo>
                    <a:cubicBezTo>
                      <a:pt x="72" y="151"/>
                      <a:pt x="79" y="151"/>
                      <a:pt x="85" y="151"/>
                    </a:cubicBezTo>
                    <a:cubicBezTo>
                      <a:pt x="90" y="151"/>
                      <a:pt x="87" y="155"/>
                      <a:pt x="85" y="156"/>
                    </a:cubicBezTo>
                    <a:cubicBezTo>
                      <a:pt x="83" y="157"/>
                      <a:pt x="82" y="159"/>
                      <a:pt x="80" y="160"/>
                    </a:cubicBezTo>
                    <a:cubicBezTo>
                      <a:pt x="80" y="160"/>
                      <a:pt x="81" y="162"/>
                      <a:pt x="81" y="163"/>
                    </a:cubicBezTo>
                    <a:cubicBezTo>
                      <a:pt x="81" y="163"/>
                      <a:pt x="81" y="164"/>
                      <a:pt x="81" y="164"/>
                    </a:cubicBezTo>
                    <a:cubicBezTo>
                      <a:pt x="81" y="166"/>
                      <a:pt x="81" y="167"/>
                      <a:pt x="80" y="169"/>
                    </a:cubicBezTo>
                    <a:cubicBezTo>
                      <a:pt x="82" y="170"/>
                      <a:pt x="84" y="171"/>
                      <a:pt x="86" y="173"/>
                    </a:cubicBezTo>
                    <a:cubicBezTo>
                      <a:pt x="82" y="174"/>
                      <a:pt x="93" y="178"/>
                      <a:pt x="93" y="178"/>
                    </a:cubicBezTo>
                    <a:cubicBezTo>
                      <a:pt x="97" y="174"/>
                      <a:pt x="101" y="169"/>
                      <a:pt x="105" y="164"/>
                    </a:cubicBezTo>
                    <a:cubicBezTo>
                      <a:pt x="106" y="162"/>
                      <a:pt x="107" y="161"/>
                      <a:pt x="109" y="160"/>
                    </a:cubicBezTo>
                    <a:cubicBezTo>
                      <a:pt x="109" y="160"/>
                      <a:pt x="110" y="160"/>
                      <a:pt x="110" y="160"/>
                    </a:cubicBezTo>
                    <a:cubicBezTo>
                      <a:pt x="111" y="160"/>
                      <a:pt x="111" y="159"/>
                      <a:pt x="111" y="159"/>
                    </a:cubicBezTo>
                    <a:cubicBezTo>
                      <a:pt x="111" y="159"/>
                      <a:pt x="111" y="159"/>
                      <a:pt x="111" y="159"/>
                    </a:cubicBezTo>
                    <a:cubicBezTo>
                      <a:pt x="112" y="159"/>
                      <a:pt x="112" y="160"/>
                      <a:pt x="111" y="160"/>
                    </a:cubicBezTo>
                    <a:cubicBezTo>
                      <a:pt x="112" y="160"/>
                      <a:pt x="112" y="160"/>
                      <a:pt x="113" y="160"/>
                    </a:cubicBezTo>
                    <a:cubicBezTo>
                      <a:pt x="114" y="160"/>
                      <a:pt x="114" y="160"/>
                      <a:pt x="114" y="161"/>
                    </a:cubicBezTo>
                    <a:cubicBezTo>
                      <a:pt x="115" y="161"/>
                      <a:pt x="115" y="161"/>
                      <a:pt x="115" y="161"/>
                    </a:cubicBezTo>
                    <a:cubicBezTo>
                      <a:pt x="114" y="157"/>
                      <a:pt x="112" y="155"/>
                      <a:pt x="110" y="154"/>
                    </a:cubicBezTo>
                    <a:cubicBezTo>
                      <a:pt x="108" y="153"/>
                      <a:pt x="107" y="154"/>
                      <a:pt x="109" y="151"/>
                    </a:cubicBezTo>
                    <a:cubicBezTo>
                      <a:pt x="109" y="148"/>
                      <a:pt x="111" y="144"/>
                      <a:pt x="115" y="143"/>
                    </a:cubicBezTo>
                    <a:cubicBezTo>
                      <a:pt x="114" y="146"/>
                      <a:pt x="113" y="147"/>
                      <a:pt x="114" y="149"/>
                    </a:cubicBezTo>
                    <a:cubicBezTo>
                      <a:pt x="115" y="150"/>
                      <a:pt x="115" y="151"/>
                      <a:pt x="115" y="151"/>
                    </a:cubicBezTo>
                    <a:cubicBezTo>
                      <a:pt x="115" y="151"/>
                      <a:pt x="115" y="150"/>
                      <a:pt x="115" y="149"/>
                    </a:cubicBezTo>
                    <a:cubicBezTo>
                      <a:pt x="116" y="148"/>
                      <a:pt x="116" y="147"/>
                      <a:pt x="116" y="146"/>
                    </a:cubicBezTo>
                    <a:cubicBezTo>
                      <a:pt x="117" y="150"/>
                      <a:pt x="118" y="149"/>
                      <a:pt x="120" y="152"/>
                    </a:cubicBezTo>
                    <a:cubicBezTo>
                      <a:pt x="119" y="153"/>
                      <a:pt x="118" y="152"/>
                      <a:pt x="117" y="154"/>
                    </a:cubicBezTo>
                    <a:cubicBezTo>
                      <a:pt x="122" y="153"/>
                      <a:pt x="127" y="152"/>
                      <a:pt x="132" y="151"/>
                    </a:cubicBezTo>
                    <a:cubicBezTo>
                      <a:pt x="134" y="151"/>
                      <a:pt x="140" y="152"/>
                      <a:pt x="141" y="150"/>
                    </a:cubicBezTo>
                    <a:cubicBezTo>
                      <a:pt x="143" y="149"/>
                      <a:pt x="142" y="147"/>
                      <a:pt x="144" y="146"/>
                    </a:cubicBezTo>
                    <a:cubicBezTo>
                      <a:pt x="145" y="145"/>
                      <a:pt x="146" y="145"/>
                      <a:pt x="146" y="145"/>
                    </a:cubicBezTo>
                    <a:cubicBezTo>
                      <a:pt x="146" y="145"/>
                      <a:pt x="146" y="145"/>
                      <a:pt x="146" y="145"/>
                    </a:cubicBezTo>
                    <a:cubicBezTo>
                      <a:pt x="146" y="145"/>
                      <a:pt x="146" y="144"/>
                      <a:pt x="146" y="143"/>
                    </a:cubicBezTo>
                    <a:cubicBezTo>
                      <a:pt x="147" y="142"/>
                      <a:pt x="148" y="142"/>
                      <a:pt x="149" y="142"/>
                    </a:cubicBezTo>
                    <a:cubicBezTo>
                      <a:pt x="150" y="142"/>
                      <a:pt x="152" y="143"/>
                      <a:pt x="153" y="144"/>
                    </a:cubicBezTo>
                    <a:cubicBezTo>
                      <a:pt x="152" y="144"/>
                      <a:pt x="151" y="144"/>
                      <a:pt x="151" y="145"/>
                    </a:cubicBezTo>
                    <a:cubicBezTo>
                      <a:pt x="150" y="147"/>
                      <a:pt x="152" y="152"/>
                      <a:pt x="152" y="153"/>
                    </a:cubicBezTo>
                    <a:cubicBezTo>
                      <a:pt x="152" y="153"/>
                      <a:pt x="153" y="153"/>
                      <a:pt x="154" y="152"/>
                    </a:cubicBezTo>
                    <a:cubicBezTo>
                      <a:pt x="156" y="151"/>
                      <a:pt x="158" y="148"/>
                      <a:pt x="157" y="145"/>
                    </a:cubicBezTo>
                    <a:cubicBezTo>
                      <a:pt x="157" y="144"/>
                      <a:pt x="157" y="143"/>
                      <a:pt x="157" y="143"/>
                    </a:cubicBezTo>
                    <a:cubicBezTo>
                      <a:pt x="159" y="142"/>
                      <a:pt x="161" y="141"/>
                      <a:pt x="163" y="141"/>
                    </a:cubicBezTo>
                    <a:cubicBezTo>
                      <a:pt x="166" y="141"/>
                      <a:pt x="169" y="143"/>
                      <a:pt x="170" y="145"/>
                    </a:cubicBezTo>
                    <a:cubicBezTo>
                      <a:pt x="170" y="146"/>
                      <a:pt x="170" y="146"/>
                      <a:pt x="170" y="146"/>
                    </a:cubicBezTo>
                    <a:cubicBezTo>
                      <a:pt x="170" y="146"/>
                      <a:pt x="171" y="147"/>
                      <a:pt x="171" y="147"/>
                    </a:cubicBezTo>
                    <a:cubicBezTo>
                      <a:pt x="171" y="147"/>
                      <a:pt x="171" y="147"/>
                      <a:pt x="171" y="147"/>
                    </a:cubicBezTo>
                    <a:cubicBezTo>
                      <a:pt x="172" y="147"/>
                      <a:pt x="172" y="147"/>
                      <a:pt x="173" y="146"/>
                    </a:cubicBezTo>
                    <a:cubicBezTo>
                      <a:pt x="176" y="146"/>
                      <a:pt x="181" y="142"/>
                      <a:pt x="182" y="139"/>
                    </a:cubicBezTo>
                    <a:cubicBezTo>
                      <a:pt x="182" y="133"/>
                      <a:pt x="185" y="132"/>
                      <a:pt x="190" y="129"/>
                    </a:cubicBezTo>
                    <a:cubicBezTo>
                      <a:pt x="189" y="126"/>
                      <a:pt x="186" y="124"/>
                      <a:pt x="185" y="121"/>
                    </a:cubicBezTo>
                    <a:cubicBezTo>
                      <a:pt x="185" y="119"/>
                      <a:pt x="185" y="116"/>
                      <a:pt x="186" y="114"/>
                    </a:cubicBezTo>
                    <a:cubicBezTo>
                      <a:pt x="187" y="111"/>
                      <a:pt x="188" y="108"/>
                      <a:pt x="189" y="105"/>
                    </a:cubicBezTo>
                    <a:cubicBezTo>
                      <a:pt x="189" y="103"/>
                      <a:pt x="191" y="103"/>
                      <a:pt x="192" y="102"/>
                    </a:cubicBezTo>
                    <a:cubicBezTo>
                      <a:pt x="193" y="101"/>
                      <a:pt x="193" y="98"/>
                      <a:pt x="193" y="96"/>
                    </a:cubicBezTo>
                    <a:cubicBezTo>
                      <a:pt x="193" y="91"/>
                      <a:pt x="191" y="85"/>
                      <a:pt x="192" y="80"/>
                    </a:cubicBezTo>
                    <a:cubicBezTo>
                      <a:pt x="192" y="78"/>
                      <a:pt x="192" y="76"/>
                      <a:pt x="193" y="74"/>
                    </a:cubicBezTo>
                    <a:cubicBezTo>
                      <a:pt x="194" y="72"/>
                      <a:pt x="194" y="73"/>
                      <a:pt x="197" y="72"/>
                    </a:cubicBezTo>
                    <a:cubicBezTo>
                      <a:pt x="198" y="71"/>
                      <a:pt x="198" y="70"/>
                      <a:pt x="199" y="70"/>
                    </a:cubicBezTo>
                    <a:cubicBezTo>
                      <a:pt x="199" y="70"/>
                      <a:pt x="199" y="70"/>
                      <a:pt x="199" y="70"/>
                    </a:cubicBezTo>
                    <a:cubicBezTo>
                      <a:pt x="201" y="70"/>
                      <a:pt x="202" y="72"/>
                      <a:pt x="203" y="73"/>
                    </a:cubicBezTo>
                    <a:cubicBezTo>
                      <a:pt x="202" y="67"/>
                      <a:pt x="202" y="65"/>
                      <a:pt x="204" y="60"/>
                    </a:cubicBezTo>
                    <a:cubicBezTo>
                      <a:pt x="205" y="58"/>
                      <a:pt x="205" y="58"/>
                      <a:pt x="205" y="58"/>
                    </a:cubicBezTo>
                    <a:cubicBezTo>
                      <a:pt x="205" y="58"/>
                      <a:pt x="205" y="58"/>
                      <a:pt x="205" y="58"/>
                    </a:cubicBezTo>
                    <a:cubicBezTo>
                      <a:pt x="206" y="58"/>
                      <a:pt x="206" y="58"/>
                      <a:pt x="207" y="58"/>
                    </a:cubicBezTo>
                    <a:cubicBezTo>
                      <a:pt x="207" y="57"/>
                      <a:pt x="207" y="57"/>
                      <a:pt x="207" y="57"/>
                    </a:cubicBezTo>
                    <a:cubicBezTo>
                      <a:pt x="209" y="57"/>
                      <a:pt x="209" y="57"/>
                      <a:pt x="209" y="57"/>
                    </a:cubicBezTo>
                    <a:cubicBezTo>
                      <a:pt x="210" y="55"/>
                      <a:pt x="213" y="47"/>
                      <a:pt x="212" y="46"/>
                    </a:cubicBezTo>
                    <a:cubicBezTo>
                      <a:pt x="215" y="44"/>
                      <a:pt x="208" y="32"/>
                      <a:pt x="207" y="28"/>
                    </a:cubicBezTo>
                    <a:cubicBezTo>
                      <a:pt x="206" y="24"/>
                      <a:pt x="202" y="21"/>
                      <a:pt x="201" y="17"/>
                    </a:cubicBezTo>
                    <a:cubicBezTo>
                      <a:pt x="200" y="13"/>
                      <a:pt x="201" y="9"/>
                      <a:pt x="201" y="5"/>
                    </a:cubicBezTo>
                    <a:cubicBezTo>
                      <a:pt x="201" y="5"/>
                      <a:pt x="202" y="4"/>
                      <a:pt x="202" y="3"/>
                    </a:cubicBezTo>
                    <a:cubicBezTo>
                      <a:pt x="202" y="2"/>
                      <a:pt x="198" y="2"/>
                      <a:pt x="197" y="2"/>
                    </a:cubicBezTo>
                    <a:cubicBezTo>
                      <a:pt x="196" y="2"/>
                      <a:pt x="193"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Freeform 109"/>
              <p:cNvSpPr>
                <a:spLocks noEditPoints="1"/>
              </p:cNvSpPr>
              <p:nvPr/>
            </p:nvSpPr>
            <p:spPr bwMode="auto">
              <a:xfrm>
                <a:off x="8457" y="1704"/>
                <a:ext cx="123" cy="82"/>
              </a:xfrm>
              <a:custGeom>
                <a:gdLst>
                  <a:gd name="T0" fmla="*/ 0 w 52"/>
                  <a:gd name="T1" fmla="*/ 21 h 35"/>
                  <a:gd name="T2" fmla="*/ 0 w 52"/>
                  <a:gd name="T3" fmla="*/ 21 h 35"/>
                  <a:gd name="T4" fmla="*/ 0 w 52"/>
                  <a:gd name="T5" fmla="*/ 21 h 35"/>
                  <a:gd name="T6" fmla="*/ 37 w 52"/>
                  <a:gd name="T7" fmla="*/ 0 h 35"/>
                  <a:gd name="T8" fmla="*/ 29 w 52"/>
                  <a:gd name="T9" fmla="*/ 2 h 35"/>
                  <a:gd name="T10" fmla="*/ 30 w 52"/>
                  <a:gd name="T11" fmla="*/ 7 h 35"/>
                  <a:gd name="T12" fmla="*/ 22 w 52"/>
                  <a:gd name="T13" fmla="*/ 9 h 35"/>
                  <a:gd name="T14" fmla="*/ 20 w 52"/>
                  <a:gd name="T15" fmla="*/ 8 h 35"/>
                  <a:gd name="T16" fmla="*/ 17 w 52"/>
                  <a:gd name="T17" fmla="*/ 5 h 35"/>
                  <a:gd name="T18" fmla="*/ 17 w 52"/>
                  <a:gd name="T19" fmla="*/ 5 h 35"/>
                  <a:gd name="T20" fmla="*/ 13 w 52"/>
                  <a:gd name="T21" fmla="*/ 10 h 35"/>
                  <a:gd name="T22" fmla="*/ 12 w 52"/>
                  <a:gd name="T23" fmla="*/ 13 h 35"/>
                  <a:gd name="T24" fmla="*/ 0 w 52"/>
                  <a:gd name="T25" fmla="*/ 21 h 35"/>
                  <a:gd name="T26" fmla="*/ 3 w 52"/>
                  <a:gd name="T27" fmla="*/ 21 h 35"/>
                  <a:gd name="T28" fmla="*/ 5 w 52"/>
                  <a:gd name="T29" fmla="*/ 19 h 35"/>
                  <a:gd name="T30" fmla="*/ 6 w 52"/>
                  <a:gd name="T31" fmla="*/ 19 h 35"/>
                  <a:gd name="T32" fmla="*/ 7 w 52"/>
                  <a:gd name="T33" fmla="*/ 21 h 35"/>
                  <a:gd name="T34" fmla="*/ 8 w 52"/>
                  <a:gd name="T35" fmla="*/ 22 h 35"/>
                  <a:gd name="T36" fmla="*/ 9 w 52"/>
                  <a:gd name="T37" fmla="*/ 22 h 35"/>
                  <a:gd name="T38" fmla="*/ 7 w 52"/>
                  <a:gd name="T39" fmla="*/ 25 h 35"/>
                  <a:gd name="T40" fmla="*/ 8 w 52"/>
                  <a:gd name="T41" fmla="*/ 28 h 35"/>
                  <a:gd name="T42" fmla="*/ 9 w 52"/>
                  <a:gd name="T43" fmla="*/ 31 h 35"/>
                  <a:gd name="T44" fmla="*/ 10 w 52"/>
                  <a:gd name="T45" fmla="*/ 30 h 35"/>
                  <a:gd name="T46" fmla="*/ 12 w 52"/>
                  <a:gd name="T47" fmla="*/ 34 h 35"/>
                  <a:gd name="T48" fmla="*/ 13 w 52"/>
                  <a:gd name="T49" fmla="*/ 33 h 35"/>
                  <a:gd name="T50" fmla="*/ 15 w 52"/>
                  <a:gd name="T51" fmla="*/ 34 h 35"/>
                  <a:gd name="T52" fmla="*/ 18 w 52"/>
                  <a:gd name="T53" fmla="*/ 35 h 35"/>
                  <a:gd name="T54" fmla="*/ 19 w 52"/>
                  <a:gd name="T55" fmla="*/ 34 h 35"/>
                  <a:gd name="T56" fmla="*/ 18 w 52"/>
                  <a:gd name="T57" fmla="*/ 33 h 35"/>
                  <a:gd name="T58" fmla="*/ 19 w 52"/>
                  <a:gd name="T59" fmla="*/ 32 h 35"/>
                  <a:gd name="T60" fmla="*/ 26 w 52"/>
                  <a:gd name="T61" fmla="*/ 22 h 35"/>
                  <a:gd name="T62" fmla="*/ 33 w 52"/>
                  <a:gd name="T63" fmla="*/ 18 h 35"/>
                  <a:gd name="T64" fmla="*/ 36 w 52"/>
                  <a:gd name="T65" fmla="*/ 18 h 35"/>
                  <a:gd name="T66" fmla="*/ 41 w 52"/>
                  <a:gd name="T67" fmla="*/ 23 h 35"/>
                  <a:gd name="T68" fmla="*/ 52 w 52"/>
                  <a:gd name="T69" fmla="*/ 11 h 35"/>
                  <a:gd name="T70" fmla="*/ 49 w 52"/>
                  <a:gd name="T71" fmla="*/ 8 h 35"/>
                  <a:gd name="T72" fmla="*/ 50 w 52"/>
                  <a:gd name="T73" fmla="*/ 2 h 35"/>
                  <a:gd name="T74" fmla="*/ 49 w 52"/>
                  <a:gd name="T75" fmla="*/ 3 h 35"/>
                  <a:gd name="T76" fmla="*/ 49 w 52"/>
                  <a:gd name="T77" fmla="*/ 2 h 35"/>
                  <a:gd name="T78" fmla="*/ 49 w 52"/>
                  <a:gd name="T79" fmla="*/ 2 h 35"/>
                  <a:gd name="T80" fmla="*/ 48 w 52"/>
                  <a:gd name="T81" fmla="*/ 3 h 35"/>
                  <a:gd name="T82" fmla="*/ 48 w 52"/>
                  <a:gd name="T83" fmla="*/ 3 h 35"/>
                  <a:gd name="T84" fmla="*/ 38 w 52"/>
                  <a:gd name="T85" fmla="*/ 0 h 35"/>
                  <a:gd name="T86" fmla="*/ 37 w 52"/>
                  <a:gd name="T87"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5">
                    <a:moveTo>
                      <a:pt x="0" y="21"/>
                    </a:moveTo>
                    <a:cubicBezTo>
                      <a:pt x="0" y="21"/>
                      <a:pt x="0" y="21"/>
                      <a:pt x="0" y="21"/>
                    </a:cubicBezTo>
                    <a:cubicBezTo>
                      <a:pt x="0" y="21"/>
                      <a:pt x="0" y="21"/>
                      <a:pt x="0" y="21"/>
                    </a:cubicBezTo>
                    <a:moveTo>
                      <a:pt x="37" y="0"/>
                    </a:moveTo>
                    <a:cubicBezTo>
                      <a:pt x="34" y="0"/>
                      <a:pt x="31" y="1"/>
                      <a:pt x="29" y="2"/>
                    </a:cubicBezTo>
                    <a:cubicBezTo>
                      <a:pt x="32" y="3"/>
                      <a:pt x="31" y="5"/>
                      <a:pt x="30" y="7"/>
                    </a:cubicBezTo>
                    <a:cubicBezTo>
                      <a:pt x="28" y="7"/>
                      <a:pt x="25" y="9"/>
                      <a:pt x="22" y="9"/>
                    </a:cubicBezTo>
                    <a:cubicBezTo>
                      <a:pt x="21" y="9"/>
                      <a:pt x="21" y="9"/>
                      <a:pt x="20" y="8"/>
                    </a:cubicBezTo>
                    <a:cubicBezTo>
                      <a:pt x="19" y="7"/>
                      <a:pt x="19" y="5"/>
                      <a:pt x="17" y="5"/>
                    </a:cubicBezTo>
                    <a:cubicBezTo>
                      <a:pt x="17" y="5"/>
                      <a:pt x="17" y="5"/>
                      <a:pt x="17" y="5"/>
                    </a:cubicBezTo>
                    <a:cubicBezTo>
                      <a:pt x="17" y="5"/>
                      <a:pt x="14" y="8"/>
                      <a:pt x="13" y="10"/>
                    </a:cubicBezTo>
                    <a:cubicBezTo>
                      <a:pt x="13" y="11"/>
                      <a:pt x="13" y="12"/>
                      <a:pt x="12" y="13"/>
                    </a:cubicBezTo>
                    <a:cubicBezTo>
                      <a:pt x="8" y="16"/>
                      <a:pt x="4" y="18"/>
                      <a:pt x="0" y="21"/>
                    </a:cubicBezTo>
                    <a:cubicBezTo>
                      <a:pt x="1" y="20"/>
                      <a:pt x="2" y="21"/>
                      <a:pt x="3" y="21"/>
                    </a:cubicBezTo>
                    <a:cubicBezTo>
                      <a:pt x="3" y="20"/>
                      <a:pt x="5" y="19"/>
                      <a:pt x="5" y="19"/>
                    </a:cubicBezTo>
                    <a:cubicBezTo>
                      <a:pt x="6" y="19"/>
                      <a:pt x="6" y="19"/>
                      <a:pt x="6" y="19"/>
                    </a:cubicBezTo>
                    <a:cubicBezTo>
                      <a:pt x="7" y="19"/>
                      <a:pt x="7" y="20"/>
                      <a:pt x="7" y="21"/>
                    </a:cubicBezTo>
                    <a:cubicBezTo>
                      <a:pt x="7" y="21"/>
                      <a:pt x="7" y="22"/>
                      <a:pt x="8" y="22"/>
                    </a:cubicBezTo>
                    <a:cubicBezTo>
                      <a:pt x="8" y="22"/>
                      <a:pt x="8" y="22"/>
                      <a:pt x="9" y="22"/>
                    </a:cubicBezTo>
                    <a:cubicBezTo>
                      <a:pt x="8" y="23"/>
                      <a:pt x="8" y="24"/>
                      <a:pt x="7" y="25"/>
                    </a:cubicBezTo>
                    <a:cubicBezTo>
                      <a:pt x="8" y="25"/>
                      <a:pt x="8" y="27"/>
                      <a:pt x="8" y="28"/>
                    </a:cubicBezTo>
                    <a:cubicBezTo>
                      <a:pt x="9" y="28"/>
                      <a:pt x="9" y="29"/>
                      <a:pt x="9" y="31"/>
                    </a:cubicBezTo>
                    <a:cubicBezTo>
                      <a:pt x="9" y="30"/>
                      <a:pt x="10" y="30"/>
                      <a:pt x="10" y="30"/>
                    </a:cubicBezTo>
                    <a:cubicBezTo>
                      <a:pt x="12" y="30"/>
                      <a:pt x="12" y="32"/>
                      <a:pt x="12" y="34"/>
                    </a:cubicBezTo>
                    <a:cubicBezTo>
                      <a:pt x="12" y="34"/>
                      <a:pt x="13" y="33"/>
                      <a:pt x="13" y="33"/>
                    </a:cubicBezTo>
                    <a:cubicBezTo>
                      <a:pt x="14" y="33"/>
                      <a:pt x="15" y="34"/>
                      <a:pt x="15" y="34"/>
                    </a:cubicBezTo>
                    <a:cubicBezTo>
                      <a:pt x="16" y="34"/>
                      <a:pt x="17" y="35"/>
                      <a:pt x="18" y="35"/>
                    </a:cubicBezTo>
                    <a:cubicBezTo>
                      <a:pt x="18" y="35"/>
                      <a:pt x="19" y="34"/>
                      <a:pt x="19" y="34"/>
                    </a:cubicBezTo>
                    <a:cubicBezTo>
                      <a:pt x="19" y="33"/>
                      <a:pt x="18" y="33"/>
                      <a:pt x="18" y="33"/>
                    </a:cubicBezTo>
                    <a:cubicBezTo>
                      <a:pt x="18" y="32"/>
                      <a:pt x="19" y="32"/>
                      <a:pt x="19" y="32"/>
                    </a:cubicBezTo>
                    <a:cubicBezTo>
                      <a:pt x="19" y="28"/>
                      <a:pt x="23" y="25"/>
                      <a:pt x="26" y="22"/>
                    </a:cubicBezTo>
                    <a:cubicBezTo>
                      <a:pt x="28" y="20"/>
                      <a:pt x="30" y="18"/>
                      <a:pt x="33" y="18"/>
                    </a:cubicBezTo>
                    <a:cubicBezTo>
                      <a:pt x="34" y="18"/>
                      <a:pt x="35" y="18"/>
                      <a:pt x="36" y="18"/>
                    </a:cubicBezTo>
                    <a:cubicBezTo>
                      <a:pt x="38" y="19"/>
                      <a:pt x="39" y="22"/>
                      <a:pt x="41" y="23"/>
                    </a:cubicBezTo>
                    <a:cubicBezTo>
                      <a:pt x="42" y="17"/>
                      <a:pt x="48" y="15"/>
                      <a:pt x="52" y="11"/>
                    </a:cubicBezTo>
                    <a:cubicBezTo>
                      <a:pt x="50" y="11"/>
                      <a:pt x="52" y="8"/>
                      <a:pt x="49" y="8"/>
                    </a:cubicBezTo>
                    <a:cubicBezTo>
                      <a:pt x="49" y="6"/>
                      <a:pt x="50" y="4"/>
                      <a:pt x="50" y="2"/>
                    </a:cubicBezTo>
                    <a:cubicBezTo>
                      <a:pt x="49" y="3"/>
                      <a:pt x="49" y="3"/>
                      <a:pt x="49" y="3"/>
                    </a:cubicBezTo>
                    <a:cubicBezTo>
                      <a:pt x="49" y="2"/>
                      <a:pt x="49" y="2"/>
                      <a:pt x="49" y="2"/>
                    </a:cubicBezTo>
                    <a:cubicBezTo>
                      <a:pt x="49" y="2"/>
                      <a:pt x="49" y="2"/>
                      <a:pt x="49" y="2"/>
                    </a:cubicBezTo>
                    <a:cubicBezTo>
                      <a:pt x="48" y="2"/>
                      <a:pt x="48" y="3"/>
                      <a:pt x="48" y="3"/>
                    </a:cubicBezTo>
                    <a:cubicBezTo>
                      <a:pt x="48" y="3"/>
                      <a:pt x="48" y="3"/>
                      <a:pt x="48" y="3"/>
                    </a:cubicBezTo>
                    <a:cubicBezTo>
                      <a:pt x="44" y="2"/>
                      <a:pt x="42" y="1"/>
                      <a:pt x="38" y="0"/>
                    </a:cubicBezTo>
                    <a:cubicBezTo>
                      <a:pt x="38"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3" name="Freeform 110"/>
              <p:cNvSpPr/>
              <p:nvPr/>
            </p:nvSpPr>
            <p:spPr bwMode="auto">
              <a:xfrm>
                <a:off x="8153" y="2169"/>
                <a:ext cx="9" cy="8"/>
              </a:xfrm>
              <a:custGeom>
                <a:gdLst>
                  <a:gd name="T0" fmla="*/ 1 w 4"/>
                  <a:gd name="T1" fmla="*/ 0 h 3"/>
                  <a:gd name="T2" fmla="*/ 1 w 4"/>
                  <a:gd name="T3" fmla="*/ 3 h 3"/>
                  <a:gd name="T4" fmla="*/ 4 w 4"/>
                  <a:gd name="T5" fmla="*/ 3 h 3"/>
                  <a:gd name="T6" fmla="*/ 1 w 4"/>
                  <a:gd name="T7" fmla="*/ 0 h 3"/>
                </a:gdLst>
                <a:cxnLst>
                  <a:cxn ang="0">
                    <a:pos x="T0" y="T1"/>
                  </a:cxn>
                  <a:cxn ang="0">
                    <a:pos x="T2" y="T3"/>
                  </a:cxn>
                  <a:cxn ang="0">
                    <a:pos x="T4" y="T5"/>
                  </a:cxn>
                  <a:cxn ang="0">
                    <a:pos x="T6" y="T7"/>
                  </a:cxn>
                </a:cxnLst>
                <a:rect l="0" t="0" r="r" b="b"/>
                <a:pathLst>
                  <a:path w="4" h="3">
                    <a:moveTo>
                      <a:pt x="1" y="0"/>
                    </a:moveTo>
                    <a:cubicBezTo>
                      <a:pt x="0" y="3"/>
                      <a:pt x="0" y="3"/>
                      <a:pt x="1" y="3"/>
                    </a:cubicBezTo>
                    <a:cubicBezTo>
                      <a:pt x="2" y="3"/>
                      <a:pt x="3" y="3"/>
                      <a:pt x="4" y="3"/>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11"/>
              <p:cNvSpPr/>
              <p:nvPr/>
            </p:nvSpPr>
            <p:spPr bwMode="auto">
              <a:xfrm>
                <a:off x="8861" y="1113"/>
                <a:ext cx="3" cy="7"/>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1"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Freeform 112"/>
              <p:cNvSpPr/>
              <p:nvPr/>
            </p:nvSpPr>
            <p:spPr bwMode="auto">
              <a:xfrm>
                <a:off x="8304" y="1782"/>
                <a:ext cx="12" cy="9"/>
              </a:xfrm>
              <a:custGeom>
                <a:gdLst>
                  <a:gd name="T0" fmla="*/ 4 w 5"/>
                  <a:gd name="T1" fmla="*/ 0 h 4"/>
                  <a:gd name="T2" fmla="*/ 1 w 5"/>
                  <a:gd name="T3" fmla="*/ 2 h 4"/>
                  <a:gd name="T4" fmla="*/ 2 w 5"/>
                  <a:gd name="T5" fmla="*/ 4 h 4"/>
                  <a:gd name="T6" fmla="*/ 4 w 5"/>
                  <a:gd name="T7" fmla="*/ 4 h 4"/>
                  <a:gd name="T8" fmla="*/ 5 w 5"/>
                  <a:gd name="T9" fmla="*/ 3 h 4"/>
                  <a:gd name="T10" fmla="*/ 5 w 5"/>
                  <a:gd name="T11" fmla="*/ 3 h 4"/>
                  <a:gd name="T12" fmla="*/ 4 w 5"/>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5" h="4">
                    <a:moveTo>
                      <a:pt x="4" y="0"/>
                    </a:moveTo>
                    <a:cubicBezTo>
                      <a:pt x="3" y="0"/>
                      <a:pt x="2" y="1"/>
                      <a:pt x="1" y="2"/>
                    </a:cubicBezTo>
                    <a:cubicBezTo>
                      <a:pt x="0" y="4"/>
                      <a:pt x="1" y="4"/>
                      <a:pt x="2" y="4"/>
                    </a:cubicBezTo>
                    <a:cubicBezTo>
                      <a:pt x="2" y="4"/>
                      <a:pt x="3" y="4"/>
                      <a:pt x="4" y="4"/>
                    </a:cubicBezTo>
                    <a:cubicBezTo>
                      <a:pt x="4" y="3"/>
                      <a:pt x="5" y="3"/>
                      <a:pt x="5" y="3"/>
                    </a:cubicBezTo>
                    <a:cubicBezTo>
                      <a:pt x="5" y="3"/>
                      <a:pt x="5" y="3"/>
                      <a:pt x="5" y="3"/>
                    </a:cubicBezTo>
                    <a:cubicBezTo>
                      <a:pt x="5"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113"/>
              <p:cNvSpPr/>
              <p:nvPr/>
            </p:nvSpPr>
            <p:spPr bwMode="auto">
              <a:xfrm>
                <a:off x="8403" y="1879"/>
                <a:ext cx="12" cy="23"/>
              </a:xfrm>
              <a:custGeom>
                <a:gdLst>
                  <a:gd name="T0" fmla="*/ 5 w 5"/>
                  <a:gd name="T1" fmla="*/ 0 h 10"/>
                  <a:gd name="T2" fmla="*/ 2 w 5"/>
                  <a:gd name="T3" fmla="*/ 6 h 10"/>
                  <a:gd name="T4" fmla="*/ 1 w 5"/>
                  <a:gd name="T5" fmla="*/ 10 h 10"/>
                  <a:gd name="T6" fmla="*/ 5 w 5"/>
                  <a:gd name="T7" fmla="*/ 0 h 10"/>
                </a:gdLst>
                <a:cxnLst>
                  <a:cxn ang="0">
                    <a:pos x="T0" y="T1"/>
                  </a:cxn>
                  <a:cxn ang="0">
                    <a:pos x="T2" y="T3"/>
                  </a:cxn>
                  <a:cxn ang="0">
                    <a:pos x="T4" y="T5"/>
                  </a:cxn>
                  <a:cxn ang="0">
                    <a:pos x="T6" y="T7"/>
                  </a:cxn>
                </a:cxnLst>
                <a:rect l="0" t="0" r="r" b="b"/>
                <a:pathLst>
                  <a:path w="5" h="10">
                    <a:moveTo>
                      <a:pt x="5" y="0"/>
                    </a:moveTo>
                    <a:cubicBezTo>
                      <a:pt x="2" y="3"/>
                      <a:pt x="3" y="3"/>
                      <a:pt x="2" y="6"/>
                    </a:cubicBezTo>
                    <a:cubicBezTo>
                      <a:pt x="2" y="7"/>
                      <a:pt x="0" y="8"/>
                      <a:pt x="1" y="10"/>
                    </a:cubicBezTo>
                    <a:cubicBezTo>
                      <a:pt x="3" y="7"/>
                      <a:pt x="4"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Freeform 114"/>
              <p:cNvSpPr/>
              <p:nvPr/>
            </p:nvSpPr>
            <p:spPr bwMode="auto">
              <a:xfrm>
                <a:off x="8316" y="2023"/>
                <a:ext cx="2" cy="12"/>
              </a:xfrm>
              <a:custGeom>
                <a:gdLst>
                  <a:gd name="T0" fmla="*/ 1 w 1"/>
                  <a:gd name="T1" fmla="*/ 0 h 5"/>
                  <a:gd name="T2" fmla="*/ 1 w 1"/>
                  <a:gd name="T3" fmla="*/ 5 h 5"/>
                  <a:gd name="T4" fmla="*/ 1 w 1"/>
                  <a:gd name="T5" fmla="*/ 0 h 5"/>
                </a:gdLst>
                <a:cxnLst>
                  <a:cxn ang="0">
                    <a:pos x="T0" y="T1"/>
                  </a:cxn>
                  <a:cxn ang="0">
                    <a:pos x="T2" y="T3"/>
                  </a:cxn>
                  <a:cxn ang="0">
                    <a:pos x="T4" y="T5"/>
                  </a:cxn>
                </a:cxnLst>
                <a:rect l="0" t="0" r="r" b="b"/>
                <a:pathLst>
                  <a:path w="1" h="5">
                    <a:moveTo>
                      <a:pt x="1" y="0"/>
                    </a:moveTo>
                    <a:cubicBezTo>
                      <a:pt x="0" y="2"/>
                      <a:pt x="0" y="4"/>
                      <a:pt x="1" y="5"/>
                    </a:cubicBezTo>
                    <a:cubicBezTo>
                      <a:pt x="1"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15"/>
              <p:cNvSpPr/>
              <p:nvPr/>
            </p:nvSpPr>
            <p:spPr bwMode="auto">
              <a:xfrm>
                <a:off x="8330" y="2009"/>
                <a:ext cx="7" cy="4"/>
              </a:xfrm>
              <a:custGeom>
                <a:gdLst>
                  <a:gd name="T0" fmla="*/ 0 w 3"/>
                  <a:gd name="T1" fmla="*/ 0 h 2"/>
                  <a:gd name="T2" fmla="*/ 2 w 3"/>
                  <a:gd name="T3" fmla="*/ 2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cubicBezTo>
                      <a:pt x="0" y="2"/>
                      <a:pt x="1" y="2"/>
                      <a:pt x="2" y="2"/>
                    </a:cubicBezTo>
                    <a:cubicBezTo>
                      <a:pt x="3" y="2"/>
                      <a:pt x="3"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Freeform 116"/>
              <p:cNvSpPr/>
              <p:nvPr/>
            </p:nvSpPr>
            <p:spPr bwMode="auto">
              <a:xfrm>
                <a:off x="8911" y="2082"/>
                <a:ext cx="2" cy="5"/>
              </a:xfrm>
              <a:custGeom>
                <a:gdLst>
                  <a:gd name="T0" fmla="*/ 0 w 1"/>
                  <a:gd name="T1" fmla="*/ 0 h 2"/>
                  <a:gd name="T2" fmla="*/ 1 w 1"/>
                  <a:gd name="T3" fmla="*/ 1 h 2"/>
                  <a:gd name="T4" fmla="*/ 1 w 1"/>
                  <a:gd name="T5" fmla="*/ 2 h 2"/>
                  <a:gd name="T6" fmla="*/ 1 w 1"/>
                  <a:gd name="T7" fmla="*/ 1 h 2"/>
                  <a:gd name="T8" fmla="*/ 0 w 1"/>
                  <a:gd name="T9" fmla="*/ 0 h 2"/>
                </a:gdLst>
                <a:cxnLst>
                  <a:cxn ang="0">
                    <a:pos x="T0" y="T1"/>
                  </a:cxn>
                  <a:cxn ang="0">
                    <a:pos x="T2" y="T3"/>
                  </a:cxn>
                  <a:cxn ang="0">
                    <a:pos x="T4" y="T5"/>
                  </a:cxn>
                  <a:cxn ang="0">
                    <a:pos x="T6" y="T7"/>
                  </a:cxn>
                  <a:cxn ang="0">
                    <a:pos x="T8" y="T9"/>
                  </a:cxn>
                </a:cxnLst>
                <a:rect l="0" t="0" r="r" b="b"/>
                <a:pathLst>
                  <a:path w="1" h="2">
                    <a:moveTo>
                      <a:pt x="0" y="0"/>
                    </a:moveTo>
                    <a:cubicBezTo>
                      <a:pt x="1" y="0"/>
                      <a:pt x="1" y="1"/>
                      <a:pt x="1" y="1"/>
                    </a:cubicBezTo>
                    <a:cubicBezTo>
                      <a:pt x="1" y="2"/>
                      <a:pt x="1" y="2"/>
                      <a:pt x="1" y="2"/>
                    </a:cubicBezTo>
                    <a:cubicBezTo>
                      <a:pt x="1" y="1"/>
                      <a:pt x="1" y="1"/>
                      <a:pt x="1"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Freeform 117"/>
              <p:cNvSpPr/>
              <p:nvPr/>
            </p:nvSpPr>
            <p:spPr bwMode="auto">
              <a:xfrm>
                <a:off x="8320" y="1768"/>
                <a:ext cx="7" cy="11"/>
              </a:xfrm>
              <a:custGeom>
                <a:gdLst>
                  <a:gd name="T0" fmla="*/ 3 w 3"/>
                  <a:gd name="T1" fmla="*/ 0 h 5"/>
                  <a:gd name="T2" fmla="*/ 0 w 3"/>
                  <a:gd name="T3" fmla="*/ 3 h 5"/>
                  <a:gd name="T4" fmla="*/ 1 w 3"/>
                  <a:gd name="T5" fmla="*/ 5 h 5"/>
                  <a:gd name="T6" fmla="*/ 3 w 3"/>
                  <a:gd name="T7" fmla="*/ 0 h 5"/>
                </a:gdLst>
                <a:cxnLst>
                  <a:cxn ang="0">
                    <a:pos x="T0" y="T1"/>
                  </a:cxn>
                  <a:cxn ang="0">
                    <a:pos x="T2" y="T3"/>
                  </a:cxn>
                  <a:cxn ang="0">
                    <a:pos x="T4" y="T5"/>
                  </a:cxn>
                  <a:cxn ang="0">
                    <a:pos x="T6" y="T7"/>
                  </a:cxn>
                </a:cxnLst>
                <a:rect l="0" t="0" r="r" b="b"/>
                <a:pathLst>
                  <a:path w="3" h="5">
                    <a:moveTo>
                      <a:pt x="3" y="0"/>
                    </a:moveTo>
                    <a:cubicBezTo>
                      <a:pt x="0" y="3"/>
                      <a:pt x="0" y="3"/>
                      <a:pt x="0" y="3"/>
                    </a:cubicBezTo>
                    <a:cubicBezTo>
                      <a:pt x="0" y="3"/>
                      <a:pt x="2" y="4"/>
                      <a:pt x="1"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118"/>
              <p:cNvSpPr/>
              <p:nvPr/>
            </p:nvSpPr>
            <p:spPr bwMode="auto">
              <a:xfrm>
                <a:off x="8507" y="1602"/>
                <a:ext cx="12" cy="7"/>
              </a:xfrm>
              <a:custGeom>
                <a:gdLst>
                  <a:gd name="T0" fmla="*/ 3 w 5"/>
                  <a:gd name="T1" fmla="*/ 0 h 3"/>
                  <a:gd name="T2" fmla="*/ 3 w 5"/>
                  <a:gd name="T3" fmla="*/ 3 h 3"/>
                  <a:gd name="T4" fmla="*/ 3 w 5"/>
                  <a:gd name="T5" fmla="*/ 0 h 3"/>
                </a:gdLst>
                <a:cxnLst>
                  <a:cxn ang="0">
                    <a:pos x="T0" y="T1"/>
                  </a:cxn>
                  <a:cxn ang="0">
                    <a:pos x="T2" y="T3"/>
                  </a:cxn>
                  <a:cxn ang="0">
                    <a:pos x="T4" y="T5"/>
                  </a:cxn>
                </a:cxnLst>
                <a:rect l="0" t="0" r="r" b="b"/>
                <a:pathLst>
                  <a:path w="5" h="3">
                    <a:moveTo>
                      <a:pt x="3" y="0"/>
                    </a:moveTo>
                    <a:cubicBezTo>
                      <a:pt x="0" y="1"/>
                      <a:pt x="2" y="3"/>
                      <a:pt x="3" y="3"/>
                    </a:cubicBezTo>
                    <a:cubicBezTo>
                      <a:pt x="4" y="3"/>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19"/>
              <p:cNvSpPr/>
              <p:nvPr/>
            </p:nvSpPr>
            <p:spPr bwMode="auto">
              <a:xfrm>
                <a:off x="8571" y="1694"/>
                <a:ext cx="21" cy="17"/>
              </a:xfrm>
              <a:custGeom>
                <a:gdLst>
                  <a:gd name="T0" fmla="*/ 9 w 9"/>
                  <a:gd name="T1" fmla="*/ 0 h 7"/>
                  <a:gd name="T2" fmla="*/ 5 w 9"/>
                  <a:gd name="T3" fmla="*/ 7 h 7"/>
                  <a:gd name="T4" fmla="*/ 7 w 9"/>
                  <a:gd name="T5" fmla="*/ 6 h 7"/>
                  <a:gd name="T6" fmla="*/ 7 w 9"/>
                  <a:gd name="T7" fmla="*/ 4 h 7"/>
                  <a:gd name="T8" fmla="*/ 9 w 9"/>
                  <a:gd name="T9" fmla="*/ 0 h 7"/>
                </a:gdLst>
                <a:cxnLst>
                  <a:cxn ang="0">
                    <a:pos x="T0" y="T1"/>
                  </a:cxn>
                  <a:cxn ang="0">
                    <a:pos x="T2" y="T3"/>
                  </a:cxn>
                  <a:cxn ang="0">
                    <a:pos x="T4" y="T5"/>
                  </a:cxn>
                  <a:cxn ang="0">
                    <a:pos x="T6" y="T7"/>
                  </a:cxn>
                  <a:cxn ang="0">
                    <a:pos x="T8" y="T9"/>
                  </a:cxn>
                </a:cxnLst>
                <a:rect l="0" t="0" r="r" b="b"/>
                <a:pathLst>
                  <a:path w="9" h="7">
                    <a:moveTo>
                      <a:pt x="9" y="0"/>
                    </a:moveTo>
                    <a:cubicBezTo>
                      <a:pt x="8" y="1"/>
                      <a:pt x="0" y="7"/>
                      <a:pt x="5" y="7"/>
                    </a:cubicBezTo>
                    <a:cubicBezTo>
                      <a:pt x="5" y="7"/>
                      <a:pt x="7" y="6"/>
                      <a:pt x="7" y="6"/>
                    </a:cubicBezTo>
                    <a:cubicBezTo>
                      <a:pt x="8" y="4"/>
                      <a:pt x="7" y="5"/>
                      <a:pt x="7" y="4"/>
                    </a:cubicBezTo>
                    <a:cubicBezTo>
                      <a:pt x="7" y="2"/>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20"/>
              <p:cNvSpPr/>
              <p:nvPr/>
            </p:nvSpPr>
            <p:spPr bwMode="auto">
              <a:xfrm>
                <a:off x="8259" y="2077"/>
                <a:ext cx="26" cy="33"/>
              </a:xfrm>
              <a:custGeom>
                <a:gdLst>
                  <a:gd name="T0" fmla="*/ 11 w 11"/>
                  <a:gd name="T1" fmla="*/ 0 h 14"/>
                  <a:gd name="T2" fmla="*/ 10 w 11"/>
                  <a:gd name="T3" fmla="*/ 2 h 14"/>
                  <a:gd name="T4" fmla="*/ 9 w 11"/>
                  <a:gd name="T5" fmla="*/ 3 h 14"/>
                  <a:gd name="T6" fmla="*/ 9 w 11"/>
                  <a:gd name="T7" fmla="*/ 3 h 14"/>
                  <a:gd name="T8" fmla="*/ 8 w 11"/>
                  <a:gd name="T9" fmla="*/ 2 h 14"/>
                  <a:gd name="T10" fmla="*/ 7 w 11"/>
                  <a:gd name="T11" fmla="*/ 2 h 14"/>
                  <a:gd name="T12" fmla="*/ 7 w 11"/>
                  <a:gd name="T13" fmla="*/ 2 h 14"/>
                  <a:gd name="T14" fmla="*/ 6 w 11"/>
                  <a:gd name="T15" fmla="*/ 3 h 14"/>
                  <a:gd name="T16" fmla="*/ 5 w 11"/>
                  <a:gd name="T17" fmla="*/ 6 h 14"/>
                  <a:gd name="T18" fmla="*/ 4 w 11"/>
                  <a:gd name="T19" fmla="*/ 7 h 14"/>
                  <a:gd name="T20" fmla="*/ 2 w 11"/>
                  <a:gd name="T21" fmla="*/ 8 h 14"/>
                  <a:gd name="T22" fmla="*/ 2 w 11"/>
                  <a:gd name="T23" fmla="*/ 11 h 14"/>
                  <a:gd name="T24" fmla="*/ 1 w 11"/>
                  <a:gd name="T25" fmla="*/ 14 h 14"/>
                  <a:gd name="T26" fmla="*/ 7 w 11"/>
                  <a:gd name="T27" fmla="*/ 6 h 14"/>
                  <a:gd name="T28" fmla="*/ 11 w 11"/>
                  <a:gd name="T2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4">
                    <a:moveTo>
                      <a:pt x="11" y="0"/>
                    </a:moveTo>
                    <a:cubicBezTo>
                      <a:pt x="11" y="1"/>
                      <a:pt x="10" y="1"/>
                      <a:pt x="10" y="2"/>
                    </a:cubicBezTo>
                    <a:cubicBezTo>
                      <a:pt x="9" y="2"/>
                      <a:pt x="9" y="2"/>
                      <a:pt x="9" y="3"/>
                    </a:cubicBezTo>
                    <a:cubicBezTo>
                      <a:pt x="9" y="3"/>
                      <a:pt x="9" y="3"/>
                      <a:pt x="9" y="3"/>
                    </a:cubicBezTo>
                    <a:cubicBezTo>
                      <a:pt x="8" y="3"/>
                      <a:pt x="8" y="2"/>
                      <a:pt x="8" y="2"/>
                    </a:cubicBezTo>
                    <a:cubicBezTo>
                      <a:pt x="7" y="2"/>
                      <a:pt x="7" y="2"/>
                      <a:pt x="7" y="2"/>
                    </a:cubicBezTo>
                    <a:cubicBezTo>
                      <a:pt x="7" y="2"/>
                      <a:pt x="7" y="2"/>
                      <a:pt x="7" y="2"/>
                    </a:cubicBezTo>
                    <a:cubicBezTo>
                      <a:pt x="5" y="2"/>
                      <a:pt x="4" y="2"/>
                      <a:pt x="6" y="3"/>
                    </a:cubicBezTo>
                    <a:cubicBezTo>
                      <a:pt x="7" y="5"/>
                      <a:pt x="6" y="5"/>
                      <a:pt x="5" y="6"/>
                    </a:cubicBezTo>
                    <a:cubicBezTo>
                      <a:pt x="5" y="6"/>
                      <a:pt x="4" y="7"/>
                      <a:pt x="4" y="7"/>
                    </a:cubicBezTo>
                    <a:cubicBezTo>
                      <a:pt x="2" y="8"/>
                      <a:pt x="3" y="7"/>
                      <a:pt x="2" y="8"/>
                    </a:cubicBezTo>
                    <a:cubicBezTo>
                      <a:pt x="2" y="9"/>
                      <a:pt x="2" y="10"/>
                      <a:pt x="2" y="11"/>
                    </a:cubicBezTo>
                    <a:cubicBezTo>
                      <a:pt x="1" y="13"/>
                      <a:pt x="0" y="11"/>
                      <a:pt x="1" y="14"/>
                    </a:cubicBezTo>
                    <a:cubicBezTo>
                      <a:pt x="3" y="12"/>
                      <a:pt x="5" y="9"/>
                      <a:pt x="7" y="6"/>
                    </a:cubicBezTo>
                    <a:cubicBezTo>
                      <a:pt x="9" y="4"/>
                      <a:pt x="11"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21"/>
              <p:cNvSpPr/>
              <p:nvPr/>
            </p:nvSpPr>
            <p:spPr bwMode="auto">
              <a:xfrm>
                <a:off x="8301" y="2047"/>
                <a:ext cx="7" cy="0"/>
              </a:xfrm>
              <a:custGeom>
                <a:gdLst>
                  <a:gd name="T0" fmla="*/ 3 w 3"/>
                  <a:gd name="T1" fmla="*/ 0 w 3"/>
                  <a:gd name="T2" fmla="*/ 1 w 3"/>
                  <a:gd name="T3" fmla="*/ 3 w 3"/>
                </a:gdLst>
                <a:cxnLst>
                  <a:cxn ang="0">
                    <a:pos x="T0" y="0"/>
                  </a:cxn>
                  <a:cxn ang="0">
                    <a:pos x="T1" y="0"/>
                  </a:cxn>
                  <a:cxn ang="0">
                    <a:pos x="T2" y="0"/>
                  </a:cxn>
                  <a:cxn ang="0">
                    <a:pos x="T3" y="0"/>
                  </a:cxn>
                </a:cxnLst>
                <a:rect l="0" t="0" r="r" b="b"/>
                <a:pathLst>
                  <a:path w="3">
                    <a:moveTo>
                      <a:pt x="3" y="0"/>
                    </a:moveTo>
                    <a:cubicBezTo>
                      <a:pt x="2" y="0"/>
                      <a:pt x="1" y="0"/>
                      <a:pt x="0" y="0"/>
                    </a:cubicBezTo>
                    <a:cubicBezTo>
                      <a:pt x="0" y="0"/>
                      <a:pt x="1" y="0"/>
                      <a:pt x="1" y="0"/>
                    </a:cubicBezTo>
                    <a:cubicBezTo>
                      <a:pt x="1" y="0"/>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22"/>
              <p:cNvSpPr/>
              <p:nvPr/>
            </p:nvSpPr>
            <p:spPr bwMode="auto">
              <a:xfrm>
                <a:off x="8866" y="1124"/>
                <a:ext cx="10" cy="8"/>
              </a:xfrm>
              <a:custGeom>
                <a:gdLst>
                  <a:gd name="T0" fmla="*/ 1 w 4"/>
                  <a:gd name="T1" fmla="*/ 0 h 3"/>
                  <a:gd name="T2" fmla="*/ 3 w 4"/>
                  <a:gd name="T3" fmla="*/ 3 h 3"/>
                  <a:gd name="T4" fmla="*/ 1 w 4"/>
                  <a:gd name="T5" fmla="*/ 0 h 3"/>
                </a:gdLst>
                <a:cxnLst>
                  <a:cxn ang="0">
                    <a:pos x="T0" y="T1"/>
                  </a:cxn>
                  <a:cxn ang="0">
                    <a:pos x="T2" y="T3"/>
                  </a:cxn>
                  <a:cxn ang="0">
                    <a:pos x="T4" y="T5"/>
                  </a:cxn>
                </a:cxnLst>
                <a:rect l="0" t="0" r="r" b="b"/>
                <a:pathLst>
                  <a:path w="4" h="3">
                    <a:moveTo>
                      <a:pt x="1" y="0"/>
                    </a:moveTo>
                    <a:cubicBezTo>
                      <a:pt x="0" y="2"/>
                      <a:pt x="2" y="3"/>
                      <a:pt x="3" y="3"/>
                    </a:cubicBezTo>
                    <a:cubicBezTo>
                      <a:pt x="4" y="3"/>
                      <a:pt x="4"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123"/>
              <p:cNvSpPr/>
              <p:nvPr/>
            </p:nvSpPr>
            <p:spPr bwMode="auto">
              <a:xfrm>
                <a:off x="8736" y="1500"/>
                <a:ext cx="14" cy="24"/>
              </a:xfrm>
              <a:custGeom>
                <a:gdLst>
                  <a:gd name="T0" fmla="*/ 6 w 6"/>
                  <a:gd name="T1" fmla="*/ 0 h 10"/>
                  <a:gd name="T2" fmla="*/ 0 w 6"/>
                  <a:gd name="T3" fmla="*/ 5 h 10"/>
                  <a:gd name="T4" fmla="*/ 0 w 6"/>
                  <a:gd name="T5" fmla="*/ 10 h 10"/>
                  <a:gd name="T6" fmla="*/ 1 w 6"/>
                  <a:gd name="T7" fmla="*/ 10 h 10"/>
                  <a:gd name="T8" fmla="*/ 6 w 6"/>
                  <a:gd name="T9" fmla="*/ 0 h 10"/>
                </a:gdLst>
                <a:cxnLst>
                  <a:cxn ang="0">
                    <a:pos x="T0" y="T1"/>
                  </a:cxn>
                  <a:cxn ang="0">
                    <a:pos x="T2" y="T3"/>
                  </a:cxn>
                  <a:cxn ang="0">
                    <a:pos x="T4" y="T5"/>
                  </a:cxn>
                  <a:cxn ang="0">
                    <a:pos x="T6" y="T7"/>
                  </a:cxn>
                  <a:cxn ang="0">
                    <a:pos x="T8" y="T9"/>
                  </a:cxn>
                </a:cxnLst>
                <a:rect l="0" t="0" r="r" b="b"/>
                <a:pathLst>
                  <a:path w="6" h="10">
                    <a:moveTo>
                      <a:pt x="6" y="0"/>
                    </a:moveTo>
                    <a:cubicBezTo>
                      <a:pt x="4" y="1"/>
                      <a:pt x="0" y="3"/>
                      <a:pt x="0" y="5"/>
                    </a:cubicBezTo>
                    <a:cubicBezTo>
                      <a:pt x="0" y="8"/>
                      <a:pt x="3" y="9"/>
                      <a:pt x="0" y="10"/>
                    </a:cubicBezTo>
                    <a:cubicBezTo>
                      <a:pt x="0" y="10"/>
                      <a:pt x="1" y="10"/>
                      <a:pt x="1" y="10"/>
                    </a:cubicBezTo>
                    <a:cubicBezTo>
                      <a:pt x="6" y="10"/>
                      <a:pt x="6"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124"/>
              <p:cNvSpPr/>
              <p:nvPr/>
            </p:nvSpPr>
            <p:spPr bwMode="auto">
              <a:xfrm>
                <a:off x="8082" y="2191"/>
                <a:ext cx="11" cy="7"/>
              </a:xfrm>
              <a:custGeom>
                <a:gdLst>
                  <a:gd name="T0" fmla="*/ 2 w 5"/>
                  <a:gd name="T1" fmla="*/ 0 h 3"/>
                  <a:gd name="T2" fmla="*/ 0 w 5"/>
                  <a:gd name="T3" fmla="*/ 3 h 3"/>
                  <a:gd name="T4" fmla="*/ 3 w 5"/>
                  <a:gd name="T5" fmla="*/ 3 h 3"/>
                  <a:gd name="T6" fmla="*/ 3 w 5"/>
                  <a:gd name="T7" fmla="*/ 3 h 3"/>
                  <a:gd name="T8" fmla="*/ 2 w 5"/>
                  <a:gd name="T9" fmla="*/ 0 h 3"/>
                </a:gdLst>
                <a:cxnLst>
                  <a:cxn ang="0">
                    <a:pos x="T0" y="T1"/>
                  </a:cxn>
                  <a:cxn ang="0">
                    <a:pos x="T2" y="T3"/>
                  </a:cxn>
                  <a:cxn ang="0">
                    <a:pos x="T4" y="T5"/>
                  </a:cxn>
                  <a:cxn ang="0">
                    <a:pos x="T6" y="T7"/>
                  </a:cxn>
                  <a:cxn ang="0">
                    <a:pos x="T8" y="T9"/>
                  </a:cxn>
                </a:cxnLst>
                <a:rect l="0" t="0" r="r" b="b"/>
                <a:pathLst>
                  <a:path w="5" h="3">
                    <a:moveTo>
                      <a:pt x="2" y="0"/>
                    </a:moveTo>
                    <a:cubicBezTo>
                      <a:pt x="2" y="2"/>
                      <a:pt x="1" y="2"/>
                      <a:pt x="0" y="3"/>
                    </a:cubicBezTo>
                    <a:cubicBezTo>
                      <a:pt x="0" y="3"/>
                      <a:pt x="2" y="3"/>
                      <a:pt x="3" y="3"/>
                    </a:cubicBezTo>
                    <a:cubicBezTo>
                      <a:pt x="3" y="3"/>
                      <a:pt x="3" y="3"/>
                      <a:pt x="3" y="3"/>
                    </a:cubicBezTo>
                    <a:cubicBezTo>
                      <a:pt x="5" y="3"/>
                      <a:pt x="4"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Freeform 125"/>
              <p:cNvSpPr/>
              <p:nvPr/>
            </p:nvSpPr>
            <p:spPr bwMode="auto">
              <a:xfrm>
                <a:off x="8788" y="1290"/>
                <a:ext cx="10" cy="9"/>
              </a:xfrm>
              <a:custGeom>
                <a:gdLst>
                  <a:gd name="T0" fmla="*/ 3 w 4"/>
                  <a:gd name="T1" fmla="*/ 0 h 4"/>
                  <a:gd name="T2" fmla="*/ 2 w 4"/>
                  <a:gd name="T3" fmla="*/ 0 h 4"/>
                  <a:gd name="T4" fmla="*/ 2 w 4"/>
                  <a:gd name="T5" fmla="*/ 0 h 4"/>
                  <a:gd name="T6" fmla="*/ 1 w 4"/>
                  <a:gd name="T7" fmla="*/ 4 h 4"/>
                  <a:gd name="T8" fmla="*/ 1 w 4"/>
                  <a:gd name="T9" fmla="*/ 4 h 4"/>
                  <a:gd name="T10" fmla="*/ 3 w 4"/>
                  <a:gd name="T11" fmla="*/ 2 h 4"/>
                  <a:gd name="T12" fmla="*/ 3 w 4"/>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4" h="4">
                    <a:moveTo>
                      <a:pt x="3" y="0"/>
                    </a:moveTo>
                    <a:cubicBezTo>
                      <a:pt x="2" y="0"/>
                      <a:pt x="2" y="0"/>
                      <a:pt x="2" y="0"/>
                    </a:cubicBezTo>
                    <a:cubicBezTo>
                      <a:pt x="2" y="0"/>
                      <a:pt x="2" y="0"/>
                      <a:pt x="2" y="0"/>
                    </a:cubicBezTo>
                    <a:cubicBezTo>
                      <a:pt x="2" y="0"/>
                      <a:pt x="0" y="4"/>
                      <a:pt x="1" y="4"/>
                    </a:cubicBezTo>
                    <a:cubicBezTo>
                      <a:pt x="1" y="4"/>
                      <a:pt x="1" y="4"/>
                      <a:pt x="1" y="4"/>
                    </a:cubicBezTo>
                    <a:cubicBezTo>
                      <a:pt x="2" y="4"/>
                      <a:pt x="2" y="3"/>
                      <a:pt x="3" y="2"/>
                    </a:cubicBezTo>
                    <a:cubicBezTo>
                      <a:pt x="3"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9" name="Freeform 126"/>
              <p:cNvSpPr/>
              <p:nvPr/>
            </p:nvSpPr>
            <p:spPr bwMode="auto">
              <a:xfrm>
                <a:off x="8365" y="1794"/>
                <a:ext cx="10" cy="18"/>
              </a:xfrm>
              <a:custGeom>
                <a:gdLst>
                  <a:gd name="T0" fmla="*/ 1 w 4"/>
                  <a:gd name="T1" fmla="*/ 0 h 8"/>
                  <a:gd name="T2" fmla="*/ 0 w 4"/>
                  <a:gd name="T3" fmla="*/ 8 h 8"/>
                  <a:gd name="T4" fmla="*/ 4 w 4"/>
                  <a:gd name="T5" fmla="*/ 4 h 8"/>
                  <a:gd name="T6" fmla="*/ 4 w 4"/>
                  <a:gd name="T7" fmla="*/ 1 h 8"/>
                  <a:gd name="T8" fmla="*/ 3 w 4"/>
                  <a:gd name="T9" fmla="*/ 0 h 8"/>
                  <a:gd name="T10" fmla="*/ 2 w 4"/>
                  <a:gd name="T11" fmla="*/ 0 h 8"/>
                  <a:gd name="T12" fmla="*/ 2 w 4"/>
                  <a:gd name="T13" fmla="*/ 1 h 8"/>
                  <a:gd name="T14" fmla="*/ 1 w 4"/>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1" y="0"/>
                    </a:moveTo>
                    <a:cubicBezTo>
                      <a:pt x="0" y="3"/>
                      <a:pt x="1" y="5"/>
                      <a:pt x="0" y="8"/>
                    </a:cubicBezTo>
                    <a:cubicBezTo>
                      <a:pt x="2" y="7"/>
                      <a:pt x="4" y="5"/>
                      <a:pt x="4" y="4"/>
                    </a:cubicBezTo>
                    <a:cubicBezTo>
                      <a:pt x="4" y="1"/>
                      <a:pt x="4" y="1"/>
                      <a:pt x="4" y="1"/>
                    </a:cubicBezTo>
                    <a:cubicBezTo>
                      <a:pt x="4" y="1"/>
                      <a:pt x="3" y="0"/>
                      <a:pt x="3" y="0"/>
                    </a:cubicBezTo>
                    <a:cubicBezTo>
                      <a:pt x="3" y="0"/>
                      <a:pt x="2" y="0"/>
                      <a:pt x="2" y="0"/>
                    </a:cubicBezTo>
                    <a:cubicBezTo>
                      <a:pt x="2" y="1"/>
                      <a:pt x="2" y="1"/>
                      <a:pt x="2"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Freeform 127"/>
              <p:cNvSpPr/>
              <p:nvPr/>
            </p:nvSpPr>
            <p:spPr bwMode="auto">
              <a:xfrm>
                <a:off x="8101" y="2184"/>
                <a:ext cx="9" cy="12"/>
              </a:xfrm>
              <a:custGeom>
                <a:gdLst>
                  <a:gd name="T0" fmla="*/ 4 w 4"/>
                  <a:gd name="T1" fmla="*/ 0 h 5"/>
                  <a:gd name="T2" fmla="*/ 0 w 4"/>
                  <a:gd name="T3" fmla="*/ 3 h 5"/>
                  <a:gd name="T4" fmla="*/ 1 w 4"/>
                  <a:gd name="T5" fmla="*/ 5 h 5"/>
                  <a:gd name="T6" fmla="*/ 3 w 4"/>
                  <a:gd name="T7" fmla="*/ 3 h 5"/>
                  <a:gd name="T8" fmla="*/ 4 w 4"/>
                  <a:gd name="T9" fmla="*/ 0 h 5"/>
                </a:gdLst>
                <a:cxnLst>
                  <a:cxn ang="0">
                    <a:pos x="T0" y="T1"/>
                  </a:cxn>
                  <a:cxn ang="0">
                    <a:pos x="T2" y="T3"/>
                  </a:cxn>
                  <a:cxn ang="0">
                    <a:pos x="T4" y="T5"/>
                  </a:cxn>
                  <a:cxn ang="0">
                    <a:pos x="T6" y="T7"/>
                  </a:cxn>
                  <a:cxn ang="0">
                    <a:pos x="T8" y="T9"/>
                  </a:cxn>
                </a:cxnLst>
                <a:rect l="0" t="0" r="r" b="b"/>
                <a:pathLst>
                  <a:path w="4" h="5">
                    <a:moveTo>
                      <a:pt x="4" y="0"/>
                    </a:moveTo>
                    <a:cubicBezTo>
                      <a:pt x="3" y="1"/>
                      <a:pt x="1" y="2"/>
                      <a:pt x="0" y="3"/>
                    </a:cubicBezTo>
                    <a:cubicBezTo>
                      <a:pt x="0" y="4"/>
                      <a:pt x="1" y="5"/>
                      <a:pt x="1" y="5"/>
                    </a:cubicBezTo>
                    <a:cubicBezTo>
                      <a:pt x="2" y="5"/>
                      <a:pt x="3" y="4"/>
                      <a:pt x="3" y="3"/>
                    </a:cubicBezTo>
                    <a:cubicBezTo>
                      <a:pt x="3"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1" name="Freeform 128"/>
              <p:cNvSpPr/>
              <p:nvPr/>
            </p:nvSpPr>
            <p:spPr bwMode="auto">
              <a:xfrm>
                <a:off x="8382" y="1898"/>
                <a:ext cx="19" cy="11"/>
              </a:xfrm>
              <a:custGeom>
                <a:gdLst>
                  <a:gd name="T0" fmla="*/ 3 w 8"/>
                  <a:gd name="T1" fmla="*/ 0 h 5"/>
                  <a:gd name="T2" fmla="*/ 1 w 8"/>
                  <a:gd name="T3" fmla="*/ 3 h 5"/>
                  <a:gd name="T4" fmla="*/ 4 w 8"/>
                  <a:gd name="T5" fmla="*/ 5 h 5"/>
                  <a:gd name="T6" fmla="*/ 4 w 8"/>
                  <a:gd name="T7" fmla="*/ 5 h 5"/>
                  <a:gd name="T8" fmla="*/ 3 w 8"/>
                  <a:gd name="T9" fmla="*/ 0 h 5"/>
                </a:gdLst>
                <a:cxnLst>
                  <a:cxn ang="0">
                    <a:pos x="T0" y="T1"/>
                  </a:cxn>
                  <a:cxn ang="0">
                    <a:pos x="T2" y="T3"/>
                  </a:cxn>
                  <a:cxn ang="0">
                    <a:pos x="T4" y="T5"/>
                  </a:cxn>
                  <a:cxn ang="0">
                    <a:pos x="T6" y="T7"/>
                  </a:cxn>
                  <a:cxn ang="0">
                    <a:pos x="T8" y="T9"/>
                  </a:cxn>
                </a:cxnLst>
                <a:rect l="0" t="0" r="r" b="b"/>
                <a:pathLst>
                  <a:path w="8" h="5">
                    <a:moveTo>
                      <a:pt x="3" y="0"/>
                    </a:moveTo>
                    <a:cubicBezTo>
                      <a:pt x="1" y="1"/>
                      <a:pt x="0" y="1"/>
                      <a:pt x="1" y="3"/>
                    </a:cubicBezTo>
                    <a:cubicBezTo>
                      <a:pt x="2" y="4"/>
                      <a:pt x="3" y="5"/>
                      <a:pt x="4" y="5"/>
                    </a:cubicBezTo>
                    <a:cubicBezTo>
                      <a:pt x="4" y="5"/>
                      <a:pt x="4" y="5"/>
                      <a:pt x="4" y="5"/>
                    </a:cubicBezTo>
                    <a:cubicBezTo>
                      <a:pt x="8" y="3"/>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Freeform 129"/>
              <p:cNvSpPr/>
              <p:nvPr/>
            </p:nvSpPr>
            <p:spPr bwMode="auto">
              <a:xfrm>
                <a:off x="8327" y="1997"/>
                <a:ext cx="22" cy="16"/>
              </a:xfrm>
              <a:custGeom>
                <a:gdLst>
                  <a:gd name="T0" fmla="*/ 8 w 9"/>
                  <a:gd name="T1" fmla="*/ 0 h 7"/>
                  <a:gd name="T2" fmla="*/ 5 w 9"/>
                  <a:gd name="T3" fmla="*/ 2 h 7"/>
                  <a:gd name="T4" fmla="*/ 0 w 9"/>
                  <a:gd name="T5" fmla="*/ 4 h 7"/>
                  <a:gd name="T6" fmla="*/ 0 w 9"/>
                  <a:gd name="T7" fmla="*/ 4 h 7"/>
                  <a:gd name="T8" fmla="*/ 3 w 9"/>
                  <a:gd name="T9" fmla="*/ 6 h 7"/>
                  <a:gd name="T10" fmla="*/ 4 w 9"/>
                  <a:gd name="T11" fmla="*/ 7 h 7"/>
                  <a:gd name="T12" fmla="*/ 4 w 9"/>
                  <a:gd name="T13" fmla="*/ 7 h 7"/>
                  <a:gd name="T14" fmla="*/ 9 w 9"/>
                  <a:gd name="T15" fmla="*/ 0 h 7"/>
                  <a:gd name="T16" fmla="*/ 8 w 9"/>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8" y="0"/>
                    </a:moveTo>
                    <a:cubicBezTo>
                      <a:pt x="7" y="0"/>
                      <a:pt x="6" y="1"/>
                      <a:pt x="5" y="2"/>
                    </a:cubicBezTo>
                    <a:cubicBezTo>
                      <a:pt x="3" y="2"/>
                      <a:pt x="2" y="4"/>
                      <a:pt x="0" y="4"/>
                    </a:cubicBezTo>
                    <a:cubicBezTo>
                      <a:pt x="0" y="4"/>
                      <a:pt x="0" y="4"/>
                      <a:pt x="0" y="4"/>
                    </a:cubicBezTo>
                    <a:cubicBezTo>
                      <a:pt x="1" y="4"/>
                      <a:pt x="2" y="5"/>
                      <a:pt x="3" y="6"/>
                    </a:cubicBezTo>
                    <a:cubicBezTo>
                      <a:pt x="3" y="6"/>
                      <a:pt x="3" y="6"/>
                      <a:pt x="4" y="7"/>
                    </a:cubicBezTo>
                    <a:cubicBezTo>
                      <a:pt x="4" y="7"/>
                      <a:pt x="4" y="7"/>
                      <a:pt x="4" y="7"/>
                    </a:cubicBezTo>
                    <a:cubicBezTo>
                      <a:pt x="6" y="7"/>
                      <a:pt x="8" y="2"/>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130"/>
              <p:cNvSpPr/>
              <p:nvPr/>
            </p:nvSpPr>
            <p:spPr bwMode="auto">
              <a:xfrm>
                <a:off x="6477" y="2311"/>
                <a:ext cx="5" cy="12"/>
              </a:xfrm>
              <a:custGeom>
                <a:gdLst>
                  <a:gd name="T0" fmla="*/ 2 w 2"/>
                  <a:gd name="T1" fmla="*/ 0 h 5"/>
                  <a:gd name="T2" fmla="*/ 0 w 2"/>
                  <a:gd name="T3" fmla="*/ 5 h 5"/>
                  <a:gd name="T4" fmla="*/ 2 w 2"/>
                  <a:gd name="T5" fmla="*/ 0 h 5"/>
                </a:gdLst>
                <a:cxnLst>
                  <a:cxn ang="0">
                    <a:pos x="T0" y="T1"/>
                  </a:cxn>
                  <a:cxn ang="0">
                    <a:pos x="T2" y="T3"/>
                  </a:cxn>
                  <a:cxn ang="0">
                    <a:pos x="T4" y="T5"/>
                  </a:cxn>
                </a:cxnLst>
                <a:rect l="0" t="0" r="r" b="b"/>
                <a:pathLst>
                  <a:path w="2" h="5">
                    <a:moveTo>
                      <a:pt x="2" y="0"/>
                    </a:moveTo>
                    <a:cubicBezTo>
                      <a:pt x="1" y="2"/>
                      <a:pt x="0" y="3"/>
                      <a:pt x="0" y="5"/>
                    </a:cubicBezTo>
                    <a:cubicBezTo>
                      <a:pt x="1" y="4"/>
                      <a:pt x="1"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31"/>
              <p:cNvSpPr/>
              <p:nvPr/>
            </p:nvSpPr>
            <p:spPr bwMode="auto">
              <a:xfrm>
                <a:off x="6099" y="2848"/>
                <a:ext cx="5" cy="2"/>
              </a:xfrm>
              <a:custGeom>
                <a:gdLst>
                  <a:gd name="T0" fmla="*/ 0 w 2"/>
                  <a:gd name="T1" fmla="*/ 0 h 1"/>
                  <a:gd name="T2" fmla="*/ 0 w 2"/>
                  <a:gd name="T3" fmla="*/ 0 h 1"/>
                  <a:gd name="T4" fmla="*/ 2 w 2"/>
                  <a:gd name="T5" fmla="*/ 1 h 1"/>
                  <a:gd name="T6" fmla="*/ 0 w 2"/>
                  <a:gd name="T7" fmla="*/ 0 h 1"/>
                  <a:gd name="T8" fmla="*/ 0 w 2"/>
                  <a:gd name="T9" fmla="*/ 0 h 1"/>
                </a:gdLst>
                <a:cxnLst>
                  <a:cxn ang="0">
                    <a:pos x="T0" y="T1"/>
                  </a:cxn>
                  <a:cxn ang="0">
                    <a:pos x="T2" y="T3"/>
                  </a:cxn>
                  <a:cxn ang="0">
                    <a:pos x="T4" y="T5"/>
                  </a:cxn>
                  <a:cxn ang="0">
                    <a:pos x="T6" y="T7"/>
                  </a:cxn>
                  <a:cxn ang="0">
                    <a:pos x="T8" y="T9"/>
                  </a:cxn>
                </a:cxnLst>
                <a:rect l="0" t="0" r="r" b="b"/>
                <a:pathLst>
                  <a:path w="2" h="1">
                    <a:moveTo>
                      <a:pt x="0" y="0"/>
                    </a:moveTo>
                    <a:cubicBezTo>
                      <a:pt x="0" y="0"/>
                      <a:pt x="0" y="0"/>
                      <a:pt x="0" y="0"/>
                    </a:cubicBezTo>
                    <a:cubicBezTo>
                      <a:pt x="0" y="0"/>
                      <a:pt x="1" y="0"/>
                      <a:pt x="2" y="1"/>
                    </a:cubicBezTo>
                    <a:cubicBezTo>
                      <a:pt x="1"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32"/>
              <p:cNvSpPr/>
              <p:nvPr/>
            </p:nvSpPr>
            <p:spPr bwMode="auto">
              <a:xfrm flipH="1">
                <a:off x="6479" y="2309"/>
                <a:ext cx="0" cy="5"/>
              </a:xfrm>
              <a:custGeom>
                <a:gdLst>
                  <a:gd name="T0" fmla="*/ 0 h 2"/>
                  <a:gd name="T1" fmla="*/ 2 h 2"/>
                  <a:gd name="T2" fmla="*/ 0 h 2"/>
                  <a:gd name="T3" fmla="*/ 0 h 2"/>
                </a:gdLst>
                <a:cxnLst>
                  <a:cxn ang="0">
                    <a:pos x="0" y="T0"/>
                  </a:cxn>
                  <a:cxn ang="0">
                    <a:pos x="0" y="T1"/>
                  </a:cxn>
                  <a:cxn ang="0">
                    <a:pos x="0" y="T2"/>
                  </a:cxn>
                  <a:cxn ang="0">
                    <a:pos x="0" y="T3"/>
                  </a:cxn>
                </a:cxnLst>
                <a:rect l="0" t="0" r="r" b="b"/>
                <a:pathLst>
                  <a:path h="2">
                    <a:moveTo>
                      <a:pt x="0" y="0"/>
                    </a:moveTo>
                    <a:cubicBezTo>
                      <a:pt x="0" y="1"/>
                      <a:pt x="0" y="1"/>
                      <a:pt x="0" y="2"/>
                    </a:cubicBezTo>
                    <a:cubicBezTo>
                      <a:pt x="0" y="1"/>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33"/>
              <p:cNvSpPr/>
              <p:nvPr/>
            </p:nvSpPr>
            <p:spPr bwMode="auto">
              <a:xfrm>
                <a:off x="6791" y="3054"/>
                <a:ext cx="5" cy="2"/>
              </a:xfrm>
              <a:custGeom>
                <a:gdLst>
                  <a:gd name="T0" fmla="*/ 0 w 2"/>
                  <a:gd name="T1" fmla="*/ 0 h 1"/>
                  <a:gd name="T2" fmla="*/ 0 w 2"/>
                  <a:gd name="T3" fmla="*/ 0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0"/>
                      <a:pt x="0" y="0"/>
                      <a:pt x="0" y="0"/>
                    </a:cubicBezTo>
                    <a:cubicBezTo>
                      <a:pt x="0" y="1"/>
                      <a:pt x="1" y="1"/>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34"/>
              <p:cNvSpPr/>
              <p:nvPr/>
            </p:nvSpPr>
            <p:spPr bwMode="auto">
              <a:xfrm>
                <a:off x="7214" y="3307"/>
                <a:ext cx="3" cy="4"/>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1"/>
                      <a:pt x="0" y="2"/>
                      <a:pt x="1" y="2"/>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35"/>
              <p:cNvSpPr/>
              <p:nvPr/>
            </p:nvSpPr>
            <p:spPr bwMode="auto">
              <a:xfrm>
                <a:off x="8377" y="3314"/>
                <a:ext cx="52" cy="19"/>
              </a:xfrm>
              <a:custGeom>
                <a:gdLst>
                  <a:gd name="T0" fmla="*/ 11 w 22"/>
                  <a:gd name="T1" fmla="*/ 0 h 8"/>
                  <a:gd name="T2" fmla="*/ 0 w 22"/>
                  <a:gd name="T3" fmla="*/ 4 h 8"/>
                  <a:gd name="T4" fmla="*/ 3 w 22"/>
                  <a:gd name="T5" fmla="*/ 5 h 8"/>
                  <a:gd name="T6" fmla="*/ 5 w 22"/>
                  <a:gd name="T7" fmla="*/ 5 h 8"/>
                  <a:gd name="T8" fmla="*/ 6 w 22"/>
                  <a:gd name="T9" fmla="*/ 8 h 8"/>
                  <a:gd name="T10" fmla="*/ 7 w 22"/>
                  <a:gd name="T11" fmla="*/ 6 h 8"/>
                  <a:gd name="T12" fmla="*/ 7 w 22"/>
                  <a:gd name="T13" fmla="*/ 6 h 8"/>
                  <a:gd name="T14" fmla="*/ 10 w 22"/>
                  <a:gd name="T15" fmla="*/ 8 h 8"/>
                  <a:gd name="T16" fmla="*/ 10 w 22"/>
                  <a:gd name="T17" fmla="*/ 8 h 8"/>
                  <a:gd name="T18" fmla="*/ 13 w 22"/>
                  <a:gd name="T19" fmla="*/ 6 h 8"/>
                  <a:gd name="T20" fmla="*/ 14 w 22"/>
                  <a:gd name="T21" fmla="*/ 7 h 8"/>
                  <a:gd name="T22" fmla="*/ 15 w 22"/>
                  <a:gd name="T23" fmla="*/ 6 h 8"/>
                  <a:gd name="T24" fmla="*/ 16 w 22"/>
                  <a:gd name="T25" fmla="*/ 6 h 8"/>
                  <a:gd name="T26" fmla="*/ 16 w 22"/>
                  <a:gd name="T27" fmla="*/ 6 h 8"/>
                  <a:gd name="T28" fmla="*/ 19 w 22"/>
                  <a:gd name="T29" fmla="*/ 7 h 8"/>
                  <a:gd name="T30" fmla="*/ 19 w 22"/>
                  <a:gd name="T31" fmla="*/ 7 h 8"/>
                  <a:gd name="T32" fmla="*/ 20 w 22"/>
                  <a:gd name="T33" fmla="*/ 3 h 8"/>
                  <a:gd name="T34" fmla="*/ 16 w 22"/>
                  <a:gd name="T35" fmla="*/ 1 h 8"/>
                  <a:gd name="T36" fmla="*/ 15 w 22"/>
                  <a:gd name="T37" fmla="*/ 1 h 8"/>
                  <a:gd name="T38" fmla="*/ 11 w 22"/>
                  <a:gd name="T3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8">
                    <a:moveTo>
                      <a:pt x="11" y="0"/>
                    </a:moveTo>
                    <a:cubicBezTo>
                      <a:pt x="7" y="1"/>
                      <a:pt x="3" y="2"/>
                      <a:pt x="0" y="4"/>
                    </a:cubicBezTo>
                    <a:cubicBezTo>
                      <a:pt x="1" y="4"/>
                      <a:pt x="2" y="5"/>
                      <a:pt x="3" y="5"/>
                    </a:cubicBezTo>
                    <a:cubicBezTo>
                      <a:pt x="5" y="5"/>
                      <a:pt x="5" y="5"/>
                      <a:pt x="5" y="5"/>
                    </a:cubicBezTo>
                    <a:cubicBezTo>
                      <a:pt x="6" y="5"/>
                      <a:pt x="5" y="7"/>
                      <a:pt x="6" y="8"/>
                    </a:cubicBezTo>
                    <a:cubicBezTo>
                      <a:pt x="6" y="7"/>
                      <a:pt x="6" y="6"/>
                      <a:pt x="7" y="6"/>
                    </a:cubicBezTo>
                    <a:cubicBezTo>
                      <a:pt x="7" y="6"/>
                      <a:pt x="7" y="6"/>
                      <a:pt x="7" y="6"/>
                    </a:cubicBezTo>
                    <a:cubicBezTo>
                      <a:pt x="9" y="6"/>
                      <a:pt x="9" y="8"/>
                      <a:pt x="10" y="8"/>
                    </a:cubicBezTo>
                    <a:cubicBezTo>
                      <a:pt x="10" y="8"/>
                      <a:pt x="10" y="8"/>
                      <a:pt x="10" y="8"/>
                    </a:cubicBezTo>
                    <a:cubicBezTo>
                      <a:pt x="12" y="8"/>
                      <a:pt x="14" y="7"/>
                      <a:pt x="13" y="6"/>
                    </a:cubicBezTo>
                    <a:cubicBezTo>
                      <a:pt x="13" y="6"/>
                      <a:pt x="14" y="7"/>
                      <a:pt x="14" y="7"/>
                    </a:cubicBezTo>
                    <a:cubicBezTo>
                      <a:pt x="14" y="7"/>
                      <a:pt x="15" y="7"/>
                      <a:pt x="15" y="6"/>
                    </a:cubicBezTo>
                    <a:cubicBezTo>
                      <a:pt x="15" y="6"/>
                      <a:pt x="15" y="6"/>
                      <a:pt x="16" y="6"/>
                    </a:cubicBezTo>
                    <a:cubicBezTo>
                      <a:pt x="16" y="6"/>
                      <a:pt x="16" y="6"/>
                      <a:pt x="16" y="6"/>
                    </a:cubicBezTo>
                    <a:cubicBezTo>
                      <a:pt x="16" y="6"/>
                      <a:pt x="18" y="7"/>
                      <a:pt x="19" y="7"/>
                    </a:cubicBezTo>
                    <a:cubicBezTo>
                      <a:pt x="19" y="7"/>
                      <a:pt x="19" y="7"/>
                      <a:pt x="19" y="7"/>
                    </a:cubicBezTo>
                    <a:cubicBezTo>
                      <a:pt x="22" y="7"/>
                      <a:pt x="21" y="4"/>
                      <a:pt x="20" y="3"/>
                    </a:cubicBezTo>
                    <a:cubicBezTo>
                      <a:pt x="19" y="2"/>
                      <a:pt x="17" y="1"/>
                      <a:pt x="16" y="1"/>
                    </a:cubicBezTo>
                    <a:cubicBezTo>
                      <a:pt x="15" y="1"/>
                      <a:pt x="15" y="1"/>
                      <a:pt x="15" y="1"/>
                    </a:cubicBezTo>
                    <a:cubicBezTo>
                      <a:pt x="14"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36"/>
              <p:cNvSpPr/>
              <p:nvPr/>
            </p:nvSpPr>
            <p:spPr bwMode="auto">
              <a:xfrm>
                <a:off x="7207" y="3328"/>
                <a:ext cx="17" cy="14"/>
              </a:xfrm>
              <a:custGeom>
                <a:gdLst>
                  <a:gd name="T0" fmla="*/ 4 w 7"/>
                  <a:gd name="T1" fmla="*/ 0 h 6"/>
                  <a:gd name="T2" fmla="*/ 2 w 7"/>
                  <a:gd name="T3" fmla="*/ 2 h 6"/>
                  <a:gd name="T4" fmla="*/ 1 w 7"/>
                  <a:gd name="T5" fmla="*/ 1 h 6"/>
                  <a:gd name="T6" fmla="*/ 0 w 7"/>
                  <a:gd name="T7" fmla="*/ 2 h 6"/>
                  <a:gd name="T8" fmla="*/ 2 w 7"/>
                  <a:gd name="T9" fmla="*/ 5 h 6"/>
                  <a:gd name="T10" fmla="*/ 2 w 7"/>
                  <a:gd name="T11" fmla="*/ 6 h 6"/>
                  <a:gd name="T12" fmla="*/ 2 w 7"/>
                  <a:gd name="T13" fmla="*/ 6 h 6"/>
                  <a:gd name="T14" fmla="*/ 5 w 7"/>
                  <a:gd name="T15" fmla="*/ 5 h 6"/>
                  <a:gd name="T16" fmla="*/ 4 w 7"/>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4" y="0"/>
                    </a:moveTo>
                    <a:cubicBezTo>
                      <a:pt x="3" y="1"/>
                      <a:pt x="2" y="1"/>
                      <a:pt x="2" y="2"/>
                    </a:cubicBezTo>
                    <a:cubicBezTo>
                      <a:pt x="1" y="1"/>
                      <a:pt x="1" y="1"/>
                      <a:pt x="1" y="1"/>
                    </a:cubicBezTo>
                    <a:cubicBezTo>
                      <a:pt x="1" y="1"/>
                      <a:pt x="0" y="1"/>
                      <a:pt x="0" y="2"/>
                    </a:cubicBezTo>
                    <a:cubicBezTo>
                      <a:pt x="0" y="3"/>
                      <a:pt x="1" y="5"/>
                      <a:pt x="2" y="5"/>
                    </a:cubicBezTo>
                    <a:cubicBezTo>
                      <a:pt x="2" y="5"/>
                      <a:pt x="1" y="6"/>
                      <a:pt x="2" y="6"/>
                    </a:cubicBezTo>
                    <a:cubicBezTo>
                      <a:pt x="2" y="6"/>
                      <a:pt x="2" y="6"/>
                      <a:pt x="2" y="6"/>
                    </a:cubicBezTo>
                    <a:cubicBezTo>
                      <a:pt x="3" y="6"/>
                      <a:pt x="4" y="6"/>
                      <a:pt x="5" y="5"/>
                    </a:cubicBezTo>
                    <a:cubicBezTo>
                      <a:pt x="7" y="4"/>
                      <a:pt x="6"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37"/>
              <p:cNvSpPr/>
              <p:nvPr/>
            </p:nvSpPr>
            <p:spPr bwMode="auto">
              <a:xfrm>
                <a:off x="7110" y="3250"/>
                <a:ext cx="19" cy="21"/>
              </a:xfrm>
              <a:custGeom>
                <a:gdLst>
                  <a:gd name="T0" fmla="*/ 3 w 8"/>
                  <a:gd name="T1" fmla="*/ 0 h 9"/>
                  <a:gd name="T2" fmla="*/ 5 w 8"/>
                  <a:gd name="T3" fmla="*/ 9 h 9"/>
                  <a:gd name="T4" fmla="*/ 5 w 8"/>
                  <a:gd name="T5" fmla="*/ 2 h 9"/>
                  <a:gd name="T6" fmla="*/ 3 w 8"/>
                  <a:gd name="T7" fmla="*/ 0 h 9"/>
                </a:gdLst>
                <a:cxnLst>
                  <a:cxn ang="0">
                    <a:pos x="T0" y="T1"/>
                  </a:cxn>
                  <a:cxn ang="0">
                    <a:pos x="T2" y="T3"/>
                  </a:cxn>
                  <a:cxn ang="0">
                    <a:pos x="T4" y="T5"/>
                  </a:cxn>
                  <a:cxn ang="0">
                    <a:pos x="T6" y="T7"/>
                  </a:cxn>
                </a:cxnLst>
                <a:rect l="0" t="0" r="r" b="b"/>
                <a:pathLst>
                  <a:path w="8" h="9">
                    <a:moveTo>
                      <a:pt x="3" y="0"/>
                    </a:moveTo>
                    <a:cubicBezTo>
                      <a:pt x="0" y="1"/>
                      <a:pt x="4" y="7"/>
                      <a:pt x="5" y="9"/>
                    </a:cubicBezTo>
                    <a:cubicBezTo>
                      <a:pt x="7" y="6"/>
                      <a:pt x="8" y="4"/>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Freeform 138"/>
              <p:cNvSpPr/>
              <p:nvPr/>
            </p:nvSpPr>
            <p:spPr bwMode="auto">
              <a:xfrm>
                <a:off x="7808" y="3129"/>
                <a:ext cx="4" cy="5"/>
              </a:xfrm>
              <a:custGeom>
                <a:gdLst>
                  <a:gd name="T0" fmla="*/ 0 w 2"/>
                  <a:gd name="T1" fmla="*/ 0 h 2"/>
                  <a:gd name="T2" fmla="*/ 1 w 2"/>
                  <a:gd name="T3" fmla="*/ 1 h 2"/>
                  <a:gd name="T4" fmla="*/ 1 w 2"/>
                  <a:gd name="T5" fmla="*/ 1 h 2"/>
                  <a:gd name="T6" fmla="*/ 2 w 2"/>
                  <a:gd name="T7" fmla="*/ 2 h 2"/>
                  <a:gd name="T8" fmla="*/ 2 w 2"/>
                  <a:gd name="T9" fmla="*/ 2 h 2"/>
                  <a:gd name="T10" fmla="*/ 0 w 2"/>
                  <a:gd name="T11" fmla="*/ 0 h 2"/>
                </a:gdLst>
                <a:cxnLst>
                  <a:cxn ang="0">
                    <a:pos x="T0" y="T1"/>
                  </a:cxn>
                  <a:cxn ang="0">
                    <a:pos x="T2" y="T3"/>
                  </a:cxn>
                  <a:cxn ang="0">
                    <a:pos x="T4" y="T5"/>
                  </a:cxn>
                  <a:cxn ang="0">
                    <a:pos x="T6" y="T7"/>
                  </a:cxn>
                  <a:cxn ang="0">
                    <a:pos x="T8" y="T9"/>
                  </a:cxn>
                  <a:cxn ang="0">
                    <a:pos x="T10" y="T11"/>
                  </a:cxn>
                </a:cxnLst>
                <a:rect l="0" t="0" r="r" b="b"/>
                <a:pathLst>
                  <a:path w="2" h="2">
                    <a:moveTo>
                      <a:pt x="0" y="0"/>
                    </a:moveTo>
                    <a:cubicBezTo>
                      <a:pt x="0" y="0"/>
                      <a:pt x="1" y="1"/>
                      <a:pt x="1" y="1"/>
                    </a:cubicBezTo>
                    <a:cubicBezTo>
                      <a:pt x="1" y="1"/>
                      <a:pt x="1" y="1"/>
                      <a:pt x="1" y="1"/>
                    </a:cubicBezTo>
                    <a:cubicBezTo>
                      <a:pt x="1" y="2"/>
                      <a:pt x="2" y="2"/>
                      <a:pt x="2" y="2"/>
                    </a:cubicBezTo>
                    <a:cubicBezTo>
                      <a:pt x="2" y="2"/>
                      <a:pt x="2" y="2"/>
                      <a:pt x="2" y="2"/>
                    </a:cubicBezTo>
                    <a:cubicBezTo>
                      <a:pt x="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Freeform 139"/>
              <p:cNvSpPr/>
              <p:nvPr/>
            </p:nvSpPr>
            <p:spPr bwMode="auto">
              <a:xfrm>
                <a:off x="6945" y="3236"/>
                <a:ext cx="7" cy="5"/>
              </a:xfrm>
              <a:custGeom>
                <a:gdLst>
                  <a:gd name="T0" fmla="*/ 1 w 3"/>
                  <a:gd name="T1" fmla="*/ 0 h 2"/>
                  <a:gd name="T2" fmla="*/ 0 w 3"/>
                  <a:gd name="T3" fmla="*/ 1 h 2"/>
                  <a:gd name="T4" fmla="*/ 3 w 3"/>
                  <a:gd name="T5" fmla="*/ 2 h 2"/>
                  <a:gd name="T6" fmla="*/ 1 w 3"/>
                  <a:gd name="T7" fmla="*/ 0 h 2"/>
                </a:gdLst>
                <a:cxnLst>
                  <a:cxn ang="0">
                    <a:pos x="T0" y="T1"/>
                  </a:cxn>
                  <a:cxn ang="0">
                    <a:pos x="T2" y="T3"/>
                  </a:cxn>
                  <a:cxn ang="0">
                    <a:pos x="T4" y="T5"/>
                  </a:cxn>
                  <a:cxn ang="0">
                    <a:pos x="T6" y="T7"/>
                  </a:cxn>
                </a:cxnLst>
                <a:rect l="0" t="0" r="r" b="b"/>
                <a:pathLst>
                  <a:path w="3" h="2">
                    <a:moveTo>
                      <a:pt x="1" y="0"/>
                    </a:moveTo>
                    <a:cubicBezTo>
                      <a:pt x="0" y="0"/>
                      <a:pt x="0" y="0"/>
                      <a:pt x="0" y="1"/>
                    </a:cubicBezTo>
                    <a:cubicBezTo>
                      <a:pt x="1" y="1"/>
                      <a:pt x="2" y="1"/>
                      <a:pt x="3" y="2"/>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140"/>
              <p:cNvSpPr/>
              <p:nvPr/>
            </p:nvSpPr>
            <p:spPr bwMode="auto">
              <a:xfrm>
                <a:off x="7172" y="3323"/>
                <a:ext cx="12" cy="5"/>
              </a:xfrm>
              <a:custGeom>
                <a:gdLst>
                  <a:gd name="T0" fmla="*/ 2 w 5"/>
                  <a:gd name="T1" fmla="*/ 0 h 2"/>
                  <a:gd name="T2" fmla="*/ 0 w 5"/>
                  <a:gd name="T3" fmla="*/ 2 h 2"/>
                  <a:gd name="T4" fmla="*/ 5 w 5"/>
                  <a:gd name="T5" fmla="*/ 1 h 2"/>
                  <a:gd name="T6" fmla="*/ 2 w 5"/>
                  <a:gd name="T7" fmla="*/ 0 h 2"/>
                </a:gdLst>
                <a:cxnLst>
                  <a:cxn ang="0">
                    <a:pos x="T0" y="T1"/>
                  </a:cxn>
                  <a:cxn ang="0">
                    <a:pos x="T2" y="T3"/>
                  </a:cxn>
                  <a:cxn ang="0">
                    <a:pos x="T4" y="T5"/>
                  </a:cxn>
                  <a:cxn ang="0">
                    <a:pos x="T6" y="T7"/>
                  </a:cxn>
                </a:cxnLst>
                <a:rect l="0" t="0" r="r" b="b"/>
                <a:pathLst>
                  <a:path w="5" h="2">
                    <a:moveTo>
                      <a:pt x="2" y="0"/>
                    </a:moveTo>
                    <a:cubicBezTo>
                      <a:pt x="1" y="0"/>
                      <a:pt x="0" y="1"/>
                      <a:pt x="0" y="2"/>
                    </a:cubicBezTo>
                    <a:cubicBezTo>
                      <a:pt x="1" y="2"/>
                      <a:pt x="3" y="1"/>
                      <a:pt x="5"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Freeform 141"/>
              <p:cNvSpPr/>
              <p:nvPr/>
            </p:nvSpPr>
            <p:spPr bwMode="auto">
              <a:xfrm>
                <a:off x="7167" y="3262"/>
                <a:ext cx="2" cy="5"/>
              </a:xfrm>
              <a:custGeom>
                <a:gdLst>
                  <a:gd name="T0" fmla="*/ 0 w 1"/>
                  <a:gd name="T1" fmla="*/ 0 h 2"/>
                  <a:gd name="T2" fmla="*/ 0 w 1"/>
                  <a:gd name="T3" fmla="*/ 0 h 2"/>
                  <a:gd name="T4" fmla="*/ 1 w 1"/>
                  <a:gd name="T5" fmla="*/ 2 h 2"/>
                  <a:gd name="T6" fmla="*/ 0 w 1"/>
                  <a:gd name="T7" fmla="*/ 0 h 2"/>
                </a:gdLst>
                <a:cxnLst>
                  <a:cxn ang="0">
                    <a:pos x="T0" y="T1"/>
                  </a:cxn>
                  <a:cxn ang="0">
                    <a:pos x="T2" y="T3"/>
                  </a:cxn>
                  <a:cxn ang="0">
                    <a:pos x="T4" y="T5"/>
                  </a:cxn>
                  <a:cxn ang="0">
                    <a:pos x="T6" y="T7"/>
                  </a:cxn>
                </a:cxnLst>
                <a:rect l="0" t="0" r="r" b="b"/>
                <a:pathLst>
                  <a:path w="1" h="2">
                    <a:moveTo>
                      <a:pt x="0" y="0"/>
                    </a:moveTo>
                    <a:cubicBezTo>
                      <a:pt x="0" y="0"/>
                      <a:pt x="0" y="0"/>
                      <a:pt x="0" y="0"/>
                    </a:cubicBezTo>
                    <a:cubicBezTo>
                      <a:pt x="0" y="1"/>
                      <a:pt x="1" y="2"/>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42"/>
              <p:cNvSpPr/>
              <p:nvPr/>
            </p:nvSpPr>
            <p:spPr bwMode="auto">
              <a:xfrm>
                <a:off x="7184" y="3274"/>
                <a:ext cx="4" cy="4"/>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43"/>
              <p:cNvSpPr>
                <a:spLocks noEditPoints="1"/>
              </p:cNvSpPr>
              <p:nvPr/>
            </p:nvSpPr>
            <p:spPr bwMode="auto">
              <a:xfrm>
                <a:off x="8386" y="3333"/>
                <a:ext cx="10" cy="2"/>
              </a:xfrm>
              <a:custGeom>
                <a:gdLst>
                  <a:gd name="T0" fmla="*/ 3 w 4"/>
                  <a:gd name="T1" fmla="*/ 0 h 1"/>
                  <a:gd name="T2" fmla="*/ 0 w 4"/>
                  <a:gd name="T3" fmla="*/ 1 h 1"/>
                  <a:gd name="T4" fmla="*/ 0 w 4"/>
                  <a:gd name="T5" fmla="*/ 1 h 1"/>
                  <a:gd name="T6" fmla="*/ 3 w 4"/>
                  <a:gd name="T7" fmla="*/ 0 h 1"/>
                  <a:gd name="T8" fmla="*/ 4 w 4"/>
                  <a:gd name="T9" fmla="*/ 0 h 1"/>
                  <a:gd name="T10" fmla="*/ 3 w 4"/>
                  <a:gd name="T11" fmla="*/ 0 h 1"/>
                  <a:gd name="T12" fmla="*/ 4 w 4"/>
                  <a:gd name="T13" fmla="*/ 0 h 1"/>
                </a:gdLst>
                <a:cxnLst>
                  <a:cxn ang="0">
                    <a:pos x="T0" y="T1"/>
                  </a:cxn>
                  <a:cxn ang="0">
                    <a:pos x="T2" y="T3"/>
                  </a:cxn>
                  <a:cxn ang="0">
                    <a:pos x="T4" y="T5"/>
                  </a:cxn>
                  <a:cxn ang="0">
                    <a:pos x="T6" y="T7"/>
                  </a:cxn>
                  <a:cxn ang="0">
                    <a:pos x="T8" y="T9"/>
                  </a:cxn>
                  <a:cxn ang="0">
                    <a:pos x="T10" y="T11"/>
                  </a:cxn>
                  <a:cxn ang="0">
                    <a:pos x="T12" y="T13"/>
                  </a:cxn>
                </a:cxnLst>
                <a:rect l="0" t="0" r="r" b="b"/>
                <a:pathLst>
                  <a:path w="4" h="1">
                    <a:moveTo>
                      <a:pt x="3" y="0"/>
                    </a:moveTo>
                    <a:cubicBezTo>
                      <a:pt x="2" y="1"/>
                      <a:pt x="1" y="0"/>
                      <a:pt x="0" y="1"/>
                    </a:cubicBezTo>
                    <a:cubicBezTo>
                      <a:pt x="0" y="1"/>
                      <a:pt x="0" y="1"/>
                      <a:pt x="0" y="1"/>
                    </a:cubicBezTo>
                    <a:cubicBezTo>
                      <a:pt x="1" y="1"/>
                      <a:pt x="2" y="0"/>
                      <a:pt x="3" y="0"/>
                    </a:cubicBezTo>
                    <a:moveTo>
                      <a:pt x="4" y="0"/>
                    </a:moveTo>
                    <a:cubicBezTo>
                      <a:pt x="4" y="0"/>
                      <a:pt x="3" y="0"/>
                      <a:pt x="3" y="0"/>
                    </a:cubicBezTo>
                    <a:cubicBezTo>
                      <a:pt x="3" y="0"/>
                      <a:pt x="3"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Freeform 144"/>
              <p:cNvSpPr/>
              <p:nvPr/>
            </p:nvSpPr>
            <p:spPr bwMode="auto">
              <a:xfrm>
                <a:off x="8041" y="3366"/>
                <a:ext cx="34" cy="9"/>
              </a:xfrm>
              <a:custGeom>
                <a:gdLst>
                  <a:gd name="T0" fmla="*/ 7 w 14"/>
                  <a:gd name="T1" fmla="*/ 0 h 4"/>
                  <a:gd name="T2" fmla="*/ 6 w 14"/>
                  <a:gd name="T3" fmla="*/ 0 h 4"/>
                  <a:gd name="T4" fmla="*/ 6 w 14"/>
                  <a:gd name="T5" fmla="*/ 0 h 4"/>
                  <a:gd name="T6" fmla="*/ 2 w 14"/>
                  <a:gd name="T7" fmla="*/ 1 h 4"/>
                  <a:gd name="T8" fmla="*/ 0 w 14"/>
                  <a:gd name="T9" fmla="*/ 4 h 4"/>
                  <a:gd name="T10" fmla="*/ 6 w 14"/>
                  <a:gd name="T11" fmla="*/ 4 h 4"/>
                  <a:gd name="T12" fmla="*/ 7 w 14"/>
                  <a:gd name="T13" fmla="*/ 3 h 4"/>
                  <a:gd name="T14" fmla="*/ 7 w 14"/>
                  <a:gd name="T15" fmla="*/ 4 h 4"/>
                  <a:gd name="T16" fmla="*/ 12 w 14"/>
                  <a:gd name="T17" fmla="*/ 4 h 4"/>
                  <a:gd name="T18" fmla="*/ 14 w 14"/>
                  <a:gd name="T19" fmla="*/ 2 h 4"/>
                  <a:gd name="T20" fmla="*/ 12 w 14"/>
                  <a:gd name="T21" fmla="*/ 1 h 4"/>
                  <a:gd name="T22" fmla="*/ 10 w 14"/>
                  <a:gd name="T23" fmla="*/ 2 h 4"/>
                  <a:gd name="T24" fmla="*/ 7 w 14"/>
                  <a:gd name="T25"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4">
                    <a:moveTo>
                      <a:pt x="7" y="0"/>
                    </a:moveTo>
                    <a:cubicBezTo>
                      <a:pt x="8" y="0"/>
                      <a:pt x="6" y="0"/>
                      <a:pt x="6" y="0"/>
                    </a:cubicBezTo>
                    <a:cubicBezTo>
                      <a:pt x="6" y="0"/>
                      <a:pt x="6" y="0"/>
                      <a:pt x="6" y="0"/>
                    </a:cubicBezTo>
                    <a:cubicBezTo>
                      <a:pt x="4" y="0"/>
                      <a:pt x="3" y="0"/>
                      <a:pt x="2" y="1"/>
                    </a:cubicBezTo>
                    <a:cubicBezTo>
                      <a:pt x="1" y="2"/>
                      <a:pt x="1" y="3"/>
                      <a:pt x="0" y="4"/>
                    </a:cubicBezTo>
                    <a:cubicBezTo>
                      <a:pt x="6" y="4"/>
                      <a:pt x="6" y="4"/>
                      <a:pt x="6" y="4"/>
                    </a:cubicBezTo>
                    <a:cubicBezTo>
                      <a:pt x="7" y="3"/>
                      <a:pt x="7" y="3"/>
                      <a:pt x="7" y="3"/>
                    </a:cubicBezTo>
                    <a:cubicBezTo>
                      <a:pt x="7" y="3"/>
                      <a:pt x="7" y="3"/>
                      <a:pt x="7" y="4"/>
                    </a:cubicBezTo>
                    <a:cubicBezTo>
                      <a:pt x="12" y="4"/>
                      <a:pt x="12" y="4"/>
                      <a:pt x="12" y="4"/>
                    </a:cubicBezTo>
                    <a:cubicBezTo>
                      <a:pt x="13" y="3"/>
                      <a:pt x="14" y="3"/>
                      <a:pt x="14" y="2"/>
                    </a:cubicBezTo>
                    <a:cubicBezTo>
                      <a:pt x="14" y="2"/>
                      <a:pt x="13" y="1"/>
                      <a:pt x="12" y="1"/>
                    </a:cubicBezTo>
                    <a:cubicBezTo>
                      <a:pt x="11" y="1"/>
                      <a:pt x="10" y="1"/>
                      <a:pt x="10" y="2"/>
                    </a:cubicBezTo>
                    <a:cubicBezTo>
                      <a:pt x="9"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8" name="Freeform 145"/>
              <p:cNvSpPr/>
              <p:nvPr/>
            </p:nvSpPr>
            <p:spPr bwMode="auto">
              <a:xfrm>
                <a:off x="6884" y="3243"/>
                <a:ext cx="37" cy="45"/>
              </a:xfrm>
              <a:custGeom>
                <a:gdLst>
                  <a:gd name="T0" fmla="*/ 5 w 16"/>
                  <a:gd name="T1" fmla="*/ 0 h 19"/>
                  <a:gd name="T2" fmla="*/ 0 w 16"/>
                  <a:gd name="T3" fmla="*/ 3 h 19"/>
                  <a:gd name="T4" fmla="*/ 8 w 16"/>
                  <a:gd name="T5" fmla="*/ 12 h 19"/>
                  <a:gd name="T6" fmla="*/ 14 w 16"/>
                  <a:gd name="T7" fmla="*/ 19 h 19"/>
                  <a:gd name="T8" fmla="*/ 16 w 16"/>
                  <a:gd name="T9" fmla="*/ 15 h 19"/>
                  <a:gd name="T10" fmla="*/ 15 w 16"/>
                  <a:gd name="T11" fmla="*/ 11 h 19"/>
                  <a:gd name="T12" fmla="*/ 5 w 16"/>
                  <a:gd name="T13" fmla="*/ 0 h 19"/>
                </a:gdLst>
                <a:cxnLst>
                  <a:cxn ang="0">
                    <a:pos x="T0" y="T1"/>
                  </a:cxn>
                  <a:cxn ang="0">
                    <a:pos x="T2" y="T3"/>
                  </a:cxn>
                  <a:cxn ang="0">
                    <a:pos x="T4" y="T5"/>
                  </a:cxn>
                  <a:cxn ang="0">
                    <a:pos x="T6" y="T7"/>
                  </a:cxn>
                  <a:cxn ang="0">
                    <a:pos x="T8" y="T9"/>
                  </a:cxn>
                  <a:cxn ang="0">
                    <a:pos x="T10" y="T11"/>
                  </a:cxn>
                  <a:cxn ang="0">
                    <a:pos x="T12" y="T13"/>
                  </a:cxn>
                </a:cxnLst>
                <a:rect l="0" t="0" r="r" b="b"/>
                <a:pathLst>
                  <a:path w="16" h="19">
                    <a:moveTo>
                      <a:pt x="5" y="0"/>
                    </a:moveTo>
                    <a:cubicBezTo>
                      <a:pt x="5" y="3"/>
                      <a:pt x="2" y="2"/>
                      <a:pt x="0" y="3"/>
                    </a:cubicBezTo>
                    <a:cubicBezTo>
                      <a:pt x="4" y="4"/>
                      <a:pt x="5" y="10"/>
                      <a:pt x="8" y="12"/>
                    </a:cubicBezTo>
                    <a:cubicBezTo>
                      <a:pt x="10" y="15"/>
                      <a:pt x="12" y="17"/>
                      <a:pt x="14" y="19"/>
                    </a:cubicBezTo>
                    <a:cubicBezTo>
                      <a:pt x="16" y="18"/>
                      <a:pt x="15" y="17"/>
                      <a:pt x="16" y="15"/>
                    </a:cubicBezTo>
                    <a:cubicBezTo>
                      <a:pt x="16" y="13"/>
                      <a:pt x="16" y="12"/>
                      <a:pt x="15" y="11"/>
                    </a:cubicBezTo>
                    <a:cubicBezTo>
                      <a:pt x="12" y="7"/>
                      <a:pt x="8"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Freeform 146"/>
              <p:cNvSpPr/>
              <p:nvPr/>
            </p:nvSpPr>
            <p:spPr bwMode="auto">
              <a:xfrm>
                <a:off x="8242" y="3328"/>
                <a:ext cx="31" cy="26"/>
              </a:xfrm>
              <a:custGeom>
                <a:gdLst>
                  <a:gd name="T0" fmla="*/ 5 w 13"/>
                  <a:gd name="T1" fmla="*/ 0 h 11"/>
                  <a:gd name="T2" fmla="*/ 4 w 13"/>
                  <a:gd name="T3" fmla="*/ 2 h 11"/>
                  <a:gd name="T4" fmla="*/ 4 w 13"/>
                  <a:gd name="T5" fmla="*/ 2 h 11"/>
                  <a:gd name="T6" fmla="*/ 3 w 13"/>
                  <a:gd name="T7" fmla="*/ 1 h 11"/>
                  <a:gd name="T8" fmla="*/ 2 w 13"/>
                  <a:gd name="T9" fmla="*/ 0 h 11"/>
                  <a:gd name="T10" fmla="*/ 2 w 13"/>
                  <a:gd name="T11" fmla="*/ 0 h 11"/>
                  <a:gd name="T12" fmla="*/ 2 w 13"/>
                  <a:gd name="T13" fmla="*/ 5 h 11"/>
                  <a:gd name="T14" fmla="*/ 4 w 13"/>
                  <a:gd name="T15" fmla="*/ 6 h 11"/>
                  <a:gd name="T16" fmla="*/ 4 w 13"/>
                  <a:gd name="T17" fmla="*/ 7 h 11"/>
                  <a:gd name="T18" fmla="*/ 4 w 13"/>
                  <a:gd name="T19" fmla="*/ 9 h 11"/>
                  <a:gd name="T20" fmla="*/ 5 w 13"/>
                  <a:gd name="T21" fmla="*/ 9 h 11"/>
                  <a:gd name="T22" fmla="*/ 7 w 13"/>
                  <a:gd name="T23" fmla="*/ 9 h 11"/>
                  <a:gd name="T24" fmla="*/ 9 w 13"/>
                  <a:gd name="T25" fmla="*/ 11 h 11"/>
                  <a:gd name="T26" fmla="*/ 10 w 13"/>
                  <a:gd name="T27" fmla="*/ 11 h 11"/>
                  <a:gd name="T28" fmla="*/ 12 w 13"/>
                  <a:gd name="T29" fmla="*/ 9 h 11"/>
                  <a:gd name="T30" fmla="*/ 9 w 13"/>
                  <a:gd name="T31" fmla="*/ 7 h 11"/>
                  <a:gd name="T32" fmla="*/ 8 w 13"/>
                  <a:gd name="T33" fmla="*/ 7 h 11"/>
                  <a:gd name="T34" fmla="*/ 8 w 13"/>
                  <a:gd name="T35" fmla="*/ 7 h 11"/>
                  <a:gd name="T36" fmla="*/ 8 w 13"/>
                  <a:gd name="T37" fmla="*/ 7 h 11"/>
                  <a:gd name="T38" fmla="*/ 8 w 13"/>
                  <a:gd name="T39" fmla="*/ 6 h 11"/>
                  <a:gd name="T40" fmla="*/ 5 w 13"/>
                  <a:gd name="T41"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1">
                    <a:moveTo>
                      <a:pt x="5" y="0"/>
                    </a:moveTo>
                    <a:cubicBezTo>
                      <a:pt x="5" y="0"/>
                      <a:pt x="4" y="2"/>
                      <a:pt x="4" y="2"/>
                    </a:cubicBezTo>
                    <a:cubicBezTo>
                      <a:pt x="4" y="2"/>
                      <a:pt x="4" y="2"/>
                      <a:pt x="4" y="2"/>
                    </a:cubicBezTo>
                    <a:cubicBezTo>
                      <a:pt x="3" y="2"/>
                      <a:pt x="3" y="1"/>
                      <a:pt x="3" y="1"/>
                    </a:cubicBezTo>
                    <a:cubicBezTo>
                      <a:pt x="3" y="0"/>
                      <a:pt x="3" y="0"/>
                      <a:pt x="2" y="0"/>
                    </a:cubicBezTo>
                    <a:cubicBezTo>
                      <a:pt x="2" y="0"/>
                      <a:pt x="2" y="0"/>
                      <a:pt x="2" y="0"/>
                    </a:cubicBezTo>
                    <a:cubicBezTo>
                      <a:pt x="0" y="0"/>
                      <a:pt x="1" y="4"/>
                      <a:pt x="2" y="5"/>
                    </a:cubicBezTo>
                    <a:cubicBezTo>
                      <a:pt x="3" y="5"/>
                      <a:pt x="4" y="6"/>
                      <a:pt x="4" y="6"/>
                    </a:cubicBezTo>
                    <a:cubicBezTo>
                      <a:pt x="4" y="7"/>
                      <a:pt x="4" y="7"/>
                      <a:pt x="4" y="7"/>
                    </a:cubicBezTo>
                    <a:cubicBezTo>
                      <a:pt x="4" y="8"/>
                      <a:pt x="4" y="9"/>
                      <a:pt x="4" y="9"/>
                    </a:cubicBezTo>
                    <a:cubicBezTo>
                      <a:pt x="5" y="9"/>
                      <a:pt x="5" y="9"/>
                      <a:pt x="5" y="9"/>
                    </a:cubicBezTo>
                    <a:cubicBezTo>
                      <a:pt x="6" y="9"/>
                      <a:pt x="7" y="9"/>
                      <a:pt x="7" y="9"/>
                    </a:cubicBezTo>
                    <a:cubicBezTo>
                      <a:pt x="8" y="9"/>
                      <a:pt x="7" y="10"/>
                      <a:pt x="9" y="11"/>
                    </a:cubicBezTo>
                    <a:cubicBezTo>
                      <a:pt x="9" y="11"/>
                      <a:pt x="10" y="11"/>
                      <a:pt x="10" y="11"/>
                    </a:cubicBezTo>
                    <a:cubicBezTo>
                      <a:pt x="11" y="11"/>
                      <a:pt x="11" y="10"/>
                      <a:pt x="12" y="9"/>
                    </a:cubicBezTo>
                    <a:cubicBezTo>
                      <a:pt x="13" y="8"/>
                      <a:pt x="9" y="7"/>
                      <a:pt x="9" y="7"/>
                    </a:cubicBezTo>
                    <a:cubicBezTo>
                      <a:pt x="9" y="7"/>
                      <a:pt x="8" y="7"/>
                      <a:pt x="8" y="7"/>
                    </a:cubicBezTo>
                    <a:cubicBezTo>
                      <a:pt x="8" y="7"/>
                      <a:pt x="8" y="7"/>
                      <a:pt x="8" y="7"/>
                    </a:cubicBezTo>
                    <a:cubicBezTo>
                      <a:pt x="8" y="7"/>
                      <a:pt x="8" y="7"/>
                      <a:pt x="8" y="7"/>
                    </a:cubicBezTo>
                    <a:cubicBezTo>
                      <a:pt x="8" y="7"/>
                      <a:pt x="8" y="7"/>
                      <a:pt x="8" y="6"/>
                    </a:cubicBezTo>
                    <a:cubicBezTo>
                      <a:pt x="7" y="3"/>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Freeform 147"/>
              <p:cNvSpPr/>
              <p:nvPr/>
            </p:nvSpPr>
            <p:spPr bwMode="auto">
              <a:xfrm>
                <a:off x="6798" y="3058"/>
                <a:ext cx="419" cy="317"/>
              </a:xfrm>
              <a:custGeom>
                <a:gdLst>
                  <a:gd name="T0" fmla="*/ 2 w 177"/>
                  <a:gd name="T1" fmla="*/ 1 h 134"/>
                  <a:gd name="T2" fmla="*/ 5 w 177"/>
                  <a:gd name="T3" fmla="*/ 13 h 134"/>
                  <a:gd name="T4" fmla="*/ 36 w 177"/>
                  <a:gd name="T5" fmla="*/ 42 h 134"/>
                  <a:gd name="T6" fmla="*/ 46 w 177"/>
                  <a:gd name="T7" fmla="*/ 53 h 134"/>
                  <a:gd name="T8" fmla="*/ 49 w 177"/>
                  <a:gd name="T9" fmla="*/ 64 h 134"/>
                  <a:gd name="T10" fmla="*/ 60 w 177"/>
                  <a:gd name="T11" fmla="*/ 69 h 134"/>
                  <a:gd name="T12" fmla="*/ 67 w 177"/>
                  <a:gd name="T13" fmla="*/ 74 h 134"/>
                  <a:gd name="T14" fmla="*/ 71 w 177"/>
                  <a:gd name="T15" fmla="*/ 86 h 134"/>
                  <a:gd name="T16" fmla="*/ 81 w 177"/>
                  <a:gd name="T17" fmla="*/ 105 h 134"/>
                  <a:gd name="T18" fmla="*/ 99 w 177"/>
                  <a:gd name="T19" fmla="*/ 127 h 134"/>
                  <a:gd name="T20" fmla="*/ 177 w 177"/>
                  <a:gd name="T21" fmla="*/ 134 h 134"/>
                  <a:gd name="T22" fmla="*/ 174 w 177"/>
                  <a:gd name="T23" fmla="*/ 128 h 134"/>
                  <a:gd name="T24" fmla="*/ 172 w 177"/>
                  <a:gd name="T25" fmla="*/ 128 h 134"/>
                  <a:gd name="T26" fmla="*/ 167 w 177"/>
                  <a:gd name="T27" fmla="*/ 126 h 134"/>
                  <a:gd name="T28" fmla="*/ 156 w 177"/>
                  <a:gd name="T29" fmla="*/ 116 h 134"/>
                  <a:gd name="T30" fmla="*/ 160 w 177"/>
                  <a:gd name="T31" fmla="*/ 116 h 134"/>
                  <a:gd name="T32" fmla="*/ 158 w 177"/>
                  <a:gd name="T33" fmla="*/ 112 h 134"/>
                  <a:gd name="T34" fmla="*/ 154 w 177"/>
                  <a:gd name="T35" fmla="*/ 113 h 134"/>
                  <a:gd name="T36" fmla="*/ 160 w 177"/>
                  <a:gd name="T37" fmla="*/ 108 h 134"/>
                  <a:gd name="T38" fmla="*/ 165 w 177"/>
                  <a:gd name="T39" fmla="*/ 108 h 134"/>
                  <a:gd name="T40" fmla="*/ 161 w 177"/>
                  <a:gd name="T41" fmla="*/ 102 h 134"/>
                  <a:gd name="T42" fmla="*/ 156 w 177"/>
                  <a:gd name="T43" fmla="*/ 98 h 134"/>
                  <a:gd name="T44" fmla="*/ 141 w 177"/>
                  <a:gd name="T45" fmla="*/ 104 h 134"/>
                  <a:gd name="T46" fmla="*/ 141 w 177"/>
                  <a:gd name="T47" fmla="*/ 104 h 134"/>
                  <a:gd name="T48" fmla="*/ 147 w 177"/>
                  <a:gd name="T49" fmla="*/ 101 h 134"/>
                  <a:gd name="T50" fmla="*/ 148 w 177"/>
                  <a:gd name="T51" fmla="*/ 95 h 134"/>
                  <a:gd name="T52" fmla="*/ 137 w 177"/>
                  <a:gd name="T53" fmla="*/ 91 h 134"/>
                  <a:gd name="T54" fmla="*/ 127 w 177"/>
                  <a:gd name="T55" fmla="*/ 78 h 134"/>
                  <a:gd name="T56" fmla="*/ 118 w 177"/>
                  <a:gd name="T57" fmla="*/ 73 h 134"/>
                  <a:gd name="T58" fmla="*/ 108 w 177"/>
                  <a:gd name="T59" fmla="*/ 65 h 134"/>
                  <a:gd name="T60" fmla="*/ 107 w 177"/>
                  <a:gd name="T61" fmla="*/ 67 h 134"/>
                  <a:gd name="T62" fmla="*/ 108 w 177"/>
                  <a:gd name="T63" fmla="*/ 70 h 134"/>
                  <a:gd name="T64" fmla="*/ 100 w 177"/>
                  <a:gd name="T65" fmla="*/ 64 h 134"/>
                  <a:gd name="T66" fmla="*/ 94 w 177"/>
                  <a:gd name="T67" fmla="*/ 60 h 134"/>
                  <a:gd name="T68" fmla="*/ 90 w 177"/>
                  <a:gd name="T69" fmla="*/ 52 h 134"/>
                  <a:gd name="T70" fmla="*/ 71 w 177"/>
                  <a:gd name="T71" fmla="*/ 38 h 134"/>
                  <a:gd name="T72" fmla="*/ 66 w 177"/>
                  <a:gd name="T73" fmla="*/ 45 h 134"/>
                  <a:gd name="T74" fmla="*/ 66 w 177"/>
                  <a:gd name="T75" fmla="*/ 34 h 134"/>
                  <a:gd name="T76" fmla="*/ 61 w 177"/>
                  <a:gd name="T77" fmla="*/ 30 h 134"/>
                  <a:gd name="T78" fmla="*/ 57 w 177"/>
                  <a:gd name="T79" fmla="*/ 29 h 134"/>
                  <a:gd name="T80" fmla="*/ 55 w 177"/>
                  <a:gd name="T81" fmla="*/ 21 h 134"/>
                  <a:gd name="T82" fmla="*/ 45 w 177"/>
                  <a:gd name="T83" fmla="*/ 8 h 134"/>
                  <a:gd name="T84" fmla="*/ 40 w 177"/>
                  <a:gd name="T85" fmla="*/ 9 h 134"/>
                  <a:gd name="T86" fmla="*/ 36 w 177"/>
                  <a:gd name="T87" fmla="*/ 8 h 134"/>
                  <a:gd name="T88" fmla="*/ 26 w 177"/>
                  <a:gd name="T89" fmla="*/ 8 h 134"/>
                  <a:gd name="T90" fmla="*/ 8 w 177"/>
                  <a:gd name="T91" fmla="*/ 0 h 1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7" h="134">
                    <a:moveTo>
                      <a:pt x="8" y="0"/>
                    </a:moveTo>
                    <a:cubicBezTo>
                      <a:pt x="5" y="0"/>
                      <a:pt x="4" y="0"/>
                      <a:pt x="2" y="1"/>
                    </a:cubicBezTo>
                    <a:cubicBezTo>
                      <a:pt x="0" y="2"/>
                      <a:pt x="0" y="2"/>
                      <a:pt x="1" y="4"/>
                    </a:cubicBezTo>
                    <a:cubicBezTo>
                      <a:pt x="2" y="8"/>
                      <a:pt x="3" y="10"/>
                      <a:pt x="5" y="13"/>
                    </a:cubicBezTo>
                    <a:cubicBezTo>
                      <a:pt x="12" y="22"/>
                      <a:pt x="19" y="32"/>
                      <a:pt x="29" y="37"/>
                    </a:cubicBezTo>
                    <a:cubicBezTo>
                      <a:pt x="31" y="39"/>
                      <a:pt x="34" y="40"/>
                      <a:pt x="36" y="42"/>
                    </a:cubicBezTo>
                    <a:cubicBezTo>
                      <a:pt x="38" y="44"/>
                      <a:pt x="40" y="47"/>
                      <a:pt x="43" y="50"/>
                    </a:cubicBezTo>
                    <a:cubicBezTo>
                      <a:pt x="43" y="51"/>
                      <a:pt x="45" y="52"/>
                      <a:pt x="46" y="53"/>
                    </a:cubicBezTo>
                    <a:cubicBezTo>
                      <a:pt x="47" y="54"/>
                      <a:pt x="47" y="56"/>
                      <a:pt x="47" y="57"/>
                    </a:cubicBezTo>
                    <a:cubicBezTo>
                      <a:pt x="47" y="59"/>
                      <a:pt x="47" y="62"/>
                      <a:pt x="49" y="64"/>
                    </a:cubicBezTo>
                    <a:cubicBezTo>
                      <a:pt x="50" y="65"/>
                      <a:pt x="51" y="65"/>
                      <a:pt x="52" y="65"/>
                    </a:cubicBezTo>
                    <a:cubicBezTo>
                      <a:pt x="55" y="66"/>
                      <a:pt x="57" y="67"/>
                      <a:pt x="60" y="69"/>
                    </a:cubicBezTo>
                    <a:cubicBezTo>
                      <a:pt x="63" y="70"/>
                      <a:pt x="65" y="72"/>
                      <a:pt x="68" y="75"/>
                    </a:cubicBezTo>
                    <a:cubicBezTo>
                      <a:pt x="67" y="74"/>
                      <a:pt x="67" y="74"/>
                      <a:pt x="67" y="74"/>
                    </a:cubicBezTo>
                    <a:cubicBezTo>
                      <a:pt x="69" y="74"/>
                      <a:pt x="68" y="76"/>
                      <a:pt x="68" y="77"/>
                    </a:cubicBezTo>
                    <a:cubicBezTo>
                      <a:pt x="69" y="80"/>
                      <a:pt x="70" y="83"/>
                      <a:pt x="71" y="86"/>
                    </a:cubicBezTo>
                    <a:cubicBezTo>
                      <a:pt x="72" y="91"/>
                      <a:pt x="73" y="95"/>
                      <a:pt x="75" y="100"/>
                    </a:cubicBezTo>
                    <a:cubicBezTo>
                      <a:pt x="76" y="104"/>
                      <a:pt x="77" y="103"/>
                      <a:pt x="81" y="105"/>
                    </a:cubicBezTo>
                    <a:cubicBezTo>
                      <a:pt x="84" y="106"/>
                      <a:pt x="85" y="106"/>
                      <a:pt x="86" y="109"/>
                    </a:cubicBezTo>
                    <a:cubicBezTo>
                      <a:pt x="89" y="115"/>
                      <a:pt x="98" y="120"/>
                      <a:pt x="99" y="127"/>
                    </a:cubicBezTo>
                    <a:cubicBezTo>
                      <a:pt x="99" y="129"/>
                      <a:pt x="100" y="131"/>
                      <a:pt x="101" y="134"/>
                    </a:cubicBezTo>
                    <a:cubicBezTo>
                      <a:pt x="177" y="134"/>
                      <a:pt x="177" y="134"/>
                      <a:pt x="177" y="134"/>
                    </a:cubicBezTo>
                    <a:cubicBezTo>
                      <a:pt x="176" y="132"/>
                      <a:pt x="176" y="131"/>
                      <a:pt x="176" y="130"/>
                    </a:cubicBezTo>
                    <a:cubicBezTo>
                      <a:pt x="175" y="128"/>
                      <a:pt x="175" y="128"/>
                      <a:pt x="174" y="128"/>
                    </a:cubicBezTo>
                    <a:cubicBezTo>
                      <a:pt x="174" y="128"/>
                      <a:pt x="173" y="128"/>
                      <a:pt x="173" y="128"/>
                    </a:cubicBezTo>
                    <a:cubicBezTo>
                      <a:pt x="173" y="128"/>
                      <a:pt x="172" y="128"/>
                      <a:pt x="172" y="128"/>
                    </a:cubicBezTo>
                    <a:cubicBezTo>
                      <a:pt x="172" y="128"/>
                      <a:pt x="171" y="128"/>
                      <a:pt x="171" y="128"/>
                    </a:cubicBezTo>
                    <a:cubicBezTo>
                      <a:pt x="170" y="128"/>
                      <a:pt x="168" y="127"/>
                      <a:pt x="167" y="126"/>
                    </a:cubicBezTo>
                    <a:cubicBezTo>
                      <a:pt x="165" y="126"/>
                      <a:pt x="164" y="126"/>
                      <a:pt x="162" y="126"/>
                    </a:cubicBezTo>
                    <a:cubicBezTo>
                      <a:pt x="158" y="124"/>
                      <a:pt x="157" y="121"/>
                      <a:pt x="156" y="116"/>
                    </a:cubicBezTo>
                    <a:cubicBezTo>
                      <a:pt x="156" y="117"/>
                      <a:pt x="157" y="118"/>
                      <a:pt x="157" y="118"/>
                    </a:cubicBezTo>
                    <a:cubicBezTo>
                      <a:pt x="158" y="118"/>
                      <a:pt x="160" y="116"/>
                      <a:pt x="160" y="116"/>
                    </a:cubicBezTo>
                    <a:cubicBezTo>
                      <a:pt x="159" y="115"/>
                      <a:pt x="157" y="115"/>
                      <a:pt x="156" y="115"/>
                    </a:cubicBezTo>
                    <a:cubicBezTo>
                      <a:pt x="157" y="114"/>
                      <a:pt x="158" y="113"/>
                      <a:pt x="158" y="112"/>
                    </a:cubicBezTo>
                    <a:cubicBezTo>
                      <a:pt x="157" y="112"/>
                      <a:pt x="156" y="113"/>
                      <a:pt x="155" y="113"/>
                    </a:cubicBezTo>
                    <a:cubicBezTo>
                      <a:pt x="155" y="113"/>
                      <a:pt x="155" y="113"/>
                      <a:pt x="154" y="113"/>
                    </a:cubicBezTo>
                    <a:cubicBezTo>
                      <a:pt x="157" y="112"/>
                      <a:pt x="157" y="112"/>
                      <a:pt x="159" y="110"/>
                    </a:cubicBezTo>
                    <a:cubicBezTo>
                      <a:pt x="159" y="109"/>
                      <a:pt x="160" y="108"/>
                      <a:pt x="160" y="108"/>
                    </a:cubicBezTo>
                    <a:cubicBezTo>
                      <a:pt x="161" y="109"/>
                      <a:pt x="161" y="109"/>
                      <a:pt x="161" y="109"/>
                    </a:cubicBezTo>
                    <a:cubicBezTo>
                      <a:pt x="162" y="108"/>
                      <a:pt x="163" y="108"/>
                      <a:pt x="165" y="108"/>
                    </a:cubicBezTo>
                    <a:cubicBezTo>
                      <a:pt x="164" y="106"/>
                      <a:pt x="163" y="101"/>
                      <a:pt x="162" y="101"/>
                    </a:cubicBezTo>
                    <a:cubicBezTo>
                      <a:pt x="161" y="101"/>
                      <a:pt x="161" y="101"/>
                      <a:pt x="161" y="102"/>
                    </a:cubicBezTo>
                    <a:cubicBezTo>
                      <a:pt x="160" y="100"/>
                      <a:pt x="159" y="98"/>
                      <a:pt x="157" y="98"/>
                    </a:cubicBezTo>
                    <a:cubicBezTo>
                      <a:pt x="157" y="98"/>
                      <a:pt x="156" y="98"/>
                      <a:pt x="156" y="98"/>
                    </a:cubicBezTo>
                    <a:cubicBezTo>
                      <a:pt x="153" y="98"/>
                      <a:pt x="151" y="99"/>
                      <a:pt x="148" y="101"/>
                    </a:cubicBezTo>
                    <a:cubicBezTo>
                      <a:pt x="146" y="103"/>
                      <a:pt x="144" y="104"/>
                      <a:pt x="141" y="104"/>
                    </a:cubicBezTo>
                    <a:cubicBezTo>
                      <a:pt x="140" y="104"/>
                      <a:pt x="139" y="104"/>
                      <a:pt x="138" y="103"/>
                    </a:cubicBezTo>
                    <a:cubicBezTo>
                      <a:pt x="140" y="103"/>
                      <a:pt x="140" y="104"/>
                      <a:pt x="141" y="104"/>
                    </a:cubicBezTo>
                    <a:cubicBezTo>
                      <a:pt x="142" y="104"/>
                      <a:pt x="142" y="103"/>
                      <a:pt x="144" y="103"/>
                    </a:cubicBezTo>
                    <a:cubicBezTo>
                      <a:pt x="145" y="102"/>
                      <a:pt x="146" y="102"/>
                      <a:pt x="147" y="101"/>
                    </a:cubicBezTo>
                    <a:cubicBezTo>
                      <a:pt x="148" y="101"/>
                      <a:pt x="150" y="100"/>
                      <a:pt x="151" y="99"/>
                    </a:cubicBezTo>
                    <a:cubicBezTo>
                      <a:pt x="151" y="98"/>
                      <a:pt x="149" y="95"/>
                      <a:pt x="148" y="95"/>
                    </a:cubicBezTo>
                    <a:cubicBezTo>
                      <a:pt x="145" y="94"/>
                      <a:pt x="143" y="94"/>
                      <a:pt x="140" y="93"/>
                    </a:cubicBezTo>
                    <a:cubicBezTo>
                      <a:pt x="139" y="93"/>
                      <a:pt x="138" y="92"/>
                      <a:pt x="137" y="91"/>
                    </a:cubicBezTo>
                    <a:cubicBezTo>
                      <a:pt x="135" y="89"/>
                      <a:pt x="134" y="88"/>
                      <a:pt x="133" y="85"/>
                    </a:cubicBezTo>
                    <a:cubicBezTo>
                      <a:pt x="132" y="82"/>
                      <a:pt x="129" y="80"/>
                      <a:pt x="127" y="78"/>
                    </a:cubicBezTo>
                    <a:cubicBezTo>
                      <a:pt x="126" y="76"/>
                      <a:pt x="122" y="76"/>
                      <a:pt x="120" y="75"/>
                    </a:cubicBezTo>
                    <a:cubicBezTo>
                      <a:pt x="118" y="75"/>
                      <a:pt x="119" y="74"/>
                      <a:pt x="118" y="73"/>
                    </a:cubicBezTo>
                    <a:cubicBezTo>
                      <a:pt x="117" y="72"/>
                      <a:pt x="116" y="70"/>
                      <a:pt x="115" y="69"/>
                    </a:cubicBezTo>
                    <a:cubicBezTo>
                      <a:pt x="113" y="66"/>
                      <a:pt x="112" y="66"/>
                      <a:pt x="108" y="65"/>
                    </a:cubicBezTo>
                    <a:cubicBezTo>
                      <a:pt x="108" y="65"/>
                      <a:pt x="108" y="65"/>
                      <a:pt x="108" y="65"/>
                    </a:cubicBezTo>
                    <a:cubicBezTo>
                      <a:pt x="107" y="65"/>
                      <a:pt x="107" y="66"/>
                      <a:pt x="107" y="67"/>
                    </a:cubicBezTo>
                    <a:cubicBezTo>
                      <a:pt x="108" y="70"/>
                      <a:pt x="110" y="70"/>
                      <a:pt x="110" y="73"/>
                    </a:cubicBezTo>
                    <a:cubicBezTo>
                      <a:pt x="109" y="72"/>
                      <a:pt x="109" y="71"/>
                      <a:pt x="108" y="70"/>
                    </a:cubicBezTo>
                    <a:cubicBezTo>
                      <a:pt x="107" y="68"/>
                      <a:pt x="104" y="68"/>
                      <a:pt x="102" y="66"/>
                    </a:cubicBezTo>
                    <a:cubicBezTo>
                      <a:pt x="101" y="66"/>
                      <a:pt x="100" y="65"/>
                      <a:pt x="100" y="64"/>
                    </a:cubicBezTo>
                    <a:cubicBezTo>
                      <a:pt x="98" y="61"/>
                      <a:pt x="99" y="58"/>
                      <a:pt x="94" y="58"/>
                    </a:cubicBezTo>
                    <a:cubicBezTo>
                      <a:pt x="94" y="59"/>
                      <a:pt x="94" y="59"/>
                      <a:pt x="94" y="60"/>
                    </a:cubicBezTo>
                    <a:cubicBezTo>
                      <a:pt x="93" y="59"/>
                      <a:pt x="92" y="58"/>
                      <a:pt x="92" y="57"/>
                    </a:cubicBezTo>
                    <a:cubicBezTo>
                      <a:pt x="91" y="54"/>
                      <a:pt x="92" y="54"/>
                      <a:pt x="90" y="52"/>
                    </a:cubicBezTo>
                    <a:cubicBezTo>
                      <a:pt x="85" y="48"/>
                      <a:pt x="81" y="43"/>
                      <a:pt x="76" y="40"/>
                    </a:cubicBezTo>
                    <a:cubicBezTo>
                      <a:pt x="75" y="40"/>
                      <a:pt x="73" y="39"/>
                      <a:pt x="71" y="38"/>
                    </a:cubicBezTo>
                    <a:cubicBezTo>
                      <a:pt x="72" y="39"/>
                      <a:pt x="72" y="39"/>
                      <a:pt x="72" y="39"/>
                    </a:cubicBezTo>
                    <a:cubicBezTo>
                      <a:pt x="72" y="42"/>
                      <a:pt x="69" y="45"/>
                      <a:pt x="66" y="45"/>
                    </a:cubicBezTo>
                    <a:cubicBezTo>
                      <a:pt x="64" y="45"/>
                      <a:pt x="61" y="42"/>
                      <a:pt x="61" y="39"/>
                    </a:cubicBezTo>
                    <a:cubicBezTo>
                      <a:pt x="61" y="37"/>
                      <a:pt x="64" y="34"/>
                      <a:pt x="66" y="34"/>
                    </a:cubicBezTo>
                    <a:cubicBezTo>
                      <a:pt x="67" y="34"/>
                      <a:pt x="67" y="34"/>
                      <a:pt x="67" y="34"/>
                    </a:cubicBezTo>
                    <a:cubicBezTo>
                      <a:pt x="66" y="32"/>
                      <a:pt x="64" y="32"/>
                      <a:pt x="61" y="30"/>
                    </a:cubicBezTo>
                    <a:cubicBezTo>
                      <a:pt x="61" y="30"/>
                      <a:pt x="59" y="29"/>
                      <a:pt x="58" y="29"/>
                    </a:cubicBezTo>
                    <a:cubicBezTo>
                      <a:pt x="58" y="29"/>
                      <a:pt x="57" y="29"/>
                      <a:pt x="57" y="29"/>
                    </a:cubicBezTo>
                    <a:cubicBezTo>
                      <a:pt x="58" y="28"/>
                      <a:pt x="59" y="27"/>
                      <a:pt x="58" y="25"/>
                    </a:cubicBezTo>
                    <a:cubicBezTo>
                      <a:pt x="58" y="24"/>
                      <a:pt x="56" y="22"/>
                      <a:pt x="55" y="21"/>
                    </a:cubicBezTo>
                    <a:cubicBezTo>
                      <a:pt x="53" y="21"/>
                      <a:pt x="54" y="18"/>
                      <a:pt x="53" y="16"/>
                    </a:cubicBezTo>
                    <a:cubicBezTo>
                      <a:pt x="52" y="13"/>
                      <a:pt x="48" y="11"/>
                      <a:pt x="45" y="8"/>
                    </a:cubicBezTo>
                    <a:cubicBezTo>
                      <a:pt x="45" y="8"/>
                      <a:pt x="44" y="8"/>
                      <a:pt x="44" y="8"/>
                    </a:cubicBezTo>
                    <a:cubicBezTo>
                      <a:pt x="43" y="8"/>
                      <a:pt x="41" y="8"/>
                      <a:pt x="40" y="9"/>
                    </a:cubicBezTo>
                    <a:cubicBezTo>
                      <a:pt x="39" y="9"/>
                      <a:pt x="39" y="9"/>
                      <a:pt x="38" y="9"/>
                    </a:cubicBezTo>
                    <a:cubicBezTo>
                      <a:pt x="38" y="9"/>
                      <a:pt x="37" y="9"/>
                      <a:pt x="36" y="8"/>
                    </a:cubicBezTo>
                    <a:cubicBezTo>
                      <a:pt x="35" y="7"/>
                      <a:pt x="33" y="7"/>
                      <a:pt x="32" y="7"/>
                    </a:cubicBezTo>
                    <a:cubicBezTo>
                      <a:pt x="30" y="7"/>
                      <a:pt x="28" y="8"/>
                      <a:pt x="26" y="8"/>
                    </a:cubicBezTo>
                    <a:cubicBezTo>
                      <a:pt x="25" y="8"/>
                      <a:pt x="25" y="8"/>
                      <a:pt x="25" y="8"/>
                    </a:cubicBezTo>
                    <a:cubicBezTo>
                      <a:pt x="19" y="8"/>
                      <a:pt x="14"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1" name="Freeform 148"/>
              <p:cNvSpPr/>
              <p:nvPr/>
            </p:nvSpPr>
            <p:spPr bwMode="auto">
              <a:xfrm>
                <a:off x="8609" y="3342"/>
                <a:ext cx="21" cy="10"/>
              </a:xfrm>
              <a:custGeom>
                <a:gdLst>
                  <a:gd name="T0" fmla="*/ 0 w 9"/>
                  <a:gd name="T1" fmla="*/ 0 h 4"/>
                  <a:gd name="T2" fmla="*/ 6 w 9"/>
                  <a:gd name="T3" fmla="*/ 4 h 4"/>
                  <a:gd name="T4" fmla="*/ 0 w 9"/>
                  <a:gd name="T5" fmla="*/ 0 h 4"/>
                </a:gdLst>
                <a:cxnLst>
                  <a:cxn ang="0">
                    <a:pos x="T0" y="T1"/>
                  </a:cxn>
                  <a:cxn ang="0">
                    <a:pos x="T2" y="T3"/>
                  </a:cxn>
                  <a:cxn ang="0">
                    <a:pos x="T4" y="T5"/>
                  </a:cxn>
                </a:cxnLst>
                <a:rect l="0" t="0" r="r" b="b"/>
                <a:pathLst>
                  <a:path w="9" h="4">
                    <a:moveTo>
                      <a:pt x="0" y="0"/>
                    </a:moveTo>
                    <a:cubicBezTo>
                      <a:pt x="2" y="1"/>
                      <a:pt x="4" y="2"/>
                      <a:pt x="6" y="4"/>
                    </a:cubicBezTo>
                    <a:cubicBezTo>
                      <a:pt x="9"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Freeform 149"/>
              <p:cNvSpPr/>
              <p:nvPr/>
            </p:nvSpPr>
            <p:spPr bwMode="auto">
              <a:xfrm>
                <a:off x="8247" y="3215"/>
                <a:ext cx="69" cy="139"/>
              </a:xfrm>
              <a:custGeom>
                <a:gdLst>
                  <a:gd name="T0" fmla="*/ 13 w 29"/>
                  <a:gd name="T1" fmla="*/ 0 h 59"/>
                  <a:gd name="T2" fmla="*/ 7 w 29"/>
                  <a:gd name="T3" fmla="*/ 5 h 59"/>
                  <a:gd name="T4" fmla="*/ 4 w 29"/>
                  <a:gd name="T5" fmla="*/ 9 h 59"/>
                  <a:gd name="T6" fmla="*/ 2 w 29"/>
                  <a:gd name="T7" fmla="*/ 17 h 59"/>
                  <a:gd name="T8" fmla="*/ 2 w 29"/>
                  <a:gd name="T9" fmla="*/ 22 h 59"/>
                  <a:gd name="T10" fmla="*/ 5 w 29"/>
                  <a:gd name="T11" fmla="*/ 25 h 59"/>
                  <a:gd name="T12" fmla="*/ 4 w 29"/>
                  <a:gd name="T13" fmla="*/ 29 h 59"/>
                  <a:gd name="T14" fmla="*/ 7 w 29"/>
                  <a:gd name="T15" fmla="*/ 37 h 59"/>
                  <a:gd name="T16" fmla="*/ 6 w 29"/>
                  <a:gd name="T17" fmla="*/ 46 h 59"/>
                  <a:gd name="T18" fmla="*/ 12 w 29"/>
                  <a:gd name="T19" fmla="*/ 53 h 59"/>
                  <a:gd name="T20" fmla="*/ 21 w 29"/>
                  <a:gd name="T21" fmla="*/ 59 h 59"/>
                  <a:gd name="T22" fmla="*/ 11 w 29"/>
                  <a:gd name="T23" fmla="*/ 43 h 59"/>
                  <a:gd name="T24" fmla="*/ 11 w 29"/>
                  <a:gd name="T25" fmla="*/ 37 h 59"/>
                  <a:gd name="T26" fmla="*/ 12 w 29"/>
                  <a:gd name="T27" fmla="*/ 33 h 59"/>
                  <a:gd name="T28" fmla="*/ 12 w 29"/>
                  <a:gd name="T29" fmla="*/ 33 h 59"/>
                  <a:gd name="T30" fmla="*/ 24 w 29"/>
                  <a:gd name="T31" fmla="*/ 36 h 59"/>
                  <a:gd name="T32" fmla="*/ 29 w 29"/>
                  <a:gd name="T33" fmla="*/ 38 h 59"/>
                  <a:gd name="T34" fmla="*/ 21 w 29"/>
                  <a:gd name="T35" fmla="*/ 30 h 59"/>
                  <a:gd name="T36" fmla="*/ 19 w 29"/>
                  <a:gd name="T37" fmla="*/ 29 h 59"/>
                  <a:gd name="T38" fmla="*/ 24 w 29"/>
                  <a:gd name="T39" fmla="*/ 22 h 59"/>
                  <a:gd name="T40" fmla="*/ 26 w 29"/>
                  <a:gd name="T41" fmla="*/ 18 h 59"/>
                  <a:gd name="T42" fmla="*/ 27 w 29"/>
                  <a:gd name="T43" fmla="*/ 16 h 59"/>
                  <a:gd name="T44" fmla="*/ 26 w 29"/>
                  <a:gd name="T45" fmla="*/ 12 h 59"/>
                  <a:gd name="T46" fmla="*/ 24 w 29"/>
                  <a:gd name="T47" fmla="*/ 12 h 59"/>
                  <a:gd name="T48" fmla="*/ 20 w 29"/>
                  <a:gd name="T49" fmla="*/ 13 h 59"/>
                  <a:gd name="T50" fmla="*/ 16 w 29"/>
                  <a:gd name="T51" fmla="*/ 16 h 59"/>
                  <a:gd name="T52" fmla="*/ 14 w 29"/>
                  <a:gd name="T53" fmla="*/ 17 h 59"/>
                  <a:gd name="T54" fmla="*/ 15 w 29"/>
                  <a:gd name="T55" fmla="*/ 20 h 59"/>
                  <a:gd name="T56" fmla="*/ 11 w 29"/>
                  <a:gd name="T57" fmla="*/ 22 h 59"/>
                  <a:gd name="T58" fmla="*/ 10 w 29"/>
                  <a:gd name="T59" fmla="*/ 26 h 59"/>
                  <a:gd name="T60" fmla="*/ 9 w 29"/>
                  <a:gd name="T61" fmla="*/ 26 h 59"/>
                  <a:gd name="T62" fmla="*/ 6 w 29"/>
                  <a:gd name="T63" fmla="*/ 24 h 59"/>
                  <a:gd name="T64" fmla="*/ 9 w 29"/>
                  <a:gd name="T65" fmla="*/ 20 h 59"/>
                  <a:gd name="T66" fmla="*/ 9 w 29"/>
                  <a:gd name="T67" fmla="*/ 20 h 59"/>
                  <a:gd name="T68" fmla="*/ 10 w 29"/>
                  <a:gd name="T69" fmla="*/ 20 h 59"/>
                  <a:gd name="T70" fmla="*/ 10 w 29"/>
                  <a:gd name="T71" fmla="*/ 20 h 59"/>
                  <a:gd name="T72" fmla="*/ 10 w 29"/>
                  <a:gd name="T73" fmla="*/ 20 h 59"/>
                  <a:gd name="T74" fmla="*/ 11 w 29"/>
                  <a:gd name="T75" fmla="*/ 19 h 59"/>
                  <a:gd name="T76" fmla="*/ 12 w 29"/>
                  <a:gd name="T77" fmla="*/ 17 h 59"/>
                  <a:gd name="T78" fmla="*/ 11 w 29"/>
                  <a:gd name="T79" fmla="*/ 8 h 59"/>
                  <a:gd name="T80" fmla="*/ 11 w 29"/>
                  <a:gd name="T81" fmla="*/ 4 h 59"/>
                  <a:gd name="T82" fmla="*/ 13 w 29"/>
                  <a:gd name="T83" fmla="*/ 0 h 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59">
                    <a:moveTo>
                      <a:pt x="13" y="0"/>
                    </a:moveTo>
                    <a:cubicBezTo>
                      <a:pt x="11" y="1"/>
                      <a:pt x="9" y="3"/>
                      <a:pt x="7" y="5"/>
                    </a:cubicBezTo>
                    <a:cubicBezTo>
                      <a:pt x="6" y="6"/>
                      <a:pt x="5" y="8"/>
                      <a:pt x="4" y="9"/>
                    </a:cubicBezTo>
                    <a:cubicBezTo>
                      <a:pt x="3" y="12"/>
                      <a:pt x="3" y="15"/>
                      <a:pt x="2" y="17"/>
                    </a:cubicBezTo>
                    <a:cubicBezTo>
                      <a:pt x="1" y="19"/>
                      <a:pt x="0" y="20"/>
                      <a:pt x="2" y="22"/>
                    </a:cubicBezTo>
                    <a:cubicBezTo>
                      <a:pt x="2" y="23"/>
                      <a:pt x="4" y="25"/>
                      <a:pt x="5" y="25"/>
                    </a:cubicBezTo>
                    <a:cubicBezTo>
                      <a:pt x="5" y="26"/>
                      <a:pt x="4" y="28"/>
                      <a:pt x="4" y="29"/>
                    </a:cubicBezTo>
                    <a:cubicBezTo>
                      <a:pt x="3" y="32"/>
                      <a:pt x="7" y="34"/>
                      <a:pt x="7" y="37"/>
                    </a:cubicBezTo>
                    <a:cubicBezTo>
                      <a:pt x="7" y="39"/>
                      <a:pt x="5" y="43"/>
                      <a:pt x="6" y="46"/>
                    </a:cubicBezTo>
                    <a:cubicBezTo>
                      <a:pt x="7" y="48"/>
                      <a:pt x="10" y="51"/>
                      <a:pt x="12" y="53"/>
                    </a:cubicBezTo>
                    <a:cubicBezTo>
                      <a:pt x="14" y="56"/>
                      <a:pt x="17" y="57"/>
                      <a:pt x="21" y="59"/>
                    </a:cubicBezTo>
                    <a:cubicBezTo>
                      <a:pt x="17" y="54"/>
                      <a:pt x="14" y="48"/>
                      <a:pt x="11" y="43"/>
                    </a:cubicBezTo>
                    <a:cubicBezTo>
                      <a:pt x="10" y="41"/>
                      <a:pt x="11" y="39"/>
                      <a:pt x="11" y="37"/>
                    </a:cubicBezTo>
                    <a:cubicBezTo>
                      <a:pt x="11" y="36"/>
                      <a:pt x="9" y="33"/>
                      <a:pt x="12" y="33"/>
                    </a:cubicBezTo>
                    <a:cubicBezTo>
                      <a:pt x="12" y="33"/>
                      <a:pt x="12" y="33"/>
                      <a:pt x="12" y="33"/>
                    </a:cubicBezTo>
                    <a:cubicBezTo>
                      <a:pt x="17" y="34"/>
                      <a:pt x="20" y="35"/>
                      <a:pt x="24" y="36"/>
                    </a:cubicBezTo>
                    <a:cubicBezTo>
                      <a:pt x="26" y="36"/>
                      <a:pt x="28" y="37"/>
                      <a:pt x="29" y="38"/>
                    </a:cubicBezTo>
                    <a:cubicBezTo>
                      <a:pt x="27" y="35"/>
                      <a:pt x="25" y="32"/>
                      <a:pt x="21" y="30"/>
                    </a:cubicBezTo>
                    <a:cubicBezTo>
                      <a:pt x="21" y="30"/>
                      <a:pt x="20" y="30"/>
                      <a:pt x="19" y="29"/>
                    </a:cubicBezTo>
                    <a:cubicBezTo>
                      <a:pt x="14" y="26"/>
                      <a:pt x="21" y="24"/>
                      <a:pt x="24" y="22"/>
                    </a:cubicBezTo>
                    <a:cubicBezTo>
                      <a:pt x="26" y="21"/>
                      <a:pt x="25" y="21"/>
                      <a:pt x="26" y="18"/>
                    </a:cubicBezTo>
                    <a:cubicBezTo>
                      <a:pt x="26" y="17"/>
                      <a:pt x="27" y="17"/>
                      <a:pt x="27" y="16"/>
                    </a:cubicBezTo>
                    <a:cubicBezTo>
                      <a:pt x="27" y="14"/>
                      <a:pt x="25" y="13"/>
                      <a:pt x="26" y="12"/>
                    </a:cubicBezTo>
                    <a:cubicBezTo>
                      <a:pt x="26" y="12"/>
                      <a:pt x="25" y="12"/>
                      <a:pt x="24" y="12"/>
                    </a:cubicBezTo>
                    <a:cubicBezTo>
                      <a:pt x="23" y="12"/>
                      <a:pt x="21" y="12"/>
                      <a:pt x="20" y="13"/>
                    </a:cubicBezTo>
                    <a:cubicBezTo>
                      <a:pt x="19" y="13"/>
                      <a:pt x="17" y="15"/>
                      <a:pt x="16" y="16"/>
                    </a:cubicBezTo>
                    <a:cubicBezTo>
                      <a:pt x="14" y="17"/>
                      <a:pt x="14" y="17"/>
                      <a:pt x="14" y="17"/>
                    </a:cubicBezTo>
                    <a:cubicBezTo>
                      <a:pt x="14" y="19"/>
                      <a:pt x="17" y="19"/>
                      <a:pt x="15" y="20"/>
                    </a:cubicBezTo>
                    <a:cubicBezTo>
                      <a:pt x="15" y="21"/>
                      <a:pt x="13" y="20"/>
                      <a:pt x="11" y="22"/>
                    </a:cubicBezTo>
                    <a:cubicBezTo>
                      <a:pt x="11" y="23"/>
                      <a:pt x="11" y="25"/>
                      <a:pt x="10" y="26"/>
                    </a:cubicBezTo>
                    <a:cubicBezTo>
                      <a:pt x="9" y="26"/>
                      <a:pt x="9" y="26"/>
                      <a:pt x="9" y="26"/>
                    </a:cubicBezTo>
                    <a:cubicBezTo>
                      <a:pt x="7" y="26"/>
                      <a:pt x="6" y="25"/>
                      <a:pt x="6" y="24"/>
                    </a:cubicBezTo>
                    <a:cubicBezTo>
                      <a:pt x="6" y="23"/>
                      <a:pt x="8" y="21"/>
                      <a:pt x="9" y="20"/>
                    </a:cubicBezTo>
                    <a:cubicBezTo>
                      <a:pt x="9" y="20"/>
                      <a:pt x="9" y="20"/>
                      <a:pt x="9" y="20"/>
                    </a:cubicBezTo>
                    <a:cubicBezTo>
                      <a:pt x="9" y="20"/>
                      <a:pt x="9" y="20"/>
                      <a:pt x="10" y="20"/>
                    </a:cubicBezTo>
                    <a:cubicBezTo>
                      <a:pt x="10" y="20"/>
                      <a:pt x="10" y="20"/>
                      <a:pt x="10" y="20"/>
                    </a:cubicBezTo>
                    <a:cubicBezTo>
                      <a:pt x="10" y="20"/>
                      <a:pt x="10" y="20"/>
                      <a:pt x="10" y="20"/>
                    </a:cubicBezTo>
                    <a:cubicBezTo>
                      <a:pt x="11" y="19"/>
                      <a:pt x="11" y="19"/>
                      <a:pt x="11" y="19"/>
                    </a:cubicBezTo>
                    <a:cubicBezTo>
                      <a:pt x="11" y="18"/>
                      <a:pt x="12" y="18"/>
                      <a:pt x="12" y="17"/>
                    </a:cubicBezTo>
                    <a:cubicBezTo>
                      <a:pt x="14" y="14"/>
                      <a:pt x="12" y="11"/>
                      <a:pt x="11" y="8"/>
                    </a:cubicBezTo>
                    <a:cubicBezTo>
                      <a:pt x="10" y="5"/>
                      <a:pt x="10" y="6"/>
                      <a:pt x="11" y="4"/>
                    </a:cubicBezTo>
                    <a:cubicBezTo>
                      <a:pt x="12" y="3"/>
                      <a:pt x="13"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3" name="Freeform 150"/>
              <p:cNvSpPr/>
              <p:nvPr/>
            </p:nvSpPr>
            <p:spPr bwMode="auto">
              <a:xfrm>
                <a:off x="6952" y="3354"/>
                <a:ext cx="24" cy="21"/>
              </a:xfrm>
              <a:custGeom>
                <a:gdLst>
                  <a:gd name="T0" fmla="*/ 5 w 10"/>
                  <a:gd name="T1" fmla="*/ 0 h 9"/>
                  <a:gd name="T2" fmla="*/ 1 w 10"/>
                  <a:gd name="T3" fmla="*/ 2 h 9"/>
                  <a:gd name="T4" fmla="*/ 2 w 10"/>
                  <a:gd name="T5" fmla="*/ 9 h 9"/>
                  <a:gd name="T6" fmla="*/ 10 w 10"/>
                  <a:gd name="T7" fmla="*/ 9 h 9"/>
                  <a:gd name="T8" fmla="*/ 7 w 10"/>
                  <a:gd name="T9" fmla="*/ 1 h 9"/>
                  <a:gd name="T10" fmla="*/ 5 w 10"/>
                  <a:gd name="T11" fmla="*/ 0 h 9"/>
                </a:gdLst>
                <a:cxnLst>
                  <a:cxn ang="0">
                    <a:pos x="T0" y="T1"/>
                  </a:cxn>
                  <a:cxn ang="0">
                    <a:pos x="T2" y="T3"/>
                  </a:cxn>
                  <a:cxn ang="0">
                    <a:pos x="T4" y="T5"/>
                  </a:cxn>
                  <a:cxn ang="0">
                    <a:pos x="T6" y="T7"/>
                  </a:cxn>
                  <a:cxn ang="0">
                    <a:pos x="T8" y="T9"/>
                  </a:cxn>
                  <a:cxn ang="0">
                    <a:pos x="T10" y="T11"/>
                  </a:cxn>
                </a:cxnLst>
                <a:rect l="0" t="0" r="r" b="b"/>
                <a:pathLst>
                  <a:path w="10" h="9">
                    <a:moveTo>
                      <a:pt x="5" y="0"/>
                    </a:moveTo>
                    <a:cubicBezTo>
                      <a:pt x="3" y="0"/>
                      <a:pt x="2" y="1"/>
                      <a:pt x="1" y="2"/>
                    </a:cubicBezTo>
                    <a:cubicBezTo>
                      <a:pt x="0" y="4"/>
                      <a:pt x="0" y="7"/>
                      <a:pt x="2" y="9"/>
                    </a:cubicBezTo>
                    <a:cubicBezTo>
                      <a:pt x="10" y="9"/>
                      <a:pt x="10" y="9"/>
                      <a:pt x="10" y="9"/>
                    </a:cubicBezTo>
                    <a:cubicBezTo>
                      <a:pt x="9" y="6"/>
                      <a:pt x="8" y="4"/>
                      <a:pt x="7" y="1"/>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Freeform 151"/>
              <p:cNvSpPr>
                <a:spLocks noEditPoints="1"/>
              </p:cNvSpPr>
              <p:nvPr/>
            </p:nvSpPr>
            <p:spPr bwMode="auto">
              <a:xfrm>
                <a:off x="7885" y="3236"/>
                <a:ext cx="268" cy="139"/>
              </a:xfrm>
              <a:custGeom>
                <a:gdLst>
                  <a:gd name="T0" fmla="*/ 68 w 113"/>
                  <a:gd name="T1" fmla="*/ 46 h 59"/>
                  <a:gd name="T2" fmla="*/ 64 w 113"/>
                  <a:gd name="T3" fmla="*/ 47 h 59"/>
                  <a:gd name="T4" fmla="*/ 56 w 113"/>
                  <a:gd name="T5" fmla="*/ 47 h 59"/>
                  <a:gd name="T6" fmla="*/ 48 w 113"/>
                  <a:gd name="T7" fmla="*/ 51 h 59"/>
                  <a:gd name="T8" fmla="*/ 44 w 113"/>
                  <a:gd name="T9" fmla="*/ 48 h 59"/>
                  <a:gd name="T10" fmla="*/ 40 w 113"/>
                  <a:gd name="T11" fmla="*/ 51 h 59"/>
                  <a:gd name="T12" fmla="*/ 35 w 113"/>
                  <a:gd name="T13" fmla="*/ 59 h 59"/>
                  <a:gd name="T14" fmla="*/ 63 w 113"/>
                  <a:gd name="T15" fmla="*/ 55 h 59"/>
                  <a:gd name="T16" fmla="*/ 70 w 113"/>
                  <a:gd name="T17" fmla="*/ 49 h 59"/>
                  <a:gd name="T18" fmla="*/ 77 w 113"/>
                  <a:gd name="T19" fmla="*/ 52 h 59"/>
                  <a:gd name="T20" fmla="*/ 73 w 113"/>
                  <a:gd name="T21" fmla="*/ 44 h 59"/>
                  <a:gd name="T22" fmla="*/ 109 w 113"/>
                  <a:gd name="T23" fmla="*/ 0 h 59"/>
                  <a:gd name="T24" fmla="*/ 100 w 113"/>
                  <a:gd name="T25" fmla="*/ 7 h 59"/>
                  <a:gd name="T26" fmla="*/ 92 w 113"/>
                  <a:gd name="T27" fmla="*/ 14 h 59"/>
                  <a:gd name="T28" fmla="*/ 78 w 113"/>
                  <a:gd name="T29" fmla="*/ 16 h 59"/>
                  <a:gd name="T30" fmla="*/ 69 w 113"/>
                  <a:gd name="T31" fmla="*/ 16 h 59"/>
                  <a:gd name="T32" fmla="*/ 55 w 113"/>
                  <a:gd name="T33" fmla="*/ 13 h 59"/>
                  <a:gd name="T34" fmla="*/ 47 w 113"/>
                  <a:gd name="T35" fmla="*/ 13 h 59"/>
                  <a:gd name="T36" fmla="*/ 45 w 113"/>
                  <a:gd name="T37" fmla="*/ 13 h 59"/>
                  <a:gd name="T38" fmla="*/ 40 w 113"/>
                  <a:gd name="T39" fmla="*/ 8 h 59"/>
                  <a:gd name="T40" fmla="*/ 36 w 113"/>
                  <a:gd name="T41" fmla="*/ 8 h 59"/>
                  <a:gd name="T42" fmla="*/ 28 w 113"/>
                  <a:gd name="T43" fmla="*/ 12 h 59"/>
                  <a:gd name="T44" fmla="*/ 23 w 113"/>
                  <a:gd name="T45" fmla="*/ 18 h 59"/>
                  <a:gd name="T46" fmla="*/ 19 w 113"/>
                  <a:gd name="T47" fmla="*/ 15 h 59"/>
                  <a:gd name="T48" fmla="*/ 19 w 113"/>
                  <a:gd name="T49" fmla="*/ 14 h 59"/>
                  <a:gd name="T50" fmla="*/ 15 w 113"/>
                  <a:gd name="T51" fmla="*/ 18 h 59"/>
                  <a:gd name="T52" fmla="*/ 12 w 113"/>
                  <a:gd name="T53" fmla="*/ 23 h 59"/>
                  <a:gd name="T54" fmla="*/ 8 w 113"/>
                  <a:gd name="T55" fmla="*/ 33 h 59"/>
                  <a:gd name="T56" fmla="*/ 6 w 113"/>
                  <a:gd name="T57" fmla="*/ 33 h 59"/>
                  <a:gd name="T58" fmla="*/ 9 w 113"/>
                  <a:gd name="T59" fmla="*/ 48 h 59"/>
                  <a:gd name="T60" fmla="*/ 1 w 113"/>
                  <a:gd name="T61" fmla="*/ 55 h 59"/>
                  <a:gd name="T62" fmla="*/ 0 w 113"/>
                  <a:gd name="T63" fmla="*/ 59 h 59"/>
                  <a:gd name="T64" fmla="*/ 21 w 113"/>
                  <a:gd name="T65" fmla="*/ 51 h 59"/>
                  <a:gd name="T66" fmla="*/ 20 w 113"/>
                  <a:gd name="T67" fmla="*/ 50 h 59"/>
                  <a:gd name="T68" fmla="*/ 19 w 113"/>
                  <a:gd name="T69" fmla="*/ 51 h 59"/>
                  <a:gd name="T70" fmla="*/ 16 w 113"/>
                  <a:gd name="T71" fmla="*/ 47 h 59"/>
                  <a:gd name="T72" fmla="*/ 13 w 113"/>
                  <a:gd name="T73" fmla="*/ 37 h 59"/>
                  <a:gd name="T74" fmla="*/ 25 w 113"/>
                  <a:gd name="T75" fmla="*/ 22 h 59"/>
                  <a:gd name="T76" fmla="*/ 38 w 113"/>
                  <a:gd name="T77" fmla="*/ 24 h 59"/>
                  <a:gd name="T78" fmla="*/ 53 w 113"/>
                  <a:gd name="T79" fmla="*/ 24 h 59"/>
                  <a:gd name="T80" fmla="*/ 55 w 113"/>
                  <a:gd name="T81" fmla="*/ 24 h 59"/>
                  <a:gd name="T82" fmla="*/ 65 w 113"/>
                  <a:gd name="T83" fmla="*/ 23 h 59"/>
                  <a:gd name="T84" fmla="*/ 79 w 113"/>
                  <a:gd name="T85" fmla="*/ 27 h 59"/>
                  <a:gd name="T86" fmla="*/ 87 w 113"/>
                  <a:gd name="T87" fmla="*/ 27 h 59"/>
                  <a:gd name="T88" fmla="*/ 102 w 113"/>
                  <a:gd name="T89" fmla="*/ 18 h 59"/>
                  <a:gd name="T90" fmla="*/ 110 w 113"/>
                  <a:gd name="T91" fmla="*/ 6 h 59"/>
                  <a:gd name="T92" fmla="*/ 109 w 113"/>
                  <a:gd name="T93" fmla="*/ 0 h 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3" h="59">
                    <a:moveTo>
                      <a:pt x="73" y="43"/>
                    </a:moveTo>
                    <a:cubicBezTo>
                      <a:pt x="71" y="43"/>
                      <a:pt x="70" y="44"/>
                      <a:pt x="68" y="46"/>
                    </a:cubicBezTo>
                    <a:cubicBezTo>
                      <a:pt x="71" y="47"/>
                      <a:pt x="67" y="47"/>
                      <a:pt x="65" y="47"/>
                    </a:cubicBezTo>
                    <a:cubicBezTo>
                      <a:pt x="64" y="47"/>
                      <a:pt x="64" y="47"/>
                      <a:pt x="64" y="47"/>
                    </a:cubicBezTo>
                    <a:cubicBezTo>
                      <a:pt x="62" y="47"/>
                      <a:pt x="60" y="47"/>
                      <a:pt x="58" y="47"/>
                    </a:cubicBezTo>
                    <a:cubicBezTo>
                      <a:pt x="57" y="47"/>
                      <a:pt x="56" y="47"/>
                      <a:pt x="56" y="47"/>
                    </a:cubicBezTo>
                    <a:cubicBezTo>
                      <a:pt x="53" y="48"/>
                      <a:pt x="51" y="49"/>
                      <a:pt x="49" y="50"/>
                    </a:cubicBezTo>
                    <a:cubicBezTo>
                      <a:pt x="49" y="51"/>
                      <a:pt x="49" y="51"/>
                      <a:pt x="48" y="51"/>
                    </a:cubicBezTo>
                    <a:cubicBezTo>
                      <a:pt x="47" y="51"/>
                      <a:pt x="46" y="49"/>
                      <a:pt x="45" y="49"/>
                    </a:cubicBezTo>
                    <a:cubicBezTo>
                      <a:pt x="44" y="49"/>
                      <a:pt x="45" y="48"/>
                      <a:pt x="44" y="48"/>
                    </a:cubicBezTo>
                    <a:cubicBezTo>
                      <a:pt x="44" y="48"/>
                      <a:pt x="44" y="48"/>
                      <a:pt x="43" y="49"/>
                    </a:cubicBezTo>
                    <a:cubicBezTo>
                      <a:pt x="42" y="49"/>
                      <a:pt x="41" y="50"/>
                      <a:pt x="40" y="51"/>
                    </a:cubicBezTo>
                    <a:cubicBezTo>
                      <a:pt x="39" y="52"/>
                      <a:pt x="38" y="54"/>
                      <a:pt x="37" y="55"/>
                    </a:cubicBezTo>
                    <a:cubicBezTo>
                      <a:pt x="36" y="56"/>
                      <a:pt x="36" y="57"/>
                      <a:pt x="35" y="59"/>
                    </a:cubicBezTo>
                    <a:cubicBezTo>
                      <a:pt x="59" y="59"/>
                      <a:pt x="59" y="59"/>
                      <a:pt x="59" y="59"/>
                    </a:cubicBezTo>
                    <a:cubicBezTo>
                      <a:pt x="61" y="57"/>
                      <a:pt x="62" y="56"/>
                      <a:pt x="63" y="55"/>
                    </a:cubicBezTo>
                    <a:cubicBezTo>
                      <a:pt x="64" y="54"/>
                      <a:pt x="65" y="53"/>
                      <a:pt x="66" y="51"/>
                    </a:cubicBezTo>
                    <a:cubicBezTo>
                      <a:pt x="67" y="50"/>
                      <a:pt x="68" y="50"/>
                      <a:pt x="70" y="49"/>
                    </a:cubicBezTo>
                    <a:cubicBezTo>
                      <a:pt x="71" y="49"/>
                      <a:pt x="71" y="49"/>
                      <a:pt x="71" y="49"/>
                    </a:cubicBezTo>
                    <a:cubicBezTo>
                      <a:pt x="74" y="49"/>
                      <a:pt x="75" y="51"/>
                      <a:pt x="77" y="52"/>
                    </a:cubicBezTo>
                    <a:cubicBezTo>
                      <a:pt x="77" y="49"/>
                      <a:pt x="79" y="45"/>
                      <a:pt x="76" y="44"/>
                    </a:cubicBezTo>
                    <a:cubicBezTo>
                      <a:pt x="75" y="44"/>
                      <a:pt x="74" y="44"/>
                      <a:pt x="73" y="44"/>
                    </a:cubicBezTo>
                    <a:cubicBezTo>
                      <a:pt x="73" y="44"/>
                      <a:pt x="73" y="43"/>
                      <a:pt x="73" y="43"/>
                    </a:cubicBezTo>
                    <a:moveTo>
                      <a:pt x="109" y="0"/>
                    </a:moveTo>
                    <a:cubicBezTo>
                      <a:pt x="107" y="0"/>
                      <a:pt x="106" y="2"/>
                      <a:pt x="105" y="3"/>
                    </a:cubicBezTo>
                    <a:cubicBezTo>
                      <a:pt x="104" y="5"/>
                      <a:pt x="103" y="5"/>
                      <a:pt x="100" y="7"/>
                    </a:cubicBezTo>
                    <a:cubicBezTo>
                      <a:pt x="101" y="9"/>
                      <a:pt x="101" y="9"/>
                      <a:pt x="99" y="10"/>
                    </a:cubicBezTo>
                    <a:cubicBezTo>
                      <a:pt x="98" y="12"/>
                      <a:pt x="95" y="13"/>
                      <a:pt x="92" y="14"/>
                    </a:cubicBezTo>
                    <a:cubicBezTo>
                      <a:pt x="91" y="15"/>
                      <a:pt x="88" y="16"/>
                      <a:pt x="88" y="17"/>
                    </a:cubicBezTo>
                    <a:cubicBezTo>
                      <a:pt x="85" y="17"/>
                      <a:pt x="81" y="16"/>
                      <a:pt x="78" y="16"/>
                    </a:cubicBezTo>
                    <a:cubicBezTo>
                      <a:pt x="76" y="16"/>
                      <a:pt x="75" y="15"/>
                      <a:pt x="74" y="15"/>
                    </a:cubicBezTo>
                    <a:cubicBezTo>
                      <a:pt x="72" y="15"/>
                      <a:pt x="71" y="16"/>
                      <a:pt x="69" y="16"/>
                    </a:cubicBezTo>
                    <a:cubicBezTo>
                      <a:pt x="68" y="17"/>
                      <a:pt x="67" y="17"/>
                      <a:pt x="67" y="17"/>
                    </a:cubicBezTo>
                    <a:cubicBezTo>
                      <a:pt x="63" y="17"/>
                      <a:pt x="58" y="14"/>
                      <a:pt x="55" y="13"/>
                    </a:cubicBezTo>
                    <a:cubicBezTo>
                      <a:pt x="53" y="13"/>
                      <a:pt x="51" y="13"/>
                      <a:pt x="49" y="13"/>
                    </a:cubicBezTo>
                    <a:cubicBezTo>
                      <a:pt x="49" y="13"/>
                      <a:pt x="48" y="13"/>
                      <a:pt x="47" y="13"/>
                    </a:cubicBezTo>
                    <a:cubicBezTo>
                      <a:pt x="47" y="13"/>
                      <a:pt x="46" y="13"/>
                      <a:pt x="46" y="13"/>
                    </a:cubicBezTo>
                    <a:cubicBezTo>
                      <a:pt x="45" y="13"/>
                      <a:pt x="45" y="13"/>
                      <a:pt x="45" y="13"/>
                    </a:cubicBezTo>
                    <a:cubicBezTo>
                      <a:pt x="42" y="13"/>
                      <a:pt x="43" y="10"/>
                      <a:pt x="41" y="9"/>
                    </a:cubicBezTo>
                    <a:cubicBezTo>
                      <a:pt x="40" y="8"/>
                      <a:pt x="40" y="8"/>
                      <a:pt x="40" y="8"/>
                    </a:cubicBezTo>
                    <a:cubicBezTo>
                      <a:pt x="39" y="8"/>
                      <a:pt x="39" y="8"/>
                      <a:pt x="38" y="8"/>
                    </a:cubicBezTo>
                    <a:cubicBezTo>
                      <a:pt x="38" y="8"/>
                      <a:pt x="37" y="8"/>
                      <a:pt x="36" y="8"/>
                    </a:cubicBezTo>
                    <a:cubicBezTo>
                      <a:pt x="34" y="8"/>
                      <a:pt x="31" y="8"/>
                      <a:pt x="29" y="8"/>
                    </a:cubicBezTo>
                    <a:cubicBezTo>
                      <a:pt x="29" y="9"/>
                      <a:pt x="29" y="11"/>
                      <a:pt x="28" y="12"/>
                    </a:cubicBezTo>
                    <a:cubicBezTo>
                      <a:pt x="28" y="14"/>
                      <a:pt x="26" y="14"/>
                      <a:pt x="25" y="16"/>
                    </a:cubicBezTo>
                    <a:cubicBezTo>
                      <a:pt x="24" y="17"/>
                      <a:pt x="24" y="18"/>
                      <a:pt x="23" y="18"/>
                    </a:cubicBezTo>
                    <a:cubicBezTo>
                      <a:pt x="23" y="18"/>
                      <a:pt x="22" y="17"/>
                      <a:pt x="22" y="17"/>
                    </a:cubicBezTo>
                    <a:cubicBezTo>
                      <a:pt x="20" y="16"/>
                      <a:pt x="20" y="16"/>
                      <a:pt x="19" y="15"/>
                    </a:cubicBezTo>
                    <a:cubicBezTo>
                      <a:pt x="19" y="14"/>
                      <a:pt x="19" y="14"/>
                      <a:pt x="19" y="14"/>
                    </a:cubicBezTo>
                    <a:cubicBezTo>
                      <a:pt x="19" y="14"/>
                      <a:pt x="19" y="14"/>
                      <a:pt x="19" y="14"/>
                    </a:cubicBezTo>
                    <a:cubicBezTo>
                      <a:pt x="18" y="14"/>
                      <a:pt x="18" y="15"/>
                      <a:pt x="18" y="15"/>
                    </a:cubicBezTo>
                    <a:cubicBezTo>
                      <a:pt x="17" y="16"/>
                      <a:pt x="16" y="18"/>
                      <a:pt x="15" y="18"/>
                    </a:cubicBezTo>
                    <a:cubicBezTo>
                      <a:pt x="15" y="19"/>
                      <a:pt x="13" y="19"/>
                      <a:pt x="13" y="20"/>
                    </a:cubicBezTo>
                    <a:cubicBezTo>
                      <a:pt x="13" y="21"/>
                      <a:pt x="13" y="22"/>
                      <a:pt x="12" y="23"/>
                    </a:cubicBezTo>
                    <a:cubicBezTo>
                      <a:pt x="11" y="24"/>
                      <a:pt x="11" y="24"/>
                      <a:pt x="11" y="24"/>
                    </a:cubicBezTo>
                    <a:cubicBezTo>
                      <a:pt x="9" y="27"/>
                      <a:pt x="9" y="30"/>
                      <a:pt x="8" y="33"/>
                    </a:cubicBezTo>
                    <a:cubicBezTo>
                      <a:pt x="7" y="33"/>
                      <a:pt x="7" y="32"/>
                      <a:pt x="7" y="32"/>
                    </a:cubicBezTo>
                    <a:cubicBezTo>
                      <a:pt x="6" y="32"/>
                      <a:pt x="6" y="33"/>
                      <a:pt x="6" y="33"/>
                    </a:cubicBezTo>
                    <a:cubicBezTo>
                      <a:pt x="8" y="35"/>
                      <a:pt x="9" y="34"/>
                      <a:pt x="9" y="37"/>
                    </a:cubicBezTo>
                    <a:cubicBezTo>
                      <a:pt x="10" y="39"/>
                      <a:pt x="11" y="46"/>
                      <a:pt x="9" y="48"/>
                    </a:cubicBezTo>
                    <a:cubicBezTo>
                      <a:pt x="9" y="47"/>
                      <a:pt x="8" y="46"/>
                      <a:pt x="8" y="45"/>
                    </a:cubicBezTo>
                    <a:cubicBezTo>
                      <a:pt x="5" y="48"/>
                      <a:pt x="3" y="51"/>
                      <a:pt x="1" y="55"/>
                    </a:cubicBezTo>
                    <a:cubicBezTo>
                      <a:pt x="1" y="55"/>
                      <a:pt x="0" y="56"/>
                      <a:pt x="0" y="56"/>
                    </a:cubicBezTo>
                    <a:cubicBezTo>
                      <a:pt x="0" y="57"/>
                      <a:pt x="0" y="58"/>
                      <a:pt x="0" y="59"/>
                    </a:cubicBezTo>
                    <a:cubicBezTo>
                      <a:pt x="25" y="59"/>
                      <a:pt x="25" y="59"/>
                      <a:pt x="25" y="59"/>
                    </a:cubicBezTo>
                    <a:cubicBezTo>
                      <a:pt x="24" y="56"/>
                      <a:pt x="24" y="52"/>
                      <a:pt x="21" y="51"/>
                    </a:cubicBezTo>
                    <a:cubicBezTo>
                      <a:pt x="21" y="51"/>
                      <a:pt x="21" y="50"/>
                      <a:pt x="20" y="50"/>
                    </a:cubicBezTo>
                    <a:cubicBezTo>
                      <a:pt x="20" y="50"/>
                      <a:pt x="20" y="50"/>
                      <a:pt x="20" y="50"/>
                    </a:cubicBezTo>
                    <a:cubicBezTo>
                      <a:pt x="20" y="50"/>
                      <a:pt x="20" y="50"/>
                      <a:pt x="20" y="50"/>
                    </a:cubicBezTo>
                    <a:cubicBezTo>
                      <a:pt x="19" y="50"/>
                      <a:pt x="19" y="51"/>
                      <a:pt x="19" y="51"/>
                    </a:cubicBezTo>
                    <a:cubicBezTo>
                      <a:pt x="19" y="51"/>
                      <a:pt x="19" y="51"/>
                      <a:pt x="19" y="51"/>
                    </a:cubicBezTo>
                    <a:cubicBezTo>
                      <a:pt x="18" y="50"/>
                      <a:pt x="16" y="48"/>
                      <a:pt x="16" y="47"/>
                    </a:cubicBezTo>
                    <a:cubicBezTo>
                      <a:pt x="14" y="45"/>
                      <a:pt x="14" y="44"/>
                      <a:pt x="14" y="42"/>
                    </a:cubicBezTo>
                    <a:cubicBezTo>
                      <a:pt x="14" y="41"/>
                      <a:pt x="13" y="39"/>
                      <a:pt x="13" y="37"/>
                    </a:cubicBezTo>
                    <a:cubicBezTo>
                      <a:pt x="13" y="33"/>
                      <a:pt x="16" y="26"/>
                      <a:pt x="20" y="24"/>
                    </a:cubicBezTo>
                    <a:cubicBezTo>
                      <a:pt x="21" y="23"/>
                      <a:pt x="23" y="22"/>
                      <a:pt x="25" y="22"/>
                    </a:cubicBezTo>
                    <a:cubicBezTo>
                      <a:pt x="27" y="22"/>
                      <a:pt x="30" y="23"/>
                      <a:pt x="32" y="23"/>
                    </a:cubicBezTo>
                    <a:cubicBezTo>
                      <a:pt x="34" y="24"/>
                      <a:pt x="36" y="24"/>
                      <a:pt x="38" y="24"/>
                    </a:cubicBezTo>
                    <a:cubicBezTo>
                      <a:pt x="38" y="24"/>
                      <a:pt x="38" y="24"/>
                      <a:pt x="38" y="24"/>
                    </a:cubicBezTo>
                    <a:cubicBezTo>
                      <a:pt x="43" y="24"/>
                      <a:pt x="48" y="24"/>
                      <a:pt x="53" y="24"/>
                    </a:cubicBezTo>
                    <a:cubicBezTo>
                      <a:pt x="53" y="24"/>
                      <a:pt x="54" y="24"/>
                      <a:pt x="55" y="24"/>
                    </a:cubicBezTo>
                    <a:cubicBezTo>
                      <a:pt x="55" y="24"/>
                      <a:pt x="55" y="24"/>
                      <a:pt x="55" y="24"/>
                    </a:cubicBezTo>
                    <a:cubicBezTo>
                      <a:pt x="56" y="24"/>
                      <a:pt x="58" y="23"/>
                      <a:pt x="60" y="23"/>
                    </a:cubicBezTo>
                    <a:cubicBezTo>
                      <a:pt x="61" y="23"/>
                      <a:pt x="63" y="23"/>
                      <a:pt x="65" y="23"/>
                    </a:cubicBezTo>
                    <a:cubicBezTo>
                      <a:pt x="67" y="23"/>
                      <a:pt x="70" y="23"/>
                      <a:pt x="72" y="24"/>
                    </a:cubicBezTo>
                    <a:cubicBezTo>
                      <a:pt x="74" y="25"/>
                      <a:pt x="77" y="26"/>
                      <a:pt x="79" y="27"/>
                    </a:cubicBezTo>
                    <a:cubicBezTo>
                      <a:pt x="80" y="27"/>
                      <a:pt x="81" y="27"/>
                      <a:pt x="82" y="27"/>
                    </a:cubicBezTo>
                    <a:cubicBezTo>
                      <a:pt x="84" y="27"/>
                      <a:pt x="85" y="27"/>
                      <a:pt x="87" y="27"/>
                    </a:cubicBezTo>
                    <a:cubicBezTo>
                      <a:pt x="89" y="26"/>
                      <a:pt x="93" y="26"/>
                      <a:pt x="95" y="25"/>
                    </a:cubicBezTo>
                    <a:cubicBezTo>
                      <a:pt x="97" y="23"/>
                      <a:pt x="99" y="20"/>
                      <a:pt x="102" y="18"/>
                    </a:cubicBezTo>
                    <a:cubicBezTo>
                      <a:pt x="103" y="16"/>
                      <a:pt x="106" y="15"/>
                      <a:pt x="107" y="14"/>
                    </a:cubicBezTo>
                    <a:cubicBezTo>
                      <a:pt x="108" y="11"/>
                      <a:pt x="109" y="9"/>
                      <a:pt x="110" y="6"/>
                    </a:cubicBezTo>
                    <a:cubicBezTo>
                      <a:pt x="111" y="3"/>
                      <a:pt x="113" y="1"/>
                      <a:pt x="109" y="0"/>
                    </a:cubicBezTo>
                    <a:cubicBezTo>
                      <a:pt x="109" y="0"/>
                      <a:pt x="109" y="0"/>
                      <a:pt x="10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5" name="Freeform 152"/>
              <p:cNvSpPr/>
              <p:nvPr/>
            </p:nvSpPr>
            <p:spPr bwMode="auto">
              <a:xfrm>
                <a:off x="8356" y="3366"/>
                <a:ext cx="4" cy="2"/>
              </a:xfrm>
              <a:custGeom>
                <a:gdLst>
                  <a:gd name="T0" fmla="*/ 2 w 2"/>
                  <a:gd name="T1" fmla="*/ 0 h 1"/>
                  <a:gd name="T2" fmla="*/ 0 w 2"/>
                  <a:gd name="T3" fmla="*/ 1 h 1"/>
                  <a:gd name="T4" fmla="*/ 2 w 2"/>
                  <a:gd name="T5" fmla="*/ 0 h 1"/>
                </a:gdLst>
                <a:cxnLst>
                  <a:cxn ang="0">
                    <a:pos x="T0" y="T1"/>
                  </a:cxn>
                  <a:cxn ang="0">
                    <a:pos x="T2" y="T3"/>
                  </a:cxn>
                  <a:cxn ang="0">
                    <a:pos x="T4" y="T5"/>
                  </a:cxn>
                </a:cxnLst>
                <a:rect l="0" t="0" r="r" b="b"/>
                <a:pathLst>
                  <a:path w="2" h="1">
                    <a:moveTo>
                      <a:pt x="2" y="0"/>
                    </a:moveTo>
                    <a:cubicBezTo>
                      <a:pt x="1" y="0"/>
                      <a:pt x="0" y="0"/>
                      <a:pt x="0" y="1"/>
                    </a:cubicBezTo>
                    <a:cubicBezTo>
                      <a:pt x="0" y="0"/>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Freeform 153"/>
              <p:cNvSpPr/>
              <p:nvPr/>
            </p:nvSpPr>
            <p:spPr bwMode="auto">
              <a:xfrm>
                <a:off x="8247" y="3281"/>
                <a:ext cx="5" cy="4"/>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0" y="2"/>
                    </a:cubicBezTo>
                    <a:cubicBezTo>
                      <a:pt x="1"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7" name="Freeform 154"/>
              <p:cNvSpPr/>
              <p:nvPr/>
            </p:nvSpPr>
            <p:spPr bwMode="auto">
              <a:xfrm>
                <a:off x="8219" y="3108"/>
                <a:ext cx="9" cy="26"/>
              </a:xfrm>
              <a:custGeom>
                <a:gdLst>
                  <a:gd name="T0" fmla="*/ 1 w 4"/>
                  <a:gd name="T1" fmla="*/ 0 h 11"/>
                  <a:gd name="T2" fmla="*/ 1 w 4"/>
                  <a:gd name="T3" fmla="*/ 11 h 11"/>
                  <a:gd name="T4" fmla="*/ 2 w 4"/>
                  <a:gd name="T5" fmla="*/ 7 h 11"/>
                  <a:gd name="T6" fmla="*/ 4 w 4"/>
                  <a:gd name="T7" fmla="*/ 5 h 11"/>
                  <a:gd name="T8" fmla="*/ 3 w 4"/>
                  <a:gd name="T9" fmla="*/ 4 h 11"/>
                  <a:gd name="T10" fmla="*/ 3 w 4"/>
                  <a:gd name="T11" fmla="*/ 2 h 11"/>
                  <a:gd name="T12" fmla="*/ 1 w 4"/>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4" h="11">
                    <a:moveTo>
                      <a:pt x="1" y="0"/>
                    </a:moveTo>
                    <a:cubicBezTo>
                      <a:pt x="0" y="4"/>
                      <a:pt x="1" y="7"/>
                      <a:pt x="1" y="11"/>
                    </a:cubicBezTo>
                    <a:cubicBezTo>
                      <a:pt x="2" y="10"/>
                      <a:pt x="2" y="8"/>
                      <a:pt x="2" y="7"/>
                    </a:cubicBezTo>
                    <a:cubicBezTo>
                      <a:pt x="3" y="6"/>
                      <a:pt x="4" y="5"/>
                      <a:pt x="4" y="5"/>
                    </a:cubicBezTo>
                    <a:cubicBezTo>
                      <a:pt x="4" y="4"/>
                      <a:pt x="3" y="4"/>
                      <a:pt x="3" y="4"/>
                    </a:cubicBezTo>
                    <a:cubicBezTo>
                      <a:pt x="3" y="3"/>
                      <a:pt x="3" y="2"/>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Freeform 155"/>
              <p:cNvSpPr/>
              <p:nvPr/>
            </p:nvSpPr>
            <p:spPr bwMode="auto">
              <a:xfrm>
                <a:off x="7375" y="3122"/>
                <a:ext cx="19" cy="26"/>
              </a:xfrm>
              <a:custGeom>
                <a:gdLst>
                  <a:gd name="T0" fmla="*/ 5 w 8"/>
                  <a:gd name="T1" fmla="*/ 0 h 11"/>
                  <a:gd name="T2" fmla="*/ 1 w 8"/>
                  <a:gd name="T3" fmla="*/ 3 h 11"/>
                  <a:gd name="T4" fmla="*/ 1 w 8"/>
                  <a:gd name="T5" fmla="*/ 7 h 11"/>
                  <a:gd name="T6" fmla="*/ 6 w 8"/>
                  <a:gd name="T7" fmla="*/ 9 h 11"/>
                  <a:gd name="T8" fmla="*/ 2 w 8"/>
                  <a:gd name="T9" fmla="*/ 10 h 11"/>
                  <a:gd name="T10" fmla="*/ 4 w 8"/>
                  <a:gd name="T11" fmla="*/ 11 h 11"/>
                  <a:gd name="T12" fmla="*/ 5 w 8"/>
                  <a:gd name="T13" fmla="*/ 11 h 11"/>
                  <a:gd name="T14" fmla="*/ 8 w 8"/>
                  <a:gd name="T15" fmla="*/ 7 h 11"/>
                  <a:gd name="T16" fmla="*/ 5 w 8"/>
                  <a:gd name="T1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5" y="0"/>
                    </a:moveTo>
                    <a:cubicBezTo>
                      <a:pt x="4" y="1"/>
                      <a:pt x="1" y="2"/>
                      <a:pt x="1" y="3"/>
                    </a:cubicBezTo>
                    <a:cubicBezTo>
                      <a:pt x="0" y="5"/>
                      <a:pt x="0" y="5"/>
                      <a:pt x="1" y="7"/>
                    </a:cubicBezTo>
                    <a:cubicBezTo>
                      <a:pt x="3" y="8"/>
                      <a:pt x="5" y="8"/>
                      <a:pt x="6" y="9"/>
                    </a:cubicBezTo>
                    <a:cubicBezTo>
                      <a:pt x="5" y="10"/>
                      <a:pt x="2" y="10"/>
                      <a:pt x="2" y="10"/>
                    </a:cubicBezTo>
                    <a:cubicBezTo>
                      <a:pt x="2" y="11"/>
                      <a:pt x="3" y="11"/>
                      <a:pt x="4" y="11"/>
                    </a:cubicBezTo>
                    <a:cubicBezTo>
                      <a:pt x="5" y="11"/>
                      <a:pt x="5" y="11"/>
                      <a:pt x="5" y="11"/>
                    </a:cubicBezTo>
                    <a:cubicBezTo>
                      <a:pt x="7" y="10"/>
                      <a:pt x="8" y="9"/>
                      <a:pt x="8" y="7"/>
                    </a:cubicBezTo>
                    <a:cubicBezTo>
                      <a:pt x="8" y="4"/>
                      <a:pt x="5"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9" name="Freeform 156"/>
              <p:cNvSpPr/>
              <p:nvPr/>
            </p:nvSpPr>
            <p:spPr bwMode="auto">
              <a:xfrm>
                <a:off x="7158" y="3283"/>
                <a:ext cx="7" cy="5"/>
              </a:xfrm>
              <a:custGeom>
                <a:gdLst>
                  <a:gd name="T0" fmla="*/ 1 w 3"/>
                  <a:gd name="T1" fmla="*/ 0 h 2"/>
                  <a:gd name="T2" fmla="*/ 0 w 3"/>
                  <a:gd name="T3" fmla="*/ 2 h 2"/>
                  <a:gd name="T4" fmla="*/ 3 w 3"/>
                  <a:gd name="T5" fmla="*/ 1 h 2"/>
                  <a:gd name="T6" fmla="*/ 1 w 3"/>
                  <a:gd name="T7" fmla="*/ 0 h 2"/>
                </a:gdLst>
                <a:cxnLst>
                  <a:cxn ang="0">
                    <a:pos x="T0" y="T1"/>
                  </a:cxn>
                  <a:cxn ang="0">
                    <a:pos x="T2" y="T3"/>
                  </a:cxn>
                  <a:cxn ang="0">
                    <a:pos x="T4" y="T5"/>
                  </a:cxn>
                  <a:cxn ang="0">
                    <a:pos x="T6" y="T7"/>
                  </a:cxn>
                </a:cxnLst>
                <a:rect l="0" t="0" r="r" b="b"/>
                <a:pathLst>
                  <a:path w="3" h="2">
                    <a:moveTo>
                      <a:pt x="1" y="0"/>
                    </a:moveTo>
                    <a:cubicBezTo>
                      <a:pt x="0" y="0"/>
                      <a:pt x="0" y="1"/>
                      <a:pt x="0" y="2"/>
                    </a:cubicBezTo>
                    <a:cubicBezTo>
                      <a:pt x="1" y="2"/>
                      <a:pt x="2" y="2"/>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157"/>
              <p:cNvSpPr/>
              <p:nvPr/>
            </p:nvSpPr>
            <p:spPr bwMode="auto">
              <a:xfrm>
                <a:off x="7125" y="3262"/>
                <a:ext cx="33" cy="16"/>
              </a:xfrm>
              <a:custGeom>
                <a:gdLst>
                  <a:gd name="T0" fmla="*/ 7 w 14"/>
                  <a:gd name="T1" fmla="*/ 0 h 7"/>
                  <a:gd name="T2" fmla="*/ 7 w 14"/>
                  <a:gd name="T3" fmla="*/ 0 h 7"/>
                  <a:gd name="T4" fmla="*/ 4 w 14"/>
                  <a:gd name="T5" fmla="*/ 2 h 7"/>
                  <a:gd name="T6" fmla="*/ 4 w 14"/>
                  <a:gd name="T7" fmla="*/ 2 h 7"/>
                  <a:gd name="T8" fmla="*/ 2 w 14"/>
                  <a:gd name="T9" fmla="*/ 0 h 7"/>
                  <a:gd name="T10" fmla="*/ 2 w 14"/>
                  <a:gd name="T11" fmla="*/ 0 h 7"/>
                  <a:gd name="T12" fmla="*/ 1 w 14"/>
                  <a:gd name="T13" fmla="*/ 4 h 7"/>
                  <a:gd name="T14" fmla="*/ 0 w 14"/>
                  <a:gd name="T15" fmla="*/ 5 h 7"/>
                  <a:gd name="T16" fmla="*/ 6 w 14"/>
                  <a:gd name="T17" fmla="*/ 7 h 7"/>
                  <a:gd name="T18" fmla="*/ 10 w 14"/>
                  <a:gd name="T19" fmla="*/ 7 h 7"/>
                  <a:gd name="T20" fmla="*/ 12 w 14"/>
                  <a:gd name="T21" fmla="*/ 7 h 7"/>
                  <a:gd name="T22" fmla="*/ 12 w 14"/>
                  <a:gd name="T23" fmla="*/ 7 h 7"/>
                  <a:gd name="T24" fmla="*/ 5 w 14"/>
                  <a:gd name="T25" fmla="*/ 3 h 7"/>
                  <a:gd name="T26" fmla="*/ 4 w 14"/>
                  <a:gd name="T27" fmla="*/ 2 h 7"/>
                  <a:gd name="T28" fmla="*/ 5 w 14"/>
                  <a:gd name="T29" fmla="*/ 3 h 7"/>
                  <a:gd name="T30" fmla="*/ 6 w 14"/>
                  <a:gd name="T31" fmla="*/ 3 h 7"/>
                  <a:gd name="T32" fmla="*/ 14 w 14"/>
                  <a:gd name="T33" fmla="*/ 5 h 7"/>
                  <a:gd name="T34" fmla="*/ 10 w 14"/>
                  <a:gd name="T35" fmla="*/ 1 h 7"/>
                  <a:gd name="T36" fmla="*/ 7 w 14"/>
                  <a:gd name="T3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7">
                    <a:moveTo>
                      <a:pt x="7" y="0"/>
                    </a:moveTo>
                    <a:cubicBezTo>
                      <a:pt x="7" y="0"/>
                      <a:pt x="7" y="0"/>
                      <a:pt x="7" y="0"/>
                    </a:cubicBezTo>
                    <a:cubicBezTo>
                      <a:pt x="5" y="0"/>
                      <a:pt x="5" y="1"/>
                      <a:pt x="4" y="2"/>
                    </a:cubicBezTo>
                    <a:cubicBezTo>
                      <a:pt x="4" y="2"/>
                      <a:pt x="4" y="2"/>
                      <a:pt x="4" y="2"/>
                    </a:cubicBezTo>
                    <a:cubicBezTo>
                      <a:pt x="3" y="1"/>
                      <a:pt x="3" y="0"/>
                      <a:pt x="2" y="0"/>
                    </a:cubicBezTo>
                    <a:cubicBezTo>
                      <a:pt x="2" y="0"/>
                      <a:pt x="2" y="0"/>
                      <a:pt x="2" y="0"/>
                    </a:cubicBezTo>
                    <a:cubicBezTo>
                      <a:pt x="0" y="0"/>
                      <a:pt x="2" y="2"/>
                      <a:pt x="1" y="4"/>
                    </a:cubicBezTo>
                    <a:cubicBezTo>
                      <a:pt x="1" y="4"/>
                      <a:pt x="0" y="4"/>
                      <a:pt x="0" y="5"/>
                    </a:cubicBezTo>
                    <a:cubicBezTo>
                      <a:pt x="0" y="7"/>
                      <a:pt x="3" y="7"/>
                      <a:pt x="6" y="7"/>
                    </a:cubicBezTo>
                    <a:cubicBezTo>
                      <a:pt x="7" y="7"/>
                      <a:pt x="9" y="7"/>
                      <a:pt x="10" y="7"/>
                    </a:cubicBezTo>
                    <a:cubicBezTo>
                      <a:pt x="11" y="7"/>
                      <a:pt x="12" y="7"/>
                      <a:pt x="12" y="7"/>
                    </a:cubicBezTo>
                    <a:cubicBezTo>
                      <a:pt x="12" y="7"/>
                      <a:pt x="12" y="7"/>
                      <a:pt x="12" y="7"/>
                    </a:cubicBezTo>
                    <a:cubicBezTo>
                      <a:pt x="10" y="4"/>
                      <a:pt x="8" y="5"/>
                      <a:pt x="5" y="3"/>
                    </a:cubicBezTo>
                    <a:cubicBezTo>
                      <a:pt x="4" y="3"/>
                      <a:pt x="4" y="2"/>
                      <a:pt x="4" y="2"/>
                    </a:cubicBezTo>
                    <a:cubicBezTo>
                      <a:pt x="5" y="3"/>
                      <a:pt x="5" y="3"/>
                      <a:pt x="5" y="3"/>
                    </a:cubicBezTo>
                    <a:cubicBezTo>
                      <a:pt x="5" y="3"/>
                      <a:pt x="5" y="3"/>
                      <a:pt x="6" y="3"/>
                    </a:cubicBezTo>
                    <a:cubicBezTo>
                      <a:pt x="8" y="3"/>
                      <a:pt x="13" y="5"/>
                      <a:pt x="14" y="5"/>
                    </a:cubicBezTo>
                    <a:cubicBezTo>
                      <a:pt x="13" y="3"/>
                      <a:pt x="12" y="2"/>
                      <a:pt x="10" y="1"/>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158"/>
              <p:cNvSpPr/>
              <p:nvPr/>
            </p:nvSpPr>
            <p:spPr bwMode="auto">
              <a:xfrm>
                <a:off x="7999" y="3328"/>
                <a:ext cx="9" cy="2"/>
              </a:xfrm>
              <a:custGeom>
                <a:gdLst>
                  <a:gd name="T0" fmla="*/ 2 w 4"/>
                  <a:gd name="T1" fmla="*/ 0 h 1"/>
                  <a:gd name="T2" fmla="*/ 0 w 4"/>
                  <a:gd name="T3" fmla="*/ 1 h 1"/>
                  <a:gd name="T4" fmla="*/ 4 w 4"/>
                  <a:gd name="T5" fmla="*/ 0 h 1"/>
                  <a:gd name="T6" fmla="*/ 2 w 4"/>
                  <a:gd name="T7" fmla="*/ 0 h 1"/>
                </a:gdLst>
                <a:cxnLst>
                  <a:cxn ang="0">
                    <a:pos x="T0" y="T1"/>
                  </a:cxn>
                  <a:cxn ang="0">
                    <a:pos x="T2" y="T3"/>
                  </a:cxn>
                  <a:cxn ang="0">
                    <a:pos x="T4" y="T5"/>
                  </a:cxn>
                  <a:cxn ang="0">
                    <a:pos x="T6" y="T7"/>
                  </a:cxn>
                </a:cxnLst>
                <a:rect l="0" t="0" r="r" b="b"/>
                <a:pathLst>
                  <a:path w="4" h="1">
                    <a:moveTo>
                      <a:pt x="2" y="0"/>
                    </a:moveTo>
                    <a:cubicBezTo>
                      <a:pt x="2" y="0"/>
                      <a:pt x="1" y="0"/>
                      <a:pt x="0" y="1"/>
                    </a:cubicBezTo>
                    <a:cubicBezTo>
                      <a:pt x="1" y="1"/>
                      <a:pt x="2" y="0"/>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Freeform 159"/>
              <p:cNvSpPr/>
              <p:nvPr/>
            </p:nvSpPr>
            <p:spPr bwMode="auto">
              <a:xfrm>
                <a:off x="7188" y="3274"/>
                <a:ext cx="5" cy="4"/>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Freeform 160"/>
              <p:cNvSpPr/>
              <p:nvPr/>
            </p:nvSpPr>
            <p:spPr bwMode="auto">
              <a:xfrm>
                <a:off x="7205" y="3278"/>
                <a:ext cx="2" cy="3"/>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1" y="1"/>
                      <a:pt x="1"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Freeform 161"/>
              <p:cNvSpPr/>
              <p:nvPr/>
            </p:nvSpPr>
            <p:spPr bwMode="auto">
              <a:xfrm>
                <a:off x="7167" y="3274"/>
                <a:ext cx="7" cy="9"/>
              </a:xfrm>
              <a:custGeom>
                <a:gdLst>
                  <a:gd name="T0" fmla="*/ 0 w 3"/>
                  <a:gd name="T1" fmla="*/ 0 h 4"/>
                  <a:gd name="T2" fmla="*/ 1 w 3"/>
                  <a:gd name="T3" fmla="*/ 4 h 4"/>
                  <a:gd name="T4" fmla="*/ 3 w 3"/>
                  <a:gd name="T5" fmla="*/ 3 h 4"/>
                  <a:gd name="T6" fmla="*/ 0 w 3"/>
                  <a:gd name="T7" fmla="*/ 0 h 4"/>
                </a:gdLst>
                <a:cxnLst>
                  <a:cxn ang="0">
                    <a:pos x="T0" y="T1"/>
                  </a:cxn>
                  <a:cxn ang="0">
                    <a:pos x="T2" y="T3"/>
                  </a:cxn>
                  <a:cxn ang="0">
                    <a:pos x="T4" y="T5"/>
                  </a:cxn>
                  <a:cxn ang="0">
                    <a:pos x="T6" y="T7"/>
                  </a:cxn>
                </a:cxnLst>
                <a:rect l="0" t="0" r="r" b="b"/>
                <a:pathLst>
                  <a:path w="3" h="4">
                    <a:moveTo>
                      <a:pt x="0" y="0"/>
                    </a:moveTo>
                    <a:cubicBezTo>
                      <a:pt x="0" y="1"/>
                      <a:pt x="0" y="4"/>
                      <a:pt x="1" y="4"/>
                    </a:cubicBezTo>
                    <a:cubicBezTo>
                      <a:pt x="1" y="4"/>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Freeform 162"/>
              <p:cNvSpPr/>
              <p:nvPr/>
            </p:nvSpPr>
            <p:spPr bwMode="auto">
              <a:xfrm>
                <a:off x="7221" y="3304"/>
                <a:ext cx="5" cy="7"/>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0" y="2"/>
                      <a:pt x="1" y="2"/>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Freeform 163"/>
              <p:cNvSpPr/>
              <p:nvPr/>
            </p:nvSpPr>
            <p:spPr bwMode="auto">
              <a:xfrm>
                <a:off x="8238" y="3340"/>
                <a:ext cx="9" cy="9"/>
              </a:xfrm>
              <a:custGeom>
                <a:gdLst>
                  <a:gd name="T0" fmla="*/ 2 w 4"/>
                  <a:gd name="T1" fmla="*/ 0 h 4"/>
                  <a:gd name="T2" fmla="*/ 0 w 4"/>
                  <a:gd name="T3" fmla="*/ 4 h 4"/>
                  <a:gd name="T4" fmla="*/ 2 w 4"/>
                  <a:gd name="T5" fmla="*/ 4 h 4"/>
                  <a:gd name="T6" fmla="*/ 2 w 4"/>
                  <a:gd name="T7" fmla="*/ 0 h 4"/>
                </a:gdLst>
                <a:cxnLst>
                  <a:cxn ang="0">
                    <a:pos x="T0" y="T1"/>
                  </a:cxn>
                  <a:cxn ang="0">
                    <a:pos x="T2" y="T3"/>
                  </a:cxn>
                  <a:cxn ang="0">
                    <a:pos x="T4" y="T5"/>
                  </a:cxn>
                  <a:cxn ang="0">
                    <a:pos x="T6" y="T7"/>
                  </a:cxn>
                </a:cxnLst>
                <a:rect l="0" t="0" r="r" b="b"/>
                <a:pathLst>
                  <a:path w="4" h="4">
                    <a:moveTo>
                      <a:pt x="2" y="0"/>
                    </a:moveTo>
                    <a:cubicBezTo>
                      <a:pt x="1" y="1"/>
                      <a:pt x="0" y="3"/>
                      <a:pt x="0" y="4"/>
                    </a:cubicBezTo>
                    <a:cubicBezTo>
                      <a:pt x="2" y="4"/>
                      <a:pt x="2" y="4"/>
                      <a:pt x="2" y="4"/>
                    </a:cubicBezTo>
                    <a:cubicBezTo>
                      <a:pt x="4" y="4"/>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Freeform 164"/>
              <p:cNvSpPr/>
              <p:nvPr/>
            </p:nvSpPr>
            <p:spPr bwMode="auto">
              <a:xfrm>
                <a:off x="8334" y="3311"/>
                <a:ext cx="12" cy="12"/>
              </a:xfrm>
              <a:custGeom>
                <a:gdLst>
                  <a:gd name="T0" fmla="*/ 0 w 5"/>
                  <a:gd name="T1" fmla="*/ 0 h 5"/>
                  <a:gd name="T2" fmla="*/ 5 w 5"/>
                  <a:gd name="T3" fmla="*/ 5 h 5"/>
                  <a:gd name="T4" fmla="*/ 0 w 5"/>
                  <a:gd name="T5" fmla="*/ 0 h 5"/>
                </a:gdLst>
                <a:cxnLst>
                  <a:cxn ang="0">
                    <a:pos x="T0" y="T1"/>
                  </a:cxn>
                  <a:cxn ang="0">
                    <a:pos x="T2" y="T3"/>
                  </a:cxn>
                  <a:cxn ang="0">
                    <a:pos x="T4" y="T5"/>
                  </a:cxn>
                </a:cxnLst>
                <a:rect l="0" t="0" r="r" b="b"/>
                <a:pathLst>
                  <a:path w="5" h="5">
                    <a:moveTo>
                      <a:pt x="0" y="0"/>
                    </a:moveTo>
                    <a:cubicBezTo>
                      <a:pt x="1" y="2"/>
                      <a:pt x="3" y="3"/>
                      <a:pt x="5" y="5"/>
                    </a:cubicBezTo>
                    <a:cubicBezTo>
                      <a:pt x="5"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Freeform 165"/>
              <p:cNvSpPr/>
              <p:nvPr/>
            </p:nvSpPr>
            <p:spPr bwMode="auto">
              <a:xfrm>
                <a:off x="6803" y="3047"/>
                <a:ext cx="5" cy="2"/>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1"/>
                      <a:pt x="1" y="1"/>
                      <a:pt x="2" y="1"/>
                    </a:cubicBezTo>
                    <a:cubicBezTo>
                      <a:pt x="2" y="1"/>
                      <a:pt x="2" y="1"/>
                      <a:pt x="2" y="1"/>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9" name="Freeform 166"/>
              <p:cNvSpPr/>
              <p:nvPr/>
            </p:nvSpPr>
            <p:spPr bwMode="auto">
              <a:xfrm>
                <a:off x="7077" y="3217"/>
                <a:ext cx="19" cy="19"/>
              </a:xfrm>
              <a:custGeom>
                <a:gdLst>
                  <a:gd name="T0" fmla="*/ 5 w 8"/>
                  <a:gd name="T1" fmla="*/ 0 h 8"/>
                  <a:gd name="T2" fmla="*/ 4 w 8"/>
                  <a:gd name="T3" fmla="*/ 0 h 8"/>
                  <a:gd name="T4" fmla="*/ 3 w 8"/>
                  <a:gd name="T5" fmla="*/ 1 h 8"/>
                  <a:gd name="T6" fmla="*/ 2 w 8"/>
                  <a:gd name="T7" fmla="*/ 1 h 8"/>
                  <a:gd name="T8" fmla="*/ 2 w 8"/>
                  <a:gd name="T9" fmla="*/ 1 h 8"/>
                  <a:gd name="T10" fmla="*/ 2 w 8"/>
                  <a:gd name="T11" fmla="*/ 1 h 8"/>
                  <a:gd name="T12" fmla="*/ 1 w 8"/>
                  <a:gd name="T13" fmla="*/ 2 h 8"/>
                  <a:gd name="T14" fmla="*/ 2 w 8"/>
                  <a:gd name="T15" fmla="*/ 7 h 8"/>
                  <a:gd name="T16" fmla="*/ 3 w 8"/>
                  <a:gd name="T17" fmla="*/ 8 h 8"/>
                  <a:gd name="T18" fmla="*/ 8 w 8"/>
                  <a:gd name="T19" fmla="*/ 4 h 8"/>
                  <a:gd name="T20" fmla="*/ 5 w 8"/>
                  <a:gd name="T2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5" y="0"/>
                    </a:moveTo>
                    <a:cubicBezTo>
                      <a:pt x="5" y="0"/>
                      <a:pt x="4" y="0"/>
                      <a:pt x="4" y="0"/>
                    </a:cubicBezTo>
                    <a:cubicBezTo>
                      <a:pt x="3" y="1"/>
                      <a:pt x="3" y="1"/>
                      <a:pt x="3" y="1"/>
                    </a:cubicBezTo>
                    <a:cubicBezTo>
                      <a:pt x="2" y="1"/>
                      <a:pt x="2" y="1"/>
                      <a:pt x="2" y="1"/>
                    </a:cubicBezTo>
                    <a:cubicBezTo>
                      <a:pt x="2" y="1"/>
                      <a:pt x="2" y="1"/>
                      <a:pt x="2" y="1"/>
                    </a:cubicBezTo>
                    <a:cubicBezTo>
                      <a:pt x="2" y="1"/>
                      <a:pt x="2" y="1"/>
                      <a:pt x="2" y="1"/>
                    </a:cubicBezTo>
                    <a:cubicBezTo>
                      <a:pt x="1" y="1"/>
                      <a:pt x="1" y="1"/>
                      <a:pt x="1" y="2"/>
                    </a:cubicBezTo>
                    <a:cubicBezTo>
                      <a:pt x="0" y="3"/>
                      <a:pt x="1" y="6"/>
                      <a:pt x="2" y="7"/>
                    </a:cubicBezTo>
                    <a:cubicBezTo>
                      <a:pt x="2" y="8"/>
                      <a:pt x="3" y="8"/>
                      <a:pt x="3" y="8"/>
                    </a:cubicBezTo>
                    <a:cubicBezTo>
                      <a:pt x="5" y="8"/>
                      <a:pt x="7" y="5"/>
                      <a:pt x="8" y="4"/>
                    </a:cubicBezTo>
                    <a:cubicBezTo>
                      <a:pt x="7" y="2"/>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Freeform 167"/>
              <p:cNvSpPr/>
              <p:nvPr/>
            </p:nvSpPr>
            <p:spPr bwMode="auto">
              <a:xfrm>
                <a:off x="8157" y="3189"/>
                <a:ext cx="5" cy="4"/>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1"/>
                      <a:pt x="0" y="1"/>
                      <a:pt x="0" y="2"/>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1" name="Freeform 168"/>
              <p:cNvSpPr/>
              <p:nvPr/>
            </p:nvSpPr>
            <p:spPr bwMode="auto">
              <a:xfrm>
                <a:off x="7420" y="3198"/>
                <a:ext cx="5" cy="2"/>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1"/>
                      <a:pt x="1" y="1"/>
                      <a:pt x="2" y="1"/>
                    </a:cubicBezTo>
                    <a:cubicBezTo>
                      <a:pt x="2" y="1"/>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2" name="Freeform 169"/>
              <p:cNvSpPr/>
              <p:nvPr/>
            </p:nvSpPr>
            <p:spPr bwMode="auto">
              <a:xfrm>
                <a:off x="7106" y="3241"/>
                <a:ext cx="23" cy="16"/>
              </a:xfrm>
              <a:custGeom>
                <a:gdLst>
                  <a:gd name="T0" fmla="*/ 1 w 10"/>
                  <a:gd name="T1" fmla="*/ 0 h 7"/>
                  <a:gd name="T2" fmla="*/ 0 w 10"/>
                  <a:gd name="T3" fmla="*/ 0 h 7"/>
                  <a:gd name="T4" fmla="*/ 5 w 10"/>
                  <a:gd name="T5" fmla="*/ 4 h 7"/>
                  <a:gd name="T6" fmla="*/ 9 w 10"/>
                  <a:gd name="T7" fmla="*/ 7 h 7"/>
                  <a:gd name="T8" fmla="*/ 5 w 10"/>
                  <a:gd name="T9" fmla="*/ 1 h 7"/>
                  <a:gd name="T10" fmla="*/ 1 w 10"/>
                  <a:gd name="T11" fmla="*/ 0 h 7"/>
                </a:gdLst>
                <a:cxnLst>
                  <a:cxn ang="0">
                    <a:pos x="T0" y="T1"/>
                  </a:cxn>
                  <a:cxn ang="0">
                    <a:pos x="T2" y="T3"/>
                  </a:cxn>
                  <a:cxn ang="0">
                    <a:pos x="T4" y="T5"/>
                  </a:cxn>
                  <a:cxn ang="0">
                    <a:pos x="T6" y="T7"/>
                  </a:cxn>
                  <a:cxn ang="0">
                    <a:pos x="T8" y="T9"/>
                  </a:cxn>
                  <a:cxn ang="0">
                    <a:pos x="T10" y="T11"/>
                  </a:cxn>
                </a:cxnLst>
                <a:rect l="0" t="0" r="r" b="b"/>
                <a:pathLst>
                  <a:path w="10" h="7">
                    <a:moveTo>
                      <a:pt x="1" y="0"/>
                    </a:moveTo>
                    <a:cubicBezTo>
                      <a:pt x="0" y="0"/>
                      <a:pt x="0" y="0"/>
                      <a:pt x="0" y="0"/>
                    </a:cubicBezTo>
                    <a:cubicBezTo>
                      <a:pt x="1" y="2"/>
                      <a:pt x="2" y="3"/>
                      <a:pt x="5" y="4"/>
                    </a:cubicBezTo>
                    <a:cubicBezTo>
                      <a:pt x="6" y="4"/>
                      <a:pt x="8" y="5"/>
                      <a:pt x="9" y="7"/>
                    </a:cubicBezTo>
                    <a:cubicBezTo>
                      <a:pt x="10" y="2"/>
                      <a:pt x="8" y="2"/>
                      <a:pt x="5"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3" name="Freeform 170"/>
              <p:cNvSpPr/>
              <p:nvPr/>
            </p:nvSpPr>
            <p:spPr bwMode="auto">
              <a:xfrm>
                <a:off x="8580" y="3356"/>
                <a:ext cx="12" cy="7"/>
              </a:xfrm>
              <a:custGeom>
                <a:gdLst>
                  <a:gd name="T0" fmla="*/ 3 w 5"/>
                  <a:gd name="T1" fmla="*/ 0 h 3"/>
                  <a:gd name="T2" fmla="*/ 3 w 5"/>
                  <a:gd name="T3" fmla="*/ 3 h 3"/>
                  <a:gd name="T4" fmla="*/ 3 w 5"/>
                  <a:gd name="T5" fmla="*/ 0 h 3"/>
                </a:gdLst>
                <a:cxnLst>
                  <a:cxn ang="0">
                    <a:pos x="T0" y="T1"/>
                  </a:cxn>
                  <a:cxn ang="0">
                    <a:pos x="T2" y="T3"/>
                  </a:cxn>
                  <a:cxn ang="0">
                    <a:pos x="T4" y="T5"/>
                  </a:cxn>
                </a:cxnLst>
                <a:rect l="0" t="0" r="r" b="b"/>
                <a:pathLst>
                  <a:path w="5" h="3">
                    <a:moveTo>
                      <a:pt x="3" y="0"/>
                    </a:moveTo>
                    <a:cubicBezTo>
                      <a:pt x="0" y="1"/>
                      <a:pt x="2" y="3"/>
                      <a:pt x="3" y="3"/>
                    </a:cubicBezTo>
                    <a:cubicBezTo>
                      <a:pt x="4" y="3"/>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Freeform 171"/>
              <p:cNvSpPr/>
              <p:nvPr/>
            </p:nvSpPr>
            <p:spPr bwMode="auto">
              <a:xfrm>
                <a:off x="7191" y="3262"/>
                <a:ext cx="12" cy="7"/>
              </a:xfrm>
              <a:custGeom>
                <a:gdLst>
                  <a:gd name="T0" fmla="*/ 2 w 5"/>
                  <a:gd name="T1" fmla="*/ 0 h 3"/>
                  <a:gd name="T2" fmla="*/ 1 w 5"/>
                  <a:gd name="T3" fmla="*/ 1 h 3"/>
                  <a:gd name="T4" fmla="*/ 0 w 5"/>
                  <a:gd name="T5" fmla="*/ 1 h 3"/>
                  <a:gd name="T6" fmla="*/ 3 w 5"/>
                  <a:gd name="T7" fmla="*/ 3 h 3"/>
                  <a:gd name="T8" fmla="*/ 5 w 5"/>
                  <a:gd name="T9" fmla="*/ 0 h 3"/>
                  <a:gd name="T10" fmla="*/ 2 w 5"/>
                  <a:gd name="T11" fmla="*/ 0 h 3"/>
                </a:gdLst>
                <a:cxnLst>
                  <a:cxn ang="0">
                    <a:pos x="T0" y="T1"/>
                  </a:cxn>
                  <a:cxn ang="0">
                    <a:pos x="T2" y="T3"/>
                  </a:cxn>
                  <a:cxn ang="0">
                    <a:pos x="T4" y="T5"/>
                  </a:cxn>
                  <a:cxn ang="0">
                    <a:pos x="T6" y="T7"/>
                  </a:cxn>
                  <a:cxn ang="0">
                    <a:pos x="T8" y="T9"/>
                  </a:cxn>
                  <a:cxn ang="0">
                    <a:pos x="T10" y="T11"/>
                  </a:cxn>
                </a:cxnLst>
                <a:rect l="0" t="0" r="r" b="b"/>
                <a:pathLst>
                  <a:path w="5" h="3">
                    <a:moveTo>
                      <a:pt x="2" y="0"/>
                    </a:moveTo>
                    <a:cubicBezTo>
                      <a:pt x="1" y="0"/>
                      <a:pt x="1" y="0"/>
                      <a:pt x="1" y="1"/>
                    </a:cubicBezTo>
                    <a:cubicBezTo>
                      <a:pt x="0" y="1"/>
                      <a:pt x="0" y="1"/>
                      <a:pt x="0" y="1"/>
                    </a:cubicBezTo>
                    <a:cubicBezTo>
                      <a:pt x="1" y="2"/>
                      <a:pt x="2" y="3"/>
                      <a:pt x="3" y="3"/>
                    </a:cubicBezTo>
                    <a:cubicBezTo>
                      <a:pt x="3" y="3"/>
                      <a:pt x="4" y="2"/>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Freeform 172"/>
              <p:cNvSpPr/>
              <p:nvPr/>
            </p:nvSpPr>
            <p:spPr bwMode="auto">
              <a:xfrm>
                <a:off x="7207" y="3259"/>
                <a:ext cx="19" cy="15"/>
              </a:xfrm>
              <a:custGeom>
                <a:gdLst>
                  <a:gd name="T0" fmla="*/ 5 w 8"/>
                  <a:gd name="T1" fmla="*/ 0 h 6"/>
                  <a:gd name="T2" fmla="*/ 0 w 8"/>
                  <a:gd name="T3" fmla="*/ 2 h 6"/>
                  <a:gd name="T4" fmla="*/ 2 w 8"/>
                  <a:gd name="T5" fmla="*/ 3 h 6"/>
                  <a:gd name="T6" fmla="*/ 5 w 8"/>
                  <a:gd name="T7" fmla="*/ 6 h 6"/>
                  <a:gd name="T8" fmla="*/ 7 w 8"/>
                  <a:gd name="T9" fmla="*/ 6 h 6"/>
                  <a:gd name="T10" fmla="*/ 8 w 8"/>
                  <a:gd name="T11" fmla="*/ 5 h 6"/>
                  <a:gd name="T12" fmla="*/ 8 w 8"/>
                  <a:gd name="T13" fmla="*/ 2 h 6"/>
                  <a:gd name="T14" fmla="*/ 8 w 8"/>
                  <a:gd name="T15" fmla="*/ 2 h 6"/>
                  <a:gd name="T16" fmla="*/ 7 w 8"/>
                  <a:gd name="T17" fmla="*/ 1 h 6"/>
                  <a:gd name="T18" fmla="*/ 6 w 8"/>
                  <a:gd name="T19" fmla="*/ 0 h 6"/>
                  <a:gd name="T20" fmla="*/ 6 w 8"/>
                  <a:gd name="T21" fmla="*/ 0 h 6"/>
                  <a:gd name="T22" fmla="*/ 5 w 8"/>
                  <a:gd name="T2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6">
                    <a:moveTo>
                      <a:pt x="5" y="0"/>
                    </a:moveTo>
                    <a:cubicBezTo>
                      <a:pt x="3" y="0"/>
                      <a:pt x="1" y="0"/>
                      <a:pt x="0" y="2"/>
                    </a:cubicBezTo>
                    <a:cubicBezTo>
                      <a:pt x="0" y="2"/>
                      <a:pt x="1" y="3"/>
                      <a:pt x="2" y="3"/>
                    </a:cubicBezTo>
                    <a:cubicBezTo>
                      <a:pt x="4" y="4"/>
                      <a:pt x="4" y="6"/>
                      <a:pt x="5" y="6"/>
                    </a:cubicBezTo>
                    <a:cubicBezTo>
                      <a:pt x="5" y="6"/>
                      <a:pt x="6" y="6"/>
                      <a:pt x="7" y="6"/>
                    </a:cubicBezTo>
                    <a:cubicBezTo>
                      <a:pt x="7" y="5"/>
                      <a:pt x="7" y="5"/>
                      <a:pt x="8" y="5"/>
                    </a:cubicBezTo>
                    <a:cubicBezTo>
                      <a:pt x="8" y="4"/>
                      <a:pt x="8" y="3"/>
                      <a:pt x="8" y="2"/>
                    </a:cubicBezTo>
                    <a:cubicBezTo>
                      <a:pt x="8" y="2"/>
                      <a:pt x="8" y="2"/>
                      <a:pt x="8" y="2"/>
                    </a:cubicBezTo>
                    <a:cubicBezTo>
                      <a:pt x="8" y="2"/>
                      <a:pt x="7" y="2"/>
                      <a:pt x="7" y="1"/>
                    </a:cubicBezTo>
                    <a:cubicBezTo>
                      <a:pt x="6" y="0"/>
                      <a:pt x="6" y="0"/>
                      <a:pt x="6" y="0"/>
                    </a:cubicBezTo>
                    <a:cubicBezTo>
                      <a:pt x="6" y="0"/>
                      <a:pt x="6" y="0"/>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Freeform 173"/>
              <p:cNvSpPr/>
              <p:nvPr/>
            </p:nvSpPr>
            <p:spPr bwMode="auto">
              <a:xfrm>
                <a:off x="6938" y="3314"/>
                <a:ext cx="12" cy="16"/>
              </a:xfrm>
              <a:custGeom>
                <a:gdLst>
                  <a:gd name="T0" fmla="*/ 0 w 5"/>
                  <a:gd name="T1" fmla="*/ 0 h 7"/>
                  <a:gd name="T2" fmla="*/ 5 w 5"/>
                  <a:gd name="T3" fmla="*/ 7 h 7"/>
                  <a:gd name="T4" fmla="*/ 0 w 5"/>
                  <a:gd name="T5" fmla="*/ 0 h 7"/>
                </a:gdLst>
                <a:cxnLst>
                  <a:cxn ang="0">
                    <a:pos x="T0" y="T1"/>
                  </a:cxn>
                  <a:cxn ang="0">
                    <a:pos x="T2" y="T3"/>
                  </a:cxn>
                  <a:cxn ang="0">
                    <a:pos x="T4" y="T5"/>
                  </a:cxn>
                </a:cxnLst>
                <a:rect l="0" t="0" r="r" b="b"/>
                <a:pathLst>
                  <a:path w="5" h="7">
                    <a:moveTo>
                      <a:pt x="0" y="0"/>
                    </a:moveTo>
                    <a:cubicBezTo>
                      <a:pt x="2" y="2"/>
                      <a:pt x="4" y="5"/>
                      <a:pt x="5" y="7"/>
                    </a:cubicBezTo>
                    <a:cubicBezTo>
                      <a:pt x="5" y="6"/>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Freeform 174"/>
              <p:cNvSpPr/>
              <p:nvPr/>
            </p:nvSpPr>
            <p:spPr bwMode="auto">
              <a:xfrm>
                <a:off x="8162" y="3146"/>
                <a:ext cx="12" cy="16"/>
              </a:xfrm>
              <a:custGeom>
                <a:gdLst>
                  <a:gd name="T0" fmla="*/ 0 w 5"/>
                  <a:gd name="T1" fmla="*/ 0 h 7"/>
                  <a:gd name="T2" fmla="*/ 0 w 5"/>
                  <a:gd name="T3" fmla="*/ 0 h 7"/>
                  <a:gd name="T4" fmla="*/ 4 w 5"/>
                  <a:gd name="T5" fmla="*/ 7 h 7"/>
                  <a:gd name="T6" fmla="*/ 2 w 5"/>
                  <a:gd name="T7" fmla="*/ 3 h 7"/>
                  <a:gd name="T8" fmla="*/ 0 w 5"/>
                  <a:gd name="T9" fmla="*/ 0 h 7"/>
                </a:gdLst>
                <a:cxnLst>
                  <a:cxn ang="0">
                    <a:pos x="T0" y="T1"/>
                  </a:cxn>
                  <a:cxn ang="0">
                    <a:pos x="T2" y="T3"/>
                  </a:cxn>
                  <a:cxn ang="0">
                    <a:pos x="T4" y="T5"/>
                  </a:cxn>
                  <a:cxn ang="0">
                    <a:pos x="T6" y="T7"/>
                  </a:cxn>
                  <a:cxn ang="0">
                    <a:pos x="T8" y="T9"/>
                  </a:cxn>
                </a:cxnLst>
                <a:rect l="0" t="0" r="r" b="b"/>
                <a:pathLst>
                  <a:path w="5" h="7">
                    <a:moveTo>
                      <a:pt x="0" y="0"/>
                    </a:moveTo>
                    <a:cubicBezTo>
                      <a:pt x="0" y="0"/>
                      <a:pt x="0" y="0"/>
                      <a:pt x="0" y="0"/>
                    </a:cubicBezTo>
                    <a:cubicBezTo>
                      <a:pt x="1" y="2"/>
                      <a:pt x="2" y="5"/>
                      <a:pt x="4" y="7"/>
                    </a:cubicBezTo>
                    <a:cubicBezTo>
                      <a:pt x="5" y="4"/>
                      <a:pt x="4" y="4"/>
                      <a:pt x="2" y="3"/>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Freeform 175"/>
              <p:cNvSpPr/>
              <p:nvPr/>
            </p:nvSpPr>
            <p:spPr bwMode="auto">
              <a:xfrm>
                <a:off x="7989" y="3333"/>
                <a:ext cx="12" cy="4"/>
              </a:xfrm>
              <a:custGeom>
                <a:gdLst>
                  <a:gd name="T0" fmla="*/ 1 w 5"/>
                  <a:gd name="T1" fmla="*/ 0 h 2"/>
                  <a:gd name="T2" fmla="*/ 0 w 5"/>
                  <a:gd name="T3" fmla="*/ 2 h 2"/>
                  <a:gd name="T4" fmla="*/ 5 w 5"/>
                  <a:gd name="T5" fmla="*/ 1 h 2"/>
                  <a:gd name="T6" fmla="*/ 1 w 5"/>
                  <a:gd name="T7" fmla="*/ 0 h 2"/>
                </a:gdLst>
                <a:cxnLst>
                  <a:cxn ang="0">
                    <a:pos x="T0" y="T1"/>
                  </a:cxn>
                  <a:cxn ang="0">
                    <a:pos x="T2" y="T3"/>
                  </a:cxn>
                  <a:cxn ang="0">
                    <a:pos x="T4" y="T5"/>
                  </a:cxn>
                  <a:cxn ang="0">
                    <a:pos x="T6" y="T7"/>
                  </a:cxn>
                </a:cxnLst>
                <a:rect l="0" t="0" r="r" b="b"/>
                <a:pathLst>
                  <a:path w="5" h="2">
                    <a:moveTo>
                      <a:pt x="1" y="0"/>
                    </a:moveTo>
                    <a:cubicBezTo>
                      <a:pt x="1" y="1"/>
                      <a:pt x="1" y="1"/>
                      <a:pt x="0" y="2"/>
                    </a:cubicBezTo>
                    <a:cubicBezTo>
                      <a:pt x="2" y="2"/>
                      <a:pt x="4" y="2"/>
                      <a:pt x="5" y="1"/>
                    </a:cubicBezTo>
                    <a:cubicBezTo>
                      <a:pt x="4"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Freeform 176"/>
              <p:cNvSpPr/>
              <p:nvPr/>
            </p:nvSpPr>
            <p:spPr bwMode="auto">
              <a:xfrm>
                <a:off x="7411" y="3179"/>
                <a:ext cx="7" cy="5"/>
              </a:xfrm>
              <a:custGeom>
                <a:gdLst>
                  <a:gd name="T0" fmla="*/ 2 w 3"/>
                  <a:gd name="T1" fmla="*/ 0 h 2"/>
                  <a:gd name="T2" fmla="*/ 0 w 3"/>
                  <a:gd name="T3" fmla="*/ 1 h 2"/>
                  <a:gd name="T4" fmla="*/ 1 w 3"/>
                  <a:gd name="T5" fmla="*/ 2 h 2"/>
                  <a:gd name="T6" fmla="*/ 2 w 3"/>
                  <a:gd name="T7" fmla="*/ 0 h 2"/>
                </a:gdLst>
                <a:cxnLst>
                  <a:cxn ang="0">
                    <a:pos x="T0" y="T1"/>
                  </a:cxn>
                  <a:cxn ang="0">
                    <a:pos x="T2" y="T3"/>
                  </a:cxn>
                  <a:cxn ang="0">
                    <a:pos x="T4" y="T5"/>
                  </a:cxn>
                  <a:cxn ang="0">
                    <a:pos x="T6" y="T7"/>
                  </a:cxn>
                </a:cxnLst>
                <a:rect l="0" t="0" r="r" b="b"/>
                <a:pathLst>
                  <a:path w="3" h="2">
                    <a:moveTo>
                      <a:pt x="2" y="0"/>
                    </a:moveTo>
                    <a:cubicBezTo>
                      <a:pt x="2" y="0"/>
                      <a:pt x="1" y="1"/>
                      <a:pt x="0" y="1"/>
                    </a:cubicBezTo>
                    <a:cubicBezTo>
                      <a:pt x="1" y="2"/>
                      <a:pt x="1" y="2"/>
                      <a:pt x="1" y="2"/>
                    </a:cubicBezTo>
                    <a:cubicBezTo>
                      <a:pt x="2" y="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Freeform 177"/>
              <p:cNvSpPr>
                <a:spLocks noEditPoints="1"/>
              </p:cNvSpPr>
              <p:nvPr/>
            </p:nvSpPr>
            <p:spPr bwMode="auto">
              <a:xfrm>
                <a:off x="7852" y="3210"/>
                <a:ext cx="3" cy="5"/>
              </a:xfrm>
              <a:custGeom>
                <a:gdLst>
                  <a:gd name="T0" fmla="*/ 1 w 1"/>
                  <a:gd name="T1" fmla="*/ 2 h 2"/>
                  <a:gd name="T2" fmla="*/ 1 w 1"/>
                  <a:gd name="T3" fmla="*/ 2 h 2"/>
                  <a:gd name="T4" fmla="*/ 1 w 1"/>
                  <a:gd name="T5" fmla="*/ 2 h 2"/>
                  <a:gd name="T6" fmla="*/ 0 w 1"/>
                  <a:gd name="T7" fmla="*/ 0 h 2"/>
                  <a:gd name="T8" fmla="*/ 1 w 1"/>
                  <a:gd name="T9" fmla="*/ 2 h 2"/>
                  <a:gd name="T10" fmla="*/ 0 w 1"/>
                  <a:gd name="T11" fmla="*/ 0 h 2"/>
                </a:gdLst>
                <a:cxnLst>
                  <a:cxn ang="0">
                    <a:pos x="T0" y="T1"/>
                  </a:cxn>
                  <a:cxn ang="0">
                    <a:pos x="T2" y="T3"/>
                  </a:cxn>
                  <a:cxn ang="0">
                    <a:pos x="T4" y="T5"/>
                  </a:cxn>
                  <a:cxn ang="0">
                    <a:pos x="T6" y="T7"/>
                  </a:cxn>
                  <a:cxn ang="0">
                    <a:pos x="T8" y="T9"/>
                  </a:cxn>
                  <a:cxn ang="0">
                    <a:pos x="T10" y="T11"/>
                  </a:cxn>
                </a:cxnLst>
                <a:rect l="0" t="0" r="r" b="b"/>
                <a:pathLst>
                  <a:path w="1" h="2">
                    <a:moveTo>
                      <a:pt x="1" y="2"/>
                    </a:moveTo>
                    <a:cubicBezTo>
                      <a:pt x="1" y="2"/>
                      <a:pt x="1" y="2"/>
                      <a:pt x="1" y="2"/>
                    </a:cubicBezTo>
                    <a:cubicBezTo>
                      <a:pt x="1" y="2"/>
                      <a:pt x="1" y="2"/>
                      <a:pt x="1" y="2"/>
                    </a:cubicBezTo>
                    <a:moveTo>
                      <a:pt x="0" y="0"/>
                    </a:moveTo>
                    <a:cubicBezTo>
                      <a:pt x="0" y="1"/>
                      <a:pt x="1" y="1"/>
                      <a:pt x="1"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Freeform 178"/>
              <p:cNvSpPr/>
              <p:nvPr/>
            </p:nvSpPr>
            <p:spPr bwMode="auto">
              <a:xfrm>
                <a:off x="7439" y="3356"/>
                <a:ext cx="16" cy="15"/>
              </a:xfrm>
              <a:custGeom>
                <a:gdLst>
                  <a:gd name="T0" fmla="*/ 2 w 7"/>
                  <a:gd name="T1" fmla="*/ 0 h 6"/>
                  <a:gd name="T2" fmla="*/ 2 w 7"/>
                  <a:gd name="T3" fmla="*/ 0 h 6"/>
                  <a:gd name="T4" fmla="*/ 2 w 7"/>
                  <a:gd name="T5" fmla="*/ 0 h 6"/>
                  <a:gd name="T6" fmla="*/ 1 w 7"/>
                  <a:gd name="T7" fmla="*/ 0 h 6"/>
                  <a:gd name="T8" fmla="*/ 1 w 7"/>
                  <a:gd name="T9" fmla="*/ 0 h 6"/>
                  <a:gd name="T10" fmla="*/ 1 w 7"/>
                  <a:gd name="T11" fmla="*/ 1 h 6"/>
                  <a:gd name="T12" fmla="*/ 1 w 7"/>
                  <a:gd name="T13" fmla="*/ 1 h 6"/>
                  <a:gd name="T14" fmla="*/ 0 w 7"/>
                  <a:gd name="T15" fmla="*/ 6 h 6"/>
                  <a:gd name="T16" fmla="*/ 7 w 7"/>
                  <a:gd name="T17" fmla="*/ 3 h 6"/>
                  <a:gd name="T18" fmla="*/ 7 w 7"/>
                  <a:gd name="T19" fmla="*/ 3 h 6"/>
                  <a:gd name="T20" fmla="*/ 7 w 7"/>
                  <a:gd name="T21" fmla="*/ 2 h 6"/>
                  <a:gd name="T22" fmla="*/ 7 w 7"/>
                  <a:gd name="T23" fmla="*/ 2 h 6"/>
                  <a:gd name="T24" fmla="*/ 7 w 7"/>
                  <a:gd name="T25" fmla="*/ 1 h 6"/>
                  <a:gd name="T26" fmla="*/ 5 w 7"/>
                  <a:gd name="T27" fmla="*/ 1 h 6"/>
                  <a:gd name="T28" fmla="*/ 4 w 7"/>
                  <a:gd name="T29" fmla="*/ 1 h 6"/>
                  <a:gd name="T30" fmla="*/ 2 w 7"/>
                  <a:gd name="T3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
                    <a:moveTo>
                      <a:pt x="2" y="0"/>
                    </a:moveTo>
                    <a:cubicBezTo>
                      <a:pt x="2" y="0"/>
                      <a:pt x="2" y="0"/>
                      <a:pt x="2" y="0"/>
                    </a:cubicBezTo>
                    <a:cubicBezTo>
                      <a:pt x="2" y="0"/>
                      <a:pt x="2" y="0"/>
                      <a:pt x="2" y="0"/>
                    </a:cubicBezTo>
                    <a:cubicBezTo>
                      <a:pt x="1" y="0"/>
                      <a:pt x="1" y="0"/>
                      <a:pt x="1" y="0"/>
                    </a:cubicBezTo>
                    <a:cubicBezTo>
                      <a:pt x="1" y="0"/>
                      <a:pt x="1" y="0"/>
                      <a:pt x="1" y="0"/>
                    </a:cubicBezTo>
                    <a:cubicBezTo>
                      <a:pt x="1" y="1"/>
                      <a:pt x="1" y="1"/>
                      <a:pt x="1" y="1"/>
                    </a:cubicBezTo>
                    <a:cubicBezTo>
                      <a:pt x="1" y="1"/>
                      <a:pt x="1" y="1"/>
                      <a:pt x="1" y="1"/>
                    </a:cubicBezTo>
                    <a:cubicBezTo>
                      <a:pt x="0" y="2"/>
                      <a:pt x="1" y="4"/>
                      <a:pt x="0" y="6"/>
                    </a:cubicBezTo>
                    <a:cubicBezTo>
                      <a:pt x="2" y="5"/>
                      <a:pt x="6" y="5"/>
                      <a:pt x="7" y="3"/>
                    </a:cubicBezTo>
                    <a:cubicBezTo>
                      <a:pt x="7" y="3"/>
                      <a:pt x="7" y="3"/>
                      <a:pt x="7" y="3"/>
                    </a:cubicBezTo>
                    <a:cubicBezTo>
                      <a:pt x="7" y="2"/>
                      <a:pt x="7" y="2"/>
                      <a:pt x="7" y="2"/>
                    </a:cubicBezTo>
                    <a:cubicBezTo>
                      <a:pt x="7" y="2"/>
                      <a:pt x="7" y="2"/>
                      <a:pt x="7" y="2"/>
                    </a:cubicBezTo>
                    <a:cubicBezTo>
                      <a:pt x="7" y="1"/>
                      <a:pt x="7" y="1"/>
                      <a:pt x="7" y="1"/>
                    </a:cubicBezTo>
                    <a:cubicBezTo>
                      <a:pt x="6" y="1"/>
                      <a:pt x="5" y="1"/>
                      <a:pt x="5" y="1"/>
                    </a:cubicBezTo>
                    <a:cubicBezTo>
                      <a:pt x="4" y="1"/>
                      <a:pt x="4" y="1"/>
                      <a:pt x="4" y="1"/>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2" name="Freeform 179"/>
              <p:cNvSpPr/>
              <p:nvPr/>
            </p:nvSpPr>
            <p:spPr bwMode="auto">
              <a:xfrm>
                <a:off x="8235" y="3326"/>
                <a:ext cx="7" cy="11"/>
              </a:xfrm>
              <a:custGeom>
                <a:gdLst>
                  <a:gd name="T0" fmla="*/ 2 w 3"/>
                  <a:gd name="T1" fmla="*/ 0 h 5"/>
                  <a:gd name="T2" fmla="*/ 0 w 3"/>
                  <a:gd name="T3" fmla="*/ 3 h 5"/>
                  <a:gd name="T4" fmla="*/ 0 w 3"/>
                  <a:gd name="T5" fmla="*/ 3 h 5"/>
                  <a:gd name="T6" fmla="*/ 0 w 3"/>
                  <a:gd name="T7" fmla="*/ 4 h 5"/>
                  <a:gd name="T8" fmla="*/ 1 w 3"/>
                  <a:gd name="T9" fmla="*/ 4 h 5"/>
                  <a:gd name="T10" fmla="*/ 0 w 3"/>
                  <a:gd name="T11" fmla="*/ 4 h 5"/>
                  <a:gd name="T12" fmla="*/ 1 w 3"/>
                  <a:gd name="T13" fmla="*/ 5 h 5"/>
                  <a:gd name="T14" fmla="*/ 3 w 3"/>
                  <a:gd name="T15" fmla="*/ 0 h 5"/>
                  <a:gd name="T16" fmla="*/ 2 w 3"/>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2" y="0"/>
                    </a:moveTo>
                    <a:cubicBezTo>
                      <a:pt x="0" y="0"/>
                      <a:pt x="0" y="1"/>
                      <a:pt x="0" y="3"/>
                    </a:cubicBezTo>
                    <a:cubicBezTo>
                      <a:pt x="0" y="3"/>
                      <a:pt x="0" y="3"/>
                      <a:pt x="0" y="3"/>
                    </a:cubicBezTo>
                    <a:cubicBezTo>
                      <a:pt x="0" y="3"/>
                      <a:pt x="0" y="3"/>
                      <a:pt x="0" y="4"/>
                    </a:cubicBezTo>
                    <a:cubicBezTo>
                      <a:pt x="1" y="4"/>
                      <a:pt x="1" y="4"/>
                      <a:pt x="1" y="4"/>
                    </a:cubicBezTo>
                    <a:cubicBezTo>
                      <a:pt x="0" y="4"/>
                      <a:pt x="0" y="4"/>
                      <a:pt x="0" y="4"/>
                    </a:cubicBezTo>
                    <a:cubicBezTo>
                      <a:pt x="1" y="5"/>
                      <a:pt x="1" y="5"/>
                      <a:pt x="1" y="5"/>
                    </a:cubicBezTo>
                    <a:cubicBezTo>
                      <a:pt x="3" y="5"/>
                      <a:pt x="3"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3" name="Freeform 180"/>
              <p:cNvSpPr/>
              <p:nvPr/>
            </p:nvSpPr>
            <p:spPr bwMode="auto">
              <a:xfrm>
                <a:off x="7188" y="3267"/>
                <a:ext cx="5" cy="4"/>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0" y="0"/>
                      <a:pt x="0" y="0"/>
                      <a:pt x="0" y="0"/>
                    </a:cubicBezTo>
                    <a:cubicBezTo>
                      <a:pt x="1" y="1"/>
                      <a:pt x="1" y="2"/>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Freeform 181"/>
              <p:cNvSpPr/>
              <p:nvPr/>
            </p:nvSpPr>
            <p:spPr bwMode="auto">
              <a:xfrm>
                <a:off x="7200" y="3271"/>
                <a:ext cx="7" cy="7"/>
              </a:xfrm>
              <a:custGeom>
                <a:gdLst>
                  <a:gd name="T0" fmla="*/ 0 w 3"/>
                  <a:gd name="T1" fmla="*/ 0 h 3"/>
                  <a:gd name="T2" fmla="*/ 1 w 3"/>
                  <a:gd name="T3" fmla="*/ 3 h 3"/>
                  <a:gd name="T4" fmla="*/ 3 w 3"/>
                  <a:gd name="T5" fmla="*/ 1 h 3"/>
                  <a:gd name="T6" fmla="*/ 0 w 3"/>
                  <a:gd name="T7" fmla="*/ 0 h 3"/>
                </a:gdLst>
                <a:cxnLst>
                  <a:cxn ang="0">
                    <a:pos x="T0" y="T1"/>
                  </a:cxn>
                  <a:cxn ang="0">
                    <a:pos x="T2" y="T3"/>
                  </a:cxn>
                  <a:cxn ang="0">
                    <a:pos x="T4" y="T5"/>
                  </a:cxn>
                  <a:cxn ang="0">
                    <a:pos x="T6" y="T7"/>
                  </a:cxn>
                </a:cxnLst>
                <a:rect l="0" t="0" r="r" b="b"/>
                <a:pathLst>
                  <a:path w="3" h="3">
                    <a:moveTo>
                      <a:pt x="0" y="0"/>
                    </a:moveTo>
                    <a:cubicBezTo>
                      <a:pt x="0" y="1"/>
                      <a:pt x="1" y="2"/>
                      <a:pt x="1" y="3"/>
                    </a:cubicBezTo>
                    <a:cubicBezTo>
                      <a:pt x="2" y="2"/>
                      <a:pt x="3" y="2"/>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5" name="Freeform 182"/>
              <p:cNvSpPr/>
              <p:nvPr/>
            </p:nvSpPr>
            <p:spPr bwMode="auto">
              <a:xfrm>
                <a:off x="7271" y="3174"/>
                <a:ext cx="7" cy="12"/>
              </a:xfrm>
              <a:custGeom>
                <a:gdLst>
                  <a:gd name="T0" fmla="*/ 1 w 3"/>
                  <a:gd name="T1" fmla="*/ 0 h 5"/>
                  <a:gd name="T2" fmla="*/ 1 w 3"/>
                  <a:gd name="T3" fmla="*/ 5 h 5"/>
                  <a:gd name="T4" fmla="*/ 3 w 3"/>
                  <a:gd name="T5" fmla="*/ 2 h 5"/>
                  <a:gd name="T6" fmla="*/ 1 w 3"/>
                  <a:gd name="T7" fmla="*/ 0 h 5"/>
                </a:gdLst>
                <a:cxnLst>
                  <a:cxn ang="0">
                    <a:pos x="T0" y="T1"/>
                  </a:cxn>
                  <a:cxn ang="0">
                    <a:pos x="T2" y="T3"/>
                  </a:cxn>
                  <a:cxn ang="0">
                    <a:pos x="T4" y="T5"/>
                  </a:cxn>
                  <a:cxn ang="0">
                    <a:pos x="T6" y="T7"/>
                  </a:cxn>
                </a:cxnLst>
                <a:rect l="0" t="0" r="r" b="b"/>
                <a:pathLst>
                  <a:path w="3" h="5">
                    <a:moveTo>
                      <a:pt x="1" y="0"/>
                    </a:moveTo>
                    <a:cubicBezTo>
                      <a:pt x="0" y="2"/>
                      <a:pt x="1" y="3"/>
                      <a:pt x="1" y="5"/>
                    </a:cubicBezTo>
                    <a:cubicBezTo>
                      <a:pt x="2" y="4"/>
                      <a:pt x="3" y="3"/>
                      <a:pt x="3" y="2"/>
                    </a:cubicBezTo>
                    <a:cubicBezTo>
                      <a:pt x="2"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Freeform 183"/>
              <p:cNvSpPr/>
              <p:nvPr/>
            </p:nvSpPr>
            <p:spPr bwMode="auto">
              <a:xfrm>
                <a:off x="8252" y="3366"/>
                <a:ext cx="9" cy="5"/>
              </a:xfrm>
              <a:custGeom>
                <a:gdLst>
                  <a:gd name="T0" fmla="*/ 2 w 4"/>
                  <a:gd name="T1" fmla="*/ 0 h 2"/>
                  <a:gd name="T2" fmla="*/ 0 w 4"/>
                  <a:gd name="T3" fmla="*/ 1 h 2"/>
                  <a:gd name="T4" fmla="*/ 4 w 4"/>
                  <a:gd name="T5" fmla="*/ 2 h 2"/>
                  <a:gd name="T6" fmla="*/ 4 w 4"/>
                  <a:gd name="T7" fmla="*/ 2 h 2"/>
                  <a:gd name="T8" fmla="*/ 2 w 4"/>
                  <a:gd name="T9" fmla="*/ 0 h 2"/>
                </a:gdLst>
                <a:cxnLst>
                  <a:cxn ang="0">
                    <a:pos x="T0" y="T1"/>
                  </a:cxn>
                  <a:cxn ang="0">
                    <a:pos x="T2" y="T3"/>
                  </a:cxn>
                  <a:cxn ang="0">
                    <a:pos x="T4" y="T5"/>
                  </a:cxn>
                  <a:cxn ang="0">
                    <a:pos x="T6" y="T7"/>
                  </a:cxn>
                  <a:cxn ang="0">
                    <a:pos x="T8" y="T9"/>
                  </a:cxn>
                </a:cxnLst>
                <a:rect l="0" t="0" r="r" b="b"/>
                <a:pathLst>
                  <a:path w="4" h="2">
                    <a:moveTo>
                      <a:pt x="2" y="0"/>
                    </a:moveTo>
                    <a:cubicBezTo>
                      <a:pt x="1" y="0"/>
                      <a:pt x="1" y="1"/>
                      <a:pt x="0" y="1"/>
                    </a:cubicBezTo>
                    <a:cubicBezTo>
                      <a:pt x="1" y="2"/>
                      <a:pt x="2" y="2"/>
                      <a:pt x="4" y="2"/>
                    </a:cubicBezTo>
                    <a:cubicBezTo>
                      <a:pt x="4" y="2"/>
                      <a:pt x="4" y="2"/>
                      <a:pt x="4" y="2"/>
                    </a:cubicBezTo>
                    <a:cubicBezTo>
                      <a:pt x="4" y="1"/>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7" name="Freeform 184"/>
              <p:cNvSpPr/>
              <p:nvPr/>
            </p:nvSpPr>
            <p:spPr bwMode="auto">
              <a:xfrm>
                <a:off x="6938" y="3326"/>
                <a:ext cx="12" cy="11"/>
              </a:xfrm>
              <a:custGeom>
                <a:gdLst>
                  <a:gd name="T0" fmla="*/ 3 w 5"/>
                  <a:gd name="T1" fmla="*/ 0 h 5"/>
                  <a:gd name="T2" fmla="*/ 2 w 5"/>
                  <a:gd name="T3" fmla="*/ 2 h 5"/>
                  <a:gd name="T4" fmla="*/ 0 w 5"/>
                  <a:gd name="T5" fmla="*/ 5 h 5"/>
                  <a:gd name="T6" fmla="*/ 2 w 5"/>
                  <a:gd name="T7" fmla="*/ 5 h 5"/>
                  <a:gd name="T8" fmla="*/ 4 w 5"/>
                  <a:gd name="T9" fmla="*/ 4 h 5"/>
                  <a:gd name="T10" fmla="*/ 3 w 5"/>
                  <a:gd name="T11" fmla="*/ 0 h 5"/>
                </a:gdLst>
                <a:cxnLst>
                  <a:cxn ang="0">
                    <a:pos x="T0" y="T1"/>
                  </a:cxn>
                  <a:cxn ang="0">
                    <a:pos x="T2" y="T3"/>
                  </a:cxn>
                  <a:cxn ang="0">
                    <a:pos x="T4" y="T5"/>
                  </a:cxn>
                  <a:cxn ang="0">
                    <a:pos x="T6" y="T7"/>
                  </a:cxn>
                  <a:cxn ang="0">
                    <a:pos x="T8" y="T9"/>
                  </a:cxn>
                  <a:cxn ang="0">
                    <a:pos x="T10" y="T11"/>
                  </a:cxn>
                </a:cxnLst>
                <a:rect l="0" t="0" r="r" b="b"/>
                <a:pathLst>
                  <a:path w="5" h="5">
                    <a:moveTo>
                      <a:pt x="3" y="0"/>
                    </a:moveTo>
                    <a:cubicBezTo>
                      <a:pt x="3" y="0"/>
                      <a:pt x="2" y="0"/>
                      <a:pt x="2" y="2"/>
                    </a:cubicBezTo>
                    <a:cubicBezTo>
                      <a:pt x="1" y="3"/>
                      <a:pt x="2" y="5"/>
                      <a:pt x="0" y="5"/>
                    </a:cubicBezTo>
                    <a:cubicBezTo>
                      <a:pt x="1" y="5"/>
                      <a:pt x="1" y="5"/>
                      <a:pt x="2" y="5"/>
                    </a:cubicBezTo>
                    <a:cubicBezTo>
                      <a:pt x="3" y="5"/>
                      <a:pt x="3" y="4"/>
                      <a:pt x="4" y="4"/>
                    </a:cubicBezTo>
                    <a:cubicBezTo>
                      <a:pt x="5" y="2"/>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Freeform 185"/>
              <p:cNvSpPr/>
              <p:nvPr/>
            </p:nvSpPr>
            <p:spPr bwMode="auto">
              <a:xfrm>
                <a:off x="6886" y="3212"/>
                <a:ext cx="9" cy="10"/>
              </a:xfrm>
              <a:custGeom>
                <a:gdLst>
                  <a:gd name="T0" fmla="*/ 1 w 4"/>
                  <a:gd name="T1" fmla="*/ 0 h 4"/>
                  <a:gd name="T2" fmla="*/ 0 w 4"/>
                  <a:gd name="T3" fmla="*/ 0 h 4"/>
                  <a:gd name="T4" fmla="*/ 4 w 4"/>
                  <a:gd name="T5" fmla="*/ 4 h 4"/>
                  <a:gd name="T6" fmla="*/ 1 w 4"/>
                  <a:gd name="T7" fmla="*/ 0 h 4"/>
                </a:gdLst>
                <a:cxnLst>
                  <a:cxn ang="0">
                    <a:pos x="T0" y="T1"/>
                  </a:cxn>
                  <a:cxn ang="0">
                    <a:pos x="T2" y="T3"/>
                  </a:cxn>
                  <a:cxn ang="0">
                    <a:pos x="T4" y="T5"/>
                  </a:cxn>
                  <a:cxn ang="0">
                    <a:pos x="T6" y="T7"/>
                  </a:cxn>
                </a:cxnLst>
                <a:rect l="0" t="0" r="r" b="b"/>
                <a:pathLst>
                  <a:path w="4" h="4">
                    <a:moveTo>
                      <a:pt x="1" y="0"/>
                    </a:moveTo>
                    <a:cubicBezTo>
                      <a:pt x="1" y="0"/>
                      <a:pt x="0" y="0"/>
                      <a:pt x="0" y="0"/>
                    </a:cubicBezTo>
                    <a:cubicBezTo>
                      <a:pt x="1" y="2"/>
                      <a:pt x="3" y="3"/>
                      <a:pt x="4" y="4"/>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186"/>
              <p:cNvSpPr/>
              <p:nvPr/>
            </p:nvSpPr>
            <p:spPr bwMode="auto">
              <a:xfrm>
                <a:off x="8625" y="3347"/>
                <a:ext cx="29" cy="21"/>
              </a:xfrm>
              <a:custGeom>
                <a:gdLst>
                  <a:gd name="T0" fmla="*/ 1 w 12"/>
                  <a:gd name="T1" fmla="*/ 0 h 9"/>
                  <a:gd name="T2" fmla="*/ 0 w 12"/>
                  <a:gd name="T3" fmla="*/ 0 h 9"/>
                  <a:gd name="T4" fmla="*/ 3 w 12"/>
                  <a:gd name="T5" fmla="*/ 9 h 9"/>
                  <a:gd name="T6" fmla="*/ 4 w 12"/>
                  <a:gd name="T7" fmla="*/ 9 h 9"/>
                  <a:gd name="T8" fmla="*/ 5 w 12"/>
                  <a:gd name="T9" fmla="*/ 9 h 9"/>
                  <a:gd name="T10" fmla="*/ 6 w 12"/>
                  <a:gd name="T11" fmla="*/ 9 h 9"/>
                  <a:gd name="T12" fmla="*/ 6 w 12"/>
                  <a:gd name="T13" fmla="*/ 9 h 9"/>
                  <a:gd name="T14" fmla="*/ 7 w 12"/>
                  <a:gd name="T15" fmla="*/ 9 h 9"/>
                  <a:gd name="T16" fmla="*/ 12 w 12"/>
                  <a:gd name="T17" fmla="*/ 7 h 9"/>
                  <a:gd name="T18" fmla="*/ 12 w 12"/>
                  <a:gd name="T19" fmla="*/ 7 h 9"/>
                  <a:gd name="T20" fmla="*/ 10 w 12"/>
                  <a:gd name="T21" fmla="*/ 6 h 9"/>
                  <a:gd name="T22" fmla="*/ 8 w 12"/>
                  <a:gd name="T23" fmla="*/ 6 h 9"/>
                  <a:gd name="T24" fmla="*/ 6 w 12"/>
                  <a:gd name="T25" fmla="*/ 3 h 9"/>
                  <a:gd name="T26" fmla="*/ 1 w 12"/>
                  <a:gd name="T2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1" y="0"/>
                    </a:moveTo>
                    <a:cubicBezTo>
                      <a:pt x="1" y="0"/>
                      <a:pt x="1" y="0"/>
                      <a:pt x="0" y="0"/>
                    </a:cubicBezTo>
                    <a:cubicBezTo>
                      <a:pt x="1" y="2"/>
                      <a:pt x="1" y="8"/>
                      <a:pt x="3" y="9"/>
                    </a:cubicBezTo>
                    <a:cubicBezTo>
                      <a:pt x="3" y="9"/>
                      <a:pt x="3" y="9"/>
                      <a:pt x="4" y="9"/>
                    </a:cubicBezTo>
                    <a:cubicBezTo>
                      <a:pt x="4" y="9"/>
                      <a:pt x="5" y="9"/>
                      <a:pt x="5" y="9"/>
                    </a:cubicBezTo>
                    <a:cubicBezTo>
                      <a:pt x="5" y="9"/>
                      <a:pt x="6" y="9"/>
                      <a:pt x="6" y="9"/>
                    </a:cubicBezTo>
                    <a:cubicBezTo>
                      <a:pt x="6" y="9"/>
                      <a:pt x="6" y="9"/>
                      <a:pt x="6" y="9"/>
                    </a:cubicBezTo>
                    <a:cubicBezTo>
                      <a:pt x="6" y="9"/>
                      <a:pt x="7" y="9"/>
                      <a:pt x="7" y="9"/>
                    </a:cubicBezTo>
                    <a:cubicBezTo>
                      <a:pt x="9" y="9"/>
                      <a:pt x="10" y="8"/>
                      <a:pt x="12" y="7"/>
                    </a:cubicBezTo>
                    <a:cubicBezTo>
                      <a:pt x="12" y="7"/>
                      <a:pt x="12" y="7"/>
                      <a:pt x="12" y="7"/>
                    </a:cubicBezTo>
                    <a:cubicBezTo>
                      <a:pt x="11" y="7"/>
                      <a:pt x="11" y="7"/>
                      <a:pt x="10" y="6"/>
                    </a:cubicBezTo>
                    <a:cubicBezTo>
                      <a:pt x="8" y="6"/>
                      <a:pt x="8" y="6"/>
                      <a:pt x="8" y="6"/>
                    </a:cubicBezTo>
                    <a:cubicBezTo>
                      <a:pt x="7" y="6"/>
                      <a:pt x="7" y="4"/>
                      <a:pt x="6" y="3"/>
                    </a:cubicBezTo>
                    <a:cubicBezTo>
                      <a:pt x="6"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Freeform 187"/>
              <p:cNvSpPr/>
              <p:nvPr/>
            </p:nvSpPr>
            <p:spPr bwMode="auto">
              <a:xfrm>
                <a:off x="8396" y="3354"/>
                <a:ext cx="19" cy="19"/>
              </a:xfrm>
              <a:custGeom>
                <a:gdLst>
                  <a:gd name="T0" fmla="*/ 5 w 8"/>
                  <a:gd name="T1" fmla="*/ 0 h 8"/>
                  <a:gd name="T2" fmla="*/ 4 w 8"/>
                  <a:gd name="T3" fmla="*/ 0 h 8"/>
                  <a:gd name="T4" fmla="*/ 1 w 8"/>
                  <a:gd name="T5" fmla="*/ 4 h 8"/>
                  <a:gd name="T6" fmla="*/ 4 w 8"/>
                  <a:gd name="T7" fmla="*/ 8 h 8"/>
                  <a:gd name="T8" fmla="*/ 4 w 8"/>
                  <a:gd name="T9" fmla="*/ 8 h 8"/>
                  <a:gd name="T10" fmla="*/ 8 w 8"/>
                  <a:gd name="T11" fmla="*/ 2 h 8"/>
                  <a:gd name="T12" fmla="*/ 5 w 8"/>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8" h="8">
                    <a:moveTo>
                      <a:pt x="5" y="0"/>
                    </a:moveTo>
                    <a:cubicBezTo>
                      <a:pt x="4" y="0"/>
                      <a:pt x="4" y="0"/>
                      <a:pt x="4" y="0"/>
                    </a:cubicBezTo>
                    <a:cubicBezTo>
                      <a:pt x="1" y="0"/>
                      <a:pt x="0" y="1"/>
                      <a:pt x="1" y="4"/>
                    </a:cubicBezTo>
                    <a:cubicBezTo>
                      <a:pt x="1" y="4"/>
                      <a:pt x="2" y="8"/>
                      <a:pt x="4" y="8"/>
                    </a:cubicBezTo>
                    <a:cubicBezTo>
                      <a:pt x="4" y="8"/>
                      <a:pt x="4" y="8"/>
                      <a:pt x="4" y="8"/>
                    </a:cubicBezTo>
                    <a:cubicBezTo>
                      <a:pt x="7" y="8"/>
                      <a:pt x="8" y="4"/>
                      <a:pt x="8" y="2"/>
                    </a:cubicBezTo>
                    <a:cubicBezTo>
                      <a:pt x="7"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188"/>
              <p:cNvSpPr/>
              <p:nvPr/>
            </p:nvSpPr>
            <p:spPr bwMode="auto">
              <a:xfrm>
                <a:off x="8384" y="3349"/>
                <a:ext cx="14" cy="5"/>
              </a:xfrm>
              <a:custGeom>
                <a:gdLst>
                  <a:gd name="T0" fmla="*/ 3 w 6"/>
                  <a:gd name="T1" fmla="*/ 0 h 2"/>
                  <a:gd name="T2" fmla="*/ 3 w 6"/>
                  <a:gd name="T3" fmla="*/ 1 h 2"/>
                  <a:gd name="T4" fmla="*/ 2 w 6"/>
                  <a:gd name="T5" fmla="*/ 0 h 2"/>
                  <a:gd name="T6" fmla="*/ 1 w 6"/>
                  <a:gd name="T7" fmla="*/ 0 h 2"/>
                  <a:gd name="T8" fmla="*/ 1 w 6"/>
                  <a:gd name="T9" fmla="*/ 0 h 2"/>
                  <a:gd name="T10" fmla="*/ 0 w 6"/>
                  <a:gd name="T11" fmla="*/ 2 h 2"/>
                  <a:gd name="T12" fmla="*/ 6 w 6"/>
                  <a:gd name="T13" fmla="*/ 0 h 2"/>
                  <a:gd name="T14" fmla="*/ 5 w 6"/>
                  <a:gd name="T15" fmla="*/ 0 h 2"/>
                  <a:gd name="T16" fmla="*/ 5 w 6"/>
                  <a:gd name="T17" fmla="*/ 0 h 2"/>
                  <a:gd name="T18" fmla="*/ 4 w 6"/>
                  <a:gd name="T19" fmla="*/ 0 h 2"/>
                  <a:gd name="T20" fmla="*/ 3 w 6"/>
                  <a:gd name="T21"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3" y="0"/>
                    </a:moveTo>
                    <a:cubicBezTo>
                      <a:pt x="3" y="1"/>
                      <a:pt x="3" y="1"/>
                      <a:pt x="3" y="1"/>
                    </a:cubicBezTo>
                    <a:cubicBezTo>
                      <a:pt x="2" y="1"/>
                      <a:pt x="2" y="1"/>
                      <a:pt x="2" y="0"/>
                    </a:cubicBezTo>
                    <a:cubicBezTo>
                      <a:pt x="2" y="0"/>
                      <a:pt x="2" y="0"/>
                      <a:pt x="1" y="0"/>
                    </a:cubicBezTo>
                    <a:cubicBezTo>
                      <a:pt x="1" y="0"/>
                      <a:pt x="1" y="0"/>
                      <a:pt x="1" y="0"/>
                    </a:cubicBezTo>
                    <a:cubicBezTo>
                      <a:pt x="1" y="1"/>
                      <a:pt x="1" y="2"/>
                      <a:pt x="0" y="2"/>
                    </a:cubicBezTo>
                    <a:cubicBezTo>
                      <a:pt x="2" y="2"/>
                      <a:pt x="4" y="1"/>
                      <a:pt x="6" y="0"/>
                    </a:cubicBezTo>
                    <a:cubicBezTo>
                      <a:pt x="6" y="0"/>
                      <a:pt x="5" y="0"/>
                      <a:pt x="5" y="0"/>
                    </a:cubicBezTo>
                    <a:cubicBezTo>
                      <a:pt x="5" y="0"/>
                      <a:pt x="5" y="0"/>
                      <a:pt x="5" y="0"/>
                    </a:cubicBezTo>
                    <a:cubicBezTo>
                      <a:pt x="4" y="0"/>
                      <a:pt x="4" y="0"/>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Freeform 189"/>
              <p:cNvSpPr/>
              <p:nvPr/>
            </p:nvSpPr>
            <p:spPr bwMode="auto">
              <a:xfrm>
                <a:off x="7214" y="3314"/>
                <a:ext cx="24" cy="14"/>
              </a:xfrm>
              <a:custGeom>
                <a:gdLst>
                  <a:gd name="T0" fmla="*/ 2 w 10"/>
                  <a:gd name="T1" fmla="*/ 0 h 6"/>
                  <a:gd name="T2" fmla="*/ 0 w 10"/>
                  <a:gd name="T3" fmla="*/ 4 h 6"/>
                  <a:gd name="T4" fmla="*/ 3 w 10"/>
                  <a:gd name="T5" fmla="*/ 5 h 6"/>
                  <a:gd name="T6" fmla="*/ 3 w 10"/>
                  <a:gd name="T7" fmla="*/ 5 h 6"/>
                  <a:gd name="T8" fmla="*/ 5 w 10"/>
                  <a:gd name="T9" fmla="*/ 4 h 6"/>
                  <a:gd name="T10" fmla="*/ 6 w 10"/>
                  <a:gd name="T11" fmla="*/ 4 h 6"/>
                  <a:gd name="T12" fmla="*/ 10 w 10"/>
                  <a:gd name="T13" fmla="*/ 6 h 6"/>
                  <a:gd name="T14" fmla="*/ 2 w 10"/>
                  <a:gd name="T15" fmla="*/ 0 h 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2" y="0"/>
                    </a:moveTo>
                    <a:cubicBezTo>
                      <a:pt x="2" y="1"/>
                      <a:pt x="0" y="3"/>
                      <a:pt x="0" y="4"/>
                    </a:cubicBezTo>
                    <a:cubicBezTo>
                      <a:pt x="0" y="4"/>
                      <a:pt x="3" y="5"/>
                      <a:pt x="3" y="5"/>
                    </a:cubicBezTo>
                    <a:cubicBezTo>
                      <a:pt x="3" y="5"/>
                      <a:pt x="3" y="5"/>
                      <a:pt x="3" y="5"/>
                    </a:cubicBezTo>
                    <a:cubicBezTo>
                      <a:pt x="4" y="5"/>
                      <a:pt x="5" y="4"/>
                      <a:pt x="5" y="4"/>
                    </a:cubicBezTo>
                    <a:cubicBezTo>
                      <a:pt x="6" y="4"/>
                      <a:pt x="6" y="4"/>
                      <a:pt x="6" y="4"/>
                    </a:cubicBezTo>
                    <a:cubicBezTo>
                      <a:pt x="7" y="4"/>
                      <a:pt x="9" y="6"/>
                      <a:pt x="10" y="6"/>
                    </a:cubicBezTo>
                    <a:cubicBezTo>
                      <a:pt x="7" y="4"/>
                      <a:pt x="5"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3" name="Freeform 190"/>
              <p:cNvSpPr/>
              <p:nvPr/>
            </p:nvSpPr>
            <p:spPr bwMode="auto">
              <a:xfrm>
                <a:off x="8285" y="3196"/>
                <a:ext cx="21" cy="28"/>
              </a:xfrm>
              <a:custGeom>
                <a:gdLst>
                  <a:gd name="T0" fmla="*/ 7 w 9"/>
                  <a:gd name="T1" fmla="*/ 0 h 12"/>
                  <a:gd name="T2" fmla="*/ 1 w 9"/>
                  <a:gd name="T3" fmla="*/ 6 h 12"/>
                  <a:gd name="T4" fmla="*/ 1 w 9"/>
                  <a:gd name="T5" fmla="*/ 9 h 12"/>
                  <a:gd name="T6" fmla="*/ 1 w 9"/>
                  <a:gd name="T7" fmla="*/ 12 h 12"/>
                  <a:gd name="T8" fmla="*/ 6 w 9"/>
                  <a:gd name="T9" fmla="*/ 10 h 12"/>
                  <a:gd name="T10" fmla="*/ 7 w 9"/>
                  <a:gd name="T11" fmla="*/ 0 h 12"/>
                </a:gdLst>
                <a:cxnLst>
                  <a:cxn ang="0">
                    <a:pos x="T0" y="T1"/>
                  </a:cxn>
                  <a:cxn ang="0">
                    <a:pos x="T2" y="T3"/>
                  </a:cxn>
                  <a:cxn ang="0">
                    <a:pos x="T4" y="T5"/>
                  </a:cxn>
                  <a:cxn ang="0">
                    <a:pos x="T6" y="T7"/>
                  </a:cxn>
                  <a:cxn ang="0">
                    <a:pos x="T8" y="T9"/>
                  </a:cxn>
                  <a:cxn ang="0">
                    <a:pos x="T10" y="T11"/>
                  </a:cxn>
                </a:cxnLst>
                <a:rect l="0" t="0" r="r" b="b"/>
                <a:pathLst>
                  <a:path w="9" h="12">
                    <a:moveTo>
                      <a:pt x="7" y="0"/>
                    </a:moveTo>
                    <a:cubicBezTo>
                      <a:pt x="5" y="1"/>
                      <a:pt x="1" y="3"/>
                      <a:pt x="1" y="6"/>
                    </a:cubicBezTo>
                    <a:cubicBezTo>
                      <a:pt x="1" y="7"/>
                      <a:pt x="0" y="7"/>
                      <a:pt x="1" y="9"/>
                    </a:cubicBezTo>
                    <a:cubicBezTo>
                      <a:pt x="1" y="10"/>
                      <a:pt x="2" y="11"/>
                      <a:pt x="1" y="12"/>
                    </a:cubicBezTo>
                    <a:cubicBezTo>
                      <a:pt x="3" y="11"/>
                      <a:pt x="5" y="11"/>
                      <a:pt x="6" y="10"/>
                    </a:cubicBezTo>
                    <a:cubicBezTo>
                      <a:pt x="9" y="8"/>
                      <a:pt x="8"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Freeform 191"/>
              <p:cNvSpPr/>
              <p:nvPr/>
            </p:nvSpPr>
            <p:spPr bwMode="auto">
              <a:xfrm>
                <a:off x="6820" y="3181"/>
                <a:ext cx="35" cy="26"/>
              </a:xfrm>
              <a:custGeom>
                <a:gdLst>
                  <a:gd name="T0" fmla="*/ 3 w 15"/>
                  <a:gd name="T1" fmla="*/ 0 h 11"/>
                  <a:gd name="T2" fmla="*/ 1 w 15"/>
                  <a:gd name="T3" fmla="*/ 3 h 11"/>
                  <a:gd name="T4" fmla="*/ 2 w 15"/>
                  <a:gd name="T5" fmla="*/ 3 h 11"/>
                  <a:gd name="T6" fmla="*/ 3 w 15"/>
                  <a:gd name="T7" fmla="*/ 5 h 11"/>
                  <a:gd name="T8" fmla="*/ 7 w 15"/>
                  <a:gd name="T9" fmla="*/ 6 h 11"/>
                  <a:gd name="T10" fmla="*/ 14 w 15"/>
                  <a:gd name="T11" fmla="*/ 11 h 11"/>
                  <a:gd name="T12" fmla="*/ 15 w 15"/>
                  <a:gd name="T13" fmla="*/ 11 h 11"/>
                  <a:gd name="T14" fmla="*/ 11 w 15"/>
                  <a:gd name="T15" fmla="*/ 6 h 11"/>
                  <a:gd name="T16" fmla="*/ 3 w 15"/>
                  <a:gd name="T1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1">
                    <a:moveTo>
                      <a:pt x="3" y="0"/>
                    </a:moveTo>
                    <a:cubicBezTo>
                      <a:pt x="2" y="1"/>
                      <a:pt x="0" y="3"/>
                      <a:pt x="1" y="3"/>
                    </a:cubicBezTo>
                    <a:cubicBezTo>
                      <a:pt x="1" y="3"/>
                      <a:pt x="1" y="3"/>
                      <a:pt x="2" y="3"/>
                    </a:cubicBezTo>
                    <a:cubicBezTo>
                      <a:pt x="2" y="4"/>
                      <a:pt x="3" y="5"/>
                      <a:pt x="3" y="5"/>
                    </a:cubicBezTo>
                    <a:cubicBezTo>
                      <a:pt x="4" y="6"/>
                      <a:pt x="6" y="6"/>
                      <a:pt x="7" y="6"/>
                    </a:cubicBezTo>
                    <a:cubicBezTo>
                      <a:pt x="9" y="7"/>
                      <a:pt x="13" y="11"/>
                      <a:pt x="14" y="11"/>
                    </a:cubicBezTo>
                    <a:cubicBezTo>
                      <a:pt x="15" y="11"/>
                      <a:pt x="15" y="11"/>
                      <a:pt x="15" y="11"/>
                    </a:cubicBezTo>
                    <a:cubicBezTo>
                      <a:pt x="15" y="7"/>
                      <a:pt x="14" y="8"/>
                      <a:pt x="11" y="6"/>
                    </a:cubicBezTo>
                    <a:cubicBezTo>
                      <a:pt x="8" y="4"/>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5" name="Freeform 192"/>
              <p:cNvSpPr/>
              <p:nvPr/>
            </p:nvSpPr>
            <p:spPr bwMode="auto">
              <a:xfrm>
                <a:off x="3665" y="1560"/>
                <a:ext cx="2" cy="7"/>
              </a:xfrm>
              <a:custGeom>
                <a:gdLst>
                  <a:gd name="T0" fmla="*/ 0 w 1"/>
                  <a:gd name="T1" fmla="*/ 0 h 3"/>
                  <a:gd name="T2" fmla="*/ 0 w 1"/>
                  <a:gd name="T3" fmla="*/ 3 h 3"/>
                  <a:gd name="T4" fmla="*/ 0 w 1"/>
                  <a:gd name="T5" fmla="*/ 0 h 3"/>
                  <a:gd name="T6" fmla="*/ 0 w 1"/>
                  <a:gd name="T7" fmla="*/ 0 h 3"/>
                </a:gdLst>
                <a:cxnLst>
                  <a:cxn ang="0">
                    <a:pos x="T0" y="T1"/>
                  </a:cxn>
                  <a:cxn ang="0">
                    <a:pos x="T2" y="T3"/>
                  </a:cxn>
                  <a:cxn ang="0">
                    <a:pos x="T4" y="T5"/>
                  </a:cxn>
                  <a:cxn ang="0">
                    <a:pos x="T6" y="T7"/>
                  </a:cxn>
                </a:cxnLst>
                <a:rect l="0" t="0" r="r" b="b"/>
                <a:pathLst>
                  <a:path w="1" h="3">
                    <a:moveTo>
                      <a:pt x="0" y="0"/>
                    </a:moveTo>
                    <a:cubicBezTo>
                      <a:pt x="0" y="3"/>
                      <a:pt x="0" y="3"/>
                      <a:pt x="0" y="3"/>
                    </a:cubicBezTo>
                    <a:cubicBezTo>
                      <a:pt x="0" y="2"/>
                      <a:pt x="1"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193"/>
              <p:cNvSpPr/>
              <p:nvPr/>
            </p:nvSpPr>
            <p:spPr bwMode="auto">
              <a:xfrm>
                <a:off x="3684" y="1531"/>
                <a:ext cx="16" cy="10"/>
              </a:xfrm>
              <a:custGeom>
                <a:gdLst>
                  <a:gd name="T0" fmla="*/ 7 w 7"/>
                  <a:gd name="T1" fmla="*/ 0 h 4"/>
                  <a:gd name="T2" fmla="*/ 0 w 7"/>
                  <a:gd name="T3" fmla="*/ 4 h 4"/>
                  <a:gd name="T4" fmla="*/ 7 w 7"/>
                  <a:gd name="T5" fmla="*/ 0 h 4"/>
                </a:gdLst>
                <a:cxnLst>
                  <a:cxn ang="0">
                    <a:pos x="T0" y="T1"/>
                  </a:cxn>
                  <a:cxn ang="0">
                    <a:pos x="T2" y="T3"/>
                  </a:cxn>
                  <a:cxn ang="0">
                    <a:pos x="T4" y="T5"/>
                  </a:cxn>
                </a:cxnLst>
                <a:rect l="0" t="0" r="r" b="b"/>
                <a:pathLst>
                  <a:path w="7" h="4">
                    <a:moveTo>
                      <a:pt x="7" y="0"/>
                    </a:moveTo>
                    <a:cubicBezTo>
                      <a:pt x="4" y="1"/>
                      <a:pt x="2" y="3"/>
                      <a:pt x="0" y="4"/>
                    </a:cubicBezTo>
                    <a:cubicBezTo>
                      <a:pt x="2" y="4"/>
                      <a:pt x="5"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7" name="Freeform 194"/>
              <p:cNvSpPr/>
              <p:nvPr/>
            </p:nvSpPr>
            <p:spPr bwMode="auto">
              <a:xfrm>
                <a:off x="3677" y="1441"/>
                <a:ext cx="35" cy="24"/>
              </a:xfrm>
              <a:custGeom>
                <a:gdLst>
                  <a:gd name="T0" fmla="*/ 8 w 15"/>
                  <a:gd name="T1" fmla="*/ 0 h 10"/>
                  <a:gd name="T2" fmla="*/ 4 w 15"/>
                  <a:gd name="T3" fmla="*/ 2 h 10"/>
                  <a:gd name="T4" fmla="*/ 3 w 15"/>
                  <a:gd name="T5" fmla="*/ 3 h 10"/>
                  <a:gd name="T6" fmla="*/ 2 w 15"/>
                  <a:gd name="T7" fmla="*/ 3 h 10"/>
                  <a:gd name="T8" fmla="*/ 2 w 15"/>
                  <a:gd name="T9" fmla="*/ 3 h 10"/>
                  <a:gd name="T10" fmla="*/ 0 w 15"/>
                  <a:gd name="T11" fmla="*/ 3 h 10"/>
                  <a:gd name="T12" fmla="*/ 7 w 15"/>
                  <a:gd name="T13" fmla="*/ 4 h 10"/>
                  <a:gd name="T14" fmla="*/ 8 w 15"/>
                  <a:gd name="T15" fmla="*/ 4 h 10"/>
                  <a:gd name="T16" fmla="*/ 5 w 15"/>
                  <a:gd name="T17" fmla="*/ 7 h 10"/>
                  <a:gd name="T18" fmla="*/ 11 w 15"/>
                  <a:gd name="T19" fmla="*/ 10 h 10"/>
                  <a:gd name="T20" fmla="*/ 12 w 15"/>
                  <a:gd name="T21" fmla="*/ 10 h 10"/>
                  <a:gd name="T22" fmla="*/ 12 w 15"/>
                  <a:gd name="T23" fmla="*/ 7 h 10"/>
                  <a:gd name="T24" fmla="*/ 12 w 15"/>
                  <a:gd name="T25" fmla="*/ 6 h 10"/>
                  <a:gd name="T26" fmla="*/ 13 w 15"/>
                  <a:gd name="T27" fmla="*/ 8 h 10"/>
                  <a:gd name="T28" fmla="*/ 14 w 15"/>
                  <a:gd name="T29" fmla="*/ 9 h 10"/>
                  <a:gd name="T30" fmla="*/ 15 w 15"/>
                  <a:gd name="T31" fmla="*/ 8 h 10"/>
                  <a:gd name="T32" fmla="*/ 11 w 15"/>
                  <a:gd name="T33" fmla="*/ 3 h 10"/>
                  <a:gd name="T34" fmla="*/ 10 w 15"/>
                  <a:gd name="T35" fmla="*/ 1 h 10"/>
                  <a:gd name="T36" fmla="*/ 8 w 15"/>
                  <a:gd name="T3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0">
                    <a:moveTo>
                      <a:pt x="8" y="0"/>
                    </a:moveTo>
                    <a:cubicBezTo>
                      <a:pt x="7" y="0"/>
                      <a:pt x="5" y="2"/>
                      <a:pt x="4" y="2"/>
                    </a:cubicBezTo>
                    <a:cubicBezTo>
                      <a:pt x="3" y="3"/>
                      <a:pt x="3" y="3"/>
                      <a:pt x="3" y="3"/>
                    </a:cubicBezTo>
                    <a:cubicBezTo>
                      <a:pt x="2" y="3"/>
                      <a:pt x="2" y="3"/>
                      <a:pt x="2" y="3"/>
                    </a:cubicBezTo>
                    <a:cubicBezTo>
                      <a:pt x="2" y="3"/>
                      <a:pt x="2" y="3"/>
                      <a:pt x="2" y="3"/>
                    </a:cubicBezTo>
                    <a:cubicBezTo>
                      <a:pt x="1" y="3"/>
                      <a:pt x="1" y="3"/>
                      <a:pt x="0" y="3"/>
                    </a:cubicBezTo>
                    <a:cubicBezTo>
                      <a:pt x="2" y="4"/>
                      <a:pt x="4" y="4"/>
                      <a:pt x="7" y="4"/>
                    </a:cubicBezTo>
                    <a:cubicBezTo>
                      <a:pt x="7" y="4"/>
                      <a:pt x="7" y="4"/>
                      <a:pt x="8" y="4"/>
                    </a:cubicBezTo>
                    <a:cubicBezTo>
                      <a:pt x="7" y="6"/>
                      <a:pt x="6" y="7"/>
                      <a:pt x="5" y="7"/>
                    </a:cubicBezTo>
                    <a:cubicBezTo>
                      <a:pt x="7" y="8"/>
                      <a:pt x="9" y="9"/>
                      <a:pt x="11" y="10"/>
                    </a:cubicBezTo>
                    <a:cubicBezTo>
                      <a:pt x="11" y="10"/>
                      <a:pt x="12" y="10"/>
                      <a:pt x="12" y="10"/>
                    </a:cubicBezTo>
                    <a:cubicBezTo>
                      <a:pt x="15" y="10"/>
                      <a:pt x="11" y="7"/>
                      <a:pt x="12" y="7"/>
                    </a:cubicBezTo>
                    <a:cubicBezTo>
                      <a:pt x="12" y="6"/>
                      <a:pt x="12" y="6"/>
                      <a:pt x="12" y="6"/>
                    </a:cubicBezTo>
                    <a:cubicBezTo>
                      <a:pt x="12" y="6"/>
                      <a:pt x="13" y="7"/>
                      <a:pt x="13" y="8"/>
                    </a:cubicBezTo>
                    <a:cubicBezTo>
                      <a:pt x="14" y="8"/>
                      <a:pt x="14" y="9"/>
                      <a:pt x="14" y="9"/>
                    </a:cubicBezTo>
                    <a:cubicBezTo>
                      <a:pt x="15" y="9"/>
                      <a:pt x="15" y="9"/>
                      <a:pt x="15" y="8"/>
                    </a:cubicBezTo>
                    <a:cubicBezTo>
                      <a:pt x="15" y="6"/>
                      <a:pt x="11" y="4"/>
                      <a:pt x="11" y="3"/>
                    </a:cubicBezTo>
                    <a:cubicBezTo>
                      <a:pt x="10" y="2"/>
                      <a:pt x="11" y="1"/>
                      <a:pt x="10" y="1"/>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Freeform 195"/>
              <p:cNvSpPr/>
              <p:nvPr/>
            </p:nvSpPr>
            <p:spPr bwMode="auto">
              <a:xfrm>
                <a:off x="3665" y="1385"/>
                <a:ext cx="5" cy="4"/>
              </a:xfrm>
              <a:custGeom>
                <a:gdLst>
                  <a:gd name="T0" fmla="*/ 0 w 2"/>
                  <a:gd name="T1" fmla="*/ 0 h 2"/>
                  <a:gd name="T2" fmla="*/ 0 w 2"/>
                  <a:gd name="T3" fmla="*/ 1 h 2"/>
                  <a:gd name="T4" fmla="*/ 0 w 2"/>
                  <a:gd name="T5" fmla="*/ 2 h 2"/>
                  <a:gd name="T6" fmla="*/ 2 w 2"/>
                  <a:gd name="T7" fmla="*/ 1 h 2"/>
                  <a:gd name="T8" fmla="*/ 0 w 2"/>
                  <a:gd name="T9" fmla="*/ 0 h 2"/>
                </a:gdLst>
                <a:cxnLst>
                  <a:cxn ang="0">
                    <a:pos x="T0" y="T1"/>
                  </a:cxn>
                  <a:cxn ang="0">
                    <a:pos x="T2" y="T3"/>
                  </a:cxn>
                  <a:cxn ang="0">
                    <a:pos x="T4" y="T5"/>
                  </a:cxn>
                  <a:cxn ang="0">
                    <a:pos x="T6" y="T7"/>
                  </a:cxn>
                  <a:cxn ang="0">
                    <a:pos x="T8" y="T9"/>
                  </a:cxn>
                </a:cxnLst>
                <a:rect l="0" t="0" r="r" b="b"/>
                <a:pathLst>
                  <a:path w="2" h="2">
                    <a:moveTo>
                      <a:pt x="0" y="0"/>
                    </a:moveTo>
                    <a:cubicBezTo>
                      <a:pt x="0" y="1"/>
                      <a:pt x="0" y="1"/>
                      <a:pt x="0" y="1"/>
                    </a:cubicBezTo>
                    <a:cubicBezTo>
                      <a:pt x="0" y="2"/>
                      <a:pt x="0" y="2"/>
                      <a:pt x="0" y="2"/>
                    </a:cubicBezTo>
                    <a:cubicBezTo>
                      <a:pt x="1" y="2"/>
                      <a:pt x="1" y="1"/>
                      <a:pt x="2"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9" name="Freeform 196"/>
              <p:cNvSpPr>
                <a:spLocks noEditPoints="1"/>
              </p:cNvSpPr>
              <p:nvPr/>
            </p:nvSpPr>
            <p:spPr bwMode="auto">
              <a:xfrm>
                <a:off x="3665" y="1654"/>
                <a:ext cx="33" cy="17"/>
              </a:xfrm>
              <a:custGeom>
                <a:gdLst>
                  <a:gd name="T0" fmla="*/ 14 w 14"/>
                  <a:gd name="T1" fmla="*/ 0 h 7"/>
                  <a:gd name="T2" fmla="*/ 14 w 14"/>
                  <a:gd name="T3" fmla="*/ 0 h 7"/>
                  <a:gd name="T4" fmla="*/ 14 w 14"/>
                  <a:gd name="T5" fmla="*/ 0 h 7"/>
                  <a:gd name="T6" fmla="*/ 3 w 14"/>
                  <a:gd name="T7" fmla="*/ 0 h 7"/>
                  <a:gd name="T8" fmla="*/ 1 w 14"/>
                  <a:gd name="T9" fmla="*/ 0 h 7"/>
                  <a:gd name="T10" fmla="*/ 0 w 14"/>
                  <a:gd name="T11" fmla="*/ 0 h 7"/>
                  <a:gd name="T12" fmla="*/ 0 w 14"/>
                  <a:gd name="T13" fmla="*/ 7 h 7"/>
                  <a:gd name="T14" fmla="*/ 0 w 14"/>
                  <a:gd name="T15" fmla="*/ 7 h 7"/>
                  <a:gd name="T16" fmla="*/ 12 w 14"/>
                  <a:gd name="T17" fmla="*/ 6 h 7"/>
                  <a:gd name="T18" fmla="*/ 13 w 14"/>
                  <a:gd name="T19" fmla="*/ 3 h 7"/>
                  <a:gd name="T20" fmla="*/ 14 w 14"/>
                  <a:gd name="T21" fmla="*/ 3 h 7"/>
                  <a:gd name="T22" fmla="*/ 13 w 14"/>
                  <a:gd name="T23" fmla="*/ 1 h 7"/>
                  <a:gd name="T24" fmla="*/ 14 w 14"/>
                  <a:gd name="T25" fmla="*/ 0 h 7"/>
                  <a:gd name="T26" fmla="*/ 7 w 14"/>
                  <a:gd name="T27" fmla="*/ 3 h 7"/>
                  <a:gd name="T28" fmla="*/ 4 w 14"/>
                  <a:gd name="T29" fmla="*/ 4 h 7"/>
                  <a:gd name="T30" fmla="*/ 4 w 14"/>
                  <a:gd name="T31" fmla="*/ 0 h 7"/>
                  <a:gd name="T32" fmla="*/ 3 w 14"/>
                  <a:gd name="T3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7">
                    <a:moveTo>
                      <a:pt x="14" y="0"/>
                    </a:moveTo>
                    <a:cubicBezTo>
                      <a:pt x="14" y="0"/>
                      <a:pt x="14" y="0"/>
                      <a:pt x="14" y="0"/>
                    </a:cubicBezTo>
                    <a:cubicBezTo>
                      <a:pt x="14" y="0"/>
                      <a:pt x="14" y="0"/>
                      <a:pt x="14" y="0"/>
                    </a:cubicBezTo>
                    <a:moveTo>
                      <a:pt x="3" y="0"/>
                    </a:moveTo>
                    <a:cubicBezTo>
                      <a:pt x="3" y="0"/>
                      <a:pt x="2" y="0"/>
                      <a:pt x="1" y="0"/>
                    </a:cubicBezTo>
                    <a:cubicBezTo>
                      <a:pt x="1" y="0"/>
                      <a:pt x="0" y="0"/>
                      <a:pt x="0" y="0"/>
                    </a:cubicBezTo>
                    <a:cubicBezTo>
                      <a:pt x="0" y="7"/>
                      <a:pt x="0" y="7"/>
                      <a:pt x="0" y="7"/>
                    </a:cubicBezTo>
                    <a:cubicBezTo>
                      <a:pt x="0" y="7"/>
                      <a:pt x="0" y="7"/>
                      <a:pt x="0" y="7"/>
                    </a:cubicBezTo>
                    <a:cubicBezTo>
                      <a:pt x="4" y="6"/>
                      <a:pt x="8" y="6"/>
                      <a:pt x="12" y="6"/>
                    </a:cubicBezTo>
                    <a:cubicBezTo>
                      <a:pt x="13" y="6"/>
                      <a:pt x="13" y="4"/>
                      <a:pt x="13" y="3"/>
                    </a:cubicBezTo>
                    <a:cubicBezTo>
                      <a:pt x="13" y="3"/>
                      <a:pt x="14" y="3"/>
                      <a:pt x="14" y="3"/>
                    </a:cubicBezTo>
                    <a:cubicBezTo>
                      <a:pt x="14" y="2"/>
                      <a:pt x="13" y="2"/>
                      <a:pt x="13" y="1"/>
                    </a:cubicBezTo>
                    <a:cubicBezTo>
                      <a:pt x="13" y="1"/>
                      <a:pt x="14" y="0"/>
                      <a:pt x="14" y="0"/>
                    </a:cubicBezTo>
                    <a:cubicBezTo>
                      <a:pt x="11" y="2"/>
                      <a:pt x="11" y="2"/>
                      <a:pt x="7" y="3"/>
                    </a:cubicBezTo>
                    <a:cubicBezTo>
                      <a:pt x="6" y="3"/>
                      <a:pt x="5" y="3"/>
                      <a:pt x="4" y="4"/>
                    </a:cubicBezTo>
                    <a:cubicBezTo>
                      <a:pt x="4" y="3"/>
                      <a:pt x="3"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197"/>
              <p:cNvSpPr/>
              <p:nvPr/>
            </p:nvSpPr>
            <p:spPr bwMode="auto">
              <a:xfrm>
                <a:off x="3760" y="1595"/>
                <a:ext cx="26" cy="28"/>
              </a:xfrm>
              <a:custGeom>
                <a:gdLst>
                  <a:gd name="T0" fmla="*/ 10 w 11"/>
                  <a:gd name="T1" fmla="*/ 0 h 12"/>
                  <a:gd name="T2" fmla="*/ 5 w 11"/>
                  <a:gd name="T3" fmla="*/ 2 h 12"/>
                  <a:gd name="T4" fmla="*/ 1 w 11"/>
                  <a:gd name="T5" fmla="*/ 6 h 12"/>
                  <a:gd name="T6" fmla="*/ 1 w 11"/>
                  <a:gd name="T7" fmla="*/ 11 h 12"/>
                  <a:gd name="T8" fmla="*/ 1 w 11"/>
                  <a:gd name="T9" fmla="*/ 11 h 12"/>
                  <a:gd name="T10" fmla="*/ 1 w 11"/>
                  <a:gd name="T11" fmla="*/ 12 h 12"/>
                  <a:gd name="T12" fmla="*/ 5 w 11"/>
                  <a:gd name="T13" fmla="*/ 10 h 12"/>
                  <a:gd name="T14" fmla="*/ 7 w 11"/>
                  <a:gd name="T15" fmla="*/ 8 h 12"/>
                  <a:gd name="T16" fmla="*/ 8 w 11"/>
                  <a:gd name="T17" fmla="*/ 9 h 12"/>
                  <a:gd name="T18" fmla="*/ 9 w 11"/>
                  <a:gd name="T19" fmla="*/ 4 h 12"/>
                  <a:gd name="T20" fmla="*/ 10 w 11"/>
                  <a:gd name="T21" fmla="*/ 1 h 12"/>
                  <a:gd name="T22" fmla="*/ 10 w 11"/>
                  <a:gd name="T2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2">
                    <a:moveTo>
                      <a:pt x="10" y="0"/>
                    </a:moveTo>
                    <a:cubicBezTo>
                      <a:pt x="8" y="0"/>
                      <a:pt x="6" y="2"/>
                      <a:pt x="5" y="2"/>
                    </a:cubicBezTo>
                    <a:cubicBezTo>
                      <a:pt x="4" y="3"/>
                      <a:pt x="2" y="4"/>
                      <a:pt x="1" y="6"/>
                    </a:cubicBezTo>
                    <a:cubicBezTo>
                      <a:pt x="0" y="7"/>
                      <a:pt x="0" y="9"/>
                      <a:pt x="1" y="11"/>
                    </a:cubicBezTo>
                    <a:cubicBezTo>
                      <a:pt x="1" y="11"/>
                      <a:pt x="0" y="11"/>
                      <a:pt x="1" y="11"/>
                    </a:cubicBezTo>
                    <a:cubicBezTo>
                      <a:pt x="1" y="12"/>
                      <a:pt x="1" y="12"/>
                      <a:pt x="1" y="12"/>
                    </a:cubicBezTo>
                    <a:cubicBezTo>
                      <a:pt x="2" y="12"/>
                      <a:pt x="4" y="10"/>
                      <a:pt x="5" y="10"/>
                    </a:cubicBezTo>
                    <a:cubicBezTo>
                      <a:pt x="5" y="9"/>
                      <a:pt x="6" y="8"/>
                      <a:pt x="7" y="8"/>
                    </a:cubicBezTo>
                    <a:cubicBezTo>
                      <a:pt x="7" y="8"/>
                      <a:pt x="7" y="9"/>
                      <a:pt x="8" y="9"/>
                    </a:cubicBezTo>
                    <a:cubicBezTo>
                      <a:pt x="8" y="6"/>
                      <a:pt x="8" y="6"/>
                      <a:pt x="9" y="4"/>
                    </a:cubicBezTo>
                    <a:cubicBezTo>
                      <a:pt x="10" y="3"/>
                      <a:pt x="11" y="2"/>
                      <a:pt x="10" y="1"/>
                    </a:cubicBezTo>
                    <a:cubicBezTo>
                      <a:pt x="10" y="1"/>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1" name="Freeform 198"/>
              <p:cNvSpPr/>
              <p:nvPr/>
            </p:nvSpPr>
            <p:spPr bwMode="auto">
              <a:xfrm>
                <a:off x="3712" y="1524"/>
                <a:ext cx="22" cy="10"/>
              </a:xfrm>
              <a:custGeom>
                <a:gdLst>
                  <a:gd name="T0" fmla="*/ 3 w 9"/>
                  <a:gd name="T1" fmla="*/ 0 h 4"/>
                  <a:gd name="T2" fmla="*/ 0 w 9"/>
                  <a:gd name="T3" fmla="*/ 1 h 4"/>
                  <a:gd name="T4" fmla="*/ 4 w 9"/>
                  <a:gd name="T5" fmla="*/ 4 h 4"/>
                  <a:gd name="T6" fmla="*/ 8 w 9"/>
                  <a:gd name="T7" fmla="*/ 1 h 4"/>
                  <a:gd name="T8" fmla="*/ 3 w 9"/>
                  <a:gd name="T9" fmla="*/ 0 h 4"/>
                </a:gdLst>
                <a:cxnLst>
                  <a:cxn ang="0">
                    <a:pos x="T0" y="T1"/>
                  </a:cxn>
                  <a:cxn ang="0">
                    <a:pos x="T2" y="T3"/>
                  </a:cxn>
                  <a:cxn ang="0">
                    <a:pos x="T4" y="T5"/>
                  </a:cxn>
                  <a:cxn ang="0">
                    <a:pos x="T6" y="T7"/>
                  </a:cxn>
                  <a:cxn ang="0">
                    <a:pos x="T8" y="T9"/>
                  </a:cxn>
                </a:cxnLst>
                <a:rect l="0" t="0" r="r" b="b"/>
                <a:pathLst>
                  <a:path w="9" h="4">
                    <a:moveTo>
                      <a:pt x="3" y="0"/>
                    </a:moveTo>
                    <a:cubicBezTo>
                      <a:pt x="2" y="0"/>
                      <a:pt x="1" y="1"/>
                      <a:pt x="0" y="1"/>
                    </a:cubicBezTo>
                    <a:cubicBezTo>
                      <a:pt x="1" y="2"/>
                      <a:pt x="2" y="3"/>
                      <a:pt x="4" y="4"/>
                    </a:cubicBezTo>
                    <a:cubicBezTo>
                      <a:pt x="5" y="3"/>
                      <a:pt x="9" y="3"/>
                      <a:pt x="8" y="1"/>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199"/>
              <p:cNvSpPr/>
              <p:nvPr/>
            </p:nvSpPr>
            <p:spPr bwMode="auto">
              <a:xfrm>
                <a:off x="3731" y="1628"/>
                <a:ext cx="10" cy="21"/>
              </a:xfrm>
              <a:custGeom>
                <a:gdLst>
                  <a:gd name="T0" fmla="*/ 3 w 4"/>
                  <a:gd name="T1" fmla="*/ 0 h 9"/>
                  <a:gd name="T2" fmla="*/ 2 w 4"/>
                  <a:gd name="T3" fmla="*/ 9 h 9"/>
                  <a:gd name="T4" fmla="*/ 3 w 4"/>
                  <a:gd name="T5" fmla="*/ 6 h 9"/>
                  <a:gd name="T6" fmla="*/ 2 w 4"/>
                  <a:gd name="T7" fmla="*/ 4 h 9"/>
                  <a:gd name="T8" fmla="*/ 3 w 4"/>
                  <a:gd name="T9" fmla="*/ 0 h 9"/>
                </a:gdLst>
                <a:cxnLst>
                  <a:cxn ang="0">
                    <a:pos x="T0" y="T1"/>
                  </a:cxn>
                  <a:cxn ang="0">
                    <a:pos x="T2" y="T3"/>
                  </a:cxn>
                  <a:cxn ang="0">
                    <a:pos x="T4" y="T5"/>
                  </a:cxn>
                  <a:cxn ang="0">
                    <a:pos x="T6" y="T7"/>
                  </a:cxn>
                  <a:cxn ang="0">
                    <a:pos x="T8" y="T9"/>
                  </a:cxn>
                </a:cxnLst>
                <a:rect l="0" t="0" r="r" b="b"/>
                <a:pathLst>
                  <a:path w="4" h="9">
                    <a:moveTo>
                      <a:pt x="3" y="0"/>
                    </a:moveTo>
                    <a:cubicBezTo>
                      <a:pt x="1" y="4"/>
                      <a:pt x="0" y="4"/>
                      <a:pt x="2" y="9"/>
                    </a:cubicBezTo>
                    <a:cubicBezTo>
                      <a:pt x="3" y="6"/>
                      <a:pt x="4" y="8"/>
                      <a:pt x="3" y="6"/>
                    </a:cubicBezTo>
                    <a:cubicBezTo>
                      <a:pt x="3" y="5"/>
                      <a:pt x="2" y="5"/>
                      <a:pt x="2" y="4"/>
                    </a:cubicBezTo>
                    <a:cubicBezTo>
                      <a:pt x="2"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3" name="Freeform 200"/>
              <p:cNvSpPr/>
              <p:nvPr/>
            </p:nvSpPr>
            <p:spPr bwMode="auto">
              <a:xfrm>
                <a:off x="3724" y="1562"/>
                <a:ext cx="10" cy="9"/>
              </a:xfrm>
              <a:custGeom>
                <a:gdLst>
                  <a:gd name="T0" fmla="*/ 0 w 4"/>
                  <a:gd name="T1" fmla="*/ 0 h 4"/>
                  <a:gd name="T2" fmla="*/ 2 w 4"/>
                  <a:gd name="T3" fmla="*/ 4 h 4"/>
                  <a:gd name="T4" fmla="*/ 0 w 4"/>
                  <a:gd name="T5" fmla="*/ 0 h 4"/>
                </a:gdLst>
                <a:cxnLst>
                  <a:cxn ang="0">
                    <a:pos x="T0" y="T1"/>
                  </a:cxn>
                  <a:cxn ang="0">
                    <a:pos x="T2" y="T3"/>
                  </a:cxn>
                  <a:cxn ang="0">
                    <a:pos x="T4" y="T5"/>
                  </a:cxn>
                </a:cxnLst>
                <a:rect l="0" t="0" r="r" b="b"/>
                <a:pathLst>
                  <a:path w="4" h="4">
                    <a:moveTo>
                      <a:pt x="0" y="0"/>
                    </a:moveTo>
                    <a:cubicBezTo>
                      <a:pt x="1" y="2"/>
                      <a:pt x="1" y="3"/>
                      <a:pt x="2" y="4"/>
                    </a:cubicBezTo>
                    <a:cubicBezTo>
                      <a:pt x="4"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201"/>
              <p:cNvSpPr/>
              <p:nvPr/>
            </p:nvSpPr>
            <p:spPr bwMode="auto">
              <a:xfrm>
                <a:off x="3729" y="1574"/>
                <a:ext cx="16" cy="7"/>
              </a:xfrm>
              <a:custGeom>
                <a:gdLst>
                  <a:gd name="T0" fmla="*/ 4 w 7"/>
                  <a:gd name="T1" fmla="*/ 0 h 3"/>
                  <a:gd name="T2" fmla="*/ 0 w 7"/>
                  <a:gd name="T3" fmla="*/ 3 h 3"/>
                  <a:gd name="T4" fmla="*/ 7 w 7"/>
                  <a:gd name="T5" fmla="*/ 0 h 3"/>
                  <a:gd name="T6" fmla="*/ 4 w 7"/>
                  <a:gd name="T7" fmla="*/ 0 h 3"/>
                </a:gdLst>
                <a:cxnLst>
                  <a:cxn ang="0">
                    <a:pos x="T0" y="T1"/>
                  </a:cxn>
                  <a:cxn ang="0">
                    <a:pos x="T2" y="T3"/>
                  </a:cxn>
                  <a:cxn ang="0">
                    <a:pos x="T4" y="T5"/>
                  </a:cxn>
                  <a:cxn ang="0">
                    <a:pos x="T6" y="T7"/>
                  </a:cxn>
                </a:cxnLst>
                <a:rect l="0" t="0" r="r" b="b"/>
                <a:pathLst>
                  <a:path w="7" h="3">
                    <a:moveTo>
                      <a:pt x="4" y="0"/>
                    </a:moveTo>
                    <a:cubicBezTo>
                      <a:pt x="2" y="0"/>
                      <a:pt x="1" y="1"/>
                      <a:pt x="0" y="3"/>
                    </a:cubicBezTo>
                    <a:cubicBezTo>
                      <a:pt x="1" y="1"/>
                      <a:pt x="5" y="2"/>
                      <a:pt x="7"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5" name="Freeform 202"/>
              <p:cNvSpPr/>
              <p:nvPr/>
            </p:nvSpPr>
            <p:spPr bwMode="auto">
              <a:xfrm flipH="1">
                <a:off x="3767" y="1586"/>
                <a:ext cx="0" cy="7"/>
              </a:xfrm>
              <a:custGeom>
                <a:gdLst>
                  <a:gd name="T0" fmla="*/ 0 h 3"/>
                  <a:gd name="T1" fmla="*/ 3 h 3"/>
                  <a:gd name="T2" fmla="*/ 0 h 3"/>
                </a:gdLst>
                <a:cxnLst>
                  <a:cxn ang="0">
                    <a:pos x="0" y="T0"/>
                  </a:cxn>
                  <a:cxn ang="0">
                    <a:pos x="0" y="T1"/>
                  </a:cxn>
                  <a:cxn ang="0">
                    <a:pos x="0" y="T2"/>
                  </a:cxn>
                </a:cxnLst>
                <a:rect l="0" t="0" r="r" b="b"/>
                <a:pathLst>
                  <a:path h="3">
                    <a:moveTo>
                      <a:pt x="0" y="0"/>
                    </a:moveTo>
                    <a:cubicBezTo>
                      <a:pt x="0" y="1"/>
                      <a:pt x="0" y="2"/>
                      <a:pt x="0"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203"/>
              <p:cNvSpPr/>
              <p:nvPr/>
            </p:nvSpPr>
            <p:spPr bwMode="auto">
              <a:xfrm>
                <a:off x="3677" y="1484"/>
                <a:ext cx="16" cy="23"/>
              </a:xfrm>
              <a:custGeom>
                <a:gdLst>
                  <a:gd name="T0" fmla="*/ 2 w 7"/>
                  <a:gd name="T1" fmla="*/ 0 h 10"/>
                  <a:gd name="T2" fmla="*/ 0 w 7"/>
                  <a:gd name="T3" fmla="*/ 1 h 10"/>
                  <a:gd name="T4" fmla="*/ 3 w 7"/>
                  <a:gd name="T5" fmla="*/ 10 h 10"/>
                  <a:gd name="T6" fmla="*/ 5 w 7"/>
                  <a:gd name="T7" fmla="*/ 2 h 10"/>
                  <a:gd name="T8" fmla="*/ 4 w 7"/>
                  <a:gd name="T9" fmla="*/ 0 h 10"/>
                  <a:gd name="T10" fmla="*/ 2 w 7"/>
                  <a:gd name="T11" fmla="*/ 0 h 10"/>
                </a:gdLst>
                <a:cxnLst>
                  <a:cxn ang="0">
                    <a:pos x="T0" y="T1"/>
                  </a:cxn>
                  <a:cxn ang="0">
                    <a:pos x="T2" y="T3"/>
                  </a:cxn>
                  <a:cxn ang="0">
                    <a:pos x="T4" y="T5"/>
                  </a:cxn>
                  <a:cxn ang="0">
                    <a:pos x="T6" y="T7"/>
                  </a:cxn>
                  <a:cxn ang="0">
                    <a:pos x="T8" y="T9"/>
                  </a:cxn>
                  <a:cxn ang="0">
                    <a:pos x="T10" y="T11"/>
                  </a:cxn>
                </a:cxnLst>
                <a:rect l="0" t="0" r="r" b="b"/>
                <a:pathLst>
                  <a:path w="7" h="10">
                    <a:moveTo>
                      <a:pt x="2" y="0"/>
                    </a:moveTo>
                    <a:cubicBezTo>
                      <a:pt x="1" y="0"/>
                      <a:pt x="0" y="0"/>
                      <a:pt x="0" y="1"/>
                    </a:cubicBezTo>
                    <a:cubicBezTo>
                      <a:pt x="0" y="6"/>
                      <a:pt x="0" y="7"/>
                      <a:pt x="3" y="10"/>
                    </a:cubicBezTo>
                    <a:cubicBezTo>
                      <a:pt x="5" y="8"/>
                      <a:pt x="7" y="5"/>
                      <a:pt x="5" y="2"/>
                    </a:cubicBezTo>
                    <a:cubicBezTo>
                      <a:pt x="7" y="1"/>
                      <a:pt x="5" y="0"/>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7" name="Freeform 204"/>
              <p:cNvSpPr/>
              <p:nvPr/>
            </p:nvSpPr>
            <p:spPr bwMode="auto">
              <a:xfrm>
                <a:off x="9025" y="2699"/>
                <a:ext cx="14" cy="14"/>
              </a:xfrm>
              <a:custGeom>
                <a:gdLst>
                  <a:gd name="T0" fmla="*/ 6 w 6"/>
                  <a:gd name="T1" fmla="*/ 0 h 6"/>
                  <a:gd name="T2" fmla="*/ 4 w 6"/>
                  <a:gd name="T3" fmla="*/ 0 h 6"/>
                  <a:gd name="T4" fmla="*/ 0 w 6"/>
                  <a:gd name="T5" fmla="*/ 2 h 6"/>
                  <a:gd name="T6" fmla="*/ 0 w 6"/>
                  <a:gd name="T7" fmla="*/ 2 h 6"/>
                  <a:gd name="T8" fmla="*/ 1 w 6"/>
                  <a:gd name="T9" fmla="*/ 6 h 6"/>
                  <a:gd name="T10" fmla="*/ 1 w 6"/>
                  <a:gd name="T11" fmla="*/ 6 h 6"/>
                  <a:gd name="T12" fmla="*/ 6 w 6"/>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cubicBezTo>
                      <a:pt x="5" y="0"/>
                      <a:pt x="4" y="0"/>
                      <a:pt x="4" y="0"/>
                    </a:cubicBezTo>
                    <a:cubicBezTo>
                      <a:pt x="2" y="1"/>
                      <a:pt x="1" y="2"/>
                      <a:pt x="0" y="2"/>
                    </a:cubicBezTo>
                    <a:cubicBezTo>
                      <a:pt x="0" y="2"/>
                      <a:pt x="0" y="2"/>
                      <a:pt x="0" y="2"/>
                    </a:cubicBezTo>
                    <a:cubicBezTo>
                      <a:pt x="0" y="3"/>
                      <a:pt x="0" y="5"/>
                      <a:pt x="1" y="6"/>
                    </a:cubicBezTo>
                    <a:cubicBezTo>
                      <a:pt x="1" y="6"/>
                      <a:pt x="1" y="6"/>
                      <a:pt x="1" y="6"/>
                    </a:cubicBezTo>
                    <a:cubicBezTo>
                      <a:pt x="3" y="6"/>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7" name="Group 406"/>
            <p:cNvGrpSpPr/>
            <p:nvPr/>
          </p:nvGrpSpPr>
          <p:grpSpPr>
            <a:xfrm>
              <a:off x="1" y="2713"/>
              <a:ext cx="9718937" cy="6857999"/>
              <a:chOff x="3665" y="-1611"/>
              <a:chExt cx="7066" cy="4986"/>
            </a:xfrm>
            <a:grpFill/>
          </p:grpSpPr>
          <p:sp>
            <p:nvSpPr>
              <p:cNvPr id="688" name="Freeform 206"/>
              <p:cNvSpPr/>
              <p:nvPr/>
            </p:nvSpPr>
            <p:spPr bwMode="auto">
              <a:xfrm>
                <a:off x="8729" y="2884"/>
                <a:ext cx="5" cy="4"/>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0" y="2"/>
                    </a:cubicBezTo>
                    <a:cubicBezTo>
                      <a:pt x="1"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207"/>
              <p:cNvSpPr/>
              <p:nvPr/>
            </p:nvSpPr>
            <p:spPr bwMode="auto">
              <a:xfrm>
                <a:off x="9849" y="3070"/>
                <a:ext cx="5" cy="5"/>
              </a:xfrm>
              <a:custGeom>
                <a:gdLst>
                  <a:gd name="T0" fmla="*/ 2 w 2"/>
                  <a:gd name="T1" fmla="*/ 0 h 2"/>
                  <a:gd name="T2" fmla="*/ 0 w 2"/>
                  <a:gd name="T3" fmla="*/ 1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0"/>
                      <a:pt x="0" y="1"/>
                      <a:pt x="0" y="1"/>
                    </a:cubicBezTo>
                    <a:cubicBezTo>
                      <a:pt x="0" y="2"/>
                      <a:pt x="1" y="2"/>
                      <a:pt x="1"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208"/>
              <p:cNvSpPr/>
              <p:nvPr/>
            </p:nvSpPr>
            <p:spPr bwMode="auto">
              <a:xfrm>
                <a:off x="9637" y="2999"/>
                <a:ext cx="7" cy="7"/>
              </a:xfrm>
              <a:custGeom>
                <a:gdLst>
                  <a:gd name="T0" fmla="*/ 0 w 3"/>
                  <a:gd name="T1" fmla="*/ 0 h 3"/>
                  <a:gd name="T2" fmla="*/ 0 w 3"/>
                  <a:gd name="T3" fmla="*/ 3 h 3"/>
                  <a:gd name="T4" fmla="*/ 2 w 3"/>
                  <a:gd name="T5" fmla="*/ 2 h 3"/>
                  <a:gd name="T6" fmla="*/ 0 w 3"/>
                  <a:gd name="T7" fmla="*/ 0 h 3"/>
                </a:gdLst>
                <a:cxnLst>
                  <a:cxn ang="0">
                    <a:pos x="T0" y="T1"/>
                  </a:cxn>
                  <a:cxn ang="0">
                    <a:pos x="T2" y="T3"/>
                  </a:cxn>
                  <a:cxn ang="0">
                    <a:pos x="T4" y="T5"/>
                  </a:cxn>
                  <a:cxn ang="0">
                    <a:pos x="T6" y="T7"/>
                  </a:cxn>
                </a:cxnLst>
                <a:rect l="0" t="0" r="r" b="b"/>
                <a:pathLst>
                  <a:path w="3" h="3">
                    <a:moveTo>
                      <a:pt x="0" y="0"/>
                    </a:moveTo>
                    <a:cubicBezTo>
                      <a:pt x="0" y="1"/>
                      <a:pt x="0" y="2"/>
                      <a:pt x="0" y="3"/>
                    </a:cubicBezTo>
                    <a:cubicBezTo>
                      <a:pt x="1" y="3"/>
                      <a:pt x="2" y="3"/>
                      <a:pt x="2" y="2"/>
                    </a:cubicBezTo>
                    <a:cubicBezTo>
                      <a:pt x="3"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209"/>
              <p:cNvSpPr/>
              <p:nvPr/>
            </p:nvSpPr>
            <p:spPr bwMode="auto">
              <a:xfrm>
                <a:off x="9069" y="2628"/>
                <a:ext cx="3" cy="10"/>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1"/>
                      <a:pt x="0" y="2"/>
                      <a:pt x="0" y="4"/>
                    </a:cubicBezTo>
                    <a:cubicBezTo>
                      <a:pt x="0"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210"/>
              <p:cNvSpPr/>
              <p:nvPr/>
            </p:nvSpPr>
            <p:spPr bwMode="auto">
              <a:xfrm>
                <a:off x="9074" y="2621"/>
                <a:ext cx="5" cy="7"/>
              </a:xfrm>
              <a:custGeom>
                <a:gdLst>
                  <a:gd name="T0" fmla="*/ 2 w 2"/>
                  <a:gd name="T1" fmla="*/ 0 h 3"/>
                  <a:gd name="T2" fmla="*/ 2 w 2"/>
                  <a:gd name="T3" fmla="*/ 0 h 3"/>
                  <a:gd name="T4" fmla="*/ 0 w 2"/>
                  <a:gd name="T5" fmla="*/ 3 h 3"/>
                  <a:gd name="T6" fmla="*/ 2 w 2"/>
                  <a:gd name="T7" fmla="*/ 0 h 3"/>
                  <a:gd name="T8" fmla="*/ 2 w 2"/>
                  <a:gd name="T9" fmla="*/ 0 h 3"/>
                </a:gdLst>
                <a:cxnLst>
                  <a:cxn ang="0">
                    <a:pos x="T0" y="T1"/>
                  </a:cxn>
                  <a:cxn ang="0">
                    <a:pos x="T2" y="T3"/>
                  </a:cxn>
                  <a:cxn ang="0">
                    <a:pos x="T4" y="T5"/>
                  </a:cxn>
                  <a:cxn ang="0">
                    <a:pos x="T6" y="T7"/>
                  </a:cxn>
                  <a:cxn ang="0">
                    <a:pos x="T8" y="T9"/>
                  </a:cxn>
                </a:cxnLst>
                <a:rect l="0" t="0" r="r" b="b"/>
                <a:pathLst>
                  <a:path w="2" h="3">
                    <a:moveTo>
                      <a:pt x="2" y="0"/>
                    </a:moveTo>
                    <a:cubicBezTo>
                      <a:pt x="2" y="0"/>
                      <a:pt x="2" y="0"/>
                      <a:pt x="2" y="0"/>
                    </a:cubicBezTo>
                    <a:cubicBezTo>
                      <a:pt x="1" y="1"/>
                      <a:pt x="1" y="2"/>
                      <a:pt x="0" y="3"/>
                    </a:cubicBezTo>
                    <a:cubicBezTo>
                      <a:pt x="1" y="2"/>
                      <a:pt x="1"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211"/>
              <p:cNvSpPr/>
              <p:nvPr/>
            </p:nvSpPr>
            <p:spPr bwMode="auto">
              <a:xfrm>
                <a:off x="9074" y="2486"/>
                <a:ext cx="5" cy="5"/>
              </a:xfrm>
              <a:custGeom>
                <a:gdLst>
                  <a:gd name="T0" fmla="*/ 2 w 2"/>
                  <a:gd name="T1" fmla="*/ 0 h 2"/>
                  <a:gd name="T2" fmla="*/ 0 w 2"/>
                  <a:gd name="T3" fmla="*/ 2 h 2"/>
                  <a:gd name="T4" fmla="*/ 0 w 2"/>
                  <a:gd name="T5" fmla="*/ 2 h 2"/>
                  <a:gd name="T6" fmla="*/ 1 w 2"/>
                  <a:gd name="T7" fmla="*/ 2 h 2"/>
                  <a:gd name="T8" fmla="*/ 2 w 2"/>
                  <a:gd name="T9" fmla="*/ 0 h 2"/>
                </a:gdLst>
                <a:cxnLst>
                  <a:cxn ang="0">
                    <a:pos x="T0" y="T1"/>
                  </a:cxn>
                  <a:cxn ang="0">
                    <a:pos x="T2" y="T3"/>
                  </a:cxn>
                  <a:cxn ang="0">
                    <a:pos x="T4" y="T5"/>
                  </a:cxn>
                  <a:cxn ang="0">
                    <a:pos x="T6" y="T7"/>
                  </a:cxn>
                  <a:cxn ang="0">
                    <a:pos x="T8" y="T9"/>
                  </a:cxn>
                </a:cxnLst>
                <a:rect l="0" t="0" r="r" b="b"/>
                <a:pathLst>
                  <a:path w="2" h="2">
                    <a:moveTo>
                      <a:pt x="2" y="0"/>
                    </a:moveTo>
                    <a:cubicBezTo>
                      <a:pt x="1" y="1"/>
                      <a:pt x="1" y="1"/>
                      <a:pt x="0" y="2"/>
                    </a:cubicBezTo>
                    <a:cubicBezTo>
                      <a:pt x="0" y="2"/>
                      <a:pt x="0" y="2"/>
                      <a:pt x="0" y="2"/>
                    </a:cubicBezTo>
                    <a:cubicBezTo>
                      <a:pt x="1" y="2"/>
                      <a:pt x="1" y="2"/>
                      <a:pt x="1" y="2"/>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212"/>
              <p:cNvSpPr/>
              <p:nvPr/>
            </p:nvSpPr>
            <p:spPr bwMode="auto">
              <a:xfrm>
                <a:off x="7148" y="2798"/>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1"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213"/>
              <p:cNvSpPr/>
              <p:nvPr/>
            </p:nvSpPr>
            <p:spPr bwMode="auto">
              <a:xfrm>
                <a:off x="6933" y="2853"/>
                <a:ext cx="3"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214"/>
              <p:cNvSpPr/>
              <p:nvPr/>
            </p:nvSpPr>
            <p:spPr bwMode="auto">
              <a:xfrm>
                <a:off x="6936" y="2860"/>
                <a:ext cx="2" cy="5"/>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1" y="0"/>
                      <a:pt x="0" y="1"/>
                      <a:pt x="0"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215"/>
              <p:cNvSpPr/>
              <p:nvPr/>
            </p:nvSpPr>
            <p:spPr bwMode="auto">
              <a:xfrm>
                <a:off x="6900" y="2562"/>
                <a:ext cx="5" cy="14"/>
              </a:xfrm>
              <a:custGeom>
                <a:gdLst>
                  <a:gd name="T0" fmla="*/ 2 w 2"/>
                  <a:gd name="T1" fmla="*/ 0 h 6"/>
                  <a:gd name="T2" fmla="*/ 2 w 2"/>
                  <a:gd name="T3" fmla="*/ 6 h 6"/>
                  <a:gd name="T4" fmla="*/ 2 w 2"/>
                  <a:gd name="T5" fmla="*/ 0 h 6"/>
                </a:gdLst>
                <a:cxnLst>
                  <a:cxn ang="0">
                    <a:pos x="T0" y="T1"/>
                  </a:cxn>
                  <a:cxn ang="0">
                    <a:pos x="T2" y="T3"/>
                  </a:cxn>
                  <a:cxn ang="0">
                    <a:pos x="T4" y="T5"/>
                  </a:cxn>
                </a:cxnLst>
                <a:rect l="0" t="0" r="r" b="b"/>
                <a:pathLst>
                  <a:path w="2" h="6">
                    <a:moveTo>
                      <a:pt x="2" y="0"/>
                    </a:moveTo>
                    <a:cubicBezTo>
                      <a:pt x="0" y="2"/>
                      <a:pt x="0" y="5"/>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216"/>
              <p:cNvSpPr/>
              <p:nvPr/>
            </p:nvSpPr>
            <p:spPr bwMode="auto">
              <a:xfrm>
                <a:off x="6926" y="2779"/>
                <a:ext cx="2" cy="8"/>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1" y="2"/>
                      <a:pt x="1" y="3"/>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217"/>
              <p:cNvSpPr/>
              <p:nvPr/>
            </p:nvSpPr>
            <p:spPr bwMode="auto">
              <a:xfrm>
                <a:off x="6938" y="2716"/>
                <a:ext cx="2" cy="9"/>
              </a:xfrm>
              <a:custGeom>
                <a:gdLst>
                  <a:gd name="T0" fmla="*/ 0 w 1"/>
                  <a:gd name="T1" fmla="*/ 0 h 4"/>
                  <a:gd name="T2" fmla="*/ 0 w 1"/>
                  <a:gd name="T3" fmla="*/ 3 h 4"/>
                  <a:gd name="T4" fmla="*/ 0 w 1"/>
                  <a:gd name="T5" fmla="*/ 4 h 4"/>
                  <a:gd name="T6" fmla="*/ 1 w 1"/>
                  <a:gd name="T7" fmla="*/ 3 h 4"/>
                  <a:gd name="T8" fmla="*/ 0 w 1"/>
                  <a:gd name="T9" fmla="*/ 0 h 4"/>
                </a:gdLst>
                <a:cxnLst>
                  <a:cxn ang="0">
                    <a:pos x="T0" y="T1"/>
                  </a:cxn>
                  <a:cxn ang="0">
                    <a:pos x="T2" y="T3"/>
                  </a:cxn>
                  <a:cxn ang="0">
                    <a:pos x="T4" y="T5"/>
                  </a:cxn>
                  <a:cxn ang="0">
                    <a:pos x="T6" y="T7"/>
                  </a:cxn>
                  <a:cxn ang="0">
                    <a:pos x="T8" y="T9"/>
                  </a:cxn>
                </a:cxnLst>
                <a:rect l="0" t="0" r="r" b="b"/>
                <a:pathLst>
                  <a:path w="1" h="4">
                    <a:moveTo>
                      <a:pt x="0" y="0"/>
                    </a:moveTo>
                    <a:cubicBezTo>
                      <a:pt x="0" y="1"/>
                      <a:pt x="0" y="2"/>
                      <a:pt x="0" y="3"/>
                    </a:cubicBezTo>
                    <a:cubicBezTo>
                      <a:pt x="0" y="4"/>
                      <a:pt x="0" y="4"/>
                      <a:pt x="0" y="4"/>
                    </a:cubicBezTo>
                    <a:cubicBezTo>
                      <a:pt x="1" y="4"/>
                      <a:pt x="1"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218"/>
              <p:cNvSpPr/>
              <p:nvPr/>
            </p:nvSpPr>
            <p:spPr bwMode="auto">
              <a:xfrm>
                <a:off x="6938" y="2739"/>
                <a:ext cx="12" cy="14"/>
              </a:xfrm>
              <a:custGeom>
                <a:gdLst>
                  <a:gd name="T0" fmla="*/ 1 w 5"/>
                  <a:gd name="T1" fmla="*/ 0 h 6"/>
                  <a:gd name="T2" fmla="*/ 1 w 5"/>
                  <a:gd name="T3" fmla="*/ 0 h 6"/>
                  <a:gd name="T4" fmla="*/ 1 w 5"/>
                  <a:gd name="T5" fmla="*/ 6 h 6"/>
                  <a:gd name="T6" fmla="*/ 1 w 5"/>
                  <a:gd name="T7" fmla="*/ 0 h 6"/>
                  <a:gd name="T8" fmla="*/ 1 w 5"/>
                  <a:gd name="T9" fmla="*/ 0 h 6"/>
                </a:gdLst>
                <a:cxnLst>
                  <a:cxn ang="0">
                    <a:pos x="T0" y="T1"/>
                  </a:cxn>
                  <a:cxn ang="0">
                    <a:pos x="T2" y="T3"/>
                  </a:cxn>
                  <a:cxn ang="0">
                    <a:pos x="T4" y="T5"/>
                  </a:cxn>
                  <a:cxn ang="0">
                    <a:pos x="T6" y="T7"/>
                  </a:cxn>
                  <a:cxn ang="0">
                    <a:pos x="T8" y="T9"/>
                  </a:cxn>
                </a:cxnLst>
                <a:rect l="0" t="0" r="r" b="b"/>
                <a:pathLst>
                  <a:path w="5" h="6">
                    <a:moveTo>
                      <a:pt x="1" y="0"/>
                    </a:moveTo>
                    <a:cubicBezTo>
                      <a:pt x="1" y="0"/>
                      <a:pt x="1" y="0"/>
                      <a:pt x="1" y="0"/>
                    </a:cubicBezTo>
                    <a:cubicBezTo>
                      <a:pt x="0" y="2"/>
                      <a:pt x="1" y="4"/>
                      <a:pt x="1" y="6"/>
                    </a:cubicBezTo>
                    <a:cubicBezTo>
                      <a:pt x="5" y="6"/>
                      <a:pt x="4" y="1"/>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219"/>
              <p:cNvSpPr/>
              <p:nvPr/>
            </p:nvSpPr>
            <p:spPr bwMode="auto">
              <a:xfrm>
                <a:off x="6933" y="2779"/>
                <a:ext cx="7" cy="17"/>
              </a:xfrm>
              <a:custGeom>
                <a:gdLst>
                  <a:gd name="T0" fmla="*/ 2 w 3"/>
                  <a:gd name="T1" fmla="*/ 0 h 7"/>
                  <a:gd name="T2" fmla="*/ 0 w 3"/>
                  <a:gd name="T3" fmla="*/ 7 h 7"/>
                  <a:gd name="T4" fmla="*/ 2 w 3"/>
                  <a:gd name="T5" fmla="*/ 3 h 7"/>
                  <a:gd name="T6" fmla="*/ 2 w 3"/>
                  <a:gd name="T7" fmla="*/ 0 h 7"/>
                </a:gdLst>
                <a:cxnLst>
                  <a:cxn ang="0">
                    <a:pos x="T0" y="T1"/>
                  </a:cxn>
                  <a:cxn ang="0">
                    <a:pos x="T2" y="T3"/>
                  </a:cxn>
                  <a:cxn ang="0">
                    <a:pos x="T4" y="T5"/>
                  </a:cxn>
                  <a:cxn ang="0">
                    <a:pos x="T6" y="T7"/>
                  </a:cxn>
                </a:cxnLst>
                <a:rect l="0" t="0" r="r" b="b"/>
                <a:pathLst>
                  <a:path w="3" h="7">
                    <a:moveTo>
                      <a:pt x="2" y="0"/>
                    </a:moveTo>
                    <a:cubicBezTo>
                      <a:pt x="1" y="2"/>
                      <a:pt x="1" y="4"/>
                      <a:pt x="0" y="7"/>
                    </a:cubicBezTo>
                    <a:cubicBezTo>
                      <a:pt x="3" y="6"/>
                      <a:pt x="2" y="5"/>
                      <a:pt x="2" y="3"/>
                    </a:cubicBezTo>
                    <a:cubicBezTo>
                      <a:pt x="2" y="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220"/>
              <p:cNvSpPr/>
              <p:nvPr/>
            </p:nvSpPr>
            <p:spPr bwMode="auto">
              <a:xfrm>
                <a:off x="6940" y="2779"/>
                <a:ext cx="12" cy="12"/>
              </a:xfrm>
              <a:custGeom>
                <a:gdLst>
                  <a:gd name="T0" fmla="*/ 3 w 5"/>
                  <a:gd name="T1" fmla="*/ 0 h 5"/>
                  <a:gd name="T2" fmla="*/ 2 w 5"/>
                  <a:gd name="T3" fmla="*/ 0 h 5"/>
                  <a:gd name="T4" fmla="*/ 2 w 5"/>
                  <a:gd name="T5" fmla="*/ 3 h 5"/>
                  <a:gd name="T6" fmla="*/ 2 w 5"/>
                  <a:gd name="T7" fmla="*/ 4 h 5"/>
                  <a:gd name="T8" fmla="*/ 4 w 5"/>
                  <a:gd name="T9" fmla="*/ 5 h 5"/>
                  <a:gd name="T10" fmla="*/ 4 w 5"/>
                  <a:gd name="T11" fmla="*/ 1 h 5"/>
                  <a:gd name="T12" fmla="*/ 4 w 5"/>
                  <a:gd name="T13" fmla="*/ 0 h 5"/>
                  <a:gd name="T14" fmla="*/ 3 w 5"/>
                  <a:gd name="T15" fmla="*/ 0 h 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3" y="0"/>
                    </a:moveTo>
                    <a:cubicBezTo>
                      <a:pt x="3" y="0"/>
                      <a:pt x="2" y="0"/>
                      <a:pt x="2" y="0"/>
                    </a:cubicBezTo>
                    <a:cubicBezTo>
                      <a:pt x="0" y="0"/>
                      <a:pt x="1" y="3"/>
                      <a:pt x="2" y="3"/>
                    </a:cubicBezTo>
                    <a:cubicBezTo>
                      <a:pt x="2" y="4"/>
                      <a:pt x="2" y="4"/>
                      <a:pt x="2" y="4"/>
                    </a:cubicBezTo>
                    <a:cubicBezTo>
                      <a:pt x="3" y="4"/>
                      <a:pt x="3" y="4"/>
                      <a:pt x="4" y="5"/>
                    </a:cubicBezTo>
                    <a:cubicBezTo>
                      <a:pt x="4" y="5"/>
                      <a:pt x="5" y="2"/>
                      <a:pt x="4" y="1"/>
                    </a:cubicBezTo>
                    <a:cubicBezTo>
                      <a:pt x="4" y="0"/>
                      <a:pt x="4" y="0"/>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221"/>
              <p:cNvSpPr/>
              <p:nvPr/>
            </p:nvSpPr>
            <p:spPr bwMode="auto">
              <a:xfrm>
                <a:off x="6926" y="2751"/>
                <a:ext cx="5" cy="5"/>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1"/>
                      <a:pt x="0" y="2"/>
                      <a:pt x="0" y="2"/>
                    </a:cubicBezTo>
                    <a:cubicBezTo>
                      <a:pt x="1"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222"/>
              <p:cNvSpPr/>
              <p:nvPr/>
            </p:nvSpPr>
            <p:spPr bwMode="auto">
              <a:xfrm>
                <a:off x="6586" y="2271"/>
                <a:ext cx="21" cy="36"/>
              </a:xfrm>
              <a:custGeom>
                <a:gdLst>
                  <a:gd name="T0" fmla="*/ 4 w 9"/>
                  <a:gd name="T1" fmla="*/ 0 h 15"/>
                  <a:gd name="T2" fmla="*/ 4 w 9"/>
                  <a:gd name="T3" fmla="*/ 4 h 15"/>
                  <a:gd name="T4" fmla="*/ 4 w 9"/>
                  <a:gd name="T5" fmla="*/ 9 h 15"/>
                  <a:gd name="T6" fmla="*/ 4 w 9"/>
                  <a:gd name="T7" fmla="*/ 14 h 15"/>
                  <a:gd name="T8" fmla="*/ 4 w 9"/>
                  <a:gd name="T9" fmla="*/ 15 h 15"/>
                  <a:gd name="T10" fmla="*/ 4 w 9"/>
                  <a:gd name="T11" fmla="*/ 15 h 15"/>
                  <a:gd name="T12" fmla="*/ 4 w 9"/>
                  <a:gd name="T13" fmla="*/ 15 h 15"/>
                  <a:gd name="T14" fmla="*/ 5 w 9"/>
                  <a:gd name="T15" fmla="*/ 14 h 15"/>
                  <a:gd name="T16" fmla="*/ 6 w 9"/>
                  <a:gd name="T17" fmla="*/ 13 h 15"/>
                  <a:gd name="T18" fmla="*/ 6 w 9"/>
                  <a:gd name="T19" fmla="*/ 13 h 15"/>
                  <a:gd name="T20" fmla="*/ 5 w 9"/>
                  <a:gd name="T21" fmla="*/ 0 h 15"/>
                  <a:gd name="T22" fmla="*/ 4 w 9"/>
                  <a:gd name="T2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5">
                    <a:moveTo>
                      <a:pt x="4" y="0"/>
                    </a:moveTo>
                    <a:cubicBezTo>
                      <a:pt x="2" y="0"/>
                      <a:pt x="0" y="3"/>
                      <a:pt x="4" y="4"/>
                    </a:cubicBezTo>
                    <a:cubicBezTo>
                      <a:pt x="4" y="6"/>
                      <a:pt x="4" y="7"/>
                      <a:pt x="4" y="9"/>
                    </a:cubicBezTo>
                    <a:cubicBezTo>
                      <a:pt x="4" y="11"/>
                      <a:pt x="3" y="13"/>
                      <a:pt x="4" y="14"/>
                    </a:cubicBezTo>
                    <a:cubicBezTo>
                      <a:pt x="4" y="15"/>
                      <a:pt x="4" y="15"/>
                      <a:pt x="4" y="15"/>
                    </a:cubicBezTo>
                    <a:cubicBezTo>
                      <a:pt x="4" y="15"/>
                      <a:pt x="4" y="15"/>
                      <a:pt x="4" y="15"/>
                    </a:cubicBezTo>
                    <a:cubicBezTo>
                      <a:pt x="4" y="15"/>
                      <a:pt x="4" y="15"/>
                      <a:pt x="4" y="15"/>
                    </a:cubicBezTo>
                    <a:cubicBezTo>
                      <a:pt x="4" y="15"/>
                      <a:pt x="5" y="14"/>
                      <a:pt x="5" y="14"/>
                    </a:cubicBezTo>
                    <a:cubicBezTo>
                      <a:pt x="5" y="14"/>
                      <a:pt x="6" y="13"/>
                      <a:pt x="6" y="13"/>
                    </a:cubicBezTo>
                    <a:cubicBezTo>
                      <a:pt x="6" y="13"/>
                      <a:pt x="6" y="13"/>
                      <a:pt x="6" y="13"/>
                    </a:cubicBezTo>
                    <a:cubicBezTo>
                      <a:pt x="9" y="9"/>
                      <a:pt x="7" y="4"/>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223"/>
              <p:cNvSpPr/>
              <p:nvPr/>
            </p:nvSpPr>
            <p:spPr bwMode="auto">
              <a:xfrm>
                <a:off x="6647" y="2311"/>
                <a:ext cx="3"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1"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224"/>
              <p:cNvSpPr/>
              <p:nvPr/>
            </p:nvSpPr>
            <p:spPr bwMode="auto">
              <a:xfrm>
                <a:off x="6612" y="2281"/>
                <a:ext cx="7" cy="21"/>
              </a:xfrm>
              <a:custGeom>
                <a:gdLst>
                  <a:gd name="T0" fmla="*/ 1 w 3"/>
                  <a:gd name="T1" fmla="*/ 0 h 9"/>
                  <a:gd name="T2" fmla="*/ 0 w 3"/>
                  <a:gd name="T3" fmla="*/ 9 h 9"/>
                  <a:gd name="T4" fmla="*/ 3 w 3"/>
                  <a:gd name="T5" fmla="*/ 4 h 9"/>
                  <a:gd name="T6" fmla="*/ 1 w 3"/>
                  <a:gd name="T7" fmla="*/ 0 h 9"/>
                </a:gdLst>
                <a:cxnLst>
                  <a:cxn ang="0">
                    <a:pos x="T0" y="T1"/>
                  </a:cxn>
                  <a:cxn ang="0">
                    <a:pos x="T2" y="T3"/>
                  </a:cxn>
                  <a:cxn ang="0">
                    <a:pos x="T4" y="T5"/>
                  </a:cxn>
                  <a:cxn ang="0">
                    <a:pos x="T6" y="T7"/>
                  </a:cxn>
                </a:cxnLst>
                <a:rect l="0" t="0" r="r" b="b"/>
                <a:pathLst>
                  <a:path w="3" h="9">
                    <a:moveTo>
                      <a:pt x="1" y="0"/>
                    </a:moveTo>
                    <a:cubicBezTo>
                      <a:pt x="1" y="3"/>
                      <a:pt x="0" y="6"/>
                      <a:pt x="0" y="9"/>
                    </a:cubicBezTo>
                    <a:cubicBezTo>
                      <a:pt x="2" y="7"/>
                      <a:pt x="3" y="7"/>
                      <a:pt x="3" y="4"/>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225"/>
              <p:cNvSpPr/>
              <p:nvPr/>
            </p:nvSpPr>
            <p:spPr bwMode="auto">
              <a:xfrm>
                <a:off x="4785" y="2103"/>
                <a:ext cx="7" cy="22"/>
              </a:xfrm>
              <a:custGeom>
                <a:gdLst>
                  <a:gd name="T0" fmla="*/ 1 w 3"/>
                  <a:gd name="T1" fmla="*/ 0 h 9"/>
                  <a:gd name="T2" fmla="*/ 1 w 3"/>
                  <a:gd name="T3" fmla="*/ 0 h 9"/>
                  <a:gd name="T4" fmla="*/ 2 w 3"/>
                  <a:gd name="T5" fmla="*/ 9 h 9"/>
                  <a:gd name="T6" fmla="*/ 3 w 3"/>
                  <a:gd name="T7" fmla="*/ 4 h 9"/>
                  <a:gd name="T8" fmla="*/ 3 w 3"/>
                  <a:gd name="T9" fmla="*/ 1 h 9"/>
                  <a:gd name="T10" fmla="*/ 1 w 3"/>
                  <a:gd name="T11" fmla="*/ 0 h 9"/>
                </a:gdLst>
                <a:cxnLst>
                  <a:cxn ang="0">
                    <a:pos x="T0" y="T1"/>
                  </a:cxn>
                  <a:cxn ang="0">
                    <a:pos x="T2" y="T3"/>
                  </a:cxn>
                  <a:cxn ang="0">
                    <a:pos x="T4" y="T5"/>
                  </a:cxn>
                  <a:cxn ang="0">
                    <a:pos x="T6" y="T7"/>
                  </a:cxn>
                  <a:cxn ang="0">
                    <a:pos x="T8" y="T9"/>
                  </a:cxn>
                  <a:cxn ang="0">
                    <a:pos x="T10" y="T11"/>
                  </a:cxn>
                </a:cxnLst>
                <a:rect l="0" t="0" r="r" b="b"/>
                <a:pathLst>
                  <a:path w="3" h="9">
                    <a:moveTo>
                      <a:pt x="1" y="0"/>
                    </a:moveTo>
                    <a:cubicBezTo>
                      <a:pt x="1" y="0"/>
                      <a:pt x="1" y="0"/>
                      <a:pt x="1" y="0"/>
                    </a:cubicBezTo>
                    <a:cubicBezTo>
                      <a:pt x="0" y="1"/>
                      <a:pt x="2" y="8"/>
                      <a:pt x="2" y="9"/>
                    </a:cubicBezTo>
                    <a:cubicBezTo>
                      <a:pt x="3" y="8"/>
                      <a:pt x="3" y="6"/>
                      <a:pt x="3" y="4"/>
                    </a:cubicBezTo>
                    <a:cubicBezTo>
                      <a:pt x="3" y="3"/>
                      <a:pt x="1" y="1"/>
                      <a:pt x="3"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226"/>
              <p:cNvSpPr/>
              <p:nvPr/>
            </p:nvSpPr>
            <p:spPr bwMode="auto">
              <a:xfrm>
                <a:off x="5003" y="2068"/>
                <a:ext cx="44" cy="21"/>
              </a:xfrm>
              <a:custGeom>
                <a:gdLst>
                  <a:gd name="T0" fmla="*/ 16 w 19"/>
                  <a:gd name="T1" fmla="*/ 0 h 9"/>
                  <a:gd name="T2" fmla="*/ 13 w 19"/>
                  <a:gd name="T3" fmla="*/ 1 h 9"/>
                  <a:gd name="T4" fmla="*/ 10 w 19"/>
                  <a:gd name="T5" fmla="*/ 1 h 9"/>
                  <a:gd name="T6" fmla="*/ 7 w 19"/>
                  <a:gd name="T7" fmla="*/ 4 h 9"/>
                  <a:gd name="T8" fmla="*/ 5 w 19"/>
                  <a:gd name="T9" fmla="*/ 5 h 9"/>
                  <a:gd name="T10" fmla="*/ 0 w 19"/>
                  <a:gd name="T11" fmla="*/ 9 h 9"/>
                  <a:gd name="T12" fmla="*/ 2 w 19"/>
                  <a:gd name="T13" fmla="*/ 8 h 9"/>
                  <a:gd name="T14" fmla="*/ 11 w 19"/>
                  <a:gd name="T15" fmla="*/ 5 h 9"/>
                  <a:gd name="T16" fmla="*/ 11 w 19"/>
                  <a:gd name="T17" fmla="*/ 5 h 9"/>
                  <a:gd name="T18" fmla="*/ 12 w 19"/>
                  <a:gd name="T19" fmla="*/ 5 h 9"/>
                  <a:gd name="T20" fmla="*/ 13 w 19"/>
                  <a:gd name="T21" fmla="*/ 5 h 9"/>
                  <a:gd name="T22" fmla="*/ 13 w 19"/>
                  <a:gd name="T23" fmla="*/ 5 h 9"/>
                  <a:gd name="T24" fmla="*/ 15 w 19"/>
                  <a:gd name="T25" fmla="*/ 4 h 9"/>
                  <a:gd name="T26" fmla="*/ 19 w 19"/>
                  <a:gd name="T27" fmla="*/ 1 h 9"/>
                  <a:gd name="T28" fmla="*/ 17 w 19"/>
                  <a:gd name="T29" fmla="*/ 0 h 9"/>
                  <a:gd name="T30" fmla="*/ 16 w 19"/>
                  <a:gd name="T31"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9">
                    <a:moveTo>
                      <a:pt x="16" y="0"/>
                    </a:moveTo>
                    <a:cubicBezTo>
                      <a:pt x="15" y="0"/>
                      <a:pt x="14" y="0"/>
                      <a:pt x="13" y="1"/>
                    </a:cubicBezTo>
                    <a:cubicBezTo>
                      <a:pt x="10" y="1"/>
                      <a:pt x="10" y="1"/>
                      <a:pt x="10" y="1"/>
                    </a:cubicBezTo>
                    <a:cubicBezTo>
                      <a:pt x="8" y="2"/>
                      <a:pt x="10" y="3"/>
                      <a:pt x="7" y="4"/>
                    </a:cubicBezTo>
                    <a:cubicBezTo>
                      <a:pt x="7" y="5"/>
                      <a:pt x="6" y="5"/>
                      <a:pt x="5" y="5"/>
                    </a:cubicBezTo>
                    <a:cubicBezTo>
                      <a:pt x="3" y="6"/>
                      <a:pt x="1" y="7"/>
                      <a:pt x="0" y="9"/>
                    </a:cubicBezTo>
                    <a:cubicBezTo>
                      <a:pt x="1" y="9"/>
                      <a:pt x="1" y="9"/>
                      <a:pt x="2" y="8"/>
                    </a:cubicBezTo>
                    <a:cubicBezTo>
                      <a:pt x="5" y="7"/>
                      <a:pt x="8" y="6"/>
                      <a:pt x="11" y="5"/>
                    </a:cubicBezTo>
                    <a:cubicBezTo>
                      <a:pt x="11" y="5"/>
                      <a:pt x="11" y="5"/>
                      <a:pt x="11" y="5"/>
                    </a:cubicBezTo>
                    <a:cubicBezTo>
                      <a:pt x="12" y="5"/>
                      <a:pt x="12" y="5"/>
                      <a:pt x="12" y="5"/>
                    </a:cubicBezTo>
                    <a:cubicBezTo>
                      <a:pt x="12" y="5"/>
                      <a:pt x="12" y="5"/>
                      <a:pt x="13" y="5"/>
                    </a:cubicBezTo>
                    <a:cubicBezTo>
                      <a:pt x="13" y="5"/>
                      <a:pt x="13" y="5"/>
                      <a:pt x="13" y="5"/>
                    </a:cubicBezTo>
                    <a:cubicBezTo>
                      <a:pt x="14" y="5"/>
                      <a:pt x="15" y="4"/>
                      <a:pt x="15" y="4"/>
                    </a:cubicBezTo>
                    <a:cubicBezTo>
                      <a:pt x="17" y="3"/>
                      <a:pt x="17" y="1"/>
                      <a:pt x="19" y="1"/>
                    </a:cubicBezTo>
                    <a:cubicBezTo>
                      <a:pt x="18" y="1"/>
                      <a:pt x="18" y="0"/>
                      <a:pt x="17" y="0"/>
                    </a:cubicBezTo>
                    <a:cubicBezTo>
                      <a:pt x="17"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227"/>
              <p:cNvSpPr/>
              <p:nvPr/>
            </p:nvSpPr>
            <p:spPr bwMode="auto">
              <a:xfrm>
                <a:off x="4927" y="2198"/>
                <a:ext cx="21" cy="7"/>
              </a:xfrm>
              <a:custGeom>
                <a:gdLst>
                  <a:gd name="T0" fmla="*/ 4 w 9"/>
                  <a:gd name="T1" fmla="*/ 0 h 3"/>
                  <a:gd name="T2" fmla="*/ 0 w 9"/>
                  <a:gd name="T3" fmla="*/ 2 h 3"/>
                  <a:gd name="T4" fmla="*/ 3 w 9"/>
                  <a:gd name="T5" fmla="*/ 3 h 3"/>
                  <a:gd name="T6" fmla="*/ 5 w 9"/>
                  <a:gd name="T7" fmla="*/ 1 h 3"/>
                  <a:gd name="T8" fmla="*/ 4 w 9"/>
                  <a:gd name="T9" fmla="*/ 0 h 3"/>
                </a:gdLst>
                <a:cxnLst>
                  <a:cxn ang="0">
                    <a:pos x="T0" y="T1"/>
                  </a:cxn>
                  <a:cxn ang="0">
                    <a:pos x="T2" y="T3"/>
                  </a:cxn>
                  <a:cxn ang="0">
                    <a:pos x="T4" y="T5"/>
                  </a:cxn>
                  <a:cxn ang="0">
                    <a:pos x="T6" y="T7"/>
                  </a:cxn>
                  <a:cxn ang="0">
                    <a:pos x="T8" y="T9"/>
                  </a:cxn>
                </a:cxnLst>
                <a:rect l="0" t="0" r="r" b="b"/>
                <a:pathLst>
                  <a:path w="9" h="3">
                    <a:moveTo>
                      <a:pt x="4" y="0"/>
                    </a:moveTo>
                    <a:cubicBezTo>
                      <a:pt x="3" y="0"/>
                      <a:pt x="2" y="1"/>
                      <a:pt x="0" y="2"/>
                    </a:cubicBezTo>
                    <a:cubicBezTo>
                      <a:pt x="1" y="3"/>
                      <a:pt x="2" y="3"/>
                      <a:pt x="3" y="3"/>
                    </a:cubicBezTo>
                    <a:cubicBezTo>
                      <a:pt x="5" y="3"/>
                      <a:pt x="9" y="2"/>
                      <a:pt x="5" y="1"/>
                    </a:cubicBezTo>
                    <a:cubicBezTo>
                      <a:pt x="5"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228"/>
              <p:cNvSpPr/>
              <p:nvPr/>
            </p:nvSpPr>
            <p:spPr bwMode="auto">
              <a:xfrm>
                <a:off x="9247" y="3373"/>
                <a:ext cx="2" cy="2"/>
              </a:xfrm>
              <a:custGeom>
                <a:gdLst>
                  <a:gd name="T0" fmla="*/ 0 w 1"/>
                  <a:gd name="T1" fmla="*/ 0 h 1"/>
                  <a:gd name="T2" fmla="*/ 0 w 1"/>
                  <a:gd name="T3" fmla="*/ 1 h 1"/>
                  <a:gd name="T4" fmla="*/ 1 w 1"/>
                  <a:gd name="T5" fmla="*/ 1 h 1"/>
                  <a:gd name="T6" fmla="*/ 0 w 1"/>
                  <a:gd name="T7" fmla="*/ 0 h 1"/>
                </a:gdLst>
                <a:cxnLst>
                  <a:cxn ang="0">
                    <a:pos x="T0" y="T1"/>
                  </a:cxn>
                  <a:cxn ang="0">
                    <a:pos x="T2" y="T3"/>
                  </a:cxn>
                  <a:cxn ang="0">
                    <a:pos x="T4" y="T5"/>
                  </a:cxn>
                  <a:cxn ang="0">
                    <a:pos x="T6" y="T7"/>
                  </a:cxn>
                </a:cxnLst>
                <a:rect l="0" t="0" r="r" b="b"/>
                <a:pathLst>
                  <a:path w="1" h="1">
                    <a:moveTo>
                      <a:pt x="0" y="0"/>
                    </a:moveTo>
                    <a:cubicBezTo>
                      <a:pt x="0" y="1"/>
                      <a:pt x="0" y="1"/>
                      <a:pt x="0" y="1"/>
                    </a:cubicBezTo>
                    <a:cubicBezTo>
                      <a:pt x="1" y="1"/>
                      <a:pt x="1" y="1"/>
                      <a:pt x="1"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229"/>
              <p:cNvSpPr/>
              <p:nvPr/>
            </p:nvSpPr>
            <p:spPr bwMode="auto">
              <a:xfrm>
                <a:off x="7188" y="2841"/>
                <a:ext cx="12" cy="17"/>
              </a:xfrm>
              <a:custGeom>
                <a:gdLst>
                  <a:gd name="T0" fmla="*/ 3 w 5"/>
                  <a:gd name="T1" fmla="*/ 0 h 7"/>
                  <a:gd name="T2" fmla="*/ 2 w 5"/>
                  <a:gd name="T3" fmla="*/ 1 h 7"/>
                  <a:gd name="T4" fmla="*/ 0 w 5"/>
                  <a:gd name="T5" fmla="*/ 1 h 7"/>
                  <a:gd name="T6" fmla="*/ 0 w 5"/>
                  <a:gd name="T7" fmla="*/ 1 h 7"/>
                  <a:gd name="T8" fmla="*/ 3 w 5"/>
                  <a:gd name="T9" fmla="*/ 7 h 7"/>
                  <a:gd name="T10" fmla="*/ 5 w 5"/>
                  <a:gd name="T11" fmla="*/ 2 h 7"/>
                  <a:gd name="T12" fmla="*/ 3 w 5"/>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5" h="7">
                    <a:moveTo>
                      <a:pt x="3" y="0"/>
                    </a:moveTo>
                    <a:cubicBezTo>
                      <a:pt x="3" y="0"/>
                      <a:pt x="3" y="1"/>
                      <a:pt x="2" y="1"/>
                    </a:cubicBezTo>
                    <a:cubicBezTo>
                      <a:pt x="2" y="1"/>
                      <a:pt x="1" y="1"/>
                      <a:pt x="0" y="1"/>
                    </a:cubicBezTo>
                    <a:cubicBezTo>
                      <a:pt x="0" y="1"/>
                      <a:pt x="0" y="1"/>
                      <a:pt x="0" y="1"/>
                    </a:cubicBezTo>
                    <a:cubicBezTo>
                      <a:pt x="1" y="3"/>
                      <a:pt x="2" y="5"/>
                      <a:pt x="3" y="7"/>
                    </a:cubicBezTo>
                    <a:cubicBezTo>
                      <a:pt x="4" y="6"/>
                      <a:pt x="5" y="3"/>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230"/>
              <p:cNvSpPr>
                <a:spLocks noEditPoints="1"/>
              </p:cNvSpPr>
              <p:nvPr/>
            </p:nvSpPr>
            <p:spPr bwMode="auto">
              <a:xfrm>
                <a:off x="7257" y="2839"/>
                <a:ext cx="66" cy="42"/>
              </a:xfrm>
              <a:custGeom>
                <a:gdLst>
                  <a:gd name="T0" fmla="*/ 0 w 28"/>
                  <a:gd name="T1" fmla="*/ 0 h 18"/>
                  <a:gd name="T2" fmla="*/ 3 w 28"/>
                  <a:gd name="T3" fmla="*/ 3 h 18"/>
                  <a:gd name="T4" fmla="*/ 5 w 28"/>
                  <a:gd name="T5" fmla="*/ 6 h 18"/>
                  <a:gd name="T6" fmla="*/ 5 w 28"/>
                  <a:gd name="T7" fmla="*/ 6 h 18"/>
                  <a:gd name="T8" fmla="*/ 9 w 28"/>
                  <a:gd name="T9" fmla="*/ 9 h 18"/>
                  <a:gd name="T10" fmla="*/ 9 w 28"/>
                  <a:gd name="T11" fmla="*/ 9 h 18"/>
                  <a:gd name="T12" fmla="*/ 16 w 28"/>
                  <a:gd name="T13" fmla="*/ 14 h 18"/>
                  <a:gd name="T14" fmla="*/ 22 w 28"/>
                  <a:gd name="T15" fmla="*/ 18 h 18"/>
                  <a:gd name="T16" fmla="*/ 23 w 28"/>
                  <a:gd name="T17" fmla="*/ 17 h 18"/>
                  <a:gd name="T18" fmla="*/ 0 w 28"/>
                  <a:gd name="T19" fmla="*/ 0 h 18"/>
                  <a:gd name="T20" fmla="*/ 0 w 28"/>
                  <a:gd name="T21" fmla="*/ 0 h 18"/>
                  <a:gd name="T22" fmla="*/ 0 w 28"/>
                  <a:gd name="T23" fmla="*/ 0 h 18"/>
                  <a:gd name="T24" fmla="*/ 0 w 28"/>
                  <a:gd name="T2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8">
                    <a:moveTo>
                      <a:pt x="0" y="0"/>
                    </a:moveTo>
                    <a:cubicBezTo>
                      <a:pt x="0" y="1"/>
                      <a:pt x="2" y="2"/>
                      <a:pt x="3" y="3"/>
                    </a:cubicBezTo>
                    <a:cubicBezTo>
                      <a:pt x="3" y="4"/>
                      <a:pt x="4" y="5"/>
                      <a:pt x="5" y="6"/>
                    </a:cubicBezTo>
                    <a:cubicBezTo>
                      <a:pt x="5" y="6"/>
                      <a:pt x="5" y="6"/>
                      <a:pt x="5" y="6"/>
                    </a:cubicBezTo>
                    <a:cubicBezTo>
                      <a:pt x="7" y="7"/>
                      <a:pt x="8" y="8"/>
                      <a:pt x="9" y="9"/>
                    </a:cubicBezTo>
                    <a:cubicBezTo>
                      <a:pt x="9" y="9"/>
                      <a:pt x="9" y="9"/>
                      <a:pt x="9" y="9"/>
                    </a:cubicBezTo>
                    <a:cubicBezTo>
                      <a:pt x="11" y="11"/>
                      <a:pt x="13" y="12"/>
                      <a:pt x="16" y="14"/>
                    </a:cubicBezTo>
                    <a:cubicBezTo>
                      <a:pt x="17" y="15"/>
                      <a:pt x="20" y="18"/>
                      <a:pt x="22" y="18"/>
                    </a:cubicBezTo>
                    <a:cubicBezTo>
                      <a:pt x="22" y="18"/>
                      <a:pt x="22" y="18"/>
                      <a:pt x="23" y="17"/>
                    </a:cubicBezTo>
                    <a:cubicBezTo>
                      <a:pt x="28" y="12"/>
                      <a:pt x="0"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231"/>
              <p:cNvSpPr/>
              <p:nvPr/>
            </p:nvSpPr>
            <p:spPr bwMode="auto">
              <a:xfrm>
                <a:off x="7309" y="2917"/>
                <a:ext cx="7" cy="4"/>
              </a:xfrm>
              <a:custGeom>
                <a:gdLst>
                  <a:gd name="T0" fmla="*/ 3 w 3"/>
                  <a:gd name="T1" fmla="*/ 0 h 2"/>
                  <a:gd name="T2" fmla="*/ 1 w 3"/>
                  <a:gd name="T3" fmla="*/ 2 h 2"/>
                  <a:gd name="T4" fmla="*/ 3 w 3"/>
                  <a:gd name="T5" fmla="*/ 0 h 2"/>
                </a:gdLst>
                <a:cxnLst>
                  <a:cxn ang="0">
                    <a:pos x="T0" y="T1"/>
                  </a:cxn>
                  <a:cxn ang="0">
                    <a:pos x="T2" y="T3"/>
                  </a:cxn>
                  <a:cxn ang="0">
                    <a:pos x="T4" y="T5"/>
                  </a:cxn>
                </a:cxnLst>
                <a:rect l="0" t="0" r="r" b="b"/>
                <a:pathLst>
                  <a:path w="3" h="2">
                    <a:moveTo>
                      <a:pt x="3" y="0"/>
                    </a:moveTo>
                    <a:cubicBezTo>
                      <a:pt x="2" y="1"/>
                      <a:pt x="0" y="1"/>
                      <a:pt x="1" y="2"/>
                    </a:cubicBezTo>
                    <a:cubicBezTo>
                      <a:pt x="2"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232"/>
              <p:cNvSpPr/>
              <p:nvPr/>
            </p:nvSpPr>
            <p:spPr bwMode="auto">
              <a:xfrm>
                <a:off x="7288" y="2848"/>
                <a:ext cx="33" cy="21"/>
              </a:xfrm>
              <a:custGeom>
                <a:gdLst>
                  <a:gd name="T0" fmla="*/ 4 w 14"/>
                  <a:gd name="T1" fmla="*/ 0 h 9"/>
                  <a:gd name="T2" fmla="*/ 3 w 14"/>
                  <a:gd name="T3" fmla="*/ 1 h 9"/>
                  <a:gd name="T4" fmla="*/ 4 w 14"/>
                  <a:gd name="T5" fmla="*/ 1 h 9"/>
                  <a:gd name="T6" fmla="*/ 3 w 14"/>
                  <a:gd name="T7" fmla="*/ 1 h 9"/>
                  <a:gd name="T8" fmla="*/ 3 w 14"/>
                  <a:gd name="T9" fmla="*/ 1 h 9"/>
                  <a:gd name="T10" fmla="*/ 0 w 14"/>
                  <a:gd name="T11" fmla="*/ 0 h 9"/>
                  <a:gd name="T12" fmla="*/ 9 w 14"/>
                  <a:gd name="T13" fmla="*/ 7 h 9"/>
                  <a:gd name="T14" fmla="*/ 12 w 14"/>
                  <a:gd name="T15" fmla="*/ 9 h 9"/>
                  <a:gd name="T16" fmla="*/ 12 w 14"/>
                  <a:gd name="T17" fmla="*/ 8 h 9"/>
                  <a:gd name="T18" fmla="*/ 11 w 14"/>
                  <a:gd name="T19" fmla="*/ 7 h 9"/>
                  <a:gd name="T20" fmla="*/ 8 w 14"/>
                  <a:gd name="T21" fmla="*/ 5 h 9"/>
                  <a:gd name="T22" fmla="*/ 5 w 14"/>
                  <a:gd name="T23" fmla="*/ 1 h 9"/>
                  <a:gd name="T24" fmla="*/ 6 w 14"/>
                  <a:gd name="T25" fmla="*/ 2 h 9"/>
                  <a:gd name="T26" fmla="*/ 12 w 14"/>
                  <a:gd name="T27" fmla="*/ 6 h 9"/>
                  <a:gd name="T28" fmla="*/ 11 w 14"/>
                  <a:gd name="T29" fmla="*/ 3 h 9"/>
                  <a:gd name="T30" fmla="*/ 12 w 14"/>
                  <a:gd name="T31" fmla="*/ 3 h 9"/>
                  <a:gd name="T32" fmla="*/ 14 w 14"/>
                  <a:gd name="T33" fmla="*/ 2 h 9"/>
                  <a:gd name="T34" fmla="*/ 4 w 14"/>
                  <a:gd name="T35"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9">
                    <a:moveTo>
                      <a:pt x="4" y="0"/>
                    </a:moveTo>
                    <a:cubicBezTo>
                      <a:pt x="3" y="0"/>
                      <a:pt x="3" y="0"/>
                      <a:pt x="3" y="1"/>
                    </a:cubicBezTo>
                    <a:cubicBezTo>
                      <a:pt x="3" y="1"/>
                      <a:pt x="4" y="1"/>
                      <a:pt x="4" y="1"/>
                    </a:cubicBezTo>
                    <a:cubicBezTo>
                      <a:pt x="4" y="1"/>
                      <a:pt x="4" y="1"/>
                      <a:pt x="3" y="1"/>
                    </a:cubicBezTo>
                    <a:cubicBezTo>
                      <a:pt x="3" y="1"/>
                      <a:pt x="3" y="1"/>
                      <a:pt x="3" y="1"/>
                    </a:cubicBezTo>
                    <a:cubicBezTo>
                      <a:pt x="2" y="1"/>
                      <a:pt x="1" y="0"/>
                      <a:pt x="0" y="0"/>
                    </a:cubicBezTo>
                    <a:cubicBezTo>
                      <a:pt x="2" y="3"/>
                      <a:pt x="6" y="5"/>
                      <a:pt x="9" y="7"/>
                    </a:cubicBezTo>
                    <a:cubicBezTo>
                      <a:pt x="9" y="8"/>
                      <a:pt x="11" y="9"/>
                      <a:pt x="12" y="9"/>
                    </a:cubicBezTo>
                    <a:cubicBezTo>
                      <a:pt x="12" y="9"/>
                      <a:pt x="12" y="9"/>
                      <a:pt x="12" y="8"/>
                    </a:cubicBezTo>
                    <a:cubicBezTo>
                      <a:pt x="12" y="7"/>
                      <a:pt x="11" y="7"/>
                      <a:pt x="11" y="7"/>
                    </a:cubicBezTo>
                    <a:cubicBezTo>
                      <a:pt x="10" y="6"/>
                      <a:pt x="9" y="6"/>
                      <a:pt x="8" y="5"/>
                    </a:cubicBezTo>
                    <a:cubicBezTo>
                      <a:pt x="7" y="4"/>
                      <a:pt x="6" y="2"/>
                      <a:pt x="5" y="1"/>
                    </a:cubicBezTo>
                    <a:cubicBezTo>
                      <a:pt x="5" y="1"/>
                      <a:pt x="6" y="1"/>
                      <a:pt x="6" y="2"/>
                    </a:cubicBezTo>
                    <a:cubicBezTo>
                      <a:pt x="8" y="4"/>
                      <a:pt x="9" y="5"/>
                      <a:pt x="12" y="6"/>
                    </a:cubicBezTo>
                    <a:cubicBezTo>
                      <a:pt x="12" y="5"/>
                      <a:pt x="11" y="4"/>
                      <a:pt x="11" y="3"/>
                    </a:cubicBezTo>
                    <a:cubicBezTo>
                      <a:pt x="12" y="3"/>
                      <a:pt x="12" y="3"/>
                      <a:pt x="12" y="3"/>
                    </a:cubicBezTo>
                    <a:cubicBezTo>
                      <a:pt x="12" y="3"/>
                      <a:pt x="13" y="2"/>
                      <a:pt x="14" y="2"/>
                    </a:cubicBezTo>
                    <a:cubicBezTo>
                      <a:pt x="11" y="0"/>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233"/>
              <p:cNvSpPr/>
              <p:nvPr/>
            </p:nvSpPr>
            <p:spPr bwMode="auto">
              <a:xfrm>
                <a:off x="7323" y="2836"/>
                <a:ext cx="2" cy="7"/>
              </a:xfrm>
              <a:custGeom>
                <a:gdLst>
                  <a:gd name="T0" fmla="*/ 1 w 1"/>
                  <a:gd name="T1" fmla="*/ 0 h 3"/>
                  <a:gd name="T2" fmla="*/ 0 w 1"/>
                  <a:gd name="T3" fmla="*/ 0 h 3"/>
                  <a:gd name="T4" fmla="*/ 1 w 1"/>
                  <a:gd name="T5" fmla="*/ 3 h 3"/>
                  <a:gd name="T6" fmla="*/ 1 w 1"/>
                  <a:gd name="T7" fmla="*/ 0 h 3"/>
                </a:gdLst>
                <a:cxnLst>
                  <a:cxn ang="0">
                    <a:pos x="T0" y="T1"/>
                  </a:cxn>
                  <a:cxn ang="0">
                    <a:pos x="T2" y="T3"/>
                  </a:cxn>
                  <a:cxn ang="0">
                    <a:pos x="T4" y="T5"/>
                  </a:cxn>
                  <a:cxn ang="0">
                    <a:pos x="T6" y="T7"/>
                  </a:cxn>
                </a:cxnLst>
                <a:rect l="0" t="0" r="r" b="b"/>
                <a:pathLst>
                  <a:path w="1" h="3">
                    <a:moveTo>
                      <a:pt x="1" y="0"/>
                    </a:moveTo>
                    <a:cubicBezTo>
                      <a:pt x="0" y="0"/>
                      <a:pt x="0" y="0"/>
                      <a:pt x="0" y="0"/>
                    </a:cubicBez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234"/>
              <p:cNvSpPr/>
              <p:nvPr/>
            </p:nvSpPr>
            <p:spPr bwMode="auto">
              <a:xfrm>
                <a:off x="7919" y="2155"/>
                <a:ext cx="87" cy="156"/>
              </a:xfrm>
              <a:custGeom>
                <a:gdLst>
                  <a:gd name="T0" fmla="*/ 30 w 37"/>
                  <a:gd name="T1" fmla="*/ 0 h 66"/>
                  <a:gd name="T2" fmla="*/ 32 w 37"/>
                  <a:gd name="T3" fmla="*/ 3 h 66"/>
                  <a:gd name="T4" fmla="*/ 27 w 37"/>
                  <a:gd name="T5" fmla="*/ 8 h 66"/>
                  <a:gd name="T6" fmla="*/ 21 w 37"/>
                  <a:gd name="T7" fmla="*/ 3 h 66"/>
                  <a:gd name="T8" fmla="*/ 22 w 37"/>
                  <a:gd name="T9" fmla="*/ 2 h 66"/>
                  <a:gd name="T10" fmla="*/ 18 w 37"/>
                  <a:gd name="T11" fmla="*/ 4 h 66"/>
                  <a:gd name="T12" fmla="*/ 16 w 37"/>
                  <a:gd name="T13" fmla="*/ 8 h 66"/>
                  <a:gd name="T14" fmla="*/ 12 w 37"/>
                  <a:gd name="T15" fmla="*/ 12 h 66"/>
                  <a:gd name="T16" fmla="*/ 2 w 37"/>
                  <a:gd name="T17" fmla="*/ 30 h 66"/>
                  <a:gd name="T18" fmla="*/ 1 w 37"/>
                  <a:gd name="T19" fmla="*/ 41 h 66"/>
                  <a:gd name="T20" fmla="*/ 4 w 37"/>
                  <a:gd name="T21" fmla="*/ 50 h 66"/>
                  <a:gd name="T22" fmla="*/ 9 w 37"/>
                  <a:gd name="T23" fmla="*/ 58 h 66"/>
                  <a:gd name="T24" fmla="*/ 15 w 37"/>
                  <a:gd name="T25" fmla="*/ 66 h 66"/>
                  <a:gd name="T26" fmla="*/ 19 w 37"/>
                  <a:gd name="T27" fmla="*/ 52 h 66"/>
                  <a:gd name="T28" fmla="*/ 27 w 37"/>
                  <a:gd name="T29" fmla="*/ 35 h 66"/>
                  <a:gd name="T30" fmla="*/ 32 w 37"/>
                  <a:gd name="T31" fmla="*/ 18 h 66"/>
                  <a:gd name="T32" fmla="*/ 34 w 37"/>
                  <a:gd name="T33" fmla="*/ 10 h 66"/>
                  <a:gd name="T34" fmla="*/ 37 w 37"/>
                  <a:gd name="T35" fmla="*/ 3 h 66"/>
                  <a:gd name="T36" fmla="*/ 30 w 37"/>
                  <a:gd name="T37" fmla="*/ 0 h 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66">
                    <a:moveTo>
                      <a:pt x="30" y="0"/>
                    </a:moveTo>
                    <a:cubicBezTo>
                      <a:pt x="31" y="1"/>
                      <a:pt x="32" y="2"/>
                      <a:pt x="32" y="3"/>
                    </a:cubicBezTo>
                    <a:cubicBezTo>
                      <a:pt x="32" y="6"/>
                      <a:pt x="29" y="8"/>
                      <a:pt x="27" y="8"/>
                    </a:cubicBezTo>
                    <a:cubicBezTo>
                      <a:pt x="24" y="8"/>
                      <a:pt x="21" y="6"/>
                      <a:pt x="21" y="3"/>
                    </a:cubicBezTo>
                    <a:cubicBezTo>
                      <a:pt x="21" y="3"/>
                      <a:pt x="22" y="2"/>
                      <a:pt x="22" y="2"/>
                    </a:cubicBezTo>
                    <a:cubicBezTo>
                      <a:pt x="20" y="3"/>
                      <a:pt x="19" y="4"/>
                      <a:pt x="18" y="4"/>
                    </a:cubicBezTo>
                    <a:cubicBezTo>
                      <a:pt x="17" y="5"/>
                      <a:pt x="16" y="7"/>
                      <a:pt x="16" y="8"/>
                    </a:cubicBezTo>
                    <a:cubicBezTo>
                      <a:pt x="15" y="10"/>
                      <a:pt x="13" y="11"/>
                      <a:pt x="12" y="12"/>
                    </a:cubicBezTo>
                    <a:cubicBezTo>
                      <a:pt x="8" y="17"/>
                      <a:pt x="4" y="24"/>
                      <a:pt x="2" y="30"/>
                    </a:cubicBezTo>
                    <a:cubicBezTo>
                      <a:pt x="1" y="34"/>
                      <a:pt x="1" y="37"/>
                      <a:pt x="1" y="41"/>
                    </a:cubicBezTo>
                    <a:cubicBezTo>
                      <a:pt x="0" y="43"/>
                      <a:pt x="2" y="47"/>
                      <a:pt x="4" y="50"/>
                    </a:cubicBezTo>
                    <a:cubicBezTo>
                      <a:pt x="5" y="53"/>
                      <a:pt x="7" y="55"/>
                      <a:pt x="9" y="58"/>
                    </a:cubicBezTo>
                    <a:cubicBezTo>
                      <a:pt x="11" y="61"/>
                      <a:pt x="11" y="65"/>
                      <a:pt x="15" y="66"/>
                    </a:cubicBezTo>
                    <a:cubicBezTo>
                      <a:pt x="16" y="60"/>
                      <a:pt x="17" y="57"/>
                      <a:pt x="19" y="52"/>
                    </a:cubicBezTo>
                    <a:cubicBezTo>
                      <a:pt x="22" y="46"/>
                      <a:pt x="25" y="41"/>
                      <a:pt x="27" y="35"/>
                    </a:cubicBezTo>
                    <a:cubicBezTo>
                      <a:pt x="29" y="30"/>
                      <a:pt x="31" y="24"/>
                      <a:pt x="32" y="18"/>
                    </a:cubicBezTo>
                    <a:cubicBezTo>
                      <a:pt x="33" y="15"/>
                      <a:pt x="34" y="13"/>
                      <a:pt x="34" y="10"/>
                    </a:cubicBezTo>
                    <a:cubicBezTo>
                      <a:pt x="35" y="8"/>
                      <a:pt x="35" y="4"/>
                      <a:pt x="37" y="3"/>
                    </a:cubicBezTo>
                    <a:cubicBezTo>
                      <a:pt x="35" y="2"/>
                      <a:pt x="33"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Rectangle 235"/>
              <p:cNvSpPr>
                <a:spLocks noChangeArrowheads="1"/>
              </p:cNvSpPr>
              <p:nvPr/>
            </p:nvSpPr>
            <p:spPr bwMode="auto">
              <a:xfrm>
                <a:off x="7982" y="215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236"/>
              <p:cNvSpPr/>
              <p:nvPr/>
            </p:nvSpPr>
            <p:spPr bwMode="auto">
              <a:xfrm flipH="1">
                <a:off x="7982" y="215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237"/>
              <p:cNvSpPr/>
              <p:nvPr/>
            </p:nvSpPr>
            <p:spPr bwMode="auto">
              <a:xfrm>
                <a:off x="7838" y="2186"/>
                <a:ext cx="10" cy="7"/>
              </a:xfrm>
              <a:custGeom>
                <a:gdLst>
                  <a:gd name="T0" fmla="*/ 3 w 4"/>
                  <a:gd name="T1" fmla="*/ 0 h 3"/>
                  <a:gd name="T2" fmla="*/ 1 w 4"/>
                  <a:gd name="T3" fmla="*/ 3 h 3"/>
                  <a:gd name="T4" fmla="*/ 2 w 4"/>
                  <a:gd name="T5" fmla="*/ 3 h 3"/>
                  <a:gd name="T6" fmla="*/ 3 w 4"/>
                  <a:gd name="T7" fmla="*/ 0 h 3"/>
                </a:gdLst>
                <a:cxnLst>
                  <a:cxn ang="0">
                    <a:pos x="T0" y="T1"/>
                  </a:cxn>
                  <a:cxn ang="0">
                    <a:pos x="T2" y="T3"/>
                  </a:cxn>
                  <a:cxn ang="0">
                    <a:pos x="T4" y="T5"/>
                  </a:cxn>
                  <a:cxn ang="0">
                    <a:pos x="T6" y="T7"/>
                  </a:cxn>
                </a:cxnLst>
                <a:rect l="0" t="0" r="r" b="b"/>
                <a:pathLst>
                  <a:path w="4" h="3">
                    <a:moveTo>
                      <a:pt x="3" y="0"/>
                    </a:moveTo>
                    <a:cubicBezTo>
                      <a:pt x="2" y="1"/>
                      <a:pt x="0" y="1"/>
                      <a:pt x="1" y="3"/>
                    </a:cubicBezTo>
                    <a:cubicBezTo>
                      <a:pt x="1" y="3"/>
                      <a:pt x="2" y="3"/>
                      <a:pt x="2" y="3"/>
                    </a:cubicBezTo>
                    <a:cubicBezTo>
                      <a:pt x="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238"/>
              <p:cNvSpPr/>
              <p:nvPr/>
            </p:nvSpPr>
            <p:spPr bwMode="auto">
              <a:xfrm>
                <a:off x="7895" y="2233"/>
                <a:ext cx="7" cy="0"/>
              </a:xfrm>
              <a:custGeom>
                <a:gdLst>
                  <a:gd name="T0" fmla="*/ 2 w 3"/>
                  <a:gd name="T1" fmla="*/ 0 w 3"/>
                  <a:gd name="T2" fmla="*/ 3 w 3"/>
                  <a:gd name="T3" fmla="*/ 2 w 3"/>
                </a:gdLst>
                <a:cxnLst>
                  <a:cxn ang="0">
                    <a:pos x="T0" y="0"/>
                  </a:cxn>
                  <a:cxn ang="0">
                    <a:pos x="T1" y="0"/>
                  </a:cxn>
                  <a:cxn ang="0">
                    <a:pos x="T2" y="0"/>
                  </a:cxn>
                  <a:cxn ang="0">
                    <a:pos x="T3" y="0"/>
                  </a:cxn>
                </a:cxnLst>
                <a:rect l="0" t="0" r="r" b="b"/>
                <a:pathLst>
                  <a:path w="3">
                    <a:moveTo>
                      <a:pt x="2" y="0"/>
                    </a:moveTo>
                    <a:cubicBezTo>
                      <a:pt x="1" y="0"/>
                      <a:pt x="1" y="0"/>
                      <a:pt x="0" y="0"/>
                    </a:cubicBezTo>
                    <a:cubicBezTo>
                      <a:pt x="1" y="0"/>
                      <a:pt x="2"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239"/>
              <p:cNvSpPr/>
              <p:nvPr/>
            </p:nvSpPr>
            <p:spPr bwMode="auto">
              <a:xfrm>
                <a:off x="8202" y="1524"/>
                <a:ext cx="7" cy="12"/>
              </a:xfrm>
              <a:custGeom>
                <a:gdLst>
                  <a:gd name="T0" fmla="*/ 2 w 3"/>
                  <a:gd name="T1" fmla="*/ 0 h 5"/>
                  <a:gd name="T2" fmla="*/ 2 w 3"/>
                  <a:gd name="T3" fmla="*/ 5 h 5"/>
                  <a:gd name="T4" fmla="*/ 3 w 3"/>
                  <a:gd name="T5" fmla="*/ 5 h 5"/>
                  <a:gd name="T6" fmla="*/ 2 w 3"/>
                  <a:gd name="T7" fmla="*/ 0 h 5"/>
                </a:gdLst>
                <a:cxnLst>
                  <a:cxn ang="0">
                    <a:pos x="T0" y="T1"/>
                  </a:cxn>
                  <a:cxn ang="0">
                    <a:pos x="T2" y="T3"/>
                  </a:cxn>
                  <a:cxn ang="0">
                    <a:pos x="T4" y="T5"/>
                  </a:cxn>
                  <a:cxn ang="0">
                    <a:pos x="T6" y="T7"/>
                  </a:cxn>
                </a:cxnLst>
                <a:rect l="0" t="0" r="r" b="b"/>
                <a:pathLst>
                  <a:path w="3" h="5">
                    <a:moveTo>
                      <a:pt x="2" y="0"/>
                    </a:moveTo>
                    <a:cubicBezTo>
                      <a:pt x="0" y="2"/>
                      <a:pt x="0" y="5"/>
                      <a:pt x="2" y="5"/>
                    </a:cubicBezTo>
                    <a:cubicBezTo>
                      <a:pt x="2" y="5"/>
                      <a:pt x="3" y="5"/>
                      <a:pt x="3" y="5"/>
                    </a:cubicBezTo>
                    <a:cubicBezTo>
                      <a:pt x="3"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Freeform 240"/>
              <p:cNvSpPr>
                <a:spLocks noEditPoints="1"/>
              </p:cNvSpPr>
              <p:nvPr/>
            </p:nvSpPr>
            <p:spPr bwMode="auto">
              <a:xfrm>
                <a:off x="7403" y="2394"/>
                <a:ext cx="109" cy="90"/>
              </a:xfrm>
              <a:custGeom>
                <a:gdLst>
                  <a:gd name="T0" fmla="*/ 13 w 46"/>
                  <a:gd name="T1" fmla="*/ 4 h 38"/>
                  <a:gd name="T2" fmla="*/ 13 w 46"/>
                  <a:gd name="T3" fmla="*/ 5 h 38"/>
                  <a:gd name="T4" fmla="*/ 13 w 46"/>
                  <a:gd name="T5" fmla="*/ 4 h 38"/>
                  <a:gd name="T6" fmla="*/ 39 w 46"/>
                  <a:gd name="T7" fmla="*/ 0 h 38"/>
                  <a:gd name="T8" fmla="*/ 37 w 46"/>
                  <a:gd name="T9" fmla="*/ 4 h 38"/>
                  <a:gd name="T10" fmla="*/ 33 w 46"/>
                  <a:gd name="T11" fmla="*/ 2 h 38"/>
                  <a:gd name="T12" fmla="*/ 30 w 46"/>
                  <a:gd name="T13" fmla="*/ 2 h 38"/>
                  <a:gd name="T14" fmla="*/ 29 w 46"/>
                  <a:gd name="T15" fmla="*/ 3 h 38"/>
                  <a:gd name="T16" fmla="*/ 26 w 46"/>
                  <a:gd name="T17" fmla="*/ 4 h 38"/>
                  <a:gd name="T18" fmla="*/ 24 w 46"/>
                  <a:gd name="T19" fmla="*/ 3 h 38"/>
                  <a:gd name="T20" fmla="*/ 23 w 46"/>
                  <a:gd name="T21" fmla="*/ 3 h 38"/>
                  <a:gd name="T22" fmla="*/ 22 w 46"/>
                  <a:gd name="T23" fmla="*/ 3 h 38"/>
                  <a:gd name="T24" fmla="*/ 22 w 46"/>
                  <a:gd name="T25" fmla="*/ 3 h 38"/>
                  <a:gd name="T26" fmla="*/ 21 w 46"/>
                  <a:gd name="T27" fmla="*/ 3 h 38"/>
                  <a:gd name="T28" fmla="*/ 21 w 46"/>
                  <a:gd name="T29" fmla="*/ 3 h 38"/>
                  <a:gd name="T30" fmla="*/ 18 w 46"/>
                  <a:gd name="T31" fmla="*/ 4 h 38"/>
                  <a:gd name="T32" fmla="*/ 16 w 46"/>
                  <a:gd name="T33" fmla="*/ 5 h 38"/>
                  <a:gd name="T34" fmla="*/ 16 w 46"/>
                  <a:gd name="T35" fmla="*/ 5 h 38"/>
                  <a:gd name="T36" fmla="*/ 15 w 46"/>
                  <a:gd name="T37" fmla="*/ 5 h 38"/>
                  <a:gd name="T38" fmla="*/ 14 w 46"/>
                  <a:gd name="T39" fmla="*/ 5 h 38"/>
                  <a:gd name="T40" fmla="*/ 13 w 46"/>
                  <a:gd name="T41" fmla="*/ 5 h 38"/>
                  <a:gd name="T42" fmla="*/ 13 w 46"/>
                  <a:gd name="T43" fmla="*/ 8 h 38"/>
                  <a:gd name="T44" fmla="*/ 6 w 46"/>
                  <a:gd name="T45" fmla="*/ 13 h 38"/>
                  <a:gd name="T46" fmla="*/ 0 w 46"/>
                  <a:gd name="T47" fmla="*/ 19 h 38"/>
                  <a:gd name="T48" fmla="*/ 0 w 46"/>
                  <a:gd name="T49" fmla="*/ 22 h 38"/>
                  <a:gd name="T50" fmla="*/ 1 w 46"/>
                  <a:gd name="T51" fmla="*/ 30 h 38"/>
                  <a:gd name="T52" fmla="*/ 1 w 46"/>
                  <a:gd name="T53" fmla="*/ 32 h 38"/>
                  <a:gd name="T54" fmla="*/ 14 w 46"/>
                  <a:gd name="T55" fmla="*/ 37 h 38"/>
                  <a:gd name="T56" fmla="*/ 18 w 46"/>
                  <a:gd name="T57" fmla="*/ 38 h 38"/>
                  <a:gd name="T58" fmla="*/ 20 w 46"/>
                  <a:gd name="T59" fmla="*/ 38 h 38"/>
                  <a:gd name="T60" fmla="*/ 22 w 46"/>
                  <a:gd name="T61" fmla="*/ 35 h 38"/>
                  <a:gd name="T62" fmla="*/ 26 w 46"/>
                  <a:gd name="T63" fmla="*/ 34 h 38"/>
                  <a:gd name="T64" fmla="*/ 29 w 46"/>
                  <a:gd name="T65" fmla="*/ 32 h 38"/>
                  <a:gd name="T66" fmla="*/ 29 w 46"/>
                  <a:gd name="T67" fmla="*/ 31 h 38"/>
                  <a:gd name="T68" fmla="*/ 33 w 46"/>
                  <a:gd name="T69" fmla="*/ 28 h 38"/>
                  <a:gd name="T70" fmla="*/ 34 w 46"/>
                  <a:gd name="T71" fmla="*/ 29 h 38"/>
                  <a:gd name="T72" fmla="*/ 35 w 46"/>
                  <a:gd name="T73" fmla="*/ 27 h 38"/>
                  <a:gd name="T74" fmla="*/ 36 w 46"/>
                  <a:gd name="T75" fmla="*/ 27 h 38"/>
                  <a:gd name="T76" fmla="*/ 38 w 46"/>
                  <a:gd name="T77" fmla="*/ 18 h 38"/>
                  <a:gd name="T78" fmla="*/ 42 w 46"/>
                  <a:gd name="T79" fmla="*/ 10 h 38"/>
                  <a:gd name="T80" fmla="*/ 43 w 46"/>
                  <a:gd name="T81" fmla="*/ 12 h 38"/>
                  <a:gd name="T82" fmla="*/ 46 w 46"/>
                  <a:gd name="T83" fmla="*/ 10 h 38"/>
                  <a:gd name="T84" fmla="*/ 46 w 46"/>
                  <a:gd name="T85" fmla="*/ 10 h 38"/>
                  <a:gd name="T86" fmla="*/ 45 w 46"/>
                  <a:gd name="T87" fmla="*/ 4 h 38"/>
                  <a:gd name="T88" fmla="*/ 39 w 46"/>
                  <a:gd name="T89" fmla="*/ 0 h 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 h="38">
                    <a:moveTo>
                      <a:pt x="13" y="4"/>
                    </a:moveTo>
                    <a:cubicBezTo>
                      <a:pt x="13" y="5"/>
                      <a:pt x="13" y="5"/>
                      <a:pt x="13" y="5"/>
                    </a:cubicBezTo>
                    <a:cubicBezTo>
                      <a:pt x="13" y="5"/>
                      <a:pt x="13" y="4"/>
                      <a:pt x="13" y="4"/>
                    </a:cubicBezTo>
                    <a:moveTo>
                      <a:pt x="39" y="0"/>
                    </a:moveTo>
                    <a:cubicBezTo>
                      <a:pt x="38" y="2"/>
                      <a:pt x="38" y="4"/>
                      <a:pt x="37" y="4"/>
                    </a:cubicBezTo>
                    <a:cubicBezTo>
                      <a:pt x="37" y="4"/>
                      <a:pt x="36" y="3"/>
                      <a:pt x="33" y="2"/>
                    </a:cubicBezTo>
                    <a:cubicBezTo>
                      <a:pt x="32" y="2"/>
                      <a:pt x="31" y="2"/>
                      <a:pt x="30" y="2"/>
                    </a:cubicBezTo>
                    <a:cubicBezTo>
                      <a:pt x="29" y="2"/>
                      <a:pt x="29" y="2"/>
                      <a:pt x="29" y="3"/>
                    </a:cubicBezTo>
                    <a:cubicBezTo>
                      <a:pt x="28" y="3"/>
                      <a:pt x="27" y="4"/>
                      <a:pt x="26" y="4"/>
                    </a:cubicBezTo>
                    <a:cubicBezTo>
                      <a:pt x="25" y="4"/>
                      <a:pt x="25" y="3"/>
                      <a:pt x="24" y="3"/>
                    </a:cubicBezTo>
                    <a:cubicBezTo>
                      <a:pt x="23" y="3"/>
                      <a:pt x="23" y="3"/>
                      <a:pt x="23" y="3"/>
                    </a:cubicBezTo>
                    <a:cubicBezTo>
                      <a:pt x="23" y="3"/>
                      <a:pt x="23" y="3"/>
                      <a:pt x="22" y="3"/>
                    </a:cubicBezTo>
                    <a:cubicBezTo>
                      <a:pt x="22" y="3"/>
                      <a:pt x="22" y="3"/>
                      <a:pt x="22" y="3"/>
                    </a:cubicBezTo>
                    <a:cubicBezTo>
                      <a:pt x="21" y="3"/>
                      <a:pt x="21" y="3"/>
                      <a:pt x="21" y="3"/>
                    </a:cubicBezTo>
                    <a:cubicBezTo>
                      <a:pt x="21" y="3"/>
                      <a:pt x="21" y="3"/>
                      <a:pt x="21" y="3"/>
                    </a:cubicBezTo>
                    <a:cubicBezTo>
                      <a:pt x="20" y="3"/>
                      <a:pt x="19" y="3"/>
                      <a:pt x="18" y="4"/>
                    </a:cubicBezTo>
                    <a:cubicBezTo>
                      <a:pt x="17" y="4"/>
                      <a:pt x="18" y="5"/>
                      <a:pt x="16" y="5"/>
                    </a:cubicBezTo>
                    <a:cubicBezTo>
                      <a:pt x="16" y="5"/>
                      <a:pt x="16" y="5"/>
                      <a:pt x="16" y="5"/>
                    </a:cubicBezTo>
                    <a:cubicBezTo>
                      <a:pt x="15" y="5"/>
                      <a:pt x="15" y="5"/>
                      <a:pt x="15" y="5"/>
                    </a:cubicBezTo>
                    <a:cubicBezTo>
                      <a:pt x="14" y="5"/>
                      <a:pt x="14" y="5"/>
                      <a:pt x="14" y="5"/>
                    </a:cubicBezTo>
                    <a:cubicBezTo>
                      <a:pt x="14" y="5"/>
                      <a:pt x="13" y="5"/>
                      <a:pt x="13" y="5"/>
                    </a:cubicBezTo>
                    <a:cubicBezTo>
                      <a:pt x="13" y="5"/>
                      <a:pt x="13" y="7"/>
                      <a:pt x="13" y="8"/>
                    </a:cubicBezTo>
                    <a:cubicBezTo>
                      <a:pt x="11" y="10"/>
                      <a:pt x="8" y="11"/>
                      <a:pt x="6" y="13"/>
                    </a:cubicBezTo>
                    <a:cubicBezTo>
                      <a:pt x="3" y="15"/>
                      <a:pt x="1" y="15"/>
                      <a:pt x="0" y="19"/>
                    </a:cubicBezTo>
                    <a:cubicBezTo>
                      <a:pt x="0" y="21"/>
                      <a:pt x="0" y="21"/>
                      <a:pt x="0" y="22"/>
                    </a:cubicBezTo>
                    <a:cubicBezTo>
                      <a:pt x="1" y="25"/>
                      <a:pt x="0" y="27"/>
                      <a:pt x="1" y="30"/>
                    </a:cubicBezTo>
                    <a:cubicBezTo>
                      <a:pt x="2" y="31"/>
                      <a:pt x="1" y="31"/>
                      <a:pt x="1" y="32"/>
                    </a:cubicBezTo>
                    <a:cubicBezTo>
                      <a:pt x="3" y="35"/>
                      <a:pt x="11" y="36"/>
                      <a:pt x="14" y="37"/>
                    </a:cubicBezTo>
                    <a:cubicBezTo>
                      <a:pt x="15" y="38"/>
                      <a:pt x="17" y="38"/>
                      <a:pt x="18" y="38"/>
                    </a:cubicBezTo>
                    <a:cubicBezTo>
                      <a:pt x="19" y="38"/>
                      <a:pt x="20" y="38"/>
                      <a:pt x="20" y="38"/>
                    </a:cubicBezTo>
                    <a:cubicBezTo>
                      <a:pt x="21" y="38"/>
                      <a:pt x="22" y="36"/>
                      <a:pt x="22" y="35"/>
                    </a:cubicBezTo>
                    <a:cubicBezTo>
                      <a:pt x="22" y="34"/>
                      <a:pt x="25" y="34"/>
                      <a:pt x="26" y="34"/>
                    </a:cubicBezTo>
                    <a:cubicBezTo>
                      <a:pt x="27" y="33"/>
                      <a:pt x="28" y="32"/>
                      <a:pt x="29" y="32"/>
                    </a:cubicBezTo>
                    <a:cubicBezTo>
                      <a:pt x="29" y="31"/>
                      <a:pt x="29" y="31"/>
                      <a:pt x="29" y="31"/>
                    </a:cubicBezTo>
                    <a:cubicBezTo>
                      <a:pt x="30" y="30"/>
                      <a:pt x="32" y="28"/>
                      <a:pt x="33" y="28"/>
                    </a:cubicBezTo>
                    <a:cubicBezTo>
                      <a:pt x="34" y="28"/>
                      <a:pt x="34" y="29"/>
                      <a:pt x="34" y="29"/>
                    </a:cubicBezTo>
                    <a:cubicBezTo>
                      <a:pt x="35" y="28"/>
                      <a:pt x="35" y="28"/>
                      <a:pt x="35" y="27"/>
                    </a:cubicBezTo>
                    <a:cubicBezTo>
                      <a:pt x="36" y="27"/>
                      <a:pt x="36" y="27"/>
                      <a:pt x="36" y="27"/>
                    </a:cubicBezTo>
                    <a:cubicBezTo>
                      <a:pt x="38" y="24"/>
                      <a:pt x="37" y="21"/>
                      <a:pt x="38" y="18"/>
                    </a:cubicBezTo>
                    <a:cubicBezTo>
                      <a:pt x="39" y="15"/>
                      <a:pt x="41" y="13"/>
                      <a:pt x="42" y="10"/>
                    </a:cubicBezTo>
                    <a:cubicBezTo>
                      <a:pt x="42" y="10"/>
                      <a:pt x="43" y="11"/>
                      <a:pt x="43" y="12"/>
                    </a:cubicBezTo>
                    <a:cubicBezTo>
                      <a:pt x="44" y="11"/>
                      <a:pt x="45" y="10"/>
                      <a:pt x="46" y="10"/>
                    </a:cubicBezTo>
                    <a:cubicBezTo>
                      <a:pt x="46" y="10"/>
                      <a:pt x="46" y="10"/>
                      <a:pt x="46" y="10"/>
                    </a:cubicBezTo>
                    <a:cubicBezTo>
                      <a:pt x="46" y="8"/>
                      <a:pt x="45" y="6"/>
                      <a:pt x="45" y="4"/>
                    </a:cubicBezTo>
                    <a:cubicBezTo>
                      <a:pt x="44" y="2"/>
                      <a:pt x="40" y="2"/>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241"/>
              <p:cNvSpPr/>
              <p:nvPr/>
            </p:nvSpPr>
            <p:spPr bwMode="auto">
              <a:xfrm>
                <a:off x="7477" y="2352"/>
                <a:ext cx="11" cy="4"/>
              </a:xfrm>
              <a:custGeom>
                <a:gdLst>
                  <a:gd name="T0" fmla="*/ 4 w 5"/>
                  <a:gd name="T1" fmla="*/ 0 h 2"/>
                  <a:gd name="T2" fmla="*/ 0 w 5"/>
                  <a:gd name="T3" fmla="*/ 2 h 2"/>
                  <a:gd name="T4" fmla="*/ 2 w 5"/>
                  <a:gd name="T5" fmla="*/ 1 h 2"/>
                  <a:gd name="T6" fmla="*/ 2 w 5"/>
                  <a:gd name="T7" fmla="*/ 1 h 2"/>
                  <a:gd name="T8" fmla="*/ 5 w 5"/>
                  <a:gd name="T9" fmla="*/ 2 h 2"/>
                  <a:gd name="T10" fmla="*/ 4 w 5"/>
                  <a:gd name="T11" fmla="*/ 0 h 2"/>
                </a:gdLst>
                <a:cxnLst>
                  <a:cxn ang="0">
                    <a:pos x="T0" y="T1"/>
                  </a:cxn>
                  <a:cxn ang="0">
                    <a:pos x="T2" y="T3"/>
                  </a:cxn>
                  <a:cxn ang="0">
                    <a:pos x="T4" y="T5"/>
                  </a:cxn>
                  <a:cxn ang="0">
                    <a:pos x="T6" y="T7"/>
                  </a:cxn>
                  <a:cxn ang="0">
                    <a:pos x="T8" y="T9"/>
                  </a:cxn>
                  <a:cxn ang="0">
                    <a:pos x="T10" y="T11"/>
                  </a:cxn>
                </a:cxnLst>
                <a:rect l="0" t="0" r="r" b="b"/>
                <a:pathLst>
                  <a:path w="5" h="2">
                    <a:moveTo>
                      <a:pt x="4" y="0"/>
                    </a:moveTo>
                    <a:cubicBezTo>
                      <a:pt x="3" y="0"/>
                      <a:pt x="1" y="1"/>
                      <a:pt x="0" y="2"/>
                    </a:cubicBezTo>
                    <a:cubicBezTo>
                      <a:pt x="1" y="2"/>
                      <a:pt x="1" y="1"/>
                      <a:pt x="2" y="1"/>
                    </a:cubicBezTo>
                    <a:cubicBezTo>
                      <a:pt x="2" y="1"/>
                      <a:pt x="2" y="1"/>
                      <a:pt x="2" y="1"/>
                    </a:cubicBezTo>
                    <a:cubicBezTo>
                      <a:pt x="3" y="1"/>
                      <a:pt x="4" y="2"/>
                      <a:pt x="5" y="2"/>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242"/>
              <p:cNvSpPr/>
              <p:nvPr/>
            </p:nvSpPr>
            <p:spPr bwMode="auto">
              <a:xfrm>
                <a:off x="7831" y="2186"/>
                <a:ext cx="5" cy="5"/>
              </a:xfrm>
              <a:custGeom>
                <a:gdLst>
                  <a:gd name="T0" fmla="*/ 0 w 2"/>
                  <a:gd name="T1" fmla="*/ 0 h 2"/>
                  <a:gd name="T2" fmla="*/ 1 w 2"/>
                  <a:gd name="T3" fmla="*/ 2 h 2"/>
                  <a:gd name="T4" fmla="*/ 0 w 2"/>
                  <a:gd name="T5" fmla="*/ 0 h 2"/>
                </a:gdLst>
                <a:cxnLst>
                  <a:cxn ang="0">
                    <a:pos x="T0" y="T1"/>
                  </a:cxn>
                  <a:cxn ang="0">
                    <a:pos x="T2" y="T3"/>
                  </a:cxn>
                  <a:cxn ang="0">
                    <a:pos x="T4" y="T5"/>
                  </a:cxn>
                </a:cxnLst>
                <a:rect l="0" t="0" r="r" b="b"/>
                <a:pathLst>
                  <a:path w="2" h="2">
                    <a:moveTo>
                      <a:pt x="0" y="0"/>
                    </a:moveTo>
                    <a:cubicBezTo>
                      <a:pt x="0" y="1"/>
                      <a:pt x="0" y="2"/>
                      <a:pt x="1" y="2"/>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243"/>
              <p:cNvSpPr/>
              <p:nvPr/>
            </p:nvSpPr>
            <p:spPr bwMode="auto">
              <a:xfrm>
                <a:off x="7902" y="2132"/>
                <a:ext cx="7" cy="11"/>
              </a:xfrm>
              <a:custGeom>
                <a:gdLst>
                  <a:gd name="T0" fmla="*/ 2 w 3"/>
                  <a:gd name="T1" fmla="*/ 0 h 5"/>
                  <a:gd name="T2" fmla="*/ 0 w 3"/>
                  <a:gd name="T3" fmla="*/ 5 h 5"/>
                  <a:gd name="T4" fmla="*/ 3 w 3"/>
                  <a:gd name="T5" fmla="*/ 4 h 5"/>
                  <a:gd name="T6" fmla="*/ 3 w 3"/>
                  <a:gd name="T7" fmla="*/ 4 h 5"/>
                  <a:gd name="T8" fmla="*/ 3 w 3"/>
                  <a:gd name="T9" fmla="*/ 2 h 5"/>
                  <a:gd name="T10" fmla="*/ 3 w 3"/>
                  <a:gd name="T11" fmla="*/ 2 h 5"/>
                  <a:gd name="T12" fmla="*/ 2 w 3"/>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1" y="2"/>
                      <a:pt x="1" y="3"/>
                      <a:pt x="0" y="5"/>
                    </a:cubicBezTo>
                    <a:cubicBezTo>
                      <a:pt x="1" y="4"/>
                      <a:pt x="2" y="4"/>
                      <a:pt x="3" y="4"/>
                    </a:cubicBezTo>
                    <a:cubicBezTo>
                      <a:pt x="3" y="4"/>
                      <a:pt x="3" y="4"/>
                      <a:pt x="3" y="4"/>
                    </a:cubicBezTo>
                    <a:cubicBezTo>
                      <a:pt x="2" y="3"/>
                      <a:pt x="3" y="2"/>
                      <a:pt x="3" y="2"/>
                    </a:cubicBezTo>
                    <a:cubicBezTo>
                      <a:pt x="3" y="2"/>
                      <a:pt x="3" y="2"/>
                      <a:pt x="3" y="2"/>
                    </a:cubicBezTo>
                    <a:cubicBezTo>
                      <a:pt x="3"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244"/>
              <p:cNvSpPr/>
              <p:nvPr/>
            </p:nvSpPr>
            <p:spPr bwMode="auto">
              <a:xfrm>
                <a:off x="7484" y="2344"/>
                <a:ext cx="7" cy="3"/>
              </a:xfrm>
              <a:custGeom>
                <a:gdLst>
                  <a:gd name="T0" fmla="*/ 3 w 3"/>
                  <a:gd name="T1" fmla="*/ 0 h 1"/>
                  <a:gd name="T2" fmla="*/ 0 w 3"/>
                  <a:gd name="T3" fmla="*/ 0 h 1"/>
                  <a:gd name="T4" fmla="*/ 3 w 3"/>
                  <a:gd name="T5" fmla="*/ 1 h 1"/>
                  <a:gd name="T6" fmla="*/ 3 w 3"/>
                  <a:gd name="T7" fmla="*/ 0 h 1"/>
                  <a:gd name="T8" fmla="*/ 3 w 3"/>
                  <a:gd name="T9" fmla="*/ 0 h 1"/>
                </a:gdLst>
                <a:cxnLst>
                  <a:cxn ang="0">
                    <a:pos x="T0" y="T1"/>
                  </a:cxn>
                  <a:cxn ang="0">
                    <a:pos x="T2" y="T3"/>
                  </a:cxn>
                  <a:cxn ang="0">
                    <a:pos x="T4" y="T5"/>
                  </a:cxn>
                  <a:cxn ang="0">
                    <a:pos x="T6" y="T7"/>
                  </a:cxn>
                  <a:cxn ang="0">
                    <a:pos x="T8" y="T9"/>
                  </a:cxn>
                </a:cxnLst>
                <a:rect l="0" t="0" r="r" b="b"/>
                <a:pathLst>
                  <a:path w="3" h="1">
                    <a:moveTo>
                      <a:pt x="3" y="0"/>
                    </a:moveTo>
                    <a:cubicBezTo>
                      <a:pt x="2" y="0"/>
                      <a:pt x="1" y="0"/>
                      <a:pt x="0" y="0"/>
                    </a:cubicBezTo>
                    <a:cubicBezTo>
                      <a:pt x="1" y="1"/>
                      <a:pt x="2" y="1"/>
                      <a:pt x="3" y="1"/>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245"/>
              <p:cNvSpPr/>
              <p:nvPr/>
            </p:nvSpPr>
            <p:spPr bwMode="auto">
              <a:xfrm>
                <a:off x="6938" y="2945"/>
                <a:ext cx="7" cy="17"/>
              </a:xfrm>
              <a:custGeom>
                <a:gdLst>
                  <a:gd name="T0" fmla="*/ 1 w 3"/>
                  <a:gd name="T1" fmla="*/ 0 h 7"/>
                  <a:gd name="T2" fmla="*/ 0 w 3"/>
                  <a:gd name="T3" fmla="*/ 5 h 7"/>
                  <a:gd name="T4" fmla="*/ 0 w 3"/>
                  <a:gd name="T5" fmla="*/ 7 h 7"/>
                  <a:gd name="T6" fmla="*/ 1 w 3"/>
                  <a:gd name="T7" fmla="*/ 7 h 7"/>
                  <a:gd name="T8" fmla="*/ 3 w 3"/>
                  <a:gd name="T9" fmla="*/ 5 h 7"/>
                  <a:gd name="T10" fmla="*/ 1 w 3"/>
                  <a:gd name="T11" fmla="*/ 0 h 7"/>
                </a:gdLst>
                <a:cxnLst>
                  <a:cxn ang="0">
                    <a:pos x="T0" y="T1"/>
                  </a:cxn>
                  <a:cxn ang="0">
                    <a:pos x="T2" y="T3"/>
                  </a:cxn>
                  <a:cxn ang="0">
                    <a:pos x="T4" y="T5"/>
                  </a:cxn>
                  <a:cxn ang="0">
                    <a:pos x="T6" y="T7"/>
                  </a:cxn>
                  <a:cxn ang="0">
                    <a:pos x="T8" y="T9"/>
                  </a:cxn>
                  <a:cxn ang="0">
                    <a:pos x="T10" y="T11"/>
                  </a:cxn>
                </a:cxnLst>
                <a:rect l="0" t="0" r="r" b="b"/>
                <a:pathLst>
                  <a:path w="3" h="7">
                    <a:moveTo>
                      <a:pt x="1" y="0"/>
                    </a:moveTo>
                    <a:cubicBezTo>
                      <a:pt x="0" y="1"/>
                      <a:pt x="0" y="4"/>
                      <a:pt x="0" y="5"/>
                    </a:cubicBezTo>
                    <a:cubicBezTo>
                      <a:pt x="0" y="7"/>
                      <a:pt x="0" y="7"/>
                      <a:pt x="0" y="7"/>
                    </a:cubicBezTo>
                    <a:cubicBezTo>
                      <a:pt x="0" y="7"/>
                      <a:pt x="1" y="7"/>
                      <a:pt x="1" y="7"/>
                    </a:cubicBezTo>
                    <a:cubicBezTo>
                      <a:pt x="1" y="7"/>
                      <a:pt x="3" y="6"/>
                      <a:pt x="3" y="5"/>
                    </a:cubicBezTo>
                    <a:cubicBezTo>
                      <a:pt x="3" y="4"/>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246"/>
              <p:cNvSpPr/>
              <p:nvPr/>
            </p:nvSpPr>
            <p:spPr bwMode="auto">
              <a:xfrm>
                <a:off x="6952" y="2945"/>
                <a:ext cx="2" cy="2"/>
              </a:xfrm>
              <a:custGeom>
                <a:gdLst>
                  <a:gd name="T0" fmla="*/ 1 w 1"/>
                  <a:gd name="T1" fmla="*/ 0 h 1"/>
                  <a:gd name="T2" fmla="*/ 0 w 1"/>
                  <a:gd name="T3" fmla="*/ 1 h 1"/>
                  <a:gd name="T4" fmla="*/ 1 w 1"/>
                  <a:gd name="T5" fmla="*/ 0 h 1"/>
                  <a:gd name="T6" fmla="*/ 1 w 1"/>
                  <a:gd name="T7" fmla="*/ 0 h 1"/>
                </a:gdLst>
                <a:cxnLst>
                  <a:cxn ang="0">
                    <a:pos x="T0" y="T1"/>
                  </a:cxn>
                  <a:cxn ang="0">
                    <a:pos x="T2" y="T3"/>
                  </a:cxn>
                  <a:cxn ang="0">
                    <a:pos x="T4" y="T5"/>
                  </a:cxn>
                  <a:cxn ang="0">
                    <a:pos x="T6" y="T7"/>
                  </a:cxn>
                </a:cxnLst>
                <a:rect l="0" t="0" r="r" b="b"/>
                <a:pathLst>
                  <a:path w="1" h="1">
                    <a:moveTo>
                      <a:pt x="1" y="0"/>
                    </a:moveTo>
                    <a:cubicBezTo>
                      <a:pt x="1" y="0"/>
                      <a:pt x="0" y="1"/>
                      <a:pt x="0" y="1"/>
                    </a:cubicBezTo>
                    <a:cubicBezTo>
                      <a:pt x="0" y="1"/>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247"/>
              <p:cNvSpPr/>
              <p:nvPr/>
            </p:nvSpPr>
            <p:spPr bwMode="auto">
              <a:xfrm>
                <a:off x="7025" y="3068"/>
                <a:ext cx="7" cy="5"/>
              </a:xfrm>
              <a:custGeom>
                <a:gdLst>
                  <a:gd name="T0" fmla="*/ 1 w 3"/>
                  <a:gd name="T1" fmla="*/ 0 h 2"/>
                  <a:gd name="T2" fmla="*/ 0 w 3"/>
                  <a:gd name="T3" fmla="*/ 2 h 2"/>
                  <a:gd name="T4" fmla="*/ 1 w 3"/>
                  <a:gd name="T5" fmla="*/ 2 h 2"/>
                  <a:gd name="T6" fmla="*/ 2 w 3"/>
                  <a:gd name="T7" fmla="*/ 0 h 2"/>
                  <a:gd name="T8" fmla="*/ 1 w 3"/>
                  <a:gd name="T9" fmla="*/ 0 h 2"/>
                </a:gdLst>
                <a:cxnLst>
                  <a:cxn ang="0">
                    <a:pos x="T0" y="T1"/>
                  </a:cxn>
                  <a:cxn ang="0">
                    <a:pos x="T2" y="T3"/>
                  </a:cxn>
                  <a:cxn ang="0">
                    <a:pos x="T4" y="T5"/>
                  </a:cxn>
                  <a:cxn ang="0">
                    <a:pos x="T6" y="T7"/>
                  </a:cxn>
                  <a:cxn ang="0">
                    <a:pos x="T8" y="T9"/>
                  </a:cxn>
                </a:cxnLst>
                <a:rect l="0" t="0" r="r" b="b"/>
                <a:pathLst>
                  <a:path w="3" h="2">
                    <a:moveTo>
                      <a:pt x="1" y="0"/>
                    </a:moveTo>
                    <a:cubicBezTo>
                      <a:pt x="1" y="0"/>
                      <a:pt x="0" y="1"/>
                      <a:pt x="0" y="2"/>
                    </a:cubicBezTo>
                    <a:cubicBezTo>
                      <a:pt x="0" y="2"/>
                      <a:pt x="0" y="2"/>
                      <a:pt x="1" y="2"/>
                    </a:cubicBezTo>
                    <a:cubicBezTo>
                      <a:pt x="2" y="2"/>
                      <a:pt x="3" y="1"/>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248"/>
              <p:cNvSpPr/>
              <p:nvPr/>
            </p:nvSpPr>
            <p:spPr bwMode="auto">
              <a:xfrm>
                <a:off x="7117" y="2763"/>
                <a:ext cx="8" cy="9"/>
              </a:xfrm>
              <a:custGeom>
                <a:gdLst>
                  <a:gd name="T0" fmla="*/ 0 w 3"/>
                  <a:gd name="T1" fmla="*/ 0 h 4"/>
                  <a:gd name="T2" fmla="*/ 1 w 3"/>
                  <a:gd name="T3" fmla="*/ 4 h 4"/>
                  <a:gd name="T4" fmla="*/ 3 w 3"/>
                  <a:gd name="T5" fmla="*/ 3 h 4"/>
                  <a:gd name="T6" fmla="*/ 0 w 3"/>
                  <a:gd name="T7" fmla="*/ 0 h 4"/>
                </a:gdLst>
                <a:cxnLst>
                  <a:cxn ang="0">
                    <a:pos x="T0" y="T1"/>
                  </a:cxn>
                  <a:cxn ang="0">
                    <a:pos x="T2" y="T3"/>
                  </a:cxn>
                  <a:cxn ang="0">
                    <a:pos x="T4" y="T5"/>
                  </a:cxn>
                  <a:cxn ang="0">
                    <a:pos x="T6" y="T7"/>
                  </a:cxn>
                </a:cxnLst>
                <a:rect l="0" t="0" r="r" b="b"/>
                <a:pathLst>
                  <a:path w="3" h="4">
                    <a:moveTo>
                      <a:pt x="0" y="0"/>
                    </a:moveTo>
                    <a:cubicBezTo>
                      <a:pt x="0" y="1"/>
                      <a:pt x="0" y="3"/>
                      <a:pt x="1" y="4"/>
                    </a:cubicBezTo>
                    <a:cubicBezTo>
                      <a:pt x="1" y="3"/>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249"/>
              <p:cNvSpPr/>
              <p:nvPr/>
            </p:nvSpPr>
            <p:spPr bwMode="auto">
              <a:xfrm>
                <a:off x="6971" y="2969"/>
                <a:ext cx="5" cy="7"/>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1" y="1"/>
                      <a:pt x="1" y="2"/>
                      <a:pt x="2" y="3"/>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250"/>
              <p:cNvSpPr/>
              <p:nvPr/>
            </p:nvSpPr>
            <p:spPr bwMode="auto">
              <a:xfrm>
                <a:off x="7016" y="2872"/>
                <a:ext cx="5" cy="4"/>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0" y="0"/>
                      <a:pt x="0" y="0"/>
                      <a:pt x="0" y="0"/>
                    </a:cubicBezTo>
                    <a:cubicBezTo>
                      <a:pt x="0" y="0"/>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251"/>
              <p:cNvSpPr/>
              <p:nvPr/>
            </p:nvSpPr>
            <p:spPr bwMode="auto">
              <a:xfrm>
                <a:off x="6997" y="3011"/>
                <a:ext cx="2" cy="10"/>
              </a:xfrm>
              <a:custGeom>
                <a:gdLst>
                  <a:gd name="T0" fmla="*/ 1 w 1"/>
                  <a:gd name="T1" fmla="*/ 0 h 4"/>
                  <a:gd name="T2" fmla="*/ 1 w 1"/>
                  <a:gd name="T3" fmla="*/ 4 h 4"/>
                  <a:gd name="T4" fmla="*/ 1 w 1"/>
                  <a:gd name="T5" fmla="*/ 0 h 4"/>
                </a:gdLst>
                <a:cxnLst>
                  <a:cxn ang="0">
                    <a:pos x="T0" y="T1"/>
                  </a:cxn>
                  <a:cxn ang="0">
                    <a:pos x="T2" y="T3"/>
                  </a:cxn>
                  <a:cxn ang="0">
                    <a:pos x="T4" y="T5"/>
                  </a:cxn>
                </a:cxnLst>
                <a:rect l="0" t="0" r="r" b="b"/>
                <a:pathLst>
                  <a:path w="1" h="4">
                    <a:moveTo>
                      <a:pt x="1" y="0"/>
                    </a:moveTo>
                    <a:cubicBezTo>
                      <a:pt x="1" y="2"/>
                      <a:pt x="0" y="2"/>
                      <a:pt x="1" y="4"/>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252"/>
              <p:cNvSpPr/>
              <p:nvPr/>
            </p:nvSpPr>
            <p:spPr bwMode="auto">
              <a:xfrm>
                <a:off x="6950" y="2952"/>
                <a:ext cx="2" cy="5"/>
              </a:xfrm>
              <a:custGeom>
                <a:gdLst>
                  <a:gd name="T0" fmla="*/ 1 w 1"/>
                  <a:gd name="T1" fmla="*/ 0 h 2"/>
                  <a:gd name="T2" fmla="*/ 1 w 1"/>
                  <a:gd name="T3" fmla="*/ 2 h 2"/>
                  <a:gd name="T4" fmla="*/ 1 w 1"/>
                  <a:gd name="T5" fmla="*/ 0 h 2"/>
                </a:gdLst>
                <a:cxnLst>
                  <a:cxn ang="0">
                    <a:pos x="T0" y="T1"/>
                  </a:cxn>
                  <a:cxn ang="0">
                    <a:pos x="T2" y="T3"/>
                  </a:cxn>
                  <a:cxn ang="0">
                    <a:pos x="T4" y="T5"/>
                  </a:cxn>
                </a:cxnLst>
                <a:rect l="0" t="0" r="r" b="b"/>
                <a:pathLst>
                  <a:path w="1" h="2">
                    <a:moveTo>
                      <a:pt x="1" y="0"/>
                    </a:moveTo>
                    <a:cubicBezTo>
                      <a:pt x="1" y="1"/>
                      <a:pt x="0" y="1"/>
                      <a:pt x="1"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253"/>
              <p:cNvSpPr/>
              <p:nvPr/>
            </p:nvSpPr>
            <p:spPr bwMode="auto">
              <a:xfrm>
                <a:off x="7011" y="2881"/>
                <a:ext cx="10" cy="7"/>
              </a:xfrm>
              <a:custGeom>
                <a:gdLst>
                  <a:gd name="T0" fmla="*/ 3 w 4"/>
                  <a:gd name="T1" fmla="*/ 0 h 3"/>
                  <a:gd name="T2" fmla="*/ 1 w 4"/>
                  <a:gd name="T3" fmla="*/ 0 h 3"/>
                  <a:gd name="T4" fmla="*/ 1 w 4"/>
                  <a:gd name="T5" fmla="*/ 3 h 3"/>
                  <a:gd name="T6" fmla="*/ 4 w 4"/>
                  <a:gd name="T7" fmla="*/ 0 h 3"/>
                  <a:gd name="T8" fmla="*/ 3 w 4"/>
                  <a:gd name="T9" fmla="*/ 0 h 3"/>
                </a:gdLst>
                <a:cxnLst>
                  <a:cxn ang="0">
                    <a:pos x="T0" y="T1"/>
                  </a:cxn>
                  <a:cxn ang="0">
                    <a:pos x="T2" y="T3"/>
                  </a:cxn>
                  <a:cxn ang="0">
                    <a:pos x="T4" y="T5"/>
                  </a:cxn>
                  <a:cxn ang="0">
                    <a:pos x="T6" y="T7"/>
                  </a:cxn>
                  <a:cxn ang="0">
                    <a:pos x="T8" y="T9"/>
                  </a:cxn>
                </a:cxnLst>
                <a:rect l="0" t="0" r="r" b="b"/>
                <a:pathLst>
                  <a:path w="4" h="3">
                    <a:moveTo>
                      <a:pt x="3" y="0"/>
                    </a:moveTo>
                    <a:cubicBezTo>
                      <a:pt x="2" y="0"/>
                      <a:pt x="2" y="0"/>
                      <a:pt x="1" y="0"/>
                    </a:cubicBezTo>
                    <a:cubicBezTo>
                      <a:pt x="0" y="0"/>
                      <a:pt x="1" y="2"/>
                      <a:pt x="1" y="3"/>
                    </a:cubicBezTo>
                    <a:cubicBezTo>
                      <a:pt x="2" y="3"/>
                      <a:pt x="4"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254"/>
              <p:cNvSpPr/>
              <p:nvPr/>
            </p:nvSpPr>
            <p:spPr bwMode="auto">
              <a:xfrm>
                <a:off x="7129" y="2782"/>
                <a:ext cx="3" cy="7"/>
              </a:xfrm>
              <a:custGeom>
                <a:gdLst>
                  <a:gd name="T0" fmla="*/ 1 w 1"/>
                  <a:gd name="T1" fmla="*/ 0 h 3"/>
                  <a:gd name="T2" fmla="*/ 1 w 1"/>
                  <a:gd name="T3" fmla="*/ 3 h 3"/>
                  <a:gd name="T4" fmla="*/ 1 w 1"/>
                  <a:gd name="T5" fmla="*/ 0 h 3"/>
                </a:gdLst>
                <a:cxnLst>
                  <a:cxn ang="0">
                    <a:pos x="T0" y="T1"/>
                  </a:cxn>
                  <a:cxn ang="0">
                    <a:pos x="T2" y="T3"/>
                  </a:cxn>
                  <a:cxn ang="0">
                    <a:pos x="T4" y="T5"/>
                  </a:cxn>
                </a:cxnLst>
                <a:rect l="0" t="0" r="r" b="b"/>
                <a:pathLst>
                  <a:path w="1" h="3">
                    <a:moveTo>
                      <a:pt x="1" y="0"/>
                    </a:moveTo>
                    <a:cubicBezTo>
                      <a:pt x="0" y="1"/>
                      <a:pt x="0" y="3"/>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255"/>
              <p:cNvSpPr/>
              <p:nvPr/>
            </p:nvSpPr>
            <p:spPr bwMode="auto">
              <a:xfrm>
                <a:off x="6101" y="2869"/>
                <a:ext cx="100" cy="178"/>
              </a:xfrm>
              <a:custGeom>
                <a:gdLst>
                  <a:gd name="T0" fmla="*/ 9 w 42"/>
                  <a:gd name="T1" fmla="*/ 0 h 75"/>
                  <a:gd name="T2" fmla="*/ 14 w 42"/>
                  <a:gd name="T3" fmla="*/ 5 h 75"/>
                  <a:gd name="T4" fmla="*/ 10 w 42"/>
                  <a:gd name="T5" fmla="*/ 1 h 75"/>
                  <a:gd name="T6" fmla="*/ 8 w 42"/>
                  <a:gd name="T7" fmla="*/ 3 h 75"/>
                  <a:gd name="T8" fmla="*/ 10 w 42"/>
                  <a:gd name="T9" fmla="*/ 3 h 75"/>
                  <a:gd name="T10" fmla="*/ 14 w 42"/>
                  <a:gd name="T11" fmla="*/ 6 h 75"/>
                  <a:gd name="T12" fmla="*/ 14 w 42"/>
                  <a:gd name="T13" fmla="*/ 6 h 75"/>
                  <a:gd name="T14" fmla="*/ 13 w 42"/>
                  <a:gd name="T15" fmla="*/ 6 h 75"/>
                  <a:gd name="T16" fmla="*/ 11 w 42"/>
                  <a:gd name="T17" fmla="*/ 7 h 75"/>
                  <a:gd name="T18" fmla="*/ 7 w 42"/>
                  <a:gd name="T19" fmla="*/ 4 h 75"/>
                  <a:gd name="T20" fmla="*/ 7 w 42"/>
                  <a:gd name="T21" fmla="*/ 4 h 75"/>
                  <a:gd name="T22" fmla="*/ 8 w 42"/>
                  <a:gd name="T23" fmla="*/ 11 h 75"/>
                  <a:gd name="T24" fmla="*/ 4 w 42"/>
                  <a:gd name="T25" fmla="*/ 17 h 75"/>
                  <a:gd name="T26" fmla="*/ 4 w 42"/>
                  <a:gd name="T27" fmla="*/ 24 h 75"/>
                  <a:gd name="T28" fmla="*/ 3 w 42"/>
                  <a:gd name="T29" fmla="*/ 31 h 75"/>
                  <a:gd name="T30" fmla="*/ 1 w 42"/>
                  <a:gd name="T31" fmla="*/ 33 h 75"/>
                  <a:gd name="T32" fmla="*/ 0 w 42"/>
                  <a:gd name="T33" fmla="*/ 33 h 75"/>
                  <a:gd name="T34" fmla="*/ 1 w 42"/>
                  <a:gd name="T35" fmla="*/ 40 h 75"/>
                  <a:gd name="T36" fmla="*/ 3 w 42"/>
                  <a:gd name="T37" fmla="*/ 48 h 75"/>
                  <a:gd name="T38" fmla="*/ 4 w 42"/>
                  <a:gd name="T39" fmla="*/ 55 h 75"/>
                  <a:gd name="T40" fmla="*/ 6 w 42"/>
                  <a:gd name="T41" fmla="*/ 65 h 75"/>
                  <a:gd name="T42" fmla="*/ 8 w 42"/>
                  <a:gd name="T43" fmla="*/ 70 h 75"/>
                  <a:gd name="T44" fmla="*/ 12 w 42"/>
                  <a:gd name="T45" fmla="*/ 73 h 75"/>
                  <a:gd name="T46" fmla="*/ 17 w 42"/>
                  <a:gd name="T47" fmla="*/ 75 h 75"/>
                  <a:gd name="T48" fmla="*/ 25 w 42"/>
                  <a:gd name="T49" fmla="*/ 71 h 75"/>
                  <a:gd name="T50" fmla="*/ 38 w 42"/>
                  <a:gd name="T51" fmla="*/ 64 h 75"/>
                  <a:gd name="T52" fmla="*/ 41 w 42"/>
                  <a:gd name="T53" fmla="*/ 56 h 75"/>
                  <a:gd name="T54" fmla="*/ 41 w 42"/>
                  <a:gd name="T55" fmla="*/ 46 h 75"/>
                  <a:gd name="T56" fmla="*/ 40 w 42"/>
                  <a:gd name="T57" fmla="*/ 46 h 75"/>
                  <a:gd name="T58" fmla="*/ 35 w 42"/>
                  <a:gd name="T59" fmla="*/ 36 h 75"/>
                  <a:gd name="T60" fmla="*/ 33 w 42"/>
                  <a:gd name="T61" fmla="*/ 31 h 75"/>
                  <a:gd name="T62" fmla="*/ 27 w 42"/>
                  <a:gd name="T63" fmla="*/ 22 h 75"/>
                  <a:gd name="T64" fmla="*/ 24 w 42"/>
                  <a:gd name="T65" fmla="*/ 17 h 75"/>
                  <a:gd name="T66" fmla="*/ 18 w 42"/>
                  <a:gd name="T67" fmla="*/ 8 h 75"/>
                  <a:gd name="T68" fmla="*/ 15 w 42"/>
                  <a:gd name="T69" fmla="*/ 4 h 75"/>
                  <a:gd name="T70" fmla="*/ 9 w 42"/>
                  <a:gd name="T71" fmla="*/ 0 h 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75">
                    <a:moveTo>
                      <a:pt x="9" y="0"/>
                    </a:moveTo>
                    <a:cubicBezTo>
                      <a:pt x="9" y="0"/>
                      <a:pt x="9" y="0"/>
                      <a:pt x="9" y="0"/>
                    </a:cubicBezTo>
                    <a:cubicBezTo>
                      <a:pt x="9" y="0"/>
                      <a:pt x="10" y="1"/>
                      <a:pt x="10" y="1"/>
                    </a:cubicBezTo>
                    <a:cubicBezTo>
                      <a:pt x="12" y="2"/>
                      <a:pt x="13" y="4"/>
                      <a:pt x="14" y="5"/>
                    </a:cubicBezTo>
                    <a:cubicBezTo>
                      <a:pt x="12" y="4"/>
                      <a:pt x="11" y="3"/>
                      <a:pt x="10" y="2"/>
                    </a:cubicBezTo>
                    <a:cubicBezTo>
                      <a:pt x="10" y="1"/>
                      <a:pt x="10" y="1"/>
                      <a:pt x="10" y="1"/>
                    </a:cubicBezTo>
                    <a:cubicBezTo>
                      <a:pt x="9" y="0"/>
                      <a:pt x="7" y="0"/>
                      <a:pt x="6" y="0"/>
                    </a:cubicBezTo>
                    <a:cubicBezTo>
                      <a:pt x="6" y="0"/>
                      <a:pt x="7" y="2"/>
                      <a:pt x="8" y="3"/>
                    </a:cubicBezTo>
                    <a:cubicBezTo>
                      <a:pt x="9" y="4"/>
                      <a:pt x="9" y="4"/>
                      <a:pt x="9" y="4"/>
                    </a:cubicBezTo>
                    <a:cubicBezTo>
                      <a:pt x="9" y="4"/>
                      <a:pt x="10" y="4"/>
                      <a:pt x="10" y="3"/>
                    </a:cubicBezTo>
                    <a:cubicBezTo>
                      <a:pt x="11" y="4"/>
                      <a:pt x="12" y="5"/>
                      <a:pt x="13" y="6"/>
                    </a:cubicBezTo>
                    <a:cubicBezTo>
                      <a:pt x="14" y="6"/>
                      <a:pt x="14" y="6"/>
                      <a:pt x="14" y="6"/>
                    </a:cubicBezTo>
                    <a:cubicBezTo>
                      <a:pt x="15" y="6"/>
                      <a:pt x="16" y="6"/>
                      <a:pt x="17" y="7"/>
                    </a:cubicBezTo>
                    <a:cubicBezTo>
                      <a:pt x="16" y="7"/>
                      <a:pt x="15" y="6"/>
                      <a:pt x="14" y="6"/>
                    </a:cubicBezTo>
                    <a:cubicBezTo>
                      <a:pt x="13" y="6"/>
                      <a:pt x="13" y="6"/>
                      <a:pt x="13" y="6"/>
                    </a:cubicBezTo>
                    <a:cubicBezTo>
                      <a:pt x="13" y="6"/>
                      <a:pt x="13" y="6"/>
                      <a:pt x="13" y="6"/>
                    </a:cubicBezTo>
                    <a:cubicBezTo>
                      <a:pt x="12" y="7"/>
                      <a:pt x="12" y="7"/>
                      <a:pt x="11" y="7"/>
                    </a:cubicBezTo>
                    <a:cubicBezTo>
                      <a:pt x="11" y="7"/>
                      <a:pt x="11" y="7"/>
                      <a:pt x="11" y="7"/>
                    </a:cubicBezTo>
                    <a:cubicBezTo>
                      <a:pt x="10" y="7"/>
                      <a:pt x="11" y="6"/>
                      <a:pt x="11" y="6"/>
                    </a:cubicBezTo>
                    <a:cubicBezTo>
                      <a:pt x="10" y="6"/>
                      <a:pt x="8" y="5"/>
                      <a:pt x="7" y="4"/>
                    </a:cubicBezTo>
                    <a:cubicBezTo>
                      <a:pt x="7" y="4"/>
                      <a:pt x="7" y="4"/>
                      <a:pt x="7" y="4"/>
                    </a:cubicBezTo>
                    <a:cubicBezTo>
                      <a:pt x="7" y="4"/>
                      <a:pt x="7" y="4"/>
                      <a:pt x="7" y="4"/>
                    </a:cubicBezTo>
                    <a:cubicBezTo>
                      <a:pt x="8" y="5"/>
                      <a:pt x="10" y="6"/>
                      <a:pt x="9" y="7"/>
                    </a:cubicBezTo>
                    <a:cubicBezTo>
                      <a:pt x="7" y="9"/>
                      <a:pt x="7" y="8"/>
                      <a:pt x="8" y="11"/>
                    </a:cubicBezTo>
                    <a:cubicBezTo>
                      <a:pt x="8" y="12"/>
                      <a:pt x="8" y="12"/>
                      <a:pt x="8" y="12"/>
                    </a:cubicBezTo>
                    <a:cubicBezTo>
                      <a:pt x="7" y="13"/>
                      <a:pt x="5" y="15"/>
                      <a:pt x="4" y="17"/>
                    </a:cubicBezTo>
                    <a:cubicBezTo>
                      <a:pt x="4" y="18"/>
                      <a:pt x="4" y="20"/>
                      <a:pt x="4" y="22"/>
                    </a:cubicBezTo>
                    <a:cubicBezTo>
                      <a:pt x="4" y="23"/>
                      <a:pt x="4" y="23"/>
                      <a:pt x="4" y="24"/>
                    </a:cubicBezTo>
                    <a:cubicBezTo>
                      <a:pt x="4" y="25"/>
                      <a:pt x="4" y="27"/>
                      <a:pt x="4" y="28"/>
                    </a:cubicBezTo>
                    <a:cubicBezTo>
                      <a:pt x="3" y="29"/>
                      <a:pt x="3" y="30"/>
                      <a:pt x="3" y="31"/>
                    </a:cubicBezTo>
                    <a:cubicBezTo>
                      <a:pt x="2" y="33"/>
                      <a:pt x="2" y="34"/>
                      <a:pt x="1" y="35"/>
                    </a:cubicBezTo>
                    <a:cubicBezTo>
                      <a:pt x="1" y="35"/>
                      <a:pt x="1" y="34"/>
                      <a:pt x="1" y="33"/>
                    </a:cubicBezTo>
                    <a:cubicBezTo>
                      <a:pt x="0" y="32"/>
                      <a:pt x="1" y="31"/>
                      <a:pt x="1" y="30"/>
                    </a:cubicBezTo>
                    <a:cubicBezTo>
                      <a:pt x="0" y="31"/>
                      <a:pt x="0" y="32"/>
                      <a:pt x="0" y="33"/>
                    </a:cubicBezTo>
                    <a:cubicBezTo>
                      <a:pt x="0" y="34"/>
                      <a:pt x="1" y="34"/>
                      <a:pt x="1" y="35"/>
                    </a:cubicBezTo>
                    <a:cubicBezTo>
                      <a:pt x="1" y="36"/>
                      <a:pt x="1" y="38"/>
                      <a:pt x="1" y="40"/>
                    </a:cubicBezTo>
                    <a:cubicBezTo>
                      <a:pt x="2" y="42"/>
                      <a:pt x="2" y="44"/>
                      <a:pt x="2" y="46"/>
                    </a:cubicBezTo>
                    <a:cubicBezTo>
                      <a:pt x="2" y="47"/>
                      <a:pt x="2" y="48"/>
                      <a:pt x="3" y="48"/>
                    </a:cubicBezTo>
                    <a:cubicBezTo>
                      <a:pt x="3" y="50"/>
                      <a:pt x="3" y="51"/>
                      <a:pt x="3" y="53"/>
                    </a:cubicBezTo>
                    <a:cubicBezTo>
                      <a:pt x="3" y="54"/>
                      <a:pt x="3" y="54"/>
                      <a:pt x="4" y="55"/>
                    </a:cubicBezTo>
                    <a:cubicBezTo>
                      <a:pt x="4" y="57"/>
                      <a:pt x="4" y="58"/>
                      <a:pt x="4" y="59"/>
                    </a:cubicBezTo>
                    <a:cubicBezTo>
                      <a:pt x="5" y="61"/>
                      <a:pt x="5" y="63"/>
                      <a:pt x="6" y="65"/>
                    </a:cubicBezTo>
                    <a:cubicBezTo>
                      <a:pt x="6" y="66"/>
                      <a:pt x="7" y="67"/>
                      <a:pt x="7" y="68"/>
                    </a:cubicBezTo>
                    <a:cubicBezTo>
                      <a:pt x="7" y="69"/>
                      <a:pt x="8" y="70"/>
                      <a:pt x="8" y="70"/>
                    </a:cubicBezTo>
                    <a:cubicBezTo>
                      <a:pt x="9" y="71"/>
                      <a:pt x="9" y="72"/>
                      <a:pt x="10" y="73"/>
                    </a:cubicBezTo>
                    <a:cubicBezTo>
                      <a:pt x="11" y="73"/>
                      <a:pt x="11" y="73"/>
                      <a:pt x="12" y="73"/>
                    </a:cubicBezTo>
                    <a:cubicBezTo>
                      <a:pt x="14" y="74"/>
                      <a:pt x="15" y="74"/>
                      <a:pt x="17" y="75"/>
                    </a:cubicBezTo>
                    <a:cubicBezTo>
                      <a:pt x="17" y="75"/>
                      <a:pt x="17" y="75"/>
                      <a:pt x="17" y="75"/>
                    </a:cubicBezTo>
                    <a:cubicBezTo>
                      <a:pt x="17" y="75"/>
                      <a:pt x="18" y="75"/>
                      <a:pt x="19" y="74"/>
                    </a:cubicBezTo>
                    <a:cubicBezTo>
                      <a:pt x="21" y="74"/>
                      <a:pt x="24" y="72"/>
                      <a:pt x="25" y="71"/>
                    </a:cubicBezTo>
                    <a:cubicBezTo>
                      <a:pt x="28" y="69"/>
                      <a:pt x="31" y="67"/>
                      <a:pt x="35" y="66"/>
                    </a:cubicBezTo>
                    <a:cubicBezTo>
                      <a:pt x="36" y="65"/>
                      <a:pt x="37" y="65"/>
                      <a:pt x="38" y="64"/>
                    </a:cubicBezTo>
                    <a:cubicBezTo>
                      <a:pt x="39" y="63"/>
                      <a:pt x="39" y="62"/>
                      <a:pt x="40" y="60"/>
                    </a:cubicBezTo>
                    <a:cubicBezTo>
                      <a:pt x="41" y="59"/>
                      <a:pt x="41" y="57"/>
                      <a:pt x="41" y="56"/>
                    </a:cubicBezTo>
                    <a:cubicBezTo>
                      <a:pt x="41" y="55"/>
                      <a:pt x="42" y="53"/>
                      <a:pt x="42" y="52"/>
                    </a:cubicBezTo>
                    <a:cubicBezTo>
                      <a:pt x="42" y="49"/>
                      <a:pt x="41" y="46"/>
                      <a:pt x="41" y="46"/>
                    </a:cubicBezTo>
                    <a:cubicBezTo>
                      <a:pt x="41" y="46"/>
                      <a:pt x="41" y="46"/>
                      <a:pt x="41" y="46"/>
                    </a:cubicBezTo>
                    <a:cubicBezTo>
                      <a:pt x="40" y="46"/>
                      <a:pt x="40" y="46"/>
                      <a:pt x="40" y="46"/>
                    </a:cubicBezTo>
                    <a:cubicBezTo>
                      <a:pt x="39" y="45"/>
                      <a:pt x="38" y="43"/>
                      <a:pt x="37" y="41"/>
                    </a:cubicBezTo>
                    <a:cubicBezTo>
                      <a:pt x="36" y="39"/>
                      <a:pt x="36" y="38"/>
                      <a:pt x="35" y="36"/>
                    </a:cubicBezTo>
                    <a:cubicBezTo>
                      <a:pt x="34" y="34"/>
                      <a:pt x="33" y="32"/>
                      <a:pt x="33" y="31"/>
                    </a:cubicBezTo>
                    <a:cubicBezTo>
                      <a:pt x="33" y="31"/>
                      <a:pt x="33" y="31"/>
                      <a:pt x="33" y="31"/>
                    </a:cubicBezTo>
                    <a:cubicBezTo>
                      <a:pt x="32" y="29"/>
                      <a:pt x="31" y="27"/>
                      <a:pt x="30" y="26"/>
                    </a:cubicBezTo>
                    <a:cubicBezTo>
                      <a:pt x="29" y="24"/>
                      <a:pt x="28" y="23"/>
                      <a:pt x="27" y="22"/>
                    </a:cubicBezTo>
                    <a:cubicBezTo>
                      <a:pt x="26" y="20"/>
                      <a:pt x="25" y="19"/>
                      <a:pt x="24" y="17"/>
                    </a:cubicBezTo>
                    <a:cubicBezTo>
                      <a:pt x="24" y="17"/>
                      <a:pt x="24" y="17"/>
                      <a:pt x="24" y="17"/>
                    </a:cubicBezTo>
                    <a:cubicBezTo>
                      <a:pt x="23" y="15"/>
                      <a:pt x="22" y="14"/>
                      <a:pt x="21" y="13"/>
                    </a:cubicBezTo>
                    <a:cubicBezTo>
                      <a:pt x="20" y="11"/>
                      <a:pt x="19" y="9"/>
                      <a:pt x="18" y="8"/>
                    </a:cubicBezTo>
                    <a:cubicBezTo>
                      <a:pt x="18" y="7"/>
                      <a:pt x="17" y="6"/>
                      <a:pt x="16" y="6"/>
                    </a:cubicBezTo>
                    <a:cubicBezTo>
                      <a:pt x="16" y="5"/>
                      <a:pt x="15" y="5"/>
                      <a:pt x="15" y="4"/>
                    </a:cubicBezTo>
                    <a:cubicBezTo>
                      <a:pt x="14" y="3"/>
                      <a:pt x="12" y="2"/>
                      <a:pt x="11" y="1"/>
                    </a:cubicBezTo>
                    <a:cubicBezTo>
                      <a:pt x="10" y="0"/>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256"/>
              <p:cNvSpPr/>
              <p:nvPr/>
            </p:nvSpPr>
            <p:spPr bwMode="auto">
              <a:xfrm>
                <a:off x="6194" y="2964"/>
                <a:ext cx="4" cy="12"/>
              </a:xfrm>
              <a:custGeom>
                <a:gdLst>
                  <a:gd name="T0" fmla="*/ 0 w 2"/>
                  <a:gd name="T1" fmla="*/ 0 h 5"/>
                  <a:gd name="T2" fmla="*/ 1 w 2"/>
                  <a:gd name="T3" fmla="*/ 5 h 5"/>
                  <a:gd name="T4" fmla="*/ 0 w 2"/>
                  <a:gd name="T5" fmla="*/ 0 h 5"/>
                </a:gdLst>
                <a:cxnLst>
                  <a:cxn ang="0">
                    <a:pos x="T0" y="T1"/>
                  </a:cxn>
                  <a:cxn ang="0">
                    <a:pos x="T2" y="T3"/>
                  </a:cxn>
                  <a:cxn ang="0">
                    <a:pos x="T4" y="T5"/>
                  </a:cxn>
                </a:cxnLst>
                <a:rect l="0" t="0" r="r" b="b"/>
                <a:pathLst>
                  <a:path w="2" h="5">
                    <a:moveTo>
                      <a:pt x="0" y="0"/>
                    </a:moveTo>
                    <a:cubicBezTo>
                      <a:pt x="0" y="2"/>
                      <a:pt x="1" y="3"/>
                      <a:pt x="1" y="5"/>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257"/>
              <p:cNvSpPr/>
              <p:nvPr/>
            </p:nvSpPr>
            <p:spPr bwMode="auto">
              <a:xfrm>
                <a:off x="6104" y="2902"/>
                <a:ext cx="7" cy="5"/>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1"/>
                      <a:pt x="2"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258"/>
              <p:cNvSpPr/>
              <p:nvPr/>
            </p:nvSpPr>
            <p:spPr bwMode="auto">
              <a:xfrm>
                <a:off x="8682" y="-635"/>
                <a:ext cx="42" cy="10"/>
              </a:xfrm>
              <a:custGeom>
                <a:gdLst>
                  <a:gd name="T0" fmla="*/ 6 w 18"/>
                  <a:gd name="T1" fmla="*/ 0 h 4"/>
                  <a:gd name="T2" fmla="*/ 0 w 18"/>
                  <a:gd name="T3" fmla="*/ 0 h 4"/>
                  <a:gd name="T4" fmla="*/ 4 w 18"/>
                  <a:gd name="T5" fmla="*/ 2 h 4"/>
                  <a:gd name="T6" fmla="*/ 4 w 18"/>
                  <a:gd name="T7" fmla="*/ 2 h 4"/>
                  <a:gd name="T8" fmla="*/ 6 w 18"/>
                  <a:gd name="T9" fmla="*/ 1 h 4"/>
                  <a:gd name="T10" fmla="*/ 6 w 18"/>
                  <a:gd name="T11" fmla="*/ 1 h 4"/>
                  <a:gd name="T12" fmla="*/ 8 w 18"/>
                  <a:gd name="T13" fmla="*/ 2 h 4"/>
                  <a:gd name="T14" fmla="*/ 13 w 18"/>
                  <a:gd name="T15" fmla="*/ 4 h 4"/>
                  <a:gd name="T16" fmla="*/ 13 w 18"/>
                  <a:gd name="T17" fmla="*/ 4 h 4"/>
                  <a:gd name="T18" fmla="*/ 18 w 18"/>
                  <a:gd name="T19" fmla="*/ 0 h 4"/>
                  <a:gd name="T20" fmla="*/ 6 w 18"/>
                  <a:gd name="T21"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4">
                    <a:moveTo>
                      <a:pt x="6" y="0"/>
                    </a:moveTo>
                    <a:cubicBezTo>
                      <a:pt x="4" y="0"/>
                      <a:pt x="2" y="0"/>
                      <a:pt x="0" y="0"/>
                    </a:cubicBezTo>
                    <a:cubicBezTo>
                      <a:pt x="2" y="1"/>
                      <a:pt x="3" y="2"/>
                      <a:pt x="4" y="2"/>
                    </a:cubicBezTo>
                    <a:cubicBezTo>
                      <a:pt x="4" y="2"/>
                      <a:pt x="4" y="2"/>
                      <a:pt x="4" y="2"/>
                    </a:cubicBezTo>
                    <a:cubicBezTo>
                      <a:pt x="5" y="2"/>
                      <a:pt x="5" y="1"/>
                      <a:pt x="6" y="1"/>
                    </a:cubicBezTo>
                    <a:cubicBezTo>
                      <a:pt x="6" y="1"/>
                      <a:pt x="6" y="1"/>
                      <a:pt x="6" y="1"/>
                    </a:cubicBezTo>
                    <a:cubicBezTo>
                      <a:pt x="7" y="1"/>
                      <a:pt x="8" y="1"/>
                      <a:pt x="8" y="2"/>
                    </a:cubicBezTo>
                    <a:cubicBezTo>
                      <a:pt x="10" y="2"/>
                      <a:pt x="11" y="4"/>
                      <a:pt x="13" y="4"/>
                    </a:cubicBezTo>
                    <a:cubicBezTo>
                      <a:pt x="13" y="4"/>
                      <a:pt x="13" y="4"/>
                      <a:pt x="13" y="4"/>
                    </a:cubicBezTo>
                    <a:cubicBezTo>
                      <a:pt x="15" y="3"/>
                      <a:pt x="17" y="2"/>
                      <a:pt x="18" y="0"/>
                    </a:cubicBezTo>
                    <a:cubicBezTo>
                      <a:pt x="14" y="0"/>
                      <a:pt x="10"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259"/>
              <p:cNvSpPr/>
              <p:nvPr/>
            </p:nvSpPr>
            <p:spPr bwMode="auto">
              <a:xfrm>
                <a:off x="8670" y="-1046"/>
                <a:ext cx="388" cy="142"/>
              </a:xfrm>
              <a:custGeom>
                <a:gdLst>
                  <a:gd name="T0" fmla="*/ 32 w 164"/>
                  <a:gd name="T1" fmla="*/ 6 h 60"/>
                  <a:gd name="T2" fmla="*/ 29 w 164"/>
                  <a:gd name="T3" fmla="*/ 3 h 60"/>
                  <a:gd name="T4" fmla="*/ 24 w 164"/>
                  <a:gd name="T5" fmla="*/ 6 h 60"/>
                  <a:gd name="T6" fmla="*/ 23 w 164"/>
                  <a:gd name="T7" fmla="*/ 7 h 60"/>
                  <a:gd name="T8" fmla="*/ 13 w 164"/>
                  <a:gd name="T9" fmla="*/ 11 h 60"/>
                  <a:gd name="T10" fmla="*/ 13 w 164"/>
                  <a:gd name="T11" fmla="*/ 17 h 60"/>
                  <a:gd name="T12" fmla="*/ 10 w 164"/>
                  <a:gd name="T13" fmla="*/ 16 h 60"/>
                  <a:gd name="T14" fmla="*/ 5 w 164"/>
                  <a:gd name="T15" fmla="*/ 23 h 60"/>
                  <a:gd name="T16" fmla="*/ 9 w 164"/>
                  <a:gd name="T17" fmla="*/ 25 h 60"/>
                  <a:gd name="T18" fmla="*/ 10 w 164"/>
                  <a:gd name="T19" fmla="*/ 34 h 60"/>
                  <a:gd name="T20" fmla="*/ 7 w 164"/>
                  <a:gd name="T21" fmla="*/ 33 h 60"/>
                  <a:gd name="T22" fmla="*/ 4 w 164"/>
                  <a:gd name="T23" fmla="*/ 32 h 60"/>
                  <a:gd name="T24" fmla="*/ 19 w 164"/>
                  <a:gd name="T25" fmla="*/ 49 h 60"/>
                  <a:gd name="T26" fmla="*/ 26 w 164"/>
                  <a:gd name="T27" fmla="*/ 54 h 60"/>
                  <a:gd name="T28" fmla="*/ 44 w 164"/>
                  <a:gd name="T29" fmla="*/ 60 h 60"/>
                  <a:gd name="T30" fmla="*/ 51 w 164"/>
                  <a:gd name="T31" fmla="*/ 57 h 60"/>
                  <a:gd name="T32" fmla="*/ 53 w 164"/>
                  <a:gd name="T33" fmla="*/ 52 h 60"/>
                  <a:gd name="T34" fmla="*/ 55 w 164"/>
                  <a:gd name="T35" fmla="*/ 48 h 60"/>
                  <a:gd name="T36" fmla="*/ 62 w 164"/>
                  <a:gd name="T37" fmla="*/ 51 h 60"/>
                  <a:gd name="T38" fmla="*/ 66 w 164"/>
                  <a:gd name="T39" fmla="*/ 53 h 60"/>
                  <a:gd name="T40" fmla="*/ 86 w 164"/>
                  <a:gd name="T41" fmla="*/ 50 h 60"/>
                  <a:gd name="T42" fmla="*/ 101 w 164"/>
                  <a:gd name="T43" fmla="*/ 47 h 60"/>
                  <a:gd name="T44" fmla="*/ 107 w 164"/>
                  <a:gd name="T45" fmla="*/ 49 h 60"/>
                  <a:gd name="T46" fmla="*/ 104 w 164"/>
                  <a:gd name="T47" fmla="*/ 49 h 60"/>
                  <a:gd name="T48" fmla="*/ 100 w 164"/>
                  <a:gd name="T49" fmla="*/ 50 h 60"/>
                  <a:gd name="T50" fmla="*/ 109 w 164"/>
                  <a:gd name="T51" fmla="*/ 54 h 60"/>
                  <a:gd name="T52" fmla="*/ 115 w 164"/>
                  <a:gd name="T53" fmla="*/ 51 h 60"/>
                  <a:gd name="T54" fmla="*/ 117 w 164"/>
                  <a:gd name="T55" fmla="*/ 52 h 60"/>
                  <a:gd name="T56" fmla="*/ 132 w 164"/>
                  <a:gd name="T57" fmla="*/ 49 h 60"/>
                  <a:gd name="T58" fmla="*/ 105 w 164"/>
                  <a:gd name="T59" fmla="*/ 35 h 60"/>
                  <a:gd name="T60" fmla="*/ 104 w 164"/>
                  <a:gd name="T61" fmla="*/ 29 h 60"/>
                  <a:gd name="T62" fmla="*/ 102 w 164"/>
                  <a:gd name="T63" fmla="*/ 23 h 60"/>
                  <a:gd name="T64" fmla="*/ 104 w 164"/>
                  <a:gd name="T65" fmla="*/ 23 h 60"/>
                  <a:gd name="T66" fmla="*/ 104 w 164"/>
                  <a:gd name="T67" fmla="*/ 21 h 60"/>
                  <a:gd name="T68" fmla="*/ 107 w 164"/>
                  <a:gd name="T69" fmla="*/ 19 h 60"/>
                  <a:gd name="T70" fmla="*/ 114 w 164"/>
                  <a:gd name="T71" fmla="*/ 19 h 60"/>
                  <a:gd name="T72" fmla="*/ 116 w 164"/>
                  <a:gd name="T73" fmla="*/ 25 h 60"/>
                  <a:gd name="T74" fmla="*/ 110 w 164"/>
                  <a:gd name="T75" fmla="*/ 32 h 60"/>
                  <a:gd name="T76" fmla="*/ 114 w 164"/>
                  <a:gd name="T77" fmla="*/ 38 h 60"/>
                  <a:gd name="T78" fmla="*/ 119 w 164"/>
                  <a:gd name="T79" fmla="*/ 42 h 60"/>
                  <a:gd name="T80" fmla="*/ 127 w 164"/>
                  <a:gd name="T81" fmla="*/ 44 h 60"/>
                  <a:gd name="T82" fmla="*/ 131 w 164"/>
                  <a:gd name="T83" fmla="*/ 44 h 60"/>
                  <a:gd name="T84" fmla="*/ 138 w 164"/>
                  <a:gd name="T85" fmla="*/ 46 h 60"/>
                  <a:gd name="T86" fmla="*/ 142 w 164"/>
                  <a:gd name="T87" fmla="*/ 45 h 60"/>
                  <a:gd name="T88" fmla="*/ 144 w 164"/>
                  <a:gd name="T89" fmla="*/ 45 h 60"/>
                  <a:gd name="T90" fmla="*/ 151 w 164"/>
                  <a:gd name="T91" fmla="*/ 41 h 60"/>
                  <a:gd name="T92" fmla="*/ 153 w 164"/>
                  <a:gd name="T93" fmla="*/ 30 h 60"/>
                  <a:gd name="T94" fmla="*/ 163 w 164"/>
                  <a:gd name="T95" fmla="*/ 27 h 60"/>
                  <a:gd name="T96" fmla="*/ 143 w 164"/>
                  <a:gd name="T97" fmla="*/ 18 h 60"/>
                  <a:gd name="T98" fmla="*/ 100 w 164"/>
                  <a:gd name="T99" fmla="*/ 6 h 60"/>
                  <a:gd name="T100" fmla="*/ 89 w 164"/>
                  <a:gd name="T101" fmla="*/ 1 h 60"/>
                  <a:gd name="T102" fmla="*/ 90 w 164"/>
                  <a:gd name="T103" fmla="*/ 8 h 60"/>
                  <a:gd name="T104" fmla="*/ 83 w 164"/>
                  <a:gd name="T105" fmla="*/ 8 h 60"/>
                  <a:gd name="T106" fmla="*/ 79 w 164"/>
                  <a:gd name="T107" fmla="*/ 10 h 60"/>
                  <a:gd name="T108" fmla="*/ 81 w 164"/>
                  <a:gd name="T109" fmla="*/ 20 h 60"/>
                  <a:gd name="T110" fmla="*/ 79 w 164"/>
                  <a:gd name="T111" fmla="*/ 23 h 60"/>
                  <a:gd name="T112" fmla="*/ 69 w 164"/>
                  <a:gd name="T113" fmla="*/ 16 h 60"/>
                  <a:gd name="T114" fmla="*/ 57 w 164"/>
                  <a:gd name="T115" fmla="*/ 12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4" h="60">
                    <a:moveTo>
                      <a:pt x="42" y="0"/>
                    </a:moveTo>
                    <a:cubicBezTo>
                      <a:pt x="39" y="2"/>
                      <a:pt x="36" y="4"/>
                      <a:pt x="32" y="6"/>
                    </a:cubicBezTo>
                    <a:cubicBezTo>
                      <a:pt x="31" y="4"/>
                      <a:pt x="31" y="3"/>
                      <a:pt x="30" y="3"/>
                    </a:cubicBezTo>
                    <a:cubicBezTo>
                      <a:pt x="30" y="3"/>
                      <a:pt x="29" y="3"/>
                      <a:pt x="29" y="3"/>
                    </a:cubicBezTo>
                    <a:cubicBezTo>
                      <a:pt x="28" y="3"/>
                      <a:pt x="27" y="3"/>
                      <a:pt x="27" y="4"/>
                    </a:cubicBezTo>
                    <a:cubicBezTo>
                      <a:pt x="26" y="4"/>
                      <a:pt x="25" y="5"/>
                      <a:pt x="24" y="6"/>
                    </a:cubicBezTo>
                    <a:cubicBezTo>
                      <a:pt x="24" y="6"/>
                      <a:pt x="24" y="5"/>
                      <a:pt x="25" y="5"/>
                    </a:cubicBezTo>
                    <a:cubicBezTo>
                      <a:pt x="26" y="5"/>
                      <a:pt x="24" y="7"/>
                      <a:pt x="23" y="7"/>
                    </a:cubicBezTo>
                    <a:cubicBezTo>
                      <a:pt x="22" y="7"/>
                      <a:pt x="20" y="7"/>
                      <a:pt x="19" y="8"/>
                    </a:cubicBezTo>
                    <a:cubicBezTo>
                      <a:pt x="18" y="8"/>
                      <a:pt x="13" y="9"/>
                      <a:pt x="13" y="11"/>
                    </a:cubicBezTo>
                    <a:cubicBezTo>
                      <a:pt x="12" y="12"/>
                      <a:pt x="15" y="16"/>
                      <a:pt x="13" y="17"/>
                    </a:cubicBezTo>
                    <a:cubicBezTo>
                      <a:pt x="13" y="17"/>
                      <a:pt x="13" y="17"/>
                      <a:pt x="13" y="17"/>
                    </a:cubicBezTo>
                    <a:cubicBezTo>
                      <a:pt x="12" y="17"/>
                      <a:pt x="12" y="17"/>
                      <a:pt x="11" y="17"/>
                    </a:cubicBezTo>
                    <a:cubicBezTo>
                      <a:pt x="11" y="17"/>
                      <a:pt x="10" y="16"/>
                      <a:pt x="10" y="16"/>
                    </a:cubicBezTo>
                    <a:cubicBezTo>
                      <a:pt x="9" y="16"/>
                      <a:pt x="9" y="16"/>
                      <a:pt x="9" y="16"/>
                    </a:cubicBezTo>
                    <a:cubicBezTo>
                      <a:pt x="6" y="17"/>
                      <a:pt x="7" y="22"/>
                      <a:pt x="5" y="23"/>
                    </a:cubicBezTo>
                    <a:cubicBezTo>
                      <a:pt x="6" y="23"/>
                      <a:pt x="7" y="22"/>
                      <a:pt x="7" y="22"/>
                    </a:cubicBezTo>
                    <a:cubicBezTo>
                      <a:pt x="8" y="22"/>
                      <a:pt x="9" y="23"/>
                      <a:pt x="9" y="25"/>
                    </a:cubicBezTo>
                    <a:cubicBezTo>
                      <a:pt x="9" y="28"/>
                      <a:pt x="11" y="28"/>
                      <a:pt x="8" y="29"/>
                    </a:cubicBezTo>
                    <a:cubicBezTo>
                      <a:pt x="4" y="31"/>
                      <a:pt x="14" y="32"/>
                      <a:pt x="10" y="34"/>
                    </a:cubicBezTo>
                    <a:cubicBezTo>
                      <a:pt x="10" y="34"/>
                      <a:pt x="9" y="34"/>
                      <a:pt x="9" y="34"/>
                    </a:cubicBezTo>
                    <a:cubicBezTo>
                      <a:pt x="8" y="34"/>
                      <a:pt x="7" y="34"/>
                      <a:pt x="7" y="33"/>
                    </a:cubicBezTo>
                    <a:cubicBezTo>
                      <a:pt x="6" y="32"/>
                      <a:pt x="5" y="32"/>
                      <a:pt x="5" y="32"/>
                    </a:cubicBezTo>
                    <a:cubicBezTo>
                      <a:pt x="4" y="32"/>
                      <a:pt x="4" y="32"/>
                      <a:pt x="4" y="32"/>
                    </a:cubicBezTo>
                    <a:cubicBezTo>
                      <a:pt x="0" y="33"/>
                      <a:pt x="5" y="39"/>
                      <a:pt x="7" y="41"/>
                    </a:cubicBezTo>
                    <a:cubicBezTo>
                      <a:pt x="10" y="44"/>
                      <a:pt x="15" y="46"/>
                      <a:pt x="19" y="49"/>
                    </a:cubicBezTo>
                    <a:cubicBezTo>
                      <a:pt x="20" y="50"/>
                      <a:pt x="20" y="51"/>
                      <a:pt x="21" y="52"/>
                    </a:cubicBezTo>
                    <a:cubicBezTo>
                      <a:pt x="23" y="53"/>
                      <a:pt x="25" y="54"/>
                      <a:pt x="26" y="54"/>
                    </a:cubicBezTo>
                    <a:cubicBezTo>
                      <a:pt x="30" y="55"/>
                      <a:pt x="34" y="57"/>
                      <a:pt x="38" y="58"/>
                    </a:cubicBezTo>
                    <a:cubicBezTo>
                      <a:pt x="40" y="59"/>
                      <a:pt x="42" y="60"/>
                      <a:pt x="44" y="60"/>
                    </a:cubicBezTo>
                    <a:cubicBezTo>
                      <a:pt x="44" y="60"/>
                      <a:pt x="45" y="60"/>
                      <a:pt x="45" y="60"/>
                    </a:cubicBezTo>
                    <a:cubicBezTo>
                      <a:pt x="47" y="60"/>
                      <a:pt x="49" y="59"/>
                      <a:pt x="51" y="57"/>
                    </a:cubicBezTo>
                    <a:cubicBezTo>
                      <a:pt x="53" y="56"/>
                      <a:pt x="53" y="53"/>
                      <a:pt x="54" y="52"/>
                    </a:cubicBezTo>
                    <a:cubicBezTo>
                      <a:pt x="54" y="52"/>
                      <a:pt x="54" y="52"/>
                      <a:pt x="53" y="52"/>
                    </a:cubicBezTo>
                    <a:cubicBezTo>
                      <a:pt x="51" y="52"/>
                      <a:pt x="53" y="48"/>
                      <a:pt x="55" y="48"/>
                    </a:cubicBezTo>
                    <a:cubicBezTo>
                      <a:pt x="55" y="48"/>
                      <a:pt x="55" y="48"/>
                      <a:pt x="55" y="48"/>
                    </a:cubicBezTo>
                    <a:cubicBezTo>
                      <a:pt x="56" y="48"/>
                      <a:pt x="58" y="48"/>
                      <a:pt x="59" y="48"/>
                    </a:cubicBezTo>
                    <a:cubicBezTo>
                      <a:pt x="59" y="48"/>
                      <a:pt x="61" y="50"/>
                      <a:pt x="62" y="51"/>
                    </a:cubicBezTo>
                    <a:cubicBezTo>
                      <a:pt x="63" y="52"/>
                      <a:pt x="63" y="53"/>
                      <a:pt x="65" y="53"/>
                    </a:cubicBezTo>
                    <a:cubicBezTo>
                      <a:pt x="65" y="53"/>
                      <a:pt x="65" y="53"/>
                      <a:pt x="66" y="53"/>
                    </a:cubicBezTo>
                    <a:cubicBezTo>
                      <a:pt x="69" y="53"/>
                      <a:pt x="73" y="52"/>
                      <a:pt x="76" y="51"/>
                    </a:cubicBezTo>
                    <a:cubicBezTo>
                      <a:pt x="79" y="51"/>
                      <a:pt x="83" y="50"/>
                      <a:pt x="86" y="50"/>
                    </a:cubicBezTo>
                    <a:cubicBezTo>
                      <a:pt x="90" y="49"/>
                      <a:pt x="93" y="48"/>
                      <a:pt x="97" y="47"/>
                    </a:cubicBezTo>
                    <a:cubicBezTo>
                      <a:pt x="98" y="47"/>
                      <a:pt x="100" y="47"/>
                      <a:pt x="101" y="47"/>
                    </a:cubicBezTo>
                    <a:cubicBezTo>
                      <a:pt x="101" y="47"/>
                      <a:pt x="102" y="47"/>
                      <a:pt x="103" y="47"/>
                    </a:cubicBezTo>
                    <a:cubicBezTo>
                      <a:pt x="105" y="47"/>
                      <a:pt x="104" y="48"/>
                      <a:pt x="107" y="49"/>
                    </a:cubicBezTo>
                    <a:cubicBezTo>
                      <a:pt x="106" y="49"/>
                      <a:pt x="106" y="49"/>
                      <a:pt x="106" y="49"/>
                    </a:cubicBezTo>
                    <a:cubicBezTo>
                      <a:pt x="106" y="49"/>
                      <a:pt x="105" y="49"/>
                      <a:pt x="104" y="49"/>
                    </a:cubicBezTo>
                    <a:cubicBezTo>
                      <a:pt x="103" y="49"/>
                      <a:pt x="102" y="49"/>
                      <a:pt x="101" y="49"/>
                    </a:cubicBezTo>
                    <a:cubicBezTo>
                      <a:pt x="100" y="49"/>
                      <a:pt x="99" y="49"/>
                      <a:pt x="100" y="50"/>
                    </a:cubicBezTo>
                    <a:cubicBezTo>
                      <a:pt x="101" y="51"/>
                      <a:pt x="107" y="53"/>
                      <a:pt x="109" y="54"/>
                    </a:cubicBezTo>
                    <a:cubicBezTo>
                      <a:pt x="109" y="54"/>
                      <a:pt x="109" y="54"/>
                      <a:pt x="109" y="54"/>
                    </a:cubicBezTo>
                    <a:cubicBezTo>
                      <a:pt x="110" y="54"/>
                      <a:pt x="112" y="53"/>
                      <a:pt x="113" y="53"/>
                    </a:cubicBezTo>
                    <a:cubicBezTo>
                      <a:pt x="114" y="53"/>
                      <a:pt x="114" y="51"/>
                      <a:pt x="115" y="51"/>
                    </a:cubicBezTo>
                    <a:cubicBezTo>
                      <a:pt x="115" y="51"/>
                      <a:pt x="115" y="51"/>
                      <a:pt x="115" y="51"/>
                    </a:cubicBezTo>
                    <a:cubicBezTo>
                      <a:pt x="116" y="51"/>
                      <a:pt x="116" y="52"/>
                      <a:pt x="117" y="52"/>
                    </a:cubicBezTo>
                    <a:cubicBezTo>
                      <a:pt x="119" y="52"/>
                      <a:pt x="122" y="51"/>
                      <a:pt x="124" y="51"/>
                    </a:cubicBezTo>
                    <a:cubicBezTo>
                      <a:pt x="127" y="50"/>
                      <a:pt x="129" y="50"/>
                      <a:pt x="132" y="49"/>
                    </a:cubicBezTo>
                    <a:cubicBezTo>
                      <a:pt x="127" y="47"/>
                      <a:pt x="121" y="45"/>
                      <a:pt x="115" y="44"/>
                    </a:cubicBezTo>
                    <a:cubicBezTo>
                      <a:pt x="110" y="43"/>
                      <a:pt x="109" y="37"/>
                      <a:pt x="105" y="35"/>
                    </a:cubicBezTo>
                    <a:cubicBezTo>
                      <a:pt x="104" y="34"/>
                      <a:pt x="103" y="33"/>
                      <a:pt x="103" y="32"/>
                    </a:cubicBezTo>
                    <a:cubicBezTo>
                      <a:pt x="103" y="31"/>
                      <a:pt x="104" y="30"/>
                      <a:pt x="104" y="29"/>
                    </a:cubicBezTo>
                    <a:cubicBezTo>
                      <a:pt x="103" y="28"/>
                      <a:pt x="102" y="27"/>
                      <a:pt x="102" y="26"/>
                    </a:cubicBezTo>
                    <a:cubicBezTo>
                      <a:pt x="102" y="25"/>
                      <a:pt x="104" y="24"/>
                      <a:pt x="102" y="23"/>
                    </a:cubicBezTo>
                    <a:cubicBezTo>
                      <a:pt x="102" y="23"/>
                      <a:pt x="103" y="23"/>
                      <a:pt x="104" y="23"/>
                    </a:cubicBezTo>
                    <a:cubicBezTo>
                      <a:pt x="104" y="23"/>
                      <a:pt x="104" y="23"/>
                      <a:pt x="104" y="23"/>
                    </a:cubicBezTo>
                    <a:cubicBezTo>
                      <a:pt x="103" y="22"/>
                      <a:pt x="103" y="22"/>
                      <a:pt x="102" y="21"/>
                    </a:cubicBezTo>
                    <a:cubicBezTo>
                      <a:pt x="103" y="21"/>
                      <a:pt x="103" y="21"/>
                      <a:pt x="104" y="21"/>
                    </a:cubicBezTo>
                    <a:cubicBezTo>
                      <a:pt x="107" y="21"/>
                      <a:pt x="110" y="21"/>
                      <a:pt x="107" y="19"/>
                    </a:cubicBezTo>
                    <a:cubicBezTo>
                      <a:pt x="107" y="19"/>
                      <a:pt x="107" y="19"/>
                      <a:pt x="107" y="19"/>
                    </a:cubicBezTo>
                    <a:cubicBezTo>
                      <a:pt x="108" y="19"/>
                      <a:pt x="109" y="19"/>
                      <a:pt x="111" y="19"/>
                    </a:cubicBezTo>
                    <a:cubicBezTo>
                      <a:pt x="112" y="19"/>
                      <a:pt x="113" y="19"/>
                      <a:pt x="114" y="19"/>
                    </a:cubicBezTo>
                    <a:cubicBezTo>
                      <a:pt x="116" y="19"/>
                      <a:pt x="117" y="19"/>
                      <a:pt x="118" y="20"/>
                    </a:cubicBezTo>
                    <a:cubicBezTo>
                      <a:pt x="121" y="24"/>
                      <a:pt x="118" y="24"/>
                      <a:pt x="116" y="25"/>
                    </a:cubicBezTo>
                    <a:cubicBezTo>
                      <a:pt x="114" y="26"/>
                      <a:pt x="113" y="27"/>
                      <a:pt x="112" y="28"/>
                    </a:cubicBezTo>
                    <a:cubicBezTo>
                      <a:pt x="111" y="29"/>
                      <a:pt x="109" y="30"/>
                      <a:pt x="110" y="32"/>
                    </a:cubicBezTo>
                    <a:cubicBezTo>
                      <a:pt x="110" y="34"/>
                      <a:pt x="112" y="34"/>
                      <a:pt x="113" y="36"/>
                    </a:cubicBezTo>
                    <a:cubicBezTo>
                      <a:pt x="113" y="36"/>
                      <a:pt x="113" y="37"/>
                      <a:pt x="114" y="38"/>
                    </a:cubicBezTo>
                    <a:cubicBezTo>
                      <a:pt x="115" y="39"/>
                      <a:pt x="116" y="39"/>
                      <a:pt x="117" y="40"/>
                    </a:cubicBezTo>
                    <a:cubicBezTo>
                      <a:pt x="118" y="41"/>
                      <a:pt x="117" y="41"/>
                      <a:pt x="119" y="42"/>
                    </a:cubicBezTo>
                    <a:cubicBezTo>
                      <a:pt x="121" y="43"/>
                      <a:pt x="123" y="43"/>
                      <a:pt x="125" y="44"/>
                    </a:cubicBezTo>
                    <a:cubicBezTo>
                      <a:pt x="125" y="44"/>
                      <a:pt x="126" y="44"/>
                      <a:pt x="127" y="44"/>
                    </a:cubicBezTo>
                    <a:cubicBezTo>
                      <a:pt x="128" y="44"/>
                      <a:pt x="128" y="44"/>
                      <a:pt x="129" y="44"/>
                    </a:cubicBezTo>
                    <a:cubicBezTo>
                      <a:pt x="129" y="44"/>
                      <a:pt x="130" y="44"/>
                      <a:pt x="131" y="44"/>
                    </a:cubicBezTo>
                    <a:cubicBezTo>
                      <a:pt x="132" y="44"/>
                      <a:pt x="134" y="44"/>
                      <a:pt x="135" y="45"/>
                    </a:cubicBezTo>
                    <a:cubicBezTo>
                      <a:pt x="136" y="45"/>
                      <a:pt x="137" y="46"/>
                      <a:pt x="138" y="46"/>
                    </a:cubicBezTo>
                    <a:cubicBezTo>
                      <a:pt x="139" y="46"/>
                      <a:pt x="139" y="45"/>
                      <a:pt x="141" y="45"/>
                    </a:cubicBezTo>
                    <a:cubicBezTo>
                      <a:pt x="141" y="45"/>
                      <a:pt x="142" y="45"/>
                      <a:pt x="142" y="45"/>
                    </a:cubicBezTo>
                    <a:cubicBezTo>
                      <a:pt x="142" y="45"/>
                      <a:pt x="143" y="45"/>
                      <a:pt x="143" y="45"/>
                    </a:cubicBezTo>
                    <a:cubicBezTo>
                      <a:pt x="143" y="45"/>
                      <a:pt x="143" y="45"/>
                      <a:pt x="144" y="45"/>
                    </a:cubicBezTo>
                    <a:cubicBezTo>
                      <a:pt x="144" y="45"/>
                      <a:pt x="145" y="45"/>
                      <a:pt x="146" y="44"/>
                    </a:cubicBezTo>
                    <a:cubicBezTo>
                      <a:pt x="147" y="44"/>
                      <a:pt x="150" y="42"/>
                      <a:pt x="151" y="41"/>
                    </a:cubicBezTo>
                    <a:cubicBezTo>
                      <a:pt x="152" y="39"/>
                      <a:pt x="151" y="37"/>
                      <a:pt x="154" y="37"/>
                    </a:cubicBezTo>
                    <a:cubicBezTo>
                      <a:pt x="158" y="36"/>
                      <a:pt x="150" y="32"/>
                      <a:pt x="153" y="30"/>
                    </a:cubicBezTo>
                    <a:cubicBezTo>
                      <a:pt x="154" y="29"/>
                      <a:pt x="157" y="28"/>
                      <a:pt x="159" y="28"/>
                    </a:cubicBezTo>
                    <a:cubicBezTo>
                      <a:pt x="160" y="27"/>
                      <a:pt x="162" y="27"/>
                      <a:pt x="163" y="27"/>
                    </a:cubicBezTo>
                    <a:cubicBezTo>
                      <a:pt x="164" y="27"/>
                      <a:pt x="164" y="27"/>
                      <a:pt x="164" y="27"/>
                    </a:cubicBezTo>
                    <a:cubicBezTo>
                      <a:pt x="158" y="22"/>
                      <a:pt x="150" y="21"/>
                      <a:pt x="143" y="18"/>
                    </a:cubicBezTo>
                    <a:cubicBezTo>
                      <a:pt x="139" y="16"/>
                      <a:pt x="135" y="14"/>
                      <a:pt x="131" y="13"/>
                    </a:cubicBezTo>
                    <a:cubicBezTo>
                      <a:pt x="121" y="11"/>
                      <a:pt x="110" y="9"/>
                      <a:pt x="100" y="6"/>
                    </a:cubicBezTo>
                    <a:cubicBezTo>
                      <a:pt x="98" y="6"/>
                      <a:pt x="97" y="5"/>
                      <a:pt x="96" y="4"/>
                    </a:cubicBezTo>
                    <a:cubicBezTo>
                      <a:pt x="93" y="3"/>
                      <a:pt x="91" y="3"/>
                      <a:pt x="89" y="1"/>
                    </a:cubicBezTo>
                    <a:cubicBezTo>
                      <a:pt x="88" y="2"/>
                      <a:pt x="90" y="5"/>
                      <a:pt x="90" y="6"/>
                    </a:cubicBezTo>
                    <a:cubicBezTo>
                      <a:pt x="92" y="8"/>
                      <a:pt x="93" y="8"/>
                      <a:pt x="90" y="8"/>
                    </a:cubicBezTo>
                    <a:cubicBezTo>
                      <a:pt x="90" y="8"/>
                      <a:pt x="89" y="8"/>
                      <a:pt x="89" y="8"/>
                    </a:cubicBezTo>
                    <a:cubicBezTo>
                      <a:pt x="87" y="8"/>
                      <a:pt x="85" y="8"/>
                      <a:pt x="83" y="8"/>
                    </a:cubicBezTo>
                    <a:cubicBezTo>
                      <a:pt x="82" y="8"/>
                      <a:pt x="81" y="8"/>
                      <a:pt x="81" y="8"/>
                    </a:cubicBezTo>
                    <a:cubicBezTo>
                      <a:pt x="79" y="9"/>
                      <a:pt x="80" y="8"/>
                      <a:pt x="79" y="10"/>
                    </a:cubicBezTo>
                    <a:cubicBezTo>
                      <a:pt x="79" y="12"/>
                      <a:pt x="79" y="14"/>
                      <a:pt x="79" y="16"/>
                    </a:cubicBezTo>
                    <a:cubicBezTo>
                      <a:pt x="79" y="19"/>
                      <a:pt x="79" y="18"/>
                      <a:pt x="81" y="20"/>
                    </a:cubicBezTo>
                    <a:cubicBezTo>
                      <a:pt x="82" y="21"/>
                      <a:pt x="82" y="23"/>
                      <a:pt x="79" y="23"/>
                    </a:cubicBezTo>
                    <a:cubicBezTo>
                      <a:pt x="79" y="23"/>
                      <a:pt x="79" y="23"/>
                      <a:pt x="79" y="23"/>
                    </a:cubicBezTo>
                    <a:cubicBezTo>
                      <a:pt x="77" y="23"/>
                      <a:pt x="75" y="23"/>
                      <a:pt x="74" y="20"/>
                    </a:cubicBezTo>
                    <a:cubicBezTo>
                      <a:pt x="72" y="18"/>
                      <a:pt x="72" y="16"/>
                      <a:pt x="69" y="16"/>
                    </a:cubicBezTo>
                    <a:cubicBezTo>
                      <a:pt x="67" y="15"/>
                      <a:pt x="64" y="15"/>
                      <a:pt x="61" y="15"/>
                    </a:cubicBezTo>
                    <a:cubicBezTo>
                      <a:pt x="60" y="15"/>
                      <a:pt x="58" y="13"/>
                      <a:pt x="57" y="12"/>
                    </a:cubicBezTo>
                    <a:cubicBezTo>
                      <a:pt x="52" y="8"/>
                      <a:pt x="47" y="4"/>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260"/>
              <p:cNvSpPr/>
              <p:nvPr/>
            </p:nvSpPr>
            <p:spPr bwMode="auto">
              <a:xfrm>
                <a:off x="4929" y="-1122"/>
                <a:ext cx="693" cy="341"/>
              </a:xfrm>
              <a:custGeom>
                <a:gdLst>
                  <a:gd name="T0" fmla="*/ 245 w 293"/>
                  <a:gd name="T1" fmla="*/ 6 h 144"/>
                  <a:gd name="T2" fmla="*/ 227 w 293"/>
                  <a:gd name="T3" fmla="*/ 17 h 144"/>
                  <a:gd name="T4" fmla="*/ 206 w 293"/>
                  <a:gd name="T5" fmla="*/ 24 h 144"/>
                  <a:gd name="T6" fmla="*/ 194 w 293"/>
                  <a:gd name="T7" fmla="*/ 27 h 144"/>
                  <a:gd name="T8" fmla="*/ 174 w 293"/>
                  <a:gd name="T9" fmla="*/ 30 h 144"/>
                  <a:gd name="T10" fmla="*/ 166 w 293"/>
                  <a:gd name="T11" fmla="*/ 32 h 144"/>
                  <a:gd name="T12" fmla="*/ 163 w 293"/>
                  <a:gd name="T13" fmla="*/ 30 h 144"/>
                  <a:gd name="T14" fmla="*/ 159 w 293"/>
                  <a:gd name="T15" fmla="*/ 30 h 144"/>
                  <a:gd name="T16" fmla="*/ 155 w 293"/>
                  <a:gd name="T17" fmla="*/ 29 h 144"/>
                  <a:gd name="T18" fmla="*/ 145 w 293"/>
                  <a:gd name="T19" fmla="*/ 29 h 144"/>
                  <a:gd name="T20" fmla="*/ 132 w 293"/>
                  <a:gd name="T21" fmla="*/ 40 h 144"/>
                  <a:gd name="T22" fmla="*/ 130 w 293"/>
                  <a:gd name="T23" fmla="*/ 40 h 144"/>
                  <a:gd name="T24" fmla="*/ 127 w 293"/>
                  <a:gd name="T25" fmla="*/ 40 h 144"/>
                  <a:gd name="T26" fmla="*/ 113 w 293"/>
                  <a:gd name="T27" fmla="*/ 43 h 144"/>
                  <a:gd name="T28" fmla="*/ 98 w 293"/>
                  <a:gd name="T29" fmla="*/ 47 h 144"/>
                  <a:gd name="T30" fmla="*/ 80 w 293"/>
                  <a:gd name="T31" fmla="*/ 57 h 144"/>
                  <a:gd name="T32" fmla="*/ 76 w 293"/>
                  <a:gd name="T33" fmla="*/ 66 h 144"/>
                  <a:gd name="T34" fmla="*/ 62 w 293"/>
                  <a:gd name="T35" fmla="*/ 65 h 144"/>
                  <a:gd name="T36" fmla="*/ 54 w 293"/>
                  <a:gd name="T37" fmla="*/ 76 h 144"/>
                  <a:gd name="T38" fmla="*/ 48 w 293"/>
                  <a:gd name="T39" fmla="*/ 73 h 144"/>
                  <a:gd name="T40" fmla="*/ 43 w 293"/>
                  <a:gd name="T41" fmla="*/ 76 h 144"/>
                  <a:gd name="T42" fmla="*/ 52 w 293"/>
                  <a:gd name="T43" fmla="*/ 78 h 144"/>
                  <a:gd name="T44" fmla="*/ 55 w 293"/>
                  <a:gd name="T45" fmla="*/ 80 h 144"/>
                  <a:gd name="T46" fmla="*/ 45 w 293"/>
                  <a:gd name="T47" fmla="*/ 84 h 144"/>
                  <a:gd name="T48" fmla="*/ 52 w 293"/>
                  <a:gd name="T49" fmla="*/ 86 h 144"/>
                  <a:gd name="T50" fmla="*/ 60 w 293"/>
                  <a:gd name="T51" fmla="*/ 90 h 144"/>
                  <a:gd name="T52" fmla="*/ 55 w 293"/>
                  <a:gd name="T53" fmla="*/ 90 h 144"/>
                  <a:gd name="T54" fmla="*/ 43 w 293"/>
                  <a:gd name="T55" fmla="*/ 92 h 144"/>
                  <a:gd name="T56" fmla="*/ 36 w 293"/>
                  <a:gd name="T57" fmla="*/ 92 h 144"/>
                  <a:gd name="T58" fmla="*/ 43 w 293"/>
                  <a:gd name="T59" fmla="*/ 96 h 144"/>
                  <a:gd name="T60" fmla="*/ 35 w 293"/>
                  <a:gd name="T61" fmla="*/ 100 h 144"/>
                  <a:gd name="T62" fmla="*/ 33 w 293"/>
                  <a:gd name="T63" fmla="*/ 106 h 144"/>
                  <a:gd name="T64" fmla="*/ 39 w 293"/>
                  <a:gd name="T65" fmla="*/ 111 h 144"/>
                  <a:gd name="T66" fmla="*/ 33 w 293"/>
                  <a:gd name="T67" fmla="*/ 111 h 144"/>
                  <a:gd name="T68" fmla="*/ 19 w 293"/>
                  <a:gd name="T69" fmla="*/ 114 h 144"/>
                  <a:gd name="T70" fmla="*/ 5 w 293"/>
                  <a:gd name="T71" fmla="*/ 124 h 144"/>
                  <a:gd name="T72" fmla="*/ 0 w 293"/>
                  <a:gd name="T73" fmla="*/ 124 h 144"/>
                  <a:gd name="T74" fmla="*/ 32 w 293"/>
                  <a:gd name="T75" fmla="*/ 127 h 144"/>
                  <a:gd name="T76" fmla="*/ 12 w 293"/>
                  <a:gd name="T77" fmla="*/ 134 h 144"/>
                  <a:gd name="T78" fmla="*/ 16 w 293"/>
                  <a:gd name="T79" fmla="*/ 140 h 144"/>
                  <a:gd name="T80" fmla="*/ 31 w 293"/>
                  <a:gd name="T81" fmla="*/ 141 h 144"/>
                  <a:gd name="T82" fmla="*/ 41 w 293"/>
                  <a:gd name="T83" fmla="*/ 141 h 144"/>
                  <a:gd name="T84" fmla="*/ 48 w 293"/>
                  <a:gd name="T85" fmla="*/ 143 h 144"/>
                  <a:gd name="T86" fmla="*/ 62 w 293"/>
                  <a:gd name="T87" fmla="*/ 138 h 144"/>
                  <a:gd name="T88" fmla="*/ 58 w 293"/>
                  <a:gd name="T89" fmla="*/ 129 h 144"/>
                  <a:gd name="T90" fmla="*/ 71 w 293"/>
                  <a:gd name="T91" fmla="*/ 124 h 144"/>
                  <a:gd name="T92" fmla="*/ 74 w 293"/>
                  <a:gd name="T93" fmla="*/ 124 h 144"/>
                  <a:gd name="T94" fmla="*/ 80 w 293"/>
                  <a:gd name="T95" fmla="*/ 119 h 144"/>
                  <a:gd name="T96" fmla="*/ 69 w 293"/>
                  <a:gd name="T97" fmla="*/ 114 h 144"/>
                  <a:gd name="T98" fmla="*/ 84 w 293"/>
                  <a:gd name="T99" fmla="*/ 117 h 144"/>
                  <a:gd name="T100" fmla="*/ 89 w 293"/>
                  <a:gd name="T101" fmla="*/ 109 h 144"/>
                  <a:gd name="T102" fmla="*/ 94 w 293"/>
                  <a:gd name="T103" fmla="*/ 102 h 144"/>
                  <a:gd name="T104" fmla="*/ 102 w 293"/>
                  <a:gd name="T105" fmla="*/ 100 h 144"/>
                  <a:gd name="T106" fmla="*/ 105 w 293"/>
                  <a:gd name="T107" fmla="*/ 91 h 144"/>
                  <a:gd name="T108" fmla="*/ 116 w 293"/>
                  <a:gd name="T109" fmla="*/ 89 h 144"/>
                  <a:gd name="T110" fmla="*/ 121 w 293"/>
                  <a:gd name="T111" fmla="*/ 89 h 144"/>
                  <a:gd name="T112" fmla="*/ 120 w 293"/>
                  <a:gd name="T113" fmla="*/ 79 h 144"/>
                  <a:gd name="T114" fmla="*/ 148 w 293"/>
                  <a:gd name="T115" fmla="*/ 70 h 144"/>
                  <a:gd name="T116" fmla="*/ 194 w 293"/>
                  <a:gd name="T117" fmla="*/ 54 h 144"/>
                  <a:gd name="T118" fmla="*/ 252 w 293"/>
                  <a:gd name="T119" fmla="*/ 37 h 144"/>
                  <a:gd name="T120" fmla="*/ 289 w 293"/>
                  <a:gd name="T121" fmla="*/ 17 h 144"/>
                  <a:gd name="T122" fmla="*/ 285 w 293"/>
                  <a:gd name="T123" fmla="*/ 5 h 144"/>
                  <a:gd name="T124" fmla="*/ 280 w 293"/>
                  <a:gd name="T125" fmla="*/ 2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3" h="144">
                    <a:moveTo>
                      <a:pt x="267" y="0"/>
                    </a:moveTo>
                    <a:cubicBezTo>
                      <a:pt x="266" y="0"/>
                      <a:pt x="264" y="0"/>
                      <a:pt x="263" y="1"/>
                    </a:cubicBezTo>
                    <a:cubicBezTo>
                      <a:pt x="260" y="2"/>
                      <a:pt x="257" y="2"/>
                      <a:pt x="254" y="3"/>
                    </a:cubicBezTo>
                    <a:cubicBezTo>
                      <a:pt x="251" y="3"/>
                      <a:pt x="248" y="5"/>
                      <a:pt x="245" y="6"/>
                    </a:cubicBezTo>
                    <a:cubicBezTo>
                      <a:pt x="242" y="7"/>
                      <a:pt x="236" y="9"/>
                      <a:pt x="234" y="11"/>
                    </a:cubicBezTo>
                    <a:cubicBezTo>
                      <a:pt x="233" y="13"/>
                      <a:pt x="233" y="17"/>
                      <a:pt x="235" y="18"/>
                    </a:cubicBezTo>
                    <a:cubicBezTo>
                      <a:pt x="235" y="18"/>
                      <a:pt x="234" y="19"/>
                      <a:pt x="234" y="19"/>
                    </a:cubicBezTo>
                    <a:cubicBezTo>
                      <a:pt x="231" y="19"/>
                      <a:pt x="229" y="17"/>
                      <a:pt x="227" y="17"/>
                    </a:cubicBezTo>
                    <a:cubicBezTo>
                      <a:pt x="227" y="17"/>
                      <a:pt x="226" y="17"/>
                      <a:pt x="226" y="17"/>
                    </a:cubicBezTo>
                    <a:cubicBezTo>
                      <a:pt x="223" y="17"/>
                      <a:pt x="220" y="21"/>
                      <a:pt x="217" y="21"/>
                    </a:cubicBezTo>
                    <a:cubicBezTo>
                      <a:pt x="217" y="21"/>
                      <a:pt x="217" y="21"/>
                      <a:pt x="216" y="21"/>
                    </a:cubicBezTo>
                    <a:cubicBezTo>
                      <a:pt x="213" y="21"/>
                      <a:pt x="207" y="24"/>
                      <a:pt x="206" y="24"/>
                    </a:cubicBezTo>
                    <a:cubicBezTo>
                      <a:pt x="205" y="25"/>
                      <a:pt x="200" y="28"/>
                      <a:pt x="198" y="28"/>
                    </a:cubicBezTo>
                    <a:cubicBezTo>
                      <a:pt x="198" y="28"/>
                      <a:pt x="198" y="28"/>
                      <a:pt x="198" y="28"/>
                    </a:cubicBezTo>
                    <a:cubicBezTo>
                      <a:pt x="196" y="27"/>
                      <a:pt x="196" y="27"/>
                      <a:pt x="195" y="27"/>
                    </a:cubicBezTo>
                    <a:cubicBezTo>
                      <a:pt x="195" y="27"/>
                      <a:pt x="195" y="27"/>
                      <a:pt x="194" y="27"/>
                    </a:cubicBezTo>
                    <a:cubicBezTo>
                      <a:pt x="190" y="27"/>
                      <a:pt x="186" y="29"/>
                      <a:pt x="182" y="30"/>
                    </a:cubicBezTo>
                    <a:cubicBezTo>
                      <a:pt x="181" y="30"/>
                      <a:pt x="179" y="32"/>
                      <a:pt x="177" y="32"/>
                    </a:cubicBezTo>
                    <a:cubicBezTo>
                      <a:pt x="177" y="32"/>
                      <a:pt x="177" y="32"/>
                      <a:pt x="177" y="32"/>
                    </a:cubicBezTo>
                    <a:cubicBezTo>
                      <a:pt x="176" y="32"/>
                      <a:pt x="176" y="30"/>
                      <a:pt x="174" y="30"/>
                    </a:cubicBezTo>
                    <a:cubicBezTo>
                      <a:pt x="174" y="30"/>
                      <a:pt x="174" y="30"/>
                      <a:pt x="174" y="30"/>
                    </a:cubicBezTo>
                    <a:cubicBezTo>
                      <a:pt x="173" y="30"/>
                      <a:pt x="172" y="30"/>
                      <a:pt x="171" y="31"/>
                    </a:cubicBezTo>
                    <a:cubicBezTo>
                      <a:pt x="169" y="32"/>
                      <a:pt x="168" y="32"/>
                      <a:pt x="167" y="32"/>
                    </a:cubicBezTo>
                    <a:cubicBezTo>
                      <a:pt x="167" y="32"/>
                      <a:pt x="166" y="32"/>
                      <a:pt x="166" y="32"/>
                    </a:cubicBezTo>
                    <a:cubicBezTo>
                      <a:pt x="165" y="31"/>
                      <a:pt x="167" y="30"/>
                      <a:pt x="166" y="30"/>
                    </a:cubicBezTo>
                    <a:cubicBezTo>
                      <a:pt x="166" y="30"/>
                      <a:pt x="166" y="30"/>
                      <a:pt x="165" y="30"/>
                    </a:cubicBezTo>
                    <a:cubicBezTo>
                      <a:pt x="165" y="30"/>
                      <a:pt x="164" y="30"/>
                      <a:pt x="163" y="30"/>
                    </a:cubicBezTo>
                    <a:cubicBezTo>
                      <a:pt x="163" y="30"/>
                      <a:pt x="163" y="30"/>
                      <a:pt x="163" y="30"/>
                    </a:cubicBezTo>
                    <a:cubicBezTo>
                      <a:pt x="162" y="30"/>
                      <a:pt x="162" y="30"/>
                      <a:pt x="162" y="30"/>
                    </a:cubicBezTo>
                    <a:cubicBezTo>
                      <a:pt x="162" y="30"/>
                      <a:pt x="162" y="30"/>
                      <a:pt x="161" y="30"/>
                    </a:cubicBezTo>
                    <a:cubicBezTo>
                      <a:pt x="161" y="30"/>
                      <a:pt x="161" y="30"/>
                      <a:pt x="160" y="30"/>
                    </a:cubicBezTo>
                    <a:cubicBezTo>
                      <a:pt x="160" y="30"/>
                      <a:pt x="160" y="30"/>
                      <a:pt x="159" y="30"/>
                    </a:cubicBezTo>
                    <a:cubicBezTo>
                      <a:pt x="159" y="30"/>
                      <a:pt x="158" y="29"/>
                      <a:pt x="157" y="29"/>
                    </a:cubicBezTo>
                    <a:cubicBezTo>
                      <a:pt x="157" y="29"/>
                      <a:pt x="157" y="29"/>
                      <a:pt x="157" y="29"/>
                    </a:cubicBezTo>
                    <a:cubicBezTo>
                      <a:pt x="157" y="29"/>
                      <a:pt x="156" y="29"/>
                      <a:pt x="156" y="29"/>
                    </a:cubicBezTo>
                    <a:cubicBezTo>
                      <a:pt x="156" y="29"/>
                      <a:pt x="156" y="29"/>
                      <a:pt x="155" y="29"/>
                    </a:cubicBezTo>
                    <a:cubicBezTo>
                      <a:pt x="155" y="29"/>
                      <a:pt x="155" y="29"/>
                      <a:pt x="155" y="29"/>
                    </a:cubicBezTo>
                    <a:cubicBezTo>
                      <a:pt x="154" y="28"/>
                      <a:pt x="153" y="28"/>
                      <a:pt x="153" y="28"/>
                    </a:cubicBezTo>
                    <a:cubicBezTo>
                      <a:pt x="152" y="28"/>
                      <a:pt x="152" y="28"/>
                      <a:pt x="152" y="28"/>
                    </a:cubicBezTo>
                    <a:cubicBezTo>
                      <a:pt x="150" y="29"/>
                      <a:pt x="147" y="29"/>
                      <a:pt x="145" y="29"/>
                    </a:cubicBezTo>
                    <a:cubicBezTo>
                      <a:pt x="142" y="29"/>
                      <a:pt x="140" y="29"/>
                      <a:pt x="141" y="34"/>
                    </a:cubicBezTo>
                    <a:cubicBezTo>
                      <a:pt x="141" y="35"/>
                      <a:pt x="143" y="34"/>
                      <a:pt x="143" y="35"/>
                    </a:cubicBezTo>
                    <a:cubicBezTo>
                      <a:pt x="143" y="37"/>
                      <a:pt x="139" y="38"/>
                      <a:pt x="138" y="38"/>
                    </a:cubicBezTo>
                    <a:cubicBezTo>
                      <a:pt x="136" y="39"/>
                      <a:pt x="134" y="40"/>
                      <a:pt x="132" y="40"/>
                    </a:cubicBezTo>
                    <a:cubicBezTo>
                      <a:pt x="132" y="40"/>
                      <a:pt x="132" y="40"/>
                      <a:pt x="132" y="40"/>
                    </a:cubicBezTo>
                    <a:cubicBezTo>
                      <a:pt x="132" y="40"/>
                      <a:pt x="131" y="40"/>
                      <a:pt x="131" y="40"/>
                    </a:cubicBezTo>
                    <a:cubicBezTo>
                      <a:pt x="131" y="40"/>
                      <a:pt x="130" y="40"/>
                      <a:pt x="130" y="40"/>
                    </a:cubicBezTo>
                    <a:cubicBezTo>
                      <a:pt x="130" y="40"/>
                      <a:pt x="130" y="40"/>
                      <a:pt x="130" y="40"/>
                    </a:cubicBezTo>
                    <a:cubicBezTo>
                      <a:pt x="131" y="38"/>
                      <a:pt x="134" y="35"/>
                      <a:pt x="131" y="35"/>
                    </a:cubicBezTo>
                    <a:cubicBezTo>
                      <a:pt x="131" y="35"/>
                      <a:pt x="130" y="35"/>
                      <a:pt x="130" y="35"/>
                    </a:cubicBezTo>
                    <a:cubicBezTo>
                      <a:pt x="128" y="36"/>
                      <a:pt x="126" y="36"/>
                      <a:pt x="124" y="38"/>
                    </a:cubicBezTo>
                    <a:cubicBezTo>
                      <a:pt x="125" y="38"/>
                      <a:pt x="126" y="39"/>
                      <a:pt x="127" y="40"/>
                    </a:cubicBezTo>
                    <a:cubicBezTo>
                      <a:pt x="125" y="41"/>
                      <a:pt x="123" y="40"/>
                      <a:pt x="121" y="41"/>
                    </a:cubicBezTo>
                    <a:cubicBezTo>
                      <a:pt x="120" y="41"/>
                      <a:pt x="119" y="42"/>
                      <a:pt x="118" y="42"/>
                    </a:cubicBezTo>
                    <a:cubicBezTo>
                      <a:pt x="117" y="43"/>
                      <a:pt x="116" y="43"/>
                      <a:pt x="115" y="43"/>
                    </a:cubicBezTo>
                    <a:cubicBezTo>
                      <a:pt x="115" y="43"/>
                      <a:pt x="114" y="43"/>
                      <a:pt x="113" y="43"/>
                    </a:cubicBezTo>
                    <a:cubicBezTo>
                      <a:pt x="113" y="43"/>
                      <a:pt x="112" y="42"/>
                      <a:pt x="112" y="42"/>
                    </a:cubicBezTo>
                    <a:cubicBezTo>
                      <a:pt x="111" y="42"/>
                      <a:pt x="111" y="43"/>
                      <a:pt x="110" y="43"/>
                    </a:cubicBezTo>
                    <a:cubicBezTo>
                      <a:pt x="107" y="43"/>
                      <a:pt x="105" y="45"/>
                      <a:pt x="102" y="46"/>
                    </a:cubicBezTo>
                    <a:cubicBezTo>
                      <a:pt x="101" y="46"/>
                      <a:pt x="99" y="46"/>
                      <a:pt x="98" y="47"/>
                    </a:cubicBezTo>
                    <a:cubicBezTo>
                      <a:pt x="94" y="49"/>
                      <a:pt x="91" y="51"/>
                      <a:pt x="86" y="52"/>
                    </a:cubicBezTo>
                    <a:cubicBezTo>
                      <a:pt x="86" y="52"/>
                      <a:pt x="84" y="52"/>
                      <a:pt x="83" y="53"/>
                    </a:cubicBezTo>
                    <a:cubicBezTo>
                      <a:pt x="82" y="54"/>
                      <a:pt x="86" y="54"/>
                      <a:pt x="86" y="55"/>
                    </a:cubicBezTo>
                    <a:cubicBezTo>
                      <a:pt x="87" y="57"/>
                      <a:pt x="82" y="57"/>
                      <a:pt x="80" y="57"/>
                    </a:cubicBezTo>
                    <a:cubicBezTo>
                      <a:pt x="79" y="58"/>
                      <a:pt x="77" y="58"/>
                      <a:pt x="75" y="59"/>
                    </a:cubicBezTo>
                    <a:cubicBezTo>
                      <a:pt x="73" y="60"/>
                      <a:pt x="75" y="62"/>
                      <a:pt x="76" y="64"/>
                    </a:cubicBezTo>
                    <a:cubicBezTo>
                      <a:pt x="77" y="65"/>
                      <a:pt x="78" y="65"/>
                      <a:pt x="77" y="66"/>
                    </a:cubicBezTo>
                    <a:cubicBezTo>
                      <a:pt x="77" y="66"/>
                      <a:pt x="76" y="66"/>
                      <a:pt x="76" y="66"/>
                    </a:cubicBezTo>
                    <a:cubicBezTo>
                      <a:pt x="75" y="66"/>
                      <a:pt x="74" y="66"/>
                      <a:pt x="73" y="65"/>
                    </a:cubicBezTo>
                    <a:cubicBezTo>
                      <a:pt x="71" y="64"/>
                      <a:pt x="70" y="65"/>
                      <a:pt x="68" y="64"/>
                    </a:cubicBezTo>
                    <a:cubicBezTo>
                      <a:pt x="66" y="64"/>
                      <a:pt x="66" y="64"/>
                      <a:pt x="65" y="64"/>
                    </a:cubicBezTo>
                    <a:cubicBezTo>
                      <a:pt x="64" y="64"/>
                      <a:pt x="63" y="64"/>
                      <a:pt x="62" y="65"/>
                    </a:cubicBezTo>
                    <a:cubicBezTo>
                      <a:pt x="60" y="65"/>
                      <a:pt x="58" y="67"/>
                      <a:pt x="61" y="68"/>
                    </a:cubicBezTo>
                    <a:cubicBezTo>
                      <a:pt x="64" y="69"/>
                      <a:pt x="58" y="73"/>
                      <a:pt x="57" y="74"/>
                    </a:cubicBezTo>
                    <a:cubicBezTo>
                      <a:pt x="56" y="75"/>
                      <a:pt x="55" y="75"/>
                      <a:pt x="55" y="76"/>
                    </a:cubicBezTo>
                    <a:cubicBezTo>
                      <a:pt x="54" y="76"/>
                      <a:pt x="54" y="76"/>
                      <a:pt x="54" y="76"/>
                    </a:cubicBezTo>
                    <a:cubicBezTo>
                      <a:pt x="53" y="76"/>
                      <a:pt x="54" y="75"/>
                      <a:pt x="53" y="75"/>
                    </a:cubicBezTo>
                    <a:cubicBezTo>
                      <a:pt x="52" y="73"/>
                      <a:pt x="52" y="72"/>
                      <a:pt x="51" y="72"/>
                    </a:cubicBezTo>
                    <a:cubicBezTo>
                      <a:pt x="51" y="72"/>
                      <a:pt x="50" y="72"/>
                      <a:pt x="50" y="72"/>
                    </a:cubicBezTo>
                    <a:cubicBezTo>
                      <a:pt x="49" y="73"/>
                      <a:pt x="49" y="73"/>
                      <a:pt x="48" y="73"/>
                    </a:cubicBezTo>
                    <a:cubicBezTo>
                      <a:pt x="47" y="73"/>
                      <a:pt x="47" y="71"/>
                      <a:pt x="46" y="70"/>
                    </a:cubicBezTo>
                    <a:cubicBezTo>
                      <a:pt x="46" y="70"/>
                      <a:pt x="46" y="70"/>
                      <a:pt x="46" y="70"/>
                    </a:cubicBezTo>
                    <a:cubicBezTo>
                      <a:pt x="44" y="70"/>
                      <a:pt x="39" y="74"/>
                      <a:pt x="40" y="75"/>
                    </a:cubicBezTo>
                    <a:cubicBezTo>
                      <a:pt x="40" y="76"/>
                      <a:pt x="42" y="75"/>
                      <a:pt x="43" y="76"/>
                    </a:cubicBezTo>
                    <a:cubicBezTo>
                      <a:pt x="44" y="77"/>
                      <a:pt x="43" y="79"/>
                      <a:pt x="45" y="79"/>
                    </a:cubicBezTo>
                    <a:cubicBezTo>
                      <a:pt x="45" y="79"/>
                      <a:pt x="45" y="79"/>
                      <a:pt x="45" y="79"/>
                    </a:cubicBezTo>
                    <a:cubicBezTo>
                      <a:pt x="47" y="79"/>
                      <a:pt x="48" y="78"/>
                      <a:pt x="50" y="78"/>
                    </a:cubicBezTo>
                    <a:cubicBezTo>
                      <a:pt x="51" y="78"/>
                      <a:pt x="52" y="78"/>
                      <a:pt x="52" y="78"/>
                    </a:cubicBezTo>
                    <a:cubicBezTo>
                      <a:pt x="53" y="78"/>
                      <a:pt x="53" y="78"/>
                      <a:pt x="51" y="80"/>
                    </a:cubicBezTo>
                    <a:cubicBezTo>
                      <a:pt x="52" y="80"/>
                      <a:pt x="52" y="81"/>
                      <a:pt x="53" y="81"/>
                    </a:cubicBezTo>
                    <a:cubicBezTo>
                      <a:pt x="53" y="81"/>
                      <a:pt x="53" y="81"/>
                      <a:pt x="53" y="81"/>
                    </a:cubicBezTo>
                    <a:cubicBezTo>
                      <a:pt x="53" y="81"/>
                      <a:pt x="54" y="80"/>
                      <a:pt x="55" y="80"/>
                    </a:cubicBezTo>
                    <a:cubicBezTo>
                      <a:pt x="55" y="80"/>
                      <a:pt x="56" y="80"/>
                      <a:pt x="57" y="80"/>
                    </a:cubicBezTo>
                    <a:cubicBezTo>
                      <a:pt x="57" y="80"/>
                      <a:pt x="57" y="80"/>
                      <a:pt x="57" y="81"/>
                    </a:cubicBezTo>
                    <a:cubicBezTo>
                      <a:pt x="55" y="82"/>
                      <a:pt x="52" y="82"/>
                      <a:pt x="50" y="83"/>
                    </a:cubicBezTo>
                    <a:cubicBezTo>
                      <a:pt x="48" y="83"/>
                      <a:pt x="47" y="83"/>
                      <a:pt x="45" y="84"/>
                    </a:cubicBezTo>
                    <a:cubicBezTo>
                      <a:pt x="44" y="85"/>
                      <a:pt x="39" y="85"/>
                      <a:pt x="43" y="87"/>
                    </a:cubicBezTo>
                    <a:cubicBezTo>
                      <a:pt x="43" y="87"/>
                      <a:pt x="44" y="87"/>
                      <a:pt x="44" y="87"/>
                    </a:cubicBezTo>
                    <a:cubicBezTo>
                      <a:pt x="45" y="87"/>
                      <a:pt x="46" y="87"/>
                      <a:pt x="48" y="87"/>
                    </a:cubicBezTo>
                    <a:cubicBezTo>
                      <a:pt x="49" y="86"/>
                      <a:pt x="51" y="86"/>
                      <a:pt x="52" y="86"/>
                    </a:cubicBezTo>
                    <a:cubicBezTo>
                      <a:pt x="53" y="86"/>
                      <a:pt x="54" y="86"/>
                      <a:pt x="54" y="87"/>
                    </a:cubicBezTo>
                    <a:cubicBezTo>
                      <a:pt x="55" y="89"/>
                      <a:pt x="55" y="90"/>
                      <a:pt x="57" y="90"/>
                    </a:cubicBezTo>
                    <a:cubicBezTo>
                      <a:pt x="58" y="90"/>
                      <a:pt x="58" y="90"/>
                      <a:pt x="58" y="90"/>
                    </a:cubicBezTo>
                    <a:cubicBezTo>
                      <a:pt x="59" y="90"/>
                      <a:pt x="59" y="90"/>
                      <a:pt x="60" y="90"/>
                    </a:cubicBezTo>
                    <a:cubicBezTo>
                      <a:pt x="60" y="90"/>
                      <a:pt x="61" y="90"/>
                      <a:pt x="62" y="90"/>
                    </a:cubicBezTo>
                    <a:cubicBezTo>
                      <a:pt x="62" y="90"/>
                      <a:pt x="62" y="90"/>
                      <a:pt x="63" y="90"/>
                    </a:cubicBezTo>
                    <a:cubicBezTo>
                      <a:pt x="62" y="91"/>
                      <a:pt x="61" y="91"/>
                      <a:pt x="59" y="91"/>
                    </a:cubicBezTo>
                    <a:cubicBezTo>
                      <a:pt x="58" y="91"/>
                      <a:pt x="56" y="91"/>
                      <a:pt x="55" y="90"/>
                    </a:cubicBezTo>
                    <a:cubicBezTo>
                      <a:pt x="53" y="90"/>
                      <a:pt x="52" y="90"/>
                      <a:pt x="51" y="90"/>
                    </a:cubicBezTo>
                    <a:cubicBezTo>
                      <a:pt x="51" y="90"/>
                      <a:pt x="50" y="90"/>
                      <a:pt x="50" y="90"/>
                    </a:cubicBezTo>
                    <a:cubicBezTo>
                      <a:pt x="49" y="90"/>
                      <a:pt x="47" y="90"/>
                      <a:pt x="46" y="91"/>
                    </a:cubicBezTo>
                    <a:cubicBezTo>
                      <a:pt x="45" y="91"/>
                      <a:pt x="44" y="91"/>
                      <a:pt x="43" y="92"/>
                    </a:cubicBezTo>
                    <a:cubicBezTo>
                      <a:pt x="43" y="92"/>
                      <a:pt x="43" y="92"/>
                      <a:pt x="43" y="92"/>
                    </a:cubicBezTo>
                    <a:cubicBezTo>
                      <a:pt x="42" y="92"/>
                      <a:pt x="42" y="91"/>
                      <a:pt x="41" y="91"/>
                    </a:cubicBezTo>
                    <a:cubicBezTo>
                      <a:pt x="41" y="91"/>
                      <a:pt x="41" y="91"/>
                      <a:pt x="40" y="91"/>
                    </a:cubicBezTo>
                    <a:cubicBezTo>
                      <a:pt x="39" y="91"/>
                      <a:pt x="37" y="91"/>
                      <a:pt x="36" y="92"/>
                    </a:cubicBezTo>
                    <a:cubicBezTo>
                      <a:pt x="35" y="93"/>
                      <a:pt x="39" y="96"/>
                      <a:pt x="40" y="96"/>
                    </a:cubicBezTo>
                    <a:cubicBezTo>
                      <a:pt x="40" y="96"/>
                      <a:pt x="41" y="96"/>
                      <a:pt x="41" y="96"/>
                    </a:cubicBezTo>
                    <a:cubicBezTo>
                      <a:pt x="41" y="96"/>
                      <a:pt x="42" y="96"/>
                      <a:pt x="42" y="96"/>
                    </a:cubicBezTo>
                    <a:cubicBezTo>
                      <a:pt x="43" y="96"/>
                      <a:pt x="43" y="96"/>
                      <a:pt x="43" y="96"/>
                    </a:cubicBezTo>
                    <a:cubicBezTo>
                      <a:pt x="44" y="96"/>
                      <a:pt x="45" y="96"/>
                      <a:pt x="46" y="97"/>
                    </a:cubicBezTo>
                    <a:cubicBezTo>
                      <a:pt x="46" y="97"/>
                      <a:pt x="47" y="98"/>
                      <a:pt x="48" y="98"/>
                    </a:cubicBezTo>
                    <a:cubicBezTo>
                      <a:pt x="49" y="98"/>
                      <a:pt x="49" y="98"/>
                      <a:pt x="49" y="98"/>
                    </a:cubicBezTo>
                    <a:cubicBezTo>
                      <a:pt x="45" y="100"/>
                      <a:pt x="39" y="99"/>
                      <a:pt x="35" y="100"/>
                    </a:cubicBezTo>
                    <a:cubicBezTo>
                      <a:pt x="33" y="100"/>
                      <a:pt x="28" y="101"/>
                      <a:pt x="32" y="103"/>
                    </a:cubicBezTo>
                    <a:cubicBezTo>
                      <a:pt x="34" y="104"/>
                      <a:pt x="38" y="103"/>
                      <a:pt x="39" y="105"/>
                    </a:cubicBezTo>
                    <a:cubicBezTo>
                      <a:pt x="37" y="105"/>
                      <a:pt x="35" y="106"/>
                      <a:pt x="33" y="106"/>
                    </a:cubicBezTo>
                    <a:cubicBezTo>
                      <a:pt x="33" y="106"/>
                      <a:pt x="33" y="106"/>
                      <a:pt x="33" y="106"/>
                    </a:cubicBezTo>
                    <a:cubicBezTo>
                      <a:pt x="31" y="106"/>
                      <a:pt x="31" y="105"/>
                      <a:pt x="30" y="105"/>
                    </a:cubicBezTo>
                    <a:cubicBezTo>
                      <a:pt x="29" y="105"/>
                      <a:pt x="28" y="106"/>
                      <a:pt x="28" y="106"/>
                    </a:cubicBezTo>
                    <a:cubicBezTo>
                      <a:pt x="29" y="107"/>
                      <a:pt x="32" y="108"/>
                      <a:pt x="34" y="108"/>
                    </a:cubicBezTo>
                    <a:cubicBezTo>
                      <a:pt x="36" y="109"/>
                      <a:pt x="37" y="110"/>
                      <a:pt x="39" y="111"/>
                    </a:cubicBezTo>
                    <a:cubicBezTo>
                      <a:pt x="39" y="111"/>
                      <a:pt x="41" y="111"/>
                      <a:pt x="41" y="111"/>
                    </a:cubicBezTo>
                    <a:cubicBezTo>
                      <a:pt x="42" y="112"/>
                      <a:pt x="41" y="112"/>
                      <a:pt x="40" y="112"/>
                    </a:cubicBezTo>
                    <a:cubicBezTo>
                      <a:pt x="39" y="112"/>
                      <a:pt x="38" y="112"/>
                      <a:pt x="38" y="112"/>
                    </a:cubicBezTo>
                    <a:cubicBezTo>
                      <a:pt x="36" y="112"/>
                      <a:pt x="34" y="111"/>
                      <a:pt x="33" y="111"/>
                    </a:cubicBezTo>
                    <a:cubicBezTo>
                      <a:pt x="31" y="111"/>
                      <a:pt x="30" y="110"/>
                      <a:pt x="28" y="110"/>
                    </a:cubicBezTo>
                    <a:cubicBezTo>
                      <a:pt x="28" y="110"/>
                      <a:pt x="28" y="110"/>
                      <a:pt x="28" y="110"/>
                    </a:cubicBezTo>
                    <a:cubicBezTo>
                      <a:pt x="26" y="110"/>
                      <a:pt x="25" y="111"/>
                      <a:pt x="23" y="112"/>
                    </a:cubicBezTo>
                    <a:cubicBezTo>
                      <a:pt x="22" y="112"/>
                      <a:pt x="20" y="113"/>
                      <a:pt x="19" y="114"/>
                    </a:cubicBezTo>
                    <a:cubicBezTo>
                      <a:pt x="18" y="116"/>
                      <a:pt x="19" y="115"/>
                      <a:pt x="21" y="117"/>
                    </a:cubicBezTo>
                    <a:cubicBezTo>
                      <a:pt x="22" y="117"/>
                      <a:pt x="19" y="118"/>
                      <a:pt x="18" y="118"/>
                    </a:cubicBezTo>
                    <a:cubicBezTo>
                      <a:pt x="15" y="119"/>
                      <a:pt x="12" y="120"/>
                      <a:pt x="9" y="121"/>
                    </a:cubicBezTo>
                    <a:cubicBezTo>
                      <a:pt x="7" y="122"/>
                      <a:pt x="6" y="124"/>
                      <a:pt x="5" y="124"/>
                    </a:cubicBezTo>
                    <a:cubicBezTo>
                      <a:pt x="4" y="125"/>
                      <a:pt x="4" y="125"/>
                      <a:pt x="4" y="125"/>
                    </a:cubicBezTo>
                    <a:cubicBezTo>
                      <a:pt x="3" y="125"/>
                      <a:pt x="2" y="124"/>
                      <a:pt x="2" y="124"/>
                    </a:cubicBezTo>
                    <a:cubicBezTo>
                      <a:pt x="1" y="124"/>
                      <a:pt x="1" y="124"/>
                      <a:pt x="0" y="124"/>
                    </a:cubicBezTo>
                    <a:cubicBezTo>
                      <a:pt x="0" y="124"/>
                      <a:pt x="0" y="124"/>
                      <a:pt x="0" y="124"/>
                    </a:cubicBezTo>
                    <a:cubicBezTo>
                      <a:pt x="4" y="127"/>
                      <a:pt x="8" y="127"/>
                      <a:pt x="13" y="127"/>
                    </a:cubicBezTo>
                    <a:cubicBezTo>
                      <a:pt x="16" y="127"/>
                      <a:pt x="18" y="127"/>
                      <a:pt x="20" y="127"/>
                    </a:cubicBezTo>
                    <a:cubicBezTo>
                      <a:pt x="23" y="127"/>
                      <a:pt x="26" y="127"/>
                      <a:pt x="28" y="127"/>
                    </a:cubicBezTo>
                    <a:cubicBezTo>
                      <a:pt x="29" y="127"/>
                      <a:pt x="31" y="127"/>
                      <a:pt x="32" y="127"/>
                    </a:cubicBezTo>
                    <a:cubicBezTo>
                      <a:pt x="29" y="127"/>
                      <a:pt x="26" y="128"/>
                      <a:pt x="24" y="129"/>
                    </a:cubicBezTo>
                    <a:cubicBezTo>
                      <a:pt x="23" y="129"/>
                      <a:pt x="22" y="129"/>
                      <a:pt x="21" y="129"/>
                    </a:cubicBezTo>
                    <a:cubicBezTo>
                      <a:pt x="20" y="130"/>
                      <a:pt x="19" y="130"/>
                      <a:pt x="18" y="131"/>
                    </a:cubicBezTo>
                    <a:cubicBezTo>
                      <a:pt x="16" y="131"/>
                      <a:pt x="14" y="132"/>
                      <a:pt x="12" y="134"/>
                    </a:cubicBezTo>
                    <a:cubicBezTo>
                      <a:pt x="11" y="134"/>
                      <a:pt x="10" y="135"/>
                      <a:pt x="10" y="136"/>
                    </a:cubicBezTo>
                    <a:cubicBezTo>
                      <a:pt x="10" y="139"/>
                      <a:pt x="9" y="138"/>
                      <a:pt x="7" y="139"/>
                    </a:cubicBezTo>
                    <a:cubicBezTo>
                      <a:pt x="10" y="139"/>
                      <a:pt x="13" y="140"/>
                      <a:pt x="16" y="140"/>
                    </a:cubicBezTo>
                    <a:cubicBezTo>
                      <a:pt x="16" y="140"/>
                      <a:pt x="16" y="140"/>
                      <a:pt x="16" y="140"/>
                    </a:cubicBezTo>
                    <a:cubicBezTo>
                      <a:pt x="16" y="140"/>
                      <a:pt x="16" y="140"/>
                      <a:pt x="16" y="140"/>
                    </a:cubicBezTo>
                    <a:cubicBezTo>
                      <a:pt x="18" y="139"/>
                      <a:pt x="21" y="138"/>
                      <a:pt x="24" y="138"/>
                    </a:cubicBezTo>
                    <a:cubicBezTo>
                      <a:pt x="24" y="138"/>
                      <a:pt x="24" y="138"/>
                      <a:pt x="25" y="138"/>
                    </a:cubicBezTo>
                    <a:cubicBezTo>
                      <a:pt x="27" y="138"/>
                      <a:pt x="29" y="140"/>
                      <a:pt x="31" y="141"/>
                    </a:cubicBezTo>
                    <a:cubicBezTo>
                      <a:pt x="33" y="141"/>
                      <a:pt x="34" y="141"/>
                      <a:pt x="35" y="141"/>
                    </a:cubicBezTo>
                    <a:cubicBezTo>
                      <a:pt x="36" y="141"/>
                      <a:pt x="37" y="141"/>
                      <a:pt x="37" y="141"/>
                    </a:cubicBezTo>
                    <a:cubicBezTo>
                      <a:pt x="38" y="141"/>
                      <a:pt x="38" y="141"/>
                      <a:pt x="39" y="141"/>
                    </a:cubicBezTo>
                    <a:cubicBezTo>
                      <a:pt x="40" y="141"/>
                      <a:pt x="40" y="141"/>
                      <a:pt x="41" y="141"/>
                    </a:cubicBezTo>
                    <a:cubicBezTo>
                      <a:pt x="42" y="141"/>
                      <a:pt x="42" y="141"/>
                      <a:pt x="42" y="141"/>
                    </a:cubicBezTo>
                    <a:cubicBezTo>
                      <a:pt x="43" y="141"/>
                      <a:pt x="43" y="141"/>
                      <a:pt x="43" y="141"/>
                    </a:cubicBezTo>
                    <a:cubicBezTo>
                      <a:pt x="43" y="140"/>
                      <a:pt x="43" y="139"/>
                      <a:pt x="43" y="138"/>
                    </a:cubicBezTo>
                    <a:cubicBezTo>
                      <a:pt x="45" y="139"/>
                      <a:pt x="45" y="142"/>
                      <a:pt x="48" y="143"/>
                    </a:cubicBezTo>
                    <a:cubicBezTo>
                      <a:pt x="50" y="143"/>
                      <a:pt x="51" y="143"/>
                      <a:pt x="53" y="143"/>
                    </a:cubicBezTo>
                    <a:cubicBezTo>
                      <a:pt x="54" y="143"/>
                      <a:pt x="56" y="144"/>
                      <a:pt x="57" y="144"/>
                    </a:cubicBezTo>
                    <a:cubicBezTo>
                      <a:pt x="58" y="144"/>
                      <a:pt x="59" y="144"/>
                      <a:pt x="59" y="143"/>
                    </a:cubicBezTo>
                    <a:cubicBezTo>
                      <a:pt x="59" y="141"/>
                      <a:pt x="59" y="140"/>
                      <a:pt x="62" y="138"/>
                    </a:cubicBezTo>
                    <a:cubicBezTo>
                      <a:pt x="64" y="137"/>
                      <a:pt x="66" y="136"/>
                      <a:pt x="68" y="134"/>
                    </a:cubicBezTo>
                    <a:cubicBezTo>
                      <a:pt x="66" y="134"/>
                      <a:pt x="64" y="133"/>
                      <a:pt x="63" y="132"/>
                    </a:cubicBezTo>
                    <a:cubicBezTo>
                      <a:pt x="62" y="132"/>
                      <a:pt x="61" y="132"/>
                      <a:pt x="60" y="131"/>
                    </a:cubicBezTo>
                    <a:cubicBezTo>
                      <a:pt x="59" y="131"/>
                      <a:pt x="60" y="130"/>
                      <a:pt x="58" y="129"/>
                    </a:cubicBezTo>
                    <a:cubicBezTo>
                      <a:pt x="62" y="129"/>
                      <a:pt x="65" y="132"/>
                      <a:pt x="68" y="133"/>
                    </a:cubicBezTo>
                    <a:cubicBezTo>
                      <a:pt x="68" y="133"/>
                      <a:pt x="68" y="133"/>
                      <a:pt x="68" y="133"/>
                    </a:cubicBezTo>
                    <a:cubicBezTo>
                      <a:pt x="71" y="133"/>
                      <a:pt x="74" y="129"/>
                      <a:pt x="73" y="127"/>
                    </a:cubicBezTo>
                    <a:cubicBezTo>
                      <a:pt x="73" y="126"/>
                      <a:pt x="71" y="124"/>
                      <a:pt x="71" y="124"/>
                    </a:cubicBezTo>
                    <a:cubicBezTo>
                      <a:pt x="67" y="121"/>
                      <a:pt x="60" y="123"/>
                      <a:pt x="56" y="121"/>
                    </a:cubicBezTo>
                    <a:cubicBezTo>
                      <a:pt x="57" y="121"/>
                      <a:pt x="58" y="121"/>
                      <a:pt x="59" y="121"/>
                    </a:cubicBezTo>
                    <a:cubicBezTo>
                      <a:pt x="62" y="121"/>
                      <a:pt x="66" y="122"/>
                      <a:pt x="70" y="122"/>
                    </a:cubicBezTo>
                    <a:cubicBezTo>
                      <a:pt x="71" y="122"/>
                      <a:pt x="72" y="123"/>
                      <a:pt x="74" y="124"/>
                    </a:cubicBezTo>
                    <a:cubicBezTo>
                      <a:pt x="74" y="124"/>
                      <a:pt x="76" y="127"/>
                      <a:pt x="77" y="127"/>
                    </a:cubicBezTo>
                    <a:cubicBezTo>
                      <a:pt x="77" y="127"/>
                      <a:pt x="77" y="127"/>
                      <a:pt x="77" y="127"/>
                    </a:cubicBezTo>
                    <a:cubicBezTo>
                      <a:pt x="80" y="127"/>
                      <a:pt x="80" y="121"/>
                      <a:pt x="80" y="120"/>
                    </a:cubicBezTo>
                    <a:cubicBezTo>
                      <a:pt x="79" y="119"/>
                      <a:pt x="81" y="119"/>
                      <a:pt x="80" y="119"/>
                    </a:cubicBezTo>
                    <a:cubicBezTo>
                      <a:pt x="79" y="118"/>
                      <a:pt x="79" y="118"/>
                      <a:pt x="79" y="118"/>
                    </a:cubicBezTo>
                    <a:cubicBezTo>
                      <a:pt x="78" y="118"/>
                      <a:pt x="77" y="117"/>
                      <a:pt x="77" y="117"/>
                    </a:cubicBezTo>
                    <a:cubicBezTo>
                      <a:pt x="76" y="116"/>
                      <a:pt x="75" y="114"/>
                      <a:pt x="73" y="114"/>
                    </a:cubicBezTo>
                    <a:cubicBezTo>
                      <a:pt x="72" y="114"/>
                      <a:pt x="70" y="114"/>
                      <a:pt x="69" y="114"/>
                    </a:cubicBezTo>
                    <a:cubicBezTo>
                      <a:pt x="70" y="112"/>
                      <a:pt x="73" y="111"/>
                      <a:pt x="72" y="110"/>
                    </a:cubicBezTo>
                    <a:cubicBezTo>
                      <a:pt x="76" y="111"/>
                      <a:pt x="78" y="116"/>
                      <a:pt x="82" y="116"/>
                    </a:cubicBezTo>
                    <a:cubicBezTo>
                      <a:pt x="82" y="116"/>
                      <a:pt x="82" y="116"/>
                      <a:pt x="82" y="116"/>
                    </a:cubicBezTo>
                    <a:cubicBezTo>
                      <a:pt x="84" y="117"/>
                      <a:pt x="84" y="117"/>
                      <a:pt x="84" y="117"/>
                    </a:cubicBezTo>
                    <a:cubicBezTo>
                      <a:pt x="86" y="116"/>
                      <a:pt x="86" y="114"/>
                      <a:pt x="86" y="112"/>
                    </a:cubicBezTo>
                    <a:cubicBezTo>
                      <a:pt x="86" y="111"/>
                      <a:pt x="86" y="112"/>
                      <a:pt x="87" y="110"/>
                    </a:cubicBezTo>
                    <a:cubicBezTo>
                      <a:pt x="88" y="109"/>
                      <a:pt x="88" y="109"/>
                      <a:pt x="88" y="109"/>
                    </a:cubicBezTo>
                    <a:cubicBezTo>
                      <a:pt x="89" y="109"/>
                      <a:pt x="89" y="109"/>
                      <a:pt x="89" y="109"/>
                    </a:cubicBezTo>
                    <a:cubicBezTo>
                      <a:pt x="91" y="109"/>
                      <a:pt x="91" y="110"/>
                      <a:pt x="92" y="110"/>
                    </a:cubicBezTo>
                    <a:cubicBezTo>
                      <a:pt x="93" y="110"/>
                      <a:pt x="93" y="109"/>
                      <a:pt x="94" y="108"/>
                    </a:cubicBezTo>
                    <a:cubicBezTo>
                      <a:pt x="95" y="107"/>
                      <a:pt x="95" y="105"/>
                      <a:pt x="95" y="104"/>
                    </a:cubicBezTo>
                    <a:cubicBezTo>
                      <a:pt x="95" y="103"/>
                      <a:pt x="94" y="102"/>
                      <a:pt x="94" y="102"/>
                    </a:cubicBezTo>
                    <a:cubicBezTo>
                      <a:pt x="94" y="101"/>
                      <a:pt x="95" y="101"/>
                      <a:pt x="94" y="100"/>
                    </a:cubicBezTo>
                    <a:cubicBezTo>
                      <a:pt x="93" y="99"/>
                      <a:pt x="91" y="97"/>
                      <a:pt x="90" y="97"/>
                    </a:cubicBezTo>
                    <a:cubicBezTo>
                      <a:pt x="89" y="97"/>
                      <a:pt x="87" y="96"/>
                      <a:pt x="86" y="95"/>
                    </a:cubicBezTo>
                    <a:cubicBezTo>
                      <a:pt x="92" y="95"/>
                      <a:pt x="97" y="99"/>
                      <a:pt x="102" y="100"/>
                    </a:cubicBezTo>
                    <a:cubicBezTo>
                      <a:pt x="103" y="100"/>
                      <a:pt x="103" y="100"/>
                      <a:pt x="103" y="100"/>
                    </a:cubicBezTo>
                    <a:cubicBezTo>
                      <a:pt x="105" y="100"/>
                      <a:pt x="104" y="98"/>
                      <a:pt x="104" y="96"/>
                    </a:cubicBezTo>
                    <a:cubicBezTo>
                      <a:pt x="105" y="95"/>
                      <a:pt x="106" y="94"/>
                      <a:pt x="105" y="93"/>
                    </a:cubicBezTo>
                    <a:cubicBezTo>
                      <a:pt x="105" y="92"/>
                      <a:pt x="102" y="93"/>
                      <a:pt x="105" y="91"/>
                    </a:cubicBezTo>
                    <a:cubicBezTo>
                      <a:pt x="106" y="90"/>
                      <a:pt x="104" y="90"/>
                      <a:pt x="104" y="89"/>
                    </a:cubicBezTo>
                    <a:cubicBezTo>
                      <a:pt x="108" y="89"/>
                      <a:pt x="110" y="93"/>
                      <a:pt x="114" y="94"/>
                    </a:cubicBezTo>
                    <a:cubicBezTo>
                      <a:pt x="114" y="94"/>
                      <a:pt x="114" y="94"/>
                      <a:pt x="114" y="94"/>
                    </a:cubicBezTo>
                    <a:cubicBezTo>
                      <a:pt x="117" y="94"/>
                      <a:pt x="117" y="91"/>
                      <a:pt x="116" y="89"/>
                    </a:cubicBezTo>
                    <a:cubicBezTo>
                      <a:pt x="116" y="89"/>
                      <a:pt x="115" y="89"/>
                      <a:pt x="115" y="89"/>
                    </a:cubicBezTo>
                    <a:cubicBezTo>
                      <a:pt x="114" y="89"/>
                      <a:pt x="114" y="89"/>
                      <a:pt x="114" y="89"/>
                    </a:cubicBezTo>
                    <a:cubicBezTo>
                      <a:pt x="113" y="89"/>
                      <a:pt x="112" y="87"/>
                      <a:pt x="112" y="87"/>
                    </a:cubicBezTo>
                    <a:cubicBezTo>
                      <a:pt x="115" y="87"/>
                      <a:pt x="118" y="89"/>
                      <a:pt x="121" y="89"/>
                    </a:cubicBezTo>
                    <a:cubicBezTo>
                      <a:pt x="121" y="89"/>
                      <a:pt x="122" y="89"/>
                      <a:pt x="123" y="89"/>
                    </a:cubicBezTo>
                    <a:cubicBezTo>
                      <a:pt x="126" y="88"/>
                      <a:pt x="125" y="88"/>
                      <a:pt x="125" y="86"/>
                    </a:cubicBezTo>
                    <a:cubicBezTo>
                      <a:pt x="125" y="82"/>
                      <a:pt x="130" y="82"/>
                      <a:pt x="132" y="80"/>
                    </a:cubicBezTo>
                    <a:cubicBezTo>
                      <a:pt x="128" y="80"/>
                      <a:pt x="124" y="80"/>
                      <a:pt x="120" y="79"/>
                    </a:cubicBezTo>
                    <a:cubicBezTo>
                      <a:pt x="123" y="78"/>
                      <a:pt x="127" y="78"/>
                      <a:pt x="130" y="78"/>
                    </a:cubicBezTo>
                    <a:cubicBezTo>
                      <a:pt x="135" y="78"/>
                      <a:pt x="134" y="77"/>
                      <a:pt x="137" y="74"/>
                    </a:cubicBezTo>
                    <a:cubicBezTo>
                      <a:pt x="138" y="73"/>
                      <a:pt x="147" y="69"/>
                      <a:pt x="145" y="67"/>
                    </a:cubicBezTo>
                    <a:cubicBezTo>
                      <a:pt x="146" y="67"/>
                      <a:pt x="147" y="70"/>
                      <a:pt x="148" y="70"/>
                    </a:cubicBezTo>
                    <a:cubicBezTo>
                      <a:pt x="148" y="70"/>
                      <a:pt x="148" y="70"/>
                      <a:pt x="148" y="70"/>
                    </a:cubicBezTo>
                    <a:cubicBezTo>
                      <a:pt x="150" y="70"/>
                      <a:pt x="151" y="67"/>
                      <a:pt x="152" y="66"/>
                    </a:cubicBezTo>
                    <a:cubicBezTo>
                      <a:pt x="155" y="63"/>
                      <a:pt x="159" y="62"/>
                      <a:pt x="163" y="61"/>
                    </a:cubicBezTo>
                    <a:cubicBezTo>
                      <a:pt x="173" y="58"/>
                      <a:pt x="185" y="56"/>
                      <a:pt x="194" y="54"/>
                    </a:cubicBezTo>
                    <a:cubicBezTo>
                      <a:pt x="201" y="52"/>
                      <a:pt x="207" y="49"/>
                      <a:pt x="214" y="48"/>
                    </a:cubicBezTo>
                    <a:cubicBezTo>
                      <a:pt x="220" y="47"/>
                      <a:pt x="226" y="44"/>
                      <a:pt x="233" y="43"/>
                    </a:cubicBezTo>
                    <a:cubicBezTo>
                      <a:pt x="235" y="42"/>
                      <a:pt x="237" y="42"/>
                      <a:pt x="240" y="41"/>
                    </a:cubicBezTo>
                    <a:cubicBezTo>
                      <a:pt x="244" y="40"/>
                      <a:pt x="248" y="38"/>
                      <a:pt x="252" y="37"/>
                    </a:cubicBezTo>
                    <a:cubicBezTo>
                      <a:pt x="259" y="36"/>
                      <a:pt x="266" y="31"/>
                      <a:pt x="274" y="30"/>
                    </a:cubicBezTo>
                    <a:cubicBezTo>
                      <a:pt x="275" y="29"/>
                      <a:pt x="276" y="29"/>
                      <a:pt x="277" y="29"/>
                    </a:cubicBezTo>
                    <a:cubicBezTo>
                      <a:pt x="279" y="29"/>
                      <a:pt x="277" y="29"/>
                      <a:pt x="278" y="27"/>
                    </a:cubicBezTo>
                    <a:cubicBezTo>
                      <a:pt x="280" y="24"/>
                      <a:pt x="290" y="21"/>
                      <a:pt x="289" y="17"/>
                    </a:cubicBezTo>
                    <a:cubicBezTo>
                      <a:pt x="289" y="15"/>
                      <a:pt x="293" y="13"/>
                      <a:pt x="292" y="11"/>
                    </a:cubicBezTo>
                    <a:cubicBezTo>
                      <a:pt x="290" y="9"/>
                      <a:pt x="289" y="9"/>
                      <a:pt x="288" y="8"/>
                    </a:cubicBezTo>
                    <a:cubicBezTo>
                      <a:pt x="287" y="7"/>
                      <a:pt x="288" y="6"/>
                      <a:pt x="288" y="6"/>
                    </a:cubicBezTo>
                    <a:cubicBezTo>
                      <a:pt x="285" y="5"/>
                      <a:pt x="285" y="5"/>
                      <a:pt x="285" y="5"/>
                    </a:cubicBezTo>
                    <a:cubicBezTo>
                      <a:pt x="284" y="4"/>
                      <a:pt x="283" y="4"/>
                      <a:pt x="282" y="3"/>
                    </a:cubicBezTo>
                    <a:cubicBezTo>
                      <a:pt x="282" y="3"/>
                      <a:pt x="283" y="2"/>
                      <a:pt x="281" y="2"/>
                    </a:cubicBezTo>
                    <a:cubicBezTo>
                      <a:pt x="281" y="2"/>
                      <a:pt x="281" y="2"/>
                      <a:pt x="281" y="2"/>
                    </a:cubicBezTo>
                    <a:cubicBezTo>
                      <a:pt x="281" y="2"/>
                      <a:pt x="280" y="2"/>
                      <a:pt x="280" y="2"/>
                    </a:cubicBezTo>
                    <a:cubicBezTo>
                      <a:pt x="278" y="2"/>
                      <a:pt x="277" y="2"/>
                      <a:pt x="275" y="1"/>
                    </a:cubicBezTo>
                    <a:cubicBezTo>
                      <a:pt x="273" y="1"/>
                      <a:pt x="270" y="0"/>
                      <a:pt x="2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261"/>
              <p:cNvSpPr/>
              <p:nvPr/>
            </p:nvSpPr>
            <p:spPr bwMode="auto">
              <a:xfrm>
                <a:off x="8793" y="-840"/>
                <a:ext cx="184" cy="64"/>
              </a:xfrm>
              <a:custGeom>
                <a:gdLst>
                  <a:gd name="T0" fmla="*/ 47 w 78"/>
                  <a:gd name="T1" fmla="*/ 0 h 27"/>
                  <a:gd name="T2" fmla="*/ 47 w 78"/>
                  <a:gd name="T3" fmla="*/ 0 h 27"/>
                  <a:gd name="T4" fmla="*/ 35 w 78"/>
                  <a:gd name="T5" fmla="*/ 2 h 27"/>
                  <a:gd name="T6" fmla="*/ 34 w 78"/>
                  <a:gd name="T7" fmla="*/ 2 h 27"/>
                  <a:gd name="T8" fmla="*/ 33 w 78"/>
                  <a:gd name="T9" fmla="*/ 2 h 27"/>
                  <a:gd name="T10" fmla="*/ 24 w 78"/>
                  <a:gd name="T11" fmla="*/ 10 h 27"/>
                  <a:gd name="T12" fmla="*/ 11 w 78"/>
                  <a:gd name="T13" fmla="*/ 18 h 27"/>
                  <a:gd name="T14" fmla="*/ 5 w 78"/>
                  <a:gd name="T15" fmla="*/ 21 h 27"/>
                  <a:gd name="T16" fmla="*/ 7 w 78"/>
                  <a:gd name="T17" fmla="*/ 22 h 27"/>
                  <a:gd name="T18" fmla="*/ 10 w 78"/>
                  <a:gd name="T19" fmla="*/ 21 h 27"/>
                  <a:gd name="T20" fmla="*/ 19 w 78"/>
                  <a:gd name="T21" fmla="*/ 18 h 27"/>
                  <a:gd name="T22" fmla="*/ 23 w 78"/>
                  <a:gd name="T23" fmla="*/ 18 h 27"/>
                  <a:gd name="T24" fmla="*/ 30 w 78"/>
                  <a:gd name="T25" fmla="*/ 19 h 27"/>
                  <a:gd name="T26" fmla="*/ 50 w 78"/>
                  <a:gd name="T27" fmla="*/ 24 h 27"/>
                  <a:gd name="T28" fmla="*/ 55 w 78"/>
                  <a:gd name="T29" fmla="*/ 25 h 27"/>
                  <a:gd name="T30" fmla="*/ 56 w 78"/>
                  <a:gd name="T31" fmla="*/ 25 h 27"/>
                  <a:gd name="T32" fmla="*/ 60 w 78"/>
                  <a:gd name="T33" fmla="*/ 25 h 27"/>
                  <a:gd name="T34" fmla="*/ 60 w 78"/>
                  <a:gd name="T35" fmla="*/ 25 h 27"/>
                  <a:gd name="T36" fmla="*/ 71 w 78"/>
                  <a:gd name="T37" fmla="*/ 27 h 27"/>
                  <a:gd name="T38" fmla="*/ 77 w 78"/>
                  <a:gd name="T39" fmla="*/ 26 h 27"/>
                  <a:gd name="T40" fmla="*/ 77 w 78"/>
                  <a:gd name="T41" fmla="*/ 24 h 27"/>
                  <a:gd name="T42" fmla="*/ 76 w 78"/>
                  <a:gd name="T43" fmla="*/ 22 h 27"/>
                  <a:gd name="T44" fmla="*/ 77 w 78"/>
                  <a:gd name="T45" fmla="*/ 17 h 27"/>
                  <a:gd name="T46" fmla="*/ 70 w 78"/>
                  <a:gd name="T47" fmla="*/ 11 h 27"/>
                  <a:gd name="T48" fmla="*/ 61 w 78"/>
                  <a:gd name="T49" fmla="*/ 5 h 27"/>
                  <a:gd name="T50" fmla="*/ 47 w 78"/>
                  <a:gd name="T51"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27">
                    <a:moveTo>
                      <a:pt x="47" y="0"/>
                    </a:moveTo>
                    <a:cubicBezTo>
                      <a:pt x="47" y="0"/>
                      <a:pt x="47" y="0"/>
                      <a:pt x="47" y="0"/>
                    </a:cubicBezTo>
                    <a:cubicBezTo>
                      <a:pt x="43" y="1"/>
                      <a:pt x="39" y="2"/>
                      <a:pt x="35" y="2"/>
                    </a:cubicBezTo>
                    <a:cubicBezTo>
                      <a:pt x="34" y="2"/>
                      <a:pt x="34" y="2"/>
                      <a:pt x="34" y="2"/>
                    </a:cubicBezTo>
                    <a:cubicBezTo>
                      <a:pt x="33" y="2"/>
                      <a:pt x="33" y="2"/>
                      <a:pt x="33" y="2"/>
                    </a:cubicBezTo>
                    <a:cubicBezTo>
                      <a:pt x="28" y="2"/>
                      <a:pt x="26" y="7"/>
                      <a:pt x="24" y="10"/>
                    </a:cubicBezTo>
                    <a:cubicBezTo>
                      <a:pt x="21" y="15"/>
                      <a:pt x="18" y="17"/>
                      <a:pt x="11" y="18"/>
                    </a:cubicBezTo>
                    <a:cubicBezTo>
                      <a:pt x="10" y="18"/>
                      <a:pt x="0" y="18"/>
                      <a:pt x="5" y="21"/>
                    </a:cubicBezTo>
                    <a:cubicBezTo>
                      <a:pt x="5" y="21"/>
                      <a:pt x="6" y="22"/>
                      <a:pt x="7" y="22"/>
                    </a:cubicBezTo>
                    <a:cubicBezTo>
                      <a:pt x="8" y="22"/>
                      <a:pt x="9" y="21"/>
                      <a:pt x="10" y="21"/>
                    </a:cubicBezTo>
                    <a:cubicBezTo>
                      <a:pt x="13" y="21"/>
                      <a:pt x="16" y="19"/>
                      <a:pt x="19" y="18"/>
                    </a:cubicBezTo>
                    <a:cubicBezTo>
                      <a:pt x="21" y="18"/>
                      <a:pt x="22" y="18"/>
                      <a:pt x="23" y="18"/>
                    </a:cubicBezTo>
                    <a:cubicBezTo>
                      <a:pt x="25" y="18"/>
                      <a:pt x="27" y="18"/>
                      <a:pt x="30" y="19"/>
                    </a:cubicBezTo>
                    <a:cubicBezTo>
                      <a:pt x="36" y="22"/>
                      <a:pt x="43" y="23"/>
                      <a:pt x="50" y="24"/>
                    </a:cubicBezTo>
                    <a:cubicBezTo>
                      <a:pt x="51" y="24"/>
                      <a:pt x="53" y="25"/>
                      <a:pt x="55" y="25"/>
                    </a:cubicBezTo>
                    <a:cubicBezTo>
                      <a:pt x="55" y="25"/>
                      <a:pt x="55" y="25"/>
                      <a:pt x="56" y="25"/>
                    </a:cubicBezTo>
                    <a:cubicBezTo>
                      <a:pt x="57" y="25"/>
                      <a:pt x="58" y="25"/>
                      <a:pt x="60" y="25"/>
                    </a:cubicBezTo>
                    <a:cubicBezTo>
                      <a:pt x="60" y="25"/>
                      <a:pt x="60" y="25"/>
                      <a:pt x="60" y="25"/>
                    </a:cubicBezTo>
                    <a:cubicBezTo>
                      <a:pt x="64" y="25"/>
                      <a:pt x="68" y="26"/>
                      <a:pt x="71" y="27"/>
                    </a:cubicBezTo>
                    <a:cubicBezTo>
                      <a:pt x="72" y="26"/>
                      <a:pt x="76" y="27"/>
                      <a:pt x="77" y="26"/>
                    </a:cubicBezTo>
                    <a:cubicBezTo>
                      <a:pt x="78" y="24"/>
                      <a:pt x="77" y="25"/>
                      <a:pt x="77" y="24"/>
                    </a:cubicBezTo>
                    <a:cubicBezTo>
                      <a:pt x="77" y="23"/>
                      <a:pt x="76" y="22"/>
                      <a:pt x="76" y="22"/>
                    </a:cubicBezTo>
                    <a:cubicBezTo>
                      <a:pt x="76" y="20"/>
                      <a:pt x="77" y="19"/>
                      <a:pt x="77" y="17"/>
                    </a:cubicBezTo>
                    <a:cubicBezTo>
                      <a:pt x="76" y="15"/>
                      <a:pt x="72" y="12"/>
                      <a:pt x="70" y="11"/>
                    </a:cubicBezTo>
                    <a:cubicBezTo>
                      <a:pt x="67" y="9"/>
                      <a:pt x="64" y="7"/>
                      <a:pt x="61" y="5"/>
                    </a:cubicBezTo>
                    <a:cubicBezTo>
                      <a:pt x="57" y="3"/>
                      <a:pt x="52" y="0"/>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262"/>
              <p:cNvSpPr/>
              <p:nvPr/>
            </p:nvSpPr>
            <p:spPr bwMode="auto">
              <a:xfrm>
                <a:off x="5012" y="-1490"/>
                <a:ext cx="66" cy="9"/>
              </a:xfrm>
              <a:custGeom>
                <a:gdLst>
                  <a:gd name="T0" fmla="*/ 0 w 28"/>
                  <a:gd name="T1" fmla="*/ 0 h 4"/>
                  <a:gd name="T2" fmla="*/ 3 w 28"/>
                  <a:gd name="T3" fmla="*/ 0 h 4"/>
                  <a:gd name="T4" fmla="*/ 4 w 28"/>
                  <a:gd name="T5" fmla="*/ 3 h 4"/>
                  <a:gd name="T6" fmla="*/ 8 w 28"/>
                  <a:gd name="T7" fmla="*/ 4 h 4"/>
                  <a:gd name="T8" fmla="*/ 8 w 28"/>
                  <a:gd name="T9" fmla="*/ 4 h 4"/>
                  <a:gd name="T10" fmla="*/ 11 w 28"/>
                  <a:gd name="T11" fmla="*/ 3 h 4"/>
                  <a:gd name="T12" fmla="*/ 14 w 28"/>
                  <a:gd name="T13" fmla="*/ 3 h 4"/>
                  <a:gd name="T14" fmla="*/ 15 w 28"/>
                  <a:gd name="T15" fmla="*/ 3 h 4"/>
                  <a:gd name="T16" fmla="*/ 18 w 28"/>
                  <a:gd name="T17" fmla="*/ 4 h 4"/>
                  <a:gd name="T18" fmla="*/ 19 w 28"/>
                  <a:gd name="T19" fmla="*/ 4 h 4"/>
                  <a:gd name="T20" fmla="*/ 22 w 28"/>
                  <a:gd name="T21" fmla="*/ 4 h 4"/>
                  <a:gd name="T22" fmla="*/ 28 w 28"/>
                  <a:gd name="T23" fmla="*/ 1 h 4"/>
                  <a:gd name="T24" fmla="*/ 0 w 28"/>
                  <a:gd name="T25"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
                    <a:moveTo>
                      <a:pt x="0" y="0"/>
                    </a:moveTo>
                    <a:cubicBezTo>
                      <a:pt x="1" y="0"/>
                      <a:pt x="2" y="0"/>
                      <a:pt x="3" y="0"/>
                    </a:cubicBezTo>
                    <a:cubicBezTo>
                      <a:pt x="4" y="1"/>
                      <a:pt x="4" y="2"/>
                      <a:pt x="4" y="3"/>
                    </a:cubicBezTo>
                    <a:cubicBezTo>
                      <a:pt x="6" y="4"/>
                      <a:pt x="6" y="4"/>
                      <a:pt x="8" y="4"/>
                    </a:cubicBezTo>
                    <a:cubicBezTo>
                      <a:pt x="8" y="4"/>
                      <a:pt x="8" y="4"/>
                      <a:pt x="8" y="4"/>
                    </a:cubicBezTo>
                    <a:cubicBezTo>
                      <a:pt x="9" y="4"/>
                      <a:pt x="10" y="4"/>
                      <a:pt x="11" y="3"/>
                    </a:cubicBezTo>
                    <a:cubicBezTo>
                      <a:pt x="12" y="3"/>
                      <a:pt x="13" y="3"/>
                      <a:pt x="14" y="3"/>
                    </a:cubicBezTo>
                    <a:cubicBezTo>
                      <a:pt x="15" y="3"/>
                      <a:pt x="15" y="3"/>
                      <a:pt x="15" y="3"/>
                    </a:cubicBezTo>
                    <a:cubicBezTo>
                      <a:pt x="17" y="3"/>
                      <a:pt x="17" y="4"/>
                      <a:pt x="18" y="4"/>
                    </a:cubicBezTo>
                    <a:cubicBezTo>
                      <a:pt x="19" y="4"/>
                      <a:pt x="19" y="4"/>
                      <a:pt x="19" y="4"/>
                    </a:cubicBezTo>
                    <a:cubicBezTo>
                      <a:pt x="20" y="4"/>
                      <a:pt x="21" y="4"/>
                      <a:pt x="22" y="4"/>
                    </a:cubicBezTo>
                    <a:cubicBezTo>
                      <a:pt x="24" y="3"/>
                      <a:pt x="27" y="3"/>
                      <a:pt x="28" y="1"/>
                    </a:cubicBezTo>
                    <a:cubicBezTo>
                      <a:pt x="18" y="1"/>
                      <a:pt x="9"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263"/>
              <p:cNvSpPr/>
              <p:nvPr/>
            </p:nvSpPr>
            <p:spPr bwMode="auto">
              <a:xfrm>
                <a:off x="4610" y="-1512"/>
                <a:ext cx="234" cy="85"/>
              </a:xfrm>
              <a:custGeom>
                <a:gdLst>
                  <a:gd name="T0" fmla="*/ 69 w 99"/>
                  <a:gd name="T1" fmla="*/ 0 h 36"/>
                  <a:gd name="T2" fmla="*/ 56 w 99"/>
                  <a:gd name="T3" fmla="*/ 4 h 36"/>
                  <a:gd name="T4" fmla="*/ 47 w 99"/>
                  <a:gd name="T5" fmla="*/ 9 h 36"/>
                  <a:gd name="T6" fmla="*/ 51 w 99"/>
                  <a:gd name="T7" fmla="*/ 8 h 36"/>
                  <a:gd name="T8" fmla="*/ 50 w 99"/>
                  <a:gd name="T9" fmla="*/ 10 h 36"/>
                  <a:gd name="T10" fmla="*/ 53 w 99"/>
                  <a:gd name="T11" fmla="*/ 10 h 36"/>
                  <a:gd name="T12" fmla="*/ 57 w 99"/>
                  <a:gd name="T13" fmla="*/ 9 h 36"/>
                  <a:gd name="T14" fmla="*/ 57 w 99"/>
                  <a:gd name="T15" fmla="*/ 12 h 36"/>
                  <a:gd name="T16" fmla="*/ 55 w 99"/>
                  <a:gd name="T17" fmla="*/ 12 h 36"/>
                  <a:gd name="T18" fmla="*/ 53 w 99"/>
                  <a:gd name="T19" fmla="*/ 15 h 36"/>
                  <a:gd name="T20" fmla="*/ 49 w 99"/>
                  <a:gd name="T21" fmla="*/ 18 h 36"/>
                  <a:gd name="T22" fmla="*/ 48 w 99"/>
                  <a:gd name="T23" fmla="*/ 18 h 36"/>
                  <a:gd name="T24" fmla="*/ 44 w 99"/>
                  <a:gd name="T25" fmla="*/ 18 h 36"/>
                  <a:gd name="T26" fmla="*/ 42 w 99"/>
                  <a:gd name="T27" fmla="*/ 19 h 36"/>
                  <a:gd name="T28" fmla="*/ 34 w 99"/>
                  <a:gd name="T29" fmla="*/ 16 h 36"/>
                  <a:gd name="T30" fmla="*/ 30 w 99"/>
                  <a:gd name="T31" fmla="*/ 17 h 36"/>
                  <a:gd name="T32" fmla="*/ 28 w 99"/>
                  <a:gd name="T33" fmla="*/ 17 h 36"/>
                  <a:gd name="T34" fmla="*/ 17 w 99"/>
                  <a:gd name="T35" fmla="*/ 21 h 36"/>
                  <a:gd name="T36" fmla="*/ 26 w 99"/>
                  <a:gd name="T37" fmla="*/ 20 h 36"/>
                  <a:gd name="T38" fmla="*/ 20 w 99"/>
                  <a:gd name="T39" fmla="*/ 23 h 36"/>
                  <a:gd name="T40" fmla="*/ 27 w 99"/>
                  <a:gd name="T41" fmla="*/ 27 h 36"/>
                  <a:gd name="T42" fmla="*/ 13 w 99"/>
                  <a:gd name="T43" fmla="*/ 25 h 36"/>
                  <a:gd name="T44" fmla="*/ 5 w 99"/>
                  <a:gd name="T45" fmla="*/ 26 h 36"/>
                  <a:gd name="T46" fmla="*/ 7 w 99"/>
                  <a:gd name="T47" fmla="*/ 33 h 36"/>
                  <a:gd name="T48" fmla="*/ 13 w 99"/>
                  <a:gd name="T49" fmla="*/ 32 h 36"/>
                  <a:gd name="T50" fmla="*/ 28 w 99"/>
                  <a:gd name="T51" fmla="*/ 32 h 36"/>
                  <a:gd name="T52" fmla="*/ 20 w 99"/>
                  <a:gd name="T53" fmla="*/ 36 h 36"/>
                  <a:gd name="T54" fmla="*/ 48 w 99"/>
                  <a:gd name="T55" fmla="*/ 33 h 36"/>
                  <a:gd name="T56" fmla="*/ 47 w 99"/>
                  <a:gd name="T57" fmla="*/ 30 h 36"/>
                  <a:gd name="T58" fmla="*/ 52 w 99"/>
                  <a:gd name="T59" fmla="*/ 22 h 36"/>
                  <a:gd name="T60" fmla="*/ 99 w 99"/>
                  <a:gd name="T61" fmla="*/ 9 h 36"/>
                  <a:gd name="T62" fmla="*/ 89 w 99"/>
                  <a:gd name="T63" fmla="*/ 6 h 36"/>
                  <a:gd name="T64" fmla="*/ 87 w 99"/>
                  <a:gd name="T65" fmla="*/ 7 h 36"/>
                  <a:gd name="T66" fmla="*/ 82 w 99"/>
                  <a:gd name="T67" fmla="*/ 0 h 36"/>
                  <a:gd name="T68" fmla="*/ 79 w 99"/>
                  <a:gd name="T69" fmla="*/ 1 h 36"/>
                  <a:gd name="T70" fmla="*/ 76 w 99"/>
                  <a:gd name="T71" fmla="*/ 2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36">
                    <a:moveTo>
                      <a:pt x="69" y="0"/>
                    </a:moveTo>
                    <a:cubicBezTo>
                      <a:pt x="69" y="0"/>
                      <a:pt x="69" y="0"/>
                      <a:pt x="69" y="0"/>
                    </a:cubicBezTo>
                    <a:cubicBezTo>
                      <a:pt x="66" y="0"/>
                      <a:pt x="64" y="1"/>
                      <a:pt x="62" y="1"/>
                    </a:cubicBezTo>
                    <a:cubicBezTo>
                      <a:pt x="60" y="2"/>
                      <a:pt x="58" y="3"/>
                      <a:pt x="56" y="4"/>
                    </a:cubicBezTo>
                    <a:cubicBezTo>
                      <a:pt x="54" y="4"/>
                      <a:pt x="45" y="5"/>
                      <a:pt x="46" y="8"/>
                    </a:cubicBezTo>
                    <a:cubicBezTo>
                      <a:pt x="46" y="9"/>
                      <a:pt x="46" y="9"/>
                      <a:pt x="47" y="9"/>
                    </a:cubicBezTo>
                    <a:cubicBezTo>
                      <a:pt x="48" y="9"/>
                      <a:pt x="48" y="9"/>
                      <a:pt x="49" y="9"/>
                    </a:cubicBezTo>
                    <a:cubicBezTo>
                      <a:pt x="50" y="9"/>
                      <a:pt x="50" y="8"/>
                      <a:pt x="51" y="8"/>
                    </a:cubicBezTo>
                    <a:cubicBezTo>
                      <a:pt x="51" y="8"/>
                      <a:pt x="51" y="8"/>
                      <a:pt x="51" y="8"/>
                    </a:cubicBezTo>
                    <a:cubicBezTo>
                      <a:pt x="51" y="9"/>
                      <a:pt x="51" y="9"/>
                      <a:pt x="50" y="10"/>
                    </a:cubicBezTo>
                    <a:cubicBezTo>
                      <a:pt x="50" y="10"/>
                      <a:pt x="51" y="10"/>
                      <a:pt x="51" y="10"/>
                    </a:cubicBezTo>
                    <a:cubicBezTo>
                      <a:pt x="52" y="10"/>
                      <a:pt x="52" y="10"/>
                      <a:pt x="53" y="10"/>
                    </a:cubicBezTo>
                    <a:cubicBezTo>
                      <a:pt x="54" y="9"/>
                      <a:pt x="55" y="9"/>
                      <a:pt x="56" y="9"/>
                    </a:cubicBezTo>
                    <a:cubicBezTo>
                      <a:pt x="56" y="9"/>
                      <a:pt x="56" y="9"/>
                      <a:pt x="57" y="9"/>
                    </a:cubicBezTo>
                    <a:cubicBezTo>
                      <a:pt x="58" y="10"/>
                      <a:pt x="60" y="11"/>
                      <a:pt x="58" y="12"/>
                    </a:cubicBezTo>
                    <a:cubicBezTo>
                      <a:pt x="58" y="12"/>
                      <a:pt x="58" y="12"/>
                      <a:pt x="57" y="12"/>
                    </a:cubicBezTo>
                    <a:cubicBezTo>
                      <a:pt x="57" y="12"/>
                      <a:pt x="57" y="12"/>
                      <a:pt x="56" y="12"/>
                    </a:cubicBezTo>
                    <a:cubicBezTo>
                      <a:pt x="56" y="12"/>
                      <a:pt x="56" y="12"/>
                      <a:pt x="55" y="12"/>
                    </a:cubicBezTo>
                    <a:cubicBezTo>
                      <a:pt x="55" y="12"/>
                      <a:pt x="55" y="12"/>
                      <a:pt x="54" y="12"/>
                    </a:cubicBezTo>
                    <a:cubicBezTo>
                      <a:pt x="54" y="13"/>
                      <a:pt x="53" y="14"/>
                      <a:pt x="53" y="15"/>
                    </a:cubicBezTo>
                    <a:cubicBezTo>
                      <a:pt x="52" y="16"/>
                      <a:pt x="51" y="15"/>
                      <a:pt x="51" y="16"/>
                    </a:cubicBezTo>
                    <a:cubicBezTo>
                      <a:pt x="50" y="18"/>
                      <a:pt x="49" y="18"/>
                      <a:pt x="49" y="18"/>
                    </a:cubicBezTo>
                    <a:cubicBezTo>
                      <a:pt x="48" y="18"/>
                      <a:pt x="48" y="18"/>
                      <a:pt x="48" y="18"/>
                    </a:cubicBezTo>
                    <a:cubicBezTo>
                      <a:pt x="48" y="18"/>
                      <a:pt x="48" y="18"/>
                      <a:pt x="48" y="18"/>
                    </a:cubicBezTo>
                    <a:cubicBezTo>
                      <a:pt x="48" y="18"/>
                      <a:pt x="48" y="18"/>
                      <a:pt x="48" y="18"/>
                    </a:cubicBezTo>
                    <a:cubicBezTo>
                      <a:pt x="46" y="18"/>
                      <a:pt x="45" y="18"/>
                      <a:pt x="44" y="18"/>
                    </a:cubicBezTo>
                    <a:cubicBezTo>
                      <a:pt x="43" y="18"/>
                      <a:pt x="43" y="19"/>
                      <a:pt x="42" y="19"/>
                    </a:cubicBezTo>
                    <a:cubicBezTo>
                      <a:pt x="42" y="19"/>
                      <a:pt x="42" y="19"/>
                      <a:pt x="42" y="19"/>
                    </a:cubicBezTo>
                    <a:cubicBezTo>
                      <a:pt x="39" y="19"/>
                      <a:pt x="37" y="16"/>
                      <a:pt x="34" y="16"/>
                    </a:cubicBezTo>
                    <a:cubicBezTo>
                      <a:pt x="34" y="16"/>
                      <a:pt x="34" y="16"/>
                      <a:pt x="34" y="16"/>
                    </a:cubicBezTo>
                    <a:cubicBezTo>
                      <a:pt x="33" y="16"/>
                      <a:pt x="33" y="16"/>
                      <a:pt x="32" y="17"/>
                    </a:cubicBezTo>
                    <a:cubicBezTo>
                      <a:pt x="31" y="17"/>
                      <a:pt x="31" y="17"/>
                      <a:pt x="30" y="17"/>
                    </a:cubicBezTo>
                    <a:cubicBezTo>
                      <a:pt x="30" y="17"/>
                      <a:pt x="29" y="17"/>
                      <a:pt x="28" y="17"/>
                    </a:cubicBezTo>
                    <a:cubicBezTo>
                      <a:pt x="28" y="17"/>
                      <a:pt x="28" y="17"/>
                      <a:pt x="28" y="17"/>
                    </a:cubicBezTo>
                    <a:cubicBezTo>
                      <a:pt x="24" y="17"/>
                      <a:pt x="18" y="19"/>
                      <a:pt x="16" y="21"/>
                    </a:cubicBezTo>
                    <a:cubicBezTo>
                      <a:pt x="16" y="21"/>
                      <a:pt x="17" y="21"/>
                      <a:pt x="17" y="21"/>
                    </a:cubicBezTo>
                    <a:cubicBezTo>
                      <a:pt x="19" y="21"/>
                      <a:pt x="20" y="21"/>
                      <a:pt x="22" y="20"/>
                    </a:cubicBezTo>
                    <a:cubicBezTo>
                      <a:pt x="23" y="20"/>
                      <a:pt x="25" y="20"/>
                      <a:pt x="26" y="20"/>
                    </a:cubicBezTo>
                    <a:cubicBezTo>
                      <a:pt x="28" y="20"/>
                      <a:pt x="30" y="20"/>
                      <a:pt x="31" y="22"/>
                    </a:cubicBezTo>
                    <a:cubicBezTo>
                      <a:pt x="30" y="22"/>
                      <a:pt x="21" y="22"/>
                      <a:pt x="20" y="23"/>
                    </a:cubicBezTo>
                    <a:cubicBezTo>
                      <a:pt x="20" y="24"/>
                      <a:pt x="29" y="25"/>
                      <a:pt x="30" y="26"/>
                    </a:cubicBezTo>
                    <a:cubicBezTo>
                      <a:pt x="29" y="26"/>
                      <a:pt x="28" y="26"/>
                      <a:pt x="27" y="27"/>
                    </a:cubicBezTo>
                    <a:cubicBezTo>
                      <a:pt x="27" y="27"/>
                      <a:pt x="26" y="27"/>
                      <a:pt x="25" y="27"/>
                    </a:cubicBezTo>
                    <a:cubicBezTo>
                      <a:pt x="21" y="27"/>
                      <a:pt x="14" y="26"/>
                      <a:pt x="13" y="25"/>
                    </a:cubicBezTo>
                    <a:cubicBezTo>
                      <a:pt x="12" y="25"/>
                      <a:pt x="10" y="25"/>
                      <a:pt x="9" y="25"/>
                    </a:cubicBezTo>
                    <a:cubicBezTo>
                      <a:pt x="8" y="25"/>
                      <a:pt x="7" y="25"/>
                      <a:pt x="5" y="26"/>
                    </a:cubicBezTo>
                    <a:cubicBezTo>
                      <a:pt x="2" y="27"/>
                      <a:pt x="0" y="28"/>
                      <a:pt x="3" y="29"/>
                    </a:cubicBezTo>
                    <a:cubicBezTo>
                      <a:pt x="5" y="30"/>
                      <a:pt x="6" y="32"/>
                      <a:pt x="7" y="33"/>
                    </a:cubicBezTo>
                    <a:cubicBezTo>
                      <a:pt x="8" y="33"/>
                      <a:pt x="9" y="33"/>
                      <a:pt x="9" y="33"/>
                    </a:cubicBezTo>
                    <a:cubicBezTo>
                      <a:pt x="11" y="33"/>
                      <a:pt x="12" y="32"/>
                      <a:pt x="13" y="32"/>
                    </a:cubicBezTo>
                    <a:cubicBezTo>
                      <a:pt x="16" y="31"/>
                      <a:pt x="19" y="30"/>
                      <a:pt x="22" y="30"/>
                    </a:cubicBezTo>
                    <a:cubicBezTo>
                      <a:pt x="24" y="30"/>
                      <a:pt x="27" y="30"/>
                      <a:pt x="28" y="32"/>
                    </a:cubicBezTo>
                    <a:cubicBezTo>
                      <a:pt x="27" y="32"/>
                      <a:pt x="25" y="32"/>
                      <a:pt x="24" y="33"/>
                    </a:cubicBezTo>
                    <a:cubicBezTo>
                      <a:pt x="22" y="33"/>
                      <a:pt x="22" y="34"/>
                      <a:pt x="20" y="36"/>
                    </a:cubicBezTo>
                    <a:cubicBezTo>
                      <a:pt x="26" y="36"/>
                      <a:pt x="31" y="35"/>
                      <a:pt x="36" y="35"/>
                    </a:cubicBezTo>
                    <a:cubicBezTo>
                      <a:pt x="40" y="35"/>
                      <a:pt x="45" y="35"/>
                      <a:pt x="48" y="33"/>
                    </a:cubicBezTo>
                    <a:cubicBezTo>
                      <a:pt x="49" y="32"/>
                      <a:pt x="47" y="32"/>
                      <a:pt x="46" y="32"/>
                    </a:cubicBezTo>
                    <a:cubicBezTo>
                      <a:pt x="47" y="30"/>
                      <a:pt x="47" y="30"/>
                      <a:pt x="47" y="30"/>
                    </a:cubicBezTo>
                    <a:cubicBezTo>
                      <a:pt x="45" y="28"/>
                      <a:pt x="43" y="27"/>
                      <a:pt x="43" y="24"/>
                    </a:cubicBezTo>
                    <a:cubicBezTo>
                      <a:pt x="43" y="23"/>
                      <a:pt x="50" y="22"/>
                      <a:pt x="52" y="22"/>
                    </a:cubicBezTo>
                    <a:cubicBezTo>
                      <a:pt x="58" y="20"/>
                      <a:pt x="64" y="18"/>
                      <a:pt x="71" y="16"/>
                    </a:cubicBezTo>
                    <a:cubicBezTo>
                      <a:pt x="80" y="14"/>
                      <a:pt x="89" y="12"/>
                      <a:pt x="99" y="9"/>
                    </a:cubicBezTo>
                    <a:cubicBezTo>
                      <a:pt x="97" y="8"/>
                      <a:pt x="94" y="8"/>
                      <a:pt x="92" y="7"/>
                    </a:cubicBezTo>
                    <a:cubicBezTo>
                      <a:pt x="91" y="7"/>
                      <a:pt x="90" y="6"/>
                      <a:pt x="89" y="6"/>
                    </a:cubicBezTo>
                    <a:cubicBezTo>
                      <a:pt x="89" y="6"/>
                      <a:pt x="89" y="6"/>
                      <a:pt x="89" y="6"/>
                    </a:cubicBezTo>
                    <a:cubicBezTo>
                      <a:pt x="88" y="6"/>
                      <a:pt x="87" y="7"/>
                      <a:pt x="87" y="7"/>
                    </a:cubicBezTo>
                    <a:cubicBezTo>
                      <a:pt x="86" y="7"/>
                      <a:pt x="86" y="7"/>
                      <a:pt x="86" y="7"/>
                    </a:cubicBezTo>
                    <a:cubicBezTo>
                      <a:pt x="85" y="5"/>
                      <a:pt x="84" y="1"/>
                      <a:pt x="82" y="0"/>
                    </a:cubicBezTo>
                    <a:cubicBezTo>
                      <a:pt x="82" y="0"/>
                      <a:pt x="81" y="0"/>
                      <a:pt x="81" y="0"/>
                    </a:cubicBezTo>
                    <a:cubicBezTo>
                      <a:pt x="80" y="0"/>
                      <a:pt x="80" y="1"/>
                      <a:pt x="79" y="1"/>
                    </a:cubicBezTo>
                    <a:cubicBezTo>
                      <a:pt x="78" y="1"/>
                      <a:pt x="77" y="2"/>
                      <a:pt x="76" y="2"/>
                    </a:cubicBezTo>
                    <a:cubicBezTo>
                      <a:pt x="76" y="2"/>
                      <a:pt x="76" y="2"/>
                      <a:pt x="76" y="2"/>
                    </a:cubicBezTo>
                    <a:cubicBezTo>
                      <a:pt x="74" y="1"/>
                      <a:pt x="72"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264"/>
              <p:cNvSpPr/>
              <p:nvPr/>
            </p:nvSpPr>
            <p:spPr bwMode="auto">
              <a:xfrm>
                <a:off x="6628" y="-1552"/>
                <a:ext cx="296" cy="137"/>
              </a:xfrm>
              <a:custGeom>
                <a:gdLst>
                  <a:gd name="T0" fmla="*/ 79 w 125"/>
                  <a:gd name="T1" fmla="*/ 0 h 58"/>
                  <a:gd name="T2" fmla="*/ 70 w 125"/>
                  <a:gd name="T3" fmla="*/ 3 h 58"/>
                  <a:gd name="T4" fmla="*/ 70 w 125"/>
                  <a:gd name="T5" fmla="*/ 5 h 58"/>
                  <a:gd name="T6" fmla="*/ 68 w 125"/>
                  <a:gd name="T7" fmla="*/ 6 h 58"/>
                  <a:gd name="T8" fmla="*/ 56 w 125"/>
                  <a:gd name="T9" fmla="*/ 9 h 58"/>
                  <a:gd name="T10" fmla="*/ 51 w 125"/>
                  <a:gd name="T11" fmla="*/ 10 h 58"/>
                  <a:gd name="T12" fmla="*/ 44 w 125"/>
                  <a:gd name="T13" fmla="*/ 11 h 58"/>
                  <a:gd name="T14" fmla="*/ 42 w 125"/>
                  <a:gd name="T15" fmla="*/ 12 h 58"/>
                  <a:gd name="T16" fmla="*/ 41 w 125"/>
                  <a:gd name="T17" fmla="*/ 12 h 58"/>
                  <a:gd name="T18" fmla="*/ 40 w 125"/>
                  <a:gd name="T19" fmla="*/ 12 h 58"/>
                  <a:gd name="T20" fmla="*/ 38 w 125"/>
                  <a:gd name="T21" fmla="*/ 12 h 58"/>
                  <a:gd name="T22" fmla="*/ 33 w 125"/>
                  <a:gd name="T23" fmla="*/ 13 h 58"/>
                  <a:gd name="T24" fmla="*/ 33 w 125"/>
                  <a:gd name="T25" fmla="*/ 17 h 58"/>
                  <a:gd name="T26" fmla="*/ 26 w 125"/>
                  <a:gd name="T27" fmla="*/ 18 h 58"/>
                  <a:gd name="T28" fmla="*/ 25 w 125"/>
                  <a:gd name="T29" fmla="*/ 20 h 58"/>
                  <a:gd name="T30" fmla="*/ 24 w 125"/>
                  <a:gd name="T31" fmla="*/ 22 h 58"/>
                  <a:gd name="T32" fmla="*/ 21 w 125"/>
                  <a:gd name="T33" fmla="*/ 23 h 58"/>
                  <a:gd name="T34" fmla="*/ 25 w 125"/>
                  <a:gd name="T35" fmla="*/ 27 h 58"/>
                  <a:gd name="T36" fmla="*/ 27 w 125"/>
                  <a:gd name="T37" fmla="*/ 30 h 58"/>
                  <a:gd name="T38" fmla="*/ 27 w 125"/>
                  <a:gd name="T39" fmla="*/ 33 h 58"/>
                  <a:gd name="T40" fmla="*/ 23 w 125"/>
                  <a:gd name="T41" fmla="*/ 35 h 58"/>
                  <a:gd name="T42" fmla="*/ 21 w 125"/>
                  <a:gd name="T43" fmla="*/ 35 h 58"/>
                  <a:gd name="T44" fmla="*/ 20 w 125"/>
                  <a:gd name="T45" fmla="*/ 35 h 58"/>
                  <a:gd name="T46" fmla="*/ 20 w 125"/>
                  <a:gd name="T47" fmla="*/ 35 h 58"/>
                  <a:gd name="T48" fmla="*/ 13 w 125"/>
                  <a:gd name="T49" fmla="*/ 36 h 58"/>
                  <a:gd name="T50" fmla="*/ 10 w 125"/>
                  <a:gd name="T51" fmla="*/ 37 h 58"/>
                  <a:gd name="T52" fmla="*/ 13 w 125"/>
                  <a:gd name="T53" fmla="*/ 40 h 58"/>
                  <a:gd name="T54" fmla="*/ 5 w 125"/>
                  <a:gd name="T55" fmla="*/ 41 h 58"/>
                  <a:gd name="T56" fmla="*/ 2 w 125"/>
                  <a:gd name="T57" fmla="*/ 42 h 58"/>
                  <a:gd name="T58" fmla="*/ 1 w 125"/>
                  <a:gd name="T59" fmla="*/ 44 h 58"/>
                  <a:gd name="T60" fmla="*/ 1 w 125"/>
                  <a:gd name="T61" fmla="*/ 44 h 58"/>
                  <a:gd name="T62" fmla="*/ 24 w 125"/>
                  <a:gd name="T63" fmla="*/ 44 h 58"/>
                  <a:gd name="T64" fmla="*/ 31 w 125"/>
                  <a:gd name="T65" fmla="*/ 44 h 58"/>
                  <a:gd name="T66" fmla="*/ 36 w 125"/>
                  <a:gd name="T67" fmla="*/ 45 h 58"/>
                  <a:gd name="T68" fmla="*/ 35 w 125"/>
                  <a:gd name="T69" fmla="*/ 46 h 58"/>
                  <a:gd name="T70" fmla="*/ 27 w 125"/>
                  <a:gd name="T71" fmla="*/ 45 h 58"/>
                  <a:gd name="T72" fmla="*/ 18 w 125"/>
                  <a:gd name="T73" fmla="*/ 45 h 58"/>
                  <a:gd name="T74" fmla="*/ 16 w 125"/>
                  <a:gd name="T75" fmla="*/ 45 h 58"/>
                  <a:gd name="T76" fmla="*/ 23 w 125"/>
                  <a:gd name="T77" fmla="*/ 49 h 58"/>
                  <a:gd name="T78" fmla="*/ 28 w 125"/>
                  <a:gd name="T79" fmla="*/ 50 h 58"/>
                  <a:gd name="T80" fmla="*/ 27 w 125"/>
                  <a:gd name="T81" fmla="*/ 50 h 58"/>
                  <a:gd name="T82" fmla="*/ 17 w 125"/>
                  <a:gd name="T83" fmla="*/ 49 h 58"/>
                  <a:gd name="T84" fmla="*/ 29 w 125"/>
                  <a:gd name="T85" fmla="*/ 53 h 58"/>
                  <a:gd name="T86" fmla="*/ 36 w 125"/>
                  <a:gd name="T87" fmla="*/ 56 h 58"/>
                  <a:gd name="T88" fmla="*/ 44 w 125"/>
                  <a:gd name="T89" fmla="*/ 58 h 58"/>
                  <a:gd name="T90" fmla="*/ 45 w 125"/>
                  <a:gd name="T91" fmla="*/ 58 h 58"/>
                  <a:gd name="T92" fmla="*/ 68 w 125"/>
                  <a:gd name="T93" fmla="*/ 52 h 58"/>
                  <a:gd name="T94" fmla="*/ 89 w 125"/>
                  <a:gd name="T95" fmla="*/ 48 h 58"/>
                  <a:gd name="T96" fmla="*/ 107 w 125"/>
                  <a:gd name="T97" fmla="*/ 47 h 58"/>
                  <a:gd name="T98" fmla="*/ 110 w 125"/>
                  <a:gd name="T99" fmla="*/ 40 h 58"/>
                  <a:gd name="T100" fmla="*/ 109 w 125"/>
                  <a:gd name="T101" fmla="*/ 35 h 58"/>
                  <a:gd name="T102" fmla="*/ 109 w 125"/>
                  <a:gd name="T103" fmla="*/ 29 h 58"/>
                  <a:gd name="T104" fmla="*/ 125 w 125"/>
                  <a:gd name="T105" fmla="*/ 27 h 58"/>
                  <a:gd name="T106" fmla="*/ 101 w 125"/>
                  <a:gd name="T107" fmla="*/ 12 h 58"/>
                  <a:gd name="T108" fmla="*/ 87 w 125"/>
                  <a:gd name="T109" fmla="*/ 3 h 58"/>
                  <a:gd name="T110" fmla="*/ 79 w 125"/>
                  <a:gd name="T111" fmla="*/ 0 h 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57">
                    <a:moveTo>
                      <a:pt x="79" y="0"/>
                    </a:moveTo>
                    <a:cubicBezTo>
                      <a:pt x="76" y="1"/>
                      <a:pt x="70" y="0"/>
                      <a:pt x="70" y="3"/>
                    </a:cubicBezTo>
                    <a:cubicBezTo>
                      <a:pt x="70" y="4"/>
                      <a:pt x="72" y="4"/>
                      <a:pt x="70" y="5"/>
                    </a:cubicBezTo>
                    <a:cubicBezTo>
                      <a:pt x="69" y="5"/>
                      <a:pt x="69" y="6"/>
                      <a:pt x="68" y="6"/>
                    </a:cubicBezTo>
                    <a:cubicBezTo>
                      <a:pt x="64" y="9"/>
                      <a:pt x="60" y="8"/>
                      <a:pt x="56" y="9"/>
                    </a:cubicBezTo>
                    <a:cubicBezTo>
                      <a:pt x="54" y="9"/>
                      <a:pt x="53" y="10"/>
                      <a:pt x="51" y="10"/>
                    </a:cubicBezTo>
                    <a:cubicBezTo>
                      <a:pt x="49" y="11"/>
                      <a:pt x="46" y="11"/>
                      <a:pt x="44" y="11"/>
                    </a:cubicBezTo>
                    <a:cubicBezTo>
                      <a:pt x="43" y="11"/>
                      <a:pt x="43" y="12"/>
                      <a:pt x="42" y="12"/>
                    </a:cubicBezTo>
                    <a:cubicBezTo>
                      <a:pt x="42" y="12"/>
                      <a:pt x="41" y="12"/>
                      <a:pt x="41" y="12"/>
                    </a:cubicBezTo>
                    <a:cubicBezTo>
                      <a:pt x="41" y="12"/>
                      <a:pt x="40" y="12"/>
                      <a:pt x="40" y="12"/>
                    </a:cubicBezTo>
                    <a:cubicBezTo>
                      <a:pt x="39" y="12"/>
                      <a:pt x="39" y="12"/>
                      <a:pt x="38" y="12"/>
                    </a:cubicBezTo>
                    <a:cubicBezTo>
                      <a:pt x="37" y="12"/>
                      <a:pt x="35" y="12"/>
                      <a:pt x="33" y="13"/>
                    </a:cubicBezTo>
                    <a:cubicBezTo>
                      <a:pt x="30" y="15"/>
                      <a:pt x="35" y="15"/>
                      <a:pt x="33" y="17"/>
                    </a:cubicBezTo>
                    <a:cubicBezTo>
                      <a:pt x="33" y="18"/>
                      <a:pt x="28" y="17"/>
                      <a:pt x="26" y="18"/>
                    </a:cubicBezTo>
                    <a:cubicBezTo>
                      <a:pt x="24" y="19"/>
                      <a:pt x="26" y="19"/>
                      <a:pt x="25" y="20"/>
                    </a:cubicBezTo>
                    <a:cubicBezTo>
                      <a:pt x="25" y="21"/>
                      <a:pt x="24" y="21"/>
                      <a:pt x="24" y="22"/>
                    </a:cubicBezTo>
                    <a:cubicBezTo>
                      <a:pt x="23" y="22"/>
                      <a:pt x="22" y="22"/>
                      <a:pt x="21" y="23"/>
                    </a:cubicBezTo>
                    <a:cubicBezTo>
                      <a:pt x="21" y="25"/>
                      <a:pt x="24" y="26"/>
                      <a:pt x="25" y="27"/>
                    </a:cubicBezTo>
                    <a:cubicBezTo>
                      <a:pt x="27" y="28"/>
                      <a:pt x="27" y="28"/>
                      <a:pt x="27" y="30"/>
                    </a:cubicBezTo>
                    <a:cubicBezTo>
                      <a:pt x="27" y="31"/>
                      <a:pt x="27" y="32"/>
                      <a:pt x="27" y="33"/>
                    </a:cubicBezTo>
                    <a:cubicBezTo>
                      <a:pt x="26" y="35"/>
                      <a:pt x="25" y="35"/>
                      <a:pt x="23" y="35"/>
                    </a:cubicBezTo>
                    <a:cubicBezTo>
                      <a:pt x="22" y="35"/>
                      <a:pt x="22" y="35"/>
                      <a:pt x="21" y="35"/>
                    </a:cubicBezTo>
                    <a:cubicBezTo>
                      <a:pt x="21" y="35"/>
                      <a:pt x="20" y="35"/>
                      <a:pt x="20" y="35"/>
                    </a:cubicBezTo>
                    <a:cubicBezTo>
                      <a:pt x="20" y="35"/>
                      <a:pt x="20" y="35"/>
                      <a:pt x="20" y="35"/>
                    </a:cubicBezTo>
                    <a:cubicBezTo>
                      <a:pt x="17" y="35"/>
                      <a:pt x="16" y="36"/>
                      <a:pt x="13" y="36"/>
                    </a:cubicBezTo>
                    <a:cubicBezTo>
                      <a:pt x="12" y="37"/>
                      <a:pt x="11" y="37"/>
                      <a:pt x="10" y="37"/>
                    </a:cubicBezTo>
                    <a:cubicBezTo>
                      <a:pt x="9" y="37"/>
                      <a:pt x="13" y="40"/>
                      <a:pt x="13" y="40"/>
                    </a:cubicBezTo>
                    <a:cubicBezTo>
                      <a:pt x="10" y="40"/>
                      <a:pt x="7" y="40"/>
                      <a:pt x="5" y="41"/>
                    </a:cubicBezTo>
                    <a:cubicBezTo>
                      <a:pt x="5" y="41"/>
                      <a:pt x="3" y="42"/>
                      <a:pt x="2" y="42"/>
                    </a:cubicBezTo>
                    <a:cubicBezTo>
                      <a:pt x="1" y="43"/>
                      <a:pt x="0" y="44"/>
                      <a:pt x="1" y="44"/>
                    </a:cubicBezTo>
                    <a:cubicBezTo>
                      <a:pt x="1" y="44"/>
                      <a:pt x="1" y="44"/>
                      <a:pt x="1" y="44"/>
                    </a:cubicBezTo>
                    <a:cubicBezTo>
                      <a:pt x="8" y="44"/>
                      <a:pt x="16" y="44"/>
                      <a:pt x="24" y="44"/>
                    </a:cubicBezTo>
                    <a:cubicBezTo>
                      <a:pt x="25" y="44"/>
                      <a:pt x="28" y="44"/>
                      <a:pt x="31" y="44"/>
                    </a:cubicBezTo>
                    <a:cubicBezTo>
                      <a:pt x="33" y="44"/>
                      <a:pt x="36" y="44"/>
                      <a:pt x="36" y="45"/>
                    </a:cubicBezTo>
                    <a:cubicBezTo>
                      <a:pt x="36" y="46"/>
                      <a:pt x="36" y="46"/>
                      <a:pt x="35" y="46"/>
                    </a:cubicBezTo>
                    <a:cubicBezTo>
                      <a:pt x="34" y="46"/>
                      <a:pt x="31" y="45"/>
                      <a:pt x="27" y="45"/>
                    </a:cubicBezTo>
                    <a:cubicBezTo>
                      <a:pt x="24" y="45"/>
                      <a:pt x="20" y="45"/>
                      <a:pt x="18" y="45"/>
                    </a:cubicBezTo>
                    <a:cubicBezTo>
                      <a:pt x="16" y="45"/>
                      <a:pt x="16" y="45"/>
                      <a:pt x="16" y="45"/>
                    </a:cubicBezTo>
                    <a:cubicBezTo>
                      <a:pt x="15" y="47"/>
                      <a:pt x="22" y="49"/>
                      <a:pt x="23" y="49"/>
                    </a:cubicBezTo>
                    <a:cubicBezTo>
                      <a:pt x="25" y="49"/>
                      <a:pt x="27" y="49"/>
                      <a:pt x="28" y="50"/>
                    </a:cubicBezTo>
                    <a:cubicBezTo>
                      <a:pt x="28" y="50"/>
                      <a:pt x="27" y="50"/>
                      <a:pt x="27" y="50"/>
                    </a:cubicBezTo>
                    <a:cubicBezTo>
                      <a:pt x="24" y="50"/>
                      <a:pt x="21" y="49"/>
                      <a:pt x="17" y="49"/>
                    </a:cubicBezTo>
                    <a:cubicBezTo>
                      <a:pt x="20" y="51"/>
                      <a:pt x="26" y="52"/>
                      <a:pt x="29" y="53"/>
                    </a:cubicBezTo>
                    <a:cubicBezTo>
                      <a:pt x="32" y="53"/>
                      <a:pt x="34" y="56"/>
                      <a:pt x="36" y="56"/>
                    </a:cubicBezTo>
                    <a:cubicBezTo>
                      <a:pt x="39" y="57"/>
                      <a:pt x="42" y="58"/>
                      <a:pt x="44" y="58"/>
                    </a:cubicBezTo>
                    <a:cubicBezTo>
                      <a:pt x="45" y="58"/>
                      <a:pt x="45" y="58"/>
                      <a:pt x="45" y="58"/>
                    </a:cubicBezTo>
                    <a:cubicBezTo>
                      <a:pt x="52" y="57"/>
                      <a:pt x="60" y="54"/>
                      <a:pt x="68" y="52"/>
                    </a:cubicBezTo>
                    <a:cubicBezTo>
                      <a:pt x="75" y="51"/>
                      <a:pt x="81" y="48"/>
                      <a:pt x="89" y="48"/>
                    </a:cubicBezTo>
                    <a:cubicBezTo>
                      <a:pt x="95" y="48"/>
                      <a:pt x="101" y="48"/>
                      <a:pt x="107" y="47"/>
                    </a:cubicBezTo>
                    <a:cubicBezTo>
                      <a:pt x="111" y="47"/>
                      <a:pt x="111" y="45"/>
                      <a:pt x="110" y="40"/>
                    </a:cubicBezTo>
                    <a:cubicBezTo>
                      <a:pt x="110" y="39"/>
                      <a:pt x="110" y="36"/>
                      <a:pt x="109" y="35"/>
                    </a:cubicBezTo>
                    <a:cubicBezTo>
                      <a:pt x="107" y="34"/>
                      <a:pt x="107" y="31"/>
                      <a:pt x="109" y="29"/>
                    </a:cubicBezTo>
                    <a:cubicBezTo>
                      <a:pt x="114" y="27"/>
                      <a:pt x="120" y="27"/>
                      <a:pt x="125" y="27"/>
                    </a:cubicBezTo>
                    <a:cubicBezTo>
                      <a:pt x="117" y="22"/>
                      <a:pt x="109" y="17"/>
                      <a:pt x="101" y="12"/>
                    </a:cubicBezTo>
                    <a:cubicBezTo>
                      <a:pt x="96" y="9"/>
                      <a:pt x="91" y="6"/>
                      <a:pt x="87" y="3"/>
                    </a:cubicBezTo>
                    <a:cubicBezTo>
                      <a:pt x="84" y="1"/>
                      <a:pt x="82" y="1"/>
                      <a:pt x="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265"/>
              <p:cNvSpPr/>
              <p:nvPr/>
            </p:nvSpPr>
            <p:spPr bwMode="auto">
              <a:xfrm>
                <a:off x="6694" y="-1434"/>
                <a:ext cx="324" cy="142"/>
              </a:xfrm>
              <a:custGeom>
                <a:gdLst>
                  <a:gd name="T0" fmla="*/ 81 w 137"/>
                  <a:gd name="T1" fmla="*/ 0 h 60"/>
                  <a:gd name="T2" fmla="*/ 74 w 137"/>
                  <a:gd name="T3" fmla="*/ 2 h 60"/>
                  <a:gd name="T4" fmla="*/ 72 w 137"/>
                  <a:gd name="T5" fmla="*/ 2 h 60"/>
                  <a:gd name="T6" fmla="*/ 67 w 137"/>
                  <a:gd name="T7" fmla="*/ 3 h 60"/>
                  <a:gd name="T8" fmla="*/ 66 w 137"/>
                  <a:gd name="T9" fmla="*/ 3 h 60"/>
                  <a:gd name="T10" fmla="*/ 65 w 137"/>
                  <a:gd name="T11" fmla="*/ 3 h 60"/>
                  <a:gd name="T12" fmla="*/ 62 w 137"/>
                  <a:gd name="T13" fmla="*/ 4 h 60"/>
                  <a:gd name="T14" fmla="*/ 60 w 137"/>
                  <a:gd name="T15" fmla="*/ 3 h 60"/>
                  <a:gd name="T16" fmla="*/ 54 w 137"/>
                  <a:gd name="T17" fmla="*/ 3 h 60"/>
                  <a:gd name="T18" fmla="*/ 48 w 137"/>
                  <a:gd name="T19" fmla="*/ 4 h 60"/>
                  <a:gd name="T20" fmla="*/ 44 w 137"/>
                  <a:gd name="T21" fmla="*/ 6 h 60"/>
                  <a:gd name="T22" fmla="*/ 39 w 137"/>
                  <a:gd name="T23" fmla="*/ 3 h 60"/>
                  <a:gd name="T24" fmla="*/ 35 w 137"/>
                  <a:gd name="T25" fmla="*/ 7 h 60"/>
                  <a:gd name="T26" fmla="*/ 26 w 137"/>
                  <a:gd name="T27" fmla="*/ 12 h 60"/>
                  <a:gd name="T28" fmla="*/ 22 w 137"/>
                  <a:gd name="T29" fmla="*/ 19 h 60"/>
                  <a:gd name="T30" fmla="*/ 9 w 137"/>
                  <a:gd name="T31" fmla="*/ 26 h 60"/>
                  <a:gd name="T32" fmla="*/ 4 w 137"/>
                  <a:gd name="T33" fmla="*/ 27 h 60"/>
                  <a:gd name="T34" fmla="*/ 0 w 137"/>
                  <a:gd name="T35" fmla="*/ 26 h 60"/>
                  <a:gd name="T36" fmla="*/ 6 w 137"/>
                  <a:gd name="T37" fmla="*/ 31 h 60"/>
                  <a:gd name="T38" fmla="*/ 16 w 137"/>
                  <a:gd name="T39" fmla="*/ 25 h 60"/>
                  <a:gd name="T40" fmla="*/ 21 w 137"/>
                  <a:gd name="T41" fmla="*/ 29 h 60"/>
                  <a:gd name="T42" fmla="*/ 21 w 137"/>
                  <a:gd name="T43" fmla="*/ 32 h 60"/>
                  <a:gd name="T44" fmla="*/ 24 w 137"/>
                  <a:gd name="T45" fmla="*/ 32 h 60"/>
                  <a:gd name="T46" fmla="*/ 28 w 137"/>
                  <a:gd name="T47" fmla="*/ 33 h 60"/>
                  <a:gd name="T48" fmla="*/ 28 w 137"/>
                  <a:gd name="T49" fmla="*/ 39 h 60"/>
                  <a:gd name="T50" fmla="*/ 34 w 137"/>
                  <a:gd name="T51" fmla="*/ 42 h 60"/>
                  <a:gd name="T52" fmla="*/ 37 w 137"/>
                  <a:gd name="T53" fmla="*/ 47 h 60"/>
                  <a:gd name="T54" fmla="*/ 43 w 137"/>
                  <a:gd name="T55" fmla="*/ 49 h 60"/>
                  <a:gd name="T56" fmla="*/ 52 w 137"/>
                  <a:gd name="T57" fmla="*/ 47 h 60"/>
                  <a:gd name="T58" fmla="*/ 57 w 137"/>
                  <a:gd name="T59" fmla="*/ 51 h 60"/>
                  <a:gd name="T60" fmla="*/ 66 w 137"/>
                  <a:gd name="T61" fmla="*/ 50 h 60"/>
                  <a:gd name="T62" fmla="*/ 65 w 137"/>
                  <a:gd name="T63" fmla="*/ 51 h 60"/>
                  <a:gd name="T64" fmla="*/ 69 w 137"/>
                  <a:gd name="T65" fmla="*/ 51 h 60"/>
                  <a:gd name="T66" fmla="*/ 74 w 137"/>
                  <a:gd name="T67" fmla="*/ 51 h 60"/>
                  <a:gd name="T68" fmla="*/ 79 w 137"/>
                  <a:gd name="T69" fmla="*/ 54 h 60"/>
                  <a:gd name="T70" fmla="*/ 90 w 137"/>
                  <a:gd name="T71" fmla="*/ 57 h 60"/>
                  <a:gd name="T72" fmla="*/ 97 w 137"/>
                  <a:gd name="T73" fmla="*/ 58 h 60"/>
                  <a:gd name="T74" fmla="*/ 105 w 137"/>
                  <a:gd name="T75" fmla="*/ 60 h 60"/>
                  <a:gd name="T76" fmla="*/ 130 w 137"/>
                  <a:gd name="T77" fmla="*/ 55 h 60"/>
                  <a:gd name="T78" fmla="*/ 130 w 137"/>
                  <a:gd name="T79" fmla="*/ 46 h 60"/>
                  <a:gd name="T80" fmla="*/ 121 w 137"/>
                  <a:gd name="T81" fmla="*/ 38 h 60"/>
                  <a:gd name="T82" fmla="*/ 123 w 137"/>
                  <a:gd name="T83" fmla="*/ 39 h 60"/>
                  <a:gd name="T84" fmla="*/ 128 w 137"/>
                  <a:gd name="T85" fmla="*/ 38 h 60"/>
                  <a:gd name="T86" fmla="*/ 130 w 137"/>
                  <a:gd name="T87" fmla="*/ 30 h 60"/>
                  <a:gd name="T88" fmla="*/ 132 w 137"/>
                  <a:gd name="T89" fmla="*/ 24 h 60"/>
                  <a:gd name="T90" fmla="*/ 134 w 137"/>
                  <a:gd name="T91" fmla="*/ 19 h 60"/>
                  <a:gd name="T92" fmla="*/ 136 w 137"/>
                  <a:gd name="T93" fmla="*/ 15 h 60"/>
                  <a:gd name="T94" fmla="*/ 127 w 137"/>
                  <a:gd name="T95" fmla="*/ 9 h 60"/>
                  <a:gd name="T96" fmla="*/ 124 w 137"/>
                  <a:gd name="T97" fmla="*/ 8 h 60"/>
                  <a:gd name="T98" fmla="*/ 120 w 137"/>
                  <a:gd name="T99" fmla="*/ 6 h 60"/>
                  <a:gd name="T100" fmla="*/ 97 w 137"/>
                  <a:gd name="T101" fmla="*/ 12 h 60"/>
                  <a:gd name="T102" fmla="*/ 91 w 137"/>
                  <a:gd name="T103" fmla="*/ 18 h 60"/>
                  <a:gd name="T104" fmla="*/ 94 w 137"/>
                  <a:gd name="T105" fmla="*/ 9 h 60"/>
                  <a:gd name="T106" fmla="*/ 88 w 137"/>
                  <a:gd name="T107" fmla="*/ 0 h 60"/>
                  <a:gd name="T108" fmla="*/ 88 w 137"/>
                  <a:gd name="T109" fmla="*/ 0 h 60"/>
                  <a:gd name="T110" fmla="*/ 84 w 137"/>
                  <a:gd name="T111" fmla="*/ 0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 h="60">
                    <a:moveTo>
                      <a:pt x="84" y="0"/>
                    </a:moveTo>
                    <a:cubicBezTo>
                      <a:pt x="83" y="0"/>
                      <a:pt x="82" y="0"/>
                      <a:pt x="81" y="0"/>
                    </a:cubicBezTo>
                    <a:cubicBezTo>
                      <a:pt x="79" y="1"/>
                      <a:pt x="77" y="2"/>
                      <a:pt x="75" y="2"/>
                    </a:cubicBezTo>
                    <a:cubicBezTo>
                      <a:pt x="75" y="2"/>
                      <a:pt x="74" y="2"/>
                      <a:pt x="74" y="2"/>
                    </a:cubicBezTo>
                    <a:cubicBezTo>
                      <a:pt x="74" y="2"/>
                      <a:pt x="73" y="2"/>
                      <a:pt x="73" y="2"/>
                    </a:cubicBezTo>
                    <a:cubicBezTo>
                      <a:pt x="73" y="2"/>
                      <a:pt x="72" y="2"/>
                      <a:pt x="72" y="2"/>
                    </a:cubicBezTo>
                    <a:cubicBezTo>
                      <a:pt x="71" y="2"/>
                      <a:pt x="71" y="2"/>
                      <a:pt x="70" y="2"/>
                    </a:cubicBezTo>
                    <a:cubicBezTo>
                      <a:pt x="69" y="2"/>
                      <a:pt x="68" y="3"/>
                      <a:pt x="67" y="3"/>
                    </a:cubicBezTo>
                    <a:cubicBezTo>
                      <a:pt x="67" y="3"/>
                      <a:pt x="67" y="3"/>
                      <a:pt x="67" y="3"/>
                    </a:cubicBezTo>
                    <a:cubicBezTo>
                      <a:pt x="67" y="3"/>
                      <a:pt x="66" y="3"/>
                      <a:pt x="66" y="3"/>
                    </a:cubicBezTo>
                    <a:cubicBezTo>
                      <a:pt x="66" y="3"/>
                      <a:pt x="65" y="3"/>
                      <a:pt x="65" y="3"/>
                    </a:cubicBezTo>
                    <a:cubicBezTo>
                      <a:pt x="65" y="3"/>
                      <a:pt x="65" y="3"/>
                      <a:pt x="65" y="3"/>
                    </a:cubicBezTo>
                    <a:cubicBezTo>
                      <a:pt x="64" y="3"/>
                      <a:pt x="63" y="4"/>
                      <a:pt x="62" y="4"/>
                    </a:cubicBezTo>
                    <a:cubicBezTo>
                      <a:pt x="62" y="4"/>
                      <a:pt x="62" y="4"/>
                      <a:pt x="62" y="4"/>
                    </a:cubicBezTo>
                    <a:cubicBezTo>
                      <a:pt x="61" y="3"/>
                      <a:pt x="61" y="3"/>
                      <a:pt x="60" y="3"/>
                    </a:cubicBezTo>
                    <a:cubicBezTo>
                      <a:pt x="60" y="3"/>
                      <a:pt x="60" y="3"/>
                      <a:pt x="60" y="3"/>
                    </a:cubicBezTo>
                    <a:cubicBezTo>
                      <a:pt x="59" y="3"/>
                      <a:pt x="58" y="3"/>
                      <a:pt x="56" y="3"/>
                    </a:cubicBezTo>
                    <a:cubicBezTo>
                      <a:pt x="55" y="3"/>
                      <a:pt x="55" y="3"/>
                      <a:pt x="54" y="3"/>
                    </a:cubicBezTo>
                    <a:cubicBezTo>
                      <a:pt x="53" y="3"/>
                      <a:pt x="52" y="3"/>
                      <a:pt x="51" y="3"/>
                    </a:cubicBezTo>
                    <a:cubicBezTo>
                      <a:pt x="50" y="3"/>
                      <a:pt x="49" y="3"/>
                      <a:pt x="48" y="4"/>
                    </a:cubicBezTo>
                    <a:cubicBezTo>
                      <a:pt x="47" y="5"/>
                      <a:pt x="47" y="6"/>
                      <a:pt x="46" y="6"/>
                    </a:cubicBezTo>
                    <a:cubicBezTo>
                      <a:pt x="46" y="6"/>
                      <a:pt x="45" y="6"/>
                      <a:pt x="44" y="6"/>
                    </a:cubicBezTo>
                    <a:cubicBezTo>
                      <a:pt x="43" y="5"/>
                      <a:pt x="42" y="3"/>
                      <a:pt x="40" y="3"/>
                    </a:cubicBezTo>
                    <a:cubicBezTo>
                      <a:pt x="40" y="3"/>
                      <a:pt x="39" y="3"/>
                      <a:pt x="39" y="3"/>
                    </a:cubicBezTo>
                    <a:cubicBezTo>
                      <a:pt x="39" y="4"/>
                      <a:pt x="37" y="6"/>
                      <a:pt x="37" y="6"/>
                    </a:cubicBezTo>
                    <a:cubicBezTo>
                      <a:pt x="36" y="7"/>
                      <a:pt x="36" y="7"/>
                      <a:pt x="35" y="7"/>
                    </a:cubicBezTo>
                    <a:cubicBezTo>
                      <a:pt x="33" y="9"/>
                      <a:pt x="30" y="8"/>
                      <a:pt x="29" y="9"/>
                    </a:cubicBezTo>
                    <a:cubicBezTo>
                      <a:pt x="28" y="9"/>
                      <a:pt x="26" y="11"/>
                      <a:pt x="26" y="12"/>
                    </a:cubicBezTo>
                    <a:cubicBezTo>
                      <a:pt x="27" y="14"/>
                      <a:pt x="30" y="14"/>
                      <a:pt x="31" y="16"/>
                    </a:cubicBezTo>
                    <a:cubicBezTo>
                      <a:pt x="27" y="17"/>
                      <a:pt x="25" y="17"/>
                      <a:pt x="22" y="19"/>
                    </a:cubicBezTo>
                    <a:cubicBezTo>
                      <a:pt x="19" y="20"/>
                      <a:pt x="18" y="21"/>
                      <a:pt x="16" y="23"/>
                    </a:cubicBezTo>
                    <a:cubicBezTo>
                      <a:pt x="14" y="25"/>
                      <a:pt x="11" y="25"/>
                      <a:pt x="9" y="26"/>
                    </a:cubicBezTo>
                    <a:cubicBezTo>
                      <a:pt x="8" y="27"/>
                      <a:pt x="7" y="27"/>
                      <a:pt x="6" y="27"/>
                    </a:cubicBezTo>
                    <a:cubicBezTo>
                      <a:pt x="6" y="27"/>
                      <a:pt x="5" y="27"/>
                      <a:pt x="4" y="27"/>
                    </a:cubicBezTo>
                    <a:cubicBezTo>
                      <a:pt x="3" y="26"/>
                      <a:pt x="2" y="26"/>
                      <a:pt x="1" y="26"/>
                    </a:cubicBezTo>
                    <a:cubicBezTo>
                      <a:pt x="1" y="26"/>
                      <a:pt x="1" y="26"/>
                      <a:pt x="0" y="26"/>
                    </a:cubicBezTo>
                    <a:cubicBezTo>
                      <a:pt x="1" y="27"/>
                      <a:pt x="4" y="31"/>
                      <a:pt x="5" y="31"/>
                    </a:cubicBezTo>
                    <a:cubicBezTo>
                      <a:pt x="5" y="31"/>
                      <a:pt x="6" y="31"/>
                      <a:pt x="6" y="31"/>
                    </a:cubicBezTo>
                    <a:cubicBezTo>
                      <a:pt x="8" y="31"/>
                      <a:pt x="10" y="30"/>
                      <a:pt x="11" y="29"/>
                    </a:cubicBezTo>
                    <a:cubicBezTo>
                      <a:pt x="12" y="28"/>
                      <a:pt x="15" y="25"/>
                      <a:pt x="16" y="25"/>
                    </a:cubicBezTo>
                    <a:cubicBezTo>
                      <a:pt x="17" y="25"/>
                      <a:pt x="17" y="26"/>
                      <a:pt x="18" y="26"/>
                    </a:cubicBezTo>
                    <a:cubicBezTo>
                      <a:pt x="19" y="27"/>
                      <a:pt x="19" y="29"/>
                      <a:pt x="21" y="29"/>
                    </a:cubicBezTo>
                    <a:cubicBezTo>
                      <a:pt x="20" y="30"/>
                      <a:pt x="18" y="30"/>
                      <a:pt x="16" y="31"/>
                    </a:cubicBezTo>
                    <a:cubicBezTo>
                      <a:pt x="18" y="31"/>
                      <a:pt x="20" y="32"/>
                      <a:pt x="21" y="32"/>
                    </a:cubicBezTo>
                    <a:cubicBezTo>
                      <a:pt x="21" y="32"/>
                      <a:pt x="21" y="32"/>
                      <a:pt x="21" y="32"/>
                    </a:cubicBezTo>
                    <a:cubicBezTo>
                      <a:pt x="22" y="32"/>
                      <a:pt x="23" y="32"/>
                      <a:pt x="24" y="32"/>
                    </a:cubicBezTo>
                    <a:cubicBezTo>
                      <a:pt x="25" y="32"/>
                      <a:pt x="26" y="32"/>
                      <a:pt x="26" y="32"/>
                    </a:cubicBezTo>
                    <a:cubicBezTo>
                      <a:pt x="28" y="32"/>
                      <a:pt x="28" y="32"/>
                      <a:pt x="28" y="33"/>
                    </a:cubicBezTo>
                    <a:cubicBezTo>
                      <a:pt x="27" y="34"/>
                      <a:pt x="28" y="35"/>
                      <a:pt x="28" y="36"/>
                    </a:cubicBezTo>
                    <a:cubicBezTo>
                      <a:pt x="28" y="36"/>
                      <a:pt x="28" y="38"/>
                      <a:pt x="28" y="39"/>
                    </a:cubicBezTo>
                    <a:cubicBezTo>
                      <a:pt x="28" y="41"/>
                      <a:pt x="30" y="41"/>
                      <a:pt x="31" y="41"/>
                    </a:cubicBezTo>
                    <a:cubicBezTo>
                      <a:pt x="32" y="42"/>
                      <a:pt x="33" y="42"/>
                      <a:pt x="34" y="42"/>
                    </a:cubicBezTo>
                    <a:cubicBezTo>
                      <a:pt x="34" y="43"/>
                      <a:pt x="33" y="44"/>
                      <a:pt x="34" y="45"/>
                    </a:cubicBezTo>
                    <a:cubicBezTo>
                      <a:pt x="34" y="46"/>
                      <a:pt x="36" y="46"/>
                      <a:pt x="37" y="47"/>
                    </a:cubicBezTo>
                    <a:cubicBezTo>
                      <a:pt x="38" y="48"/>
                      <a:pt x="40" y="48"/>
                      <a:pt x="42" y="49"/>
                    </a:cubicBezTo>
                    <a:cubicBezTo>
                      <a:pt x="42" y="49"/>
                      <a:pt x="43" y="49"/>
                      <a:pt x="43" y="49"/>
                    </a:cubicBezTo>
                    <a:cubicBezTo>
                      <a:pt x="45" y="49"/>
                      <a:pt x="46" y="48"/>
                      <a:pt x="48" y="48"/>
                    </a:cubicBezTo>
                    <a:cubicBezTo>
                      <a:pt x="49" y="48"/>
                      <a:pt x="51" y="47"/>
                      <a:pt x="52" y="47"/>
                    </a:cubicBezTo>
                    <a:cubicBezTo>
                      <a:pt x="53" y="47"/>
                      <a:pt x="53" y="47"/>
                      <a:pt x="53" y="47"/>
                    </a:cubicBezTo>
                    <a:cubicBezTo>
                      <a:pt x="53" y="50"/>
                      <a:pt x="54" y="51"/>
                      <a:pt x="57" y="51"/>
                    </a:cubicBezTo>
                    <a:cubicBezTo>
                      <a:pt x="58" y="51"/>
                      <a:pt x="60" y="50"/>
                      <a:pt x="62" y="50"/>
                    </a:cubicBezTo>
                    <a:cubicBezTo>
                      <a:pt x="64" y="50"/>
                      <a:pt x="65" y="50"/>
                      <a:pt x="66" y="50"/>
                    </a:cubicBezTo>
                    <a:cubicBezTo>
                      <a:pt x="66" y="50"/>
                      <a:pt x="66" y="50"/>
                      <a:pt x="66" y="50"/>
                    </a:cubicBezTo>
                    <a:cubicBezTo>
                      <a:pt x="66" y="50"/>
                      <a:pt x="66" y="50"/>
                      <a:pt x="65" y="51"/>
                    </a:cubicBezTo>
                    <a:cubicBezTo>
                      <a:pt x="66" y="51"/>
                      <a:pt x="66" y="51"/>
                      <a:pt x="67" y="51"/>
                    </a:cubicBezTo>
                    <a:cubicBezTo>
                      <a:pt x="68" y="51"/>
                      <a:pt x="69" y="51"/>
                      <a:pt x="69" y="51"/>
                    </a:cubicBezTo>
                    <a:cubicBezTo>
                      <a:pt x="70" y="50"/>
                      <a:pt x="71" y="50"/>
                      <a:pt x="72" y="50"/>
                    </a:cubicBezTo>
                    <a:cubicBezTo>
                      <a:pt x="73" y="50"/>
                      <a:pt x="74" y="51"/>
                      <a:pt x="74" y="51"/>
                    </a:cubicBezTo>
                    <a:cubicBezTo>
                      <a:pt x="76" y="51"/>
                      <a:pt x="75" y="52"/>
                      <a:pt x="76" y="53"/>
                    </a:cubicBezTo>
                    <a:cubicBezTo>
                      <a:pt x="77" y="53"/>
                      <a:pt x="78" y="53"/>
                      <a:pt x="79" y="54"/>
                    </a:cubicBezTo>
                    <a:cubicBezTo>
                      <a:pt x="80" y="54"/>
                      <a:pt x="82" y="56"/>
                      <a:pt x="83" y="56"/>
                    </a:cubicBezTo>
                    <a:cubicBezTo>
                      <a:pt x="85" y="57"/>
                      <a:pt x="88" y="56"/>
                      <a:pt x="90" y="57"/>
                    </a:cubicBezTo>
                    <a:cubicBezTo>
                      <a:pt x="89" y="57"/>
                      <a:pt x="88" y="57"/>
                      <a:pt x="87" y="58"/>
                    </a:cubicBezTo>
                    <a:cubicBezTo>
                      <a:pt x="90" y="59"/>
                      <a:pt x="94" y="58"/>
                      <a:pt x="97" y="58"/>
                    </a:cubicBezTo>
                    <a:cubicBezTo>
                      <a:pt x="100" y="58"/>
                      <a:pt x="102" y="60"/>
                      <a:pt x="105" y="60"/>
                    </a:cubicBezTo>
                    <a:cubicBezTo>
                      <a:pt x="105" y="60"/>
                      <a:pt x="105" y="60"/>
                      <a:pt x="105" y="60"/>
                    </a:cubicBezTo>
                    <a:cubicBezTo>
                      <a:pt x="110" y="59"/>
                      <a:pt x="116" y="58"/>
                      <a:pt x="122" y="58"/>
                    </a:cubicBezTo>
                    <a:cubicBezTo>
                      <a:pt x="125" y="58"/>
                      <a:pt x="127" y="57"/>
                      <a:pt x="130" y="55"/>
                    </a:cubicBezTo>
                    <a:cubicBezTo>
                      <a:pt x="131" y="54"/>
                      <a:pt x="133" y="54"/>
                      <a:pt x="134" y="53"/>
                    </a:cubicBezTo>
                    <a:cubicBezTo>
                      <a:pt x="136" y="51"/>
                      <a:pt x="132" y="47"/>
                      <a:pt x="130" y="46"/>
                    </a:cubicBezTo>
                    <a:cubicBezTo>
                      <a:pt x="127" y="45"/>
                      <a:pt x="122" y="42"/>
                      <a:pt x="119" y="39"/>
                    </a:cubicBezTo>
                    <a:cubicBezTo>
                      <a:pt x="119" y="38"/>
                      <a:pt x="118" y="38"/>
                      <a:pt x="121" y="38"/>
                    </a:cubicBezTo>
                    <a:cubicBezTo>
                      <a:pt x="121" y="38"/>
                      <a:pt x="121" y="38"/>
                      <a:pt x="121" y="38"/>
                    </a:cubicBezTo>
                    <a:cubicBezTo>
                      <a:pt x="122" y="38"/>
                      <a:pt x="122" y="38"/>
                      <a:pt x="123" y="39"/>
                    </a:cubicBezTo>
                    <a:cubicBezTo>
                      <a:pt x="124" y="39"/>
                      <a:pt x="125" y="39"/>
                      <a:pt x="125" y="39"/>
                    </a:cubicBezTo>
                    <a:cubicBezTo>
                      <a:pt x="126" y="39"/>
                      <a:pt x="127" y="39"/>
                      <a:pt x="128" y="38"/>
                    </a:cubicBezTo>
                    <a:cubicBezTo>
                      <a:pt x="130" y="37"/>
                      <a:pt x="131" y="35"/>
                      <a:pt x="131" y="33"/>
                    </a:cubicBezTo>
                    <a:cubicBezTo>
                      <a:pt x="130" y="32"/>
                      <a:pt x="130" y="31"/>
                      <a:pt x="130" y="30"/>
                    </a:cubicBezTo>
                    <a:cubicBezTo>
                      <a:pt x="130" y="29"/>
                      <a:pt x="132" y="29"/>
                      <a:pt x="132" y="28"/>
                    </a:cubicBezTo>
                    <a:cubicBezTo>
                      <a:pt x="132" y="27"/>
                      <a:pt x="131" y="26"/>
                      <a:pt x="132" y="24"/>
                    </a:cubicBezTo>
                    <a:cubicBezTo>
                      <a:pt x="132" y="23"/>
                      <a:pt x="132" y="23"/>
                      <a:pt x="133" y="22"/>
                    </a:cubicBezTo>
                    <a:cubicBezTo>
                      <a:pt x="134" y="21"/>
                      <a:pt x="133" y="20"/>
                      <a:pt x="134" y="19"/>
                    </a:cubicBezTo>
                    <a:cubicBezTo>
                      <a:pt x="134" y="18"/>
                      <a:pt x="135" y="19"/>
                      <a:pt x="136" y="18"/>
                    </a:cubicBezTo>
                    <a:cubicBezTo>
                      <a:pt x="137" y="17"/>
                      <a:pt x="137" y="17"/>
                      <a:pt x="136" y="15"/>
                    </a:cubicBezTo>
                    <a:cubicBezTo>
                      <a:pt x="134" y="13"/>
                      <a:pt x="131" y="13"/>
                      <a:pt x="129" y="11"/>
                    </a:cubicBezTo>
                    <a:cubicBezTo>
                      <a:pt x="128" y="11"/>
                      <a:pt x="127" y="9"/>
                      <a:pt x="127" y="9"/>
                    </a:cubicBezTo>
                    <a:cubicBezTo>
                      <a:pt x="127" y="9"/>
                      <a:pt x="126" y="9"/>
                      <a:pt x="125" y="9"/>
                    </a:cubicBezTo>
                    <a:cubicBezTo>
                      <a:pt x="124" y="8"/>
                      <a:pt x="124" y="8"/>
                      <a:pt x="124" y="8"/>
                    </a:cubicBezTo>
                    <a:cubicBezTo>
                      <a:pt x="124" y="7"/>
                      <a:pt x="124" y="7"/>
                      <a:pt x="124" y="7"/>
                    </a:cubicBezTo>
                    <a:cubicBezTo>
                      <a:pt x="122" y="6"/>
                      <a:pt x="121" y="6"/>
                      <a:pt x="120" y="6"/>
                    </a:cubicBezTo>
                    <a:cubicBezTo>
                      <a:pt x="118" y="6"/>
                      <a:pt x="117" y="6"/>
                      <a:pt x="116" y="6"/>
                    </a:cubicBezTo>
                    <a:cubicBezTo>
                      <a:pt x="110" y="8"/>
                      <a:pt x="103" y="10"/>
                      <a:pt x="97" y="12"/>
                    </a:cubicBezTo>
                    <a:cubicBezTo>
                      <a:pt x="96" y="14"/>
                      <a:pt x="95" y="14"/>
                      <a:pt x="93" y="16"/>
                    </a:cubicBezTo>
                    <a:cubicBezTo>
                      <a:pt x="92" y="17"/>
                      <a:pt x="92" y="17"/>
                      <a:pt x="91" y="18"/>
                    </a:cubicBezTo>
                    <a:cubicBezTo>
                      <a:pt x="89" y="19"/>
                      <a:pt x="86" y="20"/>
                      <a:pt x="83" y="20"/>
                    </a:cubicBezTo>
                    <a:cubicBezTo>
                      <a:pt x="86" y="16"/>
                      <a:pt x="90" y="13"/>
                      <a:pt x="94" y="9"/>
                    </a:cubicBezTo>
                    <a:cubicBezTo>
                      <a:pt x="94" y="9"/>
                      <a:pt x="101" y="5"/>
                      <a:pt x="99" y="5"/>
                    </a:cubicBezTo>
                    <a:cubicBezTo>
                      <a:pt x="95" y="3"/>
                      <a:pt x="93" y="0"/>
                      <a:pt x="88" y="0"/>
                    </a:cubicBezTo>
                    <a:cubicBezTo>
                      <a:pt x="88" y="0"/>
                      <a:pt x="88" y="0"/>
                      <a:pt x="88" y="0"/>
                    </a:cubicBezTo>
                    <a:cubicBezTo>
                      <a:pt x="88" y="0"/>
                      <a:pt x="88" y="0"/>
                      <a:pt x="88" y="0"/>
                    </a:cubicBezTo>
                    <a:cubicBezTo>
                      <a:pt x="87" y="0"/>
                      <a:pt x="87" y="0"/>
                      <a:pt x="86" y="0"/>
                    </a:cubicBezTo>
                    <a:cubicBezTo>
                      <a:pt x="85" y="0"/>
                      <a:pt x="85" y="0"/>
                      <a:pt x="8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266"/>
              <p:cNvSpPr/>
              <p:nvPr/>
            </p:nvSpPr>
            <p:spPr bwMode="auto">
              <a:xfrm>
                <a:off x="5069" y="-1580"/>
                <a:ext cx="80" cy="21"/>
              </a:xfrm>
              <a:custGeom>
                <a:gdLst>
                  <a:gd name="T0" fmla="*/ 18 w 34"/>
                  <a:gd name="T1" fmla="*/ 0 h 9"/>
                  <a:gd name="T2" fmla="*/ 16 w 34"/>
                  <a:gd name="T3" fmla="*/ 0 h 9"/>
                  <a:gd name="T4" fmla="*/ 7 w 34"/>
                  <a:gd name="T5" fmla="*/ 2 h 9"/>
                  <a:gd name="T6" fmla="*/ 7 w 34"/>
                  <a:gd name="T7" fmla="*/ 2 h 9"/>
                  <a:gd name="T8" fmla="*/ 7 w 34"/>
                  <a:gd name="T9" fmla="*/ 2 h 9"/>
                  <a:gd name="T10" fmla="*/ 0 w 34"/>
                  <a:gd name="T11" fmla="*/ 5 h 9"/>
                  <a:gd name="T12" fmla="*/ 25 w 34"/>
                  <a:gd name="T13" fmla="*/ 9 h 9"/>
                  <a:gd name="T14" fmla="*/ 34 w 34"/>
                  <a:gd name="T15" fmla="*/ 7 h 9"/>
                  <a:gd name="T16" fmla="*/ 27 w 34"/>
                  <a:gd name="T17" fmla="*/ 4 h 9"/>
                  <a:gd name="T18" fmla="*/ 25 w 34"/>
                  <a:gd name="T19" fmla="*/ 4 h 9"/>
                  <a:gd name="T20" fmla="*/ 25 w 34"/>
                  <a:gd name="T21" fmla="*/ 4 h 9"/>
                  <a:gd name="T22" fmla="*/ 24 w 34"/>
                  <a:gd name="T23" fmla="*/ 4 h 9"/>
                  <a:gd name="T24" fmla="*/ 21 w 34"/>
                  <a:gd name="T25" fmla="*/ 3 h 9"/>
                  <a:gd name="T26" fmla="*/ 20 w 34"/>
                  <a:gd name="T27" fmla="*/ 1 h 9"/>
                  <a:gd name="T28" fmla="*/ 18 w 34"/>
                  <a:gd name="T2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9">
                    <a:moveTo>
                      <a:pt x="18" y="0"/>
                    </a:moveTo>
                    <a:cubicBezTo>
                      <a:pt x="17" y="0"/>
                      <a:pt x="17" y="0"/>
                      <a:pt x="16" y="0"/>
                    </a:cubicBezTo>
                    <a:cubicBezTo>
                      <a:pt x="13" y="0"/>
                      <a:pt x="10" y="2"/>
                      <a:pt x="7" y="2"/>
                    </a:cubicBezTo>
                    <a:cubicBezTo>
                      <a:pt x="7" y="2"/>
                      <a:pt x="7" y="2"/>
                      <a:pt x="7" y="2"/>
                    </a:cubicBezTo>
                    <a:cubicBezTo>
                      <a:pt x="7" y="2"/>
                      <a:pt x="7" y="2"/>
                      <a:pt x="7" y="2"/>
                    </a:cubicBezTo>
                    <a:cubicBezTo>
                      <a:pt x="4" y="2"/>
                      <a:pt x="1" y="4"/>
                      <a:pt x="0" y="5"/>
                    </a:cubicBezTo>
                    <a:cubicBezTo>
                      <a:pt x="8" y="6"/>
                      <a:pt x="17" y="8"/>
                      <a:pt x="25" y="9"/>
                    </a:cubicBezTo>
                    <a:cubicBezTo>
                      <a:pt x="28" y="9"/>
                      <a:pt x="31" y="8"/>
                      <a:pt x="34" y="7"/>
                    </a:cubicBezTo>
                    <a:cubicBezTo>
                      <a:pt x="33" y="5"/>
                      <a:pt x="29" y="4"/>
                      <a:pt x="27" y="4"/>
                    </a:cubicBezTo>
                    <a:cubicBezTo>
                      <a:pt x="26" y="4"/>
                      <a:pt x="26" y="4"/>
                      <a:pt x="25" y="4"/>
                    </a:cubicBezTo>
                    <a:cubicBezTo>
                      <a:pt x="25" y="4"/>
                      <a:pt x="25" y="4"/>
                      <a:pt x="25" y="4"/>
                    </a:cubicBezTo>
                    <a:cubicBezTo>
                      <a:pt x="24" y="4"/>
                      <a:pt x="24" y="4"/>
                      <a:pt x="24" y="4"/>
                    </a:cubicBezTo>
                    <a:cubicBezTo>
                      <a:pt x="23" y="4"/>
                      <a:pt x="22" y="4"/>
                      <a:pt x="21" y="3"/>
                    </a:cubicBezTo>
                    <a:cubicBezTo>
                      <a:pt x="21" y="3"/>
                      <a:pt x="21" y="1"/>
                      <a:pt x="20" y="1"/>
                    </a:cubicBezTo>
                    <a:cubicBezTo>
                      <a:pt x="20" y="0"/>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267"/>
              <p:cNvSpPr/>
              <p:nvPr/>
            </p:nvSpPr>
            <p:spPr bwMode="auto">
              <a:xfrm>
                <a:off x="10556" y="-637"/>
                <a:ext cx="175" cy="62"/>
              </a:xfrm>
              <a:custGeom>
                <a:gdLst>
                  <a:gd name="T0" fmla="*/ 56 w 74"/>
                  <a:gd name="T1" fmla="*/ 0 h 26"/>
                  <a:gd name="T2" fmla="*/ 53 w 74"/>
                  <a:gd name="T3" fmla="*/ 0 h 26"/>
                  <a:gd name="T4" fmla="*/ 42 w 74"/>
                  <a:gd name="T5" fmla="*/ 0 h 26"/>
                  <a:gd name="T6" fmla="*/ 26 w 74"/>
                  <a:gd name="T7" fmla="*/ 0 h 26"/>
                  <a:gd name="T8" fmla="*/ 4 w 74"/>
                  <a:gd name="T9" fmla="*/ 12 h 26"/>
                  <a:gd name="T10" fmla="*/ 0 w 74"/>
                  <a:gd name="T11" fmla="*/ 19 h 26"/>
                  <a:gd name="T12" fmla="*/ 2 w 74"/>
                  <a:gd name="T13" fmla="*/ 23 h 26"/>
                  <a:gd name="T14" fmla="*/ 3 w 74"/>
                  <a:gd name="T15" fmla="*/ 26 h 26"/>
                  <a:gd name="T16" fmla="*/ 4 w 74"/>
                  <a:gd name="T17" fmla="*/ 26 h 26"/>
                  <a:gd name="T18" fmla="*/ 10 w 74"/>
                  <a:gd name="T19" fmla="*/ 24 h 26"/>
                  <a:gd name="T20" fmla="*/ 24 w 74"/>
                  <a:gd name="T21" fmla="*/ 20 h 26"/>
                  <a:gd name="T22" fmla="*/ 26 w 74"/>
                  <a:gd name="T23" fmla="*/ 19 h 26"/>
                  <a:gd name="T24" fmla="*/ 26 w 74"/>
                  <a:gd name="T25" fmla="*/ 19 h 26"/>
                  <a:gd name="T26" fmla="*/ 35 w 74"/>
                  <a:gd name="T27" fmla="*/ 22 h 26"/>
                  <a:gd name="T28" fmla="*/ 36 w 74"/>
                  <a:gd name="T29" fmla="*/ 23 h 26"/>
                  <a:gd name="T30" fmla="*/ 38 w 74"/>
                  <a:gd name="T31" fmla="*/ 22 h 26"/>
                  <a:gd name="T32" fmla="*/ 40 w 74"/>
                  <a:gd name="T33" fmla="*/ 22 h 26"/>
                  <a:gd name="T34" fmla="*/ 41 w 74"/>
                  <a:gd name="T35" fmla="*/ 22 h 26"/>
                  <a:gd name="T36" fmla="*/ 42 w 74"/>
                  <a:gd name="T37" fmla="*/ 22 h 26"/>
                  <a:gd name="T38" fmla="*/ 48 w 74"/>
                  <a:gd name="T39" fmla="*/ 21 h 26"/>
                  <a:gd name="T40" fmla="*/ 61 w 74"/>
                  <a:gd name="T41" fmla="*/ 18 h 26"/>
                  <a:gd name="T42" fmla="*/ 74 w 74"/>
                  <a:gd name="T43" fmla="*/ 11 h 26"/>
                  <a:gd name="T44" fmla="*/ 63 w 74"/>
                  <a:gd name="T45" fmla="*/ 4 h 26"/>
                  <a:gd name="T46" fmla="*/ 62 w 74"/>
                  <a:gd name="T47" fmla="*/ 2 h 26"/>
                  <a:gd name="T48" fmla="*/ 58 w 74"/>
                  <a:gd name="T49" fmla="*/ 0 h 26"/>
                  <a:gd name="T50" fmla="*/ 56 w 74"/>
                  <a:gd name="T51"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26">
                    <a:moveTo>
                      <a:pt x="56" y="0"/>
                    </a:moveTo>
                    <a:cubicBezTo>
                      <a:pt x="55" y="0"/>
                      <a:pt x="54" y="0"/>
                      <a:pt x="53" y="0"/>
                    </a:cubicBezTo>
                    <a:cubicBezTo>
                      <a:pt x="49" y="0"/>
                      <a:pt x="45" y="0"/>
                      <a:pt x="42" y="0"/>
                    </a:cubicBezTo>
                    <a:cubicBezTo>
                      <a:pt x="36" y="0"/>
                      <a:pt x="31" y="0"/>
                      <a:pt x="26" y="0"/>
                    </a:cubicBezTo>
                    <a:cubicBezTo>
                      <a:pt x="19" y="4"/>
                      <a:pt x="12" y="8"/>
                      <a:pt x="4" y="12"/>
                    </a:cubicBezTo>
                    <a:cubicBezTo>
                      <a:pt x="2" y="13"/>
                      <a:pt x="0" y="17"/>
                      <a:pt x="0" y="19"/>
                    </a:cubicBezTo>
                    <a:cubicBezTo>
                      <a:pt x="0" y="20"/>
                      <a:pt x="1" y="22"/>
                      <a:pt x="2" y="23"/>
                    </a:cubicBezTo>
                    <a:cubicBezTo>
                      <a:pt x="2" y="24"/>
                      <a:pt x="2" y="26"/>
                      <a:pt x="3" y="26"/>
                    </a:cubicBezTo>
                    <a:cubicBezTo>
                      <a:pt x="4" y="26"/>
                      <a:pt x="4" y="26"/>
                      <a:pt x="4" y="26"/>
                    </a:cubicBezTo>
                    <a:cubicBezTo>
                      <a:pt x="6" y="25"/>
                      <a:pt x="8" y="25"/>
                      <a:pt x="10" y="24"/>
                    </a:cubicBezTo>
                    <a:cubicBezTo>
                      <a:pt x="15" y="23"/>
                      <a:pt x="20" y="21"/>
                      <a:pt x="24" y="20"/>
                    </a:cubicBezTo>
                    <a:cubicBezTo>
                      <a:pt x="25" y="20"/>
                      <a:pt x="26" y="19"/>
                      <a:pt x="26" y="19"/>
                    </a:cubicBezTo>
                    <a:cubicBezTo>
                      <a:pt x="26" y="19"/>
                      <a:pt x="26" y="19"/>
                      <a:pt x="26" y="19"/>
                    </a:cubicBezTo>
                    <a:cubicBezTo>
                      <a:pt x="29" y="20"/>
                      <a:pt x="32" y="22"/>
                      <a:pt x="35" y="22"/>
                    </a:cubicBezTo>
                    <a:cubicBezTo>
                      <a:pt x="35" y="22"/>
                      <a:pt x="36" y="23"/>
                      <a:pt x="36" y="23"/>
                    </a:cubicBezTo>
                    <a:cubicBezTo>
                      <a:pt x="37" y="23"/>
                      <a:pt x="37" y="22"/>
                      <a:pt x="38" y="22"/>
                    </a:cubicBezTo>
                    <a:cubicBezTo>
                      <a:pt x="38" y="22"/>
                      <a:pt x="39" y="22"/>
                      <a:pt x="40" y="22"/>
                    </a:cubicBezTo>
                    <a:cubicBezTo>
                      <a:pt x="40" y="22"/>
                      <a:pt x="40" y="22"/>
                      <a:pt x="41" y="22"/>
                    </a:cubicBezTo>
                    <a:cubicBezTo>
                      <a:pt x="41" y="22"/>
                      <a:pt x="41" y="22"/>
                      <a:pt x="42" y="22"/>
                    </a:cubicBezTo>
                    <a:cubicBezTo>
                      <a:pt x="44" y="22"/>
                      <a:pt x="46" y="22"/>
                      <a:pt x="48" y="21"/>
                    </a:cubicBezTo>
                    <a:cubicBezTo>
                      <a:pt x="53" y="20"/>
                      <a:pt x="57" y="19"/>
                      <a:pt x="61" y="18"/>
                    </a:cubicBezTo>
                    <a:cubicBezTo>
                      <a:pt x="67" y="17"/>
                      <a:pt x="70" y="15"/>
                      <a:pt x="74" y="11"/>
                    </a:cubicBezTo>
                    <a:cubicBezTo>
                      <a:pt x="70" y="9"/>
                      <a:pt x="66" y="6"/>
                      <a:pt x="63" y="4"/>
                    </a:cubicBezTo>
                    <a:cubicBezTo>
                      <a:pt x="63" y="4"/>
                      <a:pt x="63" y="3"/>
                      <a:pt x="62" y="2"/>
                    </a:cubicBezTo>
                    <a:cubicBezTo>
                      <a:pt x="60" y="2"/>
                      <a:pt x="59" y="1"/>
                      <a:pt x="58" y="0"/>
                    </a:cubicBezTo>
                    <a:cubicBezTo>
                      <a:pt x="57" y="0"/>
                      <a:pt x="57" y="0"/>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268"/>
              <p:cNvSpPr/>
              <p:nvPr/>
            </p:nvSpPr>
            <p:spPr bwMode="auto">
              <a:xfrm>
                <a:off x="8611" y="-1015"/>
                <a:ext cx="33" cy="45"/>
              </a:xfrm>
              <a:custGeom>
                <a:gdLst>
                  <a:gd name="T0" fmla="*/ 5 w 14"/>
                  <a:gd name="T1" fmla="*/ 0 h 19"/>
                  <a:gd name="T2" fmla="*/ 2 w 14"/>
                  <a:gd name="T3" fmla="*/ 9 h 19"/>
                  <a:gd name="T4" fmla="*/ 2 w 14"/>
                  <a:gd name="T5" fmla="*/ 13 h 19"/>
                  <a:gd name="T6" fmla="*/ 0 w 14"/>
                  <a:gd name="T7" fmla="*/ 19 h 19"/>
                  <a:gd name="T8" fmla="*/ 12 w 14"/>
                  <a:gd name="T9" fmla="*/ 16 h 19"/>
                  <a:gd name="T10" fmla="*/ 11 w 14"/>
                  <a:gd name="T11" fmla="*/ 9 h 19"/>
                  <a:gd name="T12" fmla="*/ 8 w 14"/>
                  <a:gd name="T13" fmla="*/ 6 h 19"/>
                  <a:gd name="T14" fmla="*/ 5 w 14"/>
                  <a:gd name="T15" fmla="*/ 0 h 1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9">
                    <a:moveTo>
                      <a:pt x="5" y="0"/>
                    </a:moveTo>
                    <a:cubicBezTo>
                      <a:pt x="5" y="3"/>
                      <a:pt x="2" y="6"/>
                      <a:pt x="2" y="9"/>
                    </a:cubicBezTo>
                    <a:cubicBezTo>
                      <a:pt x="2" y="11"/>
                      <a:pt x="3" y="11"/>
                      <a:pt x="2" y="13"/>
                    </a:cubicBezTo>
                    <a:cubicBezTo>
                      <a:pt x="2" y="15"/>
                      <a:pt x="1" y="17"/>
                      <a:pt x="0" y="19"/>
                    </a:cubicBezTo>
                    <a:cubicBezTo>
                      <a:pt x="4" y="19"/>
                      <a:pt x="9" y="19"/>
                      <a:pt x="12" y="16"/>
                    </a:cubicBezTo>
                    <a:cubicBezTo>
                      <a:pt x="13" y="13"/>
                      <a:pt x="14" y="10"/>
                      <a:pt x="11" y="9"/>
                    </a:cubicBezTo>
                    <a:cubicBezTo>
                      <a:pt x="10" y="8"/>
                      <a:pt x="9" y="8"/>
                      <a:pt x="8" y="6"/>
                    </a:cubicBezTo>
                    <a:cubicBezTo>
                      <a:pt x="7" y="4"/>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269"/>
              <p:cNvSpPr/>
              <p:nvPr/>
            </p:nvSpPr>
            <p:spPr bwMode="auto">
              <a:xfrm>
                <a:off x="9091" y="-989"/>
                <a:ext cx="217" cy="75"/>
              </a:xfrm>
              <a:custGeom>
                <a:gdLst>
                  <a:gd name="T0" fmla="*/ 7 w 92"/>
                  <a:gd name="T1" fmla="*/ 0 h 32"/>
                  <a:gd name="T2" fmla="*/ 5 w 92"/>
                  <a:gd name="T3" fmla="*/ 1 h 32"/>
                  <a:gd name="T4" fmla="*/ 4 w 92"/>
                  <a:gd name="T5" fmla="*/ 5 h 32"/>
                  <a:gd name="T6" fmla="*/ 3 w 92"/>
                  <a:gd name="T7" fmla="*/ 7 h 32"/>
                  <a:gd name="T8" fmla="*/ 2 w 92"/>
                  <a:gd name="T9" fmla="*/ 8 h 32"/>
                  <a:gd name="T10" fmla="*/ 1 w 92"/>
                  <a:gd name="T11" fmla="*/ 11 h 32"/>
                  <a:gd name="T12" fmla="*/ 0 w 92"/>
                  <a:gd name="T13" fmla="*/ 14 h 32"/>
                  <a:gd name="T14" fmla="*/ 34 w 92"/>
                  <a:gd name="T15" fmla="*/ 28 h 32"/>
                  <a:gd name="T16" fmla="*/ 59 w 92"/>
                  <a:gd name="T17" fmla="*/ 32 h 32"/>
                  <a:gd name="T18" fmla="*/ 61 w 92"/>
                  <a:gd name="T19" fmla="*/ 32 h 32"/>
                  <a:gd name="T20" fmla="*/ 63 w 92"/>
                  <a:gd name="T21" fmla="*/ 32 h 32"/>
                  <a:gd name="T22" fmla="*/ 66 w 92"/>
                  <a:gd name="T23" fmla="*/ 32 h 32"/>
                  <a:gd name="T24" fmla="*/ 69 w 92"/>
                  <a:gd name="T25" fmla="*/ 32 h 32"/>
                  <a:gd name="T26" fmla="*/ 73 w 92"/>
                  <a:gd name="T27" fmla="*/ 30 h 32"/>
                  <a:gd name="T28" fmla="*/ 77 w 92"/>
                  <a:gd name="T29" fmla="*/ 28 h 32"/>
                  <a:gd name="T30" fmla="*/ 86 w 92"/>
                  <a:gd name="T31" fmla="*/ 27 h 32"/>
                  <a:gd name="T32" fmla="*/ 89 w 92"/>
                  <a:gd name="T33" fmla="*/ 21 h 32"/>
                  <a:gd name="T34" fmla="*/ 92 w 92"/>
                  <a:gd name="T35" fmla="*/ 18 h 32"/>
                  <a:gd name="T36" fmla="*/ 89 w 92"/>
                  <a:gd name="T37" fmla="*/ 17 h 32"/>
                  <a:gd name="T38" fmla="*/ 87 w 92"/>
                  <a:gd name="T39" fmla="*/ 17 h 32"/>
                  <a:gd name="T40" fmla="*/ 85 w 92"/>
                  <a:gd name="T41" fmla="*/ 18 h 32"/>
                  <a:gd name="T42" fmla="*/ 81 w 92"/>
                  <a:gd name="T43" fmla="*/ 17 h 32"/>
                  <a:gd name="T44" fmla="*/ 79 w 92"/>
                  <a:gd name="T45" fmla="*/ 17 h 32"/>
                  <a:gd name="T46" fmla="*/ 78 w 92"/>
                  <a:gd name="T47" fmla="*/ 17 h 32"/>
                  <a:gd name="T48" fmla="*/ 71 w 92"/>
                  <a:gd name="T49" fmla="*/ 14 h 32"/>
                  <a:gd name="T50" fmla="*/ 62 w 92"/>
                  <a:gd name="T51" fmla="*/ 12 h 32"/>
                  <a:gd name="T52" fmla="*/ 60 w 92"/>
                  <a:gd name="T53" fmla="*/ 12 h 32"/>
                  <a:gd name="T54" fmla="*/ 50 w 92"/>
                  <a:gd name="T55" fmla="*/ 14 h 32"/>
                  <a:gd name="T56" fmla="*/ 47 w 92"/>
                  <a:gd name="T57" fmla="*/ 13 h 32"/>
                  <a:gd name="T58" fmla="*/ 47 w 92"/>
                  <a:gd name="T59" fmla="*/ 10 h 32"/>
                  <a:gd name="T60" fmla="*/ 43 w 92"/>
                  <a:gd name="T61" fmla="*/ 7 h 32"/>
                  <a:gd name="T62" fmla="*/ 42 w 92"/>
                  <a:gd name="T63" fmla="*/ 7 h 32"/>
                  <a:gd name="T64" fmla="*/ 39 w 92"/>
                  <a:gd name="T65" fmla="*/ 7 h 32"/>
                  <a:gd name="T66" fmla="*/ 36 w 92"/>
                  <a:gd name="T67" fmla="*/ 7 h 32"/>
                  <a:gd name="T68" fmla="*/ 32 w 92"/>
                  <a:gd name="T69" fmla="*/ 7 h 32"/>
                  <a:gd name="T70" fmla="*/ 28 w 92"/>
                  <a:gd name="T71" fmla="*/ 6 h 32"/>
                  <a:gd name="T72" fmla="*/ 21 w 92"/>
                  <a:gd name="T73" fmla="*/ 8 h 32"/>
                  <a:gd name="T74" fmla="*/ 18 w 92"/>
                  <a:gd name="T75" fmla="*/ 10 h 32"/>
                  <a:gd name="T76" fmla="*/ 16 w 92"/>
                  <a:gd name="T77" fmla="*/ 10 h 32"/>
                  <a:gd name="T78" fmla="*/ 11 w 92"/>
                  <a:gd name="T79" fmla="*/ 7 h 32"/>
                  <a:gd name="T80" fmla="*/ 10 w 92"/>
                  <a:gd name="T81" fmla="*/ 1 h 32"/>
                  <a:gd name="T82" fmla="*/ 7 w 92"/>
                  <a:gd name="T83"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2" h="32">
                    <a:moveTo>
                      <a:pt x="7" y="0"/>
                    </a:moveTo>
                    <a:cubicBezTo>
                      <a:pt x="6" y="0"/>
                      <a:pt x="6" y="0"/>
                      <a:pt x="5" y="1"/>
                    </a:cubicBezTo>
                    <a:cubicBezTo>
                      <a:pt x="5" y="2"/>
                      <a:pt x="5" y="4"/>
                      <a:pt x="4" y="5"/>
                    </a:cubicBezTo>
                    <a:cubicBezTo>
                      <a:pt x="4" y="6"/>
                      <a:pt x="3" y="6"/>
                      <a:pt x="3" y="7"/>
                    </a:cubicBezTo>
                    <a:cubicBezTo>
                      <a:pt x="2" y="8"/>
                      <a:pt x="2" y="8"/>
                      <a:pt x="2" y="8"/>
                    </a:cubicBezTo>
                    <a:cubicBezTo>
                      <a:pt x="1" y="9"/>
                      <a:pt x="1" y="10"/>
                      <a:pt x="1" y="11"/>
                    </a:cubicBezTo>
                    <a:cubicBezTo>
                      <a:pt x="1" y="12"/>
                      <a:pt x="1" y="13"/>
                      <a:pt x="0" y="14"/>
                    </a:cubicBezTo>
                    <a:cubicBezTo>
                      <a:pt x="11" y="19"/>
                      <a:pt x="22" y="23"/>
                      <a:pt x="34" y="28"/>
                    </a:cubicBezTo>
                    <a:cubicBezTo>
                      <a:pt x="42" y="31"/>
                      <a:pt x="50" y="31"/>
                      <a:pt x="59" y="32"/>
                    </a:cubicBezTo>
                    <a:cubicBezTo>
                      <a:pt x="59" y="32"/>
                      <a:pt x="60" y="32"/>
                      <a:pt x="61" y="32"/>
                    </a:cubicBezTo>
                    <a:cubicBezTo>
                      <a:pt x="61" y="32"/>
                      <a:pt x="62" y="32"/>
                      <a:pt x="63" y="32"/>
                    </a:cubicBezTo>
                    <a:cubicBezTo>
                      <a:pt x="64" y="32"/>
                      <a:pt x="65" y="32"/>
                      <a:pt x="66" y="32"/>
                    </a:cubicBezTo>
                    <a:cubicBezTo>
                      <a:pt x="67" y="32"/>
                      <a:pt x="68" y="32"/>
                      <a:pt x="69" y="32"/>
                    </a:cubicBezTo>
                    <a:cubicBezTo>
                      <a:pt x="70" y="31"/>
                      <a:pt x="71" y="30"/>
                      <a:pt x="73" y="30"/>
                    </a:cubicBezTo>
                    <a:cubicBezTo>
                      <a:pt x="74" y="30"/>
                      <a:pt x="76" y="29"/>
                      <a:pt x="77" y="28"/>
                    </a:cubicBezTo>
                    <a:cubicBezTo>
                      <a:pt x="80" y="28"/>
                      <a:pt x="84" y="28"/>
                      <a:pt x="86" y="27"/>
                    </a:cubicBezTo>
                    <a:cubicBezTo>
                      <a:pt x="88" y="26"/>
                      <a:pt x="88" y="23"/>
                      <a:pt x="89" y="21"/>
                    </a:cubicBezTo>
                    <a:cubicBezTo>
                      <a:pt x="89" y="20"/>
                      <a:pt x="90" y="18"/>
                      <a:pt x="92" y="18"/>
                    </a:cubicBezTo>
                    <a:cubicBezTo>
                      <a:pt x="91" y="17"/>
                      <a:pt x="90" y="17"/>
                      <a:pt x="89" y="17"/>
                    </a:cubicBezTo>
                    <a:cubicBezTo>
                      <a:pt x="88" y="17"/>
                      <a:pt x="87" y="17"/>
                      <a:pt x="87" y="17"/>
                    </a:cubicBezTo>
                    <a:cubicBezTo>
                      <a:pt x="86" y="17"/>
                      <a:pt x="85" y="18"/>
                      <a:pt x="85" y="18"/>
                    </a:cubicBezTo>
                    <a:cubicBezTo>
                      <a:pt x="84" y="18"/>
                      <a:pt x="83" y="17"/>
                      <a:pt x="81" y="17"/>
                    </a:cubicBezTo>
                    <a:cubicBezTo>
                      <a:pt x="80" y="17"/>
                      <a:pt x="80" y="17"/>
                      <a:pt x="79" y="17"/>
                    </a:cubicBezTo>
                    <a:cubicBezTo>
                      <a:pt x="78" y="17"/>
                      <a:pt x="78" y="17"/>
                      <a:pt x="78" y="17"/>
                    </a:cubicBezTo>
                    <a:cubicBezTo>
                      <a:pt x="81" y="14"/>
                      <a:pt x="72" y="14"/>
                      <a:pt x="71" y="14"/>
                    </a:cubicBezTo>
                    <a:cubicBezTo>
                      <a:pt x="68" y="13"/>
                      <a:pt x="65" y="12"/>
                      <a:pt x="62" y="12"/>
                    </a:cubicBezTo>
                    <a:cubicBezTo>
                      <a:pt x="61" y="12"/>
                      <a:pt x="61" y="12"/>
                      <a:pt x="60" y="12"/>
                    </a:cubicBezTo>
                    <a:cubicBezTo>
                      <a:pt x="57" y="13"/>
                      <a:pt x="53" y="14"/>
                      <a:pt x="50" y="14"/>
                    </a:cubicBezTo>
                    <a:cubicBezTo>
                      <a:pt x="49" y="14"/>
                      <a:pt x="48" y="14"/>
                      <a:pt x="47" y="13"/>
                    </a:cubicBezTo>
                    <a:cubicBezTo>
                      <a:pt x="44" y="11"/>
                      <a:pt x="46" y="12"/>
                      <a:pt x="47" y="10"/>
                    </a:cubicBezTo>
                    <a:cubicBezTo>
                      <a:pt x="48" y="8"/>
                      <a:pt x="45" y="7"/>
                      <a:pt x="43" y="7"/>
                    </a:cubicBezTo>
                    <a:cubicBezTo>
                      <a:pt x="43" y="7"/>
                      <a:pt x="43" y="7"/>
                      <a:pt x="42" y="7"/>
                    </a:cubicBezTo>
                    <a:cubicBezTo>
                      <a:pt x="41" y="7"/>
                      <a:pt x="40" y="7"/>
                      <a:pt x="39" y="7"/>
                    </a:cubicBezTo>
                    <a:cubicBezTo>
                      <a:pt x="38" y="7"/>
                      <a:pt x="37" y="7"/>
                      <a:pt x="36" y="7"/>
                    </a:cubicBezTo>
                    <a:cubicBezTo>
                      <a:pt x="35" y="7"/>
                      <a:pt x="33" y="7"/>
                      <a:pt x="32" y="7"/>
                    </a:cubicBezTo>
                    <a:cubicBezTo>
                      <a:pt x="31" y="6"/>
                      <a:pt x="30" y="6"/>
                      <a:pt x="28" y="6"/>
                    </a:cubicBezTo>
                    <a:cubicBezTo>
                      <a:pt x="26" y="6"/>
                      <a:pt x="23" y="7"/>
                      <a:pt x="21" y="8"/>
                    </a:cubicBezTo>
                    <a:cubicBezTo>
                      <a:pt x="20" y="9"/>
                      <a:pt x="19" y="10"/>
                      <a:pt x="18" y="10"/>
                    </a:cubicBezTo>
                    <a:cubicBezTo>
                      <a:pt x="18" y="10"/>
                      <a:pt x="17" y="10"/>
                      <a:pt x="16" y="10"/>
                    </a:cubicBezTo>
                    <a:cubicBezTo>
                      <a:pt x="15" y="9"/>
                      <a:pt x="12" y="8"/>
                      <a:pt x="11" y="7"/>
                    </a:cubicBezTo>
                    <a:cubicBezTo>
                      <a:pt x="10" y="5"/>
                      <a:pt x="13" y="3"/>
                      <a:pt x="10" y="1"/>
                    </a:cubicBezTo>
                    <a:cubicBezTo>
                      <a:pt x="9"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270"/>
              <p:cNvSpPr/>
              <p:nvPr/>
            </p:nvSpPr>
            <p:spPr bwMode="auto">
              <a:xfrm>
                <a:off x="6990" y="-1358"/>
                <a:ext cx="276" cy="147"/>
              </a:xfrm>
              <a:custGeom>
                <a:gdLst>
                  <a:gd name="T0" fmla="*/ 57 w 117"/>
                  <a:gd name="T1" fmla="*/ 0 h 62"/>
                  <a:gd name="T2" fmla="*/ 48 w 117"/>
                  <a:gd name="T3" fmla="*/ 7 h 62"/>
                  <a:gd name="T4" fmla="*/ 45 w 117"/>
                  <a:gd name="T5" fmla="*/ 3 h 62"/>
                  <a:gd name="T6" fmla="*/ 36 w 117"/>
                  <a:gd name="T7" fmla="*/ 17 h 62"/>
                  <a:gd name="T8" fmla="*/ 33 w 117"/>
                  <a:gd name="T9" fmla="*/ 17 h 62"/>
                  <a:gd name="T10" fmla="*/ 28 w 117"/>
                  <a:gd name="T11" fmla="*/ 24 h 62"/>
                  <a:gd name="T12" fmla="*/ 33 w 117"/>
                  <a:gd name="T13" fmla="*/ 28 h 62"/>
                  <a:gd name="T14" fmla="*/ 27 w 117"/>
                  <a:gd name="T15" fmla="*/ 28 h 62"/>
                  <a:gd name="T16" fmla="*/ 21 w 117"/>
                  <a:gd name="T17" fmla="*/ 28 h 62"/>
                  <a:gd name="T18" fmla="*/ 6 w 117"/>
                  <a:gd name="T19" fmla="*/ 51 h 62"/>
                  <a:gd name="T20" fmla="*/ 7 w 117"/>
                  <a:gd name="T21" fmla="*/ 62 h 62"/>
                  <a:gd name="T22" fmla="*/ 23 w 117"/>
                  <a:gd name="T23" fmla="*/ 57 h 62"/>
                  <a:gd name="T24" fmla="*/ 40 w 117"/>
                  <a:gd name="T25" fmla="*/ 52 h 62"/>
                  <a:gd name="T26" fmla="*/ 43 w 117"/>
                  <a:gd name="T27" fmla="*/ 52 h 62"/>
                  <a:gd name="T28" fmla="*/ 46 w 117"/>
                  <a:gd name="T29" fmla="*/ 52 h 62"/>
                  <a:gd name="T30" fmla="*/ 50 w 117"/>
                  <a:gd name="T31" fmla="*/ 52 h 62"/>
                  <a:gd name="T32" fmla="*/ 55 w 117"/>
                  <a:gd name="T33" fmla="*/ 51 h 62"/>
                  <a:gd name="T34" fmla="*/ 60 w 117"/>
                  <a:gd name="T35" fmla="*/ 51 h 62"/>
                  <a:gd name="T36" fmla="*/ 63 w 117"/>
                  <a:gd name="T37" fmla="*/ 53 h 62"/>
                  <a:gd name="T38" fmla="*/ 70 w 117"/>
                  <a:gd name="T39" fmla="*/ 50 h 62"/>
                  <a:gd name="T40" fmla="*/ 73 w 117"/>
                  <a:gd name="T41" fmla="*/ 50 h 62"/>
                  <a:gd name="T42" fmla="*/ 80 w 117"/>
                  <a:gd name="T43" fmla="*/ 49 h 62"/>
                  <a:gd name="T44" fmla="*/ 83 w 117"/>
                  <a:gd name="T45" fmla="*/ 49 h 62"/>
                  <a:gd name="T46" fmla="*/ 87 w 117"/>
                  <a:gd name="T47" fmla="*/ 49 h 62"/>
                  <a:gd name="T48" fmla="*/ 99 w 117"/>
                  <a:gd name="T49" fmla="*/ 46 h 62"/>
                  <a:gd name="T50" fmla="*/ 102 w 117"/>
                  <a:gd name="T51" fmla="*/ 46 h 62"/>
                  <a:gd name="T52" fmla="*/ 105 w 117"/>
                  <a:gd name="T53" fmla="*/ 46 h 62"/>
                  <a:gd name="T54" fmla="*/ 117 w 117"/>
                  <a:gd name="T55" fmla="*/ 36 h 62"/>
                  <a:gd name="T56" fmla="*/ 113 w 117"/>
                  <a:gd name="T57" fmla="*/ 28 h 62"/>
                  <a:gd name="T58" fmla="*/ 102 w 117"/>
                  <a:gd name="T59" fmla="*/ 24 h 62"/>
                  <a:gd name="T60" fmla="*/ 96 w 117"/>
                  <a:gd name="T61" fmla="*/ 24 h 62"/>
                  <a:gd name="T62" fmla="*/ 95 w 117"/>
                  <a:gd name="T63" fmla="*/ 19 h 62"/>
                  <a:gd name="T64" fmla="*/ 93 w 117"/>
                  <a:gd name="T65" fmla="*/ 18 h 62"/>
                  <a:gd name="T66" fmla="*/ 90 w 117"/>
                  <a:gd name="T67" fmla="*/ 18 h 62"/>
                  <a:gd name="T68" fmla="*/ 90 w 117"/>
                  <a:gd name="T69" fmla="*/ 17 h 62"/>
                  <a:gd name="T70" fmla="*/ 89 w 117"/>
                  <a:gd name="T71" fmla="*/ 16 h 62"/>
                  <a:gd name="T72" fmla="*/ 83 w 117"/>
                  <a:gd name="T73" fmla="*/ 11 h 62"/>
                  <a:gd name="T74" fmla="*/ 62 w 117"/>
                  <a:gd name="T75" fmla="*/ 15 h 62"/>
                  <a:gd name="T76" fmla="*/ 64 w 117"/>
                  <a:gd name="T77" fmla="*/ 11 h 62"/>
                  <a:gd name="T78" fmla="*/ 66 w 117"/>
                  <a:gd name="T79" fmla="*/ 7 h 62"/>
                  <a:gd name="T80" fmla="*/ 65 w 117"/>
                  <a:gd name="T81" fmla="*/ 2 h 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62">
                    <a:moveTo>
                      <a:pt x="58" y="0"/>
                    </a:moveTo>
                    <a:cubicBezTo>
                      <a:pt x="58" y="0"/>
                      <a:pt x="57" y="0"/>
                      <a:pt x="57" y="0"/>
                    </a:cubicBezTo>
                    <a:cubicBezTo>
                      <a:pt x="53" y="1"/>
                      <a:pt x="55" y="8"/>
                      <a:pt x="51" y="8"/>
                    </a:cubicBezTo>
                    <a:cubicBezTo>
                      <a:pt x="51" y="8"/>
                      <a:pt x="50" y="8"/>
                      <a:pt x="48" y="7"/>
                    </a:cubicBezTo>
                    <a:cubicBezTo>
                      <a:pt x="48" y="7"/>
                      <a:pt x="47" y="3"/>
                      <a:pt x="45" y="3"/>
                    </a:cubicBezTo>
                    <a:cubicBezTo>
                      <a:pt x="45" y="3"/>
                      <a:pt x="45" y="3"/>
                      <a:pt x="45" y="3"/>
                    </a:cubicBezTo>
                    <a:cubicBezTo>
                      <a:pt x="41" y="3"/>
                      <a:pt x="38" y="5"/>
                      <a:pt x="36" y="8"/>
                    </a:cubicBezTo>
                    <a:cubicBezTo>
                      <a:pt x="33" y="11"/>
                      <a:pt x="32" y="15"/>
                      <a:pt x="36" y="17"/>
                    </a:cubicBezTo>
                    <a:cubicBezTo>
                      <a:pt x="36" y="18"/>
                      <a:pt x="37" y="18"/>
                      <a:pt x="37" y="18"/>
                    </a:cubicBezTo>
                    <a:cubicBezTo>
                      <a:pt x="36" y="17"/>
                      <a:pt x="34" y="17"/>
                      <a:pt x="33" y="17"/>
                    </a:cubicBezTo>
                    <a:cubicBezTo>
                      <a:pt x="31" y="17"/>
                      <a:pt x="30" y="17"/>
                      <a:pt x="29" y="19"/>
                    </a:cubicBezTo>
                    <a:cubicBezTo>
                      <a:pt x="29" y="21"/>
                      <a:pt x="28" y="23"/>
                      <a:pt x="28" y="24"/>
                    </a:cubicBezTo>
                    <a:cubicBezTo>
                      <a:pt x="27" y="27"/>
                      <a:pt x="27" y="26"/>
                      <a:pt x="29" y="27"/>
                    </a:cubicBezTo>
                    <a:cubicBezTo>
                      <a:pt x="30" y="28"/>
                      <a:pt x="32" y="27"/>
                      <a:pt x="33" y="28"/>
                    </a:cubicBezTo>
                    <a:cubicBezTo>
                      <a:pt x="32" y="28"/>
                      <a:pt x="32" y="28"/>
                      <a:pt x="31" y="28"/>
                    </a:cubicBezTo>
                    <a:cubicBezTo>
                      <a:pt x="30" y="28"/>
                      <a:pt x="29" y="28"/>
                      <a:pt x="27" y="28"/>
                    </a:cubicBezTo>
                    <a:cubicBezTo>
                      <a:pt x="26" y="27"/>
                      <a:pt x="25" y="27"/>
                      <a:pt x="23" y="27"/>
                    </a:cubicBezTo>
                    <a:cubicBezTo>
                      <a:pt x="22" y="27"/>
                      <a:pt x="21" y="27"/>
                      <a:pt x="21" y="28"/>
                    </a:cubicBezTo>
                    <a:cubicBezTo>
                      <a:pt x="16" y="30"/>
                      <a:pt x="13" y="38"/>
                      <a:pt x="11" y="42"/>
                    </a:cubicBezTo>
                    <a:cubicBezTo>
                      <a:pt x="10" y="47"/>
                      <a:pt x="9" y="49"/>
                      <a:pt x="6" y="51"/>
                    </a:cubicBezTo>
                    <a:cubicBezTo>
                      <a:pt x="4" y="52"/>
                      <a:pt x="0" y="56"/>
                      <a:pt x="0" y="58"/>
                    </a:cubicBezTo>
                    <a:cubicBezTo>
                      <a:pt x="0" y="61"/>
                      <a:pt x="3" y="62"/>
                      <a:pt x="7" y="62"/>
                    </a:cubicBezTo>
                    <a:cubicBezTo>
                      <a:pt x="9" y="62"/>
                      <a:pt x="12" y="61"/>
                      <a:pt x="13" y="61"/>
                    </a:cubicBezTo>
                    <a:cubicBezTo>
                      <a:pt x="16" y="60"/>
                      <a:pt x="20" y="58"/>
                      <a:pt x="23" y="57"/>
                    </a:cubicBezTo>
                    <a:cubicBezTo>
                      <a:pt x="26" y="56"/>
                      <a:pt x="29" y="55"/>
                      <a:pt x="32" y="53"/>
                    </a:cubicBezTo>
                    <a:cubicBezTo>
                      <a:pt x="34" y="52"/>
                      <a:pt x="37" y="52"/>
                      <a:pt x="40" y="52"/>
                    </a:cubicBezTo>
                    <a:cubicBezTo>
                      <a:pt x="40" y="52"/>
                      <a:pt x="41" y="52"/>
                      <a:pt x="41" y="52"/>
                    </a:cubicBezTo>
                    <a:cubicBezTo>
                      <a:pt x="42" y="52"/>
                      <a:pt x="42" y="52"/>
                      <a:pt x="43" y="52"/>
                    </a:cubicBezTo>
                    <a:cubicBezTo>
                      <a:pt x="44" y="52"/>
                      <a:pt x="45" y="52"/>
                      <a:pt x="46" y="52"/>
                    </a:cubicBezTo>
                    <a:cubicBezTo>
                      <a:pt x="46" y="52"/>
                      <a:pt x="46" y="52"/>
                      <a:pt x="46" y="52"/>
                    </a:cubicBezTo>
                    <a:cubicBezTo>
                      <a:pt x="46" y="52"/>
                      <a:pt x="47" y="52"/>
                      <a:pt x="48" y="52"/>
                    </a:cubicBezTo>
                    <a:cubicBezTo>
                      <a:pt x="49" y="52"/>
                      <a:pt x="49" y="52"/>
                      <a:pt x="50" y="52"/>
                    </a:cubicBezTo>
                    <a:cubicBezTo>
                      <a:pt x="50" y="52"/>
                      <a:pt x="50" y="52"/>
                      <a:pt x="50" y="52"/>
                    </a:cubicBezTo>
                    <a:cubicBezTo>
                      <a:pt x="52" y="51"/>
                      <a:pt x="53" y="51"/>
                      <a:pt x="55" y="51"/>
                    </a:cubicBezTo>
                    <a:cubicBezTo>
                      <a:pt x="56" y="51"/>
                      <a:pt x="56" y="51"/>
                      <a:pt x="57" y="51"/>
                    </a:cubicBezTo>
                    <a:cubicBezTo>
                      <a:pt x="58" y="51"/>
                      <a:pt x="59" y="51"/>
                      <a:pt x="60" y="51"/>
                    </a:cubicBezTo>
                    <a:cubicBezTo>
                      <a:pt x="61" y="51"/>
                      <a:pt x="62" y="51"/>
                      <a:pt x="63" y="52"/>
                    </a:cubicBezTo>
                    <a:cubicBezTo>
                      <a:pt x="63" y="53"/>
                      <a:pt x="63" y="53"/>
                      <a:pt x="63" y="53"/>
                    </a:cubicBezTo>
                    <a:cubicBezTo>
                      <a:pt x="65" y="53"/>
                      <a:pt x="67" y="51"/>
                      <a:pt x="67" y="50"/>
                    </a:cubicBezTo>
                    <a:cubicBezTo>
                      <a:pt x="68" y="50"/>
                      <a:pt x="69" y="50"/>
                      <a:pt x="70" y="50"/>
                    </a:cubicBezTo>
                    <a:cubicBezTo>
                      <a:pt x="70" y="50"/>
                      <a:pt x="71" y="50"/>
                      <a:pt x="71" y="50"/>
                    </a:cubicBezTo>
                    <a:cubicBezTo>
                      <a:pt x="72" y="50"/>
                      <a:pt x="72" y="50"/>
                      <a:pt x="73" y="50"/>
                    </a:cubicBezTo>
                    <a:cubicBezTo>
                      <a:pt x="73" y="50"/>
                      <a:pt x="73" y="50"/>
                      <a:pt x="73" y="50"/>
                    </a:cubicBezTo>
                    <a:cubicBezTo>
                      <a:pt x="75" y="50"/>
                      <a:pt x="78" y="49"/>
                      <a:pt x="80" y="49"/>
                    </a:cubicBezTo>
                    <a:cubicBezTo>
                      <a:pt x="81" y="49"/>
                      <a:pt x="81" y="49"/>
                      <a:pt x="82" y="49"/>
                    </a:cubicBezTo>
                    <a:cubicBezTo>
                      <a:pt x="82" y="49"/>
                      <a:pt x="83" y="49"/>
                      <a:pt x="83" y="49"/>
                    </a:cubicBezTo>
                    <a:cubicBezTo>
                      <a:pt x="83" y="49"/>
                      <a:pt x="84" y="49"/>
                      <a:pt x="84" y="49"/>
                    </a:cubicBezTo>
                    <a:cubicBezTo>
                      <a:pt x="85" y="49"/>
                      <a:pt x="86" y="49"/>
                      <a:pt x="87" y="49"/>
                    </a:cubicBezTo>
                    <a:cubicBezTo>
                      <a:pt x="89" y="48"/>
                      <a:pt x="91" y="47"/>
                      <a:pt x="92" y="47"/>
                    </a:cubicBezTo>
                    <a:cubicBezTo>
                      <a:pt x="94" y="46"/>
                      <a:pt x="97" y="46"/>
                      <a:pt x="99" y="46"/>
                    </a:cubicBezTo>
                    <a:cubicBezTo>
                      <a:pt x="99" y="46"/>
                      <a:pt x="99" y="46"/>
                      <a:pt x="100" y="46"/>
                    </a:cubicBezTo>
                    <a:cubicBezTo>
                      <a:pt x="100" y="46"/>
                      <a:pt x="101" y="46"/>
                      <a:pt x="102" y="46"/>
                    </a:cubicBezTo>
                    <a:cubicBezTo>
                      <a:pt x="102" y="46"/>
                      <a:pt x="103" y="46"/>
                      <a:pt x="104" y="46"/>
                    </a:cubicBezTo>
                    <a:cubicBezTo>
                      <a:pt x="104" y="46"/>
                      <a:pt x="104" y="46"/>
                      <a:pt x="105" y="46"/>
                    </a:cubicBezTo>
                    <a:cubicBezTo>
                      <a:pt x="108" y="45"/>
                      <a:pt x="110" y="41"/>
                      <a:pt x="113" y="40"/>
                    </a:cubicBezTo>
                    <a:cubicBezTo>
                      <a:pt x="115" y="39"/>
                      <a:pt x="117" y="39"/>
                      <a:pt x="117" y="36"/>
                    </a:cubicBezTo>
                    <a:cubicBezTo>
                      <a:pt x="116" y="34"/>
                      <a:pt x="115" y="32"/>
                      <a:pt x="114" y="31"/>
                    </a:cubicBezTo>
                    <a:cubicBezTo>
                      <a:pt x="114" y="30"/>
                      <a:pt x="114" y="29"/>
                      <a:pt x="113" y="28"/>
                    </a:cubicBezTo>
                    <a:cubicBezTo>
                      <a:pt x="112" y="25"/>
                      <a:pt x="109" y="24"/>
                      <a:pt x="106" y="24"/>
                    </a:cubicBezTo>
                    <a:cubicBezTo>
                      <a:pt x="105" y="24"/>
                      <a:pt x="103" y="24"/>
                      <a:pt x="102" y="24"/>
                    </a:cubicBezTo>
                    <a:cubicBezTo>
                      <a:pt x="101" y="25"/>
                      <a:pt x="100" y="25"/>
                      <a:pt x="99" y="25"/>
                    </a:cubicBezTo>
                    <a:cubicBezTo>
                      <a:pt x="98" y="25"/>
                      <a:pt x="97" y="25"/>
                      <a:pt x="96" y="24"/>
                    </a:cubicBezTo>
                    <a:cubicBezTo>
                      <a:pt x="98" y="24"/>
                      <a:pt x="100" y="24"/>
                      <a:pt x="99" y="21"/>
                    </a:cubicBezTo>
                    <a:cubicBezTo>
                      <a:pt x="98" y="20"/>
                      <a:pt x="97" y="19"/>
                      <a:pt x="95" y="19"/>
                    </a:cubicBezTo>
                    <a:cubicBezTo>
                      <a:pt x="95" y="18"/>
                      <a:pt x="94" y="18"/>
                      <a:pt x="94" y="18"/>
                    </a:cubicBezTo>
                    <a:cubicBezTo>
                      <a:pt x="93" y="18"/>
                      <a:pt x="93" y="18"/>
                      <a:pt x="93" y="18"/>
                    </a:cubicBezTo>
                    <a:cubicBezTo>
                      <a:pt x="93" y="18"/>
                      <a:pt x="93" y="18"/>
                      <a:pt x="92" y="18"/>
                    </a:cubicBezTo>
                    <a:cubicBezTo>
                      <a:pt x="92" y="18"/>
                      <a:pt x="91" y="18"/>
                      <a:pt x="90" y="18"/>
                    </a:cubicBezTo>
                    <a:cubicBezTo>
                      <a:pt x="90" y="18"/>
                      <a:pt x="90" y="18"/>
                      <a:pt x="90" y="18"/>
                    </a:cubicBezTo>
                    <a:cubicBezTo>
                      <a:pt x="91" y="18"/>
                      <a:pt x="90" y="18"/>
                      <a:pt x="90" y="17"/>
                    </a:cubicBezTo>
                    <a:cubicBezTo>
                      <a:pt x="89" y="17"/>
                      <a:pt x="89" y="16"/>
                      <a:pt x="89" y="16"/>
                    </a:cubicBezTo>
                    <a:cubicBezTo>
                      <a:pt x="89" y="16"/>
                      <a:pt x="89" y="16"/>
                      <a:pt x="89" y="16"/>
                    </a:cubicBezTo>
                    <a:cubicBezTo>
                      <a:pt x="89" y="15"/>
                      <a:pt x="90" y="13"/>
                      <a:pt x="88" y="13"/>
                    </a:cubicBezTo>
                    <a:cubicBezTo>
                      <a:pt x="87" y="12"/>
                      <a:pt x="85" y="12"/>
                      <a:pt x="83" y="11"/>
                    </a:cubicBezTo>
                    <a:cubicBezTo>
                      <a:pt x="82" y="11"/>
                      <a:pt x="82" y="11"/>
                      <a:pt x="81" y="11"/>
                    </a:cubicBezTo>
                    <a:cubicBezTo>
                      <a:pt x="75" y="11"/>
                      <a:pt x="68" y="14"/>
                      <a:pt x="62" y="15"/>
                    </a:cubicBezTo>
                    <a:cubicBezTo>
                      <a:pt x="63" y="14"/>
                      <a:pt x="63" y="14"/>
                      <a:pt x="64" y="13"/>
                    </a:cubicBezTo>
                    <a:cubicBezTo>
                      <a:pt x="65" y="12"/>
                      <a:pt x="64" y="12"/>
                      <a:pt x="64" y="11"/>
                    </a:cubicBezTo>
                    <a:cubicBezTo>
                      <a:pt x="64" y="10"/>
                      <a:pt x="65" y="10"/>
                      <a:pt x="66" y="9"/>
                    </a:cubicBezTo>
                    <a:cubicBezTo>
                      <a:pt x="66" y="9"/>
                      <a:pt x="66" y="8"/>
                      <a:pt x="66" y="7"/>
                    </a:cubicBezTo>
                    <a:cubicBezTo>
                      <a:pt x="67" y="7"/>
                      <a:pt x="75" y="4"/>
                      <a:pt x="71" y="4"/>
                    </a:cubicBezTo>
                    <a:cubicBezTo>
                      <a:pt x="68" y="4"/>
                      <a:pt x="67" y="2"/>
                      <a:pt x="65" y="2"/>
                    </a:cubicBezTo>
                    <a:cubicBezTo>
                      <a:pt x="63" y="1"/>
                      <a:pt x="60" y="0"/>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271"/>
              <p:cNvSpPr/>
              <p:nvPr/>
            </p:nvSpPr>
            <p:spPr bwMode="auto">
              <a:xfrm>
                <a:off x="4683" y="-471"/>
                <a:ext cx="107" cy="63"/>
              </a:xfrm>
              <a:custGeom>
                <a:gdLst>
                  <a:gd name="T0" fmla="*/ 16 w 45"/>
                  <a:gd name="T1" fmla="*/ 0 h 27"/>
                  <a:gd name="T2" fmla="*/ 11 w 45"/>
                  <a:gd name="T3" fmla="*/ 2 h 27"/>
                  <a:gd name="T4" fmla="*/ 1 w 45"/>
                  <a:gd name="T5" fmla="*/ 12 h 27"/>
                  <a:gd name="T6" fmla="*/ 0 w 45"/>
                  <a:gd name="T7" fmla="*/ 18 h 27"/>
                  <a:gd name="T8" fmla="*/ 11 w 45"/>
                  <a:gd name="T9" fmla="*/ 27 h 27"/>
                  <a:gd name="T10" fmla="*/ 26 w 45"/>
                  <a:gd name="T11" fmla="*/ 22 h 27"/>
                  <a:gd name="T12" fmla="*/ 33 w 45"/>
                  <a:gd name="T13" fmla="*/ 17 h 27"/>
                  <a:gd name="T14" fmla="*/ 34 w 45"/>
                  <a:gd name="T15" fmla="*/ 15 h 27"/>
                  <a:gd name="T16" fmla="*/ 38 w 45"/>
                  <a:gd name="T17" fmla="*/ 12 h 27"/>
                  <a:gd name="T18" fmla="*/ 36 w 45"/>
                  <a:gd name="T19" fmla="*/ 18 h 27"/>
                  <a:gd name="T20" fmla="*/ 32 w 45"/>
                  <a:gd name="T21" fmla="*/ 6 h 27"/>
                  <a:gd name="T22" fmla="*/ 16 w 45"/>
                  <a:gd name="T23"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27">
                    <a:moveTo>
                      <a:pt x="16" y="0"/>
                    </a:moveTo>
                    <a:cubicBezTo>
                      <a:pt x="14" y="0"/>
                      <a:pt x="13" y="1"/>
                      <a:pt x="11" y="2"/>
                    </a:cubicBezTo>
                    <a:cubicBezTo>
                      <a:pt x="6" y="3"/>
                      <a:pt x="2" y="7"/>
                      <a:pt x="1" y="12"/>
                    </a:cubicBezTo>
                    <a:cubicBezTo>
                      <a:pt x="1" y="14"/>
                      <a:pt x="0" y="16"/>
                      <a:pt x="0" y="18"/>
                    </a:cubicBezTo>
                    <a:cubicBezTo>
                      <a:pt x="1" y="23"/>
                      <a:pt x="7" y="24"/>
                      <a:pt x="11" y="27"/>
                    </a:cubicBezTo>
                    <a:cubicBezTo>
                      <a:pt x="16" y="26"/>
                      <a:pt x="22" y="25"/>
                      <a:pt x="26" y="22"/>
                    </a:cubicBezTo>
                    <a:cubicBezTo>
                      <a:pt x="28" y="21"/>
                      <a:pt x="31" y="19"/>
                      <a:pt x="33" y="17"/>
                    </a:cubicBezTo>
                    <a:cubicBezTo>
                      <a:pt x="33" y="16"/>
                      <a:pt x="33" y="16"/>
                      <a:pt x="34" y="15"/>
                    </a:cubicBezTo>
                    <a:cubicBezTo>
                      <a:pt x="35" y="14"/>
                      <a:pt x="37" y="13"/>
                      <a:pt x="38" y="12"/>
                    </a:cubicBezTo>
                    <a:cubicBezTo>
                      <a:pt x="38" y="14"/>
                      <a:pt x="37" y="16"/>
                      <a:pt x="36" y="18"/>
                    </a:cubicBezTo>
                    <a:cubicBezTo>
                      <a:pt x="45" y="14"/>
                      <a:pt x="36" y="8"/>
                      <a:pt x="32" y="6"/>
                    </a:cubicBezTo>
                    <a:cubicBezTo>
                      <a:pt x="27" y="3"/>
                      <a:pt x="22"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272"/>
              <p:cNvSpPr/>
              <p:nvPr/>
            </p:nvSpPr>
            <p:spPr bwMode="auto">
              <a:xfrm>
                <a:off x="8887" y="585"/>
                <a:ext cx="142" cy="504"/>
              </a:xfrm>
              <a:custGeom>
                <a:gdLst>
                  <a:gd name="T0" fmla="*/ 21 w 60"/>
                  <a:gd name="T1" fmla="*/ 0 h 213"/>
                  <a:gd name="T2" fmla="*/ 19 w 60"/>
                  <a:gd name="T3" fmla="*/ 3 h 213"/>
                  <a:gd name="T4" fmla="*/ 16 w 60"/>
                  <a:gd name="T5" fmla="*/ 3 h 213"/>
                  <a:gd name="T6" fmla="*/ 22 w 60"/>
                  <a:gd name="T7" fmla="*/ 13 h 213"/>
                  <a:gd name="T8" fmla="*/ 21 w 60"/>
                  <a:gd name="T9" fmla="*/ 20 h 213"/>
                  <a:gd name="T10" fmla="*/ 21 w 60"/>
                  <a:gd name="T11" fmla="*/ 20 h 213"/>
                  <a:gd name="T12" fmla="*/ 20 w 60"/>
                  <a:gd name="T13" fmla="*/ 19 h 213"/>
                  <a:gd name="T14" fmla="*/ 18 w 60"/>
                  <a:gd name="T15" fmla="*/ 23 h 213"/>
                  <a:gd name="T16" fmla="*/ 20 w 60"/>
                  <a:gd name="T17" fmla="*/ 23 h 213"/>
                  <a:gd name="T18" fmla="*/ 17 w 60"/>
                  <a:gd name="T19" fmla="*/ 27 h 213"/>
                  <a:gd name="T20" fmla="*/ 13 w 60"/>
                  <a:gd name="T21" fmla="*/ 25 h 213"/>
                  <a:gd name="T22" fmla="*/ 10 w 60"/>
                  <a:gd name="T23" fmla="*/ 24 h 213"/>
                  <a:gd name="T24" fmla="*/ 6 w 60"/>
                  <a:gd name="T25" fmla="*/ 38 h 213"/>
                  <a:gd name="T26" fmla="*/ 4 w 60"/>
                  <a:gd name="T27" fmla="*/ 52 h 213"/>
                  <a:gd name="T28" fmla="*/ 12 w 60"/>
                  <a:gd name="T29" fmla="*/ 83 h 213"/>
                  <a:gd name="T30" fmla="*/ 10 w 60"/>
                  <a:gd name="T31" fmla="*/ 95 h 213"/>
                  <a:gd name="T32" fmla="*/ 9 w 60"/>
                  <a:gd name="T33" fmla="*/ 127 h 213"/>
                  <a:gd name="T34" fmla="*/ 6 w 60"/>
                  <a:gd name="T35" fmla="*/ 146 h 213"/>
                  <a:gd name="T36" fmla="*/ 11 w 60"/>
                  <a:gd name="T37" fmla="*/ 164 h 213"/>
                  <a:gd name="T38" fmla="*/ 9 w 60"/>
                  <a:gd name="T39" fmla="*/ 185 h 213"/>
                  <a:gd name="T40" fmla="*/ 6 w 60"/>
                  <a:gd name="T41" fmla="*/ 203 h 213"/>
                  <a:gd name="T42" fmla="*/ 16 w 60"/>
                  <a:gd name="T43" fmla="*/ 196 h 213"/>
                  <a:gd name="T44" fmla="*/ 24 w 60"/>
                  <a:gd name="T45" fmla="*/ 196 h 213"/>
                  <a:gd name="T46" fmla="*/ 29 w 60"/>
                  <a:gd name="T47" fmla="*/ 196 h 213"/>
                  <a:gd name="T48" fmla="*/ 33 w 60"/>
                  <a:gd name="T49" fmla="*/ 197 h 213"/>
                  <a:gd name="T50" fmla="*/ 35 w 60"/>
                  <a:gd name="T51" fmla="*/ 203 h 213"/>
                  <a:gd name="T52" fmla="*/ 37 w 60"/>
                  <a:gd name="T53" fmla="*/ 205 h 213"/>
                  <a:gd name="T54" fmla="*/ 38 w 60"/>
                  <a:gd name="T55" fmla="*/ 201 h 213"/>
                  <a:gd name="T56" fmla="*/ 33 w 60"/>
                  <a:gd name="T57" fmla="*/ 190 h 213"/>
                  <a:gd name="T58" fmla="*/ 34 w 60"/>
                  <a:gd name="T59" fmla="*/ 193 h 213"/>
                  <a:gd name="T60" fmla="*/ 30 w 60"/>
                  <a:gd name="T61" fmla="*/ 193 h 213"/>
                  <a:gd name="T62" fmla="*/ 29 w 60"/>
                  <a:gd name="T63" fmla="*/ 189 h 213"/>
                  <a:gd name="T64" fmla="*/ 19 w 60"/>
                  <a:gd name="T65" fmla="*/ 163 h 213"/>
                  <a:gd name="T66" fmla="*/ 30 w 60"/>
                  <a:gd name="T67" fmla="*/ 132 h 213"/>
                  <a:gd name="T68" fmla="*/ 35 w 60"/>
                  <a:gd name="T69" fmla="*/ 128 h 213"/>
                  <a:gd name="T70" fmla="*/ 40 w 60"/>
                  <a:gd name="T71" fmla="*/ 130 h 213"/>
                  <a:gd name="T72" fmla="*/ 53 w 60"/>
                  <a:gd name="T73" fmla="*/ 136 h 213"/>
                  <a:gd name="T74" fmla="*/ 59 w 60"/>
                  <a:gd name="T75" fmla="*/ 144 h 213"/>
                  <a:gd name="T76" fmla="*/ 55 w 60"/>
                  <a:gd name="T77" fmla="*/ 138 h 213"/>
                  <a:gd name="T78" fmla="*/ 51 w 60"/>
                  <a:gd name="T79" fmla="*/ 128 h 213"/>
                  <a:gd name="T80" fmla="*/ 49 w 60"/>
                  <a:gd name="T81" fmla="*/ 122 h 213"/>
                  <a:gd name="T82" fmla="*/ 35 w 60"/>
                  <a:gd name="T83" fmla="*/ 79 h 213"/>
                  <a:gd name="T84" fmla="*/ 34 w 60"/>
                  <a:gd name="T85" fmla="*/ 72 h 213"/>
                  <a:gd name="T86" fmla="*/ 33 w 60"/>
                  <a:gd name="T87" fmla="*/ 73 h 213"/>
                  <a:gd name="T88" fmla="*/ 33 w 60"/>
                  <a:gd name="T89" fmla="*/ 75 h 213"/>
                  <a:gd name="T90" fmla="*/ 29 w 60"/>
                  <a:gd name="T91" fmla="*/ 59 h 213"/>
                  <a:gd name="T92" fmla="*/ 30 w 60"/>
                  <a:gd name="T93" fmla="*/ 52 h 213"/>
                  <a:gd name="T94" fmla="*/ 29 w 60"/>
                  <a:gd name="T95" fmla="*/ 31 h 213"/>
                  <a:gd name="T96" fmla="*/ 30 w 60"/>
                  <a:gd name="T97" fmla="*/ 27 h 213"/>
                  <a:gd name="T98" fmla="*/ 32 w 60"/>
                  <a:gd name="T99" fmla="*/ 34 h 213"/>
                  <a:gd name="T100" fmla="*/ 30 w 60"/>
                  <a:gd name="T101" fmla="*/ 24 h 213"/>
                  <a:gd name="T102" fmla="*/ 26 w 60"/>
                  <a:gd name="T103" fmla="*/ 12 h 213"/>
                  <a:gd name="T104" fmla="*/ 24 w 60"/>
                  <a:gd name="T105" fmla="*/ 3 h 2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 h="213">
                    <a:moveTo>
                      <a:pt x="22" y="0"/>
                    </a:moveTo>
                    <a:cubicBezTo>
                      <a:pt x="21" y="0"/>
                      <a:pt x="21" y="0"/>
                      <a:pt x="21" y="0"/>
                    </a:cubicBezTo>
                    <a:cubicBezTo>
                      <a:pt x="20" y="4"/>
                      <a:pt x="20" y="4"/>
                      <a:pt x="20" y="4"/>
                    </a:cubicBezTo>
                    <a:cubicBezTo>
                      <a:pt x="20" y="3"/>
                      <a:pt x="20" y="3"/>
                      <a:pt x="19" y="3"/>
                    </a:cubicBezTo>
                    <a:cubicBezTo>
                      <a:pt x="19" y="3"/>
                      <a:pt x="19" y="3"/>
                      <a:pt x="18" y="3"/>
                    </a:cubicBezTo>
                    <a:cubicBezTo>
                      <a:pt x="17" y="3"/>
                      <a:pt x="16" y="3"/>
                      <a:pt x="16" y="3"/>
                    </a:cubicBezTo>
                    <a:cubicBezTo>
                      <a:pt x="15" y="3"/>
                      <a:pt x="14" y="3"/>
                      <a:pt x="13" y="3"/>
                    </a:cubicBezTo>
                    <a:cubicBezTo>
                      <a:pt x="15" y="5"/>
                      <a:pt x="21" y="10"/>
                      <a:pt x="22" y="13"/>
                    </a:cubicBezTo>
                    <a:cubicBezTo>
                      <a:pt x="22" y="15"/>
                      <a:pt x="20" y="17"/>
                      <a:pt x="20" y="18"/>
                    </a:cubicBezTo>
                    <a:cubicBezTo>
                      <a:pt x="20" y="18"/>
                      <a:pt x="25" y="19"/>
                      <a:pt x="21" y="20"/>
                    </a:cubicBezTo>
                    <a:cubicBezTo>
                      <a:pt x="21" y="20"/>
                      <a:pt x="21" y="20"/>
                      <a:pt x="21" y="20"/>
                    </a:cubicBezTo>
                    <a:cubicBezTo>
                      <a:pt x="21" y="20"/>
                      <a:pt x="21" y="20"/>
                      <a:pt x="21" y="20"/>
                    </a:cubicBezTo>
                    <a:cubicBezTo>
                      <a:pt x="21" y="20"/>
                      <a:pt x="20" y="19"/>
                      <a:pt x="20" y="19"/>
                    </a:cubicBezTo>
                    <a:cubicBezTo>
                      <a:pt x="20" y="19"/>
                      <a:pt x="20" y="19"/>
                      <a:pt x="20" y="19"/>
                    </a:cubicBezTo>
                    <a:cubicBezTo>
                      <a:pt x="19" y="20"/>
                      <a:pt x="18" y="22"/>
                      <a:pt x="18" y="23"/>
                    </a:cubicBezTo>
                    <a:cubicBezTo>
                      <a:pt x="18" y="23"/>
                      <a:pt x="18" y="23"/>
                      <a:pt x="18" y="23"/>
                    </a:cubicBezTo>
                    <a:cubicBezTo>
                      <a:pt x="19" y="23"/>
                      <a:pt x="20" y="23"/>
                      <a:pt x="20" y="23"/>
                    </a:cubicBezTo>
                    <a:cubicBezTo>
                      <a:pt x="20" y="23"/>
                      <a:pt x="20" y="23"/>
                      <a:pt x="20" y="23"/>
                    </a:cubicBezTo>
                    <a:cubicBezTo>
                      <a:pt x="20" y="23"/>
                      <a:pt x="20" y="23"/>
                      <a:pt x="20" y="23"/>
                    </a:cubicBezTo>
                    <a:cubicBezTo>
                      <a:pt x="20" y="23"/>
                      <a:pt x="17" y="27"/>
                      <a:pt x="17" y="27"/>
                    </a:cubicBezTo>
                    <a:cubicBezTo>
                      <a:pt x="16" y="27"/>
                      <a:pt x="15" y="27"/>
                      <a:pt x="15" y="27"/>
                    </a:cubicBezTo>
                    <a:cubicBezTo>
                      <a:pt x="14" y="27"/>
                      <a:pt x="13" y="27"/>
                      <a:pt x="13" y="25"/>
                    </a:cubicBezTo>
                    <a:cubicBezTo>
                      <a:pt x="12" y="24"/>
                      <a:pt x="12" y="23"/>
                      <a:pt x="12" y="23"/>
                    </a:cubicBezTo>
                    <a:cubicBezTo>
                      <a:pt x="11" y="23"/>
                      <a:pt x="11" y="24"/>
                      <a:pt x="10" y="24"/>
                    </a:cubicBezTo>
                    <a:cubicBezTo>
                      <a:pt x="8" y="25"/>
                      <a:pt x="3" y="27"/>
                      <a:pt x="4" y="28"/>
                    </a:cubicBezTo>
                    <a:cubicBezTo>
                      <a:pt x="5" y="31"/>
                      <a:pt x="7" y="34"/>
                      <a:pt x="6" y="38"/>
                    </a:cubicBezTo>
                    <a:cubicBezTo>
                      <a:pt x="6" y="40"/>
                      <a:pt x="5" y="42"/>
                      <a:pt x="5" y="45"/>
                    </a:cubicBezTo>
                    <a:cubicBezTo>
                      <a:pt x="5" y="47"/>
                      <a:pt x="4" y="50"/>
                      <a:pt x="4" y="52"/>
                    </a:cubicBezTo>
                    <a:cubicBezTo>
                      <a:pt x="3" y="57"/>
                      <a:pt x="0" y="64"/>
                      <a:pt x="2" y="67"/>
                    </a:cubicBezTo>
                    <a:cubicBezTo>
                      <a:pt x="6" y="73"/>
                      <a:pt x="9" y="78"/>
                      <a:pt x="12" y="83"/>
                    </a:cubicBezTo>
                    <a:cubicBezTo>
                      <a:pt x="13" y="85"/>
                      <a:pt x="13" y="86"/>
                      <a:pt x="12" y="88"/>
                    </a:cubicBezTo>
                    <a:cubicBezTo>
                      <a:pt x="11" y="91"/>
                      <a:pt x="10" y="92"/>
                      <a:pt x="10" y="95"/>
                    </a:cubicBezTo>
                    <a:cubicBezTo>
                      <a:pt x="10" y="100"/>
                      <a:pt x="11" y="106"/>
                      <a:pt x="11" y="111"/>
                    </a:cubicBezTo>
                    <a:cubicBezTo>
                      <a:pt x="11" y="117"/>
                      <a:pt x="10" y="121"/>
                      <a:pt x="9" y="127"/>
                    </a:cubicBezTo>
                    <a:cubicBezTo>
                      <a:pt x="8" y="132"/>
                      <a:pt x="5" y="139"/>
                      <a:pt x="5" y="144"/>
                    </a:cubicBezTo>
                    <a:cubicBezTo>
                      <a:pt x="5" y="145"/>
                      <a:pt x="6" y="146"/>
                      <a:pt x="6" y="146"/>
                    </a:cubicBezTo>
                    <a:cubicBezTo>
                      <a:pt x="7" y="148"/>
                      <a:pt x="9" y="150"/>
                      <a:pt x="10" y="152"/>
                    </a:cubicBezTo>
                    <a:cubicBezTo>
                      <a:pt x="11" y="155"/>
                      <a:pt x="12" y="161"/>
                      <a:pt x="11" y="164"/>
                    </a:cubicBezTo>
                    <a:cubicBezTo>
                      <a:pt x="10" y="166"/>
                      <a:pt x="7" y="169"/>
                      <a:pt x="7" y="172"/>
                    </a:cubicBezTo>
                    <a:cubicBezTo>
                      <a:pt x="8" y="176"/>
                      <a:pt x="10" y="181"/>
                      <a:pt x="9" y="185"/>
                    </a:cubicBezTo>
                    <a:cubicBezTo>
                      <a:pt x="8" y="190"/>
                      <a:pt x="5" y="194"/>
                      <a:pt x="5" y="198"/>
                    </a:cubicBezTo>
                    <a:cubicBezTo>
                      <a:pt x="5" y="200"/>
                      <a:pt x="5" y="201"/>
                      <a:pt x="6" y="203"/>
                    </a:cubicBezTo>
                    <a:cubicBezTo>
                      <a:pt x="7" y="208"/>
                      <a:pt x="7" y="209"/>
                      <a:pt x="10" y="213"/>
                    </a:cubicBezTo>
                    <a:cubicBezTo>
                      <a:pt x="12" y="207"/>
                      <a:pt x="14" y="202"/>
                      <a:pt x="16" y="196"/>
                    </a:cubicBezTo>
                    <a:cubicBezTo>
                      <a:pt x="17" y="194"/>
                      <a:pt x="19" y="193"/>
                      <a:pt x="22" y="192"/>
                    </a:cubicBezTo>
                    <a:cubicBezTo>
                      <a:pt x="23" y="194"/>
                      <a:pt x="23" y="195"/>
                      <a:pt x="24" y="196"/>
                    </a:cubicBezTo>
                    <a:cubicBezTo>
                      <a:pt x="25" y="196"/>
                      <a:pt x="26" y="196"/>
                      <a:pt x="27" y="196"/>
                    </a:cubicBezTo>
                    <a:cubicBezTo>
                      <a:pt x="28" y="196"/>
                      <a:pt x="28" y="196"/>
                      <a:pt x="29" y="196"/>
                    </a:cubicBezTo>
                    <a:cubicBezTo>
                      <a:pt x="29" y="196"/>
                      <a:pt x="29" y="196"/>
                      <a:pt x="30" y="196"/>
                    </a:cubicBezTo>
                    <a:cubicBezTo>
                      <a:pt x="31" y="196"/>
                      <a:pt x="32" y="196"/>
                      <a:pt x="33" y="197"/>
                    </a:cubicBezTo>
                    <a:cubicBezTo>
                      <a:pt x="35" y="198"/>
                      <a:pt x="34" y="198"/>
                      <a:pt x="34" y="200"/>
                    </a:cubicBezTo>
                    <a:cubicBezTo>
                      <a:pt x="34" y="201"/>
                      <a:pt x="34" y="202"/>
                      <a:pt x="35" y="203"/>
                    </a:cubicBezTo>
                    <a:cubicBezTo>
                      <a:pt x="35" y="205"/>
                      <a:pt x="35" y="207"/>
                      <a:pt x="36" y="209"/>
                    </a:cubicBezTo>
                    <a:cubicBezTo>
                      <a:pt x="36" y="208"/>
                      <a:pt x="36" y="207"/>
                      <a:pt x="37" y="205"/>
                    </a:cubicBezTo>
                    <a:cubicBezTo>
                      <a:pt x="37" y="204"/>
                      <a:pt x="38" y="203"/>
                      <a:pt x="39" y="201"/>
                    </a:cubicBezTo>
                    <a:cubicBezTo>
                      <a:pt x="39" y="200"/>
                      <a:pt x="38" y="201"/>
                      <a:pt x="38" y="201"/>
                    </a:cubicBezTo>
                    <a:cubicBezTo>
                      <a:pt x="38" y="199"/>
                      <a:pt x="38" y="198"/>
                      <a:pt x="37" y="196"/>
                    </a:cubicBezTo>
                    <a:cubicBezTo>
                      <a:pt x="36" y="192"/>
                      <a:pt x="37" y="190"/>
                      <a:pt x="33" y="190"/>
                    </a:cubicBezTo>
                    <a:cubicBezTo>
                      <a:pt x="32" y="190"/>
                      <a:pt x="32" y="190"/>
                      <a:pt x="31" y="190"/>
                    </a:cubicBezTo>
                    <a:cubicBezTo>
                      <a:pt x="32" y="191"/>
                      <a:pt x="33" y="192"/>
                      <a:pt x="34" y="193"/>
                    </a:cubicBezTo>
                    <a:cubicBezTo>
                      <a:pt x="34" y="193"/>
                      <a:pt x="34" y="193"/>
                      <a:pt x="34" y="193"/>
                    </a:cubicBezTo>
                    <a:cubicBezTo>
                      <a:pt x="33" y="193"/>
                      <a:pt x="31" y="193"/>
                      <a:pt x="30" y="193"/>
                    </a:cubicBezTo>
                    <a:cubicBezTo>
                      <a:pt x="30" y="193"/>
                      <a:pt x="30" y="192"/>
                      <a:pt x="30" y="191"/>
                    </a:cubicBezTo>
                    <a:cubicBezTo>
                      <a:pt x="30" y="189"/>
                      <a:pt x="30" y="190"/>
                      <a:pt x="29" y="189"/>
                    </a:cubicBezTo>
                    <a:cubicBezTo>
                      <a:pt x="29" y="186"/>
                      <a:pt x="28" y="182"/>
                      <a:pt x="26" y="180"/>
                    </a:cubicBezTo>
                    <a:cubicBezTo>
                      <a:pt x="22" y="176"/>
                      <a:pt x="16" y="169"/>
                      <a:pt x="19" y="163"/>
                    </a:cubicBezTo>
                    <a:cubicBezTo>
                      <a:pt x="21" y="157"/>
                      <a:pt x="23" y="150"/>
                      <a:pt x="25" y="144"/>
                    </a:cubicBezTo>
                    <a:cubicBezTo>
                      <a:pt x="26" y="141"/>
                      <a:pt x="27" y="134"/>
                      <a:pt x="30" y="132"/>
                    </a:cubicBezTo>
                    <a:cubicBezTo>
                      <a:pt x="32" y="130"/>
                      <a:pt x="37" y="130"/>
                      <a:pt x="40" y="130"/>
                    </a:cubicBezTo>
                    <a:cubicBezTo>
                      <a:pt x="38" y="129"/>
                      <a:pt x="35" y="130"/>
                      <a:pt x="35" y="128"/>
                    </a:cubicBezTo>
                    <a:cubicBezTo>
                      <a:pt x="37" y="129"/>
                      <a:pt x="39" y="129"/>
                      <a:pt x="41" y="129"/>
                    </a:cubicBezTo>
                    <a:cubicBezTo>
                      <a:pt x="40" y="130"/>
                      <a:pt x="40" y="130"/>
                      <a:pt x="40" y="130"/>
                    </a:cubicBezTo>
                    <a:cubicBezTo>
                      <a:pt x="43" y="131"/>
                      <a:pt x="46" y="130"/>
                      <a:pt x="49" y="133"/>
                    </a:cubicBezTo>
                    <a:cubicBezTo>
                      <a:pt x="51" y="134"/>
                      <a:pt x="51" y="135"/>
                      <a:pt x="53" y="136"/>
                    </a:cubicBezTo>
                    <a:cubicBezTo>
                      <a:pt x="54" y="138"/>
                      <a:pt x="55" y="138"/>
                      <a:pt x="56" y="140"/>
                    </a:cubicBezTo>
                    <a:cubicBezTo>
                      <a:pt x="58" y="141"/>
                      <a:pt x="58" y="143"/>
                      <a:pt x="59" y="144"/>
                    </a:cubicBezTo>
                    <a:cubicBezTo>
                      <a:pt x="59" y="144"/>
                      <a:pt x="60" y="143"/>
                      <a:pt x="60" y="143"/>
                    </a:cubicBezTo>
                    <a:cubicBezTo>
                      <a:pt x="60" y="140"/>
                      <a:pt x="57" y="139"/>
                      <a:pt x="55" y="138"/>
                    </a:cubicBezTo>
                    <a:cubicBezTo>
                      <a:pt x="54" y="137"/>
                      <a:pt x="53" y="135"/>
                      <a:pt x="52" y="133"/>
                    </a:cubicBezTo>
                    <a:cubicBezTo>
                      <a:pt x="52" y="131"/>
                      <a:pt x="51" y="130"/>
                      <a:pt x="51" y="128"/>
                    </a:cubicBezTo>
                    <a:cubicBezTo>
                      <a:pt x="50" y="127"/>
                      <a:pt x="51" y="125"/>
                      <a:pt x="50" y="124"/>
                    </a:cubicBezTo>
                    <a:cubicBezTo>
                      <a:pt x="50" y="124"/>
                      <a:pt x="49" y="123"/>
                      <a:pt x="49" y="122"/>
                    </a:cubicBezTo>
                    <a:cubicBezTo>
                      <a:pt x="45" y="109"/>
                      <a:pt x="41" y="96"/>
                      <a:pt x="38" y="83"/>
                    </a:cubicBezTo>
                    <a:cubicBezTo>
                      <a:pt x="37" y="80"/>
                      <a:pt x="36" y="81"/>
                      <a:pt x="35" y="79"/>
                    </a:cubicBezTo>
                    <a:cubicBezTo>
                      <a:pt x="34" y="78"/>
                      <a:pt x="36" y="76"/>
                      <a:pt x="35" y="75"/>
                    </a:cubicBezTo>
                    <a:cubicBezTo>
                      <a:pt x="35" y="74"/>
                      <a:pt x="34" y="72"/>
                      <a:pt x="34" y="72"/>
                    </a:cubicBezTo>
                    <a:cubicBezTo>
                      <a:pt x="34" y="72"/>
                      <a:pt x="34" y="72"/>
                      <a:pt x="34" y="72"/>
                    </a:cubicBezTo>
                    <a:cubicBezTo>
                      <a:pt x="33" y="72"/>
                      <a:pt x="34" y="73"/>
                      <a:pt x="33" y="73"/>
                    </a:cubicBezTo>
                    <a:cubicBezTo>
                      <a:pt x="33" y="74"/>
                      <a:pt x="34" y="75"/>
                      <a:pt x="33" y="75"/>
                    </a:cubicBezTo>
                    <a:cubicBezTo>
                      <a:pt x="33" y="75"/>
                      <a:pt x="33" y="75"/>
                      <a:pt x="33" y="75"/>
                    </a:cubicBezTo>
                    <a:cubicBezTo>
                      <a:pt x="31" y="74"/>
                      <a:pt x="31" y="72"/>
                      <a:pt x="31" y="70"/>
                    </a:cubicBezTo>
                    <a:cubicBezTo>
                      <a:pt x="30" y="67"/>
                      <a:pt x="28" y="62"/>
                      <a:pt x="29" y="59"/>
                    </a:cubicBezTo>
                    <a:cubicBezTo>
                      <a:pt x="30" y="59"/>
                      <a:pt x="30" y="59"/>
                      <a:pt x="30" y="59"/>
                    </a:cubicBezTo>
                    <a:cubicBezTo>
                      <a:pt x="30" y="57"/>
                      <a:pt x="29" y="54"/>
                      <a:pt x="30" y="52"/>
                    </a:cubicBezTo>
                    <a:cubicBezTo>
                      <a:pt x="32" y="48"/>
                      <a:pt x="32" y="46"/>
                      <a:pt x="32" y="42"/>
                    </a:cubicBezTo>
                    <a:cubicBezTo>
                      <a:pt x="32" y="38"/>
                      <a:pt x="29" y="35"/>
                      <a:pt x="29" y="31"/>
                    </a:cubicBezTo>
                    <a:cubicBezTo>
                      <a:pt x="29" y="30"/>
                      <a:pt x="28" y="27"/>
                      <a:pt x="30" y="27"/>
                    </a:cubicBezTo>
                    <a:cubicBezTo>
                      <a:pt x="30" y="27"/>
                      <a:pt x="30" y="27"/>
                      <a:pt x="30" y="27"/>
                    </a:cubicBezTo>
                    <a:cubicBezTo>
                      <a:pt x="32" y="28"/>
                      <a:pt x="30" y="30"/>
                      <a:pt x="30" y="31"/>
                    </a:cubicBezTo>
                    <a:cubicBezTo>
                      <a:pt x="30" y="32"/>
                      <a:pt x="32" y="32"/>
                      <a:pt x="32" y="34"/>
                    </a:cubicBezTo>
                    <a:cubicBezTo>
                      <a:pt x="33" y="36"/>
                      <a:pt x="33" y="38"/>
                      <a:pt x="34" y="40"/>
                    </a:cubicBezTo>
                    <a:cubicBezTo>
                      <a:pt x="33" y="34"/>
                      <a:pt x="32" y="29"/>
                      <a:pt x="30" y="24"/>
                    </a:cubicBezTo>
                    <a:cubicBezTo>
                      <a:pt x="28" y="21"/>
                      <a:pt x="27" y="18"/>
                      <a:pt x="25" y="15"/>
                    </a:cubicBezTo>
                    <a:cubicBezTo>
                      <a:pt x="24" y="14"/>
                      <a:pt x="25" y="13"/>
                      <a:pt x="26" y="12"/>
                    </a:cubicBezTo>
                    <a:cubicBezTo>
                      <a:pt x="26" y="10"/>
                      <a:pt x="27" y="8"/>
                      <a:pt x="27" y="7"/>
                    </a:cubicBezTo>
                    <a:cubicBezTo>
                      <a:pt x="26" y="6"/>
                      <a:pt x="25" y="4"/>
                      <a:pt x="24" y="3"/>
                    </a:cubicBezTo>
                    <a:cubicBezTo>
                      <a:pt x="23" y="2"/>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273"/>
              <p:cNvSpPr/>
              <p:nvPr/>
            </p:nvSpPr>
            <p:spPr bwMode="auto">
              <a:xfrm>
                <a:off x="4965" y="-1524"/>
                <a:ext cx="146" cy="36"/>
              </a:xfrm>
              <a:custGeom>
                <a:gdLst>
                  <a:gd name="T0" fmla="*/ 27 w 62"/>
                  <a:gd name="T1" fmla="*/ 0 h 15"/>
                  <a:gd name="T2" fmla="*/ 19 w 62"/>
                  <a:gd name="T3" fmla="*/ 0 h 15"/>
                  <a:gd name="T4" fmla="*/ 0 w 62"/>
                  <a:gd name="T5" fmla="*/ 0 h 15"/>
                  <a:gd name="T6" fmla="*/ 3 w 62"/>
                  <a:gd name="T7" fmla="*/ 1 h 15"/>
                  <a:gd name="T8" fmla="*/ 4 w 62"/>
                  <a:gd name="T9" fmla="*/ 1 h 15"/>
                  <a:gd name="T10" fmla="*/ 5 w 62"/>
                  <a:gd name="T11" fmla="*/ 1 h 15"/>
                  <a:gd name="T12" fmla="*/ 6 w 62"/>
                  <a:gd name="T13" fmla="*/ 1 h 15"/>
                  <a:gd name="T14" fmla="*/ 10 w 62"/>
                  <a:gd name="T15" fmla="*/ 3 h 15"/>
                  <a:gd name="T16" fmla="*/ 11 w 62"/>
                  <a:gd name="T17" fmla="*/ 4 h 15"/>
                  <a:gd name="T18" fmla="*/ 14 w 62"/>
                  <a:gd name="T19" fmla="*/ 3 h 15"/>
                  <a:gd name="T20" fmla="*/ 16 w 62"/>
                  <a:gd name="T21" fmla="*/ 3 h 15"/>
                  <a:gd name="T22" fmla="*/ 18 w 62"/>
                  <a:gd name="T23" fmla="*/ 3 h 15"/>
                  <a:gd name="T24" fmla="*/ 22 w 62"/>
                  <a:gd name="T25" fmla="*/ 6 h 15"/>
                  <a:gd name="T26" fmla="*/ 29 w 62"/>
                  <a:gd name="T27" fmla="*/ 8 h 15"/>
                  <a:gd name="T28" fmla="*/ 37 w 62"/>
                  <a:gd name="T29" fmla="*/ 9 h 15"/>
                  <a:gd name="T30" fmla="*/ 45 w 62"/>
                  <a:gd name="T31" fmla="*/ 12 h 15"/>
                  <a:gd name="T32" fmla="*/ 49 w 62"/>
                  <a:gd name="T33" fmla="*/ 15 h 15"/>
                  <a:gd name="T34" fmla="*/ 51 w 62"/>
                  <a:gd name="T35" fmla="*/ 15 h 15"/>
                  <a:gd name="T36" fmla="*/ 62 w 62"/>
                  <a:gd name="T37" fmla="*/ 11 h 15"/>
                  <a:gd name="T38" fmla="*/ 33 w 62"/>
                  <a:gd name="T39" fmla="*/ 0 h 15"/>
                  <a:gd name="T40" fmla="*/ 27 w 62"/>
                  <a:gd name="T41"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15">
                    <a:moveTo>
                      <a:pt x="27" y="0"/>
                    </a:moveTo>
                    <a:cubicBezTo>
                      <a:pt x="24" y="0"/>
                      <a:pt x="22" y="0"/>
                      <a:pt x="19" y="0"/>
                    </a:cubicBezTo>
                    <a:cubicBezTo>
                      <a:pt x="12" y="0"/>
                      <a:pt x="6" y="0"/>
                      <a:pt x="0" y="0"/>
                    </a:cubicBezTo>
                    <a:cubicBezTo>
                      <a:pt x="1" y="1"/>
                      <a:pt x="2" y="1"/>
                      <a:pt x="3" y="1"/>
                    </a:cubicBezTo>
                    <a:cubicBezTo>
                      <a:pt x="3" y="1"/>
                      <a:pt x="4" y="1"/>
                      <a:pt x="4" y="1"/>
                    </a:cubicBezTo>
                    <a:cubicBezTo>
                      <a:pt x="4" y="1"/>
                      <a:pt x="5" y="1"/>
                      <a:pt x="5" y="1"/>
                    </a:cubicBezTo>
                    <a:cubicBezTo>
                      <a:pt x="6" y="1"/>
                      <a:pt x="6" y="1"/>
                      <a:pt x="6" y="1"/>
                    </a:cubicBezTo>
                    <a:cubicBezTo>
                      <a:pt x="8" y="2"/>
                      <a:pt x="8" y="3"/>
                      <a:pt x="10" y="3"/>
                    </a:cubicBezTo>
                    <a:cubicBezTo>
                      <a:pt x="10" y="4"/>
                      <a:pt x="11" y="4"/>
                      <a:pt x="11" y="4"/>
                    </a:cubicBezTo>
                    <a:cubicBezTo>
                      <a:pt x="12" y="4"/>
                      <a:pt x="13" y="3"/>
                      <a:pt x="14" y="3"/>
                    </a:cubicBezTo>
                    <a:cubicBezTo>
                      <a:pt x="15" y="3"/>
                      <a:pt x="16" y="3"/>
                      <a:pt x="16" y="3"/>
                    </a:cubicBezTo>
                    <a:cubicBezTo>
                      <a:pt x="17" y="3"/>
                      <a:pt x="17" y="3"/>
                      <a:pt x="18" y="3"/>
                    </a:cubicBezTo>
                    <a:cubicBezTo>
                      <a:pt x="19" y="4"/>
                      <a:pt x="19" y="6"/>
                      <a:pt x="22" y="6"/>
                    </a:cubicBezTo>
                    <a:cubicBezTo>
                      <a:pt x="25" y="7"/>
                      <a:pt x="26" y="8"/>
                      <a:pt x="29" y="8"/>
                    </a:cubicBezTo>
                    <a:cubicBezTo>
                      <a:pt x="31" y="9"/>
                      <a:pt x="34" y="9"/>
                      <a:pt x="37" y="9"/>
                    </a:cubicBezTo>
                    <a:cubicBezTo>
                      <a:pt x="40" y="10"/>
                      <a:pt x="42" y="10"/>
                      <a:pt x="45" y="12"/>
                    </a:cubicBezTo>
                    <a:cubicBezTo>
                      <a:pt x="46" y="13"/>
                      <a:pt x="48" y="15"/>
                      <a:pt x="49" y="15"/>
                    </a:cubicBezTo>
                    <a:cubicBezTo>
                      <a:pt x="50" y="15"/>
                      <a:pt x="50" y="15"/>
                      <a:pt x="51" y="15"/>
                    </a:cubicBezTo>
                    <a:cubicBezTo>
                      <a:pt x="54" y="15"/>
                      <a:pt x="60" y="13"/>
                      <a:pt x="62" y="11"/>
                    </a:cubicBezTo>
                    <a:cubicBezTo>
                      <a:pt x="53" y="7"/>
                      <a:pt x="43" y="3"/>
                      <a:pt x="33" y="0"/>
                    </a:cubicBezTo>
                    <a:cubicBezTo>
                      <a:pt x="31" y="0"/>
                      <a:pt x="29"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274"/>
              <p:cNvSpPr/>
              <p:nvPr/>
            </p:nvSpPr>
            <p:spPr bwMode="auto">
              <a:xfrm>
                <a:off x="5026" y="-1455"/>
                <a:ext cx="62" cy="33"/>
              </a:xfrm>
              <a:custGeom>
                <a:gdLst>
                  <a:gd name="T0" fmla="*/ 17 w 26"/>
                  <a:gd name="T1" fmla="*/ 0 h 14"/>
                  <a:gd name="T2" fmla="*/ 8 w 26"/>
                  <a:gd name="T3" fmla="*/ 2 h 14"/>
                  <a:gd name="T4" fmla="*/ 0 w 26"/>
                  <a:gd name="T5" fmla="*/ 11 h 14"/>
                  <a:gd name="T6" fmla="*/ 7 w 26"/>
                  <a:gd name="T7" fmla="*/ 13 h 14"/>
                  <a:gd name="T8" fmla="*/ 9 w 26"/>
                  <a:gd name="T9" fmla="*/ 13 h 14"/>
                  <a:gd name="T10" fmla="*/ 12 w 26"/>
                  <a:gd name="T11" fmla="*/ 13 h 14"/>
                  <a:gd name="T12" fmla="*/ 14 w 26"/>
                  <a:gd name="T13" fmla="*/ 13 h 14"/>
                  <a:gd name="T14" fmla="*/ 20 w 26"/>
                  <a:gd name="T15" fmla="*/ 14 h 14"/>
                  <a:gd name="T16" fmla="*/ 24 w 26"/>
                  <a:gd name="T17" fmla="*/ 12 h 14"/>
                  <a:gd name="T18" fmla="*/ 25 w 26"/>
                  <a:gd name="T19" fmla="*/ 3 h 14"/>
                  <a:gd name="T20" fmla="*/ 20 w 26"/>
                  <a:gd name="T21" fmla="*/ 0 h 14"/>
                  <a:gd name="T22" fmla="*/ 17 w 26"/>
                  <a:gd name="T23"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4">
                    <a:moveTo>
                      <a:pt x="17" y="0"/>
                    </a:moveTo>
                    <a:cubicBezTo>
                      <a:pt x="14" y="0"/>
                      <a:pt x="10" y="1"/>
                      <a:pt x="8" y="2"/>
                    </a:cubicBezTo>
                    <a:cubicBezTo>
                      <a:pt x="5" y="3"/>
                      <a:pt x="2" y="8"/>
                      <a:pt x="0" y="11"/>
                    </a:cubicBezTo>
                    <a:cubicBezTo>
                      <a:pt x="2" y="13"/>
                      <a:pt x="4" y="13"/>
                      <a:pt x="7" y="13"/>
                    </a:cubicBezTo>
                    <a:cubicBezTo>
                      <a:pt x="8" y="13"/>
                      <a:pt x="9" y="13"/>
                      <a:pt x="9" y="13"/>
                    </a:cubicBezTo>
                    <a:cubicBezTo>
                      <a:pt x="10" y="13"/>
                      <a:pt x="11" y="13"/>
                      <a:pt x="12" y="13"/>
                    </a:cubicBezTo>
                    <a:cubicBezTo>
                      <a:pt x="13" y="13"/>
                      <a:pt x="13" y="13"/>
                      <a:pt x="14" y="13"/>
                    </a:cubicBezTo>
                    <a:cubicBezTo>
                      <a:pt x="15" y="13"/>
                      <a:pt x="17" y="14"/>
                      <a:pt x="20" y="14"/>
                    </a:cubicBezTo>
                    <a:cubicBezTo>
                      <a:pt x="21" y="14"/>
                      <a:pt x="23" y="13"/>
                      <a:pt x="24" y="12"/>
                    </a:cubicBezTo>
                    <a:cubicBezTo>
                      <a:pt x="26" y="11"/>
                      <a:pt x="26" y="4"/>
                      <a:pt x="25" y="3"/>
                    </a:cubicBezTo>
                    <a:cubicBezTo>
                      <a:pt x="24" y="1"/>
                      <a:pt x="22" y="1"/>
                      <a:pt x="20" y="0"/>
                    </a:cubicBezTo>
                    <a:cubicBezTo>
                      <a:pt x="19" y="0"/>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275"/>
              <p:cNvSpPr>
                <a:spLocks noEditPoints="1"/>
              </p:cNvSpPr>
              <p:nvPr/>
            </p:nvSpPr>
            <p:spPr bwMode="auto">
              <a:xfrm>
                <a:off x="4828" y="-791"/>
                <a:ext cx="281" cy="234"/>
              </a:xfrm>
              <a:custGeom>
                <a:gdLst>
                  <a:gd name="T0" fmla="*/ 19 w 119"/>
                  <a:gd name="T1" fmla="*/ 22 h 99"/>
                  <a:gd name="T2" fmla="*/ 45 w 119"/>
                  <a:gd name="T3" fmla="*/ 3 h 99"/>
                  <a:gd name="T4" fmla="*/ 33 w 119"/>
                  <a:gd name="T5" fmla="*/ 13 h 99"/>
                  <a:gd name="T6" fmla="*/ 31 w 119"/>
                  <a:gd name="T7" fmla="*/ 16 h 99"/>
                  <a:gd name="T8" fmla="*/ 21 w 119"/>
                  <a:gd name="T9" fmla="*/ 20 h 99"/>
                  <a:gd name="T10" fmla="*/ 28 w 119"/>
                  <a:gd name="T11" fmla="*/ 25 h 99"/>
                  <a:gd name="T12" fmla="*/ 31 w 119"/>
                  <a:gd name="T13" fmla="*/ 25 h 99"/>
                  <a:gd name="T14" fmla="*/ 25 w 119"/>
                  <a:gd name="T15" fmla="*/ 29 h 99"/>
                  <a:gd name="T16" fmla="*/ 31 w 119"/>
                  <a:gd name="T17" fmla="*/ 28 h 99"/>
                  <a:gd name="T18" fmla="*/ 25 w 119"/>
                  <a:gd name="T19" fmla="*/ 31 h 99"/>
                  <a:gd name="T20" fmla="*/ 21 w 119"/>
                  <a:gd name="T21" fmla="*/ 39 h 99"/>
                  <a:gd name="T22" fmla="*/ 19 w 119"/>
                  <a:gd name="T23" fmla="*/ 41 h 99"/>
                  <a:gd name="T24" fmla="*/ 19 w 119"/>
                  <a:gd name="T25" fmla="*/ 46 h 99"/>
                  <a:gd name="T26" fmla="*/ 9 w 119"/>
                  <a:gd name="T27" fmla="*/ 44 h 99"/>
                  <a:gd name="T28" fmla="*/ 0 w 119"/>
                  <a:gd name="T29" fmla="*/ 55 h 99"/>
                  <a:gd name="T30" fmla="*/ 15 w 119"/>
                  <a:gd name="T31" fmla="*/ 64 h 99"/>
                  <a:gd name="T32" fmla="*/ 19 w 119"/>
                  <a:gd name="T33" fmla="*/ 64 h 99"/>
                  <a:gd name="T34" fmla="*/ 28 w 119"/>
                  <a:gd name="T35" fmla="*/ 70 h 99"/>
                  <a:gd name="T36" fmla="*/ 32 w 119"/>
                  <a:gd name="T37" fmla="*/ 67 h 99"/>
                  <a:gd name="T38" fmla="*/ 36 w 119"/>
                  <a:gd name="T39" fmla="*/ 69 h 99"/>
                  <a:gd name="T40" fmla="*/ 42 w 119"/>
                  <a:gd name="T41" fmla="*/ 71 h 99"/>
                  <a:gd name="T42" fmla="*/ 39 w 119"/>
                  <a:gd name="T43" fmla="*/ 75 h 99"/>
                  <a:gd name="T44" fmla="*/ 48 w 119"/>
                  <a:gd name="T45" fmla="*/ 82 h 99"/>
                  <a:gd name="T46" fmla="*/ 42 w 119"/>
                  <a:gd name="T47" fmla="*/ 82 h 99"/>
                  <a:gd name="T48" fmla="*/ 41 w 119"/>
                  <a:gd name="T49" fmla="*/ 83 h 99"/>
                  <a:gd name="T50" fmla="*/ 43 w 119"/>
                  <a:gd name="T51" fmla="*/ 90 h 99"/>
                  <a:gd name="T52" fmla="*/ 36 w 119"/>
                  <a:gd name="T53" fmla="*/ 89 h 99"/>
                  <a:gd name="T54" fmla="*/ 62 w 119"/>
                  <a:gd name="T55" fmla="*/ 96 h 99"/>
                  <a:gd name="T56" fmla="*/ 66 w 119"/>
                  <a:gd name="T57" fmla="*/ 96 h 99"/>
                  <a:gd name="T58" fmla="*/ 73 w 119"/>
                  <a:gd name="T59" fmla="*/ 97 h 99"/>
                  <a:gd name="T60" fmla="*/ 78 w 119"/>
                  <a:gd name="T61" fmla="*/ 94 h 99"/>
                  <a:gd name="T62" fmla="*/ 87 w 119"/>
                  <a:gd name="T63" fmla="*/ 99 h 99"/>
                  <a:gd name="T64" fmla="*/ 97 w 119"/>
                  <a:gd name="T65" fmla="*/ 99 h 99"/>
                  <a:gd name="T66" fmla="*/ 92 w 119"/>
                  <a:gd name="T67" fmla="*/ 94 h 99"/>
                  <a:gd name="T68" fmla="*/ 102 w 119"/>
                  <a:gd name="T69" fmla="*/ 95 h 99"/>
                  <a:gd name="T70" fmla="*/ 115 w 119"/>
                  <a:gd name="T71" fmla="*/ 95 h 99"/>
                  <a:gd name="T72" fmla="*/ 112 w 119"/>
                  <a:gd name="T73" fmla="*/ 91 h 99"/>
                  <a:gd name="T74" fmla="*/ 79 w 119"/>
                  <a:gd name="T75" fmla="*/ 58 h 99"/>
                  <a:gd name="T76" fmla="*/ 76 w 119"/>
                  <a:gd name="T77" fmla="*/ 46 h 99"/>
                  <a:gd name="T78" fmla="*/ 76 w 119"/>
                  <a:gd name="T79" fmla="*/ 34 h 99"/>
                  <a:gd name="T80" fmla="*/ 77 w 119"/>
                  <a:gd name="T81" fmla="*/ 29 h 99"/>
                  <a:gd name="T82" fmla="*/ 77 w 119"/>
                  <a:gd name="T83" fmla="*/ 29 h 99"/>
                  <a:gd name="T84" fmla="*/ 85 w 119"/>
                  <a:gd name="T85" fmla="*/ 25 h 99"/>
                  <a:gd name="T86" fmla="*/ 77 w 119"/>
                  <a:gd name="T87" fmla="*/ 21 h 99"/>
                  <a:gd name="T88" fmla="*/ 82 w 119"/>
                  <a:gd name="T89" fmla="*/ 21 h 99"/>
                  <a:gd name="T90" fmla="*/ 87 w 119"/>
                  <a:gd name="T91" fmla="*/ 21 h 99"/>
                  <a:gd name="T92" fmla="*/ 92 w 119"/>
                  <a:gd name="T93" fmla="*/ 16 h 99"/>
                  <a:gd name="T94" fmla="*/ 87 w 119"/>
                  <a:gd name="T95" fmla="*/ 15 h 99"/>
                  <a:gd name="T96" fmla="*/ 89 w 119"/>
                  <a:gd name="T97" fmla="*/ 13 h 99"/>
                  <a:gd name="T98" fmla="*/ 93 w 119"/>
                  <a:gd name="T99" fmla="*/ 13 h 99"/>
                  <a:gd name="T100" fmla="*/ 87 w 119"/>
                  <a:gd name="T101" fmla="*/ 11 h 99"/>
                  <a:gd name="T102" fmla="*/ 99 w 119"/>
                  <a:gd name="T103" fmla="*/ 8 h 99"/>
                  <a:gd name="T104" fmla="*/ 59 w 119"/>
                  <a:gd name="T105" fmla="*/ 0 h 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9" h="99">
                    <a:moveTo>
                      <a:pt x="19" y="22"/>
                    </a:moveTo>
                    <a:cubicBezTo>
                      <a:pt x="19" y="22"/>
                      <a:pt x="19" y="22"/>
                      <a:pt x="19" y="22"/>
                    </a:cubicBezTo>
                    <a:cubicBezTo>
                      <a:pt x="19" y="22"/>
                      <a:pt x="19" y="22"/>
                      <a:pt x="19" y="22"/>
                    </a:cubicBezTo>
                    <a:moveTo>
                      <a:pt x="59" y="0"/>
                    </a:moveTo>
                    <a:cubicBezTo>
                      <a:pt x="59" y="0"/>
                      <a:pt x="59" y="0"/>
                      <a:pt x="59" y="0"/>
                    </a:cubicBezTo>
                    <a:cubicBezTo>
                      <a:pt x="54" y="1"/>
                      <a:pt x="49" y="2"/>
                      <a:pt x="45" y="3"/>
                    </a:cubicBezTo>
                    <a:cubicBezTo>
                      <a:pt x="42" y="4"/>
                      <a:pt x="35" y="4"/>
                      <a:pt x="33" y="8"/>
                    </a:cubicBezTo>
                    <a:cubicBezTo>
                      <a:pt x="33" y="9"/>
                      <a:pt x="33" y="10"/>
                      <a:pt x="34" y="11"/>
                    </a:cubicBezTo>
                    <a:cubicBezTo>
                      <a:pt x="35" y="13"/>
                      <a:pt x="33" y="12"/>
                      <a:pt x="33" y="13"/>
                    </a:cubicBezTo>
                    <a:cubicBezTo>
                      <a:pt x="33" y="15"/>
                      <a:pt x="35" y="17"/>
                      <a:pt x="34" y="17"/>
                    </a:cubicBezTo>
                    <a:cubicBezTo>
                      <a:pt x="34" y="17"/>
                      <a:pt x="33" y="17"/>
                      <a:pt x="33" y="17"/>
                    </a:cubicBezTo>
                    <a:cubicBezTo>
                      <a:pt x="32" y="16"/>
                      <a:pt x="31" y="16"/>
                      <a:pt x="31" y="16"/>
                    </a:cubicBezTo>
                    <a:cubicBezTo>
                      <a:pt x="30" y="16"/>
                      <a:pt x="29" y="16"/>
                      <a:pt x="28" y="17"/>
                    </a:cubicBezTo>
                    <a:cubicBezTo>
                      <a:pt x="27" y="17"/>
                      <a:pt x="25" y="18"/>
                      <a:pt x="24" y="18"/>
                    </a:cubicBezTo>
                    <a:cubicBezTo>
                      <a:pt x="23" y="18"/>
                      <a:pt x="22" y="20"/>
                      <a:pt x="21" y="20"/>
                    </a:cubicBezTo>
                    <a:cubicBezTo>
                      <a:pt x="21" y="20"/>
                      <a:pt x="19" y="22"/>
                      <a:pt x="19" y="22"/>
                    </a:cubicBezTo>
                    <a:cubicBezTo>
                      <a:pt x="19" y="22"/>
                      <a:pt x="19" y="22"/>
                      <a:pt x="19" y="22"/>
                    </a:cubicBezTo>
                    <a:cubicBezTo>
                      <a:pt x="19" y="24"/>
                      <a:pt x="26" y="25"/>
                      <a:pt x="28" y="25"/>
                    </a:cubicBezTo>
                    <a:cubicBezTo>
                      <a:pt x="30" y="25"/>
                      <a:pt x="32" y="25"/>
                      <a:pt x="33" y="26"/>
                    </a:cubicBezTo>
                    <a:cubicBezTo>
                      <a:pt x="33" y="26"/>
                      <a:pt x="33" y="26"/>
                      <a:pt x="33" y="26"/>
                    </a:cubicBezTo>
                    <a:cubicBezTo>
                      <a:pt x="33" y="26"/>
                      <a:pt x="32" y="26"/>
                      <a:pt x="31" y="25"/>
                    </a:cubicBezTo>
                    <a:cubicBezTo>
                      <a:pt x="31" y="25"/>
                      <a:pt x="30" y="25"/>
                      <a:pt x="29" y="25"/>
                    </a:cubicBezTo>
                    <a:cubicBezTo>
                      <a:pt x="29" y="25"/>
                      <a:pt x="28" y="25"/>
                      <a:pt x="27" y="26"/>
                    </a:cubicBezTo>
                    <a:cubicBezTo>
                      <a:pt x="25" y="27"/>
                      <a:pt x="26" y="27"/>
                      <a:pt x="25" y="29"/>
                    </a:cubicBezTo>
                    <a:cubicBezTo>
                      <a:pt x="26" y="29"/>
                      <a:pt x="26" y="29"/>
                      <a:pt x="26" y="29"/>
                    </a:cubicBezTo>
                    <a:cubicBezTo>
                      <a:pt x="27" y="29"/>
                      <a:pt x="28" y="28"/>
                      <a:pt x="29" y="28"/>
                    </a:cubicBezTo>
                    <a:cubicBezTo>
                      <a:pt x="29" y="28"/>
                      <a:pt x="30" y="28"/>
                      <a:pt x="31" y="28"/>
                    </a:cubicBezTo>
                    <a:cubicBezTo>
                      <a:pt x="31" y="28"/>
                      <a:pt x="31" y="28"/>
                      <a:pt x="31" y="28"/>
                    </a:cubicBezTo>
                    <a:cubicBezTo>
                      <a:pt x="31" y="28"/>
                      <a:pt x="29" y="30"/>
                      <a:pt x="28" y="30"/>
                    </a:cubicBezTo>
                    <a:cubicBezTo>
                      <a:pt x="25" y="31"/>
                      <a:pt x="25" y="31"/>
                      <a:pt x="25" y="31"/>
                    </a:cubicBezTo>
                    <a:cubicBezTo>
                      <a:pt x="23" y="33"/>
                      <a:pt x="25" y="34"/>
                      <a:pt x="25" y="37"/>
                    </a:cubicBezTo>
                    <a:cubicBezTo>
                      <a:pt x="24" y="36"/>
                      <a:pt x="23" y="36"/>
                      <a:pt x="23" y="36"/>
                    </a:cubicBezTo>
                    <a:cubicBezTo>
                      <a:pt x="25" y="39"/>
                      <a:pt x="23" y="39"/>
                      <a:pt x="21" y="39"/>
                    </a:cubicBezTo>
                    <a:cubicBezTo>
                      <a:pt x="20" y="39"/>
                      <a:pt x="20" y="39"/>
                      <a:pt x="19" y="39"/>
                    </a:cubicBezTo>
                    <a:cubicBezTo>
                      <a:pt x="19" y="40"/>
                      <a:pt x="20" y="41"/>
                      <a:pt x="20" y="41"/>
                    </a:cubicBezTo>
                    <a:cubicBezTo>
                      <a:pt x="20" y="41"/>
                      <a:pt x="20" y="41"/>
                      <a:pt x="19" y="41"/>
                    </a:cubicBezTo>
                    <a:cubicBezTo>
                      <a:pt x="19" y="41"/>
                      <a:pt x="20" y="43"/>
                      <a:pt x="20" y="44"/>
                    </a:cubicBezTo>
                    <a:cubicBezTo>
                      <a:pt x="20" y="43"/>
                      <a:pt x="19" y="43"/>
                      <a:pt x="19" y="43"/>
                    </a:cubicBezTo>
                    <a:cubicBezTo>
                      <a:pt x="18" y="43"/>
                      <a:pt x="19" y="45"/>
                      <a:pt x="19" y="46"/>
                    </a:cubicBezTo>
                    <a:cubicBezTo>
                      <a:pt x="18" y="47"/>
                      <a:pt x="18" y="47"/>
                      <a:pt x="18" y="47"/>
                    </a:cubicBezTo>
                    <a:cubicBezTo>
                      <a:pt x="17" y="47"/>
                      <a:pt x="16" y="46"/>
                      <a:pt x="15" y="46"/>
                    </a:cubicBezTo>
                    <a:cubicBezTo>
                      <a:pt x="13" y="46"/>
                      <a:pt x="12" y="46"/>
                      <a:pt x="9" y="44"/>
                    </a:cubicBezTo>
                    <a:cubicBezTo>
                      <a:pt x="9" y="44"/>
                      <a:pt x="9" y="44"/>
                      <a:pt x="8" y="44"/>
                    </a:cubicBezTo>
                    <a:cubicBezTo>
                      <a:pt x="7" y="44"/>
                      <a:pt x="5" y="45"/>
                      <a:pt x="4" y="46"/>
                    </a:cubicBezTo>
                    <a:cubicBezTo>
                      <a:pt x="2" y="48"/>
                      <a:pt x="0" y="52"/>
                      <a:pt x="0" y="55"/>
                    </a:cubicBezTo>
                    <a:cubicBezTo>
                      <a:pt x="0" y="58"/>
                      <a:pt x="4" y="62"/>
                      <a:pt x="2" y="64"/>
                    </a:cubicBezTo>
                    <a:cubicBezTo>
                      <a:pt x="4" y="64"/>
                      <a:pt x="5" y="65"/>
                      <a:pt x="7" y="65"/>
                    </a:cubicBezTo>
                    <a:cubicBezTo>
                      <a:pt x="9" y="65"/>
                      <a:pt x="12" y="64"/>
                      <a:pt x="15" y="64"/>
                    </a:cubicBezTo>
                    <a:cubicBezTo>
                      <a:pt x="15" y="64"/>
                      <a:pt x="15" y="64"/>
                      <a:pt x="15" y="64"/>
                    </a:cubicBezTo>
                    <a:cubicBezTo>
                      <a:pt x="16" y="64"/>
                      <a:pt x="16" y="64"/>
                      <a:pt x="17" y="64"/>
                    </a:cubicBezTo>
                    <a:cubicBezTo>
                      <a:pt x="18" y="64"/>
                      <a:pt x="18" y="64"/>
                      <a:pt x="19" y="64"/>
                    </a:cubicBezTo>
                    <a:cubicBezTo>
                      <a:pt x="20" y="64"/>
                      <a:pt x="21" y="64"/>
                      <a:pt x="21" y="62"/>
                    </a:cubicBezTo>
                    <a:cubicBezTo>
                      <a:pt x="23" y="64"/>
                      <a:pt x="22" y="67"/>
                      <a:pt x="23" y="68"/>
                    </a:cubicBezTo>
                    <a:cubicBezTo>
                      <a:pt x="24" y="68"/>
                      <a:pt x="27" y="70"/>
                      <a:pt x="28" y="70"/>
                    </a:cubicBezTo>
                    <a:cubicBezTo>
                      <a:pt x="28" y="70"/>
                      <a:pt x="28" y="70"/>
                      <a:pt x="28" y="70"/>
                    </a:cubicBezTo>
                    <a:cubicBezTo>
                      <a:pt x="30" y="70"/>
                      <a:pt x="30" y="67"/>
                      <a:pt x="32" y="67"/>
                    </a:cubicBezTo>
                    <a:cubicBezTo>
                      <a:pt x="32" y="67"/>
                      <a:pt x="32" y="67"/>
                      <a:pt x="32" y="67"/>
                    </a:cubicBezTo>
                    <a:cubicBezTo>
                      <a:pt x="33" y="67"/>
                      <a:pt x="33" y="67"/>
                      <a:pt x="33" y="67"/>
                    </a:cubicBezTo>
                    <a:cubicBezTo>
                      <a:pt x="34" y="67"/>
                      <a:pt x="35" y="66"/>
                      <a:pt x="37" y="65"/>
                    </a:cubicBezTo>
                    <a:cubicBezTo>
                      <a:pt x="37" y="67"/>
                      <a:pt x="35" y="68"/>
                      <a:pt x="36" y="69"/>
                    </a:cubicBezTo>
                    <a:cubicBezTo>
                      <a:pt x="36" y="70"/>
                      <a:pt x="37" y="72"/>
                      <a:pt x="37" y="72"/>
                    </a:cubicBezTo>
                    <a:cubicBezTo>
                      <a:pt x="38" y="73"/>
                      <a:pt x="38" y="73"/>
                      <a:pt x="39" y="73"/>
                    </a:cubicBezTo>
                    <a:cubicBezTo>
                      <a:pt x="40" y="73"/>
                      <a:pt x="40" y="72"/>
                      <a:pt x="42" y="71"/>
                    </a:cubicBezTo>
                    <a:cubicBezTo>
                      <a:pt x="42" y="70"/>
                      <a:pt x="44" y="70"/>
                      <a:pt x="45" y="70"/>
                    </a:cubicBezTo>
                    <a:cubicBezTo>
                      <a:pt x="43" y="70"/>
                      <a:pt x="43" y="72"/>
                      <a:pt x="42" y="73"/>
                    </a:cubicBezTo>
                    <a:cubicBezTo>
                      <a:pt x="42" y="73"/>
                      <a:pt x="39" y="75"/>
                      <a:pt x="39" y="75"/>
                    </a:cubicBezTo>
                    <a:cubicBezTo>
                      <a:pt x="39" y="77"/>
                      <a:pt x="49" y="80"/>
                      <a:pt x="50" y="81"/>
                    </a:cubicBezTo>
                    <a:cubicBezTo>
                      <a:pt x="49" y="81"/>
                      <a:pt x="48" y="81"/>
                      <a:pt x="46" y="80"/>
                    </a:cubicBezTo>
                    <a:cubicBezTo>
                      <a:pt x="47" y="81"/>
                      <a:pt x="48" y="82"/>
                      <a:pt x="48" y="82"/>
                    </a:cubicBezTo>
                    <a:cubicBezTo>
                      <a:pt x="46" y="82"/>
                      <a:pt x="44" y="82"/>
                      <a:pt x="43" y="82"/>
                    </a:cubicBezTo>
                    <a:cubicBezTo>
                      <a:pt x="43" y="82"/>
                      <a:pt x="43" y="82"/>
                      <a:pt x="43" y="82"/>
                    </a:cubicBezTo>
                    <a:cubicBezTo>
                      <a:pt x="43" y="82"/>
                      <a:pt x="42" y="82"/>
                      <a:pt x="42" y="82"/>
                    </a:cubicBezTo>
                    <a:cubicBezTo>
                      <a:pt x="42" y="82"/>
                      <a:pt x="42" y="82"/>
                      <a:pt x="41" y="82"/>
                    </a:cubicBezTo>
                    <a:cubicBezTo>
                      <a:pt x="41" y="82"/>
                      <a:pt x="41" y="82"/>
                      <a:pt x="41" y="82"/>
                    </a:cubicBezTo>
                    <a:cubicBezTo>
                      <a:pt x="40" y="82"/>
                      <a:pt x="40" y="82"/>
                      <a:pt x="41" y="83"/>
                    </a:cubicBezTo>
                    <a:cubicBezTo>
                      <a:pt x="42" y="84"/>
                      <a:pt x="44" y="84"/>
                      <a:pt x="44" y="86"/>
                    </a:cubicBezTo>
                    <a:cubicBezTo>
                      <a:pt x="45" y="88"/>
                      <a:pt x="42" y="88"/>
                      <a:pt x="44" y="90"/>
                    </a:cubicBezTo>
                    <a:cubicBezTo>
                      <a:pt x="44" y="90"/>
                      <a:pt x="43" y="90"/>
                      <a:pt x="43" y="90"/>
                    </a:cubicBezTo>
                    <a:cubicBezTo>
                      <a:pt x="42" y="90"/>
                      <a:pt x="41" y="90"/>
                      <a:pt x="40" y="89"/>
                    </a:cubicBezTo>
                    <a:cubicBezTo>
                      <a:pt x="39" y="89"/>
                      <a:pt x="38" y="89"/>
                      <a:pt x="37" y="89"/>
                    </a:cubicBezTo>
                    <a:cubicBezTo>
                      <a:pt x="37" y="89"/>
                      <a:pt x="37" y="89"/>
                      <a:pt x="36" y="89"/>
                    </a:cubicBezTo>
                    <a:cubicBezTo>
                      <a:pt x="38" y="89"/>
                      <a:pt x="38" y="90"/>
                      <a:pt x="39" y="91"/>
                    </a:cubicBezTo>
                    <a:cubicBezTo>
                      <a:pt x="42" y="92"/>
                      <a:pt x="44" y="92"/>
                      <a:pt x="47" y="92"/>
                    </a:cubicBezTo>
                    <a:cubicBezTo>
                      <a:pt x="52" y="94"/>
                      <a:pt x="58" y="94"/>
                      <a:pt x="62" y="96"/>
                    </a:cubicBezTo>
                    <a:cubicBezTo>
                      <a:pt x="62" y="95"/>
                      <a:pt x="59" y="94"/>
                      <a:pt x="59" y="92"/>
                    </a:cubicBezTo>
                    <a:cubicBezTo>
                      <a:pt x="59" y="92"/>
                      <a:pt x="59" y="91"/>
                      <a:pt x="59" y="91"/>
                    </a:cubicBezTo>
                    <a:cubicBezTo>
                      <a:pt x="62" y="93"/>
                      <a:pt x="63" y="95"/>
                      <a:pt x="66" y="96"/>
                    </a:cubicBezTo>
                    <a:cubicBezTo>
                      <a:pt x="67" y="97"/>
                      <a:pt x="68" y="98"/>
                      <a:pt x="70" y="99"/>
                    </a:cubicBezTo>
                    <a:cubicBezTo>
                      <a:pt x="70" y="99"/>
                      <a:pt x="71" y="99"/>
                      <a:pt x="71" y="99"/>
                    </a:cubicBezTo>
                    <a:cubicBezTo>
                      <a:pt x="72" y="99"/>
                      <a:pt x="71" y="98"/>
                      <a:pt x="73" y="97"/>
                    </a:cubicBezTo>
                    <a:cubicBezTo>
                      <a:pt x="73" y="96"/>
                      <a:pt x="75" y="95"/>
                      <a:pt x="75" y="94"/>
                    </a:cubicBezTo>
                    <a:cubicBezTo>
                      <a:pt x="76" y="94"/>
                      <a:pt x="76" y="94"/>
                      <a:pt x="77" y="94"/>
                    </a:cubicBezTo>
                    <a:cubicBezTo>
                      <a:pt x="77" y="94"/>
                      <a:pt x="77" y="94"/>
                      <a:pt x="78" y="94"/>
                    </a:cubicBezTo>
                    <a:cubicBezTo>
                      <a:pt x="80" y="94"/>
                      <a:pt x="82" y="96"/>
                      <a:pt x="84" y="97"/>
                    </a:cubicBezTo>
                    <a:cubicBezTo>
                      <a:pt x="83" y="97"/>
                      <a:pt x="82" y="97"/>
                      <a:pt x="82" y="98"/>
                    </a:cubicBezTo>
                    <a:cubicBezTo>
                      <a:pt x="83" y="98"/>
                      <a:pt x="86" y="99"/>
                      <a:pt x="87" y="99"/>
                    </a:cubicBezTo>
                    <a:cubicBezTo>
                      <a:pt x="87" y="98"/>
                      <a:pt x="85" y="97"/>
                      <a:pt x="84" y="95"/>
                    </a:cubicBezTo>
                    <a:cubicBezTo>
                      <a:pt x="86" y="96"/>
                      <a:pt x="88" y="98"/>
                      <a:pt x="90" y="98"/>
                    </a:cubicBezTo>
                    <a:cubicBezTo>
                      <a:pt x="92" y="99"/>
                      <a:pt x="95" y="99"/>
                      <a:pt x="97" y="99"/>
                    </a:cubicBezTo>
                    <a:cubicBezTo>
                      <a:pt x="97" y="96"/>
                      <a:pt x="96" y="95"/>
                      <a:pt x="94" y="95"/>
                    </a:cubicBezTo>
                    <a:cubicBezTo>
                      <a:pt x="94" y="95"/>
                      <a:pt x="93" y="95"/>
                      <a:pt x="93" y="96"/>
                    </a:cubicBezTo>
                    <a:cubicBezTo>
                      <a:pt x="92" y="95"/>
                      <a:pt x="91" y="94"/>
                      <a:pt x="92" y="94"/>
                    </a:cubicBezTo>
                    <a:cubicBezTo>
                      <a:pt x="98" y="95"/>
                      <a:pt x="105" y="99"/>
                      <a:pt x="112" y="99"/>
                    </a:cubicBezTo>
                    <a:cubicBezTo>
                      <a:pt x="109" y="97"/>
                      <a:pt x="109" y="97"/>
                      <a:pt x="107" y="97"/>
                    </a:cubicBezTo>
                    <a:cubicBezTo>
                      <a:pt x="104" y="97"/>
                      <a:pt x="104" y="96"/>
                      <a:pt x="102" y="95"/>
                    </a:cubicBezTo>
                    <a:cubicBezTo>
                      <a:pt x="105" y="95"/>
                      <a:pt x="109" y="97"/>
                      <a:pt x="112" y="97"/>
                    </a:cubicBezTo>
                    <a:cubicBezTo>
                      <a:pt x="112" y="98"/>
                      <a:pt x="113" y="98"/>
                      <a:pt x="113" y="98"/>
                    </a:cubicBezTo>
                    <a:cubicBezTo>
                      <a:pt x="114" y="98"/>
                      <a:pt x="114" y="96"/>
                      <a:pt x="115" y="95"/>
                    </a:cubicBezTo>
                    <a:cubicBezTo>
                      <a:pt x="115" y="94"/>
                      <a:pt x="116" y="94"/>
                      <a:pt x="117" y="94"/>
                    </a:cubicBezTo>
                    <a:cubicBezTo>
                      <a:pt x="117" y="94"/>
                      <a:pt x="118" y="94"/>
                      <a:pt x="119" y="94"/>
                    </a:cubicBezTo>
                    <a:cubicBezTo>
                      <a:pt x="116" y="92"/>
                      <a:pt x="115" y="91"/>
                      <a:pt x="112" y="91"/>
                    </a:cubicBezTo>
                    <a:cubicBezTo>
                      <a:pt x="105" y="89"/>
                      <a:pt x="99" y="83"/>
                      <a:pt x="93" y="79"/>
                    </a:cubicBezTo>
                    <a:cubicBezTo>
                      <a:pt x="89" y="75"/>
                      <a:pt x="87" y="70"/>
                      <a:pt x="84" y="66"/>
                    </a:cubicBezTo>
                    <a:cubicBezTo>
                      <a:pt x="82" y="63"/>
                      <a:pt x="80" y="61"/>
                      <a:pt x="79" y="58"/>
                    </a:cubicBezTo>
                    <a:cubicBezTo>
                      <a:pt x="78" y="55"/>
                      <a:pt x="77" y="52"/>
                      <a:pt x="73" y="52"/>
                    </a:cubicBezTo>
                    <a:cubicBezTo>
                      <a:pt x="75" y="51"/>
                      <a:pt x="76" y="51"/>
                      <a:pt x="76" y="49"/>
                    </a:cubicBezTo>
                    <a:cubicBezTo>
                      <a:pt x="76" y="48"/>
                      <a:pt x="76" y="46"/>
                      <a:pt x="76" y="46"/>
                    </a:cubicBezTo>
                    <a:cubicBezTo>
                      <a:pt x="77" y="43"/>
                      <a:pt x="80" y="44"/>
                      <a:pt x="78" y="40"/>
                    </a:cubicBezTo>
                    <a:cubicBezTo>
                      <a:pt x="77" y="39"/>
                      <a:pt x="75" y="39"/>
                      <a:pt x="76" y="37"/>
                    </a:cubicBezTo>
                    <a:cubicBezTo>
                      <a:pt x="78" y="36"/>
                      <a:pt x="77" y="35"/>
                      <a:pt x="76" y="34"/>
                    </a:cubicBezTo>
                    <a:cubicBezTo>
                      <a:pt x="74" y="33"/>
                      <a:pt x="73" y="33"/>
                      <a:pt x="71" y="33"/>
                    </a:cubicBezTo>
                    <a:cubicBezTo>
                      <a:pt x="73" y="32"/>
                      <a:pt x="76" y="32"/>
                      <a:pt x="78" y="32"/>
                    </a:cubicBezTo>
                    <a:cubicBezTo>
                      <a:pt x="80" y="32"/>
                      <a:pt x="78" y="30"/>
                      <a:pt x="77" y="29"/>
                    </a:cubicBezTo>
                    <a:cubicBezTo>
                      <a:pt x="76" y="29"/>
                      <a:pt x="75" y="28"/>
                      <a:pt x="74" y="28"/>
                    </a:cubicBezTo>
                    <a:cubicBezTo>
                      <a:pt x="74" y="28"/>
                      <a:pt x="74" y="28"/>
                      <a:pt x="75" y="28"/>
                    </a:cubicBezTo>
                    <a:cubicBezTo>
                      <a:pt x="75" y="28"/>
                      <a:pt x="76" y="29"/>
                      <a:pt x="77" y="29"/>
                    </a:cubicBezTo>
                    <a:cubicBezTo>
                      <a:pt x="78" y="29"/>
                      <a:pt x="79" y="30"/>
                      <a:pt x="80" y="30"/>
                    </a:cubicBezTo>
                    <a:cubicBezTo>
                      <a:pt x="80" y="30"/>
                      <a:pt x="81" y="29"/>
                      <a:pt x="81" y="29"/>
                    </a:cubicBezTo>
                    <a:cubicBezTo>
                      <a:pt x="83" y="27"/>
                      <a:pt x="82" y="25"/>
                      <a:pt x="85" y="25"/>
                    </a:cubicBezTo>
                    <a:cubicBezTo>
                      <a:pt x="85" y="25"/>
                      <a:pt x="86" y="25"/>
                      <a:pt x="86" y="25"/>
                    </a:cubicBezTo>
                    <a:cubicBezTo>
                      <a:pt x="84" y="23"/>
                      <a:pt x="81" y="21"/>
                      <a:pt x="77" y="21"/>
                    </a:cubicBezTo>
                    <a:cubicBezTo>
                      <a:pt x="77" y="21"/>
                      <a:pt x="77" y="21"/>
                      <a:pt x="77" y="21"/>
                    </a:cubicBezTo>
                    <a:cubicBezTo>
                      <a:pt x="78" y="21"/>
                      <a:pt x="78" y="20"/>
                      <a:pt x="79" y="20"/>
                    </a:cubicBezTo>
                    <a:cubicBezTo>
                      <a:pt x="80" y="20"/>
                      <a:pt x="81" y="21"/>
                      <a:pt x="81" y="21"/>
                    </a:cubicBezTo>
                    <a:cubicBezTo>
                      <a:pt x="82" y="21"/>
                      <a:pt x="82" y="21"/>
                      <a:pt x="82" y="21"/>
                    </a:cubicBezTo>
                    <a:cubicBezTo>
                      <a:pt x="83" y="21"/>
                      <a:pt x="83" y="21"/>
                      <a:pt x="84" y="21"/>
                    </a:cubicBezTo>
                    <a:cubicBezTo>
                      <a:pt x="84" y="21"/>
                      <a:pt x="84" y="21"/>
                      <a:pt x="85" y="21"/>
                    </a:cubicBezTo>
                    <a:cubicBezTo>
                      <a:pt x="85" y="21"/>
                      <a:pt x="86" y="21"/>
                      <a:pt x="87" y="21"/>
                    </a:cubicBezTo>
                    <a:cubicBezTo>
                      <a:pt x="87" y="21"/>
                      <a:pt x="88" y="21"/>
                      <a:pt x="89" y="21"/>
                    </a:cubicBezTo>
                    <a:cubicBezTo>
                      <a:pt x="89" y="21"/>
                      <a:pt x="90" y="21"/>
                      <a:pt x="91" y="21"/>
                    </a:cubicBezTo>
                    <a:cubicBezTo>
                      <a:pt x="92" y="20"/>
                      <a:pt x="93" y="17"/>
                      <a:pt x="92" y="16"/>
                    </a:cubicBezTo>
                    <a:cubicBezTo>
                      <a:pt x="92" y="15"/>
                      <a:pt x="91" y="15"/>
                      <a:pt x="91" y="15"/>
                    </a:cubicBezTo>
                    <a:cubicBezTo>
                      <a:pt x="90" y="15"/>
                      <a:pt x="89" y="15"/>
                      <a:pt x="89" y="15"/>
                    </a:cubicBezTo>
                    <a:cubicBezTo>
                      <a:pt x="88" y="15"/>
                      <a:pt x="88" y="15"/>
                      <a:pt x="87" y="15"/>
                    </a:cubicBezTo>
                    <a:cubicBezTo>
                      <a:pt x="87" y="15"/>
                      <a:pt x="87" y="15"/>
                      <a:pt x="87" y="15"/>
                    </a:cubicBezTo>
                    <a:cubicBezTo>
                      <a:pt x="85" y="15"/>
                      <a:pt x="82" y="15"/>
                      <a:pt x="81" y="15"/>
                    </a:cubicBezTo>
                    <a:cubicBezTo>
                      <a:pt x="83" y="14"/>
                      <a:pt x="87" y="13"/>
                      <a:pt x="89" y="13"/>
                    </a:cubicBezTo>
                    <a:cubicBezTo>
                      <a:pt x="90" y="13"/>
                      <a:pt x="90" y="13"/>
                      <a:pt x="90" y="13"/>
                    </a:cubicBezTo>
                    <a:cubicBezTo>
                      <a:pt x="91" y="13"/>
                      <a:pt x="91" y="13"/>
                      <a:pt x="92" y="13"/>
                    </a:cubicBezTo>
                    <a:cubicBezTo>
                      <a:pt x="92" y="13"/>
                      <a:pt x="92" y="13"/>
                      <a:pt x="93" y="13"/>
                    </a:cubicBezTo>
                    <a:cubicBezTo>
                      <a:pt x="94" y="13"/>
                      <a:pt x="95" y="13"/>
                      <a:pt x="96" y="12"/>
                    </a:cubicBezTo>
                    <a:cubicBezTo>
                      <a:pt x="94" y="11"/>
                      <a:pt x="91" y="11"/>
                      <a:pt x="89" y="11"/>
                    </a:cubicBezTo>
                    <a:cubicBezTo>
                      <a:pt x="88" y="11"/>
                      <a:pt x="88" y="11"/>
                      <a:pt x="87" y="11"/>
                    </a:cubicBezTo>
                    <a:cubicBezTo>
                      <a:pt x="86" y="11"/>
                      <a:pt x="86" y="11"/>
                      <a:pt x="85" y="11"/>
                    </a:cubicBezTo>
                    <a:cubicBezTo>
                      <a:pt x="85" y="11"/>
                      <a:pt x="85" y="11"/>
                      <a:pt x="85" y="11"/>
                    </a:cubicBezTo>
                    <a:cubicBezTo>
                      <a:pt x="88" y="10"/>
                      <a:pt x="97" y="10"/>
                      <a:pt x="99" y="8"/>
                    </a:cubicBezTo>
                    <a:cubicBezTo>
                      <a:pt x="91" y="6"/>
                      <a:pt x="84" y="4"/>
                      <a:pt x="77" y="1"/>
                    </a:cubicBezTo>
                    <a:cubicBezTo>
                      <a:pt x="71" y="0"/>
                      <a:pt x="65" y="0"/>
                      <a:pt x="59" y="0"/>
                    </a:cubicBezTo>
                    <a:cubicBezTo>
                      <a:pt x="59"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276"/>
              <p:cNvSpPr/>
              <p:nvPr/>
            </p:nvSpPr>
            <p:spPr bwMode="auto">
              <a:xfrm>
                <a:off x="6345" y="-918"/>
                <a:ext cx="26" cy="7"/>
              </a:xfrm>
              <a:custGeom>
                <a:gdLst>
                  <a:gd name="T0" fmla="*/ 7 w 11"/>
                  <a:gd name="T1" fmla="*/ 0 h 3"/>
                  <a:gd name="T2" fmla="*/ 0 w 11"/>
                  <a:gd name="T3" fmla="*/ 2 h 3"/>
                  <a:gd name="T4" fmla="*/ 7 w 11"/>
                  <a:gd name="T5" fmla="*/ 3 h 3"/>
                  <a:gd name="T6" fmla="*/ 11 w 11"/>
                  <a:gd name="T7" fmla="*/ 3 h 3"/>
                  <a:gd name="T8" fmla="*/ 7 w 11"/>
                  <a:gd name="T9" fmla="*/ 0 h 3"/>
                </a:gdLst>
                <a:cxnLst>
                  <a:cxn ang="0">
                    <a:pos x="T0" y="T1"/>
                  </a:cxn>
                  <a:cxn ang="0">
                    <a:pos x="T2" y="T3"/>
                  </a:cxn>
                  <a:cxn ang="0">
                    <a:pos x="T4" y="T5"/>
                  </a:cxn>
                  <a:cxn ang="0">
                    <a:pos x="T6" y="T7"/>
                  </a:cxn>
                  <a:cxn ang="0">
                    <a:pos x="T8" y="T9"/>
                  </a:cxn>
                </a:cxnLst>
                <a:rect l="0" t="0" r="r" b="b"/>
                <a:pathLst>
                  <a:path w="11" h="3">
                    <a:moveTo>
                      <a:pt x="7" y="0"/>
                    </a:moveTo>
                    <a:cubicBezTo>
                      <a:pt x="5" y="1"/>
                      <a:pt x="2" y="1"/>
                      <a:pt x="0" y="2"/>
                    </a:cubicBezTo>
                    <a:cubicBezTo>
                      <a:pt x="2" y="3"/>
                      <a:pt x="5" y="3"/>
                      <a:pt x="7" y="3"/>
                    </a:cubicBezTo>
                    <a:cubicBezTo>
                      <a:pt x="8" y="3"/>
                      <a:pt x="10" y="3"/>
                      <a:pt x="11" y="3"/>
                    </a:cubicBezTo>
                    <a:cubicBezTo>
                      <a:pt x="10" y="0"/>
                      <a:pt x="10"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277"/>
              <p:cNvSpPr/>
              <p:nvPr/>
            </p:nvSpPr>
            <p:spPr bwMode="auto">
              <a:xfrm>
                <a:off x="9445" y="916"/>
                <a:ext cx="12" cy="10"/>
              </a:xfrm>
              <a:custGeom>
                <a:gdLst>
                  <a:gd name="T0" fmla="*/ 4 w 5"/>
                  <a:gd name="T1" fmla="*/ 0 h 4"/>
                  <a:gd name="T2" fmla="*/ 0 w 5"/>
                  <a:gd name="T3" fmla="*/ 4 h 4"/>
                  <a:gd name="T4" fmla="*/ 5 w 5"/>
                  <a:gd name="T5" fmla="*/ 0 h 4"/>
                  <a:gd name="T6" fmla="*/ 4 w 5"/>
                  <a:gd name="T7" fmla="*/ 0 h 4"/>
                </a:gdLst>
                <a:cxnLst>
                  <a:cxn ang="0">
                    <a:pos x="T0" y="T1"/>
                  </a:cxn>
                  <a:cxn ang="0">
                    <a:pos x="T2" y="T3"/>
                  </a:cxn>
                  <a:cxn ang="0">
                    <a:pos x="T4" y="T5"/>
                  </a:cxn>
                  <a:cxn ang="0">
                    <a:pos x="T6" y="T7"/>
                  </a:cxn>
                </a:cxnLst>
                <a:rect l="0" t="0" r="r" b="b"/>
                <a:pathLst>
                  <a:path w="5" h="4">
                    <a:moveTo>
                      <a:pt x="4" y="0"/>
                    </a:moveTo>
                    <a:cubicBezTo>
                      <a:pt x="3" y="0"/>
                      <a:pt x="1" y="3"/>
                      <a:pt x="0" y="4"/>
                    </a:cubicBezTo>
                    <a:cubicBezTo>
                      <a:pt x="2" y="3"/>
                      <a:pt x="4" y="1"/>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278"/>
              <p:cNvSpPr/>
              <p:nvPr/>
            </p:nvSpPr>
            <p:spPr bwMode="auto">
              <a:xfrm>
                <a:off x="5147" y="-547"/>
                <a:ext cx="89" cy="64"/>
              </a:xfrm>
              <a:custGeom>
                <a:gdLst>
                  <a:gd name="T0" fmla="*/ 10 w 38"/>
                  <a:gd name="T1" fmla="*/ 0 h 27"/>
                  <a:gd name="T2" fmla="*/ 6 w 38"/>
                  <a:gd name="T3" fmla="*/ 1 h 27"/>
                  <a:gd name="T4" fmla="*/ 5 w 38"/>
                  <a:gd name="T5" fmla="*/ 1 h 27"/>
                  <a:gd name="T6" fmla="*/ 5 w 38"/>
                  <a:gd name="T7" fmla="*/ 2 h 27"/>
                  <a:gd name="T8" fmla="*/ 0 w 38"/>
                  <a:gd name="T9" fmla="*/ 4 h 27"/>
                  <a:gd name="T10" fmla="*/ 6 w 38"/>
                  <a:gd name="T11" fmla="*/ 8 h 27"/>
                  <a:gd name="T12" fmla="*/ 3 w 38"/>
                  <a:gd name="T13" fmla="*/ 7 h 27"/>
                  <a:gd name="T14" fmla="*/ 3 w 38"/>
                  <a:gd name="T15" fmla="*/ 7 h 27"/>
                  <a:gd name="T16" fmla="*/ 1 w 38"/>
                  <a:gd name="T17" fmla="*/ 12 h 27"/>
                  <a:gd name="T18" fmla="*/ 11 w 38"/>
                  <a:gd name="T19" fmla="*/ 21 h 27"/>
                  <a:gd name="T20" fmla="*/ 9 w 38"/>
                  <a:gd name="T21" fmla="*/ 18 h 27"/>
                  <a:gd name="T22" fmla="*/ 16 w 38"/>
                  <a:gd name="T23" fmla="*/ 20 h 27"/>
                  <a:gd name="T24" fmla="*/ 21 w 38"/>
                  <a:gd name="T25" fmla="*/ 24 h 27"/>
                  <a:gd name="T26" fmla="*/ 23 w 38"/>
                  <a:gd name="T27" fmla="*/ 26 h 27"/>
                  <a:gd name="T28" fmla="*/ 25 w 38"/>
                  <a:gd name="T29" fmla="*/ 26 h 27"/>
                  <a:gd name="T30" fmla="*/ 27 w 38"/>
                  <a:gd name="T31" fmla="*/ 27 h 27"/>
                  <a:gd name="T32" fmla="*/ 27 w 38"/>
                  <a:gd name="T33" fmla="*/ 27 h 27"/>
                  <a:gd name="T34" fmla="*/ 28 w 38"/>
                  <a:gd name="T35" fmla="*/ 26 h 27"/>
                  <a:gd name="T36" fmla="*/ 30 w 38"/>
                  <a:gd name="T37" fmla="*/ 26 h 27"/>
                  <a:gd name="T38" fmla="*/ 30 w 38"/>
                  <a:gd name="T39" fmla="*/ 26 h 27"/>
                  <a:gd name="T40" fmla="*/ 33 w 38"/>
                  <a:gd name="T41" fmla="*/ 26 h 27"/>
                  <a:gd name="T42" fmla="*/ 34 w 38"/>
                  <a:gd name="T43" fmla="*/ 26 h 27"/>
                  <a:gd name="T44" fmla="*/ 37 w 38"/>
                  <a:gd name="T45" fmla="*/ 20 h 27"/>
                  <a:gd name="T46" fmla="*/ 35 w 38"/>
                  <a:gd name="T47" fmla="*/ 17 h 27"/>
                  <a:gd name="T48" fmla="*/ 12 w 38"/>
                  <a:gd name="T49" fmla="*/ 1 h 27"/>
                  <a:gd name="T50" fmla="*/ 10 w 38"/>
                  <a:gd name="T51"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27">
                    <a:moveTo>
                      <a:pt x="10" y="0"/>
                    </a:moveTo>
                    <a:cubicBezTo>
                      <a:pt x="9" y="0"/>
                      <a:pt x="8" y="0"/>
                      <a:pt x="6" y="1"/>
                    </a:cubicBezTo>
                    <a:cubicBezTo>
                      <a:pt x="6" y="1"/>
                      <a:pt x="6" y="1"/>
                      <a:pt x="5" y="1"/>
                    </a:cubicBezTo>
                    <a:cubicBezTo>
                      <a:pt x="4" y="1"/>
                      <a:pt x="5" y="2"/>
                      <a:pt x="5" y="2"/>
                    </a:cubicBezTo>
                    <a:cubicBezTo>
                      <a:pt x="4" y="3"/>
                      <a:pt x="2" y="4"/>
                      <a:pt x="0" y="4"/>
                    </a:cubicBezTo>
                    <a:cubicBezTo>
                      <a:pt x="2" y="5"/>
                      <a:pt x="4" y="6"/>
                      <a:pt x="6" y="8"/>
                    </a:cubicBezTo>
                    <a:cubicBezTo>
                      <a:pt x="5" y="8"/>
                      <a:pt x="3" y="7"/>
                      <a:pt x="3" y="7"/>
                    </a:cubicBezTo>
                    <a:cubicBezTo>
                      <a:pt x="3" y="7"/>
                      <a:pt x="3" y="7"/>
                      <a:pt x="3" y="7"/>
                    </a:cubicBezTo>
                    <a:cubicBezTo>
                      <a:pt x="0" y="7"/>
                      <a:pt x="0" y="9"/>
                      <a:pt x="1" y="12"/>
                    </a:cubicBezTo>
                    <a:cubicBezTo>
                      <a:pt x="2" y="16"/>
                      <a:pt x="8" y="19"/>
                      <a:pt x="11" y="21"/>
                    </a:cubicBezTo>
                    <a:cubicBezTo>
                      <a:pt x="11" y="19"/>
                      <a:pt x="9" y="19"/>
                      <a:pt x="9" y="18"/>
                    </a:cubicBezTo>
                    <a:cubicBezTo>
                      <a:pt x="11" y="18"/>
                      <a:pt x="14" y="19"/>
                      <a:pt x="16" y="20"/>
                    </a:cubicBezTo>
                    <a:cubicBezTo>
                      <a:pt x="17" y="20"/>
                      <a:pt x="22" y="21"/>
                      <a:pt x="21" y="24"/>
                    </a:cubicBezTo>
                    <a:cubicBezTo>
                      <a:pt x="21" y="25"/>
                      <a:pt x="21" y="25"/>
                      <a:pt x="23" y="26"/>
                    </a:cubicBezTo>
                    <a:cubicBezTo>
                      <a:pt x="23" y="26"/>
                      <a:pt x="24" y="26"/>
                      <a:pt x="25" y="26"/>
                    </a:cubicBezTo>
                    <a:cubicBezTo>
                      <a:pt x="26" y="26"/>
                      <a:pt x="26" y="27"/>
                      <a:pt x="27" y="27"/>
                    </a:cubicBezTo>
                    <a:cubicBezTo>
                      <a:pt x="27" y="27"/>
                      <a:pt x="27" y="27"/>
                      <a:pt x="27" y="27"/>
                    </a:cubicBezTo>
                    <a:cubicBezTo>
                      <a:pt x="28" y="27"/>
                      <a:pt x="27" y="26"/>
                      <a:pt x="28" y="26"/>
                    </a:cubicBezTo>
                    <a:cubicBezTo>
                      <a:pt x="29" y="26"/>
                      <a:pt x="29" y="26"/>
                      <a:pt x="30" y="26"/>
                    </a:cubicBezTo>
                    <a:cubicBezTo>
                      <a:pt x="30" y="26"/>
                      <a:pt x="30" y="26"/>
                      <a:pt x="30" y="26"/>
                    </a:cubicBezTo>
                    <a:cubicBezTo>
                      <a:pt x="32" y="26"/>
                      <a:pt x="32" y="26"/>
                      <a:pt x="33" y="26"/>
                    </a:cubicBezTo>
                    <a:cubicBezTo>
                      <a:pt x="33" y="26"/>
                      <a:pt x="34" y="26"/>
                      <a:pt x="34" y="26"/>
                    </a:cubicBezTo>
                    <a:cubicBezTo>
                      <a:pt x="38" y="26"/>
                      <a:pt x="37" y="24"/>
                      <a:pt x="37" y="20"/>
                    </a:cubicBezTo>
                    <a:cubicBezTo>
                      <a:pt x="37" y="18"/>
                      <a:pt x="37" y="18"/>
                      <a:pt x="35" y="17"/>
                    </a:cubicBezTo>
                    <a:cubicBezTo>
                      <a:pt x="27" y="12"/>
                      <a:pt x="20" y="6"/>
                      <a:pt x="12" y="1"/>
                    </a:cubicBezTo>
                    <a:cubicBezTo>
                      <a:pt x="11"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279"/>
              <p:cNvSpPr/>
              <p:nvPr/>
            </p:nvSpPr>
            <p:spPr bwMode="auto">
              <a:xfrm>
                <a:off x="5293" y="-1585"/>
                <a:ext cx="19" cy="7"/>
              </a:xfrm>
              <a:custGeom>
                <a:gdLst>
                  <a:gd name="T0" fmla="*/ 1 w 8"/>
                  <a:gd name="T1" fmla="*/ 0 h 3"/>
                  <a:gd name="T2" fmla="*/ 0 w 8"/>
                  <a:gd name="T3" fmla="*/ 1 h 3"/>
                  <a:gd name="T4" fmla="*/ 6 w 8"/>
                  <a:gd name="T5" fmla="*/ 3 h 3"/>
                  <a:gd name="T6" fmla="*/ 8 w 8"/>
                  <a:gd name="T7" fmla="*/ 2 h 3"/>
                  <a:gd name="T8" fmla="*/ 1 w 8"/>
                  <a:gd name="T9" fmla="*/ 0 h 3"/>
                </a:gdLst>
                <a:cxnLst>
                  <a:cxn ang="0">
                    <a:pos x="T0" y="T1"/>
                  </a:cxn>
                  <a:cxn ang="0">
                    <a:pos x="T2" y="T3"/>
                  </a:cxn>
                  <a:cxn ang="0">
                    <a:pos x="T4" y="T5"/>
                  </a:cxn>
                  <a:cxn ang="0">
                    <a:pos x="T6" y="T7"/>
                  </a:cxn>
                  <a:cxn ang="0">
                    <a:pos x="T8" y="T9"/>
                  </a:cxn>
                </a:cxnLst>
                <a:rect l="0" t="0" r="r" b="b"/>
                <a:pathLst>
                  <a:path w="8" h="3">
                    <a:moveTo>
                      <a:pt x="1" y="0"/>
                    </a:moveTo>
                    <a:cubicBezTo>
                      <a:pt x="0" y="1"/>
                      <a:pt x="0" y="1"/>
                      <a:pt x="0" y="1"/>
                    </a:cubicBezTo>
                    <a:cubicBezTo>
                      <a:pt x="2" y="2"/>
                      <a:pt x="4" y="3"/>
                      <a:pt x="6" y="3"/>
                    </a:cubicBezTo>
                    <a:cubicBezTo>
                      <a:pt x="6" y="3"/>
                      <a:pt x="7" y="3"/>
                      <a:pt x="8" y="2"/>
                    </a:cubicBezTo>
                    <a:cubicBezTo>
                      <a:pt x="6"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Freeform 280"/>
              <p:cNvSpPr/>
              <p:nvPr/>
            </p:nvSpPr>
            <p:spPr bwMode="auto">
              <a:xfrm>
                <a:off x="6560" y="-1545"/>
                <a:ext cx="75" cy="14"/>
              </a:xfrm>
              <a:custGeom>
                <a:gdLst>
                  <a:gd name="T0" fmla="*/ 18 w 32"/>
                  <a:gd name="T1" fmla="*/ 0 h 6"/>
                  <a:gd name="T2" fmla="*/ 18 w 32"/>
                  <a:gd name="T3" fmla="*/ 0 h 6"/>
                  <a:gd name="T4" fmla="*/ 7 w 32"/>
                  <a:gd name="T5" fmla="*/ 0 h 6"/>
                  <a:gd name="T6" fmla="*/ 2 w 32"/>
                  <a:gd name="T7" fmla="*/ 6 h 6"/>
                  <a:gd name="T8" fmla="*/ 32 w 32"/>
                  <a:gd name="T9" fmla="*/ 4 h 6"/>
                  <a:gd name="T10" fmla="*/ 27 w 32"/>
                  <a:gd name="T11" fmla="*/ 1 h 6"/>
                  <a:gd name="T12" fmla="*/ 18 w 32"/>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32" h="6">
                    <a:moveTo>
                      <a:pt x="18" y="0"/>
                    </a:moveTo>
                    <a:cubicBezTo>
                      <a:pt x="18" y="0"/>
                      <a:pt x="18" y="0"/>
                      <a:pt x="18" y="0"/>
                    </a:cubicBezTo>
                    <a:cubicBezTo>
                      <a:pt x="14" y="0"/>
                      <a:pt x="11" y="0"/>
                      <a:pt x="7" y="0"/>
                    </a:cubicBezTo>
                    <a:cubicBezTo>
                      <a:pt x="3" y="1"/>
                      <a:pt x="0" y="1"/>
                      <a:pt x="2" y="6"/>
                    </a:cubicBezTo>
                    <a:cubicBezTo>
                      <a:pt x="12" y="5"/>
                      <a:pt x="22" y="5"/>
                      <a:pt x="32" y="4"/>
                    </a:cubicBezTo>
                    <a:cubicBezTo>
                      <a:pt x="31" y="3"/>
                      <a:pt x="30" y="1"/>
                      <a:pt x="27" y="1"/>
                    </a:cubicBezTo>
                    <a:cubicBezTo>
                      <a:pt x="24" y="0"/>
                      <a:pt x="21"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281"/>
              <p:cNvSpPr/>
              <p:nvPr/>
            </p:nvSpPr>
            <p:spPr bwMode="auto">
              <a:xfrm>
                <a:off x="9058" y="1165"/>
                <a:ext cx="54" cy="47"/>
              </a:xfrm>
              <a:custGeom>
                <a:gdLst>
                  <a:gd name="T0" fmla="*/ 15 w 23"/>
                  <a:gd name="T1" fmla="*/ 0 h 20"/>
                  <a:gd name="T2" fmla="*/ 4 w 23"/>
                  <a:gd name="T3" fmla="*/ 13 h 20"/>
                  <a:gd name="T4" fmla="*/ 4 w 23"/>
                  <a:gd name="T5" fmla="*/ 20 h 20"/>
                  <a:gd name="T6" fmla="*/ 4 w 23"/>
                  <a:gd name="T7" fmla="*/ 19 h 20"/>
                  <a:gd name="T8" fmla="*/ 5 w 23"/>
                  <a:gd name="T9" fmla="*/ 15 h 20"/>
                  <a:gd name="T10" fmla="*/ 7 w 23"/>
                  <a:gd name="T11" fmla="*/ 14 h 20"/>
                  <a:gd name="T12" fmla="*/ 11 w 23"/>
                  <a:gd name="T13" fmla="*/ 10 h 20"/>
                  <a:gd name="T14" fmla="*/ 23 w 23"/>
                  <a:gd name="T15" fmla="*/ 2 h 20"/>
                  <a:gd name="T16" fmla="*/ 21 w 23"/>
                  <a:gd name="T17" fmla="*/ 2 h 20"/>
                  <a:gd name="T18" fmla="*/ 15 w 23"/>
                  <a:gd name="T19"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0">
                    <a:moveTo>
                      <a:pt x="15" y="0"/>
                    </a:moveTo>
                    <a:cubicBezTo>
                      <a:pt x="11" y="4"/>
                      <a:pt x="8" y="9"/>
                      <a:pt x="4" y="13"/>
                    </a:cubicBezTo>
                    <a:cubicBezTo>
                      <a:pt x="1" y="16"/>
                      <a:pt x="0" y="18"/>
                      <a:pt x="4" y="20"/>
                    </a:cubicBezTo>
                    <a:cubicBezTo>
                      <a:pt x="4" y="20"/>
                      <a:pt x="4" y="19"/>
                      <a:pt x="4" y="19"/>
                    </a:cubicBezTo>
                    <a:cubicBezTo>
                      <a:pt x="4" y="17"/>
                      <a:pt x="4" y="16"/>
                      <a:pt x="5" y="15"/>
                    </a:cubicBezTo>
                    <a:cubicBezTo>
                      <a:pt x="5" y="14"/>
                      <a:pt x="7" y="15"/>
                      <a:pt x="7" y="14"/>
                    </a:cubicBezTo>
                    <a:cubicBezTo>
                      <a:pt x="9" y="13"/>
                      <a:pt x="9" y="11"/>
                      <a:pt x="11" y="10"/>
                    </a:cubicBezTo>
                    <a:cubicBezTo>
                      <a:pt x="14" y="6"/>
                      <a:pt x="19" y="6"/>
                      <a:pt x="23" y="2"/>
                    </a:cubicBezTo>
                    <a:cubicBezTo>
                      <a:pt x="22" y="2"/>
                      <a:pt x="21" y="2"/>
                      <a:pt x="21" y="2"/>
                    </a:cubicBezTo>
                    <a:cubicBezTo>
                      <a:pt x="19" y="2"/>
                      <a:pt x="17"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282"/>
              <p:cNvSpPr/>
              <p:nvPr/>
            </p:nvSpPr>
            <p:spPr bwMode="auto">
              <a:xfrm>
                <a:off x="8691" y="538"/>
                <a:ext cx="43" cy="33"/>
              </a:xfrm>
              <a:custGeom>
                <a:gdLst>
                  <a:gd name="T0" fmla="*/ 7 w 18"/>
                  <a:gd name="T1" fmla="*/ 0 h 14"/>
                  <a:gd name="T2" fmla="*/ 5 w 18"/>
                  <a:gd name="T3" fmla="*/ 1 h 14"/>
                  <a:gd name="T4" fmla="*/ 5 w 18"/>
                  <a:gd name="T5" fmla="*/ 3 h 14"/>
                  <a:gd name="T6" fmla="*/ 3 w 18"/>
                  <a:gd name="T7" fmla="*/ 4 h 14"/>
                  <a:gd name="T8" fmla="*/ 0 w 18"/>
                  <a:gd name="T9" fmla="*/ 9 h 14"/>
                  <a:gd name="T10" fmla="*/ 1 w 18"/>
                  <a:gd name="T11" fmla="*/ 10 h 14"/>
                  <a:gd name="T12" fmla="*/ 4 w 18"/>
                  <a:gd name="T13" fmla="*/ 8 h 14"/>
                  <a:gd name="T14" fmla="*/ 4 w 18"/>
                  <a:gd name="T15" fmla="*/ 8 h 14"/>
                  <a:gd name="T16" fmla="*/ 9 w 18"/>
                  <a:gd name="T17" fmla="*/ 14 h 14"/>
                  <a:gd name="T18" fmla="*/ 18 w 18"/>
                  <a:gd name="T19" fmla="*/ 3 h 14"/>
                  <a:gd name="T20" fmla="*/ 18 w 18"/>
                  <a:gd name="T21" fmla="*/ 3 h 14"/>
                  <a:gd name="T22" fmla="*/ 17 w 18"/>
                  <a:gd name="T23" fmla="*/ 3 h 14"/>
                  <a:gd name="T24" fmla="*/ 16 w 18"/>
                  <a:gd name="T25" fmla="*/ 3 h 14"/>
                  <a:gd name="T26" fmla="*/ 16 w 18"/>
                  <a:gd name="T27" fmla="*/ 3 h 14"/>
                  <a:gd name="T28" fmla="*/ 16 w 18"/>
                  <a:gd name="T29" fmla="*/ 3 h 14"/>
                  <a:gd name="T30" fmla="*/ 15 w 18"/>
                  <a:gd name="T31" fmla="*/ 3 h 14"/>
                  <a:gd name="T32" fmla="*/ 15 w 18"/>
                  <a:gd name="T33" fmla="*/ 3 h 14"/>
                  <a:gd name="T34" fmla="*/ 15 w 18"/>
                  <a:gd name="T35" fmla="*/ 3 h 14"/>
                  <a:gd name="T36" fmla="*/ 14 w 18"/>
                  <a:gd name="T37" fmla="*/ 1 h 14"/>
                  <a:gd name="T38" fmla="*/ 12 w 18"/>
                  <a:gd name="T39" fmla="*/ 1 h 14"/>
                  <a:gd name="T40" fmla="*/ 12 w 18"/>
                  <a:gd name="T41" fmla="*/ 1 h 14"/>
                  <a:gd name="T42" fmla="*/ 11 w 18"/>
                  <a:gd name="T43" fmla="*/ 1 h 14"/>
                  <a:gd name="T44" fmla="*/ 9 w 18"/>
                  <a:gd name="T45" fmla="*/ 0 h 14"/>
                  <a:gd name="T46" fmla="*/ 7 w 18"/>
                  <a:gd name="T4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4">
                    <a:moveTo>
                      <a:pt x="7" y="0"/>
                    </a:moveTo>
                    <a:cubicBezTo>
                      <a:pt x="6" y="0"/>
                      <a:pt x="6" y="0"/>
                      <a:pt x="5" y="1"/>
                    </a:cubicBezTo>
                    <a:cubicBezTo>
                      <a:pt x="5" y="2"/>
                      <a:pt x="5" y="3"/>
                      <a:pt x="5" y="3"/>
                    </a:cubicBezTo>
                    <a:cubicBezTo>
                      <a:pt x="4" y="4"/>
                      <a:pt x="4" y="4"/>
                      <a:pt x="3" y="4"/>
                    </a:cubicBezTo>
                    <a:cubicBezTo>
                      <a:pt x="2" y="5"/>
                      <a:pt x="1" y="7"/>
                      <a:pt x="0" y="9"/>
                    </a:cubicBezTo>
                    <a:cubicBezTo>
                      <a:pt x="0" y="10"/>
                      <a:pt x="0" y="10"/>
                      <a:pt x="1" y="10"/>
                    </a:cubicBezTo>
                    <a:cubicBezTo>
                      <a:pt x="1" y="10"/>
                      <a:pt x="2" y="9"/>
                      <a:pt x="4" y="8"/>
                    </a:cubicBezTo>
                    <a:cubicBezTo>
                      <a:pt x="4" y="8"/>
                      <a:pt x="4" y="8"/>
                      <a:pt x="4" y="8"/>
                    </a:cubicBezTo>
                    <a:cubicBezTo>
                      <a:pt x="6" y="8"/>
                      <a:pt x="8" y="13"/>
                      <a:pt x="9" y="14"/>
                    </a:cubicBezTo>
                    <a:cubicBezTo>
                      <a:pt x="12" y="11"/>
                      <a:pt x="16" y="7"/>
                      <a:pt x="18" y="3"/>
                    </a:cubicBezTo>
                    <a:cubicBezTo>
                      <a:pt x="18" y="3"/>
                      <a:pt x="18" y="3"/>
                      <a:pt x="18" y="3"/>
                    </a:cubicBezTo>
                    <a:cubicBezTo>
                      <a:pt x="18" y="3"/>
                      <a:pt x="17" y="3"/>
                      <a:pt x="17" y="3"/>
                    </a:cubicBezTo>
                    <a:cubicBezTo>
                      <a:pt x="17" y="3"/>
                      <a:pt x="17" y="3"/>
                      <a:pt x="16" y="3"/>
                    </a:cubicBezTo>
                    <a:cubicBezTo>
                      <a:pt x="16" y="3"/>
                      <a:pt x="16" y="3"/>
                      <a:pt x="16" y="3"/>
                    </a:cubicBezTo>
                    <a:cubicBezTo>
                      <a:pt x="16" y="3"/>
                      <a:pt x="16" y="3"/>
                      <a:pt x="16" y="3"/>
                    </a:cubicBezTo>
                    <a:cubicBezTo>
                      <a:pt x="16" y="3"/>
                      <a:pt x="15" y="3"/>
                      <a:pt x="15" y="3"/>
                    </a:cubicBezTo>
                    <a:cubicBezTo>
                      <a:pt x="15" y="3"/>
                      <a:pt x="15" y="3"/>
                      <a:pt x="15" y="3"/>
                    </a:cubicBezTo>
                    <a:cubicBezTo>
                      <a:pt x="15" y="3"/>
                      <a:pt x="15" y="3"/>
                      <a:pt x="15" y="3"/>
                    </a:cubicBezTo>
                    <a:cubicBezTo>
                      <a:pt x="14" y="1"/>
                      <a:pt x="14" y="1"/>
                      <a:pt x="14" y="1"/>
                    </a:cubicBezTo>
                    <a:cubicBezTo>
                      <a:pt x="14" y="1"/>
                      <a:pt x="13" y="1"/>
                      <a:pt x="12" y="1"/>
                    </a:cubicBezTo>
                    <a:cubicBezTo>
                      <a:pt x="12" y="1"/>
                      <a:pt x="12" y="1"/>
                      <a:pt x="12" y="1"/>
                    </a:cubicBezTo>
                    <a:cubicBezTo>
                      <a:pt x="12" y="1"/>
                      <a:pt x="12" y="1"/>
                      <a:pt x="11" y="1"/>
                    </a:cubicBezTo>
                    <a:cubicBezTo>
                      <a:pt x="11" y="1"/>
                      <a:pt x="10" y="1"/>
                      <a:pt x="9"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283"/>
              <p:cNvSpPr/>
              <p:nvPr/>
            </p:nvSpPr>
            <p:spPr bwMode="auto">
              <a:xfrm>
                <a:off x="9119" y="1108"/>
                <a:ext cx="99" cy="64"/>
              </a:xfrm>
              <a:custGeom>
                <a:gdLst>
                  <a:gd name="T0" fmla="*/ 40 w 42"/>
                  <a:gd name="T1" fmla="*/ 0 h 27"/>
                  <a:gd name="T2" fmla="*/ 27 w 42"/>
                  <a:gd name="T3" fmla="*/ 7 h 27"/>
                  <a:gd name="T4" fmla="*/ 26 w 42"/>
                  <a:gd name="T5" fmla="*/ 7 h 27"/>
                  <a:gd name="T6" fmla="*/ 23 w 42"/>
                  <a:gd name="T7" fmla="*/ 3 h 27"/>
                  <a:gd name="T8" fmla="*/ 22 w 42"/>
                  <a:gd name="T9" fmla="*/ 4 h 27"/>
                  <a:gd name="T10" fmla="*/ 22 w 42"/>
                  <a:gd name="T11" fmla="*/ 5 h 27"/>
                  <a:gd name="T12" fmla="*/ 20 w 42"/>
                  <a:gd name="T13" fmla="*/ 7 h 27"/>
                  <a:gd name="T14" fmla="*/ 15 w 42"/>
                  <a:gd name="T15" fmla="*/ 11 h 27"/>
                  <a:gd name="T16" fmla="*/ 8 w 42"/>
                  <a:gd name="T17" fmla="*/ 19 h 27"/>
                  <a:gd name="T18" fmla="*/ 3 w 42"/>
                  <a:gd name="T19" fmla="*/ 27 h 27"/>
                  <a:gd name="T20" fmla="*/ 4 w 42"/>
                  <a:gd name="T21" fmla="*/ 27 h 27"/>
                  <a:gd name="T22" fmla="*/ 6 w 42"/>
                  <a:gd name="T23" fmla="*/ 24 h 27"/>
                  <a:gd name="T24" fmla="*/ 10 w 42"/>
                  <a:gd name="T25" fmla="*/ 22 h 27"/>
                  <a:gd name="T26" fmla="*/ 13 w 42"/>
                  <a:gd name="T27" fmla="*/ 19 h 27"/>
                  <a:gd name="T28" fmla="*/ 16 w 42"/>
                  <a:gd name="T29" fmla="*/ 16 h 27"/>
                  <a:gd name="T30" fmla="*/ 19 w 42"/>
                  <a:gd name="T31" fmla="*/ 13 h 27"/>
                  <a:gd name="T32" fmla="*/ 19 w 42"/>
                  <a:gd name="T33" fmla="*/ 13 h 27"/>
                  <a:gd name="T34" fmla="*/ 19 w 42"/>
                  <a:gd name="T35" fmla="*/ 13 h 27"/>
                  <a:gd name="T36" fmla="*/ 20 w 42"/>
                  <a:gd name="T37" fmla="*/ 14 h 27"/>
                  <a:gd name="T38" fmla="*/ 20 w 42"/>
                  <a:gd name="T39" fmla="*/ 14 h 27"/>
                  <a:gd name="T40" fmla="*/ 23 w 42"/>
                  <a:gd name="T41" fmla="*/ 13 h 27"/>
                  <a:gd name="T42" fmla="*/ 25 w 42"/>
                  <a:gd name="T43" fmla="*/ 10 h 27"/>
                  <a:gd name="T44" fmla="*/ 34 w 42"/>
                  <a:gd name="T45" fmla="*/ 6 h 27"/>
                  <a:gd name="T46" fmla="*/ 39 w 42"/>
                  <a:gd name="T47" fmla="*/ 5 h 27"/>
                  <a:gd name="T48" fmla="*/ 40 w 42"/>
                  <a:gd name="T49"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27">
                    <a:moveTo>
                      <a:pt x="40" y="0"/>
                    </a:moveTo>
                    <a:cubicBezTo>
                      <a:pt x="37" y="2"/>
                      <a:pt x="31" y="7"/>
                      <a:pt x="27" y="7"/>
                    </a:cubicBezTo>
                    <a:cubicBezTo>
                      <a:pt x="27" y="7"/>
                      <a:pt x="26" y="7"/>
                      <a:pt x="26" y="7"/>
                    </a:cubicBezTo>
                    <a:cubicBezTo>
                      <a:pt x="24" y="6"/>
                      <a:pt x="24" y="3"/>
                      <a:pt x="23" y="3"/>
                    </a:cubicBezTo>
                    <a:cubicBezTo>
                      <a:pt x="23" y="3"/>
                      <a:pt x="22" y="3"/>
                      <a:pt x="22" y="4"/>
                    </a:cubicBezTo>
                    <a:cubicBezTo>
                      <a:pt x="21" y="4"/>
                      <a:pt x="22" y="5"/>
                      <a:pt x="22" y="5"/>
                    </a:cubicBezTo>
                    <a:cubicBezTo>
                      <a:pt x="21" y="5"/>
                      <a:pt x="21" y="6"/>
                      <a:pt x="20" y="7"/>
                    </a:cubicBezTo>
                    <a:cubicBezTo>
                      <a:pt x="18" y="8"/>
                      <a:pt x="16" y="10"/>
                      <a:pt x="15" y="11"/>
                    </a:cubicBezTo>
                    <a:cubicBezTo>
                      <a:pt x="14" y="13"/>
                      <a:pt x="5" y="18"/>
                      <a:pt x="8" y="19"/>
                    </a:cubicBezTo>
                    <a:cubicBezTo>
                      <a:pt x="7" y="20"/>
                      <a:pt x="0" y="25"/>
                      <a:pt x="3" y="27"/>
                    </a:cubicBezTo>
                    <a:cubicBezTo>
                      <a:pt x="3" y="27"/>
                      <a:pt x="3" y="27"/>
                      <a:pt x="4" y="27"/>
                    </a:cubicBezTo>
                    <a:cubicBezTo>
                      <a:pt x="5" y="27"/>
                      <a:pt x="5" y="25"/>
                      <a:pt x="6" y="24"/>
                    </a:cubicBezTo>
                    <a:cubicBezTo>
                      <a:pt x="7" y="23"/>
                      <a:pt x="9" y="24"/>
                      <a:pt x="10" y="22"/>
                    </a:cubicBezTo>
                    <a:cubicBezTo>
                      <a:pt x="11" y="21"/>
                      <a:pt x="11" y="20"/>
                      <a:pt x="13" y="19"/>
                    </a:cubicBezTo>
                    <a:cubicBezTo>
                      <a:pt x="14" y="18"/>
                      <a:pt x="15" y="18"/>
                      <a:pt x="16" y="16"/>
                    </a:cubicBezTo>
                    <a:cubicBezTo>
                      <a:pt x="17" y="15"/>
                      <a:pt x="16" y="14"/>
                      <a:pt x="19" y="13"/>
                    </a:cubicBezTo>
                    <a:cubicBezTo>
                      <a:pt x="19" y="13"/>
                      <a:pt x="19" y="13"/>
                      <a:pt x="19" y="13"/>
                    </a:cubicBezTo>
                    <a:cubicBezTo>
                      <a:pt x="19" y="13"/>
                      <a:pt x="19" y="13"/>
                      <a:pt x="19" y="13"/>
                    </a:cubicBezTo>
                    <a:cubicBezTo>
                      <a:pt x="20" y="14"/>
                      <a:pt x="20" y="14"/>
                      <a:pt x="20" y="14"/>
                    </a:cubicBezTo>
                    <a:cubicBezTo>
                      <a:pt x="20" y="14"/>
                      <a:pt x="20" y="14"/>
                      <a:pt x="20" y="14"/>
                    </a:cubicBezTo>
                    <a:cubicBezTo>
                      <a:pt x="21" y="14"/>
                      <a:pt x="22" y="13"/>
                      <a:pt x="23" y="13"/>
                    </a:cubicBezTo>
                    <a:cubicBezTo>
                      <a:pt x="24" y="12"/>
                      <a:pt x="24" y="11"/>
                      <a:pt x="25" y="10"/>
                    </a:cubicBezTo>
                    <a:cubicBezTo>
                      <a:pt x="28" y="8"/>
                      <a:pt x="31" y="7"/>
                      <a:pt x="34" y="6"/>
                    </a:cubicBezTo>
                    <a:cubicBezTo>
                      <a:pt x="36" y="5"/>
                      <a:pt x="37" y="6"/>
                      <a:pt x="39" y="5"/>
                    </a:cubicBezTo>
                    <a:cubicBezTo>
                      <a:pt x="42" y="5"/>
                      <a:pt x="39" y="3"/>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284"/>
              <p:cNvSpPr/>
              <p:nvPr/>
            </p:nvSpPr>
            <p:spPr bwMode="auto">
              <a:xfrm>
                <a:off x="5312" y="-1594"/>
                <a:ext cx="73" cy="11"/>
              </a:xfrm>
              <a:custGeom>
                <a:gdLst>
                  <a:gd name="T0" fmla="*/ 0 w 31"/>
                  <a:gd name="T1" fmla="*/ 0 h 5"/>
                  <a:gd name="T2" fmla="*/ 8 w 31"/>
                  <a:gd name="T3" fmla="*/ 3 h 5"/>
                  <a:gd name="T4" fmla="*/ 16 w 31"/>
                  <a:gd name="T5" fmla="*/ 5 h 5"/>
                  <a:gd name="T6" fmla="*/ 23 w 31"/>
                  <a:gd name="T7" fmla="*/ 5 h 5"/>
                  <a:gd name="T8" fmla="*/ 31 w 31"/>
                  <a:gd name="T9" fmla="*/ 2 h 5"/>
                  <a:gd name="T10" fmla="*/ 0 w 31"/>
                  <a:gd name="T11" fmla="*/ 0 h 5"/>
                </a:gdLst>
                <a:cxnLst>
                  <a:cxn ang="0">
                    <a:pos x="T0" y="T1"/>
                  </a:cxn>
                  <a:cxn ang="0">
                    <a:pos x="T2" y="T3"/>
                  </a:cxn>
                  <a:cxn ang="0">
                    <a:pos x="T4" y="T5"/>
                  </a:cxn>
                  <a:cxn ang="0">
                    <a:pos x="T6" y="T7"/>
                  </a:cxn>
                  <a:cxn ang="0">
                    <a:pos x="T8" y="T9"/>
                  </a:cxn>
                  <a:cxn ang="0">
                    <a:pos x="T10" y="T11"/>
                  </a:cxn>
                </a:cxnLst>
                <a:rect l="0" t="0" r="r" b="b"/>
                <a:pathLst>
                  <a:path w="31" h="5">
                    <a:moveTo>
                      <a:pt x="0" y="0"/>
                    </a:moveTo>
                    <a:cubicBezTo>
                      <a:pt x="3" y="2"/>
                      <a:pt x="6" y="2"/>
                      <a:pt x="8" y="3"/>
                    </a:cubicBezTo>
                    <a:cubicBezTo>
                      <a:pt x="11" y="4"/>
                      <a:pt x="14" y="4"/>
                      <a:pt x="16" y="5"/>
                    </a:cubicBezTo>
                    <a:cubicBezTo>
                      <a:pt x="18" y="5"/>
                      <a:pt x="20" y="5"/>
                      <a:pt x="23" y="5"/>
                    </a:cubicBezTo>
                    <a:cubicBezTo>
                      <a:pt x="27" y="5"/>
                      <a:pt x="30" y="4"/>
                      <a:pt x="31" y="2"/>
                    </a:cubicBezTo>
                    <a:cubicBezTo>
                      <a:pt x="21" y="1"/>
                      <a:pt x="1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285"/>
              <p:cNvSpPr/>
              <p:nvPr/>
            </p:nvSpPr>
            <p:spPr bwMode="auto">
              <a:xfrm>
                <a:off x="9195" y="-1100"/>
                <a:ext cx="47" cy="14"/>
              </a:xfrm>
              <a:custGeom>
                <a:gdLst>
                  <a:gd name="T0" fmla="*/ 19 w 20"/>
                  <a:gd name="T1" fmla="*/ 0 h 6"/>
                  <a:gd name="T2" fmla="*/ 17 w 20"/>
                  <a:gd name="T3" fmla="*/ 1 h 6"/>
                  <a:gd name="T4" fmla="*/ 14 w 20"/>
                  <a:gd name="T5" fmla="*/ 1 h 6"/>
                  <a:gd name="T6" fmla="*/ 14 w 20"/>
                  <a:gd name="T7" fmla="*/ 1 h 6"/>
                  <a:gd name="T8" fmla="*/ 14 w 20"/>
                  <a:gd name="T9" fmla="*/ 1 h 6"/>
                  <a:gd name="T10" fmla="*/ 9 w 20"/>
                  <a:gd name="T11" fmla="*/ 2 h 6"/>
                  <a:gd name="T12" fmla="*/ 0 w 20"/>
                  <a:gd name="T13" fmla="*/ 6 h 6"/>
                  <a:gd name="T14" fmla="*/ 20 w 20"/>
                  <a:gd name="T15" fmla="*/ 0 h 6"/>
                  <a:gd name="T16" fmla="*/ 19 w 20"/>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6">
                    <a:moveTo>
                      <a:pt x="19" y="0"/>
                    </a:moveTo>
                    <a:cubicBezTo>
                      <a:pt x="18" y="0"/>
                      <a:pt x="18" y="1"/>
                      <a:pt x="17" y="1"/>
                    </a:cubicBezTo>
                    <a:cubicBezTo>
                      <a:pt x="16" y="1"/>
                      <a:pt x="15" y="1"/>
                      <a:pt x="14" y="1"/>
                    </a:cubicBezTo>
                    <a:cubicBezTo>
                      <a:pt x="14" y="1"/>
                      <a:pt x="14" y="1"/>
                      <a:pt x="14" y="1"/>
                    </a:cubicBezTo>
                    <a:cubicBezTo>
                      <a:pt x="14" y="1"/>
                      <a:pt x="14" y="1"/>
                      <a:pt x="14" y="1"/>
                    </a:cubicBezTo>
                    <a:cubicBezTo>
                      <a:pt x="12" y="1"/>
                      <a:pt x="11" y="1"/>
                      <a:pt x="9" y="2"/>
                    </a:cubicBezTo>
                    <a:cubicBezTo>
                      <a:pt x="6" y="2"/>
                      <a:pt x="2" y="3"/>
                      <a:pt x="0" y="6"/>
                    </a:cubicBezTo>
                    <a:cubicBezTo>
                      <a:pt x="7" y="4"/>
                      <a:pt x="13" y="2"/>
                      <a:pt x="20" y="0"/>
                    </a:cubicBez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286"/>
              <p:cNvSpPr/>
              <p:nvPr/>
            </p:nvSpPr>
            <p:spPr bwMode="auto">
              <a:xfrm>
                <a:off x="8611" y="-869"/>
                <a:ext cx="40" cy="31"/>
              </a:xfrm>
              <a:custGeom>
                <a:gdLst>
                  <a:gd name="T0" fmla="*/ 0 w 17"/>
                  <a:gd name="T1" fmla="*/ 0 h 13"/>
                  <a:gd name="T2" fmla="*/ 13 w 17"/>
                  <a:gd name="T3" fmla="*/ 13 h 13"/>
                  <a:gd name="T4" fmla="*/ 14 w 17"/>
                  <a:gd name="T5" fmla="*/ 13 h 13"/>
                  <a:gd name="T6" fmla="*/ 12 w 17"/>
                  <a:gd name="T7" fmla="*/ 7 h 13"/>
                  <a:gd name="T8" fmla="*/ 0 w 17"/>
                  <a:gd name="T9" fmla="*/ 0 h 13"/>
                </a:gdLst>
                <a:cxnLst>
                  <a:cxn ang="0">
                    <a:pos x="T0" y="T1"/>
                  </a:cxn>
                  <a:cxn ang="0">
                    <a:pos x="T2" y="T3"/>
                  </a:cxn>
                  <a:cxn ang="0">
                    <a:pos x="T4" y="T5"/>
                  </a:cxn>
                  <a:cxn ang="0">
                    <a:pos x="T6" y="T7"/>
                  </a:cxn>
                  <a:cxn ang="0">
                    <a:pos x="T8" y="T9"/>
                  </a:cxn>
                </a:cxnLst>
                <a:rect l="0" t="0" r="r" b="b"/>
                <a:pathLst>
                  <a:path w="17" h="13">
                    <a:moveTo>
                      <a:pt x="0" y="0"/>
                    </a:moveTo>
                    <a:cubicBezTo>
                      <a:pt x="1" y="2"/>
                      <a:pt x="10" y="13"/>
                      <a:pt x="13" y="13"/>
                    </a:cubicBezTo>
                    <a:cubicBezTo>
                      <a:pt x="14" y="13"/>
                      <a:pt x="14" y="13"/>
                      <a:pt x="14" y="13"/>
                    </a:cubicBezTo>
                    <a:cubicBezTo>
                      <a:pt x="17" y="10"/>
                      <a:pt x="15" y="9"/>
                      <a:pt x="12" y="7"/>
                    </a:cubicBezTo>
                    <a:cubicBezTo>
                      <a:pt x="9" y="4"/>
                      <a:pt x="4"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287"/>
              <p:cNvSpPr/>
              <p:nvPr/>
            </p:nvSpPr>
            <p:spPr bwMode="auto">
              <a:xfrm>
                <a:off x="5014" y="-1561"/>
                <a:ext cx="104" cy="23"/>
              </a:xfrm>
              <a:custGeom>
                <a:gdLst>
                  <a:gd name="T0" fmla="*/ 19 w 44"/>
                  <a:gd name="T1" fmla="*/ 0 h 10"/>
                  <a:gd name="T2" fmla="*/ 17 w 44"/>
                  <a:gd name="T3" fmla="*/ 0 h 10"/>
                  <a:gd name="T4" fmla="*/ 19 w 44"/>
                  <a:gd name="T5" fmla="*/ 5 h 10"/>
                  <a:gd name="T6" fmla="*/ 7 w 44"/>
                  <a:gd name="T7" fmla="*/ 4 h 10"/>
                  <a:gd name="T8" fmla="*/ 3 w 44"/>
                  <a:gd name="T9" fmla="*/ 4 h 10"/>
                  <a:gd name="T10" fmla="*/ 3 w 44"/>
                  <a:gd name="T11" fmla="*/ 4 h 10"/>
                  <a:gd name="T12" fmla="*/ 0 w 44"/>
                  <a:gd name="T13" fmla="*/ 7 h 10"/>
                  <a:gd name="T14" fmla="*/ 4 w 44"/>
                  <a:gd name="T15" fmla="*/ 9 h 10"/>
                  <a:gd name="T16" fmla="*/ 12 w 44"/>
                  <a:gd name="T17" fmla="*/ 7 h 10"/>
                  <a:gd name="T18" fmla="*/ 13 w 44"/>
                  <a:gd name="T19" fmla="*/ 7 h 10"/>
                  <a:gd name="T20" fmla="*/ 15 w 44"/>
                  <a:gd name="T21" fmla="*/ 8 h 10"/>
                  <a:gd name="T22" fmla="*/ 16 w 44"/>
                  <a:gd name="T23" fmla="*/ 9 h 10"/>
                  <a:gd name="T24" fmla="*/ 18 w 44"/>
                  <a:gd name="T25" fmla="*/ 10 h 10"/>
                  <a:gd name="T26" fmla="*/ 21 w 44"/>
                  <a:gd name="T27" fmla="*/ 9 h 10"/>
                  <a:gd name="T28" fmla="*/ 32 w 44"/>
                  <a:gd name="T29" fmla="*/ 6 h 10"/>
                  <a:gd name="T30" fmla="*/ 44 w 44"/>
                  <a:gd name="T31" fmla="*/ 5 h 10"/>
                  <a:gd name="T32" fmla="*/ 23 w 44"/>
                  <a:gd name="T33" fmla="*/ 0 h 10"/>
                  <a:gd name="T34" fmla="*/ 19 w 44"/>
                  <a:gd name="T35"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10">
                    <a:moveTo>
                      <a:pt x="19" y="0"/>
                    </a:moveTo>
                    <a:cubicBezTo>
                      <a:pt x="18" y="0"/>
                      <a:pt x="17" y="0"/>
                      <a:pt x="17" y="0"/>
                    </a:cubicBezTo>
                    <a:cubicBezTo>
                      <a:pt x="15" y="2"/>
                      <a:pt x="18" y="5"/>
                      <a:pt x="19" y="5"/>
                    </a:cubicBezTo>
                    <a:cubicBezTo>
                      <a:pt x="15" y="5"/>
                      <a:pt x="11" y="4"/>
                      <a:pt x="7" y="4"/>
                    </a:cubicBezTo>
                    <a:cubicBezTo>
                      <a:pt x="6" y="4"/>
                      <a:pt x="4" y="4"/>
                      <a:pt x="3" y="4"/>
                    </a:cubicBezTo>
                    <a:cubicBezTo>
                      <a:pt x="3" y="4"/>
                      <a:pt x="3" y="4"/>
                      <a:pt x="3" y="4"/>
                    </a:cubicBezTo>
                    <a:cubicBezTo>
                      <a:pt x="1" y="4"/>
                      <a:pt x="1" y="6"/>
                      <a:pt x="0" y="7"/>
                    </a:cubicBezTo>
                    <a:cubicBezTo>
                      <a:pt x="2" y="8"/>
                      <a:pt x="3" y="9"/>
                      <a:pt x="4" y="9"/>
                    </a:cubicBezTo>
                    <a:cubicBezTo>
                      <a:pt x="7" y="9"/>
                      <a:pt x="10" y="8"/>
                      <a:pt x="12" y="7"/>
                    </a:cubicBezTo>
                    <a:cubicBezTo>
                      <a:pt x="13" y="7"/>
                      <a:pt x="13" y="7"/>
                      <a:pt x="13" y="7"/>
                    </a:cubicBezTo>
                    <a:cubicBezTo>
                      <a:pt x="14" y="7"/>
                      <a:pt x="15" y="7"/>
                      <a:pt x="15" y="8"/>
                    </a:cubicBezTo>
                    <a:cubicBezTo>
                      <a:pt x="16" y="8"/>
                      <a:pt x="16" y="9"/>
                      <a:pt x="16" y="9"/>
                    </a:cubicBezTo>
                    <a:cubicBezTo>
                      <a:pt x="17" y="10"/>
                      <a:pt x="18" y="10"/>
                      <a:pt x="18" y="10"/>
                    </a:cubicBezTo>
                    <a:cubicBezTo>
                      <a:pt x="19" y="10"/>
                      <a:pt x="20" y="9"/>
                      <a:pt x="21" y="9"/>
                    </a:cubicBezTo>
                    <a:cubicBezTo>
                      <a:pt x="25" y="7"/>
                      <a:pt x="28" y="6"/>
                      <a:pt x="32" y="6"/>
                    </a:cubicBezTo>
                    <a:cubicBezTo>
                      <a:pt x="36" y="5"/>
                      <a:pt x="40" y="6"/>
                      <a:pt x="44" y="5"/>
                    </a:cubicBezTo>
                    <a:cubicBezTo>
                      <a:pt x="38" y="1"/>
                      <a:pt x="30" y="1"/>
                      <a:pt x="23" y="0"/>
                    </a:cubicBezTo>
                    <a:cubicBezTo>
                      <a:pt x="22" y="0"/>
                      <a:pt x="21"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288"/>
              <p:cNvSpPr/>
              <p:nvPr/>
            </p:nvSpPr>
            <p:spPr bwMode="auto">
              <a:xfrm>
                <a:off x="5220" y="-1531"/>
                <a:ext cx="71" cy="19"/>
              </a:xfrm>
              <a:custGeom>
                <a:gdLst>
                  <a:gd name="T0" fmla="*/ 30 w 30"/>
                  <a:gd name="T1" fmla="*/ 0 h 8"/>
                  <a:gd name="T2" fmla="*/ 0 w 30"/>
                  <a:gd name="T3" fmla="*/ 4 h 8"/>
                  <a:gd name="T4" fmla="*/ 14 w 30"/>
                  <a:gd name="T5" fmla="*/ 8 h 8"/>
                  <a:gd name="T6" fmla="*/ 18 w 30"/>
                  <a:gd name="T7" fmla="*/ 8 h 8"/>
                  <a:gd name="T8" fmla="*/ 25 w 30"/>
                  <a:gd name="T9" fmla="*/ 5 h 8"/>
                  <a:gd name="T10" fmla="*/ 28 w 30"/>
                  <a:gd name="T11" fmla="*/ 3 h 8"/>
                  <a:gd name="T12" fmla="*/ 30 w 30"/>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30" h="8">
                    <a:moveTo>
                      <a:pt x="30" y="0"/>
                    </a:moveTo>
                    <a:cubicBezTo>
                      <a:pt x="20" y="1"/>
                      <a:pt x="10" y="3"/>
                      <a:pt x="0" y="4"/>
                    </a:cubicBezTo>
                    <a:cubicBezTo>
                      <a:pt x="4" y="7"/>
                      <a:pt x="9" y="8"/>
                      <a:pt x="14" y="8"/>
                    </a:cubicBezTo>
                    <a:cubicBezTo>
                      <a:pt x="15" y="8"/>
                      <a:pt x="16" y="8"/>
                      <a:pt x="18" y="8"/>
                    </a:cubicBezTo>
                    <a:cubicBezTo>
                      <a:pt x="20" y="7"/>
                      <a:pt x="23" y="6"/>
                      <a:pt x="25" y="5"/>
                    </a:cubicBezTo>
                    <a:cubicBezTo>
                      <a:pt x="26" y="4"/>
                      <a:pt x="27" y="4"/>
                      <a:pt x="28" y="3"/>
                    </a:cubicBezTo>
                    <a:cubicBezTo>
                      <a:pt x="29" y="2"/>
                      <a:pt x="29"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289"/>
              <p:cNvSpPr/>
              <p:nvPr/>
            </p:nvSpPr>
            <p:spPr bwMode="auto">
              <a:xfrm>
                <a:off x="8670" y="541"/>
                <a:ext cx="19" cy="16"/>
              </a:xfrm>
              <a:custGeom>
                <a:gdLst>
                  <a:gd name="T0" fmla="*/ 8 w 8"/>
                  <a:gd name="T1" fmla="*/ 0 h 7"/>
                  <a:gd name="T2" fmla="*/ 7 w 8"/>
                  <a:gd name="T3" fmla="*/ 0 h 7"/>
                  <a:gd name="T4" fmla="*/ 7 w 8"/>
                  <a:gd name="T5" fmla="*/ 1 h 7"/>
                  <a:gd name="T6" fmla="*/ 7 w 8"/>
                  <a:gd name="T7" fmla="*/ 1 h 7"/>
                  <a:gd name="T8" fmla="*/ 6 w 8"/>
                  <a:gd name="T9" fmla="*/ 1 h 7"/>
                  <a:gd name="T10" fmla="*/ 0 w 8"/>
                  <a:gd name="T11" fmla="*/ 7 h 7"/>
                  <a:gd name="T12" fmla="*/ 8 w 8"/>
                  <a:gd name="T13" fmla="*/ 1 h 7"/>
                  <a:gd name="T14" fmla="*/ 8 w 8"/>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8" y="0"/>
                    </a:moveTo>
                    <a:cubicBezTo>
                      <a:pt x="8" y="0"/>
                      <a:pt x="8" y="0"/>
                      <a:pt x="7" y="0"/>
                    </a:cubicBezTo>
                    <a:cubicBezTo>
                      <a:pt x="7" y="1"/>
                      <a:pt x="7" y="1"/>
                      <a:pt x="7" y="1"/>
                    </a:cubicBezTo>
                    <a:cubicBezTo>
                      <a:pt x="7" y="1"/>
                      <a:pt x="7" y="1"/>
                      <a:pt x="7" y="1"/>
                    </a:cubicBezTo>
                    <a:cubicBezTo>
                      <a:pt x="6" y="1"/>
                      <a:pt x="6" y="1"/>
                      <a:pt x="6" y="1"/>
                    </a:cubicBezTo>
                    <a:cubicBezTo>
                      <a:pt x="3" y="2"/>
                      <a:pt x="0" y="3"/>
                      <a:pt x="0" y="7"/>
                    </a:cubicBezTo>
                    <a:cubicBezTo>
                      <a:pt x="4" y="6"/>
                      <a:pt x="7" y="6"/>
                      <a:pt x="8" y="1"/>
                    </a:cubicBezTo>
                    <a:cubicBezTo>
                      <a:pt x="8" y="1"/>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290"/>
              <p:cNvSpPr/>
              <p:nvPr/>
            </p:nvSpPr>
            <p:spPr bwMode="auto">
              <a:xfrm>
                <a:off x="5158" y="-1427"/>
                <a:ext cx="55" cy="19"/>
              </a:xfrm>
              <a:custGeom>
                <a:gdLst>
                  <a:gd name="T0" fmla="*/ 13 w 23"/>
                  <a:gd name="T1" fmla="*/ 0 h 8"/>
                  <a:gd name="T2" fmla="*/ 0 w 23"/>
                  <a:gd name="T3" fmla="*/ 3 h 8"/>
                  <a:gd name="T4" fmla="*/ 12 w 23"/>
                  <a:gd name="T5" fmla="*/ 8 h 8"/>
                  <a:gd name="T6" fmla="*/ 20 w 23"/>
                  <a:gd name="T7" fmla="*/ 6 h 8"/>
                  <a:gd name="T8" fmla="*/ 17 w 23"/>
                  <a:gd name="T9" fmla="*/ 0 h 8"/>
                  <a:gd name="T10" fmla="*/ 13 w 23"/>
                  <a:gd name="T11" fmla="*/ 0 h 8"/>
                </a:gdLst>
                <a:cxnLst>
                  <a:cxn ang="0">
                    <a:pos x="T0" y="T1"/>
                  </a:cxn>
                  <a:cxn ang="0">
                    <a:pos x="T2" y="T3"/>
                  </a:cxn>
                  <a:cxn ang="0">
                    <a:pos x="T4" y="T5"/>
                  </a:cxn>
                  <a:cxn ang="0">
                    <a:pos x="T6" y="T7"/>
                  </a:cxn>
                  <a:cxn ang="0">
                    <a:pos x="T8" y="T9"/>
                  </a:cxn>
                  <a:cxn ang="0">
                    <a:pos x="T10" y="T11"/>
                  </a:cxn>
                </a:cxnLst>
                <a:rect l="0" t="0" r="r" b="b"/>
                <a:pathLst>
                  <a:path w="23" h="8">
                    <a:moveTo>
                      <a:pt x="13" y="0"/>
                    </a:moveTo>
                    <a:cubicBezTo>
                      <a:pt x="9" y="0"/>
                      <a:pt x="3" y="1"/>
                      <a:pt x="0" y="3"/>
                    </a:cubicBezTo>
                    <a:cubicBezTo>
                      <a:pt x="4" y="5"/>
                      <a:pt x="8" y="7"/>
                      <a:pt x="12" y="8"/>
                    </a:cubicBezTo>
                    <a:cubicBezTo>
                      <a:pt x="14" y="7"/>
                      <a:pt x="17" y="7"/>
                      <a:pt x="20" y="6"/>
                    </a:cubicBezTo>
                    <a:cubicBezTo>
                      <a:pt x="23" y="3"/>
                      <a:pt x="20" y="1"/>
                      <a:pt x="17" y="0"/>
                    </a:cubicBezTo>
                    <a:cubicBezTo>
                      <a:pt x="16" y="0"/>
                      <a:pt x="15"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Freeform 291"/>
              <p:cNvSpPr/>
              <p:nvPr/>
            </p:nvSpPr>
            <p:spPr bwMode="auto">
              <a:xfrm>
                <a:off x="8819" y="-871"/>
                <a:ext cx="52" cy="33"/>
              </a:xfrm>
              <a:custGeom>
                <a:gdLst>
                  <a:gd name="T0" fmla="*/ 11 w 22"/>
                  <a:gd name="T1" fmla="*/ 0 h 14"/>
                  <a:gd name="T2" fmla="*/ 6 w 22"/>
                  <a:gd name="T3" fmla="*/ 0 h 14"/>
                  <a:gd name="T4" fmla="*/ 1 w 22"/>
                  <a:gd name="T5" fmla="*/ 6 h 14"/>
                  <a:gd name="T6" fmla="*/ 8 w 22"/>
                  <a:gd name="T7" fmla="*/ 14 h 14"/>
                  <a:gd name="T8" fmla="*/ 14 w 22"/>
                  <a:gd name="T9" fmla="*/ 12 h 14"/>
                  <a:gd name="T10" fmla="*/ 18 w 22"/>
                  <a:gd name="T11" fmla="*/ 11 h 14"/>
                  <a:gd name="T12" fmla="*/ 16 w 22"/>
                  <a:gd name="T13" fmla="*/ 0 h 14"/>
                  <a:gd name="T14" fmla="*/ 11 w 22"/>
                  <a:gd name="T15" fmla="*/ 0 h 1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1" y="0"/>
                    </a:moveTo>
                    <a:cubicBezTo>
                      <a:pt x="9" y="0"/>
                      <a:pt x="8" y="0"/>
                      <a:pt x="6" y="0"/>
                    </a:cubicBezTo>
                    <a:cubicBezTo>
                      <a:pt x="3" y="1"/>
                      <a:pt x="1" y="3"/>
                      <a:pt x="1" y="6"/>
                    </a:cubicBezTo>
                    <a:cubicBezTo>
                      <a:pt x="0" y="10"/>
                      <a:pt x="5" y="12"/>
                      <a:pt x="8" y="14"/>
                    </a:cubicBezTo>
                    <a:cubicBezTo>
                      <a:pt x="10" y="14"/>
                      <a:pt x="12" y="13"/>
                      <a:pt x="14" y="12"/>
                    </a:cubicBezTo>
                    <a:cubicBezTo>
                      <a:pt x="15" y="12"/>
                      <a:pt x="17" y="11"/>
                      <a:pt x="18" y="11"/>
                    </a:cubicBezTo>
                    <a:cubicBezTo>
                      <a:pt x="22" y="8"/>
                      <a:pt x="20" y="1"/>
                      <a:pt x="16" y="0"/>
                    </a:cubicBezTo>
                    <a:cubicBezTo>
                      <a:pt x="15" y="0"/>
                      <a:pt x="13"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292"/>
              <p:cNvSpPr/>
              <p:nvPr/>
            </p:nvSpPr>
            <p:spPr bwMode="auto">
              <a:xfrm>
                <a:off x="4946" y="-1502"/>
                <a:ext cx="87" cy="12"/>
              </a:xfrm>
              <a:custGeom>
                <a:gdLst>
                  <a:gd name="T0" fmla="*/ 0 w 37"/>
                  <a:gd name="T1" fmla="*/ 0 h 5"/>
                  <a:gd name="T2" fmla="*/ 5 w 37"/>
                  <a:gd name="T3" fmla="*/ 2 h 5"/>
                  <a:gd name="T4" fmla="*/ 11 w 37"/>
                  <a:gd name="T5" fmla="*/ 2 h 5"/>
                  <a:gd name="T6" fmla="*/ 11 w 37"/>
                  <a:gd name="T7" fmla="*/ 2 h 5"/>
                  <a:gd name="T8" fmla="*/ 14 w 37"/>
                  <a:gd name="T9" fmla="*/ 5 h 5"/>
                  <a:gd name="T10" fmla="*/ 16 w 37"/>
                  <a:gd name="T11" fmla="*/ 5 h 5"/>
                  <a:gd name="T12" fmla="*/ 19 w 37"/>
                  <a:gd name="T13" fmla="*/ 4 h 5"/>
                  <a:gd name="T14" fmla="*/ 37 w 37"/>
                  <a:gd name="T15" fmla="*/ 1 h 5"/>
                  <a:gd name="T16" fmla="*/ 0 w 37"/>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5">
                    <a:moveTo>
                      <a:pt x="0" y="0"/>
                    </a:moveTo>
                    <a:cubicBezTo>
                      <a:pt x="1" y="2"/>
                      <a:pt x="3" y="2"/>
                      <a:pt x="5" y="2"/>
                    </a:cubicBezTo>
                    <a:cubicBezTo>
                      <a:pt x="7" y="2"/>
                      <a:pt x="8" y="2"/>
                      <a:pt x="11" y="2"/>
                    </a:cubicBezTo>
                    <a:cubicBezTo>
                      <a:pt x="11" y="2"/>
                      <a:pt x="11" y="2"/>
                      <a:pt x="11" y="2"/>
                    </a:cubicBezTo>
                    <a:cubicBezTo>
                      <a:pt x="13" y="2"/>
                      <a:pt x="13" y="4"/>
                      <a:pt x="14" y="5"/>
                    </a:cubicBezTo>
                    <a:cubicBezTo>
                      <a:pt x="15" y="5"/>
                      <a:pt x="15" y="5"/>
                      <a:pt x="16" y="5"/>
                    </a:cubicBezTo>
                    <a:cubicBezTo>
                      <a:pt x="17" y="5"/>
                      <a:pt x="18" y="5"/>
                      <a:pt x="19" y="4"/>
                    </a:cubicBezTo>
                    <a:cubicBezTo>
                      <a:pt x="25" y="3"/>
                      <a:pt x="31" y="3"/>
                      <a:pt x="37" y="1"/>
                    </a:cubicBezTo>
                    <a:cubicBezTo>
                      <a:pt x="25" y="1"/>
                      <a:pt x="1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293"/>
              <p:cNvSpPr/>
              <p:nvPr/>
            </p:nvSpPr>
            <p:spPr bwMode="auto">
              <a:xfrm>
                <a:off x="9344" y="1018"/>
                <a:ext cx="23" cy="19"/>
              </a:xfrm>
              <a:custGeom>
                <a:gdLst>
                  <a:gd name="T0" fmla="*/ 10 w 10"/>
                  <a:gd name="T1" fmla="*/ 0 h 8"/>
                  <a:gd name="T2" fmla="*/ 0 w 10"/>
                  <a:gd name="T3" fmla="*/ 8 h 8"/>
                  <a:gd name="T4" fmla="*/ 2 w 10"/>
                  <a:gd name="T5" fmla="*/ 8 h 8"/>
                  <a:gd name="T6" fmla="*/ 10 w 10"/>
                  <a:gd name="T7" fmla="*/ 0 h 8"/>
                </a:gdLst>
                <a:cxnLst>
                  <a:cxn ang="0">
                    <a:pos x="T0" y="T1"/>
                  </a:cxn>
                  <a:cxn ang="0">
                    <a:pos x="T2" y="T3"/>
                  </a:cxn>
                  <a:cxn ang="0">
                    <a:pos x="T4" y="T5"/>
                  </a:cxn>
                  <a:cxn ang="0">
                    <a:pos x="T6" y="T7"/>
                  </a:cxn>
                </a:cxnLst>
                <a:rect l="0" t="0" r="r" b="b"/>
                <a:pathLst>
                  <a:path w="10" h="8">
                    <a:moveTo>
                      <a:pt x="10" y="0"/>
                    </a:moveTo>
                    <a:cubicBezTo>
                      <a:pt x="6" y="3"/>
                      <a:pt x="3" y="5"/>
                      <a:pt x="0" y="8"/>
                    </a:cubicBezTo>
                    <a:cubicBezTo>
                      <a:pt x="1" y="8"/>
                      <a:pt x="1" y="8"/>
                      <a:pt x="2" y="8"/>
                    </a:cubicBezTo>
                    <a:cubicBezTo>
                      <a:pt x="5" y="8"/>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294"/>
              <p:cNvSpPr/>
              <p:nvPr/>
            </p:nvSpPr>
            <p:spPr bwMode="auto">
              <a:xfrm>
                <a:off x="9400" y="980"/>
                <a:ext cx="5" cy="5"/>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1" y="0"/>
                      <a:pt x="0" y="2"/>
                    </a:cubicBezTo>
                    <a:cubicBezTo>
                      <a:pt x="2"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295"/>
              <p:cNvSpPr/>
              <p:nvPr/>
            </p:nvSpPr>
            <p:spPr bwMode="auto">
              <a:xfrm>
                <a:off x="9377" y="1004"/>
                <a:ext cx="4" cy="5"/>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0"/>
                      <a:pt x="0" y="1"/>
                      <a:pt x="0" y="2"/>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296"/>
              <p:cNvSpPr/>
              <p:nvPr/>
            </p:nvSpPr>
            <p:spPr bwMode="auto">
              <a:xfrm>
                <a:off x="9473" y="874"/>
                <a:ext cx="15" cy="19"/>
              </a:xfrm>
              <a:custGeom>
                <a:gdLst>
                  <a:gd name="T0" fmla="*/ 5 w 6"/>
                  <a:gd name="T1" fmla="*/ 0 h 8"/>
                  <a:gd name="T2" fmla="*/ 4 w 6"/>
                  <a:gd name="T3" fmla="*/ 0 h 8"/>
                  <a:gd name="T4" fmla="*/ 0 w 6"/>
                  <a:gd name="T5" fmla="*/ 8 h 8"/>
                  <a:gd name="T6" fmla="*/ 5 w 6"/>
                  <a:gd name="T7" fmla="*/ 4 h 8"/>
                  <a:gd name="T8" fmla="*/ 5 w 6"/>
                  <a:gd name="T9" fmla="*/ 0 h 8"/>
                </a:gdLst>
                <a:cxnLst>
                  <a:cxn ang="0">
                    <a:pos x="T0" y="T1"/>
                  </a:cxn>
                  <a:cxn ang="0">
                    <a:pos x="T2" y="T3"/>
                  </a:cxn>
                  <a:cxn ang="0">
                    <a:pos x="T4" y="T5"/>
                  </a:cxn>
                  <a:cxn ang="0">
                    <a:pos x="T6" y="T7"/>
                  </a:cxn>
                  <a:cxn ang="0">
                    <a:pos x="T8" y="T9"/>
                  </a:cxn>
                </a:cxnLst>
                <a:rect l="0" t="0" r="r" b="b"/>
                <a:pathLst>
                  <a:path w="6" h="8">
                    <a:moveTo>
                      <a:pt x="5" y="0"/>
                    </a:moveTo>
                    <a:cubicBezTo>
                      <a:pt x="5" y="0"/>
                      <a:pt x="4" y="0"/>
                      <a:pt x="4" y="0"/>
                    </a:cubicBezTo>
                    <a:cubicBezTo>
                      <a:pt x="2" y="2"/>
                      <a:pt x="1" y="6"/>
                      <a:pt x="0" y="8"/>
                    </a:cubicBezTo>
                    <a:cubicBezTo>
                      <a:pt x="4" y="8"/>
                      <a:pt x="4" y="8"/>
                      <a:pt x="5" y="4"/>
                    </a:cubicBezTo>
                    <a:cubicBezTo>
                      <a:pt x="5" y="3"/>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297"/>
              <p:cNvSpPr/>
              <p:nvPr/>
            </p:nvSpPr>
            <p:spPr bwMode="auto">
              <a:xfrm>
                <a:off x="6064" y="-1519"/>
                <a:ext cx="68" cy="19"/>
              </a:xfrm>
              <a:custGeom>
                <a:gdLst>
                  <a:gd name="T0" fmla="*/ 16 w 29"/>
                  <a:gd name="T1" fmla="*/ 0 h 8"/>
                  <a:gd name="T2" fmla="*/ 12 w 29"/>
                  <a:gd name="T3" fmla="*/ 1 h 8"/>
                  <a:gd name="T4" fmla="*/ 7 w 29"/>
                  <a:gd name="T5" fmla="*/ 1 h 8"/>
                  <a:gd name="T6" fmla="*/ 7 w 29"/>
                  <a:gd name="T7" fmla="*/ 1 h 8"/>
                  <a:gd name="T8" fmla="*/ 5 w 29"/>
                  <a:gd name="T9" fmla="*/ 8 h 8"/>
                  <a:gd name="T10" fmla="*/ 8 w 29"/>
                  <a:gd name="T11" fmla="*/ 8 h 8"/>
                  <a:gd name="T12" fmla="*/ 13 w 29"/>
                  <a:gd name="T13" fmla="*/ 8 h 8"/>
                  <a:gd name="T14" fmla="*/ 29 w 29"/>
                  <a:gd name="T15" fmla="*/ 2 h 8"/>
                  <a:gd name="T16" fmla="*/ 18 w 29"/>
                  <a:gd name="T17" fmla="*/ 1 h 8"/>
                  <a:gd name="T18" fmla="*/ 16 w 29"/>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8">
                    <a:moveTo>
                      <a:pt x="16" y="0"/>
                    </a:moveTo>
                    <a:cubicBezTo>
                      <a:pt x="15" y="0"/>
                      <a:pt x="13" y="1"/>
                      <a:pt x="12" y="1"/>
                    </a:cubicBezTo>
                    <a:cubicBezTo>
                      <a:pt x="10" y="1"/>
                      <a:pt x="9" y="1"/>
                      <a:pt x="7" y="1"/>
                    </a:cubicBezTo>
                    <a:cubicBezTo>
                      <a:pt x="7" y="1"/>
                      <a:pt x="7" y="1"/>
                      <a:pt x="7" y="1"/>
                    </a:cubicBezTo>
                    <a:cubicBezTo>
                      <a:pt x="5" y="3"/>
                      <a:pt x="0" y="7"/>
                      <a:pt x="5" y="8"/>
                    </a:cubicBezTo>
                    <a:cubicBezTo>
                      <a:pt x="6" y="8"/>
                      <a:pt x="7" y="8"/>
                      <a:pt x="8" y="8"/>
                    </a:cubicBezTo>
                    <a:cubicBezTo>
                      <a:pt x="9" y="8"/>
                      <a:pt x="11" y="8"/>
                      <a:pt x="13" y="8"/>
                    </a:cubicBezTo>
                    <a:cubicBezTo>
                      <a:pt x="18" y="7"/>
                      <a:pt x="26" y="8"/>
                      <a:pt x="29" y="2"/>
                    </a:cubicBezTo>
                    <a:cubicBezTo>
                      <a:pt x="26" y="2"/>
                      <a:pt x="22" y="2"/>
                      <a:pt x="18" y="1"/>
                    </a:cubicBezTo>
                    <a:cubicBezTo>
                      <a:pt x="18"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298"/>
              <p:cNvSpPr/>
              <p:nvPr/>
            </p:nvSpPr>
            <p:spPr bwMode="auto">
              <a:xfrm>
                <a:off x="5324" y="-1542"/>
                <a:ext cx="137" cy="54"/>
              </a:xfrm>
              <a:custGeom>
                <a:gdLst>
                  <a:gd name="T0" fmla="*/ 42 w 58"/>
                  <a:gd name="T1" fmla="*/ 0 h 23"/>
                  <a:gd name="T2" fmla="*/ 41 w 58"/>
                  <a:gd name="T3" fmla="*/ 1 h 23"/>
                  <a:gd name="T4" fmla="*/ 36 w 58"/>
                  <a:gd name="T5" fmla="*/ 2 h 23"/>
                  <a:gd name="T6" fmla="*/ 33 w 58"/>
                  <a:gd name="T7" fmla="*/ 4 h 23"/>
                  <a:gd name="T8" fmla="*/ 31 w 58"/>
                  <a:gd name="T9" fmla="*/ 10 h 23"/>
                  <a:gd name="T10" fmla="*/ 28 w 58"/>
                  <a:gd name="T11" fmla="*/ 10 h 23"/>
                  <a:gd name="T12" fmla="*/ 26 w 58"/>
                  <a:gd name="T13" fmla="*/ 10 h 23"/>
                  <a:gd name="T14" fmla="*/ 21 w 58"/>
                  <a:gd name="T15" fmla="*/ 10 h 23"/>
                  <a:gd name="T16" fmla="*/ 11 w 58"/>
                  <a:gd name="T17" fmla="*/ 13 h 23"/>
                  <a:gd name="T18" fmla="*/ 7 w 58"/>
                  <a:gd name="T19" fmla="*/ 15 h 23"/>
                  <a:gd name="T20" fmla="*/ 3 w 58"/>
                  <a:gd name="T21" fmla="*/ 18 h 23"/>
                  <a:gd name="T22" fmla="*/ 12 w 58"/>
                  <a:gd name="T23" fmla="*/ 23 h 23"/>
                  <a:gd name="T24" fmla="*/ 15 w 58"/>
                  <a:gd name="T25" fmla="*/ 23 h 23"/>
                  <a:gd name="T26" fmla="*/ 21 w 58"/>
                  <a:gd name="T27" fmla="*/ 22 h 23"/>
                  <a:gd name="T28" fmla="*/ 58 w 58"/>
                  <a:gd name="T29" fmla="*/ 13 h 23"/>
                  <a:gd name="T30" fmla="*/ 56 w 58"/>
                  <a:gd name="T31" fmla="*/ 10 h 23"/>
                  <a:gd name="T32" fmla="*/ 55 w 58"/>
                  <a:gd name="T33" fmla="*/ 6 h 23"/>
                  <a:gd name="T34" fmla="*/ 52 w 58"/>
                  <a:gd name="T35" fmla="*/ 3 h 23"/>
                  <a:gd name="T36" fmla="*/ 42 w 58"/>
                  <a:gd name="T37"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23">
                    <a:moveTo>
                      <a:pt x="42" y="0"/>
                    </a:moveTo>
                    <a:cubicBezTo>
                      <a:pt x="42" y="0"/>
                      <a:pt x="41" y="0"/>
                      <a:pt x="41" y="1"/>
                    </a:cubicBezTo>
                    <a:cubicBezTo>
                      <a:pt x="39" y="1"/>
                      <a:pt x="37" y="1"/>
                      <a:pt x="36" y="2"/>
                    </a:cubicBezTo>
                    <a:cubicBezTo>
                      <a:pt x="35" y="2"/>
                      <a:pt x="34" y="3"/>
                      <a:pt x="33" y="4"/>
                    </a:cubicBezTo>
                    <a:cubicBezTo>
                      <a:pt x="32" y="5"/>
                      <a:pt x="33" y="10"/>
                      <a:pt x="31" y="10"/>
                    </a:cubicBezTo>
                    <a:cubicBezTo>
                      <a:pt x="30" y="10"/>
                      <a:pt x="29" y="10"/>
                      <a:pt x="28" y="10"/>
                    </a:cubicBezTo>
                    <a:cubicBezTo>
                      <a:pt x="27" y="10"/>
                      <a:pt x="27" y="10"/>
                      <a:pt x="26" y="10"/>
                    </a:cubicBezTo>
                    <a:cubicBezTo>
                      <a:pt x="24" y="10"/>
                      <a:pt x="23" y="10"/>
                      <a:pt x="21" y="10"/>
                    </a:cubicBezTo>
                    <a:cubicBezTo>
                      <a:pt x="17" y="10"/>
                      <a:pt x="14" y="11"/>
                      <a:pt x="11" y="13"/>
                    </a:cubicBezTo>
                    <a:cubicBezTo>
                      <a:pt x="9" y="14"/>
                      <a:pt x="8" y="14"/>
                      <a:pt x="7" y="15"/>
                    </a:cubicBezTo>
                    <a:cubicBezTo>
                      <a:pt x="4" y="15"/>
                      <a:pt x="0" y="16"/>
                      <a:pt x="3" y="18"/>
                    </a:cubicBezTo>
                    <a:cubicBezTo>
                      <a:pt x="6" y="20"/>
                      <a:pt x="9" y="21"/>
                      <a:pt x="12" y="23"/>
                    </a:cubicBezTo>
                    <a:cubicBezTo>
                      <a:pt x="13" y="23"/>
                      <a:pt x="14" y="23"/>
                      <a:pt x="15" y="23"/>
                    </a:cubicBezTo>
                    <a:cubicBezTo>
                      <a:pt x="17" y="23"/>
                      <a:pt x="19" y="23"/>
                      <a:pt x="21" y="22"/>
                    </a:cubicBezTo>
                    <a:cubicBezTo>
                      <a:pt x="33" y="19"/>
                      <a:pt x="46" y="16"/>
                      <a:pt x="58" y="13"/>
                    </a:cubicBezTo>
                    <a:cubicBezTo>
                      <a:pt x="58" y="11"/>
                      <a:pt x="57" y="11"/>
                      <a:pt x="56" y="10"/>
                    </a:cubicBezTo>
                    <a:cubicBezTo>
                      <a:pt x="55" y="9"/>
                      <a:pt x="55" y="7"/>
                      <a:pt x="55" y="6"/>
                    </a:cubicBezTo>
                    <a:cubicBezTo>
                      <a:pt x="54" y="4"/>
                      <a:pt x="54" y="3"/>
                      <a:pt x="52" y="3"/>
                    </a:cubicBezTo>
                    <a:cubicBezTo>
                      <a:pt x="49" y="1"/>
                      <a:pt x="46"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299"/>
              <p:cNvSpPr/>
              <p:nvPr/>
            </p:nvSpPr>
            <p:spPr bwMode="auto">
              <a:xfrm>
                <a:off x="7531" y="-895"/>
                <a:ext cx="92" cy="41"/>
              </a:xfrm>
              <a:custGeom>
                <a:gdLst>
                  <a:gd name="T0" fmla="*/ 13 w 39"/>
                  <a:gd name="T1" fmla="*/ 0 h 17"/>
                  <a:gd name="T2" fmla="*/ 10 w 39"/>
                  <a:gd name="T3" fmla="*/ 1 h 17"/>
                  <a:gd name="T4" fmla="*/ 10 w 39"/>
                  <a:gd name="T5" fmla="*/ 6 h 17"/>
                  <a:gd name="T6" fmla="*/ 0 w 39"/>
                  <a:gd name="T7" fmla="*/ 9 h 17"/>
                  <a:gd name="T8" fmla="*/ 6 w 39"/>
                  <a:gd name="T9" fmla="*/ 12 h 17"/>
                  <a:gd name="T10" fmla="*/ 12 w 39"/>
                  <a:gd name="T11" fmla="*/ 14 h 17"/>
                  <a:gd name="T12" fmla="*/ 19 w 39"/>
                  <a:gd name="T13" fmla="*/ 16 h 17"/>
                  <a:gd name="T14" fmla="*/ 26 w 39"/>
                  <a:gd name="T15" fmla="*/ 17 h 17"/>
                  <a:gd name="T16" fmla="*/ 37 w 39"/>
                  <a:gd name="T17" fmla="*/ 6 h 17"/>
                  <a:gd name="T18" fmla="*/ 32 w 39"/>
                  <a:gd name="T19" fmla="*/ 2 h 17"/>
                  <a:gd name="T20" fmla="*/ 22 w 39"/>
                  <a:gd name="T21" fmla="*/ 1 h 17"/>
                  <a:gd name="T22" fmla="*/ 13 w 39"/>
                  <a:gd name="T2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7">
                    <a:moveTo>
                      <a:pt x="13" y="0"/>
                    </a:moveTo>
                    <a:cubicBezTo>
                      <a:pt x="12" y="0"/>
                      <a:pt x="11" y="0"/>
                      <a:pt x="10" y="1"/>
                    </a:cubicBezTo>
                    <a:cubicBezTo>
                      <a:pt x="9" y="3"/>
                      <a:pt x="11" y="4"/>
                      <a:pt x="10" y="6"/>
                    </a:cubicBezTo>
                    <a:cubicBezTo>
                      <a:pt x="8" y="8"/>
                      <a:pt x="3" y="7"/>
                      <a:pt x="0" y="9"/>
                    </a:cubicBezTo>
                    <a:cubicBezTo>
                      <a:pt x="1" y="11"/>
                      <a:pt x="4" y="11"/>
                      <a:pt x="6" y="12"/>
                    </a:cubicBezTo>
                    <a:cubicBezTo>
                      <a:pt x="9" y="12"/>
                      <a:pt x="10" y="13"/>
                      <a:pt x="12" y="14"/>
                    </a:cubicBezTo>
                    <a:cubicBezTo>
                      <a:pt x="14" y="16"/>
                      <a:pt x="16" y="15"/>
                      <a:pt x="19" y="16"/>
                    </a:cubicBezTo>
                    <a:cubicBezTo>
                      <a:pt x="21" y="16"/>
                      <a:pt x="23" y="17"/>
                      <a:pt x="26" y="17"/>
                    </a:cubicBezTo>
                    <a:cubicBezTo>
                      <a:pt x="29" y="13"/>
                      <a:pt x="33" y="10"/>
                      <a:pt x="37" y="6"/>
                    </a:cubicBezTo>
                    <a:cubicBezTo>
                      <a:pt x="39" y="4"/>
                      <a:pt x="34" y="2"/>
                      <a:pt x="32" y="2"/>
                    </a:cubicBezTo>
                    <a:cubicBezTo>
                      <a:pt x="29" y="1"/>
                      <a:pt x="25" y="2"/>
                      <a:pt x="22" y="1"/>
                    </a:cubicBezTo>
                    <a:cubicBezTo>
                      <a:pt x="20" y="1"/>
                      <a:pt x="16"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300"/>
              <p:cNvSpPr/>
              <p:nvPr/>
            </p:nvSpPr>
            <p:spPr bwMode="auto">
              <a:xfrm>
                <a:off x="5118" y="-1611"/>
                <a:ext cx="69" cy="17"/>
              </a:xfrm>
              <a:custGeom>
                <a:gdLst>
                  <a:gd name="T0" fmla="*/ 18 w 29"/>
                  <a:gd name="T1" fmla="*/ 0 h 7"/>
                  <a:gd name="T2" fmla="*/ 11 w 29"/>
                  <a:gd name="T3" fmla="*/ 1 h 7"/>
                  <a:gd name="T4" fmla="*/ 4 w 29"/>
                  <a:gd name="T5" fmla="*/ 3 h 7"/>
                  <a:gd name="T6" fmla="*/ 4 w 29"/>
                  <a:gd name="T7" fmla="*/ 7 h 7"/>
                  <a:gd name="T8" fmla="*/ 17 w 29"/>
                  <a:gd name="T9" fmla="*/ 5 h 7"/>
                  <a:gd name="T10" fmla="*/ 18 w 29"/>
                  <a:gd name="T11" fmla="*/ 5 h 7"/>
                  <a:gd name="T12" fmla="*/ 22 w 29"/>
                  <a:gd name="T13" fmla="*/ 6 h 7"/>
                  <a:gd name="T14" fmla="*/ 29 w 29"/>
                  <a:gd name="T15" fmla="*/ 2 h 7"/>
                  <a:gd name="T16" fmla="*/ 18 w 29"/>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
                    <a:moveTo>
                      <a:pt x="18" y="0"/>
                    </a:moveTo>
                    <a:cubicBezTo>
                      <a:pt x="15" y="0"/>
                      <a:pt x="13" y="1"/>
                      <a:pt x="11" y="1"/>
                    </a:cubicBezTo>
                    <a:cubicBezTo>
                      <a:pt x="9" y="1"/>
                      <a:pt x="1" y="1"/>
                      <a:pt x="4" y="3"/>
                    </a:cubicBezTo>
                    <a:cubicBezTo>
                      <a:pt x="0" y="5"/>
                      <a:pt x="0" y="6"/>
                      <a:pt x="4" y="7"/>
                    </a:cubicBezTo>
                    <a:cubicBezTo>
                      <a:pt x="8" y="7"/>
                      <a:pt x="12" y="5"/>
                      <a:pt x="17" y="5"/>
                    </a:cubicBezTo>
                    <a:cubicBezTo>
                      <a:pt x="17" y="5"/>
                      <a:pt x="17" y="5"/>
                      <a:pt x="18" y="5"/>
                    </a:cubicBezTo>
                    <a:cubicBezTo>
                      <a:pt x="19" y="5"/>
                      <a:pt x="20" y="6"/>
                      <a:pt x="22" y="6"/>
                    </a:cubicBezTo>
                    <a:cubicBezTo>
                      <a:pt x="25" y="6"/>
                      <a:pt x="28" y="5"/>
                      <a:pt x="29" y="2"/>
                    </a:cubicBezTo>
                    <a:cubicBezTo>
                      <a:pt x="26" y="1"/>
                      <a:pt x="22"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301"/>
              <p:cNvSpPr/>
              <p:nvPr/>
            </p:nvSpPr>
            <p:spPr bwMode="auto">
              <a:xfrm>
                <a:off x="4865" y="-625"/>
                <a:ext cx="45" cy="35"/>
              </a:xfrm>
              <a:custGeom>
                <a:gdLst>
                  <a:gd name="T0" fmla="*/ 7 w 19"/>
                  <a:gd name="T1" fmla="*/ 0 h 15"/>
                  <a:gd name="T2" fmla="*/ 0 w 19"/>
                  <a:gd name="T3" fmla="*/ 3 h 15"/>
                  <a:gd name="T4" fmla="*/ 14 w 19"/>
                  <a:gd name="T5" fmla="*/ 15 h 15"/>
                  <a:gd name="T6" fmla="*/ 16 w 19"/>
                  <a:gd name="T7" fmla="*/ 15 h 15"/>
                  <a:gd name="T8" fmla="*/ 16 w 19"/>
                  <a:gd name="T9" fmla="*/ 13 h 15"/>
                  <a:gd name="T10" fmla="*/ 17 w 19"/>
                  <a:gd name="T11" fmla="*/ 11 h 15"/>
                  <a:gd name="T12" fmla="*/ 19 w 19"/>
                  <a:gd name="T13" fmla="*/ 6 h 15"/>
                  <a:gd name="T14" fmla="*/ 13 w 19"/>
                  <a:gd name="T15" fmla="*/ 4 h 15"/>
                  <a:gd name="T16" fmla="*/ 10 w 19"/>
                  <a:gd name="T17" fmla="*/ 2 h 15"/>
                  <a:gd name="T18" fmla="*/ 15 w 19"/>
                  <a:gd name="T19" fmla="*/ 5 h 15"/>
                  <a:gd name="T20" fmla="*/ 7 w 19"/>
                  <a:gd name="T21"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5">
                    <a:moveTo>
                      <a:pt x="7" y="0"/>
                    </a:moveTo>
                    <a:cubicBezTo>
                      <a:pt x="5" y="0"/>
                      <a:pt x="2" y="1"/>
                      <a:pt x="0" y="3"/>
                    </a:cubicBezTo>
                    <a:cubicBezTo>
                      <a:pt x="4" y="7"/>
                      <a:pt x="9" y="11"/>
                      <a:pt x="14" y="15"/>
                    </a:cubicBezTo>
                    <a:cubicBezTo>
                      <a:pt x="15" y="15"/>
                      <a:pt x="15" y="15"/>
                      <a:pt x="16" y="15"/>
                    </a:cubicBezTo>
                    <a:cubicBezTo>
                      <a:pt x="17" y="15"/>
                      <a:pt x="17" y="14"/>
                      <a:pt x="16" y="13"/>
                    </a:cubicBezTo>
                    <a:cubicBezTo>
                      <a:pt x="15" y="11"/>
                      <a:pt x="17" y="12"/>
                      <a:pt x="17" y="11"/>
                    </a:cubicBezTo>
                    <a:cubicBezTo>
                      <a:pt x="18" y="10"/>
                      <a:pt x="19" y="8"/>
                      <a:pt x="19" y="6"/>
                    </a:cubicBezTo>
                    <a:cubicBezTo>
                      <a:pt x="18" y="6"/>
                      <a:pt x="14" y="5"/>
                      <a:pt x="13" y="4"/>
                    </a:cubicBezTo>
                    <a:cubicBezTo>
                      <a:pt x="11" y="3"/>
                      <a:pt x="11" y="3"/>
                      <a:pt x="10" y="2"/>
                    </a:cubicBezTo>
                    <a:cubicBezTo>
                      <a:pt x="12" y="2"/>
                      <a:pt x="13" y="4"/>
                      <a:pt x="15" y="5"/>
                    </a:cubicBezTo>
                    <a:cubicBezTo>
                      <a:pt x="13" y="2"/>
                      <a:pt x="11"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302"/>
              <p:cNvSpPr/>
              <p:nvPr/>
            </p:nvSpPr>
            <p:spPr bwMode="auto">
              <a:xfrm>
                <a:off x="9242" y="1070"/>
                <a:ext cx="50" cy="36"/>
              </a:xfrm>
              <a:custGeom>
                <a:gdLst>
                  <a:gd name="T0" fmla="*/ 18 w 21"/>
                  <a:gd name="T1" fmla="*/ 0 h 15"/>
                  <a:gd name="T2" fmla="*/ 16 w 21"/>
                  <a:gd name="T3" fmla="*/ 1 h 15"/>
                  <a:gd name="T4" fmla="*/ 14 w 21"/>
                  <a:gd name="T5" fmla="*/ 2 h 15"/>
                  <a:gd name="T6" fmla="*/ 11 w 21"/>
                  <a:gd name="T7" fmla="*/ 4 h 15"/>
                  <a:gd name="T8" fmla="*/ 0 w 21"/>
                  <a:gd name="T9" fmla="*/ 15 h 15"/>
                  <a:gd name="T10" fmla="*/ 1 w 21"/>
                  <a:gd name="T11" fmla="*/ 15 h 15"/>
                  <a:gd name="T12" fmla="*/ 2 w 21"/>
                  <a:gd name="T13" fmla="*/ 14 h 15"/>
                  <a:gd name="T14" fmla="*/ 3 w 21"/>
                  <a:gd name="T15" fmla="*/ 14 h 15"/>
                  <a:gd name="T16" fmla="*/ 21 w 21"/>
                  <a:gd name="T17" fmla="*/ 0 h 15"/>
                  <a:gd name="T18" fmla="*/ 20 w 21"/>
                  <a:gd name="T19" fmla="*/ 0 h 15"/>
                  <a:gd name="T20" fmla="*/ 19 w 21"/>
                  <a:gd name="T21" fmla="*/ 0 h 15"/>
                  <a:gd name="T22" fmla="*/ 18 w 21"/>
                  <a:gd name="T2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18" y="0"/>
                    </a:moveTo>
                    <a:cubicBezTo>
                      <a:pt x="17" y="0"/>
                      <a:pt x="17" y="0"/>
                      <a:pt x="16" y="1"/>
                    </a:cubicBezTo>
                    <a:cubicBezTo>
                      <a:pt x="15" y="1"/>
                      <a:pt x="15" y="2"/>
                      <a:pt x="14" y="2"/>
                    </a:cubicBezTo>
                    <a:cubicBezTo>
                      <a:pt x="13" y="3"/>
                      <a:pt x="12" y="3"/>
                      <a:pt x="11" y="4"/>
                    </a:cubicBezTo>
                    <a:cubicBezTo>
                      <a:pt x="7" y="8"/>
                      <a:pt x="3" y="11"/>
                      <a:pt x="0" y="15"/>
                    </a:cubicBezTo>
                    <a:cubicBezTo>
                      <a:pt x="0" y="15"/>
                      <a:pt x="1" y="15"/>
                      <a:pt x="1" y="15"/>
                    </a:cubicBezTo>
                    <a:cubicBezTo>
                      <a:pt x="2" y="15"/>
                      <a:pt x="2" y="15"/>
                      <a:pt x="2" y="14"/>
                    </a:cubicBezTo>
                    <a:cubicBezTo>
                      <a:pt x="3" y="14"/>
                      <a:pt x="3" y="14"/>
                      <a:pt x="3" y="14"/>
                    </a:cubicBezTo>
                    <a:cubicBezTo>
                      <a:pt x="6" y="14"/>
                      <a:pt x="20" y="1"/>
                      <a:pt x="21" y="0"/>
                    </a:cubicBezTo>
                    <a:cubicBezTo>
                      <a:pt x="21" y="0"/>
                      <a:pt x="20" y="0"/>
                      <a:pt x="20" y="0"/>
                    </a:cubicBezTo>
                    <a:cubicBezTo>
                      <a:pt x="20" y="0"/>
                      <a:pt x="19" y="0"/>
                      <a:pt x="19" y="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303"/>
              <p:cNvSpPr/>
              <p:nvPr/>
            </p:nvSpPr>
            <p:spPr bwMode="auto">
              <a:xfrm>
                <a:off x="5080" y="-1467"/>
                <a:ext cx="100" cy="43"/>
              </a:xfrm>
              <a:custGeom>
                <a:gdLst>
                  <a:gd name="T0" fmla="*/ 15 w 42"/>
                  <a:gd name="T1" fmla="*/ 0 h 18"/>
                  <a:gd name="T2" fmla="*/ 15 w 42"/>
                  <a:gd name="T3" fmla="*/ 0 h 18"/>
                  <a:gd name="T4" fmla="*/ 9 w 42"/>
                  <a:gd name="T5" fmla="*/ 0 h 18"/>
                  <a:gd name="T6" fmla="*/ 8 w 42"/>
                  <a:gd name="T7" fmla="*/ 0 h 18"/>
                  <a:gd name="T8" fmla="*/ 4 w 42"/>
                  <a:gd name="T9" fmla="*/ 0 h 18"/>
                  <a:gd name="T10" fmla="*/ 2 w 42"/>
                  <a:gd name="T11" fmla="*/ 0 h 18"/>
                  <a:gd name="T12" fmla="*/ 1 w 42"/>
                  <a:gd name="T13" fmla="*/ 4 h 18"/>
                  <a:gd name="T14" fmla="*/ 3 w 42"/>
                  <a:gd name="T15" fmla="*/ 10 h 18"/>
                  <a:gd name="T16" fmla="*/ 12 w 42"/>
                  <a:gd name="T17" fmla="*/ 17 h 18"/>
                  <a:gd name="T18" fmla="*/ 17 w 42"/>
                  <a:gd name="T19" fmla="*/ 18 h 18"/>
                  <a:gd name="T20" fmla="*/ 18 w 42"/>
                  <a:gd name="T21" fmla="*/ 17 h 18"/>
                  <a:gd name="T22" fmla="*/ 21 w 42"/>
                  <a:gd name="T23" fmla="*/ 13 h 18"/>
                  <a:gd name="T24" fmla="*/ 21 w 42"/>
                  <a:gd name="T25" fmla="*/ 13 h 18"/>
                  <a:gd name="T26" fmla="*/ 25 w 42"/>
                  <a:gd name="T27" fmla="*/ 14 h 18"/>
                  <a:gd name="T28" fmla="*/ 26 w 42"/>
                  <a:gd name="T29" fmla="*/ 11 h 18"/>
                  <a:gd name="T30" fmla="*/ 24 w 42"/>
                  <a:gd name="T31" fmla="*/ 9 h 18"/>
                  <a:gd name="T32" fmla="*/ 28 w 42"/>
                  <a:gd name="T33" fmla="*/ 8 h 18"/>
                  <a:gd name="T34" fmla="*/ 32 w 42"/>
                  <a:gd name="T35" fmla="*/ 7 h 18"/>
                  <a:gd name="T36" fmla="*/ 32 w 42"/>
                  <a:gd name="T37" fmla="*/ 7 h 18"/>
                  <a:gd name="T38" fmla="*/ 40 w 42"/>
                  <a:gd name="T39" fmla="*/ 7 h 18"/>
                  <a:gd name="T40" fmla="*/ 42 w 42"/>
                  <a:gd name="T41" fmla="*/ 7 h 18"/>
                  <a:gd name="T42" fmla="*/ 28 w 42"/>
                  <a:gd name="T43" fmla="*/ 1 h 18"/>
                  <a:gd name="T44" fmla="*/ 15 w 42"/>
                  <a:gd name="T4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18">
                    <a:moveTo>
                      <a:pt x="15" y="0"/>
                    </a:moveTo>
                    <a:cubicBezTo>
                      <a:pt x="15" y="0"/>
                      <a:pt x="15" y="0"/>
                      <a:pt x="15" y="0"/>
                    </a:cubicBezTo>
                    <a:cubicBezTo>
                      <a:pt x="13" y="0"/>
                      <a:pt x="11" y="0"/>
                      <a:pt x="9" y="0"/>
                    </a:cubicBezTo>
                    <a:cubicBezTo>
                      <a:pt x="9" y="0"/>
                      <a:pt x="8" y="0"/>
                      <a:pt x="8" y="0"/>
                    </a:cubicBezTo>
                    <a:cubicBezTo>
                      <a:pt x="7" y="0"/>
                      <a:pt x="6" y="0"/>
                      <a:pt x="4" y="0"/>
                    </a:cubicBezTo>
                    <a:cubicBezTo>
                      <a:pt x="3" y="0"/>
                      <a:pt x="2" y="0"/>
                      <a:pt x="2" y="0"/>
                    </a:cubicBezTo>
                    <a:cubicBezTo>
                      <a:pt x="0" y="1"/>
                      <a:pt x="0" y="2"/>
                      <a:pt x="1" y="4"/>
                    </a:cubicBezTo>
                    <a:cubicBezTo>
                      <a:pt x="1" y="6"/>
                      <a:pt x="3" y="8"/>
                      <a:pt x="3" y="10"/>
                    </a:cubicBezTo>
                    <a:cubicBezTo>
                      <a:pt x="5" y="15"/>
                      <a:pt x="7" y="15"/>
                      <a:pt x="12" y="17"/>
                    </a:cubicBezTo>
                    <a:cubicBezTo>
                      <a:pt x="13" y="17"/>
                      <a:pt x="15" y="18"/>
                      <a:pt x="17" y="18"/>
                    </a:cubicBezTo>
                    <a:cubicBezTo>
                      <a:pt x="17" y="18"/>
                      <a:pt x="18" y="17"/>
                      <a:pt x="18" y="17"/>
                    </a:cubicBezTo>
                    <a:cubicBezTo>
                      <a:pt x="20" y="16"/>
                      <a:pt x="18" y="13"/>
                      <a:pt x="21" y="13"/>
                    </a:cubicBezTo>
                    <a:cubicBezTo>
                      <a:pt x="21" y="13"/>
                      <a:pt x="21" y="13"/>
                      <a:pt x="21" y="13"/>
                    </a:cubicBezTo>
                    <a:cubicBezTo>
                      <a:pt x="22" y="13"/>
                      <a:pt x="24" y="14"/>
                      <a:pt x="25" y="14"/>
                    </a:cubicBezTo>
                    <a:cubicBezTo>
                      <a:pt x="27" y="14"/>
                      <a:pt x="29" y="13"/>
                      <a:pt x="26" y="11"/>
                    </a:cubicBezTo>
                    <a:cubicBezTo>
                      <a:pt x="26" y="11"/>
                      <a:pt x="23" y="10"/>
                      <a:pt x="24" y="9"/>
                    </a:cubicBezTo>
                    <a:cubicBezTo>
                      <a:pt x="24" y="8"/>
                      <a:pt x="26" y="8"/>
                      <a:pt x="28" y="8"/>
                    </a:cubicBezTo>
                    <a:cubicBezTo>
                      <a:pt x="29" y="8"/>
                      <a:pt x="30" y="7"/>
                      <a:pt x="32" y="7"/>
                    </a:cubicBezTo>
                    <a:cubicBezTo>
                      <a:pt x="32" y="7"/>
                      <a:pt x="32" y="7"/>
                      <a:pt x="32" y="7"/>
                    </a:cubicBezTo>
                    <a:cubicBezTo>
                      <a:pt x="35" y="7"/>
                      <a:pt x="37" y="7"/>
                      <a:pt x="40" y="7"/>
                    </a:cubicBezTo>
                    <a:cubicBezTo>
                      <a:pt x="41" y="7"/>
                      <a:pt x="42" y="7"/>
                      <a:pt x="42" y="7"/>
                    </a:cubicBezTo>
                    <a:cubicBezTo>
                      <a:pt x="40" y="3"/>
                      <a:pt x="32" y="2"/>
                      <a:pt x="28" y="1"/>
                    </a:cubicBezTo>
                    <a:cubicBezTo>
                      <a:pt x="24" y="0"/>
                      <a:pt x="19"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304"/>
              <p:cNvSpPr/>
              <p:nvPr/>
            </p:nvSpPr>
            <p:spPr bwMode="auto">
              <a:xfrm>
                <a:off x="9112" y="1200"/>
                <a:ext cx="14" cy="7"/>
              </a:xfrm>
              <a:custGeom>
                <a:gdLst>
                  <a:gd name="T0" fmla="*/ 6 w 6"/>
                  <a:gd name="T1" fmla="*/ 0 h 3"/>
                  <a:gd name="T2" fmla="*/ 1 w 6"/>
                  <a:gd name="T3" fmla="*/ 3 h 3"/>
                  <a:gd name="T4" fmla="*/ 6 w 6"/>
                  <a:gd name="T5" fmla="*/ 0 h 3"/>
                  <a:gd name="T6" fmla="*/ 6 w 6"/>
                  <a:gd name="T7" fmla="*/ 0 h 3"/>
                </a:gdLst>
                <a:cxnLst>
                  <a:cxn ang="0">
                    <a:pos x="T0" y="T1"/>
                  </a:cxn>
                  <a:cxn ang="0">
                    <a:pos x="T2" y="T3"/>
                  </a:cxn>
                  <a:cxn ang="0">
                    <a:pos x="T4" y="T5"/>
                  </a:cxn>
                  <a:cxn ang="0">
                    <a:pos x="T6" y="T7"/>
                  </a:cxn>
                </a:cxnLst>
                <a:rect l="0" t="0" r="r" b="b"/>
                <a:pathLst>
                  <a:path w="6" h="3">
                    <a:moveTo>
                      <a:pt x="6" y="0"/>
                    </a:moveTo>
                    <a:cubicBezTo>
                      <a:pt x="4" y="0"/>
                      <a:pt x="0" y="1"/>
                      <a:pt x="1" y="3"/>
                    </a:cubicBezTo>
                    <a:cubicBezTo>
                      <a:pt x="3" y="2"/>
                      <a:pt x="4"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305"/>
              <p:cNvSpPr/>
              <p:nvPr/>
            </p:nvSpPr>
            <p:spPr bwMode="auto">
              <a:xfrm>
                <a:off x="5040" y="-1531"/>
                <a:ext cx="97" cy="26"/>
              </a:xfrm>
              <a:custGeom>
                <a:gdLst>
                  <a:gd name="T0" fmla="*/ 0 w 41"/>
                  <a:gd name="T1" fmla="*/ 0 h 11"/>
                  <a:gd name="T2" fmla="*/ 13 w 41"/>
                  <a:gd name="T3" fmla="*/ 3 h 11"/>
                  <a:gd name="T4" fmla="*/ 16 w 41"/>
                  <a:gd name="T5" fmla="*/ 6 h 11"/>
                  <a:gd name="T6" fmla="*/ 21 w 41"/>
                  <a:gd name="T7" fmla="*/ 7 h 11"/>
                  <a:gd name="T8" fmla="*/ 28 w 41"/>
                  <a:gd name="T9" fmla="*/ 11 h 11"/>
                  <a:gd name="T10" fmla="*/ 41 w 41"/>
                  <a:gd name="T11" fmla="*/ 8 h 11"/>
                  <a:gd name="T12" fmla="*/ 0 w 41"/>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41" h="11">
                    <a:moveTo>
                      <a:pt x="0" y="0"/>
                    </a:moveTo>
                    <a:cubicBezTo>
                      <a:pt x="4" y="1"/>
                      <a:pt x="9" y="1"/>
                      <a:pt x="13" y="3"/>
                    </a:cubicBezTo>
                    <a:cubicBezTo>
                      <a:pt x="14" y="4"/>
                      <a:pt x="15" y="6"/>
                      <a:pt x="16" y="6"/>
                    </a:cubicBezTo>
                    <a:cubicBezTo>
                      <a:pt x="17" y="6"/>
                      <a:pt x="20" y="6"/>
                      <a:pt x="21" y="7"/>
                    </a:cubicBezTo>
                    <a:cubicBezTo>
                      <a:pt x="23" y="10"/>
                      <a:pt x="25" y="11"/>
                      <a:pt x="28" y="11"/>
                    </a:cubicBezTo>
                    <a:cubicBezTo>
                      <a:pt x="33" y="11"/>
                      <a:pt x="37" y="9"/>
                      <a:pt x="41" y="8"/>
                    </a:cubicBezTo>
                    <a:cubicBezTo>
                      <a:pt x="27" y="5"/>
                      <a:pt x="1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306"/>
              <p:cNvSpPr/>
              <p:nvPr/>
            </p:nvSpPr>
            <p:spPr bwMode="auto">
              <a:xfrm>
                <a:off x="4537" y="-1505"/>
                <a:ext cx="175" cy="43"/>
              </a:xfrm>
              <a:custGeom>
                <a:gdLst>
                  <a:gd name="T0" fmla="*/ 48 w 74"/>
                  <a:gd name="T1" fmla="*/ 0 h 18"/>
                  <a:gd name="T2" fmla="*/ 37 w 74"/>
                  <a:gd name="T3" fmla="*/ 2 h 18"/>
                  <a:gd name="T4" fmla="*/ 0 w 74"/>
                  <a:gd name="T5" fmla="*/ 10 h 18"/>
                  <a:gd name="T6" fmla="*/ 8 w 74"/>
                  <a:gd name="T7" fmla="*/ 13 h 18"/>
                  <a:gd name="T8" fmla="*/ 11 w 74"/>
                  <a:gd name="T9" fmla="*/ 14 h 18"/>
                  <a:gd name="T10" fmla="*/ 13 w 74"/>
                  <a:gd name="T11" fmla="*/ 14 h 18"/>
                  <a:gd name="T12" fmla="*/ 19 w 74"/>
                  <a:gd name="T13" fmla="*/ 13 h 18"/>
                  <a:gd name="T14" fmla="*/ 20 w 74"/>
                  <a:gd name="T15" fmla="*/ 13 h 18"/>
                  <a:gd name="T16" fmla="*/ 21 w 74"/>
                  <a:gd name="T17" fmla="*/ 18 h 18"/>
                  <a:gd name="T18" fmla="*/ 22 w 74"/>
                  <a:gd name="T19" fmla="*/ 18 h 18"/>
                  <a:gd name="T20" fmla="*/ 29 w 74"/>
                  <a:gd name="T21" fmla="*/ 17 h 18"/>
                  <a:gd name="T22" fmla="*/ 36 w 74"/>
                  <a:gd name="T23" fmla="*/ 13 h 18"/>
                  <a:gd name="T24" fmla="*/ 37 w 74"/>
                  <a:gd name="T25" fmla="*/ 13 h 18"/>
                  <a:gd name="T26" fmla="*/ 37 w 74"/>
                  <a:gd name="T27" fmla="*/ 13 h 18"/>
                  <a:gd name="T28" fmla="*/ 40 w 74"/>
                  <a:gd name="T29" fmla="*/ 13 h 18"/>
                  <a:gd name="T30" fmla="*/ 42 w 74"/>
                  <a:gd name="T31" fmla="*/ 11 h 18"/>
                  <a:gd name="T32" fmla="*/ 42 w 74"/>
                  <a:gd name="T33" fmla="*/ 11 h 18"/>
                  <a:gd name="T34" fmla="*/ 44 w 74"/>
                  <a:gd name="T35" fmla="*/ 11 h 18"/>
                  <a:gd name="T36" fmla="*/ 46 w 74"/>
                  <a:gd name="T37" fmla="*/ 12 h 18"/>
                  <a:gd name="T38" fmla="*/ 47 w 74"/>
                  <a:gd name="T39" fmla="*/ 11 h 18"/>
                  <a:gd name="T40" fmla="*/ 48 w 74"/>
                  <a:gd name="T41" fmla="*/ 9 h 18"/>
                  <a:gd name="T42" fmla="*/ 49 w 74"/>
                  <a:gd name="T43" fmla="*/ 8 h 18"/>
                  <a:gd name="T44" fmla="*/ 52 w 74"/>
                  <a:gd name="T45" fmla="*/ 4 h 18"/>
                  <a:gd name="T46" fmla="*/ 53 w 74"/>
                  <a:gd name="T47" fmla="*/ 4 h 18"/>
                  <a:gd name="T48" fmla="*/ 55 w 74"/>
                  <a:gd name="T49" fmla="*/ 5 h 18"/>
                  <a:gd name="T50" fmla="*/ 57 w 74"/>
                  <a:gd name="T51" fmla="*/ 6 h 18"/>
                  <a:gd name="T52" fmla="*/ 57 w 74"/>
                  <a:gd name="T53" fmla="*/ 6 h 18"/>
                  <a:gd name="T54" fmla="*/ 58 w 74"/>
                  <a:gd name="T55" fmla="*/ 6 h 18"/>
                  <a:gd name="T56" fmla="*/ 60 w 74"/>
                  <a:gd name="T57" fmla="*/ 9 h 18"/>
                  <a:gd name="T58" fmla="*/ 63 w 74"/>
                  <a:gd name="T59" fmla="*/ 9 h 18"/>
                  <a:gd name="T60" fmla="*/ 63 w 74"/>
                  <a:gd name="T61" fmla="*/ 9 h 18"/>
                  <a:gd name="T62" fmla="*/ 64 w 74"/>
                  <a:gd name="T63" fmla="*/ 9 h 18"/>
                  <a:gd name="T64" fmla="*/ 65 w 74"/>
                  <a:gd name="T65" fmla="*/ 9 h 18"/>
                  <a:gd name="T66" fmla="*/ 72 w 74"/>
                  <a:gd name="T67" fmla="*/ 10 h 18"/>
                  <a:gd name="T68" fmla="*/ 72 w 74"/>
                  <a:gd name="T69" fmla="*/ 10 h 18"/>
                  <a:gd name="T70" fmla="*/ 70 w 74"/>
                  <a:gd name="T71" fmla="*/ 6 h 18"/>
                  <a:gd name="T72" fmla="*/ 69 w 74"/>
                  <a:gd name="T73" fmla="*/ 3 h 18"/>
                  <a:gd name="T74" fmla="*/ 62 w 74"/>
                  <a:gd name="T75" fmla="*/ 1 h 18"/>
                  <a:gd name="T76" fmla="*/ 50 w 74"/>
                  <a:gd name="T77" fmla="*/ 0 h 18"/>
                  <a:gd name="T78" fmla="*/ 48 w 74"/>
                  <a:gd name="T79"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18">
                    <a:moveTo>
                      <a:pt x="48" y="0"/>
                    </a:moveTo>
                    <a:cubicBezTo>
                      <a:pt x="45" y="0"/>
                      <a:pt x="41" y="1"/>
                      <a:pt x="37" y="2"/>
                    </a:cubicBezTo>
                    <a:cubicBezTo>
                      <a:pt x="25" y="5"/>
                      <a:pt x="12" y="7"/>
                      <a:pt x="0" y="10"/>
                    </a:cubicBezTo>
                    <a:cubicBezTo>
                      <a:pt x="3" y="11"/>
                      <a:pt x="6" y="11"/>
                      <a:pt x="8" y="13"/>
                    </a:cubicBezTo>
                    <a:cubicBezTo>
                      <a:pt x="10" y="14"/>
                      <a:pt x="10" y="14"/>
                      <a:pt x="11" y="14"/>
                    </a:cubicBezTo>
                    <a:cubicBezTo>
                      <a:pt x="12" y="14"/>
                      <a:pt x="12" y="14"/>
                      <a:pt x="13" y="14"/>
                    </a:cubicBezTo>
                    <a:cubicBezTo>
                      <a:pt x="15" y="14"/>
                      <a:pt x="17" y="13"/>
                      <a:pt x="19" y="13"/>
                    </a:cubicBezTo>
                    <a:cubicBezTo>
                      <a:pt x="19" y="13"/>
                      <a:pt x="20" y="13"/>
                      <a:pt x="20" y="13"/>
                    </a:cubicBezTo>
                    <a:cubicBezTo>
                      <a:pt x="23" y="13"/>
                      <a:pt x="19" y="18"/>
                      <a:pt x="21" y="18"/>
                    </a:cubicBezTo>
                    <a:cubicBezTo>
                      <a:pt x="22" y="18"/>
                      <a:pt x="22" y="18"/>
                      <a:pt x="22" y="18"/>
                    </a:cubicBezTo>
                    <a:cubicBezTo>
                      <a:pt x="24" y="18"/>
                      <a:pt x="28" y="18"/>
                      <a:pt x="29" y="17"/>
                    </a:cubicBezTo>
                    <a:cubicBezTo>
                      <a:pt x="32" y="16"/>
                      <a:pt x="33" y="13"/>
                      <a:pt x="36" y="13"/>
                    </a:cubicBezTo>
                    <a:cubicBezTo>
                      <a:pt x="36" y="13"/>
                      <a:pt x="36" y="13"/>
                      <a:pt x="37" y="13"/>
                    </a:cubicBezTo>
                    <a:cubicBezTo>
                      <a:pt x="37" y="13"/>
                      <a:pt x="37" y="13"/>
                      <a:pt x="37" y="13"/>
                    </a:cubicBezTo>
                    <a:cubicBezTo>
                      <a:pt x="38" y="13"/>
                      <a:pt x="39" y="13"/>
                      <a:pt x="40" y="13"/>
                    </a:cubicBezTo>
                    <a:cubicBezTo>
                      <a:pt x="40" y="12"/>
                      <a:pt x="41" y="11"/>
                      <a:pt x="42" y="11"/>
                    </a:cubicBezTo>
                    <a:cubicBezTo>
                      <a:pt x="42" y="11"/>
                      <a:pt x="42" y="11"/>
                      <a:pt x="42" y="11"/>
                    </a:cubicBezTo>
                    <a:cubicBezTo>
                      <a:pt x="43" y="11"/>
                      <a:pt x="44" y="11"/>
                      <a:pt x="44" y="11"/>
                    </a:cubicBezTo>
                    <a:cubicBezTo>
                      <a:pt x="45" y="11"/>
                      <a:pt x="46" y="12"/>
                      <a:pt x="46" y="12"/>
                    </a:cubicBezTo>
                    <a:cubicBezTo>
                      <a:pt x="47" y="12"/>
                      <a:pt x="47" y="12"/>
                      <a:pt x="47" y="11"/>
                    </a:cubicBezTo>
                    <a:cubicBezTo>
                      <a:pt x="48" y="11"/>
                      <a:pt x="48" y="9"/>
                      <a:pt x="48" y="9"/>
                    </a:cubicBezTo>
                    <a:cubicBezTo>
                      <a:pt x="48" y="8"/>
                      <a:pt x="49" y="8"/>
                      <a:pt x="49" y="8"/>
                    </a:cubicBezTo>
                    <a:cubicBezTo>
                      <a:pt x="50" y="7"/>
                      <a:pt x="51" y="4"/>
                      <a:pt x="52" y="4"/>
                    </a:cubicBezTo>
                    <a:cubicBezTo>
                      <a:pt x="52" y="4"/>
                      <a:pt x="53" y="4"/>
                      <a:pt x="53" y="4"/>
                    </a:cubicBezTo>
                    <a:cubicBezTo>
                      <a:pt x="54" y="4"/>
                      <a:pt x="54" y="4"/>
                      <a:pt x="55" y="5"/>
                    </a:cubicBezTo>
                    <a:cubicBezTo>
                      <a:pt x="56" y="6"/>
                      <a:pt x="56" y="6"/>
                      <a:pt x="57" y="6"/>
                    </a:cubicBezTo>
                    <a:cubicBezTo>
                      <a:pt x="57" y="6"/>
                      <a:pt x="57" y="6"/>
                      <a:pt x="57" y="6"/>
                    </a:cubicBezTo>
                    <a:cubicBezTo>
                      <a:pt x="57" y="6"/>
                      <a:pt x="58" y="6"/>
                      <a:pt x="58" y="6"/>
                    </a:cubicBezTo>
                    <a:cubicBezTo>
                      <a:pt x="58" y="6"/>
                      <a:pt x="59" y="8"/>
                      <a:pt x="60" y="9"/>
                    </a:cubicBezTo>
                    <a:cubicBezTo>
                      <a:pt x="61" y="9"/>
                      <a:pt x="62" y="9"/>
                      <a:pt x="63" y="9"/>
                    </a:cubicBezTo>
                    <a:cubicBezTo>
                      <a:pt x="63" y="9"/>
                      <a:pt x="63" y="9"/>
                      <a:pt x="63" y="9"/>
                    </a:cubicBezTo>
                    <a:cubicBezTo>
                      <a:pt x="63" y="9"/>
                      <a:pt x="64" y="9"/>
                      <a:pt x="64" y="9"/>
                    </a:cubicBezTo>
                    <a:cubicBezTo>
                      <a:pt x="64" y="9"/>
                      <a:pt x="64" y="9"/>
                      <a:pt x="65" y="9"/>
                    </a:cubicBezTo>
                    <a:cubicBezTo>
                      <a:pt x="67" y="9"/>
                      <a:pt x="69" y="10"/>
                      <a:pt x="72" y="10"/>
                    </a:cubicBezTo>
                    <a:cubicBezTo>
                      <a:pt x="72" y="10"/>
                      <a:pt x="72" y="10"/>
                      <a:pt x="72" y="10"/>
                    </a:cubicBezTo>
                    <a:cubicBezTo>
                      <a:pt x="74" y="10"/>
                      <a:pt x="70" y="6"/>
                      <a:pt x="70" y="6"/>
                    </a:cubicBezTo>
                    <a:cubicBezTo>
                      <a:pt x="69" y="4"/>
                      <a:pt x="71" y="5"/>
                      <a:pt x="69" y="3"/>
                    </a:cubicBezTo>
                    <a:cubicBezTo>
                      <a:pt x="67" y="2"/>
                      <a:pt x="63" y="1"/>
                      <a:pt x="62" y="1"/>
                    </a:cubicBezTo>
                    <a:cubicBezTo>
                      <a:pt x="57" y="1"/>
                      <a:pt x="54" y="0"/>
                      <a:pt x="50" y="0"/>
                    </a:cubicBezTo>
                    <a:cubicBezTo>
                      <a:pt x="49" y="0"/>
                      <a:pt x="49"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307"/>
              <p:cNvSpPr/>
              <p:nvPr/>
            </p:nvSpPr>
            <p:spPr bwMode="auto">
              <a:xfrm>
                <a:off x="5182" y="-1509"/>
                <a:ext cx="135" cy="52"/>
              </a:xfrm>
              <a:custGeom>
                <a:gdLst>
                  <a:gd name="T0" fmla="*/ 48 w 57"/>
                  <a:gd name="T1" fmla="*/ 0 h 22"/>
                  <a:gd name="T2" fmla="*/ 38 w 57"/>
                  <a:gd name="T3" fmla="*/ 1 h 22"/>
                  <a:gd name="T4" fmla="*/ 15 w 57"/>
                  <a:gd name="T5" fmla="*/ 4 h 22"/>
                  <a:gd name="T6" fmla="*/ 13 w 57"/>
                  <a:gd name="T7" fmla="*/ 4 h 22"/>
                  <a:gd name="T8" fmla="*/ 17 w 57"/>
                  <a:gd name="T9" fmla="*/ 2 h 22"/>
                  <a:gd name="T10" fmla="*/ 14 w 57"/>
                  <a:gd name="T11" fmla="*/ 2 h 22"/>
                  <a:gd name="T12" fmla="*/ 6 w 57"/>
                  <a:gd name="T13" fmla="*/ 4 h 22"/>
                  <a:gd name="T14" fmla="*/ 1 w 57"/>
                  <a:gd name="T15" fmla="*/ 16 h 22"/>
                  <a:gd name="T16" fmla="*/ 8 w 57"/>
                  <a:gd name="T17" fmla="*/ 21 h 22"/>
                  <a:gd name="T18" fmla="*/ 9 w 57"/>
                  <a:gd name="T19" fmla="*/ 21 h 22"/>
                  <a:gd name="T20" fmla="*/ 17 w 57"/>
                  <a:gd name="T21" fmla="*/ 19 h 22"/>
                  <a:gd name="T22" fmla="*/ 19 w 57"/>
                  <a:gd name="T23" fmla="*/ 18 h 22"/>
                  <a:gd name="T24" fmla="*/ 25 w 57"/>
                  <a:gd name="T25" fmla="*/ 20 h 22"/>
                  <a:gd name="T26" fmla="*/ 33 w 57"/>
                  <a:gd name="T27" fmla="*/ 22 h 22"/>
                  <a:gd name="T28" fmla="*/ 35 w 57"/>
                  <a:gd name="T29" fmla="*/ 22 h 22"/>
                  <a:gd name="T30" fmla="*/ 40 w 57"/>
                  <a:gd name="T31" fmla="*/ 18 h 22"/>
                  <a:gd name="T32" fmla="*/ 43 w 57"/>
                  <a:gd name="T33" fmla="*/ 17 h 22"/>
                  <a:gd name="T34" fmla="*/ 46 w 57"/>
                  <a:gd name="T35" fmla="*/ 14 h 22"/>
                  <a:gd name="T36" fmla="*/ 53 w 57"/>
                  <a:gd name="T37" fmla="*/ 12 h 22"/>
                  <a:gd name="T38" fmla="*/ 57 w 57"/>
                  <a:gd name="T39" fmla="*/ 6 h 22"/>
                  <a:gd name="T40" fmla="*/ 48 w 57"/>
                  <a:gd name="T41"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22">
                    <a:moveTo>
                      <a:pt x="48" y="0"/>
                    </a:moveTo>
                    <a:cubicBezTo>
                      <a:pt x="44" y="0"/>
                      <a:pt x="40" y="1"/>
                      <a:pt x="38" y="1"/>
                    </a:cubicBezTo>
                    <a:cubicBezTo>
                      <a:pt x="30" y="3"/>
                      <a:pt x="23" y="4"/>
                      <a:pt x="15" y="4"/>
                    </a:cubicBezTo>
                    <a:cubicBezTo>
                      <a:pt x="15" y="4"/>
                      <a:pt x="14" y="4"/>
                      <a:pt x="13" y="4"/>
                    </a:cubicBezTo>
                    <a:cubicBezTo>
                      <a:pt x="14" y="3"/>
                      <a:pt x="16" y="3"/>
                      <a:pt x="17" y="2"/>
                    </a:cubicBezTo>
                    <a:cubicBezTo>
                      <a:pt x="16" y="2"/>
                      <a:pt x="15" y="2"/>
                      <a:pt x="14" y="2"/>
                    </a:cubicBezTo>
                    <a:cubicBezTo>
                      <a:pt x="12" y="2"/>
                      <a:pt x="8" y="3"/>
                      <a:pt x="6" y="4"/>
                    </a:cubicBezTo>
                    <a:cubicBezTo>
                      <a:pt x="0" y="6"/>
                      <a:pt x="0" y="10"/>
                      <a:pt x="1" y="16"/>
                    </a:cubicBezTo>
                    <a:cubicBezTo>
                      <a:pt x="2" y="17"/>
                      <a:pt x="6" y="21"/>
                      <a:pt x="8" y="21"/>
                    </a:cubicBezTo>
                    <a:cubicBezTo>
                      <a:pt x="8" y="21"/>
                      <a:pt x="9" y="21"/>
                      <a:pt x="9" y="21"/>
                    </a:cubicBezTo>
                    <a:cubicBezTo>
                      <a:pt x="11" y="20"/>
                      <a:pt x="15" y="20"/>
                      <a:pt x="17" y="19"/>
                    </a:cubicBezTo>
                    <a:cubicBezTo>
                      <a:pt x="18" y="18"/>
                      <a:pt x="18" y="18"/>
                      <a:pt x="19" y="18"/>
                    </a:cubicBezTo>
                    <a:cubicBezTo>
                      <a:pt x="21" y="18"/>
                      <a:pt x="23" y="20"/>
                      <a:pt x="25" y="20"/>
                    </a:cubicBezTo>
                    <a:cubicBezTo>
                      <a:pt x="27" y="21"/>
                      <a:pt x="31" y="22"/>
                      <a:pt x="33" y="22"/>
                    </a:cubicBezTo>
                    <a:cubicBezTo>
                      <a:pt x="34" y="22"/>
                      <a:pt x="34" y="22"/>
                      <a:pt x="35" y="22"/>
                    </a:cubicBezTo>
                    <a:cubicBezTo>
                      <a:pt x="36" y="21"/>
                      <a:pt x="39" y="20"/>
                      <a:pt x="40" y="18"/>
                    </a:cubicBezTo>
                    <a:cubicBezTo>
                      <a:pt x="41" y="18"/>
                      <a:pt x="41" y="17"/>
                      <a:pt x="43" y="17"/>
                    </a:cubicBezTo>
                    <a:cubicBezTo>
                      <a:pt x="45" y="16"/>
                      <a:pt x="45" y="15"/>
                      <a:pt x="46" y="14"/>
                    </a:cubicBezTo>
                    <a:cubicBezTo>
                      <a:pt x="48" y="13"/>
                      <a:pt x="51" y="14"/>
                      <a:pt x="53" y="12"/>
                    </a:cubicBezTo>
                    <a:cubicBezTo>
                      <a:pt x="54" y="12"/>
                      <a:pt x="57" y="7"/>
                      <a:pt x="57" y="6"/>
                    </a:cubicBezTo>
                    <a:cubicBezTo>
                      <a:pt x="56" y="1"/>
                      <a:pt x="52"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308"/>
              <p:cNvSpPr/>
              <p:nvPr/>
            </p:nvSpPr>
            <p:spPr bwMode="auto">
              <a:xfrm>
                <a:off x="6605" y="-1422"/>
                <a:ext cx="134" cy="40"/>
              </a:xfrm>
              <a:custGeom>
                <a:gdLst>
                  <a:gd name="T0" fmla="*/ 0 w 57"/>
                  <a:gd name="T1" fmla="*/ 0 h 17"/>
                  <a:gd name="T2" fmla="*/ 3 w 57"/>
                  <a:gd name="T3" fmla="*/ 7 h 17"/>
                  <a:gd name="T4" fmla="*/ 8 w 57"/>
                  <a:gd name="T5" fmla="*/ 10 h 17"/>
                  <a:gd name="T6" fmla="*/ 18 w 57"/>
                  <a:gd name="T7" fmla="*/ 11 h 17"/>
                  <a:gd name="T8" fmla="*/ 21 w 57"/>
                  <a:gd name="T9" fmla="*/ 11 h 17"/>
                  <a:gd name="T10" fmla="*/ 21 w 57"/>
                  <a:gd name="T11" fmla="*/ 16 h 17"/>
                  <a:gd name="T12" fmla="*/ 24 w 57"/>
                  <a:gd name="T13" fmla="*/ 17 h 17"/>
                  <a:gd name="T14" fmla="*/ 29 w 57"/>
                  <a:gd name="T15" fmla="*/ 17 h 17"/>
                  <a:gd name="T16" fmla="*/ 32 w 57"/>
                  <a:gd name="T17" fmla="*/ 17 h 17"/>
                  <a:gd name="T18" fmla="*/ 43 w 57"/>
                  <a:gd name="T19" fmla="*/ 14 h 17"/>
                  <a:gd name="T20" fmla="*/ 55 w 57"/>
                  <a:gd name="T21" fmla="*/ 6 h 17"/>
                  <a:gd name="T22" fmla="*/ 50 w 57"/>
                  <a:gd name="T23" fmla="*/ 4 h 17"/>
                  <a:gd name="T24" fmla="*/ 42 w 57"/>
                  <a:gd name="T25" fmla="*/ 2 h 17"/>
                  <a:gd name="T26" fmla="*/ 0 w 57"/>
                  <a:gd name="T27"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7">
                    <a:moveTo>
                      <a:pt x="0" y="0"/>
                    </a:moveTo>
                    <a:cubicBezTo>
                      <a:pt x="3" y="0"/>
                      <a:pt x="3" y="4"/>
                      <a:pt x="3" y="7"/>
                    </a:cubicBezTo>
                    <a:cubicBezTo>
                      <a:pt x="4" y="10"/>
                      <a:pt x="6" y="9"/>
                      <a:pt x="8" y="10"/>
                    </a:cubicBezTo>
                    <a:cubicBezTo>
                      <a:pt x="11" y="11"/>
                      <a:pt x="14" y="11"/>
                      <a:pt x="18" y="11"/>
                    </a:cubicBezTo>
                    <a:cubicBezTo>
                      <a:pt x="19" y="11"/>
                      <a:pt x="20" y="11"/>
                      <a:pt x="21" y="11"/>
                    </a:cubicBezTo>
                    <a:cubicBezTo>
                      <a:pt x="21" y="12"/>
                      <a:pt x="20" y="15"/>
                      <a:pt x="21" y="16"/>
                    </a:cubicBezTo>
                    <a:cubicBezTo>
                      <a:pt x="21" y="17"/>
                      <a:pt x="24" y="17"/>
                      <a:pt x="24" y="17"/>
                    </a:cubicBezTo>
                    <a:cubicBezTo>
                      <a:pt x="26" y="17"/>
                      <a:pt x="27" y="17"/>
                      <a:pt x="29" y="17"/>
                    </a:cubicBezTo>
                    <a:cubicBezTo>
                      <a:pt x="30" y="17"/>
                      <a:pt x="31" y="17"/>
                      <a:pt x="32" y="17"/>
                    </a:cubicBezTo>
                    <a:cubicBezTo>
                      <a:pt x="36" y="17"/>
                      <a:pt x="40" y="15"/>
                      <a:pt x="43" y="14"/>
                    </a:cubicBezTo>
                    <a:cubicBezTo>
                      <a:pt x="45" y="13"/>
                      <a:pt x="57" y="9"/>
                      <a:pt x="55" y="6"/>
                    </a:cubicBezTo>
                    <a:cubicBezTo>
                      <a:pt x="55" y="6"/>
                      <a:pt x="51" y="5"/>
                      <a:pt x="50" y="4"/>
                    </a:cubicBezTo>
                    <a:cubicBezTo>
                      <a:pt x="48" y="3"/>
                      <a:pt x="45" y="3"/>
                      <a:pt x="42" y="2"/>
                    </a:cubicBezTo>
                    <a:cubicBezTo>
                      <a:pt x="28" y="2"/>
                      <a:pt x="14"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309"/>
              <p:cNvSpPr/>
              <p:nvPr/>
            </p:nvSpPr>
            <p:spPr bwMode="auto">
              <a:xfrm>
                <a:off x="10064" y="-512"/>
                <a:ext cx="76" cy="36"/>
              </a:xfrm>
              <a:custGeom>
                <a:gdLst>
                  <a:gd name="T0" fmla="*/ 12 w 32"/>
                  <a:gd name="T1" fmla="*/ 0 h 15"/>
                  <a:gd name="T2" fmla="*/ 6 w 32"/>
                  <a:gd name="T3" fmla="*/ 2 h 15"/>
                  <a:gd name="T4" fmla="*/ 2 w 32"/>
                  <a:gd name="T5" fmla="*/ 7 h 15"/>
                  <a:gd name="T6" fmla="*/ 5 w 32"/>
                  <a:gd name="T7" fmla="*/ 8 h 15"/>
                  <a:gd name="T8" fmla="*/ 8 w 32"/>
                  <a:gd name="T9" fmla="*/ 10 h 15"/>
                  <a:gd name="T10" fmla="*/ 23 w 32"/>
                  <a:gd name="T11" fmla="*/ 15 h 15"/>
                  <a:gd name="T12" fmla="*/ 30 w 32"/>
                  <a:gd name="T13" fmla="*/ 11 h 15"/>
                  <a:gd name="T14" fmla="*/ 31 w 32"/>
                  <a:gd name="T15" fmla="*/ 5 h 15"/>
                  <a:gd name="T16" fmla="*/ 27 w 32"/>
                  <a:gd name="T17" fmla="*/ 4 h 15"/>
                  <a:gd name="T18" fmla="*/ 12 w 32"/>
                  <a:gd name="T1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5">
                    <a:moveTo>
                      <a:pt x="12" y="0"/>
                    </a:moveTo>
                    <a:cubicBezTo>
                      <a:pt x="10" y="0"/>
                      <a:pt x="8" y="1"/>
                      <a:pt x="6" y="2"/>
                    </a:cubicBezTo>
                    <a:cubicBezTo>
                      <a:pt x="4" y="3"/>
                      <a:pt x="0" y="5"/>
                      <a:pt x="2" y="7"/>
                    </a:cubicBezTo>
                    <a:cubicBezTo>
                      <a:pt x="2" y="8"/>
                      <a:pt x="4" y="8"/>
                      <a:pt x="5" y="8"/>
                    </a:cubicBezTo>
                    <a:cubicBezTo>
                      <a:pt x="6" y="9"/>
                      <a:pt x="7" y="9"/>
                      <a:pt x="8" y="10"/>
                    </a:cubicBezTo>
                    <a:cubicBezTo>
                      <a:pt x="12" y="13"/>
                      <a:pt x="18" y="15"/>
                      <a:pt x="23" y="15"/>
                    </a:cubicBezTo>
                    <a:cubicBezTo>
                      <a:pt x="27" y="15"/>
                      <a:pt x="29" y="15"/>
                      <a:pt x="30" y="11"/>
                    </a:cubicBezTo>
                    <a:cubicBezTo>
                      <a:pt x="31" y="9"/>
                      <a:pt x="32" y="6"/>
                      <a:pt x="31" y="5"/>
                    </a:cubicBezTo>
                    <a:cubicBezTo>
                      <a:pt x="30" y="4"/>
                      <a:pt x="28" y="4"/>
                      <a:pt x="27" y="4"/>
                    </a:cubicBezTo>
                    <a:cubicBezTo>
                      <a:pt x="22" y="3"/>
                      <a:pt x="17"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310"/>
              <p:cNvSpPr/>
              <p:nvPr/>
            </p:nvSpPr>
            <p:spPr bwMode="auto">
              <a:xfrm>
                <a:off x="5657" y="-802"/>
                <a:ext cx="85" cy="40"/>
              </a:xfrm>
              <a:custGeom>
                <a:gdLst>
                  <a:gd name="T0" fmla="*/ 21 w 36"/>
                  <a:gd name="T1" fmla="*/ 0 h 17"/>
                  <a:gd name="T2" fmla="*/ 20 w 36"/>
                  <a:gd name="T3" fmla="*/ 0 h 17"/>
                  <a:gd name="T4" fmla="*/ 3 w 36"/>
                  <a:gd name="T5" fmla="*/ 3 h 17"/>
                  <a:gd name="T6" fmla="*/ 3 w 36"/>
                  <a:gd name="T7" fmla="*/ 11 h 17"/>
                  <a:gd name="T8" fmla="*/ 1 w 36"/>
                  <a:gd name="T9" fmla="*/ 15 h 17"/>
                  <a:gd name="T10" fmla="*/ 3 w 36"/>
                  <a:gd name="T11" fmla="*/ 17 h 17"/>
                  <a:gd name="T12" fmla="*/ 4 w 36"/>
                  <a:gd name="T13" fmla="*/ 17 h 17"/>
                  <a:gd name="T14" fmla="*/ 6 w 36"/>
                  <a:gd name="T15" fmla="*/ 15 h 17"/>
                  <a:gd name="T16" fmla="*/ 9 w 36"/>
                  <a:gd name="T17" fmla="*/ 17 h 17"/>
                  <a:gd name="T18" fmla="*/ 15 w 36"/>
                  <a:gd name="T19" fmla="*/ 15 h 17"/>
                  <a:gd name="T20" fmla="*/ 25 w 36"/>
                  <a:gd name="T21" fmla="*/ 14 h 17"/>
                  <a:gd name="T22" fmla="*/ 30 w 36"/>
                  <a:gd name="T23" fmla="*/ 12 h 17"/>
                  <a:gd name="T24" fmla="*/ 31 w 36"/>
                  <a:gd name="T25" fmla="*/ 12 h 17"/>
                  <a:gd name="T26" fmla="*/ 32 w 36"/>
                  <a:gd name="T27" fmla="*/ 12 h 17"/>
                  <a:gd name="T28" fmla="*/ 34 w 36"/>
                  <a:gd name="T29" fmla="*/ 12 h 17"/>
                  <a:gd name="T30" fmla="*/ 35 w 36"/>
                  <a:gd name="T31" fmla="*/ 12 h 17"/>
                  <a:gd name="T32" fmla="*/ 32 w 36"/>
                  <a:gd name="T33" fmla="*/ 7 h 17"/>
                  <a:gd name="T34" fmla="*/ 31 w 36"/>
                  <a:gd name="T35" fmla="*/ 6 h 17"/>
                  <a:gd name="T36" fmla="*/ 29 w 36"/>
                  <a:gd name="T37" fmla="*/ 7 h 17"/>
                  <a:gd name="T38" fmla="*/ 28 w 36"/>
                  <a:gd name="T39" fmla="*/ 7 h 17"/>
                  <a:gd name="T40" fmla="*/ 26 w 36"/>
                  <a:gd name="T41" fmla="*/ 6 h 17"/>
                  <a:gd name="T42" fmla="*/ 24 w 36"/>
                  <a:gd name="T43" fmla="*/ 2 h 17"/>
                  <a:gd name="T44" fmla="*/ 25 w 36"/>
                  <a:gd name="T45" fmla="*/ 2 h 17"/>
                  <a:gd name="T46" fmla="*/ 26 w 36"/>
                  <a:gd name="T47" fmla="*/ 2 h 17"/>
                  <a:gd name="T48" fmla="*/ 27 w 36"/>
                  <a:gd name="T49" fmla="*/ 2 h 17"/>
                  <a:gd name="T50" fmla="*/ 27 w 36"/>
                  <a:gd name="T51" fmla="*/ 2 h 17"/>
                  <a:gd name="T52" fmla="*/ 21 w 36"/>
                  <a:gd name="T5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17">
                    <a:moveTo>
                      <a:pt x="21" y="0"/>
                    </a:moveTo>
                    <a:cubicBezTo>
                      <a:pt x="21" y="0"/>
                      <a:pt x="21" y="0"/>
                      <a:pt x="20" y="0"/>
                    </a:cubicBezTo>
                    <a:cubicBezTo>
                      <a:pt x="15" y="0"/>
                      <a:pt x="9" y="2"/>
                      <a:pt x="3" y="3"/>
                    </a:cubicBezTo>
                    <a:cubicBezTo>
                      <a:pt x="3" y="6"/>
                      <a:pt x="3" y="8"/>
                      <a:pt x="3" y="11"/>
                    </a:cubicBezTo>
                    <a:cubicBezTo>
                      <a:pt x="3" y="13"/>
                      <a:pt x="2" y="13"/>
                      <a:pt x="1" y="15"/>
                    </a:cubicBezTo>
                    <a:cubicBezTo>
                      <a:pt x="0" y="17"/>
                      <a:pt x="1" y="17"/>
                      <a:pt x="3" y="17"/>
                    </a:cubicBezTo>
                    <a:cubicBezTo>
                      <a:pt x="3" y="17"/>
                      <a:pt x="3" y="17"/>
                      <a:pt x="4" y="17"/>
                    </a:cubicBezTo>
                    <a:cubicBezTo>
                      <a:pt x="5" y="17"/>
                      <a:pt x="6" y="16"/>
                      <a:pt x="6" y="15"/>
                    </a:cubicBezTo>
                    <a:cubicBezTo>
                      <a:pt x="7" y="17"/>
                      <a:pt x="8" y="17"/>
                      <a:pt x="9" y="17"/>
                    </a:cubicBezTo>
                    <a:cubicBezTo>
                      <a:pt x="11" y="17"/>
                      <a:pt x="14" y="15"/>
                      <a:pt x="15" y="15"/>
                    </a:cubicBezTo>
                    <a:cubicBezTo>
                      <a:pt x="19" y="14"/>
                      <a:pt x="22" y="14"/>
                      <a:pt x="25" y="14"/>
                    </a:cubicBezTo>
                    <a:cubicBezTo>
                      <a:pt x="27" y="13"/>
                      <a:pt x="28" y="12"/>
                      <a:pt x="30" y="12"/>
                    </a:cubicBezTo>
                    <a:cubicBezTo>
                      <a:pt x="30" y="12"/>
                      <a:pt x="30" y="12"/>
                      <a:pt x="31" y="12"/>
                    </a:cubicBezTo>
                    <a:cubicBezTo>
                      <a:pt x="31" y="12"/>
                      <a:pt x="32" y="12"/>
                      <a:pt x="32" y="12"/>
                    </a:cubicBezTo>
                    <a:cubicBezTo>
                      <a:pt x="33" y="12"/>
                      <a:pt x="33" y="12"/>
                      <a:pt x="34" y="12"/>
                    </a:cubicBezTo>
                    <a:cubicBezTo>
                      <a:pt x="34" y="12"/>
                      <a:pt x="35" y="12"/>
                      <a:pt x="35" y="12"/>
                    </a:cubicBezTo>
                    <a:cubicBezTo>
                      <a:pt x="36" y="11"/>
                      <a:pt x="33" y="7"/>
                      <a:pt x="32" y="7"/>
                    </a:cubicBezTo>
                    <a:cubicBezTo>
                      <a:pt x="31" y="6"/>
                      <a:pt x="31" y="6"/>
                      <a:pt x="31" y="6"/>
                    </a:cubicBezTo>
                    <a:cubicBezTo>
                      <a:pt x="30" y="6"/>
                      <a:pt x="30" y="7"/>
                      <a:pt x="29" y="7"/>
                    </a:cubicBezTo>
                    <a:cubicBezTo>
                      <a:pt x="29" y="7"/>
                      <a:pt x="28" y="7"/>
                      <a:pt x="28" y="7"/>
                    </a:cubicBezTo>
                    <a:cubicBezTo>
                      <a:pt x="27" y="7"/>
                      <a:pt x="27" y="7"/>
                      <a:pt x="26" y="6"/>
                    </a:cubicBezTo>
                    <a:cubicBezTo>
                      <a:pt x="24" y="2"/>
                      <a:pt x="24" y="2"/>
                      <a:pt x="24" y="2"/>
                    </a:cubicBezTo>
                    <a:cubicBezTo>
                      <a:pt x="25" y="2"/>
                      <a:pt x="25" y="2"/>
                      <a:pt x="25" y="2"/>
                    </a:cubicBezTo>
                    <a:cubicBezTo>
                      <a:pt x="26" y="2"/>
                      <a:pt x="26" y="2"/>
                      <a:pt x="26" y="2"/>
                    </a:cubicBezTo>
                    <a:cubicBezTo>
                      <a:pt x="26" y="2"/>
                      <a:pt x="27" y="2"/>
                      <a:pt x="27" y="2"/>
                    </a:cubicBezTo>
                    <a:cubicBezTo>
                      <a:pt x="27" y="2"/>
                      <a:pt x="27" y="2"/>
                      <a:pt x="27" y="2"/>
                    </a:cubicBezTo>
                    <a:cubicBezTo>
                      <a:pt x="26" y="0"/>
                      <a:pt x="23"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311"/>
              <p:cNvSpPr>
                <a:spLocks noEditPoints="1"/>
              </p:cNvSpPr>
              <p:nvPr/>
            </p:nvSpPr>
            <p:spPr bwMode="auto">
              <a:xfrm>
                <a:off x="9502" y="808"/>
                <a:ext cx="42" cy="45"/>
              </a:xfrm>
              <a:custGeom>
                <a:gdLst>
                  <a:gd name="T0" fmla="*/ 0 w 18"/>
                  <a:gd name="T1" fmla="*/ 17 h 19"/>
                  <a:gd name="T2" fmla="*/ 0 w 18"/>
                  <a:gd name="T3" fmla="*/ 17 h 19"/>
                  <a:gd name="T4" fmla="*/ 0 w 18"/>
                  <a:gd name="T5" fmla="*/ 17 h 19"/>
                  <a:gd name="T6" fmla="*/ 16 w 18"/>
                  <a:gd name="T7" fmla="*/ 0 h 19"/>
                  <a:gd name="T8" fmla="*/ 15 w 18"/>
                  <a:gd name="T9" fmla="*/ 0 h 19"/>
                  <a:gd name="T10" fmla="*/ 10 w 18"/>
                  <a:gd name="T11" fmla="*/ 7 h 19"/>
                  <a:gd name="T12" fmla="*/ 6 w 18"/>
                  <a:gd name="T13" fmla="*/ 9 h 19"/>
                  <a:gd name="T14" fmla="*/ 2 w 18"/>
                  <a:gd name="T15" fmla="*/ 11 h 19"/>
                  <a:gd name="T16" fmla="*/ 0 w 18"/>
                  <a:gd name="T17" fmla="*/ 12 h 19"/>
                  <a:gd name="T18" fmla="*/ 0 w 18"/>
                  <a:gd name="T19" fmla="*/ 12 h 19"/>
                  <a:gd name="T20" fmla="*/ 0 w 18"/>
                  <a:gd name="T21" fmla="*/ 12 h 19"/>
                  <a:gd name="T22" fmla="*/ 0 w 18"/>
                  <a:gd name="T23" fmla="*/ 13 h 19"/>
                  <a:gd name="T24" fmla="*/ 0 w 18"/>
                  <a:gd name="T25" fmla="*/ 13 h 19"/>
                  <a:gd name="T26" fmla="*/ 0 w 18"/>
                  <a:gd name="T27" fmla="*/ 14 h 19"/>
                  <a:gd name="T28" fmla="*/ 0 w 18"/>
                  <a:gd name="T29" fmla="*/ 17 h 19"/>
                  <a:gd name="T30" fmla="*/ 0 w 18"/>
                  <a:gd name="T31" fmla="*/ 17 h 19"/>
                  <a:gd name="T32" fmla="*/ 3 w 18"/>
                  <a:gd name="T33" fmla="*/ 19 h 19"/>
                  <a:gd name="T34" fmla="*/ 8 w 18"/>
                  <a:gd name="T35" fmla="*/ 15 h 19"/>
                  <a:gd name="T36" fmla="*/ 18 w 18"/>
                  <a:gd name="T37" fmla="*/ 5 h 19"/>
                  <a:gd name="T38" fmla="*/ 16 w 18"/>
                  <a:gd name="T3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9">
                    <a:moveTo>
                      <a:pt x="0" y="17"/>
                    </a:moveTo>
                    <a:cubicBezTo>
                      <a:pt x="0" y="17"/>
                      <a:pt x="0" y="17"/>
                      <a:pt x="0" y="17"/>
                    </a:cubicBezTo>
                    <a:cubicBezTo>
                      <a:pt x="0" y="17"/>
                      <a:pt x="0" y="17"/>
                      <a:pt x="0" y="17"/>
                    </a:cubicBezTo>
                    <a:moveTo>
                      <a:pt x="16" y="0"/>
                    </a:moveTo>
                    <a:cubicBezTo>
                      <a:pt x="15" y="0"/>
                      <a:pt x="15" y="0"/>
                      <a:pt x="15" y="0"/>
                    </a:cubicBezTo>
                    <a:cubicBezTo>
                      <a:pt x="12" y="1"/>
                      <a:pt x="12" y="5"/>
                      <a:pt x="10" y="7"/>
                    </a:cubicBezTo>
                    <a:cubicBezTo>
                      <a:pt x="9" y="9"/>
                      <a:pt x="8" y="9"/>
                      <a:pt x="6" y="9"/>
                    </a:cubicBezTo>
                    <a:cubicBezTo>
                      <a:pt x="4" y="10"/>
                      <a:pt x="4" y="11"/>
                      <a:pt x="2" y="11"/>
                    </a:cubicBezTo>
                    <a:cubicBezTo>
                      <a:pt x="1" y="12"/>
                      <a:pt x="1" y="12"/>
                      <a:pt x="0" y="12"/>
                    </a:cubicBezTo>
                    <a:cubicBezTo>
                      <a:pt x="0" y="12"/>
                      <a:pt x="0" y="12"/>
                      <a:pt x="0" y="12"/>
                    </a:cubicBezTo>
                    <a:cubicBezTo>
                      <a:pt x="0" y="12"/>
                      <a:pt x="0" y="12"/>
                      <a:pt x="0" y="12"/>
                    </a:cubicBezTo>
                    <a:cubicBezTo>
                      <a:pt x="0" y="12"/>
                      <a:pt x="0" y="12"/>
                      <a:pt x="0" y="13"/>
                    </a:cubicBezTo>
                    <a:cubicBezTo>
                      <a:pt x="0" y="13"/>
                      <a:pt x="0" y="13"/>
                      <a:pt x="0" y="13"/>
                    </a:cubicBezTo>
                    <a:cubicBezTo>
                      <a:pt x="0" y="13"/>
                      <a:pt x="0" y="14"/>
                      <a:pt x="0" y="14"/>
                    </a:cubicBezTo>
                    <a:cubicBezTo>
                      <a:pt x="1" y="15"/>
                      <a:pt x="0" y="16"/>
                      <a:pt x="0" y="17"/>
                    </a:cubicBezTo>
                    <a:cubicBezTo>
                      <a:pt x="0" y="17"/>
                      <a:pt x="0" y="17"/>
                      <a:pt x="0" y="17"/>
                    </a:cubicBezTo>
                    <a:cubicBezTo>
                      <a:pt x="0" y="17"/>
                      <a:pt x="3" y="18"/>
                      <a:pt x="3" y="19"/>
                    </a:cubicBezTo>
                    <a:cubicBezTo>
                      <a:pt x="5" y="17"/>
                      <a:pt x="6" y="16"/>
                      <a:pt x="8" y="15"/>
                    </a:cubicBezTo>
                    <a:cubicBezTo>
                      <a:pt x="10" y="12"/>
                      <a:pt x="17" y="8"/>
                      <a:pt x="18" y="5"/>
                    </a:cubicBezTo>
                    <a:cubicBezTo>
                      <a:pt x="18" y="2"/>
                      <a:pt x="18"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312"/>
              <p:cNvSpPr/>
              <p:nvPr/>
            </p:nvSpPr>
            <p:spPr bwMode="auto">
              <a:xfrm>
                <a:off x="4868" y="-1460"/>
                <a:ext cx="68" cy="26"/>
              </a:xfrm>
              <a:custGeom>
                <a:gdLst>
                  <a:gd name="T0" fmla="*/ 16 w 29"/>
                  <a:gd name="T1" fmla="*/ 0 h 11"/>
                  <a:gd name="T2" fmla="*/ 0 w 29"/>
                  <a:gd name="T3" fmla="*/ 9 h 11"/>
                  <a:gd name="T4" fmla="*/ 9 w 29"/>
                  <a:gd name="T5" fmla="*/ 11 h 11"/>
                  <a:gd name="T6" fmla="*/ 9 w 29"/>
                  <a:gd name="T7" fmla="*/ 11 h 11"/>
                  <a:gd name="T8" fmla="*/ 17 w 29"/>
                  <a:gd name="T9" fmla="*/ 10 h 11"/>
                  <a:gd name="T10" fmla="*/ 18 w 29"/>
                  <a:gd name="T11" fmla="*/ 10 h 11"/>
                  <a:gd name="T12" fmla="*/ 21 w 29"/>
                  <a:gd name="T13" fmla="*/ 11 h 11"/>
                  <a:gd name="T14" fmla="*/ 22 w 29"/>
                  <a:gd name="T15" fmla="*/ 11 h 11"/>
                  <a:gd name="T16" fmla="*/ 24 w 29"/>
                  <a:gd name="T17" fmla="*/ 9 h 11"/>
                  <a:gd name="T18" fmla="*/ 25 w 29"/>
                  <a:gd name="T19" fmla="*/ 8 h 11"/>
                  <a:gd name="T20" fmla="*/ 26 w 29"/>
                  <a:gd name="T21" fmla="*/ 9 h 11"/>
                  <a:gd name="T22" fmla="*/ 28 w 29"/>
                  <a:gd name="T23" fmla="*/ 9 h 11"/>
                  <a:gd name="T24" fmla="*/ 29 w 29"/>
                  <a:gd name="T25" fmla="*/ 8 h 11"/>
                  <a:gd name="T26" fmla="*/ 21 w 29"/>
                  <a:gd name="T27" fmla="*/ 3 h 11"/>
                  <a:gd name="T28" fmla="*/ 18 w 29"/>
                  <a:gd name="T29" fmla="*/ 0 h 11"/>
                  <a:gd name="T30" fmla="*/ 16 w 29"/>
                  <a:gd name="T31"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11">
                    <a:moveTo>
                      <a:pt x="16" y="0"/>
                    </a:moveTo>
                    <a:cubicBezTo>
                      <a:pt x="11" y="0"/>
                      <a:pt x="4" y="6"/>
                      <a:pt x="0" y="9"/>
                    </a:cubicBezTo>
                    <a:cubicBezTo>
                      <a:pt x="3" y="10"/>
                      <a:pt x="6" y="11"/>
                      <a:pt x="9" y="11"/>
                    </a:cubicBezTo>
                    <a:cubicBezTo>
                      <a:pt x="9" y="11"/>
                      <a:pt x="9" y="11"/>
                      <a:pt x="9" y="11"/>
                    </a:cubicBezTo>
                    <a:cubicBezTo>
                      <a:pt x="11" y="11"/>
                      <a:pt x="14" y="10"/>
                      <a:pt x="17" y="10"/>
                    </a:cubicBezTo>
                    <a:cubicBezTo>
                      <a:pt x="17" y="10"/>
                      <a:pt x="17" y="10"/>
                      <a:pt x="18" y="10"/>
                    </a:cubicBezTo>
                    <a:cubicBezTo>
                      <a:pt x="19" y="11"/>
                      <a:pt x="20" y="11"/>
                      <a:pt x="21" y="11"/>
                    </a:cubicBezTo>
                    <a:cubicBezTo>
                      <a:pt x="22" y="11"/>
                      <a:pt x="22" y="11"/>
                      <a:pt x="22" y="11"/>
                    </a:cubicBezTo>
                    <a:cubicBezTo>
                      <a:pt x="24" y="11"/>
                      <a:pt x="23" y="10"/>
                      <a:pt x="24" y="9"/>
                    </a:cubicBezTo>
                    <a:cubicBezTo>
                      <a:pt x="24" y="9"/>
                      <a:pt x="25" y="8"/>
                      <a:pt x="25" y="8"/>
                    </a:cubicBezTo>
                    <a:cubicBezTo>
                      <a:pt x="26" y="8"/>
                      <a:pt x="26" y="8"/>
                      <a:pt x="26" y="9"/>
                    </a:cubicBezTo>
                    <a:cubicBezTo>
                      <a:pt x="27" y="9"/>
                      <a:pt x="27" y="9"/>
                      <a:pt x="28" y="9"/>
                    </a:cubicBezTo>
                    <a:cubicBezTo>
                      <a:pt x="28" y="9"/>
                      <a:pt x="29" y="8"/>
                      <a:pt x="29" y="8"/>
                    </a:cubicBezTo>
                    <a:cubicBezTo>
                      <a:pt x="27" y="5"/>
                      <a:pt x="23" y="5"/>
                      <a:pt x="21" y="3"/>
                    </a:cubicBezTo>
                    <a:cubicBezTo>
                      <a:pt x="19" y="2"/>
                      <a:pt x="20" y="1"/>
                      <a:pt x="18" y="0"/>
                    </a:cubicBezTo>
                    <a:cubicBezTo>
                      <a:pt x="17"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313"/>
              <p:cNvSpPr/>
              <p:nvPr/>
            </p:nvSpPr>
            <p:spPr bwMode="auto">
              <a:xfrm>
                <a:off x="9871" y="276"/>
                <a:ext cx="61" cy="49"/>
              </a:xfrm>
              <a:custGeom>
                <a:gdLst>
                  <a:gd name="T0" fmla="*/ 21 w 26"/>
                  <a:gd name="T1" fmla="*/ 0 h 21"/>
                  <a:gd name="T2" fmla="*/ 15 w 26"/>
                  <a:gd name="T3" fmla="*/ 4 h 21"/>
                  <a:gd name="T4" fmla="*/ 6 w 26"/>
                  <a:gd name="T5" fmla="*/ 6 h 21"/>
                  <a:gd name="T6" fmla="*/ 9 w 26"/>
                  <a:gd name="T7" fmla="*/ 6 h 21"/>
                  <a:gd name="T8" fmla="*/ 0 w 26"/>
                  <a:gd name="T9" fmla="*/ 19 h 21"/>
                  <a:gd name="T10" fmla="*/ 1 w 26"/>
                  <a:gd name="T11" fmla="*/ 21 h 21"/>
                  <a:gd name="T12" fmla="*/ 23 w 26"/>
                  <a:gd name="T13" fmla="*/ 10 h 21"/>
                  <a:gd name="T14" fmla="*/ 23 w 26"/>
                  <a:gd name="T15" fmla="*/ 1 h 21"/>
                  <a:gd name="T16" fmla="*/ 21 w 26"/>
                  <a:gd name="T17"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1">
                    <a:moveTo>
                      <a:pt x="21" y="0"/>
                    </a:moveTo>
                    <a:cubicBezTo>
                      <a:pt x="20" y="0"/>
                      <a:pt x="17" y="3"/>
                      <a:pt x="15" y="4"/>
                    </a:cubicBezTo>
                    <a:cubicBezTo>
                      <a:pt x="12" y="5"/>
                      <a:pt x="9" y="5"/>
                      <a:pt x="6" y="6"/>
                    </a:cubicBezTo>
                    <a:cubicBezTo>
                      <a:pt x="7" y="6"/>
                      <a:pt x="8" y="6"/>
                      <a:pt x="9" y="6"/>
                    </a:cubicBezTo>
                    <a:cubicBezTo>
                      <a:pt x="5" y="9"/>
                      <a:pt x="6" y="17"/>
                      <a:pt x="0" y="19"/>
                    </a:cubicBezTo>
                    <a:cubicBezTo>
                      <a:pt x="0" y="20"/>
                      <a:pt x="0" y="21"/>
                      <a:pt x="1" y="21"/>
                    </a:cubicBezTo>
                    <a:cubicBezTo>
                      <a:pt x="8" y="17"/>
                      <a:pt x="15" y="14"/>
                      <a:pt x="23" y="10"/>
                    </a:cubicBezTo>
                    <a:cubicBezTo>
                      <a:pt x="26" y="8"/>
                      <a:pt x="24" y="4"/>
                      <a:pt x="23" y="1"/>
                    </a:cubicBezTo>
                    <a:cubicBezTo>
                      <a:pt x="22" y="0"/>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314"/>
              <p:cNvSpPr/>
              <p:nvPr/>
            </p:nvSpPr>
            <p:spPr bwMode="auto">
              <a:xfrm>
                <a:off x="9977" y="529"/>
                <a:ext cx="42" cy="40"/>
              </a:xfrm>
              <a:custGeom>
                <a:gdLst>
                  <a:gd name="T0" fmla="*/ 9 w 18"/>
                  <a:gd name="T1" fmla="*/ 0 h 17"/>
                  <a:gd name="T2" fmla="*/ 0 w 18"/>
                  <a:gd name="T3" fmla="*/ 1 h 17"/>
                  <a:gd name="T4" fmla="*/ 7 w 18"/>
                  <a:gd name="T5" fmla="*/ 9 h 17"/>
                  <a:gd name="T6" fmla="*/ 17 w 18"/>
                  <a:gd name="T7" fmla="*/ 17 h 17"/>
                  <a:gd name="T8" fmla="*/ 13 w 18"/>
                  <a:gd name="T9" fmla="*/ 9 h 17"/>
                  <a:gd name="T10" fmla="*/ 9 w 18"/>
                  <a:gd name="T11" fmla="*/ 0 h 17"/>
                </a:gdLst>
                <a:cxnLst>
                  <a:cxn ang="0">
                    <a:pos x="T0" y="T1"/>
                  </a:cxn>
                  <a:cxn ang="0">
                    <a:pos x="T2" y="T3"/>
                  </a:cxn>
                  <a:cxn ang="0">
                    <a:pos x="T4" y="T5"/>
                  </a:cxn>
                  <a:cxn ang="0">
                    <a:pos x="T6" y="T7"/>
                  </a:cxn>
                  <a:cxn ang="0">
                    <a:pos x="T8" y="T9"/>
                  </a:cxn>
                  <a:cxn ang="0">
                    <a:pos x="T10" y="T11"/>
                  </a:cxn>
                </a:cxnLst>
                <a:rect l="0" t="0" r="r" b="b"/>
                <a:pathLst>
                  <a:path w="18" h="17">
                    <a:moveTo>
                      <a:pt x="9" y="0"/>
                    </a:moveTo>
                    <a:cubicBezTo>
                      <a:pt x="6" y="0"/>
                      <a:pt x="3" y="0"/>
                      <a:pt x="0" y="1"/>
                    </a:cubicBezTo>
                    <a:cubicBezTo>
                      <a:pt x="4" y="2"/>
                      <a:pt x="5" y="6"/>
                      <a:pt x="7" y="9"/>
                    </a:cubicBezTo>
                    <a:cubicBezTo>
                      <a:pt x="10" y="12"/>
                      <a:pt x="13" y="14"/>
                      <a:pt x="17" y="17"/>
                    </a:cubicBezTo>
                    <a:cubicBezTo>
                      <a:pt x="18" y="13"/>
                      <a:pt x="15" y="11"/>
                      <a:pt x="13" y="9"/>
                    </a:cubicBezTo>
                    <a:cubicBezTo>
                      <a:pt x="10" y="6"/>
                      <a:pt x="9" y="4"/>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315"/>
              <p:cNvSpPr/>
              <p:nvPr/>
            </p:nvSpPr>
            <p:spPr bwMode="auto">
              <a:xfrm>
                <a:off x="5563" y="2210"/>
                <a:ext cx="9" cy="12"/>
              </a:xfrm>
              <a:custGeom>
                <a:gdLst>
                  <a:gd name="T0" fmla="*/ 1 w 4"/>
                  <a:gd name="T1" fmla="*/ 0 h 5"/>
                  <a:gd name="T2" fmla="*/ 1 w 4"/>
                  <a:gd name="T3" fmla="*/ 1 h 5"/>
                  <a:gd name="T4" fmla="*/ 0 w 4"/>
                  <a:gd name="T5" fmla="*/ 0 h 5"/>
                  <a:gd name="T6" fmla="*/ 0 w 4"/>
                  <a:gd name="T7" fmla="*/ 5 h 5"/>
                  <a:gd name="T8" fmla="*/ 3 w 4"/>
                  <a:gd name="T9" fmla="*/ 1 h 5"/>
                  <a:gd name="T10" fmla="*/ 2 w 4"/>
                  <a:gd name="T11" fmla="*/ 1 h 5"/>
                  <a:gd name="T12" fmla="*/ 3 w 4"/>
                  <a:gd name="T13" fmla="*/ 1 h 5"/>
                  <a:gd name="T14" fmla="*/ 4 w 4"/>
                  <a:gd name="T15" fmla="*/ 1 h 5"/>
                  <a:gd name="T16" fmla="*/ 1 w 4"/>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1" y="0"/>
                    </a:moveTo>
                    <a:cubicBezTo>
                      <a:pt x="1" y="0"/>
                      <a:pt x="1" y="0"/>
                      <a:pt x="1" y="1"/>
                    </a:cubicBezTo>
                    <a:cubicBezTo>
                      <a:pt x="0" y="0"/>
                      <a:pt x="0" y="0"/>
                      <a:pt x="0" y="0"/>
                    </a:cubicBezTo>
                    <a:cubicBezTo>
                      <a:pt x="0" y="2"/>
                      <a:pt x="0" y="3"/>
                      <a:pt x="0" y="5"/>
                    </a:cubicBezTo>
                    <a:cubicBezTo>
                      <a:pt x="4" y="5"/>
                      <a:pt x="1" y="3"/>
                      <a:pt x="3" y="1"/>
                    </a:cubicBezTo>
                    <a:cubicBezTo>
                      <a:pt x="3" y="1"/>
                      <a:pt x="2" y="1"/>
                      <a:pt x="2" y="1"/>
                    </a:cubicBezTo>
                    <a:cubicBezTo>
                      <a:pt x="2" y="1"/>
                      <a:pt x="3" y="1"/>
                      <a:pt x="3" y="1"/>
                    </a:cubicBezTo>
                    <a:cubicBezTo>
                      <a:pt x="4" y="1"/>
                      <a:pt x="4" y="1"/>
                      <a:pt x="4" y="1"/>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316"/>
              <p:cNvSpPr/>
              <p:nvPr/>
            </p:nvSpPr>
            <p:spPr bwMode="auto">
              <a:xfrm>
                <a:off x="5551" y="2207"/>
                <a:ext cx="9" cy="10"/>
              </a:xfrm>
              <a:custGeom>
                <a:gdLst>
                  <a:gd name="T0" fmla="*/ 4 w 4"/>
                  <a:gd name="T1" fmla="*/ 0 h 4"/>
                  <a:gd name="T2" fmla="*/ 0 w 4"/>
                  <a:gd name="T3" fmla="*/ 3 h 4"/>
                  <a:gd name="T4" fmla="*/ 2 w 4"/>
                  <a:gd name="T5" fmla="*/ 4 h 4"/>
                  <a:gd name="T6" fmla="*/ 3 w 4"/>
                  <a:gd name="T7" fmla="*/ 3 h 4"/>
                  <a:gd name="T8" fmla="*/ 4 w 4"/>
                  <a:gd name="T9" fmla="*/ 0 h 4"/>
                </a:gdLst>
                <a:cxnLst>
                  <a:cxn ang="0">
                    <a:pos x="T0" y="T1"/>
                  </a:cxn>
                  <a:cxn ang="0">
                    <a:pos x="T2" y="T3"/>
                  </a:cxn>
                  <a:cxn ang="0">
                    <a:pos x="T4" y="T5"/>
                  </a:cxn>
                  <a:cxn ang="0">
                    <a:pos x="T6" y="T7"/>
                  </a:cxn>
                  <a:cxn ang="0">
                    <a:pos x="T8" y="T9"/>
                  </a:cxn>
                </a:cxnLst>
                <a:rect l="0" t="0" r="r" b="b"/>
                <a:pathLst>
                  <a:path w="4" h="4">
                    <a:moveTo>
                      <a:pt x="4" y="0"/>
                    </a:moveTo>
                    <a:cubicBezTo>
                      <a:pt x="2" y="1"/>
                      <a:pt x="0" y="1"/>
                      <a:pt x="0" y="3"/>
                    </a:cubicBezTo>
                    <a:cubicBezTo>
                      <a:pt x="0" y="4"/>
                      <a:pt x="1" y="4"/>
                      <a:pt x="2" y="4"/>
                    </a:cubicBezTo>
                    <a:cubicBezTo>
                      <a:pt x="2" y="4"/>
                      <a:pt x="3" y="4"/>
                      <a:pt x="3" y="3"/>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317"/>
              <p:cNvSpPr/>
              <p:nvPr/>
            </p:nvSpPr>
            <p:spPr bwMode="auto">
              <a:xfrm>
                <a:off x="5565" y="2212"/>
                <a:ext cx="12" cy="10"/>
              </a:xfrm>
              <a:custGeom>
                <a:gdLst>
                  <a:gd name="T0" fmla="*/ 4 w 5"/>
                  <a:gd name="T1" fmla="*/ 0 h 4"/>
                  <a:gd name="T2" fmla="*/ 5 w 5"/>
                  <a:gd name="T3" fmla="*/ 4 h 4"/>
                  <a:gd name="T4" fmla="*/ 4 w 5"/>
                  <a:gd name="T5" fmla="*/ 0 h 4"/>
                </a:gdLst>
                <a:cxnLst>
                  <a:cxn ang="0">
                    <a:pos x="T0" y="T1"/>
                  </a:cxn>
                  <a:cxn ang="0">
                    <a:pos x="T2" y="T3"/>
                  </a:cxn>
                  <a:cxn ang="0">
                    <a:pos x="T4" y="T5"/>
                  </a:cxn>
                </a:cxnLst>
                <a:rect l="0" t="0" r="r" b="b"/>
                <a:pathLst>
                  <a:path w="5" h="4">
                    <a:moveTo>
                      <a:pt x="4" y="0"/>
                    </a:moveTo>
                    <a:cubicBezTo>
                      <a:pt x="0" y="1"/>
                      <a:pt x="2" y="2"/>
                      <a:pt x="5" y="4"/>
                    </a:cubicBezTo>
                    <a:cubicBezTo>
                      <a:pt x="5"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318"/>
              <p:cNvSpPr/>
              <p:nvPr/>
            </p:nvSpPr>
            <p:spPr bwMode="auto">
              <a:xfrm>
                <a:off x="3965" y="1635"/>
                <a:ext cx="106" cy="52"/>
              </a:xfrm>
              <a:custGeom>
                <a:gdLst>
                  <a:gd name="T0" fmla="*/ 45 w 45"/>
                  <a:gd name="T1" fmla="*/ 0 h 22"/>
                  <a:gd name="T2" fmla="*/ 27 w 45"/>
                  <a:gd name="T3" fmla="*/ 7 h 22"/>
                  <a:gd name="T4" fmla="*/ 26 w 45"/>
                  <a:gd name="T5" fmla="*/ 7 h 22"/>
                  <a:gd name="T6" fmla="*/ 23 w 45"/>
                  <a:gd name="T7" fmla="*/ 7 h 22"/>
                  <a:gd name="T8" fmla="*/ 19 w 45"/>
                  <a:gd name="T9" fmla="*/ 7 h 22"/>
                  <a:gd name="T10" fmla="*/ 13 w 45"/>
                  <a:gd name="T11" fmla="*/ 6 h 22"/>
                  <a:gd name="T12" fmla="*/ 11 w 45"/>
                  <a:gd name="T13" fmla="*/ 10 h 22"/>
                  <a:gd name="T14" fmla="*/ 5 w 45"/>
                  <a:gd name="T15" fmla="*/ 12 h 22"/>
                  <a:gd name="T16" fmla="*/ 3 w 45"/>
                  <a:gd name="T17" fmla="*/ 14 h 22"/>
                  <a:gd name="T18" fmla="*/ 3 w 45"/>
                  <a:gd name="T19" fmla="*/ 14 h 22"/>
                  <a:gd name="T20" fmla="*/ 2 w 45"/>
                  <a:gd name="T21" fmla="*/ 13 h 22"/>
                  <a:gd name="T22" fmla="*/ 1 w 45"/>
                  <a:gd name="T23" fmla="*/ 13 h 22"/>
                  <a:gd name="T24" fmla="*/ 1 w 45"/>
                  <a:gd name="T25" fmla="*/ 13 h 22"/>
                  <a:gd name="T26" fmla="*/ 3 w 45"/>
                  <a:gd name="T27" fmla="*/ 20 h 22"/>
                  <a:gd name="T28" fmla="*/ 13 w 45"/>
                  <a:gd name="T29" fmla="*/ 22 h 22"/>
                  <a:gd name="T30" fmla="*/ 14 w 45"/>
                  <a:gd name="T31" fmla="*/ 22 h 22"/>
                  <a:gd name="T32" fmla="*/ 25 w 45"/>
                  <a:gd name="T33" fmla="*/ 18 h 22"/>
                  <a:gd name="T34" fmla="*/ 28 w 45"/>
                  <a:gd name="T35" fmla="*/ 15 h 22"/>
                  <a:gd name="T36" fmla="*/ 31 w 45"/>
                  <a:gd name="T37" fmla="*/ 15 h 22"/>
                  <a:gd name="T38" fmla="*/ 31 w 45"/>
                  <a:gd name="T39" fmla="*/ 15 h 22"/>
                  <a:gd name="T40" fmla="*/ 31 w 45"/>
                  <a:gd name="T41" fmla="*/ 14 h 22"/>
                  <a:gd name="T42" fmla="*/ 33 w 45"/>
                  <a:gd name="T43" fmla="*/ 15 h 22"/>
                  <a:gd name="T44" fmla="*/ 34 w 45"/>
                  <a:gd name="T45" fmla="*/ 15 h 22"/>
                  <a:gd name="T46" fmla="*/ 35 w 45"/>
                  <a:gd name="T47" fmla="*/ 16 h 22"/>
                  <a:gd name="T48" fmla="*/ 33 w 45"/>
                  <a:gd name="T49" fmla="*/ 8 h 22"/>
                  <a:gd name="T50" fmla="*/ 35 w 45"/>
                  <a:gd name="T51" fmla="*/ 7 h 22"/>
                  <a:gd name="T52" fmla="*/ 36 w 45"/>
                  <a:gd name="T53" fmla="*/ 6 h 22"/>
                  <a:gd name="T54" fmla="*/ 39 w 45"/>
                  <a:gd name="T55" fmla="*/ 4 h 22"/>
                  <a:gd name="T56" fmla="*/ 45 w 45"/>
                  <a:gd name="T57"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 h="22">
                    <a:moveTo>
                      <a:pt x="45" y="0"/>
                    </a:moveTo>
                    <a:cubicBezTo>
                      <a:pt x="39" y="2"/>
                      <a:pt x="33" y="5"/>
                      <a:pt x="27" y="7"/>
                    </a:cubicBezTo>
                    <a:cubicBezTo>
                      <a:pt x="27" y="7"/>
                      <a:pt x="26" y="7"/>
                      <a:pt x="26" y="7"/>
                    </a:cubicBezTo>
                    <a:cubicBezTo>
                      <a:pt x="25" y="7"/>
                      <a:pt x="24" y="7"/>
                      <a:pt x="23" y="7"/>
                    </a:cubicBezTo>
                    <a:cubicBezTo>
                      <a:pt x="22" y="7"/>
                      <a:pt x="20" y="7"/>
                      <a:pt x="19" y="7"/>
                    </a:cubicBezTo>
                    <a:cubicBezTo>
                      <a:pt x="17" y="7"/>
                      <a:pt x="15" y="7"/>
                      <a:pt x="13" y="6"/>
                    </a:cubicBezTo>
                    <a:cubicBezTo>
                      <a:pt x="13" y="9"/>
                      <a:pt x="14" y="9"/>
                      <a:pt x="11" y="10"/>
                    </a:cubicBezTo>
                    <a:cubicBezTo>
                      <a:pt x="9" y="10"/>
                      <a:pt x="7" y="10"/>
                      <a:pt x="5" y="12"/>
                    </a:cubicBezTo>
                    <a:cubicBezTo>
                      <a:pt x="4" y="13"/>
                      <a:pt x="4" y="14"/>
                      <a:pt x="3" y="14"/>
                    </a:cubicBezTo>
                    <a:cubicBezTo>
                      <a:pt x="3" y="14"/>
                      <a:pt x="3" y="14"/>
                      <a:pt x="3" y="14"/>
                    </a:cubicBezTo>
                    <a:cubicBezTo>
                      <a:pt x="3" y="14"/>
                      <a:pt x="2" y="13"/>
                      <a:pt x="2" y="13"/>
                    </a:cubicBezTo>
                    <a:cubicBezTo>
                      <a:pt x="1" y="13"/>
                      <a:pt x="1" y="13"/>
                      <a:pt x="1" y="13"/>
                    </a:cubicBezTo>
                    <a:cubicBezTo>
                      <a:pt x="1" y="13"/>
                      <a:pt x="1" y="13"/>
                      <a:pt x="1" y="13"/>
                    </a:cubicBezTo>
                    <a:cubicBezTo>
                      <a:pt x="0" y="13"/>
                      <a:pt x="2" y="19"/>
                      <a:pt x="3" y="20"/>
                    </a:cubicBezTo>
                    <a:cubicBezTo>
                      <a:pt x="5" y="22"/>
                      <a:pt x="10" y="22"/>
                      <a:pt x="13" y="22"/>
                    </a:cubicBezTo>
                    <a:cubicBezTo>
                      <a:pt x="13" y="22"/>
                      <a:pt x="13" y="22"/>
                      <a:pt x="14" y="22"/>
                    </a:cubicBezTo>
                    <a:cubicBezTo>
                      <a:pt x="18" y="22"/>
                      <a:pt x="22" y="20"/>
                      <a:pt x="25" y="18"/>
                    </a:cubicBezTo>
                    <a:cubicBezTo>
                      <a:pt x="27" y="18"/>
                      <a:pt x="27" y="16"/>
                      <a:pt x="28" y="15"/>
                    </a:cubicBezTo>
                    <a:cubicBezTo>
                      <a:pt x="29" y="15"/>
                      <a:pt x="30" y="15"/>
                      <a:pt x="31" y="15"/>
                    </a:cubicBezTo>
                    <a:cubicBezTo>
                      <a:pt x="31" y="15"/>
                      <a:pt x="31" y="15"/>
                      <a:pt x="31" y="15"/>
                    </a:cubicBezTo>
                    <a:cubicBezTo>
                      <a:pt x="32" y="15"/>
                      <a:pt x="31" y="14"/>
                      <a:pt x="31" y="14"/>
                    </a:cubicBezTo>
                    <a:cubicBezTo>
                      <a:pt x="32" y="15"/>
                      <a:pt x="32" y="15"/>
                      <a:pt x="33" y="15"/>
                    </a:cubicBezTo>
                    <a:cubicBezTo>
                      <a:pt x="33" y="15"/>
                      <a:pt x="33" y="15"/>
                      <a:pt x="34" y="15"/>
                    </a:cubicBezTo>
                    <a:cubicBezTo>
                      <a:pt x="35" y="16"/>
                      <a:pt x="35" y="16"/>
                      <a:pt x="35" y="16"/>
                    </a:cubicBezTo>
                    <a:cubicBezTo>
                      <a:pt x="34" y="13"/>
                      <a:pt x="31" y="10"/>
                      <a:pt x="33" y="8"/>
                    </a:cubicBezTo>
                    <a:cubicBezTo>
                      <a:pt x="35" y="7"/>
                      <a:pt x="35" y="7"/>
                      <a:pt x="35" y="7"/>
                    </a:cubicBezTo>
                    <a:cubicBezTo>
                      <a:pt x="36" y="6"/>
                      <a:pt x="36" y="6"/>
                      <a:pt x="36" y="6"/>
                    </a:cubicBezTo>
                    <a:cubicBezTo>
                      <a:pt x="37" y="5"/>
                      <a:pt x="38" y="5"/>
                      <a:pt x="39" y="4"/>
                    </a:cubicBezTo>
                    <a:cubicBezTo>
                      <a:pt x="40" y="3"/>
                      <a:pt x="44" y="1"/>
                      <a:pt x="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319"/>
              <p:cNvSpPr/>
              <p:nvPr/>
            </p:nvSpPr>
            <p:spPr bwMode="auto">
              <a:xfrm>
                <a:off x="6723" y="2453"/>
                <a:ext cx="9" cy="7"/>
              </a:xfrm>
              <a:custGeom>
                <a:gdLst>
                  <a:gd name="T0" fmla="*/ 3 w 4"/>
                  <a:gd name="T1" fmla="*/ 0 h 3"/>
                  <a:gd name="T2" fmla="*/ 0 w 4"/>
                  <a:gd name="T3" fmla="*/ 0 h 3"/>
                  <a:gd name="T4" fmla="*/ 2 w 4"/>
                  <a:gd name="T5" fmla="*/ 3 h 3"/>
                  <a:gd name="T6" fmla="*/ 3 w 4"/>
                  <a:gd name="T7" fmla="*/ 3 h 3"/>
                  <a:gd name="T8" fmla="*/ 3 w 4"/>
                  <a:gd name="T9" fmla="*/ 3 h 3"/>
                  <a:gd name="T10" fmla="*/ 4 w 4"/>
                  <a:gd name="T11" fmla="*/ 2 h 3"/>
                  <a:gd name="T12" fmla="*/ 3 w 4"/>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4" h="3">
                    <a:moveTo>
                      <a:pt x="3" y="0"/>
                    </a:moveTo>
                    <a:cubicBezTo>
                      <a:pt x="2" y="0"/>
                      <a:pt x="1" y="0"/>
                      <a:pt x="0" y="0"/>
                    </a:cubicBezTo>
                    <a:cubicBezTo>
                      <a:pt x="0" y="1"/>
                      <a:pt x="1" y="3"/>
                      <a:pt x="2" y="3"/>
                    </a:cubicBezTo>
                    <a:cubicBezTo>
                      <a:pt x="3" y="3"/>
                      <a:pt x="3" y="3"/>
                      <a:pt x="3" y="3"/>
                    </a:cubicBezTo>
                    <a:cubicBezTo>
                      <a:pt x="3" y="3"/>
                      <a:pt x="3" y="3"/>
                      <a:pt x="3" y="3"/>
                    </a:cubicBezTo>
                    <a:cubicBezTo>
                      <a:pt x="4" y="3"/>
                      <a:pt x="4" y="3"/>
                      <a:pt x="4" y="2"/>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320"/>
              <p:cNvSpPr/>
              <p:nvPr/>
            </p:nvSpPr>
            <p:spPr bwMode="auto">
              <a:xfrm>
                <a:off x="7642" y="2285"/>
                <a:ext cx="2" cy="5"/>
              </a:xfrm>
              <a:custGeom>
                <a:gdLst>
                  <a:gd name="T0" fmla="*/ 1 w 1"/>
                  <a:gd name="T1" fmla="*/ 0 h 2"/>
                  <a:gd name="T2" fmla="*/ 0 w 1"/>
                  <a:gd name="T3" fmla="*/ 2 h 2"/>
                  <a:gd name="T4" fmla="*/ 1 w 1"/>
                  <a:gd name="T5" fmla="*/ 2 h 2"/>
                  <a:gd name="T6" fmla="*/ 1 w 1"/>
                  <a:gd name="T7" fmla="*/ 0 h 2"/>
                </a:gdLst>
                <a:cxnLst>
                  <a:cxn ang="0">
                    <a:pos x="T0" y="T1"/>
                  </a:cxn>
                  <a:cxn ang="0">
                    <a:pos x="T2" y="T3"/>
                  </a:cxn>
                  <a:cxn ang="0">
                    <a:pos x="T4" y="T5"/>
                  </a:cxn>
                  <a:cxn ang="0">
                    <a:pos x="T6" y="T7"/>
                  </a:cxn>
                </a:cxnLst>
                <a:rect l="0" t="0" r="r" b="b"/>
                <a:pathLst>
                  <a:path w="1" h="2">
                    <a:moveTo>
                      <a:pt x="1" y="0"/>
                    </a:moveTo>
                    <a:cubicBezTo>
                      <a:pt x="1" y="0"/>
                      <a:pt x="0" y="1"/>
                      <a:pt x="0" y="2"/>
                    </a:cubicBezTo>
                    <a:cubicBezTo>
                      <a:pt x="1" y="2"/>
                      <a:pt x="1" y="2"/>
                      <a:pt x="1" y="2"/>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321"/>
              <p:cNvSpPr/>
              <p:nvPr/>
            </p:nvSpPr>
            <p:spPr bwMode="auto">
              <a:xfrm>
                <a:off x="7621" y="2257"/>
                <a:ext cx="2" cy="5"/>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1" y="1"/>
                      <a:pt x="0" y="2"/>
                      <a:pt x="0" y="2"/>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322"/>
              <p:cNvSpPr/>
              <p:nvPr/>
            </p:nvSpPr>
            <p:spPr bwMode="auto">
              <a:xfrm>
                <a:off x="6718" y="2943"/>
                <a:ext cx="7" cy="9"/>
              </a:xfrm>
              <a:custGeom>
                <a:gdLst>
                  <a:gd name="T0" fmla="*/ 3 w 3"/>
                  <a:gd name="T1" fmla="*/ 0 h 4"/>
                  <a:gd name="T2" fmla="*/ 2 w 3"/>
                  <a:gd name="T3" fmla="*/ 4 h 4"/>
                  <a:gd name="T4" fmla="*/ 3 w 3"/>
                  <a:gd name="T5" fmla="*/ 0 h 4"/>
                </a:gdLst>
                <a:cxnLst>
                  <a:cxn ang="0">
                    <a:pos x="T0" y="T1"/>
                  </a:cxn>
                  <a:cxn ang="0">
                    <a:pos x="T2" y="T3"/>
                  </a:cxn>
                  <a:cxn ang="0">
                    <a:pos x="T4" y="T5"/>
                  </a:cxn>
                </a:cxnLst>
                <a:rect l="0" t="0" r="r" b="b"/>
                <a:pathLst>
                  <a:path w="3" h="4">
                    <a:moveTo>
                      <a:pt x="3" y="0"/>
                    </a:moveTo>
                    <a:cubicBezTo>
                      <a:pt x="0" y="1"/>
                      <a:pt x="2" y="3"/>
                      <a:pt x="2" y="4"/>
                    </a:cubicBezTo>
                    <a:cubicBezTo>
                      <a:pt x="2" y="3"/>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323"/>
              <p:cNvSpPr/>
              <p:nvPr/>
            </p:nvSpPr>
            <p:spPr bwMode="auto">
              <a:xfrm>
                <a:off x="6728" y="2978"/>
                <a:ext cx="4"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0" y="1"/>
                      <a:pt x="0" y="2"/>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324"/>
              <p:cNvSpPr/>
              <p:nvPr/>
            </p:nvSpPr>
            <p:spPr bwMode="auto">
              <a:xfrm>
                <a:off x="6685" y="2725"/>
                <a:ext cx="2" cy="7"/>
              </a:xfrm>
              <a:custGeom>
                <a:gdLst>
                  <a:gd name="T0" fmla="*/ 1 w 1"/>
                  <a:gd name="T1" fmla="*/ 0 h 3"/>
                  <a:gd name="T2" fmla="*/ 0 w 1"/>
                  <a:gd name="T3" fmla="*/ 3 h 3"/>
                  <a:gd name="T4" fmla="*/ 0 w 1"/>
                  <a:gd name="T5" fmla="*/ 3 h 3"/>
                  <a:gd name="T6" fmla="*/ 1 w 1"/>
                  <a:gd name="T7" fmla="*/ 2 h 3"/>
                  <a:gd name="T8" fmla="*/ 1 w 1"/>
                  <a:gd name="T9" fmla="*/ 0 h 3"/>
                </a:gdLst>
                <a:cxnLst>
                  <a:cxn ang="0">
                    <a:pos x="T0" y="T1"/>
                  </a:cxn>
                  <a:cxn ang="0">
                    <a:pos x="T2" y="T3"/>
                  </a:cxn>
                  <a:cxn ang="0">
                    <a:pos x="T4" y="T5"/>
                  </a:cxn>
                  <a:cxn ang="0">
                    <a:pos x="T6" y="T7"/>
                  </a:cxn>
                  <a:cxn ang="0">
                    <a:pos x="T8" y="T9"/>
                  </a:cxn>
                </a:cxnLst>
                <a:rect l="0" t="0" r="r" b="b"/>
                <a:pathLst>
                  <a:path w="1" h="3">
                    <a:moveTo>
                      <a:pt x="1" y="0"/>
                    </a:moveTo>
                    <a:cubicBezTo>
                      <a:pt x="1" y="1"/>
                      <a:pt x="0" y="2"/>
                      <a:pt x="0" y="3"/>
                    </a:cubicBezTo>
                    <a:cubicBezTo>
                      <a:pt x="0" y="3"/>
                      <a:pt x="0" y="3"/>
                      <a:pt x="0" y="3"/>
                    </a:cubicBezTo>
                    <a:cubicBezTo>
                      <a:pt x="1" y="3"/>
                      <a:pt x="1" y="3"/>
                      <a:pt x="1"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325"/>
              <p:cNvSpPr/>
              <p:nvPr/>
            </p:nvSpPr>
            <p:spPr bwMode="auto">
              <a:xfrm>
                <a:off x="6704" y="2938"/>
                <a:ext cx="5" cy="5"/>
              </a:xfrm>
              <a:custGeom>
                <a:gdLst>
                  <a:gd name="T0" fmla="*/ 0 w 2"/>
                  <a:gd name="T1" fmla="*/ 0 h 2"/>
                  <a:gd name="T2" fmla="*/ 1 w 2"/>
                  <a:gd name="T3" fmla="*/ 0 h 2"/>
                  <a:gd name="T4" fmla="*/ 2 w 2"/>
                  <a:gd name="T5" fmla="*/ 2 h 2"/>
                  <a:gd name="T6" fmla="*/ 1 w 2"/>
                  <a:gd name="T7" fmla="*/ 0 h 2"/>
                  <a:gd name="T8" fmla="*/ 0 w 2"/>
                  <a:gd name="T9" fmla="*/ 0 h 2"/>
                </a:gdLst>
                <a:cxnLst>
                  <a:cxn ang="0">
                    <a:pos x="T0" y="T1"/>
                  </a:cxn>
                  <a:cxn ang="0">
                    <a:pos x="T2" y="T3"/>
                  </a:cxn>
                  <a:cxn ang="0">
                    <a:pos x="T4" y="T5"/>
                  </a:cxn>
                  <a:cxn ang="0">
                    <a:pos x="T6" y="T7"/>
                  </a:cxn>
                  <a:cxn ang="0">
                    <a:pos x="T8" y="T9"/>
                  </a:cxn>
                </a:cxnLst>
                <a:rect l="0" t="0" r="r" b="b"/>
                <a:pathLst>
                  <a:path w="2" h="2">
                    <a:moveTo>
                      <a:pt x="0" y="0"/>
                    </a:moveTo>
                    <a:cubicBezTo>
                      <a:pt x="1" y="0"/>
                      <a:pt x="1" y="0"/>
                      <a:pt x="1" y="0"/>
                    </a:cubicBezTo>
                    <a:cubicBezTo>
                      <a:pt x="1" y="1"/>
                      <a:pt x="1" y="1"/>
                      <a:pt x="2" y="2"/>
                    </a:cubicBezTo>
                    <a:cubicBezTo>
                      <a:pt x="1" y="1"/>
                      <a:pt x="1"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Freeform 326"/>
              <p:cNvSpPr/>
              <p:nvPr/>
            </p:nvSpPr>
            <p:spPr bwMode="auto">
              <a:xfrm>
                <a:off x="6671" y="2822"/>
                <a:ext cx="9" cy="17"/>
              </a:xfrm>
              <a:custGeom>
                <a:gdLst>
                  <a:gd name="T0" fmla="*/ 3 w 4"/>
                  <a:gd name="T1" fmla="*/ 0 h 7"/>
                  <a:gd name="T2" fmla="*/ 0 w 4"/>
                  <a:gd name="T3" fmla="*/ 2 h 7"/>
                  <a:gd name="T4" fmla="*/ 0 w 4"/>
                  <a:gd name="T5" fmla="*/ 5 h 7"/>
                  <a:gd name="T6" fmla="*/ 0 w 4"/>
                  <a:gd name="T7" fmla="*/ 6 h 7"/>
                  <a:gd name="T8" fmla="*/ 2 w 4"/>
                  <a:gd name="T9" fmla="*/ 7 h 7"/>
                  <a:gd name="T10" fmla="*/ 4 w 4"/>
                  <a:gd name="T11" fmla="*/ 2 h 7"/>
                  <a:gd name="T12" fmla="*/ 4 w 4"/>
                  <a:gd name="T13" fmla="*/ 1 h 7"/>
                  <a:gd name="T14" fmla="*/ 3 w 4"/>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3" y="0"/>
                    </a:moveTo>
                    <a:cubicBezTo>
                      <a:pt x="2" y="0"/>
                      <a:pt x="0" y="1"/>
                      <a:pt x="0" y="2"/>
                    </a:cubicBezTo>
                    <a:cubicBezTo>
                      <a:pt x="0" y="3"/>
                      <a:pt x="0" y="4"/>
                      <a:pt x="0" y="5"/>
                    </a:cubicBezTo>
                    <a:cubicBezTo>
                      <a:pt x="0" y="5"/>
                      <a:pt x="0" y="6"/>
                      <a:pt x="0" y="6"/>
                    </a:cubicBezTo>
                    <a:cubicBezTo>
                      <a:pt x="1" y="6"/>
                      <a:pt x="1" y="7"/>
                      <a:pt x="2" y="7"/>
                    </a:cubicBezTo>
                    <a:cubicBezTo>
                      <a:pt x="3" y="7"/>
                      <a:pt x="4" y="3"/>
                      <a:pt x="4" y="2"/>
                    </a:cubicBezTo>
                    <a:cubicBezTo>
                      <a:pt x="4" y="1"/>
                      <a:pt x="4" y="1"/>
                      <a:pt x="4"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Freeform 327"/>
              <p:cNvSpPr/>
              <p:nvPr/>
            </p:nvSpPr>
            <p:spPr bwMode="auto">
              <a:xfrm>
                <a:off x="6711" y="2952"/>
                <a:ext cx="9" cy="5"/>
              </a:xfrm>
              <a:custGeom>
                <a:gdLst>
                  <a:gd name="T0" fmla="*/ 3 w 4"/>
                  <a:gd name="T1" fmla="*/ 0 h 2"/>
                  <a:gd name="T2" fmla="*/ 3 w 4"/>
                  <a:gd name="T3" fmla="*/ 2 h 2"/>
                  <a:gd name="T4" fmla="*/ 4 w 4"/>
                  <a:gd name="T5" fmla="*/ 2 h 2"/>
                  <a:gd name="T6" fmla="*/ 3 w 4"/>
                  <a:gd name="T7" fmla="*/ 0 h 2"/>
                </a:gdLst>
                <a:cxnLst>
                  <a:cxn ang="0">
                    <a:pos x="T0" y="T1"/>
                  </a:cxn>
                  <a:cxn ang="0">
                    <a:pos x="T2" y="T3"/>
                  </a:cxn>
                  <a:cxn ang="0">
                    <a:pos x="T4" y="T5"/>
                  </a:cxn>
                  <a:cxn ang="0">
                    <a:pos x="T6" y="T7"/>
                  </a:cxn>
                </a:cxnLst>
                <a:rect l="0" t="0" r="r" b="b"/>
                <a:pathLst>
                  <a:path w="4" h="2">
                    <a:moveTo>
                      <a:pt x="3" y="0"/>
                    </a:moveTo>
                    <a:cubicBezTo>
                      <a:pt x="0" y="1"/>
                      <a:pt x="2" y="2"/>
                      <a:pt x="3" y="2"/>
                    </a:cubicBezTo>
                    <a:cubicBezTo>
                      <a:pt x="4" y="2"/>
                      <a:pt x="4" y="2"/>
                      <a:pt x="4" y="2"/>
                    </a:cubicBezTo>
                    <a:cubicBezTo>
                      <a:pt x="4"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328"/>
              <p:cNvSpPr>
                <a:spLocks noEditPoints="1"/>
              </p:cNvSpPr>
              <p:nvPr/>
            </p:nvSpPr>
            <p:spPr bwMode="auto">
              <a:xfrm>
                <a:off x="6678" y="2699"/>
                <a:ext cx="26" cy="95"/>
              </a:xfrm>
              <a:custGeom>
                <a:gdLst>
                  <a:gd name="T0" fmla="*/ 11 w 11"/>
                  <a:gd name="T1" fmla="*/ 3 h 40"/>
                  <a:gd name="T2" fmla="*/ 11 w 11"/>
                  <a:gd name="T3" fmla="*/ 3 h 40"/>
                  <a:gd name="T4" fmla="*/ 11 w 11"/>
                  <a:gd name="T5" fmla="*/ 3 h 40"/>
                  <a:gd name="T6" fmla="*/ 10 w 11"/>
                  <a:gd name="T7" fmla="*/ 0 h 40"/>
                  <a:gd name="T8" fmla="*/ 7 w 11"/>
                  <a:gd name="T9" fmla="*/ 10 h 40"/>
                  <a:gd name="T10" fmla="*/ 6 w 11"/>
                  <a:gd name="T11" fmla="*/ 13 h 40"/>
                  <a:gd name="T12" fmla="*/ 7 w 11"/>
                  <a:gd name="T13" fmla="*/ 13 h 40"/>
                  <a:gd name="T14" fmla="*/ 5 w 11"/>
                  <a:gd name="T15" fmla="*/ 19 h 40"/>
                  <a:gd name="T16" fmla="*/ 5 w 11"/>
                  <a:gd name="T17" fmla="*/ 24 h 40"/>
                  <a:gd name="T18" fmla="*/ 6 w 11"/>
                  <a:gd name="T19" fmla="*/ 24 h 40"/>
                  <a:gd name="T20" fmla="*/ 5 w 11"/>
                  <a:gd name="T21" fmla="*/ 27 h 40"/>
                  <a:gd name="T22" fmla="*/ 5 w 11"/>
                  <a:gd name="T23" fmla="*/ 27 h 40"/>
                  <a:gd name="T24" fmla="*/ 4 w 11"/>
                  <a:gd name="T25" fmla="*/ 26 h 40"/>
                  <a:gd name="T26" fmla="*/ 3 w 11"/>
                  <a:gd name="T27" fmla="*/ 28 h 40"/>
                  <a:gd name="T28" fmla="*/ 2 w 11"/>
                  <a:gd name="T29" fmla="*/ 29 h 40"/>
                  <a:gd name="T30" fmla="*/ 2 w 11"/>
                  <a:gd name="T31" fmla="*/ 32 h 40"/>
                  <a:gd name="T32" fmla="*/ 1 w 11"/>
                  <a:gd name="T33" fmla="*/ 32 h 40"/>
                  <a:gd name="T34" fmla="*/ 1 w 11"/>
                  <a:gd name="T35" fmla="*/ 33 h 40"/>
                  <a:gd name="T36" fmla="*/ 2 w 11"/>
                  <a:gd name="T37" fmla="*/ 36 h 40"/>
                  <a:gd name="T38" fmla="*/ 2 w 11"/>
                  <a:gd name="T39" fmla="*/ 37 h 40"/>
                  <a:gd name="T40" fmla="*/ 4 w 11"/>
                  <a:gd name="T41" fmla="*/ 40 h 40"/>
                  <a:gd name="T42" fmla="*/ 4 w 11"/>
                  <a:gd name="T43" fmla="*/ 35 h 40"/>
                  <a:gd name="T44" fmla="*/ 5 w 11"/>
                  <a:gd name="T45" fmla="*/ 29 h 40"/>
                  <a:gd name="T46" fmla="*/ 7 w 11"/>
                  <a:gd name="T47" fmla="*/ 25 h 40"/>
                  <a:gd name="T48" fmla="*/ 7 w 11"/>
                  <a:gd name="T49" fmla="*/ 24 h 40"/>
                  <a:gd name="T50" fmla="*/ 7 w 11"/>
                  <a:gd name="T51" fmla="*/ 24 h 40"/>
                  <a:gd name="T52" fmla="*/ 9 w 11"/>
                  <a:gd name="T53" fmla="*/ 20 h 40"/>
                  <a:gd name="T54" fmla="*/ 9 w 11"/>
                  <a:gd name="T55" fmla="*/ 16 h 40"/>
                  <a:gd name="T56" fmla="*/ 7 w 11"/>
                  <a:gd name="T57" fmla="*/ 13 h 40"/>
                  <a:gd name="T58" fmla="*/ 7 w 11"/>
                  <a:gd name="T59" fmla="*/ 13 h 40"/>
                  <a:gd name="T60" fmla="*/ 8 w 11"/>
                  <a:gd name="T61" fmla="*/ 10 h 40"/>
                  <a:gd name="T62" fmla="*/ 10 w 11"/>
                  <a:gd name="T63" fmla="*/ 8 h 40"/>
                  <a:gd name="T64" fmla="*/ 11 w 11"/>
                  <a:gd name="T65" fmla="*/ 6 h 40"/>
                  <a:gd name="T66" fmla="*/ 10 w 11"/>
                  <a:gd name="T67" fmla="*/ 5 h 40"/>
                  <a:gd name="T68" fmla="*/ 9 w 11"/>
                  <a:gd name="T69" fmla="*/ 4 h 40"/>
                  <a:gd name="T70" fmla="*/ 9 w 11"/>
                  <a:gd name="T71" fmla="*/ 4 h 40"/>
                  <a:gd name="T72" fmla="*/ 10 w 11"/>
                  <a:gd name="T73" fmla="*/ 3 h 40"/>
                  <a:gd name="T74" fmla="*/ 11 w 11"/>
                  <a:gd name="T75" fmla="*/ 3 h 40"/>
                  <a:gd name="T76" fmla="*/ 11 w 11"/>
                  <a:gd name="T77" fmla="*/ 3 h 40"/>
                  <a:gd name="T78" fmla="*/ 10 w 11"/>
                  <a:gd name="T79"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 h="40">
                    <a:moveTo>
                      <a:pt x="11" y="3"/>
                    </a:moveTo>
                    <a:cubicBezTo>
                      <a:pt x="11" y="3"/>
                      <a:pt x="11" y="3"/>
                      <a:pt x="11" y="3"/>
                    </a:cubicBezTo>
                    <a:cubicBezTo>
                      <a:pt x="11" y="3"/>
                      <a:pt x="11" y="3"/>
                      <a:pt x="11" y="3"/>
                    </a:cubicBezTo>
                    <a:moveTo>
                      <a:pt x="10" y="0"/>
                    </a:moveTo>
                    <a:cubicBezTo>
                      <a:pt x="9" y="3"/>
                      <a:pt x="8" y="7"/>
                      <a:pt x="7" y="10"/>
                    </a:cubicBezTo>
                    <a:cubicBezTo>
                      <a:pt x="6" y="11"/>
                      <a:pt x="6" y="12"/>
                      <a:pt x="6" y="13"/>
                    </a:cubicBezTo>
                    <a:cubicBezTo>
                      <a:pt x="7" y="13"/>
                      <a:pt x="7" y="13"/>
                      <a:pt x="7" y="13"/>
                    </a:cubicBezTo>
                    <a:cubicBezTo>
                      <a:pt x="6" y="13"/>
                      <a:pt x="5" y="16"/>
                      <a:pt x="5" y="19"/>
                    </a:cubicBezTo>
                    <a:cubicBezTo>
                      <a:pt x="5" y="21"/>
                      <a:pt x="5" y="23"/>
                      <a:pt x="5" y="24"/>
                    </a:cubicBezTo>
                    <a:cubicBezTo>
                      <a:pt x="6" y="24"/>
                      <a:pt x="6" y="24"/>
                      <a:pt x="6" y="24"/>
                    </a:cubicBezTo>
                    <a:cubicBezTo>
                      <a:pt x="5" y="25"/>
                      <a:pt x="5" y="26"/>
                      <a:pt x="5" y="27"/>
                    </a:cubicBezTo>
                    <a:cubicBezTo>
                      <a:pt x="5" y="27"/>
                      <a:pt x="5" y="27"/>
                      <a:pt x="5" y="27"/>
                    </a:cubicBezTo>
                    <a:cubicBezTo>
                      <a:pt x="5" y="27"/>
                      <a:pt x="4" y="26"/>
                      <a:pt x="4" y="26"/>
                    </a:cubicBezTo>
                    <a:cubicBezTo>
                      <a:pt x="3" y="26"/>
                      <a:pt x="3" y="27"/>
                      <a:pt x="3" y="28"/>
                    </a:cubicBezTo>
                    <a:cubicBezTo>
                      <a:pt x="3" y="28"/>
                      <a:pt x="2" y="29"/>
                      <a:pt x="2" y="29"/>
                    </a:cubicBezTo>
                    <a:cubicBezTo>
                      <a:pt x="2" y="30"/>
                      <a:pt x="2" y="31"/>
                      <a:pt x="2" y="32"/>
                    </a:cubicBezTo>
                    <a:cubicBezTo>
                      <a:pt x="2" y="32"/>
                      <a:pt x="1" y="32"/>
                      <a:pt x="1" y="32"/>
                    </a:cubicBezTo>
                    <a:cubicBezTo>
                      <a:pt x="1" y="32"/>
                      <a:pt x="1" y="32"/>
                      <a:pt x="1" y="33"/>
                    </a:cubicBezTo>
                    <a:cubicBezTo>
                      <a:pt x="0" y="34"/>
                      <a:pt x="2" y="35"/>
                      <a:pt x="2" y="36"/>
                    </a:cubicBezTo>
                    <a:cubicBezTo>
                      <a:pt x="2" y="37"/>
                      <a:pt x="2" y="37"/>
                      <a:pt x="2" y="37"/>
                    </a:cubicBezTo>
                    <a:cubicBezTo>
                      <a:pt x="3" y="38"/>
                      <a:pt x="3" y="39"/>
                      <a:pt x="4" y="40"/>
                    </a:cubicBezTo>
                    <a:cubicBezTo>
                      <a:pt x="4" y="38"/>
                      <a:pt x="4" y="36"/>
                      <a:pt x="4" y="35"/>
                    </a:cubicBezTo>
                    <a:cubicBezTo>
                      <a:pt x="5" y="33"/>
                      <a:pt x="5" y="31"/>
                      <a:pt x="5" y="29"/>
                    </a:cubicBezTo>
                    <a:cubicBezTo>
                      <a:pt x="5" y="28"/>
                      <a:pt x="6" y="26"/>
                      <a:pt x="7" y="25"/>
                    </a:cubicBezTo>
                    <a:cubicBezTo>
                      <a:pt x="7" y="25"/>
                      <a:pt x="7" y="24"/>
                      <a:pt x="7" y="24"/>
                    </a:cubicBezTo>
                    <a:cubicBezTo>
                      <a:pt x="7" y="24"/>
                      <a:pt x="7" y="24"/>
                      <a:pt x="7" y="24"/>
                    </a:cubicBezTo>
                    <a:cubicBezTo>
                      <a:pt x="8" y="23"/>
                      <a:pt x="9" y="21"/>
                      <a:pt x="9" y="20"/>
                    </a:cubicBezTo>
                    <a:cubicBezTo>
                      <a:pt x="9" y="19"/>
                      <a:pt x="9" y="17"/>
                      <a:pt x="9" y="16"/>
                    </a:cubicBezTo>
                    <a:cubicBezTo>
                      <a:pt x="8" y="15"/>
                      <a:pt x="8" y="14"/>
                      <a:pt x="7" y="13"/>
                    </a:cubicBezTo>
                    <a:cubicBezTo>
                      <a:pt x="7" y="13"/>
                      <a:pt x="7" y="13"/>
                      <a:pt x="7" y="13"/>
                    </a:cubicBezTo>
                    <a:cubicBezTo>
                      <a:pt x="8" y="12"/>
                      <a:pt x="8" y="10"/>
                      <a:pt x="8" y="10"/>
                    </a:cubicBezTo>
                    <a:cubicBezTo>
                      <a:pt x="9" y="9"/>
                      <a:pt x="10" y="9"/>
                      <a:pt x="10" y="8"/>
                    </a:cubicBezTo>
                    <a:cubicBezTo>
                      <a:pt x="11" y="8"/>
                      <a:pt x="11" y="7"/>
                      <a:pt x="11" y="6"/>
                    </a:cubicBezTo>
                    <a:cubicBezTo>
                      <a:pt x="11" y="6"/>
                      <a:pt x="10" y="5"/>
                      <a:pt x="10" y="5"/>
                    </a:cubicBezTo>
                    <a:cubicBezTo>
                      <a:pt x="10" y="4"/>
                      <a:pt x="9" y="5"/>
                      <a:pt x="9" y="4"/>
                    </a:cubicBezTo>
                    <a:cubicBezTo>
                      <a:pt x="9" y="4"/>
                      <a:pt x="9" y="4"/>
                      <a:pt x="9" y="4"/>
                    </a:cubicBezTo>
                    <a:cubicBezTo>
                      <a:pt x="10" y="4"/>
                      <a:pt x="10" y="4"/>
                      <a:pt x="10" y="3"/>
                    </a:cubicBezTo>
                    <a:cubicBezTo>
                      <a:pt x="10" y="3"/>
                      <a:pt x="11" y="3"/>
                      <a:pt x="11" y="3"/>
                    </a:cubicBezTo>
                    <a:cubicBezTo>
                      <a:pt x="11" y="3"/>
                      <a:pt x="11" y="3"/>
                      <a:pt x="11" y="3"/>
                    </a:cubicBezTo>
                    <a:cubicBezTo>
                      <a:pt x="11" y="2"/>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329"/>
              <p:cNvSpPr/>
              <p:nvPr/>
            </p:nvSpPr>
            <p:spPr bwMode="auto">
              <a:xfrm>
                <a:off x="6683" y="2794"/>
                <a:ext cx="4" cy="4"/>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0"/>
                      <a:pt x="1" y="1"/>
                      <a:pt x="0" y="2"/>
                    </a:cubicBezTo>
                    <a:cubicBezTo>
                      <a:pt x="1"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330"/>
              <p:cNvSpPr/>
              <p:nvPr/>
            </p:nvSpPr>
            <p:spPr bwMode="auto">
              <a:xfrm>
                <a:off x="6687" y="2895"/>
                <a:ext cx="3" cy="5"/>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1" y="1"/>
                      <a:pt x="0" y="1"/>
                      <a:pt x="0" y="2"/>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331"/>
              <p:cNvSpPr/>
              <p:nvPr/>
            </p:nvSpPr>
            <p:spPr bwMode="auto">
              <a:xfrm>
                <a:off x="6728" y="2988"/>
                <a:ext cx="11" cy="21"/>
              </a:xfrm>
              <a:custGeom>
                <a:gdLst>
                  <a:gd name="T0" fmla="*/ 3 w 5"/>
                  <a:gd name="T1" fmla="*/ 0 h 9"/>
                  <a:gd name="T2" fmla="*/ 1 w 5"/>
                  <a:gd name="T3" fmla="*/ 4 h 9"/>
                  <a:gd name="T4" fmla="*/ 2 w 5"/>
                  <a:gd name="T5" fmla="*/ 5 h 9"/>
                  <a:gd name="T6" fmla="*/ 3 w 5"/>
                  <a:gd name="T7" fmla="*/ 7 h 9"/>
                  <a:gd name="T8" fmla="*/ 4 w 5"/>
                  <a:gd name="T9" fmla="*/ 9 h 9"/>
                  <a:gd name="T10" fmla="*/ 5 w 5"/>
                  <a:gd name="T11" fmla="*/ 2 h 9"/>
                  <a:gd name="T12" fmla="*/ 5 w 5"/>
                  <a:gd name="T13" fmla="*/ 1 h 9"/>
                  <a:gd name="T14" fmla="*/ 3 w 5"/>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0"/>
                    </a:moveTo>
                    <a:cubicBezTo>
                      <a:pt x="2" y="0"/>
                      <a:pt x="0" y="1"/>
                      <a:pt x="1" y="4"/>
                    </a:cubicBezTo>
                    <a:cubicBezTo>
                      <a:pt x="1" y="4"/>
                      <a:pt x="1" y="5"/>
                      <a:pt x="2" y="5"/>
                    </a:cubicBezTo>
                    <a:cubicBezTo>
                      <a:pt x="2" y="6"/>
                      <a:pt x="3" y="6"/>
                      <a:pt x="3" y="7"/>
                    </a:cubicBezTo>
                    <a:cubicBezTo>
                      <a:pt x="4" y="8"/>
                      <a:pt x="4" y="8"/>
                      <a:pt x="4" y="9"/>
                    </a:cubicBezTo>
                    <a:cubicBezTo>
                      <a:pt x="5" y="7"/>
                      <a:pt x="5" y="4"/>
                      <a:pt x="5" y="2"/>
                    </a:cubicBezTo>
                    <a:cubicBezTo>
                      <a:pt x="5" y="2"/>
                      <a:pt x="5"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332"/>
              <p:cNvSpPr/>
              <p:nvPr/>
            </p:nvSpPr>
            <p:spPr bwMode="auto">
              <a:xfrm>
                <a:off x="5218" y="1082"/>
                <a:ext cx="18" cy="7"/>
              </a:xfrm>
              <a:custGeom>
                <a:gdLst>
                  <a:gd name="T0" fmla="*/ 6 w 8"/>
                  <a:gd name="T1" fmla="*/ 0 h 3"/>
                  <a:gd name="T2" fmla="*/ 0 w 8"/>
                  <a:gd name="T3" fmla="*/ 1 h 3"/>
                  <a:gd name="T4" fmla="*/ 4 w 8"/>
                  <a:gd name="T5" fmla="*/ 3 h 3"/>
                  <a:gd name="T6" fmla="*/ 5 w 8"/>
                  <a:gd name="T7" fmla="*/ 3 h 3"/>
                  <a:gd name="T8" fmla="*/ 8 w 8"/>
                  <a:gd name="T9" fmla="*/ 1 h 3"/>
                  <a:gd name="T10" fmla="*/ 6 w 8"/>
                  <a:gd name="T11" fmla="*/ 0 h 3"/>
                </a:gdLst>
                <a:cxnLst>
                  <a:cxn ang="0">
                    <a:pos x="T0" y="T1"/>
                  </a:cxn>
                  <a:cxn ang="0">
                    <a:pos x="T2" y="T3"/>
                  </a:cxn>
                  <a:cxn ang="0">
                    <a:pos x="T4" y="T5"/>
                  </a:cxn>
                  <a:cxn ang="0">
                    <a:pos x="T6" y="T7"/>
                  </a:cxn>
                  <a:cxn ang="0">
                    <a:pos x="T8" y="T9"/>
                  </a:cxn>
                  <a:cxn ang="0">
                    <a:pos x="T10" y="T11"/>
                  </a:cxn>
                </a:cxnLst>
                <a:rect l="0" t="0" r="r" b="b"/>
                <a:pathLst>
                  <a:path w="8" h="3">
                    <a:moveTo>
                      <a:pt x="6" y="0"/>
                    </a:moveTo>
                    <a:cubicBezTo>
                      <a:pt x="3" y="0"/>
                      <a:pt x="0" y="1"/>
                      <a:pt x="0" y="1"/>
                    </a:cubicBezTo>
                    <a:cubicBezTo>
                      <a:pt x="0" y="3"/>
                      <a:pt x="2" y="2"/>
                      <a:pt x="4" y="3"/>
                    </a:cubicBezTo>
                    <a:cubicBezTo>
                      <a:pt x="4" y="3"/>
                      <a:pt x="5" y="3"/>
                      <a:pt x="5" y="3"/>
                    </a:cubicBezTo>
                    <a:cubicBezTo>
                      <a:pt x="7" y="3"/>
                      <a:pt x="7" y="2"/>
                      <a:pt x="8"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333"/>
              <p:cNvSpPr/>
              <p:nvPr/>
            </p:nvSpPr>
            <p:spPr bwMode="auto">
              <a:xfrm>
                <a:off x="9819" y="-564"/>
                <a:ext cx="9" cy="3"/>
              </a:xfrm>
              <a:custGeom>
                <a:gdLst>
                  <a:gd name="T0" fmla="*/ 0 w 4"/>
                  <a:gd name="T1" fmla="*/ 0 h 1"/>
                  <a:gd name="T2" fmla="*/ 3 w 4"/>
                  <a:gd name="T3" fmla="*/ 1 h 1"/>
                  <a:gd name="T4" fmla="*/ 4 w 4"/>
                  <a:gd name="T5" fmla="*/ 0 h 1"/>
                  <a:gd name="T6" fmla="*/ 4 w 4"/>
                  <a:gd name="T7" fmla="*/ 0 h 1"/>
                  <a:gd name="T8" fmla="*/ 0 w 4"/>
                  <a:gd name="T9" fmla="*/ 0 h 1"/>
                </a:gdLst>
                <a:cxnLst>
                  <a:cxn ang="0">
                    <a:pos x="T0" y="T1"/>
                  </a:cxn>
                  <a:cxn ang="0">
                    <a:pos x="T2" y="T3"/>
                  </a:cxn>
                  <a:cxn ang="0">
                    <a:pos x="T4" y="T5"/>
                  </a:cxn>
                  <a:cxn ang="0">
                    <a:pos x="T6" y="T7"/>
                  </a:cxn>
                  <a:cxn ang="0">
                    <a:pos x="T8" y="T9"/>
                  </a:cxn>
                </a:cxnLst>
                <a:rect l="0" t="0" r="r" b="b"/>
                <a:pathLst>
                  <a:path w="4" h="1">
                    <a:moveTo>
                      <a:pt x="0" y="0"/>
                    </a:moveTo>
                    <a:cubicBezTo>
                      <a:pt x="1" y="0"/>
                      <a:pt x="2" y="1"/>
                      <a:pt x="3" y="1"/>
                    </a:cubicBezTo>
                    <a:cubicBezTo>
                      <a:pt x="3" y="1"/>
                      <a:pt x="3" y="0"/>
                      <a:pt x="4" y="0"/>
                    </a:cubicBezTo>
                    <a:cubicBezTo>
                      <a:pt x="4" y="0"/>
                      <a:pt x="4" y="0"/>
                      <a:pt x="4" y="0"/>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334"/>
              <p:cNvSpPr/>
              <p:nvPr/>
            </p:nvSpPr>
            <p:spPr bwMode="auto">
              <a:xfrm>
                <a:off x="9733" y="-583"/>
                <a:ext cx="17" cy="8"/>
              </a:xfrm>
              <a:custGeom>
                <a:gdLst>
                  <a:gd name="T0" fmla="*/ 1 w 7"/>
                  <a:gd name="T1" fmla="*/ 0 h 3"/>
                  <a:gd name="T2" fmla="*/ 1 w 7"/>
                  <a:gd name="T3" fmla="*/ 0 h 3"/>
                  <a:gd name="T4" fmla="*/ 2 w 7"/>
                  <a:gd name="T5" fmla="*/ 2 h 3"/>
                  <a:gd name="T6" fmla="*/ 4 w 7"/>
                  <a:gd name="T7" fmla="*/ 3 h 3"/>
                  <a:gd name="T8" fmla="*/ 7 w 7"/>
                  <a:gd name="T9" fmla="*/ 3 h 3"/>
                  <a:gd name="T10" fmla="*/ 2 w 7"/>
                  <a:gd name="T11" fmla="*/ 0 h 3"/>
                  <a:gd name="T12" fmla="*/ 1 w 7"/>
                  <a:gd name="T13" fmla="*/ 0 h 3"/>
                  <a:gd name="T14" fmla="*/ 1 w 7"/>
                  <a:gd name="T15" fmla="*/ 0 h 3"/>
                  <a:gd name="T16" fmla="*/ 1 w 7"/>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1" y="0"/>
                    </a:moveTo>
                    <a:cubicBezTo>
                      <a:pt x="1" y="0"/>
                      <a:pt x="1" y="0"/>
                      <a:pt x="1" y="0"/>
                    </a:cubicBezTo>
                    <a:cubicBezTo>
                      <a:pt x="0" y="1"/>
                      <a:pt x="1" y="2"/>
                      <a:pt x="2" y="2"/>
                    </a:cubicBezTo>
                    <a:cubicBezTo>
                      <a:pt x="3" y="2"/>
                      <a:pt x="3" y="3"/>
                      <a:pt x="4" y="3"/>
                    </a:cubicBezTo>
                    <a:cubicBezTo>
                      <a:pt x="5" y="3"/>
                      <a:pt x="6" y="3"/>
                      <a:pt x="7" y="3"/>
                    </a:cubicBezTo>
                    <a:cubicBezTo>
                      <a:pt x="5" y="2"/>
                      <a:pt x="4" y="0"/>
                      <a:pt x="2"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7" name="Freeform 335"/>
              <p:cNvSpPr/>
              <p:nvPr/>
            </p:nvSpPr>
            <p:spPr bwMode="auto">
              <a:xfrm>
                <a:off x="8110" y="-840"/>
                <a:ext cx="14" cy="7"/>
              </a:xfrm>
              <a:custGeom>
                <a:gdLst>
                  <a:gd name="T0" fmla="*/ 4 w 6"/>
                  <a:gd name="T1" fmla="*/ 0 h 3"/>
                  <a:gd name="T2" fmla="*/ 1 w 6"/>
                  <a:gd name="T3" fmla="*/ 1 h 3"/>
                  <a:gd name="T4" fmla="*/ 0 w 6"/>
                  <a:gd name="T5" fmla="*/ 2 h 3"/>
                  <a:gd name="T6" fmla="*/ 0 w 6"/>
                  <a:gd name="T7" fmla="*/ 2 h 3"/>
                  <a:gd name="T8" fmla="*/ 0 w 6"/>
                  <a:gd name="T9" fmla="*/ 2 h 3"/>
                  <a:gd name="T10" fmla="*/ 1 w 6"/>
                  <a:gd name="T11" fmla="*/ 3 h 3"/>
                  <a:gd name="T12" fmla="*/ 4 w 6"/>
                  <a:gd name="T13" fmla="*/ 3 h 3"/>
                  <a:gd name="T14" fmla="*/ 4 w 6"/>
                  <a:gd name="T15" fmla="*/ 3 h 3"/>
                  <a:gd name="T16" fmla="*/ 5 w 6"/>
                  <a:gd name="T17" fmla="*/ 1 h 3"/>
                  <a:gd name="T18" fmla="*/ 5 w 6"/>
                  <a:gd name="T19" fmla="*/ 0 h 3"/>
                  <a:gd name="T20" fmla="*/ 5 w 6"/>
                  <a:gd name="T21" fmla="*/ 0 h 3"/>
                  <a:gd name="T22" fmla="*/ 4 w 6"/>
                  <a:gd name="T23" fmla="*/ 0 h 3"/>
                  <a:gd name="T24" fmla="*/ 4 w 6"/>
                  <a:gd name="T25"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
                    <a:moveTo>
                      <a:pt x="4" y="0"/>
                    </a:moveTo>
                    <a:cubicBezTo>
                      <a:pt x="3" y="0"/>
                      <a:pt x="1" y="1"/>
                      <a:pt x="1" y="1"/>
                    </a:cubicBezTo>
                    <a:cubicBezTo>
                      <a:pt x="0" y="2"/>
                      <a:pt x="0" y="2"/>
                      <a:pt x="0" y="2"/>
                    </a:cubicBezTo>
                    <a:cubicBezTo>
                      <a:pt x="0" y="2"/>
                      <a:pt x="0" y="2"/>
                      <a:pt x="0" y="2"/>
                    </a:cubicBezTo>
                    <a:cubicBezTo>
                      <a:pt x="0" y="2"/>
                      <a:pt x="0" y="2"/>
                      <a:pt x="0" y="2"/>
                    </a:cubicBezTo>
                    <a:cubicBezTo>
                      <a:pt x="1" y="3"/>
                      <a:pt x="1" y="3"/>
                      <a:pt x="1" y="3"/>
                    </a:cubicBezTo>
                    <a:cubicBezTo>
                      <a:pt x="2" y="3"/>
                      <a:pt x="3" y="3"/>
                      <a:pt x="4" y="3"/>
                    </a:cubicBezTo>
                    <a:cubicBezTo>
                      <a:pt x="4" y="3"/>
                      <a:pt x="4" y="3"/>
                      <a:pt x="4" y="3"/>
                    </a:cubicBezTo>
                    <a:cubicBezTo>
                      <a:pt x="5" y="2"/>
                      <a:pt x="6" y="2"/>
                      <a:pt x="5" y="1"/>
                    </a:cubicBezTo>
                    <a:cubicBezTo>
                      <a:pt x="5" y="0"/>
                      <a:pt x="5" y="0"/>
                      <a:pt x="5" y="0"/>
                    </a:cubicBezTo>
                    <a:cubicBezTo>
                      <a:pt x="5" y="0"/>
                      <a:pt x="5" y="0"/>
                      <a:pt x="5" y="0"/>
                    </a:cubicBez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336"/>
              <p:cNvSpPr/>
              <p:nvPr/>
            </p:nvSpPr>
            <p:spPr bwMode="auto">
              <a:xfrm>
                <a:off x="8006" y="1914"/>
                <a:ext cx="19" cy="10"/>
              </a:xfrm>
              <a:custGeom>
                <a:gdLst>
                  <a:gd name="T0" fmla="*/ 0 w 8"/>
                  <a:gd name="T1" fmla="*/ 0 h 4"/>
                  <a:gd name="T2" fmla="*/ 5 w 8"/>
                  <a:gd name="T3" fmla="*/ 4 h 4"/>
                  <a:gd name="T4" fmla="*/ 0 w 8"/>
                  <a:gd name="T5" fmla="*/ 0 h 4"/>
                </a:gdLst>
                <a:cxnLst>
                  <a:cxn ang="0">
                    <a:pos x="T0" y="T1"/>
                  </a:cxn>
                  <a:cxn ang="0">
                    <a:pos x="T2" y="T3"/>
                  </a:cxn>
                  <a:cxn ang="0">
                    <a:pos x="T4" y="T5"/>
                  </a:cxn>
                </a:cxnLst>
                <a:rect l="0" t="0" r="r" b="b"/>
                <a:pathLst>
                  <a:path w="8" h="4">
                    <a:moveTo>
                      <a:pt x="0" y="0"/>
                    </a:moveTo>
                    <a:cubicBezTo>
                      <a:pt x="1" y="1"/>
                      <a:pt x="3" y="3"/>
                      <a:pt x="5" y="4"/>
                    </a:cubicBezTo>
                    <a:cubicBezTo>
                      <a:pt x="8"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Freeform 337"/>
              <p:cNvSpPr/>
              <p:nvPr/>
            </p:nvSpPr>
            <p:spPr bwMode="auto">
              <a:xfrm>
                <a:off x="8008" y="1931"/>
                <a:ext cx="3" cy="4"/>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1"/>
                      <a:pt x="1" y="2"/>
                      <a:pt x="1" y="2"/>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338"/>
              <p:cNvSpPr/>
              <p:nvPr/>
            </p:nvSpPr>
            <p:spPr bwMode="auto">
              <a:xfrm>
                <a:off x="7812" y="3125"/>
                <a:ext cx="10" cy="7"/>
              </a:xfrm>
              <a:custGeom>
                <a:gdLst>
                  <a:gd name="T0" fmla="*/ 4 w 4"/>
                  <a:gd name="T1" fmla="*/ 0 h 3"/>
                  <a:gd name="T2" fmla="*/ 0 w 4"/>
                  <a:gd name="T3" fmla="*/ 0 h 3"/>
                  <a:gd name="T4" fmla="*/ 2 w 4"/>
                  <a:gd name="T5" fmla="*/ 2 h 3"/>
                  <a:gd name="T6" fmla="*/ 3 w 4"/>
                  <a:gd name="T7" fmla="*/ 3 h 3"/>
                  <a:gd name="T8" fmla="*/ 4 w 4"/>
                  <a:gd name="T9" fmla="*/ 0 h 3"/>
                </a:gdLst>
                <a:cxnLst>
                  <a:cxn ang="0">
                    <a:pos x="T0" y="T1"/>
                  </a:cxn>
                  <a:cxn ang="0">
                    <a:pos x="T2" y="T3"/>
                  </a:cxn>
                  <a:cxn ang="0">
                    <a:pos x="T4" y="T5"/>
                  </a:cxn>
                  <a:cxn ang="0">
                    <a:pos x="T6" y="T7"/>
                  </a:cxn>
                  <a:cxn ang="0">
                    <a:pos x="T8" y="T9"/>
                  </a:cxn>
                </a:cxnLst>
                <a:rect l="0" t="0" r="r" b="b"/>
                <a:pathLst>
                  <a:path w="4" h="3">
                    <a:moveTo>
                      <a:pt x="4" y="0"/>
                    </a:moveTo>
                    <a:cubicBezTo>
                      <a:pt x="3" y="0"/>
                      <a:pt x="1" y="0"/>
                      <a:pt x="0" y="0"/>
                    </a:cubicBezTo>
                    <a:cubicBezTo>
                      <a:pt x="1" y="1"/>
                      <a:pt x="2" y="2"/>
                      <a:pt x="2" y="2"/>
                    </a:cubicBezTo>
                    <a:cubicBezTo>
                      <a:pt x="3" y="3"/>
                      <a:pt x="3" y="3"/>
                      <a:pt x="3" y="3"/>
                    </a:cubicBezTo>
                    <a:cubicBezTo>
                      <a:pt x="4"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1" name="Freeform 339"/>
              <p:cNvSpPr/>
              <p:nvPr/>
            </p:nvSpPr>
            <p:spPr bwMode="auto">
              <a:xfrm>
                <a:off x="7817" y="3153"/>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0" y="1"/>
                      <a:pt x="1" y="1"/>
                      <a:pt x="2" y="2"/>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Freeform 340"/>
              <p:cNvSpPr/>
              <p:nvPr/>
            </p:nvSpPr>
            <p:spPr bwMode="auto">
              <a:xfrm>
                <a:off x="7805" y="3158"/>
                <a:ext cx="5" cy="9"/>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0" y="2"/>
                      <a:pt x="1" y="3"/>
                      <a:pt x="2"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3" name="Freeform 341"/>
              <p:cNvSpPr/>
              <p:nvPr/>
            </p:nvSpPr>
            <p:spPr bwMode="auto">
              <a:xfrm>
                <a:off x="7791" y="3151"/>
                <a:ext cx="14" cy="7"/>
              </a:xfrm>
              <a:custGeom>
                <a:gdLst>
                  <a:gd name="T0" fmla="*/ 0 w 6"/>
                  <a:gd name="T1" fmla="*/ 0 h 3"/>
                  <a:gd name="T2" fmla="*/ 2 w 6"/>
                  <a:gd name="T3" fmla="*/ 2 h 3"/>
                  <a:gd name="T4" fmla="*/ 3 w 6"/>
                  <a:gd name="T5" fmla="*/ 2 h 3"/>
                  <a:gd name="T6" fmla="*/ 4 w 6"/>
                  <a:gd name="T7" fmla="*/ 3 h 3"/>
                  <a:gd name="T8" fmla="*/ 5 w 6"/>
                  <a:gd name="T9" fmla="*/ 3 h 3"/>
                  <a:gd name="T10" fmla="*/ 6 w 6"/>
                  <a:gd name="T11" fmla="*/ 3 h 3"/>
                  <a:gd name="T12" fmla="*/ 0 w 6"/>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6" h="3">
                    <a:moveTo>
                      <a:pt x="0" y="0"/>
                    </a:moveTo>
                    <a:cubicBezTo>
                      <a:pt x="1" y="1"/>
                      <a:pt x="1" y="2"/>
                      <a:pt x="2" y="2"/>
                    </a:cubicBezTo>
                    <a:cubicBezTo>
                      <a:pt x="3" y="2"/>
                      <a:pt x="3" y="2"/>
                      <a:pt x="3" y="2"/>
                    </a:cubicBezTo>
                    <a:cubicBezTo>
                      <a:pt x="3" y="2"/>
                      <a:pt x="4" y="3"/>
                      <a:pt x="4" y="3"/>
                    </a:cubicBezTo>
                    <a:cubicBezTo>
                      <a:pt x="5" y="3"/>
                      <a:pt x="5" y="3"/>
                      <a:pt x="5" y="3"/>
                    </a:cubicBezTo>
                    <a:cubicBezTo>
                      <a:pt x="5" y="3"/>
                      <a:pt x="5" y="3"/>
                      <a:pt x="6" y="3"/>
                    </a:cubicBezTo>
                    <a:cubicBezTo>
                      <a:pt x="4"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4" name="Freeform 342"/>
              <p:cNvSpPr>
                <a:spLocks noEditPoints="1"/>
              </p:cNvSpPr>
              <p:nvPr/>
            </p:nvSpPr>
            <p:spPr bwMode="auto">
              <a:xfrm>
                <a:off x="7628" y="-819"/>
                <a:ext cx="2" cy="0"/>
              </a:xfrm>
              <a:custGeom>
                <a:gdLst>
                  <a:gd name="T0" fmla="*/ 1 w 1"/>
                  <a:gd name="T1" fmla="*/ 1 w 1"/>
                  <a:gd name="T2" fmla="*/ 1 w 1"/>
                  <a:gd name="T3" fmla="*/ 1 w 1"/>
                  <a:gd name="T4" fmla="*/ 1 w 1"/>
                  <a:gd name="T5" fmla="*/ 1 w 1"/>
                  <a:gd name="T6" fmla="*/ 1 w 1"/>
                  <a:gd name="T7" fmla="*/ 1 w 1"/>
                  <a:gd name="T8" fmla="*/ 1 w 1"/>
                  <a:gd name="T9" fmla="*/ 1 w 1"/>
                  <a:gd name="T10" fmla="*/ 1 w 1"/>
                  <a:gd name="T11" fmla="*/ 1 w 1"/>
                  <a:gd name="T12" fmla="*/ 1 w 1"/>
                  <a:gd name="T13" fmla="*/ 0 w 1"/>
                  <a:gd name="T14" fmla="*/ 1 w 1"/>
                  <a:gd name="T15" fmla="*/ 0 w 1"/>
                  <a:gd name="T16" fmla="*/ 0 w 1"/>
                  <a:gd name="T17" fmla="*/ 0 w 1"/>
                  <a:gd name="T18" fmla="*/ 0 w 1"/>
                  <a:gd name="T19" fmla="*/ 0 w 1"/>
                  <a:gd name="T20" fmla="*/ 0 w 1"/>
                  <a:gd name="T21" fmla="*/ 0 w 1"/>
                  <a:gd name="T22" fmla="*/ 0 w 1"/>
                </a:gd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Lst>
                <a:rect l="0" t="0" r="r" b="b"/>
                <a:pathLst>
                  <a:path w="1">
                    <a:moveTo>
                      <a:pt x="1" y="0"/>
                    </a:moveTo>
                    <a:cubicBezTo>
                      <a:pt x="1" y="0"/>
                      <a:pt x="1" y="0"/>
                      <a:pt x="1" y="0"/>
                    </a:cubicBezTo>
                    <a:cubicBezTo>
                      <a:pt x="1" y="0"/>
                      <a:pt x="1" y="0"/>
                      <a:pt x="1" y="0"/>
                    </a:cubicBezTo>
                    <a:cubicBezTo>
                      <a:pt x="1" y="0"/>
                      <a:pt x="1" y="0"/>
                      <a:pt x="1" y="0"/>
                    </a:cubicBezTo>
                    <a:cubicBezTo>
                      <a:pt x="1" y="0"/>
                      <a:pt x="1" y="0"/>
                      <a:pt x="1" y="0"/>
                    </a:cubicBezTo>
                    <a:moveTo>
                      <a:pt x="1" y="0"/>
                    </a:moveTo>
                    <a:cubicBezTo>
                      <a:pt x="1" y="0"/>
                      <a:pt x="1" y="0"/>
                      <a:pt x="1" y="0"/>
                    </a:cubicBezTo>
                    <a:cubicBezTo>
                      <a:pt x="1" y="0"/>
                      <a:pt x="1" y="0"/>
                      <a:pt x="1" y="0"/>
                    </a:cubicBezTo>
                    <a:cubicBezTo>
                      <a:pt x="1" y="0"/>
                      <a:pt x="1" y="0"/>
                      <a:pt x="1" y="0"/>
                    </a:cubicBezTo>
                    <a:moveTo>
                      <a:pt x="1" y="0"/>
                    </a:moveTo>
                    <a:cubicBezTo>
                      <a:pt x="1" y="0"/>
                      <a:pt x="1" y="0"/>
                      <a:pt x="1" y="0"/>
                    </a:cubicBezTo>
                    <a:cubicBezTo>
                      <a:pt x="1" y="0"/>
                      <a:pt x="1" y="0"/>
                      <a:pt x="1" y="0"/>
                    </a:cubicBezTo>
                    <a:cubicBezTo>
                      <a:pt x="1" y="0"/>
                      <a:pt x="1" y="0"/>
                      <a:pt x="1" y="0"/>
                    </a:cubicBezTo>
                    <a:moveTo>
                      <a:pt x="0" y="0"/>
                    </a:moveTo>
                    <a:cubicBezTo>
                      <a:pt x="1" y="0"/>
                      <a:pt x="1" y="0"/>
                      <a:pt x="1" y="0"/>
                    </a:cubicBezTo>
                    <a:cubicBezTo>
                      <a:pt x="1" y="0"/>
                      <a:pt x="1" y="0"/>
                      <a:pt x="0" y="0"/>
                    </a:cubicBezTo>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Freeform 343"/>
              <p:cNvSpPr>
                <a:spLocks noEditPoints="1"/>
              </p:cNvSpPr>
              <p:nvPr/>
            </p:nvSpPr>
            <p:spPr bwMode="auto">
              <a:xfrm>
                <a:off x="7647" y="2283"/>
                <a:ext cx="16" cy="9"/>
              </a:xfrm>
              <a:custGeom>
                <a:gdLst>
                  <a:gd name="T0" fmla="*/ 5 w 7"/>
                  <a:gd name="T1" fmla="*/ 4 h 4"/>
                  <a:gd name="T2" fmla="*/ 5 w 7"/>
                  <a:gd name="T3" fmla="*/ 4 h 4"/>
                  <a:gd name="T4" fmla="*/ 5 w 7"/>
                  <a:gd name="T5" fmla="*/ 4 h 4"/>
                  <a:gd name="T6" fmla="*/ 6 w 7"/>
                  <a:gd name="T7" fmla="*/ 3 h 4"/>
                  <a:gd name="T8" fmla="*/ 6 w 7"/>
                  <a:gd name="T9" fmla="*/ 3 h 4"/>
                  <a:gd name="T10" fmla="*/ 6 w 7"/>
                  <a:gd name="T11" fmla="*/ 3 h 4"/>
                  <a:gd name="T12" fmla="*/ 3 w 7"/>
                  <a:gd name="T13" fmla="*/ 0 h 4"/>
                  <a:gd name="T14" fmla="*/ 0 w 7"/>
                  <a:gd name="T15" fmla="*/ 3 h 4"/>
                  <a:gd name="T16" fmla="*/ 5 w 7"/>
                  <a:gd name="T17" fmla="*/ 4 h 4"/>
                  <a:gd name="T18" fmla="*/ 5 w 7"/>
                  <a:gd name="T19" fmla="*/ 4 h 4"/>
                  <a:gd name="T20" fmla="*/ 5 w 7"/>
                  <a:gd name="T21" fmla="*/ 4 h 4"/>
                  <a:gd name="T22" fmla="*/ 6 w 7"/>
                  <a:gd name="T23" fmla="*/ 4 h 4"/>
                  <a:gd name="T24" fmla="*/ 6 w 7"/>
                  <a:gd name="T25" fmla="*/ 3 h 4"/>
                  <a:gd name="T26" fmla="*/ 6 w 7"/>
                  <a:gd name="T27" fmla="*/ 3 h 4"/>
                  <a:gd name="T28" fmla="*/ 7 w 7"/>
                  <a:gd name="T29" fmla="*/ 2 h 4"/>
                  <a:gd name="T30" fmla="*/ 6 w 7"/>
                  <a:gd name="T31" fmla="*/ 1 h 4"/>
                  <a:gd name="T32" fmla="*/ 6 w 7"/>
                  <a:gd name="T33" fmla="*/ 1 h 4"/>
                  <a:gd name="T34" fmla="*/ 5 w 7"/>
                  <a:gd name="T35" fmla="*/ 1 h 4"/>
                  <a:gd name="T36" fmla="*/ 5 w 7"/>
                  <a:gd name="T37" fmla="*/ 1 h 4"/>
                  <a:gd name="T38" fmla="*/ 5 w 7"/>
                  <a:gd name="T39" fmla="*/ 1 h 4"/>
                  <a:gd name="T40" fmla="*/ 4 w 7"/>
                  <a:gd name="T41" fmla="*/ 1 h 4"/>
                  <a:gd name="T42" fmla="*/ 3 w 7"/>
                  <a:gd name="T43" fmla="*/ 1 h 4"/>
                  <a:gd name="T44" fmla="*/ 3 w 7"/>
                  <a:gd name="T45"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4">
                    <a:moveTo>
                      <a:pt x="5" y="4"/>
                    </a:moveTo>
                    <a:cubicBezTo>
                      <a:pt x="5" y="4"/>
                      <a:pt x="5" y="4"/>
                      <a:pt x="5" y="4"/>
                    </a:cubicBezTo>
                    <a:cubicBezTo>
                      <a:pt x="5" y="4"/>
                      <a:pt x="5" y="4"/>
                      <a:pt x="5" y="4"/>
                    </a:cubicBezTo>
                    <a:moveTo>
                      <a:pt x="6" y="3"/>
                    </a:moveTo>
                    <a:cubicBezTo>
                      <a:pt x="6" y="3"/>
                      <a:pt x="6" y="3"/>
                      <a:pt x="6" y="3"/>
                    </a:cubicBezTo>
                    <a:cubicBezTo>
                      <a:pt x="6" y="3"/>
                      <a:pt x="6" y="3"/>
                      <a:pt x="6" y="3"/>
                    </a:cubicBezTo>
                    <a:moveTo>
                      <a:pt x="3" y="0"/>
                    </a:moveTo>
                    <a:cubicBezTo>
                      <a:pt x="2" y="0"/>
                      <a:pt x="0" y="1"/>
                      <a:pt x="0" y="3"/>
                    </a:cubicBezTo>
                    <a:cubicBezTo>
                      <a:pt x="2" y="3"/>
                      <a:pt x="3" y="4"/>
                      <a:pt x="5" y="4"/>
                    </a:cubicBezTo>
                    <a:cubicBezTo>
                      <a:pt x="5" y="4"/>
                      <a:pt x="5" y="4"/>
                      <a:pt x="5" y="4"/>
                    </a:cubicBezTo>
                    <a:cubicBezTo>
                      <a:pt x="5" y="4"/>
                      <a:pt x="5" y="4"/>
                      <a:pt x="5" y="4"/>
                    </a:cubicBezTo>
                    <a:cubicBezTo>
                      <a:pt x="5" y="4"/>
                      <a:pt x="5" y="4"/>
                      <a:pt x="6" y="4"/>
                    </a:cubicBezTo>
                    <a:cubicBezTo>
                      <a:pt x="6" y="3"/>
                      <a:pt x="6" y="3"/>
                      <a:pt x="6" y="3"/>
                    </a:cubicBezTo>
                    <a:cubicBezTo>
                      <a:pt x="6" y="3"/>
                      <a:pt x="6" y="3"/>
                      <a:pt x="6" y="3"/>
                    </a:cubicBezTo>
                    <a:cubicBezTo>
                      <a:pt x="7" y="2"/>
                      <a:pt x="7" y="2"/>
                      <a:pt x="7" y="2"/>
                    </a:cubicBezTo>
                    <a:cubicBezTo>
                      <a:pt x="7" y="1"/>
                      <a:pt x="6" y="1"/>
                      <a:pt x="6" y="1"/>
                    </a:cubicBezTo>
                    <a:cubicBezTo>
                      <a:pt x="6" y="1"/>
                      <a:pt x="6" y="1"/>
                      <a:pt x="6" y="1"/>
                    </a:cubicBezTo>
                    <a:cubicBezTo>
                      <a:pt x="5" y="1"/>
                      <a:pt x="5" y="1"/>
                      <a:pt x="5" y="1"/>
                    </a:cubicBezTo>
                    <a:cubicBezTo>
                      <a:pt x="5" y="1"/>
                      <a:pt x="5" y="1"/>
                      <a:pt x="5" y="1"/>
                    </a:cubicBezTo>
                    <a:cubicBezTo>
                      <a:pt x="5" y="1"/>
                      <a:pt x="5" y="1"/>
                      <a:pt x="5" y="1"/>
                    </a:cubicBezTo>
                    <a:cubicBezTo>
                      <a:pt x="5" y="1"/>
                      <a:pt x="4" y="1"/>
                      <a:pt x="4" y="1"/>
                    </a:cubicBezTo>
                    <a:cubicBezTo>
                      <a:pt x="4" y="1"/>
                      <a:pt x="4" y="1"/>
                      <a:pt x="3" y="1"/>
                    </a:cubicBezTo>
                    <a:cubicBezTo>
                      <a:pt x="3"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Rectangle 344"/>
              <p:cNvSpPr>
                <a:spLocks noChangeArrowheads="1"/>
              </p:cNvSpPr>
              <p:nvPr/>
            </p:nvSpPr>
            <p:spPr bwMode="auto">
              <a:xfrm>
                <a:off x="4010" y="1990"/>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7" name="Freeform 345"/>
              <p:cNvSpPr/>
              <p:nvPr/>
            </p:nvSpPr>
            <p:spPr bwMode="auto">
              <a:xfrm flipH="1">
                <a:off x="4010" y="1990"/>
                <a:ext cx="0" cy="2"/>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Freeform 346"/>
              <p:cNvSpPr/>
              <p:nvPr/>
            </p:nvSpPr>
            <p:spPr bwMode="auto">
              <a:xfrm>
                <a:off x="4308" y="2593"/>
                <a:ext cx="28" cy="14"/>
              </a:xfrm>
              <a:custGeom>
                <a:gdLst>
                  <a:gd name="T0" fmla="*/ 3 w 12"/>
                  <a:gd name="T1" fmla="*/ 0 h 6"/>
                  <a:gd name="T2" fmla="*/ 3 w 12"/>
                  <a:gd name="T3" fmla="*/ 0 h 6"/>
                  <a:gd name="T4" fmla="*/ 3 w 12"/>
                  <a:gd name="T5" fmla="*/ 4 h 6"/>
                  <a:gd name="T6" fmla="*/ 2 w 12"/>
                  <a:gd name="T7" fmla="*/ 4 h 6"/>
                  <a:gd name="T8" fmla="*/ 8 w 12"/>
                  <a:gd name="T9" fmla="*/ 6 h 6"/>
                  <a:gd name="T10" fmla="*/ 9 w 12"/>
                  <a:gd name="T11" fmla="*/ 6 h 6"/>
                  <a:gd name="T12" fmla="*/ 8 w 12"/>
                  <a:gd name="T13" fmla="*/ 3 h 6"/>
                  <a:gd name="T14" fmla="*/ 8 w 12"/>
                  <a:gd name="T15" fmla="*/ 3 h 6"/>
                  <a:gd name="T16" fmla="*/ 7 w 12"/>
                  <a:gd name="T17" fmla="*/ 4 h 6"/>
                  <a:gd name="T18" fmla="*/ 6 w 12"/>
                  <a:gd name="T19" fmla="*/ 4 h 6"/>
                  <a:gd name="T20" fmla="*/ 6 w 12"/>
                  <a:gd name="T21" fmla="*/ 4 h 6"/>
                  <a:gd name="T22" fmla="*/ 5 w 12"/>
                  <a:gd name="T23" fmla="*/ 1 h 6"/>
                  <a:gd name="T24" fmla="*/ 4 w 12"/>
                  <a:gd name="T25" fmla="*/ 1 h 6"/>
                  <a:gd name="T26" fmla="*/ 3 w 12"/>
                  <a:gd name="T2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6">
                    <a:moveTo>
                      <a:pt x="3" y="0"/>
                    </a:moveTo>
                    <a:cubicBezTo>
                      <a:pt x="3" y="0"/>
                      <a:pt x="3" y="0"/>
                      <a:pt x="3" y="0"/>
                    </a:cubicBezTo>
                    <a:cubicBezTo>
                      <a:pt x="0" y="0"/>
                      <a:pt x="2" y="3"/>
                      <a:pt x="3" y="4"/>
                    </a:cubicBezTo>
                    <a:cubicBezTo>
                      <a:pt x="3" y="4"/>
                      <a:pt x="2" y="4"/>
                      <a:pt x="2" y="4"/>
                    </a:cubicBezTo>
                    <a:cubicBezTo>
                      <a:pt x="2" y="6"/>
                      <a:pt x="7" y="6"/>
                      <a:pt x="8" y="6"/>
                    </a:cubicBezTo>
                    <a:cubicBezTo>
                      <a:pt x="9" y="6"/>
                      <a:pt x="9" y="6"/>
                      <a:pt x="9" y="6"/>
                    </a:cubicBezTo>
                    <a:cubicBezTo>
                      <a:pt x="12" y="6"/>
                      <a:pt x="10" y="3"/>
                      <a:pt x="8" y="3"/>
                    </a:cubicBezTo>
                    <a:cubicBezTo>
                      <a:pt x="8" y="3"/>
                      <a:pt x="8" y="3"/>
                      <a:pt x="8" y="3"/>
                    </a:cubicBezTo>
                    <a:cubicBezTo>
                      <a:pt x="8" y="3"/>
                      <a:pt x="7" y="3"/>
                      <a:pt x="7" y="4"/>
                    </a:cubicBezTo>
                    <a:cubicBezTo>
                      <a:pt x="6" y="4"/>
                      <a:pt x="6" y="4"/>
                      <a:pt x="6" y="4"/>
                    </a:cubicBezTo>
                    <a:cubicBezTo>
                      <a:pt x="6" y="4"/>
                      <a:pt x="6" y="4"/>
                      <a:pt x="6" y="4"/>
                    </a:cubicBezTo>
                    <a:cubicBezTo>
                      <a:pt x="4" y="3"/>
                      <a:pt x="6" y="1"/>
                      <a:pt x="5" y="1"/>
                    </a:cubicBezTo>
                    <a:cubicBezTo>
                      <a:pt x="5" y="1"/>
                      <a:pt x="5" y="1"/>
                      <a:pt x="4"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9" name="Freeform 347"/>
              <p:cNvSpPr/>
              <p:nvPr/>
            </p:nvSpPr>
            <p:spPr bwMode="auto">
              <a:xfrm>
                <a:off x="4393" y="2737"/>
                <a:ext cx="75" cy="83"/>
              </a:xfrm>
              <a:custGeom>
                <a:gdLst>
                  <a:gd name="T0" fmla="*/ 26 w 32"/>
                  <a:gd name="T1" fmla="*/ 0 h 35"/>
                  <a:gd name="T2" fmla="*/ 19 w 32"/>
                  <a:gd name="T3" fmla="*/ 6 h 35"/>
                  <a:gd name="T4" fmla="*/ 18 w 32"/>
                  <a:gd name="T5" fmla="*/ 6 h 35"/>
                  <a:gd name="T6" fmla="*/ 12 w 32"/>
                  <a:gd name="T7" fmla="*/ 5 h 35"/>
                  <a:gd name="T8" fmla="*/ 12 w 32"/>
                  <a:gd name="T9" fmla="*/ 5 h 35"/>
                  <a:gd name="T10" fmla="*/ 12 w 32"/>
                  <a:gd name="T11" fmla="*/ 5 h 35"/>
                  <a:gd name="T12" fmla="*/ 4 w 32"/>
                  <a:gd name="T13" fmla="*/ 17 h 35"/>
                  <a:gd name="T14" fmla="*/ 3 w 32"/>
                  <a:gd name="T15" fmla="*/ 18 h 35"/>
                  <a:gd name="T16" fmla="*/ 2 w 32"/>
                  <a:gd name="T17" fmla="*/ 19 h 35"/>
                  <a:gd name="T18" fmla="*/ 2 w 32"/>
                  <a:gd name="T19" fmla="*/ 19 h 35"/>
                  <a:gd name="T20" fmla="*/ 0 w 32"/>
                  <a:gd name="T21" fmla="*/ 23 h 35"/>
                  <a:gd name="T22" fmla="*/ 0 w 32"/>
                  <a:gd name="T23" fmla="*/ 24 h 35"/>
                  <a:gd name="T24" fmla="*/ 0 w 32"/>
                  <a:gd name="T25" fmla="*/ 25 h 35"/>
                  <a:gd name="T26" fmla="*/ 0 w 32"/>
                  <a:gd name="T27" fmla="*/ 26 h 35"/>
                  <a:gd name="T28" fmla="*/ 1 w 32"/>
                  <a:gd name="T29" fmla="*/ 29 h 35"/>
                  <a:gd name="T30" fmla="*/ 1 w 32"/>
                  <a:gd name="T31" fmla="*/ 34 h 35"/>
                  <a:gd name="T32" fmla="*/ 4 w 32"/>
                  <a:gd name="T33" fmla="*/ 35 h 35"/>
                  <a:gd name="T34" fmla="*/ 11 w 32"/>
                  <a:gd name="T35" fmla="*/ 33 h 35"/>
                  <a:gd name="T36" fmla="*/ 17 w 32"/>
                  <a:gd name="T37" fmla="*/ 32 h 35"/>
                  <a:gd name="T38" fmla="*/ 18 w 32"/>
                  <a:gd name="T39" fmla="*/ 32 h 35"/>
                  <a:gd name="T40" fmla="*/ 22 w 32"/>
                  <a:gd name="T41" fmla="*/ 33 h 35"/>
                  <a:gd name="T42" fmla="*/ 22 w 32"/>
                  <a:gd name="T43" fmla="*/ 33 h 35"/>
                  <a:gd name="T44" fmla="*/ 23 w 32"/>
                  <a:gd name="T45" fmla="*/ 33 h 35"/>
                  <a:gd name="T46" fmla="*/ 29 w 32"/>
                  <a:gd name="T47" fmla="*/ 24 h 35"/>
                  <a:gd name="T48" fmla="*/ 28 w 32"/>
                  <a:gd name="T49" fmla="*/ 23 h 35"/>
                  <a:gd name="T50" fmla="*/ 23 w 32"/>
                  <a:gd name="T51" fmla="*/ 22 h 35"/>
                  <a:gd name="T52" fmla="*/ 15 w 32"/>
                  <a:gd name="T53" fmla="*/ 23 h 35"/>
                  <a:gd name="T54" fmla="*/ 26 w 32"/>
                  <a:gd name="T55" fmla="*/ 17 h 35"/>
                  <a:gd name="T56" fmla="*/ 31 w 32"/>
                  <a:gd name="T57" fmla="*/ 14 h 35"/>
                  <a:gd name="T58" fmla="*/ 31 w 32"/>
                  <a:gd name="T59" fmla="*/ 11 h 35"/>
                  <a:gd name="T60" fmla="*/ 30 w 32"/>
                  <a:gd name="T61" fmla="*/ 5 h 35"/>
                  <a:gd name="T62" fmla="*/ 27 w 32"/>
                  <a:gd name="T63" fmla="*/ 1 h 35"/>
                  <a:gd name="T64" fmla="*/ 27 w 32"/>
                  <a:gd name="T65" fmla="*/ 1 h 35"/>
                  <a:gd name="T66" fmla="*/ 26 w 32"/>
                  <a:gd name="T67"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35">
                    <a:moveTo>
                      <a:pt x="26" y="0"/>
                    </a:moveTo>
                    <a:cubicBezTo>
                      <a:pt x="26" y="0"/>
                      <a:pt x="20" y="5"/>
                      <a:pt x="19" y="6"/>
                    </a:cubicBezTo>
                    <a:cubicBezTo>
                      <a:pt x="19" y="6"/>
                      <a:pt x="18" y="6"/>
                      <a:pt x="18" y="6"/>
                    </a:cubicBezTo>
                    <a:cubicBezTo>
                      <a:pt x="17" y="6"/>
                      <a:pt x="15" y="6"/>
                      <a:pt x="12" y="5"/>
                    </a:cubicBezTo>
                    <a:cubicBezTo>
                      <a:pt x="12" y="5"/>
                      <a:pt x="12" y="5"/>
                      <a:pt x="12" y="5"/>
                    </a:cubicBezTo>
                    <a:cubicBezTo>
                      <a:pt x="12" y="5"/>
                      <a:pt x="12" y="5"/>
                      <a:pt x="12" y="5"/>
                    </a:cubicBezTo>
                    <a:cubicBezTo>
                      <a:pt x="11" y="7"/>
                      <a:pt x="5" y="16"/>
                      <a:pt x="4" y="17"/>
                    </a:cubicBezTo>
                    <a:cubicBezTo>
                      <a:pt x="4" y="17"/>
                      <a:pt x="3" y="18"/>
                      <a:pt x="3" y="18"/>
                    </a:cubicBezTo>
                    <a:cubicBezTo>
                      <a:pt x="2" y="19"/>
                      <a:pt x="2" y="19"/>
                      <a:pt x="2" y="19"/>
                    </a:cubicBezTo>
                    <a:cubicBezTo>
                      <a:pt x="2" y="19"/>
                      <a:pt x="2" y="19"/>
                      <a:pt x="2" y="19"/>
                    </a:cubicBezTo>
                    <a:cubicBezTo>
                      <a:pt x="1" y="20"/>
                      <a:pt x="1" y="21"/>
                      <a:pt x="0" y="23"/>
                    </a:cubicBezTo>
                    <a:cubicBezTo>
                      <a:pt x="0" y="23"/>
                      <a:pt x="0" y="24"/>
                      <a:pt x="0" y="24"/>
                    </a:cubicBezTo>
                    <a:cubicBezTo>
                      <a:pt x="0" y="24"/>
                      <a:pt x="0" y="25"/>
                      <a:pt x="0" y="25"/>
                    </a:cubicBezTo>
                    <a:cubicBezTo>
                      <a:pt x="0" y="26"/>
                      <a:pt x="0" y="26"/>
                      <a:pt x="0" y="26"/>
                    </a:cubicBezTo>
                    <a:cubicBezTo>
                      <a:pt x="0" y="27"/>
                      <a:pt x="1" y="28"/>
                      <a:pt x="1" y="29"/>
                    </a:cubicBezTo>
                    <a:cubicBezTo>
                      <a:pt x="1" y="30"/>
                      <a:pt x="1" y="33"/>
                      <a:pt x="1" y="34"/>
                    </a:cubicBezTo>
                    <a:cubicBezTo>
                      <a:pt x="2" y="34"/>
                      <a:pt x="3" y="35"/>
                      <a:pt x="4" y="35"/>
                    </a:cubicBezTo>
                    <a:cubicBezTo>
                      <a:pt x="6" y="35"/>
                      <a:pt x="8" y="34"/>
                      <a:pt x="11" y="33"/>
                    </a:cubicBezTo>
                    <a:cubicBezTo>
                      <a:pt x="13" y="33"/>
                      <a:pt x="15" y="32"/>
                      <a:pt x="17" y="32"/>
                    </a:cubicBezTo>
                    <a:cubicBezTo>
                      <a:pt x="17" y="32"/>
                      <a:pt x="18" y="32"/>
                      <a:pt x="18" y="32"/>
                    </a:cubicBezTo>
                    <a:cubicBezTo>
                      <a:pt x="20" y="32"/>
                      <a:pt x="21" y="33"/>
                      <a:pt x="22" y="33"/>
                    </a:cubicBezTo>
                    <a:cubicBezTo>
                      <a:pt x="22" y="33"/>
                      <a:pt x="22" y="33"/>
                      <a:pt x="22" y="33"/>
                    </a:cubicBezTo>
                    <a:cubicBezTo>
                      <a:pt x="23" y="33"/>
                      <a:pt x="23" y="33"/>
                      <a:pt x="23" y="33"/>
                    </a:cubicBezTo>
                    <a:cubicBezTo>
                      <a:pt x="26" y="31"/>
                      <a:pt x="28" y="25"/>
                      <a:pt x="29" y="24"/>
                    </a:cubicBezTo>
                    <a:cubicBezTo>
                      <a:pt x="28" y="23"/>
                      <a:pt x="28" y="23"/>
                      <a:pt x="28" y="23"/>
                    </a:cubicBezTo>
                    <a:cubicBezTo>
                      <a:pt x="27" y="22"/>
                      <a:pt x="25" y="22"/>
                      <a:pt x="23" y="22"/>
                    </a:cubicBezTo>
                    <a:cubicBezTo>
                      <a:pt x="20" y="22"/>
                      <a:pt x="16" y="23"/>
                      <a:pt x="15" y="23"/>
                    </a:cubicBezTo>
                    <a:cubicBezTo>
                      <a:pt x="18" y="21"/>
                      <a:pt x="23" y="19"/>
                      <a:pt x="26" y="17"/>
                    </a:cubicBezTo>
                    <a:cubicBezTo>
                      <a:pt x="27" y="16"/>
                      <a:pt x="30" y="15"/>
                      <a:pt x="31" y="14"/>
                    </a:cubicBezTo>
                    <a:cubicBezTo>
                      <a:pt x="32" y="13"/>
                      <a:pt x="32" y="12"/>
                      <a:pt x="31" y="11"/>
                    </a:cubicBezTo>
                    <a:cubicBezTo>
                      <a:pt x="31" y="9"/>
                      <a:pt x="31" y="6"/>
                      <a:pt x="30" y="5"/>
                    </a:cubicBezTo>
                    <a:cubicBezTo>
                      <a:pt x="30" y="4"/>
                      <a:pt x="28" y="2"/>
                      <a:pt x="27" y="1"/>
                    </a:cubicBezTo>
                    <a:cubicBezTo>
                      <a:pt x="27" y="1"/>
                      <a:pt x="27" y="1"/>
                      <a:pt x="27" y="1"/>
                    </a:cubicBez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Freeform 348"/>
              <p:cNvSpPr/>
              <p:nvPr/>
            </p:nvSpPr>
            <p:spPr bwMode="auto">
              <a:xfrm>
                <a:off x="4913" y="2737"/>
                <a:ext cx="56" cy="19"/>
              </a:xfrm>
              <a:custGeom>
                <a:gdLst>
                  <a:gd name="T0" fmla="*/ 5 w 24"/>
                  <a:gd name="T1" fmla="*/ 0 h 8"/>
                  <a:gd name="T2" fmla="*/ 4 w 24"/>
                  <a:gd name="T3" fmla="*/ 0 h 8"/>
                  <a:gd name="T4" fmla="*/ 1 w 24"/>
                  <a:gd name="T5" fmla="*/ 4 h 8"/>
                  <a:gd name="T6" fmla="*/ 0 w 24"/>
                  <a:gd name="T7" fmla="*/ 3 h 8"/>
                  <a:gd name="T8" fmla="*/ 9 w 24"/>
                  <a:gd name="T9" fmla="*/ 8 h 8"/>
                  <a:gd name="T10" fmla="*/ 17 w 24"/>
                  <a:gd name="T11" fmla="*/ 6 h 8"/>
                  <a:gd name="T12" fmla="*/ 24 w 24"/>
                  <a:gd name="T13" fmla="*/ 3 h 8"/>
                  <a:gd name="T14" fmla="*/ 24 w 24"/>
                  <a:gd name="T15" fmla="*/ 3 h 8"/>
                  <a:gd name="T16" fmla="*/ 17 w 24"/>
                  <a:gd name="T17" fmla="*/ 1 h 8"/>
                  <a:gd name="T18" fmla="*/ 15 w 24"/>
                  <a:gd name="T19" fmla="*/ 1 h 8"/>
                  <a:gd name="T20" fmla="*/ 12 w 24"/>
                  <a:gd name="T21" fmla="*/ 1 h 8"/>
                  <a:gd name="T22" fmla="*/ 9 w 24"/>
                  <a:gd name="T23" fmla="*/ 1 h 8"/>
                  <a:gd name="T24" fmla="*/ 8 w 24"/>
                  <a:gd name="T25" fmla="*/ 1 h 8"/>
                  <a:gd name="T26" fmla="*/ 5 w 24"/>
                  <a:gd name="T2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8">
                    <a:moveTo>
                      <a:pt x="5" y="0"/>
                    </a:moveTo>
                    <a:cubicBezTo>
                      <a:pt x="4" y="0"/>
                      <a:pt x="4" y="0"/>
                      <a:pt x="4" y="0"/>
                    </a:cubicBezTo>
                    <a:cubicBezTo>
                      <a:pt x="2" y="1"/>
                      <a:pt x="2" y="4"/>
                      <a:pt x="1" y="4"/>
                    </a:cubicBezTo>
                    <a:cubicBezTo>
                      <a:pt x="0" y="4"/>
                      <a:pt x="0" y="4"/>
                      <a:pt x="0" y="3"/>
                    </a:cubicBezTo>
                    <a:cubicBezTo>
                      <a:pt x="3" y="5"/>
                      <a:pt x="6" y="7"/>
                      <a:pt x="9" y="8"/>
                    </a:cubicBezTo>
                    <a:cubicBezTo>
                      <a:pt x="12" y="8"/>
                      <a:pt x="15" y="8"/>
                      <a:pt x="17" y="6"/>
                    </a:cubicBezTo>
                    <a:cubicBezTo>
                      <a:pt x="19" y="6"/>
                      <a:pt x="22" y="3"/>
                      <a:pt x="24" y="3"/>
                    </a:cubicBezTo>
                    <a:cubicBezTo>
                      <a:pt x="24" y="3"/>
                      <a:pt x="24" y="3"/>
                      <a:pt x="24" y="3"/>
                    </a:cubicBezTo>
                    <a:cubicBezTo>
                      <a:pt x="22" y="3"/>
                      <a:pt x="19" y="1"/>
                      <a:pt x="17" y="1"/>
                    </a:cubicBezTo>
                    <a:cubicBezTo>
                      <a:pt x="16" y="1"/>
                      <a:pt x="16" y="1"/>
                      <a:pt x="15" y="1"/>
                    </a:cubicBezTo>
                    <a:cubicBezTo>
                      <a:pt x="14" y="1"/>
                      <a:pt x="13" y="1"/>
                      <a:pt x="12" y="1"/>
                    </a:cubicBezTo>
                    <a:cubicBezTo>
                      <a:pt x="11" y="1"/>
                      <a:pt x="10" y="1"/>
                      <a:pt x="9" y="1"/>
                    </a:cubicBezTo>
                    <a:cubicBezTo>
                      <a:pt x="9" y="1"/>
                      <a:pt x="9" y="1"/>
                      <a:pt x="8" y="1"/>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1" name="Freeform 349"/>
              <p:cNvSpPr/>
              <p:nvPr/>
            </p:nvSpPr>
            <p:spPr bwMode="auto">
              <a:xfrm>
                <a:off x="4858" y="2758"/>
                <a:ext cx="12" cy="5"/>
              </a:xfrm>
              <a:custGeom>
                <a:gdLst>
                  <a:gd name="T0" fmla="*/ 1 w 5"/>
                  <a:gd name="T1" fmla="*/ 0 h 2"/>
                  <a:gd name="T2" fmla="*/ 0 w 5"/>
                  <a:gd name="T3" fmla="*/ 0 h 2"/>
                  <a:gd name="T4" fmla="*/ 5 w 5"/>
                  <a:gd name="T5" fmla="*/ 2 h 2"/>
                  <a:gd name="T6" fmla="*/ 1 w 5"/>
                  <a:gd name="T7" fmla="*/ 0 h 2"/>
                </a:gdLst>
                <a:cxnLst>
                  <a:cxn ang="0">
                    <a:pos x="T0" y="T1"/>
                  </a:cxn>
                  <a:cxn ang="0">
                    <a:pos x="T2" y="T3"/>
                  </a:cxn>
                  <a:cxn ang="0">
                    <a:pos x="T4" y="T5"/>
                  </a:cxn>
                  <a:cxn ang="0">
                    <a:pos x="T6" y="T7"/>
                  </a:cxn>
                </a:cxnLst>
                <a:rect l="0" t="0" r="r" b="b"/>
                <a:pathLst>
                  <a:path w="5" h="2">
                    <a:moveTo>
                      <a:pt x="1" y="0"/>
                    </a:moveTo>
                    <a:cubicBezTo>
                      <a:pt x="0" y="0"/>
                      <a:pt x="0" y="0"/>
                      <a:pt x="0" y="0"/>
                    </a:cubicBezTo>
                    <a:cubicBezTo>
                      <a:pt x="1" y="1"/>
                      <a:pt x="3" y="2"/>
                      <a:pt x="5" y="2"/>
                    </a:cubicBezTo>
                    <a:cubicBezTo>
                      <a:pt x="4"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Freeform 350"/>
              <p:cNvSpPr/>
              <p:nvPr/>
            </p:nvSpPr>
            <p:spPr bwMode="auto">
              <a:xfrm>
                <a:off x="3996" y="1860"/>
                <a:ext cx="14" cy="2"/>
              </a:xfrm>
              <a:custGeom>
                <a:gdLst>
                  <a:gd name="T0" fmla="*/ 4 w 6"/>
                  <a:gd name="T1" fmla="*/ 0 h 1"/>
                  <a:gd name="T2" fmla="*/ 0 w 6"/>
                  <a:gd name="T3" fmla="*/ 1 h 1"/>
                  <a:gd name="T4" fmla="*/ 6 w 6"/>
                  <a:gd name="T5" fmla="*/ 0 h 1"/>
                  <a:gd name="T6" fmla="*/ 4 w 6"/>
                  <a:gd name="T7" fmla="*/ 0 h 1"/>
                </a:gdLst>
                <a:cxnLst>
                  <a:cxn ang="0">
                    <a:pos x="T0" y="T1"/>
                  </a:cxn>
                  <a:cxn ang="0">
                    <a:pos x="T2" y="T3"/>
                  </a:cxn>
                  <a:cxn ang="0">
                    <a:pos x="T4" y="T5"/>
                  </a:cxn>
                  <a:cxn ang="0">
                    <a:pos x="T6" y="T7"/>
                  </a:cxn>
                </a:cxnLst>
                <a:rect l="0" t="0" r="r" b="b"/>
                <a:pathLst>
                  <a:path w="6" h="1">
                    <a:moveTo>
                      <a:pt x="4" y="0"/>
                    </a:moveTo>
                    <a:cubicBezTo>
                      <a:pt x="3" y="0"/>
                      <a:pt x="2" y="1"/>
                      <a:pt x="0" y="1"/>
                    </a:cubicBezTo>
                    <a:cubicBezTo>
                      <a:pt x="2" y="1"/>
                      <a:pt x="4" y="1"/>
                      <a:pt x="6"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3" name="Freeform 351"/>
              <p:cNvSpPr/>
              <p:nvPr/>
            </p:nvSpPr>
            <p:spPr bwMode="auto">
              <a:xfrm>
                <a:off x="5629" y="526"/>
                <a:ext cx="2" cy="0"/>
              </a:xfrm>
              <a:custGeom>
                <a:gdLst>
                  <a:gd name="T0" fmla="*/ 1 w 1"/>
                  <a:gd name="T1" fmla="*/ 0 w 1"/>
                  <a:gd name="T2" fmla="*/ 1 w 1"/>
                  <a:gd name="T3" fmla="*/ 1 w 1"/>
                  <a:gd name="T4" fmla="*/ 1 w 1"/>
                </a:gd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352"/>
              <p:cNvSpPr/>
              <p:nvPr/>
            </p:nvSpPr>
            <p:spPr bwMode="auto">
              <a:xfrm>
                <a:off x="8214" y="1524"/>
                <a:ext cx="2" cy="5"/>
              </a:xfrm>
              <a:custGeom>
                <a:gdLst>
                  <a:gd name="T0" fmla="*/ 2 w 2"/>
                  <a:gd name="T1" fmla="*/ 0 h 5"/>
                  <a:gd name="T2" fmla="*/ 0 w 2"/>
                  <a:gd name="T3" fmla="*/ 5 h 5"/>
                  <a:gd name="T4" fmla="*/ 2 w 2"/>
                  <a:gd name="T5" fmla="*/ 5 h 5"/>
                  <a:gd name="T6" fmla="*/ 2 w 2"/>
                  <a:gd name="T7" fmla="*/ 0 h 5"/>
                </a:gdLst>
                <a:cxnLst>
                  <a:cxn ang="0">
                    <a:pos x="T0" y="T1"/>
                  </a:cxn>
                  <a:cxn ang="0">
                    <a:pos x="T2" y="T3"/>
                  </a:cxn>
                  <a:cxn ang="0">
                    <a:pos x="T4" y="T5"/>
                  </a:cxn>
                  <a:cxn ang="0">
                    <a:pos x="T6" y="T7"/>
                  </a:cxn>
                </a:cxnLst>
                <a:rect l="0" t="0" r="r" b="b"/>
                <a:pathLst>
                  <a:path w="2" h="5">
                    <a:moveTo>
                      <a:pt x="2" y="0"/>
                    </a:moveTo>
                    <a:lnTo>
                      <a:pt x="0" y="5"/>
                    </a:lnTo>
                    <a:lnTo>
                      <a:pt x="2"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5" name="Freeform 353"/>
              <p:cNvSpPr/>
              <p:nvPr/>
            </p:nvSpPr>
            <p:spPr bwMode="auto">
              <a:xfrm>
                <a:off x="8214" y="1524"/>
                <a:ext cx="2" cy="5"/>
              </a:xfrm>
              <a:custGeom>
                <a:gdLst>
                  <a:gd name="T0" fmla="*/ 2 w 2"/>
                  <a:gd name="T1" fmla="*/ 0 h 5"/>
                  <a:gd name="T2" fmla="*/ 0 w 2"/>
                  <a:gd name="T3" fmla="*/ 5 h 5"/>
                  <a:gd name="T4" fmla="*/ 2 w 2"/>
                  <a:gd name="T5" fmla="*/ 5 h 5"/>
                  <a:gd name="T6" fmla="*/ 2 w 2"/>
                  <a:gd name="T7" fmla="*/ 0 h 5"/>
                </a:gdLst>
                <a:cxnLst>
                  <a:cxn ang="0">
                    <a:pos x="T0" y="T1"/>
                  </a:cxn>
                  <a:cxn ang="0">
                    <a:pos x="T2" y="T3"/>
                  </a:cxn>
                  <a:cxn ang="0">
                    <a:pos x="T4" y="T5"/>
                  </a:cxn>
                  <a:cxn ang="0">
                    <a:pos x="T6" y="T7"/>
                  </a:cxn>
                </a:cxnLst>
                <a:rect l="0" t="0" r="r" b="b"/>
                <a:pathLst>
                  <a:path w="2" h="5">
                    <a:moveTo>
                      <a:pt x="2" y="0"/>
                    </a:moveTo>
                    <a:lnTo>
                      <a:pt x="0" y="5"/>
                    </a:lnTo>
                    <a:lnTo>
                      <a:pt x="2" y="5"/>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Freeform 354"/>
              <p:cNvSpPr/>
              <p:nvPr/>
            </p:nvSpPr>
            <p:spPr bwMode="auto">
              <a:xfrm>
                <a:off x="4799" y="2108"/>
                <a:ext cx="38" cy="76"/>
              </a:xfrm>
              <a:custGeom>
                <a:gdLst>
                  <a:gd name="T0" fmla="*/ 8 w 16"/>
                  <a:gd name="T1" fmla="*/ 0 h 32"/>
                  <a:gd name="T2" fmla="*/ 7 w 16"/>
                  <a:gd name="T3" fmla="*/ 1 h 32"/>
                  <a:gd name="T4" fmla="*/ 4 w 16"/>
                  <a:gd name="T5" fmla="*/ 6 h 32"/>
                  <a:gd name="T6" fmla="*/ 1 w 16"/>
                  <a:gd name="T7" fmla="*/ 13 h 32"/>
                  <a:gd name="T8" fmla="*/ 0 w 16"/>
                  <a:gd name="T9" fmla="*/ 21 h 32"/>
                  <a:gd name="T10" fmla="*/ 1 w 16"/>
                  <a:gd name="T11" fmla="*/ 27 h 32"/>
                  <a:gd name="T12" fmla="*/ 1 w 16"/>
                  <a:gd name="T13" fmla="*/ 27 h 32"/>
                  <a:gd name="T14" fmla="*/ 1 w 16"/>
                  <a:gd name="T15" fmla="*/ 28 h 32"/>
                  <a:gd name="T16" fmla="*/ 4 w 16"/>
                  <a:gd name="T17" fmla="*/ 31 h 32"/>
                  <a:gd name="T18" fmla="*/ 4 w 16"/>
                  <a:gd name="T19" fmla="*/ 31 h 32"/>
                  <a:gd name="T20" fmla="*/ 4 w 16"/>
                  <a:gd name="T21" fmla="*/ 32 h 32"/>
                  <a:gd name="T22" fmla="*/ 5 w 16"/>
                  <a:gd name="T23" fmla="*/ 31 h 32"/>
                  <a:gd name="T24" fmla="*/ 5 w 16"/>
                  <a:gd name="T25" fmla="*/ 31 h 32"/>
                  <a:gd name="T26" fmla="*/ 5 w 16"/>
                  <a:gd name="T27" fmla="*/ 31 h 32"/>
                  <a:gd name="T28" fmla="*/ 7 w 16"/>
                  <a:gd name="T29" fmla="*/ 31 h 32"/>
                  <a:gd name="T30" fmla="*/ 9 w 16"/>
                  <a:gd name="T31" fmla="*/ 31 h 32"/>
                  <a:gd name="T32" fmla="*/ 10 w 16"/>
                  <a:gd name="T33" fmla="*/ 31 h 32"/>
                  <a:gd name="T34" fmla="*/ 11 w 16"/>
                  <a:gd name="T35" fmla="*/ 31 h 32"/>
                  <a:gd name="T36" fmla="*/ 11 w 16"/>
                  <a:gd name="T37" fmla="*/ 31 h 32"/>
                  <a:gd name="T38" fmla="*/ 13 w 16"/>
                  <a:gd name="T39" fmla="*/ 31 h 32"/>
                  <a:gd name="T40" fmla="*/ 13 w 16"/>
                  <a:gd name="T41" fmla="*/ 29 h 32"/>
                  <a:gd name="T42" fmla="*/ 13 w 16"/>
                  <a:gd name="T43" fmla="*/ 29 h 32"/>
                  <a:gd name="T44" fmla="*/ 14 w 16"/>
                  <a:gd name="T45" fmla="*/ 26 h 32"/>
                  <a:gd name="T46" fmla="*/ 16 w 16"/>
                  <a:gd name="T47" fmla="*/ 18 h 32"/>
                  <a:gd name="T48" fmla="*/ 14 w 16"/>
                  <a:gd name="T49" fmla="*/ 12 h 32"/>
                  <a:gd name="T50" fmla="*/ 14 w 16"/>
                  <a:gd name="T51" fmla="*/ 4 h 32"/>
                  <a:gd name="T52" fmla="*/ 14 w 16"/>
                  <a:gd name="T53" fmla="*/ 4 h 32"/>
                  <a:gd name="T54" fmla="*/ 13 w 16"/>
                  <a:gd name="T55" fmla="*/ 4 h 32"/>
                  <a:gd name="T56" fmla="*/ 13 w 16"/>
                  <a:gd name="T57" fmla="*/ 4 h 32"/>
                  <a:gd name="T58" fmla="*/ 12 w 16"/>
                  <a:gd name="T59" fmla="*/ 4 h 32"/>
                  <a:gd name="T60" fmla="*/ 9 w 16"/>
                  <a:gd name="T61" fmla="*/ 0 h 32"/>
                  <a:gd name="T62" fmla="*/ 8 w 16"/>
                  <a:gd name="T63"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32">
                    <a:moveTo>
                      <a:pt x="8" y="0"/>
                    </a:moveTo>
                    <a:cubicBezTo>
                      <a:pt x="8" y="0"/>
                      <a:pt x="8" y="0"/>
                      <a:pt x="7" y="1"/>
                    </a:cubicBezTo>
                    <a:cubicBezTo>
                      <a:pt x="5" y="1"/>
                      <a:pt x="4" y="4"/>
                      <a:pt x="4" y="6"/>
                    </a:cubicBezTo>
                    <a:cubicBezTo>
                      <a:pt x="2" y="9"/>
                      <a:pt x="2" y="10"/>
                      <a:pt x="1" y="13"/>
                    </a:cubicBezTo>
                    <a:cubicBezTo>
                      <a:pt x="1" y="15"/>
                      <a:pt x="0" y="19"/>
                      <a:pt x="0" y="21"/>
                    </a:cubicBezTo>
                    <a:cubicBezTo>
                      <a:pt x="0" y="22"/>
                      <a:pt x="0" y="25"/>
                      <a:pt x="1" y="27"/>
                    </a:cubicBezTo>
                    <a:cubicBezTo>
                      <a:pt x="1" y="27"/>
                      <a:pt x="1" y="27"/>
                      <a:pt x="1" y="27"/>
                    </a:cubicBezTo>
                    <a:cubicBezTo>
                      <a:pt x="1" y="28"/>
                      <a:pt x="1" y="28"/>
                      <a:pt x="1" y="28"/>
                    </a:cubicBezTo>
                    <a:cubicBezTo>
                      <a:pt x="2" y="30"/>
                      <a:pt x="2" y="31"/>
                      <a:pt x="4" y="31"/>
                    </a:cubicBezTo>
                    <a:cubicBezTo>
                      <a:pt x="4" y="31"/>
                      <a:pt x="4" y="31"/>
                      <a:pt x="4" y="31"/>
                    </a:cubicBezTo>
                    <a:cubicBezTo>
                      <a:pt x="4" y="32"/>
                      <a:pt x="4" y="32"/>
                      <a:pt x="4" y="32"/>
                    </a:cubicBezTo>
                    <a:cubicBezTo>
                      <a:pt x="5" y="31"/>
                      <a:pt x="5" y="31"/>
                      <a:pt x="5" y="31"/>
                    </a:cubicBezTo>
                    <a:cubicBezTo>
                      <a:pt x="5" y="31"/>
                      <a:pt x="5" y="31"/>
                      <a:pt x="5" y="31"/>
                    </a:cubicBezTo>
                    <a:cubicBezTo>
                      <a:pt x="5" y="31"/>
                      <a:pt x="5" y="31"/>
                      <a:pt x="5" y="31"/>
                    </a:cubicBezTo>
                    <a:cubicBezTo>
                      <a:pt x="6" y="31"/>
                      <a:pt x="6" y="31"/>
                      <a:pt x="7" y="31"/>
                    </a:cubicBezTo>
                    <a:cubicBezTo>
                      <a:pt x="8" y="31"/>
                      <a:pt x="8" y="31"/>
                      <a:pt x="9" y="31"/>
                    </a:cubicBezTo>
                    <a:cubicBezTo>
                      <a:pt x="9" y="31"/>
                      <a:pt x="9" y="31"/>
                      <a:pt x="10" y="31"/>
                    </a:cubicBezTo>
                    <a:cubicBezTo>
                      <a:pt x="10" y="31"/>
                      <a:pt x="10" y="31"/>
                      <a:pt x="11" y="31"/>
                    </a:cubicBezTo>
                    <a:cubicBezTo>
                      <a:pt x="11" y="31"/>
                      <a:pt x="11" y="31"/>
                      <a:pt x="11" y="31"/>
                    </a:cubicBezTo>
                    <a:cubicBezTo>
                      <a:pt x="11" y="31"/>
                      <a:pt x="12" y="31"/>
                      <a:pt x="13" y="31"/>
                    </a:cubicBezTo>
                    <a:cubicBezTo>
                      <a:pt x="13" y="29"/>
                      <a:pt x="13" y="29"/>
                      <a:pt x="13" y="29"/>
                    </a:cubicBezTo>
                    <a:cubicBezTo>
                      <a:pt x="13" y="29"/>
                      <a:pt x="13" y="29"/>
                      <a:pt x="13" y="29"/>
                    </a:cubicBezTo>
                    <a:cubicBezTo>
                      <a:pt x="13" y="28"/>
                      <a:pt x="14" y="27"/>
                      <a:pt x="14" y="26"/>
                    </a:cubicBezTo>
                    <a:cubicBezTo>
                      <a:pt x="14" y="25"/>
                      <a:pt x="16" y="20"/>
                      <a:pt x="16" y="18"/>
                    </a:cubicBezTo>
                    <a:cubicBezTo>
                      <a:pt x="15" y="16"/>
                      <a:pt x="13" y="14"/>
                      <a:pt x="14" y="12"/>
                    </a:cubicBezTo>
                    <a:cubicBezTo>
                      <a:pt x="14" y="10"/>
                      <a:pt x="16" y="6"/>
                      <a:pt x="14" y="4"/>
                    </a:cubicBezTo>
                    <a:cubicBezTo>
                      <a:pt x="14" y="4"/>
                      <a:pt x="14" y="4"/>
                      <a:pt x="14" y="4"/>
                    </a:cubicBezTo>
                    <a:cubicBezTo>
                      <a:pt x="13" y="4"/>
                      <a:pt x="13" y="4"/>
                      <a:pt x="13" y="4"/>
                    </a:cubicBezTo>
                    <a:cubicBezTo>
                      <a:pt x="13" y="4"/>
                      <a:pt x="13" y="4"/>
                      <a:pt x="13" y="4"/>
                    </a:cubicBezTo>
                    <a:cubicBezTo>
                      <a:pt x="13" y="4"/>
                      <a:pt x="12" y="4"/>
                      <a:pt x="12" y="4"/>
                    </a:cubicBezTo>
                    <a:cubicBezTo>
                      <a:pt x="11" y="3"/>
                      <a:pt x="10"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7" name="Freeform 355"/>
              <p:cNvSpPr>
                <a:spLocks noEditPoints="1"/>
              </p:cNvSpPr>
              <p:nvPr/>
            </p:nvSpPr>
            <p:spPr bwMode="auto">
              <a:xfrm>
                <a:off x="5515" y="564"/>
                <a:ext cx="3" cy="3"/>
              </a:xfrm>
              <a:custGeom>
                <a:gdLst>
                  <a:gd name="T0" fmla="*/ 1 w 1"/>
                  <a:gd name="T1" fmla="*/ 0 h 1"/>
                  <a:gd name="T2" fmla="*/ 1 w 1"/>
                  <a:gd name="T3" fmla="*/ 1 h 1"/>
                  <a:gd name="T4" fmla="*/ 0 w 1"/>
                  <a:gd name="T5" fmla="*/ 1 h 1"/>
                  <a:gd name="T6" fmla="*/ 0 w 1"/>
                  <a:gd name="T7" fmla="*/ 1 h 1"/>
                  <a:gd name="T8" fmla="*/ 1 w 1"/>
                  <a:gd name="T9" fmla="*/ 0 h 1"/>
                  <a:gd name="T10" fmla="*/ 1 w 1"/>
                  <a:gd name="T11" fmla="*/ 0 h 1"/>
                  <a:gd name="T12" fmla="*/ 1 w 1"/>
                  <a:gd name="T13" fmla="*/ 0 h 1"/>
                  <a:gd name="T14" fmla="*/ 1 w 1"/>
                  <a:gd name="T15" fmla="*/ 0 h 1"/>
                  <a:gd name="T16" fmla="*/ 1 w 1"/>
                  <a:gd name="T17"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0"/>
                    </a:moveTo>
                    <a:cubicBezTo>
                      <a:pt x="1" y="0"/>
                      <a:pt x="1" y="1"/>
                      <a:pt x="1" y="1"/>
                    </a:cubicBezTo>
                    <a:cubicBezTo>
                      <a:pt x="0" y="1"/>
                      <a:pt x="0" y="1"/>
                      <a:pt x="0" y="1"/>
                    </a:cubicBezTo>
                    <a:cubicBezTo>
                      <a:pt x="0" y="1"/>
                      <a:pt x="0" y="1"/>
                      <a:pt x="0" y="1"/>
                    </a:cubicBezTo>
                    <a:cubicBezTo>
                      <a:pt x="1" y="1"/>
                      <a:pt x="1" y="1"/>
                      <a:pt x="1" y="0"/>
                    </a:cubicBezTo>
                    <a:moveTo>
                      <a:pt x="1" y="0"/>
                    </a:move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Rectangle 356"/>
              <p:cNvSpPr>
                <a:spLocks noChangeArrowheads="1"/>
              </p:cNvSpPr>
              <p:nvPr/>
            </p:nvSpPr>
            <p:spPr bwMode="auto">
              <a:xfrm>
                <a:off x="3887" y="336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Freeform 357"/>
              <p:cNvSpPr/>
              <p:nvPr/>
            </p:nvSpPr>
            <p:spPr bwMode="auto">
              <a:xfrm flipH="1">
                <a:off x="3887" y="336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Freeform 358"/>
              <p:cNvSpPr>
                <a:spLocks noEditPoints="1"/>
              </p:cNvSpPr>
              <p:nvPr/>
            </p:nvSpPr>
            <p:spPr bwMode="auto">
              <a:xfrm>
                <a:off x="3665" y="-601"/>
                <a:ext cx="250" cy="175"/>
              </a:xfrm>
              <a:custGeom>
                <a:gdLst>
                  <a:gd name="T0" fmla="*/ 2 w 106"/>
                  <a:gd name="T1" fmla="*/ 14 h 74"/>
                  <a:gd name="T2" fmla="*/ 40 w 106"/>
                  <a:gd name="T3" fmla="*/ 0 h 74"/>
                  <a:gd name="T4" fmla="*/ 34 w 106"/>
                  <a:gd name="T5" fmla="*/ 8 h 74"/>
                  <a:gd name="T6" fmla="*/ 36 w 106"/>
                  <a:gd name="T7" fmla="*/ 8 h 74"/>
                  <a:gd name="T8" fmla="*/ 30 w 106"/>
                  <a:gd name="T9" fmla="*/ 15 h 74"/>
                  <a:gd name="T10" fmla="*/ 29 w 106"/>
                  <a:gd name="T11" fmla="*/ 18 h 74"/>
                  <a:gd name="T12" fmla="*/ 28 w 106"/>
                  <a:gd name="T13" fmla="*/ 23 h 74"/>
                  <a:gd name="T14" fmla="*/ 25 w 106"/>
                  <a:gd name="T15" fmla="*/ 22 h 74"/>
                  <a:gd name="T16" fmla="*/ 21 w 106"/>
                  <a:gd name="T17" fmla="*/ 24 h 74"/>
                  <a:gd name="T18" fmla="*/ 20 w 106"/>
                  <a:gd name="T19" fmla="*/ 25 h 74"/>
                  <a:gd name="T20" fmla="*/ 19 w 106"/>
                  <a:gd name="T21" fmla="*/ 25 h 74"/>
                  <a:gd name="T22" fmla="*/ 21 w 106"/>
                  <a:gd name="T23" fmla="*/ 13 h 74"/>
                  <a:gd name="T24" fmla="*/ 6 w 106"/>
                  <a:gd name="T25" fmla="*/ 19 h 74"/>
                  <a:gd name="T26" fmla="*/ 0 w 106"/>
                  <a:gd name="T27" fmla="*/ 24 h 74"/>
                  <a:gd name="T28" fmla="*/ 1 w 106"/>
                  <a:gd name="T29" fmla="*/ 71 h 74"/>
                  <a:gd name="T30" fmla="*/ 3 w 106"/>
                  <a:gd name="T31" fmla="*/ 57 h 74"/>
                  <a:gd name="T32" fmla="*/ 7 w 106"/>
                  <a:gd name="T33" fmla="*/ 48 h 74"/>
                  <a:gd name="T34" fmla="*/ 14 w 106"/>
                  <a:gd name="T35" fmla="*/ 43 h 74"/>
                  <a:gd name="T36" fmla="*/ 27 w 106"/>
                  <a:gd name="T37" fmla="*/ 38 h 74"/>
                  <a:gd name="T38" fmla="*/ 34 w 106"/>
                  <a:gd name="T39" fmla="*/ 37 h 74"/>
                  <a:gd name="T40" fmla="*/ 36 w 106"/>
                  <a:gd name="T41" fmla="*/ 36 h 74"/>
                  <a:gd name="T42" fmla="*/ 50 w 106"/>
                  <a:gd name="T43" fmla="*/ 38 h 74"/>
                  <a:gd name="T44" fmla="*/ 57 w 106"/>
                  <a:gd name="T45" fmla="*/ 42 h 74"/>
                  <a:gd name="T46" fmla="*/ 64 w 106"/>
                  <a:gd name="T47" fmla="*/ 46 h 74"/>
                  <a:gd name="T48" fmla="*/ 74 w 106"/>
                  <a:gd name="T49" fmla="*/ 58 h 74"/>
                  <a:gd name="T50" fmla="*/ 84 w 106"/>
                  <a:gd name="T51" fmla="*/ 52 h 74"/>
                  <a:gd name="T52" fmla="*/ 85 w 106"/>
                  <a:gd name="T53" fmla="*/ 48 h 74"/>
                  <a:gd name="T54" fmla="*/ 91 w 106"/>
                  <a:gd name="T55" fmla="*/ 48 h 74"/>
                  <a:gd name="T56" fmla="*/ 97 w 106"/>
                  <a:gd name="T57" fmla="*/ 50 h 74"/>
                  <a:gd name="T58" fmla="*/ 98 w 106"/>
                  <a:gd name="T59" fmla="*/ 48 h 74"/>
                  <a:gd name="T60" fmla="*/ 97 w 106"/>
                  <a:gd name="T61" fmla="*/ 45 h 74"/>
                  <a:gd name="T62" fmla="*/ 88 w 106"/>
                  <a:gd name="T63" fmla="*/ 43 h 74"/>
                  <a:gd name="T64" fmla="*/ 75 w 106"/>
                  <a:gd name="T65" fmla="*/ 49 h 74"/>
                  <a:gd name="T66" fmla="*/ 79 w 106"/>
                  <a:gd name="T67" fmla="*/ 46 h 74"/>
                  <a:gd name="T68" fmla="*/ 58 w 106"/>
                  <a:gd name="T69" fmla="*/ 34 h 74"/>
                  <a:gd name="T70" fmla="*/ 88 w 106"/>
                  <a:gd name="T71" fmla="*/ 36 h 74"/>
                  <a:gd name="T72" fmla="*/ 101 w 106"/>
                  <a:gd name="T73" fmla="*/ 23 h 74"/>
                  <a:gd name="T74" fmla="*/ 87 w 106"/>
                  <a:gd name="T75" fmla="*/ 15 h 74"/>
                  <a:gd name="T76" fmla="*/ 80 w 106"/>
                  <a:gd name="T77" fmla="*/ 13 h 74"/>
                  <a:gd name="T78" fmla="*/ 63 w 106"/>
                  <a:gd name="T79" fmla="*/ 9 h 74"/>
                  <a:gd name="T80" fmla="*/ 50 w 106"/>
                  <a:gd name="T81" fmla="*/ 28 h 74"/>
                  <a:gd name="T82" fmla="*/ 49 w 106"/>
                  <a:gd name="T83" fmla="*/ 23 h 74"/>
                  <a:gd name="T84" fmla="*/ 45 w 106"/>
                  <a:gd name="T85" fmla="*/ 21 h 74"/>
                  <a:gd name="T86" fmla="*/ 44 w 106"/>
                  <a:gd name="T87" fmla="*/ 16 h 74"/>
                  <a:gd name="T88" fmla="*/ 47 w 106"/>
                  <a:gd name="T89" fmla="*/ 11 h 74"/>
                  <a:gd name="T90" fmla="*/ 52 w 106"/>
                  <a:gd name="T91" fmla="*/ 11 h 74"/>
                  <a:gd name="T92" fmla="*/ 40 w 106"/>
                  <a:gd name="T93" fmla="*/ 0 h 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5" h="74">
                    <a:moveTo>
                      <a:pt x="0" y="7"/>
                    </a:moveTo>
                    <a:cubicBezTo>
                      <a:pt x="0" y="15"/>
                      <a:pt x="0" y="15"/>
                      <a:pt x="0" y="15"/>
                    </a:cubicBezTo>
                    <a:cubicBezTo>
                      <a:pt x="1" y="14"/>
                      <a:pt x="2" y="14"/>
                      <a:pt x="2" y="14"/>
                    </a:cubicBezTo>
                    <a:cubicBezTo>
                      <a:pt x="4" y="12"/>
                      <a:pt x="5" y="10"/>
                      <a:pt x="7" y="9"/>
                    </a:cubicBezTo>
                    <a:cubicBezTo>
                      <a:pt x="5" y="8"/>
                      <a:pt x="2" y="7"/>
                      <a:pt x="0" y="7"/>
                    </a:cubicBezTo>
                    <a:moveTo>
                      <a:pt x="40" y="0"/>
                    </a:moveTo>
                    <a:cubicBezTo>
                      <a:pt x="40" y="1"/>
                      <a:pt x="39" y="4"/>
                      <a:pt x="39" y="5"/>
                    </a:cubicBezTo>
                    <a:cubicBezTo>
                      <a:pt x="37" y="7"/>
                      <a:pt x="34" y="7"/>
                      <a:pt x="32" y="8"/>
                    </a:cubicBezTo>
                    <a:cubicBezTo>
                      <a:pt x="33" y="8"/>
                      <a:pt x="33" y="8"/>
                      <a:pt x="34" y="8"/>
                    </a:cubicBezTo>
                    <a:cubicBezTo>
                      <a:pt x="34" y="8"/>
                      <a:pt x="35" y="8"/>
                      <a:pt x="35" y="8"/>
                    </a:cubicBezTo>
                    <a:cubicBezTo>
                      <a:pt x="35" y="8"/>
                      <a:pt x="35" y="8"/>
                      <a:pt x="35" y="8"/>
                    </a:cubicBezTo>
                    <a:cubicBezTo>
                      <a:pt x="35" y="8"/>
                      <a:pt x="35" y="8"/>
                      <a:pt x="36" y="8"/>
                    </a:cubicBezTo>
                    <a:cubicBezTo>
                      <a:pt x="36" y="8"/>
                      <a:pt x="37" y="9"/>
                      <a:pt x="38" y="9"/>
                    </a:cubicBezTo>
                    <a:cubicBezTo>
                      <a:pt x="36" y="11"/>
                      <a:pt x="39" y="11"/>
                      <a:pt x="40" y="11"/>
                    </a:cubicBezTo>
                    <a:cubicBezTo>
                      <a:pt x="36" y="13"/>
                      <a:pt x="33" y="13"/>
                      <a:pt x="30" y="15"/>
                    </a:cubicBezTo>
                    <a:cubicBezTo>
                      <a:pt x="32" y="15"/>
                      <a:pt x="30" y="16"/>
                      <a:pt x="30" y="17"/>
                    </a:cubicBezTo>
                    <a:cubicBezTo>
                      <a:pt x="30" y="17"/>
                      <a:pt x="32" y="18"/>
                      <a:pt x="33" y="18"/>
                    </a:cubicBezTo>
                    <a:cubicBezTo>
                      <a:pt x="32" y="18"/>
                      <a:pt x="30" y="18"/>
                      <a:pt x="29" y="18"/>
                    </a:cubicBezTo>
                    <a:cubicBezTo>
                      <a:pt x="28" y="18"/>
                      <a:pt x="27" y="18"/>
                      <a:pt x="27" y="20"/>
                    </a:cubicBezTo>
                    <a:cubicBezTo>
                      <a:pt x="27" y="21"/>
                      <a:pt x="28" y="22"/>
                      <a:pt x="30" y="22"/>
                    </a:cubicBezTo>
                    <a:cubicBezTo>
                      <a:pt x="29" y="22"/>
                      <a:pt x="28" y="23"/>
                      <a:pt x="28" y="23"/>
                    </a:cubicBezTo>
                    <a:cubicBezTo>
                      <a:pt x="27" y="23"/>
                      <a:pt x="27" y="22"/>
                      <a:pt x="27" y="22"/>
                    </a:cubicBezTo>
                    <a:cubicBezTo>
                      <a:pt x="26" y="22"/>
                      <a:pt x="26" y="22"/>
                      <a:pt x="25" y="22"/>
                    </a:cubicBezTo>
                    <a:cubicBezTo>
                      <a:pt x="25" y="22"/>
                      <a:pt x="25" y="22"/>
                      <a:pt x="25" y="22"/>
                    </a:cubicBezTo>
                    <a:cubicBezTo>
                      <a:pt x="23" y="22"/>
                      <a:pt x="23" y="23"/>
                      <a:pt x="22" y="24"/>
                    </a:cubicBezTo>
                    <a:cubicBezTo>
                      <a:pt x="22" y="24"/>
                      <a:pt x="22" y="24"/>
                      <a:pt x="22" y="24"/>
                    </a:cubicBezTo>
                    <a:cubicBezTo>
                      <a:pt x="22" y="24"/>
                      <a:pt x="22" y="24"/>
                      <a:pt x="21" y="24"/>
                    </a:cubicBezTo>
                    <a:cubicBezTo>
                      <a:pt x="21" y="25"/>
                      <a:pt x="20" y="25"/>
                      <a:pt x="20" y="25"/>
                    </a:cubicBezTo>
                    <a:cubicBezTo>
                      <a:pt x="20" y="25"/>
                      <a:pt x="20" y="25"/>
                      <a:pt x="20" y="25"/>
                    </a:cubicBezTo>
                    <a:cubicBezTo>
                      <a:pt x="20" y="25"/>
                      <a:pt x="20" y="25"/>
                      <a:pt x="20" y="25"/>
                    </a:cubicBezTo>
                    <a:cubicBezTo>
                      <a:pt x="21" y="25"/>
                      <a:pt x="20" y="25"/>
                      <a:pt x="20" y="25"/>
                    </a:cubicBezTo>
                    <a:cubicBezTo>
                      <a:pt x="20" y="26"/>
                      <a:pt x="20" y="26"/>
                      <a:pt x="20" y="26"/>
                    </a:cubicBezTo>
                    <a:cubicBezTo>
                      <a:pt x="19" y="26"/>
                      <a:pt x="19" y="26"/>
                      <a:pt x="19" y="25"/>
                    </a:cubicBezTo>
                    <a:cubicBezTo>
                      <a:pt x="18" y="23"/>
                      <a:pt x="19" y="16"/>
                      <a:pt x="16" y="16"/>
                    </a:cubicBezTo>
                    <a:cubicBezTo>
                      <a:pt x="16" y="16"/>
                      <a:pt x="16" y="16"/>
                      <a:pt x="16" y="16"/>
                    </a:cubicBezTo>
                    <a:cubicBezTo>
                      <a:pt x="17" y="15"/>
                      <a:pt x="20" y="15"/>
                      <a:pt x="21" y="13"/>
                    </a:cubicBezTo>
                    <a:cubicBezTo>
                      <a:pt x="23" y="12"/>
                      <a:pt x="22" y="8"/>
                      <a:pt x="22" y="5"/>
                    </a:cubicBezTo>
                    <a:cubicBezTo>
                      <a:pt x="18" y="9"/>
                      <a:pt x="13" y="12"/>
                      <a:pt x="9" y="15"/>
                    </a:cubicBezTo>
                    <a:cubicBezTo>
                      <a:pt x="8" y="16"/>
                      <a:pt x="7" y="18"/>
                      <a:pt x="6" y="19"/>
                    </a:cubicBezTo>
                    <a:cubicBezTo>
                      <a:pt x="5" y="20"/>
                      <a:pt x="5" y="20"/>
                      <a:pt x="4" y="21"/>
                    </a:cubicBezTo>
                    <a:cubicBezTo>
                      <a:pt x="2" y="22"/>
                      <a:pt x="1" y="23"/>
                      <a:pt x="0" y="24"/>
                    </a:cubicBezTo>
                    <a:cubicBezTo>
                      <a:pt x="0" y="24"/>
                      <a:pt x="0" y="24"/>
                      <a:pt x="0" y="24"/>
                    </a:cubicBezTo>
                    <a:cubicBezTo>
                      <a:pt x="0" y="74"/>
                      <a:pt x="0" y="74"/>
                      <a:pt x="0" y="74"/>
                    </a:cubicBezTo>
                    <a:cubicBezTo>
                      <a:pt x="0" y="74"/>
                      <a:pt x="0" y="74"/>
                      <a:pt x="0" y="74"/>
                    </a:cubicBezTo>
                    <a:cubicBezTo>
                      <a:pt x="1" y="73"/>
                      <a:pt x="1" y="72"/>
                      <a:pt x="1" y="71"/>
                    </a:cubicBezTo>
                    <a:cubicBezTo>
                      <a:pt x="2" y="69"/>
                      <a:pt x="2" y="67"/>
                      <a:pt x="2" y="64"/>
                    </a:cubicBezTo>
                    <a:cubicBezTo>
                      <a:pt x="2" y="64"/>
                      <a:pt x="2" y="64"/>
                      <a:pt x="2" y="64"/>
                    </a:cubicBezTo>
                    <a:cubicBezTo>
                      <a:pt x="2" y="62"/>
                      <a:pt x="3" y="59"/>
                      <a:pt x="3" y="57"/>
                    </a:cubicBezTo>
                    <a:cubicBezTo>
                      <a:pt x="4" y="55"/>
                      <a:pt x="4" y="55"/>
                      <a:pt x="4" y="55"/>
                    </a:cubicBezTo>
                    <a:cubicBezTo>
                      <a:pt x="4" y="55"/>
                      <a:pt x="4" y="54"/>
                      <a:pt x="4" y="54"/>
                    </a:cubicBezTo>
                    <a:cubicBezTo>
                      <a:pt x="5" y="51"/>
                      <a:pt x="5" y="50"/>
                      <a:pt x="7" y="48"/>
                    </a:cubicBezTo>
                    <a:cubicBezTo>
                      <a:pt x="7" y="48"/>
                      <a:pt x="7" y="48"/>
                      <a:pt x="7" y="48"/>
                    </a:cubicBezTo>
                    <a:cubicBezTo>
                      <a:pt x="8" y="47"/>
                      <a:pt x="10" y="46"/>
                      <a:pt x="11" y="45"/>
                    </a:cubicBezTo>
                    <a:cubicBezTo>
                      <a:pt x="12" y="44"/>
                      <a:pt x="13" y="44"/>
                      <a:pt x="14" y="43"/>
                    </a:cubicBezTo>
                    <a:cubicBezTo>
                      <a:pt x="14" y="43"/>
                      <a:pt x="14" y="43"/>
                      <a:pt x="14" y="43"/>
                    </a:cubicBezTo>
                    <a:cubicBezTo>
                      <a:pt x="17" y="39"/>
                      <a:pt x="19" y="38"/>
                      <a:pt x="24" y="38"/>
                    </a:cubicBezTo>
                    <a:cubicBezTo>
                      <a:pt x="27" y="38"/>
                      <a:pt x="27" y="38"/>
                      <a:pt x="27" y="38"/>
                    </a:cubicBezTo>
                    <a:cubicBezTo>
                      <a:pt x="28" y="38"/>
                      <a:pt x="29" y="38"/>
                      <a:pt x="30" y="37"/>
                    </a:cubicBezTo>
                    <a:cubicBezTo>
                      <a:pt x="31" y="37"/>
                      <a:pt x="32" y="37"/>
                      <a:pt x="33" y="37"/>
                    </a:cubicBezTo>
                    <a:cubicBezTo>
                      <a:pt x="33" y="37"/>
                      <a:pt x="34" y="37"/>
                      <a:pt x="34" y="37"/>
                    </a:cubicBezTo>
                    <a:cubicBezTo>
                      <a:pt x="35" y="36"/>
                      <a:pt x="35" y="36"/>
                      <a:pt x="35" y="36"/>
                    </a:cubicBezTo>
                    <a:cubicBezTo>
                      <a:pt x="35" y="36"/>
                      <a:pt x="35" y="36"/>
                      <a:pt x="36" y="36"/>
                    </a:cubicBezTo>
                    <a:cubicBezTo>
                      <a:pt x="36" y="36"/>
                      <a:pt x="36" y="36"/>
                      <a:pt x="36" y="36"/>
                    </a:cubicBezTo>
                    <a:cubicBezTo>
                      <a:pt x="37" y="35"/>
                      <a:pt x="37" y="35"/>
                      <a:pt x="38" y="35"/>
                    </a:cubicBezTo>
                    <a:cubicBezTo>
                      <a:pt x="39" y="34"/>
                      <a:pt x="40" y="34"/>
                      <a:pt x="41" y="34"/>
                    </a:cubicBezTo>
                    <a:cubicBezTo>
                      <a:pt x="45" y="34"/>
                      <a:pt x="48" y="36"/>
                      <a:pt x="50" y="38"/>
                    </a:cubicBezTo>
                    <a:cubicBezTo>
                      <a:pt x="51" y="39"/>
                      <a:pt x="51" y="39"/>
                      <a:pt x="51" y="39"/>
                    </a:cubicBezTo>
                    <a:cubicBezTo>
                      <a:pt x="52" y="39"/>
                      <a:pt x="52" y="40"/>
                      <a:pt x="53" y="40"/>
                    </a:cubicBezTo>
                    <a:cubicBezTo>
                      <a:pt x="54" y="41"/>
                      <a:pt x="56" y="42"/>
                      <a:pt x="57" y="42"/>
                    </a:cubicBezTo>
                    <a:cubicBezTo>
                      <a:pt x="58" y="43"/>
                      <a:pt x="59" y="43"/>
                      <a:pt x="60" y="44"/>
                    </a:cubicBezTo>
                    <a:cubicBezTo>
                      <a:pt x="61" y="44"/>
                      <a:pt x="61" y="44"/>
                      <a:pt x="61" y="44"/>
                    </a:cubicBezTo>
                    <a:cubicBezTo>
                      <a:pt x="62" y="45"/>
                      <a:pt x="63" y="45"/>
                      <a:pt x="64" y="46"/>
                    </a:cubicBezTo>
                    <a:cubicBezTo>
                      <a:pt x="66" y="47"/>
                      <a:pt x="72" y="50"/>
                      <a:pt x="73" y="54"/>
                    </a:cubicBezTo>
                    <a:cubicBezTo>
                      <a:pt x="73" y="55"/>
                      <a:pt x="73" y="56"/>
                      <a:pt x="73" y="58"/>
                    </a:cubicBezTo>
                    <a:cubicBezTo>
                      <a:pt x="74" y="58"/>
                      <a:pt x="74" y="58"/>
                      <a:pt x="74" y="58"/>
                    </a:cubicBezTo>
                    <a:cubicBezTo>
                      <a:pt x="75" y="57"/>
                      <a:pt x="76" y="57"/>
                      <a:pt x="77" y="57"/>
                    </a:cubicBezTo>
                    <a:cubicBezTo>
                      <a:pt x="79" y="57"/>
                      <a:pt x="79" y="57"/>
                      <a:pt x="79" y="57"/>
                    </a:cubicBezTo>
                    <a:cubicBezTo>
                      <a:pt x="81" y="56"/>
                      <a:pt x="82" y="55"/>
                      <a:pt x="84" y="52"/>
                    </a:cubicBezTo>
                    <a:cubicBezTo>
                      <a:pt x="84" y="52"/>
                      <a:pt x="84" y="52"/>
                      <a:pt x="84" y="51"/>
                    </a:cubicBezTo>
                    <a:cubicBezTo>
                      <a:pt x="83" y="50"/>
                      <a:pt x="83" y="50"/>
                      <a:pt x="83" y="50"/>
                    </a:cubicBezTo>
                    <a:cubicBezTo>
                      <a:pt x="85" y="48"/>
                      <a:pt x="85" y="48"/>
                      <a:pt x="85" y="48"/>
                    </a:cubicBezTo>
                    <a:cubicBezTo>
                      <a:pt x="86" y="47"/>
                      <a:pt x="87" y="47"/>
                      <a:pt x="87" y="47"/>
                    </a:cubicBezTo>
                    <a:cubicBezTo>
                      <a:pt x="88" y="47"/>
                      <a:pt x="89" y="47"/>
                      <a:pt x="90" y="48"/>
                    </a:cubicBezTo>
                    <a:cubicBezTo>
                      <a:pt x="90" y="48"/>
                      <a:pt x="91" y="48"/>
                      <a:pt x="91" y="48"/>
                    </a:cubicBezTo>
                    <a:cubicBezTo>
                      <a:pt x="92" y="49"/>
                      <a:pt x="92" y="49"/>
                      <a:pt x="92" y="49"/>
                    </a:cubicBezTo>
                    <a:cubicBezTo>
                      <a:pt x="93" y="49"/>
                      <a:pt x="95" y="50"/>
                      <a:pt x="96" y="50"/>
                    </a:cubicBezTo>
                    <a:cubicBezTo>
                      <a:pt x="97" y="50"/>
                      <a:pt x="97" y="50"/>
                      <a:pt x="97" y="50"/>
                    </a:cubicBezTo>
                    <a:cubicBezTo>
                      <a:pt x="98" y="51"/>
                      <a:pt x="98" y="51"/>
                      <a:pt x="98" y="51"/>
                    </a:cubicBezTo>
                    <a:cubicBezTo>
                      <a:pt x="98" y="50"/>
                      <a:pt x="98" y="50"/>
                      <a:pt x="98" y="50"/>
                    </a:cubicBezTo>
                    <a:cubicBezTo>
                      <a:pt x="98" y="50"/>
                      <a:pt x="98" y="48"/>
                      <a:pt x="98" y="48"/>
                    </a:cubicBezTo>
                    <a:cubicBezTo>
                      <a:pt x="98" y="47"/>
                      <a:pt x="98" y="47"/>
                      <a:pt x="98" y="47"/>
                    </a:cubicBezTo>
                    <a:cubicBezTo>
                      <a:pt x="100" y="46"/>
                      <a:pt x="100" y="46"/>
                      <a:pt x="100" y="46"/>
                    </a:cubicBezTo>
                    <a:cubicBezTo>
                      <a:pt x="99" y="45"/>
                      <a:pt x="98" y="45"/>
                      <a:pt x="97" y="45"/>
                    </a:cubicBezTo>
                    <a:cubicBezTo>
                      <a:pt x="95" y="45"/>
                      <a:pt x="93" y="46"/>
                      <a:pt x="92" y="48"/>
                    </a:cubicBezTo>
                    <a:cubicBezTo>
                      <a:pt x="91" y="46"/>
                      <a:pt x="90" y="44"/>
                      <a:pt x="88" y="43"/>
                    </a:cubicBezTo>
                    <a:cubicBezTo>
                      <a:pt x="88" y="43"/>
                      <a:pt x="88" y="43"/>
                      <a:pt x="88" y="43"/>
                    </a:cubicBezTo>
                    <a:cubicBezTo>
                      <a:pt x="88" y="43"/>
                      <a:pt x="87" y="44"/>
                      <a:pt x="86" y="45"/>
                    </a:cubicBezTo>
                    <a:cubicBezTo>
                      <a:pt x="83" y="47"/>
                      <a:pt x="79" y="49"/>
                      <a:pt x="75" y="50"/>
                    </a:cubicBezTo>
                    <a:cubicBezTo>
                      <a:pt x="75" y="49"/>
                      <a:pt x="75" y="49"/>
                      <a:pt x="75" y="49"/>
                    </a:cubicBezTo>
                    <a:cubicBezTo>
                      <a:pt x="77" y="49"/>
                      <a:pt x="77" y="48"/>
                      <a:pt x="78" y="47"/>
                    </a:cubicBezTo>
                    <a:cubicBezTo>
                      <a:pt x="78" y="46"/>
                      <a:pt x="78" y="46"/>
                      <a:pt x="78" y="46"/>
                    </a:cubicBezTo>
                    <a:cubicBezTo>
                      <a:pt x="78" y="46"/>
                      <a:pt x="79" y="46"/>
                      <a:pt x="79" y="46"/>
                    </a:cubicBezTo>
                    <a:cubicBezTo>
                      <a:pt x="78" y="44"/>
                      <a:pt x="75" y="44"/>
                      <a:pt x="73" y="43"/>
                    </a:cubicBezTo>
                    <a:cubicBezTo>
                      <a:pt x="75" y="43"/>
                      <a:pt x="74" y="38"/>
                      <a:pt x="72" y="38"/>
                    </a:cubicBezTo>
                    <a:cubicBezTo>
                      <a:pt x="67" y="37"/>
                      <a:pt x="63" y="36"/>
                      <a:pt x="58" y="34"/>
                    </a:cubicBezTo>
                    <a:cubicBezTo>
                      <a:pt x="58" y="33"/>
                      <a:pt x="59" y="33"/>
                      <a:pt x="60" y="33"/>
                    </a:cubicBezTo>
                    <a:cubicBezTo>
                      <a:pt x="62" y="33"/>
                      <a:pt x="64" y="34"/>
                      <a:pt x="66" y="34"/>
                    </a:cubicBezTo>
                    <a:cubicBezTo>
                      <a:pt x="73" y="36"/>
                      <a:pt x="81" y="36"/>
                      <a:pt x="88" y="36"/>
                    </a:cubicBezTo>
                    <a:cubicBezTo>
                      <a:pt x="90" y="32"/>
                      <a:pt x="97" y="31"/>
                      <a:pt x="101" y="30"/>
                    </a:cubicBezTo>
                    <a:cubicBezTo>
                      <a:pt x="104" y="29"/>
                      <a:pt x="106" y="29"/>
                      <a:pt x="105" y="26"/>
                    </a:cubicBezTo>
                    <a:cubicBezTo>
                      <a:pt x="104" y="23"/>
                      <a:pt x="103" y="24"/>
                      <a:pt x="101" y="23"/>
                    </a:cubicBezTo>
                    <a:cubicBezTo>
                      <a:pt x="96" y="21"/>
                      <a:pt x="91" y="22"/>
                      <a:pt x="87" y="20"/>
                    </a:cubicBezTo>
                    <a:cubicBezTo>
                      <a:pt x="88" y="20"/>
                      <a:pt x="88" y="20"/>
                      <a:pt x="88" y="20"/>
                    </a:cubicBezTo>
                    <a:cubicBezTo>
                      <a:pt x="89" y="18"/>
                      <a:pt x="88" y="16"/>
                      <a:pt x="87" y="15"/>
                    </a:cubicBezTo>
                    <a:cubicBezTo>
                      <a:pt x="87" y="14"/>
                      <a:pt x="86" y="14"/>
                      <a:pt x="86" y="14"/>
                    </a:cubicBezTo>
                    <a:cubicBezTo>
                      <a:pt x="84" y="14"/>
                      <a:pt x="81" y="16"/>
                      <a:pt x="80" y="16"/>
                    </a:cubicBezTo>
                    <a:cubicBezTo>
                      <a:pt x="80" y="15"/>
                      <a:pt x="80" y="14"/>
                      <a:pt x="80" y="13"/>
                    </a:cubicBezTo>
                    <a:cubicBezTo>
                      <a:pt x="77" y="14"/>
                      <a:pt x="74" y="15"/>
                      <a:pt x="72" y="16"/>
                    </a:cubicBezTo>
                    <a:cubicBezTo>
                      <a:pt x="72" y="16"/>
                      <a:pt x="72" y="15"/>
                      <a:pt x="73" y="15"/>
                    </a:cubicBezTo>
                    <a:cubicBezTo>
                      <a:pt x="70" y="13"/>
                      <a:pt x="66" y="9"/>
                      <a:pt x="63" y="9"/>
                    </a:cubicBezTo>
                    <a:cubicBezTo>
                      <a:pt x="62" y="9"/>
                      <a:pt x="61" y="10"/>
                      <a:pt x="60" y="12"/>
                    </a:cubicBezTo>
                    <a:cubicBezTo>
                      <a:pt x="59" y="13"/>
                      <a:pt x="54" y="19"/>
                      <a:pt x="55" y="21"/>
                    </a:cubicBezTo>
                    <a:cubicBezTo>
                      <a:pt x="57" y="24"/>
                      <a:pt x="53" y="27"/>
                      <a:pt x="50" y="28"/>
                    </a:cubicBezTo>
                    <a:cubicBezTo>
                      <a:pt x="51" y="25"/>
                      <a:pt x="51" y="25"/>
                      <a:pt x="53" y="23"/>
                    </a:cubicBezTo>
                    <a:cubicBezTo>
                      <a:pt x="53" y="22"/>
                      <a:pt x="53" y="22"/>
                      <a:pt x="53" y="22"/>
                    </a:cubicBezTo>
                    <a:cubicBezTo>
                      <a:pt x="52" y="22"/>
                      <a:pt x="50" y="23"/>
                      <a:pt x="49" y="23"/>
                    </a:cubicBezTo>
                    <a:cubicBezTo>
                      <a:pt x="48" y="23"/>
                      <a:pt x="47" y="24"/>
                      <a:pt x="45" y="24"/>
                    </a:cubicBezTo>
                    <a:cubicBezTo>
                      <a:pt x="45" y="24"/>
                      <a:pt x="44" y="24"/>
                      <a:pt x="44" y="23"/>
                    </a:cubicBezTo>
                    <a:cubicBezTo>
                      <a:pt x="42" y="22"/>
                      <a:pt x="44" y="22"/>
                      <a:pt x="45" y="21"/>
                    </a:cubicBezTo>
                    <a:cubicBezTo>
                      <a:pt x="49" y="18"/>
                      <a:pt x="51" y="19"/>
                      <a:pt x="52" y="14"/>
                    </a:cubicBezTo>
                    <a:cubicBezTo>
                      <a:pt x="50" y="15"/>
                      <a:pt x="47" y="15"/>
                      <a:pt x="44" y="16"/>
                    </a:cubicBezTo>
                    <a:cubicBezTo>
                      <a:pt x="44" y="16"/>
                      <a:pt x="44" y="16"/>
                      <a:pt x="44" y="16"/>
                    </a:cubicBezTo>
                    <a:cubicBezTo>
                      <a:pt x="45" y="16"/>
                      <a:pt x="46" y="15"/>
                      <a:pt x="46" y="15"/>
                    </a:cubicBezTo>
                    <a:cubicBezTo>
                      <a:pt x="46" y="15"/>
                      <a:pt x="45" y="14"/>
                      <a:pt x="44" y="13"/>
                    </a:cubicBezTo>
                    <a:cubicBezTo>
                      <a:pt x="46" y="12"/>
                      <a:pt x="46" y="11"/>
                      <a:pt x="47" y="11"/>
                    </a:cubicBezTo>
                    <a:cubicBezTo>
                      <a:pt x="48" y="11"/>
                      <a:pt x="48" y="11"/>
                      <a:pt x="49" y="11"/>
                    </a:cubicBezTo>
                    <a:cubicBezTo>
                      <a:pt x="50" y="12"/>
                      <a:pt x="50" y="12"/>
                      <a:pt x="51" y="12"/>
                    </a:cubicBezTo>
                    <a:cubicBezTo>
                      <a:pt x="51" y="12"/>
                      <a:pt x="51" y="12"/>
                      <a:pt x="52" y="11"/>
                    </a:cubicBezTo>
                    <a:cubicBezTo>
                      <a:pt x="53" y="11"/>
                      <a:pt x="55" y="10"/>
                      <a:pt x="56" y="9"/>
                    </a:cubicBezTo>
                    <a:cubicBezTo>
                      <a:pt x="57" y="7"/>
                      <a:pt x="57" y="5"/>
                      <a:pt x="54" y="4"/>
                    </a:cubicBezTo>
                    <a:cubicBezTo>
                      <a:pt x="50" y="3"/>
                      <a:pt x="45" y="1"/>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1" name="Freeform 359"/>
              <p:cNvSpPr/>
              <p:nvPr/>
            </p:nvSpPr>
            <p:spPr bwMode="auto">
              <a:xfrm>
                <a:off x="4088" y="1760"/>
                <a:ext cx="182" cy="194"/>
              </a:xfrm>
              <a:custGeom>
                <a:gdLst>
                  <a:gd name="T0" fmla="*/ 62 w 77"/>
                  <a:gd name="T1" fmla="*/ 5 h 82"/>
                  <a:gd name="T2" fmla="*/ 59 w 77"/>
                  <a:gd name="T3" fmla="*/ 7 h 82"/>
                  <a:gd name="T4" fmla="*/ 57 w 77"/>
                  <a:gd name="T5" fmla="*/ 8 h 82"/>
                  <a:gd name="T6" fmla="*/ 48 w 77"/>
                  <a:gd name="T7" fmla="*/ 13 h 82"/>
                  <a:gd name="T8" fmla="*/ 45 w 77"/>
                  <a:gd name="T9" fmla="*/ 16 h 82"/>
                  <a:gd name="T10" fmla="*/ 42 w 77"/>
                  <a:gd name="T11" fmla="*/ 17 h 82"/>
                  <a:gd name="T12" fmla="*/ 40 w 77"/>
                  <a:gd name="T13" fmla="*/ 19 h 82"/>
                  <a:gd name="T14" fmla="*/ 38 w 77"/>
                  <a:gd name="T15" fmla="*/ 20 h 82"/>
                  <a:gd name="T16" fmla="*/ 37 w 77"/>
                  <a:gd name="T17" fmla="*/ 21 h 82"/>
                  <a:gd name="T18" fmla="*/ 35 w 77"/>
                  <a:gd name="T19" fmla="*/ 21 h 82"/>
                  <a:gd name="T20" fmla="*/ 34 w 77"/>
                  <a:gd name="T21" fmla="*/ 21 h 82"/>
                  <a:gd name="T22" fmla="*/ 33 w 77"/>
                  <a:gd name="T23" fmla="*/ 21 h 82"/>
                  <a:gd name="T24" fmla="*/ 31 w 77"/>
                  <a:gd name="T25" fmla="*/ 21 h 82"/>
                  <a:gd name="T26" fmla="*/ 28 w 77"/>
                  <a:gd name="T27" fmla="*/ 20 h 82"/>
                  <a:gd name="T28" fmla="*/ 24 w 77"/>
                  <a:gd name="T29" fmla="*/ 18 h 82"/>
                  <a:gd name="T30" fmla="*/ 20 w 77"/>
                  <a:gd name="T31" fmla="*/ 17 h 82"/>
                  <a:gd name="T32" fmla="*/ 17 w 77"/>
                  <a:gd name="T33" fmla="*/ 14 h 82"/>
                  <a:gd name="T34" fmla="*/ 16 w 77"/>
                  <a:gd name="T35" fmla="*/ 14 h 82"/>
                  <a:gd name="T36" fmla="*/ 15 w 77"/>
                  <a:gd name="T37" fmla="*/ 13 h 82"/>
                  <a:gd name="T38" fmla="*/ 15 w 77"/>
                  <a:gd name="T39" fmla="*/ 13 h 82"/>
                  <a:gd name="T40" fmla="*/ 14 w 77"/>
                  <a:gd name="T41" fmla="*/ 15 h 82"/>
                  <a:gd name="T42" fmla="*/ 14 w 77"/>
                  <a:gd name="T43" fmla="*/ 19 h 82"/>
                  <a:gd name="T44" fmla="*/ 11 w 77"/>
                  <a:gd name="T45" fmla="*/ 29 h 82"/>
                  <a:gd name="T46" fmla="*/ 10 w 77"/>
                  <a:gd name="T47" fmla="*/ 35 h 82"/>
                  <a:gd name="T48" fmla="*/ 11 w 77"/>
                  <a:gd name="T49" fmla="*/ 39 h 82"/>
                  <a:gd name="T50" fmla="*/ 9 w 77"/>
                  <a:gd name="T51" fmla="*/ 49 h 82"/>
                  <a:gd name="T52" fmla="*/ 7 w 77"/>
                  <a:gd name="T53" fmla="*/ 56 h 82"/>
                  <a:gd name="T54" fmla="*/ 2 w 77"/>
                  <a:gd name="T55" fmla="*/ 77 h 82"/>
                  <a:gd name="T56" fmla="*/ 0 w 77"/>
                  <a:gd name="T57" fmla="*/ 78 h 82"/>
                  <a:gd name="T58" fmla="*/ 1 w 77"/>
                  <a:gd name="T59" fmla="*/ 79 h 82"/>
                  <a:gd name="T60" fmla="*/ 2 w 77"/>
                  <a:gd name="T61" fmla="*/ 79 h 82"/>
                  <a:gd name="T62" fmla="*/ 15 w 77"/>
                  <a:gd name="T63" fmla="*/ 81 h 82"/>
                  <a:gd name="T64" fmla="*/ 16 w 77"/>
                  <a:gd name="T65" fmla="*/ 81 h 82"/>
                  <a:gd name="T66" fmla="*/ 23 w 77"/>
                  <a:gd name="T67" fmla="*/ 79 h 82"/>
                  <a:gd name="T68" fmla="*/ 24 w 77"/>
                  <a:gd name="T69" fmla="*/ 78 h 82"/>
                  <a:gd name="T70" fmla="*/ 27 w 77"/>
                  <a:gd name="T71" fmla="*/ 74 h 82"/>
                  <a:gd name="T72" fmla="*/ 38 w 77"/>
                  <a:gd name="T73" fmla="*/ 67 h 82"/>
                  <a:gd name="T74" fmla="*/ 40 w 77"/>
                  <a:gd name="T75" fmla="*/ 67 h 82"/>
                  <a:gd name="T76" fmla="*/ 43 w 77"/>
                  <a:gd name="T77" fmla="*/ 66 h 82"/>
                  <a:gd name="T78" fmla="*/ 47 w 77"/>
                  <a:gd name="T79" fmla="*/ 65 h 82"/>
                  <a:gd name="T80" fmla="*/ 55 w 77"/>
                  <a:gd name="T81" fmla="*/ 57 h 82"/>
                  <a:gd name="T82" fmla="*/ 53 w 77"/>
                  <a:gd name="T83" fmla="*/ 55 h 82"/>
                  <a:gd name="T84" fmla="*/ 51 w 77"/>
                  <a:gd name="T85" fmla="*/ 54 h 82"/>
                  <a:gd name="T86" fmla="*/ 34 w 77"/>
                  <a:gd name="T87" fmla="*/ 35 h 82"/>
                  <a:gd name="T88" fmla="*/ 44 w 77"/>
                  <a:gd name="T89" fmla="*/ 32 h 82"/>
                  <a:gd name="T90" fmla="*/ 63 w 77"/>
                  <a:gd name="T91" fmla="*/ 26 h 82"/>
                  <a:gd name="T92" fmla="*/ 68 w 77"/>
                  <a:gd name="T93" fmla="*/ 25 h 82"/>
                  <a:gd name="T94" fmla="*/ 70 w 77"/>
                  <a:gd name="T95" fmla="*/ 24 h 82"/>
                  <a:gd name="T96" fmla="*/ 76 w 77"/>
                  <a:gd name="T97" fmla="*/ 21 h 82"/>
                  <a:gd name="T98" fmla="*/ 76 w 77"/>
                  <a:gd name="T99" fmla="*/ 20 h 8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 h="82">
                    <a:moveTo>
                      <a:pt x="71" y="0"/>
                    </a:moveTo>
                    <a:cubicBezTo>
                      <a:pt x="69" y="1"/>
                      <a:pt x="66" y="3"/>
                      <a:pt x="62" y="5"/>
                    </a:cubicBezTo>
                    <a:cubicBezTo>
                      <a:pt x="61" y="6"/>
                      <a:pt x="61" y="6"/>
                      <a:pt x="61" y="6"/>
                    </a:cubicBezTo>
                    <a:cubicBezTo>
                      <a:pt x="61" y="6"/>
                      <a:pt x="60" y="6"/>
                      <a:pt x="59" y="7"/>
                    </a:cubicBezTo>
                    <a:cubicBezTo>
                      <a:pt x="59" y="7"/>
                      <a:pt x="58" y="8"/>
                      <a:pt x="57" y="8"/>
                    </a:cubicBezTo>
                    <a:cubicBezTo>
                      <a:pt x="57" y="8"/>
                      <a:pt x="57" y="8"/>
                      <a:pt x="57" y="8"/>
                    </a:cubicBezTo>
                    <a:cubicBezTo>
                      <a:pt x="55" y="9"/>
                      <a:pt x="54" y="10"/>
                      <a:pt x="53" y="11"/>
                    </a:cubicBezTo>
                    <a:cubicBezTo>
                      <a:pt x="48" y="13"/>
                      <a:pt x="48" y="13"/>
                      <a:pt x="48" y="13"/>
                    </a:cubicBezTo>
                    <a:cubicBezTo>
                      <a:pt x="47" y="14"/>
                      <a:pt x="46" y="15"/>
                      <a:pt x="45" y="15"/>
                    </a:cubicBezTo>
                    <a:cubicBezTo>
                      <a:pt x="45" y="16"/>
                      <a:pt x="45" y="16"/>
                      <a:pt x="45" y="16"/>
                    </a:cubicBezTo>
                    <a:cubicBezTo>
                      <a:pt x="44" y="16"/>
                      <a:pt x="44" y="16"/>
                      <a:pt x="44" y="16"/>
                    </a:cubicBezTo>
                    <a:cubicBezTo>
                      <a:pt x="43" y="16"/>
                      <a:pt x="43" y="17"/>
                      <a:pt x="42" y="17"/>
                    </a:cubicBezTo>
                    <a:cubicBezTo>
                      <a:pt x="41" y="18"/>
                      <a:pt x="41" y="18"/>
                      <a:pt x="40" y="19"/>
                    </a:cubicBezTo>
                    <a:cubicBezTo>
                      <a:pt x="40" y="19"/>
                      <a:pt x="40" y="19"/>
                      <a:pt x="40" y="19"/>
                    </a:cubicBezTo>
                    <a:cubicBezTo>
                      <a:pt x="39" y="20"/>
                      <a:pt x="39" y="20"/>
                      <a:pt x="39" y="20"/>
                    </a:cubicBezTo>
                    <a:cubicBezTo>
                      <a:pt x="38" y="20"/>
                      <a:pt x="38" y="20"/>
                      <a:pt x="38" y="20"/>
                    </a:cubicBezTo>
                    <a:cubicBezTo>
                      <a:pt x="37" y="21"/>
                      <a:pt x="37" y="21"/>
                      <a:pt x="37" y="21"/>
                    </a:cubicBezTo>
                    <a:cubicBezTo>
                      <a:pt x="37" y="21"/>
                      <a:pt x="37" y="21"/>
                      <a:pt x="37" y="21"/>
                    </a:cubicBezTo>
                    <a:cubicBezTo>
                      <a:pt x="36" y="21"/>
                      <a:pt x="36" y="21"/>
                      <a:pt x="36" y="21"/>
                    </a:cubicBezTo>
                    <a:cubicBezTo>
                      <a:pt x="35" y="21"/>
                      <a:pt x="35" y="21"/>
                      <a:pt x="35" y="21"/>
                    </a:cubicBezTo>
                    <a:cubicBezTo>
                      <a:pt x="35" y="21"/>
                      <a:pt x="35" y="21"/>
                      <a:pt x="35" y="21"/>
                    </a:cubicBezTo>
                    <a:cubicBezTo>
                      <a:pt x="35" y="21"/>
                      <a:pt x="34" y="21"/>
                      <a:pt x="34" y="21"/>
                    </a:cubicBezTo>
                    <a:cubicBezTo>
                      <a:pt x="34" y="21"/>
                      <a:pt x="34" y="21"/>
                      <a:pt x="34" y="21"/>
                    </a:cubicBezTo>
                    <a:cubicBezTo>
                      <a:pt x="33" y="21"/>
                      <a:pt x="33" y="21"/>
                      <a:pt x="33" y="21"/>
                    </a:cubicBezTo>
                    <a:cubicBezTo>
                      <a:pt x="33" y="21"/>
                      <a:pt x="32" y="21"/>
                      <a:pt x="31" y="21"/>
                    </a:cubicBezTo>
                    <a:cubicBezTo>
                      <a:pt x="31" y="21"/>
                      <a:pt x="31" y="21"/>
                      <a:pt x="31" y="21"/>
                    </a:cubicBezTo>
                    <a:cubicBezTo>
                      <a:pt x="30" y="21"/>
                      <a:pt x="29" y="20"/>
                      <a:pt x="29" y="20"/>
                    </a:cubicBezTo>
                    <a:cubicBezTo>
                      <a:pt x="28" y="20"/>
                      <a:pt x="28" y="20"/>
                      <a:pt x="28" y="20"/>
                    </a:cubicBezTo>
                    <a:cubicBezTo>
                      <a:pt x="27" y="20"/>
                      <a:pt x="26" y="19"/>
                      <a:pt x="25" y="19"/>
                    </a:cubicBezTo>
                    <a:cubicBezTo>
                      <a:pt x="24" y="18"/>
                      <a:pt x="24" y="18"/>
                      <a:pt x="24" y="18"/>
                    </a:cubicBezTo>
                    <a:cubicBezTo>
                      <a:pt x="23" y="18"/>
                      <a:pt x="22" y="17"/>
                      <a:pt x="20" y="17"/>
                    </a:cubicBezTo>
                    <a:cubicBezTo>
                      <a:pt x="20" y="17"/>
                      <a:pt x="20" y="17"/>
                      <a:pt x="20" y="17"/>
                    </a:cubicBezTo>
                    <a:cubicBezTo>
                      <a:pt x="19" y="16"/>
                      <a:pt x="18" y="15"/>
                      <a:pt x="18" y="15"/>
                    </a:cubicBezTo>
                    <a:cubicBezTo>
                      <a:pt x="17" y="14"/>
                      <a:pt x="17" y="14"/>
                      <a:pt x="17" y="14"/>
                    </a:cubicBezTo>
                    <a:cubicBezTo>
                      <a:pt x="17" y="14"/>
                      <a:pt x="17" y="14"/>
                      <a:pt x="17" y="14"/>
                    </a:cubicBezTo>
                    <a:cubicBezTo>
                      <a:pt x="16" y="14"/>
                      <a:pt x="16" y="14"/>
                      <a:pt x="16" y="14"/>
                    </a:cubicBezTo>
                    <a:cubicBezTo>
                      <a:pt x="15" y="13"/>
                      <a:pt x="15" y="13"/>
                      <a:pt x="15" y="13"/>
                    </a:cubicBezTo>
                    <a:cubicBezTo>
                      <a:pt x="15" y="13"/>
                      <a:pt x="15" y="13"/>
                      <a:pt x="15" y="13"/>
                    </a:cubicBezTo>
                    <a:cubicBezTo>
                      <a:pt x="15" y="13"/>
                      <a:pt x="15" y="13"/>
                      <a:pt x="15" y="13"/>
                    </a:cubicBezTo>
                    <a:cubicBezTo>
                      <a:pt x="15" y="13"/>
                      <a:pt x="15" y="13"/>
                      <a:pt x="15" y="13"/>
                    </a:cubicBezTo>
                    <a:cubicBezTo>
                      <a:pt x="14" y="14"/>
                      <a:pt x="14" y="14"/>
                      <a:pt x="14" y="14"/>
                    </a:cubicBezTo>
                    <a:cubicBezTo>
                      <a:pt x="14" y="15"/>
                      <a:pt x="14" y="15"/>
                      <a:pt x="14" y="15"/>
                    </a:cubicBezTo>
                    <a:cubicBezTo>
                      <a:pt x="14" y="15"/>
                      <a:pt x="14" y="17"/>
                      <a:pt x="14" y="18"/>
                    </a:cubicBezTo>
                    <a:cubicBezTo>
                      <a:pt x="14" y="19"/>
                      <a:pt x="14" y="19"/>
                      <a:pt x="14" y="19"/>
                    </a:cubicBezTo>
                    <a:cubicBezTo>
                      <a:pt x="11" y="19"/>
                      <a:pt x="11" y="19"/>
                      <a:pt x="11" y="19"/>
                    </a:cubicBezTo>
                    <a:cubicBezTo>
                      <a:pt x="11" y="22"/>
                      <a:pt x="11" y="25"/>
                      <a:pt x="11" y="29"/>
                    </a:cubicBezTo>
                    <a:cubicBezTo>
                      <a:pt x="11" y="29"/>
                      <a:pt x="11" y="29"/>
                      <a:pt x="11" y="29"/>
                    </a:cubicBezTo>
                    <a:cubicBezTo>
                      <a:pt x="10" y="31"/>
                      <a:pt x="10" y="33"/>
                      <a:pt x="10" y="35"/>
                    </a:cubicBezTo>
                    <a:cubicBezTo>
                      <a:pt x="12" y="35"/>
                      <a:pt x="12" y="35"/>
                      <a:pt x="12" y="35"/>
                    </a:cubicBezTo>
                    <a:cubicBezTo>
                      <a:pt x="11" y="39"/>
                      <a:pt x="11" y="39"/>
                      <a:pt x="11" y="39"/>
                    </a:cubicBezTo>
                    <a:cubicBezTo>
                      <a:pt x="11" y="41"/>
                      <a:pt x="11" y="44"/>
                      <a:pt x="10" y="46"/>
                    </a:cubicBezTo>
                    <a:cubicBezTo>
                      <a:pt x="10" y="47"/>
                      <a:pt x="10" y="48"/>
                      <a:pt x="9" y="49"/>
                    </a:cubicBezTo>
                    <a:cubicBezTo>
                      <a:pt x="9" y="51"/>
                      <a:pt x="9" y="51"/>
                      <a:pt x="9" y="51"/>
                    </a:cubicBezTo>
                    <a:cubicBezTo>
                      <a:pt x="8" y="52"/>
                      <a:pt x="8" y="54"/>
                      <a:pt x="7" y="56"/>
                    </a:cubicBezTo>
                    <a:cubicBezTo>
                      <a:pt x="6" y="61"/>
                      <a:pt x="6" y="61"/>
                      <a:pt x="6" y="61"/>
                    </a:cubicBezTo>
                    <a:cubicBezTo>
                      <a:pt x="5" y="66"/>
                      <a:pt x="3" y="71"/>
                      <a:pt x="2" y="77"/>
                    </a:cubicBezTo>
                    <a:cubicBezTo>
                      <a:pt x="2" y="78"/>
                      <a:pt x="2" y="78"/>
                      <a:pt x="2" y="78"/>
                    </a:cubicBezTo>
                    <a:cubicBezTo>
                      <a:pt x="0" y="78"/>
                      <a:pt x="0" y="78"/>
                      <a:pt x="0" y="78"/>
                    </a:cubicBezTo>
                    <a:cubicBezTo>
                      <a:pt x="1" y="79"/>
                      <a:pt x="1" y="79"/>
                      <a:pt x="1" y="79"/>
                    </a:cubicBezTo>
                    <a:cubicBezTo>
                      <a:pt x="1" y="79"/>
                      <a:pt x="1" y="79"/>
                      <a:pt x="1" y="79"/>
                    </a:cubicBezTo>
                    <a:cubicBezTo>
                      <a:pt x="1" y="79"/>
                      <a:pt x="1" y="79"/>
                      <a:pt x="1" y="79"/>
                    </a:cubicBezTo>
                    <a:cubicBezTo>
                      <a:pt x="2" y="79"/>
                      <a:pt x="2" y="79"/>
                      <a:pt x="2" y="79"/>
                    </a:cubicBezTo>
                    <a:cubicBezTo>
                      <a:pt x="2" y="79"/>
                      <a:pt x="2" y="79"/>
                      <a:pt x="3" y="79"/>
                    </a:cubicBezTo>
                    <a:cubicBezTo>
                      <a:pt x="15" y="81"/>
                      <a:pt x="15" y="81"/>
                      <a:pt x="15" y="81"/>
                    </a:cubicBezTo>
                    <a:cubicBezTo>
                      <a:pt x="15" y="81"/>
                      <a:pt x="15" y="81"/>
                      <a:pt x="16" y="81"/>
                    </a:cubicBezTo>
                    <a:cubicBezTo>
                      <a:pt x="16" y="81"/>
                      <a:pt x="16" y="81"/>
                      <a:pt x="16" y="81"/>
                    </a:cubicBezTo>
                    <a:cubicBezTo>
                      <a:pt x="19" y="82"/>
                      <a:pt x="20" y="82"/>
                      <a:pt x="20" y="82"/>
                    </a:cubicBezTo>
                    <a:cubicBezTo>
                      <a:pt x="20" y="82"/>
                      <a:pt x="21" y="81"/>
                      <a:pt x="23" y="79"/>
                    </a:cubicBezTo>
                    <a:cubicBezTo>
                      <a:pt x="23" y="78"/>
                      <a:pt x="23" y="78"/>
                      <a:pt x="23" y="78"/>
                    </a:cubicBezTo>
                    <a:cubicBezTo>
                      <a:pt x="24" y="78"/>
                      <a:pt x="24" y="78"/>
                      <a:pt x="24" y="78"/>
                    </a:cubicBezTo>
                    <a:cubicBezTo>
                      <a:pt x="26" y="76"/>
                      <a:pt x="26" y="76"/>
                      <a:pt x="26" y="76"/>
                    </a:cubicBezTo>
                    <a:cubicBezTo>
                      <a:pt x="26" y="75"/>
                      <a:pt x="27" y="74"/>
                      <a:pt x="27" y="74"/>
                    </a:cubicBezTo>
                    <a:cubicBezTo>
                      <a:pt x="29" y="71"/>
                      <a:pt x="31" y="69"/>
                      <a:pt x="35" y="68"/>
                    </a:cubicBezTo>
                    <a:cubicBezTo>
                      <a:pt x="36" y="68"/>
                      <a:pt x="36" y="67"/>
                      <a:pt x="38" y="67"/>
                    </a:cubicBezTo>
                    <a:cubicBezTo>
                      <a:pt x="39" y="67"/>
                      <a:pt x="39" y="67"/>
                      <a:pt x="39" y="67"/>
                    </a:cubicBezTo>
                    <a:cubicBezTo>
                      <a:pt x="40" y="67"/>
                      <a:pt x="40" y="67"/>
                      <a:pt x="40" y="67"/>
                    </a:cubicBezTo>
                    <a:cubicBezTo>
                      <a:pt x="41" y="67"/>
                      <a:pt x="42" y="67"/>
                      <a:pt x="42" y="66"/>
                    </a:cubicBezTo>
                    <a:cubicBezTo>
                      <a:pt x="43" y="66"/>
                      <a:pt x="43" y="66"/>
                      <a:pt x="43" y="66"/>
                    </a:cubicBezTo>
                    <a:cubicBezTo>
                      <a:pt x="44" y="66"/>
                      <a:pt x="46" y="66"/>
                      <a:pt x="47" y="66"/>
                    </a:cubicBezTo>
                    <a:cubicBezTo>
                      <a:pt x="47" y="65"/>
                      <a:pt x="47" y="65"/>
                      <a:pt x="47" y="65"/>
                    </a:cubicBezTo>
                    <a:cubicBezTo>
                      <a:pt x="48" y="64"/>
                      <a:pt x="48" y="64"/>
                      <a:pt x="48" y="64"/>
                    </a:cubicBezTo>
                    <a:cubicBezTo>
                      <a:pt x="53" y="60"/>
                      <a:pt x="54" y="58"/>
                      <a:pt x="55" y="57"/>
                    </a:cubicBezTo>
                    <a:cubicBezTo>
                      <a:pt x="54" y="56"/>
                      <a:pt x="54" y="56"/>
                      <a:pt x="54" y="56"/>
                    </a:cubicBezTo>
                    <a:cubicBezTo>
                      <a:pt x="54" y="56"/>
                      <a:pt x="53" y="55"/>
                      <a:pt x="53" y="55"/>
                    </a:cubicBezTo>
                    <a:cubicBezTo>
                      <a:pt x="53" y="55"/>
                      <a:pt x="53" y="55"/>
                      <a:pt x="53" y="55"/>
                    </a:cubicBezTo>
                    <a:cubicBezTo>
                      <a:pt x="52" y="54"/>
                      <a:pt x="52" y="54"/>
                      <a:pt x="51" y="54"/>
                    </a:cubicBezTo>
                    <a:cubicBezTo>
                      <a:pt x="46" y="48"/>
                      <a:pt x="42" y="43"/>
                      <a:pt x="37" y="38"/>
                    </a:cubicBezTo>
                    <a:cubicBezTo>
                      <a:pt x="34" y="35"/>
                      <a:pt x="34" y="35"/>
                      <a:pt x="34" y="35"/>
                    </a:cubicBezTo>
                    <a:cubicBezTo>
                      <a:pt x="38" y="34"/>
                      <a:pt x="38" y="34"/>
                      <a:pt x="38" y="34"/>
                    </a:cubicBezTo>
                    <a:cubicBezTo>
                      <a:pt x="40" y="33"/>
                      <a:pt x="42" y="33"/>
                      <a:pt x="44" y="32"/>
                    </a:cubicBezTo>
                    <a:cubicBezTo>
                      <a:pt x="44" y="32"/>
                      <a:pt x="44" y="32"/>
                      <a:pt x="44" y="32"/>
                    </a:cubicBezTo>
                    <a:cubicBezTo>
                      <a:pt x="50" y="30"/>
                      <a:pt x="57" y="29"/>
                      <a:pt x="63" y="26"/>
                    </a:cubicBezTo>
                    <a:cubicBezTo>
                      <a:pt x="64" y="26"/>
                      <a:pt x="65" y="26"/>
                      <a:pt x="67" y="25"/>
                    </a:cubicBezTo>
                    <a:cubicBezTo>
                      <a:pt x="68" y="25"/>
                      <a:pt x="68" y="25"/>
                      <a:pt x="68" y="25"/>
                    </a:cubicBezTo>
                    <a:cubicBezTo>
                      <a:pt x="69" y="25"/>
                      <a:pt x="70" y="24"/>
                      <a:pt x="71" y="24"/>
                    </a:cubicBezTo>
                    <a:cubicBezTo>
                      <a:pt x="70" y="24"/>
                      <a:pt x="70" y="24"/>
                      <a:pt x="70" y="24"/>
                    </a:cubicBezTo>
                    <a:cubicBezTo>
                      <a:pt x="77" y="21"/>
                      <a:pt x="77" y="21"/>
                      <a:pt x="77" y="21"/>
                    </a:cubicBezTo>
                    <a:cubicBezTo>
                      <a:pt x="77" y="21"/>
                      <a:pt x="77" y="21"/>
                      <a:pt x="76" y="21"/>
                    </a:cubicBezTo>
                    <a:cubicBezTo>
                      <a:pt x="76" y="20"/>
                      <a:pt x="76" y="20"/>
                      <a:pt x="76" y="20"/>
                    </a:cubicBezTo>
                    <a:cubicBezTo>
                      <a:pt x="76" y="20"/>
                      <a:pt x="76" y="20"/>
                      <a:pt x="76" y="2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Freeform 360"/>
              <p:cNvSpPr/>
              <p:nvPr/>
            </p:nvSpPr>
            <p:spPr bwMode="auto">
              <a:xfrm>
                <a:off x="4265" y="1552"/>
                <a:ext cx="435" cy="409"/>
              </a:xfrm>
              <a:custGeom>
                <a:gdLst>
                  <a:gd name="T0" fmla="*/ 68 w 184"/>
                  <a:gd name="T1" fmla="*/ 6 h 173"/>
                  <a:gd name="T2" fmla="*/ 58 w 184"/>
                  <a:gd name="T3" fmla="*/ 15 h 173"/>
                  <a:gd name="T4" fmla="*/ 51 w 184"/>
                  <a:gd name="T5" fmla="*/ 18 h 173"/>
                  <a:gd name="T6" fmla="*/ 48 w 184"/>
                  <a:gd name="T7" fmla="*/ 31 h 173"/>
                  <a:gd name="T8" fmla="*/ 47 w 184"/>
                  <a:gd name="T9" fmla="*/ 42 h 173"/>
                  <a:gd name="T10" fmla="*/ 46 w 184"/>
                  <a:gd name="T11" fmla="*/ 52 h 173"/>
                  <a:gd name="T12" fmla="*/ 35 w 184"/>
                  <a:gd name="T13" fmla="*/ 66 h 173"/>
                  <a:gd name="T14" fmla="*/ 28 w 184"/>
                  <a:gd name="T15" fmla="*/ 70 h 173"/>
                  <a:gd name="T16" fmla="*/ 0 w 184"/>
                  <a:gd name="T17" fmla="*/ 86 h 173"/>
                  <a:gd name="T18" fmla="*/ 8 w 184"/>
                  <a:gd name="T19" fmla="*/ 106 h 173"/>
                  <a:gd name="T20" fmla="*/ 29 w 184"/>
                  <a:gd name="T21" fmla="*/ 112 h 173"/>
                  <a:gd name="T22" fmla="*/ 57 w 184"/>
                  <a:gd name="T23" fmla="*/ 128 h 173"/>
                  <a:gd name="T24" fmla="*/ 88 w 184"/>
                  <a:gd name="T25" fmla="*/ 152 h 173"/>
                  <a:gd name="T26" fmla="*/ 113 w 184"/>
                  <a:gd name="T27" fmla="*/ 170 h 173"/>
                  <a:gd name="T28" fmla="*/ 141 w 184"/>
                  <a:gd name="T29" fmla="*/ 173 h 173"/>
                  <a:gd name="T30" fmla="*/ 144 w 184"/>
                  <a:gd name="T31" fmla="*/ 172 h 173"/>
                  <a:gd name="T32" fmla="*/ 152 w 184"/>
                  <a:gd name="T33" fmla="*/ 160 h 173"/>
                  <a:gd name="T34" fmla="*/ 170 w 184"/>
                  <a:gd name="T35" fmla="*/ 152 h 173"/>
                  <a:gd name="T36" fmla="*/ 179 w 184"/>
                  <a:gd name="T37" fmla="*/ 155 h 173"/>
                  <a:gd name="T38" fmla="*/ 179 w 184"/>
                  <a:gd name="T39" fmla="*/ 156 h 173"/>
                  <a:gd name="T40" fmla="*/ 184 w 184"/>
                  <a:gd name="T41" fmla="*/ 158 h 173"/>
                  <a:gd name="T42" fmla="*/ 176 w 184"/>
                  <a:gd name="T43" fmla="*/ 150 h 173"/>
                  <a:gd name="T44" fmla="*/ 172 w 184"/>
                  <a:gd name="T45" fmla="*/ 142 h 173"/>
                  <a:gd name="T46" fmla="*/ 169 w 184"/>
                  <a:gd name="T47" fmla="*/ 137 h 173"/>
                  <a:gd name="T48" fmla="*/ 165 w 184"/>
                  <a:gd name="T49" fmla="*/ 135 h 173"/>
                  <a:gd name="T50" fmla="*/ 167 w 184"/>
                  <a:gd name="T51" fmla="*/ 122 h 173"/>
                  <a:gd name="T52" fmla="*/ 168 w 184"/>
                  <a:gd name="T53" fmla="*/ 119 h 173"/>
                  <a:gd name="T54" fmla="*/ 164 w 184"/>
                  <a:gd name="T55" fmla="*/ 112 h 173"/>
                  <a:gd name="T56" fmla="*/ 160 w 184"/>
                  <a:gd name="T57" fmla="*/ 106 h 173"/>
                  <a:gd name="T58" fmla="*/ 157 w 184"/>
                  <a:gd name="T59" fmla="*/ 106 h 173"/>
                  <a:gd name="T60" fmla="*/ 142 w 184"/>
                  <a:gd name="T61" fmla="*/ 96 h 173"/>
                  <a:gd name="T62" fmla="*/ 135 w 184"/>
                  <a:gd name="T63" fmla="*/ 94 h 173"/>
                  <a:gd name="T64" fmla="*/ 132 w 184"/>
                  <a:gd name="T65" fmla="*/ 85 h 173"/>
                  <a:gd name="T66" fmla="*/ 132 w 184"/>
                  <a:gd name="T67" fmla="*/ 82 h 173"/>
                  <a:gd name="T68" fmla="*/ 124 w 184"/>
                  <a:gd name="T69" fmla="*/ 75 h 173"/>
                  <a:gd name="T70" fmla="*/ 124 w 184"/>
                  <a:gd name="T71" fmla="*/ 66 h 173"/>
                  <a:gd name="T72" fmla="*/ 124 w 184"/>
                  <a:gd name="T73" fmla="*/ 64 h 173"/>
                  <a:gd name="T74" fmla="*/ 128 w 184"/>
                  <a:gd name="T75" fmla="*/ 56 h 173"/>
                  <a:gd name="T76" fmla="*/ 136 w 184"/>
                  <a:gd name="T77" fmla="*/ 45 h 173"/>
                  <a:gd name="T78" fmla="*/ 135 w 184"/>
                  <a:gd name="T79" fmla="*/ 43 h 173"/>
                  <a:gd name="T80" fmla="*/ 133 w 184"/>
                  <a:gd name="T81" fmla="*/ 37 h 173"/>
                  <a:gd name="T82" fmla="*/ 132 w 184"/>
                  <a:gd name="T83" fmla="*/ 34 h 173"/>
                  <a:gd name="T84" fmla="*/ 126 w 184"/>
                  <a:gd name="T85" fmla="*/ 30 h 173"/>
                  <a:gd name="T86" fmla="*/ 123 w 184"/>
                  <a:gd name="T87" fmla="*/ 30 h 173"/>
                  <a:gd name="T88" fmla="*/ 119 w 184"/>
                  <a:gd name="T89" fmla="*/ 21 h 173"/>
                  <a:gd name="T90" fmla="*/ 115 w 184"/>
                  <a:gd name="T91" fmla="*/ 18 h 173"/>
                  <a:gd name="T92" fmla="*/ 114 w 184"/>
                  <a:gd name="T93" fmla="*/ 13 h 173"/>
                  <a:gd name="T94" fmla="*/ 112 w 184"/>
                  <a:gd name="T95" fmla="*/ 8 h 173"/>
                  <a:gd name="T96" fmla="*/ 108 w 184"/>
                  <a:gd name="T97" fmla="*/ 7 h 173"/>
                  <a:gd name="T98" fmla="*/ 103 w 184"/>
                  <a:gd name="T99" fmla="*/ 8 h 173"/>
                  <a:gd name="T100" fmla="*/ 99 w 184"/>
                  <a:gd name="T101" fmla="*/ 3 h 173"/>
                  <a:gd name="T102" fmla="*/ 93 w 184"/>
                  <a:gd name="T103" fmla="*/ 2 h 173"/>
                  <a:gd name="T104" fmla="*/ 79 w 184"/>
                  <a:gd name="T105" fmla="*/ 0 h 1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4" h="173">
                    <a:moveTo>
                      <a:pt x="78" y="0"/>
                    </a:moveTo>
                    <a:cubicBezTo>
                      <a:pt x="75" y="0"/>
                      <a:pt x="73" y="1"/>
                      <a:pt x="70" y="3"/>
                    </a:cubicBezTo>
                    <a:cubicBezTo>
                      <a:pt x="68" y="5"/>
                      <a:pt x="68" y="5"/>
                      <a:pt x="68" y="5"/>
                    </a:cubicBezTo>
                    <a:cubicBezTo>
                      <a:pt x="68" y="6"/>
                      <a:pt x="68" y="6"/>
                      <a:pt x="68" y="6"/>
                    </a:cubicBezTo>
                    <a:cubicBezTo>
                      <a:pt x="68" y="6"/>
                      <a:pt x="68" y="6"/>
                      <a:pt x="67" y="7"/>
                    </a:cubicBezTo>
                    <a:cubicBezTo>
                      <a:pt x="67" y="7"/>
                      <a:pt x="67" y="7"/>
                      <a:pt x="67" y="7"/>
                    </a:cubicBezTo>
                    <a:cubicBezTo>
                      <a:pt x="65" y="9"/>
                      <a:pt x="65" y="9"/>
                      <a:pt x="65" y="9"/>
                    </a:cubicBezTo>
                    <a:cubicBezTo>
                      <a:pt x="62" y="11"/>
                      <a:pt x="60" y="13"/>
                      <a:pt x="58" y="15"/>
                    </a:cubicBezTo>
                    <a:cubicBezTo>
                      <a:pt x="57" y="16"/>
                      <a:pt x="56" y="17"/>
                      <a:pt x="55" y="17"/>
                    </a:cubicBezTo>
                    <a:cubicBezTo>
                      <a:pt x="56" y="22"/>
                      <a:pt x="56" y="22"/>
                      <a:pt x="56" y="22"/>
                    </a:cubicBezTo>
                    <a:cubicBezTo>
                      <a:pt x="54" y="18"/>
                      <a:pt x="54" y="18"/>
                      <a:pt x="54" y="18"/>
                    </a:cubicBezTo>
                    <a:cubicBezTo>
                      <a:pt x="51" y="18"/>
                      <a:pt x="51" y="18"/>
                      <a:pt x="51" y="18"/>
                    </a:cubicBezTo>
                    <a:cubicBezTo>
                      <a:pt x="51" y="18"/>
                      <a:pt x="50" y="18"/>
                      <a:pt x="50" y="18"/>
                    </a:cubicBezTo>
                    <a:cubicBezTo>
                      <a:pt x="49" y="19"/>
                      <a:pt x="49" y="19"/>
                      <a:pt x="49" y="19"/>
                    </a:cubicBezTo>
                    <a:cubicBezTo>
                      <a:pt x="49" y="19"/>
                      <a:pt x="49" y="20"/>
                      <a:pt x="48" y="20"/>
                    </a:cubicBezTo>
                    <a:cubicBezTo>
                      <a:pt x="47" y="24"/>
                      <a:pt x="47" y="28"/>
                      <a:pt x="48" y="31"/>
                    </a:cubicBezTo>
                    <a:cubicBezTo>
                      <a:pt x="48" y="32"/>
                      <a:pt x="48" y="32"/>
                      <a:pt x="48" y="32"/>
                    </a:cubicBezTo>
                    <a:cubicBezTo>
                      <a:pt x="48" y="34"/>
                      <a:pt x="48" y="36"/>
                      <a:pt x="48" y="38"/>
                    </a:cubicBezTo>
                    <a:cubicBezTo>
                      <a:pt x="48" y="39"/>
                      <a:pt x="48" y="41"/>
                      <a:pt x="47" y="42"/>
                    </a:cubicBezTo>
                    <a:cubicBezTo>
                      <a:pt x="47" y="42"/>
                      <a:pt x="47" y="42"/>
                      <a:pt x="47" y="42"/>
                    </a:cubicBezTo>
                    <a:cubicBezTo>
                      <a:pt x="47" y="44"/>
                      <a:pt x="46" y="46"/>
                      <a:pt x="46" y="48"/>
                    </a:cubicBezTo>
                    <a:cubicBezTo>
                      <a:pt x="46" y="49"/>
                      <a:pt x="46" y="50"/>
                      <a:pt x="46" y="51"/>
                    </a:cubicBezTo>
                    <a:cubicBezTo>
                      <a:pt x="46" y="52"/>
                      <a:pt x="46" y="52"/>
                      <a:pt x="46" y="52"/>
                    </a:cubicBezTo>
                    <a:cubicBezTo>
                      <a:pt x="46" y="52"/>
                      <a:pt x="46" y="52"/>
                      <a:pt x="46" y="52"/>
                    </a:cubicBezTo>
                    <a:cubicBezTo>
                      <a:pt x="46" y="53"/>
                      <a:pt x="46" y="55"/>
                      <a:pt x="45" y="56"/>
                    </a:cubicBezTo>
                    <a:cubicBezTo>
                      <a:pt x="45" y="59"/>
                      <a:pt x="43" y="61"/>
                      <a:pt x="42" y="63"/>
                    </a:cubicBezTo>
                    <a:cubicBezTo>
                      <a:pt x="41" y="64"/>
                      <a:pt x="39" y="65"/>
                      <a:pt x="37" y="66"/>
                    </a:cubicBezTo>
                    <a:cubicBezTo>
                      <a:pt x="37" y="66"/>
                      <a:pt x="36" y="66"/>
                      <a:pt x="35" y="66"/>
                    </a:cubicBezTo>
                    <a:cubicBezTo>
                      <a:pt x="34" y="67"/>
                      <a:pt x="33" y="67"/>
                      <a:pt x="32" y="68"/>
                    </a:cubicBezTo>
                    <a:cubicBezTo>
                      <a:pt x="29" y="70"/>
                      <a:pt x="29" y="70"/>
                      <a:pt x="29" y="70"/>
                    </a:cubicBezTo>
                    <a:cubicBezTo>
                      <a:pt x="30" y="72"/>
                      <a:pt x="30" y="72"/>
                      <a:pt x="30" y="72"/>
                    </a:cubicBezTo>
                    <a:cubicBezTo>
                      <a:pt x="28" y="70"/>
                      <a:pt x="28" y="70"/>
                      <a:pt x="28" y="70"/>
                    </a:cubicBezTo>
                    <a:cubicBezTo>
                      <a:pt x="24" y="72"/>
                      <a:pt x="24" y="72"/>
                      <a:pt x="24" y="72"/>
                    </a:cubicBezTo>
                    <a:cubicBezTo>
                      <a:pt x="21" y="74"/>
                      <a:pt x="18" y="76"/>
                      <a:pt x="16" y="77"/>
                    </a:cubicBezTo>
                    <a:cubicBezTo>
                      <a:pt x="12" y="79"/>
                      <a:pt x="7" y="82"/>
                      <a:pt x="3" y="84"/>
                    </a:cubicBezTo>
                    <a:cubicBezTo>
                      <a:pt x="0" y="86"/>
                      <a:pt x="0" y="86"/>
                      <a:pt x="0" y="86"/>
                    </a:cubicBezTo>
                    <a:cubicBezTo>
                      <a:pt x="1" y="86"/>
                      <a:pt x="1" y="86"/>
                      <a:pt x="1" y="86"/>
                    </a:cubicBezTo>
                    <a:cubicBezTo>
                      <a:pt x="5" y="105"/>
                      <a:pt x="5" y="105"/>
                      <a:pt x="5" y="105"/>
                    </a:cubicBezTo>
                    <a:cubicBezTo>
                      <a:pt x="5" y="105"/>
                      <a:pt x="6" y="106"/>
                      <a:pt x="7" y="106"/>
                    </a:cubicBezTo>
                    <a:cubicBezTo>
                      <a:pt x="8" y="106"/>
                      <a:pt x="8" y="106"/>
                      <a:pt x="8" y="106"/>
                    </a:cubicBezTo>
                    <a:cubicBezTo>
                      <a:pt x="9" y="107"/>
                      <a:pt x="9" y="107"/>
                      <a:pt x="9" y="107"/>
                    </a:cubicBezTo>
                    <a:cubicBezTo>
                      <a:pt x="11" y="109"/>
                      <a:pt x="11" y="109"/>
                      <a:pt x="11" y="109"/>
                    </a:cubicBezTo>
                    <a:cubicBezTo>
                      <a:pt x="10" y="109"/>
                      <a:pt x="10" y="109"/>
                      <a:pt x="10" y="109"/>
                    </a:cubicBezTo>
                    <a:cubicBezTo>
                      <a:pt x="29" y="112"/>
                      <a:pt x="29" y="112"/>
                      <a:pt x="29" y="112"/>
                    </a:cubicBezTo>
                    <a:cubicBezTo>
                      <a:pt x="31" y="113"/>
                      <a:pt x="33" y="114"/>
                      <a:pt x="35" y="116"/>
                    </a:cubicBezTo>
                    <a:cubicBezTo>
                      <a:pt x="35" y="116"/>
                      <a:pt x="36" y="116"/>
                      <a:pt x="36" y="117"/>
                    </a:cubicBezTo>
                    <a:cubicBezTo>
                      <a:pt x="41" y="120"/>
                      <a:pt x="47" y="123"/>
                      <a:pt x="52" y="126"/>
                    </a:cubicBezTo>
                    <a:cubicBezTo>
                      <a:pt x="53" y="126"/>
                      <a:pt x="55" y="127"/>
                      <a:pt x="57" y="128"/>
                    </a:cubicBezTo>
                    <a:cubicBezTo>
                      <a:pt x="62" y="131"/>
                      <a:pt x="62" y="131"/>
                      <a:pt x="62" y="131"/>
                    </a:cubicBezTo>
                    <a:cubicBezTo>
                      <a:pt x="66" y="134"/>
                      <a:pt x="71" y="138"/>
                      <a:pt x="75" y="141"/>
                    </a:cubicBezTo>
                    <a:cubicBezTo>
                      <a:pt x="78" y="143"/>
                      <a:pt x="80" y="146"/>
                      <a:pt x="82" y="148"/>
                    </a:cubicBezTo>
                    <a:cubicBezTo>
                      <a:pt x="84" y="149"/>
                      <a:pt x="86" y="150"/>
                      <a:pt x="88" y="152"/>
                    </a:cubicBezTo>
                    <a:cubicBezTo>
                      <a:pt x="96" y="158"/>
                      <a:pt x="96" y="158"/>
                      <a:pt x="96" y="158"/>
                    </a:cubicBezTo>
                    <a:cubicBezTo>
                      <a:pt x="98" y="160"/>
                      <a:pt x="100" y="161"/>
                      <a:pt x="102" y="163"/>
                    </a:cubicBezTo>
                    <a:cubicBezTo>
                      <a:pt x="105" y="165"/>
                      <a:pt x="108" y="167"/>
                      <a:pt x="111" y="170"/>
                    </a:cubicBezTo>
                    <a:cubicBezTo>
                      <a:pt x="112" y="170"/>
                      <a:pt x="112" y="170"/>
                      <a:pt x="113" y="170"/>
                    </a:cubicBezTo>
                    <a:cubicBezTo>
                      <a:pt x="115" y="170"/>
                      <a:pt x="115" y="170"/>
                      <a:pt x="115" y="170"/>
                    </a:cubicBezTo>
                    <a:cubicBezTo>
                      <a:pt x="140" y="173"/>
                      <a:pt x="140" y="173"/>
                      <a:pt x="140" y="173"/>
                    </a:cubicBezTo>
                    <a:cubicBezTo>
                      <a:pt x="141" y="173"/>
                      <a:pt x="141" y="173"/>
                      <a:pt x="141" y="173"/>
                    </a:cubicBezTo>
                    <a:cubicBezTo>
                      <a:pt x="141" y="173"/>
                      <a:pt x="141" y="173"/>
                      <a:pt x="141" y="173"/>
                    </a:cubicBezTo>
                    <a:cubicBezTo>
                      <a:pt x="142" y="173"/>
                      <a:pt x="142" y="173"/>
                      <a:pt x="143" y="173"/>
                    </a:cubicBezTo>
                    <a:cubicBezTo>
                      <a:pt x="143" y="173"/>
                      <a:pt x="143" y="173"/>
                      <a:pt x="143" y="173"/>
                    </a:cubicBezTo>
                    <a:cubicBezTo>
                      <a:pt x="143" y="173"/>
                      <a:pt x="143" y="173"/>
                      <a:pt x="143" y="173"/>
                    </a:cubicBezTo>
                    <a:cubicBezTo>
                      <a:pt x="143" y="172"/>
                      <a:pt x="144" y="172"/>
                      <a:pt x="144" y="172"/>
                    </a:cubicBezTo>
                    <a:cubicBezTo>
                      <a:pt x="145" y="172"/>
                      <a:pt x="145" y="172"/>
                      <a:pt x="145" y="172"/>
                    </a:cubicBezTo>
                    <a:cubicBezTo>
                      <a:pt x="146" y="168"/>
                      <a:pt x="148" y="165"/>
                      <a:pt x="150" y="162"/>
                    </a:cubicBezTo>
                    <a:cubicBezTo>
                      <a:pt x="151" y="162"/>
                      <a:pt x="151" y="161"/>
                      <a:pt x="151" y="161"/>
                    </a:cubicBezTo>
                    <a:cubicBezTo>
                      <a:pt x="152" y="160"/>
                      <a:pt x="152" y="160"/>
                      <a:pt x="152" y="160"/>
                    </a:cubicBezTo>
                    <a:cubicBezTo>
                      <a:pt x="153" y="157"/>
                      <a:pt x="154" y="155"/>
                      <a:pt x="157" y="153"/>
                    </a:cubicBezTo>
                    <a:cubicBezTo>
                      <a:pt x="158" y="152"/>
                      <a:pt x="160" y="151"/>
                      <a:pt x="162" y="151"/>
                    </a:cubicBezTo>
                    <a:cubicBezTo>
                      <a:pt x="162" y="151"/>
                      <a:pt x="163" y="151"/>
                      <a:pt x="164" y="151"/>
                    </a:cubicBezTo>
                    <a:cubicBezTo>
                      <a:pt x="166" y="151"/>
                      <a:pt x="168" y="151"/>
                      <a:pt x="170" y="152"/>
                    </a:cubicBezTo>
                    <a:cubicBezTo>
                      <a:pt x="170" y="150"/>
                      <a:pt x="170" y="150"/>
                      <a:pt x="170" y="150"/>
                    </a:cubicBezTo>
                    <a:cubicBezTo>
                      <a:pt x="174" y="152"/>
                      <a:pt x="174" y="152"/>
                      <a:pt x="174" y="152"/>
                    </a:cubicBezTo>
                    <a:cubicBezTo>
                      <a:pt x="175" y="153"/>
                      <a:pt x="177" y="154"/>
                      <a:pt x="179" y="155"/>
                    </a:cubicBezTo>
                    <a:cubicBezTo>
                      <a:pt x="179" y="155"/>
                      <a:pt x="179" y="155"/>
                      <a:pt x="179" y="155"/>
                    </a:cubicBezTo>
                    <a:cubicBezTo>
                      <a:pt x="179" y="155"/>
                      <a:pt x="179" y="155"/>
                      <a:pt x="179" y="155"/>
                    </a:cubicBezTo>
                    <a:cubicBezTo>
                      <a:pt x="179" y="155"/>
                      <a:pt x="179" y="155"/>
                      <a:pt x="179" y="155"/>
                    </a:cubicBezTo>
                    <a:cubicBezTo>
                      <a:pt x="179" y="155"/>
                      <a:pt x="179" y="155"/>
                      <a:pt x="179" y="155"/>
                    </a:cubicBezTo>
                    <a:cubicBezTo>
                      <a:pt x="179" y="156"/>
                      <a:pt x="179" y="156"/>
                      <a:pt x="179" y="156"/>
                    </a:cubicBezTo>
                    <a:cubicBezTo>
                      <a:pt x="181" y="158"/>
                      <a:pt x="181" y="158"/>
                      <a:pt x="181" y="158"/>
                    </a:cubicBezTo>
                    <a:cubicBezTo>
                      <a:pt x="182" y="158"/>
                      <a:pt x="182" y="158"/>
                      <a:pt x="183" y="158"/>
                    </a:cubicBezTo>
                    <a:cubicBezTo>
                      <a:pt x="184" y="158"/>
                      <a:pt x="184" y="158"/>
                      <a:pt x="184" y="158"/>
                    </a:cubicBezTo>
                    <a:cubicBezTo>
                      <a:pt x="184" y="158"/>
                      <a:pt x="184" y="158"/>
                      <a:pt x="184" y="158"/>
                    </a:cubicBezTo>
                    <a:cubicBezTo>
                      <a:pt x="182" y="156"/>
                      <a:pt x="180" y="155"/>
                      <a:pt x="179" y="153"/>
                    </a:cubicBezTo>
                    <a:cubicBezTo>
                      <a:pt x="179" y="153"/>
                      <a:pt x="179" y="153"/>
                      <a:pt x="179" y="153"/>
                    </a:cubicBezTo>
                    <a:cubicBezTo>
                      <a:pt x="178" y="152"/>
                      <a:pt x="178" y="152"/>
                      <a:pt x="178" y="152"/>
                    </a:cubicBezTo>
                    <a:cubicBezTo>
                      <a:pt x="178" y="151"/>
                      <a:pt x="177" y="151"/>
                      <a:pt x="176" y="150"/>
                    </a:cubicBezTo>
                    <a:cubicBezTo>
                      <a:pt x="175" y="149"/>
                      <a:pt x="175" y="149"/>
                      <a:pt x="174" y="148"/>
                    </a:cubicBezTo>
                    <a:cubicBezTo>
                      <a:pt x="173" y="148"/>
                      <a:pt x="172" y="147"/>
                      <a:pt x="172" y="145"/>
                    </a:cubicBezTo>
                    <a:cubicBezTo>
                      <a:pt x="171" y="145"/>
                      <a:pt x="171" y="145"/>
                      <a:pt x="171" y="145"/>
                    </a:cubicBezTo>
                    <a:cubicBezTo>
                      <a:pt x="171" y="144"/>
                      <a:pt x="171" y="143"/>
                      <a:pt x="172" y="142"/>
                    </a:cubicBezTo>
                    <a:cubicBezTo>
                      <a:pt x="172" y="141"/>
                      <a:pt x="172" y="141"/>
                      <a:pt x="172" y="141"/>
                    </a:cubicBezTo>
                    <a:cubicBezTo>
                      <a:pt x="172" y="140"/>
                      <a:pt x="172" y="138"/>
                      <a:pt x="172" y="137"/>
                    </a:cubicBezTo>
                    <a:cubicBezTo>
                      <a:pt x="172" y="137"/>
                      <a:pt x="172" y="137"/>
                      <a:pt x="172" y="137"/>
                    </a:cubicBezTo>
                    <a:cubicBezTo>
                      <a:pt x="171" y="137"/>
                      <a:pt x="170" y="137"/>
                      <a:pt x="169" y="137"/>
                    </a:cubicBezTo>
                    <a:cubicBezTo>
                      <a:pt x="168" y="137"/>
                      <a:pt x="168" y="137"/>
                      <a:pt x="168" y="137"/>
                    </a:cubicBezTo>
                    <a:cubicBezTo>
                      <a:pt x="168" y="137"/>
                      <a:pt x="167" y="137"/>
                      <a:pt x="167" y="137"/>
                    </a:cubicBezTo>
                    <a:cubicBezTo>
                      <a:pt x="165" y="137"/>
                      <a:pt x="165" y="137"/>
                      <a:pt x="165" y="137"/>
                    </a:cubicBezTo>
                    <a:cubicBezTo>
                      <a:pt x="165" y="135"/>
                      <a:pt x="165" y="135"/>
                      <a:pt x="165" y="135"/>
                    </a:cubicBezTo>
                    <a:cubicBezTo>
                      <a:pt x="165" y="133"/>
                      <a:pt x="165" y="131"/>
                      <a:pt x="165" y="128"/>
                    </a:cubicBezTo>
                    <a:cubicBezTo>
                      <a:pt x="165" y="127"/>
                      <a:pt x="165" y="126"/>
                      <a:pt x="166" y="125"/>
                    </a:cubicBezTo>
                    <a:cubicBezTo>
                      <a:pt x="166" y="124"/>
                      <a:pt x="166" y="124"/>
                      <a:pt x="166" y="123"/>
                    </a:cubicBezTo>
                    <a:cubicBezTo>
                      <a:pt x="167" y="122"/>
                      <a:pt x="167" y="122"/>
                      <a:pt x="167" y="122"/>
                    </a:cubicBezTo>
                    <a:cubicBezTo>
                      <a:pt x="167" y="121"/>
                      <a:pt x="167" y="121"/>
                      <a:pt x="167" y="120"/>
                    </a:cubicBezTo>
                    <a:cubicBezTo>
                      <a:pt x="163" y="118"/>
                      <a:pt x="163" y="118"/>
                      <a:pt x="163" y="118"/>
                    </a:cubicBezTo>
                    <a:cubicBezTo>
                      <a:pt x="168" y="119"/>
                      <a:pt x="168" y="119"/>
                      <a:pt x="168" y="119"/>
                    </a:cubicBezTo>
                    <a:cubicBezTo>
                      <a:pt x="168" y="119"/>
                      <a:pt x="168" y="119"/>
                      <a:pt x="168" y="119"/>
                    </a:cubicBezTo>
                    <a:cubicBezTo>
                      <a:pt x="168" y="119"/>
                      <a:pt x="168" y="119"/>
                      <a:pt x="168" y="119"/>
                    </a:cubicBezTo>
                    <a:cubicBezTo>
                      <a:pt x="168" y="118"/>
                      <a:pt x="168" y="118"/>
                      <a:pt x="168" y="118"/>
                    </a:cubicBezTo>
                    <a:cubicBezTo>
                      <a:pt x="168" y="118"/>
                      <a:pt x="168" y="117"/>
                      <a:pt x="166" y="115"/>
                    </a:cubicBezTo>
                    <a:cubicBezTo>
                      <a:pt x="165" y="114"/>
                      <a:pt x="164" y="113"/>
                      <a:pt x="164" y="112"/>
                    </a:cubicBezTo>
                    <a:cubicBezTo>
                      <a:pt x="163" y="112"/>
                      <a:pt x="163" y="112"/>
                      <a:pt x="163" y="112"/>
                    </a:cubicBezTo>
                    <a:cubicBezTo>
                      <a:pt x="159" y="114"/>
                      <a:pt x="159" y="114"/>
                      <a:pt x="159" y="114"/>
                    </a:cubicBezTo>
                    <a:cubicBezTo>
                      <a:pt x="163" y="110"/>
                      <a:pt x="163" y="110"/>
                      <a:pt x="163" y="110"/>
                    </a:cubicBezTo>
                    <a:cubicBezTo>
                      <a:pt x="162" y="109"/>
                      <a:pt x="161" y="107"/>
                      <a:pt x="160" y="106"/>
                    </a:cubicBezTo>
                    <a:cubicBezTo>
                      <a:pt x="160" y="106"/>
                      <a:pt x="159" y="106"/>
                      <a:pt x="159" y="106"/>
                    </a:cubicBezTo>
                    <a:cubicBezTo>
                      <a:pt x="159" y="106"/>
                      <a:pt x="159" y="106"/>
                      <a:pt x="159" y="106"/>
                    </a:cubicBezTo>
                    <a:cubicBezTo>
                      <a:pt x="159" y="106"/>
                      <a:pt x="158" y="106"/>
                      <a:pt x="158" y="106"/>
                    </a:cubicBezTo>
                    <a:cubicBezTo>
                      <a:pt x="158" y="106"/>
                      <a:pt x="157" y="106"/>
                      <a:pt x="157" y="106"/>
                    </a:cubicBezTo>
                    <a:cubicBezTo>
                      <a:pt x="156" y="106"/>
                      <a:pt x="156" y="106"/>
                      <a:pt x="155" y="105"/>
                    </a:cubicBezTo>
                    <a:cubicBezTo>
                      <a:pt x="155" y="105"/>
                      <a:pt x="154" y="105"/>
                      <a:pt x="154" y="104"/>
                    </a:cubicBezTo>
                    <a:cubicBezTo>
                      <a:pt x="145" y="98"/>
                      <a:pt x="145" y="98"/>
                      <a:pt x="145" y="98"/>
                    </a:cubicBezTo>
                    <a:cubicBezTo>
                      <a:pt x="144" y="97"/>
                      <a:pt x="143" y="97"/>
                      <a:pt x="142" y="96"/>
                    </a:cubicBezTo>
                    <a:cubicBezTo>
                      <a:pt x="141" y="96"/>
                      <a:pt x="141" y="96"/>
                      <a:pt x="140" y="95"/>
                    </a:cubicBezTo>
                    <a:cubicBezTo>
                      <a:pt x="139" y="95"/>
                      <a:pt x="139" y="95"/>
                      <a:pt x="139" y="95"/>
                    </a:cubicBezTo>
                    <a:cubicBezTo>
                      <a:pt x="138" y="95"/>
                      <a:pt x="137" y="95"/>
                      <a:pt x="136" y="95"/>
                    </a:cubicBezTo>
                    <a:cubicBezTo>
                      <a:pt x="135" y="94"/>
                      <a:pt x="135" y="94"/>
                      <a:pt x="135" y="94"/>
                    </a:cubicBezTo>
                    <a:cubicBezTo>
                      <a:pt x="135" y="94"/>
                      <a:pt x="134" y="93"/>
                      <a:pt x="134" y="92"/>
                    </a:cubicBezTo>
                    <a:cubicBezTo>
                      <a:pt x="133" y="90"/>
                      <a:pt x="133" y="89"/>
                      <a:pt x="133" y="88"/>
                    </a:cubicBezTo>
                    <a:cubicBezTo>
                      <a:pt x="133" y="87"/>
                      <a:pt x="133" y="87"/>
                      <a:pt x="133" y="87"/>
                    </a:cubicBezTo>
                    <a:cubicBezTo>
                      <a:pt x="133" y="86"/>
                      <a:pt x="132" y="85"/>
                      <a:pt x="132" y="85"/>
                    </a:cubicBezTo>
                    <a:cubicBezTo>
                      <a:pt x="132" y="85"/>
                      <a:pt x="132" y="84"/>
                      <a:pt x="132" y="83"/>
                    </a:cubicBezTo>
                    <a:cubicBezTo>
                      <a:pt x="132" y="83"/>
                      <a:pt x="132" y="83"/>
                      <a:pt x="132" y="83"/>
                    </a:cubicBezTo>
                    <a:cubicBezTo>
                      <a:pt x="132" y="82"/>
                      <a:pt x="132" y="82"/>
                      <a:pt x="132" y="82"/>
                    </a:cubicBezTo>
                    <a:cubicBezTo>
                      <a:pt x="132" y="82"/>
                      <a:pt x="132" y="82"/>
                      <a:pt x="132" y="82"/>
                    </a:cubicBezTo>
                    <a:cubicBezTo>
                      <a:pt x="131" y="82"/>
                      <a:pt x="131" y="82"/>
                      <a:pt x="131" y="82"/>
                    </a:cubicBezTo>
                    <a:cubicBezTo>
                      <a:pt x="130" y="82"/>
                      <a:pt x="129" y="81"/>
                      <a:pt x="128" y="80"/>
                    </a:cubicBezTo>
                    <a:cubicBezTo>
                      <a:pt x="128" y="80"/>
                      <a:pt x="128" y="80"/>
                      <a:pt x="128" y="80"/>
                    </a:cubicBezTo>
                    <a:cubicBezTo>
                      <a:pt x="124" y="75"/>
                      <a:pt x="124" y="75"/>
                      <a:pt x="124" y="75"/>
                    </a:cubicBezTo>
                    <a:cubicBezTo>
                      <a:pt x="123" y="75"/>
                      <a:pt x="123" y="74"/>
                      <a:pt x="123" y="74"/>
                    </a:cubicBezTo>
                    <a:cubicBezTo>
                      <a:pt x="122" y="73"/>
                      <a:pt x="121" y="72"/>
                      <a:pt x="122" y="71"/>
                    </a:cubicBezTo>
                    <a:cubicBezTo>
                      <a:pt x="122" y="70"/>
                      <a:pt x="122" y="70"/>
                      <a:pt x="122" y="70"/>
                    </a:cubicBezTo>
                    <a:cubicBezTo>
                      <a:pt x="123" y="68"/>
                      <a:pt x="123" y="67"/>
                      <a:pt x="124" y="66"/>
                    </a:cubicBezTo>
                    <a:cubicBezTo>
                      <a:pt x="124" y="65"/>
                      <a:pt x="124" y="65"/>
                      <a:pt x="124" y="65"/>
                    </a:cubicBezTo>
                    <a:cubicBezTo>
                      <a:pt x="124" y="65"/>
                      <a:pt x="124" y="65"/>
                      <a:pt x="124" y="65"/>
                    </a:cubicBezTo>
                    <a:cubicBezTo>
                      <a:pt x="124" y="64"/>
                      <a:pt x="124" y="64"/>
                      <a:pt x="124" y="64"/>
                    </a:cubicBezTo>
                    <a:cubicBezTo>
                      <a:pt x="124" y="64"/>
                      <a:pt x="124" y="64"/>
                      <a:pt x="124" y="64"/>
                    </a:cubicBezTo>
                    <a:cubicBezTo>
                      <a:pt x="123" y="63"/>
                      <a:pt x="123" y="62"/>
                      <a:pt x="123" y="61"/>
                    </a:cubicBezTo>
                    <a:cubicBezTo>
                      <a:pt x="122" y="60"/>
                      <a:pt x="122" y="60"/>
                      <a:pt x="122" y="60"/>
                    </a:cubicBezTo>
                    <a:cubicBezTo>
                      <a:pt x="127" y="55"/>
                      <a:pt x="127" y="55"/>
                      <a:pt x="127" y="55"/>
                    </a:cubicBezTo>
                    <a:cubicBezTo>
                      <a:pt x="128" y="56"/>
                      <a:pt x="128" y="56"/>
                      <a:pt x="128" y="56"/>
                    </a:cubicBezTo>
                    <a:cubicBezTo>
                      <a:pt x="128" y="55"/>
                      <a:pt x="128" y="55"/>
                      <a:pt x="128" y="55"/>
                    </a:cubicBezTo>
                    <a:cubicBezTo>
                      <a:pt x="128" y="52"/>
                      <a:pt x="129" y="50"/>
                      <a:pt x="131" y="47"/>
                    </a:cubicBezTo>
                    <a:cubicBezTo>
                      <a:pt x="132" y="47"/>
                      <a:pt x="132" y="47"/>
                      <a:pt x="132" y="47"/>
                    </a:cubicBezTo>
                    <a:cubicBezTo>
                      <a:pt x="133" y="46"/>
                      <a:pt x="134" y="46"/>
                      <a:pt x="136" y="45"/>
                    </a:cubicBezTo>
                    <a:cubicBezTo>
                      <a:pt x="136" y="45"/>
                      <a:pt x="136" y="45"/>
                      <a:pt x="136" y="45"/>
                    </a:cubicBezTo>
                    <a:cubicBezTo>
                      <a:pt x="136" y="45"/>
                      <a:pt x="136" y="45"/>
                      <a:pt x="136" y="45"/>
                    </a:cubicBezTo>
                    <a:cubicBezTo>
                      <a:pt x="136" y="45"/>
                      <a:pt x="136" y="44"/>
                      <a:pt x="135" y="43"/>
                    </a:cubicBezTo>
                    <a:cubicBezTo>
                      <a:pt x="135" y="43"/>
                      <a:pt x="135" y="43"/>
                      <a:pt x="135" y="43"/>
                    </a:cubicBezTo>
                    <a:cubicBezTo>
                      <a:pt x="134" y="42"/>
                      <a:pt x="134" y="42"/>
                      <a:pt x="134" y="41"/>
                    </a:cubicBezTo>
                    <a:cubicBezTo>
                      <a:pt x="134" y="41"/>
                      <a:pt x="134" y="41"/>
                      <a:pt x="134" y="41"/>
                    </a:cubicBezTo>
                    <a:cubicBezTo>
                      <a:pt x="133" y="40"/>
                      <a:pt x="133" y="39"/>
                      <a:pt x="133" y="38"/>
                    </a:cubicBezTo>
                    <a:cubicBezTo>
                      <a:pt x="133" y="37"/>
                      <a:pt x="133" y="37"/>
                      <a:pt x="133" y="37"/>
                    </a:cubicBezTo>
                    <a:cubicBezTo>
                      <a:pt x="133" y="36"/>
                      <a:pt x="133" y="36"/>
                      <a:pt x="133" y="36"/>
                    </a:cubicBezTo>
                    <a:cubicBezTo>
                      <a:pt x="133" y="35"/>
                      <a:pt x="133" y="35"/>
                      <a:pt x="133" y="35"/>
                    </a:cubicBezTo>
                    <a:cubicBezTo>
                      <a:pt x="133" y="35"/>
                      <a:pt x="134" y="34"/>
                      <a:pt x="134" y="34"/>
                    </a:cubicBezTo>
                    <a:cubicBezTo>
                      <a:pt x="133" y="34"/>
                      <a:pt x="133" y="34"/>
                      <a:pt x="132" y="34"/>
                    </a:cubicBezTo>
                    <a:cubicBezTo>
                      <a:pt x="132" y="34"/>
                      <a:pt x="132" y="34"/>
                      <a:pt x="131" y="34"/>
                    </a:cubicBezTo>
                    <a:cubicBezTo>
                      <a:pt x="130" y="34"/>
                      <a:pt x="129" y="34"/>
                      <a:pt x="128" y="33"/>
                    </a:cubicBezTo>
                    <a:cubicBezTo>
                      <a:pt x="128" y="32"/>
                      <a:pt x="128" y="32"/>
                      <a:pt x="128" y="32"/>
                    </a:cubicBezTo>
                    <a:cubicBezTo>
                      <a:pt x="127" y="32"/>
                      <a:pt x="126" y="31"/>
                      <a:pt x="126" y="30"/>
                    </a:cubicBezTo>
                    <a:cubicBezTo>
                      <a:pt x="125" y="30"/>
                      <a:pt x="125" y="30"/>
                      <a:pt x="125" y="30"/>
                    </a:cubicBezTo>
                    <a:cubicBezTo>
                      <a:pt x="125" y="30"/>
                      <a:pt x="125" y="30"/>
                      <a:pt x="125" y="30"/>
                    </a:cubicBezTo>
                    <a:cubicBezTo>
                      <a:pt x="124" y="30"/>
                      <a:pt x="124" y="30"/>
                      <a:pt x="124" y="30"/>
                    </a:cubicBezTo>
                    <a:cubicBezTo>
                      <a:pt x="123" y="30"/>
                      <a:pt x="123" y="30"/>
                      <a:pt x="123" y="30"/>
                    </a:cubicBezTo>
                    <a:cubicBezTo>
                      <a:pt x="122" y="30"/>
                      <a:pt x="121" y="29"/>
                      <a:pt x="120" y="27"/>
                    </a:cubicBezTo>
                    <a:cubicBezTo>
                      <a:pt x="120" y="26"/>
                      <a:pt x="120" y="26"/>
                      <a:pt x="120" y="26"/>
                    </a:cubicBezTo>
                    <a:cubicBezTo>
                      <a:pt x="120" y="25"/>
                      <a:pt x="120" y="25"/>
                      <a:pt x="120" y="25"/>
                    </a:cubicBezTo>
                    <a:cubicBezTo>
                      <a:pt x="120" y="24"/>
                      <a:pt x="119" y="22"/>
                      <a:pt x="119" y="21"/>
                    </a:cubicBezTo>
                    <a:cubicBezTo>
                      <a:pt x="118" y="20"/>
                      <a:pt x="118" y="20"/>
                      <a:pt x="118" y="20"/>
                    </a:cubicBezTo>
                    <a:cubicBezTo>
                      <a:pt x="118" y="20"/>
                      <a:pt x="118" y="20"/>
                      <a:pt x="118" y="20"/>
                    </a:cubicBezTo>
                    <a:cubicBezTo>
                      <a:pt x="118" y="20"/>
                      <a:pt x="118" y="20"/>
                      <a:pt x="118" y="20"/>
                    </a:cubicBezTo>
                    <a:cubicBezTo>
                      <a:pt x="116" y="19"/>
                      <a:pt x="116" y="19"/>
                      <a:pt x="115" y="18"/>
                    </a:cubicBezTo>
                    <a:cubicBezTo>
                      <a:pt x="114" y="17"/>
                      <a:pt x="114" y="16"/>
                      <a:pt x="115" y="14"/>
                    </a:cubicBezTo>
                    <a:cubicBezTo>
                      <a:pt x="115" y="14"/>
                      <a:pt x="115" y="14"/>
                      <a:pt x="115" y="14"/>
                    </a:cubicBezTo>
                    <a:cubicBezTo>
                      <a:pt x="115" y="14"/>
                      <a:pt x="115" y="14"/>
                      <a:pt x="115" y="14"/>
                    </a:cubicBezTo>
                    <a:cubicBezTo>
                      <a:pt x="114" y="13"/>
                      <a:pt x="114" y="13"/>
                      <a:pt x="114" y="13"/>
                    </a:cubicBezTo>
                    <a:cubicBezTo>
                      <a:pt x="114" y="13"/>
                      <a:pt x="112" y="13"/>
                      <a:pt x="112" y="12"/>
                    </a:cubicBezTo>
                    <a:cubicBezTo>
                      <a:pt x="111" y="11"/>
                      <a:pt x="111" y="10"/>
                      <a:pt x="111" y="9"/>
                    </a:cubicBezTo>
                    <a:cubicBezTo>
                      <a:pt x="111" y="8"/>
                      <a:pt x="111" y="8"/>
                      <a:pt x="111" y="8"/>
                    </a:cubicBezTo>
                    <a:cubicBezTo>
                      <a:pt x="112" y="8"/>
                      <a:pt x="112" y="8"/>
                      <a:pt x="112" y="8"/>
                    </a:cubicBezTo>
                    <a:cubicBezTo>
                      <a:pt x="111" y="7"/>
                      <a:pt x="111" y="7"/>
                      <a:pt x="111" y="7"/>
                    </a:cubicBezTo>
                    <a:cubicBezTo>
                      <a:pt x="111" y="6"/>
                      <a:pt x="111" y="6"/>
                      <a:pt x="111" y="6"/>
                    </a:cubicBezTo>
                    <a:cubicBezTo>
                      <a:pt x="109" y="6"/>
                      <a:pt x="109" y="6"/>
                      <a:pt x="109" y="6"/>
                    </a:cubicBezTo>
                    <a:cubicBezTo>
                      <a:pt x="109" y="7"/>
                      <a:pt x="109" y="7"/>
                      <a:pt x="108" y="7"/>
                    </a:cubicBezTo>
                    <a:cubicBezTo>
                      <a:pt x="108" y="7"/>
                      <a:pt x="108" y="7"/>
                      <a:pt x="108" y="7"/>
                    </a:cubicBezTo>
                    <a:cubicBezTo>
                      <a:pt x="107" y="8"/>
                      <a:pt x="106" y="8"/>
                      <a:pt x="104" y="8"/>
                    </a:cubicBezTo>
                    <a:cubicBezTo>
                      <a:pt x="104" y="8"/>
                      <a:pt x="104" y="8"/>
                      <a:pt x="104" y="8"/>
                    </a:cubicBezTo>
                    <a:cubicBezTo>
                      <a:pt x="103" y="8"/>
                      <a:pt x="103" y="8"/>
                      <a:pt x="103" y="8"/>
                    </a:cubicBezTo>
                    <a:cubicBezTo>
                      <a:pt x="101" y="8"/>
                      <a:pt x="101" y="6"/>
                      <a:pt x="100" y="5"/>
                    </a:cubicBezTo>
                    <a:cubicBezTo>
                      <a:pt x="100" y="5"/>
                      <a:pt x="100" y="5"/>
                      <a:pt x="100" y="4"/>
                    </a:cubicBezTo>
                    <a:cubicBezTo>
                      <a:pt x="100" y="4"/>
                      <a:pt x="100" y="4"/>
                      <a:pt x="100" y="4"/>
                    </a:cubicBezTo>
                    <a:cubicBezTo>
                      <a:pt x="100" y="4"/>
                      <a:pt x="100" y="3"/>
                      <a:pt x="99" y="3"/>
                    </a:cubicBezTo>
                    <a:cubicBezTo>
                      <a:pt x="99" y="3"/>
                      <a:pt x="99" y="3"/>
                      <a:pt x="99" y="3"/>
                    </a:cubicBezTo>
                    <a:cubicBezTo>
                      <a:pt x="99" y="2"/>
                      <a:pt x="99" y="2"/>
                      <a:pt x="98" y="2"/>
                    </a:cubicBezTo>
                    <a:cubicBezTo>
                      <a:pt x="98" y="2"/>
                      <a:pt x="98" y="2"/>
                      <a:pt x="97" y="2"/>
                    </a:cubicBezTo>
                    <a:cubicBezTo>
                      <a:pt x="96" y="2"/>
                      <a:pt x="95" y="2"/>
                      <a:pt x="93" y="2"/>
                    </a:cubicBezTo>
                    <a:cubicBezTo>
                      <a:pt x="91" y="2"/>
                      <a:pt x="88" y="2"/>
                      <a:pt x="85" y="1"/>
                    </a:cubicBezTo>
                    <a:cubicBezTo>
                      <a:pt x="83" y="1"/>
                      <a:pt x="83" y="1"/>
                      <a:pt x="83" y="1"/>
                    </a:cubicBezTo>
                    <a:cubicBezTo>
                      <a:pt x="82" y="1"/>
                      <a:pt x="81" y="0"/>
                      <a:pt x="80" y="0"/>
                    </a:cubicBezTo>
                    <a:cubicBezTo>
                      <a:pt x="80" y="0"/>
                      <a:pt x="80" y="0"/>
                      <a:pt x="79" y="0"/>
                    </a:cubicBezTo>
                    <a:cubicBezTo>
                      <a:pt x="79" y="0"/>
                      <a:pt x="79" y="0"/>
                      <a:pt x="78" y="0"/>
                    </a:cubicBezTo>
                    <a:cubicBezTo>
                      <a:pt x="78" y="0"/>
                      <a:pt x="78" y="0"/>
                      <a:pt x="7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Freeform 361"/>
              <p:cNvSpPr/>
              <p:nvPr/>
            </p:nvSpPr>
            <p:spPr bwMode="auto">
              <a:xfrm>
                <a:off x="4617" y="1921"/>
                <a:ext cx="74" cy="66"/>
              </a:xfrm>
              <a:custGeom>
                <a:gdLst>
                  <a:gd name="T0" fmla="*/ 15 w 31"/>
                  <a:gd name="T1" fmla="*/ 0 h 28"/>
                  <a:gd name="T2" fmla="*/ 13 w 31"/>
                  <a:gd name="T3" fmla="*/ 0 h 28"/>
                  <a:gd name="T4" fmla="*/ 10 w 31"/>
                  <a:gd name="T5" fmla="*/ 1 h 28"/>
                  <a:gd name="T6" fmla="*/ 7 w 31"/>
                  <a:gd name="T7" fmla="*/ 6 h 28"/>
                  <a:gd name="T8" fmla="*/ 7 w 31"/>
                  <a:gd name="T9" fmla="*/ 7 h 28"/>
                  <a:gd name="T10" fmla="*/ 5 w 31"/>
                  <a:gd name="T11" fmla="*/ 9 h 28"/>
                  <a:gd name="T12" fmla="*/ 0 w 31"/>
                  <a:gd name="T13" fmla="*/ 17 h 28"/>
                  <a:gd name="T14" fmla="*/ 15 w 31"/>
                  <a:gd name="T15" fmla="*/ 20 h 28"/>
                  <a:gd name="T16" fmla="*/ 18 w 31"/>
                  <a:gd name="T17" fmla="*/ 24 h 28"/>
                  <a:gd name="T18" fmla="*/ 18 w 31"/>
                  <a:gd name="T19" fmla="*/ 25 h 28"/>
                  <a:gd name="T20" fmla="*/ 18 w 31"/>
                  <a:gd name="T21" fmla="*/ 26 h 28"/>
                  <a:gd name="T22" fmla="*/ 19 w 31"/>
                  <a:gd name="T23" fmla="*/ 26 h 28"/>
                  <a:gd name="T24" fmla="*/ 20 w 31"/>
                  <a:gd name="T25" fmla="*/ 27 h 28"/>
                  <a:gd name="T26" fmla="*/ 24 w 31"/>
                  <a:gd name="T27" fmla="*/ 28 h 28"/>
                  <a:gd name="T28" fmla="*/ 28 w 31"/>
                  <a:gd name="T29" fmla="*/ 28 h 28"/>
                  <a:gd name="T30" fmla="*/ 31 w 31"/>
                  <a:gd name="T31" fmla="*/ 28 h 28"/>
                  <a:gd name="T32" fmla="*/ 27 w 31"/>
                  <a:gd name="T33" fmla="*/ 18 h 28"/>
                  <a:gd name="T34" fmla="*/ 25 w 31"/>
                  <a:gd name="T35" fmla="*/ 14 h 28"/>
                  <a:gd name="T36" fmla="*/ 20 w 31"/>
                  <a:gd name="T37" fmla="*/ 13 h 28"/>
                  <a:gd name="T38" fmla="*/ 24 w 31"/>
                  <a:gd name="T39" fmla="*/ 7 h 28"/>
                  <a:gd name="T40" fmla="*/ 24 w 31"/>
                  <a:gd name="T41" fmla="*/ 7 h 28"/>
                  <a:gd name="T42" fmla="*/ 27 w 31"/>
                  <a:gd name="T43" fmla="*/ 9 h 28"/>
                  <a:gd name="T44" fmla="*/ 26 w 31"/>
                  <a:gd name="T45" fmla="*/ 5 h 28"/>
                  <a:gd name="T46" fmla="*/ 24 w 31"/>
                  <a:gd name="T47" fmla="*/ 2 h 28"/>
                  <a:gd name="T48" fmla="*/ 20 w 31"/>
                  <a:gd name="T49" fmla="*/ 1 h 28"/>
                  <a:gd name="T50" fmla="*/ 15 w 31"/>
                  <a:gd name="T51"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8">
                    <a:moveTo>
                      <a:pt x="15" y="0"/>
                    </a:moveTo>
                    <a:cubicBezTo>
                      <a:pt x="14" y="0"/>
                      <a:pt x="14" y="0"/>
                      <a:pt x="13" y="0"/>
                    </a:cubicBezTo>
                    <a:cubicBezTo>
                      <a:pt x="12" y="0"/>
                      <a:pt x="11" y="0"/>
                      <a:pt x="10" y="1"/>
                    </a:cubicBezTo>
                    <a:cubicBezTo>
                      <a:pt x="9" y="2"/>
                      <a:pt x="8" y="4"/>
                      <a:pt x="7" y="6"/>
                    </a:cubicBezTo>
                    <a:cubicBezTo>
                      <a:pt x="7" y="7"/>
                      <a:pt x="7" y="7"/>
                      <a:pt x="7" y="7"/>
                    </a:cubicBezTo>
                    <a:cubicBezTo>
                      <a:pt x="6" y="7"/>
                      <a:pt x="6" y="8"/>
                      <a:pt x="5" y="9"/>
                    </a:cubicBezTo>
                    <a:cubicBezTo>
                      <a:pt x="4" y="11"/>
                      <a:pt x="2" y="14"/>
                      <a:pt x="0" y="17"/>
                    </a:cubicBezTo>
                    <a:cubicBezTo>
                      <a:pt x="15" y="20"/>
                      <a:pt x="15" y="20"/>
                      <a:pt x="15" y="20"/>
                    </a:cubicBezTo>
                    <a:cubicBezTo>
                      <a:pt x="17" y="21"/>
                      <a:pt x="18" y="24"/>
                      <a:pt x="18" y="24"/>
                    </a:cubicBezTo>
                    <a:cubicBezTo>
                      <a:pt x="18" y="25"/>
                      <a:pt x="18" y="25"/>
                      <a:pt x="18" y="25"/>
                    </a:cubicBezTo>
                    <a:cubicBezTo>
                      <a:pt x="18" y="26"/>
                      <a:pt x="18" y="26"/>
                      <a:pt x="18" y="26"/>
                    </a:cubicBezTo>
                    <a:cubicBezTo>
                      <a:pt x="19" y="26"/>
                      <a:pt x="19" y="26"/>
                      <a:pt x="19" y="26"/>
                    </a:cubicBezTo>
                    <a:cubicBezTo>
                      <a:pt x="19" y="27"/>
                      <a:pt x="19" y="27"/>
                      <a:pt x="20" y="27"/>
                    </a:cubicBezTo>
                    <a:cubicBezTo>
                      <a:pt x="21" y="28"/>
                      <a:pt x="22" y="28"/>
                      <a:pt x="24" y="28"/>
                    </a:cubicBezTo>
                    <a:cubicBezTo>
                      <a:pt x="25" y="28"/>
                      <a:pt x="27" y="28"/>
                      <a:pt x="28" y="28"/>
                    </a:cubicBezTo>
                    <a:cubicBezTo>
                      <a:pt x="29" y="28"/>
                      <a:pt x="30" y="28"/>
                      <a:pt x="31" y="28"/>
                    </a:cubicBezTo>
                    <a:cubicBezTo>
                      <a:pt x="30" y="24"/>
                      <a:pt x="28" y="21"/>
                      <a:pt x="27" y="18"/>
                    </a:cubicBezTo>
                    <a:cubicBezTo>
                      <a:pt x="26" y="16"/>
                      <a:pt x="26" y="15"/>
                      <a:pt x="25" y="14"/>
                    </a:cubicBezTo>
                    <a:cubicBezTo>
                      <a:pt x="24" y="12"/>
                      <a:pt x="22" y="13"/>
                      <a:pt x="20" y="13"/>
                    </a:cubicBezTo>
                    <a:cubicBezTo>
                      <a:pt x="21" y="11"/>
                      <a:pt x="22" y="8"/>
                      <a:pt x="24" y="7"/>
                    </a:cubicBezTo>
                    <a:cubicBezTo>
                      <a:pt x="24" y="7"/>
                      <a:pt x="24" y="7"/>
                      <a:pt x="24" y="7"/>
                    </a:cubicBezTo>
                    <a:cubicBezTo>
                      <a:pt x="25" y="7"/>
                      <a:pt x="26" y="9"/>
                      <a:pt x="27" y="9"/>
                    </a:cubicBezTo>
                    <a:cubicBezTo>
                      <a:pt x="27" y="8"/>
                      <a:pt x="26" y="6"/>
                      <a:pt x="26" y="5"/>
                    </a:cubicBezTo>
                    <a:cubicBezTo>
                      <a:pt x="26" y="5"/>
                      <a:pt x="25" y="4"/>
                      <a:pt x="24" y="2"/>
                    </a:cubicBezTo>
                    <a:cubicBezTo>
                      <a:pt x="20" y="1"/>
                      <a:pt x="20" y="1"/>
                      <a:pt x="20" y="1"/>
                    </a:cubicBezTo>
                    <a:cubicBezTo>
                      <a:pt x="18"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362"/>
              <p:cNvSpPr/>
              <p:nvPr/>
            </p:nvSpPr>
            <p:spPr bwMode="auto">
              <a:xfrm>
                <a:off x="4676" y="1926"/>
                <a:ext cx="15" cy="14"/>
              </a:xfrm>
              <a:custGeom>
                <a:gdLst>
                  <a:gd name="T0" fmla="*/ 1 w 6"/>
                  <a:gd name="T1" fmla="*/ 0 h 6"/>
                  <a:gd name="T2" fmla="*/ 0 w 6"/>
                  <a:gd name="T3" fmla="*/ 2 h 6"/>
                  <a:gd name="T4" fmla="*/ 3 w 6"/>
                  <a:gd name="T5" fmla="*/ 6 h 6"/>
                  <a:gd name="T6" fmla="*/ 6 w 6"/>
                  <a:gd name="T7" fmla="*/ 3 h 6"/>
                  <a:gd name="T8" fmla="*/ 3 w 6"/>
                  <a:gd name="T9" fmla="*/ 1 h 6"/>
                  <a:gd name="T10" fmla="*/ 2 w 6"/>
                  <a:gd name="T11" fmla="*/ 1 h 6"/>
                  <a:gd name="T12" fmla="*/ 1 w 6"/>
                  <a:gd name="T13" fmla="*/ 2 h 6"/>
                  <a:gd name="T14" fmla="*/ 2 w 6"/>
                  <a:gd name="T15" fmla="*/ 1 h 6"/>
                  <a:gd name="T16" fmla="*/ 1 w 6"/>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1" y="0"/>
                    </a:moveTo>
                    <a:cubicBezTo>
                      <a:pt x="1" y="1"/>
                      <a:pt x="0" y="1"/>
                      <a:pt x="0" y="2"/>
                    </a:cubicBezTo>
                    <a:cubicBezTo>
                      <a:pt x="0" y="3"/>
                      <a:pt x="2" y="5"/>
                      <a:pt x="3" y="6"/>
                    </a:cubicBezTo>
                    <a:cubicBezTo>
                      <a:pt x="5" y="5"/>
                      <a:pt x="6" y="4"/>
                      <a:pt x="6" y="3"/>
                    </a:cubicBezTo>
                    <a:cubicBezTo>
                      <a:pt x="3" y="1"/>
                      <a:pt x="3" y="1"/>
                      <a:pt x="3" y="1"/>
                    </a:cubicBezTo>
                    <a:cubicBezTo>
                      <a:pt x="2" y="1"/>
                      <a:pt x="2" y="1"/>
                      <a:pt x="2" y="1"/>
                    </a:cubicBezTo>
                    <a:cubicBezTo>
                      <a:pt x="1" y="2"/>
                      <a:pt x="1" y="2"/>
                      <a:pt x="1" y="2"/>
                    </a:cubicBezTo>
                    <a:cubicBezTo>
                      <a:pt x="2" y="1"/>
                      <a:pt x="2" y="1"/>
                      <a:pt x="2"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Freeform 363"/>
              <p:cNvSpPr/>
              <p:nvPr/>
            </p:nvSpPr>
            <p:spPr bwMode="auto">
              <a:xfrm>
                <a:off x="4121" y="1560"/>
                <a:ext cx="293" cy="241"/>
              </a:xfrm>
              <a:custGeom>
                <a:gdLst>
                  <a:gd name="T0" fmla="*/ 119 w 124"/>
                  <a:gd name="T1" fmla="*/ 1 h 102"/>
                  <a:gd name="T2" fmla="*/ 98 w 124"/>
                  <a:gd name="T3" fmla="*/ 3 h 102"/>
                  <a:gd name="T4" fmla="*/ 91 w 124"/>
                  <a:gd name="T5" fmla="*/ 5 h 102"/>
                  <a:gd name="T6" fmla="*/ 87 w 124"/>
                  <a:gd name="T7" fmla="*/ 7 h 102"/>
                  <a:gd name="T8" fmla="*/ 72 w 124"/>
                  <a:gd name="T9" fmla="*/ 12 h 102"/>
                  <a:gd name="T10" fmla="*/ 70 w 124"/>
                  <a:gd name="T11" fmla="*/ 12 h 102"/>
                  <a:gd name="T12" fmla="*/ 57 w 124"/>
                  <a:gd name="T13" fmla="*/ 11 h 102"/>
                  <a:gd name="T14" fmla="*/ 55 w 124"/>
                  <a:gd name="T15" fmla="*/ 10 h 102"/>
                  <a:gd name="T16" fmla="*/ 53 w 124"/>
                  <a:gd name="T17" fmla="*/ 9 h 102"/>
                  <a:gd name="T18" fmla="*/ 48 w 124"/>
                  <a:gd name="T19" fmla="*/ 8 h 102"/>
                  <a:gd name="T20" fmla="*/ 45 w 124"/>
                  <a:gd name="T21" fmla="*/ 9 h 102"/>
                  <a:gd name="T22" fmla="*/ 30 w 124"/>
                  <a:gd name="T23" fmla="*/ 13 h 102"/>
                  <a:gd name="T24" fmla="*/ 23 w 124"/>
                  <a:gd name="T25" fmla="*/ 13 h 102"/>
                  <a:gd name="T26" fmla="*/ 18 w 124"/>
                  <a:gd name="T27" fmla="*/ 15 h 102"/>
                  <a:gd name="T28" fmla="*/ 24 w 124"/>
                  <a:gd name="T29" fmla="*/ 18 h 102"/>
                  <a:gd name="T30" fmla="*/ 18 w 124"/>
                  <a:gd name="T31" fmla="*/ 21 h 102"/>
                  <a:gd name="T32" fmla="*/ 16 w 124"/>
                  <a:gd name="T33" fmla="*/ 22 h 102"/>
                  <a:gd name="T34" fmla="*/ 15 w 124"/>
                  <a:gd name="T35" fmla="*/ 23 h 102"/>
                  <a:gd name="T36" fmla="*/ 12 w 124"/>
                  <a:gd name="T37" fmla="*/ 27 h 102"/>
                  <a:gd name="T38" fmla="*/ 11 w 124"/>
                  <a:gd name="T39" fmla="*/ 28 h 102"/>
                  <a:gd name="T40" fmla="*/ 11 w 124"/>
                  <a:gd name="T41" fmla="*/ 30 h 102"/>
                  <a:gd name="T42" fmla="*/ 7 w 124"/>
                  <a:gd name="T43" fmla="*/ 31 h 102"/>
                  <a:gd name="T44" fmla="*/ 1 w 124"/>
                  <a:gd name="T45" fmla="*/ 31 h 102"/>
                  <a:gd name="T46" fmla="*/ 4 w 124"/>
                  <a:gd name="T47" fmla="*/ 39 h 102"/>
                  <a:gd name="T48" fmla="*/ 5 w 124"/>
                  <a:gd name="T49" fmla="*/ 52 h 102"/>
                  <a:gd name="T50" fmla="*/ 8 w 124"/>
                  <a:gd name="T51" fmla="*/ 52 h 102"/>
                  <a:gd name="T52" fmla="*/ 11 w 124"/>
                  <a:gd name="T53" fmla="*/ 52 h 102"/>
                  <a:gd name="T54" fmla="*/ 14 w 124"/>
                  <a:gd name="T55" fmla="*/ 52 h 102"/>
                  <a:gd name="T56" fmla="*/ 16 w 124"/>
                  <a:gd name="T57" fmla="*/ 56 h 102"/>
                  <a:gd name="T58" fmla="*/ 18 w 124"/>
                  <a:gd name="T59" fmla="*/ 60 h 102"/>
                  <a:gd name="T60" fmla="*/ 17 w 124"/>
                  <a:gd name="T61" fmla="*/ 67 h 102"/>
                  <a:gd name="T62" fmla="*/ 30 w 124"/>
                  <a:gd name="T63" fmla="*/ 84 h 102"/>
                  <a:gd name="T64" fmla="*/ 10 w 124"/>
                  <a:gd name="T65" fmla="*/ 73 h 102"/>
                  <a:gd name="T66" fmla="*/ 8 w 124"/>
                  <a:gd name="T67" fmla="*/ 75 h 102"/>
                  <a:gd name="T68" fmla="*/ 9 w 124"/>
                  <a:gd name="T69" fmla="*/ 78 h 102"/>
                  <a:gd name="T70" fmla="*/ 8 w 124"/>
                  <a:gd name="T71" fmla="*/ 79 h 102"/>
                  <a:gd name="T72" fmla="*/ 4 w 124"/>
                  <a:gd name="T73" fmla="*/ 83 h 102"/>
                  <a:gd name="T74" fmla="*/ 2 w 124"/>
                  <a:gd name="T75" fmla="*/ 84 h 102"/>
                  <a:gd name="T76" fmla="*/ 1 w 124"/>
                  <a:gd name="T77" fmla="*/ 88 h 102"/>
                  <a:gd name="T78" fmla="*/ 1 w 124"/>
                  <a:gd name="T79" fmla="*/ 93 h 102"/>
                  <a:gd name="T80" fmla="*/ 3 w 124"/>
                  <a:gd name="T81" fmla="*/ 94 h 102"/>
                  <a:gd name="T82" fmla="*/ 5 w 124"/>
                  <a:gd name="T83" fmla="*/ 95 h 102"/>
                  <a:gd name="T84" fmla="*/ 9 w 124"/>
                  <a:gd name="T85" fmla="*/ 98 h 102"/>
                  <a:gd name="T86" fmla="*/ 23 w 124"/>
                  <a:gd name="T87" fmla="*/ 100 h 102"/>
                  <a:gd name="T88" fmla="*/ 58 w 124"/>
                  <a:gd name="T89" fmla="*/ 79 h 102"/>
                  <a:gd name="T90" fmla="*/ 59 w 124"/>
                  <a:gd name="T91" fmla="*/ 79 h 102"/>
                  <a:gd name="T92" fmla="*/ 74 w 124"/>
                  <a:gd name="T93" fmla="*/ 70 h 102"/>
                  <a:gd name="T94" fmla="*/ 86 w 124"/>
                  <a:gd name="T95" fmla="*/ 64 h 102"/>
                  <a:gd name="T96" fmla="*/ 95 w 124"/>
                  <a:gd name="T97" fmla="*/ 59 h 102"/>
                  <a:gd name="T98" fmla="*/ 97 w 124"/>
                  <a:gd name="T99" fmla="*/ 58 h 102"/>
                  <a:gd name="T100" fmla="*/ 102 w 124"/>
                  <a:gd name="T101" fmla="*/ 52 h 102"/>
                  <a:gd name="T102" fmla="*/ 103 w 124"/>
                  <a:gd name="T103" fmla="*/ 48 h 102"/>
                  <a:gd name="T104" fmla="*/ 104 w 124"/>
                  <a:gd name="T105" fmla="*/ 38 h 102"/>
                  <a:gd name="T106" fmla="*/ 105 w 124"/>
                  <a:gd name="T107" fmla="*/ 34 h 102"/>
                  <a:gd name="T108" fmla="*/ 104 w 124"/>
                  <a:gd name="T109" fmla="*/ 29 h 102"/>
                  <a:gd name="T110" fmla="*/ 106 w 124"/>
                  <a:gd name="T111" fmla="*/ 14 h 102"/>
                  <a:gd name="T112" fmla="*/ 113 w 124"/>
                  <a:gd name="T113" fmla="*/ 10 h 102"/>
                  <a:gd name="T114" fmla="*/ 113 w 124"/>
                  <a:gd name="T115" fmla="*/ 10 h 102"/>
                  <a:gd name="T116" fmla="*/ 116 w 124"/>
                  <a:gd name="T117" fmla="*/ 9 h 102"/>
                  <a:gd name="T118" fmla="*/ 124 w 124"/>
                  <a:gd name="T119" fmla="*/ 1 h 102"/>
                  <a:gd name="T120" fmla="*/ 124 w 124"/>
                  <a:gd name="T121" fmla="*/ 0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 h="102">
                    <a:moveTo>
                      <a:pt x="124" y="0"/>
                    </a:moveTo>
                    <a:cubicBezTo>
                      <a:pt x="123" y="1"/>
                      <a:pt x="121" y="1"/>
                      <a:pt x="119" y="1"/>
                    </a:cubicBezTo>
                    <a:cubicBezTo>
                      <a:pt x="114" y="3"/>
                      <a:pt x="108" y="3"/>
                      <a:pt x="102" y="3"/>
                    </a:cubicBezTo>
                    <a:cubicBezTo>
                      <a:pt x="101" y="3"/>
                      <a:pt x="100" y="3"/>
                      <a:pt x="98" y="3"/>
                    </a:cubicBezTo>
                    <a:cubicBezTo>
                      <a:pt x="98" y="3"/>
                      <a:pt x="98" y="3"/>
                      <a:pt x="98" y="3"/>
                    </a:cubicBezTo>
                    <a:cubicBezTo>
                      <a:pt x="96" y="3"/>
                      <a:pt x="94" y="4"/>
                      <a:pt x="91" y="5"/>
                    </a:cubicBezTo>
                    <a:cubicBezTo>
                      <a:pt x="90" y="6"/>
                      <a:pt x="89" y="6"/>
                      <a:pt x="88" y="7"/>
                    </a:cubicBezTo>
                    <a:cubicBezTo>
                      <a:pt x="88" y="7"/>
                      <a:pt x="87" y="7"/>
                      <a:pt x="87" y="7"/>
                    </a:cubicBezTo>
                    <a:cubicBezTo>
                      <a:pt x="83" y="9"/>
                      <a:pt x="83" y="9"/>
                      <a:pt x="83" y="9"/>
                    </a:cubicBezTo>
                    <a:cubicBezTo>
                      <a:pt x="80" y="10"/>
                      <a:pt x="76" y="11"/>
                      <a:pt x="72" y="12"/>
                    </a:cubicBezTo>
                    <a:cubicBezTo>
                      <a:pt x="71" y="12"/>
                      <a:pt x="71" y="12"/>
                      <a:pt x="71" y="12"/>
                    </a:cubicBezTo>
                    <a:cubicBezTo>
                      <a:pt x="70" y="12"/>
                      <a:pt x="70" y="12"/>
                      <a:pt x="70" y="12"/>
                    </a:cubicBezTo>
                    <a:cubicBezTo>
                      <a:pt x="70" y="12"/>
                      <a:pt x="69" y="12"/>
                      <a:pt x="68" y="12"/>
                    </a:cubicBezTo>
                    <a:cubicBezTo>
                      <a:pt x="64" y="12"/>
                      <a:pt x="61" y="12"/>
                      <a:pt x="57" y="11"/>
                    </a:cubicBezTo>
                    <a:cubicBezTo>
                      <a:pt x="56" y="11"/>
                      <a:pt x="56" y="11"/>
                      <a:pt x="56" y="11"/>
                    </a:cubicBezTo>
                    <a:cubicBezTo>
                      <a:pt x="56" y="11"/>
                      <a:pt x="55" y="10"/>
                      <a:pt x="55" y="10"/>
                    </a:cubicBezTo>
                    <a:cubicBezTo>
                      <a:pt x="54" y="10"/>
                      <a:pt x="54" y="10"/>
                      <a:pt x="54" y="10"/>
                    </a:cubicBezTo>
                    <a:cubicBezTo>
                      <a:pt x="54" y="10"/>
                      <a:pt x="53" y="9"/>
                      <a:pt x="53" y="9"/>
                    </a:cubicBezTo>
                    <a:cubicBezTo>
                      <a:pt x="50" y="8"/>
                      <a:pt x="50" y="8"/>
                      <a:pt x="50" y="8"/>
                    </a:cubicBezTo>
                    <a:cubicBezTo>
                      <a:pt x="49" y="8"/>
                      <a:pt x="48" y="8"/>
                      <a:pt x="48" y="8"/>
                    </a:cubicBezTo>
                    <a:cubicBezTo>
                      <a:pt x="47" y="8"/>
                      <a:pt x="47" y="8"/>
                      <a:pt x="46" y="8"/>
                    </a:cubicBezTo>
                    <a:cubicBezTo>
                      <a:pt x="45" y="9"/>
                      <a:pt x="45" y="9"/>
                      <a:pt x="45" y="9"/>
                    </a:cubicBezTo>
                    <a:cubicBezTo>
                      <a:pt x="39" y="11"/>
                      <a:pt x="35" y="13"/>
                      <a:pt x="31" y="13"/>
                    </a:cubicBezTo>
                    <a:cubicBezTo>
                      <a:pt x="30" y="13"/>
                      <a:pt x="30" y="13"/>
                      <a:pt x="30" y="13"/>
                    </a:cubicBezTo>
                    <a:cubicBezTo>
                      <a:pt x="29" y="13"/>
                      <a:pt x="28" y="13"/>
                      <a:pt x="27" y="13"/>
                    </a:cubicBezTo>
                    <a:cubicBezTo>
                      <a:pt x="26" y="13"/>
                      <a:pt x="25" y="13"/>
                      <a:pt x="23" y="13"/>
                    </a:cubicBezTo>
                    <a:cubicBezTo>
                      <a:pt x="19" y="10"/>
                      <a:pt x="19" y="10"/>
                      <a:pt x="19" y="10"/>
                    </a:cubicBezTo>
                    <a:cubicBezTo>
                      <a:pt x="19" y="12"/>
                      <a:pt x="18" y="13"/>
                      <a:pt x="18" y="15"/>
                    </a:cubicBezTo>
                    <a:cubicBezTo>
                      <a:pt x="18" y="16"/>
                      <a:pt x="19" y="16"/>
                      <a:pt x="19" y="16"/>
                    </a:cubicBezTo>
                    <a:cubicBezTo>
                      <a:pt x="24" y="18"/>
                      <a:pt x="24" y="18"/>
                      <a:pt x="24" y="18"/>
                    </a:cubicBezTo>
                    <a:cubicBezTo>
                      <a:pt x="19" y="20"/>
                      <a:pt x="19" y="20"/>
                      <a:pt x="19" y="20"/>
                    </a:cubicBezTo>
                    <a:cubicBezTo>
                      <a:pt x="19" y="20"/>
                      <a:pt x="18" y="21"/>
                      <a:pt x="18" y="21"/>
                    </a:cubicBezTo>
                    <a:cubicBezTo>
                      <a:pt x="17" y="21"/>
                      <a:pt x="17" y="21"/>
                      <a:pt x="17" y="21"/>
                    </a:cubicBezTo>
                    <a:cubicBezTo>
                      <a:pt x="17" y="21"/>
                      <a:pt x="16" y="22"/>
                      <a:pt x="16" y="22"/>
                    </a:cubicBezTo>
                    <a:cubicBezTo>
                      <a:pt x="15" y="22"/>
                      <a:pt x="15" y="22"/>
                      <a:pt x="15" y="22"/>
                    </a:cubicBezTo>
                    <a:cubicBezTo>
                      <a:pt x="15" y="23"/>
                      <a:pt x="15" y="23"/>
                      <a:pt x="15" y="23"/>
                    </a:cubicBezTo>
                    <a:cubicBezTo>
                      <a:pt x="15" y="23"/>
                      <a:pt x="15" y="23"/>
                      <a:pt x="15" y="23"/>
                    </a:cubicBezTo>
                    <a:cubicBezTo>
                      <a:pt x="15" y="26"/>
                      <a:pt x="13" y="27"/>
                      <a:pt x="12" y="27"/>
                    </a:cubicBezTo>
                    <a:cubicBezTo>
                      <a:pt x="12" y="28"/>
                      <a:pt x="12" y="28"/>
                      <a:pt x="12" y="28"/>
                    </a:cubicBezTo>
                    <a:cubicBezTo>
                      <a:pt x="11" y="28"/>
                      <a:pt x="11" y="28"/>
                      <a:pt x="11" y="28"/>
                    </a:cubicBezTo>
                    <a:cubicBezTo>
                      <a:pt x="11" y="29"/>
                      <a:pt x="11" y="29"/>
                      <a:pt x="11" y="29"/>
                    </a:cubicBezTo>
                    <a:cubicBezTo>
                      <a:pt x="11" y="30"/>
                      <a:pt x="11" y="30"/>
                      <a:pt x="11" y="30"/>
                    </a:cubicBezTo>
                    <a:cubicBezTo>
                      <a:pt x="10" y="32"/>
                      <a:pt x="10" y="32"/>
                      <a:pt x="10" y="32"/>
                    </a:cubicBezTo>
                    <a:cubicBezTo>
                      <a:pt x="7" y="31"/>
                      <a:pt x="7" y="31"/>
                      <a:pt x="7" y="31"/>
                    </a:cubicBezTo>
                    <a:cubicBezTo>
                      <a:pt x="6" y="30"/>
                      <a:pt x="4" y="29"/>
                      <a:pt x="2" y="29"/>
                    </a:cubicBezTo>
                    <a:cubicBezTo>
                      <a:pt x="2" y="29"/>
                      <a:pt x="2" y="30"/>
                      <a:pt x="1" y="31"/>
                    </a:cubicBezTo>
                    <a:cubicBezTo>
                      <a:pt x="1" y="32"/>
                      <a:pt x="1" y="33"/>
                      <a:pt x="0" y="34"/>
                    </a:cubicBezTo>
                    <a:cubicBezTo>
                      <a:pt x="2" y="36"/>
                      <a:pt x="4" y="37"/>
                      <a:pt x="4" y="39"/>
                    </a:cubicBezTo>
                    <a:cubicBezTo>
                      <a:pt x="4" y="41"/>
                      <a:pt x="3" y="44"/>
                      <a:pt x="4" y="47"/>
                    </a:cubicBezTo>
                    <a:cubicBezTo>
                      <a:pt x="4" y="49"/>
                      <a:pt x="4" y="50"/>
                      <a:pt x="5" y="52"/>
                    </a:cubicBezTo>
                    <a:cubicBezTo>
                      <a:pt x="5" y="52"/>
                      <a:pt x="5" y="52"/>
                      <a:pt x="5" y="52"/>
                    </a:cubicBezTo>
                    <a:cubicBezTo>
                      <a:pt x="6" y="52"/>
                      <a:pt x="7" y="52"/>
                      <a:pt x="8" y="52"/>
                    </a:cubicBezTo>
                    <a:cubicBezTo>
                      <a:pt x="8" y="52"/>
                      <a:pt x="9" y="52"/>
                      <a:pt x="9" y="52"/>
                    </a:cubicBezTo>
                    <a:cubicBezTo>
                      <a:pt x="10" y="52"/>
                      <a:pt x="10" y="52"/>
                      <a:pt x="11" y="52"/>
                    </a:cubicBezTo>
                    <a:cubicBezTo>
                      <a:pt x="11" y="52"/>
                      <a:pt x="11" y="52"/>
                      <a:pt x="11" y="52"/>
                    </a:cubicBezTo>
                    <a:cubicBezTo>
                      <a:pt x="12" y="52"/>
                      <a:pt x="13" y="52"/>
                      <a:pt x="14" y="52"/>
                    </a:cubicBezTo>
                    <a:cubicBezTo>
                      <a:pt x="19" y="52"/>
                      <a:pt x="19" y="52"/>
                      <a:pt x="19" y="52"/>
                    </a:cubicBezTo>
                    <a:cubicBezTo>
                      <a:pt x="16" y="56"/>
                      <a:pt x="16" y="56"/>
                      <a:pt x="16" y="56"/>
                    </a:cubicBezTo>
                    <a:cubicBezTo>
                      <a:pt x="17" y="57"/>
                      <a:pt x="17" y="58"/>
                      <a:pt x="18" y="59"/>
                    </a:cubicBezTo>
                    <a:cubicBezTo>
                      <a:pt x="18" y="60"/>
                      <a:pt x="18" y="60"/>
                      <a:pt x="18" y="60"/>
                    </a:cubicBezTo>
                    <a:cubicBezTo>
                      <a:pt x="19" y="61"/>
                      <a:pt x="21" y="64"/>
                      <a:pt x="18" y="66"/>
                    </a:cubicBezTo>
                    <a:cubicBezTo>
                      <a:pt x="18" y="66"/>
                      <a:pt x="18" y="67"/>
                      <a:pt x="17" y="67"/>
                    </a:cubicBezTo>
                    <a:cubicBezTo>
                      <a:pt x="15" y="68"/>
                      <a:pt x="14" y="69"/>
                      <a:pt x="14" y="70"/>
                    </a:cubicBezTo>
                    <a:cubicBezTo>
                      <a:pt x="30" y="84"/>
                      <a:pt x="30" y="84"/>
                      <a:pt x="30" y="84"/>
                    </a:cubicBezTo>
                    <a:cubicBezTo>
                      <a:pt x="11" y="74"/>
                      <a:pt x="11" y="74"/>
                      <a:pt x="11" y="74"/>
                    </a:cubicBezTo>
                    <a:cubicBezTo>
                      <a:pt x="11" y="74"/>
                      <a:pt x="10" y="73"/>
                      <a:pt x="10" y="73"/>
                    </a:cubicBezTo>
                    <a:cubicBezTo>
                      <a:pt x="9" y="73"/>
                      <a:pt x="9" y="74"/>
                      <a:pt x="9" y="74"/>
                    </a:cubicBezTo>
                    <a:cubicBezTo>
                      <a:pt x="8" y="74"/>
                      <a:pt x="8" y="74"/>
                      <a:pt x="8" y="75"/>
                    </a:cubicBezTo>
                    <a:cubicBezTo>
                      <a:pt x="8" y="75"/>
                      <a:pt x="8" y="75"/>
                      <a:pt x="8" y="75"/>
                    </a:cubicBezTo>
                    <a:cubicBezTo>
                      <a:pt x="8" y="75"/>
                      <a:pt x="9" y="76"/>
                      <a:pt x="9" y="78"/>
                    </a:cubicBezTo>
                    <a:cubicBezTo>
                      <a:pt x="9" y="78"/>
                      <a:pt x="9" y="78"/>
                      <a:pt x="9" y="78"/>
                    </a:cubicBezTo>
                    <a:cubicBezTo>
                      <a:pt x="8" y="79"/>
                      <a:pt x="8" y="79"/>
                      <a:pt x="8" y="79"/>
                    </a:cubicBezTo>
                    <a:cubicBezTo>
                      <a:pt x="7" y="80"/>
                      <a:pt x="7" y="80"/>
                      <a:pt x="7" y="80"/>
                    </a:cubicBezTo>
                    <a:cubicBezTo>
                      <a:pt x="6" y="81"/>
                      <a:pt x="5" y="82"/>
                      <a:pt x="4" y="83"/>
                    </a:cubicBezTo>
                    <a:cubicBezTo>
                      <a:pt x="3" y="83"/>
                      <a:pt x="3" y="84"/>
                      <a:pt x="2" y="84"/>
                    </a:cubicBezTo>
                    <a:cubicBezTo>
                      <a:pt x="2" y="84"/>
                      <a:pt x="2" y="84"/>
                      <a:pt x="2" y="84"/>
                    </a:cubicBezTo>
                    <a:cubicBezTo>
                      <a:pt x="2" y="84"/>
                      <a:pt x="2" y="84"/>
                      <a:pt x="2" y="84"/>
                    </a:cubicBezTo>
                    <a:cubicBezTo>
                      <a:pt x="1" y="86"/>
                      <a:pt x="1" y="87"/>
                      <a:pt x="1" y="88"/>
                    </a:cubicBezTo>
                    <a:cubicBezTo>
                      <a:pt x="1" y="89"/>
                      <a:pt x="1" y="90"/>
                      <a:pt x="1" y="90"/>
                    </a:cubicBezTo>
                    <a:cubicBezTo>
                      <a:pt x="1" y="91"/>
                      <a:pt x="1" y="92"/>
                      <a:pt x="1" y="93"/>
                    </a:cubicBezTo>
                    <a:cubicBezTo>
                      <a:pt x="1" y="93"/>
                      <a:pt x="1" y="93"/>
                      <a:pt x="1" y="93"/>
                    </a:cubicBezTo>
                    <a:cubicBezTo>
                      <a:pt x="2" y="93"/>
                      <a:pt x="2" y="94"/>
                      <a:pt x="3" y="94"/>
                    </a:cubicBezTo>
                    <a:cubicBezTo>
                      <a:pt x="3" y="94"/>
                      <a:pt x="3" y="94"/>
                      <a:pt x="3" y="94"/>
                    </a:cubicBezTo>
                    <a:cubicBezTo>
                      <a:pt x="4" y="94"/>
                      <a:pt x="5" y="95"/>
                      <a:pt x="5" y="95"/>
                    </a:cubicBezTo>
                    <a:cubicBezTo>
                      <a:pt x="6" y="96"/>
                      <a:pt x="6" y="96"/>
                      <a:pt x="6" y="96"/>
                    </a:cubicBezTo>
                    <a:cubicBezTo>
                      <a:pt x="7" y="96"/>
                      <a:pt x="8" y="97"/>
                      <a:pt x="9" y="98"/>
                    </a:cubicBezTo>
                    <a:cubicBezTo>
                      <a:pt x="15" y="101"/>
                      <a:pt x="18" y="102"/>
                      <a:pt x="20" y="102"/>
                    </a:cubicBezTo>
                    <a:cubicBezTo>
                      <a:pt x="21" y="102"/>
                      <a:pt x="22" y="101"/>
                      <a:pt x="23" y="100"/>
                    </a:cubicBezTo>
                    <a:cubicBezTo>
                      <a:pt x="24" y="100"/>
                      <a:pt x="24" y="99"/>
                      <a:pt x="25" y="99"/>
                    </a:cubicBezTo>
                    <a:cubicBezTo>
                      <a:pt x="32" y="94"/>
                      <a:pt x="50" y="84"/>
                      <a:pt x="58" y="79"/>
                    </a:cubicBezTo>
                    <a:cubicBezTo>
                      <a:pt x="59" y="78"/>
                      <a:pt x="59" y="78"/>
                      <a:pt x="59" y="78"/>
                    </a:cubicBezTo>
                    <a:cubicBezTo>
                      <a:pt x="59" y="79"/>
                      <a:pt x="59" y="79"/>
                      <a:pt x="59" y="79"/>
                    </a:cubicBezTo>
                    <a:cubicBezTo>
                      <a:pt x="62" y="77"/>
                      <a:pt x="62" y="77"/>
                      <a:pt x="62" y="77"/>
                    </a:cubicBezTo>
                    <a:cubicBezTo>
                      <a:pt x="66" y="75"/>
                      <a:pt x="70" y="72"/>
                      <a:pt x="74" y="70"/>
                    </a:cubicBezTo>
                    <a:cubicBezTo>
                      <a:pt x="86" y="64"/>
                      <a:pt x="86" y="64"/>
                      <a:pt x="86" y="64"/>
                    </a:cubicBezTo>
                    <a:cubicBezTo>
                      <a:pt x="86" y="64"/>
                      <a:pt x="86" y="64"/>
                      <a:pt x="86" y="64"/>
                    </a:cubicBezTo>
                    <a:cubicBezTo>
                      <a:pt x="91" y="61"/>
                      <a:pt x="91" y="61"/>
                      <a:pt x="91" y="61"/>
                    </a:cubicBezTo>
                    <a:cubicBezTo>
                      <a:pt x="92" y="60"/>
                      <a:pt x="93" y="59"/>
                      <a:pt x="95" y="59"/>
                    </a:cubicBezTo>
                    <a:cubicBezTo>
                      <a:pt x="95" y="59"/>
                      <a:pt x="96" y="58"/>
                      <a:pt x="96" y="58"/>
                    </a:cubicBezTo>
                    <a:cubicBezTo>
                      <a:pt x="97" y="58"/>
                      <a:pt x="97" y="58"/>
                      <a:pt x="97" y="58"/>
                    </a:cubicBezTo>
                    <a:cubicBezTo>
                      <a:pt x="98" y="58"/>
                      <a:pt x="99" y="57"/>
                      <a:pt x="99" y="57"/>
                    </a:cubicBezTo>
                    <a:cubicBezTo>
                      <a:pt x="100" y="56"/>
                      <a:pt x="101" y="54"/>
                      <a:pt x="102" y="52"/>
                    </a:cubicBezTo>
                    <a:cubicBezTo>
                      <a:pt x="103" y="51"/>
                      <a:pt x="103" y="50"/>
                      <a:pt x="103" y="49"/>
                    </a:cubicBezTo>
                    <a:cubicBezTo>
                      <a:pt x="103" y="48"/>
                      <a:pt x="103" y="48"/>
                      <a:pt x="103" y="48"/>
                    </a:cubicBezTo>
                    <a:cubicBezTo>
                      <a:pt x="103" y="47"/>
                      <a:pt x="103" y="46"/>
                      <a:pt x="103" y="45"/>
                    </a:cubicBezTo>
                    <a:cubicBezTo>
                      <a:pt x="102" y="43"/>
                      <a:pt x="103" y="40"/>
                      <a:pt x="104" y="38"/>
                    </a:cubicBezTo>
                    <a:cubicBezTo>
                      <a:pt x="104" y="38"/>
                      <a:pt x="104" y="38"/>
                      <a:pt x="104" y="38"/>
                    </a:cubicBezTo>
                    <a:cubicBezTo>
                      <a:pt x="104" y="36"/>
                      <a:pt x="104" y="35"/>
                      <a:pt x="105" y="34"/>
                    </a:cubicBezTo>
                    <a:cubicBezTo>
                      <a:pt x="105" y="33"/>
                      <a:pt x="104" y="31"/>
                      <a:pt x="104" y="30"/>
                    </a:cubicBezTo>
                    <a:cubicBezTo>
                      <a:pt x="104" y="29"/>
                      <a:pt x="104" y="29"/>
                      <a:pt x="104" y="29"/>
                    </a:cubicBezTo>
                    <a:cubicBezTo>
                      <a:pt x="104" y="24"/>
                      <a:pt x="103" y="20"/>
                      <a:pt x="105" y="16"/>
                    </a:cubicBezTo>
                    <a:cubicBezTo>
                      <a:pt x="105" y="15"/>
                      <a:pt x="106" y="14"/>
                      <a:pt x="106" y="14"/>
                    </a:cubicBezTo>
                    <a:cubicBezTo>
                      <a:pt x="107" y="12"/>
                      <a:pt x="109" y="11"/>
                      <a:pt x="111" y="11"/>
                    </a:cubicBezTo>
                    <a:cubicBezTo>
                      <a:pt x="113" y="10"/>
                      <a:pt x="113" y="10"/>
                      <a:pt x="113" y="10"/>
                    </a:cubicBezTo>
                    <a:cubicBezTo>
                      <a:pt x="112" y="8"/>
                      <a:pt x="112" y="8"/>
                      <a:pt x="112" y="8"/>
                    </a:cubicBezTo>
                    <a:cubicBezTo>
                      <a:pt x="113" y="10"/>
                      <a:pt x="113" y="10"/>
                      <a:pt x="113" y="10"/>
                    </a:cubicBezTo>
                    <a:cubicBezTo>
                      <a:pt x="114" y="10"/>
                      <a:pt x="114" y="10"/>
                      <a:pt x="114" y="10"/>
                    </a:cubicBezTo>
                    <a:cubicBezTo>
                      <a:pt x="115" y="10"/>
                      <a:pt x="115" y="10"/>
                      <a:pt x="116" y="9"/>
                    </a:cubicBezTo>
                    <a:cubicBezTo>
                      <a:pt x="118" y="7"/>
                      <a:pt x="120" y="5"/>
                      <a:pt x="122" y="3"/>
                    </a:cubicBezTo>
                    <a:cubicBezTo>
                      <a:pt x="124" y="1"/>
                      <a:pt x="124" y="1"/>
                      <a:pt x="124" y="1"/>
                    </a:cubicBezTo>
                    <a:cubicBezTo>
                      <a:pt x="124" y="1"/>
                      <a:pt x="124" y="1"/>
                      <a:pt x="124" y="1"/>
                    </a:cubicBezTo>
                    <a:cubicBezTo>
                      <a:pt x="124" y="0"/>
                      <a:pt x="124" y="0"/>
                      <a:pt x="1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364"/>
              <p:cNvSpPr/>
              <p:nvPr/>
            </p:nvSpPr>
            <p:spPr bwMode="auto">
              <a:xfrm>
                <a:off x="4102" y="1794"/>
                <a:ext cx="10" cy="4"/>
              </a:xfrm>
              <a:custGeom>
                <a:gdLst>
                  <a:gd name="T0" fmla="*/ 4 w 4"/>
                  <a:gd name="T1" fmla="*/ 0 h 2"/>
                  <a:gd name="T2" fmla="*/ 0 w 4"/>
                  <a:gd name="T3" fmla="*/ 1 h 2"/>
                  <a:gd name="T4" fmla="*/ 3 w 4"/>
                  <a:gd name="T5" fmla="*/ 2 h 2"/>
                  <a:gd name="T6" fmla="*/ 4 w 4"/>
                  <a:gd name="T7" fmla="*/ 0 h 2"/>
                </a:gdLst>
                <a:cxnLst>
                  <a:cxn ang="0">
                    <a:pos x="T0" y="T1"/>
                  </a:cxn>
                  <a:cxn ang="0">
                    <a:pos x="T2" y="T3"/>
                  </a:cxn>
                  <a:cxn ang="0">
                    <a:pos x="T4" y="T5"/>
                  </a:cxn>
                  <a:cxn ang="0">
                    <a:pos x="T6" y="T7"/>
                  </a:cxn>
                </a:cxnLst>
                <a:rect l="0" t="0" r="r" b="b"/>
                <a:pathLst>
                  <a:path w="4" h="2">
                    <a:moveTo>
                      <a:pt x="4" y="0"/>
                    </a:moveTo>
                    <a:cubicBezTo>
                      <a:pt x="0" y="1"/>
                      <a:pt x="0" y="1"/>
                      <a:pt x="0" y="1"/>
                    </a:cubicBezTo>
                    <a:cubicBezTo>
                      <a:pt x="1" y="1"/>
                      <a:pt x="2" y="2"/>
                      <a:pt x="3" y="2"/>
                    </a:cubicBezTo>
                    <a:cubicBezTo>
                      <a:pt x="3"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Freeform 365"/>
              <p:cNvSpPr/>
              <p:nvPr/>
            </p:nvSpPr>
            <p:spPr bwMode="auto">
              <a:xfrm>
                <a:off x="4057" y="1770"/>
                <a:ext cx="57" cy="163"/>
              </a:xfrm>
              <a:custGeom>
                <a:gdLst>
                  <a:gd name="T0" fmla="*/ 23 w 24"/>
                  <a:gd name="T1" fmla="*/ 0 h 69"/>
                  <a:gd name="T2" fmla="*/ 21 w 24"/>
                  <a:gd name="T3" fmla="*/ 0 h 69"/>
                  <a:gd name="T4" fmla="*/ 20 w 24"/>
                  <a:gd name="T5" fmla="*/ 0 h 69"/>
                  <a:gd name="T6" fmla="*/ 15 w 24"/>
                  <a:gd name="T7" fmla="*/ 1 h 69"/>
                  <a:gd name="T8" fmla="*/ 15 w 24"/>
                  <a:gd name="T9" fmla="*/ 3 h 69"/>
                  <a:gd name="T10" fmla="*/ 13 w 24"/>
                  <a:gd name="T11" fmla="*/ 7 h 69"/>
                  <a:gd name="T12" fmla="*/ 4 w 24"/>
                  <a:gd name="T13" fmla="*/ 30 h 69"/>
                  <a:gd name="T14" fmla="*/ 4 w 24"/>
                  <a:gd name="T15" fmla="*/ 30 h 69"/>
                  <a:gd name="T16" fmla="*/ 0 w 24"/>
                  <a:gd name="T17" fmla="*/ 34 h 69"/>
                  <a:gd name="T18" fmla="*/ 1 w 24"/>
                  <a:gd name="T19" fmla="*/ 35 h 69"/>
                  <a:gd name="T20" fmla="*/ 0 w 24"/>
                  <a:gd name="T21" fmla="*/ 36 h 69"/>
                  <a:gd name="T22" fmla="*/ 1 w 24"/>
                  <a:gd name="T23" fmla="*/ 35 h 69"/>
                  <a:gd name="T24" fmla="*/ 1 w 24"/>
                  <a:gd name="T25" fmla="*/ 36 h 69"/>
                  <a:gd name="T26" fmla="*/ 2 w 24"/>
                  <a:gd name="T27" fmla="*/ 37 h 69"/>
                  <a:gd name="T28" fmla="*/ 1 w 24"/>
                  <a:gd name="T29" fmla="*/ 37 h 69"/>
                  <a:gd name="T30" fmla="*/ 12 w 24"/>
                  <a:gd name="T31" fmla="*/ 69 h 69"/>
                  <a:gd name="T32" fmla="*/ 15 w 24"/>
                  <a:gd name="T33" fmla="*/ 56 h 69"/>
                  <a:gd name="T34" fmla="*/ 16 w 24"/>
                  <a:gd name="T35" fmla="*/ 51 h 69"/>
                  <a:gd name="T36" fmla="*/ 18 w 24"/>
                  <a:gd name="T37" fmla="*/ 45 h 69"/>
                  <a:gd name="T38" fmla="*/ 18 w 24"/>
                  <a:gd name="T39" fmla="*/ 44 h 69"/>
                  <a:gd name="T40" fmla="*/ 19 w 24"/>
                  <a:gd name="T41" fmla="*/ 41 h 69"/>
                  <a:gd name="T42" fmla="*/ 20 w 24"/>
                  <a:gd name="T43" fmla="*/ 34 h 69"/>
                  <a:gd name="T44" fmla="*/ 20 w 24"/>
                  <a:gd name="T45" fmla="*/ 34 h 69"/>
                  <a:gd name="T46" fmla="*/ 17 w 24"/>
                  <a:gd name="T47" fmla="*/ 35 h 69"/>
                  <a:gd name="T48" fmla="*/ 17 w 24"/>
                  <a:gd name="T49" fmla="*/ 35 h 69"/>
                  <a:gd name="T50" fmla="*/ 16 w 24"/>
                  <a:gd name="T51" fmla="*/ 35 h 69"/>
                  <a:gd name="T52" fmla="*/ 16 w 24"/>
                  <a:gd name="T53" fmla="*/ 35 h 69"/>
                  <a:gd name="T54" fmla="*/ 15 w 24"/>
                  <a:gd name="T55" fmla="*/ 35 h 69"/>
                  <a:gd name="T56" fmla="*/ 14 w 24"/>
                  <a:gd name="T57" fmla="*/ 35 h 69"/>
                  <a:gd name="T58" fmla="*/ 14 w 24"/>
                  <a:gd name="T59" fmla="*/ 35 h 69"/>
                  <a:gd name="T60" fmla="*/ 12 w 24"/>
                  <a:gd name="T61" fmla="*/ 35 h 69"/>
                  <a:gd name="T62" fmla="*/ 17 w 24"/>
                  <a:gd name="T63" fmla="*/ 27 h 69"/>
                  <a:gd name="T64" fmla="*/ 18 w 24"/>
                  <a:gd name="T65" fmla="*/ 27 h 69"/>
                  <a:gd name="T66" fmla="*/ 13 w 24"/>
                  <a:gd name="T67" fmla="*/ 25 h 69"/>
                  <a:gd name="T68" fmla="*/ 14 w 24"/>
                  <a:gd name="T69" fmla="*/ 14 h 69"/>
                  <a:gd name="T70" fmla="*/ 17 w 24"/>
                  <a:gd name="T71" fmla="*/ 11 h 69"/>
                  <a:gd name="T72" fmla="*/ 17 w 24"/>
                  <a:gd name="T73" fmla="*/ 10 h 69"/>
                  <a:gd name="T74" fmla="*/ 18 w 24"/>
                  <a:gd name="T75" fmla="*/ 10 h 69"/>
                  <a:gd name="T76" fmla="*/ 24 w 24"/>
                  <a:gd name="T77" fmla="*/ 6 h 69"/>
                  <a:gd name="T78" fmla="*/ 24 w 24"/>
                  <a:gd name="T79" fmla="*/ 5 h 69"/>
                  <a:gd name="T80" fmla="*/ 24 w 24"/>
                  <a:gd name="T81" fmla="*/ 5 h 69"/>
                  <a:gd name="T82" fmla="*/ 23 w 24"/>
                  <a:gd name="T83" fmla="*/ 1 h 69"/>
                  <a:gd name="T84" fmla="*/ 23 w 24"/>
                  <a:gd name="T85" fmla="*/ 0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 h="69">
                    <a:moveTo>
                      <a:pt x="23" y="0"/>
                    </a:moveTo>
                    <a:cubicBezTo>
                      <a:pt x="23" y="0"/>
                      <a:pt x="22" y="0"/>
                      <a:pt x="21" y="0"/>
                    </a:cubicBezTo>
                    <a:cubicBezTo>
                      <a:pt x="21" y="0"/>
                      <a:pt x="20" y="0"/>
                      <a:pt x="20" y="0"/>
                    </a:cubicBezTo>
                    <a:cubicBezTo>
                      <a:pt x="15" y="1"/>
                      <a:pt x="15" y="1"/>
                      <a:pt x="15" y="1"/>
                    </a:cubicBezTo>
                    <a:cubicBezTo>
                      <a:pt x="15" y="1"/>
                      <a:pt x="15" y="2"/>
                      <a:pt x="15" y="3"/>
                    </a:cubicBezTo>
                    <a:cubicBezTo>
                      <a:pt x="15" y="4"/>
                      <a:pt x="14" y="6"/>
                      <a:pt x="13" y="7"/>
                    </a:cubicBezTo>
                    <a:cubicBezTo>
                      <a:pt x="10" y="15"/>
                      <a:pt x="8" y="23"/>
                      <a:pt x="4" y="30"/>
                    </a:cubicBezTo>
                    <a:cubicBezTo>
                      <a:pt x="4" y="30"/>
                      <a:pt x="4" y="30"/>
                      <a:pt x="4" y="30"/>
                    </a:cubicBezTo>
                    <a:cubicBezTo>
                      <a:pt x="3" y="32"/>
                      <a:pt x="1" y="33"/>
                      <a:pt x="0" y="34"/>
                    </a:cubicBezTo>
                    <a:cubicBezTo>
                      <a:pt x="1" y="35"/>
                      <a:pt x="1" y="35"/>
                      <a:pt x="1" y="35"/>
                    </a:cubicBezTo>
                    <a:cubicBezTo>
                      <a:pt x="0" y="36"/>
                      <a:pt x="0" y="36"/>
                      <a:pt x="0" y="36"/>
                    </a:cubicBezTo>
                    <a:cubicBezTo>
                      <a:pt x="1" y="35"/>
                      <a:pt x="1" y="35"/>
                      <a:pt x="1" y="35"/>
                    </a:cubicBezTo>
                    <a:cubicBezTo>
                      <a:pt x="1" y="36"/>
                      <a:pt x="1" y="36"/>
                      <a:pt x="1" y="36"/>
                    </a:cubicBezTo>
                    <a:cubicBezTo>
                      <a:pt x="2" y="37"/>
                      <a:pt x="2" y="37"/>
                      <a:pt x="2" y="37"/>
                    </a:cubicBezTo>
                    <a:cubicBezTo>
                      <a:pt x="1" y="37"/>
                      <a:pt x="1" y="37"/>
                      <a:pt x="1" y="37"/>
                    </a:cubicBezTo>
                    <a:cubicBezTo>
                      <a:pt x="12" y="69"/>
                      <a:pt x="12" y="69"/>
                      <a:pt x="12" y="69"/>
                    </a:cubicBezTo>
                    <a:cubicBezTo>
                      <a:pt x="12" y="64"/>
                      <a:pt x="14" y="60"/>
                      <a:pt x="15" y="56"/>
                    </a:cubicBezTo>
                    <a:cubicBezTo>
                      <a:pt x="16" y="51"/>
                      <a:pt x="16" y="51"/>
                      <a:pt x="16" y="51"/>
                    </a:cubicBezTo>
                    <a:cubicBezTo>
                      <a:pt x="16" y="49"/>
                      <a:pt x="17" y="47"/>
                      <a:pt x="18" y="45"/>
                    </a:cubicBezTo>
                    <a:cubicBezTo>
                      <a:pt x="18" y="44"/>
                      <a:pt x="18" y="44"/>
                      <a:pt x="18" y="44"/>
                    </a:cubicBezTo>
                    <a:cubicBezTo>
                      <a:pt x="18" y="43"/>
                      <a:pt x="18" y="42"/>
                      <a:pt x="19" y="41"/>
                    </a:cubicBezTo>
                    <a:cubicBezTo>
                      <a:pt x="19" y="39"/>
                      <a:pt x="19" y="37"/>
                      <a:pt x="20" y="34"/>
                    </a:cubicBezTo>
                    <a:cubicBezTo>
                      <a:pt x="20" y="34"/>
                      <a:pt x="20" y="34"/>
                      <a:pt x="20" y="34"/>
                    </a:cubicBezTo>
                    <a:cubicBezTo>
                      <a:pt x="19" y="34"/>
                      <a:pt x="18" y="34"/>
                      <a:pt x="17" y="35"/>
                    </a:cubicBezTo>
                    <a:cubicBezTo>
                      <a:pt x="17" y="35"/>
                      <a:pt x="17" y="35"/>
                      <a:pt x="17" y="35"/>
                    </a:cubicBezTo>
                    <a:cubicBezTo>
                      <a:pt x="16" y="35"/>
                      <a:pt x="16" y="35"/>
                      <a:pt x="16" y="35"/>
                    </a:cubicBezTo>
                    <a:cubicBezTo>
                      <a:pt x="16" y="35"/>
                      <a:pt x="16" y="35"/>
                      <a:pt x="16" y="35"/>
                    </a:cubicBezTo>
                    <a:cubicBezTo>
                      <a:pt x="16" y="35"/>
                      <a:pt x="15" y="35"/>
                      <a:pt x="15" y="35"/>
                    </a:cubicBezTo>
                    <a:cubicBezTo>
                      <a:pt x="15" y="35"/>
                      <a:pt x="14" y="35"/>
                      <a:pt x="14" y="35"/>
                    </a:cubicBezTo>
                    <a:cubicBezTo>
                      <a:pt x="14" y="35"/>
                      <a:pt x="14" y="35"/>
                      <a:pt x="14" y="35"/>
                    </a:cubicBezTo>
                    <a:cubicBezTo>
                      <a:pt x="13" y="35"/>
                      <a:pt x="13" y="35"/>
                      <a:pt x="12" y="35"/>
                    </a:cubicBezTo>
                    <a:cubicBezTo>
                      <a:pt x="12" y="33"/>
                      <a:pt x="13" y="27"/>
                      <a:pt x="17" y="27"/>
                    </a:cubicBezTo>
                    <a:cubicBezTo>
                      <a:pt x="17" y="27"/>
                      <a:pt x="17" y="27"/>
                      <a:pt x="18" y="27"/>
                    </a:cubicBezTo>
                    <a:cubicBezTo>
                      <a:pt x="16" y="25"/>
                      <a:pt x="15" y="25"/>
                      <a:pt x="13" y="25"/>
                    </a:cubicBezTo>
                    <a:cubicBezTo>
                      <a:pt x="14" y="21"/>
                      <a:pt x="13" y="17"/>
                      <a:pt x="14" y="14"/>
                    </a:cubicBezTo>
                    <a:cubicBezTo>
                      <a:pt x="15" y="12"/>
                      <a:pt x="16" y="11"/>
                      <a:pt x="17" y="11"/>
                    </a:cubicBezTo>
                    <a:cubicBezTo>
                      <a:pt x="17" y="10"/>
                      <a:pt x="17" y="10"/>
                      <a:pt x="17" y="10"/>
                    </a:cubicBezTo>
                    <a:cubicBezTo>
                      <a:pt x="18" y="10"/>
                      <a:pt x="18" y="10"/>
                      <a:pt x="18" y="10"/>
                    </a:cubicBezTo>
                    <a:cubicBezTo>
                      <a:pt x="24" y="6"/>
                      <a:pt x="24" y="6"/>
                      <a:pt x="24" y="6"/>
                    </a:cubicBezTo>
                    <a:cubicBezTo>
                      <a:pt x="24" y="5"/>
                      <a:pt x="24" y="5"/>
                      <a:pt x="24" y="5"/>
                    </a:cubicBezTo>
                    <a:cubicBezTo>
                      <a:pt x="24" y="5"/>
                      <a:pt x="24" y="5"/>
                      <a:pt x="24" y="5"/>
                    </a:cubicBezTo>
                    <a:cubicBezTo>
                      <a:pt x="23" y="4"/>
                      <a:pt x="23" y="3"/>
                      <a:pt x="23" y="1"/>
                    </a:cubicBezTo>
                    <a:cubicBezTo>
                      <a:pt x="23" y="1"/>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366"/>
              <p:cNvSpPr/>
              <p:nvPr/>
            </p:nvSpPr>
            <p:spPr bwMode="auto">
              <a:xfrm>
                <a:off x="3686" y="1299"/>
                <a:ext cx="839" cy="322"/>
              </a:xfrm>
              <a:custGeom>
                <a:gdLst>
                  <a:gd name="T0" fmla="*/ 157 w 355"/>
                  <a:gd name="T1" fmla="*/ 2 h 136"/>
                  <a:gd name="T2" fmla="*/ 112 w 355"/>
                  <a:gd name="T3" fmla="*/ 12 h 136"/>
                  <a:gd name="T4" fmla="*/ 80 w 355"/>
                  <a:gd name="T5" fmla="*/ 20 h 136"/>
                  <a:gd name="T6" fmla="*/ 59 w 355"/>
                  <a:gd name="T7" fmla="*/ 19 h 136"/>
                  <a:gd name="T8" fmla="*/ 73 w 355"/>
                  <a:gd name="T9" fmla="*/ 30 h 136"/>
                  <a:gd name="T10" fmla="*/ 48 w 355"/>
                  <a:gd name="T11" fmla="*/ 38 h 136"/>
                  <a:gd name="T12" fmla="*/ 30 w 355"/>
                  <a:gd name="T13" fmla="*/ 39 h 136"/>
                  <a:gd name="T14" fmla="*/ 10 w 355"/>
                  <a:gd name="T15" fmla="*/ 41 h 136"/>
                  <a:gd name="T16" fmla="*/ 1 w 355"/>
                  <a:gd name="T17" fmla="*/ 59 h 136"/>
                  <a:gd name="T18" fmla="*/ 14 w 355"/>
                  <a:gd name="T19" fmla="*/ 69 h 136"/>
                  <a:gd name="T20" fmla="*/ 13 w 355"/>
                  <a:gd name="T21" fmla="*/ 75 h 136"/>
                  <a:gd name="T22" fmla="*/ 9 w 355"/>
                  <a:gd name="T23" fmla="*/ 77 h 136"/>
                  <a:gd name="T24" fmla="*/ 6 w 355"/>
                  <a:gd name="T25" fmla="*/ 84 h 136"/>
                  <a:gd name="T26" fmla="*/ 10 w 355"/>
                  <a:gd name="T27" fmla="*/ 87 h 136"/>
                  <a:gd name="T28" fmla="*/ 18 w 355"/>
                  <a:gd name="T29" fmla="*/ 99 h 136"/>
                  <a:gd name="T30" fmla="*/ 25 w 355"/>
                  <a:gd name="T31" fmla="*/ 111 h 136"/>
                  <a:gd name="T32" fmla="*/ 43 w 355"/>
                  <a:gd name="T33" fmla="*/ 112 h 136"/>
                  <a:gd name="T34" fmla="*/ 27 w 355"/>
                  <a:gd name="T35" fmla="*/ 120 h 136"/>
                  <a:gd name="T36" fmla="*/ 39 w 355"/>
                  <a:gd name="T37" fmla="*/ 121 h 136"/>
                  <a:gd name="T38" fmla="*/ 48 w 355"/>
                  <a:gd name="T39" fmla="*/ 117 h 136"/>
                  <a:gd name="T40" fmla="*/ 71 w 355"/>
                  <a:gd name="T41" fmla="*/ 132 h 136"/>
                  <a:gd name="T42" fmla="*/ 82 w 355"/>
                  <a:gd name="T43" fmla="*/ 130 h 136"/>
                  <a:gd name="T44" fmla="*/ 104 w 355"/>
                  <a:gd name="T45" fmla="*/ 120 h 136"/>
                  <a:gd name="T46" fmla="*/ 142 w 355"/>
                  <a:gd name="T47" fmla="*/ 132 h 136"/>
                  <a:gd name="T48" fmla="*/ 175 w 355"/>
                  <a:gd name="T49" fmla="*/ 122 h 136"/>
                  <a:gd name="T50" fmla="*/ 189 w 355"/>
                  <a:gd name="T51" fmla="*/ 116 h 136"/>
                  <a:gd name="T52" fmla="*/ 192 w 355"/>
                  <a:gd name="T53" fmla="*/ 134 h 136"/>
                  <a:gd name="T54" fmla="*/ 195 w 355"/>
                  <a:gd name="T55" fmla="*/ 131 h 136"/>
                  <a:gd name="T56" fmla="*/ 199 w 355"/>
                  <a:gd name="T57" fmla="*/ 117 h 136"/>
                  <a:gd name="T58" fmla="*/ 215 w 355"/>
                  <a:gd name="T59" fmla="*/ 118 h 136"/>
                  <a:gd name="T60" fmla="*/ 239 w 355"/>
                  <a:gd name="T61" fmla="*/ 114 h 136"/>
                  <a:gd name="T62" fmla="*/ 252 w 355"/>
                  <a:gd name="T63" fmla="*/ 118 h 136"/>
                  <a:gd name="T64" fmla="*/ 266 w 355"/>
                  <a:gd name="T65" fmla="*/ 114 h 136"/>
                  <a:gd name="T66" fmla="*/ 282 w 355"/>
                  <a:gd name="T67" fmla="*/ 108 h 136"/>
                  <a:gd name="T68" fmla="*/ 311 w 355"/>
                  <a:gd name="T69" fmla="*/ 105 h 136"/>
                  <a:gd name="T70" fmla="*/ 325 w 355"/>
                  <a:gd name="T71" fmla="*/ 103 h 136"/>
                  <a:gd name="T72" fmla="*/ 331 w 355"/>
                  <a:gd name="T73" fmla="*/ 104 h 136"/>
                  <a:gd name="T74" fmla="*/ 349 w 355"/>
                  <a:gd name="T75" fmla="*/ 109 h 136"/>
                  <a:gd name="T76" fmla="*/ 355 w 355"/>
                  <a:gd name="T77" fmla="*/ 108 h 136"/>
                  <a:gd name="T78" fmla="*/ 354 w 355"/>
                  <a:gd name="T79" fmla="*/ 107 h 136"/>
                  <a:gd name="T80" fmla="*/ 351 w 355"/>
                  <a:gd name="T81" fmla="*/ 99 h 136"/>
                  <a:gd name="T82" fmla="*/ 349 w 355"/>
                  <a:gd name="T83" fmla="*/ 97 h 136"/>
                  <a:gd name="T84" fmla="*/ 344 w 355"/>
                  <a:gd name="T85" fmla="*/ 92 h 136"/>
                  <a:gd name="T86" fmla="*/ 346 w 355"/>
                  <a:gd name="T87" fmla="*/ 82 h 136"/>
                  <a:gd name="T88" fmla="*/ 341 w 355"/>
                  <a:gd name="T89" fmla="*/ 65 h 136"/>
                  <a:gd name="T90" fmla="*/ 348 w 355"/>
                  <a:gd name="T91" fmla="*/ 55 h 136"/>
                  <a:gd name="T92" fmla="*/ 336 w 355"/>
                  <a:gd name="T93" fmla="*/ 47 h 136"/>
                  <a:gd name="T94" fmla="*/ 333 w 355"/>
                  <a:gd name="T95" fmla="*/ 40 h 136"/>
                  <a:gd name="T96" fmla="*/ 334 w 355"/>
                  <a:gd name="T97" fmla="*/ 32 h 136"/>
                  <a:gd name="T98" fmla="*/ 333 w 355"/>
                  <a:gd name="T99" fmla="*/ 27 h 136"/>
                  <a:gd name="T100" fmla="*/ 326 w 355"/>
                  <a:gd name="T101" fmla="*/ 20 h 136"/>
                  <a:gd name="T102" fmla="*/ 321 w 355"/>
                  <a:gd name="T103" fmla="*/ 16 h 136"/>
                  <a:gd name="T104" fmla="*/ 316 w 355"/>
                  <a:gd name="T105" fmla="*/ 14 h 136"/>
                  <a:gd name="T106" fmla="*/ 303 w 355"/>
                  <a:gd name="T107" fmla="*/ 15 h 136"/>
                  <a:gd name="T108" fmla="*/ 297 w 355"/>
                  <a:gd name="T109" fmla="*/ 18 h 136"/>
                  <a:gd name="T110" fmla="*/ 272 w 355"/>
                  <a:gd name="T111" fmla="*/ 25 h 136"/>
                  <a:gd name="T112" fmla="*/ 265 w 355"/>
                  <a:gd name="T113" fmla="*/ 25 h 136"/>
                  <a:gd name="T114" fmla="*/ 251 w 355"/>
                  <a:gd name="T115" fmla="*/ 23 h 136"/>
                  <a:gd name="T116" fmla="*/ 235 w 355"/>
                  <a:gd name="T117" fmla="*/ 26 h 136"/>
                  <a:gd name="T118" fmla="*/ 198 w 355"/>
                  <a:gd name="T119" fmla="*/ 18 h 136"/>
                  <a:gd name="T120" fmla="*/ 180 w 355"/>
                  <a:gd name="T121" fmla="*/ 9 h 1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 h="136">
                    <a:moveTo>
                      <a:pt x="173" y="0"/>
                    </a:moveTo>
                    <a:cubicBezTo>
                      <a:pt x="171" y="0"/>
                      <a:pt x="169" y="1"/>
                      <a:pt x="169" y="1"/>
                    </a:cubicBezTo>
                    <a:cubicBezTo>
                      <a:pt x="167" y="2"/>
                      <a:pt x="164" y="2"/>
                      <a:pt x="162" y="2"/>
                    </a:cubicBezTo>
                    <a:cubicBezTo>
                      <a:pt x="161" y="2"/>
                      <a:pt x="160" y="2"/>
                      <a:pt x="159" y="2"/>
                    </a:cubicBezTo>
                    <a:cubicBezTo>
                      <a:pt x="159" y="2"/>
                      <a:pt x="158" y="2"/>
                      <a:pt x="157" y="2"/>
                    </a:cubicBezTo>
                    <a:cubicBezTo>
                      <a:pt x="157" y="2"/>
                      <a:pt x="156" y="2"/>
                      <a:pt x="156" y="2"/>
                    </a:cubicBezTo>
                    <a:cubicBezTo>
                      <a:pt x="152" y="2"/>
                      <a:pt x="146" y="2"/>
                      <a:pt x="142" y="1"/>
                    </a:cubicBezTo>
                    <a:cubicBezTo>
                      <a:pt x="141" y="1"/>
                      <a:pt x="141" y="1"/>
                      <a:pt x="140" y="1"/>
                    </a:cubicBezTo>
                    <a:cubicBezTo>
                      <a:pt x="135" y="1"/>
                      <a:pt x="131" y="4"/>
                      <a:pt x="126" y="5"/>
                    </a:cubicBezTo>
                    <a:cubicBezTo>
                      <a:pt x="120" y="6"/>
                      <a:pt x="117" y="9"/>
                      <a:pt x="112" y="12"/>
                    </a:cubicBezTo>
                    <a:cubicBezTo>
                      <a:pt x="110" y="13"/>
                      <a:pt x="107" y="15"/>
                      <a:pt x="105" y="17"/>
                    </a:cubicBezTo>
                    <a:cubicBezTo>
                      <a:pt x="104" y="18"/>
                      <a:pt x="101" y="21"/>
                      <a:pt x="99" y="22"/>
                    </a:cubicBezTo>
                    <a:cubicBezTo>
                      <a:pt x="97" y="22"/>
                      <a:pt x="95" y="22"/>
                      <a:pt x="93" y="22"/>
                    </a:cubicBezTo>
                    <a:cubicBezTo>
                      <a:pt x="89" y="22"/>
                      <a:pt x="86" y="21"/>
                      <a:pt x="82" y="20"/>
                    </a:cubicBezTo>
                    <a:cubicBezTo>
                      <a:pt x="82" y="20"/>
                      <a:pt x="81" y="20"/>
                      <a:pt x="80" y="20"/>
                    </a:cubicBezTo>
                    <a:cubicBezTo>
                      <a:pt x="78" y="20"/>
                      <a:pt x="75" y="20"/>
                      <a:pt x="73" y="21"/>
                    </a:cubicBezTo>
                    <a:cubicBezTo>
                      <a:pt x="73" y="21"/>
                      <a:pt x="73" y="21"/>
                      <a:pt x="72" y="21"/>
                    </a:cubicBezTo>
                    <a:cubicBezTo>
                      <a:pt x="70" y="21"/>
                      <a:pt x="67" y="20"/>
                      <a:pt x="65" y="19"/>
                    </a:cubicBezTo>
                    <a:cubicBezTo>
                      <a:pt x="64" y="19"/>
                      <a:pt x="62" y="19"/>
                      <a:pt x="60" y="19"/>
                    </a:cubicBezTo>
                    <a:cubicBezTo>
                      <a:pt x="60" y="19"/>
                      <a:pt x="59" y="19"/>
                      <a:pt x="59" y="19"/>
                    </a:cubicBezTo>
                    <a:cubicBezTo>
                      <a:pt x="59" y="20"/>
                      <a:pt x="59" y="20"/>
                      <a:pt x="59" y="20"/>
                    </a:cubicBezTo>
                    <a:cubicBezTo>
                      <a:pt x="60" y="20"/>
                      <a:pt x="61" y="22"/>
                      <a:pt x="61" y="24"/>
                    </a:cubicBezTo>
                    <a:cubicBezTo>
                      <a:pt x="61" y="25"/>
                      <a:pt x="60" y="25"/>
                      <a:pt x="60" y="26"/>
                    </a:cubicBezTo>
                    <a:cubicBezTo>
                      <a:pt x="62" y="27"/>
                      <a:pt x="63" y="29"/>
                      <a:pt x="66" y="29"/>
                    </a:cubicBezTo>
                    <a:cubicBezTo>
                      <a:pt x="68" y="30"/>
                      <a:pt x="70" y="29"/>
                      <a:pt x="73" y="30"/>
                    </a:cubicBezTo>
                    <a:cubicBezTo>
                      <a:pt x="68" y="31"/>
                      <a:pt x="64" y="31"/>
                      <a:pt x="60" y="32"/>
                    </a:cubicBezTo>
                    <a:cubicBezTo>
                      <a:pt x="58" y="32"/>
                      <a:pt x="53" y="33"/>
                      <a:pt x="52" y="35"/>
                    </a:cubicBezTo>
                    <a:cubicBezTo>
                      <a:pt x="54" y="35"/>
                      <a:pt x="57" y="35"/>
                      <a:pt x="59" y="37"/>
                    </a:cubicBezTo>
                    <a:cubicBezTo>
                      <a:pt x="57" y="38"/>
                      <a:pt x="55" y="39"/>
                      <a:pt x="53" y="39"/>
                    </a:cubicBezTo>
                    <a:cubicBezTo>
                      <a:pt x="52" y="39"/>
                      <a:pt x="50" y="38"/>
                      <a:pt x="48" y="38"/>
                    </a:cubicBezTo>
                    <a:cubicBezTo>
                      <a:pt x="45" y="38"/>
                      <a:pt x="43" y="38"/>
                      <a:pt x="40" y="38"/>
                    </a:cubicBezTo>
                    <a:cubicBezTo>
                      <a:pt x="38" y="38"/>
                      <a:pt x="37" y="38"/>
                      <a:pt x="35" y="38"/>
                    </a:cubicBezTo>
                    <a:cubicBezTo>
                      <a:pt x="36" y="34"/>
                      <a:pt x="35" y="35"/>
                      <a:pt x="32" y="35"/>
                    </a:cubicBezTo>
                    <a:cubicBezTo>
                      <a:pt x="33" y="36"/>
                      <a:pt x="34" y="37"/>
                      <a:pt x="35" y="38"/>
                    </a:cubicBezTo>
                    <a:cubicBezTo>
                      <a:pt x="33" y="39"/>
                      <a:pt x="31" y="39"/>
                      <a:pt x="30" y="39"/>
                    </a:cubicBezTo>
                    <a:cubicBezTo>
                      <a:pt x="29" y="39"/>
                      <a:pt x="29" y="39"/>
                      <a:pt x="28" y="39"/>
                    </a:cubicBezTo>
                    <a:cubicBezTo>
                      <a:pt x="27" y="39"/>
                      <a:pt x="26" y="39"/>
                      <a:pt x="25" y="37"/>
                    </a:cubicBezTo>
                    <a:cubicBezTo>
                      <a:pt x="24" y="37"/>
                      <a:pt x="24" y="36"/>
                      <a:pt x="23" y="36"/>
                    </a:cubicBezTo>
                    <a:cubicBezTo>
                      <a:pt x="23" y="36"/>
                      <a:pt x="23" y="36"/>
                      <a:pt x="22" y="36"/>
                    </a:cubicBezTo>
                    <a:cubicBezTo>
                      <a:pt x="18" y="38"/>
                      <a:pt x="14" y="39"/>
                      <a:pt x="10" y="41"/>
                    </a:cubicBezTo>
                    <a:cubicBezTo>
                      <a:pt x="7" y="42"/>
                      <a:pt x="3" y="45"/>
                      <a:pt x="2" y="48"/>
                    </a:cubicBezTo>
                    <a:cubicBezTo>
                      <a:pt x="1" y="50"/>
                      <a:pt x="2" y="53"/>
                      <a:pt x="2" y="55"/>
                    </a:cubicBezTo>
                    <a:cubicBezTo>
                      <a:pt x="2" y="56"/>
                      <a:pt x="1" y="56"/>
                      <a:pt x="1" y="57"/>
                    </a:cubicBezTo>
                    <a:cubicBezTo>
                      <a:pt x="1" y="58"/>
                      <a:pt x="0" y="58"/>
                      <a:pt x="0" y="58"/>
                    </a:cubicBezTo>
                    <a:cubicBezTo>
                      <a:pt x="1" y="59"/>
                      <a:pt x="1" y="59"/>
                      <a:pt x="1" y="59"/>
                    </a:cubicBezTo>
                    <a:cubicBezTo>
                      <a:pt x="3" y="59"/>
                      <a:pt x="5" y="58"/>
                      <a:pt x="6" y="58"/>
                    </a:cubicBezTo>
                    <a:cubicBezTo>
                      <a:pt x="10" y="57"/>
                      <a:pt x="13" y="57"/>
                      <a:pt x="17" y="57"/>
                    </a:cubicBezTo>
                    <a:cubicBezTo>
                      <a:pt x="15" y="59"/>
                      <a:pt x="13" y="61"/>
                      <a:pt x="11" y="62"/>
                    </a:cubicBezTo>
                    <a:cubicBezTo>
                      <a:pt x="12" y="63"/>
                      <a:pt x="13" y="64"/>
                      <a:pt x="14" y="65"/>
                    </a:cubicBezTo>
                    <a:cubicBezTo>
                      <a:pt x="14" y="66"/>
                      <a:pt x="14" y="68"/>
                      <a:pt x="14" y="69"/>
                    </a:cubicBezTo>
                    <a:cubicBezTo>
                      <a:pt x="15" y="71"/>
                      <a:pt x="17" y="70"/>
                      <a:pt x="19" y="71"/>
                    </a:cubicBezTo>
                    <a:cubicBezTo>
                      <a:pt x="18" y="73"/>
                      <a:pt x="17" y="75"/>
                      <a:pt x="14" y="75"/>
                    </a:cubicBezTo>
                    <a:cubicBezTo>
                      <a:pt x="14" y="75"/>
                      <a:pt x="14" y="75"/>
                      <a:pt x="14" y="75"/>
                    </a:cubicBezTo>
                    <a:cubicBezTo>
                      <a:pt x="14" y="75"/>
                      <a:pt x="14" y="75"/>
                      <a:pt x="14" y="75"/>
                    </a:cubicBezTo>
                    <a:cubicBezTo>
                      <a:pt x="13" y="75"/>
                      <a:pt x="13" y="75"/>
                      <a:pt x="13" y="75"/>
                    </a:cubicBezTo>
                    <a:cubicBezTo>
                      <a:pt x="13" y="79"/>
                      <a:pt x="17" y="81"/>
                      <a:pt x="20" y="82"/>
                    </a:cubicBezTo>
                    <a:cubicBezTo>
                      <a:pt x="18" y="82"/>
                      <a:pt x="17" y="83"/>
                      <a:pt x="16" y="83"/>
                    </a:cubicBezTo>
                    <a:cubicBezTo>
                      <a:pt x="14" y="83"/>
                      <a:pt x="13" y="82"/>
                      <a:pt x="11" y="82"/>
                    </a:cubicBezTo>
                    <a:cubicBezTo>
                      <a:pt x="10" y="81"/>
                      <a:pt x="10" y="80"/>
                      <a:pt x="10" y="79"/>
                    </a:cubicBezTo>
                    <a:cubicBezTo>
                      <a:pt x="10" y="78"/>
                      <a:pt x="9" y="78"/>
                      <a:pt x="9" y="77"/>
                    </a:cubicBezTo>
                    <a:cubicBezTo>
                      <a:pt x="8" y="77"/>
                      <a:pt x="8" y="77"/>
                      <a:pt x="8" y="77"/>
                    </a:cubicBezTo>
                    <a:cubicBezTo>
                      <a:pt x="7" y="77"/>
                      <a:pt x="7" y="78"/>
                      <a:pt x="8" y="80"/>
                    </a:cubicBezTo>
                    <a:cubicBezTo>
                      <a:pt x="8" y="81"/>
                      <a:pt x="8" y="83"/>
                      <a:pt x="7" y="84"/>
                    </a:cubicBezTo>
                    <a:cubicBezTo>
                      <a:pt x="7" y="84"/>
                      <a:pt x="7" y="84"/>
                      <a:pt x="6" y="84"/>
                    </a:cubicBezTo>
                    <a:cubicBezTo>
                      <a:pt x="6" y="84"/>
                      <a:pt x="6" y="84"/>
                      <a:pt x="6" y="84"/>
                    </a:cubicBezTo>
                    <a:cubicBezTo>
                      <a:pt x="6" y="84"/>
                      <a:pt x="6" y="84"/>
                      <a:pt x="6" y="84"/>
                    </a:cubicBezTo>
                    <a:cubicBezTo>
                      <a:pt x="6" y="84"/>
                      <a:pt x="5" y="84"/>
                      <a:pt x="5" y="84"/>
                    </a:cubicBezTo>
                    <a:cubicBezTo>
                      <a:pt x="4" y="83"/>
                      <a:pt x="4" y="83"/>
                      <a:pt x="4" y="83"/>
                    </a:cubicBezTo>
                    <a:cubicBezTo>
                      <a:pt x="5" y="84"/>
                      <a:pt x="4" y="85"/>
                      <a:pt x="3" y="85"/>
                    </a:cubicBezTo>
                    <a:cubicBezTo>
                      <a:pt x="6" y="86"/>
                      <a:pt x="8" y="87"/>
                      <a:pt x="10" y="87"/>
                    </a:cubicBezTo>
                    <a:cubicBezTo>
                      <a:pt x="10" y="87"/>
                      <a:pt x="11" y="87"/>
                      <a:pt x="11" y="87"/>
                    </a:cubicBezTo>
                    <a:cubicBezTo>
                      <a:pt x="11" y="87"/>
                      <a:pt x="11" y="87"/>
                      <a:pt x="11" y="87"/>
                    </a:cubicBezTo>
                    <a:cubicBezTo>
                      <a:pt x="14" y="87"/>
                      <a:pt x="17" y="90"/>
                      <a:pt x="20" y="91"/>
                    </a:cubicBezTo>
                    <a:cubicBezTo>
                      <a:pt x="22" y="91"/>
                      <a:pt x="25" y="94"/>
                      <a:pt x="23" y="97"/>
                    </a:cubicBezTo>
                    <a:cubicBezTo>
                      <a:pt x="22" y="98"/>
                      <a:pt x="19" y="98"/>
                      <a:pt x="18" y="99"/>
                    </a:cubicBezTo>
                    <a:cubicBezTo>
                      <a:pt x="21" y="100"/>
                      <a:pt x="23" y="102"/>
                      <a:pt x="22" y="105"/>
                    </a:cubicBezTo>
                    <a:cubicBezTo>
                      <a:pt x="24" y="106"/>
                      <a:pt x="28" y="105"/>
                      <a:pt x="29" y="107"/>
                    </a:cubicBezTo>
                    <a:cubicBezTo>
                      <a:pt x="30" y="108"/>
                      <a:pt x="29" y="111"/>
                      <a:pt x="27" y="111"/>
                    </a:cubicBezTo>
                    <a:cubicBezTo>
                      <a:pt x="27" y="111"/>
                      <a:pt x="27" y="111"/>
                      <a:pt x="27" y="111"/>
                    </a:cubicBezTo>
                    <a:cubicBezTo>
                      <a:pt x="26" y="111"/>
                      <a:pt x="26" y="111"/>
                      <a:pt x="25" y="111"/>
                    </a:cubicBezTo>
                    <a:cubicBezTo>
                      <a:pt x="25" y="111"/>
                      <a:pt x="25" y="110"/>
                      <a:pt x="24" y="110"/>
                    </a:cubicBezTo>
                    <a:cubicBezTo>
                      <a:pt x="24" y="110"/>
                      <a:pt x="24" y="110"/>
                      <a:pt x="24" y="110"/>
                    </a:cubicBezTo>
                    <a:cubicBezTo>
                      <a:pt x="23" y="111"/>
                      <a:pt x="22" y="112"/>
                      <a:pt x="23" y="114"/>
                    </a:cubicBezTo>
                    <a:cubicBezTo>
                      <a:pt x="23" y="114"/>
                      <a:pt x="24" y="114"/>
                      <a:pt x="24" y="114"/>
                    </a:cubicBezTo>
                    <a:cubicBezTo>
                      <a:pt x="30" y="114"/>
                      <a:pt x="37" y="112"/>
                      <a:pt x="43" y="112"/>
                    </a:cubicBezTo>
                    <a:cubicBezTo>
                      <a:pt x="40" y="114"/>
                      <a:pt x="39" y="117"/>
                      <a:pt x="35" y="117"/>
                    </a:cubicBezTo>
                    <a:cubicBezTo>
                      <a:pt x="34" y="117"/>
                      <a:pt x="33" y="118"/>
                      <a:pt x="32" y="118"/>
                    </a:cubicBezTo>
                    <a:cubicBezTo>
                      <a:pt x="31" y="118"/>
                      <a:pt x="30" y="118"/>
                      <a:pt x="29" y="118"/>
                    </a:cubicBezTo>
                    <a:cubicBezTo>
                      <a:pt x="27" y="119"/>
                      <a:pt x="26" y="120"/>
                      <a:pt x="25" y="120"/>
                    </a:cubicBezTo>
                    <a:cubicBezTo>
                      <a:pt x="25" y="120"/>
                      <a:pt x="26" y="120"/>
                      <a:pt x="27" y="120"/>
                    </a:cubicBezTo>
                    <a:cubicBezTo>
                      <a:pt x="30" y="120"/>
                      <a:pt x="38" y="118"/>
                      <a:pt x="39" y="117"/>
                    </a:cubicBezTo>
                    <a:cubicBezTo>
                      <a:pt x="38" y="118"/>
                      <a:pt x="37" y="119"/>
                      <a:pt x="37" y="120"/>
                    </a:cubicBezTo>
                    <a:cubicBezTo>
                      <a:pt x="37" y="120"/>
                      <a:pt x="37" y="120"/>
                      <a:pt x="37" y="120"/>
                    </a:cubicBezTo>
                    <a:cubicBezTo>
                      <a:pt x="38" y="120"/>
                      <a:pt x="38" y="120"/>
                      <a:pt x="38" y="121"/>
                    </a:cubicBezTo>
                    <a:cubicBezTo>
                      <a:pt x="39" y="121"/>
                      <a:pt x="39" y="121"/>
                      <a:pt x="39" y="121"/>
                    </a:cubicBezTo>
                    <a:cubicBezTo>
                      <a:pt x="38" y="122"/>
                      <a:pt x="37" y="122"/>
                      <a:pt x="36" y="122"/>
                    </a:cubicBezTo>
                    <a:cubicBezTo>
                      <a:pt x="36" y="123"/>
                      <a:pt x="37" y="123"/>
                      <a:pt x="37" y="123"/>
                    </a:cubicBezTo>
                    <a:cubicBezTo>
                      <a:pt x="37" y="123"/>
                      <a:pt x="42" y="119"/>
                      <a:pt x="42" y="119"/>
                    </a:cubicBezTo>
                    <a:cubicBezTo>
                      <a:pt x="43" y="117"/>
                      <a:pt x="44" y="117"/>
                      <a:pt x="45" y="117"/>
                    </a:cubicBezTo>
                    <a:cubicBezTo>
                      <a:pt x="46" y="117"/>
                      <a:pt x="47" y="117"/>
                      <a:pt x="48" y="117"/>
                    </a:cubicBezTo>
                    <a:cubicBezTo>
                      <a:pt x="50" y="118"/>
                      <a:pt x="48" y="120"/>
                      <a:pt x="51" y="120"/>
                    </a:cubicBezTo>
                    <a:cubicBezTo>
                      <a:pt x="53" y="120"/>
                      <a:pt x="53" y="122"/>
                      <a:pt x="53" y="122"/>
                    </a:cubicBezTo>
                    <a:cubicBezTo>
                      <a:pt x="54" y="122"/>
                      <a:pt x="54" y="121"/>
                      <a:pt x="55" y="119"/>
                    </a:cubicBezTo>
                    <a:cubicBezTo>
                      <a:pt x="56" y="121"/>
                      <a:pt x="59" y="128"/>
                      <a:pt x="62" y="129"/>
                    </a:cubicBezTo>
                    <a:cubicBezTo>
                      <a:pt x="65" y="130"/>
                      <a:pt x="68" y="131"/>
                      <a:pt x="71" y="132"/>
                    </a:cubicBezTo>
                    <a:cubicBezTo>
                      <a:pt x="71" y="132"/>
                      <a:pt x="71" y="132"/>
                      <a:pt x="71" y="132"/>
                    </a:cubicBezTo>
                    <a:cubicBezTo>
                      <a:pt x="73" y="132"/>
                      <a:pt x="76" y="130"/>
                      <a:pt x="77" y="130"/>
                    </a:cubicBezTo>
                    <a:cubicBezTo>
                      <a:pt x="78" y="129"/>
                      <a:pt x="79" y="128"/>
                      <a:pt x="79" y="128"/>
                    </a:cubicBezTo>
                    <a:cubicBezTo>
                      <a:pt x="80" y="128"/>
                      <a:pt x="81" y="130"/>
                      <a:pt x="82" y="130"/>
                    </a:cubicBezTo>
                    <a:cubicBezTo>
                      <a:pt x="82" y="130"/>
                      <a:pt x="82" y="130"/>
                      <a:pt x="82" y="130"/>
                    </a:cubicBezTo>
                    <a:cubicBezTo>
                      <a:pt x="83" y="130"/>
                      <a:pt x="84" y="130"/>
                      <a:pt x="85" y="128"/>
                    </a:cubicBezTo>
                    <a:cubicBezTo>
                      <a:pt x="85" y="125"/>
                      <a:pt x="85" y="119"/>
                      <a:pt x="87" y="117"/>
                    </a:cubicBezTo>
                    <a:cubicBezTo>
                      <a:pt x="87" y="116"/>
                      <a:pt x="88" y="116"/>
                      <a:pt x="89" y="116"/>
                    </a:cubicBezTo>
                    <a:cubicBezTo>
                      <a:pt x="89" y="116"/>
                      <a:pt x="90" y="116"/>
                      <a:pt x="90" y="116"/>
                    </a:cubicBezTo>
                    <a:cubicBezTo>
                      <a:pt x="95" y="117"/>
                      <a:pt x="99" y="118"/>
                      <a:pt x="104" y="120"/>
                    </a:cubicBezTo>
                    <a:cubicBezTo>
                      <a:pt x="108" y="121"/>
                      <a:pt x="112" y="124"/>
                      <a:pt x="117" y="127"/>
                    </a:cubicBezTo>
                    <a:cubicBezTo>
                      <a:pt x="120" y="129"/>
                      <a:pt x="122" y="133"/>
                      <a:pt x="126" y="133"/>
                    </a:cubicBezTo>
                    <a:cubicBezTo>
                      <a:pt x="126" y="133"/>
                      <a:pt x="126" y="133"/>
                      <a:pt x="126" y="133"/>
                    </a:cubicBezTo>
                    <a:cubicBezTo>
                      <a:pt x="131" y="133"/>
                      <a:pt x="136" y="132"/>
                      <a:pt x="142" y="132"/>
                    </a:cubicBezTo>
                    <a:cubicBezTo>
                      <a:pt x="142" y="132"/>
                      <a:pt x="142" y="132"/>
                      <a:pt x="142" y="132"/>
                    </a:cubicBezTo>
                    <a:cubicBezTo>
                      <a:pt x="142" y="132"/>
                      <a:pt x="142" y="132"/>
                      <a:pt x="142" y="132"/>
                    </a:cubicBezTo>
                    <a:cubicBezTo>
                      <a:pt x="147" y="132"/>
                      <a:pt x="150" y="131"/>
                      <a:pt x="153" y="127"/>
                    </a:cubicBezTo>
                    <a:cubicBezTo>
                      <a:pt x="157" y="122"/>
                      <a:pt x="161" y="120"/>
                      <a:pt x="167" y="118"/>
                    </a:cubicBezTo>
                    <a:cubicBezTo>
                      <a:pt x="166" y="118"/>
                      <a:pt x="173" y="121"/>
                      <a:pt x="173" y="121"/>
                    </a:cubicBezTo>
                    <a:cubicBezTo>
                      <a:pt x="174" y="122"/>
                      <a:pt x="175" y="122"/>
                      <a:pt x="175" y="122"/>
                    </a:cubicBezTo>
                    <a:cubicBezTo>
                      <a:pt x="175" y="122"/>
                      <a:pt x="176" y="123"/>
                      <a:pt x="177" y="123"/>
                    </a:cubicBezTo>
                    <a:cubicBezTo>
                      <a:pt x="177" y="123"/>
                      <a:pt x="177" y="123"/>
                      <a:pt x="177" y="123"/>
                    </a:cubicBezTo>
                    <a:cubicBezTo>
                      <a:pt x="179" y="123"/>
                      <a:pt x="181" y="121"/>
                      <a:pt x="183" y="119"/>
                    </a:cubicBezTo>
                    <a:cubicBezTo>
                      <a:pt x="185" y="118"/>
                      <a:pt x="187" y="116"/>
                      <a:pt x="189" y="116"/>
                    </a:cubicBezTo>
                    <a:cubicBezTo>
                      <a:pt x="189" y="116"/>
                      <a:pt x="189" y="116"/>
                      <a:pt x="189" y="116"/>
                    </a:cubicBezTo>
                    <a:cubicBezTo>
                      <a:pt x="198" y="116"/>
                      <a:pt x="189" y="125"/>
                      <a:pt x="187" y="128"/>
                    </a:cubicBezTo>
                    <a:cubicBezTo>
                      <a:pt x="185" y="131"/>
                      <a:pt x="188" y="132"/>
                      <a:pt x="189" y="135"/>
                    </a:cubicBezTo>
                    <a:cubicBezTo>
                      <a:pt x="189" y="135"/>
                      <a:pt x="189" y="135"/>
                      <a:pt x="189" y="135"/>
                    </a:cubicBezTo>
                    <a:cubicBezTo>
                      <a:pt x="190" y="135"/>
                      <a:pt x="190" y="135"/>
                      <a:pt x="191" y="136"/>
                    </a:cubicBezTo>
                    <a:cubicBezTo>
                      <a:pt x="191" y="135"/>
                      <a:pt x="192" y="135"/>
                      <a:pt x="192" y="134"/>
                    </a:cubicBezTo>
                    <a:cubicBezTo>
                      <a:pt x="193" y="134"/>
                      <a:pt x="193" y="134"/>
                      <a:pt x="193" y="134"/>
                    </a:cubicBezTo>
                    <a:cubicBezTo>
                      <a:pt x="194" y="133"/>
                      <a:pt x="194" y="133"/>
                      <a:pt x="194" y="133"/>
                    </a:cubicBezTo>
                    <a:cubicBezTo>
                      <a:pt x="194" y="133"/>
                      <a:pt x="194" y="133"/>
                      <a:pt x="194" y="133"/>
                    </a:cubicBezTo>
                    <a:cubicBezTo>
                      <a:pt x="195" y="132"/>
                      <a:pt x="195" y="132"/>
                      <a:pt x="195" y="132"/>
                    </a:cubicBezTo>
                    <a:cubicBezTo>
                      <a:pt x="195" y="132"/>
                      <a:pt x="195" y="131"/>
                      <a:pt x="195" y="131"/>
                    </a:cubicBezTo>
                    <a:cubicBezTo>
                      <a:pt x="195" y="130"/>
                      <a:pt x="195" y="130"/>
                      <a:pt x="196" y="129"/>
                    </a:cubicBezTo>
                    <a:cubicBezTo>
                      <a:pt x="196" y="129"/>
                      <a:pt x="196" y="129"/>
                      <a:pt x="197" y="128"/>
                    </a:cubicBezTo>
                    <a:cubicBezTo>
                      <a:pt x="197" y="128"/>
                      <a:pt x="198" y="128"/>
                      <a:pt x="198" y="127"/>
                    </a:cubicBezTo>
                    <a:cubicBezTo>
                      <a:pt x="198" y="127"/>
                      <a:pt x="198" y="126"/>
                      <a:pt x="198" y="125"/>
                    </a:cubicBezTo>
                    <a:cubicBezTo>
                      <a:pt x="198" y="122"/>
                      <a:pt x="199" y="119"/>
                      <a:pt x="199" y="117"/>
                    </a:cubicBezTo>
                    <a:cubicBezTo>
                      <a:pt x="201" y="113"/>
                      <a:pt x="201" y="113"/>
                      <a:pt x="201" y="113"/>
                    </a:cubicBezTo>
                    <a:cubicBezTo>
                      <a:pt x="210" y="119"/>
                      <a:pt x="210" y="119"/>
                      <a:pt x="210" y="119"/>
                    </a:cubicBezTo>
                    <a:cubicBezTo>
                      <a:pt x="210" y="119"/>
                      <a:pt x="210" y="119"/>
                      <a:pt x="211" y="119"/>
                    </a:cubicBezTo>
                    <a:cubicBezTo>
                      <a:pt x="212" y="119"/>
                      <a:pt x="212" y="119"/>
                      <a:pt x="213" y="119"/>
                    </a:cubicBezTo>
                    <a:cubicBezTo>
                      <a:pt x="215" y="118"/>
                      <a:pt x="215" y="118"/>
                      <a:pt x="215" y="118"/>
                    </a:cubicBezTo>
                    <a:cubicBezTo>
                      <a:pt x="218" y="118"/>
                      <a:pt x="222" y="117"/>
                      <a:pt x="227" y="115"/>
                    </a:cubicBezTo>
                    <a:cubicBezTo>
                      <a:pt x="228" y="114"/>
                      <a:pt x="228" y="114"/>
                      <a:pt x="228" y="114"/>
                    </a:cubicBezTo>
                    <a:cubicBezTo>
                      <a:pt x="230" y="114"/>
                      <a:pt x="231" y="113"/>
                      <a:pt x="232" y="113"/>
                    </a:cubicBezTo>
                    <a:cubicBezTo>
                      <a:pt x="233" y="113"/>
                      <a:pt x="233" y="113"/>
                      <a:pt x="235" y="114"/>
                    </a:cubicBezTo>
                    <a:cubicBezTo>
                      <a:pt x="239" y="114"/>
                      <a:pt x="239" y="114"/>
                      <a:pt x="239" y="114"/>
                    </a:cubicBezTo>
                    <a:cubicBezTo>
                      <a:pt x="240" y="115"/>
                      <a:pt x="240" y="115"/>
                      <a:pt x="241" y="116"/>
                    </a:cubicBezTo>
                    <a:cubicBezTo>
                      <a:pt x="241" y="116"/>
                      <a:pt x="241" y="116"/>
                      <a:pt x="241" y="116"/>
                    </a:cubicBezTo>
                    <a:cubicBezTo>
                      <a:pt x="241" y="116"/>
                      <a:pt x="241" y="116"/>
                      <a:pt x="241" y="116"/>
                    </a:cubicBezTo>
                    <a:cubicBezTo>
                      <a:pt x="242" y="116"/>
                      <a:pt x="242" y="116"/>
                      <a:pt x="242" y="116"/>
                    </a:cubicBezTo>
                    <a:cubicBezTo>
                      <a:pt x="245" y="117"/>
                      <a:pt x="249" y="118"/>
                      <a:pt x="252" y="118"/>
                    </a:cubicBezTo>
                    <a:cubicBezTo>
                      <a:pt x="253" y="118"/>
                      <a:pt x="253" y="118"/>
                      <a:pt x="254" y="117"/>
                    </a:cubicBezTo>
                    <a:cubicBezTo>
                      <a:pt x="255" y="117"/>
                      <a:pt x="255" y="117"/>
                      <a:pt x="255" y="117"/>
                    </a:cubicBezTo>
                    <a:cubicBezTo>
                      <a:pt x="255" y="118"/>
                      <a:pt x="255" y="118"/>
                      <a:pt x="255" y="118"/>
                    </a:cubicBezTo>
                    <a:cubicBezTo>
                      <a:pt x="255" y="117"/>
                      <a:pt x="255" y="117"/>
                      <a:pt x="255" y="117"/>
                    </a:cubicBezTo>
                    <a:cubicBezTo>
                      <a:pt x="259" y="117"/>
                      <a:pt x="262" y="115"/>
                      <a:pt x="266" y="114"/>
                    </a:cubicBezTo>
                    <a:cubicBezTo>
                      <a:pt x="269" y="113"/>
                      <a:pt x="269" y="113"/>
                      <a:pt x="269" y="113"/>
                    </a:cubicBezTo>
                    <a:cubicBezTo>
                      <a:pt x="270" y="113"/>
                      <a:pt x="270" y="113"/>
                      <a:pt x="271" y="112"/>
                    </a:cubicBezTo>
                    <a:cubicBezTo>
                      <a:pt x="271" y="112"/>
                      <a:pt x="272" y="112"/>
                      <a:pt x="273" y="111"/>
                    </a:cubicBezTo>
                    <a:cubicBezTo>
                      <a:pt x="273" y="111"/>
                      <a:pt x="273" y="111"/>
                      <a:pt x="273" y="111"/>
                    </a:cubicBezTo>
                    <a:cubicBezTo>
                      <a:pt x="276" y="110"/>
                      <a:pt x="279" y="108"/>
                      <a:pt x="282" y="108"/>
                    </a:cubicBezTo>
                    <a:cubicBezTo>
                      <a:pt x="282" y="108"/>
                      <a:pt x="282" y="108"/>
                      <a:pt x="282" y="108"/>
                    </a:cubicBezTo>
                    <a:cubicBezTo>
                      <a:pt x="284" y="108"/>
                      <a:pt x="285" y="108"/>
                      <a:pt x="286" y="108"/>
                    </a:cubicBezTo>
                    <a:cubicBezTo>
                      <a:pt x="292" y="108"/>
                      <a:pt x="297" y="108"/>
                      <a:pt x="302" y="107"/>
                    </a:cubicBezTo>
                    <a:cubicBezTo>
                      <a:pt x="305" y="106"/>
                      <a:pt x="307" y="106"/>
                      <a:pt x="309" y="105"/>
                    </a:cubicBezTo>
                    <a:cubicBezTo>
                      <a:pt x="311" y="105"/>
                      <a:pt x="311" y="105"/>
                      <a:pt x="311" y="105"/>
                    </a:cubicBezTo>
                    <a:cubicBezTo>
                      <a:pt x="312" y="107"/>
                      <a:pt x="312" y="107"/>
                      <a:pt x="312" y="107"/>
                    </a:cubicBezTo>
                    <a:cubicBezTo>
                      <a:pt x="315" y="104"/>
                      <a:pt x="318" y="103"/>
                      <a:pt x="323" y="102"/>
                    </a:cubicBezTo>
                    <a:cubicBezTo>
                      <a:pt x="324" y="103"/>
                      <a:pt x="324" y="103"/>
                      <a:pt x="324" y="103"/>
                    </a:cubicBezTo>
                    <a:cubicBezTo>
                      <a:pt x="324" y="103"/>
                      <a:pt x="325" y="103"/>
                      <a:pt x="325" y="103"/>
                    </a:cubicBezTo>
                    <a:cubicBezTo>
                      <a:pt x="325" y="103"/>
                      <a:pt x="325" y="103"/>
                      <a:pt x="325" y="103"/>
                    </a:cubicBezTo>
                    <a:cubicBezTo>
                      <a:pt x="325" y="103"/>
                      <a:pt x="325" y="103"/>
                      <a:pt x="325" y="103"/>
                    </a:cubicBezTo>
                    <a:cubicBezTo>
                      <a:pt x="326" y="104"/>
                      <a:pt x="326" y="104"/>
                      <a:pt x="326" y="104"/>
                    </a:cubicBezTo>
                    <a:cubicBezTo>
                      <a:pt x="326" y="103"/>
                      <a:pt x="326" y="103"/>
                      <a:pt x="326" y="103"/>
                    </a:cubicBezTo>
                    <a:cubicBezTo>
                      <a:pt x="327" y="103"/>
                      <a:pt x="327" y="103"/>
                      <a:pt x="328" y="103"/>
                    </a:cubicBezTo>
                    <a:cubicBezTo>
                      <a:pt x="331" y="104"/>
                      <a:pt x="331" y="104"/>
                      <a:pt x="331" y="104"/>
                    </a:cubicBezTo>
                    <a:cubicBezTo>
                      <a:pt x="334" y="104"/>
                      <a:pt x="336" y="105"/>
                      <a:pt x="338" y="105"/>
                    </a:cubicBezTo>
                    <a:cubicBezTo>
                      <a:pt x="339" y="105"/>
                      <a:pt x="340" y="105"/>
                      <a:pt x="341" y="104"/>
                    </a:cubicBezTo>
                    <a:cubicBezTo>
                      <a:pt x="342" y="104"/>
                      <a:pt x="343" y="104"/>
                      <a:pt x="343" y="104"/>
                    </a:cubicBezTo>
                    <a:cubicBezTo>
                      <a:pt x="347" y="104"/>
                      <a:pt x="348" y="107"/>
                      <a:pt x="349" y="108"/>
                    </a:cubicBezTo>
                    <a:cubicBezTo>
                      <a:pt x="349" y="109"/>
                      <a:pt x="349" y="109"/>
                      <a:pt x="349" y="109"/>
                    </a:cubicBezTo>
                    <a:cubicBezTo>
                      <a:pt x="349" y="110"/>
                      <a:pt x="349" y="110"/>
                      <a:pt x="349" y="110"/>
                    </a:cubicBezTo>
                    <a:cubicBezTo>
                      <a:pt x="350" y="111"/>
                      <a:pt x="350" y="111"/>
                      <a:pt x="350" y="111"/>
                    </a:cubicBezTo>
                    <a:cubicBezTo>
                      <a:pt x="350" y="110"/>
                      <a:pt x="350" y="110"/>
                      <a:pt x="350" y="110"/>
                    </a:cubicBezTo>
                    <a:cubicBezTo>
                      <a:pt x="351" y="110"/>
                      <a:pt x="352" y="109"/>
                      <a:pt x="353" y="109"/>
                    </a:cubicBezTo>
                    <a:cubicBezTo>
                      <a:pt x="355" y="108"/>
                      <a:pt x="355" y="108"/>
                      <a:pt x="355" y="108"/>
                    </a:cubicBezTo>
                    <a:cubicBezTo>
                      <a:pt x="355" y="108"/>
                      <a:pt x="355" y="108"/>
                      <a:pt x="355" y="108"/>
                    </a:cubicBezTo>
                    <a:cubicBezTo>
                      <a:pt x="355" y="107"/>
                      <a:pt x="355" y="107"/>
                      <a:pt x="355" y="107"/>
                    </a:cubicBezTo>
                    <a:cubicBezTo>
                      <a:pt x="355" y="107"/>
                      <a:pt x="355" y="107"/>
                      <a:pt x="355" y="107"/>
                    </a:cubicBezTo>
                    <a:cubicBezTo>
                      <a:pt x="355" y="107"/>
                      <a:pt x="355" y="107"/>
                      <a:pt x="355" y="107"/>
                    </a:cubicBezTo>
                    <a:cubicBezTo>
                      <a:pt x="354" y="107"/>
                      <a:pt x="354" y="107"/>
                      <a:pt x="354" y="107"/>
                    </a:cubicBezTo>
                    <a:cubicBezTo>
                      <a:pt x="353" y="106"/>
                      <a:pt x="353" y="106"/>
                      <a:pt x="353" y="106"/>
                    </a:cubicBezTo>
                    <a:cubicBezTo>
                      <a:pt x="353" y="105"/>
                      <a:pt x="352" y="105"/>
                      <a:pt x="352" y="105"/>
                    </a:cubicBezTo>
                    <a:cubicBezTo>
                      <a:pt x="351" y="104"/>
                      <a:pt x="351" y="104"/>
                      <a:pt x="351" y="104"/>
                    </a:cubicBezTo>
                    <a:cubicBezTo>
                      <a:pt x="351" y="102"/>
                      <a:pt x="351" y="101"/>
                      <a:pt x="351" y="99"/>
                    </a:cubicBezTo>
                    <a:cubicBezTo>
                      <a:pt x="351" y="99"/>
                      <a:pt x="351" y="99"/>
                      <a:pt x="351" y="99"/>
                    </a:cubicBezTo>
                    <a:cubicBezTo>
                      <a:pt x="351" y="98"/>
                      <a:pt x="351" y="98"/>
                      <a:pt x="351" y="98"/>
                    </a:cubicBezTo>
                    <a:cubicBezTo>
                      <a:pt x="351" y="98"/>
                      <a:pt x="351" y="98"/>
                      <a:pt x="351" y="98"/>
                    </a:cubicBezTo>
                    <a:cubicBezTo>
                      <a:pt x="351" y="98"/>
                      <a:pt x="351" y="98"/>
                      <a:pt x="351" y="98"/>
                    </a:cubicBezTo>
                    <a:cubicBezTo>
                      <a:pt x="351" y="98"/>
                      <a:pt x="350" y="97"/>
                      <a:pt x="350" y="97"/>
                    </a:cubicBezTo>
                    <a:cubicBezTo>
                      <a:pt x="349" y="97"/>
                      <a:pt x="349" y="97"/>
                      <a:pt x="349" y="97"/>
                    </a:cubicBezTo>
                    <a:cubicBezTo>
                      <a:pt x="348" y="96"/>
                      <a:pt x="348" y="96"/>
                      <a:pt x="348" y="96"/>
                    </a:cubicBezTo>
                    <a:cubicBezTo>
                      <a:pt x="348" y="96"/>
                      <a:pt x="348" y="96"/>
                      <a:pt x="347" y="96"/>
                    </a:cubicBezTo>
                    <a:cubicBezTo>
                      <a:pt x="347" y="96"/>
                      <a:pt x="346" y="95"/>
                      <a:pt x="346" y="95"/>
                    </a:cubicBezTo>
                    <a:cubicBezTo>
                      <a:pt x="345" y="95"/>
                      <a:pt x="345" y="95"/>
                      <a:pt x="345" y="95"/>
                    </a:cubicBezTo>
                    <a:cubicBezTo>
                      <a:pt x="345" y="94"/>
                      <a:pt x="344" y="93"/>
                      <a:pt x="344" y="92"/>
                    </a:cubicBezTo>
                    <a:cubicBezTo>
                      <a:pt x="344" y="92"/>
                      <a:pt x="344" y="91"/>
                      <a:pt x="345" y="90"/>
                    </a:cubicBezTo>
                    <a:cubicBezTo>
                      <a:pt x="345" y="90"/>
                      <a:pt x="345" y="89"/>
                      <a:pt x="346" y="88"/>
                    </a:cubicBezTo>
                    <a:cubicBezTo>
                      <a:pt x="346" y="88"/>
                      <a:pt x="347" y="86"/>
                      <a:pt x="348" y="85"/>
                    </a:cubicBezTo>
                    <a:cubicBezTo>
                      <a:pt x="346" y="86"/>
                      <a:pt x="346" y="86"/>
                      <a:pt x="346" y="86"/>
                    </a:cubicBezTo>
                    <a:cubicBezTo>
                      <a:pt x="346" y="82"/>
                      <a:pt x="346" y="82"/>
                      <a:pt x="346" y="82"/>
                    </a:cubicBezTo>
                    <a:cubicBezTo>
                      <a:pt x="346" y="79"/>
                      <a:pt x="346" y="75"/>
                      <a:pt x="346" y="74"/>
                    </a:cubicBezTo>
                    <a:cubicBezTo>
                      <a:pt x="345" y="74"/>
                      <a:pt x="345" y="74"/>
                      <a:pt x="345" y="74"/>
                    </a:cubicBezTo>
                    <a:cubicBezTo>
                      <a:pt x="345" y="73"/>
                      <a:pt x="345" y="73"/>
                      <a:pt x="345" y="73"/>
                    </a:cubicBezTo>
                    <a:cubicBezTo>
                      <a:pt x="344" y="72"/>
                      <a:pt x="343" y="70"/>
                      <a:pt x="342" y="68"/>
                    </a:cubicBezTo>
                    <a:cubicBezTo>
                      <a:pt x="342" y="67"/>
                      <a:pt x="342" y="66"/>
                      <a:pt x="341" y="65"/>
                    </a:cubicBezTo>
                    <a:cubicBezTo>
                      <a:pt x="340" y="61"/>
                      <a:pt x="340" y="61"/>
                      <a:pt x="340" y="61"/>
                    </a:cubicBezTo>
                    <a:cubicBezTo>
                      <a:pt x="343" y="58"/>
                      <a:pt x="343" y="58"/>
                      <a:pt x="343" y="58"/>
                    </a:cubicBezTo>
                    <a:cubicBezTo>
                      <a:pt x="344" y="58"/>
                      <a:pt x="344" y="58"/>
                      <a:pt x="344" y="58"/>
                    </a:cubicBezTo>
                    <a:cubicBezTo>
                      <a:pt x="346" y="58"/>
                      <a:pt x="348" y="58"/>
                      <a:pt x="348" y="58"/>
                    </a:cubicBezTo>
                    <a:cubicBezTo>
                      <a:pt x="348" y="57"/>
                      <a:pt x="349" y="57"/>
                      <a:pt x="348" y="55"/>
                    </a:cubicBezTo>
                    <a:cubicBezTo>
                      <a:pt x="348" y="54"/>
                      <a:pt x="348" y="51"/>
                      <a:pt x="350" y="51"/>
                    </a:cubicBezTo>
                    <a:cubicBezTo>
                      <a:pt x="348" y="49"/>
                      <a:pt x="348" y="49"/>
                      <a:pt x="345" y="48"/>
                    </a:cubicBezTo>
                    <a:cubicBezTo>
                      <a:pt x="344" y="48"/>
                      <a:pt x="343" y="48"/>
                      <a:pt x="342" y="48"/>
                    </a:cubicBezTo>
                    <a:cubicBezTo>
                      <a:pt x="341" y="48"/>
                      <a:pt x="341" y="48"/>
                      <a:pt x="341" y="48"/>
                    </a:cubicBezTo>
                    <a:cubicBezTo>
                      <a:pt x="339" y="48"/>
                      <a:pt x="337" y="47"/>
                      <a:pt x="336" y="47"/>
                    </a:cubicBezTo>
                    <a:cubicBezTo>
                      <a:pt x="335" y="46"/>
                      <a:pt x="335" y="46"/>
                      <a:pt x="335" y="46"/>
                    </a:cubicBezTo>
                    <a:cubicBezTo>
                      <a:pt x="334" y="46"/>
                      <a:pt x="333" y="45"/>
                      <a:pt x="333" y="44"/>
                    </a:cubicBezTo>
                    <a:cubicBezTo>
                      <a:pt x="333" y="43"/>
                      <a:pt x="333" y="42"/>
                      <a:pt x="334" y="41"/>
                    </a:cubicBezTo>
                    <a:cubicBezTo>
                      <a:pt x="334" y="41"/>
                      <a:pt x="334" y="41"/>
                      <a:pt x="334" y="41"/>
                    </a:cubicBezTo>
                    <a:cubicBezTo>
                      <a:pt x="333" y="41"/>
                      <a:pt x="333" y="41"/>
                      <a:pt x="333" y="40"/>
                    </a:cubicBezTo>
                    <a:cubicBezTo>
                      <a:pt x="331" y="37"/>
                      <a:pt x="331" y="36"/>
                      <a:pt x="331" y="36"/>
                    </a:cubicBezTo>
                    <a:cubicBezTo>
                      <a:pt x="331" y="34"/>
                      <a:pt x="332" y="33"/>
                      <a:pt x="333" y="33"/>
                    </a:cubicBezTo>
                    <a:cubicBezTo>
                      <a:pt x="333" y="33"/>
                      <a:pt x="333" y="33"/>
                      <a:pt x="333" y="33"/>
                    </a:cubicBezTo>
                    <a:cubicBezTo>
                      <a:pt x="333" y="33"/>
                      <a:pt x="333" y="33"/>
                      <a:pt x="333" y="33"/>
                    </a:cubicBezTo>
                    <a:cubicBezTo>
                      <a:pt x="334" y="32"/>
                      <a:pt x="334" y="32"/>
                      <a:pt x="334" y="32"/>
                    </a:cubicBezTo>
                    <a:cubicBezTo>
                      <a:pt x="334" y="31"/>
                      <a:pt x="334" y="31"/>
                      <a:pt x="334" y="31"/>
                    </a:cubicBezTo>
                    <a:cubicBezTo>
                      <a:pt x="334" y="30"/>
                      <a:pt x="334" y="30"/>
                      <a:pt x="333" y="29"/>
                    </a:cubicBezTo>
                    <a:cubicBezTo>
                      <a:pt x="333" y="29"/>
                      <a:pt x="333" y="29"/>
                      <a:pt x="333" y="29"/>
                    </a:cubicBezTo>
                    <a:cubicBezTo>
                      <a:pt x="333" y="28"/>
                      <a:pt x="333" y="28"/>
                      <a:pt x="333" y="28"/>
                    </a:cubicBezTo>
                    <a:cubicBezTo>
                      <a:pt x="333" y="27"/>
                      <a:pt x="333" y="27"/>
                      <a:pt x="333" y="27"/>
                    </a:cubicBezTo>
                    <a:cubicBezTo>
                      <a:pt x="333" y="27"/>
                      <a:pt x="333" y="27"/>
                      <a:pt x="333" y="27"/>
                    </a:cubicBezTo>
                    <a:cubicBezTo>
                      <a:pt x="333" y="27"/>
                      <a:pt x="333" y="27"/>
                      <a:pt x="333" y="27"/>
                    </a:cubicBezTo>
                    <a:cubicBezTo>
                      <a:pt x="333" y="26"/>
                      <a:pt x="332" y="25"/>
                      <a:pt x="332" y="25"/>
                    </a:cubicBezTo>
                    <a:cubicBezTo>
                      <a:pt x="327" y="20"/>
                      <a:pt x="327" y="20"/>
                      <a:pt x="327" y="20"/>
                    </a:cubicBezTo>
                    <a:cubicBezTo>
                      <a:pt x="326" y="20"/>
                      <a:pt x="326" y="20"/>
                      <a:pt x="326" y="20"/>
                    </a:cubicBezTo>
                    <a:cubicBezTo>
                      <a:pt x="325" y="19"/>
                      <a:pt x="324" y="19"/>
                      <a:pt x="324" y="18"/>
                    </a:cubicBezTo>
                    <a:cubicBezTo>
                      <a:pt x="323" y="17"/>
                      <a:pt x="323" y="17"/>
                      <a:pt x="323" y="17"/>
                    </a:cubicBezTo>
                    <a:cubicBezTo>
                      <a:pt x="323" y="17"/>
                      <a:pt x="323" y="17"/>
                      <a:pt x="323" y="17"/>
                    </a:cubicBezTo>
                    <a:cubicBezTo>
                      <a:pt x="322" y="17"/>
                      <a:pt x="322" y="17"/>
                      <a:pt x="322" y="16"/>
                    </a:cubicBezTo>
                    <a:cubicBezTo>
                      <a:pt x="321" y="16"/>
                      <a:pt x="321" y="16"/>
                      <a:pt x="321" y="16"/>
                    </a:cubicBezTo>
                    <a:cubicBezTo>
                      <a:pt x="320" y="15"/>
                      <a:pt x="320" y="15"/>
                      <a:pt x="320" y="15"/>
                    </a:cubicBezTo>
                    <a:cubicBezTo>
                      <a:pt x="320" y="14"/>
                      <a:pt x="320" y="14"/>
                      <a:pt x="320" y="14"/>
                    </a:cubicBezTo>
                    <a:cubicBezTo>
                      <a:pt x="319" y="14"/>
                      <a:pt x="318" y="13"/>
                      <a:pt x="317" y="13"/>
                    </a:cubicBezTo>
                    <a:cubicBezTo>
                      <a:pt x="317" y="13"/>
                      <a:pt x="317" y="13"/>
                      <a:pt x="317" y="13"/>
                    </a:cubicBezTo>
                    <a:cubicBezTo>
                      <a:pt x="316" y="13"/>
                      <a:pt x="316" y="13"/>
                      <a:pt x="316" y="14"/>
                    </a:cubicBezTo>
                    <a:cubicBezTo>
                      <a:pt x="315" y="17"/>
                      <a:pt x="315" y="17"/>
                      <a:pt x="315" y="17"/>
                    </a:cubicBezTo>
                    <a:cubicBezTo>
                      <a:pt x="313" y="16"/>
                      <a:pt x="313" y="16"/>
                      <a:pt x="313" y="16"/>
                    </a:cubicBezTo>
                    <a:cubicBezTo>
                      <a:pt x="311" y="16"/>
                      <a:pt x="309" y="16"/>
                      <a:pt x="306" y="15"/>
                    </a:cubicBezTo>
                    <a:cubicBezTo>
                      <a:pt x="304" y="15"/>
                      <a:pt x="304" y="15"/>
                      <a:pt x="304" y="15"/>
                    </a:cubicBezTo>
                    <a:cubicBezTo>
                      <a:pt x="304" y="15"/>
                      <a:pt x="304" y="15"/>
                      <a:pt x="303" y="15"/>
                    </a:cubicBezTo>
                    <a:cubicBezTo>
                      <a:pt x="303" y="15"/>
                      <a:pt x="302" y="15"/>
                      <a:pt x="302" y="15"/>
                    </a:cubicBezTo>
                    <a:cubicBezTo>
                      <a:pt x="301" y="15"/>
                      <a:pt x="301" y="15"/>
                      <a:pt x="301" y="15"/>
                    </a:cubicBezTo>
                    <a:cubicBezTo>
                      <a:pt x="300" y="15"/>
                      <a:pt x="299" y="15"/>
                      <a:pt x="299" y="15"/>
                    </a:cubicBezTo>
                    <a:cubicBezTo>
                      <a:pt x="298" y="15"/>
                      <a:pt x="297" y="15"/>
                      <a:pt x="296" y="15"/>
                    </a:cubicBezTo>
                    <a:cubicBezTo>
                      <a:pt x="297" y="18"/>
                      <a:pt x="297" y="18"/>
                      <a:pt x="297" y="18"/>
                    </a:cubicBezTo>
                    <a:cubicBezTo>
                      <a:pt x="295" y="15"/>
                      <a:pt x="295" y="15"/>
                      <a:pt x="295" y="15"/>
                    </a:cubicBezTo>
                    <a:cubicBezTo>
                      <a:pt x="287" y="18"/>
                      <a:pt x="287" y="18"/>
                      <a:pt x="287" y="18"/>
                    </a:cubicBezTo>
                    <a:cubicBezTo>
                      <a:pt x="286" y="18"/>
                      <a:pt x="285" y="19"/>
                      <a:pt x="284" y="19"/>
                    </a:cubicBezTo>
                    <a:cubicBezTo>
                      <a:pt x="283" y="20"/>
                      <a:pt x="281" y="20"/>
                      <a:pt x="280" y="21"/>
                    </a:cubicBezTo>
                    <a:cubicBezTo>
                      <a:pt x="278" y="23"/>
                      <a:pt x="274" y="24"/>
                      <a:pt x="272" y="25"/>
                    </a:cubicBezTo>
                    <a:cubicBezTo>
                      <a:pt x="270" y="25"/>
                      <a:pt x="269" y="25"/>
                      <a:pt x="268" y="26"/>
                    </a:cubicBezTo>
                    <a:cubicBezTo>
                      <a:pt x="268" y="26"/>
                      <a:pt x="268" y="26"/>
                      <a:pt x="268" y="26"/>
                    </a:cubicBezTo>
                    <a:cubicBezTo>
                      <a:pt x="267" y="26"/>
                      <a:pt x="267" y="25"/>
                      <a:pt x="266" y="25"/>
                    </a:cubicBezTo>
                    <a:cubicBezTo>
                      <a:pt x="266" y="25"/>
                      <a:pt x="266" y="25"/>
                      <a:pt x="265" y="25"/>
                    </a:cubicBezTo>
                    <a:cubicBezTo>
                      <a:pt x="265" y="25"/>
                      <a:pt x="265" y="25"/>
                      <a:pt x="265" y="25"/>
                    </a:cubicBezTo>
                    <a:cubicBezTo>
                      <a:pt x="264" y="25"/>
                      <a:pt x="264" y="25"/>
                      <a:pt x="264" y="25"/>
                    </a:cubicBezTo>
                    <a:cubicBezTo>
                      <a:pt x="261" y="25"/>
                      <a:pt x="258" y="24"/>
                      <a:pt x="256" y="22"/>
                    </a:cubicBezTo>
                    <a:cubicBezTo>
                      <a:pt x="255" y="22"/>
                      <a:pt x="255" y="22"/>
                      <a:pt x="255" y="22"/>
                    </a:cubicBezTo>
                    <a:cubicBezTo>
                      <a:pt x="254" y="22"/>
                      <a:pt x="254" y="22"/>
                      <a:pt x="253" y="23"/>
                    </a:cubicBezTo>
                    <a:cubicBezTo>
                      <a:pt x="252" y="23"/>
                      <a:pt x="252" y="23"/>
                      <a:pt x="251" y="23"/>
                    </a:cubicBezTo>
                    <a:cubicBezTo>
                      <a:pt x="251" y="23"/>
                      <a:pt x="251" y="23"/>
                      <a:pt x="251" y="23"/>
                    </a:cubicBezTo>
                    <a:cubicBezTo>
                      <a:pt x="250" y="23"/>
                      <a:pt x="250" y="23"/>
                      <a:pt x="250" y="23"/>
                    </a:cubicBezTo>
                    <a:cubicBezTo>
                      <a:pt x="249" y="23"/>
                      <a:pt x="249" y="23"/>
                      <a:pt x="249" y="23"/>
                    </a:cubicBezTo>
                    <a:cubicBezTo>
                      <a:pt x="244" y="24"/>
                      <a:pt x="239" y="26"/>
                      <a:pt x="235" y="26"/>
                    </a:cubicBezTo>
                    <a:cubicBezTo>
                      <a:pt x="235" y="26"/>
                      <a:pt x="235" y="26"/>
                      <a:pt x="235" y="26"/>
                    </a:cubicBezTo>
                    <a:cubicBezTo>
                      <a:pt x="230" y="26"/>
                      <a:pt x="225" y="23"/>
                      <a:pt x="220" y="23"/>
                    </a:cubicBezTo>
                    <a:cubicBezTo>
                      <a:pt x="214" y="22"/>
                      <a:pt x="210" y="20"/>
                      <a:pt x="205" y="16"/>
                    </a:cubicBezTo>
                    <a:cubicBezTo>
                      <a:pt x="205" y="16"/>
                      <a:pt x="205" y="16"/>
                      <a:pt x="205" y="16"/>
                    </a:cubicBezTo>
                    <a:cubicBezTo>
                      <a:pt x="203" y="16"/>
                      <a:pt x="199" y="18"/>
                      <a:pt x="198" y="18"/>
                    </a:cubicBezTo>
                    <a:cubicBezTo>
                      <a:pt x="198" y="18"/>
                      <a:pt x="198" y="18"/>
                      <a:pt x="198" y="18"/>
                    </a:cubicBezTo>
                    <a:cubicBezTo>
                      <a:pt x="196" y="18"/>
                      <a:pt x="193" y="15"/>
                      <a:pt x="192" y="13"/>
                    </a:cubicBezTo>
                    <a:cubicBezTo>
                      <a:pt x="191" y="11"/>
                      <a:pt x="192" y="8"/>
                      <a:pt x="189" y="8"/>
                    </a:cubicBezTo>
                    <a:cubicBezTo>
                      <a:pt x="188" y="8"/>
                      <a:pt x="188" y="8"/>
                      <a:pt x="187" y="8"/>
                    </a:cubicBezTo>
                    <a:cubicBezTo>
                      <a:pt x="185" y="9"/>
                      <a:pt x="183" y="10"/>
                      <a:pt x="181" y="10"/>
                    </a:cubicBezTo>
                    <a:cubicBezTo>
                      <a:pt x="181" y="10"/>
                      <a:pt x="180" y="9"/>
                      <a:pt x="180" y="9"/>
                    </a:cubicBezTo>
                    <a:cubicBezTo>
                      <a:pt x="177" y="9"/>
                      <a:pt x="175" y="6"/>
                      <a:pt x="173" y="4"/>
                    </a:cubicBezTo>
                    <a:cubicBezTo>
                      <a:pt x="172" y="3"/>
                      <a:pt x="172" y="1"/>
                      <a:pt x="174" y="1"/>
                    </a:cubicBezTo>
                    <a:cubicBezTo>
                      <a:pt x="174" y="1"/>
                      <a:pt x="174" y="1"/>
                      <a:pt x="174" y="1"/>
                    </a:cubicBezTo>
                    <a:cubicBezTo>
                      <a:pt x="174" y="0"/>
                      <a:pt x="173" y="0"/>
                      <a:pt x="1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Freeform 367"/>
              <p:cNvSpPr/>
              <p:nvPr/>
            </p:nvSpPr>
            <p:spPr bwMode="auto">
              <a:xfrm>
                <a:off x="4097" y="1694"/>
                <a:ext cx="60" cy="66"/>
              </a:xfrm>
              <a:custGeom>
                <a:gdLst>
                  <a:gd name="T0" fmla="*/ 15 w 25"/>
                  <a:gd name="T1" fmla="*/ 0 h 28"/>
                  <a:gd name="T2" fmla="*/ 13 w 25"/>
                  <a:gd name="T3" fmla="*/ 1 h 28"/>
                  <a:gd name="T4" fmla="*/ 10 w 25"/>
                  <a:gd name="T5" fmla="*/ 4 h 28"/>
                  <a:gd name="T6" fmla="*/ 7 w 25"/>
                  <a:gd name="T7" fmla="*/ 13 h 28"/>
                  <a:gd name="T8" fmla="*/ 5 w 25"/>
                  <a:gd name="T9" fmla="*/ 16 h 28"/>
                  <a:gd name="T10" fmla="*/ 3 w 25"/>
                  <a:gd name="T11" fmla="*/ 21 h 28"/>
                  <a:gd name="T12" fmla="*/ 0 w 25"/>
                  <a:gd name="T13" fmla="*/ 28 h 28"/>
                  <a:gd name="T14" fmla="*/ 1 w 25"/>
                  <a:gd name="T15" fmla="*/ 28 h 28"/>
                  <a:gd name="T16" fmla="*/ 3 w 25"/>
                  <a:gd name="T17" fmla="*/ 28 h 28"/>
                  <a:gd name="T18" fmla="*/ 6 w 25"/>
                  <a:gd name="T19" fmla="*/ 26 h 28"/>
                  <a:gd name="T20" fmla="*/ 7 w 25"/>
                  <a:gd name="T21" fmla="*/ 25 h 28"/>
                  <a:gd name="T22" fmla="*/ 8 w 25"/>
                  <a:gd name="T23" fmla="*/ 24 h 28"/>
                  <a:gd name="T24" fmla="*/ 10 w 25"/>
                  <a:gd name="T25" fmla="*/ 23 h 28"/>
                  <a:gd name="T26" fmla="*/ 10 w 25"/>
                  <a:gd name="T27" fmla="*/ 23 h 28"/>
                  <a:gd name="T28" fmla="*/ 11 w 25"/>
                  <a:gd name="T29" fmla="*/ 22 h 28"/>
                  <a:gd name="T30" fmla="*/ 13 w 25"/>
                  <a:gd name="T31" fmla="*/ 20 h 28"/>
                  <a:gd name="T32" fmla="*/ 13 w 25"/>
                  <a:gd name="T33" fmla="*/ 20 h 28"/>
                  <a:gd name="T34" fmla="*/ 13 w 25"/>
                  <a:gd name="T35" fmla="*/ 18 h 28"/>
                  <a:gd name="T36" fmla="*/ 16 w 25"/>
                  <a:gd name="T37" fmla="*/ 13 h 28"/>
                  <a:gd name="T38" fmla="*/ 19 w 25"/>
                  <a:gd name="T39" fmla="*/ 12 h 28"/>
                  <a:gd name="T40" fmla="*/ 24 w 25"/>
                  <a:gd name="T41" fmla="*/ 6 h 28"/>
                  <a:gd name="T42" fmla="*/ 25 w 25"/>
                  <a:gd name="T43" fmla="*/ 6 h 28"/>
                  <a:gd name="T44" fmla="*/ 24 w 25"/>
                  <a:gd name="T45" fmla="*/ 6 h 28"/>
                  <a:gd name="T46" fmla="*/ 24 w 25"/>
                  <a:gd name="T47" fmla="*/ 4 h 28"/>
                  <a:gd name="T48" fmla="*/ 22 w 25"/>
                  <a:gd name="T49" fmla="*/ 3 h 28"/>
                  <a:gd name="T50" fmla="*/ 19 w 25"/>
                  <a:gd name="T51" fmla="*/ 2 h 28"/>
                  <a:gd name="T52" fmla="*/ 20 w 25"/>
                  <a:gd name="T53" fmla="*/ 0 h 28"/>
                  <a:gd name="T54" fmla="*/ 18 w 25"/>
                  <a:gd name="T55" fmla="*/ 0 h 28"/>
                  <a:gd name="T56" fmla="*/ 15 w 25"/>
                  <a:gd name="T57"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8">
                    <a:moveTo>
                      <a:pt x="15" y="0"/>
                    </a:moveTo>
                    <a:cubicBezTo>
                      <a:pt x="14" y="0"/>
                      <a:pt x="14" y="0"/>
                      <a:pt x="13" y="1"/>
                    </a:cubicBezTo>
                    <a:cubicBezTo>
                      <a:pt x="12" y="2"/>
                      <a:pt x="11" y="3"/>
                      <a:pt x="10" y="4"/>
                    </a:cubicBezTo>
                    <a:cubicBezTo>
                      <a:pt x="8" y="7"/>
                      <a:pt x="9" y="10"/>
                      <a:pt x="7" y="13"/>
                    </a:cubicBezTo>
                    <a:cubicBezTo>
                      <a:pt x="6" y="15"/>
                      <a:pt x="6" y="15"/>
                      <a:pt x="5" y="16"/>
                    </a:cubicBezTo>
                    <a:cubicBezTo>
                      <a:pt x="4" y="18"/>
                      <a:pt x="4" y="19"/>
                      <a:pt x="3" y="21"/>
                    </a:cubicBezTo>
                    <a:cubicBezTo>
                      <a:pt x="2" y="23"/>
                      <a:pt x="1" y="25"/>
                      <a:pt x="0" y="28"/>
                    </a:cubicBezTo>
                    <a:cubicBezTo>
                      <a:pt x="1" y="28"/>
                      <a:pt x="1" y="28"/>
                      <a:pt x="1" y="28"/>
                    </a:cubicBezTo>
                    <a:cubicBezTo>
                      <a:pt x="2" y="28"/>
                      <a:pt x="3" y="28"/>
                      <a:pt x="3" y="28"/>
                    </a:cubicBezTo>
                    <a:cubicBezTo>
                      <a:pt x="5" y="28"/>
                      <a:pt x="5" y="28"/>
                      <a:pt x="6" y="26"/>
                    </a:cubicBezTo>
                    <a:cubicBezTo>
                      <a:pt x="7" y="25"/>
                      <a:pt x="7" y="25"/>
                      <a:pt x="7" y="25"/>
                    </a:cubicBezTo>
                    <a:cubicBezTo>
                      <a:pt x="8" y="24"/>
                      <a:pt x="8" y="24"/>
                      <a:pt x="8" y="24"/>
                    </a:cubicBezTo>
                    <a:cubicBezTo>
                      <a:pt x="10" y="23"/>
                      <a:pt x="10" y="23"/>
                      <a:pt x="10" y="23"/>
                    </a:cubicBezTo>
                    <a:cubicBezTo>
                      <a:pt x="10" y="23"/>
                      <a:pt x="10" y="23"/>
                      <a:pt x="10" y="23"/>
                    </a:cubicBezTo>
                    <a:cubicBezTo>
                      <a:pt x="11" y="22"/>
                      <a:pt x="11" y="22"/>
                      <a:pt x="11" y="22"/>
                    </a:cubicBezTo>
                    <a:cubicBezTo>
                      <a:pt x="12" y="21"/>
                      <a:pt x="13" y="21"/>
                      <a:pt x="13" y="20"/>
                    </a:cubicBezTo>
                    <a:cubicBezTo>
                      <a:pt x="13" y="20"/>
                      <a:pt x="13" y="20"/>
                      <a:pt x="13" y="20"/>
                    </a:cubicBezTo>
                    <a:cubicBezTo>
                      <a:pt x="13" y="19"/>
                      <a:pt x="13" y="19"/>
                      <a:pt x="13" y="18"/>
                    </a:cubicBezTo>
                    <a:cubicBezTo>
                      <a:pt x="12" y="16"/>
                      <a:pt x="14" y="14"/>
                      <a:pt x="16" y="13"/>
                    </a:cubicBezTo>
                    <a:cubicBezTo>
                      <a:pt x="17" y="12"/>
                      <a:pt x="18" y="12"/>
                      <a:pt x="19" y="12"/>
                    </a:cubicBezTo>
                    <a:cubicBezTo>
                      <a:pt x="20" y="10"/>
                      <a:pt x="22" y="8"/>
                      <a:pt x="24" y="6"/>
                    </a:cubicBezTo>
                    <a:cubicBezTo>
                      <a:pt x="25" y="6"/>
                      <a:pt x="25" y="6"/>
                      <a:pt x="25" y="6"/>
                    </a:cubicBezTo>
                    <a:cubicBezTo>
                      <a:pt x="24" y="6"/>
                      <a:pt x="24" y="6"/>
                      <a:pt x="24" y="6"/>
                    </a:cubicBezTo>
                    <a:cubicBezTo>
                      <a:pt x="24" y="5"/>
                      <a:pt x="24" y="5"/>
                      <a:pt x="24" y="4"/>
                    </a:cubicBezTo>
                    <a:cubicBezTo>
                      <a:pt x="23" y="3"/>
                      <a:pt x="23" y="3"/>
                      <a:pt x="22" y="3"/>
                    </a:cubicBezTo>
                    <a:cubicBezTo>
                      <a:pt x="19" y="2"/>
                      <a:pt x="19" y="2"/>
                      <a:pt x="19" y="2"/>
                    </a:cubicBezTo>
                    <a:cubicBezTo>
                      <a:pt x="20" y="0"/>
                      <a:pt x="20" y="0"/>
                      <a:pt x="20" y="0"/>
                    </a:cubicBezTo>
                    <a:cubicBezTo>
                      <a:pt x="19" y="0"/>
                      <a:pt x="18" y="0"/>
                      <a:pt x="18" y="0"/>
                    </a:cubicBezTo>
                    <a:cubicBezTo>
                      <a:pt x="17"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368"/>
              <p:cNvSpPr/>
              <p:nvPr/>
            </p:nvSpPr>
            <p:spPr bwMode="auto">
              <a:xfrm>
                <a:off x="4549" y="1314"/>
                <a:ext cx="234" cy="175"/>
              </a:xfrm>
              <a:custGeom>
                <a:gdLst>
                  <a:gd name="T0" fmla="*/ 22 w 99"/>
                  <a:gd name="T1" fmla="*/ 3 h 74"/>
                  <a:gd name="T2" fmla="*/ 27 w 99"/>
                  <a:gd name="T3" fmla="*/ 7 h 74"/>
                  <a:gd name="T4" fmla="*/ 29 w 99"/>
                  <a:gd name="T5" fmla="*/ 15 h 74"/>
                  <a:gd name="T6" fmla="*/ 29 w 99"/>
                  <a:gd name="T7" fmla="*/ 18 h 74"/>
                  <a:gd name="T8" fmla="*/ 22 w 99"/>
                  <a:gd name="T9" fmla="*/ 17 h 74"/>
                  <a:gd name="T10" fmla="*/ 9 w 99"/>
                  <a:gd name="T11" fmla="*/ 14 h 74"/>
                  <a:gd name="T12" fmla="*/ 2 w 99"/>
                  <a:gd name="T13" fmla="*/ 10 h 74"/>
                  <a:gd name="T14" fmla="*/ 1 w 99"/>
                  <a:gd name="T15" fmla="*/ 11 h 74"/>
                  <a:gd name="T16" fmla="*/ 1 w 99"/>
                  <a:gd name="T17" fmla="*/ 12 h 74"/>
                  <a:gd name="T18" fmla="*/ 2 w 99"/>
                  <a:gd name="T19" fmla="*/ 13 h 74"/>
                  <a:gd name="T20" fmla="*/ 2 w 99"/>
                  <a:gd name="T21" fmla="*/ 14 h 74"/>
                  <a:gd name="T22" fmla="*/ 5 w 99"/>
                  <a:gd name="T23" fmla="*/ 16 h 74"/>
                  <a:gd name="T24" fmla="*/ 9 w 99"/>
                  <a:gd name="T25" fmla="*/ 24 h 74"/>
                  <a:gd name="T26" fmla="*/ 7 w 99"/>
                  <a:gd name="T27" fmla="*/ 26 h 74"/>
                  <a:gd name="T28" fmla="*/ 6 w 99"/>
                  <a:gd name="T29" fmla="*/ 26 h 74"/>
                  <a:gd name="T30" fmla="*/ 10 w 99"/>
                  <a:gd name="T31" fmla="*/ 29 h 74"/>
                  <a:gd name="T32" fmla="*/ 14 w 99"/>
                  <a:gd name="T33" fmla="*/ 32 h 74"/>
                  <a:gd name="T34" fmla="*/ 16 w 99"/>
                  <a:gd name="T35" fmla="*/ 38 h 74"/>
                  <a:gd name="T36" fmla="*/ 26 w 99"/>
                  <a:gd name="T37" fmla="*/ 50 h 74"/>
                  <a:gd name="T38" fmla="*/ 26 w 99"/>
                  <a:gd name="T39" fmla="*/ 54 h 74"/>
                  <a:gd name="T40" fmla="*/ 28 w 99"/>
                  <a:gd name="T41" fmla="*/ 56 h 74"/>
                  <a:gd name="T42" fmla="*/ 34 w 99"/>
                  <a:gd name="T43" fmla="*/ 55 h 74"/>
                  <a:gd name="T44" fmla="*/ 45 w 99"/>
                  <a:gd name="T45" fmla="*/ 48 h 74"/>
                  <a:gd name="T46" fmla="*/ 52 w 99"/>
                  <a:gd name="T47" fmla="*/ 45 h 74"/>
                  <a:gd name="T48" fmla="*/ 58 w 99"/>
                  <a:gd name="T49" fmla="*/ 50 h 74"/>
                  <a:gd name="T50" fmla="*/ 61 w 99"/>
                  <a:gd name="T51" fmla="*/ 54 h 74"/>
                  <a:gd name="T52" fmla="*/ 59 w 99"/>
                  <a:gd name="T53" fmla="*/ 58 h 74"/>
                  <a:gd name="T54" fmla="*/ 61 w 99"/>
                  <a:gd name="T55" fmla="*/ 60 h 74"/>
                  <a:gd name="T56" fmla="*/ 57 w 99"/>
                  <a:gd name="T57" fmla="*/ 66 h 74"/>
                  <a:gd name="T58" fmla="*/ 60 w 99"/>
                  <a:gd name="T59" fmla="*/ 68 h 74"/>
                  <a:gd name="T60" fmla="*/ 62 w 99"/>
                  <a:gd name="T61" fmla="*/ 70 h 74"/>
                  <a:gd name="T62" fmla="*/ 65 w 99"/>
                  <a:gd name="T63" fmla="*/ 73 h 74"/>
                  <a:gd name="T64" fmla="*/ 66 w 99"/>
                  <a:gd name="T65" fmla="*/ 74 h 74"/>
                  <a:gd name="T66" fmla="*/ 70 w 99"/>
                  <a:gd name="T67" fmla="*/ 73 h 74"/>
                  <a:gd name="T68" fmla="*/ 73 w 99"/>
                  <a:gd name="T69" fmla="*/ 59 h 74"/>
                  <a:gd name="T70" fmla="*/ 75 w 99"/>
                  <a:gd name="T71" fmla="*/ 63 h 74"/>
                  <a:gd name="T72" fmla="*/ 78 w 99"/>
                  <a:gd name="T73" fmla="*/ 55 h 74"/>
                  <a:gd name="T74" fmla="*/ 79 w 99"/>
                  <a:gd name="T75" fmla="*/ 56 h 74"/>
                  <a:gd name="T76" fmla="*/ 79 w 99"/>
                  <a:gd name="T77" fmla="*/ 54 h 74"/>
                  <a:gd name="T78" fmla="*/ 80 w 99"/>
                  <a:gd name="T79" fmla="*/ 44 h 74"/>
                  <a:gd name="T80" fmla="*/ 91 w 99"/>
                  <a:gd name="T81" fmla="*/ 33 h 74"/>
                  <a:gd name="T82" fmla="*/ 99 w 99"/>
                  <a:gd name="T83" fmla="*/ 35 h 74"/>
                  <a:gd name="T84" fmla="*/ 92 w 99"/>
                  <a:gd name="T85" fmla="*/ 28 h 74"/>
                  <a:gd name="T86" fmla="*/ 90 w 99"/>
                  <a:gd name="T87" fmla="*/ 27 h 74"/>
                  <a:gd name="T88" fmla="*/ 88 w 99"/>
                  <a:gd name="T89" fmla="*/ 28 h 74"/>
                  <a:gd name="T90" fmla="*/ 74 w 99"/>
                  <a:gd name="T91" fmla="*/ 11 h 74"/>
                  <a:gd name="T92" fmla="*/ 60 w 99"/>
                  <a:gd name="T93" fmla="*/ 6 h 74"/>
                  <a:gd name="T94" fmla="*/ 59 w 99"/>
                  <a:gd name="T95" fmla="*/ 7 h 74"/>
                  <a:gd name="T96" fmla="*/ 55 w 99"/>
                  <a:gd name="T97" fmla="*/ 11 h 74"/>
                  <a:gd name="T98" fmla="*/ 45 w 99"/>
                  <a:gd name="T99" fmla="*/ 15 h 74"/>
                  <a:gd name="T100" fmla="*/ 35 w 99"/>
                  <a:gd name="T101" fmla="*/ 8 h 74"/>
                  <a:gd name="T102" fmla="*/ 28 w 99"/>
                  <a:gd name="T103" fmla="*/ 0 h 74"/>
                  <a:gd name="T104" fmla="*/ 25 w 99"/>
                  <a:gd name="T105" fmla="*/ 0 h 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74">
                    <a:moveTo>
                      <a:pt x="25" y="0"/>
                    </a:moveTo>
                    <a:cubicBezTo>
                      <a:pt x="22" y="3"/>
                      <a:pt x="22" y="3"/>
                      <a:pt x="22" y="3"/>
                    </a:cubicBezTo>
                    <a:cubicBezTo>
                      <a:pt x="23" y="4"/>
                      <a:pt x="24" y="4"/>
                      <a:pt x="24" y="5"/>
                    </a:cubicBezTo>
                    <a:cubicBezTo>
                      <a:pt x="25" y="6"/>
                      <a:pt x="26" y="6"/>
                      <a:pt x="27" y="7"/>
                    </a:cubicBezTo>
                    <a:cubicBezTo>
                      <a:pt x="30" y="9"/>
                      <a:pt x="30" y="12"/>
                      <a:pt x="29" y="14"/>
                    </a:cubicBezTo>
                    <a:cubicBezTo>
                      <a:pt x="29" y="15"/>
                      <a:pt x="29" y="15"/>
                      <a:pt x="29" y="15"/>
                    </a:cubicBezTo>
                    <a:cubicBezTo>
                      <a:pt x="29" y="15"/>
                      <a:pt x="29" y="15"/>
                      <a:pt x="29" y="16"/>
                    </a:cubicBezTo>
                    <a:cubicBezTo>
                      <a:pt x="29" y="18"/>
                      <a:pt x="29" y="18"/>
                      <a:pt x="29" y="18"/>
                    </a:cubicBezTo>
                    <a:cubicBezTo>
                      <a:pt x="26" y="18"/>
                      <a:pt x="26" y="18"/>
                      <a:pt x="26" y="18"/>
                    </a:cubicBezTo>
                    <a:cubicBezTo>
                      <a:pt x="25" y="18"/>
                      <a:pt x="24" y="18"/>
                      <a:pt x="22" y="17"/>
                    </a:cubicBezTo>
                    <a:cubicBezTo>
                      <a:pt x="19" y="17"/>
                      <a:pt x="15" y="16"/>
                      <a:pt x="12" y="15"/>
                    </a:cubicBezTo>
                    <a:cubicBezTo>
                      <a:pt x="11" y="15"/>
                      <a:pt x="10" y="15"/>
                      <a:pt x="9" y="14"/>
                    </a:cubicBezTo>
                    <a:cubicBezTo>
                      <a:pt x="8" y="14"/>
                      <a:pt x="7" y="13"/>
                      <a:pt x="6" y="12"/>
                    </a:cubicBezTo>
                    <a:cubicBezTo>
                      <a:pt x="5" y="11"/>
                      <a:pt x="4" y="11"/>
                      <a:pt x="2" y="10"/>
                    </a:cubicBezTo>
                    <a:cubicBezTo>
                      <a:pt x="2" y="10"/>
                      <a:pt x="2" y="10"/>
                      <a:pt x="2" y="10"/>
                    </a:cubicBezTo>
                    <a:cubicBezTo>
                      <a:pt x="1" y="11"/>
                      <a:pt x="1" y="11"/>
                      <a:pt x="1" y="11"/>
                    </a:cubicBezTo>
                    <a:cubicBezTo>
                      <a:pt x="0" y="11"/>
                      <a:pt x="0" y="11"/>
                      <a:pt x="0" y="11"/>
                    </a:cubicBezTo>
                    <a:cubicBezTo>
                      <a:pt x="1" y="12"/>
                      <a:pt x="1" y="12"/>
                      <a:pt x="1" y="12"/>
                    </a:cubicBezTo>
                    <a:cubicBezTo>
                      <a:pt x="1" y="12"/>
                      <a:pt x="1" y="12"/>
                      <a:pt x="1" y="12"/>
                    </a:cubicBezTo>
                    <a:cubicBezTo>
                      <a:pt x="2" y="13"/>
                      <a:pt x="2" y="13"/>
                      <a:pt x="2" y="13"/>
                    </a:cubicBezTo>
                    <a:cubicBezTo>
                      <a:pt x="2" y="13"/>
                      <a:pt x="2" y="13"/>
                      <a:pt x="2" y="13"/>
                    </a:cubicBezTo>
                    <a:cubicBezTo>
                      <a:pt x="2" y="14"/>
                      <a:pt x="2" y="14"/>
                      <a:pt x="2" y="14"/>
                    </a:cubicBezTo>
                    <a:cubicBezTo>
                      <a:pt x="2" y="14"/>
                      <a:pt x="2" y="15"/>
                      <a:pt x="2" y="15"/>
                    </a:cubicBezTo>
                    <a:cubicBezTo>
                      <a:pt x="3" y="15"/>
                      <a:pt x="4" y="16"/>
                      <a:pt x="5" y="16"/>
                    </a:cubicBezTo>
                    <a:cubicBezTo>
                      <a:pt x="7" y="17"/>
                      <a:pt x="9" y="18"/>
                      <a:pt x="9" y="20"/>
                    </a:cubicBezTo>
                    <a:cubicBezTo>
                      <a:pt x="11" y="22"/>
                      <a:pt x="10" y="23"/>
                      <a:pt x="9" y="24"/>
                    </a:cubicBezTo>
                    <a:cubicBezTo>
                      <a:pt x="9" y="25"/>
                      <a:pt x="8" y="25"/>
                      <a:pt x="7" y="25"/>
                    </a:cubicBezTo>
                    <a:cubicBezTo>
                      <a:pt x="7" y="26"/>
                      <a:pt x="7" y="26"/>
                      <a:pt x="7" y="26"/>
                    </a:cubicBezTo>
                    <a:cubicBezTo>
                      <a:pt x="6" y="26"/>
                      <a:pt x="6" y="26"/>
                      <a:pt x="6" y="26"/>
                    </a:cubicBezTo>
                    <a:cubicBezTo>
                      <a:pt x="6" y="26"/>
                      <a:pt x="6" y="26"/>
                      <a:pt x="6" y="26"/>
                    </a:cubicBezTo>
                    <a:cubicBezTo>
                      <a:pt x="7" y="27"/>
                      <a:pt x="7" y="27"/>
                      <a:pt x="9" y="28"/>
                    </a:cubicBezTo>
                    <a:cubicBezTo>
                      <a:pt x="9" y="28"/>
                      <a:pt x="10" y="29"/>
                      <a:pt x="10" y="29"/>
                    </a:cubicBezTo>
                    <a:cubicBezTo>
                      <a:pt x="12" y="31"/>
                      <a:pt x="12" y="31"/>
                      <a:pt x="12" y="31"/>
                    </a:cubicBezTo>
                    <a:cubicBezTo>
                      <a:pt x="13" y="31"/>
                      <a:pt x="13" y="32"/>
                      <a:pt x="14" y="32"/>
                    </a:cubicBezTo>
                    <a:cubicBezTo>
                      <a:pt x="16" y="34"/>
                      <a:pt x="16" y="36"/>
                      <a:pt x="16" y="38"/>
                    </a:cubicBezTo>
                    <a:cubicBezTo>
                      <a:pt x="16" y="38"/>
                      <a:pt x="16" y="38"/>
                      <a:pt x="16" y="38"/>
                    </a:cubicBezTo>
                    <a:cubicBezTo>
                      <a:pt x="16" y="40"/>
                      <a:pt x="15" y="41"/>
                      <a:pt x="13" y="42"/>
                    </a:cubicBezTo>
                    <a:cubicBezTo>
                      <a:pt x="17" y="45"/>
                      <a:pt x="22" y="48"/>
                      <a:pt x="26" y="50"/>
                    </a:cubicBezTo>
                    <a:cubicBezTo>
                      <a:pt x="29" y="52"/>
                      <a:pt x="29" y="52"/>
                      <a:pt x="29" y="52"/>
                    </a:cubicBezTo>
                    <a:cubicBezTo>
                      <a:pt x="26" y="54"/>
                      <a:pt x="26" y="54"/>
                      <a:pt x="26" y="54"/>
                    </a:cubicBezTo>
                    <a:cubicBezTo>
                      <a:pt x="26" y="54"/>
                      <a:pt x="26" y="54"/>
                      <a:pt x="26" y="54"/>
                    </a:cubicBezTo>
                    <a:cubicBezTo>
                      <a:pt x="27" y="55"/>
                      <a:pt x="27" y="55"/>
                      <a:pt x="28" y="56"/>
                    </a:cubicBezTo>
                    <a:cubicBezTo>
                      <a:pt x="30" y="58"/>
                      <a:pt x="30" y="58"/>
                      <a:pt x="30" y="58"/>
                    </a:cubicBezTo>
                    <a:cubicBezTo>
                      <a:pt x="31" y="57"/>
                      <a:pt x="33" y="56"/>
                      <a:pt x="34" y="55"/>
                    </a:cubicBezTo>
                    <a:cubicBezTo>
                      <a:pt x="35" y="54"/>
                      <a:pt x="37" y="53"/>
                      <a:pt x="38" y="53"/>
                    </a:cubicBezTo>
                    <a:cubicBezTo>
                      <a:pt x="40" y="51"/>
                      <a:pt x="43" y="49"/>
                      <a:pt x="45" y="48"/>
                    </a:cubicBezTo>
                    <a:cubicBezTo>
                      <a:pt x="46" y="47"/>
                      <a:pt x="46" y="47"/>
                      <a:pt x="46" y="47"/>
                    </a:cubicBezTo>
                    <a:cubicBezTo>
                      <a:pt x="49" y="46"/>
                      <a:pt x="51" y="45"/>
                      <a:pt x="52" y="45"/>
                    </a:cubicBezTo>
                    <a:cubicBezTo>
                      <a:pt x="53" y="45"/>
                      <a:pt x="53" y="45"/>
                      <a:pt x="54" y="45"/>
                    </a:cubicBezTo>
                    <a:cubicBezTo>
                      <a:pt x="55" y="45"/>
                      <a:pt x="56" y="47"/>
                      <a:pt x="58" y="50"/>
                    </a:cubicBezTo>
                    <a:cubicBezTo>
                      <a:pt x="59" y="51"/>
                      <a:pt x="59" y="51"/>
                      <a:pt x="59" y="51"/>
                    </a:cubicBezTo>
                    <a:cubicBezTo>
                      <a:pt x="60" y="52"/>
                      <a:pt x="61" y="53"/>
                      <a:pt x="61" y="54"/>
                    </a:cubicBezTo>
                    <a:cubicBezTo>
                      <a:pt x="61" y="56"/>
                      <a:pt x="60" y="57"/>
                      <a:pt x="60" y="58"/>
                    </a:cubicBezTo>
                    <a:cubicBezTo>
                      <a:pt x="59" y="58"/>
                      <a:pt x="59" y="58"/>
                      <a:pt x="59" y="58"/>
                    </a:cubicBezTo>
                    <a:cubicBezTo>
                      <a:pt x="60" y="59"/>
                      <a:pt x="60" y="59"/>
                      <a:pt x="60" y="59"/>
                    </a:cubicBezTo>
                    <a:cubicBezTo>
                      <a:pt x="60" y="59"/>
                      <a:pt x="60" y="59"/>
                      <a:pt x="61" y="60"/>
                    </a:cubicBezTo>
                    <a:cubicBezTo>
                      <a:pt x="63" y="62"/>
                      <a:pt x="63" y="62"/>
                      <a:pt x="63" y="62"/>
                    </a:cubicBezTo>
                    <a:cubicBezTo>
                      <a:pt x="57" y="66"/>
                      <a:pt x="57" y="66"/>
                      <a:pt x="57" y="66"/>
                    </a:cubicBezTo>
                    <a:cubicBezTo>
                      <a:pt x="59" y="67"/>
                      <a:pt x="59" y="67"/>
                      <a:pt x="59" y="67"/>
                    </a:cubicBezTo>
                    <a:cubicBezTo>
                      <a:pt x="59" y="67"/>
                      <a:pt x="60" y="68"/>
                      <a:pt x="60" y="68"/>
                    </a:cubicBezTo>
                    <a:cubicBezTo>
                      <a:pt x="60" y="69"/>
                      <a:pt x="60" y="69"/>
                      <a:pt x="60" y="69"/>
                    </a:cubicBezTo>
                    <a:cubicBezTo>
                      <a:pt x="61" y="69"/>
                      <a:pt x="61" y="70"/>
                      <a:pt x="62" y="70"/>
                    </a:cubicBezTo>
                    <a:cubicBezTo>
                      <a:pt x="62" y="70"/>
                      <a:pt x="63" y="70"/>
                      <a:pt x="64" y="71"/>
                    </a:cubicBezTo>
                    <a:cubicBezTo>
                      <a:pt x="65" y="72"/>
                      <a:pt x="65" y="73"/>
                      <a:pt x="65" y="73"/>
                    </a:cubicBezTo>
                    <a:cubicBezTo>
                      <a:pt x="66" y="73"/>
                      <a:pt x="66" y="73"/>
                      <a:pt x="66" y="73"/>
                    </a:cubicBezTo>
                    <a:cubicBezTo>
                      <a:pt x="66" y="74"/>
                      <a:pt x="66" y="74"/>
                      <a:pt x="66" y="74"/>
                    </a:cubicBezTo>
                    <a:cubicBezTo>
                      <a:pt x="66" y="74"/>
                      <a:pt x="68" y="73"/>
                      <a:pt x="69" y="73"/>
                    </a:cubicBezTo>
                    <a:cubicBezTo>
                      <a:pt x="70" y="73"/>
                      <a:pt x="70" y="73"/>
                      <a:pt x="70" y="73"/>
                    </a:cubicBezTo>
                    <a:cubicBezTo>
                      <a:pt x="70" y="70"/>
                      <a:pt x="70" y="68"/>
                      <a:pt x="71" y="66"/>
                    </a:cubicBezTo>
                    <a:cubicBezTo>
                      <a:pt x="71" y="64"/>
                      <a:pt x="70" y="59"/>
                      <a:pt x="73" y="59"/>
                    </a:cubicBezTo>
                    <a:cubicBezTo>
                      <a:pt x="73" y="59"/>
                      <a:pt x="73" y="59"/>
                      <a:pt x="73" y="59"/>
                    </a:cubicBezTo>
                    <a:cubicBezTo>
                      <a:pt x="74" y="59"/>
                      <a:pt x="75" y="63"/>
                      <a:pt x="75" y="63"/>
                    </a:cubicBezTo>
                    <a:cubicBezTo>
                      <a:pt x="76" y="61"/>
                      <a:pt x="76" y="56"/>
                      <a:pt x="78" y="55"/>
                    </a:cubicBezTo>
                    <a:cubicBezTo>
                      <a:pt x="78" y="55"/>
                      <a:pt x="78" y="55"/>
                      <a:pt x="78" y="55"/>
                    </a:cubicBezTo>
                    <a:cubicBezTo>
                      <a:pt x="79" y="55"/>
                      <a:pt x="79" y="55"/>
                      <a:pt x="79" y="56"/>
                    </a:cubicBezTo>
                    <a:cubicBezTo>
                      <a:pt x="79" y="56"/>
                      <a:pt x="79" y="56"/>
                      <a:pt x="79" y="56"/>
                    </a:cubicBezTo>
                    <a:cubicBezTo>
                      <a:pt x="80" y="56"/>
                      <a:pt x="80" y="56"/>
                      <a:pt x="80" y="55"/>
                    </a:cubicBezTo>
                    <a:cubicBezTo>
                      <a:pt x="80" y="54"/>
                      <a:pt x="80" y="54"/>
                      <a:pt x="79" y="54"/>
                    </a:cubicBezTo>
                    <a:cubicBezTo>
                      <a:pt x="79" y="52"/>
                      <a:pt x="77" y="51"/>
                      <a:pt x="78" y="50"/>
                    </a:cubicBezTo>
                    <a:cubicBezTo>
                      <a:pt x="79" y="48"/>
                      <a:pt x="80" y="46"/>
                      <a:pt x="80" y="44"/>
                    </a:cubicBezTo>
                    <a:cubicBezTo>
                      <a:pt x="81" y="41"/>
                      <a:pt x="82" y="37"/>
                      <a:pt x="84" y="35"/>
                    </a:cubicBezTo>
                    <a:cubicBezTo>
                      <a:pt x="87" y="33"/>
                      <a:pt x="89" y="33"/>
                      <a:pt x="91" y="33"/>
                    </a:cubicBezTo>
                    <a:cubicBezTo>
                      <a:pt x="92" y="33"/>
                      <a:pt x="92" y="33"/>
                      <a:pt x="93" y="33"/>
                    </a:cubicBezTo>
                    <a:cubicBezTo>
                      <a:pt x="95" y="33"/>
                      <a:pt x="97" y="33"/>
                      <a:pt x="99" y="35"/>
                    </a:cubicBezTo>
                    <a:cubicBezTo>
                      <a:pt x="98" y="33"/>
                      <a:pt x="98" y="32"/>
                      <a:pt x="96" y="31"/>
                    </a:cubicBezTo>
                    <a:cubicBezTo>
                      <a:pt x="95" y="30"/>
                      <a:pt x="94" y="29"/>
                      <a:pt x="92" y="28"/>
                    </a:cubicBezTo>
                    <a:cubicBezTo>
                      <a:pt x="92" y="28"/>
                      <a:pt x="91" y="27"/>
                      <a:pt x="90" y="27"/>
                    </a:cubicBezTo>
                    <a:cubicBezTo>
                      <a:pt x="90" y="27"/>
                      <a:pt x="90" y="27"/>
                      <a:pt x="90" y="27"/>
                    </a:cubicBezTo>
                    <a:cubicBezTo>
                      <a:pt x="89" y="27"/>
                      <a:pt x="89" y="28"/>
                      <a:pt x="88" y="28"/>
                    </a:cubicBezTo>
                    <a:cubicBezTo>
                      <a:pt x="88" y="28"/>
                      <a:pt x="88" y="28"/>
                      <a:pt x="88" y="28"/>
                    </a:cubicBezTo>
                    <a:cubicBezTo>
                      <a:pt x="85" y="28"/>
                      <a:pt x="84" y="26"/>
                      <a:pt x="82" y="24"/>
                    </a:cubicBezTo>
                    <a:cubicBezTo>
                      <a:pt x="79" y="21"/>
                      <a:pt x="76" y="16"/>
                      <a:pt x="74" y="11"/>
                    </a:cubicBezTo>
                    <a:cubicBezTo>
                      <a:pt x="72" y="7"/>
                      <a:pt x="69" y="4"/>
                      <a:pt x="66" y="0"/>
                    </a:cubicBezTo>
                    <a:cubicBezTo>
                      <a:pt x="65" y="3"/>
                      <a:pt x="62" y="5"/>
                      <a:pt x="60" y="6"/>
                    </a:cubicBezTo>
                    <a:cubicBezTo>
                      <a:pt x="60" y="7"/>
                      <a:pt x="60" y="7"/>
                      <a:pt x="60" y="7"/>
                    </a:cubicBezTo>
                    <a:cubicBezTo>
                      <a:pt x="59" y="7"/>
                      <a:pt x="59" y="7"/>
                      <a:pt x="59" y="7"/>
                    </a:cubicBezTo>
                    <a:cubicBezTo>
                      <a:pt x="58" y="8"/>
                      <a:pt x="57" y="9"/>
                      <a:pt x="57" y="9"/>
                    </a:cubicBezTo>
                    <a:cubicBezTo>
                      <a:pt x="56" y="9"/>
                      <a:pt x="56" y="9"/>
                      <a:pt x="55" y="11"/>
                    </a:cubicBezTo>
                    <a:cubicBezTo>
                      <a:pt x="54" y="14"/>
                      <a:pt x="52" y="16"/>
                      <a:pt x="49" y="16"/>
                    </a:cubicBezTo>
                    <a:cubicBezTo>
                      <a:pt x="47" y="16"/>
                      <a:pt x="46" y="15"/>
                      <a:pt x="45" y="15"/>
                    </a:cubicBezTo>
                    <a:cubicBezTo>
                      <a:pt x="39" y="14"/>
                      <a:pt x="37" y="11"/>
                      <a:pt x="37" y="10"/>
                    </a:cubicBezTo>
                    <a:cubicBezTo>
                      <a:pt x="36" y="9"/>
                      <a:pt x="36" y="8"/>
                      <a:pt x="35" y="8"/>
                    </a:cubicBezTo>
                    <a:cubicBezTo>
                      <a:pt x="34" y="8"/>
                      <a:pt x="32" y="6"/>
                      <a:pt x="31" y="3"/>
                    </a:cubicBezTo>
                    <a:cubicBezTo>
                      <a:pt x="30" y="1"/>
                      <a:pt x="28" y="0"/>
                      <a:pt x="28" y="0"/>
                    </a:cubicBezTo>
                    <a:cubicBezTo>
                      <a:pt x="26" y="0"/>
                      <a:pt x="25" y="0"/>
                      <a:pt x="25" y="0"/>
                    </a:cubicBezTo>
                    <a:cubicBezTo>
                      <a:pt x="25" y="0"/>
                      <a:pt x="25"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Freeform 369"/>
              <p:cNvSpPr/>
              <p:nvPr/>
            </p:nvSpPr>
            <p:spPr bwMode="auto">
              <a:xfrm>
                <a:off x="8410" y="3328"/>
                <a:ext cx="149" cy="47"/>
              </a:xfrm>
              <a:custGeom>
                <a:gdLst>
                  <a:gd name="T0" fmla="*/ 29 w 63"/>
                  <a:gd name="T1" fmla="*/ 0 h 20"/>
                  <a:gd name="T2" fmla="*/ 25 w 63"/>
                  <a:gd name="T3" fmla="*/ 2 h 20"/>
                  <a:gd name="T4" fmla="*/ 17 w 63"/>
                  <a:gd name="T5" fmla="*/ 7 h 20"/>
                  <a:gd name="T6" fmla="*/ 9 w 63"/>
                  <a:gd name="T7" fmla="*/ 8 h 20"/>
                  <a:gd name="T8" fmla="*/ 5 w 63"/>
                  <a:gd name="T9" fmla="*/ 9 h 20"/>
                  <a:gd name="T10" fmla="*/ 6 w 63"/>
                  <a:gd name="T11" fmla="*/ 12 h 20"/>
                  <a:gd name="T12" fmla="*/ 0 w 63"/>
                  <a:gd name="T13" fmla="*/ 20 h 20"/>
                  <a:gd name="T14" fmla="*/ 62 w 63"/>
                  <a:gd name="T15" fmla="*/ 20 h 20"/>
                  <a:gd name="T16" fmla="*/ 62 w 63"/>
                  <a:gd name="T17" fmla="*/ 18 h 20"/>
                  <a:gd name="T18" fmla="*/ 59 w 63"/>
                  <a:gd name="T19" fmla="*/ 14 h 20"/>
                  <a:gd name="T20" fmla="*/ 61 w 63"/>
                  <a:gd name="T21" fmla="*/ 10 h 20"/>
                  <a:gd name="T22" fmla="*/ 61 w 63"/>
                  <a:gd name="T23" fmla="*/ 10 h 20"/>
                  <a:gd name="T24" fmla="*/ 45 w 63"/>
                  <a:gd name="T25" fmla="*/ 7 h 20"/>
                  <a:gd name="T26" fmla="*/ 30 w 63"/>
                  <a:gd name="T27" fmla="*/ 0 h 20"/>
                  <a:gd name="T28" fmla="*/ 29 w 63"/>
                  <a:gd name="T29"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20">
                    <a:moveTo>
                      <a:pt x="29" y="0"/>
                    </a:moveTo>
                    <a:cubicBezTo>
                      <a:pt x="28" y="0"/>
                      <a:pt x="26" y="1"/>
                      <a:pt x="25" y="2"/>
                    </a:cubicBezTo>
                    <a:cubicBezTo>
                      <a:pt x="22" y="3"/>
                      <a:pt x="20" y="6"/>
                      <a:pt x="17" y="7"/>
                    </a:cubicBezTo>
                    <a:cubicBezTo>
                      <a:pt x="15" y="8"/>
                      <a:pt x="12" y="8"/>
                      <a:pt x="9" y="8"/>
                    </a:cubicBezTo>
                    <a:cubicBezTo>
                      <a:pt x="8" y="8"/>
                      <a:pt x="6" y="9"/>
                      <a:pt x="5" y="9"/>
                    </a:cubicBezTo>
                    <a:cubicBezTo>
                      <a:pt x="5" y="10"/>
                      <a:pt x="6" y="11"/>
                      <a:pt x="6" y="12"/>
                    </a:cubicBezTo>
                    <a:cubicBezTo>
                      <a:pt x="5" y="15"/>
                      <a:pt x="2" y="17"/>
                      <a:pt x="0" y="20"/>
                    </a:cubicBezTo>
                    <a:cubicBezTo>
                      <a:pt x="62" y="20"/>
                      <a:pt x="62" y="20"/>
                      <a:pt x="62" y="20"/>
                    </a:cubicBezTo>
                    <a:cubicBezTo>
                      <a:pt x="63" y="19"/>
                      <a:pt x="63" y="19"/>
                      <a:pt x="62" y="18"/>
                    </a:cubicBezTo>
                    <a:cubicBezTo>
                      <a:pt x="62" y="17"/>
                      <a:pt x="60" y="15"/>
                      <a:pt x="59" y="14"/>
                    </a:cubicBezTo>
                    <a:cubicBezTo>
                      <a:pt x="58" y="12"/>
                      <a:pt x="58" y="10"/>
                      <a:pt x="61" y="10"/>
                    </a:cubicBezTo>
                    <a:cubicBezTo>
                      <a:pt x="61" y="10"/>
                      <a:pt x="61" y="10"/>
                      <a:pt x="61" y="10"/>
                    </a:cubicBezTo>
                    <a:cubicBezTo>
                      <a:pt x="56" y="9"/>
                      <a:pt x="50" y="9"/>
                      <a:pt x="45" y="7"/>
                    </a:cubicBezTo>
                    <a:cubicBezTo>
                      <a:pt x="40" y="4"/>
                      <a:pt x="36" y="1"/>
                      <a:pt x="30" y="0"/>
                    </a:cubicBezTo>
                    <a:cubicBezTo>
                      <a:pt x="30"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Freeform 370"/>
              <p:cNvSpPr/>
              <p:nvPr/>
            </p:nvSpPr>
            <p:spPr bwMode="auto">
              <a:xfrm>
                <a:off x="7415" y="3120"/>
                <a:ext cx="456" cy="255"/>
              </a:xfrm>
              <a:custGeom>
                <a:gdLst>
                  <a:gd name="T0" fmla="*/ 137 w 193"/>
                  <a:gd name="T1" fmla="*/ 1 h 108"/>
                  <a:gd name="T2" fmla="*/ 130 w 193"/>
                  <a:gd name="T3" fmla="*/ 8 h 108"/>
                  <a:gd name="T4" fmla="*/ 124 w 193"/>
                  <a:gd name="T5" fmla="*/ 26 h 108"/>
                  <a:gd name="T6" fmla="*/ 121 w 193"/>
                  <a:gd name="T7" fmla="*/ 30 h 108"/>
                  <a:gd name="T8" fmla="*/ 123 w 193"/>
                  <a:gd name="T9" fmla="*/ 32 h 108"/>
                  <a:gd name="T10" fmla="*/ 123 w 193"/>
                  <a:gd name="T11" fmla="*/ 35 h 108"/>
                  <a:gd name="T12" fmla="*/ 117 w 193"/>
                  <a:gd name="T13" fmla="*/ 39 h 108"/>
                  <a:gd name="T14" fmla="*/ 116 w 193"/>
                  <a:gd name="T15" fmla="*/ 41 h 108"/>
                  <a:gd name="T16" fmla="*/ 114 w 193"/>
                  <a:gd name="T17" fmla="*/ 48 h 108"/>
                  <a:gd name="T18" fmla="*/ 113 w 193"/>
                  <a:gd name="T19" fmla="*/ 50 h 108"/>
                  <a:gd name="T20" fmla="*/ 106 w 193"/>
                  <a:gd name="T21" fmla="*/ 57 h 108"/>
                  <a:gd name="T22" fmla="*/ 105 w 193"/>
                  <a:gd name="T23" fmla="*/ 57 h 108"/>
                  <a:gd name="T24" fmla="*/ 102 w 193"/>
                  <a:gd name="T25" fmla="*/ 57 h 108"/>
                  <a:gd name="T26" fmla="*/ 95 w 193"/>
                  <a:gd name="T27" fmla="*/ 59 h 108"/>
                  <a:gd name="T28" fmla="*/ 83 w 193"/>
                  <a:gd name="T29" fmla="*/ 58 h 108"/>
                  <a:gd name="T30" fmla="*/ 74 w 193"/>
                  <a:gd name="T31" fmla="*/ 55 h 108"/>
                  <a:gd name="T32" fmla="*/ 66 w 193"/>
                  <a:gd name="T33" fmla="*/ 56 h 108"/>
                  <a:gd name="T34" fmla="*/ 65 w 193"/>
                  <a:gd name="T35" fmla="*/ 58 h 108"/>
                  <a:gd name="T36" fmla="*/ 53 w 193"/>
                  <a:gd name="T37" fmla="*/ 65 h 108"/>
                  <a:gd name="T38" fmla="*/ 42 w 193"/>
                  <a:gd name="T39" fmla="*/ 65 h 108"/>
                  <a:gd name="T40" fmla="*/ 33 w 193"/>
                  <a:gd name="T41" fmla="*/ 68 h 108"/>
                  <a:gd name="T42" fmla="*/ 27 w 193"/>
                  <a:gd name="T43" fmla="*/ 64 h 108"/>
                  <a:gd name="T44" fmla="*/ 20 w 193"/>
                  <a:gd name="T45" fmla="*/ 58 h 108"/>
                  <a:gd name="T46" fmla="*/ 12 w 193"/>
                  <a:gd name="T47" fmla="*/ 44 h 108"/>
                  <a:gd name="T48" fmla="*/ 1 w 193"/>
                  <a:gd name="T49" fmla="*/ 59 h 108"/>
                  <a:gd name="T50" fmla="*/ 1 w 193"/>
                  <a:gd name="T51" fmla="*/ 69 h 108"/>
                  <a:gd name="T52" fmla="*/ 8 w 193"/>
                  <a:gd name="T53" fmla="*/ 81 h 108"/>
                  <a:gd name="T54" fmla="*/ 6 w 193"/>
                  <a:gd name="T55" fmla="*/ 86 h 108"/>
                  <a:gd name="T56" fmla="*/ 7 w 193"/>
                  <a:gd name="T57" fmla="*/ 97 h 108"/>
                  <a:gd name="T58" fmla="*/ 17 w 193"/>
                  <a:gd name="T59" fmla="*/ 99 h 108"/>
                  <a:gd name="T60" fmla="*/ 150 w 193"/>
                  <a:gd name="T61" fmla="*/ 103 h 108"/>
                  <a:gd name="T62" fmla="*/ 160 w 193"/>
                  <a:gd name="T63" fmla="*/ 97 h 108"/>
                  <a:gd name="T64" fmla="*/ 167 w 193"/>
                  <a:gd name="T65" fmla="*/ 90 h 108"/>
                  <a:gd name="T66" fmla="*/ 164 w 193"/>
                  <a:gd name="T67" fmla="*/ 82 h 108"/>
                  <a:gd name="T68" fmla="*/ 171 w 193"/>
                  <a:gd name="T69" fmla="*/ 66 h 108"/>
                  <a:gd name="T70" fmla="*/ 174 w 193"/>
                  <a:gd name="T71" fmla="*/ 66 h 108"/>
                  <a:gd name="T72" fmla="*/ 178 w 193"/>
                  <a:gd name="T73" fmla="*/ 65 h 108"/>
                  <a:gd name="T74" fmla="*/ 193 w 193"/>
                  <a:gd name="T75" fmla="*/ 62 h 108"/>
                  <a:gd name="T76" fmla="*/ 170 w 193"/>
                  <a:gd name="T77" fmla="*/ 43 h 108"/>
                  <a:gd name="T78" fmla="*/ 173 w 193"/>
                  <a:gd name="T79" fmla="*/ 40 h 108"/>
                  <a:gd name="T80" fmla="*/ 168 w 193"/>
                  <a:gd name="T81" fmla="*/ 26 h 108"/>
                  <a:gd name="T82" fmla="*/ 164 w 193"/>
                  <a:gd name="T83" fmla="*/ 22 h 108"/>
                  <a:gd name="T84" fmla="*/ 160 w 193"/>
                  <a:gd name="T85" fmla="*/ 20 h 108"/>
                  <a:gd name="T86" fmla="*/ 161 w 193"/>
                  <a:gd name="T87" fmla="*/ 20 h 108"/>
                  <a:gd name="T88" fmla="*/ 162 w 193"/>
                  <a:gd name="T89" fmla="*/ 19 h 108"/>
                  <a:gd name="T90" fmla="*/ 161 w 193"/>
                  <a:gd name="T91" fmla="*/ 16 h 108"/>
                  <a:gd name="T92" fmla="*/ 160 w 193"/>
                  <a:gd name="T93" fmla="*/ 15 h 108"/>
                  <a:gd name="T94" fmla="*/ 159 w 193"/>
                  <a:gd name="T95" fmla="*/ 13 h 108"/>
                  <a:gd name="T96" fmla="*/ 164 w 193"/>
                  <a:gd name="T97" fmla="*/ 13 h 108"/>
                  <a:gd name="T98" fmla="*/ 168 w 193"/>
                  <a:gd name="T99" fmla="*/ 8 h 108"/>
                  <a:gd name="T100" fmla="*/ 163 w 193"/>
                  <a:gd name="T101" fmla="*/ 4 h 1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 h="108">
                    <a:moveTo>
                      <a:pt x="147" y="0"/>
                    </a:moveTo>
                    <a:cubicBezTo>
                      <a:pt x="146" y="0"/>
                      <a:pt x="146" y="0"/>
                      <a:pt x="145" y="0"/>
                    </a:cubicBezTo>
                    <a:cubicBezTo>
                      <a:pt x="142" y="1"/>
                      <a:pt x="139" y="1"/>
                      <a:pt x="137" y="1"/>
                    </a:cubicBezTo>
                    <a:cubicBezTo>
                      <a:pt x="136" y="1"/>
                      <a:pt x="136" y="1"/>
                      <a:pt x="135" y="1"/>
                    </a:cubicBezTo>
                    <a:cubicBezTo>
                      <a:pt x="135" y="1"/>
                      <a:pt x="134" y="1"/>
                      <a:pt x="134" y="1"/>
                    </a:cubicBezTo>
                    <a:cubicBezTo>
                      <a:pt x="131" y="4"/>
                      <a:pt x="130" y="6"/>
                      <a:pt x="130" y="8"/>
                    </a:cubicBezTo>
                    <a:cubicBezTo>
                      <a:pt x="131" y="14"/>
                      <a:pt x="131" y="17"/>
                      <a:pt x="129" y="22"/>
                    </a:cubicBezTo>
                    <a:cubicBezTo>
                      <a:pt x="129" y="23"/>
                      <a:pt x="128" y="26"/>
                      <a:pt x="125" y="26"/>
                    </a:cubicBezTo>
                    <a:cubicBezTo>
                      <a:pt x="125" y="26"/>
                      <a:pt x="125" y="26"/>
                      <a:pt x="124" y="26"/>
                    </a:cubicBezTo>
                    <a:cubicBezTo>
                      <a:pt x="124" y="26"/>
                      <a:pt x="124" y="26"/>
                      <a:pt x="124" y="26"/>
                    </a:cubicBezTo>
                    <a:cubicBezTo>
                      <a:pt x="123" y="26"/>
                      <a:pt x="122" y="27"/>
                      <a:pt x="122" y="27"/>
                    </a:cubicBezTo>
                    <a:cubicBezTo>
                      <a:pt x="121" y="28"/>
                      <a:pt x="121" y="29"/>
                      <a:pt x="121" y="30"/>
                    </a:cubicBezTo>
                    <a:cubicBezTo>
                      <a:pt x="122" y="30"/>
                      <a:pt x="122" y="31"/>
                      <a:pt x="123" y="31"/>
                    </a:cubicBezTo>
                    <a:cubicBezTo>
                      <a:pt x="125" y="31"/>
                      <a:pt x="125" y="31"/>
                      <a:pt x="125" y="31"/>
                    </a:cubicBezTo>
                    <a:cubicBezTo>
                      <a:pt x="123" y="32"/>
                      <a:pt x="123" y="32"/>
                      <a:pt x="123" y="32"/>
                    </a:cubicBezTo>
                    <a:cubicBezTo>
                      <a:pt x="123" y="32"/>
                      <a:pt x="123" y="32"/>
                      <a:pt x="123" y="32"/>
                    </a:cubicBezTo>
                    <a:cubicBezTo>
                      <a:pt x="124" y="34"/>
                      <a:pt x="124" y="34"/>
                      <a:pt x="124" y="34"/>
                    </a:cubicBezTo>
                    <a:cubicBezTo>
                      <a:pt x="123" y="35"/>
                      <a:pt x="123" y="35"/>
                      <a:pt x="123" y="35"/>
                    </a:cubicBezTo>
                    <a:cubicBezTo>
                      <a:pt x="122" y="36"/>
                      <a:pt x="120" y="37"/>
                      <a:pt x="119" y="38"/>
                    </a:cubicBezTo>
                    <a:cubicBezTo>
                      <a:pt x="118" y="38"/>
                      <a:pt x="118" y="38"/>
                      <a:pt x="117" y="39"/>
                    </a:cubicBezTo>
                    <a:cubicBezTo>
                      <a:pt x="117" y="39"/>
                      <a:pt x="117" y="39"/>
                      <a:pt x="117" y="39"/>
                    </a:cubicBezTo>
                    <a:cubicBezTo>
                      <a:pt x="116" y="39"/>
                      <a:pt x="116" y="39"/>
                      <a:pt x="116" y="39"/>
                    </a:cubicBezTo>
                    <a:cubicBezTo>
                      <a:pt x="115" y="40"/>
                      <a:pt x="115" y="40"/>
                      <a:pt x="115" y="40"/>
                    </a:cubicBezTo>
                    <a:cubicBezTo>
                      <a:pt x="115" y="40"/>
                      <a:pt x="116" y="40"/>
                      <a:pt x="116" y="41"/>
                    </a:cubicBezTo>
                    <a:cubicBezTo>
                      <a:pt x="116" y="41"/>
                      <a:pt x="116" y="42"/>
                      <a:pt x="116" y="42"/>
                    </a:cubicBezTo>
                    <a:cubicBezTo>
                      <a:pt x="116" y="43"/>
                      <a:pt x="117" y="44"/>
                      <a:pt x="116" y="46"/>
                    </a:cubicBezTo>
                    <a:cubicBezTo>
                      <a:pt x="116" y="47"/>
                      <a:pt x="115" y="48"/>
                      <a:pt x="114" y="48"/>
                    </a:cubicBezTo>
                    <a:cubicBezTo>
                      <a:pt x="113" y="49"/>
                      <a:pt x="113" y="49"/>
                      <a:pt x="113" y="49"/>
                    </a:cubicBezTo>
                    <a:cubicBezTo>
                      <a:pt x="113" y="49"/>
                      <a:pt x="113" y="49"/>
                      <a:pt x="113" y="49"/>
                    </a:cubicBezTo>
                    <a:cubicBezTo>
                      <a:pt x="113" y="49"/>
                      <a:pt x="113" y="50"/>
                      <a:pt x="113" y="50"/>
                    </a:cubicBezTo>
                    <a:cubicBezTo>
                      <a:pt x="112" y="53"/>
                      <a:pt x="112" y="53"/>
                      <a:pt x="112" y="53"/>
                    </a:cubicBezTo>
                    <a:cubicBezTo>
                      <a:pt x="111" y="55"/>
                      <a:pt x="109" y="57"/>
                      <a:pt x="107" y="57"/>
                    </a:cubicBezTo>
                    <a:cubicBezTo>
                      <a:pt x="106" y="57"/>
                      <a:pt x="106" y="57"/>
                      <a:pt x="106" y="57"/>
                    </a:cubicBezTo>
                    <a:cubicBezTo>
                      <a:pt x="106" y="57"/>
                      <a:pt x="105" y="57"/>
                      <a:pt x="105" y="57"/>
                    </a:cubicBezTo>
                    <a:cubicBezTo>
                      <a:pt x="105" y="56"/>
                      <a:pt x="105" y="56"/>
                      <a:pt x="105" y="56"/>
                    </a:cubicBezTo>
                    <a:cubicBezTo>
                      <a:pt x="105" y="57"/>
                      <a:pt x="105" y="57"/>
                      <a:pt x="105" y="57"/>
                    </a:cubicBezTo>
                    <a:cubicBezTo>
                      <a:pt x="105" y="57"/>
                      <a:pt x="104" y="57"/>
                      <a:pt x="104" y="57"/>
                    </a:cubicBezTo>
                    <a:cubicBezTo>
                      <a:pt x="104" y="57"/>
                      <a:pt x="103" y="57"/>
                      <a:pt x="103" y="57"/>
                    </a:cubicBezTo>
                    <a:cubicBezTo>
                      <a:pt x="102" y="57"/>
                      <a:pt x="102" y="57"/>
                      <a:pt x="102" y="57"/>
                    </a:cubicBezTo>
                    <a:cubicBezTo>
                      <a:pt x="100" y="57"/>
                      <a:pt x="100" y="57"/>
                      <a:pt x="100" y="57"/>
                    </a:cubicBezTo>
                    <a:cubicBezTo>
                      <a:pt x="98" y="58"/>
                      <a:pt x="96" y="58"/>
                      <a:pt x="95" y="59"/>
                    </a:cubicBezTo>
                    <a:cubicBezTo>
                      <a:pt x="95" y="59"/>
                      <a:pt x="95" y="59"/>
                      <a:pt x="95" y="59"/>
                    </a:cubicBezTo>
                    <a:cubicBezTo>
                      <a:pt x="94" y="59"/>
                      <a:pt x="93" y="60"/>
                      <a:pt x="93" y="60"/>
                    </a:cubicBezTo>
                    <a:cubicBezTo>
                      <a:pt x="92" y="60"/>
                      <a:pt x="91" y="60"/>
                      <a:pt x="91" y="60"/>
                    </a:cubicBezTo>
                    <a:cubicBezTo>
                      <a:pt x="88" y="60"/>
                      <a:pt x="85" y="59"/>
                      <a:pt x="83" y="58"/>
                    </a:cubicBezTo>
                    <a:cubicBezTo>
                      <a:pt x="82" y="58"/>
                      <a:pt x="82" y="58"/>
                      <a:pt x="82" y="58"/>
                    </a:cubicBezTo>
                    <a:cubicBezTo>
                      <a:pt x="81" y="57"/>
                      <a:pt x="80" y="56"/>
                      <a:pt x="78" y="56"/>
                    </a:cubicBezTo>
                    <a:cubicBezTo>
                      <a:pt x="74" y="55"/>
                      <a:pt x="74" y="55"/>
                      <a:pt x="74" y="55"/>
                    </a:cubicBezTo>
                    <a:cubicBezTo>
                      <a:pt x="75" y="55"/>
                      <a:pt x="75" y="55"/>
                      <a:pt x="75" y="55"/>
                    </a:cubicBezTo>
                    <a:cubicBezTo>
                      <a:pt x="73" y="55"/>
                      <a:pt x="71" y="55"/>
                      <a:pt x="68" y="56"/>
                    </a:cubicBezTo>
                    <a:cubicBezTo>
                      <a:pt x="66" y="56"/>
                      <a:pt x="66" y="56"/>
                      <a:pt x="66" y="56"/>
                    </a:cubicBezTo>
                    <a:cubicBezTo>
                      <a:pt x="65" y="56"/>
                      <a:pt x="65" y="56"/>
                      <a:pt x="65" y="56"/>
                    </a:cubicBezTo>
                    <a:cubicBezTo>
                      <a:pt x="65" y="57"/>
                      <a:pt x="65" y="57"/>
                      <a:pt x="65" y="57"/>
                    </a:cubicBezTo>
                    <a:cubicBezTo>
                      <a:pt x="65" y="58"/>
                      <a:pt x="65" y="58"/>
                      <a:pt x="65" y="58"/>
                    </a:cubicBezTo>
                    <a:cubicBezTo>
                      <a:pt x="65" y="58"/>
                      <a:pt x="65" y="59"/>
                      <a:pt x="64" y="60"/>
                    </a:cubicBezTo>
                    <a:cubicBezTo>
                      <a:pt x="63" y="63"/>
                      <a:pt x="58" y="65"/>
                      <a:pt x="54" y="65"/>
                    </a:cubicBezTo>
                    <a:cubicBezTo>
                      <a:pt x="54" y="65"/>
                      <a:pt x="54" y="65"/>
                      <a:pt x="53" y="65"/>
                    </a:cubicBezTo>
                    <a:cubicBezTo>
                      <a:pt x="52" y="65"/>
                      <a:pt x="51" y="64"/>
                      <a:pt x="51" y="64"/>
                    </a:cubicBezTo>
                    <a:cubicBezTo>
                      <a:pt x="49" y="64"/>
                      <a:pt x="48" y="64"/>
                      <a:pt x="46" y="64"/>
                    </a:cubicBezTo>
                    <a:cubicBezTo>
                      <a:pt x="45" y="64"/>
                      <a:pt x="44" y="64"/>
                      <a:pt x="42" y="65"/>
                    </a:cubicBezTo>
                    <a:cubicBezTo>
                      <a:pt x="42" y="65"/>
                      <a:pt x="41" y="65"/>
                      <a:pt x="41" y="65"/>
                    </a:cubicBezTo>
                    <a:cubicBezTo>
                      <a:pt x="40" y="66"/>
                      <a:pt x="40" y="66"/>
                      <a:pt x="40" y="66"/>
                    </a:cubicBezTo>
                    <a:cubicBezTo>
                      <a:pt x="38" y="67"/>
                      <a:pt x="35" y="68"/>
                      <a:pt x="33" y="68"/>
                    </a:cubicBezTo>
                    <a:cubicBezTo>
                      <a:pt x="32" y="68"/>
                      <a:pt x="32" y="68"/>
                      <a:pt x="32" y="68"/>
                    </a:cubicBezTo>
                    <a:cubicBezTo>
                      <a:pt x="30" y="67"/>
                      <a:pt x="28" y="66"/>
                      <a:pt x="27" y="65"/>
                    </a:cubicBezTo>
                    <a:cubicBezTo>
                      <a:pt x="27" y="64"/>
                      <a:pt x="27" y="64"/>
                      <a:pt x="27" y="64"/>
                    </a:cubicBezTo>
                    <a:cubicBezTo>
                      <a:pt x="26" y="64"/>
                      <a:pt x="26" y="64"/>
                      <a:pt x="26" y="64"/>
                    </a:cubicBezTo>
                    <a:cubicBezTo>
                      <a:pt x="26" y="64"/>
                      <a:pt x="26" y="64"/>
                      <a:pt x="26" y="64"/>
                    </a:cubicBezTo>
                    <a:cubicBezTo>
                      <a:pt x="24" y="62"/>
                      <a:pt x="22" y="60"/>
                      <a:pt x="20" y="58"/>
                    </a:cubicBezTo>
                    <a:cubicBezTo>
                      <a:pt x="19" y="58"/>
                      <a:pt x="19" y="58"/>
                      <a:pt x="19" y="58"/>
                    </a:cubicBezTo>
                    <a:cubicBezTo>
                      <a:pt x="16" y="55"/>
                      <a:pt x="12" y="52"/>
                      <a:pt x="11" y="48"/>
                    </a:cubicBezTo>
                    <a:cubicBezTo>
                      <a:pt x="11" y="46"/>
                      <a:pt x="11" y="45"/>
                      <a:pt x="12" y="44"/>
                    </a:cubicBezTo>
                    <a:cubicBezTo>
                      <a:pt x="10" y="44"/>
                      <a:pt x="9" y="45"/>
                      <a:pt x="8" y="46"/>
                    </a:cubicBezTo>
                    <a:cubicBezTo>
                      <a:pt x="5" y="51"/>
                      <a:pt x="3" y="52"/>
                      <a:pt x="5" y="57"/>
                    </a:cubicBezTo>
                    <a:cubicBezTo>
                      <a:pt x="4" y="58"/>
                      <a:pt x="3" y="59"/>
                      <a:pt x="1" y="59"/>
                    </a:cubicBezTo>
                    <a:cubicBezTo>
                      <a:pt x="1" y="59"/>
                      <a:pt x="1" y="59"/>
                      <a:pt x="1" y="59"/>
                    </a:cubicBezTo>
                    <a:cubicBezTo>
                      <a:pt x="1" y="60"/>
                      <a:pt x="2" y="62"/>
                      <a:pt x="2" y="63"/>
                    </a:cubicBezTo>
                    <a:cubicBezTo>
                      <a:pt x="0" y="66"/>
                      <a:pt x="0" y="66"/>
                      <a:pt x="1" y="69"/>
                    </a:cubicBezTo>
                    <a:cubicBezTo>
                      <a:pt x="1" y="70"/>
                      <a:pt x="0" y="75"/>
                      <a:pt x="1" y="76"/>
                    </a:cubicBezTo>
                    <a:cubicBezTo>
                      <a:pt x="3" y="77"/>
                      <a:pt x="4" y="77"/>
                      <a:pt x="5" y="79"/>
                    </a:cubicBezTo>
                    <a:cubicBezTo>
                      <a:pt x="6" y="80"/>
                      <a:pt x="7" y="81"/>
                      <a:pt x="8" y="81"/>
                    </a:cubicBezTo>
                    <a:cubicBezTo>
                      <a:pt x="7" y="81"/>
                      <a:pt x="6" y="81"/>
                      <a:pt x="6" y="81"/>
                    </a:cubicBezTo>
                    <a:cubicBezTo>
                      <a:pt x="5" y="81"/>
                      <a:pt x="6" y="82"/>
                      <a:pt x="6" y="83"/>
                    </a:cubicBezTo>
                    <a:cubicBezTo>
                      <a:pt x="6" y="84"/>
                      <a:pt x="6" y="85"/>
                      <a:pt x="6" y="86"/>
                    </a:cubicBezTo>
                    <a:cubicBezTo>
                      <a:pt x="6" y="86"/>
                      <a:pt x="5" y="86"/>
                      <a:pt x="5" y="86"/>
                    </a:cubicBezTo>
                    <a:cubicBezTo>
                      <a:pt x="3" y="86"/>
                      <a:pt x="4" y="89"/>
                      <a:pt x="5" y="91"/>
                    </a:cubicBezTo>
                    <a:cubicBezTo>
                      <a:pt x="5" y="92"/>
                      <a:pt x="6" y="95"/>
                      <a:pt x="7" y="97"/>
                    </a:cubicBezTo>
                    <a:cubicBezTo>
                      <a:pt x="8" y="98"/>
                      <a:pt x="7" y="98"/>
                      <a:pt x="9" y="99"/>
                    </a:cubicBezTo>
                    <a:cubicBezTo>
                      <a:pt x="11" y="99"/>
                      <a:pt x="13" y="100"/>
                      <a:pt x="14" y="100"/>
                    </a:cubicBezTo>
                    <a:cubicBezTo>
                      <a:pt x="15" y="100"/>
                      <a:pt x="16" y="100"/>
                      <a:pt x="17" y="99"/>
                    </a:cubicBezTo>
                    <a:cubicBezTo>
                      <a:pt x="19" y="101"/>
                      <a:pt x="22" y="104"/>
                      <a:pt x="22" y="108"/>
                    </a:cubicBezTo>
                    <a:cubicBezTo>
                      <a:pt x="150" y="108"/>
                      <a:pt x="150" y="108"/>
                      <a:pt x="150" y="108"/>
                    </a:cubicBezTo>
                    <a:cubicBezTo>
                      <a:pt x="150" y="106"/>
                      <a:pt x="150" y="105"/>
                      <a:pt x="150" y="103"/>
                    </a:cubicBezTo>
                    <a:cubicBezTo>
                      <a:pt x="151" y="104"/>
                      <a:pt x="151" y="106"/>
                      <a:pt x="152" y="106"/>
                    </a:cubicBezTo>
                    <a:cubicBezTo>
                      <a:pt x="153" y="106"/>
                      <a:pt x="153" y="106"/>
                      <a:pt x="153" y="106"/>
                    </a:cubicBezTo>
                    <a:cubicBezTo>
                      <a:pt x="156" y="104"/>
                      <a:pt x="158" y="99"/>
                      <a:pt x="160" y="97"/>
                    </a:cubicBezTo>
                    <a:cubicBezTo>
                      <a:pt x="161" y="97"/>
                      <a:pt x="161" y="98"/>
                      <a:pt x="162" y="98"/>
                    </a:cubicBezTo>
                    <a:cubicBezTo>
                      <a:pt x="163" y="98"/>
                      <a:pt x="166" y="97"/>
                      <a:pt x="167" y="96"/>
                    </a:cubicBezTo>
                    <a:cubicBezTo>
                      <a:pt x="164" y="95"/>
                      <a:pt x="168" y="91"/>
                      <a:pt x="167" y="90"/>
                    </a:cubicBezTo>
                    <a:cubicBezTo>
                      <a:pt x="167" y="90"/>
                      <a:pt x="167" y="90"/>
                      <a:pt x="167" y="90"/>
                    </a:cubicBezTo>
                    <a:cubicBezTo>
                      <a:pt x="166" y="90"/>
                      <a:pt x="164" y="91"/>
                      <a:pt x="163" y="92"/>
                    </a:cubicBezTo>
                    <a:cubicBezTo>
                      <a:pt x="164" y="88"/>
                      <a:pt x="164" y="86"/>
                      <a:pt x="164" y="82"/>
                    </a:cubicBezTo>
                    <a:cubicBezTo>
                      <a:pt x="164" y="78"/>
                      <a:pt x="165" y="75"/>
                      <a:pt x="167" y="72"/>
                    </a:cubicBezTo>
                    <a:cubicBezTo>
                      <a:pt x="168" y="71"/>
                      <a:pt x="169" y="67"/>
                      <a:pt x="171" y="66"/>
                    </a:cubicBezTo>
                    <a:cubicBezTo>
                      <a:pt x="171" y="66"/>
                      <a:pt x="171" y="66"/>
                      <a:pt x="171" y="66"/>
                    </a:cubicBezTo>
                    <a:cubicBezTo>
                      <a:pt x="172" y="66"/>
                      <a:pt x="172" y="66"/>
                      <a:pt x="173" y="66"/>
                    </a:cubicBezTo>
                    <a:cubicBezTo>
                      <a:pt x="173" y="66"/>
                      <a:pt x="174" y="66"/>
                      <a:pt x="174" y="66"/>
                    </a:cubicBezTo>
                    <a:cubicBezTo>
                      <a:pt x="174" y="66"/>
                      <a:pt x="174" y="66"/>
                      <a:pt x="174" y="66"/>
                    </a:cubicBezTo>
                    <a:cubicBezTo>
                      <a:pt x="175" y="66"/>
                      <a:pt x="174" y="65"/>
                      <a:pt x="174" y="65"/>
                    </a:cubicBezTo>
                    <a:cubicBezTo>
                      <a:pt x="174" y="63"/>
                      <a:pt x="172" y="62"/>
                      <a:pt x="172" y="60"/>
                    </a:cubicBezTo>
                    <a:cubicBezTo>
                      <a:pt x="175" y="61"/>
                      <a:pt x="174" y="64"/>
                      <a:pt x="178" y="65"/>
                    </a:cubicBezTo>
                    <a:cubicBezTo>
                      <a:pt x="180" y="66"/>
                      <a:pt x="181" y="66"/>
                      <a:pt x="183" y="66"/>
                    </a:cubicBezTo>
                    <a:cubicBezTo>
                      <a:pt x="185" y="66"/>
                      <a:pt x="186" y="66"/>
                      <a:pt x="187" y="66"/>
                    </a:cubicBezTo>
                    <a:cubicBezTo>
                      <a:pt x="190" y="66"/>
                      <a:pt x="191" y="65"/>
                      <a:pt x="193" y="62"/>
                    </a:cubicBezTo>
                    <a:cubicBezTo>
                      <a:pt x="191" y="61"/>
                      <a:pt x="190" y="60"/>
                      <a:pt x="188" y="60"/>
                    </a:cubicBezTo>
                    <a:cubicBezTo>
                      <a:pt x="182" y="54"/>
                      <a:pt x="174" y="49"/>
                      <a:pt x="169" y="43"/>
                    </a:cubicBezTo>
                    <a:cubicBezTo>
                      <a:pt x="169" y="43"/>
                      <a:pt x="170" y="43"/>
                      <a:pt x="170" y="43"/>
                    </a:cubicBezTo>
                    <a:cubicBezTo>
                      <a:pt x="171" y="43"/>
                      <a:pt x="171" y="43"/>
                      <a:pt x="171" y="42"/>
                    </a:cubicBezTo>
                    <a:cubicBezTo>
                      <a:pt x="171" y="42"/>
                      <a:pt x="171" y="42"/>
                      <a:pt x="171" y="42"/>
                    </a:cubicBezTo>
                    <a:cubicBezTo>
                      <a:pt x="172" y="42"/>
                      <a:pt x="173" y="41"/>
                      <a:pt x="173" y="40"/>
                    </a:cubicBezTo>
                    <a:cubicBezTo>
                      <a:pt x="174" y="37"/>
                      <a:pt x="173" y="34"/>
                      <a:pt x="170" y="32"/>
                    </a:cubicBezTo>
                    <a:cubicBezTo>
                      <a:pt x="170" y="31"/>
                      <a:pt x="166" y="29"/>
                      <a:pt x="166" y="28"/>
                    </a:cubicBezTo>
                    <a:cubicBezTo>
                      <a:pt x="168" y="26"/>
                      <a:pt x="168" y="26"/>
                      <a:pt x="168" y="26"/>
                    </a:cubicBezTo>
                    <a:cubicBezTo>
                      <a:pt x="167" y="26"/>
                      <a:pt x="166" y="26"/>
                      <a:pt x="165" y="26"/>
                    </a:cubicBezTo>
                    <a:cubicBezTo>
                      <a:pt x="166" y="25"/>
                      <a:pt x="166" y="24"/>
                      <a:pt x="166" y="23"/>
                    </a:cubicBezTo>
                    <a:cubicBezTo>
                      <a:pt x="165" y="23"/>
                      <a:pt x="165" y="22"/>
                      <a:pt x="164" y="22"/>
                    </a:cubicBezTo>
                    <a:cubicBezTo>
                      <a:pt x="163" y="22"/>
                      <a:pt x="160" y="21"/>
                      <a:pt x="160" y="20"/>
                    </a:cubicBezTo>
                    <a:cubicBezTo>
                      <a:pt x="160" y="20"/>
                      <a:pt x="160" y="20"/>
                      <a:pt x="160" y="20"/>
                    </a:cubicBezTo>
                    <a:cubicBezTo>
                      <a:pt x="160" y="20"/>
                      <a:pt x="160" y="20"/>
                      <a:pt x="160" y="20"/>
                    </a:cubicBezTo>
                    <a:cubicBezTo>
                      <a:pt x="160" y="20"/>
                      <a:pt x="160" y="20"/>
                      <a:pt x="160" y="20"/>
                    </a:cubicBezTo>
                    <a:cubicBezTo>
                      <a:pt x="161" y="20"/>
                      <a:pt x="161" y="20"/>
                      <a:pt x="161" y="20"/>
                    </a:cubicBezTo>
                    <a:cubicBezTo>
                      <a:pt x="160" y="20"/>
                      <a:pt x="160" y="20"/>
                      <a:pt x="161" y="20"/>
                    </a:cubicBezTo>
                    <a:cubicBezTo>
                      <a:pt x="161" y="20"/>
                      <a:pt x="161" y="20"/>
                      <a:pt x="161" y="20"/>
                    </a:cubicBezTo>
                    <a:cubicBezTo>
                      <a:pt x="161" y="20"/>
                      <a:pt x="162" y="19"/>
                      <a:pt x="162" y="19"/>
                    </a:cubicBezTo>
                    <a:cubicBezTo>
                      <a:pt x="162" y="19"/>
                      <a:pt x="162" y="19"/>
                      <a:pt x="162" y="19"/>
                    </a:cubicBezTo>
                    <a:cubicBezTo>
                      <a:pt x="162" y="19"/>
                      <a:pt x="163" y="17"/>
                      <a:pt x="163" y="16"/>
                    </a:cubicBezTo>
                    <a:cubicBezTo>
                      <a:pt x="163" y="16"/>
                      <a:pt x="163" y="16"/>
                      <a:pt x="163" y="16"/>
                    </a:cubicBezTo>
                    <a:cubicBezTo>
                      <a:pt x="162" y="16"/>
                      <a:pt x="162" y="16"/>
                      <a:pt x="161" y="16"/>
                    </a:cubicBezTo>
                    <a:cubicBezTo>
                      <a:pt x="161" y="15"/>
                      <a:pt x="161" y="15"/>
                      <a:pt x="160" y="15"/>
                    </a:cubicBezTo>
                    <a:cubicBezTo>
                      <a:pt x="160" y="14"/>
                      <a:pt x="160" y="14"/>
                      <a:pt x="160" y="14"/>
                    </a:cubicBezTo>
                    <a:cubicBezTo>
                      <a:pt x="160" y="15"/>
                      <a:pt x="160" y="15"/>
                      <a:pt x="160" y="15"/>
                    </a:cubicBezTo>
                    <a:cubicBezTo>
                      <a:pt x="159" y="14"/>
                      <a:pt x="159" y="13"/>
                      <a:pt x="158" y="13"/>
                    </a:cubicBezTo>
                    <a:cubicBezTo>
                      <a:pt x="158" y="13"/>
                      <a:pt x="158" y="13"/>
                      <a:pt x="158" y="13"/>
                    </a:cubicBezTo>
                    <a:cubicBezTo>
                      <a:pt x="158" y="13"/>
                      <a:pt x="159" y="13"/>
                      <a:pt x="159" y="13"/>
                    </a:cubicBezTo>
                    <a:cubicBezTo>
                      <a:pt x="159" y="13"/>
                      <a:pt x="160" y="13"/>
                      <a:pt x="160" y="13"/>
                    </a:cubicBezTo>
                    <a:cubicBezTo>
                      <a:pt x="161" y="13"/>
                      <a:pt x="161" y="13"/>
                      <a:pt x="162" y="13"/>
                    </a:cubicBezTo>
                    <a:cubicBezTo>
                      <a:pt x="163" y="13"/>
                      <a:pt x="163" y="13"/>
                      <a:pt x="164" y="13"/>
                    </a:cubicBezTo>
                    <a:cubicBezTo>
                      <a:pt x="165" y="13"/>
                      <a:pt x="164" y="10"/>
                      <a:pt x="164" y="10"/>
                    </a:cubicBezTo>
                    <a:cubicBezTo>
                      <a:pt x="166" y="11"/>
                      <a:pt x="168" y="11"/>
                      <a:pt x="171" y="11"/>
                    </a:cubicBezTo>
                    <a:cubicBezTo>
                      <a:pt x="169" y="11"/>
                      <a:pt x="169" y="9"/>
                      <a:pt x="168" y="8"/>
                    </a:cubicBezTo>
                    <a:cubicBezTo>
                      <a:pt x="168" y="7"/>
                      <a:pt x="165" y="5"/>
                      <a:pt x="164" y="5"/>
                    </a:cubicBezTo>
                    <a:cubicBezTo>
                      <a:pt x="164" y="5"/>
                      <a:pt x="164" y="5"/>
                      <a:pt x="164" y="5"/>
                    </a:cubicBezTo>
                    <a:cubicBezTo>
                      <a:pt x="164" y="4"/>
                      <a:pt x="164" y="4"/>
                      <a:pt x="163" y="4"/>
                    </a:cubicBezTo>
                    <a:cubicBezTo>
                      <a:pt x="163" y="4"/>
                      <a:pt x="162" y="4"/>
                      <a:pt x="161" y="3"/>
                    </a:cubicBezTo>
                    <a:cubicBezTo>
                      <a:pt x="157" y="2"/>
                      <a:pt x="151"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Freeform 371"/>
              <p:cNvSpPr>
                <a:spLocks noEditPoints="1"/>
              </p:cNvSpPr>
              <p:nvPr/>
            </p:nvSpPr>
            <p:spPr bwMode="auto">
              <a:xfrm>
                <a:off x="7704" y="2997"/>
                <a:ext cx="179" cy="128"/>
              </a:xfrm>
              <a:custGeom>
                <a:gdLst>
                  <a:gd name="T0" fmla="*/ 61 w 76"/>
                  <a:gd name="T1" fmla="*/ 46 h 54"/>
                  <a:gd name="T2" fmla="*/ 61 w 76"/>
                  <a:gd name="T3" fmla="*/ 46 h 54"/>
                  <a:gd name="T4" fmla="*/ 25 w 76"/>
                  <a:gd name="T5" fmla="*/ 7 h 54"/>
                  <a:gd name="T6" fmla="*/ 10 w 76"/>
                  <a:gd name="T7" fmla="*/ 28 h 54"/>
                  <a:gd name="T8" fmla="*/ 4 w 76"/>
                  <a:gd name="T9" fmla="*/ 28 h 54"/>
                  <a:gd name="T10" fmla="*/ 2 w 76"/>
                  <a:gd name="T11" fmla="*/ 32 h 54"/>
                  <a:gd name="T12" fmla="*/ 3 w 76"/>
                  <a:gd name="T13" fmla="*/ 37 h 54"/>
                  <a:gd name="T14" fmla="*/ 1 w 76"/>
                  <a:gd name="T15" fmla="*/ 44 h 54"/>
                  <a:gd name="T16" fmla="*/ 4 w 76"/>
                  <a:gd name="T17" fmla="*/ 50 h 54"/>
                  <a:gd name="T18" fmla="*/ 10 w 76"/>
                  <a:gd name="T19" fmla="*/ 48 h 54"/>
                  <a:gd name="T20" fmla="*/ 13 w 76"/>
                  <a:gd name="T21" fmla="*/ 48 h 54"/>
                  <a:gd name="T22" fmla="*/ 15 w 76"/>
                  <a:gd name="T23" fmla="*/ 48 h 54"/>
                  <a:gd name="T24" fmla="*/ 22 w 76"/>
                  <a:gd name="T25" fmla="*/ 48 h 54"/>
                  <a:gd name="T26" fmla="*/ 25 w 76"/>
                  <a:gd name="T27" fmla="*/ 47 h 54"/>
                  <a:gd name="T28" fmla="*/ 45 w 76"/>
                  <a:gd name="T29" fmla="*/ 52 h 54"/>
                  <a:gd name="T30" fmla="*/ 49 w 76"/>
                  <a:gd name="T31" fmla="*/ 51 h 54"/>
                  <a:gd name="T32" fmla="*/ 64 w 76"/>
                  <a:gd name="T33" fmla="*/ 49 h 54"/>
                  <a:gd name="T34" fmla="*/ 62 w 76"/>
                  <a:gd name="T35" fmla="*/ 48 h 54"/>
                  <a:gd name="T36" fmla="*/ 62 w 76"/>
                  <a:gd name="T37" fmla="*/ 48 h 54"/>
                  <a:gd name="T38" fmla="*/ 59 w 76"/>
                  <a:gd name="T39" fmla="*/ 46 h 54"/>
                  <a:gd name="T40" fmla="*/ 59 w 76"/>
                  <a:gd name="T41" fmla="*/ 38 h 54"/>
                  <a:gd name="T42" fmla="*/ 62 w 76"/>
                  <a:gd name="T43" fmla="*/ 39 h 54"/>
                  <a:gd name="T44" fmla="*/ 72 w 76"/>
                  <a:gd name="T45" fmla="*/ 35 h 54"/>
                  <a:gd name="T46" fmla="*/ 75 w 76"/>
                  <a:gd name="T47" fmla="*/ 31 h 54"/>
                  <a:gd name="T48" fmla="*/ 70 w 76"/>
                  <a:gd name="T49" fmla="*/ 31 h 54"/>
                  <a:gd name="T50" fmla="*/ 62 w 76"/>
                  <a:gd name="T51" fmla="*/ 28 h 54"/>
                  <a:gd name="T52" fmla="*/ 56 w 76"/>
                  <a:gd name="T53" fmla="*/ 23 h 54"/>
                  <a:gd name="T54" fmla="*/ 52 w 76"/>
                  <a:gd name="T55" fmla="*/ 25 h 54"/>
                  <a:gd name="T56" fmla="*/ 51 w 76"/>
                  <a:gd name="T57" fmla="*/ 23 h 54"/>
                  <a:gd name="T58" fmla="*/ 53 w 76"/>
                  <a:gd name="T59" fmla="*/ 23 h 54"/>
                  <a:gd name="T60" fmla="*/ 51 w 76"/>
                  <a:gd name="T61" fmla="*/ 19 h 54"/>
                  <a:gd name="T62" fmla="*/ 50 w 76"/>
                  <a:gd name="T63" fmla="*/ 20 h 54"/>
                  <a:gd name="T64" fmla="*/ 44 w 76"/>
                  <a:gd name="T65" fmla="*/ 21 h 54"/>
                  <a:gd name="T66" fmla="*/ 45 w 76"/>
                  <a:gd name="T67" fmla="*/ 16 h 54"/>
                  <a:gd name="T68" fmla="*/ 47 w 76"/>
                  <a:gd name="T69" fmla="*/ 13 h 54"/>
                  <a:gd name="T70" fmla="*/ 40 w 76"/>
                  <a:gd name="T71" fmla="*/ 7 h 54"/>
                  <a:gd name="T72" fmla="*/ 34 w 76"/>
                  <a:gd name="T73" fmla="*/ 0 h 54"/>
                  <a:gd name="T74" fmla="*/ 29 w 76"/>
                  <a:gd name="T75" fmla="*/ 8 h 54"/>
                  <a:gd name="T76" fmla="*/ 28 w 76"/>
                  <a:gd name="T77" fmla="*/ 0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6" h="54">
                    <a:moveTo>
                      <a:pt x="61" y="46"/>
                    </a:moveTo>
                    <a:cubicBezTo>
                      <a:pt x="61" y="46"/>
                      <a:pt x="61" y="46"/>
                      <a:pt x="61" y="46"/>
                    </a:cubicBezTo>
                    <a:cubicBezTo>
                      <a:pt x="61" y="46"/>
                      <a:pt x="61" y="46"/>
                      <a:pt x="61" y="46"/>
                    </a:cubicBezTo>
                    <a:cubicBezTo>
                      <a:pt x="61" y="46"/>
                      <a:pt x="61" y="46"/>
                      <a:pt x="61" y="46"/>
                    </a:cubicBezTo>
                    <a:moveTo>
                      <a:pt x="28" y="0"/>
                    </a:moveTo>
                    <a:cubicBezTo>
                      <a:pt x="27" y="2"/>
                      <a:pt x="27" y="5"/>
                      <a:pt x="25" y="7"/>
                    </a:cubicBezTo>
                    <a:cubicBezTo>
                      <a:pt x="23" y="9"/>
                      <a:pt x="20" y="12"/>
                      <a:pt x="18" y="15"/>
                    </a:cubicBezTo>
                    <a:cubicBezTo>
                      <a:pt x="14" y="18"/>
                      <a:pt x="12" y="24"/>
                      <a:pt x="10" y="28"/>
                    </a:cubicBezTo>
                    <a:cubicBezTo>
                      <a:pt x="8" y="27"/>
                      <a:pt x="7" y="27"/>
                      <a:pt x="7" y="27"/>
                    </a:cubicBezTo>
                    <a:cubicBezTo>
                      <a:pt x="6" y="27"/>
                      <a:pt x="5" y="27"/>
                      <a:pt x="4" y="28"/>
                    </a:cubicBezTo>
                    <a:cubicBezTo>
                      <a:pt x="3" y="30"/>
                      <a:pt x="1" y="30"/>
                      <a:pt x="2" y="32"/>
                    </a:cubicBezTo>
                    <a:cubicBezTo>
                      <a:pt x="2" y="32"/>
                      <a:pt x="2" y="32"/>
                      <a:pt x="2" y="32"/>
                    </a:cubicBezTo>
                    <a:cubicBezTo>
                      <a:pt x="2" y="33"/>
                      <a:pt x="3" y="33"/>
                      <a:pt x="3" y="34"/>
                    </a:cubicBezTo>
                    <a:cubicBezTo>
                      <a:pt x="4" y="35"/>
                      <a:pt x="3" y="36"/>
                      <a:pt x="3" y="37"/>
                    </a:cubicBezTo>
                    <a:cubicBezTo>
                      <a:pt x="3" y="39"/>
                      <a:pt x="1" y="40"/>
                      <a:pt x="0" y="40"/>
                    </a:cubicBezTo>
                    <a:cubicBezTo>
                      <a:pt x="0" y="41"/>
                      <a:pt x="1" y="43"/>
                      <a:pt x="1" y="44"/>
                    </a:cubicBezTo>
                    <a:cubicBezTo>
                      <a:pt x="1" y="44"/>
                      <a:pt x="1" y="44"/>
                      <a:pt x="1" y="44"/>
                    </a:cubicBezTo>
                    <a:cubicBezTo>
                      <a:pt x="2" y="47"/>
                      <a:pt x="3" y="48"/>
                      <a:pt x="4" y="50"/>
                    </a:cubicBezTo>
                    <a:cubicBezTo>
                      <a:pt x="6" y="54"/>
                      <a:pt x="6" y="54"/>
                      <a:pt x="6" y="54"/>
                    </a:cubicBezTo>
                    <a:cubicBezTo>
                      <a:pt x="7" y="52"/>
                      <a:pt x="8" y="50"/>
                      <a:pt x="10" y="48"/>
                    </a:cubicBezTo>
                    <a:cubicBezTo>
                      <a:pt x="12" y="46"/>
                      <a:pt x="12" y="46"/>
                      <a:pt x="12" y="46"/>
                    </a:cubicBezTo>
                    <a:cubicBezTo>
                      <a:pt x="13" y="48"/>
                      <a:pt x="13" y="48"/>
                      <a:pt x="13" y="48"/>
                    </a:cubicBezTo>
                    <a:cubicBezTo>
                      <a:pt x="14" y="48"/>
                      <a:pt x="14" y="48"/>
                      <a:pt x="14" y="48"/>
                    </a:cubicBezTo>
                    <a:cubicBezTo>
                      <a:pt x="14" y="48"/>
                      <a:pt x="14" y="48"/>
                      <a:pt x="15" y="48"/>
                    </a:cubicBezTo>
                    <a:cubicBezTo>
                      <a:pt x="15" y="48"/>
                      <a:pt x="15" y="48"/>
                      <a:pt x="15" y="48"/>
                    </a:cubicBezTo>
                    <a:cubicBezTo>
                      <a:pt x="16" y="48"/>
                      <a:pt x="19" y="48"/>
                      <a:pt x="22" y="48"/>
                    </a:cubicBezTo>
                    <a:cubicBezTo>
                      <a:pt x="22" y="48"/>
                      <a:pt x="22" y="48"/>
                      <a:pt x="22" y="48"/>
                    </a:cubicBezTo>
                    <a:cubicBezTo>
                      <a:pt x="23" y="48"/>
                      <a:pt x="24" y="47"/>
                      <a:pt x="25" y="47"/>
                    </a:cubicBezTo>
                    <a:cubicBezTo>
                      <a:pt x="30" y="47"/>
                      <a:pt x="36" y="49"/>
                      <a:pt x="41" y="51"/>
                    </a:cubicBezTo>
                    <a:cubicBezTo>
                      <a:pt x="42" y="51"/>
                      <a:pt x="43" y="52"/>
                      <a:pt x="45" y="52"/>
                    </a:cubicBezTo>
                    <a:cubicBezTo>
                      <a:pt x="45" y="51"/>
                      <a:pt x="45" y="50"/>
                      <a:pt x="45" y="49"/>
                    </a:cubicBezTo>
                    <a:cubicBezTo>
                      <a:pt x="46" y="51"/>
                      <a:pt x="48" y="51"/>
                      <a:pt x="49" y="51"/>
                    </a:cubicBezTo>
                    <a:cubicBezTo>
                      <a:pt x="50" y="51"/>
                      <a:pt x="52" y="51"/>
                      <a:pt x="54" y="51"/>
                    </a:cubicBezTo>
                    <a:cubicBezTo>
                      <a:pt x="58" y="51"/>
                      <a:pt x="64" y="51"/>
                      <a:pt x="64" y="49"/>
                    </a:cubicBezTo>
                    <a:cubicBezTo>
                      <a:pt x="64" y="48"/>
                      <a:pt x="63" y="48"/>
                      <a:pt x="63" y="48"/>
                    </a:cubicBezTo>
                    <a:cubicBezTo>
                      <a:pt x="62" y="48"/>
                      <a:pt x="62" y="48"/>
                      <a:pt x="62" y="48"/>
                    </a:cubicBezTo>
                    <a:cubicBezTo>
                      <a:pt x="62" y="48"/>
                      <a:pt x="62" y="48"/>
                      <a:pt x="62" y="48"/>
                    </a:cubicBezTo>
                    <a:cubicBezTo>
                      <a:pt x="62" y="48"/>
                      <a:pt x="62" y="48"/>
                      <a:pt x="62" y="48"/>
                    </a:cubicBezTo>
                    <a:cubicBezTo>
                      <a:pt x="61" y="47"/>
                      <a:pt x="61" y="46"/>
                      <a:pt x="61" y="46"/>
                    </a:cubicBezTo>
                    <a:cubicBezTo>
                      <a:pt x="61" y="46"/>
                      <a:pt x="60" y="46"/>
                      <a:pt x="59" y="46"/>
                    </a:cubicBezTo>
                    <a:cubicBezTo>
                      <a:pt x="58" y="45"/>
                      <a:pt x="57" y="44"/>
                      <a:pt x="56" y="43"/>
                    </a:cubicBezTo>
                    <a:cubicBezTo>
                      <a:pt x="54" y="40"/>
                      <a:pt x="56" y="38"/>
                      <a:pt x="59" y="38"/>
                    </a:cubicBezTo>
                    <a:cubicBezTo>
                      <a:pt x="59" y="38"/>
                      <a:pt x="60" y="38"/>
                      <a:pt x="60" y="38"/>
                    </a:cubicBezTo>
                    <a:cubicBezTo>
                      <a:pt x="61" y="39"/>
                      <a:pt x="60" y="39"/>
                      <a:pt x="62" y="39"/>
                    </a:cubicBezTo>
                    <a:cubicBezTo>
                      <a:pt x="62" y="39"/>
                      <a:pt x="62" y="39"/>
                      <a:pt x="62" y="39"/>
                    </a:cubicBezTo>
                    <a:cubicBezTo>
                      <a:pt x="65" y="39"/>
                      <a:pt x="70" y="36"/>
                      <a:pt x="72" y="35"/>
                    </a:cubicBezTo>
                    <a:cubicBezTo>
                      <a:pt x="73" y="35"/>
                      <a:pt x="75" y="34"/>
                      <a:pt x="76" y="33"/>
                    </a:cubicBezTo>
                    <a:cubicBezTo>
                      <a:pt x="76" y="32"/>
                      <a:pt x="76" y="31"/>
                      <a:pt x="75" y="31"/>
                    </a:cubicBezTo>
                    <a:cubicBezTo>
                      <a:pt x="74" y="31"/>
                      <a:pt x="73" y="31"/>
                      <a:pt x="72" y="31"/>
                    </a:cubicBezTo>
                    <a:cubicBezTo>
                      <a:pt x="71" y="31"/>
                      <a:pt x="70" y="31"/>
                      <a:pt x="70" y="31"/>
                    </a:cubicBezTo>
                    <a:cubicBezTo>
                      <a:pt x="68" y="30"/>
                      <a:pt x="66" y="26"/>
                      <a:pt x="64" y="26"/>
                    </a:cubicBezTo>
                    <a:cubicBezTo>
                      <a:pt x="63" y="26"/>
                      <a:pt x="63" y="27"/>
                      <a:pt x="62" y="28"/>
                    </a:cubicBezTo>
                    <a:cubicBezTo>
                      <a:pt x="63" y="26"/>
                      <a:pt x="59" y="23"/>
                      <a:pt x="57" y="23"/>
                    </a:cubicBezTo>
                    <a:cubicBezTo>
                      <a:pt x="56" y="23"/>
                      <a:pt x="56" y="23"/>
                      <a:pt x="56" y="23"/>
                    </a:cubicBezTo>
                    <a:cubicBezTo>
                      <a:pt x="54" y="23"/>
                      <a:pt x="55" y="24"/>
                      <a:pt x="53" y="25"/>
                    </a:cubicBezTo>
                    <a:cubicBezTo>
                      <a:pt x="53" y="25"/>
                      <a:pt x="53" y="25"/>
                      <a:pt x="52" y="25"/>
                    </a:cubicBezTo>
                    <a:cubicBezTo>
                      <a:pt x="51" y="25"/>
                      <a:pt x="49" y="24"/>
                      <a:pt x="50" y="23"/>
                    </a:cubicBezTo>
                    <a:cubicBezTo>
                      <a:pt x="50" y="23"/>
                      <a:pt x="51" y="23"/>
                      <a:pt x="51" y="23"/>
                    </a:cubicBezTo>
                    <a:cubicBezTo>
                      <a:pt x="51" y="23"/>
                      <a:pt x="52" y="23"/>
                      <a:pt x="52" y="23"/>
                    </a:cubicBezTo>
                    <a:cubicBezTo>
                      <a:pt x="52" y="23"/>
                      <a:pt x="52" y="23"/>
                      <a:pt x="53" y="23"/>
                    </a:cubicBezTo>
                    <a:cubicBezTo>
                      <a:pt x="53" y="23"/>
                      <a:pt x="54" y="23"/>
                      <a:pt x="54" y="22"/>
                    </a:cubicBezTo>
                    <a:cubicBezTo>
                      <a:pt x="55" y="21"/>
                      <a:pt x="52" y="19"/>
                      <a:pt x="51" y="19"/>
                    </a:cubicBezTo>
                    <a:cubicBezTo>
                      <a:pt x="51" y="19"/>
                      <a:pt x="51" y="19"/>
                      <a:pt x="51" y="19"/>
                    </a:cubicBezTo>
                    <a:cubicBezTo>
                      <a:pt x="51" y="19"/>
                      <a:pt x="50" y="20"/>
                      <a:pt x="50" y="20"/>
                    </a:cubicBezTo>
                    <a:cubicBezTo>
                      <a:pt x="47" y="21"/>
                      <a:pt x="45" y="21"/>
                      <a:pt x="42" y="22"/>
                    </a:cubicBezTo>
                    <a:cubicBezTo>
                      <a:pt x="42" y="21"/>
                      <a:pt x="43" y="21"/>
                      <a:pt x="44" y="21"/>
                    </a:cubicBezTo>
                    <a:cubicBezTo>
                      <a:pt x="46" y="20"/>
                      <a:pt x="45" y="20"/>
                      <a:pt x="45" y="19"/>
                    </a:cubicBezTo>
                    <a:cubicBezTo>
                      <a:pt x="45" y="18"/>
                      <a:pt x="45" y="17"/>
                      <a:pt x="45" y="16"/>
                    </a:cubicBezTo>
                    <a:cubicBezTo>
                      <a:pt x="45" y="15"/>
                      <a:pt x="45" y="16"/>
                      <a:pt x="45" y="15"/>
                    </a:cubicBezTo>
                    <a:cubicBezTo>
                      <a:pt x="46" y="14"/>
                      <a:pt x="47" y="15"/>
                      <a:pt x="47" y="13"/>
                    </a:cubicBezTo>
                    <a:cubicBezTo>
                      <a:pt x="47" y="12"/>
                      <a:pt x="45" y="10"/>
                      <a:pt x="44" y="9"/>
                    </a:cubicBezTo>
                    <a:cubicBezTo>
                      <a:pt x="43" y="7"/>
                      <a:pt x="42" y="7"/>
                      <a:pt x="40" y="7"/>
                    </a:cubicBezTo>
                    <a:cubicBezTo>
                      <a:pt x="37" y="7"/>
                      <a:pt x="37" y="0"/>
                      <a:pt x="35" y="0"/>
                    </a:cubicBezTo>
                    <a:cubicBezTo>
                      <a:pt x="35" y="0"/>
                      <a:pt x="34" y="0"/>
                      <a:pt x="34" y="0"/>
                    </a:cubicBezTo>
                    <a:cubicBezTo>
                      <a:pt x="33" y="1"/>
                      <a:pt x="34" y="2"/>
                      <a:pt x="34" y="3"/>
                    </a:cubicBezTo>
                    <a:cubicBezTo>
                      <a:pt x="33" y="5"/>
                      <a:pt x="32" y="7"/>
                      <a:pt x="29" y="8"/>
                    </a:cubicBezTo>
                    <a:cubicBezTo>
                      <a:pt x="28" y="7"/>
                      <a:pt x="29" y="6"/>
                      <a:pt x="30" y="5"/>
                    </a:cubicBezTo>
                    <a:cubicBezTo>
                      <a:pt x="30" y="3"/>
                      <a:pt x="29" y="2"/>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372"/>
              <p:cNvSpPr>
                <a:spLocks noEditPoints="1"/>
              </p:cNvSpPr>
              <p:nvPr/>
            </p:nvSpPr>
            <p:spPr bwMode="auto">
              <a:xfrm>
                <a:off x="7453" y="3101"/>
                <a:ext cx="265" cy="168"/>
              </a:xfrm>
              <a:custGeom>
                <a:gdLst>
                  <a:gd name="T0" fmla="*/ 75 w 112"/>
                  <a:gd name="T1" fmla="*/ 63 h 71"/>
                  <a:gd name="T2" fmla="*/ 75 w 112"/>
                  <a:gd name="T3" fmla="*/ 63 h 71"/>
                  <a:gd name="T4" fmla="*/ 75 w 112"/>
                  <a:gd name="T5" fmla="*/ 63 h 71"/>
                  <a:gd name="T6" fmla="*/ 75 w 112"/>
                  <a:gd name="T7" fmla="*/ 63 h 71"/>
                  <a:gd name="T8" fmla="*/ 75 w 112"/>
                  <a:gd name="T9" fmla="*/ 63 h 71"/>
                  <a:gd name="T10" fmla="*/ 99 w 112"/>
                  <a:gd name="T11" fmla="*/ 0 h 71"/>
                  <a:gd name="T12" fmla="*/ 100 w 112"/>
                  <a:gd name="T13" fmla="*/ 5 h 71"/>
                  <a:gd name="T14" fmla="*/ 100 w 112"/>
                  <a:gd name="T15" fmla="*/ 7 h 71"/>
                  <a:gd name="T16" fmla="*/ 98 w 112"/>
                  <a:gd name="T17" fmla="*/ 12 h 71"/>
                  <a:gd name="T18" fmla="*/ 93 w 112"/>
                  <a:gd name="T19" fmla="*/ 15 h 71"/>
                  <a:gd name="T20" fmla="*/ 86 w 112"/>
                  <a:gd name="T21" fmla="*/ 9 h 71"/>
                  <a:gd name="T22" fmla="*/ 86 w 112"/>
                  <a:gd name="T23" fmla="*/ 7 h 71"/>
                  <a:gd name="T24" fmla="*/ 82 w 112"/>
                  <a:gd name="T25" fmla="*/ 4 h 71"/>
                  <a:gd name="T26" fmla="*/ 64 w 112"/>
                  <a:gd name="T27" fmla="*/ 28 h 71"/>
                  <a:gd name="T28" fmla="*/ 39 w 112"/>
                  <a:gd name="T29" fmla="*/ 36 h 71"/>
                  <a:gd name="T30" fmla="*/ 32 w 112"/>
                  <a:gd name="T31" fmla="*/ 45 h 71"/>
                  <a:gd name="T32" fmla="*/ 29 w 112"/>
                  <a:gd name="T33" fmla="*/ 44 h 71"/>
                  <a:gd name="T34" fmla="*/ 29 w 112"/>
                  <a:gd name="T35" fmla="*/ 44 h 71"/>
                  <a:gd name="T36" fmla="*/ 29 w 112"/>
                  <a:gd name="T37" fmla="*/ 45 h 71"/>
                  <a:gd name="T38" fmla="*/ 29 w 112"/>
                  <a:gd name="T39" fmla="*/ 59 h 71"/>
                  <a:gd name="T40" fmla="*/ 32 w 112"/>
                  <a:gd name="T41" fmla="*/ 64 h 71"/>
                  <a:gd name="T42" fmla="*/ 25 w 112"/>
                  <a:gd name="T43" fmla="*/ 63 h 71"/>
                  <a:gd name="T44" fmla="*/ 18 w 112"/>
                  <a:gd name="T45" fmla="*/ 62 h 71"/>
                  <a:gd name="T46" fmla="*/ 15 w 112"/>
                  <a:gd name="T47" fmla="*/ 57 h 71"/>
                  <a:gd name="T48" fmla="*/ 9 w 112"/>
                  <a:gd name="T49" fmla="*/ 58 h 71"/>
                  <a:gd name="T50" fmla="*/ 5 w 112"/>
                  <a:gd name="T51" fmla="*/ 57 h 71"/>
                  <a:gd name="T52" fmla="*/ 0 w 112"/>
                  <a:gd name="T53" fmla="*/ 53 h 71"/>
                  <a:gd name="T54" fmla="*/ 6 w 112"/>
                  <a:gd name="T55" fmla="*/ 62 h 71"/>
                  <a:gd name="T56" fmla="*/ 12 w 112"/>
                  <a:gd name="T57" fmla="*/ 67 h 71"/>
                  <a:gd name="T58" fmla="*/ 14 w 112"/>
                  <a:gd name="T59" fmla="*/ 69 h 71"/>
                  <a:gd name="T60" fmla="*/ 17 w 112"/>
                  <a:gd name="T61" fmla="*/ 71 h 71"/>
                  <a:gd name="T62" fmla="*/ 23 w 112"/>
                  <a:gd name="T63" fmla="*/ 69 h 71"/>
                  <a:gd name="T64" fmla="*/ 30 w 112"/>
                  <a:gd name="T65" fmla="*/ 67 h 71"/>
                  <a:gd name="T66" fmla="*/ 36 w 112"/>
                  <a:gd name="T67" fmla="*/ 68 h 71"/>
                  <a:gd name="T68" fmla="*/ 38 w 112"/>
                  <a:gd name="T69" fmla="*/ 68 h 71"/>
                  <a:gd name="T70" fmla="*/ 44 w 112"/>
                  <a:gd name="T71" fmla="*/ 66 h 71"/>
                  <a:gd name="T72" fmla="*/ 49 w 112"/>
                  <a:gd name="T73" fmla="*/ 60 h 71"/>
                  <a:gd name="T74" fmla="*/ 61 w 112"/>
                  <a:gd name="T75" fmla="*/ 58 h 71"/>
                  <a:gd name="T76" fmla="*/ 66 w 112"/>
                  <a:gd name="T77" fmla="*/ 60 h 71"/>
                  <a:gd name="T78" fmla="*/ 69 w 112"/>
                  <a:gd name="T79" fmla="*/ 62 h 71"/>
                  <a:gd name="T80" fmla="*/ 75 w 112"/>
                  <a:gd name="T81" fmla="*/ 63 h 71"/>
                  <a:gd name="T82" fmla="*/ 77 w 112"/>
                  <a:gd name="T83" fmla="*/ 62 h 71"/>
                  <a:gd name="T84" fmla="*/ 85 w 112"/>
                  <a:gd name="T85" fmla="*/ 60 h 71"/>
                  <a:gd name="T86" fmla="*/ 88 w 112"/>
                  <a:gd name="T87" fmla="*/ 60 h 71"/>
                  <a:gd name="T88" fmla="*/ 89 w 112"/>
                  <a:gd name="T89" fmla="*/ 60 h 71"/>
                  <a:gd name="T90" fmla="*/ 91 w 112"/>
                  <a:gd name="T91" fmla="*/ 59 h 71"/>
                  <a:gd name="T92" fmla="*/ 93 w 112"/>
                  <a:gd name="T93" fmla="*/ 55 h 71"/>
                  <a:gd name="T94" fmla="*/ 95 w 112"/>
                  <a:gd name="T95" fmla="*/ 53 h 71"/>
                  <a:gd name="T96" fmla="*/ 96 w 112"/>
                  <a:gd name="T97" fmla="*/ 52 h 71"/>
                  <a:gd name="T98" fmla="*/ 95 w 112"/>
                  <a:gd name="T99" fmla="*/ 51 h 71"/>
                  <a:gd name="T100" fmla="*/ 98 w 112"/>
                  <a:gd name="T101" fmla="*/ 43 h 71"/>
                  <a:gd name="T102" fmla="*/ 101 w 112"/>
                  <a:gd name="T103" fmla="*/ 42 h 71"/>
                  <a:gd name="T104" fmla="*/ 101 w 112"/>
                  <a:gd name="T105" fmla="*/ 41 h 71"/>
                  <a:gd name="T106" fmla="*/ 108 w 112"/>
                  <a:gd name="T107" fmla="*/ 30 h 71"/>
                  <a:gd name="T108" fmla="*/ 109 w 112"/>
                  <a:gd name="T109" fmla="*/ 29 h 71"/>
                  <a:gd name="T110" fmla="*/ 112 w 112"/>
                  <a:gd name="T111" fmla="*/ 10 h 71"/>
                  <a:gd name="T112" fmla="*/ 106 w 112"/>
                  <a:gd name="T113" fmla="*/ 9 h 71"/>
                  <a:gd name="T114" fmla="*/ 101 w 112"/>
                  <a:gd name="T115" fmla="*/ 6 h 71"/>
                  <a:gd name="T116" fmla="*/ 99 w 112"/>
                  <a:gd name="T117" fmla="*/ 0 h 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71">
                    <a:moveTo>
                      <a:pt x="75" y="63"/>
                    </a:moveTo>
                    <a:cubicBezTo>
                      <a:pt x="75" y="63"/>
                      <a:pt x="75" y="63"/>
                      <a:pt x="75" y="63"/>
                    </a:cubicBezTo>
                    <a:cubicBezTo>
                      <a:pt x="75" y="63"/>
                      <a:pt x="75" y="63"/>
                      <a:pt x="75" y="63"/>
                    </a:cubicBezTo>
                    <a:moveTo>
                      <a:pt x="75" y="63"/>
                    </a:moveTo>
                    <a:cubicBezTo>
                      <a:pt x="75" y="63"/>
                      <a:pt x="75" y="63"/>
                      <a:pt x="75" y="63"/>
                    </a:cubicBezTo>
                    <a:cubicBezTo>
                      <a:pt x="75" y="63"/>
                      <a:pt x="75" y="63"/>
                      <a:pt x="75" y="63"/>
                    </a:cubicBezTo>
                    <a:moveTo>
                      <a:pt x="75" y="63"/>
                    </a:moveTo>
                    <a:cubicBezTo>
                      <a:pt x="75" y="63"/>
                      <a:pt x="75" y="63"/>
                      <a:pt x="75" y="63"/>
                    </a:cubicBezTo>
                    <a:cubicBezTo>
                      <a:pt x="75" y="63"/>
                      <a:pt x="75" y="63"/>
                      <a:pt x="75" y="63"/>
                    </a:cubicBezTo>
                    <a:cubicBezTo>
                      <a:pt x="75" y="63"/>
                      <a:pt x="75" y="63"/>
                      <a:pt x="75" y="63"/>
                    </a:cubicBezTo>
                    <a:moveTo>
                      <a:pt x="99" y="0"/>
                    </a:moveTo>
                    <a:cubicBezTo>
                      <a:pt x="99" y="0"/>
                      <a:pt x="99" y="0"/>
                      <a:pt x="99" y="0"/>
                    </a:cubicBezTo>
                    <a:cubicBezTo>
                      <a:pt x="99" y="1"/>
                      <a:pt x="99" y="1"/>
                      <a:pt x="99" y="1"/>
                    </a:cubicBezTo>
                    <a:cubicBezTo>
                      <a:pt x="99" y="3"/>
                      <a:pt x="100" y="4"/>
                      <a:pt x="100" y="5"/>
                    </a:cubicBezTo>
                    <a:cubicBezTo>
                      <a:pt x="100" y="6"/>
                      <a:pt x="100" y="6"/>
                      <a:pt x="100" y="6"/>
                    </a:cubicBezTo>
                    <a:cubicBezTo>
                      <a:pt x="100" y="6"/>
                      <a:pt x="100" y="7"/>
                      <a:pt x="100" y="7"/>
                    </a:cubicBezTo>
                    <a:cubicBezTo>
                      <a:pt x="100" y="8"/>
                      <a:pt x="100" y="9"/>
                      <a:pt x="99" y="10"/>
                    </a:cubicBezTo>
                    <a:cubicBezTo>
                      <a:pt x="99" y="11"/>
                      <a:pt x="99" y="12"/>
                      <a:pt x="98" y="12"/>
                    </a:cubicBezTo>
                    <a:cubicBezTo>
                      <a:pt x="97" y="15"/>
                      <a:pt x="95" y="15"/>
                      <a:pt x="94" y="15"/>
                    </a:cubicBezTo>
                    <a:cubicBezTo>
                      <a:pt x="93" y="15"/>
                      <a:pt x="93" y="15"/>
                      <a:pt x="93" y="15"/>
                    </a:cubicBezTo>
                    <a:cubicBezTo>
                      <a:pt x="91" y="15"/>
                      <a:pt x="89" y="13"/>
                      <a:pt x="87" y="10"/>
                    </a:cubicBezTo>
                    <a:cubicBezTo>
                      <a:pt x="87" y="9"/>
                      <a:pt x="86" y="9"/>
                      <a:pt x="86" y="9"/>
                    </a:cubicBezTo>
                    <a:cubicBezTo>
                      <a:pt x="86" y="8"/>
                      <a:pt x="86" y="8"/>
                      <a:pt x="86" y="8"/>
                    </a:cubicBezTo>
                    <a:cubicBezTo>
                      <a:pt x="86" y="7"/>
                      <a:pt x="86" y="7"/>
                      <a:pt x="86" y="7"/>
                    </a:cubicBezTo>
                    <a:cubicBezTo>
                      <a:pt x="85" y="7"/>
                      <a:pt x="85" y="7"/>
                      <a:pt x="85" y="6"/>
                    </a:cubicBezTo>
                    <a:cubicBezTo>
                      <a:pt x="85" y="6"/>
                      <a:pt x="84" y="5"/>
                      <a:pt x="82" y="4"/>
                    </a:cubicBezTo>
                    <a:cubicBezTo>
                      <a:pt x="78" y="9"/>
                      <a:pt x="75" y="13"/>
                      <a:pt x="72" y="18"/>
                    </a:cubicBezTo>
                    <a:cubicBezTo>
                      <a:pt x="69" y="21"/>
                      <a:pt x="67" y="25"/>
                      <a:pt x="64" y="28"/>
                    </a:cubicBezTo>
                    <a:cubicBezTo>
                      <a:pt x="62" y="30"/>
                      <a:pt x="60" y="31"/>
                      <a:pt x="57" y="31"/>
                    </a:cubicBezTo>
                    <a:cubicBezTo>
                      <a:pt x="51" y="33"/>
                      <a:pt x="45" y="34"/>
                      <a:pt x="39" y="36"/>
                    </a:cubicBezTo>
                    <a:cubicBezTo>
                      <a:pt x="35" y="36"/>
                      <a:pt x="36" y="37"/>
                      <a:pt x="35" y="40"/>
                    </a:cubicBezTo>
                    <a:cubicBezTo>
                      <a:pt x="35" y="42"/>
                      <a:pt x="35" y="45"/>
                      <a:pt x="32" y="45"/>
                    </a:cubicBezTo>
                    <a:cubicBezTo>
                      <a:pt x="31" y="45"/>
                      <a:pt x="30" y="44"/>
                      <a:pt x="30" y="44"/>
                    </a:cubicBezTo>
                    <a:cubicBezTo>
                      <a:pt x="29" y="44"/>
                      <a:pt x="29" y="44"/>
                      <a:pt x="29" y="44"/>
                    </a:cubicBezTo>
                    <a:cubicBezTo>
                      <a:pt x="29" y="44"/>
                      <a:pt x="29" y="44"/>
                      <a:pt x="29" y="44"/>
                    </a:cubicBezTo>
                    <a:cubicBezTo>
                      <a:pt x="29" y="44"/>
                      <a:pt x="29" y="44"/>
                      <a:pt x="29" y="44"/>
                    </a:cubicBezTo>
                    <a:cubicBezTo>
                      <a:pt x="29" y="44"/>
                      <a:pt x="29" y="44"/>
                      <a:pt x="29" y="44"/>
                    </a:cubicBezTo>
                    <a:cubicBezTo>
                      <a:pt x="29" y="44"/>
                      <a:pt x="29" y="44"/>
                      <a:pt x="29" y="45"/>
                    </a:cubicBezTo>
                    <a:cubicBezTo>
                      <a:pt x="29" y="46"/>
                      <a:pt x="30" y="48"/>
                      <a:pt x="31" y="49"/>
                    </a:cubicBezTo>
                    <a:cubicBezTo>
                      <a:pt x="28" y="51"/>
                      <a:pt x="24" y="58"/>
                      <a:pt x="29" y="59"/>
                    </a:cubicBezTo>
                    <a:cubicBezTo>
                      <a:pt x="27" y="59"/>
                      <a:pt x="23" y="59"/>
                      <a:pt x="26" y="62"/>
                    </a:cubicBezTo>
                    <a:cubicBezTo>
                      <a:pt x="27" y="63"/>
                      <a:pt x="30" y="63"/>
                      <a:pt x="32" y="64"/>
                    </a:cubicBezTo>
                    <a:cubicBezTo>
                      <a:pt x="31" y="64"/>
                      <a:pt x="30" y="64"/>
                      <a:pt x="30" y="64"/>
                    </a:cubicBezTo>
                    <a:cubicBezTo>
                      <a:pt x="28" y="64"/>
                      <a:pt x="27" y="64"/>
                      <a:pt x="25" y="63"/>
                    </a:cubicBezTo>
                    <a:cubicBezTo>
                      <a:pt x="23" y="63"/>
                      <a:pt x="22" y="62"/>
                      <a:pt x="20" y="62"/>
                    </a:cubicBezTo>
                    <a:cubicBezTo>
                      <a:pt x="19" y="62"/>
                      <a:pt x="19" y="62"/>
                      <a:pt x="18" y="62"/>
                    </a:cubicBezTo>
                    <a:cubicBezTo>
                      <a:pt x="20" y="61"/>
                      <a:pt x="19" y="60"/>
                      <a:pt x="18" y="59"/>
                    </a:cubicBezTo>
                    <a:cubicBezTo>
                      <a:pt x="15" y="57"/>
                      <a:pt x="15" y="57"/>
                      <a:pt x="15" y="57"/>
                    </a:cubicBezTo>
                    <a:cubicBezTo>
                      <a:pt x="15" y="57"/>
                      <a:pt x="15" y="57"/>
                      <a:pt x="14" y="57"/>
                    </a:cubicBezTo>
                    <a:cubicBezTo>
                      <a:pt x="12" y="57"/>
                      <a:pt x="10" y="58"/>
                      <a:pt x="9" y="58"/>
                    </a:cubicBezTo>
                    <a:cubicBezTo>
                      <a:pt x="9" y="58"/>
                      <a:pt x="8" y="58"/>
                      <a:pt x="8" y="58"/>
                    </a:cubicBezTo>
                    <a:cubicBezTo>
                      <a:pt x="7" y="58"/>
                      <a:pt x="6" y="58"/>
                      <a:pt x="5" y="57"/>
                    </a:cubicBezTo>
                    <a:cubicBezTo>
                      <a:pt x="3" y="57"/>
                      <a:pt x="2" y="55"/>
                      <a:pt x="0" y="53"/>
                    </a:cubicBezTo>
                    <a:cubicBezTo>
                      <a:pt x="0" y="53"/>
                      <a:pt x="0" y="53"/>
                      <a:pt x="0" y="53"/>
                    </a:cubicBezTo>
                    <a:cubicBezTo>
                      <a:pt x="0" y="53"/>
                      <a:pt x="0" y="54"/>
                      <a:pt x="0" y="55"/>
                    </a:cubicBezTo>
                    <a:cubicBezTo>
                      <a:pt x="0" y="57"/>
                      <a:pt x="3" y="60"/>
                      <a:pt x="6" y="62"/>
                    </a:cubicBezTo>
                    <a:cubicBezTo>
                      <a:pt x="7" y="63"/>
                      <a:pt x="7" y="63"/>
                      <a:pt x="7" y="63"/>
                    </a:cubicBezTo>
                    <a:cubicBezTo>
                      <a:pt x="9" y="64"/>
                      <a:pt x="10" y="66"/>
                      <a:pt x="12" y="67"/>
                    </a:cubicBezTo>
                    <a:cubicBezTo>
                      <a:pt x="13" y="68"/>
                      <a:pt x="13" y="68"/>
                      <a:pt x="13" y="68"/>
                    </a:cubicBezTo>
                    <a:cubicBezTo>
                      <a:pt x="14" y="69"/>
                      <a:pt x="14" y="69"/>
                      <a:pt x="14" y="69"/>
                    </a:cubicBezTo>
                    <a:cubicBezTo>
                      <a:pt x="15" y="70"/>
                      <a:pt x="16" y="71"/>
                      <a:pt x="17" y="71"/>
                    </a:cubicBezTo>
                    <a:cubicBezTo>
                      <a:pt x="17" y="71"/>
                      <a:pt x="17" y="71"/>
                      <a:pt x="17" y="71"/>
                    </a:cubicBezTo>
                    <a:cubicBezTo>
                      <a:pt x="18" y="71"/>
                      <a:pt x="21" y="70"/>
                      <a:pt x="23" y="69"/>
                    </a:cubicBezTo>
                    <a:cubicBezTo>
                      <a:pt x="23" y="69"/>
                      <a:pt x="23" y="69"/>
                      <a:pt x="23" y="69"/>
                    </a:cubicBezTo>
                    <a:cubicBezTo>
                      <a:pt x="24" y="69"/>
                      <a:pt x="24" y="68"/>
                      <a:pt x="25" y="68"/>
                    </a:cubicBezTo>
                    <a:cubicBezTo>
                      <a:pt x="27" y="67"/>
                      <a:pt x="29" y="67"/>
                      <a:pt x="30" y="67"/>
                    </a:cubicBezTo>
                    <a:cubicBezTo>
                      <a:pt x="32" y="67"/>
                      <a:pt x="34" y="67"/>
                      <a:pt x="35" y="68"/>
                    </a:cubicBezTo>
                    <a:cubicBezTo>
                      <a:pt x="36" y="68"/>
                      <a:pt x="36" y="68"/>
                      <a:pt x="36" y="68"/>
                    </a:cubicBezTo>
                    <a:cubicBezTo>
                      <a:pt x="36" y="68"/>
                      <a:pt x="37" y="68"/>
                      <a:pt x="38" y="68"/>
                    </a:cubicBezTo>
                    <a:cubicBezTo>
                      <a:pt x="38" y="68"/>
                      <a:pt x="38" y="68"/>
                      <a:pt x="38" y="68"/>
                    </a:cubicBezTo>
                    <a:cubicBezTo>
                      <a:pt x="40" y="68"/>
                      <a:pt x="43" y="67"/>
                      <a:pt x="44" y="66"/>
                    </a:cubicBezTo>
                    <a:cubicBezTo>
                      <a:pt x="44" y="66"/>
                      <a:pt x="44" y="66"/>
                      <a:pt x="44" y="66"/>
                    </a:cubicBezTo>
                    <a:cubicBezTo>
                      <a:pt x="44" y="65"/>
                      <a:pt x="44" y="65"/>
                      <a:pt x="44" y="65"/>
                    </a:cubicBezTo>
                    <a:cubicBezTo>
                      <a:pt x="45" y="61"/>
                      <a:pt x="46" y="60"/>
                      <a:pt x="49" y="60"/>
                    </a:cubicBezTo>
                    <a:cubicBezTo>
                      <a:pt x="51" y="59"/>
                      <a:pt x="51" y="59"/>
                      <a:pt x="51" y="59"/>
                    </a:cubicBezTo>
                    <a:cubicBezTo>
                      <a:pt x="56" y="58"/>
                      <a:pt x="59" y="58"/>
                      <a:pt x="61" y="58"/>
                    </a:cubicBezTo>
                    <a:cubicBezTo>
                      <a:pt x="64" y="58"/>
                      <a:pt x="65" y="59"/>
                      <a:pt x="66" y="60"/>
                    </a:cubicBezTo>
                    <a:cubicBezTo>
                      <a:pt x="66" y="60"/>
                      <a:pt x="66" y="60"/>
                      <a:pt x="66" y="60"/>
                    </a:cubicBezTo>
                    <a:cubicBezTo>
                      <a:pt x="67" y="61"/>
                      <a:pt x="67" y="61"/>
                      <a:pt x="68" y="61"/>
                    </a:cubicBezTo>
                    <a:cubicBezTo>
                      <a:pt x="69" y="62"/>
                      <a:pt x="69" y="62"/>
                      <a:pt x="69" y="62"/>
                    </a:cubicBezTo>
                    <a:cubicBezTo>
                      <a:pt x="71" y="63"/>
                      <a:pt x="73" y="64"/>
                      <a:pt x="75" y="64"/>
                    </a:cubicBezTo>
                    <a:cubicBezTo>
                      <a:pt x="75" y="64"/>
                      <a:pt x="75" y="64"/>
                      <a:pt x="75" y="63"/>
                    </a:cubicBezTo>
                    <a:cubicBezTo>
                      <a:pt x="75" y="63"/>
                      <a:pt x="76" y="63"/>
                      <a:pt x="76" y="63"/>
                    </a:cubicBezTo>
                    <a:cubicBezTo>
                      <a:pt x="76" y="63"/>
                      <a:pt x="77" y="63"/>
                      <a:pt x="77" y="62"/>
                    </a:cubicBezTo>
                    <a:cubicBezTo>
                      <a:pt x="79" y="62"/>
                      <a:pt x="81" y="61"/>
                      <a:pt x="84" y="61"/>
                    </a:cubicBezTo>
                    <a:cubicBezTo>
                      <a:pt x="84" y="61"/>
                      <a:pt x="84" y="60"/>
                      <a:pt x="85" y="60"/>
                    </a:cubicBezTo>
                    <a:cubicBezTo>
                      <a:pt x="89" y="59"/>
                      <a:pt x="89" y="59"/>
                      <a:pt x="89" y="59"/>
                    </a:cubicBezTo>
                    <a:cubicBezTo>
                      <a:pt x="88" y="60"/>
                      <a:pt x="88" y="60"/>
                      <a:pt x="88" y="60"/>
                    </a:cubicBezTo>
                    <a:cubicBezTo>
                      <a:pt x="89" y="60"/>
                      <a:pt x="89" y="60"/>
                      <a:pt x="89" y="60"/>
                    </a:cubicBezTo>
                    <a:cubicBezTo>
                      <a:pt x="89" y="60"/>
                      <a:pt x="89" y="60"/>
                      <a:pt x="89" y="60"/>
                    </a:cubicBezTo>
                    <a:cubicBezTo>
                      <a:pt x="89" y="60"/>
                      <a:pt x="90" y="60"/>
                      <a:pt x="90" y="60"/>
                    </a:cubicBezTo>
                    <a:cubicBezTo>
                      <a:pt x="91" y="60"/>
                      <a:pt x="91" y="60"/>
                      <a:pt x="91" y="59"/>
                    </a:cubicBezTo>
                    <a:cubicBezTo>
                      <a:pt x="92" y="57"/>
                      <a:pt x="92" y="57"/>
                      <a:pt x="92" y="57"/>
                    </a:cubicBezTo>
                    <a:cubicBezTo>
                      <a:pt x="92" y="56"/>
                      <a:pt x="92" y="56"/>
                      <a:pt x="93" y="55"/>
                    </a:cubicBezTo>
                    <a:cubicBezTo>
                      <a:pt x="93" y="55"/>
                      <a:pt x="93" y="54"/>
                      <a:pt x="93" y="54"/>
                    </a:cubicBezTo>
                    <a:cubicBezTo>
                      <a:pt x="94" y="54"/>
                      <a:pt x="94" y="53"/>
                      <a:pt x="95" y="53"/>
                    </a:cubicBezTo>
                    <a:cubicBezTo>
                      <a:pt x="95" y="53"/>
                      <a:pt x="95" y="53"/>
                      <a:pt x="95" y="53"/>
                    </a:cubicBezTo>
                    <a:cubicBezTo>
                      <a:pt x="96" y="52"/>
                      <a:pt x="96" y="52"/>
                      <a:pt x="96" y="52"/>
                    </a:cubicBezTo>
                    <a:cubicBezTo>
                      <a:pt x="96" y="51"/>
                      <a:pt x="96" y="51"/>
                      <a:pt x="96" y="51"/>
                    </a:cubicBezTo>
                    <a:cubicBezTo>
                      <a:pt x="95" y="51"/>
                      <a:pt x="95" y="51"/>
                      <a:pt x="95" y="51"/>
                    </a:cubicBezTo>
                    <a:cubicBezTo>
                      <a:pt x="95" y="49"/>
                      <a:pt x="94" y="48"/>
                      <a:pt x="95" y="46"/>
                    </a:cubicBezTo>
                    <a:cubicBezTo>
                      <a:pt x="95" y="45"/>
                      <a:pt x="96" y="45"/>
                      <a:pt x="98" y="43"/>
                    </a:cubicBezTo>
                    <a:cubicBezTo>
                      <a:pt x="99" y="43"/>
                      <a:pt x="99" y="43"/>
                      <a:pt x="99" y="43"/>
                    </a:cubicBezTo>
                    <a:cubicBezTo>
                      <a:pt x="99" y="42"/>
                      <a:pt x="100" y="42"/>
                      <a:pt x="101" y="42"/>
                    </a:cubicBezTo>
                    <a:cubicBezTo>
                      <a:pt x="101" y="41"/>
                      <a:pt x="101" y="41"/>
                      <a:pt x="101" y="41"/>
                    </a:cubicBezTo>
                    <a:cubicBezTo>
                      <a:pt x="101" y="41"/>
                      <a:pt x="101" y="41"/>
                      <a:pt x="101" y="41"/>
                    </a:cubicBezTo>
                    <a:cubicBezTo>
                      <a:pt x="100" y="38"/>
                      <a:pt x="100" y="35"/>
                      <a:pt x="102" y="32"/>
                    </a:cubicBezTo>
                    <a:cubicBezTo>
                      <a:pt x="103" y="30"/>
                      <a:pt x="106" y="30"/>
                      <a:pt x="108" y="30"/>
                    </a:cubicBezTo>
                    <a:cubicBezTo>
                      <a:pt x="108" y="30"/>
                      <a:pt x="108" y="30"/>
                      <a:pt x="109" y="30"/>
                    </a:cubicBezTo>
                    <a:cubicBezTo>
                      <a:pt x="109" y="29"/>
                      <a:pt x="109" y="29"/>
                      <a:pt x="109" y="29"/>
                    </a:cubicBezTo>
                    <a:cubicBezTo>
                      <a:pt x="110" y="25"/>
                      <a:pt x="110" y="22"/>
                      <a:pt x="109" y="17"/>
                    </a:cubicBezTo>
                    <a:cubicBezTo>
                      <a:pt x="109" y="15"/>
                      <a:pt x="110" y="12"/>
                      <a:pt x="112" y="10"/>
                    </a:cubicBezTo>
                    <a:cubicBezTo>
                      <a:pt x="107" y="9"/>
                      <a:pt x="107" y="9"/>
                      <a:pt x="107" y="9"/>
                    </a:cubicBezTo>
                    <a:cubicBezTo>
                      <a:pt x="107" y="9"/>
                      <a:pt x="106" y="9"/>
                      <a:pt x="106" y="9"/>
                    </a:cubicBezTo>
                    <a:cubicBezTo>
                      <a:pt x="105" y="9"/>
                      <a:pt x="105" y="9"/>
                      <a:pt x="105" y="9"/>
                    </a:cubicBezTo>
                    <a:cubicBezTo>
                      <a:pt x="103" y="9"/>
                      <a:pt x="101" y="8"/>
                      <a:pt x="101" y="6"/>
                    </a:cubicBezTo>
                    <a:cubicBezTo>
                      <a:pt x="100" y="6"/>
                      <a:pt x="100" y="6"/>
                      <a:pt x="100" y="6"/>
                    </a:cubicBezTo>
                    <a:cubicBezTo>
                      <a:pt x="100" y="4"/>
                      <a:pt x="99" y="2"/>
                      <a:pt x="9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Freeform 373"/>
              <p:cNvSpPr/>
              <p:nvPr/>
            </p:nvSpPr>
            <p:spPr bwMode="auto">
              <a:xfrm flipH="1">
                <a:off x="7644" y="3099"/>
                <a:ext cx="0" cy="2"/>
              </a:xfrm>
              <a:custGeom>
                <a:gdLst>
                  <a:gd name="T0" fmla="*/ 0 h 2"/>
                  <a:gd name="T1" fmla="*/ 2 h 2"/>
                  <a:gd name="T2" fmla="*/ 0 h 2"/>
                  <a:gd name="T3" fmla="*/ 0 h 2"/>
                </a:gdLst>
                <a:cxnLst>
                  <a:cxn ang="0">
                    <a:pos x="0" y="T0"/>
                  </a:cxn>
                  <a:cxn ang="0">
                    <a:pos x="0" y="T1"/>
                  </a:cxn>
                  <a:cxn ang="0">
                    <a:pos x="0" y="T2"/>
                  </a:cxn>
                  <a:cxn ang="0">
                    <a:pos x="0" y="T3"/>
                  </a:cxn>
                </a:cxnLst>
                <a:rect l="0" t="0" r="r" b="b"/>
                <a:pathLst>
                  <a:path h="2">
                    <a:moveTo>
                      <a:pt x="0" y="0"/>
                    </a:move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374"/>
              <p:cNvSpPr/>
              <p:nvPr/>
            </p:nvSpPr>
            <p:spPr bwMode="auto">
              <a:xfrm flipH="1">
                <a:off x="7644" y="3099"/>
                <a:ext cx="0" cy="2"/>
              </a:xfrm>
              <a:custGeom>
                <a:gdLst>
                  <a:gd name="T0" fmla="*/ 0 h 2"/>
                  <a:gd name="T1" fmla="*/ 2 h 2"/>
                  <a:gd name="T2" fmla="*/ 0 h 2"/>
                  <a:gd name="T3" fmla="*/ 0 h 2"/>
                </a:gdLst>
                <a:cxnLst>
                  <a:cxn ang="0">
                    <a:pos x="0" y="T0"/>
                  </a:cxn>
                  <a:cxn ang="0">
                    <a:pos x="0" y="T1"/>
                  </a:cxn>
                  <a:cxn ang="0">
                    <a:pos x="0" y="T2"/>
                  </a:cxn>
                  <a:cxn ang="0">
                    <a:pos x="0" y="T3"/>
                  </a:cxn>
                </a:cxnLst>
                <a:rect l="0" t="0" r="r" b="b"/>
                <a:pathLst>
                  <a:path h="2">
                    <a:moveTo>
                      <a:pt x="0" y="0"/>
                    </a:moveTo>
                    <a:lnTo>
                      <a:pt x="0" y="2"/>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Freeform 375"/>
              <p:cNvSpPr/>
              <p:nvPr/>
            </p:nvSpPr>
            <p:spPr bwMode="auto">
              <a:xfrm>
                <a:off x="7659" y="3087"/>
                <a:ext cx="28" cy="38"/>
              </a:xfrm>
              <a:custGeom>
                <a:gdLst>
                  <a:gd name="T0" fmla="*/ 12 w 12"/>
                  <a:gd name="T1" fmla="*/ 0 h 16"/>
                  <a:gd name="T2" fmla="*/ 6 w 12"/>
                  <a:gd name="T3" fmla="*/ 5 h 16"/>
                  <a:gd name="T4" fmla="*/ 0 w 12"/>
                  <a:gd name="T5" fmla="*/ 8 h 16"/>
                  <a:gd name="T6" fmla="*/ 2 w 12"/>
                  <a:gd name="T7" fmla="*/ 9 h 16"/>
                  <a:gd name="T8" fmla="*/ 3 w 12"/>
                  <a:gd name="T9" fmla="*/ 11 h 16"/>
                  <a:gd name="T10" fmla="*/ 3 w 12"/>
                  <a:gd name="T11" fmla="*/ 11 h 16"/>
                  <a:gd name="T12" fmla="*/ 4 w 12"/>
                  <a:gd name="T13" fmla="*/ 13 h 16"/>
                  <a:gd name="T14" fmla="*/ 7 w 12"/>
                  <a:gd name="T15" fmla="*/ 16 h 16"/>
                  <a:gd name="T16" fmla="*/ 7 w 12"/>
                  <a:gd name="T17" fmla="*/ 16 h 16"/>
                  <a:gd name="T18" fmla="*/ 8 w 12"/>
                  <a:gd name="T19" fmla="*/ 15 h 16"/>
                  <a:gd name="T20" fmla="*/ 8 w 12"/>
                  <a:gd name="T21" fmla="*/ 15 h 16"/>
                  <a:gd name="T22" fmla="*/ 8 w 12"/>
                  <a:gd name="T23" fmla="*/ 14 h 16"/>
                  <a:gd name="T24" fmla="*/ 8 w 12"/>
                  <a:gd name="T25" fmla="*/ 12 h 16"/>
                  <a:gd name="T26" fmla="*/ 8 w 12"/>
                  <a:gd name="T27" fmla="*/ 8 h 16"/>
                  <a:gd name="T28" fmla="*/ 7 w 12"/>
                  <a:gd name="T29" fmla="*/ 7 h 16"/>
                  <a:gd name="T30" fmla="*/ 7 w 12"/>
                  <a:gd name="T31" fmla="*/ 5 h 16"/>
                  <a:gd name="T32" fmla="*/ 8 w 12"/>
                  <a:gd name="T33" fmla="*/ 4 h 16"/>
                  <a:gd name="T34" fmla="*/ 8 w 12"/>
                  <a:gd name="T35" fmla="*/ 3 h 16"/>
                  <a:gd name="T36" fmla="*/ 9 w 12"/>
                  <a:gd name="T37" fmla="*/ 3 h 16"/>
                  <a:gd name="T38" fmla="*/ 10 w 12"/>
                  <a:gd name="T39" fmla="*/ 2 h 16"/>
                  <a:gd name="T40" fmla="*/ 11 w 12"/>
                  <a:gd name="T41" fmla="*/ 2 h 16"/>
                  <a:gd name="T42" fmla="*/ 12 w 12"/>
                  <a:gd name="T43" fmla="*/ 1 h 16"/>
                  <a:gd name="T44" fmla="*/ 12 w 12"/>
                  <a:gd name="T45"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6">
                    <a:moveTo>
                      <a:pt x="12" y="0"/>
                    </a:moveTo>
                    <a:cubicBezTo>
                      <a:pt x="10" y="1"/>
                      <a:pt x="8" y="3"/>
                      <a:pt x="6" y="5"/>
                    </a:cubicBezTo>
                    <a:cubicBezTo>
                      <a:pt x="4" y="7"/>
                      <a:pt x="2" y="7"/>
                      <a:pt x="0" y="8"/>
                    </a:cubicBezTo>
                    <a:cubicBezTo>
                      <a:pt x="1" y="8"/>
                      <a:pt x="1" y="9"/>
                      <a:pt x="2" y="9"/>
                    </a:cubicBezTo>
                    <a:cubicBezTo>
                      <a:pt x="2" y="10"/>
                      <a:pt x="2" y="11"/>
                      <a:pt x="3" y="11"/>
                    </a:cubicBezTo>
                    <a:cubicBezTo>
                      <a:pt x="3" y="11"/>
                      <a:pt x="3" y="11"/>
                      <a:pt x="3" y="11"/>
                    </a:cubicBezTo>
                    <a:cubicBezTo>
                      <a:pt x="3" y="12"/>
                      <a:pt x="3" y="12"/>
                      <a:pt x="4" y="13"/>
                    </a:cubicBezTo>
                    <a:cubicBezTo>
                      <a:pt x="6" y="15"/>
                      <a:pt x="7" y="16"/>
                      <a:pt x="7" y="16"/>
                    </a:cubicBezTo>
                    <a:cubicBezTo>
                      <a:pt x="7" y="16"/>
                      <a:pt x="7" y="16"/>
                      <a:pt x="7" y="16"/>
                    </a:cubicBezTo>
                    <a:cubicBezTo>
                      <a:pt x="8" y="15"/>
                      <a:pt x="8" y="15"/>
                      <a:pt x="8" y="15"/>
                    </a:cubicBezTo>
                    <a:cubicBezTo>
                      <a:pt x="8" y="15"/>
                      <a:pt x="8" y="15"/>
                      <a:pt x="8" y="15"/>
                    </a:cubicBezTo>
                    <a:cubicBezTo>
                      <a:pt x="8" y="14"/>
                      <a:pt x="8" y="14"/>
                      <a:pt x="8" y="14"/>
                    </a:cubicBezTo>
                    <a:cubicBezTo>
                      <a:pt x="8" y="13"/>
                      <a:pt x="8" y="12"/>
                      <a:pt x="8" y="12"/>
                    </a:cubicBezTo>
                    <a:cubicBezTo>
                      <a:pt x="8" y="11"/>
                      <a:pt x="8" y="9"/>
                      <a:pt x="8" y="8"/>
                    </a:cubicBezTo>
                    <a:cubicBezTo>
                      <a:pt x="7" y="8"/>
                      <a:pt x="7" y="8"/>
                      <a:pt x="7" y="7"/>
                    </a:cubicBezTo>
                    <a:cubicBezTo>
                      <a:pt x="7" y="6"/>
                      <a:pt x="7" y="6"/>
                      <a:pt x="7" y="5"/>
                    </a:cubicBezTo>
                    <a:cubicBezTo>
                      <a:pt x="7" y="4"/>
                      <a:pt x="7" y="4"/>
                      <a:pt x="8" y="4"/>
                    </a:cubicBezTo>
                    <a:cubicBezTo>
                      <a:pt x="8" y="3"/>
                      <a:pt x="8" y="3"/>
                      <a:pt x="8" y="3"/>
                    </a:cubicBezTo>
                    <a:cubicBezTo>
                      <a:pt x="9" y="3"/>
                      <a:pt x="9" y="3"/>
                      <a:pt x="9" y="3"/>
                    </a:cubicBezTo>
                    <a:cubicBezTo>
                      <a:pt x="9" y="3"/>
                      <a:pt x="10" y="2"/>
                      <a:pt x="10" y="2"/>
                    </a:cubicBezTo>
                    <a:cubicBezTo>
                      <a:pt x="11" y="2"/>
                      <a:pt x="11" y="2"/>
                      <a:pt x="11" y="2"/>
                    </a:cubicBezTo>
                    <a:cubicBezTo>
                      <a:pt x="12" y="1"/>
                      <a:pt x="12" y="1"/>
                      <a:pt x="12" y="1"/>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376"/>
              <p:cNvSpPr/>
              <p:nvPr/>
            </p:nvSpPr>
            <p:spPr bwMode="auto">
              <a:xfrm>
                <a:off x="3665" y="1841"/>
                <a:ext cx="458" cy="459"/>
              </a:xfrm>
              <a:custGeom>
                <a:gdLst>
                  <a:gd name="T0" fmla="*/ 4 w 194"/>
                  <a:gd name="T1" fmla="*/ 0 h 194"/>
                  <a:gd name="T2" fmla="*/ 0 w 194"/>
                  <a:gd name="T3" fmla="*/ 194 h 194"/>
                  <a:gd name="T4" fmla="*/ 109 w 194"/>
                  <a:gd name="T5" fmla="*/ 192 h 194"/>
                  <a:gd name="T6" fmla="*/ 113 w 194"/>
                  <a:gd name="T7" fmla="*/ 190 h 194"/>
                  <a:gd name="T8" fmla="*/ 137 w 194"/>
                  <a:gd name="T9" fmla="*/ 194 h 194"/>
                  <a:gd name="T10" fmla="*/ 139 w 194"/>
                  <a:gd name="T11" fmla="*/ 194 h 194"/>
                  <a:gd name="T12" fmla="*/ 145 w 194"/>
                  <a:gd name="T13" fmla="*/ 194 h 194"/>
                  <a:gd name="T14" fmla="*/ 161 w 194"/>
                  <a:gd name="T15" fmla="*/ 193 h 194"/>
                  <a:gd name="T16" fmla="*/ 169 w 194"/>
                  <a:gd name="T17" fmla="*/ 189 h 194"/>
                  <a:gd name="T18" fmla="*/ 173 w 194"/>
                  <a:gd name="T19" fmla="*/ 187 h 194"/>
                  <a:gd name="T20" fmla="*/ 174 w 194"/>
                  <a:gd name="T21" fmla="*/ 185 h 194"/>
                  <a:gd name="T22" fmla="*/ 181 w 194"/>
                  <a:gd name="T23" fmla="*/ 177 h 194"/>
                  <a:gd name="T24" fmla="*/ 187 w 194"/>
                  <a:gd name="T25" fmla="*/ 174 h 194"/>
                  <a:gd name="T26" fmla="*/ 191 w 194"/>
                  <a:gd name="T27" fmla="*/ 172 h 194"/>
                  <a:gd name="T28" fmla="*/ 191 w 194"/>
                  <a:gd name="T29" fmla="*/ 170 h 194"/>
                  <a:gd name="T30" fmla="*/ 189 w 194"/>
                  <a:gd name="T31" fmla="*/ 157 h 194"/>
                  <a:gd name="T32" fmla="*/ 191 w 194"/>
                  <a:gd name="T33" fmla="*/ 158 h 194"/>
                  <a:gd name="T34" fmla="*/ 194 w 194"/>
                  <a:gd name="T35" fmla="*/ 158 h 194"/>
                  <a:gd name="T36" fmla="*/ 189 w 194"/>
                  <a:gd name="T37" fmla="*/ 154 h 194"/>
                  <a:gd name="T38" fmla="*/ 163 w 194"/>
                  <a:gd name="T39" fmla="*/ 108 h 194"/>
                  <a:gd name="T40" fmla="*/ 159 w 194"/>
                  <a:gd name="T41" fmla="*/ 102 h 194"/>
                  <a:gd name="T42" fmla="*/ 155 w 194"/>
                  <a:gd name="T43" fmla="*/ 84 h 194"/>
                  <a:gd name="T44" fmla="*/ 147 w 194"/>
                  <a:gd name="T45" fmla="*/ 73 h 194"/>
                  <a:gd name="T46" fmla="*/ 139 w 194"/>
                  <a:gd name="T47" fmla="*/ 63 h 194"/>
                  <a:gd name="T48" fmla="*/ 129 w 194"/>
                  <a:gd name="T49" fmla="*/ 42 h 194"/>
                  <a:gd name="T50" fmla="*/ 132 w 194"/>
                  <a:gd name="T51" fmla="*/ 35 h 194"/>
                  <a:gd name="T52" fmla="*/ 136 w 194"/>
                  <a:gd name="T53" fmla="*/ 45 h 194"/>
                  <a:gd name="T54" fmla="*/ 140 w 194"/>
                  <a:gd name="T55" fmla="*/ 50 h 194"/>
                  <a:gd name="T56" fmla="*/ 146 w 194"/>
                  <a:gd name="T57" fmla="*/ 64 h 194"/>
                  <a:gd name="T58" fmla="*/ 165 w 194"/>
                  <a:gd name="T59" fmla="*/ 81 h 194"/>
                  <a:gd name="T60" fmla="*/ 177 w 194"/>
                  <a:gd name="T61" fmla="*/ 45 h 194"/>
                  <a:gd name="T62" fmla="*/ 164 w 194"/>
                  <a:gd name="T63" fmla="*/ 6 h 194"/>
                  <a:gd name="T64" fmla="*/ 153 w 194"/>
                  <a:gd name="T65" fmla="*/ 10 h 194"/>
                  <a:gd name="T66" fmla="*/ 142 w 194"/>
                  <a:gd name="T67" fmla="*/ 12 h 194"/>
                  <a:gd name="T68" fmla="*/ 139 w 194"/>
                  <a:gd name="T69" fmla="*/ 12 h 194"/>
                  <a:gd name="T70" fmla="*/ 133 w 194"/>
                  <a:gd name="T71" fmla="*/ 11 h 194"/>
                  <a:gd name="T72" fmla="*/ 125 w 194"/>
                  <a:gd name="T73" fmla="*/ 11 h 194"/>
                  <a:gd name="T74" fmla="*/ 120 w 194"/>
                  <a:gd name="T75" fmla="*/ 2 h 194"/>
                  <a:gd name="T76" fmla="*/ 115 w 194"/>
                  <a:gd name="T77" fmla="*/ 3 h 194"/>
                  <a:gd name="T78" fmla="*/ 107 w 194"/>
                  <a:gd name="T79" fmla="*/ 1 h 194"/>
                  <a:gd name="T80" fmla="*/ 101 w 194"/>
                  <a:gd name="T81" fmla="*/ 1 h 194"/>
                  <a:gd name="T82" fmla="*/ 89 w 194"/>
                  <a:gd name="T83" fmla="*/ 8 h 194"/>
                  <a:gd name="T84" fmla="*/ 88 w 194"/>
                  <a:gd name="T85" fmla="*/ 8 h 194"/>
                  <a:gd name="T86" fmla="*/ 86 w 194"/>
                  <a:gd name="T87" fmla="*/ 7 h 194"/>
                  <a:gd name="T88" fmla="*/ 67 w 194"/>
                  <a:gd name="T89" fmla="*/ 16 h 194"/>
                  <a:gd name="T90" fmla="*/ 61 w 194"/>
                  <a:gd name="T91" fmla="*/ 14 h 194"/>
                  <a:gd name="T92" fmla="*/ 38 w 194"/>
                  <a:gd name="T93" fmla="*/ 9 h 194"/>
                  <a:gd name="T94" fmla="*/ 19 w 194"/>
                  <a:gd name="T95" fmla="*/ 3 h 1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94">
                    <a:moveTo>
                      <a:pt x="7" y="0"/>
                    </a:moveTo>
                    <a:cubicBezTo>
                      <a:pt x="6" y="0"/>
                      <a:pt x="5" y="0"/>
                      <a:pt x="4" y="0"/>
                    </a:cubicBezTo>
                    <a:cubicBezTo>
                      <a:pt x="3" y="0"/>
                      <a:pt x="1" y="1"/>
                      <a:pt x="0" y="1"/>
                    </a:cubicBezTo>
                    <a:cubicBezTo>
                      <a:pt x="0" y="194"/>
                      <a:pt x="0" y="194"/>
                      <a:pt x="0" y="194"/>
                    </a:cubicBezTo>
                    <a:cubicBezTo>
                      <a:pt x="108" y="193"/>
                      <a:pt x="108" y="193"/>
                      <a:pt x="108" y="193"/>
                    </a:cubicBezTo>
                    <a:cubicBezTo>
                      <a:pt x="109" y="192"/>
                      <a:pt x="109" y="192"/>
                      <a:pt x="109" y="192"/>
                    </a:cubicBezTo>
                    <a:cubicBezTo>
                      <a:pt x="110" y="191"/>
                      <a:pt x="111" y="190"/>
                      <a:pt x="112" y="190"/>
                    </a:cubicBezTo>
                    <a:cubicBezTo>
                      <a:pt x="113" y="190"/>
                      <a:pt x="113" y="190"/>
                      <a:pt x="113" y="190"/>
                    </a:cubicBezTo>
                    <a:cubicBezTo>
                      <a:pt x="115" y="191"/>
                      <a:pt x="115" y="193"/>
                      <a:pt x="115" y="194"/>
                    </a:cubicBezTo>
                    <a:cubicBezTo>
                      <a:pt x="137" y="194"/>
                      <a:pt x="137" y="194"/>
                      <a:pt x="137" y="194"/>
                    </a:cubicBezTo>
                    <a:cubicBezTo>
                      <a:pt x="137" y="194"/>
                      <a:pt x="138" y="194"/>
                      <a:pt x="138" y="194"/>
                    </a:cubicBezTo>
                    <a:cubicBezTo>
                      <a:pt x="139" y="194"/>
                      <a:pt x="139" y="194"/>
                      <a:pt x="139" y="194"/>
                    </a:cubicBezTo>
                    <a:cubicBezTo>
                      <a:pt x="140" y="194"/>
                      <a:pt x="141" y="194"/>
                      <a:pt x="142" y="194"/>
                    </a:cubicBezTo>
                    <a:cubicBezTo>
                      <a:pt x="143" y="194"/>
                      <a:pt x="144" y="194"/>
                      <a:pt x="145" y="194"/>
                    </a:cubicBezTo>
                    <a:cubicBezTo>
                      <a:pt x="161" y="194"/>
                      <a:pt x="161" y="194"/>
                      <a:pt x="161" y="194"/>
                    </a:cubicBezTo>
                    <a:cubicBezTo>
                      <a:pt x="161" y="194"/>
                      <a:pt x="161" y="194"/>
                      <a:pt x="161" y="193"/>
                    </a:cubicBezTo>
                    <a:cubicBezTo>
                      <a:pt x="161" y="193"/>
                      <a:pt x="162" y="192"/>
                      <a:pt x="162" y="191"/>
                    </a:cubicBezTo>
                    <a:cubicBezTo>
                      <a:pt x="164" y="190"/>
                      <a:pt x="167" y="189"/>
                      <a:pt x="169" y="189"/>
                    </a:cubicBezTo>
                    <a:cubicBezTo>
                      <a:pt x="170" y="189"/>
                      <a:pt x="170" y="189"/>
                      <a:pt x="170" y="189"/>
                    </a:cubicBezTo>
                    <a:cubicBezTo>
                      <a:pt x="172" y="189"/>
                      <a:pt x="172" y="189"/>
                      <a:pt x="173" y="187"/>
                    </a:cubicBezTo>
                    <a:cubicBezTo>
                      <a:pt x="174" y="186"/>
                      <a:pt x="174" y="186"/>
                      <a:pt x="174" y="185"/>
                    </a:cubicBezTo>
                    <a:cubicBezTo>
                      <a:pt x="174" y="185"/>
                      <a:pt x="174" y="185"/>
                      <a:pt x="174" y="185"/>
                    </a:cubicBezTo>
                    <a:cubicBezTo>
                      <a:pt x="175" y="182"/>
                      <a:pt x="176" y="180"/>
                      <a:pt x="178" y="178"/>
                    </a:cubicBezTo>
                    <a:cubicBezTo>
                      <a:pt x="179" y="178"/>
                      <a:pt x="180" y="177"/>
                      <a:pt x="181" y="177"/>
                    </a:cubicBezTo>
                    <a:cubicBezTo>
                      <a:pt x="182" y="176"/>
                      <a:pt x="183" y="176"/>
                      <a:pt x="184" y="175"/>
                    </a:cubicBezTo>
                    <a:cubicBezTo>
                      <a:pt x="185" y="175"/>
                      <a:pt x="186" y="174"/>
                      <a:pt x="187" y="174"/>
                    </a:cubicBezTo>
                    <a:cubicBezTo>
                      <a:pt x="188" y="173"/>
                      <a:pt x="189" y="173"/>
                      <a:pt x="189" y="173"/>
                    </a:cubicBezTo>
                    <a:cubicBezTo>
                      <a:pt x="190" y="172"/>
                      <a:pt x="190" y="172"/>
                      <a:pt x="191" y="172"/>
                    </a:cubicBezTo>
                    <a:cubicBezTo>
                      <a:pt x="191" y="172"/>
                      <a:pt x="191" y="172"/>
                      <a:pt x="191" y="172"/>
                    </a:cubicBezTo>
                    <a:cubicBezTo>
                      <a:pt x="191" y="171"/>
                      <a:pt x="191" y="170"/>
                      <a:pt x="191" y="170"/>
                    </a:cubicBezTo>
                    <a:cubicBezTo>
                      <a:pt x="190" y="167"/>
                      <a:pt x="190" y="165"/>
                      <a:pt x="189" y="163"/>
                    </a:cubicBezTo>
                    <a:cubicBezTo>
                      <a:pt x="189" y="162"/>
                      <a:pt x="188" y="158"/>
                      <a:pt x="189" y="157"/>
                    </a:cubicBezTo>
                    <a:cubicBezTo>
                      <a:pt x="189" y="157"/>
                      <a:pt x="189" y="157"/>
                      <a:pt x="190" y="157"/>
                    </a:cubicBezTo>
                    <a:cubicBezTo>
                      <a:pt x="190" y="157"/>
                      <a:pt x="191" y="157"/>
                      <a:pt x="191" y="158"/>
                    </a:cubicBezTo>
                    <a:cubicBezTo>
                      <a:pt x="192" y="158"/>
                      <a:pt x="192" y="158"/>
                      <a:pt x="193" y="158"/>
                    </a:cubicBezTo>
                    <a:cubicBezTo>
                      <a:pt x="193" y="158"/>
                      <a:pt x="194" y="158"/>
                      <a:pt x="194" y="158"/>
                    </a:cubicBezTo>
                    <a:cubicBezTo>
                      <a:pt x="193" y="157"/>
                      <a:pt x="190" y="154"/>
                      <a:pt x="189" y="154"/>
                    </a:cubicBezTo>
                    <a:cubicBezTo>
                      <a:pt x="189" y="154"/>
                      <a:pt x="189" y="154"/>
                      <a:pt x="189" y="154"/>
                    </a:cubicBezTo>
                    <a:cubicBezTo>
                      <a:pt x="186" y="151"/>
                      <a:pt x="183" y="147"/>
                      <a:pt x="181" y="143"/>
                    </a:cubicBezTo>
                    <a:cubicBezTo>
                      <a:pt x="175" y="131"/>
                      <a:pt x="169" y="119"/>
                      <a:pt x="163" y="108"/>
                    </a:cubicBezTo>
                    <a:cubicBezTo>
                      <a:pt x="162" y="106"/>
                      <a:pt x="161" y="105"/>
                      <a:pt x="160" y="103"/>
                    </a:cubicBezTo>
                    <a:cubicBezTo>
                      <a:pt x="160" y="103"/>
                      <a:pt x="160" y="103"/>
                      <a:pt x="159" y="102"/>
                    </a:cubicBezTo>
                    <a:cubicBezTo>
                      <a:pt x="159" y="102"/>
                      <a:pt x="160" y="100"/>
                      <a:pt x="160" y="100"/>
                    </a:cubicBezTo>
                    <a:cubicBezTo>
                      <a:pt x="161" y="95"/>
                      <a:pt x="156" y="89"/>
                      <a:pt x="155" y="84"/>
                    </a:cubicBezTo>
                    <a:cubicBezTo>
                      <a:pt x="154" y="83"/>
                      <a:pt x="153" y="79"/>
                      <a:pt x="152" y="78"/>
                    </a:cubicBezTo>
                    <a:cubicBezTo>
                      <a:pt x="151" y="76"/>
                      <a:pt x="149" y="75"/>
                      <a:pt x="147" y="73"/>
                    </a:cubicBezTo>
                    <a:cubicBezTo>
                      <a:pt x="146" y="72"/>
                      <a:pt x="145" y="71"/>
                      <a:pt x="144" y="70"/>
                    </a:cubicBezTo>
                    <a:cubicBezTo>
                      <a:pt x="143" y="68"/>
                      <a:pt x="140" y="65"/>
                      <a:pt x="139" y="63"/>
                    </a:cubicBezTo>
                    <a:cubicBezTo>
                      <a:pt x="137" y="60"/>
                      <a:pt x="136" y="56"/>
                      <a:pt x="135" y="52"/>
                    </a:cubicBezTo>
                    <a:cubicBezTo>
                      <a:pt x="134" y="49"/>
                      <a:pt x="129" y="45"/>
                      <a:pt x="129" y="42"/>
                    </a:cubicBezTo>
                    <a:cubicBezTo>
                      <a:pt x="129" y="40"/>
                      <a:pt x="130" y="39"/>
                      <a:pt x="131" y="38"/>
                    </a:cubicBezTo>
                    <a:cubicBezTo>
                      <a:pt x="131" y="37"/>
                      <a:pt x="131" y="35"/>
                      <a:pt x="132" y="35"/>
                    </a:cubicBezTo>
                    <a:cubicBezTo>
                      <a:pt x="132" y="35"/>
                      <a:pt x="132" y="35"/>
                      <a:pt x="132" y="35"/>
                    </a:cubicBezTo>
                    <a:cubicBezTo>
                      <a:pt x="135" y="35"/>
                      <a:pt x="136" y="44"/>
                      <a:pt x="136" y="45"/>
                    </a:cubicBezTo>
                    <a:cubicBezTo>
                      <a:pt x="136" y="45"/>
                      <a:pt x="136" y="45"/>
                      <a:pt x="136" y="45"/>
                    </a:cubicBezTo>
                    <a:cubicBezTo>
                      <a:pt x="137" y="46"/>
                      <a:pt x="138" y="49"/>
                      <a:pt x="140" y="50"/>
                    </a:cubicBezTo>
                    <a:cubicBezTo>
                      <a:pt x="141" y="51"/>
                      <a:pt x="144" y="53"/>
                      <a:pt x="145" y="55"/>
                    </a:cubicBezTo>
                    <a:cubicBezTo>
                      <a:pt x="146" y="57"/>
                      <a:pt x="145" y="61"/>
                      <a:pt x="146" y="64"/>
                    </a:cubicBezTo>
                    <a:cubicBezTo>
                      <a:pt x="147" y="65"/>
                      <a:pt x="149" y="67"/>
                      <a:pt x="150" y="68"/>
                    </a:cubicBezTo>
                    <a:cubicBezTo>
                      <a:pt x="155" y="73"/>
                      <a:pt x="158" y="78"/>
                      <a:pt x="165" y="81"/>
                    </a:cubicBezTo>
                    <a:cubicBezTo>
                      <a:pt x="165" y="80"/>
                      <a:pt x="165" y="80"/>
                      <a:pt x="166" y="80"/>
                    </a:cubicBezTo>
                    <a:cubicBezTo>
                      <a:pt x="169" y="68"/>
                      <a:pt x="173" y="57"/>
                      <a:pt x="177" y="45"/>
                    </a:cubicBezTo>
                    <a:cubicBezTo>
                      <a:pt x="165" y="7"/>
                      <a:pt x="165" y="7"/>
                      <a:pt x="165" y="7"/>
                    </a:cubicBezTo>
                    <a:cubicBezTo>
                      <a:pt x="164" y="6"/>
                      <a:pt x="164" y="6"/>
                      <a:pt x="164" y="6"/>
                    </a:cubicBezTo>
                    <a:cubicBezTo>
                      <a:pt x="161" y="7"/>
                      <a:pt x="159" y="8"/>
                      <a:pt x="156" y="9"/>
                    </a:cubicBezTo>
                    <a:cubicBezTo>
                      <a:pt x="155" y="10"/>
                      <a:pt x="154" y="10"/>
                      <a:pt x="153" y="10"/>
                    </a:cubicBezTo>
                    <a:cubicBezTo>
                      <a:pt x="149" y="11"/>
                      <a:pt x="146" y="12"/>
                      <a:pt x="142" y="12"/>
                    </a:cubicBezTo>
                    <a:cubicBezTo>
                      <a:pt x="142" y="12"/>
                      <a:pt x="142" y="12"/>
                      <a:pt x="142" y="12"/>
                    </a:cubicBezTo>
                    <a:cubicBezTo>
                      <a:pt x="142" y="12"/>
                      <a:pt x="141" y="12"/>
                      <a:pt x="141" y="12"/>
                    </a:cubicBezTo>
                    <a:cubicBezTo>
                      <a:pt x="141" y="12"/>
                      <a:pt x="140" y="12"/>
                      <a:pt x="139" y="12"/>
                    </a:cubicBezTo>
                    <a:cubicBezTo>
                      <a:pt x="139" y="12"/>
                      <a:pt x="138" y="12"/>
                      <a:pt x="137" y="12"/>
                    </a:cubicBezTo>
                    <a:cubicBezTo>
                      <a:pt x="135" y="12"/>
                      <a:pt x="134" y="12"/>
                      <a:pt x="133" y="11"/>
                    </a:cubicBezTo>
                    <a:cubicBezTo>
                      <a:pt x="131" y="10"/>
                      <a:pt x="129" y="7"/>
                      <a:pt x="126" y="7"/>
                    </a:cubicBezTo>
                    <a:cubicBezTo>
                      <a:pt x="130" y="8"/>
                      <a:pt x="126" y="11"/>
                      <a:pt x="125" y="11"/>
                    </a:cubicBezTo>
                    <a:cubicBezTo>
                      <a:pt x="124" y="10"/>
                      <a:pt x="119" y="8"/>
                      <a:pt x="118" y="7"/>
                    </a:cubicBezTo>
                    <a:cubicBezTo>
                      <a:pt x="118" y="6"/>
                      <a:pt x="120" y="2"/>
                      <a:pt x="120" y="2"/>
                    </a:cubicBezTo>
                    <a:cubicBezTo>
                      <a:pt x="120" y="2"/>
                      <a:pt x="120" y="2"/>
                      <a:pt x="120" y="2"/>
                    </a:cubicBezTo>
                    <a:cubicBezTo>
                      <a:pt x="119" y="2"/>
                      <a:pt x="117" y="3"/>
                      <a:pt x="115" y="3"/>
                    </a:cubicBezTo>
                    <a:cubicBezTo>
                      <a:pt x="115" y="3"/>
                      <a:pt x="115" y="3"/>
                      <a:pt x="114" y="3"/>
                    </a:cubicBezTo>
                    <a:cubicBezTo>
                      <a:pt x="112" y="3"/>
                      <a:pt x="109" y="1"/>
                      <a:pt x="107" y="1"/>
                    </a:cubicBezTo>
                    <a:cubicBezTo>
                      <a:pt x="106" y="1"/>
                      <a:pt x="105" y="0"/>
                      <a:pt x="104" y="0"/>
                    </a:cubicBezTo>
                    <a:cubicBezTo>
                      <a:pt x="103" y="0"/>
                      <a:pt x="102" y="0"/>
                      <a:pt x="101" y="1"/>
                    </a:cubicBezTo>
                    <a:cubicBezTo>
                      <a:pt x="96" y="2"/>
                      <a:pt x="92" y="3"/>
                      <a:pt x="88" y="7"/>
                    </a:cubicBezTo>
                    <a:cubicBezTo>
                      <a:pt x="88" y="7"/>
                      <a:pt x="89" y="8"/>
                      <a:pt x="89" y="8"/>
                    </a:cubicBezTo>
                    <a:cubicBezTo>
                      <a:pt x="89" y="8"/>
                      <a:pt x="89" y="8"/>
                      <a:pt x="88" y="8"/>
                    </a:cubicBezTo>
                    <a:cubicBezTo>
                      <a:pt x="88" y="8"/>
                      <a:pt x="88" y="8"/>
                      <a:pt x="88" y="8"/>
                    </a:cubicBezTo>
                    <a:cubicBezTo>
                      <a:pt x="87" y="8"/>
                      <a:pt x="87" y="7"/>
                      <a:pt x="86" y="7"/>
                    </a:cubicBezTo>
                    <a:cubicBezTo>
                      <a:pt x="86" y="7"/>
                      <a:pt x="86" y="7"/>
                      <a:pt x="86" y="7"/>
                    </a:cubicBezTo>
                    <a:cubicBezTo>
                      <a:pt x="84" y="8"/>
                      <a:pt x="83" y="9"/>
                      <a:pt x="82" y="9"/>
                    </a:cubicBezTo>
                    <a:cubicBezTo>
                      <a:pt x="77" y="12"/>
                      <a:pt x="72" y="15"/>
                      <a:pt x="67" y="16"/>
                    </a:cubicBezTo>
                    <a:cubicBezTo>
                      <a:pt x="67" y="16"/>
                      <a:pt x="66" y="16"/>
                      <a:pt x="66" y="16"/>
                    </a:cubicBezTo>
                    <a:cubicBezTo>
                      <a:pt x="64" y="16"/>
                      <a:pt x="63" y="15"/>
                      <a:pt x="61" y="14"/>
                    </a:cubicBezTo>
                    <a:cubicBezTo>
                      <a:pt x="57" y="12"/>
                      <a:pt x="51" y="12"/>
                      <a:pt x="47" y="11"/>
                    </a:cubicBezTo>
                    <a:cubicBezTo>
                      <a:pt x="44" y="11"/>
                      <a:pt x="41" y="10"/>
                      <a:pt x="38" y="9"/>
                    </a:cubicBezTo>
                    <a:cubicBezTo>
                      <a:pt x="37" y="8"/>
                      <a:pt x="36" y="8"/>
                      <a:pt x="34" y="7"/>
                    </a:cubicBezTo>
                    <a:cubicBezTo>
                      <a:pt x="30" y="5"/>
                      <a:pt x="24" y="4"/>
                      <a:pt x="19" y="3"/>
                    </a:cubicBezTo>
                    <a:cubicBezTo>
                      <a:pt x="15" y="2"/>
                      <a:pt x="11"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377"/>
              <p:cNvSpPr>
                <a:spLocks noEditPoints="1"/>
              </p:cNvSpPr>
              <p:nvPr/>
            </p:nvSpPr>
            <p:spPr bwMode="auto">
              <a:xfrm>
                <a:off x="3665" y="2257"/>
                <a:ext cx="581" cy="891"/>
              </a:xfrm>
              <a:custGeom>
                <a:gdLst>
                  <a:gd name="T0" fmla="*/ 192 w 246"/>
                  <a:gd name="T1" fmla="*/ 1 h 377"/>
                  <a:gd name="T2" fmla="*/ 183 w 246"/>
                  <a:gd name="T3" fmla="*/ 5 h 377"/>
                  <a:gd name="T4" fmla="*/ 178 w 246"/>
                  <a:gd name="T5" fmla="*/ 12 h 377"/>
                  <a:gd name="T6" fmla="*/ 165 w 246"/>
                  <a:gd name="T7" fmla="*/ 21 h 377"/>
                  <a:gd name="T8" fmla="*/ 139 w 246"/>
                  <a:gd name="T9" fmla="*/ 23 h 377"/>
                  <a:gd name="T10" fmla="*/ 109 w 246"/>
                  <a:gd name="T11" fmla="*/ 22 h 377"/>
                  <a:gd name="T12" fmla="*/ 15 w 246"/>
                  <a:gd name="T13" fmla="*/ 317 h 377"/>
                  <a:gd name="T14" fmla="*/ 17 w 246"/>
                  <a:gd name="T15" fmla="*/ 319 h 377"/>
                  <a:gd name="T16" fmla="*/ 17 w 246"/>
                  <a:gd name="T17" fmla="*/ 326 h 377"/>
                  <a:gd name="T18" fmla="*/ 21 w 246"/>
                  <a:gd name="T19" fmla="*/ 330 h 377"/>
                  <a:gd name="T20" fmla="*/ 34 w 246"/>
                  <a:gd name="T21" fmla="*/ 342 h 377"/>
                  <a:gd name="T22" fmla="*/ 38 w 246"/>
                  <a:gd name="T23" fmla="*/ 349 h 377"/>
                  <a:gd name="T24" fmla="*/ 54 w 246"/>
                  <a:gd name="T25" fmla="*/ 362 h 377"/>
                  <a:gd name="T26" fmla="*/ 70 w 246"/>
                  <a:gd name="T27" fmla="*/ 361 h 377"/>
                  <a:gd name="T28" fmla="*/ 81 w 246"/>
                  <a:gd name="T29" fmla="*/ 358 h 377"/>
                  <a:gd name="T30" fmla="*/ 86 w 246"/>
                  <a:gd name="T31" fmla="*/ 366 h 377"/>
                  <a:gd name="T32" fmla="*/ 97 w 246"/>
                  <a:gd name="T33" fmla="*/ 375 h 377"/>
                  <a:gd name="T34" fmla="*/ 102 w 246"/>
                  <a:gd name="T35" fmla="*/ 375 h 377"/>
                  <a:gd name="T36" fmla="*/ 110 w 246"/>
                  <a:gd name="T37" fmla="*/ 374 h 377"/>
                  <a:gd name="T38" fmla="*/ 120 w 246"/>
                  <a:gd name="T39" fmla="*/ 373 h 377"/>
                  <a:gd name="T40" fmla="*/ 125 w 246"/>
                  <a:gd name="T41" fmla="*/ 377 h 377"/>
                  <a:gd name="T42" fmla="*/ 145 w 246"/>
                  <a:gd name="T43" fmla="*/ 372 h 377"/>
                  <a:gd name="T44" fmla="*/ 158 w 246"/>
                  <a:gd name="T45" fmla="*/ 364 h 377"/>
                  <a:gd name="T46" fmla="*/ 164 w 246"/>
                  <a:gd name="T47" fmla="*/ 359 h 377"/>
                  <a:gd name="T48" fmla="*/ 191 w 246"/>
                  <a:gd name="T49" fmla="*/ 357 h 377"/>
                  <a:gd name="T50" fmla="*/ 192 w 246"/>
                  <a:gd name="T51" fmla="*/ 351 h 377"/>
                  <a:gd name="T52" fmla="*/ 192 w 246"/>
                  <a:gd name="T53" fmla="*/ 347 h 377"/>
                  <a:gd name="T54" fmla="*/ 184 w 246"/>
                  <a:gd name="T55" fmla="*/ 344 h 377"/>
                  <a:gd name="T56" fmla="*/ 173 w 246"/>
                  <a:gd name="T57" fmla="*/ 322 h 377"/>
                  <a:gd name="T58" fmla="*/ 160 w 246"/>
                  <a:gd name="T59" fmla="*/ 311 h 377"/>
                  <a:gd name="T60" fmla="*/ 154 w 246"/>
                  <a:gd name="T61" fmla="*/ 303 h 377"/>
                  <a:gd name="T62" fmla="*/ 144 w 246"/>
                  <a:gd name="T63" fmla="*/ 299 h 377"/>
                  <a:gd name="T64" fmla="*/ 141 w 246"/>
                  <a:gd name="T65" fmla="*/ 291 h 377"/>
                  <a:gd name="T66" fmla="*/ 150 w 246"/>
                  <a:gd name="T67" fmla="*/ 283 h 377"/>
                  <a:gd name="T68" fmla="*/ 159 w 246"/>
                  <a:gd name="T69" fmla="*/ 283 h 377"/>
                  <a:gd name="T70" fmla="*/ 162 w 246"/>
                  <a:gd name="T71" fmla="*/ 258 h 377"/>
                  <a:gd name="T72" fmla="*/ 164 w 246"/>
                  <a:gd name="T73" fmla="*/ 243 h 377"/>
                  <a:gd name="T74" fmla="*/ 170 w 246"/>
                  <a:gd name="T75" fmla="*/ 237 h 377"/>
                  <a:gd name="T76" fmla="*/ 173 w 246"/>
                  <a:gd name="T77" fmla="*/ 237 h 377"/>
                  <a:gd name="T78" fmla="*/ 176 w 246"/>
                  <a:gd name="T79" fmla="*/ 238 h 377"/>
                  <a:gd name="T80" fmla="*/ 177 w 246"/>
                  <a:gd name="T81" fmla="*/ 234 h 377"/>
                  <a:gd name="T82" fmla="*/ 178 w 246"/>
                  <a:gd name="T83" fmla="*/ 229 h 377"/>
                  <a:gd name="T84" fmla="*/ 188 w 246"/>
                  <a:gd name="T85" fmla="*/ 207 h 377"/>
                  <a:gd name="T86" fmla="*/ 195 w 246"/>
                  <a:gd name="T87" fmla="*/ 201 h 377"/>
                  <a:gd name="T88" fmla="*/ 201 w 246"/>
                  <a:gd name="T89" fmla="*/ 197 h 377"/>
                  <a:gd name="T90" fmla="*/ 206 w 246"/>
                  <a:gd name="T91" fmla="*/ 174 h 377"/>
                  <a:gd name="T92" fmla="*/ 210 w 246"/>
                  <a:gd name="T93" fmla="*/ 141 h 377"/>
                  <a:gd name="T94" fmla="*/ 220 w 246"/>
                  <a:gd name="T95" fmla="*/ 116 h 377"/>
                  <a:gd name="T96" fmla="*/ 227 w 246"/>
                  <a:gd name="T97" fmla="*/ 114 h 377"/>
                  <a:gd name="T98" fmla="*/ 236 w 246"/>
                  <a:gd name="T99" fmla="*/ 108 h 377"/>
                  <a:gd name="T100" fmla="*/ 241 w 246"/>
                  <a:gd name="T101" fmla="*/ 106 h 377"/>
                  <a:gd name="T102" fmla="*/ 244 w 246"/>
                  <a:gd name="T103" fmla="*/ 98 h 377"/>
                  <a:gd name="T104" fmla="*/ 223 w 246"/>
                  <a:gd name="T105" fmla="*/ 40 h 377"/>
                  <a:gd name="T106" fmla="*/ 199 w 246"/>
                  <a:gd name="T107" fmla="*/ 8 h 3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6" h="377">
                    <a:moveTo>
                      <a:pt x="190" y="355"/>
                    </a:moveTo>
                    <a:cubicBezTo>
                      <a:pt x="190" y="355"/>
                      <a:pt x="190" y="354"/>
                      <a:pt x="190" y="354"/>
                    </a:cubicBezTo>
                    <a:cubicBezTo>
                      <a:pt x="190" y="354"/>
                      <a:pt x="190" y="355"/>
                      <a:pt x="190" y="355"/>
                    </a:cubicBezTo>
                    <a:moveTo>
                      <a:pt x="193" y="0"/>
                    </a:moveTo>
                    <a:cubicBezTo>
                      <a:pt x="192" y="1"/>
                      <a:pt x="192" y="1"/>
                      <a:pt x="192" y="1"/>
                    </a:cubicBezTo>
                    <a:cubicBezTo>
                      <a:pt x="191" y="1"/>
                      <a:pt x="191" y="1"/>
                      <a:pt x="191" y="1"/>
                    </a:cubicBezTo>
                    <a:cubicBezTo>
                      <a:pt x="191" y="1"/>
                      <a:pt x="190" y="1"/>
                      <a:pt x="190" y="2"/>
                    </a:cubicBezTo>
                    <a:cubicBezTo>
                      <a:pt x="188" y="2"/>
                      <a:pt x="187" y="3"/>
                      <a:pt x="186" y="3"/>
                    </a:cubicBezTo>
                    <a:cubicBezTo>
                      <a:pt x="186" y="4"/>
                      <a:pt x="186" y="4"/>
                      <a:pt x="186" y="4"/>
                    </a:cubicBezTo>
                    <a:cubicBezTo>
                      <a:pt x="185" y="4"/>
                      <a:pt x="184" y="5"/>
                      <a:pt x="183" y="5"/>
                    </a:cubicBezTo>
                    <a:cubicBezTo>
                      <a:pt x="182" y="5"/>
                      <a:pt x="182" y="5"/>
                      <a:pt x="182" y="5"/>
                    </a:cubicBezTo>
                    <a:cubicBezTo>
                      <a:pt x="182" y="5"/>
                      <a:pt x="181" y="6"/>
                      <a:pt x="181" y="6"/>
                    </a:cubicBezTo>
                    <a:cubicBezTo>
                      <a:pt x="180" y="7"/>
                      <a:pt x="179" y="9"/>
                      <a:pt x="178" y="10"/>
                    </a:cubicBezTo>
                    <a:cubicBezTo>
                      <a:pt x="178" y="11"/>
                      <a:pt x="178" y="11"/>
                      <a:pt x="178" y="11"/>
                    </a:cubicBezTo>
                    <a:cubicBezTo>
                      <a:pt x="178" y="11"/>
                      <a:pt x="178" y="12"/>
                      <a:pt x="178" y="12"/>
                    </a:cubicBezTo>
                    <a:cubicBezTo>
                      <a:pt x="176" y="17"/>
                      <a:pt x="174" y="17"/>
                      <a:pt x="171" y="18"/>
                    </a:cubicBezTo>
                    <a:cubicBezTo>
                      <a:pt x="169" y="18"/>
                      <a:pt x="169" y="18"/>
                      <a:pt x="169" y="18"/>
                    </a:cubicBezTo>
                    <a:cubicBezTo>
                      <a:pt x="168" y="18"/>
                      <a:pt x="166" y="18"/>
                      <a:pt x="166" y="19"/>
                    </a:cubicBezTo>
                    <a:cubicBezTo>
                      <a:pt x="166" y="19"/>
                      <a:pt x="166" y="19"/>
                      <a:pt x="166" y="19"/>
                    </a:cubicBezTo>
                    <a:cubicBezTo>
                      <a:pt x="165" y="20"/>
                      <a:pt x="165" y="21"/>
                      <a:pt x="165" y="21"/>
                    </a:cubicBezTo>
                    <a:cubicBezTo>
                      <a:pt x="164" y="22"/>
                      <a:pt x="164" y="22"/>
                      <a:pt x="164" y="22"/>
                    </a:cubicBezTo>
                    <a:cubicBezTo>
                      <a:pt x="163" y="23"/>
                      <a:pt x="162" y="23"/>
                      <a:pt x="162" y="23"/>
                    </a:cubicBezTo>
                    <a:cubicBezTo>
                      <a:pt x="144" y="23"/>
                      <a:pt x="144" y="23"/>
                      <a:pt x="144" y="23"/>
                    </a:cubicBezTo>
                    <a:cubicBezTo>
                      <a:pt x="143" y="23"/>
                      <a:pt x="143" y="23"/>
                      <a:pt x="142" y="23"/>
                    </a:cubicBezTo>
                    <a:cubicBezTo>
                      <a:pt x="141" y="23"/>
                      <a:pt x="140" y="23"/>
                      <a:pt x="139" y="23"/>
                    </a:cubicBezTo>
                    <a:cubicBezTo>
                      <a:pt x="138" y="23"/>
                      <a:pt x="138" y="23"/>
                      <a:pt x="137" y="23"/>
                    </a:cubicBezTo>
                    <a:cubicBezTo>
                      <a:pt x="110" y="23"/>
                      <a:pt x="110" y="23"/>
                      <a:pt x="110" y="23"/>
                    </a:cubicBezTo>
                    <a:cubicBezTo>
                      <a:pt x="110" y="21"/>
                      <a:pt x="110" y="21"/>
                      <a:pt x="110" y="21"/>
                    </a:cubicBezTo>
                    <a:cubicBezTo>
                      <a:pt x="110" y="21"/>
                      <a:pt x="110" y="21"/>
                      <a:pt x="110" y="21"/>
                    </a:cubicBezTo>
                    <a:cubicBezTo>
                      <a:pt x="109" y="22"/>
                      <a:pt x="109" y="22"/>
                      <a:pt x="109" y="22"/>
                    </a:cubicBezTo>
                    <a:cubicBezTo>
                      <a:pt x="0" y="23"/>
                      <a:pt x="0" y="23"/>
                      <a:pt x="0" y="23"/>
                    </a:cubicBezTo>
                    <a:cubicBezTo>
                      <a:pt x="0" y="303"/>
                      <a:pt x="0" y="303"/>
                      <a:pt x="0" y="303"/>
                    </a:cubicBezTo>
                    <a:cubicBezTo>
                      <a:pt x="15" y="316"/>
                      <a:pt x="15" y="316"/>
                      <a:pt x="15" y="316"/>
                    </a:cubicBezTo>
                    <a:cubicBezTo>
                      <a:pt x="16" y="314"/>
                      <a:pt x="16" y="314"/>
                      <a:pt x="16" y="314"/>
                    </a:cubicBezTo>
                    <a:cubicBezTo>
                      <a:pt x="15" y="317"/>
                      <a:pt x="15" y="317"/>
                      <a:pt x="15" y="317"/>
                    </a:cubicBezTo>
                    <a:cubicBezTo>
                      <a:pt x="16" y="317"/>
                      <a:pt x="16" y="317"/>
                      <a:pt x="16" y="317"/>
                    </a:cubicBezTo>
                    <a:cubicBezTo>
                      <a:pt x="16" y="317"/>
                      <a:pt x="16" y="317"/>
                      <a:pt x="16" y="317"/>
                    </a:cubicBezTo>
                    <a:cubicBezTo>
                      <a:pt x="19" y="315"/>
                      <a:pt x="19" y="315"/>
                      <a:pt x="19" y="315"/>
                    </a:cubicBezTo>
                    <a:cubicBezTo>
                      <a:pt x="17" y="318"/>
                      <a:pt x="17" y="318"/>
                      <a:pt x="17" y="318"/>
                    </a:cubicBezTo>
                    <a:cubicBezTo>
                      <a:pt x="17" y="319"/>
                      <a:pt x="17" y="319"/>
                      <a:pt x="17" y="319"/>
                    </a:cubicBezTo>
                    <a:cubicBezTo>
                      <a:pt x="18" y="320"/>
                      <a:pt x="18" y="321"/>
                      <a:pt x="17" y="322"/>
                    </a:cubicBezTo>
                    <a:cubicBezTo>
                      <a:pt x="17" y="322"/>
                      <a:pt x="17" y="322"/>
                      <a:pt x="17" y="323"/>
                    </a:cubicBezTo>
                    <a:cubicBezTo>
                      <a:pt x="16" y="324"/>
                      <a:pt x="16" y="324"/>
                      <a:pt x="16" y="324"/>
                    </a:cubicBezTo>
                    <a:cubicBezTo>
                      <a:pt x="16" y="324"/>
                      <a:pt x="16" y="325"/>
                      <a:pt x="16" y="325"/>
                    </a:cubicBezTo>
                    <a:cubicBezTo>
                      <a:pt x="17" y="326"/>
                      <a:pt x="17" y="326"/>
                      <a:pt x="17" y="326"/>
                    </a:cubicBezTo>
                    <a:cubicBezTo>
                      <a:pt x="17" y="326"/>
                      <a:pt x="17" y="326"/>
                      <a:pt x="17" y="326"/>
                    </a:cubicBezTo>
                    <a:cubicBezTo>
                      <a:pt x="17" y="327"/>
                      <a:pt x="17" y="327"/>
                      <a:pt x="17" y="327"/>
                    </a:cubicBezTo>
                    <a:cubicBezTo>
                      <a:pt x="18" y="328"/>
                      <a:pt x="18" y="328"/>
                      <a:pt x="18" y="328"/>
                    </a:cubicBezTo>
                    <a:cubicBezTo>
                      <a:pt x="18" y="328"/>
                      <a:pt x="18" y="328"/>
                      <a:pt x="18" y="328"/>
                    </a:cubicBezTo>
                    <a:cubicBezTo>
                      <a:pt x="19" y="329"/>
                      <a:pt x="20" y="329"/>
                      <a:pt x="21" y="330"/>
                    </a:cubicBezTo>
                    <a:cubicBezTo>
                      <a:pt x="22" y="330"/>
                      <a:pt x="22" y="330"/>
                      <a:pt x="22" y="330"/>
                    </a:cubicBezTo>
                    <a:cubicBezTo>
                      <a:pt x="23" y="331"/>
                      <a:pt x="25" y="332"/>
                      <a:pt x="27" y="333"/>
                    </a:cubicBezTo>
                    <a:cubicBezTo>
                      <a:pt x="30" y="334"/>
                      <a:pt x="33" y="336"/>
                      <a:pt x="34" y="339"/>
                    </a:cubicBezTo>
                    <a:cubicBezTo>
                      <a:pt x="35" y="340"/>
                      <a:pt x="35" y="341"/>
                      <a:pt x="35" y="342"/>
                    </a:cubicBezTo>
                    <a:cubicBezTo>
                      <a:pt x="34" y="342"/>
                      <a:pt x="34" y="342"/>
                      <a:pt x="34" y="342"/>
                    </a:cubicBezTo>
                    <a:cubicBezTo>
                      <a:pt x="34" y="342"/>
                      <a:pt x="34" y="342"/>
                      <a:pt x="34" y="342"/>
                    </a:cubicBezTo>
                    <a:cubicBezTo>
                      <a:pt x="35" y="342"/>
                      <a:pt x="35" y="342"/>
                      <a:pt x="35" y="342"/>
                    </a:cubicBezTo>
                    <a:cubicBezTo>
                      <a:pt x="35" y="343"/>
                      <a:pt x="35" y="343"/>
                      <a:pt x="35" y="343"/>
                    </a:cubicBezTo>
                    <a:cubicBezTo>
                      <a:pt x="35" y="344"/>
                      <a:pt x="36" y="346"/>
                      <a:pt x="37" y="348"/>
                    </a:cubicBezTo>
                    <a:cubicBezTo>
                      <a:pt x="38" y="349"/>
                      <a:pt x="38" y="349"/>
                      <a:pt x="38" y="349"/>
                    </a:cubicBezTo>
                    <a:cubicBezTo>
                      <a:pt x="41" y="351"/>
                      <a:pt x="43" y="354"/>
                      <a:pt x="44" y="356"/>
                    </a:cubicBezTo>
                    <a:cubicBezTo>
                      <a:pt x="45" y="358"/>
                      <a:pt x="48" y="360"/>
                      <a:pt x="51" y="361"/>
                    </a:cubicBezTo>
                    <a:cubicBezTo>
                      <a:pt x="52" y="362"/>
                      <a:pt x="52" y="362"/>
                      <a:pt x="53" y="362"/>
                    </a:cubicBezTo>
                    <a:cubicBezTo>
                      <a:pt x="53" y="362"/>
                      <a:pt x="54" y="362"/>
                      <a:pt x="54" y="362"/>
                    </a:cubicBezTo>
                    <a:cubicBezTo>
                      <a:pt x="54" y="362"/>
                      <a:pt x="54" y="362"/>
                      <a:pt x="54" y="362"/>
                    </a:cubicBezTo>
                    <a:cubicBezTo>
                      <a:pt x="54" y="362"/>
                      <a:pt x="55" y="361"/>
                      <a:pt x="57" y="360"/>
                    </a:cubicBezTo>
                    <a:cubicBezTo>
                      <a:pt x="58" y="360"/>
                      <a:pt x="58" y="360"/>
                      <a:pt x="59" y="360"/>
                    </a:cubicBezTo>
                    <a:cubicBezTo>
                      <a:pt x="61" y="360"/>
                      <a:pt x="63" y="360"/>
                      <a:pt x="65" y="361"/>
                    </a:cubicBezTo>
                    <a:cubicBezTo>
                      <a:pt x="66" y="361"/>
                      <a:pt x="68" y="362"/>
                      <a:pt x="69" y="362"/>
                    </a:cubicBezTo>
                    <a:cubicBezTo>
                      <a:pt x="69" y="362"/>
                      <a:pt x="70" y="361"/>
                      <a:pt x="70" y="361"/>
                    </a:cubicBezTo>
                    <a:cubicBezTo>
                      <a:pt x="70" y="361"/>
                      <a:pt x="70" y="361"/>
                      <a:pt x="70" y="361"/>
                    </a:cubicBezTo>
                    <a:cubicBezTo>
                      <a:pt x="70" y="361"/>
                      <a:pt x="70" y="361"/>
                      <a:pt x="70" y="361"/>
                    </a:cubicBezTo>
                    <a:cubicBezTo>
                      <a:pt x="70" y="361"/>
                      <a:pt x="70" y="360"/>
                      <a:pt x="71" y="359"/>
                    </a:cubicBezTo>
                    <a:cubicBezTo>
                      <a:pt x="73" y="358"/>
                      <a:pt x="76" y="358"/>
                      <a:pt x="79" y="358"/>
                    </a:cubicBezTo>
                    <a:cubicBezTo>
                      <a:pt x="79" y="358"/>
                      <a:pt x="80" y="358"/>
                      <a:pt x="81" y="358"/>
                    </a:cubicBezTo>
                    <a:cubicBezTo>
                      <a:pt x="83" y="357"/>
                      <a:pt x="83" y="357"/>
                      <a:pt x="83" y="357"/>
                    </a:cubicBezTo>
                    <a:cubicBezTo>
                      <a:pt x="83" y="360"/>
                      <a:pt x="83" y="360"/>
                      <a:pt x="83" y="360"/>
                    </a:cubicBezTo>
                    <a:cubicBezTo>
                      <a:pt x="83" y="361"/>
                      <a:pt x="83" y="361"/>
                      <a:pt x="83" y="361"/>
                    </a:cubicBezTo>
                    <a:cubicBezTo>
                      <a:pt x="83" y="362"/>
                      <a:pt x="83" y="363"/>
                      <a:pt x="84" y="363"/>
                    </a:cubicBezTo>
                    <a:cubicBezTo>
                      <a:pt x="86" y="366"/>
                      <a:pt x="86" y="366"/>
                      <a:pt x="86" y="366"/>
                    </a:cubicBezTo>
                    <a:cubicBezTo>
                      <a:pt x="88" y="367"/>
                      <a:pt x="89" y="368"/>
                      <a:pt x="90" y="369"/>
                    </a:cubicBezTo>
                    <a:cubicBezTo>
                      <a:pt x="91" y="369"/>
                      <a:pt x="91" y="369"/>
                      <a:pt x="92" y="370"/>
                    </a:cubicBezTo>
                    <a:cubicBezTo>
                      <a:pt x="93" y="370"/>
                      <a:pt x="93" y="370"/>
                      <a:pt x="93" y="370"/>
                    </a:cubicBezTo>
                    <a:cubicBezTo>
                      <a:pt x="93" y="370"/>
                      <a:pt x="96" y="371"/>
                      <a:pt x="97" y="373"/>
                    </a:cubicBezTo>
                    <a:cubicBezTo>
                      <a:pt x="97" y="374"/>
                      <a:pt x="97" y="374"/>
                      <a:pt x="97" y="375"/>
                    </a:cubicBezTo>
                    <a:cubicBezTo>
                      <a:pt x="97" y="376"/>
                      <a:pt x="97" y="376"/>
                      <a:pt x="97" y="376"/>
                    </a:cubicBezTo>
                    <a:cubicBezTo>
                      <a:pt x="98" y="377"/>
                      <a:pt x="98" y="377"/>
                      <a:pt x="98" y="377"/>
                    </a:cubicBezTo>
                    <a:cubicBezTo>
                      <a:pt x="99" y="377"/>
                      <a:pt x="99" y="377"/>
                      <a:pt x="100" y="377"/>
                    </a:cubicBezTo>
                    <a:cubicBezTo>
                      <a:pt x="100" y="377"/>
                      <a:pt x="101" y="376"/>
                      <a:pt x="101" y="376"/>
                    </a:cubicBezTo>
                    <a:cubicBezTo>
                      <a:pt x="102" y="375"/>
                      <a:pt x="102" y="375"/>
                      <a:pt x="102" y="375"/>
                    </a:cubicBezTo>
                    <a:cubicBezTo>
                      <a:pt x="103" y="375"/>
                      <a:pt x="103" y="375"/>
                      <a:pt x="103" y="375"/>
                    </a:cubicBezTo>
                    <a:cubicBezTo>
                      <a:pt x="103" y="374"/>
                      <a:pt x="103" y="374"/>
                      <a:pt x="103" y="374"/>
                    </a:cubicBezTo>
                    <a:cubicBezTo>
                      <a:pt x="104" y="373"/>
                      <a:pt x="105" y="373"/>
                      <a:pt x="106" y="373"/>
                    </a:cubicBezTo>
                    <a:cubicBezTo>
                      <a:pt x="107" y="373"/>
                      <a:pt x="108" y="373"/>
                      <a:pt x="108" y="373"/>
                    </a:cubicBezTo>
                    <a:cubicBezTo>
                      <a:pt x="109" y="373"/>
                      <a:pt x="109" y="373"/>
                      <a:pt x="110" y="374"/>
                    </a:cubicBezTo>
                    <a:cubicBezTo>
                      <a:pt x="111" y="374"/>
                      <a:pt x="111" y="374"/>
                      <a:pt x="112" y="374"/>
                    </a:cubicBezTo>
                    <a:cubicBezTo>
                      <a:pt x="112" y="374"/>
                      <a:pt x="113" y="374"/>
                      <a:pt x="113" y="374"/>
                    </a:cubicBezTo>
                    <a:cubicBezTo>
                      <a:pt x="113" y="374"/>
                      <a:pt x="113" y="374"/>
                      <a:pt x="114" y="374"/>
                    </a:cubicBezTo>
                    <a:cubicBezTo>
                      <a:pt x="119" y="371"/>
                      <a:pt x="119" y="371"/>
                      <a:pt x="119" y="371"/>
                    </a:cubicBezTo>
                    <a:cubicBezTo>
                      <a:pt x="120" y="373"/>
                      <a:pt x="120" y="373"/>
                      <a:pt x="120" y="373"/>
                    </a:cubicBezTo>
                    <a:cubicBezTo>
                      <a:pt x="123" y="376"/>
                      <a:pt x="123" y="376"/>
                      <a:pt x="123" y="376"/>
                    </a:cubicBezTo>
                    <a:cubicBezTo>
                      <a:pt x="123" y="376"/>
                      <a:pt x="123" y="376"/>
                      <a:pt x="123" y="376"/>
                    </a:cubicBezTo>
                    <a:cubicBezTo>
                      <a:pt x="123" y="376"/>
                      <a:pt x="124" y="376"/>
                      <a:pt x="125" y="376"/>
                    </a:cubicBezTo>
                    <a:cubicBezTo>
                      <a:pt x="125" y="377"/>
                      <a:pt x="125" y="377"/>
                      <a:pt x="125" y="377"/>
                    </a:cubicBezTo>
                    <a:cubicBezTo>
                      <a:pt x="125" y="377"/>
                      <a:pt x="125" y="377"/>
                      <a:pt x="125" y="377"/>
                    </a:cubicBezTo>
                    <a:cubicBezTo>
                      <a:pt x="126" y="376"/>
                      <a:pt x="127" y="375"/>
                      <a:pt x="128" y="374"/>
                    </a:cubicBezTo>
                    <a:cubicBezTo>
                      <a:pt x="129" y="373"/>
                      <a:pt x="131" y="372"/>
                      <a:pt x="133" y="372"/>
                    </a:cubicBezTo>
                    <a:cubicBezTo>
                      <a:pt x="134" y="372"/>
                      <a:pt x="138" y="370"/>
                      <a:pt x="141" y="370"/>
                    </a:cubicBezTo>
                    <a:cubicBezTo>
                      <a:pt x="141" y="370"/>
                      <a:pt x="142" y="370"/>
                      <a:pt x="143" y="371"/>
                    </a:cubicBezTo>
                    <a:cubicBezTo>
                      <a:pt x="144" y="371"/>
                      <a:pt x="144" y="371"/>
                      <a:pt x="145" y="372"/>
                    </a:cubicBezTo>
                    <a:cubicBezTo>
                      <a:pt x="146" y="372"/>
                      <a:pt x="147" y="372"/>
                      <a:pt x="148" y="372"/>
                    </a:cubicBezTo>
                    <a:cubicBezTo>
                      <a:pt x="149" y="373"/>
                      <a:pt x="149" y="373"/>
                      <a:pt x="150" y="373"/>
                    </a:cubicBezTo>
                    <a:cubicBezTo>
                      <a:pt x="151" y="373"/>
                      <a:pt x="151" y="372"/>
                      <a:pt x="152" y="371"/>
                    </a:cubicBezTo>
                    <a:cubicBezTo>
                      <a:pt x="158" y="365"/>
                      <a:pt x="158" y="365"/>
                      <a:pt x="158" y="365"/>
                    </a:cubicBezTo>
                    <a:cubicBezTo>
                      <a:pt x="158" y="364"/>
                      <a:pt x="158" y="364"/>
                      <a:pt x="158" y="364"/>
                    </a:cubicBezTo>
                    <a:cubicBezTo>
                      <a:pt x="159" y="364"/>
                      <a:pt x="159" y="364"/>
                      <a:pt x="159" y="364"/>
                    </a:cubicBezTo>
                    <a:cubicBezTo>
                      <a:pt x="162" y="361"/>
                      <a:pt x="162" y="361"/>
                      <a:pt x="162" y="361"/>
                    </a:cubicBezTo>
                    <a:cubicBezTo>
                      <a:pt x="162" y="361"/>
                      <a:pt x="163" y="360"/>
                      <a:pt x="163" y="360"/>
                    </a:cubicBezTo>
                    <a:cubicBezTo>
                      <a:pt x="164" y="360"/>
                      <a:pt x="164" y="360"/>
                      <a:pt x="164" y="360"/>
                    </a:cubicBezTo>
                    <a:cubicBezTo>
                      <a:pt x="164" y="359"/>
                      <a:pt x="164" y="359"/>
                      <a:pt x="164" y="359"/>
                    </a:cubicBezTo>
                    <a:cubicBezTo>
                      <a:pt x="165" y="358"/>
                      <a:pt x="166" y="356"/>
                      <a:pt x="169" y="356"/>
                    </a:cubicBezTo>
                    <a:cubicBezTo>
                      <a:pt x="190" y="356"/>
                      <a:pt x="190" y="356"/>
                      <a:pt x="190" y="356"/>
                    </a:cubicBezTo>
                    <a:cubicBezTo>
                      <a:pt x="191" y="357"/>
                      <a:pt x="191" y="357"/>
                      <a:pt x="191" y="357"/>
                    </a:cubicBezTo>
                    <a:cubicBezTo>
                      <a:pt x="191" y="357"/>
                      <a:pt x="191" y="357"/>
                      <a:pt x="191" y="357"/>
                    </a:cubicBezTo>
                    <a:cubicBezTo>
                      <a:pt x="191" y="357"/>
                      <a:pt x="191" y="357"/>
                      <a:pt x="191" y="357"/>
                    </a:cubicBezTo>
                    <a:cubicBezTo>
                      <a:pt x="190" y="356"/>
                      <a:pt x="190" y="356"/>
                      <a:pt x="190" y="355"/>
                    </a:cubicBezTo>
                    <a:cubicBezTo>
                      <a:pt x="190" y="355"/>
                      <a:pt x="190" y="356"/>
                      <a:pt x="190" y="356"/>
                    </a:cubicBezTo>
                    <a:cubicBezTo>
                      <a:pt x="192" y="356"/>
                      <a:pt x="192" y="356"/>
                      <a:pt x="192" y="356"/>
                    </a:cubicBezTo>
                    <a:cubicBezTo>
                      <a:pt x="192" y="354"/>
                      <a:pt x="192" y="354"/>
                      <a:pt x="192" y="354"/>
                    </a:cubicBezTo>
                    <a:cubicBezTo>
                      <a:pt x="192" y="353"/>
                      <a:pt x="192" y="352"/>
                      <a:pt x="192" y="351"/>
                    </a:cubicBezTo>
                    <a:cubicBezTo>
                      <a:pt x="192" y="351"/>
                      <a:pt x="192" y="351"/>
                      <a:pt x="192" y="351"/>
                    </a:cubicBezTo>
                    <a:cubicBezTo>
                      <a:pt x="192" y="350"/>
                      <a:pt x="192" y="350"/>
                      <a:pt x="192" y="349"/>
                    </a:cubicBezTo>
                    <a:cubicBezTo>
                      <a:pt x="192" y="349"/>
                      <a:pt x="192" y="349"/>
                      <a:pt x="192" y="349"/>
                    </a:cubicBezTo>
                    <a:cubicBezTo>
                      <a:pt x="192" y="348"/>
                      <a:pt x="193" y="347"/>
                      <a:pt x="193" y="347"/>
                    </a:cubicBezTo>
                    <a:cubicBezTo>
                      <a:pt x="192" y="347"/>
                      <a:pt x="192" y="347"/>
                      <a:pt x="192" y="347"/>
                    </a:cubicBezTo>
                    <a:cubicBezTo>
                      <a:pt x="192" y="346"/>
                      <a:pt x="192" y="346"/>
                      <a:pt x="191" y="346"/>
                    </a:cubicBezTo>
                    <a:cubicBezTo>
                      <a:pt x="191" y="346"/>
                      <a:pt x="191" y="346"/>
                      <a:pt x="191" y="346"/>
                    </a:cubicBezTo>
                    <a:cubicBezTo>
                      <a:pt x="190" y="346"/>
                      <a:pt x="190" y="346"/>
                      <a:pt x="190" y="346"/>
                    </a:cubicBezTo>
                    <a:cubicBezTo>
                      <a:pt x="188" y="346"/>
                      <a:pt x="187" y="345"/>
                      <a:pt x="185" y="344"/>
                    </a:cubicBezTo>
                    <a:cubicBezTo>
                      <a:pt x="185" y="344"/>
                      <a:pt x="184" y="344"/>
                      <a:pt x="184" y="344"/>
                    </a:cubicBezTo>
                    <a:cubicBezTo>
                      <a:pt x="184" y="344"/>
                      <a:pt x="183" y="343"/>
                      <a:pt x="183" y="343"/>
                    </a:cubicBezTo>
                    <a:cubicBezTo>
                      <a:pt x="182" y="342"/>
                      <a:pt x="182" y="342"/>
                      <a:pt x="181" y="341"/>
                    </a:cubicBezTo>
                    <a:cubicBezTo>
                      <a:pt x="181" y="340"/>
                      <a:pt x="181" y="340"/>
                      <a:pt x="181" y="340"/>
                    </a:cubicBezTo>
                    <a:cubicBezTo>
                      <a:pt x="180" y="339"/>
                      <a:pt x="179" y="338"/>
                      <a:pt x="179" y="337"/>
                    </a:cubicBezTo>
                    <a:cubicBezTo>
                      <a:pt x="179" y="337"/>
                      <a:pt x="175" y="326"/>
                      <a:pt x="173" y="322"/>
                    </a:cubicBezTo>
                    <a:cubicBezTo>
                      <a:pt x="172" y="321"/>
                      <a:pt x="172" y="321"/>
                      <a:pt x="172" y="321"/>
                    </a:cubicBezTo>
                    <a:cubicBezTo>
                      <a:pt x="170" y="319"/>
                      <a:pt x="170" y="319"/>
                      <a:pt x="170" y="319"/>
                    </a:cubicBezTo>
                    <a:cubicBezTo>
                      <a:pt x="169" y="318"/>
                      <a:pt x="169" y="317"/>
                      <a:pt x="168" y="316"/>
                    </a:cubicBezTo>
                    <a:cubicBezTo>
                      <a:pt x="167" y="316"/>
                      <a:pt x="167" y="316"/>
                      <a:pt x="166" y="316"/>
                    </a:cubicBezTo>
                    <a:cubicBezTo>
                      <a:pt x="164" y="315"/>
                      <a:pt x="162" y="313"/>
                      <a:pt x="160" y="311"/>
                    </a:cubicBezTo>
                    <a:cubicBezTo>
                      <a:pt x="160" y="310"/>
                      <a:pt x="160" y="310"/>
                      <a:pt x="160" y="310"/>
                    </a:cubicBezTo>
                    <a:cubicBezTo>
                      <a:pt x="159" y="310"/>
                      <a:pt x="159" y="309"/>
                      <a:pt x="159" y="309"/>
                    </a:cubicBezTo>
                    <a:cubicBezTo>
                      <a:pt x="158" y="308"/>
                      <a:pt x="158" y="308"/>
                      <a:pt x="157" y="307"/>
                    </a:cubicBezTo>
                    <a:cubicBezTo>
                      <a:pt x="157" y="307"/>
                      <a:pt x="157" y="307"/>
                      <a:pt x="157" y="307"/>
                    </a:cubicBezTo>
                    <a:cubicBezTo>
                      <a:pt x="156" y="305"/>
                      <a:pt x="155" y="303"/>
                      <a:pt x="154" y="303"/>
                    </a:cubicBezTo>
                    <a:cubicBezTo>
                      <a:pt x="153" y="303"/>
                      <a:pt x="153" y="303"/>
                      <a:pt x="153" y="303"/>
                    </a:cubicBezTo>
                    <a:cubicBezTo>
                      <a:pt x="153" y="302"/>
                      <a:pt x="152" y="302"/>
                      <a:pt x="152" y="302"/>
                    </a:cubicBezTo>
                    <a:cubicBezTo>
                      <a:pt x="151" y="302"/>
                      <a:pt x="151" y="302"/>
                      <a:pt x="151" y="302"/>
                    </a:cubicBezTo>
                    <a:cubicBezTo>
                      <a:pt x="150" y="301"/>
                      <a:pt x="150" y="301"/>
                      <a:pt x="150" y="301"/>
                    </a:cubicBezTo>
                    <a:cubicBezTo>
                      <a:pt x="148" y="300"/>
                      <a:pt x="146" y="299"/>
                      <a:pt x="144" y="299"/>
                    </a:cubicBezTo>
                    <a:cubicBezTo>
                      <a:pt x="143" y="298"/>
                      <a:pt x="143" y="298"/>
                      <a:pt x="143" y="298"/>
                    </a:cubicBezTo>
                    <a:cubicBezTo>
                      <a:pt x="142" y="298"/>
                      <a:pt x="141" y="298"/>
                      <a:pt x="140" y="297"/>
                    </a:cubicBezTo>
                    <a:cubicBezTo>
                      <a:pt x="138" y="296"/>
                      <a:pt x="138" y="296"/>
                      <a:pt x="138" y="296"/>
                    </a:cubicBezTo>
                    <a:cubicBezTo>
                      <a:pt x="139" y="294"/>
                      <a:pt x="139" y="294"/>
                      <a:pt x="139" y="294"/>
                    </a:cubicBezTo>
                    <a:cubicBezTo>
                      <a:pt x="140" y="293"/>
                      <a:pt x="140" y="292"/>
                      <a:pt x="141" y="291"/>
                    </a:cubicBezTo>
                    <a:cubicBezTo>
                      <a:pt x="142" y="288"/>
                      <a:pt x="143" y="284"/>
                      <a:pt x="147" y="283"/>
                    </a:cubicBezTo>
                    <a:cubicBezTo>
                      <a:pt x="147" y="283"/>
                      <a:pt x="147" y="283"/>
                      <a:pt x="147" y="283"/>
                    </a:cubicBezTo>
                    <a:cubicBezTo>
                      <a:pt x="148" y="283"/>
                      <a:pt x="149" y="283"/>
                      <a:pt x="149" y="283"/>
                    </a:cubicBezTo>
                    <a:cubicBezTo>
                      <a:pt x="150" y="283"/>
                      <a:pt x="150" y="283"/>
                      <a:pt x="150" y="283"/>
                    </a:cubicBezTo>
                    <a:cubicBezTo>
                      <a:pt x="150" y="283"/>
                      <a:pt x="150" y="283"/>
                      <a:pt x="150" y="283"/>
                    </a:cubicBezTo>
                    <a:cubicBezTo>
                      <a:pt x="150" y="283"/>
                      <a:pt x="150" y="283"/>
                      <a:pt x="150" y="283"/>
                    </a:cubicBezTo>
                    <a:cubicBezTo>
                      <a:pt x="151" y="283"/>
                      <a:pt x="152" y="283"/>
                      <a:pt x="154" y="283"/>
                    </a:cubicBezTo>
                    <a:cubicBezTo>
                      <a:pt x="154" y="283"/>
                      <a:pt x="156" y="284"/>
                      <a:pt x="157" y="284"/>
                    </a:cubicBezTo>
                    <a:cubicBezTo>
                      <a:pt x="158" y="284"/>
                      <a:pt x="159" y="284"/>
                      <a:pt x="159" y="283"/>
                    </a:cubicBezTo>
                    <a:cubicBezTo>
                      <a:pt x="159" y="283"/>
                      <a:pt x="159" y="283"/>
                      <a:pt x="159" y="283"/>
                    </a:cubicBezTo>
                    <a:cubicBezTo>
                      <a:pt x="162" y="281"/>
                      <a:pt x="161" y="273"/>
                      <a:pt x="160" y="269"/>
                    </a:cubicBezTo>
                    <a:cubicBezTo>
                      <a:pt x="160" y="269"/>
                      <a:pt x="160" y="269"/>
                      <a:pt x="160" y="269"/>
                    </a:cubicBezTo>
                    <a:cubicBezTo>
                      <a:pt x="160" y="266"/>
                      <a:pt x="161" y="263"/>
                      <a:pt x="161" y="261"/>
                    </a:cubicBezTo>
                    <a:cubicBezTo>
                      <a:pt x="162" y="260"/>
                      <a:pt x="162" y="259"/>
                      <a:pt x="162" y="259"/>
                    </a:cubicBezTo>
                    <a:cubicBezTo>
                      <a:pt x="162" y="258"/>
                      <a:pt x="162" y="258"/>
                      <a:pt x="162" y="258"/>
                    </a:cubicBezTo>
                    <a:cubicBezTo>
                      <a:pt x="163" y="256"/>
                      <a:pt x="163" y="255"/>
                      <a:pt x="164" y="254"/>
                    </a:cubicBezTo>
                    <a:cubicBezTo>
                      <a:pt x="164" y="252"/>
                      <a:pt x="164" y="252"/>
                      <a:pt x="164" y="252"/>
                    </a:cubicBezTo>
                    <a:cubicBezTo>
                      <a:pt x="164" y="252"/>
                      <a:pt x="164" y="251"/>
                      <a:pt x="165" y="251"/>
                    </a:cubicBezTo>
                    <a:cubicBezTo>
                      <a:pt x="165" y="250"/>
                      <a:pt x="165" y="249"/>
                      <a:pt x="164" y="248"/>
                    </a:cubicBezTo>
                    <a:cubicBezTo>
                      <a:pt x="164" y="247"/>
                      <a:pt x="164" y="245"/>
                      <a:pt x="164" y="243"/>
                    </a:cubicBezTo>
                    <a:cubicBezTo>
                      <a:pt x="164" y="243"/>
                      <a:pt x="165" y="243"/>
                      <a:pt x="165" y="242"/>
                    </a:cubicBezTo>
                    <a:cubicBezTo>
                      <a:pt x="166" y="241"/>
                      <a:pt x="166" y="240"/>
                      <a:pt x="167" y="239"/>
                    </a:cubicBezTo>
                    <a:cubicBezTo>
                      <a:pt x="168" y="238"/>
                      <a:pt x="168" y="238"/>
                      <a:pt x="169" y="237"/>
                    </a:cubicBezTo>
                    <a:cubicBezTo>
                      <a:pt x="170" y="237"/>
                      <a:pt x="170" y="237"/>
                      <a:pt x="170" y="237"/>
                    </a:cubicBezTo>
                    <a:cubicBezTo>
                      <a:pt x="170" y="237"/>
                      <a:pt x="170" y="237"/>
                      <a:pt x="170" y="237"/>
                    </a:cubicBezTo>
                    <a:cubicBezTo>
                      <a:pt x="170" y="237"/>
                      <a:pt x="171" y="237"/>
                      <a:pt x="171" y="237"/>
                    </a:cubicBezTo>
                    <a:cubicBezTo>
                      <a:pt x="171" y="237"/>
                      <a:pt x="171" y="237"/>
                      <a:pt x="171" y="237"/>
                    </a:cubicBezTo>
                    <a:cubicBezTo>
                      <a:pt x="171" y="237"/>
                      <a:pt x="171" y="237"/>
                      <a:pt x="171" y="237"/>
                    </a:cubicBezTo>
                    <a:cubicBezTo>
                      <a:pt x="172" y="237"/>
                      <a:pt x="172" y="237"/>
                      <a:pt x="173" y="237"/>
                    </a:cubicBezTo>
                    <a:cubicBezTo>
                      <a:pt x="173" y="237"/>
                      <a:pt x="173" y="237"/>
                      <a:pt x="173" y="237"/>
                    </a:cubicBezTo>
                    <a:cubicBezTo>
                      <a:pt x="173" y="237"/>
                      <a:pt x="173" y="237"/>
                      <a:pt x="173" y="237"/>
                    </a:cubicBezTo>
                    <a:cubicBezTo>
                      <a:pt x="174" y="238"/>
                      <a:pt x="174" y="238"/>
                      <a:pt x="174" y="238"/>
                    </a:cubicBezTo>
                    <a:cubicBezTo>
                      <a:pt x="174" y="238"/>
                      <a:pt x="175" y="238"/>
                      <a:pt x="175" y="238"/>
                    </a:cubicBezTo>
                    <a:cubicBezTo>
                      <a:pt x="175" y="238"/>
                      <a:pt x="175" y="238"/>
                      <a:pt x="175" y="238"/>
                    </a:cubicBezTo>
                    <a:cubicBezTo>
                      <a:pt x="176" y="238"/>
                      <a:pt x="176" y="238"/>
                      <a:pt x="176" y="238"/>
                    </a:cubicBezTo>
                    <a:cubicBezTo>
                      <a:pt x="176" y="238"/>
                      <a:pt x="176" y="238"/>
                      <a:pt x="176" y="238"/>
                    </a:cubicBezTo>
                    <a:cubicBezTo>
                      <a:pt x="176" y="238"/>
                      <a:pt x="176" y="238"/>
                      <a:pt x="176" y="238"/>
                    </a:cubicBezTo>
                    <a:cubicBezTo>
                      <a:pt x="177" y="237"/>
                      <a:pt x="177" y="237"/>
                      <a:pt x="177" y="237"/>
                    </a:cubicBezTo>
                    <a:cubicBezTo>
                      <a:pt x="176" y="237"/>
                      <a:pt x="176" y="237"/>
                      <a:pt x="176" y="237"/>
                    </a:cubicBezTo>
                    <a:cubicBezTo>
                      <a:pt x="176" y="236"/>
                      <a:pt x="176" y="235"/>
                      <a:pt x="177" y="234"/>
                    </a:cubicBezTo>
                    <a:cubicBezTo>
                      <a:pt x="177" y="234"/>
                      <a:pt x="177" y="234"/>
                      <a:pt x="177" y="234"/>
                    </a:cubicBezTo>
                    <a:cubicBezTo>
                      <a:pt x="177" y="233"/>
                      <a:pt x="177" y="233"/>
                      <a:pt x="177" y="233"/>
                    </a:cubicBezTo>
                    <a:cubicBezTo>
                      <a:pt x="177" y="232"/>
                      <a:pt x="177" y="231"/>
                      <a:pt x="177" y="231"/>
                    </a:cubicBezTo>
                    <a:cubicBezTo>
                      <a:pt x="177" y="230"/>
                      <a:pt x="177" y="230"/>
                      <a:pt x="177" y="230"/>
                    </a:cubicBezTo>
                    <a:cubicBezTo>
                      <a:pt x="178" y="230"/>
                      <a:pt x="178" y="229"/>
                      <a:pt x="178" y="229"/>
                    </a:cubicBezTo>
                    <a:cubicBezTo>
                      <a:pt x="178" y="227"/>
                      <a:pt x="178" y="226"/>
                      <a:pt x="179" y="224"/>
                    </a:cubicBezTo>
                    <a:cubicBezTo>
                      <a:pt x="179" y="223"/>
                      <a:pt x="179" y="223"/>
                      <a:pt x="179" y="223"/>
                    </a:cubicBezTo>
                    <a:cubicBezTo>
                      <a:pt x="180" y="220"/>
                      <a:pt x="180" y="218"/>
                      <a:pt x="183" y="216"/>
                    </a:cubicBezTo>
                    <a:cubicBezTo>
                      <a:pt x="184" y="215"/>
                      <a:pt x="185" y="214"/>
                      <a:pt x="185" y="212"/>
                    </a:cubicBezTo>
                    <a:cubicBezTo>
                      <a:pt x="186" y="211"/>
                      <a:pt x="187" y="209"/>
                      <a:pt x="188" y="207"/>
                    </a:cubicBezTo>
                    <a:cubicBezTo>
                      <a:pt x="189" y="207"/>
                      <a:pt x="189" y="207"/>
                      <a:pt x="189" y="207"/>
                    </a:cubicBezTo>
                    <a:cubicBezTo>
                      <a:pt x="189" y="206"/>
                      <a:pt x="190" y="205"/>
                      <a:pt x="190" y="204"/>
                    </a:cubicBezTo>
                    <a:cubicBezTo>
                      <a:pt x="191" y="202"/>
                      <a:pt x="192" y="202"/>
                      <a:pt x="194" y="201"/>
                    </a:cubicBezTo>
                    <a:cubicBezTo>
                      <a:pt x="195" y="201"/>
                      <a:pt x="195" y="201"/>
                      <a:pt x="195" y="201"/>
                    </a:cubicBezTo>
                    <a:cubicBezTo>
                      <a:pt x="195" y="201"/>
                      <a:pt x="195" y="201"/>
                      <a:pt x="195" y="201"/>
                    </a:cubicBezTo>
                    <a:cubicBezTo>
                      <a:pt x="196" y="201"/>
                      <a:pt x="196" y="201"/>
                      <a:pt x="197" y="201"/>
                    </a:cubicBezTo>
                    <a:cubicBezTo>
                      <a:pt x="198" y="202"/>
                      <a:pt x="198" y="202"/>
                      <a:pt x="199" y="202"/>
                    </a:cubicBezTo>
                    <a:cubicBezTo>
                      <a:pt x="200" y="202"/>
                      <a:pt x="200" y="202"/>
                      <a:pt x="200" y="202"/>
                    </a:cubicBezTo>
                    <a:cubicBezTo>
                      <a:pt x="200" y="201"/>
                      <a:pt x="200" y="201"/>
                      <a:pt x="200" y="198"/>
                    </a:cubicBezTo>
                    <a:cubicBezTo>
                      <a:pt x="201" y="197"/>
                      <a:pt x="201" y="197"/>
                      <a:pt x="201" y="197"/>
                    </a:cubicBezTo>
                    <a:cubicBezTo>
                      <a:pt x="202" y="193"/>
                      <a:pt x="202" y="193"/>
                      <a:pt x="202" y="193"/>
                    </a:cubicBezTo>
                    <a:cubicBezTo>
                      <a:pt x="203" y="189"/>
                      <a:pt x="204" y="185"/>
                      <a:pt x="205" y="182"/>
                    </a:cubicBezTo>
                    <a:cubicBezTo>
                      <a:pt x="205" y="181"/>
                      <a:pt x="205" y="181"/>
                      <a:pt x="205" y="181"/>
                    </a:cubicBezTo>
                    <a:cubicBezTo>
                      <a:pt x="205" y="179"/>
                      <a:pt x="206" y="177"/>
                      <a:pt x="206" y="175"/>
                    </a:cubicBezTo>
                    <a:cubicBezTo>
                      <a:pt x="206" y="174"/>
                      <a:pt x="206" y="174"/>
                      <a:pt x="206" y="174"/>
                    </a:cubicBezTo>
                    <a:cubicBezTo>
                      <a:pt x="205" y="170"/>
                      <a:pt x="205" y="165"/>
                      <a:pt x="205" y="165"/>
                    </a:cubicBezTo>
                    <a:cubicBezTo>
                      <a:pt x="205" y="164"/>
                      <a:pt x="205" y="164"/>
                      <a:pt x="205" y="163"/>
                    </a:cubicBezTo>
                    <a:cubicBezTo>
                      <a:pt x="205" y="161"/>
                      <a:pt x="204" y="158"/>
                      <a:pt x="205" y="156"/>
                    </a:cubicBezTo>
                    <a:cubicBezTo>
                      <a:pt x="206" y="151"/>
                      <a:pt x="208" y="146"/>
                      <a:pt x="210" y="142"/>
                    </a:cubicBezTo>
                    <a:cubicBezTo>
                      <a:pt x="210" y="141"/>
                      <a:pt x="210" y="141"/>
                      <a:pt x="210" y="141"/>
                    </a:cubicBezTo>
                    <a:cubicBezTo>
                      <a:pt x="211" y="139"/>
                      <a:pt x="212" y="137"/>
                      <a:pt x="212" y="136"/>
                    </a:cubicBezTo>
                    <a:cubicBezTo>
                      <a:pt x="214" y="130"/>
                      <a:pt x="215" y="126"/>
                      <a:pt x="215" y="120"/>
                    </a:cubicBezTo>
                    <a:cubicBezTo>
                      <a:pt x="215" y="116"/>
                      <a:pt x="215" y="116"/>
                      <a:pt x="215" y="116"/>
                    </a:cubicBezTo>
                    <a:cubicBezTo>
                      <a:pt x="218" y="116"/>
                      <a:pt x="218" y="116"/>
                      <a:pt x="218" y="116"/>
                    </a:cubicBezTo>
                    <a:cubicBezTo>
                      <a:pt x="218" y="116"/>
                      <a:pt x="219" y="116"/>
                      <a:pt x="220" y="116"/>
                    </a:cubicBezTo>
                    <a:cubicBezTo>
                      <a:pt x="221" y="117"/>
                      <a:pt x="222" y="117"/>
                      <a:pt x="223" y="117"/>
                    </a:cubicBezTo>
                    <a:cubicBezTo>
                      <a:pt x="224" y="117"/>
                      <a:pt x="224" y="117"/>
                      <a:pt x="225" y="116"/>
                    </a:cubicBezTo>
                    <a:cubicBezTo>
                      <a:pt x="225" y="116"/>
                      <a:pt x="225" y="116"/>
                      <a:pt x="225" y="116"/>
                    </a:cubicBezTo>
                    <a:cubicBezTo>
                      <a:pt x="226" y="115"/>
                      <a:pt x="226" y="115"/>
                      <a:pt x="226" y="115"/>
                    </a:cubicBezTo>
                    <a:cubicBezTo>
                      <a:pt x="226" y="115"/>
                      <a:pt x="226" y="114"/>
                      <a:pt x="227" y="114"/>
                    </a:cubicBezTo>
                    <a:cubicBezTo>
                      <a:pt x="228" y="112"/>
                      <a:pt x="230" y="111"/>
                      <a:pt x="231" y="110"/>
                    </a:cubicBezTo>
                    <a:cubicBezTo>
                      <a:pt x="232" y="110"/>
                      <a:pt x="232" y="110"/>
                      <a:pt x="232" y="110"/>
                    </a:cubicBezTo>
                    <a:cubicBezTo>
                      <a:pt x="232" y="110"/>
                      <a:pt x="233" y="109"/>
                      <a:pt x="233" y="109"/>
                    </a:cubicBezTo>
                    <a:cubicBezTo>
                      <a:pt x="234" y="108"/>
                      <a:pt x="234" y="108"/>
                      <a:pt x="234" y="108"/>
                    </a:cubicBezTo>
                    <a:cubicBezTo>
                      <a:pt x="235" y="108"/>
                      <a:pt x="235" y="108"/>
                      <a:pt x="236" y="108"/>
                    </a:cubicBezTo>
                    <a:cubicBezTo>
                      <a:pt x="237" y="107"/>
                      <a:pt x="238" y="107"/>
                      <a:pt x="239" y="107"/>
                    </a:cubicBezTo>
                    <a:cubicBezTo>
                      <a:pt x="240" y="107"/>
                      <a:pt x="240" y="107"/>
                      <a:pt x="240" y="107"/>
                    </a:cubicBezTo>
                    <a:cubicBezTo>
                      <a:pt x="238" y="103"/>
                      <a:pt x="238" y="103"/>
                      <a:pt x="238" y="103"/>
                    </a:cubicBezTo>
                    <a:cubicBezTo>
                      <a:pt x="241" y="106"/>
                      <a:pt x="241" y="106"/>
                      <a:pt x="241" y="106"/>
                    </a:cubicBezTo>
                    <a:cubicBezTo>
                      <a:pt x="241" y="106"/>
                      <a:pt x="241" y="106"/>
                      <a:pt x="241" y="106"/>
                    </a:cubicBezTo>
                    <a:cubicBezTo>
                      <a:pt x="242" y="105"/>
                      <a:pt x="243" y="103"/>
                      <a:pt x="244" y="101"/>
                    </a:cubicBezTo>
                    <a:cubicBezTo>
                      <a:pt x="245" y="101"/>
                      <a:pt x="245" y="101"/>
                      <a:pt x="245" y="101"/>
                    </a:cubicBezTo>
                    <a:cubicBezTo>
                      <a:pt x="245" y="101"/>
                      <a:pt x="245" y="100"/>
                      <a:pt x="246" y="99"/>
                    </a:cubicBezTo>
                    <a:cubicBezTo>
                      <a:pt x="246" y="99"/>
                      <a:pt x="246" y="99"/>
                      <a:pt x="246" y="99"/>
                    </a:cubicBezTo>
                    <a:cubicBezTo>
                      <a:pt x="245" y="98"/>
                      <a:pt x="245" y="98"/>
                      <a:pt x="244" y="98"/>
                    </a:cubicBezTo>
                    <a:cubicBezTo>
                      <a:pt x="239" y="94"/>
                      <a:pt x="234" y="90"/>
                      <a:pt x="229" y="86"/>
                    </a:cubicBezTo>
                    <a:cubicBezTo>
                      <a:pt x="223" y="82"/>
                      <a:pt x="223" y="72"/>
                      <a:pt x="222" y="65"/>
                    </a:cubicBezTo>
                    <a:cubicBezTo>
                      <a:pt x="222" y="61"/>
                      <a:pt x="222" y="56"/>
                      <a:pt x="222" y="51"/>
                    </a:cubicBezTo>
                    <a:cubicBezTo>
                      <a:pt x="222" y="46"/>
                      <a:pt x="221" y="41"/>
                      <a:pt x="220" y="37"/>
                    </a:cubicBezTo>
                    <a:cubicBezTo>
                      <a:pt x="221" y="38"/>
                      <a:pt x="222" y="40"/>
                      <a:pt x="223" y="40"/>
                    </a:cubicBezTo>
                    <a:cubicBezTo>
                      <a:pt x="223" y="38"/>
                      <a:pt x="220" y="36"/>
                      <a:pt x="219" y="34"/>
                    </a:cubicBezTo>
                    <a:cubicBezTo>
                      <a:pt x="217" y="32"/>
                      <a:pt x="216" y="30"/>
                      <a:pt x="216" y="27"/>
                    </a:cubicBezTo>
                    <a:cubicBezTo>
                      <a:pt x="215" y="26"/>
                      <a:pt x="216" y="21"/>
                      <a:pt x="215" y="21"/>
                    </a:cubicBezTo>
                    <a:cubicBezTo>
                      <a:pt x="215" y="21"/>
                      <a:pt x="215" y="21"/>
                      <a:pt x="215" y="21"/>
                    </a:cubicBezTo>
                    <a:cubicBezTo>
                      <a:pt x="210" y="16"/>
                      <a:pt x="204" y="12"/>
                      <a:pt x="199" y="8"/>
                    </a:cubicBezTo>
                    <a:cubicBezTo>
                      <a:pt x="197" y="7"/>
                      <a:pt x="195" y="3"/>
                      <a:pt x="1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378"/>
              <p:cNvSpPr/>
              <p:nvPr/>
            </p:nvSpPr>
            <p:spPr bwMode="auto">
              <a:xfrm>
                <a:off x="4008" y="2647"/>
                <a:ext cx="652" cy="506"/>
              </a:xfrm>
              <a:custGeom>
                <a:gdLst>
                  <a:gd name="T0" fmla="*/ 88 w 276"/>
                  <a:gd name="T1" fmla="*/ 5 h 214"/>
                  <a:gd name="T2" fmla="*/ 85 w 276"/>
                  <a:gd name="T3" fmla="*/ 8 h 214"/>
                  <a:gd name="T4" fmla="*/ 82 w 276"/>
                  <a:gd name="T5" fmla="*/ 10 h 214"/>
                  <a:gd name="T6" fmla="*/ 81 w 276"/>
                  <a:gd name="T7" fmla="*/ 10 h 214"/>
                  <a:gd name="T8" fmla="*/ 78 w 276"/>
                  <a:gd name="T9" fmla="*/ 9 h 214"/>
                  <a:gd name="T10" fmla="*/ 72 w 276"/>
                  <a:gd name="T11" fmla="*/ 11 h 214"/>
                  <a:gd name="T12" fmla="*/ 65 w 276"/>
                  <a:gd name="T13" fmla="*/ 16 h 214"/>
                  <a:gd name="T14" fmla="*/ 56 w 276"/>
                  <a:gd name="T15" fmla="*/ 41 h 214"/>
                  <a:gd name="T16" fmla="*/ 52 w 276"/>
                  <a:gd name="T17" fmla="*/ 41 h 214"/>
                  <a:gd name="T18" fmla="*/ 48 w 276"/>
                  <a:gd name="T19" fmla="*/ 43 h 214"/>
                  <a:gd name="T20" fmla="*/ 38 w 276"/>
                  <a:gd name="T21" fmla="*/ 60 h 214"/>
                  <a:gd name="T22" fmla="*/ 36 w 276"/>
                  <a:gd name="T23" fmla="*/ 72 h 214"/>
                  <a:gd name="T24" fmla="*/ 32 w 276"/>
                  <a:gd name="T25" fmla="*/ 78 h 214"/>
                  <a:gd name="T26" fmla="*/ 26 w 276"/>
                  <a:gd name="T27" fmla="*/ 77 h 214"/>
                  <a:gd name="T28" fmla="*/ 24 w 276"/>
                  <a:gd name="T29" fmla="*/ 82 h 214"/>
                  <a:gd name="T30" fmla="*/ 21 w 276"/>
                  <a:gd name="T31" fmla="*/ 97 h 214"/>
                  <a:gd name="T32" fmla="*/ 16 w 276"/>
                  <a:gd name="T33" fmla="*/ 122 h 214"/>
                  <a:gd name="T34" fmla="*/ 3 w 276"/>
                  <a:gd name="T35" fmla="*/ 122 h 214"/>
                  <a:gd name="T36" fmla="*/ 1 w 276"/>
                  <a:gd name="T37" fmla="*/ 129 h 214"/>
                  <a:gd name="T38" fmla="*/ 16 w 276"/>
                  <a:gd name="T39" fmla="*/ 139 h 214"/>
                  <a:gd name="T40" fmla="*/ 26 w 276"/>
                  <a:gd name="T41" fmla="*/ 148 h 214"/>
                  <a:gd name="T42" fmla="*/ 39 w 276"/>
                  <a:gd name="T43" fmla="*/ 173 h 214"/>
                  <a:gd name="T44" fmla="*/ 46 w 276"/>
                  <a:gd name="T45" fmla="*/ 177 h 214"/>
                  <a:gd name="T46" fmla="*/ 52 w 276"/>
                  <a:gd name="T47" fmla="*/ 184 h 214"/>
                  <a:gd name="T48" fmla="*/ 53 w 276"/>
                  <a:gd name="T49" fmla="*/ 191 h 214"/>
                  <a:gd name="T50" fmla="*/ 71 w 276"/>
                  <a:gd name="T51" fmla="*/ 196 h 214"/>
                  <a:gd name="T52" fmla="*/ 75 w 276"/>
                  <a:gd name="T53" fmla="*/ 198 h 214"/>
                  <a:gd name="T54" fmla="*/ 91 w 276"/>
                  <a:gd name="T55" fmla="*/ 208 h 214"/>
                  <a:gd name="T56" fmla="*/ 119 w 276"/>
                  <a:gd name="T57" fmla="*/ 214 h 214"/>
                  <a:gd name="T58" fmla="*/ 144 w 276"/>
                  <a:gd name="T59" fmla="*/ 198 h 214"/>
                  <a:gd name="T60" fmla="*/ 148 w 276"/>
                  <a:gd name="T61" fmla="*/ 200 h 214"/>
                  <a:gd name="T62" fmla="*/ 155 w 276"/>
                  <a:gd name="T63" fmla="*/ 204 h 214"/>
                  <a:gd name="T64" fmla="*/ 165 w 276"/>
                  <a:gd name="T65" fmla="*/ 204 h 214"/>
                  <a:gd name="T66" fmla="*/ 179 w 276"/>
                  <a:gd name="T67" fmla="*/ 198 h 214"/>
                  <a:gd name="T68" fmla="*/ 209 w 276"/>
                  <a:gd name="T69" fmla="*/ 185 h 214"/>
                  <a:gd name="T70" fmla="*/ 218 w 276"/>
                  <a:gd name="T71" fmla="*/ 185 h 214"/>
                  <a:gd name="T72" fmla="*/ 223 w 276"/>
                  <a:gd name="T73" fmla="*/ 185 h 214"/>
                  <a:gd name="T74" fmla="*/ 232 w 276"/>
                  <a:gd name="T75" fmla="*/ 176 h 214"/>
                  <a:gd name="T76" fmla="*/ 270 w 276"/>
                  <a:gd name="T77" fmla="*/ 132 h 214"/>
                  <a:gd name="T78" fmla="*/ 217 w 276"/>
                  <a:gd name="T79" fmla="*/ 116 h 214"/>
                  <a:gd name="T80" fmla="*/ 200 w 276"/>
                  <a:gd name="T81" fmla="*/ 108 h 214"/>
                  <a:gd name="T82" fmla="*/ 187 w 276"/>
                  <a:gd name="T83" fmla="*/ 93 h 214"/>
                  <a:gd name="T84" fmla="*/ 181 w 276"/>
                  <a:gd name="T85" fmla="*/ 74 h 214"/>
                  <a:gd name="T86" fmla="*/ 167 w 276"/>
                  <a:gd name="T87" fmla="*/ 75 h 214"/>
                  <a:gd name="T88" fmla="*/ 161 w 276"/>
                  <a:gd name="T89" fmla="*/ 68 h 214"/>
                  <a:gd name="T90" fmla="*/ 161 w 276"/>
                  <a:gd name="T91" fmla="*/ 63 h 214"/>
                  <a:gd name="T92" fmla="*/ 165 w 276"/>
                  <a:gd name="T93" fmla="*/ 53 h 214"/>
                  <a:gd name="T94" fmla="*/ 158 w 276"/>
                  <a:gd name="T95" fmla="*/ 26 h 214"/>
                  <a:gd name="T96" fmla="*/ 138 w 276"/>
                  <a:gd name="T97" fmla="*/ 9 h 214"/>
                  <a:gd name="T98" fmla="*/ 133 w 276"/>
                  <a:gd name="T99" fmla="*/ 6 h 214"/>
                  <a:gd name="T100" fmla="*/ 131 w 276"/>
                  <a:gd name="T101" fmla="*/ 5 h 214"/>
                  <a:gd name="T102" fmla="*/ 121 w 276"/>
                  <a:gd name="T103" fmla="*/ 6 h 214"/>
                  <a:gd name="T104" fmla="*/ 117 w 276"/>
                  <a:gd name="T105" fmla="*/ 7 h 214"/>
                  <a:gd name="T106" fmla="*/ 113 w 276"/>
                  <a:gd name="T107" fmla="*/ 4 h 214"/>
                  <a:gd name="T108" fmla="*/ 106 w 276"/>
                  <a:gd name="T109" fmla="*/ 6 h 214"/>
                  <a:gd name="T110" fmla="*/ 97 w 276"/>
                  <a:gd name="T111" fmla="*/ 3 h 2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6" h="214">
                    <a:moveTo>
                      <a:pt x="90" y="0"/>
                    </a:moveTo>
                    <a:cubicBezTo>
                      <a:pt x="90" y="1"/>
                      <a:pt x="90" y="1"/>
                      <a:pt x="90" y="1"/>
                    </a:cubicBezTo>
                    <a:cubicBezTo>
                      <a:pt x="90" y="1"/>
                      <a:pt x="90" y="1"/>
                      <a:pt x="90" y="1"/>
                    </a:cubicBezTo>
                    <a:cubicBezTo>
                      <a:pt x="88" y="4"/>
                      <a:pt x="88" y="4"/>
                      <a:pt x="88" y="4"/>
                    </a:cubicBezTo>
                    <a:cubicBezTo>
                      <a:pt x="88" y="5"/>
                      <a:pt x="88" y="5"/>
                      <a:pt x="88" y="5"/>
                    </a:cubicBezTo>
                    <a:cubicBezTo>
                      <a:pt x="88" y="5"/>
                      <a:pt x="88" y="5"/>
                      <a:pt x="88" y="5"/>
                    </a:cubicBezTo>
                    <a:cubicBezTo>
                      <a:pt x="87" y="6"/>
                      <a:pt x="87" y="6"/>
                      <a:pt x="87" y="6"/>
                    </a:cubicBezTo>
                    <a:cubicBezTo>
                      <a:pt x="87" y="7"/>
                      <a:pt x="87" y="7"/>
                      <a:pt x="87" y="7"/>
                    </a:cubicBezTo>
                    <a:cubicBezTo>
                      <a:pt x="86" y="8"/>
                      <a:pt x="86" y="8"/>
                      <a:pt x="86" y="8"/>
                    </a:cubicBezTo>
                    <a:cubicBezTo>
                      <a:pt x="85" y="8"/>
                      <a:pt x="85" y="8"/>
                      <a:pt x="85" y="8"/>
                    </a:cubicBezTo>
                    <a:cubicBezTo>
                      <a:pt x="85" y="9"/>
                      <a:pt x="85" y="9"/>
                      <a:pt x="85" y="9"/>
                    </a:cubicBezTo>
                    <a:cubicBezTo>
                      <a:pt x="84" y="9"/>
                      <a:pt x="84" y="9"/>
                      <a:pt x="84" y="9"/>
                    </a:cubicBezTo>
                    <a:cubicBezTo>
                      <a:pt x="83" y="10"/>
                      <a:pt x="83" y="10"/>
                      <a:pt x="83" y="10"/>
                    </a:cubicBezTo>
                    <a:cubicBezTo>
                      <a:pt x="83" y="10"/>
                      <a:pt x="83" y="10"/>
                      <a:pt x="83" y="10"/>
                    </a:cubicBezTo>
                    <a:cubicBezTo>
                      <a:pt x="82" y="10"/>
                      <a:pt x="82" y="10"/>
                      <a:pt x="82" y="10"/>
                    </a:cubicBezTo>
                    <a:cubicBezTo>
                      <a:pt x="82" y="10"/>
                      <a:pt x="82" y="10"/>
                      <a:pt x="82" y="10"/>
                    </a:cubicBezTo>
                    <a:cubicBezTo>
                      <a:pt x="82" y="10"/>
                      <a:pt x="82" y="10"/>
                      <a:pt x="82" y="10"/>
                    </a:cubicBezTo>
                    <a:cubicBezTo>
                      <a:pt x="81" y="10"/>
                      <a:pt x="81" y="10"/>
                      <a:pt x="81" y="10"/>
                    </a:cubicBezTo>
                    <a:cubicBezTo>
                      <a:pt x="81" y="10"/>
                      <a:pt x="81" y="10"/>
                      <a:pt x="81" y="10"/>
                    </a:cubicBezTo>
                    <a:cubicBezTo>
                      <a:pt x="81" y="10"/>
                      <a:pt x="81" y="10"/>
                      <a:pt x="81" y="10"/>
                    </a:cubicBezTo>
                    <a:cubicBezTo>
                      <a:pt x="81" y="10"/>
                      <a:pt x="80" y="10"/>
                      <a:pt x="80" y="10"/>
                    </a:cubicBezTo>
                    <a:cubicBezTo>
                      <a:pt x="80" y="10"/>
                      <a:pt x="80" y="10"/>
                      <a:pt x="80" y="10"/>
                    </a:cubicBezTo>
                    <a:cubicBezTo>
                      <a:pt x="78" y="9"/>
                      <a:pt x="78" y="9"/>
                      <a:pt x="78" y="9"/>
                    </a:cubicBezTo>
                    <a:cubicBezTo>
                      <a:pt x="78" y="9"/>
                      <a:pt x="78" y="9"/>
                      <a:pt x="78" y="9"/>
                    </a:cubicBezTo>
                    <a:cubicBezTo>
                      <a:pt x="78" y="9"/>
                      <a:pt x="78" y="9"/>
                      <a:pt x="78" y="9"/>
                    </a:cubicBezTo>
                    <a:cubicBezTo>
                      <a:pt x="78" y="8"/>
                      <a:pt x="78" y="8"/>
                      <a:pt x="78" y="8"/>
                    </a:cubicBezTo>
                    <a:cubicBezTo>
                      <a:pt x="78" y="8"/>
                      <a:pt x="78" y="8"/>
                      <a:pt x="78" y="8"/>
                    </a:cubicBezTo>
                    <a:cubicBezTo>
                      <a:pt x="78" y="8"/>
                      <a:pt x="78" y="8"/>
                      <a:pt x="78" y="8"/>
                    </a:cubicBezTo>
                    <a:cubicBezTo>
                      <a:pt x="77" y="9"/>
                      <a:pt x="76" y="10"/>
                      <a:pt x="75" y="10"/>
                    </a:cubicBezTo>
                    <a:cubicBezTo>
                      <a:pt x="74" y="11"/>
                      <a:pt x="73" y="11"/>
                      <a:pt x="72" y="11"/>
                    </a:cubicBezTo>
                    <a:cubicBezTo>
                      <a:pt x="72" y="11"/>
                      <a:pt x="72" y="11"/>
                      <a:pt x="72" y="11"/>
                    </a:cubicBezTo>
                    <a:cubicBezTo>
                      <a:pt x="71" y="11"/>
                      <a:pt x="71" y="11"/>
                      <a:pt x="71" y="11"/>
                    </a:cubicBezTo>
                    <a:cubicBezTo>
                      <a:pt x="71" y="11"/>
                      <a:pt x="70" y="11"/>
                      <a:pt x="69" y="11"/>
                    </a:cubicBezTo>
                    <a:cubicBezTo>
                      <a:pt x="66" y="11"/>
                      <a:pt x="66" y="11"/>
                      <a:pt x="66" y="11"/>
                    </a:cubicBezTo>
                    <a:cubicBezTo>
                      <a:pt x="65" y="13"/>
                      <a:pt x="65" y="15"/>
                      <a:pt x="65" y="16"/>
                    </a:cubicBezTo>
                    <a:cubicBezTo>
                      <a:pt x="65" y="17"/>
                      <a:pt x="65" y="17"/>
                      <a:pt x="65" y="17"/>
                    </a:cubicBezTo>
                    <a:cubicBezTo>
                      <a:pt x="64" y="22"/>
                      <a:pt x="62" y="26"/>
                      <a:pt x="61" y="30"/>
                    </a:cubicBezTo>
                    <a:cubicBezTo>
                      <a:pt x="60" y="34"/>
                      <a:pt x="60" y="34"/>
                      <a:pt x="60" y="34"/>
                    </a:cubicBezTo>
                    <a:cubicBezTo>
                      <a:pt x="60" y="37"/>
                      <a:pt x="59" y="39"/>
                      <a:pt x="58" y="40"/>
                    </a:cubicBezTo>
                    <a:cubicBezTo>
                      <a:pt x="57" y="41"/>
                      <a:pt x="56" y="41"/>
                      <a:pt x="56" y="41"/>
                    </a:cubicBezTo>
                    <a:cubicBezTo>
                      <a:pt x="55" y="41"/>
                      <a:pt x="55" y="41"/>
                      <a:pt x="55" y="41"/>
                    </a:cubicBezTo>
                    <a:cubicBezTo>
                      <a:pt x="55" y="41"/>
                      <a:pt x="55" y="41"/>
                      <a:pt x="54" y="41"/>
                    </a:cubicBezTo>
                    <a:cubicBezTo>
                      <a:pt x="54" y="41"/>
                      <a:pt x="54" y="41"/>
                      <a:pt x="54" y="41"/>
                    </a:cubicBezTo>
                    <a:cubicBezTo>
                      <a:pt x="54" y="41"/>
                      <a:pt x="54" y="41"/>
                      <a:pt x="54" y="41"/>
                    </a:cubicBezTo>
                    <a:cubicBezTo>
                      <a:pt x="53" y="41"/>
                      <a:pt x="52" y="41"/>
                      <a:pt x="52" y="41"/>
                    </a:cubicBezTo>
                    <a:cubicBezTo>
                      <a:pt x="51" y="41"/>
                      <a:pt x="51" y="41"/>
                      <a:pt x="51" y="41"/>
                    </a:cubicBezTo>
                    <a:cubicBezTo>
                      <a:pt x="51" y="41"/>
                      <a:pt x="50" y="41"/>
                      <a:pt x="50" y="41"/>
                    </a:cubicBezTo>
                    <a:cubicBezTo>
                      <a:pt x="50" y="41"/>
                      <a:pt x="50" y="41"/>
                      <a:pt x="50" y="41"/>
                    </a:cubicBezTo>
                    <a:cubicBezTo>
                      <a:pt x="49" y="41"/>
                      <a:pt x="49" y="41"/>
                      <a:pt x="49" y="41"/>
                    </a:cubicBezTo>
                    <a:cubicBezTo>
                      <a:pt x="49" y="42"/>
                      <a:pt x="49" y="42"/>
                      <a:pt x="48" y="43"/>
                    </a:cubicBezTo>
                    <a:cubicBezTo>
                      <a:pt x="47" y="44"/>
                      <a:pt x="47" y="44"/>
                      <a:pt x="47" y="44"/>
                    </a:cubicBezTo>
                    <a:cubicBezTo>
                      <a:pt x="46" y="46"/>
                      <a:pt x="45" y="48"/>
                      <a:pt x="44" y="50"/>
                    </a:cubicBezTo>
                    <a:cubicBezTo>
                      <a:pt x="43" y="51"/>
                      <a:pt x="42" y="53"/>
                      <a:pt x="41" y="55"/>
                    </a:cubicBezTo>
                    <a:cubicBezTo>
                      <a:pt x="39" y="56"/>
                      <a:pt x="39" y="57"/>
                      <a:pt x="39" y="59"/>
                    </a:cubicBezTo>
                    <a:cubicBezTo>
                      <a:pt x="38" y="60"/>
                      <a:pt x="38" y="60"/>
                      <a:pt x="38" y="60"/>
                    </a:cubicBezTo>
                    <a:cubicBezTo>
                      <a:pt x="38" y="62"/>
                      <a:pt x="38" y="63"/>
                      <a:pt x="37" y="65"/>
                    </a:cubicBezTo>
                    <a:cubicBezTo>
                      <a:pt x="37" y="66"/>
                      <a:pt x="37" y="66"/>
                      <a:pt x="37" y="66"/>
                    </a:cubicBezTo>
                    <a:cubicBezTo>
                      <a:pt x="37" y="67"/>
                      <a:pt x="37" y="68"/>
                      <a:pt x="37" y="69"/>
                    </a:cubicBezTo>
                    <a:cubicBezTo>
                      <a:pt x="37" y="69"/>
                      <a:pt x="36" y="70"/>
                      <a:pt x="36" y="70"/>
                    </a:cubicBezTo>
                    <a:cubicBezTo>
                      <a:pt x="36" y="71"/>
                      <a:pt x="36" y="71"/>
                      <a:pt x="36" y="72"/>
                    </a:cubicBezTo>
                    <a:cubicBezTo>
                      <a:pt x="36" y="72"/>
                      <a:pt x="36" y="72"/>
                      <a:pt x="36" y="72"/>
                    </a:cubicBezTo>
                    <a:cubicBezTo>
                      <a:pt x="36" y="72"/>
                      <a:pt x="36" y="73"/>
                      <a:pt x="36" y="74"/>
                    </a:cubicBezTo>
                    <a:cubicBezTo>
                      <a:pt x="36" y="74"/>
                      <a:pt x="36" y="75"/>
                      <a:pt x="35" y="75"/>
                    </a:cubicBezTo>
                    <a:cubicBezTo>
                      <a:pt x="35" y="76"/>
                      <a:pt x="35" y="76"/>
                      <a:pt x="35" y="76"/>
                    </a:cubicBezTo>
                    <a:cubicBezTo>
                      <a:pt x="34" y="77"/>
                      <a:pt x="33" y="78"/>
                      <a:pt x="32" y="78"/>
                    </a:cubicBezTo>
                    <a:cubicBezTo>
                      <a:pt x="31" y="78"/>
                      <a:pt x="31" y="78"/>
                      <a:pt x="30" y="78"/>
                    </a:cubicBezTo>
                    <a:cubicBezTo>
                      <a:pt x="30" y="78"/>
                      <a:pt x="30" y="78"/>
                      <a:pt x="30" y="78"/>
                    </a:cubicBezTo>
                    <a:cubicBezTo>
                      <a:pt x="29" y="78"/>
                      <a:pt x="29" y="78"/>
                      <a:pt x="28" y="78"/>
                    </a:cubicBezTo>
                    <a:cubicBezTo>
                      <a:pt x="28" y="78"/>
                      <a:pt x="28" y="78"/>
                      <a:pt x="28" y="78"/>
                    </a:cubicBezTo>
                    <a:cubicBezTo>
                      <a:pt x="27" y="77"/>
                      <a:pt x="27" y="77"/>
                      <a:pt x="26" y="77"/>
                    </a:cubicBezTo>
                    <a:cubicBezTo>
                      <a:pt x="26" y="77"/>
                      <a:pt x="26" y="77"/>
                      <a:pt x="26" y="77"/>
                    </a:cubicBezTo>
                    <a:cubicBezTo>
                      <a:pt x="25" y="77"/>
                      <a:pt x="25" y="77"/>
                      <a:pt x="25" y="77"/>
                    </a:cubicBezTo>
                    <a:cubicBezTo>
                      <a:pt x="25" y="78"/>
                      <a:pt x="24" y="79"/>
                      <a:pt x="24" y="79"/>
                    </a:cubicBezTo>
                    <a:cubicBezTo>
                      <a:pt x="24" y="80"/>
                      <a:pt x="24" y="80"/>
                      <a:pt x="24" y="80"/>
                    </a:cubicBezTo>
                    <a:cubicBezTo>
                      <a:pt x="24" y="80"/>
                      <a:pt x="24" y="81"/>
                      <a:pt x="24" y="82"/>
                    </a:cubicBezTo>
                    <a:cubicBezTo>
                      <a:pt x="24" y="84"/>
                      <a:pt x="25" y="85"/>
                      <a:pt x="24" y="87"/>
                    </a:cubicBezTo>
                    <a:cubicBezTo>
                      <a:pt x="24" y="88"/>
                      <a:pt x="24" y="88"/>
                      <a:pt x="23" y="89"/>
                    </a:cubicBezTo>
                    <a:cubicBezTo>
                      <a:pt x="23" y="90"/>
                      <a:pt x="23" y="90"/>
                      <a:pt x="23" y="90"/>
                    </a:cubicBezTo>
                    <a:cubicBezTo>
                      <a:pt x="23" y="91"/>
                      <a:pt x="22" y="93"/>
                      <a:pt x="22" y="95"/>
                    </a:cubicBezTo>
                    <a:cubicBezTo>
                      <a:pt x="21" y="96"/>
                      <a:pt x="21" y="97"/>
                      <a:pt x="21" y="97"/>
                    </a:cubicBezTo>
                    <a:cubicBezTo>
                      <a:pt x="20" y="99"/>
                      <a:pt x="20" y="101"/>
                      <a:pt x="20" y="104"/>
                    </a:cubicBezTo>
                    <a:cubicBezTo>
                      <a:pt x="20" y="105"/>
                      <a:pt x="20" y="107"/>
                      <a:pt x="20" y="108"/>
                    </a:cubicBezTo>
                    <a:cubicBezTo>
                      <a:pt x="20" y="109"/>
                      <a:pt x="21" y="110"/>
                      <a:pt x="21" y="111"/>
                    </a:cubicBezTo>
                    <a:cubicBezTo>
                      <a:pt x="21" y="116"/>
                      <a:pt x="20" y="120"/>
                      <a:pt x="17" y="122"/>
                    </a:cubicBezTo>
                    <a:cubicBezTo>
                      <a:pt x="17" y="122"/>
                      <a:pt x="17" y="122"/>
                      <a:pt x="16" y="122"/>
                    </a:cubicBezTo>
                    <a:cubicBezTo>
                      <a:pt x="15" y="123"/>
                      <a:pt x="14" y="123"/>
                      <a:pt x="12" y="123"/>
                    </a:cubicBezTo>
                    <a:cubicBezTo>
                      <a:pt x="11" y="123"/>
                      <a:pt x="9" y="123"/>
                      <a:pt x="8" y="123"/>
                    </a:cubicBezTo>
                    <a:cubicBezTo>
                      <a:pt x="7" y="123"/>
                      <a:pt x="6" y="122"/>
                      <a:pt x="5" y="122"/>
                    </a:cubicBezTo>
                    <a:cubicBezTo>
                      <a:pt x="5" y="122"/>
                      <a:pt x="4" y="122"/>
                      <a:pt x="4" y="122"/>
                    </a:cubicBezTo>
                    <a:cubicBezTo>
                      <a:pt x="3" y="122"/>
                      <a:pt x="3" y="122"/>
                      <a:pt x="3" y="122"/>
                    </a:cubicBezTo>
                    <a:cubicBezTo>
                      <a:pt x="3" y="122"/>
                      <a:pt x="3" y="122"/>
                      <a:pt x="3" y="122"/>
                    </a:cubicBezTo>
                    <a:cubicBezTo>
                      <a:pt x="2" y="123"/>
                      <a:pt x="1" y="124"/>
                      <a:pt x="1" y="125"/>
                    </a:cubicBezTo>
                    <a:cubicBezTo>
                      <a:pt x="0" y="126"/>
                      <a:pt x="0" y="127"/>
                      <a:pt x="0" y="127"/>
                    </a:cubicBezTo>
                    <a:cubicBezTo>
                      <a:pt x="0" y="128"/>
                      <a:pt x="0" y="128"/>
                      <a:pt x="0" y="129"/>
                    </a:cubicBezTo>
                    <a:cubicBezTo>
                      <a:pt x="1" y="129"/>
                      <a:pt x="1" y="129"/>
                      <a:pt x="1" y="129"/>
                    </a:cubicBezTo>
                    <a:cubicBezTo>
                      <a:pt x="3" y="130"/>
                      <a:pt x="5" y="131"/>
                      <a:pt x="7" y="132"/>
                    </a:cubicBezTo>
                    <a:cubicBezTo>
                      <a:pt x="8" y="133"/>
                      <a:pt x="8" y="133"/>
                      <a:pt x="8" y="133"/>
                    </a:cubicBezTo>
                    <a:cubicBezTo>
                      <a:pt x="9" y="133"/>
                      <a:pt x="9" y="133"/>
                      <a:pt x="9" y="133"/>
                    </a:cubicBezTo>
                    <a:cubicBezTo>
                      <a:pt x="9" y="133"/>
                      <a:pt x="10" y="133"/>
                      <a:pt x="11" y="133"/>
                    </a:cubicBezTo>
                    <a:cubicBezTo>
                      <a:pt x="13" y="134"/>
                      <a:pt x="14" y="137"/>
                      <a:pt x="16" y="139"/>
                    </a:cubicBezTo>
                    <a:cubicBezTo>
                      <a:pt x="16" y="140"/>
                      <a:pt x="17" y="140"/>
                      <a:pt x="17" y="141"/>
                    </a:cubicBezTo>
                    <a:cubicBezTo>
                      <a:pt x="18" y="141"/>
                      <a:pt x="18" y="142"/>
                      <a:pt x="19" y="142"/>
                    </a:cubicBezTo>
                    <a:cubicBezTo>
                      <a:pt x="19" y="143"/>
                      <a:pt x="19" y="143"/>
                      <a:pt x="19" y="143"/>
                    </a:cubicBezTo>
                    <a:cubicBezTo>
                      <a:pt x="20" y="144"/>
                      <a:pt x="22" y="146"/>
                      <a:pt x="23" y="147"/>
                    </a:cubicBezTo>
                    <a:cubicBezTo>
                      <a:pt x="24" y="147"/>
                      <a:pt x="25" y="147"/>
                      <a:pt x="26" y="148"/>
                    </a:cubicBezTo>
                    <a:cubicBezTo>
                      <a:pt x="27" y="149"/>
                      <a:pt x="28" y="150"/>
                      <a:pt x="29" y="151"/>
                    </a:cubicBezTo>
                    <a:cubicBezTo>
                      <a:pt x="30" y="152"/>
                      <a:pt x="30" y="152"/>
                      <a:pt x="30" y="152"/>
                    </a:cubicBezTo>
                    <a:cubicBezTo>
                      <a:pt x="30" y="153"/>
                      <a:pt x="31" y="153"/>
                      <a:pt x="32" y="154"/>
                    </a:cubicBezTo>
                    <a:cubicBezTo>
                      <a:pt x="35" y="158"/>
                      <a:pt x="38" y="168"/>
                      <a:pt x="38" y="170"/>
                    </a:cubicBezTo>
                    <a:cubicBezTo>
                      <a:pt x="38" y="171"/>
                      <a:pt x="39" y="172"/>
                      <a:pt x="39" y="173"/>
                    </a:cubicBezTo>
                    <a:cubicBezTo>
                      <a:pt x="40" y="173"/>
                      <a:pt x="40" y="173"/>
                      <a:pt x="40" y="173"/>
                    </a:cubicBezTo>
                    <a:cubicBezTo>
                      <a:pt x="40" y="174"/>
                      <a:pt x="41" y="174"/>
                      <a:pt x="41" y="174"/>
                    </a:cubicBezTo>
                    <a:cubicBezTo>
                      <a:pt x="42" y="175"/>
                      <a:pt x="42" y="175"/>
                      <a:pt x="42" y="175"/>
                    </a:cubicBezTo>
                    <a:cubicBezTo>
                      <a:pt x="42" y="175"/>
                      <a:pt x="42" y="175"/>
                      <a:pt x="42" y="175"/>
                    </a:cubicBezTo>
                    <a:cubicBezTo>
                      <a:pt x="44" y="176"/>
                      <a:pt x="45" y="176"/>
                      <a:pt x="46" y="177"/>
                    </a:cubicBezTo>
                    <a:cubicBezTo>
                      <a:pt x="47" y="177"/>
                      <a:pt x="47" y="177"/>
                      <a:pt x="47" y="177"/>
                    </a:cubicBezTo>
                    <a:cubicBezTo>
                      <a:pt x="48" y="177"/>
                      <a:pt x="49" y="177"/>
                      <a:pt x="51" y="178"/>
                    </a:cubicBezTo>
                    <a:cubicBezTo>
                      <a:pt x="52" y="178"/>
                      <a:pt x="52" y="180"/>
                      <a:pt x="52" y="181"/>
                    </a:cubicBezTo>
                    <a:cubicBezTo>
                      <a:pt x="52" y="182"/>
                      <a:pt x="52" y="182"/>
                      <a:pt x="52" y="182"/>
                    </a:cubicBezTo>
                    <a:cubicBezTo>
                      <a:pt x="52" y="183"/>
                      <a:pt x="52" y="184"/>
                      <a:pt x="52" y="184"/>
                    </a:cubicBezTo>
                    <a:cubicBezTo>
                      <a:pt x="52" y="185"/>
                      <a:pt x="52" y="186"/>
                      <a:pt x="52" y="186"/>
                    </a:cubicBezTo>
                    <a:cubicBezTo>
                      <a:pt x="52" y="187"/>
                      <a:pt x="52" y="187"/>
                      <a:pt x="52" y="187"/>
                    </a:cubicBezTo>
                    <a:cubicBezTo>
                      <a:pt x="52" y="187"/>
                      <a:pt x="52" y="188"/>
                      <a:pt x="52" y="188"/>
                    </a:cubicBezTo>
                    <a:cubicBezTo>
                      <a:pt x="52" y="191"/>
                      <a:pt x="52" y="191"/>
                      <a:pt x="52" y="191"/>
                    </a:cubicBezTo>
                    <a:cubicBezTo>
                      <a:pt x="53" y="191"/>
                      <a:pt x="53" y="191"/>
                      <a:pt x="53" y="191"/>
                    </a:cubicBezTo>
                    <a:cubicBezTo>
                      <a:pt x="54" y="192"/>
                      <a:pt x="54" y="192"/>
                      <a:pt x="54" y="192"/>
                    </a:cubicBezTo>
                    <a:cubicBezTo>
                      <a:pt x="55" y="194"/>
                      <a:pt x="55" y="194"/>
                      <a:pt x="56" y="195"/>
                    </a:cubicBezTo>
                    <a:cubicBezTo>
                      <a:pt x="66" y="195"/>
                      <a:pt x="66" y="195"/>
                      <a:pt x="66" y="195"/>
                    </a:cubicBezTo>
                    <a:cubicBezTo>
                      <a:pt x="67" y="195"/>
                      <a:pt x="68" y="195"/>
                      <a:pt x="69" y="195"/>
                    </a:cubicBezTo>
                    <a:cubicBezTo>
                      <a:pt x="70" y="196"/>
                      <a:pt x="70" y="196"/>
                      <a:pt x="71" y="196"/>
                    </a:cubicBezTo>
                    <a:cubicBezTo>
                      <a:pt x="72" y="193"/>
                      <a:pt x="72" y="193"/>
                      <a:pt x="72" y="193"/>
                    </a:cubicBezTo>
                    <a:cubicBezTo>
                      <a:pt x="72" y="196"/>
                      <a:pt x="72" y="196"/>
                      <a:pt x="72" y="196"/>
                    </a:cubicBezTo>
                    <a:cubicBezTo>
                      <a:pt x="72" y="196"/>
                      <a:pt x="72" y="196"/>
                      <a:pt x="72" y="196"/>
                    </a:cubicBezTo>
                    <a:cubicBezTo>
                      <a:pt x="73" y="197"/>
                      <a:pt x="74" y="197"/>
                      <a:pt x="74" y="198"/>
                    </a:cubicBezTo>
                    <a:cubicBezTo>
                      <a:pt x="75" y="198"/>
                      <a:pt x="75" y="198"/>
                      <a:pt x="75" y="198"/>
                    </a:cubicBezTo>
                    <a:cubicBezTo>
                      <a:pt x="76" y="198"/>
                      <a:pt x="77" y="199"/>
                      <a:pt x="78" y="200"/>
                    </a:cubicBezTo>
                    <a:cubicBezTo>
                      <a:pt x="78" y="200"/>
                      <a:pt x="78" y="200"/>
                      <a:pt x="78" y="200"/>
                    </a:cubicBezTo>
                    <a:cubicBezTo>
                      <a:pt x="80" y="201"/>
                      <a:pt x="81" y="201"/>
                      <a:pt x="82" y="202"/>
                    </a:cubicBezTo>
                    <a:cubicBezTo>
                      <a:pt x="83" y="203"/>
                      <a:pt x="83" y="203"/>
                      <a:pt x="83" y="203"/>
                    </a:cubicBezTo>
                    <a:cubicBezTo>
                      <a:pt x="86" y="204"/>
                      <a:pt x="88" y="206"/>
                      <a:pt x="91" y="208"/>
                    </a:cubicBezTo>
                    <a:cubicBezTo>
                      <a:pt x="92" y="209"/>
                      <a:pt x="93" y="209"/>
                      <a:pt x="94" y="210"/>
                    </a:cubicBezTo>
                    <a:cubicBezTo>
                      <a:pt x="97" y="212"/>
                      <a:pt x="102" y="212"/>
                      <a:pt x="106" y="212"/>
                    </a:cubicBezTo>
                    <a:cubicBezTo>
                      <a:pt x="107" y="212"/>
                      <a:pt x="108" y="212"/>
                      <a:pt x="109" y="212"/>
                    </a:cubicBezTo>
                    <a:cubicBezTo>
                      <a:pt x="111" y="213"/>
                      <a:pt x="111" y="213"/>
                      <a:pt x="111" y="213"/>
                    </a:cubicBezTo>
                    <a:cubicBezTo>
                      <a:pt x="114" y="213"/>
                      <a:pt x="116" y="214"/>
                      <a:pt x="119" y="214"/>
                    </a:cubicBezTo>
                    <a:cubicBezTo>
                      <a:pt x="119" y="214"/>
                      <a:pt x="120" y="214"/>
                      <a:pt x="120" y="214"/>
                    </a:cubicBezTo>
                    <a:cubicBezTo>
                      <a:pt x="121" y="214"/>
                      <a:pt x="122" y="212"/>
                      <a:pt x="123" y="211"/>
                    </a:cubicBezTo>
                    <a:cubicBezTo>
                      <a:pt x="124" y="208"/>
                      <a:pt x="126" y="206"/>
                      <a:pt x="128" y="205"/>
                    </a:cubicBezTo>
                    <a:cubicBezTo>
                      <a:pt x="144" y="198"/>
                      <a:pt x="144" y="198"/>
                      <a:pt x="144" y="198"/>
                    </a:cubicBezTo>
                    <a:cubicBezTo>
                      <a:pt x="144" y="198"/>
                      <a:pt x="144" y="198"/>
                      <a:pt x="144" y="198"/>
                    </a:cubicBezTo>
                    <a:cubicBezTo>
                      <a:pt x="144" y="198"/>
                      <a:pt x="144" y="198"/>
                      <a:pt x="144" y="198"/>
                    </a:cubicBezTo>
                    <a:cubicBezTo>
                      <a:pt x="144" y="198"/>
                      <a:pt x="144" y="198"/>
                      <a:pt x="144" y="198"/>
                    </a:cubicBezTo>
                    <a:cubicBezTo>
                      <a:pt x="145" y="198"/>
                      <a:pt x="145" y="198"/>
                      <a:pt x="145" y="198"/>
                    </a:cubicBezTo>
                    <a:cubicBezTo>
                      <a:pt x="146" y="198"/>
                      <a:pt x="146" y="198"/>
                      <a:pt x="147" y="199"/>
                    </a:cubicBezTo>
                    <a:cubicBezTo>
                      <a:pt x="147" y="199"/>
                      <a:pt x="148" y="200"/>
                      <a:pt x="148" y="200"/>
                    </a:cubicBezTo>
                    <a:cubicBezTo>
                      <a:pt x="150" y="202"/>
                      <a:pt x="151" y="203"/>
                      <a:pt x="153" y="204"/>
                    </a:cubicBezTo>
                    <a:cubicBezTo>
                      <a:pt x="153" y="204"/>
                      <a:pt x="153" y="204"/>
                      <a:pt x="153" y="204"/>
                    </a:cubicBezTo>
                    <a:cubicBezTo>
                      <a:pt x="154" y="204"/>
                      <a:pt x="154" y="204"/>
                      <a:pt x="154" y="204"/>
                    </a:cubicBezTo>
                    <a:cubicBezTo>
                      <a:pt x="155" y="204"/>
                      <a:pt x="155" y="204"/>
                      <a:pt x="155" y="204"/>
                    </a:cubicBezTo>
                    <a:cubicBezTo>
                      <a:pt x="155" y="204"/>
                      <a:pt x="155" y="204"/>
                      <a:pt x="155" y="204"/>
                    </a:cubicBezTo>
                    <a:cubicBezTo>
                      <a:pt x="156" y="204"/>
                      <a:pt x="157" y="204"/>
                      <a:pt x="158" y="204"/>
                    </a:cubicBezTo>
                    <a:cubicBezTo>
                      <a:pt x="158" y="204"/>
                      <a:pt x="158" y="204"/>
                      <a:pt x="158" y="204"/>
                    </a:cubicBezTo>
                    <a:cubicBezTo>
                      <a:pt x="160" y="204"/>
                      <a:pt x="161" y="204"/>
                      <a:pt x="162" y="204"/>
                    </a:cubicBezTo>
                    <a:cubicBezTo>
                      <a:pt x="162" y="204"/>
                      <a:pt x="162" y="204"/>
                      <a:pt x="162" y="204"/>
                    </a:cubicBezTo>
                    <a:cubicBezTo>
                      <a:pt x="165" y="204"/>
                      <a:pt x="165" y="204"/>
                      <a:pt x="165" y="204"/>
                    </a:cubicBezTo>
                    <a:cubicBezTo>
                      <a:pt x="165" y="203"/>
                      <a:pt x="166" y="203"/>
                      <a:pt x="166" y="202"/>
                    </a:cubicBezTo>
                    <a:cubicBezTo>
                      <a:pt x="167" y="201"/>
                      <a:pt x="168" y="200"/>
                      <a:pt x="170" y="199"/>
                    </a:cubicBezTo>
                    <a:cubicBezTo>
                      <a:pt x="172" y="199"/>
                      <a:pt x="174" y="199"/>
                      <a:pt x="176" y="198"/>
                    </a:cubicBezTo>
                    <a:cubicBezTo>
                      <a:pt x="176" y="198"/>
                      <a:pt x="176" y="198"/>
                      <a:pt x="176" y="198"/>
                    </a:cubicBezTo>
                    <a:cubicBezTo>
                      <a:pt x="177" y="198"/>
                      <a:pt x="178" y="198"/>
                      <a:pt x="179" y="198"/>
                    </a:cubicBezTo>
                    <a:cubicBezTo>
                      <a:pt x="180" y="198"/>
                      <a:pt x="181" y="198"/>
                      <a:pt x="182" y="197"/>
                    </a:cubicBezTo>
                    <a:cubicBezTo>
                      <a:pt x="183" y="196"/>
                      <a:pt x="184" y="195"/>
                      <a:pt x="186" y="194"/>
                    </a:cubicBezTo>
                    <a:cubicBezTo>
                      <a:pt x="190" y="191"/>
                      <a:pt x="195" y="187"/>
                      <a:pt x="201" y="186"/>
                    </a:cubicBezTo>
                    <a:cubicBezTo>
                      <a:pt x="202" y="186"/>
                      <a:pt x="203" y="185"/>
                      <a:pt x="205" y="185"/>
                    </a:cubicBezTo>
                    <a:cubicBezTo>
                      <a:pt x="206" y="185"/>
                      <a:pt x="207" y="185"/>
                      <a:pt x="209" y="185"/>
                    </a:cubicBezTo>
                    <a:cubicBezTo>
                      <a:pt x="209" y="185"/>
                      <a:pt x="210" y="185"/>
                      <a:pt x="210" y="185"/>
                    </a:cubicBezTo>
                    <a:cubicBezTo>
                      <a:pt x="211" y="185"/>
                      <a:pt x="211" y="185"/>
                      <a:pt x="212" y="185"/>
                    </a:cubicBezTo>
                    <a:cubicBezTo>
                      <a:pt x="212" y="185"/>
                      <a:pt x="213" y="185"/>
                      <a:pt x="214" y="185"/>
                    </a:cubicBezTo>
                    <a:cubicBezTo>
                      <a:pt x="215" y="185"/>
                      <a:pt x="215" y="185"/>
                      <a:pt x="215" y="185"/>
                    </a:cubicBezTo>
                    <a:cubicBezTo>
                      <a:pt x="216" y="185"/>
                      <a:pt x="217" y="185"/>
                      <a:pt x="218" y="185"/>
                    </a:cubicBezTo>
                    <a:cubicBezTo>
                      <a:pt x="219" y="186"/>
                      <a:pt x="219" y="186"/>
                      <a:pt x="220" y="186"/>
                    </a:cubicBezTo>
                    <a:cubicBezTo>
                      <a:pt x="221" y="186"/>
                      <a:pt x="221" y="186"/>
                      <a:pt x="221" y="186"/>
                    </a:cubicBezTo>
                    <a:cubicBezTo>
                      <a:pt x="221" y="186"/>
                      <a:pt x="221" y="186"/>
                      <a:pt x="221" y="186"/>
                    </a:cubicBezTo>
                    <a:cubicBezTo>
                      <a:pt x="221" y="186"/>
                      <a:pt x="222" y="186"/>
                      <a:pt x="222" y="185"/>
                    </a:cubicBezTo>
                    <a:cubicBezTo>
                      <a:pt x="223" y="185"/>
                      <a:pt x="223" y="185"/>
                      <a:pt x="223" y="185"/>
                    </a:cubicBezTo>
                    <a:cubicBezTo>
                      <a:pt x="224" y="185"/>
                      <a:pt x="224" y="185"/>
                      <a:pt x="224" y="184"/>
                    </a:cubicBezTo>
                    <a:cubicBezTo>
                      <a:pt x="225" y="184"/>
                      <a:pt x="226" y="183"/>
                      <a:pt x="226" y="182"/>
                    </a:cubicBezTo>
                    <a:cubicBezTo>
                      <a:pt x="228" y="181"/>
                      <a:pt x="228" y="181"/>
                      <a:pt x="228" y="181"/>
                    </a:cubicBezTo>
                    <a:cubicBezTo>
                      <a:pt x="229" y="180"/>
                      <a:pt x="229" y="179"/>
                      <a:pt x="230" y="178"/>
                    </a:cubicBezTo>
                    <a:cubicBezTo>
                      <a:pt x="232" y="176"/>
                      <a:pt x="232" y="176"/>
                      <a:pt x="232" y="176"/>
                    </a:cubicBezTo>
                    <a:cubicBezTo>
                      <a:pt x="232" y="176"/>
                      <a:pt x="232" y="176"/>
                      <a:pt x="233" y="175"/>
                    </a:cubicBezTo>
                    <a:cubicBezTo>
                      <a:pt x="236" y="172"/>
                      <a:pt x="236" y="172"/>
                      <a:pt x="236" y="172"/>
                    </a:cubicBezTo>
                    <a:cubicBezTo>
                      <a:pt x="247" y="159"/>
                      <a:pt x="258" y="149"/>
                      <a:pt x="268" y="139"/>
                    </a:cubicBezTo>
                    <a:cubicBezTo>
                      <a:pt x="270" y="137"/>
                      <a:pt x="273" y="134"/>
                      <a:pt x="276" y="132"/>
                    </a:cubicBezTo>
                    <a:cubicBezTo>
                      <a:pt x="274" y="132"/>
                      <a:pt x="272" y="132"/>
                      <a:pt x="270" y="132"/>
                    </a:cubicBezTo>
                    <a:cubicBezTo>
                      <a:pt x="267" y="132"/>
                      <a:pt x="265" y="132"/>
                      <a:pt x="263" y="131"/>
                    </a:cubicBezTo>
                    <a:cubicBezTo>
                      <a:pt x="260" y="131"/>
                      <a:pt x="257" y="130"/>
                      <a:pt x="255" y="129"/>
                    </a:cubicBezTo>
                    <a:cubicBezTo>
                      <a:pt x="254" y="129"/>
                      <a:pt x="254" y="129"/>
                      <a:pt x="254" y="129"/>
                    </a:cubicBezTo>
                    <a:cubicBezTo>
                      <a:pt x="253" y="128"/>
                      <a:pt x="253" y="128"/>
                      <a:pt x="252" y="128"/>
                    </a:cubicBezTo>
                    <a:cubicBezTo>
                      <a:pt x="217" y="116"/>
                      <a:pt x="217" y="116"/>
                      <a:pt x="217" y="116"/>
                    </a:cubicBezTo>
                    <a:cubicBezTo>
                      <a:pt x="216" y="116"/>
                      <a:pt x="216" y="115"/>
                      <a:pt x="215" y="115"/>
                    </a:cubicBezTo>
                    <a:cubicBezTo>
                      <a:pt x="214" y="115"/>
                      <a:pt x="214" y="115"/>
                      <a:pt x="214" y="115"/>
                    </a:cubicBezTo>
                    <a:cubicBezTo>
                      <a:pt x="211" y="114"/>
                      <a:pt x="207" y="113"/>
                      <a:pt x="204" y="111"/>
                    </a:cubicBezTo>
                    <a:cubicBezTo>
                      <a:pt x="204" y="111"/>
                      <a:pt x="203" y="110"/>
                      <a:pt x="203" y="110"/>
                    </a:cubicBezTo>
                    <a:cubicBezTo>
                      <a:pt x="200" y="108"/>
                      <a:pt x="200" y="108"/>
                      <a:pt x="200" y="108"/>
                    </a:cubicBezTo>
                    <a:cubicBezTo>
                      <a:pt x="198" y="107"/>
                      <a:pt x="195" y="105"/>
                      <a:pt x="193" y="103"/>
                    </a:cubicBezTo>
                    <a:cubicBezTo>
                      <a:pt x="192" y="102"/>
                      <a:pt x="190" y="99"/>
                      <a:pt x="189" y="97"/>
                    </a:cubicBezTo>
                    <a:cubicBezTo>
                      <a:pt x="189" y="96"/>
                      <a:pt x="189" y="96"/>
                      <a:pt x="189" y="96"/>
                    </a:cubicBezTo>
                    <a:cubicBezTo>
                      <a:pt x="188" y="96"/>
                      <a:pt x="188" y="95"/>
                      <a:pt x="188" y="94"/>
                    </a:cubicBezTo>
                    <a:cubicBezTo>
                      <a:pt x="187" y="93"/>
                      <a:pt x="187" y="93"/>
                      <a:pt x="187" y="93"/>
                    </a:cubicBezTo>
                    <a:cubicBezTo>
                      <a:pt x="185" y="90"/>
                      <a:pt x="183" y="88"/>
                      <a:pt x="182" y="85"/>
                    </a:cubicBezTo>
                    <a:cubicBezTo>
                      <a:pt x="181" y="84"/>
                      <a:pt x="181" y="84"/>
                      <a:pt x="181" y="84"/>
                    </a:cubicBezTo>
                    <a:cubicBezTo>
                      <a:pt x="179" y="82"/>
                      <a:pt x="178" y="80"/>
                      <a:pt x="178" y="78"/>
                    </a:cubicBezTo>
                    <a:cubicBezTo>
                      <a:pt x="178" y="77"/>
                      <a:pt x="178" y="77"/>
                      <a:pt x="180" y="75"/>
                    </a:cubicBezTo>
                    <a:cubicBezTo>
                      <a:pt x="180" y="75"/>
                      <a:pt x="181" y="74"/>
                      <a:pt x="181" y="74"/>
                    </a:cubicBezTo>
                    <a:cubicBezTo>
                      <a:pt x="181" y="73"/>
                      <a:pt x="182" y="73"/>
                      <a:pt x="182" y="73"/>
                    </a:cubicBezTo>
                    <a:cubicBezTo>
                      <a:pt x="181" y="72"/>
                      <a:pt x="181" y="72"/>
                      <a:pt x="180" y="72"/>
                    </a:cubicBezTo>
                    <a:cubicBezTo>
                      <a:pt x="180" y="72"/>
                      <a:pt x="180" y="72"/>
                      <a:pt x="180" y="72"/>
                    </a:cubicBezTo>
                    <a:cubicBezTo>
                      <a:pt x="179" y="72"/>
                      <a:pt x="178" y="72"/>
                      <a:pt x="175" y="73"/>
                    </a:cubicBezTo>
                    <a:cubicBezTo>
                      <a:pt x="172" y="74"/>
                      <a:pt x="169" y="75"/>
                      <a:pt x="167" y="75"/>
                    </a:cubicBezTo>
                    <a:cubicBezTo>
                      <a:pt x="167" y="75"/>
                      <a:pt x="166" y="75"/>
                      <a:pt x="166" y="75"/>
                    </a:cubicBezTo>
                    <a:cubicBezTo>
                      <a:pt x="166" y="77"/>
                      <a:pt x="166" y="77"/>
                      <a:pt x="166" y="77"/>
                    </a:cubicBezTo>
                    <a:cubicBezTo>
                      <a:pt x="166" y="75"/>
                      <a:pt x="166" y="75"/>
                      <a:pt x="166" y="75"/>
                    </a:cubicBezTo>
                    <a:cubicBezTo>
                      <a:pt x="164" y="75"/>
                      <a:pt x="163" y="74"/>
                      <a:pt x="162" y="73"/>
                    </a:cubicBezTo>
                    <a:cubicBezTo>
                      <a:pt x="161" y="72"/>
                      <a:pt x="161" y="71"/>
                      <a:pt x="161" y="68"/>
                    </a:cubicBezTo>
                    <a:cubicBezTo>
                      <a:pt x="161" y="67"/>
                      <a:pt x="161" y="67"/>
                      <a:pt x="161" y="67"/>
                    </a:cubicBezTo>
                    <a:cubicBezTo>
                      <a:pt x="161" y="66"/>
                      <a:pt x="161" y="65"/>
                      <a:pt x="161" y="65"/>
                    </a:cubicBezTo>
                    <a:cubicBezTo>
                      <a:pt x="158" y="65"/>
                      <a:pt x="158" y="65"/>
                      <a:pt x="158" y="65"/>
                    </a:cubicBezTo>
                    <a:cubicBezTo>
                      <a:pt x="161" y="64"/>
                      <a:pt x="161" y="64"/>
                      <a:pt x="161" y="64"/>
                    </a:cubicBezTo>
                    <a:cubicBezTo>
                      <a:pt x="161" y="63"/>
                      <a:pt x="161" y="63"/>
                      <a:pt x="161" y="63"/>
                    </a:cubicBezTo>
                    <a:cubicBezTo>
                      <a:pt x="161" y="63"/>
                      <a:pt x="161" y="62"/>
                      <a:pt x="161" y="62"/>
                    </a:cubicBezTo>
                    <a:cubicBezTo>
                      <a:pt x="161" y="61"/>
                      <a:pt x="161" y="61"/>
                      <a:pt x="161" y="61"/>
                    </a:cubicBezTo>
                    <a:cubicBezTo>
                      <a:pt x="161" y="59"/>
                      <a:pt x="162" y="57"/>
                      <a:pt x="163" y="56"/>
                    </a:cubicBezTo>
                    <a:cubicBezTo>
                      <a:pt x="163" y="55"/>
                      <a:pt x="164" y="55"/>
                      <a:pt x="164" y="54"/>
                    </a:cubicBezTo>
                    <a:cubicBezTo>
                      <a:pt x="165" y="54"/>
                      <a:pt x="165" y="54"/>
                      <a:pt x="165" y="53"/>
                    </a:cubicBezTo>
                    <a:cubicBezTo>
                      <a:pt x="166" y="53"/>
                      <a:pt x="167" y="50"/>
                      <a:pt x="169" y="48"/>
                    </a:cubicBezTo>
                    <a:cubicBezTo>
                      <a:pt x="170" y="46"/>
                      <a:pt x="171" y="44"/>
                      <a:pt x="172" y="43"/>
                    </a:cubicBezTo>
                    <a:cubicBezTo>
                      <a:pt x="167" y="36"/>
                      <a:pt x="167" y="36"/>
                      <a:pt x="167" y="36"/>
                    </a:cubicBezTo>
                    <a:cubicBezTo>
                      <a:pt x="165" y="33"/>
                      <a:pt x="163" y="31"/>
                      <a:pt x="161" y="29"/>
                    </a:cubicBezTo>
                    <a:cubicBezTo>
                      <a:pt x="158" y="26"/>
                      <a:pt x="158" y="26"/>
                      <a:pt x="158" y="26"/>
                    </a:cubicBezTo>
                    <a:cubicBezTo>
                      <a:pt x="154" y="22"/>
                      <a:pt x="150" y="18"/>
                      <a:pt x="146" y="14"/>
                    </a:cubicBezTo>
                    <a:cubicBezTo>
                      <a:pt x="145" y="12"/>
                      <a:pt x="145" y="12"/>
                      <a:pt x="145" y="12"/>
                    </a:cubicBezTo>
                    <a:cubicBezTo>
                      <a:pt x="144" y="12"/>
                      <a:pt x="142" y="11"/>
                      <a:pt x="140" y="10"/>
                    </a:cubicBezTo>
                    <a:cubicBezTo>
                      <a:pt x="140" y="10"/>
                      <a:pt x="140" y="10"/>
                      <a:pt x="140" y="10"/>
                    </a:cubicBezTo>
                    <a:cubicBezTo>
                      <a:pt x="139" y="10"/>
                      <a:pt x="139" y="10"/>
                      <a:pt x="138" y="9"/>
                    </a:cubicBezTo>
                    <a:cubicBezTo>
                      <a:pt x="137" y="9"/>
                      <a:pt x="137" y="9"/>
                      <a:pt x="136" y="8"/>
                    </a:cubicBezTo>
                    <a:cubicBezTo>
                      <a:pt x="136" y="8"/>
                      <a:pt x="136" y="8"/>
                      <a:pt x="136" y="8"/>
                    </a:cubicBezTo>
                    <a:cubicBezTo>
                      <a:pt x="135" y="8"/>
                      <a:pt x="135" y="8"/>
                      <a:pt x="134" y="7"/>
                    </a:cubicBezTo>
                    <a:cubicBezTo>
                      <a:pt x="133" y="6"/>
                      <a:pt x="133" y="6"/>
                      <a:pt x="133" y="6"/>
                    </a:cubicBezTo>
                    <a:cubicBezTo>
                      <a:pt x="133" y="6"/>
                      <a:pt x="133" y="6"/>
                      <a:pt x="133" y="6"/>
                    </a:cubicBezTo>
                    <a:cubicBezTo>
                      <a:pt x="133" y="6"/>
                      <a:pt x="133" y="6"/>
                      <a:pt x="133" y="6"/>
                    </a:cubicBezTo>
                    <a:cubicBezTo>
                      <a:pt x="132" y="5"/>
                      <a:pt x="132" y="5"/>
                      <a:pt x="132" y="5"/>
                    </a:cubicBezTo>
                    <a:cubicBezTo>
                      <a:pt x="132" y="5"/>
                      <a:pt x="132" y="5"/>
                      <a:pt x="132" y="5"/>
                    </a:cubicBezTo>
                    <a:cubicBezTo>
                      <a:pt x="131" y="5"/>
                      <a:pt x="131" y="5"/>
                      <a:pt x="131" y="5"/>
                    </a:cubicBezTo>
                    <a:cubicBezTo>
                      <a:pt x="131" y="5"/>
                      <a:pt x="131" y="5"/>
                      <a:pt x="131" y="5"/>
                    </a:cubicBezTo>
                    <a:cubicBezTo>
                      <a:pt x="130" y="6"/>
                      <a:pt x="129" y="6"/>
                      <a:pt x="127" y="6"/>
                    </a:cubicBezTo>
                    <a:cubicBezTo>
                      <a:pt x="127" y="6"/>
                      <a:pt x="126" y="6"/>
                      <a:pt x="125" y="5"/>
                    </a:cubicBezTo>
                    <a:cubicBezTo>
                      <a:pt x="125" y="5"/>
                      <a:pt x="124" y="5"/>
                      <a:pt x="124" y="5"/>
                    </a:cubicBezTo>
                    <a:cubicBezTo>
                      <a:pt x="123" y="5"/>
                      <a:pt x="123" y="5"/>
                      <a:pt x="122" y="6"/>
                    </a:cubicBezTo>
                    <a:cubicBezTo>
                      <a:pt x="121" y="6"/>
                      <a:pt x="121" y="6"/>
                      <a:pt x="121" y="6"/>
                    </a:cubicBezTo>
                    <a:cubicBezTo>
                      <a:pt x="120" y="6"/>
                      <a:pt x="119" y="6"/>
                      <a:pt x="119" y="6"/>
                    </a:cubicBezTo>
                    <a:cubicBezTo>
                      <a:pt x="118" y="6"/>
                      <a:pt x="118" y="6"/>
                      <a:pt x="118" y="7"/>
                    </a:cubicBezTo>
                    <a:cubicBezTo>
                      <a:pt x="117" y="7"/>
                      <a:pt x="117" y="7"/>
                      <a:pt x="117" y="7"/>
                    </a:cubicBezTo>
                    <a:cubicBezTo>
                      <a:pt x="117" y="7"/>
                      <a:pt x="117" y="7"/>
                      <a:pt x="117" y="7"/>
                    </a:cubicBezTo>
                    <a:cubicBezTo>
                      <a:pt x="117" y="7"/>
                      <a:pt x="117" y="7"/>
                      <a:pt x="117" y="7"/>
                    </a:cubicBezTo>
                    <a:cubicBezTo>
                      <a:pt x="113" y="6"/>
                      <a:pt x="113" y="6"/>
                      <a:pt x="113" y="6"/>
                    </a:cubicBezTo>
                    <a:cubicBezTo>
                      <a:pt x="113" y="5"/>
                      <a:pt x="113" y="5"/>
                      <a:pt x="113" y="5"/>
                    </a:cubicBezTo>
                    <a:cubicBezTo>
                      <a:pt x="113" y="4"/>
                      <a:pt x="113" y="4"/>
                      <a:pt x="113" y="4"/>
                    </a:cubicBezTo>
                    <a:cubicBezTo>
                      <a:pt x="113" y="4"/>
                      <a:pt x="113" y="4"/>
                      <a:pt x="113" y="4"/>
                    </a:cubicBezTo>
                    <a:cubicBezTo>
                      <a:pt x="113" y="4"/>
                      <a:pt x="113" y="4"/>
                      <a:pt x="113" y="4"/>
                    </a:cubicBezTo>
                    <a:cubicBezTo>
                      <a:pt x="113" y="4"/>
                      <a:pt x="113" y="4"/>
                      <a:pt x="113" y="4"/>
                    </a:cubicBezTo>
                    <a:cubicBezTo>
                      <a:pt x="112" y="4"/>
                      <a:pt x="112" y="5"/>
                      <a:pt x="111" y="5"/>
                    </a:cubicBezTo>
                    <a:cubicBezTo>
                      <a:pt x="111" y="5"/>
                      <a:pt x="110" y="5"/>
                      <a:pt x="110" y="5"/>
                    </a:cubicBezTo>
                    <a:cubicBezTo>
                      <a:pt x="109" y="6"/>
                      <a:pt x="109" y="6"/>
                      <a:pt x="108" y="6"/>
                    </a:cubicBezTo>
                    <a:cubicBezTo>
                      <a:pt x="108" y="6"/>
                      <a:pt x="107" y="6"/>
                      <a:pt x="106" y="6"/>
                    </a:cubicBezTo>
                    <a:cubicBezTo>
                      <a:pt x="105" y="7"/>
                      <a:pt x="103" y="7"/>
                      <a:pt x="103" y="7"/>
                    </a:cubicBezTo>
                    <a:cubicBezTo>
                      <a:pt x="101" y="8"/>
                      <a:pt x="101" y="8"/>
                      <a:pt x="101" y="8"/>
                    </a:cubicBezTo>
                    <a:cubicBezTo>
                      <a:pt x="100" y="7"/>
                      <a:pt x="100" y="7"/>
                      <a:pt x="100" y="7"/>
                    </a:cubicBezTo>
                    <a:cubicBezTo>
                      <a:pt x="99" y="6"/>
                      <a:pt x="98" y="5"/>
                      <a:pt x="97" y="4"/>
                    </a:cubicBezTo>
                    <a:cubicBezTo>
                      <a:pt x="97" y="3"/>
                      <a:pt x="97" y="3"/>
                      <a:pt x="97" y="3"/>
                    </a:cubicBezTo>
                    <a:cubicBezTo>
                      <a:pt x="96" y="3"/>
                      <a:pt x="95" y="3"/>
                      <a:pt x="94" y="2"/>
                    </a:cubicBezTo>
                    <a:cubicBezTo>
                      <a:pt x="94" y="2"/>
                      <a:pt x="93" y="2"/>
                      <a:pt x="92" y="1"/>
                    </a:cubicBezTo>
                    <a:cubicBezTo>
                      <a:pt x="92" y="1"/>
                      <a:pt x="91" y="1"/>
                      <a:pt x="9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Freeform 379"/>
              <p:cNvSpPr/>
              <p:nvPr/>
            </p:nvSpPr>
            <p:spPr bwMode="auto">
              <a:xfrm>
                <a:off x="4201" y="2659"/>
                <a:ext cx="3" cy="2"/>
              </a:xfrm>
              <a:custGeom>
                <a:gdLst>
                  <a:gd name="T0" fmla="*/ 0 w 3"/>
                  <a:gd name="T1" fmla="*/ 0 h 2"/>
                  <a:gd name="T2" fmla="*/ 0 w 3"/>
                  <a:gd name="T3" fmla="*/ 0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lnTo>
                      <a:pt x="0" y="0"/>
                    </a:lnTo>
                    <a:lnTo>
                      <a:pt x="3"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380"/>
              <p:cNvSpPr/>
              <p:nvPr/>
            </p:nvSpPr>
            <p:spPr bwMode="auto">
              <a:xfrm>
                <a:off x="4201" y="2659"/>
                <a:ext cx="3" cy="2"/>
              </a:xfrm>
              <a:custGeom>
                <a:gdLst>
                  <a:gd name="T0" fmla="*/ 0 w 3"/>
                  <a:gd name="T1" fmla="*/ 0 h 2"/>
                  <a:gd name="T2" fmla="*/ 0 w 3"/>
                  <a:gd name="T3" fmla="*/ 0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lnTo>
                      <a:pt x="0" y="0"/>
                    </a:lnTo>
                    <a:lnTo>
                      <a:pt x="3"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381"/>
              <p:cNvSpPr/>
              <p:nvPr/>
            </p:nvSpPr>
            <p:spPr bwMode="auto">
              <a:xfrm>
                <a:off x="4159" y="2500"/>
                <a:ext cx="293" cy="246"/>
              </a:xfrm>
              <a:custGeom>
                <a:gdLst>
                  <a:gd name="T0" fmla="*/ 35 w 124"/>
                  <a:gd name="T1" fmla="*/ 6 h 104"/>
                  <a:gd name="T2" fmla="*/ 35 w 124"/>
                  <a:gd name="T3" fmla="*/ 7 h 104"/>
                  <a:gd name="T4" fmla="*/ 34 w 124"/>
                  <a:gd name="T5" fmla="*/ 8 h 104"/>
                  <a:gd name="T6" fmla="*/ 31 w 124"/>
                  <a:gd name="T7" fmla="*/ 9 h 104"/>
                  <a:gd name="T8" fmla="*/ 28 w 124"/>
                  <a:gd name="T9" fmla="*/ 10 h 104"/>
                  <a:gd name="T10" fmla="*/ 25 w 124"/>
                  <a:gd name="T11" fmla="*/ 11 h 104"/>
                  <a:gd name="T12" fmla="*/ 20 w 124"/>
                  <a:gd name="T13" fmla="*/ 15 h 104"/>
                  <a:gd name="T14" fmla="*/ 19 w 124"/>
                  <a:gd name="T15" fmla="*/ 17 h 104"/>
                  <a:gd name="T16" fmla="*/ 8 w 124"/>
                  <a:gd name="T17" fmla="*/ 34 h 104"/>
                  <a:gd name="T18" fmla="*/ 1 w 124"/>
                  <a:gd name="T19" fmla="*/ 59 h 104"/>
                  <a:gd name="T20" fmla="*/ 1 w 124"/>
                  <a:gd name="T21" fmla="*/ 62 h 104"/>
                  <a:gd name="T22" fmla="*/ 1 w 124"/>
                  <a:gd name="T23" fmla="*/ 66 h 104"/>
                  <a:gd name="T24" fmla="*/ 2 w 124"/>
                  <a:gd name="T25" fmla="*/ 68 h 104"/>
                  <a:gd name="T26" fmla="*/ 2 w 124"/>
                  <a:gd name="T27" fmla="*/ 68 h 104"/>
                  <a:gd name="T28" fmla="*/ 7 w 124"/>
                  <a:gd name="T29" fmla="*/ 68 h 104"/>
                  <a:gd name="T30" fmla="*/ 11 w 124"/>
                  <a:gd name="T31" fmla="*/ 66 h 104"/>
                  <a:gd name="T32" fmla="*/ 16 w 124"/>
                  <a:gd name="T33" fmla="*/ 65 h 104"/>
                  <a:gd name="T34" fmla="*/ 18 w 124"/>
                  <a:gd name="T35" fmla="*/ 67 h 104"/>
                  <a:gd name="T36" fmla="*/ 22 w 124"/>
                  <a:gd name="T37" fmla="*/ 60 h 104"/>
                  <a:gd name="T38" fmla="*/ 26 w 124"/>
                  <a:gd name="T39" fmla="*/ 53 h 104"/>
                  <a:gd name="T40" fmla="*/ 29 w 124"/>
                  <a:gd name="T41" fmla="*/ 58 h 104"/>
                  <a:gd name="T42" fmla="*/ 30 w 124"/>
                  <a:gd name="T43" fmla="*/ 59 h 104"/>
                  <a:gd name="T44" fmla="*/ 37 w 124"/>
                  <a:gd name="T45" fmla="*/ 63 h 104"/>
                  <a:gd name="T46" fmla="*/ 41 w 124"/>
                  <a:gd name="T47" fmla="*/ 64 h 104"/>
                  <a:gd name="T48" fmla="*/ 45 w 124"/>
                  <a:gd name="T49" fmla="*/ 63 h 104"/>
                  <a:gd name="T50" fmla="*/ 48 w 124"/>
                  <a:gd name="T51" fmla="*/ 61 h 104"/>
                  <a:gd name="T52" fmla="*/ 49 w 124"/>
                  <a:gd name="T53" fmla="*/ 61 h 104"/>
                  <a:gd name="T54" fmla="*/ 51 w 124"/>
                  <a:gd name="T55" fmla="*/ 61 h 104"/>
                  <a:gd name="T56" fmla="*/ 57 w 124"/>
                  <a:gd name="T57" fmla="*/ 60 h 104"/>
                  <a:gd name="T58" fmla="*/ 54 w 124"/>
                  <a:gd name="T59" fmla="*/ 64 h 104"/>
                  <a:gd name="T60" fmla="*/ 56 w 124"/>
                  <a:gd name="T61" fmla="*/ 64 h 104"/>
                  <a:gd name="T62" fmla="*/ 57 w 124"/>
                  <a:gd name="T63" fmla="*/ 63 h 104"/>
                  <a:gd name="T64" fmla="*/ 63 w 124"/>
                  <a:gd name="T65" fmla="*/ 64 h 104"/>
                  <a:gd name="T66" fmla="*/ 68 w 124"/>
                  <a:gd name="T67" fmla="*/ 62 h 104"/>
                  <a:gd name="T68" fmla="*/ 74 w 124"/>
                  <a:gd name="T69" fmla="*/ 62 h 104"/>
                  <a:gd name="T70" fmla="*/ 74 w 124"/>
                  <a:gd name="T71" fmla="*/ 66 h 104"/>
                  <a:gd name="T72" fmla="*/ 78 w 124"/>
                  <a:gd name="T73" fmla="*/ 68 h 104"/>
                  <a:gd name="T74" fmla="*/ 100 w 124"/>
                  <a:gd name="T75" fmla="*/ 88 h 104"/>
                  <a:gd name="T76" fmla="*/ 117 w 124"/>
                  <a:gd name="T77" fmla="*/ 104 h 104"/>
                  <a:gd name="T78" fmla="*/ 123 w 124"/>
                  <a:gd name="T79" fmla="*/ 97 h 104"/>
                  <a:gd name="T80" fmla="*/ 110 w 124"/>
                  <a:gd name="T81" fmla="*/ 88 h 104"/>
                  <a:gd name="T82" fmla="*/ 87 w 124"/>
                  <a:gd name="T83" fmla="*/ 63 h 104"/>
                  <a:gd name="T84" fmla="*/ 63 w 124"/>
                  <a:gd name="T85" fmla="*/ 46 h 104"/>
                  <a:gd name="T86" fmla="*/ 61 w 124"/>
                  <a:gd name="T87" fmla="*/ 53 h 104"/>
                  <a:gd name="T88" fmla="*/ 55 w 124"/>
                  <a:gd name="T89" fmla="*/ 44 h 104"/>
                  <a:gd name="T90" fmla="*/ 40 w 124"/>
                  <a:gd name="T91" fmla="*/ 0 h 1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4" h="104">
                    <a:moveTo>
                      <a:pt x="40" y="0"/>
                    </a:moveTo>
                    <a:cubicBezTo>
                      <a:pt x="40" y="0"/>
                      <a:pt x="40" y="0"/>
                      <a:pt x="39" y="1"/>
                    </a:cubicBezTo>
                    <a:cubicBezTo>
                      <a:pt x="38" y="3"/>
                      <a:pt x="37" y="5"/>
                      <a:pt x="35" y="6"/>
                    </a:cubicBezTo>
                    <a:cubicBezTo>
                      <a:pt x="35" y="7"/>
                      <a:pt x="35" y="7"/>
                      <a:pt x="35" y="7"/>
                    </a:cubicBezTo>
                    <a:cubicBezTo>
                      <a:pt x="35" y="7"/>
                      <a:pt x="35" y="7"/>
                      <a:pt x="35" y="7"/>
                    </a:cubicBezTo>
                    <a:cubicBezTo>
                      <a:pt x="35" y="7"/>
                      <a:pt x="35" y="7"/>
                      <a:pt x="35" y="7"/>
                    </a:cubicBezTo>
                    <a:cubicBezTo>
                      <a:pt x="35" y="7"/>
                      <a:pt x="35" y="7"/>
                      <a:pt x="35" y="7"/>
                    </a:cubicBezTo>
                    <a:cubicBezTo>
                      <a:pt x="34" y="8"/>
                      <a:pt x="34" y="8"/>
                      <a:pt x="34" y="8"/>
                    </a:cubicBezTo>
                    <a:cubicBezTo>
                      <a:pt x="34" y="8"/>
                      <a:pt x="34" y="8"/>
                      <a:pt x="34" y="8"/>
                    </a:cubicBezTo>
                    <a:cubicBezTo>
                      <a:pt x="34" y="8"/>
                      <a:pt x="34" y="8"/>
                      <a:pt x="34" y="8"/>
                    </a:cubicBezTo>
                    <a:cubicBezTo>
                      <a:pt x="33" y="8"/>
                      <a:pt x="33" y="8"/>
                      <a:pt x="32" y="9"/>
                    </a:cubicBezTo>
                    <a:cubicBezTo>
                      <a:pt x="31" y="9"/>
                      <a:pt x="31" y="9"/>
                      <a:pt x="31" y="9"/>
                    </a:cubicBezTo>
                    <a:cubicBezTo>
                      <a:pt x="31" y="9"/>
                      <a:pt x="31" y="9"/>
                      <a:pt x="31" y="9"/>
                    </a:cubicBezTo>
                    <a:cubicBezTo>
                      <a:pt x="30" y="9"/>
                      <a:pt x="29" y="9"/>
                      <a:pt x="28" y="9"/>
                    </a:cubicBezTo>
                    <a:cubicBezTo>
                      <a:pt x="28" y="10"/>
                      <a:pt x="28" y="10"/>
                      <a:pt x="28" y="10"/>
                    </a:cubicBezTo>
                    <a:cubicBezTo>
                      <a:pt x="27" y="10"/>
                      <a:pt x="27" y="10"/>
                      <a:pt x="27" y="10"/>
                    </a:cubicBezTo>
                    <a:cubicBezTo>
                      <a:pt x="27" y="10"/>
                      <a:pt x="26" y="11"/>
                      <a:pt x="25" y="11"/>
                    </a:cubicBezTo>
                    <a:cubicBezTo>
                      <a:pt x="25" y="11"/>
                      <a:pt x="25" y="11"/>
                      <a:pt x="25" y="11"/>
                    </a:cubicBezTo>
                    <a:cubicBezTo>
                      <a:pt x="23" y="12"/>
                      <a:pt x="22" y="13"/>
                      <a:pt x="21" y="14"/>
                    </a:cubicBezTo>
                    <a:cubicBezTo>
                      <a:pt x="21" y="15"/>
                      <a:pt x="21" y="15"/>
                      <a:pt x="21" y="15"/>
                    </a:cubicBezTo>
                    <a:cubicBezTo>
                      <a:pt x="20" y="15"/>
                      <a:pt x="20" y="15"/>
                      <a:pt x="20" y="15"/>
                    </a:cubicBezTo>
                    <a:cubicBezTo>
                      <a:pt x="20" y="16"/>
                      <a:pt x="20" y="16"/>
                      <a:pt x="20" y="16"/>
                    </a:cubicBezTo>
                    <a:cubicBezTo>
                      <a:pt x="20" y="16"/>
                      <a:pt x="20" y="16"/>
                      <a:pt x="20" y="16"/>
                    </a:cubicBezTo>
                    <a:cubicBezTo>
                      <a:pt x="19" y="17"/>
                      <a:pt x="19" y="17"/>
                      <a:pt x="19" y="17"/>
                    </a:cubicBezTo>
                    <a:cubicBezTo>
                      <a:pt x="17" y="18"/>
                      <a:pt x="16" y="18"/>
                      <a:pt x="14" y="18"/>
                    </a:cubicBezTo>
                    <a:cubicBezTo>
                      <a:pt x="13" y="18"/>
                      <a:pt x="12" y="18"/>
                      <a:pt x="11" y="18"/>
                    </a:cubicBezTo>
                    <a:cubicBezTo>
                      <a:pt x="10" y="24"/>
                      <a:pt x="10" y="29"/>
                      <a:pt x="8" y="34"/>
                    </a:cubicBezTo>
                    <a:cubicBezTo>
                      <a:pt x="7" y="36"/>
                      <a:pt x="6" y="39"/>
                      <a:pt x="5" y="41"/>
                    </a:cubicBezTo>
                    <a:cubicBezTo>
                      <a:pt x="3" y="45"/>
                      <a:pt x="1" y="50"/>
                      <a:pt x="0" y="54"/>
                    </a:cubicBezTo>
                    <a:cubicBezTo>
                      <a:pt x="0" y="55"/>
                      <a:pt x="0" y="57"/>
                      <a:pt x="1" y="59"/>
                    </a:cubicBezTo>
                    <a:cubicBezTo>
                      <a:pt x="1" y="59"/>
                      <a:pt x="1" y="59"/>
                      <a:pt x="1" y="59"/>
                    </a:cubicBezTo>
                    <a:cubicBezTo>
                      <a:pt x="1" y="60"/>
                      <a:pt x="1" y="61"/>
                      <a:pt x="1" y="61"/>
                    </a:cubicBezTo>
                    <a:cubicBezTo>
                      <a:pt x="1" y="62"/>
                      <a:pt x="1" y="62"/>
                      <a:pt x="1" y="62"/>
                    </a:cubicBezTo>
                    <a:cubicBezTo>
                      <a:pt x="1" y="62"/>
                      <a:pt x="1" y="63"/>
                      <a:pt x="1" y="65"/>
                    </a:cubicBezTo>
                    <a:cubicBezTo>
                      <a:pt x="1" y="65"/>
                      <a:pt x="1" y="65"/>
                      <a:pt x="1" y="65"/>
                    </a:cubicBezTo>
                    <a:cubicBezTo>
                      <a:pt x="1" y="66"/>
                      <a:pt x="1" y="66"/>
                      <a:pt x="1" y="66"/>
                    </a:cubicBezTo>
                    <a:cubicBezTo>
                      <a:pt x="1" y="66"/>
                      <a:pt x="1" y="66"/>
                      <a:pt x="1" y="66"/>
                    </a:cubicBezTo>
                    <a:cubicBezTo>
                      <a:pt x="1" y="67"/>
                      <a:pt x="1" y="67"/>
                      <a:pt x="1" y="67"/>
                    </a:cubicBezTo>
                    <a:cubicBezTo>
                      <a:pt x="2" y="68"/>
                      <a:pt x="2" y="68"/>
                      <a:pt x="2" y="68"/>
                    </a:cubicBezTo>
                    <a:cubicBezTo>
                      <a:pt x="2" y="68"/>
                      <a:pt x="2" y="68"/>
                      <a:pt x="2" y="68"/>
                    </a:cubicBezTo>
                    <a:cubicBezTo>
                      <a:pt x="2" y="68"/>
                      <a:pt x="2" y="68"/>
                      <a:pt x="2" y="68"/>
                    </a:cubicBezTo>
                    <a:cubicBezTo>
                      <a:pt x="2" y="68"/>
                      <a:pt x="2" y="68"/>
                      <a:pt x="2" y="68"/>
                    </a:cubicBezTo>
                    <a:cubicBezTo>
                      <a:pt x="2" y="68"/>
                      <a:pt x="3" y="68"/>
                      <a:pt x="3" y="68"/>
                    </a:cubicBezTo>
                    <a:cubicBezTo>
                      <a:pt x="5" y="68"/>
                      <a:pt x="5" y="68"/>
                      <a:pt x="5" y="68"/>
                    </a:cubicBezTo>
                    <a:cubicBezTo>
                      <a:pt x="5" y="68"/>
                      <a:pt x="6" y="68"/>
                      <a:pt x="7" y="68"/>
                    </a:cubicBezTo>
                    <a:cubicBezTo>
                      <a:pt x="7" y="68"/>
                      <a:pt x="7" y="68"/>
                      <a:pt x="7" y="68"/>
                    </a:cubicBezTo>
                    <a:cubicBezTo>
                      <a:pt x="8" y="68"/>
                      <a:pt x="9" y="68"/>
                      <a:pt x="9" y="68"/>
                    </a:cubicBezTo>
                    <a:cubicBezTo>
                      <a:pt x="10" y="68"/>
                      <a:pt x="11" y="67"/>
                      <a:pt x="11" y="66"/>
                    </a:cubicBezTo>
                    <a:cubicBezTo>
                      <a:pt x="12" y="66"/>
                      <a:pt x="13" y="65"/>
                      <a:pt x="13" y="65"/>
                    </a:cubicBezTo>
                    <a:cubicBezTo>
                      <a:pt x="15" y="63"/>
                      <a:pt x="15" y="63"/>
                      <a:pt x="15" y="63"/>
                    </a:cubicBezTo>
                    <a:cubicBezTo>
                      <a:pt x="16" y="65"/>
                      <a:pt x="16" y="65"/>
                      <a:pt x="16" y="65"/>
                    </a:cubicBezTo>
                    <a:cubicBezTo>
                      <a:pt x="17" y="66"/>
                      <a:pt x="17" y="66"/>
                      <a:pt x="17" y="67"/>
                    </a:cubicBezTo>
                    <a:cubicBezTo>
                      <a:pt x="18" y="67"/>
                      <a:pt x="18" y="67"/>
                      <a:pt x="18" y="67"/>
                    </a:cubicBezTo>
                    <a:cubicBezTo>
                      <a:pt x="18" y="67"/>
                      <a:pt x="18" y="67"/>
                      <a:pt x="18" y="67"/>
                    </a:cubicBezTo>
                    <a:cubicBezTo>
                      <a:pt x="18" y="67"/>
                      <a:pt x="18" y="67"/>
                      <a:pt x="18" y="67"/>
                    </a:cubicBezTo>
                    <a:cubicBezTo>
                      <a:pt x="18" y="67"/>
                      <a:pt x="18" y="67"/>
                      <a:pt x="18" y="67"/>
                    </a:cubicBezTo>
                    <a:cubicBezTo>
                      <a:pt x="20" y="65"/>
                      <a:pt x="22" y="62"/>
                      <a:pt x="22" y="60"/>
                    </a:cubicBezTo>
                    <a:cubicBezTo>
                      <a:pt x="22" y="60"/>
                      <a:pt x="22" y="60"/>
                      <a:pt x="22" y="60"/>
                    </a:cubicBezTo>
                    <a:cubicBezTo>
                      <a:pt x="23" y="59"/>
                      <a:pt x="23" y="59"/>
                      <a:pt x="23" y="59"/>
                    </a:cubicBezTo>
                    <a:cubicBezTo>
                      <a:pt x="26" y="53"/>
                      <a:pt x="26" y="53"/>
                      <a:pt x="26" y="53"/>
                    </a:cubicBezTo>
                    <a:cubicBezTo>
                      <a:pt x="28" y="57"/>
                      <a:pt x="28" y="57"/>
                      <a:pt x="28" y="57"/>
                    </a:cubicBezTo>
                    <a:cubicBezTo>
                      <a:pt x="28" y="57"/>
                      <a:pt x="28" y="57"/>
                      <a:pt x="28" y="57"/>
                    </a:cubicBezTo>
                    <a:cubicBezTo>
                      <a:pt x="29" y="58"/>
                      <a:pt x="29" y="58"/>
                      <a:pt x="29" y="58"/>
                    </a:cubicBezTo>
                    <a:cubicBezTo>
                      <a:pt x="29" y="58"/>
                      <a:pt x="29" y="58"/>
                      <a:pt x="29" y="58"/>
                    </a:cubicBezTo>
                    <a:cubicBezTo>
                      <a:pt x="29" y="59"/>
                      <a:pt x="29" y="59"/>
                      <a:pt x="29" y="59"/>
                    </a:cubicBezTo>
                    <a:cubicBezTo>
                      <a:pt x="30" y="59"/>
                      <a:pt x="30" y="59"/>
                      <a:pt x="30" y="59"/>
                    </a:cubicBezTo>
                    <a:cubicBezTo>
                      <a:pt x="31" y="59"/>
                      <a:pt x="31" y="60"/>
                      <a:pt x="32" y="60"/>
                    </a:cubicBezTo>
                    <a:cubicBezTo>
                      <a:pt x="33" y="60"/>
                      <a:pt x="34" y="60"/>
                      <a:pt x="36" y="62"/>
                    </a:cubicBezTo>
                    <a:cubicBezTo>
                      <a:pt x="37" y="63"/>
                      <a:pt x="37" y="63"/>
                      <a:pt x="37" y="63"/>
                    </a:cubicBezTo>
                    <a:cubicBezTo>
                      <a:pt x="37" y="63"/>
                      <a:pt x="37" y="64"/>
                      <a:pt x="38" y="64"/>
                    </a:cubicBezTo>
                    <a:cubicBezTo>
                      <a:pt x="38" y="65"/>
                      <a:pt x="38" y="65"/>
                      <a:pt x="38" y="65"/>
                    </a:cubicBezTo>
                    <a:cubicBezTo>
                      <a:pt x="39" y="64"/>
                      <a:pt x="40" y="64"/>
                      <a:pt x="41" y="64"/>
                    </a:cubicBezTo>
                    <a:cubicBezTo>
                      <a:pt x="42" y="64"/>
                      <a:pt x="42" y="64"/>
                      <a:pt x="43" y="64"/>
                    </a:cubicBezTo>
                    <a:cubicBezTo>
                      <a:pt x="44" y="63"/>
                      <a:pt x="44" y="63"/>
                      <a:pt x="44" y="63"/>
                    </a:cubicBezTo>
                    <a:cubicBezTo>
                      <a:pt x="45" y="63"/>
                      <a:pt x="45" y="63"/>
                      <a:pt x="45" y="63"/>
                    </a:cubicBezTo>
                    <a:cubicBezTo>
                      <a:pt x="45" y="63"/>
                      <a:pt x="45" y="63"/>
                      <a:pt x="45" y="63"/>
                    </a:cubicBezTo>
                    <a:cubicBezTo>
                      <a:pt x="46" y="62"/>
                      <a:pt x="46" y="62"/>
                      <a:pt x="46" y="62"/>
                    </a:cubicBezTo>
                    <a:cubicBezTo>
                      <a:pt x="47" y="62"/>
                      <a:pt x="47" y="61"/>
                      <a:pt x="48" y="61"/>
                    </a:cubicBezTo>
                    <a:cubicBezTo>
                      <a:pt x="48" y="61"/>
                      <a:pt x="48" y="61"/>
                      <a:pt x="48" y="61"/>
                    </a:cubicBezTo>
                    <a:cubicBezTo>
                      <a:pt x="48" y="61"/>
                      <a:pt x="49" y="61"/>
                      <a:pt x="49" y="61"/>
                    </a:cubicBezTo>
                    <a:cubicBezTo>
                      <a:pt x="49" y="61"/>
                      <a:pt x="49" y="61"/>
                      <a:pt x="49" y="61"/>
                    </a:cubicBezTo>
                    <a:cubicBezTo>
                      <a:pt x="50" y="61"/>
                      <a:pt x="50" y="61"/>
                      <a:pt x="50" y="61"/>
                    </a:cubicBezTo>
                    <a:cubicBezTo>
                      <a:pt x="50" y="61"/>
                      <a:pt x="50" y="61"/>
                      <a:pt x="50" y="61"/>
                    </a:cubicBezTo>
                    <a:cubicBezTo>
                      <a:pt x="50" y="61"/>
                      <a:pt x="51" y="61"/>
                      <a:pt x="51" y="61"/>
                    </a:cubicBezTo>
                    <a:cubicBezTo>
                      <a:pt x="52" y="61"/>
                      <a:pt x="52" y="61"/>
                      <a:pt x="52" y="61"/>
                    </a:cubicBezTo>
                    <a:cubicBezTo>
                      <a:pt x="52" y="61"/>
                      <a:pt x="52" y="62"/>
                      <a:pt x="53" y="62"/>
                    </a:cubicBezTo>
                    <a:cubicBezTo>
                      <a:pt x="57" y="60"/>
                      <a:pt x="57" y="60"/>
                      <a:pt x="57" y="60"/>
                    </a:cubicBezTo>
                    <a:cubicBezTo>
                      <a:pt x="53" y="63"/>
                      <a:pt x="53" y="63"/>
                      <a:pt x="53" y="63"/>
                    </a:cubicBezTo>
                    <a:cubicBezTo>
                      <a:pt x="53" y="63"/>
                      <a:pt x="53" y="63"/>
                      <a:pt x="53" y="63"/>
                    </a:cubicBezTo>
                    <a:cubicBezTo>
                      <a:pt x="54" y="64"/>
                      <a:pt x="54" y="64"/>
                      <a:pt x="54" y="64"/>
                    </a:cubicBezTo>
                    <a:cubicBezTo>
                      <a:pt x="54" y="64"/>
                      <a:pt x="54" y="64"/>
                      <a:pt x="54" y="64"/>
                    </a:cubicBezTo>
                    <a:cubicBezTo>
                      <a:pt x="55" y="64"/>
                      <a:pt x="55" y="64"/>
                      <a:pt x="55" y="64"/>
                    </a:cubicBezTo>
                    <a:cubicBezTo>
                      <a:pt x="56" y="64"/>
                      <a:pt x="56" y="64"/>
                      <a:pt x="56" y="64"/>
                    </a:cubicBezTo>
                    <a:cubicBezTo>
                      <a:pt x="56" y="63"/>
                      <a:pt x="56" y="63"/>
                      <a:pt x="56" y="63"/>
                    </a:cubicBezTo>
                    <a:cubicBezTo>
                      <a:pt x="57" y="63"/>
                      <a:pt x="57" y="63"/>
                      <a:pt x="57" y="63"/>
                    </a:cubicBezTo>
                    <a:cubicBezTo>
                      <a:pt x="57" y="63"/>
                      <a:pt x="57" y="63"/>
                      <a:pt x="57" y="63"/>
                    </a:cubicBezTo>
                    <a:cubicBezTo>
                      <a:pt x="58" y="62"/>
                      <a:pt x="59" y="62"/>
                      <a:pt x="60" y="62"/>
                    </a:cubicBezTo>
                    <a:cubicBezTo>
                      <a:pt x="60" y="62"/>
                      <a:pt x="60" y="62"/>
                      <a:pt x="61" y="62"/>
                    </a:cubicBezTo>
                    <a:cubicBezTo>
                      <a:pt x="62" y="62"/>
                      <a:pt x="62" y="63"/>
                      <a:pt x="63" y="64"/>
                    </a:cubicBezTo>
                    <a:cubicBezTo>
                      <a:pt x="64" y="63"/>
                      <a:pt x="64" y="63"/>
                      <a:pt x="64" y="63"/>
                    </a:cubicBezTo>
                    <a:cubicBezTo>
                      <a:pt x="64" y="63"/>
                      <a:pt x="65" y="63"/>
                      <a:pt x="65" y="63"/>
                    </a:cubicBezTo>
                    <a:cubicBezTo>
                      <a:pt x="66" y="63"/>
                      <a:pt x="67" y="62"/>
                      <a:pt x="68" y="62"/>
                    </a:cubicBezTo>
                    <a:cubicBezTo>
                      <a:pt x="69" y="62"/>
                      <a:pt x="70" y="63"/>
                      <a:pt x="70" y="63"/>
                    </a:cubicBezTo>
                    <a:cubicBezTo>
                      <a:pt x="72" y="64"/>
                      <a:pt x="72" y="64"/>
                      <a:pt x="72" y="64"/>
                    </a:cubicBezTo>
                    <a:cubicBezTo>
                      <a:pt x="74" y="62"/>
                      <a:pt x="74" y="62"/>
                      <a:pt x="74" y="62"/>
                    </a:cubicBezTo>
                    <a:cubicBezTo>
                      <a:pt x="73" y="65"/>
                      <a:pt x="73" y="65"/>
                      <a:pt x="73" y="65"/>
                    </a:cubicBezTo>
                    <a:cubicBezTo>
                      <a:pt x="73" y="66"/>
                      <a:pt x="73" y="66"/>
                      <a:pt x="73" y="66"/>
                    </a:cubicBezTo>
                    <a:cubicBezTo>
                      <a:pt x="73" y="66"/>
                      <a:pt x="74" y="66"/>
                      <a:pt x="74" y="66"/>
                    </a:cubicBezTo>
                    <a:cubicBezTo>
                      <a:pt x="75" y="67"/>
                      <a:pt x="75" y="67"/>
                      <a:pt x="76" y="67"/>
                    </a:cubicBezTo>
                    <a:cubicBezTo>
                      <a:pt x="76" y="67"/>
                      <a:pt x="77" y="68"/>
                      <a:pt x="77" y="68"/>
                    </a:cubicBezTo>
                    <a:cubicBezTo>
                      <a:pt x="78" y="68"/>
                      <a:pt x="78" y="68"/>
                      <a:pt x="78" y="68"/>
                    </a:cubicBezTo>
                    <a:cubicBezTo>
                      <a:pt x="80" y="69"/>
                      <a:pt x="83" y="69"/>
                      <a:pt x="84" y="71"/>
                    </a:cubicBezTo>
                    <a:cubicBezTo>
                      <a:pt x="89" y="76"/>
                      <a:pt x="93" y="80"/>
                      <a:pt x="97" y="85"/>
                    </a:cubicBezTo>
                    <a:cubicBezTo>
                      <a:pt x="100" y="88"/>
                      <a:pt x="100" y="88"/>
                      <a:pt x="100" y="88"/>
                    </a:cubicBezTo>
                    <a:cubicBezTo>
                      <a:pt x="102" y="90"/>
                      <a:pt x="104" y="92"/>
                      <a:pt x="106" y="95"/>
                    </a:cubicBezTo>
                    <a:cubicBezTo>
                      <a:pt x="113" y="103"/>
                      <a:pt x="113" y="103"/>
                      <a:pt x="113" y="103"/>
                    </a:cubicBezTo>
                    <a:cubicBezTo>
                      <a:pt x="115" y="104"/>
                      <a:pt x="116" y="104"/>
                      <a:pt x="117" y="104"/>
                    </a:cubicBezTo>
                    <a:cubicBezTo>
                      <a:pt x="119" y="103"/>
                      <a:pt x="122" y="100"/>
                      <a:pt x="123" y="99"/>
                    </a:cubicBezTo>
                    <a:cubicBezTo>
                      <a:pt x="124" y="98"/>
                      <a:pt x="124" y="98"/>
                      <a:pt x="124" y="98"/>
                    </a:cubicBezTo>
                    <a:cubicBezTo>
                      <a:pt x="124" y="98"/>
                      <a:pt x="123" y="97"/>
                      <a:pt x="123" y="97"/>
                    </a:cubicBezTo>
                    <a:cubicBezTo>
                      <a:pt x="122" y="97"/>
                      <a:pt x="121" y="98"/>
                      <a:pt x="121" y="98"/>
                    </a:cubicBezTo>
                    <a:cubicBezTo>
                      <a:pt x="117" y="98"/>
                      <a:pt x="115" y="91"/>
                      <a:pt x="111" y="90"/>
                    </a:cubicBezTo>
                    <a:cubicBezTo>
                      <a:pt x="111" y="89"/>
                      <a:pt x="111" y="89"/>
                      <a:pt x="110" y="88"/>
                    </a:cubicBezTo>
                    <a:cubicBezTo>
                      <a:pt x="109" y="84"/>
                      <a:pt x="107" y="81"/>
                      <a:pt x="103" y="78"/>
                    </a:cubicBezTo>
                    <a:cubicBezTo>
                      <a:pt x="101" y="77"/>
                      <a:pt x="99" y="77"/>
                      <a:pt x="97" y="76"/>
                    </a:cubicBezTo>
                    <a:cubicBezTo>
                      <a:pt x="93" y="72"/>
                      <a:pt x="91" y="66"/>
                      <a:pt x="87" y="63"/>
                    </a:cubicBezTo>
                    <a:cubicBezTo>
                      <a:pt x="84" y="61"/>
                      <a:pt x="81" y="59"/>
                      <a:pt x="78" y="57"/>
                    </a:cubicBezTo>
                    <a:cubicBezTo>
                      <a:pt x="75" y="56"/>
                      <a:pt x="70" y="57"/>
                      <a:pt x="69" y="55"/>
                    </a:cubicBezTo>
                    <a:cubicBezTo>
                      <a:pt x="66" y="53"/>
                      <a:pt x="65" y="49"/>
                      <a:pt x="63" y="46"/>
                    </a:cubicBezTo>
                    <a:cubicBezTo>
                      <a:pt x="62" y="47"/>
                      <a:pt x="62" y="48"/>
                      <a:pt x="62" y="49"/>
                    </a:cubicBezTo>
                    <a:cubicBezTo>
                      <a:pt x="61" y="50"/>
                      <a:pt x="63" y="51"/>
                      <a:pt x="63" y="52"/>
                    </a:cubicBezTo>
                    <a:cubicBezTo>
                      <a:pt x="63" y="53"/>
                      <a:pt x="62" y="53"/>
                      <a:pt x="61" y="53"/>
                    </a:cubicBezTo>
                    <a:cubicBezTo>
                      <a:pt x="61" y="53"/>
                      <a:pt x="60" y="53"/>
                      <a:pt x="60" y="53"/>
                    </a:cubicBezTo>
                    <a:cubicBezTo>
                      <a:pt x="60" y="52"/>
                      <a:pt x="60" y="51"/>
                      <a:pt x="60" y="51"/>
                    </a:cubicBezTo>
                    <a:cubicBezTo>
                      <a:pt x="60" y="49"/>
                      <a:pt x="54" y="45"/>
                      <a:pt x="55" y="44"/>
                    </a:cubicBezTo>
                    <a:cubicBezTo>
                      <a:pt x="55" y="41"/>
                      <a:pt x="52" y="37"/>
                      <a:pt x="51" y="34"/>
                    </a:cubicBezTo>
                    <a:cubicBezTo>
                      <a:pt x="50" y="30"/>
                      <a:pt x="50" y="25"/>
                      <a:pt x="49" y="22"/>
                    </a:cubicBezTo>
                    <a:cubicBezTo>
                      <a:pt x="47" y="14"/>
                      <a:pt x="44" y="7"/>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382"/>
              <p:cNvSpPr/>
              <p:nvPr/>
            </p:nvSpPr>
            <p:spPr bwMode="auto">
              <a:xfrm>
                <a:off x="4362" y="2770"/>
                <a:ext cx="466" cy="605"/>
              </a:xfrm>
              <a:custGeom>
                <a:gdLst>
                  <a:gd name="T0" fmla="*/ 180 w 197"/>
                  <a:gd name="T1" fmla="*/ 4 h 256"/>
                  <a:gd name="T2" fmla="*/ 123 w 197"/>
                  <a:gd name="T3" fmla="*/ 16 h 256"/>
                  <a:gd name="T4" fmla="*/ 102 w 197"/>
                  <a:gd name="T5" fmla="*/ 25 h 256"/>
                  <a:gd name="T6" fmla="*/ 93 w 197"/>
                  <a:gd name="T7" fmla="*/ 23 h 256"/>
                  <a:gd name="T8" fmla="*/ 67 w 197"/>
                  <a:gd name="T9" fmla="*/ 31 h 256"/>
                  <a:gd name="T10" fmla="*/ 49 w 197"/>
                  <a:gd name="T11" fmla="*/ 19 h 256"/>
                  <a:gd name="T12" fmla="*/ 40 w 197"/>
                  <a:gd name="T13" fmla="*/ 18 h 256"/>
                  <a:gd name="T14" fmla="*/ 35 w 197"/>
                  <a:gd name="T15" fmla="*/ 24 h 256"/>
                  <a:gd name="T16" fmla="*/ 33 w 197"/>
                  <a:gd name="T17" fmla="*/ 27 h 256"/>
                  <a:gd name="T18" fmla="*/ 41 w 197"/>
                  <a:gd name="T19" fmla="*/ 39 h 256"/>
                  <a:gd name="T20" fmla="*/ 47 w 197"/>
                  <a:gd name="T21" fmla="*/ 48 h 256"/>
                  <a:gd name="T22" fmla="*/ 57 w 197"/>
                  <a:gd name="T23" fmla="*/ 55 h 256"/>
                  <a:gd name="T24" fmla="*/ 69 w 197"/>
                  <a:gd name="T25" fmla="*/ 59 h 256"/>
                  <a:gd name="T26" fmla="*/ 113 w 197"/>
                  <a:gd name="T27" fmla="*/ 75 h 256"/>
                  <a:gd name="T28" fmla="*/ 119 w 197"/>
                  <a:gd name="T29" fmla="*/ 75 h 256"/>
                  <a:gd name="T30" fmla="*/ 126 w 197"/>
                  <a:gd name="T31" fmla="*/ 75 h 256"/>
                  <a:gd name="T32" fmla="*/ 134 w 197"/>
                  <a:gd name="T33" fmla="*/ 79 h 256"/>
                  <a:gd name="T34" fmla="*/ 86 w 197"/>
                  <a:gd name="T35" fmla="*/ 127 h 256"/>
                  <a:gd name="T36" fmla="*/ 82 w 197"/>
                  <a:gd name="T37" fmla="*/ 131 h 256"/>
                  <a:gd name="T38" fmla="*/ 75 w 197"/>
                  <a:gd name="T39" fmla="*/ 137 h 256"/>
                  <a:gd name="T40" fmla="*/ 72 w 197"/>
                  <a:gd name="T41" fmla="*/ 138 h 256"/>
                  <a:gd name="T42" fmla="*/ 67 w 197"/>
                  <a:gd name="T43" fmla="*/ 138 h 256"/>
                  <a:gd name="T44" fmla="*/ 65 w 197"/>
                  <a:gd name="T45" fmla="*/ 138 h 256"/>
                  <a:gd name="T46" fmla="*/ 59 w 197"/>
                  <a:gd name="T47" fmla="*/ 138 h 256"/>
                  <a:gd name="T48" fmla="*/ 55 w 197"/>
                  <a:gd name="T49" fmla="*/ 138 h 256"/>
                  <a:gd name="T50" fmla="*/ 34 w 197"/>
                  <a:gd name="T51" fmla="*/ 149 h 256"/>
                  <a:gd name="T52" fmla="*/ 26 w 197"/>
                  <a:gd name="T53" fmla="*/ 151 h 256"/>
                  <a:gd name="T54" fmla="*/ 18 w 197"/>
                  <a:gd name="T55" fmla="*/ 155 h 256"/>
                  <a:gd name="T56" fmla="*/ 5 w 197"/>
                  <a:gd name="T57" fmla="*/ 171 h 256"/>
                  <a:gd name="T58" fmla="*/ 1 w 197"/>
                  <a:gd name="T59" fmla="*/ 176 h 256"/>
                  <a:gd name="T60" fmla="*/ 1 w 197"/>
                  <a:gd name="T61" fmla="*/ 181 h 256"/>
                  <a:gd name="T62" fmla="*/ 1 w 197"/>
                  <a:gd name="T63" fmla="*/ 210 h 256"/>
                  <a:gd name="T64" fmla="*/ 1 w 197"/>
                  <a:gd name="T65" fmla="*/ 237 h 256"/>
                  <a:gd name="T66" fmla="*/ 6 w 197"/>
                  <a:gd name="T67" fmla="*/ 253 h 256"/>
                  <a:gd name="T68" fmla="*/ 12 w 197"/>
                  <a:gd name="T69" fmla="*/ 256 h 256"/>
                  <a:gd name="T70" fmla="*/ 51 w 197"/>
                  <a:gd name="T71" fmla="*/ 213 h 256"/>
                  <a:gd name="T72" fmla="*/ 104 w 197"/>
                  <a:gd name="T73" fmla="*/ 173 h 256"/>
                  <a:gd name="T74" fmla="*/ 159 w 197"/>
                  <a:gd name="T75" fmla="*/ 97 h 256"/>
                  <a:gd name="T76" fmla="*/ 181 w 197"/>
                  <a:gd name="T77" fmla="*/ 58 h 256"/>
                  <a:gd name="T78" fmla="*/ 190 w 197"/>
                  <a:gd name="T79" fmla="*/ 31 h 256"/>
                  <a:gd name="T80" fmla="*/ 191 w 197"/>
                  <a:gd name="T81" fmla="*/ 29 h 256"/>
                  <a:gd name="T82" fmla="*/ 191 w 197"/>
                  <a:gd name="T83" fmla="*/ 15 h 2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7" h="256">
                    <a:moveTo>
                      <a:pt x="185" y="0"/>
                    </a:moveTo>
                    <a:cubicBezTo>
                      <a:pt x="184" y="0"/>
                      <a:pt x="182" y="1"/>
                      <a:pt x="181" y="2"/>
                    </a:cubicBezTo>
                    <a:cubicBezTo>
                      <a:pt x="181" y="2"/>
                      <a:pt x="181" y="3"/>
                      <a:pt x="180" y="4"/>
                    </a:cubicBezTo>
                    <a:cubicBezTo>
                      <a:pt x="178" y="7"/>
                      <a:pt x="171" y="8"/>
                      <a:pt x="167" y="9"/>
                    </a:cubicBezTo>
                    <a:cubicBezTo>
                      <a:pt x="161" y="11"/>
                      <a:pt x="155" y="13"/>
                      <a:pt x="149" y="15"/>
                    </a:cubicBezTo>
                    <a:cubicBezTo>
                      <a:pt x="140" y="15"/>
                      <a:pt x="132" y="15"/>
                      <a:pt x="123" y="16"/>
                    </a:cubicBezTo>
                    <a:cubicBezTo>
                      <a:pt x="120" y="16"/>
                      <a:pt x="118" y="17"/>
                      <a:pt x="116" y="19"/>
                    </a:cubicBezTo>
                    <a:cubicBezTo>
                      <a:pt x="114" y="19"/>
                      <a:pt x="113" y="20"/>
                      <a:pt x="112" y="21"/>
                    </a:cubicBezTo>
                    <a:cubicBezTo>
                      <a:pt x="109" y="22"/>
                      <a:pt x="105" y="25"/>
                      <a:pt x="102" y="25"/>
                    </a:cubicBezTo>
                    <a:cubicBezTo>
                      <a:pt x="101" y="25"/>
                      <a:pt x="101" y="25"/>
                      <a:pt x="101" y="25"/>
                    </a:cubicBezTo>
                    <a:cubicBezTo>
                      <a:pt x="100" y="25"/>
                      <a:pt x="99" y="24"/>
                      <a:pt x="98" y="24"/>
                    </a:cubicBezTo>
                    <a:cubicBezTo>
                      <a:pt x="97" y="23"/>
                      <a:pt x="94" y="23"/>
                      <a:pt x="93" y="23"/>
                    </a:cubicBezTo>
                    <a:cubicBezTo>
                      <a:pt x="92" y="23"/>
                      <a:pt x="92" y="23"/>
                      <a:pt x="91" y="23"/>
                    </a:cubicBezTo>
                    <a:cubicBezTo>
                      <a:pt x="86" y="25"/>
                      <a:pt x="81" y="28"/>
                      <a:pt x="75" y="30"/>
                    </a:cubicBezTo>
                    <a:cubicBezTo>
                      <a:pt x="73" y="31"/>
                      <a:pt x="69" y="30"/>
                      <a:pt x="67" y="31"/>
                    </a:cubicBezTo>
                    <a:cubicBezTo>
                      <a:pt x="66" y="31"/>
                      <a:pt x="66" y="31"/>
                      <a:pt x="66" y="31"/>
                    </a:cubicBezTo>
                    <a:cubicBezTo>
                      <a:pt x="63" y="31"/>
                      <a:pt x="61" y="30"/>
                      <a:pt x="59" y="28"/>
                    </a:cubicBezTo>
                    <a:cubicBezTo>
                      <a:pt x="56" y="25"/>
                      <a:pt x="52" y="23"/>
                      <a:pt x="49" y="19"/>
                    </a:cubicBezTo>
                    <a:cubicBezTo>
                      <a:pt x="48" y="18"/>
                      <a:pt x="48" y="17"/>
                      <a:pt x="47" y="16"/>
                    </a:cubicBezTo>
                    <a:cubicBezTo>
                      <a:pt x="46" y="14"/>
                      <a:pt x="45" y="13"/>
                      <a:pt x="43" y="12"/>
                    </a:cubicBezTo>
                    <a:cubicBezTo>
                      <a:pt x="43" y="13"/>
                      <a:pt x="41" y="16"/>
                      <a:pt x="40" y="18"/>
                    </a:cubicBezTo>
                    <a:cubicBezTo>
                      <a:pt x="40" y="18"/>
                      <a:pt x="40" y="18"/>
                      <a:pt x="40" y="18"/>
                    </a:cubicBezTo>
                    <a:cubicBezTo>
                      <a:pt x="37" y="21"/>
                      <a:pt x="37" y="21"/>
                      <a:pt x="37" y="21"/>
                    </a:cubicBezTo>
                    <a:cubicBezTo>
                      <a:pt x="37" y="22"/>
                      <a:pt x="36" y="23"/>
                      <a:pt x="35" y="24"/>
                    </a:cubicBezTo>
                    <a:cubicBezTo>
                      <a:pt x="35" y="25"/>
                      <a:pt x="35" y="25"/>
                      <a:pt x="33" y="26"/>
                    </a:cubicBezTo>
                    <a:cubicBezTo>
                      <a:pt x="33" y="27"/>
                      <a:pt x="33" y="27"/>
                      <a:pt x="33" y="27"/>
                    </a:cubicBezTo>
                    <a:cubicBezTo>
                      <a:pt x="33" y="27"/>
                      <a:pt x="33" y="27"/>
                      <a:pt x="33" y="27"/>
                    </a:cubicBezTo>
                    <a:cubicBezTo>
                      <a:pt x="33" y="27"/>
                      <a:pt x="34" y="28"/>
                      <a:pt x="35" y="29"/>
                    </a:cubicBezTo>
                    <a:cubicBezTo>
                      <a:pt x="35" y="29"/>
                      <a:pt x="35" y="30"/>
                      <a:pt x="36" y="30"/>
                    </a:cubicBezTo>
                    <a:cubicBezTo>
                      <a:pt x="37" y="33"/>
                      <a:pt x="39" y="36"/>
                      <a:pt x="41" y="39"/>
                    </a:cubicBezTo>
                    <a:cubicBezTo>
                      <a:pt x="42" y="40"/>
                      <a:pt x="42" y="40"/>
                      <a:pt x="42" y="40"/>
                    </a:cubicBezTo>
                    <a:cubicBezTo>
                      <a:pt x="42" y="41"/>
                      <a:pt x="43" y="42"/>
                      <a:pt x="43" y="43"/>
                    </a:cubicBezTo>
                    <a:cubicBezTo>
                      <a:pt x="44" y="45"/>
                      <a:pt x="46" y="47"/>
                      <a:pt x="47" y="48"/>
                    </a:cubicBezTo>
                    <a:cubicBezTo>
                      <a:pt x="48" y="50"/>
                      <a:pt x="51" y="51"/>
                      <a:pt x="53" y="52"/>
                    </a:cubicBezTo>
                    <a:cubicBezTo>
                      <a:pt x="56" y="54"/>
                      <a:pt x="56" y="54"/>
                      <a:pt x="56" y="54"/>
                    </a:cubicBezTo>
                    <a:cubicBezTo>
                      <a:pt x="57" y="55"/>
                      <a:pt x="57" y="55"/>
                      <a:pt x="57" y="55"/>
                    </a:cubicBezTo>
                    <a:cubicBezTo>
                      <a:pt x="59" y="57"/>
                      <a:pt x="62" y="57"/>
                      <a:pt x="65" y="58"/>
                    </a:cubicBezTo>
                    <a:cubicBezTo>
                      <a:pt x="66" y="59"/>
                      <a:pt x="68" y="59"/>
                      <a:pt x="69" y="59"/>
                    </a:cubicBezTo>
                    <a:cubicBezTo>
                      <a:pt x="69" y="59"/>
                      <a:pt x="69" y="59"/>
                      <a:pt x="69" y="59"/>
                    </a:cubicBezTo>
                    <a:cubicBezTo>
                      <a:pt x="103" y="71"/>
                      <a:pt x="103" y="71"/>
                      <a:pt x="103" y="71"/>
                    </a:cubicBezTo>
                    <a:cubicBezTo>
                      <a:pt x="104" y="72"/>
                      <a:pt x="105" y="72"/>
                      <a:pt x="107" y="72"/>
                    </a:cubicBezTo>
                    <a:cubicBezTo>
                      <a:pt x="109" y="73"/>
                      <a:pt x="111" y="75"/>
                      <a:pt x="113" y="75"/>
                    </a:cubicBezTo>
                    <a:cubicBezTo>
                      <a:pt x="115" y="75"/>
                      <a:pt x="115" y="75"/>
                      <a:pt x="117" y="75"/>
                    </a:cubicBezTo>
                    <a:cubicBezTo>
                      <a:pt x="117" y="75"/>
                      <a:pt x="118" y="75"/>
                      <a:pt x="119" y="75"/>
                    </a:cubicBezTo>
                    <a:cubicBezTo>
                      <a:pt x="119" y="75"/>
                      <a:pt x="119" y="75"/>
                      <a:pt x="119" y="75"/>
                    </a:cubicBezTo>
                    <a:cubicBezTo>
                      <a:pt x="120" y="75"/>
                      <a:pt x="120" y="75"/>
                      <a:pt x="121" y="75"/>
                    </a:cubicBezTo>
                    <a:cubicBezTo>
                      <a:pt x="122" y="75"/>
                      <a:pt x="124" y="75"/>
                      <a:pt x="125" y="75"/>
                    </a:cubicBezTo>
                    <a:cubicBezTo>
                      <a:pt x="126" y="75"/>
                      <a:pt x="126" y="75"/>
                      <a:pt x="126" y="75"/>
                    </a:cubicBezTo>
                    <a:cubicBezTo>
                      <a:pt x="128" y="75"/>
                      <a:pt x="130" y="75"/>
                      <a:pt x="132" y="75"/>
                    </a:cubicBezTo>
                    <a:cubicBezTo>
                      <a:pt x="138" y="75"/>
                      <a:pt x="138" y="75"/>
                      <a:pt x="138" y="75"/>
                    </a:cubicBezTo>
                    <a:cubicBezTo>
                      <a:pt x="134" y="79"/>
                      <a:pt x="134" y="79"/>
                      <a:pt x="134" y="79"/>
                    </a:cubicBezTo>
                    <a:cubicBezTo>
                      <a:pt x="130" y="83"/>
                      <a:pt x="125" y="86"/>
                      <a:pt x="121" y="90"/>
                    </a:cubicBezTo>
                    <a:cubicBezTo>
                      <a:pt x="111" y="100"/>
                      <a:pt x="101" y="111"/>
                      <a:pt x="89" y="123"/>
                    </a:cubicBezTo>
                    <a:cubicBezTo>
                      <a:pt x="86" y="127"/>
                      <a:pt x="86" y="127"/>
                      <a:pt x="86" y="127"/>
                    </a:cubicBezTo>
                    <a:cubicBezTo>
                      <a:pt x="85" y="127"/>
                      <a:pt x="85" y="127"/>
                      <a:pt x="85" y="127"/>
                    </a:cubicBezTo>
                    <a:cubicBezTo>
                      <a:pt x="84" y="129"/>
                      <a:pt x="84" y="129"/>
                      <a:pt x="84" y="129"/>
                    </a:cubicBezTo>
                    <a:cubicBezTo>
                      <a:pt x="83" y="130"/>
                      <a:pt x="82" y="131"/>
                      <a:pt x="82" y="131"/>
                    </a:cubicBezTo>
                    <a:cubicBezTo>
                      <a:pt x="80" y="133"/>
                      <a:pt x="80" y="133"/>
                      <a:pt x="80" y="133"/>
                    </a:cubicBezTo>
                    <a:cubicBezTo>
                      <a:pt x="79" y="134"/>
                      <a:pt x="79" y="135"/>
                      <a:pt x="78" y="136"/>
                    </a:cubicBezTo>
                    <a:cubicBezTo>
                      <a:pt x="77" y="136"/>
                      <a:pt x="76" y="137"/>
                      <a:pt x="75" y="137"/>
                    </a:cubicBezTo>
                    <a:cubicBezTo>
                      <a:pt x="74" y="138"/>
                      <a:pt x="74" y="138"/>
                      <a:pt x="74" y="138"/>
                    </a:cubicBezTo>
                    <a:cubicBezTo>
                      <a:pt x="74" y="138"/>
                      <a:pt x="73" y="138"/>
                      <a:pt x="73" y="138"/>
                    </a:cubicBezTo>
                    <a:cubicBezTo>
                      <a:pt x="72" y="138"/>
                      <a:pt x="72" y="138"/>
                      <a:pt x="72" y="138"/>
                    </a:cubicBezTo>
                    <a:cubicBezTo>
                      <a:pt x="72" y="138"/>
                      <a:pt x="71" y="138"/>
                      <a:pt x="71" y="138"/>
                    </a:cubicBezTo>
                    <a:cubicBezTo>
                      <a:pt x="71" y="138"/>
                      <a:pt x="70" y="138"/>
                      <a:pt x="70" y="138"/>
                    </a:cubicBezTo>
                    <a:cubicBezTo>
                      <a:pt x="69" y="138"/>
                      <a:pt x="68" y="138"/>
                      <a:pt x="67" y="138"/>
                    </a:cubicBezTo>
                    <a:cubicBezTo>
                      <a:pt x="67" y="138"/>
                      <a:pt x="67" y="138"/>
                      <a:pt x="67" y="138"/>
                    </a:cubicBezTo>
                    <a:cubicBezTo>
                      <a:pt x="66" y="138"/>
                      <a:pt x="66" y="138"/>
                      <a:pt x="65" y="138"/>
                    </a:cubicBezTo>
                    <a:cubicBezTo>
                      <a:pt x="65" y="138"/>
                      <a:pt x="65" y="138"/>
                      <a:pt x="65" y="138"/>
                    </a:cubicBezTo>
                    <a:cubicBezTo>
                      <a:pt x="64" y="138"/>
                      <a:pt x="63" y="138"/>
                      <a:pt x="61" y="138"/>
                    </a:cubicBezTo>
                    <a:cubicBezTo>
                      <a:pt x="60" y="138"/>
                      <a:pt x="60" y="138"/>
                      <a:pt x="60" y="138"/>
                    </a:cubicBezTo>
                    <a:cubicBezTo>
                      <a:pt x="60" y="138"/>
                      <a:pt x="59" y="138"/>
                      <a:pt x="59" y="138"/>
                    </a:cubicBezTo>
                    <a:cubicBezTo>
                      <a:pt x="58" y="138"/>
                      <a:pt x="58" y="138"/>
                      <a:pt x="58" y="138"/>
                    </a:cubicBezTo>
                    <a:cubicBezTo>
                      <a:pt x="57" y="138"/>
                      <a:pt x="57" y="138"/>
                      <a:pt x="57" y="138"/>
                    </a:cubicBezTo>
                    <a:cubicBezTo>
                      <a:pt x="57" y="138"/>
                      <a:pt x="56" y="138"/>
                      <a:pt x="55" y="138"/>
                    </a:cubicBezTo>
                    <a:cubicBezTo>
                      <a:pt x="54" y="138"/>
                      <a:pt x="53" y="138"/>
                      <a:pt x="52" y="139"/>
                    </a:cubicBezTo>
                    <a:cubicBezTo>
                      <a:pt x="47" y="140"/>
                      <a:pt x="43" y="143"/>
                      <a:pt x="39" y="146"/>
                    </a:cubicBezTo>
                    <a:cubicBezTo>
                      <a:pt x="37" y="147"/>
                      <a:pt x="36" y="148"/>
                      <a:pt x="34" y="149"/>
                    </a:cubicBezTo>
                    <a:cubicBezTo>
                      <a:pt x="32" y="150"/>
                      <a:pt x="31" y="151"/>
                      <a:pt x="29" y="151"/>
                    </a:cubicBezTo>
                    <a:cubicBezTo>
                      <a:pt x="28" y="151"/>
                      <a:pt x="27" y="151"/>
                      <a:pt x="26" y="151"/>
                    </a:cubicBezTo>
                    <a:cubicBezTo>
                      <a:pt x="26" y="151"/>
                      <a:pt x="26" y="151"/>
                      <a:pt x="26" y="151"/>
                    </a:cubicBezTo>
                    <a:cubicBezTo>
                      <a:pt x="24" y="151"/>
                      <a:pt x="22" y="151"/>
                      <a:pt x="21" y="152"/>
                    </a:cubicBezTo>
                    <a:cubicBezTo>
                      <a:pt x="21" y="152"/>
                      <a:pt x="20" y="153"/>
                      <a:pt x="20" y="153"/>
                    </a:cubicBezTo>
                    <a:cubicBezTo>
                      <a:pt x="19" y="154"/>
                      <a:pt x="19" y="155"/>
                      <a:pt x="18" y="155"/>
                    </a:cubicBezTo>
                    <a:cubicBezTo>
                      <a:pt x="18" y="156"/>
                      <a:pt x="18" y="156"/>
                      <a:pt x="18" y="156"/>
                    </a:cubicBezTo>
                    <a:cubicBezTo>
                      <a:pt x="16" y="158"/>
                      <a:pt x="7" y="169"/>
                      <a:pt x="7" y="169"/>
                    </a:cubicBezTo>
                    <a:cubicBezTo>
                      <a:pt x="5" y="171"/>
                      <a:pt x="5" y="171"/>
                      <a:pt x="5" y="171"/>
                    </a:cubicBezTo>
                    <a:cubicBezTo>
                      <a:pt x="5" y="171"/>
                      <a:pt x="5" y="171"/>
                      <a:pt x="5" y="171"/>
                    </a:cubicBezTo>
                    <a:cubicBezTo>
                      <a:pt x="3" y="173"/>
                      <a:pt x="3" y="173"/>
                      <a:pt x="3" y="173"/>
                    </a:cubicBezTo>
                    <a:cubicBezTo>
                      <a:pt x="3" y="174"/>
                      <a:pt x="2" y="175"/>
                      <a:pt x="1" y="176"/>
                    </a:cubicBezTo>
                    <a:cubicBezTo>
                      <a:pt x="1" y="177"/>
                      <a:pt x="1" y="177"/>
                      <a:pt x="1" y="177"/>
                    </a:cubicBezTo>
                    <a:cubicBezTo>
                      <a:pt x="0" y="178"/>
                      <a:pt x="1" y="179"/>
                      <a:pt x="1" y="180"/>
                    </a:cubicBezTo>
                    <a:cubicBezTo>
                      <a:pt x="1" y="181"/>
                      <a:pt x="1" y="181"/>
                      <a:pt x="1" y="181"/>
                    </a:cubicBezTo>
                    <a:cubicBezTo>
                      <a:pt x="1" y="181"/>
                      <a:pt x="1" y="182"/>
                      <a:pt x="1" y="182"/>
                    </a:cubicBezTo>
                    <a:cubicBezTo>
                      <a:pt x="1" y="191"/>
                      <a:pt x="1" y="191"/>
                      <a:pt x="1" y="191"/>
                    </a:cubicBezTo>
                    <a:cubicBezTo>
                      <a:pt x="1" y="197"/>
                      <a:pt x="1" y="203"/>
                      <a:pt x="1" y="210"/>
                    </a:cubicBezTo>
                    <a:cubicBezTo>
                      <a:pt x="1" y="212"/>
                      <a:pt x="1" y="212"/>
                      <a:pt x="1" y="212"/>
                    </a:cubicBezTo>
                    <a:cubicBezTo>
                      <a:pt x="1" y="219"/>
                      <a:pt x="1" y="226"/>
                      <a:pt x="1" y="233"/>
                    </a:cubicBezTo>
                    <a:cubicBezTo>
                      <a:pt x="1" y="234"/>
                      <a:pt x="1" y="236"/>
                      <a:pt x="1" y="237"/>
                    </a:cubicBezTo>
                    <a:cubicBezTo>
                      <a:pt x="1" y="240"/>
                      <a:pt x="0" y="244"/>
                      <a:pt x="1" y="246"/>
                    </a:cubicBezTo>
                    <a:cubicBezTo>
                      <a:pt x="1" y="246"/>
                      <a:pt x="2" y="247"/>
                      <a:pt x="2" y="248"/>
                    </a:cubicBezTo>
                    <a:cubicBezTo>
                      <a:pt x="4" y="250"/>
                      <a:pt x="5" y="251"/>
                      <a:pt x="6" y="253"/>
                    </a:cubicBezTo>
                    <a:cubicBezTo>
                      <a:pt x="6" y="253"/>
                      <a:pt x="6" y="253"/>
                      <a:pt x="6" y="253"/>
                    </a:cubicBezTo>
                    <a:cubicBezTo>
                      <a:pt x="7" y="254"/>
                      <a:pt x="8" y="255"/>
                      <a:pt x="8" y="256"/>
                    </a:cubicBezTo>
                    <a:cubicBezTo>
                      <a:pt x="12" y="256"/>
                      <a:pt x="12" y="256"/>
                      <a:pt x="12" y="256"/>
                    </a:cubicBezTo>
                    <a:cubicBezTo>
                      <a:pt x="14" y="253"/>
                      <a:pt x="15" y="250"/>
                      <a:pt x="17" y="247"/>
                    </a:cubicBezTo>
                    <a:cubicBezTo>
                      <a:pt x="17" y="248"/>
                      <a:pt x="17" y="248"/>
                      <a:pt x="17" y="248"/>
                    </a:cubicBezTo>
                    <a:cubicBezTo>
                      <a:pt x="29" y="238"/>
                      <a:pt x="39" y="223"/>
                      <a:pt x="51" y="213"/>
                    </a:cubicBezTo>
                    <a:cubicBezTo>
                      <a:pt x="57" y="209"/>
                      <a:pt x="63" y="204"/>
                      <a:pt x="69" y="200"/>
                    </a:cubicBezTo>
                    <a:cubicBezTo>
                      <a:pt x="72" y="197"/>
                      <a:pt x="75" y="195"/>
                      <a:pt x="78" y="193"/>
                    </a:cubicBezTo>
                    <a:cubicBezTo>
                      <a:pt x="88" y="187"/>
                      <a:pt x="95" y="180"/>
                      <a:pt x="104" y="173"/>
                    </a:cubicBezTo>
                    <a:cubicBezTo>
                      <a:pt x="112" y="165"/>
                      <a:pt x="120" y="157"/>
                      <a:pt x="128" y="148"/>
                    </a:cubicBezTo>
                    <a:cubicBezTo>
                      <a:pt x="136" y="140"/>
                      <a:pt x="141" y="129"/>
                      <a:pt x="148" y="120"/>
                    </a:cubicBezTo>
                    <a:cubicBezTo>
                      <a:pt x="152" y="113"/>
                      <a:pt x="156" y="105"/>
                      <a:pt x="159" y="97"/>
                    </a:cubicBezTo>
                    <a:cubicBezTo>
                      <a:pt x="162" y="92"/>
                      <a:pt x="164" y="87"/>
                      <a:pt x="166" y="82"/>
                    </a:cubicBezTo>
                    <a:cubicBezTo>
                      <a:pt x="167" y="78"/>
                      <a:pt x="169" y="76"/>
                      <a:pt x="172" y="72"/>
                    </a:cubicBezTo>
                    <a:cubicBezTo>
                      <a:pt x="176" y="68"/>
                      <a:pt x="178" y="62"/>
                      <a:pt x="181" y="58"/>
                    </a:cubicBezTo>
                    <a:cubicBezTo>
                      <a:pt x="183" y="55"/>
                      <a:pt x="186" y="51"/>
                      <a:pt x="186" y="48"/>
                    </a:cubicBezTo>
                    <a:cubicBezTo>
                      <a:pt x="186" y="46"/>
                      <a:pt x="186" y="43"/>
                      <a:pt x="187" y="40"/>
                    </a:cubicBezTo>
                    <a:cubicBezTo>
                      <a:pt x="188" y="37"/>
                      <a:pt x="186" y="33"/>
                      <a:pt x="190" y="31"/>
                    </a:cubicBezTo>
                    <a:cubicBezTo>
                      <a:pt x="192" y="30"/>
                      <a:pt x="195" y="31"/>
                      <a:pt x="197" y="30"/>
                    </a:cubicBezTo>
                    <a:cubicBezTo>
                      <a:pt x="196" y="29"/>
                      <a:pt x="194" y="28"/>
                      <a:pt x="193" y="28"/>
                    </a:cubicBezTo>
                    <a:cubicBezTo>
                      <a:pt x="192" y="28"/>
                      <a:pt x="192" y="29"/>
                      <a:pt x="191" y="29"/>
                    </a:cubicBezTo>
                    <a:cubicBezTo>
                      <a:pt x="191" y="28"/>
                      <a:pt x="192" y="28"/>
                      <a:pt x="192" y="27"/>
                    </a:cubicBezTo>
                    <a:cubicBezTo>
                      <a:pt x="192" y="27"/>
                      <a:pt x="192" y="26"/>
                      <a:pt x="192" y="25"/>
                    </a:cubicBezTo>
                    <a:cubicBezTo>
                      <a:pt x="191" y="22"/>
                      <a:pt x="191" y="18"/>
                      <a:pt x="191" y="15"/>
                    </a:cubicBezTo>
                    <a:cubicBezTo>
                      <a:pt x="191" y="11"/>
                      <a:pt x="193" y="7"/>
                      <a:pt x="194" y="3"/>
                    </a:cubicBezTo>
                    <a:cubicBezTo>
                      <a:pt x="192" y="2"/>
                      <a:pt x="188" y="0"/>
                      <a:pt x="1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Freeform 383"/>
              <p:cNvSpPr/>
              <p:nvPr/>
            </p:nvSpPr>
            <p:spPr bwMode="auto">
              <a:xfrm>
                <a:off x="3849" y="3132"/>
                <a:ext cx="234" cy="241"/>
              </a:xfrm>
              <a:custGeom>
                <a:gdLst>
                  <a:gd name="T0" fmla="*/ 72 w 99"/>
                  <a:gd name="T1" fmla="*/ 7 h 102"/>
                  <a:gd name="T2" fmla="*/ 63 w 99"/>
                  <a:gd name="T3" fmla="*/ 5 h 102"/>
                  <a:gd name="T4" fmla="*/ 53 w 99"/>
                  <a:gd name="T5" fmla="*/ 8 h 102"/>
                  <a:gd name="T6" fmla="*/ 50 w 99"/>
                  <a:gd name="T7" fmla="*/ 11 h 102"/>
                  <a:gd name="T8" fmla="*/ 45 w 99"/>
                  <a:gd name="T9" fmla="*/ 11 h 102"/>
                  <a:gd name="T10" fmla="*/ 44 w 99"/>
                  <a:gd name="T11" fmla="*/ 10 h 102"/>
                  <a:gd name="T12" fmla="*/ 38 w 99"/>
                  <a:gd name="T13" fmla="*/ 8 h 102"/>
                  <a:gd name="T14" fmla="*/ 31 w 99"/>
                  <a:gd name="T15" fmla="*/ 8 h 102"/>
                  <a:gd name="T16" fmla="*/ 28 w 99"/>
                  <a:gd name="T17" fmla="*/ 7 h 102"/>
                  <a:gd name="T18" fmla="*/ 28 w 99"/>
                  <a:gd name="T19" fmla="*/ 8 h 102"/>
                  <a:gd name="T20" fmla="*/ 27 w 99"/>
                  <a:gd name="T21" fmla="*/ 9 h 102"/>
                  <a:gd name="T22" fmla="*/ 25 w 99"/>
                  <a:gd name="T23" fmla="*/ 11 h 102"/>
                  <a:gd name="T24" fmla="*/ 23 w 99"/>
                  <a:gd name="T25" fmla="*/ 18 h 102"/>
                  <a:gd name="T26" fmla="*/ 23 w 99"/>
                  <a:gd name="T27" fmla="*/ 26 h 102"/>
                  <a:gd name="T28" fmla="*/ 23 w 99"/>
                  <a:gd name="T29" fmla="*/ 29 h 102"/>
                  <a:gd name="T30" fmla="*/ 24 w 99"/>
                  <a:gd name="T31" fmla="*/ 29 h 102"/>
                  <a:gd name="T32" fmla="*/ 27 w 99"/>
                  <a:gd name="T33" fmla="*/ 31 h 102"/>
                  <a:gd name="T34" fmla="*/ 33 w 99"/>
                  <a:gd name="T35" fmla="*/ 37 h 102"/>
                  <a:gd name="T36" fmla="*/ 11 w 99"/>
                  <a:gd name="T37" fmla="*/ 60 h 102"/>
                  <a:gd name="T38" fmla="*/ 9 w 99"/>
                  <a:gd name="T39" fmla="*/ 61 h 102"/>
                  <a:gd name="T40" fmla="*/ 6 w 99"/>
                  <a:gd name="T41" fmla="*/ 72 h 102"/>
                  <a:gd name="T42" fmla="*/ 1 w 99"/>
                  <a:gd name="T43" fmla="*/ 89 h 102"/>
                  <a:gd name="T44" fmla="*/ 3 w 99"/>
                  <a:gd name="T45" fmla="*/ 100 h 102"/>
                  <a:gd name="T46" fmla="*/ 7 w 99"/>
                  <a:gd name="T47" fmla="*/ 101 h 102"/>
                  <a:gd name="T48" fmla="*/ 12 w 99"/>
                  <a:gd name="T49" fmla="*/ 96 h 102"/>
                  <a:gd name="T50" fmla="*/ 16 w 99"/>
                  <a:gd name="T51" fmla="*/ 94 h 102"/>
                  <a:gd name="T52" fmla="*/ 39 w 99"/>
                  <a:gd name="T53" fmla="*/ 90 h 102"/>
                  <a:gd name="T54" fmla="*/ 53 w 99"/>
                  <a:gd name="T55" fmla="*/ 76 h 102"/>
                  <a:gd name="T56" fmla="*/ 62 w 99"/>
                  <a:gd name="T57" fmla="*/ 75 h 102"/>
                  <a:gd name="T58" fmla="*/ 69 w 99"/>
                  <a:gd name="T59" fmla="*/ 68 h 102"/>
                  <a:gd name="T60" fmla="*/ 74 w 99"/>
                  <a:gd name="T61" fmla="*/ 73 h 102"/>
                  <a:gd name="T62" fmla="*/ 79 w 99"/>
                  <a:gd name="T63" fmla="*/ 74 h 102"/>
                  <a:gd name="T64" fmla="*/ 80 w 99"/>
                  <a:gd name="T65" fmla="*/ 72 h 102"/>
                  <a:gd name="T66" fmla="*/ 81 w 99"/>
                  <a:gd name="T67" fmla="*/ 70 h 102"/>
                  <a:gd name="T68" fmla="*/ 85 w 99"/>
                  <a:gd name="T69" fmla="*/ 62 h 102"/>
                  <a:gd name="T70" fmla="*/ 87 w 99"/>
                  <a:gd name="T71" fmla="*/ 60 h 102"/>
                  <a:gd name="T72" fmla="*/ 90 w 99"/>
                  <a:gd name="T73" fmla="*/ 55 h 102"/>
                  <a:gd name="T74" fmla="*/ 92 w 99"/>
                  <a:gd name="T75" fmla="*/ 54 h 102"/>
                  <a:gd name="T76" fmla="*/ 95 w 99"/>
                  <a:gd name="T77" fmla="*/ 52 h 102"/>
                  <a:gd name="T78" fmla="*/ 95 w 99"/>
                  <a:gd name="T79" fmla="*/ 50 h 102"/>
                  <a:gd name="T80" fmla="*/ 97 w 99"/>
                  <a:gd name="T81" fmla="*/ 46 h 102"/>
                  <a:gd name="T82" fmla="*/ 99 w 99"/>
                  <a:gd name="T83" fmla="*/ 39 h 102"/>
                  <a:gd name="T84" fmla="*/ 95 w 99"/>
                  <a:gd name="T85" fmla="*/ 25 h 102"/>
                  <a:gd name="T86" fmla="*/ 90 w 99"/>
                  <a:gd name="T87" fmla="*/ 17 h 102"/>
                  <a:gd name="T88" fmla="*/ 87 w 99"/>
                  <a:gd name="T89" fmla="*/ 8 h 102"/>
                  <a:gd name="T90" fmla="*/ 83 w 99"/>
                  <a:gd name="T91" fmla="*/ 4 h 102"/>
                  <a:gd name="T92" fmla="*/ 81 w 99"/>
                  <a:gd name="T93" fmla="*/ 0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9" h="102">
                    <a:moveTo>
                      <a:pt x="81" y="0"/>
                    </a:moveTo>
                    <a:cubicBezTo>
                      <a:pt x="77" y="5"/>
                      <a:pt x="77" y="5"/>
                      <a:pt x="77" y="5"/>
                    </a:cubicBezTo>
                    <a:cubicBezTo>
                      <a:pt x="75" y="7"/>
                      <a:pt x="74" y="7"/>
                      <a:pt x="72" y="7"/>
                    </a:cubicBezTo>
                    <a:cubicBezTo>
                      <a:pt x="71" y="7"/>
                      <a:pt x="70" y="7"/>
                      <a:pt x="69" y="7"/>
                    </a:cubicBezTo>
                    <a:cubicBezTo>
                      <a:pt x="68" y="7"/>
                      <a:pt x="66" y="7"/>
                      <a:pt x="65" y="6"/>
                    </a:cubicBezTo>
                    <a:cubicBezTo>
                      <a:pt x="63" y="5"/>
                      <a:pt x="63" y="5"/>
                      <a:pt x="63" y="5"/>
                    </a:cubicBezTo>
                    <a:cubicBezTo>
                      <a:pt x="63" y="5"/>
                      <a:pt x="63" y="5"/>
                      <a:pt x="63" y="5"/>
                    </a:cubicBezTo>
                    <a:cubicBezTo>
                      <a:pt x="62" y="5"/>
                      <a:pt x="59" y="5"/>
                      <a:pt x="57" y="6"/>
                    </a:cubicBezTo>
                    <a:cubicBezTo>
                      <a:pt x="55" y="7"/>
                      <a:pt x="54" y="7"/>
                      <a:pt x="53" y="8"/>
                    </a:cubicBezTo>
                    <a:cubicBezTo>
                      <a:pt x="53" y="8"/>
                      <a:pt x="53" y="8"/>
                      <a:pt x="53" y="8"/>
                    </a:cubicBezTo>
                    <a:cubicBezTo>
                      <a:pt x="52" y="8"/>
                      <a:pt x="52" y="9"/>
                      <a:pt x="51" y="10"/>
                    </a:cubicBezTo>
                    <a:cubicBezTo>
                      <a:pt x="50" y="11"/>
                      <a:pt x="50" y="11"/>
                      <a:pt x="50" y="11"/>
                    </a:cubicBezTo>
                    <a:cubicBezTo>
                      <a:pt x="49" y="11"/>
                      <a:pt x="48" y="12"/>
                      <a:pt x="48" y="12"/>
                    </a:cubicBezTo>
                    <a:cubicBezTo>
                      <a:pt x="47" y="12"/>
                      <a:pt x="46" y="12"/>
                      <a:pt x="45" y="11"/>
                    </a:cubicBezTo>
                    <a:cubicBezTo>
                      <a:pt x="45" y="11"/>
                      <a:pt x="45" y="11"/>
                      <a:pt x="45" y="11"/>
                    </a:cubicBezTo>
                    <a:cubicBezTo>
                      <a:pt x="45" y="10"/>
                      <a:pt x="45" y="10"/>
                      <a:pt x="45" y="10"/>
                    </a:cubicBezTo>
                    <a:cubicBezTo>
                      <a:pt x="44" y="10"/>
                      <a:pt x="44" y="10"/>
                      <a:pt x="44" y="10"/>
                    </a:cubicBezTo>
                    <a:cubicBezTo>
                      <a:pt x="44" y="10"/>
                      <a:pt x="44" y="10"/>
                      <a:pt x="44" y="10"/>
                    </a:cubicBezTo>
                    <a:cubicBezTo>
                      <a:pt x="43" y="10"/>
                      <a:pt x="42" y="10"/>
                      <a:pt x="41" y="9"/>
                    </a:cubicBezTo>
                    <a:cubicBezTo>
                      <a:pt x="40" y="7"/>
                      <a:pt x="40" y="7"/>
                      <a:pt x="40" y="7"/>
                    </a:cubicBezTo>
                    <a:cubicBezTo>
                      <a:pt x="38" y="8"/>
                      <a:pt x="38" y="8"/>
                      <a:pt x="38" y="8"/>
                    </a:cubicBezTo>
                    <a:cubicBezTo>
                      <a:pt x="37" y="9"/>
                      <a:pt x="36" y="9"/>
                      <a:pt x="35" y="9"/>
                    </a:cubicBezTo>
                    <a:cubicBezTo>
                      <a:pt x="34" y="9"/>
                      <a:pt x="34" y="9"/>
                      <a:pt x="33" y="9"/>
                    </a:cubicBezTo>
                    <a:cubicBezTo>
                      <a:pt x="32" y="9"/>
                      <a:pt x="32" y="8"/>
                      <a:pt x="31" y="8"/>
                    </a:cubicBezTo>
                    <a:cubicBezTo>
                      <a:pt x="31" y="8"/>
                      <a:pt x="31" y="8"/>
                      <a:pt x="31" y="8"/>
                    </a:cubicBezTo>
                    <a:cubicBezTo>
                      <a:pt x="30" y="8"/>
                      <a:pt x="30" y="8"/>
                      <a:pt x="29" y="8"/>
                    </a:cubicBezTo>
                    <a:cubicBezTo>
                      <a:pt x="29" y="8"/>
                      <a:pt x="28" y="7"/>
                      <a:pt x="28" y="7"/>
                    </a:cubicBezTo>
                    <a:cubicBezTo>
                      <a:pt x="29" y="7"/>
                      <a:pt x="29" y="7"/>
                      <a:pt x="29" y="7"/>
                    </a:cubicBezTo>
                    <a:cubicBezTo>
                      <a:pt x="28" y="7"/>
                      <a:pt x="28" y="7"/>
                      <a:pt x="28" y="7"/>
                    </a:cubicBezTo>
                    <a:cubicBezTo>
                      <a:pt x="28" y="8"/>
                      <a:pt x="28" y="8"/>
                      <a:pt x="28" y="8"/>
                    </a:cubicBezTo>
                    <a:cubicBezTo>
                      <a:pt x="28" y="8"/>
                      <a:pt x="28" y="8"/>
                      <a:pt x="28" y="8"/>
                    </a:cubicBezTo>
                    <a:cubicBezTo>
                      <a:pt x="28" y="8"/>
                      <a:pt x="28" y="8"/>
                      <a:pt x="28" y="8"/>
                    </a:cubicBezTo>
                    <a:cubicBezTo>
                      <a:pt x="27" y="9"/>
                      <a:pt x="27" y="9"/>
                      <a:pt x="27" y="9"/>
                    </a:cubicBezTo>
                    <a:cubicBezTo>
                      <a:pt x="26" y="10"/>
                      <a:pt x="26" y="10"/>
                      <a:pt x="26" y="10"/>
                    </a:cubicBezTo>
                    <a:cubicBezTo>
                      <a:pt x="25" y="10"/>
                      <a:pt x="25" y="11"/>
                      <a:pt x="25" y="11"/>
                    </a:cubicBezTo>
                    <a:cubicBezTo>
                      <a:pt x="25" y="11"/>
                      <a:pt x="25" y="11"/>
                      <a:pt x="25" y="11"/>
                    </a:cubicBezTo>
                    <a:cubicBezTo>
                      <a:pt x="25" y="18"/>
                      <a:pt x="25" y="18"/>
                      <a:pt x="25" y="18"/>
                    </a:cubicBezTo>
                    <a:cubicBezTo>
                      <a:pt x="24" y="16"/>
                      <a:pt x="24" y="16"/>
                      <a:pt x="24" y="16"/>
                    </a:cubicBezTo>
                    <a:cubicBezTo>
                      <a:pt x="24" y="17"/>
                      <a:pt x="24" y="17"/>
                      <a:pt x="23" y="18"/>
                    </a:cubicBezTo>
                    <a:cubicBezTo>
                      <a:pt x="23" y="19"/>
                      <a:pt x="23" y="21"/>
                      <a:pt x="23" y="22"/>
                    </a:cubicBezTo>
                    <a:cubicBezTo>
                      <a:pt x="23" y="22"/>
                      <a:pt x="23" y="23"/>
                      <a:pt x="23" y="23"/>
                    </a:cubicBezTo>
                    <a:cubicBezTo>
                      <a:pt x="23" y="24"/>
                      <a:pt x="23" y="25"/>
                      <a:pt x="23" y="26"/>
                    </a:cubicBezTo>
                    <a:cubicBezTo>
                      <a:pt x="23" y="27"/>
                      <a:pt x="23" y="27"/>
                      <a:pt x="23" y="27"/>
                    </a:cubicBezTo>
                    <a:cubicBezTo>
                      <a:pt x="23" y="27"/>
                      <a:pt x="23" y="28"/>
                      <a:pt x="23" y="28"/>
                    </a:cubicBezTo>
                    <a:cubicBezTo>
                      <a:pt x="23" y="29"/>
                      <a:pt x="23" y="29"/>
                      <a:pt x="23" y="29"/>
                    </a:cubicBezTo>
                    <a:cubicBezTo>
                      <a:pt x="23" y="30"/>
                      <a:pt x="23" y="30"/>
                      <a:pt x="23" y="30"/>
                    </a:cubicBezTo>
                    <a:cubicBezTo>
                      <a:pt x="24" y="30"/>
                      <a:pt x="24" y="30"/>
                      <a:pt x="24" y="30"/>
                    </a:cubicBezTo>
                    <a:cubicBezTo>
                      <a:pt x="24" y="29"/>
                      <a:pt x="24" y="29"/>
                      <a:pt x="24" y="29"/>
                    </a:cubicBezTo>
                    <a:cubicBezTo>
                      <a:pt x="25" y="30"/>
                      <a:pt x="25" y="30"/>
                      <a:pt x="25" y="30"/>
                    </a:cubicBezTo>
                    <a:cubicBezTo>
                      <a:pt x="26" y="30"/>
                      <a:pt x="26" y="30"/>
                      <a:pt x="27" y="31"/>
                    </a:cubicBezTo>
                    <a:cubicBezTo>
                      <a:pt x="27" y="31"/>
                      <a:pt x="27" y="31"/>
                      <a:pt x="27" y="31"/>
                    </a:cubicBezTo>
                    <a:cubicBezTo>
                      <a:pt x="28" y="31"/>
                      <a:pt x="29" y="32"/>
                      <a:pt x="30" y="32"/>
                    </a:cubicBezTo>
                    <a:cubicBezTo>
                      <a:pt x="34" y="35"/>
                      <a:pt x="34" y="35"/>
                      <a:pt x="34" y="35"/>
                    </a:cubicBezTo>
                    <a:cubicBezTo>
                      <a:pt x="33" y="37"/>
                      <a:pt x="33" y="37"/>
                      <a:pt x="33" y="37"/>
                    </a:cubicBezTo>
                    <a:cubicBezTo>
                      <a:pt x="32" y="38"/>
                      <a:pt x="31" y="40"/>
                      <a:pt x="29" y="42"/>
                    </a:cubicBezTo>
                    <a:cubicBezTo>
                      <a:pt x="26" y="46"/>
                      <a:pt x="23" y="49"/>
                      <a:pt x="20" y="52"/>
                    </a:cubicBezTo>
                    <a:cubicBezTo>
                      <a:pt x="17" y="55"/>
                      <a:pt x="13" y="57"/>
                      <a:pt x="11" y="60"/>
                    </a:cubicBezTo>
                    <a:cubicBezTo>
                      <a:pt x="13" y="62"/>
                      <a:pt x="13" y="62"/>
                      <a:pt x="13" y="62"/>
                    </a:cubicBezTo>
                    <a:cubicBezTo>
                      <a:pt x="10" y="60"/>
                      <a:pt x="10" y="60"/>
                      <a:pt x="10" y="60"/>
                    </a:cubicBezTo>
                    <a:cubicBezTo>
                      <a:pt x="9" y="61"/>
                      <a:pt x="9" y="61"/>
                      <a:pt x="9" y="61"/>
                    </a:cubicBezTo>
                    <a:cubicBezTo>
                      <a:pt x="8" y="62"/>
                      <a:pt x="8" y="62"/>
                      <a:pt x="8" y="63"/>
                    </a:cubicBezTo>
                    <a:cubicBezTo>
                      <a:pt x="8" y="64"/>
                      <a:pt x="7" y="65"/>
                      <a:pt x="7" y="66"/>
                    </a:cubicBezTo>
                    <a:cubicBezTo>
                      <a:pt x="7" y="68"/>
                      <a:pt x="7" y="70"/>
                      <a:pt x="6" y="72"/>
                    </a:cubicBezTo>
                    <a:cubicBezTo>
                      <a:pt x="6" y="72"/>
                      <a:pt x="6" y="72"/>
                      <a:pt x="6" y="72"/>
                    </a:cubicBezTo>
                    <a:cubicBezTo>
                      <a:pt x="4" y="76"/>
                      <a:pt x="3" y="80"/>
                      <a:pt x="2" y="84"/>
                    </a:cubicBezTo>
                    <a:cubicBezTo>
                      <a:pt x="2" y="86"/>
                      <a:pt x="2" y="87"/>
                      <a:pt x="1" y="89"/>
                    </a:cubicBezTo>
                    <a:cubicBezTo>
                      <a:pt x="1" y="92"/>
                      <a:pt x="0" y="96"/>
                      <a:pt x="1" y="99"/>
                    </a:cubicBezTo>
                    <a:cubicBezTo>
                      <a:pt x="1" y="99"/>
                      <a:pt x="1" y="100"/>
                      <a:pt x="1" y="100"/>
                    </a:cubicBezTo>
                    <a:cubicBezTo>
                      <a:pt x="1" y="100"/>
                      <a:pt x="2" y="100"/>
                      <a:pt x="3" y="100"/>
                    </a:cubicBezTo>
                    <a:cubicBezTo>
                      <a:pt x="3" y="100"/>
                      <a:pt x="4" y="100"/>
                      <a:pt x="4" y="100"/>
                    </a:cubicBezTo>
                    <a:cubicBezTo>
                      <a:pt x="5" y="100"/>
                      <a:pt x="6" y="101"/>
                      <a:pt x="6" y="102"/>
                    </a:cubicBezTo>
                    <a:cubicBezTo>
                      <a:pt x="7" y="101"/>
                      <a:pt x="7" y="101"/>
                      <a:pt x="7" y="101"/>
                    </a:cubicBezTo>
                    <a:cubicBezTo>
                      <a:pt x="7" y="101"/>
                      <a:pt x="8" y="100"/>
                      <a:pt x="8" y="100"/>
                    </a:cubicBezTo>
                    <a:cubicBezTo>
                      <a:pt x="9" y="99"/>
                      <a:pt x="9" y="99"/>
                      <a:pt x="9" y="99"/>
                    </a:cubicBezTo>
                    <a:cubicBezTo>
                      <a:pt x="10" y="98"/>
                      <a:pt x="11" y="97"/>
                      <a:pt x="12" y="96"/>
                    </a:cubicBezTo>
                    <a:cubicBezTo>
                      <a:pt x="12" y="95"/>
                      <a:pt x="12" y="95"/>
                      <a:pt x="12" y="95"/>
                    </a:cubicBezTo>
                    <a:cubicBezTo>
                      <a:pt x="15" y="95"/>
                      <a:pt x="15" y="95"/>
                      <a:pt x="15" y="95"/>
                    </a:cubicBezTo>
                    <a:cubicBezTo>
                      <a:pt x="16" y="94"/>
                      <a:pt x="16" y="94"/>
                      <a:pt x="16" y="94"/>
                    </a:cubicBezTo>
                    <a:cubicBezTo>
                      <a:pt x="17" y="95"/>
                      <a:pt x="17" y="95"/>
                      <a:pt x="17" y="95"/>
                    </a:cubicBezTo>
                    <a:cubicBezTo>
                      <a:pt x="23" y="94"/>
                      <a:pt x="32" y="93"/>
                      <a:pt x="40" y="93"/>
                    </a:cubicBezTo>
                    <a:cubicBezTo>
                      <a:pt x="39" y="92"/>
                      <a:pt x="39" y="91"/>
                      <a:pt x="39" y="90"/>
                    </a:cubicBezTo>
                    <a:cubicBezTo>
                      <a:pt x="41" y="88"/>
                      <a:pt x="42" y="86"/>
                      <a:pt x="44" y="84"/>
                    </a:cubicBezTo>
                    <a:cubicBezTo>
                      <a:pt x="45" y="82"/>
                      <a:pt x="45" y="82"/>
                      <a:pt x="44" y="80"/>
                    </a:cubicBezTo>
                    <a:cubicBezTo>
                      <a:pt x="42" y="77"/>
                      <a:pt x="51" y="76"/>
                      <a:pt x="53" y="76"/>
                    </a:cubicBezTo>
                    <a:cubicBezTo>
                      <a:pt x="56" y="76"/>
                      <a:pt x="56" y="73"/>
                      <a:pt x="57" y="71"/>
                    </a:cubicBezTo>
                    <a:cubicBezTo>
                      <a:pt x="57" y="74"/>
                      <a:pt x="57" y="75"/>
                      <a:pt x="60" y="75"/>
                    </a:cubicBezTo>
                    <a:cubicBezTo>
                      <a:pt x="60" y="75"/>
                      <a:pt x="61" y="75"/>
                      <a:pt x="62" y="75"/>
                    </a:cubicBezTo>
                    <a:cubicBezTo>
                      <a:pt x="63" y="75"/>
                      <a:pt x="63" y="75"/>
                      <a:pt x="64" y="74"/>
                    </a:cubicBezTo>
                    <a:cubicBezTo>
                      <a:pt x="66" y="73"/>
                      <a:pt x="69" y="70"/>
                      <a:pt x="67" y="69"/>
                    </a:cubicBezTo>
                    <a:cubicBezTo>
                      <a:pt x="68" y="68"/>
                      <a:pt x="69" y="68"/>
                      <a:pt x="69" y="68"/>
                    </a:cubicBezTo>
                    <a:cubicBezTo>
                      <a:pt x="70" y="68"/>
                      <a:pt x="71" y="69"/>
                      <a:pt x="72" y="70"/>
                    </a:cubicBezTo>
                    <a:cubicBezTo>
                      <a:pt x="72" y="71"/>
                      <a:pt x="72" y="73"/>
                      <a:pt x="74" y="73"/>
                    </a:cubicBezTo>
                    <a:cubicBezTo>
                      <a:pt x="74" y="73"/>
                      <a:pt x="74" y="73"/>
                      <a:pt x="74" y="73"/>
                    </a:cubicBezTo>
                    <a:cubicBezTo>
                      <a:pt x="75" y="73"/>
                      <a:pt x="76" y="71"/>
                      <a:pt x="77" y="70"/>
                    </a:cubicBezTo>
                    <a:cubicBezTo>
                      <a:pt x="77" y="72"/>
                      <a:pt x="77" y="74"/>
                      <a:pt x="79" y="74"/>
                    </a:cubicBezTo>
                    <a:cubicBezTo>
                      <a:pt x="79" y="74"/>
                      <a:pt x="79" y="74"/>
                      <a:pt x="79" y="74"/>
                    </a:cubicBezTo>
                    <a:cubicBezTo>
                      <a:pt x="80" y="73"/>
                      <a:pt x="80" y="73"/>
                      <a:pt x="80" y="73"/>
                    </a:cubicBezTo>
                    <a:cubicBezTo>
                      <a:pt x="80" y="73"/>
                      <a:pt x="80" y="73"/>
                      <a:pt x="80" y="73"/>
                    </a:cubicBezTo>
                    <a:cubicBezTo>
                      <a:pt x="80" y="73"/>
                      <a:pt x="80" y="72"/>
                      <a:pt x="80" y="72"/>
                    </a:cubicBezTo>
                    <a:cubicBezTo>
                      <a:pt x="80" y="72"/>
                      <a:pt x="80" y="72"/>
                      <a:pt x="80" y="72"/>
                    </a:cubicBezTo>
                    <a:cubicBezTo>
                      <a:pt x="80" y="71"/>
                      <a:pt x="80" y="71"/>
                      <a:pt x="80" y="71"/>
                    </a:cubicBezTo>
                    <a:cubicBezTo>
                      <a:pt x="81" y="70"/>
                      <a:pt x="81" y="70"/>
                      <a:pt x="81" y="70"/>
                    </a:cubicBezTo>
                    <a:cubicBezTo>
                      <a:pt x="81" y="69"/>
                      <a:pt x="81" y="69"/>
                      <a:pt x="82" y="68"/>
                    </a:cubicBezTo>
                    <a:cubicBezTo>
                      <a:pt x="82" y="67"/>
                      <a:pt x="82" y="67"/>
                      <a:pt x="83" y="67"/>
                    </a:cubicBezTo>
                    <a:cubicBezTo>
                      <a:pt x="83" y="65"/>
                      <a:pt x="84" y="64"/>
                      <a:pt x="85" y="62"/>
                    </a:cubicBezTo>
                    <a:cubicBezTo>
                      <a:pt x="86" y="62"/>
                      <a:pt x="86" y="62"/>
                      <a:pt x="86" y="62"/>
                    </a:cubicBezTo>
                    <a:cubicBezTo>
                      <a:pt x="86" y="62"/>
                      <a:pt x="86" y="61"/>
                      <a:pt x="87" y="61"/>
                    </a:cubicBezTo>
                    <a:cubicBezTo>
                      <a:pt x="87" y="60"/>
                      <a:pt x="87" y="60"/>
                      <a:pt x="87" y="60"/>
                    </a:cubicBezTo>
                    <a:cubicBezTo>
                      <a:pt x="87" y="59"/>
                      <a:pt x="87" y="59"/>
                      <a:pt x="87" y="59"/>
                    </a:cubicBezTo>
                    <a:cubicBezTo>
                      <a:pt x="88" y="58"/>
                      <a:pt x="89" y="57"/>
                      <a:pt x="89" y="56"/>
                    </a:cubicBezTo>
                    <a:cubicBezTo>
                      <a:pt x="90" y="56"/>
                      <a:pt x="90" y="55"/>
                      <a:pt x="90" y="55"/>
                    </a:cubicBezTo>
                    <a:cubicBezTo>
                      <a:pt x="90" y="55"/>
                      <a:pt x="90" y="55"/>
                      <a:pt x="90" y="55"/>
                    </a:cubicBezTo>
                    <a:cubicBezTo>
                      <a:pt x="91" y="54"/>
                      <a:pt x="91" y="54"/>
                      <a:pt x="91" y="54"/>
                    </a:cubicBezTo>
                    <a:cubicBezTo>
                      <a:pt x="92" y="54"/>
                      <a:pt x="92" y="54"/>
                      <a:pt x="92" y="54"/>
                    </a:cubicBezTo>
                    <a:cubicBezTo>
                      <a:pt x="92" y="53"/>
                      <a:pt x="92" y="53"/>
                      <a:pt x="92" y="53"/>
                    </a:cubicBezTo>
                    <a:cubicBezTo>
                      <a:pt x="94" y="53"/>
                      <a:pt x="94" y="53"/>
                      <a:pt x="94" y="53"/>
                    </a:cubicBezTo>
                    <a:cubicBezTo>
                      <a:pt x="94" y="52"/>
                      <a:pt x="95" y="52"/>
                      <a:pt x="95" y="52"/>
                    </a:cubicBezTo>
                    <a:cubicBezTo>
                      <a:pt x="95" y="52"/>
                      <a:pt x="95" y="52"/>
                      <a:pt x="95" y="52"/>
                    </a:cubicBezTo>
                    <a:cubicBezTo>
                      <a:pt x="96" y="52"/>
                      <a:pt x="96" y="52"/>
                      <a:pt x="96" y="52"/>
                    </a:cubicBezTo>
                    <a:cubicBezTo>
                      <a:pt x="95" y="51"/>
                      <a:pt x="95" y="51"/>
                      <a:pt x="95" y="50"/>
                    </a:cubicBezTo>
                    <a:cubicBezTo>
                      <a:pt x="95" y="49"/>
                      <a:pt x="96" y="48"/>
                      <a:pt x="96" y="48"/>
                    </a:cubicBezTo>
                    <a:cubicBezTo>
                      <a:pt x="96" y="47"/>
                      <a:pt x="96" y="47"/>
                      <a:pt x="96" y="47"/>
                    </a:cubicBezTo>
                    <a:cubicBezTo>
                      <a:pt x="96" y="47"/>
                      <a:pt x="97" y="47"/>
                      <a:pt x="97" y="46"/>
                    </a:cubicBezTo>
                    <a:cubicBezTo>
                      <a:pt x="97" y="45"/>
                      <a:pt x="97" y="45"/>
                      <a:pt x="97" y="45"/>
                    </a:cubicBezTo>
                    <a:cubicBezTo>
                      <a:pt x="98" y="43"/>
                      <a:pt x="99" y="41"/>
                      <a:pt x="99" y="40"/>
                    </a:cubicBezTo>
                    <a:cubicBezTo>
                      <a:pt x="99" y="39"/>
                      <a:pt x="99" y="39"/>
                      <a:pt x="99" y="39"/>
                    </a:cubicBezTo>
                    <a:cubicBezTo>
                      <a:pt x="99" y="39"/>
                      <a:pt x="99" y="39"/>
                      <a:pt x="99" y="39"/>
                    </a:cubicBezTo>
                    <a:cubicBezTo>
                      <a:pt x="98" y="36"/>
                      <a:pt x="97" y="33"/>
                      <a:pt x="98" y="29"/>
                    </a:cubicBezTo>
                    <a:cubicBezTo>
                      <a:pt x="98" y="29"/>
                      <a:pt x="97" y="27"/>
                      <a:pt x="95" y="25"/>
                    </a:cubicBezTo>
                    <a:cubicBezTo>
                      <a:pt x="95" y="25"/>
                      <a:pt x="94" y="24"/>
                      <a:pt x="94" y="24"/>
                    </a:cubicBezTo>
                    <a:cubicBezTo>
                      <a:pt x="93" y="23"/>
                      <a:pt x="93" y="23"/>
                      <a:pt x="93" y="23"/>
                    </a:cubicBezTo>
                    <a:cubicBezTo>
                      <a:pt x="92" y="21"/>
                      <a:pt x="91" y="19"/>
                      <a:pt x="90" y="17"/>
                    </a:cubicBezTo>
                    <a:cubicBezTo>
                      <a:pt x="90" y="14"/>
                      <a:pt x="90" y="14"/>
                      <a:pt x="90" y="14"/>
                    </a:cubicBezTo>
                    <a:cubicBezTo>
                      <a:pt x="90" y="13"/>
                      <a:pt x="90" y="10"/>
                      <a:pt x="89" y="9"/>
                    </a:cubicBezTo>
                    <a:cubicBezTo>
                      <a:pt x="88" y="8"/>
                      <a:pt x="88" y="8"/>
                      <a:pt x="87" y="8"/>
                    </a:cubicBezTo>
                    <a:cubicBezTo>
                      <a:pt x="87" y="8"/>
                      <a:pt x="87" y="8"/>
                      <a:pt x="87" y="8"/>
                    </a:cubicBezTo>
                    <a:cubicBezTo>
                      <a:pt x="85" y="7"/>
                      <a:pt x="85" y="7"/>
                      <a:pt x="84" y="6"/>
                    </a:cubicBezTo>
                    <a:cubicBezTo>
                      <a:pt x="84" y="6"/>
                      <a:pt x="83" y="5"/>
                      <a:pt x="83" y="4"/>
                    </a:cubicBezTo>
                    <a:cubicBezTo>
                      <a:pt x="82" y="3"/>
                      <a:pt x="82" y="2"/>
                      <a:pt x="82" y="1"/>
                    </a:cubicBezTo>
                    <a:cubicBezTo>
                      <a:pt x="81" y="1"/>
                      <a:pt x="81" y="1"/>
                      <a:pt x="81" y="1"/>
                    </a:cubicBezTo>
                    <a:cubicBezTo>
                      <a:pt x="81" y="0"/>
                      <a:pt x="81" y="0"/>
                      <a:pt x="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384"/>
              <p:cNvSpPr/>
              <p:nvPr/>
            </p:nvSpPr>
            <p:spPr bwMode="auto">
              <a:xfrm>
                <a:off x="3665" y="3077"/>
                <a:ext cx="250" cy="298"/>
              </a:xfrm>
              <a:custGeom>
                <a:gdLst>
                  <a:gd name="T0" fmla="*/ 0 w 106"/>
                  <a:gd name="T1" fmla="*/ 126 h 126"/>
                  <a:gd name="T2" fmla="*/ 74 w 106"/>
                  <a:gd name="T3" fmla="*/ 125 h 126"/>
                  <a:gd name="T4" fmla="*/ 75 w 106"/>
                  <a:gd name="T5" fmla="*/ 111 h 126"/>
                  <a:gd name="T6" fmla="*/ 79 w 106"/>
                  <a:gd name="T7" fmla="*/ 93 h 126"/>
                  <a:gd name="T8" fmla="*/ 81 w 106"/>
                  <a:gd name="T9" fmla="*/ 89 h 126"/>
                  <a:gd name="T10" fmla="*/ 84 w 106"/>
                  <a:gd name="T11" fmla="*/ 80 h 126"/>
                  <a:gd name="T12" fmla="*/ 85 w 106"/>
                  <a:gd name="T13" fmla="*/ 79 h 126"/>
                  <a:gd name="T14" fmla="*/ 95 w 106"/>
                  <a:gd name="T15" fmla="*/ 71 h 126"/>
                  <a:gd name="T16" fmla="*/ 106 w 106"/>
                  <a:gd name="T17" fmla="*/ 59 h 126"/>
                  <a:gd name="T18" fmla="*/ 102 w 106"/>
                  <a:gd name="T19" fmla="*/ 57 h 126"/>
                  <a:gd name="T20" fmla="*/ 100 w 106"/>
                  <a:gd name="T21" fmla="*/ 57 h 126"/>
                  <a:gd name="T22" fmla="*/ 96 w 106"/>
                  <a:gd name="T23" fmla="*/ 50 h 126"/>
                  <a:gd name="T24" fmla="*/ 96 w 106"/>
                  <a:gd name="T25" fmla="*/ 49 h 126"/>
                  <a:gd name="T26" fmla="*/ 97 w 106"/>
                  <a:gd name="T27" fmla="*/ 45 h 126"/>
                  <a:gd name="T28" fmla="*/ 97 w 106"/>
                  <a:gd name="T29" fmla="*/ 39 h 126"/>
                  <a:gd name="T30" fmla="*/ 98 w 106"/>
                  <a:gd name="T31" fmla="*/ 34 h 126"/>
                  <a:gd name="T32" fmla="*/ 97 w 106"/>
                  <a:gd name="T33" fmla="*/ 34 h 126"/>
                  <a:gd name="T34" fmla="*/ 93 w 106"/>
                  <a:gd name="T35" fmla="*/ 29 h 126"/>
                  <a:gd name="T36" fmla="*/ 91 w 106"/>
                  <a:gd name="T37" fmla="*/ 27 h 126"/>
                  <a:gd name="T38" fmla="*/ 89 w 106"/>
                  <a:gd name="T39" fmla="*/ 26 h 126"/>
                  <a:gd name="T40" fmla="*/ 81 w 106"/>
                  <a:gd name="T41" fmla="*/ 20 h 126"/>
                  <a:gd name="T42" fmla="*/ 78 w 106"/>
                  <a:gd name="T43" fmla="*/ 15 h 126"/>
                  <a:gd name="T44" fmla="*/ 74 w 106"/>
                  <a:gd name="T45" fmla="*/ 16 h 126"/>
                  <a:gd name="T46" fmla="*/ 69 w 106"/>
                  <a:gd name="T47" fmla="*/ 19 h 126"/>
                  <a:gd name="T48" fmla="*/ 59 w 106"/>
                  <a:gd name="T49" fmla="*/ 18 h 126"/>
                  <a:gd name="T50" fmla="*/ 57 w 106"/>
                  <a:gd name="T51" fmla="*/ 18 h 126"/>
                  <a:gd name="T52" fmla="*/ 51 w 106"/>
                  <a:gd name="T53" fmla="*/ 19 h 126"/>
                  <a:gd name="T54" fmla="*/ 39 w 106"/>
                  <a:gd name="T55" fmla="*/ 11 h 126"/>
                  <a:gd name="T56" fmla="*/ 35 w 106"/>
                  <a:gd name="T57" fmla="*/ 6 h 126"/>
                  <a:gd name="T58" fmla="*/ 34 w 106"/>
                  <a:gd name="T59" fmla="*/ 6 h 126"/>
                  <a:gd name="T60" fmla="*/ 32 w 106"/>
                  <a:gd name="T61" fmla="*/ 5 h 126"/>
                  <a:gd name="T62" fmla="*/ 30 w 106"/>
                  <a:gd name="T63" fmla="*/ 4 h 126"/>
                  <a:gd name="T64" fmla="*/ 28 w 106"/>
                  <a:gd name="T65" fmla="*/ 3 h 126"/>
                  <a:gd name="T66" fmla="*/ 23 w 106"/>
                  <a:gd name="T67" fmla="*/ 5 h 126"/>
                  <a:gd name="T68" fmla="*/ 18 w 106"/>
                  <a:gd name="T69" fmla="*/ 5 h 126"/>
                  <a:gd name="T70" fmla="*/ 16 w 106"/>
                  <a:gd name="T71" fmla="*/ 5 h 126"/>
                  <a:gd name="T72" fmla="*/ 11 w 106"/>
                  <a:gd name="T73" fmla="*/ 3 h 126"/>
                  <a:gd name="T74" fmla="*/ 9 w 106"/>
                  <a:gd name="T75" fmla="*/ 3 h 126"/>
                  <a:gd name="T76" fmla="*/ 6 w 106"/>
                  <a:gd name="T77" fmla="*/ 3 h 126"/>
                  <a:gd name="T78" fmla="*/ 0 w 106"/>
                  <a:gd name="T79" fmla="*/ 0 h 1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5" h="125">
                    <a:moveTo>
                      <a:pt x="0" y="0"/>
                    </a:moveTo>
                    <a:cubicBezTo>
                      <a:pt x="0" y="126"/>
                      <a:pt x="0" y="126"/>
                      <a:pt x="0" y="126"/>
                    </a:cubicBezTo>
                    <a:cubicBezTo>
                      <a:pt x="73" y="126"/>
                      <a:pt x="73" y="126"/>
                      <a:pt x="73" y="126"/>
                    </a:cubicBezTo>
                    <a:cubicBezTo>
                      <a:pt x="74" y="125"/>
                      <a:pt x="74" y="125"/>
                      <a:pt x="74" y="125"/>
                    </a:cubicBezTo>
                    <a:cubicBezTo>
                      <a:pt x="74" y="125"/>
                      <a:pt x="74" y="123"/>
                      <a:pt x="74" y="122"/>
                    </a:cubicBezTo>
                    <a:cubicBezTo>
                      <a:pt x="74" y="118"/>
                      <a:pt x="74" y="115"/>
                      <a:pt x="75" y="111"/>
                    </a:cubicBezTo>
                    <a:cubicBezTo>
                      <a:pt x="75" y="110"/>
                      <a:pt x="75" y="108"/>
                      <a:pt x="75" y="107"/>
                    </a:cubicBezTo>
                    <a:cubicBezTo>
                      <a:pt x="76" y="102"/>
                      <a:pt x="78" y="98"/>
                      <a:pt x="79" y="93"/>
                    </a:cubicBezTo>
                    <a:cubicBezTo>
                      <a:pt x="79" y="93"/>
                      <a:pt x="79" y="93"/>
                      <a:pt x="79" y="93"/>
                    </a:cubicBezTo>
                    <a:cubicBezTo>
                      <a:pt x="80" y="92"/>
                      <a:pt x="80" y="90"/>
                      <a:pt x="81" y="89"/>
                    </a:cubicBezTo>
                    <a:cubicBezTo>
                      <a:pt x="81" y="87"/>
                      <a:pt x="81" y="86"/>
                      <a:pt x="81" y="85"/>
                    </a:cubicBezTo>
                    <a:cubicBezTo>
                      <a:pt x="82" y="83"/>
                      <a:pt x="83" y="82"/>
                      <a:pt x="84" y="80"/>
                    </a:cubicBezTo>
                    <a:cubicBezTo>
                      <a:pt x="84" y="80"/>
                      <a:pt x="84" y="80"/>
                      <a:pt x="84" y="80"/>
                    </a:cubicBezTo>
                    <a:cubicBezTo>
                      <a:pt x="85" y="79"/>
                      <a:pt x="85" y="79"/>
                      <a:pt x="85" y="79"/>
                    </a:cubicBezTo>
                    <a:cubicBezTo>
                      <a:pt x="88" y="77"/>
                      <a:pt x="92" y="74"/>
                      <a:pt x="95" y="71"/>
                    </a:cubicBezTo>
                    <a:cubicBezTo>
                      <a:pt x="95" y="71"/>
                      <a:pt x="95" y="71"/>
                      <a:pt x="95" y="71"/>
                    </a:cubicBezTo>
                    <a:cubicBezTo>
                      <a:pt x="98" y="68"/>
                      <a:pt x="101" y="65"/>
                      <a:pt x="103" y="62"/>
                    </a:cubicBezTo>
                    <a:cubicBezTo>
                      <a:pt x="104" y="61"/>
                      <a:pt x="105" y="60"/>
                      <a:pt x="106" y="59"/>
                    </a:cubicBezTo>
                    <a:cubicBezTo>
                      <a:pt x="105" y="59"/>
                      <a:pt x="104" y="58"/>
                      <a:pt x="103" y="58"/>
                    </a:cubicBezTo>
                    <a:cubicBezTo>
                      <a:pt x="103" y="58"/>
                      <a:pt x="103" y="58"/>
                      <a:pt x="102" y="57"/>
                    </a:cubicBezTo>
                    <a:cubicBezTo>
                      <a:pt x="102" y="58"/>
                      <a:pt x="102" y="58"/>
                      <a:pt x="101" y="58"/>
                    </a:cubicBezTo>
                    <a:cubicBezTo>
                      <a:pt x="101" y="58"/>
                      <a:pt x="100" y="57"/>
                      <a:pt x="100" y="57"/>
                    </a:cubicBezTo>
                    <a:cubicBezTo>
                      <a:pt x="99" y="57"/>
                      <a:pt x="97" y="56"/>
                      <a:pt x="97" y="54"/>
                    </a:cubicBezTo>
                    <a:cubicBezTo>
                      <a:pt x="96" y="53"/>
                      <a:pt x="96" y="51"/>
                      <a:pt x="96" y="50"/>
                    </a:cubicBezTo>
                    <a:cubicBezTo>
                      <a:pt x="96" y="50"/>
                      <a:pt x="96" y="49"/>
                      <a:pt x="96" y="49"/>
                    </a:cubicBezTo>
                    <a:cubicBezTo>
                      <a:pt x="96" y="49"/>
                      <a:pt x="96" y="49"/>
                      <a:pt x="96" y="49"/>
                    </a:cubicBezTo>
                    <a:cubicBezTo>
                      <a:pt x="97" y="48"/>
                      <a:pt x="97" y="47"/>
                      <a:pt x="97" y="46"/>
                    </a:cubicBezTo>
                    <a:cubicBezTo>
                      <a:pt x="97" y="46"/>
                      <a:pt x="97" y="46"/>
                      <a:pt x="97" y="45"/>
                    </a:cubicBezTo>
                    <a:cubicBezTo>
                      <a:pt x="96" y="43"/>
                      <a:pt x="96" y="41"/>
                      <a:pt x="97" y="39"/>
                    </a:cubicBezTo>
                    <a:cubicBezTo>
                      <a:pt x="97" y="39"/>
                      <a:pt x="97" y="39"/>
                      <a:pt x="97" y="39"/>
                    </a:cubicBezTo>
                    <a:cubicBezTo>
                      <a:pt x="98" y="37"/>
                      <a:pt x="98" y="36"/>
                      <a:pt x="98" y="35"/>
                    </a:cubicBezTo>
                    <a:cubicBezTo>
                      <a:pt x="98" y="34"/>
                      <a:pt x="98" y="34"/>
                      <a:pt x="98" y="34"/>
                    </a:cubicBezTo>
                    <a:cubicBezTo>
                      <a:pt x="98" y="34"/>
                      <a:pt x="98" y="34"/>
                      <a:pt x="98" y="34"/>
                    </a:cubicBezTo>
                    <a:cubicBezTo>
                      <a:pt x="97" y="34"/>
                      <a:pt x="97" y="34"/>
                      <a:pt x="97" y="34"/>
                    </a:cubicBezTo>
                    <a:cubicBezTo>
                      <a:pt x="96" y="34"/>
                      <a:pt x="92" y="33"/>
                      <a:pt x="93" y="30"/>
                    </a:cubicBezTo>
                    <a:cubicBezTo>
                      <a:pt x="93" y="29"/>
                      <a:pt x="93" y="29"/>
                      <a:pt x="93" y="29"/>
                    </a:cubicBezTo>
                    <a:cubicBezTo>
                      <a:pt x="93" y="28"/>
                      <a:pt x="93" y="28"/>
                      <a:pt x="93" y="28"/>
                    </a:cubicBezTo>
                    <a:cubicBezTo>
                      <a:pt x="92" y="28"/>
                      <a:pt x="92" y="28"/>
                      <a:pt x="91" y="27"/>
                    </a:cubicBezTo>
                    <a:cubicBezTo>
                      <a:pt x="91" y="27"/>
                      <a:pt x="91" y="27"/>
                      <a:pt x="91" y="27"/>
                    </a:cubicBezTo>
                    <a:cubicBezTo>
                      <a:pt x="90" y="27"/>
                      <a:pt x="89" y="27"/>
                      <a:pt x="89" y="26"/>
                    </a:cubicBezTo>
                    <a:cubicBezTo>
                      <a:pt x="86" y="25"/>
                      <a:pt x="85" y="24"/>
                      <a:pt x="83" y="22"/>
                    </a:cubicBezTo>
                    <a:cubicBezTo>
                      <a:pt x="81" y="20"/>
                      <a:pt x="81" y="20"/>
                      <a:pt x="81" y="20"/>
                    </a:cubicBezTo>
                    <a:cubicBezTo>
                      <a:pt x="81" y="20"/>
                      <a:pt x="80" y="19"/>
                      <a:pt x="80" y="19"/>
                    </a:cubicBezTo>
                    <a:cubicBezTo>
                      <a:pt x="79" y="18"/>
                      <a:pt x="79" y="17"/>
                      <a:pt x="78" y="15"/>
                    </a:cubicBezTo>
                    <a:cubicBezTo>
                      <a:pt x="77" y="15"/>
                      <a:pt x="75" y="15"/>
                      <a:pt x="74" y="16"/>
                    </a:cubicBezTo>
                    <a:cubicBezTo>
                      <a:pt x="74" y="16"/>
                      <a:pt x="74" y="16"/>
                      <a:pt x="74" y="16"/>
                    </a:cubicBezTo>
                    <a:cubicBezTo>
                      <a:pt x="74" y="17"/>
                      <a:pt x="73" y="17"/>
                      <a:pt x="73" y="18"/>
                    </a:cubicBezTo>
                    <a:cubicBezTo>
                      <a:pt x="72" y="19"/>
                      <a:pt x="70" y="19"/>
                      <a:pt x="69" y="19"/>
                    </a:cubicBezTo>
                    <a:cubicBezTo>
                      <a:pt x="67" y="19"/>
                      <a:pt x="65" y="19"/>
                      <a:pt x="64" y="18"/>
                    </a:cubicBezTo>
                    <a:cubicBezTo>
                      <a:pt x="62" y="18"/>
                      <a:pt x="61" y="18"/>
                      <a:pt x="59" y="18"/>
                    </a:cubicBezTo>
                    <a:cubicBezTo>
                      <a:pt x="59" y="18"/>
                      <a:pt x="58" y="18"/>
                      <a:pt x="58" y="18"/>
                    </a:cubicBezTo>
                    <a:cubicBezTo>
                      <a:pt x="58" y="18"/>
                      <a:pt x="57" y="18"/>
                      <a:pt x="57" y="18"/>
                    </a:cubicBezTo>
                    <a:cubicBezTo>
                      <a:pt x="56" y="19"/>
                      <a:pt x="55" y="20"/>
                      <a:pt x="54" y="20"/>
                    </a:cubicBezTo>
                    <a:cubicBezTo>
                      <a:pt x="53" y="20"/>
                      <a:pt x="52" y="20"/>
                      <a:pt x="51" y="19"/>
                    </a:cubicBezTo>
                    <a:cubicBezTo>
                      <a:pt x="50" y="19"/>
                      <a:pt x="50" y="19"/>
                      <a:pt x="49" y="18"/>
                    </a:cubicBezTo>
                    <a:cubicBezTo>
                      <a:pt x="45" y="17"/>
                      <a:pt x="41" y="15"/>
                      <a:pt x="39" y="11"/>
                    </a:cubicBezTo>
                    <a:cubicBezTo>
                      <a:pt x="39" y="9"/>
                      <a:pt x="37" y="8"/>
                      <a:pt x="35" y="6"/>
                    </a:cubicBezTo>
                    <a:cubicBezTo>
                      <a:pt x="35" y="6"/>
                      <a:pt x="35" y="6"/>
                      <a:pt x="35" y="6"/>
                    </a:cubicBezTo>
                    <a:cubicBezTo>
                      <a:pt x="34" y="6"/>
                      <a:pt x="34" y="6"/>
                      <a:pt x="34" y="6"/>
                    </a:cubicBezTo>
                    <a:cubicBezTo>
                      <a:pt x="34" y="6"/>
                      <a:pt x="34" y="6"/>
                      <a:pt x="34" y="6"/>
                    </a:cubicBezTo>
                    <a:cubicBezTo>
                      <a:pt x="33" y="6"/>
                      <a:pt x="33" y="6"/>
                      <a:pt x="33" y="6"/>
                    </a:cubicBezTo>
                    <a:cubicBezTo>
                      <a:pt x="33" y="5"/>
                      <a:pt x="33" y="5"/>
                      <a:pt x="32" y="5"/>
                    </a:cubicBezTo>
                    <a:cubicBezTo>
                      <a:pt x="32" y="4"/>
                      <a:pt x="32" y="4"/>
                      <a:pt x="32" y="4"/>
                    </a:cubicBezTo>
                    <a:cubicBezTo>
                      <a:pt x="31" y="4"/>
                      <a:pt x="30" y="4"/>
                      <a:pt x="30" y="4"/>
                    </a:cubicBezTo>
                    <a:cubicBezTo>
                      <a:pt x="29" y="3"/>
                      <a:pt x="29" y="3"/>
                      <a:pt x="29" y="3"/>
                    </a:cubicBezTo>
                    <a:cubicBezTo>
                      <a:pt x="28" y="3"/>
                      <a:pt x="28" y="3"/>
                      <a:pt x="28" y="3"/>
                    </a:cubicBezTo>
                    <a:cubicBezTo>
                      <a:pt x="27" y="3"/>
                      <a:pt x="26" y="4"/>
                      <a:pt x="24" y="4"/>
                    </a:cubicBezTo>
                    <a:cubicBezTo>
                      <a:pt x="23" y="5"/>
                      <a:pt x="23" y="5"/>
                      <a:pt x="23" y="5"/>
                    </a:cubicBezTo>
                    <a:cubicBezTo>
                      <a:pt x="21" y="5"/>
                      <a:pt x="20" y="5"/>
                      <a:pt x="19" y="5"/>
                    </a:cubicBezTo>
                    <a:cubicBezTo>
                      <a:pt x="18" y="5"/>
                      <a:pt x="18" y="5"/>
                      <a:pt x="18" y="5"/>
                    </a:cubicBezTo>
                    <a:cubicBezTo>
                      <a:pt x="18" y="5"/>
                      <a:pt x="17" y="5"/>
                      <a:pt x="16" y="5"/>
                    </a:cubicBezTo>
                    <a:cubicBezTo>
                      <a:pt x="16" y="5"/>
                      <a:pt x="16" y="5"/>
                      <a:pt x="16" y="5"/>
                    </a:cubicBezTo>
                    <a:cubicBezTo>
                      <a:pt x="15" y="5"/>
                      <a:pt x="14" y="4"/>
                      <a:pt x="13" y="4"/>
                    </a:cubicBezTo>
                    <a:cubicBezTo>
                      <a:pt x="12" y="3"/>
                      <a:pt x="11" y="3"/>
                      <a:pt x="11" y="3"/>
                    </a:cubicBezTo>
                    <a:cubicBezTo>
                      <a:pt x="10" y="2"/>
                      <a:pt x="10" y="2"/>
                      <a:pt x="10" y="2"/>
                    </a:cubicBezTo>
                    <a:cubicBezTo>
                      <a:pt x="10" y="2"/>
                      <a:pt x="9" y="2"/>
                      <a:pt x="9" y="3"/>
                    </a:cubicBezTo>
                    <a:cubicBezTo>
                      <a:pt x="8" y="3"/>
                      <a:pt x="8" y="3"/>
                      <a:pt x="7" y="3"/>
                    </a:cubicBezTo>
                    <a:cubicBezTo>
                      <a:pt x="7" y="3"/>
                      <a:pt x="7" y="3"/>
                      <a:pt x="6" y="3"/>
                    </a:cubicBezTo>
                    <a:cubicBezTo>
                      <a:pt x="4" y="3"/>
                      <a:pt x="3" y="2"/>
                      <a:pt x="1" y="1"/>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Freeform 385"/>
              <p:cNvSpPr/>
              <p:nvPr/>
            </p:nvSpPr>
            <p:spPr bwMode="auto">
              <a:xfrm>
                <a:off x="3665" y="2988"/>
                <a:ext cx="73" cy="94"/>
              </a:xfrm>
              <a:custGeom>
                <a:gdLst>
                  <a:gd name="T0" fmla="*/ 0 w 31"/>
                  <a:gd name="T1" fmla="*/ 0 h 40"/>
                  <a:gd name="T2" fmla="*/ 0 w 31"/>
                  <a:gd name="T3" fmla="*/ 33 h 40"/>
                  <a:gd name="T4" fmla="*/ 0 w 31"/>
                  <a:gd name="T5" fmla="*/ 33 h 40"/>
                  <a:gd name="T6" fmla="*/ 2 w 31"/>
                  <a:gd name="T7" fmla="*/ 34 h 40"/>
                  <a:gd name="T8" fmla="*/ 4 w 31"/>
                  <a:gd name="T9" fmla="*/ 35 h 40"/>
                  <a:gd name="T10" fmla="*/ 5 w 31"/>
                  <a:gd name="T11" fmla="*/ 36 h 40"/>
                  <a:gd name="T12" fmla="*/ 6 w 31"/>
                  <a:gd name="T13" fmla="*/ 36 h 40"/>
                  <a:gd name="T14" fmla="*/ 6 w 31"/>
                  <a:gd name="T15" fmla="*/ 36 h 40"/>
                  <a:gd name="T16" fmla="*/ 7 w 31"/>
                  <a:gd name="T17" fmla="*/ 36 h 40"/>
                  <a:gd name="T18" fmla="*/ 7 w 31"/>
                  <a:gd name="T19" fmla="*/ 36 h 40"/>
                  <a:gd name="T20" fmla="*/ 10 w 31"/>
                  <a:gd name="T21" fmla="*/ 36 h 40"/>
                  <a:gd name="T22" fmla="*/ 12 w 31"/>
                  <a:gd name="T23" fmla="*/ 36 h 40"/>
                  <a:gd name="T24" fmla="*/ 16 w 31"/>
                  <a:gd name="T25" fmla="*/ 38 h 40"/>
                  <a:gd name="T26" fmla="*/ 17 w 31"/>
                  <a:gd name="T27" fmla="*/ 38 h 40"/>
                  <a:gd name="T28" fmla="*/ 18 w 31"/>
                  <a:gd name="T29" fmla="*/ 39 h 40"/>
                  <a:gd name="T30" fmla="*/ 18 w 31"/>
                  <a:gd name="T31" fmla="*/ 39 h 40"/>
                  <a:gd name="T32" fmla="*/ 18 w 31"/>
                  <a:gd name="T33" fmla="*/ 40 h 40"/>
                  <a:gd name="T34" fmla="*/ 18 w 31"/>
                  <a:gd name="T35" fmla="*/ 39 h 40"/>
                  <a:gd name="T36" fmla="*/ 19 w 31"/>
                  <a:gd name="T37" fmla="*/ 39 h 40"/>
                  <a:gd name="T38" fmla="*/ 20 w 31"/>
                  <a:gd name="T39" fmla="*/ 39 h 40"/>
                  <a:gd name="T40" fmla="*/ 21 w 31"/>
                  <a:gd name="T41" fmla="*/ 38 h 40"/>
                  <a:gd name="T42" fmla="*/ 21 w 31"/>
                  <a:gd name="T43" fmla="*/ 38 h 40"/>
                  <a:gd name="T44" fmla="*/ 22 w 31"/>
                  <a:gd name="T45" fmla="*/ 38 h 40"/>
                  <a:gd name="T46" fmla="*/ 28 w 31"/>
                  <a:gd name="T47" fmla="*/ 36 h 40"/>
                  <a:gd name="T48" fmla="*/ 30 w 31"/>
                  <a:gd name="T49" fmla="*/ 37 h 40"/>
                  <a:gd name="T50" fmla="*/ 31 w 31"/>
                  <a:gd name="T51" fmla="*/ 37 h 40"/>
                  <a:gd name="T52" fmla="*/ 30 w 31"/>
                  <a:gd name="T53" fmla="*/ 35 h 40"/>
                  <a:gd name="T54" fmla="*/ 30 w 31"/>
                  <a:gd name="T55" fmla="*/ 33 h 40"/>
                  <a:gd name="T56" fmla="*/ 30 w 31"/>
                  <a:gd name="T57" fmla="*/ 32 h 40"/>
                  <a:gd name="T58" fmla="*/ 25 w 31"/>
                  <a:gd name="T59" fmla="*/ 28 h 40"/>
                  <a:gd name="T60" fmla="*/ 20 w 31"/>
                  <a:gd name="T61" fmla="*/ 25 h 40"/>
                  <a:gd name="T62" fmla="*/ 19 w 31"/>
                  <a:gd name="T63" fmla="*/ 25 h 40"/>
                  <a:gd name="T64" fmla="*/ 15 w 31"/>
                  <a:gd name="T65" fmla="*/ 23 h 40"/>
                  <a:gd name="T66" fmla="*/ 15 w 31"/>
                  <a:gd name="T67" fmla="*/ 23 h 40"/>
                  <a:gd name="T68" fmla="*/ 15 w 31"/>
                  <a:gd name="T69" fmla="*/ 23 h 40"/>
                  <a:gd name="T70" fmla="*/ 14 w 31"/>
                  <a:gd name="T71" fmla="*/ 22 h 40"/>
                  <a:gd name="T72" fmla="*/ 13 w 31"/>
                  <a:gd name="T73" fmla="*/ 20 h 40"/>
                  <a:gd name="T74" fmla="*/ 13 w 31"/>
                  <a:gd name="T75" fmla="*/ 19 h 40"/>
                  <a:gd name="T76" fmla="*/ 12 w 31"/>
                  <a:gd name="T77" fmla="*/ 18 h 40"/>
                  <a:gd name="T78" fmla="*/ 12 w 31"/>
                  <a:gd name="T79" fmla="*/ 14 h 40"/>
                  <a:gd name="T80" fmla="*/ 12 w 31"/>
                  <a:gd name="T81" fmla="*/ 13 h 40"/>
                  <a:gd name="T82" fmla="*/ 13 w 31"/>
                  <a:gd name="T83" fmla="*/ 12 h 40"/>
                  <a:gd name="T84" fmla="*/ 13 w 31"/>
                  <a:gd name="T85" fmla="*/ 12 h 40"/>
                  <a:gd name="T86" fmla="*/ 0 w 31"/>
                  <a:gd name="T87"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40">
                    <a:moveTo>
                      <a:pt x="0" y="0"/>
                    </a:moveTo>
                    <a:cubicBezTo>
                      <a:pt x="0" y="33"/>
                      <a:pt x="0" y="33"/>
                      <a:pt x="0" y="33"/>
                    </a:cubicBezTo>
                    <a:cubicBezTo>
                      <a:pt x="0" y="33"/>
                      <a:pt x="0" y="33"/>
                      <a:pt x="0" y="33"/>
                    </a:cubicBezTo>
                    <a:cubicBezTo>
                      <a:pt x="1" y="33"/>
                      <a:pt x="1" y="34"/>
                      <a:pt x="2" y="34"/>
                    </a:cubicBezTo>
                    <a:cubicBezTo>
                      <a:pt x="3" y="34"/>
                      <a:pt x="3" y="35"/>
                      <a:pt x="4" y="35"/>
                    </a:cubicBezTo>
                    <a:cubicBezTo>
                      <a:pt x="4" y="36"/>
                      <a:pt x="5" y="36"/>
                      <a:pt x="5" y="36"/>
                    </a:cubicBezTo>
                    <a:cubicBezTo>
                      <a:pt x="6" y="36"/>
                      <a:pt x="6" y="36"/>
                      <a:pt x="6" y="36"/>
                    </a:cubicBezTo>
                    <a:cubicBezTo>
                      <a:pt x="6" y="36"/>
                      <a:pt x="6" y="36"/>
                      <a:pt x="6" y="36"/>
                    </a:cubicBezTo>
                    <a:cubicBezTo>
                      <a:pt x="7" y="36"/>
                      <a:pt x="7" y="36"/>
                      <a:pt x="7" y="36"/>
                    </a:cubicBezTo>
                    <a:cubicBezTo>
                      <a:pt x="7" y="36"/>
                      <a:pt x="7" y="36"/>
                      <a:pt x="7" y="36"/>
                    </a:cubicBezTo>
                    <a:cubicBezTo>
                      <a:pt x="8" y="36"/>
                      <a:pt x="9" y="36"/>
                      <a:pt x="10" y="36"/>
                    </a:cubicBezTo>
                    <a:cubicBezTo>
                      <a:pt x="11" y="36"/>
                      <a:pt x="11" y="36"/>
                      <a:pt x="12" y="36"/>
                    </a:cubicBezTo>
                    <a:cubicBezTo>
                      <a:pt x="13" y="36"/>
                      <a:pt x="14" y="37"/>
                      <a:pt x="16" y="38"/>
                    </a:cubicBezTo>
                    <a:cubicBezTo>
                      <a:pt x="16" y="38"/>
                      <a:pt x="17" y="38"/>
                      <a:pt x="17" y="38"/>
                    </a:cubicBezTo>
                    <a:cubicBezTo>
                      <a:pt x="18" y="39"/>
                      <a:pt x="18" y="39"/>
                      <a:pt x="18" y="39"/>
                    </a:cubicBezTo>
                    <a:cubicBezTo>
                      <a:pt x="18" y="39"/>
                      <a:pt x="18" y="39"/>
                      <a:pt x="18" y="39"/>
                    </a:cubicBezTo>
                    <a:cubicBezTo>
                      <a:pt x="18" y="40"/>
                      <a:pt x="18" y="40"/>
                      <a:pt x="18" y="40"/>
                    </a:cubicBezTo>
                    <a:cubicBezTo>
                      <a:pt x="18" y="39"/>
                      <a:pt x="18" y="39"/>
                      <a:pt x="18" y="39"/>
                    </a:cubicBezTo>
                    <a:cubicBezTo>
                      <a:pt x="19" y="39"/>
                      <a:pt x="19" y="39"/>
                      <a:pt x="19" y="39"/>
                    </a:cubicBezTo>
                    <a:cubicBezTo>
                      <a:pt x="19" y="39"/>
                      <a:pt x="19" y="39"/>
                      <a:pt x="20" y="39"/>
                    </a:cubicBezTo>
                    <a:cubicBezTo>
                      <a:pt x="20" y="38"/>
                      <a:pt x="21" y="38"/>
                      <a:pt x="21" y="38"/>
                    </a:cubicBezTo>
                    <a:cubicBezTo>
                      <a:pt x="21" y="38"/>
                      <a:pt x="21" y="38"/>
                      <a:pt x="21" y="38"/>
                    </a:cubicBezTo>
                    <a:cubicBezTo>
                      <a:pt x="22" y="38"/>
                      <a:pt x="22" y="38"/>
                      <a:pt x="22" y="38"/>
                    </a:cubicBezTo>
                    <a:cubicBezTo>
                      <a:pt x="24" y="37"/>
                      <a:pt x="26" y="36"/>
                      <a:pt x="28" y="36"/>
                    </a:cubicBezTo>
                    <a:cubicBezTo>
                      <a:pt x="29" y="36"/>
                      <a:pt x="30" y="36"/>
                      <a:pt x="30" y="37"/>
                    </a:cubicBezTo>
                    <a:cubicBezTo>
                      <a:pt x="31" y="37"/>
                      <a:pt x="31" y="37"/>
                      <a:pt x="31" y="37"/>
                    </a:cubicBezTo>
                    <a:cubicBezTo>
                      <a:pt x="31" y="36"/>
                      <a:pt x="31" y="35"/>
                      <a:pt x="30" y="35"/>
                    </a:cubicBezTo>
                    <a:cubicBezTo>
                      <a:pt x="30" y="34"/>
                      <a:pt x="30" y="33"/>
                      <a:pt x="30" y="33"/>
                    </a:cubicBezTo>
                    <a:cubicBezTo>
                      <a:pt x="30" y="32"/>
                      <a:pt x="30" y="32"/>
                      <a:pt x="30" y="32"/>
                    </a:cubicBezTo>
                    <a:cubicBezTo>
                      <a:pt x="29" y="31"/>
                      <a:pt x="27" y="29"/>
                      <a:pt x="25" y="28"/>
                    </a:cubicBezTo>
                    <a:cubicBezTo>
                      <a:pt x="23" y="27"/>
                      <a:pt x="21" y="26"/>
                      <a:pt x="20" y="25"/>
                    </a:cubicBezTo>
                    <a:cubicBezTo>
                      <a:pt x="19" y="25"/>
                      <a:pt x="19" y="25"/>
                      <a:pt x="19" y="25"/>
                    </a:cubicBezTo>
                    <a:cubicBezTo>
                      <a:pt x="18" y="24"/>
                      <a:pt x="17" y="24"/>
                      <a:pt x="15" y="23"/>
                    </a:cubicBezTo>
                    <a:cubicBezTo>
                      <a:pt x="15" y="23"/>
                      <a:pt x="15" y="23"/>
                      <a:pt x="15" y="23"/>
                    </a:cubicBezTo>
                    <a:cubicBezTo>
                      <a:pt x="15" y="23"/>
                      <a:pt x="15" y="23"/>
                      <a:pt x="15" y="23"/>
                    </a:cubicBezTo>
                    <a:cubicBezTo>
                      <a:pt x="14" y="22"/>
                      <a:pt x="14" y="22"/>
                      <a:pt x="14" y="22"/>
                    </a:cubicBezTo>
                    <a:cubicBezTo>
                      <a:pt x="14" y="22"/>
                      <a:pt x="13" y="21"/>
                      <a:pt x="13" y="20"/>
                    </a:cubicBezTo>
                    <a:cubicBezTo>
                      <a:pt x="13" y="19"/>
                      <a:pt x="13" y="19"/>
                      <a:pt x="13" y="19"/>
                    </a:cubicBezTo>
                    <a:cubicBezTo>
                      <a:pt x="12" y="19"/>
                      <a:pt x="12" y="18"/>
                      <a:pt x="12" y="18"/>
                    </a:cubicBezTo>
                    <a:cubicBezTo>
                      <a:pt x="12" y="16"/>
                      <a:pt x="11" y="15"/>
                      <a:pt x="12" y="14"/>
                    </a:cubicBezTo>
                    <a:cubicBezTo>
                      <a:pt x="12" y="14"/>
                      <a:pt x="12" y="13"/>
                      <a:pt x="12" y="13"/>
                    </a:cubicBezTo>
                    <a:cubicBezTo>
                      <a:pt x="13" y="12"/>
                      <a:pt x="13" y="12"/>
                      <a:pt x="13" y="12"/>
                    </a:cubicBezTo>
                    <a:cubicBezTo>
                      <a:pt x="13" y="12"/>
                      <a:pt x="13" y="12"/>
                      <a:pt x="13" y="1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386"/>
              <p:cNvSpPr/>
              <p:nvPr/>
            </p:nvSpPr>
            <p:spPr bwMode="auto">
              <a:xfrm>
                <a:off x="3878" y="3368"/>
                <a:ext cx="9" cy="7"/>
              </a:xfrm>
              <a:custGeom>
                <a:gdLst>
                  <a:gd name="T0" fmla="*/ 3 w 4"/>
                  <a:gd name="T1" fmla="*/ 0 h 3"/>
                  <a:gd name="T2" fmla="*/ 0 w 4"/>
                  <a:gd name="T3" fmla="*/ 2 h 3"/>
                  <a:gd name="T4" fmla="*/ 0 w 4"/>
                  <a:gd name="T5" fmla="*/ 3 h 3"/>
                  <a:gd name="T6" fmla="*/ 4 w 4"/>
                  <a:gd name="T7" fmla="*/ 3 h 3"/>
                  <a:gd name="T8" fmla="*/ 3 w 4"/>
                  <a:gd name="T9" fmla="*/ 0 h 3"/>
                </a:gdLst>
                <a:cxnLst>
                  <a:cxn ang="0">
                    <a:pos x="T0" y="T1"/>
                  </a:cxn>
                  <a:cxn ang="0">
                    <a:pos x="T2" y="T3"/>
                  </a:cxn>
                  <a:cxn ang="0">
                    <a:pos x="T4" y="T5"/>
                  </a:cxn>
                  <a:cxn ang="0">
                    <a:pos x="T6" y="T7"/>
                  </a:cxn>
                  <a:cxn ang="0">
                    <a:pos x="T8" y="T9"/>
                  </a:cxn>
                </a:cxnLst>
                <a:rect l="0" t="0" r="r" b="b"/>
                <a:pathLst>
                  <a:path w="4" h="3">
                    <a:moveTo>
                      <a:pt x="3" y="0"/>
                    </a:moveTo>
                    <a:cubicBezTo>
                      <a:pt x="2" y="1"/>
                      <a:pt x="1" y="2"/>
                      <a:pt x="0" y="2"/>
                    </a:cubicBezTo>
                    <a:cubicBezTo>
                      <a:pt x="0" y="3"/>
                      <a:pt x="0" y="3"/>
                      <a:pt x="0" y="3"/>
                    </a:cubicBezTo>
                    <a:cubicBezTo>
                      <a:pt x="4" y="3"/>
                      <a:pt x="4" y="3"/>
                      <a:pt x="4" y="3"/>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Freeform 387"/>
              <p:cNvSpPr/>
              <p:nvPr/>
            </p:nvSpPr>
            <p:spPr bwMode="auto">
              <a:xfrm>
                <a:off x="3665" y="1323"/>
                <a:ext cx="43" cy="45"/>
              </a:xfrm>
              <a:custGeom>
                <a:gdLst>
                  <a:gd name="T0" fmla="*/ 13 w 18"/>
                  <a:gd name="T1" fmla="*/ 0 h 19"/>
                  <a:gd name="T2" fmla="*/ 13 w 18"/>
                  <a:gd name="T3" fmla="*/ 5 h 19"/>
                  <a:gd name="T4" fmla="*/ 13 w 18"/>
                  <a:gd name="T5" fmla="*/ 6 h 19"/>
                  <a:gd name="T6" fmla="*/ 12 w 18"/>
                  <a:gd name="T7" fmla="*/ 6 h 19"/>
                  <a:gd name="T8" fmla="*/ 6 w 18"/>
                  <a:gd name="T9" fmla="*/ 9 h 19"/>
                  <a:gd name="T10" fmla="*/ 2 w 18"/>
                  <a:gd name="T11" fmla="*/ 10 h 19"/>
                  <a:gd name="T12" fmla="*/ 0 w 18"/>
                  <a:gd name="T13" fmla="*/ 10 h 19"/>
                  <a:gd name="T14" fmla="*/ 0 w 18"/>
                  <a:gd name="T15" fmla="*/ 10 h 19"/>
                  <a:gd name="T16" fmla="*/ 0 w 18"/>
                  <a:gd name="T17" fmla="*/ 17 h 19"/>
                  <a:gd name="T18" fmla="*/ 2 w 18"/>
                  <a:gd name="T19" fmla="*/ 17 h 19"/>
                  <a:gd name="T20" fmla="*/ 7 w 18"/>
                  <a:gd name="T21" fmla="*/ 19 h 19"/>
                  <a:gd name="T22" fmla="*/ 7 w 18"/>
                  <a:gd name="T23" fmla="*/ 19 h 19"/>
                  <a:gd name="T24" fmla="*/ 10 w 18"/>
                  <a:gd name="T25" fmla="*/ 15 h 19"/>
                  <a:gd name="T26" fmla="*/ 11 w 18"/>
                  <a:gd name="T27" fmla="*/ 14 h 19"/>
                  <a:gd name="T28" fmla="*/ 12 w 18"/>
                  <a:gd name="T29" fmla="*/ 13 h 19"/>
                  <a:gd name="T30" fmla="*/ 12 w 18"/>
                  <a:gd name="T31" fmla="*/ 12 h 19"/>
                  <a:gd name="T32" fmla="*/ 12 w 18"/>
                  <a:gd name="T33" fmla="*/ 12 h 19"/>
                  <a:gd name="T34" fmla="*/ 12 w 18"/>
                  <a:gd name="T35" fmla="*/ 12 h 19"/>
                  <a:gd name="T36" fmla="*/ 12 w 18"/>
                  <a:gd name="T37" fmla="*/ 11 h 19"/>
                  <a:gd name="T38" fmla="*/ 12 w 18"/>
                  <a:gd name="T39" fmla="*/ 11 h 19"/>
                  <a:gd name="T40" fmla="*/ 12 w 18"/>
                  <a:gd name="T41" fmla="*/ 8 h 19"/>
                  <a:gd name="T42" fmla="*/ 15 w 18"/>
                  <a:gd name="T43" fmla="*/ 5 h 19"/>
                  <a:gd name="T44" fmla="*/ 16 w 18"/>
                  <a:gd name="T45" fmla="*/ 5 h 19"/>
                  <a:gd name="T46" fmla="*/ 18 w 18"/>
                  <a:gd name="T47" fmla="*/ 3 h 19"/>
                  <a:gd name="T48" fmla="*/ 18 w 18"/>
                  <a:gd name="T49" fmla="*/ 3 h 19"/>
                  <a:gd name="T50" fmla="*/ 18 w 18"/>
                  <a:gd name="T51" fmla="*/ 2 h 19"/>
                  <a:gd name="T52" fmla="*/ 17 w 18"/>
                  <a:gd name="T53" fmla="*/ 2 h 19"/>
                  <a:gd name="T54" fmla="*/ 17 w 18"/>
                  <a:gd name="T55" fmla="*/ 2 h 19"/>
                  <a:gd name="T56" fmla="*/ 16 w 18"/>
                  <a:gd name="T57" fmla="*/ 1 h 19"/>
                  <a:gd name="T58" fmla="*/ 16 w 18"/>
                  <a:gd name="T59" fmla="*/ 1 h 19"/>
                  <a:gd name="T60" fmla="*/ 15 w 18"/>
                  <a:gd name="T61" fmla="*/ 0 h 19"/>
                  <a:gd name="T62" fmla="*/ 15 w 18"/>
                  <a:gd name="T63" fmla="*/ 0 h 19"/>
                  <a:gd name="T64" fmla="*/ 14 w 18"/>
                  <a:gd name="T65" fmla="*/ 0 h 19"/>
                  <a:gd name="T66" fmla="*/ 13 w 18"/>
                  <a:gd name="T67"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9">
                    <a:moveTo>
                      <a:pt x="13" y="0"/>
                    </a:moveTo>
                    <a:cubicBezTo>
                      <a:pt x="13" y="2"/>
                      <a:pt x="13" y="3"/>
                      <a:pt x="13" y="5"/>
                    </a:cubicBezTo>
                    <a:cubicBezTo>
                      <a:pt x="13" y="6"/>
                      <a:pt x="13" y="6"/>
                      <a:pt x="13" y="6"/>
                    </a:cubicBezTo>
                    <a:cubicBezTo>
                      <a:pt x="12" y="6"/>
                      <a:pt x="12" y="6"/>
                      <a:pt x="12" y="6"/>
                    </a:cubicBezTo>
                    <a:cubicBezTo>
                      <a:pt x="11" y="8"/>
                      <a:pt x="9" y="9"/>
                      <a:pt x="6" y="9"/>
                    </a:cubicBezTo>
                    <a:cubicBezTo>
                      <a:pt x="5" y="10"/>
                      <a:pt x="4" y="10"/>
                      <a:pt x="2" y="10"/>
                    </a:cubicBezTo>
                    <a:cubicBezTo>
                      <a:pt x="0" y="10"/>
                      <a:pt x="0" y="10"/>
                      <a:pt x="0" y="10"/>
                    </a:cubicBezTo>
                    <a:cubicBezTo>
                      <a:pt x="0" y="10"/>
                      <a:pt x="0" y="10"/>
                      <a:pt x="0" y="10"/>
                    </a:cubicBezTo>
                    <a:cubicBezTo>
                      <a:pt x="0" y="17"/>
                      <a:pt x="0" y="17"/>
                      <a:pt x="0" y="17"/>
                    </a:cubicBezTo>
                    <a:cubicBezTo>
                      <a:pt x="1" y="17"/>
                      <a:pt x="1" y="17"/>
                      <a:pt x="2" y="17"/>
                    </a:cubicBezTo>
                    <a:cubicBezTo>
                      <a:pt x="4" y="18"/>
                      <a:pt x="5" y="19"/>
                      <a:pt x="7" y="19"/>
                    </a:cubicBezTo>
                    <a:cubicBezTo>
                      <a:pt x="7" y="19"/>
                      <a:pt x="7" y="19"/>
                      <a:pt x="7" y="19"/>
                    </a:cubicBezTo>
                    <a:cubicBezTo>
                      <a:pt x="8" y="18"/>
                      <a:pt x="10" y="16"/>
                      <a:pt x="10" y="15"/>
                    </a:cubicBezTo>
                    <a:cubicBezTo>
                      <a:pt x="11" y="14"/>
                      <a:pt x="11" y="14"/>
                      <a:pt x="11" y="14"/>
                    </a:cubicBezTo>
                    <a:cubicBezTo>
                      <a:pt x="11" y="14"/>
                      <a:pt x="12" y="13"/>
                      <a:pt x="12" y="13"/>
                    </a:cubicBezTo>
                    <a:cubicBezTo>
                      <a:pt x="12" y="12"/>
                      <a:pt x="12" y="12"/>
                      <a:pt x="12" y="12"/>
                    </a:cubicBezTo>
                    <a:cubicBezTo>
                      <a:pt x="12" y="12"/>
                      <a:pt x="12" y="13"/>
                      <a:pt x="12" y="12"/>
                    </a:cubicBezTo>
                    <a:cubicBezTo>
                      <a:pt x="12" y="12"/>
                      <a:pt x="12" y="12"/>
                      <a:pt x="12" y="12"/>
                    </a:cubicBezTo>
                    <a:cubicBezTo>
                      <a:pt x="12" y="11"/>
                      <a:pt x="12" y="11"/>
                      <a:pt x="12" y="11"/>
                    </a:cubicBezTo>
                    <a:cubicBezTo>
                      <a:pt x="12" y="11"/>
                      <a:pt x="12" y="11"/>
                      <a:pt x="12" y="11"/>
                    </a:cubicBezTo>
                    <a:cubicBezTo>
                      <a:pt x="12" y="10"/>
                      <a:pt x="12" y="9"/>
                      <a:pt x="12" y="8"/>
                    </a:cubicBezTo>
                    <a:cubicBezTo>
                      <a:pt x="13" y="7"/>
                      <a:pt x="13" y="6"/>
                      <a:pt x="15" y="5"/>
                    </a:cubicBezTo>
                    <a:cubicBezTo>
                      <a:pt x="16" y="5"/>
                      <a:pt x="16" y="5"/>
                      <a:pt x="16" y="5"/>
                    </a:cubicBezTo>
                    <a:cubicBezTo>
                      <a:pt x="17" y="4"/>
                      <a:pt x="17" y="4"/>
                      <a:pt x="18" y="3"/>
                    </a:cubicBezTo>
                    <a:cubicBezTo>
                      <a:pt x="18" y="3"/>
                      <a:pt x="18" y="3"/>
                      <a:pt x="18" y="3"/>
                    </a:cubicBezTo>
                    <a:cubicBezTo>
                      <a:pt x="18" y="2"/>
                      <a:pt x="18" y="2"/>
                      <a:pt x="18" y="2"/>
                    </a:cubicBezTo>
                    <a:cubicBezTo>
                      <a:pt x="17" y="2"/>
                      <a:pt x="17" y="2"/>
                      <a:pt x="17" y="2"/>
                    </a:cubicBezTo>
                    <a:cubicBezTo>
                      <a:pt x="17" y="2"/>
                      <a:pt x="17" y="2"/>
                      <a:pt x="17" y="2"/>
                    </a:cubicBezTo>
                    <a:cubicBezTo>
                      <a:pt x="16" y="1"/>
                      <a:pt x="16" y="1"/>
                      <a:pt x="16" y="1"/>
                    </a:cubicBezTo>
                    <a:cubicBezTo>
                      <a:pt x="16" y="1"/>
                      <a:pt x="16" y="1"/>
                      <a:pt x="16" y="1"/>
                    </a:cubicBezTo>
                    <a:cubicBezTo>
                      <a:pt x="15" y="0"/>
                      <a:pt x="15" y="0"/>
                      <a:pt x="15" y="0"/>
                    </a:cubicBezTo>
                    <a:cubicBezTo>
                      <a:pt x="15" y="0"/>
                      <a:pt x="15" y="0"/>
                      <a:pt x="15" y="0"/>
                    </a:cubicBezTo>
                    <a:cubicBezTo>
                      <a:pt x="14" y="0"/>
                      <a:pt x="14" y="0"/>
                      <a:pt x="14" y="0"/>
                    </a:cubicBez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Freeform 388"/>
              <p:cNvSpPr/>
              <p:nvPr/>
            </p:nvSpPr>
            <p:spPr bwMode="auto">
              <a:xfrm>
                <a:off x="3665" y="1193"/>
                <a:ext cx="135" cy="142"/>
              </a:xfrm>
              <a:custGeom>
                <a:gdLst>
                  <a:gd name="T0" fmla="*/ 31 w 57"/>
                  <a:gd name="T1" fmla="*/ 0 h 60"/>
                  <a:gd name="T2" fmla="*/ 30 w 57"/>
                  <a:gd name="T3" fmla="*/ 0 h 60"/>
                  <a:gd name="T4" fmla="*/ 17 w 57"/>
                  <a:gd name="T5" fmla="*/ 1 h 60"/>
                  <a:gd name="T6" fmla="*/ 14 w 57"/>
                  <a:gd name="T7" fmla="*/ 3 h 60"/>
                  <a:gd name="T8" fmla="*/ 13 w 57"/>
                  <a:gd name="T9" fmla="*/ 4 h 60"/>
                  <a:gd name="T10" fmla="*/ 10 w 57"/>
                  <a:gd name="T11" fmla="*/ 5 h 60"/>
                  <a:gd name="T12" fmla="*/ 0 w 57"/>
                  <a:gd name="T13" fmla="*/ 11 h 60"/>
                  <a:gd name="T14" fmla="*/ 0 w 57"/>
                  <a:gd name="T15" fmla="*/ 60 h 60"/>
                  <a:gd name="T16" fmla="*/ 2 w 57"/>
                  <a:gd name="T17" fmla="*/ 60 h 60"/>
                  <a:gd name="T18" fmla="*/ 6 w 57"/>
                  <a:gd name="T19" fmla="*/ 60 h 60"/>
                  <a:gd name="T20" fmla="*/ 8 w 57"/>
                  <a:gd name="T21" fmla="*/ 59 h 60"/>
                  <a:gd name="T22" fmla="*/ 9 w 57"/>
                  <a:gd name="T23" fmla="*/ 57 h 60"/>
                  <a:gd name="T24" fmla="*/ 8 w 57"/>
                  <a:gd name="T25" fmla="*/ 56 h 60"/>
                  <a:gd name="T26" fmla="*/ 7 w 57"/>
                  <a:gd name="T27" fmla="*/ 53 h 60"/>
                  <a:gd name="T28" fmla="*/ 9 w 57"/>
                  <a:gd name="T29" fmla="*/ 51 h 60"/>
                  <a:gd name="T30" fmla="*/ 11 w 57"/>
                  <a:gd name="T31" fmla="*/ 50 h 60"/>
                  <a:gd name="T32" fmla="*/ 12 w 57"/>
                  <a:gd name="T33" fmla="*/ 50 h 60"/>
                  <a:gd name="T34" fmla="*/ 14 w 57"/>
                  <a:gd name="T35" fmla="*/ 50 h 60"/>
                  <a:gd name="T36" fmla="*/ 15 w 57"/>
                  <a:gd name="T37" fmla="*/ 50 h 60"/>
                  <a:gd name="T38" fmla="*/ 15 w 57"/>
                  <a:gd name="T39" fmla="*/ 49 h 60"/>
                  <a:gd name="T40" fmla="*/ 16 w 57"/>
                  <a:gd name="T41" fmla="*/ 48 h 60"/>
                  <a:gd name="T42" fmla="*/ 16 w 57"/>
                  <a:gd name="T43" fmla="*/ 48 h 60"/>
                  <a:gd name="T44" fmla="*/ 19 w 57"/>
                  <a:gd name="T45" fmla="*/ 46 h 60"/>
                  <a:gd name="T46" fmla="*/ 24 w 57"/>
                  <a:gd name="T47" fmla="*/ 45 h 60"/>
                  <a:gd name="T48" fmla="*/ 30 w 57"/>
                  <a:gd name="T49" fmla="*/ 43 h 60"/>
                  <a:gd name="T50" fmla="*/ 34 w 57"/>
                  <a:gd name="T51" fmla="*/ 42 h 60"/>
                  <a:gd name="T52" fmla="*/ 35 w 57"/>
                  <a:gd name="T53" fmla="*/ 43 h 60"/>
                  <a:gd name="T54" fmla="*/ 35 w 57"/>
                  <a:gd name="T55" fmla="*/ 43 h 60"/>
                  <a:gd name="T56" fmla="*/ 35 w 57"/>
                  <a:gd name="T57" fmla="*/ 43 h 60"/>
                  <a:gd name="T58" fmla="*/ 37 w 57"/>
                  <a:gd name="T59" fmla="*/ 45 h 60"/>
                  <a:gd name="T60" fmla="*/ 38 w 57"/>
                  <a:gd name="T61" fmla="*/ 45 h 60"/>
                  <a:gd name="T62" fmla="*/ 45 w 57"/>
                  <a:gd name="T63" fmla="*/ 44 h 60"/>
                  <a:gd name="T64" fmla="*/ 40 w 57"/>
                  <a:gd name="T65" fmla="*/ 37 h 60"/>
                  <a:gd name="T66" fmla="*/ 40 w 57"/>
                  <a:gd name="T67" fmla="*/ 37 h 60"/>
                  <a:gd name="T68" fmla="*/ 39 w 57"/>
                  <a:gd name="T69" fmla="*/ 36 h 60"/>
                  <a:gd name="T70" fmla="*/ 39 w 57"/>
                  <a:gd name="T71" fmla="*/ 36 h 60"/>
                  <a:gd name="T72" fmla="*/ 38 w 57"/>
                  <a:gd name="T73" fmla="*/ 36 h 60"/>
                  <a:gd name="T74" fmla="*/ 37 w 57"/>
                  <a:gd name="T75" fmla="*/ 36 h 60"/>
                  <a:gd name="T76" fmla="*/ 36 w 57"/>
                  <a:gd name="T77" fmla="*/ 36 h 60"/>
                  <a:gd name="T78" fmla="*/ 36 w 57"/>
                  <a:gd name="T79" fmla="*/ 36 h 60"/>
                  <a:gd name="T80" fmla="*/ 42 w 57"/>
                  <a:gd name="T81" fmla="*/ 32 h 60"/>
                  <a:gd name="T82" fmla="*/ 44 w 57"/>
                  <a:gd name="T83" fmla="*/ 27 h 60"/>
                  <a:gd name="T84" fmla="*/ 44 w 57"/>
                  <a:gd name="T85" fmla="*/ 23 h 60"/>
                  <a:gd name="T86" fmla="*/ 44 w 57"/>
                  <a:gd name="T87" fmla="*/ 19 h 60"/>
                  <a:gd name="T88" fmla="*/ 53 w 57"/>
                  <a:gd name="T89" fmla="*/ 14 h 60"/>
                  <a:gd name="T90" fmla="*/ 55 w 57"/>
                  <a:gd name="T91" fmla="*/ 15 h 60"/>
                  <a:gd name="T92" fmla="*/ 57 w 57"/>
                  <a:gd name="T93" fmla="*/ 8 h 60"/>
                  <a:gd name="T94" fmla="*/ 40 w 57"/>
                  <a:gd name="T95" fmla="*/ 3 h 60"/>
                  <a:gd name="T96" fmla="*/ 35 w 57"/>
                  <a:gd name="T97" fmla="*/ 1 h 60"/>
                  <a:gd name="T98" fmla="*/ 33 w 57"/>
                  <a:gd name="T99" fmla="*/ 0 h 60"/>
                  <a:gd name="T100" fmla="*/ 32 w 57"/>
                  <a:gd name="T101" fmla="*/ 0 h 60"/>
                  <a:gd name="T102" fmla="*/ 31 w 57"/>
                  <a:gd name="T103" fmla="*/ 0 h 60"/>
                  <a:gd name="T104" fmla="*/ 31 w 57"/>
                  <a:gd name="T105" fmla="*/ 0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 h="60">
                    <a:moveTo>
                      <a:pt x="31" y="0"/>
                    </a:moveTo>
                    <a:cubicBezTo>
                      <a:pt x="31" y="0"/>
                      <a:pt x="30" y="0"/>
                      <a:pt x="30" y="0"/>
                    </a:cubicBezTo>
                    <a:cubicBezTo>
                      <a:pt x="17" y="1"/>
                      <a:pt x="17" y="1"/>
                      <a:pt x="17" y="1"/>
                    </a:cubicBezTo>
                    <a:cubicBezTo>
                      <a:pt x="16" y="1"/>
                      <a:pt x="15" y="2"/>
                      <a:pt x="14" y="3"/>
                    </a:cubicBezTo>
                    <a:cubicBezTo>
                      <a:pt x="14" y="3"/>
                      <a:pt x="13" y="4"/>
                      <a:pt x="13" y="4"/>
                    </a:cubicBezTo>
                    <a:cubicBezTo>
                      <a:pt x="12" y="4"/>
                      <a:pt x="11" y="5"/>
                      <a:pt x="10" y="5"/>
                    </a:cubicBezTo>
                    <a:cubicBezTo>
                      <a:pt x="8" y="7"/>
                      <a:pt x="4" y="10"/>
                      <a:pt x="0" y="11"/>
                    </a:cubicBezTo>
                    <a:cubicBezTo>
                      <a:pt x="0" y="60"/>
                      <a:pt x="0" y="60"/>
                      <a:pt x="0" y="60"/>
                    </a:cubicBezTo>
                    <a:cubicBezTo>
                      <a:pt x="2" y="60"/>
                      <a:pt x="2" y="60"/>
                      <a:pt x="2" y="60"/>
                    </a:cubicBezTo>
                    <a:cubicBezTo>
                      <a:pt x="3" y="60"/>
                      <a:pt x="4" y="60"/>
                      <a:pt x="6" y="60"/>
                    </a:cubicBezTo>
                    <a:cubicBezTo>
                      <a:pt x="6" y="60"/>
                      <a:pt x="8" y="59"/>
                      <a:pt x="8" y="59"/>
                    </a:cubicBezTo>
                    <a:cubicBezTo>
                      <a:pt x="8" y="58"/>
                      <a:pt x="9" y="57"/>
                      <a:pt x="9" y="57"/>
                    </a:cubicBezTo>
                    <a:cubicBezTo>
                      <a:pt x="8" y="56"/>
                      <a:pt x="8" y="56"/>
                      <a:pt x="8" y="56"/>
                    </a:cubicBezTo>
                    <a:cubicBezTo>
                      <a:pt x="7" y="55"/>
                      <a:pt x="7" y="54"/>
                      <a:pt x="7" y="53"/>
                    </a:cubicBezTo>
                    <a:cubicBezTo>
                      <a:pt x="7" y="53"/>
                      <a:pt x="7" y="51"/>
                      <a:pt x="9" y="51"/>
                    </a:cubicBezTo>
                    <a:cubicBezTo>
                      <a:pt x="10" y="50"/>
                      <a:pt x="11" y="50"/>
                      <a:pt x="11" y="50"/>
                    </a:cubicBezTo>
                    <a:cubicBezTo>
                      <a:pt x="12" y="50"/>
                      <a:pt x="12" y="50"/>
                      <a:pt x="12" y="50"/>
                    </a:cubicBezTo>
                    <a:cubicBezTo>
                      <a:pt x="14" y="50"/>
                      <a:pt x="14" y="50"/>
                      <a:pt x="14" y="50"/>
                    </a:cubicBezTo>
                    <a:cubicBezTo>
                      <a:pt x="15" y="50"/>
                      <a:pt x="15" y="50"/>
                      <a:pt x="15" y="50"/>
                    </a:cubicBezTo>
                    <a:cubicBezTo>
                      <a:pt x="15" y="49"/>
                      <a:pt x="15" y="49"/>
                      <a:pt x="15" y="49"/>
                    </a:cubicBezTo>
                    <a:cubicBezTo>
                      <a:pt x="16" y="48"/>
                      <a:pt x="16" y="48"/>
                      <a:pt x="16" y="48"/>
                    </a:cubicBezTo>
                    <a:cubicBezTo>
                      <a:pt x="16" y="48"/>
                      <a:pt x="16" y="48"/>
                      <a:pt x="16" y="48"/>
                    </a:cubicBezTo>
                    <a:cubicBezTo>
                      <a:pt x="17" y="48"/>
                      <a:pt x="17" y="47"/>
                      <a:pt x="19" y="46"/>
                    </a:cubicBezTo>
                    <a:cubicBezTo>
                      <a:pt x="24" y="45"/>
                      <a:pt x="24" y="45"/>
                      <a:pt x="24" y="45"/>
                    </a:cubicBezTo>
                    <a:cubicBezTo>
                      <a:pt x="26" y="44"/>
                      <a:pt x="28" y="43"/>
                      <a:pt x="30" y="43"/>
                    </a:cubicBezTo>
                    <a:cubicBezTo>
                      <a:pt x="34" y="42"/>
                      <a:pt x="34" y="42"/>
                      <a:pt x="34" y="42"/>
                    </a:cubicBezTo>
                    <a:cubicBezTo>
                      <a:pt x="35" y="43"/>
                      <a:pt x="35" y="43"/>
                      <a:pt x="35" y="43"/>
                    </a:cubicBezTo>
                    <a:cubicBezTo>
                      <a:pt x="35" y="43"/>
                      <a:pt x="35" y="43"/>
                      <a:pt x="35" y="43"/>
                    </a:cubicBezTo>
                    <a:cubicBezTo>
                      <a:pt x="35" y="43"/>
                      <a:pt x="35" y="43"/>
                      <a:pt x="35" y="43"/>
                    </a:cubicBezTo>
                    <a:cubicBezTo>
                      <a:pt x="36" y="44"/>
                      <a:pt x="36" y="44"/>
                      <a:pt x="37" y="45"/>
                    </a:cubicBezTo>
                    <a:cubicBezTo>
                      <a:pt x="38" y="45"/>
                      <a:pt x="38" y="45"/>
                      <a:pt x="38" y="45"/>
                    </a:cubicBezTo>
                    <a:cubicBezTo>
                      <a:pt x="45" y="44"/>
                      <a:pt x="45" y="44"/>
                      <a:pt x="45" y="44"/>
                    </a:cubicBezTo>
                    <a:cubicBezTo>
                      <a:pt x="43" y="42"/>
                      <a:pt x="41" y="40"/>
                      <a:pt x="40" y="37"/>
                    </a:cubicBezTo>
                    <a:cubicBezTo>
                      <a:pt x="40" y="37"/>
                      <a:pt x="40" y="37"/>
                      <a:pt x="40" y="37"/>
                    </a:cubicBezTo>
                    <a:cubicBezTo>
                      <a:pt x="39" y="37"/>
                      <a:pt x="39" y="36"/>
                      <a:pt x="39" y="36"/>
                    </a:cubicBezTo>
                    <a:cubicBezTo>
                      <a:pt x="39" y="36"/>
                      <a:pt x="39" y="36"/>
                      <a:pt x="39" y="36"/>
                    </a:cubicBezTo>
                    <a:cubicBezTo>
                      <a:pt x="39" y="36"/>
                      <a:pt x="38" y="36"/>
                      <a:pt x="38" y="36"/>
                    </a:cubicBezTo>
                    <a:cubicBezTo>
                      <a:pt x="38" y="36"/>
                      <a:pt x="37" y="36"/>
                      <a:pt x="37" y="36"/>
                    </a:cubicBezTo>
                    <a:cubicBezTo>
                      <a:pt x="37" y="36"/>
                      <a:pt x="36" y="36"/>
                      <a:pt x="36" y="36"/>
                    </a:cubicBezTo>
                    <a:cubicBezTo>
                      <a:pt x="36" y="36"/>
                      <a:pt x="36" y="36"/>
                      <a:pt x="36" y="36"/>
                    </a:cubicBezTo>
                    <a:cubicBezTo>
                      <a:pt x="35" y="35"/>
                      <a:pt x="40" y="32"/>
                      <a:pt x="42" y="32"/>
                    </a:cubicBezTo>
                    <a:cubicBezTo>
                      <a:pt x="44" y="30"/>
                      <a:pt x="44" y="30"/>
                      <a:pt x="44" y="27"/>
                    </a:cubicBezTo>
                    <a:cubicBezTo>
                      <a:pt x="44" y="26"/>
                      <a:pt x="44" y="24"/>
                      <a:pt x="44" y="23"/>
                    </a:cubicBezTo>
                    <a:cubicBezTo>
                      <a:pt x="44" y="22"/>
                      <a:pt x="46" y="20"/>
                      <a:pt x="44" y="19"/>
                    </a:cubicBezTo>
                    <a:cubicBezTo>
                      <a:pt x="47" y="17"/>
                      <a:pt x="50" y="14"/>
                      <a:pt x="53" y="14"/>
                    </a:cubicBezTo>
                    <a:cubicBezTo>
                      <a:pt x="54" y="14"/>
                      <a:pt x="54" y="14"/>
                      <a:pt x="55" y="15"/>
                    </a:cubicBezTo>
                    <a:cubicBezTo>
                      <a:pt x="55" y="13"/>
                      <a:pt x="57" y="11"/>
                      <a:pt x="57" y="8"/>
                    </a:cubicBezTo>
                    <a:cubicBezTo>
                      <a:pt x="40" y="3"/>
                      <a:pt x="40" y="3"/>
                      <a:pt x="40" y="3"/>
                    </a:cubicBezTo>
                    <a:cubicBezTo>
                      <a:pt x="38" y="2"/>
                      <a:pt x="37" y="1"/>
                      <a:pt x="35" y="1"/>
                    </a:cubicBezTo>
                    <a:cubicBezTo>
                      <a:pt x="33" y="0"/>
                      <a:pt x="33" y="0"/>
                      <a:pt x="33" y="0"/>
                    </a:cubicBezTo>
                    <a:cubicBezTo>
                      <a:pt x="32" y="0"/>
                      <a:pt x="32" y="0"/>
                      <a:pt x="32" y="0"/>
                    </a:cubicBezTo>
                    <a:cubicBezTo>
                      <a:pt x="31" y="0"/>
                      <a:pt x="31" y="0"/>
                      <a:pt x="31" y="0"/>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1" name="Freeform 389"/>
              <p:cNvSpPr/>
              <p:nvPr/>
            </p:nvSpPr>
            <p:spPr bwMode="auto">
              <a:xfrm>
                <a:off x="3689" y="1304"/>
                <a:ext cx="134" cy="104"/>
              </a:xfrm>
              <a:custGeom>
                <a:gdLst>
                  <a:gd name="T0" fmla="*/ 22 w 57"/>
                  <a:gd name="T1" fmla="*/ 0 h 44"/>
                  <a:gd name="T2" fmla="*/ 21 w 57"/>
                  <a:gd name="T3" fmla="*/ 0 h 44"/>
                  <a:gd name="T4" fmla="*/ 15 w 57"/>
                  <a:gd name="T5" fmla="*/ 2 h 44"/>
                  <a:gd name="T6" fmla="*/ 11 w 57"/>
                  <a:gd name="T7" fmla="*/ 3 h 44"/>
                  <a:gd name="T8" fmla="*/ 10 w 57"/>
                  <a:gd name="T9" fmla="*/ 4 h 44"/>
                  <a:gd name="T10" fmla="*/ 10 w 57"/>
                  <a:gd name="T11" fmla="*/ 5 h 44"/>
                  <a:gd name="T12" fmla="*/ 9 w 57"/>
                  <a:gd name="T13" fmla="*/ 5 h 44"/>
                  <a:gd name="T14" fmla="*/ 10 w 57"/>
                  <a:gd name="T15" fmla="*/ 6 h 44"/>
                  <a:gd name="T16" fmla="*/ 10 w 57"/>
                  <a:gd name="T17" fmla="*/ 6 h 44"/>
                  <a:gd name="T18" fmla="*/ 11 w 57"/>
                  <a:gd name="T19" fmla="*/ 8 h 44"/>
                  <a:gd name="T20" fmla="*/ 12 w 57"/>
                  <a:gd name="T21" fmla="*/ 13 h 44"/>
                  <a:gd name="T22" fmla="*/ 8 w 57"/>
                  <a:gd name="T23" fmla="*/ 17 h 44"/>
                  <a:gd name="T24" fmla="*/ 7 w 57"/>
                  <a:gd name="T25" fmla="*/ 17 h 44"/>
                  <a:gd name="T26" fmla="*/ 7 w 57"/>
                  <a:gd name="T27" fmla="*/ 18 h 44"/>
                  <a:gd name="T28" fmla="*/ 7 w 57"/>
                  <a:gd name="T29" fmla="*/ 18 h 44"/>
                  <a:gd name="T30" fmla="*/ 7 w 57"/>
                  <a:gd name="T31" fmla="*/ 19 h 44"/>
                  <a:gd name="T32" fmla="*/ 6 w 57"/>
                  <a:gd name="T33" fmla="*/ 23 h 44"/>
                  <a:gd name="T34" fmla="*/ 6 w 57"/>
                  <a:gd name="T35" fmla="*/ 23 h 44"/>
                  <a:gd name="T36" fmla="*/ 5 w 57"/>
                  <a:gd name="T37" fmla="*/ 25 h 44"/>
                  <a:gd name="T38" fmla="*/ 4 w 57"/>
                  <a:gd name="T39" fmla="*/ 26 h 44"/>
                  <a:gd name="T40" fmla="*/ 0 w 57"/>
                  <a:gd name="T41" fmla="*/ 30 h 44"/>
                  <a:gd name="T42" fmla="*/ 0 w 57"/>
                  <a:gd name="T43" fmla="*/ 31 h 44"/>
                  <a:gd name="T44" fmla="*/ 3 w 57"/>
                  <a:gd name="T45" fmla="*/ 31 h 44"/>
                  <a:gd name="T46" fmla="*/ 8 w 57"/>
                  <a:gd name="T47" fmla="*/ 30 h 44"/>
                  <a:gd name="T48" fmla="*/ 11 w 57"/>
                  <a:gd name="T49" fmla="*/ 30 h 44"/>
                  <a:gd name="T50" fmla="*/ 12 w 57"/>
                  <a:gd name="T51" fmla="*/ 31 h 44"/>
                  <a:gd name="T52" fmla="*/ 9 w 57"/>
                  <a:gd name="T53" fmla="*/ 33 h 44"/>
                  <a:gd name="T54" fmla="*/ 2 w 57"/>
                  <a:gd name="T55" fmla="*/ 37 h 44"/>
                  <a:gd name="T56" fmla="*/ 1 w 57"/>
                  <a:gd name="T57" fmla="*/ 44 h 44"/>
                  <a:gd name="T58" fmla="*/ 22 w 57"/>
                  <a:gd name="T59" fmla="*/ 28 h 44"/>
                  <a:gd name="T60" fmla="*/ 31 w 57"/>
                  <a:gd name="T61" fmla="*/ 22 h 44"/>
                  <a:gd name="T62" fmla="*/ 41 w 57"/>
                  <a:gd name="T63" fmla="*/ 21 h 44"/>
                  <a:gd name="T64" fmla="*/ 44 w 57"/>
                  <a:gd name="T65" fmla="*/ 21 h 44"/>
                  <a:gd name="T66" fmla="*/ 49 w 57"/>
                  <a:gd name="T67" fmla="*/ 22 h 44"/>
                  <a:gd name="T68" fmla="*/ 49 w 57"/>
                  <a:gd name="T69" fmla="*/ 22 h 44"/>
                  <a:gd name="T70" fmla="*/ 54 w 57"/>
                  <a:gd name="T71" fmla="*/ 16 h 44"/>
                  <a:gd name="T72" fmla="*/ 57 w 57"/>
                  <a:gd name="T73" fmla="*/ 17 h 44"/>
                  <a:gd name="T74" fmla="*/ 57 w 57"/>
                  <a:gd name="T75" fmla="*/ 17 h 44"/>
                  <a:gd name="T76" fmla="*/ 52 w 57"/>
                  <a:gd name="T77" fmla="*/ 16 h 44"/>
                  <a:gd name="T78" fmla="*/ 40 w 57"/>
                  <a:gd name="T79" fmla="*/ 10 h 44"/>
                  <a:gd name="T80" fmla="*/ 36 w 57"/>
                  <a:gd name="T81" fmla="*/ 2 h 44"/>
                  <a:gd name="T82" fmla="*/ 29 w 57"/>
                  <a:gd name="T83" fmla="*/ 3 h 44"/>
                  <a:gd name="T84" fmla="*/ 28 w 57"/>
                  <a:gd name="T85" fmla="*/ 3 h 44"/>
                  <a:gd name="T86" fmla="*/ 23 w 57"/>
                  <a:gd name="T87" fmla="*/ 1 h 44"/>
                  <a:gd name="T88" fmla="*/ 23 w 57"/>
                  <a:gd name="T89" fmla="*/ 0 h 44"/>
                  <a:gd name="T90" fmla="*/ 22 w 57"/>
                  <a:gd name="T91" fmla="*/ 0 h 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 h="44">
                    <a:moveTo>
                      <a:pt x="22" y="0"/>
                    </a:moveTo>
                    <a:cubicBezTo>
                      <a:pt x="21" y="0"/>
                      <a:pt x="21" y="0"/>
                      <a:pt x="21" y="0"/>
                    </a:cubicBezTo>
                    <a:cubicBezTo>
                      <a:pt x="19" y="1"/>
                      <a:pt x="17" y="1"/>
                      <a:pt x="15" y="2"/>
                    </a:cubicBezTo>
                    <a:cubicBezTo>
                      <a:pt x="11" y="3"/>
                      <a:pt x="11" y="3"/>
                      <a:pt x="11" y="3"/>
                    </a:cubicBezTo>
                    <a:cubicBezTo>
                      <a:pt x="10" y="4"/>
                      <a:pt x="10" y="4"/>
                      <a:pt x="10" y="4"/>
                    </a:cubicBezTo>
                    <a:cubicBezTo>
                      <a:pt x="10" y="5"/>
                      <a:pt x="10" y="5"/>
                      <a:pt x="10" y="5"/>
                    </a:cubicBezTo>
                    <a:cubicBezTo>
                      <a:pt x="9" y="5"/>
                      <a:pt x="9" y="5"/>
                      <a:pt x="9" y="5"/>
                    </a:cubicBezTo>
                    <a:cubicBezTo>
                      <a:pt x="10" y="6"/>
                      <a:pt x="10" y="6"/>
                      <a:pt x="10" y="6"/>
                    </a:cubicBezTo>
                    <a:cubicBezTo>
                      <a:pt x="10" y="6"/>
                      <a:pt x="10" y="6"/>
                      <a:pt x="10" y="6"/>
                    </a:cubicBezTo>
                    <a:cubicBezTo>
                      <a:pt x="10" y="7"/>
                      <a:pt x="11" y="7"/>
                      <a:pt x="11" y="8"/>
                    </a:cubicBezTo>
                    <a:cubicBezTo>
                      <a:pt x="13" y="9"/>
                      <a:pt x="13" y="11"/>
                      <a:pt x="12" y="13"/>
                    </a:cubicBezTo>
                    <a:cubicBezTo>
                      <a:pt x="11" y="15"/>
                      <a:pt x="9" y="16"/>
                      <a:pt x="8" y="17"/>
                    </a:cubicBezTo>
                    <a:cubicBezTo>
                      <a:pt x="7" y="17"/>
                      <a:pt x="7" y="17"/>
                      <a:pt x="7" y="17"/>
                    </a:cubicBezTo>
                    <a:cubicBezTo>
                      <a:pt x="7" y="18"/>
                      <a:pt x="7" y="18"/>
                      <a:pt x="7" y="18"/>
                    </a:cubicBezTo>
                    <a:cubicBezTo>
                      <a:pt x="7" y="18"/>
                      <a:pt x="7" y="18"/>
                      <a:pt x="7" y="18"/>
                    </a:cubicBezTo>
                    <a:cubicBezTo>
                      <a:pt x="7" y="19"/>
                      <a:pt x="7" y="19"/>
                      <a:pt x="7" y="19"/>
                    </a:cubicBezTo>
                    <a:cubicBezTo>
                      <a:pt x="7" y="20"/>
                      <a:pt x="7" y="21"/>
                      <a:pt x="6" y="23"/>
                    </a:cubicBezTo>
                    <a:cubicBezTo>
                      <a:pt x="6" y="23"/>
                      <a:pt x="6" y="23"/>
                      <a:pt x="6" y="23"/>
                    </a:cubicBezTo>
                    <a:cubicBezTo>
                      <a:pt x="6" y="24"/>
                      <a:pt x="5" y="24"/>
                      <a:pt x="5" y="25"/>
                    </a:cubicBezTo>
                    <a:cubicBezTo>
                      <a:pt x="4" y="26"/>
                      <a:pt x="4" y="26"/>
                      <a:pt x="4" y="26"/>
                    </a:cubicBezTo>
                    <a:cubicBezTo>
                      <a:pt x="4" y="27"/>
                      <a:pt x="1" y="29"/>
                      <a:pt x="0" y="30"/>
                    </a:cubicBezTo>
                    <a:cubicBezTo>
                      <a:pt x="0" y="31"/>
                      <a:pt x="0" y="31"/>
                      <a:pt x="0" y="31"/>
                    </a:cubicBezTo>
                    <a:cubicBezTo>
                      <a:pt x="0" y="31"/>
                      <a:pt x="1" y="31"/>
                      <a:pt x="3" y="31"/>
                    </a:cubicBezTo>
                    <a:cubicBezTo>
                      <a:pt x="5" y="31"/>
                      <a:pt x="7" y="31"/>
                      <a:pt x="8" y="30"/>
                    </a:cubicBezTo>
                    <a:cubicBezTo>
                      <a:pt x="9" y="30"/>
                      <a:pt x="10" y="30"/>
                      <a:pt x="11" y="30"/>
                    </a:cubicBezTo>
                    <a:cubicBezTo>
                      <a:pt x="12" y="30"/>
                      <a:pt x="12" y="30"/>
                      <a:pt x="12" y="31"/>
                    </a:cubicBezTo>
                    <a:cubicBezTo>
                      <a:pt x="13" y="32"/>
                      <a:pt x="10" y="33"/>
                      <a:pt x="9" y="33"/>
                    </a:cubicBezTo>
                    <a:cubicBezTo>
                      <a:pt x="8" y="34"/>
                      <a:pt x="3" y="35"/>
                      <a:pt x="2" y="37"/>
                    </a:cubicBezTo>
                    <a:cubicBezTo>
                      <a:pt x="1" y="39"/>
                      <a:pt x="1" y="42"/>
                      <a:pt x="1" y="44"/>
                    </a:cubicBezTo>
                    <a:cubicBezTo>
                      <a:pt x="8" y="38"/>
                      <a:pt x="15" y="33"/>
                      <a:pt x="22" y="28"/>
                    </a:cubicBezTo>
                    <a:cubicBezTo>
                      <a:pt x="24" y="27"/>
                      <a:pt x="28" y="22"/>
                      <a:pt x="31" y="22"/>
                    </a:cubicBezTo>
                    <a:cubicBezTo>
                      <a:pt x="34" y="21"/>
                      <a:pt x="38" y="21"/>
                      <a:pt x="41" y="21"/>
                    </a:cubicBezTo>
                    <a:cubicBezTo>
                      <a:pt x="42" y="21"/>
                      <a:pt x="43" y="21"/>
                      <a:pt x="44" y="21"/>
                    </a:cubicBezTo>
                    <a:cubicBezTo>
                      <a:pt x="46" y="21"/>
                      <a:pt x="48" y="22"/>
                      <a:pt x="49" y="22"/>
                    </a:cubicBezTo>
                    <a:cubicBezTo>
                      <a:pt x="49" y="22"/>
                      <a:pt x="49" y="22"/>
                      <a:pt x="49" y="22"/>
                    </a:cubicBezTo>
                    <a:cubicBezTo>
                      <a:pt x="49" y="19"/>
                      <a:pt x="52" y="16"/>
                      <a:pt x="54" y="16"/>
                    </a:cubicBezTo>
                    <a:cubicBezTo>
                      <a:pt x="55" y="16"/>
                      <a:pt x="56" y="17"/>
                      <a:pt x="57" y="17"/>
                    </a:cubicBezTo>
                    <a:cubicBezTo>
                      <a:pt x="57" y="17"/>
                      <a:pt x="57" y="17"/>
                      <a:pt x="57" y="17"/>
                    </a:cubicBezTo>
                    <a:cubicBezTo>
                      <a:pt x="57" y="16"/>
                      <a:pt x="53" y="16"/>
                      <a:pt x="52" y="16"/>
                    </a:cubicBezTo>
                    <a:cubicBezTo>
                      <a:pt x="48" y="14"/>
                      <a:pt x="44" y="12"/>
                      <a:pt x="40" y="10"/>
                    </a:cubicBezTo>
                    <a:cubicBezTo>
                      <a:pt x="37" y="8"/>
                      <a:pt x="37" y="5"/>
                      <a:pt x="36" y="2"/>
                    </a:cubicBezTo>
                    <a:cubicBezTo>
                      <a:pt x="29" y="3"/>
                      <a:pt x="29" y="3"/>
                      <a:pt x="29" y="3"/>
                    </a:cubicBezTo>
                    <a:cubicBezTo>
                      <a:pt x="28" y="3"/>
                      <a:pt x="28" y="3"/>
                      <a:pt x="28" y="3"/>
                    </a:cubicBezTo>
                    <a:cubicBezTo>
                      <a:pt x="26" y="3"/>
                      <a:pt x="25" y="2"/>
                      <a:pt x="23" y="1"/>
                    </a:cubicBezTo>
                    <a:cubicBezTo>
                      <a:pt x="23" y="1"/>
                      <a:pt x="23" y="0"/>
                      <a:pt x="23" y="0"/>
                    </a:cubicBezTo>
                    <a:cubicBezTo>
                      <a:pt x="22" y="0"/>
                      <a:pt x="22"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Freeform 390"/>
              <p:cNvSpPr/>
              <p:nvPr/>
            </p:nvSpPr>
            <p:spPr bwMode="auto">
              <a:xfrm>
                <a:off x="3665" y="959"/>
                <a:ext cx="184" cy="248"/>
              </a:xfrm>
              <a:custGeom>
                <a:gdLst>
                  <a:gd name="T0" fmla="*/ 12 w 78"/>
                  <a:gd name="T1" fmla="*/ 6 h 105"/>
                  <a:gd name="T2" fmla="*/ 2 w 78"/>
                  <a:gd name="T3" fmla="*/ 8 h 105"/>
                  <a:gd name="T4" fmla="*/ 0 w 78"/>
                  <a:gd name="T5" fmla="*/ 105 h 105"/>
                  <a:gd name="T6" fmla="*/ 8 w 78"/>
                  <a:gd name="T7" fmla="*/ 100 h 105"/>
                  <a:gd name="T8" fmla="*/ 11 w 78"/>
                  <a:gd name="T9" fmla="*/ 98 h 105"/>
                  <a:gd name="T10" fmla="*/ 29 w 78"/>
                  <a:gd name="T11" fmla="*/ 94 h 105"/>
                  <a:gd name="T12" fmla="*/ 32 w 78"/>
                  <a:gd name="T13" fmla="*/ 94 h 105"/>
                  <a:gd name="T14" fmla="*/ 34 w 78"/>
                  <a:gd name="T15" fmla="*/ 94 h 105"/>
                  <a:gd name="T16" fmla="*/ 41 w 78"/>
                  <a:gd name="T17" fmla="*/ 97 h 105"/>
                  <a:gd name="T18" fmla="*/ 59 w 78"/>
                  <a:gd name="T19" fmla="*/ 91 h 105"/>
                  <a:gd name="T20" fmla="*/ 62 w 78"/>
                  <a:gd name="T21" fmla="*/ 86 h 105"/>
                  <a:gd name="T22" fmla="*/ 61 w 78"/>
                  <a:gd name="T23" fmla="*/ 85 h 105"/>
                  <a:gd name="T24" fmla="*/ 64 w 78"/>
                  <a:gd name="T25" fmla="*/ 83 h 105"/>
                  <a:gd name="T26" fmla="*/ 62 w 78"/>
                  <a:gd name="T27" fmla="*/ 83 h 105"/>
                  <a:gd name="T28" fmla="*/ 66 w 78"/>
                  <a:gd name="T29" fmla="*/ 75 h 105"/>
                  <a:gd name="T30" fmla="*/ 68 w 78"/>
                  <a:gd name="T31" fmla="*/ 79 h 105"/>
                  <a:gd name="T32" fmla="*/ 77 w 78"/>
                  <a:gd name="T33" fmla="*/ 78 h 105"/>
                  <a:gd name="T34" fmla="*/ 78 w 78"/>
                  <a:gd name="T35" fmla="*/ 71 h 105"/>
                  <a:gd name="T36" fmla="*/ 77 w 78"/>
                  <a:gd name="T37" fmla="*/ 71 h 105"/>
                  <a:gd name="T38" fmla="*/ 73 w 78"/>
                  <a:gd name="T39" fmla="*/ 68 h 105"/>
                  <a:gd name="T40" fmla="*/ 66 w 78"/>
                  <a:gd name="T41" fmla="*/ 70 h 105"/>
                  <a:gd name="T42" fmla="*/ 62 w 78"/>
                  <a:gd name="T43" fmla="*/ 72 h 105"/>
                  <a:gd name="T44" fmla="*/ 60 w 78"/>
                  <a:gd name="T45" fmla="*/ 73 h 105"/>
                  <a:gd name="T46" fmla="*/ 54 w 78"/>
                  <a:gd name="T47" fmla="*/ 70 h 105"/>
                  <a:gd name="T48" fmla="*/ 50 w 78"/>
                  <a:gd name="T49" fmla="*/ 68 h 105"/>
                  <a:gd name="T50" fmla="*/ 46 w 78"/>
                  <a:gd name="T51" fmla="*/ 66 h 105"/>
                  <a:gd name="T52" fmla="*/ 47 w 78"/>
                  <a:gd name="T53" fmla="*/ 65 h 105"/>
                  <a:gd name="T54" fmla="*/ 46 w 78"/>
                  <a:gd name="T55" fmla="*/ 63 h 105"/>
                  <a:gd name="T56" fmla="*/ 45 w 78"/>
                  <a:gd name="T57" fmla="*/ 56 h 105"/>
                  <a:gd name="T58" fmla="*/ 48 w 78"/>
                  <a:gd name="T59" fmla="*/ 42 h 105"/>
                  <a:gd name="T60" fmla="*/ 47 w 78"/>
                  <a:gd name="T61" fmla="*/ 34 h 105"/>
                  <a:gd name="T62" fmla="*/ 46 w 78"/>
                  <a:gd name="T63" fmla="*/ 31 h 105"/>
                  <a:gd name="T64" fmla="*/ 41 w 78"/>
                  <a:gd name="T65" fmla="*/ 25 h 105"/>
                  <a:gd name="T66" fmla="*/ 33 w 78"/>
                  <a:gd name="T67" fmla="*/ 16 h 105"/>
                  <a:gd name="T68" fmla="*/ 29 w 78"/>
                  <a:gd name="T69" fmla="*/ 8 h 105"/>
                  <a:gd name="T70" fmla="*/ 28 w 78"/>
                  <a:gd name="T71" fmla="*/ 5 h 105"/>
                  <a:gd name="T72" fmla="*/ 26 w 78"/>
                  <a:gd name="T73" fmla="*/ 3 h 105"/>
                  <a:gd name="T74" fmla="*/ 21 w 78"/>
                  <a:gd name="T75" fmla="*/ 0 h 1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105">
                    <a:moveTo>
                      <a:pt x="20" y="0"/>
                    </a:moveTo>
                    <a:cubicBezTo>
                      <a:pt x="12" y="6"/>
                      <a:pt x="12" y="6"/>
                      <a:pt x="12" y="6"/>
                    </a:cubicBezTo>
                    <a:cubicBezTo>
                      <a:pt x="11" y="6"/>
                      <a:pt x="11" y="6"/>
                      <a:pt x="10" y="7"/>
                    </a:cubicBezTo>
                    <a:cubicBezTo>
                      <a:pt x="8" y="7"/>
                      <a:pt x="4" y="8"/>
                      <a:pt x="2" y="8"/>
                    </a:cubicBezTo>
                    <a:cubicBezTo>
                      <a:pt x="1" y="8"/>
                      <a:pt x="1" y="8"/>
                      <a:pt x="0" y="8"/>
                    </a:cubicBezTo>
                    <a:cubicBezTo>
                      <a:pt x="0" y="105"/>
                      <a:pt x="0" y="105"/>
                      <a:pt x="0" y="105"/>
                    </a:cubicBezTo>
                    <a:cubicBezTo>
                      <a:pt x="3" y="104"/>
                      <a:pt x="5" y="102"/>
                      <a:pt x="8" y="100"/>
                    </a:cubicBezTo>
                    <a:cubicBezTo>
                      <a:pt x="8" y="100"/>
                      <a:pt x="8" y="100"/>
                      <a:pt x="8" y="100"/>
                    </a:cubicBezTo>
                    <a:cubicBezTo>
                      <a:pt x="9" y="100"/>
                      <a:pt x="10" y="99"/>
                      <a:pt x="10" y="99"/>
                    </a:cubicBezTo>
                    <a:cubicBezTo>
                      <a:pt x="11" y="99"/>
                      <a:pt x="11" y="98"/>
                      <a:pt x="11" y="98"/>
                    </a:cubicBezTo>
                    <a:cubicBezTo>
                      <a:pt x="13" y="97"/>
                      <a:pt x="15" y="96"/>
                      <a:pt x="17" y="96"/>
                    </a:cubicBezTo>
                    <a:cubicBezTo>
                      <a:pt x="29" y="94"/>
                      <a:pt x="29" y="94"/>
                      <a:pt x="29" y="94"/>
                    </a:cubicBezTo>
                    <a:cubicBezTo>
                      <a:pt x="30" y="94"/>
                      <a:pt x="30" y="94"/>
                      <a:pt x="31" y="94"/>
                    </a:cubicBezTo>
                    <a:cubicBezTo>
                      <a:pt x="31" y="94"/>
                      <a:pt x="31" y="94"/>
                      <a:pt x="32" y="94"/>
                    </a:cubicBezTo>
                    <a:cubicBezTo>
                      <a:pt x="33" y="94"/>
                      <a:pt x="33" y="94"/>
                      <a:pt x="33" y="94"/>
                    </a:cubicBezTo>
                    <a:cubicBezTo>
                      <a:pt x="33" y="94"/>
                      <a:pt x="34" y="94"/>
                      <a:pt x="34" y="94"/>
                    </a:cubicBezTo>
                    <a:cubicBezTo>
                      <a:pt x="37" y="95"/>
                      <a:pt x="37" y="95"/>
                      <a:pt x="37" y="95"/>
                    </a:cubicBezTo>
                    <a:cubicBezTo>
                      <a:pt x="38" y="96"/>
                      <a:pt x="40" y="97"/>
                      <a:pt x="41" y="97"/>
                    </a:cubicBezTo>
                    <a:cubicBezTo>
                      <a:pt x="57" y="102"/>
                      <a:pt x="57" y="102"/>
                      <a:pt x="57" y="102"/>
                    </a:cubicBezTo>
                    <a:cubicBezTo>
                      <a:pt x="57" y="99"/>
                      <a:pt x="57" y="94"/>
                      <a:pt x="59" y="91"/>
                    </a:cubicBezTo>
                    <a:cubicBezTo>
                      <a:pt x="60" y="89"/>
                      <a:pt x="62" y="87"/>
                      <a:pt x="63" y="86"/>
                    </a:cubicBezTo>
                    <a:cubicBezTo>
                      <a:pt x="63" y="86"/>
                      <a:pt x="62" y="86"/>
                      <a:pt x="62" y="86"/>
                    </a:cubicBezTo>
                    <a:cubicBezTo>
                      <a:pt x="60" y="86"/>
                      <a:pt x="60" y="85"/>
                      <a:pt x="61" y="84"/>
                    </a:cubicBezTo>
                    <a:cubicBezTo>
                      <a:pt x="61" y="85"/>
                      <a:pt x="61" y="85"/>
                      <a:pt x="61" y="85"/>
                    </a:cubicBezTo>
                    <a:cubicBezTo>
                      <a:pt x="62" y="84"/>
                      <a:pt x="64" y="84"/>
                      <a:pt x="65" y="83"/>
                    </a:cubicBezTo>
                    <a:cubicBezTo>
                      <a:pt x="65" y="83"/>
                      <a:pt x="64" y="83"/>
                      <a:pt x="64" y="83"/>
                    </a:cubicBezTo>
                    <a:cubicBezTo>
                      <a:pt x="64" y="83"/>
                      <a:pt x="63" y="83"/>
                      <a:pt x="63" y="83"/>
                    </a:cubicBezTo>
                    <a:cubicBezTo>
                      <a:pt x="63" y="83"/>
                      <a:pt x="63" y="83"/>
                      <a:pt x="62" y="83"/>
                    </a:cubicBezTo>
                    <a:cubicBezTo>
                      <a:pt x="62" y="83"/>
                      <a:pt x="62" y="83"/>
                      <a:pt x="61" y="83"/>
                    </a:cubicBezTo>
                    <a:cubicBezTo>
                      <a:pt x="61" y="83"/>
                      <a:pt x="64" y="75"/>
                      <a:pt x="66" y="75"/>
                    </a:cubicBezTo>
                    <a:cubicBezTo>
                      <a:pt x="67" y="75"/>
                      <a:pt x="67" y="76"/>
                      <a:pt x="67" y="76"/>
                    </a:cubicBezTo>
                    <a:cubicBezTo>
                      <a:pt x="68" y="78"/>
                      <a:pt x="64" y="78"/>
                      <a:pt x="68" y="79"/>
                    </a:cubicBezTo>
                    <a:cubicBezTo>
                      <a:pt x="69" y="79"/>
                      <a:pt x="71" y="79"/>
                      <a:pt x="73" y="79"/>
                    </a:cubicBezTo>
                    <a:cubicBezTo>
                      <a:pt x="75" y="79"/>
                      <a:pt x="76" y="79"/>
                      <a:pt x="77" y="78"/>
                    </a:cubicBezTo>
                    <a:cubicBezTo>
                      <a:pt x="77" y="78"/>
                      <a:pt x="77" y="77"/>
                      <a:pt x="77" y="76"/>
                    </a:cubicBezTo>
                    <a:cubicBezTo>
                      <a:pt x="78" y="75"/>
                      <a:pt x="78" y="73"/>
                      <a:pt x="78" y="71"/>
                    </a:cubicBezTo>
                    <a:cubicBezTo>
                      <a:pt x="77" y="72"/>
                      <a:pt x="77" y="72"/>
                      <a:pt x="77" y="72"/>
                    </a:cubicBezTo>
                    <a:cubicBezTo>
                      <a:pt x="77" y="71"/>
                      <a:pt x="77" y="71"/>
                      <a:pt x="77" y="71"/>
                    </a:cubicBezTo>
                    <a:cubicBezTo>
                      <a:pt x="76" y="70"/>
                      <a:pt x="76" y="69"/>
                      <a:pt x="75" y="69"/>
                    </a:cubicBezTo>
                    <a:cubicBezTo>
                      <a:pt x="75" y="68"/>
                      <a:pt x="74" y="68"/>
                      <a:pt x="73" y="68"/>
                    </a:cubicBezTo>
                    <a:cubicBezTo>
                      <a:pt x="71" y="68"/>
                      <a:pt x="68" y="69"/>
                      <a:pt x="67" y="70"/>
                    </a:cubicBezTo>
                    <a:cubicBezTo>
                      <a:pt x="66" y="70"/>
                      <a:pt x="66" y="70"/>
                      <a:pt x="66" y="70"/>
                    </a:cubicBezTo>
                    <a:cubicBezTo>
                      <a:pt x="65" y="71"/>
                      <a:pt x="65" y="71"/>
                      <a:pt x="64" y="71"/>
                    </a:cubicBezTo>
                    <a:cubicBezTo>
                      <a:pt x="62" y="72"/>
                      <a:pt x="62" y="72"/>
                      <a:pt x="62" y="72"/>
                    </a:cubicBezTo>
                    <a:cubicBezTo>
                      <a:pt x="62" y="72"/>
                      <a:pt x="61" y="73"/>
                      <a:pt x="60" y="73"/>
                    </a:cubicBezTo>
                    <a:cubicBezTo>
                      <a:pt x="60" y="73"/>
                      <a:pt x="60" y="73"/>
                      <a:pt x="60" y="73"/>
                    </a:cubicBezTo>
                    <a:cubicBezTo>
                      <a:pt x="59" y="73"/>
                      <a:pt x="59" y="72"/>
                      <a:pt x="58" y="72"/>
                    </a:cubicBezTo>
                    <a:cubicBezTo>
                      <a:pt x="57" y="72"/>
                      <a:pt x="56" y="71"/>
                      <a:pt x="54" y="70"/>
                    </a:cubicBezTo>
                    <a:cubicBezTo>
                      <a:pt x="53" y="70"/>
                      <a:pt x="52" y="69"/>
                      <a:pt x="51" y="69"/>
                    </a:cubicBezTo>
                    <a:cubicBezTo>
                      <a:pt x="50" y="68"/>
                      <a:pt x="50" y="68"/>
                      <a:pt x="50" y="68"/>
                    </a:cubicBezTo>
                    <a:cubicBezTo>
                      <a:pt x="50" y="68"/>
                      <a:pt x="49" y="67"/>
                      <a:pt x="49" y="67"/>
                    </a:cubicBezTo>
                    <a:cubicBezTo>
                      <a:pt x="46" y="66"/>
                      <a:pt x="46" y="66"/>
                      <a:pt x="46" y="66"/>
                    </a:cubicBezTo>
                    <a:cubicBezTo>
                      <a:pt x="47" y="65"/>
                      <a:pt x="47" y="65"/>
                      <a:pt x="47" y="65"/>
                    </a:cubicBezTo>
                    <a:cubicBezTo>
                      <a:pt x="47" y="65"/>
                      <a:pt x="47" y="65"/>
                      <a:pt x="47" y="65"/>
                    </a:cubicBezTo>
                    <a:cubicBezTo>
                      <a:pt x="46" y="65"/>
                      <a:pt x="46" y="65"/>
                      <a:pt x="46" y="65"/>
                    </a:cubicBezTo>
                    <a:cubicBezTo>
                      <a:pt x="46" y="64"/>
                      <a:pt x="46" y="64"/>
                      <a:pt x="46" y="63"/>
                    </a:cubicBezTo>
                    <a:cubicBezTo>
                      <a:pt x="45" y="62"/>
                      <a:pt x="45" y="62"/>
                      <a:pt x="45" y="61"/>
                    </a:cubicBezTo>
                    <a:cubicBezTo>
                      <a:pt x="45" y="59"/>
                      <a:pt x="45" y="58"/>
                      <a:pt x="45" y="56"/>
                    </a:cubicBezTo>
                    <a:cubicBezTo>
                      <a:pt x="45" y="55"/>
                      <a:pt x="46" y="55"/>
                      <a:pt x="46" y="54"/>
                    </a:cubicBezTo>
                    <a:cubicBezTo>
                      <a:pt x="46" y="50"/>
                      <a:pt x="47" y="47"/>
                      <a:pt x="48" y="42"/>
                    </a:cubicBezTo>
                    <a:cubicBezTo>
                      <a:pt x="49" y="41"/>
                      <a:pt x="49" y="39"/>
                      <a:pt x="48" y="38"/>
                    </a:cubicBezTo>
                    <a:cubicBezTo>
                      <a:pt x="48" y="36"/>
                      <a:pt x="47" y="36"/>
                      <a:pt x="47" y="34"/>
                    </a:cubicBezTo>
                    <a:cubicBezTo>
                      <a:pt x="46" y="33"/>
                      <a:pt x="46" y="32"/>
                      <a:pt x="46" y="32"/>
                    </a:cubicBezTo>
                    <a:cubicBezTo>
                      <a:pt x="46" y="31"/>
                      <a:pt x="46" y="31"/>
                      <a:pt x="46" y="31"/>
                    </a:cubicBezTo>
                    <a:cubicBezTo>
                      <a:pt x="46" y="30"/>
                      <a:pt x="45" y="30"/>
                      <a:pt x="45" y="29"/>
                    </a:cubicBezTo>
                    <a:cubicBezTo>
                      <a:pt x="44" y="27"/>
                      <a:pt x="42" y="26"/>
                      <a:pt x="41" y="25"/>
                    </a:cubicBezTo>
                    <a:cubicBezTo>
                      <a:pt x="39" y="24"/>
                      <a:pt x="39" y="24"/>
                      <a:pt x="39" y="24"/>
                    </a:cubicBezTo>
                    <a:cubicBezTo>
                      <a:pt x="37" y="21"/>
                      <a:pt x="35" y="19"/>
                      <a:pt x="33" y="16"/>
                    </a:cubicBezTo>
                    <a:cubicBezTo>
                      <a:pt x="32" y="14"/>
                      <a:pt x="31" y="12"/>
                      <a:pt x="30" y="10"/>
                    </a:cubicBezTo>
                    <a:cubicBezTo>
                      <a:pt x="29" y="8"/>
                      <a:pt x="29" y="8"/>
                      <a:pt x="29" y="8"/>
                    </a:cubicBezTo>
                    <a:cubicBezTo>
                      <a:pt x="29" y="7"/>
                      <a:pt x="29" y="7"/>
                      <a:pt x="29" y="7"/>
                    </a:cubicBezTo>
                    <a:cubicBezTo>
                      <a:pt x="28" y="7"/>
                      <a:pt x="28" y="6"/>
                      <a:pt x="28" y="5"/>
                    </a:cubicBezTo>
                    <a:cubicBezTo>
                      <a:pt x="28" y="5"/>
                      <a:pt x="28" y="5"/>
                      <a:pt x="28" y="5"/>
                    </a:cubicBezTo>
                    <a:cubicBezTo>
                      <a:pt x="27" y="4"/>
                      <a:pt x="27" y="3"/>
                      <a:pt x="26" y="3"/>
                    </a:cubicBezTo>
                    <a:cubicBezTo>
                      <a:pt x="26" y="3"/>
                      <a:pt x="26" y="3"/>
                      <a:pt x="26" y="3"/>
                    </a:cubicBezTo>
                    <a:cubicBezTo>
                      <a:pt x="24" y="2"/>
                      <a:pt x="22" y="1"/>
                      <a:pt x="21" y="0"/>
                    </a:cubicBezTo>
                    <a:cubicBezTo>
                      <a:pt x="20" y="0"/>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3" name="Rectangle 391"/>
              <p:cNvSpPr>
                <a:spLocks noChangeArrowheads="1"/>
              </p:cNvSpPr>
              <p:nvPr/>
            </p:nvSpPr>
            <p:spPr bwMode="auto">
              <a:xfrm>
                <a:off x="3830" y="105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Freeform 392"/>
              <p:cNvSpPr/>
              <p:nvPr/>
            </p:nvSpPr>
            <p:spPr bwMode="auto">
              <a:xfrm flipH="1">
                <a:off x="3830" y="105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Freeform 393"/>
              <p:cNvSpPr/>
              <p:nvPr/>
            </p:nvSpPr>
            <p:spPr bwMode="auto">
              <a:xfrm>
                <a:off x="3724" y="947"/>
                <a:ext cx="132" cy="159"/>
              </a:xfrm>
              <a:custGeom>
                <a:gdLst>
                  <a:gd name="T0" fmla="*/ 5 w 56"/>
                  <a:gd name="T1" fmla="*/ 2 h 67"/>
                  <a:gd name="T2" fmla="*/ 3 w 56"/>
                  <a:gd name="T3" fmla="*/ 2 h 67"/>
                  <a:gd name="T4" fmla="*/ 1 w 56"/>
                  <a:gd name="T5" fmla="*/ 2 h 67"/>
                  <a:gd name="T6" fmla="*/ 1 w 56"/>
                  <a:gd name="T7" fmla="*/ 2 h 67"/>
                  <a:gd name="T8" fmla="*/ 5 w 56"/>
                  <a:gd name="T9" fmla="*/ 5 h 67"/>
                  <a:gd name="T10" fmla="*/ 8 w 56"/>
                  <a:gd name="T11" fmla="*/ 10 h 67"/>
                  <a:gd name="T12" fmla="*/ 9 w 56"/>
                  <a:gd name="T13" fmla="*/ 13 h 67"/>
                  <a:gd name="T14" fmla="*/ 18 w 56"/>
                  <a:gd name="T15" fmla="*/ 25 h 67"/>
                  <a:gd name="T16" fmla="*/ 24 w 56"/>
                  <a:gd name="T17" fmla="*/ 31 h 67"/>
                  <a:gd name="T18" fmla="*/ 26 w 56"/>
                  <a:gd name="T19" fmla="*/ 37 h 67"/>
                  <a:gd name="T20" fmla="*/ 27 w 56"/>
                  <a:gd name="T21" fmla="*/ 49 h 67"/>
                  <a:gd name="T22" fmla="*/ 25 w 56"/>
                  <a:gd name="T23" fmla="*/ 61 h 67"/>
                  <a:gd name="T24" fmla="*/ 25 w 56"/>
                  <a:gd name="T25" fmla="*/ 65 h 67"/>
                  <a:gd name="T26" fmla="*/ 25 w 56"/>
                  <a:gd name="T27" fmla="*/ 67 h 67"/>
                  <a:gd name="T28" fmla="*/ 27 w 56"/>
                  <a:gd name="T29" fmla="*/ 66 h 67"/>
                  <a:gd name="T30" fmla="*/ 29 w 56"/>
                  <a:gd name="T31" fmla="*/ 63 h 67"/>
                  <a:gd name="T32" fmla="*/ 32 w 56"/>
                  <a:gd name="T33" fmla="*/ 60 h 67"/>
                  <a:gd name="T34" fmla="*/ 33 w 56"/>
                  <a:gd name="T35" fmla="*/ 59 h 67"/>
                  <a:gd name="T36" fmla="*/ 34 w 56"/>
                  <a:gd name="T37" fmla="*/ 57 h 67"/>
                  <a:gd name="T38" fmla="*/ 37 w 56"/>
                  <a:gd name="T39" fmla="*/ 55 h 67"/>
                  <a:gd name="T40" fmla="*/ 37 w 56"/>
                  <a:gd name="T41" fmla="*/ 54 h 67"/>
                  <a:gd name="T42" fmla="*/ 38 w 56"/>
                  <a:gd name="T43" fmla="*/ 52 h 67"/>
                  <a:gd name="T44" fmla="*/ 37 w 56"/>
                  <a:gd name="T45" fmla="*/ 51 h 67"/>
                  <a:gd name="T46" fmla="*/ 38 w 56"/>
                  <a:gd name="T47" fmla="*/ 47 h 67"/>
                  <a:gd name="T48" fmla="*/ 41 w 56"/>
                  <a:gd name="T49" fmla="*/ 43 h 67"/>
                  <a:gd name="T50" fmla="*/ 44 w 56"/>
                  <a:gd name="T51" fmla="*/ 44 h 67"/>
                  <a:gd name="T52" fmla="*/ 45 w 56"/>
                  <a:gd name="T53" fmla="*/ 45 h 67"/>
                  <a:gd name="T54" fmla="*/ 46 w 56"/>
                  <a:gd name="T55" fmla="*/ 44 h 67"/>
                  <a:gd name="T56" fmla="*/ 49 w 56"/>
                  <a:gd name="T57" fmla="*/ 44 h 67"/>
                  <a:gd name="T58" fmla="*/ 51 w 56"/>
                  <a:gd name="T59" fmla="*/ 44 h 67"/>
                  <a:gd name="T60" fmla="*/ 52 w 56"/>
                  <a:gd name="T61" fmla="*/ 45 h 67"/>
                  <a:gd name="T62" fmla="*/ 53 w 56"/>
                  <a:gd name="T63" fmla="*/ 46 h 67"/>
                  <a:gd name="T64" fmla="*/ 54 w 56"/>
                  <a:gd name="T65" fmla="*/ 46 h 67"/>
                  <a:gd name="T66" fmla="*/ 56 w 56"/>
                  <a:gd name="T67" fmla="*/ 45 h 67"/>
                  <a:gd name="T68" fmla="*/ 56 w 56"/>
                  <a:gd name="T69" fmla="*/ 41 h 67"/>
                  <a:gd name="T70" fmla="*/ 56 w 56"/>
                  <a:gd name="T71" fmla="*/ 39 h 67"/>
                  <a:gd name="T72" fmla="*/ 52 w 56"/>
                  <a:gd name="T73" fmla="*/ 41 h 67"/>
                  <a:gd name="T74" fmla="*/ 53 w 56"/>
                  <a:gd name="T75" fmla="*/ 38 h 67"/>
                  <a:gd name="T76" fmla="*/ 45 w 56"/>
                  <a:gd name="T77" fmla="*/ 28 h 67"/>
                  <a:gd name="T78" fmla="*/ 48 w 56"/>
                  <a:gd name="T79" fmla="*/ 28 h 67"/>
                  <a:gd name="T80" fmla="*/ 47 w 56"/>
                  <a:gd name="T81" fmla="*/ 28 h 67"/>
                  <a:gd name="T82" fmla="*/ 40 w 56"/>
                  <a:gd name="T83" fmla="*/ 19 h 67"/>
                  <a:gd name="T84" fmla="*/ 41 w 56"/>
                  <a:gd name="T85" fmla="*/ 18 h 67"/>
                  <a:gd name="T86" fmla="*/ 42 w 56"/>
                  <a:gd name="T87" fmla="*/ 17 h 67"/>
                  <a:gd name="T88" fmla="*/ 42 w 56"/>
                  <a:gd name="T89" fmla="*/ 12 h 67"/>
                  <a:gd name="T90" fmla="*/ 41 w 56"/>
                  <a:gd name="T91" fmla="*/ 12 h 67"/>
                  <a:gd name="T92" fmla="*/ 35 w 56"/>
                  <a:gd name="T93" fmla="*/ 10 h 67"/>
                  <a:gd name="T94" fmla="*/ 28 w 56"/>
                  <a:gd name="T95" fmla="*/ 7 h 67"/>
                  <a:gd name="T96" fmla="*/ 15 w 56"/>
                  <a:gd name="T97" fmla="*/ 1 h 67"/>
                  <a:gd name="T98" fmla="*/ 12 w 56"/>
                  <a:gd name="T99" fmla="*/ 0 h 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 h="67">
                    <a:moveTo>
                      <a:pt x="12" y="0"/>
                    </a:moveTo>
                    <a:cubicBezTo>
                      <a:pt x="9" y="1"/>
                      <a:pt x="8" y="2"/>
                      <a:pt x="5" y="2"/>
                    </a:cubicBezTo>
                    <a:cubicBezTo>
                      <a:pt x="4" y="2"/>
                      <a:pt x="4" y="2"/>
                      <a:pt x="4" y="2"/>
                    </a:cubicBezTo>
                    <a:cubicBezTo>
                      <a:pt x="3" y="2"/>
                      <a:pt x="3" y="2"/>
                      <a:pt x="3" y="2"/>
                    </a:cubicBezTo>
                    <a:cubicBezTo>
                      <a:pt x="3" y="2"/>
                      <a:pt x="2" y="2"/>
                      <a:pt x="2" y="2"/>
                    </a:cubicBezTo>
                    <a:cubicBezTo>
                      <a:pt x="1" y="2"/>
                      <a:pt x="1" y="2"/>
                      <a:pt x="1" y="2"/>
                    </a:cubicBezTo>
                    <a:cubicBezTo>
                      <a:pt x="0" y="2"/>
                      <a:pt x="0" y="2"/>
                      <a:pt x="0" y="2"/>
                    </a:cubicBezTo>
                    <a:cubicBezTo>
                      <a:pt x="1" y="2"/>
                      <a:pt x="1" y="2"/>
                      <a:pt x="1" y="2"/>
                    </a:cubicBezTo>
                    <a:cubicBezTo>
                      <a:pt x="1" y="3"/>
                      <a:pt x="2" y="3"/>
                      <a:pt x="3" y="3"/>
                    </a:cubicBezTo>
                    <a:cubicBezTo>
                      <a:pt x="4" y="4"/>
                      <a:pt x="4" y="4"/>
                      <a:pt x="5" y="5"/>
                    </a:cubicBezTo>
                    <a:cubicBezTo>
                      <a:pt x="6" y="6"/>
                      <a:pt x="6" y="7"/>
                      <a:pt x="7" y="8"/>
                    </a:cubicBezTo>
                    <a:cubicBezTo>
                      <a:pt x="7" y="9"/>
                      <a:pt x="7" y="9"/>
                      <a:pt x="8" y="10"/>
                    </a:cubicBezTo>
                    <a:cubicBezTo>
                      <a:pt x="8" y="10"/>
                      <a:pt x="8" y="10"/>
                      <a:pt x="8" y="11"/>
                    </a:cubicBezTo>
                    <a:cubicBezTo>
                      <a:pt x="9" y="13"/>
                      <a:pt x="9" y="13"/>
                      <a:pt x="9" y="13"/>
                    </a:cubicBezTo>
                    <a:cubicBezTo>
                      <a:pt x="10" y="14"/>
                      <a:pt x="11" y="16"/>
                      <a:pt x="12" y="18"/>
                    </a:cubicBezTo>
                    <a:cubicBezTo>
                      <a:pt x="14" y="21"/>
                      <a:pt x="15" y="23"/>
                      <a:pt x="18" y="25"/>
                    </a:cubicBezTo>
                    <a:cubicBezTo>
                      <a:pt x="19" y="26"/>
                      <a:pt x="19" y="26"/>
                      <a:pt x="19" y="26"/>
                    </a:cubicBezTo>
                    <a:cubicBezTo>
                      <a:pt x="20" y="28"/>
                      <a:pt x="22" y="29"/>
                      <a:pt x="24" y="31"/>
                    </a:cubicBezTo>
                    <a:cubicBezTo>
                      <a:pt x="25" y="33"/>
                      <a:pt x="25" y="34"/>
                      <a:pt x="25" y="35"/>
                    </a:cubicBezTo>
                    <a:cubicBezTo>
                      <a:pt x="26" y="36"/>
                      <a:pt x="26" y="37"/>
                      <a:pt x="26" y="37"/>
                    </a:cubicBezTo>
                    <a:cubicBezTo>
                      <a:pt x="27" y="39"/>
                      <a:pt x="27" y="40"/>
                      <a:pt x="28" y="41"/>
                    </a:cubicBezTo>
                    <a:cubicBezTo>
                      <a:pt x="28" y="44"/>
                      <a:pt x="28" y="46"/>
                      <a:pt x="27" y="49"/>
                    </a:cubicBezTo>
                    <a:cubicBezTo>
                      <a:pt x="26" y="53"/>
                      <a:pt x="25" y="55"/>
                      <a:pt x="25" y="59"/>
                    </a:cubicBezTo>
                    <a:cubicBezTo>
                      <a:pt x="25" y="60"/>
                      <a:pt x="25" y="60"/>
                      <a:pt x="25" y="61"/>
                    </a:cubicBezTo>
                    <a:cubicBezTo>
                      <a:pt x="25" y="62"/>
                      <a:pt x="25" y="62"/>
                      <a:pt x="25" y="62"/>
                    </a:cubicBezTo>
                    <a:cubicBezTo>
                      <a:pt x="25" y="63"/>
                      <a:pt x="25" y="64"/>
                      <a:pt x="25" y="65"/>
                    </a:cubicBezTo>
                    <a:cubicBezTo>
                      <a:pt x="25" y="66"/>
                      <a:pt x="25" y="66"/>
                      <a:pt x="25" y="66"/>
                    </a:cubicBezTo>
                    <a:cubicBezTo>
                      <a:pt x="25" y="67"/>
                      <a:pt x="25" y="67"/>
                      <a:pt x="25" y="67"/>
                    </a:cubicBezTo>
                    <a:cubicBezTo>
                      <a:pt x="26" y="67"/>
                      <a:pt x="26" y="66"/>
                      <a:pt x="27" y="66"/>
                    </a:cubicBezTo>
                    <a:cubicBezTo>
                      <a:pt x="27" y="66"/>
                      <a:pt x="27" y="66"/>
                      <a:pt x="27" y="66"/>
                    </a:cubicBezTo>
                    <a:cubicBezTo>
                      <a:pt x="27" y="66"/>
                      <a:pt x="28" y="65"/>
                      <a:pt x="28" y="65"/>
                    </a:cubicBezTo>
                    <a:cubicBezTo>
                      <a:pt x="28" y="64"/>
                      <a:pt x="29" y="64"/>
                      <a:pt x="29" y="63"/>
                    </a:cubicBezTo>
                    <a:cubicBezTo>
                      <a:pt x="30" y="62"/>
                      <a:pt x="31" y="61"/>
                      <a:pt x="31" y="61"/>
                    </a:cubicBezTo>
                    <a:cubicBezTo>
                      <a:pt x="32" y="60"/>
                      <a:pt x="32" y="60"/>
                      <a:pt x="32" y="60"/>
                    </a:cubicBezTo>
                    <a:cubicBezTo>
                      <a:pt x="33" y="60"/>
                      <a:pt x="33" y="60"/>
                      <a:pt x="33" y="60"/>
                    </a:cubicBezTo>
                    <a:cubicBezTo>
                      <a:pt x="33" y="59"/>
                      <a:pt x="33" y="59"/>
                      <a:pt x="33" y="59"/>
                    </a:cubicBezTo>
                    <a:cubicBezTo>
                      <a:pt x="33" y="59"/>
                      <a:pt x="33" y="59"/>
                      <a:pt x="33" y="59"/>
                    </a:cubicBezTo>
                    <a:cubicBezTo>
                      <a:pt x="34" y="58"/>
                      <a:pt x="34" y="58"/>
                      <a:pt x="34" y="57"/>
                    </a:cubicBezTo>
                    <a:cubicBezTo>
                      <a:pt x="34" y="56"/>
                      <a:pt x="35" y="55"/>
                      <a:pt x="36" y="55"/>
                    </a:cubicBezTo>
                    <a:cubicBezTo>
                      <a:pt x="37" y="55"/>
                      <a:pt x="37" y="55"/>
                      <a:pt x="37" y="55"/>
                    </a:cubicBezTo>
                    <a:cubicBezTo>
                      <a:pt x="37" y="55"/>
                      <a:pt x="37" y="55"/>
                      <a:pt x="37" y="55"/>
                    </a:cubicBezTo>
                    <a:cubicBezTo>
                      <a:pt x="37" y="54"/>
                      <a:pt x="37" y="54"/>
                      <a:pt x="37" y="54"/>
                    </a:cubicBezTo>
                    <a:cubicBezTo>
                      <a:pt x="37" y="53"/>
                      <a:pt x="37" y="53"/>
                      <a:pt x="37" y="53"/>
                    </a:cubicBezTo>
                    <a:cubicBezTo>
                      <a:pt x="38" y="52"/>
                      <a:pt x="38" y="52"/>
                      <a:pt x="38" y="52"/>
                    </a:cubicBezTo>
                    <a:cubicBezTo>
                      <a:pt x="37" y="52"/>
                      <a:pt x="37" y="52"/>
                      <a:pt x="37" y="52"/>
                    </a:cubicBezTo>
                    <a:cubicBezTo>
                      <a:pt x="37" y="51"/>
                      <a:pt x="37" y="51"/>
                      <a:pt x="37" y="51"/>
                    </a:cubicBezTo>
                    <a:cubicBezTo>
                      <a:pt x="37" y="50"/>
                      <a:pt x="37" y="49"/>
                      <a:pt x="38" y="48"/>
                    </a:cubicBezTo>
                    <a:cubicBezTo>
                      <a:pt x="38" y="47"/>
                      <a:pt x="38" y="47"/>
                      <a:pt x="38" y="47"/>
                    </a:cubicBezTo>
                    <a:cubicBezTo>
                      <a:pt x="38" y="46"/>
                      <a:pt x="38" y="43"/>
                      <a:pt x="40" y="43"/>
                    </a:cubicBezTo>
                    <a:cubicBezTo>
                      <a:pt x="41" y="43"/>
                      <a:pt x="41" y="43"/>
                      <a:pt x="41" y="43"/>
                    </a:cubicBezTo>
                    <a:cubicBezTo>
                      <a:pt x="41" y="43"/>
                      <a:pt x="41" y="43"/>
                      <a:pt x="41" y="43"/>
                    </a:cubicBezTo>
                    <a:cubicBezTo>
                      <a:pt x="42" y="43"/>
                      <a:pt x="43" y="43"/>
                      <a:pt x="44" y="44"/>
                    </a:cubicBezTo>
                    <a:cubicBezTo>
                      <a:pt x="44" y="45"/>
                      <a:pt x="44" y="45"/>
                      <a:pt x="44" y="45"/>
                    </a:cubicBezTo>
                    <a:cubicBezTo>
                      <a:pt x="45" y="45"/>
                      <a:pt x="45" y="45"/>
                      <a:pt x="45" y="45"/>
                    </a:cubicBezTo>
                    <a:cubicBezTo>
                      <a:pt x="45" y="45"/>
                      <a:pt x="45" y="45"/>
                      <a:pt x="45" y="45"/>
                    </a:cubicBezTo>
                    <a:cubicBezTo>
                      <a:pt x="45" y="45"/>
                      <a:pt x="46" y="45"/>
                      <a:pt x="46" y="44"/>
                    </a:cubicBezTo>
                    <a:cubicBezTo>
                      <a:pt x="48" y="44"/>
                      <a:pt x="48" y="43"/>
                      <a:pt x="49" y="43"/>
                    </a:cubicBezTo>
                    <a:cubicBezTo>
                      <a:pt x="49" y="44"/>
                      <a:pt x="49" y="44"/>
                      <a:pt x="49" y="44"/>
                    </a:cubicBezTo>
                    <a:cubicBezTo>
                      <a:pt x="50" y="44"/>
                      <a:pt x="50" y="44"/>
                      <a:pt x="50" y="44"/>
                    </a:cubicBezTo>
                    <a:cubicBezTo>
                      <a:pt x="51" y="44"/>
                      <a:pt x="51" y="44"/>
                      <a:pt x="51" y="44"/>
                    </a:cubicBezTo>
                    <a:cubicBezTo>
                      <a:pt x="51" y="45"/>
                      <a:pt x="51" y="45"/>
                      <a:pt x="51" y="45"/>
                    </a:cubicBezTo>
                    <a:cubicBezTo>
                      <a:pt x="52" y="45"/>
                      <a:pt x="52" y="45"/>
                      <a:pt x="52" y="45"/>
                    </a:cubicBezTo>
                    <a:cubicBezTo>
                      <a:pt x="52" y="45"/>
                      <a:pt x="52" y="45"/>
                      <a:pt x="52" y="45"/>
                    </a:cubicBezTo>
                    <a:cubicBezTo>
                      <a:pt x="53" y="46"/>
                      <a:pt x="53" y="46"/>
                      <a:pt x="53" y="46"/>
                    </a:cubicBezTo>
                    <a:cubicBezTo>
                      <a:pt x="53" y="46"/>
                      <a:pt x="53" y="46"/>
                      <a:pt x="53" y="46"/>
                    </a:cubicBezTo>
                    <a:cubicBezTo>
                      <a:pt x="53" y="46"/>
                      <a:pt x="54" y="46"/>
                      <a:pt x="54" y="46"/>
                    </a:cubicBezTo>
                    <a:cubicBezTo>
                      <a:pt x="54" y="46"/>
                      <a:pt x="54" y="46"/>
                      <a:pt x="54" y="46"/>
                    </a:cubicBezTo>
                    <a:cubicBezTo>
                      <a:pt x="55" y="45"/>
                      <a:pt x="55" y="45"/>
                      <a:pt x="56" y="45"/>
                    </a:cubicBezTo>
                    <a:cubicBezTo>
                      <a:pt x="56" y="45"/>
                      <a:pt x="56" y="45"/>
                      <a:pt x="56" y="45"/>
                    </a:cubicBezTo>
                    <a:cubicBezTo>
                      <a:pt x="55" y="44"/>
                      <a:pt x="55" y="42"/>
                      <a:pt x="56" y="41"/>
                    </a:cubicBezTo>
                    <a:cubicBezTo>
                      <a:pt x="56" y="40"/>
                      <a:pt x="56" y="40"/>
                      <a:pt x="56" y="39"/>
                    </a:cubicBezTo>
                    <a:cubicBezTo>
                      <a:pt x="56" y="39"/>
                      <a:pt x="56" y="39"/>
                      <a:pt x="56" y="39"/>
                    </a:cubicBezTo>
                    <a:cubicBezTo>
                      <a:pt x="55" y="39"/>
                      <a:pt x="55" y="38"/>
                      <a:pt x="54" y="38"/>
                    </a:cubicBezTo>
                    <a:cubicBezTo>
                      <a:pt x="52" y="41"/>
                      <a:pt x="52" y="41"/>
                      <a:pt x="52" y="41"/>
                    </a:cubicBezTo>
                    <a:cubicBezTo>
                      <a:pt x="53" y="38"/>
                      <a:pt x="53" y="38"/>
                      <a:pt x="53" y="38"/>
                    </a:cubicBezTo>
                    <a:cubicBezTo>
                      <a:pt x="53" y="38"/>
                      <a:pt x="53" y="38"/>
                      <a:pt x="53" y="38"/>
                    </a:cubicBezTo>
                    <a:cubicBezTo>
                      <a:pt x="51" y="36"/>
                      <a:pt x="50" y="34"/>
                      <a:pt x="48" y="32"/>
                    </a:cubicBezTo>
                    <a:cubicBezTo>
                      <a:pt x="45" y="28"/>
                      <a:pt x="45" y="28"/>
                      <a:pt x="45" y="28"/>
                    </a:cubicBezTo>
                    <a:cubicBezTo>
                      <a:pt x="48" y="28"/>
                      <a:pt x="48" y="28"/>
                      <a:pt x="48" y="28"/>
                    </a:cubicBezTo>
                    <a:cubicBezTo>
                      <a:pt x="48" y="28"/>
                      <a:pt x="48" y="28"/>
                      <a:pt x="48" y="28"/>
                    </a:cubicBezTo>
                    <a:cubicBezTo>
                      <a:pt x="48" y="28"/>
                      <a:pt x="48" y="28"/>
                      <a:pt x="48" y="28"/>
                    </a:cubicBezTo>
                    <a:cubicBezTo>
                      <a:pt x="47" y="28"/>
                      <a:pt x="47" y="28"/>
                      <a:pt x="47" y="28"/>
                    </a:cubicBezTo>
                    <a:cubicBezTo>
                      <a:pt x="46" y="27"/>
                      <a:pt x="44" y="26"/>
                      <a:pt x="43" y="25"/>
                    </a:cubicBezTo>
                    <a:cubicBezTo>
                      <a:pt x="41" y="22"/>
                      <a:pt x="40" y="21"/>
                      <a:pt x="40" y="19"/>
                    </a:cubicBezTo>
                    <a:cubicBezTo>
                      <a:pt x="41" y="19"/>
                      <a:pt x="41" y="19"/>
                      <a:pt x="41" y="19"/>
                    </a:cubicBezTo>
                    <a:cubicBezTo>
                      <a:pt x="41" y="18"/>
                      <a:pt x="41" y="18"/>
                      <a:pt x="41" y="18"/>
                    </a:cubicBezTo>
                    <a:cubicBezTo>
                      <a:pt x="42" y="17"/>
                      <a:pt x="42" y="17"/>
                      <a:pt x="42" y="17"/>
                    </a:cubicBezTo>
                    <a:cubicBezTo>
                      <a:pt x="42" y="17"/>
                      <a:pt x="42" y="17"/>
                      <a:pt x="42" y="17"/>
                    </a:cubicBezTo>
                    <a:cubicBezTo>
                      <a:pt x="42" y="16"/>
                      <a:pt x="43" y="13"/>
                      <a:pt x="42" y="12"/>
                    </a:cubicBezTo>
                    <a:cubicBezTo>
                      <a:pt x="42" y="12"/>
                      <a:pt x="42" y="12"/>
                      <a:pt x="42" y="12"/>
                    </a:cubicBezTo>
                    <a:cubicBezTo>
                      <a:pt x="41" y="12"/>
                      <a:pt x="41" y="12"/>
                      <a:pt x="41" y="12"/>
                    </a:cubicBezTo>
                    <a:cubicBezTo>
                      <a:pt x="41" y="12"/>
                      <a:pt x="41" y="12"/>
                      <a:pt x="41" y="12"/>
                    </a:cubicBezTo>
                    <a:cubicBezTo>
                      <a:pt x="40" y="12"/>
                      <a:pt x="38" y="11"/>
                      <a:pt x="35" y="10"/>
                    </a:cubicBezTo>
                    <a:cubicBezTo>
                      <a:pt x="35" y="10"/>
                      <a:pt x="35" y="10"/>
                      <a:pt x="35" y="10"/>
                    </a:cubicBezTo>
                    <a:cubicBezTo>
                      <a:pt x="34" y="10"/>
                      <a:pt x="33" y="9"/>
                      <a:pt x="32" y="9"/>
                    </a:cubicBezTo>
                    <a:cubicBezTo>
                      <a:pt x="31" y="8"/>
                      <a:pt x="29" y="8"/>
                      <a:pt x="28" y="7"/>
                    </a:cubicBezTo>
                    <a:cubicBezTo>
                      <a:pt x="27" y="6"/>
                      <a:pt x="26" y="6"/>
                      <a:pt x="25" y="5"/>
                    </a:cubicBezTo>
                    <a:cubicBezTo>
                      <a:pt x="22" y="4"/>
                      <a:pt x="18" y="2"/>
                      <a:pt x="15" y="1"/>
                    </a:cubicBezTo>
                    <a:cubicBezTo>
                      <a:pt x="14" y="1"/>
                      <a:pt x="14" y="1"/>
                      <a:pt x="13" y="0"/>
                    </a:cubicBezTo>
                    <a:cubicBezTo>
                      <a:pt x="12" y="0"/>
                      <a:pt x="12"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Rectangle 394"/>
              <p:cNvSpPr>
                <a:spLocks noChangeArrowheads="1"/>
              </p:cNvSpPr>
              <p:nvPr/>
            </p:nvSpPr>
            <p:spPr bwMode="auto">
              <a:xfrm>
                <a:off x="3918" y="72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7" name="Rectangle 395"/>
              <p:cNvSpPr>
                <a:spLocks noChangeArrowheads="1"/>
              </p:cNvSpPr>
              <p:nvPr/>
            </p:nvSpPr>
            <p:spPr bwMode="auto">
              <a:xfrm>
                <a:off x="3918" y="72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Freeform 396"/>
              <p:cNvSpPr/>
              <p:nvPr/>
            </p:nvSpPr>
            <p:spPr bwMode="auto">
              <a:xfrm>
                <a:off x="3665" y="481"/>
                <a:ext cx="317" cy="284"/>
              </a:xfrm>
              <a:custGeom>
                <a:gdLst>
                  <a:gd name="T0" fmla="*/ 48 w 134"/>
                  <a:gd name="T1" fmla="*/ 0 h 120"/>
                  <a:gd name="T2" fmla="*/ 42 w 134"/>
                  <a:gd name="T3" fmla="*/ 5 h 120"/>
                  <a:gd name="T4" fmla="*/ 34 w 134"/>
                  <a:gd name="T5" fmla="*/ 9 h 120"/>
                  <a:gd name="T6" fmla="*/ 29 w 134"/>
                  <a:gd name="T7" fmla="*/ 9 h 120"/>
                  <a:gd name="T8" fmla="*/ 25 w 134"/>
                  <a:gd name="T9" fmla="*/ 11 h 120"/>
                  <a:gd name="T10" fmla="*/ 22 w 134"/>
                  <a:gd name="T11" fmla="*/ 13 h 120"/>
                  <a:gd name="T12" fmla="*/ 21 w 134"/>
                  <a:gd name="T13" fmla="*/ 15 h 120"/>
                  <a:gd name="T14" fmla="*/ 20 w 134"/>
                  <a:gd name="T15" fmla="*/ 18 h 120"/>
                  <a:gd name="T16" fmla="*/ 23 w 134"/>
                  <a:gd name="T17" fmla="*/ 20 h 120"/>
                  <a:gd name="T18" fmla="*/ 19 w 134"/>
                  <a:gd name="T19" fmla="*/ 26 h 120"/>
                  <a:gd name="T20" fmla="*/ 7 w 134"/>
                  <a:gd name="T21" fmla="*/ 33 h 120"/>
                  <a:gd name="T22" fmla="*/ 4 w 134"/>
                  <a:gd name="T23" fmla="*/ 40 h 120"/>
                  <a:gd name="T24" fmla="*/ 6 w 134"/>
                  <a:gd name="T25" fmla="*/ 50 h 120"/>
                  <a:gd name="T26" fmla="*/ 2 w 134"/>
                  <a:gd name="T27" fmla="*/ 53 h 120"/>
                  <a:gd name="T28" fmla="*/ 0 w 134"/>
                  <a:gd name="T29" fmla="*/ 106 h 120"/>
                  <a:gd name="T30" fmla="*/ 34 w 134"/>
                  <a:gd name="T31" fmla="*/ 113 h 120"/>
                  <a:gd name="T32" fmla="*/ 49 w 134"/>
                  <a:gd name="T33" fmla="*/ 113 h 120"/>
                  <a:gd name="T34" fmla="*/ 52 w 134"/>
                  <a:gd name="T35" fmla="*/ 113 h 120"/>
                  <a:gd name="T36" fmla="*/ 59 w 134"/>
                  <a:gd name="T37" fmla="*/ 118 h 120"/>
                  <a:gd name="T38" fmla="*/ 64 w 134"/>
                  <a:gd name="T39" fmla="*/ 115 h 120"/>
                  <a:gd name="T40" fmla="*/ 72 w 134"/>
                  <a:gd name="T41" fmla="*/ 118 h 120"/>
                  <a:gd name="T42" fmla="*/ 73 w 134"/>
                  <a:gd name="T43" fmla="*/ 120 h 120"/>
                  <a:gd name="T44" fmla="*/ 79 w 134"/>
                  <a:gd name="T45" fmla="*/ 119 h 120"/>
                  <a:gd name="T46" fmla="*/ 87 w 134"/>
                  <a:gd name="T47" fmla="*/ 117 h 120"/>
                  <a:gd name="T48" fmla="*/ 93 w 134"/>
                  <a:gd name="T49" fmla="*/ 120 h 120"/>
                  <a:gd name="T50" fmla="*/ 94 w 134"/>
                  <a:gd name="T51" fmla="*/ 111 h 120"/>
                  <a:gd name="T52" fmla="*/ 106 w 134"/>
                  <a:gd name="T53" fmla="*/ 102 h 120"/>
                  <a:gd name="T54" fmla="*/ 107 w 134"/>
                  <a:gd name="T55" fmla="*/ 102 h 120"/>
                  <a:gd name="T56" fmla="*/ 114 w 134"/>
                  <a:gd name="T57" fmla="*/ 101 h 120"/>
                  <a:gd name="T58" fmla="*/ 107 w 134"/>
                  <a:gd name="T59" fmla="*/ 82 h 120"/>
                  <a:gd name="T60" fmla="*/ 107 w 134"/>
                  <a:gd name="T61" fmla="*/ 77 h 120"/>
                  <a:gd name="T62" fmla="*/ 109 w 134"/>
                  <a:gd name="T63" fmla="*/ 76 h 120"/>
                  <a:gd name="T64" fmla="*/ 115 w 134"/>
                  <a:gd name="T65" fmla="*/ 75 h 120"/>
                  <a:gd name="T66" fmla="*/ 132 w 134"/>
                  <a:gd name="T67" fmla="*/ 72 h 120"/>
                  <a:gd name="T68" fmla="*/ 128 w 134"/>
                  <a:gd name="T69" fmla="*/ 64 h 120"/>
                  <a:gd name="T70" fmla="*/ 117 w 134"/>
                  <a:gd name="T71" fmla="*/ 55 h 120"/>
                  <a:gd name="T72" fmla="*/ 96 w 134"/>
                  <a:gd name="T73" fmla="*/ 36 h 120"/>
                  <a:gd name="T74" fmla="*/ 98 w 134"/>
                  <a:gd name="T75" fmla="*/ 21 h 120"/>
                  <a:gd name="T76" fmla="*/ 92 w 134"/>
                  <a:gd name="T77" fmla="*/ 10 h 120"/>
                  <a:gd name="T78" fmla="*/ 82 w 134"/>
                  <a:gd name="T79" fmla="*/ 9 h 120"/>
                  <a:gd name="T80" fmla="*/ 75 w 134"/>
                  <a:gd name="T81" fmla="*/ 12 h 120"/>
                  <a:gd name="T82" fmla="*/ 74 w 134"/>
                  <a:gd name="T83" fmla="*/ 12 h 120"/>
                  <a:gd name="T84" fmla="*/ 71 w 134"/>
                  <a:gd name="T85" fmla="*/ 10 h 120"/>
                  <a:gd name="T86" fmla="*/ 70 w 134"/>
                  <a:gd name="T87" fmla="*/ 7 h 120"/>
                  <a:gd name="T88" fmla="*/ 66 w 134"/>
                  <a:gd name="T89" fmla="*/ 5 h 120"/>
                  <a:gd name="T90" fmla="*/ 63 w 134"/>
                  <a:gd name="T91" fmla="*/ 5 h 120"/>
                  <a:gd name="T92" fmla="*/ 57 w 134"/>
                  <a:gd name="T93" fmla="*/ 4 h 120"/>
                  <a:gd name="T94" fmla="*/ 56 w 134"/>
                  <a:gd name="T95" fmla="*/ 4 h 120"/>
                  <a:gd name="T96" fmla="*/ 52 w 134"/>
                  <a:gd name="T97" fmla="*/ 2 h 120"/>
                  <a:gd name="T98" fmla="*/ 50 w 134"/>
                  <a:gd name="T99" fmla="*/ 0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4" h="120">
                    <a:moveTo>
                      <a:pt x="49" y="0"/>
                    </a:moveTo>
                    <a:cubicBezTo>
                      <a:pt x="49" y="0"/>
                      <a:pt x="49" y="0"/>
                      <a:pt x="49" y="0"/>
                    </a:cubicBezTo>
                    <a:cubicBezTo>
                      <a:pt x="49" y="0"/>
                      <a:pt x="49" y="0"/>
                      <a:pt x="49" y="0"/>
                    </a:cubicBezTo>
                    <a:cubicBezTo>
                      <a:pt x="48" y="0"/>
                      <a:pt x="48" y="0"/>
                      <a:pt x="48" y="0"/>
                    </a:cubicBezTo>
                    <a:cubicBezTo>
                      <a:pt x="48" y="0"/>
                      <a:pt x="47" y="1"/>
                      <a:pt x="47" y="1"/>
                    </a:cubicBezTo>
                    <a:cubicBezTo>
                      <a:pt x="46" y="1"/>
                      <a:pt x="46" y="1"/>
                      <a:pt x="44" y="3"/>
                    </a:cubicBezTo>
                    <a:cubicBezTo>
                      <a:pt x="44" y="3"/>
                      <a:pt x="43" y="4"/>
                      <a:pt x="43" y="4"/>
                    </a:cubicBezTo>
                    <a:cubicBezTo>
                      <a:pt x="42" y="4"/>
                      <a:pt x="42" y="5"/>
                      <a:pt x="42" y="5"/>
                    </a:cubicBezTo>
                    <a:cubicBezTo>
                      <a:pt x="42" y="5"/>
                      <a:pt x="42" y="5"/>
                      <a:pt x="42" y="5"/>
                    </a:cubicBezTo>
                    <a:cubicBezTo>
                      <a:pt x="41" y="8"/>
                      <a:pt x="40" y="9"/>
                      <a:pt x="39" y="9"/>
                    </a:cubicBezTo>
                    <a:cubicBezTo>
                      <a:pt x="37" y="9"/>
                      <a:pt x="37" y="9"/>
                      <a:pt x="37" y="9"/>
                    </a:cubicBezTo>
                    <a:cubicBezTo>
                      <a:pt x="36" y="9"/>
                      <a:pt x="35" y="9"/>
                      <a:pt x="34" y="9"/>
                    </a:cubicBezTo>
                    <a:cubicBezTo>
                      <a:pt x="34" y="9"/>
                      <a:pt x="34" y="9"/>
                      <a:pt x="34" y="9"/>
                    </a:cubicBezTo>
                    <a:cubicBezTo>
                      <a:pt x="33" y="9"/>
                      <a:pt x="33" y="9"/>
                      <a:pt x="32" y="9"/>
                    </a:cubicBezTo>
                    <a:cubicBezTo>
                      <a:pt x="31" y="9"/>
                      <a:pt x="31" y="9"/>
                      <a:pt x="31" y="9"/>
                    </a:cubicBezTo>
                    <a:cubicBezTo>
                      <a:pt x="30" y="9"/>
                      <a:pt x="30" y="9"/>
                      <a:pt x="29" y="9"/>
                    </a:cubicBezTo>
                    <a:cubicBezTo>
                      <a:pt x="28" y="9"/>
                      <a:pt x="28" y="9"/>
                      <a:pt x="27" y="10"/>
                    </a:cubicBezTo>
                    <a:cubicBezTo>
                      <a:pt x="27" y="10"/>
                      <a:pt x="27" y="10"/>
                      <a:pt x="27" y="10"/>
                    </a:cubicBezTo>
                    <a:cubicBezTo>
                      <a:pt x="31" y="10"/>
                      <a:pt x="31" y="10"/>
                      <a:pt x="31" y="10"/>
                    </a:cubicBezTo>
                    <a:cubicBezTo>
                      <a:pt x="25" y="11"/>
                      <a:pt x="25" y="11"/>
                      <a:pt x="25" y="11"/>
                    </a:cubicBezTo>
                    <a:cubicBezTo>
                      <a:pt x="24" y="12"/>
                      <a:pt x="24" y="12"/>
                      <a:pt x="24" y="12"/>
                    </a:cubicBezTo>
                    <a:cubicBezTo>
                      <a:pt x="23" y="12"/>
                      <a:pt x="23" y="12"/>
                      <a:pt x="23" y="12"/>
                    </a:cubicBezTo>
                    <a:cubicBezTo>
                      <a:pt x="23" y="12"/>
                      <a:pt x="22" y="13"/>
                      <a:pt x="22" y="13"/>
                    </a:cubicBezTo>
                    <a:cubicBezTo>
                      <a:pt x="22" y="13"/>
                      <a:pt x="22" y="13"/>
                      <a:pt x="22" y="13"/>
                    </a:cubicBezTo>
                    <a:cubicBezTo>
                      <a:pt x="22" y="13"/>
                      <a:pt x="22" y="13"/>
                      <a:pt x="22" y="13"/>
                    </a:cubicBezTo>
                    <a:cubicBezTo>
                      <a:pt x="22" y="13"/>
                      <a:pt x="22" y="13"/>
                      <a:pt x="22" y="13"/>
                    </a:cubicBezTo>
                    <a:cubicBezTo>
                      <a:pt x="22" y="14"/>
                      <a:pt x="22" y="14"/>
                      <a:pt x="22" y="14"/>
                    </a:cubicBezTo>
                    <a:cubicBezTo>
                      <a:pt x="21" y="14"/>
                      <a:pt x="21" y="15"/>
                      <a:pt x="21" y="15"/>
                    </a:cubicBezTo>
                    <a:cubicBezTo>
                      <a:pt x="20" y="17"/>
                      <a:pt x="20" y="17"/>
                      <a:pt x="20" y="17"/>
                    </a:cubicBezTo>
                    <a:cubicBezTo>
                      <a:pt x="20" y="18"/>
                      <a:pt x="20" y="18"/>
                      <a:pt x="20" y="18"/>
                    </a:cubicBezTo>
                    <a:cubicBezTo>
                      <a:pt x="20" y="18"/>
                      <a:pt x="20" y="18"/>
                      <a:pt x="20" y="18"/>
                    </a:cubicBezTo>
                    <a:cubicBezTo>
                      <a:pt x="20" y="18"/>
                      <a:pt x="20" y="18"/>
                      <a:pt x="20" y="18"/>
                    </a:cubicBezTo>
                    <a:cubicBezTo>
                      <a:pt x="20" y="18"/>
                      <a:pt x="20" y="18"/>
                      <a:pt x="20" y="18"/>
                    </a:cubicBezTo>
                    <a:cubicBezTo>
                      <a:pt x="20" y="18"/>
                      <a:pt x="20" y="18"/>
                      <a:pt x="21" y="19"/>
                    </a:cubicBezTo>
                    <a:cubicBezTo>
                      <a:pt x="22" y="19"/>
                      <a:pt x="22" y="19"/>
                      <a:pt x="22" y="19"/>
                    </a:cubicBezTo>
                    <a:cubicBezTo>
                      <a:pt x="22" y="19"/>
                      <a:pt x="23" y="19"/>
                      <a:pt x="23" y="20"/>
                    </a:cubicBezTo>
                    <a:cubicBezTo>
                      <a:pt x="26" y="22"/>
                      <a:pt x="26" y="22"/>
                      <a:pt x="26" y="22"/>
                    </a:cubicBezTo>
                    <a:cubicBezTo>
                      <a:pt x="23" y="24"/>
                      <a:pt x="23" y="24"/>
                      <a:pt x="23" y="24"/>
                    </a:cubicBezTo>
                    <a:cubicBezTo>
                      <a:pt x="22" y="24"/>
                      <a:pt x="21" y="25"/>
                      <a:pt x="20" y="26"/>
                    </a:cubicBezTo>
                    <a:cubicBezTo>
                      <a:pt x="19" y="26"/>
                      <a:pt x="19" y="26"/>
                      <a:pt x="19" y="26"/>
                    </a:cubicBezTo>
                    <a:cubicBezTo>
                      <a:pt x="17" y="28"/>
                      <a:pt x="15" y="29"/>
                      <a:pt x="13" y="30"/>
                    </a:cubicBezTo>
                    <a:cubicBezTo>
                      <a:pt x="12" y="31"/>
                      <a:pt x="12" y="31"/>
                      <a:pt x="12" y="31"/>
                    </a:cubicBezTo>
                    <a:cubicBezTo>
                      <a:pt x="12" y="31"/>
                      <a:pt x="11" y="32"/>
                      <a:pt x="10" y="32"/>
                    </a:cubicBezTo>
                    <a:cubicBezTo>
                      <a:pt x="7" y="33"/>
                      <a:pt x="7" y="33"/>
                      <a:pt x="7" y="33"/>
                    </a:cubicBezTo>
                    <a:cubicBezTo>
                      <a:pt x="6" y="34"/>
                      <a:pt x="6" y="34"/>
                      <a:pt x="5" y="35"/>
                    </a:cubicBezTo>
                    <a:cubicBezTo>
                      <a:pt x="5" y="36"/>
                      <a:pt x="5" y="36"/>
                      <a:pt x="5" y="36"/>
                    </a:cubicBezTo>
                    <a:cubicBezTo>
                      <a:pt x="5" y="36"/>
                      <a:pt x="5" y="37"/>
                      <a:pt x="5" y="37"/>
                    </a:cubicBezTo>
                    <a:cubicBezTo>
                      <a:pt x="5" y="38"/>
                      <a:pt x="4" y="39"/>
                      <a:pt x="4" y="40"/>
                    </a:cubicBezTo>
                    <a:cubicBezTo>
                      <a:pt x="3" y="41"/>
                      <a:pt x="3" y="44"/>
                      <a:pt x="2" y="46"/>
                    </a:cubicBezTo>
                    <a:cubicBezTo>
                      <a:pt x="3" y="47"/>
                      <a:pt x="3" y="47"/>
                      <a:pt x="3" y="47"/>
                    </a:cubicBezTo>
                    <a:cubicBezTo>
                      <a:pt x="4" y="48"/>
                      <a:pt x="4" y="48"/>
                      <a:pt x="4" y="48"/>
                    </a:cubicBezTo>
                    <a:cubicBezTo>
                      <a:pt x="5" y="49"/>
                      <a:pt x="6" y="49"/>
                      <a:pt x="6" y="50"/>
                    </a:cubicBezTo>
                    <a:cubicBezTo>
                      <a:pt x="7" y="52"/>
                      <a:pt x="7" y="52"/>
                      <a:pt x="7" y="52"/>
                    </a:cubicBezTo>
                    <a:cubicBezTo>
                      <a:pt x="4" y="53"/>
                      <a:pt x="4" y="53"/>
                      <a:pt x="4" y="53"/>
                    </a:cubicBezTo>
                    <a:cubicBezTo>
                      <a:pt x="3" y="53"/>
                      <a:pt x="3" y="53"/>
                      <a:pt x="2" y="53"/>
                    </a:cubicBezTo>
                    <a:cubicBezTo>
                      <a:pt x="2" y="53"/>
                      <a:pt x="2" y="53"/>
                      <a:pt x="2" y="53"/>
                    </a:cubicBezTo>
                    <a:cubicBezTo>
                      <a:pt x="1" y="54"/>
                      <a:pt x="1" y="54"/>
                      <a:pt x="1" y="54"/>
                    </a:cubicBezTo>
                    <a:cubicBezTo>
                      <a:pt x="1" y="54"/>
                      <a:pt x="1" y="54"/>
                      <a:pt x="1" y="54"/>
                    </a:cubicBezTo>
                    <a:cubicBezTo>
                      <a:pt x="0" y="54"/>
                      <a:pt x="0" y="54"/>
                      <a:pt x="0" y="54"/>
                    </a:cubicBezTo>
                    <a:cubicBezTo>
                      <a:pt x="0" y="106"/>
                      <a:pt x="0" y="106"/>
                      <a:pt x="0" y="106"/>
                    </a:cubicBezTo>
                    <a:cubicBezTo>
                      <a:pt x="3" y="107"/>
                      <a:pt x="5" y="107"/>
                      <a:pt x="8" y="108"/>
                    </a:cubicBezTo>
                    <a:cubicBezTo>
                      <a:pt x="8" y="108"/>
                      <a:pt x="8" y="108"/>
                      <a:pt x="8" y="108"/>
                    </a:cubicBezTo>
                    <a:cubicBezTo>
                      <a:pt x="33" y="113"/>
                      <a:pt x="33" y="113"/>
                      <a:pt x="33" y="113"/>
                    </a:cubicBezTo>
                    <a:cubicBezTo>
                      <a:pt x="33" y="113"/>
                      <a:pt x="34" y="113"/>
                      <a:pt x="34" y="113"/>
                    </a:cubicBezTo>
                    <a:cubicBezTo>
                      <a:pt x="37" y="113"/>
                      <a:pt x="40" y="113"/>
                      <a:pt x="41" y="115"/>
                    </a:cubicBezTo>
                    <a:cubicBezTo>
                      <a:pt x="43" y="114"/>
                      <a:pt x="45" y="114"/>
                      <a:pt x="47" y="114"/>
                    </a:cubicBezTo>
                    <a:cubicBezTo>
                      <a:pt x="48" y="113"/>
                      <a:pt x="48" y="113"/>
                      <a:pt x="48" y="113"/>
                    </a:cubicBezTo>
                    <a:cubicBezTo>
                      <a:pt x="48" y="113"/>
                      <a:pt x="48" y="113"/>
                      <a:pt x="49" y="113"/>
                    </a:cubicBezTo>
                    <a:cubicBezTo>
                      <a:pt x="49" y="113"/>
                      <a:pt x="49" y="113"/>
                      <a:pt x="49" y="113"/>
                    </a:cubicBezTo>
                    <a:cubicBezTo>
                      <a:pt x="51" y="113"/>
                      <a:pt x="51" y="113"/>
                      <a:pt x="51" y="113"/>
                    </a:cubicBezTo>
                    <a:cubicBezTo>
                      <a:pt x="51" y="113"/>
                      <a:pt x="51" y="113"/>
                      <a:pt x="51" y="113"/>
                    </a:cubicBezTo>
                    <a:cubicBezTo>
                      <a:pt x="52" y="113"/>
                      <a:pt x="52" y="113"/>
                      <a:pt x="52" y="113"/>
                    </a:cubicBezTo>
                    <a:cubicBezTo>
                      <a:pt x="53" y="114"/>
                      <a:pt x="53" y="114"/>
                      <a:pt x="53" y="114"/>
                    </a:cubicBezTo>
                    <a:cubicBezTo>
                      <a:pt x="53" y="115"/>
                      <a:pt x="53" y="115"/>
                      <a:pt x="53" y="115"/>
                    </a:cubicBezTo>
                    <a:cubicBezTo>
                      <a:pt x="55" y="116"/>
                      <a:pt x="56" y="117"/>
                      <a:pt x="58" y="117"/>
                    </a:cubicBezTo>
                    <a:cubicBezTo>
                      <a:pt x="58" y="118"/>
                      <a:pt x="59" y="118"/>
                      <a:pt x="59" y="118"/>
                    </a:cubicBezTo>
                    <a:cubicBezTo>
                      <a:pt x="60" y="117"/>
                      <a:pt x="61" y="116"/>
                      <a:pt x="62" y="116"/>
                    </a:cubicBezTo>
                    <a:cubicBezTo>
                      <a:pt x="63" y="115"/>
                      <a:pt x="63" y="115"/>
                      <a:pt x="63" y="115"/>
                    </a:cubicBezTo>
                    <a:cubicBezTo>
                      <a:pt x="63" y="115"/>
                      <a:pt x="63" y="115"/>
                      <a:pt x="63" y="115"/>
                    </a:cubicBezTo>
                    <a:cubicBezTo>
                      <a:pt x="64" y="115"/>
                      <a:pt x="64" y="115"/>
                      <a:pt x="64" y="115"/>
                    </a:cubicBezTo>
                    <a:cubicBezTo>
                      <a:pt x="65" y="114"/>
                      <a:pt x="65" y="114"/>
                      <a:pt x="65" y="114"/>
                    </a:cubicBezTo>
                    <a:cubicBezTo>
                      <a:pt x="66" y="114"/>
                      <a:pt x="66" y="114"/>
                      <a:pt x="66" y="114"/>
                    </a:cubicBezTo>
                    <a:cubicBezTo>
                      <a:pt x="66" y="114"/>
                      <a:pt x="66" y="114"/>
                      <a:pt x="66" y="114"/>
                    </a:cubicBezTo>
                    <a:cubicBezTo>
                      <a:pt x="69" y="114"/>
                      <a:pt x="71" y="116"/>
                      <a:pt x="72" y="118"/>
                    </a:cubicBezTo>
                    <a:cubicBezTo>
                      <a:pt x="72" y="118"/>
                      <a:pt x="72" y="118"/>
                      <a:pt x="72" y="118"/>
                    </a:cubicBezTo>
                    <a:cubicBezTo>
                      <a:pt x="74" y="116"/>
                      <a:pt x="74" y="116"/>
                      <a:pt x="74" y="116"/>
                    </a:cubicBezTo>
                    <a:cubicBezTo>
                      <a:pt x="73" y="119"/>
                      <a:pt x="73" y="119"/>
                      <a:pt x="73" y="119"/>
                    </a:cubicBezTo>
                    <a:cubicBezTo>
                      <a:pt x="73" y="120"/>
                      <a:pt x="73" y="120"/>
                      <a:pt x="73" y="120"/>
                    </a:cubicBezTo>
                    <a:cubicBezTo>
                      <a:pt x="73" y="120"/>
                      <a:pt x="74" y="120"/>
                      <a:pt x="74" y="120"/>
                    </a:cubicBezTo>
                    <a:cubicBezTo>
                      <a:pt x="75" y="120"/>
                      <a:pt x="75" y="120"/>
                      <a:pt x="76" y="120"/>
                    </a:cubicBezTo>
                    <a:cubicBezTo>
                      <a:pt x="77" y="119"/>
                      <a:pt x="77" y="119"/>
                      <a:pt x="77" y="119"/>
                    </a:cubicBezTo>
                    <a:cubicBezTo>
                      <a:pt x="78" y="119"/>
                      <a:pt x="79" y="119"/>
                      <a:pt x="79" y="119"/>
                    </a:cubicBezTo>
                    <a:cubicBezTo>
                      <a:pt x="81" y="118"/>
                      <a:pt x="82" y="118"/>
                      <a:pt x="83" y="118"/>
                    </a:cubicBezTo>
                    <a:cubicBezTo>
                      <a:pt x="83" y="118"/>
                      <a:pt x="83" y="118"/>
                      <a:pt x="84" y="118"/>
                    </a:cubicBezTo>
                    <a:cubicBezTo>
                      <a:pt x="84" y="118"/>
                      <a:pt x="85" y="118"/>
                      <a:pt x="86" y="117"/>
                    </a:cubicBezTo>
                    <a:cubicBezTo>
                      <a:pt x="86" y="117"/>
                      <a:pt x="86" y="117"/>
                      <a:pt x="87" y="117"/>
                    </a:cubicBezTo>
                    <a:cubicBezTo>
                      <a:pt x="87" y="117"/>
                      <a:pt x="87" y="117"/>
                      <a:pt x="87" y="117"/>
                    </a:cubicBezTo>
                    <a:cubicBezTo>
                      <a:pt x="88" y="117"/>
                      <a:pt x="88" y="117"/>
                      <a:pt x="88" y="117"/>
                    </a:cubicBezTo>
                    <a:cubicBezTo>
                      <a:pt x="89" y="118"/>
                      <a:pt x="89" y="118"/>
                      <a:pt x="90" y="118"/>
                    </a:cubicBezTo>
                    <a:cubicBezTo>
                      <a:pt x="91" y="119"/>
                      <a:pt x="92" y="119"/>
                      <a:pt x="93" y="120"/>
                    </a:cubicBezTo>
                    <a:cubicBezTo>
                      <a:pt x="93" y="120"/>
                      <a:pt x="93" y="119"/>
                      <a:pt x="92" y="118"/>
                    </a:cubicBezTo>
                    <a:cubicBezTo>
                      <a:pt x="92" y="116"/>
                      <a:pt x="92" y="114"/>
                      <a:pt x="93" y="113"/>
                    </a:cubicBezTo>
                    <a:cubicBezTo>
                      <a:pt x="94" y="112"/>
                      <a:pt x="94" y="112"/>
                      <a:pt x="94" y="111"/>
                    </a:cubicBezTo>
                    <a:cubicBezTo>
                      <a:pt x="94" y="111"/>
                      <a:pt x="94" y="111"/>
                      <a:pt x="94" y="111"/>
                    </a:cubicBezTo>
                    <a:cubicBezTo>
                      <a:pt x="95" y="110"/>
                      <a:pt x="95" y="110"/>
                      <a:pt x="95" y="110"/>
                    </a:cubicBezTo>
                    <a:cubicBezTo>
                      <a:pt x="97" y="107"/>
                      <a:pt x="97" y="107"/>
                      <a:pt x="97" y="107"/>
                    </a:cubicBezTo>
                    <a:cubicBezTo>
                      <a:pt x="99" y="105"/>
                      <a:pt x="100" y="103"/>
                      <a:pt x="103" y="102"/>
                    </a:cubicBezTo>
                    <a:cubicBezTo>
                      <a:pt x="104" y="102"/>
                      <a:pt x="104" y="102"/>
                      <a:pt x="106" y="102"/>
                    </a:cubicBezTo>
                    <a:cubicBezTo>
                      <a:pt x="106" y="102"/>
                      <a:pt x="106" y="102"/>
                      <a:pt x="106" y="102"/>
                    </a:cubicBezTo>
                    <a:cubicBezTo>
                      <a:pt x="106" y="102"/>
                      <a:pt x="106" y="102"/>
                      <a:pt x="106" y="102"/>
                    </a:cubicBezTo>
                    <a:cubicBezTo>
                      <a:pt x="107" y="102"/>
                      <a:pt x="107" y="102"/>
                      <a:pt x="107" y="102"/>
                    </a:cubicBezTo>
                    <a:cubicBezTo>
                      <a:pt x="107" y="102"/>
                      <a:pt x="107" y="102"/>
                      <a:pt x="107" y="102"/>
                    </a:cubicBezTo>
                    <a:cubicBezTo>
                      <a:pt x="108" y="102"/>
                      <a:pt x="108" y="102"/>
                      <a:pt x="108" y="102"/>
                    </a:cubicBezTo>
                    <a:cubicBezTo>
                      <a:pt x="109" y="102"/>
                      <a:pt x="109" y="102"/>
                      <a:pt x="109" y="102"/>
                    </a:cubicBezTo>
                    <a:cubicBezTo>
                      <a:pt x="110" y="101"/>
                      <a:pt x="111" y="101"/>
                      <a:pt x="112" y="101"/>
                    </a:cubicBezTo>
                    <a:cubicBezTo>
                      <a:pt x="113" y="101"/>
                      <a:pt x="113" y="101"/>
                      <a:pt x="114" y="101"/>
                    </a:cubicBezTo>
                    <a:cubicBezTo>
                      <a:pt x="113" y="100"/>
                      <a:pt x="112" y="98"/>
                      <a:pt x="112" y="95"/>
                    </a:cubicBezTo>
                    <a:cubicBezTo>
                      <a:pt x="113" y="88"/>
                      <a:pt x="112" y="87"/>
                      <a:pt x="111" y="87"/>
                    </a:cubicBezTo>
                    <a:cubicBezTo>
                      <a:pt x="110" y="86"/>
                      <a:pt x="109" y="84"/>
                      <a:pt x="108" y="82"/>
                    </a:cubicBezTo>
                    <a:cubicBezTo>
                      <a:pt x="107" y="82"/>
                      <a:pt x="107" y="82"/>
                      <a:pt x="107" y="82"/>
                    </a:cubicBezTo>
                    <a:cubicBezTo>
                      <a:pt x="106" y="81"/>
                      <a:pt x="106" y="81"/>
                      <a:pt x="106" y="81"/>
                    </a:cubicBezTo>
                    <a:cubicBezTo>
                      <a:pt x="106" y="80"/>
                      <a:pt x="106" y="80"/>
                      <a:pt x="106" y="80"/>
                    </a:cubicBezTo>
                    <a:cubicBezTo>
                      <a:pt x="106" y="79"/>
                      <a:pt x="106" y="78"/>
                      <a:pt x="107" y="78"/>
                    </a:cubicBezTo>
                    <a:cubicBezTo>
                      <a:pt x="107" y="77"/>
                      <a:pt x="107" y="77"/>
                      <a:pt x="107" y="77"/>
                    </a:cubicBezTo>
                    <a:cubicBezTo>
                      <a:pt x="108" y="78"/>
                      <a:pt x="108" y="78"/>
                      <a:pt x="108" y="78"/>
                    </a:cubicBezTo>
                    <a:cubicBezTo>
                      <a:pt x="108" y="77"/>
                      <a:pt x="108" y="77"/>
                      <a:pt x="108" y="77"/>
                    </a:cubicBezTo>
                    <a:cubicBezTo>
                      <a:pt x="108" y="76"/>
                      <a:pt x="108" y="76"/>
                      <a:pt x="108" y="76"/>
                    </a:cubicBezTo>
                    <a:cubicBezTo>
                      <a:pt x="109" y="76"/>
                      <a:pt x="109" y="76"/>
                      <a:pt x="109" y="76"/>
                    </a:cubicBezTo>
                    <a:cubicBezTo>
                      <a:pt x="109" y="76"/>
                      <a:pt x="110" y="76"/>
                      <a:pt x="110" y="75"/>
                    </a:cubicBezTo>
                    <a:cubicBezTo>
                      <a:pt x="111" y="75"/>
                      <a:pt x="111" y="75"/>
                      <a:pt x="111" y="75"/>
                    </a:cubicBezTo>
                    <a:cubicBezTo>
                      <a:pt x="112" y="75"/>
                      <a:pt x="113" y="75"/>
                      <a:pt x="114" y="75"/>
                    </a:cubicBezTo>
                    <a:cubicBezTo>
                      <a:pt x="114" y="75"/>
                      <a:pt x="114" y="75"/>
                      <a:pt x="115" y="75"/>
                    </a:cubicBezTo>
                    <a:cubicBezTo>
                      <a:pt x="116" y="75"/>
                      <a:pt x="116" y="75"/>
                      <a:pt x="118" y="75"/>
                    </a:cubicBezTo>
                    <a:cubicBezTo>
                      <a:pt x="119" y="75"/>
                      <a:pt x="120" y="76"/>
                      <a:pt x="121" y="76"/>
                    </a:cubicBezTo>
                    <a:cubicBezTo>
                      <a:pt x="122" y="76"/>
                      <a:pt x="122" y="76"/>
                      <a:pt x="123" y="76"/>
                    </a:cubicBezTo>
                    <a:cubicBezTo>
                      <a:pt x="126" y="76"/>
                      <a:pt x="129" y="74"/>
                      <a:pt x="132" y="72"/>
                    </a:cubicBezTo>
                    <a:cubicBezTo>
                      <a:pt x="132" y="71"/>
                      <a:pt x="133" y="71"/>
                      <a:pt x="134" y="71"/>
                    </a:cubicBezTo>
                    <a:cubicBezTo>
                      <a:pt x="133" y="70"/>
                      <a:pt x="133" y="70"/>
                      <a:pt x="132" y="70"/>
                    </a:cubicBezTo>
                    <a:cubicBezTo>
                      <a:pt x="130" y="68"/>
                      <a:pt x="128" y="66"/>
                      <a:pt x="128" y="65"/>
                    </a:cubicBezTo>
                    <a:cubicBezTo>
                      <a:pt x="128" y="64"/>
                      <a:pt x="128" y="64"/>
                      <a:pt x="128" y="64"/>
                    </a:cubicBezTo>
                    <a:cubicBezTo>
                      <a:pt x="121" y="63"/>
                      <a:pt x="117" y="62"/>
                      <a:pt x="116" y="61"/>
                    </a:cubicBezTo>
                    <a:cubicBezTo>
                      <a:pt x="115" y="59"/>
                      <a:pt x="115" y="59"/>
                      <a:pt x="115" y="59"/>
                    </a:cubicBezTo>
                    <a:cubicBezTo>
                      <a:pt x="116" y="58"/>
                      <a:pt x="116" y="58"/>
                      <a:pt x="116" y="58"/>
                    </a:cubicBezTo>
                    <a:cubicBezTo>
                      <a:pt x="116" y="57"/>
                      <a:pt x="117" y="56"/>
                      <a:pt x="117" y="55"/>
                    </a:cubicBezTo>
                    <a:cubicBezTo>
                      <a:pt x="116" y="54"/>
                      <a:pt x="115" y="53"/>
                      <a:pt x="114" y="52"/>
                    </a:cubicBezTo>
                    <a:cubicBezTo>
                      <a:pt x="107" y="49"/>
                      <a:pt x="104" y="43"/>
                      <a:pt x="105" y="39"/>
                    </a:cubicBezTo>
                    <a:cubicBezTo>
                      <a:pt x="104" y="39"/>
                      <a:pt x="102" y="37"/>
                      <a:pt x="99" y="36"/>
                    </a:cubicBezTo>
                    <a:cubicBezTo>
                      <a:pt x="96" y="36"/>
                      <a:pt x="96" y="36"/>
                      <a:pt x="96" y="36"/>
                    </a:cubicBezTo>
                    <a:cubicBezTo>
                      <a:pt x="97" y="33"/>
                      <a:pt x="97" y="33"/>
                      <a:pt x="97" y="33"/>
                    </a:cubicBezTo>
                    <a:cubicBezTo>
                      <a:pt x="97" y="32"/>
                      <a:pt x="99" y="29"/>
                      <a:pt x="101" y="27"/>
                    </a:cubicBezTo>
                    <a:cubicBezTo>
                      <a:pt x="101" y="26"/>
                      <a:pt x="100" y="25"/>
                      <a:pt x="100" y="25"/>
                    </a:cubicBezTo>
                    <a:cubicBezTo>
                      <a:pt x="99" y="24"/>
                      <a:pt x="98" y="23"/>
                      <a:pt x="98" y="21"/>
                    </a:cubicBezTo>
                    <a:cubicBezTo>
                      <a:pt x="97" y="20"/>
                      <a:pt x="97" y="20"/>
                      <a:pt x="97" y="20"/>
                    </a:cubicBezTo>
                    <a:cubicBezTo>
                      <a:pt x="100" y="17"/>
                      <a:pt x="100" y="17"/>
                      <a:pt x="100" y="17"/>
                    </a:cubicBezTo>
                    <a:cubicBezTo>
                      <a:pt x="99" y="14"/>
                      <a:pt x="99" y="14"/>
                      <a:pt x="99" y="14"/>
                    </a:cubicBezTo>
                    <a:cubicBezTo>
                      <a:pt x="98" y="13"/>
                      <a:pt x="96" y="11"/>
                      <a:pt x="92" y="10"/>
                    </a:cubicBezTo>
                    <a:cubicBezTo>
                      <a:pt x="91" y="9"/>
                      <a:pt x="90" y="9"/>
                      <a:pt x="89" y="8"/>
                    </a:cubicBezTo>
                    <a:cubicBezTo>
                      <a:pt x="89" y="8"/>
                      <a:pt x="89" y="8"/>
                      <a:pt x="89" y="8"/>
                    </a:cubicBezTo>
                    <a:cubicBezTo>
                      <a:pt x="87" y="8"/>
                      <a:pt x="86" y="8"/>
                      <a:pt x="85" y="8"/>
                    </a:cubicBezTo>
                    <a:cubicBezTo>
                      <a:pt x="83" y="8"/>
                      <a:pt x="82" y="8"/>
                      <a:pt x="82" y="9"/>
                    </a:cubicBezTo>
                    <a:cubicBezTo>
                      <a:pt x="81" y="9"/>
                      <a:pt x="80" y="10"/>
                      <a:pt x="79" y="10"/>
                    </a:cubicBezTo>
                    <a:cubicBezTo>
                      <a:pt x="79" y="10"/>
                      <a:pt x="79" y="10"/>
                      <a:pt x="79" y="10"/>
                    </a:cubicBezTo>
                    <a:cubicBezTo>
                      <a:pt x="78" y="11"/>
                      <a:pt x="78" y="11"/>
                      <a:pt x="77" y="11"/>
                    </a:cubicBezTo>
                    <a:cubicBezTo>
                      <a:pt x="77" y="12"/>
                      <a:pt x="76" y="12"/>
                      <a:pt x="75" y="12"/>
                    </a:cubicBezTo>
                    <a:cubicBezTo>
                      <a:pt x="75" y="12"/>
                      <a:pt x="75" y="12"/>
                      <a:pt x="75" y="12"/>
                    </a:cubicBezTo>
                    <a:cubicBezTo>
                      <a:pt x="75" y="12"/>
                      <a:pt x="75" y="12"/>
                      <a:pt x="75" y="12"/>
                    </a:cubicBezTo>
                    <a:cubicBezTo>
                      <a:pt x="74" y="12"/>
                      <a:pt x="74" y="12"/>
                      <a:pt x="74" y="12"/>
                    </a:cubicBezTo>
                    <a:cubicBezTo>
                      <a:pt x="74" y="12"/>
                      <a:pt x="74" y="12"/>
                      <a:pt x="74" y="12"/>
                    </a:cubicBezTo>
                    <a:cubicBezTo>
                      <a:pt x="73" y="12"/>
                      <a:pt x="72" y="11"/>
                      <a:pt x="72" y="11"/>
                    </a:cubicBezTo>
                    <a:cubicBezTo>
                      <a:pt x="72" y="11"/>
                      <a:pt x="72" y="11"/>
                      <a:pt x="72" y="11"/>
                    </a:cubicBezTo>
                    <a:cubicBezTo>
                      <a:pt x="71" y="11"/>
                      <a:pt x="71" y="11"/>
                      <a:pt x="71" y="11"/>
                    </a:cubicBezTo>
                    <a:cubicBezTo>
                      <a:pt x="71" y="10"/>
                      <a:pt x="71" y="10"/>
                      <a:pt x="71" y="10"/>
                    </a:cubicBezTo>
                    <a:cubicBezTo>
                      <a:pt x="71" y="10"/>
                      <a:pt x="71" y="10"/>
                      <a:pt x="71" y="10"/>
                    </a:cubicBezTo>
                    <a:cubicBezTo>
                      <a:pt x="71" y="9"/>
                      <a:pt x="71" y="9"/>
                      <a:pt x="71" y="9"/>
                    </a:cubicBezTo>
                    <a:cubicBezTo>
                      <a:pt x="70" y="9"/>
                      <a:pt x="70" y="8"/>
                      <a:pt x="70" y="8"/>
                    </a:cubicBezTo>
                    <a:cubicBezTo>
                      <a:pt x="70" y="7"/>
                      <a:pt x="70" y="7"/>
                      <a:pt x="70" y="7"/>
                    </a:cubicBezTo>
                    <a:cubicBezTo>
                      <a:pt x="70" y="7"/>
                      <a:pt x="70" y="7"/>
                      <a:pt x="70" y="6"/>
                    </a:cubicBezTo>
                    <a:cubicBezTo>
                      <a:pt x="70" y="6"/>
                      <a:pt x="70" y="5"/>
                      <a:pt x="70" y="5"/>
                    </a:cubicBezTo>
                    <a:cubicBezTo>
                      <a:pt x="69" y="4"/>
                      <a:pt x="69" y="4"/>
                      <a:pt x="69" y="4"/>
                    </a:cubicBezTo>
                    <a:cubicBezTo>
                      <a:pt x="68" y="5"/>
                      <a:pt x="67" y="5"/>
                      <a:pt x="66" y="5"/>
                    </a:cubicBezTo>
                    <a:cubicBezTo>
                      <a:pt x="66" y="5"/>
                      <a:pt x="66" y="5"/>
                      <a:pt x="66" y="5"/>
                    </a:cubicBezTo>
                    <a:cubicBezTo>
                      <a:pt x="66" y="5"/>
                      <a:pt x="66" y="5"/>
                      <a:pt x="66" y="5"/>
                    </a:cubicBezTo>
                    <a:cubicBezTo>
                      <a:pt x="65" y="5"/>
                      <a:pt x="64" y="5"/>
                      <a:pt x="63" y="5"/>
                    </a:cubicBezTo>
                    <a:cubicBezTo>
                      <a:pt x="63" y="5"/>
                      <a:pt x="63" y="5"/>
                      <a:pt x="63" y="5"/>
                    </a:cubicBezTo>
                    <a:cubicBezTo>
                      <a:pt x="62" y="5"/>
                      <a:pt x="61" y="5"/>
                      <a:pt x="61" y="5"/>
                    </a:cubicBezTo>
                    <a:cubicBezTo>
                      <a:pt x="60" y="5"/>
                      <a:pt x="60" y="5"/>
                      <a:pt x="60" y="5"/>
                    </a:cubicBezTo>
                    <a:cubicBezTo>
                      <a:pt x="59" y="5"/>
                      <a:pt x="58" y="5"/>
                      <a:pt x="57" y="4"/>
                    </a:cubicBezTo>
                    <a:cubicBezTo>
                      <a:pt x="57" y="4"/>
                      <a:pt x="57" y="4"/>
                      <a:pt x="57" y="4"/>
                    </a:cubicBezTo>
                    <a:cubicBezTo>
                      <a:pt x="57" y="4"/>
                      <a:pt x="57" y="4"/>
                      <a:pt x="57" y="4"/>
                    </a:cubicBezTo>
                    <a:cubicBezTo>
                      <a:pt x="57" y="4"/>
                      <a:pt x="57" y="4"/>
                      <a:pt x="57" y="4"/>
                    </a:cubicBezTo>
                    <a:cubicBezTo>
                      <a:pt x="56" y="4"/>
                      <a:pt x="56" y="4"/>
                      <a:pt x="56" y="4"/>
                    </a:cubicBezTo>
                    <a:cubicBezTo>
                      <a:pt x="56" y="4"/>
                      <a:pt x="56" y="4"/>
                      <a:pt x="56" y="4"/>
                    </a:cubicBezTo>
                    <a:cubicBezTo>
                      <a:pt x="55" y="3"/>
                      <a:pt x="55" y="3"/>
                      <a:pt x="54" y="3"/>
                    </a:cubicBezTo>
                    <a:cubicBezTo>
                      <a:pt x="54" y="2"/>
                      <a:pt x="54" y="2"/>
                      <a:pt x="54" y="2"/>
                    </a:cubicBezTo>
                    <a:cubicBezTo>
                      <a:pt x="53" y="2"/>
                      <a:pt x="53" y="2"/>
                      <a:pt x="53" y="2"/>
                    </a:cubicBezTo>
                    <a:cubicBezTo>
                      <a:pt x="52" y="2"/>
                      <a:pt x="52" y="2"/>
                      <a:pt x="52" y="2"/>
                    </a:cubicBezTo>
                    <a:cubicBezTo>
                      <a:pt x="51" y="1"/>
                      <a:pt x="51" y="1"/>
                      <a:pt x="51" y="1"/>
                    </a:cubicBezTo>
                    <a:cubicBezTo>
                      <a:pt x="51" y="1"/>
                      <a:pt x="51" y="1"/>
                      <a:pt x="51" y="1"/>
                    </a:cubicBezTo>
                    <a:cubicBezTo>
                      <a:pt x="51" y="1"/>
                      <a:pt x="50" y="1"/>
                      <a:pt x="50" y="0"/>
                    </a:cubicBezTo>
                    <a:cubicBezTo>
                      <a:pt x="50" y="0"/>
                      <a:pt x="50" y="0"/>
                      <a:pt x="50" y="0"/>
                    </a:cubicBezTo>
                    <a:cubicBezTo>
                      <a:pt x="50" y="1"/>
                      <a:pt x="50" y="1"/>
                      <a:pt x="50" y="1"/>
                    </a:cubicBezTo>
                    <a:cubicBezTo>
                      <a:pt x="49" y="0"/>
                      <a:pt x="49"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9" name="Freeform 397"/>
              <p:cNvSpPr/>
              <p:nvPr/>
            </p:nvSpPr>
            <p:spPr bwMode="auto">
              <a:xfrm>
                <a:off x="3665" y="481"/>
                <a:ext cx="40" cy="88"/>
              </a:xfrm>
              <a:custGeom>
                <a:gdLst>
                  <a:gd name="T0" fmla="*/ 0 w 17"/>
                  <a:gd name="T1" fmla="*/ 0 h 37"/>
                  <a:gd name="T2" fmla="*/ 0 w 17"/>
                  <a:gd name="T3" fmla="*/ 37 h 37"/>
                  <a:gd name="T4" fmla="*/ 1 w 17"/>
                  <a:gd name="T5" fmla="*/ 34 h 37"/>
                  <a:gd name="T6" fmla="*/ 5 w 17"/>
                  <a:gd name="T7" fmla="*/ 29 h 37"/>
                  <a:gd name="T8" fmla="*/ 7 w 17"/>
                  <a:gd name="T9" fmla="*/ 28 h 37"/>
                  <a:gd name="T10" fmla="*/ 8 w 17"/>
                  <a:gd name="T11" fmla="*/ 28 h 37"/>
                  <a:gd name="T12" fmla="*/ 10 w 17"/>
                  <a:gd name="T13" fmla="*/ 27 h 37"/>
                  <a:gd name="T14" fmla="*/ 8 w 17"/>
                  <a:gd name="T15" fmla="*/ 24 h 37"/>
                  <a:gd name="T16" fmla="*/ 11 w 17"/>
                  <a:gd name="T17" fmla="*/ 26 h 37"/>
                  <a:gd name="T18" fmla="*/ 17 w 17"/>
                  <a:gd name="T19" fmla="*/ 22 h 37"/>
                  <a:gd name="T20" fmla="*/ 17 w 17"/>
                  <a:gd name="T21" fmla="*/ 22 h 37"/>
                  <a:gd name="T22" fmla="*/ 16 w 17"/>
                  <a:gd name="T23" fmla="*/ 21 h 37"/>
                  <a:gd name="T24" fmla="*/ 16 w 17"/>
                  <a:gd name="T25" fmla="*/ 16 h 37"/>
                  <a:gd name="T26" fmla="*/ 16 w 17"/>
                  <a:gd name="T27" fmla="*/ 14 h 37"/>
                  <a:gd name="T28" fmla="*/ 17 w 17"/>
                  <a:gd name="T29" fmla="*/ 12 h 37"/>
                  <a:gd name="T30" fmla="*/ 17 w 17"/>
                  <a:gd name="T31" fmla="*/ 12 h 37"/>
                  <a:gd name="T32" fmla="*/ 13 w 17"/>
                  <a:gd name="T33" fmla="*/ 10 h 37"/>
                  <a:gd name="T34" fmla="*/ 12 w 17"/>
                  <a:gd name="T35" fmla="*/ 9 h 37"/>
                  <a:gd name="T36" fmla="*/ 10 w 17"/>
                  <a:gd name="T37" fmla="*/ 8 h 37"/>
                  <a:gd name="T38" fmla="*/ 8 w 17"/>
                  <a:gd name="T39" fmla="*/ 6 h 37"/>
                  <a:gd name="T40" fmla="*/ 6 w 17"/>
                  <a:gd name="T41" fmla="*/ 4 h 37"/>
                  <a:gd name="T42" fmla="*/ 4 w 17"/>
                  <a:gd name="T43" fmla="*/ 3 h 37"/>
                  <a:gd name="T44" fmla="*/ 2 w 17"/>
                  <a:gd name="T45" fmla="*/ 2 h 37"/>
                  <a:gd name="T46" fmla="*/ 0 w 17"/>
                  <a:gd name="T47"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37">
                    <a:moveTo>
                      <a:pt x="0" y="0"/>
                    </a:moveTo>
                    <a:cubicBezTo>
                      <a:pt x="0" y="37"/>
                      <a:pt x="0" y="37"/>
                      <a:pt x="0" y="37"/>
                    </a:cubicBezTo>
                    <a:cubicBezTo>
                      <a:pt x="1" y="34"/>
                      <a:pt x="1" y="34"/>
                      <a:pt x="1" y="34"/>
                    </a:cubicBezTo>
                    <a:cubicBezTo>
                      <a:pt x="2" y="32"/>
                      <a:pt x="3" y="31"/>
                      <a:pt x="5" y="29"/>
                    </a:cubicBezTo>
                    <a:cubicBezTo>
                      <a:pt x="5" y="29"/>
                      <a:pt x="6" y="29"/>
                      <a:pt x="7" y="28"/>
                    </a:cubicBezTo>
                    <a:cubicBezTo>
                      <a:pt x="8" y="28"/>
                      <a:pt x="8" y="28"/>
                      <a:pt x="8" y="28"/>
                    </a:cubicBezTo>
                    <a:cubicBezTo>
                      <a:pt x="8" y="27"/>
                      <a:pt x="9" y="27"/>
                      <a:pt x="10" y="27"/>
                    </a:cubicBezTo>
                    <a:cubicBezTo>
                      <a:pt x="8" y="24"/>
                      <a:pt x="8" y="24"/>
                      <a:pt x="8" y="24"/>
                    </a:cubicBezTo>
                    <a:cubicBezTo>
                      <a:pt x="11" y="26"/>
                      <a:pt x="11" y="26"/>
                      <a:pt x="11" y="26"/>
                    </a:cubicBezTo>
                    <a:cubicBezTo>
                      <a:pt x="13" y="25"/>
                      <a:pt x="15" y="24"/>
                      <a:pt x="17" y="22"/>
                    </a:cubicBezTo>
                    <a:cubicBezTo>
                      <a:pt x="17" y="22"/>
                      <a:pt x="17" y="22"/>
                      <a:pt x="17" y="22"/>
                    </a:cubicBezTo>
                    <a:cubicBezTo>
                      <a:pt x="17" y="22"/>
                      <a:pt x="16" y="22"/>
                      <a:pt x="16" y="21"/>
                    </a:cubicBezTo>
                    <a:cubicBezTo>
                      <a:pt x="14" y="19"/>
                      <a:pt x="15" y="17"/>
                      <a:pt x="16" y="16"/>
                    </a:cubicBezTo>
                    <a:cubicBezTo>
                      <a:pt x="16" y="14"/>
                      <a:pt x="16" y="14"/>
                      <a:pt x="16" y="14"/>
                    </a:cubicBezTo>
                    <a:cubicBezTo>
                      <a:pt x="17" y="13"/>
                      <a:pt x="17" y="13"/>
                      <a:pt x="17" y="12"/>
                    </a:cubicBezTo>
                    <a:cubicBezTo>
                      <a:pt x="17" y="12"/>
                      <a:pt x="17" y="12"/>
                      <a:pt x="17" y="12"/>
                    </a:cubicBezTo>
                    <a:cubicBezTo>
                      <a:pt x="15" y="12"/>
                      <a:pt x="14" y="11"/>
                      <a:pt x="13" y="10"/>
                    </a:cubicBezTo>
                    <a:cubicBezTo>
                      <a:pt x="12" y="9"/>
                      <a:pt x="12" y="9"/>
                      <a:pt x="12" y="9"/>
                    </a:cubicBezTo>
                    <a:cubicBezTo>
                      <a:pt x="12" y="9"/>
                      <a:pt x="11" y="8"/>
                      <a:pt x="10" y="8"/>
                    </a:cubicBezTo>
                    <a:cubicBezTo>
                      <a:pt x="8" y="6"/>
                      <a:pt x="8" y="6"/>
                      <a:pt x="8" y="6"/>
                    </a:cubicBezTo>
                    <a:cubicBezTo>
                      <a:pt x="7" y="5"/>
                      <a:pt x="7" y="5"/>
                      <a:pt x="6" y="4"/>
                    </a:cubicBezTo>
                    <a:cubicBezTo>
                      <a:pt x="5" y="4"/>
                      <a:pt x="4" y="3"/>
                      <a:pt x="4" y="3"/>
                    </a:cubicBezTo>
                    <a:cubicBezTo>
                      <a:pt x="3" y="2"/>
                      <a:pt x="3" y="2"/>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Freeform 398"/>
              <p:cNvSpPr/>
              <p:nvPr/>
            </p:nvSpPr>
            <p:spPr bwMode="auto">
              <a:xfrm>
                <a:off x="3665" y="366"/>
                <a:ext cx="113" cy="134"/>
              </a:xfrm>
              <a:custGeom>
                <a:gdLst>
                  <a:gd name="T0" fmla="*/ 0 w 48"/>
                  <a:gd name="T1" fmla="*/ 44 h 57"/>
                  <a:gd name="T2" fmla="*/ 5 w 48"/>
                  <a:gd name="T3" fmla="*/ 47 h 57"/>
                  <a:gd name="T4" fmla="*/ 7 w 48"/>
                  <a:gd name="T5" fmla="*/ 48 h 57"/>
                  <a:gd name="T6" fmla="*/ 11 w 48"/>
                  <a:gd name="T7" fmla="*/ 52 h 57"/>
                  <a:gd name="T8" fmla="*/ 14 w 48"/>
                  <a:gd name="T9" fmla="*/ 53 h 57"/>
                  <a:gd name="T10" fmla="*/ 16 w 48"/>
                  <a:gd name="T11" fmla="*/ 55 h 57"/>
                  <a:gd name="T12" fmla="*/ 19 w 48"/>
                  <a:gd name="T13" fmla="*/ 57 h 57"/>
                  <a:gd name="T14" fmla="*/ 20 w 48"/>
                  <a:gd name="T15" fmla="*/ 57 h 57"/>
                  <a:gd name="T16" fmla="*/ 20 w 48"/>
                  <a:gd name="T17" fmla="*/ 57 h 57"/>
                  <a:gd name="T18" fmla="*/ 22 w 48"/>
                  <a:gd name="T19" fmla="*/ 57 h 57"/>
                  <a:gd name="T20" fmla="*/ 24 w 48"/>
                  <a:gd name="T21" fmla="*/ 55 h 57"/>
                  <a:gd name="T22" fmla="*/ 31 w 48"/>
                  <a:gd name="T23" fmla="*/ 53 h 57"/>
                  <a:gd name="T24" fmla="*/ 34 w 48"/>
                  <a:gd name="T25" fmla="*/ 53 h 57"/>
                  <a:gd name="T26" fmla="*/ 37 w 48"/>
                  <a:gd name="T27" fmla="*/ 53 h 57"/>
                  <a:gd name="T28" fmla="*/ 40 w 48"/>
                  <a:gd name="T29" fmla="*/ 49 h 57"/>
                  <a:gd name="T30" fmla="*/ 41 w 48"/>
                  <a:gd name="T31" fmla="*/ 48 h 57"/>
                  <a:gd name="T32" fmla="*/ 47 w 48"/>
                  <a:gd name="T33" fmla="*/ 45 h 57"/>
                  <a:gd name="T34" fmla="*/ 47 w 48"/>
                  <a:gd name="T35" fmla="*/ 43 h 57"/>
                  <a:gd name="T36" fmla="*/ 48 w 48"/>
                  <a:gd name="T37" fmla="*/ 41 h 57"/>
                  <a:gd name="T38" fmla="*/ 47 w 48"/>
                  <a:gd name="T39" fmla="*/ 41 h 57"/>
                  <a:gd name="T40" fmla="*/ 47 w 48"/>
                  <a:gd name="T41" fmla="*/ 40 h 57"/>
                  <a:gd name="T42" fmla="*/ 44 w 48"/>
                  <a:gd name="T43" fmla="*/ 33 h 57"/>
                  <a:gd name="T44" fmla="*/ 41 w 48"/>
                  <a:gd name="T45" fmla="*/ 30 h 57"/>
                  <a:gd name="T46" fmla="*/ 34 w 48"/>
                  <a:gd name="T47" fmla="*/ 34 h 57"/>
                  <a:gd name="T48" fmla="*/ 39 w 48"/>
                  <a:gd name="T49" fmla="*/ 23 h 57"/>
                  <a:gd name="T50" fmla="*/ 39 w 48"/>
                  <a:gd name="T51" fmla="*/ 22 h 57"/>
                  <a:gd name="T52" fmla="*/ 40 w 48"/>
                  <a:gd name="T53" fmla="*/ 16 h 57"/>
                  <a:gd name="T54" fmla="*/ 38 w 48"/>
                  <a:gd name="T55" fmla="*/ 15 h 57"/>
                  <a:gd name="T56" fmla="*/ 37 w 48"/>
                  <a:gd name="T57" fmla="*/ 14 h 57"/>
                  <a:gd name="T58" fmla="*/ 35 w 48"/>
                  <a:gd name="T59" fmla="*/ 13 h 57"/>
                  <a:gd name="T60" fmla="*/ 34 w 48"/>
                  <a:gd name="T61" fmla="*/ 12 h 57"/>
                  <a:gd name="T62" fmla="*/ 31 w 48"/>
                  <a:gd name="T63" fmla="*/ 15 h 57"/>
                  <a:gd name="T64" fmla="*/ 30 w 48"/>
                  <a:gd name="T65" fmla="*/ 11 h 57"/>
                  <a:gd name="T66" fmla="*/ 27 w 48"/>
                  <a:gd name="T67" fmla="*/ 10 h 57"/>
                  <a:gd name="T68" fmla="*/ 25 w 48"/>
                  <a:gd name="T69" fmla="*/ 10 h 57"/>
                  <a:gd name="T70" fmla="*/ 23 w 48"/>
                  <a:gd name="T71" fmla="*/ 10 h 57"/>
                  <a:gd name="T72" fmla="*/ 18 w 48"/>
                  <a:gd name="T73" fmla="*/ 11 h 57"/>
                  <a:gd name="T74" fmla="*/ 12 w 48"/>
                  <a:gd name="T75" fmla="*/ 9 h 57"/>
                  <a:gd name="T76" fmla="*/ 7 w 48"/>
                  <a:gd name="T77" fmla="*/ 4 h 57"/>
                  <a:gd name="T78" fmla="*/ 7 w 48"/>
                  <a:gd name="T79" fmla="*/ 3 h 57"/>
                  <a:gd name="T80" fmla="*/ 1 w 48"/>
                  <a:gd name="T81" fmla="*/ 0 h 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57">
                    <a:moveTo>
                      <a:pt x="0" y="0"/>
                    </a:moveTo>
                    <a:cubicBezTo>
                      <a:pt x="0" y="44"/>
                      <a:pt x="0" y="44"/>
                      <a:pt x="0" y="44"/>
                    </a:cubicBezTo>
                    <a:cubicBezTo>
                      <a:pt x="1" y="44"/>
                      <a:pt x="1" y="44"/>
                      <a:pt x="1" y="44"/>
                    </a:cubicBezTo>
                    <a:cubicBezTo>
                      <a:pt x="3" y="45"/>
                      <a:pt x="4" y="46"/>
                      <a:pt x="5" y="47"/>
                    </a:cubicBezTo>
                    <a:cubicBezTo>
                      <a:pt x="6" y="48"/>
                      <a:pt x="6" y="48"/>
                      <a:pt x="6" y="48"/>
                    </a:cubicBezTo>
                    <a:cubicBezTo>
                      <a:pt x="7" y="48"/>
                      <a:pt x="7" y="48"/>
                      <a:pt x="7" y="48"/>
                    </a:cubicBezTo>
                    <a:cubicBezTo>
                      <a:pt x="7" y="49"/>
                      <a:pt x="8" y="49"/>
                      <a:pt x="8" y="49"/>
                    </a:cubicBezTo>
                    <a:cubicBezTo>
                      <a:pt x="9" y="50"/>
                      <a:pt x="10" y="51"/>
                      <a:pt x="11" y="52"/>
                    </a:cubicBezTo>
                    <a:cubicBezTo>
                      <a:pt x="12" y="52"/>
                      <a:pt x="12" y="52"/>
                      <a:pt x="13" y="53"/>
                    </a:cubicBezTo>
                    <a:cubicBezTo>
                      <a:pt x="14" y="53"/>
                      <a:pt x="14" y="53"/>
                      <a:pt x="14" y="53"/>
                    </a:cubicBezTo>
                    <a:cubicBezTo>
                      <a:pt x="14" y="54"/>
                      <a:pt x="15" y="54"/>
                      <a:pt x="15" y="55"/>
                    </a:cubicBezTo>
                    <a:cubicBezTo>
                      <a:pt x="16" y="55"/>
                      <a:pt x="16" y="55"/>
                      <a:pt x="16" y="55"/>
                    </a:cubicBezTo>
                    <a:cubicBezTo>
                      <a:pt x="17" y="56"/>
                      <a:pt x="17" y="56"/>
                      <a:pt x="18" y="57"/>
                    </a:cubicBezTo>
                    <a:cubicBezTo>
                      <a:pt x="19" y="57"/>
                      <a:pt x="19" y="57"/>
                      <a:pt x="19" y="57"/>
                    </a:cubicBezTo>
                    <a:cubicBezTo>
                      <a:pt x="19" y="57"/>
                      <a:pt x="19" y="57"/>
                      <a:pt x="19" y="57"/>
                    </a:cubicBezTo>
                    <a:cubicBezTo>
                      <a:pt x="20" y="57"/>
                      <a:pt x="20" y="57"/>
                      <a:pt x="20" y="57"/>
                    </a:cubicBezTo>
                    <a:cubicBezTo>
                      <a:pt x="20" y="57"/>
                      <a:pt x="20" y="57"/>
                      <a:pt x="20" y="57"/>
                    </a:cubicBezTo>
                    <a:cubicBezTo>
                      <a:pt x="20" y="57"/>
                      <a:pt x="20" y="57"/>
                      <a:pt x="20" y="57"/>
                    </a:cubicBezTo>
                    <a:cubicBezTo>
                      <a:pt x="20" y="57"/>
                      <a:pt x="20" y="57"/>
                      <a:pt x="20" y="57"/>
                    </a:cubicBezTo>
                    <a:cubicBezTo>
                      <a:pt x="21" y="57"/>
                      <a:pt x="21" y="57"/>
                      <a:pt x="22" y="57"/>
                    </a:cubicBezTo>
                    <a:cubicBezTo>
                      <a:pt x="22" y="57"/>
                      <a:pt x="22" y="57"/>
                      <a:pt x="22" y="57"/>
                    </a:cubicBezTo>
                    <a:cubicBezTo>
                      <a:pt x="22" y="56"/>
                      <a:pt x="23" y="56"/>
                      <a:pt x="24" y="55"/>
                    </a:cubicBezTo>
                    <a:cubicBezTo>
                      <a:pt x="25" y="54"/>
                      <a:pt x="26" y="53"/>
                      <a:pt x="29" y="53"/>
                    </a:cubicBezTo>
                    <a:cubicBezTo>
                      <a:pt x="30" y="53"/>
                      <a:pt x="30" y="53"/>
                      <a:pt x="31" y="53"/>
                    </a:cubicBezTo>
                    <a:cubicBezTo>
                      <a:pt x="33" y="53"/>
                      <a:pt x="33" y="53"/>
                      <a:pt x="33" y="53"/>
                    </a:cubicBezTo>
                    <a:cubicBezTo>
                      <a:pt x="34" y="53"/>
                      <a:pt x="34" y="53"/>
                      <a:pt x="34" y="53"/>
                    </a:cubicBezTo>
                    <a:cubicBezTo>
                      <a:pt x="35" y="53"/>
                      <a:pt x="36" y="53"/>
                      <a:pt x="37" y="53"/>
                    </a:cubicBezTo>
                    <a:cubicBezTo>
                      <a:pt x="37" y="53"/>
                      <a:pt x="37" y="53"/>
                      <a:pt x="37" y="53"/>
                    </a:cubicBezTo>
                    <a:cubicBezTo>
                      <a:pt x="37" y="52"/>
                      <a:pt x="37" y="51"/>
                      <a:pt x="38" y="51"/>
                    </a:cubicBezTo>
                    <a:cubicBezTo>
                      <a:pt x="39" y="50"/>
                      <a:pt x="39" y="50"/>
                      <a:pt x="40" y="49"/>
                    </a:cubicBezTo>
                    <a:cubicBezTo>
                      <a:pt x="40" y="49"/>
                      <a:pt x="40" y="49"/>
                      <a:pt x="40" y="49"/>
                    </a:cubicBezTo>
                    <a:cubicBezTo>
                      <a:pt x="41" y="48"/>
                      <a:pt x="41" y="48"/>
                      <a:pt x="41" y="48"/>
                    </a:cubicBezTo>
                    <a:cubicBezTo>
                      <a:pt x="42" y="47"/>
                      <a:pt x="44" y="46"/>
                      <a:pt x="46" y="45"/>
                    </a:cubicBezTo>
                    <a:cubicBezTo>
                      <a:pt x="47" y="45"/>
                      <a:pt x="47" y="45"/>
                      <a:pt x="47" y="45"/>
                    </a:cubicBezTo>
                    <a:cubicBezTo>
                      <a:pt x="47" y="45"/>
                      <a:pt x="47" y="45"/>
                      <a:pt x="47" y="45"/>
                    </a:cubicBezTo>
                    <a:cubicBezTo>
                      <a:pt x="47" y="43"/>
                      <a:pt x="47" y="43"/>
                      <a:pt x="47" y="43"/>
                    </a:cubicBezTo>
                    <a:cubicBezTo>
                      <a:pt x="47" y="42"/>
                      <a:pt x="47" y="42"/>
                      <a:pt x="47" y="42"/>
                    </a:cubicBezTo>
                    <a:cubicBezTo>
                      <a:pt x="48" y="41"/>
                      <a:pt x="48" y="41"/>
                      <a:pt x="48" y="41"/>
                    </a:cubicBezTo>
                    <a:cubicBezTo>
                      <a:pt x="47" y="42"/>
                      <a:pt x="47" y="42"/>
                      <a:pt x="47" y="42"/>
                    </a:cubicBezTo>
                    <a:cubicBezTo>
                      <a:pt x="47" y="41"/>
                      <a:pt x="47" y="41"/>
                      <a:pt x="47" y="41"/>
                    </a:cubicBezTo>
                    <a:cubicBezTo>
                      <a:pt x="47" y="40"/>
                      <a:pt x="47" y="40"/>
                      <a:pt x="47" y="40"/>
                    </a:cubicBezTo>
                    <a:cubicBezTo>
                      <a:pt x="47" y="40"/>
                      <a:pt x="47" y="40"/>
                      <a:pt x="47" y="40"/>
                    </a:cubicBezTo>
                    <a:cubicBezTo>
                      <a:pt x="46" y="39"/>
                      <a:pt x="46" y="39"/>
                      <a:pt x="46" y="39"/>
                    </a:cubicBezTo>
                    <a:cubicBezTo>
                      <a:pt x="46" y="38"/>
                      <a:pt x="45" y="37"/>
                      <a:pt x="44" y="33"/>
                    </a:cubicBezTo>
                    <a:cubicBezTo>
                      <a:pt x="44" y="31"/>
                      <a:pt x="43" y="30"/>
                      <a:pt x="42" y="30"/>
                    </a:cubicBezTo>
                    <a:cubicBezTo>
                      <a:pt x="42" y="30"/>
                      <a:pt x="41" y="30"/>
                      <a:pt x="41" y="30"/>
                    </a:cubicBezTo>
                    <a:cubicBezTo>
                      <a:pt x="41" y="30"/>
                      <a:pt x="41" y="30"/>
                      <a:pt x="41" y="30"/>
                    </a:cubicBezTo>
                    <a:cubicBezTo>
                      <a:pt x="34" y="34"/>
                      <a:pt x="34" y="34"/>
                      <a:pt x="34" y="34"/>
                    </a:cubicBezTo>
                    <a:cubicBezTo>
                      <a:pt x="37" y="27"/>
                      <a:pt x="37" y="27"/>
                      <a:pt x="37" y="27"/>
                    </a:cubicBezTo>
                    <a:cubicBezTo>
                      <a:pt x="37" y="27"/>
                      <a:pt x="38" y="25"/>
                      <a:pt x="39" y="23"/>
                    </a:cubicBezTo>
                    <a:cubicBezTo>
                      <a:pt x="39" y="23"/>
                      <a:pt x="39" y="23"/>
                      <a:pt x="39" y="23"/>
                    </a:cubicBezTo>
                    <a:cubicBezTo>
                      <a:pt x="39" y="22"/>
                      <a:pt x="39" y="22"/>
                      <a:pt x="39" y="22"/>
                    </a:cubicBezTo>
                    <a:cubicBezTo>
                      <a:pt x="39" y="21"/>
                      <a:pt x="38" y="20"/>
                      <a:pt x="40" y="18"/>
                    </a:cubicBezTo>
                    <a:cubicBezTo>
                      <a:pt x="40" y="18"/>
                      <a:pt x="40" y="17"/>
                      <a:pt x="40" y="16"/>
                    </a:cubicBezTo>
                    <a:cubicBezTo>
                      <a:pt x="40" y="16"/>
                      <a:pt x="40" y="16"/>
                      <a:pt x="39" y="16"/>
                    </a:cubicBezTo>
                    <a:cubicBezTo>
                      <a:pt x="39" y="16"/>
                      <a:pt x="39" y="16"/>
                      <a:pt x="38" y="15"/>
                    </a:cubicBezTo>
                    <a:cubicBezTo>
                      <a:pt x="37" y="15"/>
                      <a:pt x="37" y="15"/>
                      <a:pt x="37" y="15"/>
                    </a:cubicBezTo>
                    <a:cubicBezTo>
                      <a:pt x="37" y="14"/>
                      <a:pt x="37" y="14"/>
                      <a:pt x="37" y="14"/>
                    </a:cubicBezTo>
                    <a:cubicBezTo>
                      <a:pt x="36" y="14"/>
                      <a:pt x="36" y="14"/>
                      <a:pt x="36" y="14"/>
                    </a:cubicBezTo>
                    <a:cubicBezTo>
                      <a:pt x="36" y="14"/>
                      <a:pt x="36" y="13"/>
                      <a:pt x="35" y="13"/>
                    </a:cubicBezTo>
                    <a:cubicBezTo>
                      <a:pt x="35" y="13"/>
                      <a:pt x="35" y="13"/>
                      <a:pt x="35" y="13"/>
                    </a:cubicBezTo>
                    <a:cubicBezTo>
                      <a:pt x="34" y="12"/>
                      <a:pt x="34" y="12"/>
                      <a:pt x="34" y="12"/>
                    </a:cubicBezTo>
                    <a:cubicBezTo>
                      <a:pt x="34" y="12"/>
                      <a:pt x="34" y="12"/>
                      <a:pt x="34" y="12"/>
                    </a:cubicBezTo>
                    <a:cubicBezTo>
                      <a:pt x="31" y="15"/>
                      <a:pt x="31" y="15"/>
                      <a:pt x="31" y="15"/>
                    </a:cubicBezTo>
                    <a:cubicBezTo>
                      <a:pt x="32" y="11"/>
                      <a:pt x="32" y="11"/>
                      <a:pt x="32" y="11"/>
                    </a:cubicBezTo>
                    <a:cubicBezTo>
                      <a:pt x="30" y="11"/>
                      <a:pt x="30" y="11"/>
                      <a:pt x="30" y="11"/>
                    </a:cubicBezTo>
                    <a:cubicBezTo>
                      <a:pt x="29" y="11"/>
                      <a:pt x="28" y="10"/>
                      <a:pt x="27" y="10"/>
                    </a:cubicBezTo>
                    <a:cubicBezTo>
                      <a:pt x="27" y="10"/>
                      <a:pt x="27" y="10"/>
                      <a:pt x="27" y="10"/>
                    </a:cubicBezTo>
                    <a:cubicBezTo>
                      <a:pt x="26" y="9"/>
                      <a:pt x="26" y="9"/>
                      <a:pt x="26" y="9"/>
                    </a:cubicBezTo>
                    <a:cubicBezTo>
                      <a:pt x="26" y="9"/>
                      <a:pt x="25" y="10"/>
                      <a:pt x="25" y="10"/>
                    </a:cubicBezTo>
                    <a:cubicBezTo>
                      <a:pt x="24" y="10"/>
                      <a:pt x="24" y="10"/>
                      <a:pt x="23" y="10"/>
                    </a:cubicBezTo>
                    <a:cubicBezTo>
                      <a:pt x="23" y="10"/>
                      <a:pt x="23" y="10"/>
                      <a:pt x="23" y="10"/>
                    </a:cubicBezTo>
                    <a:cubicBezTo>
                      <a:pt x="23" y="10"/>
                      <a:pt x="23" y="10"/>
                      <a:pt x="23" y="10"/>
                    </a:cubicBezTo>
                    <a:cubicBezTo>
                      <a:pt x="21" y="11"/>
                      <a:pt x="20" y="11"/>
                      <a:pt x="18" y="11"/>
                    </a:cubicBezTo>
                    <a:cubicBezTo>
                      <a:pt x="18" y="11"/>
                      <a:pt x="17" y="11"/>
                      <a:pt x="16" y="11"/>
                    </a:cubicBezTo>
                    <a:cubicBezTo>
                      <a:pt x="15" y="10"/>
                      <a:pt x="14" y="10"/>
                      <a:pt x="12" y="9"/>
                    </a:cubicBezTo>
                    <a:cubicBezTo>
                      <a:pt x="11" y="8"/>
                      <a:pt x="11" y="8"/>
                      <a:pt x="11" y="8"/>
                    </a:cubicBezTo>
                    <a:cubicBezTo>
                      <a:pt x="10" y="6"/>
                      <a:pt x="8" y="5"/>
                      <a:pt x="7" y="4"/>
                    </a:cubicBezTo>
                    <a:cubicBezTo>
                      <a:pt x="7" y="3"/>
                      <a:pt x="7" y="3"/>
                      <a:pt x="7" y="3"/>
                    </a:cubicBezTo>
                    <a:cubicBezTo>
                      <a:pt x="7" y="3"/>
                      <a:pt x="7" y="3"/>
                      <a:pt x="7" y="3"/>
                    </a:cubicBezTo>
                    <a:cubicBezTo>
                      <a:pt x="5" y="2"/>
                      <a:pt x="3" y="1"/>
                      <a:pt x="2" y="1"/>
                    </a:cubicBezTo>
                    <a:cubicBezTo>
                      <a:pt x="1"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1" name="Freeform 399"/>
              <p:cNvSpPr/>
              <p:nvPr/>
            </p:nvSpPr>
            <p:spPr bwMode="auto">
              <a:xfrm>
                <a:off x="3665" y="250"/>
                <a:ext cx="106" cy="132"/>
              </a:xfrm>
              <a:custGeom>
                <a:gdLst>
                  <a:gd name="T0" fmla="*/ 0 w 45"/>
                  <a:gd name="T1" fmla="*/ 0 h 56"/>
                  <a:gd name="T2" fmla="*/ 0 w 45"/>
                  <a:gd name="T3" fmla="*/ 44 h 56"/>
                  <a:gd name="T4" fmla="*/ 1 w 45"/>
                  <a:gd name="T5" fmla="*/ 44 h 56"/>
                  <a:gd name="T6" fmla="*/ 1 w 45"/>
                  <a:gd name="T7" fmla="*/ 44 h 56"/>
                  <a:gd name="T8" fmla="*/ 3 w 45"/>
                  <a:gd name="T9" fmla="*/ 45 h 56"/>
                  <a:gd name="T10" fmla="*/ 4 w 45"/>
                  <a:gd name="T11" fmla="*/ 45 h 56"/>
                  <a:gd name="T12" fmla="*/ 9 w 45"/>
                  <a:gd name="T13" fmla="*/ 47 h 56"/>
                  <a:gd name="T14" fmla="*/ 12 w 45"/>
                  <a:gd name="T15" fmla="*/ 48 h 56"/>
                  <a:gd name="T16" fmla="*/ 11 w 45"/>
                  <a:gd name="T17" fmla="*/ 50 h 56"/>
                  <a:gd name="T18" fmla="*/ 15 w 45"/>
                  <a:gd name="T19" fmla="*/ 53 h 56"/>
                  <a:gd name="T20" fmla="*/ 15 w 45"/>
                  <a:gd name="T21" fmla="*/ 54 h 56"/>
                  <a:gd name="T22" fmla="*/ 18 w 45"/>
                  <a:gd name="T23" fmla="*/ 56 h 56"/>
                  <a:gd name="T24" fmla="*/ 18 w 45"/>
                  <a:gd name="T25" fmla="*/ 56 h 56"/>
                  <a:gd name="T26" fmla="*/ 20 w 45"/>
                  <a:gd name="T27" fmla="*/ 55 h 56"/>
                  <a:gd name="T28" fmla="*/ 21 w 45"/>
                  <a:gd name="T29" fmla="*/ 55 h 56"/>
                  <a:gd name="T30" fmla="*/ 22 w 45"/>
                  <a:gd name="T31" fmla="*/ 54 h 56"/>
                  <a:gd name="T32" fmla="*/ 23 w 45"/>
                  <a:gd name="T33" fmla="*/ 54 h 56"/>
                  <a:gd name="T34" fmla="*/ 25 w 45"/>
                  <a:gd name="T35" fmla="*/ 53 h 56"/>
                  <a:gd name="T36" fmla="*/ 25 w 45"/>
                  <a:gd name="T37" fmla="*/ 53 h 56"/>
                  <a:gd name="T38" fmla="*/ 26 w 45"/>
                  <a:gd name="T39" fmla="*/ 53 h 56"/>
                  <a:gd name="T40" fmla="*/ 29 w 45"/>
                  <a:gd name="T41" fmla="*/ 55 h 56"/>
                  <a:gd name="T42" fmla="*/ 31 w 45"/>
                  <a:gd name="T43" fmla="*/ 55 h 56"/>
                  <a:gd name="T44" fmla="*/ 32 w 45"/>
                  <a:gd name="T45" fmla="*/ 56 h 56"/>
                  <a:gd name="T46" fmla="*/ 32 w 45"/>
                  <a:gd name="T47" fmla="*/ 55 h 56"/>
                  <a:gd name="T48" fmla="*/ 33 w 45"/>
                  <a:gd name="T49" fmla="*/ 55 h 56"/>
                  <a:gd name="T50" fmla="*/ 33 w 45"/>
                  <a:gd name="T51" fmla="*/ 54 h 56"/>
                  <a:gd name="T52" fmla="*/ 33 w 45"/>
                  <a:gd name="T53" fmla="*/ 53 h 56"/>
                  <a:gd name="T54" fmla="*/ 34 w 45"/>
                  <a:gd name="T55" fmla="*/ 51 h 56"/>
                  <a:gd name="T56" fmla="*/ 34 w 45"/>
                  <a:gd name="T57" fmla="*/ 51 h 56"/>
                  <a:gd name="T58" fmla="*/ 35 w 45"/>
                  <a:gd name="T59" fmla="*/ 50 h 56"/>
                  <a:gd name="T60" fmla="*/ 36 w 45"/>
                  <a:gd name="T61" fmla="*/ 49 h 56"/>
                  <a:gd name="T62" fmla="*/ 37 w 45"/>
                  <a:gd name="T63" fmla="*/ 49 h 56"/>
                  <a:gd name="T64" fmla="*/ 37 w 45"/>
                  <a:gd name="T65" fmla="*/ 49 h 56"/>
                  <a:gd name="T66" fmla="*/ 37 w 45"/>
                  <a:gd name="T67" fmla="*/ 48 h 56"/>
                  <a:gd name="T68" fmla="*/ 39 w 45"/>
                  <a:gd name="T69" fmla="*/ 47 h 56"/>
                  <a:gd name="T70" fmla="*/ 38 w 45"/>
                  <a:gd name="T71" fmla="*/ 46 h 56"/>
                  <a:gd name="T72" fmla="*/ 37 w 45"/>
                  <a:gd name="T73" fmla="*/ 45 h 56"/>
                  <a:gd name="T74" fmla="*/ 33 w 45"/>
                  <a:gd name="T75" fmla="*/ 35 h 56"/>
                  <a:gd name="T76" fmla="*/ 33 w 45"/>
                  <a:gd name="T77" fmla="*/ 34 h 56"/>
                  <a:gd name="T78" fmla="*/ 33 w 45"/>
                  <a:gd name="T79" fmla="*/ 34 h 56"/>
                  <a:gd name="T80" fmla="*/ 33 w 45"/>
                  <a:gd name="T81" fmla="*/ 27 h 56"/>
                  <a:gd name="T82" fmla="*/ 36 w 45"/>
                  <a:gd name="T83" fmla="*/ 20 h 56"/>
                  <a:gd name="T84" fmla="*/ 40 w 45"/>
                  <a:gd name="T85" fmla="*/ 13 h 56"/>
                  <a:gd name="T86" fmla="*/ 43 w 45"/>
                  <a:gd name="T87" fmla="*/ 9 h 56"/>
                  <a:gd name="T88" fmla="*/ 42 w 45"/>
                  <a:gd name="T89" fmla="*/ 8 h 56"/>
                  <a:gd name="T90" fmla="*/ 45 w 45"/>
                  <a:gd name="T91" fmla="*/ 6 h 56"/>
                  <a:gd name="T92" fmla="*/ 44 w 45"/>
                  <a:gd name="T93" fmla="*/ 6 h 56"/>
                  <a:gd name="T94" fmla="*/ 42 w 45"/>
                  <a:gd name="T95" fmla="*/ 6 h 56"/>
                  <a:gd name="T96" fmla="*/ 34 w 45"/>
                  <a:gd name="T97" fmla="*/ 5 h 56"/>
                  <a:gd name="T98" fmla="*/ 27 w 45"/>
                  <a:gd name="T99" fmla="*/ 5 h 56"/>
                  <a:gd name="T100" fmla="*/ 27 w 45"/>
                  <a:gd name="T101" fmla="*/ 5 h 56"/>
                  <a:gd name="T102" fmla="*/ 21 w 45"/>
                  <a:gd name="T103" fmla="*/ 3 h 56"/>
                  <a:gd name="T104" fmla="*/ 6 w 45"/>
                  <a:gd name="T105" fmla="*/ 1 h 56"/>
                  <a:gd name="T106" fmla="*/ 0 w 45"/>
                  <a:gd name="T107" fmla="*/ 0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 h="56">
                    <a:moveTo>
                      <a:pt x="0" y="0"/>
                    </a:moveTo>
                    <a:cubicBezTo>
                      <a:pt x="0" y="44"/>
                      <a:pt x="0" y="44"/>
                      <a:pt x="0" y="44"/>
                    </a:cubicBezTo>
                    <a:cubicBezTo>
                      <a:pt x="0" y="44"/>
                      <a:pt x="0" y="44"/>
                      <a:pt x="1" y="44"/>
                    </a:cubicBezTo>
                    <a:cubicBezTo>
                      <a:pt x="1" y="44"/>
                      <a:pt x="1" y="44"/>
                      <a:pt x="1" y="44"/>
                    </a:cubicBezTo>
                    <a:cubicBezTo>
                      <a:pt x="2" y="45"/>
                      <a:pt x="3" y="45"/>
                      <a:pt x="3" y="45"/>
                    </a:cubicBezTo>
                    <a:cubicBezTo>
                      <a:pt x="4" y="45"/>
                      <a:pt x="4" y="45"/>
                      <a:pt x="4" y="45"/>
                    </a:cubicBezTo>
                    <a:cubicBezTo>
                      <a:pt x="6" y="46"/>
                      <a:pt x="7" y="47"/>
                      <a:pt x="9" y="47"/>
                    </a:cubicBezTo>
                    <a:cubicBezTo>
                      <a:pt x="12" y="48"/>
                      <a:pt x="12" y="48"/>
                      <a:pt x="12" y="48"/>
                    </a:cubicBezTo>
                    <a:cubicBezTo>
                      <a:pt x="11" y="50"/>
                      <a:pt x="11" y="50"/>
                      <a:pt x="11" y="50"/>
                    </a:cubicBezTo>
                    <a:cubicBezTo>
                      <a:pt x="12" y="51"/>
                      <a:pt x="13" y="52"/>
                      <a:pt x="15" y="53"/>
                    </a:cubicBezTo>
                    <a:cubicBezTo>
                      <a:pt x="15" y="54"/>
                      <a:pt x="15" y="54"/>
                      <a:pt x="15" y="54"/>
                    </a:cubicBezTo>
                    <a:cubicBezTo>
                      <a:pt x="16" y="55"/>
                      <a:pt x="17" y="55"/>
                      <a:pt x="18" y="56"/>
                    </a:cubicBezTo>
                    <a:cubicBezTo>
                      <a:pt x="18" y="56"/>
                      <a:pt x="18" y="56"/>
                      <a:pt x="18" y="56"/>
                    </a:cubicBezTo>
                    <a:cubicBezTo>
                      <a:pt x="19" y="56"/>
                      <a:pt x="19" y="55"/>
                      <a:pt x="20" y="55"/>
                    </a:cubicBezTo>
                    <a:cubicBezTo>
                      <a:pt x="21" y="55"/>
                      <a:pt x="21" y="55"/>
                      <a:pt x="21" y="55"/>
                    </a:cubicBezTo>
                    <a:cubicBezTo>
                      <a:pt x="21" y="54"/>
                      <a:pt x="22" y="54"/>
                      <a:pt x="22" y="54"/>
                    </a:cubicBezTo>
                    <a:cubicBezTo>
                      <a:pt x="22" y="54"/>
                      <a:pt x="22" y="54"/>
                      <a:pt x="23" y="54"/>
                    </a:cubicBezTo>
                    <a:cubicBezTo>
                      <a:pt x="23" y="54"/>
                      <a:pt x="24" y="53"/>
                      <a:pt x="25" y="53"/>
                    </a:cubicBezTo>
                    <a:cubicBezTo>
                      <a:pt x="25" y="53"/>
                      <a:pt x="25" y="53"/>
                      <a:pt x="25" y="53"/>
                    </a:cubicBezTo>
                    <a:cubicBezTo>
                      <a:pt x="25" y="53"/>
                      <a:pt x="26" y="53"/>
                      <a:pt x="26" y="53"/>
                    </a:cubicBezTo>
                    <a:cubicBezTo>
                      <a:pt x="27" y="54"/>
                      <a:pt x="28" y="54"/>
                      <a:pt x="29" y="55"/>
                    </a:cubicBezTo>
                    <a:cubicBezTo>
                      <a:pt x="30" y="55"/>
                      <a:pt x="30" y="55"/>
                      <a:pt x="31" y="55"/>
                    </a:cubicBezTo>
                    <a:cubicBezTo>
                      <a:pt x="32" y="56"/>
                      <a:pt x="32" y="56"/>
                      <a:pt x="32" y="56"/>
                    </a:cubicBezTo>
                    <a:cubicBezTo>
                      <a:pt x="32" y="55"/>
                      <a:pt x="32" y="55"/>
                      <a:pt x="32" y="55"/>
                    </a:cubicBezTo>
                    <a:cubicBezTo>
                      <a:pt x="33" y="55"/>
                      <a:pt x="33" y="55"/>
                      <a:pt x="33" y="55"/>
                    </a:cubicBezTo>
                    <a:cubicBezTo>
                      <a:pt x="33" y="54"/>
                      <a:pt x="33" y="54"/>
                      <a:pt x="33" y="54"/>
                    </a:cubicBezTo>
                    <a:cubicBezTo>
                      <a:pt x="33" y="54"/>
                      <a:pt x="33" y="54"/>
                      <a:pt x="33" y="53"/>
                    </a:cubicBezTo>
                    <a:cubicBezTo>
                      <a:pt x="33" y="52"/>
                      <a:pt x="34" y="52"/>
                      <a:pt x="34" y="51"/>
                    </a:cubicBezTo>
                    <a:cubicBezTo>
                      <a:pt x="34" y="51"/>
                      <a:pt x="34" y="51"/>
                      <a:pt x="34" y="51"/>
                    </a:cubicBezTo>
                    <a:cubicBezTo>
                      <a:pt x="35" y="50"/>
                      <a:pt x="35" y="50"/>
                      <a:pt x="35" y="50"/>
                    </a:cubicBezTo>
                    <a:cubicBezTo>
                      <a:pt x="35" y="50"/>
                      <a:pt x="36" y="49"/>
                      <a:pt x="36" y="49"/>
                    </a:cubicBezTo>
                    <a:cubicBezTo>
                      <a:pt x="37" y="49"/>
                      <a:pt x="37" y="49"/>
                      <a:pt x="37" y="49"/>
                    </a:cubicBezTo>
                    <a:cubicBezTo>
                      <a:pt x="37" y="49"/>
                      <a:pt x="37" y="49"/>
                      <a:pt x="37" y="49"/>
                    </a:cubicBezTo>
                    <a:cubicBezTo>
                      <a:pt x="37" y="48"/>
                      <a:pt x="37" y="48"/>
                      <a:pt x="37" y="48"/>
                    </a:cubicBezTo>
                    <a:cubicBezTo>
                      <a:pt x="38" y="48"/>
                      <a:pt x="39" y="48"/>
                      <a:pt x="39" y="47"/>
                    </a:cubicBezTo>
                    <a:cubicBezTo>
                      <a:pt x="39" y="47"/>
                      <a:pt x="39" y="47"/>
                      <a:pt x="38" y="46"/>
                    </a:cubicBezTo>
                    <a:cubicBezTo>
                      <a:pt x="38" y="46"/>
                      <a:pt x="38" y="45"/>
                      <a:pt x="37" y="45"/>
                    </a:cubicBezTo>
                    <a:cubicBezTo>
                      <a:pt x="33" y="42"/>
                      <a:pt x="33" y="37"/>
                      <a:pt x="33" y="35"/>
                    </a:cubicBezTo>
                    <a:cubicBezTo>
                      <a:pt x="33" y="35"/>
                      <a:pt x="33" y="35"/>
                      <a:pt x="33" y="34"/>
                    </a:cubicBezTo>
                    <a:cubicBezTo>
                      <a:pt x="33" y="34"/>
                      <a:pt x="33" y="34"/>
                      <a:pt x="33" y="34"/>
                    </a:cubicBezTo>
                    <a:cubicBezTo>
                      <a:pt x="34" y="32"/>
                      <a:pt x="34" y="29"/>
                      <a:pt x="33" y="27"/>
                    </a:cubicBezTo>
                    <a:cubicBezTo>
                      <a:pt x="33" y="24"/>
                      <a:pt x="34" y="21"/>
                      <a:pt x="36" y="20"/>
                    </a:cubicBezTo>
                    <a:cubicBezTo>
                      <a:pt x="36" y="19"/>
                      <a:pt x="39" y="16"/>
                      <a:pt x="40" y="13"/>
                    </a:cubicBezTo>
                    <a:cubicBezTo>
                      <a:pt x="41" y="11"/>
                      <a:pt x="42" y="10"/>
                      <a:pt x="43" y="9"/>
                    </a:cubicBezTo>
                    <a:cubicBezTo>
                      <a:pt x="42" y="8"/>
                      <a:pt x="42" y="8"/>
                      <a:pt x="42" y="8"/>
                    </a:cubicBezTo>
                    <a:cubicBezTo>
                      <a:pt x="45" y="6"/>
                      <a:pt x="45" y="6"/>
                      <a:pt x="45" y="6"/>
                    </a:cubicBezTo>
                    <a:cubicBezTo>
                      <a:pt x="44" y="6"/>
                      <a:pt x="44" y="6"/>
                      <a:pt x="44" y="6"/>
                    </a:cubicBezTo>
                    <a:cubicBezTo>
                      <a:pt x="43" y="6"/>
                      <a:pt x="43" y="6"/>
                      <a:pt x="42" y="6"/>
                    </a:cubicBezTo>
                    <a:cubicBezTo>
                      <a:pt x="39" y="6"/>
                      <a:pt x="36" y="5"/>
                      <a:pt x="34" y="5"/>
                    </a:cubicBezTo>
                    <a:cubicBezTo>
                      <a:pt x="32" y="5"/>
                      <a:pt x="29" y="5"/>
                      <a:pt x="27" y="5"/>
                    </a:cubicBezTo>
                    <a:cubicBezTo>
                      <a:pt x="27" y="5"/>
                      <a:pt x="27" y="5"/>
                      <a:pt x="27" y="5"/>
                    </a:cubicBezTo>
                    <a:cubicBezTo>
                      <a:pt x="25" y="5"/>
                      <a:pt x="23" y="3"/>
                      <a:pt x="21" y="3"/>
                    </a:cubicBezTo>
                    <a:cubicBezTo>
                      <a:pt x="16" y="2"/>
                      <a:pt x="11" y="2"/>
                      <a:pt x="6" y="1"/>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Rectangle 400"/>
              <p:cNvSpPr>
                <a:spLocks noChangeArrowheads="1"/>
              </p:cNvSpPr>
              <p:nvPr/>
            </p:nvSpPr>
            <p:spPr bwMode="auto">
              <a:xfrm>
                <a:off x="6340" y="86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3" name="Freeform 401"/>
              <p:cNvSpPr/>
              <p:nvPr/>
            </p:nvSpPr>
            <p:spPr bwMode="auto">
              <a:xfrm flipH="1">
                <a:off x="6340" y="86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Rectangle 402"/>
              <p:cNvSpPr>
                <a:spLocks noChangeArrowheads="1"/>
              </p:cNvSpPr>
              <p:nvPr/>
            </p:nvSpPr>
            <p:spPr bwMode="auto">
              <a:xfrm>
                <a:off x="5572" y="55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Freeform 403"/>
              <p:cNvSpPr/>
              <p:nvPr/>
            </p:nvSpPr>
            <p:spPr bwMode="auto">
              <a:xfrm flipH="1">
                <a:off x="5572" y="555"/>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Freeform 404"/>
              <p:cNvSpPr/>
              <p:nvPr/>
            </p:nvSpPr>
            <p:spPr bwMode="auto">
              <a:xfrm>
                <a:off x="4615" y="531"/>
                <a:ext cx="1815" cy="839"/>
              </a:xfrm>
              <a:custGeom>
                <a:gdLst>
                  <a:gd name="T0" fmla="*/ 411 w 768"/>
                  <a:gd name="T1" fmla="*/ 10 h 355"/>
                  <a:gd name="T2" fmla="*/ 382 w 768"/>
                  <a:gd name="T3" fmla="*/ 17 h 355"/>
                  <a:gd name="T4" fmla="*/ 360 w 768"/>
                  <a:gd name="T5" fmla="*/ 19 h 355"/>
                  <a:gd name="T6" fmla="*/ 341 w 768"/>
                  <a:gd name="T7" fmla="*/ 26 h 355"/>
                  <a:gd name="T8" fmla="*/ 308 w 768"/>
                  <a:gd name="T9" fmla="*/ 33 h 355"/>
                  <a:gd name="T10" fmla="*/ 294 w 768"/>
                  <a:gd name="T11" fmla="*/ 41 h 355"/>
                  <a:gd name="T12" fmla="*/ 277 w 768"/>
                  <a:gd name="T13" fmla="*/ 43 h 355"/>
                  <a:gd name="T14" fmla="*/ 281 w 768"/>
                  <a:gd name="T15" fmla="*/ 50 h 355"/>
                  <a:gd name="T16" fmla="*/ 293 w 768"/>
                  <a:gd name="T17" fmla="*/ 63 h 355"/>
                  <a:gd name="T18" fmla="*/ 282 w 768"/>
                  <a:gd name="T19" fmla="*/ 62 h 355"/>
                  <a:gd name="T20" fmla="*/ 274 w 768"/>
                  <a:gd name="T21" fmla="*/ 79 h 355"/>
                  <a:gd name="T22" fmla="*/ 262 w 768"/>
                  <a:gd name="T23" fmla="*/ 89 h 355"/>
                  <a:gd name="T24" fmla="*/ 287 w 768"/>
                  <a:gd name="T25" fmla="*/ 107 h 355"/>
                  <a:gd name="T26" fmla="*/ 252 w 768"/>
                  <a:gd name="T27" fmla="*/ 123 h 355"/>
                  <a:gd name="T28" fmla="*/ 224 w 768"/>
                  <a:gd name="T29" fmla="*/ 111 h 355"/>
                  <a:gd name="T30" fmla="*/ 186 w 768"/>
                  <a:gd name="T31" fmla="*/ 115 h 355"/>
                  <a:gd name="T32" fmla="*/ 155 w 768"/>
                  <a:gd name="T33" fmla="*/ 118 h 355"/>
                  <a:gd name="T34" fmla="*/ 112 w 768"/>
                  <a:gd name="T35" fmla="*/ 101 h 355"/>
                  <a:gd name="T36" fmla="*/ 90 w 768"/>
                  <a:gd name="T37" fmla="*/ 105 h 355"/>
                  <a:gd name="T38" fmla="*/ 67 w 768"/>
                  <a:gd name="T39" fmla="*/ 107 h 355"/>
                  <a:gd name="T40" fmla="*/ 42 w 768"/>
                  <a:gd name="T41" fmla="*/ 129 h 355"/>
                  <a:gd name="T42" fmla="*/ 16 w 768"/>
                  <a:gd name="T43" fmla="*/ 129 h 355"/>
                  <a:gd name="T44" fmla="*/ 8 w 768"/>
                  <a:gd name="T45" fmla="*/ 161 h 355"/>
                  <a:gd name="T46" fmla="*/ 28 w 768"/>
                  <a:gd name="T47" fmla="*/ 188 h 355"/>
                  <a:gd name="T48" fmla="*/ 42 w 768"/>
                  <a:gd name="T49" fmla="*/ 219 h 355"/>
                  <a:gd name="T50" fmla="*/ 65 w 768"/>
                  <a:gd name="T51" fmla="*/ 216 h 355"/>
                  <a:gd name="T52" fmla="*/ 125 w 768"/>
                  <a:gd name="T53" fmla="*/ 229 h 355"/>
                  <a:gd name="T54" fmla="*/ 135 w 768"/>
                  <a:gd name="T55" fmla="*/ 258 h 355"/>
                  <a:gd name="T56" fmla="*/ 88 w 768"/>
                  <a:gd name="T57" fmla="*/ 251 h 355"/>
                  <a:gd name="T58" fmla="*/ 85 w 768"/>
                  <a:gd name="T59" fmla="*/ 269 h 355"/>
                  <a:gd name="T60" fmla="*/ 100 w 768"/>
                  <a:gd name="T61" fmla="*/ 306 h 355"/>
                  <a:gd name="T62" fmla="*/ 112 w 768"/>
                  <a:gd name="T63" fmla="*/ 318 h 355"/>
                  <a:gd name="T64" fmla="*/ 164 w 768"/>
                  <a:gd name="T65" fmla="*/ 335 h 355"/>
                  <a:gd name="T66" fmla="*/ 232 w 768"/>
                  <a:gd name="T67" fmla="*/ 235 h 355"/>
                  <a:gd name="T68" fmla="*/ 240 w 768"/>
                  <a:gd name="T69" fmla="*/ 241 h 355"/>
                  <a:gd name="T70" fmla="*/ 249 w 768"/>
                  <a:gd name="T71" fmla="*/ 233 h 355"/>
                  <a:gd name="T72" fmla="*/ 249 w 768"/>
                  <a:gd name="T73" fmla="*/ 235 h 355"/>
                  <a:gd name="T74" fmla="*/ 292 w 768"/>
                  <a:gd name="T75" fmla="*/ 288 h 355"/>
                  <a:gd name="T76" fmla="*/ 356 w 768"/>
                  <a:gd name="T77" fmla="*/ 291 h 355"/>
                  <a:gd name="T78" fmla="*/ 372 w 768"/>
                  <a:gd name="T79" fmla="*/ 324 h 355"/>
                  <a:gd name="T80" fmla="*/ 405 w 768"/>
                  <a:gd name="T81" fmla="*/ 342 h 355"/>
                  <a:gd name="T82" fmla="*/ 424 w 768"/>
                  <a:gd name="T83" fmla="*/ 342 h 355"/>
                  <a:gd name="T84" fmla="*/ 475 w 768"/>
                  <a:gd name="T85" fmla="*/ 307 h 355"/>
                  <a:gd name="T86" fmla="*/ 539 w 768"/>
                  <a:gd name="T87" fmla="*/ 302 h 355"/>
                  <a:gd name="T88" fmla="*/ 585 w 768"/>
                  <a:gd name="T89" fmla="*/ 303 h 355"/>
                  <a:gd name="T90" fmla="*/ 624 w 768"/>
                  <a:gd name="T91" fmla="*/ 311 h 355"/>
                  <a:gd name="T92" fmla="*/ 647 w 768"/>
                  <a:gd name="T93" fmla="*/ 294 h 355"/>
                  <a:gd name="T94" fmla="*/ 650 w 768"/>
                  <a:gd name="T95" fmla="*/ 250 h 355"/>
                  <a:gd name="T96" fmla="*/ 677 w 768"/>
                  <a:gd name="T97" fmla="*/ 243 h 355"/>
                  <a:gd name="T98" fmla="*/ 750 w 768"/>
                  <a:gd name="T99" fmla="*/ 172 h 355"/>
                  <a:gd name="T100" fmla="*/ 751 w 768"/>
                  <a:gd name="T101" fmla="*/ 151 h 355"/>
                  <a:gd name="T102" fmla="*/ 727 w 768"/>
                  <a:gd name="T103" fmla="*/ 139 h 355"/>
                  <a:gd name="T104" fmla="*/ 695 w 768"/>
                  <a:gd name="T105" fmla="*/ 113 h 355"/>
                  <a:gd name="T106" fmla="*/ 662 w 768"/>
                  <a:gd name="T107" fmla="*/ 119 h 355"/>
                  <a:gd name="T108" fmla="*/ 646 w 768"/>
                  <a:gd name="T109" fmla="*/ 112 h 355"/>
                  <a:gd name="T110" fmla="*/ 618 w 768"/>
                  <a:gd name="T111" fmla="*/ 92 h 355"/>
                  <a:gd name="T112" fmla="*/ 525 w 768"/>
                  <a:gd name="T113" fmla="*/ 48 h 355"/>
                  <a:gd name="T114" fmla="*/ 491 w 768"/>
                  <a:gd name="T115" fmla="*/ 38 h 355"/>
                  <a:gd name="T116" fmla="*/ 464 w 768"/>
                  <a:gd name="T117" fmla="*/ 31 h 355"/>
                  <a:gd name="T118" fmla="*/ 458 w 768"/>
                  <a:gd name="T119" fmla="*/ 1 h 3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8" h="355">
                    <a:moveTo>
                      <a:pt x="431" y="0"/>
                    </a:moveTo>
                    <a:cubicBezTo>
                      <a:pt x="431" y="0"/>
                      <a:pt x="431" y="0"/>
                      <a:pt x="431" y="0"/>
                    </a:cubicBezTo>
                    <a:cubicBezTo>
                      <a:pt x="430" y="1"/>
                      <a:pt x="430" y="1"/>
                      <a:pt x="430" y="1"/>
                    </a:cubicBezTo>
                    <a:cubicBezTo>
                      <a:pt x="430" y="1"/>
                      <a:pt x="430" y="1"/>
                      <a:pt x="430" y="1"/>
                    </a:cubicBezTo>
                    <a:cubicBezTo>
                      <a:pt x="430" y="1"/>
                      <a:pt x="430" y="1"/>
                      <a:pt x="430" y="1"/>
                    </a:cubicBezTo>
                    <a:cubicBezTo>
                      <a:pt x="429" y="1"/>
                      <a:pt x="429" y="1"/>
                      <a:pt x="429" y="1"/>
                    </a:cubicBezTo>
                    <a:cubicBezTo>
                      <a:pt x="428" y="1"/>
                      <a:pt x="428" y="1"/>
                      <a:pt x="428" y="1"/>
                    </a:cubicBezTo>
                    <a:cubicBezTo>
                      <a:pt x="427" y="1"/>
                      <a:pt x="427" y="1"/>
                      <a:pt x="427" y="1"/>
                    </a:cubicBezTo>
                    <a:cubicBezTo>
                      <a:pt x="427" y="1"/>
                      <a:pt x="427" y="1"/>
                      <a:pt x="427" y="1"/>
                    </a:cubicBezTo>
                    <a:cubicBezTo>
                      <a:pt x="426" y="2"/>
                      <a:pt x="426" y="2"/>
                      <a:pt x="425" y="2"/>
                    </a:cubicBezTo>
                    <a:cubicBezTo>
                      <a:pt x="424" y="2"/>
                      <a:pt x="423" y="1"/>
                      <a:pt x="423" y="1"/>
                    </a:cubicBezTo>
                    <a:cubicBezTo>
                      <a:pt x="422" y="1"/>
                      <a:pt x="422" y="1"/>
                      <a:pt x="422" y="1"/>
                    </a:cubicBezTo>
                    <a:cubicBezTo>
                      <a:pt x="421" y="0"/>
                      <a:pt x="421" y="0"/>
                      <a:pt x="421" y="0"/>
                    </a:cubicBezTo>
                    <a:cubicBezTo>
                      <a:pt x="421" y="1"/>
                      <a:pt x="421" y="2"/>
                      <a:pt x="420" y="3"/>
                    </a:cubicBezTo>
                    <a:cubicBezTo>
                      <a:pt x="420" y="4"/>
                      <a:pt x="418" y="5"/>
                      <a:pt x="415" y="7"/>
                    </a:cubicBezTo>
                    <a:cubicBezTo>
                      <a:pt x="415" y="7"/>
                      <a:pt x="414" y="8"/>
                      <a:pt x="413" y="8"/>
                    </a:cubicBezTo>
                    <a:cubicBezTo>
                      <a:pt x="413" y="8"/>
                      <a:pt x="413" y="8"/>
                      <a:pt x="413" y="8"/>
                    </a:cubicBezTo>
                    <a:cubicBezTo>
                      <a:pt x="412" y="9"/>
                      <a:pt x="411" y="9"/>
                      <a:pt x="411" y="10"/>
                    </a:cubicBezTo>
                    <a:cubicBezTo>
                      <a:pt x="410" y="10"/>
                      <a:pt x="409" y="11"/>
                      <a:pt x="408" y="11"/>
                    </a:cubicBezTo>
                    <a:cubicBezTo>
                      <a:pt x="407" y="11"/>
                      <a:pt x="407" y="11"/>
                      <a:pt x="407" y="11"/>
                    </a:cubicBezTo>
                    <a:cubicBezTo>
                      <a:pt x="407" y="11"/>
                      <a:pt x="406" y="11"/>
                      <a:pt x="406" y="11"/>
                    </a:cubicBezTo>
                    <a:cubicBezTo>
                      <a:pt x="405" y="10"/>
                      <a:pt x="405" y="10"/>
                      <a:pt x="405" y="10"/>
                    </a:cubicBezTo>
                    <a:cubicBezTo>
                      <a:pt x="405" y="10"/>
                      <a:pt x="405" y="10"/>
                      <a:pt x="405" y="10"/>
                    </a:cubicBezTo>
                    <a:cubicBezTo>
                      <a:pt x="404" y="10"/>
                      <a:pt x="404" y="10"/>
                      <a:pt x="404" y="10"/>
                    </a:cubicBezTo>
                    <a:cubicBezTo>
                      <a:pt x="404" y="11"/>
                      <a:pt x="404" y="11"/>
                      <a:pt x="404" y="11"/>
                    </a:cubicBezTo>
                    <a:cubicBezTo>
                      <a:pt x="404" y="12"/>
                      <a:pt x="404" y="12"/>
                      <a:pt x="404" y="12"/>
                    </a:cubicBezTo>
                    <a:cubicBezTo>
                      <a:pt x="392" y="14"/>
                      <a:pt x="392" y="14"/>
                      <a:pt x="392" y="14"/>
                    </a:cubicBezTo>
                    <a:cubicBezTo>
                      <a:pt x="392" y="14"/>
                      <a:pt x="391" y="14"/>
                      <a:pt x="390" y="14"/>
                    </a:cubicBezTo>
                    <a:cubicBezTo>
                      <a:pt x="395" y="17"/>
                      <a:pt x="395" y="17"/>
                      <a:pt x="395" y="17"/>
                    </a:cubicBezTo>
                    <a:cubicBezTo>
                      <a:pt x="385" y="16"/>
                      <a:pt x="385" y="16"/>
                      <a:pt x="385" y="16"/>
                    </a:cubicBezTo>
                    <a:cubicBezTo>
                      <a:pt x="385" y="16"/>
                      <a:pt x="385" y="16"/>
                      <a:pt x="385" y="16"/>
                    </a:cubicBezTo>
                    <a:cubicBezTo>
                      <a:pt x="384" y="16"/>
                      <a:pt x="384" y="16"/>
                      <a:pt x="384" y="16"/>
                    </a:cubicBezTo>
                    <a:cubicBezTo>
                      <a:pt x="384" y="16"/>
                      <a:pt x="384" y="16"/>
                      <a:pt x="384" y="16"/>
                    </a:cubicBezTo>
                    <a:cubicBezTo>
                      <a:pt x="384" y="16"/>
                      <a:pt x="384" y="16"/>
                      <a:pt x="384" y="16"/>
                    </a:cubicBezTo>
                    <a:cubicBezTo>
                      <a:pt x="383" y="17"/>
                      <a:pt x="383" y="17"/>
                      <a:pt x="383" y="17"/>
                    </a:cubicBezTo>
                    <a:cubicBezTo>
                      <a:pt x="383" y="17"/>
                      <a:pt x="382" y="17"/>
                      <a:pt x="382" y="17"/>
                    </a:cubicBezTo>
                    <a:cubicBezTo>
                      <a:pt x="382" y="17"/>
                      <a:pt x="382" y="17"/>
                      <a:pt x="382" y="17"/>
                    </a:cubicBezTo>
                    <a:cubicBezTo>
                      <a:pt x="382" y="17"/>
                      <a:pt x="382" y="17"/>
                      <a:pt x="382" y="17"/>
                    </a:cubicBezTo>
                    <a:cubicBezTo>
                      <a:pt x="381" y="17"/>
                      <a:pt x="381" y="17"/>
                      <a:pt x="381" y="17"/>
                    </a:cubicBezTo>
                    <a:cubicBezTo>
                      <a:pt x="381" y="17"/>
                      <a:pt x="381" y="17"/>
                      <a:pt x="381" y="17"/>
                    </a:cubicBezTo>
                    <a:cubicBezTo>
                      <a:pt x="381" y="17"/>
                      <a:pt x="381" y="17"/>
                      <a:pt x="381" y="17"/>
                    </a:cubicBezTo>
                    <a:cubicBezTo>
                      <a:pt x="381" y="17"/>
                      <a:pt x="381" y="17"/>
                      <a:pt x="381" y="17"/>
                    </a:cubicBezTo>
                    <a:cubicBezTo>
                      <a:pt x="380" y="17"/>
                      <a:pt x="380" y="17"/>
                      <a:pt x="380" y="17"/>
                    </a:cubicBezTo>
                    <a:cubicBezTo>
                      <a:pt x="380" y="17"/>
                      <a:pt x="379" y="17"/>
                      <a:pt x="378" y="17"/>
                    </a:cubicBezTo>
                    <a:cubicBezTo>
                      <a:pt x="378" y="17"/>
                      <a:pt x="378" y="17"/>
                      <a:pt x="378" y="17"/>
                    </a:cubicBezTo>
                    <a:cubicBezTo>
                      <a:pt x="376" y="18"/>
                      <a:pt x="376" y="18"/>
                      <a:pt x="376" y="18"/>
                    </a:cubicBezTo>
                    <a:cubicBezTo>
                      <a:pt x="375" y="18"/>
                      <a:pt x="374" y="18"/>
                      <a:pt x="373" y="18"/>
                    </a:cubicBezTo>
                    <a:cubicBezTo>
                      <a:pt x="370" y="19"/>
                      <a:pt x="370" y="19"/>
                      <a:pt x="370" y="19"/>
                    </a:cubicBezTo>
                    <a:cubicBezTo>
                      <a:pt x="370" y="19"/>
                      <a:pt x="370" y="19"/>
                      <a:pt x="370" y="19"/>
                    </a:cubicBezTo>
                    <a:cubicBezTo>
                      <a:pt x="369" y="19"/>
                      <a:pt x="369" y="19"/>
                      <a:pt x="369" y="19"/>
                    </a:cubicBezTo>
                    <a:cubicBezTo>
                      <a:pt x="365" y="19"/>
                      <a:pt x="365" y="19"/>
                      <a:pt x="365" y="19"/>
                    </a:cubicBezTo>
                    <a:cubicBezTo>
                      <a:pt x="365" y="19"/>
                      <a:pt x="365" y="19"/>
                      <a:pt x="365" y="19"/>
                    </a:cubicBezTo>
                    <a:cubicBezTo>
                      <a:pt x="365" y="19"/>
                      <a:pt x="365" y="19"/>
                      <a:pt x="365" y="19"/>
                    </a:cubicBezTo>
                    <a:cubicBezTo>
                      <a:pt x="360" y="19"/>
                      <a:pt x="360" y="19"/>
                      <a:pt x="360" y="19"/>
                    </a:cubicBezTo>
                    <a:cubicBezTo>
                      <a:pt x="359" y="19"/>
                      <a:pt x="359" y="19"/>
                      <a:pt x="359" y="19"/>
                    </a:cubicBezTo>
                    <a:cubicBezTo>
                      <a:pt x="358" y="20"/>
                      <a:pt x="358" y="20"/>
                      <a:pt x="358" y="20"/>
                    </a:cubicBezTo>
                    <a:cubicBezTo>
                      <a:pt x="355" y="22"/>
                      <a:pt x="355" y="22"/>
                      <a:pt x="355" y="22"/>
                    </a:cubicBezTo>
                    <a:cubicBezTo>
                      <a:pt x="358" y="24"/>
                      <a:pt x="358" y="24"/>
                      <a:pt x="358" y="24"/>
                    </a:cubicBezTo>
                    <a:cubicBezTo>
                      <a:pt x="354" y="22"/>
                      <a:pt x="354" y="22"/>
                      <a:pt x="354" y="22"/>
                    </a:cubicBezTo>
                    <a:cubicBezTo>
                      <a:pt x="354" y="23"/>
                      <a:pt x="354" y="23"/>
                      <a:pt x="354" y="23"/>
                    </a:cubicBezTo>
                    <a:cubicBezTo>
                      <a:pt x="354" y="23"/>
                      <a:pt x="353" y="24"/>
                      <a:pt x="353" y="25"/>
                    </a:cubicBezTo>
                    <a:cubicBezTo>
                      <a:pt x="351" y="27"/>
                      <a:pt x="351" y="27"/>
                      <a:pt x="351" y="27"/>
                    </a:cubicBezTo>
                    <a:cubicBezTo>
                      <a:pt x="349" y="26"/>
                      <a:pt x="349" y="26"/>
                      <a:pt x="349" y="26"/>
                    </a:cubicBezTo>
                    <a:cubicBezTo>
                      <a:pt x="348" y="25"/>
                      <a:pt x="348" y="25"/>
                      <a:pt x="348" y="25"/>
                    </a:cubicBezTo>
                    <a:cubicBezTo>
                      <a:pt x="347" y="26"/>
                      <a:pt x="347" y="26"/>
                      <a:pt x="347" y="26"/>
                    </a:cubicBezTo>
                    <a:cubicBezTo>
                      <a:pt x="346" y="26"/>
                      <a:pt x="346" y="26"/>
                      <a:pt x="346" y="26"/>
                    </a:cubicBezTo>
                    <a:cubicBezTo>
                      <a:pt x="345" y="27"/>
                      <a:pt x="345" y="27"/>
                      <a:pt x="345" y="27"/>
                    </a:cubicBezTo>
                    <a:cubicBezTo>
                      <a:pt x="344" y="27"/>
                      <a:pt x="344" y="27"/>
                      <a:pt x="343" y="27"/>
                    </a:cubicBezTo>
                    <a:cubicBezTo>
                      <a:pt x="342" y="27"/>
                      <a:pt x="342" y="27"/>
                      <a:pt x="342" y="27"/>
                    </a:cubicBezTo>
                    <a:cubicBezTo>
                      <a:pt x="342" y="27"/>
                      <a:pt x="342" y="27"/>
                      <a:pt x="342" y="27"/>
                    </a:cubicBezTo>
                    <a:cubicBezTo>
                      <a:pt x="341" y="26"/>
                      <a:pt x="341" y="26"/>
                      <a:pt x="341" y="26"/>
                    </a:cubicBezTo>
                    <a:cubicBezTo>
                      <a:pt x="341" y="26"/>
                      <a:pt x="341" y="26"/>
                      <a:pt x="341" y="26"/>
                    </a:cubicBezTo>
                    <a:cubicBezTo>
                      <a:pt x="340" y="26"/>
                      <a:pt x="340" y="26"/>
                      <a:pt x="340" y="26"/>
                    </a:cubicBezTo>
                    <a:cubicBezTo>
                      <a:pt x="339" y="27"/>
                      <a:pt x="339" y="27"/>
                      <a:pt x="339" y="27"/>
                    </a:cubicBezTo>
                    <a:cubicBezTo>
                      <a:pt x="338" y="27"/>
                      <a:pt x="338" y="27"/>
                      <a:pt x="338" y="27"/>
                    </a:cubicBezTo>
                    <a:cubicBezTo>
                      <a:pt x="337" y="27"/>
                      <a:pt x="337" y="27"/>
                      <a:pt x="336" y="27"/>
                    </a:cubicBezTo>
                    <a:cubicBezTo>
                      <a:pt x="336" y="27"/>
                      <a:pt x="336" y="27"/>
                      <a:pt x="336" y="27"/>
                    </a:cubicBezTo>
                    <a:cubicBezTo>
                      <a:pt x="336" y="27"/>
                      <a:pt x="336" y="27"/>
                      <a:pt x="336" y="27"/>
                    </a:cubicBezTo>
                    <a:cubicBezTo>
                      <a:pt x="325" y="29"/>
                      <a:pt x="325" y="29"/>
                      <a:pt x="325" y="29"/>
                    </a:cubicBezTo>
                    <a:cubicBezTo>
                      <a:pt x="325" y="29"/>
                      <a:pt x="325" y="29"/>
                      <a:pt x="325" y="29"/>
                    </a:cubicBezTo>
                    <a:cubicBezTo>
                      <a:pt x="325" y="29"/>
                      <a:pt x="325" y="29"/>
                      <a:pt x="325" y="29"/>
                    </a:cubicBezTo>
                    <a:cubicBezTo>
                      <a:pt x="324" y="30"/>
                      <a:pt x="324" y="30"/>
                      <a:pt x="324" y="30"/>
                    </a:cubicBezTo>
                    <a:cubicBezTo>
                      <a:pt x="317" y="31"/>
                      <a:pt x="317" y="31"/>
                      <a:pt x="317" y="31"/>
                    </a:cubicBezTo>
                    <a:cubicBezTo>
                      <a:pt x="316" y="31"/>
                      <a:pt x="316" y="31"/>
                      <a:pt x="316" y="31"/>
                    </a:cubicBezTo>
                    <a:cubicBezTo>
                      <a:pt x="315" y="31"/>
                      <a:pt x="315" y="31"/>
                      <a:pt x="315" y="31"/>
                    </a:cubicBezTo>
                    <a:cubicBezTo>
                      <a:pt x="315" y="31"/>
                      <a:pt x="315" y="31"/>
                      <a:pt x="315" y="31"/>
                    </a:cubicBezTo>
                    <a:cubicBezTo>
                      <a:pt x="314" y="32"/>
                      <a:pt x="314" y="32"/>
                      <a:pt x="314" y="32"/>
                    </a:cubicBezTo>
                    <a:cubicBezTo>
                      <a:pt x="313" y="32"/>
                      <a:pt x="313" y="32"/>
                      <a:pt x="313" y="32"/>
                    </a:cubicBezTo>
                    <a:cubicBezTo>
                      <a:pt x="308" y="33"/>
                      <a:pt x="308" y="33"/>
                      <a:pt x="308" y="33"/>
                    </a:cubicBezTo>
                    <a:cubicBezTo>
                      <a:pt x="308" y="33"/>
                      <a:pt x="308" y="33"/>
                      <a:pt x="308" y="33"/>
                    </a:cubicBezTo>
                    <a:cubicBezTo>
                      <a:pt x="308" y="33"/>
                      <a:pt x="308" y="33"/>
                      <a:pt x="308" y="33"/>
                    </a:cubicBezTo>
                    <a:cubicBezTo>
                      <a:pt x="307" y="34"/>
                      <a:pt x="306" y="34"/>
                      <a:pt x="306" y="34"/>
                    </a:cubicBezTo>
                    <a:cubicBezTo>
                      <a:pt x="306" y="34"/>
                      <a:pt x="306" y="34"/>
                      <a:pt x="306" y="34"/>
                    </a:cubicBezTo>
                    <a:cubicBezTo>
                      <a:pt x="306" y="34"/>
                      <a:pt x="306" y="34"/>
                      <a:pt x="306" y="34"/>
                    </a:cubicBezTo>
                    <a:cubicBezTo>
                      <a:pt x="304" y="34"/>
                      <a:pt x="304" y="34"/>
                      <a:pt x="304" y="34"/>
                    </a:cubicBezTo>
                    <a:cubicBezTo>
                      <a:pt x="303" y="37"/>
                      <a:pt x="303" y="37"/>
                      <a:pt x="303" y="37"/>
                    </a:cubicBezTo>
                    <a:cubicBezTo>
                      <a:pt x="303" y="37"/>
                      <a:pt x="302" y="37"/>
                      <a:pt x="302" y="37"/>
                    </a:cubicBezTo>
                    <a:cubicBezTo>
                      <a:pt x="301" y="39"/>
                      <a:pt x="301" y="39"/>
                      <a:pt x="301" y="39"/>
                    </a:cubicBezTo>
                    <a:cubicBezTo>
                      <a:pt x="300" y="38"/>
                      <a:pt x="300" y="38"/>
                      <a:pt x="300" y="38"/>
                    </a:cubicBezTo>
                    <a:cubicBezTo>
                      <a:pt x="296" y="42"/>
                      <a:pt x="296" y="42"/>
                      <a:pt x="296" y="42"/>
                    </a:cubicBezTo>
                    <a:cubicBezTo>
                      <a:pt x="298" y="37"/>
                      <a:pt x="298" y="37"/>
                      <a:pt x="298" y="37"/>
                    </a:cubicBezTo>
                    <a:cubicBezTo>
                      <a:pt x="298" y="37"/>
                      <a:pt x="298" y="37"/>
                      <a:pt x="298" y="37"/>
                    </a:cubicBezTo>
                    <a:cubicBezTo>
                      <a:pt x="298" y="36"/>
                      <a:pt x="298" y="36"/>
                      <a:pt x="298" y="36"/>
                    </a:cubicBezTo>
                    <a:cubicBezTo>
                      <a:pt x="297" y="36"/>
                      <a:pt x="297" y="36"/>
                      <a:pt x="297" y="36"/>
                    </a:cubicBezTo>
                    <a:cubicBezTo>
                      <a:pt x="297" y="36"/>
                      <a:pt x="297" y="36"/>
                      <a:pt x="297" y="36"/>
                    </a:cubicBezTo>
                    <a:cubicBezTo>
                      <a:pt x="297" y="36"/>
                      <a:pt x="296" y="36"/>
                      <a:pt x="296" y="36"/>
                    </a:cubicBezTo>
                    <a:cubicBezTo>
                      <a:pt x="296" y="36"/>
                      <a:pt x="295" y="36"/>
                      <a:pt x="295" y="35"/>
                    </a:cubicBezTo>
                    <a:cubicBezTo>
                      <a:pt x="294" y="41"/>
                      <a:pt x="294" y="41"/>
                      <a:pt x="294" y="41"/>
                    </a:cubicBezTo>
                    <a:cubicBezTo>
                      <a:pt x="294" y="35"/>
                      <a:pt x="294" y="35"/>
                      <a:pt x="294" y="35"/>
                    </a:cubicBezTo>
                    <a:cubicBezTo>
                      <a:pt x="293" y="35"/>
                      <a:pt x="293" y="35"/>
                      <a:pt x="293" y="35"/>
                    </a:cubicBezTo>
                    <a:cubicBezTo>
                      <a:pt x="292" y="36"/>
                      <a:pt x="292" y="36"/>
                      <a:pt x="292" y="36"/>
                    </a:cubicBezTo>
                    <a:cubicBezTo>
                      <a:pt x="288" y="36"/>
                      <a:pt x="288" y="36"/>
                      <a:pt x="288" y="36"/>
                    </a:cubicBezTo>
                    <a:cubicBezTo>
                      <a:pt x="288" y="36"/>
                      <a:pt x="288" y="36"/>
                      <a:pt x="288" y="36"/>
                    </a:cubicBezTo>
                    <a:cubicBezTo>
                      <a:pt x="285" y="36"/>
                      <a:pt x="283" y="35"/>
                      <a:pt x="281" y="34"/>
                    </a:cubicBezTo>
                    <a:cubicBezTo>
                      <a:pt x="281" y="34"/>
                      <a:pt x="281" y="34"/>
                      <a:pt x="281" y="34"/>
                    </a:cubicBezTo>
                    <a:cubicBezTo>
                      <a:pt x="280" y="34"/>
                      <a:pt x="280" y="34"/>
                      <a:pt x="280" y="34"/>
                    </a:cubicBezTo>
                    <a:cubicBezTo>
                      <a:pt x="280" y="34"/>
                      <a:pt x="280" y="34"/>
                      <a:pt x="280" y="34"/>
                    </a:cubicBezTo>
                    <a:cubicBezTo>
                      <a:pt x="279" y="35"/>
                      <a:pt x="278" y="36"/>
                      <a:pt x="277" y="36"/>
                    </a:cubicBezTo>
                    <a:cubicBezTo>
                      <a:pt x="277" y="36"/>
                      <a:pt x="277" y="36"/>
                      <a:pt x="277" y="36"/>
                    </a:cubicBezTo>
                    <a:cubicBezTo>
                      <a:pt x="279" y="37"/>
                      <a:pt x="279" y="37"/>
                      <a:pt x="279" y="37"/>
                    </a:cubicBezTo>
                    <a:cubicBezTo>
                      <a:pt x="279" y="38"/>
                      <a:pt x="279" y="38"/>
                      <a:pt x="279" y="39"/>
                    </a:cubicBezTo>
                    <a:cubicBezTo>
                      <a:pt x="279" y="39"/>
                      <a:pt x="279" y="39"/>
                      <a:pt x="279" y="39"/>
                    </a:cubicBezTo>
                    <a:cubicBezTo>
                      <a:pt x="279" y="40"/>
                      <a:pt x="279" y="40"/>
                      <a:pt x="279" y="40"/>
                    </a:cubicBezTo>
                    <a:cubicBezTo>
                      <a:pt x="279" y="40"/>
                      <a:pt x="279" y="40"/>
                      <a:pt x="279" y="40"/>
                    </a:cubicBezTo>
                    <a:cubicBezTo>
                      <a:pt x="278" y="41"/>
                      <a:pt x="278" y="41"/>
                      <a:pt x="278" y="41"/>
                    </a:cubicBezTo>
                    <a:cubicBezTo>
                      <a:pt x="277" y="43"/>
                      <a:pt x="277" y="43"/>
                      <a:pt x="277" y="43"/>
                    </a:cubicBezTo>
                    <a:cubicBezTo>
                      <a:pt x="279" y="43"/>
                      <a:pt x="279" y="43"/>
                      <a:pt x="279" y="43"/>
                    </a:cubicBezTo>
                    <a:cubicBezTo>
                      <a:pt x="279" y="43"/>
                      <a:pt x="280" y="42"/>
                      <a:pt x="280" y="42"/>
                    </a:cubicBezTo>
                    <a:cubicBezTo>
                      <a:pt x="281" y="42"/>
                      <a:pt x="281" y="42"/>
                      <a:pt x="281" y="42"/>
                    </a:cubicBezTo>
                    <a:cubicBezTo>
                      <a:pt x="281" y="42"/>
                      <a:pt x="281" y="42"/>
                      <a:pt x="281" y="42"/>
                    </a:cubicBezTo>
                    <a:cubicBezTo>
                      <a:pt x="282" y="42"/>
                      <a:pt x="282" y="42"/>
                      <a:pt x="282" y="42"/>
                    </a:cubicBezTo>
                    <a:cubicBezTo>
                      <a:pt x="283" y="42"/>
                      <a:pt x="283" y="42"/>
                      <a:pt x="283" y="42"/>
                    </a:cubicBezTo>
                    <a:cubicBezTo>
                      <a:pt x="284" y="43"/>
                      <a:pt x="284" y="43"/>
                      <a:pt x="284" y="43"/>
                    </a:cubicBezTo>
                    <a:cubicBezTo>
                      <a:pt x="284" y="43"/>
                      <a:pt x="284" y="43"/>
                      <a:pt x="284" y="43"/>
                    </a:cubicBezTo>
                    <a:cubicBezTo>
                      <a:pt x="286" y="43"/>
                      <a:pt x="286" y="43"/>
                      <a:pt x="286" y="43"/>
                    </a:cubicBezTo>
                    <a:cubicBezTo>
                      <a:pt x="286" y="44"/>
                      <a:pt x="286" y="44"/>
                      <a:pt x="286" y="44"/>
                    </a:cubicBezTo>
                    <a:cubicBezTo>
                      <a:pt x="290" y="43"/>
                      <a:pt x="290" y="43"/>
                      <a:pt x="290" y="43"/>
                    </a:cubicBezTo>
                    <a:cubicBezTo>
                      <a:pt x="286" y="47"/>
                      <a:pt x="286" y="47"/>
                      <a:pt x="286" y="47"/>
                    </a:cubicBezTo>
                    <a:cubicBezTo>
                      <a:pt x="286" y="47"/>
                      <a:pt x="286" y="47"/>
                      <a:pt x="286" y="47"/>
                    </a:cubicBezTo>
                    <a:cubicBezTo>
                      <a:pt x="285" y="48"/>
                      <a:pt x="285" y="48"/>
                      <a:pt x="285" y="48"/>
                    </a:cubicBezTo>
                    <a:cubicBezTo>
                      <a:pt x="284" y="49"/>
                      <a:pt x="284" y="49"/>
                      <a:pt x="284" y="49"/>
                    </a:cubicBezTo>
                    <a:cubicBezTo>
                      <a:pt x="283" y="49"/>
                      <a:pt x="283" y="49"/>
                      <a:pt x="283" y="49"/>
                    </a:cubicBezTo>
                    <a:cubicBezTo>
                      <a:pt x="283" y="51"/>
                      <a:pt x="283" y="51"/>
                      <a:pt x="283" y="51"/>
                    </a:cubicBezTo>
                    <a:cubicBezTo>
                      <a:pt x="281" y="50"/>
                      <a:pt x="281" y="50"/>
                      <a:pt x="281" y="50"/>
                    </a:cubicBezTo>
                    <a:cubicBezTo>
                      <a:pt x="281" y="50"/>
                      <a:pt x="281" y="50"/>
                      <a:pt x="281" y="50"/>
                    </a:cubicBezTo>
                    <a:cubicBezTo>
                      <a:pt x="281" y="51"/>
                      <a:pt x="281" y="51"/>
                      <a:pt x="281" y="51"/>
                    </a:cubicBezTo>
                    <a:cubicBezTo>
                      <a:pt x="282" y="51"/>
                      <a:pt x="282" y="51"/>
                      <a:pt x="282" y="51"/>
                    </a:cubicBezTo>
                    <a:cubicBezTo>
                      <a:pt x="283" y="52"/>
                      <a:pt x="283" y="52"/>
                      <a:pt x="283" y="52"/>
                    </a:cubicBezTo>
                    <a:cubicBezTo>
                      <a:pt x="284" y="52"/>
                      <a:pt x="284" y="52"/>
                      <a:pt x="284" y="52"/>
                    </a:cubicBezTo>
                    <a:cubicBezTo>
                      <a:pt x="284" y="52"/>
                      <a:pt x="284" y="52"/>
                      <a:pt x="284" y="52"/>
                    </a:cubicBezTo>
                    <a:cubicBezTo>
                      <a:pt x="285" y="52"/>
                      <a:pt x="287" y="52"/>
                      <a:pt x="288" y="53"/>
                    </a:cubicBezTo>
                    <a:cubicBezTo>
                      <a:pt x="292" y="54"/>
                      <a:pt x="292" y="54"/>
                      <a:pt x="292" y="54"/>
                    </a:cubicBezTo>
                    <a:cubicBezTo>
                      <a:pt x="293" y="55"/>
                      <a:pt x="294" y="55"/>
                      <a:pt x="295" y="56"/>
                    </a:cubicBezTo>
                    <a:cubicBezTo>
                      <a:pt x="297" y="57"/>
                      <a:pt x="297" y="57"/>
                      <a:pt x="297" y="57"/>
                    </a:cubicBezTo>
                    <a:cubicBezTo>
                      <a:pt x="297" y="59"/>
                      <a:pt x="297" y="59"/>
                      <a:pt x="297" y="59"/>
                    </a:cubicBezTo>
                    <a:cubicBezTo>
                      <a:pt x="296" y="59"/>
                      <a:pt x="296" y="59"/>
                      <a:pt x="296" y="60"/>
                    </a:cubicBezTo>
                    <a:cubicBezTo>
                      <a:pt x="296" y="60"/>
                      <a:pt x="296" y="60"/>
                      <a:pt x="295" y="61"/>
                    </a:cubicBezTo>
                    <a:cubicBezTo>
                      <a:pt x="295" y="61"/>
                      <a:pt x="295" y="61"/>
                      <a:pt x="295" y="61"/>
                    </a:cubicBezTo>
                    <a:cubicBezTo>
                      <a:pt x="295" y="62"/>
                      <a:pt x="295" y="62"/>
                      <a:pt x="294" y="62"/>
                    </a:cubicBezTo>
                    <a:cubicBezTo>
                      <a:pt x="294" y="63"/>
                      <a:pt x="294" y="63"/>
                      <a:pt x="294" y="63"/>
                    </a:cubicBezTo>
                    <a:cubicBezTo>
                      <a:pt x="294" y="63"/>
                      <a:pt x="294" y="63"/>
                      <a:pt x="294" y="63"/>
                    </a:cubicBezTo>
                    <a:cubicBezTo>
                      <a:pt x="293" y="63"/>
                      <a:pt x="293" y="63"/>
                      <a:pt x="293" y="63"/>
                    </a:cubicBezTo>
                    <a:cubicBezTo>
                      <a:pt x="293" y="63"/>
                      <a:pt x="293" y="63"/>
                      <a:pt x="293" y="63"/>
                    </a:cubicBezTo>
                    <a:cubicBezTo>
                      <a:pt x="292" y="63"/>
                      <a:pt x="292" y="63"/>
                      <a:pt x="292" y="63"/>
                    </a:cubicBezTo>
                    <a:cubicBezTo>
                      <a:pt x="292" y="63"/>
                      <a:pt x="292" y="63"/>
                      <a:pt x="292" y="63"/>
                    </a:cubicBezTo>
                    <a:cubicBezTo>
                      <a:pt x="291" y="63"/>
                      <a:pt x="291" y="63"/>
                      <a:pt x="290" y="63"/>
                    </a:cubicBezTo>
                    <a:cubicBezTo>
                      <a:pt x="290" y="62"/>
                      <a:pt x="290" y="62"/>
                      <a:pt x="290" y="62"/>
                    </a:cubicBezTo>
                    <a:cubicBezTo>
                      <a:pt x="290" y="62"/>
                      <a:pt x="290" y="62"/>
                      <a:pt x="290" y="62"/>
                    </a:cubicBezTo>
                    <a:cubicBezTo>
                      <a:pt x="290" y="63"/>
                      <a:pt x="290" y="63"/>
                      <a:pt x="290" y="63"/>
                    </a:cubicBezTo>
                    <a:cubicBezTo>
                      <a:pt x="290" y="63"/>
                      <a:pt x="290" y="63"/>
                      <a:pt x="290" y="63"/>
                    </a:cubicBezTo>
                    <a:cubicBezTo>
                      <a:pt x="291" y="67"/>
                      <a:pt x="291" y="67"/>
                      <a:pt x="291" y="67"/>
                    </a:cubicBezTo>
                    <a:cubicBezTo>
                      <a:pt x="288" y="63"/>
                      <a:pt x="288" y="63"/>
                      <a:pt x="288" y="63"/>
                    </a:cubicBezTo>
                    <a:cubicBezTo>
                      <a:pt x="288" y="63"/>
                      <a:pt x="288" y="63"/>
                      <a:pt x="287" y="63"/>
                    </a:cubicBezTo>
                    <a:cubicBezTo>
                      <a:pt x="287" y="63"/>
                      <a:pt x="287" y="63"/>
                      <a:pt x="286" y="63"/>
                    </a:cubicBezTo>
                    <a:cubicBezTo>
                      <a:pt x="286" y="63"/>
                      <a:pt x="286" y="63"/>
                      <a:pt x="286" y="63"/>
                    </a:cubicBezTo>
                    <a:cubicBezTo>
                      <a:pt x="286" y="63"/>
                      <a:pt x="286" y="63"/>
                      <a:pt x="286" y="63"/>
                    </a:cubicBezTo>
                    <a:cubicBezTo>
                      <a:pt x="286" y="63"/>
                      <a:pt x="285" y="63"/>
                      <a:pt x="285" y="63"/>
                    </a:cubicBezTo>
                    <a:cubicBezTo>
                      <a:pt x="284" y="63"/>
                      <a:pt x="284" y="63"/>
                      <a:pt x="284" y="63"/>
                    </a:cubicBezTo>
                    <a:cubicBezTo>
                      <a:pt x="283" y="63"/>
                      <a:pt x="283" y="63"/>
                      <a:pt x="283" y="63"/>
                    </a:cubicBezTo>
                    <a:cubicBezTo>
                      <a:pt x="283" y="62"/>
                      <a:pt x="283" y="62"/>
                      <a:pt x="282" y="62"/>
                    </a:cubicBezTo>
                    <a:cubicBezTo>
                      <a:pt x="282" y="62"/>
                      <a:pt x="282" y="62"/>
                      <a:pt x="282" y="62"/>
                    </a:cubicBezTo>
                    <a:cubicBezTo>
                      <a:pt x="281" y="66"/>
                      <a:pt x="281" y="66"/>
                      <a:pt x="281" y="66"/>
                    </a:cubicBezTo>
                    <a:cubicBezTo>
                      <a:pt x="281" y="62"/>
                      <a:pt x="281" y="62"/>
                      <a:pt x="281" y="62"/>
                    </a:cubicBezTo>
                    <a:cubicBezTo>
                      <a:pt x="280" y="62"/>
                      <a:pt x="280" y="62"/>
                      <a:pt x="280" y="62"/>
                    </a:cubicBezTo>
                    <a:cubicBezTo>
                      <a:pt x="280" y="62"/>
                      <a:pt x="279" y="62"/>
                      <a:pt x="278" y="62"/>
                    </a:cubicBezTo>
                    <a:cubicBezTo>
                      <a:pt x="277" y="62"/>
                      <a:pt x="277" y="62"/>
                      <a:pt x="277" y="62"/>
                    </a:cubicBezTo>
                    <a:cubicBezTo>
                      <a:pt x="276" y="62"/>
                      <a:pt x="276" y="62"/>
                      <a:pt x="276" y="62"/>
                    </a:cubicBezTo>
                    <a:cubicBezTo>
                      <a:pt x="276" y="62"/>
                      <a:pt x="276" y="62"/>
                      <a:pt x="276" y="62"/>
                    </a:cubicBezTo>
                    <a:cubicBezTo>
                      <a:pt x="273" y="64"/>
                      <a:pt x="273" y="64"/>
                      <a:pt x="273" y="64"/>
                    </a:cubicBezTo>
                    <a:cubicBezTo>
                      <a:pt x="272" y="65"/>
                      <a:pt x="271" y="66"/>
                      <a:pt x="270" y="67"/>
                    </a:cubicBezTo>
                    <a:cubicBezTo>
                      <a:pt x="270" y="68"/>
                      <a:pt x="270" y="68"/>
                      <a:pt x="270" y="68"/>
                    </a:cubicBezTo>
                    <a:cubicBezTo>
                      <a:pt x="274" y="73"/>
                      <a:pt x="274" y="73"/>
                      <a:pt x="274" y="73"/>
                    </a:cubicBezTo>
                    <a:cubicBezTo>
                      <a:pt x="274" y="73"/>
                      <a:pt x="275" y="74"/>
                      <a:pt x="275" y="74"/>
                    </a:cubicBezTo>
                    <a:cubicBezTo>
                      <a:pt x="276" y="75"/>
                      <a:pt x="276" y="75"/>
                      <a:pt x="276" y="75"/>
                    </a:cubicBezTo>
                    <a:cubicBezTo>
                      <a:pt x="276" y="77"/>
                      <a:pt x="276" y="78"/>
                      <a:pt x="275" y="78"/>
                    </a:cubicBezTo>
                    <a:cubicBezTo>
                      <a:pt x="275" y="78"/>
                      <a:pt x="275" y="78"/>
                      <a:pt x="275" y="78"/>
                    </a:cubicBezTo>
                    <a:cubicBezTo>
                      <a:pt x="275" y="78"/>
                      <a:pt x="275" y="78"/>
                      <a:pt x="275" y="78"/>
                    </a:cubicBezTo>
                    <a:cubicBezTo>
                      <a:pt x="274" y="79"/>
                      <a:pt x="274" y="79"/>
                      <a:pt x="274" y="79"/>
                    </a:cubicBezTo>
                    <a:cubicBezTo>
                      <a:pt x="273" y="80"/>
                      <a:pt x="272" y="80"/>
                      <a:pt x="272" y="81"/>
                    </a:cubicBezTo>
                    <a:cubicBezTo>
                      <a:pt x="272" y="81"/>
                      <a:pt x="272" y="81"/>
                      <a:pt x="272" y="81"/>
                    </a:cubicBezTo>
                    <a:cubicBezTo>
                      <a:pt x="270" y="82"/>
                      <a:pt x="270" y="82"/>
                      <a:pt x="270" y="82"/>
                    </a:cubicBezTo>
                    <a:cubicBezTo>
                      <a:pt x="270" y="82"/>
                      <a:pt x="270" y="82"/>
                      <a:pt x="270" y="82"/>
                    </a:cubicBezTo>
                    <a:cubicBezTo>
                      <a:pt x="270" y="82"/>
                      <a:pt x="270" y="82"/>
                      <a:pt x="270" y="82"/>
                    </a:cubicBezTo>
                    <a:cubicBezTo>
                      <a:pt x="268" y="83"/>
                      <a:pt x="267" y="83"/>
                      <a:pt x="265" y="84"/>
                    </a:cubicBezTo>
                    <a:cubicBezTo>
                      <a:pt x="265" y="84"/>
                      <a:pt x="265" y="84"/>
                      <a:pt x="265" y="84"/>
                    </a:cubicBezTo>
                    <a:cubicBezTo>
                      <a:pt x="264" y="84"/>
                      <a:pt x="264" y="84"/>
                      <a:pt x="264" y="84"/>
                    </a:cubicBezTo>
                    <a:cubicBezTo>
                      <a:pt x="264" y="84"/>
                      <a:pt x="264" y="84"/>
                      <a:pt x="264" y="84"/>
                    </a:cubicBezTo>
                    <a:cubicBezTo>
                      <a:pt x="263" y="84"/>
                      <a:pt x="263" y="84"/>
                      <a:pt x="263" y="84"/>
                    </a:cubicBezTo>
                    <a:cubicBezTo>
                      <a:pt x="262" y="85"/>
                      <a:pt x="262" y="85"/>
                      <a:pt x="261" y="86"/>
                    </a:cubicBezTo>
                    <a:cubicBezTo>
                      <a:pt x="267" y="89"/>
                      <a:pt x="267" y="89"/>
                      <a:pt x="267" y="89"/>
                    </a:cubicBezTo>
                    <a:cubicBezTo>
                      <a:pt x="263" y="88"/>
                      <a:pt x="263" y="88"/>
                      <a:pt x="263" y="88"/>
                    </a:cubicBezTo>
                    <a:cubicBezTo>
                      <a:pt x="264" y="89"/>
                      <a:pt x="264" y="89"/>
                      <a:pt x="264" y="89"/>
                    </a:cubicBezTo>
                    <a:cubicBezTo>
                      <a:pt x="263" y="88"/>
                      <a:pt x="263" y="88"/>
                      <a:pt x="263" y="88"/>
                    </a:cubicBezTo>
                    <a:cubicBezTo>
                      <a:pt x="259" y="88"/>
                      <a:pt x="259" y="88"/>
                      <a:pt x="259" y="88"/>
                    </a:cubicBezTo>
                    <a:cubicBezTo>
                      <a:pt x="260" y="88"/>
                      <a:pt x="260" y="89"/>
                      <a:pt x="261" y="89"/>
                    </a:cubicBezTo>
                    <a:cubicBezTo>
                      <a:pt x="262" y="89"/>
                      <a:pt x="262" y="89"/>
                      <a:pt x="262" y="89"/>
                    </a:cubicBezTo>
                    <a:cubicBezTo>
                      <a:pt x="262" y="90"/>
                      <a:pt x="263" y="90"/>
                      <a:pt x="263" y="90"/>
                    </a:cubicBezTo>
                    <a:cubicBezTo>
                      <a:pt x="265" y="91"/>
                      <a:pt x="265" y="91"/>
                      <a:pt x="265" y="91"/>
                    </a:cubicBezTo>
                    <a:cubicBezTo>
                      <a:pt x="265" y="92"/>
                      <a:pt x="265" y="92"/>
                      <a:pt x="265" y="92"/>
                    </a:cubicBezTo>
                    <a:cubicBezTo>
                      <a:pt x="265" y="92"/>
                      <a:pt x="265" y="92"/>
                      <a:pt x="265" y="92"/>
                    </a:cubicBezTo>
                    <a:cubicBezTo>
                      <a:pt x="265" y="92"/>
                      <a:pt x="265" y="92"/>
                      <a:pt x="265" y="92"/>
                    </a:cubicBezTo>
                    <a:cubicBezTo>
                      <a:pt x="265" y="92"/>
                      <a:pt x="265" y="92"/>
                      <a:pt x="265" y="92"/>
                    </a:cubicBezTo>
                    <a:cubicBezTo>
                      <a:pt x="268" y="93"/>
                      <a:pt x="268" y="93"/>
                      <a:pt x="268" y="93"/>
                    </a:cubicBezTo>
                    <a:cubicBezTo>
                      <a:pt x="275" y="96"/>
                      <a:pt x="275" y="96"/>
                      <a:pt x="275" y="96"/>
                    </a:cubicBezTo>
                    <a:cubicBezTo>
                      <a:pt x="277" y="96"/>
                      <a:pt x="277" y="96"/>
                      <a:pt x="277" y="96"/>
                    </a:cubicBezTo>
                    <a:cubicBezTo>
                      <a:pt x="277" y="97"/>
                      <a:pt x="277" y="97"/>
                      <a:pt x="277" y="97"/>
                    </a:cubicBezTo>
                    <a:cubicBezTo>
                      <a:pt x="285" y="101"/>
                      <a:pt x="285" y="101"/>
                      <a:pt x="285" y="101"/>
                    </a:cubicBezTo>
                    <a:cubicBezTo>
                      <a:pt x="286" y="98"/>
                      <a:pt x="286" y="98"/>
                      <a:pt x="286" y="98"/>
                    </a:cubicBezTo>
                    <a:cubicBezTo>
                      <a:pt x="286" y="102"/>
                      <a:pt x="286" y="102"/>
                      <a:pt x="286" y="102"/>
                    </a:cubicBezTo>
                    <a:cubicBezTo>
                      <a:pt x="290" y="103"/>
                      <a:pt x="290" y="103"/>
                      <a:pt x="290" y="103"/>
                    </a:cubicBezTo>
                    <a:cubicBezTo>
                      <a:pt x="289" y="104"/>
                      <a:pt x="289" y="104"/>
                      <a:pt x="289" y="104"/>
                    </a:cubicBezTo>
                    <a:cubicBezTo>
                      <a:pt x="294" y="108"/>
                      <a:pt x="294" y="108"/>
                      <a:pt x="294" y="108"/>
                    </a:cubicBezTo>
                    <a:cubicBezTo>
                      <a:pt x="287" y="106"/>
                      <a:pt x="287" y="106"/>
                      <a:pt x="287" y="106"/>
                    </a:cubicBezTo>
                    <a:cubicBezTo>
                      <a:pt x="287" y="107"/>
                      <a:pt x="287" y="107"/>
                      <a:pt x="287" y="107"/>
                    </a:cubicBezTo>
                    <a:cubicBezTo>
                      <a:pt x="286" y="108"/>
                      <a:pt x="285" y="109"/>
                      <a:pt x="285" y="110"/>
                    </a:cubicBezTo>
                    <a:cubicBezTo>
                      <a:pt x="285" y="111"/>
                      <a:pt x="285" y="111"/>
                      <a:pt x="285" y="111"/>
                    </a:cubicBezTo>
                    <a:cubicBezTo>
                      <a:pt x="284" y="112"/>
                      <a:pt x="284" y="112"/>
                      <a:pt x="284" y="112"/>
                    </a:cubicBezTo>
                    <a:cubicBezTo>
                      <a:pt x="284" y="112"/>
                      <a:pt x="284" y="112"/>
                      <a:pt x="284" y="112"/>
                    </a:cubicBezTo>
                    <a:cubicBezTo>
                      <a:pt x="284" y="112"/>
                      <a:pt x="284" y="112"/>
                      <a:pt x="284" y="112"/>
                    </a:cubicBezTo>
                    <a:cubicBezTo>
                      <a:pt x="284" y="114"/>
                      <a:pt x="284" y="114"/>
                      <a:pt x="284" y="114"/>
                    </a:cubicBezTo>
                    <a:cubicBezTo>
                      <a:pt x="284" y="114"/>
                      <a:pt x="284" y="115"/>
                      <a:pt x="283" y="116"/>
                    </a:cubicBezTo>
                    <a:cubicBezTo>
                      <a:pt x="282" y="118"/>
                      <a:pt x="282" y="118"/>
                      <a:pt x="282" y="118"/>
                    </a:cubicBezTo>
                    <a:cubicBezTo>
                      <a:pt x="280" y="118"/>
                      <a:pt x="280" y="118"/>
                      <a:pt x="280" y="118"/>
                    </a:cubicBezTo>
                    <a:cubicBezTo>
                      <a:pt x="278" y="120"/>
                      <a:pt x="272" y="121"/>
                      <a:pt x="269" y="121"/>
                    </a:cubicBezTo>
                    <a:cubicBezTo>
                      <a:pt x="269" y="121"/>
                      <a:pt x="269" y="121"/>
                      <a:pt x="269" y="121"/>
                    </a:cubicBezTo>
                    <a:cubicBezTo>
                      <a:pt x="268" y="122"/>
                      <a:pt x="268" y="122"/>
                      <a:pt x="268" y="122"/>
                    </a:cubicBezTo>
                    <a:cubicBezTo>
                      <a:pt x="267" y="121"/>
                      <a:pt x="267" y="121"/>
                      <a:pt x="267" y="121"/>
                    </a:cubicBezTo>
                    <a:cubicBezTo>
                      <a:pt x="264" y="121"/>
                      <a:pt x="261" y="120"/>
                      <a:pt x="258" y="119"/>
                    </a:cubicBezTo>
                    <a:cubicBezTo>
                      <a:pt x="256" y="119"/>
                      <a:pt x="256" y="119"/>
                      <a:pt x="256" y="119"/>
                    </a:cubicBezTo>
                    <a:cubicBezTo>
                      <a:pt x="255" y="118"/>
                      <a:pt x="255" y="118"/>
                      <a:pt x="255" y="118"/>
                    </a:cubicBezTo>
                    <a:cubicBezTo>
                      <a:pt x="255" y="119"/>
                      <a:pt x="255" y="119"/>
                      <a:pt x="254" y="120"/>
                    </a:cubicBezTo>
                    <a:cubicBezTo>
                      <a:pt x="254" y="121"/>
                      <a:pt x="253" y="122"/>
                      <a:pt x="252" y="123"/>
                    </a:cubicBezTo>
                    <a:cubicBezTo>
                      <a:pt x="252" y="123"/>
                      <a:pt x="252" y="123"/>
                      <a:pt x="252" y="123"/>
                    </a:cubicBezTo>
                    <a:cubicBezTo>
                      <a:pt x="251" y="124"/>
                      <a:pt x="250" y="124"/>
                      <a:pt x="249" y="125"/>
                    </a:cubicBezTo>
                    <a:cubicBezTo>
                      <a:pt x="249" y="125"/>
                      <a:pt x="248" y="125"/>
                      <a:pt x="248" y="125"/>
                    </a:cubicBezTo>
                    <a:cubicBezTo>
                      <a:pt x="247" y="125"/>
                      <a:pt x="247" y="125"/>
                      <a:pt x="247" y="125"/>
                    </a:cubicBezTo>
                    <a:cubicBezTo>
                      <a:pt x="247" y="125"/>
                      <a:pt x="247" y="125"/>
                      <a:pt x="247" y="125"/>
                    </a:cubicBezTo>
                    <a:cubicBezTo>
                      <a:pt x="243" y="130"/>
                      <a:pt x="243" y="130"/>
                      <a:pt x="243" y="130"/>
                    </a:cubicBezTo>
                    <a:cubicBezTo>
                      <a:pt x="243" y="124"/>
                      <a:pt x="243" y="124"/>
                      <a:pt x="243" y="124"/>
                    </a:cubicBezTo>
                    <a:cubicBezTo>
                      <a:pt x="243" y="123"/>
                      <a:pt x="243" y="123"/>
                      <a:pt x="243" y="123"/>
                    </a:cubicBezTo>
                    <a:cubicBezTo>
                      <a:pt x="241" y="122"/>
                      <a:pt x="240" y="122"/>
                      <a:pt x="238" y="121"/>
                    </a:cubicBezTo>
                    <a:cubicBezTo>
                      <a:pt x="237" y="121"/>
                      <a:pt x="237" y="121"/>
                      <a:pt x="236" y="121"/>
                    </a:cubicBezTo>
                    <a:cubicBezTo>
                      <a:pt x="235" y="121"/>
                      <a:pt x="234" y="121"/>
                      <a:pt x="234" y="121"/>
                    </a:cubicBezTo>
                    <a:cubicBezTo>
                      <a:pt x="232" y="124"/>
                      <a:pt x="232" y="124"/>
                      <a:pt x="232" y="124"/>
                    </a:cubicBezTo>
                    <a:cubicBezTo>
                      <a:pt x="233" y="121"/>
                      <a:pt x="233" y="121"/>
                      <a:pt x="233" y="121"/>
                    </a:cubicBezTo>
                    <a:cubicBezTo>
                      <a:pt x="232" y="121"/>
                      <a:pt x="232" y="121"/>
                      <a:pt x="232" y="121"/>
                    </a:cubicBezTo>
                    <a:cubicBezTo>
                      <a:pt x="231" y="120"/>
                      <a:pt x="231" y="120"/>
                      <a:pt x="230" y="119"/>
                    </a:cubicBezTo>
                    <a:cubicBezTo>
                      <a:pt x="228" y="118"/>
                      <a:pt x="227" y="117"/>
                      <a:pt x="227" y="117"/>
                    </a:cubicBezTo>
                    <a:cubicBezTo>
                      <a:pt x="226" y="116"/>
                      <a:pt x="226" y="114"/>
                      <a:pt x="226" y="113"/>
                    </a:cubicBezTo>
                    <a:cubicBezTo>
                      <a:pt x="225" y="112"/>
                      <a:pt x="225" y="111"/>
                      <a:pt x="224" y="111"/>
                    </a:cubicBezTo>
                    <a:cubicBezTo>
                      <a:pt x="222" y="110"/>
                      <a:pt x="220" y="110"/>
                      <a:pt x="218" y="110"/>
                    </a:cubicBezTo>
                    <a:cubicBezTo>
                      <a:pt x="217" y="110"/>
                      <a:pt x="216" y="110"/>
                      <a:pt x="215" y="110"/>
                    </a:cubicBezTo>
                    <a:cubicBezTo>
                      <a:pt x="215" y="110"/>
                      <a:pt x="215" y="110"/>
                      <a:pt x="215" y="110"/>
                    </a:cubicBezTo>
                    <a:cubicBezTo>
                      <a:pt x="214" y="110"/>
                      <a:pt x="214" y="110"/>
                      <a:pt x="214" y="110"/>
                    </a:cubicBezTo>
                    <a:cubicBezTo>
                      <a:pt x="214" y="111"/>
                      <a:pt x="214" y="112"/>
                      <a:pt x="213" y="113"/>
                    </a:cubicBezTo>
                    <a:cubicBezTo>
                      <a:pt x="213" y="114"/>
                      <a:pt x="213" y="114"/>
                      <a:pt x="213" y="114"/>
                    </a:cubicBezTo>
                    <a:cubicBezTo>
                      <a:pt x="212" y="114"/>
                      <a:pt x="212" y="115"/>
                      <a:pt x="211" y="115"/>
                    </a:cubicBezTo>
                    <a:cubicBezTo>
                      <a:pt x="210" y="116"/>
                      <a:pt x="209" y="116"/>
                      <a:pt x="208" y="116"/>
                    </a:cubicBezTo>
                    <a:cubicBezTo>
                      <a:pt x="207" y="116"/>
                      <a:pt x="207" y="116"/>
                      <a:pt x="206" y="116"/>
                    </a:cubicBezTo>
                    <a:cubicBezTo>
                      <a:pt x="206" y="116"/>
                      <a:pt x="206" y="116"/>
                      <a:pt x="206" y="116"/>
                    </a:cubicBezTo>
                    <a:cubicBezTo>
                      <a:pt x="203" y="116"/>
                      <a:pt x="202" y="114"/>
                      <a:pt x="201" y="113"/>
                    </a:cubicBezTo>
                    <a:cubicBezTo>
                      <a:pt x="200" y="112"/>
                      <a:pt x="199" y="111"/>
                      <a:pt x="199" y="111"/>
                    </a:cubicBezTo>
                    <a:cubicBezTo>
                      <a:pt x="199" y="110"/>
                      <a:pt x="199" y="110"/>
                      <a:pt x="199" y="110"/>
                    </a:cubicBezTo>
                    <a:cubicBezTo>
                      <a:pt x="198" y="111"/>
                      <a:pt x="198" y="111"/>
                      <a:pt x="198" y="111"/>
                    </a:cubicBezTo>
                    <a:cubicBezTo>
                      <a:pt x="195" y="111"/>
                      <a:pt x="195" y="111"/>
                      <a:pt x="195" y="111"/>
                    </a:cubicBezTo>
                    <a:cubicBezTo>
                      <a:pt x="193" y="111"/>
                      <a:pt x="191" y="111"/>
                      <a:pt x="189" y="112"/>
                    </a:cubicBezTo>
                    <a:cubicBezTo>
                      <a:pt x="188" y="112"/>
                      <a:pt x="188" y="112"/>
                      <a:pt x="188" y="112"/>
                    </a:cubicBezTo>
                    <a:cubicBezTo>
                      <a:pt x="188" y="113"/>
                      <a:pt x="187" y="114"/>
                      <a:pt x="186" y="115"/>
                    </a:cubicBezTo>
                    <a:cubicBezTo>
                      <a:pt x="185" y="116"/>
                      <a:pt x="184" y="116"/>
                      <a:pt x="183" y="116"/>
                    </a:cubicBezTo>
                    <a:cubicBezTo>
                      <a:pt x="182" y="116"/>
                      <a:pt x="182" y="116"/>
                      <a:pt x="182" y="117"/>
                    </a:cubicBezTo>
                    <a:cubicBezTo>
                      <a:pt x="182" y="117"/>
                      <a:pt x="182" y="118"/>
                      <a:pt x="181" y="119"/>
                    </a:cubicBezTo>
                    <a:cubicBezTo>
                      <a:pt x="180" y="120"/>
                      <a:pt x="179" y="121"/>
                      <a:pt x="178" y="121"/>
                    </a:cubicBezTo>
                    <a:cubicBezTo>
                      <a:pt x="178" y="122"/>
                      <a:pt x="177" y="122"/>
                      <a:pt x="176" y="122"/>
                    </a:cubicBezTo>
                    <a:cubicBezTo>
                      <a:pt x="176" y="122"/>
                      <a:pt x="176" y="122"/>
                      <a:pt x="176" y="122"/>
                    </a:cubicBezTo>
                    <a:cubicBezTo>
                      <a:pt x="176" y="123"/>
                      <a:pt x="176" y="123"/>
                      <a:pt x="176" y="123"/>
                    </a:cubicBezTo>
                    <a:cubicBezTo>
                      <a:pt x="174" y="124"/>
                      <a:pt x="174" y="124"/>
                      <a:pt x="173" y="124"/>
                    </a:cubicBezTo>
                    <a:cubicBezTo>
                      <a:pt x="173" y="124"/>
                      <a:pt x="172" y="124"/>
                      <a:pt x="172" y="124"/>
                    </a:cubicBezTo>
                    <a:cubicBezTo>
                      <a:pt x="170" y="124"/>
                      <a:pt x="168" y="123"/>
                      <a:pt x="165" y="121"/>
                    </a:cubicBezTo>
                    <a:cubicBezTo>
                      <a:pt x="163" y="120"/>
                      <a:pt x="160" y="118"/>
                      <a:pt x="158" y="116"/>
                    </a:cubicBezTo>
                    <a:cubicBezTo>
                      <a:pt x="156" y="115"/>
                      <a:pt x="156" y="115"/>
                      <a:pt x="156" y="115"/>
                    </a:cubicBezTo>
                    <a:cubicBezTo>
                      <a:pt x="155" y="114"/>
                      <a:pt x="155" y="114"/>
                      <a:pt x="155" y="114"/>
                    </a:cubicBezTo>
                    <a:cubicBezTo>
                      <a:pt x="155" y="114"/>
                      <a:pt x="154" y="114"/>
                      <a:pt x="154" y="113"/>
                    </a:cubicBezTo>
                    <a:cubicBezTo>
                      <a:pt x="154" y="114"/>
                      <a:pt x="154" y="114"/>
                      <a:pt x="154" y="115"/>
                    </a:cubicBezTo>
                    <a:cubicBezTo>
                      <a:pt x="154" y="115"/>
                      <a:pt x="154" y="115"/>
                      <a:pt x="154" y="115"/>
                    </a:cubicBezTo>
                    <a:cubicBezTo>
                      <a:pt x="155" y="116"/>
                      <a:pt x="155" y="116"/>
                      <a:pt x="155" y="117"/>
                    </a:cubicBezTo>
                    <a:cubicBezTo>
                      <a:pt x="155" y="118"/>
                      <a:pt x="155" y="118"/>
                      <a:pt x="155" y="118"/>
                    </a:cubicBezTo>
                    <a:cubicBezTo>
                      <a:pt x="155" y="119"/>
                      <a:pt x="155" y="120"/>
                      <a:pt x="154" y="121"/>
                    </a:cubicBezTo>
                    <a:cubicBezTo>
                      <a:pt x="154" y="122"/>
                      <a:pt x="153" y="123"/>
                      <a:pt x="151" y="124"/>
                    </a:cubicBezTo>
                    <a:cubicBezTo>
                      <a:pt x="148" y="126"/>
                      <a:pt x="148" y="126"/>
                      <a:pt x="148" y="126"/>
                    </a:cubicBezTo>
                    <a:cubicBezTo>
                      <a:pt x="147" y="123"/>
                      <a:pt x="147" y="123"/>
                      <a:pt x="147" y="123"/>
                    </a:cubicBezTo>
                    <a:cubicBezTo>
                      <a:pt x="147" y="121"/>
                      <a:pt x="146" y="119"/>
                      <a:pt x="146" y="116"/>
                    </a:cubicBezTo>
                    <a:cubicBezTo>
                      <a:pt x="146" y="115"/>
                      <a:pt x="146" y="115"/>
                      <a:pt x="146" y="115"/>
                    </a:cubicBezTo>
                    <a:cubicBezTo>
                      <a:pt x="146" y="115"/>
                      <a:pt x="145" y="114"/>
                      <a:pt x="145" y="114"/>
                    </a:cubicBezTo>
                    <a:cubicBezTo>
                      <a:pt x="143" y="113"/>
                      <a:pt x="142" y="112"/>
                      <a:pt x="141" y="111"/>
                    </a:cubicBezTo>
                    <a:cubicBezTo>
                      <a:pt x="140" y="110"/>
                      <a:pt x="140" y="110"/>
                      <a:pt x="140" y="110"/>
                    </a:cubicBezTo>
                    <a:cubicBezTo>
                      <a:pt x="136" y="107"/>
                      <a:pt x="132" y="103"/>
                      <a:pt x="128" y="101"/>
                    </a:cubicBezTo>
                    <a:cubicBezTo>
                      <a:pt x="127" y="101"/>
                      <a:pt x="125" y="100"/>
                      <a:pt x="122" y="100"/>
                    </a:cubicBezTo>
                    <a:cubicBezTo>
                      <a:pt x="122" y="100"/>
                      <a:pt x="122" y="100"/>
                      <a:pt x="121" y="100"/>
                    </a:cubicBezTo>
                    <a:cubicBezTo>
                      <a:pt x="119" y="100"/>
                      <a:pt x="118" y="100"/>
                      <a:pt x="116" y="101"/>
                    </a:cubicBezTo>
                    <a:cubicBezTo>
                      <a:pt x="116" y="101"/>
                      <a:pt x="116" y="101"/>
                      <a:pt x="116" y="101"/>
                    </a:cubicBezTo>
                    <a:cubicBezTo>
                      <a:pt x="115" y="101"/>
                      <a:pt x="115" y="101"/>
                      <a:pt x="115" y="101"/>
                    </a:cubicBezTo>
                    <a:cubicBezTo>
                      <a:pt x="115" y="101"/>
                      <a:pt x="114" y="101"/>
                      <a:pt x="113" y="101"/>
                    </a:cubicBezTo>
                    <a:cubicBezTo>
                      <a:pt x="112" y="101"/>
                      <a:pt x="112" y="101"/>
                      <a:pt x="112" y="101"/>
                    </a:cubicBezTo>
                    <a:cubicBezTo>
                      <a:pt x="112" y="101"/>
                      <a:pt x="112" y="101"/>
                      <a:pt x="112" y="101"/>
                    </a:cubicBezTo>
                    <a:cubicBezTo>
                      <a:pt x="111" y="101"/>
                      <a:pt x="111" y="101"/>
                      <a:pt x="111" y="101"/>
                    </a:cubicBezTo>
                    <a:cubicBezTo>
                      <a:pt x="111" y="101"/>
                      <a:pt x="111" y="101"/>
                      <a:pt x="111" y="101"/>
                    </a:cubicBezTo>
                    <a:cubicBezTo>
                      <a:pt x="110" y="100"/>
                      <a:pt x="110" y="100"/>
                      <a:pt x="110" y="100"/>
                    </a:cubicBezTo>
                    <a:cubicBezTo>
                      <a:pt x="109" y="99"/>
                      <a:pt x="109" y="99"/>
                      <a:pt x="109" y="99"/>
                    </a:cubicBezTo>
                    <a:cubicBezTo>
                      <a:pt x="109" y="99"/>
                      <a:pt x="109" y="98"/>
                      <a:pt x="108" y="98"/>
                    </a:cubicBezTo>
                    <a:cubicBezTo>
                      <a:pt x="108" y="97"/>
                      <a:pt x="108" y="97"/>
                      <a:pt x="108" y="97"/>
                    </a:cubicBezTo>
                    <a:cubicBezTo>
                      <a:pt x="108" y="96"/>
                      <a:pt x="107" y="95"/>
                      <a:pt x="107" y="94"/>
                    </a:cubicBezTo>
                    <a:cubicBezTo>
                      <a:pt x="105" y="96"/>
                      <a:pt x="103" y="96"/>
                      <a:pt x="100" y="96"/>
                    </a:cubicBezTo>
                    <a:cubicBezTo>
                      <a:pt x="100" y="97"/>
                      <a:pt x="100" y="97"/>
                      <a:pt x="100" y="97"/>
                    </a:cubicBezTo>
                    <a:cubicBezTo>
                      <a:pt x="100" y="97"/>
                      <a:pt x="100" y="97"/>
                      <a:pt x="100" y="97"/>
                    </a:cubicBezTo>
                    <a:cubicBezTo>
                      <a:pt x="100" y="98"/>
                      <a:pt x="100" y="98"/>
                      <a:pt x="100" y="98"/>
                    </a:cubicBezTo>
                    <a:cubicBezTo>
                      <a:pt x="100" y="99"/>
                      <a:pt x="99" y="99"/>
                      <a:pt x="99" y="100"/>
                    </a:cubicBezTo>
                    <a:cubicBezTo>
                      <a:pt x="98" y="100"/>
                      <a:pt x="98" y="100"/>
                      <a:pt x="98" y="100"/>
                    </a:cubicBezTo>
                    <a:cubicBezTo>
                      <a:pt x="97" y="101"/>
                      <a:pt x="96" y="101"/>
                      <a:pt x="95" y="101"/>
                    </a:cubicBezTo>
                    <a:cubicBezTo>
                      <a:pt x="95" y="101"/>
                      <a:pt x="95" y="101"/>
                      <a:pt x="95" y="101"/>
                    </a:cubicBezTo>
                    <a:cubicBezTo>
                      <a:pt x="94" y="101"/>
                      <a:pt x="94" y="101"/>
                      <a:pt x="93" y="101"/>
                    </a:cubicBezTo>
                    <a:cubicBezTo>
                      <a:pt x="93" y="101"/>
                      <a:pt x="92" y="101"/>
                      <a:pt x="92" y="101"/>
                    </a:cubicBezTo>
                    <a:cubicBezTo>
                      <a:pt x="90" y="105"/>
                      <a:pt x="90" y="105"/>
                      <a:pt x="90" y="105"/>
                    </a:cubicBezTo>
                    <a:cubicBezTo>
                      <a:pt x="91" y="101"/>
                      <a:pt x="91" y="101"/>
                      <a:pt x="91" y="101"/>
                    </a:cubicBezTo>
                    <a:cubicBezTo>
                      <a:pt x="91" y="101"/>
                      <a:pt x="91" y="101"/>
                      <a:pt x="91" y="101"/>
                    </a:cubicBezTo>
                    <a:cubicBezTo>
                      <a:pt x="89" y="100"/>
                      <a:pt x="88" y="99"/>
                      <a:pt x="87" y="98"/>
                    </a:cubicBezTo>
                    <a:cubicBezTo>
                      <a:pt x="86" y="96"/>
                      <a:pt x="86" y="96"/>
                      <a:pt x="86" y="96"/>
                    </a:cubicBezTo>
                    <a:cubicBezTo>
                      <a:pt x="86" y="96"/>
                      <a:pt x="86" y="96"/>
                      <a:pt x="86" y="96"/>
                    </a:cubicBezTo>
                    <a:cubicBezTo>
                      <a:pt x="86" y="96"/>
                      <a:pt x="85" y="95"/>
                      <a:pt x="84" y="95"/>
                    </a:cubicBezTo>
                    <a:cubicBezTo>
                      <a:pt x="84" y="95"/>
                      <a:pt x="83" y="95"/>
                      <a:pt x="82" y="95"/>
                    </a:cubicBezTo>
                    <a:cubicBezTo>
                      <a:pt x="82" y="95"/>
                      <a:pt x="82" y="94"/>
                      <a:pt x="81" y="94"/>
                    </a:cubicBezTo>
                    <a:cubicBezTo>
                      <a:pt x="81" y="95"/>
                      <a:pt x="81" y="95"/>
                      <a:pt x="81" y="95"/>
                    </a:cubicBezTo>
                    <a:cubicBezTo>
                      <a:pt x="81" y="96"/>
                      <a:pt x="81" y="96"/>
                      <a:pt x="81" y="96"/>
                    </a:cubicBezTo>
                    <a:cubicBezTo>
                      <a:pt x="81" y="97"/>
                      <a:pt x="80" y="98"/>
                      <a:pt x="78" y="98"/>
                    </a:cubicBezTo>
                    <a:cubicBezTo>
                      <a:pt x="77" y="98"/>
                      <a:pt x="77" y="98"/>
                      <a:pt x="77" y="98"/>
                    </a:cubicBezTo>
                    <a:cubicBezTo>
                      <a:pt x="76" y="98"/>
                      <a:pt x="76" y="98"/>
                      <a:pt x="76" y="98"/>
                    </a:cubicBezTo>
                    <a:cubicBezTo>
                      <a:pt x="75" y="98"/>
                      <a:pt x="75" y="98"/>
                      <a:pt x="74" y="100"/>
                    </a:cubicBezTo>
                    <a:cubicBezTo>
                      <a:pt x="73" y="102"/>
                      <a:pt x="73" y="102"/>
                      <a:pt x="73" y="102"/>
                    </a:cubicBezTo>
                    <a:cubicBezTo>
                      <a:pt x="73" y="103"/>
                      <a:pt x="73" y="103"/>
                      <a:pt x="72" y="104"/>
                    </a:cubicBezTo>
                    <a:cubicBezTo>
                      <a:pt x="71" y="105"/>
                      <a:pt x="69" y="106"/>
                      <a:pt x="67" y="107"/>
                    </a:cubicBezTo>
                    <a:cubicBezTo>
                      <a:pt x="67" y="107"/>
                      <a:pt x="67" y="107"/>
                      <a:pt x="67" y="107"/>
                    </a:cubicBezTo>
                    <a:cubicBezTo>
                      <a:pt x="66" y="107"/>
                      <a:pt x="66" y="107"/>
                      <a:pt x="66" y="107"/>
                    </a:cubicBezTo>
                    <a:cubicBezTo>
                      <a:pt x="55" y="112"/>
                      <a:pt x="55" y="112"/>
                      <a:pt x="55" y="112"/>
                    </a:cubicBezTo>
                    <a:cubicBezTo>
                      <a:pt x="55" y="113"/>
                      <a:pt x="55" y="114"/>
                      <a:pt x="54" y="115"/>
                    </a:cubicBezTo>
                    <a:cubicBezTo>
                      <a:pt x="54" y="116"/>
                      <a:pt x="54" y="116"/>
                      <a:pt x="54" y="116"/>
                    </a:cubicBezTo>
                    <a:cubicBezTo>
                      <a:pt x="53" y="117"/>
                      <a:pt x="52" y="117"/>
                      <a:pt x="48" y="118"/>
                    </a:cubicBezTo>
                    <a:cubicBezTo>
                      <a:pt x="48" y="119"/>
                      <a:pt x="48" y="119"/>
                      <a:pt x="48" y="119"/>
                    </a:cubicBezTo>
                    <a:cubicBezTo>
                      <a:pt x="48" y="119"/>
                      <a:pt x="47" y="119"/>
                      <a:pt x="47" y="119"/>
                    </a:cubicBezTo>
                    <a:cubicBezTo>
                      <a:pt x="46" y="119"/>
                      <a:pt x="46" y="119"/>
                      <a:pt x="46" y="119"/>
                    </a:cubicBezTo>
                    <a:cubicBezTo>
                      <a:pt x="46" y="118"/>
                      <a:pt x="46" y="118"/>
                      <a:pt x="46" y="118"/>
                    </a:cubicBezTo>
                    <a:cubicBezTo>
                      <a:pt x="46" y="119"/>
                      <a:pt x="46" y="119"/>
                      <a:pt x="46" y="119"/>
                    </a:cubicBezTo>
                    <a:cubicBezTo>
                      <a:pt x="46" y="120"/>
                      <a:pt x="46" y="120"/>
                      <a:pt x="46" y="120"/>
                    </a:cubicBezTo>
                    <a:cubicBezTo>
                      <a:pt x="45" y="120"/>
                      <a:pt x="45" y="120"/>
                      <a:pt x="45" y="120"/>
                    </a:cubicBezTo>
                    <a:cubicBezTo>
                      <a:pt x="43" y="121"/>
                      <a:pt x="42" y="122"/>
                      <a:pt x="40" y="122"/>
                    </a:cubicBezTo>
                    <a:cubicBezTo>
                      <a:pt x="40" y="123"/>
                      <a:pt x="40" y="123"/>
                      <a:pt x="40" y="123"/>
                    </a:cubicBezTo>
                    <a:cubicBezTo>
                      <a:pt x="41" y="124"/>
                      <a:pt x="41" y="125"/>
                      <a:pt x="41" y="126"/>
                    </a:cubicBezTo>
                    <a:cubicBezTo>
                      <a:pt x="41" y="127"/>
                      <a:pt x="41" y="127"/>
                      <a:pt x="41" y="127"/>
                    </a:cubicBezTo>
                    <a:cubicBezTo>
                      <a:pt x="42" y="127"/>
                      <a:pt x="42" y="128"/>
                      <a:pt x="42" y="128"/>
                    </a:cubicBezTo>
                    <a:cubicBezTo>
                      <a:pt x="42" y="129"/>
                      <a:pt x="42" y="129"/>
                      <a:pt x="42" y="129"/>
                    </a:cubicBezTo>
                    <a:cubicBezTo>
                      <a:pt x="42" y="129"/>
                      <a:pt x="43" y="130"/>
                      <a:pt x="43" y="130"/>
                    </a:cubicBezTo>
                    <a:cubicBezTo>
                      <a:pt x="43" y="131"/>
                      <a:pt x="43" y="131"/>
                      <a:pt x="43" y="131"/>
                    </a:cubicBezTo>
                    <a:cubicBezTo>
                      <a:pt x="43" y="131"/>
                      <a:pt x="43" y="131"/>
                      <a:pt x="43" y="131"/>
                    </a:cubicBezTo>
                    <a:cubicBezTo>
                      <a:pt x="43" y="131"/>
                      <a:pt x="43" y="131"/>
                      <a:pt x="43" y="131"/>
                    </a:cubicBezTo>
                    <a:cubicBezTo>
                      <a:pt x="43" y="132"/>
                      <a:pt x="44" y="132"/>
                      <a:pt x="44" y="132"/>
                    </a:cubicBezTo>
                    <a:cubicBezTo>
                      <a:pt x="45" y="133"/>
                      <a:pt x="45" y="134"/>
                      <a:pt x="45" y="135"/>
                    </a:cubicBezTo>
                    <a:cubicBezTo>
                      <a:pt x="45" y="136"/>
                      <a:pt x="44" y="137"/>
                      <a:pt x="43" y="138"/>
                    </a:cubicBezTo>
                    <a:cubicBezTo>
                      <a:pt x="42" y="139"/>
                      <a:pt x="40" y="140"/>
                      <a:pt x="37" y="141"/>
                    </a:cubicBezTo>
                    <a:cubicBezTo>
                      <a:pt x="37" y="141"/>
                      <a:pt x="36" y="142"/>
                      <a:pt x="36" y="142"/>
                    </a:cubicBezTo>
                    <a:cubicBezTo>
                      <a:pt x="35" y="142"/>
                      <a:pt x="34" y="142"/>
                      <a:pt x="34" y="142"/>
                    </a:cubicBezTo>
                    <a:cubicBezTo>
                      <a:pt x="32" y="142"/>
                      <a:pt x="31" y="141"/>
                      <a:pt x="30" y="140"/>
                    </a:cubicBezTo>
                    <a:cubicBezTo>
                      <a:pt x="29" y="139"/>
                      <a:pt x="28" y="138"/>
                      <a:pt x="26" y="136"/>
                    </a:cubicBezTo>
                    <a:cubicBezTo>
                      <a:pt x="25" y="135"/>
                      <a:pt x="25" y="135"/>
                      <a:pt x="25" y="135"/>
                    </a:cubicBezTo>
                    <a:cubicBezTo>
                      <a:pt x="25" y="135"/>
                      <a:pt x="25" y="135"/>
                      <a:pt x="24" y="134"/>
                    </a:cubicBezTo>
                    <a:cubicBezTo>
                      <a:pt x="24" y="133"/>
                      <a:pt x="24" y="133"/>
                      <a:pt x="24" y="133"/>
                    </a:cubicBezTo>
                    <a:cubicBezTo>
                      <a:pt x="22" y="132"/>
                      <a:pt x="20" y="129"/>
                      <a:pt x="18" y="128"/>
                    </a:cubicBezTo>
                    <a:cubicBezTo>
                      <a:pt x="18" y="128"/>
                      <a:pt x="18" y="128"/>
                      <a:pt x="18" y="128"/>
                    </a:cubicBezTo>
                    <a:cubicBezTo>
                      <a:pt x="17" y="128"/>
                      <a:pt x="16" y="129"/>
                      <a:pt x="16" y="129"/>
                    </a:cubicBezTo>
                    <a:cubicBezTo>
                      <a:pt x="16" y="129"/>
                      <a:pt x="16" y="129"/>
                      <a:pt x="16" y="129"/>
                    </a:cubicBezTo>
                    <a:cubicBezTo>
                      <a:pt x="16" y="129"/>
                      <a:pt x="16" y="130"/>
                      <a:pt x="16" y="131"/>
                    </a:cubicBezTo>
                    <a:cubicBezTo>
                      <a:pt x="15" y="132"/>
                      <a:pt x="15" y="134"/>
                      <a:pt x="14" y="135"/>
                    </a:cubicBezTo>
                    <a:cubicBezTo>
                      <a:pt x="14" y="136"/>
                      <a:pt x="14" y="136"/>
                      <a:pt x="14" y="136"/>
                    </a:cubicBezTo>
                    <a:cubicBezTo>
                      <a:pt x="13" y="137"/>
                      <a:pt x="13" y="137"/>
                      <a:pt x="13" y="137"/>
                    </a:cubicBezTo>
                    <a:cubicBezTo>
                      <a:pt x="12" y="138"/>
                      <a:pt x="12" y="138"/>
                      <a:pt x="12" y="138"/>
                    </a:cubicBezTo>
                    <a:cubicBezTo>
                      <a:pt x="12" y="138"/>
                      <a:pt x="12" y="138"/>
                      <a:pt x="12" y="138"/>
                    </a:cubicBezTo>
                    <a:cubicBezTo>
                      <a:pt x="11" y="139"/>
                      <a:pt x="9" y="140"/>
                      <a:pt x="9" y="140"/>
                    </a:cubicBezTo>
                    <a:cubicBezTo>
                      <a:pt x="7" y="141"/>
                      <a:pt x="7" y="141"/>
                      <a:pt x="7" y="141"/>
                    </a:cubicBezTo>
                    <a:cubicBezTo>
                      <a:pt x="6" y="143"/>
                      <a:pt x="6" y="143"/>
                      <a:pt x="6" y="143"/>
                    </a:cubicBezTo>
                    <a:cubicBezTo>
                      <a:pt x="6" y="143"/>
                      <a:pt x="6" y="144"/>
                      <a:pt x="6" y="144"/>
                    </a:cubicBezTo>
                    <a:cubicBezTo>
                      <a:pt x="5" y="148"/>
                      <a:pt x="5" y="148"/>
                      <a:pt x="5" y="148"/>
                    </a:cubicBezTo>
                    <a:cubicBezTo>
                      <a:pt x="5" y="149"/>
                      <a:pt x="5" y="149"/>
                      <a:pt x="5" y="150"/>
                    </a:cubicBezTo>
                    <a:cubicBezTo>
                      <a:pt x="5" y="150"/>
                      <a:pt x="5" y="150"/>
                      <a:pt x="5" y="150"/>
                    </a:cubicBezTo>
                    <a:cubicBezTo>
                      <a:pt x="6" y="151"/>
                      <a:pt x="6" y="151"/>
                      <a:pt x="6" y="151"/>
                    </a:cubicBezTo>
                    <a:cubicBezTo>
                      <a:pt x="6" y="151"/>
                      <a:pt x="6" y="151"/>
                      <a:pt x="6" y="151"/>
                    </a:cubicBezTo>
                    <a:cubicBezTo>
                      <a:pt x="7" y="152"/>
                      <a:pt x="7" y="152"/>
                      <a:pt x="7" y="152"/>
                    </a:cubicBezTo>
                    <a:cubicBezTo>
                      <a:pt x="11" y="156"/>
                      <a:pt x="8" y="159"/>
                      <a:pt x="8" y="161"/>
                    </a:cubicBezTo>
                    <a:cubicBezTo>
                      <a:pt x="7" y="161"/>
                      <a:pt x="7" y="161"/>
                      <a:pt x="7" y="162"/>
                    </a:cubicBezTo>
                    <a:cubicBezTo>
                      <a:pt x="5" y="164"/>
                      <a:pt x="3" y="167"/>
                      <a:pt x="1" y="170"/>
                    </a:cubicBezTo>
                    <a:cubicBezTo>
                      <a:pt x="1" y="171"/>
                      <a:pt x="0" y="172"/>
                      <a:pt x="0" y="173"/>
                    </a:cubicBezTo>
                    <a:cubicBezTo>
                      <a:pt x="0" y="173"/>
                      <a:pt x="0" y="173"/>
                      <a:pt x="0" y="173"/>
                    </a:cubicBezTo>
                    <a:cubicBezTo>
                      <a:pt x="2" y="174"/>
                      <a:pt x="2" y="174"/>
                      <a:pt x="2" y="174"/>
                    </a:cubicBezTo>
                    <a:cubicBezTo>
                      <a:pt x="3" y="174"/>
                      <a:pt x="4" y="175"/>
                      <a:pt x="6" y="175"/>
                    </a:cubicBezTo>
                    <a:cubicBezTo>
                      <a:pt x="8" y="176"/>
                      <a:pt x="8" y="176"/>
                      <a:pt x="8" y="176"/>
                    </a:cubicBezTo>
                    <a:cubicBezTo>
                      <a:pt x="8" y="176"/>
                      <a:pt x="9" y="176"/>
                      <a:pt x="9" y="176"/>
                    </a:cubicBezTo>
                    <a:cubicBezTo>
                      <a:pt x="12" y="178"/>
                      <a:pt x="11" y="181"/>
                      <a:pt x="11" y="184"/>
                    </a:cubicBezTo>
                    <a:cubicBezTo>
                      <a:pt x="11" y="184"/>
                      <a:pt x="11" y="185"/>
                      <a:pt x="11" y="185"/>
                    </a:cubicBezTo>
                    <a:cubicBezTo>
                      <a:pt x="11" y="188"/>
                      <a:pt x="11" y="188"/>
                      <a:pt x="12" y="189"/>
                    </a:cubicBezTo>
                    <a:cubicBezTo>
                      <a:pt x="13" y="189"/>
                      <a:pt x="14" y="190"/>
                      <a:pt x="15" y="190"/>
                    </a:cubicBezTo>
                    <a:cubicBezTo>
                      <a:pt x="16" y="190"/>
                      <a:pt x="16" y="190"/>
                      <a:pt x="17" y="189"/>
                    </a:cubicBezTo>
                    <a:cubicBezTo>
                      <a:pt x="17" y="189"/>
                      <a:pt x="18" y="189"/>
                      <a:pt x="18" y="189"/>
                    </a:cubicBezTo>
                    <a:cubicBezTo>
                      <a:pt x="19" y="189"/>
                      <a:pt x="19" y="189"/>
                      <a:pt x="19" y="189"/>
                    </a:cubicBezTo>
                    <a:cubicBezTo>
                      <a:pt x="20" y="189"/>
                      <a:pt x="22" y="188"/>
                      <a:pt x="23" y="188"/>
                    </a:cubicBezTo>
                    <a:cubicBezTo>
                      <a:pt x="24" y="188"/>
                      <a:pt x="25" y="188"/>
                      <a:pt x="25" y="188"/>
                    </a:cubicBezTo>
                    <a:cubicBezTo>
                      <a:pt x="26" y="188"/>
                      <a:pt x="27" y="188"/>
                      <a:pt x="28" y="188"/>
                    </a:cubicBezTo>
                    <a:cubicBezTo>
                      <a:pt x="28" y="188"/>
                      <a:pt x="29" y="189"/>
                      <a:pt x="29" y="189"/>
                    </a:cubicBezTo>
                    <a:cubicBezTo>
                      <a:pt x="31" y="190"/>
                      <a:pt x="32" y="192"/>
                      <a:pt x="33" y="193"/>
                    </a:cubicBezTo>
                    <a:cubicBezTo>
                      <a:pt x="33" y="194"/>
                      <a:pt x="34" y="195"/>
                      <a:pt x="35" y="196"/>
                    </a:cubicBezTo>
                    <a:cubicBezTo>
                      <a:pt x="38" y="200"/>
                      <a:pt x="38" y="200"/>
                      <a:pt x="38" y="200"/>
                    </a:cubicBezTo>
                    <a:cubicBezTo>
                      <a:pt x="39" y="202"/>
                      <a:pt x="40" y="204"/>
                      <a:pt x="41" y="206"/>
                    </a:cubicBezTo>
                    <a:cubicBezTo>
                      <a:pt x="42" y="206"/>
                      <a:pt x="42" y="206"/>
                      <a:pt x="42" y="207"/>
                    </a:cubicBezTo>
                    <a:cubicBezTo>
                      <a:pt x="43" y="207"/>
                      <a:pt x="43" y="207"/>
                      <a:pt x="43" y="207"/>
                    </a:cubicBezTo>
                    <a:cubicBezTo>
                      <a:pt x="44" y="209"/>
                      <a:pt x="46" y="211"/>
                      <a:pt x="47" y="214"/>
                    </a:cubicBezTo>
                    <a:cubicBezTo>
                      <a:pt x="48" y="214"/>
                      <a:pt x="48" y="214"/>
                      <a:pt x="48" y="214"/>
                    </a:cubicBezTo>
                    <a:cubicBezTo>
                      <a:pt x="47" y="215"/>
                      <a:pt x="47" y="215"/>
                      <a:pt x="47" y="215"/>
                    </a:cubicBezTo>
                    <a:cubicBezTo>
                      <a:pt x="47" y="215"/>
                      <a:pt x="47" y="215"/>
                      <a:pt x="47" y="215"/>
                    </a:cubicBezTo>
                    <a:cubicBezTo>
                      <a:pt x="47" y="216"/>
                      <a:pt x="47" y="216"/>
                      <a:pt x="47" y="216"/>
                    </a:cubicBezTo>
                    <a:cubicBezTo>
                      <a:pt x="46" y="217"/>
                      <a:pt x="46" y="217"/>
                      <a:pt x="46" y="217"/>
                    </a:cubicBezTo>
                    <a:cubicBezTo>
                      <a:pt x="44" y="218"/>
                      <a:pt x="44" y="218"/>
                      <a:pt x="44" y="218"/>
                    </a:cubicBezTo>
                    <a:cubicBezTo>
                      <a:pt x="44" y="218"/>
                      <a:pt x="44" y="218"/>
                      <a:pt x="44" y="218"/>
                    </a:cubicBezTo>
                    <a:cubicBezTo>
                      <a:pt x="44" y="218"/>
                      <a:pt x="44" y="218"/>
                      <a:pt x="44" y="218"/>
                    </a:cubicBezTo>
                    <a:cubicBezTo>
                      <a:pt x="43" y="218"/>
                      <a:pt x="43" y="218"/>
                      <a:pt x="43" y="218"/>
                    </a:cubicBezTo>
                    <a:cubicBezTo>
                      <a:pt x="43" y="219"/>
                      <a:pt x="42" y="219"/>
                      <a:pt x="42" y="219"/>
                    </a:cubicBezTo>
                    <a:cubicBezTo>
                      <a:pt x="42" y="219"/>
                      <a:pt x="42" y="219"/>
                      <a:pt x="42" y="219"/>
                    </a:cubicBezTo>
                    <a:cubicBezTo>
                      <a:pt x="43" y="219"/>
                      <a:pt x="43" y="219"/>
                      <a:pt x="43" y="219"/>
                    </a:cubicBezTo>
                    <a:cubicBezTo>
                      <a:pt x="44" y="220"/>
                      <a:pt x="46" y="221"/>
                      <a:pt x="47" y="222"/>
                    </a:cubicBezTo>
                    <a:cubicBezTo>
                      <a:pt x="48" y="222"/>
                      <a:pt x="48" y="222"/>
                      <a:pt x="49" y="222"/>
                    </a:cubicBezTo>
                    <a:cubicBezTo>
                      <a:pt x="49" y="222"/>
                      <a:pt x="49" y="222"/>
                      <a:pt x="49" y="222"/>
                    </a:cubicBezTo>
                    <a:cubicBezTo>
                      <a:pt x="48" y="222"/>
                      <a:pt x="48" y="222"/>
                      <a:pt x="48" y="222"/>
                    </a:cubicBezTo>
                    <a:cubicBezTo>
                      <a:pt x="49" y="222"/>
                      <a:pt x="49" y="222"/>
                      <a:pt x="49" y="222"/>
                    </a:cubicBezTo>
                    <a:cubicBezTo>
                      <a:pt x="50" y="222"/>
                      <a:pt x="50" y="221"/>
                      <a:pt x="50" y="221"/>
                    </a:cubicBezTo>
                    <a:cubicBezTo>
                      <a:pt x="50" y="221"/>
                      <a:pt x="50" y="221"/>
                      <a:pt x="50" y="221"/>
                    </a:cubicBezTo>
                    <a:cubicBezTo>
                      <a:pt x="50" y="221"/>
                      <a:pt x="50" y="221"/>
                      <a:pt x="50" y="221"/>
                    </a:cubicBezTo>
                    <a:cubicBezTo>
                      <a:pt x="50" y="220"/>
                      <a:pt x="51" y="220"/>
                      <a:pt x="51" y="220"/>
                    </a:cubicBezTo>
                    <a:cubicBezTo>
                      <a:pt x="51" y="220"/>
                      <a:pt x="51" y="220"/>
                      <a:pt x="51" y="220"/>
                    </a:cubicBezTo>
                    <a:cubicBezTo>
                      <a:pt x="50" y="219"/>
                      <a:pt x="50" y="219"/>
                      <a:pt x="50" y="219"/>
                    </a:cubicBezTo>
                    <a:cubicBezTo>
                      <a:pt x="51" y="219"/>
                      <a:pt x="52" y="219"/>
                      <a:pt x="52" y="219"/>
                    </a:cubicBezTo>
                    <a:cubicBezTo>
                      <a:pt x="53" y="219"/>
                      <a:pt x="54" y="219"/>
                      <a:pt x="55" y="219"/>
                    </a:cubicBezTo>
                    <a:cubicBezTo>
                      <a:pt x="56" y="219"/>
                      <a:pt x="57" y="219"/>
                      <a:pt x="58" y="219"/>
                    </a:cubicBezTo>
                    <a:cubicBezTo>
                      <a:pt x="59" y="219"/>
                      <a:pt x="60" y="219"/>
                      <a:pt x="62" y="219"/>
                    </a:cubicBezTo>
                    <a:cubicBezTo>
                      <a:pt x="63" y="218"/>
                      <a:pt x="64" y="217"/>
                      <a:pt x="65" y="216"/>
                    </a:cubicBezTo>
                    <a:cubicBezTo>
                      <a:pt x="66" y="215"/>
                      <a:pt x="68" y="215"/>
                      <a:pt x="69" y="214"/>
                    </a:cubicBezTo>
                    <a:cubicBezTo>
                      <a:pt x="70" y="213"/>
                      <a:pt x="70" y="213"/>
                      <a:pt x="71" y="212"/>
                    </a:cubicBezTo>
                    <a:cubicBezTo>
                      <a:pt x="72" y="212"/>
                      <a:pt x="73" y="212"/>
                      <a:pt x="75" y="211"/>
                    </a:cubicBezTo>
                    <a:cubicBezTo>
                      <a:pt x="75" y="211"/>
                      <a:pt x="78" y="210"/>
                      <a:pt x="79" y="209"/>
                    </a:cubicBezTo>
                    <a:cubicBezTo>
                      <a:pt x="79" y="208"/>
                      <a:pt x="79" y="208"/>
                      <a:pt x="79" y="208"/>
                    </a:cubicBezTo>
                    <a:cubicBezTo>
                      <a:pt x="81" y="208"/>
                      <a:pt x="81" y="208"/>
                      <a:pt x="81" y="208"/>
                    </a:cubicBezTo>
                    <a:cubicBezTo>
                      <a:pt x="82" y="208"/>
                      <a:pt x="83" y="208"/>
                      <a:pt x="84" y="207"/>
                    </a:cubicBezTo>
                    <a:cubicBezTo>
                      <a:pt x="85" y="207"/>
                      <a:pt x="85" y="206"/>
                      <a:pt x="86" y="206"/>
                    </a:cubicBezTo>
                    <a:cubicBezTo>
                      <a:pt x="86" y="206"/>
                      <a:pt x="86" y="206"/>
                      <a:pt x="86" y="206"/>
                    </a:cubicBezTo>
                    <a:cubicBezTo>
                      <a:pt x="89" y="206"/>
                      <a:pt x="92" y="208"/>
                      <a:pt x="94" y="208"/>
                    </a:cubicBezTo>
                    <a:cubicBezTo>
                      <a:pt x="98" y="209"/>
                      <a:pt x="102" y="211"/>
                      <a:pt x="106" y="213"/>
                    </a:cubicBezTo>
                    <a:cubicBezTo>
                      <a:pt x="105" y="213"/>
                      <a:pt x="105" y="212"/>
                      <a:pt x="105" y="212"/>
                    </a:cubicBezTo>
                    <a:cubicBezTo>
                      <a:pt x="105" y="212"/>
                      <a:pt x="106" y="212"/>
                      <a:pt x="106" y="212"/>
                    </a:cubicBezTo>
                    <a:cubicBezTo>
                      <a:pt x="108" y="212"/>
                      <a:pt x="108" y="210"/>
                      <a:pt x="110" y="209"/>
                    </a:cubicBezTo>
                    <a:cubicBezTo>
                      <a:pt x="110" y="209"/>
                      <a:pt x="110" y="209"/>
                      <a:pt x="111" y="209"/>
                    </a:cubicBezTo>
                    <a:cubicBezTo>
                      <a:pt x="112" y="209"/>
                      <a:pt x="114" y="210"/>
                      <a:pt x="115" y="210"/>
                    </a:cubicBezTo>
                    <a:cubicBezTo>
                      <a:pt x="118" y="211"/>
                      <a:pt x="119" y="211"/>
                      <a:pt x="121" y="214"/>
                    </a:cubicBezTo>
                    <a:cubicBezTo>
                      <a:pt x="124" y="219"/>
                      <a:pt x="126" y="224"/>
                      <a:pt x="125" y="229"/>
                    </a:cubicBezTo>
                    <a:cubicBezTo>
                      <a:pt x="125" y="234"/>
                      <a:pt x="122" y="237"/>
                      <a:pt x="121" y="241"/>
                    </a:cubicBezTo>
                    <a:cubicBezTo>
                      <a:pt x="121" y="243"/>
                      <a:pt x="121" y="243"/>
                      <a:pt x="122" y="245"/>
                    </a:cubicBezTo>
                    <a:cubicBezTo>
                      <a:pt x="123" y="248"/>
                      <a:pt x="124" y="247"/>
                      <a:pt x="126" y="248"/>
                    </a:cubicBezTo>
                    <a:cubicBezTo>
                      <a:pt x="128" y="248"/>
                      <a:pt x="129" y="249"/>
                      <a:pt x="131" y="249"/>
                    </a:cubicBezTo>
                    <a:cubicBezTo>
                      <a:pt x="132" y="249"/>
                      <a:pt x="132" y="249"/>
                      <a:pt x="133" y="249"/>
                    </a:cubicBezTo>
                    <a:cubicBezTo>
                      <a:pt x="135" y="248"/>
                      <a:pt x="137" y="248"/>
                      <a:pt x="138" y="247"/>
                    </a:cubicBezTo>
                    <a:cubicBezTo>
                      <a:pt x="139" y="246"/>
                      <a:pt x="138" y="245"/>
                      <a:pt x="140" y="245"/>
                    </a:cubicBezTo>
                    <a:cubicBezTo>
                      <a:pt x="140" y="245"/>
                      <a:pt x="140" y="245"/>
                      <a:pt x="140" y="245"/>
                    </a:cubicBezTo>
                    <a:cubicBezTo>
                      <a:pt x="145" y="245"/>
                      <a:pt x="143" y="250"/>
                      <a:pt x="144" y="252"/>
                    </a:cubicBezTo>
                    <a:cubicBezTo>
                      <a:pt x="145" y="253"/>
                      <a:pt x="146" y="254"/>
                      <a:pt x="146" y="255"/>
                    </a:cubicBezTo>
                    <a:cubicBezTo>
                      <a:pt x="146" y="256"/>
                      <a:pt x="144" y="257"/>
                      <a:pt x="142" y="257"/>
                    </a:cubicBezTo>
                    <a:cubicBezTo>
                      <a:pt x="142" y="257"/>
                      <a:pt x="142" y="257"/>
                      <a:pt x="142" y="257"/>
                    </a:cubicBezTo>
                    <a:cubicBezTo>
                      <a:pt x="142" y="257"/>
                      <a:pt x="141" y="257"/>
                      <a:pt x="141" y="257"/>
                    </a:cubicBezTo>
                    <a:cubicBezTo>
                      <a:pt x="140" y="257"/>
                      <a:pt x="139" y="257"/>
                      <a:pt x="139" y="258"/>
                    </a:cubicBezTo>
                    <a:cubicBezTo>
                      <a:pt x="138" y="258"/>
                      <a:pt x="138" y="258"/>
                      <a:pt x="137" y="258"/>
                    </a:cubicBezTo>
                    <a:cubicBezTo>
                      <a:pt x="137" y="258"/>
                      <a:pt x="137" y="258"/>
                      <a:pt x="136" y="258"/>
                    </a:cubicBezTo>
                    <a:cubicBezTo>
                      <a:pt x="136" y="258"/>
                      <a:pt x="136" y="258"/>
                      <a:pt x="136" y="258"/>
                    </a:cubicBezTo>
                    <a:cubicBezTo>
                      <a:pt x="135" y="258"/>
                      <a:pt x="135" y="258"/>
                      <a:pt x="135" y="258"/>
                    </a:cubicBezTo>
                    <a:cubicBezTo>
                      <a:pt x="132" y="258"/>
                      <a:pt x="130" y="261"/>
                      <a:pt x="129" y="264"/>
                    </a:cubicBezTo>
                    <a:cubicBezTo>
                      <a:pt x="129" y="264"/>
                      <a:pt x="126" y="270"/>
                      <a:pt x="125" y="270"/>
                    </a:cubicBezTo>
                    <a:cubicBezTo>
                      <a:pt x="123" y="270"/>
                      <a:pt x="124" y="268"/>
                      <a:pt x="125" y="267"/>
                    </a:cubicBezTo>
                    <a:cubicBezTo>
                      <a:pt x="126" y="264"/>
                      <a:pt x="128" y="260"/>
                      <a:pt x="131" y="258"/>
                    </a:cubicBezTo>
                    <a:cubicBezTo>
                      <a:pt x="133" y="256"/>
                      <a:pt x="135" y="257"/>
                      <a:pt x="137" y="256"/>
                    </a:cubicBezTo>
                    <a:cubicBezTo>
                      <a:pt x="141" y="255"/>
                      <a:pt x="140" y="251"/>
                      <a:pt x="138" y="251"/>
                    </a:cubicBezTo>
                    <a:cubicBezTo>
                      <a:pt x="137" y="251"/>
                      <a:pt x="137" y="251"/>
                      <a:pt x="136" y="251"/>
                    </a:cubicBezTo>
                    <a:cubicBezTo>
                      <a:pt x="135" y="252"/>
                      <a:pt x="134" y="252"/>
                      <a:pt x="133" y="252"/>
                    </a:cubicBezTo>
                    <a:cubicBezTo>
                      <a:pt x="132" y="252"/>
                      <a:pt x="131" y="252"/>
                      <a:pt x="130" y="251"/>
                    </a:cubicBezTo>
                    <a:cubicBezTo>
                      <a:pt x="128" y="251"/>
                      <a:pt x="125" y="251"/>
                      <a:pt x="122" y="251"/>
                    </a:cubicBezTo>
                    <a:cubicBezTo>
                      <a:pt x="119" y="250"/>
                      <a:pt x="115" y="250"/>
                      <a:pt x="112" y="249"/>
                    </a:cubicBezTo>
                    <a:cubicBezTo>
                      <a:pt x="107" y="249"/>
                      <a:pt x="102" y="249"/>
                      <a:pt x="98" y="247"/>
                    </a:cubicBezTo>
                    <a:cubicBezTo>
                      <a:pt x="98" y="247"/>
                      <a:pt x="97" y="246"/>
                      <a:pt x="97" y="246"/>
                    </a:cubicBezTo>
                    <a:cubicBezTo>
                      <a:pt x="96" y="246"/>
                      <a:pt x="96" y="246"/>
                      <a:pt x="96" y="247"/>
                    </a:cubicBezTo>
                    <a:cubicBezTo>
                      <a:pt x="96" y="247"/>
                      <a:pt x="94" y="249"/>
                      <a:pt x="93" y="249"/>
                    </a:cubicBezTo>
                    <a:cubicBezTo>
                      <a:pt x="93" y="249"/>
                      <a:pt x="93" y="249"/>
                      <a:pt x="93" y="249"/>
                    </a:cubicBezTo>
                    <a:cubicBezTo>
                      <a:pt x="92" y="249"/>
                      <a:pt x="91" y="248"/>
                      <a:pt x="91" y="248"/>
                    </a:cubicBezTo>
                    <a:cubicBezTo>
                      <a:pt x="90" y="248"/>
                      <a:pt x="89" y="250"/>
                      <a:pt x="88" y="251"/>
                    </a:cubicBezTo>
                    <a:cubicBezTo>
                      <a:pt x="87" y="252"/>
                      <a:pt x="87" y="254"/>
                      <a:pt x="86" y="255"/>
                    </a:cubicBezTo>
                    <a:cubicBezTo>
                      <a:pt x="84" y="257"/>
                      <a:pt x="84" y="257"/>
                      <a:pt x="84" y="257"/>
                    </a:cubicBezTo>
                    <a:cubicBezTo>
                      <a:pt x="83" y="257"/>
                      <a:pt x="81" y="257"/>
                      <a:pt x="82" y="258"/>
                    </a:cubicBezTo>
                    <a:cubicBezTo>
                      <a:pt x="83" y="260"/>
                      <a:pt x="85" y="262"/>
                      <a:pt x="87" y="263"/>
                    </a:cubicBezTo>
                    <a:cubicBezTo>
                      <a:pt x="87" y="264"/>
                      <a:pt x="87" y="266"/>
                      <a:pt x="88" y="266"/>
                    </a:cubicBezTo>
                    <a:cubicBezTo>
                      <a:pt x="88" y="266"/>
                      <a:pt x="88" y="266"/>
                      <a:pt x="88" y="266"/>
                    </a:cubicBezTo>
                    <a:cubicBezTo>
                      <a:pt x="89" y="266"/>
                      <a:pt x="89" y="266"/>
                      <a:pt x="89" y="266"/>
                    </a:cubicBezTo>
                    <a:cubicBezTo>
                      <a:pt x="89" y="266"/>
                      <a:pt x="90" y="266"/>
                      <a:pt x="90" y="266"/>
                    </a:cubicBezTo>
                    <a:cubicBezTo>
                      <a:pt x="90" y="266"/>
                      <a:pt x="90" y="266"/>
                      <a:pt x="90" y="266"/>
                    </a:cubicBezTo>
                    <a:cubicBezTo>
                      <a:pt x="90" y="266"/>
                      <a:pt x="92" y="266"/>
                      <a:pt x="93" y="267"/>
                    </a:cubicBezTo>
                    <a:cubicBezTo>
                      <a:pt x="93" y="267"/>
                      <a:pt x="93" y="267"/>
                      <a:pt x="93" y="267"/>
                    </a:cubicBezTo>
                    <a:cubicBezTo>
                      <a:pt x="93" y="267"/>
                      <a:pt x="93" y="267"/>
                      <a:pt x="93" y="267"/>
                    </a:cubicBezTo>
                    <a:cubicBezTo>
                      <a:pt x="93" y="267"/>
                      <a:pt x="92" y="268"/>
                      <a:pt x="92" y="268"/>
                    </a:cubicBezTo>
                    <a:cubicBezTo>
                      <a:pt x="91" y="268"/>
                      <a:pt x="91" y="268"/>
                      <a:pt x="90" y="268"/>
                    </a:cubicBezTo>
                    <a:cubicBezTo>
                      <a:pt x="90" y="268"/>
                      <a:pt x="89" y="268"/>
                      <a:pt x="89" y="267"/>
                    </a:cubicBezTo>
                    <a:cubicBezTo>
                      <a:pt x="89" y="267"/>
                      <a:pt x="89" y="267"/>
                      <a:pt x="89" y="267"/>
                    </a:cubicBezTo>
                    <a:cubicBezTo>
                      <a:pt x="88" y="267"/>
                      <a:pt x="87" y="268"/>
                      <a:pt x="87" y="268"/>
                    </a:cubicBezTo>
                    <a:cubicBezTo>
                      <a:pt x="86" y="269"/>
                      <a:pt x="86" y="269"/>
                      <a:pt x="85" y="269"/>
                    </a:cubicBezTo>
                    <a:cubicBezTo>
                      <a:pt x="84" y="269"/>
                      <a:pt x="83" y="268"/>
                      <a:pt x="81" y="267"/>
                    </a:cubicBezTo>
                    <a:cubicBezTo>
                      <a:pt x="80" y="266"/>
                      <a:pt x="79" y="266"/>
                      <a:pt x="78" y="266"/>
                    </a:cubicBezTo>
                    <a:cubicBezTo>
                      <a:pt x="78" y="266"/>
                      <a:pt x="77" y="266"/>
                      <a:pt x="76" y="266"/>
                    </a:cubicBezTo>
                    <a:cubicBezTo>
                      <a:pt x="75" y="266"/>
                      <a:pt x="72" y="265"/>
                      <a:pt x="70" y="265"/>
                    </a:cubicBezTo>
                    <a:cubicBezTo>
                      <a:pt x="70" y="265"/>
                      <a:pt x="70" y="265"/>
                      <a:pt x="70" y="265"/>
                    </a:cubicBezTo>
                    <a:cubicBezTo>
                      <a:pt x="69" y="265"/>
                      <a:pt x="69" y="266"/>
                      <a:pt x="68" y="267"/>
                    </a:cubicBezTo>
                    <a:cubicBezTo>
                      <a:pt x="68" y="267"/>
                      <a:pt x="68" y="267"/>
                      <a:pt x="68" y="267"/>
                    </a:cubicBezTo>
                    <a:cubicBezTo>
                      <a:pt x="67" y="271"/>
                      <a:pt x="68" y="272"/>
                      <a:pt x="72" y="273"/>
                    </a:cubicBezTo>
                    <a:cubicBezTo>
                      <a:pt x="73" y="274"/>
                      <a:pt x="74" y="274"/>
                      <a:pt x="75" y="274"/>
                    </a:cubicBezTo>
                    <a:cubicBezTo>
                      <a:pt x="82" y="275"/>
                      <a:pt x="82" y="283"/>
                      <a:pt x="85" y="288"/>
                    </a:cubicBezTo>
                    <a:cubicBezTo>
                      <a:pt x="86" y="291"/>
                      <a:pt x="87" y="293"/>
                      <a:pt x="88" y="296"/>
                    </a:cubicBezTo>
                    <a:cubicBezTo>
                      <a:pt x="88" y="297"/>
                      <a:pt x="88" y="297"/>
                      <a:pt x="88" y="298"/>
                    </a:cubicBezTo>
                    <a:cubicBezTo>
                      <a:pt x="88" y="298"/>
                      <a:pt x="87" y="299"/>
                      <a:pt x="87" y="299"/>
                    </a:cubicBezTo>
                    <a:cubicBezTo>
                      <a:pt x="87" y="300"/>
                      <a:pt x="88" y="300"/>
                      <a:pt x="88" y="300"/>
                    </a:cubicBezTo>
                    <a:cubicBezTo>
                      <a:pt x="89" y="300"/>
                      <a:pt x="90" y="300"/>
                      <a:pt x="91" y="300"/>
                    </a:cubicBezTo>
                    <a:cubicBezTo>
                      <a:pt x="91" y="299"/>
                      <a:pt x="92" y="299"/>
                      <a:pt x="93" y="299"/>
                    </a:cubicBezTo>
                    <a:cubicBezTo>
                      <a:pt x="93" y="299"/>
                      <a:pt x="94" y="299"/>
                      <a:pt x="94" y="299"/>
                    </a:cubicBezTo>
                    <a:cubicBezTo>
                      <a:pt x="97" y="300"/>
                      <a:pt x="97" y="305"/>
                      <a:pt x="100" y="306"/>
                    </a:cubicBezTo>
                    <a:cubicBezTo>
                      <a:pt x="100" y="307"/>
                      <a:pt x="100" y="307"/>
                      <a:pt x="101" y="307"/>
                    </a:cubicBezTo>
                    <a:cubicBezTo>
                      <a:pt x="101" y="307"/>
                      <a:pt x="102" y="306"/>
                      <a:pt x="102" y="306"/>
                    </a:cubicBezTo>
                    <a:cubicBezTo>
                      <a:pt x="102" y="306"/>
                      <a:pt x="103" y="306"/>
                      <a:pt x="103" y="306"/>
                    </a:cubicBezTo>
                    <a:cubicBezTo>
                      <a:pt x="104" y="306"/>
                      <a:pt x="104" y="306"/>
                      <a:pt x="104" y="306"/>
                    </a:cubicBezTo>
                    <a:cubicBezTo>
                      <a:pt x="105" y="306"/>
                      <a:pt x="105" y="306"/>
                      <a:pt x="106" y="307"/>
                    </a:cubicBezTo>
                    <a:cubicBezTo>
                      <a:pt x="106" y="308"/>
                      <a:pt x="106" y="308"/>
                      <a:pt x="106" y="308"/>
                    </a:cubicBezTo>
                    <a:cubicBezTo>
                      <a:pt x="107" y="308"/>
                      <a:pt x="107" y="308"/>
                      <a:pt x="107" y="308"/>
                    </a:cubicBezTo>
                    <a:cubicBezTo>
                      <a:pt x="107" y="308"/>
                      <a:pt x="107" y="308"/>
                      <a:pt x="107" y="308"/>
                    </a:cubicBezTo>
                    <a:cubicBezTo>
                      <a:pt x="107" y="308"/>
                      <a:pt x="107" y="308"/>
                      <a:pt x="107" y="308"/>
                    </a:cubicBezTo>
                    <a:cubicBezTo>
                      <a:pt x="107" y="308"/>
                      <a:pt x="107" y="308"/>
                      <a:pt x="107" y="308"/>
                    </a:cubicBezTo>
                    <a:cubicBezTo>
                      <a:pt x="107" y="308"/>
                      <a:pt x="108" y="308"/>
                      <a:pt x="108" y="308"/>
                    </a:cubicBezTo>
                    <a:cubicBezTo>
                      <a:pt x="108" y="308"/>
                      <a:pt x="109" y="308"/>
                      <a:pt x="109" y="307"/>
                    </a:cubicBezTo>
                    <a:cubicBezTo>
                      <a:pt x="109" y="307"/>
                      <a:pt x="110" y="307"/>
                      <a:pt x="110" y="307"/>
                    </a:cubicBezTo>
                    <a:cubicBezTo>
                      <a:pt x="110" y="307"/>
                      <a:pt x="111" y="307"/>
                      <a:pt x="111" y="308"/>
                    </a:cubicBezTo>
                    <a:cubicBezTo>
                      <a:pt x="113" y="308"/>
                      <a:pt x="114" y="309"/>
                      <a:pt x="115" y="310"/>
                    </a:cubicBezTo>
                    <a:cubicBezTo>
                      <a:pt x="115" y="310"/>
                      <a:pt x="114" y="310"/>
                      <a:pt x="113" y="310"/>
                    </a:cubicBezTo>
                    <a:cubicBezTo>
                      <a:pt x="113" y="310"/>
                      <a:pt x="113" y="310"/>
                      <a:pt x="113" y="310"/>
                    </a:cubicBezTo>
                    <a:cubicBezTo>
                      <a:pt x="115" y="313"/>
                      <a:pt x="114" y="315"/>
                      <a:pt x="112" y="318"/>
                    </a:cubicBezTo>
                    <a:cubicBezTo>
                      <a:pt x="111" y="320"/>
                      <a:pt x="110" y="322"/>
                      <a:pt x="109" y="323"/>
                    </a:cubicBezTo>
                    <a:cubicBezTo>
                      <a:pt x="109" y="325"/>
                      <a:pt x="109" y="327"/>
                      <a:pt x="109" y="329"/>
                    </a:cubicBezTo>
                    <a:cubicBezTo>
                      <a:pt x="110" y="329"/>
                      <a:pt x="110" y="328"/>
                      <a:pt x="111" y="328"/>
                    </a:cubicBezTo>
                    <a:cubicBezTo>
                      <a:pt x="112" y="327"/>
                      <a:pt x="113" y="326"/>
                      <a:pt x="114" y="325"/>
                    </a:cubicBezTo>
                    <a:cubicBezTo>
                      <a:pt x="116" y="324"/>
                      <a:pt x="117" y="323"/>
                      <a:pt x="118" y="322"/>
                    </a:cubicBezTo>
                    <a:cubicBezTo>
                      <a:pt x="122" y="320"/>
                      <a:pt x="127" y="318"/>
                      <a:pt x="131" y="317"/>
                    </a:cubicBezTo>
                    <a:cubicBezTo>
                      <a:pt x="133" y="317"/>
                      <a:pt x="135" y="317"/>
                      <a:pt x="137" y="316"/>
                    </a:cubicBezTo>
                    <a:cubicBezTo>
                      <a:pt x="138" y="316"/>
                      <a:pt x="138" y="316"/>
                      <a:pt x="138" y="316"/>
                    </a:cubicBezTo>
                    <a:cubicBezTo>
                      <a:pt x="139" y="316"/>
                      <a:pt x="140" y="316"/>
                      <a:pt x="141" y="316"/>
                    </a:cubicBezTo>
                    <a:cubicBezTo>
                      <a:pt x="141" y="316"/>
                      <a:pt x="142" y="316"/>
                      <a:pt x="142" y="316"/>
                    </a:cubicBezTo>
                    <a:cubicBezTo>
                      <a:pt x="144" y="316"/>
                      <a:pt x="145" y="317"/>
                      <a:pt x="146" y="318"/>
                    </a:cubicBezTo>
                    <a:cubicBezTo>
                      <a:pt x="148" y="319"/>
                      <a:pt x="151" y="322"/>
                      <a:pt x="153" y="324"/>
                    </a:cubicBezTo>
                    <a:cubicBezTo>
                      <a:pt x="153" y="324"/>
                      <a:pt x="153" y="324"/>
                      <a:pt x="153" y="324"/>
                    </a:cubicBezTo>
                    <a:cubicBezTo>
                      <a:pt x="154" y="325"/>
                      <a:pt x="156" y="326"/>
                      <a:pt x="157" y="327"/>
                    </a:cubicBezTo>
                    <a:cubicBezTo>
                      <a:pt x="158" y="328"/>
                      <a:pt x="158" y="328"/>
                      <a:pt x="158" y="328"/>
                    </a:cubicBezTo>
                    <a:cubicBezTo>
                      <a:pt x="159" y="329"/>
                      <a:pt x="161" y="330"/>
                      <a:pt x="162" y="332"/>
                    </a:cubicBezTo>
                    <a:cubicBezTo>
                      <a:pt x="163" y="333"/>
                      <a:pt x="163" y="334"/>
                      <a:pt x="164" y="335"/>
                    </a:cubicBezTo>
                    <a:cubicBezTo>
                      <a:pt x="164" y="335"/>
                      <a:pt x="164" y="335"/>
                      <a:pt x="164" y="335"/>
                    </a:cubicBezTo>
                    <a:cubicBezTo>
                      <a:pt x="165" y="337"/>
                      <a:pt x="167" y="338"/>
                      <a:pt x="168" y="339"/>
                    </a:cubicBezTo>
                    <a:cubicBezTo>
                      <a:pt x="168" y="339"/>
                      <a:pt x="168" y="340"/>
                      <a:pt x="169" y="340"/>
                    </a:cubicBezTo>
                    <a:cubicBezTo>
                      <a:pt x="169" y="340"/>
                      <a:pt x="170" y="340"/>
                      <a:pt x="172" y="340"/>
                    </a:cubicBezTo>
                    <a:cubicBezTo>
                      <a:pt x="173" y="339"/>
                      <a:pt x="174" y="339"/>
                      <a:pt x="175" y="339"/>
                    </a:cubicBezTo>
                    <a:cubicBezTo>
                      <a:pt x="175" y="297"/>
                      <a:pt x="175" y="297"/>
                      <a:pt x="175" y="297"/>
                    </a:cubicBezTo>
                    <a:cubicBezTo>
                      <a:pt x="175" y="284"/>
                      <a:pt x="175" y="271"/>
                      <a:pt x="175" y="258"/>
                    </a:cubicBezTo>
                    <a:cubicBezTo>
                      <a:pt x="175" y="257"/>
                      <a:pt x="175" y="257"/>
                      <a:pt x="175" y="257"/>
                    </a:cubicBezTo>
                    <a:cubicBezTo>
                      <a:pt x="175" y="255"/>
                      <a:pt x="176" y="254"/>
                      <a:pt x="179" y="254"/>
                    </a:cubicBezTo>
                    <a:cubicBezTo>
                      <a:pt x="180" y="253"/>
                      <a:pt x="181" y="253"/>
                      <a:pt x="183" y="252"/>
                    </a:cubicBezTo>
                    <a:cubicBezTo>
                      <a:pt x="184" y="252"/>
                      <a:pt x="185" y="252"/>
                      <a:pt x="185" y="252"/>
                    </a:cubicBezTo>
                    <a:cubicBezTo>
                      <a:pt x="193" y="250"/>
                      <a:pt x="202" y="247"/>
                      <a:pt x="210" y="245"/>
                    </a:cubicBezTo>
                    <a:cubicBezTo>
                      <a:pt x="218" y="243"/>
                      <a:pt x="218" y="243"/>
                      <a:pt x="218" y="243"/>
                    </a:cubicBezTo>
                    <a:cubicBezTo>
                      <a:pt x="220" y="242"/>
                      <a:pt x="222" y="242"/>
                      <a:pt x="223" y="242"/>
                    </a:cubicBezTo>
                    <a:cubicBezTo>
                      <a:pt x="225" y="241"/>
                      <a:pt x="225" y="241"/>
                      <a:pt x="225" y="241"/>
                    </a:cubicBezTo>
                    <a:cubicBezTo>
                      <a:pt x="225" y="241"/>
                      <a:pt x="225" y="241"/>
                      <a:pt x="226" y="241"/>
                    </a:cubicBezTo>
                    <a:cubicBezTo>
                      <a:pt x="227" y="241"/>
                      <a:pt x="227" y="241"/>
                      <a:pt x="228" y="241"/>
                    </a:cubicBezTo>
                    <a:cubicBezTo>
                      <a:pt x="228" y="240"/>
                      <a:pt x="228" y="239"/>
                      <a:pt x="229" y="238"/>
                    </a:cubicBezTo>
                    <a:cubicBezTo>
                      <a:pt x="230" y="237"/>
                      <a:pt x="231" y="236"/>
                      <a:pt x="232" y="235"/>
                    </a:cubicBezTo>
                    <a:cubicBezTo>
                      <a:pt x="232" y="235"/>
                      <a:pt x="232" y="235"/>
                      <a:pt x="232" y="235"/>
                    </a:cubicBezTo>
                    <a:cubicBezTo>
                      <a:pt x="233" y="235"/>
                      <a:pt x="233" y="236"/>
                      <a:pt x="234" y="236"/>
                    </a:cubicBezTo>
                    <a:cubicBezTo>
                      <a:pt x="234" y="236"/>
                      <a:pt x="234" y="236"/>
                      <a:pt x="234" y="236"/>
                    </a:cubicBezTo>
                    <a:cubicBezTo>
                      <a:pt x="234" y="236"/>
                      <a:pt x="234" y="236"/>
                      <a:pt x="234" y="236"/>
                    </a:cubicBezTo>
                    <a:cubicBezTo>
                      <a:pt x="234" y="236"/>
                      <a:pt x="234" y="236"/>
                      <a:pt x="234" y="236"/>
                    </a:cubicBezTo>
                    <a:cubicBezTo>
                      <a:pt x="234" y="235"/>
                      <a:pt x="234" y="235"/>
                      <a:pt x="234" y="235"/>
                    </a:cubicBezTo>
                    <a:cubicBezTo>
                      <a:pt x="235" y="235"/>
                      <a:pt x="235" y="235"/>
                      <a:pt x="235" y="235"/>
                    </a:cubicBezTo>
                    <a:cubicBezTo>
                      <a:pt x="235" y="235"/>
                      <a:pt x="235" y="235"/>
                      <a:pt x="236" y="235"/>
                    </a:cubicBezTo>
                    <a:cubicBezTo>
                      <a:pt x="236" y="235"/>
                      <a:pt x="236" y="235"/>
                      <a:pt x="236" y="235"/>
                    </a:cubicBezTo>
                    <a:cubicBezTo>
                      <a:pt x="236" y="235"/>
                      <a:pt x="236" y="235"/>
                      <a:pt x="236" y="235"/>
                    </a:cubicBezTo>
                    <a:cubicBezTo>
                      <a:pt x="236" y="235"/>
                      <a:pt x="237" y="235"/>
                      <a:pt x="237" y="235"/>
                    </a:cubicBezTo>
                    <a:cubicBezTo>
                      <a:pt x="237" y="235"/>
                      <a:pt x="237" y="235"/>
                      <a:pt x="238" y="235"/>
                    </a:cubicBezTo>
                    <a:cubicBezTo>
                      <a:pt x="238" y="235"/>
                      <a:pt x="238" y="235"/>
                      <a:pt x="238" y="235"/>
                    </a:cubicBezTo>
                    <a:cubicBezTo>
                      <a:pt x="239" y="235"/>
                      <a:pt x="239" y="234"/>
                      <a:pt x="240" y="234"/>
                    </a:cubicBezTo>
                    <a:cubicBezTo>
                      <a:pt x="240" y="234"/>
                      <a:pt x="240" y="234"/>
                      <a:pt x="240" y="234"/>
                    </a:cubicBezTo>
                    <a:cubicBezTo>
                      <a:pt x="242" y="234"/>
                      <a:pt x="240" y="236"/>
                      <a:pt x="239" y="237"/>
                    </a:cubicBezTo>
                    <a:cubicBezTo>
                      <a:pt x="239" y="238"/>
                      <a:pt x="238" y="240"/>
                      <a:pt x="240" y="241"/>
                    </a:cubicBezTo>
                    <a:cubicBezTo>
                      <a:pt x="240" y="241"/>
                      <a:pt x="240" y="241"/>
                      <a:pt x="240" y="241"/>
                    </a:cubicBezTo>
                    <a:cubicBezTo>
                      <a:pt x="240" y="241"/>
                      <a:pt x="241" y="241"/>
                      <a:pt x="241" y="241"/>
                    </a:cubicBezTo>
                    <a:cubicBezTo>
                      <a:pt x="242" y="240"/>
                      <a:pt x="242" y="240"/>
                      <a:pt x="242" y="240"/>
                    </a:cubicBezTo>
                    <a:cubicBezTo>
                      <a:pt x="243" y="240"/>
                      <a:pt x="243" y="240"/>
                      <a:pt x="243" y="242"/>
                    </a:cubicBezTo>
                    <a:cubicBezTo>
                      <a:pt x="243" y="241"/>
                      <a:pt x="244" y="240"/>
                      <a:pt x="245" y="240"/>
                    </a:cubicBezTo>
                    <a:cubicBezTo>
                      <a:pt x="245" y="240"/>
                      <a:pt x="245" y="240"/>
                      <a:pt x="245" y="240"/>
                    </a:cubicBezTo>
                    <a:cubicBezTo>
                      <a:pt x="246" y="240"/>
                      <a:pt x="247" y="240"/>
                      <a:pt x="247" y="240"/>
                    </a:cubicBezTo>
                    <a:cubicBezTo>
                      <a:pt x="247" y="240"/>
                      <a:pt x="247" y="238"/>
                      <a:pt x="247" y="238"/>
                    </a:cubicBezTo>
                    <a:cubicBezTo>
                      <a:pt x="247" y="237"/>
                      <a:pt x="247" y="236"/>
                      <a:pt x="248" y="235"/>
                    </a:cubicBezTo>
                    <a:cubicBezTo>
                      <a:pt x="249" y="233"/>
                      <a:pt x="248" y="232"/>
                      <a:pt x="247" y="230"/>
                    </a:cubicBezTo>
                    <a:cubicBezTo>
                      <a:pt x="246" y="229"/>
                      <a:pt x="245" y="228"/>
                      <a:pt x="245" y="227"/>
                    </a:cubicBezTo>
                    <a:cubicBezTo>
                      <a:pt x="245" y="227"/>
                      <a:pt x="245" y="226"/>
                      <a:pt x="245" y="226"/>
                    </a:cubicBezTo>
                    <a:cubicBezTo>
                      <a:pt x="245" y="226"/>
                      <a:pt x="245" y="226"/>
                      <a:pt x="245" y="227"/>
                    </a:cubicBezTo>
                    <a:cubicBezTo>
                      <a:pt x="245" y="227"/>
                      <a:pt x="245" y="227"/>
                      <a:pt x="246" y="227"/>
                    </a:cubicBezTo>
                    <a:cubicBezTo>
                      <a:pt x="246" y="227"/>
                      <a:pt x="246" y="227"/>
                      <a:pt x="246" y="227"/>
                    </a:cubicBezTo>
                    <a:cubicBezTo>
                      <a:pt x="247" y="226"/>
                      <a:pt x="247" y="226"/>
                      <a:pt x="248" y="226"/>
                    </a:cubicBezTo>
                    <a:cubicBezTo>
                      <a:pt x="249" y="226"/>
                      <a:pt x="249" y="227"/>
                      <a:pt x="250" y="229"/>
                    </a:cubicBezTo>
                    <a:cubicBezTo>
                      <a:pt x="250" y="229"/>
                      <a:pt x="250" y="230"/>
                      <a:pt x="250" y="231"/>
                    </a:cubicBezTo>
                    <a:cubicBezTo>
                      <a:pt x="250" y="232"/>
                      <a:pt x="248" y="232"/>
                      <a:pt x="249" y="233"/>
                    </a:cubicBezTo>
                    <a:cubicBezTo>
                      <a:pt x="249" y="233"/>
                      <a:pt x="249" y="233"/>
                      <a:pt x="250" y="233"/>
                    </a:cubicBezTo>
                    <a:cubicBezTo>
                      <a:pt x="250" y="233"/>
                      <a:pt x="252" y="232"/>
                      <a:pt x="253" y="232"/>
                    </a:cubicBezTo>
                    <a:cubicBezTo>
                      <a:pt x="253" y="232"/>
                      <a:pt x="253" y="232"/>
                      <a:pt x="254" y="232"/>
                    </a:cubicBezTo>
                    <a:cubicBezTo>
                      <a:pt x="254" y="232"/>
                      <a:pt x="254" y="232"/>
                      <a:pt x="254" y="232"/>
                    </a:cubicBezTo>
                    <a:cubicBezTo>
                      <a:pt x="255" y="232"/>
                      <a:pt x="255" y="232"/>
                      <a:pt x="255" y="232"/>
                    </a:cubicBezTo>
                    <a:cubicBezTo>
                      <a:pt x="255" y="232"/>
                      <a:pt x="255" y="232"/>
                      <a:pt x="255" y="232"/>
                    </a:cubicBezTo>
                    <a:cubicBezTo>
                      <a:pt x="257" y="232"/>
                      <a:pt x="258" y="232"/>
                      <a:pt x="259" y="232"/>
                    </a:cubicBezTo>
                    <a:cubicBezTo>
                      <a:pt x="260" y="232"/>
                      <a:pt x="260" y="232"/>
                      <a:pt x="261" y="232"/>
                    </a:cubicBezTo>
                    <a:cubicBezTo>
                      <a:pt x="263" y="232"/>
                      <a:pt x="266" y="232"/>
                      <a:pt x="267" y="233"/>
                    </a:cubicBezTo>
                    <a:cubicBezTo>
                      <a:pt x="267" y="234"/>
                      <a:pt x="265" y="234"/>
                      <a:pt x="264" y="235"/>
                    </a:cubicBezTo>
                    <a:cubicBezTo>
                      <a:pt x="263" y="237"/>
                      <a:pt x="263" y="237"/>
                      <a:pt x="262" y="237"/>
                    </a:cubicBezTo>
                    <a:cubicBezTo>
                      <a:pt x="261" y="237"/>
                      <a:pt x="261" y="237"/>
                      <a:pt x="260" y="237"/>
                    </a:cubicBezTo>
                    <a:cubicBezTo>
                      <a:pt x="259" y="237"/>
                      <a:pt x="257" y="237"/>
                      <a:pt x="256" y="236"/>
                    </a:cubicBezTo>
                    <a:cubicBezTo>
                      <a:pt x="255" y="236"/>
                      <a:pt x="253" y="236"/>
                      <a:pt x="252" y="236"/>
                    </a:cubicBezTo>
                    <a:cubicBezTo>
                      <a:pt x="252" y="236"/>
                      <a:pt x="252" y="236"/>
                      <a:pt x="251" y="236"/>
                    </a:cubicBezTo>
                    <a:cubicBezTo>
                      <a:pt x="252" y="235"/>
                      <a:pt x="252" y="235"/>
                      <a:pt x="252" y="235"/>
                    </a:cubicBezTo>
                    <a:cubicBezTo>
                      <a:pt x="251" y="235"/>
                      <a:pt x="251" y="235"/>
                      <a:pt x="250" y="235"/>
                    </a:cubicBezTo>
                    <a:cubicBezTo>
                      <a:pt x="250" y="235"/>
                      <a:pt x="250" y="235"/>
                      <a:pt x="249" y="235"/>
                    </a:cubicBezTo>
                    <a:cubicBezTo>
                      <a:pt x="251" y="235"/>
                      <a:pt x="251" y="236"/>
                      <a:pt x="249" y="237"/>
                    </a:cubicBezTo>
                    <a:cubicBezTo>
                      <a:pt x="250" y="237"/>
                      <a:pt x="251" y="237"/>
                      <a:pt x="251" y="237"/>
                    </a:cubicBezTo>
                    <a:cubicBezTo>
                      <a:pt x="251" y="238"/>
                      <a:pt x="249" y="238"/>
                      <a:pt x="249" y="238"/>
                    </a:cubicBezTo>
                    <a:cubicBezTo>
                      <a:pt x="249" y="238"/>
                      <a:pt x="251" y="239"/>
                      <a:pt x="249" y="239"/>
                    </a:cubicBezTo>
                    <a:cubicBezTo>
                      <a:pt x="250" y="240"/>
                      <a:pt x="247" y="242"/>
                      <a:pt x="249" y="244"/>
                    </a:cubicBezTo>
                    <a:cubicBezTo>
                      <a:pt x="249" y="244"/>
                      <a:pt x="250" y="244"/>
                      <a:pt x="250" y="244"/>
                    </a:cubicBezTo>
                    <a:cubicBezTo>
                      <a:pt x="251" y="244"/>
                      <a:pt x="251" y="244"/>
                      <a:pt x="252" y="244"/>
                    </a:cubicBezTo>
                    <a:cubicBezTo>
                      <a:pt x="252" y="244"/>
                      <a:pt x="253" y="244"/>
                      <a:pt x="254" y="244"/>
                    </a:cubicBezTo>
                    <a:cubicBezTo>
                      <a:pt x="254" y="244"/>
                      <a:pt x="255" y="244"/>
                      <a:pt x="256" y="245"/>
                    </a:cubicBezTo>
                    <a:cubicBezTo>
                      <a:pt x="257" y="248"/>
                      <a:pt x="256" y="254"/>
                      <a:pt x="256" y="258"/>
                    </a:cubicBezTo>
                    <a:cubicBezTo>
                      <a:pt x="257" y="258"/>
                      <a:pt x="257" y="258"/>
                      <a:pt x="257" y="258"/>
                    </a:cubicBezTo>
                    <a:cubicBezTo>
                      <a:pt x="258" y="259"/>
                      <a:pt x="259" y="259"/>
                      <a:pt x="260" y="260"/>
                    </a:cubicBezTo>
                    <a:cubicBezTo>
                      <a:pt x="268" y="265"/>
                      <a:pt x="275" y="269"/>
                      <a:pt x="277" y="272"/>
                    </a:cubicBezTo>
                    <a:cubicBezTo>
                      <a:pt x="279" y="274"/>
                      <a:pt x="282" y="278"/>
                      <a:pt x="282" y="278"/>
                    </a:cubicBezTo>
                    <a:cubicBezTo>
                      <a:pt x="284" y="281"/>
                      <a:pt x="287" y="283"/>
                      <a:pt x="289" y="285"/>
                    </a:cubicBezTo>
                    <a:cubicBezTo>
                      <a:pt x="289" y="286"/>
                      <a:pt x="290" y="286"/>
                      <a:pt x="290" y="287"/>
                    </a:cubicBezTo>
                    <a:cubicBezTo>
                      <a:pt x="291" y="287"/>
                      <a:pt x="291" y="287"/>
                      <a:pt x="291" y="287"/>
                    </a:cubicBezTo>
                    <a:cubicBezTo>
                      <a:pt x="291" y="287"/>
                      <a:pt x="292" y="288"/>
                      <a:pt x="292" y="288"/>
                    </a:cubicBezTo>
                    <a:cubicBezTo>
                      <a:pt x="293" y="289"/>
                      <a:pt x="293" y="289"/>
                      <a:pt x="293" y="289"/>
                    </a:cubicBezTo>
                    <a:cubicBezTo>
                      <a:pt x="294" y="289"/>
                      <a:pt x="294" y="289"/>
                      <a:pt x="294" y="289"/>
                    </a:cubicBezTo>
                    <a:cubicBezTo>
                      <a:pt x="294" y="289"/>
                      <a:pt x="294" y="289"/>
                      <a:pt x="295" y="289"/>
                    </a:cubicBezTo>
                    <a:cubicBezTo>
                      <a:pt x="297" y="289"/>
                      <a:pt x="300" y="288"/>
                      <a:pt x="303" y="288"/>
                    </a:cubicBezTo>
                    <a:cubicBezTo>
                      <a:pt x="306" y="287"/>
                      <a:pt x="311" y="286"/>
                      <a:pt x="315" y="286"/>
                    </a:cubicBezTo>
                    <a:cubicBezTo>
                      <a:pt x="316" y="286"/>
                      <a:pt x="316" y="286"/>
                      <a:pt x="317" y="286"/>
                    </a:cubicBezTo>
                    <a:cubicBezTo>
                      <a:pt x="320" y="286"/>
                      <a:pt x="323" y="286"/>
                      <a:pt x="326" y="287"/>
                    </a:cubicBezTo>
                    <a:cubicBezTo>
                      <a:pt x="327" y="287"/>
                      <a:pt x="327" y="287"/>
                      <a:pt x="327" y="287"/>
                    </a:cubicBezTo>
                    <a:cubicBezTo>
                      <a:pt x="329" y="287"/>
                      <a:pt x="331" y="287"/>
                      <a:pt x="333" y="287"/>
                    </a:cubicBezTo>
                    <a:cubicBezTo>
                      <a:pt x="338" y="287"/>
                      <a:pt x="338" y="287"/>
                      <a:pt x="338" y="287"/>
                    </a:cubicBezTo>
                    <a:cubicBezTo>
                      <a:pt x="339" y="287"/>
                      <a:pt x="340" y="287"/>
                      <a:pt x="341" y="287"/>
                    </a:cubicBezTo>
                    <a:cubicBezTo>
                      <a:pt x="342" y="286"/>
                      <a:pt x="342" y="286"/>
                      <a:pt x="342" y="286"/>
                    </a:cubicBezTo>
                    <a:cubicBezTo>
                      <a:pt x="343" y="286"/>
                      <a:pt x="343" y="286"/>
                      <a:pt x="343" y="286"/>
                    </a:cubicBezTo>
                    <a:cubicBezTo>
                      <a:pt x="344" y="285"/>
                      <a:pt x="346" y="284"/>
                      <a:pt x="348" y="284"/>
                    </a:cubicBezTo>
                    <a:cubicBezTo>
                      <a:pt x="348" y="284"/>
                      <a:pt x="348" y="284"/>
                      <a:pt x="348" y="284"/>
                    </a:cubicBezTo>
                    <a:cubicBezTo>
                      <a:pt x="349" y="284"/>
                      <a:pt x="350" y="285"/>
                      <a:pt x="351" y="286"/>
                    </a:cubicBezTo>
                    <a:cubicBezTo>
                      <a:pt x="352" y="287"/>
                      <a:pt x="353" y="288"/>
                      <a:pt x="354" y="289"/>
                    </a:cubicBezTo>
                    <a:cubicBezTo>
                      <a:pt x="356" y="291"/>
                      <a:pt x="356" y="291"/>
                      <a:pt x="356" y="291"/>
                    </a:cubicBezTo>
                    <a:cubicBezTo>
                      <a:pt x="357" y="292"/>
                      <a:pt x="357" y="292"/>
                      <a:pt x="357" y="292"/>
                    </a:cubicBezTo>
                    <a:cubicBezTo>
                      <a:pt x="358" y="293"/>
                      <a:pt x="358" y="293"/>
                      <a:pt x="358" y="293"/>
                    </a:cubicBezTo>
                    <a:cubicBezTo>
                      <a:pt x="360" y="295"/>
                      <a:pt x="362" y="296"/>
                      <a:pt x="364" y="299"/>
                    </a:cubicBezTo>
                    <a:cubicBezTo>
                      <a:pt x="366" y="300"/>
                      <a:pt x="366" y="300"/>
                      <a:pt x="366" y="300"/>
                    </a:cubicBezTo>
                    <a:cubicBezTo>
                      <a:pt x="366" y="301"/>
                      <a:pt x="366" y="301"/>
                      <a:pt x="366" y="301"/>
                    </a:cubicBezTo>
                    <a:cubicBezTo>
                      <a:pt x="367" y="302"/>
                      <a:pt x="367" y="302"/>
                      <a:pt x="367" y="302"/>
                    </a:cubicBezTo>
                    <a:cubicBezTo>
                      <a:pt x="369" y="302"/>
                      <a:pt x="369" y="302"/>
                      <a:pt x="369" y="302"/>
                    </a:cubicBezTo>
                    <a:cubicBezTo>
                      <a:pt x="370" y="301"/>
                      <a:pt x="370" y="301"/>
                      <a:pt x="370" y="301"/>
                    </a:cubicBezTo>
                    <a:cubicBezTo>
                      <a:pt x="371" y="301"/>
                      <a:pt x="372" y="302"/>
                      <a:pt x="372" y="302"/>
                    </a:cubicBezTo>
                    <a:cubicBezTo>
                      <a:pt x="374" y="304"/>
                      <a:pt x="374" y="306"/>
                      <a:pt x="373" y="310"/>
                    </a:cubicBezTo>
                    <a:cubicBezTo>
                      <a:pt x="373" y="310"/>
                      <a:pt x="373" y="310"/>
                      <a:pt x="373" y="310"/>
                    </a:cubicBezTo>
                    <a:cubicBezTo>
                      <a:pt x="372" y="312"/>
                      <a:pt x="372" y="313"/>
                      <a:pt x="372" y="314"/>
                    </a:cubicBezTo>
                    <a:cubicBezTo>
                      <a:pt x="372" y="316"/>
                      <a:pt x="372" y="317"/>
                      <a:pt x="372" y="319"/>
                    </a:cubicBezTo>
                    <a:cubicBezTo>
                      <a:pt x="372" y="319"/>
                      <a:pt x="372" y="320"/>
                      <a:pt x="371" y="320"/>
                    </a:cubicBezTo>
                    <a:cubicBezTo>
                      <a:pt x="371" y="321"/>
                      <a:pt x="371" y="321"/>
                      <a:pt x="371" y="321"/>
                    </a:cubicBezTo>
                    <a:cubicBezTo>
                      <a:pt x="371" y="321"/>
                      <a:pt x="371" y="322"/>
                      <a:pt x="371" y="322"/>
                    </a:cubicBezTo>
                    <a:cubicBezTo>
                      <a:pt x="371" y="323"/>
                      <a:pt x="371" y="323"/>
                      <a:pt x="371" y="324"/>
                    </a:cubicBezTo>
                    <a:cubicBezTo>
                      <a:pt x="372" y="324"/>
                      <a:pt x="372" y="324"/>
                      <a:pt x="372" y="324"/>
                    </a:cubicBezTo>
                    <a:cubicBezTo>
                      <a:pt x="372" y="324"/>
                      <a:pt x="372" y="324"/>
                      <a:pt x="372" y="324"/>
                    </a:cubicBezTo>
                    <a:cubicBezTo>
                      <a:pt x="372" y="324"/>
                      <a:pt x="373" y="324"/>
                      <a:pt x="373" y="324"/>
                    </a:cubicBezTo>
                    <a:cubicBezTo>
                      <a:pt x="374" y="324"/>
                      <a:pt x="374" y="324"/>
                      <a:pt x="374" y="324"/>
                    </a:cubicBezTo>
                    <a:cubicBezTo>
                      <a:pt x="374" y="324"/>
                      <a:pt x="375" y="324"/>
                      <a:pt x="376" y="324"/>
                    </a:cubicBezTo>
                    <a:cubicBezTo>
                      <a:pt x="377" y="324"/>
                      <a:pt x="379" y="324"/>
                      <a:pt x="380" y="325"/>
                    </a:cubicBezTo>
                    <a:cubicBezTo>
                      <a:pt x="380" y="325"/>
                      <a:pt x="381" y="326"/>
                      <a:pt x="381" y="327"/>
                    </a:cubicBezTo>
                    <a:cubicBezTo>
                      <a:pt x="381" y="328"/>
                      <a:pt x="381" y="328"/>
                      <a:pt x="381" y="329"/>
                    </a:cubicBezTo>
                    <a:cubicBezTo>
                      <a:pt x="381" y="330"/>
                      <a:pt x="381" y="330"/>
                      <a:pt x="381" y="330"/>
                    </a:cubicBezTo>
                    <a:cubicBezTo>
                      <a:pt x="381" y="330"/>
                      <a:pt x="381" y="330"/>
                      <a:pt x="381" y="330"/>
                    </a:cubicBezTo>
                    <a:cubicBezTo>
                      <a:pt x="381" y="332"/>
                      <a:pt x="382" y="335"/>
                      <a:pt x="383" y="337"/>
                    </a:cubicBezTo>
                    <a:cubicBezTo>
                      <a:pt x="383" y="340"/>
                      <a:pt x="383" y="340"/>
                      <a:pt x="383" y="340"/>
                    </a:cubicBezTo>
                    <a:cubicBezTo>
                      <a:pt x="384" y="341"/>
                      <a:pt x="384" y="341"/>
                      <a:pt x="384" y="341"/>
                    </a:cubicBezTo>
                    <a:cubicBezTo>
                      <a:pt x="384" y="343"/>
                      <a:pt x="384" y="343"/>
                      <a:pt x="384" y="343"/>
                    </a:cubicBezTo>
                    <a:cubicBezTo>
                      <a:pt x="399" y="342"/>
                      <a:pt x="399" y="342"/>
                      <a:pt x="399" y="342"/>
                    </a:cubicBezTo>
                    <a:cubicBezTo>
                      <a:pt x="399" y="342"/>
                      <a:pt x="400" y="342"/>
                      <a:pt x="400" y="342"/>
                    </a:cubicBezTo>
                    <a:cubicBezTo>
                      <a:pt x="401" y="342"/>
                      <a:pt x="402" y="342"/>
                      <a:pt x="403" y="342"/>
                    </a:cubicBezTo>
                    <a:cubicBezTo>
                      <a:pt x="404" y="342"/>
                      <a:pt x="404" y="342"/>
                      <a:pt x="405" y="342"/>
                    </a:cubicBezTo>
                    <a:cubicBezTo>
                      <a:pt x="405" y="342"/>
                      <a:pt x="405" y="342"/>
                      <a:pt x="405" y="342"/>
                    </a:cubicBezTo>
                    <a:cubicBezTo>
                      <a:pt x="405" y="342"/>
                      <a:pt x="406" y="342"/>
                      <a:pt x="406" y="343"/>
                    </a:cubicBezTo>
                    <a:cubicBezTo>
                      <a:pt x="407" y="343"/>
                      <a:pt x="407" y="343"/>
                      <a:pt x="407" y="343"/>
                    </a:cubicBezTo>
                    <a:cubicBezTo>
                      <a:pt x="407" y="344"/>
                      <a:pt x="407" y="344"/>
                      <a:pt x="407" y="344"/>
                    </a:cubicBezTo>
                    <a:cubicBezTo>
                      <a:pt x="407" y="344"/>
                      <a:pt x="407" y="344"/>
                      <a:pt x="407" y="344"/>
                    </a:cubicBezTo>
                    <a:cubicBezTo>
                      <a:pt x="407" y="344"/>
                      <a:pt x="407" y="344"/>
                      <a:pt x="407" y="344"/>
                    </a:cubicBezTo>
                    <a:cubicBezTo>
                      <a:pt x="408" y="344"/>
                      <a:pt x="408" y="344"/>
                      <a:pt x="408" y="344"/>
                    </a:cubicBezTo>
                    <a:cubicBezTo>
                      <a:pt x="409" y="345"/>
                      <a:pt x="409" y="345"/>
                      <a:pt x="410" y="346"/>
                    </a:cubicBezTo>
                    <a:cubicBezTo>
                      <a:pt x="410" y="346"/>
                      <a:pt x="411" y="347"/>
                      <a:pt x="411" y="348"/>
                    </a:cubicBezTo>
                    <a:cubicBezTo>
                      <a:pt x="411" y="349"/>
                      <a:pt x="411" y="349"/>
                      <a:pt x="411" y="349"/>
                    </a:cubicBezTo>
                    <a:cubicBezTo>
                      <a:pt x="411" y="350"/>
                      <a:pt x="411" y="351"/>
                      <a:pt x="410" y="353"/>
                    </a:cubicBezTo>
                    <a:cubicBezTo>
                      <a:pt x="412" y="354"/>
                      <a:pt x="413" y="355"/>
                      <a:pt x="416" y="355"/>
                    </a:cubicBezTo>
                    <a:cubicBezTo>
                      <a:pt x="416" y="355"/>
                      <a:pt x="416" y="355"/>
                      <a:pt x="416" y="355"/>
                    </a:cubicBezTo>
                    <a:cubicBezTo>
                      <a:pt x="416" y="355"/>
                      <a:pt x="416" y="354"/>
                      <a:pt x="416" y="354"/>
                    </a:cubicBezTo>
                    <a:cubicBezTo>
                      <a:pt x="416" y="352"/>
                      <a:pt x="416" y="352"/>
                      <a:pt x="416" y="352"/>
                    </a:cubicBezTo>
                    <a:cubicBezTo>
                      <a:pt x="416" y="348"/>
                      <a:pt x="419" y="346"/>
                      <a:pt x="422" y="344"/>
                    </a:cubicBezTo>
                    <a:cubicBezTo>
                      <a:pt x="422" y="344"/>
                      <a:pt x="423" y="344"/>
                      <a:pt x="423" y="343"/>
                    </a:cubicBezTo>
                    <a:cubicBezTo>
                      <a:pt x="424" y="343"/>
                      <a:pt x="424" y="343"/>
                      <a:pt x="424" y="343"/>
                    </a:cubicBezTo>
                    <a:cubicBezTo>
                      <a:pt x="424" y="342"/>
                      <a:pt x="424" y="342"/>
                      <a:pt x="424" y="342"/>
                    </a:cubicBezTo>
                    <a:cubicBezTo>
                      <a:pt x="425" y="342"/>
                      <a:pt x="425" y="342"/>
                      <a:pt x="425" y="342"/>
                    </a:cubicBezTo>
                    <a:cubicBezTo>
                      <a:pt x="426" y="341"/>
                      <a:pt x="427" y="340"/>
                      <a:pt x="428" y="339"/>
                    </a:cubicBezTo>
                    <a:cubicBezTo>
                      <a:pt x="428" y="339"/>
                      <a:pt x="428" y="339"/>
                      <a:pt x="428" y="339"/>
                    </a:cubicBezTo>
                    <a:cubicBezTo>
                      <a:pt x="429" y="338"/>
                      <a:pt x="429" y="338"/>
                      <a:pt x="429" y="338"/>
                    </a:cubicBezTo>
                    <a:cubicBezTo>
                      <a:pt x="431" y="337"/>
                      <a:pt x="432" y="336"/>
                      <a:pt x="434" y="335"/>
                    </a:cubicBezTo>
                    <a:cubicBezTo>
                      <a:pt x="437" y="332"/>
                      <a:pt x="440" y="331"/>
                      <a:pt x="442" y="329"/>
                    </a:cubicBezTo>
                    <a:cubicBezTo>
                      <a:pt x="459" y="320"/>
                      <a:pt x="459" y="320"/>
                      <a:pt x="459" y="320"/>
                    </a:cubicBezTo>
                    <a:cubicBezTo>
                      <a:pt x="459" y="319"/>
                      <a:pt x="459" y="319"/>
                      <a:pt x="459" y="318"/>
                    </a:cubicBezTo>
                    <a:cubicBezTo>
                      <a:pt x="459" y="317"/>
                      <a:pt x="460" y="316"/>
                      <a:pt x="461" y="316"/>
                    </a:cubicBezTo>
                    <a:cubicBezTo>
                      <a:pt x="461" y="315"/>
                      <a:pt x="462" y="314"/>
                      <a:pt x="463" y="313"/>
                    </a:cubicBezTo>
                    <a:cubicBezTo>
                      <a:pt x="465" y="312"/>
                      <a:pt x="465" y="312"/>
                      <a:pt x="465" y="312"/>
                    </a:cubicBezTo>
                    <a:cubicBezTo>
                      <a:pt x="465" y="311"/>
                      <a:pt x="465" y="311"/>
                      <a:pt x="465" y="311"/>
                    </a:cubicBezTo>
                    <a:cubicBezTo>
                      <a:pt x="466" y="310"/>
                      <a:pt x="467" y="308"/>
                      <a:pt x="468" y="308"/>
                    </a:cubicBezTo>
                    <a:cubicBezTo>
                      <a:pt x="469" y="307"/>
                      <a:pt x="469" y="307"/>
                      <a:pt x="470" y="307"/>
                    </a:cubicBezTo>
                    <a:cubicBezTo>
                      <a:pt x="470" y="307"/>
                      <a:pt x="471" y="307"/>
                      <a:pt x="472" y="307"/>
                    </a:cubicBezTo>
                    <a:cubicBezTo>
                      <a:pt x="473" y="307"/>
                      <a:pt x="473" y="307"/>
                      <a:pt x="474" y="307"/>
                    </a:cubicBezTo>
                    <a:cubicBezTo>
                      <a:pt x="474" y="307"/>
                      <a:pt x="474" y="307"/>
                      <a:pt x="474" y="307"/>
                    </a:cubicBezTo>
                    <a:cubicBezTo>
                      <a:pt x="475" y="307"/>
                      <a:pt x="475" y="307"/>
                      <a:pt x="475" y="307"/>
                    </a:cubicBezTo>
                    <a:cubicBezTo>
                      <a:pt x="484" y="307"/>
                      <a:pt x="484" y="307"/>
                      <a:pt x="484" y="307"/>
                    </a:cubicBezTo>
                    <a:cubicBezTo>
                      <a:pt x="485" y="306"/>
                      <a:pt x="485" y="306"/>
                      <a:pt x="485" y="306"/>
                    </a:cubicBezTo>
                    <a:cubicBezTo>
                      <a:pt x="487" y="306"/>
                      <a:pt x="489" y="307"/>
                      <a:pt x="491" y="308"/>
                    </a:cubicBezTo>
                    <a:cubicBezTo>
                      <a:pt x="495" y="309"/>
                      <a:pt x="500" y="310"/>
                      <a:pt x="504" y="312"/>
                    </a:cubicBezTo>
                    <a:cubicBezTo>
                      <a:pt x="507" y="313"/>
                      <a:pt x="507" y="313"/>
                      <a:pt x="507" y="313"/>
                    </a:cubicBezTo>
                    <a:cubicBezTo>
                      <a:pt x="507" y="313"/>
                      <a:pt x="508" y="313"/>
                      <a:pt x="508" y="313"/>
                    </a:cubicBezTo>
                    <a:cubicBezTo>
                      <a:pt x="507" y="308"/>
                      <a:pt x="509" y="302"/>
                      <a:pt x="515" y="299"/>
                    </a:cubicBezTo>
                    <a:cubicBezTo>
                      <a:pt x="513" y="294"/>
                      <a:pt x="513" y="294"/>
                      <a:pt x="513" y="294"/>
                    </a:cubicBezTo>
                    <a:cubicBezTo>
                      <a:pt x="516" y="298"/>
                      <a:pt x="516" y="298"/>
                      <a:pt x="516" y="298"/>
                    </a:cubicBezTo>
                    <a:cubicBezTo>
                      <a:pt x="518" y="297"/>
                      <a:pt x="521" y="297"/>
                      <a:pt x="523" y="296"/>
                    </a:cubicBezTo>
                    <a:cubicBezTo>
                      <a:pt x="524" y="296"/>
                      <a:pt x="524" y="296"/>
                      <a:pt x="524" y="296"/>
                    </a:cubicBezTo>
                    <a:cubicBezTo>
                      <a:pt x="524" y="297"/>
                      <a:pt x="525" y="297"/>
                      <a:pt x="525" y="297"/>
                    </a:cubicBezTo>
                    <a:cubicBezTo>
                      <a:pt x="527" y="297"/>
                      <a:pt x="529" y="297"/>
                      <a:pt x="531" y="298"/>
                    </a:cubicBezTo>
                    <a:cubicBezTo>
                      <a:pt x="532" y="299"/>
                      <a:pt x="533" y="299"/>
                      <a:pt x="534" y="300"/>
                    </a:cubicBezTo>
                    <a:cubicBezTo>
                      <a:pt x="535" y="300"/>
                      <a:pt x="535" y="300"/>
                      <a:pt x="535" y="300"/>
                    </a:cubicBezTo>
                    <a:cubicBezTo>
                      <a:pt x="535" y="301"/>
                      <a:pt x="535" y="301"/>
                      <a:pt x="535" y="301"/>
                    </a:cubicBezTo>
                    <a:cubicBezTo>
                      <a:pt x="536" y="301"/>
                      <a:pt x="537" y="302"/>
                      <a:pt x="538" y="302"/>
                    </a:cubicBezTo>
                    <a:cubicBezTo>
                      <a:pt x="539" y="302"/>
                      <a:pt x="539" y="302"/>
                      <a:pt x="539" y="302"/>
                    </a:cubicBezTo>
                    <a:cubicBezTo>
                      <a:pt x="540" y="303"/>
                      <a:pt x="541" y="303"/>
                      <a:pt x="542" y="303"/>
                    </a:cubicBezTo>
                    <a:cubicBezTo>
                      <a:pt x="543" y="303"/>
                      <a:pt x="543" y="303"/>
                      <a:pt x="543" y="303"/>
                    </a:cubicBezTo>
                    <a:cubicBezTo>
                      <a:pt x="543" y="304"/>
                      <a:pt x="544" y="304"/>
                      <a:pt x="545" y="304"/>
                    </a:cubicBezTo>
                    <a:cubicBezTo>
                      <a:pt x="546" y="304"/>
                      <a:pt x="546" y="304"/>
                      <a:pt x="546" y="304"/>
                    </a:cubicBezTo>
                    <a:cubicBezTo>
                      <a:pt x="546" y="304"/>
                      <a:pt x="547" y="304"/>
                      <a:pt x="547" y="304"/>
                    </a:cubicBezTo>
                    <a:cubicBezTo>
                      <a:pt x="547" y="304"/>
                      <a:pt x="547" y="304"/>
                      <a:pt x="547" y="304"/>
                    </a:cubicBezTo>
                    <a:cubicBezTo>
                      <a:pt x="548" y="304"/>
                      <a:pt x="548" y="304"/>
                      <a:pt x="549" y="304"/>
                    </a:cubicBezTo>
                    <a:cubicBezTo>
                      <a:pt x="550" y="304"/>
                      <a:pt x="550" y="304"/>
                      <a:pt x="550" y="304"/>
                    </a:cubicBezTo>
                    <a:cubicBezTo>
                      <a:pt x="550" y="304"/>
                      <a:pt x="551" y="304"/>
                      <a:pt x="552" y="303"/>
                    </a:cubicBezTo>
                    <a:cubicBezTo>
                      <a:pt x="552" y="303"/>
                      <a:pt x="553" y="303"/>
                      <a:pt x="554" y="302"/>
                    </a:cubicBezTo>
                    <a:cubicBezTo>
                      <a:pt x="555" y="302"/>
                      <a:pt x="555" y="302"/>
                      <a:pt x="555" y="302"/>
                    </a:cubicBezTo>
                    <a:cubicBezTo>
                      <a:pt x="555" y="302"/>
                      <a:pt x="556" y="302"/>
                      <a:pt x="556" y="302"/>
                    </a:cubicBezTo>
                    <a:cubicBezTo>
                      <a:pt x="557" y="302"/>
                      <a:pt x="559" y="302"/>
                      <a:pt x="560" y="302"/>
                    </a:cubicBezTo>
                    <a:cubicBezTo>
                      <a:pt x="562" y="302"/>
                      <a:pt x="564" y="302"/>
                      <a:pt x="566" y="302"/>
                    </a:cubicBezTo>
                    <a:cubicBezTo>
                      <a:pt x="567" y="302"/>
                      <a:pt x="567" y="302"/>
                      <a:pt x="567" y="302"/>
                    </a:cubicBezTo>
                    <a:cubicBezTo>
                      <a:pt x="568" y="303"/>
                      <a:pt x="570" y="303"/>
                      <a:pt x="571" y="303"/>
                    </a:cubicBezTo>
                    <a:cubicBezTo>
                      <a:pt x="573" y="303"/>
                      <a:pt x="573" y="303"/>
                      <a:pt x="573" y="303"/>
                    </a:cubicBezTo>
                    <a:cubicBezTo>
                      <a:pt x="577" y="303"/>
                      <a:pt x="581" y="303"/>
                      <a:pt x="585" y="303"/>
                    </a:cubicBezTo>
                    <a:cubicBezTo>
                      <a:pt x="585" y="299"/>
                      <a:pt x="585" y="299"/>
                      <a:pt x="585" y="299"/>
                    </a:cubicBezTo>
                    <a:cubicBezTo>
                      <a:pt x="586" y="303"/>
                      <a:pt x="586" y="303"/>
                      <a:pt x="586" y="303"/>
                    </a:cubicBezTo>
                    <a:cubicBezTo>
                      <a:pt x="586" y="303"/>
                      <a:pt x="586" y="303"/>
                      <a:pt x="586" y="303"/>
                    </a:cubicBezTo>
                    <a:cubicBezTo>
                      <a:pt x="588" y="303"/>
                      <a:pt x="589" y="303"/>
                      <a:pt x="590" y="303"/>
                    </a:cubicBezTo>
                    <a:cubicBezTo>
                      <a:pt x="594" y="304"/>
                      <a:pt x="597" y="304"/>
                      <a:pt x="600" y="304"/>
                    </a:cubicBezTo>
                    <a:cubicBezTo>
                      <a:pt x="601" y="304"/>
                      <a:pt x="602" y="304"/>
                      <a:pt x="603" y="304"/>
                    </a:cubicBezTo>
                    <a:cubicBezTo>
                      <a:pt x="603" y="304"/>
                      <a:pt x="603" y="304"/>
                      <a:pt x="603" y="304"/>
                    </a:cubicBezTo>
                    <a:cubicBezTo>
                      <a:pt x="604" y="304"/>
                      <a:pt x="604" y="304"/>
                      <a:pt x="605" y="304"/>
                    </a:cubicBezTo>
                    <a:cubicBezTo>
                      <a:pt x="605" y="304"/>
                      <a:pt x="606" y="304"/>
                      <a:pt x="606" y="304"/>
                    </a:cubicBezTo>
                    <a:cubicBezTo>
                      <a:pt x="607" y="304"/>
                      <a:pt x="608" y="304"/>
                      <a:pt x="609" y="304"/>
                    </a:cubicBezTo>
                    <a:cubicBezTo>
                      <a:pt x="610" y="304"/>
                      <a:pt x="610" y="305"/>
                      <a:pt x="611" y="305"/>
                    </a:cubicBezTo>
                    <a:cubicBezTo>
                      <a:pt x="613" y="305"/>
                      <a:pt x="613" y="305"/>
                      <a:pt x="613" y="305"/>
                    </a:cubicBezTo>
                    <a:cubicBezTo>
                      <a:pt x="614" y="306"/>
                      <a:pt x="615" y="306"/>
                      <a:pt x="615" y="306"/>
                    </a:cubicBezTo>
                    <a:cubicBezTo>
                      <a:pt x="616" y="306"/>
                      <a:pt x="616" y="306"/>
                      <a:pt x="616" y="306"/>
                    </a:cubicBezTo>
                    <a:cubicBezTo>
                      <a:pt x="617" y="306"/>
                      <a:pt x="617" y="306"/>
                      <a:pt x="618" y="306"/>
                    </a:cubicBezTo>
                    <a:cubicBezTo>
                      <a:pt x="618" y="306"/>
                      <a:pt x="619" y="306"/>
                      <a:pt x="619" y="306"/>
                    </a:cubicBezTo>
                    <a:cubicBezTo>
                      <a:pt x="620" y="306"/>
                      <a:pt x="620" y="306"/>
                      <a:pt x="620" y="306"/>
                    </a:cubicBezTo>
                    <a:cubicBezTo>
                      <a:pt x="622" y="306"/>
                      <a:pt x="623" y="308"/>
                      <a:pt x="624" y="311"/>
                    </a:cubicBezTo>
                    <a:cubicBezTo>
                      <a:pt x="625" y="312"/>
                      <a:pt x="625" y="312"/>
                      <a:pt x="625" y="312"/>
                    </a:cubicBezTo>
                    <a:cubicBezTo>
                      <a:pt x="625" y="313"/>
                      <a:pt x="626" y="313"/>
                      <a:pt x="628" y="313"/>
                    </a:cubicBezTo>
                    <a:cubicBezTo>
                      <a:pt x="629" y="313"/>
                      <a:pt x="629" y="313"/>
                      <a:pt x="629" y="313"/>
                    </a:cubicBezTo>
                    <a:cubicBezTo>
                      <a:pt x="629" y="313"/>
                      <a:pt x="630" y="313"/>
                      <a:pt x="631" y="314"/>
                    </a:cubicBezTo>
                    <a:cubicBezTo>
                      <a:pt x="631" y="314"/>
                      <a:pt x="631" y="314"/>
                      <a:pt x="631" y="314"/>
                    </a:cubicBezTo>
                    <a:cubicBezTo>
                      <a:pt x="632" y="314"/>
                      <a:pt x="633" y="314"/>
                      <a:pt x="634" y="314"/>
                    </a:cubicBezTo>
                    <a:cubicBezTo>
                      <a:pt x="635" y="315"/>
                      <a:pt x="636" y="315"/>
                      <a:pt x="636" y="316"/>
                    </a:cubicBezTo>
                    <a:cubicBezTo>
                      <a:pt x="637" y="316"/>
                      <a:pt x="637" y="316"/>
                      <a:pt x="637" y="316"/>
                    </a:cubicBezTo>
                    <a:cubicBezTo>
                      <a:pt x="637" y="315"/>
                      <a:pt x="637" y="315"/>
                      <a:pt x="637" y="315"/>
                    </a:cubicBezTo>
                    <a:cubicBezTo>
                      <a:pt x="636" y="314"/>
                      <a:pt x="636" y="314"/>
                      <a:pt x="636" y="314"/>
                    </a:cubicBezTo>
                    <a:cubicBezTo>
                      <a:pt x="636" y="312"/>
                      <a:pt x="636" y="310"/>
                      <a:pt x="637" y="307"/>
                    </a:cubicBezTo>
                    <a:cubicBezTo>
                      <a:pt x="638" y="305"/>
                      <a:pt x="639" y="305"/>
                      <a:pt x="641" y="305"/>
                    </a:cubicBezTo>
                    <a:cubicBezTo>
                      <a:pt x="641" y="305"/>
                      <a:pt x="641" y="305"/>
                      <a:pt x="641" y="305"/>
                    </a:cubicBezTo>
                    <a:cubicBezTo>
                      <a:pt x="640" y="304"/>
                      <a:pt x="640" y="302"/>
                      <a:pt x="640" y="301"/>
                    </a:cubicBezTo>
                    <a:cubicBezTo>
                      <a:pt x="641" y="299"/>
                      <a:pt x="644" y="299"/>
                      <a:pt x="647" y="298"/>
                    </a:cubicBezTo>
                    <a:cubicBezTo>
                      <a:pt x="647" y="298"/>
                      <a:pt x="647" y="298"/>
                      <a:pt x="648" y="298"/>
                    </a:cubicBezTo>
                    <a:cubicBezTo>
                      <a:pt x="647" y="297"/>
                      <a:pt x="647" y="295"/>
                      <a:pt x="647" y="294"/>
                    </a:cubicBezTo>
                    <a:cubicBezTo>
                      <a:pt x="647" y="294"/>
                      <a:pt x="647" y="294"/>
                      <a:pt x="647" y="294"/>
                    </a:cubicBezTo>
                    <a:cubicBezTo>
                      <a:pt x="647" y="293"/>
                      <a:pt x="647" y="293"/>
                      <a:pt x="647" y="293"/>
                    </a:cubicBezTo>
                    <a:cubicBezTo>
                      <a:pt x="646" y="293"/>
                      <a:pt x="646" y="292"/>
                      <a:pt x="646" y="291"/>
                    </a:cubicBezTo>
                    <a:cubicBezTo>
                      <a:pt x="646" y="291"/>
                      <a:pt x="646" y="291"/>
                      <a:pt x="646" y="291"/>
                    </a:cubicBezTo>
                    <a:cubicBezTo>
                      <a:pt x="645" y="289"/>
                      <a:pt x="644" y="287"/>
                      <a:pt x="643" y="286"/>
                    </a:cubicBezTo>
                    <a:cubicBezTo>
                      <a:pt x="643" y="285"/>
                      <a:pt x="642" y="284"/>
                      <a:pt x="642" y="283"/>
                    </a:cubicBezTo>
                    <a:cubicBezTo>
                      <a:pt x="641" y="280"/>
                      <a:pt x="640" y="277"/>
                      <a:pt x="640" y="275"/>
                    </a:cubicBezTo>
                    <a:cubicBezTo>
                      <a:pt x="640" y="273"/>
                      <a:pt x="640" y="273"/>
                      <a:pt x="640" y="273"/>
                    </a:cubicBezTo>
                    <a:cubicBezTo>
                      <a:pt x="639" y="271"/>
                      <a:pt x="639" y="268"/>
                      <a:pt x="640" y="265"/>
                    </a:cubicBezTo>
                    <a:cubicBezTo>
                      <a:pt x="640" y="264"/>
                      <a:pt x="640" y="264"/>
                      <a:pt x="640" y="264"/>
                    </a:cubicBezTo>
                    <a:cubicBezTo>
                      <a:pt x="640" y="263"/>
                      <a:pt x="639" y="263"/>
                      <a:pt x="638" y="263"/>
                    </a:cubicBezTo>
                    <a:cubicBezTo>
                      <a:pt x="638" y="263"/>
                      <a:pt x="638" y="263"/>
                      <a:pt x="638" y="263"/>
                    </a:cubicBezTo>
                    <a:cubicBezTo>
                      <a:pt x="637" y="264"/>
                      <a:pt x="636" y="264"/>
                      <a:pt x="636" y="264"/>
                    </a:cubicBezTo>
                    <a:cubicBezTo>
                      <a:pt x="635" y="264"/>
                      <a:pt x="634" y="263"/>
                      <a:pt x="632" y="262"/>
                    </a:cubicBezTo>
                    <a:cubicBezTo>
                      <a:pt x="632" y="262"/>
                      <a:pt x="632" y="262"/>
                      <a:pt x="632" y="262"/>
                    </a:cubicBezTo>
                    <a:cubicBezTo>
                      <a:pt x="631" y="261"/>
                      <a:pt x="629" y="260"/>
                      <a:pt x="631" y="258"/>
                    </a:cubicBezTo>
                    <a:cubicBezTo>
                      <a:pt x="633" y="255"/>
                      <a:pt x="636" y="254"/>
                      <a:pt x="637" y="254"/>
                    </a:cubicBezTo>
                    <a:cubicBezTo>
                      <a:pt x="638" y="253"/>
                      <a:pt x="638" y="253"/>
                      <a:pt x="638" y="253"/>
                    </a:cubicBezTo>
                    <a:cubicBezTo>
                      <a:pt x="642" y="252"/>
                      <a:pt x="646" y="251"/>
                      <a:pt x="650" y="250"/>
                    </a:cubicBezTo>
                    <a:cubicBezTo>
                      <a:pt x="661" y="247"/>
                      <a:pt x="661" y="247"/>
                      <a:pt x="661" y="247"/>
                    </a:cubicBezTo>
                    <a:cubicBezTo>
                      <a:pt x="662" y="247"/>
                      <a:pt x="662" y="247"/>
                      <a:pt x="662" y="247"/>
                    </a:cubicBezTo>
                    <a:cubicBezTo>
                      <a:pt x="663" y="247"/>
                      <a:pt x="663" y="247"/>
                      <a:pt x="663" y="247"/>
                    </a:cubicBezTo>
                    <a:cubicBezTo>
                      <a:pt x="664" y="246"/>
                      <a:pt x="666" y="246"/>
                      <a:pt x="667" y="246"/>
                    </a:cubicBezTo>
                    <a:cubicBezTo>
                      <a:pt x="668" y="246"/>
                      <a:pt x="668" y="246"/>
                      <a:pt x="668" y="246"/>
                    </a:cubicBezTo>
                    <a:cubicBezTo>
                      <a:pt x="671" y="247"/>
                      <a:pt x="671" y="249"/>
                      <a:pt x="671" y="250"/>
                    </a:cubicBezTo>
                    <a:cubicBezTo>
                      <a:pt x="671" y="250"/>
                      <a:pt x="671" y="250"/>
                      <a:pt x="671" y="250"/>
                    </a:cubicBezTo>
                    <a:cubicBezTo>
                      <a:pt x="672" y="250"/>
                      <a:pt x="672" y="250"/>
                      <a:pt x="673" y="250"/>
                    </a:cubicBezTo>
                    <a:cubicBezTo>
                      <a:pt x="673" y="250"/>
                      <a:pt x="674" y="250"/>
                      <a:pt x="675" y="250"/>
                    </a:cubicBezTo>
                    <a:cubicBezTo>
                      <a:pt x="676" y="250"/>
                      <a:pt x="676" y="250"/>
                      <a:pt x="677" y="250"/>
                    </a:cubicBezTo>
                    <a:cubicBezTo>
                      <a:pt x="678" y="250"/>
                      <a:pt x="678" y="250"/>
                      <a:pt x="678" y="250"/>
                    </a:cubicBezTo>
                    <a:cubicBezTo>
                      <a:pt x="679" y="250"/>
                      <a:pt x="680" y="250"/>
                      <a:pt x="680" y="250"/>
                    </a:cubicBezTo>
                    <a:cubicBezTo>
                      <a:pt x="681" y="250"/>
                      <a:pt x="682" y="250"/>
                      <a:pt x="683" y="250"/>
                    </a:cubicBezTo>
                    <a:cubicBezTo>
                      <a:pt x="683" y="248"/>
                      <a:pt x="683" y="248"/>
                      <a:pt x="683" y="248"/>
                    </a:cubicBezTo>
                    <a:cubicBezTo>
                      <a:pt x="682" y="247"/>
                      <a:pt x="682" y="247"/>
                      <a:pt x="682" y="247"/>
                    </a:cubicBezTo>
                    <a:cubicBezTo>
                      <a:pt x="681" y="247"/>
                      <a:pt x="681" y="247"/>
                      <a:pt x="681" y="247"/>
                    </a:cubicBezTo>
                    <a:cubicBezTo>
                      <a:pt x="680" y="247"/>
                      <a:pt x="678" y="246"/>
                      <a:pt x="677" y="245"/>
                    </a:cubicBezTo>
                    <a:cubicBezTo>
                      <a:pt x="677" y="244"/>
                      <a:pt x="677" y="243"/>
                      <a:pt x="677" y="243"/>
                    </a:cubicBezTo>
                    <a:cubicBezTo>
                      <a:pt x="690" y="205"/>
                      <a:pt x="690" y="205"/>
                      <a:pt x="690" y="205"/>
                    </a:cubicBezTo>
                    <a:cubicBezTo>
                      <a:pt x="690" y="204"/>
                      <a:pt x="691" y="201"/>
                      <a:pt x="694" y="201"/>
                    </a:cubicBezTo>
                    <a:cubicBezTo>
                      <a:pt x="695" y="201"/>
                      <a:pt x="695" y="201"/>
                      <a:pt x="696" y="201"/>
                    </a:cubicBezTo>
                    <a:cubicBezTo>
                      <a:pt x="697" y="202"/>
                      <a:pt x="699" y="203"/>
                      <a:pt x="701" y="204"/>
                    </a:cubicBezTo>
                    <a:cubicBezTo>
                      <a:pt x="702" y="205"/>
                      <a:pt x="702" y="205"/>
                      <a:pt x="702" y="205"/>
                    </a:cubicBezTo>
                    <a:cubicBezTo>
                      <a:pt x="705" y="206"/>
                      <a:pt x="709" y="208"/>
                      <a:pt x="712" y="208"/>
                    </a:cubicBezTo>
                    <a:cubicBezTo>
                      <a:pt x="712" y="208"/>
                      <a:pt x="712" y="207"/>
                      <a:pt x="713" y="207"/>
                    </a:cubicBezTo>
                    <a:cubicBezTo>
                      <a:pt x="714" y="207"/>
                      <a:pt x="716" y="206"/>
                      <a:pt x="717" y="206"/>
                    </a:cubicBezTo>
                    <a:cubicBezTo>
                      <a:pt x="721" y="206"/>
                      <a:pt x="725" y="207"/>
                      <a:pt x="726" y="208"/>
                    </a:cubicBezTo>
                    <a:cubicBezTo>
                      <a:pt x="727" y="208"/>
                      <a:pt x="728" y="209"/>
                      <a:pt x="729" y="209"/>
                    </a:cubicBezTo>
                    <a:cubicBezTo>
                      <a:pt x="730" y="209"/>
                      <a:pt x="731" y="208"/>
                      <a:pt x="734" y="207"/>
                    </a:cubicBezTo>
                    <a:cubicBezTo>
                      <a:pt x="735" y="206"/>
                      <a:pt x="735" y="206"/>
                      <a:pt x="735" y="206"/>
                    </a:cubicBezTo>
                    <a:cubicBezTo>
                      <a:pt x="739" y="204"/>
                      <a:pt x="741" y="203"/>
                      <a:pt x="741" y="200"/>
                    </a:cubicBezTo>
                    <a:cubicBezTo>
                      <a:pt x="741" y="197"/>
                      <a:pt x="740" y="195"/>
                      <a:pt x="740" y="192"/>
                    </a:cubicBezTo>
                    <a:cubicBezTo>
                      <a:pt x="739" y="190"/>
                      <a:pt x="739" y="188"/>
                      <a:pt x="739" y="186"/>
                    </a:cubicBezTo>
                    <a:cubicBezTo>
                      <a:pt x="738" y="183"/>
                      <a:pt x="742" y="174"/>
                      <a:pt x="745" y="172"/>
                    </a:cubicBezTo>
                    <a:cubicBezTo>
                      <a:pt x="746" y="172"/>
                      <a:pt x="748" y="172"/>
                      <a:pt x="749" y="172"/>
                    </a:cubicBezTo>
                    <a:cubicBezTo>
                      <a:pt x="750" y="172"/>
                      <a:pt x="750" y="172"/>
                      <a:pt x="750" y="172"/>
                    </a:cubicBezTo>
                    <a:cubicBezTo>
                      <a:pt x="753" y="172"/>
                      <a:pt x="755" y="171"/>
                      <a:pt x="759" y="170"/>
                    </a:cubicBezTo>
                    <a:cubicBezTo>
                      <a:pt x="759" y="170"/>
                      <a:pt x="761" y="168"/>
                      <a:pt x="762" y="166"/>
                    </a:cubicBezTo>
                    <a:cubicBezTo>
                      <a:pt x="762" y="166"/>
                      <a:pt x="762" y="166"/>
                      <a:pt x="762" y="166"/>
                    </a:cubicBezTo>
                    <a:cubicBezTo>
                      <a:pt x="762" y="166"/>
                      <a:pt x="762" y="165"/>
                      <a:pt x="762" y="165"/>
                    </a:cubicBezTo>
                    <a:cubicBezTo>
                      <a:pt x="762" y="164"/>
                      <a:pt x="762" y="163"/>
                      <a:pt x="762" y="163"/>
                    </a:cubicBezTo>
                    <a:cubicBezTo>
                      <a:pt x="762" y="162"/>
                      <a:pt x="762" y="162"/>
                      <a:pt x="762" y="161"/>
                    </a:cubicBezTo>
                    <a:cubicBezTo>
                      <a:pt x="762" y="161"/>
                      <a:pt x="762" y="161"/>
                      <a:pt x="762" y="161"/>
                    </a:cubicBezTo>
                    <a:cubicBezTo>
                      <a:pt x="763" y="158"/>
                      <a:pt x="764" y="156"/>
                      <a:pt x="765" y="156"/>
                    </a:cubicBezTo>
                    <a:cubicBezTo>
                      <a:pt x="766" y="155"/>
                      <a:pt x="766" y="155"/>
                      <a:pt x="767" y="155"/>
                    </a:cubicBezTo>
                    <a:cubicBezTo>
                      <a:pt x="767" y="155"/>
                      <a:pt x="767" y="155"/>
                      <a:pt x="767" y="155"/>
                    </a:cubicBezTo>
                    <a:cubicBezTo>
                      <a:pt x="768" y="155"/>
                      <a:pt x="768" y="155"/>
                      <a:pt x="768" y="155"/>
                    </a:cubicBezTo>
                    <a:cubicBezTo>
                      <a:pt x="766" y="153"/>
                      <a:pt x="763" y="151"/>
                      <a:pt x="761" y="149"/>
                    </a:cubicBezTo>
                    <a:cubicBezTo>
                      <a:pt x="760" y="149"/>
                      <a:pt x="760" y="148"/>
                      <a:pt x="760" y="148"/>
                    </a:cubicBezTo>
                    <a:cubicBezTo>
                      <a:pt x="759" y="147"/>
                      <a:pt x="759" y="147"/>
                      <a:pt x="759" y="146"/>
                    </a:cubicBezTo>
                    <a:cubicBezTo>
                      <a:pt x="758" y="147"/>
                      <a:pt x="758" y="147"/>
                      <a:pt x="757" y="148"/>
                    </a:cubicBezTo>
                    <a:cubicBezTo>
                      <a:pt x="752" y="152"/>
                      <a:pt x="752" y="152"/>
                      <a:pt x="752" y="152"/>
                    </a:cubicBezTo>
                    <a:cubicBezTo>
                      <a:pt x="751" y="150"/>
                      <a:pt x="751" y="150"/>
                      <a:pt x="751" y="150"/>
                    </a:cubicBezTo>
                    <a:cubicBezTo>
                      <a:pt x="751" y="151"/>
                      <a:pt x="751" y="151"/>
                      <a:pt x="751" y="151"/>
                    </a:cubicBezTo>
                    <a:cubicBezTo>
                      <a:pt x="748" y="151"/>
                      <a:pt x="748" y="151"/>
                      <a:pt x="748" y="151"/>
                    </a:cubicBezTo>
                    <a:cubicBezTo>
                      <a:pt x="747" y="150"/>
                      <a:pt x="747" y="150"/>
                      <a:pt x="747" y="150"/>
                    </a:cubicBezTo>
                    <a:cubicBezTo>
                      <a:pt x="746" y="150"/>
                      <a:pt x="746" y="150"/>
                      <a:pt x="746" y="150"/>
                    </a:cubicBezTo>
                    <a:cubicBezTo>
                      <a:pt x="746" y="149"/>
                      <a:pt x="746" y="149"/>
                      <a:pt x="746" y="149"/>
                    </a:cubicBezTo>
                    <a:cubicBezTo>
                      <a:pt x="745" y="149"/>
                      <a:pt x="745" y="149"/>
                      <a:pt x="745" y="149"/>
                    </a:cubicBezTo>
                    <a:cubicBezTo>
                      <a:pt x="745" y="149"/>
                      <a:pt x="745" y="149"/>
                      <a:pt x="745" y="149"/>
                    </a:cubicBezTo>
                    <a:cubicBezTo>
                      <a:pt x="734" y="148"/>
                      <a:pt x="734" y="148"/>
                      <a:pt x="734" y="148"/>
                    </a:cubicBezTo>
                    <a:cubicBezTo>
                      <a:pt x="732" y="146"/>
                      <a:pt x="732" y="146"/>
                      <a:pt x="732" y="146"/>
                    </a:cubicBezTo>
                    <a:cubicBezTo>
                      <a:pt x="732" y="146"/>
                      <a:pt x="732" y="146"/>
                      <a:pt x="732" y="146"/>
                    </a:cubicBezTo>
                    <a:cubicBezTo>
                      <a:pt x="732" y="145"/>
                      <a:pt x="732" y="145"/>
                      <a:pt x="732" y="145"/>
                    </a:cubicBezTo>
                    <a:cubicBezTo>
                      <a:pt x="732" y="144"/>
                      <a:pt x="732" y="144"/>
                      <a:pt x="732" y="144"/>
                    </a:cubicBezTo>
                    <a:cubicBezTo>
                      <a:pt x="732" y="144"/>
                      <a:pt x="732" y="144"/>
                      <a:pt x="732" y="144"/>
                    </a:cubicBezTo>
                    <a:cubicBezTo>
                      <a:pt x="731" y="143"/>
                      <a:pt x="731" y="143"/>
                      <a:pt x="731" y="143"/>
                    </a:cubicBezTo>
                    <a:cubicBezTo>
                      <a:pt x="731" y="143"/>
                      <a:pt x="731" y="143"/>
                      <a:pt x="730" y="142"/>
                    </a:cubicBezTo>
                    <a:cubicBezTo>
                      <a:pt x="730" y="142"/>
                      <a:pt x="730" y="141"/>
                      <a:pt x="730" y="141"/>
                    </a:cubicBezTo>
                    <a:cubicBezTo>
                      <a:pt x="730" y="141"/>
                      <a:pt x="730" y="141"/>
                      <a:pt x="730" y="141"/>
                    </a:cubicBezTo>
                    <a:cubicBezTo>
                      <a:pt x="729" y="140"/>
                      <a:pt x="729" y="140"/>
                      <a:pt x="728" y="140"/>
                    </a:cubicBezTo>
                    <a:cubicBezTo>
                      <a:pt x="727" y="139"/>
                      <a:pt x="727" y="139"/>
                      <a:pt x="727" y="139"/>
                    </a:cubicBezTo>
                    <a:cubicBezTo>
                      <a:pt x="727" y="138"/>
                      <a:pt x="727" y="138"/>
                      <a:pt x="727" y="138"/>
                    </a:cubicBezTo>
                    <a:cubicBezTo>
                      <a:pt x="727" y="136"/>
                      <a:pt x="727" y="136"/>
                      <a:pt x="727" y="136"/>
                    </a:cubicBezTo>
                    <a:cubicBezTo>
                      <a:pt x="719" y="132"/>
                      <a:pt x="719" y="132"/>
                      <a:pt x="719" y="132"/>
                    </a:cubicBezTo>
                    <a:cubicBezTo>
                      <a:pt x="718" y="131"/>
                      <a:pt x="718" y="131"/>
                      <a:pt x="718" y="131"/>
                    </a:cubicBezTo>
                    <a:cubicBezTo>
                      <a:pt x="718" y="131"/>
                      <a:pt x="718" y="131"/>
                      <a:pt x="718" y="131"/>
                    </a:cubicBezTo>
                    <a:cubicBezTo>
                      <a:pt x="717" y="131"/>
                      <a:pt x="717" y="131"/>
                      <a:pt x="717" y="131"/>
                    </a:cubicBezTo>
                    <a:cubicBezTo>
                      <a:pt x="714" y="131"/>
                      <a:pt x="714" y="131"/>
                      <a:pt x="714" y="131"/>
                    </a:cubicBezTo>
                    <a:cubicBezTo>
                      <a:pt x="714" y="129"/>
                      <a:pt x="714" y="129"/>
                      <a:pt x="714" y="129"/>
                    </a:cubicBezTo>
                    <a:cubicBezTo>
                      <a:pt x="713" y="129"/>
                      <a:pt x="713" y="128"/>
                      <a:pt x="713" y="126"/>
                    </a:cubicBezTo>
                    <a:cubicBezTo>
                      <a:pt x="713" y="126"/>
                      <a:pt x="713" y="126"/>
                      <a:pt x="713" y="126"/>
                    </a:cubicBezTo>
                    <a:cubicBezTo>
                      <a:pt x="713" y="125"/>
                      <a:pt x="713" y="125"/>
                      <a:pt x="713" y="125"/>
                    </a:cubicBezTo>
                    <a:cubicBezTo>
                      <a:pt x="712" y="124"/>
                      <a:pt x="712" y="124"/>
                      <a:pt x="712" y="124"/>
                    </a:cubicBezTo>
                    <a:cubicBezTo>
                      <a:pt x="712" y="123"/>
                      <a:pt x="711" y="121"/>
                      <a:pt x="710" y="120"/>
                    </a:cubicBezTo>
                    <a:cubicBezTo>
                      <a:pt x="708" y="117"/>
                      <a:pt x="708" y="117"/>
                      <a:pt x="708" y="117"/>
                    </a:cubicBezTo>
                    <a:cubicBezTo>
                      <a:pt x="707" y="116"/>
                      <a:pt x="707" y="116"/>
                      <a:pt x="707" y="116"/>
                    </a:cubicBezTo>
                    <a:cubicBezTo>
                      <a:pt x="707" y="116"/>
                      <a:pt x="706" y="116"/>
                      <a:pt x="706" y="116"/>
                    </a:cubicBezTo>
                    <a:cubicBezTo>
                      <a:pt x="705" y="115"/>
                      <a:pt x="704" y="115"/>
                      <a:pt x="704" y="115"/>
                    </a:cubicBezTo>
                    <a:cubicBezTo>
                      <a:pt x="695" y="113"/>
                      <a:pt x="695" y="113"/>
                      <a:pt x="695" y="113"/>
                    </a:cubicBezTo>
                    <a:cubicBezTo>
                      <a:pt x="689" y="115"/>
                      <a:pt x="689" y="115"/>
                      <a:pt x="689" y="115"/>
                    </a:cubicBezTo>
                    <a:cubicBezTo>
                      <a:pt x="689" y="115"/>
                      <a:pt x="689" y="115"/>
                      <a:pt x="689" y="115"/>
                    </a:cubicBezTo>
                    <a:cubicBezTo>
                      <a:pt x="688" y="118"/>
                      <a:pt x="688" y="118"/>
                      <a:pt x="688" y="118"/>
                    </a:cubicBezTo>
                    <a:cubicBezTo>
                      <a:pt x="687" y="118"/>
                      <a:pt x="687" y="118"/>
                      <a:pt x="687" y="118"/>
                    </a:cubicBezTo>
                    <a:cubicBezTo>
                      <a:pt x="687" y="118"/>
                      <a:pt x="687" y="118"/>
                      <a:pt x="686" y="118"/>
                    </a:cubicBezTo>
                    <a:cubicBezTo>
                      <a:pt x="686" y="119"/>
                      <a:pt x="685" y="119"/>
                      <a:pt x="685" y="119"/>
                    </a:cubicBezTo>
                    <a:cubicBezTo>
                      <a:pt x="684" y="119"/>
                      <a:pt x="684" y="119"/>
                      <a:pt x="684" y="119"/>
                    </a:cubicBezTo>
                    <a:cubicBezTo>
                      <a:pt x="683" y="120"/>
                      <a:pt x="683" y="120"/>
                      <a:pt x="683" y="120"/>
                    </a:cubicBezTo>
                    <a:cubicBezTo>
                      <a:pt x="683" y="120"/>
                      <a:pt x="683" y="120"/>
                      <a:pt x="683" y="120"/>
                    </a:cubicBezTo>
                    <a:cubicBezTo>
                      <a:pt x="680" y="120"/>
                      <a:pt x="680" y="120"/>
                      <a:pt x="680" y="120"/>
                    </a:cubicBezTo>
                    <a:cubicBezTo>
                      <a:pt x="671" y="119"/>
                      <a:pt x="671" y="119"/>
                      <a:pt x="671" y="119"/>
                    </a:cubicBezTo>
                    <a:cubicBezTo>
                      <a:pt x="671" y="119"/>
                      <a:pt x="671" y="119"/>
                      <a:pt x="671" y="119"/>
                    </a:cubicBezTo>
                    <a:cubicBezTo>
                      <a:pt x="670" y="119"/>
                      <a:pt x="669" y="119"/>
                      <a:pt x="669" y="119"/>
                    </a:cubicBezTo>
                    <a:cubicBezTo>
                      <a:pt x="668" y="119"/>
                      <a:pt x="668" y="119"/>
                      <a:pt x="667" y="119"/>
                    </a:cubicBezTo>
                    <a:cubicBezTo>
                      <a:pt x="667" y="120"/>
                      <a:pt x="667" y="120"/>
                      <a:pt x="667" y="120"/>
                    </a:cubicBezTo>
                    <a:cubicBezTo>
                      <a:pt x="666" y="120"/>
                      <a:pt x="666" y="120"/>
                      <a:pt x="665" y="120"/>
                    </a:cubicBezTo>
                    <a:cubicBezTo>
                      <a:pt x="665" y="120"/>
                      <a:pt x="665" y="120"/>
                      <a:pt x="664" y="120"/>
                    </a:cubicBezTo>
                    <a:cubicBezTo>
                      <a:pt x="662" y="119"/>
                      <a:pt x="662" y="119"/>
                      <a:pt x="662" y="119"/>
                    </a:cubicBezTo>
                    <a:cubicBezTo>
                      <a:pt x="661" y="119"/>
                      <a:pt x="661" y="119"/>
                      <a:pt x="661" y="119"/>
                    </a:cubicBezTo>
                    <a:cubicBezTo>
                      <a:pt x="661" y="118"/>
                      <a:pt x="661" y="118"/>
                      <a:pt x="661" y="118"/>
                    </a:cubicBezTo>
                    <a:cubicBezTo>
                      <a:pt x="660" y="118"/>
                      <a:pt x="659" y="117"/>
                      <a:pt x="658" y="116"/>
                    </a:cubicBezTo>
                    <a:cubicBezTo>
                      <a:pt x="657" y="115"/>
                      <a:pt x="657" y="115"/>
                      <a:pt x="656" y="114"/>
                    </a:cubicBezTo>
                    <a:cubicBezTo>
                      <a:pt x="654" y="114"/>
                      <a:pt x="654" y="114"/>
                      <a:pt x="654" y="114"/>
                    </a:cubicBezTo>
                    <a:cubicBezTo>
                      <a:pt x="653" y="112"/>
                      <a:pt x="653" y="112"/>
                      <a:pt x="653" y="112"/>
                    </a:cubicBezTo>
                    <a:cubicBezTo>
                      <a:pt x="653" y="111"/>
                      <a:pt x="653" y="111"/>
                      <a:pt x="653" y="111"/>
                    </a:cubicBezTo>
                    <a:cubicBezTo>
                      <a:pt x="653" y="110"/>
                      <a:pt x="653" y="110"/>
                      <a:pt x="653" y="110"/>
                    </a:cubicBezTo>
                    <a:cubicBezTo>
                      <a:pt x="653" y="109"/>
                      <a:pt x="654" y="108"/>
                      <a:pt x="654" y="107"/>
                    </a:cubicBezTo>
                    <a:cubicBezTo>
                      <a:pt x="649" y="106"/>
                      <a:pt x="649" y="106"/>
                      <a:pt x="649" y="106"/>
                    </a:cubicBezTo>
                    <a:cubicBezTo>
                      <a:pt x="649" y="107"/>
                      <a:pt x="649" y="107"/>
                      <a:pt x="649" y="107"/>
                    </a:cubicBezTo>
                    <a:cubicBezTo>
                      <a:pt x="647" y="108"/>
                      <a:pt x="647" y="108"/>
                      <a:pt x="647" y="108"/>
                    </a:cubicBezTo>
                    <a:cubicBezTo>
                      <a:pt x="647" y="108"/>
                      <a:pt x="647" y="108"/>
                      <a:pt x="646" y="108"/>
                    </a:cubicBezTo>
                    <a:cubicBezTo>
                      <a:pt x="646" y="108"/>
                      <a:pt x="646" y="108"/>
                      <a:pt x="646" y="108"/>
                    </a:cubicBezTo>
                    <a:cubicBezTo>
                      <a:pt x="646" y="108"/>
                      <a:pt x="646" y="108"/>
                      <a:pt x="646" y="108"/>
                    </a:cubicBezTo>
                    <a:cubicBezTo>
                      <a:pt x="646" y="109"/>
                      <a:pt x="647" y="110"/>
                      <a:pt x="646" y="111"/>
                    </a:cubicBezTo>
                    <a:cubicBezTo>
                      <a:pt x="646" y="112"/>
                      <a:pt x="646" y="112"/>
                      <a:pt x="646" y="112"/>
                    </a:cubicBezTo>
                    <a:cubicBezTo>
                      <a:pt x="646" y="112"/>
                      <a:pt x="646" y="112"/>
                      <a:pt x="646" y="112"/>
                    </a:cubicBezTo>
                    <a:cubicBezTo>
                      <a:pt x="652" y="116"/>
                      <a:pt x="652" y="116"/>
                      <a:pt x="652" y="116"/>
                    </a:cubicBezTo>
                    <a:cubicBezTo>
                      <a:pt x="645" y="113"/>
                      <a:pt x="645" y="113"/>
                      <a:pt x="645" y="113"/>
                    </a:cubicBezTo>
                    <a:cubicBezTo>
                      <a:pt x="645" y="114"/>
                      <a:pt x="645" y="114"/>
                      <a:pt x="645" y="114"/>
                    </a:cubicBezTo>
                    <a:cubicBezTo>
                      <a:pt x="642" y="115"/>
                      <a:pt x="642" y="115"/>
                      <a:pt x="642" y="115"/>
                    </a:cubicBezTo>
                    <a:cubicBezTo>
                      <a:pt x="642" y="115"/>
                      <a:pt x="642" y="115"/>
                      <a:pt x="642" y="115"/>
                    </a:cubicBezTo>
                    <a:cubicBezTo>
                      <a:pt x="641" y="115"/>
                      <a:pt x="641" y="115"/>
                      <a:pt x="641" y="115"/>
                    </a:cubicBezTo>
                    <a:cubicBezTo>
                      <a:pt x="641" y="115"/>
                      <a:pt x="641" y="115"/>
                      <a:pt x="641" y="115"/>
                    </a:cubicBezTo>
                    <a:cubicBezTo>
                      <a:pt x="641" y="115"/>
                      <a:pt x="641" y="115"/>
                      <a:pt x="641" y="115"/>
                    </a:cubicBezTo>
                    <a:cubicBezTo>
                      <a:pt x="640" y="116"/>
                      <a:pt x="640" y="117"/>
                      <a:pt x="639" y="117"/>
                    </a:cubicBezTo>
                    <a:cubicBezTo>
                      <a:pt x="639" y="118"/>
                      <a:pt x="639" y="118"/>
                      <a:pt x="639" y="118"/>
                    </a:cubicBezTo>
                    <a:cubicBezTo>
                      <a:pt x="637" y="119"/>
                      <a:pt x="637" y="119"/>
                      <a:pt x="637" y="119"/>
                    </a:cubicBezTo>
                    <a:cubicBezTo>
                      <a:pt x="636" y="119"/>
                      <a:pt x="636" y="119"/>
                      <a:pt x="636" y="119"/>
                    </a:cubicBezTo>
                    <a:cubicBezTo>
                      <a:pt x="635" y="118"/>
                      <a:pt x="635" y="118"/>
                      <a:pt x="635" y="118"/>
                    </a:cubicBezTo>
                    <a:cubicBezTo>
                      <a:pt x="634" y="116"/>
                      <a:pt x="634" y="116"/>
                      <a:pt x="634" y="116"/>
                    </a:cubicBezTo>
                    <a:cubicBezTo>
                      <a:pt x="631" y="114"/>
                      <a:pt x="631" y="114"/>
                      <a:pt x="631" y="114"/>
                    </a:cubicBezTo>
                    <a:cubicBezTo>
                      <a:pt x="632" y="113"/>
                      <a:pt x="632" y="113"/>
                      <a:pt x="632" y="113"/>
                    </a:cubicBezTo>
                    <a:cubicBezTo>
                      <a:pt x="628" y="108"/>
                      <a:pt x="624" y="101"/>
                      <a:pt x="620" y="95"/>
                    </a:cubicBezTo>
                    <a:cubicBezTo>
                      <a:pt x="618" y="92"/>
                      <a:pt x="618" y="92"/>
                      <a:pt x="618" y="92"/>
                    </a:cubicBezTo>
                    <a:cubicBezTo>
                      <a:pt x="614" y="86"/>
                      <a:pt x="610" y="79"/>
                      <a:pt x="606" y="72"/>
                    </a:cubicBezTo>
                    <a:cubicBezTo>
                      <a:pt x="601" y="66"/>
                      <a:pt x="601" y="66"/>
                      <a:pt x="601" y="66"/>
                    </a:cubicBezTo>
                    <a:cubicBezTo>
                      <a:pt x="594" y="56"/>
                      <a:pt x="594" y="56"/>
                      <a:pt x="594" y="56"/>
                    </a:cubicBezTo>
                    <a:cubicBezTo>
                      <a:pt x="591" y="53"/>
                      <a:pt x="589" y="51"/>
                      <a:pt x="587" y="49"/>
                    </a:cubicBezTo>
                    <a:cubicBezTo>
                      <a:pt x="576" y="42"/>
                      <a:pt x="576" y="42"/>
                      <a:pt x="576" y="42"/>
                    </a:cubicBezTo>
                    <a:cubicBezTo>
                      <a:pt x="572" y="38"/>
                      <a:pt x="572" y="38"/>
                      <a:pt x="572" y="38"/>
                    </a:cubicBezTo>
                    <a:cubicBezTo>
                      <a:pt x="571" y="37"/>
                      <a:pt x="569" y="36"/>
                      <a:pt x="568" y="34"/>
                    </a:cubicBezTo>
                    <a:cubicBezTo>
                      <a:pt x="563" y="29"/>
                      <a:pt x="563" y="29"/>
                      <a:pt x="563" y="29"/>
                    </a:cubicBezTo>
                    <a:cubicBezTo>
                      <a:pt x="555" y="32"/>
                      <a:pt x="555" y="32"/>
                      <a:pt x="555" y="32"/>
                    </a:cubicBezTo>
                    <a:cubicBezTo>
                      <a:pt x="553" y="33"/>
                      <a:pt x="550" y="35"/>
                      <a:pt x="548" y="36"/>
                    </a:cubicBezTo>
                    <a:cubicBezTo>
                      <a:pt x="547" y="36"/>
                      <a:pt x="547" y="36"/>
                      <a:pt x="547" y="36"/>
                    </a:cubicBezTo>
                    <a:cubicBezTo>
                      <a:pt x="545" y="38"/>
                      <a:pt x="542" y="39"/>
                      <a:pt x="539" y="40"/>
                    </a:cubicBezTo>
                    <a:cubicBezTo>
                      <a:pt x="531" y="43"/>
                      <a:pt x="531" y="43"/>
                      <a:pt x="531" y="43"/>
                    </a:cubicBezTo>
                    <a:cubicBezTo>
                      <a:pt x="531" y="44"/>
                      <a:pt x="531" y="44"/>
                      <a:pt x="531" y="44"/>
                    </a:cubicBezTo>
                    <a:cubicBezTo>
                      <a:pt x="531" y="44"/>
                      <a:pt x="531" y="45"/>
                      <a:pt x="531" y="46"/>
                    </a:cubicBezTo>
                    <a:cubicBezTo>
                      <a:pt x="531" y="48"/>
                      <a:pt x="531" y="48"/>
                      <a:pt x="531" y="48"/>
                    </a:cubicBezTo>
                    <a:cubicBezTo>
                      <a:pt x="528" y="50"/>
                      <a:pt x="528" y="50"/>
                      <a:pt x="528" y="50"/>
                    </a:cubicBezTo>
                    <a:cubicBezTo>
                      <a:pt x="525" y="48"/>
                      <a:pt x="525" y="48"/>
                      <a:pt x="525" y="48"/>
                    </a:cubicBezTo>
                    <a:cubicBezTo>
                      <a:pt x="524" y="48"/>
                      <a:pt x="524" y="48"/>
                      <a:pt x="524" y="47"/>
                    </a:cubicBezTo>
                    <a:cubicBezTo>
                      <a:pt x="522" y="47"/>
                      <a:pt x="522" y="47"/>
                      <a:pt x="522" y="47"/>
                    </a:cubicBezTo>
                    <a:cubicBezTo>
                      <a:pt x="518" y="47"/>
                      <a:pt x="518" y="47"/>
                      <a:pt x="518" y="47"/>
                    </a:cubicBezTo>
                    <a:cubicBezTo>
                      <a:pt x="517" y="47"/>
                      <a:pt x="517" y="47"/>
                      <a:pt x="517" y="47"/>
                    </a:cubicBezTo>
                    <a:cubicBezTo>
                      <a:pt x="516" y="47"/>
                      <a:pt x="516" y="47"/>
                      <a:pt x="515" y="48"/>
                    </a:cubicBezTo>
                    <a:cubicBezTo>
                      <a:pt x="509" y="52"/>
                      <a:pt x="509" y="52"/>
                      <a:pt x="509" y="52"/>
                    </a:cubicBezTo>
                    <a:cubicBezTo>
                      <a:pt x="503" y="42"/>
                      <a:pt x="503" y="42"/>
                      <a:pt x="503" y="42"/>
                    </a:cubicBezTo>
                    <a:cubicBezTo>
                      <a:pt x="505" y="40"/>
                      <a:pt x="505" y="40"/>
                      <a:pt x="505" y="40"/>
                    </a:cubicBezTo>
                    <a:cubicBezTo>
                      <a:pt x="505" y="39"/>
                      <a:pt x="507" y="38"/>
                      <a:pt x="507" y="37"/>
                    </a:cubicBezTo>
                    <a:cubicBezTo>
                      <a:pt x="508" y="36"/>
                      <a:pt x="508" y="36"/>
                      <a:pt x="508" y="36"/>
                    </a:cubicBezTo>
                    <a:cubicBezTo>
                      <a:pt x="504" y="37"/>
                      <a:pt x="504" y="37"/>
                      <a:pt x="504" y="37"/>
                    </a:cubicBezTo>
                    <a:cubicBezTo>
                      <a:pt x="503" y="36"/>
                      <a:pt x="503" y="36"/>
                      <a:pt x="503" y="36"/>
                    </a:cubicBezTo>
                    <a:cubicBezTo>
                      <a:pt x="501" y="36"/>
                      <a:pt x="499" y="35"/>
                      <a:pt x="497" y="34"/>
                    </a:cubicBezTo>
                    <a:cubicBezTo>
                      <a:pt x="497" y="34"/>
                      <a:pt x="497" y="34"/>
                      <a:pt x="497" y="34"/>
                    </a:cubicBezTo>
                    <a:cubicBezTo>
                      <a:pt x="496" y="34"/>
                      <a:pt x="496" y="34"/>
                      <a:pt x="496" y="34"/>
                    </a:cubicBezTo>
                    <a:cubicBezTo>
                      <a:pt x="495" y="35"/>
                      <a:pt x="495" y="35"/>
                      <a:pt x="495" y="35"/>
                    </a:cubicBezTo>
                    <a:cubicBezTo>
                      <a:pt x="494" y="36"/>
                      <a:pt x="494" y="36"/>
                      <a:pt x="493" y="37"/>
                    </a:cubicBezTo>
                    <a:cubicBezTo>
                      <a:pt x="491" y="38"/>
                      <a:pt x="491" y="38"/>
                      <a:pt x="491" y="38"/>
                    </a:cubicBezTo>
                    <a:cubicBezTo>
                      <a:pt x="486" y="39"/>
                      <a:pt x="486" y="39"/>
                      <a:pt x="486" y="39"/>
                    </a:cubicBezTo>
                    <a:cubicBezTo>
                      <a:pt x="488" y="34"/>
                      <a:pt x="488" y="34"/>
                      <a:pt x="488" y="34"/>
                    </a:cubicBezTo>
                    <a:cubicBezTo>
                      <a:pt x="488" y="34"/>
                      <a:pt x="488" y="34"/>
                      <a:pt x="488" y="34"/>
                    </a:cubicBezTo>
                    <a:cubicBezTo>
                      <a:pt x="488" y="33"/>
                      <a:pt x="488" y="33"/>
                      <a:pt x="488" y="33"/>
                    </a:cubicBezTo>
                    <a:cubicBezTo>
                      <a:pt x="487" y="32"/>
                      <a:pt x="487" y="32"/>
                      <a:pt x="487" y="32"/>
                    </a:cubicBezTo>
                    <a:cubicBezTo>
                      <a:pt x="487" y="32"/>
                      <a:pt x="487" y="32"/>
                      <a:pt x="487" y="31"/>
                    </a:cubicBezTo>
                    <a:cubicBezTo>
                      <a:pt x="486" y="33"/>
                      <a:pt x="486" y="33"/>
                      <a:pt x="486" y="33"/>
                    </a:cubicBezTo>
                    <a:cubicBezTo>
                      <a:pt x="483" y="31"/>
                      <a:pt x="483" y="31"/>
                      <a:pt x="483" y="31"/>
                    </a:cubicBezTo>
                    <a:cubicBezTo>
                      <a:pt x="482" y="31"/>
                      <a:pt x="482" y="31"/>
                      <a:pt x="482" y="31"/>
                    </a:cubicBezTo>
                    <a:cubicBezTo>
                      <a:pt x="482" y="31"/>
                      <a:pt x="482" y="31"/>
                      <a:pt x="482" y="31"/>
                    </a:cubicBezTo>
                    <a:cubicBezTo>
                      <a:pt x="478" y="32"/>
                      <a:pt x="478" y="32"/>
                      <a:pt x="478" y="32"/>
                    </a:cubicBezTo>
                    <a:cubicBezTo>
                      <a:pt x="474" y="33"/>
                      <a:pt x="474" y="33"/>
                      <a:pt x="474" y="33"/>
                    </a:cubicBezTo>
                    <a:cubicBezTo>
                      <a:pt x="473" y="33"/>
                      <a:pt x="472" y="33"/>
                      <a:pt x="471" y="33"/>
                    </a:cubicBezTo>
                    <a:cubicBezTo>
                      <a:pt x="470" y="33"/>
                      <a:pt x="470" y="33"/>
                      <a:pt x="470" y="33"/>
                    </a:cubicBezTo>
                    <a:cubicBezTo>
                      <a:pt x="469" y="33"/>
                      <a:pt x="469" y="33"/>
                      <a:pt x="469" y="33"/>
                    </a:cubicBezTo>
                    <a:cubicBezTo>
                      <a:pt x="467" y="33"/>
                      <a:pt x="467" y="33"/>
                      <a:pt x="467" y="33"/>
                    </a:cubicBezTo>
                    <a:cubicBezTo>
                      <a:pt x="465" y="32"/>
                      <a:pt x="465" y="32"/>
                      <a:pt x="465" y="32"/>
                    </a:cubicBezTo>
                    <a:cubicBezTo>
                      <a:pt x="464" y="31"/>
                      <a:pt x="464" y="31"/>
                      <a:pt x="464" y="31"/>
                    </a:cubicBezTo>
                    <a:cubicBezTo>
                      <a:pt x="464" y="31"/>
                      <a:pt x="464" y="31"/>
                      <a:pt x="464" y="31"/>
                    </a:cubicBezTo>
                    <a:cubicBezTo>
                      <a:pt x="463" y="30"/>
                      <a:pt x="463" y="30"/>
                      <a:pt x="463" y="30"/>
                    </a:cubicBezTo>
                    <a:cubicBezTo>
                      <a:pt x="463" y="29"/>
                      <a:pt x="463" y="29"/>
                      <a:pt x="463" y="29"/>
                    </a:cubicBezTo>
                    <a:cubicBezTo>
                      <a:pt x="462" y="29"/>
                      <a:pt x="462" y="28"/>
                      <a:pt x="462" y="28"/>
                    </a:cubicBezTo>
                    <a:cubicBezTo>
                      <a:pt x="461" y="27"/>
                      <a:pt x="461" y="27"/>
                      <a:pt x="461" y="26"/>
                    </a:cubicBezTo>
                    <a:cubicBezTo>
                      <a:pt x="461" y="26"/>
                      <a:pt x="461" y="26"/>
                      <a:pt x="461" y="26"/>
                    </a:cubicBezTo>
                    <a:cubicBezTo>
                      <a:pt x="461" y="24"/>
                      <a:pt x="461" y="24"/>
                      <a:pt x="461" y="24"/>
                    </a:cubicBezTo>
                    <a:cubicBezTo>
                      <a:pt x="462" y="23"/>
                      <a:pt x="462" y="23"/>
                      <a:pt x="462" y="23"/>
                    </a:cubicBezTo>
                    <a:cubicBezTo>
                      <a:pt x="463" y="23"/>
                      <a:pt x="463" y="23"/>
                      <a:pt x="463" y="23"/>
                    </a:cubicBezTo>
                    <a:cubicBezTo>
                      <a:pt x="464" y="23"/>
                      <a:pt x="464" y="23"/>
                      <a:pt x="464" y="23"/>
                    </a:cubicBezTo>
                    <a:cubicBezTo>
                      <a:pt x="465" y="23"/>
                      <a:pt x="465" y="23"/>
                      <a:pt x="465" y="23"/>
                    </a:cubicBezTo>
                    <a:cubicBezTo>
                      <a:pt x="464" y="21"/>
                      <a:pt x="464" y="21"/>
                      <a:pt x="464" y="21"/>
                    </a:cubicBezTo>
                    <a:cubicBezTo>
                      <a:pt x="464" y="18"/>
                      <a:pt x="464" y="18"/>
                      <a:pt x="464" y="18"/>
                    </a:cubicBezTo>
                    <a:cubicBezTo>
                      <a:pt x="466" y="15"/>
                      <a:pt x="466" y="15"/>
                      <a:pt x="466" y="15"/>
                    </a:cubicBezTo>
                    <a:cubicBezTo>
                      <a:pt x="465" y="14"/>
                      <a:pt x="465" y="14"/>
                      <a:pt x="465" y="14"/>
                    </a:cubicBezTo>
                    <a:cubicBezTo>
                      <a:pt x="462" y="9"/>
                      <a:pt x="462" y="9"/>
                      <a:pt x="462" y="9"/>
                    </a:cubicBezTo>
                    <a:cubicBezTo>
                      <a:pt x="461" y="7"/>
                      <a:pt x="460" y="4"/>
                      <a:pt x="458" y="2"/>
                    </a:cubicBezTo>
                    <a:cubicBezTo>
                      <a:pt x="458" y="1"/>
                      <a:pt x="458" y="1"/>
                      <a:pt x="458" y="1"/>
                    </a:cubicBezTo>
                    <a:cubicBezTo>
                      <a:pt x="455" y="2"/>
                      <a:pt x="455" y="2"/>
                      <a:pt x="455" y="2"/>
                    </a:cubicBezTo>
                    <a:cubicBezTo>
                      <a:pt x="454" y="3"/>
                      <a:pt x="452" y="4"/>
                      <a:pt x="451" y="5"/>
                    </a:cubicBezTo>
                    <a:cubicBezTo>
                      <a:pt x="450" y="5"/>
                      <a:pt x="450" y="5"/>
                      <a:pt x="450" y="5"/>
                    </a:cubicBezTo>
                    <a:cubicBezTo>
                      <a:pt x="448" y="6"/>
                      <a:pt x="448" y="6"/>
                      <a:pt x="448" y="6"/>
                    </a:cubicBezTo>
                    <a:cubicBezTo>
                      <a:pt x="447" y="5"/>
                      <a:pt x="447" y="5"/>
                      <a:pt x="447" y="5"/>
                    </a:cubicBezTo>
                    <a:cubicBezTo>
                      <a:pt x="445" y="5"/>
                      <a:pt x="444" y="4"/>
                      <a:pt x="443" y="4"/>
                    </a:cubicBezTo>
                    <a:cubicBezTo>
                      <a:pt x="442" y="4"/>
                      <a:pt x="442" y="4"/>
                      <a:pt x="442" y="4"/>
                    </a:cubicBezTo>
                    <a:cubicBezTo>
                      <a:pt x="441" y="3"/>
                      <a:pt x="440" y="2"/>
                      <a:pt x="439" y="1"/>
                    </a:cubicBezTo>
                    <a:cubicBezTo>
                      <a:pt x="438" y="1"/>
                      <a:pt x="438" y="1"/>
                      <a:pt x="438" y="1"/>
                    </a:cubicBezTo>
                    <a:cubicBezTo>
                      <a:pt x="437" y="0"/>
                      <a:pt x="437" y="0"/>
                      <a:pt x="437" y="0"/>
                    </a:cubicBezTo>
                    <a:cubicBezTo>
                      <a:pt x="431" y="0"/>
                      <a:pt x="431" y="0"/>
                      <a:pt x="4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Freeform 405"/>
              <p:cNvSpPr/>
              <p:nvPr/>
            </p:nvSpPr>
            <p:spPr bwMode="auto">
              <a:xfrm>
                <a:off x="5960" y="593"/>
                <a:ext cx="4" cy="4"/>
              </a:xfrm>
              <a:custGeom>
                <a:gdLst>
                  <a:gd name="T0" fmla="*/ 2 w 2"/>
                  <a:gd name="T1" fmla="*/ 0 h 2"/>
                  <a:gd name="T2" fmla="*/ 0 w 2"/>
                  <a:gd name="T3" fmla="*/ 1 h 2"/>
                  <a:gd name="T4" fmla="*/ 2 w 2"/>
                  <a:gd name="T5" fmla="*/ 2 h 2"/>
                  <a:gd name="T6" fmla="*/ 2 w 2"/>
                  <a:gd name="T7" fmla="*/ 1 h 2"/>
                  <a:gd name="T8" fmla="*/ 2 w 2"/>
                  <a:gd name="T9" fmla="*/ 1 h 2"/>
                  <a:gd name="T10" fmla="*/ 2 w 2"/>
                  <a:gd name="T11" fmla="*/ 0 h 2"/>
                </a:gdLst>
                <a:cxnLst>
                  <a:cxn ang="0">
                    <a:pos x="T0" y="T1"/>
                  </a:cxn>
                  <a:cxn ang="0">
                    <a:pos x="T2" y="T3"/>
                  </a:cxn>
                  <a:cxn ang="0">
                    <a:pos x="T4" y="T5"/>
                  </a:cxn>
                  <a:cxn ang="0">
                    <a:pos x="T6" y="T7"/>
                  </a:cxn>
                  <a:cxn ang="0">
                    <a:pos x="T8" y="T9"/>
                  </a:cxn>
                  <a:cxn ang="0">
                    <a:pos x="T10" y="T11"/>
                  </a:cxn>
                </a:cxnLst>
                <a:rect l="0" t="0" r="r" b="b"/>
                <a:pathLst>
                  <a:path w="2" h="2">
                    <a:moveTo>
                      <a:pt x="2" y="0"/>
                    </a:moveTo>
                    <a:cubicBezTo>
                      <a:pt x="0" y="1"/>
                      <a:pt x="0" y="1"/>
                      <a:pt x="0" y="1"/>
                    </a:cubicBezTo>
                    <a:cubicBezTo>
                      <a:pt x="1" y="1"/>
                      <a:pt x="1" y="1"/>
                      <a:pt x="2" y="2"/>
                    </a:cubicBezTo>
                    <a:cubicBezTo>
                      <a:pt x="2" y="1"/>
                      <a:pt x="2" y="1"/>
                      <a:pt x="2" y="1"/>
                    </a:cubicBezTo>
                    <a:cubicBezTo>
                      <a:pt x="2" y="1"/>
                      <a:pt x="2"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8" name="Rectangle 407"/>
            <p:cNvSpPr>
              <a:spLocks noChangeArrowheads="1"/>
            </p:cNvSpPr>
            <p:nvPr/>
          </p:nvSpPr>
          <p:spPr bwMode="auto">
            <a:xfrm>
              <a:off x="1566640" y="3258406"/>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408"/>
            <p:cNvSpPr/>
            <p:nvPr/>
          </p:nvSpPr>
          <p:spPr bwMode="auto">
            <a:xfrm flipH="1">
              <a:off x="1566640" y="325840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409"/>
            <p:cNvSpPr>
              <a:spLocks noChangeArrowheads="1"/>
            </p:cNvSpPr>
            <p:nvPr/>
          </p:nvSpPr>
          <p:spPr bwMode="auto">
            <a:xfrm>
              <a:off x="5596712" y="3570633"/>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410"/>
            <p:cNvSpPr/>
            <p:nvPr/>
          </p:nvSpPr>
          <p:spPr bwMode="auto">
            <a:xfrm flipH="1">
              <a:off x="5596712" y="357063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411"/>
            <p:cNvSpPr/>
            <p:nvPr/>
          </p:nvSpPr>
          <p:spPr bwMode="auto">
            <a:xfrm>
              <a:off x="3841636" y="3466099"/>
              <a:ext cx="6878" cy="6878"/>
            </a:xfrm>
            <a:custGeom>
              <a:gdLst>
                <a:gd name="T0" fmla="*/ 2 w 2"/>
                <a:gd name="T1" fmla="*/ 0 h 2"/>
                <a:gd name="T2" fmla="*/ 0 w 2"/>
                <a:gd name="T3" fmla="*/ 0 h 2"/>
                <a:gd name="T4" fmla="*/ 0 w 2"/>
                <a:gd name="T5" fmla="*/ 0 h 2"/>
                <a:gd name="T6" fmla="*/ 1 w 2"/>
                <a:gd name="T7" fmla="*/ 2 h 2"/>
                <a:gd name="T8" fmla="*/ 2 w 2"/>
                <a:gd name="T9" fmla="*/ 1 h 2"/>
                <a:gd name="T10" fmla="*/ 2 w 2"/>
                <a:gd name="T11" fmla="*/ 0 h 2"/>
              </a:gdLst>
              <a:cxnLst>
                <a:cxn ang="0">
                  <a:pos x="T0" y="T1"/>
                </a:cxn>
                <a:cxn ang="0">
                  <a:pos x="T2" y="T3"/>
                </a:cxn>
                <a:cxn ang="0">
                  <a:pos x="T4" y="T5"/>
                </a:cxn>
                <a:cxn ang="0">
                  <a:pos x="T6" y="T7"/>
                </a:cxn>
                <a:cxn ang="0">
                  <a:pos x="T8" y="T9"/>
                </a:cxn>
                <a:cxn ang="0">
                  <a:pos x="T10" y="T11"/>
                </a:cxn>
              </a:cxnLst>
              <a:rect l="0" t="0" r="r" b="b"/>
              <a:pathLst>
                <a:path w="2" h="2">
                  <a:moveTo>
                    <a:pt x="2" y="0"/>
                  </a:moveTo>
                  <a:cubicBezTo>
                    <a:pt x="1" y="0"/>
                    <a:pt x="0" y="0"/>
                    <a:pt x="0" y="0"/>
                  </a:cubicBezTo>
                  <a:cubicBezTo>
                    <a:pt x="0" y="0"/>
                    <a:pt x="0" y="0"/>
                    <a:pt x="0" y="0"/>
                  </a:cubicBezTo>
                  <a:cubicBezTo>
                    <a:pt x="1" y="2"/>
                    <a:pt x="1" y="2"/>
                    <a:pt x="1" y="2"/>
                  </a:cubicBezTo>
                  <a:cubicBezTo>
                    <a:pt x="1" y="1"/>
                    <a:pt x="2"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412"/>
            <p:cNvSpPr>
              <a:spLocks noEditPoints="1"/>
            </p:cNvSpPr>
            <p:nvPr/>
          </p:nvSpPr>
          <p:spPr bwMode="auto">
            <a:xfrm>
              <a:off x="2983355" y="3105731"/>
              <a:ext cx="3771487" cy="2398787"/>
            </a:xfrm>
            <a:custGeom>
              <a:gdLst>
                <a:gd name="T0" fmla="*/ 111 w 1160"/>
                <a:gd name="T1" fmla="*/ 446 h 738"/>
                <a:gd name="T2" fmla="*/ 104 w 1160"/>
                <a:gd name="T3" fmla="*/ 413 h 738"/>
                <a:gd name="T4" fmla="*/ 893 w 1160"/>
                <a:gd name="T5" fmla="*/ 20 h 738"/>
                <a:gd name="T6" fmla="*/ 869 w 1160"/>
                <a:gd name="T7" fmla="*/ 87 h 738"/>
                <a:gd name="T8" fmla="*/ 826 w 1160"/>
                <a:gd name="T9" fmla="*/ 139 h 738"/>
                <a:gd name="T10" fmla="*/ 862 w 1160"/>
                <a:gd name="T11" fmla="*/ 171 h 738"/>
                <a:gd name="T12" fmla="*/ 779 w 1160"/>
                <a:gd name="T13" fmla="*/ 203 h 738"/>
                <a:gd name="T14" fmla="*/ 729 w 1160"/>
                <a:gd name="T15" fmla="*/ 234 h 738"/>
                <a:gd name="T16" fmla="*/ 627 w 1160"/>
                <a:gd name="T17" fmla="*/ 275 h 738"/>
                <a:gd name="T18" fmla="*/ 537 w 1160"/>
                <a:gd name="T19" fmla="*/ 276 h 738"/>
                <a:gd name="T20" fmla="*/ 428 w 1160"/>
                <a:gd name="T21" fmla="*/ 260 h 738"/>
                <a:gd name="T22" fmla="*/ 346 w 1160"/>
                <a:gd name="T23" fmla="*/ 209 h 738"/>
                <a:gd name="T24" fmla="*/ 309 w 1160"/>
                <a:gd name="T25" fmla="*/ 143 h 738"/>
                <a:gd name="T26" fmla="*/ 254 w 1160"/>
                <a:gd name="T27" fmla="*/ 112 h 738"/>
                <a:gd name="T28" fmla="*/ 183 w 1160"/>
                <a:gd name="T29" fmla="*/ 160 h 738"/>
                <a:gd name="T30" fmla="*/ 129 w 1160"/>
                <a:gd name="T31" fmla="*/ 226 h 738"/>
                <a:gd name="T32" fmla="*/ 92 w 1160"/>
                <a:gd name="T33" fmla="*/ 294 h 738"/>
                <a:gd name="T34" fmla="*/ 45 w 1160"/>
                <a:gd name="T35" fmla="*/ 317 h 738"/>
                <a:gd name="T36" fmla="*/ 2 w 1160"/>
                <a:gd name="T37" fmla="*/ 336 h 738"/>
                <a:gd name="T38" fmla="*/ 20 w 1160"/>
                <a:gd name="T39" fmla="*/ 356 h 738"/>
                <a:gd name="T40" fmla="*/ 54 w 1160"/>
                <a:gd name="T41" fmla="*/ 409 h 738"/>
                <a:gd name="T42" fmla="*/ 95 w 1160"/>
                <a:gd name="T43" fmla="*/ 446 h 738"/>
                <a:gd name="T44" fmla="*/ 93 w 1160"/>
                <a:gd name="T45" fmla="*/ 488 h 738"/>
                <a:gd name="T46" fmla="*/ 126 w 1160"/>
                <a:gd name="T47" fmla="*/ 526 h 738"/>
                <a:gd name="T48" fmla="*/ 186 w 1160"/>
                <a:gd name="T49" fmla="*/ 546 h 738"/>
                <a:gd name="T50" fmla="*/ 219 w 1160"/>
                <a:gd name="T51" fmla="*/ 571 h 738"/>
                <a:gd name="T52" fmla="*/ 275 w 1160"/>
                <a:gd name="T53" fmla="*/ 580 h 738"/>
                <a:gd name="T54" fmla="*/ 319 w 1160"/>
                <a:gd name="T55" fmla="*/ 575 h 738"/>
                <a:gd name="T56" fmla="*/ 364 w 1160"/>
                <a:gd name="T57" fmla="*/ 570 h 738"/>
                <a:gd name="T58" fmla="*/ 412 w 1160"/>
                <a:gd name="T59" fmla="*/ 557 h 738"/>
                <a:gd name="T60" fmla="*/ 448 w 1160"/>
                <a:gd name="T61" fmla="*/ 573 h 738"/>
                <a:gd name="T62" fmla="*/ 477 w 1160"/>
                <a:gd name="T63" fmla="*/ 617 h 738"/>
                <a:gd name="T64" fmla="*/ 457 w 1160"/>
                <a:gd name="T65" fmla="*/ 662 h 738"/>
                <a:gd name="T66" fmla="*/ 491 w 1160"/>
                <a:gd name="T67" fmla="*/ 687 h 738"/>
                <a:gd name="T68" fmla="*/ 523 w 1160"/>
                <a:gd name="T69" fmla="*/ 707 h 738"/>
                <a:gd name="T70" fmla="*/ 544 w 1160"/>
                <a:gd name="T71" fmla="*/ 688 h 738"/>
                <a:gd name="T72" fmla="*/ 584 w 1160"/>
                <a:gd name="T73" fmla="*/ 686 h 738"/>
                <a:gd name="T74" fmla="*/ 632 w 1160"/>
                <a:gd name="T75" fmla="*/ 688 h 738"/>
                <a:gd name="T76" fmla="*/ 662 w 1160"/>
                <a:gd name="T77" fmla="*/ 709 h 738"/>
                <a:gd name="T78" fmla="*/ 687 w 1160"/>
                <a:gd name="T79" fmla="*/ 716 h 738"/>
                <a:gd name="T80" fmla="*/ 729 w 1160"/>
                <a:gd name="T81" fmla="*/ 705 h 738"/>
                <a:gd name="T82" fmla="*/ 753 w 1160"/>
                <a:gd name="T83" fmla="*/ 685 h 738"/>
                <a:gd name="T84" fmla="*/ 778 w 1160"/>
                <a:gd name="T85" fmla="*/ 692 h 738"/>
                <a:gd name="T86" fmla="*/ 820 w 1160"/>
                <a:gd name="T87" fmla="*/ 678 h 738"/>
                <a:gd name="T88" fmla="*/ 852 w 1160"/>
                <a:gd name="T89" fmla="*/ 649 h 738"/>
                <a:gd name="T90" fmla="*/ 878 w 1160"/>
                <a:gd name="T91" fmla="*/ 614 h 738"/>
                <a:gd name="T92" fmla="*/ 903 w 1160"/>
                <a:gd name="T93" fmla="*/ 574 h 738"/>
                <a:gd name="T94" fmla="*/ 910 w 1160"/>
                <a:gd name="T95" fmla="*/ 551 h 738"/>
                <a:gd name="T96" fmla="*/ 887 w 1160"/>
                <a:gd name="T97" fmla="*/ 499 h 738"/>
                <a:gd name="T98" fmla="*/ 887 w 1160"/>
                <a:gd name="T99" fmla="*/ 412 h 738"/>
                <a:gd name="T100" fmla="*/ 928 w 1160"/>
                <a:gd name="T101" fmla="*/ 381 h 738"/>
                <a:gd name="T102" fmla="*/ 842 w 1160"/>
                <a:gd name="T103" fmla="*/ 363 h 738"/>
                <a:gd name="T104" fmla="*/ 918 w 1160"/>
                <a:gd name="T105" fmla="*/ 337 h 738"/>
                <a:gd name="T106" fmla="*/ 995 w 1160"/>
                <a:gd name="T107" fmla="*/ 299 h 738"/>
                <a:gd name="T108" fmla="*/ 1052 w 1160"/>
                <a:gd name="T109" fmla="*/ 274 h 738"/>
                <a:gd name="T110" fmla="*/ 1103 w 1160"/>
                <a:gd name="T111" fmla="*/ 202 h 738"/>
                <a:gd name="T112" fmla="*/ 1142 w 1160"/>
                <a:gd name="T113" fmla="*/ 179 h 738"/>
                <a:gd name="T114" fmla="*/ 1160 w 1160"/>
                <a:gd name="T115" fmla="*/ 129 h 738"/>
                <a:gd name="T116" fmla="*/ 1084 w 1160"/>
                <a:gd name="T117" fmla="*/ 130 h 738"/>
                <a:gd name="T118" fmla="*/ 1023 w 1160"/>
                <a:gd name="T119" fmla="*/ 91 h 738"/>
                <a:gd name="T120" fmla="*/ 994 w 1160"/>
                <a:gd name="T121" fmla="*/ 18 h 7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60" h="738">
                  <a:moveTo>
                    <a:pt x="103" y="455"/>
                  </a:moveTo>
                  <a:cubicBezTo>
                    <a:pt x="103" y="455"/>
                    <a:pt x="103" y="455"/>
                    <a:pt x="103" y="455"/>
                  </a:cubicBezTo>
                  <a:cubicBezTo>
                    <a:pt x="103" y="455"/>
                    <a:pt x="103" y="455"/>
                    <a:pt x="103" y="455"/>
                  </a:cubicBezTo>
                  <a:moveTo>
                    <a:pt x="98" y="457"/>
                  </a:moveTo>
                  <a:cubicBezTo>
                    <a:pt x="98" y="456"/>
                    <a:pt x="98" y="456"/>
                    <a:pt x="98" y="456"/>
                  </a:cubicBezTo>
                  <a:cubicBezTo>
                    <a:pt x="98" y="455"/>
                    <a:pt x="98" y="455"/>
                    <a:pt x="98" y="455"/>
                  </a:cubicBezTo>
                  <a:cubicBezTo>
                    <a:pt x="101" y="455"/>
                    <a:pt x="101" y="455"/>
                    <a:pt x="101" y="455"/>
                  </a:cubicBezTo>
                  <a:cubicBezTo>
                    <a:pt x="101" y="455"/>
                    <a:pt x="101" y="455"/>
                    <a:pt x="101" y="455"/>
                  </a:cubicBezTo>
                  <a:cubicBezTo>
                    <a:pt x="102" y="455"/>
                    <a:pt x="102" y="455"/>
                    <a:pt x="102" y="455"/>
                  </a:cubicBezTo>
                  <a:cubicBezTo>
                    <a:pt x="98" y="457"/>
                    <a:pt x="98" y="457"/>
                    <a:pt x="98" y="457"/>
                  </a:cubicBezTo>
                  <a:cubicBezTo>
                    <a:pt x="98" y="457"/>
                    <a:pt x="98" y="457"/>
                    <a:pt x="98" y="457"/>
                  </a:cubicBezTo>
                  <a:moveTo>
                    <a:pt x="99" y="455"/>
                  </a:moveTo>
                  <a:cubicBezTo>
                    <a:pt x="99" y="455"/>
                    <a:pt x="99" y="455"/>
                    <a:pt x="99" y="455"/>
                  </a:cubicBezTo>
                  <a:cubicBezTo>
                    <a:pt x="99" y="455"/>
                    <a:pt x="100" y="455"/>
                    <a:pt x="100" y="455"/>
                  </a:cubicBezTo>
                  <a:cubicBezTo>
                    <a:pt x="100" y="455"/>
                    <a:pt x="100" y="455"/>
                    <a:pt x="100" y="455"/>
                  </a:cubicBezTo>
                  <a:cubicBezTo>
                    <a:pt x="100" y="455"/>
                    <a:pt x="100" y="455"/>
                    <a:pt x="100" y="455"/>
                  </a:cubicBezTo>
                  <a:cubicBezTo>
                    <a:pt x="100" y="455"/>
                    <a:pt x="100" y="455"/>
                    <a:pt x="100" y="455"/>
                  </a:cubicBezTo>
                  <a:cubicBezTo>
                    <a:pt x="100" y="455"/>
                    <a:pt x="99" y="455"/>
                    <a:pt x="99" y="455"/>
                  </a:cubicBezTo>
                  <a:cubicBezTo>
                    <a:pt x="99" y="455"/>
                    <a:pt x="99" y="455"/>
                    <a:pt x="99" y="455"/>
                  </a:cubicBezTo>
                  <a:moveTo>
                    <a:pt x="110" y="452"/>
                  </a:moveTo>
                  <a:cubicBezTo>
                    <a:pt x="110" y="451"/>
                    <a:pt x="111" y="451"/>
                    <a:pt x="111" y="450"/>
                  </a:cubicBezTo>
                  <a:cubicBezTo>
                    <a:pt x="111" y="451"/>
                    <a:pt x="110" y="451"/>
                    <a:pt x="110" y="452"/>
                  </a:cubicBezTo>
                  <a:moveTo>
                    <a:pt x="113" y="446"/>
                  </a:moveTo>
                  <a:cubicBezTo>
                    <a:pt x="113" y="446"/>
                    <a:pt x="113" y="446"/>
                    <a:pt x="113" y="446"/>
                  </a:cubicBezTo>
                  <a:cubicBezTo>
                    <a:pt x="113" y="446"/>
                    <a:pt x="113" y="446"/>
                    <a:pt x="113" y="446"/>
                  </a:cubicBezTo>
                  <a:cubicBezTo>
                    <a:pt x="113" y="446"/>
                    <a:pt x="113" y="446"/>
                    <a:pt x="113" y="446"/>
                  </a:cubicBezTo>
                  <a:moveTo>
                    <a:pt x="113" y="446"/>
                  </a:moveTo>
                  <a:cubicBezTo>
                    <a:pt x="113" y="446"/>
                    <a:pt x="113" y="446"/>
                    <a:pt x="113" y="446"/>
                  </a:cubicBezTo>
                  <a:cubicBezTo>
                    <a:pt x="113" y="446"/>
                    <a:pt x="113" y="446"/>
                    <a:pt x="113" y="446"/>
                  </a:cubicBezTo>
                  <a:moveTo>
                    <a:pt x="111" y="446"/>
                  </a:moveTo>
                  <a:cubicBezTo>
                    <a:pt x="112" y="446"/>
                    <a:pt x="112" y="446"/>
                    <a:pt x="112" y="446"/>
                  </a:cubicBezTo>
                  <a:cubicBezTo>
                    <a:pt x="112" y="446"/>
                    <a:pt x="112" y="446"/>
                    <a:pt x="113" y="446"/>
                  </a:cubicBezTo>
                  <a:cubicBezTo>
                    <a:pt x="113" y="446"/>
                    <a:pt x="113" y="446"/>
                    <a:pt x="113" y="446"/>
                  </a:cubicBezTo>
                  <a:cubicBezTo>
                    <a:pt x="113" y="446"/>
                    <a:pt x="113" y="446"/>
                    <a:pt x="113" y="446"/>
                  </a:cubicBezTo>
                  <a:cubicBezTo>
                    <a:pt x="112" y="446"/>
                    <a:pt x="112" y="446"/>
                    <a:pt x="112" y="446"/>
                  </a:cubicBezTo>
                  <a:cubicBezTo>
                    <a:pt x="112" y="446"/>
                    <a:pt x="112" y="446"/>
                    <a:pt x="111" y="446"/>
                  </a:cubicBezTo>
                  <a:cubicBezTo>
                    <a:pt x="111" y="446"/>
                    <a:pt x="111" y="446"/>
                    <a:pt x="111" y="446"/>
                  </a:cubicBezTo>
                  <a:cubicBezTo>
                    <a:pt x="111" y="446"/>
                    <a:pt x="111" y="446"/>
                    <a:pt x="111" y="446"/>
                  </a:cubicBezTo>
                  <a:moveTo>
                    <a:pt x="114" y="445"/>
                  </a:moveTo>
                  <a:cubicBezTo>
                    <a:pt x="114" y="445"/>
                    <a:pt x="114" y="445"/>
                    <a:pt x="114" y="445"/>
                  </a:cubicBezTo>
                  <a:cubicBezTo>
                    <a:pt x="115" y="444"/>
                    <a:pt x="116" y="443"/>
                    <a:pt x="117" y="442"/>
                  </a:cubicBezTo>
                  <a:cubicBezTo>
                    <a:pt x="118" y="440"/>
                    <a:pt x="120" y="438"/>
                    <a:pt x="121" y="435"/>
                  </a:cubicBezTo>
                  <a:cubicBezTo>
                    <a:pt x="122" y="435"/>
                    <a:pt x="122" y="434"/>
                    <a:pt x="123" y="433"/>
                  </a:cubicBezTo>
                  <a:cubicBezTo>
                    <a:pt x="123" y="432"/>
                    <a:pt x="123" y="431"/>
                    <a:pt x="124" y="430"/>
                  </a:cubicBezTo>
                  <a:cubicBezTo>
                    <a:pt x="123" y="431"/>
                    <a:pt x="123" y="432"/>
                    <a:pt x="123" y="433"/>
                  </a:cubicBezTo>
                  <a:cubicBezTo>
                    <a:pt x="122" y="434"/>
                    <a:pt x="122" y="435"/>
                    <a:pt x="121" y="435"/>
                  </a:cubicBezTo>
                  <a:cubicBezTo>
                    <a:pt x="120" y="438"/>
                    <a:pt x="118" y="440"/>
                    <a:pt x="117" y="442"/>
                  </a:cubicBezTo>
                  <a:cubicBezTo>
                    <a:pt x="116" y="443"/>
                    <a:pt x="115" y="444"/>
                    <a:pt x="114" y="445"/>
                  </a:cubicBezTo>
                  <a:cubicBezTo>
                    <a:pt x="114" y="445"/>
                    <a:pt x="114" y="445"/>
                    <a:pt x="114" y="445"/>
                  </a:cubicBezTo>
                  <a:moveTo>
                    <a:pt x="124" y="430"/>
                  </a:moveTo>
                  <a:cubicBezTo>
                    <a:pt x="124" y="429"/>
                    <a:pt x="125" y="427"/>
                    <a:pt x="126" y="425"/>
                  </a:cubicBezTo>
                  <a:cubicBezTo>
                    <a:pt x="126" y="425"/>
                    <a:pt x="126" y="424"/>
                    <a:pt x="126" y="424"/>
                  </a:cubicBezTo>
                  <a:cubicBezTo>
                    <a:pt x="126" y="424"/>
                    <a:pt x="126" y="425"/>
                    <a:pt x="126" y="425"/>
                  </a:cubicBezTo>
                  <a:cubicBezTo>
                    <a:pt x="125" y="427"/>
                    <a:pt x="124" y="429"/>
                    <a:pt x="124" y="430"/>
                  </a:cubicBezTo>
                  <a:moveTo>
                    <a:pt x="103" y="413"/>
                  </a:moveTo>
                  <a:cubicBezTo>
                    <a:pt x="103" y="413"/>
                    <a:pt x="103" y="413"/>
                    <a:pt x="103" y="413"/>
                  </a:cubicBezTo>
                  <a:cubicBezTo>
                    <a:pt x="103" y="413"/>
                    <a:pt x="103" y="413"/>
                    <a:pt x="103" y="413"/>
                  </a:cubicBezTo>
                  <a:cubicBezTo>
                    <a:pt x="103" y="413"/>
                    <a:pt x="103" y="413"/>
                    <a:pt x="103" y="413"/>
                  </a:cubicBezTo>
                  <a:moveTo>
                    <a:pt x="103" y="413"/>
                  </a:moveTo>
                  <a:cubicBezTo>
                    <a:pt x="103" y="413"/>
                    <a:pt x="104" y="413"/>
                    <a:pt x="104" y="413"/>
                  </a:cubicBezTo>
                  <a:cubicBezTo>
                    <a:pt x="104" y="413"/>
                    <a:pt x="103" y="413"/>
                    <a:pt x="103" y="413"/>
                  </a:cubicBezTo>
                  <a:moveTo>
                    <a:pt x="944" y="0"/>
                  </a:moveTo>
                  <a:cubicBezTo>
                    <a:pt x="943" y="0"/>
                    <a:pt x="943" y="0"/>
                    <a:pt x="943" y="0"/>
                  </a:cubicBezTo>
                  <a:cubicBezTo>
                    <a:pt x="942" y="0"/>
                    <a:pt x="942" y="0"/>
                    <a:pt x="942" y="0"/>
                  </a:cubicBezTo>
                  <a:cubicBezTo>
                    <a:pt x="942" y="0"/>
                    <a:pt x="941" y="1"/>
                    <a:pt x="940" y="1"/>
                  </a:cubicBezTo>
                  <a:cubicBezTo>
                    <a:pt x="938" y="1"/>
                    <a:pt x="938" y="1"/>
                    <a:pt x="938" y="1"/>
                  </a:cubicBezTo>
                  <a:cubicBezTo>
                    <a:pt x="935" y="2"/>
                    <a:pt x="933" y="2"/>
                    <a:pt x="929" y="3"/>
                  </a:cubicBezTo>
                  <a:cubicBezTo>
                    <a:pt x="920" y="3"/>
                    <a:pt x="920" y="3"/>
                    <a:pt x="920" y="3"/>
                  </a:cubicBezTo>
                  <a:cubicBezTo>
                    <a:pt x="917" y="4"/>
                    <a:pt x="917" y="4"/>
                    <a:pt x="917" y="4"/>
                  </a:cubicBezTo>
                  <a:cubicBezTo>
                    <a:pt x="913" y="5"/>
                    <a:pt x="909" y="6"/>
                    <a:pt x="904" y="6"/>
                  </a:cubicBezTo>
                  <a:cubicBezTo>
                    <a:pt x="903" y="6"/>
                    <a:pt x="903" y="6"/>
                    <a:pt x="902" y="6"/>
                  </a:cubicBezTo>
                  <a:cubicBezTo>
                    <a:pt x="902" y="6"/>
                    <a:pt x="902" y="6"/>
                    <a:pt x="902" y="6"/>
                  </a:cubicBezTo>
                  <a:cubicBezTo>
                    <a:pt x="901" y="6"/>
                    <a:pt x="900" y="7"/>
                    <a:pt x="900" y="7"/>
                  </a:cubicBezTo>
                  <a:cubicBezTo>
                    <a:pt x="898" y="7"/>
                    <a:pt x="898" y="7"/>
                    <a:pt x="898" y="7"/>
                  </a:cubicBezTo>
                  <a:cubicBezTo>
                    <a:pt x="898" y="7"/>
                    <a:pt x="898" y="7"/>
                    <a:pt x="898" y="7"/>
                  </a:cubicBezTo>
                  <a:cubicBezTo>
                    <a:pt x="897" y="8"/>
                    <a:pt x="897" y="8"/>
                    <a:pt x="897" y="8"/>
                  </a:cubicBezTo>
                  <a:cubicBezTo>
                    <a:pt x="895" y="9"/>
                    <a:pt x="894" y="11"/>
                    <a:pt x="892" y="12"/>
                  </a:cubicBezTo>
                  <a:cubicBezTo>
                    <a:pt x="892" y="13"/>
                    <a:pt x="892" y="13"/>
                    <a:pt x="892" y="13"/>
                  </a:cubicBezTo>
                  <a:cubicBezTo>
                    <a:pt x="891" y="14"/>
                    <a:pt x="890" y="14"/>
                    <a:pt x="889" y="15"/>
                  </a:cubicBezTo>
                  <a:cubicBezTo>
                    <a:pt x="889" y="15"/>
                    <a:pt x="889" y="15"/>
                    <a:pt x="889" y="15"/>
                  </a:cubicBezTo>
                  <a:cubicBezTo>
                    <a:pt x="888" y="16"/>
                    <a:pt x="888" y="16"/>
                    <a:pt x="888" y="16"/>
                  </a:cubicBezTo>
                  <a:cubicBezTo>
                    <a:pt x="886" y="17"/>
                    <a:pt x="885" y="18"/>
                    <a:pt x="884" y="19"/>
                  </a:cubicBezTo>
                  <a:cubicBezTo>
                    <a:pt x="884" y="20"/>
                    <a:pt x="884" y="20"/>
                    <a:pt x="884" y="20"/>
                  </a:cubicBezTo>
                  <a:cubicBezTo>
                    <a:pt x="884" y="20"/>
                    <a:pt x="884" y="20"/>
                    <a:pt x="884" y="20"/>
                  </a:cubicBezTo>
                  <a:cubicBezTo>
                    <a:pt x="885" y="20"/>
                    <a:pt x="886" y="20"/>
                    <a:pt x="887" y="19"/>
                  </a:cubicBezTo>
                  <a:cubicBezTo>
                    <a:pt x="888" y="19"/>
                    <a:pt x="888" y="19"/>
                    <a:pt x="889" y="19"/>
                  </a:cubicBezTo>
                  <a:cubicBezTo>
                    <a:pt x="890" y="19"/>
                    <a:pt x="890" y="19"/>
                    <a:pt x="891" y="19"/>
                  </a:cubicBezTo>
                  <a:cubicBezTo>
                    <a:pt x="891" y="20"/>
                    <a:pt x="891" y="20"/>
                    <a:pt x="891" y="20"/>
                  </a:cubicBezTo>
                  <a:cubicBezTo>
                    <a:pt x="892" y="20"/>
                    <a:pt x="892" y="20"/>
                    <a:pt x="893" y="20"/>
                  </a:cubicBezTo>
                  <a:cubicBezTo>
                    <a:pt x="893" y="20"/>
                    <a:pt x="893" y="20"/>
                    <a:pt x="893" y="20"/>
                  </a:cubicBezTo>
                  <a:cubicBezTo>
                    <a:pt x="893" y="20"/>
                    <a:pt x="894" y="21"/>
                    <a:pt x="894" y="21"/>
                  </a:cubicBezTo>
                  <a:cubicBezTo>
                    <a:pt x="895" y="21"/>
                    <a:pt x="895" y="21"/>
                    <a:pt x="895" y="21"/>
                  </a:cubicBezTo>
                  <a:cubicBezTo>
                    <a:pt x="895" y="21"/>
                    <a:pt x="895" y="21"/>
                    <a:pt x="895" y="21"/>
                  </a:cubicBezTo>
                  <a:cubicBezTo>
                    <a:pt x="896" y="23"/>
                    <a:pt x="897" y="24"/>
                    <a:pt x="897" y="25"/>
                  </a:cubicBezTo>
                  <a:cubicBezTo>
                    <a:pt x="897" y="26"/>
                    <a:pt x="897" y="26"/>
                    <a:pt x="897" y="26"/>
                  </a:cubicBezTo>
                  <a:cubicBezTo>
                    <a:pt x="896" y="29"/>
                    <a:pt x="896" y="29"/>
                    <a:pt x="896" y="29"/>
                  </a:cubicBezTo>
                  <a:cubicBezTo>
                    <a:pt x="897" y="30"/>
                    <a:pt x="897" y="30"/>
                    <a:pt x="897" y="30"/>
                  </a:cubicBezTo>
                  <a:cubicBezTo>
                    <a:pt x="897" y="31"/>
                    <a:pt x="897" y="31"/>
                    <a:pt x="897" y="31"/>
                  </a:cubicBezTo>
                  <a:cubicBezTo>
                    <a:pt x="898" y="31"/>
                    <a:pt x="898" y="31"/>
                    <a:pt x="898" y="31"/>
                  </a:cubicBezTo>
                  <a:cubicBezTo>
                    <a:pt x="898" y="32"/>
                    <a:pt x="898" y="32"/>
                    <a:pt x="898" y="32"/>
                  </a:cubicBezTo>
                  <a:cubicBezTo>
                    <a:pt x="898" y="32"/>
                    <a:pt x="898" y="32"/>
                    <a:pt x="898" y="32"/>
                  </a:cubicBezTo>
                  <a:cubicBezTo>
                    <a:pt x="898" y="33"/>
                    <a:pt x="898" y="33"/>
                    <a:pt x="898" y="33"/>
                  </a:cubicBezTo>
                  <a:cubicBezTo>
                    <a:pt x="898" y="34"/>
                    <a:pt x="898" y="34"/>
                    <a:pt x="897" y="35"/>
                  </a:cubicBezTo>
                  <a:cubicBezTo>
                    <a:pt x="896" y="37"/>
                    <a:pt x="894" y="39"/>
                    <a:pt x="892" y="41"/>
                  </a:cubicBezTo>
                  <a:cubicBezTo>
                    <a:pt x="883" y="51"/>
                    <a:pt x="883" y="51"/>
                    <a:pt x="883" y="51"/>
                  </a:cubicBezTo>
                  <a:cubicBezTo>
                    <a:pt x="882" y="53"/>
                    <a:pt x="882" y="53"/>
                    <a:pt x="882" y="53"/>
                  </a:cubicBezTo>
                  <a:cubicBezTo>
                    <a:pt x="880" y="56"/>
                    <a:pt x="879" y="58"/>
                    <a:pt x="878" y="60"/>
                  </a:cubicBezTo>
                  <a:cubicBezTo>
                    <a:pt x="874" y="66"/>
                    <a:pt x="874" y="66"/>
                    <a:pt x="874" y="66"/>
                  </a:cubicBezTo>
                  <a:cubicBezTo>
                    <a:pt x="872" y="72"/>
                    <a:pt x="872" y="72"/>
                    <a:pt x="872" y="72"/>
                  </a:cubicBezTo>
                  <a:cubicBezTo>
                    <a:pt x="871" y="78"/>
                    <a:pt x="871" y="78"/>
                    <a:pt x="871" y="78"/>
                  </a:cubicBezTo>
                  <a:cubicBezTo>
                    <a:pt x="871" y="79"/>
                    <a:pt x="871" y="79"/>
                    <a:pt x="871" y="79"/>
                  </a:cubicBezTo>
                  <a:cubicBezTo>
                    <a:pt x="871" y="79"/>
                    <a:pt x="871" y="79"/>
                    <a:pt x="871" y="79"/>
                  </a:cubicBezTo>
                  <a:cubicBezTo>
                    <a:pt x="871" y="80"/>
                    <a:pt x="871" y="81"/>
                    <a:pt x="871" y="81"/>
                  </a:cubicBezTo>
                  <a:cubicBezTo>
                    <a:pt x="871" y="82"/>
                    <a:pt x="871" y="82"/>
                    <a:pt x="871" y="82"/>
                  </a:cubicBezTo>
                  <a:cubicBezTo>
                    <a:pt x="871" y="82"/>
                    <a:pt x="871" y="82"/>
                    <a:pt x="871" y="82"/>
                  </a:cubicBezTo>
                  <a:cubicBezTo>
                    <a:pt x="871" y="83"/>
                    <a:pt x="871" y="83"/>
                    <a:pt x="871" y="83"/>
                  </a:cubicBezTo>
                  <a:cubicBezTo>
                    <a:pt x="871" y="84"/>
                    <a:pt x="871" y="84"/>
                    <a:pt x="871" y="84"/>
                  </a:cubicBezTo>
                  <a:cubicBezTo>
                    <a:pt x="871" y="85"/>
                    <a:pt x="871" y="85"/>
                    <a:pt x="870" y="85"/>
                  </a:cubicBezTo>
                  <a:cubicBezTo>
                    <a:pt x="870" y="86"/>
                    <a:pt x="870" y="86"/>
                    <a:pt x="870" y="86"/>
                  </a:cubicBezTo>
                  <a:cubicBezTo>
                    <a:pt x="870" y="87"/>
                    <a:pt x="869" y="87"/>
                    <a:pt x="869" y="87"/>
                  </a:cubicBezTo>
                  <a:cubicBezTo>
                    <a:pt x="868" y="87"/>
                    <a:pt x="868" y="87"/>
                    <a:pt x="868" y="87"/>
                  </a:cubicBezTo>
                  <a:cubicBezTo>
                    <a:pt x="862" y="90"/>
                    <a:pt x="862" y="90"/>
                    <a:pt x="862" y="90"/>
                  </a:cubicBezTo>
                  <a:cubicBezTo>
                    <a:pt x="854" y="92"/>
                    <a:pt x="854" y="92"/>
                    <a:pt x="854" y="92"/>
                  </a:cubicBezTo>
                  <a:cubicBezTo>
                    <a:pt x="853" y="92"/>
                    <a:pt x="851" y="94"/>
                    <a:pt x="849" y="96"/>
                  </a:cubicBezTo>
                  <a:cubicBezTo>
                    <a:pt x="849" y="96"/>
                    <a:pt x="849" y="96"/>
                    <a:pt x="849" y="96"/>
                  </a:cubicBezTo>
                  <a:cubicBezTo>
                    <a:pt x="841" y="102"/>
                    <a:pt x="841" y="102"/>
                    <a:pt x="841" y="102"/>
                  </a:cubicBezTo>
                  <a:cubicBezTo>
                    <a:pt x="834" y="99"/>
                    <a:pt x="834" y="99"/>
                    <a:pt x="834" y="99"/>
                  </a:cubicBezTo>
                  <a:cubicBezTo>
                    <a:pt x="833" y="101"/>
                    <a:pt x="833" y="101"/>
                    <a:pt x="833" y="101"/>
                  </a:cubicBezTo>
                  <a:cubicBezTo>
                    <a:pt x="833" y="99"/>
                    <a:pt x="833" y="99"/>
                    <a:pt x="833" y="99"/>
                  </a:cubicBezTo>
                  <a:cubicBezTo>
                    <a:pt x="822" y="95"/>
                    <a:pt x="822" y="95"/>
                    <a:pt x="822" y="95"/>
                  </a:cubicBezTo>
                  <a:cubicBezTo>
                    <a:pt x="821" y="95"/>
                    <a:pt x="820" y="95"/>
                    <a:pt x="819" y="95"/>
                  </a:cubicBezTo>
                  <a:cubicBezTo>
                    <a:pt x="815" y="103"/>
                    <a:pt x="815" y="103"/>
                    <a:pt x="815" y="103"/>
                  </a:cubicBezTo>
                  <a:cubicBezTo>
                    <a:pt x="813" y="107"/>
                    <a:pt x="811" y="111"/>
                    <a:pt x="809" y="115"/>
                  </a:cubicBezTo>
                  <a:cubicBezTo>
                    <a:pt x="803" y="126"/>
                    <a:pt x="803" y="126"/>
                    <a:pt x="803" y="126"/>
                  </a:cubicBezTo>
                  <a:cubicBezTo>
                    <a:pt x="803" y="126"/>
                    <a:pt x="803" y="126"/>
                    <a:pt x="804" y="127"/>
                  </a:cubicBezTo>
                  <a:cubicBezTo>
                    <a:pt x="804" y="127"/>
                    <a:pt x="804" y="127"/>
                    <a:pt x="804" y="127"/>
                  </a:cubicBezTo>
                  <a:cubicBezTo>
                    <a:pt x="804" y="129"/>
                    <a:pt x="804" y="131"/>
                    <a:pt x="802" y="133"/>
                  </a:cubicBezTo>
                  <a:cubicBezTo>
                    <a:pt x="801" y="134"/>
                    <a:pt x="800" y="134"/>
                    <a:pt x="800" y="134"/>
                  </a:cubicBezTo>
                  <a:cubicBezTo>
                    <a:pt x="799" y="135"/>
                    <a:pt x="799" y="135"/>
                    <a:pt x="799" y="135"/>
                  </a:cubicBezTo>
                  <a:cubicBezTo>
                    <a:pt x="799" y="135"/>
                    <a:pt x="799" y="136"/>
                    <a:pt x="799" y="136"/>
                  </a:cubicBezTo>
                  <a:cubicBezTo>
                    <a:pt x="799" y="136"/>
                    <a:pt x="799" y="136"/>
                    <a:pt x="799" y="136"/>
                  </a:cubicBezTo>
                  <a:cubicBezTo>
                    <a:pt x="799" y="137"/>
                    <a:pt x="799" y="137"/>
                    <a:pt x="799" y="137"/>
                  </a:cubicBezTo>
                  <a:cubicBezTo>
                    <a:pt x="799" y="137"/>
                    <a:pt x="799" y="137"/>
                    <a:pt x="799" y="137"/>
                  </a:cubicBezTo>
                  <a:cubicBezTo>
                    <a:pt x="800" y="138"/>
                    <a:pt x="800" y="139"/>
                    <a:pt x="801" y="139"/>
                  </a:cubicBezTo>
                  <a:cubicBezTo>
                    <a:pt x="802" y="141"/>
                    <a:pt x="803" y="141"/>
                    <a:pt x="803" y="142"/>
                  </a:cubicBezTo>
                  <a:cubicBezTo>
                    <a:pt x="804" y="141"/>
                    <a:pt x="805" y="140"/>
                    <a:pt x="806" y="140"/>
                  </a:cubicBezTo>
                  <a:cubicBezTo>
                    <a:pt x="808" y="140"/>
                    <a:pt x="810" y="139"/>
                    <a:pt x="812" y="139"/>
                  </a:cubicBezTo>
                  <a:cubicBezTo>
                    <a:pt x="821" y="138"/>
                    <a:pt x="821" y="138"/>
                    <a:pt x="821" y="138"/>
                  </a:cubicBezTo>
                  <a:cubicBezTo>
                    <a:pt x="821" y="138"/>
                    <a:pt x="821" y="138"/>
                    <a:pt x="821" y="138"/>
                  </a:cubicBezTo>
                  <a:cubicBezTo>
                    <a:pt x="823" y="138"/>
                    <a:pt x="824" y="138"/>
                    <a:pt x="826" y="139"/>
                  </a:cubicBezTo>
                  <a:cubicBezTo>
                    <a:pt x="826" y="139"/>
                    <a:pt x="826" y="140"/>
                    <a:pt x="827" y="140"/>
                  </a:cubicBezTo>
                  <a:cubicBezTo>
                    <a:pt x="827" y="140"/>
                    <a:pt x="827" y="140"/>
                    <a:pt x="827" y="140"/>
                  </a:cubicBezTo>
                  <a:cubicBezTo>
                    <a:pt x="829" y="142"/>
                    <a:pt x="830" y="142"/>
                    <a:pt x="830" y="143"/>
                  </a:cubicBezTo>
                  <a:cubicBezTo>
                    <a:pt x="831" y="142"/>
                    <a:pt x="831" y="142"/>
                    <a:pt x="831" y="142"/>
                  </a:cubicBezTo>
                  <a:cubicBezTo>
                    <a:pt x="831" y="142"/>
                    <a:pt x="831" y="142"/>
                    <a:pt x="831" y="142"/>
                  </a:cubicBezTo>
                  <a:cubicBezTo>
                    <a:pt x="831" y="141"/>
                    <a:pt x="831" y="141"/>
                    <a:pt x="831" y="141"/>
                  </a:cubicBezTo>
                  <a:cubicBezTo>
                    <a:pt x="834" y="139"/>
                    <a:pt x="836" y="137"/>
                    <a:pt x="839" y="136"/>
                  </a:cubicBezTo>
                  <a:cubicBezTo>
                    <a:pt x="840" y="136"/>
                    <a:pt x="841" y="136"/>
                    <a:pt x="842" y="136"/>
                  </a:cubicBezTo>
                  <a:cubicBezTo>
                    <a:pt x="843" y="136"/>
                    <a:pt x="843" y="136"/>
                    <a:pt x="843" y="136"/>
                  </a:cubicBezTo>
                  <a:cubicBezTo>
                    <a:pt x="844" y="136"/>
                    <a:pt x="845" y="136"/>
                    <a:pt x="846" y="136"/>
                  </a:cubicBezTo>
                  <a:cubicBezTo>
                    <a:pt x="848" y="135"/>
                    <a:pt x="849" y="135"/>
                    <a:pt x="851" y="135"/>
                  </a:cubicBezTo>
                  <a:cubicBezTo>
                    <a:pt x="852" y="135"/>
                    <a:pt x="852" y="135"/>
                    <a:pt x="853" y="135"/>
                  </a:cubicBezTo>
                  <a:cubicBezTo>
                    <a:pt x="853" y="135"/>
                    <a:pt x="854" y="135"/>
                    <a:pt x="854" y="136"/>
                  </a:cubicBezTo>
                  <a:cubicBezTo>
                    <a:pt x="855" y="136"/>
                    <a:pt x="855" y="136"/>
                    <a:pt x="856" y="137"/>
                  </a:cubicBezTo>
                  <a:cubicBezTo>
                    <a:pt x="857" y="137"/>
                    <a:pt x="857" y="138"/>
                    <a:pt x="857" y="138"/>
                  </a:cubicBezTo>
                  <a:cubicBezTo>
                    <a:pt x="858" y="139"/>
                    <a:pt x="858" y="139"/>
                    <a:pt x="858" y="139"/>
                  </a:cubicBezTo>
                  <a:cubicBezTo>
                    <a:pt x="859" y="140"/>
                    <a:pt x="860" y="140"/>
                    <a:pt x="861" y="141"/>
                  </a:cubicBezTo>
                  <a:cubicBezTo>
                    <a:pt x="863" y="142"/>
                    <a:pt x="864" y="143"/>
                    <a:pt x="866" y="144"/>
                  </a:cubicBezTo>
                  <a:cubicBezTo>
                    <a:pt x="866" y="145"/>
                    <a:pt x="866" y="145"/>
                    <a:pt x="866" y="145"/>
                  </a:cubicBezTo>
                  <a:cubicBezTo>
                    <a:pt x="867" y="146"/>
                    <a:pt x="867" y="146"/>
                    <a:pt x="867" y="146"/>
                  </a:cubicBezTo>
                  <a:cubicBezTo>
                    <a:pt x="867" y="147"/>
                    <a:pt x="868" y="147"/>
                    <a:pt x="869" y="148"/>
                  </a:cubicBezTo>
                  <a:cubicBezTo>
                    <a:pt x="870" y="148"/>
                    <a:pt x="871" y="149"/>
                    <a:pt x="872" y="151"/>
                  </a:cubicBezTo>
                  <a:cubicBezTo>
                    <a:pt x="873" y="152"/>
                    <a:pt x="874" y="153"/>
                    <a:pt x="875" y="153"/>
                  </a:cubicBezTo>
                  <a:cubicBezTo>
                    <a:pt x="876" y="154"/>
                    <a:pt x="877" y="155"/>
                    <a:pt x="878" y="157"/>
                  </a:cubicBezTo>
                  <a:cubicBezTo>
                    <a:pt x="881" y="161"/>
                    <a:pt x="882" y="164"/>
                    <a:pt x="881" y="168"/>
                  </a:cubicBezTo>
                  <a:cubicBezTo>
                    <a:pt x="881" y="169"/>
                    <a:pt x="881" y="169"/>
                    <a:pt x="881" y="169"/>
                  </a:cubicBezTo>
                  <a:cubicBezTo>
                    <a:pt x="881" y="169"/>
                    <a:pt x="881" y="169"/>
                    <a:pt x="881" y="169"/>
                  </a:cubicBezTo>
                  <a:cubicBezTo>
                    <a:pt x="880" y="171"/>
                    <a:pt x="879" y="171"/>
                    <a:pt x="877" y="171"/>
                  </a:cubicBezTo>
                  <a:cubicBezTo>
                    <a:pt x="867" y="171"/>
                    <a:pt x="867" y="171"/>
                    <a:pt x="867" y="171"/>
                  </a:cubicBezTo>
                  <a:cubicBezTo>
                    <a:pt x="866" y="171"/>
                    <a:pt x="864" y="171"/>
                    <a:pt x="862" y="171"/>
                  </a:cubicBezTo>
                  <a:cubicBezTo>
                    <a:pt x="861" y="171"/>
                    <a:pt x="859" y="170"/>
                    <a:pt x="857" y="170"/>
                  </a:cubicBezTo>
                  <a:cubicBezTo>
                    <a:pt x="855" y="170"/>
                    <a:pt x="853" y="171"/>
                    <a:pt x="852" y="171"/>
                  </a:cubicBezTo>
                  <a:cubicBezTo>
                    <a:pt x="848" y="173"/>
                    <a:pt x="843" y="174"/>
                    <a:pt x="838" y="176"/>
                  </a:cubicBezTo>
                  <a:cubicBezTo>
                    <a:pt x="833" y="178"/>
                    <a:pt x="833" y="178"/>
                    <a:pt x="833" y="178"/>
                  </a:cubicBezTo>
                  <a:cubicBezTo>
                    <a:pt x="832" y="178"/>
                    <a:pt x="831" y="178"/>
                    <a:pt x="830" y="179"/>
                  </a:cubicBezTo>
                  <a:cubicBezTo>
                    <a:pt x="828" y="178"/>
                    <a:pt x="828" y="178"/>
                    <a:pt x="828" y="178"/>
                  </a:cubicBezTo>
                  <a:cubicBezTo>
                    <a:pt x="827" y="178"/>
                    <a:pt x="825" y="178"/>
                    <a:pt x="824" y="178"/>
                  </a:cubicBezTo>
                  <a:cubicBezTo>
                    <a:pt x="820" y="178"/>
                    <a:pt x="818" y="179"/>
                    <a:pt x="817" y="181"/>
                  </a:cubicBezTo>
                  <a:cubicBezTo>
                    <a:pt x="814" y="183"/>
                    <a:pt x="812" y="186"/>
                    <a:pt x="812" y="187"/>
                  </a:cubicBezTo>
                  <a:cubicBezTo>
                    <a:pt x="812" y="188"/>
                    <a:pt x="812" y="188"/>
                    <a:pt x="812" y="188"/>
                  </a:cubicBezTo>
                  <a:cubicBezTo>
                    <a:pt x="812" y="189"/>
                    <a:pt x="812" y="190"/>
                    <a:pt x="811" y="192"/>
                  </a:cubicBezTo>
                  <a:cubicBezTo>
                    <a:pt x="811" y="193"/>
                    <a:pt x="810" y="193"/>
                    <a:pt x="810" y="194"/>
                  </a:cubicBezTo>
                  <a:cubicBezTo>
                    <a:pt x="809" y="194"/>
                    <a:pt x="808" y="195"/>
                    <a:pt x="807" y="195"/>
                  </a:cubicBezTo>
                  <a:cubicBezTo>
                    <a:pt x="807" y="196"/>
                    <a:pt x="807" y="196"/>
                    <a:pt x="807" y="196"/>
                  </a:cubicBezTo>
                  <a:cubicBezTo>
                    <a:pt x="806" y="196"/>
                    <a:pt x="806" y="196"/>
                    <a:pt x="806" y="196"/>
                  </a:cubicBezTo>
                  <a:cubicBezTo>
                    <a:pt x="805" y="196"/>
                    <a:pt x="805" y="196"/>
                    <a:pt x="805" y="196"/>
                  </a:cubicBezTo>
                  <a:cubicBezTo>
                    <a:pt x="804" y="197"/>
                    <a:pt x="804" y="197"/>
                    <a:pt x="803" y="197"/>
                  </a:cubicBezTo>
                  <a:cubicBezTo>
                    <a:pt x="803" y="198"/>
                    <a:pt x="803" y="198"/>
                    <a:pt x="803" y="198"/>
                  </a:cubicBezTo>
                  <a:cubicBezTo>
                    <a:pt x="802" y="198"/>
                    <a:pt x="802" y="198"/>
                    <a:pt x="802" y="198"/>
                  </a:cubicBezTo>
                  <a:cubicBezTo>
                    <a:pt x="802" y="198"/>
                    <a:pt x="801" y="199"/>
                    <a:pt x="801" y="199"/>
                  </a:cubicBezTo>
                  <a:cubicBezTo>
                    <a:pt x="799" y="200"/>
                    <a:pt x="798" y="200"/>
                    <a:pt x="797" y="200"/>
                  </a:cubicBezTo>
                  <a:cubicBezTo>
                    <a:pt x="786" y="201"/>
                    <a:pt x="786" y="201"/>
                    <a:pt x="786" y="201"/>
                  </a:cubicBezTo>
                  <a:cubicBezTo>
                    <a:pt x="786" y="201"/>
                    <a:pt x="786" y="201"/>
                    <a:pt x="786" y="201"/>
                  </a:cubicBezTo>
                  <a:cubicBezTo>
                    <a:pt x="785" y="201"/>
                    <a:pt x="784" y="201"/>
                    <a:pt x="784" y="201"/>
                  </a:cubicBezTo>
                  <a:cubicBezTo>
                    <a:pt x="783" y="200"/>
                    <a:pt x="783" y="200"/>
                    <a:pt x="782" y="200"/>
                  </a:cubicBezTo>
                  <a:cubicBezTo>
                    <a:pt x="782" y="200"/>
                    <a:pt x="781" y="201"/>
                    <a:pt x="781" y="201"/>
                  </a:cubicBezTo>
                  <a:cubicBezTo>
                    <a:pt x="781" y="201"/>
                    <a:pt x="781" y="201"/>
                    <a:pt x="781" y="201"/>
                  </a:cubicBezTo>
                  <a:cubicBezTo>
                    <a:pt x="780" y="201"/>
                    <a:pt x="780" y="202"/>
                    <a:pt x="779" y="202"/>
                  </a:cubicBezTo>
                  <a:cubicBezTo>
                    <a:pt x="779" y="202"/>
                    <a:pt x="779" y="202"/>
                    <a:pt x="779" y="202"/>
                  </a:cubicBezTo>
                  <a:cubicBezTo>
                    <a:pt x="779" y="203"/>
                    <a:pt x="779" y="203"/>
                    <a:pt x="779" y="203"/>
                  </a:cubicBezTo>
                  <a:cubicBezTo>
                    <a:pt x="781" y="205"/>
                    <a:pt x="781" y="205"/>
                    <a:pt x="781" y="205"/>
                  </a:cubicBezTo>
                  <a:cubicBezTo>
                    <a:pt x="778" y="204"/>
                    <a:pt x="778" y="204"/>
                    <a:pt x="778" y="204"/>
                  </a:cubicBezTo>
                  <a:cubicBezTo>
                    <a:pt x="778" y="204"/>
                    <a:pt x="778" y="204"/>
                    <a:pt x="778" y="204"/>
                  </a:cubicBezTo>
                  <a:cubicBezTo>
                    <a:pt x="774" y="207"/>
                    <a:pt x="771" y="210"/>
                    <a:pt x="767" y="213"/>
                  </a:cubicBezTo>
                  <a:cubicBezTo>
                    <a:pt x="766" y="213"/>
                    <a:pt x="766" y="213"/>
                    <a:pt x="765" y="214"/>
                  </a:cubicBezTo>
                  <a:cubicBezTo>
                    <a:pt x="764" y="215"/>
                    <a:pt x="764" y="215"/>
                    <a:pt x="764" y="215"/>
                  </a:cubicBezTo>
                  <a:cubicBezTo>
                    <a:pt x="762" y="216"/>
                    <a:pt x="760" y="216"/>
                    <a:pt x="758" y="217"/>
                  </a:cubicBezTo>
                  <a:cubicBezTo>
                    <a:pt x="757" y="217"/>
                    <a:pt x="756" y="216"/>
                    <a:pt x="755" y="216"/>
                  </a:cubicBezTo>
                  <a:cubicBezTo>
                    <a:pt x="755" y="216"/>
                    <a:pt x="754" y="216"/>
                    <a:pt x="754" y="216"/>
                  </a:cubicBezTo>
                  <a:cubicBezTo>
                    <a:pt x="752" y="216"/>
                    <a:pt x="751" y="215"/>
                    <a:pt x="749" y="215"/>
                  </a:cubicBezTo>
                  <a:cubicBezTo>
                    <a:pt x="748" y="214"/>
                    <a:pt x="747" y="214"/>
                    <a:pt x="746" y="214"/>
                  </a:cubicBezTo>
                  <a:cubicBezTo>
                    <a:pt x="746" y="213"/>
                    <a:pt x="746" y="213"/>
                    <a:pt x="746" y="213"/>
                  </a:cubicBezTo>
                  <a:cubicBezTo>
                    <a:pt x="743" y="212"/>
                    <a:pt x="740" y="211"/>
                    <a:pt x="737" y="210"/>
                  </a:cubicBezTo>
                  <a:cubicBezTo>
                    <a:pt x="737" y="210"/>
                    <a:pt x="737" y="210"/>
                    <a:pt x="737" y="210"/>
                  </a:cubicBezTo>
                  <a:cubicBezTo>
                    <a:pt x="736" y="209"/>
                    <a:pt x="734" y="209"/>
                    <a:pt x="733" y="209"/>
                  </a:cubicBezTo>
                  <a:cubicBezTo>
                    <a:pt x="732" y="209"/>
                    <a:pt x="731" y="209"/>
                    <a:pt x="730" y="209"/>
                  </a:cubicBezTo>
                  <a:cubicBezTo>
                    <a:pt x="729" y="209"/>
                    <a:pt x="729" y="209"/>
                    <a:pt x="729" y="209"/>
                  </a:cubicBezTo>
                  <a:cubicBezTo>
                    <a:pt x="729" y="209"/>
                    <a:pt x="729" y="209"/>
                    <a:pt x="729" y="209"/>
                  </a:cubicBezTo>
                  <a:cubicBezTo>
                    <a:pt x="728" y="209"/>
                    <a:pt x="728" y="210"/>
                    <a:pt x="727" y="210"/>
                  </a:cubicBezTo>
                  <a:cubicBezTo>
                    <a:pt x="727" y="211"/>
                    <a:pt x="727" y="211"/>
                    <a:pt x="727" y="211"/>
                  </a:cubicBezTo>
                  <a:cubicBezTo>
                    <a:pt x="726" y="212"/>
                    <a:pt x="725" y="213"/>
                    <a:pt x="724" y="214"/>
                  </a:cubicBezTo>
                  <a:cubicBezTo>
                    <a:pt x="723" y="216"/>
                    <a:pt x="722" y="218"/>
                    <a:pt x="722" y="220"/>
                  </a:cubicBezTo>
                  <a:cubicBezTo>
                    <a:pt x="720" y="222"/>
                    <a:pt x="720" y="222"/>
                    <a:pt x="720" y="222"/>
                  </a:cubicBezTo>
                  <a:cubicBezTo>
                    <a:pt x="720" y="223"/>
                    <a:pt x="720" y="223"/>
                    <a:pt x="720" y="223"/>
                  </a:cubicBezTo>
                  <a:cubicBezTo>
                    <a:pt x="720" y="223"/>
                    <a:pt x="720" y="223"/>
                    <a:pt x="720" y="223"/>
                  </a:cubicBezTo>
                  <a:cubicBezTo>
                    <a:pt x="721" y="225"/>
                    <a:pt x="722" y="227"/>
                    <a:pt x="723" y="227"/>
                  </a:cubicBezTo>
                  <a:cubicBezTo>
                    <a:pt x="723" y="228"/>
                    <a:pt x="724" y="229"/>
                    <a:pt x="724" y="229"/>
                  </a:cubicBezTo>
                  <a:cubicBezTo>
                    <a:pt x="724" y="229"/>
                    <a:pt x="725" y="230"/>
                    <a:pt x="725" y="230"/>
                  </a:cubicBezTo>
                  <a:cubicBezTo>
                    <a:pt x="726" y="231"/>
                    <a:pt x="728" y="232"/>
                    <a:pt x="729" y="233"/>
                  </a:cubicBezTo>
                  <a:cubicBezTo>
                    <a:pt x="729" y="234"/>
                    <a:pt x="729" y="234"/>
                    <a:pt x="729" y="234"/>
                  </a:cubicBezTo>
                  <a:cubicBezTo>
                    <a:pt x="730" y="237"/>
                    <a:pt x="730" y="239"/>
                    <a:pt x="727" y="241"/>
                  </a:cubicBezTo>
                  <a:cubicBezTo>
                    <a:pt x="724" y="243"/>
                    <a:pt x="722" y="244"/>
                    <a:pt x="718" y="246"/>
                  </a:cubicBezTo>
                  <a:cubicBezTo>
                    <a:pt x="717" y="247"/>
                    <a:pt x="717" y="247"/>
                    <a:pt x="717" y="247"/>
                  </a:cubicBezTo>
                  <a:cubicBezTo>
                    <a:pt x="715" y="248"/>
                    <a:pt x="712" y="249"/>
                    <a:pt x="711" y="250"/>
                  </a:cubicBezTo>
                  <a:cubicBezTo>
                    <a:pt x="709" y="251"/>
                    <a:pt x="707" y="253"/>
                    <a:pt x="706" y="256"/>
                  </a:cubicBezTo>
                  <a:cubicBezTo>
                    <a:pt x="706" y="256"/>
                    <a:pt x="706" y="256"/>
                    <a:pt x="706" y="256"/>
                  </a:cubicBezTo>
                  <a:cubicBezTo>
                    <a:pt x="705" y="257"/>
                    <a:pt x="704" y="258"/>
                    <a:pt x="703" y="259"/>
                  </a:cubicBezTo>
                  <a:cubicBezTo>
                    <a:pt x="701" y="261"/>
                    <a:pt x="700" y="262"/>
                    <a:pt x="698" y="263"/>
                  </a:cubicBezTo>
                  <a:cubicBezTo>
                    <a:pt x="696" y="263"/>
                    <a:pt x="695" y="264"/>
                    <a:pt x="693" y="265"/>
                  </a:cubicBezTo>
                  <a:cubicBezTo>
                    <a:pt x="690" y="266"/>
                    <a:pt x="690" y="266"/>
                    <a:pt x="690" y="266"/>
                  </a:cubicBezTo>
                  <a:cubicBezTo>
                    <a:pt x="688" y="267"/>
                    <a:pt x="688" y="267"/>
                    <a:pt x="688" y="267"/>
                  </a:cubicBezTo>
                  <a:cubicBezTo>
                    <a:pt x="686" y="268"/>
                    <a:pt x="684" y="269"/>
                    <a:pt x="683" y="269"/>
                  </a:cubicBezTo>
                  <a:cubicBezTo>
                    <a:pt x="680" y="270"/>
                    <a:pt x="677" y="271"/>
                    <a:pt x="674" y="271"/>
                  </a:cubicBezTo>
                  <a:cubicBezTo>
                    <a:pt x="673" y="271"/>
                    <a:pt x="672" y="271"/>
                    <a:pt x="672" y="271"/>
                  </a:cubicBezTo>
                  <a:cubicBezTo>
                    <a:pt x="671" y="271"/>
                    <a:pt x="671" y="271"/>
                    <a:pt x="671" y="271"/>
                  </a:cubicBezTo>
                  <a:cubicBezTo>
                    <a:pt x="670" y="270"/>
                    <a:pt x="669" y="270"/>
                    <a:pt x="668" y="270"/>
                  </a:cubicBezTo>
                  <a:cubicBezTo>
                    <a:pt x="667" y="270"/>
                    <a:pt x="667" y="270"/>
                    <a:pt x="667" y="270"/>
                  </a:cubicBezTo>
                  <a:cubicBezTo>
                    <a:pt x="666" y="270"/>
                    <a:pt x="665" y="270"/>
                    <a:pt x="665" y="270"/>
                  </a:cubicBezTo>
                  <a:cubicBezTo>
                    <a:pt x="660" y="270"/>
                    <a:pt x="660" y="270"/>
                    <a:pt x="660" y="270"/>
                  </a:cubicBezTo>
                  <a:cubicBezTo>
                    <a:pt x="658" y="270"/>
                    <a:pt x="655" y="270"/>
                    <a:pt x="652" y="271"/>
                  </a:cubicBezTo>
                  <a:cubicBezTo>
                    <a:pt x="648" y="271"/>
                    <a:pt x="648" y="271"/>
                    <a:pt x="648" y="271"/>
                  </a:cubicBezTo>
                  <a:cubicBezTo>
                    <a:pt x="646" y="272"/>
                    <a:pt x="645" y="272"/>
                    <a:pt x="643" y="272"/>
                  </a:cubicBezTo>
                  <a:cubicBezTo>
                    <a:pt x="642" y="272"/>
                    <a:pt x="642" y="272"/>
                    <a:pt x="642" y="272"/>
                  </a:cubicBezTo>
                  <a:cubicBezTo>
                    <a:pt x="638" y="272"/>
                    <a:pt x="633" y="273"/>
                    <a:pt x="629" y="274"/>
                  </a:cubicBezTo>
                  <a:cubicBezTo>
                    <a:pt x="629" y="274"/>
                    <a:pt x="629" y="274"/>
                    <a:pt x="629" y="274"/>
                  </a:cubicBezTo>
                  <a:cubicBezTo>
                    <a:pt x="629" y="274"/>
                    <a:pt x="629" y="274"/>
                    <a:pt x="629" y="274"/>
                  </a:cubicBezTo>
                  <a:cubicBezTo>
                    <a:pt x="630" y="277"/>
                    <a:pt x="630" y="277"/>
                    <a:pt x="630" y="277"/>
                  </a:cubicBezTo>
                  <a:cubicBezTo>
                    <a:pt x="628" y="274"/>
                    <a:pt x="628" y="274"/>
                    <a:pt x="628" y="274"/>
                  </a:cubicBezTo>
                  <a:cubicBezTo>
                    <a:pt x="627" y="275"/>
                    <a:pt x="627" y="275"/>
                    <a:pt x="627" y="275"/>
                  </a:cubicBezTo>
                  <a:cubicBezTo>
                    <a:pt x="627" y="275"/>
                    <a:pt x="627" y="275"/>
                    <a:pt x="627" y="275"/>
                  </a:cubicBezTo>
                  <a:cubicBezTo>
                    <a:pt x="624" y="276"/>
                    <a:pt x="620" y="277"/>
                    <a:pt x="617" y="279"/>
                  </a:cubicBezTo>
                  <a:cubicBezTo>
                    <a:pt x="615" y="280"/>
                    <a:pt x="615" y="280"/>
                    <a:pt x="615" y="280"/>
                  </a:cubicBezTo>
                  <a:cubicBezTo>
                    <a:pt x="614" y="280"/>
                    <a:pt x="612" y="281"/>
                    <a:pt x="611" y="282"/>
                  </a:cubicBezTo>
                  <a:cubicBezTo>
                    <a:pt x="608" y="283"/>
                    <a:pt x="604" y="284"/>
                    <a:pt x="602" y="285"/>
                  </a:cubicBezTo>
                  <a:cubicBezTo>
                    <a:pt x="602" y="286"/>
                    <a:pt x="602" y="286"/>
                    <a:pt x="602" y="286"/>
                  </a:cubicBezTo>
                  <a:cubicBezTo>
                    <a:pt x="600" y="286"/>
                    <a:pt x="598" y="287"/>
                    <a:pt x="598" y="288"/>
                  </a:cubicBezTo>
                  <a:cubicBezTo>
                    <a:pt x="597" y="289"/>
                    <a:pt x="597" y="289"/>
                    <a:pt x="597" y="289"/>
                  </a:cubicBezTo>
                  <a:cubicBezTo>
                    <a:pt x="596" y="289"/>
                    <a:pt x="595" y="290"/>
                    <a:pt x="594" y="290"/>
                  </a:cubicBezTo>
                  <a:cubicBezTo>
                    <a:pt x="594" y="290"/>
                    <a:pt x="594" y="290"/>
                    <a:pt x="594" y="290"/>
                  </a:cubicBezTo>
                  <a:cubicBezTo>
                    <a:pt x="592" y="289"/>
                    <a:pt x="590" y="289"/>
                    <a:pt x="589" y="289"/>
                  </a:cubicBezTo>
                  <a:cubicBezTo>
                    <a:pt x="588" y="289"/>
                    <a:pt x="588" y="289"/>
                    <a:pt x="588" y="289"/>
                  </a:cubicBezTo>
                  <a:cubicBezTo>
                    <a:pt x="587" y="288"/>
                    <a:pt x="586" y="288"/>
                    <a:pt x="586" y="288"/>
                  </a:cubicBezTo>
                  <a:cubicBezTo>
                    <a:pt x="585" y="288"/>
                    <a:pt x="585" y="288"/>
                    <a:pt x="585" y="288"/>
                  </a:cubicBezTo>
                  <a:cubicBezTo>
                    <a:pt x="582" y="290"/>
                    <a:pt x="582" y="290"/>
                    <a:pt x="582" y="290"/>
                  </a:cubicBezTo>
                  <a:cubicBezTo>
                    <a:pt x="585" y="287"/>
                    <a:pt x="585" y="287"/>
                    <a:pt x="585" y="287"/>
                  </a:cubicBezTo>
                  <a:cubicBezTo>
                    <a:pt x="584" y="287"/>
                    <a:pt x="584" y="286"/>
                    <a:pt x="584" y="286"/>
                  </a:cubicBezTo>
                  <a:cubicBezTo>
                    <a:pt x="583" y="286"/>
                    <a:pt x="583" y="286"/>
                    <a:pt x="583" y="286"/>
                  </a:cubicBezTo>
                  <a:cubicBezTo>
                    <a:pt x="580" y="287"/>
                    <a:pt x="580" y="287"/>
                    <a:pt x="580" y="287"/>
                  </a:cubicBezTo>
                  <a:cubicBezTo>
                    <a:pt x="583" y="285"/>
                    <a:pt x="583" y="285"/>
                    <a:pt x="583" y="285"/>
                  </a:cubicBezTo>
                  <a:cubicBezTo>
                    <a:pt x="582" y="284"/>
                    <a:pt x="582" y="284"/>
                    <a:pt x="582" y="284"/>
                  </a:cubicBezTo>
                  <a:cubicBezTo>
                    <a:pt x="582" y="284"/>
                    <a:pt x="582" y="284"/>
                    <a:pt x="582" y="284"/>
                  </a:cubicBezTo>
                  <a:cubicBezTo>
                    <a:pt x="581" y="284"/>
                    <a:pt x="579" y="284"/>
                    <a:pt x="578" y="285"/>
                  </a:cubicBezTo>
                  <a:cubicBezTo>
                    <a:pt x="578" y="285"/>
                    <a:pt x="578" y="285"/>
                    <a:pt x="578" y="285"/>
                  </a:cubicBezTo>
                  <a:cubicBezTo>
                    <a:pt x="577" y="285"/>
                    <a:pt x="577" y="285"/>
                    <a:pt x="576" y="285"/>
                  </a:cubicBezTo>
                  <a:cubicBezTo>
                    <a:pt x="575" y="285"/>
                    <a:pt x="574" y="285"/>
                    <a:pt x="573" y="285"/>
                  </a:cubicBezTo>
                  <a:cubicBezTo>
                    <a:pt x="572" y="285"/>
                    <a:pt x="571" y="285"/>
                    <a:pt x="569" y="285"/>
                  </a:cubicBezTo>
                  <a:cubicBezTo>
                    <a:pt x="567" y="284"/>
                    <a:pt x="564" y="283"/>
                    <a:pt x="562" y="282"/>
                  </a:cubicBezTo>
                  <a:cubicBezTo>
                    <a:pt x="560" y="281"/>
                    <a:pt x="558" y="280"/>
                    <a:pt x="555" y="280"/>
                  </a:cubicBezTo>
                  <a:cubicBezTo>
                    <a:pt x="553" y="279"/>
                    <a:pt x="550" y="279"/>
                    <a:pt x="546" y="278"/>
                  </a:cubicBezTo>
                  <a:cubicBezTo>
                    <a:pt x="537" y="276"/>
                    <a:pt x="537" y="276"/>
                    <a:pt x="537" y="276"/>
                  </a:cubicBezTo>
                  <a:cubicBezTo>
                    <a:pt x="537" y="275"/>
                    <a:pt x="537" y="275"/>
                    <a:pt x="536" y="275"/>
                  </a:cubicBezTo>
                  <a:cubicBezTo>
                    <a:pt x="536" y="275"/>
                    <a:pt x="536" y="275"/>
                    <a:pt x="536" y="275"/>
                  </a:cubicBezTo>
                  <a:cubicBezTo>
                    <a:pt x="535" y="274"/>
                    <a:pt x="535" y="274"/>
                    <a:pt x="535" y="273"/>
                  </a:cubicBezTo>
                  <a:cubicBezTo>
                    <a:pt x="534" y="272"/>
                    <a:pt x="534" y="271"/>
                    <a:pt x="533" y="271"/>
                  </a:cubicBezTo>
                  <a:cubicBezTo>
                    <a:pt x="533" y="270"/>
                    <a:pt x="533" y="270"/>
                    <a:pt x="533" y="270"/>
                  </a:cubicBezTo>
                  <a:cubicBezTo>
                    <a:pt x="532" y="270"/>
                    <a:pt x="531" y="270"/>
                    <a:pt x="530" y="270"/>
                  </a:cubicBezTo>
                  <a:cubicBezTo>
                    <a:pt x="529" y="270"/>
                    <a:pt x="529" y="270"/>
                    <a:pt x="528" y="270"/>
                  </a:cubicBezTo>
                  <a:cubicBezTo>
                    <a:pt x="502" y="265"/>
                    <a:pt x="502" y="265"/>
                    <a:pt x="502" y="265"/>
                  </a:cubicBezTo>
                  <a:cubicBezTo>
                    <a:pt x="501" y="265"/>
                    <a:pt x="501" y="265"/>
                    <a:pt x="500" y="265"/>
                  </a:cubicBezTo>
                  <a:cubicBezTo>
                    <a:pt x="500" y="265"/>
                    <a:pt x="500" y="265"/>
                    <a:pt x="500" y="265"/>
                  </a:cubicBezTo>
                  <a:cubicBezTo>
                    <a:pt x="499" y="265"/>
                    <a:pt x="498" y="265"/>
                    <a:pt x="497" y="265"/>
                  </a:cubicBezTo>
                  <a:cubicBezTo>
                    <a:pt x="497" y="266"/>
                    <a:pt x="497" y="266"/>
                    <a:pt x="497" y="266"/>
                  </a:cubicBezTo>
                  <a:cubicBezTo>
                    <a:pt x="496" y="266"/>
                    <a:pt x="495" y="266"/>
                    <a:pt x="494" y="267"/>
                  </a:cubicBezTo>
                  <a:cubicBezTo>
                    <a:pt x="493" y="267"/>
                    <a:pt x="493" y="267"/>
                    <a:pt x="493" y="267"/>
                  </a:cubicBezTo>
                  <a:cubicBezTo>
                    <a:pt x="493" y="267"/>
                    <a:pt x="492" y="267"/>
                    <a:pt x="492" y="267"/>
                  </a:cubicBezTo>
                  <a:cubicBezTo>
                    <a:pt x="491" y="267"/>
                    <a:pt x="491" y="267"/>
                    <a:pt x="491" y="267"/>
                  </a:cubicBezTo>
                  <a:cubicBezTo>
                    <a:pt x="483" y="267"/>
                    <a:pt x="475" y="266"/>
                    <a:pt x="467" y="266"/>
                  </a:cubicBezTo>
                  <a:cubicBezTo>
                    <a:pt x="466" y="265"/>
                    <a:pt x="465" y="265"/>
                    <a:pt x="464" y="265"/>
                  </a:cubicBezTo>
                  <a:cubicBezTo>
                    <a:pt x="461" y="265"/>
                    <a:pt x="461" y="265"/>
                    <a:pt x="461" y="265"/>
                  </a:cubicBezTo>
                  <a:cubicBezTo>
                    <a:pt x="460" y="265"/>
                    <a:pt x="459" y="265"/>
                    <a:pt x="458" y="264"/>
                  </a:cubicBezTo>
                  <a:cubicBezTo>
                    <a:pt x="454" y="264"/>
                    <a:pt x="454" y="264"/>
                    <a:pt x="454" y="264"/>
                  </a:cubicBezTo>
                  <a:cubicBezTo>
                    <a:pt x="451" y="263"/>
                    <a:pt x="448" y="263"/>
                    <a:pt x="445" y="263"/>
                  </a:cubicBezTo>
                  <a:cubicBezTo>
                    <a:pt x="444" y="263"/>
                    <a:pt x="444" y="263"/>
                    <a:pt x="443" y="263"/>
                  </a:cubicBezTo>
                  <a:cubicBezTo>
                    <a:pt x="441" y="263"/>
                    <a:pt x="439" y="263"/>
                    <a:pt x="437" y="263"/>
                  </a:cubicBezTo>
                  <a:cubicBezTo>
                    <a:pt x="428" y="264"/>
                    <a:pt x="428" y="264"/>
                    <a:pt x="428" y="264"/>
                  </a:cubicBezTo>
                  <a:cubicBezTo>
                    <a:pt x="429" y="262"/>
                    <a:pt x="429" y="262"/>
                    <a:pt x="429" y="262"/>
                  </a:cubicBezTo>
                  <a:cubicBezTo>
                    <a:pt x="429" y="261"/>
                    <a:pt x="429" y="261"/>
                    <a:pt x="429" y="261"/>
                  </a:cubicBezTo>
                  <a:cubicBezTo>
                    <a:pt x="428" y="261"/>
                    <a:pt x="428" y="261"/>
                    <a:pt x="428" y="261"/>
                  </a:cubicBezTo>
                  <a:cubicBezTo>
                    <a:pt x="428" y="260"/>
                    <a:pt x="428" y="260"/>
                    <a:pt x="428" y="260"/>
                  </a:cubicBezTo>
                  <a:cubicBezTo>
                    <a:pt x="428" y="260"/>
                    <a:pt x="428" y="260"/>
                    <a:pt x="428" y="260"/>
                  </a:cubicBezTo>
                  <a:cubicBezTo>
                    <a:pt x="427" y="259"/>
                    <a:pt x="427" y="259"/>
                    <a:pt x="427" y="259"/>
                  </a:cubicBezTo>
                  <a:cubicBezTo>
                    <a:pt x="427" y="259"/>
                    <a:pt x="427" y="259"/>
                    <a:pt x="427" y="259"/>
                  </a:cubicBezTo>
                  <a:cubicBezTo>
                    <a:pt x="427" y="258"/>
                    <a:pt x="427" y="258"/>
                    <a:pt x="427" y="258"/>
                  </a:cubicBezTo>
                  <a:cubicBezTo>
                    <a:pt x="426" y="258"/>
                    <a:pt x="426" y="257"/>
                    <a:pt x="425" y="257"/>
                  </a:cubicBezTo>
                  <a:cubicBezTo>
                    <a:pt x="425" y="256"/>
                    <a:pt x="425" y="256"/>
                    <a:pt x="425" y="256"/>
                  </a:cubicBezTo>
                  <a:cubicBezTo>
                    <a:pt x="423" y="254"/>
                    <a:pt x="420" y="251"/>
                    <a:pt x="419" y="248"/>
                  </a:cubicBezTo>
                  <a:cubicBezTo>
                    <a:pt x="415" y="238"/>
                    <a:pt x="415" y="238"/>
                    <a:pt x="415" y="238"/>
                  </a:cubicBezTo>
                  <a:cubicBezTo>
                    <a:pt x="415" y="238"/>
                    <a:pt x="414" y="237"/>
                    <a:pt x="414" y="237"/>
                  </a:cubicBezTo>
                  <a:cubicBezTo>
                    <a:pt x="413" y="235"/>
                    <a:pt x="413" y="235"/>
                    <a:pt x="413" y="235"/>
                  </a:cubicBezTo>
                  <a:cubicBezTo>
                    <a:pt x="413" y="235"/>
                    <a:pt x="413" y="235"/>
                    <a:pt x="413" y="235"/>
                  </a:cubicBezTo>
                  <a:cubicBezTo>
                    <a:pt x="413" y="235"/>
                    <a:pt x="413" y="235"/>
                    <a:pt x="413" y="235"/>
                  </a:cubicBezTo>
                  <a:cubicBezTo>
                    <a:pt x="413" y="235"/>
                    <a:pt x="413" y="235"/>
                    <a:pt x="413" y="235"/>
                  </a:cubicBezTo>
                  <a:cubicBezTo>
                    <a:pt x="413" y="234"/>
                    <a:pt x="413" y="234"/>
                    <a:pt x="413" y="234"/>
                  </a:cubicBezTo>
                  <a:cubicBezTo>
                    <a:pt x="412" y="234"/>
                    <a:pt x="412" y="234"/>
                    <a:pt x="412" y="234"/>
                  </a:cubicBezTo>
                  <a:cubicBezTo>
                    <a:pt x="412" y="234"/>
                    <a:pt x="412" y="234"/>
                    <a:pt x="412" y="234"/>
                  </a:cubicBezTo>
                  <a:cubicBezTo>
                    <a:pt x="411" y="234"/>
                    <a:pt x="411" y="234"/>
                    <a:pt x="411" y="234"/>
                  </a:cubicBezTo>
                  <a:cubicBezTo>
                    <a:pt x="410" y="233"/>
                    <a:pt x="409" y="232"/>
                    <a:pt x="409" y="231"/>
                  </a:cubicBezTo>
                  <a:cubicBezTo>
                    <a:pt x="409" y="230"/>
                    <a:pt x="409" y="230"/>
                    <a:pt x="409" y="230"/>
                  </a:cubicBezTo>
                  <a:cubicBezTo>
                    <a:pt x="409" y="229"/>
                    <a:pt x="409" y="229"/>
                    <a:pt x="409" y="228"/>
                  </a:cubicBezTo>
                  <a:cubicBezTo>
                    <a:pt x="408" y="228"/>
                    <a:pt x="408" y="228"/>
                    <a:pt x="407" y="228"/>
                  </a:cubicBezTo>
                  <a:cubicBezTo>
                    <a:pt x="406" y="228"/>
                    <a:pt x="404" y="228"/>
                    <a:pt x="403" y="227"/>
                  </a:cubicBezTo>
                  <a:cubicBezTo>
                    <a:pt x="399" y="226"/>
                    <a:pt x="395" y="224"/>
                    <a:pt x="393" y="222"/>
                  </a:cubicBezTo>
                  <a:cubicBezTo>
                    <a:pt x="392" y="221"/>
                    <a:pt x="392" y="221"/>
                    <a:pt x="392" y="221"/>
                  </a:cubicBezTo>
                  <a:cubicBezTo>
                    <a:pt x="391" y="221"/>
                    <a:pt x="390" y="220"/>
                    <a:pt x="390" y="220"/>
                  </a:cubicBezTo>
                  <a:cubicBezTo>
                    <a:pt x="377" y="212"/>
                    <a:pt x="377" y="212"/>
                    <a:pt x="377" y="212"/>
                  </a:cubicBezTo>
                  <a:cubicBezTo>
                    <a:pt x="376" y="212"/>
                    <a:pt x="374" y="211"/>
                    <a:pt x="372" y="211"/>
                  </a:cubicBezTo>
                  <a:cubicBezTo>
                    <a:pt x="372" y="211"/>
                    <a:pt x="372" y="211"/>
                    <a:pt x="372" y="211"/>
                  </a:cubicBezTo>
                  <a:cubicBezTo>
                    <a:pt x="371" y="211"/>
                    <a:pt x="370" y="211"/>
                    <a:pt x="370" y="211"/>
                  </a:cubicBezTo>
                  <a:cubicBezTo>
                    <a:pt x="363" y="210"/>
                    <a:pt x="355" y="209"/>
                    <a:pt x="348" y="209"/>
                  </a:cubicBezTo>
                  <a:cubicBezTo>
                    <a:pt x="346" y="209"/>
                    <a:pt x="346" y="209"/>
                    <a:pt x="346" y="209"/>
                  </a:cubicBezTo>
                  <a:cubicBezTo>
                    <a:pt x="343" y="208"/>
                    <a:pt x="339" y="208"/>
                    <a:pt x="336" y="208"/>
                  </a:cubicBezTo>
                  <a:cubicBezTo>
                    <a:pt x="333" y="208"/>
                    <a:pt x="331" y="207"/>
                    <a:pt x="328" y="207"/>
                  </a:cubicBezTo>
                  <a:cubicBezTo>
                    <a:pt x="327" y="206"/>
                    <a:pt x="327" y="206"/>
                    <a:pt x="327" y="206"/>
                  </a:cubicBezTo>
                  <a:cubicBezTo>
                    <a:pt x="327" y="206"/>
                    <a:pt x="327" y="206"/>
                    <a:pt x="327" y="206"/>
                  </a:cubicBezTo>
                  <a:cubicBezTo>
                    <a:pt x="325" y="206"/>
                    <a:pt x="325" y="205"/>
                    <a:pt x="324" y="204"/>
                  </a:cubicBezTo>
                  <a:cubicBezTo>
                    <a:pt x="323" y="203"/>
                    <a:pt x="322" y="201"/>
                    <a:pt x="321" y="199"/>
                  </a:cubicBezTo>
                  <a:cubicBezTo>
                    <a:pt x="319" y="196"/>
                    <a:pt x="321" y="193"/>
                    <a:pt x="322" y="191"/>
                  </a:cubicBezTo>
                  <a:cubicBezTo>
                    <a:pt x="323" y="191"/>
                    <a:pt x="323" y="191"/>
                    <a:pt x="323" y="191"/>
                  </a:cubicBezTo>
                  <a:cubicBezTo>
                    <a:pt x="323" y="191"/>
                    <a:pt x="323" y="190"/>
                    <a:pt x="323" y="190"/>
                  </a:cubicBezTo>
                  <a:cubicBezTo>
                    <a:pt x="324" y="189"/>
                    <a:pt x="324" y="189"/>
                    <a:pt x="324" y="189"/>
                  </a:cubicBezTo>
                  <a:cubicBezTo>
                    <a:pt x="324" y="188"/>
                    <a:pt x="324" y="188"/>
                    <a:pt x="324" y="188"/>
                  </a:cubicBezTo>
                  <a:cubicBezTo>
                    <a:pt x="325" y="187"/>
                    <a:pt x="325" y="186"/>
                    <a:pt x="326" y="185"/>
                  </a:cubicBezTo>
                  <a:cubicBezTo>
                    <a:pt x="326" y="185"/>
                    <a:pt x="326" y="185"/>
                    <a:pt x="326" y="185"/>
                  </a:cubicBezTo>
                  <a:cubicBezTo>
                    <a:pt x="326" y="185"/>
                    <a:pt x="326" y="184"/>
                    <a:pt x="326" y="184"/>
                  </a:cubicBezTo>
                  <a:cubicBezTo>
                    <a:pt x="326" y="183"/>
                    <a:pt x="326" y="183"/>
                    <a:pt x="326" y="183"/>
                  </a:cubicBezTo>
                  <a:cubicBezTo>
                    <a:pt x="327" y="182"/>
                    <a:pt x="327" y="182"/>
                    <a:pt x="327" y="182"/>
                  </a:cubicBezTo>
                  <a:cubicBezTo>
                    <a:pt x="327" y="182"/>
                    <a:pt x="327" y="182"/>
                    <a:pt x="327" y="182"/>
                  </a:cubicBezTo>
                  <a:cubicBezTo>
                    <a:pt x="326" y="179"/>
                    <a:pt x="326" y="176"/>
                    <a:pt x="326" y="173"/>
                  </a:cubicBezTo>
                  <a:cubicBezTo>
                    <a:pt x="327" y="172"/>
                    <a:pt x="327" y="172"/>
                    <a:pt x="327" y="172"/>
                  </a:cubicBezTo>
                  <a:cubicBezTo>
                    <a:pt x="327" y="171"/>
                    <a:pt x="327" y="169"/>
                    <a:pt x="327" y="169"/>
                  </a:cubicBezTo>
                  <a:cubicBezTo>
                    <a:pt x="326" y="168"/>
                    <a:pt x="326" y="168"/>
                    <a:pt x="326" y="168"/>
                  </a:cubicBezTo>
                  <a:cubicBezTo>
                    <a:pt x="325" y="166"/>
                    <a:pt x="324" y="164"/>
                    <a:pt x="323" y="162"/>
                  </a:cubicBezTo>
                  <a:cubicBezTo>
                    <a:pt x="319" y="158"/>
                    <a:pt x="319" y="158"/>
                    <a:pt x="319" y="158"/>
                  </a:cubicBezTo>
                  <a:cubicBezTo>
                    <a:pt x="318" y="156"/>
                    <a:pt x="317" y="154"/>
                    <a:pt x="317" y="153"/>
                  </a:cubicBezTo>
                  <a:cubicBezTo>
                    <a:pt x="316" y="152"/>
                    <a:pt x="316" y="152"/>
                    <a:pt x="316" y="151"/>
                  </a:cubicBezTo>
                  <a:cubicBezTo>
                    <a:pt x="316" y="151"/>
                    <a:pt x="316" y="151"/>
                    <a:pt x="316" y="151"/>
                  </a:cubicBezTo>
                  <a:cubicBezTo>
                    <a:pt x="316" y="150"/>
                    <a:pt x="315" y="148"/>
                    <a:pt x="314" y="147"/>
                  </a:cubicBezTo>
                  <a:cubicBezTo>
                    <a:pt x="314" y="146"/>
                    <a:pt x="313" y="146"/>
                    <a:pt x="313" y="145"/>
                  </a:cubicBezTo>
                  <a:cubicBezTo>
                    <a:pt x="311" y="144"/>
                    <a:pt x="310" y="143"/>
                    <a:pt x="309" y="143"/>
                  </a:cubicBezTo>
                  <a:cubicBezTo>
                    <a:pt x="309" y="143"/>
                    <a:pt x="309" y="143"/>
                    <a:pt x="309" y="143"/>
                  </a:cubicBezTo>
                  <a:cubicBezTo>
                    <a:pt x="309" y="143"/>
                    <a:pt x="308" y="143"/>
                    <a:pt x="308" y="143"/>
                  </a:cubicBezTo>
                  <a:cubicBezTo>
                    <a:pt x="304" y="143"/>
                    <a:pt x="303" y="142"/>
                    <a:pt x="300" y="140"/>
                  </a:cubicBezTo>
                  <a:cubicBezTo>
                    <a:pt x="299" y="139"/>
                    <a:pt x="299" y="139"/>
                    <a:pt x="299" y="139"/>
                  </a:cubicBezTo>
                  <a:cubicBezTo>
                    <a:pt x="299" y="139"/>
                    <a:pt x="299" y="139"/>
                    <a:pt x="299" y="139"/>
                  </a:cubicBezTo>
                  <a:cubicBezTo>
                    <a:pt x="298" y="139"/>
                    <a:pt x="298" y="139"/>
                    <a:pt x="297" y="139"/>
                  </a:cubicBezTo>
                  <a:cubicBezTo>
                    <a:pt x="296" y="139"/>
                    <a:pt x="295" y="139"/>
                    <a:pt x="294" y="139"/>
                  </a:cubicBezTo>
                  <a:cubicBezTo>
                    <a:pt x="294" y="139"/>
                    <a:pt x="294" y="139"/>
                    <a:pt x="294" y="139"/>
                  </a:cubicBezTo>
                  <a:cubicBezTo>
                    <a:pt x="293" y="139"/>
                    <a:pt x="292" y="139"/>
                    <a:pt x="291" y="139"/>
                  </a:cubicBezTo>
                  <a:cubicBezTo>
                    <a:pt x="291" y="139"/>
                    <a:pt x="290" y="138"/>
                    <a:pt x="289" y="138"/>
                  </a:cubicBezTo>
                  <a:cubicBezTo>
                    <a:pt x="289" y="138"/>
                    <a:pt x="289" y="138"/>
                    <a:pt x="289" y="138"/>
                  </a:cubicBezTo>
                  <a:cubicBezTo>
                    <a:pt x="288" y="137"/>
                    <a:pt x="288" y="137"/>
                    <a:pt x="288" y="137"/>
                  </a:cubicBezTo>
                  <a:cubicBezTo>
                    <a:pt x="285" y="135"/>
                    <a:pt x="283" y="134"/>
                    <a:pt x="281" y="131"/>
                  </a:cubicBezTo>
                  <a:cubicBezTo>
                    <a:pt x="280" y="129"/>
                    <a:pt x="278" y="128"/>
                    <a:pt x="277" y="128"/>
                  </a:cubicBezTo>
                  <a:cubicBezTo>
                    <a:pt x="276" y="127"/>
                    <a:pt x="275" y="127"/>
                    <a:pt x="275" y="127"/>
                  </a:cubicBezTo>
                  <a:cubicBezTo>
                    <a:pt x="273" y="126"/>
                    <a:pt x="273" y="126"/>
                    <a:pt x="273" y="126"/>
                  </a:cubicBezTo>
                  <a:cubicBezTo>
                    <a:pt x="273" y="126"/>
                    <a:pt x="273" y="126"/>
                    <a:pt x="272" y="126"/>
                  </a:cubicBezTo>
                  <a:cubicBezTo>
                    <a:pt x="271" y="126"/>
                    <a:pt x="271" y="126"/>
                    <a:pt x="271" y="126"/>
                  </a:cubicBezTo>
                  <a:cubicBezTo>
                    <a:pt x="270" y="125"/>
                    <a:pt x="269" y="125"/>
                    <a:pt x="269" y="124"/>
                  </a:cubicBezTo>
                  <a:cubicBezTo>
                    <a:pt x="268" y="123"/>
                    <a:pt x="269" y="121"/>
                    <a:pt x="269" y="121"/>
                  </a:cubicBezTo>
                  <a:cubicBezTo>
                    <a:pt x="269" y="120"/>
                    <a:pt x="269" y="120"/>
                    <a:pt x="269" y="120"/>
                  </a:cubicBezTo>
                  <a:cubicBezTo>
                    <a:pt x="268" y="120"/>
                    <a:pt x="267" y="120"/>
                    <a:pt x="267" y="119"/>
                  </a:cubicBezTo>
                  <a:cubicBezTo>
                    <a:pt x="266" y="119"/>
                    <a:pt x="266" y="118"/>
                    <a:pt x="265" y="117"/>
                  </a:cubicBezTo>
                  <a:cubicBezTo>
                    <a:pt x="265" y="116"/>
                    <a:pt x="265" y="115"/>
                    <a:pt x="265" y="113"/>
                  </a:cubicBezTo>
                  <a:cubicBezTo>
                    <a:pt x="259" y="112"/>
                    <a:pt x="259" y="112"/>
                    <a:pt x="259" y="112"/>
                  </a:cubicBezTo>
                  <a:cubicBezTo>
                    <a:pt x="258" y="112"/>
                    <a:pt x="258" y="112"/>
                    <a:pt x="258" y="112"/>
                  </a:cubicBezTo>
                  <a:cubicBezTo>
                    <a:pt x="258" y="112"/>
                    <a:pt x="258" y="112"/>
                    <a:pt x="258" y="112"/>
                  </a:cubicBezTo>
                  <a:cubicBezTo>
                    <a:pt x="258" y="112"/>
                    <a:pt x="258" y="112"/>
                    <a:pt x="258" y="112"/>
                  </a:cubicBezTo>
                  <a:cubicBezTo>
                    <a:pt x="257" y="112"/>
                    <a:pt x="257" y="112"/>
                    <a:pt x="256" y="112"/>
                  </a:cubicBezTo>
                  <a:cubicBezTo>
                    <a:pt x="256" y="112"/>
                    <a:pt x="255" y="112"/>
                    <a:pt x="255" y="112"/>
                  </a:cubicBezTo>
                  <a:cubicBezTo>
                    <a:pt x="255" y="112"/>
                    <a:pt x="255" y="112"/>
                    <a:pt x="254" y="112"/>
                  </a:cubicBezTo>
                  <a:cubicBezTo>
                    <a:pt x="254" y="112"/>
                    <a:pt x="254" y="112"/>
                    <a:pt x="254" y="112"/>
                  </a:cubicBezTo>
                  <a:cubicBezTo>
                    <a:pt x="253" y="112"/>
                    <a:pt x="253" y="112"/>
                    <a:pt x="253" y="112"/>
                  </a:cubicBezTo>
                  <a:cubicBezTo>
                    <a:pt x="252" y="112"/>
                    <a:pt x="252" y="112"/>
                    <a:pt x="252" y="112"/>
                  </a:cubicBezTo>
                  <a:cubicBezTo>
                    <a:pt x="251" y="112"/>
                    <a:pt x="251" y="112"/>
                    <a:pt x="251" y="112"/>
                  </a:cubicBezTo>
                  <a:cubicBezTo>
                    <a:pt x="251" y="112"/>
                    <a:pt x="251" y="112"/>
                    <a:pt x="251" y="112"/>
                  </a:cubicBezTo>
                  <a:cubicBezTo>
                    <a:pt x="251" y="112"/>
                    <a:pt x="251" y="113"/>
                    <a:pt x="251" y="114"/>
                  </a:cubicBezTo>
                  <a:cubicBezTo>
                    <a:pt x="251" y="114"/>
                    <a:pt x="250" y="115"/>
                    <a:pt x="250" y="115"/>
                  </a:cubicBezTo>
                  <a:cubicBezTo>
                    <a:pt x="251" y="115"/>
                    <a:pt x="251" y="116"/>
                    <a:pt x="251" y="117"/>
                  </a:cubicBezTo>
                  <a:cubicBezTo>
                    <a:pt x="251" y="119"/>
                    <a:pt x="251" y="119"/>
                    <a:pt x="251" y="119"/>
                  </a:cubicBezTo>
                  <a:cubicBezTo>
                    <a:pt x="250" y="119"/>
                    <a:pt x="250" y="119"/>
                    <a:pt x="250" y="119"/>
                  </a:cubicBezTo>
                  <a:cubicBezTo>
                    <a:pt x="250" y="119"/>
                    <a:pt x="250" y="119"/>
                    <a:pt x="250" y="119"/>
                  </a:cubicBezTo>
                  <a:cubicBezTo>
                    <a:pt x="250" y="119"/>
                    <a:pt x="250" y="119"/>
                    <a:pt x="250" y="119"/>
                  </a:cubicBezTo>
                  <a:cubicBezTo>
                    <a:pt x="250" y="120"/>
                    <a:pt x="250" y="120"/>
                    <a:pt x="250" y="120"/>
                  </a:cubicBezTo>
                  <a:cubicBezTo>
                    <a:pt x="250" y="121"/>
                    <a:pt x="247" y="125"/>
                    <a:pt x="244" y="126"/>
                  </a:cubicBezTo>
                  <a:cubicBezTo>
                    <a:pt x="241" y="128"/>
                    <a:pt x="238" y="128"/>
                    <a:pt x="234" y="129"/>
                  </a:cubicBezTo>
                  <a:cubicBezTo>
                    <a:pt x="234" y="129"/>
                    <a:pt x="234" y="129"/>
                    <a:pt x="233" y="129"/>
                  </a:cubicBezTo>
                  <a:cubicBezTo>
                    <a:pt x="233" y="129"/>
                    <a:pt x="231" y="129"/>
                    <a:pt x="231" y="129"/>
                  </a:cubicBezTo>
                  <a:cubicBezTo>
                    <a:pt x="230" y="129"/>
                    <a:pt x="227" y="135"/>
                    <a:pt x="227" y="137"/>
                  </a:cubicBezTo>
                  <a:cubicBezTo>
                    <a:pt x="228" y="139"/>
                    <a:pt x="228" y="141"/>
                    <a:pt x="228" y="143"/>
                  </a:cubicBezTo>
                  <a:cubicBezTo>
                    <a:pt x="228" y="144"/>
                    <a:pt x="228" y="144"/>
                    <a:pt x="228" y="144"/>
                  </a:cubicBezTo>
                  <a:cubicBezTo>
                    <a:pt x="229" y="146"/>
                    <a:pt x="229" y="149"/>
                    <a:pt x="230" y="151"/>
                  </a:cubicBezTo>
                  <a:cubicBezTo>
                    <a:pt x="230" y="158"/>
                    <a:pt x="225" y="160"/>
                    <a:pt x="221" y="162"/>
                  </a:cubicBezTo>
                  <a:cubicBezTo>
                    <a:pt x="220" y="163"/>
                    <a:pt x="220" y="163"/>
                    <a:pt x="220" y="163"/>
                  </a:cubicBezTo>
                  <a:cubicBezTo>
                    <a:pt x="217" y="164"/>
                    <a:pt x="215" y="165"/>
                    <a:pt x="213" y="165"/>
                  </a:cubicBezTo>
                  <a:cubicBezTo>
                    <a:pt x="212" y="165"/>
                    <a:pt x="210" y="165"/>
                    <a:pt x="208" y="164"/>
                  </a:cubicBezTo>
                  <a:cubicBezTo>
                    <a:pt x="207" y="164"/>
                    <a:pt x="204" y="163"/>
                    <a:pt x="201" y="163"/>
                  </a:cubicBezTo>
                  <a:cubicBezTo>
                    <a:pt x="200" y="163"/>
                    <a:pt x="199" y="163"/>
                    <a:pt x="199" y="163"/>
                  </a:cubicBezTo>
                  <a:cubicBezTo>
                    <a:pt x="198" y="164"/>
                    <a:pt x="197" y="164"/>
                    <a:pt x="196" y="164"/>
                  </a:cubicBezTo>
                  <a:cubicBezTo>
                    <a:pt x="190" y="164"/>
                    <a:pt x="184" y="161"/>
                    <a:pt x="184" y="161"/>
                  </a:cubicBezTo>
                  <a:cubicBezTo>
                    <a:pt x="183" y="160"/>
                    <a:pt x="183" y="160"/>
                    <a:pt x="183" y="160"/>
                  </a:cubicBezTo>
                  <a:cubicBezTo>
                    <a:pt x="182" y="159"/>
                    <a:pt x="180" y="158"/>
                    <a:pt x="179" y="158"/>
                  </a:cubicBezTo>
                  <a:cubicBezTo>
                    <a:pt x="179" y="158"/>
                    <a:pt x="179" y="158"/>
                    <a:pt x="179" y="158"/>
                  </a:cubicBezTo>
                  <a:cubicBezTo>
                    <a:pt x="178" y="159"/>
                    <a:pt x="178" y="159"/>
                    <a:pt x="178" y="159"/>
                  </a:cubicBezTo>
                  <a:cubicBezTo>
                    <a:pt x="166" y="195"/>
                    <a:pt x="166" y="195"/>
                    <a:pt x="166" y="195"/>
                  </a:cubicBezTo>
                  <a:cubicBezTo>
                    <a:pt x="166" y="195"/>
                    <a:pt x="166" y="195"/>
                    <a:pt x="166" y="195"/>
                  </a:cubicBezTo>
                  <a:cubicBezTo>
                    <a:pt x="168" y="195"/>
                    <a:pt x="169" y="195"/>
                    <a:pt x="170" y="196"/>
                  </a:cubicBezTo>
                  <a:cubicBezTo>
                    <a:pt x="172" y="198"/>
                    <a:pt x="172" y="200"/>
                    <a:pt x="171" y="203"/>
                  </a:cubicBezTo>
                  <a:cubicBezTo>
                    <a:pt x="171" y="203"/>
                    <a:pt x="171" y="203"/>
                    <a:pt x="171" y="204"/>
                  </a:cubicBezTo>
                  <a:cubicBezTo>
                    <a:pt x="171" y="206"/>
                    <a:pt x="169" y="206"/>
                    <a:pt x="165" y="206"/>
                  </a:cubicBezTo>
                  <a:cubicBezTo>
                    <a:pt x="164" y="206"/>
                    <a:pt x="163" y="206"/>
                    <a:pt x="162" y="206"/>
                  </a:cubicBezTo>
                  <a:cubicBezTo>
                    <a:pt x="161" y="206"/>
                    <a:pt x="161" y="206"/>
                    <a:pt x="161" y="206"/>
                  </a:cubicBezTo>
                  <a:cubicBezTo>
                    <a:pt x="160" y="206"/>
                    <a:pt x="160" y="206"/>
                    <a:pt x="159" y="206"/>
                  </a:cubicBezTo>
                  <a:cubicBezTo>
                    <a:pt x="158" y="206"/>
                    <a:pt x="158" y="206"/>
                    <a:pt x="157" y="206"/>
                  </a:cubicBezTo>
                  <a:cubicBezTo>
                    <a:pt x="155" y="206"/>
                    <a:pt x="153" y="206"/>
                    <a:pt x="151" y="204"/>
                  </a:cubicBezTo>
                  <a:cubicBezTo>
                    <a:pt x="151" y="204"/>
                    <a:pt x="151" y="203"/>
                    <a:pt x="151" y="203"/>
                  </a:cubicBezTo>
                  <a:cubicBezTo>
                    <a:pt x="150" y="203"/>
                    <a:pt x="149" y="203"/>
                    <a:pt x="148" y="203"/>
                  </a:cubicBezTo>
                  <a:cubicBezTo>
                    <a:pt x="148" y="204"/>
                    <a:pt x="147" y="204"/>
                    <a:pt x="147" y="204"/>
                  </a:cubicBezTo>
                  <a:cubicBezTo>
                    <a:pt x="135" y="207"/>
                    <a:pt x="135" y="207"/>
                    <a:pt x="135" y="207"/>
                  </a:cubicBezTo>
                  <a:cubicBezTo>
                    <a:pt x="131" y="208"/>
                    <a:pt x="127" y="209"/>
                    <a:pt x="123" y="210"/>
                  </a:cubicBezTo>
                  <a:cubicBezTo>
                    <a:pt x="122" y="210"/>
                    <a:pt x="122" y="210"/>
                    <a:pt x="122" y="210"/>
                  </a:cubicBezTo>
                  <a:cubicBezTo>
                    <a:pt x="122" y="210"/>
                    <a:pt x="121" y="211"/>
                    <a:pt x="120" y="211"/>
                  </a:cubicBezTo>
                  <a:cubicBezTo>
                    <a:pt x="120" y="211"/>
                    <a:pt x="120" y="211"/>
                    <a:pt x="120" y="211"/>
                  </a:cubicBezTo>
                  <a:cubicBezTo>
                    <a:pt x="121" y="211"/>
                    <a:pt x="122" y="211"/>
                    <a:pt x="122" y="211"/>
                  </a:cubicBezTo>
                  <a:cubicBezTo>
                    <a:pt x="125" y="211"/>
                    <a:pt x="128" y="212"/>
                    <a:pt x="130" y="213"/>
                  </a:cubicBezTo>
                  <a:cubicBezTo>
                    <a:pt x="132" y="214"/>
                    <a:pt x="132" y="214"/>
                    <a:pt x="132" y="214"/>
                  </a:cubicBezTo>
                  <a:cubicBezTo>
                    <a:pt x="130" y="216"/>
                    <a:pt x="130" y="216"/>
                    <a:pt x="130" y="216"/>
                  </a:cubicBezTo>
                  <a:cubicBezTo>
                    <a:pt x="130" y="217"/>
                    <a:pt x="129" y="218"/>
                    <a:pt x="129" y="218"/>
                  </a:cubicBezTo>
                  <a:cubicBezTo>
                    <a:pt x="128" y="218"/>
                    <a:pt x="128" y="218"/>
                    <a:pt x="128" y="219"/>
                  </a:cubicBezTo>
                  <a:cubicBezTo>
                    <a:pt x="128" y="220"/>
                    <a:pt x="128" y="222"/>
                    <a:pt x="128" y="224"/>
                  </a:cubicBezTo>
                  <a:cubicBezTo>
                    <a:pt x="129" y="226"/>
                    <a:pt x="129" y="226"/>
                    <a:pt x="129" y="226"/>
                  </a:cubicBezTo>
                  <a:cubicBezTo>
                    <a:pt x="129" y="229"/>
                    <a:pt x="129" y="231"/>
                    <a:pt x="130" y="233"/>
                  </a:cubicBezTo>
                  <a:cubicBezTo>
                    <a:pt x="131" y="234"/>
                    <a:pt x="131" y="235"/>
                    <a:pt x="132" y="236"/>
                  </a:cubicBezTo>
                  <a:cubicBezTo>
                    <a:pt x="132" y="237"/>
                    <a:pt x="132" y="237"/>
                    <a:pt x="132" y="237"/>
                  </a:cubicBezTo>
                  <a:cubicBezTo>
                    <a:pt x="132" y="238"/>
                    <a:pt x="133" y="239"/>
                    <a:pt x="134" y="241"/>
                  </a:cubicBezTo>
                  <a:cubicBezTo>
                    <a:pt x="134" y="242"/>
                    <a:pt x="135" y="243"/>
                    <a:pt x="135" y="244"/>
                  </a:cubicBezTo>
                  <a:cubicBezTo>
                    <a:pt x="135" y="244"/>
                    <a:pt x="135" y="244"/>
                    <a:pt x="135" y="244"/>
                  </a:cubicBezTo>
                  <a:cubicBezTo>
                    <a:pt x="135" y="245"/>
                    <a:pt x="135" y="245"/>
                    <a:pt x="135" y="245"/>
                  </a:cubicBezTo>
                  <a:cubicBezTo>
                    <a:pt x="137" y="251"/>
                    <a:pt x="137" y="252"/>
                    <a:pt x="136" y="253"/>
                  </a:cubicBezTo>
                  <a:cubicBezTo>
                    <a:pt x="136" y="254"/>
                    <a:pt x="134" y="254"/>
                    <a:pt x="132" y="255"/>
                  </a:cubicBezTo>
                  <a:cubicBezTo>
                    <a:pt x="131" y="255"/>
                    <a:pt x="131" y="255"/>
                    <a:pt x="130" y="255"/>
                  </a:cubicBezTo>
                  <a:cubicBezTo>
                    <a:pt x="131" y="256"/>
                    <a:pt x="132" y="256"/>
                    <a:pt x="132" y="258"/>
                  </a:cubicBezTo>
                  <a:cubicBezTo>
                    <a:pt x="132" y="260"/>
                    <a:pt x="129" y="261"/>
                    <a:pt x="127" y="261"/>
                  </a:cubicBezTo>
                  <a:cubicBezTo>
                    <a:pt x="126" y="262"/>
                    <a:pt x="126" y="262"/>
                    <a:pt x="125" y="262"/>
                  </a:cubicBezTo>
                  <a:cubicBezTo>
                    <a:pt x="125" y="263"/>
                    <a:pt x="125" y="264"/>
                    <a:pt x="125" y="265"/>
                  </a:cubicBezTo>
                  <a:cubicBezTo>
                    <a:pt x="125" y="266"/>
                    <a:pt x="125" y="266"/>
                    <a:pt x="125" y="266"/>
                  </a:cubicBezTo>
                  <a:cubicBezTo>
                    <a:pt x="126" y="268"/>
                    <a:pt x="126" y="271"/>
                    <a:pt x="126" y="273"/>
                  </a:cubicBezTo>
                  <a:cubicBezTo>
                    <a:pt x="126" y="274"/>
                    <a:pt x="126" y="274"/>
                    <a:pt x="126" y="274"/>
                  </a:cubicBezTo>
                  <a:cubicBezTo>
                    <a:pt x="126" y="274"/>
                    <a:pt x="126" y="274"/>
                    <a:pt x="126" y="274"/>
                  </a:cubicBezTo>
                  <a:cubicBezTo>
                    <a:pt x="126" y="275"/>
                    <a:pt x="126" y="275"/>
                    <a:pt x="126" y="275"/>
                  </a:cubicBezTo>
                  <a:cubicBezTo>
                    <a:pt x="126" y="277"/>
                    <a:pt x="126" y="278"/>
                    <a:pt x="125" y="278"/>
                  </a:cubicBezTo>
                  <a:cubicBezTo>
                    <a:pt x="125" y="281"/>
                    <a:pt x="125" y="281"/>
                    <a:pt x="125" y="281"/>
                  </a:cubicBezTo>
                  <a:cubicBezTo>
                    <a:pt x="124" y="279"/>
                    <a:pt x="124" y="279"/>
                    <a:pt x="124" y="279"/>
                  </a:cubicBezTo>
                  <a:cubicBezTo>
                    <a:pt x="123" y="280"/>
                    <a:pt x="122" y="280"/>
                    <a:pt x="122" y="280"/>
                  </a:cubicBezTo>
                  <a:cubicBezTo>
                    <a:pt x="119" y="281"/>
                    <a:pt x="119" y="281"/>
                    <a:pt x="119" y="281"/>
                  </a:cubicBezTo>
                  <a:cubicBezTo>
                    <a:pt x="115" y="283"/>
                    <a:pt x="111" y="284"/>
                    <a:pt x="107" y="286"/>
                  </a:cubicBezTo>
                  <a:cubicBezTo>
                    <a:pt x="106" y="286"/>
                    <a:pt x="105" y="287"/>
                    <a:pt x="104" y="287"/>
                  </a:cubicBezTo>
                  <a:cubicBezTo>
                    <a:pt x="103" y="287"/>
                    <a:pt x="103" y="287"/>
                    <a:pt x="103" y="287"/>
                  </a:cubicBezTo>
                  <a:cubicBezTo>
                    <a:pt x="101" y="288"/>
                    <a:pt x="98" y="289"/>
                    <a:pt x="96" y="290"/>
                  </a:cubicBezTo>
                  <a:cubicBezTo>
                    <a:pt x="95" y="291"/>
                    <a:pt x="95" y="291"/>
                    <a:pt x="95" y="291"/>
                  </a:cubicBezTo>
                  <a:cubicBezTo>
                    <a:pt x="94" y="291"/>
                    <a:pt x="93" y="292"/>
                    <a:pt x="92" y="294"/>
                  </a:cubicBezTo>
                  <a:cubicBezTo>
                    <a:pt x="92" y="294"/>
                    <a:pt x="92" y="294"/>
                    <a:pt x="92" y="294"/>
                  </a:cubicBezTo>
                  <a:cubicBezTo>
                    <a:pt x="91" y="294"/>
                    <a:pt x="91" y="295"/>
                    <a:pt x="91" y="295"/>
                  </a:cubicBezTo>
                  <a:cubicBezTo>
                    <a:pt x="90" y="296"/>
                    <a:pt x="90" y="296"/>
                    <a:pt x="90" y="296"/>
                  </a:cubicBezTo>
                  <a:cubicBezTo>
                    <a:pt x="89" y="297"/>
                    <a:pt x="89" y="297"/>
                    <a:pt x="89" y="297"/>
                  </a:cubicBezTo>
                  <a:cubicBezTo>
                    <a:pt x="89" y="297"/>
                    <a:pt x="88" y="298"/>
                    <a:pt x="88" y="298"/>
                  </a:cubicBezTo>
                  <a:cubicBezTo>
                    <a:pt x="87" y="299"/>
                    <a:pt x="87" y="299"/>
                    <a:pt x="86" y="299"/>
                  </a:cubicBezTo>
                  <a:cubicBezTo>
                    <a:pt x="86" y="299"/>
                    <a:pt x="85" y="300"/>
                    <a:pt x="85" y="300"/>
                  </a:cubicBezTo>
                  <a:cubicBezTo>
                    <a:pt x="80" y="300"/>
                    <a:pt x="80" y="300"/>
                    <a:pt x="80" y="300"/>
                  </a:cubicBezTo>
                  <a:cubicBezTo>
                    <a:pt x="78" y="301"/>
                    <a:pt x="76" y="301"/>
                    <a:pt x="74" y="301"/>
                  </a:cubicBezTo>
                  <a:cubicBezTo>
                    <a:pt x="73" y="301"/>
                    <a:pt x="73" y="301"/>
                    <a:pt x="73" y="301"/>
                  </a:cubicBezTo>
                  <a:cubicBezTo>
                    <a:pt x="72" y="301"/>
                    <a:pt x="70" y="301"/>
                    <a:pt x="69" y="301"/>
                  </a:cubicBezTo>
                  <a:cubicBezTo>
                    <a:pt x="67" y="301"/>
                    <a:pt x="65" y="302"/>
                    <a:pt x="63" y="302"/>
                  </a:cubicBezTo>
                  <a:cubicBezTo>
                    <a:pt x="62" y="302"/>
                    <a:pt x="61" y="304"/>
                    <a:pt x="60" y="305"/>
                  </a:cubicBezTo>
                  <a:cubicBezTo>
                    <a:pt x="60" y="305"/>
                    <a:pt x="60" y="305"/>
                    <a:pt x="60" y="305"/>
                  </a:cubicBezTo>
                  <a:cubicBezTo>
                    <a:pt x="59" y="306"/>
                    <a:pt x="59" y="306"/>
                    <a:pt x="59" y="306"/>
                  </a:cubicBezTo>
                  <a:cubicBezTo>
                    <a:pt x="58" y="307"/>
                    <a:pt x="58" y="307"/>
                    <a:pt x="58" y="307"/>
                  </a:cubicBezTo>
                  <a:cubicBezTo>
                    <a:pt x="58" y="307"/>
                    <a:pt x="57" y="307"/>
                    <a:pt x="57" y="308"/>
                  </a:cubicBezTo>
                  <a:cubicBezTo>
                    <a:pt x="57" y="308"/>
                    <a:pt x="57" y="308"/>
                    <a:pt x="57" y="308"/>
                  </a:cubicBezTo>
                  <a:cubicBezTo>
                    <a:pt x="57" y="308"/>
                    <a:pt x="57" y="308"/>
                    <a:pt x="57" y="308"/>
                  </a:cubicBezTo>
                  <a:cubicBezTo>
                    <a:pt x="57" y="309"/>
                    <a:pt x="57" y="310"/>
                    <a:pt x="57" y="310"/>
                  </a:cubicBezTo>
                  <a:cubicBezTo>
                    <a:pt x="57" y="311"/>
                    <a:pt x="56" y="312"/>
                    <a:pt x="55" y="314"/>
                  </a:cubicBezTo>
                  <a:cubicBezTo>
                    <a:pt x="54" y="315"/>
                    <a:pt x="54" y="315"/>
                    <a:pt x="53" y="316"/>
                  </a:cubicBezTo>
                  <a:cubicBezTo>
                    <a:pt x="52" y="317"/>
                    <a:pt x="52" y="317"/>
                    <a:pt x="51" y="317"/>
                  </a:cubicBezTo>
                  <a:cubicBezTo>
                    <a:pt x="50" y="318"/>
                    <a:pt x="50" y="318"/>
                    <a:pt x="50" y="318"/>
                  </a:cubicBezTo>
                  <a:cubicBezTo>
                    <a:pt x="50" y="318"/>
                    <a:pt x="50" y="318"/>
                    <a:pt x="50" y="318"/>
                  </a:cubicBezTo>
                  <a:cubicBezTo>
                    <a:pt x="50" y="318"/>
                    <a:pt x="50" y="318"/>
                    <a:pt x="50" y="318"/>
                  </a:cubicBezTo>
                  <a:cubicBezTo>
                    <a:pt x="49" y="318"/>
                    <a:pt x="48" y="317"/>
                    <a:pt x="48" y="317"/>
                  </a:cubicBezTo>
                  <a:cubicBezTo>
                    <a:pt x="47" y="317"/>
                    <a:pt x="47" y="317"/>
                    <a:pt x="47" y="317"/>
                  </a:cubicBezTo>
                  <a:cubicBezTo>
                    <a:pt x="46" y="317"/>
                    <a:pt x="46" y="317"/>
                    <a:pt x="46" y="317"/>
                  </a:cubicBezTo>
                  <a:cubicBezTo>
                    <a:pt x="46" y="317"/>
                    <a:pt x="46" y="317"/>
                    <a:pt x="45" y="317"/>
                  </a:cubicBezTo>
                  <a:cubicBezTo>
                    <a:pt x="45" y="317"/>
                    <a:pt x="45" y="317"/>
                    <a:pt x="45" y="317"/>
                  </a:cubicBezTo>
                  <a:cubicBezTo>
                    <a:pt x="44" y="317"/>
                    <a:pt x="44" y="317"/>
                    <a:pt x="44" y="317"/>
                  </a:cubicBezTo>
                  <a:cubicBezTo>
                    <a:pt x="43" y="317"/>
                    <a:pt x="43" y="317"/>
                    <a:pt x="43" y="317"/>
                  </a:cubicBezTo>
                  <a:cubicBezTo>
                    <a:pt x="43" y="317"/>
                    <a:pt x="43" y="317"/>
                    <a:pt x="43" y="317"/>
                  </a:cubicBezTo>
                  <a:cubicBezTo>
                    <a:pt x="43" y="317"/>
                    <a:pt x="43" y="317"/>
                    <a:pt x="43" y="317"/>
                  </a:cubicBezTo>
                  <a:cubicBezTo>
                    <a:pt x="44" y="318"/>
                    <a:pt x="44" y="318"/>
                    <a:pt x="44" y="318"/>
                  </a:cubicBezTo>
                  <a:cubicBezTo>
                    <a:pt x="43" y="318"/>
                    <a:pt x="43" y="318"/>
                    <a:pt x="43" y="318"/>
                  </a:cubicBezTo>
                  <a:cubicBezTo>
                    <a:pt x="42" y="319"/>
                    <a:pt x="42" y="319"/>
                    <a:pt x="41" y="319"/>
                  </a:cubicBezTo>
                  <a:cubicBezTo>
                    <a:pt x="41" y="319"/>
                    <a:pt x="40" y="319"/>
                    <a:pt x="39" y="319"/>
                  </a:cubicBezTo>
                  <a:cubicBezTo>
                    <a:pt x="37" y="319"/>
                    <a:pt x="36" y="318"/>
                    <a:pt x="35" y="316"/>
                  </a:cubicBezTo>
                  <a:cubicBezTo>
                    <a:pt x="34" y="315"/>
                    <a:pt x="34" y="315"/>
                    <a:pt x="34" y="314"/>
                  </a:cubicBezTo>
                  <a:cubicBezTo>
                    <a:pt x="34" y="314"/>
                    <a:pt x="34" y="313"/>
                    <a:pt x="34" y="312"/>
                  </a:cubicBezTo>
                  <a:cubicBezTo>
                    <a:pt x="33" y="313"/>
                    <a:pt x="33" y="313"/>
                    <a:pt x="33" y="313"/>
                  </a:cubicBezTo>
                  <a:cubicBezTo>
                    <a:pt x="32" y="313"/>
                    <a:pt x="32" y="313"/>
                    <a:pt x="32" y="313"/>
                  </a:cubicBezTo>
                  <a:cubicBezTo>
                    <a:pt x="30" y="315"/>
                    <a:pt x="28" y="315"/>
                    <a:pt x="26" y="315"/>
                  </a:cubicBezTo>
                  <a:cubicBezTo>
                    <a:pt x="25" y="315"/>
                    <a:pt x="25" y="315"/>
                    <a:pt x="24" y="315"/>
                  </a:cubicBezTo>
                  <a:cubicBezTo>
                    <a:pt x="24" y="316"/>
                    <a:pt x="24" y="317"/>
                    <a:pt x="23" y="317"/>
                  </a:cubicBezTo>
                  <a:cubicBezTo>
                    <a:pt x="23" y="318"/>
                    <a:pt x="23" y="318"/>
                    <a:pt x="22" y="318"/>
                  </a:cubicBezTo>
                  <a:cubicBezTo>
                    <a:pt x="21" y="320"/>
                    <a:pt x="17" y="321"/>
                    <a:pt x="14" y="322"/>
                  </a:cubicBezTo>
                  <a:cubicBezTo>
                    <a:pt x="13" y="322"/>
                    <a:pt x="13" y="322"/>
                    <a:pt x="13" y="322"/>
                  </a:cubicBezTo>
                  <a:cubicBezTo>
                    <a:pt x="13" y="322"/>
                    <a:pt x="12" y="322"/>
                    <a:pt x="12" y="322"/>
                  </a:cubicBezTo>
                  <a:cubicBezTo>
                    <a:pt x="7" y="324"/>
                    <a:pt x="7" y="324"/>
                    <a:pt x="7" y="324"/>
                  </a:cubicBezTo>
                  <a:cubicBezTo>
                    <a:pt x="7" y="324"/>
                    <a:pt x="7" y="325"/>
                    <a:pt x="7" y="325"/>
                  </a:cubicBezTo>
                  <a:cubicBezTo>
                    <a:pt x="7" y="326"/>
                    <a:pt x="7" y="326"/>
                    <a:pt x="7" y="327"/>
                  </a:cubicBezTo>
                  <a:cubicBezTo>
                    <a:pt x="6" y="328"/>
                    <a:pt x="6" y="328"/>
                    <a:pt x="6" y="328"/>
                  </a:cubicBezTo>
                  <a:cubicBezTo>
                    <a:pt x="6" y="328"/>
                    <a:pt x="6" y="328"/>
                    <a:pt x="6" y="328"/>
                  </a:cubicBezTo>
                  <a:cubicBezTo>
                    <a:pt x="5" y="332"/>
                    <a:pt x="5" y="332"/>
                    <a:pt x="5" y="332"/>
                  </a:cubicBezTo>
                  <a:cubicBezTo>
                    <a:pt x="6" y="333"/>
                    <a:pt x="5" y="334"/>
                    <a:pt x="5" y="335"/>
                  </a:cubicBezTo>
                  <a:cubicBezTo>
                    <a:pt x="4" y="335"/>
                    <a:pt x="3" y="335"/>
                    <a:pt x="3" y="336"/>
                  </a:cubicBezTo>
                  <a:cubicBezTo>
                    <a:pt x="2" y="336"/>
                    <a:pt x="2" y="336"/>
                    <a:pt x="2" y="336"/>
                  </a:cubicBezTo>
                  <a:cubicBezTo>
                    <a:pt x="1" y="337"/>
                    <a:pt x="1" y="337"/>
                    <a:pt x="1" y="337"/>
                  </a:cubicBezTo>
                  <a:cubicBezTo>
                    <a:pt x="1" y="337"/>
                    <a:pt x="1" y="337"/>
                    <a:pt x="1" y="337"/>
                  </a:cubicBezTo>
                  <a:cubicBezTo>
                    <a:pt x="0" y="337"/>
                    <a:pt x="0" y="337"/>
                    <a:pt x="0" y="337"/>
                  </a:cubicBezTo>
                  <a:cubicBezTo>
                    <a:pt x="0" y="341"/>
                    <a:pt x="0" y="341"/>
                    <a:pt x="0" y="341"/>
                  </a:cubicBezTo>
                  <a:cubicBezTo>
                    <a:pt x="0" y="342"/>
                    <a:pt x="0" y="342"/>
                    <a:pt x="0" y="342"/>
                  </a:cubicBezTo>
                  <a:cubicBezTo>
                    <a:pt x="1" y="341"/>
                    <a:pt x="1" y="341"/>
                    <a:pt x="1" y="341"/>
                  </a:cubicBezTo>
                  <a:cubicBezTo>
                    <a:pt x="1" y="342"/>
                    <a:pt x="1" y="342"/>
                    <a:pt x="1" y="342"/>
                  </a:cubicBezTo>
                  <a:cubicBezTo>
                    <a:pt x="1" y="342"/>
                    <a:pt x="1" y="342"/>
                    <a:pt x="1" y="342"/>
                  </a:cubicBezTo>
                  <a:cubicBezTo>
                    <a:pt x="1" y="343"/>
                    <a:pt x="1" y="343"/>
                    <a:pt x="1" y="343"/>
                  </a:cubicBezTo>
                  <a:cubicBezTo>
                    <a:pt x="2" y="343"/>
                    <a:pt x="2" y="343"/>
                    <a:pt x="2" y="343"/>
                  </a:cubicBezTo>
                  <a:cubicBezTo>
                    <a:pt x="2" y="343"/>
                    <a:pt x="2" y="343"/>
                    <a:pt x="2" y="343"/>
                  </a:cubicBezTo>
                  <a:cubicBezTo>
                    <a:pt x="2" y="344"/>
                    <a:pt x="3" y="344"/>
                    <a:pt x="3" y="345"/>
                  </a:cubicBezTo>
                  <a:cubicBezTo>
                    <a:pt x="3" y="345"/>
                    <a:pt x="3" y="345"/>
                    <a:pt x="3" y="345"/>
                  </a:cubicBezTo>
                  <a:cubicBezTo>
                    <a:pt x="4" y="346"/>
                    <a:pt x="4" y="347"/>
                    <a:pt x="3" y="348"/>
                  </a:cubicBezTo>
                  <a:cubicBezTo>
                    <a:pt x="3" y="349"/>
                    <a:pt x="3" y="349"/>
                    <a:pt x="3" y="349"/>
                  </a:cubicBezTo>
                  <a:cubicBezTo>
                    <a:pt x="2" y="349"/>
                    <a:pt x="2" y="349"/>
                    <a:pt x="2" y="349"/>
                  </a:cubicBezTo>
                  <a:cubicBezTo>
                    <a:pt x="2" y="350"/>
                    <a:pt x="2" y="350"/>
                    <a:pt x="2" y="350"/>
                  </a:cubicBezTo>
                  <a:cubicBezTo>
                    <a:pt x="2" y="350"/>
                    <a:pt x="2" y="350"/>
                    <a:pt x="2" y="350"/>
                  </a:cubicBezTo>
                  <a:cubicBezTo>
                    <a:pt x="2" y="351"/>
                    <a:pt x="2" y="352"/>
                    <a:pt x="2" y="352"/>
                  </a:cubicBezTo>
                  <a:cubicBezTo>
                    <a:pt x="3" y="352"/>
                    <a:pt x="3" y="352"/>
                    <a:pt x="3" y="352"/>
                  </a:cubicBezTo>
                  <a:cubicBezTo>
                    <a:pt x="4" y="352"/>
                    <a:pt x="4" y="352"/>
                    <a:pt x="4" y="352"/>
                  </a:cubicBezTo>
                  <a:cubicBezTo>
                    <a:pt x="5" y="351"/>
                    <a:pt x="7" y="351"/>
                    <a:pt x="8" y="351"/>
                  </a:cubicBezTo>
                  <a:cubicBezTo>
                    <a:pt x="9" y="351"/>
                    <a:pt x="9" y="351"/>
                    <a:pt x="9" y="351"/>
                  </a:cubicBezTo>
                  <a:cubicBezTo>
                    <a:pt x="9" y="351"/>
                    <a:pt x="9" y="351"/>
                    <a:pt x="9" y="351"/>
                  </a:cubicBezTo>
                  <a:cubicBezTo>
                    <a:pt x="10" y="351"/>
                    <a:pt x="10" y="351"/>
                    <a:pt x="11" y="351"/>
                  </a:cubicBezTo>
                  <a:cubicBezTo>
                    <a:pt x="12" y="351"/>
                    <a:pt x="13" y="352"/>
                    <a:pt x="14" y="352"/>
                  </a:cubicBezTo>
                  <a:cubicBezTo>
                    <a:pt x="15" y="353"/>
                    <a:pt x="16" y="353"/>
                    <a:pt x="17" y="354"/>
                  </a:cubicBezTo>
                  <a:cubicBezTo>
                    <a:pt x="17" y="354"/>
                    <a:pt x="17" y="354"/>
                    <a:pt x="17" y="354"/>
                  </a:cubicBezTo>
                  <a:cubicBezTo>
                    <a:pt x="18" y="355"/>
                    <a:pt x="18" y="355"/>
                    <a:pt x="19" y="355"/>
                  </a:cubicBezTo>
                  <a:cubicBezTo>
                    <a:pt x="20" y="356"/>
                    <a:pt x="20" y="356"/>
                    <a:pt x="20" y="356"/>
                  </a:cubicBezTo>
                  <a:cubicBezTo>
                    <a:pt x="22" y="357"/>
                    <a:pt x="23" y="358"/>
                    <a:pt x="24" y="361"/>
                  </a:cubicBezTo>
                  <a:cubicBezTo>
                    <a:pt x="24" y="365"/>
                    <a:pt x="25" y="368"/>
                    <a:pt x="25" y="371"/>
                  </a:cubicBezTo>
                  <a:cubicBezTo>
                    <a:pt x="25" y="372"/>
                    <a:pt x="25" y="372"/>
                    <a:pt x="25" y="372"/>
                  </a:cubicBezTo>
                  <a:cubicBezTo>
                    <a:pt x="25" y="373"/>
                    <a:pt x="25" y="374"/>
                    <a:pt x="26" y="375"/>
                  </a:cubicBezTo>
                  <a:cubicBezTo>
                    <a:pt x="26" y="377"/>
                    <a:pt x="26" y="377"/>
                    <a:pt x="26" y="377"/>
                  </a:cubicBezTo>
                  <a:cubicBezTo>
                    <a:pt x="26" y="377"/>
                    <a:pt x="27" y="378"/>
                    <a:pt x="28" y="379"/>
                  </a:cubicBezTo>
                  <a:cubicBezTo>
                    <a:pt x="31" y="381"/>
                    <a:pt x="31" y="381"/>
                    <a:pt x="31" y="381"/>
                  </a:cubicBezTo>
                  <a:cubicBezTo>
                    <a:pt x="29" y="383"/>
                    <a:pt x="29" y="383"/>
                    <a:pt x="29" y="383"/>
                  </a:cubicBezTo>
                  <a:cubicBezTo>
                    <a:pt x="28" y="384"/>
                    <a:pt x="27" y="384"/>
                    <a:pt x="26" y="385"/>
                  </a:cubicBezTo>
                  <a:cubicBezTo>
                    <a:pt x="35" y="383"/>
                    <a:pt x="35" y="383"/>
                    <a:pt x="35" y="383"/>
                  </a:cubicBezTo>
                  <a:cubicBezTo>
                    <a:pt x="24" y="388"/>
                    <a:pt x="24" y="388"/>
                    <a:pt x="24" y="388"/>
                  </a:cubicBezTo>
                  <a:cubicBezTo>
                    <a:pt x="24" y="388"/>
                    <a:pt x="24" y="388"/>
                    <a:pt x="24" y="388"/>
                  </a:cubicBezTo>
                  <a:cubicBezTo>
                    <a:pt x="26" y="388"/>
                    <a:pt x="28" y="388"/>
                    <a:pt x="30" y="389"/>
                  </a:cubicBezTo>
                  <a:cubicBezTo>
                    <a:pt x="32" y="390"/>
                    <a:pt x="33" y="391"/>
                    <a:pt x="34" y="392"/>
                  </a:cubicBezTo>
                  <a:cubicBezTo>
                    <a:pt x="35" y="392"/>
                    <a:pt x="36" y="393"/>
                    <a:pt x="37" y="393"/>
                  </a:cubicBezTo>
                  <a:cubicBezTo>
                    <a:pt x="38" y="394"/>
                    <a:pt x="38" y="394"/>
                    <a:pt x="38" y="394"/>
                  </a:cubicBezTo>
                  <a:cubicBezTo>
                    <a:pt x="38" y="394"/>
                    <a:pt x="38" y="394"/>
                    <a:pt x="38" y="394"/>
                  </a:cubicBezTo>
                  <a:cubicBezTo>
                    <a:pt x="40" y="395"/>
                    <a:pt x="42" y="397"/>
                    <a:pt x="44" y="400"/>
                  </a:cubicBezTo>
                  <a:cubicBezTo>
                    <a:pt x="45" y="401"/>
                    <a:pt x="45" y="402"/>
                    <a:pt x="45" y="403"/>
                  </a:cubicBezTo>
                  <a:cubicBezTo>
                    <a:pt x="45" y="404"/>
                    <a:pt x="46" y="405"/>
                    <a:pt x="46" y="406"/>
                  </a:cubicBezTo>
                  <a:cubicBezTo>
                    <a:pt x="45" y="408"/>
                    <a:pt x="45" y="409"/>
                    <a:pt x="45" y="409"/>
                  </a:cubicBezTo>
                  <a:cubicBezTo>
                    <a:pt x="44" y="410"/>
                    <a:pt x="44" y="410"/>
                    <a:pt x="44" y="410"/>
                  </a:cubicBezTo>
                  <a:cubicBezTo>
                    <a:pt x="45" y="410"/>
                    <a:pt x="45" y="410"/>
                    <a:pt x="45" y="410"/>
                  </a:cubicBezTo>
                  <a:cubicBezTo>
                    <a:pt x="46" y="411"/>
                    <a:pt x="46" y="412"/>
                    <a:pt x="47" y="412"/>
                  </a:cubicBezTo>
                  <a:cubicBezTo>
                    <a:pt x="47" y="413"/>
                    <a:pt x="47" y="413"/>
                    <a:pt x="47" y="413"/>
                  </a:cubicBezTo>
                  <a:cubicBezTo>
                    <a:pt x="47" y="413"/>
                    <a:pt x="47" y="413"/>
                    <a:pt x="47" y="413"/>
                  </a:cubicBezTo>
                  <a:cubicBezTo>
                    <a:pt x="47" y="413"/>
                    <a:pt x="47" y="413"/>
                    <a:pt x="47" y="413"/>
                  </a:cubicBezTo>
                  <a:cubicBezTo>
                    <a:pt x="48" y="413"/>
                    <a:pt x="48" y="413"/>
                    <a:pt x="48" y="413"/>
                  </a:cubicBezTo>
                  <a:cubicBezTo>
                    <a:pt x="50" y="413"/>
                    <a:pt x="51" y="413"/>
                    <a:pt x="51" y="413"/>
                  </a:cubicBezTo>
                  <a:cubicBezTo>
                    <a:pt x="54" y="409"/>
                    <a:pt x="54" y="409"/>
                    <a:pt x="54" y="409"/>
                  </a:cubicBezTo>
                  <a:cubicBezTo>
                    <a:pt x="55" y="413"/>
                    <a:pt x="55" y="413"/>
                    <a:pt x="55" y="413"/>
                  </a:cubicBezTo>
                  <a:cubicBezTo>
                    <a:pt x="56" y="414"/>
                    <a:pt x="56" y="414"/>
                    <a:pt x="56" y="414"/>
                  </a:cubicBezTo>
                  <a:cubicBezTo>
                    <a:pt x="56" y="415"/>
                    <a:pt x="56" y="415"/>
                    <a:pt x="56" y="415"/>
                  </a:cubicBezTo>
                  <a:cubicBezTo>
                    <a:pt x="56" y="415"/>
                    <a:pt x="56" y="415"/>
                    <a:pt x="56" y="415"/>
                  </a:cubicBezTo>
                  <a:cubicBezTo>
                    <a:pt x="56" y="415"/>
                    <a:pt x="56" y="415"/>
                    <a:pt x="56" y="415"/>
                  </a:cubicBezTo>
                  <a:cubicBezTo>
                    <a:pt x="57" y="416"/>
                    <a:pt x="58" y="417"/>
                    <a:pt x="59" y="417"/>
                  </a:cubicBezTo>
                  <a:cubicBezTo>
                    <a:pt x="62" y="419"/>
                    <a:pt x="67" y="420"/>
                    <a:pt x="71" y="420"/>
                  </a:cubicBezTo>
                  <a:cubicBezTo>
                    <a:pt x="73" y="420"/>
                    <a:pt x="75" y="420"/>
                    <a:pt x="77" y="420"/>
                  </a:cubicBezTo>
                  <a:cubicBezTo>
                    <a:pt x="77" y="420"/>
                    <a:pt x="77" y="420"/>
                    <a:pt x="77" y="420"/>
                  </a:cubicBezTo>
                  <a:cubicBezTo>
                    <a:pt x="78" y="420"/>
                    <a:pt x="78" y="420"/>
                    <a:pt x="78" y="420"/>
                  </a:cubicBezTo>
                  <a:cubicBezTo>
                    <a:pt x="80" y="420"/>
                    <a:pt x="81" y="419"/>
                    <a:pt x="82" y="418"/>
                  </a:cubicBezTo>
                  <a:cubicBezTo>
                    <a:pt x="84" y="418"/>
                    <a:pt x="84" y="418"/>
                    <a:pt x="84" y="418"/>
                  </a:cubicBezTo>
                  <a:cubicBezTo>
                    <a:pt x="84" y="420"/>
                    <a:pt x="84" y="420"/>
                    <a:pt x="84" y="420"/>
                  </a:cubicBezTo>
                  <a:cubicBezTo>
                    <a:pt x="84" y="420"/>
                    <a:pt x="84" y="420"/>
                    <a:pt x="84" y="420"/>
                  </a:cubicBezTo>
                  <a:cubicBezTo>
                    <a:pt x="82" y="421"/>
                    <a:pt x="80" y="422"/>
                    <a:pt x="79" y="422"/>
                  </a:cubicBezTo>
                  <a:cubicBezTo>
                    <a:pt x="78" y="423"/>
                    <a:pt x="78" y="423"/>
                    <a:pt x="78" y="423"/>
                  </a:cubicBezTo>
                  <a:cubicBezTo>
                    <a:pt x="77" y="423"/>
                    <a:pt x="77" y="423"/>
                    <a:pt x="77" y="423"/>
                  </a:cubicBezTo>
                  <a:cubicBezTo>
                    <a:pt x="77" y="423"/>
                    <a:pt x="77" y="423"/>
                    <a:pt x="77" y="423"/>
                  </a:cubicBezTo>
                  <a:cubicBezTo>
                    <a:pt x="77" y="423"/>
                    <a:pt x="79" y="423"/>
                    <a:pt x="81" y="423"/>
                  </a:cubicBezTo>
                  <a:cubicBezTo>
                    <a:pt x="81" y="423"/>
                    <a:pt x="81" y="423"/>
                    <a:pt x="81" y="423"/>
                  </a:cubicBezTo>
                  <a:cubicBezTo>
                    <a:pt x="82" y="423"/>
                    <a:pt x="82" y="423"/>
                    <a:pt x="82" y="423"/>
                  </a:cubicBezTo>
                  <a:cubicBezTo>
                    <a:pt x="82" y="423"/>
                    <a:pt x="82" y="423"/>
                    <a:pt x="82" y="424"/>
                  </a:cubicBezTo>
                  <a:cubicBezTo>
                    <a:pt x="82" y="425"/>
                    <a:pt x="81" y="426"/>
                    <a:pt x="81" y="427"/>
                  </a:cubicBezTo>
                  <a:cubicBezTo>
                    <a:pt x="81" y="428"/>
                    <a:pt x="82" y="429"/>
                    <a:pt x="82" y="430"/>
                  </a:cubicBezTo>
                  <a:cubicBezTo>
                    <a:pt x="83" y="431"/>
                    <a:pt x="83" y="432"/>
                    <a:pt x="84" y="433"/>
                  </a:cubicBezTo>
                  <a:cubicBezTo>
                    <a:pt x="84" y="434"/>
                    <a:pt x="84" y="434"/>
                    <a:pt x="84" y="434"/>
                  </a:cubicBezTo>
                  <a:cubicBezTo>
                    <a:pt x="85" y="436"/>
                    <a:pt x="85" y="438"/>
                    <a:pt x="86" y="439"/>
                  </a:cubicBezTo>
                  <a:cubicBezTo>
                    <a:pt x="86" y="440"/>
                    <a:pt x="86" y="440"/>
                    <a:pt x="86" y="440"/>
                  </a:cubicBezTo>
                  <a:cubicBezTo>
                    <a:pt x="87" y="441"/>
                    <a:pt x="88" y="443"/>
                    <a:pt x="90" y="444"/>
                  </a:cubicBezTo>
                  <a:cubicBezTo>
                    <a:pt x="91" y="445"/>
                    <a:pt x="93" y="445"/>
                    <a:pt x="95" y="446"/>
                  </a:cubicBezTo>
                  <a:cubicBezTo>
                    <a:pt x="97" y="446"/>
                    <a:pt x="98" y="447"/>
                    <a:pt x="99" y="448"/>
                  </a:cubicBezTo>
                  <a:cubicBezTo>
                    <a:pt x="99" y="448"/>
                    <a:pt x="99" y="449"/>
                    <a:pt x="99" y="450"/>
                  </a:cubicBezTo>
                  <a:cubicBezTo>
                    <a:pt x="95" y="453"/>
                    <a:pt x="95" y="453"/>
                    <a:pt x="95" y="453"/>
                  </a:cubicBezTo>
                  <a:cubicBezTo>
                    <a:pt x="95" y="453"/>
                    <a:pt x="95" y="453"/>
                    <a:pt x="95" y="453"/>
                  </a:cubicBezTo>
                  <a:cubicBezTo>
                    <a:pt x="95" y="454"/>
                    <a:pt x="95" y="454"/>
                    <a:pt x="95" y="455"/>
                  </a:cubicBezTo>
                  <a:cubicBezTo>
                    <a:pt x="95" y="456"/>
                    <a:pt x="95" y="457"/>
                    <a:pt x="96" y="457"/>
                  </a:cubicBezTo>
                  <a:cubicBezTo>
                    <a:pt x="96" y="458"/>
                    <a:pt x="96" y="458"/>
                    <a:pt x="96" y="458"/>
                  </a:cubicBezTo>
                  <a:cubicBezTo>
                    <a:pt x="96" y="458"/>
                    <a:pt x="96" y="459"/>
                    <a:pt x="96" y="460"/>
                  </a:cubicBezTo>
                  <a:cubicBezTo>
                    <a:pt x="98" y="458"/>
                    <a:pt x="98" y="458"/>
                    <a:pt x="98" y="458"/>
                  </a:cubicBezTo>
                  <a:cubicBezTo>
                    <a:pt x="99" y="461"/>
                    <a:pt x="99" y="461"/>
                    <a:pt x="99" y="461"/>
                  </a:cubicBezTo>
                  <a:cubicBezTo>
                    <a:pt x="99" y="461"/>
                    <a:pt x="99" y="461"/>
                    <a:pt x="99" y="461"/>
                  </a:cubicBezTo>
                  <a:cubicBezTo>
                    <a:pt x="100" y="464"/>
                    <a:pt x="100" y="464"/>
                    <a:pt x="100" y="464"/>
                  </a:cubicBezTo>
                  <a:cubicBezTo>
                    <a:pt x="101" y="466"/>
                    <a:pt x="101" y="466"/>
                    <a:pt x="101" y="466"/>
                  </a:cubicBezTo>
                  <a:cubicBezTo>
                    <a:pt x="101" y="467"/>
                    <a:pt x="101" y="467"/>
                    <a:pt x="101" y="467"/>
                  </a:cubicBezTo>
                  <a:cubicBezTo>
                    <a:pt x="101" y="467"/>
                    <a:pt x="101" y="467"/>
                    <a:pt x="101" y="467"/>
                  </a:cubicBezTo>
                  <a:cubicBezTo>
                    <a:pt x="103" y="468"/>
                    <a:pt x="104" y="469"/>
                    <a:pt x="106" y="470"/>
                  </a:cubicBezTo>
                  <a:cubicBezTo>
                    <a:pt x="106" y="470"/>
                    <a:pt x="106" y="470"/>
                    <a:pt x="106" y="470"/>
                  </a:cubicBezTo>
                  <a:cubicBezTo>
                    <a:pt x="107" y="470"/>
                    <a:pt x="109" y="471"/>
                    <a:pt x="110" y="473"/>
                  </a:cubicBezTo>
                  <a:cubicBezTo>
                    <a:pt x="110" y="473"/>
                    <a:pt x="110" y="474"/>
                    <a:pt x="110" y="475"/>
                  </a:cubicBezTo>
                  <a:cubicBezTo>
                    <a:pt x="110" y="477"/>
                    <a:pt x="110" y="477"/>
                    <a:pt x="110" y="477"/>
                  </a:cubicBezTo>
                  <a:cubicBezTo>
                    <a:pt x="110" y="477"/>
                    <a:pt x="110" y="478"/>
                    <a:pt x="111" y="478"/>
                  </a:cubicBezTo>
                  <a:cubicBezTo>
                    <a:pt x="111" y="479"/>
                    <a:pt x="111" y="479"/>
                    <a:pt x="111" y="479"/>
                  </a:cubicBezTo>
                  <a:cubicBezTo>
                    <a:pt x="111" y="479"/>
                    <a:pt x="111" y="479"/>
                    <a:pt x="111" y="479"/>
                  </a:cubicBezTo>
                  <a:cubicBezTo>
                    <a:pt x="111" y="480"/>
                    <a:pt x="111" y="480"/>
                    <a:pt x="111" y="480"/>
                  </a:cubicBezTo>
                  <a:cubicBezTo>
                    <a:pt x="113" y="481"/>
                    <a:pt x="113" y="481"/>
                    <a:pt x="113" y="481"/>
                  </a:cubicBezTo>
                  <a:cubicBezTo>
                    <a:pt x="112" y="483"/>
                    <a:pt x="112" y="483"/>
                    <a:pt x="112" y="483"/>
                  </a:cubicBezTo>
                  <a:cubicBezTo>
                    <a:pt x="108" y="487"/>
                    <a:pt x="104" y="492"/>
                    <a:pt x="100" y="492"/>
                  </a:cubicBezTo>
                  <a:cubicBezTo>
                    <a:pt x="99" y="492"/>
                    <a:pt x="99" y="492"/>
                    <a:pt x="99" y="492"/>
                  </a:cubicBezTo>
                  <a:cubicBezTo>
                    <a:pt x="99" y="492"/>
                    <a:pt x="99" y="492"/>
                    <a:pt x="99" y="492"/>
                  </a:cubicBezTo>
                  <a:cubicBezTo>
                    <a:pt x="96" y="491"/>
                    <a:pt x="94" y="489"/>
                    <a:pt x="93" y="488"/>
                  </a:cubicBezTo>
                  <a:cubicBezTo>
                    <a:pt x="93" y="487"/>
                    <a:pt x="93" y="487"/>
                    <a:pt x="93" y="487"/>
                  </a:cubicBezTo>
                  <a:cubicBezTo>
                    <a:pt x="92" y="487"/>
                    <a:pt x="92" y="487"/>
                    <a:pt x="92" y="487"/>
                  </a:cubicBezTo>
                  <a:cubicBezTo>
                    <a:pt x="92" y="488"/>
                    <a:pt x="91" y="488"/>
                    <a:pt x="91" y="488"/>
                  </a:cubicBezTo>
                  <a:cubicBezTo>
                    <a:pt x="92" y="490"/>
                    <a:pt x="92" y="492"/>
                    <a:pt x="93" y="493"/>
                  </a:cubicBezTo>
                  <a:cubicBezTo>
                    <a:pt x="94" y="494"/>
                    <a:pt x="95" y="496"/>
                    <a:pt x="96" y="497"/>
                  </a:cubicBezTo>
                  <a:cubicBezTo>
                    <a:pt x="97" y="498"/>
                    <a:pt x="97" y="499"/>
                    <a:pt x="97" y="500"/>
                  </a:cubicBezTo>
                  <a:cubicBezTo>
                    <a:pt x="97" y="500"/>
                    <a:pt x="97" y="501"/>
                    <a:pt x="97" y="502"/>
                  </a:cubicBezTo>
                  <a:cubicBezTo>
                    <a:pt x="97" y="503"/>
                    <a:pt x="97" y="505"/>
                    <a:pt x="97" y="507"/>
                  </a:cubicBezTo>
                  <a:cubicBezTo>
                    <a:pt x="97" y="507"/>
                    <a:pt x="97" y="507"/>
                    <a:pt x="97" y="507"/>
                  </a:cubicBezTo>
                  <a:cubicBezTo>
                    <a:pt x="97" y="508"/>
                    <a:pt x="97" y="508"/>
                    <a:pt x="97" y="508"/>
                  </a:cubicBezTo>
                  <a:cubicBezTo>
                    <a:pt x="97" y="508"/>
                    <a:pt x="97" y="508"/>
                    <a:pt x="98" y="509"/>
                  </a:cubicBezTo>
                  <a:cubicBezTo>
                    <a:pt x="98" y="509"/>
                    <a:pt x="98" y="509"/>
                    <a:pt x="98" y="509"/>
                  </a:cubicBezTo>
                  <a:cubicBezTo>
                    <a:pt x="99" y="508"/>
                    <a:pt x="100" y="508"/>
                    <a:pt x="102" y="508"/>
                  </a:cubicBezTo>
                  <a:cubicBezTo>
                    <a:pt x="102" y="508"/>
                    <a:pt x="102" y="508"/>
                    <a:pt x="103" y="508"/>
                  </a:cubicBezTo>
                  <a:cubicBezTo>
                    <a:pt x="103" y="508"/>
                    <a:pt x="104" y="508"/>
                    <a:pt x="105" y="509"/>
                  </a:cubicBezTo>
                  <a:cubicBezTo>
                    <a:pt x="106" y="510"/>
                    <a:pt x="106" y="510"/>
                    <a:pt x="106" y="510"/>
                  </a:cubicBezTo>
                  <a:cubicBezTo>
                    <a:pt x="110" y="508"/>
                    <a:pt x="110" y="508"/>
                    <a:pt x="110" y="508"/>
                  </a:cubicBezTo>
                  <a:cubicBezTo>
                    <a:pt x="106" y="511"/>
                    <a:pt x="106" y="511"/>
                    <a:pt x="106" y="511"/>
                  </a:cubicBezTo>
                  <a:cubicBezTo>
                    <a:pt x="107" y="512"/>
                    <a:pt x="107" y="513"/>
                    <a:pt x="108" y="513"/>
                  </a:cubicBezTo>
                  <a:cubicBezTo>
                    <a:pt x="108" y="514"/>
                    <a:pt x="108" y="514"/>
                    <a:pt x="108" y="514"/>
                  </a:cubicBezTo>
                  <a:cubicBezTo>
                    <a:pt x="108" y="514"/>
                    <a:pt x="109" y="515"/>
                    <a:pt x="109" y="515"/>
                  </a:cubicBezTo>
                  <a:cubicBezTo>
                    <a:pt x="109" y="515"/>
                    <a:pt x="110" y="516"/>
                    <a:pt x="110" y="516"/>
                  </a:cubicBezTo>
                  <a:cubicBezTo>
                    <a:pt x="110" y="516"/>
                    <a:pt x="110" y="516"/>
                    <a:pt x="111" y="517"/>
                  </a:cubicBezTo>
                  <a:cubicBezTo>
                    <a:pt x="111" y="517"/>
                    <a:pt x="112" y="517"/>
                    <a:pt x="113" y="517"/>
                  </a:cubicBezTo>
                  <a:cubicBezTo>
                    <a:pt x="116" y="518"/>
                    <a:pt x="119" y="519"/>
                    <a:pt x="122" y="520"/>
                  </a:cubicBezTo>
                  <a:cubicBezTo>
                    <a:pt x="123" y="521"/>
                    <a:pt x="124" y="522"/>
                    <a:pt x="125" y="522"/>
                  </a:cubicBezTo>
                  <a:cubicBezTo>
                    <a:pt x="125" y="521"/>
                    <a:pt x="125" y="521"/>
                    <a:pt x="125" y="521"/>
                  </a:cubicBezTo>
                  <a:cubicBezTo>
                    <a:pt x="125" y="522"/>
                    <a:pt x="125" y="522"/>
                    <a:pt x="125" y="522"/>
                  </a:cubicBezTo>
                  <a:cubicBezTo>
                    <a:pt x="126" y="523"/>
                    <a:pt x="126" y="523"/>
                    <a:pt x="126" y="523"/>
                  </a:cubicBezTo>
                  <a:cubicBezTo>
                    <a:pt x="126" y="524"/>
                    <a:pt x="126" y="525"/>
                    <a:pt x="126" y="526"/>
                  </a:cubicBezTo>
                  <a:cubicBezTo>
                    <a:pt x="138" y="533"/>
                    <a:pt x="138" y="533"/>
                    <a:pt x="138" y="533"/>
                  </a:cubicBezTo>
                  <a:cubicBezTo>
                    <a:pt x="139" y="532"/>
                    <a:pt x="139" y="532"/>
                    <a:pt x="139" y="532"/>
                  </a:cubicBezTo>
                  <a:cubicBezTo>
                    <a:pt x="142" y="536"/>
                    <a:pt x="142" y="536"/>
                    <a:pt x="142" y="536"/>
                  </a:cubicBezTo>
                  <a:cubicBezTo>
                    <a:pt x="142" y="534"/>
                    <a:pt x="143" y="533"/>
                    <a:pt x="143" y="532"/>
                  </a:cubicBezTo>
                  <a:cubicBezTo>
                    <a:pt x="144" y="532"/>
                    <a:pt x="144" y="532"/>
                    <a:pt x="144" y="532"/>
                  </a:cubicBezTo>
                  <a:cubicBezTo>
                    <a:pt x="144" y="531"/>
                    <a:pt x="144" y="531"/>
                    <a:pt x="144" y="531"/>
                  </a:cubicBezTo>
                  <a:cubicBezTo>
                    <a:pt x="145" y="531"/>
                    <a:pt x="145" y="530"/>
                    <a:pt x="145" y="530"/>
                  </a:cubicBezTo>
                  <a:cubicBezTo>
                    <a:pt x="146" y="530"/>
                    <a:pt x="146" y="530"/>
                    <a:pt x="146" y="530"/>
                  </a:cubicBezTo>
                  <a:cubicBezTo>
                    <a:pt x="147" y="529"/>
                    <a:pt x="148" y="529"/>
                    <a:pt x="149" y="529"/>
                  </a:cubicBezTo>
                  <a:cubicBezTo>
                    <a:pt x="150" y="529"/>
                    <a:pt x="150" y="529"/>
                    <a:pt x="151" y="529"/>
                  </a:cubicBezTo>
                  <a:cubicBezTo>
                    <a:pt x="154" y="529"/>
                    <a:pt x="157" y="529"/>
                    <a:pt x="159" y="531"/>
                  </a:cubicBezTo>
                  <a:cubicBezTo>
                    <a:pt x="160" y="532"/>
                    <a:pt x="161" y="533"/>
                    <a:pt x="161" y="535"/>
                  </a:cubicBezTo>
                  <a:cubicBezTo>
                    <a:pt x="162" y="535"/>
                    <a:pt x="162" y="536"/>
                    <a:pt x="162" y="536"/>
                  </a:cubicBezTo>
                  <a:cubicBezTo>
                    <a:pt x="163" y="536"/>
                    <a:pt x="163" y="537"/>
                    <a:pt x="164" y="537"/>
                  </a:cubicBezTo>
                  <a:cubicBezTo>
                    <a:pt x="164" y="537"/>
                    <a:pt x="164" y="537"/>
                    <a:pt x="164" y="537"/>
                  </a:cubicBezTo>
                  <a:cubicBezTo>
                    <a:pt x="165" y="537"/>
                    <a:pt x="166" y="538"/>
                    <a:pt x="166" y="538"/>
                  </a:cubicBezTo>
                  <a:cubicBezTo>
                    <a:pt x="167" y="538"/>
                    <a:pt x="167" y="538"/>
                    <a:pt x="167" y="538"/>
                  </a:cubicBezTo>
                  <a:cubicBezTo>
                    <a:pt x="168" y="539"/>
                    <a:pt x="169" y="540"/>
                    <a:pt x="170" y="540"/>
                  </a:cubicBezTo>
                  <a:cubicBezTo>
                    <a:pt x="171" y="541"/>
                    <a:pt x="172" y="542"/>
                    <a:pt x="173" y="542"/>
                  </a:cubicBezTo>
                  <a:cubicBezTo>
                    <a:pt x="174" y="544"/>
                    <a:pt x="174" y="544"/>
                    <a:pt x="174" y="544"/>
                  </a:cubicBezTo>
                  <a:cubicBezTo>
                    <a:pt x="174" y="544"/>
                    <a:pt x="175" y="544"/>
                    <a:pt x="176" y="545"/>
                  </a:cubicBezTo>
                  <a:cubicBezTo>
                    <a:pt x="177" y="545"/>
                    <a:pt x="178" y="545"/>
                    <a:pt x="178" y="545"/>
                  </a:cubicBezTo>
                  <a:cubicBezTo>
                    <a:pt x="179" y="545"/>
                    <a:pt x="179" y="545"/>
                    <a:pt x="179" y="545"/>
                  </a:cubicBezTo>
                  <a:cubicBezTo>
                    <a:pt x="179" y="545"/>
                    <a:pt x="179" y="545"/>
                    <a:pt x="179" y="545"/>
                  </a:cubicBezTo>
                  <a:cubicBezTo>
                    <a:pt x="180" y="545"/>
                    <a:pt x="180" y="545"/>
                    <a:pt x="180" y="545"/>
                  </a:cubicBezTo>
                  <a:cubicBezTo>
                    <a:pt x="181" y="546"/>
                    <a:pt x="181" y="546"/>
                    <a:pt x="181" y="546"/>
                  </a:cubicBezTo>
                  <a:cubicBezTo>
                    <a:pt x="182" y="546"/>
                    <a:pt x="182" y="546"/>
                    <a:pt x="182" y="546"/>
                  </a:cubicBezTo>
                  <a:cubicBezTo>
                    <a:pt x="182" y="546"/>
                    <a:pt x="182" y="547"/>
                    <a:pt x="182" y="547"/>
                  </a:cubicBezTo>
                  <a:cubicBezTo>
                    <a:pt x="183" y="547"/>
                    <a:pt x="183" y="547"/>
                    <a:pt x="184" y="548"/>
                  </a:cubicBezTo>
                  <a:cubicBezTo>
                    <a:pt x="186" y="546"/>
                    <a:pt x="186" y="546"/>
                    <a:pt x="186" y="546"/>
                  </a:cubicBezTo>
                  <a:cubicBezTo>
                    <a:pt x="184" y="549"/>
                    <a:pt x="184" y="549"/>
                    <a:pt x="184" y="549"/>
                  </a:cubicBezTo>
                  <a:cubicBezTo>
                    <a:pt x="184" y="549"/>
                    <a:pt x="184" y="549"/>
                    <a:pt x="184" y="549"/>
                  </a:cubicBezTo>
                  <a:cubicBezTo>
                    <a:pt x="185" y="550"/>
                    <a:pt x="186" y="551"/>
                    <a:pt x="187" y="552"/>
                  </a:cubicBezTo>
                  <a:cubicBezTo>
                    <a:pt x="187" y="552"/>
                    <a:pt x="188" y="553"/>
                    <a:pt x="188" y="553"/>
                  </a:cubicBezTo>
                  <a:cubicBezTo>
                    <a:pt x="188" y="553"/>
                    <a:pt x="188" y="553"/>
                    <a:pt x="188" y="553"/>
                  </a:cubicBezTo>
                  <a:cubicBezTo>
                    <a:pt x="189" y="554"/>
                    <a:pt x="189" y="554"/>
                    <a:pt x="189" y="554"/>
                  </a:cubicBezTo>
                  <a:cubicBezTo>
                    <a:pt x="190" y="554"/>
                    <a:pt x="190" y="554"/>
                    <a:pt x="190" y="554"/>
                  </a:cubicBezTo>
                  <a:cubicBezTo>
                    <a:pt x="190" y="554"/>
                    <a:pt x="190" y="554"/>
                    <a:pt x="190" y="554"/>
                  </a:cubicBezTo>
                  <a:cubicBezTo>
                    <a:pt x="192" y="554"/>
                    <a:pt x="194" y="553"/>
                    <a:pt x="196" y="553"/>
                  </a:cubicBezTo>
                  <a:cubicBezTo>
                    <a:pt x="196" y="553"/>
                    <a:pt x="196" y="553"/>
                    <a:pt x="197" y="553"/>
                  </a:cubicBezTo>
                  <a:cubicBezTo>
                    <a:pt x="198" y="553"/>
                    <a:pt x="199" y="553"/>
                    <a:pt x="199" y="554"/>
                  </a:cubicBezTo>
                  <a:cubicBezTo>
                    <a:pt x="201" y="555"/>
                    <a:pt x="201" y="556"/>
                    <a:pt x="201" y="557"/>
                  </a:cubicBezTo>
                  <a:cubicBezTo>
                    <a:pt x="201" y="557"/>
                    <a:pt x="201" y="557"/>
                    <a:pt x="201" y="557"/>
                  </a:cubicBezTo>
                  <a:cubicBezTo>
                    <a:pt x="201" y="558"/>
                    <a:pt x="201" y="558"/>
                    <a:pt x="201" y="558"/>
                  </a:cubicBezTo>
                  <a:cubicBezTo>
                    <a:pt x="202" y="558"/>
                    <a:pt x="202" y="560"/>
                    <a:pt x="202" y="561"/>
                  </a:cubicBezTo>
                  <a:cubicBezTo>
                    <a:pt x="202" y="561"/>
                    <a:pt x="203" y="562"/>
                    <a:pt x="203" y="562"/>
                  </a:cubicBezTo>
                  <a:cubicBezTo>
                    <a:pt x="204" y="563"/>
                    <a:pt x="204" y="563"/>
                    <a:pt x="204" y="563"/>
                  </a:cubicBezTo>
                  <a:cubicBezTo>
                    <a:pt x="204" y="563"/>
                    <a:pt x="205" y="563"/>
                    <a:pt x="205" y="563"/>
                  </a:cubicBezTo>
                  <a:cubicBezTo>
                    <a:pt x="206" y="564"/>
                    <a:pt x="206" y="564"/>
                    <a:pt x="206" y="564"/>
                  </a:cubicBezTo>
                  <a:cubicBezTo>
                    <a:pt x="207" y="565"/>
                    <a:pt x="207" y="565"/>
                    <a:pt x="207" y="565"/>
                  </a:cubicBezTo>
                  <a:cubicBezTo>
                    <a:pt x="208" y="565"/>
                    <a:pt x="208" y="565"/>
                    <a:pt x="208" y="565"/>
                  </a:cubicBezTo>
                  <a:cubicBezTo>
                    <a:pt x="209" y="566"/>
                    <a:pt x="209" y="566"/>
                    <a:pt x="210" y="566"/>
                  </a:cubicBezTo>
                  <a:cubicBezTo>
                    <a:pt x="211" y="567"/>
                    <a:pt x="211" y="567"/>
                    <a:pt x="212" y="567"/>
                  </a:cubicBezTo>
                  <a:cubicBezTo>
                    <a:pt x="212" y="567"/>
                    <a:pt x="212" y="567"/>
                    <a:pt x="213" y="567"/>
                  </a:cubicBezTo>
                  <a:cubicBezTo>
                    <a:pt x="213" y="567"/>
                    <a:pt x="214" y="567"/>
                    <a:pt x="214" y="567"/>
                  </a:cubicBezTo>
                  <a:cubicBezTo>
                    <a:pt x="215" y="567"/>
                    <a:pt x="215" y="567"/>
                    <a:pt x="215" y="567"/>
                  </a:cubicBezTo>
                  <a:cubicBezTo>
                    <a:pt x="216" y="567"/>
                    <a:pt x="216" y="567"/>
                    <a:pt x="217" y="567"/>
                  </a:cubicBezTo>
                  <a:cubicBezTo>
                    <a:pt x="217" y="567"/>
                    <a:pt x="218" y="567"/>
                    <a:pt x="218" y="567"/>
                  </a:cubicBezTo>
                  <a:cubicBezTo>
                    <a:pt x="221" y="567"/>
                    <a:pt x="221" y="567"/>
                    <a:pt x="221" y="567"/>
                  </a:cubicBezTo>
                  <a:cubicBezTo>
                    <a:pt x="219" y="571"/>
                    <a:pt x="219" y="571"/>
                    <a:pt x="219" y="571"/>
                  </a:cubicBezTo>
                  <a:cubicBezTo>
                    <a:pt x="219" y="571"/>
                    <a:pt x="219" y="572"/>
                    <a:pt x="219" y="572"/>
                  </a:cubicBezTo>
                  <a:cubicBezTo>
                    <a:pt x="219" y="572"/>
                    <a:pt x="219" y="572"/>
                    <a:pt x="219" y="572"/>
                  </a:cubicBezTo>
                  <a:cubicBezTo>
                    <a:pt x="220" y="572"/>
                    <a:pt x="220" y="572"/>
                    <a:pt x="220" y="572"/>
                  </a:cubicBezTo>
                  <a:cubicBezTo>
                    <a:pt x="220" y="572"/>
                    <a:pt x="220" y="572"/>
                    <a:pt x="220" y="572"/>
                  </a:cubicBezTo>
                  <a:cubicBezTo>
                    <a:pt x="221" y="572"/>
                    <a:pt x="221" y="572"/>
                    <a:pt x="222" y="572"/>
                  </a:cubicBezTo>
                  <a:cubicBezTo>
                    <a:pt x="223" y="572"/>
                    <a:pt x="224" y="572"/>
                    <a:pt x="225" y="572"/>
                  </a:cubicBezTo>
                  <a:cubicBezTo>
                    <a:pt x="225" y="572"/>
                    <a:pt x="225" y="572"/>
                    <a:pt x="225" y="572"/>
                  </a:cubicBezTo>
                  <a:cubicBezTo>
                    <a:pt x="227" y="572"/>
                    <a:pt x="229" y="573"/>
                    <a:pt x="230" y="573"/>
                  </a:cubicBezTo>
                  <a:cubicBezTo>
                    <a:pt x="230" y="574"/>
                    <a:pt x="231" y="574"/>
                    <a:pt x="231" y="575"/>
                  </a:cubicBezTo>
                  <a:cubicBezTo>
                    <a:pt x="232" y="576"/>
                    <a:pt x="232" y="576"/>
                    <a:pt x="232" y="576"/>
                  </a:cubicBezTo>
                  <a:cubicBezTo>
                    <a:pt x="232" y="577"/>
                    <a:pt x="233" y="578"/>
                    <a:pt x="234" y="579"/>
                  </a:cubicBezTo>
                  <a:cubicBezTo>
                    <a:pt x="234" y="578"/>
                    <a:pt x="235" y="577"/>
                    <a:pt x="235" y="576"/>
                  </a:cubicBezTo>
                  <a:cubicBezTo>
                    <a:pt x="240" y="571"/>
                    <a:pt x="240" y="571"/>
                    <a:pt x="240" y="571"/>
                  </a:cubicBezTo>
                  <a:cubicBezTo>
                    <a:pt x="239" y="578"/>
                    <a:pt x="239" y="578"/>
                    <a:pt x="239" y="578"/>
                  </a:cubicBezTo>
                  <a:cubicBezTo>
                    <a:pt x="239" y="578"/>
                    <a:pt x="239" y="578"/>
                    <a:pt x="239" y="579"/>
                  </a:cubicBezTo>
                  <a:cubicBezTo>
                    <a:pt x="239" y="579"/>
                    <a:pt x="240" y="579"/>
                    <a:pt x="241" y="579"/>
                  </a:cubicBezTo>
                  <a:cubicBezTo>
                    <a:pt x="242" y="579"/>
                    <a:pt x="242" y="579"/>
                    <a:pt x="242" y="579"/>
                  </a:cubicBezTo>
                  <a:cubicBezTo>
                    <a:pt x="242" y="579"/>
                    <a:pt x="242" y="579"/>
                    <a:pt x="242" y="579"/>
                  </a:cubicBezTo>
                  <a:cubicBezTo>
                    <a:pt x="243" y="579"/>
                    <a:pt x="244" y="578"/>
                    <a:pt x="245" y="577"/>
                  </a:cubicBezTo>
                  <a:cubicBezTo>
                    <a:pt x="246" y="577"/>
                    <a:pt x="246" y="577"/>
                    <a:pt x="247" y="577"/>
                  </a:cubicBezTo>
                  <a:cubicBezTo>
                    <a:pt x="247" y="577"/>
                    <a:pt x="247" y="577"/>
                    <a:pt x="247" y="577"/>
                  </a:cubicBezTo>
                  <a:cubicBezTo>
                    <a:pt x="248" y="577"/>
                    <a:pt x="248" y="577"/>
                    <a:pt x="248" y="577"/>
                  </a:cubicBezTo>
                  <a:cubicBezTo>
                    <a:pt x="248" y="577"/>
                    <a:pt x="248" y="577"/>
                    <a:pt x="248" y="577"/>
                  </a:cubicBezTo>
                  <a:cubicBezTo>
                    <a:pt x="249" y="578"/>
                    <a:pt x="249" y="578"/>
                    <a:pt x="250" y="578"/>
                  </a:cubicBezTo>
                  <a:cubicBezTo>
                    <a:pt x="251" y="579"/>
                    <a:pt x="253" y="580"/>
                    <a:pt x="255" y="580"/>
                  </a:cubicBezTo>
                  <a:cubicBezTo>
                    <a:pt x="257" y="581"/>
                    <a:pt x="258" y="581"/>
                    <a:pt x="261" y="581"/>
                  </a:cubicBezTo>
                  <a:cubicBezTo>
                    <a:pt x="263" y="582"/>
                    <a:pt x="265" y="582"/>
                    <a:pt x="267" y="582"/>
                  </a:cubicBezTo>
                  <a:cubicBezTo>
                    <a:pt x="269" y="582"/>
                    <a:pt x="271" y="582"/>
                    <a:pt x="273" y="582"/>
                  </a:cubicBezTo>
                  <a:cubicBezTo>
                    <a:pt x="273" y="582"/>
                    <a:pt x="273" y="582"/>
                    <a:pt x="273" y="582"/>
                  </a:cubicBezTo>
                  <a:cubicBezTo>
                    <a:pt x="275" y="580"/>
                    <a:pt x="275" y="580"/>
                    <a:pt x="275" y="580"/>
                  </a:cubicBezTo>
                  <a:cubicBezTo>
                    <a:pt x="277" y="579"/>
                    <a:pt x="279" y="578"/>
                    <a:pt x="281" y="577"/>
                  </a:cubicBezTo>
                  <a:cubicBezTo>
                    <a:pt x="281" y="577"/>
                    <a:pt x="281" y="577"/>
                    <a:pt x="281" y="577"/>
                  </a:cubicBezTo>
                  <a:cubicBezTo>
                    <a:pt x="282" y="577"/>
                    <a:pt x="282" y="577"/>
                    <a:pt x="282" y="577"/>
                  </a:cubicBezTo>
                  <a:cubicBezTo>
                    <a:pt x="282" y="577"/>
                    <a:pt x="283" y="577"/>
                    <a:pt x="283" y="577"/>
                  </a:cubicBezTo>
                  <a:cubicBezTo>
                    <a:pt x="284" y="577"/>
                    <a:pt x="285" y="577"/>
                    <a:pt x="285" y="577"/>
                  </a:cubicBezTo>
                  <a:cubicBezTo>
                    <a:pt x="287" y="577"/>
                    <a:pt x="288" y="578"/>
                    <a:pt x="289" y="580"/>
                  </a:cubicBezTo>
                  <a:cubicBezTo>
                    <a:pt x="289" y="580"/>
                    <a:pt x="289" y="580"/>
                    <a:pt x="289" y="580"/>
                  </a:cubicBezTo>
                  <a:cubicBezTo>
                    <a:pt x="290" y="580"/>
                    <a:pt x="290" y="580"/>
                    <a:pt x="290" y="580"/>
                  </a:cubicBezTo>
                  <a:cubicBezTo>
                    <a:pt x="290" y="581"/>
                    <a:pt x="290" y="581"/>
                    <a:pt x="290" y="581"/>
                  </a:cubicBezTo>
                  <a:cubicBezTo>
                    <a:pt x="290" y="581"/>
                    <a:pt x="290" y="581"/>
                    <a:pt x="290" y="582"/>
                  </a:cubicBezTo>
                  <a:cubicBezTo>
                    <a:pt x="290" y="583"/>
                    <a:pt x="290" y="583"/>
                    <a:pt x="290" y="583"/>
                  </a:cubicBezTo>
                  <a:cubicBezTo>
                    <a:pt x="290" y="583"/>
                    <a:pt x="290" y="583"/>
                    <a:pt x="290" y="584"/>
                  </a:cubicBezTo>
                  <a:cubicBezTo>
                    <a:pt x="290" y="585"/>
                    <a:pt x="290" y="585"/>
                    <a:pt x="290" y="585"/>
                  </a:cubicBezTo>
                  <a:cubicBezTo>
                    <a:pt x="290" y="585"/>
                    <a:pt x="290" y="585"/>
                    <a:pt x="290" y="586"/>
                  </a:cubicBezTo>
                  <a:cubicBezTo>
                    <a:pt x="290" y="587"/>
                    <a:pt x="290" y="587"/>
                    <a:pt x="290" y="588"/>
                  </a:cubicBezTo>
                  <a:cubicBezTo>
                    <a:pt x="289" y="588"/>
                    <a:pt x="289" y="588"/>
                    <a:pt x="289" y="588"/>
                  </a:cubicBezTo>
                  <a:cubicBezTo>
                    <a:pt x="289" y="590"/>
                    <a:pt x="289" y="590"/>
                    <a:pt x="289" y="590"/>
                  </a:cubicBezTo>
                  <a:cubicBezTo>
                    <a:pt x="289" y="590"/>
                    <a:pt x="289" y="590"/>
                    <a:pt x="289" y="590"/>
                  </a:cubicBezTo>
                  <a:cubicBezTo>
                    <a:pt x="289" y="590"/>
                    <a:pt x="289" y="589"/>
                    <a:pt x="290" y="589"/>
                  </a:cubicBezTo>
                  <a:cubicBezTo>
                    <a:pt x="290" y="588"/>
                    <a:pt x="291" y="587"/>
                    <a:pt x="292" y="586"/>
                  </a:cubicBezTo>
                  <a:cubicBezTo>
                    <a:pt x="293" y="584"/>
                    <a:pt x="295" y="582"/>
                    <a:pt x="297" y="580"/>
                  </a:cubicBezTo>
                  <a:cubicBezTo>
                    <a:pt x="297" y="579"/>
                    <a:pt x="298" y="579"/>
                    <a:pt x="298" y="578"/>
                  </a:cubicBezTo>
                  <a:cubicBezTo>
                    <a:pt x="301" y="576"/>
                    <a:pt x="304" y="574"/>
                    <a:pt x="309" y="573"/>
                  </a:cubicBezTo>
                  <a:cubicBezTo>
                    <a:pt x="311" y="572"/>
                    <a:pt x="311" y="572"/>
                    <a:pt x="311" y="572"/>
                  </a:cubicBezTo>
                  <a:cubicBezTo>
                    <a:pt x="312" y="572"/>
                    <a:pt x="312" y="572"/>
                    <a:pt x="312" y="572"/>
                  </a:cubicBezTo>
                  <a:cubicBezTo>
                    <a:pt x="313" y="573"/>
                    <a:pt x="313" y="573"/>
                    <a:pt x="313" y="573"/>
                  </a:cubicBezTo>
                  <a:cubicBezTo>
                    <a:pt x="313" y="573"/>
                    <a:pt x="313" y="573"/>
                    <a:pt x="313" y="573"/>
                  </a:cubicBezTo>
                  <a:cubicBezTo>
                    <a:pt x="315" y="573"/>
                    <a:pt x="317" y="573"/>
                    <a:pt x="318" y="574"/>
                  </a:cubicBezTo>
                  <a:cubicBezTo>
                    <a:pt x="319" y="575"/>
                    <a:pt x="319" y="575"/>
                    <a:pt x="319" y="575"/>
                  </a:cubicBezTo>
                  <a:cubicBezTo>
                    <a:pt x="319" y="575"/>
                    <a:pt x="319" y="575"/>
                    <a:pt x="319" y="575"/>
                  </a:cubicBezTo>
                  <a:cubicBezTo>
                    <a:pt x="319" y="576"/>
                    <a:pt x="319" y="577"/>
                    <a:pt x="319" y="577"/>
                  </a:cubicBezTo>
                  <a:cubicBezTo>
                    <a:pt x="319" y="577"/>
                    <a:pt x="319" y="577"/>
                    <a:pt x="319" y="577"/>
                  </a:cubicBezTo>
                  <a:cubicBezTo>
                    <a:pt x="320" y="577"/>
                    <a:pt x="320" y="577"/>
                    <a:pt x="321" y="577"/>
                  </a:cubicBezTo>
                  <a:cubicBezTo>
                    <a:pt x="323" y="577"/>
                    <a:pt x="324" y="578"/>
                    <a:pt x="325" y="578"/>
                  </a:cubicBezTo>
                  <a:cubicBezTo>
                    <a:pt x="326" y="578"/>
                    <a:pt x="326" y="578"/>
                    <a:pt x="326" y="578"/>
                  </a:cubicBezTo>
                  <a:cubicBezTo>
                    <a:pt x="327" y="578"/>
                    <a:pt x="327" y="578"/>
                    <a:pt x="327" y="578"/>
                  </a:cubicBezTo>
                  <a:cubicBezTo>
                    <a:pt x="327" y="578"/>
                    <a:pt x="327" y="578"/>
                    <a:pt x="327" y="578"/>
                  </a:cubicBezTo>
                  <a:cubicBezTo>
                    <a:pt x="327" y="579"/>
                    <a:pt x="328" y="579"/>
                    <a:pt x="328" y="579"/>
                  </a:cubicBezTo>
                  <a:cubicBezTo>
                    <a:pt x="328" y="579"/>
                    <a:pt x="328" y="579"/>
                    <a:pt x="328" y="579"/>
                  </a:cubicBezTo>
                  <a:cubicBezTo>
                    <a:pt x="328" y="579"/>
                    <a:pt x="329" y="579"/>
                    <a:pt x="329" y="579"/>
                  </a:cubicBezTo>
                  <a:cubicBezTo>
                    <a:pt x="329" y="579"/>
                    <a:pt x="329" y="579"/>
                    <a:pt x="329" y="579"/>
                  </a:cubicBezTo>
                  <a:cubicBezTo>
                    <a:pt x="330" y="578"/>
                    <a:pt x="332" y="577"/>
                    <a:pt x="333" y="577"/>
                  </a:cubicBezTo>
                  <a:cubicBezTo>
                    <a:pt x="335" y="577"/>
                    <a:pt x="337" y="578"/>
                    <a:pt x="338" y="578"/>
                  </a:cubicBezTo>
                  <a:cubicBezTo>
                    <a:pt x="340" y="579"/>
                    <a:pt x="341" y="579"/>
                    <a:pt x="342" y="580"/>
                  </a:cubicBezTo>
                  <a:cubicBezTo>
                    <a:pt x="342" y="581"/>
                    <a:pt x="343" y="581"/>
                    <a:pt x="343" y="582"/>
                  </a:cubicBezTo>
                  <a:cubicBezTo>
                    <a:pt x="343" y="582"/>
                    <a:pt x="343" y="582"/>
                    <a:pt x="343" y="582"/>
                  </a:cubicBezTo>
                  <a:cubicBezTo>
                    <a:pt x="343" y="582"/>
                    <a:pt x="344" y="583"/>
                    <a:pt x="344" y="583"/>
                  </a:cubicBezTo>
                  <a:cubicBezTo>
                    <a:pt x="344" y="583"/>
                    <a:pt x="344" y="583"/>
                    <a:pt x="344" y="583"/>
                  </a:cubicBezTo>
                  <a:cubicBezTo>
                    <a:pt x="345" y="583"/>
                    <a:pt x="345" y="583"/>
                    <a:pt x="345" y="583"/>
                  </a:cubicBezTo>
                  <a:cubicBezTo>
                    <a:pt x="345" y="583"/>
                    <a:pt x="345" y="583"/>
                    <a:pt x="346" y="583"/>
                  </a:cubicBezTo>
                  <a:cubicBezTo>
                    <a:pt x="356" y="582"/>
                    <a:pt x="356" y="582"/>
                    <a:pt x="356" y="582"/>
                  </a:cubicBezTo>
                  <a:cubicBezTo>
                    <a:pt x="356" y="582"/>
                    <a:pt x="356" y="582"/>
                    <a:pt x="356" y="582"/>
                  </a:cubicBezTo>
                  <a:cubicBezTo>
                    <a:pt x="357" y="582"/>
                    <a:pt x="358" y="581"/>
                    <a:pt x="359" y="580"/>
                  </a:cubicBezTo>
                  <a:cubicBezTo>
                    <a:pt x="359" y="580"/>
                    <a:pt x="358" y="580"/>
                    <a:pt x="358" y="579"/>
                  </a:cubicBezTo>
                  <a:cubicBezTo>
                    <a:pt x="358" y="578"/>
                    <a:pt x="359" y="578"/>
                    <a:pt x="359" y="577"/>
                  </a:cubicBezTo>
                  <a:cubicBezTo>
                    <a:pt x="359" y="576"/>
                    <a:pt x="360" y="576"/>
                    <a:pt x="361" y="575"/>
                  </a:cubicBezTo>
                  <a:cubicBezTo>
                    <a:pt x="362" y="574"/>
                    <a:pt x="363" y="574"/>
                    <a:pt x="363" y="573"/>
                  </a:cubicBezTo>
                  <a:cubicBezTo>
                    <a:pt x="364" y="573"/>
                    <a:pt x="364" y="573"/>
                    <a:pt x="364" y="573"/>
                  </a:cubicBezTo>
                  <a:cubicBezTo>
                    <a:pt x="365" y="573"/>
                    <a:pt x="365" y="573"/>
                    <a:pt x="365" y="573"/>
                  </a:cubicBezTo>
                  <a:cubicBezTo>
                    <a:pt x="364" y="570"/>
                    <a:pt x="364" y="570"/>
                    <a:pt x="364" y="570"/>
                  </a:cubicBezTo>
                  <a:cubicBezTo>
                    <a:pt x="366" y="572"/>
                    <a:pt x="366" y="572"/>
                    <a:pt x="366" y="572"/>
                  </a:cubicBezTo>
                  <a:cubicBezTo>
                    <a:pt x="367" y="572"/>
                    <a:pt x="367" y="572"/>
                    <a:pt x="367" y="572"/>
                  </a:cubicBezTo>
                  <a:cubicBezTo>
                    <a:pt x="367" y="571"/>
                    <a:pt x="367" y="571"/>
                    <a:pt x="367" y="571"/>
                  </a:cubicBezTo>
                  <a:cubicBezTo>
                    <a:pt x="368" y="570"/>
                    <a:pt x="368" y="570"/>
                    <a:pt x="368" y="570"/>
                  </a:cubicBezTo>
                  <a:cubicBezTo>
                    <a:pt x="368" y="568"/>
                    <a:pt x="369" y="567"/>
                    <a:pt x="370" y="566"/>
                  </a:cubicBezTo>
                  <a:cubicBezTo>
                    <a:pt x="371" y="565"/>
                    <a:pt x="372" y="565"/>
                    <a:pt x="373" y="565"/>
                  </a:cubicBezTo>
                  <a:cubicBezTo>
                    <a:pt x="374" y="565"/>
                    <a:pt x="374" y="565"/>
                    <a:pt x="374" y="565"/>
                  </a:cubicBezTo>
                  <a:cubicBezTo>
                    <a:pt x="376" y="565"/>
                    <a:pt x="378" y="564"/>
                    <a:pt x="379" y="564"/>
                  </a:cubicBezTo>
                  <a:cubicBezTo>
                    <a:pt x="383" y="563"/>
                    <a:pt x="383" y="563"/>
                    <a:pt x="383" y="563"/>
                  </a:cubicBezTo>
                  <a:cubicBezTo>
                    <a:pt x="384" y="562"/>
                    <a:pt x="385" y="561"/>
                    <a:pt x="386" y="560"/>
                  </a:cubicBezTo>
                  <a:cubicBezTo>
                    <a:pt x="386" y="559"/>
                    <a:pt x="386" y="559"/>
                    <a:pt x="386" y="559"/>
                  </a:cubicBezTo>
                  <a:cubicBezTo>
                    <a:pt x="387" y="559"/>
                    <a:pt x="387" y="559"/>
                    <a:pt x="387" y="559"/>
                  </a:cubicBezTo>
                  <a:cubicBezTo>
                    <a:pt x="388" y="558"/>
                    <a:pt x="388" y="558"/>
                    <a:pt x="388" y="558"/>
                  </a:cubicBezTo>
                  <a:cubicBezTo>
                    <a:pt x="389" y="557"/>
                    <a:pt x="391" y="556"/>
                    <a:pt x="392" y="555"/>
                  </a:cubicBezTo>
                  <a:cubicBezTo>
                    <a:pt x="393" y="554"/>
                    <a:pt x="394" y="554"/>
                    <a:pt x="394" y="553"/>
                  </a:cubicBezTo>
                  <a:cubicBezTo>
                    <a:pt x="395" y="553"/>
                    <a:pt x="395" y="552"/>
                    <a:pt x="396" y="552"/>
                  </a:cubicBezTo>
                  <a:cubicBezTo>
                    <a:pt x="397" y="552"/>
                    <a:pt x="397" y="552"/>
                    <a:pt x="398" y="552"/>
                  </a:cubicBezTo>
                  <a:cubicBezTo>
                    <a:pt x="399" y="552"/>
                    <a:pt x="399" y="552"/>
                    <a:pt x="400" y="552"/>
                  </a:cubicBezTo>
                  <a:cubicBezTo>
                    <a:pt x="400" y="552"/>
                    <a:pt x="400" y="552"/>
                    <a:pt x="400" y="552"/>
                  </a:cubicBezTo>
                  <a:cubicBezTo>
                    <a:pt x="401" y="552"/>
                    <a:pt x="401" y="553"/>
                    <a:pt x="401" y="553"/>
                  </a:cubicBezTo>
                  <a:cubicBezTo>
                    <a:pt x="401" y="553"/>
                    <a:pt x="401" y="553"/>
                    <a:pt x="401" y="553"/>
                  </a:cubicBezTo>
                  <a:cubicBezTo>
                    <a:pt x="402" y="554"/>
                    <a:pt x="402" y="554"/>
                    <a:pt x="402" y="554"/>
                  </a:cubicBezTo>
                  <a:cubicBezTo>
                    <a:pt x="402" y="554"/>
                    <a:pt x="403" y="554"/>
                    <a:pt x="403" y="554"/>
                  </a:cubicBezTo>
                  <a:cubicBezTo>
                    <a:pt x="404" y="555"/>
                    <a:pt x="404" y="555"/>
                    <a:pt x="404" y="555"/>
                  </a:cubicBezTo>
                  <a:cubicBezTo>
                    <a:pt x="404" y="555"/>
                    <a:pt x="404" y="555"/>
                    <a:pt x="404" y="555"/>
                  </a:cubicBezTo>
                  <a:cubicBezTo>
                    <a:pt x="405" y="555"/>
                    <a:pt x="405" y="555"/>
                    <a:pt x="406" y="555"/>
                  </a:cubicBezTo>
                  <a:cubicBezTo>
                    <a:pt x="406" y="555"/>
                    <a:pt x="406" y="555"/>
                    <a:pt x="407" y="555"/>
                  </a:cubicBezTo>
                  <a:cubicBezTo>
                    <a:pt x="407" y="555"/>
                    <a:pt x="408" y="556"/>
                    <a:pt x="409" y="556"/>
                  </a:cubicBezTo>
                  <a:cubicBezTo>
                    <a:pt x="410" y="556"/>
                    <a:pt x="410" y="557"/>
                    <a:pt x="411" y="557"/>
                  </a:cubicBezTo>
                  <a:cubicBezTo>
                    <a:pt x="411" y="557"/>
                    <a:pt x="412" y="557"/>
                    <a:pt x="412" y="557"/>
                  </a:cubicBezTo>
                  <a:cubicBezTo>
                    <a:pt x="412" y="557"/>
                    <a:pt x="413" y="556"/>
                    <a:pt x="414" y="555"/>
                  </a:cubicBezTo>
                  <a:cubicBezTo>
                    <a:pt x="419" y="551"/>
                    <a:pt x="423" y="549"/>
                    <a:pt x="425" y="549"/>
                  </a:cubicBezTo>
                  <a:cubicBezTo>
                    <a:pt x="426" y="549"/>
                    <a:pt x="426" y="549"/>
                    <a:pt x="426" y="549"/>
                  </a:cubicBezTo>
                  <a:cubicBezTo>
                    <a:pt x="427" y="549"/>
                    <a:pt x="428" y="550"/>
                    <a:pt x="428" y="551"/>
                  </a:cubicBezTo>
                  <a:cubicBezTo>
                    <a:pt x="429" y="551"/>
                    <a:pt x="429" y="551"/>
                    <a:pt x="429" y="551"/>
                  </a:cubicBezTo>
                  <a:cubicBezTo>
                    <a:pt x="429" y="551"/>
                    <a:pt x="429" y="551"/>
                    <a:pt x="429" y="551"/>
                  </a:cubicBezTo>
                  <a:cubicBezTo>
                    <a:pt x="430" y="552"/>
                    <a:pt x="430" y="552"/>
                    <a:pt x="430" y="552"/>
                  </a:cubicBezTo>
                  <a:cubicBezTo>
                    <a:pt x="431" y="552"/>
                    <a:pt x="433" y="553"/>
                    <a:pt x="433" y="555"/>
                  </a:cubicBezTo>
                  <a:cubicBezTo>
                    <a:pt x="433" y="555"/>
                    <a:pt x="433" y="555"/>
                    <a:pt x="433" y="555"/>
                  </a:cubicBezTo>
                  <a:cubicBezTo>
                    <a:pt x="433" y="555"/>
                    <a:pt x="433" y="555"/>
                    <a:pt x="433" y="555"/>
                  </a:cubicBezTo>
                  <a:cubicBezTo>
                    <a:pt x="433" y="556"/>
                    <a:pt x="433" y="556"/>
                    <a:pt x="433" y="557"/>
                  </a:cubicBezTo>
                  <a:cubicBezTo>
                    <a:pt x="433" y="557"/>
                    <a:pt x="433" y="557"/>
                    <a:pt x="433" y="557"/>
                  </a:cubicBezTo>
                  <a:cubicBezTo>
                    <a:pt x="440" y="554"/>
                    <a:pt x="440" y="554"/>
                    <a:pt x="440" y="554"/>
                  </a:cubicBezTo>
                  <a:cubicBezTo>
                    <a:pt x="435" y="560"/>
                    <a:pt x="435" y="560"/>
                    <a:pt x="435" y="560"/>
                  </a:cubicBezTo>
                  <a:cubicBezTo>
                    <a:pt x="435" y="560"/>
                    <a:pt x="435" y="560"/>
                    <a:pt x="435" y="560"/>
                  </a:cubicBezTo>
                  <a:cubicBezTo>
                    <a:pt x="436" y="561"/>
                    <a:pt x="436" y="561"/>
                    <a:pt x="436" y="561"/>
                  </a:cubicBezTo>
                  <a:cubicBezTo>
                    <a:pt x="436" y="561"/>
                    <a:pt x="436" y="561"/>
                    <a:pt x="436" y="561"/>
                  </a:cubicBezTo>
                  <a:cubicBezTo>
                    <a:pt x="437" y="562"/>
                    <a:pt x="438" y="563"/>
                    <a:pt x="438" y="565"/>
                  </a:cubicBezTo>
                  <a:cubicBezTo>
                    <a:pt x="438" y="566"/>
                    <a:pt x="437" y="568"/>
                    <a:pt x="435" y="568"/>
                  </a:cubicBezTo>
                  <a:cubicBezTo>
                    <a:pt x="435" y="568"/>
                    <a:pt x="435" y="568"/>
                    <a:pt x="435" y="568"/>
                  </a:cubicBezTo>
                  <a:cubicBezTo>
                    <a:pt x="434" y="569"/>
                    <a:pt x="434" y="569"/>
                    <a:pt x="434" y="569"/>
                  </a:cubicBezTo>
                  <a:cubicBezTo>
                    <a:pt x="434" y="570"/>
                    <a:pt x="434" y="570"/>
                    <a:pt x="434" y="570"/>
                  </a:cubicBezTo>
                  <a:cubicBezTo>
                    <a:pt x="434" y="570"/>
                    <a:pt x="434" y="570"/>
                    <a:pt x="434" y="570"/>
                  </a:cubicBezTo>
                  <a:cubicBezTo>
                    <a:pt x="435" y="570"/>
                    <a:pt x="436" y="570"/>
                    <a:pt x="437" y="570"/>
                  </a:cubicBezTo>
                  <a:cubicBezTo>
                    <a:pt x="438" y="570"/>
                    <a:pt x="438" y="570"/>
                    <a:pt x="438" y="570"/>
                  </a:cubicBezTo>
                  <a:cubicBezTo>
                    <a:pt x="439" y="570"/>
                    <a:pt x="440" y="571"/>
                    <a:pt x="441" y="571"/>
                  </a:cubicBezTo>
                  <a:cubicBezTo>
                    <a:pt x="442" y="571"/>
                    <a:pt x="442" y="571"/>
                    <a:pt x="442" y="571"/>
                  </a:cubicBezTo>
                  <a:cubicBezTo>
                    <a:pt x="443" y="571"/>
                    <a:pt x="444" y="571"/>
                    <a:pt x="445" y="571"/>
                  </a:cubicBezTo>
                  <a:cubicBezTo>
                    <a:pt x="445" y="571"/>
                    <a:pt x="445" y="571"/>
                    <a:pt x="445" y="571"/>
                  </a:cubicBezTo>
                  <a:cubicBezTo>
                    <a:pt x="446" y="572"/>
                    <a:pt x="447" y="572"/>
                    <a:pt x="448" y="573"/>
                  </a:cubicBezTo>
                  <a:cubicBezTo>
                    <a:pt x="448" y="573"/>
                    <a:pt x="448" y="573"/>
                    <a:pt x="448" y="573"/>
                  </a:cubicBezTo>
                  <a:cubicBezTo>
                    <a:pt x="449" y="572"/>
                    <a:pt x="450" y="570"/>
                    <a:pt x="451" y="569"/>
                  </a:cubicBezTo>
                  <a:cubicBezTo>
                    <a:pt x="452" y="568"/>
                    <a:pt x="453" y="568"/>
                    <a:pt x="454" y="568"/>
                  </a:cubicBezTo>
                  <a:cubicBezTo>
                    <a:pt x="454" y="568"/>
                    <a:pt x="455" y="568"/>
                    <a:pt x="455" y="568"/>
                  </a:cubicBezTo>
                  <a:cubicBezTo>
                    <a:pt x="456" y="568"/>
                    <a:pt x="457" y="568"/>
                    <a:pt x="458" y="569"/>
                  </a:cubicBezTo>
                  <a:cubicBezTo>
                    <a:pt x="458" y="569"/>
                    <a:pt x="458" y="569"/>
                    <a:pt x="458" y="569"/>
                  </a:cubicBezTo>
                  <a:cubicBezTo>
                    <a:pt x="459" y="569"/>
                    <a:pt x="459" y="570"/>
                    <a:pt x="459" y="570"/>
                  </a:cubicBezTo>
                  <a:cubicBezTo>
                    <a:pt x="459" y="571"/>
                    <a:pt x="459" y="571"/>
                    <a:pt x="459" y="571"/>
                  </a:cubicBezTo>
                  <a:cubicBezTo>
                    <a:pt x="460" y="571"/>
                    <a:pt x="460" y="571"/>
                    <a:pt x="461" y="571"/>
                  </a:cubicBezTo>
                  <a:cubicBezTo>
                    <a:pt x="462" y="572"/>
                    <a:pt x="463" y="572"/>
                    <a:pt x="463" y="573"/>
                  </a:cubicBezTo>
                  <a:cubicBezTo>
                    <a:pt x="463" y="573"/>
                    <a:pt x="464" y="574"/>
                    <a:pt x="464" y="574"/>
                  </a:cubicBezTo>
                  <a:cubicBezTo>
                    <a:pt x="465" y="575"/>
                    <a:pt x="465" y="575"/>
                    <a:pt x="465" y="575"/>
                  </a:cubicBezTo>
                  <a:cubicBezTo>
                    <a:pt x="467" y="577"/>
                    <a:pt x="467" y="580"/>
                    <a:pt x="468" y="582"/>
                  </a:cubicBezTo>
                  <a:cubicBezTo>
                    <a:pt x="468" y="583"/>
                    <a:pt x="468" y="584"/>
                    <a:pt x="469" y="585"/>
                  </a:cubicBezTo>
                  <a:cubicBezTo>
                    <a:pt x="469" y="586"/>
                    <a:pt x="469" y="586"/>
                    <a:pt x="469" y="586"/>
                  </a:cubicBezTo>
                  <a:cubicBezTo>
                    <a:pt x="469" y="585"/>
                    <a:pt x="470" y="585"/>
                    <a:pt x="470" y="585"/>
                  </a:cubicBezTo>
                  <a:cubicBezTo>
                    <a:pt x="470" y="585"/>
                    <a:pt x="471" y="585"/>
                    <a:pt x="471" y="585"/>
                  </a:cubicBezTo>
                  <a:cubicBezTo>
                    <a:pt x="472" y="586"/>
                    <a:pt x="472" y="586"/>
                    <a:pt x="473" y="586"/>
                  </a:cubicBezTo>
                  <a:cubicBezTo>
                    <a:pt x="473" y="586"/>
                    <a:pt x="473" y="586"/>
                    <a:pt x="473" y="586"/>
                  </a:cubicBezTo>
                  <a:cubicBezTo>
                    <a:pt x="474" y="585"/>
                    <a:pt x="474" y="585"/>
                    <a:pt x="474" y="585"/>
                  </a:cubicBezTo>
                  <a:cubicBezTo>
                    <a:pt x="477" y="588"/>
                    <a:pt x="477" y="588"/>
                    <a:pt x="477" y="588"/>
                  </a:cubicBezTo>
                  <a:cubicBezTo>
                    <a:pt x="477" y="588"/>
                    <a:pt x="477" y="589"/>
                    <a:pt x="478" y="590"/>
                  </a:cubicBezTo>
                  <a:cubicBezTo>
                    <a:pt x="478" y="590"/>
                    <a:pt x="478" y="590"/>
                    <a:pt x="478" y="591"/>
                  </a:cubicBezTo>
                  <a:cubicBezTo>
                    <a:pt x="479" y="593"/>
                    <a:pt x="479" y="597"/>
                    <a:pt x="479" y="600"/>
                  </a:cubicBezTo>
                  <a:cubicBezTo>
                    <a:pt x="479" y="602"/>
                    <a:pt x="479" y="602"/>
                    <a:pt x="479" y="602"/>
                  </a:cubicBezTo>
                  <a:cubicBezTo>
                    <a:pt x="479" y="602"/>
                    <a:pt x="479" y="603"/>
                    <a:pt x="479" y="603"/>
                  </a:cubicBezTo>
                  <a:cubicBezTo>
                    <a:pt x="479" y="604"/>
                    <a:pt x="479" y="604"/>
                    <a:pt x="479" y="604"/>
                  </a:cubicBezTo>
                  <a:cubicBezTo>
                    <a:pt x="479" y="607"/>
                    <a:pt x="479" y="610"/>
                    <a:pt x="479" y="612"/>
                  </a:cubicBezTo>
                  <a:cubicBezTo>
                    <a:pt x="478" y="613"/>
                    <a:pt x="478" y="614"/>
                    <a:pt x="478" y="614"/>
                  </a:cubicBezTo>
                  <a:cubicBezTo>
                    <a:pt x="478" y="615"/>
                    <a:pt x="477" y="616"/>
                    <a:pt x="477" y="617"/>
                  </a:cubicBezTo>
                  <a:cubicBezTo>
                    <a:pt x="477" y="617"/>
                    <a:pt x="476" y="618"/>
                    <a:pt x="476" y="619"/>
                  </a:cubicBezTo>
                  <a:cubicBezTo>
                    <a:pt x="476" y="620"/>
                    <a:pt x="476" y="620"/>
                    <a:pt x="476" y="620"/>
                  </a:cubicBezTo>
                  <a:cubicBezTo>
                    <a:pt x="476" y="621"/>
                    <a:pt x="476" y="621"/>
                    <a:pt x="476" y="621"/>
                  </a:cubicBezTo>
                  <a:cubicBezTo>
                    <a:pt x="476" y="622"/>
                    <a:pt x="476" y="622"/>
                    <a:pt x="477" y="623"/>
                  </a:cubicBezTo>
                  <a:cubicBezTo>
                    <a:pt x="477" y="623"/>
                    <a:pt x="478" y="625"/>
                    <a:pt x="477" y="627"/>
                  </a:cubicBezTo>
                  <a:cubicBezTo>
                    <a:pt x="476" y="627"/>
                    <a:pt x="476" y="627"/>
                    <a:pt x="476" y="627"/>
                  </a:cubicBezTo>
                  <a:cubicBezTo>
                    <a:pt x="476" y="628"/>
                    <a:pt x="475" y="628"/>
                    <a:pt x="475" y="629"/>
                  </a:cubicBezTo>
                  <a:cubicBezTo>
                    <a:pt x="474" y="630"/>
                    <a:pt x="474" y="630"/>
                    <a:pt x="474" y="630"/>
                  </a:cubicBezTo>
                  <a:cubicBezTo>
                    <a:pt x="472" y="631"/>
                    <a:pt x="471" y="633"/>
                    <a:pt x="469" y="633"/>
                  </a:cubicBezTo>
                  <a:cubicBezTo>
                    <a:pt x="469" y="633"/>
                    <a:pt x="468" y="633"/>
                    <a:pt x="468" y="633"/>
                  </a:cubicBezTo>
                  <a:cubicBezTo>
                    <a:pt x="467" y="633"/>
                    <a:pt x="467" y="633"/>
                    <a:pt x="467" y="633"/>
                  </a:cubicBezTo>
                  <a:cubicBezTo>
                    <a:pt x="466" y="634"/>
                    <a:pt x="466" y="634"/>
                    <a:pt x="466" y="634"/>
                  </a:cubicBezTo>
                  <a:cubicBezTo>
                    <a:pt x="466" y="635"/>
                    <a:pt x="466" y="635"/>
                    <a:pt x="466" y="635"/>
                  </a:cubicBezTo>
                  <a:cubicBezTo>
                    <a:pt x="466" y="637"/>
                    <a:pt x="463" y="638"/>
                    <a:pt x="462" y="638"/>
                  </a:cubicBezTo>
                  <a:cubicBezTo>
                    <a:pt x="461" y="638"/>
                    <a:pt x="461" y="638"/>
                    <a:pt x="461" y="638"/>
                  </a:cubicBezTo>
                  <a:cubicBezTo>
                    <a:pt x="461" y="639"/>
                    <a:pt x="461" y="639"/>
                    <a:pt x="460" y="640"/>
                  </a:cubicBezTo>
                  <a:cubicBezTo>
                    <a:pt x="460" y="642"/>
                    <a:pt x="460" y="642"/>
                    <a:pt x="460" y="643"/>
                  </a:cubicBezTo>
                  <a:cubicBezTo>
                    <a:pt x="460" y="643"/>
                    <a:pt x="460" y="643"/>
                    <a:pt x="460" y="643"/>
                  </a:cubicBezTo>
                  <a:cubicBezTo>
                    <a:pt x="461" y="643"/>
                    <a:pt x="461" y="643"/>
                    <a:pt x="461" y="643"/>
                  </a:cubicBezTo>
                  <a:cubicBezTo>
                    <a:pt x="460" y="646"/>
                    <a:pt x="460" y="646"/>
                    <a:pt x="460" y="646"/>
                  </a:cubicBezTo>
                  <a:cubicBezTo>
                    <a:pt x="459" y="647"/>
                    <a:pt x="458" y="648"/>
                    <a:pt x="457" y="648"/>
                  </a:cubicBezTo>
                  <a:cubicBezTo>
                    <a:pt x="457" y="649"/>
                    <a:pt x="457" y="649"/>
                    <a:pt x="457" y="649"/>
                  </a:cubicBezTo>
                  <a:cubicBezTo>
                    <a:pt x="457" y="649"/>
                    <a:pt x="457" y="649"/>
                    <a:pt x="456" y="649"/>
                  </a:cubicBezTo>
                  <a:cubicBezTo>
                    <a:pt x="455" y="649"/>
                    <a:pt x="455" y="650"/>
                    <a:pt x="455" y="651"/>
                  </a:cubicBezTo>
                  <a:cubicBezTo>
                    <a:pt x="455" y="652"/>
                    <a:pt x="455" y="652"/>
                    <a:pt x="455" y="652"/>
                  </a:cubicBezTo>
                  <a:cubicBezTo>
                    <a:pt x="457" y="652"/>
                    <a:pt x="457" y="653"/>
                    <a:pt x="458" y="655"/>
                  </a:cubicBezTo>
                  <a:cubicBezTo>
                    <a:pt x="459" y="656"/>
                    <a:pt x="459" y="659"/>
                    <a:pt x="458" y="661"/>
                  </a:cubicBezTo>
                  <a:cubicBezTo>
                    <a:pt x="458" y="661"/>
                    <a:pt x="458" y="661"/>
                    <a:pt x="458" y="661"/>
                  </a:cubicBezTo>
                  <a:cubicBezTo>
                    <a:pt x="458" y="661"/>
                    <a:pt x="458" y="661"/>
                    <a:pt x="457" y="662"/>
                  </a:cubicBezTo>
                  <a:cubicBezTo>
                    <a:pt x="457" y="662"/>
                    <a:pt x="457" y="662"/>
                    <a:pt x="457" y="662"/>
                  </a:cubicBezTo>
                  <a:cubicBezTo>
                    <a:pt x="458" y="662"/>
                    <a:pt x="459" y="661"/>
                    <a:pt x="460" y="660"/>
                  </a:cubicBezTo>
                  <a:cubicBezTo>
                    <a:pt x="461" y="660"/>
                    <a:pt x="461" y="660"/>
                    <a:pt x="461" y="660"/>
                  </a:cubicBezTo>
                  <a:cubicBezTo>
                    <a:pt x="461" y="659"/>
                    <a:pt x="462" y="659"/>
                    <a:pt x="463" y="659"/>
                  </a:cubicBezTo>
                  <a:cubicBezTo>
                    <a:pt x="464" y="658"/>
                    <a:pt x="464" y="658"/>
                    <a:pt x="464" y="658"/>
                  </a:cubicBezTo>
                  <a:cubicBezTo>
                    <a:pt x="465" y="658"/>
                    <a:pt x="465" y="658"/>
                    <a:pt x="465" y="658"/>
                  </a:cubicBezTo>
                  <a:cubicBezTo>
                    <a:pt x="465" y="658"/>
                    <a:pt x="466" y="658"/>
                    <a:pt x="466" y="658"/>
                  </a:cubicBezTo>
                  <a:cubicBezTo>
                    <a:pt x="468" y="658"/>
                    <a:pt x="469" y="658"/>
                    <a:pt x="470" y="658"/>
                  </a:cubicBezTo>
                  <a:cubicBezTo>
                    <a:pt x="471" y="658"/>
                    <a:pt x="471" y="658"/>
                    <a:pt x="471" y="658"/>
                  </a:cubicBezTo>
                  <a:cubicBezTo>
                    <a:pt x="471" y="658"/>
                    <a:pt x="471" y="658"/>
                    <a:pt x="472" y="658"/>
                  </a:cubicBezTo>
                  <a:cubicBezTo>
                    <a:pt x="474" y="658"/>
                    <a:pt x="476" y="658"/>
                    <a:pt x="478" y="657"/>
                  </a:cubicBezTo>
                  <a:cubicBezTo>
                    <a:pt x="484" y="655"/>
                    <a:pt x="484" y="655"/>
                    <a:pt x="484" y="655"/>
                  </a:cubicBezTo>
                  <a:cubicBezTo>
                    <a:pt x="478" y="666"/>
                    <a:pt x="478" y="666"/>
                    <a:pt x="478" y="666"/>
                  </a:cubicBezTo>
                  <a:cubicBezTo>
                    <a:pt x="478" y="666"/>
                    <a:pt x="478" y="666"/>
                    <a:pt x="478" y="666"/>
                  </a:cubicBezTo>
                  <a:cubicBezTo>
                    <a:pt x="478" y="667"/>
                    <a:pt x="478" y="667"/>
                    <a:pt x="478" y="667"/>
                  </a:cubicBezTo>
                  <a:cubicBezTo>
                    <a:pt x="478" y="668"/>
                    <a:pt x="478" y="668"/>
                    <a:pt x="478" y="668"/>
                  </a:cubicBezTo>
                  <a:cubicBezTo>
                    <a:pt x="478" y="668"/>
                    <a:pt x="478" y="669"/>
                    <a:pt x="479" y="670"/>
                  </a:cubicBezTo>
                  <a:cubicBezTo>
                    <a:pt x="479" y="670"/>
                    <a:pt x="479" y="671"/>
                    <a:pt x="479" y="671"/>
                  </a:cubicBezTo>
                  <a:cubicBezTo>
                    <a:pt x="480" y="672"/>
                    <a:pt x="480" y="673"/>
                    <a:pt x="480" y="674"/>
                  </a:cubicBezTo>
                  <a:cubicBezTo>
                    <a:pt x="481" y="676"/>
                    <a:pt x="481" y="676"/>
                    <a:pt x="481" y="676"/>
                  </a:cubicBezTo>
                  <a:cubicBezTo>
                    <a:pt x="481" y="677"/>
                    <a:pt x="482" y="678"/>
                    <a:pt x="483" y="678"/>
                  </a:cubicBezTo>
                  <a:cubicBezTo>
                    <a:pt x="484" y="678"/>
                    <a:pt x="484" y="678"/>
                    <a:pt x="485" y="678"/>
                  </a:cubicBezTo>
                  <a:cubicBezTo>
                    <a:pt x="485" y="678"/>
                    <a:pt x="485" y="678"/>
                    <a:pt x="485" y="678"/>
                  </a:cubicBezTo>
                  <a:cubicBezTo>
                    <a:pt x="487" y="674"/>
                    <a:pt x="487" y="674"/>
                    <a:pt x="487" y="674"/>
                  </a:cubicBezTo>
                  <a:cubicBezTo>
                    <a:pt x="486" y="678"/>
                    <a:pt x="486" y="678"/>
                    <a:pt x="486" y="678"/>
                  </a:cubicBezTo>
                  <a:cubicBezTo>
                    <a:pt x="487" y="679"/>
                    <a:pt x="487" y="679"/>
                    <a:pt x="487" y="679"/>
                  </a:cubicBezTo>
                  <a:cubicBezTo>
                    <a:pt x="487" y="679"/>
                    <a:pt x="488" y="679"/>
                    <a:pt x="488" y="679"/>
                  </a:cubicBezTo>
                  <a:cubicBezTo>
                    <a:pt x="490" y="679"/>
                    <a:pt x="492" y="679"/>
                    <a:pt x="493" y="681"/>
                  </a:cubicBezTo>
                  <a:cubicBezTo>
                    <a:pt x="493" y="682"/>
                    <a:pt x="493" y="682"/>
                    <a:pt x="493" y="682"/>
                  </a:cubicBezTo>
                  <a:cubicBezTo>
                    <a:pt x="494" y="682"/>
                    <a:pt x="494" y="682"/>
                    <a:pt x="494" y="682"/>
                  </a:cubicBezTo>
                  <a:cubicBezTo>
                    <a:pt x="494" y="684"/>
                    <a:pt x="494" y="686"/>
                    <a:pt x="491" y="687"/>
                  </a:cubicBezTo>
                  <a:cubicBezTo>
                    <a:pt x="491" y="687"/>
                    <a:pt x="491" y="688"/>
                    <a:pt x="490" y="688"/>
                  </a:cubicBezTo>
                  <a:cubicBezTo>
                    <a:pt x="490" y="688"/>
                    <a:pt x="490" y="688"/>
                    <a:pt x="490" y="688"/>
                  </a:cubicBezTo>
                  <a:cubicBezTo>
                    <a:pt x="490" y="689"/>
                    <a:pt x="490" y="689"/>
                    <a:pt x="490" y="689"/>
                  </a:cubicBezTo>
                  <a:cubicBezTo>
                    <a:pt x="490" y="689"/>
                    <a:pt x="490" y="689"/>
                    <a:pt x="490" y="689"/>
                  </a:cubicBezTo>
                  <a:cubicBezTo>
                    <a:pt x="490" y="690"/>
                    <a:pt x="490" y="690"/>
                    <a:pt x="490" y="690"/>
                  </a:cubicBezTo>
                  <a:cubicBezTo>
                    <a:pt x="489" y="691"/>
                    <a:pt x="489" y="692"/>
                    <a:pt x="489" y="692"/>
                  </a:cubicBezTo>
                  <a:cubicBezTo>
                    <a:pt x="489" y="693"/>
                    <a:pt x="489" y="694"/>
                    <a:pt x="489" y="695"/>
                  </a:cubicBezTo>
                  <a:cubicBezTo>
                    <a:pt x="488" y="695"/>
                    <a:pt x="488" y="695"/>
                    <a:pt x="488" y="695"/>
                  </a:cubicBezTo>
                  <a:cubicBezTo>
                    <a:pt x="488" y="696"/>
                    <a:pt x="488" y="697"/>
                    <a:pt x="487" y="698"/>
                  </a:cubicBezTo>
                  <a:cubicBezTo>
                    <a:pt x="498" y="699"/>
                    <a:pt x="498" y="699"/>
                    <a:pt x="498" y="699"/>
                  </a:cubicBezTo>
                  <a:cubicBezTo>
                    <a:pt x="499" y="699"/>
                    <a:pt x="499" y="699"/>
                    <a:pt x="499" y="699"/>
                  </a:cubicBezTo>
                  <a:cubicBezTo>
                    <a:pt x="500" y="700"/>
                    <a:pt x="500" y="700"/>
                    <a:pt x="501" y="700"/>
                  </a:cubicBezTo>
                  <a:cubicBezTo>
                    <a:pt x="501" y="701"/>
                    <a:pt x="501" y="701"/>
                    <a:pt x="501" y="701"/>
                  </a:cubicBezTo>
                  <a:cubicBezTo>
                    <a:pt x="501" y="701"/>
                    <a:pt x="501" y="702"/>
                    <a:pt x="502" y="702"/>
                  </a:cubicBezTo>
                  <a:cubicBezTo>
                    <a:pt x="502" y="703"/>
                    <a:pt x="502" y="704"/>
                    <a:pt x="502" y="704"/>
                  </a:cubicBezTo>
                  <a:cubicBezTo>
                    <a:pt x="502" y="705"/>
                    <a:pt x="502" y="705"/>
                    <a:pt x="502" y="705"/>
                  </a:cubicBezTo>
                  <a:cubicBezTo>
                    <a:pt x="502" y="706"/>
                    <a:pt x="502" y="706"/>
                    <a:pt x="502" y="706"/>
                  </a:cubicBezTo>
                  <a:cubicBezTo>
                    <a:pt x="502" y="706"/>
                    <a:pt x="502" y="706"/>
                    <a:pt x="502" y="706"/>
                  </a:cubicBezTo>
                  <a:cubicBezTo>
                    <a:pt x="502" y="707"/>
                    <a:pt x="502" y="707"/>
                    <a:pt x="503" y="708"/>
                  </a:cubicBezTo>
                  <a:cubicBezTo>
                    <a:pt x="503" y="709"/>
                    <a:pt x="503" y="709"/>
                    <a:pt x="503" y="709"/>
                  </a:cubicBezTo>
                  <a:cubicBezTo>
                    <a:pt x="503" y="709"/>
                    <a:pt x="504" y="709"/>
                    <a:pt x="504" y="710"/>
                  </a:cubicBezTo>
                  <a:cubicBezTo>
                    <a:pt x="504" y="710"/>
                    <a:pt x="504" y="710"/>
                    <a:pt x="504" y="710"/>
                  </a:cubicBezTo>
                  <a:cubicBezTo>
                    <a:pt x="505" y="711"/>
                    <a:pt x="505" y="711"/>
                    <a:pt x="505" y="711"/>
                  </a:cubicBezTo>
                  <a:cubicBezTo>
                    <a:pt x="510" y="709"/>
                    <a:pt x="510" y="709"/>
                    <a:pt x="510" y="709"/>
                  </a:cubicBezTo>
                  <a:cubicBezTo>
                    <a:pt x="512" y="709"/>
                    <a:pt x="513" y="708"/>
                    <a:pt x="515" y="708"/>
                  </a:cubicBezTo>
                  <a:cubicBezTo>
                    <a:pt x="515" y="707"/>
                    <a:pt x="516" y="707"/>
                    <a:pt x="517" y="707"/>
                  </a:cubicBezTo>
                  <a:cubicBezTo>
                    <a:pt x="518" y="707"/>
                    <a:pt x="518" y="707"/>
                    <a:pt x="518" y="707"/>
                  </a:cubicBezTo>
                  <a:cubicBezTo>
                    <a:pt x="518" y="706"/>
                    <a:pt x="519" y="706"/>
                    <a:pt x="519" y="706"/>
                  </a:cubicBezTo>
                  <a:cubicBezTo>
                    <a:pt x="522" y="703"/>
                    <a:pt x="522" y="703"/>
                    <a:pt x="522" y="703"/>
                  </a:cubicBezTo>
                  <a:cubicBezTo>
                    <a:pt x="523" y="707"/>
                    <a:pt x="523" y="707"/>
                    <a:pt x="523" y="707"/>
                  </a:cubicBezTo>
                  <a:cubicBezTo>
                    <a:pt x="524" y="708"/>
                    <a:pt x="524" y="709"/>
                    <a:pt x="524" y="710"/>
                  </a:cubicBezTo>
                  <a:cubicBezTo>
                    <a:pt x="524" y="710"/>
                    <a:pt x="524" y="710"/>
                    <a:pt x="524" y="710"/>
                  </a:cubicBezTo>
                  <a:cubicBezTo>
                    <a:pt x="524" y="711"/>
                    <a:pt x="524" y="711"/>
                    <a:pt x="524" y="711"/>
                  </a:cubicBezTo>
                  <a:cubicBezTo>
                    <a:pt x="524" y="711"/>
                    <a:pt x="524" y="712"/>
                    <a:pt x="524" y="712"/>
                  </a:cubicBezTo>
                  <a:cubicBezTo>
                    <a:pt x="525" y="713"/>
                    <a:pt x="525" y="715"/>
                    <a:pt x="526" y="716"/>
                  </a:cubicBezTo>
                  <a:cubicBezTo>
                    <a:pt x="527" y="716"/>
                    <a:pt x="527" y="716"/>
                    <a:pt x="527" y="716"/>
                  </a:cubicBezTo>
                  <a:cubicBezTo>
                    <a:pt x="527" y="716"/>
                    <a:pt x="527" y="716"/>
                    <a:pt x="527" y="716"/>
                  </a:cubicBezTo>
                  <a:cubicBezTo>
                    <a:pt x="528" y="716"/>
                    <a:pt x="528" y="716"/>
                    <a:pt x="528" y="716"/>
                  </a:cubicBezTo>
                  <a:cubicBezTo>
                    <a:pt x="529" y="716"/>
                    <a:pt x="530" y="716"/>
                    <a:pt x="530" y="717"/>
                  </a:cubicBezTo>
                  <a:cubicBezTo>
                    <a:pt x="531" y="717"/>
                    <a:pt x="531" y="717"/>
                    <a:pt x="531" y="717"/>
                  </a:cubicBezTo>
                  <a:cubicBezTo>
                    <a:pt x="531" y="717"/>
                    <a:pt x="531" y="717"/>
                    <a:pt x="531" y="717"/>
                  </a:cubicBezTo>
                  <a:cubicBezTo>
                    <a:pt x="530" y="715"/>
                    <a:pt x="531" y="713"/>
                    <a:pt x="531" y="710"/>
                  </a:cubicBezTo>
                  <a:cubicBezTo>
                    <a:pt x="531" y="709"/>
                    <a:pt x="531" y="709"/>
                    <a:pt x="531" y="709"/>
                  </a:cubicBezTo>
                  <a:cubicBezTo>
                    <a:pt x="531" y="707"/>
                    <a:pt x="531" y="707"/>
                    <a:pt x="530" y="705"/>
                  </a:cubicBezTo>
                  <a:cubicBezTo>
                    <a:pt x="530" y="704"/>
                    <a:pt x="530" y="704"/>
                    <a:pt x="529" y="703"/>
                  </a:cubicBezTo>
                  <a:cubicBezTo>
                    <a:pt x="529" y="703"/>
                    <a:pt x="529" y="703"/>
                    <a:pt x="529" y="703"/>
                  </a:cubicBezTo>
                  <a:cubicBezTo>
                    <a:pt x="528" y="701"/>
                    <a:pt x="527" y="700"/>
                    <a:pt x="527" y="698"/>
                  </a:cubicBezTo>
                  <a:cubicBezTo>
                    <a:pt x="527" y="697"/>
                    <a:pt x="527" y="697"/>
                    <a:pt x="528" y="696"/>
                  </a:cubicBezTo>
                  <a:cubicBezTo>
                    <a:pt x="528" y="696"/>
                    <a:pt x="528" y="696"/>
                    <a:pt x="528" y="696"/>
                  </a:cubicBezTo>
                  <a:cubicBezTo>
                    <a:pt x="528" y="696"/>
                    <a:pt x="528" y="696"/>
                    <a:pt x="528" y="696"/>
                  </a:cubicBezTo>
                  <a:cubicBezTo>
                    <a:pt x="528" y="695"/>
                    <a:pt x="529" y="694"/>
                    <a:pt x="530" y="693"/>
                  </a:cubicBezTo>
                  <a:cubicBezTo>
                    <a:pt x="530" y="693"/>
                    <a:pt x="530" y="693"/>
                    <a:pt x="530" y="693"/>
                  </a:cubicBezTo>
                  <a:cubicBezTo>
                    <a:pt x="530" y="692"/>
                    <a:pt x="530" y="692"/>
                    <a:pt x="530" y="692"/>
                  </a:cubicBezTo>
                  <a:cubicBezTo>
                    <a:pt x="531" y="691"/>
                    <a:pt x="532" y="691"/>
                    <a:pt x="532" y="691"/>
                  </a:cubicBezTo>
                  <a:cubicBezTo>
                    <a:pt x="532" y="691"/>
                    <a:pt x="533" y="690"/>
                    <a:pt x="534" y="690"/>
                  </a:cubicBezTo>
                  <a:cubicBezTo>
                    <a:pt x="535" y="690"/>
                    <a:pt x="537" y="691"/>
                    <a:pt x="538" y="692"/>
                  </a:cubicBezTo>
                  <a:cubicBezTo>
                    <a:pt x="539" y="692"/>
                    <a:pt x="539" y="692"/>
                    <a:pt x="539" y="692"/>
                  </a:cubicBezTo>
                  <a:cubicBezTo>
                    <a:pt x="540" y="692"/>
                    <a:pt x="540" y="692"/>
                    <a:pt x="540" y="692"/>
                  </a:cubicBezTo>
                  <a:cubicBezTo>
                    <a:pt x="540" y="692"/>
                    <a:pt x="540" y="692"/>
                    <a:pt x="540" y="692"/>
                  </a:cubicBezTo>
                  <a:cubicBezTo>
                    <a:pt x="542" y="691"/>
                    <a:pt x="543" y="690"/>
                    <a:pt x="544" y="688"/>
                  </a:cubicBezTo>
                  <a:cubicBezTo>
                    <a:pt x="544" y="688"/>
                    <a:pt x="544" y="688"/>
                    <a:pt x="544" y="688"/>
                  </a:cubicBezTo>
                  <a:cubicBezTo>
                    <a:pt x="545" y="687"/>
                    <a:pt x="546" y="685"/>
                    <a:pt x="548" y="685"/>
                  </a:cubicBezTo>
                  <a:cubicBezTo>
                    <a:pt x="548" y="685"/>
                    <a:pt x="548" y="685"/>
                    <a:pt x="548" y="685"/>
                  </a:cubicBezTo>
                  <a:cubicBezTo>
                    <a:pt x="549" y="685"/>
                    <a:pt x="549" y="685"/>
                    <a:pt x="550" y="686"/>
                  </a:cubicBezTo>
                  <a:cubicBezTo>
                    <a:pt x="550" y="686"/>
                    <a:pt x="551" y="686"/>
                    <a:pt x="552" y="687"/>
                  </a:cubicBezTo>
                  <a:cubicBezTo>
                    <a:pt x="553" y="687"/>
                    <a:pt x="553" y="687"/>
                    <a:pt x="553" y="687"/>
                  </a:cubicBezTo>
                  <a:cubicBezTo>
                    <a:pt x="554" y="688"/>
                    <a:pt x="555" y="688"/>
                    <a:pt x="556" y="689"/>
                  </a:cubicBezTo>
                  <a:cubicBezTo>
                    <a:pt x="556" y="689"/>
                    <a:pt x="557" y="690"/>
                    <a:pt x="557" y="691"/>
                  </a:cubicBezTo>
                  <a:cubicBezTo>
                    <a:pt x="558" y="691"/>
                    <a:pt x="558" y="691"/>
                    <a:pt x="558" y="691"/>
                  </a:cubicBezTo>
                  <a:cubicBezTo>
                    <a:pt x="558" y="690"/>
                    <a:pt x="558" y="690"/>
                    <a:pt x="558" y="689"/>
                  </a:cubicBezTo>
                  <a:cubicBezTo>
                    <a:pt x="559" y="689"/>
                    <a:pt x="559" y="689"/>
                    <a:pt x="559" y="689"/>
                  </a:cubicBezTo>
                  <a:cubicBezTo>
                    <a:pt x="559" y="689"/>
                    <a:pt x="559" y="689"/>
                    <a:pt x="559" y="689"/>
                  </a:cubicBezTo>
                  <a:cubicBezTo>
                    <a:pt x="560" y="688"/>
                    <a:pt x="560" y="688"/>
                    <a:pt x="560" y="688"/>
                  </a:cubicBezTo>
                  <a:cubicBezTo>
                    <a:pt x="561" y="687"/>
                    <a:pt x="561" y="687"/>
                    <a:pt x="561" y="687"/>
                  </a:cubicBezTo>
                  <a:cubicBezTo>
                    <a:pt x="561" y="686"/>
                    <a:pt x="562" y="685"/>
                    <a:pt x="563" y="685"/>
                  </a:cubicBezTo>
                  <a:cubicBezTo>
                    <a:pt x="563" y="685"/>
                    <a:pt x="563" y="685"/>
                    <a:pt x="563" y="685"/>
                  </a:cubicBezTo>
                  <a:cubicBezTo>
                    <a:pt x="565" y="685"/>
                    <a:pt x="565" y="685"/>
                    <a:pt x="565" y="685"/>
                  </a:cubicBezTo>
                  <a:cubicBezTo>
                    <a:pt x="566" y="685"/>
                    <a:pt x="566" y="685"/>
                    <a:pt x="566" y="685"/>
                  </a:cubicBezTo>
                  <a:cubicBezTo>
                    <a:pt x="566" y="685"/>
                    <a:pt x="566" y="686"/>
                    <a:pt x="567" y="686"/>
                  </a:cubicBezTo>
                  <a:cubicBezTo>
                    <a:pt x="567" y="687"/>
                    <a:pt x="567" y="687"/>
                    <a:pt x="567" y="687"/>
                  </a:cubicBezTo>
                  <a:cubicBezTo>
                    <a:pt x="568" y="686"/>
                    <a:pt x="568" y="686"/>
                    <a:pt x="568" y="686"/>
                  </a:cubicBezTo>
                  <a:cubicBezTo>
                    <a:pt x="569" y="683"/>
                    <a:pt x="569" y="683"/>
                    <a:pt x="569" y="683"/>
                  </a:cubicBezTo>
                  <a:cubicBezTo>
                    <a:pt x="571" y="686"/>
                    <a:pt x="571" y="686"/>
                    <a:pt x="571" y="686"/>
                  </a:cubicBezTo>
                  <a:cubicBezTo>
                    <a:pt x="572" y="686"/>
                    <a:pt x="572" y="687"/>
                    <a:pt x="572" y="687"/>
                  </a:cubicBezTo>
                  <a:cubicBezTo>
                    <a:pt x="573" y="687"/>
                    <a:pt x="573" y="688"/>
                    <a:pt x="574" y="688"/>
                  </a:cubicBezTo>
                  <a:cubicBezTo>
                    <a:pt x="574" y="689"/>
                    <a:pt x="575" y="689"/>
                    <a:pt x="575" y="690"/>
                  </a:cubicBezTo>
                  <a:cubicBezTo>
                    <a:pt x="575" y="690"/>
                    <a:pt x="575" y="690"/>
                    <a:pt x="575" y="690"/>
                  </a:cubicBezTo>
                  <a:cubicBezTo>
                    <a:pt x="581" y="682"/>
                    <a:pt x="581" y="682"/>
                    <a:pt x="581" y="682"/>
                  </a:cubicBezTo>
                  <a:cubicBezTo>
                    <a:pt x="583" y="685"/>
                    <a:pt x="583" y="685"/>
                    <a:pt x="583" y="685"/>
                  </a:cubicBezTo>
                  <a:cubicBezTo>
                    <a:pt x="584" y="686"/>
                    <a:pt x="584" y="686"/>
                    <a:pt x="584" y="686"/>
                  </a:cubicBezTo>
                  <a:cubicBezTo>
                    <a:pt x="587" y="685"/>
                    <a:pt x="587" y="685"/>
                    <a:pt x="587" y="685"/>
                  </a:cubicBezTo>
                  <a:cubicBezTo>
                    <a:pt x="588" y="685"/>
                    <a:pt x="588" y="684"/>
                    <a:pt x="589" y="684"/>
                  </a:cubicBezTo>
                  <a:cubicBezTo>
                    <a:pt x="589" y="684"/>
                    <a:pt x="589" y="684"/>
                    <a:pt x="589" y="684"/>
                  </a:cubicBezTo>
                  <a:cubicBezTo>
                    <a:pt x="590" y="683"/>
                    <a:pt x="590" y="683"/>
                    <a:pt x="590" y="683"/>
                  </a:cubicBezTo>
                  <a:cubicBezTo>
                    <a:pt x="591" y="682"/>
                    <a:pt x="592" y="681"/>
                    <a:pt x="592" y="680"/>
                  </a:cubicBezTo>
                  <a:cubicBezTo>
                    <a:pt x="593" y="677"/>
                    <a:pt x="593" y="677"/>
                    <a:pt x="593" y="677"/>
                  </a:cubicBezTo>
                  <a:cubicBezTo>
                    <a:pt x="594" y="677"/>
                    <a:pt x="594" y="677"/>
                    <a:pt x="594" y="677"/>
                  </a:cubicBezTo>
                  <a:cubicBezTo>
                    <a:pt x="595" y="676"/>
                    <a:pt x="595" y="676"/>
                    <a:pt x="595" y="676"/>
                  </a:cubicBezTo>
                  <a:cubicBezTo>
                    <a:pt x="595" y="676"/>
                    <a:pt x="595" y="676"/>
                    <a:pt x="595" y="676"/>
                  </a:cubicBezTo>
                  <a:cubicBezTo>
                    <a:pt x="598" y="674"/>
                    <a:pt x="599" y="673"/>
                    <a:pt x="601" y="673"/>
                  </a:cubicBezTo>
                  <a:cubicBezTo>
                    <a:pt x="602" y="673"/>
                    <a:pt x="602" y="673"/>
                    <a:pt x="602" y="673"/>
                  </a:cubicBezTo>
                  <a:cubicBezTo>
                    <a:pt x="602" y="673"/>
                    <a:pt x="603" y="673"/>
                    <a:pt x="604" y="675"/>
                  </a:cubicBezTo>
                  <a:cubicBezTo>
                    <a:pt x="604" y="675"/>
                    <a:pt x="605" y="675"/>
                    <a:pt x="605" y="675"/>
                  </a:cubicBezTo>
                  <a:cubicBezTo>
                    <a:pt x="606" y="676"/>
                    <a:pt x="606" y="676"/>
                    <a:pt x="607" y="677"/>
                  </a:cubicBezTo>
                  <a:cubicBezTo>
                    <a:pt x="607" y="678"/>
                    <a:pt x="607" y="678"/>
                    <a:pt x="607" y="678"/>
                  </a:cubicBezTo>
                  <a:cubicBezTo>
                    <a:pt x="608" y="679"/>
                    <a:pt x="609" y="680"/>
                    <a:pt x="610" y="680"/>
                  </a:cubicBezTo>
                  <a:cubicBezTo>
                    <a:pt x="611" y="681"/>
                    <a:pt x="611" y="681"/>
                    <a:pt x="611" y="681"/>
                  </a:cubicBezTo>
                  <a:cubicBezTo>
                    <a:pt x="613" y="682"/>
                    <a:pt x="615" y="682"/>
                    <a:pt x="618" y="683"/>
                  </a:cubicBezTo>
                  <a:cubicBezTo>
                    <a:pt x="619" y="683"/>
                    <a:pt x="619" y="683"/>
                    <a:pt x="619" y="683"/>
                  </a:cubicBezTo>
                  <a:cubicBezTo>
                    <a:pt x="620" y="683"/>
                    <a:pt x="620" y="683"/>
                    <a:pt x="620" y="683"/>
                  </a:cubicBezTo>
                  <a:cubicBezTo>
                    <a:pt x="621" y="683"/>
                    <a:pt x="621" y="683"/>
                    <a:pt x="621" y="683"/>
                  </a:cubicBezTo>
                  <a:cubicBezTo>
                    <a:pt x="622" y="683"/>
                    <a:pt x="622" y="683"/>
                    <a:pt x="623" y="683"/>
                  </a:cubicBezTo>
                  <a:cubicBezTo>
                    <a:pt x="624" y="683"/>
                    <a:pt x="626" y="683"/>
                    <a:pt x="627" y="683"/>
                  </a:cubicBezTo>
                  <a:cubicBezTo>
                    <a:pt x="629" y="679"/>
                    <a:pt x="629" y="679"/>
                    <a:pt x="629" y="679"/>
                  </a:cubicBezTo>
                  <a:cubicBezTo>
                    <a:pt x="628" y="683"/>
                    <a:pt x="628" y="683"/>
                    <a:pt x="628" y="683"/>
                  </a:cubicBezTo>
                  <a:cubicBezTo>
                    <a:pt x="628" y="684"/>
                    <a:pt x="628" y="684"/>
                    <a:pt x="628" y="684"/>
                  </a:cubicBezTo>
                  <a:cubicBezTo>
                    <a:pt x="629" y="684"/>
                    <a:pt x="629" y="684"/>
                    <a:pt x="630" y="684"/>
                  </a:cubicBezTo>
                  <a:cubicBezTo>
                    <a:pt x="630" y="684"/>
                    <a:pt x="631" y="685"/>
                    <a:pt x="632" y="685"/>
                  </a:cubicBezTo>
                  <a:cubicBezTo>
                    <a:pt x="633" y="687"/>
                    <a:pt x="633" y="687"/>
                    <a:pt x="633" y="687"/>
                  </a:cubicBezTo>
                  <a:cubicBezTo>
                    <a:pt x="632" y="688"/>
                    <a:pt x="632" y="688"/>
                    <a:pt x="632" y="688"/>
                  </a:cubicBezTo>
                  <a:cubicBezTo>
                    <a:pt x="631" y="689"/>
                    <a:pt x="630" y="691"/>
                    <a:pt x="629" y="692"/>
                  </a:cubicBezTo>
                  <a:cubicBezTo>
                    <a:pt x="629" y="693"/>
                    <a:pt x="629" y="693"/>
                    <a:pt x="629" y="693"/>
                  </a:cubicBezTo>
                  <a:cubicBezTo>
                    <a:pt x="628" y="694"/>
                    <a:pt x="628" y="694"/>
                    <a:pt x="627" y="695"/>
                  </a:cubicBezTo>
                  <a:cubicBezTo>
                    <a:pt x="628" y="695"/>
                    <a:pt x="628" y="695"/>
                    <a:pt x="628" y="695"/>
                  </a:cubicBezTo>
                  <a:cubicBezTo>
                    <a:pt x="628" y="695"/>
                    <a:pt x="628" y="695"/>
                    <a:pt x="628" y="695"/>
                  </a:cubicBezTo>
                  <a:cubicBezTo>
                    <a:pt x="628" y="696"/>
                    <a:pt x="629" y="697"/>
                    <a:pt x="629" y="698"/>
                  </a:cubicBezTo>
                  <a:cubicBezTo>
                    <a:pt x="630" y="699"/>
                    <a:pt x="630" y="700"/>
                    <a:pt x="630" y="701"/>
                  </a:cubicBezTo>
                  <a:cubicBezTo>
                    <a:pt x="630" y="701"/>
                    <a:pt x="630" y="701"/>
                    <a:pt x="630" y="701"/>
                  </a:cubicBezTo>
                  <a:cubicBezTo>
                    <a:pt x="631" y="701"/>
                    <a:pt x="631" y="701"/>
                    <a:pt x="631" y="701"/>
                  </a:cubicBezTo>
                  <a:cubicBezTo>
                    <a:pt x="631" y="701"/>
                    <a:pt x="631" y="701"/>
                    <a:pt x="631" y="701"/>
                  </a:cubicBezTo>
                  <a:cubicBezTo>
                    <a:pt x="632" y="701"/>
                    <a:pt x="634" y="701"/>
                    <a:pt x="635" y="702"/>
                  </a:cubicBezTo>
                  <a:cubicBezTo>
                    <a:pt x="636" y="702"/>
                    <a:pt x="637" y="703"/>
                    <a:pt x="638" y="705"/>
                  </a:cubicBezTo>
                  <a:cubicBezTo>
                    <a:pt x="639" y="706"/>
                    <a:pt x="639" y="706"/>
                    <a:pt x="639" y="706"/>
                  </a:cubicBezTo>
                  <a:cubicBezTo>
                    <a:pt x="639" y="706"/>
                    <a:pt x="639" y="706"/>
                    <a:pt x="639" y="706"/>
                  </a:cubicBezTo>
                  <a:cubicBezTo>
                    <a:pt x="640" y="707"/>
                    <a:pt x="640" y="707"/>
                    <a:pt x="640" y="707"/>
                  </a:cubicBezTo>
                  <a:cubicBezTo>
                    <a:pt x="641" y="708"/>
                    <a:pt x="641" y="708"/>
                    <a:pt x="641" y="708"/>
                  </a:cubicBezTo>
                  <a:cubicBezTo>
                    <a:pt x="641" y="708"/>
                    <a:pt x="642" y="708"/>
                    <a:pt x="643" y="708"/>
                  </a:cubicBezTo>
                  <a:cubicBezTo>
                    <a:pt x="643" y="708"/>
                    <a:pt x="644" y="708"/>
                    <a:pt x="644" y="708"/>
                  </a:cubicBezTo>
                  <a:cubicBezTo>
                    <a:pt x="646" y="708"/>
                    <a:pt x="648" y="708"/>
                    <a:pt x="650" y="709"/>
                  </a:cubicBezTo>
                  <a:cubicBezTo>
                    <a:pt x="651" y="709"/>
                    <a:pt x="651" y="709"/>
                    <a:pt x="652" y="710"/>
                  </a:cubicBezTo>
                  <a:cubicBezTo>
                    <a:pt x="653" y="710"/>
                    <a:pt x="653" y="710"/>
                    <a:pt x="653" y="710"/>
                  </a:cubicBezTo>
                  <a:cubicBezTo>
                    <a:pt x="655" y="711"/>
                    <a:pt x="655" y="711"/>
                    <a:pt x="655" y="711"/>
                  </a:cubicBezTo>
                  <a:cubicBezTo>
                    <a:pt x="655" y="711"/>
                    <a:pt x="655" y="711"/>
                    <a:pt x="655" y="711"/>
                  </a:cubicBezTo>
                  <a:cubicBezTo>
                    <a:pt x="655" y="711"/>
                    <a:pt x="656" y="710"/>
                    <a:pt x="657" y="710"/>
                  </a:cubicBezTo>
                  <a:cubicBezTo>
                    <a:pt x="657" y="711"/>
                    <a:pt x="657" y="712"/>
                    <a:pt x="656" y="713"/>
                  </a:cubicBezTo>
                  <a:cubicBezTo>
                    <a:pt x="657" y="712"/>
                    <a:pt x="658" y="712"/>
                    <a:pt x="658" y="711"/>
                  </a:cubicBezTo>
                  <a:cubicBezTo>
                    <a:pt x="658" y="711"/>
                    <a:pt x="658" y="709"/>
                    <a:pt x="659" y="708"/>
                  </a:cubicBezTo>
                  <a:cubicBezTo>
                    <a:pt x="659" y="709"/>
                    <a:pt x="661" y="710"/>
                    <a:pt x="662" y="711"/>
                  </a:cubicBezTo>
                  <a:cubicBezTo>
                    <a:pt x="663" y="710"/>
                    <a:pt x="663" y="710"/>
                    <a:pt x="663" y="709"/>
                  </a:cubicBezTo>
                  <a:cubicBezTo>
                    <a:pt x="663" y="709"/>
                    <a:pt x="662" y="709"/>
                    <a:pt x="662" y="709"/>
                  </a:cubicBezTo>
                  <a:cubicBezTo>
                    <a:pt x="662" y="709"/>
                    <a:pt x="662" y="709"/>
                    <a:pt x="662" y="708"/>
                  </a:cubicBezTo>
                  <a:cubicBezTo>
                    <a:pt x="661" y="707"/>
                    <a:pt x="661" y="704"/>
                    <a:pt x="663" y="704"/>
                  </a:cubicBezTo>
                  <a:cubicBezTo>
                    <a:pt x="663" y="704"/>
                    <a:pt x="663" y="704"/>
                    <a:pt x="663" y="704"/>
                  </a:cubicBezTo>
                  <a:cubicBezTo>
                    <a:pt x="663" y="705"/>
                    <a:pt x="663" y="705"/>
                    <a:pt x="663" y="705"/>
                  </a:cubicBezTo>
                  <a:cubicBezTo>
                    <a:pt x="663" y="705"/>
                    <a:pt x="663" y="705"/>
                    <a:pt x="663" y="705"/>
                  </a:cubicBezTo>
                  <a:cubicBezTo>
                    <a:pt x="664" y="705"/>
                    <a:pt x="664" y="705"/>
                    <a:pt x="664" y="705"/>
                  </a:cubicBezTo>
                  <a:cubicBezTo>
                    <a:pt x="664" y="706"/>
                    <a:pt x="664" y="706"/>
                    <a:pt x="663" y="707"/>
                  </a:cubicBezTo>
                  <a:cubicBezTo>
                    <a:pt x="664" y="706"/>
                    <a:pt x="664" y="706"/>
                    <a:pt x="664" y="706"/>
                  </a:cubicBezTo>
                  <a:cubicBezTo>
                    <a:pt x="665" y="706"/>
                    <a:pt x="665" y="707"/>
                    <a:pt x="664" y="708"/>
                  </a:cubicBezTo>
                  <a:cubicBezTo>
                    <a:pt x="665" y="708"/>
                    <a:pt x="665" y="708"/>
                    <a:pt x="665" y="708"/>
                  </a:cubicBezTo>
                  <a:cubicBezTo>
                    <a:pt x="665" y="708"/>
                    <a:pt x="665" y="708"/>
                    <a:pt x="665" y="708"/>
                  </a:cubicBezTo>
                  <a:cubicBezTo>
                    <a:pt x="666" y="708"/>
                    <a:pt x="666" y="708"/>
                    <a:pt x="666" y="708"/>
                  </a:cubicBezTo>
                  <a:cubicBezTo>
                    <a:pt x="666" y="708"/>
                    <a:pt x="666" y="708"/>
                    <a:pt x="666" y="708"/>
                  </a:cubicBezTo>
                  <a:cubicBezTo>
                    <a:pt x="666" y="709"/>
                    <a:pt x="667" y="710"/>
                    <a:pt x="668" y="710"/>
                  </a:cubicBezTo>
                  <a:cubicBezTo>
                    <a:pt x="668" y="710"/>
                    <a:pt x="668" y="710"/>
                    <a:pt x="668" y="710"/>
                  </a:cubicBezTo>
                  <a:cubicBezTo>
                    <a:pt x="669" y="710"/>
                    <a:pt x="669" y="708"/>
                    <a:pt x="670" y="708"/>
                  </a:cubicBezTo>
                  <a:cubicBezTo>
                    <a:pt x="670" y="709"/>
                    <a:pt x="669" y="710"/>
                    <a:pt x="670" y="711"/>
                  </a:cubicBezTo>
                  <a:cubicBezTo>
                    <a:pt x="671" y="711"/>
                    <a:pt x="673" y="711"/>
                    <a:pt x="673" y="712"/>
                  </a:cubicBezTo>
                  <a:cubicBezTo>
                    <a:pt x="674" y="712"/>
                    <a:pt x="674" y="714"/>
                    <a:pt x="674" y="715"/>
                  </a:cubicBezTo>
                  <a:cubicBezTo>
                    <a:pt x="676" y="714"/>
                    <a:pt x="679" y="714"/>
                    <a:pt x="681" y="713"/>
                  </a:cubicBezTo>
                  <a:cubicBezTo>
                    <a:pt x="683" y="712"/>
                    <a:pt x="682" y="710"/>
                    <a:pt x="680" y="710"/>
                  </a:cubicBezTo>
                  <a:cubicBezTo>
                    <a:pt x="681" y="709"/>
                    <a:pt x="682" y="709"/>
                    <a:pt x="682" y="708"/>
                  </a:cubicBezTo>
                  <a:cubicBezTo>
                    <a:pt x="683" y="708"/>
                    <a:pt x="683" y="708"/>
                    <a:pt x="683" y="708"/>
                  </a:cubicBezTo>
                  <a:cubicBezTo>
                    <a:pt x="682" y="708"/>
                    <a:pt x="682" y="709"/>
                    <a:pt x="682" y="709"/>
                  </a:cubicBezTo>
                  <a:cubicBezTo>
                    <a:pt x="683" y="710"/>
                    <a:pt x="684" y="710"/>
                    <a:pt x="684" y="711"/>
                  </a:cubicBezTo>
                  <a:cubicBezTo>
                    <a:pt x="685" y="711"/>
                    <a:pt x="685" y="713"/>
                    <a:pt x="685" y="713"/>
                  </a:cubicBezTo>
                  <a:cubicBezTo>
                    <a:pt x="685" y="713"/>
                    <a:pt x="686" y="712"/>
                    <a:pt x="686" y="711"/>
                  </a:cubicBezTo>
                  <a:cubicBezTo>
                    <a:pt x="687" y="712"/>
                    <a:pt x="687" y="713"/>
                    <a:pt x="689" y="713"/>
                  </a:cubicBezTo>
                  <a:cubicBezTo>
                    <a:pt x="689" y="713"/>
                    <a:pt x="689" y="713"/>
                    <a:pt x="689" y="713"/>
                  </a:cubicBezTo>
                  <a:cubicBezTo>
                    <a:pt x="689" y="714"/>
                    <a:pt x="688" y="716"/>
                    <a:pt x="687" y="716"/>
                  </a:cubicBezTo>
                  <a:cubicBezTo>
                    <a:pt x="686" y="716"/>
                    <a:pt x="686" y="716"/>
                    <a:pt x="686" y="716"/>
                  </a:cubicBezTo>
                  <a:cubicBezTo>
                    <a:pt x="686" y="717"/>
                    <a:pt x="686" y="718"/>
                    <a:pt x="685" y="720"/>
                  </a:cubicBezTo>
                  <a:cubicBezTo>
                    <a:pt x="685" y="719"/>
                    <a:pt x="685" y="719"/>
                    <a:pt x="685" y="719"/>
                  </a:cubicBezTo>
                  <a:cubicBezTo>
                    <a:pt x="684" y="719"/>
                    <a:pt x="684" y="722"/>
                    <a:pt x="684" y="723"/>
                  </a:cubicBezTo>
                  <a:cubicBezTo>
                    <a:pt x="684" y="726"/>
                    <a:pt x="685" y="727"/>
                    <a:pt x="687" y="731"/>
                  </a:cubicBezTo>
                  <a:cubicBezTo>
                    <a:pt x="688" y="733"/>
                    <a:pt x="688" y="737"/>
                    <a:pt x="689" y="738"/>
                  </a:cubicBezTo>
                  <a:cubicBezTo>
                    <a:pt x="690" y="738"/>
                    <a:pt x="691" y="738"/>
                    <a:pt x="691" y="738"/>
                  </a:cubicBezTo>
                  <a:cubicBezTo>
                    <a:pt x="694" y="738"/>
                    <a:pt x="697" y="737"/>
                    <a:pt x="698" y="736"/>
                  </a:cubicBezTo>
                  <a:cubicBezTo>
                    <a:pt x="701" y="734"/>
                    <a:pt x="700" y="732"/>
                    <a:pt x="698" y="731"/>
                  </a:cubicBezTo>
                  <a:cubicBezTo>
                    <a:pt x="697" y="730"/>
                    <a:pt x="697" y="730"/>
                    <a:pt x="697" y="729"/>
                  </a:cubicBezTo>
                  <a:cubicBezTo>
                    <a:pt x="696" y="730"/>
                    <a:pt x="696" y="730"/>
                    <a:pt x="696" y="730"/>
                  </a:cubicBezTo>
                  <a:cubicBezTo>
                    <a:pt x="696" y="729"/>
                    <a:pt x="696" y="728"/>
                    <a:pt x="696" y="727"/>
                  </a:cubicBezTo>
                  <a:cubicBezTo>
                    <a:pt x="697" y="728"/>
                    <a:pt x="697" y="728"/>
                    <a:pt x="698" y="728"/>
                  </a:cubicBezTo>
                  <a:cubicBezTo>
                    <a:pt x="698" y="726"/>
                    <a:pt x="697" y="726"/>
                    <a:pt x="696" y="726"/>
                  </a:cubicBezTo>
                  <a:cubicBezTo>
                    <a:pt x="696" y="726"/>
                    <a:pt x="696" y="726"/>
                    <a:pt x="695" y="726"/>
                  </a:cubicBezTo>
                  <a:cubicBezTo>
                    <a:pt x="695" y="726"/>
                    <a:pt x="695" y="726"/>
                    <a:pt x="695" y="726"/>
                  </a:cubicBezTo>
                  <a:cubicBezTo>
                    <a:pt x="694" y="726"/>
                    <a:pt x="694" y="726"/>
                    <a:pt x="693" y="724"/>
                  </a:cubicBezTo>
                  <a:cubicBezTo>
                    <a:pt x="693" y="721"/>
                    <a:pt x="697" y="720"/>
                    <a:pt x="698" y="717"/>
                  </a:cubicBezTo>
                  <a:cubicBezTo>
                    <a:pt x="698" y="717"/>
                    <a:pt x="697" y="716"/>
                    <a:pt x="697" y="714"/>
                  </a:cubicBezTo>
                  <a:cubicBezTo>
                    <a:pt x="698" y="715"/>
                    <a:pt x="698" y="717"/>
                    <a:pt x="700" y="717"/>
                  </a:cubicBezTo>
                  <a:cubicBezTo>
                    <a:pt x="699" y="717"/>
                    <a:pt x="699" y="717"/>
                    <a:pt x="698" y="717"/>
                  </a:cubicBezTo>
                  <a:cubicBezTo>
                    <a:pt x="698" y="718"/>
                    <a:pt x="698" y="718"/>
                    <a:pt x="698" y="719"/>
                  </a:cubicBezTo>
                  <a:cubicBezTo>
                    <a:pt x="703" y="717"/>
                    <a:pt x="707" y="715"/>
                    <a:pt x="711" y="713"/>
                  </a:cubicBezTo>
                  <a:cubicBezTo>
                    <a:pt x="716" y="712"/>
                    <a:pt x="720" y="712"/>
                    <a:pt x="724" y="710"/>
                  </a:cubicBezTo>
                  <a:cubicBezTo>
                    <a:pt x="724" y="709"/>
                    <a:pt x="724" y="708"/>
                    <a:pt x="722" y="707"/>
                  </a:cubicBezTo>
                  <a:cubicBezTo>
                    <a:pt x="724" y="708"/>
                    <a:pt x="725" y="709"/>
                    <a:pt x="726" y="709"/>
                  </a:cubicBezTo>
                  <a:cubicBezTo>
                    <a:pt x="727" y="709"/>
                    <a:pt x="727" y="708"/>
                    <a:pt x="728" y="707"/>
                  </a:cubicBezTo>
                  <a:cubicBezTo>
                    <a:pt x="727" y="707"/>
                    <a:pt x="726" y="706"/>
                    <a:pt x="727" y="704"/>
                  </a:cubicBezTo>
                  <a:cubicBezTo>
                    <a:pt x="727" y="705"/>
                    <a:pt x="728" y="705"/>
                    <a:pt x="728" y="705"/>
                  </a:cubicBezTo>
                  <a:cubicBezTo>
                    <a:pt x="729" y="705"/>
                    <a:pt x="729" y="705"/>
                    <a:pt x="729" y="705"/>
                  </a:cubicBezTo>
                  <a:cubicBezTo>
                    <a:pt x="729" y="706"/>
                    <a:pt x="729" y="706"/>
                    <a:pt x="729" y="706"/>
                  </a:cubicBezTo>
                  <a:cubicBezTo>
                    <a:pt x="729" y="706"/>
                    <a:pt x="729" y="706"/>
                    <a:pt x="729" y="706"/>
                  </a:cubicBezTo>
                  <a:cubicBezTo>
                    <a:pt x="729" y="706"/>
                    <a:pt x="730" y="706"/>
                    <a:pt x="730" y="706"/>
                  </a:cubicBezTo>
                  <a:cubicBezTo>
                    <a:pt x="731" y="706"/>
                    <a:pt x="731" y="706"/>
                    <a:pt x="731" y="706"/>
                  </a:cubicBezTo>
                  <a:cubicBezTo>
                    <a:pt x="732" y="706"/>
                    <a:pt x="732" y="706"/>
                    <a:pt x="732" y="706"/>
                  </a:cubicBezTo>
                  <a:cubicBezTo>
                    <a:pt x="733" y="706"/>
                    <a:pt x="734" y="708"/>
                    <a:pt x="734" y="709"/>
                  </a:cubicBezTo>
                  <a:cubicBezTo>
                    <a:pt x="735" y="707"/>
                    <a:pt x="735" y="704"/>
                    <a:pt x="736" y="702"/>
                  </a:cubicBezTo>
                  <a:cubicBezTo>
                    <a:pt x="735" y="703"/>
                    <a:pt x="736" y="704"/>
                    <a:pt x="737" y="704"/>
                  </a:cubicBezTo>
                  <a:cubicBezTo>
                    <a:pt x="737" y="704"/>
                    <a:pt x="737" y="704"/>
                    <a:pt x="738" y="704"/>
                  </a:cubicBezTo>
                  <a:cubicBezTo>
                    <a:pt x="736" y="705"/>
                    <a:pt x="736" y="705"/>
                    <a:pt x="736" y="705"/>
                  </a:cubicBezTo>
                  <a:cubicBezTo>
                    <a:pt x="737" y="705"/>
                    <a:pt x="737" y="705"/>
                    <a:pt x="737" y="705"/>
                  </a:cubicBezTo>
                  <a:cubicBezTo>
                    <a:pt x="738" y="705"/>
                    <a:pt x="740" y="705"/>
                    <a:pt x="741" y="705"/>
                  </a:cubicBezTo>
                  <a:cubicBezTo>
                    <a:pt x="742" y="704"/>
                    <a:pt x="743" y="704"/>
                    <a:pt x="744" y="704"/>
                  </a:cubicBezTo>
                  <a:cubicBezTo>
                    <a:pt x="744" y="704"/>
                    <a:pt x="745" y="704"/>
                    <a:pt x="745" y="704"/>
                  </a:cubicBezTo>
                  <a:cubicBezTo>
                    <a:pt x="746" y="704"/>
                    <a:pt x="746" y="705"/>
                    <a:pt x="747" y="705"/>
                  </a:cubicBezTo>
                  <a:cubicBezTo>
                    <a:pt x="747" y="705"/>
                    <a:pt x="747" y="705"/>
                    <a:pt x="748" y="704"/>
                  </a:cubicBezTo>
                  <a:cubicBezTo>
                    <a:pt x="747" y="703"/>
                    <a:pt x="747" y="703"/>
                    <a:pt x="747" y="703"/>
                  </a:cubicBezTo>
                  <a:cubicBezTo>
                    <a:pt x="748" y="702"/>
                    <a:pt x="748" y="702"/>
                    <a:pt x="748" y="701"/>
                  </a:cubicBezTo>
                  <a:cubicBezTo>
                    <a:pt x="749" y="700"/>
                    <a:pt x="749" y="700"/>
                    <a:pt x="749" y="700"/>
                  </a:cubicBezTo>
                  <a:cubicBezTo>
                    <a:pt x="749" y="699"/>
                    <a:pt x="749" y="699"/>
                    <a:pt x="750" y="699"/>
                  </a:cubicBezTo>
                  <a:cubicBezTo>
                    <a:pt x="750" y="700"/>
                    <a:pt x="751" y="701"/>
                    <a:pt x="751" y="701"/>
                  </a:cubicBezTo>
                  <a:cubicBezTo>
                    <a:pt x="752" y="701"/>
                    <a:pt x="752" y="701"/>
                    <a:pt x="752" y="701"/>
                  </a:cubicBezTo>
                  <a:cubicBezTo>
                    <a:pt x="753" y="701"/>
                    <a:pt x="753" y="701"/>
                    <a:pt x="753" y="701"/>
                  </a:cubicBezTo>
                  <a:cubicBezTo>
                    <a:pt x="754" y="699"/>
                    <a:pt x="755" y="700"/>
                    <a:pt x="754" y="698"/>
                  </a:cubicBezTo>
                  <a:cubicBezTo>
                    <a:pt x="753" y="697"/>
                    <a:pt x="753" y="697"/>
                    <a:pt x="753" y="697"/>
                  </a:cubicBezTo>
                  <a:cubicBezTo>
                    <a:pt x="756" y="698"/>
                    <a:pt x="756" y="698"/>
                    <a:pt x="756" y="698"/>
                  </a:cubicBezTo>
                  <a:cubicBezTo>
                    <a:pt x="757" y="698"/>
                    <a:pt x="757" y="698"/>
                    <a:pt x="757" y="698"/>
                  </a:cubicBezTo>
                  <a:cubicBezTo>
                    <a:pt x="757" y="698"/>
                    <a:pt x="757" y="699"/>
                    <a:pt x="757" y="699"/>
                  </a:cubicBezTo>
                  <a:cubicBezTo>
                    <a:pt x="758" y="699"/>
                    <a:pt x="758" y="697"/>
                    <a:pt x="758" y="697"/>
                  </a:cubicBezTo>
                  <a:cubicBezTo>
                    <a:pt x="757" y="692"/>
                    <a:pt x="757" y="688"/>
                    <a:pt x="753" y="685"/>
                  </a:cubicBezTo>
                  <a:cubicBezTo>
                    <a:pt x="751" y="685"/>
                    <a:pt x="751" y="685"/>
                    <a:pt x="751" y="685"/>
                  </a:cubicBezTo>
                  <a:cubicBezTo>
                    <a:pt x="753" y="685"/>
                    <a:pt x="754" y="684"/>
                    <a:pt x="755" y="682"/>
                  </a:cubicBezTo>
                  <a:cubicBezTo>
                    <a:pt x="755" y="682"/>
                    <a:pt x="757" y="681"/>
                    <a:pt x="758" y="681"/>
                  </a:cubicBezTo>
                  <a:cubicBezTo>
                    <a:pt x="758" y="681"/>
                    <a:pt x="758" y="681"/>
                    <a:pt x="758" y="681"/>
                  </a:cubicBezTo>
                  <a:cubicBezTo>
                    <a:pt x="760" y="680"/>
                    <a:pt x="761" y="681"/>
                    <a:pt x="763" y="680"/>
                  </a:cubicBezTo>
                  <a:cubicBezTo>
                    <a:pt x="761" y="681"/>
                    <a:pt x="758" y="681"/>
                    <a:pt x="758" y="683"/>
                  </a:cubicBezTo>
                  <a:cubicBezTo>
                    <a:pt x="758" y="683"/>
                    <a:pt x="758" y="683"/>
                    <a:pt x="758" y="683"/>
                  </a:cubicBezTo>
                  <a:cubicBezTo>
                    <a:pt x="758" y="683"/>
                    <a:pt x="759" y="683"/>
                    <a:pt x="759" y="683"/>
                  </a:cubicBezTo>
                  <a:cubicBezTo>
                    <a:pt x="759" y="683"/>
                    <a:pt x="759" y="683"/>
                    <a:pt x="759" y="684"/>
                  </a:cubicBezTo>
                  <a:cubicBezTo>
                    <a:pt x="759" y="683"/>
                    <a:pt x="759" y="683"/>
                    <a:pt x="759" y="683"/>
                  </a:cubicBezTo>
                  <a:cubicBezTo>
                    <a:pt x="759" y="683"/>
                    <a:pt x="759" y="684"/>
                    <a:pt x="759" y="684"/>
                  </a:cubicBezTo>
                  <a:cubicBezTo>
                    <a:pt x="759" y="684"/>
                    <a:pt x="759" y="683"/>
                    <a:pt x="759" y="683"/>
                  </a:cubicBezTo>
                  <a:cubicBezTo>
                    <a:pt x="759" y="684"/>
                    <a:pt x="759" y="684"/>
                    <a:pt x="759" y="685"/>
                  </a:cubicBezTo>
                  <a:cubicBezTo>
                    <a:pt x="759" y="685"/>
                    <a:pt x="759" y="685"/>
                    <a:pt x="759" y="685"/>
                  </a:cubicBezTo>
                  <a:cubicBezTo>
                    <a:pt x="759" y="686"/>
                    <a:pt x="759" y="686"/>
                    <a:pt x="759" y="686"/>
                  </a:cubicBezTo>
                  <a:cubicBezTo>
                    <a:pt x="759" y="685"/>
                    <a:pt x="759" y="685"/>
                    <a:pt x="759" y="685"/>
                  </a:cubicBezTo>
                  <a:cubicBezTo>
                    <a:pt x="760" y="686"/>
                    <a:pt x="760" y="686"/>
                    <a:pt x="760" y="687"/>
                  </a:cubicBezTo>
                  <a:cubicBezTo>
                    <a:pt x="760" y="688"/>
                    <a:pt x="760" y="688"/>
                    <a:pt x="761" y="688"/>
                  </a:cubicBezTo>
                  <a:cubicBezTo>
                    <a:pt x="761" y="688"/>
                    <a:pt x="761" y="688"/>
                    <a:pt x="761" y="688"/>
                  </a:cubicBezTo>
                  <a:cubicBezTo>
                    <a:pt x="761" y="688"/>
                    <a:pt x="761" y="688"/>
                    <a:pt x="761" y="688"/>
                  </a:cubicBezTo>
                  <a:cubicBezTo>
                    <a:pt x="762" y="688"/>
                    <a:pt x="762" y="688"/>
                    <a:pt x="762" y="688"/>
                  </a:cubicBezTo>
                  <a:cubicBezTo>
                    <a:pt x="763" y="689"/>
                    <a:pt x="763" y="690"/>
                    <a:pt x="763" y="691"/>
                  </a:cubicBezTo>
                  <a:cubicBezTo>
                    <a:pt x="764" y="693"/>
                    <a:pt x="764" y="693"/>
                    <a:pt x="765" y="693"/>
                  </a:cubicBezTo>
                  <a:cubicBezTo>
                    <a:pt x="765" y="693"/>
                    <a:pt x="766" y="693"/>
                    <a:pt x="767" y="693"/>
                  </a:cubicBezTo>
                  <a:cubicBezTo>
                    <a:pt x="768" y="692"/>
                    <a:pt x="769" y="691"/>
                    <a:pt x="771" y="691"/>
                  </a:cubicBezTo>
                  <a:cubicBezTo>
                    <a:pt x="772" y="691"/>
                    <a:pt x="772" y="691"/>
                    <a:pt x="772" y="691"/>
                  </a:cubicBezTo>
                  <a:cubicBezTo>
                    <a:pt x="772" y="691"/>
                    <a:pt x="773" y="691"/>
                    <a:pt x="773" y="691"/>
                  </a:cubicBezTo>
                  <a:cubicBezTo>
                    <a:pt x="774" y="691"/>
                    <a:pt x="775" y="692"/>
                    <a:pt x="776" y="693"/>
                  </a:cubicBezTo>
                  <a:cubicBezTo>
                    <a:pt x="776" y="694"/>
                    <a:pt x="776" y="694"/>
                    <a:pt x="776" y="694"/>
                  </a:cubicBezTo>
                  <a:cubicBezTo>
                    <a:pt x="777" y="694"/>
                    <a:pt x="778" y="693"/>
                    <a:pt x="778" y="692"/>
                  </a:cubicBezTo>
                  <a:cubicBezTo>
                    <a:pt x="778" y="692"/>
                    <a:pt x="777" y="690"/>
                    <a:pt x="776" y="690"/>
                  </a:cubicBezTo>
                  <a:cubicBezTo>
                    <a:pt x="777" y="689"/>
                    <a:pt x="780" y="687"/>
                    <a:pt x="781" y="687"/>
                  </a:cubicBezTo>
                  <a:cubicBezTo>
                    <a:pt x="782" y="687"/>
                    <a:pt x="782" y="687"/>
                    <a:pt x="782" y="687"/>
                  </a:cubicBezTo>
                  <a:cubicBezTo>
                    <a:pt x="782" y="688"/>
                    <a:pt x="780" y="688"/>
                    <a:pt x="780" y="689"/>
                  </a:cubicBezTo>
                  <a:cubicBezTo>
                    <a:pt x="780" y="689"/>
                    <a:pt x="783" y="691"/>
                    <a:pt x="783" y="692"/>
                  </a:cubicBezTo>
                  <a:cubicBezTo>
                    <a:pt x="783" y="692"/>
                    <a:pt x="783" y="692"/>
                    <a:pt x="784" y="692"/>
                  </a:cubicBezTo>
                  <a:cubicBezTo>
                    <a:pt x="784" y="692"/>
                    <a:pt x="784" y="691"/>
                    <a:pt x="784" y="691"/>
                  </a:cubicBezTo>
                  <a:cubicBezTo>
                    <a:pt x="785" y="691"/>
                    <a:pt x="786" y="689"/>
                    <a:pt x="787" y="688"/>
                  </a:cubicBezTo>
                  <a:cubicBezTo>
                    <a:pt x="788" y="687"/>
                    <a:pt x="790" y="686"/>
                    <a:pt x="792" y="685"/>
                  </a:cubicBezTo>
                  <a:cubicBezTo>
                    <a:pt x="792" y="686"/>
                    <a:pt x="791" y="686"/>
                    <a:pt x="790" y="687"/>
                  </a:cubicBezTo>
                  <a:cubicBezTo>
                    <a:pt x="793" y="687"/>
                    <a:pt x="794" y="688"/>
                    <a:pt x="796" y="690"/>
                  </a:cubicBezTo>
                  <a:cubicBezTo>
                    <a:pt x="797" y="689"/>
                    <a:pt x="797" y="689"/>
                    <a:pt x="797" y="688"/>
                  </a:cubicBezTo>
                  <a:cubicBezTo>
                    <a:pt x="797" y="688"/>
                    <a:pt x="796" y="688"/>
                    <a:pt x="796" y="688"/>
                  </a:cubicBezTo>
                  <a:cubicBezTo>
                    <a:pt x="795" y="688"/>
                    <a:pt x="796" y="687"/>
                    <a:pt x="796" y="686"/>
                  </a:cubicBezTo>
                  <a:cubicBezTo>
                    <a:pt x="795" y="686"/>
                    <a:pt x="794" y="685"/>
                    <a:pt x="794" y="684"/>
                  </a:cubicBezTo>
                  <a:cubicBezTo>
                    <a:pt x="795" y="684"/>
                    <a:pt x="795" y="684"/>
                    <a:pt x="795" y="684"/>
                  </a:cubicBezTo>
                  <a:cubicBezTo>
                    <a:pt x="796" y="684"/>
                    <a:pt x="796" y="684"/>
                    <a:pt x="797" y="684"/>
                  </a:cubicBezTo>
                  <a:cubicBezTo>
                    <a:pt x="798" y="684"/>
                    <a:pt x="798" y="684"/>
                    <a:pt x="799" y="684"/>
                  </a:cubicBezTo>
                  <a:cubicBezTo>
                    <a:pt x="799" y="684"/>
                    <a:pt x="799" y="684"/>
                    <a:pt x="800" y="684"/>
                  </a:cubicBezTo>
                  <a:cubicBezTo>
                    <a:pt x="797" y="685"/>
                    <a:pt x="800" y="686"/>
                    <a:pt x="801" y="688"/>
                  </a:cubicBezTo>
                  <a:cubicBezTo>
                    <a:pt x="802" y="687"/>
                    <a:pt x="802" y="687"/>
                    <a:pt x="803" y="687"/>
                  </a:cubicBezTo>
                  <a:cubicBezTo>
                    <a:pt x="804" y="686"/>
                    <a:pt x="804" y="686"/>
                    <a:pt x="805" y="685"/>
                  </a:cubicBezTo>
                  <a:cubicBezTo>
                    <a:pt x="805" y="684"/>
                    <a:pt x="805" y="684"/>
                    <a:pt x="805" y="684"/>
                  </a:cubicBezTo>
                  <a:cubicBezTo>
                    <a:pt x="806" y="684"/>
                    <a:pt x="806" y="684"/>
                    <a:pt x="806" y="684"/>
                  </a:cubicBezTo>
                  <a:cubicBezTo>
                    <a:pt x="806" y="685"/>
                    <a:pt x="807" y="685"/>
                    <a:pt x="807" y="685"/>
                  </a:cubicBezTo>
                  <a:cubicBezTo>
                    <a:pt x="807" y="685"/>
                    <a:pt x="807" y="685"/>
                    <a:pt x="807" y="685"/>
                  </a:cubicBezTo>
                  <a:cubicBezTo>
                    <a:pt x="810" y="684"/>
                    <a:pt x="814" y="685"/>
                    <a:pt x="815" y="682"/>
                  </a:cubicBezTo>
                  <a:cubicBezTo>
                    <a:pt x="815" y="681"/>
                    <a:pt x="814" y="679"/>
                    <a:pt x="815" y="678"/>
                  </a:cubicBezTo>
                  <a:cubicBezTo>
                    <a:pt x="815" y="678"/>
                    <a:pt x="816" y="677"/>
                    <a:pt x="817" y="677"/>
                  </a:cubicBezTo>
                  <a:cubicBezTo>
                    <a:pt x="818" y="677"/>
                    <a:pt x="819" y="678"/>
                    <a:pt x="820" y="678"/>
                  </a:cubicBezTo>
                  <a:cubicBezTo>
                    <a:pt x="819" y="675"/>
                    <a:pt x="816" y="678"/>
                    <a:pt x="815" y="674"/>
                  </a:cubicBezTo>
                  <a:cubicBezTo>
                    <a:pt x="815" y="675"/>
                    <a:pt x="816" y="675"/>
                    <a:pt x="817" y="675"/>
                  </a:cubicBezTo>
                  <a:cubicBezTo>
                    <a:pt x="817" y="675"/>
                    <a:pt x="818" y="675"/>
                    <a:pt x="819" y="675"/>
                  </a:cubicBezTo>
                  <a:cubicBezTo>
                    <a:pt x="822" y="675"/>
                    <a:pt x="821" y="671"/>
                    <a:pt x="822" y="670"/>
                  </a:cubicBezTo>
                  <a:cubicBezTo>
                    <a:pt x="822" y="670"/>
                    <a:pt x="822" y="670"/>
                    <a:pt x="822" y="670"/>
                  </a:cubicBezTo>
                  <a:cubicBezTo>
                    <a:pt x="823" y="670"/>
                    <a:pt x="823" y="670"/>
                    <a:pt x="824" y="670"/>
                  </a:cubicBezTo>
                  <a:cubicBezTo>
                    <a:pt x="825" y="670"/>
                    <a:pt x="825" y="670"/>
                    <a:pt x="826" y="671"/>
                  </a:cubicBezTo>
                  <a:cubicBezTo>
                    <a:pt x="828" y="670"/>
                    <a:pt x="835" y="667"/>
                    <a:pt x="832" y="664"/>
                  </a:cubicBezTo>
                  <a:cubicBezTo>
                    <a:pt x="834" y="666"/>
                    <a:pt x="835" y="664"/>
                    <a:pt x="835" y="668"/>
                  </a:cubicBezTo>
                  <a:cubicBezTo>
                    <a:pt x="837" y="665"/>
                    <a:pt x="841" y="662"/>
                    <a:pt x="844" y="658"/>
                  </a:cubicBezTo>
                  <a:cubicBezTo>
                    <a:pt x="845" y="657"/>
                    <a:pt x="845" y="656"/>
                    <a:pt x="844" y="656"/>
                  </a:cubicBezTo>
                  <a:cubicBezTo>
                    <a:pt x="844" y="656"/>
                    <a:pt x="844" y="656"/>
                    <a:pt x="843" y="656"/>
                  </a:cubicBezTo>
                  <a:cubicBezTo>
                    <a:pt x="844" y="655"/>
                    <a:pt x="844" y="655"/>
                    <a:pt x="843" y="655"/>
                  </a:cubicBezTo>
                  <a:cubicBezTo>
                    <a:pt x="843" y="655"/>
                    <a:pt x="843" y="655"/>
                    <a:pt x="843" y="655"/>
                  </a:cubicBezTo>
                  <a:cubicBezTo>
                    <a:pt x="843" y="655"/>
                    <a:pt x="843" y="655"/>
                    <a:pt x="842" y="655"/>
                  </a:cubicBezTo>
                  <a:cubicBezTo>
                    <a:pt x="842" y="655"/>
                    <a:pt x="842" y="655"/>
                    <a:pt x="842" y="655"/>
                  </a:cubicBezTo>
                  <a:cubicBezTo>
                    <a:pt x="842" y="655"/>
                    <a:pt x="842" y="655"/>
                    <a:pt x="841" y="655"/>
                  </a:cubicBezTo>
                  <a:cubicBezTo>
                    <a:pt x="841" y="655"/>
                    <a:pt x="841" y="655"/>
                    <a:pt x="841" y="655"/>
                  </a:cubicBezTo>
                  <a:cubicBezTo>
                    <a:pt x="841" y="655"/>
                    <a:pt x="841" y="655"/>
                    <a:pt x="841" y="655"/>
                  </a:cubicBezTo>
                  <a:cubicBezTo>
                    <a:pt x="841" y="655"/>
                    <a:pt x="840" y="655"/>
                    <a:pt x="840" y="654"/>
                  </a:cubicBezTo>
                  <a:cubicBezTo>
                    <a:pt x="839" y="653"/>
                    <a:pt x="839" y="653"/>
                    <a:pt x="839" y="653"/>
                  </a:cubicBezTo>
                  <a:cubicBezTo>
                    <a:pt x="840" y="653"/>
                    <a:pt x="840" y="653"/>
                    <a:pt x="841" y="653"/>
                  </a:cubicBezTo>
                  <a:cubicBezTo>
                    <a:pt x="841" y="653"/>
                    <a:pt x="841" y="653"/>
                    <a:pt x="842" y="653"/>
                  </a:cubicBezTo>
                  <a:cubicBezTo>
                    <a:pt x="842" y="653"/>
                    <a:pt x="842" y="653"/>
                    <a:pt x="842" y="653"/>
                  </a:cubicBezTo>
                  <a:cubicBezTo>
                    <a:pt x="843" y="653"/>
                    <a:pt x="845" y="650"/>
                    <a:pt x="846" y="650"/>
                  </a:cubicBezTo>
                  <a:cubicBezTo>
                    <a:pt x="846" y="650"/>
                    <a:pt x="846" y="650"/>
                    <a:pt x="846" y="650"/>
                  </a:cubicBezTo>
                  <a:cubicBezTo>
                    <a:pt x="847" y="650"/>
                    <a:pt x="849" y="651"/>
                    <a:pt x="850" y="651"/>
                  </a:cubicBezTo>
                  <a:cubicBezTo>
                    <a:pt x="850" y="651"/>
                    <a:pt x="850" y="651"/>
                    <a:pt x="850" y="651"/>
                  </a:cubicBezTo>
                  <a:cubicBezTo>
                    <a:pt x="851" y="651"/>
                    <a:pt x="851" y="649"/>
                    <a:pt x="852" y="649"/>
                  </a:cubicBezTo>
                  <a:cubicBezTo>
                    <a:pt x="852" y="649"/>
                    <a:pt x="852" y="649"/>
                    <a:pt x="852" y="649"/>
                  </a:cubicBezTo>
                  <a:cubicBezTo>
                    <a:pt x="853" y="649"/>
                    <a:pt x="853" y="651"/>
                    <a:pt x="854" y="651"/>
                  </a:cubicBezTo>
                  <a:cubicBezTo>
                    <a:pt x="855" y="651"/>
                    <a:pt x="855" y="651"/>
                    <a:pt x="855" y="651"/>
                  </a:cubicBezTo>
                  <a:cubicBezTo>
                    <a:pt x="856" y="651"/>
                    <a:pt x="855" y="651"/>
                    <a:pt x="856" y="650"/>
                  </a:cubicBezTo>
                  <a:cubicBezTo>
                    <a:pt x="856" y="650"/>
                    <a:pt x="857" y="649"/>
                    <a:pt x="857" y="648"/>
                  </a:cubicBezTo>
                  <a:cubicBezTo>
                    <a:pt x="857" y="647"/>
                    <a:pt x="856" y="647"/>
                    <a:pt x="855" y="647"/>
                  </a:cubicBezTo>
                  <a:cubicBezTo>
                    <a:pt x="857" y="646"/>
                    <a:pt x="858" y="645"/>
                    <a:pt x="860" y="645"/>
                  </a:cubicBezTo>
                  <a:cubicBezTo>
                    <a:pt x="860" y="645"/>
                    <a:pt x="860" y="645"/>
                    <a:pt x="860" y="645"/>
                  </a:cubicBezTo>
                  <a:cubicBezTo>
                    <a:pt x="860" y="645"/>
                    <a:pt x="860" y="645"/>
                    <a:pt x="860" y="645"/>
                  </a:cubicBezTo>
                  <a:cubicBezTo>
                    <a:pt x="861" y="645"/>
                    <a:pt x="861" y="645"/>
                    <a:pt x="861" y="645"/>
                  </a:cubicBezTo>
                  <a:cubicBezTo>
                    <a:pt x="861" y="645"/>
                    <a:pt x="861" y="645"/>
                    <a:pt x="861" y="645"/>
                  </a:cubicBezTo>
                  <a:cubicBezTo>
                    <a:pt x="862" y="644"/>
                    <a:pt x="860" y="639"/>
                    <a:pt x="860" y="638"/>
                  </a:cubicBezTo>
                  <a:cubicBezTo>
                    <a:pt x="860" y="638"/>
                    <a:pt x="863" y="638"/>
                    <a:pt x="865" y="638"/>
                  </a:cubicBezTo>
                  <a:cubicBezTo>
                    <a:pt x="867" y="638"/>
                    <a:pt x="869" y="638"/>
                    <a:pt x="868" y="637"/>
                  </a:cubicBezTo>
                  <a:cubicBezTo>
                    <a:pt x="868" y="637"/>
                    <a:pt x="868" y="636"/>
                    <a:pt x="868" y="636"/>
                  </a:cubicBezTo>
                  <a:cubicBezTo>
                    <a:pt x="867" y="636"/>
                    <a:pt x="867" y="637"/>
                    <a:pt x="867" y="637"/>
                  </a:cubicBezTo>
                  <a:cubicBezTo>
                    <a:pt x="866" y="637"/>
                    <a:pt x="866" y="637"/>
                    <a:pt x="866" y="637"/>
                  </a:cubicBezTo>
                  <a:cubicBezTo>
                    <a:pt x="866" y="637"/>
                    <a:pt x="866" y="637"/>
                    <a:pt x="865" y="637"/>
                  </a:cubicBezTo>
                  <a:cubicBezTo>
                    <a:pt x="865" y="636"/>
                    <a:pt x="867" y="630"/>
                    <a:pt x="869" y="630"/>
                  </a:cubicBezTo>
                  <a:cubicBezTo>
                    <a:pt x="868" y="630"/>
                    <a:pt x="873" y="634"/>
                    <a:pt x="874" y="635"/>
                  </a:cubicBezTo>
                  <a:cubicBezTo>
                    <a:pt x="874" y="633"/>
                    <a:pt x="873" y="633"/>
                    <a:pt x="873" y="631"/>
                  </a:cubicBezTo>
                  <a:cubicBezTo>
                    <a:pt x="873" y="631"/>
                    <a:pt x="873" y="631"/>
                    <a:pt x="872" y="631"/>
                  </a:cubicBezTo>
                  <a:cubicBezTo>
                    <a:pt x="870" y="631"/>
                    <a:pt x="875" y="623"/>
                    <a:pt x="875" y="622"/>
                  </a:cubicBezTo>
                  <a:cubicBezTo>
                    <a:pt x="872" y="622"/>
                    <a:pt x="869" y="623"/>
                    <a:pt x="866" y="623"/>
                  </a:cubicBezTo>
                  <a:cubicBezTo>
                    <a:pt x="866" y="621"/>
                    <a:pt x="865" y="620"/>
                    <a:pt x="864" y="619"/>
                  </a:cubicBezTo>
                  <a:cubicBezTo>
                    <a:pt x="865" y="620"/>
                    <a:pt x="868" y="622"/>
                    <a:pt x="870" y="622"/>
                  </a:cubicBezTo>
                  <a:cubicBezTo>
                    <a:pt x="870" y="622"/>
                    <a:pt x="870" y="622"/>
                    <a:pt x="870" y="622"/>
                  </a:cubicBezTo>
                  <a:cubicBezTo>
                    <a:pt x="871" y="622"/>
                    <a:pt x="871" y="622"/>
                    <a:pt x="872" y="620"/>
                  </a:cubicBezTo>
                  <a:cubicBezTo>
                    <a:pt x="875" y="616"/>
                    <a:pt x="876" y="617"/>
                    <a:pt x="880" y="615"/>
                  </a:cubicBezTo>
                  <a:cubicBezTo>
                    <a:pt x="880" y="615"/>
                    <a:pt x="879" y="615"/>
                    <a:pt x="879" y="615"/>
                  </a:cubicBezTo>
                  <a:cubicBezTo>
                    <a:pt x="879" y="615"/>
                    <a:pt x="878" y="614"/>
                    <a:pt x="878" y="614"/>
                  </a:cubicBezTo>
                  <a:cubicBezTo>
                    <a:pt x="878" y="614"/>
                    <a:pt x="878" y="614"/>
                    <a:pt x="878" y="614"/>
                  </a:cubicBezTo>
                  <a:cubicBezTo>
                    <a:pt x="878" y="614"/>
                    <a:pt x="877" y="614"/>
                    <a:pt x="877" y="614"/>
                  </a:cubicBezTo>
                  <a:cubicBezTo>
                    <a:pt x="877" y="614"/>
                    <a:pt x="877" y="615"/>
                    <a:pt x="876" y="615"/>
                  </a:cubicBezTo>
                  <a:cubicBezTo>
                    <a:pt x="876" y="615"/>
                    <a:pt x="876" y="616"/>
                    <a:pt x="876" y="616"/>
                  </a:cubicBezTo>
                  <a:cubicBezTo>
                    <a:pt x="876" y="616"/>
                    <a:pt x="876" y="616"/>
                    <a:pt x="875" y="615"/>
                  </a:cubicBezTo>
                  <a:cubicBezTo>
                    <a:pt x="875" y="615"/>
                    <a:pt x="873" y="614"/>
                    <a:pt x="873" y="613"/>
                  </a:cubicBezTo>
                  <a:cubicBezTo>
                    <a:pt x="873" y="613"/>
                    <a:pt x="876" y="611"/>
                    <a:pt x="876" y="611"/>
                  </a:cubicBezTo>
                  <a:cubicBezTo>
                    <a:pt x="874" y="610"/>
                    <a:pt x="873" y="610"/>
                    <a:pt x="872" y="608"/>
                  </a:cubicBezTo>
                  <a:cubicBezTo>
                    <a:pt x="872" y="607"/>
                    <a:pt x="872" y="606"/>
                    <a:pt x="873" y="606"/>
                  </a:cubicBezTo>
                  <a:cubicBezTo>
                    <a:pt x="873" y="606"/>
                    <a:pt x="873" y="606"/>
                    <a:pt x="873" y="606"/>
                  </a:cubicBezTo>
                  <a:cubicBezTo>
                    <a:pt x="875" y="605"/>
                    <a:pt x="876" y="606"/>
                    <a:pt x="877" y="605"/>
                  </a:cubicBezTo>
                  <a:cubicBezTo>
                    <a:pt x="877" y="606"/>
                    <a:pt x="877" y="606"/>
                    <a:pt x="877" y="606"/>
                  </a:cubicBezTo>
                  <a:cubicBezTo>
                    <a:pt x="878" y="606"/>
                    <a:pt x="878" y="606"/>
                    <a:pt x="877" y="606"/>
                  </a:cubicBezTo>
                  <a:cubicBezTo>
                    <a:pt x="877" y="606"/>
                    <a:pt x="880" y="606"/>
                    <a:pt x="881" y="606"/>
                  </a:cubicBezTo>
                  <a:cubicBezTo>
                    <a:pt x="882" y="606"/>
                    <a:pt x="883" y="606"/>
                    <a:pt x="881" y="607"/>
                  </a:cubicBezTo>
                  <a:cubicBezTo>
                    <a:pt x="882" y="608"/>
                    <a:pt x="883" y="608"/>
                    <a:pt x="883" y="609"/>
                  </a:cubicBezTo>
                  <a:cubicBezTo>
                    <a:pt x="884" y="607"/>
                    <a:pt x="882" y="607"/>
                    <a:pt x="883" y="605"/>
                  </a:cubicBezTo>
                  <a:cubicBezTo>
                    <a:pt x="883" y="604"/>
                    <a:pt x="885" y="604"/>
                    <a:pt x="885" y="602"/>
                  </a:cubicBezTo>
                  <a:cubicBezTo>
                    <a:pt x="886" y="600"/>
                    <a:pt x="886" y="599"/>
                    <a:pt x="889" y="599"/>
                  </a:cubicBezTo>
                  <a:cubicBezTo>
                    <a:pt x="888" y="598"/>
                    <a:pt x="888" y="598"/>
                    <a:pt x="888" y="597"/>
                  </a:cubicBezTo>
                  <a:cubicBezTo>
                    <a:pt x="888" y="597"/>
                    <a:pt x="888" y="597"/>
                    <a:pt x="888" y="597"/>
                  </a:cubicBezTo>
                  <a:cubicBezTo>
                    <a:pt x="890" y="597"/>
                    <a:pt x="892" y="595"/>
                    <a:pt x="893" y="594"/>
                  </a:cubicBezTo>
                  <a:cubicBezTo>
                    <a:pt x="894" y="592"/>
                    <a:pt x="893" y="589"/>
                    <a:pt x="894" y="587"/>
                  </a:cubicBezTo>
                  <a:cubicBezTo>
                    <a:pt x="895" y="586"/>
                    <a:pt x="897" y="583"/>
                    <a:pt x="897" y="582"/>
                  </a:cubicBezTo>
                  <a:cubicBezTo>
                    <a:pt x="894" y="580"/>
                    <a:pt x="894" y="580"/>
                    <a:pt x="894" y="580"/>
                  </a:cubicBezTo>
                  <a:cubicBezTo>
                    <a:pt x="895" y="581"/>
                    <a:pt x="895" y="581"/>
                    <a:pt x="896" y="581"/>
                  </a:cubicBezTo>
                  <a:cubicBezTo>
                    <a:pt x="897" y="581"/>
                    <a:pt x="898" y="580"/>
                    <a:pt x="900" y="578"/>
                  </a:cubicBezTo>
                  <a:cubicBezTo>
                    <a:pt x="901" y="578"/>
                    <a:pt x="902" y="577"/>
                    <a:pt x="902" y="576"/>
                  </a:cubicBezTo>
                  <a:cubicBezTo>
                    <a:pt x="902" y="575"/>
                    <a:pt x="900" y="575"/>
                    <a:pt x="902" y="574"/>
                  </a:cubicBezTo>
                  <a:cubicBezTo>
                    <a:pt x="903" y="574"/>
                    <a:pt x="903" y="574"/>
                    <a:pt x="903" y="574"/>
                  </a:cubicBezTo>
                  <a:cubicBezTo>
                    <a:pt x="905" y="574"/>
                    <a:pt x="905" y="576"/>
                    <a:pt x="907" y="578"/>
                  </a:cubicBezTo>
                  <a:cubicBezTo>
                    <a:pt x="907" y="576"/>
                    <a:pt x="910" y="576"/>
                    <a:pt x="912" y="574"/>
                  </a:cubicBezTo>
                  <a:cubicBezTo>
                    <a:pt x="910" y="574"/>
                    <a:pt x="911" y="569"/>
                    <a:pt x="909" y="568"/>
                  </a:cubicBezTo>
                  <a:cubicBezTo>
                    <a:pt x="909" y="567"/>
                    <a:pt x="908" y="567"/>
                    <a:pt x="907" y="567"/>
                  </a:cubicBezTo>
                  <a:cubicBezTo>
                    <a:pt x="906" y="566"/>
                    <a:pt x="906" y="567"/>
                    <a:pt x="905" y="565"/>
                  </a:cubicBezTo>
                  <a:cubicBezTo>
                    <a:pt x="906" y="566"/>
                    <a:pt x="907" y="566"/>
                    <a:pt x="908" y="566"/>
                  </a:cubicBezTo>
                  <a:cubicBezTo>
                    <a:pt x="909" y="566"/>
                    <a:pt x="910" y="566"/>
                    <a:pt x="912" y="565"/>
                  </a:cubicBezTo>
                  <a:cubicBezTo>
                    <a:pt x="914" y="564"/>
                    <a:pt x="910" y="563"/>
                    <a:pt x="910" y="561"/>
                  </a:cubicBezTo>
                  <a:cubicBezTo>
                    <a:pt x="910" y="562"/>
                    <a:pt x="910" y="562"/>
                    <a:pt x="911" y="562"/>
                  </a:cubicBezTo>
                  <a:cubicBezTo>
                    <a:pt x="911" y="562"/>
                    <a:pt x="911" y="562"/>
                    <a:pt x="912" y="562"/>
                  </a:cubicBezTo>
                  <a:cubicBezTo>
                    <a:pt x="912" y="561"/>
                    <a:pt x="913" y="561"/>
                    <a:pt x="913" y="561"/>
                  </a:cubicBezTo>
                  <a:cubicBezTo>
                    <a:pt x="913" y="561"/>
                    <a:pt x="913" y="561"/>
                    <a:pt x="913" y="561"/>
                  </a:cubicBezTo>
                  <a:cubicBezTo>
                    <a:pt x="913" y="560"/>
                    <a:pt x="912" y="560"/>
                    <a:pt x="912" y="559"/>
                  </a:cubicBezTo>
                  <a:cubicBezTo>
                    <a:pt x="912" y="558"/>
                    <a:pt x="910" y="558"/>
                    <a:pt x="909" y="558"/>
                  </a:cubicBezTo>
                  <a:cubicBezTo>
                    <a:pt x="909" y="558"/>
                    <a:pt x="909" y="558"/>
                    <a:pt x="909" y="558"/>
                  </a:cubicBezTo>
                  <a:cubicBezTo>
                    <a:pt x="909" y="558"/>
                    <a:pt x="909" y="558"/>
                    <a:pt x="909" y="558"/>
                  </a:cubicBezTo>
                  <a:cubicBezTo>
                    <a:pt x="908" y="558"/>
                    <a:pt x="908" y="558"/>
                    <a:pt x="908" y="558"/>
                  </a:cubicBezTo>
                  <a:cubicBezTo>
                    <a:pt x="909" y="557"/>
                    <a:pt x="910" y="554"/>
                    <a:pt x="912" y="554"/>
                  </a:cubicBezTo>
                  <a:cubicBezTo>
                    <a:pt x="912" y="554"/>
                    <a:pt x="912" y="554"/>
                    <a:pt x="912" y="554"/>
                  </a:cubicBezTo>
                  <a:cubicBezTo>
                    <a:pt x="913" y="554"/>
                    <a:pt x="913" y="556"/>
                    <a:pt x="914" y="556"/>
                  </a:cubicBezTo>
                  <a:cubicBezTo>
                    <a:pt x="915" y="555"/>
                    <a:pt x="915" y="554"/>
                    <a:pt x="915" y="553"/>
                  </a:cubicBezTo>
                  <a:cubicBezTo>
                    <a:pt x="915" y="554"/>
                    <a:pt x="916" y="554"/>
                    <a:pt x="917" y="554"/>
                  </a:cubicBezTo>
                  <a:cubicBezTo>
                    <a:pt x="918" y="553"/>
                    <a:pt x="920" y="548"/>
                    <a:pt x="918" y="547"/>
                  </a:cubicBezTo>
                  <a:cubicBezTo>
                    <a:pt x="918" y="547"/>
                    <a:pt x="917" y="547"/>
                    <a:pt x="917" y="547"/>
                  </a:cubicBezTo>
                  <a:cubicBezTo>
                    <a:pt x="916" y="547"/>
                    <a:pt x="914" y="549"/>
                    <a:pt x="916" y="550"/>
                  </a:cubicBezTo>
                  <a:cubicBezTo>
                    <a:pt x="916" y="550"/>
                    <a:pt x="915" y="550"/>
                    <a:pt x="915" y="550"/>
                  </a:cubicBezTo>
                  <a:cubicBezTo>
                    <a:pt x="914" y="550"/>
                    <a:pt x="914" y="550"/>
                    <a:pt x="913" y="550"/>
                  </a:cubicBezTo>
                  <a:cubicBezTo>
                    <a:pt x="913" y="550"/>
                    <a:pt x="913" y="550"/>
                    <a:pt x="913" y="550"/>
                  </a:cubicBezTo>
                  <a:cubicBezTo>
                    <a:pt x="913" y="550"/>
                    <a:pt x="912" y="550"/>
                    <a:pt x="911" y="550"/>
                  </a:cubicBezTo>
                  <a:cubicBezTo>
                    <a:pt x="911" y="551"/>
                    <a:pt x="910" y="551"/>
                    <a:pt x="910" y="551"/>
                  </a:cubicBezTo>
                  <a:cubicBezTo>
                    <a:pt x="909" y="551"/>
                    <a:pt x="909" y="551"/>
                    <a:pt x="908" y="550"/>
                  </a:cubicBezTo>
                  <a:cubicBezTo>
                    <a:pt x="913" y="548"/>
                    <a:pt x="918" y="546"/>
                    <a:pt x="921" y="542"/>
                  </a:cubicBezTo>
                  <a:cubicBezTo>
                    <a:pt x="921" y="542"/>
                    <a:pt x="920" y="542"/>
                    <a:pt x="920" y="542"/>
                  </a:cubicBezTo>
                  <a:cubicBezTo>
                    <a:pt x="917" y="542"/>
                    <a:pt x="915" y="541"/>
                    <a:pt x="913" y="540"/>
                  </a:cubicBezTo>
                  <a:cubicBezTo>
                    <a:pt x="910" y="538"/>
                    <a:pt x="908" y="533"/>
                    <a:pt x="904" y="533"/>
                  </a:cubicBezTo>
                  <a:cubicBezTo>
                    <a:pt x="904" y="533"/>
                    <a:pt x="903" y="533"/>
                    <a:pt x="903" y="533"/>
                  </a:cubicBezTo>
                  <a:cubicBezTo>
                    <a:pt x="901" y="534"/>
                    <a:pt x="900" y="536"/>
                    <a:pt x="898" y="536"/>
                  </a:cubicBezTo>
                  <a:cubicBezTo>
                    <a:pt x="897" y="536"/>
                    <a:pt x="896" y="537"/>
                    <a:pt x="894" y="537"/>
                  </a:cubicBezTo>
                  <a:cubicBezTo>
                    <a:pt x="894" y="537"/>
                    <a:pt x="893" y="537"/>
                    <a:pt x="893" y="536"/>
                  </a:cubicBezTo>
                  <a:cubicBezTo>
                    <a:pt x="892" y="535"/>
                    <a:pt x="892" y="533"/>
                    <a:pt x="891" y="532"/>
                  </a:cubicBezTo>
                  <a:cubicBezTo>
                    <a:pt x="892" y="532"/>
                    <a:pt x="893" y="533"/>
                    <a:pt x="895" y="533"/>
                  </a:cubicBezTo>
                  <a:cubicBezTo>
                    <a:pt x="896" y="533"/>
                    <a:pt x="897" y="532"/>
                    <a:pt x="897" y="532"/>
                  </a:cubicBezTo>
                  <a:cubicBezTo>
                    <a:pt x="900" y="530"/>
                    <a:pt x="902" y="528"/>
                    <a:pt x="905" y="526"/>
                  </a:cubicBezTo>
                  <a:cubicBezTo>
                    <a:pt x="906" y="524"/>
                    <a:pt x="909" y="524"/>
                    <a:pt x="911" y="523"/>
                  </a:cubicBezTo>
                  <a:cubicBezTo>
                    <a:pt x="912" y="522"/>
                    <a:pt x="917" y="521"/>
                    <a:pt x="917" y="520"/>
                  </a:cubicBezTo>
                  <a:cubicBezTo>
                    <a:pt x="918" y="518"/>
                    <a:pt x="916" y="516"/>
                    <a:pt x="914" y="514"/>
                  </a:cubicBezTo>
                  <a:cubicBezTo>
                    <a:pt x="914" y="514"/>
                    <a:pt x="914" y="514"/>
                    <a:pt x="914" y="514"/>
                  </a:cubicBezTo>
                  <a:cubicBezTo>
                    <a:pt x="914" y="517"/>
                    <a:pt x="912" y="519"/>
                    <a:pt x="909" y="519"/>
                  </a:cubicBezTo>
                  <a:cubicBezTo>
                    <a:pt x="906" y="519"/>
                    <a:pt x="904" y="517"/>
                    <a:pt x="904" y="514"/>
                  </a:cubicBezTo>
                  <a:cubicBezTo>
                    <a:pt x="904" y="512"/>
                    <a:pt x="905" y="510"/>
                    <a:pt x="908" y="509"/>
                  </a:cubicBezTo>
                  <a:cubicBezTo>
                    <a:pt x="905" y="507"/>
                    <a:pt x="903" y="504"/>
                    <a:pt x="900" y="503"/>
                  </a:cubicBezTo>
                  <a:cubicBezTo>
                    <a:pt x="899" y="503"/>
                    <a:pt x="897" y="502"/>
                    <a:pt x="895" y="502"/>
                  </a:cubicBezTo>
                  <a:cubicBezTo>
                    <a:pt x="894" y="502"/>
                    <a:pt x="895" y="499"/>
                    <a:pt x="894" y="499"/>
                  </a:cubicBezTo>
                  <a:cubicBezTo>
                    <a:pt x="894" y="498"/>
                    <a:pt x="894" y="498"/>
                    <a:pt x="894" y="498"/>
                  </a:cubicBezTo>
                  <a:cubicBezTo>
                    <a:pt x="894" y="498"/>
                    <a:pt x="894" y="498"/>
                    <a:pt x="894" y="498"/>
                  </a:cubicBezTo>
                  <a:cubicBezTo>
                    <a:pt x="894" y="498"/>
                    <a:pt x="894" y="498"/>
                    <a:pt x="894" y="498"/>
                  </a:cubicBezTo>
                  <a:cubicBezTo>
                    <a:pt x="893" y="498"/>
                    <a:pt x="893" y="498"/>
                    <a:pt x="893" y="498"/>
                  </a:cubicBezTo>
                  <a:cubicBezTo>
                    <a:pt x="892" y="498"/>
                    <a:pt x="892" y="497"/>
                    <a:pt x="891" y="497"/>
                  </a:cubicBezTo>
                  <a:cubicBezTo>
                    <a:pt x="891" y="497"/>
                    <a:pt x="890" y="498"/>
                    <a:pt x="889" y="498"/>
                  </a:cubicBezTo>
                  <a:cubicBezTo>
                    <a:pt x="888" y="498"/>
                    <a:pt x="888" y="499"/>
                    <a:pt x="887" y="499"/>
                  </a:cubicBezTo>
                  <a:cubicBezTo>
                    <a:pt x="887" y="499"/>
                    <a:pt x="886" y="499"/>
                    <a:pt x="886" y="499"/>
                  </a:cubicBezTo>
                  <a:cubicBezTo>
                    <a:pt x="887" y="498"/>
                    <a:pt x="887" y="498"/>
                    <a:pt x="888" y="497"/>
                  </a:cubicBezTo>
                  <a:cubicBezTo>
                    <a:pt x="889" y="496"/>
                    <a:pt x="890" y="496"/>
                    <a:pt x="891" y="496"/>
                  </a:cubicBezTo>
                  <a:cubicBezTo>
                    <a:pt x="893" y="496"/>
                    <a:pt x="896" y="497"/>
                    <a:pt x="897" y="498"/>
                  </a:cubicBezTo>
                  <a:cubicBezTo>
                    <a:pt x="898" y="500"/>
                    <a:pt x="899" y="501"/>
                    <a:pt x="900" y="501"/>
                  </a:cubicBezTo>
                  <a:cubicBezTo>
                    <a:pt x="900" y="501"/>
                    <a:pt x="901" y="501"/>
                    <a:pt x="901" y="501"/>
                  </a:cubicBezTo>
                  <a:cubicBezTo>
                    <a:pt x="902" y="501"/>
                    <a:pt x="903" y="501"/>
                    <a:pt x="903" y="501"/>
                  </a:cubicBezTo>
                  <a:cubicBezTo>
                    <a:pt x="904" y="501"/>
                    <a:pt x="905" y="501"/>
                    <a:pt x="905" y="501"/>
                  </a:cubicBezTo>
                  <a:cubicBezTo>
                    <a:pt x="905" y="501"/>
                    <a:pt x="905" y="501"/>
                    <a:pt x="905" y="501"/>
                  </a:cubicBezTo>
                  <a:cubicBezTo>
                    <a:pt x="910" y="501"/>
                    <a:pt x="913" y="503"/>
                    <a:pt x="917" y="504"/>
                  </a:cubicBezTo>
                  <a:cubicBezTo>
                    <a:pt x="917" y="502"/>
                    <a:pt x="916" y="500"/>
                    <a:pt x="915" y="498"/>
                  </a:cubicBezTo>
                  <a:cubicBezTo>
                    <a:pt x="913" y="496"/>
                    <a:pt x="909" y="496"/>
                    <a:pt x="907" y="494"/>
                  </a:cubicBezTo>
                  <a:cubicBezTo>
                    <a:pt x="906" y="492"/>
                    <a:pt x="907" y="490"/>
                    <a:pt x="906" y="488"/>
                  </a:cubicBezTo>
                  <a:cubicBezTo>
                    <a:pt x="905" y="487"/>
                    <a:pt x="903" y="487"/>
                    <a:pt x="902" y="487"/>
                  </a:cubicBezTo>
                  <a:cubicBezTo>
                    <a:pt x="898" y="485"/>
                    <a:pt x="898" y="485"/>
                    <a:pt x="898" y="480"/>
                  </a:cubicBezTo>
                  <a:cubicBezTo>
                    <a:pt x="898" y="477"/>
                    <a:pt x="897" y="476"/>
                    <a:pt x="896" y="473"/>
                  </a:cubicBezTo>
                  <a:cubicBezTo>
                    <a:pt x="894" y="467"/>
                    <a:pt x="892" y="462"/>
                    <a:pt x="889" y="457"/>
                  </a:cubicBezTo>
                  <a:cubicBezTo>
                    <a:pt x="888" y="454"/>
                    <a:pt x="887" y="450"/>
                    <a:pt x="885" y="448"/>
                  </a:cubicBezTo>
                  <a:cubicBezTo>
                    <a:pt x="884" y="447"/>
                    <a:pt x="883" y="447"/>
                    <a:pt x="882" y="447"/>
                  </a:cubicBezTo>
                  <a:cubicBezTo>
                    <a:pt x="880" y="446"/>
                    <a:pt x="878" y="446"/>
                    <a:pt x="877" y="445"/>
                  </a:cubicBezTo>
                  <a:cubicBezTo>
                    <a:pt x="876" y="444"/>
                    <a:pt x="871" y="438"/>
                    <a:pt x="869" y="438"/>
                  </a:cubicBezTo>
                  <a:cubicBezTo>
                    <a:pt x="869" y="438"/>
                    <a:pt x="868" y="439"/>
                    <a:pt x="868" y="439"/>
                  </a:cubicBezTo>
                  <a:cubicBezTo>
                    <a:pt x="867" y="439"/>
                    <a:pt x="866" y="439"/>
                    <a:pt x="866" y="439"/>
                  </a:cubicBezTo>
                  <a:cubicBezTo>
                    <a:pt x="866" y="439"/>
                    <a:pt x="866" y="439"/>
                    <a:pt x="866" y="438"/>
                  </a:cubicBezTo>
                  <a:cubicBezTo>
                    <a:pt x="865" y="436"/>
                    <a:pt x="865" y="436"/>
                    <a:pt x="866" y="434"/>
                  </a:cubicBezTo>
                  <a:cubicBezTo>
                    <a:pt x="865" y="434"/>
                    <a:pt x="865" y="434"/>
                    <a:pt x="865" y="434"/>
                  </a:cubicBezTo>
                  <a:cubicBezTo>
                    <a:pt x="866" y="433"/>
                    <a:pt x="866" y="433"/>
                    <a:pt x="866" y="433"/>
                  </a:cubicBezTo>
                  <a:cubicBezTo>
                    <a:pt x="870" y="430"/>
                    <a:pt x="871" y="422"/>
                    <a:pt x="876" y="421"/>
                  </a:cubicBezTo>
                  <a:cubicBezTo>
                    <a:pt x="879" y="420"/>
                    <a:pt x="880" y="419"/>
                    <a:pt x="881" y="417"/>
                  </a:cubicBezTo>
                  <a:cubicBezTo>
                    <a:pt x="883" y="415"/>
                    <a:pt x="885" y="414"/>
                    <a:pt x="887" y="412"/>
                  </a:cubicBezTo>
                  <a:cubicBezTo>
                    <a:pt x="885" y="412"/>
                    <a:pt x="884" y="411"/>
                    <a:pt x="883" y="409"/>
                  </a:cubicBezTo>
                  <a:cubicBezTo>
                    <a:pt x="882" y="407"/>
                    <a:pt x="884" y="406"/>
                    <a:pt x="886" y="406"/>
                  </a:cubicBezTo>
                  <a:cubicBezTo>
                    <a:pt x="886" y="406"/>
                    <a:pt x="887" y="406"/>
                    <a:pt x="887" y="407"/>
                  </a:cubicBezTo>
                  <a:cubicBezTo>
                    <a:pt x="888" y="407"/>
                    <a:pt x="888" y="408"/>
                    <a:pt x="888" y="409"/>
                  </a:cubicBezTo>
                  <a:cubicBezTo>
                    <a:pt x="888" y="410"/>
                    <a:pt x="888" y="411"/>
                    <a:pt x="888" y="411"/>
                  </a:cubicBezTo>
                  <a:cubicBezTo>
                    <a:pt x="889" y="411"/>
                    <a:pt x="889" y="410"/>
                    <a:pt x="890" y="410"/>
                  </a:cubicBezTo>
                  <a:cubicBezTo>
                    <a:pt x="892" y="410"/>
                    <a:pt x="894" y="410"/>
                    <a:pt x="894" y="408"/>
                  </a:cubicBezTo>
                  <a:cubicBezTo>
                    <a:pt x="894" y="407"/>
                    <a:pt x="894" y="407"/>
                    <a:pt x="894" y="406"/>
                  </a:cubicBezTo>
                  <a:cubicBezTo>
                    <a:pt x="893" y="404"/>
                    <a:pt x="895" y="404"/>
                    <a:pt x="896" y="403"/>
                  </a:cubicBezTo>
                  <a:cubicBezTo>
                    <a:pt x="898" y="403"/>
                    <a:pt x="899" y="402"/>
                    <a:pt x="899" y="400"/>
                  </a:cubicBezTo>
                  <a:cubicBezTo>
                    <a:pt x="899" y="400"/>
                    <a:pt x="899" y="400"/>
                    <a:pt x="899" y="400"/>
                  </a:cubicBezTo>
                  <a:cubicBezTo>
                    <a:pt x="899" y="400"/>
                    <a:pt x="898" y="400"/>
                    <a:pt x="898" y="400"/>
                  </a:cubicBezTo>
                  <a:cubicBezTo>
                    <a:pt x="897" y="399"/>
                    <a:pt x="897" y="399"/>
                    <a:pt x="896" y="399"/>
                  </a:cubicBezTo>
                  <a:cubicBezTo>
                    <a:pt x="896" y="399"/>
                    <a:pt x="896" y="399"/>
                    <a:pt x="895" y="399"/>
                  </a:cubicBezTo>
                  <a:cubicBezTo>
                    <a:pt x="896" y="398"/>
                    <a:pt x="896" y="398"/>
                    <a:pt x="897" y="398"/>
                  </a:cubicBezTo>
                  <a:cubicBezTo>
                    <a:pt x="898" y="398"/>
                    <a:pt x="898" y="398"/>
                    <a:pt x="899" y="398"/>
                  </a:cubicBezTo>
                  <a:cubicBezTo>
                    <a:pt x="899" y="398"/>
                    <a:pt x="900" y="399"/>
                    <a:pt x="900" y="399"/>
                  </a:cubicBezTo>
                  <a:cubicBezTo>
                    <a:pt x="901" y="399"/>
                    <a:pt x="901" y="398"/>
                    <a:pt x="902" y="398"/>
                  </a:cubicBezTo>
                  <a:cubicBezTo>
                    <a:pt x="904" y="397"/>
                    <a:pt x="906" y="396"/>
                    <a:pt x="909" y="395"/>
                  </a:cubicBezTo>
                  <a:cubicBezTo>
                    <a:pt x="913" y="393"/>
                    <a:pt x="918" y="392"/>
                    <a:pt x="922" y="390"/>
                  </a:cubicBezTo>
                  <a:cubicBezTo>
                    <a:pt x="923" y="393"/>
                    <a:pt x="923" y="394"/>
                    <a:pt x="925" y="394"/>
                  </a:cubicBezTo>
                  <a:cubicBezTo>
                    <a:pt x="925" y="394"/>
                    <a:pt x="926" y="394"/>
                    <a:pt x="927" y="393"/>
                  </a:cubicBezTo>
                  <a:cubicBezTo>
                    <a:pt x="929" y="392"/>
                    <a:pt x="929" y="392"/>
                    <a:pt x="929" y="390"/>
                  </a:cubicBezTo>
                  <a:cubicBezTo>
                    <a:pt x="929" y="390"/>
                    <a:pt x="929" y="390"/>
                    <a:pt x="929" y="390"/>
                  </a:cubicBezTo>
                  <a:cubicBezTo>
                    <a:pt x="929" y="390"/>
                    <a:pt x="929" y="390"/>
                    <a:pt x="928" y="390"/>
                  </a:cubicBezTo>
                  <a:cubicBezTo>
                    <a:pt x="928" y="390"/>
                    <a:pt x="927" y="390"/>
                    <a:pt x="927" y="390"/>
                  </a:cubicBezTo>
                  <a:cubicBezTo>
                    <a:pt x="927" y="390"/>
                    <a:pt x="927" y="390"/>
                    <a:pt x="927" y="389"/>
                  </a:cubicBezTo>
                  <a:cubicBezTo>
                    <a:pt x="928" y="388"/>
                    <a:pt x="934" y="383"/>
                    <a:pt x="932" y="381"/>
                  </a:cubicBezTo>
                  <a:cubicBezTo>
                    <a:pt x="932" y="381"/>
                    <a:pt x="931" y="381"/>
                    <a:pt x="931" y="381"/>
                  </a:cubicBezTo>
                  <a:cubicBezTo>
                    <a:pt x="930" y="381"/>
                    <a:pt x="929" y="381"/>
                    <a:pt x="928" y="381"/>
                  </a:cubicBezTo>
                  <a:cubicBezTo>
                    <a:pt x="928" y="381"/>
                    <a:pt x="928" y="381"/>
                    <a:pt x="928" y="381"/>
                  </a:cubicBezTo>
                  <a:cubicBezTo>
                    <a:pt x="927" y="381"/>
                    <a:pt x="927" y="381"/>
                    <a:pt x="927" y="381"/>
                  </a:cubicBezTo>
                  <a:cubicBezTo>
                    <a:pt x="924" y="381"/>
                    <a:pt x="923" y="379"/>
                    <a:pt x="920" y="378"/>
                  </a:cubicBezTo>
                  <a:cubicBezTo>
                    <a:pt x="920" y="379"/>
                    <a:pt x="919" y="380"/>
                    <a:pt x="918" y="381"/>
                  </a:cubicBezTo>
                  <a:cubicBezTo>
                    <a:pt x="918" y="380"/>
                    <a:pt x="917" y="380"/>
                    <a:pt x="916" y="380"/>
                  </a:cubicBezTo>
                  <a:cubicBezTo>
                    <a:pt x="916" y="380"/>
                    <a:pt x="915" y="380"/>
                    <a:pt x="914" y="380"/>
                  </a:cubicBezTo>
                  <a:cubicBezTo>
                    <a:pt x="913" y="380"/>
                    <a:pt x="912" y="381"/>
                    <a:pt x="911" y="381"/>
                  </a:cubicBezTo>
                  <a:cubicBezTo>
                    <a:pt x="911" y="381"/>
                    <a:pt x="911" y="381"/>
                    <a:pt x="911" y="381"/>
                  </a:cubicBezTo>
                  <a:cubicBezTo>
                    <a:pt x="908" y="380"/>
                    <a:pt x="905" y="378"/>
                    <a:pt x="903" y="377"/>
                  </a:cubicBezTo>
                  <a:cubicBezTo>
                    <a:pt x="900" y="376"/>
                    <a:pt x="898" y="374"/>
                    <a:pt x="896" y="373"/>
                  </a:cubicBezTo>
                  <a:cubicBezTo>
                    <a:pt x="896" y="372"/>
                    <a:pt x="895" y="372"/>
                    <a:pt x="895" y="372"/>
                  </a:cubicBezTo>
                  <a:cubicBezTo>
                    <a:pt x="893" y="372"/>
                    <a:pt x="892" y="373"/>
                    <a:pt x="890" y="374"/>
                  </a:cubicBezTo>
                  <a:cubicBezTo>
                    <a:pt x="888" y="374"/>
                    <a:pt x="885" y="374"/>
                    <a:pt x="886" y="377"/>
                  </a:cubicBezTo>
                  <a:cubicBezTo>
                    <a:pt x="886" y="379"/>
                    <a:pt x="882" y="381"/>
                    <a:pt x="881" y="382"/>
                  </a:cubicBezTo>
                  <a:cubicBezTo>
                    <a:pt x="879" y="383"/>
                    <a:pt x="875" y="387"/>
                    <a:pt x="873" y="387"/>
                  </a:cubicBezTo>
                  <a:cubicBezTo>
                    <a:pt x="873" y="387"/>
                    <a:pt x="873" y="387"/>
                    <a:pt x="872" y="387"/>
                  </a:cubicBezTo>
                  <a:cubicBezTo>
                    <a:pt x="870" y="387"/>
                    <a:pt x="866" y="385"/>
                    <a:pt x="865" y="385"/>
                  </a:cubicBezTo>
                  <a:cubicBezTo>
                    <a:pt x="861" y="383"/>
                    <a:pt x="861" y="384"/>
                    <a:pt x="862" y="380"/>
                  </a:cubicBezTo>
                  <a:cubicBezTo>
                    <a:pt x="862" y="378"/>
                    <a:pt x="864" y="375"/>
                    <a:pt x="864" y="372"/>
                  </a:cubicBezTo>
                  <a:cubicBezTo>
                    <a:pt x="864" y="370"/>
                    <a:pt x="862" y="365"/>
                    <a:pt x="859" y="364"/>
                  </a:cubicBezTo>
                  <a:cubicBezTo>
                    <a:pt x="858" y="364"/>
                    <a:pt x="858" y="364"/>
                    <a:pt x="857" y="364"/>
                  </a:cubicBezTo>
                  <a:cubicBezTo>
                    <a:pt x="856" y="364"/>
                    <a:pt x="855" y="364"/>
                    <a:pt x="855" y="365"/>
                  </a:cubicBezTo>
                  <a:cubicBezTo>
                    <a:pt x="854" y="365"/>
                    <a:pt x="855" y="366"/>
                    <a:pt x="855" y="367"/>
                  </a:cubicBezTo>
                  <a:cubicBezTo>
                    <a:pt x="855" y="367"/>
                    <a:pt x="854" y="367"/>
                    <a:pt x="854" y="368"/>
                  </a:cubicBezTo>
                  <a:cubicBezTo>
                    <a:pt x="853" y="367"/>
                    <a:pt x="852" y="366"/>
                    <a:pt x="850" y="365"/>
                  </a:cubicBezTo>
                  <a:cubicBezTo>
                    <a:pt x="850" y="365"/>
                    <a:pt x="850" y="365"/>
                    <a:pt x="850" y="365"/>
                  </a:cubicBezTo>
                  <a:cubicBezTo>
                    <a:pt x="850" y="365"/>
                    <a:pt x="850" y="365"/>
                    <a:pt x="849" y="365"/>
                  </a:cubicBezTo>
                  <a:cubicBezTo>
                    <a:pt x="849" y="365"/>
                    <a:pt x="849" y="365"/>
                    <a:pt x="849" y="365"/>
                  </a:cubicBezTo>
                  <a:cubicBezTo>
                    <a:pt x="848" y="365"/>
                    <a:pt x="848" y="365"/>
                    <a:pt x="847" y="365"/>
                  </a:cubicBezTo>
                  <a:cubicBezTo>
                    <a:pt x="845" y="364"/>
                    <a:pt x="843" y="364"/>
                    <a:pt x="842" y="363"/>
                  </a:cubicBezTo>
                  <a:cubicBezTo>
                    <a:pt x="839" y="362"/>
                    <a:pt x="834" y="356"/>
                    <a:pt x="834" y="354"/>
                  </a:cubicBezTo>
                  <a:cubicBezTo>
                    <a:pt x="835" y="351"/>
                    <a:pt x="836" y="346"/>
                    <a:pt x="838" y="344"/>
                  </a:cubicBezTo>
                  <a:cubicBezTo>
                    <a:pt x="839" y="343"/>
                    <a:pt x="839" y="342"/>
                    <a:pt x="840" y="342"/>
                  </a:cubicBezTo>
                  <a:cubicBezTo>
                    <a:pt x="841" y="342"/>
                    <a:pt x="841" y="342"/>
                    <a:pt x="842" y="342"/>
                  </a:cubicBezTo>
                  <a:cubicBezTo>
                    <a:pt x="845" y="342"/>
                    <a:pt x="846" y="345"/>
                    <a:pt x="849" y="345"/>
                  </a:cubicBezTo>
                  <a:cubicBezTo>
                    <a:pt x="849" y="345"/>
                    <a:pt x="849" y="345"/>
                    <a:pt x="849" y="345"/>
                  </a:cubicBezTo>
                  <a:cubicBezTo>
                    <a:pt x="851" y="345"/>
                    <a:pt x="853" y="344"/>
                    <a:pt x="855" y="344"/>
                  </a:cubicBezTo>
                  <a:cubicBezTo>
                    <a:pt x="857" y="344"/>
                    <a:pt x="859" y="344"/>
                    <a:pt x="861" y="343"/>
                  </a:cubicBezTo>
                  <a:cubicBezTo>
                    <a:pt x="862" y="342"/>
                    <a:pt x="862" y="341"/>
                    <a:pt x="863" y="341"/>
                  </a:cubicBezTo>
                  <a:cubicBezTo>
                    <a:pt x="864" y="339"/>
                    <a:pt x="867" y="337"/>
                    <a:pt x="867" y="334"/>
                  </a:cubicBezTo>
                  <a:cubicBezTo>
                    <a:pt x="868" y="330"/>
                    <a:pt x="870" y="327"/>
                    <a:pt x="874" y="325"/>
                  </a:cubicBezTo>
                  <a:cubicBezTo>
                    <a:pt x="880" y="323"/>
                    <a:pt x="884" y="321"/>
                    <a:pt x="889" y="318"/>
                  </a:cubicBezTo>
                  <a:cubicBezTo>
                    <a:pt x="893" y="315"/>
                    <a:pt x="895" y="310"/>
                    <a:pt x="899" y="307"/>
                  </a:cubicBezTo>
                  <a:cubicBezTo>
                    <a:pt x="901" y="305"/>
                    <a:pt x="902" y="304"/>
                    <a:pt x="904" y="304"/>
                  </a:cubicBezTo>
                  <a:cubicBezTo>
                    <a:pt x="904" y="304"/>
                    <a:pt x="905" y="304"/>
                    <a:pt x="906" y="304"/>
                  </a:cubicBezTo>
                  <a:cubicBezTo>
                    <a:pt x="907" y="304"/>
                    <a:pt x="908" y="304"/>
                    <a:pt x="909" y="304"/>
                  </a:cubicBezTo>
                  <a:cubicBezTo>
                    <a:pt x="911" y="304"/>
                    <a:pt x="912" y="304"/>
                    <a:pt x="914" y="304"/>
                  </a:cubicBezTo>
                  <a:cubicBezTo>
                    <a:pt x="915" y="303"/>
                    <a:pt x="915" y="302"/>
                    <a:pt x="916" y="301"/>
                  </a:cubicBezTo>
                  <a:cubicBezTo>
                    <a:pt x="916" y="304"/>
                    <a:pt x="916" y="305"/>
                    <a:pt x="918" y="306"/>
                  </a:cubicBezTo>
                  <a:cubicBezTo>
                    <a:pt x="921" y="308"/>
                    <a:pt x="923" y="308"/>
                    <a:pt x="924" y="311"/>
                  </a:cubicBezTo>
                  <a:cubicBezTo>
                    <a:pt x="924" y="311"/>
                    <a:pt x="925" y="312"/>
                    <a:pt x="925" y="312"/>
                  </a:cubicBezTo>
                  <a:cubicBezTo>
                    <a:pt x="925" y="313"/>
                    <a:pt x="923" y="315"/>
                    <a:pt x="922" y="315"/>
                  </a:cubicBezTo>
                  <a:cubicBezTo>
                    <a:pt x="921" y="318"/>
                    <a:pt x="919" y="320"/>
                    <a:pt x="917" y="322"/>
                  </a:cubicBezTo>
                  <a:cubicBezTo>
                    <a:pt x="915" y="324"/>
                    <a:pt x="915" y="325"/>
                    <a:pt x="914" y="326"/>
                  </a:cubicBezTo>
                  <a:cubicBezTo>
                    <a:pt x="913" y="326"/>
                    <a:pt x="910" y="326"/>
                    <a:pt x="909" y="328"/>
                  </a:cubicBezTo>
                  <a:cubicBezTo>
                    <a:pt x="908" y="329"/>
                    <a:pt x="909" y="331"/>
                    <a:pt x="908" y="332"/>
                  </a:cubicBezTo>
                  <a:cubicBezTo>
                    <a:pt x="908" y="333"/>
                    <a:pt x="907" y="332"/>
                    <a:pt x="907" y="333"/>
                  </a:cubicBezTo>
                  <a:cubicBezTo>
                    <a:pt x="906" y="333"/>
                    <a:pt x="905" y="333"/>
                    <a:pt x="904" y="334"/>
                  </a:cubicBezTo>
                  <a:cubicBezTo>
                    <a:pt x="907" y="337"/>
                    <a:pt x="909" y="337"/>
                    <a:pt x="912" y="337"/>
                  </a:cubicBezTo>
                  <a:cubicBezTo>
                    <a:pt x="913" y="337"/>
                    <a:pt x="915" y="337"/>
                    <a:pt x="918" y="337"/>
                  </a:cubicBezTo>
                  <a:cubicBezTo>
                    <a:pt x="917" y="337"/>
                    <a:pt x="912" y="339"/>
                    <a:pt x="912" y="340"/>
                  </a:cubicBezTo>
                  <a:cubicBezTo>
                    <a:pt x="911" y="341"/>
                    <a:pt x="913" y="342"/>
                    <a:pt x="913" y="343"/>
                  </a:cubicBezTo>
                  <a:cubicBezTo>
                    <a:pt x="913" y="345"/>
                    <a:pt x="909" y="344"/>
                    <a:pt x="908" y="345"/>
                  </a:cubicBezTo>
                  <a:cubicBezTo>
                    <a:pt x="906" y="346"/>
                    <a:pt x="905" y="347"/>
                    <a:pt x="904" y="347"/>
                  </a:cubicBezTo>
                  <a:cubicBezTo>
                    <a:pt x="904" y="347"/>
                    <a:pt x="904" y="347"/>
                    <a:pt x="904" y="347"/>
                  </a:cubicBezTo>
                  <a:cubicBezTo>
                    <a:pt x="904" y="347"/>
                    <a:pt x="904" y="347"/>
                    <a:pt x="903" y="347"/>
                  </a:cubicBezTo>
                  <a:cubicBezTo>
                    <a:pt x="903" y="347"/>
                    <a:pt x="903" y="347"/>
                    <a:pt x="903" y="347"/>
                  </a:cubicBezTo>
                  <a:cubicBezTo>
                    <a:pt x="903" y="347"/>
                    <a:pt x="902" y="347"/>
                    <a:pt x="902" y="347"/>
                  </a:cubicBezTo>
                  <a:cubicBezTo>
                    <a:pt x="901" y="348"/>
                    <a:pt x="903" y="351"/>
                    <a:pt x="904" y="352"/>
                  </a:cubicBezTo>
                  <a:cubicBezTo>
                    <a:pt x="911" y="348"/>
                    <a:pt x="918" y="343"/>
                    <a:pt x="925" y="338"/>
                  </a:cubicBezTo>
                  <a:cubicBezTo>
                    <a:pt x="928" y="336"/>
                    <a:pt x="931" y="334"/>
                    <a:pt x="934" y="333"/>
                  </a:cubicBezTo>
                  <a:cubicBezTo>
                    <a:pt x="936" y="331"/>
                    <a:pt x="939" y="330"/>
                    <a:pt x="942" y="329"/>
                  </a:cubicBezTo>
                  <a:cubicBezTo>
                    <a:pt x="943" y="328"/>
                    <a:pt x="944" y="328"/>
                    <a:pt x="945" y="328"/>
                  </a:cubicBezTo>
                  <a:cubicBezTo>
                    <a:pt x="946" y="328"/>
                    <a:pt x="946" y="328"/>
                    <a:pt x="946" y="328"/>
                  </a:cubicBezTo>
                  <a:cubicBezTo>
                    <a:pt x="947" y="328"/>
                    <a:pt x="947" y="328"/>
                    <a:pt x="948" y="328"/>
                  </a:cubicBezTo>
                  <a:cubicBezTo>
                    <a:pt x="948" y="328"/>
                    <a:pt x="948" y="328"/>
                    <a:pt x="949" y="328"/>
                  </a:cubicBezTo>
                  <a:cubicBezTo>
                    <a:pt x="952" y="328"/>
                    <a:pt x="955" y="328"/>
                    <a:pt x="958" y="328"/>
                  </a:cubicBezTo>
                  <a:cubicBezTo>
                    <a:pt x="960" y="327"/>
                    <a:pt x="961" y="325"/>
                    <a:pt x="963" y="324"/>
                  </a:cubicBezTo>
                  <a:cubicBezTo>
                    <a:pt x="961" y="323"/>
                    <a:pt x="961" y="323"/>
                    <a:pt x="961" y="323"/>
                  </a:cubicBezTo>
                  <a:cubicBezTo>
                    <a:pt x="962" y="322"/>
                    <a:pt x="962" y="322"/>
                    <a:pt x="962" y="322"/>
                  </a:cubicBezTo>
                  <a:cubicBezTo>
                    <a:pt x="962" y="321"/>
                    <a:pt x="964" y="319"/>
                    <a:pt x="964" y="319"/>
                  </a:cubicBezTo>
                  <a:cubicBezTo>
                    <a:pt x="964" y="319"/>
                    <a:pt x="964" y="319"/>
                    <a:pt x="964" y="319"/>
                  </a:cubicBezTo>
                  <a:cubicBezTo>
                    <a:pt x="968" y="316"/>
                    <a:pt x="968" y="316"/>
                    <a:pt x="968" y="316"/>
                  </a:cubicBezTo>
                  <a:cubicBezTo>
                    <a:pt x="973" y="313"/>
                    <a:pt x="977" y="310"/>
                    <a:pt x="982" y="308"/>
                  </a:cubicBezTo>
                  <a:cubicBezTo>
                    <a:pt x="983" y="307"/>
                    <a:pt x="984" y="306"/>
                    <a:pt x="985" y="305"/>
                  </a:cubicBezTo>
                  <a:cubicBezTo>
                    <a:pt x="986" y="304"/>
                    <a:pt x="986" y="304"/>
                    <a:pt x="986" y="304"/>
                  </a:cubicBezTo>
                  <a:cubicBezTo>
                    <a:pt x="988" y="302"/>
                    <a:pt x="990" y="302"/>
                    <a:pt x="991" y="302"/>
                  </a:cubicBezTo>
                  <a:cubicBezTo>
                    <a:pt x="992" y="302"/>
                    <a:pt x="993" y="302"/>
                    <a:pt x="994" y="301"/>
                  </a:cubicBezTo>
                  <a:cubicBezTo>
                    <a:pt x="994" y="301"/>
                    <a:pt x="994" y="301"/>
                    <a:pt x="994" y="301"/>
                  </a:cubicBezTo>
                  <a:cubicBezTo>
                    <a:pt x="994" y="301"/>
                    <a:pt x="995" y="301"/>
                    <a:pt x="995" y="299"/>
                  </a:cubicBezTo>
                  <a:cubicBezTo>
                    <a:pt x="996" y="299"/>
                    <a:pt x="996" y="298"/>
                    <a:pt x="997" y="298"/>
                  </a:cubicBezTo>
                  <a:cubicBezTo>
                    <a:pt x="1000" y="295"/>
                    <a:pt x="1003" y="291"/>
                    <a:pt x="1005" y="286"/>
                  </a:cubicBezTo>
                  <a:cubicBezTo>
                    <a:pt x="1006" y="285"/>
                    <a:pt x="1006" y="284"/>
                    <a:pt x="1007" y="283"/>
                  </a:cubicBezTo>
                  <a:cubicBezTo>
                    <a:pt x="1004" y="279"/>
                    <a:pt x="1004" y="279"/>
                    <a:pt x="1004" y="279"/>
                  </a:cubicBezTo>
                  <a:cubicBezTo>
                    <a:pt x="1008" y="282"/>
                    <a:pt x="1008" y="282"/>
                    <a:pt x="1008" y="282"/>
                  </a:cubicBezTo>
                  <a:cubicBezTo>
                    <a:pt x="1009" y="282"/>
                    <a:pt x="1009" y="282"/>
                    <a:pt x="1009" y="282"/>
                  </a:cubicBezTo>
                  <a:cubicBezTo>
                    <a:pt x="1009" y="281"/>
                    <a:pt x="1009" y="281"/>
                    <a:pt x="1009" y="281"/>
                  </a:cubicBezTo>
                  <a:cubicBezTo>
                    <a:pt x="1010" y="281"/>
                    <a:pt x="1011" y="281"/>
                    <a:pt x="1012" y="281"/>
                  </a:cubicBezTo>
                  <a:cubicBezTo>
                    <a:pt x="1012" y="281"/>
                    <a:pt x="1012" y="281"/>
                    <a:pt x="1012" y="281"/>
                  </a:cubicBezTo>
                  <a:cubicBezTo>
                    <a:pt x="1013" y="281"/>
                    <a:pt x="1013" y="281"/>
                    <a:pt x="1013" y="281"/>
                  </a:cubicBezTo>
                  <a:cubicBezTo>
                    <a:pt x="1013" y="281"/>
                    <a:pt x="1014" y="281"/>
                    <a:pt x="1014" y="281"/>
                  </a:cubicBezTo>
                  <a:cubicBezTo>
                    <a:pt x="1015" y="282"/>
                    <a:pt x="1015" y="282"/>
                    <a:pt x="1015" y="282"/>
                  </a:cubicBezTo>
                  <a:cubicBezTo>
                    <a:pt x="1016" y="283"/>
                    <a:pt x="1017" y="284"/>
                    <a:pt x="1018" y="285"/>
                  </a:cubicBezTo>
                  <a:cubicBezTo>
                    <a:pt x="1019" y="286"/>
                    <a:pt x="1019" y="287"/>
                    <a:pt x="1020" y="288"/>
                  </a:cubicBezTo>
                  <a:cubicBezTo>
                    <a:pt x="1021" y="288"/>
                    <a:pt x="1021" y="288"/>
                    <a:pt x="1021" y="288"/>
                  </a:cubicBezTo>
                  <a:cubicBezTo>
                    <a:pt x="1022" y="289"/>
                    <a:pt x="1026" y="289"/>
                    <a:pt x="1028" y="289"/>
                  </a:cubicBezTo>
                  <a:cubicBezTo>
                    <a:pt x="1030" y="289"/>
                    <a:pt x="1030" y="289"/>
                    <a:pt x="1030" y="289"/>
                  </a:cubicBezTo>
                  <a:cubicBezTo>
                    <a:pt x="1031" y="290"/>
                    <a:pt x="1033" y="290"/>
                    <a:pt x="1034" y="290"/>
                  </a:cubicBezTo>
                  <a:cubicBezTo>
                    <a:pt x="1034" y="290"/>
                    <a:pt x="1034" y="290"/>
                    <a:pt x="1035" y="290"/>
                  </a:cubicBezTo>
                  <a:cubicBezTo>
                    <a:pt x="1036" y="290"/>
                    <a:pt x="1036" y="290"/>
                    <a:pt x="1036" y="290"/>
                  </a:cubicBezTo>
                  <a:cubicBezTo>
                    <a:pt x="1036" y="290"/>
                    <a:pt x="1036" y="290"/>
                    <a:pt x="1036" y="290"/>
                  </a:cubicBezTo>
                  <a:cubicBezTo>
                    <a:pt x="1036" y="289"/>
                    <a:pt x="1036" y="289"/>
                    <a:pt x="1036" y="288"/>
                  </a:cubicBezTo>
                  <a:cubicBezTo>
                    <a:pt x="1036" y="288"/>
                    <a:pt x="1036" y="288"/>
                    <a:pt x="1036" y="288"/>
                  </a:cubicBezTo>
                  <a:cubicBezTo>
                    <a:pt x="1036" y="288"/>
                    <a:pt x="1036" y="288"/>
                    <a:pt x="1036" y="288"/>
                  </a:cubicBezTo>
                  <a:cubicBezTo>
                    <a:pt x="1035" y="287"/>
                    <a:pt x="1035" y="287"/>
                    <a:pt x="1035" y="287"/>
                  </a:cubicBezTo>
                  <a:cubicBezTo>
                    <a:pt x="1033" y="284"/>
                    <a:pt x="1032" y="282"/>
                    <a:pt x="1032" y="279"/>
                  </a:cubicBezTo>
                  <a:cubicBezTo>
                    <a:pt x="1032" y="276"/>
                    <a:pt x="1032" y="276"/>
                    <a:pt x="1032" y="276"/>
                  </a:cubicBezTo>
                  <a:cubicBezTo>
                    <a:pt x="1043" y="275"/>
                    <a:pt x="1043" y="275"/>
                    <a:pt x="1043" y="275"/>
                  </a:cubicBezTo>
                  <a:cubicBezTo>
                    <a:pt x="1044" y="275"/>
                    <a:pt x="1045" y="275"/>
                    <a:pt x="1046" y="275"/>
                  </a:cubicBezTo>
                  <a:cubicBezTo>
                    <a:pt x="1048" y="275"/>
                    <a:pt x="1050" y="275"/>
                    <a:pt x="1052" y="274"/>
                  </a:cubicBezTo>
                  <a:cubicBezTo>
                    <a:pt x="1052" y="274"/>
                    <a:pt x="1053" y="273"/>
                    <a:pt x="1054" y="272"/>
                  </a:cubicBezTo>
                  <a:cubicBezTo>
                    <a:pt x="1053" y="272"/>
                    <a:pt x="1053" y="272"/>
                    <a:pt x="1053" y="272"/>
                  </a:cubicBezTo>
                  <a:cubicBezTo>
                    <a:pt x="1054" y="270"/>
                    <a:pt x="1054" y="270"/>
                    <a:pt x="1054" y="270"/>
                  </a:cubicBezTo>
                  <a:cubicBezTo>
                    <a:pt x="1055" y="268"/>
                    <a:pt x="1057" y="266"/>
                    <a:pt x="1060" y="265"/>
                  </a:cubicBezTo>
                  <a:cubicBezTo>
                    <a:pt x="1060" y="265"/>
                    <a:pt x="1060" y="265"/>
                    <a:pt x="1060" y="265"/>
                  </a:cubicBezTo>
                  <a:cubicBezTo>
                    <a:pt x="1062" y="265"/>
                    <a:pt x="1063" y="264"/>
                    <a:pt x="1064" y="264"/>
                  </a:cubicBezTo>
                  <a:cubicBezTo>
                    <a:pt x="1064" y="264"/>
                    <a:pt x="1064" y="264"/>
                    <a:pt x="1064" y="264"/>
                  </a:cubicBezTo>
                  <a:cubicBezTo>
                    <a:pt x="1065" y="263"/>
                    <a:pt x="1065" y="263"/>
                    <a:pt x="1065" y="263"/>
                  </a:cubicBezTo>
                  <a:cubicBezTo>
                    <a:pt x="1065" y="262"/>
                    <a:pt x="1065" y="262"/>
                    <a:pt x="1065" y="262"/>
                  </a:cubicBezTo>
                  <a:cubicBezTo>
                    <a:pt x="1065" y="260"/>
                    <a:pt x="1065" y="256"/>
                    <a:pt x="1067" y="254"/>
                  </a:cubicBezTo>
                  <a:cubicBezTo>
                    <a:pt x="1068" y="254"/>
                    <a:pt x="1068" y="254"/>
                    <a:pt x="1068" y="254"/>
                  </a:cubicBezTo>
                  <a:cubicBezTo>
                    <a:pt x="1068" y="253"/>
                    <a:pt x="1069" y="253"/>
                    <a:pt x="1070" y="253"/>
                  </a:cubicBezTo>
                  <a:cubicBezTo>
                    <a:pt x="1071" y="253"/>
                    <a:pt x="1072" y="253"/>
                    <a:pt x="1073" y="253"/>
                  </a:cubicBezTo>
                  <a:cubicBezTo>
                    <a:pt x="1073" y="253"/>
                    <a:pt x="1076" y="254"/>
                    <a:pt x="1077" y="256"/>
                  </a:cubicBezTo>
                  <a:cubicBezTo>
                    <a:pt x="1078" y="257"/>
                    <a:pt x="1078" y="258"/>
                    <a:pt x="1079" y="259"/>
                  </a:cubicBezTo>
                  <a:cubicBezTo>
                    <a:pt x="1079" y="260"/>
                    <a:pt x="1079" y="260"/>
                    <a:pt x="1079" y="260"/>
                  </a:cubicBezTo>
                  <a:cubicBezTo>
                    <a:pt x="1082" y="258"/>
                    <a:pt x="1085" y="257"/>
                    <a:pt x="1088" y="256"/>
                  </a:cubicBezTo>
                  <a:cubicBezTo>
                    <a:pt x="1090" y="256"/>
                    <a:pt x="1091" y="256"/>
                    <a:pt x="1092" y="253"/>
                  </a:cubicBezTo>
                  <a:cubicBezTo>
                    <a:pt x="1092" y="251"/>
                    <a:pt x="1092" y="251"/>
                    <a:pt x="1092" y="251"/>
                  </a:cubicBezTo>
                  <a:cubicBezTo>
                    <a:pt x="1093" y="249"/>
                    <a:pt x="1094" y="246"/>
                    <a:pt x="1093" y="244"/>
                  </a:cubicBezTo>
                  <a:cubicBezTo>
                    <a:pt x="1093" y="243"/>
                    <a:pt x="1093" y="242"/>
                    <a:pt x="1093" y="241"/>
                  </a:cubicBezTo>
                  <a:cubicBezTo>
                    <a:pt x="1093" y="240"/>
                    <a:pt x="1093" y="240"/>
                    <a:pt x="1093" y="240"/>
                  </a:cubicBezTo>
                  <a:cubicBezTo>
                    <a:pt x="1093" y="237"/>
                    <a:pt x="1093" y="235"/>
                    <a:pt x="1093" y="232"/>
                  </a:cubicBezTo>
                  <a:cubicBezTo>
                    <a:pt x="1093" y="225"/>
                    <a:pt x="1091" y="219"/>
                    <a:pt x="1088" y="213"/>
                  </a:cubicBezTo>
                  <a:cubicBezTo>
                    <a:pt x="1087" y="211"/>
                    <a:pt x="1087" y="211"/>
                    <a:pt x="1087" y="211"/>
                  </a:cubicBezTo>
                  <a:cubicBezTo>
                    <a:pt x="1090" y="210"/>
                    <a:pt x="1090" y="210"/>
                    <a:pt x="1090" y="210"/>
                  </a:cubicBezTo>
                  <a:cubicBezTo>
                    <a:pt x="1090" y="209"/>
                    <a:pt x="1091" y="209"/>
                    <a:pt x="1092" y="209"/>
                  </a:cubicBezTo>
                  <a:cubicBezTo>
                    <a:pt x="1094" y="209"/>
                    <a:pt x="1097" y="208"/>
                    <a:pt x="1098" y="207"/>
                  </a:cubicBezTo>
                  <a:cubicBezTo>
                    <a:pt x="1099" y="206"/>
                    <a:pt x="1099" y="206"/>
                    <a:pt x="1099" y="206"/>
                  </a:cubicBezTo>
                  <a:cubicBezTo>
                    <a:pt x="1101" y="205"/>
                    <a:pt x="1102" y="204"/>
                    <a:pt x="1103" y="202"/>
                  </a:cubicBezTo>
                  <a:cubicBezTo>
                    <a:pt x="1103" y="201"/>
                    <a:pt x="1103" y="201"/>
                    <a:pt x="1103" y="201"/>
                  </a:cubicBezTo>
                  <a:cubicBezTo>
                    <a:pt x="1104" y="200"/>
                    <a:pt x="1105" y="199"/>
                    <a:pt x="1107" y="198"/>
                  </a:cubicBezTo>
                  <a:cubicBezTo>
                    <a:pt x="1107" y="198"/>
                    <a:pt x="1107" y="198"/>
                    <a:pt x="1107" y="198"/>
                  </a:cubicBezTo>
                  <a:cubicBezTo>
                    <a:pt x="1107" y="198"/>
                    <a:pt x="1107" y="198"/>
                    <a:pt x="1107" y="198"/>
                  </a:cubicBezTo>
                  <a:cubicBezTo>
                    <a:pt x="1108" y="199"/>
                    <a:pt x="1108" y="199"/>
                    <a:pt x="1109" y="199"/>
                  </a:cubicBezTo>
                  <a:cubicBezTo>
                    <a:pt x="1109" y="199"/>
                    <a:pt x="1110" y="200"/>
                    <a:pt x="1110" y="200"/>
                  </a:cubicBezTo>
                  <a:cubicBezTo>
                    <a:pt x="1111" y="201"/>
                    <a:pt x="1111" y="201"/>
                    <a:pt x="1111" y="201"/>
                  </a:cubicBezTo>
                  <a:cubicBezTo>
                    <a:pt x="1112" y="202"/>
                    <a:pt x="1115" y="202"/>
                    <a:pt x="1116" y="202"/>
                  </a:cubicBezTo>
                  <a:cubicBezTo>
                    <a:pt x="1117" y="203"/>
                    <a:pt x="1117" y="203"/>
                    <a:pt x="1117" y="203"/>
                  </a:cubicBezTo>
                  <a:cubicBezTo>
                    <a:pt x="1117" y="203"/>
                    <a:pt x="1118" y="203"/>
                    <a:pt x="1118" y="203"/>
                  </a:cubicBezTo>
                  <a:cubicBezTo>
                    <a:pt x="1119" y="203"/>
                    <a:pt x="1119" y="203"/>
                    <a:pt x="1119" y="203"/>
                  </a:cubicBezTo>
                  <a:cubicBezTo>
                    <a:pt x="1119" y="203"/>
                    <a:pt x="1120" y="203"/>
                    <a:pt x="1121" y="204"/>
                  </a:cubicBezTo>
                  <a:cubicBezTo>
                    <a:pt x="1124" y="205"/>
                    <a:pt x="1125" y="205"/>
                    <a:pt x="1125" y="205"/>
                  </a:cubicBezTo>
                  <a:cubicBezTo>
                    <a:pt x="1125" y="205"/>
                    <a:pt x="1125" y="205"/>
                    <a:pt x="1125" y="205"/>
                  </a:cubicBezTo>
                  <a:cubicBezTo>
                    <a:pt x="1126" y="205"/>
                    <a:pt x="1126" y="205"/>
                    <a:pt x="1126" y="205"/>
                  </a:cubicBezTo>
                  <a:cubicBezTo>
                    <a:pt x="1126" y="205"/>
                    <a:pt x="1126" y="205"/>
                    <a:pt x="1126" y="205"/>
                  </a:cubicBezTo>
                  <a:cubicBezTo>
                    <a:pt x="1127" y="205"/>
                    <a:pt x="1128" y="204"/>
                    <a:pt x="1128" y="204"/>
                  </a:cubicBezTo>
                  <a:cubicBezTo>
                    <a:pt x="1128" y="203"/>
                    <a:pt x="1128" y="203"/>
                    <a:pt x="1128" y="203"/>
                  </a:cubicBezTo>
                  <a:cubicBezTo>
                    <a:pt x="1128" y="202"/>
                    <a:pt x="1128" y="201"/>
                    <a:pt x="1128" y="200"/>
                  </a:cubicBezTo>
                  <a:cubicBezTo>
                    <a:pt x="1129" y="200"/>
                    <a:pt x="1129" y="200"/>
                    <a:pt x="1129" y="200"/>
                  </a:cubicBezTo>
                  <a:cubicBezTo>
                    <a:pt x="1129" y="198"/>
                    <a:pt x="1130" y="197"/>
                    <a:pt x="1131" y="196"/>
                  </a:cubicBezTo>
                  <a:cubicBezTo>
                    <a:pt x="1132" y="195"/>
                    <a:pt x="1132" y="195"/>
                    <a:pt x="1132" y="195"/>
                  </a:cubicBezTo>
                  <a:cubicBezTo>
                    <a:pt x="1133" y="194"/>
                    <a:pt x="1134" y="194"/>
                    <a:pt x="1135" y="193"/>
                  </a:cubicBezTo>
                  <a:cubicBezTo>
                    <a:pt x="1135" y="192"/>
                    <a:pt x="1135" y="192"/>
                    <a:pt x="1135" y="192"/>
                  </a:cubicBezTo>
                  <a:cubicBezTo>
                    <a:pt x="1136" y="192"/>
                    <a:pt x="1136" y="192"/>
                    <a:pt x="1136" y="192"/>
                  </a:cubicBezTo>
                  <a:cubicBezTo>
                    <a:pt x="1136" y="191"/>
                    <a:pt x="1136" y="191"/>
                    <a:pt x="1136" y="191"/>
                  </a:cubicBezTo>
                  <a:cubicBezTo>
                    <a:pt x="1136" y="189"/>
                    <a:pt x="1136" y="188"/>
                    <a:pt x="1138" y="186"/>
                  </a:cubicBezTo>
                  <a:cubicBezTo>
                    <a:pt x="1138" y="185"/>
                    <a:pt x="1139" y="184"/>
                    <a:pt x="1139" y="184"/>
                  </a:cubicBezTo>
                  <a:cubicBezTo>
                    <a:pt x="1140" y="183"/>
                    <a:pt x="1142" y="180"/>
                    <a:pt x="1142" y="180"/>
                  </a:cubicBezTo>
                  <a:cubicBezTo>
                    <a:pt x="1142" y="179"/>
                    <a:pt x="1142" y="179"/>
                    <a:pt x="1142" y="179"/>
                  </a:cubicBezTo>
                  <a:cubicBezTo>
                    <a:pt x="1143" y="178"/>
                    <a:pt x="1143" y="176"/>
                    <a:pt x="1143" y="174"/>
                  </a:cubicBezTo>
                  <a:cubicBezTo>
                    <a:pt x="1143" y="174"/>
                    <a:pt x="1143" y="174"/>
                    <a:pt x="1143" y="174"/>
                  </a:cubicBezTo>
                  <a:cubicBezTo>
                    <a:pt x="1143" y="173"/>
                    <a:pt x="1143" y="173"/>
                    <a:pt x="1143" y="173"/>
                  </a:cubicBezTo>
                  <a:cubicBezTo>
                    <a:pt x="1143" y="172"/>
                    <a:pt x="1143" y="172"/>
                    <a:pt x="1143" y="172"/>
                  </a:cubicBezTo>
                  <a:cubicBezTo>
                    <a:pt x="1144" y="171"/>
                    <a:pt x="1144" y="171"/>
                    <a:pt x="1145" y="170"/>
                  </a:cubicBezTo>
                  <a:cubicBezTo>
                    <a:pt x="1145" y="170"/>
                    <a:pt x="1145" y="170"/>
                    <a:pt x="1145" y="170"/>
                  </a:cubicBezTo>
                  <a:cubicBezTo>
                    <a:pt x="1145" y="169"/>
                    <a:pt x="1145" y="169"/>
                    <a:pt x="1145" y="169"/>
                  </a:cubicBezTo>
                  <a:cubicBezTo>
                    <a:pt x="1145" y="169"/>
                    <a:pt x="1145" y="169"/>
                    <a:pt x="1145" y="169"/>
                  </a:cubicBezTo>
                  <a:cubicBezTo>
                    <a:pt x="1146" y="168"/>
                    <a:pt x="1146" y="168"/>
                    <a:pt x="1146" y="167"/>
                  </a:cubicBezTo>
                  <a:cubicBezTo>
                    <a:pt x="1146" y="167"/>
                    <a:pt x="1146" y="166"/>
                    <a:pt x="1147" y="165"/>
                  </a:cubicBezTo>
                  <a:cubicBezTo>
                    <a:pt x="1147" y="163"/>
                    <a:pt x="1147" y="163"/>
                    <a:pt x="1147" y="163"/>
                  </a:cubicBezTo>
                  <a:cubicBezTo>
                    <a:pt x="1147" y="163"/>
                    <a:pt x="1147" y="162"/>
                    <a:pt x="1148" y="161"/>
                  </a:cubicBezTo>
                  <a:cubicBezTo>
                    <a:pt x="1148" y="161"/>
                    <a:pt x="1148" y="161"/>
                    <a:pt x="1148" y="161"/>
                  </a:cubicBezTo>
                  <a:cubicBezTo>
                    <a:pt x="1148" y="160"/>
                    <a:pt x="1148" y="159"/>
                    <a:pt x="1149" y="158"/>
                  </a:cubicBezTo>
                  <a:cubicBezTo>
                    <a:pt x="1146" y="157"/>
                    <a:pt x="1146" y="157"/>
                    <a:pt x="1146" y="157"/>
                  </a:cubicBezTo>
                  <a:cubicBezTo>
                    <a:pt x="1149" y="157"/>
                    <a:pt x="1149" y="157"/>
                    <a:pt x="1149" y="157"/>
                  </a:cubicBezTo>
                  <a:cubicBezTo>
                    <a:pt x="1149" y="157"/>
                    <a:pt x="1149" y="157"/>
                    <a:pt x="1149" y="157"/>
                  </a:cubicBezTo>
                  <a:cubicBezTo>
                    <a:pt x="1149" y="156"/>
                    <a:pt x="1149" y="155"/>
                    <a:pt x="1149" y="155"/>
                  </a:cubicBezTo>
                  <a:cubicBezTo>
                    <a:pt x="1149" y="154"/>
                    <a:pt x="1149" y="153"/>
                    <a:pt x="1150" y="152"/>
                  </a:cubicBezTo>
                  <a:cubicBezTo>
                    <a:pt x="1150" y="151"/>
                    <a:pt x="1151" y="150"/>
                    <a:pt x="1151" y="150"/>
                  </a:cubicBezTo>
                  <a:cubicBezTo>
                    <a:pt x="1152" y="149"/>
                    <a:pt x="1153" y="148"/>
                    <a:pt x="1154" y="148"/>
                  </a:cubicBezTo>
                  <a:cubicBezTo>
                    <a:pt x="1155" y="148"/>
                    <a:pt x="1155" y="148"/>
                    <a:pt x="1155" y="148"/>
                  </a:cubicBezTo>
                  <a:cubicBezTo>
                    <a:pt x="1155" y="147"/>
                    <a:pt x="1155" y="147"/>
                    <a:pt x="1155" y="147"/>
                  </a:cubicBezTo>
                  <a:cubicBezTo>
                    <a:pt x="1156" y="147"/>
                    <a:pt x="1160" y="145"/>
                    <a:pt x="1160" y="144"/>
                  </a:cubicBezTo>
                  <a:cubicBezTo>
                    <a:pt x="1160" y="143"/>
                    <a:pt x="1160" y="143"/>
                    <a:pt x="1160" y="143"/>
                  </a:cubicBezTo>
                  <a:cubicBezTo>
                    <a:pt x="1160" y="143"/>
                    <a:pt x="1159" y="142"/>
                    <a:pt x="1159" y="142"/>
                  </a:cubicBezTo>
                  <a:cubicBezTo>
                    <a:pt x="1158" y="142"/>
                    <a:pt x="1158" y="142"/>
                    <a:pt x="1158" y="142"/>
                  </a:cubicBezTo>
                  <a:cubicBezTo>
                    <a:pt x="1158" y="141"/>
                    <a:pt x="1157" y="139"/>
                    <a:pt x="1156" y="138"/>
                  </a:cubicBezTo>
                  <a:cubicBezTo>
                    <a:pt x="1156" y="134"/>
                    <a:pt x="1158" y="131"/>
                    <a:pt x="1160" y="129"/>
                  </a:cubicBezTo>
                  <a:cubicBezTo>
                    <a:pt x="1160" y="129"/>
                    <a:pt x="1160" y="129"/>
                    <a:pt x="1160" y="129"/>
                  </a:cubicBezTo>
                  <a:cubicBezTo>
                    <a:pt x="1159" y="129"/>
                    <a:pt x="1158" y="129"/>
                    <a:pt x="1158" y="129"/>
                  </a:cubicBezTo>
                  <a:cubicBezTo>
                    <a:pt x="1155" y="130"/>
                    <a:pt x="1155" y="130"/>
                    <a:pt x="1155" y="130"/>
                  </a:cubicBezTo>
                  <a:cubicBezTo>
                    <a:pt x="1155" y="130"/>
                    <a:pt x="1155" y="130"/>
                    <a:pt x="1155" y="130"/>
                  </a:cubicBezTo>
                  <a:cubicBezTo>
                    <a:pt x="1155" y="130"/>
                    <a:pt x="1154" y="130"/>
                    <a:pt x="1153" y="130"/>
                  </a:cubicBezTo>
                  <a:cubicBezTo>
                    <a:pt x="1153" y="130"/>
                    <a:pt x="1153" y="130"/>
                    <a:pt x="1153" y="130"/>
                  </a:cubicBezTo>
                  <a:cubicBezTo>
                    <a:pt x="1152" y="130"/>
                    <a:pt x="1152" y="131"/>
                    <a:pt x="1151" y="131"/>
                  </a:cubicBezTo>
                  <a:cubicBezTo>
                    <a:pt x="1149" y="131"/>
                    <a:pt x="1146" y="132"/>
                    <a:pt x="1143" y="134"/>
                  </a:cubicBezTo>
                  <a:cubicBezTo>
                    <a:pt x="1142" y="134"/>
                    <a:pt x="1142" y="134"/>
                    <a:pt x="1142" y="134"/>
                  </a:cubicBezTo>
                  <a:cubicBezTo>
                    <a:pt x="1142" y="134"/>
                    <a:pt x="1141" y="134"/>
                    <a:pt x="1141" y="135"/>
                  </a:cubicBezTo>
                  <a:cubicBezTo>
                    <a:pt x="1138" y="136"/>
                    <a:pt x="1138" y="136"/>
                    <a:pt x="1138" y="136"/>
                  </a:cubicBezTo>
                  <a:cubicBezTo>
                    <a:pt x="1136" y="137"/>
                    <a:pt x="1134" y="137"/>
                    <a:pt x="1131" y="137"/>
                  </a:cubicBezTo>
                  <a:cubicBezTo>
                    <a:pt x="1130" y="137"/>
                    <a:pt x="1128" y="138"/>
                    <a:pt x="1127" y="138"/>
                  </a:cubicBezTo>
                  <a:cubicBezTo>
                    <a:pt x="1125" y="139"/>
                    <a:pt x="1124" y="140"/>
                    <a:pt x="1123" y="141"/>
                  </a:cubicBezTo>
                  <a:cubicBezTo>
                    <a:pt x="1123" y="141"/>
                    <a:pt x="1123" y="142"/>
                    <a:pt x="1122" y="143"/>
                  </a:cubicBezTo>
                  <a:cubicBezTo>
                    <a:pt x="1122" y="144"/>
                    <a:pt x="1121" y="146"/>
                    <a:pt x="1117" y="146"/>
                  </a:cubicBezTo>
                  <a:cubicBezTo>
                    <a:pt x="1113" y="147"/>
                    <a:pt x="1109" y="147"/>
                    <a:pt x="1105" y="147"/>
                  </a:cubicBezTo>
                  <a:cubicBezTo>
                    <a:pt x="1103" y="147"/>
                    <a:pt x="1101" y="147"/>
                    <a:pt x="1099" y="147"/>
                  </a:cubicBezTo>
                  <a:cubicBezTo>
                    <a:pt x="1097" y="147"/>
                    <a:pt x="1094" y="147"/>
                    <a:pt x="1091" y="146"/>
                  </a:cubicBezTo>
                  <a:cubicBezTo>
                    <a:pt x="1090" y="146"/>
                    <a:pt x="1089" y="146"/>
                    <a:pt x="1088" y="145"/>
                  </a:cubicBezTo>
                  <a:cubicBezTo>
                    <a:pt x="1088" y="145"/>
                    <a:pt x="1088" y="145"/>
                    <a:pt x="1088" y="145"/>
                  </a:cubicBezTo>
                  <a:cubicBezTo>
                    <a:pt x="1087" y="143"/>
                    <a:pt x="1087" y="143"/>
                    <a:pt x="1087" y="143"/>
                  </a:cubicBezTo>
                  <a:cubicBezTo>
                    <a:pt x="1087" y="143"/>
                    <a:pt x="1087" y="143"/>
                    <a:pt x="1087" y="143"/>
                  </a:cubicBezTo>
                  <a:cubicBezTo>
                    <a:pt x="1087" y="142"/>
                    <a:pt x="1087" y="142"/>
                    <a:pt x="1087" y="142"/>
                  </a:cubicBezTo>
                  <a:cubicBezTo>
                    <a:pt x="1086" y="141"/>
                    <a:pt x="1086" y="141"/>
                    <a:pt x="1086" y="141"/>
                  </a:cubicBezTo>
                  <a:cubicBezTo>
                    <a:pt x="1086" y="140"/>
                    <a:pt x="1086" y="140"/>
                    <a:pt x="1086" y="140"/>
                  </a:cubicBezTo>
                  <a:cubicBezTo>
                    <a:pt x="1085" y="140"/>
                    <a:pt x="1085" y="140"/>
                    <a:pt x="1085" y="140"/>
                  </a:cubicBezTo>
                  <a:cubicBezTo>
                    <a:pt x="1085" y="139"/>
                    <a:pt x="1085" y="139"/>
                    <a:pt x="1085" y="139"/>
                  </a:cubicBezTo>
                  <a:cubicBezTo>
                    <a:pt x="1081" y="136"/>
                    <a:pt x="1082" y="134"/>
                    <a:pt x="1084" y="131"/>
                  </a:cubicBezTo>
                  <a:cubicBezTo>
                    <a:pt x="1084" y="130"/>
                    <a:pt x="1084" y="130"/>
                    <a:pt x="1084" y="130"/>
                  </a:cubicBezTo>
                  <a:cubicBezTo>
                    <a:pt x="1084" y="130"/>
                    <a:pt x="1084" y="130"/>
                    <a:pt x="1084" y="130"/>
                  </a:cubicBezTo>
                  <a:cubicBezTo>
                    <a:pt x="1085" y="129"/>
                    <a:pt x="1085" y="129"/>
                    <a:pt x="1085" y="129"/>
                  </a:cubicBezTo>
                  <a:cubicBezTo>
                    <a:pt x="1085" y="129"/>
                    <a:pt x="1085" y="129"/>
                    <a:pt x="1085" y="129"/>
                  </a:cubicBezTo>
                  <a:cubicBezTo>
                    <a:pt x="1085" y="128"/>
                    <a:pt x="1085" y="128"/>
                    <a:pt x="1085" y="128"/>
                  </a:cubicBezTo>
                  <a:cubicBezTo>
                    <a:pt x="1084" y="128"/>
                    <a:pt x="1084" y="127"/>
                    <a:pt x="1084" y="127"/>
                  </a:cubicBezTo>
                  <a:cubicBezTo>
                    <a:pt x="1083" y="126"/>
                    <a:pt x="1083" y="126"/>
                    <a:pt x="1083" y="126"/>
                  </a:cubicBezTo>
                  <a:cubicBezTo>
                    <a:pt x="1082" y="126"/>
                    <a:pt x="1081" y="125"/>
                    <a:pt x="1080" y="124"/>
                  </a:cubicBezTo>
                  <a:cubicBezTo>
                    <a:pt x="1080" y="123"/>
                    <a:pt x="1080" y="122"/>
                    <a:pt x="1080" y="121"/>
                  </a:cubicBezTo>
                  <a:cubicBezTo>
                    <a:pt x="1080" y="121"/>
                    <a:pt x="1080" y="121"/>
                    <a:pt x="1080" y="121"/>
                  </a:cubicBezTo>
                  <a:cubicBezTo>
                    <a:pt x="1080" y="120"/>
                    <a:pt x="1080" y="120"/>
                    <a:pt x="1080" y="120"/>
                  </a:cubicBezTo>
                  <a:cubicBezTo>
                    <a:pt x="1080" y="118"/>
                    <a:pt x="1080" y="118"/>
                    <a:pt x="1080" y="118"/>
                  </a:cubicBezTo>
                  <a:cubicBezTo>
                    <a:pt x="1079" y="118"/>
                    <a:pt x="1079" y="118"/>
                    <a:pt x="1079" y="118"/>
                  </a:cubicBezTo>
                  <a:cubicBezTo>
                    <a:pt x="1078" y="118"/>
                    <a:pt x="1078" y="118"/>
                    <a:pt x="1078" y="118"/>
                  </a:cubicBezTo>
                  <a:cubicBezTo>
                    <a:pt x="1077" y="118"/>
                    <a:pt x="1077" y="118"/>
                    <a:pt x="1077" y="118"/>
                  </a:cubicBezTo>
                  <a:cubicBezTo>
                    <a:pt x="1077" y="118"/>
                    <a:pt x="1077" y="118"/>
                    <a:pt x="1077" y="118"/>
                  </a:cubicBezTo>
                  <a:cubicBezTo>
                    <a:pt x="1077" y="118"/>
                    <a:pt x="1077" y="118"/>
                    <a:pt x="1076" y="118"/>
                  </a:cubicBezTo>
                  <a:cubicBezTo>
                    <a:pt x="1076" y="118"/>
                    <a:pt x="1076" y="118"/>
                    <a:pt x="1076" y="118"/>
                  </a:cubicBezTo>
                  <a:cubicBezTo>
                    <a:pt x="1074" y="117"/>
                    <a:pt x="1074" y="117"/>
                    <a:pt x="1074" y="117"/>
                  </a:cubicBezTo>
                  <a:cubicBezTo>
                    <a:pt x="1060" y="104"/>
                    <a:pt x="1060" y="104"/>
                    <a:pt x="1060" y="104"/>
                  </a:cubicBezTo>
                  <a:cubicBezTo>
                    <a:pt x="1059" y="105"/>
                    <a:pt x="1059" y="105"/>
                    <a:pt x="1059" y="105"/>
                  </a:cubicBezTo>
                  <a:cubicBezTo>
                    <a:pt x="1058" y="105"/>
                    <a:pt x="1058" y="105"/>
                    <a:pt x="1057" y="106"/>
                  </a:cubicBezTo>
                  <a:cubicBezTo>
                    <a:pt x="1057" y="106"/>
                    <a:pt x="1057" y="106"/>
                    <a:pt x="1057" y="106"/>
                  </a:cubicBezTo>
                  <a:cubicBezTo>
                    <a:pt x="1050" y="103"/>
                    <a:pt x="1050" y="103"/>
                    <a:pt x="1050" y="103"/>
                  </a:cubicBezTo>
                  <a:cubicBezTo>
                    <a:pt x="1049" y="103"/>
                    <a:pt x="1049" y="102"/>
                    <a:pt x="1048" y="102"/>
                  </a:cubicBezTo>
                  <a:cubicBezTo>
                    <a:pt x="1047" y="102"/>
                    <a:pt x="1047" y="102"/>
                    <a:pt x="1047" y="102"/>
                  </a:cubicBezTo>
                  <a:cubicBezTo>
                    <a:pt x="1046" y="101"/>
                    <a:pt x="1044" y="100"/>
                    <a:pt x="1043" y="100"/>
                  </a:cubicBezTo>
                  <a:cubicBezTo>
                    <a:pt x="1042" y="100"/>
                    <a:pt x="1042" y="100"/>
                    <a:pt x="1042" y="100"/>
                  </a:cubicBezTo>
                  <a:cubicBezTo>
                    <a:pt x="1033" y="100"/>
                    <a:pt x="1033" y="100"/>
                    <a:pt x="1033" y="100"/>
                  </a:cubicBezTo>
                  <a:cubicBezTo>
                    <a:pt x="1031" y="100"/>
                    <a:pt x="1029" y="100"/>
                    <a:pt x="1027" y="98"/>
                  </a:cubicBezTo>
                  <a:cubicBezTo>
                    <a:pt x="1025" y="95"/>
                    <a:pt x="1025" y="95"/>
                    <a:pt x="1025" y="95"/>
                  </a:cubicBezTo>
                  <a:cubicBezTo>
                    <a:pt x="1023" y="91"/>
                    <a:pt x="1023" y="91"/>
                    <a:pt x="1023" y="91"/>
                  </a:cubicBezTo>
                  <a:cubicBezTo>
                    <a:pt x="1022" y="90"/>
                    <a:pt x="1022" y="88"/>
                    <a:pt x="1022" y="86"/>
                  </a:cubicBezTo>
                  <a:cubicBezTo>
                    <a:pt x="1022" y="85"/>
                    <a:pt x="1022" y="85"/>
                    <a:pt x="1022" y="85"/>
                  </a:cubicBezTo>
                  <a:cubicBezTo>
                    <a:pt x="1023" y="84"/>
                    <a:pt x="1023" y="84"/>
                    <a:pt x="1023" y="84"/>
                  </a:cubicBezTo>
                  <a:cubicBezTo>
                    <a:pt x="1023" y="83"/>
                    <a:pt x="1023" y="83"/>
                    <a:pt x="1023" y="83"/>
                  </a:cubicBezTo>
                  <a:cubicBezTo>
                    <a:pt x="1023" y="83"/>
                    <a:pt x="1023" y="83"/>
                    <a:pt x="1023" y="83"/>
                  </a:cubicBezTo>
                  <a:cubicBezTo>
                    <a:pt x="1023" y="83"/>
                    <a:pt x="1023" y="83"/>
                    <a:pt x="1022" y="82"/>
                  </a:cubicBezTo>
                  <a:cubicBezTo>
                    <a:pt x="1021" y="81"/>
                    <a:pt x="1021" y="80"/>
                    <a:pt x="1020" y="79"/>
                  </a:cubicBezTo>
                  <a:cubicBezTo>
                    <a:pt x="1015" y="67"/>
                    <a:pt x="1015" y="67"/>
                    <a:pt x="1015" y="67"/>
                  </a:cubicBezTo>
                  <a:cubicBezTo>
                    <a:pt x="1013" y="65"/>
                    <a:pt x="1013" y="65"/>
                    <a:pt x="1013" y="65"/>
                  </a:cubicBezTo>
                  <a:cubicBezTo>
                    <a:pt x="1013" y="64"/>
                    <a:pt x="1013" y="64"/>
                    <a:pt x="1013" y="64"/>
                  </a:cubicBezTo>
                  <a:cubicBezTo>
                    <a:pt x="1012" y="58"/>
                    <a:pt x="1012" y="58"/>
                    <a:pt x="1012" y="58"/>
                  </a:cubicBezTo>
                  <a:cubicBezTo>
                    <a:pt x="1012" y="58"/>
                    <a:pt x="1012" y="58"/>
                    <a:pt x="1012" y="58"/>
                  </a:cubicBezTo>
                  <a:cubicBezTo>
                    <a:pt x="1011" y="58"/>
                    <a:pt x="1009" y="57"/>
                    <a:pt x="1008" y="55"/>
                  </a:cubicBezTo>
                  <a:cubicBezTo>
                    <a:pt x="1008" y="55"/>
                    <a:pt x="1008" y="55"/>
                    <a:pt x="1008" y="55"/>
                  </a:cubicBezTo>
                  <a:cubicBezTo>
                    <a:pt x="1008" y="55"/>
                    <a:pt x="1008" y="55"/>
                    <a:pt x="1008" y="55"/>
                  </a:cubicBezTo>
                  <a:cubicBezTo>
                    <a:pt x="1007" y="52"/>
                    <a:pt x="1007" y="52"/>
                    <a:pt x="1007" y="52"/>
                  </a:cubicBezTo>
                  <a:cubicBezTo>
                    <a:pt x="1005" y="48"/>
                    <a:pt x="1004" y="44"/>
                    <a:pt x="1002" y="41"/>
                  </a:cubicBezTo>
                  <a:cubicBezTo>
                    <a:pt x="1002" y="40"/>
                    <a:pt x="1002" y="40"/>
                    <a:pt x="1002" y="40"/>
                  </a:cubicBezTo>
                  <a:cubicBezTo>
                    <a:pt x="1001" y="38"/>
                    <a:pt x="1001" y="37"/>
                    <a:pt x="1002" y="36"/>
                  </a:cubicBezTo>
                  <a:cubicBezTo>
                    <a:pt x="1002" y="35"/>
                    <a:pt x="1002" y="35"/>
                    <a:pt x="1002" y="35"/>
                  </a:cubicBezTo>
                  <a:cubicBezTo>
                    <a:pt x="1002" y="35"/>
                    <a:pt x="1002" y="35"/>
                    <a:pt x="1002" y="35"/>
                  </a:cubicBezTo>
                  <a:cubicBezTo>
                    <a:pt x="1002" y="34"/>
                    <a:pt x="1002" y="34"/>
                    <a:pt x="1002" y="34"/>
                  </a:cubicBezTo>
                  <a:cubicBezTo>
                    <a:pt x="1002" y="34"/>
                    <a:pt x="1002" y="34"/>
                    <a:pt x="1002" y="34"/>
                  </a:cubicBezTo>
                  <a:cubicBezTo>
                    <a:pt x="1001" y="32"/>
                    <a:pt x="998" y="29"/>
                    <a:pt x="997" y="27"/>
                  </a:cubicBezTo>
                  <a:cubicBezTo>
                    <a:pt x="996" y="27"/>
                    <a:pt x="996" y="27"/>
                    <a:pt x="996" y="27"/>
                  </a:cubicBezTo>
                  <a:cubicBezTo>
                    <a:pt x="996" y="27"/>
                    <a:pt x="995" y="26"/>
                    <a:pt x="995" y="26"/>
                  </a:cubicBezTo>
                  <a:cubicBezTo>
                    <a:pt x="993" y="24"/>
                    <a:pt x="993" y="24"/>
                    <a:pt x="993" y="24"/>
                  </a:cubicBezTo>
                  <a:cubicBezTo>
                    <a:pt x="992" y="22"/>
                    <a:pt x="992" y="20"/>
                    <a:pt x="994" y="19"/>
                  </a:cubicBezTo>
                  <a:cubicBezTo>
                    <a:pt x="994" y="19"/>
                    <a:pt x="994" y="19"/>
                    <a:pt x="994" y="19"/>
                  </a:cubicBezTo>
                  <a:cubicBezTo>
                    <a:pt x="994" y="18"/>
                    <a:pt x="994" y="18"/>
                    <a:pt x="994" y="18"/>
                  </a:cubicBezTo>
                  <a:cubicBezTo>
                    <a:pt x="993" y="18"/>
                    <a:pt x="993" y="18"/>
                    <a:pt x="992" y="17"/>
                  </a:cubicBezTo>
                  <a:cubicBezTo>
                    <a:pt x="992" y="17"/>
                    <a:pt x="992" y="17"/>
                    <a:pt x="992" y="17"/>
                  </a:cubicBezTo>
                  <a:cubicBezTo>
                    <a:pt x="987" y="13"/>
                    <a:pt x="987" y="13"/>
                    <a:pt x="987" y="13"/>
                  </a:cubicBezTo>
                  <a:cubicBezTo>
                    <a:pt x="987" y="13"/>
                    <a:pt x="987" y="13"/>
                    <a:pt x="987" y="13"/>
                  </a:cubicBezTo>
                  <a:cubicBezTo>
                    <a:pt x="986" y="12"/>
                    <a:pt x="986" y="12"/>
                    <a:pt x="986" y="12"/>
                  </a:cubicBezTo>
                  <a:cubicBezTo>
                    <a:pt x="983" y="11"/>
                    <a:pt x="983" y="11"/>
                    <a:pt x="983" y="11"/>
                  </a:cubicBezTo>
                  <a:cubicBezTo>
                    <a:pt x="982" y="11"/>
                    <a:pt x="982" y="11"/>
                    <a:pt x="982" y="11"/>
                  </a:cubicBezTo>
                  <a:cubicBezTo>
                    <a:pt x="982" y="11"/>
                    <a:pt x="982" y="11"/>
                    <a:pt x="982" y="11"/>
                  </a:cubicBezTo>
                  <a:cubicBezTo>
                    <a:pt x="981" y="10"/>
                    <a:pt x="981" y="10"/>
                    <a:pt x="981" y="10"/>
                  </a:cubicBezTo>
                  <a:cubicBezTo>
                    <a:pt x="980" y="10"/>
                    <a:pt x="980" y="10"/>
                    <a:pt x="980" y="10"/>
                  </a:cubicBezTo>
                  <a:cubicBezTo>
                    <a:pt x="980" y="10"/>
                    <a:pt x="980" y="10"/>
                    <a:pt x="980" y="10"/>
                  </a:cubicBezTo>
                  <a:cubicBezTo>
                    <a:pt x="979" y="9"/>
                    <a:pt x="979" y="9"/>
                    <a:pt x="978" y="9"/>
                  </a:cubicBezTo>
                  <a:cubicBezTo>
                    <a:pt x="978" y="9"/>
                    <a:pt x="978" y="9"/>
                    <a:pt x="978" y="9"/>
                  </a:cubicBezTo>
                  <a:cubicBezTo>
                    <a:pt x="978" y="9"/>
                    <a:pt x="977" y="9"/>
                    <a:pt x="976" y="9"/>
                  </a:cubicBezTo>
                  <a:cubicBezTo>
                    <a:pt x="975" y="9"/>
                    <a:pt x="975" y="9"/>
                    <a:pt x="975" y="9"/>
                  </a:cubicBezTo>
                  <a:cubicBezTo>
                    <a:pt x="975" y="10"/>
                    <a:pt x="975" y="10"/>
                    <a:pt x="975" y="10"/>
                  </a:cubicBezTo>
                  <a:cubicBezTo>
                    <a:pt x="974" y="10"/>
                    <a:pt x="974" y="10"/>
                    <a:pt x="974" y="10"/>
                  </a:cubicBezTo>
                  <a:cubicBezTo>
                    <a:pt x="969" y="9"/>
                    <a:pt x="969" y="9"/>
                    <a:pt x="969" y="9"/>
                  </a:cubicBezTo>
                  <a:cubicBezTo>
                    <a:pt x="969" y="9"/>
                    <a:pt x="969" y="9"/>
                    <a:pt x="968" y="9"/>
                  </a:cubicBezTo>
                  <a:cubicBezTo>
                    <a:pt x="968" y="9"/>
                    <a:pt x="968" y="9"/>
                    <a:pt x="968" y="9"/>
                  </a:cubicBezTo>
                  <a:cubicBezTo>
                    <a:pt x="958" y="4"/>
                    <a:pt x="958" y="4"/>
                    <a:pt x="958" y="4"/>
                  </a:cubicBezTo>
                  <a:cubicBezTo>
                    <a:pt x="956" y="3"/>
                    <a:pt x="953" y="1"/>
                    <a:pt x="951" y="1"/>
                  </a:cubicBezTo>
                  <a:cubicBezTo>
                    <a:pt x="949" y="0"/>
                    <a:pt x="949" y="0"/>
                    <a:pt x="949" y="0"/>
                  </a:cubicBezTo>
                  <a:cubicBezTo>
                    <a:pt x="948" y="0"/>
                    <a:pt x="948" y="0"/>
                    <a:pt x="948" y="0"/>
                  </a:cubicBezTo>
                  <a:cubicBezTo>
                    <a:pt x="946" y="0"/>
                    <a:pt x="946" y="0"/>
                    <a:pt x="946" y="0"/>
                  </a:cubicBezTo>
                  <a:cubicBezTo>
                    <a:pt x="944" y="0"/>
                    <a:pt x="944" y="0"/>
                    <a:pt x="9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413"/>
            <p:cNvSpPr/>
            <p:nvPr/>
          </p:nvSpPr>
          <p:spPr bwMode="auto">
            <a:xfrm>
              <a:off x="3870520" y="4906197"/>
              <a:ext cx="569437" cy="478657"/>
            </a:xfrm>
            <a:custGeom>
              <a:gdLst>
                <a:gd name="T0" fmla="*/ 136 w 175"/>
                <a:gd name="T1" fmla="*/ 7 h 147"/>
                <a:gd name="T2" fmla="*/ 128 w 175"/>
                <a:gd name="T3" fmla="*/ 5 h 147"/>
                <a:gd name="T4" fmla="*/ 118 w 175"/>
                <a:gd name="T5" fmla="*/ 8 h 147"/>
                <a:gd name="T6" fmla="*/ 101 w 175"/>
                <a:gd name="T7" fmla="*/ 16 h 147"/>
                <a:gd name="T8" fmla="*/ 97 w 175"/>
                <a:gd name="T9" fmla="*/ 21 h 147"/>
                <a:gd name="T10" fmla="*/ 92 w 175"/>
                <a:gd name="T11" fmla="*/ 24 h 147"/>
                <a:gd name="T12" fmla="*/ 90 w 175"/>
                <a:gd name="T13" fmla="*/ 29 h 147"/>
                <a:gd name="T14" fmla="*/ 71 w 175"/>
                <a:gd name="T15" fmla="*/ 34 h 147"/>
                <a:gd name="T16" fmla="*/ 70 w 175"/>
                <a:gd name="T17" fmla="*/ 35 h 147"/>
                <a:gd name="T18" fmla="*/ 77 w 175"/>
                <a:gd name="T19" fmla="*/ 45 h 147"/>
                <a:gd name="T20" fmla="*/ 73 w 175"/>
                <a:gd name="T21" fmla="*/ 54 h 147"/>
                <a:gd name="T22" fmla="*/ 70 w 175"/>
                <a:gd name="T23" fmla="*/ 53 h 147"/>
                <a:gd name="T24" fmla="*/ 59 w 175"/>
                <a:gd name="T25" fmla="*/ 54 h 147"/>
                <a:gd name="T26" fmla="*/ 50 w 175"/>
                <a:gd name="T27" fmla="*/ 54 h 147"/>
                <a:gd name="T28" fmla="*/ 41 w 175"/>
                <a:gd name="T29" fmla="*/ 53 h 147"/>
                <a:gd name="T30" fmla="*/ 28 w 175"/>
                <a:gd name="T31" fmla="*/ 54 h 147"/>
                <a:gd name="T32" fmla="*/ 20 w 175"/>
                <a:gd name="T33" fmla="*/ 53 h 147"/>
                <a:gd name="T34" fmla="*/ 8 w 175"/>
                <a:gd name="T35" fmla="*/ 45 h 147"/>
                <a:gd name="T36" fmla="*/ 12 w 175"/>
                <a:gd name="T37" fmla="*/ 40 h 147"/>
                <a:gd name="T38" fmla="*/ 13 w 175"/>
                <a:gd name="T39" fmla="*/ 30 h 147"/>
                <a:gd name="T40" fmla="*/ 10 w 175"/>
                <a:gd name="T41" fmla="*/ 27 h 147"/>
                <a:gd name="T42" fmla="*/ 1 w 175"/>
                <a:gd name="T43" fmla="*/ 45 h 147"/>
                <a:gd name="T44" fmla="*/ 4 w 175"/>
                <a:gd name="T45" fmla="*/ 52 h 147"/>
                <a:gd name="T46" fmla="*/ 11 w 175"/>
                <a:gd name="T47" fmla="*/ 58 h 147"/>
                <a:gd name="T48" fmla="*/ 19 w 175"/>
                <a:gd name="T49" fmla="*/ 58 h 147"/>
                <a:gd name="T50" fmla="*/ 25 w 175"/>
                <a:gd name="T51" fmla="*/ 66 h 147"/>
                <a:gd name="T52" fmla="*/ 34 w 175"/>
                <a:gd name="T53" fmla="*/ 66 h 147"/>
                <a:gd name="T54" fmla="*/ 35 w 175"/>
                <a:gd name="T55" fmla="*/ 80 h 147"/>
                <a:gd name="T56" fmla="*/ 44 w 175"/>
                <a:gd name="T57" fmla="*/ 83 h 147"/>
                <a:gd name="T58" fmla="*/ 50 w 175"/>
                <a:gd name="T59" fmla="*/ 83 h 147"/>
                <a:gd name="T60" fmla="*/ 58 w 175"/>
                <a:gd name="T61" fmla="*/ 82 h 147"/>
                <a:gd name="T62" fmla="*/ 74 w 175"/>
                <a:gd name="T63" fmla="*/ 83 h 147"/>
                <a:gd name="T64" fmla="*/ 85 w 175"/>
                <a:gd name="T65" fmla="*/ 89 h 147"/>
                <a:gd name="T66" fmla="*/ 79 w 175"/>
                <a:gd name="T67" fmla="*/ 100 h 147"/>
                <a:gd name="T68" fmla="*/ 75 w 175"/>
                <a:gd name="T69" fmla="*/ 103 h 147"/>
                <a:gd name="T70" fmla="*/ 69 w 175"/>
                <a:gd name="T71" fmla="*/ 107 h 147"/>
                <a:gd name="T72" fmla="*/ 61 w 175"/>
                <a:gd name="T73" fmla="*/ 115 h 147"/>
                <a:gd name="T74" fmla="*/ 65 w 175"/>
                <a:gd name="T75" fmla="*/ 122 h 147"/>
                <a:gd name="T76" fmla="*/ 70 w 175"/>
                <a:gd name="T77" fmla="*/ 121 h 147"/>
                <a:gd name="T78" fmla="*/ 79 w 175"/>
                <a:gd name="T79" fmla="*/ 112 h 147"/>
                <a:gd name="T80" fmla="*/ 89 w 175"/>
                <a:gd name="T81" fmla="*/ 126 h 147"/>
                <a:gd name="T82" fmla="*/ 88 w 175"/>
                <a:gd name="T83" fmla="*/ 147 h 147"/>
                <a:gd name="T84" fmla="*/ 94 w 175"/>
                <a:gd name="T85" fmla="*/ 127 h 147"/>
                <a:gd name="T86" fmla="*/ 100 w 175"/>
                <a:gd name="T87" fmla="*/ 106 h 147"/>
                <a:gd name="T88" fmla="*/ 130 w 175"/>
                <a:gd name="T89" fmla="*/ 72 h 147"/>
                <a:gd name="T90" fmla="*/ 142 w 175"/>
                <a:gd name="T91" fmla="*/ 49 h 147"/>
                <a:gd name="T92" fmla="*/ 166 w 175"/>
                <a:gd name="T93" fmla="*/ 38 h 147"/>
                <a:gd name="T94" fmla="*/ 174 w 175"/>
                <a:gd name="T95" fmla="*/ 24 h 147"/>
                <a:gd name="T96" fmla="*/ 167 w 175"/>
                <a:gd name="T97" fmla="*/ 21 h 147"/>
                <a:gd name="T98" fmla="*/ 160 w 175"/>
                <a:gd name="T99" fmla="*/ 22 h 147"/>
                <a:gd name="T100" fmla="*/ 155 w 175"/>
                <a:gd name="T101" fmla="*/ 16 h 147"/>
                <a:gd name="T102" fmla="*/ 160 w 175"/>
                <a:gd name="T103" fmla="*/ 10 h 147"/>
                <a:gd name="T104" fmla="*/ 152 w 175"/>
                <a:gd name="T105" fmla="*/ 13 h 147"/>
                <a:gd name="T106" fmla="*/ 153 w 175"/>
                <a:gd name="T107" fmla="*/ 2 h 1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5" h="147">
                  <a:moveTo>
                    <a:pt x="152" y="0"/>
                  </a:moveTo>
                  <a:cubicBezTo>
                    <a:pt x="151" y="0"/>
                    <a:pt x="149" y="1"/>
                    <a:pt x="144" y="5"/>
                  </a:cubicBezTo>
                  <a:cubicBezTo>
                    <a:pt x="143" y="6"/>
                    <a:pt x="143" y="6"/>
                    <a:pt x="143" y="6"/>
                  </a:cubicBezTo>
                  <a:cubicBezTo>
                    <a:pt x="142" y="6"/>
                    <a:pt x="142" y="7"/>
                    <a:pt x="141" y="7"/>
                  </a:cubicBezTo>
                  <a:cubicBezTo>
                    <a:pt x="141" y="8"/>
                    <a:pt x="140" y="8"/>
                    <a:pt x="139" y="8"/>
                  </a:cubicBezTo>
                  <a:cubicBezTo>
                    <a:pt x="138" y="8"/>
                    <a:pt x="137" y="8"/>
                    <a:pt x="136" y="7"/>
                  </a:cubicBezTo>
                  <a:cubicBezTo>
                    <a:pt x="135" y="7"/>
                    <a:pt x="135" y="7"/>
                    <a:pt x="134" y="6"/>
                  </a:cubicBezTo>
                  <a:cubicBezTo>
                    <a:pt x="134" y="6"/>
                    <a:pt x="134" y="6"/>
                    <a:pt x="134" y="6"/>
                  </a:cubicBezTo>
                  <a:cubicBezTo>
                    <a:pt x="133" y="6"/>
                    <a:pt x="133" y="6"/>
                    <a:pt x="132" y="6"/>
                  </a:cubicBezTo>
                  <a:cubicBezTo>
                    <a:pt x="131" y="5"/>
                    <a:pt x="131" y="5"/>
                    <a:pt x="131" y="5"/>
                  </a:cubicBezTo>
                  <a:cubicBezTo>
                    <a:pt x="131" y="5"/>
                    <a:pt x="131" y="5"/>
                    <a:pt x="131" y="5"/>
                  </a:cubicBezTo>
                  <a:cubicBezTo>
                    <a:pt x="130" y="5"/>
                    <a:pt x="129" y="5"/>
                    <a:pt x="128" y="5"/>
                  </a:cubicBezTo>
                  <a:cubicBezTo>
                    <a:pt x="127" y="4"/>
                    <a:pt x="126" y="4"/>
                    <a:pt x="126" y="3"/>
                  </a:cubicBezTo>
                  <a:cubicBezTo>
                    <a:pt x="125" y="3"/>
                    <a:pt x="125" y="3"/>
                    <a:pt x="125" y="3"/>
                  </a:cubicBezTo>
                  <a:cubicBezTo>
                    <a:pt x="125" y="2"/>
                    <a:pt x="125" y="2"/>
                    <a:pt x="125" y="2"/>
                  </a:cubicBezTo>
                  <a:cubicBezTo>
                    <a:pt x="124" y="3"/>
                    <a:pt x="124" y="3"/>
                    <a:pt x="124" y="3"/>
                  </a:cubicBezTo>
                  <a:cubicBezTo>
                    <a:pt x="123" y="4"/>
                    <a:pt x="123" y="4"/>
                    <a:pt x="122" y="5"/>
                  </a:cubicBezTo>
                  <a:cubicBezTo>
                    <a:pt x="120" y="6"/>
                    <a:pt x="119" y="7"/>
                    <a:pt x="118" y="8"/>
                  </a:cubicBezTo>
                  <a:cubicBezTo>
                    <a:pt x="117" y="8"/>
                    <a:pt x="117" y="8"/>
                    <a:pt x="117" y="8"/>
                  </a:cubicBezTo>
                  <a:cubicBezTo>
                    <a:pt x="117" y="8"/>
                    <a:pt x="117" y="9"/>
                    <a:pt x="116" y="9"/>
                  </a:cubicBezTo>
                  <a:cubicBezTo>
                    <a:pt x="115" y="11"/>
                    <a:pt x="113" y="12"/>
                    <a:pt x="111" y="13"/>
                  </a:cubicBezTo>
                  <a:cubicBezTo>
                    <a:pt x="108" y="14"/>
                    <a:pt x="108" y="14"/>
                    <a:pt x="108" y="14"/>
                  </a:cubicBezTo>
                  <a:cubicBezTo>
                    <a:pt x="106" y="14"/>
                    <a:pt x="104" y="15"/>
                    <a:pt x="102" y="16"/>
                  </a:cubicBezTo>
                  <a:cubicBezTo>
                    <a:pt x="102" y="16"/>
                    <a:pt x="101" y="16"/>
                    <a:pt x="101" y="16"/>
                  </a:cubicBezTo>
                  <a:cubicBezTo>
                    <a:pt x="100" y="16"/>
                    <a:pt x="100" y="16"/>
                    <a:pt x="100" y="16"/>
                  </a:cubicBezTo>
                  <a:cubicBezTo>
                    <a:pt x="100" y="16"/>
                    <a:pt x="99" y="16"/>
                    <a:pt x="99" y="17"/>
                  </a:cubicBezTo>
                  <a:cubicBezTo>
                    <a:pt x="98" y="19"/>
                    <a:pt x="98" y="19"/>
                    <a:pt x="98" y="19"/>
                  </a:cubicBezTo>
                  <a:cubicBezTo>
                    <a:pt x="98" y="19"/>
                    <a:pt x="98" y="20"/>
                    <a:pt x="98" y="20"/>
                  </a:cubicBezTo>
                  <a:cubicBezTo>
                    <a:pt x="97" y="21"/>
                    <a:pt x="97" y="21"/>
                    <a:pt x="97" y="21"/>
                  </a:cubicBezTo>
                  <a:cubicBezTo>
                    <a:pt x="97" y="21"/>
                    <a:pt x="97" y="21"/>
                    <a:pt x="97" y="21"/>
                  </a:cubicBezTo>
                  <a:cubicBezTo>
                    <a:pt x="96" y="22"/>
                    <a:pt x="96" y="22"/>
                    <a:pt x="96" y="22"/>
                  </a:cubicBezTo>
                  <a:cubicBezTo>
                    <a:pt x="96" y="22"/>
                    <a:pt x="96" y="22"/>
                    <a:pt x="96" y="22"/>
                  </a:cubicBezTo>
                  <a:cubicBezTo>
                    <a:pt x="95" y="22"/>
                    <a:pt x="95" y="22"/>
                    <a:pt x="95" y="22"/>
                  </a:cubicBezTo>
                  <a:cubicBezTo>
                    <a:pt x="95" y="22"/>
                    <a:pt x="95" y="22"/>
                    <a:pt x="95" y="22"/>
                  </a:cubicBezTo>
                  <a:cubicBezTo>
                    <a:pt x="94" y="23"/>
                    <a:pt x="94" y="23"/>
                    <a:pt x="93" y="23"/>
                  </a:cubicBezTo>
                  <a:cubicBezTo>
                    <a:pt x="92" y="24"/>
                    <a:pt x="92" y="24"/>
                    <a:pt x="92" y="24"/>
                  </a:cubicBezTo>
                  <a:cubicBezTo>
                    <a:pt x="92" y="24"/>
                    <a:pt x="91" y="24"/>
                    <a:pt x="91" y="25"/>
                  </a:cubicBezTo>
                  <a:cubicBezTo>
                    <a:pt x="90" y="25"/>
                    <a:pt x="90" y="25"/>
                    <a:pt x="90" y="25"/>
                  </a:cubicBezTo>
                  <a:cubicBezTo>
                    <a:pt x="90" y="26"/>
                    <a:pt x="90" y="26"/>
                    <a:pt x="90" y="26"/>
                  </a:cubicBezTo>
                  <a:cubicBezTo>
                    <a:pt x="91" y="27"/>
                    <a:pt x="91" y="27"/>
                    <a:pt x="91" y="27"/>
                  </a:cubicBezTo>
                  <a:cubicBezTo>
                    <a:pt x="90" y="28"/>
                    <a:pt x="90" y="28"/>
                    <a:pt x="90" y="28"/>
                  </a:cubicBezTo>
                  <a:cubicBezTo>
                    <a:pt x="90" y="28"/>
                    <a:pt x="90" y="28"/>
                    <a:pt x="90" y="29"/>
                  </a:cubicBezTo>
                  <a:cubicBezTo>
                    <a:pt x="90" y="29"/>
                    <a:pt x="90" y="29"/>
                    <a:pt x="90" y="29"/>
                  </a:cubicBezTo>
                  <a:cubicBezTo>
                    <a:pt x="89" y="30"/>
                    <a:pt x="87" y="31"/>
                    <a:pt x="85" y="32"/>
                  </a:cubicBezTo>
                  <a:cubicBezTo>
                    <a:pt x="85" y="32"/>
                    <a:pt x="85" y="32"/>
                    <a:pt x="85" y="32"/>
                  </a:cubicBezTo>
                  <a:cubicBezTo>
                    <a:pt x="84" y="33"/>
                    <a:pt x="84" y="33"/>
                    <a:pt x="83" y="33"/>
                  </a:cubicBezTo>
                  <a:cubicBezTo>
                    <a:pt x="73" y="34"/>
                    <a:pt x="73" y="34"/>
                    <a:pt x="73" y="34"/>
                  </a:cubicBezTo>
                  <a:cubicBezTo>
                    <a:pt x="73" y="34"/>
                    <a:pt x="72" y="34"/>
                    <a:pt x="71" y="34"/>
                  </a:cubicBezTo>
                  <a:cubicBezTo>
                    <a:pt x="71" y="34"/>
                    <a:pt x="70" y="34"/>
                    <a:pt x="70" y="34"/>
                  </a:cubicBezTo>
                  <a:cubicBezTo>
                    <a:pt x="69" y="34"/>
                    <a:pt x="69" y="34"/>
                    <a:pt x="69" y="34"/>
                  </a:cubicBezTo>
                  <a:cubicBezTo>
                    <a:pt x="69" y="34"/>
                    <a:pt x="69" y="34"/>
                    <a:pt x="69" y="34"/>
                  </a:cubicBezTo>
                  <a:cubicBezTo>
                    <a:pt x="69" y="35"/>
                    <a:pt x="69" y="35"/>
                    <a:pt x="69" y="35"/>
                  </a:cubicBezTo>
                  <a:cubicBezTo>
                    <a:pt x="69" y="35"/>
                    <a:pt x="69" y="35"/>
                    <a:pt x="69" y="35"/>
                  </a:cubicBezTo>
                  <a:cubicBezTo>
                    <a:pt x="70" y="35"/>
                    <a:pt x="70" y="35"/>
                    <a:pt x="70" y="35"/>
                  </a:cubicBezTo>
                  <a:cubicBezTo>
                    <a:pt x="70" y="36"/>
                    <a:pt x="71" y="36"/>
                    <a:pt x="71" y="36"/>
                  </a:cubicBezTo>
                  <a:cubicBezTo>
                    <a:pt x="72" y="36"/>
                    <a:pt x="72" y="36"/>
                    <a:pt x="73" y="37"/>
                  </a:cubicBezTo>
                  <a:cubicBezTo>
                    <a:pt x="75" y="37"/>
                    <a:pt x="76" y="37"/>
                    <a:pt x="76" y="38"/>
                  </a:cubicBezTo>
                  <a:cubicBezTo>
                    <a:pt x="77" y="39"/>
                    <a:pt x="78" y="40"/>
                    <a:pt x="78" y="41"/>
                  </a:cubicBezTo>
                  <a:cubicBezTo>
                    <a:pt x="79" y="43"/>
                    <a:pt x="78" y="44"/>
                    <a:pt x="77" y="45"/>
                  </a:cubicBezTo>
                  <a:cubicBezTo>
                    <a:pt x="77" y="45"/>
                    <a:pt x="77" y="45"/>
                    <a:pt x="77" y="45"/>
                  </a:cubicBezTo>
                  <a:cubicBezTo>
                    <a:pt x="77" y="45"/>
                    <a:pt x="77" y="45"/>
                    <a:pt x="78" y="46"/>
                  </a:cubicBezTo>
                  <a:cubicBezTo>
                    <a:pt x="78" y="46"/>
                    <a:pt x="78" y="46"/>
                    <a:pt x="78" y="46"/>
                  </a:cubicBezTo>
                  <a:cubicBezTo>
                    <a:pt x="79" y="48"/>
                    <a:pt x="79" y="50"/>
                    <a:pt x="77" y="52"/>
                  </a:cubicBezTo>
                  <a:cubicBezTo>
                    <a:pt x="76" y="53"/>
                    <a:pt x="75" y="53"/>
                    <a:pt x="74" y="53"/>
                  </a:cubicBezTo>
                  <a:cubicBezTo>
                    <a:pt x="74" y="54"/>
                    <a:pt x="74" y="54"/>
                    <a:pt x="74" y="54"/>
                  </a:cubicBezTo>
                  <a:cubicBezTo>
                    <a:pt x="73" y="54"/>
                    <a:pt x="73" y="54"/>
                    <a:pt x="73" y="54"/>
                  </a:cubicBezTo>
                  <a:cubicBezTo>
                    <a:pt x="72" y="54"/>
                    <a:pt x="72" y="54"/>
                    <a:pt x="72" y="54"/>
                  </a:cubicBezTo>
                  <a:cubicBezTo>
                    <a:pt x="72" y="54"/>
                    <a:pt x="72" y="54"/>
                    <a:pt x="72" y="54"/>
                  </a:cubicBezTo>
                  <a:cubicBezTo>
                    <a:pt x="71" y="53"/>
                    <a:pt x="71" y="53"/>
                    <a:pt x="71" y="53"/>
                  </a:cubicBezTo>
                  <a:cubicBezTo>
                    <a:pt x="71" y="53"/>
                    <a:pt x="71" y="53"/>
                    <a:pt x="71" y="53"/>
                  </a:cubicBezTo>
                  <a:cubicBezTo>
                    <a:pt x="71" y="53"/>
                    <a:pt x="71" y="53"/>
                    <a:pt x="71" y="53"/>
                  </a:cubicBezTo>
                  <a:cubicBezTo>
                    <a:pt x="70" y="53"/>
                    <a:pt x="70" y="53"/>
                    <a:pt x="70" y="53"/>
                  </a:cubicBezTo>
                  <a:cubicBezTo>
                    <a:pt x="69" y="53"/>
                    <a:pt x="68" y="54"/>
                    <a:pt x="67" y="54"/>
                  </a:cubicBezTo>
                  <a:cubicBezTo>
                    <a:pt x="66" y="54"/>
                    <a:pt x="66" y="54"/>
                    <a:pt x="66" y="54"/>
                  </a:cubicBezTo>
                  <a:cubicBezTo>
                    <a:pt x="65" y="54"/>
                    <a:pt x="65" y="54"/>
                    <a:pt x="65" y="54"/>
                  </a:cubicBezTo>
                  <a:cubicBezTo>
                    <a:pt x="65" y="54"/>
                    <a:pt x="65" y="54"/>
                    <a:pt x="64" y="54"/>
                  </a:cubicBezTo>
                  <a:cubicBezTo>
                    <a:pt x="63" y="54"/>
                    <a:pt x="63" y="54"/>
                    <a:pt x="63" y="54"/>
                  </a:cubicBezTo>
                  <a:cubicBezTo>
                    <a:pt x="61" y="54"/>
                    <a:pt x="60" y="54"/>
                    <a:pt x="59" y="54"/>
                  </a:cubicBezTo>
                  <a:cubicBezTo>
                    <a:pt x="58" y="54"/>
                    <a:pt x="58" y="54"/>
                    <a:pt x="58" y="54"/>
                  </a:cubicBezTo>
                  <a:cubicBezTo>
                    <a:pt x="56" y="54"/>
                    <a:pt x="55" y="54"/>
                    <a:pt x="54" y="54"/>
                  </a:cubicBezTo>
                  <a:cubicBezTo>
                    <a:pt x="53" y="54"/>
                    <a:pt x="53" y="54"/>
                    <a:pt x="53" y="54"/>
                  </a:cubicBezTo>
                  <a:cubicBezTo>
                    <a:pt x="52" y="54"/>
                    <a:pt x="52" y="54"/>
                    <a:pt x="51" y="54"/>
                  </a:cubicBezTo>
                  <a:cubicBezTo>
                    <a:pt x="51" y="54"/>
                    <a:pt x="51" y="54"/>
                    <a:pt x="51" y="54"/>
                  </a:cubicBezTo>
                  <a:cubicBezTo>
                    <a:pt x="50" y="54"/>
                    <a:pt x="50" y="54"/>
                    <a:pt x="50" y="54"/>
                  </a:cubicBezTo>
                  <a:cubicBezTo>
                    <a:pt x="48" y="54"/>
                    <a:pt x="47" y="54"/>
                    <a:pt x="46" y="54"/>
                  </a:cubicBezTo>
                  <a:cubicBezTo>
                    <a:pt x="46" y="53"/>
                    <a:pt x="45" y="53"/>
                    <a:pt x="45" y="53"/>
                  </a:cubicBezTo>
                  <a:cubicBezTo>
                    <a:pt x="44" y="53"/>
                    <a:pt x="44" y="53"/>
                    <a:pt x="43" y="52"/>
                  </a:cubicBezTo>
                  <a:cubicBezTo>
                    <a:pt x="43" y="52"/>
                    <a:pt x="43" y="52"/>
                    <a:pt x="43" y="52"/>
                  </a:cubicBezTo>
                  <a:cubicBezTo>
                    <a:pt x="43" y="52"/>
                    <a:pt x="42" y="53"/>
                    <a:pt x="42" y="53"/>
                  </a:cubicBezTo>
                  <a:cubicBezTo>
                    <a:pt x="41" y="53"/>
                    <a:pt x="41" y="53"/>
                    <a:pt x="41" y="53"/>
                  </a:cubicBezTo>
                  <a:cubicBezTo>
                    <a:pt x="38" y="55"/>
                    <a:pt x="36" y="56"/>
                    <a:pt x="34" y="56"/>
                  </a:cubicBezTo>
                  <a:cubicBezTo>
                    <a:pt x="33" y="56"/>
                    <a:pt x="33" y="56"/>
                    <a:pt x="33" y="56"/>
                  </a:cubicBezTo>
                  <a:cubicBezTo>
                    <a:pt x="32" y="56"/>
                    <a:pt x="31" y="56"/>
                    <a:pt x="30" y="55"/>
                  </a:cubicBezTo>
                  <a:cubicBezTo>
                    <a:pt x="29" y="55"/>
                    <a:pt x="29" y="55"/>
                    <a:pt x="29" y="55"/>
                  </a:cubicBezTo>
                  <a:cubicBezTo>
                    <a:pt x="29" y="55"/>
                    <a:pt x="29" y="55"/>
                    <a:pt x="29" y="55"/>
                  </a:cubicBezTo>
                  <a:cubicBezTo>
                    <a:pt x="28" y="54"/>
                    <a:pt x="28" y="54"/>
                    <a:pt x="28" y="54"/>
                  </a:cubicBezTo>
                  <a:cubicBezTo>
                    <a:pt x="27" y="54"/>
                    <a:pt x="27" y="54"/>
                    <a:pt x="26" y="53"/>
                  </a:cubicBezTo>
                  <a:cubicBezTo>
                    <a:pt x="25" y="53"/>
                    <a:pt x="25" y="53"/>
                    <a:pt x="25" y="53"/>
                  </a:cubicBezTo>
                  <a:cubicBezTo>
                    <a:pt x="24" y="53"/>
                    <a:pt x="24" y="53"/>
                    <a:pt x="24" y="53"/>
                  </a:cubicBezTo>
                  <a:cubicBezTo>
                    <a:pt x="23" y="53"/>
                    <a:pt x="23" y="53"/>
                    <a:pt x="23" y="53"/>
                  </a:cubicBezTo>
                  <a:cubicBezTo>
                    <a:pt x="22" y="53"/>
                    <a:pt x="22" y="53"/>
                    <a:pt x="22" y="53"/>
                  </a:cubicBezTo>
                  <a:cubicBezTo>
                    <a:pt x="21" y="53"/>
                    <a:pt x="20" y="53"/>
                    <a:pt x="20" y="53"/>
                  </a:cubicBezTo>
                  <a:cubicBezTo>
                    <a:pt x="19" y="53"/>
                    <a:pt x="18" y="52"/>
                    <a:pt x="17" y="52"/>
                  </a:cubicBezTo>
                  <a:cubicBezTo>
                    <a:pt x="16" y="51"/>
                    <a:pt x="15" y="51"/>
                    <a:pt x="15" y="50"/>
                  </a:cubicBezTo>
                  <a:cubicBezTo>
                    <a:pt x="14" y="49"/>
                    <a:pt x="14" y="49"/>
                    <a:pt x="14" y="49"/>
                  </a:cubicBezTo>
                  <a:cubicBezTo>
                    <a:pt x="14" y="49"/>
                    <a:pt x="13" y="48"/>
                    <a:pt x="12" y="47"/>
                  </a:cubicBezTo>
                  <a:cubicBezTo>
                    <a:pt x="12" y="47"/>
                    <a:pt x="12" y="47"/>
                    <a:pt x="12" y="47"/>
                  </a:cubicBezTo>
                  <a:cubicBezTo>
                    <a:pt x="8" y="45"/>
                    <a:pt x="8" y="45"/>
                    <a:pt x="8" y="45"/>
                  </a:cubicBezTo>
                  <a:cubicBezTo>
                    <a:pt x="11" y="43"/>
                    <a:pt x="11" y="43"/>
                    <a:pt x="11" y="43"/>
                  </a:cubicBezTo>
                  <a:cubicBezTo>
                    <a:pt x="11" y="42"/>
                    <a:pt x="12" y="42"/>
                    <a:pt x="13" y="41"/>
                  </a:cubicBezTo>
                  <a:cubicBezTo>
                    <a:pt x="12" y="41"/>
                    <a:pt x="12" y="41"/>
                    <a:pt x="12" y="41"/>
                  </a:cubicBezTo>
                  <a:cubicBezTo>
                    <a:pt x="12" y="41"/>
                    <a:pt x="12" y="41"/>
                    <a:pt x="12" y="41"/>
                  </a:cubicBezTo>
                  <a:cubicBezTo>
                    <a:pt x="12" y="41"/>
                    <a:pt x="12" y="41"/>
                    <a:pt x="12" y="41"/>
                  </a:cubicBezTo>
                  <a:cubicBezTo>
                    <a:pt x="12" y="40"/>
                    <a:pt x="12" y="40"/>
                    <a:pt x="12" y="40"/>
                  </a:cubicBezTo>
                  <a:cubicBezTo>
                    <a:pt x="12" y="39"/>
                    <a:pt x="11" y="39"/>
                    <a:pt x="11" y="38"/>
                  </a:cubicBezTo>
                  <a:cubicBezTo>
                    <a:pt x="11" y="38"/>
                    <a:pt x="11" y="38"/>
                    <a:pt x="11" y="38"/>
                  </a:cubicBezTo>
                  <a:cubicBezTo>
                    <a:pt x="11" y="36"/>
                    <a:pt x="11" y="35"/>
                    <a:pt x="12" y="34"/>
                  </a:cubicBezTo>
                  <a:cubicBezTo>
                    <a:pt x="12" y="33"/>
                    <a:pt x="12" y="33"/>
                    <a:pt x="12" y="33"/>
                  </a:cubicBezTo>
                  <a:cubicBezTo>
                    <a:pt x="12" y="32"/>
                    <a:pt x="12" y="32"/>
                    <a:pt x="12" y="31"/>
                  </a:cubicBezTo>
                  <a:cubicBezTo>
                    <a:pt x="13" y="31"/>
                    <a:pt x="13" y="31"/>
                    <a:pt x="13" y="30"/>
                  </a:cubicBezTo>
                  <a:cubicBezTo>
                    <a:pt x="8" y="30"/>
                    <a:pt x="8" y="30"/>
                    <a:pt x="8" y="30"/>
                  </a:cubicBezTo>
                  <a:cubicBezTo>
                    <a:pt x="12" y="29"/>
                    <a:pt x="12" y="29"/>
                    <a:pt x="12" y="29"/>
                  </a:cubicBezTo>
                  <a:cubicBezTo>
                    <a:pt x="12" y="28"/>
                    <a:pt x="12" y="28"/>
                    <a:pt x="12" y="28"/>
                  </a:cubicBezTo>
                  <a:cubicBezTo>
                    <a:pt x="12" y="28"/>
                    <a:pt x="12" y="28"/>
                    <a:pt x="12" y="28"/>
                  </a:cubicBezTo>
                  <a:cubicBezTo>
                    <a:pt x="12" y="28"/>
                    <a:pt x="11" y="28"/>
                    <a:pt x="11" y="28"/>
                  </a:cubicBezTo>
                  <a:cubicBezTo>
                    <a:pt x="10" y="27"/>
                    <a:pt x="10" y="27"/>
                    <a:pt x="10" y="27"/>
                  </a:cubicBezTo>
                  <a:cubicBezTo>
                    <a:pt x="9" y="28"/>
                    <a:pt x="9" y="28"/>
                    <a:pt x="9" y="28"/>
                  </a:cubicBezTo>
                  <a:cubicBezTo>
                    <a:pt x="8" y="28"/>
                    <a:pt x="6" y="29"/>
                    <a:pt x="5" y="30"/>
                  </a:cubicBezTo>
                  <a:cubicBezTo>
                    <a:pt x="4" y="31"/>
                    <a:pt x="3" y="31"/>
                    <a:pt x="3" y="31"/>
                  </a:cubicBezTo>
                  <a:cubicBezTo>
                    <a:pt x="2" y="35"/>
                    <a:pt x="2" y="35"/>
                    <a:pt x="2" y="35"/>
                  </a:cubicBezTo>
                  <a:cubicBezTo>
                    <a:pt x="2" y="37"/>
                    <a:pt x="1" y="39"/>
                    <a:pt x="1" y="41"/>
                  </a:cubicBezTo>
                  <a:cubicBezTo>
                    <a:pt x="1" y="43"/>
                    <a:pt x="0" y="44"/>
                    <a:pt x="1" y="45"/>
                  </a:cubicBezTo>
                  <a:cubicBezTo>
                    <a:pt x="1" y="46"/>
                    <a:pt x="1" y="46"/>
                    <a:pt x="1" y="46"/>
                  </a:cubicBezTo>
                  <a:cubicBezTo>
                    <a:pt x="1" y="47"/>
                    <a:pt x="1" y="47"/>
                    <a:pt x="1" y="47"/>
                  </a:cubicBezTo>
                  <a:cubicBezTo>
                    <a:pt x="2" y="47"/>
                    <a:pt x="2" y="48"/>
                    <a:pt x="2" y="48"/>
                  </a:cubicBezTo>
                  <a:cubicBezTo>
                    <a:pt x="3" y="49"/>
                    <a:pt x="3" y="49"/>
                    <a:pt x="3" y="49"/>
                  </a:cubicBezTo>
                  <a:cubicBezTo>
                    <a:pt x="3" y="50"/>
                    <a:pt x="3" y="50"/>
                    <a:pt x="3" y="50"/>
                  </a:cubicBezTo>
                  <a:cubicBezTo>
                    <a:pt x="4" y="51"/>
                    <a:pt x="4" y="52"/>
                    <a:pt x="4" y="52"/>
                  </a:cubicBezTo>
                  <a:cubicBezTo>
                    <a:pt x="4" y="53"/>
                    <a:pt x="4" y="53"/>
                    <a:pt x="4" y="54"/>
                  </a:cubicBezTo>
                  <a:cubicBezTo>
                    <a:pt x="4" y="54"/>
                    <a:pt x="4" y="55"/>
                    <a:pt x="4" y="55"/>
                  </a:cubicBezTo>
                  <a:cubicBezTo>
                    <a:pt x="4" y="55"/>
                    <a:pt x="4" y="55"/>
                    <a:pt x="4" y="55"/>
                  </a:cubicBezTo>
                  <a:cubicBezTo>
                    <a:pt x="4" y="55"/>
                    <a:pt x="5" y="54"/>
                    <a:pt x="6" y="54"/>
                  </a:cubicBezTo>
                  <a:cubicBezTo>
                    <a:pt x="6" y="54"/>
                    <a:pt x="6" y="54"/>
                    <a:pt x="6" y="54"/>
                  </a:cubicBezTo>
                  <a:cubicBezTo>
                    <a:pt x="8" y="54"/>
                    <a:pt x="9" y="56"/>
                    <a:pt x="11" y="58"/>
                  </a:cubicBezTo>
                  <a:cubicBezTo>
                    <a:pt x="12" y="58"/>
                    <a:pt x="12" y="59"/>
                    <a:pt x="12" y="59"/>
                  </a:cubicBezTo>
                  <a:cubicBezTo>
                    <a:pt x="13" y="60"/>
                    <a:pt x="13" y="60"/>
                    <a:pt x="13" y="60"/>
                  </a:cubicBezTo>
                  <a:cubicBezTo>
                    <a:pt x="13" y="60"/>
                    <a:pt x="13" y="60"/>
                    <a:pt x="13" y="60"/>
                  </a:cubicBezTo>
                  <a:cubicBezTo>
                    <a:pt x="14" y="57"/>
                    <a:pt x="14" y="57"/>
                    <a:pt x="14" y="57"/>
                  </a:cubicBezTo>
                  <a:cubicBezTo>
                    <a:pt x="14" y="53"/>
                    <a:pt x="14" y="53"/>
                    <a:pt x="14" y="53"/>
                  </a:cubicBezTo>
                  <a:cubicBezTo>
                    <a:pt x="19" y="58"/>
                    <a:pt x="19" y="58"/>
                    <a:pt x="19" y="58"/>
                  </a:cubicBezTo>
                  <a:cubicBezTo>
                    <a:pt x="20" y="58"/>
                    <a:pt x="21" y="59"/>
                    <a:pt x="21" y="60"/>
                  </a:cubicBezTo>
                  <a:cubicBezTo>
                    <a:pt x="21" y="60"/>
                    <a:pt x="22" y="61"/>
                    <a:pt x="22" y="61"/>
                  </a:cubicBezTo>
                  <a:cubicBezTo>
                    <a:pt x="22" y="62"/>
                    <a:pt x="22" y="62"/>
                    <a:pt x="22" y="62"/>
                  </a:cubicBezTo>
                  <a:cubicBezTo>
                    <a:pt x="23" y="65"/>
                    <a:pt x="24" y="65"/>
                    <a:pt x="24" y="65"/>
                  </a:cubicBezTo>
                  <a:cubicBezTo>
                    <a:pt x="25" y="66"/>
                    <a:pt x="25" y="66"/>
                    <a:pt x="25" y="66"/>
                  </a:cubicBezTo>
                  <a:cubicBezTo>
                    <a:pt x="25" y="66"/>
                    <a:pt x="25" y="66"/>
                    <a:pt x="25" y="66"/>
                  </a:cubicBezTo>
                  <a:cubicBezTo>
                    <a:pt x="26" y="66"/>
                    <a:pt x="27" y="66"/>
                    <a:pt x="27" y="65"/>
                  </a:cubicBezTo>
                  <a:cubicBezTo>
                    <a:pt x="27" y="65"/>
                    <a:pt x="27" y="65"/>
                    <a:pt x="27" y="65"/>
                  </a:cubicBezTo>
                  <a:cubicBezTo>
                    <a:pt x="28" y="64"/>
                    <a:pt x="28" y="64"/>
                    <a:pt x="28" y="63"/>
                  </a:cubicBezTo>
                  <a:cubicBezTo>
                    <a:pt x="30" y="59"/>
                    <a:pt x="30" y="59"/>
                    <a:pt x="30" y="59"/>
                  </a:cubicBezTo>
                  <a:cubicBezTo>
                    <a:pt x="32" y="63"/>
                    <a:pt x="32" y="63"/>
                    <a:pt x="32" y="63"/>
                  </a:cubicBezTo>
                  <a:cubicBezTo>
                    <a:pt x="33" y="64"/>
                    <a:pt x="33" y="65"/>
                    <a:pt x="34" y="66"/>
                  </a:cubicBezTo>
                  <a:cubicBezTo>
                    <a:pt x="35" y="68"/>
                    <a:pt x="35" y="70"/>
                    <a:pt x="35" y="73"/>
                  </a:cubicBezTo>
                  <a:cubicBezTo>
                    <a:pt x="35" y="74"/>
                    <a:pt x="35" y="75"/>
                    <a:pt x="35" y="76"/>
                  </a:cubicBezTo>
                  <a:cubicBezTo>
                    <a:pt x="35" y="76"/>
                    <a:pt x="35" y="76"/>
                    <a:pt x="35" y="76"/>
                  </a:cubicBezTo>
                  <a:cubicBezTo>
                    <a:pt x="35" y="77"/>
                    <a:pt x="35" y="78"/>
                    <a:pt x="35" y="80"/>
                  </a:cubicBezTo>
                  <a:cubicBezTo>
                    <a:pt x="35" y="80"/>
                    <a:pt x="35" y="80"/>
                    <a:pt x="35" y="80"/>
                  </a:cubicBezTo>
                  <a:cubicBezTo>
                    <a:pt x="35" y="80"/>
                    <a:pt x="35" y="80"/>
                    <a:pt x="35" y="80"/>
                  </a:cubicBezTo>
                  <a:cubicBezTo>
                    <a:pt x="36" y="80"/>
                    <a:pt x="36" y="80"/>
                    <a:pt x="36" y="80"/>
                  </a:cubicBezTo>
                  <a:cubicBezTo>
                    <a:pt x="36" y="80"/>
                    <a:pt x="37" y="80"/>
                    <a:pt x="37" y="81"/>
                  </a:cubicBezTo>
                  <a:cubicBezTo>
                    <a:pt x="38" y="81"/>
                    <a:pt x="38" y="81"/>
                    <a:pt x="38" y="81"/>
                  </a:cubicBezTo>
                  <a:cubicBezTo>
                    <a:pt x="39" y="81"/>
                    <a:pt x="40" y="82"/>
                    <a:pt x="41" y="82"/>
                  </a:cubicBezTo>
                  <a:cubicBezTo>
                    <a:pt x="42" y="82"/>
                    <a:pt x="42" y="82"/>
                    <a:pt x="43" y="83"/>
                  </a:cubicBezTo>
                  <a:cubicBezTo>
                    <a:pt x="44" y="83"/>
                    <a:pt x="44" y="83"/>
                    <a:pt x="44" y="83"/>
                  </a:cubicBezTo>
                  <a:cubicBezTo>
                    <a:pt x="44" y="83"/>
                    <a:pt x="44" y="83"/>
                    <a:pt x="45" y="83"/>
                  </a:cubicBezTo>
                  <a:cubicBezTo>
                    <a:pt x="45" y="83"/>
                    <a:pt x="45" y="83"/>
                    <a:pt x="45" y="83"/>
                  </a:cubicBezTo>
                  <a:cubicBezTo>
                    <a:pt x="45" y="83"/>
                    <a:pt x="46" y="83"/>
                    <a:pt x="46" y="83"/>
                  </a:cubicBezTo>
                  <a:cubicBezTo>
                    <a:pt x="47" y="83"/>
                    <a:pt x="47" y="83"/>
                    <a:pt x="47" y="83"/>
                  </a:cubicBezTo>
                  <a:cubicBezTo>
                    <a:pt x="48" y="83"/>
                    <a:pt x="48" y="83"/>
                    <a:pt x="49" y="83"/>
                  </a:cubicBezTo>
                  <a:cubicBezTo>
                    <a:pt x="49" y="83"/>
                    <a:pt x="49" y="83"/>
                    <a:pt x="50" y="83"/>
                  </a:cubicBezTo>
                  <a:cubicBezTo>
                    <a:pt x="50" y="83"/>
                    <a:pt x="50" y="83"/>
                    <a:pt x="50" y="83"/>
                  </a:cubicBezTo>
                  <a:cubicBezTo>
                    <a:pt x="51" y="83"/>
                    <a:pt x="51" y="83"/>
                    <a:pt x="51" y="83"/>
                  </a:cubicBezTo>
                  <a:cubicBezTo>
                    <a:pt x="52" y="83"/>
                    <a:pt x="52" y="82"/>
                    <a:pt x="53" y="82"/>
                  </a:cubicBezTo>
                  <a:cubicBezTo>
                    <a:pt x="53" y="82"/>
                    <a:pt x="53" y="82"/>
                    <a:pt x="53" y="82"/>
                  </a:cubicBezTo>
                  <a:cubicBezTo>
                    <a:pt x="54" y="82"/>
                    <a:pt x="56" y="82"/>
                    <a:pt x="57" y="82"/>
                  </a:cubicBezTo>
                  <a:cubicBezTo>
                    <a:pt x="57" y="82"/>
                    <a:pt x="58" y="82"/>
                    <a:pt x="58" y="82"/>
                  </a:cubicBezTo>
                  <a:cubicBezTo>
                    <a:pt x="59" y="82"/>
                    <a:pt x="59" y="82"/>
                    <a:pt x="59" y="82"/>
                  </a:cubicBezTo>
                  <a:cubicBezTo>
                    <a:pt x="62" y="83"/>
                    <a:pt x="65" y="83"/>
                    <a:pt x="69" y="83"/>
                  </a:cubicBezTo>
                  <a:cubicBezTo>
                    <a:pt x="69" y="83"/>
                    <a:pt x="69" y="83"/>
                    <a:pt x="69" y="83"/>
                  </a:cubicBezTo>
                  <a:cubicBezTo>
                    <a:pt x="70" y="83"/>
                    <a:pt x="70" y="83"/>
                    <a:pt x="71" y="83"/>
                  </a:cubicBezTo>
                  <a:cubicBezTo>
                    <a:pt x="72" y="83"/>
                    <a:pt x="72" y="83"/>
                    <a:pt x="72" y="83"/>
                  </a:cubicBezTo>
                  <a:cubicBezTo>
                    <a:pt x="73" y="83"/>
                    <a:pt x="74" y="83"/>
                    <a:pt x="74" y="83"/>
                  </a:cubicBezTo>
                  <a:cubicBezTo>
                    <a:pt x="76" y="83"/>
                    <a:pt x="77" y="83"/>
                    <a:pt x="78" y="83"/>
                  </a:cubicBezTo>
                  <a:cubicBezTo>
                    <a:pt x="79" y="84"/>
                    <a:pt x="80" y="84"/>
                    <a:pt x="81" y="84"/>
                  </a:cubicBezTo>
                  <a:cubicBezTo>
                    <a:pt x="81" y="85"/>
                    <a:pt x="81" y="85"/>
                    <a:pt x="81" y="85"/>
                  </a:cubicBezTo>
                  <a:cubicBezTo>
                    <a:pt x="82" y="85"/>
                    <a:pt x="82" y="85"/>
                    <a:pt x="82" y="85"/>
                  </a:cubicBezTo>
                  <a:cubicBezTo>
                    <a:pt x="84" y="86"/>
                    <a:pt x="84" y="87"/>
                    <a:pt x="85" y="88"/>
                  </a:cubicBezTo>
                  <a:cubicBezTo>
                    <a:pt x="85" y="89"/>
                    <a:pt x="85" y="89"/>
                    <a:pt x="85" y="89"/>
                  </a:cubicBezTo>
                  <a:cubicBezTo>
                    <a:pt x="89" y="92"/>
                    <a:pt x="89" y="92"/>
                    <a:pt x="89" y="92"/>
                  </a:cubicBezTo>
                  <a:cubicBezTo>
                    <a:pt x="83" y="93"/>
                    <a:pt x="83" y="93"/>
                    <a:pt x="83" y="93"/>
                  </a:cubicBezTo>
                  <a:cubicBezTo>
                    <a:pt x="81" y="95"/>
                    <a:pt x="81" y="95"/>
                    <a:pt x="81" y="95"/>
                  </a:cubicBezTo>
                  <a:cubicBezTo>
                    <a:pt x="81" y="96"/>
                    <a:pt x="81" y="98"/>
                    <a:pt x="80" y="99"/>
                  </a:cubicBezTo>
                  <a:cubicBezTo>
                    <a:pt x="79" y="99"/>
                    <a:pt x="79" y="99"/>
                    <a:pt x="79" y="99"/>
                  </a:cubicBezTo>
                  <a:cubicBezTo>
                    <a:pt x="79" y="100"/>
                    <a:pt x="79" y="100"/>
                    <a:pt x="79" y="100"/>
                  </a:cubicBezTo>
                  <a:cubicBezTo>
                    <a:pt x="78" y="101"/>
                    <a:pt x="77" y="101"/>
                    <a:pt x="77" y="102"/>
                  </a:cubicBezTo>
                  <a:cubicBezTo>
                    <a:pt x="76" y="102"/>
                    <a:pt x="76" y="102"/>
                    <a:pt x="76" y="102"/>
                  </a:cubicBezTo>
                  <a:cubicBezTo>
                    <a:pt x="76" y="103"/>
                    <a:pt x="76" y="103"/>
                    <a:pt x="76" y="103"/>
                  </a:cubicBezTo>
                  <a:cubicBezTo>
                    <a:pt x="76" y="103"/>
                    <a:pt x="76" y="103"/>
                    <a:pt x="76" y="103"/>
                  </a:cubicBezTo>
                  <a:cubicBezTo>
                    <a:pt x="76" y="103"/>
                    <a:pt x="76" y="103"/>
                    <a:pt x="76" y="103"/>
                  </a:cubicBezTo>
                  <a:cubicBezTo>
                    <a:pt x="75" y="103"/>
                    <a:pt x="75" y="103"/>
                    <a:pt x="75" y="103"/>
                  </a:cubicBezTo>
                  <a:cubicBezTo>
                    <a:pt x="75" y="103"/>
                    <a:pt x="75" y="103"/>
                    <a:pt x="75" y="103"/>
                  </a:cubicBezTo>
                  <a:cubicBezTo>
                    <a:pt x="75" y="104"/>
                    <a:pt x="75" y="104"/>
                    <a:pt x="75" y="105"/>
                  </a:cubicBezTo>
                  <a:cubicBezTo>
                    <a:pt x="75" y="105"/>
                    <a:pt x="75" y="106"/>
                    <a:pt x="74" y="106"/>
                  </a:cubicBezTo>
                  <a:cubicBezTo>
                    <a:pt x="74" y="109"/>
                    <a:pt x="74" y="109"/>
                    <a:pt x="74" y="109"/>
                  </a:cubicBezTo>
                  <a:cubicBezTo>
                    <a:pt x="71" y="108"/>
                    <a:pt x="71" y="108"/>
                    <a:pt x="71" y="108"/>
                  </a:cubicBezTo>
                  <a:cubicBezTo>
                    <a:pt x="70" y="107"/>
                    <a:pt x="69" y="107"/>
                    <a:pt x="69" y="107"/>
                  </a:cubicBezTo>
                  <a:cubicBezTo>
                    <a:pt x="69" y="107"/>
                    <a:pt x="69" y="107"/>
                    <a:pt x="69" y="107"/>
                  </a:cubicBezTo>
                  <a:cubicBezTo>
                    <a:pt x="69" y="108"/>
                    <a:pt x="69" y="108"/>
                    <a:pt x="69" y="108"/>
                  </a:cubicBezTo>
                  <a:cubicBezTo>
                    <a:pt x="68" y="107"/>
                    <a:pt x="68" y="107"/>
                    <a:pt x="68" y="107"/>
                  </a:cubicBezTo>
                  <a:cubicBezTo>
                    <a:pt x="62" y="114"/>
                    <a:pt x="62" y="114"/>
                    <a:pt x="62" y="114"/>
                  </a:cubicBezTo>
                  <a:cubicBezTo>
                    <a:pt x="62" y="114"/>
                    <a:pt x="62" y="115"/>
                    <a:pt x="61" y="115"/>
                  </a:cubicBezTo>
                  <a:cubicBezTo>
                    <a:pt x="61" y="115"/>
                    <a:pt x="61" y="115"/>
                    <a:pt x="61" y="115"/>
                  </a:cubicBezTo>
                  <a:cubicBezTo>
                    <a:pt x="61" y="116"/>
                    <a:pt x="61" y="116"/>
                    <a:pt x="61" y="116"/>
                  </a:cubicBezTo>
                  <a:cubicBezTo>
                    <a:pt x="61" y="117"/>
                    <a:pt x="61" y="117"/>
                    <a:pt x="61" y="117"/>
                  </a:cubicBezTo>
                  <a:cubicBezTo>
                    <a:pt x="62" y="118"/>
                    <a:pt x="62" y="118"/>
                    <a:pt x="62" y="118"/>
                  </a:cubicBezTo>
                  <a:cubicBezTo>
                    <a:pt x="62" y="119"/>
                    <a:pt x="62" y="119"/>
                    <a:pt x="62" y="119"/>
                  </a:cubicBezTo>
                  <a:cubicBezTo>
                    <a:pt x="63" y="119"/>
                    <a:pt x="63" y="120"/>
                    <a:pt x="63" y="120"/>
                  </a:cubicBezTo>
                  <a:cubicBezTo>
                    <a:pt x="65" y="122"/>
                    <a:pt x="65" y="122"/>
                    <a:pt x="65" y="122"/>
                  </a:cubicBezTo>
                  <a:cubicBezTo>
                    <a:pt x="66" y="123"/>
                    <a:pt x="67" y="124"/>
                    <a:pt x="67" y="126"/>
                  </a:cubicBezTo>
                  <a:cubicBezTo>
                    <a:pt x="67" y="126"/>
                    <a:pt x="67" y="127"/>
                    <a:pt x="68" y="127"/>
                  </a:cubicBezTo>
                  <a:cubicBezTo>
                    <a:pt x="68" y="126"/>
                    <a:pt x="68" y="126"/>
                    <a:pt x="68" y="126"/>
                  </a:cubicBezTo>
                  <a:cubicBezTo>
                    <a:pt x="68" y="125"/>
                    <a:pt x="69" y="124"/>
                    <a:pt x="69" y="123"/>
                  </a:cubicBezTo>
                  <a:cubicBezTo>
                    <a:pt x="69" y="122"/>
                    <a:pt x="70" y="122"/>
                    <a:pt x="70" y="121"/>
                  </a:cubicBezTo>
                  <a:cubicBezTo>
                    <a:pt x="70" y="121"/>
                    <a:pt x="70" y="121"/>
                    <a:pt x="70" y="121"/>
                  </a:cubicBezTo>
                  <a:cubicBezTo>
                    <a:pt x="71" y="120"/>
                    <a:pt x="71" y="118"/>
                    <a:pt x="71" y="117"/>
                  </a:cubicBezTo>
                  <a:cubicBezTo>
                    <a:pt x="71" y="116"/>
                    <a:pt x="71" y="115"/>
                    <a:pt x="71" y="114"/>
                  </a:cubicBezTo>
                  <a:cubicBezTo>
                    <a:pt x="73" y="109"/>
                    <a:pt x="73" y="109"/>
                    <a:pt x="73" y="109"/>
                  </a:cubicBezTo>
                  <a:cubicBezTo>
                    <a:pt x="76" y="113"/>
                    <a:pt x="76" y="113"/>
                    <a:pt x="76" y="113"/>
                  </a:cubicBezTo>
                  <a:cubicBezTo>
                    <a:pt x="76" y="112"/>
                    <a:pt x="78" y="112"/>
                    <a:pt x="79" y="112"/>
                  </a:cubicBezTo>
                  <a:cubicBezTo>
                    <a:pt x="79" y="112"/>
                    <a:pt x="79" y="112"/>
                    <a:pt x="79" y="112"/>
                  </a:cubicBezTo>
                  <a:cubicBezTo>
                    <a:pt x="80" y="112"/>
                    <a:pt x="80" y="112"/>
                    <a:pt x="80" y="112"/>
                  </a:cubicBezTo>
                  <a:cubicBezTo>
                    <a:pt x="80" y="112"/>
                    <a:pt x="80" y="112"/>
                    <a:pt x="80" y="112"/>
                  </a:cubicBezTo>
                  <a:cubicBezTo>
                    <a:pt x="81" y="113"/>
                    <a:pt x="82" y="114"/>
                    <a:pt x="82" y="115"/>
                  </a:cubicBezTo>
                  <a:cubicBezTo>
                    <a:pt x="83" y="117"/>
                    <a:pt x="83" y="119"/>
                    <a:pt x="83" y="120"/>
                  </a:cubicBezTo>
                  <a:cubicBezTo>
                    <a:pt x="84" y="122"/>
                    <a:pt x="84" y="124"/>
                    <a:pt x="84" y="126"/>
                  </a:cubicBezTo>
                  <a:cubicBezTo>
                    <a:pt x="89" y="126"/>
                    <a:pt x="89" y="126"/>
                    <a:pt x="89" y="126"/>
                  </a:cubicBezTo>
                  <a:cubicBezTo>
                    <a:pt x="84" y="128"/>
                    <a:pt x="84" y="128"/>
                    <a:pt x="84" y="128"/>
                  </a:cubicBezTo>
                  <a:cubicBezTo>
                    <a:pt x="84" y="128"/>
                    <a:pt x="84" y="128"/>
                    <a:pt x="84" y="128"/>
                  </a:cubicBezTo>
                  <a:cubicBezTo>
                    <a:pt x="84" y="129"/>
                    <a:pt x="85" y="130"/>
                    <a:pt x="85" y="132"/>
                  </a:cubicBezTo>
                  <a:cubicBezTo>
                    <a:pt x="86" y="132"/>
                    <a:pt x="86" y="132"/>
                    <a:pt x="86" y="132"/>
                  </a:cubicBezTo>
                  <a:cubicBezTo>
                    <a:pt x="86" y="135"/>
                    <a:pt x="87" y="137"/>
                    <a:pt x="87" y="139"/>
                  </a:cubicBezTo>
                  <a:cubicBezTo>
                    <a:pt x="88" y="147"/>
                    <a:pt x="88" y="147"/>
                    <a:pt x="88" y="147"/>
                  </a:cubicBezTo>
                  <a:cubicBezTo>
                    <a:pt x="91" y="145"/>
                    <a:pt x="91" y="145"/>
                    <a:pt x="91" y="145"/>
                  </a:cubicBezTo>
                  <a:cubicBezTo>
                    <a:pt x="93" y="145"/>
                    <a:pt x="93" y="145"/>
                    <a:pt x="93" y="145"/>
                  </a:cubicBezTo>
                  <a:cubicBezTo>
                    <a:pt x="94" y="144"/>
                    <a:pt x="94" y="144"/>
                    <a:pt x="94" y="144"/>
                  </a:cubicBezTo>
                  <a:cubicBezTo>
                    <a:pt x="93" y="137"/>
                    <a:pt x="93" y="137"/>
                    <a:pt x="93" y="137"/>
                  </a:cubicBezTo>
                  <a:cubicBezTo>
                    <a:pt x="93" y="133"/>
                    <a:pt x="93" y="133"/>
                    <a:pt x="93" y="133"/>
                  </a:cubicBezTo>
                  <a:cubicBezTo>
                    <a:pt x="94" y="127"/>
                    <a:pt x="94" y="127"/>
                    <a:pt x="94" y="127"/>
                  </a:cubicBezTo>
                  <a:cubicBezTo>
                    <a:pt x="98" y="125"/>
                    <a:pt x="98" y="125"/>
                    <a:pt x="98" y="125"/>
                  </a:cubicBezTo>
                  <a:cubicBezTo>
                    <a:pt x="98" y="125"/>
                    <a:pt x="98" y="125"/>
                    <a:pt x="98" y="125"/>
                  </a:cubicBezTo>
                  <a:cubicBezTo>
                    <a:pt x="99" y="119"/>
                    <a:pt x="99" y="115"/>
                    <a:pt x="99" y="113"/>
                  </a:cubicBezTo>
                  <a:cubicBezTo>
                    <a:pt x="98" y="110"/>
                    <a:pt x="97" y="108"/>
                    <a:pt x="97" y="108"/>
                  </a:cubicBezTo>
                  <a:cubicBezTo>
                    <a:pt x="97" y="105"/>
                    <a:pt x="97" y="105"/>
                    <a:pt x="97" y="105"/>
                  </a:cubicBezTo>
                  <a:cubicBezTo>
                    <a:pt x="100" y="106"/>
                    <a:pt x="100" y="106"/>
                    <a:pt x="100" y="106"/>
                  </a:cubicBezTo>
                  <a:cubicBezTo>
                    <a:pt x="100" y="106"/>
                    <a:pt x="107" y="106"/>
                    <a:pt x="112" y="108"/>
                  </a:cubicBezTo>
                  <a:cubicBezTo>
                    <a:pt x="114" y="107"/>
                    <a:pt x="115" y="106"/>
                    <a:pt x="115" y="105"/>
                  </a:cubicBezTo>
                  <a:cubicBezTo>
                    <a:pt x="116" y="103"/>
                    <a:pt x="118" y="99"/>
                    <a:pt x="120" y="96"/>
                  </a:cubicBezTo>
                  <a:cubicBezTo>
                    <a:pt x="122" y="93"/>
                    <a:pt x="125" y="88"/>
                    <a:pt x="123" y="84"/>
                  </a:cubicBezTo>
                  <a:cubicBezTo>
                    <a:pt x="121" y="80"/>
                    <a:pt x="122" y="78"/>
                    <a:pt x="128" y="74"/>
                  </a:cubicBezTo>
                  <a:cubicBezTo>
                    <a:pt x="130" y="73"/>
                    <a:pt x="130" y="72"/>
                    <a:pt x="130" y="72"/>
                  </a:cubicBezTo>
                  <a:cubicBezTo>
                    <a:pt x="130" y="70"/>
                    <a:pt x="131" y="69"/>
                    <a:pt x="132" y="68"/>
                  </a:cubicBezTo>
                  <a:cubicBezTo>
                    <a:pt x="132" y="67"/>
                    <a:pt x="132" y="67"/>
                    <a:pt x="132" y="67"/>
                  </a:cubicBezTo>
                  <a:cubicBezTo>
                    <a:pt x="133" y="66"/>
                    <a:pt x="132" y="64"/>
                    <a:pt x="132" y="63"/>
                  </a:cubicBezTo>
                  <a:cubicBezTo>
                    <a:pt x="132" y="62"/>
                    <a:pt x="131" y="60"/>
                    <a:pt x="131" y="59"/>
                  </a:cubicBezTo>
                  <a:cubicBezTo>
                    <a:pt x="131" y="54"/>
                    <a:pt x="134" y="53"/>
                    <a:pt x="138" y="51"/>
                  </a:cubicBezTo>
                  <a:cubicBezTo>
                    <a:pt x="139" y="51"/>
                    <a:pt x="140" y="50"/>
                    <a:pt x="142" y="49"/>
                  </a:cubicBezTo>
                  <a:cubicBezTo>
                    <a:pt x="143" y="47"/>
                    <a:pt x="145" y="46"/>
                    <a:pt x="148" y="44"/>
                  </a:cubicBezTo>
                  <a:cubicBezTo>
                    <a:pt x="149" y="44"/>
                    <a:pt x="150" y="43"/>
                    <a:pt x="152" y="42"/>
                  </a:cubicBezTo>
                  <a:cubicBezTo>
                    <a:pt x="152" y="42"/>
                    <a:pt x="152" y="42"/>
                    <a:pt x="152" y="42"/>
                  </a:cubicBezTo>
                  <a:cubicBezTo>
                    <a:pt x="156" y="40"/>
                    <a:pt x="160" y="38"/>
                    <a:pt x="164" y="38"/>
                  </a:cubicBezTo>
                  <a:cubicBezTo>
                    <a:pt x="165" y="38"/>
                    <a:pt x="165" y="38"/>
                    <a:pt x="166" y="38"/>
                  </a:cubicBezTo>
                  <a:cubicBezTo>
                    <a:pt x="166" y="38"/>
                    <a:pt x="166" y="38"/>
                    <a:pt x="166" y="38"/>
                  </a:cubicBezTo>
                  <a:cubicBezTo>
                    <a:pt x="165" y="36"/>
                    <a:pt x="165" y="33"/>
                    <a:pt x="170" y="30"/>
                  </a:cubicBezTo>
                  <a:cubicBezTo>
                    <a:pt x="171" y="29"/>
                    <a:pt x="171" y="29"/>
                    <a:pt x="172" y="28"/>
                  </a:cubicBezTo>
                  <a:cubicBezTo>
                    <a:pt x="172" y="28"/>
                    <a:pt x="172" y="28"/>
                    <a:pt x="172" y="28"/>
                  </a:cubicBezTo>
                  <a:cubicBezTo>
                    <a:pt x="173" y="28"/>
                    <a:pt x="174" y="27"/>
                    <a:pt x="175" y="27"/>
                  </a:cubicBezTo>
                  <a:cubicBezTo>
                    <a:pt x="174" y="24"/>
                    <a:pt x="174" y="24"/>
                    <a:pt x="174" y="24"/>
                  </a:cubicBezTo>
                  <a:cubicBezTo>
                    <a:pt x="174" y="24"/>
                    <a:pt x="174" y="24"/>
                    <a:pt x="174" y="24"/>
                  </a:cubicBezTo>
                  <a:cubicBezTo>
                    <a:pt x="173" y="24"/>
                    <a:pt x="173" y="24"/>
                    <a:pt x="173" y="24"/>
                  </a:cubicBezTo>
                  <a:cubicBezTo>
                    <a:pt x="173" y="23"/>
                    <a:pt x="173" y="23"/>
                    <a:pt x="173" y="23"/>
                  </a:cubicBezTo>
                  <a:cubicBezTo>
                    <a:pt x="172" y="22"/>
                    <a:pt x="171" y="22"/>
                    <a:pt x="171" y="22"/>
                  </a:cubicBezTo>
                  <a:cubicBezTo>
                    <a:pt x="170" y="22"/>
                    <a:pt x="170" y="22"/>
                    <a:pt x="170" y="22"/>
                  </a:cubicBezTo>
                  <a:cubicBezTo>
                    <a:pt x="170" y="22"/>
                    <a:pt x="169" y="22"/>
                    <a:pt x="169" y="21"/>
                  </a:cubicBezTo>
                  <a:cubicBezTo>
                    <a:pt x="167" y="21"/>
                    <a:pt x="167" y="21"/>
                    <a:pt x="167" y="21"/>
                  </a:cubicBezTo>
                  <a:cubicBezTo>
                    <a:pt x="166" y="21"/>
                    <a:pt x="165" y="21"/>
                    <a:pt x="164" y="21"/>
                  </a:cubicBezTo>
                  <a:cubicBezTo>
                    <a:pt x="162" y="21"/>
                    <a:pt x="162" y="21"/>
                    <a:pt x="162" y="21"/>
                  </a:cubicBezTo>
                  <a:cubicBezTo>
                    <a:pt x="162" y="21"/>
                    <a:pt x="162" y="21"/>
                    <a:pt x="161" y="21"/>
                  </a:cubicBezTo>
                  <a:cubicBezTo>
                    <a:pt x="161" y="21"/>
                    <a:pt x="161" y="21"/>
                    <a:pt x="161" y="21"/>
                  </a:cubicBezTo>
                  <a:cubicBezTo>
                    <a:pt x="161" y="21"/>
                    <a:pt x="161" y="21"/>
                    <a:pt x="161" y="21"/>
                  </a:cubicBezTo>
                  <a:cubicBezTo>
                    <a:pt x="160" y="22"/>
                    <a:pt x="160" y="22"/>
                    <a:pt x="160" y="22"/>
                  </a:cubicBezTo>
                  <a:cubicBezTo>
                    <a:pt x="159" y="22"/>
                    <a:pt x="159" y="22"/>
                    <a:pt x="158" y="22"/>
                  </a:cubicBezTo>
                  <a:cubicBezTo>
                    <a:pt x="158" y="22"/>
                    <a:pt x="158" y="22"/>
                    <a:pt x="158" y="22"/>
                  </a:cubicBezTo>
                  <a:cubicBezTo>
                    <a:pt x="156" y="22"/>
                    <a:pt x="154" y="20"/>
                    <a:pt x="154" y="18"/>
                  </a:cubicBezTo>
                  <a:cubicBezTo>
                    <a:pt x="154" y="18"/>
                    <a:pt x="154" y="18"/>
                    <a:pt x="154" y="18"/>
                  </a:cubicBezTo>
                  <a:cubicBezTo>
                    <a:pt x="155" y="17"/>
                    <a:pt x="155" y="17"/>
                    <a:pt x="155" y="17"/>
                  </a:cubicBezTo>
                  <a:cubicBezTo>
                    <a:pt x="155" y="16"/>
                    <a:pt x="155" y="16"/>
                    <a:pt x="155" y="16"/>
                  </a:cubicBezTo>
                  <a:cubicBezTo>
                    <a:pt x="155" y="15"/>
                    <a:pt x="155" y="15"/>
                    <a:pt x="155" y="15"/>
                  </a:cubicBezTo>
                  <a:cubicBezTo>
                    <a:pt x="156" y="14"/>
                    <a:pt x="156" y="14"/>
                    <a:pt x="157" y="13"/>
                  </a:cubicBezTo>
                  <a:cubicBezTo>
                    <a:pt x="157" y="13"/>
                    <a:pt x="157" y="13"/>
                    <a:pt x="157" y="13"/>
                  </a:cubicBezTo>
                  <a:cubicBezTo>
                    <a:pt x="156" y="13"/>
                    <a:pt x="156" y="13"/>
                    <a:pt x="156" y="13"/>
                  </a:cubicBezTo>
                  <a:cubicBezTo>
                    <a:pt x="158" y="11"/>
                    <a:pt x="158" y="11"/>
                    <a:pt x="158" y="11"/>
                  </a:cubicBezTo>
                  <a:cubicBezTo>
                    <a:pt x="159" y="11"/>
                    <a:pt x="159" y="11"/>
                    <a:pt x="160" y="10"/>
                  </a:cubicBezTo>
                  <a:cubicBezTo>
                    <a:pt x="160" y="10"/>
                    <a:pt x="160" y="10"/>
                    <a:pt x="160" y="10"/>
                  </a:cubicBezTo>
                  <a:cubicBezTo>
                    <a:pt x="159" y="10"/>
                    <a:pt x="159" y="10"/>
                    <a:pt x="159" y="10"/>
                  </a:cubicBezTo>
                  <a:cubicBezTo>
                    <a:pt x="159" y="10"/>
                    <a:pt x="159" y="9"/>
                    <a:pt x="159" y="9"/>
                  </a:cubicBezTo>
                  <a:cubicBezTo>
                    <a:pt x="158" y="9"/>
                    <a:pt x="158" y="9"/>
                    <a:pt x="158" y="9"/>
                  </a:cubicBezTo>
                  <a:cubicBezTo>
                    <a:pt x="157" y="9"/>
                    <a:pt x="156" y="10"/>
                    <a:pt x="156" y="10"/>
                  </a:cubicBezTo>
                  <a:cubicBezTo>
                    <a:pt x="152" y="13"/>
                    <a:pt x="152" y="13"/>
                    <a:pt x="152" y="13"/>
                  </a:cubicBezTo>
                  <a:cubicBezTo>
                    <a:pt x="152" y="8"/>
                    <a:pt x="152" y="8"/>
                    <a:pt x="152" y="8"/>
                  </a:cubicBezTo>
                  <a:cubicBezTo>
                    <a:pt x="152" y="7"/>
                    <a:pt x="152" y="7"/>
                    <a:pt x="152" y="7"/>
                  </a:cubicBezTo>
                  <a:cubicBezTo>
                    <a:pt x="147" y="3"/>
                    <a:pt x="147" y="3"/>
                    <a:pt x="147" y="3"/>
                  </a:cubicBezTo>
                  <a:cubicBezTo>
                    <a:pt x="153" y="2"/>
                    <a:pt x="153" y="2"/>
                    <a:pt x="153" y="2"/>
                  </a:cubicBezTo>
                  <a:cubicBezTo>
                    <a:pt x="153" y="2"/>
                    <a:pt x="153" y="2"/>
                    <a:pt x="153" y="2"/>
                  </a:cubicBezTo>
                  <a:cubicBezTo>
                    <a:pt x="153" y="2"/>
                    <a:pt x="153" y="2"/>
                    <a:pt x="153" y="2"/>
                  </a:cubicBezTo>
                  <a:cubicBezTo>
                    <a:pt x="154" y="2"/>
                    <a:pt x="154" y="2"/>
                    <a:pt x="154" y="2"/>
                  </a:cubicBezTo>
                  <a:cubicBezTo>
                    <a:pt x="153" y="1"/>
                    <a:pt x="153" y="1"/>
                    <a:pt x="152" y="0"/>
                  </a:cubicBezTo>
                  <a:cubicBezTo>
                    <a:pt x="152" y="0"/>
                    <a:pt x="152" y="0"/>
                    <a:pt x="152" y="0"/>
                  </a:cubicBezTo>
                  <a:cubicBezTo>
                    <a:pt x="152" y="0"/>
                    <a:pt x="152" y="0"/>
                    <a:pt x="1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414"/>
            <p:cNvSpPr>
              <a:spLocks noEditPoints="1"/>
            </p:cNvSpPr>
            <p:nvPr/>
          </p:nvSpPr>
          <p:spPr bwMode="auto">
            <a:xfrm>
              <a:off x="2639492" y="4486684"/>
              <a:ext cx="1292924" cy="1789462"/>
            </a:xfrm>
            <a:custGeom>
              <a:gdLst>
                <a:gd name="T0" fmla="*/ 159 w 398"/>
                <a:gd name="T1" fmla="*/ 17 h 550"/>
                <a:gd name="T2" fmla="*/ 135 w 398"/>
                <a:gd name="T3" fmla="*/ 19 h 550"/>
                <a:gd name="T4" fmla="*/ 110 w 398"/>
                <a:gd name="T5" fmla="*/ 21 h 550"/>
                <a:gd name="T6" fmla="*/ 115 w 398"/>
                <a:gd name="T7" fmla="*/ 37 h 550"/>
                <a:gd name="T8" fmla="*/ 126 w 398"/>
                <a:gd name="T9" fmla="*/ 58 h 550"/>
                <a:gd name="T10" fmla="*/ 130 w 398"/>
                <a:gd name="T11" fmla="*/ 75 h 550"/>
                <a:gd name="T12" fmla="*/ 124 w 398"/>
                <a:gd name="T13" fmla="*/ 89 h 550"/>
                <a:gd name="T14" fmla="*/ 113 w 398"/>
                <a:gd name="T15" fmla="*/ 111 h 550"/>
                <a:gd name="T16" fmla="*/ 87 w 398"/>
                <a:gd name="T17" fmla="*/ 139 h 550"/>
                <a:gd name="T18" fmla="*/ 58 w 398"/>
                <a:gd name="T19" fmla="*/ 162 h 550"/>
                <a:gd name="T20" fmla="*/ 43 w 398"/>
                <a:gd name="T21" fmla="*/ 158 h 550"/>
                <a:gd name="T22" fmla="*/ 30 w 398"/>
                <a:gd name="T23" fmla="*/ 182 h 550"/>
                <a:gd name="T24" fmla="*/ 43 w 398"/>
                <a:gd name="T25" fmla="*/ 201 h 550"/>
                <a:gd name="T26" fmla="*/ 56 w 398"/>
                <a:gd name="T27" fmla="*/ 220 h 550"/>
                <a:gd name="T28" fmla="*/ 52 w 398"/>
                <a:gd name="T29" fmla="*/ 234 h 550"/>
                <a:gd name="T30" fmla="*/ 33 w 398"/>
                <a:gd name="T31" fmla="*/ 236 h 550"/>
                <a:gd name="T32" fmla="*/ 7 w 398"/>
                <a:gd name="T33" fmla="*/ 241 h 550"/>
                <a:gd name="T34" fmla="*/ 7 w 398"/>
                <a:gd name="T35" fmla="*/ 252 h 550"/>
                <a:gd name="T36" fmla="*/ 41 w 398"/>
                <a:gd name="T37" fmla="*/ 259 h 550"/>
                <a:gd name="T38" fmla="*/ 18 w 398"/>
                <a:gd name="T39" fmla="*/ 278 h 550"/>
                <a:gd name="T40" fmla="*/ 53 w 398"/>
                <a:gd name="T41" fmla="*/ 303 h 550"/>
                <a:gd name="T42" fmla="*/ 74 w 398"/>
                <a:gd name="T43" fmla="*/ 278 h 550"/>
                <a:gd name="T44" fmla="*/ 82 w 398"/>
                <a:gd name="T45" fmla="*/ 280 h 550"/>
                <a:gd name="T46" fmla="*/ 88 w 398"/>
                <a:gd name="T47" fmla="*/ 297 h 550"/>
                <a:gd name="T48" fmla="*/ 88 w 398"/>
                <a:gd name="T49" fmla="*/ 333 h 550"/>
                <a:gd name="T50" fmla="*/ 90 w 398"/>
                <a:gd name="T51" fmla="*/ 352 h 550"/>
                <a:gd name="T52" fmla="*/ 105 w 398"/>
                <a:gd name="T53" fmla="*/ 402 h 550"/>
                <a:gd name="T54" fmla="*/ 115 w 398"/>
                <a:gd name="T55" fmla="*/ 418 h 550"/>
                <a:gd name="T56" fmla="*/ 127 w 398"/>
                <a:gd name="T57" fmla="*/ 457 h 550"/>
                <a:gd name="T58" fmla="*/ 149 w 398"/>
                <a:gd name="T59" fmla="*/ 502 h 550"/>
                <a:gd name="T60" fmla="*/ 161 w 398"/>
                <a:gd name="T61" fmla="*/ 532 h 550"/>
                <a:gd name="T62" fmla="*/ 195 w 398"/>
                <a:gd name="T63" fmla="*/ 530 h 550"/>
                <a:gd name="T64" fmla="*/ 205 w 398"/>
                <a:gd name="T65" fmla="*/ 522 h 550"/>
                <a:gd name="T66" fmla="*/ 222 w 398"/>
                <a:gd name="T67" fmla="*/ 495 h 550"/>
                <a:gd name="T68" fmla="*/ 228 w 398"/>
                <a:gd name="T69" fmla="*/ 445 h 550"/>
                <a:gd name="T70" fmla="*/ 230 w 398"/>
                <a:gd name="T71" fmla="*/ 402 h 550"/>
                <a:gd name="T72" fmla="*/ 254 w 398"/>
                <a:gd name="T73" fmla="*/ 389 h 550"/>
                <a:gd name="T74" fmla="*/ 300 w 398"/>
                <a:gd name="T75" fmla="*/ 353 h 550"/>
                <a:gd name="T76" fmla="*/ 327 w 398"/>
                <a:gd name="T77" fmla="*/ 321 h 550"/>
                <a:gd name="T78" fmla="*/ 356 w 398"/>
                <a:gd name="T79" fmla="*/ 294 h 550"/>
                <a:gd name="T80" fmla="*/ 381 w 398"/>
                <a:gd name="T81" fmla="*/ 286 h 550"/>
                <a:gd name="T82" fmla="*/ 390 w 398"/>
                <a:gd name="T83" fmla="*/ 274 h 550"/>
                <a:gd name="T84" fmla="*/ 397 w 398"/>
                <a:gd name="T85" fmla="*/ 283 h 550"/>
                <a:gd name="T86" fmla="*/ 393 w 398"/>
                <a:gd name="T87" fmla="*/ 255 h 550"/>
                <a:gd name="T88" fmla="*/ 387 w 398"/>
                <a:gd name="T89" fmla="*/ 233 h 550"/>
                <a:gd name="T90" fmla="*/ 382 w 398"/>
                <a:gd name="T91" fmla="*/ 217 h 550"/>
                <a:gd name="T92" fmla="*/ 377 w 398"/>
                <a:gd name="T93" fmla="*/ 201 h 550"/>
                <a:gd name="T94" fmla="*/ 376 w 398"/>
                <a:gd name="T95" fmla="*/ 192 h 550"/>
                <a:gd name="T96" fmla="*/ 354 w 398"/>
                <a:gd name="T97" fmla="*/ 190 h 550"/>
                <a:gd name="T98" fmla="*/ 340 w 398"/>
                <a:gd name="T99" fmla="*/ 187 h 550"/>
                <a:gd name="T100" fmla="*/ 323 w 398"/>
                <a:gd name="T101" fmla="*/ 182 h 550"/>
                <a:gd name="T102" fmla="*/ 306 w 398"/>
                <a:gd name="T103" fmla="*/ 169 h 550"/>
                <a:gd name="T104" fmla="*/ 292 w 398"/>
                <a:gd name="T105" fmla="*/ 169 h 550"/>
                <a:gd name="T106" fmla="*/ 276 w 398"/>
                <a:gd name="T107" fmla="*/ 168 h 550"/>
                <a:gd name="T108" fmla="*/ 256 w 398"/>
                <a:gd name="T109" fmla="*/ 159 h 550"/>
                <a:gd name="T110" fmla="*/ 224 w 398"/>
                <a:gd name="T111" fmla="*/ 137 h 550"/>
                <a:gd name="T112" fmla="*/ 228 w 398"/>
                <a:gd name="T113" fmla="*/ 105 h 550"/>
                <a:gd name="T114" fmla="*/ 209 w 398"/>
                <a:gd name="T115" fmla="*/ 89 h 550"/>
                <a:gd name="T116" fmla="*/ 200 w 398"/>
                <a:gd name="T117" fmla="*/ 87 h 550"/>
                <a:gd name="T118" fmla="*/ 196 w 398"/>
                <a:gd name="T119" fmla="*/ 58 h 550"/>
                <a:gd name="T120" fmla="*/ 212 w 398"/>
                <a:gd name="T121" fmla="*/ 52 h 550"/>
                <a:gd name="T122" fmla="*/ 200 w 398"/>
                <a:gd name="T123" fmla="*/ 37 h 550"/>
                <a:gd name="T124" fmla="*/ 188 w 398"/>
                <a:gd name="T125" fmla="*/ 9 h 5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8" h="550">
                  <a:moveTo>
                    <a:pt x="244" y="400"/>
                  </a:moveTo>
                  <a:cubicBezTo>
                    <a:pt x="244" y="400"/>
                    <a:pt x="244" y="400"/>
                    <a:pt x="244" y="400"/>
                  </a:cubicBezTo>
                  <a:cubicBezTo>
                    <a:pt x="244" y="400"/>
                    <a:pt x="244" y="400"/>
                    <a:pt x="244" y="400"/>
                  </a:cubicBezTo>
                  <a:moveTo>
                    <a:pt x="185" y="0"/>
                  </a:moveTo>
                  <a:cubicBezTo>
                    <a:pt x="185" y="0"/>
                    <a:pt x="184" y="0"/>
                    <a:pt x="184" y="0"/>
                  </a:cubicBezTo>
                  <a:cubicBezTo>
                    <a:pt x="183" y="1"/>
                    <a:pt x="182" y="1"/>
                    <a:pt x="180" y="2"/>
                  </a:cubicBezTo>
                  <a:cubicBezTo>
                    <a:pt x="179" y="3"/>
                    <a:pt x="178" y="4"/>
                    <a:pt x="177" y="4"/>
                  </a:cubicBezTo>
                  <a:cubicBezTo>
                    <a:pt x="176" y="5"/>
                    <a:pt x="175" y="5"/>
                    <a:pt x="174" y="6"/>
                  </a:cubicBezTo>
                  <a:cubicBezTo>
                    <a:pt x="170" y="8"/>
                    <a:pt x="170" y="8"/>
                    <a:pt x="170" y="8"/>
                  </a:cubicBezTo>
                  <a:cubicBezTo>
                    <a:pt x="169" y="9"/>
                    <a:pt x="168" y="10"/>
                    <a:pt x="167" y="12"/>
                  </a:cubicBezTo>
                  <a:cubicBezTo>
                    <a:pt x="166" y="13"/>
                    <a:pt x="166" y="13"/>
                    <a:pt x="166" y="13"/>
                  </a:cubicBezTo>
                  <a:cubicBezTo>
                    <a:pt x="164" y="14"/>
                    <a:pt x="163" y="16"/>
                    <a:pt x="160" y="17"/>
                  </a:cubicBezTo>
                  <a:cubicBezTo>
                    <a:pt x="159" y="17"/>
                    <a:pt x="159" y="17"/>
                    <a:pt x="159" y="17"/>
                  </a:cubicBezTo>
                  <a:cubicBezTo>
                    <a:pt x="158" y="17"/>
                    <a:pt x="158" y="17"/>
                    <a:pt x="158" y="17"/>
                  </a:cubicBezTo>
                  <a:cubicBezTo>
                    <a:pt x="157" y="17"/>
                    <a:pt x="157" y="17"/>
                    <a:pt x="157" y="17"/>
                  </a:cubicBezTo>
                  <a:cubicBezTo>
                    <a:pt x="157" y="17"/>
                    <a:pt x="156" y="17"/>
                    <a:pt x="156" y="17"/>
                  </a:cubicBezTo>
                  <a:cubicBezTo>
                    <a:pt x="155" y="17"/>
                    <a:pt x="155" y="17"/>
                    <a:pt x="154" y="18"/>
                  </a:cubicBezTo>
                  <a:cubicBezTo>
                    <a:pt x="154" y="18"/>
                    <a:pt x="154" y="18"/>
                    <a:pt x="153" y="18"/>
                  </a:cubicBezTo>
                  <a:cubicBezTo>
                    <a:pt x="153" y="18"/>
                    <a:pt x="153" y="18"/>
                    <a:pt x="153" y="18"/>
                  </a:cubicBezTo>
                  <a:cubicBezTo>
                    <a:pt x="152" y="19"/>
                    <a:pt x="152" y="19"/>
                    <a:pt x="151" y="19"/>
                  </a:cubicBezTo>
                  <a:cubicBezTo>
                    <a:pt x="148" y="20"/>
                    <a:pt x="145" y="21"/>
                    <a:pt x="143" y="21"/>
                  </a:cubicBezTo>
                  <a:cubicBezTo>
                    <a:pt x="142" y="21"/>
                    <a:pt x="141" y="21"/>
                    <a:pt x="141" y="21"/>
                  </a:cubicBezTo>
                  <a:cubicBezTo>
                    <a:pt x="139" y="21"/>
                    <a:pt x="139" y="21"/>
                    <a:pt x="139" y="21"/>
                  </a:cubicBezTo>
                  <a:cubicBezTo>
                    <a:pt x="138" y="21"/>
                    <a:pt x="137" y="20"/>
                    <a:pt x="136" y="20"/>
                  </a:cubicBezTo>
                  <a:cubicBezTo>
                    <a:pt x="136" y="20"/>
                    <a:pt x="136" y="20"/>
                    <a:pt x="135" y="19"/>
                  </a:cubicBezTo>
                  <a:cubicBezTo>
                    <a:pt x="135" y="19"/>
                    <a:pt x="135" y="19"/>
                    <a:pt x="135" y="19"/>
                  </a:cubicBezTo>
                  <a:cubicBezTo>
                    <a:pt x="134" y="19"/>
                    <a:pt x="134" y="19"/>
                    <a:pt x="133" y="18"/>
                  </a:cubicBezTo>
                  <a:cubicBezTo>
                    <a:pt x="131" y="18"/>
                    <a:pt x="131" y="18"/>
                    <a:pt x="131" y="18"/>
                  </a:cubicBezTo>
                  <a:cubicBezTo>
                    <a:pt x="130" y="18"/>
                    <a:pt x="129" y="18"/>
                    <a:pt x="128" y="18"/>
                  </a:cubicBezTo>
                  <a:cubicBezTo>
                    <a:pt x="126" y="17"/>
                    <a:pt x="124" y="17"/>
                    <a:pt x="123" y="17"/>
                  </a:cubicBezTo>
                  <a:cubicBezTo>
                    <a:pt x="123" y="17"/>
                    <a:pt x="122" y="17"/>
                    <a:pt x="122" y="17"/>
                  </a:cubicBezTo>
                  <a:cubicBezTo>
                    <a:pt x="121" y="17"/>
                    <a:pt x="120" y="17"/>
                    <a:pt x="119" y="17"/>
                  </a:cubicBezTo>
                  <a:cubicBezTo>
                    <a:pt x="119" y="17"/>
                    <a:pt x="119" y="17"/>
                    <a:pt x="119" y="17"/>
                  </a:cubicBezTo>
                  <a:cubicBezTo>
                    <a:pt x="116" y="17"/>
                    <a:pt x="114" y="18"/>
                    <a:pt x="112" y="18"/>
                  </a:cubicBezTo>
                  <a:cubicBezTo>
                    <a:pt x="112" y="18"/>
                    <a:pt x="111" y="18"/>
                    <a:pt x="111" y="18"/>
                  </a:cubicBezTo>
                  <a:cubicBezTo>
                    <a:pt x="111" y="19"/>
                    <a:pt x="111" y="19"/>
                    <a:pt x="111" y="19"/>
                  </a:cubicBezTo>
                  <a:cubicBezTo>
                    <a:pt x="110" y="19"/>
                    <a:pt x="110" y="20"/>
                    <a:pt x="110" y="21"/>
                  </a:cubicBezTo>
                  <a:cubicBezTo>
                    <a:pt x="109" y="21"/>
                    <a:pt x="109" y="21"/>
                    <a:pt x="109" y="21"/>
                  </a:cubicBezTo>
                  <a:cubicBezTo>
                    <a:pt x="110" y="21"/>
                    <a:pt x="110" y="21"/>
                    <a:pt x="110" y="21"/>
                  </a:cubicBezTo>
                  <a:cubicBezTo>
                    <a:pt x="110" y="21"/>
                    <a:pt x="110" y="21"/>
                    <a:pt x="110" y="21"/>
                  </a:cubicBezTo>
                  <a:cubicBezTo>
                    <a:pt x="111" y="22"/>
                    <a:pt x="111" y="22"/>
                    <a:pt x="111" y="22"/>
                  </a:cubicBezTo>
                  <a:cubicBezTo>
                    <a:pt x="112" y="23"/>
                    <a:pt x="112" y="23"/>
                    <a:pt x="112" y="23"/>
                  </a:cubicBezTo>
                  <a:cubicBezTo>
                    <a:pt x="113" y="24"/>
                    <a:pt x="113" y="26"/>
                    <a:pt x="112" y="27"/>
                  </a:cubicBezTo>
                  <a:cubicBezTo>
                    <a:pt x="115" y="28"/>
                    <a:pt x="117" y="28"/>
                    <a:pt x="118" y="30"/>
                  </a:cubicBezTo>
                  <a:cubicBezTo>
                    <a:pt x="118" y="31"/>
                    <a:pt x="118" y="33"/>
                    <a:pt x="117" y="34"/>
                  </a:cubicBezTo>
                  <a:cubicBezTo>
                    <a:pt x="116" y="35"/>
                    <a:pt x="116" y="35"/>
                    <a:pt x="116" y="35"/>
                  </a:cubicBezTo>
                  <a:cubicBezTo>
                    <a:pt x="115" y="35"/>
                    <a:pt x="115" y="35"/>
                    <a:pt x="115" y="35"/>
                  </a:cubicBezTo>
                  <a:cubicBezTo>
                    <a:pt x="115" y="35"/>
                    <a:pt x="115" y="35"/>
                    <a:pt x="114" y="35"/>
                  </a:cubicBezTo>
                  <a:cubicBezTo>
                    <a:pt x="114" y="36"/>
                    <a:pt x="114" y="36"/>
                    <a:pt x="114" y="36"/>
                  </a:cubicBezTo>
                  <a:cubicBezTo>
                    <a:pt x="113" y="36"/>
                    <a:pt x="113" y="36"/>
                    <a:pt x="113" y="36"/>
                  </a:cubicBezTo>
                  <a:cubicBezTo>
                    <a:pt x="114" y="37"/>
                    <a:pt x="114" y="37"/>
                    <a:pt x="114" y="37"/>
                  </a:cubicBezTo>
                  <a:cubicBezTo>
                    <a:pt x="115" y="37"/>
                    <a:pt x="115" y="37"/>
                    <a:pt x="115" y="37"/>
                  </a:cubicBezTo>
                  <a:cubicBezTo>
                    <a:pt x="117" y="41"/>
                    <a:pt x="116" y="44"/>
                    <a:pt x="115" y="45"/>
                  </a:cubicBezTo>
                  <a:cubicBezTo>
                    <a:pt x="114" y="46"/>
                    <a:pt x="114" y="46"/>
                    <a:pt x="114" y="47"/>
                  </a:cubicBezTo>
                  <a:cubicBezTo>
                    <a:pt x="114" y="47"/>
                    <a:pt x="114" y="47"/>
                    <a:pt x="114" y="47"/>
                  </a:cubicBezTo>
                  <a:cubicBezTo>
                    <a:pt x="114" y="48"/>
                    <a:pt x="115" y="50"/>
                    <a:pt x="116" y="50"/>
                  </a:cubicBezTo>
                  <a:cubicBezTo>
                    <a:pt x="118" y="53"/>
                    <a:pt x="118" y="53"/>
                    <a:pt x="118" y="53"/>
                  </a:cubicBezTo>
                  <a:cubicBezTo>
                    <a:pt x="119" y="54"/>
                    <a:pt x="119" y="54"/>
                    <a:pt x="119" y="54"/>
                  </a:cubicBezTo>
                  <a:cubicBezTo>
                    <a:pt x="119" y="54"/>
                    <a:pt x="119" y="54"/>
                    <a:pt x="119" y="54"/>
                  </a:cubicBezTo>
                  <a:cubicBezTo>
                    <a:pt x="119" y="54"/>
                    <a:pt x="120" y="54"/>
                    <a:pt x="121" y="54"/>
                  </a:cubicBezTo>
                  <a:cubicBezTo>
                    <a:pt x="122" y="53"/>
                    <a:pt x="123" y="53"/>
                    <a:pt x="124" y="53"/>
                  </a:cubicBezTo>
                  <a:cubicBezTo>
                    <a:pt x="128" y="52"/>
                    <a:pt x="128" y="52"/>
                    <a:pt x="128" y="52"/>
                  </a:cubicBezTo>
                  <a:cubicBezTo>
                    <a:pt x="126" y="57"/>
                    <a:pt x="126" y="57"/>
                    <a:pt x="126" y="57"/>
                  </a:cubicBezTo>
                  <a:cubicBezTo>
                    <a:pt x="126" y="57"/>
                    <a:pt x="126" y="57"/>
                    <a:pt x="126" y="57"/>
                  </a:cubicBezTo>
                  <a:cubicBezTo>
                    <a:pt x="126" y="58"/>
                    <a:pt x="126" y="58"/>
                    <a:pt x="126" y="58"/>
                  </a:cubicBezTo>
                  <a:cubicBezTo>
                    <a:pt x="126" y="58"/>
                    <a:pt x="126" y="58"/>
                    <a:pt x="126" y="58"/>
                  </a:cubicBezTo>
                  <a:cubicBezTo>
                    <a:pt x="126" y="59"/>
                    <a:pt x="126" y="60"/>
                    <a:pt x="126" y="60"/>
                  </a:cubicBezTo>
                  <a:cubicBezTo>
                    <a:pt x="126" y="60"/>
                    <a:pt x="126" y="60"/>
                    <a:pt x="126" y="60"/>
                  </a:cubicBezTo>
                  <a:cubicBezTo>
                    <a:pt x="126" y="60"/>
                    <a:pt x="126" y="61"/>
                    <a:pt x="128" y="61"/>
                  </a:cubicBezTo>
                  <a:cubicBezTo>
                    <a:pt x="130" y="61"/>
                    <a:pt x="130" y="61"/>
                    <a:pt x="130" y="61"/>
                  </a:cubicBezTo>
                  <a:cubicBezTo>
                    <a:pt x="131" y="61"/>
                    <a:pt x="132" y="61"/>
                    <a:pt x="133" y="61"/>
                  </a:cubicBezTo>
                  <a:cubicBezTo>
                    <a:pt x="133" y="62"/>
                    <a:pt x="133" y="62"/>
                    <a:pt x="134" y="62"/>
                  </a:cubicBezTo>
                  <a:cubicBezTo>
                    <a:pt x="134" y="62"/>
                    <a:pt x="135" y="62"/>
                    <a:pt x="135" y="62"/>
                  </a:cubicBezTo>
                  <a:cubicBezTo>
                    <a:pt x="135" y="62"/>
                    <a:pt x="136" y="63"/>
                    <a:pt x="136" y="63"/>
                  </a:cubicBezTo>
                  <a:cubicBezTo>
                    <a:pt x="138" y="65"/>
                    <a:pt x="138" y="67"/>
                    <a:pt x="138" y="69"/>
                  </a:cubicBezTo>
                  <a:cubicBezTo>
                    <a:pt x="136" y="72"/>
                    <a:pt x="134" y="73"/>
                    <a:pt x="132" y="74"/>
                  </a:cubicBezTo>
                  <a:cubicBezTo>
                    <a:pt x="131" y="74"/>
                    <a:pt x="131" y="74"/>
                    <a:pt x="131" y="74"/>
                  </a:cubicBezTo>
                  <a:cubicBezTo>
                    <a:pt x="131" y="74"/>
                    <a:pt x="130" y="74"/>
                    <a:pt x="130" y="75"/>
                  </a:cubicBezTo>
                  <a:cubicBezTo>
                    <a:pt x="129" y="75"/>
                    <a:pt x="129" y="75"/>
                    <a:pt x="129" y="75"/>
                  </a:cubicBezTo>
                  <a:cubicBezTo>
                    <a:pt x="128" y="75"/>
                    <a:pt x="128" y="75"/>
                    <a:pt x="127" y="75"/>
                  </a:cubicBezTo>
                  <a:cubicBezTo>
                    <a:pt x="127" y="76"/>
                    <a:pt x="127" y="76"/>
                    <a:pt x="126" y="76"/>
                  </a:cubicBezTo>
                  <a:cubicBezTo>
                    <a:pt x="126" y="76"/>
                    <a:pt x="126" y="76"/>
                    <a:pt x="126" y="76"/>
                  </a:cubicBezTo>
                  <a:cubicBezTo>
                    <a:pt x="125" y="76"/>
                    <a:pt x="125" y="76"/>
                    <a:pt x="125" y="76"/>
                  </a:cubicBezTo>
                  <a:cubicBezTo>
                    <a:pt x="124" y="77"/>
                    <a:pt x="124" y="77"/>
                    <a:pt x="124" y="77"/>
                  </a:cubicBezTo>
                  <a:cubicBezTo>
                    <a:pt x="123" y="77"/>
                    <a:pt x="123" y="78"/>
                    <a:pt x="123" y="78"/>
                  </a:cubicBezTo>
                  <a:cubicBezTo>
                    <a:pt x="123" y="79"/>
                    <a:pt x="123" y="79"/>
                    <a:pt x="123" y="79"/>
                  </a:cubicBezTo>
                  <a:cubicBezTo>
                    <a:pt x="123" y="80"/>
                    <a:pt x="123" y="80"/>
                    <a:pt x="123" y="80"/>
                  </a:cubicBezTo>
                  <a:cubicBezTo>
                    <a:pt x="123" y="82"/>
                    <a:pt x="123" y="84"/>
                    <a:pt x="124" y="85"/>
                  </a:cubicBezTo>
                  <a:cubicBezTo>
                    <a:pt x="124" y="86"/>
                    <a:pt x="124" y="86"/>
                    <a:pt x="124" y="86"/>
                  </a:cubicBezTo>
                  <a:cubicBezTo>
                    <a:pt x="124" y="86"/>
                    <a:pt x="124" y="87"/>
                    <a:pt x="124" y="87"/>
                  </a:cubicBezTo>
                  <a:cubicBezTo>
                    <a:pt x="124" y="89"/>
                    <a:pt x="124" y="89"/>
                    <a:pt x="124" y="89"/>
                  </a:cubicBezTo>
                  <a:cubicBezTo>
                    <a:pt x="124" y="90"/>
                    <a:pt x="125" y="91"/>
                    <a:pt x="125" y="92"/>
                  </a:cubicBezTo>
                  <a:cubicBezTo>
                    <a:pt x="125" y="94"/>
                    <a:pt x="123" y="96"/>
                    <a:pt x="122" y="97"/>
                  </a:cubicBezTo>
                  <a:cubicBezTo>
                    <a:pt x="120" y="99"/>
                    <a:pt x="118" y="100"/>
                    <a:pt x="117" y="101"/>
                  </a:cubicBezTo>
                  <a:cubicBezTo>
                    <a:pt x="117" y="101"/>
                    <a:pt x="117" y="101"/>
                    <a:pt x="117" y="101"/>
                  </a:cubicBezTo>
                  <a:cubicBezTo>
                    <a:pt x="116" y="102"/>
                    <a:pt x="115" y="103"/>
                    <a:pt x="114" y="103"/>
                  </a:cubicBezTo>
                  <a:cubicBezTo>
                    <a:pt x="114" y="103"/>
                    <a:pt x="114" y="103"/>
                    <a:pt x="114" y="103"/>
                  </a:cubicBezTo>
                  <a:cubicBezTo>
                    <a:pt x="113" y="104"/>
                    <a:pt x="112" y="105"/>
                    <a:pt x="112" y="106"/>
                  </a:cubicBezTo>
                  <a:cubicBezTo>
                    <a:pt x="111" y="106"/>
                    <a:pt x="111" y="106"/>
                    <a:pt x="111" y="106"/>
                  </a:cubicBezTo>
                  <a:cubicBezTo>
                    <a:pt x="111" y="107"/>
                    <a:pt x="111" y="107"/>
                    <a:pt x="111" y="107"/>
                  </a:cubicBezTo>
                  <a:cubicBezTo>
                    <a:pt x="111" y="108"/>
                    <a:pt x="111" y="108"/>
                    <a:pt x="111" y="108"/>
                  </a:cubicBezTo>
                  <a:cubicBezTo>
                    <a:pt x="111" y="109"/>
                    <a:pt x="111" y="109"/>
                    <a:pt x="111" y="109"/>
                  </a:cubicBezTo>
                  <a:cubicBezTo>
                    <a:pt x="112" y="109"/>
                    <a:pt x="112" y="109"/>
                    <a:pt x="112" y="109"/>
                  </a:cubicBezTo>
                  <a:cubicBezTo>
                    <a:pt x="113" y="111"/>
                    <a:pt x="113" y="111"/>
                    <a:pt x="113" y="111"/>
                  </a:cubicBezTo>
                  <a:cubicBezTo>
                    <a:pt x="111" y="113"/>
                    <a:pt x="111" y="113"/>
                    <a:pt x="111" y="113"/>
                  </a:cubicBezTo>
                  <a:cubicBezTo>
                    <a:pt x="110" y="113"/>
                    <a:pt x="109" y="114"/>
                    <a:pt x="108" y="114"/>
                  </a:cubicBezTo>
                  <a:cubicBezTo>
                    <a:pt x="107" y="115"/>
                    <a:pt x="107" y="115"/>
                    <a:pt x="107" y="115"/>
                  </a:cubicBezTo>
                  <a:cubicBezTo>
                    <a:pt x="105" y="115"/>
                    <a:pt x="104" y="116"/>
                    <a:pt x="102" y="117"/>
                  </a:cubicBezTo>
                  <a:cubicBezTo>
                    <a:pt x="101" y="117"/>
                    <a:pt x="101" y="118"/>
                    <a:pt x="101" y="118"/>
                  </a:cubicBezTo>
                  <a:cubicBezTo>
                    <a:pt x="100" y="119"/>
                    <a:pt x="100" y="120"/>
                    <a:pt x="99" y="122"/>
                  </a:cubicBezTo>
                  <a:cubicBezTo>
                    <a:pt x="99" y="123"/>
                    <a:pt x="99" y="123"/>
                    <a:pt x="99" y="123"/>
                  </a:cubicBezTo>
                  <a:cubicBezTo>
                    <a:pt x="99" y="124"/>
                    <a:pt x="99" y="124"/>
                    <a:pt x="99" y="124"/>
                  </a:cubicBezTo>
                  <a:cubicBezTo>
                    <a:pt x="99" y="125"/>
                    <a:pt x="98" y="125"/>
                    <a:pt x="98" y="126"/>
                  </a:cubicBezTo>
                  <a:cubicBezTo>
                    <a:pt x="98" y="127"/>
                    <a:pt x="97" y="128"/>
                    <a:pt x="96" y="129"/>
                  </a:cubicBezTo>
                  <a:cubicBezTo>
                    <a:pt x="96" y="130"/>
                    <a:pt x="96" y="130"/>
                    <a:pt x="96" y="130"/>
                  </a:cubicBezTo>
                  <a:cubicBezTo>
                    <a:pt x="95" y="131"/>
                    <a:pt x="95" y="132"/>
                    <a:pt x="94" y="133"/>
                  </a:cubicBezTo>
                  <a:cubicBezTo>
                    <a:pt x="92" y="136"/>
                    <a:pt x="91" y="137"/>
                    <a:pt x="87" y="139"/>
                  </a:cubicBezTo>
                  <a:cubicBezTo>
                    <a:pt x="87" y="139"/>
                    <a:pt x="87" y="139"/>
                    <a:pt x="87" y="139"/>
                  </a:cubicBezTo>
                  <a:cubicBezTo>
                    <a:pt x="86" y="139"/>
                    <a:pt x="86" y="140"/>
                    <a:pt x="85" y="140"/>
                  </a:cubicBezTo>
                  <a:cubicBezTo>
                    <a:pt x="84" y="141"/>
                    <a:pt x="83" y="141"/>
                    <a:pt x="82" y="143"/>
                  </a:cubicBezTo>
                  <a:cubicBezTo>
                    <a:pt x="84" y="144"/>
                    <a:pt x="84" y="144"/>
                    <a:pt x="84" y="144"/>
                  </a:cubicBezTo>
                  <a:cubicBezTo>
                    <a:pt x="81" y="144"/>
                    <a:pt x="81" y="144"/>
                    <a:pt x="81" y="144"/>
                  </a:cubicBezTo>
                  <a:cubicBezTo>
                    <a:pt x="69" y="160"/>
                    <a:pt x="69" y="160"/>
                    <a:pt x="69" y="160"/>
                  </a:cubicBezTo>
                  <a:cubicBezTo>
                    <a:pt x="68" y="160"/>
                    <a:pt x="68" y="161"/>
                    <a:pt x="67" y="161"/>
                  </a:cubicBezTo>
                  <a:cubicBezTo>
                    <a:pt x="66" y="161"/>
                    <a:pt x="64" y="161"/>
                    <a:pt x="62" y="161"/>
                  </a:cubicBezTo>
                  <a:cubicBezTo>
                    <a:pt x="61" y="161"/>
                    <a:pt x="61" y="161"/>
                    <a:pt x="61" y="161"/>
                  </a:cubicBezTo>
                  <a:cubicBezTo>
                    <a:pt x="61" y="161"/>
                    <a:pt x="61" y="162"/>
                    <a:pt x="60" y="162"/>
                  </a:cubicBezTo>
                  <a:cubicBezTo>
                    <a:pt x="60" y="162"/>
                    <a:pt x="59" y="162"/>
                    <a:pt x="59" y="162"/>
                  </a:cubicBezTo>
                  <a:cubicBezTo>
                    <a:pt x="58" y="162"/>
                    <a:pt x="58" y="162"/>
                    <a:pt x="58" y="162"/>
                  </a:cubicBezTo>
                  <a:cubicBezTo>
                    <a:pt x="58" y="162"/>
                    <a:pt x="58" y="162"/>
                    <a:pt x="58" y="162"/>
                  </a:cubicBezTo>
                  <a:cubicBezTo>
                    <a:pt x="57" y="162"/>
                    <a:pt x="55" y="163"/>
                    <a:pt x="54" y="163"/>
                  </a:cubicBezTo>
                  <a:cubicBezTo>
                    <a:pt x="53" y="164"/>
                    <a:pt x="53" y="164"/>
                    <a:pt x="53" y="164"/>
                  </a:cubicBezTo>
                  <a:cubicBezTo>
                    <a:pt x="52" y="164"/>
                    <a:pt x="52" y="164"/>
                    <a:pt x="51" y="164"/>
                  </a:cubicBezTo>
                  <a:cubicBezTo>
                    <a:pt x="50" y="164"/>
                    <a:pt x="49" y="164"/>
                    <a:pt x="48" y="163"/>
                  </a:cubicBezTo>
                  <a:cubicBezTo>
                    <a:pt x="48" y="163"/>
                    <a:pt x="48" y="163"/>
                    <a:pt x="48" y="163"/>
                  </a:cubicBezTo>
                  <a:cubicBezTo>
                    <a:pt x="47" y="162"/>
                    <a:pt x="47" y="162"/>
                    <a:pt x="47" y="162"/>
                  </a:cubicBezTo>
                  <a:cubicBezTo>
                    <a:pt x="46" y="162"/>
                    <a:pt x="46" y="161"/>
                    <a:pt x="45" y="160"/>
                  </a:cubicBezTo>
                  <a:cubicBezTo>
                    <a:pt x="45" y="159"/>
                    <a:pt x="45" y="159"/>
                    <a:pt x="44" y="158"/>
                  </a:cubicBezTo>
                  <a:cubicBezTo>
                    <a:pt x="44" y="158"/>
                    <a:pt x="44" y="158"/>
                    <a:pt x="44" y="158"/>
                  </a:cubicBezTo>
                  <a:cubicBezTo>
                    <a:pt x="44" y="158"/>
                    <a:pt x="44" y="158"/>
                    <a:pt x="44" y="158"/>
                  </a:cubicBezTo>
                  <a:cubicBezTo>
                    <a:pt x="44" y="158"/>
                    <a:pt x="44" y="158"/>
                    <a:pt x="44" y="158"/>
                  </a:cubicBezTo>
                  <a:cubicBezTo>
                    <a:pt x="43" y="158"/>
                    <a:pt x="43" y="158"/>
                    <a:pt x="43" y="158"/>
                  </a:cubicBezTo>
                  <a:cubicBezTo>
                    <a:pt x="43" y="158"/>
                    <a:pt x="43" y="158"/>
                    <a:pt x="43" y="158"/>
                  </a:cubicBezTo>
                  <a:cubicBezTo>
                    <a:pt x="42" y="158"/>
                    <a:pt x="42" y="158"/>
                    <a:pt x="42" y="158"/>
                  </a:cubicBezTo>
                  <a:cubicBezTo>
                    <a:pt x="42" y="159"/>
                    <a:pt x="42" y="159"/>
                    <a:pt x="42" y="159"/>
                  </a:cubicBezTo>
                  <a:cubicBezTo>
                    <a:pt x="41" y="159"/>
                    <a:pt x="41" y="159"/>
                    <a:pt x="41" y="159"/>
                  </a:cubicBezTo>
                  <a:cubicBezTo>
                    <a:pt x="40" y="160"/>
                    <a:pt x="40" y="160"/>
                    <a:pt x="40" y="160"/>
                  </a:cubicBezTo>
                  <a:cubicBezTo>
                    <a:pt x="39" y="161"/>
                    <a:pt x="39" y="161"/>
                    <a:pt x="39" y="161"/>
                  </a:cubicBezTo>
                  <a:cubicBezTo>
                    <a:pt x="39" y="162"/>
                    <a:pt x="39" y="162"/>
                    <a:pt x="39" y="162"/>
                  </a:cubicBezTo>
                  <a:cubicBezTo>
                    <a:pt x="38" y="162"/>
                    <a:pt x="38" y="162"/>
                    <a:pt x="38" y="162"/>
                  </a:cubicBezTo>
                  <a:cubicBezTo>
                    <a:pt x="38" y="163"/>
                    <a:pt x="37" y="164"/>
                    <a:pt x="37" y="164"/>
                  </a:cubicBezTo>
                  <a:cubicBezTo>
                    <a:pt x="36" y="165"/>
                    <a:pt x="35" y="166"/>
                    <a:pt x="34" y="167"/>
                  </a:cubicBezTo>
                  <a:cubicBezTo>
                    <a:pt x="32" y="169"/>
                    <a:pt x="30" y="172"/>
                    <a:pt x="29" y="174"/>
                  </a:cubicBezTo>
                  <a:cubicBezTo>
                    <a:pt x="27" y="177"/>
                    <a:pt x="26" y="179"/>
                    <a:pt x="27" y="180"/>
                  </a:cubicBezTo>
                  <a:cubicBezTo>
                    <a:pt x="27" y="181"/>
                    <a:pt x="27" y="181"/>
                    <a:pt x="27" y="181"/>
                  </a:cubicBezTo>
                  <a:cubicBezTo>
                    <a:pt x="28" y="181"/>
                    <a:pt x="29" y="182"/>
                    <a:pt x="30" y="182"/>
                  </a:cubicBezTo>
                  <a:cubicBezTo>
                    <a:pt x="31" y="182"/>
                    <a:pt x="31" y="182"/>
                    <a:pt x="31" y="182"/>
                  </a:cubicBezTo>
                  <a:cubicBezTo>
                    <a:pt x="32" y="182"/>
                    <a:pt x="33" y="183"/>
                    <a:pt x="34" y="183"/>
                  </a:cubicBezTo>
                  <a:cubicBezTo>
                    <a:pt x="35" y="183"/>
                    <a:pt x="35" y="183"/>
                    <a:pt x="35" y="183"/>
                  </a:cubicBezTo>
                  <a:cubicBezTo>
                    <a:pt x="36" y="183"/>
                    <a:pt x="37" y="183"/>
                    <a:pt x="38" y="184"/>
                  </a:cubicBezTo>
                  <a:cubicBezTo>
                    <a:pt x="39" y="184"/>
                    <a:pt x="40" y="186"/>
                    <a:pt x="40" y="187"/>
                  </a:cubicBezTo>
                  <a:cubicBezTo>
                    <a:pt x="40" y="188"/>
                    <a:pt x="40" y="190"/>
                    <a:pt x="40" y="191"/>
                  </a:cubicBezTo>
                  <a:cubicBezTo>
                    <a:pt x="39" y="193"/>
                    <a:pt x="39" y="194"/>
                    <a:pt x="40" y="195"/>
                  </a:cubicBezTo>
                  <a:cubicBezTo>
                    <a:pt x="40" y="196"/>
                    <a:pt x="40" y="196"/>
                    <a:pt x="40" y="197"/>
                  </a:cubicBezTo>
                  <a:cubicBezTo>
                    <a:pt x="40" y="197"/>
                    <a:pt x="40" y="197"/>
                    <a:pt x="40" y="197"/>
                  </a:cubicBezTo>
                  <a:cubicBezTo>
                    <a:pt x="40" y="199"/>
                    <a:pt x="41" y="200"/>
                    <a:pt x="41" y="201"/>
                  </a:cubicBezTo>
                  <a:cubicBezTo>
                    <a:pt x="42" y="201"/>
                    <a:pt x="42" y="201"/>
                    <a:pt x="42" y="201"/>
                  </a:cubicBezTo>
                  <a:cubicBezTo>
                    <a:pt x="42" y="201"/>
                    <a:pt x="42" y="201"/>
                    <a:pt x="43" y="201"/>
                  </a:cubicBezTo>
                  <a:cubicBezTo>
                    <a:pt x="43" y="201"/>
                    <a:pt x="43" y="201"/>
                    <a:pt x="43" y="201"/>
                  </a:cubicBezTo>
                  <a:cubicBezTo>
                    <a:pt x="43" y="201"/>
                    <a:pt x="43" y="201"/>
                    <a:pt x="43" y="201"/>
                  </a:cubicBezTo>
                  <a:cubicBezTo>
                    <a:pt x="44" y="201"/>
                    <a:pt x="44" y="201"/>
                    <a:pt x="44" y="201"/>
                  </a:cubicBezTo>
                  <a:cubicBezTo>
                    <a:pt x="44" y="201"/>
                    <a:pt x="44" y="201"/>
                    <a:pt x="44" y="201"/>
                  </a:cubicBezTo>
                  <a:cubicBezTo>
                    <a:pt x="45" y="201"/>
                    <a:pt x="45" y="201"/>
                    <a:pt x="45" y="201"/>
                  </a:cubicBezTo>
                  <a:cubicBezTo>
                    <a:pt x="45" y="201"/>
                    <a:pt x="45" y="201"/>
                    <a:pt x="46" y="201"/>
                  </a:cubicBezTo>
                  <a:cubicBezTo>
                    <a:pt x="46" y="201"/>
                    <a:pt x="46" y="201"/>
                    <a:pt x="47" y="201"/>
                  </a:cubicBezTo>
                  <a:cubicBezTo>
                    <a:pt x="48" y="201"/>
                    <a:pt x="49" y="202"/>
                    <a:pt x="49" y="204"/>
                  </a:cubicBezTo>
                  <a:cubicBezTo>
                    <a:pt x="50" y="204"/>
                    <a:pt x="50" y="205"/>
                    <a:pt x="50" y="206"/>
                  </a:cubicBezTo>
                  <a:cubicBezTo>
                    <a:pt x="50" y="207"/>
                    <a:pt x="50" y="208"/>
                    <a:pt x="51" y="209"/>
                  </a:cubicBezTo>
                  <a:cubicBezTo>
                    <a:pt x="51" y="210"/>
                    <a:pt x="51" y="210"/>
                    <a:pt x="52" y="211"/>
                  </a:cubicBezTo>
                  <a:cubicBezTo>
                    <a:pt x="52" y="212"/>
                    <a:pt x="52" y="212"/>
                    <a:pt x="52" y="212"/>
                  </a:cubicBezTo>
                  <a:cubicBezTo>
                    <a:pt x="52" y="212"/>
                    <a:pt x="52" y="212"/>
                    <a:pt x="52" y="212"/>
                  </a:cubicBezTo>
                  <a:cubicBezTo>
                    <a:pt x="56" y="220"/>
                    <a:pt x="56" y="220"/>
                    <a:pt x="56" y="220"/>
                  </a:cubicBezTo>
                  <a:cubicBezTo>
                    <a:pt x="57" y="222"/>
                    <a:pt x="57" y="223"/>
                    <a:pt x="57" y="224"/>
                  </a:cubicBezTo>
                  <a:cubicBezTo>
                    <a:pt x="57" y="225"/>
                    <a:pt x="56" y="225"/>
                    <a:pt x="56" y="226"/>
                  </a:cubicBezTo>
                  <a:cubicBezTo>
                    <a:pt x="56" y="226"/>
                    <a:pt x="56" y="226"/>
                    <a:pt x="56" y="226"/>
                  </a:cubicBezTo>
                  <a:cubicBezTo>
                    <a:pt x="56" y="227"/>
                    <a:pt x="56" y="227"/>
                    <a:pt x="56" y="227"/>
                  </a:cubicBezTo>
                  <a:cubicBezTo>
                    <a:pt x="56" y="227"/>
                    <a:pt x="56" y="227"/>
                    <a:pt x="56" y="227"/>
                  </a:cubicBezTo>
                  <a:cubicBezTo>
                    <a:pt x="57" y="228"/>
                    <a:pt x="57" y="228"/>
                    <a:pt x="57" y="228"/>
                  </a:cubicBezTo>
                  <a:cubicBezTo>
                    <a:pt x="57" y="229"/>
                    <a:pt x="57" y="229"/>
                    <a:pt x="57" y="229"/>
                  </a:cubicBezTo>
                  <a:cubicBezTo>
                    <a:pt x="57" y="230"/>
                    <a:pt x="56" y="231"/>
                    <a:pt x="56" y="232"/>
                  </a:cubicBezTo>
                  <a:cubicBezTo>
                    <a:pt x="55" y="232"/>
                    <a:pt x="55" y="232"/>
                    <a:pt x="54" y="233"/>
                  </a:cubicBezTo>
                  <a:cubicBezTo>
                    <a:pt x="54" y="233"/>
                    <a:pt x="53" y="233"/>
                    <a:pt x="53" y="233"/>
                  </a:cubicBezTo>
                  <a:cubicBezTo>
                    <a:pt x="53" y="233"/>
                    <a:pt x="53" y="233"/>
                    <a:pt x="53" y="233"/>
                  </a:cubicBezTo>
                  <a:cubicBezTo>
                    <a:pt x="53" y="233"/>
                    <a:pt x="53" y="233"/>
                    <a:pt x="53" y="233"/>
                  </a:cubicBezTo>
                  <a:cubicBezTo>
                    <a:pt x="52" y="234"/>
                    <a:pt x="52" y="234"/>
                    <a:pt x="52" y="234"/>
                  </a:cubicBezTo>
                  <a:cubicBezTo>
                    <a:pt x="52" y="234"/>
                    <a:pt x="52" y="234"/>
                    <a:pt x="52" y="234"/>
                  </a:cubicBezTo>
                  <a:cubicBezTo>
                    <a:pt x="51" y="235"/>
                    <a:pt x="50" y="235"/>
                    <a:pt x="49" y="235"/>
                  </a:cubicBezTo>
                  <a:cubicBezTo>
                    <a:pt x="49" y="235"/>
                    <a:pt x="49" y="235"/>
                    <a:pt x="48" y="235"/>
                  </a:cubicBezTo>
                  <a:cubicBezTo>
                    <a:pt x="47" y="234"/>
                    <a:pt x="46" y="234"/>
                    <a:pt x="45" y="233"/>
                  </a:cubicBezTo>
                  <a:cubicBezTo>
                    <a:pt x="44" y="233"/>
                    <a:pt x="44" y="233"/>
                    <a:pt x="44" y="232"/>
                  </a:cubicBezTo>
                  <a:cubicBezTo>
                    <a:pt x="44" y="232"/>
                    <a:pt x="44" y="232"/>
                    <a:pt x="44" y="232"/>
                  </a:cubicBezTo>
                  <a:cubicBezTo>
                    <a:pt x="44" y="232"/>
                    <a:pt x="44" y="232"/>
                    <a:pt x="44" y="232"/>
                  </a:cubicBezTo>
                  <a:cubicBezTo>
                    <a:pt x="42" y="232"/>
                    <a:pt x="42" y="232"/>
                    <a:pt x="42" y="232"/>
                  </a:cubicBezTo>
                  <a:cubicBezTo>
                    <a:pt x="41" y="233"/>
                    <a:pt x="39" y="233"/>
                    <a:pt x="38" y="234"/>
                  </a:cubicBezTo>
                  <a:cubicBezTo>
                    <a:pt x="38" y="234"/>
                    <a:pt x="38" y="234"/>
                    <a:pt x="38" y="234"/>
                  </a:cubicBezTo>
                  <a:cubicBezTo>
                    <a:pt x="37" y="235"/>
                    <a:pt x="37" y="235"/>
                    <a:pt x="37" y="235"/>
                  </a:cubicBezTo>
                  <a:cubicBezTo>
                    <a:pt x="36" y="236"/>
                    <a:pt x="36" y="236"/>
                    <a:pt x="36" y="236"/>
                  </a:cubicBezTo>
                  <a:cubicBezTo>
                    <a:pt x="35" y="236"/>
                    <a:pt x="34" y="236"/>
                    <a:pt x="33" y="236"/>
                  </a:cubicBezTo>
                  <a:cubicBezTo>
                    <a:pt x="33" y="236"/>
                    <a:pt x="32" y="236"/>
                    <a:pt x="32" y="236"/>
                  </a:cubicBezTo>
                  <a:cubicBezTo>
                    <a:pt x="31" y="236"/>
                    <a:pt x="30" y="236"/>
                    <a:pt x="29" y="236"/>
                  </a:cubicBezTo>
                  <a:cubicBezTo>
                    <a:pt x="29" y="236"/>
                    <a:pt x="28" y="236"/>
                    <a:pt x="28" y="236"/>
                  </a:cubicBezTo>
                  <a:cubicBezTo>
                    <a:pt x="22" y="235"/>
                    <a:pt x="22" y="235"/>
                    <a:pt x="22" y="235"/>
                  </a:cubicBezTo>
                  <a:cubicBezTo>
                    <a:pt x="19" y="234"/>
                    <a:pt x="16" y="234"/>
                    <a:pt x="13" y="234"/>
                  </a:cubicBezTo>
                  <a:cubicBezTo>
                    <a:pt x="13" y="235"/>
                    <a:pt x="13" y="236"/>
                    <a:pt x="13" y="237"/>
                  </a:cubicBezTo>
                  <a:cubicBezTo>
                    <a:pt x="13" y="237"/>
                    <a:pt x="13" y="237"/>
                    <a:pt x="13" y="237"/>
                  </a:cubicBezTo>
                  <a:cubicBezTo>
                    <a:pt x="13" y="238"/>
                    <a:pt x="13" y="238"/>
                    <a:pt x="12" y="239"/>
                  </a:cubicBezTo>
                  <a:cubicBezTo>
                    <a:pt x="12" y="239"/>
                    <a:pt x="12" y="239"/>
                    <a:pt x="12" y="239"/>
                  </a:cubicBezTo>
                  <a:cubicBezTo>
                    <a:pt x="11" y="240"/>
                    <a:pt x="11" y="240"/>
                    <a:pt x="10" y="240"/>
                  </a:cubicBezTo>
                  <a:cubicBezTo>
                    <a:pt x="10" y="241"/>
                    <a:pt x="9" y="241"/>
                    <a:pt x="8" y="241"/>
                  </a:cubicBezTo>
                  <a:cubicBezTo>
                    <a:pt x="8" y="241"/>
                    <a:pt x="8" y="241"/>
                    <a:pt x="8" y="241"/>
                  </a:cubicBezTo>
                  <a:cubicBezTo>
                    <a:pt x="8" y="241"/>
                    <a:pt x="8" y="241"/>
                    <a:pt x="7" y="241"/>
                  </a:cubicBezTo>
                  <a:cubicBezTo>
                    <a:pt x="7" y="240"/>
                    <a:pt x="7" y="240"/>
                    <a:pt x="7" y="240"/>
                  </a:cubicBezTo>
                  <a:cubicBezTo>
                    <a:pt x="0" y="246"/>
                    <a:pt x="0" y="246"/>
                    <a:pt x="0" y="246"/>
                  </a:cubicBezTo>
                  <a:cubicBezTo>
                    <a:pt x="0" y="246"/>
                    <a:pt x="0" y="246"/>
                    <a:pt x="1" y="246"/>
                  </a:cubicBezTo>
                  <a:cubicBezTo>
                    <a:pt x="2" y="246"/>
                    <a:pt x="2" y="245"/>
                    <a:pt x="3" y="245"/>
                  </a:cubicBezTo>
                  <a:cubicBezTo>
                    <a:pt x="5" y="243"/>
                    <a:pt x="8" y="242"/>
                    <a:pt x="11" y="241"/>
                  </a:cubicBezTo>
                  <a:cubicBezTo>
                    <a:pt x="11" y="240"/>
                    <a:pt x="11" y="240"/>
                    <a:pt x="11" y="240"/>
                  </a:cubicBezTo>
                  <a:cubicBezTo>
                    <a:pt x="11" y="241"/>
                    <a:pt x="11" y="241"/>
                    <a:pt x="11" y="241"/>
                  </a:cubicBezTo>
                  <a:cubicBezTo>
                    <a:pt x="10" y="242"/>
                    <a:pt x="9" y="242"/>
                    <a:pt x="8" y="243"/>
                  </a:cubicBezTo>
                  <a:cubicBezTo>
                    <a:pt x="7" y="244"/>
                    <a:pt x="6" y="245"/>
                    <a:pt x="5" y="245"/>
                  </a:cubicBezTo>
                  <a:cubicBezTo>
                    <a:pt x="5" y="245"/>
                    <a:pt x="5" y="245"/>
                    <a:pt x="5" y="245"/>
                  </a:cubicBezTo>
                  <a:cubicBezTo>
                    <a:pt x="5" y="246"/>
                    <a:pt x="5" y="246"/>
                    <a:pt x="5" y="246"/>
                  </a:cubicBezTo>
                  <a:cubicBezTo>
                    <a:pt x="5" y="246"/>
                    <a:pt x="5" y="246"/>
                    <a:pt x="5" y="247"/>
                  </a:cubicBezTo>
                  <a:cubicBezTo>
                    <a:pt x="6" y="248"/>
                    <a:pt x="6" y="250"/>
                    <a:pt x="7" y="252"/>
                  </a:cubicBezTo>
                  <a:cubicBezTo>
                    <a:pt x="8" y="253"/>
                    <a:pt x="9" y="255"/>
                    <a:pt x="11" y="256"/>
                  </a:cubicBezTo>
                  <a:cubicBezTo>
                    <a:pt x="11" y="256"/>
                    <a:pt x="12" y="257"/>
                    <a:pt x="13" y="257"/>
                  </a:cubicBezTo>
                  <a:cubicBezTo>
                    <a:pt x="13" y="258"/>
                    <a:pt x="14" y="258"/>
                    <a:pt x="15" y="259"/>
                  </a:cubicBezTo>
                  <a:cubicBezTo>
                    <a:pt x="17" y="259"/>
                    <a:pt x="18" y="260"/>
                    <a:pt x="20" y="261"/>
                  </a:cubicBezTo>
                  <a:cubicBezTo>
                    <a:pt x="21" y="261"/>
                    <a:pt x="21" y="261"/>
                    <a:pt x="22" y="262"/>
                  </a:cubicBezTo>
                  <a:cubicBezTo>
                    <a:pt x="23" y="262"/>
                    <a:pt x="24" y="262"/>
                    <a:pt x="26" y="263"/>
                  </a:cubicBezTo>
                  <a:cubicBezTo>
                    <a:pt x="27" y="263"/>
                    <a:pt x="27" y="263"/>
                    <a:pt x="28" y="263"/>
                  </a:cubicBezTo>
                  <a:cubicBezTo>
                    <a:pt x="28" y="263"/>
                    <a:pt x="28" y="263"/>
                    <a:pt x="29" y="263"/>
                  </a:cubicBezTo>
                  <a:cubicBezTo>
                    <a:pt x="30" y="262"/>
                    <a:pt x="31" y="261"/>
                    <a:pt x="33" y="260"/>
                  </a:cubicBezTo>
                  <a:cubicBezTo>
                    <a:pt x="34" y="260"/>
                    <a:pt x="37" y="260"/>
                    <a:pt x="37" y="259"/>
                  </a:cubicBezTo>
                  <a:cubicBezTo>
                    <a:pt x="37" y="259"/>
                    <a:pt x="37" y="259"/>
                    <a:pt x="37" y="259"/>
                  </a:cubicBezTo>
                  <a:cubicBezTo>
                    <a:pt x="38" y="259"/>
                    <a:pt x="39" y="259"/>
                    <a:pt x="41" y="259"/>
                  </a:cubicBezTo>
                  <a:cubicBezTo>
                    <a:pt x="41" y="259"/>
                    <a:pt x="41" y="259"/>
                    <a:pt x="41" y="259"/>
                  </a:cubicBezTo>
                  <a:cubicBezTo>
                    <a:pt x="42" y="259"/>
                    <a:pt x="42" y="256"/>
                    <a:pt x="44" y="255"/>
                  </a:cubicBezTo>
                  <a:cubicBezTo>
                    <a:pt x="43" y="257"/>
                    <a:pt x="41" y="261"/>
                    <a:pt x="40" y="263"/>
                  </a:cubicBezTo>
                  <a:cubicBezTo>
                    <a:pt x="39" y="265"/>
                    <a:pt x="38" y="266"/>
                    <a:pt x="37" y="267"/>
                  </a:cubicBezTo>
                  <a:cubicBezTo>
                    <a:pt x="37" y="267"/>
                    <a:pt x="36" y="267"/>
                    <a:pt x="36" y="268"/>
                  </a:cubicBezTo>
                  <a:cubicBezTo>
                    <a:pt x="33" y="269"/>
                    <a:pt x="29" y="270"/>
                    <a:pt x="26" y="271"/>
                  </a:cubicBezTo>
                  <a:cubicBezTo>
                    <a:pt x="26" y="271"/>
                    <a:pt x="26" y="271"/>
                    <a:pt x="25" y="271"/>
                  </a:cubicBezTo>
                  <a:cubicBezTo>
                    <a:pt x="24" y="271"/>
                    <a:pt x="21" y="272"/>
                    <a:pt x="20" y="272"/>
                  </a:cubicBezTo>
                  <a:cubicBezTo>
                    <a:pt x="18" y="272"/>
                    <a:pt x="18" y="271"/>
                    <a:pt x="19" y="270"/>
                  </a:cubicBezTo>
                  <a:cubicBezTo>
                    <a:pt x="19" y="270"/>
                    <a:pt x="19" y="270"/>
                    <a:pt x="19" y="270"/>
                  </a:cubicBezTo>
                  <a:cubicBezTo>
                    <a:pt x="18" y="269"/>
                    <a:pt x="17" y="269"/>
                    <a:pt x="16" y="269"/>
                  </a:cubicBezTo>
                  <a:cubicBezTo>
                    <a:pt x="14" y="269"/>
                    <a:pt x="14" y="271"/>
                    <a:pt x="15" y="273"/>
                  </a:cubicBezTo>
                  <a:cubicBezTo>
                    <a:pt x="15" y="274"/>
                    <a:pt x="16" y="274"/>
                    <a:pt x="16" y="275"/>
                  </a:cubicBezTo>
                  <a:cubicBezTo>
                    <a:pt x="17" y="276"/>
                    <a:pt x="18" y="277"/>
                    <a:pt x="18" y="278"/>
                  </a:cubicBezTo>
                  <a:cubicBezTo>
                    <a:pt x="19" y="278"/>
                    <a:pt x="20" y="279"/>
                    <a:pt x="21" y="280"/>
                  </a:cubicBezTo>
                  <a:cubicBezTo>
                    <a:pt x="21" y="280"/>
                    <a:pt x="22" y="281"/>
                    <a:pt x="22" y="281"/>
                  </a:cubicBezTo>
                  <a:cubicBezTo>
                    <a:pt x="24" y="282"/>
                    <a:pt x="25" y="283"/>
                    <a:pt x="26" y="285"/>
                  </a:cubicBezTo>
                  <a:cubicBezTo>
                    <a:pt x="27" y="286"/>
                    <a:pt x="29" y="287"/>
                    <a:pt x="30" y="288"/>
                  </a:cubicBezTo>
                  <a:cubicBezTo>
                    <a:pt x="31" y="289"/>
                    <a:pt x="32" y="290"/>
                    <a:pt x="33" y="291"/>
                  </a:cubicBezTo>
                  <a:cubicBezTo>
                    <a:pt x="34" y="292"/>
                    <a:pt x="34" y="292"/>
                    <a:pt x="34" y="292"/>
                  </a:cubicBezTo>
                  <a:cubicBezTo>
                    <a:pt x="35" y="293"/>
                    <a:pt x="36" y="294"/>
                    <a:pt x="37" y="296"/>
                  </a:cubicBezTo>
                  <a:cubicBezTo>
                    <a:pt x="38" y="297"/>
                    <a:pt x="39" y="298"/>
                    <a:pt x="41" y="299"/>
                  </a:cubicBezTo>
                  <a:cubicBezTo>
                    <a:pt x="42" y="301"/>
                    <a:pt x="43" y="301"/>
                    <a:pt x="45" y="302"/>
                  </a:cubicBezTo>
                  <a:cubicBezTo>
                    <a:pt x="46" y="302"/>
                    <a:pt x="46" y="302"/>
                    <a:pt x="46" y="302"/>
                  </a:cubicBezTo>
                  <a:cubicBezTo>
                    <a:pt x="47" y="302"/>
                    <a:pt x="50" y="303"/>
                    <a:pt x="52" y="303"/>
                  </a:cubicBezTo>
                  <a:cubicBezTo>
                    <a:pt x="52" y="303"/>
                    <a:pt x="52" y="303"/>
                    <a:pt x="52" y="303"/>
                  </a:cubicBezTo>
                  <a:cubicBezTo>
                    <a:pt x="53" y="303"/>
                    <a:pt x="53" y="303"/>
                    <a:pt x="53" y="303"/>
                  </a:cubicBezTo>
                  <a:cubicBezTo>
                    <a:pt x="56" y="302"/>
                    <a:pt x="59" y="301"/>
                    <a:pt x="62" y="300"/>
                  </a:cubicBezTo>
                  <a:cubicBezTo>
                    <a:pt x="62" y="299"/>
                    <a:pt x="63" y="299"/>
                    <a:pt x="63" y="299"/>
                  </a:cubicBezTo>
                  <a:cubicBezTo>
                    <a:pt x="67" y="298"/>
                    <a:pt x="72" y="296"/>
                    <a:pt x="74" y="293"/>
                  </a:cubicBezTo>
                  <a:cubicBezTo>
                    <a:pt x="76" y="292"/>
                    <a:pt x="77" y="289"/>
                    <a:pt x="77" y="287"/>
                  </a:cubicBezTo>
                  <a:cubicBezTo>
                    <a:pt x="78" y="285"/>
                    <a:pt x="78" y="285"/>
                    <a:pt x="78" y="285"/>
                  </a:cubicBezTo>
                  <a:cubicBezTo>
                    <a:pt x="77" y="284"/>
                    <a:pt x="77" y="284"/>
                    <a:pt x="77" y="284"/>
                  </a:cubicBezTo>
                  <a:cubicBezTo>
                    <a:pt x="76" y="282"/>
                    <a:pt x="75" y="283"/>
                    <a:pt x="73" y="282"/>
                  </a:cubicBezTo>
                  <a:cubicBezTo>
                    <a:pt x="73" y="281"/>
                    <a:pt x="73" y="281"/>
                    <a:pt x="72" y="281"/>
                  </a:cubicBezTo>
                  <a:cubicBezTo>
                    <a:pt x="73" y="280"/>
                    <a:pt x="73" y="280"/>
                    <a:pt x="74" y="280"/>
                  </a:cubicBezTo>
                  <a:cubicBezTo>
                    <a:pt x="74" y="280"/>
                    <a:pt x="75" y="280"/>
                    <a:pt x="75" y="280"/>
                  </a:cubicBezTo>
                  <a:cubicBezTo>
                    <a:pt x="75" y="280"/>
                    <a:pt x="75" y="280"/>
                    <a:pt x="75" y="280"/>
                  </a:cubicBezTo>
                  <a:cubicBezTo>
                    <a:pt x="75" y="280"/>
                    <a:pt x="75" y="280"/>
                    <a:pt x="75" y="280"/>
                  </a:cubicBezTo>
                  <a:cubicBezTo>
                    <a:pt x="75" y="280"/>
                    <a:pt x="75" y="279"/>
                    <a:pt x="74" y="278"/>
                  </a:cubicBezTo>
                  <a:cubicBezTo>
                    <a:pt x="75" y="277"/>
                    <a:pt x="79" y="276"/>
                    <a:pt x="78" y="274"/>
                  </a:cubicBezTo>
                  <a:cubicBezTo>
                    <a:pt x="78" y="273"/>
                    <a:pt x="76" y="273"/>
                    <a:pt x="75" y="272"/>
                  </a:cubicBezTo>
                  <a:cubicBezTo>
                    <a:pt x="75" y="272"/>
                    <a:pt x="75" y="272"/>
                    <a:pt x="75" y="272"/>
                  </a:cubicBezTo>
                  <a:cubicBezTo>
                    <a:pt x="75" y="272"/>
                    <a:pt x="75" y="272"/>
                    <a:pt x="75" y="272"/>
                  </a:cubicBezTo>
                  <a:cubicBezTo>
                    <a:pt x="76" y="272"/>
                    <a:pt x="76" y="272"/>
                    <a:pt x="77" y="272"/>
                  </a:cubicBezTo>
                  <a:cubicBezTo>
                    <a:pt x="79" y="272"/>
                    <a:pt x="81" y="272"/>
                    <a:pt x="83" y="272"/>
                  </a:cubicBezTo>
                  <a:cubicBezTo>
                    <a:pt x="85" y="272"/>
                    <a:pt x="88" y="272"/>
                    <a:pt x="90" y="273"/>
                  </a:cubicBezTo>
                  <a:cubicBezTo>
                    <a:pt x="90" y="273"/>
                    <a:pt x="90" y="273"/>
                    <a:pt x="90" y="273"/>
                  </a:cubicBezTo>
                  <a:cubicBezTo>
                    <a:pt x="91" y="273"/>
                    <a:pt x="90" y="273"/>
                    <a:pt x="89" y="273"/>
                  </a:cubicBezTo>
                  <a:cubicBezTo>
                    <a:pt x="89" y="273"/>
                    <a:pt x="89" y="273"/>
                    <a:pt x="89" y="273"/>
                  </a:cubicBezTo>
                  <a:cubicBezTo>
                    <a:pt x="88" y="273"/>
                    <a:pt x="88" y="273"/>
                    <a:pt x="88" y="273"/>
                  </a:cubicBezTo>
                  <a:cubicBezTo>
                    <a:pt x="86" y="274"/>
                    <a:pt x="83" y="274"/>
                    <a:pt x="82" y="276"/>
                  </a:cubicBezTo>
                  <a:cubicBezTo>
                    <a:pt x="82" y="277"/>
                    <a:pt x="82" y="279"/>
                    <a:pt x="82" y="280"/>
                  </a:cubicBezTo>
                  <a:cubicBezTo>
                    <a:pt x="82" y="282"/>
                    <a:pt x="82" y="284"/>
                    <a:pt x="83" y="284"/>
                  </a:cubicBezTo>
                  <a:cubicBezTo>
                    <a:pt x="83" y="284"/>
                    <a:pt x="84" y="285"/>
                    <a:pt x="85" y="285"/>
                  </a:cubicBezTo>
                  <a:cubicBezTo>
                    <a:pt x="85" y="285"/>
                    <a:pt x="85" y="285"/>
                    <a:pt x="85" y="285"/>
                  </a:cubicBezTo>
                  <a:cubicBezTo>
                    <a:pt x="88" y="285"/>
                    <a:pt x="92" y="283"/>
                    <a:pt x="94" y="283"/>
                  </a:cubicBezTo>
                  <a:cubicBezTo>
                    <a:pt x="90" y="285"/>
                    <a:pt x="86" y="285"/>
                    <a:pt x="84" y="290"/>
                  </a:cubicBezTo>
                  <a:cubicBezTo>
                    <a:pt x="84" y="289"/>
                    <a:pt x="85" y="289"/>
                    <a:pt x="86" y="288"/>
                  </a:cubicBezTo>
                  <a:cubicBezTo>
                    <a:pt x="83" y="290"/>
                    <a:pt x="83" y="291"/>
                    <a:pt x="84" y="293"/>
                  </a:cubicBezTo>
                  <a:cubicBezTo>
                    <a:pt x="84" y="294"/>
                    <a:pt x="84" y="295"/>
                    <a:pt x="84" y="296"/>
                  </a:cubicBezTo>
                  <a:cubicBezTo>
                    <a:pt x="84" y="296"/>
                    <a:pt x="84" y="296"/>
                    <a:pt x="84" y="296"/>
                  </a:cubicBezTo>
                  <a:cubicBezTo>
                    <a:pt x="85" y="296"/>
                    <a:pt x="85" y="295"/>
                    <a:pt x="85" y="295"/>
                  </a:cubicBezTo>
                  <a:cubicBezTo>
                    <a:pt x="86" y="296"/>
                    <a:pt x="86" y="296"/>
                    <a:pt x="86" y="296"/>
                  </a:cubicBezTo>
                  <a:cubicBezTo>
                    <a:pt x="86" y="296"/>
                    <a:pt x="86" y="296"/>
                    <a:pt x="86" y="296"/>
                  </a:cubicBezTo>
                  <a:cubicBezTo>
                    <a:pt x="87" y="296"/>
                    <a:pt x="87" y="297"/>
                    <a:pt x="88" y="297"/>
                  </a:cubicBezTo>
                  <a:cubicBezTo>
                    <a:pt x="88" y="298"/>
                    <a:pt x="89" y="298"/>
                    <a:pt x="89" y="299"/>
                  </a:cubicBezTo>
                  <a:cubicBezTo>
                    <a:pt x="89" y="300"/>
                    <a:pt x="89" y="302"/>
                    <a:pt x="89" y="303"/>
                  </a:cubicBezTo>
                  <a:cubicBezTo>
                    <a:pt x="89" y="305"/>
                    <a:pt x="88" y="306"/>
                    <a:pt x="88" y="308"/>
                  </a:cubicBezTo>
                  <a:cubicBezTo>
                    <a:pt x="88" y="310"/>
                    <a:pt x="87" y="311"/>
                    <a:pt x="87" y="313"/>
                  </a:cubicBezTo>
                  <a:cubicBezTo>
                    <a:pt x="87" y="313"/>
                    <a:pt x="86" y="314"/>
                    <a:pt x="86" y="314"/>
                  </a:cubicBezTo>
                  <a:cubicBezTo>
                    <a:pt x="86" y="316"/>
                    <a:pt x="86" y="318"/>
                    <a:pt x="85" y="320"/>
                  </a:cubicBezTo>
                  <a:cubicBezTo>
                    <a:pt x="85" y="320"/>
                    <a:pt x="85" y="321"/>
                    <a:pt x="85" y="322"/>
                  </a:cubicBezTo>
                  <a:cubicBezTo>
                    <a:pt x="85" y="322"/>
                    <a:pt x="85" y="323"/>
                    <a:pt x="86" y="324"/>
                  </a:cubicBezTo>
                  <a:cubicBezTo>
                    <a:pt x="86" y="326"/>
                    <a:pt x="86" y="327"/>
                    <a:pt x="87" y="327"/>
                  </a:cubicBezTo>
                  <a:cubicBezTo>
                    <a:pt x="88" y="327"/>
                    <a:pt x="88" y="327"/>
                    <a:pt x="89" y="327"/>
                  </a:cubicBezTo>
                  <a:cubicBezTo>
                    <a:pt x="87" y="328"/>
                    <a:pt x="85" y="330"/>
                    <a:pt x="88" y="331"/>
                  </a:cubicBezTo>
                  <a:cubicBezTo>
                    <a:pt x="87" y="331"/>
                    <a:pt x="87" y="332"/>
                    <a:pt x="87" y="333"/>
                  </a:cubicBezTo>
                  <a:cubicBezTo>
                    <a:pt x="88" y="333"/>
                    <a:pt x="88" y="333"/>
                    <a:pt x="88" y="333"/>
                  </a:cubicBezTo>
                  <a:cubicBezTo>
                    <a:pt x="89" y="333"/>
                    <a:pt x="89" y="333"/>
                    <a:pt x="89" y="333"/>
                  </a:cubicBezTo>
                  <a:cubicBezTo>
                    <a:pt x="91" y="333"/>
                    <a:pt x="92" y="334"/>
                    <a:pt x="93" y="336"/>
                  </a:cubicBezTo>
                  <a:cubicBezTo>
                    <a:pt x="93" y="337"/>
                    <a:pt x="93" y="337"/>
                    <a:pt x="93" y="338"/>
                  </a:cubicBezTo>
                  <a:cubicBezTo>
                    <a:pt x="93" y="340"/>
                    <a:pt x="91" y="343"/>
                    <a:pt x="89" y="343"/>
                  </a:cubicBezTo>
                  <a:cubicBezTo>
                    <a:pt x="89" y="344"/>
                    <a:pt x="90" y="345"/>
                    <a:pt x="90" y="346"/>
                  </a:cubicBezTo>
                  <a:cubicBezTo>
                    <a:pt x="91" y="346"/>
                    <a:pt x="91" y="347"/>
                    <a:pt x="91" y="348"/>
                  </a:cubicBezTo>
                  <a:cubicBezTo>
                    <a:pt x="91" y="347"/>
                    <a:pt x="90" y="347"/>
                    <a:pt x="90" y="347"/>
                  </a:cubicBezTo>
                  <a:cubicBezTo>
                    <a:pt x="90" y="347"/>
                    <a:pt x="90" y="347"/>
                    <a:pt x="89" y="347"/>
                  </a:cubicBezTo>
                  <a:cubicBezTo>
                    <a:pt x="89" y="348"/>
                    <a:pt x="91" y="350"/>
                    <a:pt x="92" y="351"/>
                  </a:cubicBezTo>
                  <a:cubicBezTo>
                    <a:pt x="92" y="351"/>
                    <a:pt x="92" y="351"/>
                    <a:pt x="92" y="352"/>
                  </a:cubicBezTo>
                  <a:cubicBezTo>
                    <a:pt x="92" y="352"/>
                    <a:pt x="92" y="352"/>
                    <a:pt x="92" y="352"/>
                  </a:cubicBezTo>
                  <a:cubicBezTo>
                    <a:pt x="92" y="352"/>
                    <a:pt x="92" y="352"/>
                    <a:pt x="91" y="352"/>
                  </a:cubicBezTo>
                  <a:cubicBezTo>
                    <a:pt x="91" y="352"/>
                    <a:pt x="91" y="352"/>
                    <a:pt x="90" y="352"/>
                  </a:cubicBezTo>
                  <a:cubicBezTo>
                    <a:pt x="90" y="352"/>
                    <a:pt x="90" y="353"/>
                    <a:pt x="91" y="353"/>
                  </a:cubicBezTo>
                  <a:cubicBezTo>
                    <a:pt x="91" y="355"/>
                    <a:pt x="91" y="357"/>
                    <a:pt x="92" y="359"/>
                  </a:cubicBezTo>
                  <a:cubicBezTo>
                    <a:pt x="92" y="361"/>
                    <a:pt x="93" y="363"/>
                    <a:pt x="93" y="365"/>
                  </a:cubicBezTo>
                  <a:cubicBezTo>
                    <a:pt x="93" y="365"/>
                    <a:pt x="93" y="365"/>
                    <a:pt x="93" y="365"/>
                  </a:cubicBezTo>
                  <a:cubicBezTo>
                    <a:pt x="94" y="367"/>
                    <a:pt x="94" y="369"/>
                    <a:pt x="95" y="371"/>
                  </a:cubicBezTo>
                  <a:cubicBezTo>
                    <a:pt x="95" y="373"/>
                    <a:pt x="96" y="375"/>
                    <a:pt x="96" y="377"/>
                  </a:cubicBezTo>
                  <a:cubicBezTo>
                    <a:pt x="96" y="379"/>
                    <a:pt x="97" y="381"/>
                    <a:pt x="97" y="383"/>
                  </a:cubicBezTo>
                  <a:cubicBezTo>
                    <a:pt x="97" y="383"/>
                    <a:pt x="97" y="383"/>
                    <a:pt x="97" y="383"/>
                  </a:cubicBezTo>
                  <a:cubicBezTo>
                    <a:pt x="98" y="385"/>
                    <a:pt x="98" y="387"/>
                    <a:pt x="98" y="390"/>
                  </a:cubicBezTo>
                  <a:cubicBezTo>
                    <a:pt x="99" y="392"/>
                    <a:pt x="99" y="394"/>
                    <a:pt x="100" y="395"/>
                  </a:cubicBezTo>
                  <a:cubicBezTo>
                    <a:pt x="100" y="396"/>
                    <a:pt x="100" y="396"/>
                    <a:pt x="100" y="396"/>
                  </a:cubicBezTo>
                  <a:cubicBezTo>
                    <a:pt x="101" y="397"/>
                    <a:pt x="102" y="398"/>
                    <a:pt x="103" y="400"/>
                  </a:cubicBezTo>
                  <a:cubicBezTo>
                    <a:pt x="104" y="400"/>
                    <a:pt x="104" y="401"/>
                    <a:pt x="105" y="402"/>
                  </a:cubicBezTo>
                  <a:cubicBezTo>
                    <a:pt x="105" y="403"/>
                    <a:pt x="106" y="403"/>
                    <a:pt x="106" y="404"/>
                  </a:cubicBezTo>
                  <a:cubicBezTo>
                    <a:pt x="107" y="405"/>
                    <a:pt x="108" y="407"/>
                    <a:pt x="109" y="408"/>
                  </a:cubicBezTo>
                  <a:cubicBezTo>
                    <a:pt x="110" y="409"/>
                    <a:pt x="110" y="409"/>
                    <a:pt x="110" y="409"/>
                  </a:cubicBezTo>
                  <a:cubicBezTo>
                    <a:pt x="109" y="408"/>
                    <a:pt x="109" y="408"/>
                    <a:pt x="109" y="408"/>
                  </a:cubicBezTo>
                  <a:cubicBezTo>
                    <a:pt x="108" y="408"/>
                    <a:pt x="107" y="408"/>
                    <a:pt x="107" y="408"/>
                  </a:cubicBezTo>
                  <a:cubicBezTo>
                    <a:pt x="107" y="409"/>
                    <a:pt x="107" y="409"/>
                    <a:pt x="108" y="410"/>
                  </a:cubicBezTo>
                  <a:cubicBezTo>
                    <a:pt x="108" y="412"/>
                    <a:pt x="109" y="413"/>
                    <a:pt x="110" y="415"/>
                  </a:cubicBezTo>
                  <a:cubicBezTo>
                    <a:pt x="110" y="415"/>
                    <a:pt x="110" y="415"/>
                    <a:pt x="110" y="415"/>
                  </a:cubicBezTo>
                  <a:cubicBezTo>
                    <a:pt x="111" y="416"/>
                    <a:pt x="112" y="418"/>
                    <a:pt x="113" y="418"/>
                  </a:cubicBezTo>
                  <a:cubicBezTo>
                    <a:pt x="113" y="418"/>
                    <a:pt x="113" y="418"/>
                    <a:pt x="113" y="418"/>
                  </a:cubicBezTo>
                  <a:cubicBezTo>
                    <a:pt x="113" y="418"/>
                    <a:pt x="113" y="418"/>
                    <a:pt x="113" y="418"/>
                  </a:cubicBezTo>
                  <a:cubicBezTo>
                    <a:pt x="114" y="418"/>
                    <a:pt x="114" y="418"/>
                    <a:pt x="114" y="418"/>
                  </a:cubicBezTo>
                  <a:cubicBezTo>
                    <a:pt x="115" y="418"/>
                    <a:pt x="115" y="418"/>
                    <a:pt x="115" y="418"/>
                  </a:cubicBezTo>
                  <a:cubicBezTo>
                    <a:pt x="114" y="418"/>
                    <a:pt x="114" y="418"/>
                    <a:pt x="114" y="419"/>
                  </a:cubicBezTo>
                  <a:cubicBezTo>
                    <a:pt x="113" y="419"/>
                    <a:pt x="113" y="419"/>
                    <a:pt x="112" y="420"/>
                  </a:cubicBezTo>
                  <a:cubicBezTo>
                    <a:pt x="113" y="420"/>
                    <a:pt x="113" y="420"/>
                    <a:pt x="113" y="420"/>
                  </a:cubicBezTo>
                  <a:cubicBezTo>
                    <a:pt x="114" y="421"/>
                    <a:pt x="115" y="422"/>
                    <a:pt x="117" y="423"/>
                  </a:cubicBezTo>
                  <a:cubicBezTo>
                    <a:pt x="117" y="424"/>
                    <a:pt x="117" y="424"/>
                    <a:pt x="118" y="425"/>
                  </a:cubicBezTo>
                  <a:cubicBezTo>
                    <a:pt x="118" y="426"/>
                    <a:pt x="119" y="427"/>
                    <a:pt x="119" y="428"/>
                  </a:cubicBezTo>
                  <a:cubicBezTo>
                    <a:pt x="119" y="430"/>
                    <a:pt x="120" y="432"/>
                    <a:pt x="120" y="434"/>
                  </a:cubicBezTo>
                  <a:cubicBezTo>
                    <a:pt x="120" y="435"/>
                    <a:pt x="121" y="436"/>
                    <a:pt x="121" y="436"/>
                  </a:cubicBezTo>
                  <a:cubicBezTo>
                    <a:pt x="121" y="438"/>
                    <a:pt x="122" y="439"/>
                    <a:pt x="122" y="440"/>
                  </a:cubicBezTo>
                  <a:cubicBezTo>
                    <a:pt x="123" y="442"/>
                    <a:pt x="124" y="443"/>
                    <a:pt x="124" y="445"/>
                  </a:cubicBezTo>
                  <a:cubicBezTo>
                    <a:pt x="125" y="447"/>
                    <a:pt x="125" y="449"/>
                    <a:pt x="126" y="451"/>
                  </a:cubicBezTo>
                  <a:cubicBezTo>
                    <a:pt x="126" y="452"/>
                    <a:pt x="127" y="453"/>
                    <a:pt x="127" y="454"/>
                  </a:cubicBezTo>
                  <a:cubicBezTo>
                    <a:pt x="127" y="455"/>
                    <a:pt x="127" y="456"/>
                    <a:pt x="127" y="457"/>
                  </a:cubicBezTo>
                  <a:cubicBezTo>
                    <a:pt x="127" y="458"/>
                    <a:pt x="127" y="459"/>
                    <a:pt x="127" y="459"/>
                  </a:cubicBezTo>
                  <a:cubicBezTo>
                    <a:pt x="127" y="461"/>
                    <a:pt x="128" y="462"/>
                    <a:pt x="129" y="463"/>
                  </a:cubicBezTo>
                  <a:cubicBezTo>
                    <a:pt x="129" y="464"/>
                    <a:pt x="130" y="466"/>
                    <a:pt x="130" y="467"/>
                  </a:cubicBezTo>
                  <a:cubicBezTo>
                    <a:pt x="131" y="467"/>
                    <a:pt x="131" y="467"/>
                    <a:pt x="131" y="468"/>
                  </a:cubicBezTo>
                  <a:cubicBezTo>
                    <a:pt x="132" y="469"/>
                    <a:pt x="133" y="471"/>
                    <a:pt x="134" y="472"/>
                  </a:cubicBezTo>
                  <a:cubicBezTo>
                    <a:pt x="135" y="474"/>
                    <a:pt x="136" y="475"/>
                    <a:pt x="137" y="477"/>
                  </a:cubicBezTo>
                  <a:cubicBezTo>
                    <a:pt x="138" y="478"/>
                    <a:pt x="139" y="479"/>
                    <a:pt x="140" y="481"/>
                  </a:cubicBezTo>
                  <a:cubicBezTo>
                    <a:pt x="140" y="481"/>
                    <a:pt x="140" y="481"/>
                    <a:pt x="140" y="481"/>
                  </a:cubicBezTo>
                  <a:cubicBezTo>
                    <a:pt x="141" y="482"/>
                    <a:pt x="142" y="484"/>
                    <a:pt x="143" y="486"/>
                  </a:cubicBezTo>
                  <a:cubicBezTo>
                    <a:pt x="144" y="487"/>
                    <a:pt x="144" y="489"/>
                    <a:pt x="145" y="491"/>
                  </a:cubicBezTo>
                  <a:cubicBezTo>
                    <a:pt x="145" y="492"/>
                    <a:pt x="146" y="493"/>
                    <a:pt x="146" y="494"/>
                  </a:cubicBezTo>
                  <a:cubicBezTo>
                    <a:pt x="146" y="495"/>
                    <a:pt x="147" y="496"/>
                    <a:pt x="147" y="496"/>
                  </a:cubicBezTo>
                  <a:cubicBezTo>
                    <a:pt x="147" y="498"/>
                    <a:pt x="148" y="500"/>
                    <a:pt x="149" y="502"/>
                  </a:cubicBezTo>
                  <a:cubicBezTo>
                    <a:pt x="150" y="503"/>
                    <a:pt x="150" y="505"/>
                    <a:pt x="151" y="507"/>
                  </a:cubicBezTo>
                  <a:cubicBezTo>
                    <a:pt x="151" y="507"/>
                    <a:pt x="152" y="508"/>
                    <a:pt x="152" y="508"/>
                  </a:cubicBezTo>
                  <a:cubicBezTo>
                    <a:pt x="152" y="509"/>
                    <a:pt x="153" y="510"/>
                    <a:pt x="154" y="512"/>
                  </a:cubicBezTo>
                  <a:cubicBezTo>
                    <a:pt x="155" y="513"/>
                    <a:pt x="156" y="515"/>
                    <a:pt x="156" y="517"/>
                  </a:cubicBezTo>
                  <a:cubicBezTo>
                    <a:pt x="157" y="519"/>
                    <a:pt x="158" y="522"/>
                    <a:pt x="156" y="522"/>
                  </a:cubicBezTo>
                  <a:cubicBezTo>
                    <a:pt x="156" y="521"/>
                    <a:pt x="155" y="519"/>
                    <a:pt x="155" y="518"/>
                  </a:cubicBezTo>
                  <a:cubicBezTo>
                    <a:pt x="154" y="517"/>
                    <a:pt x="154" y="516"/>
                    <a:pt x="154" y="515"/>
                  </a:cubicBezTo>
                  <a:cubicBezTo>
                    <a:pt x="154" y="516"/>
                    <a:pt x="154" y="517"/>
                    <a:pt x="154" y="518"/>
                  </a:cubicBezTo>
                  <a:cubicBezTo>
                    <a:pt x="155" y="520"/>
                    <a:pt x="155" y="522"/>
                    <a:pt x="156" y="524"/>
                  </a:cubicBezTo>
                  <a:cubicBezTo>
                    <a:pt x="156" y="525"/>
                    <a:pt x="156" y="526"/>
                    <a:pt x="157" y="526"/>
                  </a:cubicBezTo>
                  <a:cubicBezTo>
                    <a:pt x="157" y="527"/>
                    <a:pt x="158" y="528"/>
                    <a:pt x="159" y="529"/>
                  </a:cubicBezTo>
                  <a:cubicBezTo>
                    <a:pt x="159" y="529"/>
                    <a:pt x="159" y="530"/>
                    <a:pt x="160" y="530"/>
                  </a:cubicBezTo>
                  <a:cubicBezTo>
                    <a:pt x="160" y="531"/>
                    <a:pt x="162" y="531"/>
                    <a:pt x="161" y="532"/>
                  </a:cubicBezTo>
                  <a:cubicBezTo>
                    <a:pt x="160" y="534"/>
                    <a:pt x="160" y="534"/>
                    <a:pt x="160" y="534"/>
                  </a:cubicBezTo>
                  <a:cubicBezTo>
                    <a:pt x="161" y="534"/>
                    <a:pt x="161" y="534"/>
                    <a:pt x="161" y="534"/>
                  </a:cubicBezTo>
                  <a:cubicBezTo>
                    <a:pt x="162" y="536"/>
                    <a:pt x="163" y="537"/>
                    <a:pt x="164" y="538"/>
                  </a:cubicBezTo>
                  <a:cubicBezTo>
                    <a:pt x="165" y="540"/>
                    <a:pt x="166" y="541"/>
                    <a:pt x="167" y="542"/>
                  </a:cubicBezTo>
                  <a:cubicBezTo>
                    <a:pt x="168" y="543"/>
                    <a:pt x="168" y="544"/>
                    <a:pt x="169" y="545"/>
                  </a:cubicBezTo>
                  <a:cubicBezTo>
                    <a:pt x="169" y="545"/>
                    <a:pt x="170" y="546"/>
                    <a:pt x="171" y="546"/>
                  </a:cubicBezTo>
                  <a:cubicBezTo>
                    <a:pt x="172" y="547"/>
                    <a:pt x="174" y="548"/>
                    <a:pt x="176" y="549"/>
                  </a:cubicBezTo>
                  <a:cubicBezTo>
                    <a:pt x="177" y="549"/>
                    <a:pt x="177" y="549"/>
                    <a:pt x="178" y="550"/>
                  </a:cubicBezTo>
                  <a:cubicBezTo>
                    <a:pt x="179" y="547"/>
                    <a:pt x="183" y="546"/>
                    <a:pt x="185" y="545"/>
                  </a:cubicBezTo>
                  <a:cubicBezTo>
                    <a:pt x="187" y="543"/>
                    <a:pt x="189" y="543"/>
                    <a:pt x="189" y="540"/>
                  </a:cubicBezTo>
                  <a:cubicBezTo>
                    <a:pt x="190" y="538"/>
                    <a:pt x="190" y="536"/>
                    <a:pt x="191" y="534"/>
                  </a:cubicBezTo>
                  <a:cubicBezTo>
                    <a:pt x="191" y="532"/>
                    <a:pt x="192" y="531"/>
                    <a:pt x="195" y="530"/>
                  </a:cubicBezTo>
                  <a:cubicBezTo>
                    <a:pt x="195" y="530"/>
                    <a:pt x="195" y="530"/>
                    <a:pt x="195" y="530"/>
                  </a:cubicBezTo>
                  <a:cubicBezTo>
                    <a:pt x="197" y="529"/>
                    <a:pt x="200" y="528"/>
                    <a:pt x="203" y="527"/>
                  </a:cubicBezTo>
                  <a:cubicBezTo>
                    <a:pt x="203" y="527"/>
                    <a:pt x="203" y="527"/>
                    <a:pt x="204" y="527"/>
                  </a:cubicBezTo>
                  <a:cubicBezTo>
                    <a:pt x="204" y="527"/>
                    <a:pt x="204" y="527"/>
                    <a:pt x="205" y="527"/>
                  </a:cubicBezTo>
                  <a:cubicBezTo>
                    <a:pt x="207" y="527"/>
                    <a:pt x="209" y="528"/>
                    <a:pt x="211" y="528"/>
                  </a:cubicBezTo>
                  <a:cubicBezTo>
                    <a:pt x="212" y="528"/>
                    <a:pt x="213" y="529"/>
                    <a:pt x="214" y="529"/>
                  </a:cubicBezTo>
                  <a:cubicBezTo>
                    <a:pt x="213" y="528"/>
                    <a:pt x="213" y="527"/>
                    <a:pt x="212" y="527"/>
                  </a:cubicBezTo>
                  <a:cubicBezTo>
                    <a:pt x="212" y="527"/>
                    <a:pt x="211" y="526"/>
                    <a:pt x="210" y="526"/>
                  </a:cubicBezTo>
                  <a:cubicBezTo>
                    <a:pt x="210" y="526"/>
                    <a:pt x="209" y="526"/>
                    <a:pt x="209" y="526"/>
                  </a:cubicBezTo>
                  <a:cubicBezTo>
                    <a:pt x="209" y="526"/>
                    <a:pt x="209" y="526"/>
                    <a:pt x="209" y="526"/>
                  </a:cubicBezTo>
                  <a:cubicBezTo>
                    <a:pt x="209" y="526"/>
                    <a:pt x="209" y="526"/>
                    <a:pt x="209" y="526"/>
                  </a:cubicBezTo>
                  <a:cubicBezTo>
                    <a:pt x="208" y="526"/>
                    <a:pt x="208" y="526"/>
                    <a:pt x="207" y="526"/>
                  </a:cubicBezTo>
                  <a:cubicBezTo>
                    <a:pt x="206" y="526"/>
                    <a:pt x="206" y="526"/>
                    <a:pt x="206" y="526"/>
                  </a:cubicBezTo>
                  <a:cubicBezTo>
                    <a:pt x="205" y="525"/>
                    <a:pt x="204" y="524"/>
                    <a:pt x="205" y="522"/>
                  </a:cubicBezTo>
                  <a:cubicBezTo>
                    <a:pt x="205" y="521"/>
                    <a:pt x="206" y="519"/>
                    <a:pt x="207" y="518"/>
                  </a:cubicBezTo>
                  <a:cubicBezTo>
                    <a:pt x="207" y="517"/>
                    <a:pt x="208" y="516"/>
                    <a:pt x="209" y="515"/>
                  </a:cubicBezTo>
                  <a:cubicBezTo>
                    <a:pt x="209" y="514"/>
                    <a:pt x="210" y="509"/>
                    <a:pt x="211" y="509"/>
                  </a:cubicBezTo>
                  <a:cubicBezTo>
                    <a:pt x="212" y="508"/>
                    <a:pt x="215" y="506"/>
                    <a:pt x="217" y="506"/>
                  </a:cubicBezTo>
                  <a:cubicBezTo>
                    <a:pt x="217" y="506"/>
                    <a:pt x="217" y="506"/>
                    <a:pt x="217" y="506"/>
                  </a:cubicBezTo>
                  <a:cubicBezTo>
                    <a:pt x="217" y="506"/>
                    <a:pt x="217" y="506"/>
                    <a:pt x="218" y="507"/>
                  </a:cubicBezTo>
                  <a:cubicBezTo>
                    <a:pt x="218" y="507"/>
                    <a:pt x="218" y="507"/>
                    <a:pt x="218" y="507"/>
                  </a:cubicBezTo>
                  <a:cubicBezTo>
                    <a:pt x="218" y="507"/>
                    <a:pt x="218" y="507"/>
                    <a:pt x="218" y="507"/>
                  </a:cubicBezTo>
                  <a:cubicBezTo>
                    <a:pt x="218" y="507"/>
                    <a:pt x="219" y="507"/>
                    <a:pt x="220" y="507"/>
                  </a:cubicBezTo>
                  <a:cubicBezTo>
                    <a:pt x="220" y="507"/>
                    <a:pt x="221" y="507"/>
                    <a:pt x="221" y="507"/>
                  </a:cubicBezTo>
                  <a:cubicBezTo>
                    <a:pt x="222" y="507"/>
                    <a:pt x="222" y="507"/>
                    <a:pt x="222" y="507"/>
                  </a:cubicBezTo>
                  <a:cubicBezTo>
                    <a:pt x="222" y="505"/>
                    <a:pt x="222" y="504"/>
                    <a:pt x="222" y="502"/>
                  </a:cubicBezTo>
                  <a:cubicBezTo>
                    <a:pt x="222" y="500"/>
                    <a:pt x="222" y="497"/>
                    <a:pt x="222" y="495"/>
                  </a:cubicBezTo>
                  <a:cubicBezTo>
                    <a:pt x="222" y="493"/>
                    <a:pt x="221" y="491"/>
                    <a:pt x="220" y="490"/>
                  </a:cubicBezTo>
                  <a:cubicBezTo>
                    <a:pt x="220" y="489"/>
                    <a:pt x="219" y="488"/>
                    <a:pt x="219" y="488"/>
                  </a:cubicBezTo>
                  <a:cubicBezTo>
                    <a:pt x="222" y="486"/>
                    <a:pt x="221" y="486"/>
                    <a:pt x="220" y="483"/>
                  </a:cubicBezTo>
                  <a:cubicBezTo>
                    <a:pt x="220" y="483"/>
                    <a:pt x="220" y="482"/>
                    <a:pt x="220" y="482"/>
                  </a:cubicBezTo>
                  <a:cubicBezTo>
                    <a:pt x="220" y="480"/>
                    <a:pt x="221" y="478"/>
                    <a:pt x="222" y="476"/>
                  </a:cubicBezTo>
                  <a:cubicBezTo>
                    <a:pt x="222" y="475"/>
                    <a:pt x="222" y="474"/>
                    <a:pt x="223" y="474"/>
                  </a:cubicBezTo>
                  <a:cubicBezTo>
                    <a:pt x="223" y="473"/>
                    <a:pt x="223" y="472"/>
                    <a:pt x="224" y="471"/>
                  </a:cubicBezTo>
                  <a:cubicBezTo>
                    <a:pt x="225" y="468"/>
                    <a:pt x="227" y="465"/>
                    <a:pt x="229" y="462"/>
                  </a:cubicBezTo>
                  <a:cubicBezTo>
                    <a:pt x="229" y="460"/>
                    <a:pt x="230" y="459"/>
                    <a:pt x="230" y="458"/>
                  </a:cubicBezTo>
                  <a:cubicBezTo>
                    <a:pt x="230" y="457"/>
                    <a:pt x="230" y="456"/>
                    <a:pt x="230" y="454"/>
                  </a:cubicBezTo>
                  <a:cubicBezTo>
                    <a:pt x="230" y="453"/>
                    <a:pt x="230" y="452"/>
                    <a:pt x="230" y="450"/>
                  </a:cubicBezTo>
                  <a:cubicBezTo>
                    <a:pt x="230" y="448"/>
                    <a:pt x="230" y="446"/>
                    <a:pt x="229" y="445"/>
                  </a:cubicBezTo>
                  <a:cubicBezTo>
                    <a:pt x="228" y="445"/>
                    <a:pt x="228" y="445"/>
                    <a:pt x="228" y="445"/>
                  </a:cubicBezTo>
                  <a:cubicBezTo>
                    <a:pt x="226" y="444"/>
                    <a:pt x="225" y="442"/>
                    <a:pt x="228" y="441"/>
                  </a:cubicBezTo>
                  <a:cubicBezTo>
                    <a:pt x="228" y="442"/>
                    <a:pt x="229" y="442"/>
                    <a:pt x="229" y="443"/>
                  </a:cubicBezTo>
                  <a:cubicBezTo>
                    <a:pt x="230" y="444"/>
                    <a:pt x="230" y="444"/>
                    <a:pt x="230" y="445"/>
                  </a:cubicBezTo>
                  <a:cubicBezTo>
                    <a:pt x="230" y="444"/>
                    <a:pt x="230" y="444"/>
                    <a:pt x="230" y="443"/>
                  </a:cubicBezTo>
                  <a:cubicBezTo>
                    <a:pt x="229" y="441"/>
                    <a:pt x="229" y="439"/>
                    <a:pt x="228" y="437"/>
                  </a:cubicBezTo>
                  <a:cubicBezTo>
                    <a:pt x="227" y="436"/>
                    <a:pt x="227" y="435"/>
                    <a:pt x="226" y="434"/>
                  </a:cubicBezTo>
                  <a:cubicBezTo>
                    <a:pt x="226" y="433"/>
                    <a:pt x="226" y="432"/>
                    <a:pt x="226" y="432"/>
                  </a:cubicBezTo>
                  <a:cubicBezTo>
                    <a:pt x="226" y="431"/>
                    <a:pt x="226" y="431"/>
                    <a:pt x="226" y="431"/>
                  </a:cubicBezTo>
                  <a:cubicBezTo>
                    <a:pt x="226" y="429"/>
                    <a:pt x="226" y="427"/>
                    <a:pt x="226" y="425"/>
                  </a:cubicBezTo>
                  <a:cubicBezTo>
                    <a:pt x="226" y="422"/>
                    <a:pt x="226" y="420"/>
                    <a:pt x="226" y="417"/>
                  </a:cubicBezTo>
                  <a:cubicBezTo>
                    <a:pt x="226" y="415"/>
                    <a:pt x="226" y="412"/>
                    <a:pt x="227" y="410"/>
                  </a:cubicBezTo>
                  <a:cubicBezTo>
                    <a:pt x="227" y="410"/>
                    <a:pt x="228" y="409"/>
                    <a:pt x="228" y="408"/>
                  </a:cubicBezTo>
                  <a:cubicBezTo>
                    <a:pt x="228" y="406"/>
                    <a:pt x="229" y="404"/>
                    <a:pt x="230" y="402"/>
                  </a:cubicBezTo>
                  <a:cubicBezTo>
                    <a:pt x="231" y="402"/>
                    <a:pt x="231" y="401"/>
                    <a:pt x="232" y="401"/>
                  </a:cubicBezTo>
                  <a:cubicBezTo>
                    <a:pt x="233" y="400"/>
                    <a:pt x="236" y="399"/>
                    <a:pt x="237" y="399"/>
                  </a:cubicBezTo>
                  <a:cubicBezTo>
                    <a:pt x="237" y="399"/>
                    <a:pt x="237" y="399"/>
                    <a:pt x="237" y="399"/>
                  </a:cubicBezTo>
                  <a:cubicBezTo>
                    <a:pt x="239" y="399"/>
                    <a:pt x="240" y="399"/>
                    <a:pt x="240" y="402"/>
                  </a:cubicBezTo>
                  <a:cubicBezTo>
                    <a:pt x="241" y="399"/>
                    <a:pt x="242" y="398"/>
                    <a:pt x="242" y="396"/>
                  </a:cubicBezTo>
                  <a:cubicBezTo>
                    <a:pt x="242" y="397"/>
                    <a:pt x="243" y="398"/>
                    <a:pt x="244" y="399"/>
                  </a:cubicBezTo>
                  <a:cubicBezTo>
                    <a:pt x="244" y="400"/>
                    <a:pt x="244" y="400"/>
                    <a:pt x="244" y="400"/>
                  </a:cubicBezTo>
                  <a:cubicBezTo>
                    <a:pt x="243" y="399"/>
                    <a:pt x="245" y="398"/>
                    <a:pt x="246" y="397"/>
                  </a:cubicBezTo>
                  <a:cubicBezTo>
                    <a:pt x="246" y="397"/>
                    <a:pt x="246" y="397"/>
                    <a:pt x="246" y="397"/>
                  </a:cubicBezTo>
                  <a:cubicBezTo>
                    <a:pt x="247" y="396"/>
                    <a:pt x="247" y="395"/>
                    <a:pt x="247" y="394"/>
                  </a:cubicBezTo>
                  <a:cubicBezTo>
                    <a:pt x="248" y="391"/>
                    <a:pt x="250" y="389"/>
                    <a:pt x="252" y="389"/>
                  </a:cubicBezTo>
                  <a:cubicBezTo>
                    <a:pt x="252" y="389"/>
                    <a:pt x="252" y="389"/>
                    <a:pt x="252" y="389"/>
                  </a:cubicBezTo>
                  <a:cubicBezTo>
                    <a:pt x="253" y="389"/>
                    <a:pt x="253" y="389"/>
                    <a:pt x="254" y="389"/>
                  </a:cubicBezTo>
                  <a:cubicBezTo>
                    <a:pt x="255" y="389"/>
                    <a:pt x="255" y="390"/>
                    <a:pt x="256" y="390"/>
                  </a:cubicBezTo>
                  <a:cubicBezTo>
                    <a:pt x="257" y="390"/>
                    <a:pt x="257" y="390"/>
                    <a:pt x="257" y="390"/>
                  </a:cubicBezTo>
                  <a:cubicBezTo>
                    <a:pt x="259" y="389"/>
                    <a:pt x="261" y="389"/>
                    <a:pt x="263" y="388"/>
                  </a:cubicBezTo>
                  <a:cubicBezTo>
                    <a:pt x="264" y="387"/>
                    <a:pt x="264" y="387"/>
                    <a:pt x="265" y="387"/>
                  </a:cubicBezTo>
                  <a:cubicBezTo>
                    <a:pt x="269" y="385"/>
                    <a:pt x="269" y="384"/>
                    <a:pt x="270" y="381"/>
                  </a:cubicBezTo>
                  <a:cubicBezTo>
                    <a:pt x="270" y="381"/>
                    <a:pt x="270" y="381"/>
                    <a:pt x="270" y="381"/>
                  </a:cubicBezTo>
                  <a:cubicBezTo>
                    <a:pt x="270" y="380"/>
                    <a:pt x="268" y="379"/>
                    <a:pt x="268" y="377"/>
                  </a:cubicBezTo>
                  <a:cubicBezTo>
                    <a:pt x="268" y="377"/>
                    <a:pt x="269" y="376"/>
                    <a:pt x="269" y="376"/>
                  </a:cubicBezTo>
                  <a:cubicBezTo>
                    <a:pt x="273" y="370"/>
                    <a:pt x="280" y="369"/>
                    <a:pt x="285" y="366"/>
                  </a:cubicBezTo>
                  <a:cubicBezTo>
                    <a:pt x="286" y="365"/>
                    <a:pt x="287" y="364"/>
                    <a:pt x="288" y="363"/>
                  </a:cubicBezTo>
                  <a:cubicBezTo>
                    <a:pt x="289" y="362"/>
                    <a:pt x="289" y="361"/>
                    <a:pt x="290" y="361"/>
                  </a:cubicBezTo>
                  <a:cubicBezTo>
                    <a:pt x="291" y="359"/>
                    <a:pt x="293" y="358"/>
                    <a:pt x="294" y="357"/>
                  </a:cubicBezTo>
                  <a:cubicBezTo>
                    <a:pt x="296" y="355"/>
                    <a:pt x="297" y="354"/>
                    <a:pt x="300" y="353"/>
                  </a:cubicBezTo>
                  <a:cubicBezTo>
                    <a:pt x="303" y="351"/>
                    <a:pt x="305" y="349"/>
                    <a:pt x="308" y="346"/>
                  </a:cubicBezTo>
                  <a:cubicBezTo>
                    <a:pt x="307" y="347"/>
                    <a:pt x="307" y="347"/>
                    <a:pt x="307" y="347"/>
                  </a:cubicBezTo>
                  <a:cubicBezTo>
                    <a:pt x="308" y="346"/>
                    <a:pt x="309" y="344"/>
                    <a:pt x="311" y="343"/>
                  </a:cubicBezTo>
                  <a:cubicBezTo>
                    <a:pt x="312" y="340"/>
                    <a:pt x="314" y="337"/>
                    <a:pt x="316" y="335"/>
                  </a:cubicBezTo>
                  <a:cubicBezTo>
                    <a:pt x="321" y="331"/>
                    <a:pt x="326" y="328"/>
                    <a:pt x="331" y="324"/>
                  </a:cubicBezTo>
                  <a:cubicBezTo>
                    <a:pt x="330" y="324"/>
                    <a:pt x="328" y="325"/>
                    <a:pt x="327" y="326"/>
                  </a:cubicBezTo>
                  <a:cubicBezTo>
                    <a:pt x="328" y="325"/>
                    <a:pt x="328" y="324"/>
                    <a:pt x="327" y="324"/>
                  </a:cubicBezTo>
                  <a:cubicBezTo>
                    <a:pt x="327" y="324"/>
                    <a:pt x="327" y="324"/>
                    <a:pt x="327" y="324"/>
                  </a:cubicBezTo>
                  <a:cubicBezTo>
                    <a:pt x="326" y="324"/>
                    <a:pt x="326" y="324"/>
                    <a:pt x="326" y="324"/>
                  </a:cubicBezTo>
                  <a:cubicBezTo>
                    <a:pt x="325" y="326"/>
                    <a:pt x="325" y="326"/>
                    <a:pt x="325" y="326"/>
                  </a:cubicBezTo>
                  <a:cubicBezTo>
                    <a:pt x="325" y="326"/>
                    <a:pt x="324" y="327"/>
                    <a:pt x="324" y="327"/>
                  </a:cubicBezTo>
                  <a:cubicBezTo>
                    <a:pt x="324" y="327"/>
                    <a:pt x="324" y="327"/>
                    <a:pt x="324" y="327"/>
                  </a:cubicBezTo>
                  <a:cubicBezTo>
                    <a:pt x="324" y="324"/>
                    <a:pt x="325" y="322"/>
                    <a:pt x="327" y="321"/>
                  </a:cubicBezTo>
                  <a:cubicBezTo>
                    <a:pt x="328" y="321"/>
                    <a:pt x="329" y="320"/>
                    <a:pt x="330" y="320"/>
                  </a:cubicBezTo>
                  <a:cubicBezTo>
                    <a:pt x="330" y="320"/>
                    <a:pt x="330" y="320"/>
                    <a:pt x="330" y="320"/>
                  </a:cubicBezTo>
                  <a:cubicBezTo>
                    <a:pt x="331" y="321"/>
                    <a:pt x="331" y="321"/>
                    <a:pt x="331" y="321"/>
                  </a:cubicBezTo>
                  <a:cubicBezTo>
                    <a:pt x="332" y="322"/>
                    <a:pt x="329" y="323"/>
                    <a:pt x="329" y="324"/>
                  </a:cubicBezTo>
                  <a:cubicBezTo>
                    <a:pt x="331" y="324"/>
                    <a:pt x="333" y="323"/>
                    <a:pt x="335" y="322"/>
                  </a:cubicBezTo>
                  <a:cubicBezTo>
                    <a:pt x="336" y="322"/>
                    <a:pt x="336" y="322"/>
                    <a:pt x="336" y="322"/>
                  </a:cubicBezTo>
                  <a:cubicBezTo>
                    <a:pt x="339" y="321"/>
                    <a:pt x="343" y="320"/>
                    <a:pt x="346" y="318"/>
                  </a:cubicBezTo>
                  <a:cubicBezTo>
                    <a:pt x="345" y="318"/>
                    <a:pt x="343" y="317"/>
                    <a:pt x="343" y="316"/>
                  </a:cubicBezTo>
                  <a:cubicBezTo>
                    <a:pt x="344" y="316"/>
                    <a:pt x="345" y="317"/>
                    <a:pt x="346" y="317"/>
                  </a:cubicBezTo>
                  <a:cubicBezTo>
                    <a:pt x="348" y="317"/>
                    <a:pt x="349" y="315"/>
                    <a:pt x="351" y="313"/>
                  </a:cubicBezTo>
                  <a:cubicBezTo>
                    <a:pt x="353" y="310"/>
                    <a:pt x="356" y="307"/>
                    <a:pt x="359" y="304"/>
                  </a:cubicBezTo>
                  <a:cubicBezTo>
                    <a:pt x="358" y="304"/>
                    <a:pt x="357" y="303"/>
                    <a:pt x="357" y="301"/>
                  </a:cubicBezTo>
                  <a:cubicBezTo>
                    <a:pt x="357" y="299"/>
                    <a:pt x="356" y="296"/>
                    <a:pt x="356" y="294"/>
                  </a:cubicBezTo>
                  <a:cubicBezTo>
                    <a:pt x="356" y="293"/>
                    <a:pt x="356" y="292"/>
                    <a:pt x="356" y="292"/>
                  </a:cubicBezTo>
                  <a:cubicBezTo>
                    <a:pt x="358" y="288"/>
                    <a:pt x="361" y="287"/>
                    <a:pt x="364" y="286"/>
                  </a:cubicBezTo>
                  <a:cubicBezTo>
                    <a:pt x="366" y="286"/>
                    <a:pt x="367" y="286"/>
                    <a:pt x="368" y="285"/>
                  </a:cubicBezTo>
                  <a:cubicBezTo>
                    <a:pt x="372" y="284"/>
                    <a:pt x="374" y="284"/>
                    <a:pt x="377" y="280"/>
                  </a:cubicBezTo>
                  <a:cubicBezTo>
                    <a:pt x="378" y="279"/>
                    <a:pt x="382" y="276"/>
                    <a:pt x="380" y="274"/>
                  </a:cubicBezTo>
                  <a:cubicBezTo>
                    <a:pt x="379" y="274"/>
                    <a:pt x="378" y="274"/>
                    <a:pt x="377" y="274"/>
                  </a:cubicBezTo>
                  <a:cubicBezTo>
                    <a:pt x="377" y="274"/>
                    <a:pt x="377" y="274"/>
                    <a:pt x="377" y="274"/>
                  </a:cubicBezTo>
                  <a:cubicBezTo>
                    <a:pt x="376" y="273"/>
                    <a:pt x="376" y="271"/>
                    <a:pt x="376" y="269"/>
                  </a:cubicBezTo>
                  <a:cubicBezTo>
                    <a:pt x="377" y="270"/>
                    <a:pt x="377" y="272"/>
                    <a:pt x="378" y="273"/>
                  </a:cubicBezTo>
                  <a:cubicBezTo>
                    <a:pt x="378" y="273"/>
                    <a:pt x="378" y="273"/>
                    <a:pt x="379" y="274"/>
                  </a:cubicBezTo>
                  <a:cubicBezTo>
                    <a:pt x="381" y="274"/>
                    <a:pt x="381" y="275"/>
                    <a:pt x="381" y="277"/>
                  </a:cubicBezTo>
                  <a:cubicBezTo>
                    <a:pt x="382" y="279"/>
                    <a:pt x="380" y="282"/>
                    <a:pt x="381" y="285"/>
                  </a:cubicBezTo>
                  <a:cubicBezTo>
                    <a:pt x="381" y="285"/>
                    <a:pt x="381" y="285"/>
                    <a:pt x="381" y="286"/>
                  </a:cubicBezTo>
                  <a:cubicBezTo>
                    <a:pt x="382" y="286"/>
                    <a:pt x="382" y="287"/>
                    <a:pt x="383" y="287"/>
                  </a:cubicBezTo>
                  <a:cubicBezTo>
                    <a:pt x="383" y="287"/>
                    <a:pt x="383" y="286"/>
                    <a:pt x="383" y="286"/>
                  </a:cubicBezTo>
                  <a:cubicBezTo>
                    <a:pt x="383" y="286"/>
                    <a:pt x="383" y="286"/>
                    <a:pt x="383" y="286"/>
                  </a:cubicBezTo>
                  <a:cubicBezTo>
                    <a:pt x="387" y="286"/>
                    <a:pt x="386" y="282"/>
                    <a:pt x="387" y="279"/>
                  </a:cubicBezTo>
                  <a:cubicBezTo>
                    <a:pt x="387" y="280"/>
                    <a:pt x="387" y="284"/>
                    <a:pt x="387" y="286"/>
                  </a:cubicBezTo>
                  <a:cubicBezTo>
                    <a:pt x="387" y="287"/>
                    <a:pt x="387" y="287"/>
                    <a:pt x="387" y="287"/>
                  </a:cubicBezTo>
                  <a:cubicBezTo>
                    <a:pt x="387" y="287"/>
                    <a:pt x="387" y="287"/>
                    <a:pt x="387" y="287"/>
                  </a:cubicBezTo>
                  <a:cubicBezTo>
                    <a:pt x="388" y="287"/>
                    <a:pt x="389" y="284"/>
                    <a:pt x="389" y="284"/>
                  </a:cubicBezTo>
                  <a:cubicBezTo>
                    <a:pt x="389" y="283"/>
                    <a:pt x="389" y="283"/>
                    <a:pt x="389" y="283"/>
                  </a:cubicBezTo>
                  <a:cubicBezTo>
                    <a:pt x="389" y="282"/>
                    <a:pt x="388" y="283"/>
                    <a:pt x="388" y="281"/>
                  </a:cubicBezTo>
                  <a:cubicBezTo>
                    <a:pt x="388" y="281"/>
                    <a:pt x="388" y="280"/>
                    <a:pt x="389" y="279"/>
                  </a:cubicBezTo>
                  <a:cubicBezTo>
                    <a:pt x="389" y="278"/>
                    <a:pt x="389" y="277"/>
                    <a:pt x="389" y="276"/>
                  </a:cubicBezTo>
                  <a:cubicBezTo>
                    <a:pt x="389" y="275"/>
                    <a:pt x="390" y="275"/>
                    <a:pt x="390" y="274"/>
                  </a:cubicBezTo>
                  <a:cubicBezTo>
                    <a:pt x="390" y="275"/>
                    <a:pt x="390" y="275"/>
                    <a:pt x="390" y="276"/>
                  </a:cubicBezTo>
                  <a:cubicBezTo>
                    <a:pt x="390" y="277"/>
                    <a:pt x="390" y="278"/>
                    <a:pt x="390" y="279"/>
                  </a:cubicBezTo>
                  <a:cubicBezTo>
                    <a:pt x="391" y="278"/>
                    <a:pt x="391" y="277"/>
                    <a:pt x="391" y="277"/>
                  </a:cubicBezTo>
                  <a:cubicBezTo>
                    <a:pt x="392" y="278"/>
                    <a:pt x="391" y="279"/>
                    <a:pt x="391" y="281"/>
                  </a:cubicBezTo>
                  <a:cubicBezTo>
                    <a:pt x="391" y="281"/>
                    <a:pt x="390" y="282"/>
                    <a:pt x="390" y="282"/>
                  </a:cubicBezTo>
                  <a:cubicBezTo>
                    <a:pt x="391" y="283"/>
                    <a:pt x="391" y="283"/>
                    <a:pt x="391" y="284"/>
                  </a:cubicBezTo>
                  <a:cubicBezTo>
                    <a:pt x="391" y="285"/>
                    <a:pt x="392" y="286"/>
                    <a:pt x="392" y="286"/>
                  </a:cubicBezTo>
                  <a:cubicBezTo>
                    <a:pt x="392" y="286"/>
                    <a:pt x="392" y="286"/>
                    <a:pt x="392" y="286"/>
                  </a:cubicBezTo>
                  <a:cubicBezTo>
                    <a:pt x="392" y="286"/>
                    <a:pt x="392" y="286"/>
                    <a:pt x="392" y="286"/>
                  </a:cubicBezTo>
                  <a:cubicBezTo>
                    <a:pt x="393" y="286"/>
                    <a:pt x="394" y="286"/>
                    <a:pt x="394" y="286"/>
                  </a:cubicBezTo>
                  <a:cubicBezTo>
                    <a:pt x="395" y="286"/>
                    <a:pt x="396" y="286"/>
                    <a:pt x="396" y="286"/>
                  </a:cubicBezTo>
                  <a:cubicBezTo>
                    <a:pt x="397" y="286"/>
                    <a:pt x="398" y="286"/>
                    <a:pt x="398" y="285"/>
                  </a:cubicBezTo>
                  <a:cubicBezTo>
                    <a:pt x="398" y="285"/>
                    <a:pt x="397" y="284"/>
                    <a:pt x="397" y="283"/>
                  </a:cubicBezTo>
                  <a:cubicBezTo>
                    <a:pt x="397" y="283"/>
                    <a:pt x="397" y="283"/>
                    <a:pt x="397" y="283"/>
                  </a:cubicBezTo>
                  <a:cubicBezTo>
                    <a:pt x="397" y="282"/>
                    <a:pt x="397" y="280"/>
                    <a:pt x="396" y="280"/>
                  </a:cubicBezTo>
                  <a:cubicBezTo>
                    <a:pt x="396" y="280"/>
                    <a:pt x="396" y="280"/>
                    <a:pt x="396" y="280"/>
                  </a:cubicBezTo>
                  <a:cubicBezTo>
                    <a:pt x="395" y="278"/>
                    <a:pt x="395" y="278"/>
                    <a:pt x="395" y="278"/>
                  </a:cubicBezTo>
                  <a:cubicBezTo>
                    <a:pt x="395" y="277"/>
                    <a:pt x="395" y="276"/>
                    <a:pt x="395" y="276"/>
                  </a:cubicBezTo>
                  <a:cubicBezTo>
                    <a:pt x="395" y="274"/>
                    <a:pt x="395" y="273"/>
                    <a:pt x="394" y="272"/>
                  </a:cubicBezTo>
                  <a:cubicBezTo>
                    <a:pt x="393" y="264"/>
                    <a:pt x="393" y="264"/>
                    <a:pt x="393" y="264"/>
                  </a:cubicBezTo>
                  <a:cubicBezTo>
                    <a:pt x="393" y="263"/>
                    <a:pt x="393" y="263"/>
                    <a:pt x="393" y="263"/>
                  </a:cubicBezTo>
                  <a:cubicBezTo>
                    <a:pt x="393" y="262"/>
                    <a:pt x="393" y="261"/>
                    <a:pt x="393" y="261"/>
                  </a:cubicBezTo>
                  <a:cubicBezTo>
                    <a:pt x="392" y="260"/>
                    <a:pt x="392" y="258"/>
                    <a:pt x="393" y="256"/>
                  </a:cubicBezTo>
                  <a:cubicBezTo>
                    <a:pt x="393" y="255"/>
                    <a:pt x="393" y="255"/>
                    <a:pt x="393" y="255"/>
                  </a:cubicBezTo>
                  <a:cubicBezTo>
                    <a:pt x="393" y="255"/>
                    <a:pt x="393" y="255"/>
                    <a:pt x="393" y="255"/>
                  </a:cubicBezTo>
                  <a:cubicBezTo>
                    <a:pt x="393" y="255"/>
                    <a:pt x="393" y="255"/>
                    <a:pt x="393" y="255"/>
                  </a:cubicBezTo>
                  <a:cubicBezTo>
                    <a:pt x="392" y="254"/>
                    <a:pt x="391" y="254"/>
                    <a:pt x="390" y="253"/>
                  </a:cubicBezTo>
                  <a:cubicBezTo>
                    <a:pt x="390" y="252"/>
                    <a:pt x="390" y="252"/>
                    <a:pt x="390" y="252"/>
                  </a:cubicBezTo>
                  <a:cubicBezTo>
                    <a:pt x="390" y="251"/>
                    <a:pt x="390" y="250"/>
                    <a:pt x="390" y="249"/>
                  </a:cubicBezTo>
                  <a:cubicBezTo>
                    <a:pt x="390" y="249"/>
                    <a:pt x="390" y="249"/>
                    <a:pt x="390" y="249"/>
                  </a:cubicBezTo>
                  <a:cubicBezTo>
                    <a:pt x="387" y="247"/>
                    <a:pt x="387" y="245"/>
                    <a:pt x="387" y="242"/>
                  </a:cubicBezTo>
                  <a:cubicBezTo>
                    <a:pt x="387" y="241"/>
                    <a:pt x="387" y="241"/>
                    <a:pt x="387" y="241"/>
                  </a:cubicBezTo>
                  <a:cubicBezTo>
                    <a:pt x="387" y="239"/>
                    <a:pt x="388" y="238"/>
                    <a:pt x="389" y="238"/>
                  </a:cubicBezTo>
                  <a:cubicBezTo>
                    <a:pt x="389" y="237"/>
                    <a:pt x="389" y="237"/>
                    <a:pt x="389" y="237"/>
                  </a:cubicBezTo>
                  <a:cubicBezTo>
                    <a:pt x="389" y="237"/>
                    <a:pt x="389" y="236"/>
                    <a:pt x="389" y="234"/>
                  </a:cubicBezTo>
                  <a:cubicBezTo>
                    <a:pt x="389" y="234"/>
                    <a:pt x="389" y="234"/>
                    <a:pt x="389" y="234"/>
                  </a:cubicBezTo>
                  <a:cubicBezTo>
                    <a:pt x="389" y="233"/>
                    <a:pt x="389" y="233"/>
                    <a:pt x="389" y="233"/>
                  </a:cubicBezTo>
                  <a:cubicBezTo>
                    <a:pt x="388" y="233"/>
                    <a:pt x="388" y="233"/>
                    <a:pt x="388" y="233"/>
                  </a:cubicBezTo>
                  <a:cubicBezTo>
                    <a:pt x="387" y="233"/>
                    <a:pt x="387" y="233"/>
                    <a:pt x="387" y="233"/>
                  </a:cubicBezTo>
                  <a:cubicBezTo>
                    <a:pt x="387" y="233"/>
                    <a:pt x="387" y="233"/>
                    <a:pt x="386" y="233"/>
                  </a:cubicBezTo>
                  <a:cubicBezTo>
                    <a:pt x="386" y="233"/>
                    <a:pt x="385" y="233"/>
                    <a:pt x="385" y="233"/>
                  </a:cubicBezTo>
                  <a:cubicBezTo>
                    <a:pt x="384" y="232"/>
                    <a:pt x="384" y="232"/>
                    <a:pt x="383" y="232"/>
                  </a:cubicBezTo>
                  <a:cubicBezTo>
                    <a:pt x="382" y="231"/>
                    <a:pt x="382" y="231"/>
                    <a:pt x="381" y="230"/>
                  </a:cubicBezTo>
                  <a:cubicBezTo>
                    <a:pt x="381" y="230"/>
                    <a:pt x="381" y="230"/>
                    <a:pt x="381" y="230"/>
                  </a:cubicBezTo>
                  <a:cubicBezTo>
                    <a:pt x="380" y="230"/>
                    <a:pt x="379" y="230"/>
                    <a:pt x="379" y="229"/>
                  </a:cubicBezTo>
                  <a:cubicBezTo>
                    <a:pt x="378" y="229"/>
                    <a:pt x="378" y="228"/>
                    <a:pt x="378" y="228"/>
                  </a:cubicBezTo>
                  <a:cubicBezTo>
                    <a:pt x="377" y="227"/>
                    <a:pt x="377" y="227"/>
                    <a:pt x="377" y="226"/>
                  </a:cubicBezTo>
                  <a:cubicBezTo>
                    <a:pt x="377" y="225"/>
                    <a:pt x="377" y="223"/>
                    <a:pt x="378" y="221"/>
                  </a:cubicBezTo>
                  <a:cubicBezTo>
                    <a:pt x="378" y="221"/>
                    <a:pt x="378" y="221"/>
                    <a:pt x="378" y="221"/>
                  </a:cubicBezTo>
                  <a:cubicBezTo>
                    <a:pt x="379" y="219"/>
                    <a:pt x="380" y="218"/>
                    <a:pt x="381" y="218"/>
                  </a:cubicBezTo>
                  <a:cubicBezTo>
                    <a:pt x="381" y="218"/>
                    <a:pt x="382" y="217"/>
                    <a:pt x="382" y="217"/>
                  </a:cubicBezTo>
                  <a:cubicBezTo>
                    <a:pt x="382" y="217"/>
                    <a:pt x="382" y="217"/>
                    <a:pt x="382" y="217"/>
                  </a:cubicBezTo>
                  <a:cubicBezTo>
                    <a:pt x="383" y="217"/>
                    <a:pt x="383" y="217"/>
                    <a:pt x="383" y="217"/>
                  </a:cubicBezTo>
                  <a:cubicBezTo>
                    <a:pt x="384" y="212"/>
                    <a:pt x="388" y="211"/>
                    <a:pt x="391" y="211"/>
                  </a:cubicBezTo>
                  <a:cubicBezTo>
                    <a:pt x="391" y="211"/>
                    <a:pt x="391" y="211"/>
                    <a:pt x="392" y="211"/>
                  </a:cubicBezTo>
                  <a:cubicBezTo>
                    <a:pt x="391" y="211"/>
                    <a:pt x="391" y="210"/>
                    <a:pt x="391" y="209"/>
                  </a:cubicBezTo>
                  <a:cubicBezTo>
                    <a:pt x="391" y="209"/>
                    <a:pt x="391" y="209"/>
                    <a:pt x="391" y="209"/>
                  </a:cubicBezTo>
                  <a:cubicBezTo>
                    <a:pt x="390" y="209"/>
                    <a:pt x="390" y="209"/>
                    <a:pt x="390" y="209"/>
                  </a:cubicBezTo>
                  <a:cubicBezTo>
                    <a:pt x="390" y="209"/>
                    <a:pt x="390" y="209"/>
                    <a:pt x="390" y="209"/>
                  </a:cubicBezTo>
                  <a:cubicBezTo>
                    <a:pt x="390" y="209"/>
                    <a:pt x="390" y="209"/>
                    <a:pt x="390" y="209"/>
                  </a:cubicBezTo>
                  <a:cubicBezTo>
                    <a:pt x="387" y="209"/>
                    <a:pt x="386" y="208"/>
                    <a:pt x="385" y="207"/>
                  </a:cubicBezTo>
                  <a:cubicBezTo>
                    <a:pt x="384" y="206"/>
                    <a:pt x="384" y="206"/>
                    <a:pt x="384" y="206"/>
                  </a:cubicBezTo>
                  <a:cubicBezTo>
                    <a:pt x="383" y="205"/>
                    <a:pt x="382" y="204"/>
                    <a:pt x="381" y="203"/>
                  </a:cubicBezTo>
                  <a:cubicBezTo>
                    <a:pt x="381" y="203"/>
                    <a:pt x="381" y="203"/>
                    <a:pt x="381" y="203"/>
                  </a:cubicBezTo>
                  <a:cubicBezTo>
                    <a:pt x="380" y="203"/>
                    <a:pt x="378" y="203"/>
                    <a:pt x="377" y="201"/>
                  </a:cubicBezTo>
                  <a:cubicBezTo>
                    <a:pt x="376" y="199"/>
                    <a:pt x="378" y="197"/>
                    <a:pt x="378" y="196"/>
                  </a:cubicBezTo>
                  <a:cubicBezTo>
                    <a:pt x="379" y="195"/>
                    <a:pt x="379" y="195"/>
                    <a:pt x="379" y="195"/>
                  </a:cubicBezTo>
                  <a:cubicBezTo>
                    <a:pt x="379" y="195"/>
                    <a:pt x="379" y="195"/>
                    <a:pt x="379" y="195"/>
                  </a:cubicBezTo>
                  <a:cubicBezTo>
                    <a:pt x="380" y="192"/>
                    <a:pt x="382" y="191"/>
                    <a:pt x="383" y="189"/>
                  </a:cubicBezTo>
                  <a:cubicBezTo>
                    <a:pt x="383" y="189"/>
                    <a:pt x="383" y="189"/>
                    <a:pt x="383" y="189"/>
                  </a:cubicBezTo>
                  <a:cubicBezTo>
                    <a:pt x="382" y="189"/>
                    <a:pt x="382" y="189"/>
                    <a:pt x="382" y="189"/>
                  </a:cubicBezTo>
                  <a:cubicBezTo>
                    <a:pt x="382" y="189"/>
                    <a:pt x="382" y="188"/>
                    <a:pt x="382" y="188"/>
                  </a:cubicBezTo>
                  <a:cubicBezTo>
                    <a:pt x="382" y="187"/>
                    <a:pt x="382" y="187"/>
                    <a:pt x="382" y="187"/>
                  </a:cubicBezTo>
                  <a:cubicBezTo>
                    <a:pt x="381" y="187"/>
                    <a:pt x="381" y="187"/>
                    <a:pt x="381" y="187"/>
                  </a:cubicBezTo>
                  <a:cubicBezTo>
                    <a:pt x="381" y="187"/>
                    <a:pt x="381" y="187"/>
                    <a:pt x="381" y="187"/>
                  </a:cubicBezTo>
                  <a:cubicBezTo>
                    <a:pt x="381" y="188"/>
                    <a:pt x="381" y="188"/>
                    <a:pt x="381" y="188"/>
                  </a:cubicBezTo>
                  <a:cubicBezTo>
                    <a:pt x="380" y="190"/>
                    <a:pt x="380" y="191"/>
                    <a:pt x="378" y="191"/>
                  </a:cubicBezTo>
                  <a:cubicBezTo>
                    <a:pt x="377" y="192"/>
                    <a:pt x="376" y="192"/>
                    <a:pt x="376" y="192"/>
                  </a:cubicBezTo>
                  <a:cubicBezTo>
                    <a:pt x="375" y="192"/>
                    <a:pt x="375" y="192"/>
                    <a:pt x="375" y="192"/>
                  </a:cubicBezTo>
                  <a:cubicBezTo>
                    <a:pt x="374" y="192"/>
                    <a:pt x="374" y="192"/>
                    <a:pt x="373" y="191"/>
                  </a:cubicBezTo>
                  <a:cubicBezTo>
                    <a:pt x="372" y="191"/>
                    <a:pt x="371" y="191"/>
                    <a:pt x="371" y="191"/>
                  </a:cubicBezTo>
                  <a:cubicBezTo>
                    <a:pt x="368" y="191"/>
                    <a:pt x="368" y="191"/>
                    <a:pt x="368" y="191"/>
                  </a:cubicBezTo>
                  <a:cubicBezTo>
                    <a:pt x="367" y="191"/>
                    <a:pt x="367" y="191"/>
                    <a:pt x="367" y="191"/>
                  </a:cubicBezTo>
                  <a:cubicBezTo>
                    <a:pt x="367" y="191"/>
                    <a:pt x="366" y="191"/>
                    <a:pt x="366" y="191"/>
                  </a:cubicBezTo>
                  <a:cubicBezTo>
                    <a:pt x="364" y="191"/>
                    <a:pt x="362" y="191"/>
                    <a:pt x="360" y="191"/>
                  </a:cubicBezTo>
                  <a:cubicBezTo>
                    <a:pt x="359" y="190"/>
                    <a:pt x="358" y="189"/>
                    <a:pt x="358" y="188"/>
                  </a:cubicBezTo>
                  <a:cubicBezTo>
                    <a:pt x="358" y="189"/>
                    <a:pt x="358" y="189"/>
                    <a:pt x="358" y="189"/>
                  </a:cubicBezTo>
                  <a:cubicBezTo>
                    <a:pt x="357" y="189"/>
                    <a:pt x="356" y="190"/>
                    <a:pt x="355" y="190"/>
                  </a:cubicBezTo>
                  <a:cubicBezTo>
                    <a:pt x="355" y="190"/>
                    <a:pt x="355" y="190"/>
                    <a:pt x="355" y="190"/>
                  </a:cubicBezTo>
                  <a:cubicBezTo>
                    <a:pt x="354" y="190"/>
                    <a:pt x="354" y="190"/>
                    <a:pt x="354" y="190"/>
                  </a:cubicBezTo>
                  <a:cubicBezTo>
                    <a:pt x="354" y="190"/>
                    <a:pt x="354" y="190"/>
                    <a:pt x="354" y="190"/>
                  </a:cubicBezTo>
                  <a:cubicBezTo>
                    <a:pt x="353" y="190"/>
                    <a:pt x="353" y="190"/>
                    <a:pt x="353" y="190"/>
                  </a:cubicBezTo>
                  <a:cubicBezTo>
                    <a:pt x="353" y="190"/>
                    <a:pt x="353" y="190"/>
                    <a:pt x="353" y="190"/>
                  </a:cubicBezTo>
                  <a:cubicBezTo>
                    <a:pt x="352" y="190"/>
                    <a:pt x="352" y="190"/>
                    <a:pt x="351" y="190"/>
                  </a:cubicBezTo>
                  <a:cubicBezTo>
                    <a:pt x="351" y="190"/>
                    <a:pt x="351" y="190"/>
                    <a:pt x="351" y="190"/>
                  </a:cubicBezTo>
                  <a:cubicBezTo>
                    <a:pt x="351" y="190"/>
                    <a:pt x="350" y="190"/>
                    <a:pt x="350" y="190"/>
                  </a:cubicBezTo>
                  <a:cubicBezTo>
                    <a:pt x="348" y="188"/>
                    <a:pt x="348" y="188"/>
                    <a:pt x="348" y="188"/>
                  </a:cubicBezTo>
                  <a:cubicBezTo>
                    <a:pt x="347" y="188"/>
                    <a:pt x="347" y="188"/>
                    <a:pt x="346" y="188"/>
                  </a:cubicBezTo>
                  <a:cubicBezTo>
                    <a:pt x="346" y="188"/>
                    <a:pt x="345" y="187"/>
                    <a:pt x="344" y="187"/>
                  </a:cubicBezTo>
                  <a:cubicBezTo>
                    <a:pt x="344" y="187"/>
                    <a:pt x="344" y="187"/>
                    <a:pt x="344" y="187"/>
                  </a:cubicBezTo>
                  <a:cubicBezTo>
                    <a:pt x="343" y="187"/>
                    <a:pt x="343" y="187"/>
                    <a:pt x="342" y="187"/>
                  </a:cubicBezTo>
                  <a:cubicBezTo>
                    <a:pt x="342" y="187"/>
                    <a:pt x="342" y="187"/>
                    <a:pt x="342" y="187"/>
                  </a:cubicBezTo>
                  <a:cubicBezTo>
                    <a:pt x="342" y="187"/>
                    <a:pt x="341" y="187"/>
                    <a:pt x="341" y="187"/>
                  </a:cubicBezTo>
                  <a:cubicBezTo>
                    <a:pt x="340" y="187"/>
                    <a:pt x="340" y="187"/>
                    <a:pt x="340" y="187"/>
                  </a:cubicBezTo>
                  <a:cubicBezTo>
                    <a:pt x="340" y="188"/>
                    <a:pt x="339" y="188"/>
                    <a:pt x="338" y="188"/>
                  </a:cubicBezTo>
                  <a:cubicBezTo>
                    <a:pt x="338" y="188"/>
                    <a:pt x="337" y="188"/>
                    <a:pt x="337" y="187"/>
                  </a:cubicBezTo>
                  <a:cubicBezTo>
                    <a:pt x="336" y="187"/>
                    <a:pt x="336" y="187"/>
                    <a:pt x="335" y="187"/>
                  </a:cubicBezTo>
                  <a:cubicBezTo>
                    <a:pt x="335" y="187"/>
                    <a:pt x="334" y="186"/>
                    <a:pt x="334" y="186"/>
                  </a:cubicBezTo>
                  <a:cubicBezTo>
                    <a:pt x="333" y="185"/>
                    <a:pt x="333" y="185"/>
                    <a:pt x="333" y="184"/>
                  </a:cubicBezTo>
                  <a:cubicBezTo>
                    <a:pt x="332" y="183"/>
                    <a:pt x="332" y="183"/>
                    <a:pt x="332" y="183"/>
                  </a:cubicBezTo>
                  <a:cubicBezTo>
                    <a:pt x="332" y="183"/>
                    <a:pt x="332" y="183"/>
                    <a:pt x="332" y="183"/>
                  </a:cubicBezTo>
                  <a:cubicBezTo>
                    <a:pt x="331" y="183"/>
                    <a:pt x="331" y="183"/>
                    <a:pt x="330" y="183"/>
                  </a:cubicBezTo>
                  <a:cubicBezTo>
                    <a:pt x="329" y="184"/>
                    <a:pt x="329" y="184"/>
                    <a:pt x="329" y="184"/>
                  </a:cubicBezTo>
                  <a:cubicBezTo>
                    <a:pt x="328" y="184"/>
                    <a:pt x="327" y="184"/>
                    <a:pt x="327" y="184"/>
                  </a:cubicBezTo>
                  <a:cubicBezTo>
                    <a:pt x="326" y="184"/>
                    <a:pt x="326" y="184"/>
                    <a:pt x="326" y="184"/>
                  </a:cubicBezTo>
                  <a:cubicBezTo>
                    <a:pt x="326" y="184"/>
                    <a:pt x="325" y="184"/>
                    <a:pt x="324" y="183"/>
                  </a:cubicBezTo>
                  <a:cubicBezTo>
                    <a:pt x="324" y="183"/>
                    <a:pt x="324" y="183"/>
                    <a:pt x="323" y="182"/>
                  </a:cubicBezTo>
                  <a:cubicBezTo>
                    <a:pt x="323" y="182"/>
                    <a:pt x="323" y="182"/>
                    <a:pt x="323" y="182"/>
                  </a:cubicBezTo>
                  <a:cubicBezTo>
                    <a:pt x="323" y="182"/>
                    <a:pt x="322" y="182"/>
                    <a:pt x="322" y="181"/>
                  </a:cubicBezTo>
                  <a:cubicBezTo>
                    <a:pt x="321" y="181"/>
                    <a:pt x="321" y="181"/>
                    <a:pt x="321" y="181"/>
                  </a:cubicBezTo>
                  <a:cubicBezTo>
                    <a:pt x="320" y="180"/>
                    <a:pt x="319" y="180"/>
                    <a:pt x="317" y="179"/>
                  </a:cubicBezTo>
                  <a:cubicBezTo>
                    <a:pt x="317" y="179"/>
                    <a:pt x="317" y="179"/>
                    <a:pt x="317" y="179"/>
                  </a:cubicBezTo>
                  <a:cubicBezTo>
                    <a:pt x="316" y="179"/>
                    <a:pt x="315" y="179"/>
                    <a:pt x="314" y="178"/>
                  </a:cubicBezTo>
                  <a:cubicBezTo>
                    <a:pt x="313" y="178"/>
                    <a:pt x="312" y="177"/>
                    <a:pt x="311" y="176"/>
                  </a:cubicBezTo>
                  <a:cubicBezTo>
                    <a:pt x="311" y="175"/>
                    <a:pt x="311" y="175"/>
                    <a:pt x="311" y="174"/>
                  </a:cubicBezTo>
                  <a:cubicBezTo>
                    <a:pt x="311" y="173"/>
                    <a:pt x="311" y="173"/>
                    <a:pt x="311" y="172"/>
                  </a:cubicBezTo>
                  <a:cubicBezTo>
                    <a:pt x="310" y="172"/>
                    <a:pt x="310" y="172"/>
                    <a:pt x="310" y="172"/>
                  </a:cubicBezTo>
                  <a:cubicBezTo>
                    <a:pt x="310" y="171"/>
                    <a:pt x="310" y="171"/>
                    <a:pt x="310" y="171"/>
                  </a:cubicBezTo>
                  <a:cubicBezTo>
                    <a:pt x="310" y="171"/>
                    <a:pt x="310" y="171"/>
                    <a:pt x="310" y="171"/>
                  </a:cubicBezTo>
                  <a:cubicBezTo>
                    <a:pt x="309" y="170"/>
                    <a:pt x="308" y="170"/>
                    <a:pt x="306" y="169"/>
                  </a:cubicBezTo>
                  <a:cubicBezTo>
                    <a:pt x="306" y="169"/>
                    <a:pt x="306" y="169"/>
                    <a:pt x="306" y="169"/>
                  </a:cubicBezTo>
                  <a:cubicBezTo>
                    <a:pt x="305" y="169"/>
                    <a:pt x="305" y="169"/>
                    <a:pt x="304" y="169"/>
                  </a:cubicBezTo>
                  <a:cubicBezTo>
                    <a:pt x="304" y="169"/>
                    <a:pt x="304" y="169"/>
                    <a:pt x="304" y="169"/>
                  </a:cubicBezTo>
                  <a:cubicBezTo>
                    <a:pt x="304" y="169"/>
                    <a:pt x="304" y="169"/>
                    <a:pt x="303" y="169"/>
                  </a:cubicBezTo>
                  <a:cubicBezTo>
                    <a:pt x="303" y="169"/>
                    <a:pt x="303" y="169"/>
                    <a:pt x="302" y="169"/>
                  </a:cubicBezTo>
                  <a:cubicBezTo>
                    <a:pt x="303" y="173"/>
                    <a:pt x="303" y="173"/>
                    <a:pt x="303" y="173"/>
                  </a:cubicBezTo>
                  <a:cubicBezTo>
                    <a:pt x="301" y="170"/>
                    <a:pt x="301" y="170"/>
                    <a:pt x="301" y="170"/>
                  </a:cubicBezTo>
                  <a:cubicBezTo>
                    <a:pt x="300" y="170"/>
                    <a:pt x="300" y="171"/>
                    <a:pt x="300" y="171"/>
                  </a:cubicBezTo>
                  <a:cubicBezTo>
                    <a:pt x="299" y="171"/>
                    <a:pt x="299" y="171"/>
                    <a:pt x="299" y="171"/>
                  </a:cubicBezTo>
                  <a:cubicBezTo>
                    <a:pt x="299" y="171"/>
                    <a:pt x="299" y="171"/>
                    <a:pt x="299" y="171"/>
                  </a:cubicBezTo>
                  <a:cubicBezTo>
                    <a:pt x="298" y="172"/>
                    <a:pt x="298" y="172"/>
                    <a:pt x="298" y="172"/>
                  </a:cubicBezTo>
                  <a:cubicBezTo>
                    <a:pt x="297" y="171"/>
                    <a:pt x="297" y="171"/>
                    <a:pt x="297" y="171"/>
                  </a:cubicBezTo>
                  <a:cubicBezTo>
                    <a:pt x="292" y="169"/>
                    <a:pt x="292" y="169"/>
                    <a:pt x="292" y="169"/>
                  </a:cubicBezTo>
                  <a:cubicBezTo>
                    <a:pt x="292" y="170"/>
                    <a:pt x="292" y="170"/>
                    <a:pt x="292" y="170"/>
                  </a:cubicBezTo>
                  <a:cubicBezTo>
                    <a:pt x="291" y="171"/>
                    <a:pt x="291" y="171"/>
                    <a:pt x="291" y="171"/>
                  </a:cubicBezTo>
                  <a:cubicBezTo>
                    <a:pt x="291" y="171"/>
                    <a:pt x="291" y="171"/>
                    <a:pt x="291" y="171"/>
                  </a:cubicBezTo>
                  <a:cubicBezTo>
                    <a:pt x="290" y="171"/>
                    <a:pt x="290" y="171"/>
                    <a:pt x="290" y="172"/>
                  </a:cubicBezTo>
                  <a:cubicBezTo>
                    <a:pt x="289" y="172"/>
                    <a:pt x="289" y="172"/>
                    <a:pt x="289" y="172"/>
                  </a:cubicBezTo>
                  <a:cubicBezTo>
                    <a:pt x="289" y="172"/>
                    <a:pt x="289" y="172"/>
                    <a:pt x="289" y="172"/>
                  </a:cubicBezTo>
                  <a:cubicBezTo>
                    <a:pt x="288" y="172"/>
                    <a:pt x="288" y="172"/>
                    <a:pt x="288" y="172"/>
                  </a:cubicBezTo>
                  <a:cubicBezTo>
                    <a:pt x="288" y="172"/>
                    <a:pt x="288" y="172"/>
                    <a:pt x="287" y="172"/>
                  </a:cubicBezTo>
                  <a:cubicBezTo>
                    <a:pt x="287" y="172"/>
                    <a:pt x="286" y="172"/>
                    <a:pt x="286" y="171"/>
                  </a:cubicBezTo>
                  <a:cubicBezTo>
                    <a:pt x="285" y="171"/>
                    <a:pt x="284" y="170"/>
                    <a:pt x="283" y="170"/>
                  </a:cubicBezTo>
                  <a:cubicBezTo>
                    <a:pt x="282" y="170"/>
                    <a:pt x="281" y="169"/>
                    <a:pt x="281" y="169"/>
                  </a:cubicBezTo>
                  <a:cubicBezTo>
                    <a:pt x="278" y="169"/>
                    <a:pt x="278" y="169"/>
                    <a:pt x="278" y="169"/>
                  </a:cubicBezTo>
                  <a:cubicBezTo>
                    <a:pt x="277" y="169"/>
                    <a:pt x="277" y="168"/>
                    <a:pt x="276" y="168"/>
                  </a:cubicBezTo>
                  <a:cubicBezTo>
                    <a:pt x="275" y="167"/>
                    <a:pt x="275" y="166"/>
                    <a:pt x="275" y="165"/>
                  </a:cubicBezTo>
                  <a:cubicBezTo>
                    <a:pt x="274" y="164"/>
                    <a:pt x="274" y="164"/>
                    <a:pt x="274" y="164"/>
                  </a:cubicBezTo>
                  <a:cubicBezTo>
                    <a:pt x="274" y="164"/>
                    <a:pt x="274" y="164"/>
                    <a:pt x="274" y="164"/>
                  </a:cubicBezTo>
                  <a:cubicBezTo>
                    <a:pt x="269" y="162"/>
                    <a:pt x="269" y="162"/>
                    <a:pt x="269" y="162"/>
                  </a:cubicBezTo>
                  <a:cubicBezTo>
                    <a:pt x="268" y="166"/>
                    <a:pt x="268" y="166"/>
                    <a:pt x="268" y="166"/>
                  </a:cubicBezTo>
                  <a:cubicBezTo>
                    <a:pt x="268" y="162"/>
                    <a:pt x="268" y="162"/>
                    <a:pt x="268" y="162"/>
                  </a:cubicBezTo>
                  <a:cubicBezTo>
                    <a:pt x="268" y="162"/>
                    <a:pt x="268" y="162"/>
                    <a:pt x="268" y="162"/>
                  </a:cubicBezTo>
                  <a:cubicBezTo>
                    <a:pt x="266" y="162"/>
                    <a:pt x="265" y="161"/>
                    <a:pt x="264" y="160"/>
                  </a:cubicBezTo>
                  <a:cubicBezTo>
                    <a:pt x="263" y="161"/>
                    <a:pt x="263" y="161"/>
                    <a:pt x="263" y="161"/>
                  </a:cubicBezTo>
                  <a:cubicBezTo>
                    <a:pt x="263" y="161"/>
                    <a:pt x="262" y="161"/>
                    <a:pt x="261" y="161"/>
                  </a:cubicBezTo>
                  <a:cubicBezTo>
                    <a:pt x="261" y="161"/>
                    <a:pt x="261" y="161"/>
                    <a:pt x="261" y="161"/>
                  </a:cubicBezTo>
                  <a:cubicBezTo>
                    <a:pt x="260" y="161"/>
                    <a:pt x="260" y="161"/>
                    <a:pt x="260" y="161"/>
                  </a:cubicBezTo>
                  <a:cubicBezTo>
                    <a:pt x="259" y="161"/>
                    <a:pt x="258" y="160"/>
                    <a:pt x="256" y="159"/>
                  </a:cubicBezTo>
                  <a:cubicBezTo>
                    <a:pt x="255" y="158"/>
                    <a:pt x="255" y="158"/>
                    <a:pt x="255" y="158"/>
                  </a:cubicBezTo>
                  <a:cubicBezTo>
                    <a:pt x="254" y="158"/>
                    <a:pt x="254" y="157"/>
                    <a:pt x="253" y="157"/>
                  </a:cubicBezTo>
                  <a:cubicBezTo>
                    <a:pt x="253" y="157"/>
                    <a:pt x="252" y="157"/>
                    <a:pt x="252" y="156"/>
                  </a:cubicBezTo>
                  <a:cubicBezTo>
                    <a:pt x="251" y="156"/>
                    <a:pt x="251" y="156"/>
                    <a:pt x="251" y="156"/>
                  </a:cubicBezTo>
                  <a:cubicBezTo>
                    <a:pt x="250" y="155"/>
                    <a:pt x="249" y="153"/>
                    <a:pt x="247" y="152"/>
                  </a:cubicBezTo>
                  <a:cubicBezTo>
                    <a:pt x="247" y="152"/>
                    <a:pt x="247" y="152"/>
                    <a:pt x="247" y="152"/>
                  </a:cubicBezTo>
                  <a:cubicBezTo>
                    <a:pt x="246" y="151"/>
                    <a:pt x="244" y="150"/>
                    <a:pt x="243" y="149"/>
                  </a:cubicBezTo>
                  <a:cubicBezTo>
                    <a:pt x="242" y="148"/>
                    <a:pt x="240" y="147"/>
                    <a:pt x="239" y="147"/>
                  </a:cubicBezTo>
                  <a:cubicBezTo>
                    <a:pt x="237" y="146"/>
                    <a:pt x="237" y="146"/>
                    <a:pt x="237" y="146"/>
                  </a:cubicBezTo>
                  <a:cubicBezTo>
                    <a:pt x="236" y="148"/>
                    <a:pt x="236" y="148"/>
                    <a:pt x="236" y="148"/>
                  </a:cubicBezTo>
                  <a:cubicBezTo>
                    <a:pt x="233" y="146"/>
                    <a:pt x="233" y="146"/>
                    <a:pt x="233" y="146"/>
                  </a:cubicBezTo>
                  <a:cubicBezTo>
                    <a:pt x="232" y="146"/>
                    <a:pt x="229" y="144"/>
                    <a:pt x="227" y="143"/>
                  </a:cubicBezTo>
                  <a:cubicBezTo>
                    <a:pt x="225" y="141"/>
                    <a:pt x="224" y="139"/>
                    <a:pt x="224" y="137"/>
                  </a:cubicBezTo>
                  <a:cubicBezTo>
                    <a:pt x="225" y="136"/>
                    <a:pt x="225" y="135"/>
                    <a:pt x="225" y="134"/>
                  </a:cubicBezTo>
                  <a:cubicBezTo>
                    <a:pt x="225" y="133"/>
                    <a:pt x="226" y="132"/>
                    <a:pt x="227" y="131"/>
                  </a:cubicBezTo>
                  <a:cubicBezTo>
                    <a:pt x="227" y="130"/>
                    <a:pt x="227" y="130"/>
                    <a:pt x="227" y="130"/>
                  </a:cubicBezTo>
                  <a:cubicBezTo>
                    <a:pt x="228" y="129"/>
                    <a:pt x="228" y="129"/>
                    <a:pt x="228" y="129"/>
                  </a:cubicBezTo>
                  <a:cubicBezTo>
                    <a:pt x="228" y="128"/>
                    <a:pt x="228" y="128"/>
                    <a:pt x="228" y="127"/>
                  </a:cubicBezTo>
                  <a:cubicBezTo>
                    <a:pt x="228" y="127"/>
                    <a:pt x="228" y="126"/>
                    <a:pt x="228" y="126"/>
                  </a:cubicBezTo>
                  <a:cubicBezTo>
                    <a:pt x="228" y="125"/>
                    <a:pt x="228" y="124"/>
                    <a:pt x="229" y="124"/>
                  </a:cubicBezTo>
                  <a:cubicBezTo>
                    <a:pt x="230" y="122"/>
                    <a:pt x="230" y="122"/>
                    <a:pt x="230" y="122"/>
                  </a:cubicBezTo>
                  <a:cubicBezTo>
                    <a:pt x="230" y="122"/>
                    <a:pt x="230" y="122"/>
                    <a:pt x="230" y="122"/>
                  </a:cubicBezTo>
                  <a:cubicBezTo>
                    <a:pt x="230" y="122"/>
                    <a:pt x="230" y="122"/>
                    <a:pt x="230" y="122"/>
                  </a:cubicBezTo>
                  <a:cubicBezTo>
                    <a:pt x="231" y="121"/>
                    <a:pt x="231" y="121"/>
                    <a:pt x="231" y="121"/>
                  </a:cubicBezTo>
                  <a:cubicBezTo>
                    <a:pt x="241" y="111"/>
                    <a:pt x="241" y="111"/>
                    <a:pt x="241" y="111"/>
                  </a:cubicBezTo>
                  <a:cubicBezTo>
                    <a:pt x="228" y="105"/>
                    <a:pt x="228" y="105"/>
                    <a:pt x="228" y="105"/>
                  </a:cubicBezTo>
                  <a:cubicBezTo>
                    <a:pt x="227" y="104"/>
                    <a:pt x="227" y="104"/>
                    <a:pt x="227" y="103"/>
                  </a:cubicBezTo>
                  <a:cubicBezTo>
                    <a:pt x="226" y="102"/>
                    <a:pt x="226" y="102"/>
                    <a:pt x="226" y="102"/>
                  </a:cubicBezTo>
                  <a:cubicBezTo>
                    <a:pt x="227" y="101"/>
                    <a:pt x="227" y="101"/>
                    <a:pt x="227" y="101"/>
                  </a:cubicBezTo>
                  <a:cubicBezTo>
                    <a:pt x="227" y="100"/>
                    <a:pt x="227" y="100"/>
                    <a:pt x="227" y="100"/>
                  </a:cubicBezTo>
                  <a:cubicBezTo>
                    <a:pt x="227" y="100"/>
                    <a:pt x="226" y="100"/>
                    <a:pt x="226" y="100"/>
                  </a:cubicBezTo>
                  <a:cubicBezTo>
                    <a:pt x="224" y="98"/>
                    <a:pt x="220" y="97"/>
                    <a:pt x="218" y="97"/>
                  </a:cubicBezTo>
                  <a:cubicBezTo>
                    <a:pt x="217" y="96"/>
                    <a:pt x="217" y="96"/>
                    <a:pt x="217" y="96"/>
                  </a:cubicBezTo>
                  <a:cubicBezTo>
                    <a:pt x="216" y="96"/>
                    <a:pt x="216" y="96"/>
                    <a:pt x="216" y="96"/>
                  </a:cubicBezTo>
                  <a:cubicBezTo>
                    <a:pt x="214" y="96"/>
                    <a:pt x="213" y="95"/>
                    <a:pt x="212" y="94"/>
                  </a:cubicBezTo>
                  <a:cubicBezTo>
                    <a:pt x="212" y="93"/>
                    <a:pt x="212" y="93"/>
                    <a:pt x="212" y="93"/>
                  </a:cubicBezTo>
                  <a:cubicBezTo>
                    <a:pt x="211" y="93"/>
                    <a:pt x="211" y="92"/>
                    <a:pt x="210" y="91"/>
                  </a:cubicBezTo>
                  <a:cubicBezTo>
                    <a:pt x="210" y="91"/>
                    <a:pt x="210" y="91"/>
                    <a:pt x="210" y="91"/>
                  </a:cubicBezTo>
                  <a:cubicBezTo>
                    <a:pt x="209" y="90"/>
                    <a:pt x="209" y="89"/>
                    <a:pt x="209" y="89"/>
                  </a:cubicBezTo>
                  <a:cubicBezTo>
                    <a:pt x="208" y="89"/>
                    <a:pt x="208" y="89"/>
                    <a:pt x="208" y="89"/>
                  </a:cubicBezTo>
                  <a:cubicBezTo>
                    <a:pt x="208" y="89"/>
                    <a:pt x="208" y="89"/>
                    <a:pt x="208" y="89"/>
                  </a:cubicBezTo>
                  <a:cubicBezTo>
                    <a:pt x="208" y="88"/>
                    <a:pt x="208" y="88"/>
                    <a:pt x="208" y="88"/>
                  </a:cubicBezTo>
                  <a:cubicBezTo>
                    <a:pt x="208" y="88"/>
                    <a:pt x="208" y="88"/>
                    <a:pt x="208" y="88"/>
                  </a:cubicBezTo>
                  <a:cubicBezTo>
                    <a:pt x="207" y="87"/>
                    <a:pt x="207" y="87"/>
                    <a:pt x="207" y="87"/>
                  </a:cubicBezTo>
                  <a:cubicBezTo>
                    <a:pt x="207" y="87"/>
                    <a:pt x="207" y="87"/>
                    <a:pt x="207" y="87"/>
                  </a:cubicBezTo>
                  <a:cubicBezTo>
                    <a:pt x="207" y="88"/>
                    <a:pt x="206" y="88"/>
                    <a:pt x="206" y="88"/>
                  </a:cubicBezTo>
                  <a:cubicBezTo>
                    <a:pt x="206" y="89"/>
                    <a:pt x="206" y="89"/>
                    <a:pt x="206" y="89"/>
                  </a:cubicBezTo>
                  <a:cubicBezTo>
                    <a:pt x="205" y="89"/>
                    <a:pt x="205" y="89"/>
                    <a:pt x="205" y="89"/>
                  </a:cubicBezTo>
                  <a:cubicBezTo>
                    <a:pt x="203" y="91"/>
                    <a:pt x="203" y="91"/>
                    <a:pt x="203" y="91"/>
                  </a:cubicBezTo>
                  <a:cubicBezTo>
                    <a:pt x="202" y="89"/>
                    <a:pt x="202" y="89"/>
                    <a:pt x="202" y="89"/>
                  </a:cubicBezTo>
                  <a:cubicBezTo>
                    <a:pt x="201" y="88"/>
                    <a:pt x="201" y="88"/>
                    <a:pt x="201" y="88"/>
                  </a:cubicBezTo>
                  <a:cubicBezTo>
                    <a:pt x="200" y="88"/>
                    <a:pt x="200" y="87"/>
                    <a:pt x="200" y="87"/>
                  </a:cubicBezTo>
                  <a:cubicBezTo>
                    <a:pt x="199" y="86"/>
                    <a:pt x="199" y="85"/>
                    <a:pt x="198" y="84"/>
                  </a:cubicBezTo>
                  <a:cubicBezTo>
                    <a:pt x="198" y="84"/>
                    <a:pt x="198" y="84"/>
                    <a:pt x="198" y="84"/>
                  </a:cubicBezTo>
                  <a:cubicBezTo>
                    <a:pt x="198" y="83"/>
                    <a:pt x="198" y="83"/>
                    <a:pt x="198" y="82"/>
                  </a:cubicBezTo>
                  <a:cubicBezTo>
                    <a:pt x="198" y="81"/>
                    <a:pt x="198" y="81"/>
                    <a:pt x="198" y="81"/>
                  </a:cubicBezTo>
                  <a:cubicBezTo>
                    <a:pt x="198" y="79"/>
                    <a:pt x="199" y="78"/>
                    <a:pt x="198" y="77"/>
                  </a:cubicBezTo>
                  <a:cubicBezTo>
                    <a:pt x="198" y="76"/>
                    <a:pt x="198" y="76"/>
                    <a:pt x="198" y="76"/>
                  </a:cubicBezTo>
                  <a:cubicBezTo>
                    <a:pt x="199" y="75"/>
                    <a:pt x="199" y="75"/>
                    <a:pt x="199" y="75"/>
                  </a:cubicBezTo>
                  <a:cubicBezTo>
                    <a:pt x="198" y="75"/>
                    <a:pt x="198" y="75"/>
                    <a:pt x="198" y="75"/>
                  </a:cubicBezTo>
                  <a:cubicBezTo>
                    <a:pt x="198" y="74"/>
                    <a:pt x="197" y="72"/>
                    <a:pt x="196" y="71"/>
                  </a:cubicBezTo>
                  <a:cubicBezTo>
                    <a:pt x="196" y="71"/>
                    <a:pt x="196" y="71"/>
                    <a:pt x="196" y="71"/>
                  </a:cubicBezTo>
                  <a:cubicBezTo>
                    <a:pt x="194" y="69"/>
                    <a:pt x="193" y="66"/>
                    <a:pt x="192" y="63"/>
                  </a:cubicBezTo>
                  <a:cubicBezTo>
                    <a:pt x="192" y="63"/>
                    <a:pt x="192" y="61"/>
                    <a:pt x="193" y="60"/>
                  </a:cubicBezTo>
                  <a:cubicBezTo>
                    <a:pt x="193" y="59"/>
                    <a:pt x="195" y="58"/>
                    <a:pt x="196" y="58"/>
                  </a:cubicBezTo>
                  <a:cubicBezTo>
                    <a:pt x="196" y="58"/>
                    <a:pt x="197" y="58"/>
                    <a:pt x="197" y="58"/>
                  </a:cubicBezTo>
                  <a:cubicBezTo>
                    <a:pt x="197" y="58"/>
                    <a:pt x="197" y="58"/>
                    <a:pt x="197" y="58"/>
                  </a:cubicBezTo>
                  <a:cubicBezTo>
                    <a:pt x="198" y="58"/>
                    <a:pt x="198" y="58"/>
                    <a:pt x="199" y="57"/>
                  </a:cubicBezTo>
                  <a:cubicBezTo>
                    <a:pt x="206" y="56"/>
                    <a:pt x="206" y="56"/>
                    <a:pt x="206" y="56"/>
                  </a:cubicBezTo>
                  <a:cubicBezTo>
                    <a:pt x="204" y="60"/>
                    <a:pt x="204" y="60"/>
                    <a:pt x="204" y="60"/>
                  </a:cubicBezTo>
                  <a:cubicBezTo>
                    <a:pt x="204" y="60"/>
                    <a:pt x="204" y="60"/>
                    <a:pt x="204" y="60"/>
                  </a:cubicBezTo>
                  <a:cubicBezTo>
                    <a:pt x="204" y="61"/>
                    <a:pt x="204" y="61"/>
                    <a:pt x="204" y="61"/>
                  </a:cubicBezTo>
                  <a:cubicBezTo>
                    <a:pt x="205" y="62"/>
                    <a:pt x="206" y="62"/>
                    <a:pt x="206" y="62"/>
                  </a:cubicBezTo>
                  <a:cubicBezTo>
                    <a:pt x="206" y="63"/>
                    <a:pt x="206" y="63"/>
                    <a:pt x="206" y="63"/>
                  </a:cubicBezTo>
                  <a:cubicBezTo>
                    <a:pt x="207" y="62"/>
                    <a:pt x="210" y="60"/>
                    <a:pt x="213" y="57"/>
                  </a:cubicBezTo>
                  <a:cubicBezTo>
                    <a:pt x="212" y="56"/>
                    <a:pt x="212" y="56"/>
                    <a:pt x="212" y="56"/>
                  </a:cubicBezTo>
                  <a:cubicBezTo>
                    <a:pt x="212" y="55"/>
                    <a:pt x="212" y="55"/>
                    <a:pt x="212" y="55"/>
                  </a:cubicBezTo>
                  <a:cubicBezTo>
                    <a:pt x="212" y="54"/>
                    <a:pt x="212" y="53"/>
                    <a:pt x="212" y="52"/>
                  </a:cubicBezTo>
                  <a:cubicBezTo>
                    <a:pt x="211" y="50"/>
                    <a:pt x="211" y="50"/>
                    <a:pt x="211" y="50"/>
                  </a:cubicBezTo>
                  <a:cubicBezTo>
                    <a:pt x="211" y="50"/>
                    <a:pt x="211" y="50"/>
                    <a:pt x="211" y="50"/>
                  </a:cubicBezTo>
                  <a:cubicBezTo>
                    <a:pt x="211" y="50"/>
                    <a:pt x="211" y="50"/>
                    <a:pt x="211" y="50"/>
                  </a:cubicBezTo>
                  <a:cubicBezTo>
                    <a:pt x="210" y="49"/>
                    <a:pt x="210" y="49"/>
                    <a:pt x="210" y="49"/>
                  </a:cubicBezTo>
                  <a:cubicBezTo>
                    <a:pt x="208" y="48"/>
                    <a:pt x="206" y="47"/>
                    <a:pt x="205" y="46"/>
                  </a:cubicBezTo>
                  <a:cubicBezTo>
                    <a:pt x="204" y="45"/>
                    <a:pt x="204" y="45"/>
                    <a:pt x="204" y="45"/>
                  </a:cubicBezTo>
                  <a:cubicBezTo>
                    <a:pt x="203" y="45"/>
                    <a:pt x="203" y="44"/>
                    <a:pt x="203" y="44"/>
                  </a:cubicBezTo>
                  <a:cubicBezTo>
                    <a:pt x="202" y="43"/>
                    <a:pt x="202" y="43"/>
                    <a:pt x="202" y="43"/>
                  </a:cubicBezTo>
                  <a:cubicBezTo>
                    <a:pt x="202" y="42"/>
                    <a:pt x="202" y="42"/>
                    <a:pt x="202" y="42"/>
                  </a:cubicBezTo>
                  <a:cubicBezTo>
                    <a:pt x="202" y="41"/>
                    <a:pt x="202" y="41"/>
                    <a:pt x="202" y="41"/>
                  </a:cubicBezTo>
                  <a:cubicBezTo>
                    <a:pt x="201" y="38"/>
                    <a:pt x="201" y="38"/>
                    <a:pt x="201" y="38"/>
                  </a:cubicBezTo>
                  <a:cubicBezTo>
                    <a:pt x="196" y="39"/>
                    <a:pt x="196" y="39"/>
                    <a:pt x="196" y="39"/>
                  </a:cubicBezTo>
                  <a:cubicBezTo>
                    <a:pt x="200" y="37"/>
                    <a:pt x="200" y="37"/>
                    <a:pt x="200" y="37"/>
                  </a:cubicBezTo>
                  <a:cubicBezTo>
                    <a:pt x="199" y="33"/>
                    <a:pt x="199" y="33"/>
                    <a:pt x="199" y="33"/>
                  </a:cubicBezTo>
                  <a:cubicBezTo>
                    <a:pt x="199" y="32"/>
                    <a:pt x="199" y="32"/>
                    <a:pt x="199" y="32"/>
                  </a:cubicBezTo>
                  <a:cubicBezTo>
                    <a:pt x="199" y="32"/>
                    <a:pt x="199" y="32"/>
                    <a:pt x="199" y="32"/>
                  </a:cubicBezTo>
                  <a:cubicBezTo>
                    <a:pt x="199" y="31"/>
                    <a:pt x="199" y="31"/>
                    <a:pt x="199" y="31"/>
                  </a:cubicBezTo>
                  <a:cubicBezTo>
                    <a:pt x="198" y="29"/>
                    <a:pt x="199" y="28"/>
                    <a:pt x="199" y="27"/>
                  </a:cubicBezTo>
                  <a:cubicBezTo>
                    <a:pt x="200" y="26"/>
                    <a:pt x="200" y="26"/>
                    <a:pt x="200" y="26"/>
                  </a:cubicBezTo>
                  <a:cubicBezTo>
                    <a:pt x="202" y="24"/>
                    <a:pt x="202" y="24"/>
                    <a:pt x="202" y="24"/>
                  </a:cubicBezTo>
                  <a:cubicBezTo>
                    <a:pt x="201" y="23"/>
                    <a:pt x="201" y="23"/>
                    <a:pt x="201" y="23"/>
                  </a:cubicBezTo>
                  <a:cubicBezTo>
                    <a:pt x="200" y="23"/>
                    <a:pt x="200" y="23"/>
                    <a:pt x="200" y="23"/>
                  </a:cubicBezTo>
                  <a:cubicBezTo>
                    <a:pt x="198" y="22"/>
                    <a:pt x="196" y="22"/>
                    <a:pt x="195" y="21"/>
                  </a:cubicBezTo>
                  <a:cubicBezTo>
                    <a:pt x="193" y="19"/>
                    <a:pt x="191" y="18"/>
                    <a:pt x="190" y="16"/>
                  </a:cubicBezTo>
                  <a:cubicBezTo>
                    <a:pt x="190" y="16"/>
                    <a:pt x="190" y="15"/>
                    <a:pt x="190" y="15"/>
                  </a:cubicBezTo>
                  <a:cubicBezTo>
                    <a:pt x="188" y="9"/>
                    <a:pt x="188" y="9"/>
                    <a:pt x="188" y="9"/>
                  </a:cubicBezTo>
                  <a:cubicBezTo>
                    <a:pt x="187" y="8"/>
                    <a:pt x="187" y="8"/>
                    <a:pt x="187" y="7"/>
                  </a:cubicBezTo>
                  <a:cubicBezTo>
                    <a:pt x="186" y="6"/>
                    <a:pt x="186" y="6"/>
                    <a:pt x="186" y="6"/>
                  </a:cubicBezTo>
                  <a:cubicBezTo>
                    <a:pt x="185" y="5"/>
                    <a:pt x="185" y="4"/>
                    <a:pt x="185" y="2"/>
                  </a:cubicBezTo>
                  <a:cubicBezTo>
                    <a:pt x="185" y="2"/>
                    <a:pt x="185" y="1"/>
                    <a:pt x="1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Rectangle 415"/>
            <p:cNvSpPr>
              <a:spLocks noChangeArrowheads="1"/>
            </p:cNvSpPr>
            <p:nvPr/>
          </p:nvSpPr>
          <p:spPr bwMode="auto">
            <a:xfrm>
              <a:off x="2635365" y="5287196"/>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416"/>
            <p:cNvSpPr/>
            <p:nvPr/>
          </p:nvSpPr>
          <p:spPr bwMode="auto">
            <a:xfrm flipH="1">
              <a:off x="2635365" y="528719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417"/>
            <p:cNvSpPr/>
            <p:nvPr/>
          </p:nvSpPr>
          <p:spPr bwMode="auto">
            <a:xfrm flipH="1">
              <a:off x="2678005" y="4750770"/>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418"/>
            <p:cNvSpPr/>
            <p:nvPr/>
          </p:nvSpPr>
          <p:spPr bwMode="auto">
            <a:xfrm flipH="1">
              <a:off x="2678005" y="4750770"/>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419"/>
            <p:cNvSpPr>
              <a:spLocks noEditPoints="1"/>
            </p:cNvSpPr>
            <p:nvPr/>
          </p:nvSpPr>
          <p:spPr bwMode="auto">
            <a:xfrm>
              <a:off x="2203474" y="4379398"/>
              <a:ext cx="998577" cy="898170"/>
            </a:xfrm>
            <a:custGeom>
              <a:gdLst>
                <a:gd name="T0" fmla="*/ 248 w 307"/>
                <a:gd name="T1" fmla="*/ 4 h 276"/>
                <a:gd name="T2" fmla="*/ 231 w 307"/>
                <a:gd name="T3" fmla="*/ 3 h 276"/>
                <a:gd name="T4" fmla="*/ 203 w 307"/>
                <a:gd name="T5" fmla="*/ 13 h 276"/>
                <a:gd name="T6" fmla="*/ 199 w 307"/>
                <a:gd name="T7" fmla="*/ 27 h 276"/>
                <a:gd name="T8" fmla="*/ 202 w 307"/>
                <a:gd name="T9" fmla="*/ 38 h 276"/>
                <a:gd name="T10" fmla="*/ 191 w 307"/>
                <a:gd name="T11" fmla="*/ 50 h 276"/>
                <a:gd name="T12" fmla="*/ 192 w 307"/>
                <a:gd name="T13" fmla="*/ 60 h 276"/>
                <a:gd name="T14" fmla="*/ 169 w 307"/>
                <a:gd name="T15" fmla="*/ 65 h 276"/>
                <a:gd name="T16" fmla="*/ 168 w 307"/>
                <a:gd name="T17" fmla="*/ 84 h 276"/>
                <a:gd name="T18" fmla="*/ 163 w 307"/>
                <a:gd name="T19" fmla="*/ 85 h 276"/>
                <a:gd name="T20" fmla="*/ 160 w 307"/>
                <a:gd name="T21" fmla="*/ 93 h 276"/>
                <a:gd name="T22" fmla="*/ 149 w 307"/>
                <a:gd name="T23" fmla="*/ 115 h 276"/>
                <a:gd name="T24" fmla="*/ 143 w 307"/>
                <a:gd name="T25" fmla="*/ 114 h 276"/>
                <a:gd name="T26" fmla="*/ 134 w 307"/>
                <a:gd name="T27" fmla="*/ 113 h 276"/>
                <a:gd name="T28" fmla="*/ 120 w 307"/>
                <a:gd name="T29" fmla="*/ 124 h 276"/>
                <a:gd name="T30" fmla="*/ 108 w 307"/>
                <a:gd name="T31" fmla="*/ 124 h 276"/>
                <a:gd name="T32" fmla="*/ 100 w 307"/>
                <a:gd name="T33" fmla="*/ 139 h 276"/>
                <a:gd name="T34" fmla="*/ 94 w 307"/>
                <a:gd name="T35" fmla="*/ 154 h 276"/>
                <a:gd name="T36" fmla="*/ 60 w 307"/>
                <a:gd name="T37" fmla="*/ 161 h 276"/>
                <a:gd name="T38" fmla="*/ 53 w 307"/>
                <a:gd name="T39" fmla="*/ 162 h 276"/>
                <a:gd name="T40" fmla="*/ 37 w 307"/>
                <a:gd name="T41" fmla="*/ 161 h 276"/>
                <a:gd name="T42" fmla="*/ 2 w 307"/>
                <a:gd name="T43" fmla="*/ 157 h 276"/>
                <a:gd name="T44" fmla="*/ 23 w 307"/>
                <a:gd name="T45" fmla="*/ 179 h 276"/>
                <a:gd name="T46" fmla="*/ 33 w 307"/>
                <a:gd name="T47" fmla="*/ 192 h 276"/>
                <a:gd name="T48" fmla="*/ 43 w 307"/>
                <a:gd name="T49" fmla="*/ 204 h 276"/>
                <a:gd name="T50" fmla="*/ 24 w 307"/>
                <a:gd name="T51" fmla="*/ 222 h 276"/>
                <a:gd name="T52" fmla="*/ 12 w 307"/>
                <a:gd name="T53" fmla="*/ 241 h 276"/>
                <a:gd name="T54" fmla="*/ 22 w 307"/>
                <a:gd name="T55" fmla="*/ 249 h 276"/>
                <a:gd name="T56" fmla="*/ 56 w 307"/>
                <a:gd name="T57" fmla="*/ 241 h 276"/>
                <a:gd name="T58" fmla="*/ 94 w 307"/>
                <a:gd name="T59" fmla="*/ 242 h 276"/>
                <a:gd name="T60" fmla="*/ 100 w 307"/>
                <a:gd name="T61" fmla="*/ 240 h 276"/>
                <a:gd name="T62" fmla="*/ 112 w 307"/>
                <a:gd name="T63" fmla="*/ 252 h 276"/>
                <a:gd name="T64" fmla="*/ 132 w 307"/>
                <a:gd name="T65" fmla="*/ 275 h 276"/>
                <a:gd name="T66" fmla="*/ 142 w 307"/>
                <a:gd name="T67" fmla="*/ 269 h 276"/>
                <a:gd name="T68" fmla="*/ 162 w 307"/>
                <a:gd name="T69" fmla="*/ 264 h 276"/>
                <a:gd name="T70" fmla="*/ 175 w 307"/>
                <a:gd name="T71" fmla="*/ 261 h 276"/>
                <a:gd name="T72" fmla="*/ 184 w 307"/>
                <a:gd name="T73" fmla="*/ 262 h 276"/>
                <a:gd name="T74" fmla="*/ 179 w 307"/>
                <a:gd name="T75" fmla="*/ 249 h 276"/>
                <a:gd name="T76" fmla="*/ 175 w 307"/>
                <a:gd name="T77" fmla="*/ 239 h 276"/>
                <a:gd name="T78" fmla="*/ 169 w 307"/>
                <a:gd name="T79" fmla="*/ 230 h 276"/>
                <a:gd name="T80" fmla="*/ 164 w 307"/>
                <a:gd name="T81" fmla="*/ 223 h 276"/>
                <a:gd name="T82" fmla="*/ 167 w 307"/>
                <a:gd name="T83" fmla="*/ 194 h 276"/>
                <a:gd name="T84" fmla="*/ 173 w 307"/>
                <a:gd name="T85" fmla="*/ 188 h 276"/>
                <a:gd name="T86" fmla="*/ 180 w 307"/>
                <a:gd name="T87" fmla="*/ 187 h 276"/>
                <a:gd name="T88" fmla="*/ 186 w 307"/>
                <a:gd name="T89" fmla="*/ 192 h 276"/>
                <a:gd name="T90" fmla="*/ 200 w 307"/>
                <a:gd name="T91" fmla="*/ 189 h 276"/>
                <a:gd name="T92" fmla="*/ 226 w 307"/>
                <a:gd name="T93" fmla="*/ 160 h 276"/>
                <a:gd name="T94" fmla="*/ 240 w 307"/>
                <a:gd name="T95" fmla="*/ 143 h 276"/>
                <a:gd name="T96" fmla="*/ 253 w 307"/>
                <a:gd name="T97" fmla="*/ 127 h 276"/>
                <a:gd name="T98" fmla="*/ 252 w 307"/>
                <a:gd name="T99" fmla="*/ 112 h 276"/>
                <a:gd name="T100" fmla="*/ 263 w 307"/>
                <a:gd name="T101" fmla="*/ 103 h 276"/>
                <a:gd name="T102" fmla="*/ 263 w 307"/>
                <a:gd name="T103" fmla="*/ 99 h 276"/>
                <a:gd name="T104" fmla="*/ 247 w 307"/>
                <a:gd name="T105" fmla="*/ 87 h 276"/>
                <a:gd name="T106" fmla="*/ 245 w 307"/>
                <a:gd name="T107" fmla="*/ 73 h 276"/>
                <a:gd name="T108" fmla="*/ 245 w 307"/>
                <a:gd name="T109" fmla="*/ 65 h 276"/>
                <a:gd name="T110" fmla="*/ 242 w 307"/>
                <a:gd name="T111" fmla="*/ 59 h 276"/>
                <a:gd name="T112" fmla="*/ 252 w 307"/>
                <a:gd name="T113" fmla="*/ 46 h 276"/>
                <a:gd name="T114" fmla="*/ 272 w 307"/>
                <a:gd name="T115" fmla="*/ 48 h 276"/>
                <a:gd name="T116" fmla="*/ 289 w 307"/>
                <a:gd name="T117" fmla="*/ 46 h 276"/>
                <a:gd name="T118" fmla="*/ 305 w 307"/>
                <a:gd name="T119" fmla="*/ 35 h 276"/>
                <a:gd name="T120" fmla="*/ 288 w 307"/>
                <a:gd name="T121" fmla="*/ 26 h 276"/>
                <a:gd name="T122" fmla="*/ 280 w 307"/>
                <a:gd name="T123" fmla="*/ 15 h 276"/>
                <a:gd name="T124" fmla="*/ 264 w 307"/>
                <a:gd name="T125" fmla="*/ 1 h 2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7" h="276">
                  <a:moveTo>
                    <a:pt x="102" y="242"/>
                  </a:moveTo>
                  <a:cubicBezTo>
                    <a:pt x="102" y="242"/>
                    <a:pt x="102" y="242"/>
                    <a:pt x="102" y="242"/>
                  </a:cubicBezTo>
                  <a:cubicBezTo>
                    <a:pt x="102" y="242"/>
                    <a:pt x="102" y="242"/>
                    <a:pt x="102" y="242"/>
                  </a:cubicBezTo>
                  <a:moveTo>
                    <a:pt x="257" y="0"/>
                  </a:moveTo>
                  <a:cubicBezTo>
                    <a:pt x="256" y="0"/>
                    <a:pt x="256" y="0"/>
                    <a:pt x="256" y="0"/>
                  </a:cubicBezTo>
                  <a:cubicBezTo>
                    <a:pt x="255" y="0"/>
                    <a:pt x="254" y="1"/>
                    <a:pt x="253" y="1"/>
                  </a:cubicBezTo>
                  <a:cubicBezTo>
                    <a:pt x="253" y="1"/>
                    <a:pt x="253" y="1"/>
                    <a:pt x="253" y="1"/>
                  </a:cubicBezTo>
                  <a:cubicBezTo>
                    <a:pt x="251" y="2"/>
                    <a:pt x="249" y="3"/>
                    <a:pt x="248" y="4"/>
                  </a:cubicBezTo>
                  <a:cubicBezTo>
                    <a:pt x="247" y="4"/>
                    <a:pt x="247" y="4"/>
                    <a:pt x="247" y="4"/>
                  </a:cubicBezTo>
                  <a:cubicBezTo>
                    <a:pt x="246" y="4"/>
                    <a:pt x="246" y="4"/>
                    <a:pt x="245" y="4"/>
                  </a:cubicBezTo>
                  <a:cubicBezTo>
                    <a:pt x="244" y="4"/>
                    <a:pt x="242" y="4"/>
                    <a:pt x="241" y="3"/>
                  </a:cubicBezTo>
                  <a:cubicBezTo>
                    <a:pt x="241" y="3"/>
                    <a:pt x="241" y="3"/>
                    <a:pt x="241" y="3"/>
                  </a:cubicBezTo>
                  <a:cubicBezTo>
                    <a:pt x="240" y="3"/>
                    <a:pt x="240" y="3"/>
                    <a:pt x="240" y="3"/>
                  </a:cubicBezTo>
                  <a:cubicBezTo>
                    <a:pt x="239" y="3"/>
                    <a:pt x="239" y="3"/>
                    <a:pt x="238" y="3"/>
                  </a:cubicBezTo>
                  <a:cubicBezTo>
                    <a:pt x="237" y="3"/>
                    <a:pt x="236" y="3"/>
                    <a:pt x="234" y="3"/>
                  </a:cubicBezTo>
                  <a:cubicBezTo>
                    <a:pt x="231" y="3"/>
                    <a:pt x="231" y="3"/>
                    <a:pt x="231" y="3"/>
                  </a:cubicBezTo>
                  <a:cubicBezTo>
                    <a:pt x="229" y="3"/>
                    <a:pt x="227" y="4"/>
                    <a:pt x="225" y="4"/>
                  </a:cubicBezTo>
                  <a:cubicBezTo>
                    <a:pt x="222" y="4"/>
                    <a:pt x="222" y="4"/>
                    <a:pt x="222" y="4"/>
                  </a:cubicBezTo>
                  <a:cubicBezTo>
                    <a:pt x="220" y="4"/>
                    <a:pt x="218" y="5"/>
                    <a:pt x="217" y="5"/>
                  </a:cubicBezTo>
                  <a:cubicBezTo>
                    <a:pt x="215" y="6"/>
                    <a:pt x="213" y="8"/>
                    <a:pt x="211" y="9"/>
                  </a:cubicBezTo>
                  <a:cubicBezTo>
                    <a:pt x="210" y="9"/>
                    <a:pt x="210" y="9"/>
                    <a:pt x="210" y="9"/>
                  </a:cubicBezTo>
                  <a:cubicBezTo>
                    <a:pt x="208" y="10"/>
                    <a:pt x="207" y="11"/>
                    <a:pt x="205" y="12"/>
                  </a:cubicBezTo>
                  <a:cubicBezTo>
                    <a:pt x="205" y="13"/>
                    <a:pt x="204" y="13"/>
                    <a:pt x="203" y="13"/>
                  </a:cubicBezTo>
                  <a:cubicBezTo>
                    <a:pt x="203" y="13"/>
                    <a:pt x="203" y="13"/>
                    <a:pt x="203" y="13"/>
                  </a:cubicBezTo>
                  <a:cubicBezTo>
                    <a:pt x="202" y="13"/>
                    <a:pt x="201" y="13"/>
                    <a:pt x="201" y="13"/>
                  </a:cubicBezTo>
                  <a:cubicBezTo>
                    <a:pt x="200" y="12"/>
                    <a:pt x="200" y="12"/>
                    <a:pt x="200" y="12"/>
                  </a:cubicBezTo>
                  <a:cubicBezTo>
                    <a:pt x="198" y="15"/>
                    <a:pt x="196" y="17"/>
                    <a:pt x="194" y="19"/>
                  </a:cubicBezTo>
                  <a:cubicBezTo>
                    <a:pt x="195" y="20"/>
                    <a:pt x="196" y="22"/>
                    <a:pt x="197" y="23"/>
                  </a:cubicBezTo>
                  <a:cubicBezTo>
                    <a:pt x="197" y="23"/>
                    <a:pt x="197" y="24"/>
                    <a:pt x="197" y="24"/>
                  </a:cubicBezTo>
                  <a:cubicBezTo>
                    <a:pt x="198" y="24"/>
                    <a:pt x="198" y="24"/>
                    <a:pt x="198" y="25"/>
                  </a:cubicBezTo>
                  <a:cubicBezTo>
                    <a:pt x="198" y="25"/>
                    <a:pt x="199" y="26"/>
                    <a:pt x="199" y="26"/>
                  </a:cubicBezTo>
                  <a:cubicBezTo>
                    <a:pt x="199" y="27"/>
                    <a:pt x="199" y="27"/>
                    <a:pt x="199" y="27"/>
                  </a:cubicBezTo>
                  <a:cubicBezTo>
                    <a:pt x="202" y="25"/>
                    <a:pt x="202" y="25"/>
                    <a:pt x="202" y="25"/>
                  </a:cubicBezTo>
                  <a:cubicBezTo>
                    <a:pt x="200" y="28"/>
                    <a:pt x="200" y="28"/>
                    <a:pt x="200" y="28"/>
                  </a:cubicBezTo>
                  <a:cubicBezTo>
                    <a:pt x="200" y="29"/>
                    <a:pt x="200" y="29"/>
                    <a:pt x="200" y="29"/>
                  </a:cubicBezTo>
                  <a:cubicBezTo>
                    <a:pt x="201" y="30"/>
                    <a:pt x="201" y="32"/>
                    <a:pt x="201" y="33"/>
                  </a:cubicBezTo>
                  <a:cubicBezTo>
                    <a:pt x="201" y="34"/>
                    <a:pt x="201" y="34"/>
                    <a:pt x="201" y="35"/>
                  </a:cubicBezTo>
                  <a:cubicBezTo>
                    <a:pt x="201" y="35"/>
                    <a:pt x="201" y="35"/>
                    <a:pt x="201" y="35"/>
                  </a:cubicBezTo>
                  <a:cubicBezTo>
                    <a:pt x="201" y="35"/>
                    <a:pt x="201" y="35"/>
                    <a:pt x="201" y="35"/>
                  </a:cubicBezTo>
                  <a:cubicBezTo>
                    <a:pt x="202" y="36"/>
                    <a:pt x="202" y="37"/>
                    <a:pt x="202" y="38"/>
                  </a:cubicBezTo>
                  <a:cubicBezTo>
                    <a:pt x="202" y="38"/>
                    <a:pt x="202" y="38"/>
                    <a:pt x="202" y="38"/>
                  </a:cubicBezTo>
                  <a:cubicBezTo>
                    <a:pt x="202" y="39"/>
                    <a:pt x="201" y="39"/>
                    <a:pt x="201" y="39"/>
                  </a:cubicBezTo>
                  <a:cubicBezTo>
                    <a:pt x="200" y="40"/>
                    <a:pt x="200" y="40"/>
                    <a:pt x="200" y="40"/>
                  </a:cubicBezTo>
                  <a:cubicBezTo>
                    <a:pt x="200" y="41"/>
                    <a:pt x="200" y="41"/>
                    <a:pt x="200" y="41"/>
                  </a:cubicBezTo>
                  <a:cubicBezTo>
                    <a:pt x="199" y="44"/>
                    <a:pt x="197" y="45"/>
                    <a:pt x="196" y="45"/>
                  </a:cubicBezTo>
                  <a:cubicBezTo>
                    <a:pt x="196" y="45"/>
                    <a:pt x="195" y="46"/>
                    <a:pt x="195" y="46"/>
                  </a:cubicBezTo>
                  <a:cubicBezTo>
                    <a:pt x="194" y="46"/>
                    <a:pt x="194" y="47"/>
                    <a:pt x="194" y="47"/>
                  </a:cubicBezTo>
                  <a:cubicBezTo>
                    <a:pt x="193" y="48"/>
                    <a:pt x="193" y="49"/>
                    <a:pt x="191" y="50"/>
                  </a:cubicBezTo>
                  <a:cubicBezTo>
                    <a:pt x="191" y="51"/>
                    <a:pt x="190" y="51"/>
                    <a:pt x="190" y="51"/>
                  </a:cubicBezTo>
                  <a:cubicBezTo>
                    <a:pt x="189" y="52"/>
                    <a:pt x="190" y="52"/>
                    <a:pt x="190" y="52"/>
                  </a:cubicBezTo>
                  <a:cubicBezTo>
                    <a:pt x="190" y="53"/>
                    <a:pt x="190" y="53"/>
                    <a:pt x="191" y="54"/>
                  </a:cubicBezTo>
                  <a:cubicBezTo>
                    <a:pt x="191" y="54"/>
                    <a:pt x="191" y="54"/>
                    <a:pt x="191" y="54"/>
                  </a:cubicBezTo>
                  <a:cubicBezTo>
                    <a:pt x="191" y="54"/>
                    <a:pt x="192" y="55"/>
                    <a:pt x="192" y="55"/>
                  </a:cubicBezTo>
                  <a:cubicBezTo>
                    <a:pt x="192" y="56"/>
                    <a:pt x="192" y="57"/>
                    <a:pt x="192" y="57"/>
                  </a:cubicBezTo>
                  <a:cubicBezTo>
                    <a:pt x="192" y="58"/>
                    <a:pt x="192" y="59"/>
                    <a:pt x="192" y="59"/>
                  </a:cubicBezTo>
                  <a:cubicBezTo>
                    <a:pt x="192" y="60"/>
                    <a:pt x="192" y="60"/>
                    <a:pt x="192" y="60"/>
                  </a:cubicBezTo>
                  <a:cubicBezTo>
                    <a:pt x="191" y="60"/>
                    <a:pt x="191" y="60"/>
                    <a:pt x="191" y="60"/>
                  </a:cubicBezTo>
                  <a:cubicBezTo>
                    <a:pt x="191" y="61"/>
                    <a:pt x="191" y="61"/>
                    <a:pt x="191" y="61"/>
                  </a:cubicBezTo>
                  <a:cubicBezTo>
                    <a:pt x="190" y="63"/>
                    <a:pt x="189" y="64"/>
                    <a:pt x="188" y="64"/>
                  </a:cubicBezTo>
                  <a:cubicBezTo>
                    <a:pt x="186" y="66"/>
                    <a:pt x="182" y="67"/>
                    <a:pt x="179" y="67"/>
                  </a:cubicBezTo>
                  <a:cubicBezTo>
                    <a:pt x="179" y="67"/>
                    <a:pt x="178" y="67"/>
                    <a:pt x="177" y="67"/>
                  </a:cubicBezTo>
                  <a:cubicBezTo>
                    <a:pt x="176" y="66"/>
                    <a:pt x="176" y="66"/>
                    <a:pt x="176" y="66"/>
                  </a:cubicBezTo>
                  <a:cubicBezTo>
                    <a:pt x="176" y="66"/>
                    <a:pt x="175" y="66"/>
                    <a:pt x="174" y="66"/>
                  </a:cubicBezTo>
                  <a:cubicBezTo>
                    <a:pt x="172" y="65"/>
                    <a:pt x="170" y="65"/>
                    <a:pt x="169" y="65"/>
                  </a:cubicBezTo>
                  <a:cubicBezTo>
                    <a:pt x="170" y="66"/>
                    <a:pt x="170" y="66"/>
                    <a:pt x="170" y="66"/>
                  </a:cubicBezTo>
                  <a:cubicBezTo>
                    <a:pt x="171" y="67"/>
                    <a:pt x="171" y="67"/>
                    <a:pt x="171" y="68"/>
                  </a:cubicBezTo>
                  <a:cubicBezTo>
                    <a:pt x="173" y="71"/>
                    <a:pt x="173" y="71"/>
                    <a:pt x="173" y="71"/>
                  </a:cubicBezTo>
                  <a:cubicBezTo>
                    <a:pt x="176" y="75"/>
                    <a:pt x="178" y="78"/>
                    <a:pt x="176" y="79"/>
                  </a:cubicBezTo>
                  <a:cubicBezTo>
                    <a:pt x="175" y="80"/>
                    <a:pt x="175" y="80"/>
                    <a:pt x="175" y="80"/>
                  </a:cubicBezTo>
                  <a:cubicBezTo>
                    <a:pt x="175" y="80"/>
                    <a:pt x="175" y="80"/>
                    <a:pt x="175" y="80"/>
                  </a:cubicBezTo>
                  <a:cubicBezTo>
                    <a:pt x="175" y="80"/>
                    <a:pt x="175" y="80"/>
                    <a:pt x="175" y="80"/>
                  </a:cubicBezTo>
                  <a:cubicBezTo>
                    <a:pt x="173" y="82"/>
                    <a:pt x="170" y="83"/>
                    <a:pt x="168" y="84"/>
                  </a:cubicBezTo>
                  <a:cubicBezTo>
                    <a:pt x="169" y="88"/>
                    <a:pt x="169" y="88"/>
                    <a:pt x="169" y="88"/>
                  </a:cubicBezTo>
                  <a:cubicBezTo>
                    <a:pt x="167" y="85"/>
                    <a:pt x="167" y="85"/>
                    <a:pt x="167" y="85"/>
                  </a:cubicBezTo>
                  <a:cubicBezTo>
                    <a:pt x="167" y="85"/>
                    <a:pt x="167" y="85"/>
                    <a:pt x="167" y="85"/>
                  </a:cubicBezTo>
                  <a:cubicBezTo>
                    <a:pt x="166" y="85"/>
                    <a:pt x="165" y="85"/>
                    <a:pt x="165" y="85"/>
                  </a:cubicBezTo>
                  <a:cubicBezTo>
                    <a:pt x="164" y="85"/>
                    <a:pt x="164" y="85"/>
                    <a:pt x="164" y="85"/>
                  </a:cubicBezTo>
                  <a:cubicBezTo>
                    <a:pt x="164" y="85"/>
                    <a:pt x="164" y="85"/>
                    <a:pt x="164" y="85"/>
                  </a:cubicBezTo>
                  <a:cubicBezTo>
                    <a:pt x="163" y="85"/>
                    <a:pt x="163" y="85"/>
                    <a:pt x="163" y="85"/>
                  </a:cubicBezTo>
                  <a:cubicBezTo>
                    <a:pt x="163" y="85"/>
                    <a:pt x="163" y="85"/>
                    <a:pt x="163" y="85"/>
                  </a:cubicBezTo>
                  <a:cubicBezTo>
                    <a:pt x="162" y="85"/>
                    <a:pt x="162" y="85"/>
                    <a:pt x="162" y="85"/>
                  </a:cubicBezTo>
                  <a:cubicBezTo>
                    <a:pt x="162" y="84"/>
                    <a:pt x="162" y="84"/>
                    <a:pt x="162" y="84"/>
                  </a:cubicBezTo>
                  <a:cubicBezTo>
                    <a:pt x="162" y="85"/>
                    <a:pt x="162" y="85"/>
                    <a:pt x="162" y="85"/>
                  </a:cubicBezTo>
                  <a:cubicBezTo>
                    <a:pt x="161" y="85"/>
                    <a:pt x="161" y="85"/>
                    <a:pt x="161" y="85"/>
                  </a:cubicBezTo>
                  <a:cubicBezTo>
                    <a:pt x="161" y="86"/>
                    <a:pt x="161" y="87"/>
                    <a:pt x="160" y="89"/>
                  </a:cubicBezTo>
                  <a:cubicBezTo>
                    <a:pt x="160" y="90"/>
                    <a:pt x="160" y="90"/>
                    <a:pt x="160" y="91"/>
                  </a:cubicBezTo>
                  <a:cubicBezTo>
                    <a:pt x="160" y="92"/>
                    <a:pt x="160" y="92"/>
                    <a:pt x="160" y="92"/>
                  </a:cubicBezTo>
                  <a:cubicBezTo>
                    <a:pt x="160" y="93"/>
                    <a:pt x="160" y="93"/>
                    <a:pt x="160" y="93"/>
                  </a:cubicBezTo>
                  <a:cubicBezTo>
                    <a:pt x="159" y="94"/>
                    <a:pt x="158" y="95"/>
                    <a:pt x="157" y="96"/>
                  </a:cubicBezTo>
                  <a:cubicBezTo>
                    <a:pt x="157" y="96"/>
                    <a:pt x="157" y="96"/>
                    <a:pt x="157" y="96"/>
                  </a:cubicBezTo>
                  <a:cubicBezTo>
                    <a:pt x="157" y="102"/>
                    <a:pt x="157" y="102"/>
                    <a:pt x="157" y="102"/>
                  </a:cubicBezTo>
                  <a:cubicBezTo>
                    <a:pt x="157" y="102"/>
                    <a:pt x="157" y="102"/>
                    <a:pt x="157" y="102"/>
                  </a:cubicBezTo>
                  <a:cubicBezTo>
                    <a:pt x="158" y="105"/>
                    <a:pt x="158" y="105"/>
                    <a:pt x="158" y="105"/>
                  </a:cubicBezTo>
                  <a:cubicBezTo>
                    <a:pt x="158" y="108"/>
                    <a:pt x="157" y="109"/>
                    <a:pt x="156" y="109"/>
                  </a:cubicBezTo>
                  <a:cubicBezTo>
                    <a:pt x="154" y="111"/>
                    <a:pt x="152" y="113"/>
                    <a:pt x="150" y="115"/>
                  </a:cubicBezTo>
                  <a:cubicBezTo>
                    <a:pt x="149" y="115"/>
                    <a:pt x="149" y="115"/>
                    <a:pt x="149" y="115"/>
                  </a:cubicBezTo>
                  <a:cubicBezTo>
                    <a:pt x="149" y="115"/>
                    <a:pt x="148" y="115"/>
                    <a:pt x="147" y="116"/>
                  </a:cubicBezTo>
                  <a:cubicBezTo>
                    <a:pt x="147" y="116"/>
                    <a:pt x="147" y="116"/>
                    <a:pt x="147" y="116"/>
                  </a:cubicBezTo>
                  <a:cubicBezTo>
                    <a:pt x="147" y="116"/>
                    <a:pt x="147" y="116"/>
                    <a:pt x="147" y="116"/>
                  </a:cubicBezTo>
                  <a:cubicBezTo>
                    <a:pt x="147" y="116"/>
                    <a:pt x="146" y="115"/>
                    <a:pt x="146" y="115"/>
                  </a:cubicBezTo>
                  <a:cubicBezTo>
                    <a:pt x="146" y="115"/>
                    <a:pt x="146" y="115"/>
                    <a:pt x="146" y="115"/>
                  </a:cubicBezTo>
                  <a:cubicBezTo>
                    <a:pt x="145" y="115"/>
                    <a:pt x="145" y="115"/>
                    <a:pt x="145" y="115"/>
                  </a:cubicBezTo>
                  <a:cubicBezTo>
                    <a:pt x="144" y="115"/>
                    <a:pt x="144" y="114"/>
                    <a:pt x="143" y="114"/>
                  </a:cubicBezTo>
                  <a:cubicBezTo>
                    <a:pt x="143" y="114"/>
                    <a:pt x="143" y="114"/>
                    <a:pt x="143" y="114"/>
                  </a:cubicBezTo>
                  <a:cubicBezTo>
                    <a:pt x="142" y="113"/>
                    <a:pt x="141" y="113"/>
                    <a:pt x="141" y="112"/>
                  </a:cubicBezTo>
                  <a:cubicBezTo>
                    <a:pt x="140" y="112"/>
                    <a:pt x="140" y="112"/>
                    <a:pt x="140" y="112"/>
                  </a:cubicBezTo>
                  <a:cubicBezTo>
                    <a:pt x="140" y="112"/>
                    <a:pt x="140" y="112"/>
                    <a:pt x="140" y="112"/>
                  </a:cubicBezTo>
                  <a:cubicBezTo>
                    <a:pt x="139" y="112"/>
                    <a:pt x="139" y="112"/>
                    <a:pt x="139" y="112"/>
                  </a:cubicBezTo>
                  <a:cubicBezTo>
                    <a:pt x="139" y="112"/>
                    <a:pt x="138" y="112"/>
                    <a:pt x="137" y="112"/>
                  </a:cubicBezTo>
                  <a:cubicBezTo>
                    <a:pt x="137" y="112"/>
                    <a:pt x="137" y="112"/>
                    <a:pt x="137" y="112"/>
                  </a:cubicBezTo>
                  <a:cubicBezTo>
                    <a:pt x="136" y="112"/>
                    <a:pt x="136" y="113"/>
                    <a:pt x="135" y="113"/>
                  </a:cubicBezTo>
                  <a:cubicBezTo>
                    <a:pt x="134" y="113"/>
                    <a:pt x="134" y="113"/>
                    <a:pt x="134" y="113"/>
                  </a:cubicBezTo>
                  <a:cubicBezTo>
                    <a:pt x="134" y="113"/>
                    <a:pt x="134" y="113"/>
                    <a:pt x="134" y="113"/>
                  </a:cubicBezTo>
                  <a:cubicBezTo>
                    <a:pt x="133" y="114"/>
                    <a:pt x="132" y="114"/>
                    <a:pt x="132" y="114"/>
                  </a:cubicBezTo>
                  <a:cubicBezTo>
                    <a:pt x="131" y="115"/>
                    <a:pt x="131" y="115"/>
                    <a:pt x="131" y="115"/>
                  </a:cubicBezTo>
                  <a:cubicBezTo>
                    <a:pt x="129" y="116"/>
                    <a:pt x="128" y="116"/>
                    <a:pt x="127" y="117"/>
                  </a:cubicBezTo>
                  <a:cubicBezTo>
                    <a:pt x="131" y="120"/>
                    <a:pt x="131" y="120"/>
                    <a:pt x="131" y="120"/>
                  </a:cubicBezTo>
                  <a:cubicBezTo>
                    <a:pt x="127" y="121"/>
                    <a:pt x="127" y="121"/>
                    <a:pt x="127" y="121"/>
                  </a:cubicBezTo>
                  <a:cubicBezTo>
                    <a:pt x="127" y="121"/>
                    <a:pt x="126" y="122"/>
                    <a:pt x="125" y="122"/>
                  </a:cubicBezTo>
                  <a:cubicBezTo>
                    <a:pt x="124" y="123"/>
                    <a:pt x="122" y="124"/>
                    <a:pt x="120" y="124"/>
                  </a:cubicBezTo>
                  <a:cubicBezTo>
                    <a:pt x="120" y="124"/>
                    <a:pt x="120" y="124"/>
                    <a:pt x="120" y="124"/>
                  </a:cubicBezTo>
                  <a:cubicBezTo>
                    <a:pt x="119" y="124"/>
                    <a:pt x="119" y="125"/>
                    <a:pt x="118" y="125"/>
                  </a:cubicBezTo>
                  <a:cubicBezTo>
                    <a:pt x="116" y="125"/>
                    <a:pt x="114" y="124"/>
                    <a:pt x="112" y="123"/>
                  </a:cubicBezTo>
                  <a:cubicBezTo>
                    <a:pt x="111" y="123"/>
                    <a:pt x="111" y="123"/>
                    <a:pt x="111" y="123"/>
                  </a:cubicBezTo>
                  <a:cubicBezTo>
                    <a:pt x="111" y="123"/>
                    <a:pt x="111" y="123"/>
                    <a:pt x="111" y="123"/>
                  </a:cubicBezTo>
                  <a:cubicBezTo>
                    <a:pt x="111" y="123"/>
                    <a:pt x="110" y="123"/>
                    <a:pt x="110" y="123"/>
                  </a:cubicBezTo>
                  <a:cubicBezTo>
                    <a:pt x="110" y="123"/>
                    <a:pt x="109" y="123"/>
                    <a:pt x="109" y="123"/>
                  </a:cubicBezTo>
                  <a:cubicBezTo>
                    <a:pt x="109" y="124"/>
                    <a:pt x="108" y="124"/>
                    <a:pt x="108" y="124"/>
                  </a:cubicBezTo>
                  <a:cubicBezTo>
                    <a:pt x="108" y="124"/>
                    <a:pt x="108" y="124"/>
                    <a:pt x="108" y="124"/>
                  </a:cubicBezTo>
                  <a:cubicBezTo>
                    <a:pt x="107" y="125"/>
                    <a:pt x="106" y="126"/>
                    <a:pt x="105" y="126"/>
                  </a:cubicBezTo>
                  <a:cubicBezTo>
                    <a:pt x="104" y="127"/>
                    <a:pt x="103" y="128"/>
                    <a:pt x="103" y="129"/>
                  </a:cubicBezTo>
                  <a:cubicBezTo>
                    <a:pt x="102" y="129"/>
                    <a:pt x="102" y="129"/>
                    <a:pt x="102" y="129"/>
                  </a:cubicBezTo>
                  <a:cubicBezTo>
                    <a:pt x="102" y="129"/>
                    <a:pt x="102" y="130"/>
                    <a:pt x="102" y="130"/>
                  </a:cubicBezTo>
                  <a:cubicBezTo>
                    <a:pt x="102" y="131"/>
                    <a:pt x="101" y="131"/>
                    <a:pt x="101" y="131"/>
                  </a:cubicBezTo>
                  <a:cubicBezTo>
                    <a:pt x="101" y="132"/>
                    <a:pt x="101" y="132"/>
                    <a:pt x="101" y="132"/>
                  </a:cubicBezTo>
                  <a:cubicBezTo>
                    <a:pt x="101" y="135"/>
                    <a:pt x="100" y="137"/>
                    <a:pt x="100" y="139"/>
                  </a:cubicBezTo>
                  <a:cubicBezTo>
                    <a:pt x="100" y="139"/>
                    <a:pt x="100" y="140"/>
                    <a:pt x="100" y="141"/>
                  </a:cubicBezTo>
                  <a:cubicBezTo>
                    <a:pt x="100" y="142"/>
                    <a:pt x="100" y="143"/>
                    <a:pt x="100" y="145"/>
                  </a:cubicBezTo>
                  <a:cubicBezTo>
                    <a:pt x="99" y="145"/>
                    <a:pt x="99" y="145"/>
                    <a:pt x="99" y="145"/>
                  </a:cubicBezTo>
                  <a:cubicBezTo>
                    <a:pt x="99" y="145"/>
                    <a:pt x="99" y="145"/>
                    <a:pt x="99" y="145"/>
                  </a:cubicBezTo>
                  <a:cubicBezTo>
                    <a:pt x="100" y="146"/>
                    <a:pt x="100" y="147"/>
                    <a:pt x="100" y="148"/>
                  </a:cubicBezTo>
                  <a:cubicBezTo>
                    <a:pt x="100" y="149"/>
                    <a:pt x="100" y="150"/>
                    <a:pt x="99" y="151"/>
                  </a:cubicBezTo>
                  <a:cubicBezTo>
                    <a:pt x="99" y="153"/>
                    <a:pt x="97" y="153"/>
                    <a:pt x="96" y="153"/>
                  </a:cubicBezTo>
                  <a:cubicBezTo>
                    <a:pt x="94" y="154"/>
                    <a:pt x="94" y="154"/>
                    <a:pt x="94" y="154"/>
                  </a:cubicBezTo>
                  <a:cubicBezTo>
                    <a:pt x="92" y="155"/>
                    <a:pt x="90" y="155"/>
                    <a:pt x="88" y="156"/>
                  </a:cubicBezTo>
                  <a:cubicBezTo>
                    <a:pt x="86" y="156"/>
                    <a:pt x="84" y="157"/>
                    <a:pt x="82" y="157"/>
                  </a:cubicBezTo>
                  <a:cubicBezTo>
                    <a:pt x="77" y="157"/>
                    <a:pt x="77" y="157"/>
                    <a:pt x="77" y="157"/>
                  </a:cubicBezTo>
                  <a:cubicBezTo>
                    <a:pt x="75" y="157"/>
                    <a:pt x="73" y="158"/>
                    <a:pt x="71" y="158"/>
                  </a:cubicBezTo>
                  <a:cubicBezTo>
                    <a:pt x="69" y="158"/>
                    <a:pt x="67" y="158"/>
                    <a:pt x="64" y="159"/>
                  </a:cubicBezTo>
                  <a:cubicBezTo>
                    <a:pt x="64" y="159"/>
                    <a:pt x="63" y="159"/>
                    <a:pt x="63" y="159"/>
                  </a:cubicBezTo>
                  <a:cubicBezTo>
                    <a:pt x="62" y="160"/>
                    <a:pt x="62" y="160"/>
                    <a:pt x="61" y="160"/>
                  </a:cubicBezTo>
                  <a:cubicBezTo>
                    <a:pt x="60" y="161"/>
                    <a:pt x="60" y="161"/>
                    <a:pt x="60" y="161"/>
                  </a:cubicBezTo>
                  <a:cubicBezTo>
                    <a:pt x="59" y="161"/>
                    <a:pt x="59" y="161"/>
                    <a:pt x="59" y="161"/>
                  </a:cubicBezTo>
                  <a:cubicBezTo>
                    <a:pt x="59" y="161"/>
                    <a:pt x="58" y="162"/>
                    <a:pt x="58" y="162"/>
                  </a:cubicBezTo>
                  <a:cubicBezTo>
                    <a:pt x="57" y="162"/>
                    <a:pt x="57" y="162"/>
                    <a:pt x="57" y="162"/>
                  </a:cubicBezTo>
                  <a:cubicBezTo>
                    <a:pt x="57" y="162"/>
                    <a:pt x="57" y="162"/>
                    <a:pt x="56" y="162"/>
                  </a:cubicBezTo>
                  <a:cubicBezTo>
                    <a:pt x="56" y="162"/>
                    <a:pt x="56" y="162"/>
                    <a:pt x="56" y="162"/>
                  </a:cubicBezTo>
                  <a:cubicBezTo>
                    <a:pt x="55" y="162"/>
                    <a:pt x="55" y="162"/>
                    <a:pt x="55" y="162"/>
                  </a:cubicBezTo>
                  <a:cubicBezTo>
                    <a:pt x="55" y="162"/>
                    <a:pt x="54" y="162"/>
                    <a:pt x="54" y="162"/>
                  </a:cubicBezTo>
                  <a:cubicBezTo>
                    <a:pt x="53" y="162"/>
                    <a:pt x="53" y="162"/>
                    <a:pt x="53" y="162"/>
                  </a:cubicBezTo>
                  <a:cubicBezTo>
                    <a:pt x="51" y="162"/>
                    <a:pt x="51" y="162"/>
                    <a:pt x="51" y="162"/>
                  </a:cubicBezTo>
                  <a:cubicBezTo>
                    <a:pt x="50" y="161"/>
                    <a:pt x="49" y="161"/>
                    <a:pt x="48" y="161"/>
                  </a:cubicBezTo>
                  <a:cubicBezTo>
                    <a:pt x="48" y="161"/>
                    <a:pt x="48" y="161"/>
                    <a:pt x="48" y="161"/>
                  </a:cubicBezTo>
                  <a:cubicBezTo>
                    <a:pt x="47" y="161"/>
                    <a:pt x="47" y="161"/>
                    <a:pt x="46" y="161"/>
                  </a:cubicBezTo>
                  <a:cubicBezTo>
                    <a:pt x="46" y="161"/>
                    <a:pt x="46" y="161"/>
                    <a:pt x="46" y="161"/>
                  </a:cubicBezTo>
                  <a:cubicBezTo>
                    <a:pt x="38" y="161"/>
                    <a:pt x="38" y="161"/>
                    <a:pt x="38" y="161"/>
                  </a:cubicBezTo>
                  <a:cubicBezTo>
                    <a:pt x="38" y="165"/>
                    <a:pt x="38" y="165"/>
                    <a:pt x="38" y="165"/>
                  </a:cubicBezTo>
                  <a:cubicBezTo>
                    <a:pt x="37" y="161"/>
                    <a:pt x="37" y="161"/>
                    <a:pt x="37" y="161"/>
                  </a:cubicBezTo>
                  <a:cubicBezTo>
                    <a:pt x="34" y="162"/>
                    <a:pt x="34" y="162"/>
                    <a:pt x="34" y="162"/>
                  </a:cubicBezTo>
                  <a:cubicBezTo>
                    <a:pt x="33" y="162"/>
                    <a:pt x="33" y="162"/>
                    <a:pt x="32" y="162"/>
                  </a:cubicBezTo>
                  <a:cubicBezTo>
                    <a:pt x="32" y="162"/>
                    <a:pt x="32" y="162"/>
                    <a:pt x="32" y="162"/>
                  </a:cubicBezTo>
                  <a:cubicBezTo>
                    <a:pt x="31" y="162"/>
                    <a:pt x="30" y="162"/>
                    <a:pt x="30" y="162"/>
                  </a:cubicBezTo>
                  <a:cubicBezTo>
                    <a:pt x="29" y="162"/>
                    <a:pt x="29" y="162"/>
                    <a:pt x="29" y="162"/>
                  </a:cubicBezTo>
                  <a:cubicBezTo>
                    <a:pt x="28" y="162"/>
                    <a:pt x="27" y="162"/>
                    <a:pt x="27" y="162"/>
                  </a:cubicBezTo>
                  <a:cubicBezTo>
                    <a:pt x="0" y="155"/>
                    <a:pt x="0" y="155"/>
                    <a:pt x="0" y="155"/>
                  </a:cubicBezTo>
                  <a:cubicBezTo>
                    <a:pt x="1" y="155"/>
                    <a:pt x="1" y="156"/>
                    <a:pt x="2" y="157"/>
                  </a:cubicBezTo>
                  <a:cubicBezTo>
                    <a:pt x="2" y="157"/>
                    <a:pt x="2" y="158"/>
                    <a:pt x="3" y="158"/>
                  </a:cubicBezTo>
                  <a:cubicBezTo>
                    <a:pt x="3" y="159"/>
                    <a:pt x="3" y="159"/>
                    <a:pt x="4" y="160"/>
                  </a:cubicBezTo>
                  <a:cubicBezTo>
                    <a:pt x="5" y="162"/>
                    <a:pt x="7" y="164"/>
                    <a:pt x="9" y="167"/>
                  </a:cubicBezTo>
                  <a:cubicBezTo>
                    <a:pt x="11" y="170"/>
                    <a:pt x="13" y="172"/>
                    <a:pt x="15" y="175"/>
                  </a:cubicBezTo>
                  <a:cubicBezTo>
                    <a:pt x="16" y="176"/>
                    <a:pt x="18" y="177"/>
                    <a:pt x="19" y="178"/>
                  </a:cubicBezTo>
                  <a:cubicBezTo>
                    <a:pt x="20" y="178"/>
                    <a:pt x="21" y="178"/>
                    <a:pt x="21" y="179"/>
                  </a:cubicBezTo>
                  <a:cubicBezTo>
                    <a:pt x="22" y="179"/>
                    <a:pt x="22" y="179"/>
                    <a:pt x="22" y="179"/>
                  </a:cubicBezTo>
                  <a:cubicBezTo>
                    <a:pt x="23" y="179"/>
                    <a:pt x="23" y="179"/>
                    <a:pt x="23" y="179"/>
                  </a:cubicBezTo>
                  <a:cubicBezTo>
                    <a:pt x="24" y="180"/>
                    <a:pt x="24" y="180"/>
                    <a:pt x="24" y="180"/>
                  </a:cubicBezTo>
                  <a:cubicBezTo>
                    <a:pt x="24" y="180"/>
                    <a:pt x="25" y="180"/>
                    <a:pt x="26" y="180"/>
                  </a:cubicBezTo>
                  <a:cubicBezTo>
                    <a:pt x="27" y="181"/>
                    <a:pt x="28" y="181"/>
                    <a:pt x="29" y="182"/>
                  </a:cubicBezTo>
                  <a:cubicBezTo>
                    <a:pt x="31" y="182"/>
                    <a:pt x="32" y="183"/>
                    <a:pt x="33" y="184"/>
                  </a:cubicBezTo>
                  <a:cubicBezTo>
                    <a:pt x="34" y="185"/>
                    <a:pt x="34" y="187"/>
                    <a:pt x="33" y="190"/>
                  </a:cubicBezTo>
                  <a:cubicBezTo>
                    <a:pt x="33" y="191"/>
                    <a:pt x="33" y="191"/>
                    <a:pt x="33" y="191"/>
                  </a:cubicBezTo>
                  <a:cubicBezTo>
                    <a:pt x="37" y="191"/>
                    <a:pt x="37" y="191"/>
                    <a:pt x="37" y="191"/>
                  </a:cubicBezTo>
                  <a:cubicBezTo>
                    <a:pt x="33" y="192"/>
                    <a:pt x="33" y="192"/>
                    <a:pt x="33" y="192"/>
                  </a:cubicBezTo>
                  <a:cubicBezTo>
                    <a:pt x="33" y="198"/>
                    <a:pt x="33" y="198"/>
                    <a:pt x="33" y="198"/>
                  </a:cubicBezTo>
                  <a:cubicBezTo>
                    <a:pt x="33" y="199"/>
                    <a:pt x="33" y="199"/>
                    <a:pt x="33" y="200"/>
                  </a:cubicBezTo>
                  <a:cubicBezTo>
                    <a:pt x="33" y="201"/>
                    <a:pt x="33" y="202"/>
                    <a:pt x="33" y="202"/>
                  </a:cubicBezTo>
                  <a:cubicBezTo>
                    <a:pt x="33" y="203"/>
                    <a:pt x="33" y="203"/>
                    <a:pt x="33" y="203"/>
                  </a:cubicBezTo>
                  <a:cubicBezTo>
                    <a:pt x="34" y="203"/>
                    <a:pt x="34" y="203"/>
                    <a:pt x="34" y="203"/>
                  </a:cubicBezTo>
                  <a:cubicBezTo>
                    <a:pt x="36" y="203"/>
                    <a:pt x="36" y="203"/>
                    <a:pt x="36" y="203"/>
                  </a:cubicBezTo>
                  <a:cubicBezTo>
                    <a:pt x="38" y="203"/>
                    <a:pt x="39" y="203"/>
                    <a:pt x="41" y="203"/>
                  </a:cubicBezTo>
                  <a:cubicBezTo>
                    <a:pt x="43" y="204"/>
                    <a:pt x="43" y="204"/>
                    <a:pt x="43" y="204"/>
                  </a:cubicBezTo>
                  <a:cubicBezTo>
                    <a:pt x="43" y="206"/>
                    <a:pt x="43" y="206"/>
                    <a:pt x="43" y="206"/>
                  </a:cubicBezTo>
                  <a:cubicBezTo>
                    <a:pt x="42" y="209"/>
                    <a:pt x="41" y="212"/>
                    <a:pt x="41" y="215"/>
                  </a:cubicBezTo>
                  <a:cubicBezTo>
                    <a:pt x="40" y="217"/>
                    <a:pt x="40" y="217"/>
                    <a:pt x="40" y="217"/>
                  </a:cubicBezTo>
                  <a:cubicBezTo>
                    <a:pt x="40" y="217"/>
                    <a:pt x="40" y="218"/>
                    <a:pt x="38" y="219"/>
                  </a:cubicBezTo>
                  <a:cubicBezTo>
                    <a:pt x="37" y="220"/>
                    <a:pt x="35" y="220"/>
                    <a:pt x="34" y="220"/>
                  </a:cubicBezTo>
                  <a:cubicBezTo>
                    <a:pt x="33" y="220"/>
                    <a:pt x="33" y="220"/>
                    <a:pt x="33" y="220"/>
                  </a:cubicBezTo>
                  <a:cubicBezTo>
                    <a:pt x="32" y="220"/>
                    <a:pt x="32" y="220"/>
                    <a:pt x="32" y="220"/>
                  </a:cubicBezTo>
                  <a:cubicBezTo>
                    <a:pt x="24" y="222"/>
                    <a:pt x="24" y="222"/>
                    <a:pt x="24" y="222"/>
                  </a:cubicBezTo>
                  <a:cubicBezTo>
                    <a:pt x="23" y="222"/>
                    <a:pt x="23" y="222"/>
                    <a:pt x="22" y="223"/>
                  </a:cubicBezTo>
                  <a:cubicBezTo>
                    <a:pt x="21" y="223"/>
                    <a:pt x="21" y="223"/>
                    <a:pt x="20" y="224"/>
                  </a:cubicBezTo>
                  <a:cubicBezTo>
                    <a:pt x="19" y="224"/>
                    <a:pt x="19" y="224"/>
                    <a:pt x="19" y="224"/>
                  </a:cubicBezTo>
                  <a:cubicBezTo>
                    <a:pt x="19" y="225"/>
                    <a:pt x="18" y="226"/>
                    <a:pt x="17" y="226"/>
                  </a:cubicBezTo>
                  <a:cubicBezTo>
                    <a:pt x="16" y="227"/>
                    <a:pt x="16" y="227"/>
                    <a:pt x="16" y="227"/>
                  </a:cubicBezTo>
                  <a:cubicBezTo>
                    <a:pt x="15" y="227"/>
                    <a:pt x="15" y="227"/>
                    <a:pt x="15" y="229"/>
                  </a:cubicBezTo>
                  <a:cubicBezTo>
                    <a:pt x="14" y="233"/>
                    <a:pt x="13" y="237"/>
                    <a:pt x="12" y="240"/>
                  </a:cubicBezTo>
                  <a:cubicBezTo>
                    <a:pt x="12" y="241"/>
                    <a:pt x="12" y="241"/>
                    <a:pt x="12" y="241"/>
                  </a:cubicBezTo>
                  <a:cubicBezTo>
                    <a:pt x="12" y="242"/>
                    <a:pt x="12" y="242"/>
                    <a:pt x="12" y="243"/>
                  </a:cubicBezTo>
                  <a:cubicBezTo>
                    <a:pt x="12" y="244"/>
                    <a:pt x="11" y="245"/>
                    <a:pt x="11" y="246"/>
                  </a:cubicBezTo>
                  <a:cubicBezTo>
                    <a:pt x="11" y="247"/>
                    <a:pt x="11" y="247"/>
                    <a:pt x="11" y="247"/>
                  </a:cubicBezTo>
                  <a:cubicBezTo>
                    <a:pt x="12" y="247"/>
                    <a:pt x="11" y="248"/>
                    <a:pt x="11" y="250"/>
                  </a:cubicBezTo>
                  <a:cubicBezTo>
                    <a:pt x="12" y="250"/>
                    <a:pt x="12" y="250"/>
                    <a:pt x="12" y="250"/>
                  </a:cubicBezTo>
                  <a:cubicBezTo>
                    <a:pt x="13" y="250"/>
                    <a:pt x="14" y="249"/>
                    <a:pt x="16" y="248"/>
                  </a:cubicBezTo>
                  <a:cubicBezTo>
                    <a:pt x="18" y="248"/>
                    <a:pt x="20" y="246"/>
                    <a:pt x="21" y="246"/>
                  </a:cubicBezTo>
                  <a:cubicBezTo>
                    <a:pt x="21" y="246"/>
                    <a:pt x="22" y="247"/>
                    <a:pt x="22" y="249"/>
                  </a:cubicBezTo>
                  <a:cubicBezTo>
                    <a:pt x="25" y="246"/>
                    <a:pt x="27" y="245"/>
                    <a:pt x="30" y="245"/>
                  </a:cubicBezTo>
                  <a:cubicBezTo>
                    <a:pt x="30" y="245"/>
                    <a:pt x="31" y="245"/>
                    <a:pt x="32" y="245"/>
                  </a:cubicBezTo>
                  <a:cubicBezTo>
                    <a:pt x="35" y="246"/>
                    <a:pt x="38" y="246"/>
                    <a:pt x="41" y="246"/>
                  </a:cubicBezTo>
                  <a:cubicBezTo>
                    <a:pt x="41" y="246"/>
                    <a:pt x="42" y="246"/>
                    <a:pt x="43" y="246"/>
                  </a:cubicBezTo>
                  <a:cubicBezTo>
                    <a:pt x="44" y="246"/>
                    <a:pt x="45" y="246"/>
                    <a:pt x="44" y="246"/>
                  </a:cubicBezTo>
                  <a:cubicBezTo>
                    <a:pt x="47" y="244"/>
                    <a:pt x="51" y="243"/>
                    <a:pt x="54" y="243"/>
                  </a:cubicBezTo>
                  <a:cubicBezTo>
                    <a:pt x="54" y="243"/>
                    <a:pt x="55" y="243"/>
                    <a:pt x="55" y="243"/>
                  </a:cubicBezTo>
                  <a:cubicBezTo>
                    <a:pt x="55" y="242"/>
                    <a:pt x="55" y="241"/>
                    <a:pt x="56" y="241"/>
                  </a:cubicBezTo>
                  <a:cubicBezTo>
                    <a:pt x="56" y="241"/>
                    <a:pt x="57" y="241"/>
                    <a:pt x="57" y="241"/>
                  </a:cubicBezTo>
                  <a:cubicBezTo>
                    <a:pt x="56" y="242"/>
                    <a:pt x="55" y="242"/>
                    <a:pt x="56" y="243"/>
                  </a:cubicBezTo>
                  <a:cubicBezTo>
                    <a:pt x="56" y="244"/>
                    <a:pt x="58" y="244"/>
                    <a:pt x="59" y="244"/>
                  </a:cubicBezTo>
                  <a:cubicBezTo>
                    <a:pt x="60" y="245"/>
                    <a:pt x="62" y="245"/>
                    <a:pt x="63" y="245"/>
                  </a:cubicBezTo>
                  <a:cubicBezTo>
                    <a:pt x="65" y="245"/>
                    <a:pt x="66" y="247"/>
                    <a:pt x="67" y="247"/>
                  </a:cubicBezTo>
                  <a:cubicBezTo>
                    <a:pt x="67" y="247"/>
                    <a:pt x="67" y="247"/>
                    <a:pt x="67" y="247"/>
                  </a:cubicBezTo>
                  <a:cubicBezTo>
                    <a:pt x="67" y="246"/>
                    <a:pt x="67" y="246"/>
                    <a:pt x="67" y="246"/>
                  </a:cubicBezTo>
                  <a:cubicBezTo>
                    <a:pt x="76" y="243"/>
                    <a:pt x="84" y="243"/>
                    <a:pt x="94" y="242"/>
                  </a:cubicBezTo>
                  <a:cubicBezTo>
                    <a:pt x="94" y="242"/>
                    <a:pt x="94" y="242"/>
                    <a:pt x="94" y="242"/>
                  </a:cubicBezTo>
                  <a:cubicBezTo>
                    <a:pt x="94" y="242"/>
                    <a:pt x="95" y="243"/>
                    <a:pt x="96" y="243"/>
                  </a:cubicBezTo>
                  <a:cubicBezTo>
                    <a:pt x="97" y="243"/>
                    <a:pt x="97" y="243"/>
                    <a:pt x="98" y="243"/>
                  </a:cubicBezTo>
                  <a:cubicBezTo>
                    <a:pt x="100" y="243"/>
                    <a:pt x="101" y="242"/>
                    <a:pt x="102" y="242"/>
                  </a:cubicBezTo>
                  <a:cubicBezTo>
                    <a:pt x="102" y="242"/>
                    <a:pt x="102" y="242"/>
                    <a:pt x="102" y="242"/>
                  </a:cubicBezTo>
                  <a:cubicBezTo>
                    <a:pt x="101" y="242"/>
                    <a:pt x="101" y="241"/>
                    <a:pt x="101" y="241"/>
                  </a:cubicBezTo>
                  <a:cubicBezTo>
                    <a:pt x="101" y="241"/>
                    <a:pt x="101" y="241"/>
                    <a:pt x="101" y="241"/>
                  </a:cubicBezTo>
                  <a:cubicBezTo>
                    <a:pt x="100" y="241"/>
                    <a:pt x="100" y="240"/>
                    <a:pt x="100" y="240"/>
                  </a:cubicBezTo>
                  <a:cubicBezTo>
                    <a:pt x="100" y="239"/>
                    <a:pt x="100" y="239"/>
                    <a:pt x="100" y="239"/>
                  </a:cubicBezTo>
                  <a:cubicBezTo>
                    <a:pt x="100" y="239"/>
                    <a:pt x="101" y="239"/>
                    <a:pt x="101" y="239"/>
                  </a:cubicBezTo>
                  <a:cubicBezTo>
                    <a:pt x="101" y="239"/>
                    <a:pt x="102" y="240"/>
                    <a:pt x="102" y="241"/>
                  </a:cubicBezTo>
                  <a:cubicBezTo>
                    <a:pt x="104" y="243"/>
                    <a:pt x="102" y="242"/>
                    <a:pt x="104" y="244"/>
                  </a:cubicBezTo>
                  <a:cubicBezTo>
                    <a:pt x="105" y="246"/>
                    <a:pt x="106" y="245"/>
                    <a:pt x="106" y="248"/>
                  </a:cubicBezTo>
                  <a:cubicBezTo>
                    <a:pt x="106" y="249"/>
                    <a:pt x="105" y="252"/>
                    <a:pt x="106" y="253"/>
                  </a:cubicBezTo>
                  <a:cubicBezTo>
                    <a:pt x="106" y="253"/>
                    <a:pt x="106" y="253"/>
                    <a:pt x="107" y="253"/>
                  </a:cubicBezTo>
                  <a:cubicBezTo>
                    <a:pt x="112" y="252"/>
                    <a:pt x="112" y="252"/>
                    <a:pt x="112" y="252"/>
                  </a:cubicBezTo>
                  <a:cubicBezTo>
                    <a:pt x="113" y="256"/>
                    <a:pt x="113" y="256"/>
                    <a:pt x="113" y="256"/>
                  </a:cubicBezTo>
                  <a:cubicBezTo>
                    <a:pt x="115" y="257"/>
                    <a:pt x="115" y="257"/>
                    <a:pt x="115" y="257"/>
                  </a:cubicBezTo>
                  <a:cubicBezTo>
                    <a:pt x="115" y="259"/>
                    <a:pt x="116" y="261"/>
                    <a:pt x="116" y="262"/>
                  </a:cubicBezTo>
                  <a:cubicBezTo>
                    <a:pt x="117" y="267"/>
                    <a:pt x="117" y="269"/>
                    <a:pt x="120" y="269"/>
                  </a:cubicBezTo>
                  <a:cubicBezTo>
                    <a:pt x="121" y="269"/>
                    <a:pt x="121" y="269"/>
                    <a:pt x="122" y="269"/>
                  </a:cubicBezTo>
                  <a:cubicBezTo>
                    <a:pt x="123" y="269"/>
                    <a:pt x="124" y="269"/>
                    <a:pt x="125" y="269"/>
                  </a:cubicBezTo>
                  <a:cubicBezTo>
                    <a:pt x="129" y="269"/>
                    <a:pt x="133" y="271"/>
                    <a:pt x="131" y="276"/>
                  </a:cubicBezTo>
                  <a:cubicBezTo>
                    <a:pt x="132" y="276"/>
                    <a:pt x="132" y="275"/>
                    <a:pt x="132" y="275"/>
                  </a:cubicBezTo>
                  <a:cubicBezTo>
                    <a:pt x="132" y="274"/>
                    <a:pt x="132" y="274"/>
                    <a:pt x="132" y="274"/>
                  </a:cubicBezTo>
                  <a:cubicBezTo>
                    <a:pt x="133" y="274"/>
                    <a:pt x="133" y="274"/>
                    <a:pt x="133" y="274"/>
                  </a:cubicBezTo>
                  <a:cubicBezTo>
                    <a:pt x="133" y="273"/>
                    <a:pt x="133" y="273"/>
                    <a:pt x="133" y="273"/>
                  </a:cubicBezTo>
                  <a:cubicBezTo>
                    <a:pt x="133" y="273"/>
                    <a:pt x="133" y="273"/>
                    <a:pt x="133" y="273"/>
                  </a:cubicBezTo>
                  <a:cubicBezTo>
                    <a:pt x="139" y="269"/>
                    <a:pt x="139" y="269"/>
                    <a:pt x="139" y="269"/>
                  </a:cubicBezTo>
                  <a:cubicBezTo>
                    <a:pt x="140" y="269"/>
                    <a:pt x="140" y="269"/>
                    <a:pt x="140" y="269"/>
                  </a:cubicBezTo>
                  <a:cubicBezTo>
                    <a:pt x="140" y="269"/>
                    <a:pt x="141" y="269"/>
                    <a:pt x="141" y="269"/>
                  </a:cubicBezTo>
                  <a:cubicBezTo>
                    <a:pt x="142" y="269"/>
                    <a:pt x="142" y="269"/>
                    <a:pt x="142" y="269"/>
                  </a:cubicBezTo>
                  <a:cubicBezTo>
                    <a:pt x="142" y="268"/>
                    <a:pt x="142" y="267"/>
                    <a:pt x="142" y="266"/>
                  </a:cubicBezTo>
                  <a:cubicBezTo>
                    <a:pt x="142" y="265"/>
                    <a:pt x="142" y="264"/>
                    <a:pt x="142" y="264"/>
                  </a:cubicBezTo>
                  <a:cubicBezTo>
                    <a:pt x="143" y="261"/>
                    <a:pt x="143" y="261"/>
                    <a:pt x="143" y="261"/>
                  </a:cubicBezTo>
                  <a:cubicBezTo>
                    <a:pt x="145" y="262"/>
                    <a:pt x="145" y="262"/>
                    <a:pt x="145" y="262"/>
                  </a:cubicBezTo>
                  <a:cubicBezTo>
                    <a:pt x="149" y="262"/>
                    <a:pt x="152" y="263"/>
                    <a:pt x="156" y="263"/>
                  </a:cubicBezTo>
                  <a:cubicBezTo>
                    <a:pt x="156" y="260"/>
                    <a:pt x="156" y="260"/>
                    <a:pt x="156" y="260"/>
                  </a:cubicBezTo>
                  <a:cubicBezTo>
                    <a:pt x="157" y="263"/>
                    <a:pt x="157" y="263"/>
                    <a:pt x="157" y="263"/>
                  </a:cubicBezTo>
                  <a:cubicBezTo>
                    <a:pt x="162" y="264"/>
                    <a:pt x="162" y="264"/>
                    <a:pt x="162" y="264"/>
                  </a:cubicBezTo>
                  <a:cubicBezTo>
                    <a:pt x="163" y="264"/>
                    <a:pt x="164" y="264"/>
                    <a:pt x="164" y="264"/>
                  </a:cubicBezTo>
                  <a:cubicBezTo>
                    <a:pt x="165" y="264"/>
                    <a:pt x="166" y="265"/>
                    <a:pt x="167" y="265"/>
                  </a:cubicBezTo>
                  <a:cubicBezTo>
                    <a:pt x="167" y="265"/>
                    <a:pt x="167" y="265"/>
                    <a:pt x="167" y="265"/>
                  </a:cubicBezTo>
                  <a:cubicBezTo>
                    <a:pt x="167" y="265"/>
                    <a:pt x="168" y="265"/>
                    <a:pt x="168" y="265"/>
                  </a:cubicBezTo>
                  <a:cubicBezTo>
                    <a:pt x="168" y="265"/>
                    <a:pt x="168" y="265"/>
                    <a:pt x="168" y="265"/>
                  </a:cubicBezTo>
                  <a:cubicBezTo>
                    <a:pt x="168" y="264"/>
                    <a:pt x="168" y="264"/>
                    <a:pt x="169" y="263"/>
                  </a:cubicBezTo>
                  <a:cubicBezTo>
                    <a:pt x="170" y="262"/>
                    <a:pt x="173" y="261"/>
                    <a:pt x="175" y="261"/>
                  </a:cubicBezTo>
                  <a:cubicBezTo>
                    <a:pt x="175" y="261"/>
                    <a:pt x="175" y="261"/>
                    <a:pt x="175" y="261"/>
                  </a:cubicBezTo>
                  <a:cubicBezTo>
                    <a:pt x="176" y="260"/>
                    <a:pt x="176" y="260"/>
                    <a:pt x="177" y="260"/>
                  </a:cubicBezTo>
                  <a:cubicBezTo>
                    <a:pt x="177" y="260"/>
                    <a:pt x="177" y="260"/>
                    <a:pt x="177" y="260"/>
                  </a:cubicBezTo>
                  <a:cubicBezTo>
                    <a:pt x="178" y="260"/>
                    <a:pt x="179" y="260"/>
                    <a:pt x="179" y="260"/>
                  </a:cubicBezTo>
                  <a:cubicBezTo>
                    <a:pt x="180" y="260"/>
                    <a:pt x="181" y="260"/>
                    <a:pt x="181" y="261"/>
                  </a:cubicBezTo>
                  <a:cubicBezTo>
                    <a:pt x="182" y="261"/>
                    <a:pt x="182" y="262"/>
                    <a:pt x="182" y="262"/>
                  </a:cubicBezTo>
                  <a:cubicBezTo>
                    <a:pt x="183" y="263"/>
                    <a:pt x="183" y="263"/>
                    <a:pt x="183" y="263"/>
                  </a:cubicBezTo>
                  <a:cubicBezTo>
                    <a:pt x="183" y="262"/>
                    <a:pt x="183" y="262"/>
                    <a:pt x="183" y="262"/>
                  </a:cubicBezTo>
                  <a:cubicBezTo>
                    <a:pt x="184" y="262"/>
                    <a:pt x="184" y="262"/>
                    <a:pt x="184" y="262"/>
                  </a:cubicBezTo>
                  <a:cubicBezTo>
                    <a:pt x="184" y="262"/>
                    <a:pt x="185" y="262"/>
                    <a:pt x="185" y="261"/>
                  </a:cubicBezTo>
                  <a:cubicBezTo>
                    <a:pt x="185" y="261"/>
                    <a:pt x="185" y="260"/>
                    <a:pt x="185" y="259"/>
                  </a:cubicBezTo>
                  <a:cubicBezTo>
                    <a:pt x="185" y="259"/>
                    <a:pt x="185" y="258"/>
                    <a:pt x="185" y="258"/>
                  </a:cubicBezTo>
                  <a:cubicBezTo>
                    <a:pt x="185" y="257"/>
                    <a:pt x="186" y="257"/>
                    <a:pt x="186" y="256"/>
                  </a:cubicBezTo>
                  <a:cubicBezTo>
                    <a:pt x="186" y="256"/>
                    <a:pt x="186" y="256"/>
                    <a:pt x="186" y="256"/>
                  </a:cubicBezTo>
                  <a:cubicBezTo>
                    <a:pt x="183" y="249"/>
                    <a:pt x="183" y="249"/>
                    <a:pt x="183" y="249"/>
                  </a:cubicBezTo>
                  <a:cubicBezTo>
                    <a:pt x="182" y="248"/>
                    <a:pt x="182" y="248"/>
                    <a:pt x="182" y="247"/>
                  </a:cubicBezTo>
                  <a:cubicBezTo>
                    <a:pt x="179" y="249"/>
                    <a:pt x="179" y="249"/>
                    <a:pt x="179" y="249"/>
                  </a:cubicBezTo>
                  <a:cubicBezTo>
                    <a:pt x="181" y="246"/>
                    <a:pt x="181" y="246"/>
                    <a:pt x="181" y="246"/>
                  </a:cubicBezTo>
                  <a:cubicBezTo>
                    <a:pt x="181" y="246"/>
                    <a:pt x="181" y="246"/>
                    <a:pt x="181" y="246"/>
                  </a:cubicBezTo>
                  <a:cubicBezTo>
                    <a:pt x="181" y="245"/>
                    <a:pt x="181" y="245"/>
                    <a:pt x="180" y="244"/>
                  </a:cubicBezTo>
                  <a:cubicBezTo>
                    <a:pt x="180" y="243"/>
                    <a:pt x="180" y="241"/>
                    <a:pt x="179" y="240"/>
                  </a:cubicBezTo>
                  <a:cubicBezTo>
                    <a:pt x="179" y="239"/>
                    <a:pt x="179" y="239"/>
                    <a:pt x="179" y="239"/>
                  </a:cubicBezTo>
                  <a:cubicBezTo>
                    <a:pt x="179" y="239"/>
                    <a:pt x="178" y="239"/>
                    <a:pt x="178" y="239"/>
                  </a:cubicBezTo>
                  <a:cubicBezTo>
                    <a:pt x="178" y="239"/>
                    <a:pt x="178" y="239"/>
                    <a:pt x="178" y="239"/>
                  </a:cubicBezTo>
                  <a:cubicBezTo>
                    <a:pt x="177" y="239"/>
                    <a:pt x="176" y="239"/>
                    <a:pt x="175" y="239"/>
                  </a:cubicBezTo>
                  <a:cubicBezTo>
                    <a:pt x="175" y="239"/>
                    <a:pt x="175" y="239"/>
                    <a:pt x="175" y="239"/>
                  </a:cubicBezTo>
                  <a:cubicBezTo>
                    <a:pt x="175" y="239"/>
                    <a:pt x="174" y="238"/>
                    <a:pt x="174" y="238"/>
                  </a:cubicBezTo>
                  <a:cubicBezTo>
                    <a:pt x="174" y="238"/>
                    <a:pt x="174" y="238"/>
                    <a:pt x="174" y="238"/>
                  </a:cubicBezTo>
                  <a:cubicBezTo>
                    <a:pt x="173" y="238"/>
                    <a:pt x="173" y="238"/>
                    <a:pt x="173" y="238"/>
                  </a:cubicBezTo>
                  <a:cubicBezTo>
                    <a:pt x="173" y="238"/>
                    <a:pt x="173" y="238"/>
                    <a:pt x="173" y="238"/>
                  </a:cubicBezTo>
                  <a:cubicBezTo>
                    <a:pt x="173" y="237"/>
                    <a:pt x="172" y="237"/>
                    <a:pt x="172" y="237"/>
                  </a:cubicBezTo>
                  <a:cubicBezTo>
                    <a:pt x="171" y="236"/>
                    <a:pt x="170" y="233"/>
                    <a:pt x="169" y="231"/>
                  </a:cubicBezTo>
                  <a:cubicBezTo>
                    <a:pt x="169" y="231"/>
                    <a:pt x="169" y="230"/>
                    <a:pt x="169" y="230"/>
                  </a:cubicBezTo>
                  <a:cubicBezTo>
                    <a:pt x="168" y="227"/>
                    <a:pt x="169" y="225"/>
                    <a:pt x="169" y="224"/>
                  </a:cubicBezTo>
                  <a:cubicBezTo>
                    <a:pt x="169" y="223"/>
                    <a:pt x="169" y="223"/>
                    <a:pt x="169" y="223"/>
                  </a:cubicBezTo>
                  <a:cubicBezTo>
                    <a:pt x="169" y="222"/>
                    <a:pt x="169" y="221"/>
                    <a:pt x="169" y="221"/>
                  </a:cubicBezTo>
                  <a:cubicBezTo>
                    <a:pt x="169" y="221"/>
                    <a:pt x="169" y="221"/>
                    <a:pt x="169" y="221"/>
                  </a:cubicBezTo>
                  <a:cubicBezTo>
                    <a:pt x="169" y="220"/>
                    <a:pt x="169" y="220"/>
                    <a:pt x="169" y="220"/>
                  </a:cubicBezTo>
                  <a:cubicBezTo>
                    <a:pt x="168" y="220"/>
                    <a:pt x="168" y="220"/>
                    <a:pt x="168" y="220"/>
                  </a:cubicBezTo>
                  <a:cubicBezTo>
                    <a:pt x="167" y="220"/>
                    <a:pt x="166" y="220"/>
                    <a:pt x="165" y="220"/>
                  </a:cubicBezTo>
                  <a:cubicBezTo>
                    <a:pt x="164" y="223"/>
                    <a:pt x="164" y="223"/>
                    <a:pt x="164" y="223"/>
                  </a:cubicBezTo>
                  <a:cubicBezTo>
                    <a:pt x="164" y="220"/>
                    <a:pt x="164" y="220"/>
                    <a:pt x="164" y="220"/>
                  </a:cubicBezTo>
                  <a:cubicBezTo>
                    <a:pt x="163" y="220"/>
                    <a:pt x="163" y="220"/>
                    <a:pt x="163" y="220"/>
                  </a:cubicBezTo>
                  <a:cubicBezTo>
                    <a:pt x="161" y="219"/>
                    <a:pt x="159" y="218"/>
                    <a:pt x="157" y="216"/>
                  </a:cubicBezTo>
                  <a:cubicBezTo>
                    <a:pt x="157" y="216"/>
                    <a:pt x="156" y="215"/>
                    <a:pt x="156" y="214"/>
                  </a:cubicBezTo>
                  <a:cubicBezTo>
                    <a:pt x="156" y="212"/>
                    <a:pt x="156" y="209"/>
                    <a:pt x="159" y="205"/>
                  </a:cubicBezTo>
                  <a:cubicBezTo>
                    <a:pt x="160" y="202"/>
                    <a:pt x="163" y="199"/>
                    <a:pt x="165" y="197"/>
                  </a:cubicBezTo>
                  <a:cubicBezTo>
                    <a:pt x="165" y="196"/>
                    <a:pt x="165" y="196"/>
                    <a:pt x="165" y="196"/>
                  </a:cubicBezTo>
                  <a:cubicBezTo>
                    <a:pt x="166" y="196"/>
                    <a:pt x="167" y="195"/>
                    <a:pt x="167" y="194"/>
                  </a:cubicBezTo>
                  <a:cubicBezTo>
                    <a:pt x="168" y="194"/>
                    <a:pt x="168" y="193"/>
                    <a:pt x="169" y="192"/>
                  </a:cubicBezTo>
                  <a:cubicBezTo>
                    <a:pt x="169" y="192"/>
                    <a:pt x="169" y="192"/>
                    <a:pt x="169" y="192"/>
                  </a:cubicBezTo>
                  <a:cubicBezTo>
                    <a:pt x="169" y="192"/>
                    <a:pt x="169" y="191"/>
                    <a:pt x="170" y="191"/>
                  </a:cubicBezTo>
                  <a:cubicBezTo>
                    <a:pt x="171" y="190"/>
                    <a:pt x="171" y="190"/>
                    <a:pt x="171" y="190"/>
                  </a:cubicBezTo>
                  <a:cubicBezTo>
                    <a:pt x="172" y="189"/>
                    <a:pt x="172" y="189"/>
                    <a:pt x="172" y="189"/>
                  </a:cubicBezTo>
                  <a:cubicBezTo>
                    <a:pt x="172" y="189"/>
                    <a:pt x="172" y="189"/>
                    <a:pt x="172" y="189"/>
                  </a:cubicBezTo>
                  <a:cubicBezTo>
                    <a:pt x="170" y="186"/>
                    <a:pt x="170" y="186"/>
                    <a:pt x="170" y="186"/>
                  </a:cubicBezTo>
                  <a:cubicBezTo>
                    <a:pt x="173" y="188"/>
                    <a:pt x="173" y="188"/>
                    <a:pt x="173" y="188"/>
                  </a:cubicBezTo>
                  <a:cubicBezTo>
                    <a:pt x="173" y="188"/>
                    <a:pt x="173" y="188"/>
                    <a:pt x="173" y="188"/>
                  </a:cubicBezTo>
                  <a:cubicBezTo>
                    <a:pt x="174" y="187"/>
                    <a:pt x="174" y="187"/>
                    <a:pt x="175" y="187"/>
                  </a:cubicBezTo>
                  <a:cubicBezTo>
                    <a:pt x="175" y="187"/>
                    <a:pt x="175" y="187"/>
                    <a:pt x="175" y="187"/>
                  </a:cubicBezTo>
                  <a:cubicBezTo>
                    <a:pt x="176" y="186"/>
                    <a:pt x="176" y="186"/>
                    <a:pt x="177" y="186"/>
                  </a:cubicBezTo>
                  <a:cubicBezTo>
                    <a:pt x="177" y="184"/>
                    <a:pt x="177" y="184"/>
                    <a:pt x="177" y="184"/>
                  </a:cubicBezTo>
                  <a:cubicBezTo>
                    <a:pt x="178" y="186"/>
                    <a:pt x="178" y="186"/>
                    <a:pt x="178" y="186"/>
                  </a:cubicBezTo>
                  <a:cubicBezTo>
                    <a:pt x="179" y="186"/>
                    <a:pt x="179" y="186"/>
                    <a:pt x="179" y="186"/>
                  </a:cubicBezTo>
                  <a:cubicBezTo>
                    <a:pt x="179" y="186"/>
                    <a:pt x="179" y="186"/>
                    <a:pt x="180" y="187"/>
                  </a:cubicBezTo>
                  <a:cubicBezTo>
                    <a:pt x="180" y="187"/>
                    <a:pt x="180" y="187"/>
                    <a:pt x="181" y="187"/>
                  </a:cubicBezTo>
                  <a:cubicBezTo>
                    <a:pt x="181" y="188"/>
                    <a:pt x="182" y="188"/>
                    <a:pt x="182" y="188"/>
                  </a:cubicBezTo>
                  <a:cubicBezTo>
                    <a:pt x="183" y="189"/>
                    <a:pt x="183" y="190"/>
                    <a:pt x="183" y="191"/>
                  </a:cubicBezTo>
                  <a:cubicBezTo>
                    <a:pt x="184" y="191"/>
                    <a:pt x="184" y="191"/>
                    <a:pt x="184" y="191"/>
                  </a:cubicBezTo>
                  <a:cubicBezTo>
                    <a:pt x="184" y="191"/>
                    <a:pt x="184" y="192"/>
                    <a:pt x="184" y="192"/>
                  </a:cubicBezTo>
                  <a:cubicBezTo>
                    <a:pt x="185" y="192"/>
                    <a:pt x="185" y="192"/>
                    <a:pt x="185" y="192"/>
                  </a:cubicBezTo>
                  <a:cubicBezTo>
                    <a:pt x="185" y="192"/>
                    <a:pt x="185" y="192"/>
                    <a:pt x="186" y="192"/>
                  </a:cubicBezTo>
                  <a:cubicBezTo>
                    <a:pt x="186" y="192"/>
                    <a:pt x="186" y="192"/>
                    <a:pt x="186" y="192"/>
                  </a:cubicBezTo>
                  <a:cubicBezTo>
                    <a:pt x="188" y="191"/>
                    <a:pt x="189" y="191"/>
                    <a:pt x="191" y="190"/>
                  </a:cubicBezTo>
                  <a:cubicBezTo>
                    <a:pt x="191" y="190"/>
                    <a:pt x="191" y="190"/>
                    <a:pt x="191" y="190"/>
                  </a:cubicBezTo>
                  <a:cubicBezTo>
                    <a:pt x="191" y="186"/>
                    <a:pt x="191" y="186"/>
                    <a:pt x="191" y="186"/>
                  </a:cubicBezTo>
                  <a:cubicBezTo>
                    <a:pt x="193" y="190"/>
                    <a:pt x="193" y="190"/>
                    <a:pt x="193" y="190"/>
                  </a:cubicBezTo>
                  <a:cubicBezTo>
                    <a:pt x="194" y="190"/>
                    <a:pt x="194" y="190"/>
                    <a:pt x="194" y="190"/>
                  </a:cubicBezTo>
                  <a:cubicBezTo>
                    <a:pt x="194" y="190"/>
                    <a:pt x="194" y="190"/>
                    <a:pt x="195" y="190"/>
                  </a:cubicBezTo>
                  <a:cubicBezTo>
                    <a:pt x="196" y="190"/>
                    <a:pt x="196" y="190"/>
                    <a:pt x="196" y="190"/>
                  </a:cubicBezTo>
                  <a:cubicBezTo>
                    <a:pt x="197" y="190"/>
                    <a:pt x="199" y="189"/>
                    <a:pt x="200" y="189"/>
                  </a:cubicBezTo>
                  <a:cubicBezTo>
                    <a:pt x="200" y="189"/>
                    <a:pt x="200" y="189"/>
                    <a:pt x="200" y="189"/>
                  </a:cubicBezTo>
                  <a:cubicBezTo>
                    <a:pt x="212" y="174"/>
                    <a:pt x="212" y="174"/>
                    <a:pt x="212" y="174"/>
                  </a:cubicBezTo>
                  <a:cubicBezTo>
                    <a:pt x="212" y="173"/>
                    <a:pt x="212" y="173"/>
                    <a:pt x="212" y="173"/>
                  </a:cubicBezTo>
                  <a:cubicBezTo>
                    <a:pt x="213" y="171"/>
                    <a:pt x="215" y="170"/>
                    <a:pt x="217" y="169"/>
                  </a:cubicBezTo>
                  <a:cubicBezTo>
                    <a:pt x="218" y="168"/>
                    <a:pt x="218" y="168"/>
                    <a:pt x="219" y="168"/>
                  </a:cubicBezTo>
                  <a:cubicBezTo>
                    <a:pt x="222" y="166"/>
                    <a:pt x="223" y="166"/>
                    <a:pt x="224" y="163"/>
                  </a:cubicBezTo>
                  <a:cubicBezTo>
                    <a:pt x="225" y="162"/>
                    <a:pt x="225" y="162"/>
                    <a:pt x="226" y="161"/>
                  </a:cubicBezTo>
                  <a:cubicBezTo>
                    <a:pt x="226" y="160"/>
                    <a:pt x="226" y="160"/>
                    <a:pt x="226" y="160"/>
                  </a:cubicBezTo>
                  <a:cubicBezTo>
                    <a:pt x="227" y="159"/>
                    <a:pt x="227" y="158"/>
                    <a:pt x="228" y="157"/>
                  </a:cubicBezTo>
                  <a:cubicBezTo>
                    <a:pt x="228" y="156"/>
                    <a:pt x="228" y="156"/>
                    <a:pt x="228" y="155"/>
                  </a:cubicBezTo>
                  <a:cubicBezTo>
                    <a:pt x="229" y="155"/>
                    <a:pt x="229" y="155"/>
                    <a:pt x="229" y="155"/>
                  </a:cubicBezTo>
                  <a:cubicBezTo>
                    <a:pt x="229" y="155"/>
                    <a:pt x="229" y="154"/>
                    <a:pt x="229" y="154"/>
                  </a:cubicBezTo>
                  <a:cubicBezTo>
                    <a:pt x="229" y="151"/>
                    <a:pt x="230" y="149"/>
                    <a:pt x="231" y="148"/>
                  </a:cubicBezTo>
                  <a:cubicBezTo>
                    <a:pt x="232" y="147"/>
                    <a:pt x="233" y="146"/>
                    <a:pt x="234" y="146"/>
                  </a:cubicBezTo>
                  <a:cubicBezTo>
                    <a:pt x="235" y="145"/>
                    <a:pt x="237" y="144"/>
                    <a:pt x="239" y="143"/>
                  </a:cubicBezTo>
                  <a:cubicBezTo>
                    <a:pt x="239" y="143"/>
                    <a:pt x="240" y="143"/>
                    <a:pt x="240" y="143"/>
                  </a:cubicBezTo>
                  <a:cubicBezTo>
                    <a:pt x="240" y="142"/>
                    <a:pt x="240" y="142"/>
                    <a:pt x="240" y="142"/>
                  </a:cubicBezTo>
                  <a:cubicBezTo>
                    <a:pt x="239" y="140"/>
                    <a:pt x="240" y="139"/>
                    <a:pt x="240" y="138"/>
                  </a:cubicBezTo>
                  <a:cubicBezTo>
                    <a:pt x="241" y="138"/>
                    <a:pt x="241" y="138"/>
                    <a:pt x="241" y="138"/>
                  </a:cubicBezTo>
                  <a:cubicBezTo>
                    <a:pt x="241" y="137"/>
                    <a:pt x="242" y="137"/>
                    <a:pt x="242" y="136"/>
                  </a:cubicBezTo>
                  <a:cubicBezTo>
                    <a:pt x="243" y="135"/>
                    <a:pt x="244" y="134"/>
                    <a:pt x="245" y="133"/>
                  </a:cubicBezTo>
                  <a:cubicBezTo>
                    <a:pt x="245" y="132"/>
                    <a:pt x="246" y="131"/>
                    <a:pt x="248" y="130"/>
                  </a:cubicBezTo>
                  <a:cubicBezTo>
                    <a:pt x="249" y="130"/>
                    <a:pt x="249" y="130"/>
                    <a:pt x="249" y="130"/>
                  </a:cubicBezTo>
                  <a:cubicBezTo>
                    <a:pt x="250" y="129"/>
                    <a:pt x="252" y="128"/>
                    <a:pt x="253" y="127"/>
                  </a:cubicBezTo>
                  <a:cubicBezTo>
                    <a:pt x="253" y="126"/>
                    <a:pt x="254" y="126"/>
                    <a:pt x="254" y="125"/>
                  </a:cubicBezTo>
                  <a:cubicBezTo>
                    <a:pt x="254" y="125"/>
                    <a:pt x="254" y="124"/>
                    <a:pt x="254" y="123"/>
                  </a:cubicBezTo>
                  <a:cubicBezTo>
                    <a:pt x="253" y="119"/>
                    <a:pt x="253" y="119"/>
                    <a:pt x="253" y="119"/>
                  </a:cubicBezTo>
                  <a:cubicBezTo>
                    <a:pt x="253" y="118"/>
                    <a:pt x="253" y="117"/>
                    <a:pt x="252" y="116"/>
                  </a:cubicBezTo>
                  <a:cubicBezTo>
                    <a:pt x="252" y="114"/>
                    <a:pt x="252" y="114"/>
                    <a:pt x="252" y="114"/>
                  </a:cubicBezTo>
                  <a:cubicBezTo>
                    <a:pt x="249" y="114"/>
                    <a:pt x="249" y="114"/>
                    <a:pt x="249" y="114"/>
                  </a:cubicBezTo>
                  <a:cubicBezTo>
                    <a:pt x="252" y="112"/>
                    <a:pt x="252" y="112"/>
                    <a:pt x="252" y="112"/>
                  </a:cubicBezTo>
                  <a:cubicBezTo>
                    <a:pt x="252" y="112"/>
                    <a:pt x="252" y="112"/>
                    <a:pt x="252" y="112"/>
                  </a:cubicBezTo>
                  <a:cubicBezTo>
                    <a:pt x="252" y="111"/>
                    <a:pt x="252" y="111"/>
                    <a:pt x="252" y="110"/>
                  </a:cubicBezTo>
                  <a:cubicBezTo>
                    <a:pt x="253" y="109"/>
                    <a:pt x="254" y="107"/>
                    <a:pt x="256" y="106"/>
                  </a:cubicBezTo>
                  <a:cubicBezTo>
                    <a:pt x="256" y="105"/>
                    <a:pt x="257" y="105"/>
                    <a:pt x="258" y="105"/>
                  </a:cubicBezTo>
                  <a:cubicBezTo>
                    <a:pt x="258" y="105"/>
                    <a:pt x="258" y="105"/>
                    <a:pt x="258" y="105"/>
                  </a:cubicBezTo>
                  <a:cubicBezTo>
                    <a:pt x="259" y="104"/>
                    <a:pt x="259" y="104"/>
                    <a:pt x="259" y="104"/>
                  </a:cubicBezTo>
                  <a:cubicBezTo>
                    <a:pt x="259" y="104"/>
                    <a:pt x="259" y="104"/>
                    <a:pt x="260" y="104"/>
                  </a:cubicBezTo>
                  <a:cubicBezTo>
                    <a:pt x="260" y="104"/>
                    <a:pt x="261" y="104"/>
                    <a:pt x="261" y="103"/>
                  </a:cubicBezTo>
                  <a:cubicBezTo>
                    <a:pt x="262" y="103"/>
                    <a:pt x="263" y="103"/>
                    <a:pt x="263" y="103"/>
                  </a:cubicBezTo>
                  <a:cubicBezTo>
                    <a:pt x="265" y="102"/>
                    <a:pt x="265" y="102"/>
                    <a:pt x="265" y="102"/>
                  </a:cubicBezTo>
                  <a:cubicBezTo>
                    <a:pt x="265" y="102"/>
                    <a:pt x="267" y="101"/>
                    <a:pt x="267" y="101"/>
                  </a:cubicBezTo>
                  <a:cubicBezTo>
                    <a:pt x="267" y="100"/>
                    <a:pt x="267" y="100"/>
                    <a:pt x="267" y="100"/>
                  </a:cubicBezTo>
                  <a:cubicBezTo>
                    <a:pt x="267" y="99"/>
                    <a:pt x="267" y="99"/>
                    <a:pt x="267" y="99"/>
                  </a:cubicBezTo>
                  <a:cubicBezTo>
                    <a:pt x="266" y="99"/>
                    <a:pt x="266" y="99"/>
                    <a:pt x="266" y="99"/>
                  </a:cubicBezTo>
                  <a:cubicBezTo>
                    <a:pt x="266" y="99"/>
                    <a:pt x="266" y="99"/>
                    <a:pt x="266" y="99"/>
                  </a:cubicBezTo>
                  <a:cubicBezTo>
                    <a:pt x="265" y="99"/>
                    <a:pt x="264" y="99"/>
                    <a:pt x="263" y="99"/>
                  </a:cubicBezTo>
                  <a:cubicBezTo>
                    <a:pt x="263" y="99"/>
                    <a:pt x="263" y="99"/>
                    <a:pt x="263" y="99"/>
                  </a:cubicBezTo>
                  <a:cubicBezTo>
                    <a:pt x="262" y="99"/>
                    <a:pt x="262" y="98"/>
                    <a:pt x="261" y="98"/>
                  </a:cubicBezTo>
                  <a:cubicBezTo>
                    <a:pt x="259" y="98"/>
                    <a:pt x="257" y="97"/>
                    <a:pt x="256" y="96"/>
                  </a:cubicBezTo>
                  <a:cubicBezTo>
                    <a:pt x="256" y="96"/>
                    <a:pt x="256" y="96"/>
                    <a:pt x="256" y="95"/>
                  </a:cubicBezTo>
                  <a:cubicBezTo>
                    <a:pt x="255" y="94"/>
                    <a:pt x="255" y="93"/>
                    <a:pt x="255" y="92"/>
                  </a:cubicBezTo>
                  <a:cubicBezTo>
                    <a:pt x="254" y="92"/>
                    <a:pt x="254" y="92"/>
                    <a:pt x="253" y="92"/>
                  </a:cubicBezTo>
                  <a:cubicBezTo>
                    <a:pt x="252" y="92"/>
                    <a:pt x="250" y="91"/>
                    <a:pt x="249" y="90"/>
                  </a:cubicBezTo>
                  <a:cubicBezTo>
                    <a:pt x="248" y="89"/>
                    <a:pt x="248" y="89"/>
                    <a:pt x="248" y="89"/>
                  </a:cubicBezTo>
                  <a:cubicBezTo>
                    <a:pt x="248" y="88"/>
                    <a:pt x="247" y="88"/>
                    <a:pt x="247" y="87"/>
                  </a:cubicBezTo>
                  <a:cubicBezTo>
                    <a:pt x="246" y="86"/>
                    <a:pt x="246" y="86"/>
                    <a:pt x="246" y="86"/>
                  </a:cubicBezTo>
                  <a:cubicBezTo>
                    <a:pt x="245" y="85"/>
                    <a:pt x="244" y="84"/>
                    <a:pt x="244" y="82"/>
                  </a:cubicBezTo>
                  <a:cubicBezTo>
                    <a:pt x="238" y="83"/>
                    <a:pt x="238" y="83"/>
                    <a:pt x="238" y="83"/>
                  </a:cubicBezTo>
                  <a:cubicBezTo>
                    <a:pt x="243" y="81"/>
                    <a:pt x="243" y="81"/>
                    <a:pt x="243" y="81"/>
                  </a:cubicBezTo>
                  <a:cubicBezTo>
                    <a:pt x="243" y="81"/>
                    <a:pt x="243" y="81"/>
                    <a:pt x="243" y="81"/>
                  </a:cubicBezTo>
                  <a:cubicBezTo>
                    <a:pt x="243" y="80"/>
                    <a:pt x="243" y="79"/>
                    <a:pt x="244" y="78"/>
                  </a:cubicBezTo>
                  <a:cubicBezTo>
                    <a:pt x="244" y="78"/>
                    <a:pt x="244" y="77"/>
                    <a:pt x="244" y="76"/>
                  </a:cubicBezTo>
                  <a:cubicBezTo>
                    <a:pt x="245" y="74"/>
                    <a:pt x="245" y="74"/>
                    <a:pt x="245" y="73"/>
                  </a:cubicBezTo>
                  <a:cubicBezTo>
                    <a:pt x="245" y="73"/>
                    <a:pt x="245" y="73"/>
                    <a:pt x="245" y="73"/>
                  </a:cubicBezTo>
                  <a:cubicBezTo>
                    <a:pt x="244" y="72"/>
                    <a:pt x="244" y="72"/>
                    <a:pt x="243" y="71"/>
                  </a:cubicBezTo>
                  <a:cubicBezTo>
                    <a:pt x="243" y="70"/>
                    <a:pt x="243" y="70"/>
                    <a:pt x="243" y="69"/>
                  </a:cubicBezTo>
                  <a:cubicBezTo>
                    <a:pt x="242" y="69"/>
                    <a:pt x="242" y="69"/>
                    <a:pt x="242" y="69"/>
                  </a:cubicBezTo>
                  <a:cubicBezTo>
                    <a:pt x="243" y="69"/>
                    <a:pt x="243" y="69"/>
                    <a:pt x="243" y="69"/>
                  </a:cubicBezTo>
                  <a:cubicBezTo>
                    <a:pt x="242" y="68"/>
                    <a:pt x="243" y="68"/>
                    <a:pt x="243" y="67"/>
                  </a:cubicBezTo>
                  <a:cubicBezTo>
                    <a:pt x="243" y="67"/>
                    <a:pt x="243" y="67"/>
                    <a:pt x="243" y="67"/>
                  </a:cubicBezTo>
                  <a:cubicBezTo>
                    <a:pt x="243" y="66"/>
                    <a:pt x="244" y="66"/>
                    <a:pt x="245" y="65"/>
                  </a:cubicBezTo>
                  <a:cubicBezTo>
                    <a:pt x="245" y="65"/>
                    <a:pt x="245" y="65"/>
                    <a:pt x="245" y="65"/>
                  </a:cubicBezTo>
                  <a:cubicBezTo>
                    <a:pt x="244" y="65"/>
                    <a:pt x="244" y="65"/>
                    <a:pt x="244" y="65"/>
                  </a:cubicBezTo>
                  <a:cubicBezTo>
                    <a:pt x="243" y="64"/>
                    <a:pt x="243" y="64"/>
                    <a:pt x="242" y="64"/>
                  </a:cubicBezTo>
                  <a:cubicBezTo>
                    <a:pt x="240" y="64"/>
                    <a:pt x="240" y="64"/>
                    <a:pt x="240" y="64"/>
                  </a:cubicBezTo>
                  <a:cubicBezTo>
                    <a:pt x="241" y="61"/>
                    <a:pt x="241" y="61"/>
                    <a:pt x="241" y="61"/>
                  </a:cubicBezTo>
                  <a:cubicBezTo>
                    <a:pt x="241" y="61"/>
                    <a:pt x="241" y="61"/>
                    <a:pt x="241" y="60"/>
                  </a:cubicBezTo>
                  <a:cubicBezTo>
                    <a:pt x="241" y="60"/>
                    <a:pt x="241" y="60"/>
                    <a:pt x="241" y="60"/>
                  </a:cubicBezTo>
                  <a:cubicBezTo>
                    <a:pt x="241" y="59"/>
                    <a:pt x="242" y="59"/>
                    <a:pt x="242" y="59"/>
                  </a:cubicBezTo>
                  <a:cubicBezTo>
                    <a:pt x="241" y="59"/>
                    <a:pt x="241" y="59"/>
                    <a:pt x="240" y="58"/>
                  </a:cubicBezTo>
                  <a:cubicBezTo>
                    <a:pt x="240" y="58"/>
                    <a:pt x="240" y="58"/>
                    <a:pt x="240" y="58"/>
                  </a:cubicBezTo>
                  <a:cubicBezTo>
                    <a:pt x="239" y="57"/>
                    <a:pt x="239" y="57"/>
                    <a:pt x="238" y="55"/>
                  </a:cubicBezTo>
                  <a:cubicBezTo>
                    <a:pt x="238" y="54"/>
                    <a:pt x="239" y="53"/>
                    <a:pt x="239" y="52"/>
                  </a:cubicBezTo>
                  <a:cubicBezTo>
                    <a:pt x="240" y="51"/>
                    <a:pt x="240" y="50"/>
                    <a:pt x="241" y="49"/>
                  </a:cubicBezTo>
                  <a:cubicBezTo>
                    <a:pt x="241" y="49"/>
                    <a:pt x="241" y="48"/>
                    <a:pt x="242" y="48"/>
                  </a:cubicBezTo>
                  <a:cubicBezTo>
                    <a:pt x="243" y="47"/>
                    <a:pt x="244" y="47"/>
                    <a:pt x="245" y="47"/>
                  </a:cubicBezTo>
                  <a:cubicBezTo>
                    <a:pt x="247" y="46"/>
                    <a:pt x="250" y="46"/>
                    <a:pt x="252" y="46"/>
                  </a:cubicBezTo>
                  <a:cubicBezTo>
                    <a:pt x="253" y="46"/>
                    <a:pt x="253" y="46"/>
                    <a:pt x="253" y="46"/>
                  </a:cubicBezTo>
                  <a:cubicBezTo>
                    <a:pt x="254" y="45"/>
                    <a:pt x="255" y="45"/>
                    <a:pt x="255" y="45"/>
                  </a:cubicBezTo>
                  <a:cubicBezTo>
                    <a:pt x="256" y="45"/>
                    <a:pt x="256" y="45"/>
                    <a:pt x="257" y="45"/>
                  </a:cubicBezTo>
                  <a:cubicBezTo>
                    <a:pt x="259" y="45"/>
                    <a:pt x="261" y="46"/>
                    <a:pt x="262" y="46"/>
                  </a:cubicBezTo>
                  <a:cubicBezTo>
                    <a:pt x="263" y="46"/>
                    <a:pt x="263" y="46"/>
                    <a:pt x="263" y="46"/>
                  </a:cubicBezTo>
                  <a:cubicBezTo>
                    <a:pt x="264" y="46"/>
                    <a:pt x="264" y="46"/>
                    <a:pt x="265" y="46"/>
                  </a:cubicBezTo>
                  <a:cubicBezTo>
                    <a:pt x="268" y="47"/>
                    <a:pt x="268" y="47"/>
                    <a:pt x="268" y="47"/>
                  </a:cubicBezTo>
                  <a:cubicBezTo>
                    <a:pt x="269" y="47"/>
                    <a:pt x="270" y="48"/>
                    <a:pt x="272" y="48"/>
                  </a:cubicBezTo>
                  <a:cubicBezTo>
                    <a:pt x="272" y="49"/>
                    <a:pt x="272" y="49"/>
                    <a:pt x="272" y="49"/>
                  </a:cubicBezTo>
                  <a:cubicBezTo>
                    <a:pt x="273" y="49"/>
                    <a:pt x="273" y="49"/>
                    <a:pt x="274" y="49"/>
                  </a:cubicBezTo>
                  <a:cubicBezTo>
                    <a:pt x="275" y="49"/>
                    <a:pt x="275" y="49"/>
                    <a:pt x="275" y="49"/>
                  </a:cubicBezTo>
                  <a:cubicBezTo>
                    <a:pt x="276" y="50"/>
                    <a:pt x="276" y="50"/>
                    <a:pt x="277" y="50"/>
                  </a:cubicBezTo>
                  <a:cubicBezTo>
                    <a:pt x="278" y="50"/>
                    <a:pt x="280" y="49"/>
                    <a:pt x="283" y="48"/>
                  </a:cubicBezTo>
                  <a:cubicBezTo>
                    <a:pt x="284" y="47"/>
                    <a:pt x="284" y="47"/>
                    <a:pt x="285" y="47"/>
                  </a:cubicBezTo>
                  <a:cubicBezTo>
                    <a:pt x="285" y="47"/>
                    <a:pt x="286" y="46"/>
                    <a:pt x="287" y="46"/>
                  </a:cubicBezTo>
                  <a:cubicBezTo>
                    <a:pt x="287" y="46"/>
                    <a:pt x="288" y="46"/>
                    <a:pt x="289" y="46"/>
                  </a:cubicBezTo>
                  <a:cubicBezTo>
                    <a:pt x="290" y="45"/>
                    <a:pt x="290" y="45"/>
                    <a:pt x="291" y="45"/>
                  </a:cubicBezTo>
                  <a:cubicBezTo>
                    <a:pt x="291" y="45"/>
                    <a:pt x="291" y="45"/>
                    <a:pt x="291" y="45"/>
                  </a:cubicBezTo>
                  <a:cubicBezTo>
                    <a:pt x="292" y="45"/>
                    <a:pt x="292" y="45"/>
                    <a:pt x="292" y="45"/>
                  </a:cubicBezTo>
                  <a:cubicBezTo>
                    <a:pt x="293" y="45"/>
                    <a:pt x="293" y="45"/>
                    <a:pt x="293" y="45"/>
                  </a:cubicBezTo>
                  <a:cubicBezTo>
                    <a:pt x="295" y="45"/>
                    <a:pt x="295" y="44"/>
                    <a:pt x="296" y="43"/>
                  </a:cubicBezTo>
                  <a:cubicBezTo>
                    <a:pt x="297" y="42"/>
                    <a:pt x="297" y="42"/>
                    <a:pt x="297" y="42"/>
                  </a:cubicBezTo>
                  <a:cubicBezTo>
                    <a:pt x="298" y="40"/>
                    <a:pt x="300" y="38"/>
                    <a:pt x="301" y="37"/>
                  </a:cubicBezTo>
                  <a:cubicBezTo>
                    <a:pt x="305" y="35"/>
                    <a:pt x="305" y="35"/>
                    <a:pt x="305" y="35"/>
                  </a:cubicBezTo>
                  <a:cubicBezTo>
                    <a:pt x="306" y="35"/>
                    <a:pt x="307" y="34"/>
                    <a:pt x="307" y="34"/>
                  </a:cubicBezTo>
                  <a:cubicBezTo>
                    <a:pt x="301" y="34"/>
                    <a:pt x="301" y="34"/>
                    <a:pt x="301" y="34"/>
                  </a:cubicBezTo>
                  <a:cubicBezTo>
                    <a:pt x="306" y="32"/>
                    <a:pt x="306" y="32"/>
                    <a:pt x="306" y="32"/>
                  </a:cubicBezTo>
                  <a:cubicBezTo>
                    <a:pt x="303" y="32"/>
                    <a:pt x="299" y="31"/>
                    <a:pt x="296" y="29"/>
                  </a:cubicBezTo>
                  <a:cubicBezTo>
                    <a:pt x="295" y="29"/>
                    <a:pt x="294" y="28"/>
                    <a:pt x="293" y="27"/>
                  </a:cubicBezTo>
                  <a:cubicBezTo>
                    <a:pt x="292" y="26"/>
                    <a:pt x="292" y="26"/>
                    <a:pt x="292" y="25"/>
                  </a:cubicBezTo>
                  <a:cubicBezTo>
                    <a:pt x="290" y="26"/>
                    <a:pt x="289" y="26"/>
                    <a:pt x="288" y="26"/>
                  </a:cubicBezTo>
                  <a:cubicBezTo>
                    <a:pt x="288" y="26"/>
                    <a:pt x="288" y="26"/>
                    <a:pt x="288" y="26"/>
                  </a:cubicBezTo>
                  <a:cubicBezTo>
                    <a:pt x="287" y="26"/>
                    <a:pt x="287" y="26"/>
                    <a:pt x="287" y="26"/>
                  </a:cubicBezTo>
                  <a:cubicBezTo>
                    <a:pt x="286" y="26"/>
                    <a:pt x="285" y="26"/>
                    <a:pt x="284" y="25"/>
                  </a:cubicBezTo>
                  <a:cubicBezTo>
                    <a:pt x="284" y="25"/>
                    <a:pt x="283" y="24"/>
                    <a:pt x="283" y="24"/>
                  </a:cubicBezTo>
                  <a:cubicBezTo>
                    <a:pt x="283" y="23"/>
                    <a:pt x="283" y="23"/>
                    <a:pt x="283" y="23"/>
                  </a:cubicBezTo>
                  <a:cubicBezTo>
                    <a:pt x="283" y="23"/>
                    <a:pt x="283" y="23"/>
                    <a:pt x="283" y="23"/>
                  </a:cubicBezTo>
                  <a:cubicBezTo>
                    <a:pt x="282" y="23"/>
                    <a:pt x="282" y="22"/>
                    <a:pt x="281" y="22"/>
                  </a:cubicBezTo>
                  <a:cubicBezTo>
                    <a:pt x="280" y="20"/>
                    <a:pt x="280" y="20"/>
                    <a:pt x="280" y="20"/>
                  </a:cubicBezTo>
                  <a:cubicBezTo>
                    <a:pt x="278" y="18"/>
                    <a:pt x="280" y="16"/>
                    <a:pt x="280" y="15"/>
                  </a:cubicBezTo>
                  <a:cubicBezTo>
                    <a:pt x="281" y="15"/>
                    <a:pt x="281" y="14"/>
                    <a:pt x="281" y="14"/>
                  </a:cubicBezTo>
                  <a:cubicBezTo>
                    <a:pt x="281" y="13"/>
                    <a:pt x="281" y="13"/>
                    <a:pt x="281" y="12"/>
                  </a:cubicBezTo>
                  <a:cubicBezTo>
                    <a:pt x="281" y="11"/>
                    <a:pt x="280" y="11"/>
                    <a:pt x="280" y="10"/>
                  </a:cubicBezTo>
                  <a:cubicBezTo>
                    <a:pt x="279" y="8"/>
                    <a:pt x="277" y="7"/>
                    <a:pt x="276" y="6"/>
                  </a:cubicBezTo>
                  <a:cubicBezTo>
                    <a:pt x="276" y="6"/>
                    <a:pt x="275" y="6"/>
                    <a:pt x="275" y="5"/>
                  </a:cubicBezTo>
                  <a:cubicBezTo>
                    <a:pt x="273" y="5"/>
                    <a:pt x="272" y="4"/>
                    <a:pt x="271" y="3"/>
                  </a:cubicBezTo>
                  <a:cubicBezTo>
                    <a:pt x="270" y="3"/>
                    <a:pt x="269" y="2"/>
                    <a:pt x="268" y="2"/>
                  </a:cubicBezTo>
                  <a:cubicBezTo>
                    <a:pt x="267" y="1"/>
                    <a:pt x="266" y="1"/>
                    <a:pt x="264" y="1"/>
                  </a:cubicBezTo>
                  <a:cubicBezTo>
                    <a:pt x="264" y="1"/>
                    <a:pt x="264" y="1"/>
                    <a:pt x="264" y="1"/>
                  </a:cubicBezTo>
                  <a:cubicBezTo>
                    <a:pt x="263" y="1"/>
                    <a:pt x="263" y="1"/>
                    <a:pt x="262" y="1"/>
                  </a:cubicBezTo>
                  <a:cubicBezTo>
                    <a:pt x="262" y="1"/>
                    <a:pt x="261" y="1"/>
                    <a:pt x="261" y="1"/>
                  </a:cubicBezTo>
                  <a:cubicBezTo>
                    <a:pt x="260" y="1"/>
                    <a:pt x="259" y="0"/>
                    <a:pt x="258" y="0"/>
                  </a:cubicBezTo>
                  <a:cubicBezTo>
                    <a:pt x="258" y="0"/>
                    <a:pt x="258" y="0"/>
                    <a:pt x="258" y="0"/>
                  </a:cubicBezTo>
                  <a:cubicBezTo>
                    <a:pt x="258" y="0"/>
                    <a:pt x="258" y="0"/>
                    <a:pt x="258" y="0"/>
                  </a:cubicBezTo>
                  <a:cubicBezTo>
                    <a:pt x="257" y="0"/>
                    <a:pt x="257" y="0"/>
                    <a:pt x="2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420"/>
            <p:cNvSpPr/>
            <p:nvPr/>
          </p:nvSpPr>
          <p:spPr bwMode="auto">
            <a:xfrm>
              <a:off x="2918708" y="4347763"/>
              <a:ext cx="107285" cy="31636"/>
            </a:xfrm>
            <a:custGeom>
              <a:gdLst>
                <a:gd name="T0" fmla="*/ 13 w 33"/>
                <a:gd name="T1" fmla="*/ 0 h 10"/>
                <a:gd name="T2" fmla="*/ 11 w 33"/>
                <a:gd name="T3" fmla="*/ 1 h 10"/>
                <a:gd name="T4" fmla="*/ 10 w 33"/>
                <a:gd name="T5" fmla="*/ 1 h 10"/>
                <a:gd name="T6" fmla="*/ 2 w 33"/>
                <a:gd name="T7" fmla="*/ 8 h 10"/>
                <a:gd name="T8" fmla="*/ 0 w 33"/>
                <a:gd name="T9" fmla="*/ 10 h 10"/>
                <a:gd name="T10" fmla="*/ 1 w 33"/>
                <a:gd name="T11" fmla="*/ 9 h 10"/>
                <a:gd name="T12" fmla="*/ 5 w 33"/>
                <a:gd name="T13" fmla="*/ 9 h 10"/>
                <a:gd name="T14" fmla="*/ 13 w 33"/>
                <a:gd name="T15" fmla="*/ 8 h 10"/>
                <a:gd name="T16" fmla="*/ 14 w 33"/>
                <a:gd name="T17" fmla="*/ 8 h 10"/>
                <a:gd name="T18" fmla="*/ 18 w 33"/>
                <a:gd name="T19" fmla="*/ 8 h 10"/>
                <a:gd name="T20" fmla="*/ 18 w 33"/>
                <a:gd name="T21" fmla="*/ 8 h 10"/>
                <a:gd name="T22" fmla="*/ 20 w 33"/>
                <a:gd name="T23" fmla="*/ 8 h 10"/>
                <a:gd name="T24" fmla="*/ 21 w 33"/>
                <a:gd name="T25" fmla="*/ 9 h 10"/>
                <a:gd name="T26" fmla="*/ 22 w 33"/>
                <a:gd name="T27" fmla="*/ 9 h 10"/>
                <a:gd name="T28" fmla="*/ 23 w 33"/>
                <a:gd name="T29" fmla="*/ 9 h 10"/>
                <a:gd name="T30" fmla="*/ 25 w 33"/>
                <a:gd name="T31" fmla="*/ 10 h 10"/>
                <a:gd name="T32" fmla="*/ 26 w 33"/>
                <a:gd name="T33" fmla="*/ 10 h 10"/>
                <a:gd name="T34" fmla="*/ 26 w 33"/>
                <a:gd name="T35" fmla="*/ 9 h 10"/>
                <a:gd name="T36" fmla="*/ 31 w 33"/>
                <a:gd name="T37" fmla="*/ 7 h 10"/>
                <a:gd name="T38" fmla="*/ 30 w 33"/>
                <a:gd name="T39" fmla="*/ 5 h 10"/>
                <a:gd name="T40" fmla="*/ 31 w 33"/>
                <a:gd name="T41" fmla="*/ 2 h 10"/>
                <a:gd name="T42" fmla="*/ 33 w 33"/>
                <a:gd name="T43" fmla="*/ 2 h 10"/>
                <a:gd name="T44" fmla="*/ 33 w 33"/>
                <a:gd name="T45" fmla="*/ 2 h 10"/>
                <a:gd name="T46" fmla="*/ 32 w 33"/>
                <a:gd name="T47" fmla="*/ 1 h 10"/>
                <a:gd name="T48" fmla="*/ 31 w 33"/>
                <a:gd name="T49" fmla="*/ 1 h 10"/>
                <a:gd name="T50" fmla="*/ 31 w 33"/>
                <a:gd name="T51" fmla="*/ 2 h 10"/>
                <a:gd name="T52" fmla="*/ 30 w 33"/>
                <a:gd name="T53" fmla="*/ 3 h 10"/>
                <a:gd name="T54" fmla="*/ 29 w 33"/>
                <a:gd name="T55" fmla="*/ 3 h 10"/>
                <a:gd name="T56" fmla="*/ 28 w 33"/>
                <a:gd name="T57" fmla="*/ 3 h 10"/>
                <a:gd name="T58" fmla="*/ 28 w 33"/>
                <a:gd name="T59" fmla="*/ 3 h 10"/>
                <a:gd name="T60" fmla="*/ 23 w 33"/>
                <a:gd name="T61" fmla="*/ 4 h 10"/>
                <a:gd name="T62" fmla="*/ 22 w 33"/>
                <a:gd name="T63" fmla="*/ 5 h 10"/>
                <a:gd name="T64" fmla="*/ 19 w 33"/>
                <a:gd name="T65" fmla="*/ 5 h 10"/>
                <a:gd name="T66" fmla="*/ 17 w 33"/>
                <a:gd name="T67" fmla="*/ 5 h 10"/>
                <a:gd name="T68" fmla="*/ 17 w 33"/>
                <a:gd name="T69" fmla="*/ 5 h 10"/>
                <a:gd name="T70" fmla="*/ 16 w 33"/>
                <a:gd name="T71" fmla="*/ 5 h 10"/>
                <a:gd name="T72" fmla="*/ 15 w 33"/>
                <a:gd name="T73" fmla="*/ 2 h 10"/>
                <a:gd name="T74" fmla="*/ 15 w 33"/>
                <a:gd name="T75" fmla="*/ 1 h 10"/>
                <a:gd name="T76" fmla="*/ 13 w 33"/>
                <a:gd name="T7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10">
                  <a:moveTo>
                    <a:pt x="13" y="0"/>
                  </a:moveTo>
                  <a:cubicBezTo>
                    <a:pt x="12" y="0"/>
                    <a:pt x="12" y="0"/>
                    <a:pt x="11" y="1"/>
                  </a:cubicBezTo>
                  <a:cubicBezTo>
                    <a:pt x="11" y="1"/>
                    <a:pt x="10" y="1"/>
                    <a:pt x="10" y="1"/>
                  </a:cubicBezTo>
                  <a:cubicBezTo>
                    <a:pt x="7" y="3"/>
                    <a:pt x="4" y="5"/>
                    <a:pt x="2" y="8"/>
                  </a:cubicBezTo>
                  <a:cubicBezTo>
                    <a:pt x="1" y="9"/>
                    <a:pt x="1" y="9"/>
                    <a:pt x="0" y="10"/>
                  </a:cubicBezTo>
                  <a:cubicBezTo>
                    <a:pt x="1" y="9"/>
                    <a:pt x="1" y="9"/>
                    <a:pt x="1" y="9"/>
                  </a:cubicBezTo>
                  <a:cubicBezTo>
                    <a:pt x="5" y="9"/>
                    <a:pt x="5" y="9"/>
                    <a:pt x="5" y="9"/>
                  </a:cubicBezTo>
                  <a:cubicBezTo>
                    <a:pt x="7" y="9"/>
                    <a:pt x="10" y="9"/>
                    <a:pt x="13" y="8"/>
                  </a:cubicBezTo>
                  <a:cubicBezTo>
                    <a:pt x="14" y="8"/>
                    <a:pt x="14" y="8"/>
                    <a:pt x="14" y="8"/>
                  </a:cubicBezTo>
                  <a:cubicBezTo>
                    <a:pt x="15" y="8"/>
                    <a:pt x="17" y="8"/>
                    <a:pt x="18" y="8"/>
                  </a:cubicBezTo>
                  <a:cubicBezTo>
                    <a:pt x="18" y="8"/>
                    <a:pt x="18" y="8"/>
                    <a:pt x="18" y="8"/>
                  </a:cubicBezTo>
                  <a:cubicBezTo>
                    <a:pt x="19" y="8"/>
                    <a:pt x="19" y="8"/>
                    <a:pt x="20" y="8"/>
                  </a:cubicBezTo>
                  <a:cubicBezTo>
                    <a:pt x="20" y="8"/>
                    <a:pt x="21" y="8"/>
                    <a:pt x="21" y="9"/>
                  </a:cubicBezTo>
                  <a:cubicBezTo>
                    <a:pt x="22" y="9"/>
                    <a:pt x="22" y="9"/>
                    <a:pt x="22" y="9"/>
                  </a:cubicBezTo>
                  <a:cubicBezTo>
                    <a:pt x="23" y="9"/>
                    <a:pt x="23" y="9"/>
                    <a:pt x="23" y="9"/>
                  </a:cubicBezTo>
                  <a:cubicBezTo>
                    <a:pt x="24" y="9"/>
                    <a:pt x="25" y="10"/>
                    <a:pt x="25" y="10"/>
                  </a:cubicBezTo>
                  <a:cubicBezTo>
                    <a:pt x="25" y="10"/>
                    <a:pt x="26" y="10"/>
                    <a:pt x="26" y="10"/>
                  </a:cubicBezTo>
                  <a:cubicBezTo>
                    <a:pt x="26" y="9"/>
                    <a:pt x="26" y="9"/>
                    <a:pt x="26" y="9"/>
                  </a:cubicBezTo>
                  <a:cubicBezTo>
                    <a:pt x="28" y="9"/>
                    <a:pt x="29" y="8"/>
                    <a:pt x="31" y="7"/>
                  </a:cubicBezTo>
                  <a:cubicBezTo>
                    <a:pt x="30" y="7"/>
                    <a:pt x="30" y="6"/>
                    <a:pt x="30" y="5"/>
                  </a:cubicBezTo>
                  <a:cubicBezTo>
                    <a:pt x="30" y="4"/>
                    <a:pt x="30" y="3"/>
                    <a:pt x="31" y="2"/>
                  </a:cubicBezTo>
                  <a:cubicBezTo>
                    <a:pt x="32" y="2"/>
                    <a:pt x="32" y="2"/>
                    <a:pt x="33" y="2"/>
                  </a:cubicBezTo>
                  <a:cubicBezTo>
                    <a:pt x="33" y="2"/>
                    <a:pt x="33" y="2"/>
                    <a:pt x="33" y="2"/>
                  </a:cubicBezTo>
                  <a:cubicBezTo>
                    <a:pt x="32" y="2"/>
                    <a:pt x="32" y="2"/>
                    <a:pt x="32" y="1"/>
                  </a:cubicBezTo>
                  <a:cubicBezTo>
                    <a:pt x="31" y="1"/>
                    <a:pt x="31" y="1"/>
                    <a:pt x="31" y="1"/>
                  </a:cubicBezTo>
                  <a:cubicBezTo>
                    <a:pt x="31" y="2"/>
                    <a:pt x="31" y="2"/>
                    <a:pt x="31" y="2"/>
                  </a:cubicBezTo>
                  <a:cubicBezTo>
                    <a:pt x="30" y="3"/>
                    <a:pt x="30" y="3"/>
                    <a:pt x="30" y="3"/>
                  </a:cubicBezTo>
                  <a:cubicBezTo>
                    <a:pt x="29" y="3"/>
                    <a:pt x="29" y="3"/>
                    <a:pt x="29" y="3"/>
                  </a:cubicBezTo>
                  <a:cubicBezTo>
                    <a:pt x="29" y="3"/>
                    <a:pt x="28" y="3"/>
                    <a:pt x="28" y="3"/>
                  </a:cubicBezTo>
                  <a:cubicBezTo>
                    <a:pt x="28" y="3"/>
                    <a:pt x="28" y="3"/>
                    <a:pt x="28" y="3"/>
                  </a:cubicBezTo>
                  <a:cubicBezTo>
                    <a:pt x="27" y="3"/>
                    <a:pt x="25" y="4"/>
                    <a:pt x="23" y="4"/>
                  </a:cubicBezTo>
                  <a:cubicBezTo>
                    <a:pt x="23" y="5"/>
                    <a:pt x="22" y="5"/>
                    <a:pt x="22" y="5"/>
                  </a:cubicBezTo>
                  <a:cubicBezTo>
                    <a:pt x="20" y="5"/>
                    <a:pt x="19" y="5"/>
                    <a:pt x="19" y="5"/>
                  </a:cubicBezTo>
                  <a:cubicBezTo>
                    <a:pt x="18" y="5"/>
                    <a:pt x="18" y="5"/>
                    <a:pt x="17" y="5"/>
                  </a:cubicBezTo>
                  <a:cubicBezTo>
                    <a:pt x="17" y="5"/>
                    <a:pt x="17" y="5"/>
                    <a:pt x="17" y="5"/>
                  </a:cubicBezTo>
                  <a:cubicBezTo>
                    <a:pt x="16" y="5"/>
                    <a:pt x="16" y="5"/>
                    <a:pt x="16" y="5"/>
                  </a:cubicBezTo>
                  <a:cubicBezTo>
                    <a:pt x="15" y="3"/>
                    <a:pt x="15" y="3"/>
                    <a:pt x="15" y="2"/>
                  </a:cubicBezTo>
                  <a:cubicBezTo>
                    <a:pt x="15" y="1"/>
                    <a:pt x="15" y="1"/>
                    <a:pt x="15" y="1"/>
                  </a:cubicBezTo>
                  <a:cubicBezTo>
                    <a:pt x="14" y="1"/>
                    <a:pt x="14"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421"/>
            <p:cNvSpPr/>
            <p:nvPr/>
          </p:nvSpPr>
          <p:spPr bwMode="auto">
            <a:xfrm>
              <a:off x="2171839" y="4276240"/>
              <a:ext cx="717985" cy="617578"/>
            </a:xfrm>
            <a:custGeom>
              <a:gdLst>
                <a:gd name="T0" fmla="*/ 186 w 221"/>
                <a:gd name="T1" fmla="*/ 9 h 190"/>
                <a:gd name="T2" fmla="*/ 185 w 221"/>
                <a:gd name="T3" fmla="*/ 18 h 190"/>
                <a:gd name="T4" fmla="*/ 180 w 221"/>
                <a:gd name="T5" fmla="*/ 21 h 190"/>
                <a:gd name="T6" fmla="*/ 170 w 221"/>
                <a:gd name="T7" fmla="*/ 22 h 190"/>
                <a:gd name="T8" fmla="*/ 168 w 221"/>
                <a:gd name="T9" fmla="*/ 29 h 190"/>
                <a:gd name="T10" fmla="*/ 158 w 221"/>
                <a:gd name="T11" fmla="*/ 26 h 190"/>
                <a:gd name="T12" fmla="*/ 149 w 221"/>
                <a:gd name="T13" fmla="*/ 29 h 190"/>
                <a:gd name="T14" fmla="*/ 141 w 221"/>
                <a:gd name="T15" fmla="*/ 34 h 190"/>
                <a:gd name="T16" fmla="*/ 134 w 221"/>
                <a:gd name="T17" fmla="*/ 28 h 190"/>
                <a:gd name="T18" fmla="*/ 127 w 221"/>
                <a:gd name="T19" fmla="*/ 28 h 190"/>
                <a:gd name="T20" fmla="*/ 115 w 221"/>
                <a:gd name="T21" fmla="*/ 25 h 190"/>
                <a:gd name="T22" fmla="*/ 111 w 221"/>
                <a:gd name="T23" fmla="*/ 25 h 190"/>
                <a:gd name="T24" fmla="*/ 101 w 221"/>
                <a:gd name="T25" fmla="*/ 23 h 190"/>
                <a:gd name="T26" fmla="*/ 89 w 221"/>
                <a:gd name="T27" fmla="*/ 28 h 190"/>
                <a:gd name="T28" fmla="*/ 75 w 221"/>
                <a:gd name="T29" fmla="*/ 47 h 190"/>
                <a:gd name="T30" fmla="*/ 51 w 221"/>
                <a:gd name="T31" fmla="*/ 58 h 190"/>
                <a:gd name="T32" fmla="*/ 44 w 221"/>
                <a:gd name="T33" fmla="*/ 68 h 190"/>
                <a:gd name="T34" fmla="*/ 32 w 221"/>
                <a:gd name="T35" fmla="*/ 73 h 190"/>
                <a:gd name="T36" fmla="*/ 25 w 221"/>
                <a:gd name="T37" fmla="*/ 67 h 190"/>
                <a:gd name="T38" fmla="*/ 16 w 221"/>
                <a:gd name="T39" fmla="*/ 64 h 190"/>
                <a:gd name="T40" fmla="*/ 10 w 221"/>
                <a:gd name="T41" fmla="*/ 77 h 190"/>
                <a:gd name="T42" fmla="*/ 7 w 221"/>
                <a:gd name="T43" fmla="*/ 87 h 190"/>
                <a:gd name="T44" fmla="*/ 2 w 221"/>
                <a:gd name="T45" fmla="*/ 102 h 190"/>
                <a:gd name="T46" fmla="*/ 7 w 221"/>
                <a:gd name="T47" fmla="*/ 107 h 190"/>
                <a:gd name="T48" fmla="*/ 6 w 221"/>
                <a:gd name="T49" fmla="*/ 129 h 190"/>
                <a:gd name="T50" fmla="*/ 6 w 221"/>
                <a:gd name="T51" fmla="*/ 142 h 190"/>
                <a:gd name="T52" fmla="*/ 7 w 221"/>
                <a:gd name="T53" fmla="*/ 146 h 190"/>
                <a:gd name="T54" fmla="*/ 23 w 221"/>
                <a:gd name="T55" fmla="*/ 164 h 190"/>
                <a:gd name="T56" fmla="*/ 38 w 221"/>
                <a:gd name="T57" fmla="*/ 189 h 190"/>
                <a:gd name="T58" fmla="*/ 47 w 221"/>
                <a:gd name="T59" fmla="*/ 189 h 190"/>
                <a:gd name="T60" fmla="*/ 58 w 221"/>
                <a:gd name="T61" fmla="*/ 188 h 190"/>
                <a:gd name="T62" fmla="*/ 65 w 221"/>
                <a:gd name="T63" fmla="*/ 190 h 190"/>
                <a:gd name="T64" fmla="*/ 91 w 221"/>
                <a:gd name="T65" fmla="*/ 184 h 190"/>
                <a:gd name="T66" fmla="*/ 106 w 221"/>
                <a:gd name="T67" fmla="*/ 180 h 190"/>
                <a:gd name="T68" fmla="*/ 107 w 221"/>
                <a:gd name="T69" fmla="*/ 161 h 190"/>
                <a:gd name="T70" fmla="*/ 115 w 221"/>
                <a:gd name="T71" fmla="*/ 152 h 190"/>
                <a:gd name="T72" fmla="*/ 121 w 221"/>
                <a:gd name="T73" fmla="*/ 150 h 190"/>
                <a:gd name="T74" fmla="*/ 128 w 221"/>
                <a:gd name="T75" fmla="*/ 152 h 190"/>
                <a:gd name="T76" fmla="*/ 138 w 221"/>
                <a:gd name="T77" fmla="*/ 143 h 190"/>
                <a:gd name="T78" fmla="*/ 146 w 221"/>
                <a:gd name="T79" fmla="*/ 140 h 190"/>
                <a:gd name="T80" fmla="*/ 153 w 221"/>
                <a:gd name="T81" fmla="*/ 140 h 190"/>
                <a:gd name="T82" fmla="*/ 158 w 221"/>
                <a:gd name="T83" fmla="*/ 142 h 190"/>
                <a:gd name="T84" fmla="*/ 162 w 221"/>
                <a:gd name="T85" fmla="*/ 126 h 190"/>
                <a:gd name="T86" fmla="*/ 166 w 221"/>
                <a:gd name="T87" fmla="*/ 120 h 190"/>
                <a:gd name="T88" fmla="*/ 173 w 221"/>
                <a:gd name="T89" fmla="*/ 112 h 190"/>
                <a:gd name="T90" fmla="*/ 178 w 221"/>
                <a:gd name="T91" fmla="*/ 102 h 190"/>
                <a:gd name="T92" fmla="*/ 175 w 221"/>
                <a:gd name="T93" fmla="*/ 93 h 190"/>
                <a:gd name="T94" fmla="*/ 189 w 221"/>
                <a:gd name="T95" fmla="*/ 94 h 190"/>
                <a:gd name="T96" fmla="*/ 198 w 221"/>
                <a:gd name="T97" fmla="*/ 89 h 190"/>
                <a:gd name="T98" fmla="*/ 202 w 221"/>
                <a:gd name="T99" fmla="*/ 74 h 190"/>
                <a:gd name="T100" fmla="*/ 206 w 221"/>
                <a:gd name="T101" fmla="*/ 68 h 190"/>
                <a:gd name="T102" fmla="*/ 204 w 221"/>
                <a:gd name="T103" fmla="*/ 60 h 190"/>
                <a:gd name="T104" fmla="*/ 200 w 221"/>
                <a:gd name="T105" fmla="*/ 53 h 190"/>
                <a:gd name="T106" fmla="*/ 210 w 221"/>
                <a:gd name="T107" fmla="*/ 40 h 190"/>
                <a:gd name="T108" fmla="*/ 221 w 221"/>
                <a:gd name="T109" fmla="*/ 35 h 190"/>
                <a:gd name="T110" fmla="*/ 209 w 221"/>
                <a:gd name="T111" fmla="*/ 39 h 190"/>
                <a:gd name="T112" fmla="*/ 204 w 221"/>
                <a:gd name="T113" fmla="*/ 25 h 190"/>
                <a:gd name="T114" fmla="*/ 202 w 221"/>
                <a:gd name="T115" fmla="*/ 11 h 190"/>
                <a:gd name="T116" fmla="*/ 200 w 221"/>
                <a:gd name="T117" fmla="*/ 4 h 1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1" h="190">
                  <a:moveTo>
                    <a:pt x="197" y="0"/>
                  </a:moveTo>
                  <a:cubicBezTo>
                    <a:pt x="196" y="0"/>
                    <a:pt x="196" y="0"/>
                    <a:pt x="196" y="0"/>
                  </a:cubicBezTo>
                  <a:cubicBezTo>
                    <a:pt x="195" y="0"/>
                    <a:pt x="194" y="1"/>
                    <a:pt x="194" y="1"/>
                  </a:cubicBezTo>
                  <a:cubicBezTo>
                    <a:pt x="192" y="2"/>
                    <a:pt x="191" y="4"/>
                    <a:pt x="190" y="5"/>
                  </a:cubicBezTo>
                  <a:cubicBezTo>
                    <a:pt x="189" y="6"/>
                    <a:pt x="188" y="7"/>
                    <a:pt x="187" y="8"/>
                  </a:cubicBezTo>
                  <a:cubicBezTo>
                    <a:pt x="186" y="9"/>
                    <a:pt x="186" y="9"/>
                    <a:pt x="186" y="9"/>
                  </a:cubicBezTo>
                  <a:cubicBezTo>
                    <a:pt x="186" y="10"/>
                    <a:pt x="185" y="10"/>
                    <a:pt x="184" y="11"/>
                  </a:cubicBezTo>
                  <a:cubicBezTo>
                    <a:pt x="184" y="11"/>
                    <a:pt x="184" y="11"/>
                    <a:pt x="184" y="11"/>
                  </a:cubicBezTo>
                  <a:cubicBezTo>
                    <a:pt x="184" y="11"/>
                    <a:pt x="184" y="11"/>
                    <a:pt x="184" y="11"/>
                  </a:cubicBezTo>
                  <a:cubicBezTo>
                    <a:pt x="185" y="12"/>
                    <a:pt x="185" y="13"/>
                    <a:pt x="186" y="14"/>
                  </a:cubicBezTo>
                  <a:cubicBezTo>
                    <a:pt x="186" y="14"/>
                    <a:pt x="186" y="15"/>
                    <a:pt x="186" y="15"/>
                  </a:cubicBezTo>
                  <a:cubicBezTo>
                    <a:pt x="186" y="16"/>
                    <a:pt x="185" y="17"/>
                    <a:pt x="185" y="18"/>
                  </a:cubicBezTo>
                  <a:cubicBezTo>
                    <a:pt x="184" y="19"/>
                    <a:pt x="184" y="19"/>
                    <a:pt x="183" y="20"/>
                  </a:cubicBezTo>
                  <a:cubicBezTo>
                    <a:pt x="183" y="20"/>
                    <a:pt x="183" y="20"/>
                    <a:pt x="183" y="20"/>
                  </a:cubicBezTo>
                  <a:cubicBezTo>
                    <a:pt x="183" y="24"/>
                    <a:pt x="183" y="24"/>
                    <a:pt x="183" y="24"/>
                  </a:cubicBezTo>
                  <a:cubicBezTo>
                    <a:pt x="181" y="20"/>
                    <a:pt x="181" y="20"/>
                    <a:pt x="181" y="20"/>
                  </a:cubicBezTo>
                  <a:cubicBezTo>
                    <a:pt x="181" y="20"/>
                    <a:pt x="181" y="20"/>
                    <a:pt x="181" y="20"/>
                  </a:cubicBezTo>
                  <a:cubicBezTo>
                    <a:pt x="181" y="21"/>
                    <a:pt x="180" y="21"/>
                    <a:pt x="180" y="21"/>
                  </a:cubicBezTo>
                  <a:cubicBezTo>
                    <a:pt x="180" y="21"/>
                    <a:pt x="180" y="21"/>
                    <a:pt x="180" y="21"/>
                  </a:cubicBezTo>
                  <a:cubicBezTo>
                    <a:pt x="179" y="21"/>
                    <a:pt x="177" y="20"/>
                    <a:pt x="176" y="20"/>
                  </a:cubicBezTo>
                  <a:cubicBezTo>
                    <a:pt x="176" y="20"/>
                    <a:pt x="175" y="20"/>
                    <a:pt x="175" y="20"/>
                  </a:cubicBezTo>
                  <a:cubicBezTo>
                    <a:pt x="174" y="20"/>
                    <a:pt x="172" y="20"/>
                    <a:pt x="171" y="20"/>
                  </a:cubicBezTo>
                  <a:cubicBezTo>
                    <a:pt x="171" y="20"/>
                    <a:pt x="171" y="20"/>
                    <a:pt x="171" y="20"/>
                  </a:cubicBezTo>
                  <a:cubicBezTo>
                    <a:pt x="171" y="20"/>
                    <a:pt x="170" y="21"/>
                    <a:pt x="170" y="22"/>
                  </a:cubicBezTo>
                  <a:cubicBezTo>
                    <a:pt x="170" y="24"/>
                    <a:pt x="170" y="24"/>
                    <a:pt x="170" y="24"/>
                  </a:cubicBezTo>
                  <a:cubicBezTo>
                    <a:pt x="170" y="25"/>
                    <a:pt x="170" y="25"/>
                    <a:pt x="170" y="25"/>
                  </a:cubicBezTo>
                  <a:cubicBezTo>
                    <a:pt x="170" y="25"/>
                    <a:pt x="169" y="26"/>
                    <a:pt x="169" y="26"/>
                  </a:cubicBezTo>
                  <a:cubicBezTo>
                    <a:pt x="169" y="27"/>
                    <a:pt x="169" y="28"/>
                    <a:pt x="168" y="28"/>
                  </a:cubicBezTo>
                  <a:cubicBezTo>
                    <a:pt x="172" y="31"/>
                    <a:pt x="172" y="31"/>
                    <a:pt x="172" y="31"/>
                  </a:cubicBezTo>
                  <a:cubicBezTo>
                    <a:pt x="168" y="29"/>
                    <a:pt x="168" y="29"/>
                    <a:pt x="168" y="29"/>
                  </a:cubicBezTo>
                  <a:cubicBezTo>
                    <a:pt x="167" y="29"/>
                    <a:pt x="167" y="30"/>
                    <a:pt x="166" y="30"/>
                  </a:cubicBezTo>
                  <a:cubicBezTo>
                    <a:pt x="165" y="30"/>
                    <a:pt x="165" y="30"/>
                    <a:pt x="165" y="30"/>
                  </a:cubicBezTo>
                  <a:cubicBezTo>
                    <a:pt x="164" y="30"/>
                    <a:pt x="164" y="30"/>
                    <a:pt x="163" y="30"/>
                  </a:cubicBezTo>
                  <a:cubicBezTo>
                    <a:pt x="162" y="29"/>
                    <a:pt x="161" y="28"/>
                    <a:pt x="160" y="28"/>
                  </a:cubicBezTo>
                  <a:cubicBezTo>
                    <a:pt x="158" y="26"/>
                    <a:pt x="158" y="26"/>
                    <a:pt x="158" y="26"/>
                  </a:cubicBezTo>
                  <a:cubicBezTo>
                    <a:pt x="158" y="26"/>
                    <a:pt x="158" y="26"/>
                    <a:pt x="158" y="26"/>
                  </a:cubicBezTo>
                  <a:cubicBezTo>
                    <a:pt x="158" y="26"/>
                    <a:pt x="157" y="26"/>
                    <a:pt x="157" y="26"/>
                  </a:cubicBezTo>
                  <a:cubicBezTo>
                    <a:pt x="156" y="26"/>
                    <a:pt x="156" y="26"/>
                    <a:pt x="156" y="26"/>
                  </a:cubicBezTo>
                  <a:cubicBezTo>
                    <a:pt x="156" y="26"/>
                    <a:pt x="156" y="26"/>
                    <a:pt x="156" y="26"/>
                  </a:cubicBezTo>
                  <a:cubicBezTo>
                    <a:pt x="155" y="27"/>
                    <a:pt x="155" y="27"/>
                    <a:pt x="154" y="27"/>
                  </a:cubicBezTo>
                  <a:cubicBezTo>
                    <a:pt x="153" y="28"/>
                    <a:pt x="151" y="29"/>
                    <a:pt x="149" y="29"/>
                  </a:cubicBezTo>
                  <a:cubicBezTo>
                    <a:pt x="149" y="29"/>
                    <a:pt x="149" y="29"/>
                    <a:pt x="149" y="29"/>
                  </a:cubicBezTo>
                  <a:cubicBezTo>
                    <a:pt x="148" y="30"/>
                    <a:pt x="148" y="30"/>
                    <a:pt x="148" y="30"/>
                  </a:cubicBezTo>
                  <a:cubicBezTo>
                    <a:pt x="146" y="31"/>
                    <a:pt x="145" y="31"/>
                    <a:pt x="145" y="32"/>
                  </a:cubicBezTo>
                  <a:cubicBezTo>
                    <a:pt x="145" y="32"/>
                    <a:pt x="145" y="32"/>
                    <a:pt x="145" y="32"/>
                  </a:cubicBezTo>
                  <a:cubicBezTo>
                    <a:pt x="145" y="33"/>
                    <a:pt x="145" y="33"/>
                    <a:pt x="145" y="33"/>
                  </a:cubicBezTo>
                  <a:cubicBezTo>
                    <a:pt x="144" y="32"/>
                    <a:pt x="144" y="32"/>
                    <a:pt x="144" y="32"/>
                  </a:cubicBezTo>
                  <a:cubicBezTo>
                    <a:pt x="143" y="33"/>
                    <a:pt x="142" y="34"/>
                    <a:pt x="141" y="34"/>
                  </a:cubicBezTo>
                  <a:cubicBezTo>
                    <a:pt x="140" y="34"/>
                    <a:pt x="140" y="34"/>
                    <a:pt x="140" y="34"/>
                  </a:cubicBezTo>
                  <a:cubicBezTo>
                    <a:pt x="139" y="34"/>
                    <a:pt x="139" y="33"/>
                    <a:pt x="138" y="32"/>
                  </a:cubicBezTo>
                  <a:cubicBezTo>
                    <a:pt x="135" y="30"/>
                    <a:pt x="135" y="30"/>
                    <a:pt x="135" y="30"/>
                  </a:cubicBezTo>
                  <a:cubicBezTo>
                    <a:pt x="135" y="30"/>
                    <a:pt x="134" y="29"/>
                    <a:pt x="134" y="29"/>
                  </a:cubicBezTo>
                  <a:cubicBezTo>
                    <a:pt x="134" y="29"/>
                    <a:pt x="134" y="29"/>
                    <a:pt x="134" y="29"/>
                  </a:cubicBezTo>
                  <a:cubicBezTo>
                    <a:pt x="134" y="28"/>
                    <a:pt x="134" y="28"/>
                    <a:pt x="134" y="28"/>
                  </a:cubicBezTo>
                  <a:cubicBezTo>
                    <a:pt x="133" y="28"/>
                    <a:pt x="133" y="28"/>
                    <a:pt x="133" y="28"/>
                  </a:cubicBezTo>
                  <a:cubicBezTo>
                    <a:pt x="133" y="28"/>
                    <a:pt x="132" y="28"/>
                    <a:pt x="132" y="28"/>
                  </a:cubicBezTo>
                  <a:cubicBezTo>
                    <a:pt x="131" y="28"/>
                    <a:pt x="130" y="29"/>
                    <a:pt x="130" y="29"/>
                  </a:cubicBezTo>
                  <a:cubicBezTo>
                    <a:pt x="130" y="29"/>
                    <a:pt x="130" y="29"/>
                    <a:pt x="130" y="29"/>
                  </a:cubicBezTo>
                  <a:cubicBezTo>
                    <a:pt x="129" y="29"/>
                    <a:pt x="128" y="28"/>
                    <a:pt x="127" y="28"/>
                  </a:cubicBezTo>
                  <a:cubicBezTo>
                    <a:pt x="127" y="28"/>
                    <a:pt x="127" y="28"/>
                    <a:pt x="127" y="28"/>
                  </a:cubicBezTo>
                  <a:cubicBezTo>
                    <a:pt x="125" y="28"/>
                    <a:pt x="124" y="27"/>
                    <a:pt x="123" y="27"/>
                  </a:cubicBezTo>
                  <a:cubicBezTo>
                    <a:pt x="122" y="26"/>
                    <a:pt x="122" y="26"/>
                    <a:pt x="122" y="26"/>
                  </a:cubicBezTo>
                  <a:cubicBezTo>
                    <a:pt x="122" y="25"/>
                    <a:pt x="121" y="25"/>
                    <a:pt x="120" y="25"/>
                  </a:cubicBezTo>
                  <a:cubicBezTo>
                    <a:pt x="120" y="25"/>
                    <a:pt x="119" y="25"/>
                    <a:pt x="118" y="25"/>
                  </a:cubicBezTo>
                  <a:cubicBezTo>
                    <a:pt x="115" y="24"/>
                    <a:pt x="115" y="24"/>
                    <a:pt x="115" y="24"/>
                  </a:cubicBezTo>
                  <a:cubicBezTo>
                    <a:pt x="115" y="25"/>
                    <a:pt x="115" y="25"/>
                    <a:pt x="115" y="25"/>
                  </a:cubicBezTo>
                  <a:cubicBezTo>
                    <a:pt x="113" y="25"/>
                    <a:pt x="113" y="25"/>
                    <a:pt x="113" y="25"/>
                  </a:cubicBezTo>
                  <a:cubicBezTo>
                    <a:pt x="113" y="25"/>
                    <a:pt x="113" y="25"/>
                    <a:pt x="113" y="25"/>
                  </a:cubicBezTo>
                  <a:cubicBezTo>
                    <a:pt x="112" y="25"/>
                    <a:pt x="112" y="25"/>
                    <a:pt x="112" y="25"/>
                  </a:cubicBezTo>
                  <a:cubicBezTo>
                    <a:pt x="111" y="25"/>
                    <a:pt x="111" y="25"/>
                    <a:pt x="111" y="25"/>
                  </a:cubicBezTo>
                  <a:cubicBezTo>
                    <a:pt x="111" y="25"/>
                    <a:pt x="111" y="25"/>
                    <a:pt x="111" y="25"/>
                  </a:cubicBezTo>
                  <a:cubicBezTo>
                    <a:pt x="111" y="25"/>
                    <a:pt x="111" y="25"/>
                    <a:pt x="111" y="25"/>
                  </a:cubicBezTo>
                  <a:cubicBezTo>
                    <a:pt x="110" y="25"/>
                    <a:pt x="109" y="25"/>
                    <a:pt x="108" y="25"/>
                  </a:cubicBezTo>
                  <a:cubicBezTo>
                    <a:pt x="108" y="25"/>
                    <a:pt x="108" y="25"/>
                    <a:pt x="108" y="25"/>
                  </a:cubicBezTo>
                  <a:cubicBezTo>
                    <a:pt x="107" y="25"/>
                    <a:pt x="106" y="25"/>
                    <a:pt x="105" y="24"/>
                  </a:cubicBezTo>
                  <a:cubicBezTo>
                    <a:pt x="105" y="24"/>
                    <a:pt x="105" y="24"/>
                    <a:pt x="105" y="24"/>
                  </a:cubicBezTo>
                  <a:cubicBezTo>
                    <a:pt x="104" y="24"/>
                    <a:pt x="104" y="24"/>
                    <a:pt x="103" y="23"/>
                  </a:cubicBezTo>
                  <a:cubicBezTo>
                    <a:pt x="101" y="23"/>
                    <a:pt x="101" y="23"/>
                    <a:pt x="101" y="23"/>
                  </a:cubicBezTo>
                  <a:cubicBezTo>
                    <a:pt x="101" y="22"/>
                    <a:pt x="100" y="22"/>
                    <a:pt x="100" y="22"/>
                  </a:cubicBezTo>
                  <a:cubicBezTo>
                    <a:pt x="99" y="21"/>
                    <a:pt x="99" y="21"/>
                    <a:pt x="99" y="21"/>
                  </a:cubicBezTo>
                  <a:cubicBezTo>
                    <a:pt x="98" y="22"/>
                    <a:pt x="98" y="22"/>
                    <a:pt x="98" y="22"/>
                  </a:cubicBezTo>
                  <a:cubicBezTo>
                    <a:pt x="97" y="24"/>
                    <a:pt x="95" y="26"/>
                    <a:pt x="93" y="27"/>
                  </a:cubicBezTo>
                  <a:cubicBezTo>
                    <a:pt x="93" y="27"/>
                    <a:pt x="92" y="27"/>
                    <a:pt x="91" y="28"/>
                  </a:cubicBezTo>
                  <a:cubicBezTo>
                    <a:pt x="90" y="28"/>
                    <a:pt x="90" y="28"/>
                    <a:pt x="89" y="28"/>
                  </a:cubicBezTo>
                  <a:cubicBezTo>
                    <a:pt x="89" y="28"/>
                    <a:pt x="89" y="28"/>
                    <a:pt x="89" y="28"/>
                  </a:cubicBezTo>
                  <a:cubicBezTo>
                    <a:pt x="78" y="38"/>
                    <a:pt x="78" y="38"/>
                    <a:pt x="78" y="38"/>
                  </a:cubicBezTo>
                  <a:cubicBezTo>
                    <a:pt x="78" y="38"/>
                    <a:pt x="78" y="38"/>
                    <a:pt x="78" y="38"/>
                  </a:cubicBezTo>
                  <a:cubicBezTo>
                    <a:pt x="78" y="39"/>
                    <a:pt x="78" y="39"/>
                    <a:pt x="78" y="40"/>
                  </a:cubicBezTo>
                  <a:cubicBezTo>
                    <a:pt x="78" y="42"/>
                    <a:pt x="78" y="45"/>
                    <a:pt x="75" y="47"/>
                  </a:cubicBezTo>
                  <a:cubicBezTo>
                    <a:pt x="75" y="47"/>
                    <a:pt x="75" y="47"/>
                    <a:pt x="75" y="47"/>
                  </a:cubicBezTo>
                  <a:cubicBezTo>
                    <a:pt x="73" y="49"/>
                    <a:pt x="71" y="50"/>
                    <a:pt x="68" y="51"/>
                  </a:cubicBezTo>
                  <a:cubicBezTo>
                    <a:pt x="67" y="52"/>
                    <a:pt x="65" y="53"/>
                    <a:pt x="62" y="54"/>
                  </a:cubicBezTo>
                  <a:cubicBezTo>
                    <a:pt x="60" y="54"/>
                    <a:pt x="60" y="54"/>
                    <a:pt x="60" y="54"/>
                  </a:cubicBezTo>
                  <a:cubicBezTo>
                    <a:pt x="59" y="55"/>
                    <a:pt x="57" y="56"/>
                    <a:pt x="56" y="56"/>
                  </a:cubicBezTo>
                  <a:cubicBezTo>
                    <a:pt x="55" y="57"/>
                    <a:pt x="53" y="57"/>
                    <a:pt x="52" y="57"/>
                  </a:cubicBezTo>
                  <a:cubicBezTo>
                    <a:pt x="51" y="58"/>
                    <a:pt x="51" y="58"/>
                    <a:pt x="51" y="58"/>
                  </a:cubicBezTo>
                  <a:cubicBezTo>
                    <a:pt x="51" y="58"/>
                    <a:pt x="51" y="58"/>
                    <a:pt x="51" y="58"/>
                  </a:cubicBezTo>
                  <a:cubicBezTo>
                    <a:pt x="52" y="60"/>
                    <a:pt x="50" y="61"/>
                    <a:pt x="49" y="63"/>
                  </a:cubicBezTo>
                  <a:cubicBezTo>
                    <a:pt x="49" y="64"/>
                    <a:pt x="49" y="64"/>
                    <a:pt x="49" y="64"/>
                  </a:cubicBezTo>
                  <a:cubicBezTo>
                    <a:pt x="48" y="65"/>
                    <a:pt x="46" y="67"/>
                    <a:pt x="44" y="68"/>
                  </a:cubicBezTo>
                  <a:cubicBezTo>
                    <a:pt x="44" y="68"/>
                    <a:pt x="44" y="68"/>
                    <a:pt x="44" y="68"/>
                  </a:cubicBezTo>
                  <a:cubicBezTo>
                    <a:pt x="44" y="68"/>
                    <a:pt x="44" y="68"/>
                    <a:pt x="44" y="68"/>
                  </a:cubicBezTo>
                  <a:cubicBezTo>
                    <a:pt x="43" y="69"/>
                    <a:pt x="42" y="69"/>
                    <a:pt x="42" y="69"/>
                  </a:cubicBezTo>
                  <a:cubicBezTo>
                    <a:pt x="41" y="69"/>
                    <a:pt x="40" y="69"/>
                    <a:pt x="40" y="69"/>
                  </a:cubicBezTo>
                  <a:cubicBezTo>
                    <a:pt x="38" y="69"/>
                    <a:pt x="38" y="69"/>
                    <a:pt x="38" y="69"/>
                  </a:cubicBezTo>
                  <a:cubicBezTo>
                    <a:pt x="37" y="70"/>
                    <a:pt x="36" y="70"/>
                    <a:pt x="35" y="71"/>
                  </a:cubicBezTo>
                  <a:cubicBezTo>
                    <a:pt x="35" y="71"/>
                    <a:pt x="35" y="71"/>
                    <a:pt x="35" y="71"/>
                  </a:cubicBezTo>
                  <a:cubicBezTo>
                    <a:pt x="34" y="72"/>
                    <a:pt x="34" y="72"/>
                    <a:pt x="32" y="73"/>
                  </a:cubicBezTo>
                  <a:cubicBezTo>
                    <a:pt x="32" y="73"/>
                    <a:pt x="32" y="73"/>
                    <a:pt x="32" y="73"/>
                  </a:cubicBezTo>
                  <a:cubicBezTo>
                    <a:pt x="31" y="73"/>
                    <a:pt x="30" y="72"/>
                    <a:pt x="28" y="70"/>
                  </a:cubicBezTo>
                  <a:cubicBezTo>
                    <a:pt x="27" y="69"/>
                    <a:pt x="27" y="69"/>
                    <a:pt x="27" y="69"/>
                  </a:cubicBezTo>
                  <a:cubicBezTo>
                    <a:pt x="26" y="68"/>
                    <a:pt x="26" y="68"/>
                    <a:pt x="26" y="68"/>
                  </a:cubicBezTo>
                  <a:cubicBezTo>
                    <a:pt x="26" y="68"/>
                    <a:pt x="26" y="68"/>
                    <a:pt x="26" y="68"/>
                  </a:cubicBezTo>
                  <a:cubicBezTo>
                    <a:pt x="25" y="67"/>
                    <a:pt x="25" y="67"/>
                    <a:pt x="25" y="67"/>
                  </a:cubicBezTo>
                  <a:cubicBezTo>
                    <a:pt x="25" y="67"/>
                    <a:pt x="25" y="67"/>
                    <a:pt x="25" y="67"/>
                  </a:cubicBezTo>
                  <a:cubicBezTo>
                    <a:pt x="24" y="66"/>
                    <a:pt x="23" y="66"/>
                    <a:pt x="22" y="65"/>
                  </a:cubicBezTo>
                  <a:cubicBezTo>
                    <a:pt x="22" y="65"/>
                    <a:pt x="22" y="65"/>
                    <a:pt x="22" y="65"/>
                  </a:cubicBezTo>
                  <a:cubicBezTo>
                    <a:pt x="21" y="65"/>
                    <a:pt x="21" y="65"/>
                    <a:pt x="20" y="65"/>
                  </a:cubicBezTo>
                  <a:cubicBezTo>
                    <a:pt x="19" y="65"/>
                    <a:pt x="18" y="65"/>
                    <a:pt x="17" y="65"/>
                  </a:cubicBezTo>
                  <a:cubicBezTo>
                    <a:pt x="16" y="64"/>
                    <a:pt x="16" y="64"/>
                    <a:pt x="16" y="64"/>
                  </a:cubicBezTo>
                  <a:cubicBezTo>
                    <a:pt x="15" y="64"/>
                    <a:pt x="15" y="64"/>
                    <a:pt x="15" y="64"/>
                  </a:cubicBezTo>
                  <a:cubicBezTo>
                    <a:pt x="13" y="67"/>
                    <a:pt x="13" y="67"/>
                    <a:pt x="13" y="67"/>
                  </a:cubicBezTo>
                  <a:cubicBezTo>
                    <a:pt x="11" y="72"/>
                    <a:pt x="11" y="72"/>
                    <a:pt x="11" y="72"/>
                  </a:cubicBezTo>
                  <a:cubicBezTo>
                    <a:pt x="11" y="73"/>
                    <a:pt x="11" y="73"/>
                    <a:pt x="11" y="74"/>
                  </a:cubicBezTo>
                  <a:cubicBezTo>
                    <a:pt x="11" y="76"/>
                    <a:pt x="11" y="76"/>
                    <a:pt x="11" y="76"/>
                  </a:cubicBezTo>
                  <a:cubicBezTo>
                    <a:pt x="10" y="77"/>
                    <a:pt x="10" y="77"/>
                    <a:pt x="10" y="77"/>
                  </a:cubicBezTo>
                  <a:cubicBezTo>
                    <a:pt x="10" y="77"/>
                    <a:pt x="10" y="77"/>
                    <a:pt x="10" y="77"/>
                  </a:cubicBezTo>
                  <a:cubicBezTo>
                    <a:pt x="10" y="79"/>
                    <a:pt x="9" y="80"/>
                    <a:pt x="7" y="82"/>
                  </a:cubicBezTo>
                  <a:cubicBezTo>
                    <a:pt x="6" y="83"/>
                    <a:pt x="6" y="83"/>
                    <a:pt x="6" y="83"/>
                  </a:cubicBezTo>
                  <a:cubicBezTo>
                    <a:pt x="6" y="83"/>
                    <a:pt x="5" y="84"/>
                    <a:pt x="5" y="84"/>
                  </a:cubicBezTo>
                  <a:cubicBezTo>
                    <a:pt x="5" y="84"/>
                    <a:pt x="6" y="85"/>
                    <a:pt x="6" y="86"/>
                  </a:cubicBezTo>
                  <a:cubicBezTo>
                    <a:pt x="7" y="87"/>
                    <a:pt x="7" y="87"/>
                    <a:pt x="7" y="87"/>
                  </a:cubicBezTo>
                  <a:cubicBezTo>
                    <a:pt x="0" y="95"/>
                    <a:pt x="0" y="95"/>
                    <a:pt x="0" y="95"/>
                  </a:cubicBezTo>
                  <a:cubicBezTo>
                    <a:pt x="0" y="95"/>
                    <a:pt x="0" y="96"/>
                    <a:pt x="0" y="98"/>
                  </a:cubicBezTo>
                  <a:cubicBezTo>
                    <a:pt x="0" y="99"/>
                    <a:pt x="0" y="100"/>
                    <a:pt x="0" y="100"/>
                  </a:cubicBezTo>
                  <a:cubicBezTo>
                    <a:pt x="0" y="101"/>
                    <a:pt x="0" y="101"/>
                    <a:pt x="0" y="101"/>
                  </a:cubicBezTo>
                  <a:cubicBezTo>
                    <a:pt x="0" y="102"/>
                    <a:pt x="0" y="102"/>
                    <a:pt x="0" y="102"/>
                  </a:cubicBezTo>
                  <a:cubicBezTo>
                    <a:pt x="0" y="102"/>
                    <a:pt x="1" y="102"/>
                    <a:pt x="2" y="102"/>
                  </a:cubicBezTo>
                  <a:cubicBezTo>
                    <a:pt x="2" y="102"/>
                    <a:pt x="2" y="102"/>
                    <a:pt x="2" y="102"/>
                  </a:cubicBezTo>
                  <a:cubicBezTo>
                    <a:pt x="3" y="102"/>
                    <a:pt x="3" y="103"/>
                    <a:pt x="4" y="103"/>
                  </a:cubicBezTo>
                  <a:cubicBezTo>
                    <a:pt x="4" y="103"/>
                    <a:pt x="4" y="103"/>
                    <a:pt x="4" y="103"/>
                  </a:cubicBezTo>
                  <a:cubicBezTo>
                    <a:pt x="5" y="103"/>
                    <a:pt x="6" y="103"/>
                    <a:pt x="6" y="103"/>
                  </a:cubicBezTo>
                  <a:cubicBezTo>
                    <a:pt x="10" y="104"/>
                    <a:pt x="10" y="104"/>
                    <a:pt x="10" y="104"/>
                  </a:cubicBezTo>
                  <a:cubicBezTo>
                    <a:pt x="7" y="107"/>
                    <a:pt x="7" y="107"/>
                    <a:pt x="7" y="107"/>
                  </a:cubicBezTo>
                  <a:cubicBezTo>
                    <a:pt x="7" y="108"/>
                    <a:pt x="6" y="108"/>
                    <a:pt x="6" y="109"/>
                  </a:cubicBezTo>
                  <a:cubicBezTo>
                    <a:pt x="5" y="109"/>
                    <a:pt x="5" y="109"/>
                    <a:pt x="5" y="109"/>
                  </a:cubicBezTo>
                  <a:cubicBezTo>
                    <a:pt x="3" y="111"/>
                    <a:pt x="2" y="113"/>
                    <a:pt x="1" y="114"/>
                  </a:cubicBezTo>
                  <a:cubicBezTo>
                    <a:pt x="5" y="126"/>
                    <a:pt x="5" y="126"/>
                    <a:pt x="5" y="126"/>
                  </a:cubicBezTo>
                  <a:cubicBezTo>
                    <a:pt x="5" y="127"/>
                    <a:pt x="5" y="127"/>
                    <a:pt x="5" y="127"/>
                  </a:cubicBezTo>
                  <a:cubicBezTo>
                    <a:pt x="6" y="129"/>
                    <a:pt x="6" y="129"/>
                    <a:pt x="6" y="129"/>
                  </a:cubicBezTo>
                  <a:cubicBezTo>
                    <a:pt x="6" y="130"/>
                    <a:pt x="6" y="131"/>
                    <a:pt x="6" y="131"/>
                  </a:cubicBezTo>
                  <a:cubicBezTo>
                    <a:pt x="6" y="133"/>
                    <a:pt x="6" y="135"/>
                    <a:pt x="6" y="136"/>
                  </a:cubicBezTo>
                  <a:cubicBezTo>
                    <a:pt x="6" y="137"/>
                    <a:pt x="6" y="138"/>
                    <a:pt x="6" y="139"/>
                  </a:cubicBezTo>
                  <a:cubicBezTo>
                    <a:pt x="6" y="140"/>
                    <a:pt x="6" y="140"/>
                    <a:pt x="6" y="140"/>
                  </a:cubicBezTo>
                  <a:cubicBezTo>
                    <a:pt x="6" y="140"/>
                    <a:pt x="6" y="141"/>
                    <a:pt x="6" y="141"/>
                  </a:cubicBezTo>
                  <a:cubicBezTo>
                    <a:pt x="6" y="142"/>
                    <a:pt x="6" y="142"/>
                    <a:pt x="6" y="142"/>
                  </a:cubicBezTo>
                  <a:cubicBezTo>
                    <a:pt x="10" y="141"/>
                    <a:pt x="10" y="141"/>
                    <a:pt x="10" y="141"/>
                  </a:cubicBezTo>
                  <a:cubicBezTo>
                    <a:pt x="6" y="143"/>
                    <a:pt x="6" y="143"/>
                    <a:pt x="6" y="143"/>
                  </a:cubicBezTo>
                  <a:cubicBezTo>
                    <a:pt x="6" y="143"/>
                    <a:pt x="6" y="143"/>
                    <a:pt x="6" y="143"/>
                  </a:cubicBezTo>
                  <a:cubicBezTo>
                    <a:pt x="6" y="144"/>
                    <a:pt x="6" y="144"/>
                    <a:pt x="6" y="145"/>
                  </a:cubicBezTo>
                  <a:cubicBezTo>
                    <a:pt x="6" y="145"/>
                    <a:pt x="6" y="146"/>
                    <a:pt x="6" y="146"/>
                  </a:cubicBezTo>
                  <a:cubicBezTo>
                    <a:pt x="7" y="146"/>
                    <a:pt x="7" y="146"/>
                    <a:pt x="7" y="146"/>
                  </a:cubicBezTo>
                  <a:cubicBezTo>
                    <a:pt x="17" y="148"/>
                    <a:pt x="17" y="148"/>
                    <a:pt x="17" y="148"/>
                  </a:cubicBezTo>
                  <a:cubicBezTo>
                    <a:pt x="19" y="148"/>
                    <a:pt x="20" y="149"/>
                    <a:pt x="21" y="150"/>
                  </a:cubicBezTo>
                  <a:cubicBezTo>
                    <a:pt x="23" y="153"/>
                    <a:pt x="23" y="153"/>
                    <a:pt x="23" y="153"/>
                  </a:cubicBezTo>
                  <a:cubicBezTo>
                    <a:pt x="23" y="153"/>
                    <a:pt x="23" y="154"/>
                    <a:pt x="24" y="154"/>
                  </a:cubicBezTo>
                  <a:cubicBezTo>
                    <a:pt x="24" y="155"/>
                    <a:pt x="25" y="156"/>
                    <a:pt x="25" y="157"/>
                  </a:cubicBezTo>
                  <a:cubicBezTo>
                    <a:pt x="25" y="159"/>
                    <a:pt x="25" y="161"/>
                    <a:pt x="23" y="164"/>
                  </a:cubicBezTo>
                  <a:cubicBezTo>
                    <a:pt x="22" y="166"/>
                    <a:pt x="20" y="167"/>
                    <a:pt x="19" y="169"/>
                  </a:cubicBezTo>
                  <a:cubicBezTo>
                    <a:pt x="19" y="169"/>
                    <a:pt x="18" y="170"/>
                    <a:pt x="18" y="170"/>
                  </a:cubicBezTo>
                  <a:cubicBezTo>
                    <a:pt x="16" y="173"/>
                    <a:pt x="16" y="173"/>
                    <a:pt x="16" y="173"/>
                  </a:cubicBezTo>
                  <a:cubicBezTo>
                    <a:pt x="15" y="174"/>
                    <a:pt x="14" y="175"/>
                    <a:pt x="12" y="177"/>
                  </a:cubicBezTo>
                  <a:cubicBezTo>
                    <a:pt x="8" y="181"/>
                    <a:pt x="8" y="181"/>
                    <a:pt x="8" y="181"/>
                  </a:cubicBezTo>
                  <a:cubicBezTo>
                    <a:pt x="38" y="189"/>
                    <a:pt x="38" y="189"/>
                    <a:pt x="38" y="189"/>
                  </a:cubicBezTo>
                  <a:cubicBezTo>
                    <a:pt x="39" y="190"/>
                    <a:pt x="39" y="190"/>
                    <a:pt x="39" y="190"/>
                  </a:cubicBezTo>
                  <a:cubicBezTo>
                    <a:pt x="39" y="190"/>
                    <a:pt x="39" y="190"/>
                    <a:pt x="39" y="190"/>
                  </a:cubicBezTo>
                  <a:cubicBezTo>
                    <a:pt x="40" y="189"/>
                    <a:pt x="40" y="189"/>
                    <a:pt x="41" y="189"/>
                  </a:cubicBezTo>
                  <a:cubicBezTo>
                    <a:pt x="41" y="189"/>
                    <a:pt x="41" y="189"/>
                    <a:pt x="41" y="189"/>
                  </a:cubicBezTo>
                  <a:cubicBezTo>
                    <a:pt x="42" y="189"/>
                    <a:pt x="43" y="189"/>
                    <a:pt x="43" y="189"/>
                  </a:cubicBezTo>
                  <a:cubicBezTo>
                    <a:pt x="47" y="189"/>
                    <a:pt x="47" y="189"/>
                    <a:pt x="47" y="189"/>
                  </a:cubicBezTo>
                  <a:cubicBezTo>
                    <a:pt x="47" y="189"/>
                    <a:pt x="47" y="189"/>
                    <a:pt x="47" y="189"/>
                  </a:cubicBezTo>
                  <a:cubicBezTo>
                    <a:pt x="55" y="188"/>
                    <a:pt x="55" y="188"/>
                    <a:pt x="55" y="188"/>
                  </a:cubicBezTo>
                  <a:cubicBezTo>
                    <a:pt x="56" y="188"/>
                    <a:pt x="56" y="188"/>
                    <a:pt x="56" y="188"/>
                  </a:cubicBezTo>
                  <a:cubicBezTo>
                    <a:pt x="57" y="188"/>
                    <a:pt x="57" y="188"/>
                    <a:pt x="58" y="188"/>
                  </a:cubicBezTo>
                  <a:cubicBezTo>
                    <a:pt x="58" y="188"/>
                    <a:pt x="58" y="188"/>
                    <a:pt x="58" y="188"/>
                  </a:cubicBezTo>
                  <a:cubicBezTo>
                    <a:pt x="58" y="188"/>
                    <a:pt x="58" y="188"/>
                    <a:pt x="58" y="188"/>
                  </a:cubicBezTo>
                  <a:cubicBezTo>
                    <a:pt x="59" y="188"/>
                    <a:pt x="59" y="188"/>
                    <a:pt x="59" y="188"/>
                  </a:cubicBezTo>
                  <a:cubicBezTo>
                    <a:pt x="60" y="189"/>
                    <a:pt x="61" y="189"/>
                    <a:pt x="62" y="189"/>
                  </a:cubicBezTo>
                  <a:cubicBezTo>
                    <a:pt x="62" y="189"/>
                    <a:pt x="62" y="189"/>
                    <a:pt x="62" y="189"/>
                  </a:cubicBezTo>
                  <a:cubicBezTo>
                    <a:pt x="63" y="189"/>
                    <a:pt x="63" y="189"/>
                    <a:pt x="63" y="189"/>
                  </a:cubicBezTo>
                  <a:cubicBezTo>
                    <a:pt x="64" y="189"/>
                    <a:pt x="64" y="189"/>
                    <a:pt x="65" y="190"/>
                  </a:cubicBezTo>
                  <a:cubicBezTo>
                    <a:pt x="65" y="190"/>
                    <a:pt x="65" y="190"/>
                    <a:pt x="65" y="190"/>
                  </a:cubicBezTo>
                  <a:cubicBezTo>
                    <a:pt x="66" y="190"/>
                    <a:pt x="67" y="189"/>
                    <a:pt x="69" y="188"/>
                  </a:cubicBezTo>
                  <a:cubicBezTo>
                    <a:pt x="69" y="188"/>
                    <a:pt x="70" y="187"/>
                    <a:pt x="71" y="187"/>
                  </a:cubicBezTo>
                  <a:cubicBezTo>
                    <a:pt x="71" y="187"/>
                    <a:pt x="72" y="186"/>
                    <a:pt x="73" y="186"/>
                  </a:cubicBezTo>
                  <a:cubicBezTo>
                    <a:pt x="76" y="185"/>
                    <a:pt x="79" y="185"/>
                    <a:pt x="81" y="185"/>
                  </a:cubicBezTo>
                  <a:cubicBezTo>
                    <a:pt x="83" y="185"/>
                    <a:pt x="85" y="185"/>
                    <a:pt x="87" y="185"/>
                  </a:cubicBezTo>
                  <a:cubicBezTo>
                    <a:pt x="91" y="184"/>
                    <a:pt x="91" y="184"/>
                    <a:pt x="91" y="184"/>
                  </a:cubicBezTo>
                  <a:cubicBezTo>
                    <a:pt x="91" y="184"/>
                    <a:pt x="91" y="184"/>
                    <a:pt x="92" y="184"/>
                  </a:cubicBezTo>
                  <a:cubicBezTo>
                    <a:pt x="94" y="184"/>
                    <a:pt x="96" y="184"/>
                    <a:pt x="97" y="183"/>
                  </a:cubicBezTo>
                  <a:cubicBezTo>
                    <a:pt x="99" y="183"/>
                    <a:pt x="101" y="182"/>
                    <a:pt x="102" y="182"/>
                  </a:cubicBezTo>
                  <a:cubicBezTo>
                    <a:pt x="104" y="181"/>
                    <a:pt x="104" y="181"/>
                    <a:pt x="104" y="181"/>
                  </a:cubicBezTo>
                  <a:cubicBezTo>
                    <a:pt x="105" y="181"/>
                    <a:pt x="105" y="181"/>
                    <a:pt x="105" y="181"/>
                  </a:cubicBezTo>
                  <a:cubicBezTo>
                    <a:pt x="106" y="180"/>
                    <a:pt x="106" y="180"/>
                    <a:pt x="106" y="180"/>
                  </a:cubicBezTo>
                  <a:cubicBezTo>
                    <a:pt x="104" y="179"/>
                    <a:pt x="105" y="177"/>
                    <a:pt x="105" y="176"/>
                  </a:cubicBezTo>
                  <a:cubicBezTo>
                    <a:pt x="105" y="175"/>
                    <a:pt x="105" y="175"/>
                    <a:pt x="105" y="175"/>
                  </a:cubicBezTo>
                  <a:cubicBezTo>
                    <a:pt x="105" y="174"/>
                    <a:pt x="105" y="173"/>
                    <a:pt x="106" y="173"/>
                  </a:cubicBezTo>
                  <a:cubicBezTo>
                    <a:pt x="106" y="172"/>
                    <a:pt x="106" y="171"/>
                    <a:pt x="106" y="171"/>
                  </a:cubicBezTo>
                  <a:cubicBezTo>
                    <a:pt x="106" y="168"/>
                    <a:pt x="106" y="166"/>
                    <a:pt x="107" y="164"/>
                  </a:cubicBezTo>
                  <a:cubicBezTo>
                    <a:pt x="107" y="161"/>
                    <a:pt x="107" y="161"/>
                    <a:pt x="107" y="161"/>
                  </a:cubicBezTo>
                  <a:cubicBezTo>
                    <a:pt x="107" y="161"/>
                    <a:pt x="107" y="161"/>
                    <a:pt x="107" y="160"/>
                  </a:cubicBezTo>
                  <a:cubicBezTo>
                    <a:pt x="108" y="159"/>
                    <a:pt x="108" y="159"/>
                    <a:pt x="109" y="158"/>
                  </a:cubicBezTo>
                  <a:cubicBezTo>
                    <a:pt x="109" y="158"/>
                    <a:pt x="109" y="158"/>
                    <a:pt x="109" y="158"/>
                  </a:cubicBezTo>
                  <a:cubicBezTo>
                    <a:pt x="110" y="157"/>
                    <a:pt x="111" y="156"/>
                    <a:pt x="112" y="155"/>
                  </a:cubicBezTo>
                  <a:cubicBezTo>
                    <a:pt x="113" y="154"/>
                    <a:pt x="114" y="153"/>
                    <a:pt x="115" y="153"/>
                  </a:cubicBezTo>
                  <a:cubicBezTo>
                    <a:pt x="115" y="152"/>
                    <a:pt x="115" y="152"/>
                    <a:pt x="115" y="152"/>
                  </a:cubicBezTo>
                  <a:cubicBezTo>
                    <a:pt x="116" y="152"/>
                    <a:pt x="116" y="152"/>
                    <a:pt x="116" y="152"/>
                  </a:cubicBezTo>
                  <a:cubicBezTo>
                    <a:pt x="113" y="150"/>
                    <a:pt x="113" y="150"/>
                    <a:pt x="113" y="150"/>
                  </a:cubicBezTo>
                  <a:cubicBezTo>
                    <a:pt x="117" y="151"/>
                    <a:pt x="117" y="151"/>
                    <a:pt x="117" y="151"/>
                  </a:cubicBezTo>
                  <a:cubicBezTo>
                    <a:pt x="117" y="151"/>
                    <a:pt x="117" y="151"/>
                    <a:pt x="117" y="151"/>
                  </a:cubicBezTo>
                  <a:cubicBezTo>
                    <a:pt x="118" y="151"/>
                    <a:pt x="119" y="150"/>
                    <a:pt x="120" y="150"/>
                  </a:cubicBezTo>
                  <a:cubicBezTo>
                    <a:pt x="121" y="150"/>
                    <a:pt x="121" y="150"/>
                    <a:pt x="121" y="150"/>
                  </a:cubicBezTo>
                  <a:cubicBezTo>
                    <a:pt x="122" y="150"/>
                    <a:pt x="122" y="150"/>
                    <a:pt x="122" y="150"/>
                  </a:cubicBezTo>
                  <a:cubicBezTo>
                    <a:pt x="124" y="151"/>
                    <a:pt x="124" y="151"/>
                    <a:pt x="124" y="151"/>
                  </a:cubicBezTo>
                  <a:cubicBezTo>
                    <a:pt x="124" y="151"/>
                    <a:pt x="125" y="151"/>
                    <a:pt x="125" y="151"/>
                  </a:cubicBezTo>
                  <a:cubicBezTo>
                    <a:pt x="126" y="151"/>
                    <a:pt x="126" y="151"/>
                    <a:pt x="126" y="151"/>
                  </a:cubicBezTo>
                  <a:cubicBezTo>
                    <a:pt x="126" y="151"/>
                    <a:pt x="126" y="151"/>
                    <a:pt x="126" y="151"/>
                  </a:cubicBezTo>
                  <a:cubicBezTo>
                    <a:pt x="127" y="152"/>
                    <a:pt x="127" y="152"/>
                    <a:pt x="128" y="152"/>
                  </a:cubicBezTo>
                  <a:cubicBezTo>
                    <a:pt x="128" y="152"/>
                    <a:pt x="128" y="152"/>
                    <a:pt x="128" y="152"/>
                  </a:cubicBezTo>
                  <a:cubicBezTo>
                    <a:pt x="129" y="151"/>
                    <a:pt x="129" y="151"/>
                    <a:pt x="129" y="151"/>
                  </a:cubicBezTo>
                  <a:cubicBezTo>
                    <a:pt x="130" y="151"/>
                    <a:pt x="131" y="151"/>
                    <a:pt x="132" y="150"/>
                  </a:cubicBezTo>
                  <a:cubicBezTo>
                    <a:pt x="126" y="146"/>
                    <a:pt x="126" y="146"/>
                    <a:pt x="126" y="146"/>
                  </a:cubicBezTo>
                  <a:cubicBezTo>
                    <a:pt x="132" y="145"/>
                    <a:pt x="132" y="145"/>
                    <a:pt x="132" y="145"/>
                  </a:cubicBezTo>
                  <a:cubicBezTo>
                    <a:pt x="135" y="145"/>
                    <a:pt x="135" y="145"/>
                    <a:pt x="138" y="143"/>
                  </a:cubicBezTo>
                  <a:cubicBezTo>
                    <a:pt x="138" y="143"/>
                    <a:pt x="138" y="143"/>
                    <a:pt x="138" y="143"/>
                  </a:cubicBezTo>
                  <a:cubicBezTo>
                    <a:pt x="139" y="142"/>
                    <a:pt x="139" y="142"/>
                    <a:pt x="139" y="142"/>
                  </a:cubicBezTo>
                  <a:cubicBezTo>
                    <a:pt x="140" y="142"/>
                    <a:pt x="141" y="141"/>
                    <a:pt x="142" y="141"/>
                  </a:cubicBezTo>
                  <a:cubicBezTo>
                    <a:pt x="142" y="141"/>
                    <a:pt x="142" y="141"/>
                    <a:pt x="143" y="141"/>
                  </a:cubicBezTo>
                  <a:cubicBezTo>
                    <a:pt x="144" y="140"/>
                    <a:pt x="144" y="140"/>
                    <a:pt x="145" y="140"/>
                  </a:cubicBezTo>
                  <a:cubicBezTo>
                    <a:pt x="145" y="140"/>
                    <a:pt x="145" y="140"/>
                    <a:pt x="146" y="140"/>
                  </a:cubicBezTo>
                  <a:cubicBezTo>
                    <a:pt x="146" y="140"/>
                    <a:pt x="146" y="140"/>
                    <a:pt x="146" y="140"/>
                  </a:cubicBezTo>
                  <a:cubicBezTo>
                    <a:pt x="147" y="139"/>
                    <a:pt x="148" y="139"/>
                    <a:pt x="149" y="139"/>
                  </a:cubicBezTo>
                  <a:cubicBezTo>
                    <a:pt x="149" y="139"/>
                    <a:pt x="149" y="139"/>
                    <a:pt x="150" y="139"/>
                  </a:cubicBezTo>
                  <a:cubicBezTo>
                    <a:pt x="150" y="139"/>
                    <a:pt x="150" y="139"/>
                    <a:pt x="151" y="139"/>
                  </a:cubicBezTo>
                  <a:cubicBezTo>
                    <a:pt x="151" y="139"/>
                    <a:pt x="151" y="139"/>
                    <a:pt x="151" y="139"/>
                  </a:cubicBezTo>
                  <a:cubicBezTo>
                    <a:pt x="152" y="139"/>
                    <a:pt x="152" y="140"/>
                    <a:pt x="153" y="140"/>
                  </a:cubicBezTo>
                  <a:cubicBezTo>
                    <a:pt x="153" y="140"/>
                    <a:pt x="153" y="140"/>
                    <a:pt x="153" y="140"/>
                  </a:cubicBezTo>
                  <a:cubicBezTo>
                    <a:pt x="154" y="141"/>
                    <a:pt x="155" y="141"/>
                    <a:pt x="156" y="142"/>
                  </a:cubicBezTo>
                  <a:cubicBezTo>
                    <a:pt x="156" y="142"/>
                    <a:pt x="156" y="142"/>
                    <a:pt x="156" y="142"/>
                  </a:cubicBezTo>
                  <a:cubicBezTo>
                    <a:pt x="156" y="142"/>
                    <a:pt x="157" y="143"/>
                    <a:pt x="157" y="143"/>
                  </a:cubicBezTo>
                  <a:cubicBezTo>
                    <a:pt x="157" y="143"/>
                    <a:pt x="157" y="143"/>
                    <a:pt x="157" y="143"/>
                  </a:cubicBezTo>
                  <a:cubicBezTo>
                    <a:pt x="158" y="142"/>
                    <a:pt x="158" y="142"/>
                    <a:pt x="158" y="142"/>
                  </a:cubicBezTo>
                  <a:cubicBezTo>
                    <a:pt x="160" y="140"/>
                    <a:pt x="161" y="139"/>
                    <a:pt x="163" y="138"/>
                  </a:cubicBezTo>
                  <a:cubicBezTo>
                    <a:pt x="163" y="138"/>
                    <a:pt x="163" y="138"/>
                    <a:pt x="163" y="138"/>
                  </a:cubicBezTo>
                  <a:cubicBezTo>
                    <a:pt x="162" y="132"/>
                    <a:pt x="162" y="132"/>
                    <a:pt x="162" y="132"/>
                  </a:cubicBezTo>
                  <a:cubicBezTo>
                    <a:pt x="162" y="132"/>
                    <a:pt x="162" y="132"/>
                    <a:pt x="162" y="132"/>
                  </a:cubicBezTo>
                  <a:cubicBezTo>
                    <a:pt x="162" y="128"/>
                    <a:pt x="162" y="128"/>
                    <a:pt x="162" y="128"/>
                  </a:cubicBezTo>
                  <a:cubicBezTo>
                    <a:pt x="162" y="127"/>
                    <a:pt x="162" y="126"/>
                    <a:pt x="162" y="126"/>
                  </a:cubicBezTo>
                  <a:cubicBezTo>
                    <a:pt x="163" y="125"/>
                    <a:pt x="163" y="125"/>
                    <a:pt x="163" y="125"/>
                  </a:cubicBezTo>
                  <a:cubicBezTo>
                    <a:pt x="163" y="125"/>
                    <a:pt x="164" y="124"/>
                    <a:pt x="164" y="124"/>
                  </a:cubicBezTo>
                  <a:cubicBezTo>
                    <a:pt x="165" y="123"/>
                    <a:pt x="165" y="123"/>
                    <a:pt x="165" y="123"/>
                  </a:cubicBezTo>
                  <a:cubicBezTo>
                    <a:pt x="165" y="123"/>
                    <a:pt x="165" y="123"/>
                    <a:pt x="165" y="123"/>
                  </a:cubicBezTo>
                  <a:cubicBezTo>
                    <a:pt x="165" y="122"/>
                    <a:pt x="165" y="122"/>
                    <a:pt x="165" y="122"/>
                  </a:cubicBezTo>
                  <a:cubicBezTo>
                    <a:pt x="166" y="121"/>
                    <a:pt x="166" y="121"/>
                    <a:pt x="166" y="120"/>
                  </a:cubicBezTo>
                  <a:cubicBezTo>
                    <a:pt x="166" y="118"/>
                    <a:pt x="167" y="116"/>
                    <a:pt x="168" y="114"/>
                  </a:cubicBezTo>
                  <a:cubicBezTo>
                    <a:pt x="169" y="113"/>
                    <a:pt x="169" y="113"/>
                    <a:pt x="169" y="113"/>
                  </a:cubicBezTo>
                  <a:cubicBezTo>
                    <a:pt x="169" y="113"/>
                    <a:pt x="170" y="113"/>
                    <a:pt x="171" y="113"/>
                  </a:cubicBezTo>
                  <a:cubicBezTo>
                    <a:pt x="171" y="113"/>
                    <a:pt x="171" y="113"/>
                    <a:pt x="171" y="113"/>
                  </a:cubicBezTo>
                  <a:cubicBezTo>
                    <a:pt x="171" y="112"/>
                    <a:pt x="172" y="112"/>
                    <a:pt x="172" y="112"/>
                  </a:cubicBezTo>
                  <a:cubicBezTo>
                    <a:pt x="173" y="112"/>
                    <a:pt x="173" y="112"/>
                    <a:pt x="173" y="112"/>
                  </a:cubicBezTo>
                  <a:cubicBezTo>
                    <a:pt x="174" y="112"/>
                    <a:pt x="175" y="112"/>
                    <a:pt x="175" y="112"/>
                  </a:cubicBezTo>
                  <a:cubicBezTo>
                    <a:pt x="176" y="112"/>
                    <a:pt x="176" y="112"/>
                    <a:pt x="176" y="112"/>
                  </a:cubicBezTo>
                  <a:cubicBezTo>
                    <a:pt x="177" y="112"/>
                    <a:pt x="180" y="110"/>
                    <a:pt x="181" y="109"/>
                  </a:cubicBezTo>
                  <a:cubicBezTo>
                    <a:pt x="182" y="109"/>
                    <a:pt x="182" y="109"/>
                    <a:pt x="182" y="109"/>
                  </a:cubicBezTo>
                  <a:cubicBezTo>
                    <a:pt x="181" y="108"/>
                    <a:pt x="180" y="107"/>
                    <a:pt x="179" y="105"/>
                  </a:cubicBezTo>
                  <a:cubicBezTo>
                    <a:pt x="178" y="102"/>
                    <a:pt x="178" y="102"/>
                    <a:pt x="178" y="102"/>
                  </a:cubicBezTo>
                  <a:cubicBezTo>
                    <a:pt x="177" y="102"/>
                    <a:pt x="177" y="102"/>
                    <a:pt x="177" y="102"/>
                  </a:cubicBezTo>
                  <a:cubicBezTo>
                    <a:pt x="177" y="102"/>
                    <a:pt x="177" y="102"/>
                    <a:pt x="177" y="102"/>
                  </a:cubicBezTo>
                  <a:cubicBezTo>
                    <a:pt x="176" y="101"/>
                    <a:pt x="176" y="101"/>
                    <a:pt x="176" y="101"/>
                  </a:cubicBezTo>
                  <a:cubicBezTo>
                    <a:pt x="175" y="99"/>
                    <a:pt x="175" y="99"/>
                    <a:pt x="175" y="99"/>
                  </a:cubicBezTo>
                  <a:cubicBezTo>
                    <a:pt x="173" y="96"/>
                    <a:pt x="174" y="94"/>
                    <a:pt x="175" y="93"/>
                  </a:cubicBezTo>
                  <a:cubicBezTo>
                    <a:pt x="175" y="93"/>
                    <a:pt x="175" y="93"/>
                    <a:pt x="175" y="93"/>
                  </a:cubicBezTo>
                  <a:cubicBezTo>
                    <a:pt x="176" y="92"/>
                    <a:pt x="177" y="92"/>
                    <a:pt x="178" y="92"/>
                  </a:cubicBezTo>
                  <a:cubicBezTo>
                    <a:pt x="180" y="92"/>
                    <a:pt x="182" y="92"/>
                    <a:pt x="185" y="93"/>
                  </a:cubicBezTo>
                  <a:cubicBezTo>
                    <a:pt x="186" y="93"/>
                    <a:pt x="186" y="93"/>
                    <a:pt x="186" y="93"/>
                  </a:cubicBezTo>
                  <a:cubicBezTo>
                    <a:pt x="186" y="94"/>
                    <a:pt x="187" y="94"/>
                    <a:pt x="187" y="94"/>
                  </a:cubicBezTo>
                  <a:cubicBezTo>
                    <a:pt x="188" y="94"/>
                    <a:pt x="188" y="94"/>
                    <a:pt x="188" y="94"/>
                  </a:cubicBezTo>
                  <a:cubicBezTo>
                    <a:pt x="188" y="94"/>
                    <a:pt x="189" y="94"/>
                    <a:pt x="189" y="94"/>
                  </a:cubicBezTo>
                  <a:cubicBezTo>
                    <a:pt x="189" y="94"/>
                    <a:pt x="190" y="94"/>
                    <a:pt x="190" y="94"/>
                  </a:cubicBezTo>
                  <a:cubicBezTo>
                    <a:pt x="192" y="94"/>
                    <a:pt x="194" y="93"/>
                    <a:pt x="195" y="92"/>
                  </a:cubicBezTo>
                  <a:cubicBezTo>
                    <a:pt x="196" y="92"/>
                    <a:pt x="197" y="91"/>
                    <a:pt x="197" y="91"/>
                  </a:cubicBezTo>
                  <a:cubicBezTo>
                    <a:pt x="197" y="90"/>
                    <a:pt x="197" y="90"/>
                    <a:pt x="197" y="90"/>
                  </a:cubicBezTo>
                  <a:cubicBezTo>
                    <a:pt x="197" y="90"/>
                    <a:pt x="197" y="90"/>
                    <a:pt x="197" y="90"/>
                  </a:cubicBezTo>
                  <a:cubicBezTo>
                    <a:pt x="198" y="90"/>
                    <a:pt x="198" y="89"/>
                    <a:pt x="198" y="89"/>
                  </a:cubicBezTo>
                  <a:cubicBezTo>
                    <a:pt x="197" y="89"/>
                    <a:pt x="197" y="89"/>
                    <a:pt x="197" y="89"/>
                  </a:cubicBezTo>
                  <a:cubicBezTo>
                    <a:pt x="197" y="89"/>
                    <a:pt x="196" y="88"/>
                    <a:pt x="196" y="87"/>
                  </a:cubicBezTo>
                  <a:cubicBezTo>
                    <a:pt x="194" y="84"/>
                    <a:pt x="195" y="82"/>
                    <a:pt x="197" y="80"/>
                  </a:cubicBezTo>
                  <a:cubicBezTo>
                    <a:pt x="197" y="80"/>
                    <a:pt x="198" y="79"/>
                    <a:pt x="199" y="78"/>
                  </a:cubicBezTo>
                  <a:cubicBezTo>
                    <a:pt x="199" y="78"/>
                    <a:pt x="199" y="78"/>
                    <a:pt x="200" y="77"/>
                  </a:cubicBezTo>
                  <a:cubicBezTo>
                    <a:pt x="200" y="76"/>
                    <a:pt x="201" y="75"/>
                    <a:pt x="202" y="74"/>
                  </a:cubicBezTo>
                  <a:cubicBezTo>
                    <a:pt x="203" y="74"/>
                    <a:pt x="204" y="73"/>
                    <a:pt x="204" y="73"/>
                  </a:cubicBezTo>
                  <a:cubicBezTo>
                    <a:pt x="205" y="73"/>
                    <a:pt x="205" y="73"/>
                    <a:pt x="205" y="73"/>
                  </a:cubicBezTo>
                  <a:cubicBezTo>
                    <a:pt x="205" y="73"/>
                    <a:pt x="205" y="72"/>
                    <a:pt x="205" y="72"/>
                  </a:cubicBezTo>
                  <a:cubicBezTo>
                    <a:pt x="205" y="71"/>
                    <a:pt x="206" y="70"/>
                    <a:pt x="207" y="69"/>
                  </a:cubicBezTo>
                  <a:cubicBezTo>
                    <a:pt x="206" y="69"/>
                    <a:pt x="206" y="68"/>
                    <a:pt x="206" y="68"/>
                  </a:cubicBezTo>
                  <a:cubicBezTo>
                    <a:pt x="206" y="68"/>
                    <a:pt x="206" y="68"/>
                    <a:pt x="206" y="68"/>
                  </a:cubicBezTo>
                  <a:cubicBezTo>
                    <a:pt x="206" y="67"/>
                    <a:pt x="206" y="66"/>
                    <a:pt x="206" y="65"/>
                  </a:cubicBezTo>
                  <a:cubicBezTo>
                    <a:pt x="206" y="64"/>
                    <a:pt x="206" y="63"/>
                    <a:pt x="206" y="63"/>
                  </a:cubicBezTo>
                  <a:cubicBezTo>
                    <a:pt x="205" y="61"/>
                    <a:pt x="205" y="61"/>
                    <a:pt x="205" y="61"/>
                  </a:cubicBezTo>
                  <a:cubicBezTo>
                    <a:pt x="205" y="61"/>
                    <a:pt x="205" y="61"/>
                    <a:pt x="205" y="61"/>
                  </a:cubicBezTo>
                  <a:cubicBezTo>
                    <a:pt x="205" y="61"/>
                    <a:pt x="205" y="61"/>
                    <a:pt x="205" y="61"/>
                  </a:cubicBezTo>
                  <a:cubicBezTo>
                    <a:pt x="204" y="60"/>
                    <a:pt x="204" y="60"/>
                    <a:pt x="204" y="60"/>
                  </a:cubicBezTo>
                  <a:cubicBezTo>
                    <a:pt x="204" y="59"/>
                    <a:pt x="204" y="59"/>
                    <a:pt x="204" y="58"/>
                  </a:cubicBezTo>
                  <a:cubicBezTo>
                    <a:pt x="203" y="58"/>
                    <a:pt x="203" y="58"/>
                    <a:pt x="203" y="58"/>
                  </a:cubicBezTo>
                  <a:cubicBezTo>
                    <a:pt x="203" y="57"/>
                    <a:pt x="203" y="57"/>
                    <a:pt x="203" y="57"/>
                  </a:cubicBezTo>
                  <a:cubicBezTo>
                    <a:pt x="202" y="56"/>
                    <a:pt x="201" y="54"/>
                    <a:pt x="200" y="54"/>
                  </a:cubicBezTo>
                  <a:cubicBezTo>
                    <a:pt x="200" y="53"/>
                    <a:pt x="200" y="53"/>
                    <a:pt x="200" y="53"/>
                  </a:cubicBezTo>
                  <a:cubicBezTo>
                    <a:pt x="200" y="53"/>
                    <a:pt x="200" y="53"/>
                    <a:pt x="200" y="53"/>
                  </a:cubicBezTo>
                  <a:cubicBezTo>
                    <a:pt x="197" y="52"/>
                    <a:pt x="197" y="52"/>
                    <a:pt x="197" y="52"/>
                  </a:cubicBezTo>
                  <a:cubicBezTo>
                    <a:pt x="199" y="50"/>
                    <a:pt x="199" y="50"/>
                    <a:pt x="199" y="50"/>
                  </a:cubicBezTo>
                  <a:cubicBezTo>
                    <a:pt x="202" y="46"/>
                    <a:pt x="205" y="43"/>
                    <a:pt x="208" y="40"/>
                  </a:cubicBezTo>
                  <a:cubicBezTo>
                    <a:pt x="209" y="40"/>
                    <a:pt x="209" y="40"/>
                    <a:pt x="209" y="40"/>
                  </a:cubicBezTo>
                  <a:cubicBezTo>
                    <a:pt x="210" y="39"/>
                    <a:pt x="210" y="39"/>
                    <a:pt x="210" y="39"/>
                  </a:cubicBezTo>
                  <a:cubicBezTo>
                    <a:pt x="210" y="40"/>
                    <a:pt x="210" y="40"/>
                    <a:pt x="210" y="40"/>
                  </a:cubicBezTo>
                  <a:cubicBezTo>
                    <a:pt x="210" y="40"/>
                    <a:pt x="211" y="40"/>
                    <a:pt x="211" y="40"/>
                  </a:cubicBezTo>
                  <a:cubicBezTo>
                    <a:pt x="212" y="40"/>
                    <a:pt x="212" y="40"/>
                    <a:pt x="212" y="40"/>
                  </a:cubicBezTo>
                  <a:cubicBezTo>
                    <a:pt x="213" y="40"/>
                    <a:pt x="213" y="40"/>
                    <a:pt x="213" y="40"/>
                  </a:cubicBezTo>
                  <a:cubicBezTo>
                    <a:pt x="214" y="40"/>
                    <a:pt x="215" y="39"/>
                    <a:pt x="216" y="38"/>
                  </a:cubicBezTo>
                  <a:cubicBezTo>
                    <a:pt x="219" y="37"/>
                    <a:pt x="219" y="37"/>
                    <a:pt x="219" y="37"/>
                  </a:cubicBezTo>
                  <a:cubicBezTo>
                    <a:pt x="220" y="36"/>
                    <a:pt x="220" y="35"/>
                    <a:pt x="221" y="35"/>
                  </a:cubicBezTo>
                  <a:cubicBezTo>
                    <a:pt x="221" y="35"/>
                    <a:pt x="221" y="35"/>
                    <a:pt x="221" y="35"/>
                  </a:cubicBezTo>
                  <a:cubicBezTo>
                    <a:pt x="219" y="36"/>
                    <a:pt x="216" y="37"/>
                    <a:pt x="214" y="38"/>
                  </a:cubicBezTo>
                  <a:cubicBezTo>
                    <a:pt x="212" y="39"/>
                    <a:pt x="212" y="39"/>
                    <a:pt x="212" y="39"/>
                  </a:cubicBezTo>
                  <a:cubicBezTo>
                    <a:pt x="211" y="39"/>
                    <a:pt x="211" y="39"/>
                    <a:pt x="210" y="39"/>
                  </a:cubicBezTo>
                  <a:cubicBezTo>
                    <a:pt x="210" y="39"/>
                    <a:pt x="210" y="39"/>
                    <a:pt x="210" y="39"/>
                  </a:cubicBezTo>
                  <a:cubicBezTo>
                    <a:pt x="210" y="39"/>
                    <a:pt x="209" y="39"/>
                    <a:pt x="209" y="39"/>
                  </a:cubicBezTo>
                  <a:cubicBezTo>
                    <a:pt x="207" y="38"/>
                    <a:pt x="206" y="36"/>
                    <a:pt x="205" y="35"/>
                  </a:cubicBezTo>
                  <a:cubicBezTo>
                    <a:pt x="205" y="34"/>
                    <a:pt x="205" y="34"/>
                    <a:pt x="205" y="34"/>
                  </a:cubicBezTo>
                  <a:cubicBezTo>
                    <a:pt x="205" y="33"/>
                    <a:pt x="205" y="33"/>
                    <a:pt x="205" y="33"/>
                  </a:cubicBezTo>
                  <a:cubicBezTo>
                    <a:pt x="204" y="32"/>
                    <a:pt x="203" y="30"/>
                    <a:pt x="203" y="29"/>
                  </a:cubicBezTo>
                  <a:cubicBezTo>
                    <a:pt x="203" y="28"/>
                    <a:pt x="203" y="27"/>
                    <a:pt x="204" y="27"/>
                  </a:cubicBezTo>
                  <a:cubicBezTo>
                    <a:pt x="204" y="26"/>
                    <a:pt x="204" y="25"/>
                    <a:pt x="204" y="25"/>
                  </a:cubicBezTo>
                  <a:cubicBezTo>
                    <a:pt x="204" y="24"/>
                    <a:pt x="204" y="24"/>
                    <a:pt x="204" y="24"/>
                  </a:cubicBezTo>
                  <a:cubicBezTo>
                    <a:pt x="205" y="22"/>
                    <a:pt x="205" y="19"/>
                    <a:pt x="205" y="16"/>
                  </a:cubicBezTo>
                  <a:cubicBezTo>
                    <a:pt x="206" y="15"/>
                    <a:pt x="206" y="13"/>
                    <a:pt x="206" y="11"/>
                  </a:cubicBezTo>
                  <a:cubicBezTo>
                    <a:pt x="205" y="11"/>
                    <a:pt x="204" y="11"/>
                    <a:pt x="204" y="11"/>
                  </a:cubicBezTo>
                  <a:cubicBezTo>
                    <a:pt x="203" y="11"/>
                    <a:pt x="203" y="11"/>
                    <a:pt x="203" y="11"/>
                  </a:cubicBezTo>
                  <a:cubicBezTo>
                    <a:pt x="203" y="11"/>
                    <a:pt x="202" y="11"/>
                    <a:pt x="202" y="11"/>
                  </a:cubicBezTo>
                  <a:cubicBezTo>
                    <a:pt x="199" y="10"/>
                    <a:pt x="199" y="10"/>
                    <a:pt x="199" y="10"/>
                  </a:cubicBezTo>
                  <a:cubicBezTo>
                    <a:pt x="201" y="7"/>
                    <a:pt x="201" y="7"/>
                    <a:pt x="201" y="7"/>
                  </a:cubicBezTo>
                  <a:cubicBezTo>
                    <a:pt x="201" y="6"/>
                    <a:pt x="201" y="6"/>
                    <a:pt x="201" y="5"/>
                  </a:cubicBezTo>
                  <a:cubicBezTo>
                    <a:pt x="201" y="5"/>
                    <a:pt x="201" y="5"/>
                    <a:pt x="201" y="5"/>
                  </a:cubicBezTo>
                  <a:cubicBezTo>
                    <a:pt x="201" y="5"/>
                    <a:pt x="200" y="4"/>
                    <a:pt x="200" y="4"/>
                  </a:cubicBezTo>
                  <a:cubicBezTo>
                    <a:pt x="200" y="4"/>
                    <a:pt x="200" y="4"/>
                    <a:pt x="200" y="4"/>
                  </a:cubicBezTo>
                  <a:cubicBezTo>
                    <a:pt x="196" y="7"/>
                    <a:pt x="196" y="7"/>
                    <a:pt x="196" y="7"/>
                  </a:cubicBezTo>
                  <a:cubicBezTo>
                    <a:pt x="199" y="2"/>
                    <a:pt x="199" y="2"/>
                    <a:pt x="199" y="2"/>
                  </a:cubicBezTo>
                  <a:cubicBezTo>
                    <a:pt x="198" y="2"/>
                    <a:pt x="198" y="1"/>
                    <a:pt x="198" y="1"/>
                  </a:cubicBezTo>
                  <a:cubicBezTo>
                    <a:pt x="197" y="1"/>
                    <a:pt x="197" y="1"/>
                    <a:pt x="1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422"/>
            <p:cNvSpPr>
              <a:spLocks noEditPoints="1"/>
            </p:cNvSpPr>
            <p:nvPr/>
          </p:nvSpPr>
          <p:spPr bwMode="auto">
            <a:xfrm>
              <a:off x="1154005" y="4184084"/>
              <a:ext cx="1173260" cy="1002704"/>
            </a:xfrm>
            <a:custGeom>
              <a:gdLst>
                <a:gd name="T0" fmla="*/ 91 w 361"/>
                <a:gd name="T1" fmla="*/ 199 h 308"/>
                <a:gd name="T2" fmla="*/ 5 w 361"/>
                <a:gd name="T3" fmla="*/ 25 h 308"/>
                <a:gd name="T4" fmla="*/ 9 w 361"/>
                <a:gd name="T5" fmla="*/ 41 h 308"/>
                <a:gd name="T6" fmla="*/ 13 w 361"/>
                <a:gd name="T7" fmla="*/ 55 h 308"/>
                <a:gd name="T8" fmla="*/ 17 w 361"/>
                <a:gd name="T9" fmla="*/ 62 h 308"/>
                <a:gd name="T10" fmla="*/ 22 w 361"/>
                <a:gd name="T11" fmla="*/ 70 h 308"/>
                <a:gd name="T12" fmla="*/ 31 w 361"/>
                <a:gd name="T13" fmla="*/ 81 h 308"/>
                <a:gd name="T14" fmla="*/ 42 w 361"/>
                <a:gd name="T15" fmla="*/ 87 h 308"/>
                <a:gd name="T16" fmla="*/ 40 w 361"/>
                <a:gd name="T17" fmla="*/ 97 h 308"/>
                <a:gd name="T18" fmla="*/ 31 w 361"/>
                <a:gd name="T19" fmla="*/ 112 h 308"/>
                <a:gd name="T20" fmla="*/ 25 w 361"/>
                <a:gd name="T21" fmla="*/ 123 h 308"/>
                <a:gd name="T22" fmla="*/ 31 w 361"/>
                <a:gd name="T23" fmla="*/ 129 h 308"/>
                <a:gd name="T24" fmla="*/ 38 w 361"/>
                <a:gd name="T25" fmla="*/ 143 h 308"/>
                <a:gd name="T26" fmla="*/ 63 w 361"/>
                <a:gd name="T27" fmla="*/ 155 h 308"/>
                <a:gd name="T28" fmla="*/ 71 w 361"/>
                <a:gd name="T29" fmla="*/ 173 h 308"/>
                <a:gd name="T30" fmla="*/ 74 w 361"/>
                <a:gd name="T31" fmla="*/ 186 h 308"/>
                <a:gd name="T32" fmla="*/ 82 w 361"/>
                <a:gd name="T33" fmla="*/ 203 h 308"/>
                <a:gd name="T34" fmla="*/ 95 w 361"/>
                <a:gd name="T35" fmla="*/ 202 h 308"/>
                <a:gd name="T36" fmla="*/ 111 w 361"/>
                <a:gd name="T37" fmla="*/ 204 h 308"/>
                <a:gd name="T38" fmla="*/ 128 w 361"/>
                <a:gd name="T39" fmla="*/ 230 h 308"/>
                <a:gd name="T40" fmla="*/ 144 w 361"/>
                <a:gd name="T41" fmla="*/ 252 h 308"/>
                <a:gd name="T42" fmla="*/ 162 w 361"/>
                <a:gd name="T43" fmla="*/ 263 h 308"/>
                <a:gd name="T44" fmla="*/ 185 w 361"/>
                <a:gd name="T45" fmla="*/ 276 h 308"/>
                <a:gd name="T46" fmla="*/ 224 w 361"/>
                <a:gd name="T47" fmla="*/ 267 h 308"/>
                <a:gd name="T48" fmla="*/ 246 w 361"/>
                <a:gd name="T49" fmla="*/ 284 h 308"/>
                <a:gd name="T50" fmla="*/ 277 w 361"/>
                <a:gd name="T51" fmla="*/ 299 h 308"/>
                <a:gd name="T52" fmla="*/ 301 w 361"/>
                <a:gd name="T53" fmla="*/ 301 h 308"/>
                <a:gd name="T54" fmla="*/ 325 w 361"/>
                <a:gd name="T55" fmla="*/ 308 h 308"/>
                <a:gd name="T56" fmla="*/ 333 w 361"/>
                <a:gd name="T57" fmla="*/ 288 h 308"/>
                <a:gd name="T58" fmla="*/ 359 w 361"/>
                <a:gd name="T59" fmla="*/ 275 h 308"/>
                <a:gd name="T60" fmla="*/ 351 w 361"/>
                <a:gd name="T61" fmla="*/ 264 h 308"/>
                <a:gd name="T62" fmla="*/ 345 w 361"/>
                <a:gd name="T63" fmla="*/ 244 h 308"/>
                <a:gd name="T64" fmla="*/ 312 w 361"/>
                <a:gd name="T65" fmla="*/ 211 h 308"/>
                <a:gd name="T66" fmla="*/ 329 w 361"/>
                <a:gd name="T67" fmla="*/ 193 h 308"/>
                <a:gd name="T68" fmla="*/ 315 w 361"/>
                <a:gd name="T69" fmla="*/ 176 h 308"/>
                <a:gd name="T70" fmla="*/ 314 w 361"/>
                <a:gd name="T71" fmla="*/ 157 h 308"/>
                <a:gd name="T72" fmla="*/ 308 w 361"/>
                <a:gd name="T73" fmla="*/ 129 h 308"/>
                <a:gd name="T74" fmla="*/ 316 w 361"/>
                <a:gd name="T75" fmla="*/ 107 h 308"/>
                <a:gd name="T76" fmla="*/ 324 w 361"/>
                <a:gd name="T77" fmla="*/ 90 h 308"/>
                <a:gd name="T78" fmla="*/ 321 w 361"/>
                <a:gd name="T79" fmla="*/ 73 h 308"/>
                <a:gd name="T80" fmla="*/ 310 w 361"/>
                <a:gd name="T81" fmla="*/ 68 h 308"/>
                <a:gd name="T82" fmla="*/ 300 w 361"/>
                <a:gd name="T83" fmla="*/ 59 h 308"/>
                <a:gd name="T84" fmla="*/ 287 w 361"/>
                <a:gd name="T85" fmla="*/ 49 h 308"/>
                <a:gd name="T86" fmla="*/ 269 w 361"/>
                <a:gd name="T87" fmla="*/ 46 h 308"/>
                <a:gd name="T88" fmla="*/ 248 w 361"/>
                <a:gd name="T89" fmla="*/ 37 h 308"/>
                <a:gd name="T90" fmla="*/ 239 w 361"/>
                <a:gd name="T91" fmla="*/ 32 h 308"/>
                <a:gd name="T92" fmla="*/ 226 w 361"/>
                <a:gd name="T93" fmla="*/ 37 h 308"/>
                <a:gd name="T94" fmla="*/ 180 w 361"/>
                <a:gd name="T95" fmla="*/ 61 h 308"/>
                <a:gd name="T96" fmla="*/ 141 w 361"/>
                <a:gd name="T97" fmla="*/ 66 h 308"/>
                <a:gd name="T98" fmla="*/ 109 w 361"/>
                <a:gd name="T99" fmla="*/ 49 h 308"/>
                <a:gd name="T100" fmla="*/ 88 w 361"/>
                <a:gd name="T101" fmla="*/ 29 h 308"/>
                <a:gd name="T102" fmla="*/ 83 w 361"/>
                <a:gd name="T103" fmla="*/ 29 h 308"/>
                <a:gd name="T104" fmla="*/ 74 w 361"/>
                <a:gd name="T105" fmla="*/ 12 h 308"/>
                <a:gd name="T106" fmla="*/ 60 w 361"/>
                <a:gd name="T107" fmla="*/ 7 h 308"/>
                <a:gd name="T108" fmla="*/ 43 w 361"/>
                <a:gd name="T109" fmla="*/ 23 h 308"/>
                <a:gd name="T110" fmla="*/ 40 w 361"/>
                <a:gd name="T111" fmla="*/ 20 h 308"/>
                <a:gd name="T112" fmla="*/ 9 w 361"/>
                <a:gd name="T113" fmla="*/ 3 h 3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1" h="308">
                  <a:moveTo>
                    <a:pt x="91" y="199"/>
                  </a:moveTo>
                  <a:cubicBezTo>
                    <a:pt x="92" y="199"/>
                    <a:pt x="91" y="198"/>
                    <a:pt x="90" y="197"/>
                  </a:cubicBezTo>
                  <a:cubicBezTo>
                    <a:pt x="91" y="197"/>
                    <a:pt x="92" y="197"/>
                    <a:pt x="93" y="197"/>
                  </a:cubicBezTo>
                  <a:cubicBezTo>
                    <a:pt x="93" y="197"/>
                    <a:pt x="94" y="197"/>
                    <a:pt x="94" y="197"/>
                  </a:cubicBezTo>
                  <a:cubicBezTo>
                    <a:pt x="96" y="197"/>
                    <a:pt x="96" y="198"/>
                    <a:pt x="96" y="199"/>
                  </a:cubicBezTo>
                  <a:cubicBezTo>
                    <a:pt x="96" y="200"/>
                    <a:pt x="95" y="200"/>
                    <a:pt x="95" y="200"/>
                  </a:cubicBezTo>
                  <a:cubicBezTo>
                    <a:pt x="94" y="200"/>
                    <a:pt x="93" y="200"/>
                    <a:pt x="92" y="199"/>
                  </a:cubicBezTo>
                  <a:cubicBezTo>
                    <a:pt x="92" y="199"/>
                    <a:pt x="92" y="199"/>
                    <a:pt x="91" y="199"/>
                  </a:cubicBezTo>
                  <a:cubicBezTo>
                    <a:pt x="91" y="199"/>
                    <a:pt x="91" y="199"/>
                    <a:pt x="91" y="199"/>
                  </a:cubicBezTo>
                  <a:moveTo>
                    <a:pt x="7" y="0"/>
                  </a:moveTo>
                  <a:cubicBezTo>
                    <a:pt x="7" y="0"/>
                    <a:pt x="7" y="0"/>
                    <a:pt x="7" y="0"/>
                  </a:cubicBezTo>
                  <a:cubicBezTo>
                    <a:pt x="7" y="0"/>
                    <a:pt x="7" y="0"/>
                    <a:pt x="7" y="0"/>
                  </a:cubicBezTo>
                  <a:cubicBezTo>
                    <a:pt x="7" y="5"/>
                    <a:pt x="5" y="6"/>
                    <a:pt x="4" y="7"/>
                  </a:cubicBezTo>
                  <a:cubicBezTo>
                    <a:pt x="3" y="7"/>
                    <a:pt x="1" y="8"/>
                    <a:pt x="0" y="8"/>
                  </a:cubicBezTo>
                  <a:cubicBezTo>
                    <a:pt x="0" y="9"/>
                    <a:pt x="0" y="9"/>
                    <a:pt x="0" y="9"/>
                  </a:cubicBezTo>
                  <a:cubicBezTo>
                    <a:pt x="0" y="10"/>
                    <a:pt x="0" y="11"/>
                    <a:pt x="1" y="11"/>
                  </a:cubicBezTo>
                  <a:cubicBezTo>
                    <a:pt x="1" y="13"/>
                    <a:pt x="2" y="15"/>
                    <a:pt x="3" y="16"/>
                  </a:cubicBezTo>
                  <a:cubicBezTo>
                    <a:pt x="5" y="18"/>
                    <a:pt x="5" y="22"/>
                    <a:pt x="5" y="25"/>
                  </a:cubicBezTo>
                  <a:cubicBezTo>
                    <a:pt x="6" y="26"/>
                    <a:pt x="6" y="26"/>
                    <a:pt x="7" y="27"/>
                  </a:cubicBezTo>
                  <a:cubicBezTo>
                    <a:pt x="8" y="29"/>
                    <a:pt x="7" y="32"/>
                    <a:pt x="6" y="33"/>
                  </a:cubicBezTo>
                  <a:cubicBezTo>
                    <a:pt x="5" y="34"/>
                    <a:pt x="4" y="36"/>
                    <a:pt x="4" y="36"/>
                  </a:cubicBezTo>
                  <a:cubicBezTo>
                    <a:pt x="3" y="36"/>
                    <a:pt x="3" y="36"/>
                    <a:pt x="3" y="36"/>
                  </a:cubicBezTo>
                  <a:cubicBezTo>
                    <a:pt x="3" y="36"/>
                    <a:pt x="3" y="36"/>
                    <a:pt x="3" y="36"/>
                  </a:cubicBezTo>
                  <a:cubicBezTo>
                    <a:pt x="4" y="37"/>
                    <a:pt x="5" y="37"/>
                    <a:pt x="6" y="38"/>
                  </a:cubicBezTo>
                  <a:cubicBezTo>
                    <a:pt x="6" y="38"/>
                    <a:pt x="7" y="39"/>
                    <a:pt x="8" y="39"/>
                  </a:cubicBezTo>
                  <a:cubicBezTo>
                    <a:pt x="9" y="40"/>
                    <a:pt x="9" y="40"/>
                    <a:pt x="9" y="40"/>
                  </a:cubicBezTo>
                  <a:cubicBezTo>
                    <a:pt x="9" y="41"/>
                    <a:pt x="9" y="41"/>
                    <a:pt x="9" y="41"/>
                  </a:cubicBezTo>
                  <a:cubicBezTo>
                    <a:pt x="10" y="42"/>
                    <a:pt x="10" y="43"/>
                    <a:pt x="10" y="43"/>
                  </a:cubicBezTo>
                  <a:cubicBezTo>
                    <a:pt x="10" y="44"/>
                    <a:pt x="10" y="44"/>
                    <a:pt x="10" y="45"/>
                  </a:cubicBezTo>
                  <a:cubicBezTo>
                    <a:pt x="10" y="45"/>
                    <a:pt x="10" y="45"/>
                    <a:pt x="10" y="45"/>
                  </a:cubicBezTo>
                  <a:cubicBezTo>
                    <a:pt x="10" y="46"/>
                    <a:pt x="10" y="46"/>
                    <a:pt x="9" y="47"/>
                  </a:cubicBezTo>
                  <a:cubicBezTo>
                    <a:pt x="10" y="47"/>
                    <a:pt x="10" y="47"/>
                    <a:pt x="10" y="47"/>
                  </a:cubicBezTo>
                  <a:cubicBezTo>
                    <a:pt x="11" y="48"/>
                    <a:pt x="13" y="49"/>
                    <a:pt x="13" y="50"/>
                  </a:cubicBezTo>
                  <a:cubicBezTo>
                    <a:pt x="14" y="51"/>
                    <a:pt x="14" y="51"/>
                    <a:pt x="14" y="51"/>
                  </a:cubicBezTo>
                  <a:cubicBezTo>
                    <a:pt x="14" y="52"/>
                    <a:pt x="14" y="53"/>
                    <a:pt x="13" y="54"/>
                  </a:cubicBezTo>
                  <a:cubicBezTo>
                    <a:pt x="13" y="55"/>
                    <a:pt x="13" y="55"/>
                    <a:pt x="13" y="55"/>
                  </a:cubicBezTo>
                  <a:cubicBezTo>
                    <a:pt x="14" y="55"/>
                    <a:pt x="14" y="56"/>
                    <a:pt x="14" y="57"/>
                  </a:cubicBezTo>
                  <a:cubicBezTo>
                    <a:pt x="15" y="58"/>
                    <a:pt x="15" y="59"/>
                    <a:pt x="15" y="59"/>
                  </a:cubicBezTo>
                  <a:cubicBezTo>
                    <a:pt x="15" y="60"/>
                    <a:pt x="15" y="60"/>
                    <a:pt x="15" y="61"/>
                  </a:cubicBezTo>
                  <a:cubicBezTo>
                    <a:pt x="15" y="61"/>
                    <a:pt x="15" y="61"/>
                    <a:pt x="15" y="61"/>
                  </a:cubicBezTo>
                  <a:cubicBezTo>
                    <a:pt x="16" y="61"/>
                    <a:pt x="16" y="61"/>
                    <a:pt x="16" y="61"/>
                  </a:cubicBezTo>
                  <a:cubicBezTo>
                    <a:pt x="16" y="60"/>
                    <a:pt x="16" y="60"/>
                    <a:pt x="16" y="60"/>
                  </a:cubicBezTo>
                  <a:cubicBezTo>
                    <a:pt x="16" y="61"/>
                    <a:pt x="16" y="61"/>
                    <a:pt x="16" y="61"/>
                  </a:cubicBezTo>
                  <a:cubicBezTo>
                    <a:pt x="16" y="61"/>
                    <a:pt x="16" y="61"/>
                    <a:pt x="16" y="61"/>
                  </a:cubicBezTo>
                  <a:cubicBezTo>
                    <a:pt x="17" y="62"/>
                    <a:pt x="17" y="62"/>
                    <a:pt x="17" y="62"/>
                  </a:cubicBezTo>
                  <a:cubicBezTo>
                    <a:pt x="18" y="63"/>
                    <a:pt x="18" y="64"/>
                    <a:pt x="18" y="65"/>
                  </a:cubicBezTo>
                  <a:cubicBezTo>
                    <a:pt x="18" y="66"/>
                    <a:pt x="18" y="66"/>
                    <a:pt x="18" y="67"/>
                  </a:cubicBezTo>
                  <a:cubicBezTo>
                    <a:pt x="18" y="67"/>
                    <a:pt x="18" y="67"/>
                    <a:pt x="18" y="67"/>
                  </a:cubicBezTo>
                  <a:cubicBezTo>
                    <a:pt x="18" y="67"/>
                    <a:pt x="18" y="67"/>
                    <a:pt x="18" y="67"/>
                  </a:cubicBezTo>
                  <a:cubicBezTo>
                    <a:pt x="19" y="67"/>
                    <a:pt x="19" y="67"/>
                    <a:pt x="19" y="67"/>
                  </a:cubicBezTo>
                  <a:cubicBezTo>
                    <a:pt x="19" y="68"/>
                    <a:pt x="20" y="68"/>
                    <a:pt x="21" y="69"/>
                  </a:cubicBezTo>
                  <a:cubicBezTo>
                    <a:pt x="25" y="68"/>
                    <a:pt x="25" y="68"/>
                    <a:pt x="25" y="68"/>
                  </a:cubicBezTo>
                  <a:cubicBezTo>
                    <a:pt x="22" y="70"/>
                    <a:pt x="22" y="70"/>
                    <a:pt x="22" y="70"/>
                  </a:cubicBezTo>
                  <a:cubicBezTo>
                    <a:pt x="22" y="70"/>
                    <a:pt x="22" y="70"/>
                    <a:pt x="22" y="70"/>
                  </a:cubicBezTo>
                  <a:cubicBezTo>
                    <a:pt x="22" y="71"/>
                    <a:pt x="22" y="71"/>
                    <a:pt x="22" y="71"/>
                  </a:cubicBezTo>
                  <a:cubicBezTo>
                    <a:pt x="23" y="73"/>
                    <a:pt x="23" y="74"/>
                    <a:pt x="23" y="76"/>
                  </a:cubicBezTo>
                  <a:cubicBezTo>
                    <a:pt x="24" y="77"/>
                    <a:pt x="24" y="77"/>
                    <a:pt x="24" y="77"/>
                  </a:cubicBezTo>
                  <a:cubicBezTo>
                    <a:pt x="24" y="77"/>
                    <a:pt x="24" y="77"/>
                    <a:pt x="24" y="77"/>
                  </a:cubicBezTo>
                  <a:cubicBezTo>
                    <a:pt x="25" y="77"/>
                    <a:pt x="25" y="77"/>
                    <a:pt x="25" y="77"/>
                  </a:cubicBezTo>
                  <a:cubicBezTo>
                    <a:pt x="26" y="78"/>
                    <a:pt x="27" y="78"/>
                    <a:pt x="28" y="79"/>
                  </a:cubicBezTo>
                  <a:cubicBezTo>
                    <a:pt x="29" y="80"/>
                    <a:pt x="29" y="80"/>
                    <a:pt x="30" y="81"/>
                  </a:cubicBezTo>
                  <a:cubicBezTo>
                    <a:pt x="31" y="81"/>
                    <a:pt x="31" y="81"/>
                    <a:pt x="31" y="81"/>
                  </a:cubicBezTo>
                  <a:cubicBezTo>
                    <a:pt x="31" y="81"/>
                    <a:pt x="31" y="81"/>
                    <a:pt x="31" y="81"/>
                  </a:cubicBezTo>
                  <a:cubicBezTo>
                    <a:pt x="32" y="81"/>
                    <a:pt x="32" y="81"/>
                    <a:pt x="33" y="81"/>
                  </a:cubicBezTo>
                  <a:cubicBezTo>
                    <a:pt x="34" y="81"/>
                    <a:pt x="34" y="81"/>
                    <a:pt x="34" y="81"/>
                  </a:cubicBezTo>
                  <a:cubicBezTo>
                    <a:pt x="35" y="81"/>
                    <a:pt x="35" y="81"/>
                    <a:pt x="35" y="81"/>
                  </a:cubicBezTo>
                  <a:cubicBezTo>
                    <a:pt x="35" y="81"/>
                    <a:pt x="35" y="81"/>
                    <a:pt x="35" y="81"/>
                  </a:cubicBezTo>
                  <a:cubicBezTo>
                    <a:pt x="35" y="81"/>
                    <a:pt x="36" y="81"/>
                    <a:pt x="36" y="81"/>
                  </a:cubicBezTo>
                  <a:cubicBezTo>
                    <a:pt x="37" y="81"/>
                    <a:pt x="38" y="81"/>
                    <a:pt x="39" y="81"/>
                  </a:cubicBezTo>
                  <a:cubicBezTo>
                    <a:pt x="39" y="81"/>
                    <a:pt x="39" y="82"/>
                    <a:pt x="40" y="82"/>
                  </a:cubicBezTo>
                  <a:cubicBezTo>
                    <a:pt x="47" y="84"/>
                    <a:pt x="47" y="84"/>
                    <a:pt x="47" y="84"/>
                  </a:cubicBezTo>
                  <a:cubicBezTo>
                    <a:pt x="42" y="87"/>
                    <a:pt x="42" y="87"/>
                    <a:pt x="42" y="87"/>
                  </a:cubicBezTo>
                  <a:cubicBezTo>
                    <a:pt x="41" y="87"/>
                    <a:pt x="40" y="87"/>
                    <a:pt x="40" y="87"/>
                  </a:cubicBezTo>
                  <a:cubicBezTo>
                    <a:pt x="38" y="88"/>
                    <a:pt x="37" y="88"/>
                    <a:pt x="37" y="88"/>
                  </a:cubicBezTo>
                  <a:cubicBezTo>
                    <a:pt x="37" y="89"/>
                    <a:pt x="37" y="89"/>
                    <a:pt x="37" y="89"/>
                  </a:cubicBezTo>
                  <a:cubicBezTo>
                    <a:pt x="37" y="89"/>
                    <a:pt x="37" y="89"/>
                    <a:pt x="37" y="90"/>
                  </a:cubicBezTo>
                  <a:cubicBezTo>
                    <a:pt x="37" y="90"/>
                    <a:pt x="37" y="90"/>
                    <a:pt x="37" y="90"/>
                  </a:cubicBezTo>
                  <a:cubicBezTo>
                    <a:pt x="37" y="91"/>
                    <a:pt x="37" y="91"/>
                    <a:pt x="37" y="91"/>
                  </a:cubicBezTo>
                  <a:cubicBezTo>
                    <a:pt x="37" y="91"/>
                    <a:pt x="37" y="92"/>
                    <a:pt x="37" y="92"/>
                  </a:cubicBezTo>
                  <a:cubicBezTo>
                    <a:pt x="38" y="92"/>
                    <a:pt x="38" y="92"/>
                    <a:pt x="38" y="92"/>
                  </a:cubicBezTo>
                  <a:cubicBezTo>
                    <a:pt x="39" y="93"/>
                    <a:pt x="40" y="95"/>
                    <a:pt x="40" y="97"/>
                  </a:cubicBezTo>
                  <a:cubicBezTo>
                    <a:pt x="40" y="98"/>
                    <a:pt x="40" y="98"/>
                    <a:pt x="40" y="99"/>
                  </a:cubicBezTo>
                  <a:cubicBezTo>
                    <a:pt x="40" y="99"/>
                    <a:pt x="40" y="99"/>
                    <a:pt x="40" y="99"/>
                  </a:cubicBezTo>
                  <a:cubicBezTo>
                    <a:pt x="40" y="101"/>
                    <a:pt x="40" y="101"/>
                    <a:pt x="40" y="101"/>
                  </a:cubicBezTo>
                  <a:cubicBezTo>
                    <a:pt x="38" y="101"/>
                    <a:pt x="38" y="101"/>
                    <a:pt x="38" y="101"/>
                  </a:cubicBezTo>
                  <a:cubicBezTo>
                    <a:pt x="37" y="102"/>
                    <a:pt x="37" y="102"/>
                    <a:pt x="36" y="102"/>
                  </a:cubicBezTo>
                  <a:cubicBezTo>
                    <a:pt x="35" y="102"/>
                    <a:pt x="34" y="102"/>
                    <a:pt x="34" y="103"/>
                  </a:cubicBezTo>
                  <a:cubicBezTo>
                    <a:pt x="32" y="104"/>
                    <a:pt x="32" y="106"/>
                    <a:pt x="32" y="108"/>
                  </a:cubicBezTo>
                  <a:cubicBezTo>
                    <a:pt x="31" y="109"/>
                    <a:pt x="31" y="109"/>
                    <a:pt x="31" y="109"/>
                  </a:cubicBezTo>
                  <a:cubicBezTo>
                    <a:pt x="31" y="110"/>
                    <a:pt x="31" y="111"/>
                    <a:pt x="31" y="112"/>
                  </a:cubicBezTo>
                  <a:cubicBezTo>
                    <a:pt x="31" y="112"/>
                    <a:pt x="30" y="113"/>
                    <a:pt x="28" y="113"/>
                  </a:cubicBezTo>
                  <a:cubicBezTo>
                    <a:pt x="28" y="113"/>
                    <a:pt x="28" y="113"/>
                    <a:pt x="27" y="113"/>
                  </a:cubicBezTo>
                  <a:cubicBezTo>
                    <a:pt x="27" y="113"/>
                    <a:pt x="27" y="113"/>
                    <a:pt x="27" y="113"/>
                  </a:cubicBezTo>
                  <a:cubicBezTo>
                    <a:pt x="27" y="113"/>
                    <a:pt x="27" y="113"/>
                    <a:pt x="27" y="113"/>
                  </a:cubicBezTo>
                  <a:cubicBezTo>
                    <a:pt x="27" y="114"/>
                    <a:pt x="27" y="114"/>
                    <a:pt x="28" y="115"/>
                  </a:cubicBezTo>
                  <a:cubicBezTo>
                    <a:pt x="28" y="115"/>
                    <a:pt x="29" y="117"/>
                    <a:pt x="28" y="118"/>
                  </a:cubicBezTo>
                  <a:cubicBezTo>
                    <a:pt x="28" y="119"/>
                    <a:pt x="28" y="119"/>
                    <a:pt x="28" y="119"/>
                  </a:cubicBezTo>
                  <a:cubicBezTo>
                    <a:pt x="27" y="120"/>
                    <a:pt x="27" y="120"/>
                    <a:pt x="27" y="120"/>
                  </a:cubicBezTo>
                  <a:cubicBezTo>
                    <a:pt x="27" y="121"/>
                    <a:pt x="26" y="122"/>
                    <a:pt x="25" y="123"/>
                  </a:cubicBezTo>
                  <a:cubicBezTo>
                    <a:pt x="26" y="123"/>
                    <a:pt x="26" y="123"/>
                    <a:pt x="26" y="123"/>
                  </a:cubicBezTo>
                  <a:cubicBezTo>
                    <a:pt x="31" y="123"/>
                    <a:pt x="31" y="123"/>
                    <a:pt x="31" y="123"/>
                  </a:cubicBezTo>
                  <a:cubicBezTo>
                    <a:pt x="28" y="126"/>
                    <a:pt x="28" y="126"/>
                    <a:pt x="28" y="126"/>
                  </a:cubicBezTo>
                  <a:cubicBezTo>
                    <a:pt x="29" y="128"/>
                    <a:pt x="29" y="128"/>
                    <a:pt x="29" y="128"/>
                  </a:cubicBezTo>
                  <a:cubicBezTo>
                    <a:pt x="33" y="124"/>
                    <a:pt x="33" y="124"/>
                    <a:pt x="33" y="124"/>
                  </a:cubicBezTo>
                  <a:cubicBezTo>
                    <a:pt x="30" y="129"/>
                    <a:pt x="30" y="129"/>
                    <a:pt x="30" y="129"/>
                  </a:cubicBezTo>
                  <a:cubicBezTo>
                    <a:pt x="30" y="129"/>
                    <a:pt x="30" y="129"/>
                    <a:pt x="30" y="129"/>
                  </a:cubicBezTo>
                  <a:cubicBezTo>
                    <a:pt x="31" y="129"/>
                    <a:pt x="31" y="129"/>
                    <a:pt x="31" y="129"/>
                  </a:cubicBezTo>
                  <a:cubicBezTo>
                    <a:pt x="31" y="129"/>
                    <a:pt x="31" y="129"/>
                    <a:pt x="31" y="129"/>
                  </a:cubicBezTo>
                  <a:cubicBezTo>
                    <a:pt x="33" y="130"/>
                    <a:pt x="34" y="130"/>
                    <a:pt x="35" y="131"/>
                  </a:cubicBezTo>
                  <a:cubicBezTo>
                    <a:pt x="35" y="131"/>
                    <a:pt x="35" y="132"/>
                    <a:pt x="35" y="132"/>
                  </a:cubicBezTo>
                  <a:cubicBezTo>
                    <a:pt x="36" y="133"/>
                    <a:pt x="36" y="134"/>
                    <a:pt x="36" y="135"/>
                  </a:cubicBezTo>
                  <a:cubicBezTo>
                    <a:pt x="36" y="135"/>
                    <a:pt x="36" y="136"/>
                    <a:pt x="36" y="136"/>
                  </a:cubicBezTo>
                  <a:cubicBezTo>
                    <a:pt x="36" y="136"/>
                    <a:pt x="36" y="137"/>
                    <a:pt x="36" y="138"/>
                  </a:cubicBezTo>
                  <a:cubicBezTo>
                    <a:pt x="36" y="139"/>
                    <a:pt x="36" y="139"/>
                    <a:pt x="36" y="139"/>
                  </a:cubicBezTo>
                  <a:cubicBezTo>
                    <a:pt x="37" y="140"/>
                    <a:pt x="37" y="141"/>
                    <a:pt x="37" y="142"/>
                  </a:cubicBezTo>
                  <a:cubicBezTo>
                    <a:pt x="37" y="143"/>
                    <a:pt x="37" y="143"/>
                    <a:pt x="37" y="143"/>
                  </a:cubicBezTo>
                  <a:cubicBezTo>
                    <a:pt x="38" y="143"/>
                    <a:pt x="38" y="143"/>
                    <a:pt x="38" y="143"/>
                  </a:cubicBezTo>
                  <a:cubicBezTo>
                    <a:pt x="39" y="143"/>
                    <a:pt x="39" y="143"/>
                    <a:pt x="40" y="143"/>
                  </a:cubicBezTo>
                  <a:cubicBezTo>
                    <a:pt x="41" y="143"/>
                    <a:pt x="42" y="143"/>
                    <a:pt x="43" y="144"/>
                  </a:cubicBezTo>
                  <a:cubicBezTo>
                    <a:pt x="45" y="145"/>
                    <a:pt x="46" y="145"/>
                    <a:pt x="47" y="146"/>
                  </a:cubicBezTo>
                  <a:cubicBezTo>
                    <a:pt x="56" y="153"/>
                    <a:pt x="56" y="153"/>
                    <a:pt x="56" y="153"/>
                  </a:cubicBezTo>
                  <a:cubicBezTo>
                    <a:pt x="56" y="153"/>
                    <a:pt x="56" y="153"/>
                    <a:pt x="56" y="153"/>
                  </a:cubicBezTo>
                  <a:cubicBezTo>
                    <a:pt x="56" y="153"/>
                    <a:pt x="56" y="153"/>
                    <a:pt x="56" y="153"/>
                  </a:cubicBezTo>
                  <a:cubicBezTo>
                    <a:pt x="57" y="153"/>
                    <a:pt x="57" y="153"/>
                    <a:pt x="58" y="153"/>
                  </a:cubicBezTo>
                  <a:cubicBezTo>
                    <a:pt x="58" y="153"/>
                    <a:pt x="59" y="153"/>
                    <a:pt x="59" y="153"/>
                  </a:cubicBezTo>
                  <a:cubicBezTo>
                    <a:pt x="60" y="153"/>
                    <a:pt x="61" y="154"/>
                    <a:pt x="63" y="155"/>
                  </a:cubicBezTo>
                  <a:cubicBezTo>
                    <a:pt x="64" y="157"/>
                    <a:pt x="65" y="159"/>
                    <a:pt x="66" y="160"/>
                  </a:cubicBezTo>
                  <a:cubicBezTo>
                    <a:pt x="67" y="161"/>
                    <a:pt x="67" y="161"/>
                    <a:pt x="67" y="161"/>
                  </a:cubicBezTo>
                  <a:cubicBezTo>
                    <a:pt x="67" y="162"/>
                    <a:pt x="68" y="163"/>
                    <a:pt x="69" y="164"/>
                  </a:cubicBezTo>
                  <a:cubicBezTo>
                    <a:pt x="71" y="167"/>
                    <a:pt x="72" y="169"/>
                    <a:pt x="72" y="170"/>
                  </a:cubicBezTo>
                  <a:cubicBezTo>
                    <a:pt x="72" y="170"/>
                    <a:pt x="72" y="170"/>
                    <a:pt x="72" y="170"/>
                  </a:cubicBezTo>
                  <a:cubicBezTo>
                    <a:pt x="72" y="171"/>
                    <a:pt x="72" y="171"/>
                    <a:pt x="72" y="171"/>
                  </a:cubicBezTo>
                  <a:cubicBezTo>
                    <a:pt x="72" y="171"/>
                    <a:pt x="72" y="172"/>
                    <a:pt x="71" y="172"/>
                  </a:cubicBezTo>
                  <a:cubicBezTo>
                    <a:pt x="71" y="172"/>
                    <a:pt x="71" y="172"/>
                    <a:pt x="71" y="172"/>
                  </a:cubicBezTo>
                  <a:cubicBezTo>
                    <a:pt x="71" y="173"/>
                    <a:pt x="71" y="173"/>
                    <a:pt x="71" y="173"/>
                  </a:cubicBezTo>
                  <a:cubicBezTo>
                    <a:pt x="71" y="174"/>
                    <a:pt x="70" y="175"/>
                    <a:pt x="70" y="176"/>
                  </a:cubicBezTo>
                  <a:cubicBezTo>
                    <a:pt x="70" y="176"/>
                    <a:pt x="70" y="176"/>
                    <a:pt x="70" y="176"/>
                  </a:cubicBezTo>
                  <a:cubicBezTo>
                    <a:pt x="69" y="177"/>
                    <a:pt x="69" y="177"/>
                    <a:pt x="69" y="177"/>
                  </a:cubicBezTo>
                  <a:cubicBezTo>
                    <a:pt x="69" y="178"/>
                    <a:pt x="69" y="180"/>
                    <a:pt x="69" y="181"/>
                  </a:cubicBezTo>
                  <a:cubicBezTo>
                    <a:pt x="69" y="182"/>
                    <a:pt x="69" y="183"/>
                    <a:pt x="69" y="184"/>
                  </a:cubicBezTo>
                  <a:cubicBezTo>
                    <a:pt x="69" y="184"/>
                    <a:pt x="70" y="184"/>
                    <a:pt x="70" y="184"/>
                  </a:cubicBezTo>
                  <a:cubicBezTo>
                    <a:pt x="72" y="184"/>
                    <a:pt x="73" y="184"/>
                    <a:pt x="73" y="185"/>
                  </a:cubicBezTo>
                  <a:cubicBezTo>
                    <a:pt x="74" y="185"/>
                    <a:pt x="74" y="185"/>
                    <a:pt x="74" y="185"/>
                  </a:cubicBezTo>
                  <a:cubicBezTo>
                    <a:pt x="74" y="186"/>
                    <a:pt x="74" y="186"/>
                    <a:pt x="74" y="186"/>
                  </a:cubicBezTo>
                  <a:cubicBezTo>
                    <a:pt x="75" y="186"/>
                    <a:pt x="75" y="187"/>
                    <a:pt x="75" y="187"/>
                  </a:cubicBezTo>
                  <a:cubicBezTo>
                    <a:pt x="75" y="188"/>
                    <a:pt x="75" y="188"/>
                    <a:pt x="75" y="189"/>
                  </a:cubicBezTo>
                  <a:cubicBezTo>
                    <a:pt x="76" y="190"/>
                    <a:pt x="75" y="192"/>
                    <a:pt x="75" y="194"/>
                  </a:cubicBezTo>
                  <a:cubicBezTo>
                    <a:pt x="75" y="195"/>
                    <a:pt x="75" y="195"/>
                    <a:pt x="75" y="196"/>
                  </a:cubicBezTo>
                  <a:cubicBezTo>
                    <a:pt x="76" y="196"/>
                    <a:pt x="76" y="196"/>
                    <a:pt x="76" y="196"/>
                  </a:cubicBezTo>
                  <a:cubicBezTo>
                    <a:pt x="76" y="197"/>
                    <a:pt x="77" y="197"/>
                    <a:pt x="78" y="198"/>
                  </a:cubicBezTo>
                  <a:cubicBezTo>
                    <a:pt x="79" y="199"/>
                    <a:pt x="80" y="200"/>
                    <a:pt x="81" y="201"/>
                  </a:cubicBezTo>
                  <a:cubicBezTo>
                    <a:pt x="81" y="202"/>
                    <a:pt x="81" y="202"/>
                    <a:pt x="82" y="203"/>
                  </a:cubicBezTo>
                  <a:cubicBezTo>
                    <a:pt x="82" y="203"/>
                    <a:pt x="82" y="203"/>
                    <a:pt x="82" y="203"/>
                  </a:cubicBezTo>
                  <a:cubicBezTo>
                    <a:pt x="82" y="203"/>
                    <a:pt x="84" y="205"/>
                    <a:pt x="86" y="206"/>
                  </a:cubicBezTo>
                  <a:cubicBezTo>
                    <a:pt x="87" y="208"/>
                    <a:pt x="87" y="208"/>
                    <a:pt x="87" y="208"/>
                  </a:cubicBezTo>
                  <a:cubicBezTo>
                    <a:pt x="88" y="207"/>
                    <a:pt x="89" y="207"/>
                    <a:pt x="90" y="207"/>
                  </a:cubicBezTo>
                  <a:cubicBezTo>
                    <a:pt x="90" y="206"/>
                    <a:pt x="90" y="204"/>
                    <a:pt x="90" y="204"/>
                  </a:cubicBezTo>
                  <a:cubicBezTo>
                    <a:pt x="90" y="203"/>
                    <a:pt x="90" y="203"/>
                    <a:pt x="89" y="202"/>
                  </a:cubicBezTo>
                  <a:cubicBezTo>
                    <a:pt x="89" y="202"/>
                    <a:pt x="88" y="201"/>
                    <a:pt x="89" y="201"/>
                  </a:cubicBezTo>
                  <a:cubicBezTo>
                    <a:pt x="90" y="200"/>
                    <a:pt x="90" y="200"/>
                    <a:pt x="91" y="200"/>
                  </a:cubicBezTo>
                  <a:cubicBezTo>
                    <a:pt x="91" y="200"/>
                    <a:pt x="91" y="200"/>
                    <a:pt x="91" y="200"/>
                  </a:cubicBezTo>
                  <a:cubicBezTo>
                    <a:pt x="93" y="200"/>
                    <a:pt x="94" y="201"/>
                    <a:pt x="95" y="202"/>
                  </a:cubicBezTo>
                  <a:cubicBezTo>
                    <a:pt x="96" y="202"/>
                    <a:pt x="96" y="202"/>
                    <a:pt x="97" y="203"/>
                  </a:cubicBezTo>
                  <a:cubicBezTo>
                    <a:pt x="98" y="203"/>
                    <a:pt x="100" y="204"/>
                    <a:pt x="101" y="206"/>
                  </a:cubicBezTo>
                  <a:cubicBezTo>
                    <a:pt x="101" y="206"/>
                    <a:pt x="101" y="206"/>
                    <a:pt x="101" y="206"/>
                  </a:cubicBezTo>
                  <a:cubicBezTo>
                    <a:pt x="102" y="207"/>
                    <a:pt x="102" y="207"/>
                    <a:pt x="102" y="207"/>
                  </a:cubicBezTo>
                  <a:cubicBezTo>
                    <a:pt x="102" y="207"/>
                    <a:pt x="102" y="207"/>
                    <a:pt x="103" y="207"/>
                  </a:cubicBezTo>
                  <a:cubicBezTo>
                    <a:pt x="103" y="207"/>
                    <a:pt x="104" y="206"/>
                    <a:pt x="105" y="206"/>
                  </a:cubicBezTo>
                  <a:cubicBezTo>
                    <a:pt x="106" y="205"/>
                    <a:pt x="108" y="205"/>
                    <a:pt x="109" y="205"/>
                  </a:cubicBezTo>
                  <a:cubicBezTo>
                    <a:pt x="110" y="204"/>
                    <a:pt x="110" y="204"/>
                    <a:pt x="110" y="204"/>
                  </a:cubicBezTo>
                  <a:cubicBezTo>
                    <a:pt x="110" y="204"/>
                    <a:pt x="111" y="204"/>
                    <a:pt x="111" y="204"/>
                  </a:cubicBezTo>
                  <a:cubicBezTo>
                    <a:pt x="112" y="204"/>
                    <a:pt x="113" y="206"/>
                    <a:pt x="114" y="207"/>
                  </a:cubicBezTo>
                  <a:cubicBezTo>
                    <a:pt x="114" y="208"/>
                    <a:pt x="115" y="209"/>
                    <a:pt x="115" y="210"/>
                  </a:cubicBezTo>
                  <a:cubicBezTo>
                    <a:pt x="115" y="211"/>
                    <a:pt x="116" y="212"/>
                    <a:pt x="116" y="212"/>
                  </a:cubicBezTo>
                  <a:cubicBezTo>
                    <a:pt x="117" y="213"/>
                    <a:pt x="119" y="215"/>
                    <a:pt x="120" y="216"/>
                  </a:cubicBezTo>
                  <a:cubicBezTo>
                    <a:pt x="121" y="217"/>
                    <a:pt x="122" y="219"/>
                    <a:pt x="123" y="220"/>
                  </a:cubicBezTo>
                  <a:cubicBezTo>
                    <a:pt x="123" y="222"/>
                    <a:pt x="123" y="223"/>
                    <a:pt x="122" y="225"/>
                  </a:cubicBezTo>
                  <a:cubicBezTo>
                    <a:pt x="123" y="225"/>
                    <a:pt x="124" y="225"/>
                    <a:pt x="125" y="226"/>
                  </a:cubicBezTo>
                  <a:cubicBezTo>
                    <a:pt x="127" y="226"/>
                    <a:pt x="128" y="227"/>
                    <a:pt x="128" y="229"/>
                  </a:cubicBezTo>
                  <a:cubicBezTo>
                    <a:pt x="128" y="230"/>
                    <a:pt x="128" y="230"/>
                    <a:pt x="128" y="230"/>
                  </a:cubicBezTo>
                  <a:cubicBezTo>
                    <a:pt x="128" y="232"/>
                    <a:pt x="129" y="234"/>
                    <a:pt x="130" y="236"/>
                  </a:cubicBezTo>
                  <a:cubicBezTo>
                    <a:pt x="130" y="237"/>
                    <a:pt x="131" y="239"/>
                    <a:pt x="132" y="241"/>
                  </a:cubicBezTo>
                  <a:cubicBezTo>
                    <a:pt x="133" y="243"/>
                    <a:pt x="134" y="244"/>
                    <a:pt x="134" y="246"/>
                  </a:cubicBezTo>
                  <a:cubicBezTo>
                    <a:pt x="134" y="246"/>
                    <a:pt x="134" y="246"/>
                    <a:pt x="134" y="246"/>
                  </a:cubicBezTo>
                  <a:cubicBezTo>
                    <a:pt x="135" y="248"/>
                    <a:pt x="136" y="249"/>
                    <a:pt x="138" y="250"/>
                  </a:cubicBezTo>
                  <a:cubicBezTo>
                    <a:pt x="138" y="251"/>
                    <a:pt x="139" y="251"/>
                    <a:pt x="141" y="252"/>
                  </a:cubicBezTo>
                  <a:cubicBezTo>
                    <a:pt x="141" y="252"/>
                    <a:pt x="142" y="252"/>
                    <a:pt x="143" y="252"/>
                  </a:cubicBezTo>
                  <a:cubicBezTo>
                    <a:pt x="143" y="252"/>
                    <a:pt x="143" y="252"/>
                    <a:pt x="144" y="252"/>
                  </a:cubicBezTo>
                  <a:cubicBezTo>
                    <a:pt x="144" y="252"/>
                    <a:pt x="144" y="252"/>
                    <a:pt x="144" y="252"/>
                  </a:cubicBezTo>
                  <a:cubicBezTo>
                    <a:pt x="145" y="252"/>
                    <a:pt x="145" y="252"/>
                    <a:pt x="145" y="252"/>
                  </a:cubicBezTo>
                  <a:cubicBezTo>
                    <a:pt x="146" y="252"/>
                    <a:pt x="147" y="252"/>
                    <a:pt x="148" y="253"/>
                  </a:cubicBezTo>
                  <a:cubicBezTo>
                    <a:pt x="149" y="253"/>
                    <a:pt x="149" y="253"/>
                    <a:pt x="149" y="253"/>
                  </a:cubicBezTo>
                  <a:cubicBezTo>
                    <a:pt x="151" y="254"/>
                    <a:pt x="153" y="255"/>
                    <a:pt x="154" y="255"/>
                  </a:cubicBezTo>
                  <a:cubicBezTo>
                    <a:pt x="155" y="256"/>
                    <a:pt x="155" y="256"/>
                    <a:pt x="155" y="256"/>
                  </a:cubicBezTo>
                  <a:cubicBezTo>
                    <a:pt x="156" y="256"/>
                    <a:pt x="156" y="256"/>
                    <a:pt x="156" y="256"/>
                  </a:cubicBezTo>
                  <a:cubicBezTo>
                    <a:pt x="157" y="257"/>
                    <a:pt x="157" y="257"/>
                    <a:pt x="158" y="257"/>
                  </a:cubicBezTo>
                  <a:cubicBezTo>
                    <a:pt x="158" y="258"/>
                    <a:pt x="158" y="258"/>
                    <a:pt x="159" y="259"/>
                  </a:cubicBezTo>
                  <a:cubicBezTo>
                    <a:pt x="160" y="260"/>
                    <a:pt x="161" y="261"/>
                    <a:pt x="162" y="263"/>
                  </a:cubicBezTo>
                  <a:cubicBezTo>
                    <a:pt x="163" y="264"/>
                    <a:pt x="164" y="265"/>
                    <a:pt x="166" y="266"/>
                  </a:cubicBezTo>
                  <a:cubicBezTo>
                    <a:pt x="166" y="266"/>
                    <a:pt x="166" y="266"/>
                    <a:pt x="166" y="266"/>
                  </a:cubicBezTo>
                  <a:cubicBezTo>
                    <a:pt x="168" y="267"/>
                    <a:pt x="169" y="268"/>
                    <a:pt x="171" y="268"/>
                  </a:cubicBezTo>
                  <a:cubicBezTo>
                    <a:pt x="171" y="269"/>
                    <a:pt x="171" y="269"/>
                    <a:pt x="171" y="269"/>
                  </a:cubicBezTo>
                  <a:cubicBezTo>
                    <a:pt x="173" y="269"/>
                    <a:pt x="175" y="270"/>
                    <a:pt x="176" y="271"/>
                  </a:cubicBezTo>
                  <a:cubicBezTo>
                    <a:pt x="176" y="271"/>
                    <a:pt x="176" y="271"/>
                    <a:pt x="176" y="271"/>
                  </a:cubicBezTo>
                  <a:cubicBezTo>
                    <a:pt x="177" y="273"/>
                    <a:pt x="178" y="274"/>
                    <a:pt x="180" y="275"/>
                  </a:cubicBezTo>
                  <a:cubicBezTo>
                    <a:pt x="180" y="275"/>
                    <a:pt x="180" y="275"/>
                    <a:pt x="180" y="275"/>
                  </a:cubicBezTo>
                  <a:cubicBezTo>
                    <a:pt x="181" y="276"/>
                    <a:pt x="183" y="276"/>
                    <a:pt x="185" y="276"/>
                  </a:cubicBezTo>
                  <a:cubicBezTo>
                    <a:pt x="187" y="277"/>
                    <a:pt x="189" y="277"/>
                    <a:pt x="192" y="277"/>
                  </a:cubicBezTo>
                  <a:cubicBezTo>
                    <a:pt x="192" y="277"/>
                    <a:pt x="193" y="277"/>
                    <a:pt x="193" y="278"/>
                  </a:cubicBezTo>
                  <a:cubicBezTo>
                    <a:pt x="195" y="278"/>
                    <a:pt x="197" y="278"/>
                    <a:pt x="198" y="279"/>
                  </a:cubicBezTo>
                  <a:cubicBezTo>
                    <a:pt x="198" y="279"/>
                    <a:pt x="198" y="279"/>
                    <a:pt x="198" y="280"/>
                  </a:cubicBezTo>
                  <a:cubicBezTo>
                    <a:pt x="201" y="279"/>
                    <a:pt x="204" y="278"/>
                    <a:pt x="206" y="277"/>
                  </a:cubicBezTo>
                  <a:cubicBezTo>
                    <a:pt x="207" y="277"/>
                    <a:pt x="208" y="277"/>
                    <a:pt x="209" y="276"/>
                  </a:cubicBezTo>
                  <a:cubicBezTo>
                    <a:pt x="211" y="276"/>
                    <a:pt x="213" y="275"/>
                    <a:pt x="215" y="275"/>
                  </a:cubicBezTo>
                  <a:cubicBezTo>
                    <a:pt x="216" y="274"/>
                    <a:pt x="216" y="272"/>
                    <a:pt x="216" y="272"/>
                  </a:cubicBezTo>
                  <a:cubicBezTo>
                    <a:pt x="218" y="270"/>
                    <a:pt x="221" y="268"/>
                    <a:pt x="224" y="267"/>
                  </a:cubicBezTo>
                  <a:cubicBezTo>
                    <a:pt x="226" y="267"/>
                    <a:pt x="229" y="267"/>
                    <a:pt x="231" y="267"/>
                  </a:cubicBezTo>
                  <a:cubicBezTo>
                    <a:pt x="231" y="267"/>
                    <a:pt x="231" y="267"/>
                    <a:pt x="232" y="267"/>
                  </a:cubicBezTo>
                  <a:cubicBezTo>
                    <a:pt x="232" y="267"/>
                    <a:pt x="232" y="267"/>
                    <a:pt x="232" y="267"/>
                  </a:cubicBezTo>
                  <a:cubicBezTo>
                    <a:pt x="234" y="267"/>
                    <a:pt x="237" y="267"/>
                    <a:pt x="239" y="267"/>
                  </a:cubicBezTo>
                  <a:cubicBezTo>
                    <a:pt x="240" y="268"/>
                    <a:pt x="242" y="268"/>
                    <a:pt x="243" y="270"/>
                  </a:cubicBezTo>
                  <a:cubicBezTo>
                    <a:pt x="243" y="270"/>
                    <a:pt x="243" y="270"/>
                    <a:pt x="243" y="270"/>
                  </a:cubicBezTo>
                  <a:cubicBezTo>
                    <a:pt x="244" y="272"/>
                    <a:pt x="244" y="274"/>
                    <a:pt x="245" y="276"/>
                  </a:cubicBezTo>
                  <a:cubicBezTo>
                    <a:pt x="245" y="278"/>
                    <a:pt x="245" y="280"/>
                    <a:pt x="246" y="282"/>
                  </a:cubicBezTo>
                  <a:cubicBezTo>
                    <a:pt x="246" y="283"/>
                    <a:pt x="246" y="283"/>
                    <a:pt x="246" y="284"/>
                  </a:cubicBezTo>
                  <a:cubicBezTo>
                    <a:pt x="246" y="285"/>
                    <a:pt x="247" y="287"/>
                    <a:pt x="247" y="288"/>
                  </a:cubicBezTo>
                  <a:cubicBezTo>
                    <a:pt x="248" y="290"/>
                    <a:pt x="248" y="292"/>
                    <a:pt x="249" y="294"/>
                  </a:cubicBezTo>
                  <a:cubicBezTo>
                    <a:pt x="249" y="294"/>
                    <a:pt x="249" y="294"/>
                    <a:pt x="249" y="294"/>
                  </a:cubicBezTo>
                  <a:cubicBezTo>
                    <a:pt x="250" y="295"/>
                    <a:pt x="252" y="295"/>
                    <a:pt x="255" y="296"/>
                  </a:cubicBezTo>
                  <a:cubicBezTo>
                    <a:pt x="255" y="296"/>
                    <a:pt x="255" y="296"/>
                    <a:pt x="255" y="296"/>
                  </a:cubicBezTo>
                  <a:cubicBezTo>
                    <a:pt x="257" y="296"/>
                    <a:pt x="259" y="296"/>
                    <a:pt x="261" y="296"/>
                  </a:cubicBezTo>
                  <a:cubicBezTo>
                    <a:pt x="263" y="297"/>
                    <a:pt x="265" y="297"/>
                    <a:pt x="268" y="297"/>
                  </a:cubicBezTo>
                  <a:cubicBezTo>
                    <a:pt x="270" y="298"/>
                    <a:pt x="272" y="298"/>
                    <a:pt x="274" y="298"/>
                  </a:cubicBezTo>
                  <a:cubicBezTo>
                    <a:pt x="275" y="299"/>
                    <a:pt x="276" y="299"/>
                    <a:pt x="277" y="299"/>
                  </a:cubicBezTo>
                  <a:cubicBezTo>
                    <a:pt x="278" y="299"/>
                    <a:pt x="278" y="299"/>
                    <a:pt x="279" y="300"/>
                  </a:cubicBezTo>
                  <a:cubicBezTo>
                    <a:pt x="280" y="300"/>
                    <a:pt x="280" y="300"/>
                    <a:pt x="280" y="300"/>
                  </a:cubicBezTo>
                  <a:cubicBezTo>
                    <a:pt x="282" y="301"/>
                    <a:pt x="282" y="302"/>
                    <a:pt x="284" y="302"/>
                  </a:cubicBezTo>
                  <a:cubicBezTo>
                    <a:pt x="284" y="302"/>
                    <a:pt x="285" y="302"/>
                    <a:pt x="285" y="302"/>
                  </a:cubicBezTo>
                  <a:cubicBezTo>
                    <a:pt x="286" y="302"/>
                    <a:pt x="286" y="302"/>
                    <a:pt x="286" y="302"/>
                  </a:cubicBezTo>
                  <a:cubicBezTo>
                    <a:pt x="288" y="301"/>
                    <a:pt x="290" y="301"/>
                    <a:pt x="292" y="301"/>
                  </a:cubicBezTo>
                  <a:cubicBezTo>
                    <a:pt x="292" y="301"/>
                    <a:pt x="293" y="301"/>
                    <a:pt x="294" y="301"/>
                  </a:cubicBezTo>
                  <a:cubicBezTo>
                    <a:pt x="295" y="301"/>
                    <a:pt x="296" y="301"/>
                    <a:pt x="297" y="301"/>
                  </a:cubicBezTo>
                  <a:cubicBezTo>
                    <a:pt x="298" y="301"/>
                    <a:pt x="299" y="301"/>
                    <a:pt x="301" y="301"/>
                  </a:cubicBezTo>
                  <a:cubicBezTo>
                    <a:pt x="303" y="301"/>
                    <a:pt x="306" y="301"/>
                    <a:pt x="308" y="302"/>
                  </a:cubicBezTo>
                  <a:cubicBezTo>
                    <a:pt x="308" y="302"/>
                    <a:pt x="309" y="302"/>
                    <a:pt x="310" y="302"/>
                  </a:cubicBezTo>
                  <a:cubicBezTo>
                    <a:pt x="310" y="302"/>
                    <a:pt x="310" y="302"/>
                    <a:pt x="310" y="302"/>
                  </a:cubicBezTo>
                  <a:cubicBezTo>
                    <a:pt x="311" y="302"/>
                    <a:pt x="311" y="303"/>
                    <a:pt x="313" y="304"/>
                  </a:cubicBezTo>
                  <a:cubicBezTo>
                    <a:pt x="313" y="304"/>
                    <a:pt x="313" y="304"/>
                    <a:pt x="313" y="304"/>
                  </a:cubicBezTo>
                  <a:cubicBezTo>
                    <a:pt x="314" y="305"/>
                    <a:pt x="316" y="306"/>
                    <a:pt x="318" y="306"/>
                  </a:cubicBezTo>
                  <a:cubicBezTo>
                    <a:pt x="320" y="307"/>
                    <a:pt x="322" y="307"/>
                    <a:pt x="323" y="308"/>
                  </a:cubicBezTo>
                  <a:cubicBezTo>
                    <a:pt x="324" y="308"/>
                    <a:pt x="324" y="308"/>
                    <a:pt x="324" y="308"/>
                  </a:cubicBezTo>
                  <a:cubicBezTo>
                    <a:pt x="324" y="308"/>
                    <a:pt x="324" y="308"/>
                    <a:pt x="325" y="308"/>
                  </a:cubicBezTo>
                  <a:cubicBezTo>
                    <a:pt x="326" y="308"/>
                    <a:pt x="328" y="307"/>
                    <a:pt x="329" y="307"/>
                  </a:cubicBezTo>
                  <a:cubicBezTo>
                    <a:pt x="329" y="306"/>
                    <a:pt x="329" y="306"/>
                    <a:pt x="329" y="306"/>
                  </a:cubicBezTo>
                  <a:cubicBezTo>
                    <a:pt x="329" y="305"/>
                    <a:pt x="329" y="305"/>
                    <a:pt x="329" y="305"/>
                  </a:cubicBezTo>
                  <a:cubicBezTo>
                    <a:pt x="330" y="304"/>
                    <a:pt x="330" y="304"/>
                    <a:pt x="330" y="304"/>
                  </a:cubicBezTo>
                  <a:cubicBezTo>
                    <a:pt x="330" y="304"/>
                    <a:pt x="330" y="303"/>
                    <a:pt x="330" y="302"/>
                  </a:cubicBezTo>
                  <a:cubicBezTo>
                    <a:pt x="330" y="302"/>
                    <a:pt x="330" y="302"/>
                    <a:pt x="330" y="302"/>
                  </a:cubicBezTo>
                  <a:cubicBezTo>
                    <a:pt x="330" y="301"/>
                    <a:pt x="330" y="301"/>
                    <a:pt x="331" y="300"/>
                  </a:cubicBezTo>
                  <a:cubicBezTo>
                    <a:pt x="331" y="299"/>
                    <a:pt x="331" y="299"/>
                    <a:pt x="331" y="299"/>
                  </a:cubicBezTo>
                  <a:cubicBezTo>
                    <a:pt x="332" y="295"/>
                    <a:pt x="332" y="292"/>
                    <a:pt x="333" y="288"/>
                  </a:cubicBezTo>
                  <a:cubicBezTo>
                    <a:pt x="334" y="285"/>
                    <a:pt x="334" y="284"/>
                    <a:pt x="337" y="282"/>
                  </a:cubicBezTo>
                  <a:cubicBezTo>
                    <a:pt x="338" y="282"/>
                    <a:pt x="338" y="282"/>
                    <a:pt x="338" y="282"/>
                  </a:cubicBezTo>
                  <a:cubicBezTo>
                    <a:pt x="338" y="282"/>
                    <a:pt x="339" y="281"/>
                    <a:pt x="339" y="281"/>
                  </a:cubicBezTo>
                  <a:cubicBezTo>
                    <a:pt x="340" y="280"/>
                    <a:pt x="340" y="280"/>
                    <a:pt x="340" y="280"/>
                  </a:cubicBezTo>
                  <a:cubicBezTo>
                    <a:pt x="341" y="280"/>
                    <a:pt x="342" y="279"/>
                    <a:pt x="342" y="279"/>
                  </a:cubicBezTo>
                  <a:cubicBezTo>
                    <a:pt x="344" y="278"/>
                    <a:pt x="345" y="277"/>
                    <a:pt x="346" y="277"/>
                  </a:cubicBezTo>
                  <a:cubicBezTo>
                    <a:pt x="354" y="276"/>
                    <a:pt x="354" y="276"/>
                    <a:pt x="354" y="276"/>
                  </a:cubicBezTo>
                  <a:cubicBezTo>
                    <a:pt x="355" y="276"/>
                    <a:pt x="356" y="276"/>
                    <a:pt x="356" y="276"/>
                  </a:cubicBezTo>
                  <a:cubicBezTo>
                    <a:pt x="357" y="275"/>
                    <a:pt x="358" y="275"/>
                    <a:pt x="359" y="275"/>
                  </a:cubicBezTo>
                  <a:cubicBezTo>
                    <a:pt x="360" y="271"/>
                    <a:pt x="360" y="271"/>
                    <a:pt x="360" y="271"/>
                  </a:cubicBezTo>
                  <a:cubicBezTo>
                    <a:pt x="360" y="270"/>
                    <a:pt x="360" y="268"/>
                    <a:pt x="361" y="267"/>
                  </a:cubicBezTo>
                  <a:cubicBezTo>
                    <a:pt x="360" y="267"/>
                    <a:pt x="360" y="267"/>
                    <a:pt x="360" y="267"/>
                  </a:cubicBezTo>
                  <a:cubicBezTo>
                    <a:pt x="360" y="267"/>
                    <a:pt x="359" y="267"/>
                    <a:pt x="359" y="267"/>
                  </a:cubicBezTo>
                  <a:cubicBezTo>
                    <a:pt x="359" y="267"/>
                    <a:pt x="358" y="267"/>
                    <a:pt x="358" y="267"/>
                  </a:cubicBezTo>
                  <a:cubicBezTo>
                    <a:pt x="357" y="267"/>
                    <a:pt x="357" y="267"/>
                    <a:pt x="357" y="267"/>
                  </a:cubicBezTo>
                  <a:cubicBezTo>
                    <a:pt x="357" y="267"/>
                    <a:pt x="356" y="267"/>
                    <a:pt x="356" y="267"/>
                  </a:cubicBezTo>
                  <a:cubicBezTo>
                    <a:pt x="356" y="267"/>
                    <a:pt x="356" y="267"/>
                    <a:pt x="356" y="267"/>
                  </a:cubicBezTo>
                  <a:cubicBezTo>
                    <a:pt x="354" y="267"/>
                    <a:pt x="352" y="266"/>
                    <a:pt x="351" y="264"/>
                  </a:cubicBezTo>
                  <a:cubicBezTo>
                    <a:pt x="351" y="262"/>
                    <a:pt x="351" y="261"/>
                    <a:pt x="351" y="260"/>
                  </a:cubicBezTo>
                  <a:cubicBezTo>
                    <a:pt x="351" y="259"/>
                    <a:pt x="351" y="259"/>
                    <a:pt x="351" y="258"/>
                  </a:cubicBezTo>
                  <a:cubicBezTo>
                    <a:pt x="351" y="251"/>
                    <a:pt x="351" y="251"/>
                    <a:pt x="351" y="251"/>
                  </a:cubicBezTo>
                  <a:cubicBezTo>
                    <a:pt x="351" y="251"/>
                    <a:pt x="351" y="250"/>
                    <a:pt x="352" y="249"/>
                  </a:cubicBezTo>
                  <a:cubicBezTo>
                    <a:pt x="352" y="248"/>
                    <a:pt x="352" y="247"/>
                    <a:pt x="352" y="247"/>
                  </a:cubicBezTo>
                  <a:cubicBezTo>
                    <a:pt x="351" y="246"/>
                    <a:pt x="351" y="246"/>
                    <a:pt x="351" y="246"/>
                  </a:cubicBezTo>
                  <a:cubicBezTo>
                    <a:pt x="350" y="246"/>
                    <a:pt x="350" y="246"/>
                    <a:pt x="350" y="246"/>
                  </a:cubicBezTo>
                  <a:cubicBezTo>
                    <a:pt x="349" y="245"/>
                    <a:pt x="348" y="245"/>
                    <a:pt x="347" y="245"/>
                  </a:cubicBezTo>
                  <a:cubicBezTo>
                    <a:pt x="346" y="244"/>
                    <a:pt x="346" y="244"/>
                    <a:pt x="345" y="244"/>
                  </a:cubicBezTo>
                  <a:cubicBezTo>
                    <a:pt x="344" y="244"/>
                    <a:pt x="344" y="243"/>
                    <a:pt x="343" y="243"/>
                  </a:cubicBezTo>
                  <a:cubicBezTo>
                    <a:pt x="343" y="243"/>
                    <a:pt x="343" y="243"/>
                    <a:pt x="343" y="243"/>
                  </a:cubicBezTo>
                  <a:cubicBezTo>
                    <a:pt x="342" y="243"/>
                    <a:pt x="341" y="242"/>
                    <a:pt x="340" y="242"/>
                  </a:cubicBezTo>
                  <a:cubicBezTo>
                    <a:pt x="338" y="241"/>
                    <a:pt x="336" y="240"/>
                    <a:pt x="334" y="238"/>
                  </a:cubicBezTo>
                  <a:cubicBezTo>
                    <a:pt x="333" y="235"/>
                    <a:pt x="331" y="233"/>
                    <a:pt x="329" y="230"/>
                  </a:cubicBezTo>
                  <a:cubicBezTo>
                    <a:pt x="328" y="230"/>
                    <a:pt x="328" y="230"/>
                    <a:pt x="328" y="230"/>
                  </a:cubicBezTo>
                  <a:cubicBezTo>
                    <a:pt x="324" y="225"/>
                    <a:pt x="320" y="219"/>
                    <a:pt x="316" y="213"/>
                  </a:cubicBezTo>
                  <a:cubicBezTo>
                    <a:pt x="316" y="212"/>
                    <a:pt x="316" y="212"/>
                    <a:pt x="316" y="212"/>
                  </a:cubicBezTo>
                  <a:cubicBezTo>
                    <a:pt x="312" y="211"/>
                    <a:pt x="312" y="211"/>
                    <a:pt x="312" y="211"/>
                  </a:cubicBezTo>
                  <a:cubicBezTo>
                    <a:pt x="315" y="209"/>
                    <a:pt x="315" y="209"/>
                    <a:pt x="315" y="209"/>
                  </a:cubicBezTo>
                  <a:cubicBezTo>
                    <a:pt x="315" y="209"/>
                    <a:pt x="315" y="209"/>
                    <a:pt x="315" y="209"/>
                  </a:cubicBezTo>
                  <a:cubicBezTo>
                    <a:pt x="316" y="209"/>
                    <a:pt x="316" y="209"/>
                    <a:pt x="316" y="209"/>
                  </a:cubicBezTo>
                  <a:cubicBezTo>
                    <a:pt x="317" y="207"/>
                    <a:pt x="318" y="206"/>
                    <a:pt x="319" y="205"/>
                  </a:cubicBezTo>
                  <a:cubicBezTo>
                    <a:pt x="323" y="200"/>
                    <a:pt x="323" y="200"/>
                    <a:pt x="323" y="200"/>
                  </a:cubicBezTo>
                  <a:cubicBezTo>
                    <a:pt x="324" y="200"/>
                    <a:pt x="324" y="199"/>
                    <a:pt x="325" y="198"/>
                  </a:cubicBezTo>
                  <a:cubicBezTo>
                    <a:pt x="326" y="197"/>
                    <a:pt x="326" y="197"/>
                    <a:pt x="326" y="197"/>
                  </a:cubicBezTo>
                  <a:cubicBezTo>
                    <a:pt x="326" y="196"/>
                    <a:pt x="327" y="196"/>
                    <a:pt x="327" y="196"/>
                  </a:cubicBezTo>
                  <a:cubicBezTo>
                    <a:pt x="328" y="195"/>
                    <a:pt x="328" y="194"/>
                    <a:pt x="329" y="193"/>
                  </a:cubicBezTo>
                  <a:cubicBezTo>
                    <a:pt x="330" y="192"/>
                    <a:pt x="331" y="191"/>
                    <a:pt x="332" y="189"/>
                  </a:cubicBezTo>
                  <a:cubicBezTo>
                    <a:pt x="333" y="188"/>
                    <a:pt x="333" y="187"/>
                    <a:pt x="333" y="186"/>
                  </a:cubicBezTo>
                  <a:cubicBezTo>
                    <a:pt x="333" y="185"/>
                    <a:pt x="333" y="185"/>
                    <a:pt x="333" y="185"/>
                  </a:cubicBezTo>
                  <a:cubicBezTo>
                    <a:pt x="332" y="184"/>
                    <a:pt x="332" y="184"/>
                    <a:pt x="332" y="183"/>
                  </a:cubicBezTo>
                  <a:cubicBezTo>
                    <a:pt x="330" y="181"/>
                    <a:pt x="330" y="181"/>
                    <a:pt x="330" y="181"/>
                  </a:cubicBezTo>
                  <a:cubicBezTo>
                    <a:pt x="330" y="181"/>
                    <a:pt x="330" y="181"/>
                    <a:pt x="329" y="180"/>
                  </a:cubicBezTo>
                  <a:cubicBezTo>
                    <a:pt x="319" y="179"/>
                    <a:pt x="319" y="179"/>
                    <a:pt x="319" y="179"/>
                  </a:cubicBezTo>
                  <a:cubicBezTo>
                    <a:pt x="318" y="179"/>
                    <a:pt x="318" y="179"/>
                    <a:pt x="318" y="179"/>
                  </a:cubicBezTo>
                  <a:cubicBezTo>
                    <a:pt x="318" y="179"/>
                    <a:pt x="315" y="179"/>
                    <a:pt x="315" y="176"/>
                  </a:cubicBezTo>
                  <a:cubicBezTo>
                    <a:pt x="314" y="176"/>
                    <a:pt x="314" y="175"/>
                    <a:pt x="314" y="175"/>
                  </a:cubicBezTo>
                  <a:cubicBezTo>
                    <a:pt x="314" y="174"/>
                    <a:pt x="314" y="174"/>
                    <a:pt x="314" y="173"/>
                  </a:cubicBezTo>
                  <a:cubicBezTo>
                    <a:pt x="314" y="172"/>
                    <a:pt x="314" y="172"/>
                    <a:pt x="314" y="172"/>
                  </a:cubicBezTo>
                  <a:cubicBezTo>
                    <a:pt x="314" y="172"/>
                    <a:pt x="314" y="172"/>
                    <a:pt x="314" y="171"/>
                  </a:cubicBezTo>
                  <a:cubicBezTo>
                    <a:pt x="314" y="168"/>
                    <a:pt x="314" y="168"/>
                    <a:pt x="314" y="168"/>
                  </a:cubicBezTo>
                  <a:cubicBezTo>
                    <a:pt x="314" y="166"/>
                    <a:pt x="314" y="164"/>
                    <a:pt x="314" y="163"/>
                  </a:cubicBezTo>
                  <a:cubicBezTo>
                    <a:pt x="314" y="162"/>
                    <a:pt x="314" y="161"/>
                    <a:pt x="314" y="160"/>
                  </a:cubicBezTo>
                  <a:cubicBezTo>
                    <a:pt x="314" y="159"/>
                    <a:pt x="314" y="159"/>
                    <a:pt x="314" y="159"/>
                  </a:cubicBezTo>
                  <a:cubicBezTo>
                    <a:pt x="314" y="157"/>
                    <a:pt x="314" y="157"/>
                    <a:pt x="314" y="157"/>
                  </a:cubicBezTo>
                  <a:cubicBezTo>
                    <a:pt x="313" y="156"/>
                    <a:pt x="313" y="156"/>
                    <a:pt x="313" y="155"/>
                  </a:cubicBezTo>
                  <a:cubicBezTo>
                    <a:pt x="311" y="148"/>
                    <a:pt x="311" y="148"/>
                    <a:pt x="311" y="148"/>
                  </a:cubicBezTo>
                  <a:cubicBezTo>
                    <a:pt x="311" y="148"/>
                    <a:pt x="311" y="148"/>
                    <a:pt x="311" y="147"/>
                  </a:cubicBezTo>
                  <a:cubicBezTo>
                    <a:pt x="310" y="142"/>
                    <a:pt x="310" y="142"/>
                    <a:pt x="310" y="142"/>
                  </a:cubicBezTo>
                  <a:cubicBezTo>
                    <a:pt x="310" y="139"/>
                    <a:pt x="312" y="137"/>
                    <a:pt x="314" y="135"/>
                  </a:cubicBezTo>
                  <a:cubicBezTo>
                    <a:pt x="314" y="135"/>
                    <a:pt x="314" y="135"/>
                    <a:pt x="314" y="135"/>
                  </a:cubicBezTo>
                  <a:cubicBezTo>
                    <a:pt x="312" y="134"/>
                    <a:pt x="311" y="134"/>
                    <a:pt x="310" y="133"/>
                  </a:cubicBezTo>
                  <a:cubicBezTo>
                    <a:pt x="309" y="132"/>
                    <a:pt x="309" y="131"/>
                    <a:pt x="308" y="129"/>
                  </a:cubicBezTo>
                  <a:cubicBezTo>
                    <a:pt x="308" y="129"/>
                    <a:pt x="308" y="129"/>
                    <a:pt x="308" y="129"/>
                  </a:cubicBezTo>
                  <a:cubicBezTo>
                    <a:pt x="308" y="128"/>
                    <a:pt x="308" y="127"/>
                    <a:pt x="308" y="126"/>
                  </a:cubicBezTo>
                  <a:cubicBezTo>
                    <a:pt x="308" y="123"/>
                    <a:pt x="308" y="122"/>
                    <a:pt x="308" y="121"/>
                  </a:cubicBezTo>
                  <a:cubicBezTo>
                    <a:pt x="308" y="121"/>
                    <a:pt x="308" y="121"/>
                    <a:pt x="308" y="121"/>
                  </a:cubicBezTo>
                  <a:cubicBezTo>
                    <a:pt x="307" y="121"/>
                    <a:pt x="307" y="121"/>
                    <a:pt x="307" y="121"/>
                  </a:cubicBezTo>
                  <a:cubicBezTo>
                    <a:pt x="314" y="115"/>
                    <a:pt x="314" y="115"/>
                    <a:pt x="314" y="115"/>
                  </a:cubicBezTo>
                  <a:cubicBezTo>
                    <a:pt x="314" y="114"/>
                    <a:pt x="313" y="114"/>
                    <a:pt x="313" y="114"/>
                  </a:cubicBezTo>
                  <a:cubicBezTo>
                    <a:pt x="311" y="112"/>
                    <a:pt x="311" y="112"/>
                    <a:pt x="311" y="112"/>
                  </a:cubicBezTo>
                  <a:cubicBezTo>
                    <a:pt x="313" y="110"/>
                    <a:pt x="313" y="110"/>
                    <a:pt x="313" y="110"/>
                  </a:cubicBezTo>
                  <a:cubicBezTo>
                    <a:pt x="314" y="109"/>
                    <a:pt x="315" y="108"/>
                    <a:pt x="316" y="107"/>
                  </a:cubicBezTo>
                  <a:cubicBezTo>
                    <a:pt x="317" y="106"/>
                    <a:pt x="317" y="106"/>
                    <a:pt x="317" y="106"/>
                  </a:cubicBezTo>
                  <a:cubicBezTo>
                    <a:pt x="318" y="105"/>
                    <a:pt x="318" y="105"/>
                    <a:pt x="319" y="104"/>
                  </a:cubicBezTo>
                  <a:cubicBezTo>
                    <a:pt x="319" y="102"/>
                    <a:pt x="319" y="102"/>
                    <a:pt x="319" y="102"/>
                  </a:cubicBezTo>
                  <a:cubicBezTo>
                    <a:pt x="319" y="102"/>
                    <a:pt x="319" y="102"/>
                    <a:pt x="319" y="102"/>
                  </a:cubicBezTo>
                  <a:cubicBezTo>
                    <a:pt x="319" y="101"/>
                    <a:pt x="319" y="101"/>
                    <a:pt x="319" y="101"/>
                  </a:cubicBezTo>
                  <a:cubicBezTo>
                    <a:pt x="320" y="101"/>
                    <a:pt x="320" y="100"/>
                    <a:pt x="320" y="99"/>
                  </a:cubicBezTo>
                  <a:cubicBezTo>
                    <a:pt x="322" y="92"/>
                    <a:pt x="322" y="92"/>
                    <a:pt x="322" y="92"/>
                  </a:cubicBezTo>
                  <a:cubicBezTo>
                    <a:pt x="324" y="90"/>
                    <a:pt x="324" y="90"/>
                    <a:pt x="324" y="90"/>
                  </a:cubicBezTo>
                  <a:cubicBezTo>
                    <a:pt x="324" y="90"/>
                    <a:pt x="324" y="90"/>
                    <a:pt x="324" y="90"/>
                  </a:cubicBezTo>
                  <a:cubicBezTo>
                    <a:pt x="324" y="89"/>
                    <a:pt x="323" y="89"/>
                    <a:pt x="323" y="89"/>
                  </a:cubicBezTo>
                  <a:cubicBezTo>
                    <a:pt x="323" y="88"/>
                    <a:pt x="323" y="88"/>
                    <a:pt x="323" y="88"/>
                  </a:cubicBezTo>
                  <a:cubicBezTo>
                    <a:pt x="323" y="87"/>
                    <a:pt x="323" y="87"/>
                    <a:pt x="322" y="86"/>
                  </a:cubicBezTo>
                  <a:cubicBezTo>
                    <a:pt x="322" y="85"/>
                    <a:pt x="322" y="85"/>
                    <a:pt x="322" y="85"/>
                  </a:cubicBezTo>
                  <a:cubicBezTo>
                    <a:pt x="321" y="83"/>
                    <a:pt x="321" y="83"/>
                    <a:pt x="321" y="83"/>
                  </a:cubicBezTo>
                  <a:cubicBezTo>
                    <a:pt x="321" y="81"/>
                    <a:pt x="321" y="78"/>
                    <a:pt x="321" y="76"/>
                  </a:cubicBezTo>
                  <a:cubicBezTo>
                    <a:pt x="321" y="75"/>
                    <a:pt x="321" y="75"/>
                    <a:pt x="321" y="75"/>
                  </a:cubicBezTo>
                  <a:cubicBezTo>
                    <a:pt x="321" y="75"/>
                    <a:pt x="321" y="74"/>
                    <a:pt x="321" y="74"/>
                  </a:cubicBezTo>
                  <a:cubicBezTo>
                    <a:pt x="321" y="73"/>
                    <a:pt x="321" y="73"/>
                    <a:pt x="321" y="73"/>
                  </a:cubicBezTo>
                  <a:cubicBezTo>
                    <a:pt x="321" y="71"/>
                    <a:pt x="321" y="69"/>
                    <a:pt x="321" y="68"/>
                  </a:cubicBezTo>
                  <a:cubicBezTo>
                    <a:pt x="321" y="68"/>
                    <a:pt x="321" y="68"/>
                    <a:pt x="321" y="68"/>
                  </a:cubicBezTo>
                  <a:cubicBezTo>
                    <a:pt x="320" y="68"/>
                    <a:pt x="319" y="68"/>
                    <a:pt x="318" y="68"/>
                  </a:cubicBezTo>
                  <a:cubicBezTo>
                    <a:pt x="317" y="68"/>
                    <a:pt x="317" y="68"/>
                    <a:pt x="316" y="68"/>
                  </a:cubicBezTo>
                  <a:cubicBezTo>
                    <a:pt x="314" y="68"/>
                    <a:pt x="314" y="68"/>
                    <a:pt x="314" y="68"/>
                  </a:cubicBezTo>
                  <a:cubicBezTo>
                    <a:pt x="313" y="68"/>
                    <a:pt x="312" y="68"/>
                    <a:pt x="311" y="68"/>
                  </a:cubicBezTo>
                  <a:cubicBezTo>
                    <a:pt x="311" y="71"/>
                    <a:pt x="311" y="71"/>
                    <a:pt x="311" y="71"/>
                  </a:cubicBezTo>
                  <a:cubicBezTo>
                    <a:pt x="310" y="68"/>
                    <a:pt x="310" y="68"/>
                    <a:pt x="310" y="68"/>
                  </a:cubicBezTo>
                  <a:cubicBezTo>
                    <a:pt x="310" y="68"/>
                    <a:pt x="310" y="68"/>
                    <a:pt x="310" y="68"/>
                  </a:cubicBezTo>
                  <a:cubicBezTo>
                    <a:pt x="309" y="68"/>
                    <a:pt x="308" y="68"/>
                    <a:pt x="307" y="68"/>
                  </a:cubicBezTo>
                  <a:cubicBezTo>
                    <a:pt x="306" y="67"/>
                    <a:pt x="306" y="67"/>
                    <a:pt x="305" y="67"/>
                  </a:cubicBezTo>
                  <a:cubicBezTo>
                    <a:pt x="305" y="66"/>
                    <a:pt x="305" y="66"/>
                    <a:pt x="305" y="66"/>
                  </a:cubicBezTo>
                  <a:cubicBezTo>
                    <a:pt x="304" y="66"/>
                    <a:pt x="304" y="65"/>
                    <a:pt x="303" y="64"/>
                  </a:cubicBezTo>
                  <a:cubicBezTo>
                    <a:pt x="302" y="63"/>
                    <a:pt x="302" y="63"/>
                    <a:pt x="302" y="63"/>
                  </a:cubicBezTo>
                  <a:cubicBezTo>
                    <a:pt x="302" y="62"/>
                    <a:pt x="301" y="61"/>
                    <a:pt x="301" y="61"/>
                  </a:cubicBezTo>
                  <a:cubicBezTo>
                    <a:pt x="301" y="61"/>
                    <a:pt x="301" y="61"/>
                    <a:pt x="301" y="61"/>
                  </a:cubicBezTo>
                  <a:cubicBezTo>
                    <a:pt x="300" y="60"/>
                    <a:pt x="300" y="60"/>
                    <a:pt x="300" y="60"/>
                  </a:cubicBezTo>
                  <a:cubicBezTo>
                    <a:pt x="300" y="59"/>
                    <a:pt x="300" y="59"/>
                    <a:pt x="300" y="59"/>
                  </a:cubicBezTo>
                  <a:cubicBezTo>
                    <a:pt x="298" y="59"/>
                    <a:pt x="297" y="58"/>
                    <a:pt x="295" y="58"/>
                  </a:cubicBezTo>
                  <a:cubicBezTo>
                    <a:pt x="295" y="58"/>
                    <a:pt x="295" y="58"/>
                    <a:pt x="295" y="58"/>
                  </a:cubicBezTo>
                  <a:cubicBezTo>
                    <a:pt x="294" y="58"/>
                    <a:pt x="294" y="58"/>
                    <a:pt x="293" y="57"/>
                  </a:cubicBezTo>
                  <a:cubicBezTo>
                    <a:pt x="293" y="57"/>
                    <a:pt x="293" y="57"/>
                    <a:pt x="293" y="57"/>
                  </a:cubicBezTo>
                  <a:cubicBezTo>
                    <a:pt x="292" y="57"/>
                    <a:pt x="292" y="57"/>
                    <a:pt x="292" y="57"/>
                  </a:cubicBezTo>
                  <a:cubicBezTo>
                    <a:pt x="291" y="56"/>
                    <a:pt x="291" y="56"/>
                    <a:pt x="291" y="56"/>
                  </a:cubicBezTo>
                  <a:cubicBezTo>
                    <a:pt x="291" y="56"/>
                    <a:pt x="291" y="55"/>
                    <a:pt x="290" y="55"/>
                  </a:cubicBezTo>
                  <a:cubicBezTo>
                    <a:pt x="290" y="53"/>
                    <a:pt x="290" y="53"/>
                    <a:pt x="290" y="53"/>
                  </a:cubicBezTo>
                  <a:cubicBezTo>
                    <a:pt x="289" y="52"/>
                    <a:pt x="288" y="51"/>
                    <a:pt x="287" y="49"/>
                  </a:cubicBezTo>
                  <a:cubicBezTo>
                    <a:pt x="287" y="49"/>
                    <a:pt x="287" y="49"/>
                    <a:pt x="287" y="49"/>
                  </a:cubicBezTo>
                  <a:cubicBezTo>
                    <a:pt x="286" y="47"/>
                    <a:pt x="284" y="47"/>
                    <a:pt x="281" y="46"/>
                  </a:cubicBezTo>
                  <a:cubicBezTo>
                    <a:pt x="280" y="46"/>
                    <a:pt x="280" y="46"/>
                    <a:pt x="280" y="46"/>
                  </a:cubicBezTo>
                  <a:cubicBezTo>
                    <a:pt x="279" y="46"/>
                    <a:pt x="278" y="46"/>
                    <a:pt x="277" y="46"/>
                  </a:cubicBezTo>
                  <a:cubicBezTo>
                    <a:pt x="273" y="46"/>
                    <a:pt x="273" y="46"/>
                    <a:pt x="273" y="46"/>
                  </a:cubicBezTo>
                  <a:cubicBezTo>
                    <a:pt x="272" y="46"/>
                    <a:pt x="272" y="46"/>
                    <a:pt x="272" y="46"/>
                  </a:cubicBezTo>
                  <a:cubicBezTo>
                    <a:pt x="270" y="46"/>
                    <a:pt x="270" y="46"/>
                    <a:pt x="270" y="46"/>
                  </a:cubicBezTo>
                  <a:cubicBezTo>
                    <a:pt x="270" y="46"/>
                    <a:pt x="270" y="46"/>
                    <a:pt x="270" y="46"/>
                  </a:cubicBezTo>
                  <a:cubicBezTo>
                    <a:pt x="270" y="46"/>
                    <a:pt x="269" y="46"/>
                    <a:pt x="269" y="46"/>
                  </a:cubicBezTo>
                  <a:cubicBezTo>
                    <a:pt x="268" y="46"/>
                    <a:pt x="267" y="46"/>
                    <a:pt x="267" y="46"/>
                  </a:cubicBezTo>
                  <a:cubicBezTo>
                    <a:pt x="266" y="45"/>
                    <a:pt x="266" y="45"/>
                    <a:pt x="266" y="45"/>
                  </a:cubicBezTo>
                  <a:cubicBezTo>
                    <a:pt x="263" y="43"/>
                    <a:pt x="263" y="43"/>
                    <a:pt x="263" y="43"/>
                  </a:cubicBezTo>
                  <a:cubicBezTo>
                    <a:pt x="262" y="42"/>
                    <a:pt x="261" y="42"/>
                    <a:pt x="261" y="41"/>
                  </a:cubicBezTo>
                  <a:cubicBezTo>
                    <a:pt x="259" y="41"/>
                    <a:pt x="259" y="41"/>
                    <a:pt x="259" y="41"/>
                  </a:cubicBezTo>
                  <a:cubicBezTo>
                    <a:pt x="258" y="41"/>
                    <a:pt x="258" y="41"/>
                    <a:pt x="257" y="40"/>
                  </a:cubicBezTo>
                  <a:cubicBezTo>
                    <a:pt x="256" y="40"/>
                    <a:pt x="255" y="40"/>
                    <a:pt x="253" y="40"/>
                  </a:cubicBezTo>
                  <a:cubicBezTo>
                    <a:pt x="252" y="40"/>
                    <a:pt x="252" y="40"/>
                    <a:pt x="252" y="40"/>
                  </a:cubicBezTo>
                  <a:cubicBezTo>
                    <a:pt x="250" y="39"/>
                    <a:pt x="249" y="38"/>
                    <a:pt x="248" y="37"/>
                  </a:cubicBezTo>
                  <a:cubicBezTo>
                    <a:pt x="248" y="36"/>
                    <a:pt x="248" y="36"/>
                    <a:pt x="248" y="36"/>
                  </a:cubicBezTo>
                  <a:cubicBezTo>
                    <a:pt x="244" y="38"/>
                    <a:pt x="244" y="38"/>
                    <a:pt x="244" y="38"/>
                  </a:cubicBezTo>
                  <a:cubicBezTo>
                    <a:pt x="248" y="35"/>
                    <a:pt x="248" y="35"/>
                    <a:pt x="248" y="35"/>
                  </a:cubicBezTo>
                  <a:cubicBezTo>
                    <a:pt x="248" y="35"/>
                    <a:pt x="248" y="35"/>
                    <a:pt x="248" y="35"/>
                  </a:cubicBezTo>
                  <a:cubicBezTo>
                    <a:pt x="247" y="33"/>
                    <a:pt x="247" y="33"/>
                    <a:pt x="246" y="33"/>
                  </a:cubicBezTo>
                  <a:cubicBezTo>
                    <a:pt x="245" y="33"/>
                    <a:pt x="244" y="33"/>
                    <a:pt x="243" y="33"/>
                  </a:cubicBezTo>
                  <a:cubicBezTo>
                    <a:pt x="243" y="33"/>
                    <a:pt x="243" y="33"/>
                    <a:pt x="243" y="33"/>
                  </a:cubicBezTo>
                  <a:cubicBezTo>
                    <a:pt x="242" y="32"/>
                    <a:pt x="241" y="32"/>
                    <a:pt x="240" y="32"/>
                  </a:cubicBezTo>
                  <a:cubicBezTo>
                    <a:pt x="239" y="32"/>
                    <a:pt x="239" y="32"/>
                    <a:pt x="239" y="32"/>
                  </a:cubicBezTo>
                  <a:cubicBezTo>
                    <a:pt x="239" y="32"/>
                    <a:pt x="239" y="32"/>
                    <a:pt x="238" y="32"/>
                  </a:cubicBezTo>
                  <a:cubicBezTo>
                    <a:pt x="237" y="32"/>
                    <a:pt x="236" y="32"/>
                    <a:pt x="235" y="33"/>
                  </a:cubicBezTo>
                  <a:cubicBezTo>
                    <a:pt x="234" y="33"/>
                    <a:pt x="234" y="33"/>
                    <a:pt x="234" y="33"/>
                  </a:cubicBezTo>
                  <a:cubicBezTo>
                    <a:pt x="234" y="33"/>
                    <a:pt x="234" y="33"/>
                    <a:pt x="234" y="33"/>
                  </a:cubicBezTo>
                  <a:cubicBezTo>
                    <a:pt x="234" y="33"/>
                    <a:pt x="234" y="33"/>
                    <a:pt x="234" y="33"/>
                  </a:cubicBezTo>
                  <a:cubicBezTo>
                    <a:pt x="232" y="35"/>
                    <a:pt x="231" y="36"/>
                    <a:pt x="228" y="37"/>
                  </a:cubicBezTo>
                  <a:cubicBezTo>
                    <a:pt x="227" y="37"/>
                    <a:pt x="227" y="37"/>
                    <a:pt x="227" y="37"/>
                  </a:cubicBezTo>
                  <a:cubicBezTo>
                    <a:pt x="227" y="40"/>
                    <a:pt x="227" y="40"/>
                    <a:pt x="227" y="40"/>
                  </a:cubicBezTo>
                  <a:cubicBezTo>
                    <a:pt x="226" y="37"/>
                    <a:pt x="226" y="37"/>
                    <a:pt x="226" y="37"/>
                  </a:cubicBezTo>
                  <a:cubicBezTo>
                    <a:pt x="225" y="36"/>
                    <a:pt x="224" y="36"/>
                    <a:pt x="223" y="36"/>
                  </a:cubicBezTo>
                  <a:cubicBezTo>
                    <a:pt x="222" y="36"/>
                    <a:pt x="221" y="36"/>
                    <a:pt x="221" y="36"/>
                  </a:cubicBezTo>
                  <a:cubicBezTo>
                    <a:pt x="217" y="37"/>
                    <a:pt x="215" y="37"/>
                    <a:pt x="212" y="38"/>
                  </a:cubicBezTo>
                  <a:cubicBezTo>
                    <a:pt x="188" y="63"/>
                    <a:pt x="188" y="63"/>
                    <a:pt x="188" y="63"/>
                  </a:cubicBezTo>
                  <a:cubicBezTo>
                    <a:pt x="187" y="62"/>
                    <a:pt x="187" y="62"/>
                    <a:pt x="187" y="62"/>
                  </a:cubicBezTo>
                  <a:cubicBezTo>
                    <a:pt x="186" y="62"/>
                    <a:pt x="186" y="62"/>
                    <a:pt x="185" y="62"/>
                  </a:cubicBezTo>
                  <a:cubicBezTo>
                    <a:pt x="185" y="62"/>
                    <a:pt x="184" y="62"/>
                    <a:pt x="184" y="62"/>
                  </a:cubicBezTo>
                  <a:cubicBezTo>
                    <a:pt x="182" y="62"/>
                    <a:pt x="181" y="62"/>
                    <a:pt x="179" y="61"/>
                  </a:cubicBezTo>
                  <a:cubicBezTo>
                    <a:pt x="180" y="61"/>
                    <a:pt x="180" y="61"/>
                    <a:pt x="180" y="61"/>
                  </a:cubicBezTo>
                  <a:cubicBezTo>
                    <a:pt x="181" y="61"/>
                    <a:pt x="183" y="61"/>
                    <a:pt x="184" y="60"/>
                  </a:cubicBezTo>
                  <a:cubicBezTo>
                    <a:pt x="182" y="60"/>
                    <a:pt x="181" y="60"/>
                    <a:pt x="179" y="61"/>
                  </a:cubicBezTo>
                  <a:cubicBezTo>
                    <a:pt x="176" y="61"/>
                    <a:pt x="173" y="61"/>
                    <a:pt x="171" y="62"/>
                  </a:cubicBezTo>
                  <a:cubicBezTo>
                    <a:pt x="167" y="62"/>
                    <a:pt x="164" y="63"/>
                    <a:pt x="161" y="64"/>
                  </a:cubicBezTo>
                  <a:cubicBezTo>
                    <a:pt x="160" y="64"/>
                    <a:pt x="158" y="65"/>
                    <a:pt x="157" y="65"/>
                  </a:cubicBezTo>
                  <a:cubicBezTo>
                    <a:pt x="155" y="65"/>
                    <a:pt x="153" y="66"/>
                    <a:pt x="151" y="66"/>
                  </a:cubicBezTo>
                  <a:cubicBezTo>
                    <a:pt x="150" y="66"/>
                    <a:pt x="148" y="67"/>
                    <a:pt x="147" y="67"/>
                  </a:cubicBezTo>
                  <a:cubicBezTo>
                    <a:pt x="146" y="67"/>
                    <a:pt x="145" y="67"/>
                    <a:pt x="144" y="67"/>
                  </a:cubicBezTo>
                  <a:cubicBezTo>
                    <a:pt x="143" y="66"/>
                    <a:pt x="142" y="66"/>
                    <a:pt x="141" y="66"/>
                  </a:cubicBezTo>
                  <a:cubicBezTo>
                    <a:pt x="140" y="66"/>
                    <a:pt x="139" y="65"/>
                    <a:pt x="138" y="65"/>
                  </a:cubicBezTo>
                  <a:cubicBezTo>
                    <a:pt x="136" y="65"/>
                    <a:pt x="134" y="64"/>
                    <a:pt x="132" y="63"/>
                  </a:cubicBezTo>
                  <a:cubicBezTo>
                    <a:pt x="130" y="63"/>
                    <a:pt x="129" y="62"/>
                    <a:pt x="127" y="61"/>
                  </a:cubicBezTo>
                  <a:cubicBezTo>
                    <a:pt x="127" y="61"/>
                    <a:pt x="127" y="61"/>
                    <a:pt x="127" y="61"/>
                  </a:cubicBezTo>
                  <a:cubicBezTo>
                    <a:pt x="125" y="61"/>
                    <a:pt x="124" y="60"/>
                    <a:pt x="122" y="59"/>
                  </a:cubicBezTo>
                  <a:cubicBezTo>
                    <a:pt x="120" y="58"/>
                    <a:pt x="119" y="57"/>
                    <a:pt x="117" y="56"/>
                  </a:cubicBezTo>
                  <a:cubicBezTo>
                    <a:pt x="117" y="55"/>
                    <a:pt x="116" y="54"/>
                    <a:pt x="115" y="53"/>
                  </a:cubicBezTo>
                  <a:cubicBezTo>
                    <a:pt x="115" y="53"/>
                    <a:pt x="115" y="52"/>
                    <a:pt x="114" y="52"/>
                  </a:cubicBezTo>
                  <a:cubicBezTo>
                    <a:pt x="113" y="51"/>
                    <a:pt x="111" y="50"/>
                    <a:pt x="109" y="49"/>
                  </a:cubicBezTo>
                  <a:cubicBezTo>
                    <a:pt x="107" y="49"/>
                    <a:pt x="105" y="48"/>
                    <a:pt x="104" y="48"/>
                  </a:cubicBezTo>
                  <a:cubicBezTo>
                    <a:pt x="103" y="48"/>
                    <a:pt x="103" y="48"/>
                    <a:pt x="103" y="48"/>
                  </a:cubicBezTo>
                  <a:cubicBezTo>
                    <a:pt x="101" y="47"/>
                    <a:pt x="99" y="47"/>
                    <a:pt x="97" y="46"/>
                  </a:cubicBezTo>
                  <a:cubicBezTo>
                    <a:pt x="96" y="46"/>
                    <a:pt x="94" y="45"/>
                    <a:pt x="93" y="43"/>
                  </a:cubicBezTo>
                  <a:cubicBezTo>
                    <a:pt x="93" y="43"/>
                    <a:pt x="92" y="42"/>
                    <a:pt x="92" y="41"/>
                  </a:cubicBezTo>
                  <a:cubicBezTo>
                    <a:pt x="92" y="40"/>
                    <a:pt x="91" y="39"/>
                    <a:pt x="91" y="38"/>
                  </a:cubicBezTo>
                  <a:cubicBezTo>
                    <a:pt x="90" y="36"/>
                    <a:pt x="90" y="34"/>
                    <a:pt x="90" y="32"/>
                  </a:cubicBezTo>
                  <a:cubicBezTo>
                    <a:pt x="89" y="31"/>
                    <a:pt x="89" y="30"/>
                    <a:pt x="89" y="29"/>
                  </a:cubicBezTo>
                  <a:cubicBezTo>
                    <a:pt x="88" y="29"/>
                    <a:pt x="88" y="29"/>
                    <a:pt x="88" y="29"/>
                  </a:cubicBezTo>
                  <a:cubicBezTo>
                    <a:pt x="88" y="29"/>
                    <a:pt x="87" y="29"/>
                    <a:pt x="87" y="29"/>
                  </a:cubicBezTo>
                  <a:cubicBezTo>
                    <a:pt x="87" y="29"/>
                    <a:pt x="87" y="29"/>
                    <a:pt x="87" y="29"/>
                  </a:cubicBezTo>
                  <a:cubicBezTo>
                    <a:pt x="86" y="29"/>
                    <a:pt x="86" y="29"/>
                    <a:pt x="85" y="29"/>
                  </a:cubicBezTo>
                  <a:cubicBezTo>
                    <a:pt x="85" y="29"/>
                    <a:pt x="85" y="29"/>
                    <a:pt x="85" y="29"/>
                  </a:cubicBezTo>
                  <a:cubicBezTo>
                    <a:pt x="85" y="29"/>
                    <a:pt x="85" y="29"/>
                    <a:pt x="85" y="29"/>
                  </a:cubicBezTo>
                  <a:cubicBezTo>
                    <a:pt x="84" y="29"/>
                    <a:pt x="84" y="29"/>
                    <a:pt x="84" y="29"/>
                  </a:cubicBezTo>
                  <a:cubicBezTo>
                    <a:pt x="84" y="29"/>
                    <a:pt x="84" y="29"/>
                    <a:pt x="84" y="29"/>
                  </a:cubicBezTo>
                  <a:cubicBezTo>
                    <a:pt x="83" y="29"/>
                    <a:pt x="83" y="29"/>
                    <a:pt x="83" y="29"/>
                  </a:cubicBezTo>
                  <a:cubicBezTo>
                    <a:pt x="83" y="29"/>
                    <a:pt x="83" y="29"/>
                    <a:pt x="83" y="29"/>
                  </a:cubicBezTo>
                  <a:cubicBezTo>
                    <a:pt x="81" y="28"/>
                    <a:pt x="81" y="27"/>
                    <a:pt x="80" y="26"/>
                  </a:cubicBezTo>
                  <a:cubicBezTo>
                    <a:pt x="80" y="26"/>
                    <a:pt x="80" y="26"/>
                    <a:pt x="80" y="26"/>
                  </a:cubicBezTo>
                  <a:cubicBezTo>
                    <a:pt x="80" y="25"/>
                    <a:pt x="79" y="25"/>
                    <a:pt x="79" y="25"/>
                  </a:cubicBezTo>
                  <a:cubicBezTo>
                    <a:pt x="78" y="24"/>
                    <a:pt x="77" y="24"/>
                    <a:pt x="76" y="23"/>
                  </a:cubicBezTo>
                  <a:cubicBezTo>
                    <a:pt x="76" y="23"/>
                    <a:pt x="76" y="23"/>
                    <a:pt x="75" y="22"/>
                  </a:cubicBezTo>
                  <a:cubicBezTo>
                    <a:pt x="75" y="22"/>
                    <a:pt x="75" y="22"/>
                    <a:pt x="75" y="22"/>
                  </a:cubicBezTo>
                  <a:cubicBezTo>
                    <a:pt x="75" y="22"/>
                    <a:pt x="75" y="22"/>
                    <a:pt x="75" y="22"/>
                  </a:cubicBezTo>
                  <a:cubicBezTo>
                    <a:pt x="68" y="16"/>
                    <a:pt x="68" y="16"/>
                    <a:pt x="68" y="16"/>
                  </a:cubicBezTo>
                  <a:cubicBezTo>
                    <a:pt x="74" y="12"/>
                    <a:pt x="74" y="12"/>
                    <a:pt x="74" y="12"/>
                  </a:cubicBezTo>
                  <a:cubicBezTo>
                    <a:pt x="74" y="11"/>
                    <a:pt x="73" y="10"/>
                    <a:pt x="74" y="8"/>
                  </a:cubicBezTo>
                  <a:cubicBezTo>
                    <a:pt x="74" y="7"/>
                    <a:pt x="74" y="7"/>
                    <a:pt x="75" y="6"/>
                  </a:cubicBezTo>
                  <a:cubicBezTo>
                    <a:pt x="75" y="5"/>
                    <a:pt x="75" y="5"/>
                    <a:pt x="75" y="5"/>
                  </a:cubicBezTo>
                  <a:cubicBezTo>
                    <a:pt x="75" y="5"/>
                    <a:pt x="75" y="5"/>
                    <a:pt x="75" y="5"/>
                  </a:cubicBezTo>
                  <a:cubicBezTo>
                    <a:pt x="74" y="3"/>
                    <a:pt x="74" y="3"/>
                    <a:pt x="74" y="3"/>
                  </a:cubicBezTo>
                  <a:cubicBezTo>
                    <a:pt x="72" y="1"/>
                    <a:pt x="71" y="1"/>
                    <a:pt x="71" y="0"/>
                  </a:cubicBezTo>
                  <a:cubicBezTo>
                    <a:pt x="71" y="0"/>
                    <a:pt x="70" y="1"/>
                    <a:pt x="68" y="2"/>
                  </a:cubicBezTo>
                  <a:cubicBezTo>
                    <a:pt x="67" y="3"/>
                    <a:pt x="67" y="3"/>
                    <a:pt x="67" y="3"/>
                  </a:cubicBezTo>
                  <a:cubicBezTo>
                    <a:pt x="64" y="4"/>
                    <a:pt x="62" y="6"/>
                    <a:pt x="60" y="7"/>
                  </a:cubicBezTo>
                  <a:cubicBezTo>
                    <a:pt x="58" y="8"/>
                    <a:pt x="58" y="8"/>
                    <a:pt x="58" y="8"/>
                  </a:cubicBezTo>
                  <a:cubicBezTo>
                    <a:pt x="57" y="9"/>
                    <a:pt x="57" y="10"/>
                    <a:pt x="56" y="10"/>
                  </a:cubicBezTo>
                  <a:cubicBezTo>
                    <a:pt x="54" y="11"/>
                    <a:pt x="53" y="12"/>
                    <a:pt x="51" y="13"/>
                  </a:cubicBezTo>
                  <a:cubicBezTo>
                    <a:pt x="51" y="14"/>
                    <a:pt x="51" y="14"/>
                    <a:pt x="50" y="14"/>
                  </a:cubicBezTo>
                  <a:cubicBezTo>
                    <a:pt x="50" y="15"/>
                    <a:pt x="50" y="15"/>
                    <a:pt x="50" y="15"/>
                  </a:cubicBezTo>
                  <a:cubicBezTo>
                    <a:pt x="49" y="16"/>
                    <a:pt x="49" y="16"/>
                    <a:pt x="49" y="16"/>
                  </a:cubicBezTo>
                  <a:cubicBezTo>
                    <a:pt x="48" y="17"/>
                    <a:pt x="47" y="17"/>
                    <a:pt x="46" y="18"/>
                  </a:cubicBezTo>
                  <a:cubicBezTo>
                    <a:pt x="46" y="18"/>
                    <a:pt x="46" y="18"/>
                    <a:pt x="46" y="18"/>
                  </a:cubicBezTo>
                  <a:cubicBezTo>
                    <a:pt x="43" y="23"/>
                    <a:pt x="43" y="23"/>
                    <a:pt x="43" y="23"/>
                  </a:cubicBezTo>
                  <a:cubicBezTo>
                    <a:pt x="43" y="21"/>
                    <a:pt x="43" y="21"/>
                    <a:pt x="43" y="21"/>
                  </a:cubicBezTo>
                  <a:cubicBezTo>
                    <a:pt x="43" y="21"/>
                    <a:pt x="43" y="21"/>
                    <a:pt x="43" y="21"/>
                  </a:cubicBezTo>
                  <a:cubicBezTo>
                    <a:pt x="42" y="19"/>
                    <a:pt x="42" y="19"/>
                    <a:pt x="42" y="19"/>
                  </a:cubicBezTo>
                  <a:cubicBezTo>
                    <a:pt x="42" y="19"/>
                    <a:pt x="42" y="19"/>
                    <a:pt x="42" y="19"/>
                  </a:cubicBezTo>
                  <a:cubicBezTo>
                    <a:pt x="42" y="19"/>
                    <a:pt x="42" y="19"/>
                    <a:pt x="42" y="19"/>
                  </a:cubicBezTo>
                  <a:cubicBezTo>
                    <a:pt x="42" y="19"/>
                    <a:pt x="42" y="19"/>
                    <a:pt x="42" y="19"/>
                  </a:cubicBezTo>
                  <a:cubicBezTo>
                    <a:pt x="42" y="19"/>
                    <a:pt x="41" y="19"/>
                    <a:pt x="41" y="19"/>
                  </a:cubicBezTo>
                  <a:cubicBezTo>
                    <a:pt x="40" y="19"/>
                    <a:pt x="40" y="19"/>
                    <a:pt x="40" y="19"/>
                  </a:cubicBezTo>
                  <a:cubicBezTo>
                    <a:pt x="40" y="20"/>
                    <a:pt x="40" y="20"/>
                    <a:pt x="40" y="20"/>
                  </a:cubicBezTo>
                  <a:cubicBezTo>
                    <a:pt x="38" y="20"/>
                    <a:pt x="38" y="20"/>
                    <a:pt x="38" y="20"/>
                  </a:cubicBezTo>
                  <a:cubicBezTo>
                    <a:pt x="38" y="20"/>
                    <a:pt x="34" y="19"/>
                    <a:pt x="32" y="19"/>
                  </a:cubicBezTo>
                  <a:cubicBezTo>
                    <a:pt x="29" y="19"/>
                    <a:pt x="22" y="17"/>
                    <a:pt x="21" y="15"/>
                  </a:cubicBezTo>
                  <a:cubicBezTo>
                    <a:pt x="21" y="14"/>
                    <a:pt x="19" y="13"/>
                    <a:pt x="18" y="12"/>
                  </a:cubicBezTo>
                  <a:cubicBezTo>
                    <a:pt x="18" y="11"/>
                    <a:pt x="18" y="11"/>
                    <a:pt x="18" y="11"/>
                  </a:cubicBezTo>
                  <a:cubicBezTo>
                    <a:pt x="17" y="11"/>
                    <a:pt x="17" y="10"/>
                    <a:pt x="16" y="10"/>
                  </a:cubicBezTo>
                  <a:cubicBezTo>
                    <a:pt x="13" y="7"/>
                    <a:pt x="11" y="4"/>
                    <a:pt x="10" y="3"/>
                  </a:cubicBezTo>
                  <a:cubicBezTo>
                    <a:pt x="10" y="2"/>
                    <a:pt x="10" y="2"/>
                    <a:pt x="10" y="2"/>
                  </a:cubicBezTo>
                  <a:cubicBezTo>
                    <a:pt x="9" y="3"/>
                    <a:pt x="9" y="3"/>
                    <a:pt x="9" y="3"/>
                  </a:cubicBezTo>
                  <a:cubicBezTo>
                    <a:pt x="9" y="2"/>
                    <a:pt x="9" y="2"/>
                    <a:pt x="9" y="2"/>
                  </a:cubicBezTo>
                  <a:cubicBezTo>
                    <a:pt x="9" y="1"/>
                    <a:pt x="9" y="1"/>
                    <a:pt x="9" y="1"/>
                  </a:cubicBezTo>
                  <a:cubicBezTo>
                    <a:pt x="9" y="1"/>
                    <a:pt x="9" y="1"/>
                    <a:pt x="9" y="1"/>
                  </a:cubicBezTo>
                  <a:cubicBezTo>
                    <a:pt x="9" y="1"/>
                    <a:pt x="9" y="1"/>
                    <a:pt x="9" y="1"/>
                  </a:cubicBezTo>
                  <a:cubicBezTo>
                    <a:pt x="8" y="0"/>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423"/>
            <p:cNvSpPr/>
            <p:nvPr/>
          </p:nvSpPr>
          <p:spPr bwMode="auto">
            <a:xfrm>
              <a:off x="1667048" y="4005276"/>
              <a:ext cx="35762" cy="75650"/>
            </a:xfrm>
            <a:custGeom>
              <a:gdLst>
                <a:gd name="T0" fmla="*/ 11 w 11"/>
                <a:gd name="T1" fmla="*/ 0 h 23"/>
                <a:gd name="T2" fmla="*/ 10 w 11"/>
                <a:gd name="T3" fmla="*/ 1 h 23"/>
                <a:gd name="T4" fmla="*/ 7 w 11"/>
                <a:gd name="T5" fmla="*/ 3 h 23"/>
                <a:gd name="T6" fmla="*/ 3 w 11"/>
                <a:gd name="T7" fmla="*/ 6 h 23"/>
                <a:gd name="T8" fmla="*/ 1 w 11"/>
                <a:gd name="T9" fmla="*/ 8 h 23"/>
                <a:gd name="T10" fmla="*/ 0 w 11"/>
                <a:gd name="T11" fmla="*/ 9 h 23"/>
                <a:gd name="T12" fmla="*/ 7 w 11"/>
                <a:gd name="T13" fmla="*/ 23 h 23"/>
                <a:gd name="T14" fmla="*/ 6 w 11"/>
                <a:gd name="T15" fmla="*/ 16 h 23"/>
                <a:gd name="T16" fmla="*/ 8 w 11"/>
                <a:gd name="T17" fmla="*/ 10 h 23"/>
                <a:gd name="T18" fmla="*/ 7 w 11"/>
                <a:gd name="T19" fmla="*/ 8 h 23"/>
                <a:gd name="T20" fmla="*/ 6 w 11"/>
                <a:gd name="T21" fmla="*/ 9 h 23"/>
                <a:gd name="T22" fmla="*/ 5 w 11"/>
                <a:gd name="T23" fmla="*/ 9 h 23"/>
                <a:gd name="T24" fmla="*/ 7 w 11"/>
                <a:gd name="T25" fmla="*/ 6 h 23"/>
                <a:gd name="T26" fmla="*/ 10 w 11"/>
                <a:gd name="T27" fmla="*/ 1 h 23"/>
                <a:gd name="T28" fmla="*/ 11 w 11"/>
                <a:gd name="T29"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3">
                  <a:moveTo>
                    <a:pt x="11" y="0"/>
                  </a:moveTo>
                  <a:cubicBezTo>
                    <a:pt x="10" y="1"/>
                    <a:pt x="10" y="1"/>
                    <a:pt x="10" y="1"/>
                  </a:cubicBezTo>
                  <a:cubicBezTo>
                    <a:pt x="9" y="1"/>
                    <a:pt x="8" y="2"/>
                    <a:pt x="7" y="3"/>
                  </a:cubicBezTo>
                  <a:cubicBezTo>
                    <a:pt x="5" y="4"/>
                    <a:pt x="4" y="5"/>
                    <a:pt x="3" y="6"/>
                  </a:cubicBezTo>
                  <a:cubicBezTo>
                    <a:pt x="1" y="8"/>
                    <a:pt x="1" y="8"/>
                    <a:pt x="1" y="8"/>
                  </a:cubicBezTo>
                  <a:cubicBezTo>
                    <a:pt x="1" y="9"/>
                    <a:pt x="0" y="9"/>
                    <a:pt x="0" y="9"/>
                  </a:cubicBezTo>
                  <a:cubicBezTo>
                    <a:pt x="2" y="14"/>
                    <a:pt x="5" y="18"/>
                    <a:pt x="7" y="23"/>
                  </a:cubicBezTo>
                  <a:cubicBezTo>
                    <a:pt x="7" y="20"/>
                    <a:pt x="6" y="19"/>
                    <a:pt x="6" y="16"/>
                  </a:cubicBezTo>
                  <a:cubicBezTo>
                    <a:pt x="6" y="14"/>
                    <a:pt x="7" y="13"/>
                    <a:pt x="8" y="10"/>
                  </a:cubicBezTo>
                  <a:cubicBezTo>
                    <a:pt x="8" y="9"/>
                    <a:pt x="8" y="8"/>
                    <a:pt x="7" y="8"/>
                  </a:cubicBezTo>
                  <a:cubicBezTo>
                    <a:pt x="7" y="8"/>
                    <a:pt x="6" y="8"/>
                    <a:pt x="6" y="9"/>
                  </a:cubicBezTo>
                  <a:cubicBezTo>
                    <a:pt x="6" y="9"/>
                    <a:pt x="6" y="9"/>
                    <a:pt x="5" y="9"/>
                  </a:cubicBezTo>
                  <a:cubicBezTo>
                    <a:pt x="4" y="9"/>
                    <a:pt x="6" y="6"/>
                    <a:pt x="7" y="6"/>
                  </a:cubicBezTo>
                  <a:cubicBezTo>
                    <a:pt x="8" y="4"/>
                    <a:pt x="8" y="2"/>
                    <a:pt x="10" y="1"/>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424"/>
            <p:cNvSpPr/>
            <p:nvPr/>
          </p:nvSpPr>
          <p:spPr bwMode="auto">
            <a:xfrm>
              <a:off x="1680802" y="3959886"/>
              <a:ext cx="854156" cy="533675"/>
            </a:xfrm>
            <a:custGeom>
              <a:gdLst>
                <a:gd name="T0" fmla="*/ 109 w 263"/>
                <a:gd name="T1" fmla="*/ 10 h 164"/>
                <a:gd name="T2" fmla="*/ 103 w 263"/>
                <a:gd name="T3" fmla="*/ 6 h 164"/>
                <a:gd name="T4" fmla="*/ 87 w 263"/>
                <a:gd name="T5" fmla="*/ 16 h 164"/>
                <a:gd name="T6" fmla="*/ 84 w 263"/>
                <a:gd name="T7" fmla="*/ 24 h 164"/>
                <a:gd name="T8" fmla="*/ 71 w 263"/>
                <a:gd name="T9" fmla="*/ 33 h 164"/>
                <a:gd name="T10" fmla="*/ 57 w 263"/>
                <a:gd name="T11" fmla="*/ 33 h 164"/>
                <a:gd name="T12" fmla="*/ 49 w 263"/>
                <a:gd name="T13" fmla="*/ 31 h 164"/>
                <a:gd name="T14" fmla="*/ 35 w 263"/>
                <a:gd name="T15" fmla="*/ 16 h 164"/>
                <a:gd name="T16" fmla="*/ 24 w 263"/>
                <a:gd name="T17" fmla="*/ 10 h 164"/>
                <a:gd name="T18" fmla="*/ 20 w 263"/>
                <a:gd name="T19" fmla="*/ 12 h 164"/>
                <a:gd name="T20" fmla="*/ 35 w 263"/>
                <a:gd name="T21" fmla="*/ 41 h 164"/>
                <a:gd name="T22" fmla="*/ 31 w 263"/>
                <a:gd name="T23" fmla="*/ 45 h 164"/>
                <a:gd name="T24" fmla="*/ 20 w 263"/>
                <a:gd name="T25" fmla="*/ 47 h 164"/>
                <a:gd name="T26" fmla="*/ 14 w 263"/>
                <a:gd name="T27" fmla="*/ 44 h 164"/>
                <a:gd name="T28" fmla="*/ 5 w 263"/>
                <a:gd name="T29" fmla="*/ 60 h 164"/>
                <a:gd name="T30" fmla="*/ 11 w 263"/>
                <a:gd name="T31" fmla="*/ 61 h 164"/>
                <a:gd name="T32" fmla="*/ 13 w 263"/>
                <a:gd name="T33" fmla="*/ 61 h 164"/>
                <a:gd name="T34" fmla="*/ 11 w 263"/>
                <a:gd name="T35" fmla="*/ 71 h 164"/>
                <a:gd name="T36" fmla="*/ 9 w 263"/>
                <a:gd name="T37" fmla="*/ 75 h 164"/>
                <a:gd name="T38" fmla="*/ 23 w 263"/>
                <a:gd name="T39" fmla="*/ 123 h 164"/>
                <a:gd name="T40" fmla="*/ 65 w 263"/>
                <a:gd name="T41" fmla="*/ 101 h 164"/>
                <a:gd name="T42" fmla="*/ 72 w 263"/>
                <a:gd name="T43" fmla="*/ 97 h 164"/>
                <a:gd name="T44" fmla="*/ 84 w 263"/>
                <a:gd name="T45" fmla="*/ 97 h 164"/>
                <a:gd name="T46" fmla="*/ 99 w 263"/>
                <a:gd name="T47" fmla="*/ 106 h 164"/>
                <a:gd name="T48" fmla="*/ 107 w 263"/>
                <a:gd name="T49" fmla="*/ 110 h 164"/>
                <a:gd name="T50" fmla="*/ 111 w 263"/>
                <a:gd name="T51" fmla="*/ 111 h 164"/>
                <a:gd name="T52" fmla="*/ 126 w 263"/>
                <a:gd name="T53" fmla="*/ 113 h 164"/>
                <a:gd name="T54" fmla="*/ 134 w 263"/>
                <a:gd name="T55" fmla="*/ 122 h 164"/>
                <a:gd name="T56" fmla="*/ 146 w 263"/>
                <a:gd name="T57" fmla="*/ 132 h 164"/>
                <a:gd name="T58" fmla="*/ 154 w 263"/>
                <a:gd name="T59" fmla="*/ 132 h 164"/>
                <a:gd name="T60" fmla="*/ 163 w 263"/>
                <a:gd name="T61" fmla="*/ 136 h 164"/>
                <a:gd name="T62" fmla="*/ 165 w 263"/>
                <a:gd name="T63" fmla="*/ 156 h 164"/>
                <a:gd name="T64" fmla="*/ 172 w 263"/>
                <a:gd name="T65" fmla="*/ 158 h 164"/>
                <a:gd name="T66" fmla="*/ 183 w 263"/>
                <a:gd name="T67" fmla="*/ 164 h 164"/>
                <a:gd name="T68" fmla="*/ 196 w 263"/>
                <a:gd name="T69" fmla="*/ 158 h 164"/>
                <a:gd name="T70" fmla="*/ 205 w 263"/>
                <a:gd name="T71" fmla="*/ 149 h 164"/>
                <a:gd name="T72" fmla="*/ 224 w 263"/>
                <a:gd name="T73" fmla="*/ 137 h 164"/>
                <a:gd name="T74" fmla="*/ 239 w 263"/>
                <a:gd name="T75" fmla="*/ 120 h 164"/>
                <a:gd name="T76" fmla="*/ 247 w 263"/>
                <a:gd name="T77" fmla="*/ 114 h 164"/>
                <a:gd name="T78" fmla="*/ 253 w 263"/>
                <a:gd name="T79" fmla="*/ 115 h 164"/>
                <a:gd name="T80" fmla="*/ 259 w 263"/>
                <a:gd name="T81" fmla="*/ 117 h 164"/>
                <a:gd name="T82" fmla="*/ 262 w 263"/>
                <a:gd name="T83" fmla="*/ 115 h 164"/>
                <a:gd name="T84" fmla="*/ 260 w 263"/>
                <a:gd name="T85" fmla="*/ 106 h 164"/>
                <a:gd name="T86" fmla="*/ 248 w 263"/>
                <a:gd name="T87" fmla="*/ 102 h 164"/>
                <a:gd name="T88" fmla="*/ 230 w 263"/>
                <a:gd name="T89" fmla="*/ 92 h 164"/>
                <a:gd name="T90" fmla="*/ 197 w 263"/>
                <a:gd name="T91" fmla="*/ 71 h 164"/>
                <a:gd name="T92" fmla="*/ 185 w 263"/>
                <a:gd name="T93" fmla="*/ 62 h 164"/>
                <a:gd name="T94" fmla="*/ 180 w 263"/>
                <a:gd name="T95" fmla="*/ 53 h 164"/>
                <a:gd name="T96" fmla="*/ 162 w 263"/>
                <a:gd name="T97" fmla="*/ 36 h 164"/>
                <a:gd name="T98" fmla="*/ 148 w 263"/>
                <a:gd name="T99" fmla="*/ 35 h 164"/>
                <a:gd name="T100" fmla="*/ 138 w 263"/>
                <a:gd name="T101" fmla="*/ 26 h 164"/>
                <a:gd name="T102" fmla="*/ 136 w 263"/>
                <a:gd name="T103" fmla="*/ 18 h 164"/>
                <a:gd name="T104" fmla="*/ 132 w 263"/>
                <a:gd name="T105" fmla="*/ 11 h 164"/>
                <a:gd name="T106" fmla="*/ 122 w 263"/>
                <a:gd name="T107" fmla="*/ 7 h 164"/>
                <a:gd name="T108" fmla="*/ 119 w 263"/>
                <a:gd name="T109" fmla="*/ 5 h 1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3" h="164">
                  <a:moveTo>
                    <a:pt x="113" y="0"/>
                  </a:moveTo>
                  <a:cubicBezTo>
                    <a:pt x="112" y="1"/>
                    <a:pt x="112" y="1"/>
                    <a:pt x="112" y="1"/>
                  </a:cubicBezTo>
                  <a:cubicBezTo>
                    <a:pt x="110" y="3"/>
                    <a:pt x="110" y="3"/>
                    <a:pt x="110" y="4"/>
                  </a:cubicBezTo>
                  <a:cubicBezTo>
                    <a:pt x="111" y="5"/>
                    <a:pt x="111" y="6"/>
                    <a:pt x="112" y="6"/>
                  </a:cubicBezTo>
                  <a:cubicBezTo>
                    <a:pt x="122" y="18"/>
                    <a:pt x="122" y="18"/>
                    <a:pt x="122" y="18"/>
                  </a:cubicBezTo>
                  <a:cubicBezTo>
                    <a:pt x="109" y="10"/>
                    <a:pt x="109" y="10"/>
                    <a:pt x="109" y="10"/>
                  </a:cubicBezTo>
                  <a:cubicBezTo>
                    <a:pt x="108" y="10"/>
                    <a:pt x="108" y="9"/>
                    <a:pt x="107" y="8"/>
                  </a:cubicBezTo>
                  <a:cubicBezTo>
                    <a:pt x="107" y="8"/>
                    <a:pt x="107" y="8"/>
                    <a:pt x="107" y="8"/>
                  </a:cubicBezTo>
                  <a:cubicBezTo>
                    <a:pt x="106" y="7"/>
                    <a:pt x="106" y="7"/>
                    <a:pt x="105" y="7"/>
                  </a:cubicBezTo>
                  <a:cubicBezTo>
                    <a:pt x="104" y="7"/>
                    <a:pt x="104" y="7"/>
                    <a:pt x="104" y="7"/>
                  </a:cubicBezTo>
                  <a:cubicBezTo>
                    <a:pt x="104" y="6"/>
                    <a:pt x="103" y="6"/>
                    <a:pt x="103" y="6"/>
                  </a:cubicBezTo>
                  <a:cubicBezTo>
                    <a:pt x="103" y="6"/>
                    <a:pt x="103" y="6"/>
                    <a:pt x="103" y="6"/>
                  </a:cubicBezTo>
                  <a:cubicBezTo>
                    <a:pt x="102" y="7"/>
                    <a:pt x="102" y="7"/>
                    <a:pt x="102" y="8"/>
                  </a:cubicBezTo>
                  <a:cubicBezTo>
                    <a:pt x="102" y="9"/>
                    <a:pt x="101" y="9"/>
                    <a:pt x="101" y="10"/>
                  </a:cubicBezTo>
                  <a:cubicBezTo>
                    <a:pt x="100" y="13"/>
                    <a:pt x="98" y="13"/>
                    <a:pt x="95" y="14"/>
                  </a:cubicBezTo>
                  <a:cubicBezTo>
                    <a:pt x="94" y="14"/>
                    <a:pt x="93" y="14"/>
                    <a:pt x="92" y="15"/>
                  </a:cubicBezTo>
                  <a:cubicBezTo>
                    <a:pt x="91" y="15"/>
                    <a:pt x="89" y="15"/>
                    <a:pt x="88" y="16"/>
                  </a:cubicBezTo>
                  <a:cubicBezTo>
                    <a:pt x="87" y="16"/>
                    <a:pt x="87" y="16"/>
                    <a:pt x="87" y="16"/>
                  </a:cubicBezTo>
                  <a:cubicBezTo>
                    <a:pt x="87" y="16"/>
                    <a:pt x="87" y="16"/>
                    <a:pt x="87" y="16"/>
                  </a:cubicBezTo>
                  <a:cubicBezTo>
                    <a:pt x="86" y="17"/>
                    <a:pt x="86" y="19"/>
                    <a:pt x="85" y="20"/>
                  </a:cubicBezTo>
                  <a:cubicBezTo>
                    <a:pt x="85" y="21"/>
                    <a:pt x="84" y="22"/>
                    <a:pt x="84" y="23"/>
                  </a:cubicBezTo>
                  <a:cubicBezTo>
                    <a:pt x="84" y="23"/>
                    <a:pt x="84" y="23"/>
                    <a:pt x="84" y="23"/>
                  </a:cubicBezTo>
                  <a:cubicBezTo>
                    <a:pt x="84" y="24"/>
                    <a:pt x="84" y="24"/>
                    <a:pt x="84" y="24"/>
                  </a:cubicBezTo>
                  <a:cubicBezTo>
                    <a:pt x="84" y="24"/>
                    <a:pt x="84" y="24"/>
                    <a:pt x="84" y="24"/>
                  </a:cubicBezTo>
                  <a:cubicBezTo>
                    <a:pt x="84" y="25"/>
                    <a:pt x="84" y="25"/>
                    <a:pt x="85" y="26"/>
                  </a:cubicBezTo>
                  <a:cubicBezTo>
                    <a:pt x="85" y="27"/>
                    <a:pt x="85" y="27"/>
                    <a:pt x="85" y="27"/>
                  </a:cubicBezTo>
                  <a:cubicBezTo>
                    <a:pt x="85" y="27"/>
                    <a:pt x="85" y="27"/>
                    <a:pt x="85" y="27"/>
                  </a:cubicBezTo>
                  <a:cubicBezTo>
                    <a:pt x="99" y="29"/>
                    <a:pt x="99" y="29"/>
                    <a:pt x="99" y="29"/>
                  </a:cubicBezTo>
                  <a:cubicBezTo>
                    <a:pt x="86" y="32"/>
                    <a:pt x="86" y="32"/>
                    <a:pt x="86" y="32"/>
                  </a:cubicBezTo>
                  <a:cubicBezTo>
                    <a:pt x="81" y="33"/>
                    <a:pt x="76" y="33"/>
                    <a:pt x="71" y="33"/>
                  </a:cubicBezTo>
                  <a:cubicBezTo>
                    <a:pt x="68" y="33"/>
                    <a:pt x="65" y="33"/>
                    <a:pt x="63" y="33"/>
                  </a:cubicBezTo>
                  <a:cubicBezTo>
                    <a:pt x="62" y="33"/>
                    <a:pt x="62" y="33"/>
                    <a:pt x="62" y="33"/>
                  </a:cubicBezTo>
                  <a:cubicBezTo>
                    <a:pt x="61" y="33"/>
                    <a:pt x="61" y="33"/>
                    <a:pt x="61" y="33"/>
                  </a:cubicBezTo>
                  <a:cubicBezTo>
                    <a:pt x="60" y="33"/>
                    <a:pt x="60" y="33"/>
                    <a:pt x="60" y="33"/>
                  </a:cubicBezTo>
                  <a:cubicBezTo>
                    <a:pt x="60" y="33"/>
                    <a:pt x="60" y="33"/>
                    <a:pt x="60" y="33"/>
                  </a:cubicBezTo>
                  <a:cubicBezTo>
                    <a:pt x="59" y="33"/>
                    <a:pt x="58" y="33"/>
                    <a:pt x="57" y="33"/>
                  </a:cubicBezTo>
                  <a:cubicBezTo>
                    <a:pt x="56" y="33"/>
                    <a:pt x="54" y="34"/>
                    <a:pt x="53" y="34"/>
                  </a:cubicBezTo>
                  <a:cubicBezTo>
                    <a:pt x="53" y="34"/>
                    <a:pt x="53" y="34"/>
                    <a:pt x="53" y="34"/>
                  </a:cubicBezTo>
                  <a:cubicBezTo>
                    <a:pt x="52" y="34"/>
                    <a:pt x="52" y="34"/>
                    <a:pt x="52" y="34"/>
                  </a:cubicBezTo>
                  <a:cubicBezTo>
                    <a:pt x="52" y="34"/>
                    <a:pt x="51" y="33"/>
                    <a:pt x="51" y="33"/>
                  </a:cubicBezTo>
                  <a:cubicBezTo>
                    <a:pt x="50" y="33"/>
                    <a:pt x="50" y="33"/>
                    <a:pt x="50" y="33"/>
                  </a:cubicBezTo>
                  <a:cubicBezTo>
                    <a:pt x="50" y="32"/>
                    <a:pt x="50" y="32"/>
                    <a:pt x="49" y="31"/>
                  </a:cubicBezTo>
                  <a:cubicBezTo>
                    <a:pt x="48" y="30"/>
                    <a:pt x="46" y="28"/>
                    <a:pt x="45" y="27"/>
                  </a:cubicBezTo>
                  <a:cubicBezTo>
                    <a:pt x="45" y="26"/>
                    <a:pt x="45" y="26"/>
                    <a:pt x="45" y="26"/>
                  </a:cubicBezTo>
                  <a:cubicBezTo>
                    <a:pt x="44" y="25"/>
                    <a:pt x="44" y="24"/>
                    <a:pt x="43" y="24"/>
                  </a:cubicBezTo>
                  <a:cubicBezTo>
                    <a:pt x="42" y="23"/>
                    <a:pt x="41" y="22"/>
                    <a:pt x="40" y="20"/>
                  </a:cubicBezTo>
                  <a:cubicBezTo>
                    <a:pt x="39" y="19"/>
                    <a:pt x="39" y="19"/>
                    <a:pt x="39" y="19"/>
                  </a:cubicBezTo>
                  <a:cubicBezTo>
                    <a:pt x="37" y="19"/>
                    <a:pt x="36" y="17"/>
                    <a:pt x="35" y="16"/>
                  </a:cubicBezTo>
                  <a:cubicBezTo>
                    <a:pt x="33" y="14"/>
                    <a:pt x="31" y="12"/>
                    <a:pt x="28" y="11"/>
                  </a:cubicBezTo>
                  <a:cubicBezTo>
                    <a:pt x="28" y="11"/>
                    <a:pt x="28" y="11"/>
                    <a:pt x="28" y="11"/>
                  </a:cubicBezTo>
                  <a:cubicBezTo>
                    <a:pt x="27" y="10"/>
                    <a:pt x="27" y="10"/>
                    <a:pt x="27" y="10"/>
                  </a:cubicBezTo>
                  <a:cubicBezTo>
                    <a:pt x="27" y="10"/>
                    <a:pt x="26" y="10"/>
                    <a:pt x="26" y="10"/>
                  </a:cubicBezTo>
                  <a:cubicBezTo>
                    <a:pt x="26" y="10"/>
                    <a:pt x="26" y="10"/>
                    <a:pt x="25" y="10"/>
                  </a:cubicBezTo>
                  <a:cubicBezTo>
                    <a:pt x="25" y="10"/>
                    <a:pt x="24" y="10"/>
                    <a:pt x="24" y="10"/>
                  </a:cubicBezTo>
                  <a:cubicBezTo>
                    <a:pt x="23" y="10"/>
                    <a:pt x="23" y="10"/>
                    <a:pt x="23" y="10"/>
                  </a:cubicBezTo>
                  <a:cubicBezTo>
                    <a:pt x="21" y="10"/>
                    <a:pt x="19" y="11"/>
                    <a:pt x="17" y="11"/>
                  </a:cubicBezTo>
                  <a:cubicBezTo>
                    <a:pt x="14" y="11"/>
                    <a:pt x="11" y="12"/>
                    <a:pt x="8" y="14"/>
                  </a:cubicBezTo>
                  <a:cubicBezTo>
                    <a:pt x="9" y="13"/>
                    <a:pt x="11" y="13"/>
                    <a:pt x="12" y="13"/>
                  </a:cubicBezTo>
                  <a:cubicBezTo>
                    <a:pt x="14" y="13"/>
                    <a:pt x="16" y="12"/>
                    <a:pt x="18" y="12"/>
                  </a:cubicBezTo>
                  <a:cubicBezTo>
                    <a:pt x="19" y="12"/>
                    <a:pt x="19" y="12"/>
                    <a:pt x="20" y="12"/>
                  </a:cubicBezTo>
                  <a:cubicBezTo>
                    <a:pt x="24" y="13"/>
                    <a:pt x="22" y="15"/>
                    <a:pt x="22" y="18"/>
                  </a:cubicBezTo>
                  <a:cubicBezTo>
                    <a:pt x="23" y="19"/>
                    <a:pt x="25" y="20"/>
                    <a:pt x="25" y="23"/>
                  </a:cubicBezTo>
                  <a:cubicBezTo>
                    <a:pt x="25" y="25"/>
                    <a:pt x="25" y="26"/>
                    <a:pt x="26" y="27"/>
                  </a:cubicBezTo>
                  <a:cubicBezTo>
                    <a:pt x="29" y="30"/>
                    <a:pt x="33" y="32"/>
                    <a:pt x="36" y="34"/>
                  </a:cubicBezTo>
                  <a:cubicBezTo>
                    <a:pt x="38" y="35"/>
                    <a:pt x="40" y="37"/>
                    <a:pt x="39" y="40"/>
                  </a:cubicBezTo>
                  <a:cubicBezTo>
                    <a:pt x="38" y="41"/>
                    <a:pt x="37" y="41"/>
                    <a:pt x="35" y="41"/>
                  </a:cubicBezTo>
                  <a:cubicBezTo>
                    <a:pt x="35" y="41"/>
                    <a:pt x="34" y="41"/>
                    <a:pt x="34" y="41"/>
                  </a:cubicBezTo>
                  <a:cubicBezTo>
                    <a:pt x="33" y="41"/>
                    <a:pt x="33" y="41"/>
                    <a:pt x="32" y="41"/>
                  </a:cubicBezTo>
                  <a:cubicBezTo>
                    <a:pt x="31" y="41"/>
                    <a:pt x="30" y="41"/>
                    <a:pt x="30" y="42"/>
                  </a:cubicBezTo>
                  <a:cubicBezTo>
                    <a:pt x="30" y="44"/>
                    <a:pt x="31" y="45"/>
                    <a:pt x="32" y="45"/>
                  </a:cubicBezTo>
                  <a:cubicBezTo>
                    <a:pt x="32" y="45"/>
                    <a:pt x="32" y="45"/>
                    <a:pt x="32" y="45"/>
                  </a:cubicBezTo>
                  <a:cubicBezTo>
                    <a:pt x="31" y="45"/>
                    <a:pt x="31" y="45"/>
                    <a:pt x="31" y="45"/>
                  </a:cubicBezTo>
                  <a:cubicBezTo>
                    <a:pt x="32" y="45"/>
                    <a:pt x="32" y="45"/>
                    <a:pt x="32" y="45"/>
                  </a:cubicBezTo>
                  <a:cubicBezTo>
                    <a:pt x="31" y="46"/>
                    <a:pt x="30" y="46"/>
                    <a:pt x="29" y="46"/>
                  </a:cubicBezTo>
                  <a:cubicBezTo>
                    <a:pt x="28" y="46"/>
                    <a:pt x="28" y="46"/>
                    <a:pt x="28" y="46"/>
                  </a:cubicBezTo>
                  <a:cubicBezTo>
                    <a:pt x="27" y="46"/>
                    <a:pt x="27" y="46"/>
                    <a:pt x="27" y="46"/>
                  </a:cubicBezTo>
                  <a:cubicBezTo>
                    <a:pt x="25" y="46"/>
                    <a:pt x="24" y="46"/>
                    <a:pt x="23" y="46"/>
                  </a:cubicBezTo>
                  <a:cubicBezTo>
                    <a:pt x="22" y="46"/>
                    <a:pt x="21" y="47"/>
                    <a:pt x="20" y="47"/>
                  </a:cubicBezTo>
                  <a:cubicBezTo>
                    <a:pt x="20" y="47"/>
                    <a:pt x="20" y="47"/>
                    <a:pt x="20" y="47"/>
                  </a:cubicBezTo>
                  <a:cubicBezTo>
                    <a:pt x="18" y="46"/>
                    <a:pt x="19" y="43"/>
                    <a:pt x="18" y="42"/>
                  </a:cubicBezTo>
                  <a:cubicBezTo>
                    <a:pt x="17" y="41"/>
                    <a:pt x="17" y="41"/>
                    <a:pt x="17" y="41"/>
                  </a:cubicBezTo>
                  <a:cubicBezTo>
                    <a:pt x="17" y="41"/>
                    <a:pt x="17" y="42"/>
                    <a:pt x="16" y="43"/>
                  </a:cubicBezTo>
                  <a:cubicBezTo>
                    <a:pt x="15" y="44"/>
                    <a:pt x="15" y="44"/>
                    <a:pt x="14" y="44"/>
                  </a:cubicBezTo>
                  <a:cubicBezTo>
                    <a:pt x="14" y="44"/>
                    <a:pt x="14" y="44"/>
                    <a:pt x="14" y="44"/>
                  </a:cubicBezTo>
                  <a:cubicBezTo>
                    <a:pt x="13" y="44"/>
                    <a:pt x="10" y="44"/>
                    <a:pt x="9" y="43"/>
                  </a:cubicBezTo>
                  <a:cubicBezTo>
                    <a:pt x="6" y="43"/>
                    <a:pt x="5" y="39"/>
                    <a:pt x="4" y="37"/>
                  </a:cubicBezTo>
                  <a:cubicBezTo>
                    <a:pt x="3" y="41"/>
                    <a:pt x="3" y="45"/>
                    <a:pt x="1" y="48"/>
                  </a:cubicBezTo>
                  <a:cubicBezTo>
                    <a:pt x="0" y="49"/>
                    <a:pt x="0" y="52"/>
                    <a:pt x="0" y="53"/>
                  </a:cubicBezTo>
                  <a:cubicBezTo>
                    <a:pt x="0" y="55"/>
                    <a:pt x="1" y="56"/>
                    <a:pt x="1" y="57"/>
                  </a:cubicBezTo>
                  <a:cubicBezTo>
                    <a:pt x="1" y="61"/>
                    <a:pt x="0" y="60"/>
                    <a:pt x="5" y="60"/>
                  </a:cubicBezTo>
                  <a:cubicBezTo>
                    <a:pt x="5" y="60"/>
                    <a:pt x="5" y="60"/>
                    <a:pt x="6" y="60"/>
                  </a:cubicBezTo>
                  <a:cubicBezTo>
                    <a:pt x="6" y="60"/>
                    <a:pt x="6" y="60"/>
                    <a:pt x="7" y="60"/>
                  </a:cubicBezTo>
                  <a:cubicBezTo>
                    <a:pt x="7" y="60"/>
                    <a:pt x="7" y="60"/>
                    <a:pt x="8" y="60"/>
                  </a:cubicBezTo>
                  <a:cubicBezTo>
                    <a:pt x="8" y="60"/>
                    <a:pt x="8" y="60"/>
                    <a:pt x="8" y="60"/>
                  </a:cubicBezTo>
                  <a:cubicBezTo>
                    <a:pt x="9" y="61"/>
                    <a:pt x="9" y="61"/>
                    <a:pt x="10" y="61"/>
                  </a:cubicBezTo>
                  <a:cubicBezTo>
                    <a:pt x="11" y="61"/>
                    <a:pt x="11" y="61"/>
                    <a:pt x="11" y="61"/>
                  </a:cubicBezTo>
                  <a:cubicBezTo>
                    <a:pt x="11" y="61"/>
                    <a:pt x="11" y="61"/>
                    <a:pt x="12" y="61"/>
                  </a:cubicBezTo>
                  <a:cubicBezTo>
                    <a:pt x="12" y="61"/>
                    <a:pt x="12" y="61"/>
                    <a:pt x="12" y="61"/>
                  </a:cubicBezTo>
                  <a:cubicBezTo>
                    <a:pt x="12" y="61"/>
                    <a:pt x="12" y="61"/>
                    <a:pt x="12" y="61"/>
                  </a:cubicBezTo>
                  <a:cubicBezTo>
                    <a:pt x="12" y="61"/>
                    <a:pt x="12" y="61"/>
                    <a:pt x="12" y="61"/>
                  </a:cubicBezTo>
                  <a:cubicBezTo>
                    <a:pt x="12" y="61"/>
                    <a:pt x="13" y="61"/>
                    <a:pt x="13" y="61"/>
                  </a:cubicBezTo>
                  <a:cubicBezTo>
                    <a:pt x="13" y="61"/>
                    <a:pt x="13" y="61"/>
                    <a:pt x="13" y="61"/>
                  </a:cubicBezTo>
                  <a:cubicBezTo>
                    <a:pt x="13" y="61"/>
                    <a:pt x="14" y="61"/>
                    <a:pt x="14" y="61"/>
                  </a:cubicBezTo>
                  <a:cubicBezTo>
                    <a:pt x="14" y="62"/>
                    <a:pt x="13" y="64"/>
                    <a:pt x="13" y="65"/>
                  </a:cubicBezTo>
                  <a:cubicBezTo>
                    <a:pt x="14" y="68"/>
                    <a:pt x="16" y="69"/>
                    <a:pt x="19" y="70"/>
                  </a:cubicBezTo>
                  <a:cubicBezTo>
                    <a:pt x="18" y="71"/>
                    <a:pt x="16" y="71"/>
                    <a:pt x="15" y="72"/>
                  </a:cubicBezTo>
                  <a:cubicBezTo>
                    <a:pt x="15" y="71"/>
                    <a:pt x="15" y="70"/>
                    <a:pt x="15" y="69"/>
                  </a:cubicBezTo>
                  <a:cubicBezTo>
                    <a:pt x="14" y="69"/>
                    <a:pt x="12" y="71"/>
                    <a:pt x="11" y="71"/>
                  </a:cubicBezTo>
                  <a:cubicBezTo>
                    <a:pt x="10" y="71"/>
                    <a:pt x="10" y="71"/>
                    <a:pt x="10" y="71"/>
                  </a:cubicBezTo>
                  <a:cubicBezTo>
                    <a:pt x="9" y="70"/>
                    <a:pt x="11" y="68"/>
                    <a:pt x="11" y="67"/>
                  </a:cubicBezTo>
                  <a:cubicBezTo>
                    <a:pt x="10" y="67"/>
                    <a:pt x="8" y="71"/>
                    <a:pt x="8" y="72"/>
                  </a:cubicBezTo>
                  <a:cubicBezTo>
                    <a:pt x="7" y="74"/>
                    <a:pt x="8" y="76"/>
                    <a:pt x="9" y="78"/>
                  </a:cubicBezTo>
                  <a:cubicBezTo>
                    <a:pt x="9" y="77"/>
                    <a:pt x="9" y="75"/>
                    <a:pt x="9" y="75"/>
                  </a:cubicBezTo>
                  <a:cubicBezTo>
                    <a:pt x="9" y="75"/>
                    <a:pt x="9" y="75"/>
                    <a:pt x="9" y="75"/>
                  </a:cubicBezTo>
                  <a:cubicBezTo>
                    <a:pt x="14" y="75"/>
                    <a:pt x="17" y="79"/>
                    <a:pt x="21" y="82"/>
                  </a:cubicBezTo>
                  <a:cubicBezTo>
                    <a:pt x="23" y="84"/>
                    <a:pt x="24" y="84"/>
                    <a:pt x="23" y="86"/>
                  </a:cubicBezTo>
                  <a:cubicBezTo>
                    <a:pt x="22" y="88"/>
                    <a:pt x="22" y="90"/>
                    <a:pt x="21" y="92"/>
                  </a:cubicBezTo>
                  <a:cubicBezTo>
                    <a:pt x="20" y="98"/>
                    <a:pt x="20" y="105"/>
                    <a:pt x="21" y="111"/>
                  </a:cubicBezTo>
                  <a:cubicBezTo>
                    <a:pt x="22" y="113"/>
                    <a:pt x="22" y="119"/>
                    <a:pt x="23" y="119"/>
                  </a:cubicBezTo>
                  <a:cubicBezTo>
                    <a:pt x="23" y="121"/>
                    <a:pt x="23" y="122"/>
                    <a:pt x="23" y="123"/>
                  </a:cubicBezTo>
                  <a:cubicBezTo>
                    <a:pt x="24" y="125"/>
                    <a:pt x="24" y="126"/>
                    <a:pt x="24" y="127"/>
                  </a:cubicBezTo>
                  <a:cubicBezTo>
                    <a:pt x="48" y="103"/>
                    <a:pt x="48" y="103"/>
                    <a:pt x="48" y="103"/>
                  </a:cubicBezTo>
                  <a:cubicBezTo>
                    <a:pt x="51" y="102"/>
                    <a:pt x="54" y="101"/>
                    <a:pt x="59" y="101"/>
                  </a:cubicBezTo>
                  <a:cubicBezTo>
                    <a:pt x="59" y="101"/>
                    <a:pt x="60" y="101"/>
                    <a:pt x="60" y="101"/>
                  </a:cubicBezTo>
                  <a:cubicBezTo>
                    <a:pt x="62" y="101"/>
                    <a:pt x="63" y="101"/>
                    <a:pt x="64" y="101"/>
                  </a:cubicBezTo>
                  <a:cubicBezTo>
                    <a:pt x="65" y="101"/>
                    <a:pt x="65" y="101"/>
                    <a:pt x="65" y="101"/>
                  </a:cubicBezTo>
                  <a:cubicBezTo>
                    <a:pt x="66" y="101"/>
                    <a:pt x="66" y="101"/>
                    <a:pt x="66" y="101"/>
                  </a:cubicBezTo>
                  <a:cubicBezTo>
                    <a:pt x="66" y="101"/>
                    <a:pt x="66" y="101"/>
                    <a:pt x="68" y="99"/>
                  </a:cubicBezTo>
                  <a:cubicBezTo>
                    <a:pt x="69" y="98"/>
                    <a:pt x="69" y="98"/>
                    <a:pt x="69" y="98"/>
                  </a:cubicBezTo>
                  <a:cubicBezTo>
                    <a:pt x="70" y="98"/>
                    <a:pt x="70" y="98"/>
                    <a:pt x="70" y="98"/>
                  </a:cubicBezTo>
                  <a:cubicBezTo>
                    <a:pt x="70" y="97"/>
                    <a:pt x="71" y="97"/>
                    <a:pt x="71" y="97"/>
                  </a:cubicBezTo>
                  <a:cubicBezTo>
                    <a:pt x="72" y="97"/>
                    <a:pt x="72" y="97"/>
                    <a:pt x="72" y="97"/>
                  </a:cubicBezTo>
                  <a:cubicBezTo>
                    <a:pt x="73" y="97"/>
                    <a:pt x="74" y="97"/>
                    <a:pt x="76" y="97"/>
                  </a:cubicBezTo>
                  <a:cubicBezTo>
                    <a:pt x="76" y="97"/>
                    <a:pt x="76" y="97"/>
                    <a:pt x="77" y="97"/>
                  </a:cubicBezTo>
                  <a:cubicBezTo>
                    <a:pt x="78" y="97"/>
                    <a:pt x="78" y="97"/>
                    <a:pt x="78" y="97"/>
                  </a:cubicBezTo>
                  <a:cubicBezTo>
                    <a:pt x="79" y="97"/>
                    <a:pt x="80" y="97"/>
                    <a:pt x="81" y="97"/>
                  </a:cubicBezTo>
                  <a:cubicBezTo>
                    <a:pt x="82" y="97"/>
                    <a:pt x="82" y="97"/>
                    <a:pt x="82" y="97"/>
                  </a:cubicBezTo>
                  <a:cubicBezTo>
                    <a:pt x="83" y="97"/>
                    <a:pt x="84" y="97"/>
                    <a:pt x="84" y="97"/>
                  </a:cubicBezTo>
                  <a:cubicBezTo>
                    <a:pt x="88" y="97"/>
                    <a:pt x="89" y="100"/>
                    <a:pt x="90" y="102"/>
                  </a:cubicBezTo>
                  <a:cubicBezTo>
                    <a:pt x="90" y="102"/>
                    <a:pt x="90" y="102"/>
                    <a:pt x="90" y="102"/>
                  </a:cubicBezTo>
                  <a:cubicBezTo>
                    <a:pt x="91" y="104"/>
                    <a:pt x="91" y="104"/>
                    <a:pt x="91" y="104"/>
                  </a:cubicBezTo>
                  <a:cubicBezTo>
                    <a:pt x="93" y="104"/>
                    <a:pt x="95" y="105"/>
                    <a:pt x="96" y="105"/>
                  </a:cubicBezTo>
                  <a:cubicBezTo>
                    <a:pt x="97" y="105"/>
                    <a:pt x="97" y="105"/>
                    <a:pt x="98" y="105"/>
                  </a:cubicBezTo>
                  <a:cubicBezTo>
                    <a:pt x="99" y="106"/>
                    <a:pt x="99" y="106"/>
                    <a:pt x="99" y="106"/>
                  </a:cubicBezTo>
                  <a:cubicBezTo>
                    <a:pt x="100" y="106"/>
                    <a:pt x="100" y="106"/>
                    <a:pt x="100" y="106"/>
                  </a:cubicBezTo>
                  <a:cubicBezTo>
                    <a:pt x="101" y="106"/>
                    <a:pt x="102" y="107"/>
                    <a:pt x="103" y="108"/>
                  </a:cubicBezTo>
                  <a:cubicBezTo>
                    <a:pt x="104" y="109"/>
                    <a:pt x="104" y="109"/>
                    <a:pt x="104" y="109"/>
                  </a:cubicBezTo>
                  <a:cubicBezTo>
                    <a:pt x="105" y="109"/>
                    <a:pt x="105" y="109"/>
                    <a:pt x="105" y="110"/>
                  </a:cubicBezTo>
                  <a:cubicBezTo>
                    <a:pt x="106" y="110"/>
                    <a:pt x="106" y="110"/>
                    <a:pt x="106" y="110"/>
                  </a:cubicBezTo>
                  <a:cubicBezTo>
                    <a:pt x="107" y="110"/>
                    <a:pt x="107" y="110"/>
                    <a:pt x="107" y="110"/>
                  </a:cubicBezTo>
                  <a:cubicBezTo>
                    <a:pt x="107" y="110"/>
                    <a:pt x="107" y="110"/>
                    <a:pt x="107" y="111"/>
                  </a:cubicBezTo>
                  <a:cubicBezTo>
                    <a:pt x="108" y="111"/>
                    <a:pt x="108" y="111"/>
                    <a:pt x="108" y="111"/>
                  </a:cubicBezTo>
                  <a:cubicBezTo>
                    <a:pt x="109" y="111"/>
                    <a:pt x="109" y="111"/>
                    <a:pt x="109" y="111"/>
                  </a:cubicBezTo>
                  <a:cubicBezTo>
                    <a:pt x="109" y="111"/>
                    <a:pt x="109" y="111"/>
                    <a:pt x="109" y="111"/>
                  </a:cubicBezTo>
                  <a:cubicBezTo>
                    <a:pt x="110" y="110"/>
                    <a:pt x="110" y="110"/>
                    <a:pt x="110" y="110"/>
                  </a:cubicBezTo>
                  <a:cubicBezTo>
                    <a:pt x="110" y="110"/>
                    <a:pt x="111" y="110"/>
                    <a:pt x="111" y="111"/>
                  </a:cubicBezTo>
                  <a:cubicBezTo>
                    <a:pt x="115" y="111"/>
                    <a:pt x="115" y="111"/>
                    <a:pt x="115" y="111"/>
                  </a:cubicBezTo>
                  <a:cubicBezTo>
                    <a:pt x="116" y="111"/>
                    <a:pt x="116" y="111"/>
                    <a:pt x="117" y="111"/>
                  </a:cubicBezTo>
                  <a:cubicBezTo>
                    <a:pt x="119" y="111"/>
                    <a:pt x="122" y="111"/>
                    <a:pt x="124" y="112"/>
                  </a:cubicBezTo>
                  <a:cubicBezTo>
                    <a:pt x="125" y="112"/>
                    <a:pt x="125" y="112"/>
                    <a:pt x="125" y="112"/>
                  </a:cubicBezTo>
                  <a:cubicBezTo>
                    <a:pt x="125" y="112"/>
                    <a:pt x="125" y="112"/>
                    <a:pt x="125" y="112"/>
                  </a:cubicBezTo>
                  <a:cubicBezTo>
                    <a:pt x="126" y="113"/>
                    <a:pt x="126" y="113"/>
                    <a:pt x="126" y="113"/>
                  </a:cubicBezTo>
                  <a:cubicBezTo>
                    <a:pt x="127" y="113"/>
                    <a:pt x="128" y="114"/>
                    <a:pt x="129" y="115"/>
                  </a:cubicBezTo>
                  <a:cubicBezTo>
                    <a:pt x="129" y="116"/>
                    <a:pt x="129" y="116"/>
                    <a:pt x="129" y="116"/>
                  </a:cubicBezTo>
                  <a:cubicBezTo>
                    <a:pt x="130" y="117"/>
                    <a:pt x="131" y="118"/>
                    <a:pt x="132" y="120"/>
                  </a:cubicBezTo>
                  <a:cubicBezTo>
                    <a:pt x="132" y="121"/>
                    <a:pt x="132" y="121"/>
                    <a:pt x="132" y="121"/>
                  </a:cubicBezTo>
                  <a:cubicBezTo>
                    <a:pt x="132" y="121"/>
                    <a:pt x="133" y="122"/>
                    <a:pt x="133" y="122"/>
                  </a:cubicBezTo>
                  <a:cubicBezTo>
                    <a:pt x="134" y="122"/>
                    <a:pt x="134" y="122"/>
                    <a:pt x="134" y="122"/>
                  </a:cubicBezTo>
                  <a:cubicBezTo>
                    <a:pt x="136" y="123"/>
                    <a:pt x="138" y="123"/>
                    <a:pt x="140" y="124"/>
                  </a:cubicBezTo>
                  <a:cubicBezTo>
                    <a:pt x="141" y="125"/>
                    <a:pt x="142" y="125"/>
                    <a:pt x="142" y="126"/>
                  </a:cubicBezTo>
                  <a:cubicBezTo>
                    <a:pt x="142" y="127"/>
                    <a:pt x="142" y="127"/>
                    <a:pt x="142" y="127"/>
                  </a:cubicBezTo>
                  <a:cubicBezTo>
                    <a:pt x="143" y="128"/>
                    <a:pt x="144" y="128"/>
                    <a:pt x="144" y="129"/>
                  </a:cubicBezTo>
                  <a:cubicBezTo>
                    <a:pt x="145" y="130"/>
                    <a:pt x="145" y="130"/>
                    <a:pt x="145" y="130"/>
                  </a:cubicBezTo>
                  <a:cubicBezTo>
                    <a:pt x="146" y="131"/>
                    <a:pt x="146" y="132"/>
                    <a:pt x="146" y="132"/>
                  </a:cubicBezTo>
                  <a:cubicBezTo>
                    <a:pt x="146" y="132"/>
                    <a:pt x="146" y="132"/>
                    <a:pt x="146" y="132"/>
                  </a:cubicBezTo>
                  <a:cubicBezTo>
                    <a:pt x="147" y="132"/>
                    <a:pt x="147" y="132"/>
                    <a:pt x="148" y="132"/>
                  </a:cubicBezTo>
                  <a:cubicBezTo>
                    <a:pt x="149" y="132"/>
                    <a:pt x="149" y="132"/>
                    <a:pt x="149" y="132"/>
                  </a:cubicBezTo>
                  <a:cubicBezTo>
                    <a:pt x="150" y="132"/>
                    <a:pt x="151" y="132"/>
                    <a:pt x="152" y="132"/>
                  </a:cubicBezTo>
                  <a:cubicBezTo>
                    <a:pt x="153" y="132"/>
                    <a:pt x="153" y="132"/>
                    <a:pt x="153" y="132"/>
                  </a:cubicBezTo>
                  <a:cubicBezTo>
                    <a:pt x="153" y="132"/>
                    <a:pt x="154" y="132"/>
                    <a:pt x="154" y="132"/>
                  </a:cubicBezTo>
                  <a:cubicBezTo>
                    <a:pt x="155" y="132"/>
                    <a:pt x="155" y="132"/>
                    <a:pt x="156" y="132"/>
                  </a:cubicBezTo>
                  <a:cubicBezTo>
                    <a:pt x="157" y="132"/>
                    <a:pt x="158" y="132"/>
                    <a:pt x="160" y="132"/>
                  </a:cubicBezTo>
                  <a:cubicBezTo>
                    <a:pt x="160" y="132"/>
                    <a:pt x="160" y="132"/>
                    <a:pt x="160" y="132"/>
                  </a:cubicBezTo>
                  <a:cubicBezTo>
                    <a:pt x="161" y="132"/>
                    <a:pt x="162" y="133"/>
                    <a:pt x="162" y="133"/>
                  </a:cubicBezTo>
                  <a:cubicBezTo>
                    <a:pt x="163" y="134"/>
                    <a:pt x="163" y="134"/>
                    <a:pt x="163" y="135"/>
                  </a:cubicBezTo>
                  <a:cubicBezTo>
                    <a:pt x="163" y="136"/>
                    <a:pt x="163" y="136"/>
                    <a:pt x="163" y="136"/>
                  </a:cubicBezTo>
                  <a:cubicBezTo>
                    <a:pt x="164" y="138"/>
                    <a:pt x="164" y="140"/>
                    <a:pt x="164" y="142"/>
                  </a:cubicBezTo>
                  <a:cubicBezTo>
                    <a:pt x="164" y="143"/>
                    <a:pt x="163" y="144"/>
                    <a:pt x="164" y="144"/>
                  </a:cubicBezTo>
                  <a:cubicBezTo>
                    <a:pt x="164" y="145"/>
                    <a:pt x="164" y="145"/>
                    <a:pt x="164" y="145"/>
                  </a:cubicBezTo>
                  <a:cubicBezTo>
                    <a:pt x="164" y="147"/>
                    <a:pt x="164" y="149"/>
                    <a:pt x="164" y="151"/>
                  </a:cubicBezTo>
                  <a:cubicBezTo>
                    <a:pt x="165" y="154"/>
                    <a:pt x="165" y="154"/>
                    <a:pt x="165" y="154"/>
                  </a:cubicBezTo>
                  <a:cubicBezTo>
                    <a:pt x="165" y="154"/>
                    <a:pt x="165" y="155"/>
                    <a:pt x="165" y="156"/>
                  </a:cubicBezTo>
                  <a:cubicBezTo>
                    <a:pt x="166" y="156"/>
                    <a:pt x="166" y="156"/>
                    <a:pt x="166" y="156"/>
                  </a:cubicBezTo>
                  <a:cubicBezTo>
                    <a:pt x="166" y="156"/>
                    <a:pt x="166" y="156"/>
                    <a:pt x="166" y="156"/>
                  </a:cubicBezTo>
                  <a:cubicBezTo>
                    <a:pt x="168" y="157"/>
                    <a:pt x="168" y="157"/>
                    <a:pt x="168" y="157"/>
                  </a:cubicBezTo>
                  <a:cubicBezTo>
                    <a:pt x="168" y="157"/>
                    <a:pt x="168" y="157"/>
                    <a:pt x="168" y="157"/>
                  </a:cubicBezTo>
                  <a:cubicBezTo>
                    <a:pt x="169" y="157"/>
                    <a:pt x="171" y="157"/>
                    <a:pt x="172" y="158"/>
                  </a:cubicBezTo>
                  <a:cubicBezTo>
                    <a:pt x="172" y="158"/>
                    <a:pt x="172" y="158"/>
                    <a:pt x="172" y="158"/>
                  </a:cubicBezTo>
                  <a:cubicBezTo>
                    <a:pt x="173" y="158"/>
                    <a:pt x="174" y="158"/>
                    <a:pt x="174" y="158"/>
                  </a:cubicBezTo>
                  <a:cubicBezTo>
                    <a:pt x="176" y="159"/>
                    <a:pt x="177" y="159"/>
                    <a:pt x="179" y="160"/>
                  </a:cubicBezTo>
                  <a:cubicBezTo>
                    <a:pt x="179" y="161"/>
                    <a:pt x="179" y="161"/>
                    <a:pt x="180" y="161"/>
                  </a:cubicBezTo>
                  <a:cubicBezTo>
                    <a:pt x="181" y="163"/>
                    <a:pt x="181" y="163"/>
                    <a:pt x="181" y="163"/>
                  </a:cubicBezTo>
                  <a:cubicBezTo>
                    <a:pt x="182" y="163"/>
                    <a:pt x="182" y="164"/>
                    <a:pt x="182" y="164"/>
                  </a:cubicBezTo>
                  <a:cubicBezTo>
                    <a:pt x="183" y="164"/>
                    <a:pt x="183" y="164"/>
                    <a:pt x="183" y="164"/>
                  </a:cubicBezTo>
                  <a:cubicBezTo>
                    <a:pt x="183" y="164"/>
                    <a:pt x="183" y="164"/>
                    <a:pt x="183" y="164"/>
                  </a:cubicBezTo>
                  <a:cubicBezTo>
                    <a:pt x="185" y="162"/>
                    <a:pt x="187" y="162"/>
                    <a:pt x="189" y="162"/>
                  </a:cubicBezTo>
                  <a:cubicBezTo>
                    <a:pt x="190" y="162"/>
                    <a:pt x="190" y="162"/>
                    <a:pt x="190" y="162"/>
                  </a:cubicBezTo>
                  <a:cubicBezTo>
                    <a:pt x="191" y="162"/>
                    <a:pt x="191" y="162"/>
                    <a:pt x="191" y="162"/>
                  </a:cubicBezTo>
                  <a:cubicBezTo>
                    <a:pt x="192" y="161"/>
                    <a:pt x="192" y="161"/>
                    <a:pt x="192" y="161"/>
                  </a:cubicBezTo>
                  <a:cubicBezTo>
                    <a:pt x="193" y="161"/>
                    <a:pt x="194" y="160"/>
                    <a:pt x="196" y="158"/>
                  </a:cubicBezTo>
                  <a:cubicBezTo>
                    <a:pt x="196" y="157"/>
                    <a:pt x="196" y="157"/>
                    <a:pt x="196" y="157"/>
                  </a:cubicBezTo>
                  <a:cubicBezTo>
                    <a:pt x="197" y="157"/>
                    <a:pt x="197" y="156"/>
                    <a:pt x="198" y="155"/>
                  </a:cubicBezTo>
                  <a:cubicBezTo>
                    <a:pt x="197" y="154"/>
                    <a:pt x="197" y="154"/>
                    <a:pt x="197" y="154"/>
                  </a:cubicBezTo>
                  <a:cubicBezTo>
                    <a:pt x="201" y="150"/>
                    <a:pt x="201" y="150"/>
                    <a:pt x="201" y="150"/>
                  </a:cubicBezTo>
                  <a:cubicBezTo>
                    <a:pt x="202" y="149"/>
                    <a:pt x="202" y="149"/>
                    <a:pt x="202" y="149"/>
                  </a:cubicBezTo>
                  <a:cubicBezTo>
                    <a:pt x="203" y="149"/>
                    <a:pt x="204" y="149"/>
                    <a:pt x="205" y="149"/>
                  </a:cubicBezTo>
                  <a:cubicBezTo>
                    <a:pt x="206" y="148"/>
                    <a:pt x="207" y="148"/>
                    <a:pt x="208" y="148"/>
                  </a:cubicBezTo>
                  <a:cubicBezTo>
                    <a:pt x="212" y="146"/>
                    <a:pt x="212" y="146"/>
                    <a:pt x="212" y="146"/>
                  </a:cubicBezTo>
                  <a:cubicBezTo>
                    <a:pt x="214" y="146"/>
                    <a:pt x="216" y="145"/>
                    <a:pt x="217" y="144"/>
                  </a:cubicBezTo>
                  <a:cubicBezTo>
                    <a:pt x="220" y="143"/>
                    <a:pt x="221" y="142"/>
                    <a:pt x="223" y="141"/>
                  </a:cubicBezTo>
                  <a:cubicBezTo>
                    <a:pt x="223" y="140"/>
                    <a:pt x="223" y="140"/>
                    <a:pt x="223" y="140"/>
                  </a:cubicBezTo>
                  <a:cubicBezTo>
                    <a:pt x="224" y="139"/>
                    <a:pt x="224" y="139"/>
                    <a:pt x="224" y="137"/>
                  </a:cubicBezTo>
                  <a:cubicBezTo>
                    <a:pt x="224" y="136"/>
                    <a:pt x="224" y="136"/>
                    <a:pt x="224" y="135"/>
                  </a:cubicBezTo>
                  <a:cubicBezTo>
                    <a:pt x="225" y="134"/>
                    <a:pt x="225" y="134"/>
                    <a:pt x="225" y="134"/>
                  </a:cubicBezTo>
                  <a:cubicBezTo>
                    <a:pt x="225" y="134"/>
                    <a:pt x="225" y="133"/>
                    <a:pt x="225" y="133"/>
                  </a:cubicBezTo>
                  <a:cubicBezTo>
                    <a:pt x="225" y="132"/>
                    <a:pt x="225" y="132"/>
                    <a:pt x="225" y="132"/>
                  </a:cubicBezTo>
                  <a:cubicBezTo>
                    <a:pt x="238" y="120"/>
                    <a:pt x="238" y="120"/>
                    <a:pt x="238" y="120"/>
                  </a:cubicBezTo>
                  <a:cubicBezTo>
                    <a:pt x="239" y="120"/>
                    <a:pt x="239" y="120"/>
                    <a:pt x="239" y="120"/>
                  </a:cubicBezTo>
                  <a:cubicBezTo>
                    <a:pt x="240" y="120"/>
                    <a:pt x="240" y="120"/>
                    <a:pt x="241" y="120"/>
                  </a:cubicBezTo>
                  <a:cubicBezTo>
                    <a:pt x="241" y="120"/>
                    <a:pt x="241" y="120"/>
                    <a:pt x="241" y="120"/>
                  </a:cubicBezTo>
                  <a:cubicBezTo>
                    <a:pt x="242" y="120"/>
                    <a:pt x="242" y="120"/>
                    <a:pt x="242" y="120"/>
                  </a:cubicBezTo>
                  <a:cubicBezTo>
                    <a:pt x="243" y="119"/>
                    <a:pt x="244" y="117"/>
                    <a:pt x="245" y="116"/>
                  </a:cubicBezTo>
                  <a:cubicBezTo>
                    <a:pt x="246" y="115"/>
                    <a:pt x="246" y="115"/>
                    <a:pt x="246" y="115"/>
                  </a:cubicBezTo>
                  <a:cubicBezTo>
                    <a:pt x="247" y="114"/>
                    <a:pt x="247" y="114"/>
                    <a:pt x="247" y="114"/>
                  </a:cubicBezTo>
                  <a:cubicBezTo>
                    <a:pt x="248" y="113"/>
                    <a:pt x="248" y="113"/>
                    <a:pt x="248" y="113"/>
                  </a:cubicBezTo>
                  <a:cubicBezTo>
                    <a:pt x="249" y="113"/>
                    <a:pt x="249" y="113"/>
                    <a:pt x="249" y="113"/>
                  </a:cubicBezTo>
                  <a:cubicBezTo>
                    <a:pt x="249" y="113"/>
                    <a:pt x="249" y="113"/>
                    <a:pt x="249" y="113"/>
                  </a:cubicBezTo>
                  <a:cubicBezTo>
                    <a:pt x="250" y="113"/>
                    <a:pt x="250" y="113"/>
                    <a:pt x="250" y="113"/>
                  </a:cubicBezTo>
                  <a:cubicBezTo>
                    <a:pt x="251" y="114"/>
                    <a:pt x="252" y="114"/>
                    <a:pt x="253" y="114"/>
                  </a:cubicBezTo>
                  <a:cubicBezTo>
                    <a:pt x="253" y="115"/>
                    <a:pt x="253" y="115"/>
                    <a:pt x="253" y="115"/>
                  </a:cubicBezTo>
                  <a:cubicBezTo>
                    <a:pt x="254" y="115"/>
                    <a:pt x="254" y="115"/>
                    <a:pt x="254" y="115"/>
                  </a:cubicBezTo>
                  <a:cubicBezTo>
                    <a:pt x="255" y="115"/>
                    <a:pt x="255" y="116"/>
                    <a:pt x="255" y="116"/>
                  </a:cubicBezTo>
                  <a:cubicBezTo>
                    <a:pt x="257" y="116"/>
                    <a:pt x="257" y="116"/>
                    <a:pt x="257" y="116"/>
                  </a:cubicBezTo>
                  <a:cubicBezTo>
                    <a:pt x="257" y="117"/>
                    <a:pt x="258" y="117"/>
                    <a:pt x="258" y="117"/>
                  </a:cubicBezTo>
                  <a:cubicBezTo>
                    <a:pt x="259" y="117"/>
                    <a:pt x="259" y="117"/>
                    <a:pt x="259" y="117"/>
                  </a:cubicBezTo>
                  <a:cubicBezTo>
                    <a:pt x="259" y="117"/>
                    <a:pt x="259" y="117"/>
                    <a:pt x="259" y="117"/>
                  </a:cubicBezTo>
                  <a:cubicBezTo>
                    <a:pt x="260" y="117"/>
                    <a:pt x="260" y="117"/>
                    <a:pt x="260" y="117"/>
                  </a:cubicBezTo>
                  <a:cubicBezTo>
                    <a:pt x="261" y="117"/>
                    <a:pt x="261" y="117"/>
                    <a:pt x="261" y="117"/>
                  </a:cubicBezTo>
                  <a:cubicBezTo>
                    <a:pt x="261" y="117"/>
                    <a:pt x="261" y="117"/>
                    <a:pt x="261" y="117"/>
                  </a:cubicBezTo>
                  <a:cubicBezTo>
                    <a:pt x="261" y="117"/>
                    <a:pt x="261" y="117"/>
                    <a:pt x="261" y="117"/>
                  </a:cubicBezTo>
                  <a:cubicBezTo>
                    <a:pt x="262" y="116"/>
                    <a:pt x="262" y="116"/>
                    <a:pt x="262" y="115"/>
                  </a:cubicBezTo>
                  <a:cubicBezTo>
                    <a:pt x="262" y="115"/>
                    <a:pt x="262" y="115"/>
                    <a:pt x="262" y="115"/>
                  </a:cubicBezTo>
                  <a:cubicBezTo>
                    <a:pt x="262" y="114"/>
                    <a:pt x="262" y="114"/>
                    <a:pt x="262" y="114"/>
                  </a:cubicBezTo>
                  <a:cubicBezTo>
                    <a:pt x="263" y="111"/>
                    <a:pt x="263" y="111"/>
                    <a:pt x="263" y="111"/>
                  </a:cubicBezTo>
                  <a:cubicBezTo>
                    <a:pt x="263" y="110"/>
                    <a:pt x="263" y="110"/>
                    <a:pt x="263" y="109"/>
                  </a:cubicBezTo>
                  <a:cubicBezTo>
                    <a:pt x="263" y="108"/>
                    <a:pt x="263" y="108"/>
                    <a:pt x="263" y="108"/>
                  </a:cubicBezTo>
                  <a:cubicBezTo>
                    <a:pt x="263" y="108"/>
                    <a:pt x="263" y="107"/>
                    <a:pt x="263" y="107"/>
                  </a:cubicBezTo>
                  <a:cubicBezTo>
                    <a:pt x="260" y="106"/>
                    <a:pt x="260" y="106"/>
                    <a:pt x="260" y="106"/>
                  </a:cubicBezTo>
                  <a:cubicBezTo>
                    <a:pt x="259" y="105"/>
                    <a:pt x="258" y="104"/>
                    <a:pt x="256" y="103"/>
                  </a:cubicBezTo>
                  <a:cubicBezTo>
                    <a:pt x="255" y="103"/>
                    <a:pt x="255" y="103"/>
                    <a:pt x="255" y="103"/>
                  </a:cubicBezTo>
                  <a:cubicBezTo>
                    <a:pt x="252" y="101"/>
                    <a:pt x="252" y="101"/>
                    <a:pt x="251" y="101"/>
                  </a:cubicBezTo>
                  <a:cubicBezTo>
                    <a:pt x="251" y="101"/>
                    <a:pt x="251" y="101"/>
                    <a:pt x="251" y="101"/>
                  </a:cubicBezTo>
                  <a:cubicBezTo>
                    <a:pt x="250" y="102"/>
                    <a:pt x="250" y="102"/>
                    <a:pt x="249" y="102"/>
                  </a:cubicBezTo>
                  <a:cubicBezTo>
                    <a:pt x="249" y="102"/>
                    <a:pt x="248" y="102"/>
                    <a:pt x="248" y="102"/>
                  </a:cubicBezTo>
                  <a:cubicBezTo>
                    <a:pt x="245" y="102"/>
                    <a:pt x="244" y="101"/>
                    <a:pt x="242" y="100"/>
                  </a:cubicBezTo>
                  <a:cubicBezTo>
                    <a:pt x="241" y="99"/>
                    <a:pt x="241" y="99"/>
                    <a:pt x="241" y="99"/>
                  </a:cubicBezTo>
                  <a:cubicBezTo>
                    <a:pt x="240" y="99"/>
                    <a:pt x="240" y="98"/>
                    <a:pt x="239" y="98"/>
                  </a:cubicBezTo>
                  <a:cubicBezTo>
                    <a:pt x="237" y="97"/>
                    <a:pt x="236" y="96"/>
                    <a:pt x="234" y="94"/>
                  </a:cubicBezTo>
                  <a:cubicBezTo>
                    <a:pt x="234" y="94"/>
                    <a:pt x="233" y="94"/>
                    <a:pt x="232" y="94"/>
                  </a:cubicBezTo>
                  <a:cubicBezTo>
                    <a:pt x="232" y="93"/>
                    <a:pt x="231" y="93"/>
                    <a:pt x="230" y="92"/>
                  </a:cubicBezTo>
                  <a:cubicBezTo>
                    <a:pt x="227" y="91"/>
                    <a:pt x="225" y="89"/>
                    <a:pt x="222" y="87"/>
                  </a:cubicBezTo>
                  <a:cubicBezTo>
                    <a:pt x="219" y="84"/>
                    <a:pt x="215" y="83"/>
                    <a:pt x="212" y="81"/>
                  </a:cubicBezTo>
                  <a:cubicBezTo>
                    <a:pt x="210" y="80"/>
                    <a:pt x="210" y="80"/>
                    <a:pt x="210" y="80"/>
                  </a:cubicBezTo>
                  <a:cubicBezTo>
                    <a:pt x="209" y="79"/>
                    <a:pt x="208" y="79"/>
                    <a:pt x="207" y="79"/>
                  </a:cubicBezTo>
                  <a:cubicBezTo>
                    <a:pt x="204" y="77"/>
                    <a:pt x="201" y="74"/>
                    <a:pt x="198" y="72"/>
                  </a:cubicBezTo>
                  <a:cubicBezTo>
                    <a:pt x="197" y="71"/>
                    <a:pt x="197" y="71"/>
                    <a:pt x="197" y="71"/>
                  </a:cubicBezTo>
                  <a:cubicBezTo>
                    <a:pt x="196" y="71"/>
                    <a:pt x="195" y="70"/>
                    <a:pt x="194" y="70"/>
                  </a:cubicBezTo>
                  <a:cubicBezTo>
                    <a:pt x="191" y="67"/>
                    <a:pt x="191" y="67"/>
                    <a:pt x="191" y="67"/>
                  </a:cubicBezTo>
                  <a:cubicBezTo>
                    <a:pt x="191" y="67"/>
                    <a:pt x="190" y="67"/>
                    <a:pt x="190" y="66"/>
                  </a:cubicBezTo>
                  <a:cubicBezTo>
                    <a:pt x="189" y="66"/>
                    <a:pt x="189" y="66"/>
                    <a:pt x="189" y="66"/>
                  </a:cubicBezTo>
                  <a:cubicBezTo>
                    <a:pt x="188" y="65"/>
                    <a:pt x="186" y="64"/>
                    <a:pt x="185" y="63"/>
                  </a:cubicBezTo>
                  <a:cubicBezTo>
                    <a:pt x="185" y="62"/>
                    <a:pt x="185" y="62"/>
                    <a:pt x="185" y="62"/>
                  </a:cubicBezTo>
                  <a:cubicBezTo>
                    <a:pt x="184" y="62"/>
                    <a:pt x="184" y="62"/>
                    <a:pt x="184" y="62"/>
                  </a:cubicBezTo>
                  <a:cubicBezTo>
                    <a:pt x="184" y="61"/>
                    <a:pt x="184" y="61"/>
                    <a:pt x="184" y="61"/>
                  </a:cubicBezTo>
                  <a:cubicBezTo>
                    <a:pt x="183" y="60"/>
                    <a:pt x="183" y="58"/>
                    <a:pt x="183" y="57"/>
                  </a:cubicBezTo>
                  <a:cubicBezTo>
                    <a:pt x="183" y="57"/>
                    <a:pt x="182" y="56"/>
                    <a:pt x="182" y="55"/>
                  </a:cubicBezTo>
                  <a:cubicBezTo>
                    <a:pt x="182" y="55"/>
                    <a:pt x="182" y="55"/>
                    <a:pt x="182" y="55"/>
                  </a:cubicBezTo>
                  <a:cubicBezTo>
                    <a:pt x="182" y="54"/>
                    <a:pt x="181" y="53"/>
                    <a:pt x="180" y="53"/>
                  </a:cubicBezTo>
                  <a:cubicBezTo>
                    <a:pt x="180" y="52"/>
                    <a:pt x="179" y="51"/>
                    <a:pt x="178" y="49"/>
                  </a:cubicBezTo>
                  <a:cubicBezTo>
                    <a:pt x="177" y="48"/>
                    <a:pt x="177" y="47"/>
                    <a:pt x="176" y="46"/>
                  </a:cubicBezTo>
                  <a:cubicBezTo>
                    <a:pt x="175" y="42"/>
                    <a:pt x="173" y="38"/>
                    <a:pt x="170" y="35"/>
                  </a:cubicBezTo>
                  <a:cubicBezTo>
                    <a:pt x="169" y="34"/>
                    <a:pt x="168" y="33"/>
                    <a:pt x="168" y="33"/>
                  </a:cubicBezTo>
                  <a:cubicBezTo>
                    <a:pt x="167" y="34"/>
                    <a:pt x="167" y="34"/>
                    <a:pt x="167" y="34"/>
                  </a:cubicBezTo>
                  <a:cubicBezTo>
                    <a:pt x="166" y="36"/>
                    <a:pt x="164" y="36"/>
                    <a:pt x="162" y="36"/>
                  </a:cubicBezTo>
                  <a:cubicBezTo>
                    <a:pt x="160" y="36"/>
                    <a:pt x="160" y="36"/>
                    <a:pt x="160" y="36"/>
                  </a:cubicBezTo>
                  <a:cubicBezTo>
                    <a:pt x="159" y="36"/>
                    <a:pt x="158" y="36"/>
                    <a:pt x="157" y="35"/>
                  </a:cubicBezTo>
                  <a:cubicBezTo>
                    <a:pt x="156" y="35"/>
                    <a:pt x="154" y="35"/>
                    <a:pt x="152" y="35"/>
                  </a:cubicBezTo>
                  <a:cubicBezTo>
                    <a:pt x="152" y="34"/>
                    <a:pt x="152" y="34"/>
                    <a:pt x="151" y="34"/>
                  </a:cubicBezTo>
                  <a:cubicBezTo>
                    <a:pt x="151" y="34"/>
                    <a:pt x="150" y="35"/>
                    <a:pt x="150" y="35"/>
                  </a:cubicBezTo>
                  <a:cubicBezTo>
                    <a:pt x="149" y="35"/>
                    <a:pt x="149" y="35"/>
                    <a:pt x="148" y="35"/>
                  </a:cubicBezTo>
                  <a:cubicBezTo>
                    <a:pt x="147" y="35"/>
                    <a:pt x="146" y="34"/>
                    <a:pt x="144" y="33"/>
                  </a:cubicBezTo>
                  <a:cubicBezTo>
                    <a:pt x="143" y="33"/>
                    <a:pt x="143" y="33"/>
                    <a:pt x="143" y="33"/>
                  </a:cubicBezTo>
                  <a:cubicBezTo>
                    <a:pt x="143" y="33"/>
                    <a:pt x="142" y="32"/>
                    <a:pt x="142" y="32"/>
                  </a:cubicBezTo>
                  <a:cubicBezTo>
                    <a:pt x="141" y="31"/>
                    <a:pt x="141" y="31"/>
                    <a:pt x="141" y="31"/>
                  </a:cubicBezTo>
                  <a:cubicBezTo>
                    <a:pt x="140" y="31"/>
                    <a:pt x="140" y="31"/>
                    <a:pt x="140" y="31"/>
                  </a:cubicBezTo>
                  <a:cubicBezTo>
                    <a:pt x="139" y="30"/>
                    <a:pt x="137" y="29"/>
                    <a:pt x="138" y="26"/>
                  </a:cubicBezTo>
                  <a:cubicBezTo>
                    <a:pt x="139" y="25"/>
                    <a:pt x="139" y="25"/>
                    <a:pt x="139" y="25"/>
                  </a:cubicBezTo>
                  <a:cubicBezTo>
                    <a:pt x="139" y="24"/>
                    <a:pt x="139" y="24"/>
                    <a:pt x="139" y="24"/>
                  </a:cubicBezTo>
                  <a:cubicBezTo>
                    <a:pt x="139" y="24"/>
                    <a:pt x="139" y="24"/>
                    <a:pt x="138" y="23"/>
                  </a:cubicBezTo>
                  <a:cubicBezTo>
                    <a:pt x="137" y="21"/>
                    <a:pt x="137" y="21"/>
                    <a:pt x="137" y="21"/>
                  </a:cubicBezTo>
                  <a:cubicBezTo>
                    <a:pt x="139" y="20"/>
                    <a:pt x="139" y="20"/>
                    <a:pt x="139" y="20"/>
                  </a:cubicBezTo>
                  <a:cubicBezTo>
                    <a:pt x="139" y="19"/>
                    <a:pt x="138" y="19"/>
                    <a:pt x="136" y="18"/>
                  </a:cubicBezTo>
                  <a:cubicBezTo>
                    <a:pt x="131" y="16"/>
                    <a:pt x="131" y="16"/>
                    <a:pt x="131" y="16"/>
                  </a:cubicBezTo>
                  <a:cubicBezTo>
                    <a:pt x="137" y="14"/>
                    <a:pt x="137" y="14"/>
                    <a:pt x="137" y="14"/>
                  </a:cubicBezTo>
                  <a:cubicBezTo>
                    <a:pt x="137" y="14"/>
                    <a:pt x="137" y="14"/>
                    <a:pt x="137" y="14"/>
                  </a:cubicBezTo>
                  <a:cubicBezTo>
                    <a:pt x="137" y="14"/>
                    <a:pt x="137" y="14"/>
                    <a:pt x="137" y="14"/>
                  </a:cubicBezTo>
                  <a:cubicBezTo>
                    <a:pt x="137" y="13"/>
                    <a:pt x="136" y="13"/>
                    <a:pt x="137" y="12"/>
                  </a:cubicBezTo>
                  <a:cubicBezTo>
                    <a:pt x="135" y="11"/>
                    <a:pt x="133" y="11"/>
                    <a:pt x="132" y="11"/>
                  </a:cubicBezTo>
                  <a:cubicBezTo>
                    <a:pt x="132" y="10"/>
                    <a:pt x="132" y="10"/>
                    <a:pt x="132" y="10"/>
                  </a:cubicBezTo>
                  <a:cubicBezTo>
                    <a:pt x="131" y="10"/>
                    <a:pt x="128" y="10"/>
                    <a:pt x="127" y="10"/>
                  </a:cubicBezTo>
                  <a:cubicBezTo>
                    <a:pt x="126" y="10"/>
                    <a:pt x="126" y="10"/>
                    <a:pt x="126" y="10"/>
                  </a:cubicBezTo>
                  <a:cubicBezTo>
                    <a:pt x="126" y="10"/>
                    <a:pt x="126" y="10"/>
                    <a:pt x="126" y="10"/>
                  </a:cubicBezTo>
                  <a:cubicBezTo>
                    <a:pt x="125" y="10"/>
                    <a:pt x="124" y="9"/>
                    <a:pt x="123" y="9"/>
                  </a:cubicBezTo>
                  <a:cubicBezTo>
                    <a:pt x="123" y="8"/>
                    <a:pt x="123" y="8"/>
                    <a:pt x="122" y="7"/>
                  </a:cubicBezTo>
                  <a:cubicBezTo>
                    <a:pt x="122" y="7"/>
                    <a:pt x="122" y="7"/>
                    <a:pt x="122" y="7"/>
                  </a:cubicBezTo>
                  <a:cubicBezTo>
                    <a:pt x="121" y="6"/>
                    <a:pt x="121" y="6"/>
                    <a:pt x="121" y="6"/>
                  </a:cubicBezTo>
                  <a:cubicBezTo>
                    <a:pt x="121" y="5"/>
                    <a:pt x="121" y="5"/>
                    <a:pt x="121" y="5"/>
                  </a:cubicBezTo>
                  <a:cubicBezTo>
                    <a:pt x="121" y="5"/>
                    <a:pt x="121" y="5"/>
                    <a:pt x="121" y="5"/>
                  </a:cubicBezTo>
                  <a:cubicBezTo>
                    <a:pt x="120" y="5"/>
                    <a:pt x="120" y="5"/>
                    <a:pt x="120" y="5"/>
                  </a:cubicBezTo>
                  <a:cubicBezTo>
                    <a:pt x="120" y="5"/>
                    <a:pt x="120" y="5"/>
                    <a:pt x="119" y="5"/>
                  </a:cubicBezTo>
                  <a:cubicBezTo>
                    <a:pt x="119" y="5"/>
                    <a:pt x="119" y="5"/>
                    <a:pt x="118" y="5"/>
                  </a:cubicBezTo>
                  <a:cubicBezTo>
                    <a:pt x="118" y="5"/>
                    <a:pt x="117" y="5"/>
                    <a:pt x="116" y="4"/>
                  </a:cubicBezTo>
                  <a:cubicBezTo>
                    <a:pt x="115" y="3"/>
                    <a:pt x="114" y="2"/>
                    <a:pt x="113" y="1"/>
                  </a:cubicBezTo>
                  <a:cubicBezTo>
                    <a:pt x="113" y="0"/>
                    <a:pt x="113" y="0"/>
                    <a:pt x="1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425"/>
            <p:cNvSpPr/>
            <p:nvPr/>
          </p:nvSpPr>
          <p:spPr bwMode="auto">
            <a:xfrm>
              <a:off x="2596853" y="4148323"/>
              <a:ext cx="462152" cy="237953"/>
            </a:xfrm>
            <a:custGeom>
              <a:gdLst>
                <a:gd name="T0" fmla="*/ 29 w 142"/>
                <a:gd name="T1" fmla="*/ 3 h 73"/>
                <a:gd name="T2" fmla="*/ 28 w 142"/>
                <a:gd name="T3" fmla="*/ 3 h 73"/>
                <a:gd name="T4" fmla="*/ 27 w 142"/>
                <a:gd name="T5" fmla="*/ 16 h 73"/>
                <a:gd name="T6" fmla="*/ 23 w 142"/>
                <a:gd name="T7" fmla="*/ 8 h 73"/>
                <a:gd name="T8" fmla="*/ 18 w 142"/>
                <a:gd name="T9" fmla="*/ 15 h 73"/>
                <a:gd name="T10" fmla="*/ 12 w 142"/>
                <a:gd name="T11" fmla="*/ 15 h 73"/>
                <a:gd name="T12" fmla="*/ 4 w 142"/>
                <a:gd name="T13" fmla="*/ 14 h 73"/>
                <a:gd name="T14" fmla="*/ 2 w 142"/>
                <a:gd name="T15" fmla="*/ 14 h 73"/>
                <a:gd name="T16" fmla="*/ 0 w 142"/>
                <a:gd name="T17" fmla="*/ 18 h 73"/>
                <a:gd name="T18" fmla="*/ 3 w 142"/>
                <a:gd name="T19" fmla="*/ 21 h 73"/>
                <a:gd name="T20" fmla="*/ 15 w 142"/>
                <a:gd name="T21" fmla="*/ 26 h 73"/>
                <a:gd name="T22" fmla="*/ 14 w 142"/>
                <a:gd name="T23" fmla="*/ 36 h 73"/>
                <a:gd name="T24" fmla="*/ 16 w 142"/>
                <a:gd name="T25" fmla="*/ 38 h 73"/>
                <a:gd name="T26" fmla="*/ 11 w 142"/>
                <a:gd name="T27" fmla="*/ 55 h 73"/>
                <a:gd name="T28" fmla="*/ 8 w 142"/>
                <a:gd name="T29" fmla="*/ 62 h 73"/>
                <a:gd name="T30" fmla="*/ 10 w 142"/>
                <a:gd name="T31" fmla="*/ 68 h 73"/>
                <a:gd name="T32" fmla="*/ 14 w 142"/>
                <a:gd name="T33" fmla="*/ 65 h 73"/>
                <a:gd name="T34" fmla="*/ 23 w 142"/>
                <a:gd name="T35" fmla="*/ 61 h 73"/>
                <a:gd name="T36" fmla="*/ 24 w 142"/>
                <a:gd name="T37" fmla="*/ 61 h 73"/>
                <a:gd name="T38" fmla="*/ 31 w 142"/>
                <a:gd name="T39" fmla="*/ 62 h 73"/>
                <a:gd name="T40" fmla="*/ 34 w 142"/>
                <a:gd name="T41" fmla="*/ 64 h 73"/>
                <a:gd name="T42" fmla="*/ 34 w 142"/>
                <a:gd name="T43" fmla="*/ 61 h 73"/>
                <a:gd name="T44" fmla="*/ 36 w 142"/>
                <a:gd name="T45" fmla="*/ 56 h 73"/>
                <a:gd name="T46" fmla="*/ 46 w 142"/>
                <a:gd name="T47" fmla="*/ 55 h 73"/>
                <a:gd name="T48" fmla="*/ 49 w 142"/>
                <a:gd name="T49" fmla="*/ 55 h 73"/>
                <a:gd name="T50" fmla="*/ 50 w 142"/>
                <a:gd name="T51" fmla="*/ 53 h 73"/>
                <a:gd name="T52" fmla="*/ 50 w 142"/>
                <a:gd name="T53" fmla="*/ 46 h 73"/>
                <a:gd name="T54" fmla="*/ 56 w 142"/>
                <a:gd name="T55" fmla="*/ 42 h 73"/>
                <a:gd name="T56" fmla="*/ 65 w 142"/>
                <a:gd name="T57" fmla="*/ 35 h 73"/>
                <a:gd name="T58" fmla="*/ 70 w 142"/>
                <a:gd name="T59" fmla="*/ 37 h 73"/>
                <a:gd name="T60" fmla="*/ 73 w 142"/>
                <a:gd name="T61" fmla="*/ 36 h 73"/>
                <a:gd name="T62" fmla="*/ 73 w 142"/>
                <a:gd name="T63" fmla="*/ 40 h 73"/>
                <a:gd name="T64" fmla="*/ 78 w 142"/>
                <a:gd name="T65" fmla="*/ 46 h 73"/>
                <a:gd name="T66" fmla="*/ 78 w 142"/>
                <a:gd name="T67" fmla="*/ 64 h 73"/>
                <a:gd name="T68" fmla="*/ 78 w 142"/>
                <a:gd name="T69" fmla="*/ 65 h 73"/>
                <a:gd name="T70" fmla="*/ 78 w 142"/>
                <a:gd name="T71" fmla="*/ 70 h 73"/>
                <a:gd name="T72" fmla="*/ 79 w 142"/>
                <a:gd name="T73" fmla="*/ 73 h 73"/>
                <a:gd name="T74" fmla="*/ 91 w 142"/>
                <a:gd name="T75" fmla="*/ 69 h 73"/>
                <a:gd name="T76" fmla="*/ 109 w 142"/>
                <a:gd name="T77" fmla="*/ 57 h 73"/>
                <a:gd name="T78" fmla="*/ 120 w 142"/>
                <a:gd name="T79" fmla="*/ 60 h 73"/>
                <a:gd name="T80" fmla="*/ 126 w 142"/>
                <a:gd name="T81" fmla="*/ 59 h 73"/>
                <a:gd name="T82" fmla="*/ 130 w 142"/>
                <a:gd name="T83" fmla="*/ 58 h 73"/>
                <a:gd name="T84" fmla="*/ 140 w 142"/>
                <a:gd name="T85" fmla="*/ 61 h 73"/>
                <a:gd name="T86" fmla="*/ 140 w 142"/>
                <a:gd name="T87" fmla="*/ 55 h 73"/>
                <a:gd name="T88" fmla="*/ 138 w 142"/>
                <a:gd name="T89" fmla="*/ 41 h 73"/>
                <a:gd name="T90" fmla="*/ 133 w 142"/>
                <a:gd name="T91" fmla="*/ 37 h 73"/>
                <a:gd name="T92" fmla="*/ 129 w 142"/>
                <a:gd name="T93" fmla="*/ 35 h 73"/>
                <a:gd name="T94" fmla="*/ 124 w 142"/>
                <a:gd name="T95" fmla="*/ 35 h 73"/>
                <a:gd name="T96" fmla="*/ 120 w 142"/>
                <a:gd name="T97" fmla="*/ 36 h 73"/>
                <a:gd name="T98" fmla="*/ 116 w 142"/>
                <a:gd name="T99" fmla="*/ 26 h 73"/>
                <a:gd name="T100" fmla="*/ 112 w 142"/>
                <a:gd name="T101" fmla="*/ 27 h 73"/>
                <a:gd name="T102" fmla="*/ 114 w 142"/>
                <a:gd name="T103" fmla="*/ 20 h 73"/>
                <a:gd name="T104" fmla="*/ 110 w 142"/>
                <a:gd name="T105" fmla="*/ 18 h 73"/>
                <a:gd name="T106" fmla="*/ 97 w 142"/>
                <a:gd name="T107" fmla="*/ 19 h 73"/>
                <a:gd name="T108" fmla="*/ 89 w 142"/>
                <a:gd name="T109" fmla="*/ 22 h 73"/>
                <a:gd name="T110" fmla="*/ 81 w 142"/>
                <a:gd name="T111" fmla="*/ 21 h 73"/>
                <a:gd name="T112" fmla="*/ 78 w 142"/>
                <a:gd name="T113" fmla="*/ 17 h 73"/>
                <a:gd name="T114" fmla="*/ 76 w 142"/>
                <a:gd name="T115" fmla="*/ 17 h 73"/>
                <a:gd name="T116" fmla="*/ 67 w 142"/>
                <a:gd name="T117" fmla="*/ 18 h 73"/>
                <a:gd name="T118" fmla="*/ 67 w 142"/>
                <a:gd name="T119" fmla="*/ 18 h 73"/>
                <a:gd name="T120" fmla="*/ 56 w 142"/>
                <a:gd name="T121" fmla="*/ 15 h 73"/>
                <a:gd name="T122" fmla="*/ 32 w 142"/>
                <a:gd name="T123" fmla="*/ 16 h 73"/>
                <a:gd name="T124" fmla="*/ 32 w 142"/>
                <a:gd name="T125" fmla="*/ 1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2" h="73">
                  <a:moveTo>
                    <a:pt x="31" y="0"/>
                  </a:moveTo>
                  <a:cubicBezTo>
                    <a:pt x="31" y="1"/>
                    <a:pt x="30" y="2"/>
                    <a:pt x="30" y="3"/>
                  </a:cubicBezTo>
                  <a:cubicBezTo>
                    <a:pt x="29" y="3"/>
                    <a:pt x="29" y="3"/>
                    <a:pt x="29" y="3"/>
                  </a:cubicBezTo>
                  <a:cubicBezTo>
                    <a:pt x="28" y="3"/>
                    <a:pt x="28" y="3"/>
                    <a:pt x="28" y="3"/>
                  </a:cubicBezTo>
                  <a:cubicBezTo>
                    <a:pt x="28" y="3"/>
                    <a:pt x="28" y="3"/>
                    <a:pt x="28" y="3"/>
                  </a:cubicBezTo>
                  <a:cubicBezTo>
                    <a:pt x="28" y="3"/>
                    <a:pt x="28" y="3"/>
                    <a:pt x="28" y="3"/>
                  </a:cubicBezTo>
                  <a:cubicBezTo>
                    <a:pt x="28" y="4"/>
                    <a:pt x="28" y="4"/>
                    <a:pt x="28" y="4"/>
                  </a:cubicBezTo>
                  <a:cubicBezTo>
                    <a:pt x="28" y="5"/>
                    <a:pt x="28" y="5"/>
                    <a:pt x="28" y="6"/>
                  </a:cubicBezTo>
                  <a:cubicBezTo>
                    <a:pt x="27" y="16"/>
                    <a:pt x="27" y="16"/>
                    <a:pt x="27" y="16"/>
                  </a:cubicBezTo>
                  <a:cubicBezTo>
                    <a:pt x="24" y="7"/>
                    <a:pt x="24" y="7"/>
                    <a:pt x="24" y="7"/>
                  </a:cubicBezTo>
                  <a:cubicBezTo>
                    <a:pt x="23" y="8"/>
                    <a:pt x="23" y="8"/>
                    <a:pt x="23" y="8"/>
                  </a:cubicBezTo>
                  <a:cubicBezTo>
                    <a:pt x="23" y="8"/>
                    <a:pt x="23" y="8"/>
                    <a:pt x="23" y="8"/>
                  </a:cubicBezTo>
                  <a:cubicBezTo>
                    <a:pt x="22" y="12"/>
                    <a:pt x="22" y="14"/>
                    <a:pt x="20" y="15"/>
                  </a:cubicBezTo>
                  <a:cubicBezTo>
                    <a:pt x="19" y="15"/>
                    <a:pt x="19" y="15"/>
                    <a:pt x="19" y="15"/>
                  </a:cubicBezTo>
                  <a:cubicBezTo>
                    <a:pt x="19" y="15"/>
                    <a:pt x="18" y="15"/>
                    <a:pt x="18" y="15"/>
                  </a:cubicBezTo>
                  <a:cubicBezTo>
                    <a:pt x="17" y="15"/>
                    <a:pt x="17" y="15"/>
                    <a:pt x="17" y="15"/>
                  </a:cubicBezTo>
                  <a:cubicBezTo>
                    <a:pt x="16" y="15"/>
                    <a:pt x="16" y="15"/>
                    <a:pt x="16" y="15"/>
                  </a:cubicBezTo>
                  <a:cubicBezTo>
                    <a:pt x="15" y="15"/>
                    <a:pt x="14" y="15"/>
                    <a:pt x="12" y="15"/>
                  </a:cubicBezTo>
                  <a:cubicBezTo>
                    <a:pt x="11" y="14"/>
                    <a:pt x="8" y="14"/>
                    <a:pt x="6" y="14"/>
                  </a:cubicBezTo>
                  <a:cubicBezTo>
                    <a:pt x="5" y="14"/>
                    <a:pt x="5" y="13"/>
                    <a:pt x="5" y="13"/>
                  </a:cubicBezTo>
                  <a:cubicBezTo>
                    <a:pt x="4" y="13"/>
                    <a:pt x="4" y="13"/>
                    <a:pt x="4" y="14"/>
                  </a:cubicBezTo>
                  <a:cubicBezTo>
                    <a:pt x="4" y="14"/>
                    <a:pt x="4" y="14"/>
                    <a:pt x="4" y="14"/>
                  </a:cubicBezTo>
                  <a:cubicBezTo>
                    <a:pt x="3" y="14"/>
                    <a:pt x="3" y="14"/>
                    <a:pt x="3" y="14"/>
                  </a:cubicBezTo>
                  <a:cubicBezTo>
                    <a:pt x="3" y="14"/>
                    <a:pt x="3" y="14"/>
                    <a:pt x="2" y="14"/>
                  </a:cubicBezTo>
                  <a:cubicBezTo>
                    <a:pt x="2" y="15"/>
                    <a:pt x="2" y="15"/>
                    <a:pt x="2" y="15"/>
                  </a:cubicBezTo>
                  <a:cubicBezTo>
                    <a:pt x="1" y="16"/>
                    <a:pt x="0" y="16"/>
                    <a:pt x="0" y="18"/>
                  </a:cubicBezTo>
                  <a:cubicBezTo>
                    <a:pt x="0" y="18"/>
                    <a:pt x="0" y="18"/>
                    <a:pt x="0" y="18"/>
                  </a:cubicBezTo>
                  <a:cubicBezTo>
                    <a:pt x="0" y="18"/>
                    <a:pt x="1" y="19"/>
                    <a:pt x="1" y="19"/>
                  </a:cubicBezTo>
                  <a:cubicBezTo>
                    <a:pt x="2" y="20"/>
                    <a:pt x="2" y="20"/>
                    <a:pt x="2" y="20"/>
                  </a:cubicBezTo>
                  <a:cubicBezTo>
                    <a:pt x="2" y="20"/>
                    <a:pt x="2" y="20"/>
                    <a:pt x="3" y="21"/>
                  </a:cubicBezTo>
                  <a:cubicBezTo>
                    <a:pt x="4" y="22"/>
                    <a:pt x="4" y="22"/>
                    <a:pt x="7" y="22"/>
                  </a:cubicBezTo>
                  <a:cubicBezTo>
                    <a:pt x="7" y="22"/>
                    <a:pt x="8" y="23"/>
                    <a:pt x="9" y="23"/>
                  </a:cubicBezTo>
                  <a:cubicBezTo>
                    <a:pt x="11" y="23"/>
                    <a:pt x="14" y="24"/>
                    <a:pt x="15" y="26"/>
                  </a:cubicBezTo>
                  <a:cubicBezTo>
                    <a:pt x="15" y="27"/>
                    <a:pt x="15" y="27"/>
                    <a:pt x="15" y="28"/>
                  </a:cubicBezTo>
                  <a:cubicBezTo>
                    <a:pt x="15" y="29"/>
                    <a:pt x="15" y="31"/>
                    <a:pt x="14" y="33"/>
                  </a:cubicBezTo>
                  <a:cubicBezTo>
                    <a:pt x="14" y="36"/>
                    <a:pt x="14" y="36"/>
                    <a:pt x="14" y="36"/>
                  </a:cubicBezTo>
                  <a:cubicBezTo>
                    <a:pt x="14" y="36"/>
                    <a:pt x="14" y="36"/>
                    <a:pt x="14" y="37"/>
                  </a:cubicBezTo>
                  <a:cubicBezTo>
                    <a:pt x="15" y="37"/>
                    <a:pt x="15" y="37"/>
                    <a:pt x="15" y="37"/>
                  </a:cubicBezTo>
                  <a:cubicBezTo>
                    <a:pt x="16" y="38"/>
                    <a:pt x="16" y="38"/>
                    <a:pt x="16" y="38"/>
                  </a:cubicBezTo>
                  <a:cubicBezTo>
                    <a:pt x="17" y="39"/>
                    <a:pt x="17" y="39"/>
                    <a:pt x="18" y="40"/>
                  </a:cubicBezTo>
                  <a:cubicBezTo>
                    <a:pt x="21" y="44"/>
                    <a:pt x="16" y="49"/>
                    <a:pt x="13" y="54"/>
                  </a:cubicBezTo>
                  <a:cubicBezTo>
                    <a:pt x="12" y="54"/>
                    <a:pt x="12" y="55"/>
                    <a:pt x="11" y="55"/>
                  </a:cubicBezTo>
                  <a:cubicBezTo>
                    <a:pt x="10" y="57"/>
                    <a:pt x="10" y="57"/>
                    <a:pt x="10" y="57"/>
                  </a:cubicBezTo>
                  <a:cubicBezTo>
                    <a:pt x="10" y="58"/>
                    <a:pt x="9" y="59"/>
                    <a:pt x="8" y="60"/>
                  </a:cubicBezTo>
                  <a:cubicBezTo>
                    <a:pt x="8" y="60"/>
                    <a:pt x="9" y="61"/>
                    <a:pt x="8" y="62"/>
                  </a:cubicBezTo>
                  <a:cubicBezTo>
                    <a:pt x="8" y="63"/>
                    <a:pt x="8" y="64"/>
                    <a:pt x="7" y="65"/>
                  </a:cubicBezTo>
                  <a:cubicBezTo>
                    <a:pt x="8" y="66"/>
                    <a:pt x="8" y="66"/>
                    <a:pt x="8" y="66"/>
                  </a:cubicBezTo>
                  <a:cubicBezTo>
                    <a:pt x="10" y="68"/>
                    <a:pt x="10" y="68"/>
                    <a:pt x="10" y="68"/>
                  </a:cubicBezTo>
                  <a:cubicBezTo>
                    <a:pt x="10" y="68"/>
                    <a:pt x="10" y="68"/>
                    <a:pt x="10" y="68"/>
                  </a:cubicBezTo>
                  <a:cubicBezTo>
                    <a:pt x="11" y="67"/>
                    <a:pt x="11" y="67"/>
                    <a:pt x="11" y="67"/>
                  </a:cubicBezTo>
                  <a:cubicBezTo>
                    <a:pt x="12" y="66"/>
                    <a:pt x="13" y="65"/>
                    <a:pt x="14" y="65"/>
                  </a:cubicBezTo>
                  <a:cubicBezTo>
                    <a:pt x="15" y="64"/>
                    <a:pt x="15" y="64"/>
                    <a:pt x="16" y="64"/>
                  </a:cubicBezTo>
                  <a:cubicBezTo>
                    <a:pt x="18" y="63"/>
                    <a:pt x="20" y="63"/>
                    <a:pt x="22" y="62"/>
                  </a:cubicBezTo>
                  <a:cubicBezTo>
                    <a:pt x="23" y="61"/>
                    <a:pt x="23" y="61"/>
                    <a:pt x="23" y="61"/>
                  </a:cubicBezTo>
                  <a:cubicBezTo>
                    <a:pt x="23" y="62"/>
                    <a:pt x="23" y="62"/>
                    <a:pt x="23" y="62"/>
                  </a:cubicBezTo>
                  <a:cubicBezTo>
                    <a:pt x="23" y="61"/>
                    <a:pt x="23" y="61"/>
                    <a:pt x="23" y="61"/>
                  </a:cubicBezTo>
                  <a:cubicBezTo>
                    <a:pt x="23" y="61"/>
                    <a:pt x="24" y="61"/>
                    <a:pt x="24" y="61"/>
                  </a:cubicBezTo>
                  <a:cubicBezTo>
                    <a:pt x="25" y="60"/>
                    <a:pt x="26" y="60"/>
                    <a:pt x="27" y="60"/>
                  </a:cubicBezTo>
                  <a:cubicBezTo>
                    <a:pt x="28" y="60"/>
                    <a:pt x="29" y="60"/>
                    <a:pt x="30" y="61"/>
                  </a:cubicBezTo>
                  <a:cubicBezTo>
                    <a:pt x="31" y="62"/>
                    <a:pt x="31" y="62"/>
                    <a:pt x="31" y="62"/>
                  </a:cubicBezTo>
                  <a:cubicBezTo>
                    <a:pt x="32" y="63"/>
                    <a:pt x="32" y="63"/>
                    <a:pt x="32" y="63"/>
                  </a:cubicBezTo>
                  <a:cubicBezTo>
                    <a:pt x="33" y="64"/>
                    <a:pt x="33" y="64"/>
                    <a:pt x="34" y="64"/>
                  </a:cubicBezTo>
                  <a:cubicBezTo>
                    <a:pt x="34" y="64"/>
                    <a:pt x="34" y="64"/>
                    <a:pt x="34" y="64"/>
                  </a:cubicBezTo>
                  <a:cubicBezTo>
                    <a:pt x="34" y="63"/>
                    <a:pt x="34" y="63"/>
                    <a:pt x="34" y="63"/>
                  </a:cubicBezTo>
                  <a:cubicBezTo>
                    <a:pt x="34" y="63"/>
                    <a:pt x="34" y="63"/>
                    <a:pt x="34" y="63"/>
                  </a:cubicBezTo>
                  <a:cubicBezTo>
                    <a:pt x="34" y="62"/>
                    <a:pt x="34" y="62"/>
                    <a:pt x="34" y="61"/>
                  </a:cubicBezTo>
                  <a:cubicBezTo>
                    <a:pt x="35" y="60"/>
                    <a:pt x="35" y="60"/>
                    <a:pt x="35" y="60"/>
                  </a:cubicBezTo>
                  <a:cubicBezTo>
                    <a:pt x="35" y="59"/>
                    <a:pt x="35" y="58"/>
                    <a:pt x="36" y="56"/>
                  </a:cubicBezTo>
                  <a:cubicBezTo>
                    <a:pt x="36" y="56"/>
                    <a:pt x="36" y="56"/>
                    <a:pt x="36" y="56"/>
                  </a:cubicBezTo>
                  <a:cubicBezTo>
                    <a:pt x="37" y="55"/>
                    <a:pt x="38" y="54"/>
                    <a:pt x="41" y="54"/>
                  </a:cubicBezTo>
                  <a:cubicBezTo>
                    <a:pt x="42" y="54"/>
                    <a:pt x="44" y="54"/>
                    <a:pt x="45" y="54"/>
                  </a:cubicBezTo>
                  <a:cubicBezTo>
                    <a:pt x="45" y="54"/>
                    <a:pt x="46" y="54"/>
                    <a:pt x="46" y="55"/>
                  </a:cubicBezTo>
                  <a:cubicBezTo>
                    <a:pt x="47" y="55"/>
                    <a:pt x="48" y="55"/>
                    <a:pt x="49" y="55"/>
                  </a:cubicBezTo>
                  <a:cubicBezTo>
                    <a:pt x="49" y="55"/>
                    <a:pt x="49" y="55"/>
                    <a:pt x="49" y="55"/>
                  </a:cubicBezTo>
                  <a:cubicBezTo>
                    <a:pt x="49" y="55"/>
                    <a:pt x="49" y="55"/>
                    <a:pt x="49" y="55"/>
                  </a:cubicBezTo>
                  <a:cubicBezTo>
                    <a:pt x="50" y="54"/>
                    <a:pt x="50" y="54"/>
                    <a:pt x="50" y="54"/>
                  </a:cubicBezTo>
                  <a:cubicBezTo>
                    <a:pt x="50" y="54"/>
                    <a:pt x="50" y="54"/>
                    <a:pt x="50" y="54"/>
                  </a:cubicBezTo>
                  <a:cubicBezTo>
                    <a:pt x="50" y="53"/>
                    <a:pt x="50" y="53"/>
                    <a:pt x="50" y="53"/>
                  </a:cubicBezTo>
                  <a:cubicBezTo>
                    <a:pt x="49" y="53"/>
                    <a:pt x="49" y="53"/>
                    <a:pt x="49" y="53"/>
                  </a:cubicBezTo>
                  <a:cubicBezTo>
                    <a:pt x="49" y="52"/>
                    <a:pt x="48" y="51"/>
                    <a:pt x="48" y="50"/>
                  </a:cubicBezTo>
                  <a:cubicBezTo>
                    <a:pt x="48" y="50"/>
                    <a:pt x="48" y="48"/>
                    <a:pt x="50" y="46"/>
                  </a:cubicBezTo>
                  <a:cubicBezTo>
                    <a:pt x="50" y="46"/>
                    <a:pt x="52" y="45"/>
                    <a:pt x="53" y="44"/>
                  </a:cubicBezTo>
                  <a:cubicBezTo>
                    <a:pt x="54" y="43"/>
                    <a:pt x="54" y="42"/>
                    <a:pt x="55" y="41"/>
                  </a:cubicBezTo>
                  <a:cubicBezTo>
                    <a:pt x="56" y="42"/>
                    <a:pt x="56" y="42"/>
                    <a:pt x="56" y="42"/>
                  </a:cubicBezTo>
                  <a:cubicBezTo>
                    <a:pt x="55" y="41"/>
                    <a:pt x="55" y="41"/>
                    <a:pt x="55" y="41"/>
                  </a:cubicBezTo>
                  <a:cubicBezTo>
                    <a:pt x="57" y="39"/>
                    <a:pt x="58" y="37"/>
                    <a:pt x="60" y="36"/>
                  </a:cubicBezTo>
                  <a:cubicBezTo>
                    <a:pt x="62" y="35"/>
                    <a:pt x="63" y="35"/>
                    <a:pt x="65" y="35"/>
                  </a:cubicBezTo>
                  <a:cubicBezTo>
                    <a:pt x="66" y="34"/>
                    <a:pt x="66" y="34"/>
                    <a:pt x="66" y="34"/>
                  </a:cubicBezTo>
                  <a:cubicBezTo>
                    <a:pt x="67" y="35"/>
                    <a:pt x="67" y="35"/>
                    <a:pt x="67" y="35"/>
                  </a:cubicBezTo>
                  <a:cubicBezTo>
                    <a:pt x="68" y="35"/>
                    <a:pt x="69" y="36"/>
                    <a:pt x="70" y="37"/>
                  </a:cubicBezTo>
                  <a:cubicBezTo>
                    <a:pt x="70" y="37"/>
                    <a:pt x="71" y="37"/>
                    <a:pt x="71" y="38"/>
                  </a:cubicBezTo>
                  <a:cubicBezTo>
                    <a:pt x="74" y="35"/>
                    <a:pt x="74" y="35"/>
                    <a:pt x="74" y="35"/>
                  </a:cubicBezTo>
                  <a:cubicBezTo>
                    <a:pt x="73" y="36"/>
                    <a:pt x="73" y="36"/>
                    <a:pt x="73" y="36"/>
                  </a:cubicBezTo>
                  <a:cubicBezTo>
                    <a:pt x="74" y="36"/>
                    <a:pt x="74" y="36"/>
                    <a:pt x="74" y="36"/>
                  </a:cubicBezTo>
                  <a:cubicBezTo>
                    <a:pt x="72" y="39"/>
                    <a:pt x="72" y="39"/>
                    <a:pt x="72" y="39"/>
                  </a:cubicBezTo>
                  <a:cubicBezTo>
                    <a:pt x="73" y="40"/>
                    <a:pt x="73" y="40"/>
                    <a:pt x="73" y="40"/>
                  </a:cubicBezTo>
                  <a:cubicBezTo>
                    <a:pt x="73" y="41"/>
                    <a:pt x="74" y="41"/>
                    <a:pt x="74" y="41"/>
                  </a:cubicBezTo>
                  <a:cubicBezTo>
                    <a:pt x="75" y="43"/>
                    <a:pt x="75" y="44"/>
                    <a:pt x="75" y="45"/>
                  </a:cubicBezTo>
                  <a:cubicBezTo>
                    <a:pt x="76" y="46"/>
                    <a:pt x="77" y="46"/>
                    <a:pt x="78" y="46"/>
                  </a:cubicBezTo>
                  <a:cubicBezTo>
                    <a:pt x="79" y="47"/>
                    <a:pt x="79" y="48"/>
                    <a:pt x="79" y="50"/>
                  </a:cubicBezTo>
                  <a:cubicBezTo>
                    <a:pt x="79" y="52"/>
                    <a:pt x="79" y="54"/>
                    <a:pt x="79" y="56"/>
                  </a:cubicBezTo>
                  <a:cubicBezTo>
                    <a:pt x="79" y="59"/>
                    <a:pt x="78" y="61"/>
                    <a:pt x="78" y="64"/>
                  </a:cubicBezTo>
                  <a:cubicBezTo>
                    <a:pt x="83" y="65"/>
                    <a:pt x="83" y="65"/>
                    <a:pt x="83" y="65"/>
                  </a:cubicBezTo>
                  <a:cubicBezTo>
                    <a:pt x="78" y="65"/>
                    <a:pt x="78" y="65"/>
                    <a:pt x="78" y="65"/>
                  </a:cubicBezTo>
                  <a:cubicBezTo>
                    <a:pt x="78" y="65"/>
                    <a:pt x="78" y="65"/>
                    <a:pt x="78" y="65"/>
                  </a:cubicBezTo>
                  <a:cubicBezTo>
                    <a:pt x="77" y="66"/>
                    <a:pt x="77" y="66"/>
                    <a:pt x="77" y="67"/>
                  </a:cubicBezTo>
                  <a:cubicBezTo>
                    <a:pt x="77" y="67"/>
                    <a:pt x="77" y="68"/>
                    <a:pt x="77" y="68"/>
                  </a:cubicBezTo>
                  <a:cubicBezTo>
                    <a:pt x="77" y="69"/>
                    <a:pt x="77" y="69"/>
                    <a:pt x="78" y="70"/>
                  </a:cubicBezTo>
                  <a:cubicBezTo>
                    <a:pt x="78" y="71"/>
                    <a:pt x="78" y="71"/>
                    <a:pt x="79" y="72"/>
                  </a:cubicBezTo>
                  <a:cubicBezTo>
                    <a:pt x="79" y="72"/>
                    <a:pt x="79" y="72"/>
                    <a:pt x="79" y="72"/>
                  </a:cubicBezTo>
                  <a:cubicBezTo>
                    <a:pt x="79" y="72"/>
                    <a:pt x="79" y="73"/>
                    <a:pt x="79" y="73"/>
                  </a:cubicBezTo>
                  <a:cubicBezTo>
                    <a:pt x="88" y="70"/>
                    <a:pt x="88" y="70"/>
                    <a:pt x="88" y="70"/>
                  </a:cubicBezTo>
                  <a:cubicBezTo>
                    <a:pt x="89" y="70"/>
                    <a:pt x="89" y="70"/>
                    <a:pt x="89" y="70"/>
                  </a:cubicBezTo>
                  <a:cubicBezTo>
                    <a:pt x="91" y="69"/>
                    <a:pt x="91" y="69"/>
                    <a:pt x="91" y="69"/>
                  </a:cubicBezTo>
                  <a:cubicBezTo>
                    <a:pt x="93" y="68"/>
                    <a:pt x="96" y="67"/>
                    <a:pt x="97" y="66"/>
                  </a:cubicBezTo>
                  <a:cubicBezTo>
                    <a:pt x="100" y="63"/>
                    <a:pt x="103" y="60"/>
                    <a:pt x="106" y="58"/>
                  </a:cubicBezTo>
                  <a:cubicBezTo>
                    <a:pt x="107" y="58"/>
                    <a:pt x="108" y="57"/>
                    <a:pt x="109" y="57"/>
                  </a:cubicBezTo>
                  <a:cubicBezTo>
                    <a:pt x="110" y="57"/>
                    <a:pt x="111" y="57"/>
                    <a:pt x="112" y="57"/>
                  </a:cubicBezTo>
                  <a:cubicBezTo>
                    <a:pt x="114" y="57"/>
                    <a:pt x="115" y="57"/>
                    <a:pt x="117" y="58"/>
                  </a:cubicBezTo>
                  <a:cubicBezTo>
                    <a:pt x="118" y="59"/>
                    <a:pt x="119" y="60"/>
                    <a:pt x="120" y="60"/>
                  </a:cubicBezTo>
                  <a:cubicBezTo>
                    <a:pt x="121" y="61"/>
                    <a:pt x="121" y="61"/>
                    <a:pt x="121" y="61"/>
                  </a:cubicBezTo>
                  <a:cubicBezTo>
                    <a:pt x="123" y="61"/>
                    <a:pt x="125" y="60"/>
                    <a:pt x="125" y="60"/>
                  </a:cubicBezTo>
                  <a:cubicBezTo>
                    <a:pt x="126" y="59"/>
                    <a:pt x="126" y="59"/>
                    <a:pt x="126" y="59"/>
                  </a:cubicBezTo>
                  <a:cubicBezTo>
                    <a:pt x="126" y="59"/>
                    <a:pt x="127" y="58"/>
                    <a:pt x="127" y="58"/>
                  </a:cubicBezTo>
                  <a:cubicBezTo>
                    <a:pt x="128" y="58"/>
                    <a:pt x="129" y="58"/>
                    <a:pt x="130" y="58"/>
                  </a:cubicBezTo>
                  <a:cubicBezTo>
                    <a:pt x="130" y="58"/>
                    <a:pt x="130" y="58"/>
                    <a:pt x="130" y="58"/>
                  </a:cubicBezTo>
                  <a:cubicBezTo>
                    <a:pt x="131" y="58"/>
                    <a:pt x="131" y="58"/>
                    <a:pt x="131" y="58"/>
                  </a:cubicBezTo>
                  <a:cubicBezTo>
                    <a:pt x="133" y="58"/>
                    <a:pt x="135" y="59"/>
                    <a:pt x="137" y="60"/>
                  </a:cubicBezTo>
                  <a:cubicBezTo>
                    <a:pt x="140" y="61"/>
                    <a:pt x="140" y="61"/>
                    <a:pt x="140" y="61"/>
                  </a:cubicBezTo>
                  <a:cubicBezTo>
                    <a:pt x="141" y="61"/>
                    <a:pt x="142" y="61"/>
                    <a:pt x="142" y="60"/>
                  </a:cubicBezTo>
                  <a:cubicBezTo>
                    <a:pt x="141" y="59"/>
                    <a:pt x="140" y="58"/>
                    <a:pt x="140" y="56"/>
                  </a:cubicBezTo>
                  <a:cubicBezTo>
                    <a:pt x="140" y="55"/>
                    <a:pt x="140" y="55"/>
                    <a:pt x="140" y="55"/>
                  </a:cubicBezTo>
                  <a:cubicBezTo>
                    <a:pt x="140" y="54"/>
                    <a:pt x="140" y="53"/>
                    <a:pt x="140" y="52"/>
                  </a:cubicBezTo>
                  <a:cubicBezTo>
                    <a:pt x="139" y="51"/>
                    <a:pt x="139" y="51"/>
                    <a:pt x="139" y="51"/>
                  </a:cubicBezTo>
                  <a:cubicBezTo>
                    <a:pt x="139" y="47"/>
                    <a:pt x="138" y="44"/>
                    <a:pt x="138" y="41"/>
                  </a:cubicBezTo>
                  <a:cubicBezTo>
                    <a:pt x="138" y="40"/>
                    <a:pt x="138" y="40"/>
                    <a:pt x="136" y="39"/>
                  </a:cubicBezTo>
                  <a:cubicBezTo>
                    <a:pt x="135" y="38"/>
                    <a:pt x="135" y="38"/>
                    <a:pt x="135" y="38"/>
                  </a:cubicBezTo>
                  <a:cubicBezTo>
                    <a:pt x="135" y="38"/>
                    <a:pt x="134" y="37"/>
                    <a:pt x="133" y="37"/>
                  </a:cubicBezTo>
                  <a:cubicBezTo>
                    <a:pt x="133" y="36"/>
                    <a:pt x="133" y="36"/>
                    <a:pt x="133" y="36"/>
                  </a:cubicBezTo>
                  <a:cubicBezTo>
                    <a:pt x="132" y="36"/>
                    <a:pt x="132" y="36"/>
                    <a:pt x="131" y="35"/>
                  </a:cubicBezTo>
                  <a:cubicBezTo>
                    <a:pt x="130" y="35"/>
                    <a:pt x="129" y="35"/>
                    <a:pt x="129" y="35"/>
                  </a:cubicBezTo>
                  <a:cubicBezTo>
                    <a:pt x="128" y="35"/>
                    <a:pt x="128" y="35"/>
                    <a:pt x="128" y="35"/>
                  </a:cubicBezTo>
                  <a:cubicBezTo>
                    <a:pt x="128" y="35"/>
                    <a:pt x="128" y="35"/>
                    <a:pt x="128" y="35"/>
                  </a:cubicBezTo>
                  <a:cubicBezTo>
                    <a:pt x="127" y="35"/>
                    <a:pt x="126" y="35"/>
                    <a:pt x="124" y="35"/>
                  </a:cubicBezTo>
                  <a:cubicBezTo>
                    <a:pt x="124" y="35"/>
                    <a:pt x="124" y="35"/>
                    <a:pt x="124" y="35"/>
                  </a:cubicBezTo>
                  <a:cubicBezTo>
                    <a:pt x="123" y="36"/>
                    <a:pt x="122" y="36"/>
                    <a:pt x="121" y="36"/>
                  </a:cubicBezTo>
                  <a:cubicBezTo>
                    <a:pt x="121" y="36"/>
                    <a:pt x="121" y="36"/>
                    <a:pt x="120" y="36"/>
                  </a:cubicBezTo>
                  <a:cubicBezTo>
                    <a:pt x="119" y="35"/>
                    <a:pt x="118" y="35"/>
                    <a:pt x="118" y="34"/>
                  </a:cubicBezTo>
                  <a:cubicBezTo>
                    <a:pt x="117" y="33"/>
                    <a:pt x="117" y="32"/>
                    <a:pt x="116" y="31"/>
                  </a:cubicBezTo>
                  <a:cubicBezTo>
                    <a:pt x="116" y="30"/>
                    <a:pt x="115" y="28"/>
                    <a:pt x="116" y="26"/>
                  </a:cubicBezTo>
                  <a:cubicBezTo>
                    <a:pt x="117" y="25"/>
                    <a:pt x="117" y="25"/>
                    <a:pt x="117" y="25"/>
                  </a:cubicBezTo>
                  <a:cubicBezTo>
                    <a:pt x="117" y="24"/>
                    <a:pt x="117" y="24"/>
                    <a:pt x="117" y="24"/>
                  </a:cubicBezTo>
                  <a:cubicBezTo>
                    <a:pt x="112" y="27"/>
                    <a:pt x="112" y="27"/>
                    <a:pt x="112" y="27"/>
                  </a:cubicBezTo>
                  <a:cubicBezTo>
                    <a:pt x="116" y="23"/>
                    <a:pt x="116" y="23"/>
                    <a:pt x="116" y="23"/>
                  </a:cubicBezTo>
                  <a:cubicBezTo>
                    <a:pt x="115" y="23"/>
                    <a:pt x="114" y="22"/>
                    <a:pt x="114" y="20"/>
                  </a:cubicBezTo>
                  <a:cubicBezTo>
                    <a:pt x="114" y="20"/>
                    <a:pt x="114" y="20"/>
                    <a:pt x="114" y="20"/>
                  </a:cubicBezTo>
                  <a:cubicBezTo>
                    <a:pt x="114" y="18"/>
                    <a:pt x="114" y="18"/>
                    <a:pt x="114" y="18"/>
                  </a:cubicBezTo>
                  <a:cubicBezTo>
                    <a:pt x="114" y="18"/>
                    <a:pt x="113" y="18"/>
                    <a:pt x="112" y="18"/>
                  </a:cubicBezTo>
                  <a:cubicBezTo>
                    <a:pt x="110" y="18"/>
                    <a:pt x="110" y="18"/>
                    <a:pt x="110" y="18"/>
                  </a:cubicBezTo>
                  <a:cubicBezTo>
                    <a:pt x="109" y="18"/>
                    <a:pt x="108" y="18"/>
                    <a:pt x="107" y="19"/>
                  </a:cubicBezTo>
                  <a:cubicBezTo>
                    <a:pt x="105" y="19"/>
                    <a:pt x="103" y="19"/>
                    <a:pt x="101" y="19"/>
                  </a:cubicBezTo>
                  <a:cubicBezTo>
                    <a:pt x="97" y="19"/>
                    <a:pt x="97" y="19"/>
                    <a:pt x="97" y="19"/>
                  </a:cubicBezTo>
                  <a:cubicBezTo>
                    <a:pt x="95" y="19"/>
                    <a:pt x="94" y="19"/>
                    <a:pt x="93" y="21"/>
                  </a:cubicBezTo>
                  <a:cubicBezTo>
                    <a:pt x="91" y="24"/>
                    <a:pt x="91" y="24"/>
                    <a:pt x="91" y="24"/>
                  </a:cubicBezTo>
                  <a:cubicBezTo>
                    <a:pt x="89" y="22"/>
                    <a:pt x="89" y="22"/>
                    <a:pt x="89" y="22"/>
                  </a:cubicBezTo>
                  <a:cubicBezTo>
                    <a:pt x="88" y="22"/>
                    <a:pt x="85" y="21"/>
                    <a:pt x="84" y="21"/>
                  </a:cubicBezTo>
                  <a:cubicBezTo>
                    <a:pt x="83" y="21"/>
                    <a:pt x="83" y="21"/>
                    <a:pt x="83" y="21"/>
                  </a:cubicBezTo>
                  <a:cubicBezTo>
                    <a:pt x="81" y="21"/>
                    <a:pt x="81" y="21"/>
                    <a:pt x="81" y="21"/>
                  </a:cubicBezTo>
                  <a:cubicBezTo>
                    <a:pt x="80" y="21"/>
                    <a:pt x="80" y="21"/>
                    <a:pt x="80" y="21"/>
                  </a:cubicBezTo>
                  <a:cubicBezTo>
                    <a:pt x="79" y="20"/>
                    <a:pt x="79" y="18"/>
                    <a:pt x="79" y="17"/>
                  </a:cubicBezTo>
                  <a:cubicBezTo>
                    <a:pt x="78" y="17"/>
                    <a:pt x="78" y="17"/>
                    <a:pt x="78" y="17"/>
                  </a:cubicBezTo>
                  <a:cubicBezTo>
                    <a:pt x="78" y="17"/>
                    <a:pt x="78" y="17"/>
                    <a:pt x="78" y="17"/>
                  </a:cubicBezTo>
                  <a:cubicBezTo>
                    <a:pt x="78" y="17"/>
                    <a:pt x="77" y="17"/>
                    <a:pt x="77" y="17"/>
                  </a:cubicBezTo>
                  <a:cubicBezTo>
                    <a:pt x="76" y="17"/>
                    <a:pt x="76" y="17"/>
                    <a:pt x="76" y="17"/>
                  </a:cubicBezTo>
                  <a:cubicBezTo>
                    <a:pt x="76" y="16"/>
                    <a:pt x="75" y="16"/>
                    <a:pt x="75" y="16"/>
                  </a:cubicBezTo>
                  <a:cubicBezTo>
                    <a:pt x="75" y="15"/>
                    <a:pt x="75" y="15"/>
                    <a:pt x="75" y="15"/>
                  </a:cubicBezTo>
                  <a:cubicBezTo>
                    <a:pt x="72" y="17"/>
                    <a:pt x="69" y="18"/>
                    <a:pt x="67" y="18"/>
                  </a:cubicBezTo>
                  <a:cubicBezTo>
                    <a:pt x="67" y="18"/>
                    <a:pt x="67" y="18"/>
                    <a:pt x="67" y="18"/>
                  </a:cubicBezTo>
                  <a:cubicBezTo>
                    <a:pt x="67" y="18"/>
                    <a:pt x="67" y="18"/>
                    <a:pt x="67" y="18"/>
                  </a:cubicBezTo>
                  <a:cubicBezTo>
                    <a:pt x="67" y="18"/>
                    <a:pt x="67" y="18"/>
                    <a:pt x="67" y="18"/>
                  </a:cubicBezTo>
                  <a:cubicBezTo>
                    <a:pt x="66" y="18"/>
                    <a:pt x="66" y="18"/>
                    <a:pt x="66" y="18"/>
                  </a:cubicBezTo>
                  <a:cubicBezTo>
                    <a:pt x="66" y="18"/>
                    <a:pt x="66" y="18"/>
                    <a:pt x="66" y="18"/>
                  </a:cubicBezTo>
                  <a:cubicBezTo>
                    <a:pt x="63" y="17"/>
                    <a:pt x="59" y="16"/>
                    <a:pt x="56" y="15"/>
                  </a:cubicBezTo>
                  <a:cubicBezTo>
                    <a:pt x="53" y="15"/>
                    <a:pt x="50" y="15"/>
                    <a:pt x="47" y="15"/>
                  </a:cubicBezTo>
                  <a:cubicBezTo>
                    <a:pt x="43" y="15"/>
                    <a:pt x="39" y="15"/>
                    <a:pt x="35" y="15"/>
                  </a:cubicBezTo>
                  <a:cubicBezTo>
                    <a:pt x="32" y="16"/>
                    <a:pt x="32" y="16"/>
                    <a:pt x="32" y="16"/>
                  </a:cubicBezTo>
                  <a:cubicBezTo>
                    <a:pt x="32" y="13"/>
                    <a:pt x="32" y="13"/>
                    <a:pt x="32" y="13"/>
                  </a:cubicBezTo>
                  <a:cubicBezTo>
                    <a:pt x="32" y="11"/>
                    <a:pt x="32" y="8"/>
                    <a:pt x="32" y="6"/>
                  </a:cubicBezTo>
                  <a:cubicBezTo>
                    <a:pt x="32" y="1"/>
                    <a:pt x="32" y="1"/>
                    <a:pt x="32" y="1"/>
                  </a:cubicBezTo>
                  <a:cubicBezTo>
                    <a:pt x="32" y="0"/>
                    <a:pt x="32" y="0"/>
                    <a:pt x="32" y="0"/>
                  </a:cubicBezTo>
                  <a:cubicBezTo>
                    <a:pt x="32"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426"/>
            <p:cNvSpPr/>
            <p:nvPr/>
          </p:nvSpPr>
          <p:spPr bwMode="auto">
            <a:xfrm>
              <a:off x="3383611" y="4838799"/>
              <a:ext cx="484159" cy="255834"/>
            </a:xfrm>
            <a:custGeom>
              <a:gdLst>
                <a:gd name="T0" fmla="*/ 25 w 149"/>
                <a:gd name="T1" fmla="*/ 1 h 79"/>
                <a:gd name="T2" fmla="*/ 22 w 149"/>
                <a:gd name="T3" fmla="*/ 7 h 79"/>
                <a:gd name="T4" fmla="*/ 15 w 149"/>
                <a:gd name="T5" fmla="*/ 7 h 79"/>
                <a:gd name="T6" fmla="*/ 4 w 149"/>
                <a:gd name="T7" fmla="*/ 17 h 79"/>
                <a:gd name="T8" fmla="*/ 4 w 149"/>
                <a:gd name="T9" fmla="*/ 21 h 79"/>
                <a:gd name="T10" fmla="*/ 0 w 149"/>
                <a:gd name="T11" fmla="*/ 30 h 79"/>
                <a:gd name="T12" fmla="*/ 7 w 149"/>
                <a:gd name="T13" fmla="*/ 32 h 79"/>
                <a:gd name="T14" fmla="*/ 20 w 149"/>
                <a:gd name="T15" fmla="*/ 40 h 79"/>
                <a:gd name="T16" fmla="*/ 25 w 149"/>
                <a:gd name="T17" fmla="*/ 44 h 79"/>
                <a:gd name="T18" fmla="*/ 29 w 149"/>
                <a:gd name="T19" fmla="*/ 47 h 79"/>
                <a:gd name="T20" fmla="*/ 34 w 149"/>
                <a:gd name="T21" fmla="*/ 48 h 79"/>
                <a:gd name="T22" fmla="*/ 40 w 149"/>
                <a:gd name="T23" fmla="*/ 49 h 79"/>
                <a:gd name="T24" fmla="*/ 49 w 149"/>
                <a:gd name="T25" fmla="*/ 54 h 79"/>
                <a:gd name="T26" fmla="*/ 55 w 149"/>
                <a:gd name="T27" fmla="*/ 57 h 79"/>
                <a:gd name="T28" fmla="*/ 62 w 149"/>
                <a:gd name="T29" fmla="*/ 57 h 79"/>
                <a:gd name="T30" fmla="*/ 64 w 149"/>
                <a:gd name="T31" fmla="*/ 57 h 79"/>
                <a:gd name="T32" fmla="*/ 70 w 149"/>
                <a:gd name="T33" fmla="*/ 57 h 79"/>
                <a:gd name="T34" fmla="*/ 77 w 149"/>
                <a:gd name="T35" fmla="*/ 56 h 79"/>
                <a:gd name="T36" fmla="*/ 84 w 149"/>
                <a:gd name="T37" fmla="*/ 59 h 79"/>
                <a:gd name="T38" fmla="*/ 87 w 149"/>
                <a:gd name="T39" fmla="*/ 65 h 79"/>
                <a:gd name="T40" fmla="*/ 94 w 149"/>
                <a:gd name="T41" fmla="*/ 69 h 79"/>
                <a:gd name="T42" fmla="*/ 97 w 149"/>
                <a:gd name="T43" fmla="*/ 71 h 79"/>
                <a:gd name="T44" fmla="*/ 99 w 149"/>
                <a:gd name="T45" fmla="*/ 71 h 79"/>
                <a:gd name="T46" fmla="*/ 103 w 149"/>
                <a:gd name="T47" fmla="*/ 70 h 79"/>
                <a:gd name="T48" fmla="*/ 106 w 149"/>
                <a:gd name="T49" fmla="*/ 71 h 79"/>
                <a:gd name="T50" fmla="*/ 109 w 149"/>
                <a:gd name="T51" fmla="*/ 75 h 79"/>
                <a:gd name="T52" fmla="*/ 112 w 149"/>
                <a:gd name="T53" fmla="*/ 74 h 79"/>
                <a:gd name="T54" fmla="*/ 119 w 149"/>
                <a:gd name="T55" fmla="*/ 75 h 79"/>
                <a:gd name="T56" fmla="*/ 127 w 149"/>
                <a:gd name="T57" fmla="*/ 76 h 79"/>
                <a:gd name="T58" fmla="*/ 131 w 149"/>
                <a:gd name="T59" fmla="*/ 75 h 79"/>
                <a:gd name="T60" fmla="*/ 133 w 149"/>
                <a:gd name="T61" fmla="*/ 78 h 79"/>
                <a:gd name="T62" fmla="*/ 141 w 149"/>
                <a:gd name="T63" fmla="*/ 79 h 79"/>
                <a:gd name="T64" fmla="*/ 145 w 149"/>
                <a:gd name="T65" fmla="*/ 79 h 79"/>
                <a:gd name="T66" fmla="*/ 148 w 149"/>
                <a:gd name="T67" fmla="*/ 78 h 79"/>
                <a:gd name="T68" fmla="*/ 148 w 149"/>
                <a:gd name="T69" fmla="*/ 72 h 79"/>
                <a:gd name="T70" fmla="*/ 146 w 149"/>
                <a:gd name="T71" fmla="*/ 61 h 79"/>
                <a:gd name="T72" fmla="*/ 137 w 149"/>
                <a:gd name="T73" fmla="*/ 53 h 79"/>
                <a:gd name="T74" fmla="*/ 123 w 149"/>
                <a:gd name="T75" fmla="*/ 49 h 79"/>
                <a:gd name="T76" fmla="*/ 117 w 149"/>
                <a:gd name="T77" fmla="*/ 51 h 79"/>
                <a:gd name="T78" fmla="*/ 108 w 149"/>
                <a:gd name="T79" fmla="*/ 50 h 79"/>
                <a:gd name="T80" fmla="*/ 104 w 149"/>
                <a:gd name="T81" fmla="*/ 44 h 79"/>
                <a:gd name="T82" fmla="*/ 99 w 149"/>
                <a:gd name="T83" fmla="*/ 44 h 79"/>
                <a:gd name="T84" fmla="*/ 91 w 149"/>
                <a:gd name="T85" fmla="*/ 42 h 79"/>
                <a:gd name="T86" fmla="*/ 85 w 149"/>
                <a:gd name="T87" fmla="*/ 38 h 79"/>
                <a:gd name="T88" fmla="*/ 79 w 149"/>
                <a:gd name="T89" fmla="*/ 34 h 79"/>
                <a:gd name="T90" fmla="*/ 74 w 149"/>
                <a:gd name="T91" fmla="*/ 27 h 79"/>
                <a:gd name="T92" fmla="*/ 68 w 149"/>
                <a:gd name="T93" fmla="*/ 26 h 79"/>
                <a:gd name="T94" fmla="*/ 61 w 149"/>
                <a:gd name="T95" fmla="*/ 22 h 79"/>
                <a:gd name="T96" fmla="*/ 58 w 149"/>
                <a:gd name="T97" fmla="*/ 19 h 79"/>
                <a:gd name="T98" fmla="*/ 55 w 149"/>
                <a:gd name="T99" fmla="*/ 22 h 79"/>
                <a:gd name="T100" fmla="*/ 53 w 149"/>
                <a:gd name="T101" fmla="*/ 16 h 79"/>
                <a:gd name="T102" fmla="*/ 43 w 149"/>
                <a:gd name="T103" fmla="*/ 10 h 79"/>
                <a:gd name="T104" fmla="*/ 35 w 149"/>
                <a:gd name="T105" fmla="*/ 6 h 79"/>
                <a:gd name="T106" fmla="*/ 27 w 149"/>
                <a:gd name="T107" fmla="*/ 0 h 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9" h="79">
                  <a:moveTo>
                    <a:pt x="26" y="0"/>
                  </a:moveTo>
                  <a:cubicBezTo>
                    <a:pt x="26" y="0"/>
                    <a:pt x="26" y="0"/>
                    <a:pt x="25" y="1"/>
                  </a:cubicBezTo>
                  <a:cubicBezTo>
                    <a:pt x="25" y="1"/>
                    <a:pt x="25" y="1"/>
                    <a:pt x="25" y="1"/>
                  </a:cubicBezTo>
                  <a:cubicBezTo>
                    <a:pt x="25" y="1"/>
                    <a:pt x="25" y="1"/>
                    <a:pt x="25" y="1"/>
                  </a:cubicBezTo>
                  <a:cubicBezTo>
                    <a:pt x="25" y="1"/>
                    <a:pt x="25" y="1"/>
                    <a:pt x="25" y="1"/>
                  </a:cubicBezTo>
                  <a:cubicBezTo>
                    <a:pt x="25" y="1"/>
                    <a:pt x="25" y="1"/>
                    <a:pt x="25" y="1"/>
                  </a:cubicBezTo>
                  <a:cubicBezTo>
                    <a:pt x="24" y="3"/>
                    <a:pt x="23" y="4"/>
                    <a:pt x="23" y="5"/>
                  </a:cubicBezTo>
                  <a:cubicBezTo>
                    <a:pt x="22" y="7"/>
                    <a:pt x="22" y="7"/>
                    <a:pt x="22" y="7"/>
                  </a:cubicBezTo>
                  <a:cubicBezTo>
                    <a:pt x="21" y="8"/>
                    <a:pt x="21" y="8"/>
                    <a:pt x="21" y="8"/>
                  </a:cubicBezTo>
                  <a:cubicBezTo>
                    <a:pt x="19" y="8"/>
                    <a:pt x="18" y="8"/>
                    <a:pt x="18" y="8"/>
                  </a:cubicBezTo>
                  <a:cubicBezTo>
                    <a:pt x="17" y="8"/>
                    <a:pt x="16" y="8"/>
                    <a:pt x="16" y="7"/>
                  </a:cubicBezTo>
                  <a:cubicBezTo>
                    <a:pt x="15" y="7"/>
                    <a:pt x="15" y="7"/>
                    <a:pt x="15" y="7"/>
                  </a:cubicBezTo>
                  <a:cubicBezTo>
                    <a:pt x="15" y="6"/>
                    <a:pt x="15" y="6"/>
                    <a:pt x="15" y="6"/>
                  </a:cubicBezTo>
                  <a:cubicBezTo>
                    <a:pt x="6" y="16"/>
                    <a:pt x="6" y="16"/>
                    <a:pt x="6" y="16"/>
                  </a:cubicBezTo>
                  <a:cubicBezTo>
                    <a:pt x="5" y="17"/>
                    <a:pt x="5" y="17"/>
                    <a:pt x="5" y="17"/>
                  </a:cubicBezTo>
                  <a:cubicBezTo>
                    <a:pt x="4" y="17"/>
                    <a:pt x="4" y="17"/>
                    <a:pt x="4" y="17"/>
                  </a:cubicBezTo>
                  <a:cubicBezTo>
                    <a:pt x="3" y="18"/>
                    <a:pt x="3" y="18"/>
                    <a:pt x="3" y="18"/>
                  </a:cubicBezTo>
                  <a:cubicBezTo>
                    <a:pt x="3" y="18"/>
                    <a:pt x="3" y="18"/>
                    <a:pt x="3" y="18"/>
                  </a:cubicBezTo>
                  <a:cubicBezTo>
                    <a:pt x="3" y="19"/>
                    <a:pt x="3" y="19"/>
                    <a:pt x="3" y="19"/>
                  </a:cubicBezTo>
                  <a:cubicBezTo>
                    <a:pt x="4" y="19"/>
                    <a:pt x="4" y="20"/>
                    <a:pt x="4" y="21"/>
                  </a:cubicBezTo>
                  <a:cubicBezTo>
                    <a:pt x="4" y="22"/>
                    <a:pt x="3" y="23"/>
                    <a:pt x="2" y="25"/>
                  </a:cubicBezTo>
                  <a:cubicBezTo>
                    <a:pt x="2" y="25"/>
                    <a:pt x="2" y="25"/>
                    <a:pt x="2" y="25"/>
                  </a:cubicBezTo>
                  <a:cubicBezTo>
                    <a:pt x="1" y="26"/>
                    <a:pt x="1" y="27"/>
                    <a:pt x="0" y="28"/>
                  </a:cubicBezTo>
                  <a:cubicBezTo>
                    <a:pt x="0" y="28"/>
                    <a:pt x="0" y="29"/>
                    <a:pt x="0" y="30"/>
                  </a:cubicBezTo>
                  <a:cubicBezTo>
                    <a:pt x="0" y="30"/>
                    <a:pt x="0" y="31"/>
                    <a:pt x="1" y="31"/>
                  </a:cubicBezTo>
                  <a:cubicBezTo>
                    <a:pt x="2" y="32"/>
                    <a:pt x="2" y="32"/>
                    <a:pt x="4" y="33"/>
                  </a:cubicBezTo>
                  <a:cubicBezTo>
                    <a:pt x="4" y="29"/>
                    <a:pt x="4" y="29"/>
                    <a:pt x="4" y="29"/>
                  </a:cubicBezTo>
                  <a:cubicBezTo>
                    <a:pt x="7" y="32"/>
                    <a:pt x="7" y="32"/>
                    <a:pt x="7" y="32"/>
                  </a:cubicBezTo>
                  <a:cubicBezTo>
                    <a:pt x="8" y="33"/>
                    <a:pt x="10" y="33"/>
                    <a:pt x="11" y="34"/>
                  </a:cubicBezTo>
                  <a:cubicBezTo>
                    <a:pt x="12" y="35"/>
                    <a:pt x="12" y="35"/>
                    <a:pt x="12" y="35"/>
                  </a:cubicBezTo>
                  <a:cubicBezTo>
                    <a:pt x="14" y="35"/>
                    <a:pt x="15" y="36"/>
                    <a:pt x="17" y="37"/>
                  </a:cubicBezTo>
                  <a:cubicBezTo>
                    <a:pt x="18" y="38"/>
                    <a:pt x="19" y="39"/>
                    <a:pt x="20" y="40"/>
                  </a:cubicBezTo>
                  <a:cubicBezTo>
                    <a:pt x="22" y="38"/>
                    <a:pt x="22" y="38"/>
                    <a:pt x="22" y="38"/>
                  </a:cubicBezTo>
                  <a:cubicBezTo>
                    <a:pt x="21" y="40"/>
                    <a:pt x="21" y="40"/>
                    <a:pt x="21" y="40"/>
                  </a:cubicBezTo>
                  <a:cubicBezTo>
                    <a:pt x="21" y="41"/>
                    <a:pt x="21" y="41"/>
                    <a:pt x="21" y="41"/>
                  </a:cubicBezTo>
                  <a:cubicBezTo>
                    <a:pt x="23" y="42"/>
                    <a:pt x="24" y="43"/>
                    <a:pt x="25" y="44"/>
                  </a:cubicBezTo>
                  <a:cubicBezTo>
                    <a:pt x="26" y="45"/>
                    <a:pt x="26" y="45"/>
                    <a:pt x="26" y="45"/>
                  </a:cubicBezTo>
                  <a:cubicBezTo>
                    <a:pt x="27" y="45"/>
                    <a:pt x="27" y="45"/>
                    <a:pt x="27" y="45"/>
                  </a:cubicBezTo>
                  <a:cubicBezTo>
                    <a:pt x="27" y="45"/>
                    <a:pt x="27" y="46"/>
                    <a:pt x="28" y="46"/>
                  </a:cubicBezTo>
                  <a:cubicBezTo>
                    <a:pt x="29" y="47"/>
                    <a:pt x="29" y="47"/>
                    <a:pt x="29" y="47"/>
                  </a:cubicBezTo>
                  <a:cubicBezTo>
                    <a:pt x="31" y="48"/>
                    <a:pt x="31" y="48"/>
                    <a:pt x="32" y="49"/>
                  </a:cubicBezTo>
                  <a:cubicBezTo>
                    <a:pt x="32" y="49"/>
                    <a:pt x="32" y="49"/>
                    <a:pt x="32" y="49"/>
                  </a:cubicBezTo>
                  <a:cubicBezTo>
                    <a:pt x="32" y="48"/>
                    <a:pt x="32" y="48"/>
                    <a:pt x="32" y="48"/>
                  </a:cubicBezTo>
                  <a:cubicBezTo>
                    <a:pt x="33" y="48"/>
                    <a:pt x="33" y="48"/>
                    <a:pt x="34" y="48"/>
                  </a:cubicBezTo>
                  <a:cubicBezTo>
                    <a:pt x="35" y="48"/>
                    <a:pt x="35" y="48"/>
                    <a:pt x="35" y="48"/>
                  </a:cubicBezTo>
                  <a:cubicBezTo>
                    <a:pt x="35" y="48"/>
                    <a:pt x="35" y="48"/>
                    <a:pt x="35" y="48"/>
                  </a:cubicBezTo>
                  <a:cubicBezTo>
                    <a:pt x="36" y="48"/>
                    <a:pt x="36" y="48"/>
                    <a:pt x="36" y="48"/>
                  </a:cubicBezTo>
                  <a:cubicBezTo>
                    <a:pt x="38" y="49"/>
                    <a:pt x="39" y="49"/>
                    <a:pt x="40" y="49"/>
                  </a:cubicBezTo>
                  <a:cubicBezTo>
                    <a:pt x="48" y="52"/>
                    <a:pt x="48" y="52"/>
                    <a:pt x="48" y="52"/>
                  </a:cubicBezTo>
                  <a:cubicBezTo>
                    <a:pt x="49" y="53"/>
                    <a:pt x="49" y="53"/>
                    <a:pt x="49" y="53"/>
                  </a:cubicBezTo>
                  <a:cubicBezTo>
                    <a:pt x="49" y="53"/>
                    <a:pt x="49" y="53"/>
                    <a:pt x="49" y="53"/>
                  </a:cubicBezTo>
                  <a:cubicBezTo>
                    <a:pt x="49" y="54"/>
                    <a:pt x="49" y="54"/>
                    <a:pt x="49" y="54"/>
                  </a:cubicBezTo>
                  <a:cubicBezTo>
                    <a:pt x="50" y="54"/>
                    <a:pt x="50" y="55"/>
                    <a:pt x="50" y="55"/>
                  </a:cubicBezTo>
                  <a:cubicBezTo>
                    <a:pt x="50" y="56"/>
                    <a:pt x="50" y="56"/>
                    <a:pt x="50" y="56"/>
                  </a:cubicBezTo>
                  <a:cubicBezTo>
                    <a:pt x="51" y="56"/>
                    <a:pt x="51" y="57"/>
                    <a:pt x="52" y="57"/>
                  </a:cubicBezTo>
                  <a:cubicBezTo>
                    <a:pt x="53" y="57"/>
                    <a:pt x="54" y="57"/>
                    <a:pt x="55" y="57"/>
                  </a:cubicBezTo>
                  <a:cubicBezTo>
                    <a:pt x="56" y="58"/>
                    <a:pt x="58" y="58"/>
                    <a:pt x="59" y="59"/>
                  </a:cubicBezTo>
                  <a:cubicBezTo>
                    <a:pt x="61" y="58"/>
                    <a:pt x="61" y="58"/>
                    <a:pt x="61" y="58"/>
                  </a:cubicBezTo>
                  <a:cubicBezTo>
                    <a:pt x="61" y="58"/>
                    <a:pt x="61" y="57"/>
                    <a:pt x="61" y="57"/>
                  </a:cubicBezTo>
                  <a:cubicBezTo>
                    <a:pt x="62" y="57"/>
                    <a:pt x="62" y="57"/>
                    <a:pt x="62" y="57"/>
                  </a:cubicBezTo>
                  <a:cubicBezTo>
                    <a:pt x="63" y="57"/>
                    <a:pt x="63" y="57"/>
                    <a:pt x="63" y="57"/>
                  </a:cubicBezTo>
                  <a:cubicBezTo>
                    <a:pt x="63" y="57"/>
                    <a:pt x="63" y="57"/>
                    <a:pt x="63" y="57"/>
                  </a:cubicBezTo>
                  <a:cubicBezTo>
                    <a:pt x="63" y="57"/>
                    <a:pt x="63" y="57"/>
                    <a:pt x="63" y="57"/>
                  </a:cubicBezTo>
                  <a:cubicBezTo>
                    <a:pt x="64" y="57"/>
                    <a:pt x="64" y="57"/>
                    <a:pt x="64" y="57"/>
                  </a:cubicBezTo>
                  <a:cubicBezTo>
                    <a:pt x="64" y="57"/>
                    <a:pt x="64" y="57"/>
                    <a:pt x="64" y="57"/>
                  </a:cubicBezTo>
                  <a:cubicBezTo>
                    <a:pt x="68" y="59"/>
                    <a:pt x="68" y="59"/>
                    <a:pt x="68" y="59"/>
                  </a:cubicBezTo>
                  <a:cubicBezTo>
                    <a:pt x="69" y="58"/>
                    <a:pt x="69" y="58"/>
                    <a:pt x="69" y="58"/>
                  </a:cubicBezTo>
                  <a:cubicBezTo>
                    <a:pt x="69" y="58"/>
                    <a:pt x="70" y="57"/>
                    <a:pt x="70" y="57"/>
                  </a:cubicBezTo>
                  <a:cubicBezTo>
                    <a:pt x="70" y="53"/>
                    <a:pt x="70" y="53"/>
                    <a:pt x="70" y="53"/>
                  </a:cubicBezTo>
                  <a:cubicBezTo>
                    <a:pt x="72" y="57"/>
                    <a:pt x="72" y="57"/>
                    <a:pt x="72" y="57"/>
                  </a:cubicBezTo>
                  <a:cubicBezTo>
                    <a:pt x="72" y="56"/>
                    <a:pt x="74" y="56"/>
                    <a:pt x="75" y="56"/>
                  </a:cubicBezTo>
                  <a:cubicBezTo>
                    <a:pt x="76" y="56"/>
                    <a:pt x="76" y="56"/>
                    <a:pt x="77" y="56"/>
                  </a:cubicBezTo>
                  <a:cubicBezTo>
                    <a:pt x="77" y="57"/>
                    <a:pt x="77" y="57"/>
                    <a:pt x="77" y="57"/>
                  </a:cubicBezTo>
                  <a:cubicBezTo>
                    <a:pt x="78" y="57"/>
                    <a:pt x="78" y="57"/>
                    <a:pt x="78" y="57"/>
                  </a:cubicBezTo>
                  <a:cubicBezTo>
                    <a:pt x="79" y="57"/>
                    <a:pt x="79" y="57"/>
                    <a:pt x="79" y="57"/>
                  </a:cubicBezTo>
                  <a:cubicBezTo>
                    <a:pt x="80" y="58"/>
                    <a:pt x="82" y="58"/>
                    <a:pt x="84" y="59"/>
                  </a:cubicBezTo>
                  <a:cubicBezTo>
                    <a:pt x="84" y="60"/>
                    <a:pt x="86" y="61"/>
                    <a:pt x="86" y="62"/>
                  </a:cubicBezTo>
                  <a:cubicBezTo>
                    <a:pt x="86" y="63"/>
                    <a:pt x="86" y="63"/>
                    <a:pt x="86" y="64"/>
                  </a:cubicBezTo>
                  <a:cubicBezTo>
                    <a:pt x="86" y="64"/>
                    <a:pt x="86" y="65"/>
                    <a:pt x="86" y="65"/>
                  </a:cubicBezTo>
                  <a:cubicBezTo>
                    <a:pt x="87" y="65"/>
                    <a:pt x="87" y="65"/>
                    <a:pt x="87" y="65"/>
                  </a:cubicBezTo>
                  <a:cubicBezTo>
                    <a:pt x="87" y="66"/>
                    <a:pt x="87" y="66"/>
                    <a:pt x="87" y="66"/>
                  </a:cubicBezTo>
                  <a:cubicBezTo>
                    <a:pt x="88" y="66"/>
                    <a:pt x="88" y="67"/>
                    <a:pt x="89" y="67"/>
                  </a:cubicBezTo>
                  <a:cubicBezTo>
                    <a:pt x="90" y="67"/>
                    <a:pt x="90" y="67"/>
                    <a:pt x="90" y="67"/>
                  </a:cubicBezTo>
                  <a:cubicBezTo>
                    <a:pt x="91" y="67"/>
                    <a:pt x="93" y="68"/>
                    <a:pt x="94" y="69"/>
                  </a:cubicBezTo>
                  <a:cubicBezTo>
                    <a:pt x="97" y="64"/>
                    <a:pt x="97" y="64"/>
                    <a:pt x="97" y="64"/>
                  </a:cubicBezTo>
                  <a:cubicBezTo>
                    <a:pt x="96" y="70"/>
                    <a:pt x="96" y="70"/>
                    <a:pt x="96" y="70"/>
                  </a:cubicBezTo>
                  <a:cubicBezTo>
                    <a:pt x="96" y="70"/>
                    <a:pt x="96" y="70"/>
                    <a:pt x="96" y="70"/>
                  </a:cubicBezTo>
                  <a:cubicBezTo>
                    <a:pt x="96" y="70"/>
                    <a:pt x="97" y="70"/>
                    <a:pt x="97" y="71"/>
                  </a:cubicBezTo>
                  <a:cubicBezTo>
                    <a:pt x="97" y="71"/>
                    <a:pt x="97" y="71"/>
                    <a:pt x="97" y="71"/>
                  </a:cubicBezTo>
                  <a:cubicBezTo>
                    <a:pt x="98" y="71"/>
                    <a:pt x="98" y="71"/>
                    <a:pt x="98" y="71"/>
                  </a:cubicBezTo>
                  <a:cubicBezTo>
                    <a:pt x="98" y="71"/>
                    <a:pt x="98" y="71"/>
                    <a:pt x="98" y="71"/>
                  </a:cubicBezTo>
                  <a:cubicBezTo>
                    <a:pt x="98" y="71"/>
                    <a:pt x="98" y="71"/>
                    <a:pt x="99" y="71"/>
                  </a:cubicBezTo>
                  <a:cubicBezTo>
                    <a:pt x="99" y="71"/>
                    <a:pt x="99" y="71"/>
                    <a:pt x="99" y="71"/>
                  </a:cubicBezTo>
                  <a:cubicBezTo>
                    <a:pt x="100" y="70"/>
                    <a:pt x="101" y="70"/>
                    <a:pt x="101" y="70"/>
                  </a:cubicBezTo>
                  <a:cubicBezTo>
                    <a:pt x="102" y="70"/>
                    <a:pt x="102" y="70"/>
                    <a:pt x="102" y="70"/>
                  </a:cubicBezTo>
                  <a:cubicBezTo>
                    <a:pt x="102" y="70"/>
                    <a:pt x="103" y="70"/>
                    <a:pt x="103" y="70"/>
                  </a:cubicBezTo>
                  <a:cubicBezTo>
                    <a:pt x="103" y="70"/>
                    <a:pt x="103" y="70"/>
                    <a:pt x="103" y="70"/>
                  </a:cubicBezTo>
                  <a:cubicBezTo>
                    <a:pt x="105" y="70"/>
                    <a:pt x="105" y="70"/>
                    <a:pt x="105" y="70"/>
                  </a:cubicBezTo>
                  <a:cubicBezTo>
                    <a:pt x="105" y="70"/>
                    <a:pt x="105" y="70"/>
                    <a:pt x="105" y="70"/>
                  </a:cubicBezTo>
                  <a:cubicBezTo>
                    <a:pt x="106" y="71"/>
                    <a:pt x="106" y="71"/>
                    <a:pt x="106" y="71"/>
                  </a:cubicBezTo>
                  <a:cubicBezTo>
                    <a:pt x="106" y="71"/>
                    <a:pt x="106" y="71"/>
                    <a:pt x="106" y="71"/>
                  </a:cubicBezTo>
                  <a:cubicBezTo>
                    <a:pt x="106" y="72"/>
                    <a:pt x="106" y="72"/>
                    <a:pt x="106" y="72"/>
                  </a:cubicBezTo>
                  <a:cubicBezTo>
                    <a:pt x="107" y="72"/>
                    <a:pt x="108" y="73"/>
                    <a:pt x="108" y="74"/>
                  </a:cubicBezTo>
                  <a:cubicBezTo>
                    <a:pt x="108" y="74"/>
                    <a:pt x="108" y="74"/>
                    <a:pt x="109" y="75"/>
                  </a:cubicBezTo>
                  <a:cubicBezTo>
                    <a:pt x="109" y="75"/>
                    <a:pt x="109" y="75"/>
                    <a:pt x="109" y="75"/>
                  </a:cubicBezTo>
                  <a:cubicBezTo>
                    <a:pt x="110" y="75"/>
                    <a:pt x="110" y="75"/>
                    <a:pt x="110" y="75"/>
                  </a:cubicBezTo>
                  <a:cubicBezTo>
                    <a:pt x="111" y="75"/>
                    <a:pt x="111" y="75"/>
                    <a:pt x="111" y="75"/>
                  </a:cubicBezTo>
                  <a:cubicBezTo>
                    <a:pt x="112" y="75"/>
                    <a:pt x="112" y="74"/>
                    <a:pt x="112" y="74"/>
                  </a:cubicBezTo>
                  <a:cubicBezTo>
                    <a:pt x="113" y="74"/>
                    <a:pt x="113" y="74"/>
                    <a:pt x="113" y="74"/>
                  </a:cubicBezTo>
                  <a:cubicBezTo>
                    <a:pt x="114" y="74"/>
                    <a:pt x="115" y="74"/>
                    <a:pt x="116" y="75"/>
                  </a:cubicBezTo>
                  <a:cubicBezTo>
                    <a:pt x="116" y="75"/>
                    <a:pt x="116" y="75"/>
                    <a:pt x="116" y="75"/>
                  </a:cubicBezTo>
                  <a:cubicBezTo>
                    <a:pt x="117" y="75"/>
                    <a:pt x="118" y="75"/>
                    <a:pt x="119" y="75"/>
                  </a:cubicBezTo>
                  <a:cubicBezTo>
                    <a:pt x="119" y="75"/>
                    <a:pt x="120" y="76"/>
                    <a:pt x="121" y="76"/>
                  </a:cubicBezTo>
                  <a:cubicBezTo>
                    <a:pt x="124" y="78"/>
                    <a:pt x="124" y="78"/>
                    <a:pt x="124" y="78"/>
                  </a:cubicBezTo>
                  <a:cubicBezTo>
                    <a:pt x="125" y="78"/>
                    <a:pt x="125" y="77"/>
                    <a:pt x="126" y="77"/>
                  </a:cubicBezTo>
                  <a:cubicBezTo>
                    <a:pt x="127" y="76"/>
                    <a:pt x="127" y="76"/>
                    <a:pt x="127" y="76"/>
                  </a:cubicBezTo>
                  <a:cubicBezTo>
                    <a:pt x="127" y="76"/>
                    <a:pt x="128" y="75"/>
                    <a:pt x="129" y="75"/>
                  </a:cubicBezTo>
                  <a:cubicBezTo>
                    <a:pt x="130" y="75"/>
                    <a:pt x="130" y="75"/>
                    <a:pt x="130" y="75"/>
                  </a:cubicBezTo>
                  <a:cubicBezTo>
                    <a:pt x="130" y="75"/>
                    <a:pt x="130" y="75"/>
                    <a:pt x="130" y="75"/>
                  </a:cubicBezTo>
                  <a:cubicBezTo>
                    <a:pt x="131" y="75"/>
                    <a:pt x="131" y="75"/>
                    <a:pt x="131" y="75"/>
                  </a:cubicBezTo>
                  <a:cubicBezTo>
                    <a:pt x="132" y="76"/>
                    <a:pt x="132" y="76"/>
                    <a:pt x="132" y="76"/>
                  </a:cubicBezTo>
                  <a:cubicBezTo>
                    <a:pt x="132" y="76"/>
                    <a:pt x="132" y="76"/>
                    <a:pt x="132" y="76"/>
                  </a:cubicBezTo>
                  <a:cubicBezTo>
                    <a:pt x="132" y="76"/>
                    <a:pt x="133" y="77"/>
                    <a:pt x="133" y="77"/>
                  </a:cubicBezTo>
                  <a:cubicBezTo>
                    <a:pt x="133" y="78"/>
                    <a:pt x="133" y="78"/>
                    <a:pt x="133" y="78"/>
                  </a:cubicBezTo>
                  <a:cubicBezTo>
                    <a:pt x="133" y="78"/>
                    <a:pt x="133" y="78"/>
                    <a:pt x="133" y="78"/>
                  </a:cubicBezTo>
                  <a:cubicBezTo>
                    <a:pt x="133" y="78"/>
                    <a:pt x="133" y="78"/>
                    <a:pt x="133" y="78"/>
                  </a:cubicBezTo>
                  <a:cubicBezTo>
                    <a:pt x="134" y="78"/>
                    <a:pt x="135" y="78"/>
                    <a:pt x="137" y="79"/>
                  </a:cubicBezTo>
                  <a:cubicBezTo>
                    <a:pt x="141" y="79"/>
                    <a:pt x="141" y="79"/>
                    <a:pt x="141" y="79"/>
                  </a:cubicBezTo>
                  <a:cubicBezTo>
                    <a:pt x="142" y="79"/>
                    <a:pt x="142" y="79"/>
                    <a:pt x="142" y="79"/>
                  </a:cubicBezTo>
                  <a:cubicBezTo>
                    <a:pt x="142" y="79"/>
                    <a:pt x="142" y="79"/>
                    <a:pt x="142" y="79"/>
                  </a:cubicBezTo>
                  <a:cubicBezTo>
                    <a:pt x="143" y="79"/>
                    <a:pt x="143" y="79"/>
                    <a:pt x="144" y="79"/>
                  </a:cubicBezTo>
                  <a:cubicBezTo>
                    <a:pt x="145" y="79"/>
                    <a:pt x="145" y="79"/>
                    <a:pt x="145" y="79"/>
                  </a:cubicBezTo>
                  <a:cubicBezTo>
                    <a:pt x="146" y="79"/>
                    <a:pt x="146" y="79"/>
                    <a:pt x="146" y="79"/>
                  </a:cubicBezTo>
                  <a:cubicBezTo>
                    <a:pt x="147" y="79"/>
                    <a:pt x="147" y="79"/>
                    <a:pt x="147" y="79"/>
                  </a:cubicBezTo>
                  <a:cubicBezTo>
                    <a:pt x="147" y="79"/>
                    <a:pt x="147" y="79"/>
                    <a:pt x="147" y="79"/>
                  </a:cubicBezTo>
                  <a:cubicBezTo>
                    <a:pt x="148" y="78"/>
                    <a:pt x="148" y="78"/>
                    <a:pt x="148" y="78"/>
                  </a:cubicBezTo>
                  <a:cubicBezTo>
                    <a:pt x="148" y="77"/>
                    <a:pt x="148" y="77"/>
                    <a:pt x="148" y="77"/>
                  </a:cubicBezTo>
                  <a:cubicBezTo>
                    <a:pt x="149" y="76"/>
                    <a:pt x="149" y="75"/>
                    <a:pt x="149" y="74"/>
                  </a:cubicBezTo>
                  <a:cubicBezTo>
                    <a:pt x="149" y="73"/>
                    <a:pt x="149" y="73"/>
                    <a:pt x="149" y="73"/>
                  </a:cubicBezTo>
                  <a:cubicBezTo>
                    <a:pt x="149" y="73"/>
                    <a:pt x="149" y="72"/>
                    <a:pt x="148" y="72"/>
                  </a:cubicBezTo>
                  <a:cubicBezTo>
                    <a:pt x="148" y="71"/>
                    <a:pt x="148" y="71"/>
                    <a:pt x="147" y="70"/>
                  </a:cubicBezTo>
                  <a:cubicBezTo>
                    <a:pt x="147" y="70"/>
                    <a:pt x="147" y="70"/>
                    <a:pt x="147" y="70"/>
                  </a:cubicBezTo>
                  <a:cubicBezTo>
                    <a:pt x="147" y="69"/>
                    <a:pt x="146" y="68"/>
                    <a:pt x="146" y="67"/>
                  </a:cubicBezTo>
                  <a:cubicBezTo>
                    <a:pt x="146" y="66"/>
                    <a:pt x="146" y="64"/>
                    <a:pt x="146" y="61"/>
                  </a:cubicBezTo>
                  <a:cubicBezTo>
                    <a:pt x="146" y="59"/>
                    <a:pt x="147" y="57"/>
                    <a:pt x="148" y="55"/>
                  </a:cubicBezTo>
                  <a:cubicBezTo>
                    <a:pt x="148" y="53"/>
                    <a:pt x="148" y="53"/>
                    <a:pt x="148" y="53"/>
                  </a:cubicBezTo>
                  <a:cubicBezTo>
                    <a:pt x="147" y="54"/>
                    <a:pt x="145" y="54"/>
                    <a:pt x="144" y="54"/>
                  </a:cubicBezTo>
                  <a:cubicBezTo>
                    <a:pt x="142" y="54"/>
                    <a:pt x="139" y="53"/>
                    <a:pt x="137" y="53"/>
                  </a:cubicBezTo>
                  <a:cubicBezTo>
                    <a:pt x="135" y="53"/>
                    <a:pt x="133" y="52"/>
                    <a:pt x="131" y="52"/>
                  </a:cubicBezTo>
                  <a:cubicBezTo>
                    <a:pt x="129" y="51"/>
                    <a:pt x="127" y="50"/>
                    <a:pt x="125" y="49"/>
                  </a:cubicBezTo>
                  <a:cubicBezTo>
                    <a:pt x="124" y="49"/>
                    <a:pt x="124" y="49"/>
                    <a:pt x="124" y="49"/>
                  </a:cubicBezTo>
                  <a:cubicBezTo>
                    <a:pt x="123" y="49"/>
                    <a:pt x="123" y="49"/>
                    <a:pt x="123" y="49"/>
                  </a:cubicBezTo>
                  <a:cubicBezTo>
                    <a:pt x="123" y="49"/>
                    <a:pt x="123" y="49"/>
                    <a:pt x="123" y="49"/>
                  </a:cubicBezTo>
                  <a:cubicBezTo>
                    <a:pt x="123" y="50"/>
                    <a:pt x="122" y="51"/>
                    <a:pt x="120" y="51"/>
                  </a:cubicBezTo>
                  <a:cubicBezTo>
                    <a:pt x="119" y="51"/>
                    <a:pt x="119" y="51"/>
                    <a:pt x="118" y="51"/>
                  </a:cubicBezTo>
                  <a:cubicBezTo>
                    <a:pt x="117" y="51"/>
                    <a:pt x="117" y="51"/>
                    <a:pt x="117" y="51"/>
                  </a:cubicBezTo>
                  <a:cubicBezTo>
                    <a:pt x="116" y="50"/>
                    <a:pt x="115" y="50"/>
                    <a:pt x="114" y="50"/>
                  </a:cubicBezTo>
                  <a:cubicBezTo>
                    <a:pt x="114" y="50"/>
                    <a:pt x="114" y="50"/>
                    <a:pt x="114" y="50"/>
                  </a:cubicBezTo>
                  <a:cubicBezTo>
                    <a:pt x="112" y="55"/>
                    <a:pt x="112" y="55"/>
                    <a:pt x="112" y="55"/>
                  </a:cubicBezTo>
                  <a:cubicBezTo>
                    <a:pt x="108" y="50"/>
                    <a:pt x="108" y="50"/>
                    <a:pt x="108" y="50"/>
                  </a:cubicBezTo>
                  <a:cubicBezTo>
                    <a:pt x="107" y="49"/>
                    <a:pt x="106" y="47"/>
                    <a:pt x="105" y="46"/>
                  </a:cubicBezTo>
                  <a:cubicBezTo>
                    <a:pt x="104" y="45"/>
                    <a:pt x="104" y="45"/>
                    <a:pt x="104" y="45"/>
                  </a:cubicBezTo>
                  <a:cubicBezTo>
                    <a:pt x="104" y="44"/>
                    <a:pt x="104" y="44"/>
                    <a:pt x="104" y="44"/>
                  </a:cubicBezTo>
                  <a:cubicBezTo>
                    <a:pt x="104" y="44"/>
                    <a:pt x="104" y="44"/>
                    <a:pt x="104" y="44"/>
                  </a:cubicBezTo>
                  <a:cubicBezTo>
                    <a:pt x="103" y="44"/>
                    <a:pt x="103" y="44"/>
                    <a:pt x="102" y="44"/>
                  </a:cubicBezTo>
                  <a:cubicBezTo>
                    <a:pt x="102" y="44"/>
                    <a:pt x="102" y="44"/>
                    <a:pt x="102" y="44"/>
                  </a:cubicBezTo>
                  <a:cubicBezTo>
                    <a:pt x="101" y="44"/>
                    <a:pt x="100" y="44"/>
                    <a:pt x="99" y="44"/>
                  </a:cubicBezTo>
                  <a:cubicBezTo>
                    <a:pt x="99" y="44"/>
                    <a:pt x="99" y="44"/>
                    <a:pt x="99" y="44"/>
                  </a:cubicBezTo>
                  <a:cubicBezTo>
                    <a:pt x="98" y="44"/>
                    <a:pt x="98" y="44"/>
                    <a:pt x="97" y="44"/>
                  </a:cubicBezTo>
                  <a:cubicBezTo>
                    <a:pt x="97" y="44"/>
                    <a:pt x="96" y="44"/>
                    <a:pt x="96" y="44"/>
                  </a:cubicBezTo>
                  <a:cubicBezTo>
                    <a:pt x="95" y="44"/>
                    <a:pt x="95" y="44"/>
                    <a:pt x="94" y="44"/>
                  </a:cubicBezTo>
                  <a:cubicBezTo>
                    <a:pt x="93" y="44"/>
                    <a:pt x="92" y="43"/>
                    <a:pt x="91" y="42"/>
                  </a:cubicBezTo>
                  <a:cubicBezTo>
                    <a:pt x="91" y="41"/>
                    <a:pt x="91" y="40"/>
                    <a:pt x="91" y="39"/>
                  </a:cubicBezTo>
                  <a:cubicBezTo>
                    <a:pt x="91" y="39"/>
                    <a:pt x="90" y="39"/>
                    <a:pt x="90" y="39"/>
                  </a:cubicBezTo>
                  <a:cubicBezTo>
                    <a:pt x="89" y="39"/>
                    <a:pt x="89" y="39"/>
                    <a:pt x="88" y="39"/>
                  </a:cubicBezTo>
                  <a:cubicBezTo>
                    <a:pt x="87" y="39"/>
                    <a:pt x="86" y="38"/>
                    <a:pt x="85" y="38"/>
                  </a:cubicBezTo>
                  <a:cubicBezTo>
                    <a:pt x="84" y="37"/>
                    <a:pt x="83" y="37"/>
                    <a:pt x="82" y="36"/>
                  </a:cubicBezTo>
                  <a:cubicBezTo>
                    <a:pt x="82" y="36"/>
                    <a:pt x="82" y="36"/>
                    <a:pt x="82" y="36"/>
                  </a:cubicBezTo>
                  <a:cubicBezTo>
                    <a:pt x="82" y="36"/>
                    <a:pt x="81" y="35"/>
                    <a:pt x="81" y="35"/>
                  </a:cubicBezTo>
                  <a:cubicBezTo>
                    <a:pt x="79" y="34"/>
                    <a:pt x="79" y="34"/>
                    <a:pt x="79" y="34"/>
                  </a:cubicBezTo>
                  <a:cubicBezTo>
                    <a:pt x="79" y="34"/>
                    <a:pt x="78" y="34"/>
                    <a:pt x="78" y="33"/>
                  </a:cubicBezTo>
                  <a:cubicBezTo>
                    <a:pt x="78" y="33"/>
                    <a:pt x="78" y="33"/>
                    <a:pt x="78" y="33"/>
                  </a:cubicBezTo>
                  <a:cubicBezTo>
                    <a:pt x="77" y="32"/>
                    <a:pt x="74" y="31"/>
                    <a:pt x="74" y="28"/>
                  </a:cubicBezTo>
                  <a:cubicBezTo>
                    <a:pt x="74" y="27"/>
                    <a:pt x="74" y="27"/>
                    <a:pt x="74" y="27"/>
                  </a:cubicBezTo>
                  <a:cubicBezTo>
                    <a:pt x="73" y="26"/>
                    <a:pt x="73" y="25"/>
                    <a:pt x="73" y="25"/>
                  </a:cubicBezTo>
                  <a:cubicBezTo>
                    <a:pt x="73" y="25"/>
                    <a:pt x="73" y="25"/>
                    <a:pt x="73" y="25"/>
                  </a:cubicBezTo>
                  <a:cubicBezTo>
                    <a:pt x="71" y="25"/>
                    <a:pt x="70" y="25"/>
                    <a:pt x="68" y="26"/>
                  </a:cubicBezTo>
                  <a:cubicBezTo>
                    <a:pt x="68" y="26"/>
                    <a:pt x="68" y="26"/>
                    <a:pt x="68" y="26"/>
                  </a:cubicBezTo>
                  <a:cubicBezTo>
                    <a:pt x="67" y="26"/>
                    <a:pt x="67" y="26"/>
                    <a:pt x="66" y="26"/>
                  </a:cubicBezTo>
                  <a:cubicBezTo>
                    <a:pt x="64" y="26"/>
                    <a:pt x="63" y="25"/>
                    <a:pt x="61" y="23"/>
                  </a:cubicBezTo>
                  <a:cubicBezTo>
                    <a:pt x="61" y="23"/>
                    <a:pt x="61" y="23"/>
                    <a:pt x="61" y="23"/>
                  </a:cubicBezTo>
                  <a:cubicBezTo>
                    <a:pt x="61" y="22"/>
                    <a:pt x="61" y="22"/>
                    <a:pt x="61" y="22"/>
                  </a:cubicBezTo>
                  <a:cubicBezTo>
                    <a:pt x="61" y="22"/>
                    <a:pt x="61" y="22"/>
                    <a:pt x="61" y="22"/>
                  </a:cubicBezTo>
                  <a:cubicBezTo>
                    <a:pt x="60" y="21"/>
                    <a:pt x="59" y="20"/>
                    <a:pt x="58" y="19"/>
                  </a:cubicBezTo>
                  <a:cubicBezTo>
                    <a:pt x="58" y="19"/>
                    <a:pt x="58" y="19"/>
                    <a:pt x="58" y="19"/>
                  </a:cubicBezTo>
                  <a:cubicBezTo>
                    <a:pt x="58" y="19"/>
                    <a:pt x="58" y="19"/>
                    <a:pt x="58" y="19"/>
                  </a:cubicBezTo>
                  <a:cubicBezTo>
                    <a:pt x="57" y="18"/>
                    <a:pt x="57" y="18"/>
                    <a:pt x="57" y="18"/>
                  </a:cubicBezTo>
                  <a:cubicBezTo>
                    <a:pt x="57" y="18"/>
                    <a:pt x="57" y="18"/>
                    <a:pt x="57" y="17"/>
                  </a:cubicBezTo>
                  <a:cubicBezTo>
                    <a:pt x="56" y="17"/>
                    <a:pt x="56" y="17"/>
                    <a:pt x="56" y="17"/>
                  </a:cubicBezTo>
                  <a:cubicBezTo>
                    <a:pt x="55" y="22"/>
                    <a:pt x="55" y="22"/>
                    <a:pt x="55" y="22"/>
                  </a:cubicBezTo>
                  <a:cubicBezTo>
                    <a:pt x="55" y="17"/>
                    <a:pt x="55" y="17"/>
                    <a:pt x="55" y="17"/>
                  </a:cubicBezTo>
                  <a:cubicBezTo>
                    <a:pt x="54" y="16"/>
                    <a:pt x="54" y="16"/>
                    <a:pt x="54" y="16"/>
                  </a:cubicBezTo>
                  <a:cubicBezTo>
                    <a:pt x="54" y="16"/>
                    <a:pt x="54" y="16"/>
                    <a:pt x="53" y="16"/>
                  </a:cubicBezTo>
                  <a:cubicBezTo>
                    <a:pt x="53" y="16"/>
                    <a:pt x="53" y="16"/>
                    <a:pt x="53" y="16"/>
                  </a:cubicBezTo>
                  <a:cubicBezTo>
                    <a:pt x="51" y="16"/>
                    <a:pt x="49" y="15"/>
                    <a:pt x="48" y="14"/>
                  </a:cubicBezTo>
                  <a:cubicBezTo>
                    <a:pt x="47" y="13"/>
                    <a:pt x="47" y="13"/>
                    <a:pt x="47" y="13"/>
                  </a:cubicBezTo>
                  <a:cubicBezTo>
                    <a:pt x="46" y="12"/>
                    <a:pt x="45" y="12"/>
                    <a:pt x="44" y="11"/>
                  </a:cubicBezTo>
                  <a:cubicBezTo>
                    <a:pt x="44" y="10"/>
                    <a:pt x="43" y="10"/>
                    <a:pt x="43" y="10"/>
                  </a:cubicBezTo>
                  <a:cubicBezTo>
                    <a:pt x="41" y="9"/>
                    <a:pt x="41" y="9"/>
                    <a:pt x="41" y="9"/>
                  </a:cubicBezTo>
                  <a:cubicBezTo>
                    <a:pt x="41" y="9"/>
                    <a:pt x="40" y="9"/>
                    <a:pt x="39" y="9"/>
                  </a:cubicBezTo>
                  <a:cubicBezTo>
                    <a:pt x="38" y="8"/>
                    <a:pt x="37" y="7"/>
                    <a:pt x="36" y="6"/>
                  </a:cubicBezTo>
                  <a:cubicBezTo>
                    <a:pt x="35" y="6"/>
                    <a:pt x="35" y="6"/>
                    <a:pt x="35" y="6"/>
                  </a:cubicBezTo>
                  <a:cubicBezTo>
                    <a:pt x="35" y="5"/>
                    <a:pt x="34" y="4"/>
                    <a:pt x="34" y="3"/>
                  </a:cubicBezTo>
                  <a:cubicBezTo>
                    <a:pt x="34" y="2"/>
                    <a:pt x="33" y="2"/>
                    <a:pt x="33" y="1"/>
                  </a:cubicBezTo>
                  <a:cubicBezTo>
                    <a:pt x="33" y="1"/>
                    <a:pt x="30" y="0"/>
                    <a:pt x="28" y="0"/>
                  </a:cubicBezTo>
                  <a:cubicBezTo>
                    <a:pt x="27" y="0"/>
                    <a:pt x="27" y="0"/>
                    <a:pt x="27" y="0"/>
                  </a:cubicBezTo>
                  <a:cubicBezTo>
                    <a:pt x="27"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Rectangle 427"/>
            <p:cNvSpPr>
              <a:spLocks noChangeArrowheads="1"/>
            </p:cNvSpPr>
            <p:nvPr/>
          </p:nvSpPr>
          <p:spPr bwMode="auto">
            <a:xfrm>
              <a:off x="3462012" y="4838799"/>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428"/>
            <p:cNvSpPr/>
            <p:nvPr/>
          </p:nvSpPr>
          <p:spPr bwMode="auto">
            <a:xfrm flipH="1">
              <a:off x="3462012" y="483879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429"/>
            <p:cNvSpPr>
              <a:spLocks noEditPoints="1"/>
            </p:cNvSpPr>
            <p:nvPr/>
          </p:nvSpPr>
          <p:spPr bwMode="auto">
            <a:xfrm>
              <a:off x="4082340" y="5287196"/>
              <a:ext cx="64647" cy="159552"/>
            </a:xfrm>
            <a:custGeom>
              <a:gdLst>
                <a:gd name="T0" fmla="*/ 8 w 20"/>
                <a:gd name="T1" fmla="*/ 37 h 49"/>
                <a:gd name="T2" fmla="*/ 7 w 20"/>
                <a:gd name="T3" fmla="*/ 42 h 49"/>
                <a:gd name="T4" fmla="*/ 8 w 20"/>
                <a:gd name="T5" fmla="*/ 37 h 49"/>
                <a:gd name="T6" fmla="*/ 13 w 20"/>
                <a:gd name="T7" fmla="*/ 0 h 49"/>
                <a:gd name="T8" fmla="*/ 12 w 20"/>
                <a:gd name="T9" fmla="*/ 0 h 49"/>
                <a:gd name="T10" fmla="*/ 11 w 20"/>
                <a:gd name="T11" fmla="*/ 1 h 49"/>
                <a:gd name="T12" fmla="*/ 11 w 20"/>
                <a:gd name="T13" fmla="*/ 1 h 49"/>
                <a:gd name="T14" fmla="*/ 9 w 20"/>
                <a:gd name="T15" fmla="*/ 6 h 49"/>
                <a:gd name="T16" fmla="*/ 9 w 20"/>
                <a:gd name="T17" fmla="*/ 7 h 49"/>
                <a:gd name="T18" fmla="*/ 7 w 20"/>
                <a:gd name="T19" fmla="*/ 11 h 49"/>
                <a:gd name="T20" fmla="*/ 6 w 20"/>
                <a:gd name="T21" fmla="*/ 14 h 49"/>
                <a:gd name="T22" fmla="*/ 3 w 20"/>
                <a:gd name="T23" fmla="*/ 15 h 49"/>
                <a:gd name="T24" fmla="*/ 0 w 20"/>
                <a:gd name="T25" fmla="*/ 14 h 49"/>
                <a:gd name="T26" fmla="*/ 0 w 20"/>
                <a:gd name="T27" fmla="*/ 14 h 49"/>
                <a:gd name="T28" fmla="*/ 0 w 20"/>
                <a:gd name="T29" fmla="*/ 14 h 49"/>
                <a:gd name="T30" fmla="*/ 6 w 20"/>
                <a:gd name="T31" fmla="*/ 27 h 49"/>
                <a:gd name="T32" fmla="*/ 7 w 20"/>
                <a:gd name="T33" fmla="*/ 23 h 49"/>
                <a:gd name="T34" fmla="*/ 7 w 20"/>
                <a:gd name="T35" fmla="*/ 28 h 49"/>
                <a:gd name="T36" fmla="*/ 8 w 20"/>
                <a:gd name="T37" fmla="*/ 33 h 49"/>
                <a:gd name="T38" fmla="*/ 8 w 20"/>
                <a:gd name="T39" fmla="*/ 37 h 49"/>
                <a:gd name="T40" fmla="*/ 8 w 20"/>
                <a:gd name="T41" fmla="*/ 37 h 49"/>
                <a:gd name="T42" fmla="*/ 9 w 20"/>
                <a:gd name="T43" fmla="*/ 39 h 49"/>
                <a:gd name="T44" fmla="*/ 9 w 20"/>
                <a:gd name="T45" fmla="*/ 44 h 49"/>
                <a:gd name="T46" fmla="*/ 11 w 20"/>
                <a:gd name="T47" fmla="*/ 49 h 49"/>
                <a:gd name="T48" fmla="*/ 11 w 20"/>
                <a:gd name="T49" fmla="*/ 48 h 49"/>
                <a:gd name="T50" fmla="*/ 11 w 20"/>
                <a:gd name="T51" fmla="*/ 48 h 49"/>
                <a:gd name="T52" fmla="*/ 11 w 20"/>
                <a:gd name="T53" fmla="*/ 47 h 49"/>
                <a:gd name="T54" fmla="*/ 11 w 20"/>
                <a:gd name="T55" fmla="*/ 47 h 49"/>
                <a:gd name="T56" fmla="*/ 14 w 20"/>
                <a:gd name="T57" fmla="*/ 43 h 49"/>
                <a:gd name="T58" fmla="*/ 14 w 20"/>
                <a:gd name="T59" fmla="*/ 41 h 49"/>
                <a:gd name="T60" fmla="*/ 17 w 20"/>
                <a:gd name="T61" fmla="*/ 37 h 49"/>
                <a:gd name="T62" fmla="*/ 19 w 20"/>
                <a:gd name="T63" fmla="*/ 42 h 49"/>
                <a:gd name="T64" fmla="*/ 20 w 20"/>
                <a:gd name="T65" fmla="*/ 42 h 49"/>
                <a:gd name="T66" fmla="*/ 19 w 20"/>
                <a:gd name="T67" fmla="*/ 35 h 49"/>
                <a:gd name="T68" fmla="*/ 19 w 20"/>
                <a:gd name="T69" fmla="*/ 33 h 49"/>
                <a:gd name="T70" fmla="*/ 18 w 20"/>
                <a:gd name="T71" fmla="*/ 23 h 49"/>
                <a:gd name="T72" fmla="*/ 16 w 20"/>
                <a:gd name="T73" fmla="*/ 17 h 49"/>
                <a:gd name="T74" fmla="*/ 16 w 20"/>
                <a:gd name="T75" fmla="*/ 17 h 49"/>
                <a:gd name="T76" fmla="*/ 14 w 20"/>
                <a:gd name="T77" fmla="*/ 11 h 49"/>
                <a:gd name="T78" fmla="*/ 14 w 20"/>
                <a:gd name="T79" fmla="*/ 11 h 49"/>
                <a:gd name="T80" fmla="*/ 14 w 20"/>
                <a:gd name="T81" fmla="*/ 10 h 49"/>
                <a:gd name="T82" fmla="*/ 14 w 20"/>
                <a:gd name="T83" fmla="*/ 4 h 49"/>
                <a:gd name="T84" fmla="*/ 13 w 20"/>
                <a:gd name="T85"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49">
                  <a:moveTo>
                    <a:pt x="8" y="37"/>
                  </a:moveTo>
                  <a:cubicBezTo>
                    <a:pt x="8" y="38"/>
                    <a:pt x="8" y="40"/>
                    <a:pt x="7" y="42"/>
                  </a:cubicBezTo>
                  <a:cubicBezTo>
                    <a:pt x="11" y="41"/>
                    <a:pt x="8" y="39"/>
                    <a:pt x="8" y="37"/>
                  </a:cubicBezTo>
                  <a:moveTo>
                    <a:pt x="13" y="0"/>
                  </a:moveTo>
                  <a:cubicBezTo>
                    <a:pt x="12" y="0"/>
                    <a:pt x="12" y="0"/>
                    <a:pt x="12" y="0"/>
                  </a:cubicBezTo>
                  <a:cubicBezTo>
                    <a:pt x="12" y="1"/>
                    <a:pt x="11" y="1"/>
                    <a:pt x="11" y="1"/>
                  </a:cubicBezTo>
                  <a:cubicBezTo>
                    <a:pt x="11" y="1"/>
                    <a:pt x="11" y="1"/>
                    <a:pt x="11" y="1"/>
                  </a:cubicBezTo>
                  <a:cubicBezTo>
                    <a:pt x="10" y="3"/>
                    <a:pt x="10" y="4"/>
                    <a:pt x="9" y="6"/>
                  </a:cubicBezTo>
                  <a:cubicBezTo>
                    <a:pt x="9" y="7"/>
                    <a:pt x="9" y="7"/>
                    <a:pt x="9" y="7"/>
                  </a:cubicBezTo>
                  <a:cubicBezTo>
                    <a:pt x="8" y="9"/>
                    <a:pt x="8" y="10"/>
                    <a:pt x="7" y="11"/>
                  </a:cubicBezTo>
                  <a:cubicBezTo>
                    <a:pt x="7" y="12"/>
                    <a:pt x="6" y="13"/>
                    <a:pt x="6" y="14"/>
                  </a:cubicBezTo>
                  <a:cubicBezTo>
                    <a:pt x="5" y="15"/>
                    <a:pt x="4" y="15"/>
                    <a:pt x="3" y="15"/>
                  </a:cubicBezTo>
                  <a:cubicBezTo>
                    <a:pt x="2" y="15"/>
                    <a:pt x="1" y="15"/>
                    <a:pt x="0" y="14"/>
                  </a:cubicBezTo>
                  <a:cubicBezTo>
                    <a:pt x="0" y="14"/>
                    <a:pt x="0" y="14"/>
                    <a:pt x="0" y="14"/>
                  </a:cubicBezTo>
                  <a:cubicBezTo>
                    <a:pt x="0" y="14"/>
                    <a:pt x="0" y="14"/>
                    <a:pt x="0" y="14"/>
                  </a:cubicBezTo>
                  <a:cubicBezTo>
                    <a:pt x="1" y="19"/>
                    <a:pt x="4" y="23"/>
                    <a:pt x="6" y="27"/>
                  </a:cubicBezTo>
                  <a:cubicBezTo>
                    <a:pt x="6" y="26"/>
                    <a:pt x="6" y="26"/>
                    <a:pt x="7" y="23"/>
                  </a:cubicBezTo>
                  <a:cubicBezTo>
                    <a:pt x="7" y="25"/>
                    <a:pt x="6" y="26"/>
                    <a:pt x="7" y="28"/>
                  </a:cubicBezTo>
                  <a:cubicBezTo>
                    <a:pt x="7" y="30"/>
                    <a:pt x="7" y="32"/>
                    <a:pt x="8" y="33"/>
                  </a:cubicBezTo>
                  <a:cubicBezTo>
                    <a:pt x="8" y="35"/>
                    <a:pt x="8" y="35"/>
                    <a:pt x="8" y="37"/>
                  </a:cubicBezTo>
                  <a:cubicBezTo>
                    <a:pt x="8" y="37"/>
                    <a:pt x="8" y="37"/>
                    <a:pt x="8" y="37"/>
                  </a:cubicBezTo>
                  <a:cubicBezTo>
                    <a:pt x="8" y="37"/>
                    <a:pt x="9" y="38"/>
                    <a:pt x="9" y="39"/>
                  </a:cubicBezTo>
                  <a:cubicBezTo>
                    <a:pt x="9" y="40"/>
                    <a:pt x="8" y="42"/>
                    <a:pt x="9" y="44"/>
                  </a:cubicBezTo>
                  <a:cubicBezTo>
                    <a:pt x="10" y="45"/>
                    <a:pt x="10" y="47"/>
                    <a:pt x="11" y="49"/>
                  </a:cubicBezTo>
                  <a:cubicBezTo>
                    <a:pt x="11" y="48"/>
                    <a:pt x="11" y="48"/>
                    <a:pt x="11" y="48"/>
                  </a:cubicBezTo>
                  <a:cubicBezTo>
                    <a:pt x="11" y="48"/>
                    <a:pt x="11" y="48"/>
                    <a:pt x="11" y="48"/>
                  </a:cubicBezTo>
                  <a:cubicBezTo>
                    <a:pt x="11" y="47"/>
                    <a:pt x="11" y="47"/>
                    <a:pt x="11" y="47"/>
                  </a:cubicBezTo>
                  <a:cubicBezTo>
                    <a:pt x="11" y="47"/>
                    <a:pt x="11" y="47"/>
                    <a:pt x="11" y="47"/>
                  </a:cubicBezTo>
                  <a:cubicBezTo>
                    <a:pt x="12" y="46"/>
                    <a:pt x="12" y="44"/>
                    <a:pt x="14" y="43"/>
                  </a:cubicBezTo>
                  <a:cubicBezTo>
                    <a:pt x="14" y="42"/>
                    <a:pt x="14" y="42"/>
                    <a:pt x="14" y="41"/>
                  </a:cubicBezTo>
                  <a:cubicBezTo>
                    <a:pt x="17" y="37"/>
                    <a:pt x="17" y="37"/>
                    <a:pt x="17" y="37"/>
                  </a:cubicBezTo>
                  <a:cubicBezTo>
                    <a:pt x="19" y="42"/>
                    <a:pt x="19" y="42"/>
                    <a:pt x="19" y="42"/>
                  </a:cubicBezTo>
                  <a:cubicBezTo>
                    <a:pt x="19" y="42"/>
                    <a:pt x="19" y="42"/>
                    <a:pt x="20" y="42"/>
                  </a:cubicBezTo>
                  <a:cubicBezTo>
                    <a:pt x="19" y="35"/>
                    <a:pt x="19" y="35"/>
                    <a:pt x="19" y="35"/>
                  </a:cubicBezTo>
                  <a:cubicBezTo>
                    <a:pt x="19" y="33"/>
                    <a:pt x="19" y="33"/>
                    <a:pt x="19" y="33"/>
                  </a:cubicBezTo>
                  <a:cubicBezTo>
                    <a:pt x="18" y="23"/>
                    <a:pt x="18" y="23"/>
                    <a:pt x="18" y="23"/>
                  </a:cubicBezTo>
                  <a:cubicBezTo>
                    <a:pt x="17" y="21"/>
                    <a:pt x="17" y="19"/>
                    <a:pt x="16" y="17"/>
                  </a:cubicBezTo>
                  <a:cubicBezTo>
                    <a:pt x="16" y="17"/>
                    <a:pt x="16" y="17"/>
                    <a:pt x="16" y="17"/>
                  </a:cubicBezTo>
                  <a:cubicBezTo>
                    <a:pt x="15" y="15"/>
                    <a:pt x="15" y="13"/>
                    <a:pt x="14" y="11"/>
                  </a:cubicBezTo>
                  <a:cubicBezTo>
                    <a:pt x="14" y="11"/>
                    <a:pt x="14" y="11"/>
                    <a:pt x="14" y="11"/>
                  </a:cubicBezTo>
                  <a:cubicBezTo>
                    <a:pt x="14" y="10"/>
                    <a:pt x="14" y="10"/>
                    <a:pt x="14" y="10"/>
                  </a:cubicBezTo>
                  <a:cubicBezTo>
                    <a:pt x="14" y="8"/>
                    <a:pt x="14" y="6"/>
                    <a:pt x="14" y="4"/>
                  </a:cubicBezTo>
                  <a:cubicBezTo>
                    <a:pt x="13" y="3"/>
                    <a:pt x="13"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430"/>
            <p:cNvSpPr/>
            <p:nvPr/>
          </p:nvSpPr>
          <p:spPr bwMode="auto">
            <a:xfrm>
              <a:off x="3881524" y="5111138"/>
              <a:ext cx="248957" cy="302599"/>
            </a:xfrm>
            <a:custGeom>
              <a:gdLst>
                <a:gd name="T0" fmla="*/ 0 w 77"/>
                <a:gd name="T1" fmla="*/ 6 h 93"/>
                <a:gd name="T2" fmla="*/ 2 w 77"/>
                <a:gd name="T3" fmla="*/ 7 h 93"/>
                <a:gd name="T4" fmla="*/ 8 w 77"/>
                <a:gd name="T5" fmla="*/ 13 h 93"/>
                <a:gd name="T6" fmla="*/ 13 w 77"/>
                <a:gd name="T7" fmla="*/ 16 h 93"/>
                <a:gd name="T8" fmla="*/ 16 w 77"/>
                <a:gd name="T9" fmla="*/ 22 h 93"/>
                <a:gd name="T10" fmla="*/ 10 w 77"/>
                <a:gd name="T11" fmla="*/ 24 h 93"/>
                <a:gd name="T12" fmla="*/ 1 w 77"/>
                <a:gd name="T13" fmla="*/ 30 h 93"/>
                <a:gd name="T14" fmla="*/ 1 w 77"/>
                <a:gd name="T15" fmla="*/ 34 h 93"/>
                <a:gd name="T16" fmla="*/ 5 w 77"/>
                <a:gd name="T17" fmla="*/ 36 h 93"/>
                <a:gd name="T18" fmla="*/ 7 w 77"/>
                <a:gd name="T19" fmla="*/ 37 h 93"/>
                <a:gd name="T20" fmla="*/ 12 w 77"/>
                <a:gd name="T21" fmla="*/ 47 h 93"/>
                <a:gd name="T22" fmla="*/ 10 w 77"/>
                <a:gd name="T23" fmla="*/ 53 h 93"/>
                <a:gd name="T24" fmla="*/ 13 w 77"/>
                <a:gd name="T25" fmla="*/ 57 h 93"/>
                <a:gd name="T26" fmla="*/ 12 w 77"/>
                <a:gd name="T27" fmla="*/ 58 h 93"/>
                <a:gd name="T28" fmla="*/ 16 w 77"/>
                <a:gd name="T29" fmla="*/ 63 h 93"/>
                <a:gd name="T30" fmla="*/ 15 w 77"/>
                <a:gd name="T31" fmla="*/ 68 h 93"/>
                <a:gd name="T32" fmla="*/ 16 w 77"/>
                <a:gd name="T33" fmla="*/ 71 h 93"/>
                <a:gd name="T34" fmla="*/ 18 w 77"/>
                <a:gd name="T35" fmla="*/ 86 h 93"/>
                <a:gd name="T36" fmla="*/ 19 w 77"/>
                <a:gd name="T37" fmla="*/ 93 h 93"/>
                <a:gd name="T38" fmla="*/ 25 w 77"/>
                <a:gd name="T39" fmla="*/ 86 h 93"/>
                <a:gd name="T40" fmla="*/ 29 w 77"/>
                <a:gd name="T41" fmla="*/ 89 h 93"/>
                <a:gd name="T42" fmla="*/ 35 w 77"/>
                <a:gd name="T43" fmla="*/ 83 h 93"/>
                <a:gd name="T44" fmla="*/ 38 w 77"/>
                <a:gd name="T45" fmla="*/ 89 h 93"/>
                <a:gd name="T46" fmla="*/ 44 w 77"/>
                <a:gd name="T47" fmla="*/ 78 h 93"/>
                <a:gd name="T48" fmla="*/ 43 w 77"/>
                <a:gd name="T49" fmla="*/ 68 h 93"/>
                <a:gd name="T50" fmla="*/ 42 w 77"/>
                <a:gd name="T51" fmla="*/ 58 h 93"/>
                <a:gd name="T52" fmla="*/ 45 w 77"/>
                <a:gd name="T53" fmla="*/ 55 h 93"/>
                <a:gd name="T54" fmla="*/ 51 w 77"/>
                <a:gd name="T55" fmla="*/ 68 h 93"/>
                <a:gd name="T56" fmla="*/ 59 w 77"/>
                <a:gd name="T57" fmla="*/ 67 h 93"/>
                <a:gd name="T58" fmla="*/ 55 w 77"/>
                <a:gd name="T59" fmla="*/ 58 h 93"/>
                <a:gd name="T60" fmla="*/ 53 w 77"/>
                <a:gd name="T61" fmla="*/ 54 h 93"/>
                <a:gd name="T62" fmla="*/ 56 w 77"/>
                <a:gd name="T63" fmla="*/ 47 h 93"/>
                <a:gd name="T64" fmla="*/ 63 w 77"/>
                <a:gd name="T65" fmla="*/ 40 h 93"/>
                <a:gd name="T66" fmla="*/ 69 w 77"/>
                <a:gd name="T67" fmla="*/ 37 h 93"/>
                <a:gd name="T68" fmla="*/ 72 w 77"/>
                <a:gd name="T69" fmla="*/ 34 h 93"/>
                <a:gd name="T70" fmla="*/ 74 w 77"/>
                <a:gd name="T71" fmla="*/ 29 h 93"/>
                <a:gd name="T72" fmla="*/ 73 w 77"/>
                <a:gd name="T73" fmla="*/ 25 h 93"/>
                <a:gd name="T74" fmla="*/ 66 w 77"/>
                <a:gd name="T75" fmla="*/ 25 h 93"/>
                <a:gd name="T76" fmla="*/ 54 w 77"/>
                <a:gd name="T77" fmla="*/ 24 h 93"/>
                <a:gd name="T78" fmla="*/ 47 w 77"/>
                <a:gd name="T79" fmla="*/ 24 h 93"/>
                <a:gd name="T80" fmla="*/ 44 w 77"/>
                <a:gd name="T81" fmla="*/ 25 h 93"/>
                <a:gd name="T82" fmla="*/ 39 w 77"/>
                <a:gd name="T83" fmla="*/ 24 h 93"/>
                <a:gd name="T84" fmla="*/ 33 w 77"/>
                <a:gd name="T85" fmla="*/ 22 h 93"/>
                <a:gd name="T86" fmla="*/ 25 w 77"/>
                <a:gd name="T87" fmla="*/ 19 h 93"/>
                <a:gd name="T88" fmla="*/ 27 w 77"/>
                <a:gd name="T89" fmla="*/ 12 h 93"/>
                <a:gd name="T90" fmla="*/ 19 w 77"/>
                <a:gd name="T91" fmla="*/ 7 h 93"/>
                <a:gd name="T92" fmla="*/ 10 w 77"/>
                <a:gd name="T93" fmla="*/ 2 h 93"/>
                <a:gd name="T94" fmla="*/ 5 w 77"/>
                <a:gd name="T95"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 h="93">
                  <a:moveTo>
                    <a:pt x="5" y="0"/>
                  </a:moveTo>
                  <a:cubicBezTo>
                    <a:pt x="5" y="0"/>
                    <a:pt x="3" y="1"/>
                    <a:pt x="1" y="5"/>
                  </a:cubicBezTo>
                  <a:cubicBezTo>
                    <a:pt x="1" y="5"/>
                    <a:pt x="1" y="5"/>
                    <a:pt x="1" y="5"/>
                  </a:cubicBezTo>
                  <a:cubicBezTo>
                    <a:pt x="0" y="6"/>
                    <a:pt x="0" y="6"/>
                    <a:pt x="0" y="6"/>
                  </a:cubicBezTo>
                  <a:cubicBezTo>
                    <a:pt x="0" y="6"/>
                    <a:pt x="0" y="6"/>
                    <a:pt x="0" y="6"/>
                  </a:cubicBezTo>
                  <a:cubicBezTo>
                    <a:pt x="0" y="7"/>
                    <a:pt x="0" y="7"/>
                    <a:pt x="0" y="7"/>
                  </a:cubicBezTo>
                  <a:cubicBezTo>
                    <a:pt x="1" y="7"/>
                    <a:pt x="1" y="7"/>
                    <a:pt x="1" y="7"/>
                  </a:cubicBezTo>
                  <a:cubicBezTo>
                    <a:pt x="2" y="7"/>
                    <a:pt x="2" y="7"/>
                    <a:pt x="2" y="7"/>
                  </a:cubicBezTo>
                  <a:cubicBezTo>
                    <a:pt x="3" y="8"/>
                    <a:pt x="4" y="9"/>
                    <a:pt x="5" y="10"/>
                  </a:cubicBezTo>
                  <a:cubicBezTo>
                    <a:pt x="6" y="11"/>
                    <a:pt x="6" y="11"/>
                    <a:pt x="6" y="11"/>
                  </a:cubicBezTo>
                  <a:cubicBezTo>
                    <a:pt x="6" y="12"/>
                    <a:pt x="6" y="12"/>
                    <a:pt x="6" y="12"/>
                  </a:cubicBezTo>
                  <a:cubicBezTo>
                    <a:pt x="7" y="12"/>
                    <a:pt x="7" y="13"/>
                    <a:pt x="8" y="13"/>
                  </a:cubicBezTo>
                  <a:cubicBezTo>
                    <a:pt x="8" y="13"/>
                    <a:pt x="8" y="13"/>
                    <a:pt x="8" y="13"/>
                  </a:cubicBezTo>
                  <a:cubicBezTo>
                    <a:pt x="8" y="13"/>
                    <a:pt x="9" y="13"/>
                    <a:pt x="9" y="13"/>
                  </a:cubicBezTo>
                  <a:cubicBezTo>
                    <a:pt x="10" y="13"/>
                    <a:pt x="10" y="13"/>
                    <a:pt x="10" y="13"/>
                  </a:cubicBezTo>
                  <a:cubicBezTo>
                    <a:pt x="12" y="13"/>
                    <a:pt x="13" y="15"/>
                    <a:pt x="13" y="16"/>
                  </a:cubicBezTo>
                  <a:cubicBezTo>
                    <a:pt x="13" y="16"/>
                    <a:pt x="13" y="17"/>
                    <a:pt x="14" y="17"/>
                  </a:cubicBezTo>
                  <a:cubicBezTo>
                    <a:pt x="14" y="17"/>
                    <a:pt x="15" y="17"/>
                    <a:pt x="15" y="18"/>
                  </a:cubicBezTo>
                  <a:cubicBezTo>
                    <a:pt x="19" y="19"/>
                    <a:pt x="19" y="19"/>
                    <a:pt x="19" y="19"/>
                  </a:cubicBezTo>
                  <a:cubicBezTo>
                    <a:pt x="16" y="22"/>
                    <a:pt x="16" y="22"/>
                    <a:pt x="16" y="22"/>
                  </a:cubicBezTo>
                  <a:cubicBezTo>
                    <a:pt x="16" y="22"/>
                    <a:pt x="16" y="22"/>
                    <a:pt x="16" y="22"/>
                  </a:cubicBezTo>
                  <a:cubicBezTo>
                    <a:pt x="16" y="25"/>
                    <a:pt x="16" y="25"/>
                    <a:pt x="16" y="25"/>
                  </a:cubicBezTo>
                  <a:cubicBezTo>
                    <a:pt x="12" y="24"/>
                    <a:pt x="12" y="24"/>
                    <a:pt x="12" y="24"/>
                  </a:cubicBezTo>
                  <a:cubicBezTo>
                    <a:pt x="12" y="24"/>
                    <a:pt x="11" y="24"/>
                    <a:pt x="10" y="24"/>
                  </a:cubicBezTo>
                  <a:cubicBezTo>
                    <a:pt x="10" y="24"/>
                    <a:pt x="9" y="24"/>
                    <a:pt x="9" y="24"/>
                  </a:cubicBezTo>
                  <a:cubicBezTo>
                    <a:pt x="6" y="24"/>
                    <a:pt x="6" y="25"/>
                    <a:pt x="5" y="26"/>
                  </a:cubicBezTo>
                  <a:cubicBezTo>
                    <a:pt x="5" y="28"/>
                    <a:pt x="3" y="29"/>
                    <a:pt x="2" y="29"/>
                  </a:cubicBezTo>
                  <a:cubicBezTo>
                    <a:pt x="2" y="30"/>
                    <a:pt x="1" y="30"/>
                    <a:pt x="1" y="30"/>
                  </a:cubicBezTo>
                  <a:cubicBezTo>
                    <a:pt x="0" y="31"/>
                    <a:pt x="0" y="31"/>
                    <a:pt x="0" y="31"/>
                  </a:cubicBezTo>
                  <a:cubicBezTo>
                    <a:pt x="0" y="31"/>
                    <a:pt x="0" y="31"/>
                    <a:pt x="0" y="31"/>
                  </a:cubicBezTo>
                  <a:cubicBezTo>
                    <a:pt x="0" y="31"/>
                    <a:pt x="0" y="33"/>
                    <a:pt x="0" y="33"/>
                  </a:cubicBezTo>
                  <a:cubicBezTo>
                    <a:pt x="0" y="34"/>
                    <a:pt x="1" y="34"/>
                    <a:pt x="1" y="34"/>
                  </a:cubicBezTo>
                  <a:cubicBezTo>
                    <a:pt x="2" y="35"/>
                    <a:pt x="2" y="35"/>
                    <a:pt x="2" y="35"/>
                  </a:cubicBezTo>
                  <a:cubicBezTo>
                    <a:pt x="2" y="35"/>
                    <a:pt x="3" y="35"/>
                    <a:pt x="3" y="36"/>
                  </a:cubicBezTo>
                  <a:cubicBezTo>
                    <a:pt x="4" y="36"/>
                    <a:pt x="4" y="36"/>
                    <a:pt x="5" y="36"/>
                  </a:cubicBezTo>
                  <a:cubicBezTo>
                    <a:pt x="5" y="36"/>
                    <a:pt x="5" y="36"/>
                    <a:pt x="5" y="36"/>
                  </a:cubicBezTo>
                  <a:cubicBezTo>
                    <a:pt x="5" y="36"/>
                    <a:pt x="5" y="36"/>
                    <a:pt x="5" y="36"/>
                  </a:cubicBezTo>
                  <a:cubicBezTo>
                    <a:pt x="6" y="33"/>
                    <a:pt x="6" y="33"/>
                    <a:pt x="6" y="33"/>
                  </a:cubicBezTo>
                  <a:cubicBezTo>
                    <a:pt x="7" y="37"/>
                    <a:pt x="7" y="37"/>
                    <a:pt x="7" y="37"/>
                  </a:cubicBezTo>
                  <a:cubicBezTo>
                    <a:pt x="7" y="37"/>
                    <a:pt x="7" y="37"/>
                    <a:pt x="7" y="37"/>
                  </a:cubicBezTo>
                  <a:cubicBezTo>
                    <a:pt x="7" y="37"/>
                    <a:pt x="8" y="37"/>
                    <a:pt x="9" y="37"/>
                  </a:cubicBezTo>
                  <a:cubicBezTo>
                    <a:pt x="10" y="38"/>
                    <a:pt x="11" y="39"/>
                    <a:pt x="12" y="40"/>
                  </a:cubicBezTo>
                  <a:cubicBezTo>
                    <a:pt x="12" y="40"/>
                    <a:pt x="12" y="41"/>
                    <a:pt x="12" y="42"/>
                  </a:cubicBezTo>
                  <a:cubicBezTo>
                    <a:pt x="12" y="46"/>
                    <a:pt x="12" y="47"/>
                    <a:pt x="12" y="47"/>
                  </a:cubicBezTo>
                  <a:cubicBezTo>
                    <a:pt x="11" y="48"/>
                    <a:pt x="10" y="49"/>
                    <a:pt x="10" y="49"/>
                  </a:cubicBezTo>
                  <a:cubicBezTo>
                    <a:pt x="10" y="49"/>
                    <a:pt x="10" y="49"/>
                    <a:pt x="10" y="49"/>
                  </a:cubicBezTo>
                  <a:cubicBezTo>
                    <a:pt x="10" y="50"/>
                    <a:pt x="10" y="50"/>
                    <a:pt x="10" y="50"/>
                  </a:cubicBezTo>
                  <a:cubicBezTo>
                    <a:pt x="10" y="52"/>
                    <a:pt x="10" y="52"/>
                    <a:pt x="10" y="53"/>
                  </a:cubicBezTo>
                  <a:cubicBezTo>
                    <a:pt x="11" y="53"/>
                    <a:pt x="11" y="54"/>
                    <a:pt x="12" y="54"/>
                  </a:cubicBezTo>
                  <a:cubicBezTo>
                    <a:pt x="12" y="55"/>
                    <a:pt x="12" y="55"/>
                    <a:pt x="12" y="55"/>
                  </a:cubicBezTo>
                  <a:cubicBezTo>
                    <a:pt x="13" y="56"/>
                    <a:pt x="13" y="56"/>
                    <a:pt x="13" y="56"/>
                  </a:cubicBezTo>
                  <a:cubicBezTo>
                    <a:pt x="13" y="57"/>
                    <a:pt x="13" y="57"/>
                    <a:pt x="13" y="57"/>
                  </a:cubicBezTo>
                  <a:cubicBezTo>
                    <a:pt x="12" y="57"/>
                    <a:pt x="12" y="57"/>
                    <a:pt x="12" y="57"/>
                  </a:cubicBezTo>
                  <a:cubicBezTo>
                    <a:pt x="12" y="57"/>
                    <a:pt x="12" y="57"/>
                    <a:pt x="12" y="57"/>
                  </a:cubicBezTo>
                  <a:cubicBezTo>
                    <a:pt x="12" y="58"/>
                    <a:pt x="12" y="58"/>
                    <a:pt x="12" y="58"/>
                  </a:cubicBezTo>
                  <a:cubicBezTo>
                    <a:pt x="12" y="58"/>
                    <a:pt x="12" y="58"/>
                    <a:pt x="12" y="58"/>
                  </a:cubicBezTo>
                  <a:cubicBezTo>
                    <a:pt x="13" y="58"/>
                    <a:pt x="13" y="58"/>
                    <a:pt x="13" y="58"/>
                  </a:cubicBezTo>
                  <a:cubicBezTo>
                    <a:pt x="14" y="59"/>
                    <a:pt x="14" y="59"/>
                    <a:pt x="15" y="60"/>
                  </a:cubicBezTo>
                  <a:cubicBezTo>
                    <a:pt x="15" y="60"/>
                    <a:pt x="15" y="61"/>
                    <a:pt x="15" y="61"/>
                  </a:cubicBezTo>
                  <a:cubicBezTo>
                    <a:pt x="16" y="62"/>
                    <a:pt x="16" y="62"/>
                    <a:pt x="16" y="63"/>
                  </a:cubicBezTo>
                  <a:cubicBezTo>
                    <a:pt x="16" y="64"/>
                    <a:pt x="16" y="64"/>
                    <a:pt x="16" y="64"/>
                  </a:cubicBezTo>
                  <a:cubicBezTo>
                    <a:pt x="15" y="64"/>
                    <a:pt x="15" y="64"/>
                    <a:pt x="15" y="64"/>
                  </a:cubicBezTo>
                  <a:cubicBezTo>
                    <a:pt x="15" y="65"/>
                    <a:pt x="15" y="65"/>
                    <a:pt x="15" y="65"/>
                  </a:cubicBezTo>
                  <a:cubicBezTo>
                    <a:pt x="15" y="66"/>
                    <a:pt x="15" y="67"/>
                    <a:pt x="15" y="68"/>
                  </a:cubicBezTo>
                  <a:cubicBezTo>
                    <a:pt x="16" y="68"/>
                    <a:pt x="16" y="69"/>
                    <a:pt x="16" y="70"/>
                  </a:cubicBezTo>
                  <a:cubicBezTo>
                    <a:pt x="16" y="70"/>
                    <a:pt x="16" y="70"/>
                    <a:pt x="16" y="70"/>
                  </a:cubicBezTo>
                  <a:cubicBezTo>
                    <a:pt x="16" y="71"/>
                    <a:pt x="16" y="71"/>
                    <a:pt x="16" y="71"/>
                  </a:cubicBezTo>
                  <a:cubicBezTo>
                    <a:pt x="16" y="71"/>
                    <a:pt x="16" y="71"/>
                    <a:pt x="16" y="71"/>
                  </a:cubicBezTo>
                  <a:cubicBezTo>
                    <a:pt x="16" y="72"/>
                    <a:pt x="16" y="72"/>
                    <a:pt x="16" y="72"/>
                  </a:cubicBezTo>
                  <a:cubicBezTo>
                    <a:pt x="17" y="79"/>
                    <a:pt x="17" y="79"/>
                    <a:pt x="17" y="79"/>
                  </a:cubicBezTo>
                  <a:cubicBezTo>
                    <a:pt x="17" y="80"/>
                    <a:pt x="18" y="81"/>
                    <a:pt x="18" y="83"/>
                  </a:cubicBezTo>
                  <a:cubicBezTo>
                    <a:pt x="18" y="83"/>
                    <a:pt x="18" y="85"/>
                    <a:pt x="18" y="86"/>
                  </a:cubicBezTo>
                  <a:cubicBezTo>
                    <a:pt x="18" y="88"/>
                    <a:pt x="18" y="88"/>
                    <a:pt x="18" y="88"/>
                  </a:cubicBezTo>
                  <a:cubicBezTo>
                    <a:pt x="16" y="88"/>
                    <a:pt x="16" y="88"/>
                    <a:pt x="16" y="88"/>
                  </a:cubicBezTo>
                  <a:cubicBezTo>
                    <a:pt x="17" y="91"/>
                    <a:pt x="18" y="93"/>
                    <a:pt x="19" y="93"/>
                  </a:cubicBezTo>
                  <a:cubicBezTo>
                    <a:pt x="19" y="93"/>
                    <a:pt x="19" y="93"/>
                    <a:pt x="19" y="93"/>
                  </a:cubicBezTo>
                  <a:cubicBezTo>
                    <a:pt x="20" y="93"/>
                    <a:pt x="21" y="87"/>
                    <a:pt x="21" y="87"/>
                  </a:cubicBezTo>
                  <a:cubicBezTo>
                    <a:pt x="21" y="88"/>
                    <a:pt x="21" y="90"/>
                    <a:pt x="22" y="91"/>
                  </a:cubicBezTo>
                  <a:cubicBezTo>
                    <a:pt x="25" y="90"/>
                    <a:pt x="24" y="83"/>
                    <a:pt x="24" y="80"/>
                  </a:cubicBezTo>
                  <a:cubicBezTo>
                    <a:pt x="24" y="82"/>
                    <a:pt x="24" y="84"/>
                    <a:pt x="25" y="86"/>
                  </a:cubicBezTo>
                  <a:cubicBezTo>
                    <a:pt x="25" y="83"/>
                    <a:pt x="25" y="82"/>
                    <a:pt x="26" y="79"/>
                  </a:cubicBezTo>
                  <a:cubicBezTo>
                    <a:pt x="26" y="82"/>
                    <a:pt x="24" y="88"/>
                    <a:pt x="26" y="91"/>
                  </a:cubicBezTo>
                  <a:cubicBezTo>
                    <a:pt x="26" y="89"/>
                    <a:pt x="26" y="88"/>
                    <a:pt x="27" y="87"/>
                  </a:cubicBezTo>
                  <a:cubicBezTo>
                    <a:pt x="28" y="88"/>
                    <a:pt x="28" y="89"/>
                    <a:pt x="29" y="89"/>
                  </a:cubicBezTo>
                  <a:cubicBezTo>
                    <a:pt x="30" y="89"/>
                    <a:pt x="31" y="88"/>
                    <a:pt x="31" y="86"/>
                  </a:cubicBezTo>
                  <a:cubicBezTo>
                    <a:pt x="31" y="82"/>
                    <a:pt x="31" y="80"/>
                    <a:pt x="33" y="76"/>
                  </a:cubicBezTo>
                  <a:cubicBezTo>
                    <a:pt x="31" y="79"/>
                    <a:pt x="31" y="83"/>
                    <a:pt x="33" y="86"/>
                  </a:cubicBezTo>
                  <a:cubicBezTo>
                    <a:pt x="33" y="85"/>
                    <a:pt x="34" y="84"/>
                    <a:pt x="35" y="83"/>
                  </a:cubicBezTo>
                  <a:cubicBezTo>
                    <a:pt x="34" y="84"/>
                    <a:pt x="34" y="85"/>
                    <a:pt x="34" y="86"/>
                  </a:cubicBezTo>
                  <a:cubicBezTo>
                    <a:pt x="35" y="84"/>
                    <a:pt x="37" y="83"/>
                    <a:pt x="38" y="82"/>
                  </a:cubicBezTo>
                  <a:cubicBezTo>
                    <a:pt x="37" y="84"/>
                    <a:pt x="35" y="86"/>
                    <a:pt x="36" y="88"/>
                  </a:cubicBezTo>
                  <a:cubicBezTo>
                    <a:pt x="37" y="89"/>
                    <a:pt x="37" y="89"/>
                    <a:pt x="38" y="89"/>
                  </a:cubicBezTo>
                  <a:cubicBezTo>
                    <a:pt x="38" y="89"/>
                    <a:pt x="38" y="89"/>
                    <a:pt x="38" y="89"/>
                  </a:cubicBezTo>
                  <a:cubicBezTo>
                    <a:pt x="40" y="88"/>
                    <a:pt x="40" y="82"/>
                    <a:pt x="41" y="80"/>
                  </a:cubicBezTo>
                  <a:cubicBezTo>
                    <a:pt x="42" y="82"/>
                    <a:pt x="43" y="82"/>
                    <a:pt x="43" y="82"/>
                  </a:cubicBezTo>
                  <a:cubicBezTo>
                    <a:pt x="44" y="82"/>
                    <a:pt x="45" y="80"/>
                    <a:pt x="44" y="78"/>
                  </a:cubicBezTo>
                  <a:cubicBezTo>
                    <a:pt x="44" y="76"/>
                    <a:pt x="44" y="74"/>
                    <a:pt x="43" y="74"/>
                  </a:cubicBezTo>
                  <a:cubicBezTo>
                    <a:pt x="43" y="74"/>
                    <a:pt x="43" y="74"/>
                    <a:pt x="42" y="75"/>
                  </a:cubicBezTo>
                  <a:cubicBezTo>
                    <a:pt x="43" y="73"/>
                    <a:pt x="42" y="73"/>
                    <a:pt x="40" y="71"/>
                  </a:cubicBezTo>
                  <a:cubicBezTo>
                    <a:pt x="41" y="70"/>
                    <a:pt x="44" y="68"/>
                    <a:pt x="43" y="68"/>
                  </a:cubicBezTo>
                  <a:cubicBezTo>
                    <a:pt x="42" y="65"/>
                    <a:pt x="42" y="65"/>
                    <a:pt x="44" y="63"/>
                  </a:cubicBezTo>
                  <a:cubicBezTo>
                    <a:pt x="46" y="61"/>
                    <a:pt x="39" y="58"/>
                    <a:pt x="38" y="57"/>
                  </a:cubicBezTo>
                  <a:cubicBezTo>
                    <a:pt x="38" y="57"/>
                    <a:pt x="38" y="57"/>
                    <a:pt x="38" y="57"/>
                  </a:cubicBezTo>
                  <a:cubicBezTo>
                    <a:pt x="40" y="57"/>
                    <a:pt x="41" y="57"/>
                    <a:pt x="42" y="58"/>
                  </a:cubicBezTo>
                  <a:cubicBezTo>
                    <a:pt x="42" y="57"/>
                    <a:pt x="42" y="57"/>
                    <a:pt x="42" y="56"/>
                  </a:cubicBezTo>
                  <a:cubicBezTo>
                    <a:pt x="43" y="55"/>
                    <a:pt x="43" y="55"/>
                    <a:pt x="43" y="55"/>
                  </a:cubicBezTo>
                  <a:cubicBezTo>
                    <a:pt x="45" y="54"/>
                    <a:pt x="45" y="54"/>
                    <a:pt x="45" y="54"/>
                  </a:cubicBezTo>
                  <a:cubicBezTo>
                    <a:pt x="45" y="55"/>
                    <a:pt x="45" y="55"/>
                    <a:pt x="45" y="55"/>
                  </a:cubicBezTo>
                  <a:cubicBezTo>
                    <a:pt x="47" y="55"/>
                    <a:pt x="47" y="55"/>
                    <a:pt x="47" y="55"/>
                  </a:cubicBezTo>
                  <a:cubicBezTo>
                    <a:pt x="47" y="56"/>
                    <a:pt x="46" y="58"/>
                    <a:pt x="45" y="59"/>
                  </a:cubicBezTo>
                  <a:cubicBezTo>
                    <a:pt x="47" y="60"/>
                    <a:pt x="46" y="63"/>
                    <a:pt x="46" y="65"/>
                  </a:cubicBezTo>
                  <a:cubicBezTo>
                    <a:pt x="46" y="68"/>
                    <a:pt x="48" y="68"/>
                    <a:pt x="51" y="68"/>
                  </a:cubicBezTo>
                  <a:cubicBezTo>
                    <a:pt x="52" y="69"/>
                    <a:pt x="55" y="70"/>
                    <a:pt x="58" y="70"/>
                  </a:cubicBezTo>
                  <a:cubicBezTo>
                    <a:pt x="60" y="70"/>
                    <a:pt x="61" y="69"/>
                    <a:pt x="62" y="68"/>
                  </a:cubicBezTo>
                  <a:cubicBezTo>
                    <a:pt x="61" y="67"/>
                    <a:pt x="61" y="67"/>
                    <a:pt x="61" y="67"/>
                  </a:cubicBezTo>
                  <a:cubicBezTo>
                    <a:pt x="59" y="67"/>
                    <a:pt x="59" y="67"/>
                    <a:pt x="59" y="67"/>
                  </a:cubicBezTo>
                  <a:cubicBezTo>
                    <a:pt x="58" y="66"/>
                    <a:pt x="57" y="65"/>
                    <a:pt x="56" y="63"/>
                  </a:cubicBezTo>
                  <a:cubicBezTo>
                    <a:pt x="56" y="62"/>
                    <a:pt x="56" y="61"/>
                    <a:pt x="56" y="60"/>
                  </a:cubicBezTo>
                  <a:cubicBezTo>
                    <a:pt x="56" y="60"/>
                    <a:pt x="55" y="58"/>
                    <a:pt x="55" y="58"/>
                  </a:cubicBezTo>
                  <a:cubicBezTo>
                    <a:pt x="55" y="58"/>
                    <a:pt x="55" y="58"/>
                    <a:pt x="55" y="58"/>
                  </a:cubicBezTo>
                  <a:cubicBezTo>
                    <a:pt x="55" y="57"/>
                    <a:pt x="55" y="57"/>
                    <a:pt x="54" y="56"/>
                  </a:cubicBezTo>
                  <a:cubicBezTo>
                    <a:pt x="54" y="56"/>
                    <a:pt x="54" y="56"/>
                    <a:pt x="54" y="56"/>
                  </a:cubicBezTo>
                  <a:cubicBezTo>
                    <a:pt x="54" y="55"/>
                    <a:pt x="54" y="55"/>
                    <a:pt x="54" y="55"/>
                  </a:cubicBezTo>
                  <a:cubicBezTo>
                    <a:pt x="53" y="54"/>
                    <a:pt x="53" y="54"/>
                    <a:pt x="53" y="54"/>
                  </a:cubicBezTo>
                  <a:cubicBezTo>
                    <a:pt x="53" y="52"/>
                    <a:pt x="54" y="51"/>
                    <a:pt x="54" y="50"/>
                  </a:cubicBezTo>
                  <a:cubicBezTo>
                    <a:pt x="54" y="49"/>
                    <a:pt x="54" y="49"/>
                    <a:pt x="54" y="49"/>
                  </a:cubicBezTo>
                  <a:cubicBezTo>
                    <a:pt x="54" y="46"/>
                    <a:pt x="54" y="46"/>
                    <a:pt x="54" y="46"/>
                  </a:cubicBezTo>
                  <a:cubicBezTo>
                    <a:pt x="56" y="47"/>
                    <a:pt x="56" y="47"/>
                    <a:pt x="56" y="47"/>
                  </a:cubicBezTo>
                  <a:cubicBezTo>
                    <a:pt x="63" y="40"/>
                    <a:pt x="63" y="40"/>
                    <a:pt x="63" y="40"/>
                  </a:cubicBezTo>
                  <a:cubicBezTo>
                    <a:pt x="62" y="40"/>
                    <a:pt x="62" y="40"/>
                    <a:pt x="62" y="40"/>
                  </a:cubicBezTo>
                  <a:cubicBezTo>
                    <a:pt x="63" y="40"/>
                    <a:pt x="63" y="40"/>
                    <a:pt x="63" y="40"/>
                  </a:cubicBezTo>
                  <a:cubicBezTo>
                    <a:pt x="63" y="40"/>
                    <a:pt x="63" y="40"/>
                    <a:pt x="63" y="40"/>
                  </a:cubicBezTo>
                  <a:cubicBezTo>
                    <a:pt x="64" y="40"/>
                    <a:pt x="64" y="40"/>
                    <a:pt x="64" y="40"/>
                  </a:cubicBezTo>
                  <a:cubicBezTo>
                    <a:pt x="65" y="39"/>
                    <a:pt x="65" y="39"/>
                    <a:pt x="66" y="39"/>
                  </a:cubicBezTo>
                  <a:cubicBezTo>
                    <a:pt x="67" y="39"/>
                    <a:pt x="67" y="39"/>
                    <a:pt x="67" y="39"/>
                  </a:cubicBezTo>
                  <a:cubicBezTo>
                    <a:pt x="68" y="38"/>
                    <a:pt x="68" y="37"/>
                    <a:pt x="69" y="37"/>
                  </a:cubicBezTo>
                  <a:cubicBezTo>
                    <a:pt x="67" y="33"/>
                    <a:pt x="67" y="33"/>
                    <a:pt x="67" y="33"/>
                  </a:cubicBezTo>
                  <a:cubicBezTo>
                    <a:pt x="70" y="36"/>
                    <a:pt x="70" y="36"/>
                    <a:pt x="70" y="36"/>
                  </a:cubicBezTo>
                  <a:cubicBezTo>
                    <a:pt x="71" y="35"/>
                    <a:pt x="71" y="35"/>
                    <a:pt x="71" y="35"/>
                  </a:cubicBezTo>
                  <a:cubicBezTo>
                    <a:pt x="71" y="35"/>
                    <a:pt x="72" y="34"/>
                    <a:pt x="72" y="34"/>
                  </a:cubicBezTo>
                  <a:cubicBezTo>
                    <a:pt x="73" y="34"/>
                    <a:pt x="73" y="34"/>
                    <a:pt x="73" y="34"/>
                  </a:cubicBezTo>
                  <a:cubicBezTo>
                    <a:pt x="73" y="33"/>
                    <a:pt x="73" y="33"/>
                    <a:pt x="73" y="33"/>
                  </a:cubicBezTo>
                  <a:cubicBezTo>
                    <a:pt x="73" y="33"/>
                    <a:pt x="73" y="31"/>
                    <a:pt x="73" y="31"/>
                  </a:cubicBezTo>
                  <a:cubicBezTo>
                    <a:pt x="74" y="29"/>
                    <a:pt x="74" y="29"/>
                    <a:pt x="74" y="29"/>
                  </a:cubicBezTo>
                  <a:cubicBezTo>
                    <a:pt x="77" y="26"/>
                    <a:pt x="77" y="26"/>
                    <a:pt x="77" y="26"/>
                  </a:cubicBezTo>
                  <a:cubicBezTo>
                    <a:pt x="76" y="26"/>
                    <a:pt x="76" y="26"/>
                    <a:pt x="75" y="26"/>
                  </a:cubicBezTo>
                  <a:cubicBezTo>
                    <a:pt x="75" y="25"/>
                    <a:pt x="75" y="25"/>
                    <a:pt x="75" y="25"/>
                  </a:cubicBezTo>
                  <a:cubicBezTo>
                    <a:pt x="74" y="25"/>
                    <a:pt x="74" y="25"/>
                    <a:pt x="73" y="25"/>
                  </a:cubicBezTo>
                  <a:cubicBezTo>
                    <a:pt x="73" y="24"/>
                    <a:pt x="72" y="24"/>
                    <a:pt x="71" y="24"/>
                  </a:cubicBezTo>
                  <a:cubicBezTo>
                    <a:pt x="71" y="24"/>
                    <a:pt x="70" y="24"/>
                    <a:pt x="70" y="24"/>
                  </a:cubicBezTo>
                  <a:cubicBezTo>
                    <a:pt x="69" y="25"/>
                    <a:pt x="69" y="25"/>
                    <a:pt x="69" y="25"/>
                  </a:cubicBezTo>
                  <a:cubicBezTo>
                    <a:pt x="68" y="25"/>
                    <a:pt x="67" y="25"/>
                    <a:pt x="66" y="25"/>
                  </a:cubicBezTo>
                  <a:cubicBezTo>
                    <a:pt x="66" y="25"/>
                    <a:pt x="66" y="25"/>
                    <a:pt x="65" y="25"/>
                  </a:cubicBezTo>
                  <a:cubicBezTo>
                    <a:pt x="62" y="25"/>
                    <a:pt x="59" y="24"/>
                    <a:pt x="56" y="24"/>
                  </a:cubicBezTo>
                  <a:cubicBezTo>
                    <a:pt x="55" y="24"/>
                    <a:pt x="55" y="24"/>
                    <a:pt x="55" y="24"/>
                  </a:cubicBezTo>
                  <a:cubicBezTo>
                    <a:pt x="54" y="24"/>
                    <a:pt x="54" y="24"/>
                    <a:pt x="54" y="24"/>
                  </a:cubicBezTo>
                  <a:cubicBezTo>
                    <a:pt x="53" y="24"/>
                    <a:pt x="52" y="24"/>
                    <a:pt x="51" y="24"/>
                  </a:cubicBezTo>
                  <a:cubicBezTo>
                    <a:pt x="50" y="24"/>
                    <a:pt x="50" y="24"/>
                    <a:pt x="50" y="24"/>
                  </a:cubicBezTo>
                  <a:cubicBezTo>
                    <a:pt x="50" y="24"/>
                    <a:pt x="49" y="24"/>
                    <a:pt x="49" y="24"/>
                  </a:cubicBezTo>
                  <a:cubicBezTo>
                    <a:pt x="48" y="24"/>
                    <a:pt x="48" y="24"/>
                    <a:pt x="47" y="24"/>
                  </a:cubicBezTo>
                  <a:cubicBezTo>
                    <a:pt x="47" y="24"/>
                    <a:pt x="47" y="24"/>
                    <a:pt x="46" y="24"/>
                  </a:cubicBezTo>
                  <a:cubicBezTo>
                    <a:pt x="46" y="24"/>
                    <a:pt x="46" y="24"/>
                    <a:pt x="46" y="24"/>
                  </a:cubicBezTo>
                  <a:cubicBezTo>
                    <a:pt x="46" y="24"/>
                    <a:pt x="45" y="24"/>
                    <a:pt x="45" y="25"/>
                  </a:cubicBezTo>
                  <a:cubicBezTo>
                    <a:pt x="44" y="25"/>
                    <a:pt x="44" y="25"/>
                    <a:pt x="44" y="25"/>
                  </a:cubicBezTo>
                  <a:cubicBezTo>
                    <a:pt x="44" y="25"/>
                    <a:pt x="43" y="25"/>
                    <a:pt x="42" y="25"/>
                  </a:cubicBezTo>
                  <a:cubicBezTo>
                    <a:pt x="42" y="25"/>
                    <a:pt x="42" y="25"/>
                    <a:pt x="41" y="25"/>
                  </a:cubicBezTo>
                  <a:cubicBezTo>
                    <a:pt x="41" y="25"/>
                    <a:pt x="41" y="25"/>
                    <a:pt x="41" y="25"/>
                  </a:cubicBezTo>
                  <a:cubicBezTo>
                    <a:pt x="40" y="25"/>
                    <a:pt x="40" y="24"/>
                    <a:pt x="39" y="24"/>
                  </a:cubicBezTo>
                  <a:cubicBezTo>
                    <a:pt x="38" y="24"/>
                    <a:pt x="38" y="24"/>
                    <a:pt x="38" y="24"/>
                  </a:cubicBezTo>
                  <a:cubicBezTo>
                    <a:pt x="38" y="24"/>
                    <a:pt x="38" y="24"/>
                    <a:pt x="37" y="24"/>
                  </a:cubicBezTo>
                  <a:cubicBezTo>
                    <a:pt x="35" y="23"/>
                    <a:pt x="34" y="23"/>
                    <a:pt x="33" y="22"/>
                  </a:cubicBezTo>
                  <a:cubicBezTo>
                    <a:pt x="33" y="22"/>
                    <a:pt x="33" y="22"/>
                    <a:pt x="33" y="22"/>
                  </a:cubicBezTo>
                  <a:cubicBezTo>
                    <a:pt x="32" y="22"/>
                    <a:pt x="32" y="22"/>
                    <a:pt x="32" y="22"/>
                  </a:cubicBezTo>
                  <a:cubicBezTo>
                    <a:pt x="31" y="22"/>
                    <a:pt x="31" y="22"/>
                    <a:pt x="30" y="21"/>
                  </a:cubicBezTo>
                  <a:cubicBezTo>
                    <a:pt x="29" y="21"/>
                    <a:pt x="28" y="21"/>
                    <a:pt x="28" y="19"/>
                  </a:cubicBezTo>
                  <a:cubicBezTo>
                    <a:pt x="25" y="19"/>
                    <a:pt x="25" y="19"/>
                    <a:pt x="25" y="19"/>
                  </a:cubicBezTo>
                  <a:cubicBezTo>
                    <a:pt x="28" y="18"/>
                    <a:pt x="28" y="18"/>
                    <a:pt x="28" y="18"/>
                  </a:cubicBezTo>
                  <a:cubicBezTo>
                    <a:pt x="28" y="17"/>
                    <a:pt x="28" y="17"/>
                    <a:pt x="28" y="17"/>
                  </a:cubicBezTo>
                  <a:cubicBezTo>
                    <a:pt x="28" y="16"/>
                    <a:pt x="28" y="14"/>
                    <a:pt x="28" y="13"/>
                  </a:cubicBezTo>
                  <a:cubicBezTo>
                    <a:pt x="27" y="12"/>
                    <a:pt x="27" y="12"/>
                    <a:pt x="27" y="12"/>
                  </a:cubicBezTo>
                  <a:cubicBezTo>
                    <a:pt x="27" y="11"/>
                    <a:pt x="27" y="11"/>
                    <a:pt x="27" y="10"/>
                  </a:cubicBezTo>
                  <a:cubicBezTo>
                    <a:pt x="27" y="8"/>
                    <a:pt x="27" y="7"/>
                    <a:pt x="27" y="6"/>
                  </a:cubicBezTo>
                  <a:cubicBezTo>
                    <a:pt x="26" y="7"/>
                    <a:pt x="24" y="8"/>
                    <a:pt x="22" y="8"/>
                  </a:cubicBezTo>
                  <a:cubicBezTo>
                    <a:pt x="21" y="8"/>
                    <a:pt x="20" y="7"/>
                    <a:pt x="19" y="7"/>
                  </a:cubicBezTo>
                  <a:cubicBezTo>
                    <a:pt x="19" y="6"/>
                    <a:pt x="19" y="6"/>
                    <a:pt x="19" y="6"/>
                  </a:cubicBezTo>
                  <a:cubicBezTo>
                    <a:pt x="17" y="6"/>
                    <a:pt x="16" y="4"/>
                    <a:pt x="16" y="3"/>
                  </a:cubicBezTo>
                  <a:cubicBezTo>
                    <a:pt x="15" y="3"/>
                    <a:pt x="15" y="3"/>
                    <a:pt x="15" y="3"/>
                  </a:cubicBezTo>
                  <a:cubicBezTo>
                    <a:pt x="13" y="3"/>
                    <a:pt x="12" y="2"/>
                    <a:pt x="10" y="2"/>
                  </a:cubicBezTo>
                  <a:cubicBezTo>
                    <a:pt x="10" y="1"/>
                    <a:pt x="10" y="1"/>
                    <a:pt x="10" y="1"/>
                  </a:cubicBezTo>
                  <a:cubicBezTo>
                    <a:pt x="10" y="1"/>
                    <a:pt x="9" y="1"/>
                    <a:pt x="9" y="1"/>
                  </a:cubicBezTo>
                  <a:cubicBezTo>
                    <a:pt x="8" y="1"/>
                    <a:pt x="7" y="1"/>
                    <a:pt x="7"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431"/>
            <p:cNvSpPr/>
            <p:nvPr/>
          </p:nvSpPr>
          <p:spPr bwMode="auto">
            <a:xfrm flipH="1">
              <a:off x="4118101" y="5446748"/>
              <a:ext cx="0" cy="2751"/>
            </a:xfrm>
            <a:custGeom>
              <a:gdLst>
                <a:gd name="T0" fmla="*/ 0 h 2"/>
                <a:gd name="T1" fmla="*/ 0 h 2"/>
                <a:gd name="T2" fmla="*/ 0 h 2"/>
                <a:gd name="T3" fmla="*/ 2 h 2"/>
                <a:gd name="T4" fmla="*/ 2 h 2"/>
                <a:gd name="T5" fmla="*/ 2 h 2"/>
                <a:gd name="T6" fmla="*/ 2 h 2"/>
                <a:gd name="T7" fmla="*/ 0 h 2"/>
                <a:gd name="T8" fmla="*/ 0 h 2"/>
              </a:gd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432"/>
            <p:cNvSpPr/>
            <p:nvPr/>
          </p:nvSpPr>
          <p:spPr bwMode="auto">
            <a:xfrm flipH="1">
              <a:off x="4118101" y="5446748"/>
              <a:ext cx="0" cy="2751"/>
            </a:xfrm>
            <a:custGeom>
              <a:gdLst>
                <a:gd name="T0" fmla="*/ 0 h 2"/>
                <a:gd name="T1" fmla="*/ 0 h 2"/>
                <a:gd name="T2" fmla="*/ 0 h 2"/>
                <a:gd name="T3" fmla="*/ 2 h 2"/>
                <a:gd name="T4" fmla="*/ 2 h 2"/>
                <a:gd name="T5" fmla="*/ 2 h 2"/>
                <a:gd name="T6" fmla="*/ 2 h 2"/>
                <a:gd name="T7" fmla="*/ 0 h 2"/>
                <a:gd name="T8" fmla="*/ 0 h 2"/>
              </a:gd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2"/>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433"/>
            <p:cNvSpPr/>
            <p:nvPr/>
          </p:nvSpPr>
          <p:spPr bwMode="auto">
            <a:xfrm>
              <a:off x="4120852" y="5453626"/>
              <a:ext cx="13755" cy="19256"/>
            </a:xfrm>
            <a:custGeom>
              <a:gdLst>
                <a:gd name="T0" fmla="*/ 2 w 4"/>
                <a:gd name="T1" fmla="*/ 0 h 6"/>
                <a:gd name="T2" fmla="*/ 0 w 4"/>
                <a:gd name="T3" fmla="*/ 1 h 6"/>
                <a:gd name="T4" fmla="*/ 4 w 4"/>
                <a:gd name="T5" fmla="*/ 6 h 6"/>
                <a:gd name="T6" fmla="*/ 3 w 4"/>
                <a:gd name="T7" fmla="*/ 3 h 6"/>
                <a:gd name="T8" fmla="*/ 2 w 4"/>
                <a:gd name="T9" fmla="*/ 2 h 6"/>
                <a:gd name="T10" fmla="*/ 2 w 4"/>
                <a:gd name="T11" fmla="*/ 2 h 6"/>
                <a:gd name="T12" fmla="*/ 2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0" y="1"/>
                    <a:pt x="0" y="1"/>
                    <a:pt x="0" y="1"/>
                  </a:cubicBezTo>
                  <a:cubicBezTo>
                    <a:pt x="1" y="3"/>
                    <a:pt x="3" y="4"/>
                    <a:pt x="4" y="6"/>
                  </a:cubicBezTo>
                  <a:cubicBezTo>
                    <a:pt x="4" y="5"/>
                    <a:pt x="3" y="4"/>
                    <a:pt x="3" y="3"/>
                  </a:cubicBezTo>
                  <a:cubicBezTo>
                    <a:pt x="3" y="3"/>
                    <a:pt x="3" y="2"/>
                    <a:pt x="2" y="2"/>
                  </a:cubicBezTo>
                  <a:cubicBezTo>
                    <a:pt x="2" y="2"/>
                    <a:pt x="2" y="2"/>
                    <a:pt x="2" y="2"/>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434"/>
            <p:cNvSpPr/>
            <p:nvPr/>
          </p:nvSpPr>
          <p:spPr bwMode="auto">
            <a:xfrm>
              <a:off x="4130481" y="4968091"/>
              <a:ext cx="526798" cy="1174635"/>
            </a:xfrm>
            <a:custGeom>
              <a:gdLst>
                <a:gd name="T0" fmla="*/ 95 w 162"/>
                <a:gd name="T1" fmla="*/ 13 h 361"/>
                <a:gd name="T2" fmla="*/ 75 w 162"/>
                <a:gd name="T3" fmla="*/ 27 h 361"/>
                <a:gd name="T4" fmla="*/ 57 w 162"/>
                <a:gd name="T5" fmla="*/ 49 h 361"/>
                <a:gd name="T6" fmla="*/ 40 w 162"/>
                <a:gd name="T7" fmla="*/ 88 h 361"/>
                <a:gd name="T8" fmla="*/ 20 w 162"/>
                <a:gd name="T9" fmla="*/ 111 h 361"/>
                <a:gd name="T10" fmla="*/ 9 w 162"/>
                <a:gd name="T11" fmla="*/ 134 h 361"/>
                <a:gd name="T12" fmla="*/ 1 w 162"/>
                <a:gd name="T13" fmla="*/ 146 h 361"/>
                <a:gd name="T14" fmla="*/ 2 w 162"/>
                <a:gd name="T15" fmla="*/ 153 h 361"/>
                <a:gd name="T16" fmla="*/ 10 w 162"/>
                <a:gd name="T17" fmla="*/ 164 h 361"/>
                <a:gd name="T18" fmla="*/ 13 w 162"/>
                <a:gd name="T19" fmla="*/ 168 h 361"/>
                <a:gd name="T20" fmla="*/ 27 w 162"/>
                <a:gd name="T21" fmla="*/ 172 h 361"/>
                <a:gd name="T22" fmla="*/ 32 w 162"/>
                <a:gd name="T23" fmla="*/ 182 h 361"/>
                <a:gd name="T24" fmla="*/ 26 w 162"/>
                <a:gd name="T25" fmla="*/ 188 h 361"/>
                <a:gd name="T26" fmla="*/ 33 w 162"/>
                <a:gd name="T27" fmla="*/ 182 h 361"/>
                <a:gd name="T28" fmla="*/ 42 w 162"/>
                <a:gd name="T29" fmla="*/ 210 h 361"/>
                <a:gd name="T30" fmla="*/ 43 w 162"/>
                <a:gd name="T31" fmla="*/ 245 h 361"/>
                <a:gd name="T32" fmla="*/ 45 w 162"/>
                <a:gd name="T33" fmla="*/ 249 h 361"/>
                <a:gd name="T34" fmla="*/ 49 w 162"/>
                <a:gd name="T35" fmla="*/ 246 h 361"/>
                <a:gd name="T36" fmla="*/ 55 w 162"/>
                <a:gd name="T37" fmla="*/ 247 h 361"/>
                <a:gd name="T38" fmla="*/ 65 w 162"/>
                <a:gd name="T39" fmla="*/ 245 h 361"/>
                <a:gd name="T40" fmla="*/ 76 w 162"/>
                <a:gd name="T41" fmla="*/ 238 h 361"/>
                <a:gd name="T42" fmla="*/ 88 w 162"/>
                <a:gd name="T43" fmla="*/ 222 h 361"/>
                <a:gd name="T44" fmla="*/ 102 w 162"/>
                <a:gd name="T45" fmla="*/ 237 h 361"/>
                <a:gd name="T46" fmla="*/ 104 w 162"/>
                <a:gd name="T47" fmla="*/ 257 h 361"/>
                <a:gd name="T48" fmla="*/ 109 w 162"/>
                <a:gd name="T49" fmla="*/ 275 h 361"/>
                <a:gd name="T50" fmla="*/ 112 w 162"/>
                <a:gd name="T51" fmla="*/ 287 h 361"/>
                <a:gd name="T52" fmla="*/ 120 w 162"/>
                <a:gd name="T53" fmla="*/ 319 h 361"/>
                <a:gd name="T54" fmla="*/ 117 w 162"/>
                <a:gd name="T55" fmla="*/ 325 h 361"/>
                <a:gd name="T56" fmla="*/ 122 w 162"/>
                <a:gd name="T57" fmla="*/ 332 h 361"/>
                <a:gd name="T58" fmla="*/ 118 w 162"/>
                <a:gd name="T59" fmla="*/ 354 h 361"/>
                <a:gd name="T60" fmla="*/ 137 w 162"/>
                <a:gd name="T61" fmla="*/ 330 h 361"/>
                <a:gd name="T62" fmla="*/ 131 w 162"/>
                <a:gd name="T63" fmla="*/ 312 h 361"/>
                <a:gd name="T64" fmla="*/ 129 w 162"/>
                <a:gd name="T65" fmla="*/ 298 h 361"/>
                <a:gd name="T66" fmla="*/ 122 w 162"/>
                <a:gd name="T67" fmla="*/ 285 h 361"/>
                <a:gd name="T68" fmla="*/ 118 w 162"/>
                <a:gd name="T69" fmla="*/ 259 h 361"/>
                <a:gd name="T70" fmla="*/ 118 w 162"/>
                <a:gd name="T71" fmla="*/ 235 h 361"/>
                <a:gd name="T72" fmla="*/ 112 w 162"/>
                <a:gd name="T73" fmla="*/ 227 h 361"/>
                <a:gd name="T74" fmla="*/ 100 w 162"/>
                <a:gd name="T75" fmla="*/ 206 h 361"/>
                <a:gd name="T76" fmla="*/ 102 w 162"/>
                <a:gd name="T77" fmla="*/ 196 h 361"/>
                <a:gd name="T78" fmla="*/ 110 w 162"/>
                <a:gd name="T79" fmla="*/ 171 h 361"/>
                <a:gd name="T80" fmla="*/ 121 w 162"/>
                <a:gd name="T81" fmla="*/ 173 h 361"/>
                <a:gd name="T82" fmla="*/ 126 w 162"/>
                <a:gd name="T83" fmla="*/ 171 h 361"/>
                <a:gd name="T84" fmla="*/ 139 w 162"/>
                <a:gd name="T85" fmla="*/ 160 h 361"/>
                <a:gd name="T86" fmla="*/ 148 w 162"/>
                <a:gd name="T87" fmla="*/ 158 h 361"/>
                <a:gd name="T88" fmla="*/ 160 w 162"/>
                <a:gd name="T89" fmla="*/ 141 h 361"/>
                <a:gd name="T90" fmla="*/ 146 w 162"/>
                <a:gd name="T91" fmla="*/ 138 h 361"/>
                <a:gd name="T92" fmla="*/ 128 w 162"/>
                <a:gd name="T93" fmla="*/ 129 h 361"/>
                <a:gd name="T94" fmla="*/ 133 w 162"/>
                <a:gd name="T95" fmla="*/ 114 h 361"/>
                <a:gd name="T96" fmla="*/ 134 w 162"/>
                <a:gd name="T97" fmla="*/ 110 h 361"/>
                <a:gd name="T98" fmla="*/ 121 w 162"/>
                <a:gd name="T99" fmla="*/ 98 h 361"/>
                <a:gd name="T100" fmla="*/ 120 w 162"/>
                <a:gd name="T101" fmla="*/ 91 h 361"/>
                <a:gd name="T102" fmla="*/ 112 w 162"/>
                <a:gd name="T103" fmla="*/ 90 h 361"/>
                <a:gd name="T104" fmla="*/ 99 w 162"/>
                <a:gd name="T105" fmla="*/ 89 h 361"/>
                <a:gd name="T106" fmla="*/ 98 w 162"/>
                <a:gd name="T107" fmla="*/ 78 h 361"/>
                <a:gd name="T108" fmla="*/ 103 w 162"/>
                <a:gd name="T109" fmla="*/ 67 h 361"/>
                <a:gd name="T110" fmla="*/ 109 w 162"/>
                <a:gd name="T111" fmla="*/ 60 h 361"/>
                <a:gd name="T112" fmla="*/ 117 w 162"/>
                <a:gd name="T113" fmla="*/ 53 h 361"/>
                <a:gd name="T114" fmla="*/ 119 w 162"/>
                <a:gd name="T115" fmla="*/ 45 h 361"/>
                <a:gd name="T116" fmla="*/ 120 w 162"/>
                <a:gd name="T117" fmla="*/ 19 h 361"/>
                <a:gd name="T118" fmla="*/ 108 w 162"/>
                <a:gd name="T119" fmla="*/ 5 h 3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2" h="361">
                  <a:moveTo>
                    <a:pt x="102" y="0"/>
                  </a:moveTo>
                  <a:cubicBezTo>
                    <a:pt x="101" y="1"/>
                    <a:pt x="100" y="2"/>
                    <a:pt x="99" y="3"/>
                  </a:cubicBezTo>
                  <a:cubicBezTo>
                    <a:pt x="99" y="4"/>
                    <a:pt x="99" y="4"/>
                    <a:pt x="99" y="4"/>
                  </a:cubicBezTo>
                  <a:cubicBezTo>
                    <a:pt x="99" y="4"/>
                    <a:pt x="99" y="4"/>
                    <a:pt x="99" y="4"/>
                  </a:cubicBezTo>
                  <a:cubicBezTo>
                    <a:pt x="99" y="5"/>
                    <a:pt x="99" y="5"/>
                    <a:pt x="99" y="5"/>
                  </a:cubicBezTo>
                  <a:cubicBezTo>
                    <a:pt x="99" y="7"/>
                    <a:pt x="99" y="7"/>
                    <a:pt x="99" y="7"/>
                  </a:cubicBezTo>
                  <a:cubicBezTo>
                    <a:pt x="100" y="10"/>
                    <a:pt x="97" y="12"/>
                    <a:pt x="95" y="13"/>
                  </a:cubicBezTo>
                  <a:cubicBezTo>
                    <a:pt x="95" y="13"/>
                    <a:pt x="95" y="13"/>
                    <a:pt x="95" y="13"/>
                  </a:cubicBezTo>
                  <a:cubicBezTo>
                    <a:pt x="94" y="14"/>
                    <a:pt x="93" y="14"/>
                    <a:pt x="93" y="15"/>
                  </a:cubicBezTo>
                  <a:cubicBezTo>
                    <a:pt x="91" y="16"/>
                    <a:pt x="90" y="17"/>
                    <a:pt x="90" y="17"/>
                  </a:cubicBezTo>
                  <a:cubicBezTo>
                    <a:pt x="91" y="18"/>
                    <a:pt x="92" y="19"/>
                    <a:pt x="92" y="19"/>
                  </a:cubicBezTo>
                  <a:cubicBezTo>
                    <a:pt x="92" y="21"/>
                    <a:pt x="92" y="21"/>
                    <a:pt x="92" y="21"/>
                  </a:cubicBezTo>
                  <a:cubicBezTo>
                    <a:pt x="86" y="30"/>
                    <a:pt x="86" y="30"/>
                    <a:pt x="86" y="30"/>
                  </a:cubicBezTo>
                  <a:cubicBezTo>
                    <a:pt x="85" y="24"/>
                    <a:pt x="85" y="24"/>
                    <a:pt x="85" y="24"/>
                  </a:cubicBezTo>
                  <a:cubicBezTo>
                    <a:pt x="84" y="24"/>
                    <a:pt x="84" y="24"/>
                    <a:pt x="83" y="24"/>
                  </a:cubicBezTo>
                  <a:cubicBezTo>
                    <a:pt x="81" y="24"/>
                    <a:pt x="78" y="25"/>
                    <a:pt x="75" y="27"/>
                  </a:cubicBezTo>
                  <a:cubicBezTo>
                    <a:pt x="73" y="28"/>
                    <a:pt x="71" y="29"/>
                    <a:pt x="70" y="30"/>
                  </a:cubicBezTo>
                  <a:cubicBezTo>
                    <a:pt x="68" y="31"/>
                    <a:pt x="66" y="32"/>
                    <a:pt x="65" y="33"/>
                  </a:cubicBezTo>
                  <a:cubicBezTo>
                    <a:pt x="63" y="35"/>
                    <a:pt x="62" y="36"/>
                    <a:pt x="60" y="37"/>
                  </a:cubicBezTo>
                  <a:cubicBezTo>
                    <a:pt x="59" y="37"/>
                    <a:pt x="59" y="37"/>
                    <a:pt x="59" y="37"/>
                  </a:cubicBezTo>
                  <a:cubicBezTo>
                    <a:pt x="56" y="38"/>
                    <a:pt x="56" y="39"/>
                    <a:pt x="56" y="40"/>
                  </a:cubicBezTo>
                  <a:cubicBezTo>
                    <a:pt x="56" y="40"/>
                    <a:pt x="56" y="41"/>
                    <a:pt x="56" y="42"/>
                  </a:cubicBezTo>
                  <a:cubicBezTo>
                    <a:pt x="56" y="43"/>
                    <a:pt x="56" y="43"/>
                    <a:pt x="56" y="43"/>
                  </a:cubicBezTo>
                  <a:cubicBezTo>
                    <a:pt x="57" y="45"/>
                    <a:pt x="57" y="47"/>
                    <a:pt x="57" y="49"/>
                  </a:cubicBezTo>
                  <a:cubicBezTo>
                    <a:pt x="57" y="50"/>
                    <a:pt x="57" y="50"/>
                    <a:pt x="56" y="51"/>
                  </a:cubicBezTo>
                  <a:cubicBezTo>
                    <a:pt x="56" y="51"/>
                    <a:pt x="56" y="51"/>
                    <a:pt x="56" y="51"/>
                  </a:cubicBezTo>
                  <a:cubicBezTo>
                    <a:pt x="55" y="52"/>
                    <a:pt x="55" y="53"/>
                    <a:pt x="55" y="53"/>
                  </a:cubicBezTo>
                  <a:cubicBezTo>
                    <a:pt x="55" y="55"/>
                    <a:pt x="54" y="57"/>
                    <a:pt x="51" y="59"/>
                  </a:cubicBezTo>
                  <a:cubicBezTo>
                    <a:pt x="47" y="62"/>
                    <a:pt x="47" y="62"/>
                    <a:pt x="48" y="63"/>
                  </a:cubicBezTo>
                  <a:cubicBezTo>
                    <a:pt x="49" y="68"/>
                    <a:pt x="48" y="73"/>
                    <a:pt x="44" y="80"/>
                  </a:cubicBezTo>
                  <a:cubicBezTo>
                    <a:pt x="41" y="83"/>
                    <a:pt x="40" y="88"/>
                    <a:pt x="40" y="88"/>
                  </a:cubicBezTo>
                  <a:cubicBezTo>
                    <a:pt x="40" y="88"/>
                    <a:pt x="40" y="88"/>
                    <a:pt x="40" y="88"/>
                  </a:cubicBezTo>
                  <a:cubicBezTo>
                    <a:pt x="39" y="89"/>
                    <a:pt x="39" y="89"/>
                    <a:pt x="39" y="89"/>
                  </a:cubicBezTo>
                  <a:cubicBezTo>
                    <a:pt x="39" y="89"/>
                    <a:pt x="38" y="91"/>
                    <a:pt x="35" y="94"/>
                  </a:cubicBezTo>
                  <a:cubicBezTo>
                    <a:pt x="34" y="95"/>
                    <a:pt x="34" y="95"/>
                    <a:pt x="34" y="95"/>
                  </a:cubicBezTo>
                  <a:cubicBezTo>
                    <a:pt x="32" y="94"/>
                    <a:pt x="32" y="94"/>
                    <a:pt x="32" y="94"/>
                  </a:cubicBezTo>
                  <a:cubicBezTo>
                    <a:pt x="29" y="93"/>
                    <a:pt x="25" y="92"/>
                    <a:pt x="23" y="92"/>
                  </a:cubicBezTo>
                  <a:cubicBezTo>
                    <a:pt x="23" y="93"/>
                    <a:pt x="23" y="93"/>
                    <a:pt x="23" y="93"/>
                  </a:cubicBezTo>
                  <a:cubicBezTo>
                    <a:pt x="25" y="96"/>
                    <a:pt x="24" y="103"/>
                    <a:pt x="23" y="108"/>
                  </a:cubicBezTo>
                  <a:cubicBezTo>
                    <a:pt x="22" y="110"/>
                    <a:pt x="21" y="111"/>
                    <a:pt x="20" y="111"/>
                  </a:cubicBezTo>
                  <a:cubicBezTo>
                    <a:pt x="20" y="111"/>
                    <a:pt x="19" y="111"/>
                    <a:pt x="19" y="111"/>
                  </a:cubicBezTo>
                  <a:cubicBezTo>
                    <a:pt x="19" y="111"/>
                    <a:pt x="18" y="111"/>
                    <a:pt x="18" y="111"/>
                  </a:cubicBezTo>
                  <a:cubicBezTo>
                    <a:pt x="18" y="114"/>
                    <a:pt x="18" y="114"/>
                    <a:pt x="18" y="114"/>
                  </a:cubicBezTo>
                  <a:cubicBezTo>
                    <a:pt x="18" y="118"/>
                    <a:pt x="18" y="118"/>
                    <a:pt x="18" y="118"/>
                  </a:cubicBezTo>
                  <a:cubicBezTo>
                    <a:pt x="19" y="127"/>
                    <a:pt x="19" y="127"/>
                    <a:pt x="19" y="127"/>
                  </a:cubicBezTo>
                  <a:cubicBezTo>
                    <a:pt x="14" y="132"/>
                    <a:pt x="14" y="132"/>
                    <a:pt x="14" y="132"/>
                  </a:cubicBezTo>
                  <a:cubicBezTo>
                    <a:pt x="12" y="131"/>
                    <a:pt x="12" y="131"/>
                    <a:pt x="12" y="131"/>
                  </a:cubicBezTo>
                  <a:cubicBezTo>
                    <a:pt x="9" y="134"/>
                    <a:pt x="9" y="134"/>
                    <a:pt x="9" y="134"/>
                  </a:cubicBezTo>
                  <a:cubicBezTo>
                    <a:pt x="9" y="140"/>
                    <a:pt x="9" y="140"/>
                    <a:pt x="9" y="140"/>
                  </a:cubicBezTo>
                  <a:cubicBezTo>
                    <a:pt x="10" y="141"/>
                    <a:pt x="10" y="142"/>
                    <a:pt x="10" y="143"/>
                  </a:cubicBezTo>
                  <a:cubicBezTo>
                    <a:pt x="10" y="143"/>
                    <a:pt x="9" y="144"/>
                    <a:pt x="10" y="144"/>
                  </a:cubicBezTo>
                  <a:cubicBezTo>
                    <a:pt x="10" y="149"/>
                    <a:pt x="10" y="149"/>
                    <a:pt x="10" y="149"/>
                  </a:cubicBezTo>
                  <a:cubicBezTo>
                    <a:pt x="6" y="146"/>
                    <a:pt x="6" y="146"/>
                    <a:pt x="6" y="146"/>
                  </a:cubicBezTo>
                  <a:cubicBezTo>
                    <a:pt x="5" y="145"/>
                    <a:pt x="5" y="145"/>
                    <a:pt x="4" y="145"/>
                  </a:cubicBezTo>
                  <a:cubicBezTo>
                    <a:pt x="3" y="145"/>
                    <a:pt x="3" y="145"/>
                    <a:pt x="2" y="144"/>
                  </a:cubicBezTo>
                  <a:cubicBezTo>
                    <a:pt x="2" y="145"/>
                    <a:pt x="1" y="146"/>
                    <a:pt x="1" y="146"/>
                  </a:cubicBezTo>
                  <a:cubicBezTo>
                    <a:pt x="1" y="146"/>
                    <a:pt x="1" y="146"/>
                    <a:pt x="1" y="146"/>
                  </a:cubicBezTo>
                  <a:cubicBezTo>
                    <a:pt x="1" y="147"/>
                    <a:pt x="1" y="147"/>
                    <a:pt x="1" y="147"/>
                  </a:cubicBezTo>
                  <a:cubicBezTo>
                    <a:pt x="2" y="148"/>
                    <a:pt x="2" y="148"/>
                    <a:pt x="2" y="148"/>
                  </a:cubicBezTo>
                  <a:cubicBezTo>
                    <a:pt x="1" y="148"/>
                    <a:pt x="1" y="148"/>
                    <a:pt x="1" y="148"/>
                  </a:cubicBezTo>
                  <a:cubicBezTo>
                    <a:pt x="2" y="149"/>
                    <a:pt x="2" y="149"/>
                    <a:pt x="2" y="149"/>
                  </a:cubicBezTo>
                  <a:cubicBezTo>
                    <a:pt x="0" y="150"/>
                    <a:pt x="0" y="150"/>
                    <a:pt x="0" y="150"/>
                  </a:cubicBezTo>
                  <a:cubicBezTo>
                    <a:pt x="1" y="151"/>
                    <a:pt x="1" y="152"/>
                    <a:pt x="2" y="153"/>
                  </a:cubicBezTo>
                  <a:cubicBezTo>
                    <a:pt x="2" y="153"/>
                    <a:pt x="2" y="153"/>
                    <a:pt x="2" y="153"/>
                  </a:cubicBezTo>
                  <a:cubicBezTo>
                    <a:pt x="3" y="154"/>
                    <a:pt x="3" y="156"/>
                    <a:pt x="4" y="158"/>
                  </a:cubicBezTo>
                  <a:cubicBezTo>
                    <a:pt x="5" y="159"/>
                    <a:pt x="6" y="161"/>
                    <a:pt x="7" y="162"/>
                  </a:cubicBezTo>
                  <a:cubicBezTo>
                    <a:pt x="7" y="163"/>
                    <a:pt x="8" y="164"/>
                    <a:pt x="9" y="164"/>
                  </a:cubicBezTo>
                  <a:cubicBezTo>
                    <a:pt x="8" y="163"/>
                    <a:pt x="8" y="162"/>
                    <a:pt x="8" y="161"/>
                  </a:cubicBezTo>
                  <a:cubicBezTo>
                    <a:pt x="8" y="160"/>
                    <a:pt x="8" y="158"/>
                    <a:pt x="8" y="157"/>
                  </a:cubicBezTo>
                  <a:cubicBezTo>
                    <a:pt x="8" y="158"/>
                    <a:pt x="9" y="159"/>
                    <a:pt x="9" y="160"/>
                  </a:cubicBezTo>
                  <a:cubicBezTo>
                    <a:pt x="10" y="161"/>
                    <a:pt x="10" y="162"/>
                    <a:pt x="11" y="163"/>
                  </a:cubicBezTo>
                  <a:cubicBezTo>
                    <a:pt x="11" y="163"/>
                    <a:pt x="10" y="164"/>
                    <a:pt x="10" y="164"/>
                  </a:cubicBezTo>
                  <a:cubicBezTo>
                    <a:pt x="10" y="165"/>
                    <a:pt x="11" y="165"/>
                    <a:pt x="11" y="166"/>
                  </a:cubicBezTo>
                  <a:cubicBezTo>
                    <a:pt x="12" y="166"/>
                    <a:pt x="12" y="166"/>
                    <a:pt x="12" y="166"/>
                  </a:cubicBezTo>
                  <a:cubicBezTo>
                    <a:pt x="12" y="165"/>
                    <a:pt x="12" y="165"/>
                    <a:pt x="13" y="164"/>
                  </a:cubicBezTo>
                  <a:cubicBezTo>
                    <a:pt x="13" y="163"/>
                    <a:pt x="14" y="161"/>
                    <a:pt x="14" y="160"/>
                  </a:cubicBezTo>
                  <a:cubicBezTo>
                    <a:pt x="15" y="161"/>
                    <a:pt x="15" y="161"/>
                    <a:pt x="14" y="162"/>
                  </a:cubicBezTo>
                  <a:cubicBezTo>
                    <a:pt x="14" y="162"/>
                    <a:pt x="14" y="162"/>
                    <a:pt x="14" y="162"/>
                  </a:cubicBezTo>
                  <a:cubicBezTo>
                    <a:pt x="15" y="162"/>
                    <a:pt x="15" y="162"/>
                    <a:pt x="15" y="162"/>
                  </a:cubicBezTo>
                  <a:cubicBezTo>
                    <a:pt x="15" y="164"/>
                    <a:pt x="13" y="167"/>
                    <a:pt x="13" y="168"/>
                  </a:cubicBezTo>
                  <a:cubicBezTo>
                    <a:pt x="13" y="169"/>
                    <a:pt x="14" y="169"/>
                    <a:pt x="14" y="170"/>
                  </a:cubicBezTo>
                  <a:cubicBezTo>
                    <a:pt x="14" y="170"/>
                    <a:pt x="14" y="170"/>
                    <a:pt x="14" y="170"/>
                  </a:cubicBezTo>
                  <a:cubicBezTo>
                    <a:pt x="15" y="171"/>
                    <a:pt x="15" y="172"/>
                    <a:pt x="16" y="173"/>
                  </a:cubicBezTo>
                  <a:cubicBezTo>
                    <a:pt x="15" y="170"/>
                    <a:pt x="16" y="169"/>
                    <a:pt x="18" y="169"/>
                  </a:cubicBezTo>
                  <a:cubicBezTo>
                    <a:pt x="18" y="169"/>
                    <a:pt x="19" y="169"/>
                    <a:pt x="20" y="169"/>
                  </a:cubicBezTo>
                  <a:cubicBezTo>
                    <a:pt x="20" y="169"/>
                    <a:pt x="21" y="169"/>
                    <a:pt x="22" y="169"/>
                  </a:cubicBezTo>
                  <a:cubicBezTo>
                    <a:pt x="24" y="170"/>
                    <a:pt x="27" y="170"/>
                    <a:pt x="27" y="171"/>
                  </a:cubicBezTo>
                  <a:cubicBezTo>
                    <a:pt x="27" y="172"/>
                    <a:pt x="27" y="172"/>
                    <a:pt x="27" y="172"/>
                  </a:cubicBezTo>
                  <a:cubicBezTo>
                    <a:pt x="27" y="172"/>
                    <a:pt x="27" y="172"/>
                    <a:pt x="27" y="172"/>
                  </a:cubicBezTo>
                  <a:cubicBezTo>
                    <a:pt x="26" y="172"/>
                    <a:pt x="26" y="172"/>
                    <a:pt x="26" y="172"/>
                  </a:cubicBezTo>
                  <a:cubicBezTo>
                    <a:pt x="26" y="173"/>
                    <a:pt x="26" y="173"/>
                    <a:pt x="26" y="173"/>
                  </a:cubicBezTo>
                  <a:cubicBezTo>
                    <a:pt x="25" y="175"/>
                    <a:pt x="27" y="175"/>
                    <a:pt x="29" y="175"/>
                  </a:cubicBezTo>
                  <a:cubicBezTo>
                    <a:pt x="27" y="177"/>
                    <a:pt x="28" y="177"/>
                    <a:pt x="28" y="178"/>
                  </a:cubicBezTo>
                  <a:cubicBezTo>
                    <a:pt x="29" y="178"/>
                    <a:pt x="29" y="178"/>
                    <a:pt x="29" y="179"/>
                  </a:cubicBezTo>
                  <a:cubicBezTo>
                    <a:pt x="30" y="179"/>
                    <a:pt x="31" y="181"/>
                    <a:pt x="32" y="182"/>
                  </a:cubicBezTo>
                  <a:cubicBezTo>
                    <a:pt x="32" y="182"/>
                    <a:pt x="32" y="182"/>
                    <a:pt x="32" y="182"/>
                  </a:cubicBezTo>
                  <a:cubicBezTo>
                    <a:pt x="31" y="183"/>
                    <a:pt x="30" y="184"/>
                    <a:pt x="30" y="185"/>
                  </a:cubicBezTo>
                  <a:cubicBezTo>
                    <a:pt x="30" y="185"/>
                    <a:pt x="30" y="185"/>
                    <a:pt x="29" y="184"/>
                  </a:cubicBezTo>
                  <a:cubicBezTo>
                    <a:pt x="29" y="184"/>
                    <a:pt x="28" y="184"/>
                    <a:pt x="27" y="184"/>
                  </a:cubicBezTo>
                  <a:cubicBezTo>
                    <a:pt x="26" y="183"/>
                    <a:pt x="26" y="183"/>
                    <a:pt x="26" y="182"/>
                  </a:cubicBezTo>
                  <a:cubicBezTo>
                    <a:pt x="25" y="181"/>
                    <a:pt x="25" y="181"/>
                    <a:pt x="25" y="181"/>
                  </a:cubicBezTo>
                  <a:cubicBezTo>
                    <a:pt x="24" y="181"/>
                    <a:pt x="24" y="181"/>
                    <a:pt x="24" y="181"/>
                  </a:cubicBezTo>
                  <a:cubicBezTo>
                    <a:pt x="23" y="181"/>
                    <a:pt x="23" y="182"/>
                    <a:pt x="24" y="183"/>
                  </a:cubicBezTo>
                  <a:cubicBezTo>
                    <a:pt x="24" y="184"/>
                    <a:pt x="26" y="187"/>
                    <a:pt x="26" y="188"/>
                  </a:cubicBezTo>
                  <a:cubicBezTo>
                    <a:pt x="26" y="188"/>
                    <a:pt x="26" y="188"/>
                    <a:pt x="26" y="188"/>
                  </a:cubicBezTo>
                  <a:cubicBezTo>
                    <a:pt x="27" y="189"/>
                    <a:pt x="29" y="190"/>
                    <a:pt x="30" y="191"/>
                  </a:cubicBezTo>
                  <a:cubicBezTo>
                    <a:pt x="30" y="192"/>
                    <a:pt x="31" y="192"/>
                    <a:pt x="31" y="192"/>
                  </a:cubicBezTo>
                  <a:cubicBezTo>
                    <a:pt x="31" y="191"/>
                    <a:pt x="31" y="191"/>
                    <a:pt x="31" y="190"/>
                  </a:cubicBezTo>
                  <a:cubicBezTo>
                    <a:pt x="31" y="189"/>
                    <a:pt x="31" y="187"/>
                    <a:pt x="31" y="186"/>
                  </a:cubicBezTo>
                  <a:cubicBezTo>
                    <a:pt x="31" y="186"/>
                    <a:pt x="31" y="185"/>
                    <a:pt x="30" y="185"/>
                  </a:cubicBezTo>
                  <a:cubicBezTo>
                    <a:pt x="31" y="185"/>
                    <a:pt x="31" y="185"/>
                    <a:pt x="31" y="185"/>
                  </a:cubicBezTo>
                  <a:cubicBezTo>
                    <a:pt x="32" y="184"/>
                    <a:pt x="33" y="183"/>
                    <a:pt x="33" y="182"/>
                  </a:cubicBezTo>
                  <a:cubicBezTo>
                    <a:pt x="34" y="184"/>
                    <a:pt x="34" y="186"/>
                    <a:pt x="34" y="187"/>
                  </a:cubicBezTo>
                  <a:cubicBezTo>
                    <a:pt x="33" y="189"/>
                    <a:pt x="33" y="190"/>
                    <a:pt x="33" y="191"/>
                  </a:cubicBezTo>
                  <a:cubicBezTo>
                    <a:pt x="33" y="193"/>
                    <a:pt x="34" y="192"/>
                    <a:pt x="35" y="193"/>
                  </a:cubicBezTo>
                  <a:cubicBezTo>
                    <a:pt x="35" y="194"/>
                    <a:pt x="35" y="194"/>
                    <a:pt x="35" y="194"/>
                  </a:cubicBezTo>
                  <a:cubicBezTo>
                    <a:pt x="36" y="195"/>
                    <a:pt x="37" y="197"/>
                    <a:pt x="38" y="198"/>
                  </a:cubicBezTo>
                  <a:cubicBezTo>
                    <a:pt x="38" y="200"/>
                    <a:pt x="39" y="202"/>
                    <a:pt x="40" y="203"/>
                  </a:cubicBezTo>
                  <a:cubicBezTo>
                    <a:pt x="40" y="205"/>
                    <a:pt x="41" y="207"/>
                    <a:pt x="41" y="209"/>
                  </a:cubicBezTo>
                  <a:cubicBezTo>
                    <a:pt x="42" y="210"/>
                    <a:pt x="42" y="210"/>
                    <a:pt x="42" y="210"/>
                  </a:cubicBezTo>
                  <a:cubicBezTo>
                    <a:pt x="42" y="211"/>
                    <a:pt x="42" y="213"/>
                    <a:pt x="43" y="215"/>
                  </a:cubicBezTo>
                  <a:cubicBezTo>
                    <a:pt x="43" y="217"/>
                    <a:pt x="44" y="219"/>
                    <a:pt x="43" y="220"/>
                  </a:cubicBezTo>
                  <a:cubicBezTo>
                    <a:pt x="43" y="221"/>
                    <a:pt x="42" y="222"/>
                    <a:pt x="42" y="223"/>
                  </a:cubicBezTo>
                  <a:cubicBezTo>
                    <a:pt x="41" y="225"/>
                    <a:pt x="41" y="227"/>
                    <a:pt x="41" y="230"/>
                  </a:cubicBezTo>
                  <a:cubicBezTo>
                    <a:pt x="40" y="231"/>
                    <a:pt x="40" y="232"/>
                    <a:pt x="40" y="232"/>
                  </a:cubicBezTo>
                  <a:cubicBezTo>
                    <a:pt x="40" y="235"/>
                    <a:pt x="39" y="238"/>
                    <a:pt x="39" y="241"/>
                  </a:cubicBezTo>
                  <a:cubicBezTo>
                    <a:pt x="38" y="244"/>
                    <a:pt x="38" y="247"/>
                    <a:pt x="37" y="249"/>
                  </a:cubicBezTo>
                  <a:cubicBezTo>
                    <a:pt x="39" y="248"/>
                    <a:pt x="41" y="246"/>
                    <a:pt x="43" y="245"/>
                  </a:cubicBezTo>
                  <a:cubicBezTo>
                    <a:pt x="44" y="244"/>
                    <a:pt x="44" y="244"/>
                    <a:pt x="44" y="244"/>
                  </a:cubicBezTo>
                  <a:cubicBezTo>
                    <a:pt x="44" y="243"/>
                    <a:pt x="44" y="243"/>
                    <a:pt x="44" y="243"/>
                  </a:cubicBezTo>
                  <a:cubicBezTo>
                    <a:pt x="45" y="242"/>
                    <a:pt x="45" y="240"/>
                    <a:pt x="46" y="238"/>
                  </a:cubicBezTo>
                  <a:cubicBezTo>
                    <a:pt x="46" y="239"/>
                    <a:pt x="46" y="241"/>
                    <a:pt x="46" y="242"/>
                  </a:cubicBezTo>
                  <a:cubicBezTo>
                    <a:pt x="46" y="243"/>
                    <a:pt x="46" y="243"/>
                    <a:pt x="45" y="244"/>
                  </a:cubicBezTo>
                  <a:cubicBezTo>
                    <a:pt x="45" y="245"/>
                    <a:pt x="43" y="248"/>
                    <a:pt x="43" y="249"/>
                  </a:cubicBezTo>
                  <a:cubicBezTo>
                    <a:pt x="44" y="249"/>
                    <a:pt x="44" y="250"/>
                    <a:pt x="44" y="250"/>
                  </a:cubicBezTo>
                  <a:cubicBezTo>
                    <a:pt x="44" y="250"/>
                    <a:pt x="44" y="249"/>
                    <a:pt x="45" y="249"/>
                  </a:cubicBezTo>
                  <a:cubicBezTo>
                    <a:pt x="46" y="248"/>
                    <a:pt x="46" y="247"/>
                    <a:pt x="48" y="245"/>
                  </a:cubicBezTo>
                  <a:cubicBezTo>
                    <a:pt x="47" y="246"/>
                    <a:pt x="47" y="247"/>
                    <a:pt x="47" y="248"/>
                  </a:cubicBezTo>
                  <a:cubicBezTo>
                    <a:pt x="46" y="249"/>
                    <a:pt x="46" y="250"/>
                    <a:pt x="46" y="251"/>
                  </a:cubicBezTo>
                  <a:cubicBezTo>
                    <a:pt x="47" y="251"/>
                    <a:pt x="48" y="250"/>
                    <a:pt x="48" y="249"/>
                  </a:cubicBezTo>
                  <a:cubicBezTo>
                    <a:pt x="48" y="248"/>
                    <a:pt x="49" y="248"/>
                    <a:pt x="49" y="248"/>
                  </a:cubicBezTo>
                  <a:cubicBezTo>
                    <a:pt x="49" y="247"/>
                    <a:pt x="49" y="247"/>
                    <a:pt x="49" y="246"/>
                  </a:cubicBezTo>
                  <a:cubicBezTo>
                    <a:pt x="49" y="246"/>
                    <a:pt x="49" y="246"/>
                    <a:pt x="49" y="246"/>
                  </a:cubicBezTo>
                  <a:cubicBezTo>
                    <a:pt x="49" y="246"/>
                    <a:pt x="49" y="246"/>
                    <a:pt x="49" y="246"/>
                  </a:cubicBezTo>
                  <a:cubicBezTo>
                    <a:pt x="50" y="248"/>
                    <a:pt x="50" y="250"/>
                    <a:pt x="51" y="252"/>
                  </a:cubicBezTo>
                  <a:cubicBezTo>
                    <a:pt x="51" y="252"/>
                    <a:pt x="51" y="253"/>
                    <a:pt x="51" y="253"/>
                  </a:cubicBezTo>
                  <a:cubicBezTo>
                    <a:pt x="52" y="252"/>
                    <a:pt x="52" y="252"/>
                    <a:pt x="53" y="250"/>
                  </a:cubicBezTo>
                  <a:cubicBezTo>
                    <a:pt x="53" y="250"/>
                    <a:pt x="53" y="250"/>
                    <a:pt x="53" y="249"/>
                  </a:cubicBezTo>
                  <a:cubicBezTo>
                    <a:pt x="53" y="249"/>
                    <a:pt x="53" y="249"/>
                    <a:pt x="53" y="249"/>
                  </a:cubicBezTo>
                  <a:cubicBezTo>
                    <a:pt x="53" y="248"/>
                    <a:pt x="54" y="246"/>
                    <a:pt x="55" y="246"/>
                  </a:cubicBezTo>
                  <a:cubicBezTo>
                    <a:pt x="55" y="246"/>
                    <a:pt x="55" y="246"/>
                    <a:pt x="55" y="247"/>
                  </a:cubicBezTo>
                  <a:cubicBezTo>
                    <a:pt x="55" y="247"/>
                    <a:pt x="55" y="247"/>
                    <a:pt x="55" y="247"/>
                  </a:cubicBezTo>
                  <a:cubicBezTo>
                    <a:pt x="54" y="249"/>
                    <a:pt x="53" y="253"/>
                    <a:pt x="55" y="253"/>
                  </a:cubicBezTo>
                  <a:cubicBezTo>
                    <a:pt x="55" y="253"/>
                    <a:pt x="55" y="253"/>
                    <a:pt x="55" y="253"/>
                  </a:cubicBezTo>
                  <a:cubicBezTo>
                    <a:pt x="57" y="251"/>
                    <a:pt x="57" y="251"/>
                    <a:pt x="57" y="251"/>
                  </a:cubicBezTo>
                  <a:cubicBezTo>
                    <a:pt x="58" y="250"/>
                    <a:pt x="58" y="248"/>
                    <a:pt x="58" y="246"/>
                  </a:cubicBezTo>
                  <a:cubicBezTo>
                    <a:pt x="59" y="248"/>
                    <a:pt x="58" y="250"/>
                    <a:pt x="58" y="252"/>
                  </a:cubicBezTo>
                  <a:cubicBezTo>
                    <a:pt x="58" y="253"/>
                    <a:pt x="58" y="254"/>
                    <a:pt x="58" y="254"/>
                  </a:cubicBezTo>
                  <a:cubicBezTo>
                    <a:pt x="59" y="254"/>
                    <a:pt x="59" y="254"/>
                    <a:pt x="59" y="254"/>
                  </a:cubicBezTo>
                  <a:cubicBezTo>
                    <a:pt x="62" y="252"/>
                    <a:pt x="63" y="248"/>
                    <a:pt x="65" y="245"/>
                  </a:cubicBezTo>
                  <a:cubicBezTo>
                    <a:pt x="65" y="244"/>
                    <a:pt x="66" y="244"/>
                    <a:pt x="67" y="244"/>
                  </a:cubicBezTo>
                  <a:cubicBezTo>
                    <a:pt x="67" y="244"/>
                    <a:pt x="67" y="244"/>
                    <a:pt x="68" y="244"/>
                  </a:cubicBezTo>
                  <a:cubicBezTo>
                    <a:pt x="68" y="244"/>
                    <a:pt x="69" y="244"/>
                    <a:pt x="69" y="244"/>
                  </a:cubicBezTo>
                  <a:cubicBezTo>
                    <a:pt x="69" y="244"/>
                    <a:pt x="70" y="244"/>
                    <a:pt x="70" y="244"/>
                  </a:cubicBezTo>
                  <a:cubicBezTo>
                    <a:pt x="72" y="243"/>
                    <a:pt x="72" y="242"/>
                    <a:pt x="71" y="241"/>
                  </a:cubicBezTo>
                  <a:cubicBezTo>
                    <a:pt x="72" y="241"/>
                    <a:pt x="77" y="241"/>
                    <a:pt x="77" y="240"/>
                  </a:cubicBezTo>
                  <a:cubicBezTo>
                    <a:pt x="77" y="239"/>
                    <a:pt x="76" y="239"/>
                    <a:pt x="76" y="239"/>
                  </a:cubicBezTo>
                  <a:cubicBezTo>
                    <a:pt x="76" y="239"/>
                    <a:pt x="76" y="238"/>
                    <a:pt x="76" y="238"/>
                  </a:cubicBezTo>
                  <a:cubicBezTo>
                    <a:pt x="77" y="237"/>
                    <a:pt x="77" y="237"/>
                    <a:pt x="77" y="237"/>
                  </a:cubicBezTo>
                  <a:cubicBezTo>
                    <a:pt x="77" y="238"/>
                    <a:pt x="78" y="238"/>
                    <a:pt x="79" y="238"/>
                  </a:cubicBezTo>
                  <a:cubicBezTo>
                    <a:pt x="79" y="238"/>
                    <a:pt x="79" y="238"/>
                    <a:pt x="79" y="238"/>
                  </a:cubicBezTo>
                  <a:cubicBezTo>
                    <a:pt x="80" y="238"/>
                    <a:pt x="80" y="238"/>
                    <a:pt x="81" y="238"/>
                  </a:cubicBezTo>
                  <a:cubicBezTo>
                    <a:pt x="83" y="237"/>
                    <a:pt x="84" y="236"/>
                    <a:pt x="85" y="234"/>
                  </a:cubicBezTo>
                  <a:cubicBezTo>
                    <a:pt x="86" y="233"/>
                    <a:pt x="86" y="233"/>
                    <a:pt x="86" y="231"/>
                  </a:cubicBezTo>
                  <a:cubicBezTo>
                    <a:pt x="86" y="231"/>
                    <a:pt x="86" y="231"/>
                    <a:pt x="86" y="231"/>
                  </a:cubicBezTo>
                  <a:cubicBezTo>
                    <a:pt x="87" y="228"/>
                    <a:pt x="88" y="225"/>
                    <a:pt x="88" y="222"/>
                  </a:cubicBezTo>
                  <a:cubicBezTo>
                    <a:pt x="88" y="221"/>
                    <a:pt x="88" y="221"/>
                    <a:pt x="87" y="220"/>
                  </a:cubicBezTo>
                  <a:cubicBezTo>
                    <a:pt x="88" y="220"/>
                    <a:pt x="88" y="221"/>
                    <a:pt x="89" y="221"/>
                  </a:cubicBezTo>
                  <a:cubicBezTo>
                    <a:pt x="90" y="223"/>
                    <a:pt x="91" y="224"/>
                    <a:pt x="92" y="225"/>
                  </a:cubicBezTo>
                  <a:cubicBezTo>
                    <a:pt x="93" y="226"/>
                    <a:pt x="93" y="228"/>
                    <a:pt x="94" y="229"/>
                  </a:cubicBezTo>
                  <a:cubicBezTo>
                    <a:pt x="94" y="231"/>
                    <a:pt x="94" y="231"/>
                    <a:pt x="94" y="231"/>
                  </a:cubicBezTo>
                  <a:cubicBezTo>
                    <a:pt x="94" y="232"/>
                    <a:pt x="95" y="234"/>
                    <a:pt x="96" y="236"/>
                  </a:cubicBezTo>
                  <a:cubicBezTo>
                    <a:pt x="96" y="237"/>
                    <a:pt x="96" y="238"/>
                    <a:pt x="97" y="239"/>
                  </a:cubicBezTo>
                  <a:cubicBezTo>
                    <a:pt x="98" y="238"/>
                    <a:pt x="100" y="237"/>
                    <a:pt x="102" y="237"/>
                  </a:cubicBezTo>
                  <a:cubicBezTo>
                    <a:pt x="102" y="237"/>
                    <a:pt x="103" y="237"/>
                    <a:pt x="103" y="237"/>
                  </a:cubicBezTo>
                  <a:cubicBezTo>
                    <a:pt x="103" y="237"/>
                    <a:pt x="104" y="237"/>
                    <a:pt x="104" y="237"/>
                  </a:cubicBezTo>
                  <a:cubicBezTo>
                    <a:pt x="101" y="238"/>
                    <a:pt x="101" y="243"/>
                    <a:pt x="101" y="245"/>
                  </a:cubicBezTo>
                  <a:cubicBezTo>
                    <a:pt x="101" y="246"/>
                    <a:pt x="101" y="246"/>
                    <a:pt x="101" y="246"/>
                  </a:cubicBezTo>
                  <a:cubicBezTo>
                    <a:pt x="101" y="248"/>
                    <a:pt x="102" y="250"/>
                    <a:pt x="103" y="251"/>
                  </a:cubicBezTo>
                  <a:cubicBezTo>
                    <a:pt x="103" y="252"/>
                    <a:pt x="103" y="253"/>
                    <a:pt x="104" y="254"/>
                  </a:cubicBezTo>
                  <a:cubicBezTo>
                    <a:pt x="104" y="255"/>
                    <a:pt x="104" y="255"/>
                    <a:pt x="104" y="256"/>
                  </a:cubicBezTo>
                  <a:cubicBezTo>
                    <a:pt x="104" y="256"/>
                    <a:pt x="104" y="257"/>
                    <a:pt x="104" y="257"/>
                  </a:cubicBezTo>
                  <a:cubicBezTo>
                    <a:pt x="104" y="260"/>
                    <a:pt x="104" y="262"/>
                    <a:pt x="104" y="264"/>
                  </a:cubicBezTo>
                  <a:cubicBezTo>
                    <a:pt x="105" y="266"/>
                    <a:pt x="105" y="267"/>
                    <a:pt x="105" y="269"/>
                  </a:cubicBezTo>
                  <a:cubicBezTo>
                    <a:pt x="105" y="270"/>
                    <a:pt x="105" y="270"/>
                    <a:pt x="105" y="271"/>
                  </a:cubicBezTo>
                  <a:cubicBezTo>
                    <a:pt x="106" y="272"/>
                    <a:pt x="108" y="273"/>
                    <a:pt x="109" y="275"/>
                  </a:cubicBezTo>
                  <a:cubicBezTo>
                    <a:pt x="109" y="275"/>
                    <a:pt x="109" y="275"/>
                    <a:pt x="109" y="275"/>
                  </a:cubicBezTo>
                  <a:cubicBezTo>
                    <a:pt x="109" y="275"/>
                    <a:pt x="109" y="275"/>
                    <a:pt x="109" y="275"/>
                  </a:cubicBezTo>
                  <a:cubicBezTo>
                    <a:pt x="109" y="275"/>
                    <a:pt x="109" y="275"/>
                    <a:pt x="109" y="275"/>
                  </a:cubicBezTo>
                  <a:cubicBezTo>
                    <a:pt x="109" y="275"/>
                    <a:pt x="109" y="275"/>
                    <a:pt x="109" y="275"/>
                  </a:cubicBezTo>
                  <a:cubicBezTo>
                    <a:pt x="109" y="277"/>
                    <a:pt x="109" y="279"/>
                    <a:pt x="109" y="282"/>
                  </a:cubicBezTo>
                  <a:cubicBezTo>
                    <a:pt x="109" y="284"/>
                    <a:pt x="110" y="286"/>
                    <a:pt x="110" y="288"/>
                  </a:cubicBezTo>
                  <a:cubicBezTo>
                    <a:pt x="110" y="290"/>
                    <a:pt x="111" y="292"/>
                    <a:pt x="111" y="294"/>
                  </a:cubicBezTo>
                  <a:cubicBezTo>
                    <a:pt x="111" y="295"/>
                    <a:pt x="111" y="296"/>
                    <a:pt x="112" y="296"/>
                  </a:cubicBezTo>
                  <a:cubicBezTo>
                    <a:pt x="112" y="296"/>
                    <a:pt x="112" y="296"/>
                    <a:pt x="112" y="296"/>
                  </a:cubicBezTo>
                  <a:cubicBezTo>
                    <a:pt x="112" y="295"/>
                    <a:pt x="112" y="294"/>
                    <a:pt x="112" y="293"/>
                  </a:cubicBezTo>
                  <a:cubicBezTo>
                    <a:pt x="112" y="293"/>
                    <a:pt x="112" y="293"/>
                    <a:pt x="112" y="293"/>
                  </a:cubicBezTo>
                  <a:cubicBezTo>
                    <a:pt x="113" y="291"/>
                    <a:pt x="112" y="289"/>
                    <a:pt x="112" y="287"/>
                  </a:cubicBezTo>
                  <a:cubicBezTo>
                    <a:pt x="113" y="287"/>
                    <a:pt x="114" y="289"/>
                    <a:pt x="115" y="291"/>
                  </a:cubicBezTo>
                  <a:cubicBezTo>
                    <a:pt x="116" y="293"/>
                    <a:pt x="116" y="295"/>
                    <a:pt x="117" y="296"/>
                  </a:cubicBezTo>
                  <a:cubicBezTo>
                    <a:pt x="117" y="298"/>
                    <a:pt x="118" y="299"/>
                    <a:pt x="118" y="300"/>
                  </a:cubicBezTo>
                  <a:cubicBezTo>
                    <a:pt x="118" y="301"/>
                    <a:pt x="118" y="301"/>
                    <a:pt x="119" y="302"/>
                  </a:cubicBezTo>
                  <a:cubicBezTo>
                    <a:pt x="119" y="304"/>
                    <a:pt x="120" y="305"/>
                    <a:pt x="121" y="307"/>
                  </a:cubicBezTo>
                  <a:cubicBezTo>
                    <a:pt x="121" y="309"/>
                    <a:pt x="122" y="311"/>
                    <a:pt x="122" y="312"/>
                  </a:cubicBezTo>
                  <a:cubicBezTo>
                    <a:pt x="122" y="313"/>
                    <a:pt x="122" y="313"/>
                    <a:pt x="122" y="313"/>
                  </a:cubicBezTo>
                  <a:cubicBezTo>
                    <a:pt x="121" y="315"/>
                    <a:pt x="120" y="317"/>
                    <a:pt x="120" y="319"/>
                  </a:cubicBezTo>
                  <a:cubicBezTo>
                    <a:pt x="120" y="320"/>
                    <a:pt x="120" y="321"/>
                    <a:pt x="119" y="321"/>
                  </a:cubicBezTo>
                  <a:cubicBezTo>
                    <a:pt x="120" y="321"/>
                    <a:pt x="121" y="321"/>
                    <a:pt x="121" y="321"/>
                  </a:cubicBezTo>
                  <a:cubicBezTo>
                    <a:pt x="122" y="322"/>
                    <a:pt x="122" y="322"/>
                    <a:pt x="122" y="322"/>
                  </a:cubicBezTo>
                  <a:cubicBezTo>
                    <a:pt x="122" y="322"/>
                    <a:pt x="121" y="325"/>
                    <a:pt x="121" y="325"/>
                  </a:cubicBezTo>
                  <a:cubicBezTo>
                    <a:pt x="121" y="326"/>
                    <a:pt x="121" y="327"/>
                    <a:pt x="121" y="327"/>
                  </a:cubicBezTo>
                  <a:cubicBezTo>
                    <a:pt x="120" y="326"/>
                    <a:pt x="119" y="325"/>
                    <a:pt x="118" y="325"/>
                  </a:cubicBezTo>
                  <a:cubicBezTo>
                    <a:pt x="118" y="325"/>
                    <a:pt x="118" y="325"/>
                    <a:pt x="118" y="325"/>
                  </a:cubicBezTo>
                  <a:cubicBezTo>
                    <a:pt x="117" y="325"/>
                    <a:pt x="117" y="325"/>
                    <a:pt x="117" y="325"/>
                  </a:cubicBezTo>
                  <a:cubicBezTo>
                    <a:pt x="117" y="326"/>
                    <a:pt x="117" y="326"/>
                    <a:pt x="117" y="326"/>
                  </a:cubicBezTo>
                  <a:cubicBezTo>
                    <a:pt x="117" y="328"/>
                    <a:pt x="118" y="328"/>
                    <a:pt x="118" y="328"/>
                  </a:cubicBezTo>
                  <a:cubicBezTo>
                    <a:pt x="119" y="328"/>
                    <a:pt x="120" y="327"/>
                    <a:pt x="121" y="327"/>
                  </a:cubicBezTo>
                  <a:cubicBezTo>
                    <a:pt x="121" y="328"/>
                    <a:pt x="121" y="328"/>
                    <a:pt x="121" y="328"/>
                  </a:cubicBezTo>
                  <a:cubicBezTo>
                    <a:pt x="120" y="328"/>
                    <a:pt x="120" y="328"/>
                    <a:pt x="120" y="328"/>
                  </a:cubicBezTo>
                  <a:cubicBezTo>
                    <a:pt x="120" y="328"/>
                    <a:pt x="120" y="329"/>
                    <a:pt x="120" y="330"/>
                  </a:cubicBezTo>
                  <a:cubicBezTo>
                    <a:pt x="120" y="331"/>
                    <a:pt x="120" y="331"/>
                    <a:pt x="120" y="331"/>
                  </a:cubicBezTo>
                  <a:cubicBezTo>
                    <a:pt x="121" y="332"/>
                    <a:pt x="121" y="332"/>
                    <a:pt x="122" y="332"/>
                  </a:cubicBezTo>
                  <a:cubicBezTo>
                    <a:pt x="123" y="332"/>
                    <a:pt x="123" y="331"/>
                    <a:pt x="124" y="329"/>
                  </a:cubicBezTo>
                  <a:cubicBezTo>
                    <a:pt x="126" y="332"/>
                    <a:pt x="124" y="331"/>
                    <a:pt x="124" y="332"/>
                  </a:cubicBezTo>
                  <a:cubicBezTo>
                    <a:pt x="123" y="333"/>
                    <a:pt x="123" y="333"/>
                    <a:pt x="123" y="335"/>
                  </a:cubicBezTo>
                  <a:cubicBezTo>
                    <a:pt x="123" y="335"/>
                    <a:pt x="123" y="335"/>
                    <a:pt x="123" y="335"/>
                  </a:cubicBezTo>
                  <a:cubicBezTo>
                    <a:pt x="123" y="337"/>
                    <a:pt x="123" y="340"/>
                    <a:pt x="123" y="342"/>
                  </a:cubicBezTo>
                  <a:cubicBezTo>
                    <a:pt x="123" y="343"/>
                    <a:pt x="123" y="344"/>
                    <a:pt x="122" y="345"/>
                  </a:cubicBezTo>
                  <a:cubicBezTo>
                    <a:pt x="122" y="347"/>
                    <a:pt x="120" y="349"/>
                    <a:pt x="118" y="350"/>
                  </a:cubicBezTo>
                  <a:cubicBezTo>
                    <a:pt x="117" y="351"/>
                    <a:pt x="118" y="353"/>
                    <a:pt x="118" y="354"/>
                  </a:cubicBezTo>
                  <a:cubicBezTo>
                    <a:pt x="118" y="356"/>
                    <a:pt x="119" y="357"/>
                    <a:pt x="119" y="357"/>
                  </a:cubicBezTo>
                  <a:cubicBezTo>
                    <a:pt x="119" y="359"/>
                    <a:pt x="119" y="360"/>
                    <a:pt x="118" y="361"/>
                  </a:cubicBezTo>
                  <a:cubicBezTo>
                    <a:pt x="119" y="361"/>
                    <a:pt x="119" y="361"/>
                    <a:pt x="119" y="361"/>
                  </a:cubicBezTo>
                  <a:cubicBezTo>
                    <a:pt x="122" y="353"/>
                    <a:pt x="122" y="353"/>
                    <a:pt x="122" y="353"/>
                  </a:cubicBezTo>
                  <a:cubicBezTo>
                    <a:pt x="123" y="350"/>
                    <a:pt x="125" y="347"/>
                    <a:pt x="127" y="345"/>
                  </a:cubicBezTo>
                  <a:cubicBezTo>
                    <a:pt x="128" y="344"/>
                    <a:pt x="130" y="342"/>
                    <a:pt x="131" y="340"/>
                  </a:cubicBezTo>
                  <a:cubicBezTo>
                    <a:pt x="132" y="338"/>
                    <a:pt x="134" y="336"/>
                    <a:pt x="135" y="334"/>
                  </a:cubicBezTo>
                  <a:cubicBezTo>
                    <a:pt x="136" y="332"/>
                    <a:pt x="137" y="331"/>
                    <a:pt x="137" y="330"/>
                  </a:cubicBezTo>
                  <a:cubicBezTo>
                    <a:pt x="137" y="329"/>
                    <a:pt x="137" y="327"/>
                    <a:pt x="137" y="326"/>
                  </a:cubicBezTo>
                  <a:cubicBezTo>
                    <a:pt x="137" y="326"/>
                    <a:pt x="137" y="326"/>
                    <a:pt x="137" y="326"/>
                  </a:cubicBezTo>
                  <a:cubicBezTo>
                    <a:pt x="136" y="326"/>
                    <a:pt x="136" y="326"/>
                    <a:pt x="136" y="326"/>
                  </a:cubicBezTo>
                  <a:cubicBezTo>
                    <a:pt x="135" y="324"/>
                    <a:pt x="135" y="324"/>
                    <a:pt x="135" y="324"/>
                  </a:cubicBezTo>
                  <a:cubicBezTo>
                    <a:pt x="135" y="322"/>
                    <a:pt x="134" y="320"/>
                    <a:pt x="134" y="319"/>
                  </a:cubicBezTo>
                  <a:cubicBezTo>
                    <a:pt x="134" y="318"/>
                    <a:pt x="134" y="318"/>
                    <a:pt x="134" y="318"/>
                  </a:cubicBezTo>
                  <a:cubicBezTo>
                    <a:pt x="134" y="317"/>
                    <a:pt x="134" y="317"/>
                    <a:pt x="134" y="317"/>
                  </a:cubicBezTo>
                  <a:cubicBezTo>
                    <a:pt x="134" y="315"/>
                    <a:pt x="133" y="313"/>
                    <a:pt x="131" y="312"/>
                  </a:cubicBezTo>
                  <a:cubicBezTo>
                    <a:pt x="131" y="311"/>
                    <a:pt x="130" y="311"/>
                    <a:pt x="130" y="310"/>
                  </a:cubicBezTo>
                  <a:cubicBezTo>
                    <a:pt x="130" y="309"/>
                    <a:pt x="130" y="309"/>
                    <a:pt x="130" y="309"/>
                  </a:cubicBezTo>
                  <a:cubicBezTo>
                    <a:pt x="129" y="308"/>
                    <a:pt x="128" y="307"/>
                    <a:pt x="128" y="305"/>
                  </a:cubicBezTo>
                  <a:cubicBezTo>
                    <a:pt x="128" y="304"/>
                    <a:pt x="129" y="303"/>
                    <a:pt x="129" y="302"/>
                  </a:cubicBezTo>
                  <a:cubicBezTo>
                    <a:pt x="129" y="302"/>
                    <a:pt x="129" y="302"/>
                    <a:pt x="129" y="302"/>
                  </a:cubicBezTo>
                  <a:cubicBezTo>
                    <a:pt x="129" y="302"/>
                    <a:pt x="129" y="301"/>
                    <a:pt x="129" y="301"/>
                  </a:cubicBezTo>
                  <a:cubicBezTo>
                    <a:pt x="129" y="300"/>
                    <a:pt x="129" y="300"/>
                    <a:pt x="129" y="300"/>
                  </a:cubicBezTo>
                  <a:cubicBezTo>
                    <a:pt x="129" y="299"/>
                    <a:pt x="129" y="299"/>
                    <a:pt x="129" y="298"/>
                  </a:cubicBezTo>
                  <a:cubicBezTo>
                    <a:pt x="129" y="296"/>
                    <a:pt x="129" y="294"/>
                    <a:pt x="129" y="294"/>
                  </a:cubicBezTo>
                  <a:cubicBezTo>
                    <a:pt x="129" y="293"/>
                    <a:pt x="129" y="293"/>
                    <a:pt x="129" y="293"/>
                  </a:cubicBezTo>
                  <a:cubicBezTo>
                    <a:pt x="129" y="293"/>
                    <a:pt x="128" y="293"/>
                    <a:pt x="128" y="292"/>
                  </a:cubicBezTo>
                  <a:cubicBezTo>
                    <a:pt x="128" y="292"/>
                    <a:pt x="127" y="291"/>
                    <a:pt x="127" y="291"/>
                  </a:cubicBezTo>
                  <a:cubicBezTo>
                    <a:pt x="127" y="291"/>
                    <a:pt x="127" y="291"/>
                    <a:pt x="127" y="291"/>
                  </a:cubicBezTo>
                  <a:cubicBezTo>
                    <a:pt x="126" y="290"/>
                    <a:pt x="126" y="290"/>
                    <a:pt x="126" y="290"/>
                  </a:cubicBezTo>
                  <a:cubicBezTo>
                    <a:pt x="123" y="287"/>
                    <a:pt x="123" y="287"/>
                    <a:pt x="123" y="287"/>
                  </a:cubicBezTo>
                  <a:cubicBezTo>
                    <a:pt x="123" y="286"/>
                    <a:pt x="122" y="286"/>
                    <a:pt x="122" y="285"/>
                  </a:cubicBezTo>
                  <a:cubicBezTo>
                    <a:pt x="121" y="284"/>
                    <a:pt x="121" y="284"/>
                    <a:pt x="121" y="284"/>
                  </a:cubicBezTo>
                  <a:cubicBezTo>
                    <a:pt x="118" y="280"/>
                    <a:pt x="115" y="277"/>
                    <a:pt x="112" y="272"/>
                  </a:cubicBezTo>
                  <a:cubicBezTo>
                    <a:pt x="111" y="270"/>
                    <a:pt x="111" y="268"/>
                    <a:pt x="110" y="266"/>
                  </a:cubicBezTo>
                  <a:cubicBezTo>
                    <a:pt x="111" y="261"/>
                    <a:pt x="113" y="261"/>
                    <a:pt x="115" y="260"/>
                  </a:cubicBezTo>
                  <a:cubicBezTo>
                    <a:pt x="116" y="260"/>
                    <a:pt x="116" y="260"/>
                    <a:pt x="116" y="260"/>
                  </a:cubicBezTo>
                  <a:cubicBezTo>
                    <a:pt x="116" y="260"/>
                    <a:pt x="117" y="260"/>
                    <a:pt x="117" y="260"/>
                  </a:cubicBezTo>
                  <a:cubicBezTo>
                    <a:pt x="118" y="259"/>
                    <a:pt x="118" y="259"/>
                    <a:pt x="118" y="259"/>
                  </a:cubicBezTo>
                  <a:cubicBezTo>
                    <a:pt x="118" y="259"/>
                    <a:pt x="118" y="259"/>
                    <a:pt x="118" y="259"/>
                  </a:cubicBezTo>
                  <a:cubicBezTo>
                    <a:pt x="118" y="258"/>
                    <a:pt x="118" y="257"/>
                    <a:pt x="118" y="256"/>
                  </a:cubicBezTo>
                  <a:cubicBezTo>
                    <a:pt x="118" y="253"/>
                    <a:pt x="118" y="253"/>
                    <a:pt x="118" y="253"/>
                  </a:cubicBezTo>
                  <a:cubicBezTo>
                    <a:pt x="118" y="252"/>
                    <a:pt x="117" y="250"/>
                    <a:pt x="117" y="248"/>
                  </a:cubicBezTo>
                  <a:cubicBezTo>
                    <a:pt x="118" y="246"/>
                    <a:pt x="119" y="245"/>
                    <a:pt x="121" y="244"/>
                  </a:cubicBezTo>
                  <a:cubicBezTo>
                    <a:pt x="120" y="244"/>
                    <a:pt x="120" y="244"/>
                    <a:pt x="120" y="244"/>
                  </a:cubicBezTo>
                  <a:cubicBezTo>
                    <a:pt x="120" y="243"/>
                    <a:pt x="119" y="241"/>
                    <a:pt x="119" y="240"/>
                  </a:cubicBezTo>
                  <a:cubicBezTo>
                    <a:pt x="119" y="240"/>
                    <a:pt x="119" y="239"/>
                    <a:pt x="119" y="238"/>
                  </a:cubicBezTo>
                  <a:cubicBezTo>
                    <a:pt x="118" y="237"/>
                    <a:pt x="118" y="236"/>
                    <a:pt x="118" y="235"/>
                  </a:cubicBezTo>
                  <a:cubicBezTo>
                    <a:pt x="118" y="234"/>
                    <a:pt x="117" y="233"/>
                    <a:pt x="117" y="232"/>
                  </a:cubicBezTo>
                  <a:cubicBezTo>
                    <a:pt x="117" y="232"/>
                    <a:pt x="117" y="232"/>
                    <a:pt x="117" y="232"/>
                  </a:cubicBezTo>
                  <a:cubicBezTo>
                    <a:pt x="116" y="231"/>
                    <a:pt x="116" y="231"/>
                    <a:pt x="116" y="231"/>
                  </a:cubicBezTo>
                  <a:cubicBezTo>
                    <a:pt x="116" y="230"/>
                    <a:pt x="116" y="230"/>
                    <a:pt x="116" y="230"/>
                  </a:cubicBezTo>
                  <a:cubicBezTo>
                    <a:pt x="116" y="230"/>
                    <a:pt x="116" y="230"/>
                    <a:pt x="116" y="230"/>
                  </a:cubicBezTo>
                  <a:cubicBezTo>
                    <a:pt x="115" y="230"/>
                    <a:pt x="115" y="230"/>
                    <a:pt x="115" y="230"/>
                  </a:cubicBezTo>
                  <a:cubicBezTo>
                    <a:pt x="114" y="229"/>
                    <a:pt x="113" y="229"/>
                    <a:pt x="112" y="228"/>
                  </a:cubicBezTo>
                  <a:cubicBezTo>
                    <a:pt x="112" y="227"/>
                    <a:pt x="112" y="227"/>
                    <a:pt x="112" y="227"/>
                  </a:cubicBezTo>
                  <a:cubicBezTo>
                    <a:pt x="110" y="225"/>
                    <a:pt x="109" y="224"/>
                    <a:pt x="108" y="222"/>
                  </a:cubicBezTo>
                  <a:cubicBezTo>
                    <a:pt x="106" y="219"/>
                    <a:pt x="104" y="217"/>
                    <a:pt x="101" y="214"/>
                  </a:cubicBezTo>
                  <a:cubicBezTo>
                    <a:pt x="100" y="213"/>
                    <a:pt x="101" y="211"/>
                    <a:pt x="101" y="210"/>
                  </a:cubicBezTo>
                  <a:cubicBezTo>
                    <a:pt x="102" y="209"/>
                    <a:pt x="102" y="209"/>
                    <a:pt x="102" y="209"/>
                  </a:cubicBezTo>
                  <a:cubicBezTo>
                    <a:pt x="101" y="209"/>
                    <a:pt x="101" y="209"/>
                    <a:pt x="101" y="209"/>
                  </a:cubicBezTo>
                  <a:cubicBezTo>
                    <a:pt x="101" y="208"/>
                    <a:pt x="101" y="208"/>
                    <a:pt x="101" y="208"/>
                  </a:cubicBezTo>
                  <a:cubicBezTo>
                    <a:pt x="100" y="207"/>
                    <a:pt x="100" y="206"/>
                    <a:pt x="100" y="206"/>
                  </a:cubicBezTo>
                  <a:cubicBezTo>
                    <a:pt x="100" y="206"/>
                    <a:pt x="100" y="206"/>
                    <a:pt x="100" y="206"/>
                  </a:cubicBezTo>
                  <a:cubicBezTo>
                    <a:pt x="99" y="206"/>
                    <a:pt x="99" y="206"/>
                    <a:pt x="99" y="206"/>
                  </a:cubicBezTo>
                  <a:cubicBezTo>
                    <a:pt x="97" y="204"/>
                    <a:pt x="96" y="202"/>
                    <a:pt x="95" y="200"/>
                  </a:cubicBezTo>
                  <a:cubicBezTo>
                    <a:pt x="93" y="196"/>
                    <a:pt x="93" y="196"/>
                    <a:pt x="93" y="196"/>
                  </a:cubicBezTo>
                  <a:cubicBezTo>
                    <a:pt x="97" y="196"/>
                    <a:pt x="97" y="196"/>
                    <a:pt x="97" y="196"/>
                  </a:cubicBezTo>
                  <a:cubicBezTo>
                    <a:pt x="97" y="196"/>
                    <a:pt x="98" y="196"/>
                    <a:pt x="99" y="196"/>
                  </a:cubicBezTo>
                  <a:cubicBezTo>
                    <a:pt x="99" y="196"/>
                    <a:pt x="100" y="196"/>
                    <a:pt x="101" y="196"/>
                  </a:cubicBezTo>
                  <a:cubicBezTo>
                    <a:pt x="101" y="196"/>
                    <a:pt x="102" y="196"/>
                    <a:pt x="102" y="196"/>
                  </a:cubicBezTo>
                  <a:cubicBezTo>
                    <a:pt x="102" y="196"/>
                    <a:pt x="102" y="196"/>
                    <a:pt x="102" y="196"/>
                  </a:cubicBezTo>
                  <a:cubicBezTo>
                    <a:pt x="102" y="195"/>
                    <a:pt x="102" y="195"/>
                    <a:pt x="102" y="195"/>
                  </a:cubicBezTo>
                  <a:cubicBezTo>
                    <a:pt x="102" y="194"/>
                    <a:pt x="102" y="194"/>
                    <a:pt x="102" y="194"/>
                  </a:cubicBezTo>
                  <a:cubicBezTo>
                    <a:pt x="102" y="193"/>
                    <a:pt x="102" y="192"/>
                    <a:pt x="102" y="191"/>
                  </a:cubicBezTo>
                  <a:cubicBezTo>
                    <a:pt x="102" y="190"/>
                    <a:pt x="102" y="190"/>
                    <a:pt x="102" y="189"/>
                  </a:cubicBezTo>
                  <a:cubicBezTo>
                    <a:pt x="103" y="187"/>
                    <a:pt x="103" y="185"/>
                    <a:pt x="104" y="183"/>
                  </a:cubicBezTo>
                  <a:cubicBezTo>
                    <a:pt x="104" y="178"/>
                    <a:pt x="104" y="177"/>
                    <a:pt x="107" y="173"/>
                  </a:cubicBezTo>
                  <a:cubicBezTo>
                    <a:pt x="107" y="173"/>
                    <a:pt x="108" y="172"/>
                    <a:pt x="108" y="172"/>
                  </a:cubicBezTo>
                  <a:cubicBezTo>
                    <a:pt x="109" y="172"/>
                    <a:pt x="110" y="171"/>
                    <a:pt x="110" y="171"/>
                  </a:cubicBezTo>
                  <a:cubicBezTo>
                    <a:pt x="111" y="171"/>
                    <a:pt x="112" y="172"/>
                    <a:pt x="112" y="172"/>
                  </a:cubicBezTo>
                  <a:cubicBezTo>
                    <a:pt x="113" y="172"/>
                    <a:pt x="113" y="172"/>
                    <a:pt x="113" y="172"/>
                  </a:cubicBezTo>
                  <a:cubicBezTo>
                    <a:pt x="115" y="173"/>
                    <a:pt x="116" y="173"/>
                    <a:pt x="117" y="173"/>
                  </a:cubicBezTo>
                  <a:cubicBezTo>
                    <a:pt x="117" y="173"/>
                    <a:pt x="118" y="173"/>
                    <a:pt x="118" y="173"/>
                  </a:cubicBezTo>
                  <a:cubicBezTo>
                    <a:pt x="118" y="173"/>
                    <a:pt x="118" y="173"/>
                    <a:pt x="118" y="173"/>
                  </a:cubicBezTo>
                  <a:cubicBezTo>
                    <a:pt x="119" y="173"/>
                    <a:pt x="119" y="173"/>
                    <a:pt x="120" y="173"/>
                  </a:cubicBezTo>
                  <a:cubicBezTo>
                    <a:pt x="119" y="168"/>
                    <a:pt x="119" y="168"/>
                    <a:pt x="119" y="168"/>
                  </a:cubicBezTo>
                  <a:cubicBezTo>
                    <a:pt x="121" y="173"/>
                    <a:pt x="121" y="173"/>
                    <a:pt x="121" y="173"/>
                  </a:cubicBezTo>
                  <a:cubicBezTo>
                    <a:pt x="121" y="173"/>
                    <a:pt x="121" y="173"/>
                    <a:pt x="121" y="173"/>
                  </a:cubicBezTo>
                  <a:cubicBezTo>
                    <a:pt x="122" y="173"/>
                    <a:pt x="122" y="173"/>
                    <a:pt x="123" y="173"/>
                  </a:cubicBezTo>
                  <a:cubicBezTo>
                    <a:pt x="124" y="172"/>
                    <a:pt x="124" y="172"/>
                    <a:pt x="124" y="172"/>
                  </a:cubicBezTo>
                  <a:cubicBezTo>
                    <a:pt x="125" y="172"/>
                    <a:pt x="125" y="172"/>
                    <a:pt x="126" y="172"/>
                  </a:cubicBezTo>
                  <a:cubicBezTo>
                    <a:pt x="126" y="172"/>
                    <a:pt x="126" y="172"/>
                    <a:pt x="126" y="172"/>
                  </a:cubicBezTo>
                  <a:cubicBezTo>
                    <a:pt x="126" y="171"/>
                    <a:pt x="126" y="171"/>
                    <a:pt x="126" y="171"/>
                  </a:cubicBezTo>
                  <a:cubicBezTo>
                    <a:pt x="127" y="171"/>
                    <a:pt x="127" y="171"/>
                    <a:pt x="127" y="171"/>
                  </a:cubicBezTo>
                  <a:cubicBezTo>
                    <a:pt x="126" y="171"/>
                    <a:pt x="126" y="171"/>
                    <a:pt x="126" y="171"/>
                  </a:cubicBezTo>
                  <a:cubicBezTo>
                    <a:pt x="127" y="171"/>
                    <a:pt x="127" y="170"/>
                    <a:pt x="127" y="169"/>
                  </a:cubicBezTo>
                  <a:cubicBezTo>
                    <a:pt x="128" y="168"/>
                    <a:pt x="128" y="168"/>
                    <a:pt x="128" y="167"/>
                  </a:cubicBezTo>
                  <a:cubicBezTo>
                    <a:pt x="129" y="165"/>
                    <a:pt x="131" y="165"/>
                    <a:pt x="133" y="164"/>
                  </a:cubicBezTo>
                  <a:cubicBezTo>
                    <a:pt x="133" y="164"/>
                    <a:pt x="134" y="164"/>
                    <a:pt x="135" y="164"/>
                  </a:cubicBezTo>
                  <a:cubicBezTo>
                    <a:pt x="134" y="164"/>
                    <a:pt x="134" y="163"/>
                    <a:pt x="134" y="162"/>
                  </a:cubicBezTo>
                  <a:cubicBezTo>
                    <a:pt x="134" y="157"/>
                    <a:pt x="134" y="157"/>
                    <a:pt x="134" y="157"/>
                  </a:cubicBezTo>
                  <a:cubicBezTo>
                    <a:pt x="138" y="160"/>
                    <a:pt x="138" y="160"/>
                    <a:pt x="138" y="160"/>
                  </a:cubicBezTo>
                  <a:cubicBezTo>
                    <a:pt x="138" y="160"/>
                    <a:pt x="138" y="160"/>
                    <a:pt x="139" y="160"/>
                  </a:cubicBezTo>
                  <a:cubicBezTo>
                    <a:pt x="139" y="160"/>
                    <a:pt x="139" y="160"/>
                    <a:pt x="139" y="160"/>
                  </a:cubicBezTo>
                  <a:cubicBezTo>
                    <a:pt x="140" y="161"/>
                    <a:pt x="140" y="161"/>
                    <a:pt x="140" y="161"/>
                  </a:cubicBezTo>
                  <a:cubicBezTo>
                    <a:pt x="141" y="160"/>
                    <a:pt x="141" y="160"/>
                    <a:pt x="141" y="160"/>
                  </a:cubicBezTo>
                  <a:cubicBezTo>
                    <a:pt x="141" y="160"/>
                    <a:pt x="141" y="160"/>
                    <a:pt x="141" y="160"/>
                  </a:cubicBezTo>
                  <a:cubicBezTo>
                    <a:pt x="142" y="160"/>
                    <a:pt x="143" y="160"/>
                    <a:pt x="144" y="159"/>
                  </a:cubicBezTo>
                  <a:cubicBezTo>
                    <a:pt x="144" y="159"/>
                    <a:pt x="145" y="159"/>
                    <a:pt x="145" y="159"/>
                  </a:cubicBezTo>
                  <a:cubicBezTo>
                    <a:pt x="141" y="147"/>
                    <a:pt x="141" y="147"/>
                    <a:pt x="141" y="147"/>
                  </a:cubicBezTo>
                  <a:cubicBezTo>
                    <a:pt x="148" y="158"/>
                    <a:pt x="148" y="158"/>
                    <a:pt x="148" y="158"/>
                  </a:cubicBezTo>
                  <a:cubicBezTo>
                    <a:pt x="149" y="155"/>
                    <a:pt x="150" y="154"/>
                    <a:pt x="151" y="152"/>
                  </a:cubicBezTo>
                  <a:cubicBezTo>
                    <a:pt x="152" y="152"/>
                    <a:pt x="152" y="152"/>
                    <a:pt x="152" y="152"/>
                  </a:cubicBezTo>
                  <a:cubicBezTo>
                    <a:pt x="153" y="151"/>
                    <a:pt x="154" y="151"/>
                    <a:pt x="155" y="151"/>
                  </a:cubicBezTo>
                  <a:cubicBezTo>
                    <a:pt x="155" y="150"/>
                    <a:pt x="155" y="149"/>
                    <a:pt x="156" y="148"/>
                  </a:cubicBezTo>
                  <a:cubicBezTo>
                    <a:pt x="156" y="148"/>
                    <a:pt x="156" y="148"/>
                    <a:pt x="156" y="148"/>
                  </a:cubicBezTo>
                  <a:cubicBezTo>
                    <a:pt x="156" y="147"/>
                    <a:pt x="156" y="147"/>
                    <a:pt x="156" y="147"/>
                  </a:cubicBezTo>
                  <a:cubicBezTo>
                    <a:pt x="157" y="145"/>
                    <a:pt x="157" y="145"/>
                    <a:pt x="157" y="145"/>
                  </a:cubicBezTo>
                  <a:cubicBezTo>
                    <a:pt x="158" y="143"/>
                    <a:pt x="159" y="142"/>
                    <a:pt x="160" y="141"/>
                  </a:cubicBezTo>
                  <a:cubicBezTo>
                    <a:pt x="161" y="141"/>
                    <a:pt x="161" y="140"/>
                    <a:pt x="162" y="140"/>
                  </a:cubicBezTo>
                  <a:cubicBezTo>
                    <a:pt x="161" y="140"/>
                    <a:pt x="160" y="141"/>
                    <a:pt x="159" y="141"/>
                  </a:cubicBezTo>
                  <a:cubicBezTo>
                    <a:pt x="152" y="143"/>
                    <a:pt x="152" y="143"/>
                    <a:pt x="152" y="143"/>
                  </a:cubicBezTo>
                  <a:cubicBezTo>
                    <a:pt x="152" y="143"/>
                    <a:pt x="151" y="143"/>
                    <a:pt x="151" y="143"/>
                  </a:cubicBezTo>
                  <a:cubicBezTo>
                    <a:pt x="150" y="143"/>
                    <a:pt x="149" y="143"/>
                    <a:pt x="149" y="142"/>
                  </a:cubicBezTo>
                  <a:cubicBezTo>
                    <a:pt x="148" y="141"/>
                    <a:pt x="148" y="141"/>
                    <a:pt x="147" y="140"/>
                  </a:cubicBezTo>
                  <a:cubicBezTo>
                    <a:pt x="147" y="139"/>
                    <a:pt x="147" y="139"/>
                    <a:pt x="147" y="139"/>
                  </a:cubicBezTo>
                  <a:cubicBezTo>
                    <a:pt x="146" y="138"/>
                    <a:pt x="146" y="138"/>
                    <a:pt x="146" y="138"/>
                  </a:cubicBezTo>
                  <a:cubicBezTo>
                    <a:pt x="146" y="137"/>
                    <a:pt x="146" y="137"/>
                    <a:pt x="146" y="137"/>
                  </a:cubicBezTo>
                  <a:cubicBezTo>
                    <a:pt x="145" y="136"/>
                    <a:pt x="145" y="136"/>
                    <a:pt x="144" y="135"/>
                  </a:cubicBezTo>
                  <a:cubicBezTo>
                    <a:pt x="144" y="134"/>
                    <a:pt x="144" y="134"/>
                    <a:pt x="144" y="134"/>
                  </a:cubicBezTo>
                  <a:cubicBezTo>
                    <a:pt x="144" y="134"/>
                    <a:pt x="144" y="134"/>
                    <a:pt x="144" y="133"/>
                  </a:cubicBezTo>
                  <a:cubicBezTo>
                    <a:pt x="144" y="133"/>
                    <a:pt x="144" y="132"/>
                    <a:pt x="144" y="132"/>
                  </a:cubicBezTo>
                  <a:cubicBezTo>
                    <a:pt x="144" y="131"/>
                    <a:pt x="144" y="131"/>
                    <a:pt x="144" y="131"/>
                  </a:cubicBezTo>
                  <a:cubicBezTo>
                    <a:pt x="144" y="131"/>
                    <a:pt x="144" y="131"/>
                    <a:pt x="144" y="131"/>
                  </a:cubicBezTo>
                  <a:cubicBezTo>
                    <a:pt x="128" y="129"/>
                    <a:pt x="128" y="129"/>
                    <a:pt x="128" y="129"/>
                  </a:cubicBezTo>
                  <a:cubicBezTo>
                    <a:pt x="129" y="126"/>
                    <a:pt x="129" y="126"/>
                    <a:pt x="129" y="126"/>
                  </a:cubicBezTo>
                  <a:cubicBezTo>
                    <a:pt x="130" y="124"/>
                    <a:pt x="130" y="122"/>
                    <a:pt x="131" y="121"/>
                  </a:cubicBezTo>
                  <a:cubicBezTo>
                    <a:pt x="131" y="120"/>
                    <a:pt x="131" y="120"/>
                    <a:pt x="131" y="120"/>
                  </a:cubicBezTo>
                  <a:cubicBezTo>
                    <a:pt x="131" y="120"/>
                    <a:pt x="131" y="119"/>
                    <a:pt x="131" y="119"/>
                  </a:cubicBezTo>
                  <a:cubicBezTo>
                    <a:pt x="131" y="118"/>
                    <a:pt x="131" y="118"/>
                    <a:pt x="131" y="118"/>
                  </a:cubicBezTo>
                  <a:cubicBezTo>
                    <a:pt x="132" y="118"/>
                    <a:pt x="132" y="117"/>
                    <a:pt x="132" y="116"/>
                  </a:cubicBezTo>
                  <a:cubicBezTo>
                    <a:pt x="132" y="115"/>
                    <a:pt x="132" y="115"/>
                    <a:pt x="132" y="114"/>
                  </a:cubicBezTo>
                  <a:cubicBezTo>
                    <a:pt x="133" y="114"/>
                    <a:pt x="133" y="114"/>
                    <a:pt x="133" y="114"/>
                  </a:cubicBezTo>
                  <a:cubicBezTo>
                    <a:pt x="133" y="113"/>
                    <a:pt x="133" y="113"/>
                    <a:pt x="133" y="113"/>
                  </a:cubicBezTo>
                  <a:cubicBezTo>
                    <a:pt x="134" y="112"/>
                    <a:pt x="134" y="112"/>
                    <a:pt x="134" y="111"/>
                  </a:cubicBezTo>
                  <a:cubicBezTo>
                    <a:pt x="135" y="111"/>
                    <a:pt x="135" y="111"/>
                    <a:pt x="135" y="111"/>
                  </a:cubicBezTo>
                  <a:cubicBezTo>
                    <a:pt x="135" y="111"/>
                    <a:pt x="135" y="111"/>
                    <a:pt x="136" y="110"/>
                  </a:cubicBezTo>
                  <a:cubicBezTo>
                    <a:pt x="136" y="110"/>
                    <a:pt x="136" y="110"/>
                    <a:pt x="136" y="110"/>
                  </a:cubicBezTo>
                  <a:cubicBezTo>
                    <a:pt x="136" y="110"/>
                    <a:pt x="136" y="110"/>
                    <a:pt x="136" y="110"/>
                  </a:cubicBezTo>
                  <a:cubicBezTo>
                    <a:pt x="135" y="110"/>
                    <a:pt x="135" y="110"/>
                    <a:pt x="135" y="110"/>
                  </a:cubicBezTo>
                  <a:cubicBezTo>
                    <a:pt x="135" y="110"/>
                    <a:pt x="134" y="110"/>
                    <a:pt x="134" y="110"/>
                  </a:cubicBezTo>
                  <a:cubicBezTo>
                    <a:pt x="131" y="110"/>
                    <a:pt x="131" y="110"/>
                    <a:pt x="131" y="110"/>
                  </a:cubicBezTo>
                  <a:cubicBezTo>
                    <a:pt x="131" y="110"/>
                    <a:pt x="131" y="110"/>
                    <a:pt x="131" y="110"/>
                  </a:cubicBezTo>
                  <a:cubicBezTo>
                    <a:pt x="130" y="110"/>
                    <a:pt x="130" y="110"/>
                    <a:pt x="129" y="109"/>
                  </a:cubicBezTo>
                  <a:cubicBezTo>
                    <a:pt x="126" y="109"/>
                    <a:pt x="125" y="107"/>
                    <a:pt x="124" y="105"/>
                  </a:cubicBezTo>
                  <a:cubicBezTo>
                    <a:pt x="123" y="103"/>
                    <a:pt x="123" y="103"/>
                    <a:pt x="123" y="103"/>
                  </a:cubicBezTo>
                  <a:cubicBezTo>
                    <a:pt x="123" y="102"/>
                    <a:pt x="122" y="101"/>
                    <a:pt x="122" y="100"/>
                  </a:cubicBezTo>
                  <a:cubicBezTo>
                    <a:pt x="122" y="99"/>
                    <a:pt x="122" y="99"/>
                    <a:pt x="122" y="99"/>
                  </a:cubicBezTo>
                  <a:cubicBezTo>
                    <a:pt x="121" y="98"/>
                    <a:pt x="121" y="98"/>
                    <a:pt x="121" y="98"/>
                  </a:cubicBezTo>
                  <a:cubicBezTo>
                    <a:pt x="121" y="98"/>
                    <a:pt x="121" y="97"/>
                    <a:pt x="121" y="97"/>
                  </a:cubicBezTo>
                  <a:cubicBezTo>
                    <a:pt x="120" y="98"/>
                    <a:pt x="120" y="98"/>
                    <a:pt x="120" y="98"/>
                  </a:cubicBezTo>
                  <a:cubicBezTo>
                    <a:pt x="121" y="96"/>
                    <a:pt x="121" y="96"/>
                    <a:pt x="121" y="96"/>
                  </a:cubicBezTo>
                  <a:cubicBezTo>
                    <a:pt x="121" y="96"/>
                    <a:pt x="121" y="96"/>
                    <a:pt x="121" y="96"/>
                  </a:cubicBezTo>
                  <a:cubicBezTo>
                    <a:pt x="120" y="96"/>
                    <a:pt x="120" y="95"/>
                    <a:pt x="120" y="95"/>
                  </a:cubicBezTo>
                  <a:cubicBezTo>
                    <a:pt x="120" y="95"/>
                    <a:pt x="120" y="95"/>
                    <a:pt x="120" y="95"/>
                  </a:cubicBezTo>
                  <a:cubicBezTo>
                    <a:pt x="120" y="94"/>
                    <a:pt x="120" y="93"/>
                    <a:pt x="120" y="93"/>
                  </a:cubicBezTo>
                  <a:cubicBezTo>
                    <a:pt x="120" y="92"/>
                    <a:pt x="120" y="92"/>
                    <a:pt x="120" y="91"/>
                  </a:cubicBezTo>
                  <a:cubicBezTo>
                    <a:pt x="121" y="90"/>
                    <a:pt x="121" y="90"/>
                    <a:pt x="121" y="90"/>
                  </a:cubicBezTo>
                  <a:cubicBezTo>
                    <a:pt x="120" y="90"/>
                    <a:pt x="119" y="90"/>
                    <a:pt x="118" y="90"/>
                  </a:cubicBezTo>
                  <a:cubicBezTo>
                    <a:pt x="118" y="90"/>
                    <a:pt x="118" y="90"/>
                    <a:pt x="118" y="90"/>
                  </a:cubicBezTo>
                  <a:cubicBezTo>
                    <a:pt x="117" y="90"/>
                    <a:pt x="117" y="90"/>
                    <a:pt x="117" y="90"/>
                  </a:cubicBezTo>
                  <a:cubicBezTo>
                    <a:pt x="116" y="90"/>
                    <a:pt x="116" y="90"/>
                    <a:pt x="116" y="90"/>
                  </a:cubicBezTo>
                  <a:cubicBezTo>
                    <a:pt x="115" y="90"/>
                    <a:pt x="114" y="89"/>
                    <a:pt x="113" y="89"/>
                  </a:cubicBezTo>
                  <a:cubicBezTo>
                    <a:pt x="113" y="89"/>
                    <a:pt x="113" y="90"/>
                    <a:pt x="113" y="90"/>
                  </a:cubicBezTo>
                  <a:cubicBezTo>
                    <a:pt x="112" y="90"/>
                    <a:pt x="112" y="90"/>
                    <a:pt x="112" y="90"/>
                  </a:cubicBezTo>
                  <a:cubicBezTo>
                    <a:pt x="112" y="90"/>
                    <a:pt x="112" y="90"/>
                    <a:pt x="112" y="90"/>
                  </a:cubicBezTo>
                  <a:cubicBezTo>
                    <a:pt x="112" y="90"/>
                    <a:pt x="111" y="90"/>
                    <a:pt x="110" y="91"/>
                  </a:cubicBezTo>
                  <a:cubicBezTo>
                    <a:pt x="107" y="93"/>
                    <a:pt x="104" y="94"/>
                    <a:pt x="102" y="94"/>
                  </a:cubicBezTo>
                  <a:cubicBezTo>
                    <a:pt x="102" y="94"/>
                    <a:pt x="101" y="94"/>
                    <a:pt x="101" y="94"/>
                  </a:cubicBezTo>
                  <a:cubicBezTo>
                    <a:pt x="101" y="94"/>
                    <a:pt x="101" y="94"/>
                    <a:pt x="101" y="94"/>
                  </a:cubicBezTo>
                  <a:cubicBezTo>
                    <a:pt x="100" y="94"/>
                    <a:pt x="100" y="94"/>
                    <a:pt x="100" y="94"/>
                  </a:cubicBezTo>
                  <a:cubicBezTo>
                    <a:pt x="99" y="93"/>
                    <a:pt x="98" y="92"/>
                    <a:pt x="98" y="90"/>
                  </a:cubicBezTo>
                  <a:cubicBezTo>
                    <a:pt x="99" y="89"/>
                    <a:pt x="99" y="89"/>
                    <a:pt x="99" y="89"/>
                  </a:cubicBezTo>
                  <a:cubicBezTo>
                    <a:pt x="99" y="88"/>
                    <a:pt x="99" y="88"/>
                    <a:pt x="99" y="88"/>
                  </a:cubicBezTo>
                  <a:cubicBezTo>
                    <a:pt x="101" y="85"/>
                    <a:pt x="101" y="85"/>
                    <a:pt x="101" y="85"/>
                  </a:cubicBezTo>
                  <a:cubicBezTo>
                    <a:pt x="101" y="85"/>
                    <a:pt x="101" y="84"/>
                    <a:pt x="101" y="84"/>
                  </a:cubicBezTo>
                  <a:cubicBezTo>
                    <a:pt x="100" y="83"/>
                    <a:pt x="100" y="83"/>
                    <a:pt x="100" y="83"/>
                  </a:cubicBezTo>
                  <a:cubicBezTo>
                    <a:pt x="100" y="83"/>
                    <a:pt x="100" y="83"/>
                    <a:pt x="100" y="83"/>
                  </a:cubicBezTo>
                  <a:cubicBezTo>
                    <a:pt x="99" y="83"/>
                    <a:pt x="98" y="82"/>
                    <a:pt x="98" y="80"/>
                  </a:cubicBezTo>
                  <a:cubicBezTo>
                    <a:pt x="98" y="80"/>
                    <a:pt x="98" y="80"/>
                    <a:pt x="98" y="80"/>
                  </a:cubicBezTo>
                  <a:cubicBezTo>
                    <a:pt x="98" y="79"/>
                    <a:pt x="98" y="79"/>
                    <a:pt x="98" y="78"/>
                  </a:cubicBezTo>
                  <a:cubicBezTo>
                    <a:pt x="98" y="77"/>
                    <a:pt x="98" y="74"/>
                    <a:pt x="101" y="72"/>
                  </a:cubicBezTo>
                  <a:cubicBezTo>
                    <a:pt x="102" y="72"/>
                    <a:pt x="102" y="72"/>
                    <a:pt x="102" y="72"/>
                  </a:cubicBezTo>
                  <a:cubicBezTo>
                    <a:pt x="102" y="71"/>
                    <a:pt x="102" y="71"/>
                    <a:pt x="102" y="71"/>
                  </a:cubicBezTo>
                  <a:cubicBezTo>
                    <a:pt x="102" y="71"/>
                    <a:pt x="102" y="71"/>
                    <a:pt x="102" y="71"/>
                  </a:cubicBezTo>
                  <a:cubicBezTo>
                    <a:pt x="102" y="71"/>
                    <a:pt x="102" y="71"/>
                    <a:pt x="102" y="71"/>
                  </a:cubicBezTo>
                  <a:cubicBezTo>
                    <a:pt x="102" y="71"/>
                    <a:pt x="102" y="71"/>
                    <a:pt x="102" y="71"/>
                  </a:cubicBezTo>
                  <a:cubicBezTo>
                    <a:pt x="102" y="70"/>
                    <a:pt x="102" y="70"/>
                    <a:pt x="102" y="70"/>
                  </a:cubicBezTo>
                  <a:cubicBezTo>
                    <a:pt x="102" y="69"/>
                    <a:pt x="102" y="68"/>
                    <a:pt x="103" y="67"/>
                  </a:cubicBezTo>
                  <a:cubicBezTo>
                    <a:pt x="103" y="65"/>
                    <a:pt x="103" y="64"/>
                    <a:pt x="105" y="62"/>
                  </a:cubicBezTo>
                  <a:cubicBezTo>
                    <a:pt x="106" y="62"/>
                    <a:pt x="106" y="62"/>
                    <a:pt x="106" y="62"/>
                  </a:cubicBezTo>
                  <a:cubicBezTo>
                    <a:pt x="106" y="61"/>
                    <a:pt x="106" y="61"/>
                    <a:pt x="106" y="61"/>
                  </a:cubicBezTo>
                  <a:cubicBezTo>
                    <a:pt x="106" y="61"/>
                    <a:pt x="106" y="61"/>
                    <a:pt x="106" y="61"/>
                  </a:cubicBezTo>
                  <a:cubicBezTo>
                    <a:pt x="107" y="61"/>
                    <a:pt x="107" y="61"/>
                    <a:pt x="107" y="61"/>
                  </a:cubicBezTo>
                  <a:cubicBezTo>
                    <a:pt x="107" y="61"/>
                    <a:pt x="107" y="61"/>
                    <a:pt x="107" y="61"/>
                  </a:cubicBezTo>
                  <a:cubicBezTo>
                    <a:pt x="108" y="61"/>
                    <a:pt x="108" y="60"/>
                    <a:pt x="109" y="60"/>
                  </a:cubicBezTo>
                  <a:cubicBezTo>
                    <a:pt x="109" y="60"/>
                    <a:pt x="109" y="60"/>
                    <a:pt x="109" y="60"/>
                  </a:cubicBezTo>
                  <a:cubicBezTo>
                    <a:pt x="109" y="59"/>
                    <a:pt x="109" y="59"/>
                    <a:pt x="109" y="59"/>
                  </a:cubicBezTo>
                  <a:cubicBezTo>
                    <a:pt x="109" y="59"/>
                    <a:pt x="109" y="59"/>
                    <a:pt x="109" y="59"/>
                  </a:cubicBezTo>
                  <a:cubicBezTo>
                    <a:pt x="109" y="58"/>
                    <a:pt x="110" y="56"/>
                    <a:pt x="111" y="56"/>
                  </a:cubicBezTo>
                  <a:cubicBezTo>
                    <a:pt x="112" y="55"/>
                    <a:pt x="112" y="55"/>
                    <a:pt x="112" y="55"/>
                  </a:cubicBezTo>
                  <a:cubicBezTo>
                    <a:pt x="113" y="55"/>
                    <a:pt x="114" y="55"/>
                    <a:pt x="114" y="56"/>
                  </a:cubicBezTo>
                  <a:cubicBezTo>
                    <a:pt x="114" y="56"/>
                    <a:pt x="115" y="56"/>
                    <a:pt x="115" y="56"/>
                  </a:cubicBezTo>
                  <a:cubicBezTo>
                    <a:pt x="115" y="56"/>
                    <a:pt x="115" y="56"/>
                    <a:pt x="115" y="56"/>
                  </a:cubicBezTo>
                  <a:cubicBezTo>
                    <a:pt x="115" y="56"/>
                    <a:pt x="117" y="54"/>
                    <a:pt x="117" y="53"/>
                  </a:cubicBezTo>
                  <a:cubicBezTo>
                    <a:pt x="118" y="53"/>
                    <a:pt x="118" y="53"/>
                    <a:pt x="119" y="52"/>
                  </a:cubicBezTo>
                  <a:cubicBezTo>
                    <a:pt x="119" y="52"/>
                    <a:pt x="119" y="52"/>
                    <a:pt x="119" y="52"/>
                  </a:cubicBezTo>
                  <a:cubicBezTo>
                    <a:pt x="119" y="52"/>
                    <a:pt x="119" y="52"/>
                    <a:pt x="119" y="52"/>
                  </a:cubicBezTo>
                  <a:cubicBezTo>
                    <a:pt x="119" y="51"/>
                    <a:pt x="119" y="51"/>
                    <a:pt x="119" y="50"/>
                  </a:cubicBezTo>
                  <a:cubicBezTo>
                    <a:pt x="118" y="49"/>
                    <a:pt x="118" y="49"/>
                    <a:pt x="118" y="49"/>
                  </a:cubicBezTo>
                  <a:cubicBezTo>
                    <a:pt x="118" y="48"/>
                    <a:pt x="118" y="47"/>
                    <a:pt x="118" y="46"/>
                  </a:cubicBezTo>
                  <a:cubicBezTo>
                    <a:pt x="118" y="45"/>
                    <a:pt x="118" y="45"/>
                    <a:pt x="118" y="45"/>
                  </a:cubicBezTo>
                  <a:cubicBezTo>
                    <a:pt x="119" y="45"/>
                    <a:pt x="119" y="45"/>
                    <a:pt x="119" y="45"/>
                  </a:cubicBezTo>
                  <a:cubicBezTo>
                    <a:pt x="119" y="44"/>
                    <a:pt x="119" y="43"/>
                    <a:pt x="120" y="42"/>
                  </a:cubicBezTo>
                  <a:cubicBezTo>
                    <a:pt x="120" y="41"/>
                    <a:pt x="120" y="41"/>
                    <a:pt x="120" y="41"/>
                  </a:cubicBezTo>
                  <a:cubicBezTo>
                    <a:pt x="120" y="41"/>
                    <a:pt x="120" y="40"/>
                    <a:pt x="121" y="40"/>
                  </a:cubicBezTo>
                  <a:cubicBezTo>
                    <a:pt x="121" y="39"/>
                    <a:pt x="121" y="39"/>
                    <a:pt x="121" y="38"/>
                  </a:cubicBezTo>
                  <a:cubicBezTo>
                    <a:pt x="121" y="36"/>
                    <a:pt x="121" y="34"/>
                    <a:pt x="121" y="31"/>
                  </a:cubicBezTo>
                  <a:cubicBezTo>
                    <a:pt x="121" y="30"/>
                    <a:pt x="121" y="30"/>
                    <a:pt x="121" y="29"/>
                  </a:cubicBezTo>
                  <a:cubicBezTo>
                    <a:pt x="121" y="27"/>
                    <a:pt x="121" y="27"/>
                    <a:pt x="121" y="27"/>
                  </a:cubicBezTo>
                  <a:cubicBezTo>
                    <a:pt x="121" y="25"/>
                    <a:pt x="121" y="21"/>
                    <a:pt x="120" y="19"/>
                  </a:cubicBezTo>
                  <a:cubicBezTo>
                    <a:pt x="120" y="18"/>
                    <a:pt x="120" y="18"/>
                    <a:pt x="120" y="18"/>
                  </a:cubicBezTo>
                  <a:cubicBezTo>
                    <a:pt x="120" y="18"/>
                    <a:pt x="120" y="18"/>
                    <a:pt x="120" y="18"/>
                  </a:cubicBezTo>
                  <a:cubicBezTo>
                    <a:pt x="120" y="18"/>
                    <a:pt x="120" y="18"/>
                    <a:pt x="120" y="18"/>
                  </a:cubicBezTo>
                  <a:cubicBezTo>
                    <a:pt x="116" y="18"/>
                    <a:pt x="116" y="18"/>
                    <a:pt x="116" y="18"/>
                  </a:cubicBezTo>
                  <a:cubicBezTo>
                    <a:pt x="114" y="17"/>
                    <a:pt x="113" y="16"/>
                    <a:pt x="112" y="15"/>
                  </a:cubicBezTo>
                  <a:cubicBezTo>
                    <a:pt x="111" y="13"/>
                    <a:pt x="110" y="11"/>
                    <a:pt x="110" y="10"/>
                  </a:cubicBezTo>
                  <a:cubicBezTo>
                    <a:pt x="110" y="8"/>
                    <a:pt x="109" y="6"/>
                    <a:pt x="108" y="5"/>
                  </a:cubicBezTo>
                  <a:cubicBezTo>
                    <a:pt x="108" y="5"/>
                    <a:pt x="108" y="5"/>
                    <a:pt x="108" y="5"/>
                  </a:cubicBezTo>
                  <a:cubicBezTo>
                    <a:pt x="108" y="4"/>
                    <a:pt x="107" y="4"/>
                    <a:pt x="107" y="3"/>
                  </a:cubicBezTo>
                  <a:cubicBezTo>
                    <a:pt x="106" y="3"/>
                    <a:pt x="106" y="2"/>
                    <a:pt x="106" y="2"/>
                  </a:cubicBezTo>
                  <a:cubicBezTo>
                    <a:pt x="105" y="2"/>
                    <a:pt x="105" y="2"/>
                    <a:pt x="105" y="2"/>
                  </a:cubicBezTo>
                  <a:cubicBezTo>
                    <a:pt x="105" y="2"/>
                    <a:pt x="105" y="2"/>
                    <a:pt x="105" y="2"/>
                  </a:cubicBezTo>
                  <a:cubicBezTo>
                    <a:pt x="104" y="2"/>
                    <a:pt x="103" y="1"/>
                    <a:pt x="102" y="1"/>
                  </a:cubicBezTo>
                  <a:cubicBezTo>
                    <a:pt x="102" y="0"/>
                    <a:pt x="102" y="0"/>
                    <a:pt x="102" y="0"/>
                  </a:cubicBezTo>
                  <a:cubicBezTo>
                    <a:pt x="102" y="0"/>
                    <a:pt x="102" y="0"/>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435"/>
            <p:cNvSpPr/>
            <p:nvPr/>
          </p:nvSpPr>
          <p:spPr bwMode="auto">
            <a:xfrm>
              <a:off x="4628394" y="5504517"/>
              <a:ext cx="6878" cy="20632"/>
            </a:xfrm>
            <a:custGeom>
              <a:gdLst>
                <a:gd name="T0" fmla="*/ 0 w 2"/>
                <a:gd name="T1" fmla="*/ 0 h 6"/>
                <a:gd name="T2" fmla="*/ 0 w 2"/>
                <a:gd name="T3" fmla="*/ 0 h 6"/>
                <a:gd name="T4" fmla="*/ 0 w 2"/>
                <a:gd name="T5" fmla="*/ 0 h 6"/>
                <a:gd name="T6" fmla="*/ 1 w 2"/>
                <a:gd name="T7" fmla="*/ 6 h 6"/>
                <a:gd name="T8" fmla="*/ 2 w 2"/>
                <a:gd name="T9" fmla="*/ 3 h 6"/>
                <a:gd name="T10" fmla="*/ 2 w 2"/>
                <a:gd name="T11" fmla="*/ 2 h 6"/>
                <a:gd name="T12" fmla="*/ 1 w 2"/>
                <a:gd name="T13" fmla="*/ 1 h 6"/>
                <a:gd name="T14" fmla="*/ 1 w 2"/>
                <a:gd name="T15" fmla="*/ 0 h 6"/>
                <a:gd name="T16" fmla="*/ 0 w 2"/>
                <a:gd name="T17" fmla="*/ 0 h 6"/>
                <a:gd name="T18" fmla="*/ 0 w 2"/>
                <a:gd name="T19" fmla="*/ 0 h 6"/>
                <a:gd name="T20" fmla="*/ 0 w 2"/>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0"/>
                  </a:moveTo>
                  <a:cubicBezTo>
                    <a:pt x="0" y="0"/>
                    <a:pt x="0" y="0"/>
                    <a:pt x="0" y="0"/>
                  </a:cubicBezTo>
                  <a:cubicBezTo>
                    <a:pt x="0" y="0"/>
                    <a:pt x="0" y="0"/>
                    <a:pt x="0" y="0"/>
                  </a:cubicBezTo>
                  <a:cubicBezTo>
                    <a:pt x="1" y="6"/>
                    <a:pt x="1" y="6"/>
                    <a:pt x="1" y="6"/>
                  </a:cubicBezTo>
                  <a:cubicBezTo>
                    <a:pt x="2" y="5"/>
                    <a:pt x="2" y="4"/>
                    <a:pt x="2" y="3"/>
                  </a:cubicBezTo>
                  <a:cubicBezTo>
                    <a:pt x="2" y="3"/>
                    <a:pt x="2" y="2"/>
                    <a:pt x="2" y="2"/>
                  </a:cubicBezTo>
                  <a:cubicBezTo>
                    <a:pt x="2" y="2"/>
                    <a:pt x="2" y="1"/>
                    <a:pt x="1" y="1"/>
                  </a:cubicBezTo>
                  <a:cubicBezTo>
                    <a:pt x="1" y="0"/>
                    <a:pt x="1" y="0"/>
                    <a:pt x="1"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Rectangle 436"/>
            <p:cNvSpPr>
              <a:spLocks noChangeArrowheads="1"/>
            </p:cNvSpPr>
            <p:nvPr/>
          </p:nvSpPr>
          <p:spPr bwMode="auto">
            <a:xfrm>
              <a:off x="4676535" y="5687453"/>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437"/>
            <p:cNvSpPr/>
            <p:nvPr/>
          </p:nvSpPr>
          <p:spPr bwMode="auto">
            <a:xfrm flipH="1">
              <a:off x="4676535" y="568745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438"/>
            <p:cNvSpPr/>
            <p:nvPr/>
          </p:nvSpPr>
          <p:spPr bwMode="auto">
            <a:xfrm>
              <a:off x="4456462" y="5499016"/>
              <a:ext cx="493787" cy="916050"/>
            </a:xfrm>
            <a:custGeom>
              <a:gdLst>
                <a:gd name="T0" fmla="*/ 40 w 152"/>
                <a:gd name="T1" fmla="*/ 3 h 282"/>
                <a:gd name="T2" fmla="*/ 33 w 152"/>
                <a:gd name="T3" fmla="*/ 6 h 282"/>
                <a:gd name="T4" fmla="*/ 29 w 152"/>
                <a:gd name="T5" fmla="*/ 12 h 282"/>
                <a:gd name="T6" fmla="*/ 23 w 152"/>
                <a:gd name="T7" fmla="*/ 19 h 282"/>
                <a:gd name="T8" fmla="*/ 12 w 152"/>
                <a:gd name="T9" fmla="*/ 14 h 282"/>
                <a:gd name="T10" fmla="*/ 6 w 152"/>
                <a:gd name="T11" fmla="*/ 28 h 282"/>
                <a:gd name="T12" fmla="*/ 7 w 152"/>
                <a:gd name="T13" fmla="*/ 34 h 282"/>
                <a:gd name="T14" fmla="*/ 1 w 152"/>
                <a:gd name="T15" fmla="*/ 38 h 282"/>
                <a:gd name="T16" fmla="*/ 5 w 152"/>
                <a:gd name="T17" fmla="*/ 43 h 282"/>
                <a:gd name="T18" fmla="*/ 16 w 152"/>
                <a:gd name="T19" fmla="*/ 62 h 282"/>
                <a:gd name="T20" fmla="*/ 21 w 152"/>
                <a:gd name="T21" fmla="*/ 66 h 282"/>
                <a:gd name="T22" fmla="*/ 25 w 152"/>
                <a:gd name="T23" fmla="*/ 72 h 282"/>
                <a:gd name="T24" fmla="*/ 27 w 152"/>
                <a:gd name="T25" fmla="*/ 84 h 282"/>
                <a:gd name="T26" fmla="*/ 22 w 152"/>
                <a:gd name="T27" fmla="*/ 96 h 282"/>
                <a:gd name="T28" fmla="*/ 24 w 152"/>
                <a:gd name="T29" fmla="*/ 118 h 282"/>
                <a:gd name="T30" fmla="*/ 32 w 152"/>
                <a:gd name="T31" fmla="*/ 126 h 282"/>
                <a:gd name="T32" fmla="*/ 33 w 152"/>
                <a:gd name="T33" fmla="*/ 142 h 282"/>
                <a:gd name="T34" fmla="*/ 35 w 152"/>
                <a:gd name="T35" fmla="*/ 146 h 282"/>
                <a:gd name="T36" fmla="*/ 42 w 152"/>
                <a:gd name="T37" fmla="*/ 164 h 282"/>
                <a:gd name="T38" fmla="*/ 27 w 152"/>
                <a:gd name="T39" fmla="*/ 192 h 282"/>
                <a:gd name="T40" fmla="*/ 14 w 152"/>
                <a:gd name="T41" fmla="*/ 218 h 282"/>
                <a:gd name="T42" fmla="*/ 14 w 152"/>
                <a:gd name="T43" fmla="*/ 235 h 282"/>
                <a:gd name="T44" fmla="*/ 29 w 152"/>
                <a:gd name="T45" fmla="*/ 242 h 282"/>
                <a:gd name="T46" fmla="*/ 38 w 152"/>
                <a:gd name="T47" fmla="*/ 252 h 282"/>
                <a:gd name="T48" fmla="*/ 48 w 152"/>
                <a:gd name="T49" fmla="*/ 265 h 282"/>
                <a:gd name="T50" fmla="*/ 63 w 152"/>
                <a:gd name="T51" fmla="*/ 268 h 282"/>
                <a:gd name="T52" fmla="*/ 71 w 152"/>
                <a:gd name="T53" fmla="*/ 277 h 282"/>
                <a:gd name="T54" fmla="*/ 76 w 152"/>
                <a:gd name="T55" fmla="*/ 278 h 282"/>
                <a:gd name="T56" fmla="*/ 83 w 152"/>
                <a:gd name="T57" fmla="*/ 270 h 282"/>
                <a:gd name="T58" fmla="*/ 68 w 152"/>
                <a:gd name="T59" fmla="*/ 262 h 282"/>
                <a:gd name="T60" fmla="*/ 54 w 152"/>
                <a:gd name="T61" fmla="*/ 253 h 282"/>
                <a:gd name="T62" fmla="*/ 46 w 152"/>
                <a:gd name="T63" fmla="*/ 224 h 282"/>
                <a:gd name="T64" fmla="*/ 34 w 152"/>
                <a:gd name="T65" fmla="*/ 213 h 282"/>
                <a:gd name="T66" fmla="*/ 46 w 152"/>
                <a:gd name="T67" fmla="*/ 161 h 282"/>
                <a:gd name="T68" fmla="*/ 55 w 152"/>
                <a:gd name="T69" fmla="*/ 134 h 282"/>
                <a:gd name="T70" fmla="*/ 63 w 152"/>
                <a:gd name="T71" fmla="*/ 148 h 282"/>
                <a:gd name="T72" fmla="*/ 90 w 152"/>
                <a:gd name="T73" fmla="*/ 157 h 282"/>
                <a:gd name="T74" fmla="*/ 98 w 152"/>
                <a:gd name="T75" fmla="*/ 157 h 282"/>
                <a:gd name="T76" fmla="*/ 93 w 152"/>
                <a:gd name="T77" fmla="*/ 151 h 282"/>
                <a:gd name="T78" fmla="*/ 92 w 152"/>
                <a:gd name="T79" fmla="*/ 131 h 282"/>
                <a:gd name="T80" fmla="*/ 114 w 152"/>
                <a:gd name="T81" fmla="*/ 114 h 282"/>
                <a:gd name="T82" fmla="*/ 133 w 152"/>
                <a:gd name="T83" fmla="*/ 115 h 282"/>
                <a:gd name="T84" fmla="*/ 144 w 152"/>
                <a:gd name="T85" fmla="*/ 116 h 282"/>
                <a:gd name="T86" fmla="*/ 149 w 152"/>
                <a:gd name="T87" fmla="*/ 101 h 282"/>
                <a:gd name="T88" fmla="*/ 151 w 152"/>
                <a:gd name="T89" fmla="*/ 93 h 282"/>
                <a:gd name="T90" fmla="*/ 139 w 152"/>
                <a:gd name="T91" fmla="*/ 81 h 282"/>
                <a:gd name="T92" fmla="*/ 135 w 152"/>
                <a:gd name="T93" fmla="*/ 73 h 282"/>
                <a:gd name="T94" fmla="*/ 136 w 152"/>
                <a:gd name="T95" fmla="*/ 61 h 282"/>
                <a:gd name="T96" fmla="*/ 125 w 152"/>
                <a:gd name="T97" fmla="*/ 48 h 282"/>
                <a:gd name="T98" fmla="*/ 114 w 152"/>
                <a:gd name="T99" fmla="*/ 40 h 282"/>
                <a:gd name="T100" fmla="*/ 108 w 152"/>
                <a:gd name="T101" fmla="*/ 44 h 282"/>
                <a:gd name="T102" fmla="*/ 101 w 152"/>
                <a:gd name="T103" fmla="*/ 50 h 282"/>
                <a:gd name="T104" fmla="*/ 87 w 152"/>
                <a:gd name="T105" fmla="*/ 45 h 282"/>
                <a:gd name="T106" fmla="*/ 69 w 152"/>
                <a:gd name="T107" fmla="*/ 59 h 282"/>
                <a:gd name="T108" fmla="*/ 64 w 152"/>
                <a:gd name="T109" fmla="*/ 57 h 282"/>
                <a:gd name="T110" fmla="*/ 65 w 152"/>
                <a:gd name="T111" fmla="*/ 48 h 282"/>
                <a:gd name="T112" fmla="*/ 65 w 152"/>
                <a:gd name="T113" fmla="*/ 38 h 282"/>
                <a:gd name="T114" fmla="*/ 69 w 152"/>
                <a:gd name="T115" fmla="*/ 26 h 282"/>
                <a:gd name="T116" fmla="*/ 68 w 152"/>
                <a:gd name="T117" fmla="*/ 18 h 282"/>
                <a:gd name="T118" fmla="*/ 57 w 152"/>
                <a:gd name="T119" fmla="*/ 19 h 282"/>
                <a:gd name="T120" fmla="*/ 53 w 152"/>
                <a:gd name="T121" fmla="*/ 10 h 282"/>
                <a:gd name="T122" fmla="*/ 46 w 152"/>
                <a:gd name="T123" fmla="*/ 1 h 28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282">
                  <a:moveTo>
                    <a:pt x="46" y="0"/>
                  </a:moveTo>
                  <a:cubicBezTo>
                    <a:pt x="45" y="1"/>
                    <a:pt x="44" y="1"/>
                    <a:pt x="43" y="2"/>
                  </a:cubicBezTo>
                  <a:cubicBezTo>
                    <a:pt x="42" y="2"/>
                    <a:pt x="42" y="2"/>
                    <a:pt x="41" y="2"/>
                  </a:cubicBezTo>
                  <a:cubicBezTo>
                    <a:pt x="41" y="3"/>
                    <a:pt x="41" y="3"/>
                    <a:pt x="41" y="3"/>
                  </a:cubicBezTo>
                  <a:cubicBezTo>
                    <a:pt x="40" y="3"/>
                    <a:pt x="40" y="3"/>
                    <a:pt x="40" y="3"/>
                  </a:cubicBezTo>
                  <a:cubicBezTo>
                    <a:pt x="40" y="3"/>
                    <a:pt x="40" y="3"/>
                    <a:pt x="40" y="3"/>
                  </a:cubicBezTo>
                  <a:cubicBezTo>
                    <a:pt x="41" y="6"/>
                    <a:pt x="41" y="6"/>
                    <a:pt x="41" y="6"/>
                  </a:cubicBezTo>
                  <a:cubicBezTo>
                    <a:pt x="38" y="6"/>
                    <a:pt x="38" y="6"/>
                    <a:pt x="38" y="6"/>
                  </a:cubicBezTo>
                  <a:cubicBezTo>
                    <a:pt x="37" y="6"/>
                    <a:pt x="37" y="6"/>
                    <a:pt x="37" y="6"/>
                  </a:cubicBezTo>
                  <a:cubicBezTo>
                    <a:pt x="35" y="6"/>
                    <a:pt x="35" y="6"/>
                    <a:pt x="35" y="6"/>
                  </a:cubicBezTo>
                  <a:cubicBezTo>
                    <a:pt x="35" y="6"/>
                    <a:pt x="35" y="6"/>
                    <a:pt x="35" y="6"/>
                  </a:cubicBezTo>
                  <a:cubicBezTo>
                    <a:pt x="34" y="6"/>
                    <a:pt x="34" y="6"/>
                    <a:pt x="33" y="6"/>
                  </a:cubicBezTo>
                  <a:cubicBezTo>
                    <a:pt x="33" y="6"/>
                    <a:pt x="32" y="6"/>
                    <a:pt x="32" y="6"/>
                  </a:cubicBezTo>
                  <a:cubicBezTo>
                    <a:pt x="32" y="6"/>
                    <a:pt x="32" y="6"/>
                    <a:pt x="32" y="6"/>
                  </a:cubicBezTo>
                  <a:cubicBezTo>
                    <a:pt x="32" y="7"/>
                    <a:pt x="32" y="7"/>
                    <a:pt x="32" y="8"/>
                  </a:cubicBezTo>
                  <a:cubicBezTo>
                    <a:pt x="31" y="9"/>
                    <a:pt x="31" y="10"/>
                    <a:pt x="31" y="10"/>
                  </a:cubicBezTo>
                  <a:cubicBezTo>
                    <a:pt x="30" y="11"/>
                    <a:pt x="30" y="11"/>
                    <a:pt x="30" y="11"/>
                  </a:cubicBezTo>
                  <a:cubicBezTo>
                    <a:pt x="30" y="11"/>
                    <a:pt x="30" y="12"/>
                    <a:pt x="29" y="12"/>
                  </a:cubicBezTo>
                  <a:cubicBezTo>
                    <a:pt x="29" y="12"/>
                    <a:pt x="29" y="12"/>
                    <a:pt x="29" y="12"/>
                  </a:cubicBezTo>
                  <a:cubicBezTo>
                    <a:pt x="28" y="13"/>
                    <a:pt x="28" y="13"/>
                    <a:pt x="28" y="13"/>
                  </a:cubicBezTo>
                  <a:cubicBezTo>
                    <a:pt x="27" y="14"/>
                    <a:pt x="26" y="14"/>
                    <a:pt x="25" y="14"/>
                  </a:cubicBezTo>
                  <a:cubicBezTo>
                    <a:pt x="24" y="14"/>
                    <a:pt x="24" y="14"/>
                    <a:pt x="24" y="14"/>
                  </a:cubicBezTo>
                  <a:cubicBezTo>
                    <a:pt x="23" y="14"/>
                    <a:pt x="23" y="14"/>
                    <a:pt x="23" y="14"/>
                  </a:cubicBezTo>
                  <a:cubicBezTo>
                    <a:pt x="23" y="19"/>
                    <a:pt x="23" y="19"/>
                    <a:pt x="23" y="19"/>
                  </a:cubicBezTo>
                  <a:cubicBezTo>
                    <a:pt x="21" y="14"/>
                    <a:pt x="21" y="14"/>
                    <a:pt x="21" y="14"/>
                  </a:cubicBezTo>
                  <a:cubicBezTo>
                    <a:pt x="21" y="14"/>
                    <a:pt x="21" y="14"/>
                    <a:pt x="21" y="14"/>
                  </a:cubicBezTo>
                  <a:cubicBezTo>
                    <a:pt x="20" y="15"/>
                    <a:pt x="20" y="15"/>
                    <a:pt x="19" y="15"/>
                  </a:cubicBezTo>
                  <a:cubicBezTo>
                    <a:pt x="18" y="15"/>
                    <a:pt x="18" y="15"/>
                    <a:pt x="18" y="15"/>
                  </a:cubicBezTo>
                  <a:cubicBezTo>
                    <a:pt x="17" y="15"/>
                    <a:pt x="17" y="15"/>
                    <a:pt x="17" y="15"/>
                  </a:cubicBezTo>
                  <a:cubicBezTo>
                    <a:pt x="15" y="14"/>
                    <a:pt x="14" y="14"/>
                    <a:pt x="12" y="14"/>
                  </a:cubicBezTo>
                  <a:cubicBezTo>
                    <a:pt x="12" y="17"/>
                    <a:pt x="12" y="17"/>
                    <a:pt x="12" y="17"/>
                  </a:cubicBezTo>
                  <a:cubicBezTo>
                    <a:pt x="11" y="14"/>
                    <a:pt x="11" y="14"/>
                    <a:pt x="11" y="14"/>
                  </a:cubicBezTo>
                  <a:cubicBezTo>
                    <a:pt x="11" y="13"/>
                    <a:pt x="11" y="13"/>
                    <a:pt x="11" y="13"/>
                  </a:cubicBezTo>
                  <a:cubicBezTo>
                    <a:pt x="9" y="16"/>
                    <a:pt x="8" y="17"/>
                    <a:pt x="8" y="20"/>
                  </a:cubicBezTo>
                  <a:cubicBezTo>
                    <a:pt x="8" y="23"/>
                    <a:pt x="7" y="25"/>
                    <a:pt x="7" y="27"/>
                  </a:cubicBezTo>
                  <a:cubicBezTo>
                    <a:pt x="6" y="28"/>
                    <a:pt x="6" y="28"/>
                    <a:pt x="6" y="28"/>
                  </a:cubicBezTo>
                  <a:cubicBezTo>
                    <a:pt x="6" y="29"/>
                    <a:pt x="6" y="29"/>
                    <a:pt x="7" y="30"/>
                  </a:cubicBezTo>
                  <a:cubicBezTo>
                    <a:pt x="7" y="31"/>
                    <a:pt x="7" y="31"/>
                    <a:pt x="7" y="31"/>
                  </a:cubicBezTo>
                  <a:cubicBezTo>
                    <a:pt x="7" y="32"/>
                    <a:pt x="7" y="32"/>
                    <a:pt x="7" y="32"/>
                  </a:cubicBezTo>
                  <a:cubicBezTo>
                    <a:pt x="7" y="32"/>
                    <a:pt x="7" y="32"/>
                    <a:pt x="7" y="33"/>
                  </a:cubicBezTo>
                  <a:cubicBezTo>
                    <a:pt x="7" y="33"/>
                    <a:pt x="7" y="33"/>
                    <a:pt x="7" y="33"/>
                  </a:cubicBezTo>
                  <a:cubicBezTo>
                    <a:pt x="7" y="34"/>
                    <a:pt x="7" y="34"/>
                    <a:pt x="7" y="34"/>
                  </a:cubicBezTo>
                  <a:cubicBezTo>
                    <a:pt x="7" y="34"/>
                    <a:pt x="7" y="34"/>
                    <a:pt x="7" y="34"/>
                  </a:cubicBezTo>
                  <a:cubicBezTo>
                    <a:pt x="7" y="36"/>
                    <a:pt x="6" y="37"/>
                    <a:pt x="4" y="37"/>
                  </a:cubicBezTo>
                  <a:cubicBezTo>
                    <a:pt x="4" y="37"/>
                    <a:pt x="4" y="37"/>
                    <a:pt x="4" y="37"/>
                  </a:cubicBezTo>
                  <a:cubicBezTo>
                    <a:pt x="3" y="37"/>
                    <a:pt x="2" y="38"/>
                    <a:pt x="1" y="38"/>
                  </a:cubicBezTo>
                  <a:cubicBezTo>
                    <a:pt x="1" y="38"/>
                    <a:pt x="1" y="38"/>
                    <a:pt x="0" y="37"/>
                  </a:cubicBezTo>
                  <a:cubicBezTo>
                    <a:pt x="1" y="38"/>
                    <a:pt x="1" y="38"/>
                    <a:pt x="1" y="38"/>
                  </a:cubicBezTo>
                  <a:cubicBezTo>
                    <a:pt x="1" y="38"/>
                    <a:pt x="1" y="38"/>
                    <a:pt x="2" y="38"/>
                  </a:cubicBezTo>
                  <a:cubicBezTo>
                    <a:pt x="2" y="38"/>
                    <a:pt x="2" y="38"/>
                    <a:pt x="3" y="39"/>
                  </a:cubicBezTo>
                  <a:cubicBezTo>
                    <a:pt x="3" y="39"/>
                    <a:pt x="4" y="40"/>
                    <a:pt x="4" y="40"/>
                  </a:cubicBezTo>
                  <a:cubicBezTo>
                    <a:pt x="4" y="41"/>
                    <a:pt x="5" y="41"/>
                    <a:pt x="5" y="42"/>
                  </a:cubicBezTo>
                  <a:cubicBezTo>
                    <a:pt x="5" y="42"/>
                    <a:pt x="5" y="42"/>
                    <a:pt x="5" y="42"/>
                  </a:cubicBezTo>
                  <a:cubicBezTo>
                    <a:pt x="5" y="43"/>
                    <a:pt x="5" y="43"/>
                    <a:pt x="5" y="43"/>
                  </a:cubicBezTo>
                  <a:cubicBezTo>
                    <a:pt x="6" y="44"/>
                    <a:pt x="6" y="44"/>
                    <a:pt x="6" y="44"/>
                  </a:cubicBezTo>
                  <a:cubicBezTo>
                    <a:pt x="6" y="45"/>
                    <a:pt x="6" y="46"/>
                    <a:pt x="6" y="47"/>
                  </a:cubicBezTo>
                  <a:cubicBezTo>
                    <a:pt x="6" y="47"/>
                    <a:pt x="6" y="48"/>
                    <a:pt x="6" y="49"/>
                  </a:cubicBezTo>
                  <a:cubicBezTo>
                    <a:pt x="6" y="49"/>
                    <a:pt x="6" y="49"/>
                    <a:pt x="6" y="49"/>
                  </a:cubicBezTo>
                  <a:cubicBezTo>
                    <a:pt x="8" y="52"/>
                    <a:pt x="10" y="54"/>
                    <a:pt x="12" y="56"/>
                  </a:cubicBezTo>
                  <a:cubicBezTo>
                    <a:pt x="13" y="58"/>
                    <a:pt x="15" y="60"/>
                    <a:pt x="16" y="62"/>
                  </a:cubicBezTo>
                  <a:cubicBezTo>
                    <a:pt x="17" y="62"/>
                    <a:pt x="17" y="62"/>
                    <a:pt x="17" y="62"/>
                  </a:cubicBezTo>
                  <a:cubicBezTo>
                    <a:pt x="17" y="62"/>
                    <a:pt x="18" y="63"/>
                    <a:pt x="19" y="63"/>
                  </a:cubicBezTo>
                  <a:cubicBezTo>
                    <a:pt x="19" y="64"/>
                    <a:pt x="19" y="64"/>
                    <a:pt x="20" y="64"/>
                  </a:cubicBezTo>
                  <a:cubicBezTo>
                    <a:pt x="20" y="65"/>
                    <a:pt x="20" y="65"/>
                    <a:pt x="20" y="65"/>
                  </a:cubicBezTo>
                  <a:cubicBezTo>
                    <a:pt x="20" y="65"/>
                    <a:pt x="20" y="65"/>
                    <a:pt x="20" y="65"/>
                  </a:cubicBezTo>
                  <a:cubicBezTo>
                    <a:pt x="21" y="66"/>
                    <a:pt x="21" y="66"/>
                    <a:pt x="21" y="66"/>
                  </a:cubicBezTo>
                  <a:cubicBezTo>
                    <a:pt x="21" y="67"/>
                    <a:pt x="21" y="67"/>
                    <a:pt x="21" y="67"/>
                  </a:cubicBezTo>
                  <a:cubicBezTo>
                    <a:pt x="22" y="68"/>
                    <a:pt x="22" y="69"/>
                    <a:pt x="22" y="70"/>
                  </a:cubicBezTo>
                  <a:cubicBezTo>
                    <a:pt x="23" y="71"/>
                    <a:pt x="23" y="72"/>
                    <a:pt x="23" y="73"/>
                  </a:cubicBezTo>
                  <a:cubicBezTo>
                    <a:pt x="23" y="74"/>
                    <a:pt x="23" y="74"/>
                    <a:pt x="23" y="74"/>
                  </a:cubicBezTo>
                  <a:cubicBezTo>
                    <a:pt x="23" y="75"/>
                    <a:pt x="23" y="75"/>
                    <a:pt x="23" y="75"/>
                  </a:cubicBezTo>
                  <a:cubicBezTo>
                    <a:pt x="25" y="72"/>
                    <a:pt x="25" y="72"/>
                    <a:pt x="25" y="72"/>
                  </a:cubicBezTo>
                  <a:cubicBezTo>
                    <a:pt x="27" y="75"/>
                    <a:pt x="27" y="75"/>
                    <a:pt x="27" y="75"/>
                  </a:cubicBezTo>
                  <a:cubicBezTo>
                    <a:pt x="28" y="76"/>
                    <a:pt x="28" y="77"/>
                    <a:pt x="28" y="78"/>
                  </a:cubicBezTo>
                  <a:cubicBezTo>
                    <a:pt x="29" y="79"/>
                    <a:pt x="28" y="80"/>
                    <a:pt x="28" y="80"/>
                  </a:cubicBezTo>
                  <a:cubicBezTo>
                    <a:pt x="28" y="81"/>
                    <a:pt x="28" y="82"/>
                    <a:pt x="27" y="83"/>
                  </a:cubicBezTo>
                  <a:cubicBezTo>
                    <a:pt x="27" y="83"/>
                    <a:pt x="27" y="83"/>
                    <a:pt x="27" y="83"/>
                  </a:cubicBezTo>
                  <a:cubicBezTo>
                    <a:pt x="27" y="84"/>
                    <a:pt x="27" y="84"/>
                    <a:pt x="27" y="84"/>
                  </a:cubicBezTo>
                  <a:cubicBezTo>
                    <a:pt x="26" y="84"/>
                    <a:pt x="26" y="84"/>
                    <a:pt x="26" y="84"/>
                  </a:cubicBezTo>
                  <a:cubicBezTo>
                    <a:pt x="25" y="86"/>
                    <a:pt x="24" y="86"/>
                    <a:pt x="22" y="86"/>
                  </a:cubicBezTo>
                  <a:cubicBezTo>
                    <a:pt x="22" y="86"/>
                    <a:pt x="22" y="86"/>
                    <a:pt x="22" y="86"/>
                  </a:cubicBezTo>
                  <a:cubicBezTo>
                    <a:pt x="22" y="87"/>
                    <a:pt x="22" y="89"/>
                    <a:pt x="22" y="90"/>
                  </a:cubicBezTo>
                  <a:cubicBezTo>
                    <a:pt x="22" y="93"/>
                    <a:pt x="22" y="93"/>
                    <a:pt x="22" y="93"/>
                  </a:cubicBezTo>
                  <a:cubicBezTo>
                    <a:pt x="23" y="94"/>
                    <a:pt x="23" y="95"/>
                    <a:pt x="22" y="96"/>
                  </a:cubicBezTo>
                  <a:cubicBezTo>
                    <a:pt x="22" y="98"/>
                    <a:pt x="22" y="99"/>
                    <a:pt x="20" y="100"/>
                  </a:cubicBezTo>
                  <a:cubicBezTo>
                    <a:pt x="19" y="101"/>
                    <a:pt x="18" y="101"/>
                    <a:pt x="17" y="102"/>
                  </a:cubicBezTo>
                  <a:cubicBezTo>
                    <a:pt x="16" y="102"/>
                    <a:pt x="15" y="102"/>
                    <a:pt x="15" y="102"/>
                  </a:cubicBezTo>
                  <a:cubicBezTo>
                    <a:pt x="15" y="102"/>
                    <a:pt x="15" y="102"/>
                    <a:pt x="15" y="102"/>
                  </a:cubicBezTo>
                  <a:cubicBezTo>
                    <a:pt x="15" y="104"/>
                    <a:pt x="16" y="105"/>
                    <a:pt x="17" y="107"/>
                  </a:cubicBezTo>
                  <a:cubicBezTo>
                    <a:pt x="19" y="111"/>
                    <a:pt x="21" y="114"/>
                    <a:pt x="24" y="118"/>
                  </a:cubicBezTo>
                  <a:cubicBezTo>
                    <a:pt x="26" y="119"/>
                    <a:pt x="26" y="119"/>
                    <a:pt x="26" y="119"/>
                  </a:cubicBezTo>
                  <a:cubicBezTo>
                    <a:pt x="26" y="120"/>
                    <a:pt x="26" y="120"/>
                    <a:pt x="27" y="121"/>
                  </a:cubicBezTo>
                  <a:cubicBezTo>
                    <a:pt x="29" y="123"/>
                    <a:pt x="29" y="123"/>
                    <a:pt x="29" y="123"/>
                  </a:cubicBezTo>
                  <a:cubicBezTo>
                    <a:pt x="30" y="124"/>
                    <a:pt x="30" y="124"/>
                    <a:pt x="30" y="124"/>
                  </a:cubicBezTo>
                  <a:cubicBezTo>
                    <a:pt x="30" y="125"/>
                    <a:pt x="30" y="125"/>
                    <a:pt x="30" y="125"/>
                  </a:cubicBezTo>
                  <a:cubicBezTo>
                    <a:pt x="31" y="125"/>
                    <a:pt x="31" y="126"/>
                    <a:pt x="32" y="126"/>
                  </a:cubicBezTo>
                  <a:cubicBezTo>
                    <a:pt x="32" y="127"/>
                    <a:pt x="33" y="128"/>
                    <a:pt x="33" y="129"/>
                  </a:cubicBezTo>
                  <a:cubicBezTo>
                    <a:pt x="34" y="130"/>
                    <a:pt x="34" y="132"/>
                    <a:pt x="34" y="135"/>
                  </a:cubicBezTo>
                  <a:cubicBezTo>
                    <a:pt x="34" y="136"/>
                    <a:pt x="34" y="136"/>
                    <a:pt x="34" y="136"/>
                  </a:cubicBezTo>
                  <a:cubicBezTo>
                    <a:pt x="34" y="136"/>
                    <a:pt x="34" y="136"/>
                    <a:pt x="34" y="137"/>
                  </a:cubicBezTo>
                  <a:cubicBezTo>
                    <a:pt x="34" y="138"/>
                    <a:pt x="34" y="138"/>
                    <a:pt x="34" y="138"/>
                  </a:cubicBezTo>
                  <a:cubicBezTo>
                    <a:pt x="34" y="139"/>
                    <a:pt x="34" y="140"/>
                    <a:pt x="33" y="142"/>
                  </a:cubicBezTo>
                  <a:cubicBezTo>
                    <a:pt x="33" y="142"/>
                    <a:pt x="33" y="142"/>
                    <a:pt x="33" y="142"/>
                  </a:cubicBezTo>
                  <a:cubicBezTo>
                    <a:pt x="33" y="142"/>
                    <a:pt x="33" y="142"/>
                    <a:pt x="33" y="142"/>
                  </a:cubicBezTo>
                  <a:cubicBezTo>
                    <a:pt x="33" y="143"/>
                    <a:pt x="33" y="143"/>
                    <a:pt x="33" y="143"/>
                  </a:cubicBezTo>
                  <a:cubicBezTo>
                    <a:pt x="33" y="144"/>
                    <a:pt x="33" y="144"/>
                    <a:pt x="33" y="144"/>
                  </a:cubicBezTo>
                  <a:cubicBezTo>
                    <a:pt x="34" y="144"/>
                    <a:pt x="34" y="144"/>
                    <a:pt x="34" y="144"/>
                  </a:cubicBezTo>
                  <a:cubicBezTo>
                    <a:pt x="34" y="145"/>
                    <a:pt x="35" y="145"/>
                    <a:pt x="35" y="146"/>
                  </a:cubicBezTo>
                  <a:cubicBezTo>
                    <a:pt x="37" y="148"/>
                    <a:pt x="38" y="150"/>
                    <a:pt x="39" y="153"/>
                  </a:cubicBezTo>
                  <a:cubicBezTo>
                    <a:pt x="39" y="153"/>
                    <a:pt x="39" y="154"/>
                    <a:pt x="39" y="155"/>
                  </a:cubicBezTo>
                  <a:cubicBezTo>
                    <a:pt x="39" y="155"/>
                    <a:pt x="39" y="155"/>
                    <a:pt x="39" y="155"/>
                  </a:cubicBezTo>
                  <a:cubicBezTo>
                    <a:pt x="39" y="156"/>
                    <a:pt x="39" y="157"/>
                    <a:pt x="39" y="158"/>
                  </a:cubicBezTo>
                  <a:cubicBezTo>
                    <a:pt x="41" y="159"/>
                    <a:pt x="41" y="161"/>
                    <a:pt x="41" y="163"/>
                  </a:cubicBezTo>
                  <a:cubicBezTo>
                    <a:pt x="41" y="163"/>
                    <a:pt x="41" y="164"/>
                    <a:pt x="42" y="164"/>
                  </a:cubicBezTo>
                  <a:cubicBezTo>
                    <a:pt x="44" y="165"/>
                    <a:pt x="44" y="165"/>
                    <a:pt x="44" y="165"/>
                  </a:cubicBezTo>
                  <a:cubicBezTo>
                    <a:pt x="42" y="167"/>
                    <a:pt x="42" y="167"/>
                    <a:pt x="42" y="167"/>
                  </a:cubicBezTo>
                  <a:cubicBezTo>
                    <a:pt x="41" y="169"/>
                    <a:pt x="40" y="171"/>
                    <a:pt x="39" y="174"/>
                  </a:cubicBezTo>
                  <a:cubicBezTo>
                    <a:pt x="38" y="176"/>
                    <a:pt x="36" y="178"/>
                    <a:pt x="35" y="180"/>
                  </a:cubicBezTo>
                  <a:cubicBezTo>
                    <a:pt x="33" y="182"/>
                    <a:pt x="32" y="184"/>
                    <a:pt x="31" y="185"/>
                  </a:cubicBezTo>
                  <a:cubicBezTo>
                    <a:pt x="29" y="187"/>
                    <a:pt x="28" y="189"/>
                    <a:pt x="27" y="192"/>
                  </a:cubicBezTo>
                  <a:cubicBezTo>
                    <a:pt x="21" y="204"/>
                    <a:pt x="21" y="204"/>
                    <a:pt x="21" y="204"/>
                  </a:cubicBezTo>
                  <a:cubicBezTo>
                    <a:pt x="20" y="203"/>
                    <a:pt x="20" y="203"/>
                    <a:pt x="20" y="203"/>
                  </a:cubicBezTo>
                  <a:cubicBezTo>
                    <a:pt x="20" y="204"/>
                    <a:pt x="20" y="204"/>
                    <a:pt x="20" y="204"/>
                  </a:cubicBezTo>
                  <a:cubicBezTo>
                    <a:pt x="18" y="208"/>
                    <a:pt x="16" y="213"/>
                    <a:pt x="15" y="217"/>
                  </a:cubicBezTo>
                  <a:cubicBezTo>
                    <a:pt x="15" y="218"/>
                    <a:pt x="15" y="219"/>
                    <a:pt x="15" y="219"/>
                  </a:cubicBezTo>
                  <a:cubicBezTo>
                    <a:pt x="14" y="219"/>
                    <a:pt x="14" y="218"/>
                    <a:pt x="14" y="218"/>
                  </a:cubicBezTo>
                  <a:cubicBezTo>
                    <a:pt x="14" y="218"/>
                    <a:pt x="14" y="218"/>
                    <a:pt x="14" y="218"/>
                  </a:cubicBezTo>
                  <a:cubicBezTo>
                    <a:pt x="14" y="218"/>
                    <a:pt x="14" y="219"/>
                    <a:pt x="15" y="219"/>
                  </a:cubicBezTo>
                  <a:cubicBezTo>
                    <a:pt x="15" y="221"/>
                    <a:pt x="14" y="222"/>
                    <a:pt x="14" y="224"/>
                  </a:cubicBezTo>
                  <a:cubicBezTo>
                    <a:pt x="13" y="225"/>
                    <a:pt x="13" y="228"/>
                    <a:pt x="13" y="230"/>
                  </a:cubicBezTo>
                  <a:cubicBezTo>
                    <a:pt x="13" y="229"/>
                    <a:pt x="13" y="229"/>
                    <a:pt x="13" y="229"/>
                  </a:cubicBezTo>
                  <a:cubicBezTo>
                    <a:pt x="12" y="230"/>
                    <a:pt x="13" y="233"/>
                    <a:pt x="14" y="235"/>
                  </a:cubicBezTo>
                  <a:cubicBezTo>
                    <a:pt x="15" y="236"/>
                    <a:pt x="16" y="237"/>
                    <a:pt x="16" y="237"/>
                  </a:cubicBezTo>
                  <a:cubicBezTo>
                    <a:pt x="17" y="237"/>
                    <a:pt x="18" y="236"/>
                    <a:pt x="17" y="234"/>
                  </a:cubicBezTo>
                  <a:cubicBezTo>
                    <a:pt x="18" y="234"/>
                    <a:pt x="19" y="233"/>
                    <a:pt x="20" y="233"/>
                  </a:cubicBezTo>
                  <a:cubicBezTo>
                    <a:pt x="22" y="233"/>
                    <a:pt x="22" y="234"/>
                    <a:pt x="24" y="236"/>
                  </a:cubicBezTo>
                  <a:cubicBezTo>
                    <a:pt x="25" y="237"/>
                    <a:pt x="28" y="242"/>
                    <a:pt x="29" y="242"/>
                  </a:cubicBezTo>
                  <a:cubicBezTo>
                    <a:pt x="29" y="242"/>
                    <a:pt x="29" y="242"/>
                    <a:pt x="29" y="242"/>
                  </a:cubicBezTo>
                  <a:cubicBezTo>
                    <a:pt x="29" y="242"/>
                    <a:pt x="28" y="245"/>
                    <a:pt x="29" y="246"/>
                  </a:cubicBezTo>
                  <a:cubicBezTo>
                    <a:pt x="30" y="246"/>
                    <a:pt x="32" y="246"/>
                    <a:pt x="33" y="247"/>
                  </a:cubicBezTo>
                  <a:cubicBezTo>
                    <a:pt x="33" y="248"/>
                    <a:pt x="34" y="251"/>
                    <a:pt x="34" y="252"/>
                  </a:cubicBezTo>
                  <a:cubicBezTo>
                    <a:pt x="35" y="253"/>
                    <a:pt x="35" y="253"/>
                    <a:pt x="36" y="253"/>
                  </a:cubicBezTo>
                  <a:cubicBezTo>
                    <a:pt x="36" y="253"/>
                    <a:pt x="36" y="253"/>
                    <a:pt x="37" y="252"/>
                  </a:cubicBezTo>
                  <a:cubicBezTo>
                    <a:pt x="37" y="252"/>
                    <a:pt x="38" y="252"/>
                    <a:pt x="38" y="252"/>
                  </a:cubicBezTo>
                  <a:cubicBezTo>
                    <a:pt x="39" y="252"/>
                    <a:pt x="39" y="252"/>
                    <a:pt x="39" y="252"/>
                  </a:cubicBezTo>
                  <a:cubicBezTo>
                    <a:pt x="38" y="255"/>
                    <a:pt x="38" y="256"/>
                    <a:pt x="42" y="257"/>
                  </a:cubicBezTo>
                  <a:cubicBezTo>
                    <a:pt x="41" y="258"/>
                    <a:pt x="41" y="259"/>
                    <a:pt x="41" y="261"/>
                  </a:cubicBezTo>
                  <a:cubicBezTo>
                    <a:pt x="41" y="263"/>
                    <a:pt x="45" y="266"/>
                    <a:pt x="47" y="268"/>
                  </a:cubicBezTo>
                  <a:cubicBezTo>
                    <a:pt x="48" y="267"/>
                    <a:pt x="48" y="267"/>
                    <a:pt x="48" y="267"/>
                  </a:cubicBezTo>
                  <a:cubicBezTo>
                    <a:pt x="48" y="267"/>
                    <a:pt x="48" y="266"/>
                    <a:pt x="48" y="265"/>
                  </a:cubicBezTo>
                  <a:cubicBezTo>
                    <a:pt x="50" y="260"/>
                    <a:pt x="50" y="260"/>
                    <a:pt x="50" y="260"/>
                  </a:cubicBezTo>
                  <a:cubicBezTo>
                    <a:pt x="52" y="263"/>
                    <a:pt x="52" y="263"/>
                    <a:pt x="52" y="263"/>
                  </a:cubicBezTo>
                  <a:cubicBezTo>
                    <a:pt x="55" y="265"/>
                    <a:pt x="55" y="265"/>
                    <a:pt x="57" y="266"/>
                  </a:cubicBezTo>
                  <a:cubicBezTo>
                    <a:pt x="58" y="266"/>
                    <a:pt x="60" y="266"/>
                    <a:pt x="61" y="267"/>
                  </a:cubicBezTo>
                  <a:cubicBezTo>
                    <a:pt x="62" y="267"/>
                    <a:pt x="62" y="267"/>
                    <a:pt x="62" y="267"/>
                  </a:cubicBezTo>
                  <a:cubicBezTo>
                    <a:pt x="62" y="267"/>
                    <a:pt x="63" y="267"/>
                    <a:pt x="63" y="268"/>
                  </a:cubicBezTo>
                  <a:cubicBezTo>
                    <a:pt x="64" y="268"/>
                    <a:pt x="64" y="268"/>
                    <a:pt x="64" y="268"/>
                  </a:cubicBezTo>
                  <a:cubicBezTo>
                    <a:pt x="65" y="269"/>
                    <a:pt x="65" y="270"/>
                    <a:pt x="65" y="271"/>
                  </a:cubicBezTo>
                  <a:cubicBezTo>
                    <a:pt x="65" y="271"/>
                    <a:pt x="65" y="271"/>
                    <a:pt x="65" y="271"/>
                  </a:cubicBezTo>
                  <a:cubicBezTo>
                    <a:pt x="66" y="271"/>
                    <a:pt x="66" y="271"/>
                    <a:pt x="67" y="271"/>
                  </a:cubicBezTo>
                  <a:cubicBezTo>
                    <a:pt x="68" y="271"/>
                    <a:pt x="69" y="271"/>
                    <a:pt x="70" y="272"/>
                  </a:cubicBezTo>
                  <a:cubicBezTo>
                    <a:pt x="71" y="273"/>
                    <a:pt x="71" y="275"/>
                    <a:pt x="71" y="277"/>
                  </a:cubicBezTo>
                  <a:cubicBezTo>
                    <a:pt x="70" y="278"/>
                    <a:pt x="70" y="279"/>
                    <a:pt x="69" y="280"/>
                  </a:cubicBezTo>
                  <a:cubicBezTo>
                    <a:pt x="69" y="281"/>
                    <a:pt x="69" y="281"/>
                    <a:pt x="68" y="282"/>
                  </a:cubicBezTo>
                  <a:cubicBezTo>
                    <a:pt x="69" y="282"/>
                    <a:pt x="69" y="282"/>
                    <a:pt x="69" y="282"/>
                  </a:cubicBezTo>
                  <a:cubicBezTo>
                    <a:pt x="69" y="282"/>
                    <a:pt x="70" y="282"/>
                    <a:pt x="70" y="281"/>
                  </a:cubicBezTo>
                  <a:cubicBezTo>
                    <a:pt x="71" y="280"/>
                    <a:pt x="71" y="280"/>
                    <a:pt x="71" y="280"/>
                  </a:cubicBezTo>
                  <a:cubicBezTo>
                    <a:pt x="72" y="279"/>
                    <a:pt x="73" y="278"/>
                    <a:pt x="76" y="278"/>
                  </a:cubicBezTo>
                  <a:cubicBezTo>
                    <a:pt x="77" y="278"/>
                    <a:pt x="78" y="279"/>
                    <a:pt x="79" y="280"/>
                  </a:cubicBezTo>
                  <a:cubicBezTo>
                    <a:pt x="80" y="280"/>
                    <a:pt x="80" y="280"/>
                    <a:pt x="80" y="280"/>
                  </a:cubicBezTo>
                  <a:cubicBezTo>
                    <a:pt x="82" y="280"/>
                    <a:pt x="82" y="279"/>
                    <a:pt x="83" y="277"/>
                  </a:cubicBezTo>
                  <a:cubicBezTo>
                    <a:pt x="84" y="276"/>
                    <a:pt x="84" y="274"/>
                    <a:pt x="85" y="273"/>
                  </a:cubicBezTo>
                  <a:cubicBezTo>
                    <a:pt x="85" y="272"/>
                    <a:pt x="85" y="272"/>
                    <a:pt x="85" y="272"/>
                  </a:cubicBezTo>
                  <a:cubicBezTo>
                    <a:pt x="84" y="272"/>
                    <a:pt x="84" y="271"/>
                    <a:pt x="83" y="270"/>
                  </a:cubicBezTo>
                  <a:cubicBezTo>
                    <a:pt x="82" y="269"/>
                    <a:pt x="80" y="268"/>
                    <a:pt x="79" y="266"/>
                  </a:cubicBezTo>
                  <a:cubicBezTo>
                    <a:pt x="77" y="263"/>
                    <a:pt x="75" y="260"/>
                    <a:pt x="71" y="260"/>
                  </a:cubicBezTo>
                  <a:cubicBezTo>
                    <a:pt x="72" y="260"/>
                    <a:pt x="72" y="261"/>
                    <a:pt x="73" y="261"/>
                  </a:cubicBezTo>
                  <a:cubicBezTo>
                    <a:pt x="72" y="261"/>
                    <a:pt x="72" y="261"/>
                    <a:pt x="72" y="261"/>
                  </a:cubicBezTo>
                  <a:cubicBezTo>
                    <a:pt x="71" y="261"/>
                    <a:pt x="71" y="261"/>
                    <a:pt x="70" y="262"/>
                  </a:cubicBezTo>
                  <a:cubicBezTo>
                    <a:pt x="69" y="262"/>
                    <a:pt x="69" y="262"/>
                    <a:pt x="68" y="262"/>
                  </a:cubicBezTo>
                  <a:cubicBezTo>
                    <a:pt x="68" y="262"/>
                    <a:pt x="67" y="262"/>
                    <a:pt x="67" y="262"/>
                  </a:cubicBezTo>
                  <a:cubicBezTo>
                    <a:pt x="66" y="261"/>
                    <a:pt x="60" y="255"/>
                    <a:pt x="58" y="255"/>
                  </a:cubicBezTo>
                  <a:cubicBezTo>
                    <a:pt x="58" y="255"/>
                    <a:pt x="58" y="255"/>
                    <a:pt x="58" y="255"/>
                  </a:cubicBezTo>
                  <a:cubicBezTo>
                    <a:pt x="57" y="256"/>
                    <a:pt x="57" y="256"/>
                    <a:pt x="56" y="256"/>
                  </a:cubicBezTo>
                  <a:cubicBezTo>
                    <a:pt x="55" y="256"/>
                    <a:pt x="55" y="256"/>
                    <a:pt x="55" y="256"/>
                  </a:cubicBezTo>
                  <a:cubicBezTo>
                    <a:pt x="54" y="255"/>
                    <a:pt x="54" y="254"/>
                    <a:pt x="54" y="253"/>
                  </a:cubicBezTo>
                  <a:cubicBezTo>
                    <a:pt x="53" y="252"/>
                    <a:pt x="52" y="251"/>
                    <a:pt x="51" y="250"/>
                  </a:cubicBezTo>
                  <a:cubicBezTo>
                    <a:pt x="49" y="248"/>
                    <a:pt x="50" y="247"/>
                    <a:pt x="51" y="244"/>
                  </a:cubicBezTo>
                  <a:cubicBezTo>
                    <a:pt x="53" y="248"/>
                    <a:pt x="55" y="252"/>
                    <a:pt x="58" y="255"/>
                  </a:cubicBezTo>
                  <a:cubicBezTo>
                    <a:pt x="58" y="254"/>
                    <a:pt x="57" y="254"/>
                    <a:pt x="57" y="253"/>
                  </a:cubicBezTo>
                  <a:cubicBezTo>
                    <a:pt x="55" y="249"/>
                    <a:pt x="55" y="245"/>
                    <a:pt x="53" y="241"/>
                  </a:cubicBezTo>
                  <a:cubicBezTo>
                    <a:pt x="51" y="235"/>
                    <a:pt x="49" y="230"/>
                    <a:pt x="46" y="224"/>
                  </a:cubicBezTo>
                  <a:cubicBezTo>
                    <a:pt x="45" y="221"/>
                    <a:pt x="44" y="218"/>
                    <a:pt x="43" y="215"/>
                  </a:cubicBezTo>
                  <a:cubicBezTo>
                    <a:pt x="43" y="215"/>
                    <a:pt x="42" y="215"/>
                    <a:pt x="41" y="215"/>
                  </a:cubicBezTo>
                  <a:cubicBezTo>
                    <a:pt x="40" y="215"/>
                    <a:pt x="38" y="216"/>
                    <a:pt x="37" y="216"/>
                  </a:cubicBezTo>
                  <a:cubicBezTo>
                    <a:pt x="36" y="216"/>
                    <a:pt x="35" y="216"/>
                    <a:pt x="34" y="216"/>
                  </a:cubicBezTo>
                  <a:cubicBezTo>
                    <a:pt x="33" y="216"/>
                    <a:pt x="32" y="216"/>
                    <a:pt x="32" y="215"/>
                  </a:cubicBezTo>
                  <a:cubicBezTo>
                    <a:pt x="32" y="214"/>
                    <a:pt x="33" y="213"/>
                    <a:pt x="34" y="213"/>
                  </a:cubicBezTo>
                  <a:cubicBezTo>
                    <a:pt x="33" y="212"/>
                    <a:pt x="32" y="211"/>
                    <a:pt x="32" y="210"/>
                  </a:cubicBezTo>
                  <a:cubicBezTo>
                    <a:pt x="31" y="208"/>
                    <a:pt x="30" y="207"/>
                    <a:pt x="31" y="205"/>
                  </a:cubicBezTo>
                  <a:cubicBezTo>
                    <a:pt x="31" y="201"/>
                    <a:pt x="33" y="198"/>
                    <a:pt x="31" y="194"/>
                  </a:cubicBezTo>
                  <a:cubicBezTo>
                    <a:pt x="32" y="194"/>
                    <a:pt x="33" y="191"/>
                    <a:pt x="34" y="190"/>
                  </a:cubicBezTo>
                  <a:cubicBezTo>
                    <a:pt x="35" y="186"/>
                    <a:pt x="37" y="183"/>
                    <a:pt x="39" y="180"/>
                  </a:cubicBezTo>
                  <a:cubicBezTo>
                    <a:pt x="41" y="174"/>
                    <a:pt x="44" y="167"/>
                    <a:pt x="46" y="161"/>
                  </a:cubicBezTo>
                  <a:cubicBezTo>
                    <a:pt x="47" y="159"/>
                    <a:pt x="47" y="159"/>
                    <a:pt x="47" y="158"/>
                  </a:cubicBezTo>
                  <a:cubicBezTo>
                    <a:pt x="47" y="156"/>
                    <a:pt x="46" y="153"/>
                    <a:pt x="46" y="151"/>
                  </a:cubicBezTo>
                  <a:cubicBezTo>
                    <a:pt x="46" y="148"/>
                    <a:pt x="49" y="145"/>
                    <a:pt x="48" y="142"/>
                  </a:cubicBezTo>
                  <a:cubicBezTo>
                    <a:pt x="48" y="140"/>
                    <a:pt x="46" y="138"/>
                    <a:pt x="47" y="137"/>
                  </a:cubicBezTo>
                  <a:cubicBezTo>
                    <a:pt x="49" y="135"/>
                    <a:pt x="51" y="135"/>
                    <a:pt x="54" y="134"/>
                  </a:cubicBezTo>
                  <a:cubicBezTo>
                    <a:pt x="54" y="134"/>
                    <a:pt x="55" y="134"/>
                    <a:pt x="55" y="134"/>
                  </a:cubicBezTo>
                  <a:cubicBezTo>
                    <a:pt x="53" y="133"/>
                    <a:pt x="52" y="131"/>
                    <a:pt x="52" y="129"/>
                  </a:cubicBezTo>
                  <a:cubicBezTo>
                    <a:pt x="52" y="126"/>
                    <a:pt x="54" y="124"/>
                    <a:pt x="57" y="124"/>
                  </a:cubicBezTo>
                  <a:cubicBezTo>
                    <a:pt x="60" y="124"/>
                    <a:pt x="62" y="126"/>
                    <a:pt x="62" y="129"/>
                  </a:cubicBezTo>
                  <a:cubicBezTo>
                    <a:pt x="62" y="131"/>
                    <a:pt x="62" y="132"/>
                    <a:pt x="60" y="133"/>
                  </a:cubicBezTo>
                  <a:cubicBezTo>
                    <a:pt x="62" y="134"/>
                    <a:pt x="64" y="135"/>
                    <a:pt x="65" y="135"/>
                  </a:cubicBezTo>
                  <a:cubicBezTo>
                    <a:pt x="65" y="139"/>
                    <a:pt x="64" y="144"/>
                    <a:pt x="63" y="148"/>
                  </a:cubicBezTo>
                  <a:cubicBezTo>
                    <a:pt x="63" y="150"/>
                    <a:pt x="64" y="151"/>
                    <a:pt x="65" y="151"/>
                  </a:cubicBezTo>
                  <a:cubicBezTo>
                    <a:pt x="65" y="151"/>
                    <a:pt x="66" y="151"/>
                    <a:pt x="67" y="151"/>
                  </a:cubicBezTo>
                  <a:cubicBezTo>
                    <a:pt x="70" y="150"/>
                    <a:pt x="73" y="150"/>
                    <a:pt x="77" y="150"/>
                  </a:cubicBezTo>
                  <a:cubicBezTo>
                    <a:pt x="78" y="150"/>
                    <a:pt x="79" y="150"/>
                    <a:pt x="80" y="150"/>
                  </a:cubicBezTo>
                  <a:cubicBezTo>
                    <a:pt x="80" y="150"/>
                    <a:pt x="81" y="150"/>
                    <a:pt x="82" y="150"/>
                  </a:cubicBezTo>
                  <a:cubicBezTo>
                    <a:pt x="83" y="152"/>
                    <a:pt x="87" y="157"/>
                    <a:pt x="90" y="157"/>
                  </a:cubicBezTo>
                  <a:cubicBezTo>
                    <a:pt x="91" y="157"/>
                    <a:pt x="91" y="157"/>
                    <a:pt x="92" y="156"/>
                  </a:cubicBezTo>
                  <a:cubicBezTo>
                    <a:pt x="90" y="160"/>
                    <a:pt x="90" y="159"/>
                    <a:pt x="93" y="160"/>
                  </a:cubicBezTo>
                  <a:cubicBezTo>
                    <a:pt x="94" y="160"/>
                    <a:pt x="95" y="162"/>
                    <a:pt x="96" y="162"/>
                  </a:cubicBezTo>
                  <a:cubicBezTo>
                    <a:pt x="96" y="162"/>
                    <a:pt x="97" y="162"/>
                    <a:pt x="97" y="162"/>
                  </a:cubicBezTo>
                  <a:cubicBezTo>
                    <a:pt x="97" y="162"/>
                    <a:pt x="98" y="162"/>
                    <a:pt x="98" y="162"/>
                  </a:cubicBezTo>
                  <a:cubicBezTo>
                    <a:pt x="98" y="161"/>
                    <a:pt x="98" y="159"/>
                    <a:pt x="98" y="157"/>
                  </a:cubicBezTo>
                  <a:cubicBezTo>
                    <a:pt x="98" y="156"/>
                    <a:pt x="98" y="156"/>
                    <a:pt x="98" y="156"/>
                  </a:cubicBezTo>
                  <a:cubicBezTo>
                    <a:pt x="97" y="156"/>
                    <a:pt x="97" y="156"/>
                    <a:pt x="97" y="156"/>
                  </a:cubicBezTo>
                  <a:cubicBezTo>
                    <a:pt x="97" y="155"/>
                    <a:pt x="97" y="155"/>
                    <a:pt x="97" y="155"/>
                  </a:cubicBezTo>
                  <a:cubicBezTo>
                    <a:pt x="97" y="155"/>
                    <a:pt x="97" y="155"/>
                    <a:pt x="96" y="154"/>
                  </a:cubicBezTo>
                  <a:cubicBezTo>
                    <a:pt x="94" y="153"/>
                    <a:pt x="94" y="153"/>
                    <a:pt x="94" y="153"/>
                  </a:cubicBezTo>
                  <a:cubicBezTo>
                    <a:pt x="94" y="152"/>
                    <a:pt x="93" y="152"/>
                    <a:pt x="93" y="151"/>
                  </a:cubicBezTo>
                  <a:cubicBezTo>
                    <a:pt x="92" y="150"/>
                    <a:pt x="92" y="148"/>
                    <a:pt x="92" y="146"/>
                  </a:cubicBezTo>
                  <a:cubicBezTo>
                    <a:pt x="93" y="146"/>
                    <a:pt x="93" y="146"/>
                    <a:pt x="93" y="146"/>
                  </a:cubicBezTo>
                  <a:cubicBezTo>
                    <a:pt x="92" y="145"/>
                    <a:pt x="92" y="144"/>
                    <a:pt x="92" y="143"/>
                  </a:cubicBezTo>
                  <a:cubicBezTo>
                    <a:pt x="91" y="142"/>
                    <a:pt x="91" y="142"/>
                    <a:pt x="91" y="142"/>
                  </a:cubicBezTo>
                  <a:cubicBezTo>
                    <a:pt x="90" y="139"/>
                    <a:pt x="87" y="135"/>
                    <a:pt x="91" y="132"/>
                  </a:cubicBezTo>
                  <a:cubicBezTo>
                    <a:pt x="92" y="131"/>
                    <a:pt x="92" y="131"/>
                    <a:pt x="92" y="131"/>
                  </a:cubicBezTo>
                  <a:cubicBezTo>
                    <a:pt x="92" y="131"/>
                    <a:pt x="93" y="130"/>
                    <a:pt x="93" y="130"/>
                  </a:cubicBezTo>
                  <a:cubicBezTo>
                    <a:pt x="95" y="128"/>
                    <a:pt x="97" y="126"/>
                    <a:pt x="99" y="123"/>
                  </a:cubicBezTo>
                  <a:cubicBezTo>
                    <a:pt x="99" y="122"/>
                    <a:pt x="100" y="121"/>
                    <a:pt x="101" y="119"/>
                  </a:cubicBezTo>
                  <a:cubicBezTo>
                    <a:pt x="101" y="119"/>
                    <a:pt x="102" y="119"/>
                    <a:pt x="102" y="118"/>
                  </a:cubicBezTo>
                  <a:cubicBezTo>
                    <a:pt x="104" y="116"/>
                    <a:pt x="107" y="115"/>
                    <a:pt x="111" y="115"/>
                  </a:cubicBezTo>
                  <a:cubicBezTo>
                    <a:pt x="112" y="114"/>
                    <a:pt x="113" y="114"/>
                    <a:pt x="114" y="114"/>
                  </a:cubicBezTo>
                  <a:cubicBezTo>
                    <a:pt x="114" y="114"/>
                    <a:pt x="115" y="114"/>
                    <a:pt x="115" y="114"/>
                  </a:cubicBezTo>
                  <a:cubicBezTo>
                    <a:pt x="118" y="114"/>
                    <a:pt x="120" y="114"/>
                    <a:pt x="122" y="115"/>
                  </a:cubicBezTo>
                  <a:cubicBezTo>
                    <a:pt x="122" y="115"/>
                    <a:pt x="122" y="115"/>
                    <a:pt x="122" y="115"/>
                  </a:cubicBezTo>
                  <a:cubicBezTo>
                    <a:pt x="124" y="115"/>
                    <a:pt x="126" y="115"/>
                    <a:pt x="127" y="115"/>
                  </a:cubicBezTo>
                  <a:cubicBezTo>
                    <a:pt x="127" y="115"/>
                    <a:pt x="128" y="115"/>
                    <a:pt x="128" y="115"/>
                  </a:cubicBezTo>
                  <a:cubicBezTo>
                    <a:pt x="130" y="115"/>
                    <a:pt x="132" y="115"/>
                    <a:pt x="133" y="115"/>
                  </a:cubicBezTo>
                  <a:cubicBezTo>
                    <a:pt x="135" y="114"/>
                    <a:pt x="135" y="114"/>
                    <a:pt x="135" y="114"/>
                  </a:cubicBezTo>
                  <a:cubicBezTo>
                    <a:pt x="136" y="114"/>
                    <a:pt x="138" y="114"/>
                    <a:pt x="139" y="114"/>
                  </a:cubicBezTo>
                  <a:cubicBezTo>
                    <a:pt x="139" y="114"/>
                    <a:pt x="139" y="114"/>
                    <a:pt x="140" y="114"/>
                  </a:cubicBezTo>
                  <a:cubicBezTo>
                    <a:pt x="140" y="114"/>
                    <a:pt x="140" y="114"/>
                    <a:pt x="140" y="114"/>
                  </a:cubicBezTo>
                  <a:cubicBezTo>
                    <a:pt x="141" y="114"/>
                    <a:pt x="142" y="114"/>
                    <a:pt x="143" y="115"/>
                  </a:cubicBezTo>
                  <a:cubicBezTo>
                    <a:pt x="144" y="115"/>
                    <a:pt x="144" y="115"/>
                    <a:pt x="144" y="116"/>
                  </a:cubicBezTo>
                  <a:cubicBezTo>
                    <a:pt x="147" y="115"/>
                    <a:pt x="147" y="115"/>
                    <a:pt x="147" y="115"/>
                  </a:cubicBezTo>
                  <a:cubicBezTo>
                    <a:pt x="147" y="115"/>
                    <a:pt x="147" y="115"/>
                    <a:pt x="147" y="115"/>
                  </a:cubicBezTo>
                  <a:cubicBezTo>
                    <a:pt x="148" y="114"/>
                    <a:pt x="149" y="114"/>
                    <a:pt x="149" y="114"/>
                  </a:cubicBezTo>
                  <a:cubicBezTo>
                    <a:pt x="150" y="113"/>
                    <a:pt x="150" y="113"/>
                    <a:pt x="150" y="113"/>
                  </a:cubicBezTo>
                  <a:cubicBezTo>
                    <a:pt x="150" y="111"/>
                    <a:pt x="150" y="109"/>
                    <a:pt x="149" y="107"/>
                  </a:cubicBezTo>
                  <a:cubicBezTo>
                    <a:pt x="149" y="105"/>
                    <a:pt x="148" y="103"/>
                    <a:pt x="149" y="101"/>
                  </a:cubicBezTo>
                  <a:cubicBezTo>
                    <a:pt x="149" y="99"/>
                    <a:pt x="149" y="98"/>
                    <a:pt x="149" y="97"/>
                  </a:cubicBezTo>
                  <a:cubicBezTo>
                    <a:pt x="150" y="96"/>
                    <a:pt x="151" y="95"/>
                    <a:pt x="151" y="95"/>
                  </a:cubicBezTo>
                  <a:cubicBezTo>
                    <a:pt x="151" y="95"/>
                    <a:pt x="151" y="95"/>
                    <a:pt x="152" y="94"/>
                  </a:cubicBezTo>
                  <a:cubicBezTo>
                    <a:pt x="152" y="94"/>
                    <a:pt x="152" y="93"/>
                    <a:pt x="152" y="93"/>
                  </a:cubicBezTo>
                  <a:cubicBezTo>
                    <a:pt x="152" y="93"/>
                    <a:pt x="152" y="93"/>
                    <a:pt x="152" y="93"/>
                  </a:cubicBezTo>
                  <a:cubicBezTo>
                    <a:pt x="151" y="93"/>
                    <a:pt x="151" y="93"/>
                    <a:pt x="151" y="93"/>
                  </a:cubicBezTo>
                  <a:cubicBezTo>
                    <a:pt x="150" y="93"/>
                    <a:pt x="149" y="92"/>
                    <a:pt x="148" y="91"/>
                  </a:cubicBezTo>
                  <a:cubicBezTo>
                    <a:pt x="147" y="90"/>
                    <a:pt x="147" y="89"/>
                    <a:pt x="147" y="88"/>
                  </a:cubicBezTo>
                  <a:cubicBezTo>
                    <a:pt x="147" y="87"/>
                    <a:pt x="147" y="87"/>
                    <a:pt x="147" y="87"/>
                  </a:cubicBezTo>
                  <a:cubicBezTo>
                    <a:pt x="145" y="87"/>
                    <a:pt x="144" y="86"/>
                    <a:pt x="143" y="85"/>
                  </a:cubicBezTo>
                  <a:cubicBezTo>
                    <a:pt x="142" y="84"/>
                    <a:pt x="141" y="83"/>
                    <a:pt x="141" y="82"/>
                  </a:cubicBezTo>
                  <a:cubicBezTo>
                    <a:pt x="140" y="82"/>
                    <a:pt x="140" y="81"/>
                    <a:pt x="139" y="81"/>
                  </a:cubicBezTo>
                  <a:cubicBezTo>
                    <a:pt x="139" y="80"/>
                    <a:pt x="139" y="80"/>
                    <a:pt x="139" y="80"/>
                  </a:cubicBezTo>
                  <a:cubicBezTo>
                    <a:pt x="138" y="80"/>
                    <a:pt x="138" y="79"/>
                    <a:pt x="137" y="78"/>
                  </a:cubicBezTo>
                  <a:cubicBezTo>
                    <a:pt x="136" y="77"/>
                    <a:pt x="136" y="77"/>
                    <a:pt x="136" y="77"/>
                  </a:cubicBezTo>
                  <a:cubicBezTo>
                    <a:pt x="136" y="77"/>
                    <a:pt x="136" y="77"/>
                    <a:pt x="136" y="77"/>
                  </a:cubicBezTo>
                  <a:cubicBezTo>
                    <a:pt x="136" y="76"/>
                    <a:pt x="135" y="76"/>
                    <a:pt x="135" y="75"/>
                  </a:cubicBezTo>
                  <a:cubicBezTo>
                    <a:pt x="135" y="74"/>
                    <a:pt x="135" y="73"/>
                    <a:pt x="135" y="73"/>
                  </a:cubicBezTo>
                  <a:cubicBezTo>
                    <a:pt x="135" y="73"/>
                    <a:pt x="135" y="73"/>
                    <a:pt x="135" y="73"/>
                  </a:cubicBezTo>
                  <a:cubicBezTo>
                    <a:pt x="135" y="70"/>
                    <a:pt x="135" y="67"/>
                    <a:pt x="135" y="65"/>
                  </a:cubicBezTo>
                  <a:cubicBezTo>
                    <a:pt x="136" y="64"/>
                    <a:pt x="136" y="64"/>
                    <a:pt x="136" y="64"/>
                  </a:cubicBezTo>
                  <a:cubicBezTo>
                    <a:pt x="136" y="64"/>
                    <a:pt x="136" y="63"/>
                    <a:pt x="136" y="63"/>
                  </a:cubicBezTo>
                  <a:cubicBezTo>
                    <a:pt x="136" y="62"/>
                    <a:pt x="136" y="62"/>
                    <a:pt x="136" y="62"/>
                  </a:cubicBezTo>
                  <a:cubicBezTo>
                    <a:pt x="136" y="62"/>
                    <a:pt x="136" y="62"/>
                    <a:pt x="136" y="61"/>
                  </a:cubicBezTo>
                  <a:cubicBezTo>
                    <a:pt x="136" y="60"/>
                    <a:pt x="136" y="60"/>
                    <a:pt x="136" y="60"/>
                  </a:cubicBezTo>
                  <a:cubicBezTo>
                    <a:pt x="136" y="60"/>
                    <a:pt x="136" y="60"/>
                    <a:pt x="136" y="60"/>
                  </a:cubicBezTo>
                  <a:cubicBezTo>
                    <a:pt x="136" y="60"/>
                    <a:pt x="136" y="60"/>
                    <a:pt x="136" y="59"/>
                  </a:cubicBezTo>
                  <a:cubicBezTo>
                    <a:pt x="135" y="59"/>
                    <a:pt x="134" y="58"/>
                    <a:pt x="134" y="57"/>
                  </a:cubicBezTo>
                  <a:cubicBezTo>
                    <a:pt x="133" y="56"/>
                    <a:pt x="133" y="56"/>
                    <a:pt x="133" y="56"/>
                  </a:cubicBezTo>
                  <a:cubicBezTo>
                    <a:pt x="130" y="54"/>
                    <a:pt x="127" y="51"/>
                    <a:pt x="125" y="48"/>
                  </a:cubicBezTo>
                  <a:cubicBezTo>
                    <a:pt x="125" y="47"/>
                    <a:pt x="125" y="47"/>
                    <a:pt x="124" y="46"/>
                  </a:cubicBezTo>
                  <a:cubicBezTo>
                    <a:pt x="124" y="45"/>
                    <a:pt x="124" y="45"/>
                    <a:pt x="124" y="45"/>
                  </a:cubicBezTo>
                  <a:cubicBezTo>
                    <a:pt x="123" y="45"/>
                    <a:pt x="123" y="44"/>
                    <a:pt x="123" y="44"/>
                  </a:cubicBezTo>
                  <a:cubicBezTo>
                    <a:pt x="121" y="42"/>
                    <a:pt x="121" y="42"/>
                    <a:pt x="118" y="41"/>
                  </a:cubicBezTo>
                  <a:cubicBezTo>
                    <a:pt x="117" y="41"/>
                    <a:pt x="116" y="41"/>
                    <a:pt x="115" y="41"/>
                  </a:cubicBezTo>
                  <a:cubicBezTo>
                    <a:pt x="114" y="40"/>
                    <a:pt x="114" y="40"/>
                    <a:pt x="114" y="40"/>
                  </a:cubicBezTo>
                  <a:cubicBezTo>
                    <a:pt x="114" y="40"/>
                    <a:pt x="114" y="40"/>
                    <a:pt x="114" y="40"/>
                  </a:cubicBezTo>
                  <a:cubicBezTo>
                    <a:pt x="113" y="40"/>
                    <a:pt x="113" y="40"/>
                    <a:pt x="113" y="40"/>
                  </a:cubicBezTo>
                  <a:cubicBezTo>
                    <a:pt x="113" y="40"/>
                    <a:pt x="113" y="40"/>
                    <a:pt x="112" y="40"/>
                  </a:cubicBezTo>
                  <a:cubicBezTo>
                    <a:pt x="112" y="41"/>
                    <a:pt x="112" y="41"/>
                    <a:pt x="112" y="41"/>
                  </a:cubicBezTo>
                  <a:cubicBezTo>
                    <a:pt x="112" y="41"/>
                    <a:pt x="112" y="41"/>
                    <a:pt x="112" y="41"/>
                  </a:cubicBezTo>
                  <a:cubicBezTo>
                    <a:pt x="108" y="44"/>
                    <a:pt x="108" y="44"/>
                    <a:pt x="108" y="44"/>
                  </a:cubicBezTo>
                  <a:cubicBezTo>
                    <a:pt x="108" y="45"/>
                    <a:pt x="108" y="46"/>
                    <a:pt x="108" y="46"/>
                  </a:cubicBezTo>
                  <a:cubicBezTo>
                    <a:pt x="107" y="47"/>
                    <a:pt x="107" y="47"/>
                    <a:pt x="107" y="47"/>
                  </a:cubicBezTo>
                  <a:cubicBezTo>
                    <a:pt x="106" y="49"/>
                    <a:pt x="104" y="49"/>
                    <a:pt x="103" y="49"/>
                  </a:cubicBezTo>
                  <a:cubicBezTo>
                    <a:pt x="103" y="49"/>
                    <a:pt x="103" y="49"/>
                    <a:pt x="103" y="49"/>
                  </a:cubicBezTo>
                  <a:cubicBezTo>
                    <a:pt x="102" y="49"/>
                    <a:pt x="102" y="49"/>
                    <a:pt x="102" y="49"/>
                  </a:cubicBezTo>
                  <a:cubicBezTo>
                    <a:pt x="102" y="49"/>
                    <a:pt x="101" y="50"/>
                    <a:pt x="101" y="50"/>
                  </a:cubicBezTo>
                  <a:cubicBezTo>
                    <a:pt x="100" y="50"/>
                    <a:pt x="100" y="50"/>
                    <a:pt x="100" y="50"/>
                  </a:cubicBezTo>
                  <a:cubicBezTo>
                    <a:pt x="103" y="57"/>
                    <a:pt x="103" y="57"/>
                    <a:pt x="103" y="57"/>
                  </a:cubicBezTo>
                  <a:cubicBezTo>
                    <a:pt x="97" y="52"/>
                    <a:pt x="97" y="52"/>
                    <a:pt x="97" y="52"/>
                  </a:cubicBezTo>
                  <a:cubicBezTo>
                    <a:pt x="94" y="50"/>
                    <a:pt x="91" y="48"/>
                    <a:pt x="88" y="46"/>
                  </a:cubicBezTo>
                  <a:cubicBezTo>
                    <a:pt x="87" y="45"/>
                    <a:pt x="87" y="45"/>
                    <a:pt x="87" y="45"/>
                  </a:cubicBezTo>
                  <a:cubicBezTo>
                    <a:pt x="87" y="45"/>
                    <a:pt x="87" y="45"/>
                    <a:pt x="87" y="45"/>
                  </a:cubicBezTo>
                  <a:cubicBezTo>
                    <a:pt x="85" y="46"/>
                    <a:pt x="84" y="47"/>
                    <a:pt x="83" y="48"/>
                  </a:cubicBezTo>
                  <a:cubicBezTo>
                    <a:pt x="81" y="49"/>
                    <a:pt x="81" y="49"/>
                    <a:pt x="81" y="49"/>
                  </a:cubicBezTo>
                  <a:cubicBezTo>
                    <a:pt x="81" y="50"/>
                    <a:pt x="80" y="50"/>
                    <a:pt x="80" y="50"/>
                  </a:cubicBezTo>
                  <a:cubicBezTo>
                    <a:pt x="77" y="52"/>
                    <a:pt x="75" y="54"/>
                    <a:pt x="72" y="56"/>
                  </a:cubicBezTo>
                  <a:cubicBezTo>
                    <a:pt x="71" y="58"/>
                    <a:pt x="71" y="59"/>
                    <a:pt x="70" y="59"/>
                  </a:cubicBezTo>
                  <a:cubicBezTo>
                    <a:pt x="69" y="59"/>
                    <a:pt x="69" y="59"/>
                    <a:pt x="69" y="59"/>
                  </a:cubicBezTo>
                  <a:cubicBezTo>
                    <a:pt x="69" y="59"/>
                    <a:pt x="68" y="59"/>
                    <a:pt x="68" y="59"/>
                  </a:cubicBezTo>
                  <a:cubicBezTo>
                    <a:pt x="68" y="58"/>
                    <a:pt x="68" y="58"/>
                    <a:pt x="68" y="58"/>
                  </a:cubicBezTo>
                  <a:cubicBezTo>
                    <a:pt x="68" y="59"/>
                    <a:pt x="68" y="59"/>
                    <a:pt x="68" y="59"/>
                  </a:cubicBezTo>
                  <a:cubicBezTo>
                    <a:pt x="67" y="59"/>
                    <a:pt x="67" y="58"/>
                    <a:pt x="66" y="58"/>
                  </a:cubicBezTo>
                  <a:cubicBezTo>
                    <a:pt x="66" y="58"/>
                    <a:pt x="65" y="58"/>
                    <a:pt x="65" y="57"/>
                  </a:cubicBezTo>
                  <a:cubicBezTo>
                    <a:pt x="64" y="57"/>
                    <a:pt x="64" y="57"/>
                    <a:pt x="64" y="57"/>
                  </a:cubicBezTo>
                  <a:cubicBezTo>
                    <a:pt x="64" y="57"/>
                    <a:pt x="64" y="57"/>
                    <a:pt x="64" y="57"/>
                  </a:cubicBezTo>
                  <a:cubicBezTo>
                    <a:pt x="63" y="56"/>
                    <a:pt x="63" y="56"/>
                    <a:pt x="63" y="56"/>
                  </a:cubicBezTo>
                  <a:cubicBezTo>
                    <a:pt x="63" y="55"/>
                    <a:pt x="63" y="55"/>
                    <a:pt x="63" y="55"/>
                  </a:cubicBezTo>
                  <a:cubicBezTo>
                    <a:pt x="63" y="54"/>
                    <a:pt x="63" y="54"/>
                    <a:pt x="63" y="54"/>
                  </a:cubicBezTo>
                  <a:cubicBezTo>
                    <a:pt x="62" y="52"/>
                    <a:pt x="64" y="50"/>
                    <a:pt x="65" y="48"/>
                  </a:cubicBezTo>
                  <a:cubicBezTo>
                    <a:pt x="65" y="48"/>
                    <a:pt x="65" y="48"/>
                    <a:pt x="65" y="48"/>
                  </a:cubicBezTo>
                  <a:cubicBezTo>
                    <a:pt x="65" y="47"/>
                    <a:pt x="65" y="47"/>
                    <a:pt x="65" y="47"/>
                  </a:cubicBezTo>
                  <a:cubicBezTo>
                    <a:pt x="65" y="47"/>
                    <a:pt x="65" y="47"/>
                    <a:pt x="65" y="47"/>
                  </a:cubicBezTo>
                  <a:cubicBezTo>
                    <a:pt x="66" y="45"/>
                    <a:pt x="66" y="45"/>
                    <a:pt x="66" y="45"/>
                  </a:cubicBezTo>
                  <a:cubicBezTo>
                    <a:pt x="67" y="44"/>
                    <a:pt x="67" y="44"/>
                    <a:pt x="67" y="44"/>
                  </a:cubicBezTo>
                  <a:cubicBezTo>
                    <a:pt x="67" y="44"/>
                    <a:pt x="66" y="43"/>
                    <a:pt x="66" y="43"/>
                  </a:cubicBezTo>
                  <a:cubicBezTo>
                    <a:pt x="66" y="41"/>
                    <a:pt x="65" y="40"/>
                    <a:pt x="65" y="38"/>
                  </a:cubicBezTo>
                  <a:cubicBezTo>
                    <a:pt x="65" y="36"/>
                    <a:pt x="66" y="35"/>
                    <a:pt x="67" y="34"/>
                  </a:cubicBezTo>
                  <a:cubicBezTo>
                    <a:pt x="68" y="33"/>
                    <a:pt x="68" y="33"/>
                    <a:pt x="68" y="33"/>
                  </a:cubicBezTo>
                  <a:cubicBezTo>
                    <a:pt x="68" y="32"/>
                    <a:pt x="68" y="32"/>
                    <a:pt x="68" y="31"/>
                  </a:cubicBezTo>
                  <a:cubicBezTo>
                    <a:pt x="68" y="31"/>
                    <a:pt x="68" y="30"/>
                    <a:pt x="68" y="30"/>
                  </a:cubicBezTo>
                  <a:cubicBezTo>
                    <a:pt x="68" y="29"/>
                    <a:pt x="69" y="28"/>
                    <a:pt x="69" y="27"/>
                  </a:cubicBezTo>
                  <a:cubicBezTo>
                    <a:pt x="69" y="26"/>
                    <a:pt x="69" y="26"/>
                    <a:pt x="69" y="26"/>
                  </a:cubicBezTo>
                  <a:cubicBezTo>
                    <a:pt x="70" y="26"/>
                    <a:pt x="70" y="25"/>
                    <a:pt x="70" y="25"/>
                  </a:cubicBezTo>
                  <a:cubicBezTo>
                    <a:pt x="70" y="25"/>
                    <a:pt x="70" y="25"/>
                    <a:pt x="70" y="25"/>
                  </a:cubicBezTo>
                  <a:cubicBezTo>
                    <a:pt x="69" y="24"/>
                    <a:pt x="69" y="24"/>
                    <a:pt x="69" y="24"/>
                  </a:cubicBezTo>
                  <a:cubicBezTo>
                    <a:pt x="69" y="24"/>
                    <a:pt x="69" y="23"/>
                    <a:pt x="69" y="22"/>
                  </a:cubicBezTo>
                  <a:cubicBezTo>
                    <a:pt x="68" y="22"/>
                    <a:pt x="68" y="22"/>
                    <a:pt x="68" y="22"/>
                  </a:cubicBezTo>
                  <a:cubicBezTo>
                    <a:pt x="68" y="21"/>
                    <a:pt x="68" y="19"/>
                    <a:pt x="68" y="18"/>
                  </a:cubicBezTo>
                  <a:cubicBezTo>
                    <a:pt x="67" y="18"/>
                    <a:pt x="67" y="18"/>
                    <a:pt x="67" y="18"/>
                  </a:cubicBezTo>
                  <a:cubicBezTo>
                    <a:pt x="66" y="18"/>
                    <a:pt x="65" y="19"/>
                    <a:pt x="64" y="19"/>
                  </a:cubicBezTo>
                  <a:cubicBezTo>
                    <a:pt x="62" y="19"/>
                    <a:pt x="61" y="19"/>
                    <a:pt x="60" y="19"/>
                  </a:cubicBezTo>
                  <a:cubicBezTo>
                    <a:pt x="60" y="19"/>
                    <a:pt x="59" y="19"/>
                    <a:pt x="58" y="19"/>
                  </a:cubicBezTo>
                  <a:cubicBezTo>
                    <a:pt x="58" y="18"/>
                    <a:pt x="58" y="18"/>
                    <a:pt x="58" y="18"/>
                  </a:cubicBezTo>
                  <a:cubicBezTo>
                    <a:pt x="57" y="19"/>
                    <a:pt x="57" y="19"/>
                    <a:pt x="57" y="19"/>
                  </a:cubicBezTo>
                  <a:cubicBezTo>
                    <a:pt x="57" y="18"/>
                    <a:pt x="56" y="18"/>
                    <a:pt x="56" y="17"/>
                  </a:cubicBezTo>
                  <a:cubicBezTo>
                    <a:pt x="55" y="17"/>
                    <a:pt x="55" y="17"/>
                    <a:pt x="55" y="16"/>
                  </a:cubicBezTo>
                  <a:cubicBezTo>
                    <a:pt x="55" y="16"/>
                    <a:pt x="55" y="16"/>
                    <a:pt x="55" y="16"/>
                  </a:cubicBezTo>
                  <a:cubicBezTo>
                    <a:pt x="54" y="15"/>
                    <a:pt x="54" y="15"/>
                    <a:pt x="53" y="14"/>
                  </a:cubicBezTo>
                  <a:cubicBezTo>
                    <a:pt x="53" y="13"/>
                    <a:pt x="53" y="13"/>
                    <a:pt x="53" y="13"/>
                  </a:cubicBezTo>
                  <a:cubicBezTo>
                    <a:pt x="52" y="12"/>
                    <a:pt x="52" y="11"/>
                    <a:pt x="53" y="10"/>
                  </a:cubicBezTo>
                  <a:cubicBezTo>
                    <a:pt x="49" y="4"/>
                    <a:pt x="49" y="4"/>
                    <a:pt x="49" y="4"/>
                  </a:cubicBezTo>
                  <a:cubicBezTo>
                    <a:pt x="49" y="4"/>
                    <a:pt x="49" y="4"/>
                    <a:pt x="49" y="4"/>
                  </a:cubicBezTo>
                  <a:cubicBezTo>
                    <a:pt x="48" y="4"/>
                    <a:pt x="48" y="3"/>
                    <a:pt x="48" y="2"/>
                  </a:cubicBezTo>
                  <a:cubicBezTo>
                    <a:pt x="47" y="2"/>
                    <a:pt x="47" y="2"/>
                    <a:pt x="47" y="2"/>
                  </a:cubicBezTo>
                  <a:cubicBezTo>
                    <a:pt x="47" y="1"/>
                    <a:pt x="47" y="1"/>
                    <a:pt x="47" y="1"/>
                  </a:cubicBezTo>
                  <a:cubicBezTo>
                    <a:pt x="46" y="1"/>
                    <a:pt x="46" y="1"/>
                    <a:pt x="46" y="1"/>
                  </a:cubicBezTo>
                  <a:cubicBezTo>
                    <a:pt x="46" y="1"/>
                    <a:pt x="46" y="1"/>
                    <a:pt x="46" y="1"/>
                  </a:cubicBezTo>
                  <a:cubicBezTo>
                    <a:pt x="46" y="0"/>
                    <a:pt x="46"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439"/>
            <p:cNvSpPr/>
            <p:nvPr/>
          </p:nvSpPr>
          <p:spPr bwMode="auto">
            <a:xfrm>
              <a:off x="4625643" y="5365597"/>
              <a:ext cx="448397" cy="532300"/>
            </a:xfrm>
            <a:custGeom>
              <a:gdLst>
                <a:gd name="T0" fmla="*/ 28 w 138"/>
                <a:gd name="T1" fmla="*/ 5 h 164"/>
                <a:gd name="T2" fmla="*/ 31 w 138"/>
                <a:gd name="T3" fmla="*/ 20 h 164"/>
                <a:gd name="T4" fmla="*/ 24 w 138"/>
                <a:gd name="T5" fmla="*/ 26 h 164"/>
                <a:gd name="T6" fmla="*/ 19 w 138"/>
                <a:gd name="T7" fmla="*/ 26 h 164"/>
                <a:gd name="T8" fmla="*/ 8 w 138"/>
                <a:gd name="T9" fmla="*/ 29 h 164"/>
                <a:gd name="T10" fmla="*/ 2 w 138"/>
                <a:gd name="T11" fmla="*/ 34 h 164"/>
                <a:gd name="T12" fmla="*/ 6 w 138"/>
                <a:gd name="T13" fmla="*/ 41 h 164"/>
                <a:gd name="T14" fmla="*/ 6 w 138"/>
                <a:gd name="T15" fmla="*/ 52 h 164"/>
                <a:gd name="T16" fmla="*/ 15 w 138"/>
                <a:gd name="T17" fmla="*/ 55 h 164"/>
                <a:gd name="T18" fmla="*/ 21 w 138"/>
                <a:gd name="T19" fmla="*/ 59 h 164"/>
                <a:gd name="T20" fmla="*/ 22 w 138"/>
                <a:gd name="T21" fmla="*/ 69 h 164"/>
                <a:gd name="T22" fmla="*/ 19 w 138"/>
                <a:gd name="T23" fmla="*/ 77 h 164"/>
                <a:gd name="T24" fmla="*/ 21 w 138"/>
                <a:gd name="T25" fmla="*/ 90 h 164"/>
                <a:gd name="T26" fmla="*/ 25 w 138"/>
                <a:gd name="T27" fmla="*/ 88 h 164"/>
                <a:gd name="T28" fmla="*/ 37 w 138"/>
                <a:gd name="T29" fmla="*/ 82 h 164"/>
                <a:gd name="T30" fmla="*/ 51 w 138"/>
                <a:gd name="T31" fmla="*/ 85 h 164"/>
                <a:gd name="T32" fmla="*/ 61 w 138"/>
                <a:gd name="T33" fmla="*/ 76 h 164"/>
                <a:gd name="T34" fmla="*/ 75 w 138"/>
                <a:gd name="T35" fmla="*/ 83 h 164"/>
                <a:gd name="T36" fmla="*/ 87 w 138"/>
                <a:gd name="T37" fmla="*/ 97 h 164"/>
                <a:gd name="T38" fmla="*/ 89 w 138"/>
                <a:gd name="T39" fmla="*/ 104 h 164"/>
                <a:gd name="T40" fmla="*/ 88 w 138"/>
                <a:gd name="T41" fmla="*/ 115 h 164"/>
                <a:gd name="T42" fmla="*/ 94 w 138"/>
                <a:gd name="T43" fmla="*/ 123 h 164"/>
                <a:gd name="T44" fmla="*/ 99 w 138"/>
                <a:gd name="T45" fmla="*/ 128 h 164"/>
                <a:gd name="T46" fmla="*/ 104 w 138"/>
                <a:gd name="T47" fmla="*/ 136 h 164"/>
                <a:gd name="T48" fmla="*/ 102 w 138"/>
                <a:gd name="T49" fmla="*/ 157 h 164"/>
                <a:gd name="T50" fmla="*/ 101 w 138"/>
                <a:gd name="T51" fmla="*/ 161 h 164"/>
                <a:gd name="T52" fmla="*/ 108 w 138"/>
                <a:gd name="T53" fmla="*/ 164 h 164"/>
                <a:gd name="T54" fmla="*/ 110 w 138"/>
                <a:gd name="T55" fmla="*/ 164 h 164"/>
                <a:gd name="T56" fmla="*/ 112 w 138"/>
                <a:gd name="T57" fmla="*/ 155 h 164"/>
                <a:gd name="T58" fmla="*/ 120 w 138"/>
                <a:gd name="T59" fmla="*/ 151 h 164"/>
                <a:gd name="T60" fmla="*/ 128 w 138"/>
                <a:gd name="T61" fmla="*/ 156 h 164"/>
                <a:gd name="T62" fmla="*/ 136 w 138"/>
                <a:gd name="T63" fmla="*/ 149 h 164"/>
                <a:gd name="T64" fmla="*/ 136 w 138"/>
                <a:gd name="T65" fmla="*/ 138 h 164"/>
                <a:gd name="T66" fmla="*/ 134 w 138"/>
                <a:gd name="T67" fmla="*/ 126 h 164"/>
                <a:gd name="T68" fmla="*/ 129 w 138"/>
                <a:gd name="T69" fmla="*/ 123 h 164"/>
                <a:gd name="T70" fmla="*/ 125 w 138"/>
                <a:gd name="T71" fmla="*/ 119 h 164"/>
                <a:gd name="T72" fmla="*/ 119 w 138"/>
                <a:gd name="T73" fmla="*/ 118 h 164"/>
                <a:gd name="T74" fmla="*/ 118 w 138"/>
                <a:gd name="T75" fmla="*/ 113 h 164"/>
                <a:gd name="T76" fmla="*/ 115 w 138"/>
                <a:gd name="T77" fmla="*/ 107 h 164"/>
                <a:gd name="T78" fmla="*/ 109 w 138"/>
                <a:gd name="T79" fmla="*/ 100 h 164"/>
                <a:gd name="T80" fmla="*/ 99 w 138"/>
                <a:gd name="T81" fmla="*/ 88 h 164"/>
                <a:gd name="T82" fmla="*/ 91 w 138"/>
                <a:gd name="T83" fmla="*/ 76 h 164"/>
                <a:gd name="T84" fmla="*/ 69 w 138"/>
                <a:gd name="T85" fmla="*/ 58 h 164"/>
                <a:gd name="T86" fmla="*/ 70 w 138"/>
                <a:gd name="T87" fmla="*/ 52 h 164"/>
                <a:gd name="T88" fmla="*/ 77 w 138"/>
                <a:gd name="T89" fmla="*/ 52 h 164"/>
                <a:gd name="T90" fmla="*/ 82 w 138"/>
                <a:gd name="T91" fmla="*/ 52 h 164"/>
                <a:gd name="T92" fmla="*/ 85 w 138"/>
                <a:gd name="T93" fmla="*/ 44 h 164"/>
                <a:gd name="T94" fmla="*/ 77 w 138"/>
                <a:gd name="T95" fmla="*/ 36 h 164"/>
                <a:gd name="T96" fmla="*/ 76 w 138"/>
                <a:gd name="T97" fmla="*/ 37 h 164"/>
                <a:gd name="T98" fmla="*/ 75 w 138"/>
                <a:gd name="T99" fmla="*/ 32 h 164"/>
                <a:gd name="T100" fmla="*/ 69 w 138"/>
                <a:gd name="T101" fmla="*/ 34 h 164"/>
                <a:gd name="T102" fmla="*/ 65 w 138"/>
                <a:gd name="T103" fmla="*/ 37 h 164"/>
                <a:gd name="T104" fmla="*/ 61 w 138"/>
                <a:gd name="T105" fmla="*/ 35 h 164"/>
                <a:gd name="T106" fmla="*/ 49 w 138"/>
                <a:gd name="T107" fmla="*/ 25 h 164"/>
                <a:gd name="T108" fmla="*/ 48 w 138"/>
                <a:gd name="T109" fmla="*/ 21 h 164"/>
                <a:gd name="T110" fmla="*/ 49 w 138"/>
                <a:gd name="T111" fmla="*/ 16 h 164"/>
                <a:gd name="T112" fmla="*/ 43 w 138"/>
                <a:gd name="T113" fmla="*/ 14 h 164"/>
                <a:gd name="T114" fmla="*/ 34 w 138"/>
                <a:gd name="T115" fmla="*/ 2 h 1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64">
                  <a:moveTo>
                    <a:pt x="29" y="0"/>
                  </a:moveTo>
                  <a:cubicBezTo>
                    <a:pt x="29" y="1"/>
                    <a:pt x="29" y="1"/>
                    <a:pt x="29" y="1"/>
                  </a:cubicBezTo>
                  <a:cubicBezTo>
                    <a:pt x="28" y="2"/>
                    <a:pt x="28" y="2"/>
                    <a:pt x="28" y="2"/>
                  </a:cubicBezTo>
                  <a:cubicBezTo>
                    <a:pt x="28" y="2"/>
                    <a:pt x="27" y="3"/>
                    <a:pt x="27" y="3"/>
                  </a:cubicBezTo>
                  <a:cubicBezTo>
                    <a:pt x="27" y="4"/>
                    <a:pt x="27" y="4"/>
                    <a:pt x="27" y="4"/>
                  </a:cubicBezTo>
                  <a:cubicBezTo>
                    <a:pt x="27" y="4"/>
                    <a:pt x="28" y="5"/>
                    <a:pt x="28" y="5"/>
                  </a:cubicBezTo>
                  <a:cubicBezTo>
                    <a:pt x="28" y="6"/>
                    <a:pt x="28" y="6"/>
                    <a:pt x="28" y="6"/>
                  </a:cubicBezTo>
                  <a:cubicBezTo>
                    <a:pt x="29" y="7"/>
                    <a:pt x="29" y="7"/>
                    <a:pt x="29" y="8"/>
                  </a:cubicBezTo>
                  <a:cubicBezTo>
                    <a:pt x="31" y="10"/>
                    <a:pt x="31" y="12"/>
                    <a:pt x="31" y="15"/>
                  </a:cubicBezTo>
                  <a:cubicBezTo>
                    <a:pt x="31" y="16"/>
                    <a:pt x="31" y="16"/>
                    <a:pt x="31" y="16"/>
                  </a:cubicBezTo>
                  <a:cubicBezTo>
                    <a:pt x="30" y="19"/>
                    <a:pt x="30" y="20"/>
                    <a:pt x="30" y="20"/>
                  </a:cubicBezTo>
                  <a:cubicBezTo>
                    <a:pt x="31" y="20"/>
                    <a:pt x="31" y="20"/>
                    <a:pt x="31" y="20"/>
                  </a:cubicBezTo>
                  <a:cubicBezTo>
                    <a:pt x="31" y="21"/>
                    <a:pt x="31" y="21"/>
                    <a:pt x="31" y="21"/>
                  </a:cubicBezTo>
                  <a:cubicBezTo>
                    <a:pt x="34" y="22"/>
                    <a:pt x="34" y="22"/>
                    <a:pt x="34" y="22"/>
                  </a:cubicBezTo>
                  <a:cubicBezTo>
                    <a:pt x="32" y="25"/>
                    <a:pt x="32" y="25"/>
                    <a:pt x="32" y="25"/>
                  </a:cubicBezTo>
                  <a:cubicBezTo>
                    <a:pt x="30" y="26"/>
                    <a:pt x="29" y="27"/>
                    <a:pt x="27" y="27"/>
                  </a:cubicBezTo>
                  <a:cubicBezTo>
                    <a:pt x="27" y="27"/>
                    <a:pt x="26" y="27"/>
                    <a:pt x="25" y="26"/>
                  </a:cubicBezTo>
                  <a:cubicBezTo>
                    <a:pt x="24" y="26"/>
                    <a:pt x="24" y="26"/>
                    <a:pt x="24" y="26"/>
                  </a:cubicBezTo>
                  <a:cubicBezTo>
                    <a:pt x="23" y="26"/>
                    <a:pt x="23" y="26"/>
                    <a:pt x="22" y="26"/>
                  </a:cubicBezTo>
                  <a:cubicBezTo>
                    <a:pt x="22" y="26"/>
                    <a:pt x="22" y="26"/>
                    <a:pt x="22" y="26"/>
                  </a:cubicBezTo>
                  <a:cubicBezTo>
                    <a:pt x="22" y="26"/>
                    <a:pt x="22" y="26"/>
                    <a:pt x="22" y="26"/>
                  </a:cubicBezTo>
                  <a:cubicBezTo>
                    <a:pt x="21" y="26"/>
                    <a:pt x="21" y="26"/>
                    <a:pt x="21" y="26"/>
                  </a:cubicBezTo>
                  <a:cubicBezTo>
                    <a:pt x="20" y="27"/>
                    <a:pt x="20" y="27"/>
                    <a:pt x="20" y="27"/>
                  </a:cubicBezTo>
                  <a:cubicBezTo>
                    <a:pt x="19" y="26"/>
                    <a:pt x="19" y="26"/>
                    <a:pt x="19" y="26"/>
                  </a:cubicBezTo>
                  <a:cubicBezTo>
                    <a:pt x="17" y="26"/>
                    <a:pt x="16" y="23"/>
                    <a:pt x="15" y="20"/>
                  </a:cubicBezTo>
                  <a:cubicBezTo>
                    <a:pt x="15" y="20"/>
                    <a:pt x="15" y="20"/>
                    <a:pt x="15" y="20"/>
                  </a:cubicBezTo>
                  <a:cubicBezTo>
                    <a:pt x="14" y="21"/>
                    <a:pt x="12" y="22"/>
                    <a:pt x="11" y="23"/>
                  </a:cubicBezTo>
                  <a:cubicBezTo>
                    <a:pt x="10" y="23"/>
                    <a:pt x="10" y="24"/>
                    <a:pt x="10" y="25"/>
                  </a:cubicBezTo>
                  <a:cubicBezTo>
                    <a:pt x="8" y="28"/>
                    <a:pt x="8" y="28"/>
                    <a:pt x="8" y="28"/>
                  </a:cubicBezTo>
                  <a:cubicBezTo>
                    <a:pt x="8" y="28"/>
                    <a:pt x="8" y="28"/>
                    <a:pt x="8" y="29"/>
                  </a:cubicBezTo>
                  <a:cubicBezTo>
                    <a:pt x="8" y="29"/>
                    <a:pt x="8" y="29"/>
                    <a:pt x="8" y="29"/>
                  </a:cubicBezTo>
                  <a:cubicBezTo>
                    <a:pt x="9" y="30"/>
                    <a:pt x="9" y="30"/>
                    <a:pt x="9" y="30"/>
                  </a:cubicBezTo>
                  <a:cubicBezTo>
                    <a:pt x="10" y="33"/>
                    <a:pt x="10" y="33"/>
                    <a:pt x="10" y="33"/>
                  </a:cubicBezTo>
                  <a:cubicBezTo>
                    <a:pt x="7" y="33"/>
                    <a:pt x="7" y="33"/>
                    <a:pt x="7" y="33"/>
                  </a:cubicBezTo>
                  <a:cubicBezTo>
                    <a:pt x="6" y="33"/>
                    <a:pt x="5" y="33"/>
                    <a:pt x="5" y="33"/>
                  </a:cubicBezTo>
                  <a:cubicBezTo>
                    <a:pt x="4" y="33"/>
                    <a:pt x="3" y="34"/>
                    <a:pt x="2" y="34"/>
                  </a:cubicBezTo>
                  <a:cubicBezTo>
                    <a:pt x="2" y="34"/>
                    <a:pt x="2" y="34"/>
                    <a:pt x="2" y="34"/>
                  </a:cubicBezTo>
                  <a:cubicBezTo>
                    <a:pt x="1" y="35"/>
                    <a:pt x="0" y="37"/>
                    <a:pt x="0" y="38"/>
                  </a:cubicBezTo>
                  <a:cubicBezTo>
                    <a:pt x="1" y="38"/>
                    <a:pt x="1" y="38"/>
                    <a:pt x="1" y="38"/>
                  </a:cubicBezTo>
                  <a:cubicBezTo>
                    <a:pt x="1" y="38"/>
                    <a:pt x="1" y="38"/>
                    <a:pt x="1" y="38"/>
                  </a:cubicBezTo>
                  <a:cubicBezTo>
                    <a:pt x="3" y="38"/>
                    <a:pt x="4" y="39"/>
                    <a:pt x="5" y="40"/>
                  </a:cubicBezTo>
                  <a:cubicBezTo>
                    <a:pt x="6" y="41"/>
                    <a:pt x="6" y="41"/>
                    <a:pt x="6" y="41"/>
                  </a:cubicBezTo>
                  <a:cubicBezTo>
                    <a:pt x="7" y="42"/>
                    <a:pt x="7" y="42"/>
                    <a:pt x="7" y="42"/>
                  </a:cubicBezTo>
                  <a:cubicBezTo>
                    <a:pt x="8" y="43"/>
                    <a:pt x="8" y="45"/>
                    <a:pt x="8" y="47"/>
                  </a:cubicBezTo>
                  <a:cubicBezTo>
                    <a:pt x="8" y="48"/>
                    <a:pt x="7" y="50"/>
                    <a:pt x="7" y="51"/>
                  </a:cubicBezTo>
                  <a:cubicBezTo>
                    <a:pt x="6" y="51"/>
                    <a:pt x="6" y="51"/>
                    <a:pt x="6" y="51"/>
                  </a:cubicBezTo>
                  <a:cubicBezTo>
                    <a:pt x="6" y="52"/>
                    <a:pt x="6" y="52"/>
                    <a:pt x="6" y="52"/>
                  </a:cubicBezTo>
                  <a:cubicBezTo>
                    <a:pt x="6" y="52"/>
                    <a:pt x="6" y="52"/>
                    <a:pt x="6" y="52"/>
                  </a:cubicBezTo>
                  <a:cubicBezTo>
                    <a:pt x="6" y="53"/>
                    <a:pt x="6" y="53"/>
                    <a:pt x="6" y="53"/>
                  </a:cubicBezTo>
                  <a:cubicBezTo>
                    <a:pt x="5" y="53"/>
                    <a:pt x="5" y="53"/>
                    <a:pt x="5" y="53"/>
                  </a:cubicBezTo>
                  <a:cubicBezTo>
                    <a:pt x="6" y="53"/>
                    <a:pt x="6" y="54"/>
                    <a:pt x="6" y="54"/>
                  </a:cubicBezTo>
                  <a:cubicBezTo>
                    <a:pt x="7" y="54"/>
                    <a:pt x="7" y="55"/>
                    <a:pt x="7" y="55"/>
                  </a:cubicBezTo>
                  <a:cubicBezTo>
                    <a:pt x="8" y="55"/>
                    <a:pt x="8" y="55"/>
                    <a:pt x="8" y="55"/>
                  </a:cubicBezTo>
                  <a:cubicBezTo>
                    <a:pt x="10" y="55"/>
                    <a:pt x="13" y="55"/>
                    <a:pt x="15" y="55"/>
                  </a:cubicBezTo>
                  <a:cubicBezTo>
                    <a:pt x="17" y="54"/>
                    <a:pt x="18" y="54"/>
                    <a:pt x="19" y="54"/>
                  </a:cubicBezTo>
                  <a:cubicBezTo>
                    <a:pt x="21" y="54"/>
                    <a:pt x="21" y="54"/>
                    <a:pt x="21" y="54"/>
                  </a:cubicBezTo>
                  <a:cubicBezTo>
                    <a:pt x="22" y="56"/>
                    <a:pt x="22" y="56"/>
                    <a:pt x="22" y="56"/>
                  </a:cubicBezTo>
                  <a:cubicBezTo>
                    <a:pt x="22" y="56"/>
                    <a:pt x="22" y="57"/>
                    <a:pt x="22" y="57"/>
                  </a:cubicBezTo>
                  <a:cubicBezTo>
                    <a:pt x="21" y="58"/>
                    <a:pt x="21" y="59"/>
                    <a:pt x="21" y="59"/>
                  </a:cubicBezTo>
                  <a:cubicBezTo>
                    <a:pt x="21" y="59"/>
                    <a:pt x="21" y="59"/>
                    <a:pt x="21" y="59"/>
                  </a:cubicBezTo>
                  <a:cubicBezTo>
                    <a:pt x="20" y="59"/>
                    <a:pt x="20" y="59"/>
                    <a:pt x="20" y="59"/>
                  </a:cubicBezTo>
                  <a:cubicBezTo>
                    <a:pt x="20" y="60"/>
                    <a:pt x="21" y="61"/>
                    <a:pt x="21" y="61"/>
                  </a:cubicBezTo>
                  <a:cubicBezTo>
                    <a:pt x="21" y="62"/>
                    <a:pt x="21" y="62"/>
                    <a:pt x="21" y="62"/>
                  </a:cubicBezTo>
                  <a:cubicBezTo>
                    <a:pt x="21" y="62"/>
                    <a:pt x="21" y="63"/>
                    <a:pt x="22" y="63"/>
                  </a:cubicBezTo>
                  <a:cubicBezTo>
                    <a:pt x="22" y="64"/>
                    <a:pt x="23" y="66"/>
                    <a:pt x="23" y="68"/>
                  </a:cubicBezTo>
                  <a:cubicBezTo>
                    <a:pt x="23" y="68"/>
                    <a:pt x="22" y="69"/>
                    <a:pt x="22" y="69"/>
                  </a:cubicBezTo>
                  <a:cubicBezTo>
                    <a:pt x="21" y="70"/>
                    <a:pt x="21" y="70"/>
                    <a:pt x="21" y="70"/>
                  </a:cubicBezTo>
                  <a:cubicBezTo>
                    <a:pt x="21" y="70"/>
                    <a:pt x="21" y="71"/>
                    <a:pt x="21" y="71"/>
                  </a:cubicBezTo>
                  <a:cubicBezTo>
                    <a:pt x="21" y="72"/>
                    <a:pt x="21" y="72"/>
                    <a:pt x="21" y="72"/>
                  </a:cubicBezTo>
                  <a:cubicBezTo>
                    <a:pt x="21" y="72"/>
                    <a:pt x="21" y="72"/>
                    <a:pt x="21" y="72"/>
                  </a:cubicBezTo>
                  <a:cubicBezTo>
                    <a:pt x="21" y="73"/>
                    <a:pt x="21" y="74"/>
                    <a:pt x="20" y="76"/>
                  </a:cubicBezTo>
                  <a:cubicBezTo>
                    <a:pt x="20" y="76"/>
                    <a:pt x="19" y="77"/>
                    <a:pt x="19" y="77"/>
                  </a:cubicBezTo>
                  <a:cubicBezTo>
                    <a:pt x="19" y="78"/>
                    <a:pt x="19" y="78"/>
                    <a:pt x="19" y="78"/>
                  </a:cubicBezTo>
                  <a:cubicBezTo>
                    <a:pt x="18" y="79"/>
                    <a:pt x="18" y="79"/>
                    <a:pt x="18" y="80"/>
                  </a:cubicBezTo>
                  <a:cubicBezTo>
                    <a:pt x="18" y="80"/>
                    <a:pt x="18" y="81"/>
                    <a:pt x="19" y="82"/>
                  </a:cubicBezTo>
                  <a:cubicBezTo>
                    <a:pt x="19" y="83"/>
                    <a:pt x="19" y="85"/>
                    <a:pt x="19" y="86"/>
                  </a:cubicBezTo>
                  <a:cubicBezTo>
                    <a:pt x="19" y="87"/>
                    <a:pt x="19" y="88"/>
                    <a:pt x="18" y="88"/>
                  </a:cubicBezTo>
                  <a:cubicBezTo>
                    <a:pt x="21" y="90"/>
                    <a:pt x="21" y="90"/>
                    <a:pt x="21" y="90"/>
                  </a:cubicBezTo>
                  <a:cubicBezTo>
                    <a:pt x="18" y="89"/>
                    <a:pt x="18" y="89"/>
                    <a:pt x="18" y="89"/>
                  </a:cubicBezTo>
                  <a:cubicBezTo>
                    <a:pt x="17" y="91"/>
                    <a:pt x="17" y="91"/>
                    <a:pt x="17" y="91"/>
                  </a:cubicBezTo>
                  <a:cubicBezTo>
                    <a:pt x="16" y="93"/>
                    <a:pt x="15" y="94"/>
                    <a:pt x="15" y="94"/>
                  </a:cubicBezTo>
                  <a:cubicBezTo>
                    <a:pt x="16" y="95"/>
                    <a:pt x="16" y="95"/>
                    <a:pt x="16" y="95"/>
                  </a:cubicBezTo>
                  <a:cubicBezTo>
                    <a:pt x="17" y="94"/>
                    <a:pt x="17" y="94"/>
                    <a:pt x="17" y="94"/>
                  </a:cubicBezTo>
                  <a:cubicBezTo>
                    <a:pt x="20" y="92"/>
                    <a:pt x="22" y="90"/>
                    <a:pt x="25" y="88"/>
                  </a:cubicBezTo>
                  <a:cubicBezTo>
                    <a:pt x="25" y="87"/>
                    <a:pt x="26" y="87"/>
                    <a:pt x="26" y="86"/>
                  </a:cubicBezTo>
                  <a:cubicBezTo>
                    <a:pt x="28" y="85"/>
                    <a:pt x="28" y="85"/>
                    <a:pt x="28" y="85"/>
                  </a:cubicBezTo>
                  <a:cubicBezTo>
                    <a:pt x="30" y="84"/>
                    <a:pt x="31" y="83"/>
                    <a:pt x="33" y="82"/>
                  </a:cubicBezTo>
                  <a:cubicBezTo>
                    <a:pt x="33" y="81"/>
                    <a:pt x="34" y="81"/>
                    <a:pt x="34" y="81"/>
                  </a:cubicBezTo>
                  <a:cubicBezTo>
                    <a:pt x="35" y="81"/>
                    <a:pt x="35" y="81"/>
                    <a:pt x="35" y="81"/>
                  </a:cubicBezTo>
                  <a:cubicBezTo>
                    <a:pt x="36" y="81"/>
                    <a:pt x="37" y="81"/>
                    <a:pt x="37" y="82"/>
                  </a:cubicBezTo>
                  <a:cubicBezTo>
                    <a:pt x="37" y="82"/>
                    <a:pt x="37" y="82"/>
                    <a:pt x="37" y="82"/>
                  </a:cubicBezTo>
                  <a:cubicBezTo>
                    <a:pt x="39" y="83"/>
                    <a:pt x="39" y="83"/>
                    <a:pt x="39" y="83"/>
                  </a:cubicBezTo>
                  <a:cubicBezTo>
                    <a:pt x="41" y="85"/>
                    <a:pt x="43" y="86"/>
                    <a:pt x="45" y="88"/>
                  </a:cubicBezTo>
                  <a:cubicBezTo>
                    <a:pt x="46" y="87"/>
                    <a:pt x="46" y="87"/>
                    <a:pt x="46" y="87"/>
                  </a:cubicBezTo>
                  <a:cubicBezTo>
                    <a:pt x="46" y="87"/>
                    <a:pt x="47" y="86"/>
                    <a:pt x="48" y="86"/>
                  </a:cubicBezTo>
                  <a:cubicBezTo>
                    <a:pt x="49" y="85"/>
                    <a:pt x="50" y="85"/>
                    <a:pt x="51" y="85"/>
                  </a:cubicBezTo>
                  <a:cubicBezTo>
                    <a:pt x="51" y="85"/>
                    <a:pt x="51" y="85"/>
                    <a:pt x="51" y="85"/>
                  </a:cubicBezTo>
                  <a:cubicBezTo>
                    <a:pt x="51" y="85"/>
                    <a:pt x="51" y="85"/>
                    <a:pt x="51" y="85"/>
                  </a:cubicBezTo>
                  <a:cubicBezTo>
                    <a:pt x="51" y="84"/>
                    <a:pt x="51" y="83"/>
                    <a:pt x="53" y="82"/>
                  </a:cubicBezTo>
                  <a:cubicBezTo>
                    <a:pt x="54" y="81"/>
                    <a:pt x="55" y="80"/>
                    <a:pt x="56" y="79"/>
                  </a:cubicBezTo>
                  <a:cubicBezTo>
                    <a:pt x="56" y="79"/>
                    <a:pt x="56" y="79"/>
                    <a:pt x="56" y="79"/>
                  </a:cubicBezTo>
                  <a:cubicBezTo>
                    <a:pt x="58" y="77"/>
                    <a:pt x="59" y="76"/>
                    <a:pt x="61" y="76"/>
                  </a:cubicBezTo>
                  <a:cubicBezTo>
                    <a:pt x="61" y="76"/>
                    <a:pt x="61" y="76"/>
                    <a:pt x="61" y="76"/>
                  </a:cubicBezTo>
                  <a:cubicBezTo>
                    <a:pt x="62" y="76"/>
                    <a:pt x="62" y="77"/>
                    <a:pt x="63" y="77"/>
                  </a:cubicBezTo>
                  <a:cubicBezTo>
                    <a:pt x="64" y="77"/>
                    <a:pt x="64" y="77"/>
                    <a:pt x="64" y="77"/>
                  </a:cubicBezTo>
                  <a:cubicBezTo>
                    <a:pt x="66" y="77"/>
                    <a:pt x="67" y="78"/>
                    <a:pt x="67" y="78"/>
                  </a:cubicBezTo>
                  <a:cubicBezTo>
                    <a:pt x="70" y="78"/>
                    <a:pt x="72" y="79"/>
                    <a:pt x="75" y="82"/>
                  </a:cubicBezTo>
                  <a:cubicBezTo>
                    <a:pt x="75" y="83"/>
                    <a:pt x="75" y="83"/>
                    <a:pt x="75" y="83"/>
                  </a:cubicBezTo>
                  <a:cubicBezTo>
                    <a:pt x="78" y="81"/>
                    <a:pt x="78" y="81"/>
                    <a:pt x="78" y="81"/>
                  </a:cubicBezTo>
                  <a:cubicBezTo>
                    <a:pt x="75" y="84"/>
                    <a:pt x="75" y="84"/>
                    <a:pt x="75" y="84"/>
                  </a:cubicBezTo>
                  <a:cubicBezTo>
                    <a:pt x="76" y="85"/>
                    <a:pt x="76" y="85"/>
                    <a:pt x="76" y="85"/>
                  </a:cubicBezTo>
                  <a:cubicBezTo>
                    <a:pt x="77" y="86"/>
                    <a:pt x="77" y="86"/>
                    <a:pt x="77" y="87"/>
                  </a:cubicBezTo>
                  <a:cubicBezTo>
                    <a:pt x="79" y="89"/>
                    <a:pt x="81" y="92"/>
                    <a:pt x="84" y="94"/>
                  </a:cubicBezTo>
                  <a:cubicBezTo>
                    <a:pt x="85" y="95"/>
                    <a:pt x="86" y="96"/>
                    <a:pt x="87" y="97"/>
                  </a:cubicBezTo>
                  <a:cubicBezTo>
                    <a:pt x="88" y="98"/>
                    <a:pt x="89" y="99"/>
                    <a:pt x="89" y="100"/>
                  </a:cubicBezTo>
                  <a:cubicBezTo>
                    <a:pt x="93" y="99"/>
                    <a:pt x="93" y="99"/>
                    <a:pt x="93" y="99"/>
                  </a:cubicBezTo>
                  <a:cubicBezTo>
                    <a:pt x="89" y="101"/>
                    <a:pt x="89" y="101"/>
                    <a:pt x="89" y="101"/>
                  </a:cubicBezTo>
                  <a:cubicBezTo>
                    <a:pt x="89" y="102"/>
                    <a:pt x="89" y="102"/>
                    <a:pt x="89" y="102"/>
                  </a:cubicBezTo>
                  <a:cubicBezTo>
                    <a:pt x="89" y="103"/>
                    <a:pt x="89" y="103"/>
                    <a:pt x="89" y="103"/>
                  </a:cubicBezTo>
                  <a:cubicBezTo>
                    <a:pt x="89" y="103"/>
                    <a:pt x="89" y="104"/>
                    <a:pt x="89" y="104"/>
                  </a:cubicBezTo>
                  <a:cubicBezTo>
                    <a:pt x="89" y="104"/>
                    <a:pt x="89" y="104"/>
                    <a:pt x="89" y="104"/>
                  </a:cubicBezTo>
                  <a:cubicBezTo>
                    <a:pt x="88" y="105"/>
                    <a:pt x="88" y="106"/>
                    <a:pt x="88" y="106"/>
                  </a:cubicBezTo>
                  <a:cubicBezTo>
                    <a:pt x="88" y="107"/>
                    <a:pt x="88" y="107"/>
                    <a:pt x="88" y="107"/>
                  </a:cubicBezTo>
                  <a:cubicBezTo>
                    <a:pt x="87" y="109"/>
                    <a:pt x="87" y="111"/>
                    <a:pt x="88" y="113"/>
                  </a:cubicBezTo>
                  <a:cubicBezTo>
                    <a:pt x="88" y="114"/>
                    <a:pt x="88" y="114"/>
                    <a:pt x="88" y="114"/>
                  </a:cubicBezTo>
                  <a:cubicBezTo>
                    <a:pt x="88" y="115"/>
                    <a:pt x="88" y="115"/>
                    <a:pt x="88" y="115"/>
                  </a:cubicBezTo>
                  <a:cubicBezTo>
                    <a:pt x="88" y="115"/>
                    <a:pt x="88" y="115"/>
                    <a:pt x="88" y="116"/>
                  </a:cubicBezTo>
                  <a:cubicBezTo>
                    <a:pt x="89" y="116"/>
                    <a:pt x="89" y="116"/>
                    <a:pt x="89" y="116"/>
                  </a:cubicBezTo>
                  <a:cubicBezTo>
                    <a:pt x="89" y="117"/>
                    <a:pt x="90" y="118"/>
                    <a:pt x="90" y="118"/>
                  </a:cubicBezTo>
                  <a:cubicBezTo>
                    <a:pt x="91" y="119"/>
                    <a:pt x="92" y="120"/>
                    <a:pt x="93" y="121"/>
                  </a:cubicBezTo>
                  <a:cubicBezTo>
                    <a:pt x="93" y="121"/>
                    <a:pt x="93" y="121"/>
                    <a:pt x="93" y="121"/>
                  </a:cubicBezTo>
                  <a:cubicBezTo>
                    <a:pt x="93" y="122"/>
                    <a:pt x="93" y="123"/>
                    <a:pt x="94" y="123"/>
                  </a:cubicBezTo>
                  <a:cubicBezTo>
                    <a:pt x="94" y="123"/>
                    <a:pt x="96" y="123"/>
                    <a:pt x="97" y="124"/>
                  </a:cubicBezTo>
                  <a:cubicBezTo>
                    <a:pt x="97" y="124"/>
                    <a:pt x="97" y="124"/>
                    <a:pt x="97" y="124"/>
                  </a:cubicBezTo>
                  <a:cubicBezTo>
                    <a:pt x="98" y="124"/>
                    <a:pt x="98" y="124"/>
                    <a:pt x="99" y="124"/>
                  </a:cubicBezTo>
                  <a:cubicBezTo>
                    <a:pt x="104" y="125"/>
                    <a:pt x="104" y="125"/>
                    <a:pt x="104" y="125"/>
                  </a:cubicBezTo>
                  <a:cubicBezTo>
                    <a:pt x="100" y="128"/>
                    <a:pt x="100" y="128"/>
                    <a:pt x="100" y="128"/>
                  </a:cubicBezTo>
                  <a:cubicBezTo>
                    <a:pt x="99" y="128"/>
                    <a:pt x="99" y="128"/>
                    <a:pt x="99" y="128"/>
                  </a:cubicBezTo>
                  <a:cubicBezTo>
                    <a:pt x="100" y="129"/>
                    <a:pt x="100" y="129"/>
                    <a:pt x="100" y="129"/>
                  </a:cubicBezTo>
                  <a:cubicBezTo>
                    <a:pt x="100" y="129"/>
                    <a:pt x="101" y="130"/>
                    <a:pt x="101" y="130"/>
                  </a:cubicBezTo>
                  <a:cubicBezTo>
                    <a:pt x="101" y="130"/>
                    <a:pt x="101" y="130"/>
                    <a:pt x="101" y="130"/>
                  </a:cubicBezTo>
                  <a:cubicBezTo>
                    <a:pt x="102" y="130"/>
                    <a:pt x="102" y="131"/>
                    <a:pt x="103" y="131"/>
                  </a:cubicBezTo>
                  <a:cubicBezTo>
                    <a:pt x="103" y="132"/>
                    <a:pt x="104" y="132"/>
                    <a:pt x="104" y="132"/>
                  </a:cubicBezTo>
                  <a:cubicBezTo>
                    <a:pt x="104" y="134"/>
                    <a:pt x="104" y="134"/>
                    <a:pt x="104" y="136"/>
                  </a:cubicBezTo>
                  <a:cubicBezTo>
                    <a:pt x="104" y="138"/>
                    <a:pt x="103" y="139"/>
                    <a:pt x="102" y="140"/>
                  </a:cubicBezTo>
                  <a:cubicBezTo>
                    <a:pt x="102" y="140"/>
                    <a:pt x="101" y="140"/>
                    <a:pt x="101" y="140"/>
                  </a:cubicBezTo>
                  <a:cubicBezTo>
                    <a:pt x="101" y="140"/>
                    <a:pt x="101" y="141"/>
                    <a:pt x="101" y="142"/>
                  </a:cubicBezTo>
                  <a:cubicBezTo>
                    <a:pt x="101" y="143"/>
                    <a:pt x="102" y="145"/>
                    <a:pt x="102" y="147"/>
                  </a:cubicBezTo>
                  <a:cubicBezTo>
                    <a:pt x="103" y="150"/>
                    <a:pt x="103" y="153"/>
                    <a:pt x="102" y="156"/>
                  </a:cubicBezTo>
                  <a:cubicBezTo>
                    <a:pt x="102" y="156"/>
                    <a:pt x="102" y="156"/>
                    <a:pt x="102" y="157"/>
                  </a:cubicBezTo>
                  <a:cubicBezTo>
                    <a:pt x="101" y="157"/>
                    <a:pt x="101" y="158"/>
                    <a:pt x="100" y="158"/>
                  </a:cubicBezTo>
                  <a:cubicBezTo>
                    <a:pt x="99" y="159"/>
                    <a:pt x="99" y="159"/>
                    <a:pt x="98" y="159"/>
                  </a:cubicBezTo>
                  <a:cubicBezTo>
                    <a:pt x="98" y="159"/>
                    <a:pt x="98" y="159"/>
                    <a:pt x="98" y="159"/>
                  </a:cubicBezTo>
                  <a:cubicBezTo>
                    <a:pt x="98" y="160"/>
                    <a:pt x="99" y="161"/>
                    <a:pt x="99" y="161"/>
                  </a:cubicBezTo>
                  <a:cubicBezTo>
                    <a:pt x="99" y="161"/>
                    <a:pt x="99" y="161"/>
                    <a:pt x="99" y="161"/>
                  </a:cubicBezTo>
                  <a:cubicBezTo>
                    <a:pt x="100" y="161"/>
                    <a:pt x="100" y="161"/>
                    <a:pt x="101" y="161"/>
                  </a:cubicBezTo>
                  <a:cubicBezTo>
                    <a:pt x="101" y="161"/>
                    <a:pt x="102" y="161"/>
                    <a:pt x="102" y="161"/>
                  </a:cubicBezTo>
                  <a:cubicBezTo>
                    <a:pt x="102" y="161"/>
                    <a:pt x="103" y="161"/>
                    <a:pt x="103" y="161"/>
                  </a:cubicBezTo>
                  <a:cubicBezTo>
                    <a:pt x="103" y="161"/>
                    <a:pt x="103" y="161"/>
                    <a:pt x="104" y="161"/>
                  </a:cubicBezTo>
                  <a:cubicBezTo>
                    <a:pt x="105" y="161"/>
                    <a:pt x="106" y="161"/>
                    <a:pt x="107" y="163"/>
                  </a:cubicBezTo>
                  <a:cubicBezTo>
                    <a:pt x="108" y="163"/>
                    <a:pt x="108" y="163"/>
                    <a:pt x="108" y="163"/>
                  </a:cubicBezTo>
                  <a:cubicBezTo>
                    <a:pt x="108" y="164"/>
                    <a:pt x="108" y="164"/>
                    <a:pt x="108" y="164"/>
                  </a:cubicBezTo>
                  <a:cubicBezTo>
                    <a:pt x="108" y="164"/>
                    <a:pt x="108" y="164"/>
                    <a:pt x="108" y="164"/>
                  </a:cubicBezTo>
                  <a:cubicBezTo>
                    <a:pt x="109" y="164"/>
                    <a:pt x="109" y="164"/>
                    <a:pt x="109" y="164"/>
                  </a:cubicBezTo>
                  <a:cubicBezTo>
                    <a:pt x="109" y="164"/>
                    <a:pt x="109" y="164"/>
                    <a:pt x="109" y="164"/>
                  </a:cubicBezTo>
                  <a:cubicBezTo>
                    <a:pt x="110" y="164"/>
                    <a:pt x="110" y="164"/>
                    <a:pt x="110" y="164"/>
                  </a:cubicBezTo>
                  <a:cubicBezTo>
                    <a:pt x="110" y="164"/>
                    <a:pt x="110" y="164"/>
                    <a:pt x="110" y="164"/>
                  </a:cubicBezTo>
                  <a:cubicBezTo>
                    <a:pt x="110" y="164"/>
                    <a:pt x="110" y="164"/>
                    <a:pt x="110" y="164"/>
                  </a:cubicBezTo>
                  <a:cubicBezTo>
                    <a:pt x="110" y="164"/>
                    <a:pt x="110" y="163"/>
                    <a:pt x="108" y="161"/>
                  </a:cubicBezTo>
                  <a:cubicBezTo>
                    <a:pt x="108" y="160"/>
                    <a:pt x="107" y="160"/>
                    <a:pt x="107" y="159"/>
                  </a:cubicBezTo>
                  <a:cubicBezTo>
                    <a:pt x="104" y="153"/>
                    <a:pt x="104" y="153"/>
                    <a:pt x="104" y="153"/>
                  </a:cubicBezTo>
                  <a:cubicBezTo>
                    <a:pt x="110" y="156"/>
                    <a:pt x="110" y="156"/>
                    <a:pt x="110" y="156"/>
                  </a:cubicBezTo>
                  <a:cubicBezTo>
                    <a:pt x="110" y="156"/>
                    <a:pt x="110" y="156"/>
                    <a:pt x="110" y="156"/>
                  </a:cubicBezTo>
                  <a:cubicBezTo>
                    <a:pt x="110" y="156"/>
                    <a:pt x="111" y="156"/>
                    <a:pt x="112" y="155"/>
                  </a:cubicBezTo>
                  <a:cubicBezTo>
                    <a:pt x="113" y="154"/>
                    <a:pt x="113" y="154"/>
                    <a:pt x="113" y="154"/>
                  </a:cubicBezTo>
                  <a:cubicBezTo>
                    <a:pt x="114" y="154"/>
                    <a:pt x="115" y="153"/>
                    <a:pt x="117" y="152"/>
                  </a:cubicBezTo>
                  <a:cubicBezTo>
                    <a:pt x="117" y="152"/>
                    <a:pt x="118" y="152"/>
                    <a:pt x="118" y="151"/>
                  </a:cubicBezTo>
                  <a:cubicBezTo>
                    <a:pt x="118" y="151"/>
                    <a:pt x="118" y="151"/>
                    <a:pt x="118" y="151"/>
                  </a:cubicBezTo>
                  <a:cubicBezTo>
                    <a:pt x="119" y="151"/>
                    <a:pt x="119" y="151"/>
                    <a:pt x="119" y="151"/>
                  </a:cubicBezTo>
                  <a:cubicBezTo>
                    <a:pt x="120" y="151"/>
                    <a:pt x="120" y="151"/>
                    <a:pt x="120" y="151"/>
                  </a:cubicBezTo>
                  <a:cubicBezTo>
                    <a:pt x="121" y="152"/>
                    <a:pt x="122" y="153"/>
                    <a:pt x="122" y="154"/>
                  </a:cubicBezTo>
                  <a:cubicBezTo>
                    <a:pt x="123" y="154"/>
                    <a:pt x="123" y="154"/>
                    <a:pt x="123" y="154"/>
                  </a:cubicBezTo>
                  <a:cubicBezTo>
                    <a:pt x="127" y="156"/>
                    <a:pt x="127" y="156"/>
                    <a:pt x="127" y="156"/>
                  </a:cubicBezTo>
                  <a:cubicBezTo>
                    <a:pt x="127" y="156"/>
                    <a:pt x="127" y="156"/>
                    <a:pt x="127" y="156"/>
                  </a:cubicBezTo>
                  <a:cubicBezTo>
                    <a:pt x="128" y="156"/>
                    <a:pt x="128" y="156"/>
                    <a:pt x="128" y="156"/>
                  </a:cubicBezTo>
                  <a:cubicBezTo>
                    <a:pt x="128" y="156"/>
                    <a:pt x="128" y="156"/>
                    <a:pt x="128" y="156"/>
                  </a:cubicBezTo>
                  <a:cubicBezTo>
                    <a:pt x="129" y="155"/>
                    <a:pt x="131" y="154"/>
                    <a:pt x="132" y="153"/>
                  </a:cubicBezTo>
                  <a:cubicBezTo>
                    <a:pt x="134" y="151"/>
                    <a:pt x="134" y="151"/>
                    <a:pt x="134" y="151"/>
                  </a:cubicBezTo>
                  <a:cubicBezTo>
                    <a:pt x="135" y="151"/>
                    <a:pt x="135" y="151"/>
                    <a:pt x="136" y="151"/>
                  </a:cubicBezTo>
                  <a:cubicBezTo>
                    <a:pt x="136" y="150"/>
                    <a:pt x="136" y="150"/>
                    <a:pt x="136" y="150"/>
                  </a:cubicBezTo>
                  <a:cubicBezTo>
                    <a:pt x="136" y="150"/>
                    <a:pt x="136" y="150"/>
                    <a:pt x="136" y="150"/>
                  </a:cubicBezTo>
                  <a:cubicBezTo>
                    <a:pt x="136" y="149"/>
                    <a:pt x="136" y="149"/>
                    <a:pt x="136" y="149"/>
                  </a:cubicBezTo>
                  <a:cubicBezTo>
                    <a:pt x="136" y="148"/>
                    <a:pt x="136" y="148"/>
                    <a:pt x="136" y="148"/>
                  </a:cubicBezTo>
                  <a:cubicBezTo>
                    <a:pt x="135" y="148"/>
                    <a:pt x="135" y="148"/>
                    <a:pt x="135" y="147"/>
                  </a:cubicBezTo>
                  <a:cubicBezTo>
                    <a:pt x="135" y="145"/>
                    <a:pt x="137" y="143"/>
                    <a:pt x="138" y="142"/>
                  </a:cubicBezTo>
                  <a:cubicBezTo>
                    <a:pt x="138" y="141"/>
                    <a:pt x="138" y="141"/>
                    <a:pt x="138" y="141"/>
                  </a:cubicBezTo>
                  <a:cubicBezTo>
                    <a:pt x="138" y="140"/>
                    <a:pt x="137" y="139"/>
                    <a:pt x="136" y="138"/>
                  </a:cubicBezTo>
                  <a:cubicBezTo>
                    <a:pt x="136" y="138"/>
                    <a:pt x="136" y="138"/>
                    <a:pt x="136" y="138"/>
                  </a:cubicBezTo>
                  <a:cubicBezTo>
                    <a:pt x="134" y="137"/>
                    <a:pt x="132" y="135"/>
                    <a:pt x="131" y="133"/>
                  </a:cubicBezTo>
                  <a:cubicBezTo>
                    <a:pt x="130" y="132"/>
                    <a:pt x="129" y="131"/>
                    <a:pt x="129" y="130"/>
                  </a:cubicBezTo>
                  <a:cubicBezTo>
                    <a:pt x="129" y="128"/>
                    <a:pt x="130" y="127"/>
                    <a:pt x="132" y="127"/>
                  </a:cubicBezTo>
                  <a:cubicBezTo>
                    <a:pt x="132" y="127"/>
                    <a:pt x="132" y="127"/>
                    <a:pt x="133" y="127"/>
                  </a:cubicBezTo>
                  <a:cubicBezTo>
                    <a:pt x="133" y="126"/>
                    <a:pt x="133" y="126"/>
                    <a:pt x="133" y="126"/>
                  </a:cubicBezTo>
                  <a:cubicBezTo>
                    <a:pt x="134" y="126"/>
                    <a:pt x="134" y="126"/>
                    <a:pt x="134" y="126"/>
                  </a:cubicBezTo>
                  <a:cubicBezTo>
                    <a:pt x="134" y="126"/>
                    <a:pt x="134" y="126"/>
                    <a:pt x="134" y="126"/>
                  </a:cubicBezTo>
                  <a:cubicBezTo>
                    <a:pt x="133" y="126"/>
                    <a:pt x="133" y="125"/>
                    <a:pt x="132" y="125"/>
                  </a:cubicBezTo>
                  <a:cubicBezTo>
                    <a:pt x="132" y="125"/>
                    <a:pt x="131" y="124"/>
                    <a:pt x="131" y="124"/>
                  </a:cubicBezTo>
                  <a:cubicBezTo>
                    <a:pt x="130" y="124"/>
                    <a:pt x="130" y="123"/>
                    <a:pt x="129" y="123"/>
                  </a:cubicBezTo>
                  <a:cubicBezTo>
                    <a:pt x="129" y="123"/>
                    <a:pt x="129" y="123"/>
                    <a:pt x="129" y="123"/>
                  </a:cubicBezTo>
                  <a:cubicBezTo>
                    <a:pt x="129" y="123"/>
                    <a:pt x="129" y="123"/>
                    <a:pt x="129" y="123"/>
                  </a:cubicBezTo>
                  <a:cubicBezTo>
                    <a:pt x="128" y="123"/>
                    <a:pt x="128" y="123"/>
                    <a:pt x="127" y="122"/>
                  </a:cubicBezTo>
                  <a:cubicBezTo>
                    <a:pt x="127" y="122"/>
                    <a:pt x="127" y="122"/>
                    <a:pt x="127" y="122"/>
                  </a:cubicBezTo>
                  <a:cubicBezTo>
                    <a:pt x="127" y="122"/>
                    <a:pt x="127" y="122"/>
                    <a:pt x="127" y="122"/>
                  </a:cubicBezTo>
                  <a:cubicBezTo>
                    <a:pt x="126" y="122"/>
                    <a:pt x="126" y="121"/>
                    <a:pt x="125" y="121"/>
                  </a:cubicBezTo>
                  <a:cubicBezTo>
                    <a:pt x="125" y="120"/>
                    <a:pt x="125" y="120"/>
                    <a:pt x="125" y="120"/>
                  </a:cubicBezTo>
                  <a:cubicBezTo>
                    <a:pt x="125" y="120"/>
                    <a:pt x="125" y="120"/>
                    <a:pt x="125" y="119"/>
                  </a:cubicBezTo>
                  <a:cubicBezTo>
                    <a:pt x="125" y="119"/>
                    <a:pt x="125" y="119"/>
                    <a:pt x="125" y="119"/>
                  </a:cubicBezTo>
                  <a:cubicBezTo>
                    <a:pt x="124" y="119"/>
                    <a:pt x="124" y="119"/>
                    <a:pt x="123" y="119"/>
                  </a:cubicBezTo>
                  <a:cubicBezTo>
                    <a:pt x="123" y="119"/>
                    <a:pt x="123" y="119"/>
                    <a:pt x="123" y="119"/>
                  </a:cubicBezTo>
                  <a:cubicBezTo>
                    <a:pt x="123" y="119"/>
                    <a:pt x="123" y="119"/>
                    <a:pt x="123" y="119"/>
                  </a:cubicBezTo>
                  <a:cubicBezTo>
                    <a:pt x="121" y="119"/>
                    <a:pt x="120" y="119"/>
                    <a:pt x="119" y="118"/>
                  </a:cubicBezTo>
                  <a:cubicBezTo>
                    <a:pt x="119" y="118"/>
                    <a:pt x="119" y="118"/>
                    <a:pt x="119" y="118"/>
                  </a:cubicBezTo>
                  <a:cubicBezTo>
                    <a:pt x="119" y="117"/>
                    <a:pt x="119" y="117"/>
                    <a:pt x="119" y="117"/>
                  </a:cubicBezTo>
                  <a:cubicBezTo>
                    <a:pt x="119" y="117"/>
                    <a:pt x="118" y="116"/>
                    <a:pt x="118" y="116"/>
                  </a:cubicBezTo>
                  <a:cubicBezTo>
                    <a:pt x="119" y="115"/>
                    <a:pt x="119" y="115"/>
                    <a:pt x="119" y="115"/>
                  </a:cubicBezTo>
                  <a:cubicBezTo>
                    <a:pt x="119" y="115"/>
                    <a:pt x="119" y="115"/>
                    <a:pt x="119" y="115"/>
                  </a:cubicBezTo>
                  <a:cubicBezTo>
                    <a:pt x="118" y="115"/>
                    <a:pt x="118" y="115"/>
                    <a:pt x="118" y="115"/>
                  </a:cubicBezTo>
                  <a:cubicBezTo>
                    <a:pt x="118" y="114"/>
                    <a:pt x="118" y="114"/>
                    <a:pt x="118" y="113"/>
                  </a:cubicBezTo>
                  <a:cubicBezTo>
                    <a:pt x="117" y="112"/>
                    <a:pt x="117" y="112"/>
                    <a:pt x="117" y="111"/>
                  </a:cubicBezTo>
                  <a:cubicBezTo>
                    <a:pt x="117" y="111"/>
                    <a:pt x="117" y="111"/>
                    <a:pt x="117" y="111"/>
                  </a:cubicBezTo>
                  <a:cubicBezTo>
                    <a:pt x="117" y="110"/>
                    <a:pt x="117" y="110"/>
                    <a:pt x="117" y="109"/>
                  </a:cubicBezTo>
                  <a:cubicBezTo>
                    <a:pt x="117" y="109"/>
                    <a:pt x="116" y="108"/>
                    <a:pt x="115" y="107"/>
                  </a:cubicBezTo>
                  <a:cubicBezTo>
                    <a:pt x="115" y="107"/>
                    <a:pt x="115" y="107"/>
                    <a:pt x="115" y="107"/>
                  </a:cubicBezTo>
                  <a:cubicBezTo>
                    <a:pt x="115" y="107"/>
                    <a:pt x="115" y="107"/>
                    <a:pt x="115" y="107"/>
                  </a:cubicBezTo>
                  <a:cubicBezTo>
                    <a:pt x="115" y="106"/>
                    <a:pt x="115" y="106"/>
                    <a:pt x="115" y="106"/>
                  </a:cubicBezTo>
                  <a:cubicBezTo>
                    <a:pt x="114" y="104"/>
                    <a:pt x="114" y="104"/>
                    <a:pt x="114" y="104"/>
                  </a:cubicBezTo>
                  <a:cubicBezTo>
                    <a:pt x="114" y="104"/>
                    <a:pt x="114" y="103"/>
                    <a:pt x="114" y="103"/>
                  </a:cubicBezTo>
                  <a:cubicBezTo>
                    <a:pt x="113" y="103"/>
                    <a:pt x="113" y="102"/>
                    <a:pt x="112" y="102"/>
                  </a:cubicBezTo>
                  <a:cubicBezTo>
                    <a:pt x="111" y="101"/>
                    <a:pt x="111" y="101"/>
                    <a:pt x="111" y="101"/>
                  </a:cubicBezTo>
                  <a:cubicBezTo>
                    <a:pt x="110" y="101"/>
                    <a:pt x="110" y="100"/>
                    <a:pt x="109" y="100"/>
                  </a:cubicBezTo>
                  <a:cubicBezTo>
                    <a:pt x="109" y="100"/>
                    <a:pt x="109" y="100"/>
                    <a:pt x="109" y="100"/>
                  </a:cubicBezTo>
                  <a:cubicBezTo>
                    <a:pt x="107" y="99"/>
                    <a:pt x="105" y="97"/>
                    <a:pt x="104" y="96"/>
                  </a:cubicBezTo>
                  <a:cubicBezTo>
                    <a:pt x="103" y="96"/>
                    <a:pt x="103" y="96"/>
                    <a:pt x="103" y="96"/>
                  </a:cubicBezTo>
                  <a:cubicBezTo>
                    <a:pt x="103" y="95"/>
                    <a:pt x="102" y="94"/>
                    <a:pt x="102" y="93"/>
                  </a:cubicBezTo>
                  <a:cubicBezTo>
                    <a:pt x="102" y="93"/>
                    <a:pt x="102" y="93"/>
                    <a:pt x="102" y="93"/>
                  </a:cubicBezTo>
                  <a:cubicBezTo>
                    <a:pt x="101" y="90"/>
                    <a:pt x="100" y="89"/>
                    <a:pt x="99" y="88"/>
                  </a:cubicBezTo>
                  <a:cubicBezTo>
                    <a:pt x="99" y="88"/>
                    <a:pt x="99" y="88"/>
                    <a:pt x="99" y="88"/>
                  </a:cubicBezTo>
                  <a:cubicBezTo>
                    <a:pt x="96" y="86"/>
                    <a:pt x="92" y="84"/>
                    <a:pt x="91" y="81"/>
                  </a:cubicBezTo>
                  <a:cubicBezTo>
                    <a:pt x="91" y="80"/>
                    <a:pt x="90" y="79"/>
                    <a:pt x="90" y="79"/>
                  </a:cubicBezTo>
                  <a:cubicBezTo>
                    <a:pt x="90" y="79"/>
                    <a:pt x="90" y="78"/>
                    <a:pt x="90" y="78"/>
                  </a:cubicBezTo>
                  <a:cubicBezTo>
                    <a:pt x="90" y="77"/>
                    <a:pt x="90" y="77"/>
                    <a:pt x="91" y="76"/>
                  </a:cubicBezTo>
                  <a:cubicBezTo>
                    <a:pt x="91" y="76"/>
                    <a:pt x="91" y="76"/>
                    <a:pt x="91" y="76"/>
                  </a:cubicBezTo>
                  <a:cubicBezTo>
                    <a:pt x="89" y="75"/>
                    <a:pt x="88" y="75"/>
                    <a:pt x="87" y="74"/>
                  </a:cubicBezTo>
                  <a:cubicBezTo>
                    <a:pt x="86" y="73"/>
                    <a:pt x="86" y="73"/>
                    <a:pt x="86" y="73"/>
                  </a:cubicBezTo>
                  <a:cubicBezTo>
                    <a:pt x="80" y="71"/>
                    <a:pt x="73" y="67"/>
                    <a:pt x="67" y="63"/>
                  </a:cubicBezTo>
                  <a:cubicBezTo>
                    <a:pt x="64" y="61"/>
                    <a:pt x="64" y="61"/>
                    <a:pt x="64" y="61"/>
                  </a:cubicBezTo>
                  <a:cubicBezTo>
                    <a:pt x="68" y="59"/>
                    <a:pt x="68" y="59"/>
                    <a:pt x="68" y="59"/>
                  </a:cubicBezTo>
                  <a:cubicBezTo>
                    <a:pt x="68" y="59"/>
                    <a:pt x="69" y="59"/>
                    <a:pt x="69" y="58"/>
                  </a:cubicBezTo>
                  <a:cubicBezTo>
                    <a:pt x="69" y="58"/>
                    <a:pt x="69" y="58"/>
                    <a:pt x="69" y="58"/>
                  </a:cubicBezTo>
                  <a:cubicBezTo>
                    <a:pt x="69" y="57"/>
                    <a:pt x="69" y="57"/>
                    <a:pt x="69" y="57"/>
                  </a:cubicBezTo>
                  <a:cubicBezTo>
                    <a:pt x="69" y="56"/>
                    <a:pt x="69" y="56"/>
                    <a:pt x="69" y="56"/>
                  </a:cubicBezTo>
                  <a:cubicBezTo>
                    <a:pt x="69" y="56"/>
                    <a:pt x="69" y="55"/>
                    <a:pt x="69" y="55"/>
                  </a:cubicBezTo>
                  <a:cubicBezTo>
                    <a:pt x="69" y="54"/>
                    <a:pt x="69" y="53"/>
                    <a:pt x="70" y="53"/>
                  </a:cubicBezTo>
                  <a:cubicBezTo>
                    <a:pt x="70" y="52"/>
                    <a:pt x="70" y="52"/>
                    <a:pt x="70" y="52"/>
                  </a:cubicBezTo>
                  <a:cubicBezTo>
                    <a:pt x="72" y="52"/>
                    <a:pt x="72" y="52"/>
                    <a:pt x="72" y="52"/>
                  </a:cubicBezTo>
                  <a:cubicBezTo>
                    <a:pt x="73" y="51"/>
                    <a:pt x="73" y="51"/>
                    <a:pt x="73" y="51"/>
                  </a:cubicBezTo>
                  <a:cubicBezTo>
                    <a:pt x="73" y="51"/>
                    <a:pt x="73" y="51"/>
                    <a:pt x="74" y="51"/>
                  </a:cubicBezTo>
                  <a:cubicBezTo>
                    <a:pt x="74" y="51"/>
                    <a:pt x="74" y="51"/>
                    <a:pt x="74" y="51"/>
                  </a:cubicBezTo>
                  <a:cubicBezTo>
                    <a:pt x="75" y="51"/>
                    <a:pt x="76" y="51"/>
                    <a:pt x="76" y="52"/>
                  </a:cubicBezTo>
                  <a:cubicBezTo>
                    <a:pt x="77" y="52"/>
                    <a:pt x="77" y="52"/>
                    <a:pt x="77" y="52"/>
                  </a:cubicBezTo>
                  <a:cubicBezTo>
                    <a:pt x="78" y="52"/>
                    <a:pt x="78" y="52"/>
                    <a:pt x="79" y="52"/>
                  </a:cubicBezTo>
                  <a:cubicBezTo>
                    <a:pt x="80" y="53"/>
                    <a:pt x="80" y="53"/>
                    <a:pt x="80" y="53"/>
                  </a:cubicBezTo>
                  <a:cubicBezTo>
                    <a:pt x="81" y="53"/>
                    <a:pt x="81" y="53"/>
                    <a:pt x="82" y="53"/>
                  </a:cubicBezTo>
                  <a:cubicBezTo>
                    <a:pt x="82" y="52"/>
                    <a:pt x="82" y="52"/>
                    <a:pt x="82" y="52"/>
                  </a:cubicBezTo>
                  <a:cubicBezTo>
                    <a:pt x="82" y="52"/>
                    <a:pt x="82" y="52"/>
                    <a:pt x="82" y="52"/>
                  </a:cubicBezTo>
                  <a:cubicBezTo>
                    <a:pt x="82" y="52"/>
                    <a:pt x="82" y="52"/>
                    <a:pt x="82" y="52"/>
                  </a:cubicBezTo>
                  <a:cubicBezTo>
                    <a:pt x="83" y="51"/>
                    <a:pt x="84" y="51"/>
                    <a:pt x="84" y="50"/>
                  </a:cubicBezTo>
                  <a:cubicBezTo>
                    <a:pt x="85" y="50"/>
                    <a:pt x="85" y="50"/>
                    <a:pt x="85" y="50"/>
                  </a:cubicBezTo>
                  <a:cubicBezTo>
                    <a:pt x="85" y="49"/>
                    <a:pt x="86" y="49"/>
                    <a:pt x="86" y="48"/>
                  </a:cubicBezTo>
                  <a:cubicBezTo>
                    <a:pt x="87" y="48"/>
                    <a:pt x="87" y="47"/>
                    <a:pt x="87" y="45"/>
                  </a:cubicBezTo>
                  <a:cubicBezTo>
                    <a:pt x="87" y="45"/>
                    <a:pt x="85" y="44"/>
                    <a:pt x="85" y="44"/>
                  </a:cubicBezTo>
                  <a:cubicBezTo>
                    <a:pt x="85" y="44"/>
                    <a:pt x="85" y="44"/>
                    <a:pt x="85" y="44"/>
                  </a:cubicBezTo>
                  <a:cubicBezTo>
                    <a:pt x="84" y="43"/>
                    <a:pt x="84" y="43"/>
                    <a:pt x="84" y="43"/>
                  </a:cubicBezTo>
                  <a:cubicBezTo>
                    <a:pt x="82" y="42"/>
                    <a:pt x="82" y="42"/>
                    <a:pt x="80" y="41"/>
                  </a:cubicBezTo>
                  <a:cubicBezTo>
                    <a:pt x="79" y="41"/>
                    <a:pt x="79" y="41"/>
                    <a:pt x="78" y="41"/>
                  </a:cubicBezTo>
                  <a:cubicBezTo>
                    <a:pt x="74" y="40"/>
                    <a:pt x="74" y="40"/>
                    <a:pt x="74" y="40"/>
                  </a:cubicBezTo>
                  <a:cubicBezTo>
                    <a:pt x="77" y="37"/>
                    <a:pt x="77" y="37"/>
                    <a:pt x="77" y="37"/>
                  </a:cubicBezTo>
                  <a:cubicBezTo>
                    <a:pt x="77" y="36"/>
                    <a:pt x="77" y="36"/>
                    <a:pt x="77" y="36"/>
                  </a:cubicBezTo>
                  <a:cubicBezTo>
                    <a:pt x="78" y="36"/>
                    <a:pt x="79" y="35"/>
                    <a:pt x="80" y="35"/>
                  </a:cubicBezTo>
                  <a:cubicBezTo>
                    <a:pt x="80" y="35"/>
                    <a:pt x="80" y="35"/>
                    <a:pt x="80" y="35"/>
                  </a:cubicBezTo>
                  <a:cubicBezTo>
                    <a:pt x="80" y="35"/>
                    <a:pt x="80" y="35"/>
                    <a:pt x="80" y="35"/>
                  </a:cubicBezTo>
                  <a:cubicBezTo>
                    <a:pt x="79" y="35"/>
                    <a:pt x="79" y="35"/>
                    <a:pt x="79" y="35"/>
                  </a:cubicBezTo>
                  <a:cubicBezTo>
                    <a:pt x="79" y="35"/>
                    <a:pt x="78" y="34"/>
                    <a:pt x="78" y="34"/>
                  </a:cubicBezTo>
                  <a:cubicBezTo>
                    <a:pt x="76" y="37"/>
                    <a:pt x="76" y="37"/>
                    <a:pt x="76" y="37"/>
                  </a:cubicBezTo>
                  <a:cubicBezTo>
                    <a:pt x="77" y="34"/>
                    <a:pt x="77" y="34"/>
                    <a:pt x="77" y="34"/>
                  </a:cubicBezTo>
                  <a:cubicBezTo>
                    <a:pt x="75" y="36"/>
                    <a:pt x="75" y="36"/>
                    <a:pt x="75" y="36"/>
                  </a:cubicBezTo>
                  <a:cubicBezTo>
                    <a:pt x="76" y="33"/>
                    <a:pt x="76" y="33"/>
                    <a:pt x="76" y="33"/>
                  </a:cubicBezTo>
                  <a:cubicBezTo>
                    <a:pt x="76" y="33"/>
                    <a:pt x="76" y="33"/>
                    <a:pt x="76" y="33"/>
                  </a:cubicBezTo>
                  <a:cubicBezTo>
                    <a:pt x="75" y="32"/>
                    <a:pt x="75" y="32"/>
                    <a:pt x="75" y="32"/>
                  </a:cubicBezTo>
                  <a:cubicBezTo>
                    <a:pt x="75" y="32"/>
                    <a:pt x="75" y="32"/>
                    <a:pt x="75" y="32"/>
                  </a:cubicBezTo>
                  <a:cubicBezTo>
                    <a:pt x="75" y="31"/>
                    <a:pt x="75" y="31"/>
                    <a:pt x="74" y="31"/>
                  </a:cubicBezTo>
                  <a:cubicBezTo>
                    <a:pt x="74" y="31"/>
                    <a:pt x="74" y="31"/>
                    <a:pt x="73" y="31"/>
                  </a:cubicBezTo>
                  <a:cubicBezTo>
                    <a:pt x="73" y="31"/>
                    <a:pt x="73" y="31"/>
                    <a:pt x="73" y="31"/>
                  </a:cubicBezTo>
                  <a:cubicBezTo>
                    <a:pt x="72" y="32"/>
                    <a:pt x="72" y="32"/>
                    <a:pt x="72" y="32"/>
                  </a:cubicBezTo>
                  <a:cubicBezTo>
                    <a:pt x="71" y="32"/>
                    <a:pt x="70" y="33"/>
                    <a:pt x="69" y="33"/>
                  </a:cubicBezTo>
                  <a:cubicBezTo>
                    <a:pt x="69" y="34"/>
                    <a:pt x="69" y="34"/>
                    <a:pt x="69" y="34"/>
                  </a:cubicBezTo>
                  <a:cubicBezTo>
                    <a:pt x="68" y="36"/>
                    <a:pt x="68" y="36"/>
                    <a:pt x="68" y="36"/>
                  </a:cubicBezTo>
                  <a:cubicBezTo>
                    <a:pt x="68" y="36"/>
                    <a:pt x="68" y="36"/>
                    <a:pt x="68" y="36"/>
                  </a:cubicBezTo>
                  <a:cubicBezTo>
                    <a:pt x="67" y="36"/>
                    <a:pt x="67" y="36"/>
                    <a:pt x="67" y="36"/>
                  </a:cubicBezTo>
                  <a:cubicBezTo>
                    <a:pt x="67" y="36"/>
                    <a:pt x="67" y="36"/>
                    <a:pt x="67" y="36"/>
                  </a:cubicBezTo>
                  <a:cubicBezTo>
                    <a:pt x="67" y="36"/>
                    <a:pt x="67" y="37"/>
                    <a:pt x="66" y="37"/>
                  </a:cubicBezTo>
                  <a:cubicBezTo>
                    <a:pt x="65" y="37"/>
                    <a:pt x="65" y="37"/>
                    <a:pt x="65" y="37"/>
                  </a:cubicBezTo>
                  <a:cubicBezTo>
                    <a:pt x="65" y="37"/>
                    <a:pt x="65" y="37"/>
                    <a:pt x="65" y="37"/>
                  </a:cubicBezTo>
                  <a:cubicBezTo>
                    <a:pt x="64" y="37"/>
                    <a:pt x="64" y="37"/>
                    <a:pt x="64" y="37"/>
                  </a:cubicBezTo>
                  <a:cubicBezTo>
                    <a:pt x="63" y="36"/>
                    <a:pt x="63" y="36"/>
                    <a:pt x="63" y="36"/>
                  </a:cubicBezTo>
                  <a:cubicBezTo>
                    <a:pt x="62" y="36"/>
                    <a:pt x="62" y="36"/>
                    <a:pt x="62" y="36"/>
                  </a:cubicBezTo>
                  <a:cubicBezTo>
                    <a:pt x="61" y="36"/>
                    <a:pt x="61" y="36"/>
                    <a:pt x="61" y="36"/>
                  </a:cubicBezTo>
                  <a:cubicBezTo>
                    <a:pt x="61" y="35"/>
                    <a:pt x="61" y="35"/>
                    <a:pt x="61" y="35"/>
                  </a:cubicBezTo>
                  <a:cubicBezTo>
                    <a:pt x="60" y="35"/>
                    <a:pt x="60" y="35"/>
                    <a:pt x="59" y="35"/>
                  </a:cubicBezTo>
                  <a:cubicBezTo>
                    <a:pt x="59" y="34"/>
                    <a:pt x="59" y="34"/>
                    <a:pt x="59" y="34"/>
                  </a:cubicBezTo>
                  <a:cubicBezTo>
                    <a:pt x="59" y="34"/>
                    <a:pt x="58" y="34"/>
                    <a:pt x="58" y="34"/>
                  </a:cubicBezTo>
                  <a:cubicBezTo>
                    <a:pt x="57" y="34"/>
                    <a:pt x="57" y="34"/>
                    <a:pt x="57" y="34"/>
                  </a:cubicBezTo>
                  <a:cubicBezTo>
                    <a:pt x="56" y="34"/>
                    <a:pt x="56" y="34"/>
                    <a:pt x="55" y="33"/>
                  </a:cubicBezTo>
                  <a:cubicBezTo>
                    <a:pt x="52" y="31"/>
                    <a:pt x="50" y="29"/>
                    <a:pt x="49" y="25"/>
                  </a:cubicBezTo>
                  <a:cubicBezTo>
                    <a:pt x="49" y="25"/>
                    <a:pt x="49" y="25"/>
                    <a:pt x="49" y="25"/>
                  </a:cubicBezTo>
                  <a:cubicBezTo>
                    <a:pt x="46" y="26"/>
                    <a:pt x="46" y="26"/>
                    <a:pt x="46" y="26"/>
                  </a:cubicBezTo>
                  <a:cubicBezTo>
                    <a:pt x="48" y="24"/>
                    <a:pt x="48" y="24"/>
                    <a:pt x="48" y="24"/>
                  </a:cubicBezTo>
                  <a:cubicBezTo>
                    <a:pt x="48" y="24"/>
                    <a:pt x="48" y="24"/>
                    <a:pt x="48" y="24"/>
                  </a:cubicBezTo>
                  <a:cubicBezTo>
                    <a:pt x="48" y="23"/>
                    <a:pt x="48" y="22"/>
                    <a:pt x="48" y="21"/>
                  </a:cubicBezTo>
                  <a:cubicBezTo>
                    <a:pt x="48" y="21"/>
                    <a:pt x="48" y="21"/>
                    <a:pt x="48" y="21"/>
                  </a:cubicBezTo>
                  <a:cubicBezTo>
                    <a:pt x="48" y="21"/>
                    <a:pt x="48" y="20"/>
                    <a:pt x="48" y="20"/>
                  </a:cubicBezTo>
                  <a:cubicBezTo>
                    <a:pt x="48" y="19"/>
                    <a:pt x="48" y="19"/>
                    <a:pt x="48" y="19"/>
                  </a:cubicBezTo>
                  <a:cubicBezTo>
                    <a:pt x="48" y="18"/>
                    <a:pt x="48" y="18"/>
                    <a:pt x="49" y="17"/>
                  </a:cubicBezTo>
                  <a:cubicBezTo>
                    <a:pt x="49" y="17"/>
                    <a:pt x="49" y="17"/>
                    <a:pt x="49" y="17"/>
                  </a:cubicBezTo>
                  <a:cubicBezTo>
                    <a:pt x="49" y="16"/>
                    <a:pt x="49" y="16"/>
                    <a:pt x="49" y="16"/>
                  </a:cubicBezTo>
                  <a:cubicBezTo>
                    <a:pt x="49" y="16"/>
                    <a:pt x="49" y="16"/>
                    <a:pt x="49" y="16"/>
                  </a:cubicBezTo>
                  <a:cubicBezTo>
                    <a:pt x="48" y="17"/>
                    <a:pt x="48" y="17"/>
                    <a:pt x="47" y="17"/>
                  </a:cubicBezTo>
                  <a:cubicBezTo>
                    <a:pt x="47" y="17"/>
                    <a:pt x="47" y="17"/>
                    <a:pt x="47" y="17"/>
                  </a:cubicBezTo>
                  <a:cubicBezTo>
                    <a:pt x="47" y="17"/>
                    <a:pt x="46" y="17"/>
                    <a:pt x="46" y="17"/>
                  </a:cubicBezTo>
                  <a:cubicBezTo>
                    <a:pt x="44" y="17"/>
                    <a:pt x="44" y="17"/>
                    <a:pt x="44" y="17"/>
                  </a:cubicBezTo>
                  <a:cubicBezTo>
                    <a:pt x="44" y="15"/>
                    <a:pt x="44" y="15"/>
                    <a:pt x="44" y="15"/>
                  </a:cubicBezTo>
                  <a:cubicBezTo>
                    <a:pt x="44" y="15"/>
                    <a:pt x="43" y="14"/>
                    <a:pt x="43" y="14"/>
                  </a:cubicBezTo>
                  <a:cubicBezTo>
                    <a:pt x="43" y="13"/>
                    <a:pt x="43" y="13"/>
                    <a:pt x="43" y="13"/>
                  </a:cubicBezTo>
                  <a:cubicBezTo>
                    <a:pt x="43" y="12"/>
                    <a:pt x="42" y="10"/>
                    <a:pt x="41" y="9"/>
                  </a:cubicBezTo>
                  <a:cubicBezTo>
                    <a:pt x="40" y="8"/>
                    <a:pt x="40" y="8"/>
                    <a:pt x="40" y="8"/>
                  </a:cubicBezTo>
                  <a:cubicBezTo>
                    <a:pt x="40" y="8"/>
                    <a:pt x="40" y="8"/>
                    <a:pt x="40" y="8"/>
                  </a:cubicBezTo>
                  <a:cubicBezTo>
                    <a:pt x="39" y="7"/>
                    <a:pt x="38" y="5"/>
                    <a:pt x="36" y="4"/>
                  </a:cubicBezTo>
                  <a:cubicBezTo>
                    <a:pt x="34" y="2"/>
                    <a:pt x="34" y="2"/>
                    <a:pt x="34" y="2"/>
                  </a:cubicBezTo>
                  <a:cubicBezTo>
                    <a:pt x="34" y="2"/>
                    <a:pt x="34" y="2"/>
                    <a:pt x="34" y="2"/>
                  </a:cubicBezTo>
                  <a:cubicBezTo>
                    <a:pt x="33" y="2"/>
                    <a:pt x="33" y="1"/>
                    <a:pt x="32" y="1"/>
                  </a:cubicBezTo>
                  <a:cubicBezTo>
                    <a:pt x="31" y="1"/>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440"/>
            <p:cNvSpPr/>
            <p:nvPr/>
          </p:nvSpPr>
          <p:spPr bwMode="auto">
            <a:xfrm>
              <a:off x="4752185" y="5310579"/>
              <a:ext cx="441520" cy="825271"/>
            </a:xfrm>
            <a:custGeom>
              <a:gdLst>
                <a:gd name="T0" fmla="*/ 49 w 136"/>
                <a:gd name="T1" fmla="*/ 9 h 254"/>
                <a:gd name="T2" fmla="*/ 37 w 136"/>
                <a:gd name="T3" fmla="*/ 12 h 254"/>
                <a:gd name="T4" fmla="*/ 27 w 136"/>
                <a:gd name="T5" fmla="*/ 13 h 254"/>
                <a:gd name="T6" fmla="*/ 20 w 136"/>
                <a:gd name="T7" fmla="*/ 13 h 254"/>
                <a:gd name="T8" fmla="*/ 14 w 136"/>
                <a:gd name="T9" fmla="*/ 18 h 254"/>
                <a:gd name="T10" fmla="*/ 4 w 136"/>
                <a:gd name="T11" fmla="*/ 12 h 254"/>
                <a:gd name="T12" fmla="*/ 9 w 136"/>
                <a:gd name="T13" fmla="*/ 29 h 254"/>
                <a:gd name="T14" fmla="*/ 13 w 136"/>
                <a:gd name="T15" fmla="*/ 28 h 254"/>
                <a:gd name="T16" fmla="*/ 14 w 136"/>
                <a:gd name="T17" fmla="*/ 38 h 254"/>
                <a:gd name="T18" fmla="*/ 19 w 136"/>
                <a:gd name="T19" fmla="*/ 46 h 254"/>
                <a:gd name="T20" fmla="*/ 25 w 136"/>
                <a:gd name="T21" fmla="*/ 49 h 254"/>
                <a:gd name="T22" fmla="*/ 30 w 136"/>
                <a:gd name="T23" fmla="*/ 45 h 254"/>
                <a:gd name="T24" fmla="*/ 37 w 136"/>
                <a:gd name="T25" fmla="*/ 44 h 254"/>
                <a:gd name="T26" fmla="*/ 42 w 136"/>
                <a:gd name="T27" fmla="*/ 47 h 254"/>
                <a:gd name="T28" fmla="*/ 46 w 136"/>
                <a:gd name="T29" fmla="*/ 52 h 254"/>
                <a:gd name="T30" fmla="*/ 49 w 136"/>
                <a:gd name="T31" fmla="*/ 57 h 254"/>
                <a:gd name="T32" fmla="*/ 47 w 136"/>
                <a:gd name="T33" fmla="*/ 72 h 254"/>
                <a:gd name="T34" fmla="*/ 41 w 136"/>
                <a:gd name="T35" fmla="*/ 74 h 254"/>
                <a:gd name="T36" fmla="*/ 34 w 136"/>
                <a:gd name="T37" fmla="*/ 77 h 254"/>
                <a:gd name="T38" fmla="*/ 59 w 136"/>
                <a:gd name="T39" fmla="*/ 91 h 254"/>
                <a:gd name="T40" fmla="*/ 63 w 136"/>
                <a:gd name="T41" fmla="*/ 101 h 254"/>
                <a:gd name="T42" fmla="*/ 75 w 136"/>
                <a:gd name="T43" fmla="*/ 115 h 254"/>
                <a:gd name="T44" fmla="*/ 83 w 136"/>
                <a:gd name="T45" fmla="*/ 125 h 254"/>
                <a:gd name="T46" fmla="*/ 84 w 136"/>
                <a:gd name="T47" fmla="*/ 131 h 254"/>
                <a:gd name="T48" fmla="*/ 89 w 136"/>
                <a:gd name="T49" fmla="*/ 131 h 254"/>
                <a:gd name="T50" fmla="*/ 92 w 136"/>
                <a:gd name="T51" fmla="*/ 136 h 254"/>
                <a:gd name="T52" fmla="*/ 99 w 136"/>
                <a:gd name="T53" fmla="*/ 141 h 254"/>
                <a:gd name="T54" fmla="*/ 100 w 136"/>
                <a:gd name="T55" fmla="*/ 151 h 254"/>
                <a:gd name="T56" fmla="*/ 101 w 136"/>
                <a:gd name="T57" fmla="*/ 163 h 254"/>
                <a:gd name="T58" fmla="*/ 102 w 136"/>
                <a:gd name="T59" fmla="*/ 170 h 254"/>
                <a:gd name="T60" fmla="*/ 101 w 136"/>
                <a:gd name="T61" fmla="*/ 185 h 254"/>
                <a:gd name="T62" fmla="*/ 102 w 136"/>
                <a:gd name="T63" fmla="*/ 202 h 254"/>
                <a:gd name="T64" fmla="*/ 103 w 136"/>
                <a:gd name="T65" fmla="*/ 212 h 254"/>
                <a:gd name="T66" fmla="*/ 94 w 136"/>
                <a:gd name="T67" fmla="*/ 218 h 254"/>
                <a:gd name="T68" fmla="*/ 81 w 136"/>
                <a:gd name="T69" fmla="*/ 225 h 254"/>
                <a:gd name="T70" fmla="*/ 69 w 136"/>
                <a:gd name="T71" fmla="*/ 230 h 254"/>
                <a:gd name="T72" fmla="*/ 76 w 136"/>
                <a:gd name="T73" fmla="*/ 244 h 254"/>
                <a:gd name="T74" fmla="*/ 65 w 136"/>
                <a:gd name="T75" fmla="*/ 243 h 254"/>
                <a:gd name="T76" fmla="*/ 72 w 136"/>
                <a:gd name="T77" fmla="*/ 254 h 254"/>
                <a:gd name="T78" fmla="*/ 83 w 136"/>
                <a:gd name="T79" fmla="*/ 250 h 254"/>
                <a:gd name="T80" fmla="*/ 88 w 136"/>
                <a:gd name="T81" fmla="*/ 245 h 254"/>
                <a:gd name="T82" fmla="*/ 91 w 136"/>
                <a:gd name="T83" fmla="*/ 253 h 254"/>
                <a:gd name="T84" fmla="*/ 133 w 136"/>
                <a:gd name="T85" fmla="*/ 223 h 254"/>
                <a:gd name="T86" fmla="*/ 134 w 136"/>
                <a:gd name="T87" fmla="*/ 213 h 254"/>
                <a:gd name="T88" fmla="*/ 135 w 136"/>
                <a:gd name="T89" fmla="*/ 206 h 254"/>
                <a:gd name="T90" fmla="*/ 132 w 136"/>
                <a:gd name="T91" fmla="*/ 182 h 254"/>
                <a:gd name="T92" fmla="*/ 115 w 136"/>
                <a:gd name="T93" fmla="*/ 143 h 254"/>
                <a:gd name="T94" fmla="*/ 112 w 136"/>
                <a:gd name="T95" fmla="*/ 139 h 254"/>
                <a:gd name="T96" fmla="*/ 76 w 136"/>
                <a:gd name="T97" fmla="*/ 109 h 254"/>
                <a:gd name="T98" fmla="*/ 63 w 136"/>
                <a:gd name="T99" fmla="*/ 84 h 254"/>
                <a:gd name="T100" fmla="*/ 81 w 136"/>
                <a:gd name="T101" fmla="*/ 59 h 254"/>
                <a:gd name="T102" fmla="*/ 88 w 136"/>
                <a:gd name="T103" fmla="*/ 47 h 254"/>
                <a:gd name="T104" fmla="*/ 93 w 136"/>
                <a:gd name="T105" fmla="*/ 46 h 254"/>
                <a:gd name="T106" fmla="*/ 101 w 136"/>
                <a:gd name="T107" fmla="*/ 41 h 254"/>
                <a:gd name="T108" fmla="*/ 99 w 136"/>
                <a:gd name="T109" fmla="*/ 34 h 254"/>
                <a:gd name="T110" fmla="*/ 89 w 136"/>
                <a:gd name="T111" fmla="*/ 28 h 254"/>
                <a:gd name="T112" fmla="*/ 81 w 136"/>
                <a:gd name="T113" fmla="*/ 25 h 254"/>
                <a:gd name="T114" fmla="*/ 80 w 136"/>
                <a:gd name="T115" fmla="*/ 19 h 254"/>
                <a:gd name="T116" fmla="*/ 82 w 136"/>
                <a:gd name="T117" fmla="*/ 10 h 254"/>
                <a:gd name="T118" fmla="*/ 64 w 136"/>
                <a:gd name="T119" fmla="*/ 7 h 254"/>
                <a:gd name="T120" fmla="*/ 57 w 136"/>
                <a:gd name="T121" fmla="*/ 0 h 2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254">
                  <a:moveTo>
                    <a:pt x="56" y="0"/>
                  </a:moveTo>
                  <a:cubicBezTo>
                    <a:pt x="56" y="1"/>
                    <a:pt x="54" y="1"/>
                    <a:pt x="54" y="2"/>
                  </a:cubicBezTo>
                  <a:cubicBezTo>
                    <a:pt x="53" y="3"/>
                    <a:pt x="53" y="3"/>
                    <a:pt x="53" y="3"/>
                  </a:cubicBezTo>
                  <a:cubicBezTo>
                    <a:pt x="53" y="3"/>
                    <a:pt x="53" y="3"/>
                    <a:pt x="52" y="4"/>
                  </a:cubicBezTo>
                  <a:cubicBezTo>
                    <a:pt x="52" y="5"/>
                    <a:pt x="51" y="6"/>
                    <a:pt x="50" y="8"/>
                  </a:cubicBezTo>
                  <a:cubicBezTo>
                    <a:pt x="49" y="8"/>
                    <a:pt x="49" y="9"/>
                    <a:pt x="49" y="9"/>
                  </a:cubicBezTo>
                  <a:cubicBezTo>
                    <a:pt x="48" y="10"/>
                    <a:pt x="48" y="10"/>
                    <a:pt x="48" y="10"/>
                  </a:cubicBezTo>
                  <a:cubicBezTo>
                    <a:pt x="47" y="10"/>
                    <a:pt x="46" y="11"/>
                    <a:pt x="45" y="11"/>
                  </a:cubicBezTo>
                  <a:cubicBezTo>
                    <a:pt x="44" y="11"/>
                    <a:pt x="44" y="11"/>
                    <a:pt x="44" y="11"/>
                  </a:cubicBezTo>
                  <a:cubicBezTo>
                    <a:pt x="41" y="13"/>
                    <a:pt x="41" y="13"/>
                    <a:pt x="41" y="13"/>
                  </a:cubicBezTo>
                  <a:cubicBezTo>
                    <a:pt x="41" y="13"/>
                    <a:pt x="40" y="13"/>
                    <a:pt x="40" y="13"/>
                  </a:cubicBezTo>
                  <a:cubicBezTo>
                    <a:pt x="39" y="13"/>
                    <a:pt x="38" y="12"/>
                    <a:pt x="37" y="12"/>
                  </a:cubicBezTo>
                  <a:cubicBezTo>
                    <a:pt x="34" y="15"/>
                    <a:pt x="34" y="15"/>
                    <a:pt x="34" y="15"/>
                  </a:cubicBezTo>
                  <a:cubicBezTo>
                    <a:pt x="33" y="16"/>
                    <a:pt x="32" y="17"/>
                    <a:pt x="31" y="17"/>
                  </a:cubicBezTo>
                  <a:cubicBezTo>
                    <a:pt x="29" y="17"/>
                    <a:pt x="28" y="16"/>
                    <a:pt x="28" y="15"/>
                  </a:cubicBezTo>
                  <a:cubicBezTo>
                    <a:pt x="27" y="14"/>
                    <a:pt x="27" y="14"/>
                    <a:pt x="27" y="14"/>
                  </a:cubicBezTo>
                  <a:cubicBezTo>
                    <a:pt x="27" y="14"/>
                    <a:pt x="27" y="14"/>
                    <a:pt x="27" y="14"/>
                  </a:cubicBezTo>
                  <a:cubicBezTo>
                    <a:pt x="27" y="13"/>
                    <a:pt x="27" y="13"/>
                    <a:pt x="27" y="13"/>
                  </a:cubicBezTo>
                  <a:cubicBezTo>
                    <a:pt x="26" y="13"/>
                    <a:pt x="26" y="13"/>
                    <a:pt x="26" y="13"/>
                  </a:cubicBezTo>
                  <a:cubicBezTo>
                    <a:pt x="26" y="14"/>
                    <a:pt x="25" y="14"/>
                    <a:pt x="25" y="15"/>
                  </a:cubicBezTo>
                  <a:cubicBezTo>
                    <a:pt x="23" y="17"/>
                    <a:pt x="23" y="17"/>
                    <a:pt x="23" y="17"/>
                  </a:cubicBezTo>
                  <a:cubicBezTo>
                    <a:pt x="21" y="15"/>
                    <a:pt x="21" y="15"/>
                    <a:pt x="21" y="15"/>
                  </a:cubicBezTo>
                  <a:cubicBezTo>
                    <a:pt x="21" y="14"/>
                    <a:pt x="21" y="14"/>
                    <a:pt x="20" y="13"/>
                  </a:cubicBezTo>
                  <a:cubicBezTo>
                    <a:pt x="20" y="13"/>
                    <a:pt x="20" y="13"/>
                    <a:pt x="20" y="13"/>
                  </a:cubicBezTo>
                  <a:cubicBezTo>
                    <a:pt x="20" y="12"/>
                    <a:pt x="20" y="12"/>
                    <a:pt x="20" y="12"/>
                  </a:cubicBezTo>
                  <a:cubicBezTo>
                    <a:pt x="18" y="15"/>
                    <a:pt x="18" y="15"/>
                    <a:pt x="18" y="15"/>
                  </a:cubicBezTo>
                  <a:cubicBezTo>
                    <a:pt x="18" y="15"/>
                    <a:pt x="17" y="16"/>
                    <a:pt x="17" y="16"/>
                  </a:cubicBezTo>
                  <a:cubicBezTo>
                    <a:pt x="16" y="18"/>
                    <a:pt x="16" y="18"/>
                    <a:pt x="16" y="18"/>
                  </a:cubicBezTo>
                  <a:cubicBezTo>
                    <a:pt x="14" y="18"/>
                    <a:pt x="14" y="18"/>
                    <a:pt x="14" y="18"/>
                  </a:cubicBezTo>
                  <a:cubicBezTo>
                    <a:pt x="14" y="18"/>
                    <a:pt x="14" y="18"/>
                    <a:pt x="14" y="18"/>
                  </a:cubicBezTo>
                  <a:cubicBezTo>
                    <a:pt x="13" y="18"/>
                    <a:pt x="11" y="17"/>
                    <a:pt x="10" y="16"/>
                  </a:cubicBezTo>
                  <a:cubicBezTo>
                    <a:pt x="10" y="16"/>
                    <a:pt x="10" y="16"/>
                    <a:pt x="10" y="16"/>
                  </a:cubicBezTo>
                  <a:cubicBezTo>
                    <a:pt x="9" y="15"/>
                    <a:pt x="9" y="15"/>
                    <a:pt x="9" y="15"/>
                  </a:cubicBezTo>
                  <a:cubicBezTo>
                    <a:pt x="9" y="14"/>
                    <a:pt x="8" y="14"/>
                    <a:pt x="7" y="14"/>
                  </a:cubicBezTo>
                  <a:cubicBezTo>
                    <a:pt x="6" y="13"/>
                    <a:pt x="6" y="13"/>
                    <a:pt x="6" y="13"/>
                  </a:cubicBezTo>
                  <a:cubicBezTo>
                    <a:pt x="5" y="13"/>
                    <a:pt x="5" y="12"/>
                    <a:pt x="4" y="12"/>
                  </a:cubicBezTo>
                  <a:cubicBezTo>
                    <a:pt x="4" y="13"/>
                    <a:pt x="4" y="13"/>
                    <a:pt x="4" y="13"/>
                  </a:cubicBezTo>
                  <a:cubicBezTo>
                    <a:pt x="3" y="14"/>
                    <a:pt x="1" y="16"/>
                    <a:pt x="0" y="17"/>
                  </a:cubicBezTo>
                  <a:cubicBezTo>
                    <a:pt x="1" y="18"/>
                    <a:pt x="1" y="18"/>
                    <a:pt x="1" y="18"/>
                  </a:cubicBezTo>
                  <a:cubicBezTo>
                    <a:pt x="2" y="19"/>
                    <a:pt x="3" y="20"/>
                    <a:pt x="4" y="22"/>
                  </a:cubicBezTo>
                  <a:cubicBezTo>
                    <a:pt x="5" y="22"/>
                    <a:pt x="5" y="22"/>
                    <a:pt x="5" y="23"/>
                  </a:cubicBezTo>
                  <a:cubicBezTo>
                    <a:pt x="7" y="25"/>
                    <a:pt x="8" y="27"/>
                    <a:pt x="9" y="29"/>
                  </a:cubicBezTo>
                  <a:cubicBezTo>
                    <a:pt x="9" y="28"/>
                    <a:pt x="9" y="28"/>
                    <a:pt x="9" y="28"/>
                  </a:cubicBezTo>
                  <a:cubicBezTo>
                    <a:pt x="10" y="28"/>
                    <a:pt x="10" y="28"/>
                    <a:pt x="10" y="28"/>
                  </a:cubicBezTo>
                  <a:cubicBezTo>
                    <a:pt x="10" y="28"/>
                    <a:pt x="10" y="28"/>
                    <a:pt x="10" y="28"/>
                  </a:cubicBezTo>
                  <a:cubicBezTo>
                    <a:pt x="10" y="28"/>
                    <a:pt x="11" y="28"/>
                    <a:pt x="11" y="28"/>
                  </a:cubicBezTo>
                  <a:cubicBezTo>
                    <a:pt x="12" y="28"/>
                    <a:pt x="12" y="28"/>
                    <a:pt x="13" y="28"/>
                  </a:cubicBezTo>
                  <a:cubicBezTo>
                    <a:pt x="13" y="28"/>
                    <a:pt x="13" y="28"/>
                    <a:pt x="13" y="28"/>
                  </a:cubicBezTo>
                  <a:cubicBezTo>
                    <a:pt x="14" y="29"/>
                    <a:pt x="15" y="29"/>
                    <a:pt x="15" y="30"/>
                  </a:cubicBezTo>
                  <a:cubicBezTo>
                    <a:pt x="16" y="32"/>
                    <a:pt x="15" y="33"/>
                    <a:pt x="15" y="34"/>
                  </a:cubicBezTo>
                  <a:cubicBezTo>
                    <a:pt x="14" y="36"/>
                    <a:pt x="14" y="36"/>
                    <a:pt x="14" y="36"/>
                  </a:cubicBezTo>
                  <a:cubicBezTo>
                    <a:pt x="14" y="36"/>
                    <a:pt x="14" y="37"/>
                    <a:pt x="14" y="37"/>
                  </a:cubicBezTo>
                  <a:cubicBezTo>
                    <a:pt x="14" y="38"/>
                    <a:pt x="14" y="38"/>
                    <a:pt x="14" y="38"/>
                  </a:cubicBezTo>
                  <a:cubicBezTo>
                    <a:pt x="14" y="38"/>
                    <a:pt x="14" y="38"/>
                    <a:pt x="14" y="38"/>
                  </a:cubicBezTo>
                  <a:cubicBezTo>
                    <a:pt x="14" y="38"/>
                    <a:pt x="14" y="38"/>
                    <a:pt x="14" y="38"/>
                  </a:cubicBezTo>
                  <a:cubicBezTo>
                    <a:pt x="14" y="39"/>
                    <a:pt x="14" y="39"/>
                    <a:pt x="14" y="39"/>
                  </a:cubicBezTo>
                  <a:cubicBezTo>
                    <a:pt x="14" y="40"/>
                    <a:pt x="14" y="40"/>
                    <a:pt x="14" y="40"/>
                  </a:cubicBezTo>
                  <a:cubicBezTo>
                    <a:pt x="14" y="41"/>
                    <a:pt x="14" y="41"/>
                    <a:pt x="14" y="41"/>
                  </a:cubicBezTo>
                  <a:cubicBezTo>
                    <a:pt x="15" y="43"/>
                    <a:pt x="17" y="45"/>
                    <a:pt x="18" y="46"/>
                  </a:cubicBezTo>
                  <a:cubicBezTo>
                    <a:pt x="19" y="46"/>
                    <a:pt x="19" y="46"/>
                    <a:pt x="19" y="46"/>
                  </a:cubicBezTo>
                  <a:cubicBezTo>
                    <a:pt x="19" y="46"/>
                    <a:pt x="19" y="46"/>
                    <a:pt x="19" y="46"/>
                  </a:cubicBezTo>
                  <a:cubicBezTo>
                    <a:pt x="20" y="46"/>
                    <a:pt x="20" y="46"/>
                    <a:pt x="21" y="47"/>
                  </a:cubicBezTo>
                  <a:cubicBezTo>
                    <a:pt x="21" y="47"/>
                    <a:pt x="22" y="47"/>
                    <a:pt x="23" y="47"/>
                  </a:cubicBezTo>
                  <a:cubicBezTo>
                    <a:pt x="23" y="48"/>
                    <a:pt x="23" y="48"/>
                    <a:pt x="23" y="48"/>
                  </a:cubicBezTo>
                  <a:cubicBezTo>
                    <a:pt x="24" y="48"/>
                    <a:pt x="24" y="48"/>
                    <a:pt x="24" y="48"/>
                  </a:cubicBezTo>
                  <a:cubicBezTo>
                    <a:pt x="24" y="48"/>
                    <a:pt x="24" y="48"/>
                    <a:pt x="25" y="49"/>
                  </a:cubicBezTo>
                  <a:cubicBezTo>
                    <a:pt x="25" y="48"/>
                    <a:pt x="25" y="48"/>
                    <a:pt x="25" y="48"/>
                  </a:cubicBezTo>
                  <a:cubicBezTo>
                    <a:pt x="26" y="49"/>
                    <a:pt x="26" y="49"/>
                    <a:pt x="26" y="49"/>
                  </a:cubicBezTo>
                  <a:cubicBezTo>
                    <a:pt x="26" y="49"/>
                    <a:pt x="26" y="49"/>
                    <a:pt x="26" y="49"/>
                  </a:cubicBezTo>
                  <a:cubicBezTo>
                    <a:pt x="26" y="49"/>
                    <a:pt x="26" y="49"/>
                    <a:pt x="26" y="49"/>
                  </a:cubicBezTo>
                  <a:cubicBezTo>
                    <a:pt x="26" y="48"/>
                    <a:pt x="26" y="48"/>
                    <a:pt x="26" y="48"/>
                  </a:cubicBezTo>
                  <a:cubicBezTo>
                    <a:pt x="27" y="46"/>
                    <a:pt x="29" y="45"/>
                    <a:pt x="30" y="45"/>
                  </a:cubicBezTo>
                  <a:cubicBezTo>
                    <a:pt x="31" y="44"/>
                    <a:pt x="31" y="44"/>
                    <a:pt x="31" y="44"/>
                  </a:cubicBezTo>
                  <a:cubicBezTo>
                    <a:pt x="32" y="44"/>
                    <a:pt x="32" y="44"/>
                    <a:pt x="32" y="44"/>
                  </a:cubicBezTo>
                  <a:cubicBezTo>
                    <a:pt x="32" y="44"/>
                    <a:pt x="32" y="44"/>
                    <a:pt x="32" y="44"/>
                  </a:cubicBezTo>
                  <a:cubicBezTo>
                    <a:pt x="33" y="43"/>
                    <a:pt x="34" y="43"/>
                    <a:pt x="34" y="43"/>
                  </a:cubicBezTo>
                  <a:cubicBezTo>
                    <a:pt x="35" y="43"/>
                    <a:pt x="36" y="43"/>
                    <a:pt x="36" y="44"/>
                  </a:cubicBezTo>
                  <a:cubicBezTo>
                    <a:pt x="37" y="44"/>
                    <a:pt x="37" y="44"/>
                    <a:pt x="37" y="44"/>
                  </a:cubicBezTo>
                  <a:cubicBezTo>
                    <a:pt x="38" y="44"/>
                    <a:pt x="39" y="45"/>
                    <a:pt x="40" y="46"/>
                  </a:cubicBezTo>
                  <a:cubicBezTo>
                    <a:pt x="40" y="46"/>
                    <a:pt x="40" y="46"/>
                    <a:pt x="40" y="46"/>
                  </a:cubicBezTo>
                  <a:cubicBezTo>
                    <a:pt x="40" y="46"/>
                    <a:pt x="40" y="46"/>
                    <a:pt x="40" y="46"/>
                  </a:cubicBezTo>
                  <a:cubicBezTo>
                    <a:pt x="41" y="47"/>
                    <a:pt x="41" y="47"/>
                    <a:pt x="41" y="47"/>
                  </a:cubicBezTo>
                  <a:cubicBezTo>
                    <a:pt x="41" y="47"/>
                    <a:pt x="41" y="47"/>
                    <a:pt x="41" y="47"/>
                  </a:cubicBezTo>
                  <a:cubicBezTo>
                    <a:pt x="42" y="47"/>
                    <a:pt x="42" y="47"/>
                    <a:pt x="42" y="47"/>
                  </a:cubicBezTo>
                  <a:cubicBezTo>
                    <a:pt x="42" y="47"/>
                    <a:pt x="43" y="48"/>
                    <a:pt x="44" y="48"/>
                  </a:cubicBezTo>
                  <a:cubicBezTo>
                    <a:pt x="44" y="49"/>
                    <a:pt x="44" y="49"/>
                    <a:pt x="44" y="49"/>
                  </a:cubicBezTo>
                  <a:cubicBezTo>
                    <a:pt x="45" y="49"/>
                    <a:pt x="45" y="49"/>
                    <a:pt x="45" y="49"/>
                  </a:cubicBezTo>
                  <a:cubicBezTo>
                    <a:pt x="45" y="49"/>
                    <a:pt x="45" y="49"/>
                    <a:pt x="45" y="49"/>
                  </a:cubicBezTo>
                  <a:cubicBezTo>
                    <a:pt x="46" y="50"/>
                    <a:pt x="46" y="50"/>
                    <a:pt x="46" y="51"/>
                  </a:cubicBezTo>
                  <a:cubicBezTo>
                    <a:pt x="46" y="51"/>
                    <a:pt x="46" y="52"/>
                    <a:pt x="46" y="52"/>
                  </a:cubicBezTo>
                  <a:cubicBezTo>
                    <a:pt x="46" y="53"/>
                    <a:pt x="46" y="53"/>
                    <a:pt x="46" y="54"/>
                  </a:cubicBezTo>
                  <a:cubicBezTo>
                    <a:pt x="45" y="54"/>
                    <a:pt x="45" y="54"/>
                    <a:pt x="45" y="54"/>
                  </a:cubicBezTo>
                  <a:cubicBezTo>
                    <a:pt x="45" y="55"/>
                    <a:pt x="45" y="55"/>
                    <a:pt x="45" y="55"/>
                  </a:cubicBezTo>
                  <a:cubicBezTo>
                    <a:pt x="46" y="55"/>
                    <a:pt x="47" y="56"/>
                    <a:pt x="48" y="56"/>
                  </a:cubicBezTo>
                  <a:cubicBezTo>
                    <a:pt x="48" y="57"/>
                    <a:pt x="48" y="57"/>
                    <a:pt x="48" y="57"/>
                  </a:cubicBezTo>
                  <a:cubicBezTo>
                    <a:pt x="49" y="57"/>
                    <a:pt x="49" y="57"/>
                    <a:pt x="49" y="57"/>
                  </a:cubicBezTo>
                  <a:cubicBezTo>
                    <a:pt x="50" y="58"/>
                    <a:pt x="52" y="59"/>
                    <a:pt x="52" y="61"/>
                  </a:cubicBezTo>
                  <a:cubicBezTo>
                    <a:pt x="52" y="62"/>
                    <a:pt x="52" y="62"/>
                    <a:pt x="52" y="62"/>
                  </a:cubicBezTo>
                  <a:cubicBezTo>
                    <a:pt x="53" y="65"/>
                    <a:pt x="52" y="67"/>
                    <a:pt x="51" y="68"/>
                  </a:cubicBezTo>
                  <a:cubicBezTo>
                    <a:pt x="50" y="69"/>
                    <a:pt x="49" y="70"/>
                    <a:pt x="48" y="71"/>
                  </a:cubicBezTo>
                  <a:cubicBezTo>
                    <a:pt x="48" y="71"/>
                    <a:pt x="47" y="71"/>
                    <a:pt x="47" y="72"/>
                  </a:cubicBezTo>
                  <a:cubicBezTo>
                    <a:pt x="47" y="72"/>
                    <a:pt x="47" y="72"/>
                    <a:pt x="47" y="72"/>
                  </a:cubicBezTo>
                  <a:cubicBezTo>
                    <a:pt x="47" y="72"/>
                    <a:pt x="47" y="73"/>
                    <a:pt x="46" y="74"/>
                  </a:cubicBezTo>
                  <a:cubicBezTo>
                    <a:pt x="45" y="74"/>
                    <a:pt x="45" y="74"/>
                    <a:pt x="44" y="74"/>
                  </a:cubicBezTo>
                  <a:cubicBezTo>
                    <a:pt x="44" y="74"/>
                    <a:pt x="44" y="74"/>
                    <a:pt x="44" y="74"/>
                  </a:cubicBezTo>
                  <a:cubicBezTo>
                    <a:pt x="44" y="74"/>
                    <a:pt x="43" y="74"/>
                    <a:pt x="43" y="74"/>
                  </a:cubicBezTo>
                  <a:cubicBezTo>
                    <a:pt x="42" y="74"/>
                    <a:pt x="42" y="74"/>
                    <a:pt x="42" y="74"/>
                  </a:cubicBezTo>
                  <a:cubicBezTo>
                    <a:pt x="41" y="74"/>
                    <a:pt x="41" y="74"/>
                    <a:pt x="41" y="74"/>
                  </a:cubicBezTo>
                  <a:cubicBezTo>
                    <a:pt x="41" y="74"/>
                    <a:pt x="41" y="74"/>
                    <a:pt x="40" y="74"/>
                  </a:cubicBezTo>
                  <a:cubicBezTo>
                    <a:pt x="40" y="74"/>
                    <a:pt x="40" y="74"/>
                    <a:pt x="40" y="74"/>
                  </a:cubicBezTo>
                  <a:cubicBezTo>
                    <a:pt x="39" y="74"/>
                    <a:pt x="39" y="74"/>
                    <a:pt x="39" y="74"/>
                  </a:cubicBezTo>
                  <a:cubicBezTo>
                    <a:pt x="38" y="73"/>
                    <a:pt x="36" y="73"/>
                    <a:pt x="35" y="73"/>
                  </a:cubicBezTo>
                  <a:cubicBezTo>
                    <a:pt x="35" y="73"/>
                    <a:pt x="35" y="73"/>
                    <a:pt x="35" y="73"/>
                  </a:cubicBezTo>
                  <a:cubicBezTo>
                    <a:pt x="35" y="74"/>
                    <a:pt x="35" y="75"/>
                    <a:pt x="34" y="77"/>
                  </a:cubicBezTo>
                  <a:cubicBezTo>
                    <a:pt x="34" y="77"/>
                    <a:pt x="34" y="78"/>
                    <a:pt x="34" y="78"/>
                  </a:cubicBezTo>
                  <a:cubicBezTo>
                    <a:pt x="34" y="78"/>
                    <a:pt x="34" y="78"/>
                    <a:pt x="34" y="78"/>
                  </a:cubicBezTo>
                  <a:cubicBezTo>
                    <a:pt x="38" y="81"/>
                    <a:pt x="44" y="84"/>
                    <a:pt x="49" y="86"/>
                  </a:cubicBezTo>
                  <a:cubicBezTo>
                    <a:pt x="50" y="87"/>
                    <a:pt x="50" y="87"/>
                    <a:pt x="50" y="87"/>
                  </a:cubicBezTo>
                  <a:cubicBezTo>
                    <a:pt x="52" y="88"/>
                    <a:pt x="54" y="89"/>
                    <a:pt x="56" y="90"/>
                  </a:cubicBezTo>
                  <a:cubicBezTo>
                    <a:pt x="59" y="91"/>
                    <a:pt x="59" y="91"/>
                    <a:pt x="59" y="91"/>
                  </a:cubicBezTo>
                  <a:cubicBezTo>
                    <a:pt x="57" y="93"/>
                    <a:pt x="57" y="93"/>
                    <a:pt x="57" y="93"/>
                  </a:cubicBezTo>
                  <a:cubicBezTo>
                    <a:pt x="56" y="94"/>
                    <a:pt x="56" y="94"/>
                    <a:pt x="56" y="94"/>
                  </a:cubicBezTo>
                  <a:cubicBezTo>
                    <a:pt x="56" y="95"/>
                    <a:pt x="56" y="95"/>
                    <a:pt x="56" y="95"/>
                  </a:cubicBezTo>
                  <a:cubicBezTo>
                    <a:pt x="56" y="95"/>
                    <a:pt x="56" y="96"/>
                    <a:pt x="56" y="96"/>
                  </a:cubicBezTo>
                  <a:cubicBezTo>
                    <a:pt x="57" y="98"/>
                    <a:pt x="60" y="100"/>
                    <a:pt x="62" y="101"/>
                  </a:cubicBezTo>
                  <a:cubicBezTo>
                    <a:pt x="63" y="101"/>
                    <a:pt x="63" y="101"/>
                    <a:pt x="63" y="101"/>
                  </a:cubicBezTo>
                  <a:cubicBezTo>
                    <a:pt x="65" y="104"/>
                    <a:pt x="66" y="105"/>
                    <a:pt x="67" y="108"/>
                  </a:cubicBezTo>
                  <a:cubicBezTo>
                    <a:pt x="67" y="108"/>
                    <a:pt x="67" y="108"/>
                    <a:pt x="67" y="108"/>
                  </a:cubicBezTo>
                  <a:cubicBezTo>
                    <a:pt x="67" y="109"/>
                    <a:pt x="67" y="109"/>
                    <a:pt x="68" y="109"/>
                  </a:cubicBezTo>
                  <a:cubicBezTo>
                    <a:pt x="68" y="110"/>
                    <a:pt x="68" y="110"/>
                    <a:pt x="68" y="110"/>
                  </a:cubicBezTo>
                  <a:cubicBezTo>
                    <a:pt x="69" y="111"/>
                    <a:pt x="71" y="112"/>
                    <a:pt x="72" y="113"/>
                  </a:cubicBezTo>
                  <a:cubicBezTo>
                    <a:pt x="75" y="115"/>
                    <a:pt x="75" y="115"/>
                    <a:pt x="75" y="115"/>
                  </a:cubicBezTo>
                  <a:cubicBezTo>
                    <a:pt x="76" y="115"/>
                    <a:pt x="77" y="116"/>
                    <a:pt x="78" y="118"/>
                  </a:cubicBezTo>
                  <a:cubicBezTo>
                    <a:pt x="79" y="118"/>
                    <a:pt x="79" y="119"/>
                    <a:pt x="79" y="119"/>
                  </a:cubicBezTo>
                  <a:cubicBezTo>
                    <a:pt x="80" y="121"/>
                    <a:pt x="80" y="121"/>
                    <a:pt x="80" y="121"/>
                  </a:cubicBezTo>
                  <a:cubicBezTo>
                    <a:pt x="80" y="122"/>
                    <a:pt x="80" y="122"/>
                    <a:pt x="80" y="122"/>
                  </a:cubicBezTo>
                  <a:cubicBezTo>
                    <a:pt x="80" y="122"/>
                    <a:pt x="80" y="122"/>
                    <a:pt x="80" y="122"/>
                  </a:cubicBezTo>
                  <a:cubicBezTo>
                    <a:pt x="83" y="122"/>
                    <a:pt x="83" y="124"/>
                    <a:pt x="83" y="125"/>
                  </a:cubicBezTo>
                  <a:cubicBezTo>
                    <a:pt x="83" y="126"/>
                    <a:pt x="83" y="126"/>
                    <a:pt x="83" y="126"/>
                  </a:cubicBezTo>
                  <a:cubicBezTo>
                    <a:pt x="83" y="126"/>
                    <a:pt x="83" y="127"/>
                    <a:pt x="83" y="128"/>
                  </a:cubicBezTo>
                  <a:cubicBezTo>
                    <a:pt x="83" y="128"/>
                    <a:pt x="83" y="128"/>
                    <a:pt x="83" y="129"/>
                  </a:cubicBezTo>
                  <a:cubicBezTo>
                    <a:pt x="83" y="129"/>
                    <a:pt x="83" y="129"/>
                    <a:pt x="83" y="129"/>
                  </a:cubicBezTo>
                  <a:cubicBezTo>
                    <a:pt x="83" y="129"/>
                    <a:pt x="83" y="130"/>
                    <a:pt x="83" y="130"/>
                  </a:cubicBezTo>
                  <a:cubicBezTo>
                    <a:pt x="84" y="131"/>
                    <a:pt x="84" y="131"/>
                    <a:pt x="84" y="131"/>
                  </a:cubicBezTo>
                  <a:cubicBezTo>
                    <a:pt x="84" y="131"/>
                    <a:pt x="84" y="131"/>
                    <a:pt x="84" y="131"/>
                  </a:cubicBezTo>
                  <a:cubicBezTo>
                    <a:pt x="84" y="132"/>
                    <a:pt x="84" y="132"/>
                    <a:pt x="84" y="132"/>
                  </a:cubicBezTo>
                  <a:cubicBezTo>
                    <a:pt x="84" y="131"/>
                    <a:pt x="84" y="131"/>
                    <a:pt x="84" y="131"/>
                  </a:cubicBezTo>
                  <a:cubicBezTo>
                    <a:pt x="86" y="130"/>
                    <a:pt x="86" y="130"/>
                    <a:pt x="86" y="130"/>
                  </a:cubicBezTo>
                  <a:cubicBezTo>
                    <a:pt x="87" y="131"/>
                    <a:pt x="87" y="131"/>
                    <a:pt x="87" y="131"/>
                  </a:cubicBezTo>
                  <a:cubicBezTo>
                    <a:pt x="88" y="131"/>
                    <a:pt x="88" y="131"/>
                    <a:pt x="89" y="131"/>
                  </a:cubicBezTo>
                  <a:cubicBezTo>
                    <a:pt x="89" y="132"/>
                    <a:pt x="89" y="132"/>
                    <a:pt x="89" y="132"/>
                  </a:cubicBezTo>
                  <a:cubicBezTo>
                    <a:pt x="89" y="133"/>
                    <a:pt x="90" y="133"/>
                    <a:pt x="90" y="134"/>
                  </a:cubicBezTo>
                  <a:cubicBezTo>
                    <a:pt x="90" y="135"/>
                    <a:pt x="90" y="135"/>
                    <a:pt x="90" y="135"/>
                  </a:cubicBezTo>
                  <a:cubicBezTo>
                    <a:pt x="91" y="135"/>
                    <a:pt x="91" y="135"/>
                    <a:pt x="91" y="135"/>
                  </a:cubicBezTo>
                  <a:cubicBezTo>
                    <a:pt x="91" y="135"/>
                    <a:pt x="91" y="135"/>
                    <a:pt x="91" y="135"/>
                  </a:cubicBezTo>
                  <a:cubicBezTo>
                    <a:pt x="92" y="136"/>
                    <a:pt x="92" y="136"/>
                    <a:pt x="92" y="136"/>
                  </a:cubicBezTo>
                  <a:cubicBezTo>
                    <a:pt x="93" y="136"/>
                    <a:pt x="93" y="136"/>
                    <a:pt x="93" y="136"/>
                  </a:cubicBezTo>
                  <a:cubicBezTo>
                    <a:pt x="93" y="137"/>
                    <a:pt x="93" y="137"/>
                    <a:pt x="93" y="137"/>
                  </a:cubicBezTo>
                  <a:cubicBezTo>
                    <a:pt x="94" y="137"/>
                    <a:pt x="94" y="137"/>
                    <a:pt x="94" y="137"/>
                  </a:cubicBezTo>
                  <a:cubicBezTo>
                    <a:pt x="94" y="137"/>
                    <a:pt x="95" y="138"/>
                    <a:pt x="95" y="138"/>
                  </a:cubicBezTo>
                  <a:cubicBezTo>
                    <a:pt x="96" y="138"/>
                    <a:pt x="96" y="138"/>
                    <a:pt x="96" y="138"/>
                  </a:cubicBezTo>
                  <a:cubicBezTo>
                    <a:pt x="97" y="139"/>
                    <a:pt x="98" y="139"/>
                    <a:pt x="99" y="141"/>
                  </a:cubicBezTo>
                  <a:cubicBezTo>
                    <a:pt x="100" y="142"/>
                    <a:pt x="100" y="144"/>
                    <a:pt x="100" y="144"/>
                  </a:cubicBezTo>
                  <a:cubicBezTo>
                    <a:pt x="100" y="145"/>
                    <a:pt x="99" y="145"/>
                    <a:pt x="99" y="146"/>
                  </a:cubicBezTo>
                  <a:cubicBezTo>
                    <a:pt x="98" y="146"/>
                    <a:pt x="98" y="147"/>
                    <a:pt x="97" y="147"/>
                  </a:cubicBezTo>
                  <a:cubicBezTo>
                    <a:pt x="96" y="148"/>
                    <a:pt x="96" y="148"/>
                    <a:pt x="96" y="148"/>
                  </a:cubicBezTo>
                  <a:cubicBezTo>
                    <a:pt x="96" y="148"/>
                    <a:pt x="96" y="148"/>
                    <a:pt x="96" y="148"/>
                  </a:cubicBezTo>
                  <a:cubicBezTo>
                    <a:pt x="97" y="149"/>
                    <a:pt x="99" y="150"/>
                    <a:pt x="100" y="151"/>
                  </a:cubicBezTo>
                  <a:cubicBezTo>
                    <a:pt x="101" y="152"/>
                    <a:pt x="101" y="152"/>
                    <a:pt x="101" y="152"/>
                  </a:cubicBezTo>
                  <a:cubicBezTo>
                    <a:pt x="102" y="153"/>
                    <a:pt x="103" y="154"/>
                    <a:pt x="104" y="157"/>
                  </a:cubicBezTo>
                  <a:cubicBezTo>
                    <a:pt x="104" y="157"/>
                    <a:pt x="104" y="157"/>
                    <a:pt x="104" y="157"/>
                  </a:cubicBezTo>
                  <a:cubicBezTo>
                    <a:pt x="104" y="159"/>
                    <a:pt x="104" y="160"/>
                    <a:pt x="103" y="161"/>
                  </a:cubicBezTo>
                  <a:cubicBezTo>
                    <a:pt x="102" y="162"/>
                    <a:pt x="102" y="162"/>
                    <a:pt x="102" y="162"/>
                  </a:cubicBezTo>
                  <a:cubicBezTo>
                    <a:pt x="101" y="163"/>
                    <a:pt x="101" y="163"/>
                    <a:pt x="101" y="163"/>
                  </a:cubicBezTo>
                  <a:cubicBezTo>
                    <a:pt x="101" y="164"/>
                    <a:pt x="101" y="164"/>
                    <a:pt x="101" y="164"/>
                  </a:cubicBezTo>
                  <a:cubicBezTo>
                    <a:pt x="101" y="165"/>
                    <a:pt x="101" y="165"/>
                    <a:pt x="101" y="165"/>
                  </a:cubicBezTo>
                  <a:cubicBezTo>
                    <a:pt x="101" y="165"/>
                    <a:pt x="101" y="165"/>
                    <a:pt x="101" y="165"/>
                  </a:cubicBezTo>
                  <a:cubicBezTo>
                    <a:pt x="102" y="168"/>
                    <a:pt x="102" y="168"/>
                    <a:pt x="102" y="168"/>
                  </a:cubicBezTo>
                  <a:cubicBezTo>
                    <a:pt x="103" y="169"/>
                    <a:pt x="103" y="169"/>
                    <a:pt x="103" y="169"/>
                  </a:cubicBezTo>
                  <a:cubicBezTo>
                    <a:pt x="102" y="170"/>
                    <a:pt x="102" y="170"/>
                    <a:pt x="102" y="170"/>
                  </a:cubicBezTo>
                  <a:cubicBezTo>
                    <a:pt x="101" y="171"/>
                    <a:pt x="101" y="171"/>
                    <a:pt x="101" y="171"/>
                  </a:cubicBezTo>
                  <a:cubicBezTo>
                    <a:pt x="101" y="173"/>
                    <a:pt x="100" y="175"/>
                    <a:pt x="99" y="177"/>
                  </a:cubicBezTo>
                  <a:cubicBezTo>
                    <a:pt x="98" y="180"/>
                    <a:pt x="98" y="180"/>
                    <a:pt x="98" y="180"/>
                  </a:cubicBezTo>
                  <a:cubicBezTo>
                    <a:pt x="99" y="180"/>
                    <a:pt x="99" y="181"/>
                    <a:pt x="99" y="181"/>
                  </a:cubicBezTo>
                  <a:cubicBezTo>
                    <a:pt x="100" y="182"/>
                    <a:pt x="100" y="182"/>
                    <a:pt x="100" y="182"/>
                  </a:cubicBezTo>
                  <a:cubicBezTo>
                    <a:pt x="100" y="183"/>
                    <a:pt x="101" y="184"/>
                    <a:pt x="101" y="185"/>
                  </a:cubicBezTo>
                  <a:cubicBezTo>
                    <a:pt x="100" y="186"/>
                    <a:pt x="101" y="186"/>
                    <a:pt x="101" y="187"/>
                  </a:cubicBezTo>
                  <a:cubicBezTo>
                    <a:pt x="102" y="188"/>
                    <a:pt x="102" y="188"/>
                    <a:pt x="102" y="188"/>
                  </a:cubicBezTo>
                  <a:cubicBezTo>
                    <a:pt x="103" y="190"/>
                    <a:pt x="104" y="192"/>
                    <a:pt x="103" y="195"/>
                  </a:cubicBezTo>
                  <a:cubicBezTo>
                    <a:pt x="103" y="196"/>
                    <a:pt x="103" y="196"/>
                    <a:pt x="103" y="196"/>
                  </a:cubicBezTo>
                  <a:cubicBezTo>
                    <a:pt x="103" y="197"/>
                    <a:pt x="103" y="199"/>
                    <a:pt x="102" y="201"/>
                  </a:cubicBezTo>
                  <a:cubicBezTo>
                    <a:pt x="102" y="202"/>
                    <a:pt x="102" y="202"/>
                    <a:pt x="102" y="202"/>
                  </a:cubicBezTo>
                  <a:cubicBezTo>
                    <a:pt x="102" y="203"/>
                    <a:pt x="102" y="205"/>
                    <a:pt x="102" y="206"/>
                  </a:cubicBezTo>
                  <a:cubicBezTo>
                    <a:pt x="102" y="206"/>
                    <a:pt x="102" y="206"/>
                    <a:pt x="102" y="206"/>
                  </a:cubicBezTo>
                  <a:cubicBezTo>
                    <a:pt x="102" y="208"/>
                    <a:pt x="103" y="209"/>
                    <a:pt x="103" y="211"/>
                  </a:cubicBezTo>
                  <a:cubicBezTo>
                    <a:pt x="103" y="211"/>
                    <a:pt x="103" y="211"/>
                    <a:pt x="103" y="211"/>
                  </a:cubicBezTo>
                  <a:cubicBezTo>
                    <a:pt x="107" y="211"/>
                    <a:pt x="107" y="211"/>
                    <a:pt x="107" y="211"/>
                  </a:cubicBezTo>
                  <a:cubicBezTo>
                    <a:pt x="103" y="212"/>
                    <a:pt x="103" y="212"/>
                    <a:pt x="103" y="212"/>
                  </a:cubicBezTo>
                  <a:cubicBezTo>
                    <a:pt x="102" y="213"/>
                    <a:pt x="102" y="213"/>
                    <a:pt x="102" y="213"/>
                  </a:cubicBezTo>
                  <a:cubicBezTo>
                    <a:pt x="102" y="217"/>
                    <a:pt x="100" y="218"/>
                    <a:pt x="98" y="218"/>
                  </a:cubicBezTo>
                  <a:cubicBezTo>
                    <a:pt x="98" y="218"/>
                    <a:pt x="98" y="218"/>
                    <a:pt x="97" y="218"/>
                  </a:cubicBezTo>
                  <a:cubicBezTo>
                    <a:pt x="96" y="218"/>
                    <a:pt x="96" y="218"/>
                    <a:pt x="95" y="218"/>
                  </a:cubicBezTo>
                  <a:cubicBezTo>
                    <a:pt x="94" y="218"/>
                    <a:pt x="94" y="218"/>
                    <a:pt x="94" y="218"/>
                  </a:cubicBezTo>
                  <a:cubicBezTo>
                    <a:pt x="94" y="218"/>
                    <a:pt x="94" y="218"/>
                    <a:pt x="94" y="218"/>
                  </a:cubicBezTo>
                  <a:cubicBezTo>
                    <a:pt x="93" y="218"/>
                    <a:pt x="93" y="218"/>
                    <a:pt x="93" y="219"/>
                  </a:cubicBezTo>
                  <a:cubicBezTo>
                    <a:pt x="92" y="220"/>
                    <a:pt x="92" y="220"/>
                    <a:pt x="92" y="220"/>
                  </a:cubicBezTo>
                  <a:cubicBezTo>
                    <a:pt x="91" y="221"/>
                    <a:pt x="89" y="221"/>
                    <a:pt x="87" y="222"/>
                  </a:cubicBezTo>
                  <a:cubicBezTo>
                    <a:pt x="86" y="222"/>
                    <a:pt x="86" y="222"/>
                    <a:pt x="86" y="222"/>
                  </a:cubicBezTo>
                  <a:cubicBezTo>
                    <a:pt x="85" y="222"/>
                    <a:pt x="83" y="223"/>
                    <a:pt x="81" y="223"/>
                  </a:cubicBezTo>
                  <a:cubicBezTo>
                    <a:pt x="81" y="224"/>
                    <a:pt x="81" y="225"/>
                    <a:pt x="81" y="225"/>
                  </a:cubicBezTo>
                  <a:cubicBezTo>
                    <a:pt x="81" y="226"/>
                    <a:pt x="81" y="226"/>
                    <a:pt x="81" y="226"/>
                  </a:cubicBezTo>
                  <a:cubicBezTo>
                    <a:pt x="81" y="227"/>
                    <a:pt x="81" y="227"/>
                    <a:pt x="81" y="227"/>
                  </a:cubicBezTo>
                  <a:cubicBezTo>
                    <a:pt x="82" y="230"/>
                    <a:pt x="82" y="230"/>
                    <a:pt x="82" y="230"/>
                  </a:cubicBezTo>
                  <a:cubicBezTo>
                    <a:pt x="71" y="228"/>
                    <a:pt x="71" y="228"/>
                    <a:pt x="71" y="228"/>
                  </a:cubicBezTo>
                  <a:cubicBezTo>
                    <a:pt x="70" y="228"/>
                    <a:pt x="70" y="229"/>
                    <a:pt x="69" y="229"/>
                  </a:cubicBezTo>
                  <a:cubicBezTo>
                    <a:pt x="69" y="230"/>
                    <a:pt x="69" y="230"/>
                    <a:pt x="69" y="230"/>
                  </a:cubicBezTo>
                  <a:cubicBezTo>
                    <a:pt x="70" y="232"/>
                    <a:pt x="70" y="234"/>
                    <a:pt x="71" y="235"/>
                  </a:cubicBezTo>
                  <a:cubicBezTo>
                    <a:pt x="71" y="235"/>
                    <a:pt x="72" y="236"/>
                    <a:pt x="73" y="237"/>
                  </a:cubicBezTo>
                  <a:cubicBezTo>
                    <a:pt x="74" y="238"/>
                    <a:pt x="75" y="238"/>
                    <a:pt x="76" y="239"/>
                  </a:cubicBezTo>
                  <a:cubicBezTo>
                    <a:pt x="81" y="244"/>
                    <a:pt x="81" y="244"/>
                    <a:pt x="81" y="244"/>
                  </a:cubicBezTo>
                  <a:cubicBezTo>
                    <a:pt x="76" y="244"/>
                    <a:pt x="76" y="244"/>
                    <a:pt x="76" y="244"/>
                  </a:cubicBezTo>
                  <a:cubicBezTo>
                    <a:pt x="76" y="244"/>
                    <a:pt x="76" y="244"/>
                    <a:pt x="76" y="244"/>
                  </a:cubicBezTo>
                  <a:cubicBezTo>
                    <a:pt x="77" y="248"/>
                    <a:pt x="77" y="248"/>
                    <a:pt x="77" y="248"/>
                  </a:cubicBezTo>
                  <a:cubicBezTo>
                    <a:pt x="74" y="247"/>
                    <a:pt x="74" y="247"/>
                    <a:pt x="74" y="247"/>
                  </a:cubicBezTo>
                  <a:cubicBezTo>
                    <a:pt x="71" y="246"/>
                    <a:pt x="69" y="245"/>
                    <a:pt x="66" y="243"/>
                  </a:cubicBezTo>
                  <a:cubicBezTo>
                    <a:pt x="66" y="243"/>
                    <a:pt x="66" y="243"/>
                    <a:pt x="66" y="243"/>
                  </a:cubicBezTo>
                  <a:cubicBezTo>
                    <a:pt x="66" y="243"/>
                    <a:pt x="66" y="243"/>
                    <a:pt x="66" y="243"/>
                  </a:cubicBezTo>
                  <a:cubicBezTo>
                    <a:pt x="66" y="243"/>
                    <a:pt x="66" y="243"/>
                    <a:pt x="65" y="243"/>
                  </a:cubicBezTo>
                  <a:cubicBezTo>
                    <a:pt x="64" y="243"/>
                    <a:pt x="64" y="243"/>
                    <a:pt x="64" y="243"/>
                  </a:cubicBezTo>
                  <a:cubicBezTo>
                    <a:pt x="63" y="243"/>
                    <a:pt x="61" y="243"/>
                    <a:pt x="60" y="244"/>
                  </a:cubicBezTo>
                  <a:cubicBezTo>
                    <a:pt x="60" y="244"/>
                    <a:pt x="60" y="244"/>
                    <a:pt x="60" y="244"/>
                  </a:cubicBezTo>
                  <a:cubicBezTo>
                    <a:pt x="59" y="244"/>
                    <a:pt x="58" y="244"/>
                    <a:pt x="57" y="244"/>
                  </a:cubicBezTo>
                  <a:cubicBezTo>
                    <a:pt x="60" y="247"/>
                    <a:pt x="63" y="250"/>
                    <a:pt x="66" y="252"/>
                  </a:cubicBezTo>
                  <a:cubicBezTo>
                    <a:pt x="67" y="254"/>
                    <a:pt x="70" y="254"/>
                    <a:pt x="72" y="254"/>
                  </a:cubicBezTo>
                  <a:cubicBezTo>
                    <a:pt x="73" y="254"/>
                    <a:pt x="75" y="254"/>
                    <a:pt x="76" y="254"/>
                  </a:cubicBezTo>
                  <a:cubicBezTo>
                    <a:pt x="76" y="254"/>
                    <a:pt x="77" y="254"/>
                    <a:pt x="77" y="254"/>
                  </a:cubicBezTo>
                  <a:cubicBezTo>
                    <a:pt x="79" y="254"/>
                    <a:pt x="80" y="254"/>
                    <a:pt x="82" y="254"/>
                  </a:cubicBezTo>
                  <a:cubicBezTo>
                    <a:pt x="82" y="254"/>
                    <a:pt x="82" y="254"/>
                    <a:pt x="83" y="254"/>
                  </a:cubicBezTo>
                  <a:cubicBezTo>
                    <a:pt x="87" y="254"/>
                    <a:pt x="85" y="253"/>
                    <a:pt x="82" y="251"/>
                  </a:cubicBezTo>
                  <a:cubicBezTo>
                    <a:pt x="82" y="251"/>
                    <a:pt x="83" y="251"/>
                    <a:pt x="83" y="250"/>
                  </a:cubicBezTo>
                  <a:cubicBezTo>
                    <a:pt x="83" y="250"/>
                    <a:pt x="83" y="250"/>
                    <a:pt x="83" y="250"/>
                  </a:cubicBezTo>
                  <a:cubicBezTo>
                    <a:pt x="81" y="249"/>
                    <a:pt x="81" y="249"/>
                    <a:pt x="81" y="249"/>
                  </a:cubicBezTo>
                  <a:cubicBezTo>
                    <a:pt x="82" y="247"/>
                    <a:pt x="82" y="247"/>
                    <a:pt x="82" y="247"/>
                  </a:cubicBezTo>
                  <a:cubicBezTo>
                    <a:pt x="85" y="245"/>
                    <a:pt x="85" y="245"/>
                    <a:pt x="85" y="245"/>
                  </a:cubicBezTo>
                  <a:cubicBezTo>
                    <a:pt x="86" y="246"/>
                    <a:pt x="86" y="246"/>
                    <a:pt x="86" y="246"/>
                  </a:cubicBezTo>
                  <a:cubicBezTo>
                    <a:pt x="88" y="245"/>
                    <a:pt x="88" y="245"/>
                    <a:pt x="88" y="245"/>
                  </a:cubicBezTo>
                  <a:cubicBezTo>
                    <a:pt x="88" y="246"/>
                    <a:pt x="88" y="247"/>
                    <a:pt x="87" y="248"/>
                  </a:cubicBezTo>
                  <a:cubicBezTo>
                    <a:pt x="88" y="249"/>
                    <a:pt x="89" y="250"/>
                    <a:pt x="90" y="250"/>
                  </a:cubicBezTo>
                  <a:cubicBezTo>
                    <a:pt x="90" y="249"/>
                    <a:pt x="90" y="248"/>
                    <a:pt x="90" y="247"/>
                  </a:cubicBezTo>
                  <a:cubicBezTo>
                    <a:pt x="90" y="250"/>
                    <a:pt x="89" y="251"/>
                    <a:pt x="92" y="252"/>
                  </a:cubicBezTo>
                  <a:cubicBezTo>
                    <a:pt x="92" y="252"/>
                    <a:pt x="90" y="253"/>
                    <a:pt x="91" y="253"/>
                  </a:cubicBezTo>
                  <a:cubicBezTo>
                    <a:pt x="91" y="253"/>
                    <a:pt x="91" y="253"/>
                    <a:pt x="91" y="253"/>
                  </a:cubicBezTo>
                  <a:cubicBezTo>
                    <a:pt x="93" y="253"/>
                    <a:pt x="97" y="251"/>
                    <a:pt x="98" y="250"/>
                  </a:cubicBezTo>
                  <a:cubicBezTo>
                    <a:pt x="103" y="247"/>
                    <a:pt x="108" y="244"/>
                    <a:pt x="113" y="242"/>
                  </a:cubicBezTo>
                  <a:cubicBezTo>
                    <a:pt x="118" y="239"/>
                    <a:pt x="124" y="236"/>
                    <a:pt x="127" y="231"/>
                  </a:cubicBezTo>
                  <a:cubicBezTo>
                    <a:pt x="128" y="230"/>
                    <a:pt x="133" y="227"/>
                    <a:pt x="131" y="225"/>
                  </a:cubicBezTo>
                  <a:cubicBezTo>
                    <a:pt x="129" y="224"/>
                    <a:pt x="130" y="220"/>
                    <a:pt x="131" y="219"/>
                  </a:cubicBezTo>
                  <a:cubicBezTo>
                    <a:pt x="131" y="220"/>
                    <a:pt x="131" y="222"/>
                    <a:pt x="133" y="223"/>
                  </a:cubicBezTo>
                  <a:cubicBezTo>
                    <a:pt x="133" y="222"/>
                    <a:pt x="132" y="222"/>
                    <a:pt x="132" y="221"/>
                  </a:cubicBezTo>
                  <a:cubicBezTo>
                    <a:pt x="132" y="220"/>
                    <a:pt x="132" y="217"/>
                    <a:pt x="132" y="216"/>
                  </a:cubicBezTo>
                  <a:cubicBezTo>
                    <a:pt x="132" y="215"/>
                    <a:pt x="131" y="214"/>
                    <a:pt x="130" y="213"/>
                  </a:cubicBezTo>
                  <a:cubicBezTo>
                    <a:pt x="130" y="212"/>
                    <a:pt x="130" y="212"/>
                    <a:pt x="130" y="212"/>
                  </a:cubicBezTo>
                  <a:cubicBezTo>
                    <a:pt x="131" y="212"/>
                    <a:pt x="131" y="213"/>
                    <a:pt x="132" y="213"/>
                  </a:cubicBezTo>
                  <a:cubicBezTo>
                    <a:pt x="133" y="213"/>
                    <a:pt x="134" y="213"/>
                    <a:pt x="134" y="213"/>
                  </a:cubicBezTo>
                  <a:cubicBezTo>
                    <a:pt x="134" y="213"/>
                    <a:pt x="134" y="213"/>
                    <a:pt x="134" y="213"/>
                  </a:cubicBezTo>
                  <a:cubicBezTo>
                    <a:pt x="134" y="213"/>
                    <a:pt x="133" y="213"/>
                    <a:pt x="133" y="212"/>
                  </a:cubicBezTo>
                  <a:cubicBezTo>
                    <a:pt x="133" y="209"/>
                    <a:pt x="131" y="208"/>
                    <a:pt x="134" y="206"/>
                  </a:cubicBezTo>
                  <a:cubicBezTo>
                    <a:pt x="134" y="207"/>
                    <a:pt x="135" y="209"/>
                    <a:pt x="136" y="210"/>
                  </a:cubicBezTo>
                  <a:cubicBezTo>
                    <a:pt x="136" y="208"/>
                    <a:pt x="136" y="209"/>
                    <a:pt x="135" y="207"/>
                  </a:cubicBezTo>
                  <a:cubicBezTo>
                    <a:pt x="135" y="207"/>
                    <a:pt x="135" y="207"/>
                    <a:pt x="135" y="206"/>
                  </a:cubicBezTo>
                  <a:cubicBezTo>
                    <a:pt x="135" y="206"/>
                    <a:pt x="134" y="205"/>
                    <a:pt x="135" y="205"/>
                  </a:cubicBezTo>
                  <a:cubicBezTo>
                    <a:pt x="136" y="204"/>
                    <a:pt x="136" y="204"/>
                    <a:pt x="136" y="204"/>
                  </a:cubicBezTo>
                  <a:cubicBezTo>
                    <a:pt x="135" y="201"/>
                    <a:pt x="135" y="199"/>
                    <a:pt x="134" y="197"/>
                  </a:cubicBezTo>
                  <a:cubicBezTo>
                    <a:pt x="133" y="194"/>
                    <a:pt x="133" y="191"/>
                    <a:pt x="132" y="188"/>
                  </a:cubicBezTo>
                  <a:cubicBezTo>
                    <a:pt x="132" y="187"/>
                    <a:pt x="133" y="186"/>
                    <a:pt x="133" y="185"/>
                  </a:cubicBezTo>
                  <a:cubicBezTo>
                    <a:pt x="133" y="184"/>
                    <a:pt x="133" y="183"/>
                    <a:pt x="132" y="182"/>
                  </a:cubicBezTo>
                  <a:cubicBezTo>
                    <a:pt x="132" y="178"/>
                    <a:pt x="130" y="172"/>
                    <a:pt x="128" y="168"/>
                  </a:cubicBezTo>
                  <a:cubicBezTo>
                    <a:pt x="127" y="164"/>
                    <a:pt x="126" y="163"/>
                    <a:pt x="126" y="159"/>
                  </a:cubicBezTo>
                  <a:cubicBezTo>
                    <a:pt x="126" y="158"/>
                    <a:pt x="126" y="158"/>
                    <a:pt x="125" y="157"/>
                  </a:cubicBezTo>
                  <a:cubicBezTo>
                    <a:pt x="121" y="154"/>
                    <a:pt x="118" y="149"/>
                    <a:pt x="114" y="144"/>
                  </a:cubicBezTo>
                  <a:cubicBezTo>
                    <a:pt x="114" y="144"/>
                    <a:pt x="114" y="144"/>
                    <a:pt x="114" y="144"/>
                  </a:cubicBezTo>
                  <a:cubicBezTo>
                    <a:pt x="115" y="143"/>
                    <a:pt x="115" y="143"/>
                    <a:pt x="115" y="143"/>
                  </a:cubicBezTo>
                  <a:cubicBezTo>
                    <a:pt x="114" y="143"/>
                    <a:pt x="114" y="143"/>
                    <a:pt x="114" y="143"/>
                  </a:cubicBezTo>
                  <a:cubicBezTo>
                    <a:pt x="115" y="142"/>
                    <a:pt x="115" y="141"/>
                    <a:pt x="115" y="140"/>
                  </a:cubicBezTo>
                  <a:cubicBezTo>
                    <a:pt x="114" y="140"/>
                    <a:pt x="114" y="140"/>
                    <a:pt x="114" y="140"/>
                  </a:cubicBezTo>
                  <a:cubicBezTo>
                    <a:pt x="113" y="140"/>
                    <a:pt x="113" y="141"/>
                    <a:pt x="112" y="142"/>
                  </a:cubicBezTo>
                  <a:cubicBezTo>
                    <a:pt x="112" y="142"/>
                    <a:pt x="112" y="142"/>
                    <a:pt x="112" y="142"/>
                  </a:cubicBezTo>
                  <a:cubicBezTo>
                    <a:pt x="112" y="141"/>
                    <a:pt x="111" y="140"/>
                    <a:pt x="112" y="139"/>
                  </a:cubicBezTo>
                  <a:cubicBezTo>
                    <a:pt x="109" y="137"/>
                    <a:pt x="104" y="136"/>
                    <a:pt x="101" y="133"/>
                  </a:cubicBezTo>
                  <a:cubicBezTo>
                    <a:pt x="100" y="132"/>
                    <a:pt x="98" y="130"/>
                    <a:pt x="97" y="129"/>
                  </a:cubicBezTo>
                  <a:cubicBezTo>
                    <a:pt x="95" y="128"/>
                    <a:pt x="93" y="127"/>
                    <a:pt x="92" y="126"/>
                  </a:cubicBezTo>
                  <a:cubicBezTo>
                    <a:pt x="90" y="124"/>
                    <a:pt x="91" y="122"/>
                    <a:pt x="89" y="121"/>
                  </a:cubicBezTo>
                  <a:cubicBezTo>
                    <a:pt x="88" y="119"/>
                    <a:pt x="86" y="118"/>
                    <a:pt x="84" y="116"/>
                  </a:cubicBezTo>
                  <a:cubicBezTo>
                    <a:pt x="81" y="114"/>
                    <a:pt x="78" y="111"/>
                    <a:pt x="76" y="109"/>
                  </a:cubicBezTo>
                  <a:cubicBezTo>
                    <a:pt x="76" y="109"/>
                    <a:pt x="76" y="109"/>
                    <a:pt x="76" y="109"/>
                  </a:cubicBezTo>
                  <a:cubicBezTo>
                    <a:pt x="77" y="109"/>
                    <a:pt x="78" y="109"/>
                    <a:pt x="79" y="110"/>
                  </a:cubicBezTo>
                  <a:cubicBezTo>
                    <a:pt x="79" y="108"/>
                    <a:pt x="78" y="107"/>
                    <a:pt x="80" y="105"/>
                  </a:cubicBezTo>
                  <a:cubicBezTo>
                    <a:pt x="80" y="105"/>
                    <a:pt x="70" y="95"/>
                    <a:pt x="69" y="94"/>
                  </a:cubicBezTo>
                  <a:cubicBezTo>
                    <a:pt x="65" y="91"/>
                    <a:pt x="64" y="88"/>
                    <a:pt x="63" y="84"/>
                  </a:cubicBezTo>
                  <a:cubicBezTo>
                    <a:pt x="63" y="84"/>
                    <a:pt x="63" y="84"/>
                    <a:pt x="63" y="84"/>
                  </a:cubicBezTo>
                  <a:cubicBezTo>
                    <a:pt x="63" y="83"/>
                    <a:pt x="65" y="81"/>
                    <a:pt x="66" y="79"/>
                  </a:cubicBezTo>
                  <a:cubicBezTo>
                    <a:pt x="67" y="78"/>
                    <a:pt x="66" y="74"/>
                    <a:pt x="66" y="72"/>
                  </a:cubicBezTo>
                  <a:cubicBezTo>
                    <a:pt x="67" y="71"/>
                    <a:pt x="68" y="69"/>
                    <a:pt x="69" y="68"/>
                  </a:cubicBezTo>
                  <a:cubicBezTo>
                    <a:pt x="71" y="65"/>
                    <a:pt x="72" y="64"/>
                    <a:pt x="74" y="62"/>
                  </a:cubicBezTo>
                  <a:cubicBezTo>
                    <a:pt x="76" y="61"/>
                    <a:pt x="78" y="59"/>
                    <a:pt x="80" y="59"/>
                  </a:cubicBezTo>
                  <a:cubicBezTo>
                    <a:pt x="81" y="59"/>
                    <a:pt x="81" y="59"/>
                    <a:pt x="81" y="59"/>
                  </a:cubicBezTo>
                  <a:cubicBezTo>
                    <a:pt x="81" y="57"/>
                    <a:pt x="81" y="54"/>
                    <a:pt x="81" y="52"/>
                  </a:cubicBezTo>
                  <a:cubicBezTo>
                    <a:pt x="81" y="51"/>
                    <a:pt x="85" y="51"/>
                    <a:pt x="86" y="51"/>
                  </a:cubicBezTo>
                  <a:cubicBezTo>
                    <a:pt x="85" y="50"/>
                    <a:pt x="85" y="50"/>
                    <a:pt x="85" y="50"/>
                  </a:cubicBezTo>
                  <a:cubicBezTo>
                    <a:pt x="84" y="47"/>
                    <a:pt x="85" y="47"/>
                    <a:pt x="82" y="44"/>
                  </a:cubicBezTo>
                  <a:cubicBezTo>
                    <a:pt x="84" y="45"/>
                    <a:pt x="85" y="47"/>
                    <a:pt x="87" y="47"/>
                  </a:cubicBezTo>
                  <a:cubicBezTo>
                    <a:pt x="87" y="47"/>
                    <a:pt x="88" y="47"/>
                    <a:pt x="88" y="47"/>
                  </a:cubicBezTo>
                  <a:cubicBezTo>
                    <a:pt x="88" y="46"/>
                    <a:pt x="88" y="46"/>
                    <a:pt x="88" y="46"/>
                  </a:cubicBezTo>
                  <a:cubicBezTo>
                    <a:pt x="89" y="46"/>
                    <a:pt x="89" y="46"/>
                    <a:pt x="90" y="45"/>
                  </a:cubicBezTo>
                  <a:cubicBezTo>
                    <a:pt x="90" y="45"/>
                    <a:pt x="90" y="45"/>
                    <a:pt x="91" y="45"/>
                  </a:cubicBezTo>
                  <a:cubicBezTo>
                    <a:pt x="91" y="45"/>
                    <a:pt x="91" y="45"/>
                    <a:pt x="92" y="46"/>
                  </a:cubicBezTo>
                  <a:cubicBezTo>
                    <a:pt x="92" y="46"/>
                    <a:pt x="92" y="46"/>
                    <a:pt x="93" y="46"/>
                  </a:cubicBezTo>
                  <a:cubicBezTo>
                    <a:pt x="93" y="46"/>
                    <a:pt x="93" y="46"/>
                    <a:pt x="93" y="46"/>
                  </a:cubicBezTo>
                  <a:cubicBezTo>
                    <a:pt x="93" y="46"/>
                    <a:pt x="96" y="45"/>
                    <a:pt x="96" y="45"/>
                  </a:cubicBezTo>
                  <a:cubicBezTo>
                    <a:pt x="96" y="44"/>
                    <a:pt x="96" y="44"/>
                    <a:pt x="96" y="43"/>
                  </a:cubicBezTo>
                  <a:cubicBezTo>
                    <a:pt x="96" y="42"/>
                    <a:pt x="97" y="42"/>
                    <a:pt x="96" y="41"/>
                  </a:cubicBezTo>
                  <a:cubicBezTo>
                    <a:pt x="97" y="41"/>
                    <a:pt x="97" y="40"/>
                    <a:pt x="98" y="40"/>
                  </a:cubicBezTo>
                  <a:cubicBezTo>
                    <a:pt x="97" y="41"/>
                    <a:pt x="97" y="42"/>
                    <a:pt x="96" y="44"/>
                  </a:cubicBezTo>
                  <a:cubicBezTo>
                    <a:pt x="98" y="43"/>
                    <a:pt x="99" y="42"/>
                    <a:pt x="101" y="41"/>
                  </a:cubicBezTo>
                  <a:cubicBezTo>
                    <a:pt x="100" y="40"/>
                    <a:pt x="99" y="40"/>
                    <a:pt x="99" y="40"/>
                  </a:cubicBezTo>
                  <a:cubicBezTo>
                    <a:pt x="101" y="38"/>
                    <a:pt x="103" y="37"/>
                    <a:pt x="105" y="36"/>
                  </a:cubicBezTo>
                  <a:cubicBezTo>
                    <a:pt x="105" y="36"/>
                    <a:pt x="105" y="36"/>
                    <a:pt x="105" y="36"/>
                  </a:cubicBezTo>
                  <a:cubicBezTo>
                    <a:pt x="105" y="35"/>
                    <a:pt x="105" y="35"/>
                    <a:pt x="105" y="35"/>
                  </a:cubicBezTo>
                  <a:cubicBezTo>
                    <a:pt x="103" y="35"/>
                    <a:pt x="101" y="34"/>
                    <a:pt x="100" y="34"/>
                  </a:cubicBezTo>
                  <a:cubicBezTo>
                    <a:pt x="99" y="34"/>
                    <a:pt x="99" y="34"/>
                    <a:pt x="99" y="34"/>
                  </a:cubicBezTo>
                  <a:cubicBezTo>
                    <a:pt x="98" y="34"/>
                    <a:pt x="98" y="34"/>
                    <a:pt x="98" y="34"/>
                  </a:cubicBezTo>
                  <a:cubicBezTo>
                    <a:pt x="98" y="35"/>
                    <a:pt x="97" y="35"/>
                    <a:pt x="96" y="35"/>
                  </a:cubicBezTo>
                  <a:cubicBezTo>
                    <a:pt x="94" y="35"/>
                    <a:pt x="93" y="33"/>
                    <a:pt x="92" y="32"/>
                  </a:cubicBezTo>
                  <a:cubicBezTo>
                    <a:pt x="91" y="31"/>
                    <a:pt x="91" y="31"/>
                    <a:pt x="91" y="31"/>
                  </a:cubicBezTo>
                  <a:cubicBezTo>
                    <a:pt x="90" y="30"/>
                    <a:pt x="90" y="30"/>
                    <a:pt x="90" y="30"/>
                  </a:cubicBezTo>
                  <a:cubicBezTo>
                    <a:pt x="89" y="28"/>
                    <a:pt x="89" y="28"/>
                    <a:pt x="89" y="28"/>
                  </a:cubicBezTo>
                  <a:cubicBezTo>
                    <a:pt x="88" y="28"/>
                    <a:pt x="88" y="28"/>
                    <a:pt x="87" y="28"/>
                  </a:cubicBezTo>
                  <a:cubicBezTo>
                    <a:pt x="87" y="28"/>
                    <a:pt x="87" y="28"/>
                    <a:pt x="87" y="28"/>
                  </a:cubicBezTo>
                  <a:cubicBezTo>
                    <a:pt x="85" y="28"/>
                    <a:pt x="84" y="28"/>
                    <a:pt x="82" y="27"/>
                  </a:cubicBezTo>
                  <a:cubicBezTo>
                    <a:pt x="82" y="27"/>
                    <a:pt x="82" y="27"/>
                    <a:pt x="82" y="27"/>
                  </a:cubicBezTo>
                  <a:cubicBezTo>
                    <a:pt x="82" y="27"/>
                    <a:pt x="82" y="27"/>
                    <a:pt x="82" y="27"/>
                  </a:cubicBezTo>
                  <a:cubicBezTo>
                    <a:pt x="81" y="25"/>
                    <a:pt x="81" y="25"/>
                    <a:pt x="81" y="25"/>
                  </a:cubicBezTo>
                  <a:cubicBezTo>
                    <a:pt x="81" y="25"/>
                    <a:pt x="81" y="25"/>
                    <a:pt x="81" y="25"/>
                  </a:cubicBezTo>
                  <a:cubicBezTo>
                    <a:pt x="81" y="25"/>
                    <a:pt x="81" y="25"/>
                    <a:pt x="81" y="25"/>
                  </a:cubicBezTo>
                  <a:cubicBezTo>
                    <a:pt x="81" y="23"/>
                    <a:pt x="81" y="23"/>
                    <a:pt x="81" y="23"/>
                  </a:cubicBezTo>
                  <a:cubicBezTo>
                    <a:pt x="81" y="23"/>
                    <a:pt x="81" y="23"/>
                    <a:pt x="81" y="23"/>
                  </a:cubicBezTo>
                  <a:cubicBezTo>
                    <a:pt x="81" y="23"/>
                    <a:pt x="81" y="22"/>
                    <a:pt x="81" y="22"/>
                  </a:cubicBezTo>
                  <a:cubicBezTo>
                    <a:pt x="80" y="21"/>
                    <a:pt x="80" y="20"/>
                    <a:pt x="80" y="19"/>
                  </a:cubicBezTo>
                  <a:cubicBezTo>
                    <a:pt x="79" y="19"/>
                    <a:pt x="79" y="19"/>
                    <a:pt x="79" y="19"/>
                  </a:cubicBezTo>
                  <a:cubicBezTo>
                    <a:pt x="78" y="16"/>
                    <a:pt x="79" y="14"/>
                    <a:pt x="81" y="12"/>
                  </a:cubicBezTo>
                  <a:cubicBezTo>
                    <a:pt x="81" y="11"/>
                    <a:pt x="81" y="11"/>
                    <a:pt x="81" y="11"/>
                  </a:cubicBezTo>
                  <a:cubicBezTo>
                    <a:pt x="82" y="11"/>
                    <a:pt x="82" y="10"/>
                    <a:pt x="82" y="10"/>
                  </a:cubicBezTo>
                  <a:cubicBezTo>
                    <a:pt x="82" y="10"/>
                    <a:pt x="82" y="10"/>
                    <a:pt x="82" y="10"/>
                  </a:cubicBezTo>
                  <a:cubicBezTo>
                    <a:pt x="82" y="10"/>
                    <a:pt x="82" y="10"/>
                    <a:pt x="82" y="10"/>
                  </a:cubicBezTo>
                  <a:cubicBezTo>
                    <a:pt x="81" y="9"/>
                    <a:pt x="80" y="9"/>
                    <a:pt x="79" y="9"/>
                  </a:cubicBezTo>
                  <a:cubicBezTo>
                    <a:pt x="78" y="9"/>
                    <a:pt x="78" y="9"/>
                    <a:pt x="77" y="9"/>
                  </a:cubicBezTo>
                  <a:cubicBezTo>
                    <a:pt x="77" y="9"/>
                    <a:pt x="77" y="9"/>
                    <a:pt x="76" y="9"/>
                  </a:cubicBezTo>
                  <a:cubicBezTo>
                    <a:pt x="76" y="9"/>
                    <a:pt x="75" y="9"/>
                    <a:pt x="75" y="9"/>
                  </a:cubicBezTo>
                  <a:cubicBezTo>
                    <a:pt x="74" y="9"/>
                    <a:pt x="74" y="9"/>
                    <a:pt x="74" y="9"/>
                  </a:cubicBezTo>
                  <a:cubicBezTo>
                    <a:pt x="71" y="9"/>
                    <a:pt x="68" y="9"/>
                    <a:pt x="64" y="7"/>
                  </a:cubicBezTo>
                  <a:cubicBezTo>
                    <a:pt x="64" y="6"/>
                    <a:pt x="64" y="6"/>
                    <a:pt x="64" y="6"/>
                  </a:cubicBezTo>
                  <a:cubicBezTo>
                    <a:pt x="62" y="5"/>
                    <a:pt x="61" y="4"/>
                    <a:pt x="60" y="3"/>
                  </a:cubicBezTo>
                  <a:cubicBezTo>
                    <a:pt x="59" y="2"/>
                    <a:pt x="59" y="2"/>
                    <a:pt x="59" y="2"/>
                  </a:cubicBezTo>
                  <a:cubicBezTo>
                    <a:pt x="58" y="1"/>
                    <a:pt x="58" y="1"/>
                    <a:pt x="58" y="1"/>
                  </a:cubicBezTo>
                  <a:cubicBezTo>
                    <a:pt x="58" y="1"/>
                    <a:pt x="58" y="1"/>
                    <a:pt x="58" y="1"/>
                  </a:cubicBezTo>
                  <a:cubicBezTo>
                    <a:pt x="57" y="0"/>
                    <a:pt x="57" y="0"/>
                    <a:pt x="57" y="0"/>
                  </a:cubicBezTo>
                  <a:cubicBezTo>
                    <a:pt x="56" y="0"/>
                    <a:pt x="56" y="0"/>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441"/>
            <p:cNvSpPr/>
            <p:nvPr/>
          </p:nvSpPr>
          <p:spPr bwMode="auto">
            <a:xfrm>
              <a:off x="4888354" y="6102839"/>
              <a:ext cx="104534" cy="137545"/>
            </a:xfrm>
            <a:custGeom>
              <a:gdLst>
                <a:gd name="T0" fmla="*/ 14 w 32"/>
                <a:gd name="T1" fmla="*/ 0 h 42"/>
                <a:gd name="T2" fmla="*/ 12 w 32"/>
                <a:gd name="T3" fmla="*/ 0 h 42"/>
                <a:gd name="T4" fmla="*/ 12 w 32"/>
                <a:gd name="T5" fmla="*/ 0 h 42"/>
                <a:gd name="T6" fmla="*/ 12 w 32"/>
                <a:gd name="T7" fmla="*/ 1 h 42"/>
                <a:gd name="T8" fmla="*/ 4 w 32"/>
                <a:gd name="T9" fmla="*/ 8 h 42"/>
                <a:gd name="T10" fmla="*/ 0 w 32"/>
                <a:gd name="T11" fmla="*/ 9 h 42"/>
                <a:gd name="T12" fmla="*/ 2 w 32"/>
                <a:gd name="T13" fmla="*/ 13 h 42"/>
                <a:gd name="T14" fmla="*/ 11 w 32"/>
                <a:gd name="T15" fmla="*/ 18 h 42"/>
                <a:gd name="T16" fmla="*/ 10 w 32"/>
                <a:gd name="T17" fmla="*/ 17 h 42"/>
                <a:gd name="T18" fmla="*/ 7 w 32"/>
                <a:gd name="T19" fmla="*/ 19 h 42"/>
                <a:gd name="T20" fmla="*/ 6 w 32"/>
                <a:gd name="T21" fmla="*/ 31 h 42"/>
                <a:gd name="T22" fmla="*/ 7 w 32"/>
                <a:gd name="T23" fmla="*/ 41 h 42"/>
                <a:gd name="T24" fmla="*/ 8 w 32"/>
                <a:gd name="T25" fmla="*/ 40 h 42"/>
                <a:gd name="T26" fmla="*/ 4 w 32"/>
                <a:gd name="T27" fmla="*/ 42 h 42"/>
                <a:gd name="T28" fmla="*/ 13 w 32"/>
                <a:gd name="T29" fmla="*/ 40 h 42"/>
                <a:gd name="T30" fmla="*/ 17 w 32"/>
                <a:gd name="T31" fmla="*/ 36 h 42"/>
                <a:gd name="T32" fmla="*/ 28 w 32"/>
                <a:gd name="T33" fmla="*/ 29 h 42"/>
                <a:gd name="T34" fmla="*/ 30 w 32"/>
                <a:gd name="T35" fmla="*/ 25 h 42"/>
                <a:gd name="T36" fmla="*/ 26 w 32"/>
                <a:gd name="T37" fmla="*/ 17 h 42"/>
                <a:gd name="T38" fmla="*/ 25 w 32"/>
                <a:gd name="T39" fmla="*/ 15 h 42"/>
                <a:gd name="T40" fmla="*/ 25 w 32"/>
                <a:gd name="T41" fmla="*/ 15 h 42"/>
                <a:gd name="T42" fmla="*/ 21 w 32"/>
                <a:gd name="T43" fmla="*/ 12 h 42"/>
                <a:gd name="T44" fmla="*/ 21 w 32"/>
                <a:gd name="T45" fmla="*/ 12 h 42"/>
                <a:gd name="T46" fmla="*/ 17 w 32"/>
                <a:gd name="T47" fmla="*/ 8 h 42"/>
                <a:gd name="T48" fmla="*/ 14 w 32"/>
                <a:gd name="T49" fmla="*/ 5 h 42"/>
                <a:gd name="T50" fmla="*/ 15 w 32"/>
                <a:gd name="T51" fmla="*/ 5 h 42"/>
                <a:gd name="T52" fmla="*/ 15 w 32"/>
                <a:gd name="T53" fmla="*/ 5 h 42"/>
                <a:gd name="T54" fmla="*/ 14 w 32"/>
                <a:gd name="T55" fmla="*/ 0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42">
                  <a:moveTo>
                    <a:pt x="14" y="0"/>
                  </a:moveTo>
                  <a:cubicBezTo>
                    <a:pt x="14" y="0"/>
                    <a:pt x="13" y="0"/>
                    <a:pt x="12" y="0"/>
                  </a:cubicBezTo>
                  <a:cubicBezTo>
                    <a:pt x="12" y="0"/>
                    <a:pt x="12" y="0"/>
                    <a:pt x="12" y="0"/>
                  </a:cubicBezTo>
                  <a:cubicBezTo>
                    <a:pt x="12" y="1"/>
                    <a:pt x="12" y="1"/>
                    <a:pt x="12" y="1"/>
                  </a:cubicBezTo>
                  <a:cubicBezTo>
                    <a:pt x="12" y="4"/>
                    <a:pt x="8" y="7"/>
                    <a:pt x="4" y="8"/>
                  </a:cubicBezTo>
                  <a:cubicBezTo>
                    <a:pt x="2" y="8"/>
                    <a:pt x="0" y="9"/>
                    <a:pt x="0" y="9"/>
                  </a:cubicBezTo>
                  <a:cubicBezTo>
                    <a:pt x="0" y="11"/>
                    <a:pt x="1" y="12"/>
                    <a:pt x="2" y="13"/>
                  </a:cubicBezTo>
                  <a:cubicBezTo>
                    <a:pt x="4" y="14"/>
                    <a:pt x="11" y="14"/>
                    <a:pt x="11" y="18"/>
                  </a:cubicBezTo>
                  <a:cubicBezTo>
                    <a:pt x="11" y="17"/>
                    <a:pt x="11" y="17"/>
                    <a:pt x="10" y="17"/>
                  </a:cubicBezTo>
                  <a:cubicBezTo>
                    <a:pt x="9" y="17"/>
                    <a:pt x="8" y="19"/>
                    <a:pt x="7" y="19"/>
                  </a:cubicBezTo>
                  <a:cubicBezTo>
                    <a:pt x="5" y="23"/>
                    <a:pt x="6" y="28"/>
                    <a:pt x="6" y="31"/>
                  </a:cubicBezTo>
                  <a:cubicBezTo>
                    <a:pt x="6" y="33"/>
                    <a:pt x="4" y="41"/>
                    <a:pt x="7" y="41"/>
                  </a:cubicBezTo>
                  <a:cubicBezTo>
                    <a:pt x="8" y="41"/>
                    <a:pt x="8" y="41"/>
                    <a:pt x="8" y="40"/>
                  </a:cubicBezTo>
                  <a:cubicBezTo>
                    <a:pt x="7" y="41"/>
                    <a:pt x="6" y="42"/>
                    <a:pt x="4" y="42"/>
                  </a:cubicBezTo>
                  <a:cubicBezTo>
                    <a:pt x="8" y="42"/>
                    <a:pt x="10" y="42"/>
                    <a:pt x="13" y="40"/>
                  </a:cubicBezTo>
                  <a:cubicBezTo>
                    <a:pt x="15" y="39"/>
                    <a:pt x="15" y="39"/>
                    <a:pt x="17" y="36"/>
                  </a:cubicBezTo>
                  <a:cubicBezTo>
                    <a:pt x="18" y="32"/>
                    <a:pt x="24" y="31"/>
                    <a:pt x="28" y="29"/>
                  </a:cubicBezTo>
                  <a:cubicBezTo>
                    <a:pt x="30" y="27"/>
                    <a:pt x="32" y="28"/>
                    <a:pt x="30" y="25"/>
                  </a:cubicBezTo>
                  <a:cubicBezTo>
                    <a:pt x="29" y="22"/>
                    <a:pt x="28" y="20"/>
                    <a:pt x="26" y="17"/>
                  </a:cubicBezTo>
                  <a:cubicBezTo>
                    <a:pt x="26" y="16"/>
                    <a:pt x="25" y="16"/>
                    <a:pt x="25" y="15"/>
                  </a:cubicBezTo>
                  <a:cubicBezTo>
                    <a:pt x="25" y="15"/>
                    <a:pt x="25" y="15"/>
                    <a:pt x="25" y="15"/>
                  </a:cubicBezTo>
                  <a:cubicBezTo>
                    <a:pt x="24" y="14"/>
                    <a:pt x="23" y="13"/>
                    <a:pt x="21" y="12"/>
                  </a:cubicBezTo>
                  <a:cubicBezTo>
                    <a:pt x="21" y="12"/>
                    <a:pt x="21" y="12"/>
                    <a:pt x="21" y="12"/>
                  </a:cubicBezTo>
                  <a:cubicBezTo>
                    <a:pt x="20" y="10"/>
                    <a:pt x="18" y="9"/>
                    <a:pt x="17" y="8"/>
                  </a:cubicBezTo>
                  <a:cubicBezTo>
                    <a:pt x="16" y="6"/>
                    <a:pt x="15" y="5"/>
                    <a:pt x="14" y="5"/>
                  </a:cubicBezTo>
                  <a:cubicBezTo>
                    <a:pt x="14" y="5"/>
                    <a:pt x="15" y="5"/>
                    <a:pt x="15" y="5"/>
                  </a:cubicBezTo>
                  <a:cubicBezTo>
                    <a:pt x="15" y="5"/>
                    <a:pt x="15" y="5"/>
                    <a:pt x="15" y="5"/>
                  </a:cubicBezTo>
                  <a:cubicBezTo>
                    <a:pt x="17" y="5"/>
                    <a:pt x="16" y="2"/>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442"/>
            <p:cNvSpPr/>
            <p:nvPr/>
          </p:nvSpPr>
          <p:spPr bwMode="auto">
            <a:xfrm flipH="1">
              <a:off x="4787946" y="6045070"/>
              <a:ext cx="0" cy="6878"/>
            </a:xfrm>
            <a:custGeom>
              <a:gdLst>
                <a:gd name="T0" fmla="*/ 0 h 2"/>
                <a:gd name="T1" fmla="*/ 0 h 2"/>
                <a:gd name="T2" fmla="*/ 0 h 2"/>
                <a:gd name="T3" fmla="*/ 2 h 2"/>
                <a:gd name="T4" fmla="*/ 0 h 2"/>
              </a:gd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0"/>
                    <a:pt x="0" y="0"/>
                    <a:pt x="0" y="0"/>
                  </a:cubicBezTo>
                  <a:cubicBezTo>
                    <a:pt x="0" y="1"/>
                    <a:pt x="0" y="2"/>
                    <a:pt x="0" y="2"/>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443"/>
            <p:cNvSpPr>
              <a:spLocks noEditPoints="1"/>
            </p:cNvSpPr>
            <p:nvPr/>
          </p:nvSpPr>
          <p:spPr bwMode="auto">
            <a:xfrm>
              <a:off x="4759062" y="5873138"/>
              <a:ext cx="314979" cy="250332"/>
            </a:xfrm>
            <a:custGeom>
              <a:gdLst>
                <a:gd name="T0" fmla="*/ 11 w 97"/>
                <a:gd name="T1" fmla="*/ 57 h 77"/>
                <a:gd name="T2" fmla="*/ 74 w 97"/>
                <a:gd name="T3" fmla="*/ 2 h 77"/>
                <a:gd name="T4" fmla="*/ 74 w 97"/>
                <a:gd name="T5" fmla="*/ 8 h 77"/>
                <a:gd name="T6" fmla="*/ 69 w 97"/>
                <a:gd name="T7" fmla="*/ 16 h 77"/>
                <a:gd name="T8" fmla="*/ 67 w 97"/>
                <a:gd name="T9" fmla="*/ 13 h 77"/>
                <a:gd name="T10" fmla="*/ 64 w 97"/>
                <a:gd name="T11" fmla="*/ 12 h 77"/>
                <a:gd name="T12" fmla="*/ 62 w 97"/>
                <a:gd name="T13" fmla="*/ 9 h 77"/>
                <a:gd name="T14" fmla="*/ 61 w 97"/>
                <a:gd name="T15" fmla="*/ 9 h 77"/>
                <a:gd name="T16" fmla="*/ 58 w 97"/>
                <a:gd name="T17" fmla="*/ 10 h 77"/>
                <a:gd name="T18" fmla="*/ 53 w 97"/>
                <a:gd name="T19" fmla="*/ 6 h 77"/>
                <a:gd name="T20" fmla="*/ 48 w 97"/>
                <a:gd name="T21" fmla="*/ 5 h 77"/>
                <a:gd name="T22" fmla="*/ 47 w 97"/>
                <a:gd name="T23" fmla="*/ 4 h 77"/>
                <a:gd name="T24" fmla="*/ 41 w 97"/>
                <a:gd name="T25" fmla="*/ 4 h 77"/>
                <a:gd name="T26" fmla="*/ 30 w 97"/>
                <a:gd name="T27" fmla="*/ 4 h 77"/>
                <a:gd name="T28" fmla="*/ 21 w 97"/>
                <a:gd name="T29" fmla="*/ 4 h 77"/>
                <a:gd name="T30" fmla="*/ 11 w 97"/>
                <a:gd name="T31" fmla="*/ 8 h 77"/>
                <a:gd name="T32" fmla="*/ 2 w 97"/>
                <a:gd name="T33" fmla="*/ 19 h 77"/>
                <a:gd name="T34" fmla="*/ 3 w 97"/>
                <a:gd name="T35" fmla="*/ 26 h 77"/>
                <a:gd name="T36" fmla="*/ 4 w 97"/>
                <a:gd name="T37" fmla="*/ 34 h 77"/>
                <a:gd name="T38" fmla="*/ 8 w 97"/>
                <a:gd name="T39" fmla="*/ 38 h 77"/>
                <a:gd name="T40" fmla="*/ 9 w 97"/>
                <a:gd name="T41" fmla="*/ 40 h 77"/>
                <a:gd name="T42" fmla="*/ 10 w 97"/>
                <a:gd name="T43" fmla="*/ 51 h 77"/>
                <a:gd name="T44" fmla="*/ 11 w 97"/>
                <a:gd name="T45" fmla="*/ 57 h 77"/>
                <a:gd name="T46" fmla="*/ 14 w 97"/>
                <a:gd name="T47" fmla="*/ 70 h 77"/>
                <a:gd name="T48" fmla="*/ 22 w 97"/>
                <a:gd name="T49" fmla="*/ 64 h 77"/>
                <a:gd name="T50" fmla="*/ 22 w 97"/>
                <a:gd name="T51" fmla="*/ 76 h 77"/>
                <a:gd name="T52" fmla="*/ 36 w 97"/>
                <a:gd name="T53" fmla="*/ 77 h 77"/>
                <a:gd name="T54" fmla="*/ 47 w 97"/>
                <a:gd name="T55" fmla="*/ 72 h 77"/>
                <a:gd name="T56" fmla="*/ 51 w 97"/>
                <a:gd name="T57" fmla="*/ 66 h 77"/>
                <a:gd name="T58" fmla="*/ 57 w 97"/>
                <a:gd name="T59" fmla="*/ 66 h 77"/>
                <a:gd name="T60" fmla="*/ 63 w 97"/>
                <a:gd name="T61" fmla="*/ 65 h 77"/>
                <a:gd name="T62" fmla="*/ 63 w 97"/>
                <a:gd name="T63" fmla="*/ 58 h 77"/>
                <a:gd name="T64" fmla="*/ 67 w 97"/>
                <a:gd name="T65" fmla="*/ 51 h 77"/>
                <a:gd name="T66" fmla="*/ 74 w 97"/>
                <a:gd name="T67" fmla="*/ 51 h 77"/>
                <a:gd name="T68" fmla="*/ 84 w 97"/>
                <a:gd name="T69" fmla="*/ 44 h 77"/>
                <a:gd name="T70" fmla="*/ 89 w 97"/>
                <a:gd name="T71" fmla="*/ 41 h 77"/>
                <a:gd name="T72" fmla="*/ 95 w 97"/>
                <a:gd name="T73" fmla="*/ 40 h 77"/>
                <a:gd name="T74" fmla="*/ 96 w 97"/>
                <a:gd name="T75" fmla="*/ 39 h 77"/>
                <a:gd name="T76" fmla="*/ 96 w 97"/>
                <a:gd name="T77" fmla="*/ 38 h 77"/>
                <a:gd name="T78" fmla="*/ 95 w 97"/>
                <a:gd name="T79" fmla="*/ 27 h 77"/>
                <a:gd name="T80" fmla="*/ 96 w 97"/>
                <a:gd name="T81" fmla="*/ 18 h 77"/>
                <a:gd name="T82" fmla="*/ 94 w 97"/>
                <a:gd name="T83" fmla="*/ 12 h 77"/>
                <a:gd name="T84" fmla="*/ 93 w 97"/>
                <a:gd name="T85" fmla="*/ 3 h 77"/>
                <a:gd name="T86" fmla="*/ 89 w 97"/>
                <a:gd name="T87" fmla="*/ 4 h 77"/>
                <a:gd name="T88" fmla="*/ 84 w 97"/>
                <a:gd name="T89" fmla="*/ 4 h 77"/>
                <a:gd name="T90" fmla="*/ 77 w 97"/>
                <a:gd name="T91" fmla="*/ 0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77">
                  <a:moveTo>
                    <a:pt x="11" y="57"/>
                  </a:moveTo>
                  <a:cubicBezTo>
                    <a:pt x="11" y="57"/>
                    <a:pt x="11" y="57"/>
                    <a:pt x="11" y="57"/>
                  </a:cubicBezTo>
                  <a:cubicBezTo>
                    <a:pt x="11" y="57"/>
                    <a:pt x="11" y="57"/>
                    <a:pt x="11" y="57"/>
                  </a:cubicBezTo>
                  <a:moveTo>
                    <a:pt x="77" y="0"/>
                  </a:moveTo>
                  <a:cubicBezTo>
                    <a:pt x="76" y="1"/>
                    <a:pt x="76" y="1"/>
                    <a:pt x="75" y="2"/>
                  </a:cubicBezTo>
                  <a:cubicBezTo>
                    <a:pt x="74" y="2"/>
                    <a:pt x="74" y="2"/>
                    <a:pt x="74" y="2"/>
                  </a:cubicBezTo>
                  <a:cubicBezTo>
                    <a:pt x="74" y="3"/>
                    <a:pt x="73" y="3"/>
                    <a:pt x="73" y="3"/>
                  </a:cubicBezTo>
                  <a:cubicBezTo>
                    <a:pt x="72" y="4"/>
                    <a:pt x="72" y="4"/>
                    <a:pt x="72" y="4"/>
                  </a:cubicBezTo>
                  <a:cubicBezTo>
                    <a:pt x="73" y="5"/>
                    <a:pt x="74" y="7"/>
                    <a:pt x="74" y="8"/>
                  </a:cubicBezTo>
                  <a:cubicBezTo>
                    <a:pt x="74" y="9"/>
                    <a:pt x="73" y="10"/>
                    <a:pt x="73" y="10"/>
                  </a:cubicBezTo>
                  <a:cubicBezTo>
                    <a:pt x="72" y="12"/>
                    <a:pt x="71" y="13"/>
                    <a:pt x="69" y="13"/>
                  </a:cubicBezTo>
                  <a:cubicBezTo>
                    <a:pt x="69" y="16"/>
                    <a:pt x="69" y="16"/>
                    <a:pt x="69" y="16"/>
                  </a:cubicBezTo>
                  <a:cubicBezTo>
                    <a:pt x="68" y="13"/>
                    <a:pt x="68" y="13"/>
                    <a:pt x="68" y="13"/>
                  </a:cubicBezTo>
                  <a:cubicBezTo>
                    <a:pt x="68" y="13"/>
                    <a:pt x="67" y="13"/>
                    <a:pt x="67" y="13"/>
                  </a:cubicBezTo>
                  <a:cubicBezTo>
                    <a:pt x="67" y="13"/>
                    <a:pt x="67" y="13"/>
                    <a:pt x="67" y="13"/>
                  </a:cubicBezTo>
                  <a:cubicBezTo>
                    <a:pt x="66" y="13"/>
                    <a:pt x="66" y="13"/>
                    <a:pt x="66" y="13"/>
                  </a:cubicBezTo>
                  <a:cubicBezTo>
                    <a:pt x="65" y="12"/>
                    <a:pt x="65" y="12"/>
                    <a:pt x="65" y="12"/>
                  </a:cubicBezTo>
                  <a:cubicBezTo>
                    <a:pt x="65" y="12"/>
                    <a:pt x="65" y="12"/>
                    <a:pt x="64" y="12"/>
                  </a:cubicBezTo>
                  <a:cubicBezTo>
                    <a:pt x="64" y="11"/>
                    <a:pt x="64" y="11"/>
                    <a:pt x="63" y="10"/>
                  </a:cubicBezTo>
                  <a:cubicBezTo>
                    <a:pt x="63" y="10"/>
                    <a:pt x="63" y="10"/>
                    <a:pt x="63" y="10"/>
                  </a:cubicBezTo>
                  <a:cubicBezTo>
                    <a:pt x="62" y="9"/>
                    <a:pt x="62" y="9"/>
                    <a:pt x="62" y="9"/>
                  </a:cubicBezTo>
                  <a:cubicBezTo>
                    <a:pt x="62" y="9"/>
                    <a:pt x="62" y="9"/>
                    <a:pt x="62" y="9"/>
                  </a:cubicBezTo>
                  <a:cubicBezTo>
                    <a:pt x="62" y="9"/>
                    <a:pt x="62" y="9"/>
                    <a:pt x="62" y="9"/>
                  </a:cubicBezTo>
                  <a:cubicBezTo>
                    <a:pt x="61" y="9"/>
                    <a:pt x="61" y="9"/>
                    <a:pt x="61" y="9"/>
                  </a:cubicBezTo>
                  <a:cubicBezTo>
                    <a:pt x="60" y="10"/>
                    <a:pt x="60" y="10"/>
                    <a:pt x="60" y="10"/>
                  </a:cubicBezTo>
                  <a:cubicBezTo>
                    <a:pt x="60" y="10"/>
                    <a:pt x="59" y="10"/>
                    <a:pt x="58" y="10"/>
                  </a:cubicBezTo>
                  <a:cubicBezTo>
                    <a:pt x="58" y="10"/>
                    <a:pt x="58" y="10"/>
                    <a:pt x="58" y="10"/>
                  </a:cubicBezTo>
                  <a:cubicBezTo>
                    <a:pt x="57" y="10"/>
                    <a:pt x="57" y="10"/>
                    <a:pt x="57" y="9"/>
                  </a:cubicBezTo>
                  <a:cubicBezTo>
                    <a:pt x="57" y="9"/>
                    <a:pt x="55" y="9"/>
                    <a:pt x="55" y="8"/>
                  </a:cubicBezTo>
                  <a:cubicBezTo>
                    <a:pt x="54" y="8"/>
                    <a:pt x="54" y="7"/>
                    <a:pt x="53" y="6"/>
                  </a:cubicBezTo>
                  <a:cubicBezTo>
                    <a:pt x="53" y="7"/>
                    <a:pt x="52" y="7"/>
                    <a:pt x="51" y="7"/>
                  </a:cubicBezTo>
                  <a:cubicBezTo>
                    <a:pt x="50" y="7"/>
                    <a:pt x="49" y="6"/>
                    <a:pt x="49" y="6"/>
                  </a:cubicBezTo>
                  <a:cubicBezTo>
                    <a:pt x="48" y="5"/>
                    <a:pt x="48" y="5"/>
                    <a:pt x="48" y="5"/>
                  </a:cubicBezTo>
                  <a:cubicBezTo>
                    <a:pt x="47" y="4"/>
                    <a:pt x="47" y="4"/>
                    <a:pt x="47" y="4"/>
                  </a:cubicBezTo>
                  <a:cubicBezTo>
                    <a:pt x="47" y="4"/>
                    <a:pt x="47" y="4"/>
                    <a:pt x="47" y="4"/>
                  </a:cubicBezTo>
                  <a:cubicBezTo>
                    <a:pt x="47" y="4"/>
                    <a:pt x="47" y="4"/>
                    <a:pt x="47" y="4"/>
                  </a:cubicBezTo>
                  <a:cubicBezTo>
                    <a:pt x="47" y="4"/>
                    <a:pt x="46" y="4"/>
                    <a:pt x="46" y="4"/>
                  </a:cubicBezTo>
                  <a:cubicBezTo>
                    <a:pt x="45" y="4"/>
                    <a:pt x="44" y="4"/>
                    <a:pt x="42" y="4"/>
                  </a:cubicBezTo>
                  <a:cubicBezTo>
                    <a:pt x="42" y="4"/>
                    <a:pt x="41" y="4"/>
                    <a:pt x="41" y="4"/>
                  </a:cubicBezTo>
                  <a:cubicBezTo>
                    <a:pt x="39" y="4"/>
                    <a:pt x="37" y="5"/>
                    <a:pt x="35" y="5"/>
                  </a:cubicBezTo>
                  <a:cubicBezTo>
                    <a:pt x="35" y="5"/>
                    <a:pt x="34" y="5"/>
                    <a:pt x="34" y="5"/>
                  </a:cubicBezTo>
                  <a:cubicBezTo>
                    <a:pt x="33" y="5"/>
                    <a:pt x="31" y="5"/>
                    <a:pt x="30" y="4"/>
                  </a:cubicBezTo>
                  <a:cubicBezTo>
                    <a:pt x="29" y="4"/>
                    <a:pt x="29" y="4"/>
                    <a:pt x="29" y="4"/>
                  </a:cubicBezTo>
                  <a:cubicBezTo>
                    <a:pt x="27" y="4"/>
                    <a:pt x="25" y="4"/>
                    <a:pt x="22" y="4"/>
                  </a:cubicBezTo>
                  <a:cubicBezTo>
                    <a:pt x="22" y="4"/>
                    <a:pt x="21" y="4"/>
                    <a:pt x="21" y="4"/>
                  </a:cubicBezTo>
                  <a:cubicBezTo>
                    <a:pt x="20" y="4"/>
                    <a:pt x="19" y="4"/>
                    <a:pt x="19" y="4"/>
                  </a:cubicBezTo>
                  <a:cubicBezTo>
                    <a:pt x="16" y="5"/>
                    <a:pt x="14" y="5"/>
                    <a:pt x="12" y="7"/>
                  </a:cubicBezTo>
                  <a:cubicBezTo>
                    <a:pt x="12" y="7"/>
                    <a:pt x="12" y="7"/>
                    <a:pt x="11" y="8"/>
                  </a:cubicBezTo>
                  <a:cubicBezTo>
                    <a:pt x="11" y="8"/>
                    <a:pt x="10" y="9"/>
                    <a:pt x="10" y="11"/>
                  </a:cubicBezTo>
                  <a:cubicBezTo>
                    <a:pt x="8" y="14"/>
                    <a:pt x="6" y="16"/>
                    <a:pt x="3" y="19"/>
                  </a:cubicBezTo>
                  <a:cubicBezTo>
                    <a:pt x="3" y="19"/>
                    <a:pt x="2" y="19"/>
                    <a:pt x="2" y="19"/>
                  </a:cubicBezTo>
                  <a:cubicBezTo>
                    <a:pt x="1" y="21"/>
                    <a:pt x="1" y="21"/>
                    <a:pt x="1" y="21"/>
                  </a:cubicBezTo>
                  <a:cubicBezTo>
                    <a:pt x="0" y="21"/>
                    <a:pt x="1" y="22"/>
                    <a:pt x="2" y="25"/>
                  </a:cubicBezTo>
                  <a:cubicBezTo>
                    <a:pt x="3" y="26"/>
                    <a:pt x="3" y="26"/>
                    <a:pt x="3" y="26"/>
                  </a:cubicBezTo>
                  <a:cubicBezTo>
                    <a:pt x="4" y="28"/>
                    <a:pt x="4" y="29"/>
                    <a:pt x="4" y="31"/>
                  </a:cubicBezTo>
                  <a:cubicBezTo>
                    <a:pt x="4" y="32"/>
                    <a:pt x="4" y="32"/>
                    <a:pt x="4" y="32"/>
                  </a:cubicBezTo>
                  <a:cubicBezTo>
                    <a:pt x="4" y="33"/>
                    <a:pt x="4" y="34"/>
                    <a:pt x="4" y="34"/>
                  </a:cubicBezTo>
                  <a:cubicBezTo>
                    <a:pt x="5" y="34"/>
                    <a:pt x="5" y="34"/>
                    <a:pt x="5" y="34"/>
                  </a:cubicBezTo>
                  <a:cubicBezTo>
                    <a:pt x="6" y="36"/>
                    <a:pt x="6" y="36"/>
                    <a:pt x="6" y="36"/>
                  </a:cubicBezTo>
                  <a:cubicBezTo>
                    <a:pt x="7" y="36"/>
                    <a:pt x="8" y="37"/>
                    <a:pt x="8" y="38"/>
                  </a:cubicBezTo>
                  <a:cubicBezTo>
                    <a:pt x="9" y="38"/>
                    <a:pt x="9" y="38"/>
                    <a:pt x="9" y="38"/>
                  </a:cubicBezTo>
                  <a:cubicBezTo>
                    <a:pt x="9" y="39"/>
                    <a:pt x="9" y="39"/>
                    <a:pt x="9" y="39"/>
                  </a:cubicBezTo>
                  <a:cubicBezTo>
                    <a:pt x="9" y="40"/>
                    <a:pt x="9" y="40"/>
                    <a:pt x="9" y="40"/>
                  </a:cubicBezTo>
                  <a:cubicBezTo>
                    <a:pt x="9" y="41"/>
                    <a:pt x="9" y="41"/>
                    <a:pt x="9" y="41"/>
                  </a:cubicBezTo>
                  <a:cubicBezTo>
                    <a:pt x="9" y="41"/>
                    <a:pt x="9" y="42"/>
                    <a:pt x="9" y="42"/>
                  </a:cubicBezTo>
                  <a:cubicBezTo>
                    <a:pt x="9" y="45"/>
                    <a:pt x="10" y="48"/>
                    <a:pt x="10" y="51"/>
                  </a:cubicBezTo>
                  <a:cubicBezTo>
                    <a:pt x="11" y="52"/>
                    <a:pt x="11" y="52"/>
                    <a:pt x="11" y="52"/>
                  </a:cubicBezTo>
                  <a:cubicBezTo>
                    <a:pt x="10" y="52"/>
                    <a:pt x="10" y="52"/>
                    <a:pt x="10" y="52"/>
                  </a:cubicBezTo>
                  <a:cubicBezTo>
                    <a:pt x="11" y="54"/>
                    <a:pt x="12" y="55"/>
                    <a:pt x="11" y="57"/>
                  </a:cubicBezTo>
                  <a:cubicBezTo>
                    <a:pt x="11" y="56"/>
                    <a:pt x="12" y="56"/>
                    <a:pt x="12" y="56"/>
                  </a:cubicBezTo>
                  <a:cubicBezTo>
                    <a:pt x="14" y="56"/>
                    <a:pt x="15" y="61"/>
                    <a:pt x="14" y="62"/>
                  </a:cubicBezTo>
                  <a:cubicBezTo>
                    <a:pt x="11" y="64"/>
                    <a:pt x="14" y="67"/>
                    <a:pt x="14" y="70"/>
                  </a:cubicBezTo>
                  <a:cubicBezTo>
                    <a:pt x="14" y="70"/>
                    <a:pt x="15" y="70"/>
                    <a:pt x="15" y="70"/>
                  </a:cubicBezTo>
                  <a:cubicBezTo>
                    <a:pt x="16" y="70"/>
                    <a:pt x="19" y="69"/>
                    <a:pt x="19" y="69"/>
                  </a:cubicBezTo>
                  <a:cubicBezTo>
                    <a:pt x="20" y="68"/>
                    <a:pt x="21" y="65"/>
                    <a:pt x="22" y="64"/>
                  </a:cubicBezTo>
                  <a:cubicBezTo>
                    <a:pt x="22" y="67"/>
                    <a:pt x="23" y="69"/>
                    <a:pt x="24" y="72"/>
                  </a:cubicBezTo>
                  <a:cubicBezTo>
                    <a:pt x="24" y="73"/>
                    <a:pt x="23" y="73"/>
                    <a:pt x="22" y="73"/>
                  </a:cubicBezTo>
                  <a:cubicBezTo>
                    <a:pt x="21" y="73"/>
                    <a:pt x="22" y="75"/>
                    <a:pt x="22" y="76"/>
                  </a:cubicBezTo>
                  <a:cubicBezTo>
                    <a:pt x="24" y="75"/>
                    <a:pt x="26" y="75"/>
                    <a:pt x="28" y="75"/>
                  </a:cubicBezTo>
                  <a:cubicBezTo>
                    <a:pt x="31" y="75"/>
                    <a:pt x="34" y="76"/>
                    <a:pt x="37" y="77"/>
                  </a:cubicBezTo>
                  <a:cubicBezTo>
                    <a:pt x="36" y="77"/>
                    <a:pt x="36" y="77"/>
                    <a:pt x="36" y="77"/>
                  </a:cubicBezTo>
                  <a:cubicBezTo>
                    <a:pt x="37" y="76"/>
                    <a:pt x="37" y="76"/>
                    <a:pt x="37" y="76"/>
                  </a:cubicBezTo>
                  <a:cubicBezTo>
                    <a:pt x="39" y="76"/>
                    <a:pt x="41" y="75"/>
                    <a:pt x="43" y="74"/>
                  </a:cubicBezTo>
                  <a:cubicBezTo>
                    <a:pt x="45" y="74"/>
                    <a:pt x="47" y="72"/>
                    <a:pt x="47" y="72"/>
                  </a:cubicBezTo>
                  <a:cubicBezTo>
                    <a:pt x="47" y="70"/>
                    <a:pt x="47" y="68"/>
                    <a:pt x="49" y="67"/>
                  </a:cubicBezTo>
                  <a:cubicBezTo>
                    <a:pt x="49" y="67"/>
                    <a:pt x="49" y="67"/>
                    <a:pt x="50" y="66"/>
                  </a:cubicBezTo>
                  <a:cubicBezTo>
                    <a:pt x="50" y="66"/>
                    <a:pt x="51" y="66"/>
                    <a:pt x="51" y="66"/>
                  </a:cubicBezTo>
                  <a:cubicBezTo>
                    <a:pt x="51" y="66"/>
                    <a:pt x="52" y="66"/>
                    <a:pt x="52" y="67"/>
                  </a:cubicBezTo>
                  <a:cubicBezTo>
                    <a:pt x="52" y="67"/>
                    <a:pt x="52" y="67"/>
                    <a:pt x="53" y="67"/>
                  </a:cubicBezTo>
                  <a:cubicBezTo>
                    <a:pt x="54" y="67"/>
                    <a:pt x="56" y="66"/>
                    <a:pt x="57" y="66"/>
                  </a:cubicBezTo>
                  <a:cubicBezTo>
                    <a:pt x="57" y="66"/>
                    <a:pt x="57" y="66"/>
                    <a:pt x="57" y="66"/>
                  </a:cubicBezTo>
                  <a:cubicBezTo>
                    <a:pt x="59" y="66"/>
                    <a:pt x="63" y="65"/>
                    <a:pt x="63" y="65"/>
                  </a:cubicBezTo>
                  <a:cubicBezTo>
                    <a:pt x="63" y="65"/>
                    <a:pt x="63" y="65"/>
                    <a:pt x="63" y="65"/>
                  </a:cubicBezTo>
                  <a:cubicBezTo>
                    <a:pt x="64" y="65"/>
                    <a:pt x="65" y="65"/>
                    <a:pt x="66" y="66"/>
                  </a:cubicBezTo>
                  <a:cubicBezTo>
                    <a:pt x="66" y="66"/>
                    <a:pt x="66" y="65"/>
                    <a:pt x="65" y="65"/>
                  </a:cubicBezTo>
                  <a:cubicBezTo>
                    <a:pt x="63" y="63"/>
                    <a:pt x="63" y="60"/>
                    <a:pt x="63" y="58"/>
                  </a:cubicBezTo>
                  <a:cubicBezTo>
                    <a:pt x="63" y="58"/>
                    <a:pt x="63" y="58"/>
                    <a:pt x="63" y="58"/>
                  </a:cubicBezTo>
                  <a:cubicBezTo>
                    <a:pt x="63" y="57"/>
                    <a:pt x="63" y="57"/>
                    <a:pt x="62" y="56"/>
                  </a:cubicBezTo>
                  <a:cubicBezTo>
                    <a:pt x="62" y="54"/>
                    <a:pt x="65" y="52"/>
                    <a:pt x="67" y="51"/>
                  </a:cubicBezTo>
                  <a:cubicBezTo>
                    <a:pt x="67" y="50"/>
                    <a:pt x="68" y="50"/>
                    <a:pt x="69" y="50"/>
                  </a:cubicBezTo>
                  <a:cubicBezTo>
                    <a:pt x="69" y="50"/>
                    <a:pt x="69" y="50"/>
                    <a:pt x="69" y="50"/>
                  </a:cubicBezTo>
                  <a:cubicBezTo>
                    <a:pt x="74" y="51"/>
                    <a:pt x="74" y="51"/>
                    <a:pt x="74" y="51"/>
                  </a:cubicBezTo>
                  <a:cubicBezTo>
                    <a:pt x="74" y="49"/>
                    <a:pt x="74" y="47"/>
                    <a:pt x="76" y="46"/>
                  </a:cubicBezTo>
                  <a:cubicBezTo>
                    <a:pt x="79" y="46"/>
                    <a:pt x="81" y="45"/>
                    <a:pt x="84" y="44"/>
                  </a:cubicBezTo>
                  <a:cubicBezTo>
                    <a:pt x="84" y="44"/>
                    <a:pt x="84" y="44"/>
                    <a:pt x="84" y="44"/>
                  </a:cubicBezTo>
                  <a:cubicBezTo>
                    <a:pt x="86" y="44"/>
                    <a:pt x="86" y="44"/>
                    <a:pt x="87" y="44"/>
                  </a:cubicBezTo>
                  <a:cubicBezTo>
                    <a:pt x="87" y="43"/>
                    <a:pt x="87" y="43"/>
                    <a:pt x="87" y="43"/>
                  </a:cubicBezTo>
                  <a:cubicBezTo>
                    <a:pt x="88" y="42"/>
                    <a:pt x="88" y="41"/>
                    <a:pt x="89" y="41"/>
                  </a:cubicBezTo>
                  <a:cubicBezTo>
                    <a:pt x="90" y="40"/>
                    <a:pt x="90" y="40"/>
                    <a:pt x="90" y="40"/>
                  </a:cubicBezTo>
                  <a:cubicBezTo>
                    <a:pt x="91" y="40"/>
                    <a:pt x="92" y="40"/>
                    <a:pt x="92" y="40"/>
                  </a:cubicBezTo>
                  <a:cubicBezTo>
                    <a:pt x="93" y="40"/>
                    <a:pt x="94" y="40"/>
                    <a:pt x="95" y="40"/>
                  </a:cubicBezTo>
                  <a:cubicBezTo>
                    <a:pt x="95" y="41"/>
                    <a:pt x="95" y="41"/>
                    <a:pt x="95" y="41"/>
                  </a:cubicBezTo>
                  <a:cubicBezTo>
                    <a:pt x="95" y="41"/>
                    <a:pt x="95" y="41"/>
                    <a:pt x="95" y="41"/>
                  </a:cubicBezTo>
                  <a:cubicBezTo>
                    <a:pt x="95" y="41"/>
                    <a:pt x="96" y="41"/>
                    <a:pt x="96" y="39"/>
                  </a:cubicBezTo>
                  <a:cubicBezTo>
                    <a:pt x="96" y="39"/>
                    <a:pt x="96" y="39"/>
                    <a:pt x="96" y="39"/>
                  </a:cubicBezTo>
                  <a:cubicBezTo>
                    <a:pt x="96" y="38"/>
                    <a:pt x="96" y="38"/>
                    <a:pt x="96" y="38"/>
                  </a:cubicBezTo>
                  <a:cubicBezTo>
                    <a:pt x="96" y="38"/>
                    <a:pt x="96" y="38"/>
                    <a:pt x="96" y="38"/>
                  </a:cubicBezTo>
                  <a:cubicBezTo>
                    <a:pt x="96" y="36"/>
                    <a:pt x="96" y="35"/>
                    <a:pt x="95" y="34"/>
                  </a:cubicBezTo>
                  <a:cubicBezTo>
                    <a:pt x="95" y="31"/>
                    <a:pt x="95" y="30"/>
                    <a:pt x="95" y="28"/>
                  </a:cubicBezTo>
                  <a:cubicBezTo>
                    <a:pt x="95" y="27"/>
                    <a:pt x="95" y="27"/>
                    <a:pt x="95" y="27"/>
                  </a:cubicBezTo>
                  <a:cubicBezTo>
                    <a:pt x="96" y="25"/>
                    <a:pt x="96" y="23"/>
                    <a:pt x="97" y="22"/>
                  </a:cubicBezTo>
                  <a:cubicBezTo>
                    <a:pt x="97" y="20"/>
                    <a:pt x="97" y="20"/>
                    <a:pt x="97" y="20"/>
                  </a:cubicBezTo>
                  <a:cubicBezTo>
                    <a:pt x="97" y="20"/>
                    <a:pt x="96" y="18"/>
                    <a:pt x="96" y="18"/>
                  </a:cubicBezTo>
                  <a:cubicBezTo>
                    <a:pt x="95" y="17"/>
                    <a:pt x="95" y="17"/>
                    <a:pt x="95" y="16"/>
                  </a:cubicBezTo>
                  <a:cubicBezTo>
                    <a:pt x="94" y="15"/>
                    <a:pt x="94" y="14"/>
                    <a:pt x="94" y="12"/>
                  </a:cubicBezTo>
                  <a:cubicBezTo>
                    <a:pt x="94" y="12"/>
                    <a:pt x="94" y="12"/>
                    <a:pt x="94" y="12"/>
                  </a:cubicBezTo>
                  <a:cubicBezTo>
                    <a:pt x="94" y="11"/>
                    <a:pt x="94" y="11"/>
                    <a:pt x="94" y="11"/>
                  </a:cubicBezTo>
                  <a:cubicBezTo>
                    <a:pt x="92" y="9"/>
                    <a:pt x="91" y="8"/>
                    <a:pt x="92" y="6"/>
                  </a:cubicBezTo>
                  <a:cubicBezTo>
                    <a:pt x="93" y="3"/>
                    <a:pt x="93" y="3"/>
                    <a:pt x="93" y="3"/>
                  </a:cubicBezTo>
                  <a:cubicBezTo>
                    <a:pt x="93" y="3"/>
                    <a:pt x="93" y="2"/>
                    <a:pt x="93" y="1"/>
                  </a:cubicBezTo>
                  <a:cubicBezTo>
                    <a:pt x="93" y="1"/>
                    <a:pt x="92" y="2"/>
                    <a:pt x="92" y="2"/>
                  </a:cubicBezTo>
                  <a:cubicBezTo>
                    <a:pt x="91" y="3"/>
                    <a:pt x="90" y="3"/>
                    <a:pt x="89" y="4"/>
                  </a:cubicBezTo>
                  <a:cubicBezTo>
                    <a:pt x="89" y="4"/>
                    <a:pt x="89" y="4"/>
                    <a:pt x="89" y="4"/>
                  </a:cubicBezTo>
                  <a:cubicBezTo>
                    <a:pt x="88" y="4"/>
                    <a:pt x="87" y="5"/>
                    <a:pt x="87" y="5"/>
                  </a:cubicBezTo>
                  <a:cubicBezTo>
                    <a:pt x="86" y="5"/>
                    <a:pt x="85" y="4"/>
                    <a:pt x="84" y="4"/>
                  </a:cubicBezTo>
                  <a:cubicBezTo>
                    <a:pt x="79" y="2"/>
                    <a:pt x="79" y="2"/>
                    <a:pt x="79" y="2"/>
                  </a:cubicBezTo>
                  <a:cubicBezTo>
                    <a:pt x="78" y="2"/>
                    <a:pt x="78" y="1"/>
                    <a:pt x="78" y="1"/>
                  </a:cubicBezTo>
                  <a:cubicBezTo>
                    <a:pt x="77" y="0"/>
                    <a:pt x="77" y="0"/>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444"/>
            <p:cNvSpPr/>
            <p:nvPr/>
          </p:nvSpPr>
          <p:spPr bwMode="auto">
            <a:xfrm>
              <a:off x="2717892" y="3928250"/>
              <a:ext cx="658841" cy="279217"/>
            </a:xfrm>
            <a:custGeom>
              <a:gdLst>
                <a:gd name="T0" fmla="*/ 83 w 203"/>
                <a:gd name="T1" fmla="*/ 2 h 86"/>
                <a:gd name="T2" fmla="*/ 77 w 203"/>
                <a:gd name="T3" fmla="*/ 18 h 86"/>
                <a:gd name="T4" fmla="*/ 52 w 203"/>
                <a:gd name="T5" fmla="*/ 10 h 86"/>
                <a:gd name="T6" fmla="*/ 38 w 203"/>
                <a:gd name="T7" fmla="*/ 10 h 86"/>
                <a:gd name="T8" fmla="*/ 34 w 203"/>
                <a:gd name="T9" fmla="*/ 12 h 86"/>
                <a:gd name="T10" fmla="*/ 31 w 203"/>
                <a:gd name="T11" fmla="*/ 17 h 86"/>
                <a:gd name="T12" fmla="*/ 33 w 203"/>
                <a:gd name="T13" fmla="*/ 24 h 86"/>
                <a:gd name="T14" fmla="*/ 20 w 203"/>
                <a:gd name="T15" fmla="*/ 36 h 86"/>
                <a:gd name="T16" fmla="*/ 28 w 203"/>
                <a:gd name="T17" fmla="*/ 40 h 86"/>
                <a:gd name="T18" fmla="*/ 39 w 203"/>
                <a:gd name="T19" fmla="*/ 34 h 86"/>
                <a:gd name="T20" fmla="*/ 51 w 203"/>
                <a:gd name="T21" fmla="*/ 41 h 86"/>
                <a:gd name="T22" fmla="*/ 56 w 203"/>
                <a:gd name="T23" fmla="*/ 45 h 86"/>
                <a:gd name="T24" fmla="*/ 71 w 203"/>
                <a:gd name="T25" fmla="*/ 49 h 86"/>
                <a:gd name="T26" fmla="*/ 69 w 203"/>
                <a:gd name="T27" fmla="*/ 56 h 86"/>
                <a:gd name="T28" fmla="*/ 65 w 203"/>
                <a:gd name="T29" fmla="*/ 58 h 86"/>
                <a:gd name="T30" fmla="*/ 59 w 203"/>
                <a:gd name="T31" fmla="*/ 61 h 86"/>
                <a:gd name="T32" fmla="*/ 52 w 203"/>
                <a:gd name="T33" fmla="*/ 64 h 86"/>
                <a:gd name="T34" fmla="*/ 38 w 203"/>
                <a:gd name="T35" fmla="*/ 67 h 86"/>
                <a:gd name="T36" fmla="*/ 35 w 203"/>
                <a:gd name="T37" fmla="*/ 66 h 86"/>
                <a:gd name="T38" fmla="*/ 30 w 203"/>
                <a:gd name="T39" fmla="*/ 67 h 86"/>
                <a:gd name="T40" fmla="*/ 25 w 203"/>
                <a:gd name="T41" fmla="*/ 71 h 86"/>
                <a:gd name="T42" fmla="*/ 22 w 203"/>
                <a:gd name="T43" fmla="*/ 73 h 86"/>
                <a:gd name="T44" fmla="*/ 19 w 203"/>
                <a:gd name="T45" fmla="*/ 74 h 86"/>
                <a:gd name="T46" fmla="*/ 5 w 203"/>
                <a:gd name="T47" fmla="*/ 69 h 86"/>
                <a:gd name="T48" fmla="*/ 1 w 203"/>
                <a:gd name="T49" fmla="*/ 73 h 86"/>
                <a:gd name="T50" fmla="*/ 29 w 203"/>
                <a:gd name="T51" fmla="*/ 81 h 86"/>
                <a:gd name="T52" fmla="*/ 38 w 203"/>
                <a:gd name="T53" fmla="*/ 77 h 86"/>
                <a:gd name="T54" fmla="*/ 47 w 203"/>
                <a:gd name="T55" fmla="*/ 84 h 86"/>
                <a:gd name="T56" fmla="*/ 64 w 203"/>
                <a:gd name="T57" fmla="*/ 82 h 86"/>
                <a:gd name="T58" fmla="*/ 78 w 203"/>
                <a:gd name="T59" fmla="*/ 80 h 86"/>
                <a:gd name="T60" fmla="*/ 83 w 203"/>
                <a:gd name="T61" fmla="*/ 78 h 86"/>
                <a:gd name="T62" fmla="*/ 84 w 203"/>
                <a:gd name="T63" fmla="*/ 72 h 86"/>
                <a:gd name="T64" fmla="*/ 101 w 203"/>
                <a:gd name="T65" fmla="*/ 62 h 86"/>
                <a:gd name="T66" fmla="*/ 103 w 203"/>
                <a:gd name="T67" fmla="*/ 57 h 86"/>
                <a:gd name="T68" fmla="*/ 112 w 203"/>
                <a:gd name="T69" fmla="*/ 56 h 86"/>
                <a:gd name="T70" fmla="*/ 117 w 203"/>
                <a:gd name="T71" fmla="*/ 54 h 86"/>
                <a:gd name="T72" fmla="*/ 121 w 203"/>
                <a:gd name="T73" fmla="*/ 61 h 86"/>
                <a:gd name="T74" fmla="*/ 126 w 203"/>
                <a:gd name="T75" fmla="*/ 60 h 86"/>
                <a:gd name="T76" fmla="*/ 132 w 203"/>
                <a:gd name="T77" fmla="*/ 59 h 86"/>
                <a:gd name="T78" fmla="*/ 135 w 203"/>
                <a:gd name="T79" fmla="*/ 52 h 86"/>
                <a:gd name="T80" fmla="*/ 154 w 203"/>
                <a:gd name="T81" fmla="*/ 43 h 86"/>
                <a:gd name="T82" fmla="*/ 168 w 203"/>
                <a:gd name="T83" fmla="*/ 40 h 86"/>
                <a:gd name="T84" fmla="*/ 176 w 203"/>
                <a:gd name="T85" fmla="*/ 33 h 86"/>
                <a:gd name="T86" fmla="*/ 202 w 203"/>
                <a:gd name="T87" fmla="*/ 23 h 86"/>
                <a:gd name="T88" fmla="*/ 202 w 203"/>
                <a:gd name="T89" fmla="*/ 21 h 86"/>
                <a:gd name="T90" fmla="*/ 194 w 203"/>
                <a:gd name="T91" fmla="*/ 17 h 86"/>
                <a:gd name="T92" fmla="*/ 184 w 203"/>
                <a:gd name="T93" fmla="*/ 9 h 86"/>
                <a:gd name="T94" fmla="*/ 173 w 203"/>
                <a:gd name="T95" fmla="*/ 8 h 86"/>
                <a:gd name="T96" fmla="*/ 166 w 203"/>
                <a:gd name="T97" fmla="*/ 7 h 86"/>
                <a:gd name="T98" fmla="*/ 152 w 203"/>
                <a:gd name="T99" fmla="*/ 7 h 86"/>
                <a:gd name="T100" fmla="*/ 132 w 203"/>
                <a:gd name="T101" fmla="*/ 6 h 86"/>
                <a:gd name="T102" fmla="*/ 113 w 203"/>
                <a:gd name="T103" fmla="*/ 8 h 86"/>
                <a:gd name="T104" fmla="*/ 104 w 203"/>
                <a:gd name="T105" fmla="*/ 6 h 86"/>
                <a:gd name="T106" fmla="*/ 95 w 203"/>
                <a:gd name="T107" fmla="*/ 1 h 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3" h="86">
                  <a:moveTo>
                    <a:pt x="89" y="0"/>
                  </a:moveTo>
                  <a:cubicBezTo>
                    <a:pt x="87" y="0"/>
                    <a:pt x="86" y="1"/>
                    <a:pt x="84" y="2"/>
                  </a:cubicBezTo>
                  <a:cubicBezTo>
                    <a:pt x="84" y="2"/>
                    <a:pt x="84" y="2"/>
                    <a:pt x="84" y="2"/>
                  </a:cubicBezTo>
                  <a:cubicBezTo>
                    <a:pt x="83" y="2"/>
                    <a:pt x="83" y="2"/>
                    <a:pt x="83" y="2"/>
                  </a:cubicBezTo>
                  <a:cubicBezTo>
                    <a:pt x="83" y="2"/>
                    <a:pt x="83" y="2"/>
                    <a:pt x="83" y="2"/>
                  </a:cubicBezTo>
                  <a:cubicBezTo>
                    <a:pt x="79" y="4"/>
                    <a:pt x="78" y="8"/>
                    <a:pt x="79" y="12"/>
                  </a:cubicBezTo>
                  <a:cubicBezTo>
                    <a:pt x="79" y="12"/>
                    <a:pt x="79" y="12"/>
                    <a:pt x="79" y="12"/>
                  </a:cubicBezTo>
                  <a:cubicBezTo>
                    <a:pt x="79" y="13"/>
                    <a:pt x="79" y="14"/>
                    <a:pt x="80" y="14"/>
                  </a:cubicBezTo>
                  <a:cubicBezTo>
                    <a:pt x="83" y="20"/>
                    <a:pt x="83" y="20"/>
                    <a:pt x="83" y="20"/>
                  </a:cubicBezTo>
                  <a:cubicBezTo>
                    <a:pt x="77" y="18"/>
                    <a:pt x="77" y="18"/>
                    <a:pt x="77" y="18"/>
                  </a:cubicBezTo>
                  <a:cubicBezTo>
                    <a:pt x="74" y="17"/>
                    <a:pt x="72" y="16"/>
                    <a:pt x="69" y="15"/>
                  </a:cubicBezTo>
                  <a:cubicBezTo>
                    <a:pt x="64" y="14"/>
                    <a:pt x="60" y="12"/>
                    <a:pt x="56" y="11"/>
                  </a:cubicBezTo>
                  <a:cubicBezTo>
                    <a:pt x="55" y="11"/>
                    <a:pt x="54" y="11"/>
                    <a:pt x="53" y="11"/>
                  </a:cubicBezTo>
                  <a:cubicBezTo>
                    <a:pt x="53" y="10"/>
                    <a:pt x="53" y="10"/>
                    <a:pt x="53" y="10"/>
                  </a:cubicBezTo>
                  <a:cubicBezTo>
                    <a:pt x="52" y="10"/>
                    <a:pt x="52" y="10"/>
                    <a:pt x="52" y="10"/>
                  </a:cubicBezTo>
                  <a:cubicBezTo>
                    <a:pt x="52" y="10"/>
                    <a:pt x="51" y="10"/>
                    <a:pt x="51" y="10"/>
                  </a:cubicBezTo>
                  <a:cubicBezTo>
                    <a:pt x="41" y="10"/>
                    <a:pt x="41" y="10"/>
                    <a:pt x="41" y="10"/>
                  </a:cubicBezTo>
                  <a:cubicBezTo>
                    <a:pt x="41" y="10"/>
                    <a:pt x="41" y="10"/>
                    <a:pt x="41" y="10"/>
                  </a:cubicBezTo>
                  <a:cubicBezTo>
                    <a:pt x="41" y="10"/>
                    <a:pt x="40" y="10"/>
                    <a:pt x="40" y="10"/>
                  </a:cubicBezTo>
                  <a:cubicBezTo>
                    <a:pt x="39" y="10"/>
                    <a:pt x="39" y="10"/>
                    <a:pt x="38" y="10"/>
                  </a:cubicBezTo>
                  <a:cubicBezTo>
                    <a:pt x="38" y="10"/>
                    <a:pt x="37" y="10"/>
                    <a:pt x="37" y="10"/>
                  </a:cubicBezTo>
                  <a:cubicBezTo>
                    <a:pt x="37" y="10"/>
                    <a:pt x="37" y="10"/>
                    <a:pt x="37" y="10"/>
                  </a:cubicBezTo>
                  <a:cubicBezTo>
                    <a:pt x="37" y="10"/>
                    <a:pt x="37" y="10"/>
                    <a:pt x="37" y="10"/>
                  </a:cubicBezTo>
                  <a:cubicBezTo>
                    <a:pt x="36" y="11"/>
                    <a:pt x="36" y="12"/>
                    <a:pt x="35" y="13"/>
                  </a:cubicBezTo>
                  <a:cubicBezTo>
                    <a:pt x="34" y="12"/>
                    <a:pt x="34" y="12"/>
                    <a:pt x="34" y="12"/>
                  </a:cubicBezTo>
                  <a:cubicBezTo>
                    <a:pt x="35" y="13"/>
                    <a:pt x="35" y="13"/>
                    <a:pt x="35" y="13"/>
                  </a:cubicBezTo>
                  <a:cubicBezTo>
                    <a:pt x="35" y="13"/>
                    <a:pt x="34" y="14"/>
                    <a:pt x="34" y="14"/>
                  </a:cubicBezTo>
                  <a:cubicBezTo>
                    <a:pt x="33" y="15"/>
                    <a:pt x="33" y="15"/>
                    <a:pt x="33" y="15"/>
                  </a:cubicBezTo>
                  <a:cubicBezTo>
                    <a:pt x="32" y="16"/>
                    <a:pt x="31" y="17"/>
                    <a:pt x="31" y="17"/>
                  </a:cubicBezTo>
                  <a:cubicBezTo>
                    <a:pt x="31" y="17"/>
                    <a:pt x="31" y="17"/>
                    <a:pt x="31" y="17"/>
                  </a:cubicBezTo>
                  <a:cubicBezTo>
                    <a:pt x="31" y="17"/>
                    <a:pt x="31" y="17"/>
                    <a:pt x="31" y="17"/>
                  </a:cubicBezTo>
                  <a:cubicBezTo>
                    <a:pt x="31" y="17"/>
                    <a:pt x="32" y="18"/>
                    <a:pt x="34" y="18"/>
                  </a:cubicBezTo>
                  <a:cubicBezTo>
                    <a:pt x="34" y="18"/>
                    <a:pt x="34" y="18"/>
                    <a:pt x="35" y="18"/>
                  </a:cubicBezTo>
                  <a:cubicBezTo>
                    <a:pt x="41" y="19"/>
                    <a:pt x="41" y="19"/>
                    <a:pt x="41" y="19"/>
                  </a:cubicBezTo>
                  <a:cubicBezTo>
                    <a:pt x="33" y="24"/>
                    <a:pt x="33" y="24"/>
                    <a:pt x="33" y="24"/>
                  </a:cubicBezTo>
                  <a:cubicBezTo>
                    <a:pt x="30" y="26"/>
                    <a:pt x="22" y="31"/>
                    <a:pt x="18" y="34"/>
                  </a:cubicBezTo>
                  <a:cubicBezTo>
                    <a:pt x="18" y="34"/>
                    <a:pt x="18" y="34"/>
                    <a:pt x="18" y="34"/>
                  </a:cubicBezTo>
                  <a:cubicBezTo>
                    <a:pt x="18" y="34"/>
                    <a:pt x="18" y="35"/>
                    <a:pt x="19" y="35"/>
                  </a:cubicBezTo>
                  <a:cubicBezTo>
                    <a:pt x="19" y="35"/>
                    <a:pt x="19" y="35"/>
                    <a:pt x="19" y="35"/>
                  </a:cubicBezTo>
                  <a:cubicBezTo>
                    <a:pt x="20" y="36"/>
                    <a:pt x="20" y="36"/>
                    <a:pt x="20" y="36"/>
                  </a:cubicBezTo>
                  <a:cubicBezTo>
                    <a:pt x="25" y="34"/>
                    <a:pt x="25" y="34"/>
                    <a:pt x="25" y="34"/>
                  </a:cubicBezTo>
                  <a:cubicBezTo>
                    <a:pt x="26" y="36"/>
                    <a:pt x="26" y="36"/>
                    <a:pt x="26" y="36"/>
                  </a:cubicBezTo>
                  <a:cubicBezTo>
                    <a:pt x="26" y="37"/>
                    <a:pt x="26" y="38"/>
                    <a:pt x="26" y="38"/>
                  </a:cubicBezTo>
                  <a:cubicBezTo>
                    <a:pt x="27" y="39"/>
                    <a:pt x="27" y="40"/>
                    <a:pt x="27" y="40"/>
                  </a:cubicBezTo>
                  <a:cubicBezTo>
                    <a:pt x="28" y="40"/>
                    <a:pt x="28" y="40"/>
                    <a:pt x="28" y="40"/>
                  </a:cubicBezTo>
                  <a:cubicBezTo>
                    <a:pt x="30" y="42"/>
                    <a:pt x="33" y="42"/>
                    <a:pt x="35" y="42"/>
                  </a:cubicBezTo>
                  <a:cubicBezTo>
                    <a:pt x="35" y="41"/>
                    <a:pt x="35" y="40"/>
                    <a:pt x="36" y="40"/>
                  </a:cubicBezTo>
                  <a:cubicBezTo>
                    <a:pt x="36" y="37"/>
                    <a:pt x="36" y="37"/>
                    <a:pt x="36" y="37"/>
                  </a:cubicBezTo>
                  <a:cubicBezTo>
                    <a:pt x="39" y="38"/>
                    <a:pt x="39" y="38"/>
                    <a:pt x="39" y="38"/>
                  </a:cubicBezTo>
                  <a:cubicBezTo>
                    <a:pt x="39" y="34"/>
                    <a:pt x="39" y="34"/>
                    <a:pt x="39" y="34"/>
                  </a:cubicBezTo>
                  <a:cubicBezTo>
                    <a:pt x="42" y="35"/>
                    <a:pt x="42" y="35"/>
                    <a:pt x="42" y="35"/>
                  </a:cubicBezTo>
                  <a:cubicBezTo>
                    <a:pt x="46" y="36"/>
                    <a:pt x="47" y="38"/>
                    <a:pt x="49" y="41"/>
                  </a:cubicBezTo>
                  <a:cubicBezTo>
                    <a:pt x="49" y="41"/>
                    <a:pt x="49" y="41"/>
                    <a:pt x="49" y="41"/>
                  </a:cubicBezTo>
                  <a:cubicBezTo>
                    <a:pt x="49" y="41"/>
                    <a:pt x="49" y="41"/>
                    <a:pt x="49" y="41"/>
                  </a:cubicBezTo>
                  <a:cubicBezTo>
                    <a:pt x="50" y="41"/>
                    <a:pt x="50" y="41"/>
                    <a:pt x="51" y="41"/>
                  </a:cubicBezTo>
                  <a:cubicBezTo>
                    <a:pt x="52" y="41"/>
                    <a:pt x="52" y="41"/>
                    <a:pt x="53" y="42"/>
                  </a:cubicBezTo>
                  <a:cubicBezTo>
                    <a:pt x="54" y="42"/>
                    <a:pt x="54" y="44"/>
                    <a:pt x="54" y="45"/>
                  </a:cubicBezTo>
                  <a:cubicBezTo>
                    <a:pt x="55" y="45"/>
                    <a:pt x="55" y="45"/>
                    <a:pt x="55" y="45"/>
                  </a:cubicBezTo>
                  <a:cubicBezTo>
                    <a:pt x="56" y="41"/>
                    <a:pt x="56" y="41"/>
                    <a:pt x="56" y="41"/>
                  </a:cubicBezTo>
                  <a:cubicBezTo>
                    <a:pt x="56" y="45"/>
                    <a:pt x="56" y="45"/>
                    <a:pt x="56" y="45"/>
                  </a:cubicBezTo>
                  <a:cubicBezTo>
                    <a:pt x="58" y="46"/>
                    <a:pt x="58" y="46"/>
                    <a:pt x="58" y="46"/>
                  </a:cubicBezTo>
                  <a:cubicBezTo>
                    <a:pt x="59" y="46"/>
                    <a:pt x="60" y="46"/>
                    <a:pt x="60" y="47"/>
                  </a:cubicBezTo>
                  <a:cubicBezTo>
                    <a:pt x="61" y="47"/>
                    <a:pt x="62" y="48"/>
                    <a:pt x="62" y="48"/>
                  </a:cubicBezTo>
                  <a:cubicBezTo>
                    <a:pt x="63" y="49"/>
                    <a:pt x="66" y="49"/>
                    <a:pt x="67" y="49"/>
                  </a:cubicBezTo>
                  <a:cubicBezTo>
                    <a:pt x="69" y="49"/>
                    <a:pt x="70" y="49"/>
                    <a:pt x="71" y="49"/>
                  </a:cubicBezTo>
                  <a:cubicBezTo>
                    <a:pt x="73" y="49"/>
                    <a:pt x="73" y="49"/>
                    <a:pt x="73" y="49"/>
                  </a:cubicBezTo>
                  <a:cubicBezTo>
                    <a:pt x="73" y="52"/>
                    <a:pt x="73" y="52"/>
                    <a:pt x="73" y="52"/>
                  </a:cubicBezTo>
                  <a:cubicBezTo>
                    <a:pt x="72" y="53"/>
                    <a:pt x="72" y="54"/>
                    <a:pt x="71" y="55"/>
                  </a:cubicBezTo>
                  <a:cubicBezTo>
                    <a:pt x="70" y="55"/>
                    <a:pt x="70" y="55"/>
                    <a:pt x="70" y="55"/>
                  </a:cubicBezTo>
                  <a:cubicBezTo>
                    <a:pt x="70" y="55"/>
                    <a:pt x="70" y="56"/>
                    <a:pt x="69" y="56"/>
                  </a:cubicBezTo>
                  <a:cubicBezTo>
                    <a:pt x="68" y="56"/>
                    <a:pt x="68" y="57"/>
                    <a:pt x="67" y="57"/>
                  </a:cubicBezTo>
                  <a:cubicBezTo>
                    <a:pt x="66" y="57"/>
                    <a:pt x="66" y="57"/>
                    <a:pt x="66" y="57"/>
                  </a:cubicBezTo>
                  <a:cubicBezTo>
                    <a:pt x="66" y="57"/>
                    <a:pt x="66" y="57"/>
                    <a:pt x="66" y="57"/>
                  </a:cubicBezTo>
                  <a:cubicBezTo>
                    <a:pt x="65" y="58"/>
                    <a:pt x="65" y="58"/>
                    <a:pt x="65" y="58"/>
                  </a:cubicBezTo>
                  <a:cubicBezTo>
                    <a:pt x="65" y="58"/>
                    <a:pt x="65" y="58"/>
                    <a:pt x="65" y="58"/>
                  </a:cubicBezTo>
                  <a:cubicBezTo>
                    <a:pt x="64" y="59"/>
                    <a:pt x="63" y="61"/>
                    <a:pt x="61" y="61"/>
                  </a:cubicBezTo>
                  <a:cubicBezTo>
                    <a:pt x="61" y="61"/>
                    <a:pt x="61" y="61"/>
                    <a:pt x="61" y="61"/>
                  </a:cubicBezTo>
                  <a:cubicBezTo>
                    <a:pt x="61" y="61"/>
                    <a:pt x="61" y="61"/>
                    <a:pt x="60" y="61"/>
                  </a:cubicBezTo>
                  <a:cubicBezTo>
                    <a:pt x="60" y="61"/>
                    <a:pt x="59" y="61"/>
                    <a:pt x="59" y="61"/>
                  </a:cubicBezTo>
                  <a:cubicBezTo>
                    <a:pt x="59" y="61"/>
                    <a:pt x="59" y="61"/>
                    <a:pt x="59" y="61"/>
                  </a:cubicBezTo>
                  <a:cubicBezTo>
                    <a:pt x="59" y="66"/>
                    <a:pt x="59" y="66"/>
                    <a:pt x="59" y="66"/>
                  </a:cubicBezTo>
                  <a:cubicBezTo>
                    <a:pt x="55" y="64"/>
                    <a:pt x="55" y="64"/>
                    <a:pt x="55" y="64"/>
                  </a:cubicBezTo>
                  <a:cubicBezTo>
                    <a:pt x="54" y="64"/>
                    <a:pt x="53" y="63"/>
                    <a:pt x="52" y="63"/>
                  </a:cubicBezTo>
                  <a:cubicBezTo>
                    <a:pt x="52" y="63"/>
                    <a:pt x="52" y="63"/>
                    <a:pt x="52" y="63"/>
                  </a:cubicBezTo>
                  <a:cubicBezTo>
                    <a:pt x="52" y="64"/>
                    <a:pt x="52" y="64"/>
                    <a:pt x="52" y="64"/>
                  </a:cubicBezTo>
                  <a:cubicBezTo>
                    <a:pt x="51" y="65"/>
                    <a:pt x="51" y="66"/>
                    <a:pt x="49" y="67"/>
                  </a:cubicBezTo>
                  <a:cubicBezTo>
                    <a:pt x="48" y="68"/>
                    <a:pt x="48" y="68"/>
                    <a:pt x="48" y="68"/>
                  </a:cubicBezTo>
                  <a:cubicBezTo>
                    <a:pt x="47" y="68"/>
                    <a:pt x="45" y="69"/>
                    <a:pt x="44" y="69"/>
                  </a:cubicBezTo>
                  <a:cubicBezTo>
                    <a:pt x="42" y="69"/>
                    <a:pt x="41" y="69"/>
                    <a:pt x="40" y="68"/>
                  </a:cubicBezTo>
                  <a:cubicBezTo>
                    <a:pt x="39" y="68"/>
                    <a:pt x="38" y="67"/>
                    <a:pt x="38" y="67"/>
                  </a:cubicBezTo>
                  <a:cubicBezTo>
                    <a:pt x="37" y="67"/>
                    <a:pt x="37" y="67"/>
                    <a:pt x="37" y="67"/>
                  </a:cubicBezTo>
                  <a:cubicBezTo>
                    <a:pt x="36" y="66"/>
                    <a:pt x="36" y="66"/>
                    <a:pt x="36" y="66"/>
                  </a:cubicBezTo>
                  <a:cubicBezTo>
                    <a:pt x="36" y="66"/>
                    <a:pt x="36" y="66"/>
                    <a:pt x="36" y="66"/>
                  </a:cubicBezTo>
                  <a:cubicBezTo>
                    <a:pt x="36" y="66"/>
                    <a:pt x="36" y="66"/>
                    <a:pt x="35" y="66"/>
                  </a:cubicBezTo>
                  <a:cubicBezTo>
                    <a:pt x="35" y="66"/>
                    <a:pt x="35" y="66"/>
                    <a:pt x="35" y="66"/>
                  </a:cubicBezTo>
                  <a:cubicBezTo>
                    <a:pt x="34" y="66"/>
                    <a:pt x="34" y="66"/>
                    <a:pt x="33" y="66"/>
                  </a:cubicBezTo>
                  <a:cubicBezTo>
                    <a:pt x="33" y="66"/>
                    <a:pt x="32" y="66"/>
                    <a:pt x="32" y="66"/>
                  </a:cubicBezTo>
                  <a:cubicBezTo>
                    <a:pt x="31" y="67"/>
                    <a:pt x="31" y="67"/>
                    <a:pt x="31" y="67"/>
                  </a:cubicBezTo>
                  <a:cubicBezTo>
                    <a:pt x="31" y="67"/>
                    <a:pt x="30" y="67"/>
                    <a:pt x="30" y="67"/>
                  </a:cubicBezTo>
                  <a:cubicBezTo>
                    <a:pt x="30" y="67"/>
                    <a:pt x="30" y="67"/>
                    <a:pt x="30" y="67"/>
                  </a:cubicBezTo>
                  <a:cubicBezTo>
                    <a:pt x="28" y="69"/>
                    <a:pt x="28" y="69"/>
                    <a:pt x="28" y="69"/>
                  </a:cubicBezTo>
                  <a:cubicBezTo>
                    <a:pt x="27" y="69"/>
                    <a:pt x="27" y="69"/>
                    <a:pt x="27" y="69"/>
                  </a:cubicBezTo>
                  <a:cubicBezTo>
                    <a:pt x="27" y="70"/>
                    <a:pt x="27" y="70"/>
                    <a:pt x="27" y="70"/>
                  </a:cubicBezTo>
                  <a:cubicBezTo>
                    <a:pt x="26" y="70"/>
                    <a:pt x="26" y="70"/>
                    <a:pt x="26" y="71"/>
                  </a:cubicBezTo>
                  <a:cubicBezTo>
                    <a:pt x="25" y="71"/>
                    <a:pt x="25" y="71"/>
                    <a:pt x="25" y="71"/>
                  </a:cubicBezTo>
                  <a:cubicBezTo>
                    <a:pt x="25" y="71"/>
                    <a:pt x="25" y="71"/>
                    <a:pt x="25" y="71"/>
                  </a:cubicBezTo>
                  <a:cubicBezTo>
                    <a:pt x="24" y="72"/>
                    <a:pt x="24" y="72"/>
                    <a:pt x="24" y="72"/>
                  </a:cubicBezTo>
                  <a:cubicBezTo>
                    <a:pt x="23" y="72"/>
                    <a:pt x="23" y="72"/>
                    <a:pt x="23" y="72"/>
                  </a:cubicBezTo>
                  <a:cubicBezTo>
                    <a:pt x="23" y="73"/>
                    <a:pt x="23" y="73"/>
                    <a:pt x="23" y="73"/>
                  </a:cubicBezTo>
                  <a:cubicBezTo>
                    <a:pt x="22" y="73"/>
                    <a:pt x="22" y="73"/>
                    <a:pt x="22" y="73"/>
                  </a:cubicBezTo>
                  <a:cubicBezTo>
                    <a:pt x="22" y="73"/>
                    <a:pt x="22" y="73"/>
                    <a:pt x="22" y="73"/>
                  </a:cubicBezTo>
                  <a:cubicBezTo>
                    <a:pt x="22" y="73"/>
                    <a:pt x="22" y="73"/>
                    <a:pt x="22" y="73"/>
                  </a:cubicBezTo>
                  <a:cubicBezTo>
                    <a:pt x="22" y="73"/>
                    <a:pt x="22" y="73"/>
                    <a:pt x="22" y="73"/>
                  </a:cubicBezTo>
                  <a:cubicBezTo>
                    <a:pt x="21" y="74"/>
                    <a:pt x="21" y="74"/>
                    <a:pt x="21" y="74"/>
                  </a:cubicBezTo>
                  <a:cubicBezTo>
                    <a:pt x="20" y="74"/>
                    <a:pt x="20" y="74"/>
                    <a:pt x="19" y="74"/>
                  </a:cubicBezTo>
                  <a:cubicBezTo>
                    <a:pt x="18" y="74"/>
                    <a:pt x="18" y="74"/>
                    <a:pt x="18" y="74"/>
                  </a:cubicBezTo>
                  <a:cubicBezTo>
                    <a:pt x="17" y="72"/>
                    <a:pt x="17" y="72"/>
                    <a:pt x="17" y="72"/>
                  </a:cubicBezTo>
                  <a:cubicBezTo>
                    <a:pt x="17" y="72"/>
                    <a:pt x="17" y="71"/>
                    <a:pt x="17" y="71"/>
                  </a:cubicBezTo>
                  <a:cubicBezTo>
                    <a:pt x="14" y="70"/>
                    <a:pt x="11" y="68"/>
                    <a:pt x="10" y="68"/>
                  </a:cubicBezTo>
                  <a:cubicBezTo>
                    <a:pt x="8" y="68"/>
                    <a:pt x="7" y="69"/>
                    <a:pt x="5" y="69"/>
                  </a:cubicBezTo>
                  <a:cubicBezTo>
                    <a:pt x="5" y="69"/>
                    <a:pt x="5" y="69"/>
                    <a:pt x="5" y="69"/>
                  </a:cubicBezTo>
                  <a:cubicBezTo>
                    <a:pt x="4" y="70"/>
                    <a:pt x="4" y="70"/>
                    <a:pt x="3" y="70"/>
                  </a:cubicBezTo>
                  <a:cubicBezTo>
                    <a:pt x="3" y="70"/>
                    <a:pt x="3" y="70"/>
                    <a:pt x="3" y="70"/>
                  </a:cubicBezTo>
                  <a:cubicBezTo>
                    <a:pt x="3" y="70"/>
                    <a:pt x="3" y="70"/>
                    <a:pt x="2" y="72"/>
                  </a:cubicBezTo>
                  <a:cubicBezTo>
                    <a:pt x="1" y="73"/>
                    <a:pt x="1" y="73"/>
                    <a:pt x="1" y="73"/>
                  </a:cubicBezTo>
                  <a:cubicBezTo>
                    <a:pt x="0" y="75"/>
                    <a:pt x="0" y="75"/>
                    <a:pt x="0" y="75"/>
                  </a:cubicBezTo>
                  <a:cubicBezTo>
                    <a:pt x="0" y="79"/>
                    <a:pt x="0" y="79"/>
                    <a:pt x="0" y="79"/>
                  </a:cubicBezTo>
                  <a:cubicBezTo>
                    <a:pt x="3" y="78"/>
                    <a:pt x="6" y="78"/>
                    <a:pt x="10" y="78"/>
                  </a:cubicBezTo>
                  <a:cubicBezTo>
                    <a:pt x="13" y="78"/>
                    <a:pt x="16" y="78"/>
                    <a:pt x="19" y="79"/>
                  </a:cubicBezTo>
                  <a:cubicBezTo>
                    <a:pt x="23" y="79"/>
                    <a:pt x="26" y="80"/>
                    <a:pt x="29" y="81"/>
                  </a:cubicBezTo>
                  <a:cubicBezTo>
                    <a:pt x="30" y="77"/>
                    <a:pt x="30" y="77"/>
                    <a:pt x="30" y="77"/>
                  </a:cubicBezTo>
                  <a:cubicBezTo>
                    <a:pt x="30" y="81"/>
                    <a:pt x="30" y="81"/>
                    <a:pt x="30" y="81"/>
                  </a:cubicBezTo>
                  <a:cubicBezTo>
                    <a:pt x="31" y="81"/>
                    <a:pt x="34" y="80"/>
                    <a:pt x="36" y="79"/>
                  </a:cubicBezTo>
                  <a:cubicBezTo>
                    <a:pt x="36" y="79"/>
                    <a:pt x="36" y="79"/>
                    <a:pt x="36" y="79"/>
                  </a:cubicBezTo>
                  <a:cubicBezTo>
                    <a:pt x="37" y="78"/>
                    <a:pt x="38" y="78"/>
                    <a:pt x="38" y="77"/>
                  </a:cubicBezTo>
                  <a:cubicBezTo>
                    <a:pt x="41" y="76"/>
                    <a:pt x="41" y="76"/>
                    <a:pt x="41" y="76"/>
                  </a:cubicBezTo>
                  <a:cubicBezTo>
                    <a:pt x="42" y="80"/>
                    <a:pt x="42" y="80"/>
                    <a:pt x="42" y="80"/>
                  </a:cubicBezTo>
                  <a:cubicBezTo>
                    <a:pt x="42" y="80"/>
                    <a:pt x="42" y="80"/>
                    <a:pt x="42" y="80"/>
                  </a:cubicBezTo>
                  <a:cubicBezTo>
                    <a:pt x="46" y="81"/>
                    <a:pt x="46" y="83"/>
                    <a:pt x="46" y="84"/>
                  </a:cubicBezTo>
                  <a:cubicBezTo>
                    <a:pt x="47" y="84"/>
                    <a:pt x="47" y="84"/>
                    <a:pt x="47" y="84"/>
                  </a:cubicBezTo>
                  <a:cubicBezTo>
                    <a:pt x="48" y="84"/>
                    <a:pt x="48" y="84"/>
                    <a:pt x="48" y="84"/>
                  </a:cubicBezTo>
                  <a:cubicBezTo>
                    <a:pt x="49" y="85"/>
                    <a:pt x="51" y="85"/>
                    <a:pt x="53" y="86"/>
                  </a:cubicBezTo>
                  <a:cubicBezTo>
                    <a:pt x="54" y="84"/>
                    <a:pt x="56" y="82"/>
                    <a:pt x="60" y="82"/>
                  </a:cubicBezTo>
                  <a:cubicBezTo>
                    <a:pt x="60" y="82"/>
                    <a:pt x="60" y="82"/>
                    <a:pt x="60" y="82"/>
                  </a:cubicBezTo>
                  <a:cubicBezTo>
                    <a:pt x="64" y="82"/>
                    <a:pt x="64" y="82"/>
                    <a:pt x="64" y="82"/>
                  </a:cubicBezTo>
                  <a:cubicBezTo>
                    <a:pt x="66" y="82"/>
                    <a:pt x="67" y="82"/>
                    <a:pt x="69" y="82"/>
                  </a:cubicBezTo>
                  <a:cubicBezTo>
                    <a:pt x="70" y="82"/>
                    <a:pt x="71" y="82"/>
                    <a:pt x="72" y="82"/>
                  </a:cubicBezTo>
                  <a:cubicBezTo>
                    <a:pt x="74" y="81"/>
                    <a:pt x="74" y="81"/>
                    <a:pt x="74" y="81"/>
                  </a:cubicBezTo>
                  <a:cubicBezTo>
                    <a:pt x="76" y="81"/>
                    <a:pt x="77" y="81"/>
                    <a:pt x="78" y="81"/>
                  </a:cubicBezTo>
                  <a:cubicBezTo>
                    <a:pt x="78" y="80"/>
                    <a:pt x="78" y="80"/>
                    <a:pt x="78" y="80"/>
                  </a:cubicBezTo>
                  <a:cubicBezTo>
                    <a:pt x="79" y="80"/>
                    <a:pt x="79" y="80"/>
                    <a:pt x="79" y="80"/>
                  </a:cubicBezTo>
                  <a:cubicBezTo>
                    <a:pt x="81" y="80"/>
                    <a:pt x="81" y="80"/>
                    <a:pt x="81" y="80"/>
                  </a:cubicBezTo>
                  <a:cubicBezTo>
                    <a:pt x="81" y="80"/>
                    <a:pt x="81" y="79"/>
                    <a:pt x="82" y="79"/>
                  </a:cubicBezTo>
                  <a:cubicBezTo>
                    <a:pt x="83" y="79"/>
                    <a:pt x="83" y="79"/>
                    <a:pt x="83" y="79"/>
                  </a:cubicBezTo>
                  <a:cubicBezTo>
                    <a:pt x="83" y="78"/>
                    <a:pt x="83" y="78"/>
                    <a:pt x="83" y="78"/>
                  </a:cubicBezTo>
                  <a:cubicBezTo>
                    <a:pt x="83" y="77"/>
                    <a:pt x="83" y="77"/>
                    <a:pt x="83" y="76"/>
                  </a:cubicBezTo>
                  <a:cubicBezTo>
                    <a:pt x="84" y="75"/>
                    <a:pt x="84" y="75"/>
                    <a:pt x="84" y="75"/>
                  </a:cubicBezTo>
                  <a:cubicBezTo>
                    <a:pt x="84" y="74"/>
                    <a:pt x="84" y="74"/>
                    <a:pt x="84" y="73"/>
                  </a:cubicBezTo>
                  <a:cubicBezTo>
                    <a:pt x="84" y="73"/>
                    <a:pt x="84" y="73"/>
                    <a:pt x="84" y="73"/>
                  </a:cubicBezTo>
                  <a:cubicBezTo>
                    <a:pt x="84" y="72"/>
                    <a:pt x="84" y="72"/>
                    <a:pt x="84" y="72"/>
                  </a:cubicBezTo>
                  <a:cubicBezTo>
                    <a:pt x="84" y="70"/>
                    <a:pt x="85" y="67"/>
                    <a:pt x="87" y="67"/>
                  </a:cubicBezTo>
                  <a:cubicBezTo>
                    <a:pt x="93" y="65"/>
                    <a:pt x="93" y="65"/>
                    <a:pt x="93" y="65"/>
                  </a:cubicBezTo>
                  <a:cubicBezTo>
                    <a:pt x="93" y="64"/>
                    <a:pt x="93" y="64"/>
                    <a:pt x="94" y="64"/>
                  </a:cubicBezTo>
                  <a:cubicBezTo>
                    <a:pt x="95" y="64"/>
                    <a:pt x="95" y="64"/>
                    <a:pt x="95" y="64"/>
                  </a:cubicBezTo>
                  <a:cubicBezTo>
                    <a:pt x="96" y="64"/>
                    <a:pt x="99" y="63"/>
                    <a:pt x="101" y="62"/>
                  </a:cubicBezTo>
                  <a:cubicBezTo>
                    <a:pt x="101" y="62"/>
                    <a:pt x="101" y="62"/>
                    <a:pt x="101" y="62"/>
                  </a:cubicBezTo>
                  <a:cubicBezTo>
                    <a:pt x="101" y="61"/>
                    <a:pt x="101" y="61"/>
                    <a:pt x="101" y="61"/>
                  </a:cubicBezTo>
                  <a:cubicBezTo>
                    <a:pt x="100" y="60"/>
                    <a:pt x="100" y="60"/>
                    <a:pt x="100" y="59"/>
                  </a:cubicBezTo>
                  <a:cubicBezTo>
                    <a:pt x="100" y="56"/>
                    <a:pt x="100" y="56"/>
                    <a:pt x="100" y="56"/>
                  </a:cubicBezTo>
                  <a:cubicBezTo>
                    <a:pt x="103" y="57"/>
                    <a:pt x="103" y="57"/>
                    <a:pt x="103" y="57"/>
                  </a:cubicBezTo>
                  <a:cubicBezTo>
                    <a:pt x="104" y="57"/>
                    <a:pt x="104" y="57"/>
                    <a:pt x="105" y="57"/>
                  </a:cubicBezTo>
                  <a:cubicBezTo>
                    <a:pt x="105" y="57"/>
                    <a:pt x="106" y="57"/>
                    <a:pt x="106" y="58"/>
                  </a:cubicBezTo>
                  <a:cubicBezTo>
                    <a:pt x="107" y="58"/>
                    <a:pt x="107" y="58"/>
                    <a:pt x="108" y="58"/>
                  </a:cubicBezTo>
                  <a:cubicBezTo>
                    <a:pt x="109" y="58"/>
                    <a:pt x="110" y="58"/>
                    <a:pt x="112" y="57"/>
                  </a:cubicBezTo>
                  <a:cubicBezTo>
                    <a:pt x="112" y="56"/>
                    <a:pt x="112" y="56"/>
                    <a:pt x="112" y="56"/>
                  </a:cubicBezTo>
                  <a:cubicBezTo>
                    <a:pt x="112" y="56"/>
                    <a:pt x="112" y="56"/>
                    <a:pt x="112" y="56"/>
                  </a:cubicBezTo>
                  <a:cubicBezTo>
                    <a:pt x="113" y="55"/>
                    <a:pt x="115" y="54"/>
                    <a:pt x="116" y="54"/>
                  </a:cubicBezTo>
                  <a:cubicBezTo>
                    <a:pt x="116" y="54"/>
                    <a:pt x="116" y="54"/>
                    <a:pt x="116" y="54"/>
                  </a:cubicBezTo>
                  <a:cubicBezTo>
                    <a:pt x="117" y="54"/>
                    <a:pt x="117" y="54"/>
                    <a:pt x="117" y="54"/>
                  </a:cubicBezTo>
                  <a:cubicBezTo>
                    <a:pt x="117" y="54"/>
                    <a:pt x="117" y="54"/>
                    <a:pt x="117" y="54"/>
                  </a:cubicBezTo>
                  <a:cubicBezTo>
                    <a:pt x="118" y="54"/>
                    <a:pt x="118" y="54"/>
                    <a:pt x="118" y="54"/>
                  </a:cubicBezTo>
                  <a:cubicBezTo>
                    <a:pt x="118" y="55"/>
                    <a:pt x="118" y="55"/>
                    <a:pt x="118" y="55"/>
                  </a:cubicBezTo>
                  <a:cubicBezTo>
                    <a:pt x="120" y="55"/>
                    <a:pt x="120" y="57"/>
                    <a:pt x="120" y="57"/>
                  </a:cubicBezTo>
                  <a:cubicBezTo>
                    <a:pt x="120" y="58"/>
                    <a:pt x="120" y="59"/>
                    <a:pt x="121" y="60"/>
                  </a:cubicBezTo>
                  <a:cubicBezTo>
                    <a:pt x="121" y="61"/>
                    <a:pt x="121" y="61"/>
                    <a:pt x="121" y="61"/>
                  </a:cubicBezTo>
                  <a:cubicBezTo>
                    <a:pt x="121" y="62"/>
                    <a:pt x="121" y="62"/>
                    <a:pt x="121" y="62"/>
                  </a:cubicBezTo>
                  <a:cubicBezTo>
                    <a:pt x="122" y="62"/>
                    <a:pt x="122" y="62"/>
                    <a:pt x="122" y="62"/>
                  </a:cubicBezTo>
                  <a:cubicBezTo>
                    <a:pt x="122" y="61"/>
                    <a:pt x="122" y="61"/>
                    <a:pt x="122" y="61"/>
                  </a:cubicBezTo>
                  <a:cubicBezTo>
                    <a:pt x="123" y="61"/>
                    <a:pt x="123" y="60"/>
                    <a:pt x="124" y="60"/>
                  </a:cubicBezTo>
                  <a:cubicBezTo>
                    <a:pt x="125" y="60"/>
                    <a:pt x="125" y="60"/>
                    <a:pt x="126" y="60"/>
                  </a:cubicBezTo>
                  <a:cubicBezTo>
                    <a:pt x="127" y="59"/>
                    <a:pt x="128" y="59"/>
                    <a:pt x="128" y="59"/>
                  </a:cubicBezTo>
                  <a:cubicBezTo>
                    <a:pt x="129" y="59"/>
                    <a:pt x="129" y="59"/>
                    <a:pt x="129" y="59"/>
                  </a:cubicBezTo>
                  <a:cubicBezTo>
                    <a:pt x="130" y="59"/>
                    <a:pt x="131" y="60"/>
                    <a:pt x="131" y="60"/>
                  </a:cubicBezTo>
                  <a:cubicBezTo>
                    <a:pt x="131" y="60"/>
                    <a:pt x="131" y="60"/>
                    <a:pt x="131" y="60"/>
                  </a:cubicBezTo>
                  <a:cubicBezTo>
                    <a:pt x="132" y="59"/>
                    <a:pt x="132" y="59"/>
                    <a:pt x="132" y="59"/>
                  </a:cubicBezTo>
                  <a:cubicBezTo>
                    <a:pt x="132" y="59"/>
                    <a:pt x="133" y="59"/>
                    <a:pt x="133" y="58"/>
                  </a:cubicBezTo>
                  <a:cubicBezTo>
                    <a:pt x="134" y="57"/>
                    <a:pt x="134" y="56"/>
                    <a:pt x="135" y="56"/>
                  </a:cubicBezTo>
                  <a:cubicBezTo>
                    <a:pt x="134" y="56"/>
                    <a:pt x="134" y="56"/>
                    <a:pt x="134" y="56"/>
                  </a:cubicBezTo>
                  <a:cubicBezTo>
                    <a:pt x="134" y="55"/>
                    <a:pt x="134" y="54"/>
                    <a:pt x="135" y="53"/>
                  </a:cubicBezTo>
                  <a:cubicBezTo>
                    <a:pt x="135" y="52"/>
                    <a:pt x="135" y="52"/>
                    <a:pt x="135" y="52"/>
                  </a:cubicBezTo>
                  <a:cubicBezTo>
                    <a:pt x="136" y="51"/>
                    <a:pt x="137" y="51"/>
                    <a:pt x="137" y="50"/>
                  </a:cubicBezTo>
                  <a:cubicBezTo>
                    <a:pt x="138" y="50"/>
                    <a:pt x="138" y="49"/>
                    <a:pt x="138" y="49"/>
                  </a:cubicBezTo>
                  <a:cubicBezTo>
                    <a:pt x="140" y="47"/>
                    <a:pt x="141" y="45"/>
                    <a:pt x="143" y="45"/>
                  </a:cubicBezTo>
                  <a:cubicBezTo>
                    <a:pt x="146" y="44"/>
                    <a:pt x="148" y="44"/>
                    <a:pt x="151" y="44"/>
                  </a:cubicBezTo>
                  <a:cubicBezTo>
                    <a:pt x="152" y="43"/>
                    <a:pt x="153" y="43"/>
                    <a:pt x="154" y="43"/>
                  </a:cubicBezTo>
                  <a:cubicBezTo>
                    <a:pt x="156" y="43"/>
                    <a:pt x="156" y="43"/>
                    <a:pt x="156" y="43"/>
                  </a:cubicBezTo>
                  <a:cubicBezTo>
                    <a:pt x="158" y="43"/>
                    <a:pt x="159" y="43"/>
                    <a:pt x="161" y="43"/>
                  </a:cubicBezTo>
                  <a:cubicBezTo>
                    <a:pt x="166" y="42"/>
                    <a:pt x="166" y="42"/>
                    <a:pt x="166" y="42"/>
                  </a:cubicBezTo>
                  <a:cubicBezTo>
                    <a:pt x="167" y="42"/>
                    <a:pt x="167" y="42"/>
                    <a:pt x="167" y="42"/>
                  </a:cubicBezTo>
                  <a:cubicBezTo>
                    <a:pt x="167" y="41"/>
                    <a:pt x="167" y="41"/>
                    <a:pt x="168" y="40"/>
                  </a:cubicBezTo>
                  <a:cubicBezTo>
                    <a:pt x="169" y="40"/>
                    <a:pt x="169" y="40"/>
                    <a:pt x="169" y="40"/>
                  </a:cubicBezTo>
                  <a:cubicBezTo>
                    <a:pt x="169" y="39"/>
                    <a:pt x="169" y="39"/>
                    <a:pt x="169" y="39"/>
                  </a:cubicBezTo>
                  <a:cubicBezTo>
                    <a:pt x="170" y="38"/>
                    <a:pt x="170" y="38"/>
                    <a:pt x="171" y="37"/>
                  </a:cubicBezTo>
                  <a:cubicBezTo>
                    <a:pt x="172" y="36"/>
                    <a:pt x="173" y="34"/>
                    <a:pt x="175" y="33"/>
                  </a:cubicBezTo>
                  <a:cubicBezTo>
                    <a:pt x="176" y="33"/>
                    <a:pt x="176" y="33"/>
                    <a:pt x="176" y="33"/>
                  </a:cubicBezTo>
                  <a:cubicBezTo>
                    <a:pt x="178" y="32"/>
                    <a:pt x="181" y="31"/>
                    <a:pt x="184" y="30"/>
                  </a:cubicBezTo>
                  <a:cubicBezTo>
                    <a:pt x="184" y="30"/>
                    <a:pt x="184" y="30"/>
                    <a:pt x="184" y="30"/>
                  </a:cubicBezTo>
                  <a:cubicBezTo>
                    <a:pt x="185" y="29"/>
                    <a:pt x="186" y="29"/>
                    <a:pt x="187" y="28"/>
                  </a:cubicBezTo>
                  <a:cubicBezTo>
                    <a:pt x="191" y="27"/>
                    <a:pt x="195" y="25"/>
                    <a:pt x="199" y="24"/>
                  </a:cubicBezTo>
                  <a:cubicBezTo>
                    <a:pt x="202" y="23"/>
                    <a:pt x="202" y="23"/>
                    <a:pt x="202" y="23"/>
                  </a:cubicBezTo>
                  <a:cubicBezTo>
                    <a:pt x="203" y="23"/>
                    <a:pt x="203" y="23"/>
                    <a:pt x="203" y="23"/>
                  </a:cubicBezTo>
                  <a:cubicBezTo>
                    <a:pt x="203" y="22"/>
                    <a:pt x="203" y="22"/>
                    <a:pt x="203" y="22"/>
                  </a:cubicBezTo>
                  <a:cubicBezTo>
                    <a:pt x="203" y="22"/>
                    <a:pt x="203" y="22"/>
                    <a:pt x="203" y="22"/>
                  </a:cubicBezTo>
                  <a:cubicBezTo>
                    <a:pt x="203" y="22"/>
                    <a:pt x="203" y="22"/>
                    <a:pt x="203" y="22"/>
                  </a:cubicBezTo>
                  <a:cubicBezTo>
                    <a:pt x="202" y="21"/>
                    <a:pt x="202" y="21"/>
                    <a:pt x="202" y="21"/>
                  </a:cubicBezTo>
                  <a:cubicBezTo>
                    <a:pt x="202" y="21"/>
                    <a:pt x="202" y="21"/>
                    <a:pt x="201" y="20"/>
                  </a:cubicBezTo>
                  <a:cubicBezTo>
                    <a:pt x="201" y="19"/>
                    <a:pt x="200" y="19"/>
                    <a:pt x="200" y="18"/>
                  </a:cubicBezTo>
                  <a:cubicBezTo>
                    <a:pt x="199" y="18"/>
                    <a:pt x="199" y="18"/>
                    <a:pt x="198" y="18"/>
                  </a:cubicBezTo>
                  <a:cubicBezTo>
                    <a:pt x="198" y="18"/>
                    <a:pt x="197" y="17"/>
                    <a:pt x="196" y="17"/>
                  </a:cubicBezTo>
                  <a:cubicBezTo>
                    <a:pt x="195" y="17"/>
                    <a:pt x="195" y="17"/>
                    <a:pt x="194" y="17"/>
                  </a:cubicBezTo>
                  <a:cubicBezTo>
                    <a:pt x="191" y="17"/>
                    <a:pt x="189" y="16"/>
                    <a:pt x="186" y="13"/>
                  </a:cubicBezTo>
                  <a:cubicBezTo>
                    <a:pt x="186" y="12"/>
                    <a:pt x="186" y="12"/>
                    <a:pt x="186" y="12"/>
                  </a:cubicBezTo>
                  <a:cubicBezTo>
                    <a:pt x="186" y="12"/>
                    <a:pt x="185" y="11"/>
                    <a:pt x="185" y="10"/>
                  </a:cubicBezTo>
                  <a:cubicBezTo>
                    <a:pt x="184" y="9"/>
                    <a:pt x="184" y="9"/>
                    <a:pt x="184" y="9"/>
                  </a:cubicBezTo>
                  <a:cubicBezTo>
                    <a:pt x="184" y="9"/>
                    <a:pt x="184" y="9"/>
                    <a:pt x="184" y="9"/>
                  </a:cubicBezTo>
                  <a:cubicBezTo>
                    <a:pt x="184" y="9"/>
                    <a:pt x="183" y="9"/>
                    <a:pt x="183" y="9"/>
                  </a:cubicBezTo>
                  <a:cubicBezTo>
                    <a:pt x="183" y="10"/>
                    <a:pt x="182" y="10"/>
                    <a:pt x="181" y="10"/>
                  </a:cubicBezTo>
                  <a:cubicBezTo>
                    <a:pt x="180" y="10"/>
                    <a:pt x="179" y="9"/>
                    <a:pt x="177" y="9"/>
                  </a:cubicBezTo>
                  <a:cubicBezTo>
                    <a:pt x="175" y="8"/>
                    <a:pt x="175" y="8"/>
                    <a:pt x="175" y="8"/>
                  </a:cubicBezTo>
                  <a:cubicBezTo>
                    <a:pt x="175" y="8"/>
                    <a:pt x="174" y="8"/>
                    <a:pt x="173" y="8"/>
                  </a:cubicBezTo>
                  <a:cubicBezTo>
                    <a:pt x="173" y="7"/>
                    <a:pt x="172" y="7"/>
                    <a:pt x="172" y="7"/>
                  </a:cubicBezTo>
                  <a:cubicBezTo>
                    <a:pt x="171" y="7"/>
                    <a:pt x="171" y="7"/>
                    <a:pt x="171" y="7"/>
                  </a:cubicBezTo>
                  <a:cubicBezTo>
                    <a:pt x="171" y="7"/>
                    <a:pt x="170" y="7"/>
                    <a:pt x="170" y="7"/>
                  </a:cubicBezTo>
                  <a:cubicBezTo>
                    <a:pt x="169" y="7"/>
                    <a:pt x="169" y="7"/>
                    <a:pt x="169" y="7"/>
                  </a:cubicBezTo>
                  <a:cubicBezTo>
                    <a:pt x="168" y="7"/>
                    <a:pt x="167" y="7"/>
                    <a:pt x="166" y="7"/>
                  </a:cubicBezTo>
                  <a:cubicBezTo>
                    <a:pt x="163" y="7"/>
                    <a:pt x="159" y="7"/>
                    <a:pt x="156" y="7"/>
                  </a:cubicBezTo>
                  <a:cubicBezTo>
                    <a:pt x="155" y="7"/>
                    <a:pt x="155" y="7"/>
                    <a:pt x="155" y="7"/>
                  </a:cubicBezTo>
                  <a:cubicBezTo>
                    <a:pt x="154" y="7"/>
                    <a:pt x="154" y="7"/>
                    <a:pt x="153" y="7"/>
                  </a:cubicBezTo>
                  <a:cubicBezTo>
                    <a:pt x="153" y="10"/>
                    <a:pt x="153" y="10"/>
                    <a:pt x="153" y="10"/>
                  </a:cubicBezTo>
                  <a:cubicBezTo>
                    <a:pt x="152" y="7"/>
                    <a:pt x="152" y="7"/>
                    <a:pt x="152" y="7"/>
                  </a:cubicBezTo>
                  <a:cubicBezTo>
                    <a:pt x="151" y="7"/>
                    <a:pt x="151" y="7"/>
                    <a:pt x="151" y="7"/>
                  </a:cubicBezTo>
                  <a:cubicBezTo>
                    <a:pt x="147" y="6"/>
                    <a:pt x="143" y="6"/>
                    <a:pt x="138" y="6"/>
                  </a:cubicBezTo>
                  <a:cubicBezTo>
                    <a:pt x="137" y="6"/>
                    <a:pt x="137" y="6"/>
                    <a:pt x="137" y="6"/>
                  </a:cubicBezTo>
                  <a:cubicBezTo>
                    <a:pt x="136" y="6"/>
                    <a:pt x="134" y="6"/>
                    <a:pt x="132" y="6"/>
                  </a:cubicBezTo>
                  <a:cubicBezTo>
                    <a:pt x="132" y="6"/>
                    <a:pt x="132" y="6"/>
                    <a:pt x="132" y="6"/>
                  </a:cubicBezTo>
                  <a:cubicBezTo>
                    <a:pt x="130" y="6"/>
                    <a:pt x="128" y="6"/>
                    <a:pt x="126" y="6"/>
                  </a:cubicBezTo>
                  <a:cubicBezTo>
                    <a:pt x="124" y="6"/>
                    <a:pt x="123" y="6"/>
                    <a:pt x="122" y="6"/>
                  </a:cubicBezTo>
                  <a:cubicBezTo>
                    <a:pt x="121" y="6"/>
                    <a:pt x="121" y="6"/>
                    <a:pt x="121" y="6"/>
                  </a:cubicBezTo>
                  <a:cubicBezTo>
                    <a:pt x="120" y="6"/>
                    <a:pt x="120" y="6"/>
                    <a:pt x="119" y="7"/>
                  </a:cubicBezTo>
                  <a:cubicBezTo>
                    <a:pt x="117" y="7"/>
                    <a:pt x="115" y="8"/>
                    <a:pt x="113" y="8"/>
                  </a:cubicBezTo>
                  <a:cubicBezTo>
                    <a:pt x="112" y="8"/>
                    <a:pt x="112" y="8"/>
                    <a:pt x="111" y="8"/>
                  </a:cubicBezTo>
                  <a:cubicBezTo>
                    <a:pt x="110" y="8"/>
                    <a:pt x="110" y="8"/>
                    <a:pt x="110" y="8"/>
                  </a:cubicBezTo>
                  <a:cubicBezTo>
                    <a:pt x="109" y="7"/>
                    <a:pt x="109" y="7"/>
                    <a:pt x="108" y="7"/>
                  </a:cubicBezTo>
                  <a:cubicBezTo>
                    <a:pt x="106" y="7"/>
                    <a:pt x="106" y="7"/>
                    <a:pt x="106" y="7"/>
                  </a:cubicBezTo>
                  <a:cubicBezTo>
                    <a:pt x="106" y="6"/>
                    <a:pt x="105" y="6"/>
                    <a:pt x="104" y="6"/>
                  </a:cubicBezTo>
                  <a:cubicBezTo>
                    <a:pt x="103" y="5"/>
                    <a:pt x="103" y="5"/>
                    <a:pt x="103" y="5"/>
                  </a:cubicBezTo>
                  <a:cubicBezTo>
                    <a:pt x="102" y="5"/>
                    <a:pt x="100" y="5"/>
                    <a:pt x="99" y="4"/>
                  </a:cubicBezTo>
                  <a:cubicBezTo>
                    <a:pt x="98" y="3"/>
                    <a:pt x="98" y="3"/>
                    <a:pt x="98" y="3"/>
                  </a:cubicBezTo>
                  <a:cubicBezTo>
                    <a:pt x="98" y="3"/>
                    <a:pt x="98" y="3"/>
                    <a:pt x="98" y="3"/>
                  </a:cubicBezTo>
                  <a:cubicBezTo>
                    <a:pt x="97" y="3"/>
                    <a:pt x="96" y="2"/>
                    <a:pt x="95" y="1"/>
                  </a:cubicBezTo>
                  <a:cubicBezTo>
                    <a:pt x="94" y="1"/>
                    <a:pt x="92" y="0"/>
                    <a:pt x="90" y="0"/>
                  </a:cubicBezTo>
                  <a:cubicBezTo>
                    <a:pt x="90" y="0"/>
                    <a:pt x="89"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Rectangle 445"/>
            <p:cNvSpPr>
              <a:spLocks noChangeArrowheads="1"/>
            </p:cNvSpPr>
            <p:nvPr/>
          </p:nvSpPr>
          <p:spPr bwMode="auto">
            <a:xfrm>
              <a:off x="2837557" y="3957135"/>
              <a:ext cx="1376" cy="27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Rectangle 446"/>
            <p:cNvSpPr>
              <a:spLocks noChangeArrowheads="1"/>
            </p:cNvSpPr>
            <p:nvPr/>
          </p:nvSpPr>
          <p:spPr bwMode="auto">
            <a:xfrm>
              <a:off x="2837557" y="3957135"/>
              <a:ext cx="1376" cy="27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447"/>
            <p:cNvSpPr>
              <a:spLocks noEditPoints="1"/>
            </p:cNvSpPr>
            <p:nvPr/>
          </p:nvSpPr>
          <p:spPr bwMode="auto">
            <a:xfrm>
              <a:off x="1891247" y="3723309"/>
              <a:ext cx="1030213" cy="629957"/>
            </a:xfrm>
            <a:custGeom>
              <a:gdLst>
                <a:gd name="T0" fmla="*/ 61 w 317"/>
                <a:gd name="T1" fmla="*/ 8 h 194"/>
                <a:gd name="T2" fmla="*/ 55 w 317"/>
                <a:gd name="T3" fmla="*/ 1 h 194"/>
                <a:gd name="T4" fmla="*/ 50 w 317"/>
                <a:gd name="T5" fmla="*/ 7 h 194"/>
                <a:gd name="T6" fmla="*/ 49 w 317"/>
                <a:gd name="T7" fmla="*/ 20 h 194"/>
                <a:gd name="T8" fmla="*/ 49 w 317"/>
                <a:gd name="T9" fmla="*/ 26 h 194"/>
                <a:gd name="T10" fmla="*/ 42 w 317"/>
                <a:gd name="T11" fmla="*/ 33 h 194"/>
                <a:gd name="T12" fmla="*/ 46 w 317"/>
                <a:gd name="T13" fmla="*/ 8 h 194"/>
                <a:gd name="T14" fmla="*/ 0 w 317"/>
                <a:gd name="T15" fmla="*/ 20 h 194"/>
                <a:gd name="T16" fmla="*/ 7 w 317"/>
                <a:gd name="T17" fmla="*/ 102 h 194"/>
                <a:gd name="T18" fmla="*/ 15 w 317"/>
                <a:gd name="T19" fmla="*/ 101 h 194"/>
                <a:gd name="T20" fmla="*/ 27 w 317"/>
                <a:gd name="T21" fmla="*/ 83 h 194"/>
                <a:gd name="T22" fmla="*/ 41 w 317"/>
                <a:gd name="T23" fmla="*/ 75 h 194"/>
                <a:gd name="T24" fmla="*/ 55 w 317"/>
                <a:gd name="T25" fmla="*/ 74 h 194"/>
                <a:gd name="T26" fmla="*/ 68 w 317"/>
                <a:gd name="T27" fmla="*/ 79 h 194"/>
                <a:gd name="T28" fmla="*/ 80 w 317"/>
                <a:gd name="T29" fmla="*/ 95 h 194"/>
                <a:gd name="T30" fmla="*/ 80 w 317"/>
                <a:gd name="T31" fmla="*/ 102 h 194"/>
                <a:gd name="T32" fmla="*/ 97 w 317"/>
                <a:gd name="T33" fmla="*/ 105 h 194"/>
                <a:gd name="T34" fmla="*/ 117 w 317"/>
                <a:gd name="T35" fmla="*/ 120 h 194"/>
                <a:gd name="T36" fmla="*/ 127 w 317"/>
                <a:gd name="T37" fmla="*/ 135 h 194"/>
                <a:gd name="T38" fmla="*/ 167 w 317"/>
                <a:gd name="T39" fmla="*/ 161 h 194"/>
                <a:gd name="T40" fmla="*/ 183 w 317"/>
                <a:gd name="T41" fmla="*/ 171 h 194"/>
                <a:gd name="T42" fmla="*/ 203 w 317"/>
                <a:gd name="T43" fmla="*/ 179 h 194"/>
                <a:gd name="T44" fmla="*/ 207 w 317"/>
                <a:gd name="T45" fmla="*/ 190 h 194"/>
                <a:gd name="T46" fmla="*/ 217 w 317"/>
                <a:gd name="T47" fmla="*/ 194 h 194"/>
                <a:gd name="T48" fmla="*/ 221 w 317"/>
                <a:gd name="T49" fmla="*/ 189 h 194"/>
                <a:gd name="T50" fmla="*/ 230 w 317"/>
                <a:gd name="T51" fmla="*/ 173 h 194"/>
                <a:gd name="T52" fmla="*/ 224 w 317"/>
                <a:gd name="T53" fmla="*/ 158 h 194"/>
                <a:gd name="T54" fmla="*/ 217 w 317"/>
                <a:gd name="T55" fmla="*/ 142 h 194"/>
                <a:gd name="T56" fmla="*/ 234 w 317"/>
                <a:gd name="T57" fmla="*/ 141 h 194"/>
                <a:gd name="T58" fmla="*/ 245 w 317"/>
                <a:gd name="T59" fmla="*/ 126 h 194"/>
                <a:gd name="T60" fmla="*/ 252 w 317"/>
                <a:gd name="T61" fmla="*/ 114 h 194"/>
                <a:gd name="T62" fmla="*/ 258 w 317"/>
                <a:gd name="T63" fmla="*/ 116 h 194"/>
                <a:gd name="T64" fmla="*/ 267 w 317"/>
                <a:gd name="T65" fmla="*/ 112 h 194"/>
                <a:gd name="T66" fmla="*/ 275 w 317"/>
                <a:gd name="T67" fmla="*/ 124 h 194"/>
                <a:gd name="T68" fmla="*/ 285 w 317"/>
                <a:gd name="T69" fmla="*/ 125 h 194"/>
                <a:gd name="T70" fmla="*/ 300 w 317"/>
                <a:gd name="T71" fmla="*/ 127 h 194"/>
                <a:gd name="T72" fmla="*/ 305 w 317"/>
                <a:gd name="T73" fmla="*/ 122 h 194"/>
                <a:gd name="T74" fmla="*/ 310 w 317"/>
                <a:gd name="T75" fmla="*/ 118 h 194"/>
                <a:gd name="T76" fmla="*/ 316 w 317"/>
                <a:gd name="T77" fmla="*/ 117 h 194"/>
                <a:gd name="T78" fmla="*/ 310 w 317"/>
                <a:gd name="T79" fmla="*/ 113 h 194"/>
                <a:gd name="T80" fmla="*/ 304 w 317"/>
                <a:gd name="T81" fmla="*/ 111 h 194"/>
                <a:gd name="T82" fmla="*/ 297 w 317"/>
                <a:gd name="T83" fmla="*/ 104 h 194"/>
                <a:gd name="T84" fmla="*/ 290 w 317"/>
                <a:gd name="T85" fmla="*/ 110 h 194"/>
                <a:gd name="T86" fmla="*/ 274 w 317"/>
                <a:gd name="T87" fmla="*/ 104 h 194"/>
                <a:gd name="T88" fmla="*/ 266 w 317"/>
                <a:gd name="T89" fmla="*/ 100 h 194"/>
                <a:gd name="T90" fmla="*/ 251 w 317"/>
                <a:gd name="T91" fmla="*/ 104 h 194"/>
                <a:gd name="T92" fmla="*/ 239 w 317"/>
                <a:gd name="T93" fmla="*/ 121 h 194"/>
                <a:gd name="T94" fmla="*/ 236 w 317"/>
                <a:gd name="T95" fmla="*/ 121 h 194"/>
                <a:gd name="T96" fmla="*/ 226 w 317"/>
                <a:gd name="T97" fmla="*/ 111 h 194"/>
                <a:gd name="T98" fmla="*/ 203 w 317"/>
                <a:gd name="T99" fmla="*/ 110 h 194"/>
                <a:gd name="T100" fmla="*/ 196 w 317"/>
                <a:gd name="T101" fmla="*/ 92 h 194"/>
                <a:gd name="T102" fmla="*/ 191 w 317"/>
                <a:gd name="T103" fmla="*/ 91 h 194"/>
                <a:gd name="T104" fmla="*/ 189 w 317"/>
                <a:gd name="T105" fmla="*/ 69 h 194"/>
                <a:gd name="T106" fmla="*/ 174 w 317"/>
                <a:gd name="T107" fmla="*/ 57 h 194"/>
                <a:gd name="T108" fmla="*/ 164 w 317"/>
                <a:gd name="T109" fmla="*/ 53 h 194"/>
                <a:gd name="T110" fmla="*/ 124 w 317"/>
                <a:gd name="T111" fmla="*/ 55 h 194"/>
                <a:gd name="T112" fmla="*/ 107 w 317"/>
                <a:gd name="T113" fmla="*/ 51 h 194"/>
                <a:gd name="T114" fmla="*/ 71 w 317"/>
                <a:gd name="T115" fmla="*/ 38 h 194"/>
                <a:gd name="T116" fmla="*/ 63 w 317"/>
                <a:gd name="T117" fmla="*/ 37 h 194"/>
                <a:gd name="T118" fmla="*/ 64 w 317"/>
                <a:gd name="T119" fmla="*/ 14 h 194"/>
                <a:gd name="T120" fmla="*/ 61 w 317"/>
                <a:gd name="T121" fmla="*/ 4 h 1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7" h="194">
                  <a:moveTo>
                    <a:pt x="61" y="8"/>
                  </a:moveTo>
                  <a:cubicBezTo>
                    <a:pt x="61" y="8"/>
                    <a:pt x="61" y="8"/>
                    <a:pt x="61" y="8"/>
                  </a:cubicBezTo>
                  <a:cubicBezTo>
                    <a:pt x="61" y="8"/>
                    <a:pt x="61" y="8"/>
                    <a:pt x="61" y="8"/>
                  </a:cubicBezTo>
                  <a:cubicBezTo>
                    <a:pt x="61" y="8"/>
                    <a:pt x="61" y="8"/>
                    <a:pt x="61" y="8"/>
                  </a:cubicBezTo>
                  <a:moveTo>
                    <a:pt x="61" y="10"/>
                  </a:moveTo>
                  <a:cubicBezTo>
                    <a:pt x="61" y="10"/>
                    <a:pt x="61" y="10"/>
                    <a:pt x="61" y="10"/>
                  </a:cubicBezTo>
                  <a:cubicBezTo>
                    <a:pt x="61" y="9"/>
                    <a:pt x="61" y="8"/>
                    <a:pt x="61" y="6"/>
                  </a:cubicBezTo>
                  <a:cubicBezTo>
                    <a:pt x="62" y="7"/>
                    <a:pt x="61" y="7"/>
                    <a:pt x="61" y="8"/>
                  </a:cubicBezTo>
                  <a:cubicBezTo>
                    <a:pt x="61" y="8"/>
                    <a:pt x="61" y="9"/>
                    <a:pt x="61" y="9"/>
                  </a:cubicBezTo>
                  <a:cubicBezTo>
                    <a:pt x="61" y="10"/>
                    <a:pt x="61" y="10"/>
                    <a:pt x="61" y="10"/>
                  </a:cubicBezTo>
                  <a:moveTo>
                    <a:pt x="57" y="0"/>
                  </a:moveTo>
                  <a:cubicBezTo>
                    <a:pt x="56" y="0"/>
                    <a:pt x="56" y="1"/>
                    <a:pt x="56" y="1"/>
                  </a:cubicBezTo>
                  <a:cubicBezTo>
                    <a:pt x="56" y="2"/>
                    <a:pt x="56" y="3"/>
                    <a:pt x="56" y="3"/>
                  </a:cubicBezTo>
                  <a:cubicBezTo>
                    <a:pt x="55" y="3"/>
                    <a:pt x="55" y="3"/>
                    <a:pt x="55" y="3"/>
                  </a:cubicBezTo>
                  <a:cubicBezTo>
                    <a:pt x="55" y="3"/>
                    <a:pt x="56" y="1"/>
                    <a:pt x="55" y="1"/>
                  </a:cubicBezTo>
                  <a:cubicBezTo>
                    <a:pt x="55" y="1"/>
                    <a:pt x="55" y="1"/>
                    <a:pt x="55" y="1"/>
                  </a:cubicBezTo>
                  <a:cubicBezTo>
                    <a:pt x="54" y="1"/>
                    <a:pt x="54" y="3"/>
                    <a:pt x="54" y="3"/>
                  </a:cubicBezTo>
                  <a:cubicBezTo>
                    <a:pt x="54" y="5"/>
                    <a:pt x="53" y="6"/>
                    <a:pt x="52" y="6"/>
                  </a:cubicBezTo>
                  <a:cubicBezTo>
                    <a:pt x="52" y="6"/>
                    <a:pt x="52" y="6"/>
                    <a:pt x="52" y="6"/>
                  </a:cubicBezTo>
                  <a:cubicBezTo>
                    <a:pt x="50" y="7"/>
                    <a:pt x="50" y="7"/>
                    <a:pt x="50" y="7"/>
                  </a:cubicBezTo>
                  <a:cubicBezTo>
                    <a:pt x="50" y="7"/>
                    <a:pt x="50" y="7"/>
                    <a:pt x="50" y="7"/>
                  </a:cubicBezTo>
                  <a:cubicBezTo>
                    <a:pt x="50" y="7"/>
                    <a:pt x="50" y="7"/>
                    <a:pt x="50" y="7"/>
                  </a:cubicBezTo>
                  <a:cubicBezTo>
                    <a:pt x="50" y="7"/>
                    <a:pt x="50" y="7"/>
                    <a:pt x="50" y="7"/>
                  </a:cubicBezTo>
                  <a:cubicBezTo>
                    <a:pt x="50" y="7"/>
                    <a:pt x="50" y="7"/>
                    <a:pt x="50" y="7"/>
                  </a:cubicBezTo>
                  <a:cubicBezTo>
                    <a:pt x="50" y="7"/>
                    <a:pt x="50" y="7"/>
                    <a:pt x="50" y="7"/>
                  </a:cubicBezTo>
                  <a:cubicBezTo>
                    <a:pt x="49" y="8"/>
                    <a:pt x="49" y="8"/>
                    <a:pt x="49" y="8"/>
                  </a:cubicBezTo>
                  <a:cubicBezTo>
                    <a:pt x="49" y="9"/>
                    <a:pt x="49" y="9"/>
                    <a:pt x="49" y="9"/>
                  </a:cubicBezTo>
                  <a:cubicBezTo>
                    <a:pt x="49" y="10"/>
                    <a:pt x="48" y="11"/>
                    <a:pt x="49" y="13"/>
                  </a:cubicBezTo>
                  <a:cubicBezTo>
                    <a:pt x="49" y="14"/>
                    <a:pt x="50" y="15"/>
                    <a:pt x="50" y="15"/>
                  </a:cubicBezTo>
                  <a:cubicBezTo>
                    <a:pt x="50" y="16"/>
                    <a:pt x="49" y="17"/>
                    <a:pt x="48" y="18"/>
                  </a:cubicBezTo>
                  <a:cubicBezTo>
                    <a:pt x="48" y="19"/>
                    <a:pt x="47" y="20"/>
                    <a:pt x="48" y="20"/>
                  </a:cubicBezTo>
                  <a:cubicBezTo>
                    <a:pt x="48" y="20"/>
                    <a:pt x="49" y="20"/>
                    <a:pt x="49" y="20"/>
                  </a:cubicBezTo>
                  <a:cubicBezTo>
                    <a:pt x="50" y="19"/>
                    <a:pt x="51" y="18"/>
                    <a:pt x="51" y="18"/>
                  </a:cubicBezTo>
                  <a:cubicBezTo>
                    <a:pt x="51" y="18"/>
                    <a:pt x="51" y="19"/>
                    <a:pt x="50" y="19"/>
                  </a:cubicBezTo>
                  <a:cubicBezTo>
                    <a:pt x="51" y="20"/>
                    <a:pt x="50" y="20"/>
                    <a:pt x="50" y="21"/>
                  </a:cubicBezTo>
                  <a:cubicBezTo>
                    <a:pt x="50" y="21"/>
                    <a:pt x="50" y="22"/>
                    <a:pt x="50" y="23"/>
                  </a:cubicBezTo>
                  <a:cubicBezTo>
                    <a:pt x="50" y="25"/>
                    <a:pt x="51" y="24"/>
                    <a:pt x="51" y="26"/>
                  </a:cubicBezTo>
                  <a:cubicBezTo>
                    <a:pt x="51" y="26"/>
                    <a:pt x="51" y="26"/>
                    <a:pt x="51" y="26"/>
                  </a:cubicBezTo>
                  <a:cubicBezTo>
                    <a:pt x="50" y="26"/>
                    <a:pt x="50" y="26"/>
                    <a:pt x="50" y="26"/>
                  </a:cubicBezTo>
                  <a:cubicBezTo>
                    <a:pt x="50" y="26"/>
                    <a:pt x="50" y="26"/>
                    <a:pt x="49" y="26"/>
                  </a:cubicBezTo>
                  <a:cubicBezTo>
                    <a:pt x="49" y="26"/>
                    <a:pt x="49" y="26"/>
                    <a:pt x="49" y="26"/>
                  </a:cubicBezTo>
                  <a:cubicBezTo>
                    <a:pt x="49" y="26"/>
                    <a:pt x="48" y="25"/>
                    <a:pt x="48" y="25"/>
                  </a:cubicBezTo>
                  <a:cubicBezTo>
                    <a:pt x="47" y="25"/>
                    <a:pt x="47" y="25"/>
                    <a:pt x="47" y="26"/>
                  </a:cubicBezTo>
                  <a:cubicBezTo>
                    <a:pt x="47" y="27"/>
                    <a:pt x="47" y="27"/>
                    <a:pt x="47" y="27"/>
                  </a:cubicBezTo>
                  <a:cubicBezTo>
                    <a:pt x="47" y="27"/>
                    <a:pt x="47" y="27"/>
                    <a:pt x="48" y="27"/>
                  </a:cubicBezTo>
                  <a:cubicBezTo>
                    <a:pt x="48" y="27"/>
                    <a:pt x="48" y="27"/>
                    <a:pt x="48" y="27"/>
                  </a:cubicBezTo>
                  <a:cubicBezTo>
                    <a:pt x="48" y="27"/>
                    <a:pt x="48" y="27"/>
                    <a:pt x="48" y="29"/>
                  </a:cubicBezTo>
                  <a:cubicBezTo>
                    <a:pt x="47" y="31"/>
                    <a:pt x="44" y="33"/>
                    <a:pt x="42" y="33"/>
                  </a:cubicBezTo>
                  <a:cubicBezTo>
                    <a:pt x="40" y="33"/>
                    <a:pt x="40" y="32"/>
                    <a:pt x="40" y="30"/>
                  </a:cubicBezTo>
                  <a:cubicBezTo>
                    <a:pt x="40" y="29"/>
                    <a:pt x="42" y="29"/>
                    <a:pt x="41" y="28"/>
                  </a:cubicBezTo>
                  <a:cubicBezTo>
                    <a:pt x="41" y="26"/>
                    <a:pt x="40" y="26"/>
                    <a:pt x="40" y="25"/>
                  </a:cubicBezTo>
                  <a:cubicBezTo>
                    <a:pt x="39" y="22"/>
                    <a:pt x="40" y="21"/>
                    <a:pt x="41" y="19"/>
                  </a:cubicBezTo>
                  <a:cubicBezTo>
                    <a:pt x="41" y="18"/>
                    <a:pt x="42" y="15"/>
                    <a:pt x="43" y="14"/>
                  </a:cubicBezTo>
                  <a:cubicBezTo>
                    <a:pt x="43" y="13"/>
                    <a:pt x="43" y="12"/>
                    <a:pt x="44" y="12"/>
                  </a:cubicBezTo>
                  <a:cubicBezTo>
                    <a:pt x="44" y="11"/>
                    <a:pt x="45" y="10"/>
                    <a:pt x="46" y="9"/>
                  </a:cubicBezTo>
                  <a:cubicBezTo>
                    <a:pt x="46" y="9"/>
                    <a:pt x="46" y="8"/>
                    <a:pt x="46" y="8"/>
                  </a:cubicBezTo>
                  <a:cubicBezTo>
                    <a:pt x="46" y="8"/>
                    <a:pt x="46" y="8"/>
                    <a:pt x="46" y="8"/>
                  </a:cubicBezTo>
                  <a:cubicBezTo>
                    <a:pt x="44" y="8"/>
                    <a:pt x="44" y="8"/>
                    <a:pt x="44" y="8"/>
                  </a:cubicBezTo>
                  <a:cubicBezTo>
                    <a:pt x="43" y="8"/>
                    <a:pt x="41" y="9"/>
                    <a:pt x="40" y="9"/>
                  </a:cubicBezTo>
                  <a:cubicBezTo>
                    <a:pt x="38" y="10"/>
                    <a:pt x="38" y="10"/>
                    <a:pt x="38" y="10"/>
                  </a:cubicBezTo>
                  <a:cubicBezTo>
                    <a:pt x="33" y="11"/>
                    <a:pt x="33" y="11"/>
                    <a:pt x="33" y="11"/>
                  </a:cubicBezTo>
                  <a:cubicBezTo>
                    <a:pt x="24" y="14"/>
                    <a:pt x="15" y="16"/>
                    <a:pt x="6" y="18"/>
                  </a:cubicBezTo>
                  <a:cubicBezTo>
                    <a:pt x="6" y="19"/>
                    <a:pt x="5" y="19"/>
                    <a:pt x="4" y="19"/>
                  </a:cubicBezTo>
                  <a:cubicBezTo>
                    <a:pt x="3" y="19"/>
                    <a:pt x="1" y="20"/>
                    <a:pt x="0" y="20"/>
                  </a:cubicBezTo>
                  <a:cubicBezTo>
                    <a:pt x="0" y="20"/>
                    <a:pt x="0" y="20"/>
                    <a:pt x="0" y="20"/>
                  </a:cubicBezTo>
                  <a:cubicBezTo>
                    <a:pt x="0" y="20"/>
                    <a:pt x="0" y="20"/>
                    <a:pt x="0" y="20"/>
                  </a:cubicBezTo>
                  <a:cubicBezTo>
                    <a:pt x="0" y="33"/>
                    <a:pt x="0" y="46"/>
                    <a:pt x="0" y="59"/>
                  </a:cubicBezTo>
                  <a:cubicBezTo>
                    <a:pt x="0" y="101"/>
                    <a:pt x="0" y="101"/>
                    <a:pt x="0" y="101"/>
                  </a:cubicBezTo>
                  <a:cubicBezTo>
                    <a:pt x="5" y="101"/>
                    <a:pt x="5" y="101"/>
                    <a:pt x="5" y="101"/>
                  </a:cubicBezTo>
                  <a:cubicBezTo>
                    <a:pt x="4" y="102"/>
                    <a:pt x="4" y="102"/>
                    <a:pt x="4" y="102"/>
                  </a:cubicBezTo>
                  <a:cubicBezTo>
                    <a:pt x="4" y="102"/>
                    <a:pt x="4" y="102"/>
                    <a:pt x="4" y="102"/>
                  </a:cubicBezTo>
                  <a:cubicBezTo>
                    <a:pt x="5" y="102"/>
                    <a:pt x="6" y="102"/>
                    <a:pt x="7" y="102"/>
                  </a:cubicBezTo>
                  <a:cubicBezTo>
                    <a:pt x="7" y="102"/>
                    <a:pt x="7" y="102"/>
                    <a:pt x="8" y="102"/>
                  </a:cubicBezTo>
                  <a:cubicBezTo>
                    <a:pt x="8" y="102"/>
                    <a:pt x="8" y="102"/>
                    <a:pt x="8" y="102"/>
                  </a:cubicBezTo>
                  <a:cubicBezTo>
                    <a:pt x="8" y="102"/>
                    <a:pt x="8" y="102"/>
                    <a:pt x="8" y="102"/>
                  </a:cubicBezTo>
                  <a:cubicBezTo>
                    <a:pt x="8" y="102"/>
                    <a:pt x="8" y="102"/>
                    <a:pt x="8" y="102"/>
                  </a:cubicBezTo>
                  <a:cubicBezTo>
                    <a:pt x="9" y="102"/>
                    <a:pt x="10" y="101"/>
                    <a:pt x="11" y="101"/>
                  </a:cubicBezTo>
                  <a:cubicBezTo>
                    <a:pt x="13" y="101"/>
                    <a:pt x="13" y="101"/>
                    <a:pt x="13" y="101"/>
                  </a:cubicBezTo>
                  <a:cubicBezTo>
                    <a:pt x="14" y="101"/>
                    <a:pt x="15" y="101"/>
                    <a:pt x="15" y="101"/>
                  </a:cubicBezTo>
                  <a:cubicBezTo>
                    <a:pt x="15" y="101"/>
                    <a:pt x="15" y="101"/>
                    <a:pt x="15" y="101"/>
                  </a:cubicBezTo>
                  <a:cubicBezTo>
                    <a:pt x="15" y="100"/>
                    <a:pt x="15" y="99"/>
                    <a:pt x="14" y="97"/>
                  </a:cubicBezTo>
                  <a:cubicBezTo>
                    <a:pt x="14" y="96"/>
                    <a:pt x="14" y="95"/>
                    <a:pt x="15" y="94"/>
                  </a:cubicBezTo>
                  <a:cubicBezTo>
                    <a:pt x="15" y="93"/>
                    <a:pt x="15" y="93"/>
                    <a:pt x="16" y="92"/>
                  </a:cubicBezTo>
                  <a:cubicBezTo>
                    <a:pt x="16" y="89"/>
                    <a:pt x="17" y="87"/>
                    <a:pt x="19" y="86"/>
                  </a:cubicBezTo>
                  <a:cubicBezTo>
                    <a:pt x="20" y="85"/>
                    <a:pt x="20" y="85"/>
                    <a:pt x="20" y="85"/>
                  </a:cubicBezTo>
                  <a:cubicBezTo>
                    <a:pt x="20" y="85"/>
                    <a:pt x="21" y="84"/>
                    <a:pt x="21" y="84"/>
                  </a:cubicBezTo>
                  <a:cubicBezTo>
                    <a:pt x="23" y="84"/>
                    <a:pt x="25" y="83"/>
                    <a:pt x="27" y="83"/>
                  </a:cubicBezTo>
                  <a:cubicBezTo>
                    <a:pt x="27" y="83"/>
                    <a:pt x="27" y="83"/>
                    <a:pt x="27" y="83"/>
                  </a:cubicBezTo>
                  <a:cubicBezTo>
                    <a:pt x="28" y="83"/>
                    <a:pt x="28" y="83"/>
                    <a:pt x="29" y="83"/>
                  </a:cubicBezTo>
                  <a:cubicBezTo>
                    <a:pt x="31" y="82"/>
                    <a:pt x="31" y="82"/>
                    <a:pt x="32" y="81"/>
                  </a:cubicBezTo>
                  <a:cubicBezTo>
                    <a:pt x="32" y="80"/>
                    <a:pt x="32" y="80"/>
                    <a:pt x="32" y="79"/>
                  </a:cubicBezTo>
                  <a:cubicBezTo>
                    <a:pt x="33" y="78"/>
                    <a:pt x="34" y="75"/>
                    <a:pt x="36" y="74"/>
                  </a:cubicBezTo>
                  <a:cubicBezTo>
                    <a:pt x="37" y="74"/>
                    <a:pt x="37" y="74"/>
                    <a:pt x="37" y="74"/>
                  </a:cubicBezTo>
                  <a:cubicBezTo>
                    <a:pt x="38" y="74"/>
                    <a:pt x="38" y="74"/>
                    <a:pt x="39" y="75"/>
                  </a:cubicBezTo>
                  <a:cubicBezTo>
                    <a:pt x="39" y="75"/>
                    <a:pt x="40" y="75"/>
                    <a:pt x="40" y="75"/>
                  </a:cubicBezTo>
                  <a:cubicBezTo>
                    <a:pt x="41" y="75"/>
                    <a:pt x="41" y="75"/>
                    <a:pt x="41" y="75"/>
                  </a:cubicBezTo>
                  <a:cubicBezTo>
                    <a:pt x="41" y="73"/>
                    <a:pt x="43" y="71"/>
                    <a:pt x="44" y="70"/>
                  </a:cubicBezTo>
                  <a:cubicBezTo>
                    <a:pt x="45" y="70"/>
                    <a:pt x="45" y="69"/>
                    <a:pt x="46" y="68"/>
                  </a:cubicBezTo>
                  <a:cubicBezTo>
                    <a:pt x="47" y="67"/>
                    <a:pt x="47" y="67"/>
                    <a:pt x="47" y="67"/>
                  </a:cubicBezTo>
                  <a:cubicBezTo>
                    <a:pt x="49" y="68"/>
                    <a:pt x="49" y="68"/>
                    <a:pt x="49" y="68"/>
                  </a:cubicBezTo>
                  <a:cubicBezTo>
                    <a:pt x="49" y="69"/>
                    <a:pt x="50" y="69"/>
                    <a:pt x="50" y="69"/>
                  </a:cubicBezTo>
                  <a:cubicBezTo>
                    <a:pt x="51" y="70"/>
                    <a:pt x="51" y="70"/>
                    <a:pt x="51" y="70"/>
                  </a:cubicBezTo>
                  <a:cubicBezTo>
                    <a:pt x="52" y="71"/>
                    <a:pt x="53" y="73"/>
                    <a:pt x="54" y="73"/>
                  </a:cubicBezTo>
                  <a:cubicBezTo>
                    <a:pt x="55" y="74"/>
                    <a:pt x="55" y="74"/>
                    <a:pt x="55" y="74"/>
                  </a:cubicBezTo>
                  <a:cubicBezTo>
                    <a:pt x="56" y="74"/>
                    <a:pt x="56" y="74"/>
                    <a:pt x="56" y="74"/>
                  </a:cubicBezTo>
                  <a:cubicBezTo>
                    <a:pt x="56" y="74"/>
                    <a:pt x="56" y="73"/>
                    <a:pt x="57" y="73"/>
                  </a:cubicBezTo>
                  <a:cubicBezTo>
                    <a:pt x="58" y="73"/>
                    <a:pt x="59" y="74"/>
                    <a:pt x="60" y="75"/>
                  </a:cubicBezTo>
                  <a:cubicBezTo>
                    <a:pt x="61" y="77"/>
                    <a:pt x="61" y="77"/>
                    <a:pt x="61" y="77"/>
                  </a:cubicBezTo>
                  <a:cubicBezTo>
                    <a:pt x="62" y="78"/>
                    <a:pt x="62" y="78"/>
                    <a:pt x="62" y="78"/>
                  </a:cubicBezTo>
                  <a:cubicBezTo>
                    <a:pt x="62" y="78"/>
                    <a:pt x="62" y="78"/>
                    <a:pt x="62" y="78"/>
                  </a:cubicBezTo>
                  <a:cubicBezTo>
                    <a:pt x="62" y="79"/>
                    <a:pt x="62" y="79"/>
                    <a:pt x="62" y="79"/>
                  </a:cubicBezTo>
                  <a:cubicBezTo>
                    <a:pt x="64" y="79"/>
                    <a:pt x="66" y="79"/>
                    <a:pt x="68" y="79"/>
                  </a:cubicBezTo>
                  <a:cubicBezTo>
                    <a:pt x="68" y="79"/>
                    <a:pt x="68" y="79"/>
                    <a:pt x="68" y="79"/>
                  </a:cubicBezTo>
                  <a:cubicBezTo>
                    <a:pt x="71" y="79"/>
                    <a:pt x="74" y="81"/>
                    <a:pt x="76" y="82"/>
                  </a:cubicBezTo>
                  <a:cubicBezTo>
                    <a:pt x="80" y="84"/>
                    <a:pt x="80" y="84"/>
                    <a:pt x="80" y="84"/>
                  </a:cubicBezTo>
                  <a:cubicBezTo>
                    <a:pt x="76" y="86"/>
                    <a:pt x="76" y="86"/>
                    <a:pt x="76" y="86"/>
                  </a:cubicBezTo>
                  <a:cubicBezTo>
                    <a:pt x="76" y="86"/>
                    <a:pt x="76" y="87"/>
                    <a:pt x="76" y="88"/>
                  </a:cubicBezTo>
                  <a:cubicBezTo>
                    <a:pt x="78" y="89"/>
                    <a:pt x="79" y="90"/>
                    <a:pt x="81" y="91"/>
                  </a:cubicBezTo>
                  <a:cubicBezTo>
                    <a:pt x="83" y="94"/>
                    <a:pt x="83" y="94"/>
                    <a:pt x="83" y="94"/>
                  </a:cubicBezTo>
                  <a:cubicBezTo>
                    <a:pt x="80" y="95"/>
                    <a:pt x="80" y="95"/>
                    <a:pt x="80" y="95"/>
                  </a:cubicBezTo>
                  <a:cubicBezTo>
                    <a:pt x="80" y="95"/>
                    <a:pt x="79" y="96"/>
                    <a:pt x="79" y="96"/>
                  </a:cubicBezTo>
                  <a:cubicBezTo>
                    <a:pt x="79" y="97"/>
                    <a:pt x="79" y="97"/>
                    <a:pt x="79" y="98"/>
                  </a:cubicBezTo>
                  <a:cubicBezTo>
                    <a:pt x="79" y="98"/>
                    <a:pt x="79" y="98"/>
                    <a:pt x="79" y="98"/>
                  </a:cubicBezTo>
                  <a:cubicBezTo>
                    <a:pt x="79" y="99"/>
                    <a:pt x="79" y="99"/>
                    <a:pt x="78" y="99"/>
                  </a:cubicBezTo>
                  <a:cubicBezTo>
                    <a:pt x="78" y="100"/>
                    <a:pt x="78" y="100"/>
                    <a:pt x="78" y="100"/>
                  </a:cubicBezTo>
                  <a:cubicBezTo>
                    <a:pt x="78" y="100"/>
                    <a:pt x="78" y="100"/>
                    <a:pt x="78" y="100"/>
                  </a:cubicBezTo>
                  <a:cubicBezTo>
                    <a:pt x="79" y="101"/>
                    <a:pt x="79" y="101"/>
                    <a:pt x="79" y="101"/>
                  </a:cubicBezTo>
                  <a:cubicBezTo>
                    <a:pt x="80" y="101"/>
                    <a:pt x="80" y="102"/>
                    <a:pt x="80" y="102"/>
                  </a:cubicBezTo>
                  <a:cubicBezTo>
                    <a:pt x="81" y="102"/>
                    <a:pt x="81" y="102"/>
                    <a:pt x="81" y="102"/>
                  </a:cubicBezTo>
                  <a:cubicBezTo>
                    <a:pt x="82" y="103"/>
                    <a:pt x="83" y="103"/>
                    <a:pt x="83" y="103"/>
                  </a:cubicBezTo>
                  <a:cubicBezTo>
                    <a:pt x="84" y="103"/>
                    <a:pt x="84" y="103"/>
                    <a:pt x="85" y="103"/>
                  </a:cubicBezTo>
                  <a:cubicBezTo>
                    <a:pt x="85" y="103"/>
                    <a:pt x="86" y="103"/>
                    <a:pt x="86" y="103"/>
                  </a:cubicBezTo>
                  <a:cubicBezTo>
                    <a:pt x="87" y="103"/>
                    <a:pt x="87" y="103"/>
                    <a:pt x="87" y="103"/>
                  </a:cubicBezTo>
                  <a:cubicBezTo>
                    <a:pt x="89" y="103"/>
                    <a:pt x="92" y="103"/>
                    <a:pt x="94" y="104"/>
                  </a:cubicBezTo>
                  <a:cubicBezTo>
                    <a:pt x="94" y="104"/>
                    <a:pt x="95" y="104"/>
                    <a:pt x="96" y="104"/>
                  </a:cubicBezTo>
                  <a:cubicBezTo>
                    <a:pt x="97" y="105"/>
                    <a:pt x="97" y="105"/>
                    <a:pt x="97" y="105"/>
                  </a:cubicBezTo>
                  <a:cubicBezTo>
                    <a:pt x="98" y="104"/>
                    <a:pt x="98" y="104"/>
                    <a:pt x="98" y="104"/>
                  </a:cubicBezTo>
                  <a:cubicBezTo>
                    <a:pt x="98" y="104"/>
                    <a:pt x="99" y="103"/>
                    <a:pt x="99" y="103"/>
                  </a:cubicBezTo>
                  <a:cubicBezTo>
                    <a:pt x="100" y="102"/>
                    <a:pt x="100" y="102"/>
                    <a:pt x="101" y="102"/>
                  </a:cubicBezTo>
                  <a:cubicBezTo>
                    <a:pt x="101" y="102"/>
                    <a:pt x="102" y="102"/>
                    <a:pt x="102" y="102"/>
                  </a:cubicBezTo>
                  <a:cubicBezTo>
                    <a:pt x="105" y="102"/>
                    <a:pt x="107" y="103"/>
                    <a:pt x="109" y="105"/>
                  </a:cubicBezTo>
                  <a:cubicBezTo>
                    <a:pt x="112" y="108"/>
                    <a:pt x="114" y="113"/>
                    <a:pt x="116" y="117"/>
                  </a:cubicBezTo>
                  <a:cubicBezTo>
                    <a:pt x="116" y="118"/>
                    <a:pt x="116" y="118"/>
                    <a:pt x="116" y="118"/>
                  </a:cubicBezTo>
                  <a:cubicBezTo>
                    <a:pt x="116" y="119"/>
                    <a:pt x="117" y="120"/>
                    <a:pt x="117" y="120"/>
                  </a:cubicBezTo>
                  <a:cubicBezTo>
                    <a:pt x="117" y="121"/>
                    <a:pt x="118" y="122"/>
                    <a:pt x="119" y="122"/>
                  </a:cubicBezTo>
                  <a:cubicBezTo>
                    <a:pt x="120" y="123"/>
                    <a:pt x="121" y="124"/>
                    <a:pt x="122" y="126"/>
                  </a:cubicBezTo>
                  <a:cubicBezTo>
                    <a:pt x="122" y="127"/>
                    <a:pt x="122" y="127"/>
                    <a:pt x="122" y="127"/>
                  </a:cubicBezTo>
                  <a:cubicBezTo>
                    <a:pt x="122" y="128"/>
                    <a:pt x="122" y="128"/>
                    <a:pt x="122" y="129"/>
                  </a:cubicBezTo>
                  <a:cubicBezTo>
                    <a:pt x="122" y="129"/>
                    <a:pt x="122" y="129"/>
                    <a:pt x="122" y="129"/>
                  </a:cubicBezTo>
                  <a:cubicBezTo>
                    <a:pt x="123" y="130"/>
                    <a:pt x="123" y="131"/>
                    <a:pt x="123" y="132"/>
                  </a:cubicBezTo>
                  <a:cubicBezTo>
                    <a:pt x="124" y="133"/>
                    <a:pt x="124" y="133"/>
                    <a:pt x="124" y="133"/>
                  </a:cubicBezTo>
                  <a:cubicBezTo>
                    <a:pt x="124" y="134"/>
                    <a:pt x="126" y="135"/>
                    <a:pt x="127" y="135"/>
                  </a:cubicBezTo>
                  <a:cubicBezTo>
                    <a:pt x="128" y="136"/>
                    <a:pt x="128" y="136"/>
                    <a:pt x="129" y="137"/>
                  </a:cubicBezTo>
                  <a:cubicBezTo>
                    <a:pt x="132" y="139"/>
                    <a:pt x="132" y="139"/>
                    <a:pt x="132" y="139"/>
                  </a:cubicBezTo>
                  <a:cubicBezTo>
                    <a:pt x="133" y="140"/>
                    <a:pt x="134" y="140"/>
                    <a:pt x="135" y="141"/>
                  </a:cubicBezTo>
                  <a:cubicBezTo>
                    <a:pt x="138" y="143"/>
                    <a:pt x="141" y="146"/>
                    <a:pt x="144" y="147"/>
                  </a:cubicBezTo>
                  <a:cubicBezTo>
                    <a:pt x="145" y="148"/>
                    <a:pt x="146" y="148"/>
                    <a:pt x="147" y="149"/>
                  </a:cubicBezTo>
                  <a:cubicBezTo>
                    <a:pt x="149" y="150"/>
                    <a:pt x="149" y="150"/>
                    <a:pt x="149" y="150"/>
                  </a:cubicBezTo>
                  <a:cubicBezTo>
                    <a:pt x="153" y="152"/>
                    <a:pt x="157" y="154"/>
                    <a:pt x="160" y="157"/>
                  </a:cubicBezTo>
                  <a:cubicBezTo>
                    <a:pt x="162" y="158"/>
                    <a:pt x="165" y="160"/>
                    <a:pt x="167" y="161"/>
                  </a:cubicBezTo>
                  <a:cubicBezTo>
                    <a:pt x="170" y="162"/>
                    <a:pt x="170" y="162"/>
                    <a:pt x="170" y="162"/>
                  </a:cubicBezTo>
                  <a:cubicBezTo>
                    <a:pt x="170" y="163"/>
                    <a:pt x="171" y="163"/>
                    <a:pt x="172" y="164"/>
                  </a:cubicBezTo>
                  <a:cubicBezTo>
                    <a:pt x="173" y="165"/>
                    <a:pt x="175" y="166"/>
                    <a:pt x="176" y="167"/>
                  </a:cubicBezTo>
                  <a:cubicBezTo>
                    <a:pt x="177" y="167"/>
                    <a:pt x="177" y="167"/>
                    <a:pt x="177" y="167"/>
                  </a:cubicBezTo>
                  <a:cubicBezTo>
                    <a:pt x="178" y="168"/>
                    <a:pt x="178" y="168"/>
                    <a:pt x="179" y="169"/>
                  </a:cubicBezTo>
                  <a:cubicBezTo>
                    <a:pt x="180" y="169"/>
                    <a:pt x="180" y="169"/>
                    <a:pt x="180" y="169"/>
                  </a:cubicBezTo>
                  <a:cubicBezTo>
                    <a:pt x="181" y="170"/>
                    <a:pt x="182" y="171"/>
                    <a:pt x="183" y="171"/>
                  </a:cubicBezTo>
                  <a:cubicBezTo>
                    <a:pt x="183" y="171"/>
                    <a:pt x="183" y="171"/>
                    <a:pt x="183" y="171"/>
                  </a:cubicBezTo>
                  <a:cubicBezTo>
                    <a:pt x="184" y="170"/>
                    <a:pt x="184" y="170"/>
                    <a:pt x="184" y="170"/>
                  </a:cubicBezTo>
                  <a:cubicBezTo>
                    <a:pt x="185" y="170"/>
                    <a:pt x="185" y="170"/>
                    <a:pt x="185" y="170"/>
                  </a:cubicBezTo>
                  <a:cubicBezTo>
                    <a:pt x="185" y="170"/>
                    <a:pt x="186" y="170"/>
                    <a:pt x="186" y="170"/>
                  </a:cubicBezTo>
                  <a:cubicBezTo>
                    <a:pt x="189" y="170"/>
                    <a:pt x="191" y="171"/>
                    <a:pt x="193" y="172"/>
                  </a:cubicBezTo>
                  <a:cubicBezTo>
                    <a:pt x="193" y="172"/>
                    <a:pt x="193" y="172"/>
                    <a:pt x="193" y="172"/>
                  </a:cubicBezTo>
                  <a:cubicBezTo>
                    <a:pt x="195" y="173"/>
                    <a:pt x="196" y="174"/>
                    <a:pt x="197" y="174"/>
                  </a:cubicBezTo>
                  <a:cubicBezTo>
                    <a:pt x="202" y="176"/>
                    <a:pt x="202" y="176"/>
                    <a:pt x="202" y="176"/>
                  </a:cubicBezTo>
                  <a:cubicBezTo>
                    <a:pt x="203" y="177"/>
                    <a:pt x="203" y="179"/>
                    <a:pt x="203" y="179"/>
                  </a:cubicBezTo>
                  <a:cubicBezTo>
                    <a:pt x="203" y="180"/>
                    <a:pt x="203" y="180"/>
                    <a:pt x="203" y="180"/>
                  </a:cubicBezTo>
                  <a:cubicBezTo>
                    <a:pt x="203" y="181"/>
                    <a:pt x="203" y="182"/>
                    <a:pt x="203" y="182"/>
                  </a:cubicBezTo>
                  <a:cubicBezTo>
                    <a:pt x="203" y="183"/>
                    <a:pt x="203" y="183"/>
                    <a:pt x="203" y="183"/>
                  </a:cubicBezTo>
                  <a:cubicBezTo>
                    <a:pt x="202" y="184"/>
                    <a:pt x="202" y="184"/>
                    <a:pt x="202" y="185"/>
                  </a:cubicBezTo>
                  <a:cubicBezTo>
                    <a:pt x="202" y="189"/>
                    <a:pt x="202" y="189"/>
                    <a:pt x="202" y="189"/>
                  </a:cubicBezTo>
                  <a:cubicBezTo>
                    <a:pt x="201" y="189"/>
                    <a:pt x="201" y="189"/>
                    <a:pt x="201" y="190"/>
                  </a:cubicBezTo>
                  <a:cubicBezTo>
                    <a:pt x="204" y="190"/>
                    <a:pt x="204" y="190"/>
                    <a:pt x="204" y="190"/>
                  </a:cubicBezTo>
                  <a:cubicBezTo>
                    <a:pt x="205" y="190"/>
                    <a:pt x="206" y="190"/>
                    <a:pt x="207" y="190"/>
                  </a:cubicBezTo>
                  <a:cubicBezTo>
                    <a:pt x="209" y="190"/>
                    <a:pt x="210" y="191"/>
                    <a:pt x="212" y="193"/>
                  </a:cubicBezTo>
                  <a:cubicBezTo>
                    <a:pt x="212" y="193"/>
                    <a:pt x="212" y="193"/>
                    <a:pt x="212" y="193"/>
                  </a:cubicBezTo>
                  <a:cubicBezTo>
                    <a:pt x="213" y="194"/>
                    <a:pt x="213" y="194"/>
                    <a:pt x="213" y="194"/>
                  </a:cubicBezTo>
                  <a:cubicBezTo>
                    <a:pt x="213" y="194"/>
                    <a:pt x="213" y="194"/>
                    <a:pt x="213" y="194"/>
                  </a:cubicBezTo>
                  <a:cubicBezTo>
                    <a:pt x="213" y="194"/>
                    <a:pt x="213" y="194"/>
                    <a:pt x="213" y="194"/>
                  </a:cubicBezTo>
                  <a:cubicBezTo>
                    <a:pt x="214" y="194"/>
                    <a:pt x="214" y="194"/>
                    <a:pt x="214" y="194"/>
                  </a:cubicBezTo>
                  <a:cubicBezTo>
                    <a:pt x="214" y="194"/>
                    <a:pt x="215" y="194"/>
                    <a:pt x="216" y="194"/>
                  </a:cubicBezTo>
                  <a:cubicBezTo>
                    <a:pt x="216" y="194"/>
                    <a:pt x="217" y="194"/>
                    <a:pt x="217" y="194"/>
                  </a:cubicBezTo>
                  <a:cubicBezTo>
                    <a:pt x="218" y="194"/>
                    <a:pt x="219" y="194"/>
                    <a:pt x="220" y="194"/>
                  </a:cubicBezTo>
                  <a:cubicBezTo>
                    <a:pt x="220" y="192"/>
                    <a:pt x="220" y="192"/>
                    <a:pt x="220" y="192"/>
                  </a:cubicBezTo>
                  <a:cubicBezTo>
                    <a:pt x="221" y="193"/>
                    <a:pt x="221" y="193"/>
                    <a:pt x="221" y="193"/>
                  </a:cubicBezTo>
                  <a:cubicBezTo>
                    <a:pt x="221" y="192"/>
                    <a:pt x="221" y="192"/>
                    <a:pt x="221" y="192"/>
                  </a:cubicBezTo>
                  <a:cubicBezTo>
                    <a:pt x="221" y="191"/>
                    <a:pt x="221" y="191"/>
                    <a:pt x="221" y="191"/>
                  </a:cubicBezTo>
                  <a:cubicBezTo>
                    <a:pt x="221" y="191"/>
                    <a:pt x="221" y="191"/>
                    <a:pt x="221" y="191"/>
                  </a:cubicBezTo>
                  <a:cubicBezTo>
                    <a:pt x="221" y="190"/>
                    <a:pt x="221" y="190"/>
                    <a:pt x="221" y="189"/>
                  </a:cubicBezTo>
                  <a:cubicBezTo>
                    <a:pt x="221" y="189"/>
                    <a:pt x="221" y="189"/>
                    <a:pt x="221" y="189"/>
                  </a:cubicBezTo>
                  <a:cubicBezTo>
                    <a:pt x="221" y="188"/>
                    <a:pt x="221" y="188"/>
                    <a:pt x="221" y="188"/>
                  </a:cubicBezTo>
                  <a:cubicBezTo>
                    <a:pt x="222" y="187"/>
                    <a:pt x="223" y="186"/>
                    <a:pt x="224" y="185"/>
                  </a:cubicBezTo>
                  <a:cubicBezTo>
                    <a:pt x="225" y="184"/>
                    <a:pt x="225" y="184"/>
                    <a:pt x="225" y="184"/>
                  </a:cubicBezTo>
                  <a:cubicBezTo>
                    <a:pt x="225" y="183"/>
                    <a:pt x="225" y="183"/>
                    <a:pt x="225" y="183"/>
                  </a:cubicBezTo>
                  <a:cubicBezTo>
                    <a:pt x="226" y="182"/>
                    <a:pt x="226" y="182"/>
                    <a:pt x="226" y="182"/>
                  </a:cubicBezTo>
                  <a:cubicBezTo>
                    <a:pt x="230" y="176"/>
                    <a:pt x="231" y="175"/>
                    <a:pt x="231" y="174"/>
                  </a:cubicBezTo>
                  <a:cubicBezTo>
                    <a:pt x="231" y="174"/>
                    <a:pt x="231" y="174"/>
                    <a:pt x="231" y="174"/>
                  </a:cubicBezTo>
                  <a:cubicBezTo>
                    <a:pt x="230" y="173"/>
                    <a:pt x="230" y="173"/>
                    <a:pt x="230" y="173"/>
                  </a:cubicBezTo>
                  <a:cubicBezTo>
                    <a:pt x="230" y="173"/>
                    <a:pt x="229" y="172"/>
                    <a:pt x="229" y="172"/>
                  </a:cubicBezTo>
                  <a:cubicBezTo>
                    <a:pt x="228" y="171"/>
                    <a:pt x="228" y="171"/>
                    <a:pt x="228" y="171"/>
                  </a:cubicBezTo>
                  <a:cubicBezTo>
                    <a:pt x="228" y="171"/>
                    <a:pt x="228" y="171"/>
                    <a:pt x="228" y="171"/>
                  </a:cubicBezTo>
                  <a:cubicBezTo>
                    <a:pt x="227" y="170"/>
                    <a:pt x="227" y="169"/>
                    <a:pt x="226" y="168"/>
                  </a:cubicBezTo>
                  <a:cubicBezTo>
                    <a:pt x="226" y="167"/>
                    <a:pt x="226" y="167"/>
                    <a:pt x="226" y="166"/>
                  </a:cubicBezTo>
                  <a:cubicBezTo>
                    <a:pt x="227" y="163"/>
                    <a:pt x="227" y="163"/>
                    <a:pt x="227" y="163"/>
                  </a:cubicBezTo>
                  <a:cubicBezTo>
                    <a:pt x="228" y="160"/>
                    <a:pt x="227" y="159"/>
                    <a:pt x="227" y="159"/>
                  </a:cubicBezTo>
                  <a:cubicBezTo>
                    <a:pt x="227" y="159"/>
                    <a:pt x="225" y="158"/>
                    <a:pt x="224" y="158"/>
                  </a:cubicBezTo>
                  <a:cubicBezTo>
                    <a:pt x="220" y="158"/>
                    <a:pt x="219" y="158"/>
                    <a:pt x="216" y="155"/>
                  </a:cubicBezTo>
                  <a:cubicBezTo>
                    <a:pt x="216" y="154"/>
                    <a:pt x="216" y="154"/>
                    <a:pt x="216" y="154"/>
                  </a:cubicBezTo>
                  <a:cubicBezTo>
                    <a:pt x="215" y="154"/>
                    <a:pt x="215" y="154"/>
                    <a:pt x="215" y="154"/>
                  </a:cubicBezTo>
                  <a:cubicBezTo>
                    <a:pt x="214" y="153"/>
                    <a:pt x="214" y="153"/>
                    <a:pt x="214" y="153"/>
                  </a:cubicBezTo>
                  <a:cubicBezTo>
                    <a:pt x="213" y="151"/>
                    <a:pt x="212" y="150"/>
                    <a:pt x="212" y="148"/>
                  </a:cubicBezTo>
                  <a:cubicBezTo>
                    <a:pt x="212" y="148"/>
                    <a:pt x="212" y="148"/>
                    <a:pt x="212" y="148"/>
                  </a:cubicBezTo>
                  <a:cubicBezTo>
                    <a:pt x="213" y="145"/>
                    <a:pt x="214" y="144"/>
                    <a:pt x="216" y="142"/>
                  </a:cubicBezTo>
                  <a:cubicBezTo>
                    <a:pt x="217" y="142"/>
                    <a:pt x="217" y="142"/>
                    <a:pt x="217" y="142"/>
                  </a:cubicBezTo>
                  <a:cubicBezTo>
                    <a:pt x="218" y="141"/>
                    <a:pt x="219" y="140"/>
                    <a:pt x="220" y="140"/>
                  </a:cubicBezTo>
                  <a:cubicBezTo>
                    <a:pt x="220" y="140"/>
                    <a:pt x="220" y="140"/>
                    <a:pt x="220" y="140"/>
                  </a:cubicBezTo>
                  <a:cubicBezTo>
                    <a:pt x="220" y="140"/>
                    <a:pt x="221" y="140"/>
                    <a:pt x="222" y="140"/>
                  </a:cubicBezTo>
                  <a:cubicBezTo>
                    <a:pt x="222" y="140"/>
                    <a:pt x="223" y="140"/>
                    <a:pt x="224" y="140"/>
                  </a:cubicBezTo>
                  <a:cubicBezTo>
                    <a:pt x="226" y="140"/>
                    <a:pt x="228" y="141"/>
                    <a:pt x="230" y="141"/>
                  </a:cubicBezTo>
                  <a:cubicBezTo>
                    <a:pt x="231" y="141"/>
                    <a:pt x="232" y="141"/>
                    <a:pt x="233" y="141"/>
                  </a:cubicBezTo>
                  <a:cubicBezTo>
                    <a:pt x="234" y="141"/>
                    <a:pt x="234" y="141"/>
                    <a:pt x="234" y="141"/>
                  </a:cubicBezTo>
                  <a:cubicBezTo>
                    <a:pt x="234" y="141"/>
                    <a:pt x="234" y="141"/>
                    <a:pt x="234" y="141"/>
                  </a:cubicBezTo>
                  <a:cubicBezTo>
                    <a:pt x="235" y="141"/>
                    <a:pt x="235" y="141"/>
                    <a:pt x="235" y="141"/>
                  </a:cubicBezTo>
                  <a:cubicBezTo>
                    <a:pt x="235" y="141"/>
                    <a:pt x="235" y="140"/>
                    <a:pt x="236" y="138"/>
                  </a:cubicBezTo>
                  <a:cubicBezTo>
                    <a:pt x="236" y="137"/>
                    <a:pt x="236" y="137"/>
                    <a:pt x="236" y="137"/>
                  </a:cubicBezTo>
                  <a:cubicBezTo>
                    <a:pt x="236" y="136"/>
                    <a:pt x="237" y="135"/>
                    <a:pt x="238" y="134"/>
                  </a:cubicBezTo>
                  <a:cubicBezTo>
                    <a:pt x="238" y="133"/>
                    <a:pt x="239" y="133"/>
                    <a:pt x="239" y="133"/>
                  </a:cubicBezTo>
                  <a:cubicBezTo>
                    <a:pt x="238" y="132"/>
                    <a:pt x="237" y="132"/>
                    <a:pt x="236" y="130"/>
                  </a:cubicBezTo>
                  <a:cubicBezTo>
                    <a:pt x="235" y="127"/>
                    <a:pt x="235" y="127"/>
                    <a:pt x="235" y="127"/>
                  </a:cubicBezTo>
                  <a:cubicBezTo>
                    <a:pt x="245" y="126"/>
                    <a:pt x="245" y="126"/>
                    <a:pt x="245" y="126"/>
                  </a:cubicBezTo>
                  <a:cubicBezTo>
                    <a:pt x="246" y="126"/>
                    <a:pt x="246" y="126"/>
                    <a:pt x="246" y="126"/>
                  </a:cubicBezTo>
                  <a:cubicBezTo>
                    <a:pt x="247" y="126"/>
                    <a:pt x="247" y="126"/>
                    <a:pt x="248" y="126"/>
                  </a:cubicBezTo>
                  <a:cubicBezTo>
                    <a:pt x="247" y="124"/>
                    <a:pt x="247" y="122"/>
                    <a:pt x="247" y="120"/>
                  </a:cubicBezTo>
                  <a:cubicBezTo>
                    <a:pt x="248" y="119"/>
                    <a:pt x="248" y="118"/>
                    <a:pt x="249" y="117"/>
                  </a:cubicBezTo>
                  <a:cubicBezTo>
                    <a:pt x="249" y="116"/>
                    <a:pt x="249" y="116"/>
                    <a:pt x="249" y="116"/>
                  </a:cubicBezTo>
                  <a:cubicBezTo>
                    <a:pt x="250" y="115"/>
                    <a:pt x="250" y="115"/>
                    <a:pt x="250" y="115"/>
                  </a:cubicBezTo>
                  <a:cubicBezTo>
                    <a:pt x="250" y="114"/>
                    <a:pt x="250" y="114"/>
                    <a:pt x="250" y="114"/>
                  </a:cubicBezTo>
                  <a:cubicBezTo>
                    <a:pt x="252" y="114"/>
                    <a:pt x="252" y="114"/>
                    <a:pt x="252" y="114"/>
                  </a:cubicBezTo>
                  <a:cubicBezTo>
                    <a:pt x="252" y="114"/>
                    <a:pt x="252" y="114"/>
                    <a:pt x="252" y="114"/>
                  </a:cubicBezTo>
                  <a:cubicBezTo>
                    <a:pt x="253" y="114"/>
                    <a:pt x="253" y="114"/>
                    <a:pt x="253" y="114"/>
                  </a:cubicBezTo>
                  <a:cubicBezTo>
                    <a:pt x="253" y="114"/>
                    <a:pt x="253" y="114"/>
                    <a:pt x="253" y="114"/>
                  </a:cubicBezTo>
                  <a:cubicBezTo>
                    <a:pt x="254" y="114"/>
                    <a:pt x="254" y="114"/>
                    <a:pt x="255" y="115"/>
                  </a:cubicBezTo>
                  <a:cubicBezTo>
                    <a:pt x="255" y="115"/>
                    <a:pt x="255" y="115"/>
                    <a:pt x="255" y="115"/>
                  </a:cubicBezTo>
                  <a:cubicBezTo>
                    <a:pt x="256" y="115"/>
                    <a:pt x="256" y="115"/>
                    <a:pt x="256" y="115"/>
                  </a:cubicBezTo>
                  <a:cubicBezTo>
                    <a:pt x="256" y="115"/>
                    <a:pt x="257" y="116"/>
                    <a:pt x="257" y="116"/>
                  </a:cubicBezTo>
                  <a:cubicBezTo>
                    <a:pt x="258" y="116"/>
                    <a:pt x="258" y="116"/>
                    <a:pt x="258" y="116"/>
                  </a:cubicBezTo>
                  <a:cubicBezTo>
                    <a:pt x="259" y="116"/>
                    <a:pt x="259" y="116"/>
                    <a:pt x="259" y="116"/>
                  </a:cubicBezTo>
                  <a:cubicBezTo>
                    <a:pt x="259" y="116"/>
                    <a:pt x="259" y="116"/>
                    <a:pt x="259" y="116"/>
                  </a:cubicBezTo>
                  <a:cubicBezTo>
                    <a:pt x="259" y="116"/>
                    <a:pt x="260" y="116"/>
                    <a:pt x="260" y="116"/>
                  </a:cubicBezTo>
                  <a:cubicBezTo>
                    <a:pt x="261" y="115"/>
                    <a:pt x="262" y="115"/>
                    <a:pt x="263" y="114"/>
                  </a:cubicBezTo>
                  <a:cubicBezTo>
                    <a:pt x="263" y="114"/>
                    <a:pt x="263" y="114"/>
                    <a:pt x="263" y="114"/>
                  </a:cubicBezTo>
                  <a:cubicBezTo>
                    <a:pt x="264" y="114"/>
                    <a:pt x="264" y="114"/>
                    <a:pt x="264" y="114"/>
                  </a:cubicBezTo>
                  <a:cubicBezTo>
                    <a:pt x="265" y="114"/>
                    <a:pt x="266" y="113"/>
                    <a:pt x="267" y="112"/>
                  </a:cubicBezTo>
                  <a:cubicBezTo>
                    <a:pt x="267" y="112"/>
                    <a:pt x="267" y="112"/>
                    <a:pt x="267" y="112"/>
                  </a:cubicBezTo>
                  <a:cubicBezTo>
                    <a:pt x="268" y="111"/>
                    <a:pt x="268" y="111"/>
                    <a:pt x="269" y="111"/>
                  </a:cubicBezTo>
                  <a:cubicBezTo>
                    <a:pt x="269" y="110"/>
                    <a:pt x="269" y="110"/>
                    <a:pt x="270" y="110"/>
                  </a:cubicBezTo>
                  <a:cubicBezTo>
                    <a:pt x="270" y="109"/>
                    <a:pt x="271" y="109"/>
                    <a:pt x="271" y="108"/>
                  </a:cubicBezTo>
                  <a:cubicBezTo>
                    <a:pt x="272" y="108"/>
                    <a:pt x="272" y="108"/>
                    <a:pt x="272" y="108"/>
                  </a:cubicBezTo>
                  <a:cubicBezTo>
                    <a:pt x="273" y="107"/>
                    <a:pt x="273" y="107"/>
                    <a:pt x="273" y="107"/>
                  </a:cubicBezTo>
                  <a:cubicBezTo>
                    <a:pt x="283" y="118"/>
                    <a:pt x="283" y="118"/>
                    <a:pt x="283" y="118"/>
                  </a:cubicBezTo>
                  <a:cubicBezTo>
                    <a:pt x="281" y="119"/>
                    <a:pt x="281" y="119"/>
                    <a:pt x="281" y="119"/>
                  </a:cubicBezTo>
                  <a:cubicBezTo>
                    <a:pt x="279" y="121"/>
                    <a:pt x="277" y="122"/>
                    <a:pt x="275" y="124"/>
                  </a:cubicBezTo>
                  <a:cubicBezTo>
                    <a:pt x="276" y="125"/>
                    <a:pt x="277" y="125"/>
                    <a:pt x="278" y="126"/>
                  </a:cubicBezTo>
                  <a:cubicBezTo>
                    <a:pt x="278" y="126"/>
                    <a:pt x="279" y="126"/>
                    <a:pt x="280" y="126"/>
                  </a:cubicBezTo>
                  <a:cubicBezTo>
                    <a:pt x="280" y="126"/>
                    <a:pt x="280" y="126"/>
                    <a:pt x="280" y="126"/>
                  </a:cubicBezTo>
                  <a:cubicBezTo>
                    <a:pt x="281" y="126"/>
                    <a:pt x="281" y="126"/>
                    <a:pt x="282" y="126"/>
                  </a:cubicBezTo>
                  <a:cubicBezTo>
                    <a:pt x="283" y="125"/>
                    <a:pt x="283" y="125"/>
                    <a:pt x="283" y="125"/>
                  </a:cubicBezTo>
                  <a:cubicBezTo>
                    <a:pt x="283" y="125"/>
                    <a:pt x="283" y="125"/>
                    <a:pt x="283" y="125"/>
                  </a:cubicBezTo>
                  <a:cubicBezTo>
                    <a:pt x="284" y="125"/>
                    <a:pt x="284" y="125"/>
                    <a:pt x="285" y="125"/>
                  </a:cubicBezTo>
                  <a:cubicBezTo>
                    <a:pt x="285" y="125"/>
                    <a:pt x="285" y="125"/>
                    <a:pt x="285" y="125"/>
                  </a:cubicBezTo>
                  <a:cubicBezTo>
                    <a:pt x="286" y="125"/>
                    <a:pt x="288" y="124"/>
                    <a:pt x="289" y="124"/>
                  </a:cubicBezTo>
                  <a:cubicBezTo>
                    <a:pt x="290" y="124"/>
                    <a:pt x="290" y="124"/>
                    <a:pt x="290" y="124"/>
                  </a:cubicBezTo>
                  <a:cubicBezTo>
                    <a:pt x="291" y="124"/>
                    <a:pt x="291" y="125"/>
                    <a:pt x="292" y="125"/>
                  </a:cubicBezTo>
                  <a:cubicBezTo>
                    <a:pt x="292" y="125"/>
                    <a:pt x="293" y="125"/>
                    <a:pt x="294" y="126"/>
                  </a:cubicBezTo>
                  <a:cubicBezTo>
                    <a:pt x="294" y="126"/>
                    <a:pt x="295" y="126"/>
                    <a:pt x="296" y="127"/>
                  </a:cubicBezTo>
                  <a:cubicBezTo>
                    <a:pt x="297" y="127"/>
                    <a:pt x="297" y="127"/>
                    <a:pt x="298" y="127"/>
                  </a:cubicBezTo>
                  <a:cubicBezTo>
                    <a:pt x="298" y="127"/>
                    <a:pt x="299" y="127"/>
                    <a:pt x="300" y="127"/>
                  </a:cubicBezTo>
                  <a:cubicBezTo>
                    <a:pt x="300" y="127"/>
                    <a:pt x="300" y="127"/>
                    <a:pt x="300" y="127"/>
                  </a:cubicBezTo>
                  <a:cubicBezTo>
                    <a:pt x="301" y="126"/>
                    <a:pt x="301" y="126"/>
                    <a:pt x="301" y="126"/>
                  </a:cubicBezTo>
                  <a:cubicBezTo>
                    <a:pt x="301" y="126"/>
                    <a:pt x="301" y="126"/>
                    <a:pt x="301" y="126"/>
                  </a:cubicBezTo>
                  <a:cubicBezTo>
                    <a:pt x="301" y="125"/>
                    <a:pt x="301" y="125"/>
                    <a:pt x="302" y="124"/>
                  </a:cubicBezTo>
                  <a:cubicBezTo>
                    <a:pt x="302" y="123"/>
                    <a:pt x="303" y="123"/>
                    <a:pt x="303" y="122"/>
                  </a:cubicBezTo>
                  <a:cubicBezTo>
                    <a:pt x="304" y="122"/>
                    <a:pt x="304" y="122"/>
                    <a:pt x="304" y="122"/>
                  </a:cubicBezTo>
                  <a:cubicBezTo>
                    <a:pt x="305" y="121"/>
                    <a:pt x="305" y="121"/>
                    <a:pt x="305" y="121"/>
                  </a:cubicBezTo>
                  <a:cubicBezTo>
                    <a:pt x="305" y="121"/>
                    <a:pt x="305" y="121"/>
                    <a:pt x="305" y="121"/>
                  </a:cubicBezTo>
                  <a:cubicBezTo>
                    <a:pt x="305" y="122"/>
                    <a:pt x="305" y="122"/>
                    <a:pt x="305" y="122"/>
                  </a:cubicBezTo>
                  <a:cubicBezTo>
                    <a:pt x="305" y="121"/>
                    <a:pt x="305" y="121"/>
                    <a:pt x="305" y="121"/>
                  </a:cubicBezTo>
                  <a:cubicBezTo>
                    <a:pt x="306" y="121"/>
                    <a:pt x="306" y="121"/>
                    <a:pt x="306" y="121"/>
                  </a:cubicBezTo>
                  <a:cubicBezTo>
                    <a:pt x="306" y="121"/>
                    <a:pt x="306" y="121"/>
                    <a:pt x="306" y="121"/>
                  </a:cubicBezTo>
                  <a:cubicBezTo>
                    <a:pt x="307" y="121"/>
                    <a:pt x="307" y="121"/>
                    <a:pt x="307" y="121"/>
                  </a:cubicBezTo>
                  <a:cubicBezTo>
                    <a:pt x="307" y="121"/>
                    <a:pt x="307" y="121"/>
                    <a:pt x="307" y="121"/>
                  </a:cubicBezTo>
                  <a:cubicBezTo>
                    <a:pt x="307" y="120"/>
                    <a:pt x="307" y="120"/>
                    <a:pt x="307" y="120"/>
                  </a:cubicBezTo>
                  <a:cubicBezTo>
                    <a:pt x="307" y="119"/>
                    <a:pt x="308" y="118"/>
                    <a:pt x="309" y="118"/>
                  </a:cubicBezTo>
                  <a:cubicBezTo>
                    <a:pt x="310" y="118"/>
                    <a:pt x="310" y="118"/>
                    <a:pt x="310" y="118"/>
                  </a:cubicBezTo>
                  <a:cubicBezTo>
                    <a:pt x="310" y="118"/>
                    <a:pt x="310" y="118"/>
                    <a:pt x="310" y="118"/>
                  </a:cubicBezTo>
                  <a:cubicBezTo>
                    <a:pt x="311" y="118"/>
                    <a:pt x="311" y="118"/>
                    <a:pt x="312" y="118"/>
                  </a:cubicBezTo>
                  <a:cubicBezTo>
                    <a:pt x="312" y="118"/>
                    <a:pt x="312" y="118"/>
                    <a:pt x="312" y="118"/>
                  </a:cubicBezTo>
                  <a:cubicBezTo>
                    <a:pt x="313" y="118"/>
                    <a:pt x="313" y="119"/>
                    <a:pt x="313" y="119"/>
                  </a:cubicBezTo>
                  <a:cubicBezTo>
                    <a:pt x="314" y="119"/>
                    <a:pt x="314" y="119"/>
                    <a:pt x="314" y="119"/>
                  </a:cubicBezTo>
                  <a:cubicBezTo>
                    <a:pt x="315" y="119"/>
                    <a:pt x="315" y="119"/>
                    <a:pt x="315" y="119"/>
                  </a:cubicBezTo>
                  <a:cubicBezTo>
                    <a:pt x="315" y="119"/>
                    <a:pt x="315" y="119"/>
                    <a:pt x="315" y="119"/>
                  </a:cubicBezTo>
                  <a:cubicBezTo>
                    <a:pt x="315" y="118"/>
                    <a:pt x="316" y="118"/>
                    <a:pt x="316" y="117"/>
                  </a:cubicBezTo>
                  <a:cubicBezTo>
                    <a:pt x="317" y="117"/>
                    <a:pt x="317" y="117"/>
                    <a:pt x="317" y="117"/>
                  </a:cubicBezTo>
                  <a:cubicBezTo>
                    <a:pt x="317" y="116"/>
                    <a:pt x="317" y="116"/>
                    <a:pt x="317" y="116"/>
                  </a:cubicBezTo>
                  <a:cubicBezTo>
                    <a:pt x="315" y="116"/>
                    <a:pt x="314" y="116"/>
                    <a:pt x="313" y="115"/>
                  </a:cubicBezTo>
                  <a:cubicBezTo>
                    <a:pt x="313" y="115"/>
                    <a:pt x="313" y="115"/>
                    <a:pt x="313" y="115"/>
                  </a:cubicBezTo>
                  <a:cubicBezTo>
                    <a:pt x="312" y="115"/>
                    <a:pt x="312" y="115"/>
                    <a:pt x="312" y="115"/>
                  </a:cubicBezTo>
                  <a:cubicBezTo>
                    <a:pt x="312" y="114"/>
                    <a:pt x="312" y="114"/>
                    <a:pt x="312" y="114"/>
                  </a:cubicBezTo>
                  <a:cubicBezTo>
                    <a:pt x="311" y="114"/>
                    <a:pt x="311" y="114"/>
                    <a:pt x="311" y="114"/>
                  </a:cubicBezTo>
                  <a:cubicBezTo>
                    <a:pt x="310" y="113"/>
                    <a:pt x="310" y="113"/>
                    <a:pt x="310" y="113"/>
                  </a:cubicBezTo>
                  <a:cubicBezTo>
                    <a:pt x="309" y="116"/>
                    <a:pt x="309" y="116"/>
                    <a:pt x="309" y="116"/>
                  </a:cubicBezTo>
                  <a:cubicBezTo>
                    <a:pt x="309" y="113"/>
                    <a:pt x="309" y="113"/>
                    <a:pt x="309" y="113"/>
                  </a:cubicBezTo>
                  <a:cubicBezTo>
                    <a:pt x="309" y="113"/>
                    <a:pt x="309" y="113"/>
                    <a:pt x="309" y="113"/>
                  </a:cubicBezTo>
                  <a:cubicBezTo>
                    <a:pt x="309" y="113"/>
                    <a:pt x="308" y="113"/>
                    <a:pt x="308" y="113"/>
                  </a:cubicBezTo>
                  <a:cubicBezTo>
                    <a:pt x="308" y="113"/>
                    <a:pt x="308" y="113"/>
                    <a:pt x="308" y="113"/>
                  </a:cubicBezTo>
                  <a:cubicBezTo>
                    <a:pt x="307" y="113"/>
                    <a:pt x="307" y="113"/>
                    <a:pt x="307" y="113"/>
                  </a:cubicBezTo>
                  <a:cubicBezTo>
                    <a:pt x="304" y="114"/>
                    <a:pt x="304" y="114"/>
                    <a:pt x="304" y="114"/>
                  </a:cubicBezTo>
                  <a:cubicBezTo>
                    <a:pt x="304" y="111"/>
                    <a:pt x="304" y="111"/>
                    <a:pt x="304" y="111"/>
                  </a:cubicBezTo>
                  <a:cubicBezTo>
                    <a:pt x="304" y="111"/>
                    <a:pt x="304" y="110"/>
                    <a:pt x="304" y="110"/>
                  </a:cubicBezTo>
                  <a:cubicBezTo>
                    <a:pt x="304" y="109"/>
                    <a:pt x="304" y="109"/>
                    <a:pt x="304" y="109"/>
                  </a:cubicBezTo>
                  <a:cubicBezTo>
                    <a:pt x="303" y="109"/>
                    <a:pt x="303" y="109"/>
                    <a:pt x="303" y="109"/>
                  </a:cubicBezTo>
                  <a:cubicBezTo>
                    <a:pt x="303" y="109"/>
                    <a:pt x="303" y="109"/>
                    <a:pt x="303" y="109"/>
                  </a:cubicBezTo>
                  <a:cubicBezTo>
                    <a:pt x="302" y="109"/>
                    <a:pt x="302" y="109"/>
                    <a:pt x="302" y="109"/>
                  </a:cubicBezTo>
                  <a:cubicBezTo>
                    <a:pt x="301" y="109"/>
                    <a:pt x="300" y="108"/>
                    <a:pt x="300" y="108"/>
                  </a:cubicBezTo>
                  <a:cubicBezTo>
                    <a:pt x="299" y="107"/>
                    <a:pt x="299" y="106"/>
                    <a:pt x="299" y="106"/>
                  </a:cubicBezTo>
                  <a:cubicBezTo>
                    <a:pt x="298" y="105"/>
                    <a:pt x="298" y="104"/>
                    <a:pt x="297" y="104"/>
                  </a:cubicBezTo>
                  <a:cubicBezTo>
                    <a:pt x="297" y="106"/>
                    <a:pt x="297" y="106"/>
                    <a:pt x="297" y="106"/>
                  </a:cubicBezTo>
                  <a:cubicBezTo>
                    <a:pt x="295" y="106"/>
                    <a:pt x="295" y="106"/>
                    <a:pt x="295" y="106"/>
                  </a:cubicBezTo>
                  <a:cubicBezTo>
                    <a:pt x="294" y="106"/>
                    <a:pt x="294" y="106"/>
                    <a:pt x="294" y="106"/>
                  </a:cubicBezTo>
                  <a:cubicBezTo>
                    <a:pt x="294" y="107"/>
                    <a:pt x="294" y="107"/>
                    <a:pt x="294" y="107"/>
                  </a:cubicBezTo>
                  <a:cubicBezTo>
                    <a:pt x="294" y="107"/>
                    <a:pt x="294" y="108"/>
                    <a:pt x="294" y="108"/>
                  </a:cubicBezTo>
                  <a:cubicBezTo>
                    <a:pt x="294" y="111"/>
                    <a:pt x="294" y="111"/>
                    <a:pt x="294" y="111"/>
                  </a:cubicBezTo>
                  <a:cubicBezTo>
                    <a:pt x="291" y="110"/>
                    <a:pt x="291" y="110"/>
                    <a:pt x="291" y="110"/>
                  </a:cubicBezTo>
                  <a:cubicBezTo>
                    <a:pt x="291" y="110"/>
                    <a:pt x="291" y="110"/>
                    <a:pt x="290" y="110"/>
                  </a:cubicBezTo>
                  <a:cubicBezTo>
                    <a:pt x="290" y="110"/>
                    <a:pt x="290" y="110"/>
                    <a:pt x="289" y="110"/>
                  </a:cubicBezTo>
                  <a:cubicBezTo>
                    <a:pt x="288" y="110"/>
                    <a:pt x="288" y="110"/>
                    <a:pt x="288" y="110"/>
                  </a:cubicBezTo>
                  <a:cubicBezTo>
                    <a:pt x="288" y="110"/>
                    <a:pt x="287" y="110"/>
                    <a:pt x="287" y="110"/>
                  </a:cubicBezTo>
                  <a:cubicBezTo>
                    <a:pt x="285" y="109"/>
                    <a:pt x="282" y="109"/>
                    <a:pt x="280" y="108"/>
                  </a:cubicBezTo>
                  <a:cubicBezTo>
                    <a:pt x="277" y="107"/>
                    <a:pt x="277" y="105"/>
                    <a:pt x="276" y="104"/>
                  </a:cubicBezTo>
                  <a:cubicBezTo>
                    <a:pt x="276" y="103"/>
                    <a:pt x="276" y="103"/>
                    <a:pt x="276" y="103"/>
                  </a:cubicBezTo>
                  <a:cubicBezTo>
                    <a:pt x="275" y="104"/>
                    <a:pt x="275" y="104"/>
                    <a:pt x="275" y="104"/>
                  </a:cubicBezTo>
                  <a:cubicBezTo>
                    <a:pt x="275" y="104"/>
                    <a:pt x="274" y="104"/>
                    <a:pt x="274" y="104"/>
                  </a:cubicBezTo>
                  <a:cubicBezTo>
                    <a:pt x="273" y="104"/>
                    <a:pt x="272" y="103"/>
                    <a:pt x="271" y="102"/>
                  </a:cubicBezTo>
                  <a:cubicBezTo>
                    <a:pt x="271" y="102"/>
                    <a:pt x="271" y="102"/>
                    <a:pt x="271" y="102"/>
                  </a:cubicBezTo>
                  <a:cubicBezTo>
                    <a:pt x="270" y="102"/>
                    <a:pt x="270" y="102"/>
                    <a:pt x="270" y="102"/>
                  </a:cubicBezTo>
                  <a:cubicBezTo>
                    <a:pt x="270" y="102"/>
                    <a:pt x="270" y="102"/>
                    <a:pt x="270" y="102"/>
                  </a:cubicBezTo>
                  <a:cubicBezTo>
                    <a:pt x="269" y="102"/>
                    <a:pt x="269" y="102"/>
                    <a:pt x="269" y="102"/>
                  </a:cubicBezTo>
                  <a:cubicBezTo>
                    <a:pt x="269" y="102"/>
                    <a:pt x="268" y="102"/>
                    <a:pt x="268" y="101"/>
                  </a:cubicBezTo>
                  <a:cubicBezTo>
                    <a:pt x="267" y="101"/>
                    <a:pt x="267" y="101"/>
                    <a:pt x="267" y="101"/>
                  </a:cubicBezTo>
                  <a:cubicBezTo>
                    <a:pt x="267" y="101"/>
                    <a:pt x="266" y="101"/>
                    <a:pt x="266" y="100"/>
                  </a:cubicBezTo>
                  <a:cubicBezTo>
                    <a:pt x="265" y="98"/>
                    <a:pt x="267" y="96"/>
                    <a:pt x="268" y="94"/>
                  </a:cubicBezTo>
                  <a:cubicBezTo>
                    <a:pt x="270" y="93"/>
                    <a:pt x="273" y="91"/>
                    <a:pt x="276" y="89"/>
                  </a:cubicBezTo>
                  <a:cubicBezTo>
                    <a:pt x="265" y="95"/>
                    <a:pt x="265" y="95"/>
                    <a:pt x="265" y="95"/>
                  </a:cubicBezTo>
                  <a:cubicBezTo>
                    <a:pt x="262" y="96"/>
                    <a:pt x="260" y="98"/>
                    <a:pt x="257" y="100"/>
                  </a:cubicBezTo>
                  <a:cubicBezTo>
                    <a:pt x="256" y="101"/>
                    <a:pt x="256" y="101"/>
                    <a:pt x="256" y="101"/>
                  </a:cubicBezTo>
                  <a:cubicBezTo>
                    <a:pt x="255" y="102"/>
                    <a:pt x="254" y="103"/>
                    <a:pt x="252" y="104"/>
                  </a:cubicBezTo>
                  <a:cubicBezTo>
                    <a:pt x="255" y="108"/>
                    <a:pt x="255" y="108"/>
                    <a:pt x="255" y="108"/>
                  </a:cubicBezTo>
                  <a:cubicBezTo>
                    <a:pt x="251" y="104"/>
                    <a:pt x="251" y="104"/>
                    <a:pt x="251" y="104"/>
                  </a:cubicBezTo>
                  <a:cubicBezTo>
                    <a:pt x="251" y="104"/>
                    <a:pt x="251" y="104"/>
                    <a:pt x="251" y="104"/>
                  </a:cubicBezTo>
                  <a:cubicBezTo>
                    <a:pt x="250" y="105"/>
                    <a:pt x="249" y="106"/>
                    <a:pt x="248" y="107"/>
                  </a:cubicBezTo>
                  <a:cubicBezTo>
                    <a:pt x="248" y="107"/>
                    <a:pt x="248" y="108"/>
                    <a:pt x="247" y="109"/>
                  </a:cubicBezTo>
                  <a:cubicBezTo>
                    <a:pt x="244" y="110"/>
                    <a:pt x="244" y="110"/>
                    <a:pt x="244" y="110"/>
                  </a:cubicBezTo>
                  <a:cubicBezTo>
                    <a:pt x="242" y="112"/>
                    <a:pt x="241" y="113"/>
                    <a:pt x="241" y="114"/>
                  </a:cubicBezTo>
                  <a:cubicBezTo>
                    <a:pt x="241" y="115"/>
                    <a:pt x="241" y="115"/>
                    <a:pt x="241" y="115"/>
                  </a:cubicBezTo>
                  <a:cubicBezTo>
                    <a:pt x="241" y="116"/>
                    <a:pt x="241" y="116"/>
                    <a:pt x="241" y="116"/>
                  </a:cubicBezTo>
                  <a:cubicBezTo>
                    <a:pt x="241" y="118"/>
                    <a:pt x="241" y="120"/>
                    <a:pt x="239" y="121"/>
                  </a:cubicBezTo>
                  <a:cubicBezTo>
                    <a:pt x="239" y="122"/>
                    <a:pt x="238" y="122"/>
                    <a:pt x="238" y="122"/>
                  </a:cubicBezTo>
                  <a:cubicBezTo>
                    <a:pt x="237" y="122"/>
                    <a:pt x="237" y="122"/>
                    <a:pt x="237" y="122"/>
                  </a:cubicBezTo>
                  <a:cubicBezTo>
                    <a:pt x="237" y="121"/>
                    <a:pt x="237" y="121"/>
                    <a:pt x="237" y="121"/>
                  </a:cubicBezTo>
                  <a:cubicBezTo>
                    <a:pt x="237" y="122"/>
                    <a:pt x="237" y="122"/>
                    <a:pt x="237" y="122"/>
                  </a:cubicBezTo>
                  <a:cubicBezTo>
                    <a:pt x="237" y="122"/>
                    <a:pt x="237" y="122"/>
                    <a:pt x="237" y="122"/>
                  </a:cubicBezTo>
                  <a:cubicBezTo>
                    <a:pt x="236" y="122"/>
                    <a:pt x="236" y="122"/>
                    <a:pt x="236" y="122"/>
                  </a:cubicBezTo>
                  <a:cubicBezTo>
                    <a:pt x="236" y="122"/>
                    <a:pt x="236" y="122"/>
                    <a:pt x="236" y="122"/>
                  </a:cubicBezTo>
                  <a:cubicBezTo>
                    <a:pt x="236" y="121"/>
                    <a:pt x="236" y="121"/>
                    <a:pt x="236" y="121"/>
                  </a:cubicBezTo>
                  <a:cubicBezTo>
                    <a:pt x="235" y="122"/>
                    <a:pt x="235" y="122"/>
                    <a:pt x="235" y="122"/>
                  </a:cubicBezTo>
                  <a:cubicBezTo>
                    <a:pt x="235" y="122"/>
                    <a:pt x="234" y="122"/>
                    <a:pt x="234" y="122"/>
                  </a:cubicBezTo>
                  <a:cubicBezTo>
                    <a:pt x="231" y="120"/>
                    <a:pt x="228" y="119"/>
                    <a:pt x="225" y="117"/>
                  </a:cubicBezTo>
                  <a:cubicBezTo>
                    <a:pt x="223" y="115"/>
                    <a:pt x="223" y="115"/>
                    <a:pt x="223" y="115"/>
                  </a:cubicBezTo>
                  <a:cubicBezTo>
                    <a:pt x="225" y="113"/>
                    <a:pt x="225" y="113"/>
                    <a:pt x="225" y="113"/>
                  </a:cubicBezTo>
                  <a:cubicBezTo>
                    <a:pt x="225" y="113"/>
                    <a:pt x="226" y="112"/>
                    <a:pt x="226" y="112"/>
                  </a:cubicBezTo>
                  <a:cubicBezTo>
                    <a:pt x="226" y="111"/>
                    <a:pt x="226" y="111"/>
                    <a:pt x="226" y="111"/>
                  </a:cubicBezTo>
                  <a:cubicBezTo>
                    <a:pt x="226" y="111"/>
                    <a:pt x="226" y="111"/>
                    <a:pt x="226" y="111"/>
                  </a:cubicBezTo>
                  <a:cubicBezTo>
                    <a:pt x="226" y="111"/>
                    <a:pt x="226" y="111"/>
                    <a:pt x="226" y="111"/>
                  </a:cubicBezTo>
                  <a:cubicBezTo>
                    <a:pt x="225" y="110"/>
                    <a:pt x="225" y="110"/>
                    <a:pt x="225" y="110"/>
                  </a:cubicBezTo>
                  <a:cubicBezTo>
                    <a:pt x="224" y="110"/>
                    <a:pt x="224" y="109"/>
                    <a:pt x="224" y="109"/>
                  </a:cubicBezTo>
                  <a:cubicBezTo>
                    <a:pt x="223" y="109"/>
                    <a:pt x="223" y="109"/>
                    <a:pt x="223" y="109"/>
                  </a:cubicBezTo>
                  <a:cubicBezTo>
                    <a:pt x="222" y="109"/>
                    <a:pt x="221" y="109"/>
                    <a:pt x="221" y="109"/>
                  </a:cubicBezTo>
                  <a:cubicBezTo>
                    <a:pt x="220" y="109"/>
                    <a:pt x="220" y="109"/>
                    <a:pt x="220" y="109"/>
                  </a:cubicBezTo>
                  <a:cubicBezTo>
                    <a:pt x="220" y="109"/>
                    <a:pt x="220" y="109"/>
                    <a:pt x="219" y="109"/>
                  </a:cubicBezTo>
                  <a:cubicBezTo>
                    <a:pt x="203" y="110"/>
                    <a:pt x="203" y="110"/>
                    <a:pt x="203" y="110"/>
                  </a:cubicBezTo>
                  <a:cubicBezTo>
                    <a:pt x="203" y="110"/>
                    <a:pt x="203" y="110"/>
                    <a:pt x="203" y="110"/>
                  </a:cubicBezTo>
                  <a:cubicBezTo>
                    <a:pt x="201" y="109"/>
                    <a:pt x="200" y="109"/>
                    <a:pt x="200" y="108"/>
                  </a:cubicBezTo>
                  <a:cubicBezTo>
                    <a:pt x="200" y="107"/>
                    <a:pt x="200" y="106"/>
                    <a:pt x="199" y="105"/>
                  </a:cubicBezTo>
                  <a:cubicBezTo>
                    <a:pt x="199" y="104"/>
                    <a:pt x="199" y="104"/>
                    <a:pt x="199" y="104"/>
                  </a:cubicBezTo>
                  <a:cubicBezTo>
                    <a:pt x="199" y="103"/>
                    <a:pt x="199" y="103"/>
                    <a:pt x="199" y="103"/>
                  </a:cubicBezTo>
                  <a:cubicBezTo>
                    <a:pt x="198" y="100"/>
                    <a:pt x="198" y="100"/>
                    <a:pt x="198" y="100"/>
                  </a:cubicBezTo>
                  <a:cubicBezTo>
                    <a:pt x="197" y="98"/>
                    <a:pt x="197" y="95"/>
                    <a:pt x="196" y="93"/>
                  </a:cubicBezTo>
                  <a:cubicBezTo>
                    <a:pt x="196" y="92"/>
                    <a:pt x="196" y="92"/>
                    <a:pt x="196" y="92"/>
                  </a:cubicBezTo>
                  <a:cubicBezTo>
                    <a:pt x="196" y="91"/>
                    <a:pt x="196" y="91"/>
                    <a:pt x="196" y="91"/>
                  </a:cubicBezTo>
                  <a:cubicBezTo>
                    <a:pt x="196" y="90"/>
                    <a:pt x="196" y="90"/>
                    <a:pt x="196" y="90"/>
                  </a:cubicBezTo>
                  <a:cubicBezTo>
                    <a:pt x="196" y="90"/>
                    <a:pt x="196" y="90"/>
                    <a:pt x="196" y="90"/>
                  </a:cubicBezTo>
                  <a:cubicBezTo>
                    <a:pt x="195" y="90"/>
                    <a:pt x="194" y="90"/>
                    <a:pt x="194" y="90"/>
                  </a:cubicBezTo>
                  <a:cubicBezTo>
                    <a:pt x="193" y="90"/>
                    <a:pt x="193" y="91"/>
                    <a:pt x="192" y="91"/>
                  </a:cubicBezTo>
                  <a:cubicBezTo>
                    <a:pt x="192" y="91"/>
                    <a:pt x="192" y="91"/>
                    <a:pt x="191" y="90"/>
                  </a:cubicBezTo>
                  <a:cubicBezTo>
                    <a:pt x="191" y="91"/>
                    <a:pt x="191" y="91"/>
                    <a:pt x="191" y="91"/>
                  </a:cubicBezTo>
                  <a:cubicBezTo>
                    <a:pt x="191" y="91"/>
                    <a:pt x="191" y="91"/>
                    <a:pt x="191" y="91"/>
                  </a:cubicBezTo>
                  <a:cubicBezTo>
                    <a:pt x="189" y="90"/>
                    <a:pt x="187" y="90"/>
                    <a:pt x="187" y="88"/>
                  </a:cubicBezTo>
                  <a:cubicBezTo>
                    <a:pt x="187" y="87"/>
                    <a:pt x="186" y="86"/>
                    <a:pt x="186" y="84"/>
                  </a:cubicBezTo>
                  <a:cubicBezTo>
                    <a:pt x="187" y="83"/>
                    <a:pt x="187" y="82"/>
                    <a:pt x="187" y="81"/>
                  </a:cubicBezTo>
                  <a:cubicBezTo>
                    <a:pt x="187" y="81"/>
                    <a:pt x="187" y="81"/>
                    <a:pt x="187" y="80"/>
                  </a:cubicBezTo>
                  <a:cubicBezTo>
                    <a:pt x="187" y="79"/>
                    <a:pt x="187" y="77"/>
                    <a:pt x="187" y="76"/>
                  </a:cubicBezTo>
                  <a:cubicBezTo>
                    <a:pt x="188" y="74"/>
                    <a:pt x="188" y="73"/>
                    <a:pt x="188" y="72"/>
                  </a:cubicBezTo>
                  <a:cubicBezTo>
                    <a:pt x="188" y="71"/>
                    <a:pt x="188" y="71"/>
                    <a:pt x="188" y="71"/>
                  </a:cubicBezTo>
                  <a:cubicBezTo>
                    <a:pt x="188" y="70"/>
                    <a:pt x="188" y="69"/>
                    <a:pt x="189" y="69"/>
                  </a:cubicBezTo>
                  <a:cubicBezTo>
                    <a:pt x="188" y="69"/>
                    <a:pt x="188" y="69"/>
                    <a:pt x="187" y="69"/>
                  </a:cubicBezTo>
                  <a:cubicBezTo>
                    <a:pt x="185" y="69"/>
                    <a:pt x="183" y="67"/>
                    <a:pt x="183" y="66"/>
                  </a:cubicBezTo>
                  <a:cubicBezTo>
                    <a:pt x="182" y="66"/>
                    <a:pt x="182" y="66"/>
                    <a:pt x="182" y="66"/>
                  </a:cubicBezTo>
                  <a:cubicBezTo>
                    <a:pt x="182" y="65"/>
                    <a:pt x="182" y="65"/>
                    <a:pt x="182" y="65"/>
                  </a:cubicBezTo>
                  <a:cubicBezTo>
                    <a:pt x="181" y="65"/>
                    <a:pt x="181" y="65"/>
                    <a:pt x="181" y="65"/>
                  </a:cubicBezTo>
                  <a:cubicBezTo>
                    <a:pt x="181" y="64"/>
                    <a:pt x="181" y="64"/>
                    <a:pt x="181" y="64"/>
                  </a:cubicBezTo>
                  <a:cubicBezTo>
                    <a:pt x="179" y="62"/>
                    <a:pt x="177" y="60"/>
                    <a:pt x="175" y="58"/>
                  </a:cubicBezTo>
                  <a:cubicBezTo>
                    <a:pt x="174" y="57"/>
                    <a:pt x="174" y="57"/>
                    <a:pt x="174" y="57"/>
                  </a:cubicBezTo>
                  <a:cubicBezTo>
                    <a:pt x="173" y="57"/>
                    <a:pt x="173" y="56"/>
                    <a:pt x="173" y="56"/>
                  </a:cubicBezTo>
                  <a:cubicBezTo>
                    <a:pt x="171" y="54"/>
                    <a:pt x="171" y="54"/>
                    <a:pt x="171" y="54"/>
                  </a:cubicBezTo>
                  <a:cubicBezTo>
                    <a:pt x="170" y="53"/>
                    <a:pt x="169" y="52"/>
                    <a:pt x="168" y="52"/>
                  </a:cubicBezTo>
                  <a:cubicBezTo>
                    <a:pt x="168" y="51"/>
                    <a:pt x="167" y="51"/>
                    <a:pt x="167" y="51"/>
                  </a:cubicBezTo>
                  <a:cubicBezTo>
                    <a:pt x="166" y="51"/>
                    <a:pt x="165" y="52"/>
                    <a:pt x="165" y="52"/>
                  </a:cubicBezTo>
                  <a:cubicBezTo>
                    <a:pt x="165" y="52"/>
                    <a:pt x="165" y="52"/>
                    <a:pt x="165" y="52"/>
                  </a:cubicBezTo>
                  <a:cubicBezTo>
                    <a:pt x="167" y="56"/>
                    <a:pt x="167" y="56"/>
                    <a:pt x="167" y="56"/>
                  </a:cubicBezTo>
                  <a:cubicBezTo>
                    <a:pt x="164" y="53"/>
                    <a:pt x="164" y="53"/>
                    <a:pt x="164" y="53"/>
                  </a:cubicBezTo>
                  <a:cubicBezTo>
                    <a:pt x="163" y="53"/>
                    <a:pt x="163" y="53"/>
                    <a:pt x="163" y="53"/>
                  </a:cubicBezTo>
                  <a:cubicBezTo>
                    <a:pt x="162" y="54"/>
                    <a:pt x="160" y="54"/>
                    <a:pt x="158" y="54"/>
                  </a:cubicBezTo>
                  <a:cubicBezTo>
                    <a:pt x="158" y="54"/>
                    <a:pt x="158" y="54"/>
                    <a:pt x="158" y="54"/>
                  </a:cubicBezTo>
                  <a:cubicBezTo>
                    <a:pt x="153" y="54"/>
                    <a:pt x="153" y="54"/>
                    <a:pt x="153" y="54"/>
                  </a:cubicBezTo>
                  <a:cubicBezTo>
                    <a:pt x="150" y="54"/>
                    <a:pt x="149" y="53"/>
                    <a:pt x="147" y="53"/>
                  </a:cubicBezTo>
                  <a:cubicBezTo>
                    <a:pt x="144" y="53"/>
                    <a:pt x="140" y="53"/>
                    <a:pt x="138" y="53"/>
                  </a:cubicBezTo>
                  <a:cubicBezTo>
                    <a:pt x="137" y="53"/>
                    <a:pt x="136" y="53"/>
                    <a:pt x="135" y="53"/>
                  </a:cubicBezTo>
                  <a:cubicBezTo>
                    <a:pt x="131" y="53"/>
                    <a:pt x="128" y="54"/>
                    <a:pt x="124" y="55"/>
                  </a:cubicBezTo>
                  <a:cubicBezTo>
                    <a:pt x="121" y="55"/>
                    <a:pt x="118" y="56"/>
                    <a:pt x="115" y="56"/>
                  </a:cubicBezTo>
                  <a:cubicBezTo>
                    <a:pt x="115" y="56"/>
                    <a:pt x="114" y="56"/>
                    <a:pt x="114" y="56"/>
                  </a:cubicBezTo>
                  <a:cubicBezTo>
                    <a:pt x="113" y="56"/>
                    <a:pt x="113" y="56"/>
                    <a:pt x="112" y="56"/>
                  </a:cubicBezTo>
                  <a:cubicBezTo>
                    <a:pt x="112" y="56"/>
                    <a:pt x="112" y="56"/>
                    <a:pt x="112" y="56"/>
                  </a:cubicBezTo>
                  <a:cubicBezTo>
                    <a:pt x="111" y="55"/>
                    <a:pt x="110" y="55"/>
                    <a:pt x="109" y="54"/>
                  </a:cubicBezTo>
                  <a:cubicBezTo>
                    <a:pt x="109" y="54"/>
                    <a:pt x="109" y="54"/>
                    <a:pt x="109" y="54"/>
                  </a:cubicBezTo>
                  <a:cubicBezTo>
                    <a:pt x="108" y="53"/>
                    <a:pt x="108" y="53"/>
                    <a:pt x="107" y="52"/>
                  </a:cubicBezTo>
                  <a:cubicBezTo>
                    <a:pt x="107" y="51"/>
                    <a:pt x="107" y="51"/>
                    <a:pt x="107" y="51"/>
                  </a:cubicBezTo>
                  <a:cubicBezTo>
                    <a:pt x="106" y="51"/>
                    <a:pt x="106" y="51"/>
                    <a:pt x="106" y="51"/>
                  </a:cubicBezTo>
                  <a:cubicBezTo>
                    <a:pt x="103" y="48"/>
                    <a:pt x="101" y="46"/>
                    <a:pt x="99" y="44"/>
                  </a:cubicBezTo>
                  <a:cubicBezTo>
                    <a:pt x="99" y="44"/>
                    <a:pt x="95" y="39"/>
                    <a:pt x="93" y="36"/>
                  </a:cubicBezTo>
                  <a:cubicBezTo>
                    <a:pt x="92" y="34"/>
                    <a:pt x="82" y="28"/>
                    <a:pt x="78" y="26"/>
                  </a:cubicBezTo>
                  <a:cubicBezTo>
                    <a:pt x="76" y="25"/>
                    <a:pt x="76" y="25"/>
                    <a:pt x="76" y="25"/>
                  </a:cubicBezTo>
                  <a:cubicBezTo>
                    <a:pt x="76" y="28"/>
                    <a:pt x="76" y="31"/>
                    <a:pt x="76" y="34"/>
                  </a:cubicBezTo>
                  <a:cubicBezTo>
                    <a:pt x="76" y="35"/>
                    <a:pt x="75" y="36"/>
                    <a:pt x="75" y="36"/>
                  </a:cubicBezTo>
                  <a:cubicBezTo>
                    <a:pt x="74" y="37"/>
                    <a:pt x="72" y="38"/>
                    <a:pt x="71" y="38"/>
                  </a:cubicBezTo>
                  <a:cubicBezTo>
                    <a:pt x="71" y="39"/>
                    <a:pt x="72" y="41"/>
                    <a:pt x="72" y="41"/>
                  </a:cubicBezTo>
                  <a:cubicBezTo>
                    <a:pt x="72" y="41"/>
                    <a:pt x="71" y="41"/>
                    <a:pt x="71" y="41"/>
                  </a:cubicBezTo>
                  <a:cubicBezTo>
                    <a:pt x="71" y="41"/>
                    <a:pt x="70" y="40"/>
                    <a:pt x="70" y="40"/>
                  </a:cubicBezTo>
                  <a:cubicBezTo>
                    <a:pt x="70" y="40"/>
                    <a:pt x="70" y="40"/>
                    <a:pt x="69" y="40"/>
                  </a:cubicBezTo>
                  <a:cubicBezTo>
                    <a:pt x="69" y="40"/>
                    <a:pt x="69" y="40"/>
                    <a:pt x="68" y="40"/>
                  </a:cubicBezTo>
                  <a:cubicBezTo>
                    <a:pt x="68" y="40"/>
                    <a:pt x="67" y="41"/>
                    <a:pt x="66" y="41"/>
                  </a:cubicBezTo>
                  <a:cubicBezTo>
                    <a:pt x="66" y="41"/>
                    <a:pt x="66" y="41"/>
                    <a:pt x="66" y="40"/>
                  </a:cubicBezTo>
                  <a:cubicBezTo>
                    <a:pt x="63" y="40"/>
                    <a:pt x="65" y="38"/>
                    <a:pt x="63" y="37"/>
                  </a:cubicBezTo>
                  <a:cubicBezTo>
                    <a:pt x="61" y="35"/>
                    <a:pt x="59" y="32"/>
                    <a:pt x="58" y="28"/>
                  </a:cubicBezTo>
                  <a:cubicBezTo>
                    <a:pt x="57" y="24"/>
                    <a:pt x="61" y="20"/>
                    <a:pt x="63" y="16"/>
                  </a:cubicBezTo>
                  <a:cubicBezTo>
                    <a:pt x="63" y="16"/>
                    <a:pt x="63" y="16"/>
                    <a:pt x="63" y="16"/>
                  </a:cubicBezTo>
                  <a:cubicBezTo>
                    <a:pt x="64" y="15"/>
                    <a:pt x="64" y="15"/>
                    <a:pt x="64" y="15"/>
                  </a:cubicBezTo>
                  <a:cubicBezTo>
                    <a:pt x="64" y="15"/>
                    <a:pt x="64" y="15"/>
                    <a:pt x="64" y="15"/>
                  </a:cubicBezTo>
                  <a:cubicBezTo>
                    <a:pt x="67" y="17"/>
                    <a:pt x="70" y="19"/>
                    <a:pt x="74" y="21"/>
                  </a:cubicBezTo>
                  <a:cubicBezTo>
                    <a:pt x="70" y="19"/>
                    <a:pt x="67" y="17"/>
                    <a:pt x="64" y="15"/>
                  </a:cubicBezTo>
                  <a:cubicBezTo>
                    <a:pt x="64" y="15"/>
                    <a:pt x="64" y="14"/>
                    <a:pt x="64" y="14"/>
                  </a:cubicBezTo>
                  <a:cubicBezTo>
                    <a:pt x="64" y="14"/>
                    <a:pt x="64" y="14"/>
                    <a:pt x="64" y="14"/>
                  </a:cubicBezTo>
                  <a:cubicBezTo>
                    <a:pt x="64" y="13"/>
                    <a:pt x="64" y="13"/>
                    <a:pt x="64" y="13"/>
                  </a:cubicBezTo>
                  <a:cubicBezTo>
                    <a:pt x="64" y="13"/>
                    <a:pt x="64" y="12"/>
                    <a:pt x="64" y="12"/>
                  </a:cubicBezTo>
                  <a:cubicBezTo>
                    <a:pt x="63" y="13"/>
                    <a:pt x="63" y="13"/>
                    <a:pt x="63" y="13"/>
                  </a:cubicBezTo>
                  <a:cubicBezTo>
                    <a:pt x="62" y="12"/>
                    <a:pt x="62" y="10"/>
                    <a:pt x="62" y="8"/>
                  </a:cubicBezTo>
                  <a:cubicBezTo>
                    <a:pt x="62" y="7"/>
                    <a:pt x="63" y="6"/>
                    <a:pt x="62" y="6"/>
                  </a:cubicBezTo>
                  <a:cubicBezTo>
                    <a:pt x="62" y="6"/>
                    <a:pt x="61" y="6"/>
                    <a:pt x="61" y="6"/>
                  </a:cubicBezTo>
                  <a:cubicBezTo>
                    <a:pt x="61" y="5"/>
                    <a:pt x="61" y="5"/>
                    <a:pt x="61" y="4"/>
                  </a:cubicBezTo>
                  <a:cubicBezTo>
                    <a:pt x="60" y="3"/>
                    <a:pt x="59" y="4"/>
                    <a:pt x="59" y="3"/>
                  </a:cubicBezTo>
                  <a:cubicBezTo>
                    <a:pt x="58" y="2"/>
                    <a:pt x="59" y="1"/>
                    <a:pt x="58" y="0"/>
                  </a:cubicBezTo>
                  <a:cubicBezTo>
                    <a:pt x="57" y="0"/>
                    <a:pt x="57" y="0"/>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448"/>
            <p:cNvSpPr/>
            <p:nvPr/>
          </p:nvSpPr>
          <p:spPr bwMode="auto">
            <a:xfrm>
              <a:off x="3858142" y="3225395"/>
              <a:ext cx="1976524" cy="806014"/>
            </a:xfrm>
            <a:custGeom>
              <a:gdLst>
                <a:gd name="T0" fmla="*/ 201 w 608"/>
                <a:gd name="T1" fmla="*/ 9 h 248"/>
                <a:gd name="T2" fmla="*/ 194 w 608"/>
                <a:gd name="T3" fmla="*/ 22 h 248"/>
                <a:gd name="T4" fmla="*/ 200 w 608"/>
                <a:gd name="T5" fmla="*/ 43 h 248"/>
                <a:gd name="T6" fmla="*/ 187 w 608"/>
                <a:gd name="T7" fmla="*/ 55 h 248"/>
                <a:gd name="T8" fmla="*/ 164 w 608"/>
                <a:gd name="T9" fmla="*/ 55 h 248"/>
                <a:gd name="T10" fmla="*/ 148 w 608"/>
                <a:gd name="T11" fmla="*/ 54 h 248"/>
                <a:gd name="T12" fmla="*/ 123 w 608"/>
                <a:gd name="T13" fmla="*/ 44 h 248"/>
                <a:gd name="T14" fmla="*/ 100 w 608"/>
                <a:gd name="T15" fmla="*/ 36 h 248"/>
                <a:gd name="T16" fmla="*/ 87 w 608"/>
                <a:gd name="T17" fmla="*/ 32 h 248"/>
                <a:gd name="T18" fmla="*/ 71 w 608"/>
                <a:gd name="T19" fmla="*/ 38 h 248"/>
                <a:gd name="T20" fmla="*/ 37 w 608"/>
                <a:gd name="T21" fmla="*/ 58 h 248"/>
                <a:gd name="T22" fmla="*/ 9 w 608"/>
                <a:gd name="T23" fmla="*/ 66 h 248"/>
                <a:gd name="T24" fmla="*/ 7 w 608"/>
                <a:gd name="T25" fmla="*/ 70 h 248"/>
                <a:gd name="T26" fmla="*/ 2 w 608"/>
                <a:gd name="T27" fmla="*/ 79 h 248"/>
                <a:gd name="T28" fmla="*/ 16 w 608"/>
                <a:gd name="T29" fmla="*/ 91 h 248"/>
                <a:gd name="T30" fmla="*/ 34 w 608"/>
                <a:gd name="T31" fmla="*/ 98 h 248"/>
                <a:gd name="T32" fmla="*/ 51 w 608"/>
                <a:gd name="T33" fmla="*/ 113 h 248"/>
                <a:gd name="T34" fmla="*/ 62 w 608"/>
                <a:gd name="T35" fmla="*/ 146 h 248"/>
                <a:gd name="T36" fmla="*/ 60 w 608"/>
                <a:gd name="T37" fmla="*/ 165 h 248"/>
                <a:gd name="T38" fmla="*/ 126 w 608"/>
                <a:gd name="T39" fmla="*/ 181 h 248"/>
                <a:gd name="T40" fmla="*/ 146 w 608"/>
                <a:gd name="T41" fmla="*/ 190 h 248"/>
                <a:gd name="T42" fmla="*/ 161 w 608"/>
                <a:gd name="T43" fmla="*/ 218 h 248"/>
                <a:gd name="T44" fmla="*/ 176 w 608"/>
                <a:gd name="T45" fmla="*/ 221 h 248"/>
                <a:gd name="T46" fmla="*/ 223 w 608"/>
                <a:gd name="T47" fmla="*/ 225 h 248"/>
                <a:gd name="T48" fmla="*/ 266 w 608"/>
                <a:gd name="T49" fmla="*/ 229 h 248"/>
                <a:gd name="T50" fmla="*/ 301 w 608"/>
                <a:gd name="T51" fmla="*/ 243 h 248"/>
                <a:gd name="T52" fmla="*/ 318 w 608"/>
                <a:gd name="T53" fmla="*/ 245 h 248"/>
                <a:gd name="T54" fmla="*/ 326 w 608"/>
                <a:gd name="T55" fmla="*/ 248 h 248"/>
                <a:gd name="T56" fmla="*/ 358 w 608"/>
                <a:gd name="T57" fmla="*/ 233 h 248"/>
                <a:gd name="T58" fmla="*/ 399 w 608"/>
                <a:gd name="T59" fmla="*/ 229 h 248"/>
                <a:gd name="T60" fmla="*/ 431 w 608"/>
                <a:gd name="T61" fmla="*/ 219 h 248"/>
                <a:gd name="T62" fmla="*/ 456 w 608"/>
                <a:gd name="T63" fmla="*/ 199 h 248"/>
                <a:gd name="T64" fmla="*/ 451 w 608"/>
                <a:gd name="T65" fmla="*/ 175 h 248"/>
                <a:gd name="T66" fmla="*/ 486 w 608"/>
                <a:gd name="T67" fmla="*/ 174 h 248"/>
                <a:gd name="T68" fmla="*/ 503 w 608"/>
                <a:gd name="T69" fmla="*/ 162 h 248"/>
                <a:gd name="T70" fmla="*/ 513 w 608"/>
                <a:gd name="T71" fmla="*/ 159 h 248"/>
                <a:gd name="T72" fmla="*/ 534 w 608"/>
                <a:gd name="T73" fmla="*/ 155 h 248"/>
                <a:gd name="T74" fmla="*/ 555 w 608"/>
                <a:gd name="T75" fmla="*/ 137 h 248"/>
                <a:gd name="T76" fmla="*/ 598 w 608"/>
                <a:gd name="T77" fmla="*/ 129 h 248"/>
                <a:gd name="T78" fmla="*/ 593 w 608"/>
                <a:gd name="T79" fmla="*/ 110 h 248"/>
                <a:gd name="T80" fmla="*/ 582 w 608"/>
                <a:gd name="T81" fmla="*/ 103 h 248"/>
                <a:gd name="T82" fmla="*/ 562 w 608"/>
                <a:gd name="T83" fmla="*/ 110 h 248"/>
                <a:gd name="T84" fmla="*/ 535 w 608"/>
                <a:gd name="T85" fmla="*/ 110 h 248"/>
                <a:gd name="T86" fmla="*/ 529 w 608"/>
                <a:gd name="T87" fmla="*/ 93 h 248"/>
                <a:gd name="T88" fmla="*/ 545 w 608"/>
                <a:gd name="T89" fmla="*/ 55 h 248"/>
                <a:gd name="T90" fmla="*/ 524 w 608"/>
                <a:gd name="T91" fmla="*/ 54 h 248"/>
                <a:gd name="T92" fmla="*/ 495 w 608"/>
                <a:gd name="T93" fmla="*/ 50 h 248"/>
                <a:gd name="T94" fmla="*/ 436 w 608"/>
                <a:gd name="T95" fmla="*/ 74 h 248"/>
                <a:gd name="T96" fmla="*/ 393 w 608"/>
                <a:gd name="T97" fmla="*/ 69 h 248"/>
                <a:gd name="T98" fmla="*/ 375 w 608"/>
                <a:gd name="T99" fmla="*/ 53 h 248"/>
                <a:gd name="T100" fmla="*/ 349 w 608"/>
                <a:gd name="T101" fmla="*/ 45 h 248"/>
                <a:gd name="T102" fmla="*/ 317 w 608"/>
                <a:gd name="T103" fmla="*/ 45 h 248"/>
                <a:gd name="T104" fmla="*/ 277 w 608"/>
                <a:gd name="T105" fmla="*/ 41 h 248"/>
                <a:gd name="T106" fmla="*/ 270 w 608"/>
                <a:gd name="T107" fmla="*/ 24 h 248"/>
                <a:gd name="T108" fmla="*/ 243 w 608"/>
                <a:gd name="T109" fmla="*/ 10 h 248"/>
                <a:gd name="T110" fmla="*/ 212 w 608"/>
                <a:gd name="T111" fmla="*/ 0 h 2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8" h="248">
                  <a:moveTo>
                    <a:pt x="211" y="0"/>
                  </a:moveTo>
                  <a:cubicBezTo>
                    <a:pt x="208" y="3"/>
                    <a:pt x="208" y="3"/>
                    <a:pt x="208" y="3"/>
                  </a:cubicBezTo>
                  <a:cubicBezTo>
                    <a:pt x="206" y="4"/>
                    <a:pt x="205" y="6"/>
                    <a:pt x="203" y="7"/>
                  </a:cubicBezTo>
                  <a:cubicBezTo>
                    <a:pt x="203" y="8"/>
                    <a:pt x="203" y="8"/>
                    <a:pt x="203" y="8"/>
                  </a:cubicBezTo>
                  <a:cubicBezTo>
                    <a:pt x="202" y="8"/>
                    <a:pt x="202" y="8"/>
                    <a:pt x="202" y="8"/>
                  </a:cubicBezTo>
                  <a:cubicBezTo>
                    <a:pt x="202" y="8"/>
                    <a:pt x="202" y="8"/>
                    <a:pt x="202" y="8"/>
                  </a:cubicBezTo>
                  <a:cubicBezTo>
                    <a:pt x="201" y="9"/>
                    <a:pt x="201" y="9"/>
                    <a:pt x="201" y="9"/>
                  </a:cubicBezTo>
                  <a:cubicBezTo>
                    <a:pt x="201" y="9"/>
                    <a:pt x="201" y="9"/>
                    <a:pt x="201" y="9"/>
                  </a:cubicBezTo>
                  <a:cubicBezTo>
                    <a:pt x="201" y="9"/>
                    <a:pt x="201" y="9"/>
                    <a:pt x="201" y="9"/>
                  </a:cubicBezTo>
                  <a:cubicBezTo>
                    <a:pt x="201" y="10"/>
                    <a:pt x="201" y="10"/>
                    <a:pt x="201" y="10"/>
                  </a:cubicBezTo>
                  <a:cubicBezTo>
                    <a:pt x="200" y="10"/>
                    <a:pt x="200" y="11"/>
                    <a:pt x="200" y="11"/>
                  </a:cubicBezTo>
                  <a:cubicBezTo>
                    <a:pt x="200" y="13"/>
                    <a:pt x="199" y="15"/>
                    <a:pt x="196" y="16"/>
                  </a:cubicBezTo>
                  <a:cubicBezTo>
                    <a:pt x="195" y="16"/>
                    <a:pt x="195" y="16"/>
                    <a:pt x="195" y="16"/>
                  </a:cubicBezTo>
                  <a:cubicBezTo>
                    <a:pt x="195" y="17"/>
                    <a:pt x="195" y="19"/>
                    <a:pt x="194" y="20"/>
                  </a:cubicBezTo>
                  <a:cubicBezTo>
                    <a:pt x="194" y="20"/>
                    <a:pt x="194" y="20"/>
                    <a:pt x="194" y="20"/>
                  </a:cubicBezTo>
                  <a:cubicBezTo>
                    <a:pt x="194" y="21"/>
                    <a:pt x="194" y="21"/>
                    <a:pt x="194" y="22"/>
                  </a:cubicBezTo>
                  <a:cubicBezTo>
                    <a:pt x="194" y="22"/>
                    <a:pt x="194" y="22"/>
                    <a:pt x="193" y="23"/>
                  </a:cubicBezTo>
                  <a:cubicBezTo>
                    <a:pt x="193" y="23"/>
                    <a:pt x="193" y="24"/>
                    <a:pt x="193" y="24"/>
                  </a:cubicBezTo>
                  <a:cubicBezTo>
                    <a:pt x="193" y="25"/>
                    <a:pt x="193" y="25"/>
                    <a:pt x="193" y="25"/>
                  </a:cubicBezTo>
                  <a:cubicBezTo>
                    <a:pt x="193" y="27"/>
                    <a:pt x="193" y="28"/>
                    <a:pt x="194" y="30"/>
                  </a:cubicBezTo>
                  <a:cubicBezTo>
                    <a:pt x="195" y="32"/>
                    <a:pt x="195" y="33"/>
                    <a:pt x="196" y="33"/>
                  </a:cubicBezTo>
                  <a:cubicBezTo>
                    <a:pt x="197" y="34"/>
                    <a:pt x="197" y="34"/>
                    <a:pt x="198" y="34"/>
                  </a:cubicBezTo>
                  <a:cubicBezTo>
                    <a:pt x="200" y="35"/>
                    <a:pt x="202" y="37"/>
                    <a:pt x="200" y="41"/>
                  </a:cubicBezTo>
                  <a:cubicBezTo>
                    <a:pt x="200" y="42"/>
                    <a:pt x="200" y="42"/>
                    <a:pt x="200" y="43"/>
                  </a:cubicBezTo>
                  <a:cubicBezTo>
                    <a:pt x="198" y="48"/>
                    <a:pt x="198" y="48"/>
                    <a:pt x="198" y="48"/>
                  </a:cubicBezTo>
                  <a:cubicBezTo>
                    <a:pt x="198" y="48"/>
                    <a:pt x="198" y="48"/>
                    <a:pt x="198" y="49"/>
                  </a:cubicBezTo>
                  <a:cubicBezTo>
                    <a:pt x="196" y="52"/>
                    <a:pt x="193" y="53"/>
                    <a:pt x="191" y="53"/>
                  </a:cubicBezTo>
                  <a:cubicBezTo>
                    <a:pt x="190" y="53"/>
                    <a:pt x="189" y="54"/>
                    <a:pt x="189" y="54"/>
                  </a:cubicBezTo>
                  <a:cubicBezTo>
                    <a:pt x="188" y="54"/>
                    <a:pt x="188" y="54"/>
                    <a:pt x="188" y="54"/>
                  </a:cubicBezTo>
                  <a:cubicBezTo>
                    <a:pt x="188" y="54"/>
                    <a:pt x="188" y="54"/>
                    <a:pt x="188" y="54"/>
                  </a:cubicBezTo>
                  <a:cubicBezTo>
                    <a:pt x="187" y="54"/>
                    <a:pt x="187" y="54"/>
                    <a:pt x="187" y="54"/>
                  </a:cubicBezTo>
                  <a:cubicBezTo>
                    <a:pt x="187" y="55"/>
                    <a:pt x="187" y="55"/>
                    <a:pt x="187" y="55"/>
                  </a:cubicBezTo>
                  <a:cubicBezTo>
                    <a:pt x="186" y="56"/>
                    <a:pt x="186" y="56"/>
                    <a:pt x="186" y="56"/>
                  </a:cubicBezTo>
                  <a:cubicBezTo>
                    <a:pt x="185" y="57"/>
                    <a:pt x="185" y="58"/>
                    <a:pt x="183" y="59"/>
                  </a:cubicBezTo>
                  <a:cubicBezTo>
                    <a:pt x="182" y="59"/>
                    <a:pt x="181" y="59"/>
                    <a:pt x="180" y="59"/>
                  </a:cubicBezTo>
                  <a:cubicBezTo>
                    <a:pt x="178" y="59"/>
                    <a:pt x="177" y="58"/>
                    <a:pt x="175" y="58"/>
                  </a:cubicBezTo>
                  <a:cubicBezTo>
                    <a:pt x="174" y="57"/>
                    <a:pt x="174" y="57"/>
                    <a:pt x="173" y="57"/>
                  </a:cubicBezTo>
                  <a:cubicBezTo>
                    <a:pt x="172" y="57"/>
                    <a:pt x="171" y="57"/>
                    <a:pt x="169" y="56"/>
                  </a:cubicBezTo>
                  <a:cubicBezTo>
                    <a:pt x="165" y="55"/>
                    <a:pt x="165" y="55"/>
                    <a:pt x="165" y="55"/>
                  </a:cubicBezTo>
                  <a:cubicBezTo>
                    <a:pt x="164" y="55"/>
                    <a:pt x="164" y="55"/>
                    <a:pt x="164" y="55"/>
                  </a:cubicBezTo>
                  <a:cubicBezTo>
                    <a:pt x="164" y="55"/>
                    <a:pt x="164" y="55"/>
                    <a:pt x="164" y="55"/>
                  </a:cubicBezTo>
                  <a:cubicBezTo>
                    <a:pt x="163" y="55"/>
                    <a:pt x="162" y="54"/>
                    <a:pt x="160" y="54"/>
                  </a:cubicBezTo>
                  <a:cubicBezTo>
                    <a:pt x="160" y="54"/>
                    <a:pt x="160" y="54"/>
                    <a:pt x="160" y="54"/>
                  </a:cubicBezTo>
                  <a:cubicBezTo>
                    <a:pt x="159" y="54"/>
                    <a:pt x="157" y="53"/>
                    <a:pt x="156" y="53"/>
                  </a:cubicBezTo>
                  <a:cubicBezTo>
                    <a:pt x="156" y="53"/>
                    <a:pt x="155" y="53"/>
                    <a:pt x="154" y="53"/>
                  </a:cubicBezTo>
                  <a:cubicBezTo>
                    <a:pt x="154" y="53"/>
                    <a:pt x="154" y="53"/>
                    <a:pt x="153" y="53"/>
                  </a:cubicBezTo>
                  <a:cubicBezTo>
                    <a:pt x="152" y="53"/>
                    <a:pt x="150" y="53"/>
                    <a:pt x="149" y="54"/>
                  </a:cubicBezTo>
                  <a:cubicBezTo>
                    <a:pt x="148" y="54"/>
                    <a:pt x="148" y="54"/>
                    <a:pt x="148" y="54"/>
                  </a:cubicBezTo>
                  <a:cubicBezTo>
                    <a:pt x="147" y="55"/>
                    <a:pt x="147" y="55"/>
                    <a:pt x="146" y="55"/>
                  </a:cubicBezTo>
                  <a:cubicBezTo>
                    <a:pt x="146" y="55"/>
                    <a:pt x="145" y="55"/>
                    <a:pt x="144" y="55"/>
                  </a:cubicBezTo>
                  <a:cubicBezTo>
                    <a:pt x="144" y="55"/>
                    <a:pt x="144" y="55"/>
                    <a:pt x="143" y="55"/>
                  </a:cubicBezTo>
                  <a:cubicBezTo>
                    <a:pt x="143" y="55"/>
                    <a:pt x="142" y="55"/>
                    <a:pt x="142" y="55"/>
                  </a:cubicBezTo>
                  <a:cubicBezTo>
                    <a:pt x="131" y="53"/>
                    <a:pt x="131" y="53"/>
                    <a:pt x="131" y="53"/>
                  </a:cubicBezTo>
                  <a:cubicBezTo>
                    <a:pt x="127" y="52"/>
                    <a:pt x="126" y="51"/>
                    <a:pt x="124" y="48"/>
                  </a:cubicBezTo>
                  <a:cubicBezTo>
                    <a:pt x="124" y="47"/>
                    <a:pt x="124" y="47"/>
                    <a:pt x="124" y="47"/>
                  </a:cubicBezTo>
                  <a:cubicBezTo>
                    <a:pt x="123" y="46"/>
                    <a:pt x="123" y="45"/>
                    <a:pt x="123" y="44"/>
                  </a:cubicBezTo>
                  <a:cubicBezTo>
                    <a:pt x="122" y="43"/>
                    <a:pt x="122" y="43"/>
                    <a:pt x="122" y="43"/>
                  </a:cubicBezTo>
                  <a:cubicBezTo>
                    <a:pt x="122" y="42"/>
                    <a:pt x="121" y="40"/>
                    <a:pt x="121" y="39"/>
                  </a:cubicBezTo>
                  <a:cubicBezTo>
                    <a:pt x="120" y="39"/>
                    <a:pt x="120" y="39"/>
                    <a:pt x="120" y="39"/>
                  </a:cubicBezTo>
                  <a:cubicBezTo>
                    <a:pt x="120" y="39"/>
                    <a:pt x="120" y="39"/>
                    <a:pt x="119" y="39"/>
                  </a:cubicBezTo>
                  <a:cubicBezTo>
                    <a:pt x="111" y="38"/>
                    <a:pt x="111" y="38"/>
                    <a:pt x="111" y="38"/>
                  </a:cubicBezTo>
                  <a:cubicBezTo>
                    <a:pt x="109" y="38"/>
                    <a:pt x="106" y="37"/>
                    <a:pt x="104" y="37"/>
                  </a:cubicBezTo>
                  <a:cubicBezTo>
                    <a:pt x="104" y="37"/>
                    <a:pt x="103" y="37"/>
                    <a:pt x="103" y="37"/>
                  </a:cubicBezTo>
                  <a:cubicBezTo>
                    <a:pt x="102" y="36"/>
                    <a:pt x="101" y="36"/>
                    <a:pt x="100" y="36"/>
                  </a:cubicBezTo>
                  <a:cubicBezTo>
                    <a:pt x="99" y="35"/>
                    <a:pt x="98" y="35"/>
                    <a:pt x="98" y="34"/>
                  </a:cubicBezTo>
                  <a:cubicBezTo>
                    <a:pt x="97" y="34"/>
                    <a:pt x="96" y="34"/>
                    <a:pt x="96" y="33"/>
                  </a:cubicBezTo>
                  <a:cubicBezTo>
                    <a:pt x="96" y="33"/>
                    <a:pt x="96" y="33"/>
                    <a:pt x="96" y="33"/>
                  </a:cubicBezTo>
                  <a:cubicBezTo>
                    <a:pt x="94" y="33"/>
                    <a:pt x="94" y="33"/>
                    <a:pt x="94" y="33"/>
                  </a:cubicBezTo>
                  <a:cubicBezTo>
                    <a:pt x="92" y="33"/>
                    <a:pt x="91" y="33"/>
                    <a:pt x="90" y="33"/>
                  </a:cubicBezTo>
                  <a:cubicBezTo>
                    <a:pt x="90" y="33"/>
                    <a:pt x="90" y="33"/>
                    <a:pt x="90" y="33"/>
                  </a:cubicBezTo>
                  <a:cubicBezTo>
                    <a:pt x="89" y="33"/>
                    <a:pt x="89" y="33"/>
                    <a:pt x="88" y="33"/>
                  </a:cubicBezTo>
                  <a:cubicBezTo>
                    <a:pt x="88" y="32"/>
                    <a:pt x="87" y="32"/>
                    <a:pt x="87" y="32"/>
                  </a:cubicBezTo>
                  <a:cubicBezTo>
                    <a:pt x="86" y="32"/>
                    <a:pt x="86" y="32"/>
                    <a:pt x="86" y="32"/>
                  </a:cubicBezTo>
                  <a:cubicBezTo>
                    <a:pt x="86" y="33"/>
                    <a:pt x="85" y="34"/>
                    <a:pt x="84" y="35"/>
                  </a:cubicBezTo>
                  <a:cubicBezTo>
                    <a:pt x="84" y="35"/>
                    <a:pt x="84" y="35"/>
                    <a:pt x="84" y="35"/>
                  </a:cubicBezTo>
                  <a:cubicBezTo>
                    <a:pt x="83" y="35"/>
                    <a:pt x="82" y="36"/>
                    <a:pt x="81" y="36"/>
                  </a:cubicBezTo>
                  <a:cubicBezTo>
                    <a:pt x="80" y="36"/>
                    <a:pt x="79" y="36"/>
                    <a:pt x="78" y="36"/>
                  </a:cubicBezTo>
                  <a:cubicBezTo>
                    <a:pt x="77" y="36"/>
                    <a:pt x="77" y="36"/>
                    <a:pt x="77" y="36"/>
                  </a:cubicBezTo>
                  <a:cubicBezTo>
                    <a:pt x="76" y="36"/>
                    <a:pt x="74" y="36"/>
                    <a:pt x="73" y="37"/>
                  </a:cubicBezTo>
                  <a:cubicBezTo>
                    <a:pt x="71" y="38"/>
                    <a:pt x="71" y="38"/>
                    <a:pt x="71" y="38"/>
                  </a:cubicBezTo>
                  <a:cubicBezTo>
                    <a:pt x="69" y="39"/>
                    <a:pt x="67" y="40"/>
                    <a:pt x="65" y="40"/>
                  </a:cubicBezTo>
                  <a:cubicBezTo>
                    <a:pt x="58" y="44"/>
                    <a:pt x="58" y="44"/>
                    <a:pt x="58" y="44"/>
                  </a:cubicBezTo>
                  <a:cubicBezTo>
                    <a:pt x="55" y="45"/>
                    <a:pt x="51" y="47"/>
                    <a:pt x="48" y="49"/>
                  </a:cubicBezTo>
                  <a:cubicBezTo>
                    <a:pt x="48" y="49"/>
                    <a:pt x="47" y="50"/>
                    <a:pt x="47" y="50"/>
                  </a:cubicBezTo>
                  <a:cubicBezTo>
                    <a:pt x="44" y="51"/>
                    <a:pt x="44" y="51"/>
                    <a:pt x="44" y="51"/>
                  </a:cubicBezTo>
                  <a:cubicBezTo>
                    <a:pt x="44" y="52"/>
                    <a:pt x="43" y="52"/>
                    <a:pt x="42" y="53"/>
                  </a:cubicBezTo>
                  <a:cubicBezTo>
                    <a:pt x="37" y="56"/>
                    <a:pt x="37" y="56"/>
                    <a:pt x="37" y="56"/>
                  </a:cubicBezTo>
                  <a:cubicBezTo>
                    <a:pt x="37" y="56"/>
                    <a:pt x="37" y="57"/>
                    <a:pt x="37" y="58"/>
                  </a:cubicBezTo>
                  <a:cubicBezTo>
                    <a:pt x="37" y="59"/>
                    <a:pt x="35" y="60"/>
                    <a:pt x="34" y="61"/>
                  </a:cubicBezTo>
                  <a:cubicBezTo>
                    <a:pt x="29" y="63"/>
                    <a:pt x="25" y="64"/>
                    <a:pt x="21" y="65"/>
                  </a:cubicBezTo>
                  <a:cubicBezTo>
                    <a:pt x="16" y="65"/>
                    <a:pt x="16" y="65"/>
                    <a:pt x="16" y="65"/>
                  </a:cubicBezTo>
                  <a:cubicBezTo>
                    <a:pt x="16" y="65"/>
                    <a:pt x="15" y="65"/>
                    <a:pt x="15" y="66"/>
                  </a:cubicBezTo>
                  <a:cubicBezTo>
                    <a:pt x="13" y="66"/>
                    <a:pt x="13" y="66"/>
                    <a:pt x="12" y="66"/>
                  </a:cubicBezTo>
                  <a:cubicBezTo>
                    <a:pt x="11" y="66"/>
                    <a:pt x="11" y="66"/>
                    <a:pt x="11" y="66"/>
                  </a:cubicBezTo>
                  <a:cubicBezTo>
                    <a:pt x="11" y="66"/>
                    <a:pt x="10" y="66"/>
                    <a:pt x="10" y="66"/>
                  </a:cubicBezTo>
                  <a:cubicBezTo>
                    <a:pt x="9" y="66"/>
                    <a:pt x="9" y="66"/>
                    <a:pt x="9" y="66"/>
                  </a:cubicBezTo>
                  <a:cubicBezTo>
                    <a:pt x="9" y="66"/>
                    <a:pt x="9" y="66"/>
                    <a:pt x="9" y="66"/>
                  </a:cubicBezTo>
                  <a:cubicBezTo>
                    <a:pt x="8" y="66"/>
                    <a:pt x="8" y="66"/>
                    <a:pt x="8" y="66"/>
                  </a:cubicBezTo>
                  <a:cubicBezTo>
                    <a:pt x="8" y="67"/>
                    <a:pt x="8" y="67"/>
                    <a:pt x="8" y="67"/>
                  </a:cubicBezTo>
                  <a:cubicBezTo>
                    <a:pt x="8" y="67"/>
                    <a:pt x="8" y="67"/>
                    <a:pt x="8" y="67"/>
                  </a:cubicBezTo>
                  <a:cubicBezTo>
                    <a:pt x="9" y="70"/>
                    <a:pt x="9" y="70"/>
                    <a:pt x="9" y="70"/>
                  </a:cubicBezTo>
                  <a:cubicBezTo>
                    <a:pt x="8" y="69"/>
                    <a:pt x="8" y="69"/>
                    <a:pt x="8" y="69"/>
                  </a:cubicBezTo>
                  <a:cubicBezTo>
                    <a:pt x="8" y="69"/>
                    <a:pt x="8" y="69"/>
                    <a:pt x="8" y="69"/>
                  </a:cubicBezTo>
                  <a:cubicBezTo>
                    <a:pt x="7" y="70"/>
                    <a:pt x="7" y="70"/>
                    <a:pt x="7" y="70"/>
                  </a:cubicBezTo>
                  <a:cubicBezTo>
                    <a:pt x="5" y="71"/>
                    <a:pt x="5" y="71"/>
                    <a:pt x="5" y="71"/>
                  </a:cubicBezTo>
                  <a:cubicBezTo>
                    <a:pt x="2" y="72"/>
                    <a:pt x="2" y="72"/>
                    <a:pt x="2" y="72"/>
                  </a:cubicBezTo>
                  <a:cubicBezTo>
                    <a:pt x="3" y="74"/>
                    <a:pt x="3" y="74"/>
                    <a:pt x="3" y="74"/>
                  </a:cubicBezTo>
                  <a:cubicBezTo>
                    <a:pt x="2" y="74"/>
                    <a:pt x="2" y="74"/>
                    <a:pt x="2" y="74"/>
                  </a:cubicBezTo>
                  <a:cubicBezTo>
                    <a:pt x="2" y="75"/>
                    <a:pt x="1" y="76"/>
                    <a:pt x="1" y="76"/>
                  </a:cubicBezTo>
                  <a:cubicBezTo>
                    <a:pt x="1" y="77"/>
                    <a:pt x="0" y="78"/>
                    <a:pt x="0" y="78"/>
                  </a:cubicBezTo>
                  <a:cubicBezTo>
                    <a:pt x="1" y="79"/>
                    <a:pt x="1" y="79"/>
                    <a:pt x="1" y="79"/>
                  </a:cubicBezTo>
                  <a:cubicBezTo>
                    <a:pt x="1" y="79"/>
                    <a:pt x="1" y="79"/>
                    <a:pt x="2" y="79"/>
                  </a:cubicBezTo>
                  <a:cubicBezTo>
                    <a:pt x="4" y="80"/>
                    <a:pt x="6" y="81"/>
                    <a:pt x="6" y="83"/>
                  </a:cubicBezTo>
                  <a:cubicBezTo>
                    <a:pt x="6" y="84"/>
                    <a:pt x="6" y="84"/>
                    <a:pt x="6" y="85"/>
                  </a:cubicBezTo>
                  <a:cubicBezTo>
                    <a:pt x="6" y="85"/>
                    <a:pt x="6" y="85"/>
                    <a:pt x="6" y="85"/>
                  </a:cubicBezTo>
                  <a:cubicBezTo>
                    <a:pt x="7" y="85"/>
                    <a:pt x="7" y="85"/>
                    <a:pt x="7" y="85"/>
                  </a:cubicBezTo>
                  <a:cubicBezTo>
                    <a:pt x="7" y="86"/>
                    <a:pt x="7" y="86"/>
                    <a:pt x="7" y="86"/>
                  </a:cubicBezTo>
                  <a:cubicBezTo>
                    <a:pt x="7" y="85"/>
                    <a:pt x="7" y="85"/>
                    <a:pt x="7" y="85"/>
                  </a:cubicBezTo>
                  <a:cubicBezTo>
                    <a:pt x="8" y="86"/>
                    <a:pt x="9" y="86"/>
                    <a:pt x="9" y="86"/>
                  </a:cubicBezTo>
                  <a:cubicBezTo>
                    <a:pt x="12" y="87"/>
                    <a:pt x="15" y="89"/>
                    <a:pt x="16" y="91"/>
                  </a:cubicBezTo>
                  <a:cubicBezTo>
                    <a:pt x="17" y="94"/>
                    <a:pt x="19" y="95"/>
                    <a:pt x="21" y="96"/>
                  </a:cubicBezTo>
                  <a:cubicBezTo>
                    <a:pt x="22" y="97"/>
                    <a:pt x="22" y="97"/>
                    <a:pt x="22" y="97"/>
                  </a:cubicBezTo>
                  <a:cubicBezTo>
                    <a:pt x="23" y="97"/>
                    <a:pt x="23" y="97"/>
                    <a:pt x="23" y="97"/>
                  </a:cubicBezTo>
                  <a:cubicBezTo>
                    <a:pt x="23" y="97"/>
                    <a:pt x="23" y="97"/>
                    <a:pt x="24" y="97"/>
                  </a:cubicBezTo>
                  <a:cubicBezTo>
                    <a:pt x="24" y="98"/>
                    <a:pt x="24" y="98"/>
                    <a:pt x="25" y="98"/>
                  </a:cubicBezTo>
                  <a:cubicBezTo>
                    <a:pt x="26" y="98"/>
                    <a:pt x="26" y="98"/>
                    <a:pt x="27" y="97"/>
                  </a:cubicBezTo>
                  <a:cubicBezTo>
                    <a:pt x="28" y="97"/>
                    <a:pt x="29" y="97"/>
                    <a:pt x="30" y="97"/>
                  </a:cubicBezTo>
                  <a:cubicBezTo>
                    <a:pt x="31" y="97"/>
                    <a:pt x="33" y="98"/>
                    <a:pt x="34" y="98"/>
                  </a:cubicBezTo>
                  <a:cubicBezTo>
                    <a:pt x="34" y="99"/>
                    <a:pt x="34" y="99"/>
                    <a:pt x="34" y="99"/>
                  </a:cubicBezTo>
                  <a:cubicBezTo>
                    <a:pt x="36" y="101"/>
                    <a:pt x="37" y="102"/>
                    <a:pt x="39" y="102"/>
                  </a:cubicBezTo>
                  <a:cubicBezTo>
                    <a:pt x="39" y="102"/>
                    <a:pt x="40" y="101"/>
                    <a:pt x="40" y="101"/>
                  </a:cubicBezTo>
                  <a:cubicBezTo>
                    <a:pt x="40" y="101"/>
                    <a:pt x="40" y="101"/>
                    <a:pt x="40" y="101"/>
                  </a:cubicBezTo>
                  <a:cubicBezTo>
                    <a:pt x="44" y="101"/>
                    <a:pt x="46" y="103"/>
                    <a:pt x="47" y="105"/>
                  </a:cubicBezTo>
                  <a:cubicBezTo>
                    <a:pt x="47" y="105"/>
                    <a:pt x="47" y="105"/>
                    <a:pt x="47" y="105"/>
                  </a:cubicBezTo>
                  <a:cubicBezTo>
                    <a:pt x="48" y="106"/>
                    <a:pt x="48" y="106"/>
                    <a:pt x="48" y="106"/>
                  </a:cubicBezTo>
                  <a:cubicBezTo>
                    <a:pt x="50" y="108"/>
                    <a:pt x="51" y="111"/>
                    <a:pt x="51" y="113"/>
                  </a:cubicBezTo>
                  <a:cubicBezTo>
                    <a:pt x="52" y="114"/>
                    <a:pt x="52" y="114"/>
                    <a:pt x="52" y="114"/>
                  </a:cubicBezTo>
                  <a:cubicBezTo>
                    <a:pt x="52" y="115"/>
                    <a:pt x="53" y="116"/>
                    <a:pt x="54" y="118"/>
                  </a:cubicBezTo>
                  <a:cubicBezTo>
                    <a:pt x="62" y="129"/>
                    <a:pt x="62" y="129"/>
                    <a:pt x="62" y="129"/>
                  </a:cubicBezTo>
                  <a:cubicBezTo>
                    <a:pt x="63" y="131"/>
                    <a:pt x="62" y="134"/>
                    <a:pt x="62" y="136"/>
                  </a:cubicBezTo>
                  <a:cubicBezTo>
                    <a:pt x="62" y="136"/>
                    <a:pt x="62" y="136"/>
                    <a:pt x="62" y="136"/>
                  </a:cubicBezTo>
                  <a:cubicBezTo>
                    <a:pt x="62" y="139"/>
                    <a:pt x="62" y="142"/>
                    <a:pt x="62" y="145"/>
                  </a:cubicBezTo>
                  <a:cubicBezTo>
                    <a:pt x="62" y="145"/>
                    <a:pt x="62" y="145"/>
                    <a:pt x="62" y="145"/>
                  </a:cubicBezTo>
                  <a:cubicBezTo>
                    <a:pt x="62" y="146"/>
                    <a:pt x="62" y="146"/>
                    <a:pt x="62" y="146"/>
                  </a:cubicBezTo>
                  <a:cubicBezTo>
                    <a:pt x="62" y="147"/>
                    <a:pt x="62" y="148"/>
                    <a:pt x="62" y="148"/>
                  </a:cubicBezTo>
                  <a:cubicBezTo>
                    <a:pt x="62" y="149"/>
                    <a:pt x="62" y="149"/>
                    <a:pt x="61" y="150"/>
                  </a:cubicBezTo>
                  <a:cubicBezTo>
                    <a:pt x="61" y="151"/>
                    <a:pt x="60" y="152"/>
                    <a:pt x="59" y="153"/>
                  </a:cubicBezTo>
                  <a:cubicBezTo>
                    <a:pt x="59" y="155"/>
                    <a:pt x="59" y="155"/>
                    <a:pt x="59" y="155"/>
                  </a:cubicBezTo>
                  <a:cubicBezTo>
                    <a:pt x="58" y="156"/>
                    <a:pt x="58" y="156"/>
                    <a:pt x="57" y="157"/>
                  </a:cubicBezTo>
                  <a:cubicBezTo>
                    <a:pt x="56" y="159"/>
                    <a:pt x="56" y="159"/>
                    <a:pt x="56" y="160"/>
                  </a:cubicBezTo>
                  <a:cubicBezTo>
                    <a:pt x="57" y="162"/>
                    <a:pt x="58" y="163"/>
                    <a:pt x="59" y="164"/>
                  </a:cubicBezTo>
                  <a:cubicBezTo>
                    <a:pt x="60" y="165"/>
                    <a:pt x="60" y="165"/>
                    <a:pt x="60" y="165"/>
                  </a:cubicBezTo>
                  <a:cubicBezTo>
                    <a:pt x="60" y="165"/>
                    <a:pt x="60" y="165"/>
                    <a:pt x="60" y="165"/>
                  </a:cubicBezTo>
                  <a:cubicBezTo>
                    <a:pt x="63" y="166"/>
                    <a:pt x="65" y="166"/>
                    <a:pt x="68" y="166"/>
                  </a:cubicBezTo>
                  <a:cubicBezTo>
                    <a:pt x="72" y="167"/>
                    <a:pt x="76" y="167"/>
                    <a:pt x="79" y="167"/>
                  </a:cubicBezTo>
                  <a:cubicBezTo>
                    <a:pt x="86" y="168"/>
                    <a:pt x="94" y="168"/>
                    <a:pt x="101" y="169"/>
                  </a:cubicBezTo>
                  <a:cubicBezTo>
                    <a:pt x="104" y="170"/>
                    <a:pt x="104" y="170"/>
                    <a:pt x="104" y="170"/>
                  </a:cubicBezTo>
                  <a:cubicBezTo>
                    <a:pt x="105" y="170"/>
                    <a:pt x="108" y="170"/>
                    <a:pt x="110" y="171"/>
                  </a:cubicBezTo>
                  <a:cubicBezTo>
                    <a:pt x="123" y="179"/>
                    <a:pt x="123" y="179"/>
                    <a:pt x="123" y="179"/>
                  </a:cubicBezTo>
                  <a:cubicBezTo>
                    <a:pt x="124" y="180"/>
                    <a:pt x="125" y="180"/>
                    <a:pt x="126" y="181"/>
                  </a:cubicBezTo>
                  <a:cubicBezTo>
                    <a:pt x="129" y="183"/>
                    <a:pt x="132" y="185"/>
                    <a:pt x="135" y="186"/>
                  </a:cubicBezTo>
                  <a:cubicBezTo>
                    <a:pt x="136" y="186"/>
                    <a:pt x="137" y="186"/>
                    <a:pt x="138" y="186"/>
                  </a:cubicBezTo>
                  <a:cubicBezTo>
                    <a:pt x="139" y="186"/>
                    <a:pt x="140" y="186"/>
                    <a:pt x="141" y="186"/>
                  </a:cubicBezTo>
                  <a:cubicBezTo>
                    <a:pt x="146" y="185"/>
                    <a:pt x="146" y="185"/>
                    <a:pt x="146" y="185"/>
                  </a:cubicBezTo>
                  <a:cubicBezTo>
                    <a:pt x="146" y="189"/>
                    <a:pt x="146" y="189"/>
                    <a:pt x="146" y="189"/>
                  </a:cubicBezTo>
                  <a:cubicBezTo>
                    <a:pt x="146" y="190"/>
                    <a:pt x="145" y="190"/>
                    <a:pt x="145" y="191"/>
                  </a:cubicBezTo>
                  <a:cubicBezTo>
                    <a:pt x="145" y="192"/>
                    <a:pt x="145" y="192"/>
                    <a:pt x="145" y="192"/>
                  </a:cubicBezTo>
                  <a:cubicBezTo>
                    <a:pt x="146" y="190"/>
                    <a:pt x="146" y="190"/>
                    <a:pt x="146" y="190"/>
                  </a:cubicBezTo>
                  <a:cubicBezTo>
                    <a:pt x="146" y="193"/>
                    <a:pt x="146" y="193"/>
                    <a:pt x="146" y="193"/>
                  </a:cubicBezTo>
                  <a:cubicBezTo>
                    <a:pt x="146" y="193"/>
                    <a:pt x="146" y="193"/>
                    <a:pt x="146" y="193"/>
                  </a:cubicBezTo>
                  <a:cubicBezTo>
                    <a:pt x="147" y="194"/>
                    <a:pt x="148" y="195"/>
                    <a:pt x="149" y="196"/>
                  </a:cubicBezTo>
                  <a:cubicBezTo>
                    <a:pt x="149" y="198"/>
                    <a:pt x="149" y="198"/>
                    <a:pt x="149" y="198"/>
                  </a:cubicBezTo>
                  <a:cubicBezTo>
                    <a:pt x="150" y="199"/>
                    <a:pt x="150" y="199"/>
                    <a:pt x="150" y="200"/>
                  </a:cubicBezTo>
                  <a:cubicBezTo>
                    <a:pt x="154" y="209"/>
                    <a:pt x="154" y="209"/>
                    <a:pt x="154" y="209"/>
                  </a:cubicBezTo>
                  <a:cubicBezTo>
                    <a:pt x="155" y="212"/>
                    <a:pt x="157" y="214"/>
                    <a:pt x="159" y="216"/>
                  </a:cubicBezTo>
                  <a:cubicBezTo>
                    <a:pt x="160" y="217"/>
                    <a:pt x="161" y="217"/>
                    <a:pt x="161" y="218"/>
                  </a:cubicBezTo>
                  <a:cubicBezTo>
                    <a:pt x="162" y="219"/>
                    <a:pt x="162" y="219"/>
                    <a:pt x="162" y="219"/>
                  </a:cubicBezTo>
                  <a:cubicBezTo>
                    <a:pt x="162" y="219"/>
                    <a:pt x="162" y="219"/>
                    <a:pt x="162" y="219"/>
                  </a:cubicBezTo>
                  <a:cubicBezTo>
                    <a:pt x="162" y="219"/>
                    <a:pt x="162" y="219"/>
                    <a:pt x="163" y="220"/>
                  </a:cubicBezTo>
                  <a:cubicBezTo>
                    <a:pt x="163" y="220"/>
                    <a:pt x="164" y="221"/>
                    <a:pt x="164" y="222"/>
                  </a:cubicBezTo>
                  <a:cubicBezTo>
                    <a:pt x="164" y="222"/>
                    <a:pt x="164" y="222"/>
                    <a:pt x="164" y="222"/>
                  </a:cubicBezTo>
                  <a:cubicBezTo>
                    <a:pt x="168" y="222"/>
                    <a:pt x="168" y="222"/>
                    <a:pt x="168" y="222"/>
                  </a:cubicBezTo>
                  <a:cubicBezTo>
                    <a:pt x="170" y="221"/>
                    <a:pt x="171" y="221"/>
                    <a:pt x="173" y="221"/>
                  </a:cubicBezTo>
                  <a:cubicBezTo>
                    <a:pt x="174" y="221"/>
                    <a:pt x="175" y="221"/>
                    <a:pt x="176" y="221"/>
                  </a:cubicBezTo>
                  <a:cubicBezTo>
                    <a:pt x="180" y="221"/>
                    <a:pt x="183" y="222"/>
                    <a:pt x="186" y="222"/>
                  </a:cubicBezTo>
                  <a:cubicBezTo>
                    <a:pt x="189" y="223"/>
                    <a:pt x="189" y="223"/>
                    <a:pt x="189" y="223"/>
                  </a:cubicBezTo>
                  <a:cubicBezTo>
                    <a:pt x="190" y="223"/>
                    <a:pt x="191" y="223"/>
                    <a:pt x="192" y="223"/>
                  </a:cubicBezTo>
                  <a:cubicBezTo>
                    <a:pt x="195" y="223"/>
                    <a:pt x="195" y="223"/>
                    <a:pt x="195" y="223"/>
                  </a:cubicBezTo>
                  <a:cubicBezTo>
                    <a:pt x="196" y="224"/>
                    <a:pt x="197" y="224"/>
                    <a:pt x="199" y="224"/>
                  </a:cubicBezTo>
                  <a:cubicBezTo>
                    <a:pt x="206" y="225"/>
                    <a:pt x="214" y="225"/>
                    <a:pt x="222" y="225"/>
                  </a:cubicBezTo>
                  <a:cubicBezTo>
                    <a:pt x="223" y="225"/>
                    <a:pt x="223" y="225"/>
                    <a:pt x="223" y="225"/>
                  </a:cubicBezTo>
                  <a:cubicBezTo>
                    <a:pt x="223" y="225"/>
                    <a:pt x="223" y="225"/>
                    <a:pt x="223" y="225"/>
                  </a:cubicBezTo>
                  <a:cubicBezTo>
                    <a:pt x="224" y="225"/>
                    <a:pt x="225" y="225"/>
                    <a:pt x="226" y="224"/>
                  </a:cubicBezTo>
                  <a:cubicBezTo>
                    <a:pt x="227" y="224"/>
                    <a:pt x="229" y="223"/>
                    <a:pt x="231" y="223"/>
                  </a:cubicBezTo>
                  <a:cubicBezTo>
                    <a:pt x="231" y="223"/>
                    <a:pt x="231" y="223"/>
                    <a:pt x="231" y="223"/>
                  </a:cubicBezTo>
                  <a:cubicBezTo>
                    <a:pt x="232" y="223"/>
                    <a:pt x="232" y="223"/>
                    <a:pt x="232" y="223"/>
                  </a:cubicBezTo>
                  <a:cubicBezTo>
                    <a:pt x="232" y="223"/>
                    <a:pt x="233" y="223"/>
                    <a:pt x="234" y="224"/>
                  </a:cubicBezTo>
                  <a:cubicBezTo>
                    <a:pt x="260" y="228"/>
                    <a:pt x="260" y="228"/>
                    <a:pt x="260" y="228"/>
                  </a:cubicBezTo>
                  <a:cubicBezTo>
                    <a:pt x="260" y="228"/>
                    <a:pt x="261" y="228"/>
                    <a:pt x="261" y="228"/>
                  </a:cubicBezTo>
                  <a:cubicBezTo>
                    <a:pt x="263" y="228"/>
                    <a:pt x="265" y="228"/>
                    <a:pt x="266" y="229"/>
                  </a:cubicBezTo>
                  <a:cubicBezTo>
                    <a:pt x="267" y="230"/>
                    <a:pt x="267" y="230"/>
                    <a:pt x="268" y="231"/>
                  </a:cubicBezTo>
                  <a:cubicBezTo>
                    <a:pt x="268" y="231"/>
                    <a:pt x="269" y="233"/>
                    <a:pt x="270" y="234"/>
                  </a:cubicBezTo>
                  <a:cubicBezTo>
                    <a:pt x="270" y="234"/>
                    <a:pt x="270" y="234"/>
                    <a:pt x="270" y="234"/>
                  </a:cubicBezTo>
                  <a:cubicBezTo>
                    <a:pt x="270" y="234"/>
                    <a:pt x="270" y="234"/>
                    <a:pt x="270" y="234"/>
                  </a:cubicBezTo>
                  <a:cubicBezTo>
                    <a:pt x="279" y="236"/>
                    <a:pt x="279" y="236"/>
                    <a:pt x="279" y="236"/>
                  </a:cubicBezTo>
                  <a:cubicBezTo>
                    <a:pt x="282" y="237"/>
                    <a:pt x="285" y="238"/>
                    <a:pt x="287" y="238"/>
                  </a:cubicBezTo>
                  <a:cubicBezTo>
                    <a:pt x="290" y="239"/>
                    <a:pt x="293" y="240"/>
                    <a:pt x="295" y="241"/>
                  </a:cubicBezTo>
                  <a:cubicBezTo>
                    <a:pt x="297" y="242"/>
                    <a:pt x="299" y="243"/>
                    <a:pt x="301" y="243"/>
                  </a:cubicBezTo>
                  <a:cubicBezTo>
                    <a:pt x="302" y="243"/>
                    <a:pt x="303" y="243"/>
                    <a:pt x="304" y="243"/>
                  </a:cubicBezTo>
                  <a:cubicBezTo>
                    <a:pt x="305" y="243"/>
                    <a:pt x="306" y="243"/>
                    <a:pt x="307" y="243"/>
                  </a:cubicBezTo>
                  <a:cubicBezTo>
                    <a:pt x="307" y="243"/>
                    <a:pt x="307" y="243"/>
                    <a:pt x="308" y="243"/>
                  </a:cubicBezTo>
                  <a:cubicBezTo>
                    <a:pt x="308" y="243"/>
                    <a:pt x="308" y="243"/>
                    <a:pt x="308" y="243"/>
                  </a:cubicBezTo>
                  <a:cubicBezTo>
                    <a:pt x="309" y="243"/>
                    <a:pt x="311" y="242"/>
                    <a:pt x="313" y="242"/>
                  </a:cubicBezTo>
                  <a:cubicBezTo>
                    <a:pt x="316" y="242"/>
                    <a:pt x="317" y="243"/>
                    <a:pt x="317" y="244"/>
                  </a:cubicBezTo>
                  <a:cubicBezTo>
                    <a:pt x="318" y="245"/>
                    <a:pt x="318" y="245"/>
                    <a:pt x="318" y="245"/>
                  </a:cubicBezTo>
                  <a:cubicBezTo>
                    <a:pt x="318" y="245"/>
                    <a:pt x="318" y="245"/>
                    <a:pt x="318" y="245"/>
                  </a:cubicBezTo>
                  <a:cubicBezTo>
                    <a:pt x="319" y="246"/>
                    <a:pt x="319" y="246"/>
                    <a:pt x="319" y="246"/>
                  </a:cubicBezTo>
                  <a:cubicBezTo>
                    <a:pt x="319" y="247"/>
                    <a:pt x="319" y="247"/>
                    <a:pt x="319" y="247"/>
                  </a:cubicBezTo>
                  <a:cubicBezTo>
                    <a:pt x="319" y="247"/>
                    <a:pt x="319" y="247"/>
                    <a:pt x="319" y="247"/>
                  </a:cubicBezTo>
                  <a:cubicBezTo>
                    <a:pt x="320" y="247"/>
                    <a:pt x="320" y="247"/>
                    <a:pt x="320" y="247"/>
                  </a:cubicBezTo>
                  <a:cubicBezTo>
                    <a:pt x="321" y="247"/>
                    <a:pt x="321" y="247"/>
                    <a:pt x="321" y="247"/>
                  </a:cubicBezTo>
                  <a:cubicBezTo>
                    <a:pt x="322" y="247"/>
                    <a:pt x="324" y="248"/>
                    <a:pt x="325" y="248"/>
                  </a:cubicBezTo>
                  <a:cubicBezTo>
                    <a:pt x="325" y="248"/>
                    <a:pt x="325" y="248"/>
                    <a:pt x="325" y="248"/>
                  </a:cubicBezTo>
                  <a:cubicBezTo>
                    <a:pt x="326" y="248"/>
                    <a:pt x="326" y="248"/>
                    <a:pt x="326" y="248"/>
                  </a:cubicBezTo>
                  <a:cubicBezTo>
                    <a:pt x="327" y="246"/>
                    <a:pt x="329" y="245"/>
                    <a:pt x="330" y="244"/>
                  </a:cubicBezTo>
                  <a:cubicBezTo>
                    <a:pt x="333" y="243"/>
                    <a:pt x="337" y="241"/>
                    <a:pt x="340" y="240"/>
                  </a:cubicBezTo>
                  <a:cubicBezTo>
                    <a:pt x="341" y="240"/>
                    <a:pt x="343" y="239"/>
                    <a:pt x="344" y="238"/>
                  </a:cubicBezTo>
                  <a:cubicBezTo>
                    <a:pt x="347" y="237"/>
                    <a:pt x="347" y="237"/>
                    <a:pt x="347" y="237"/>
                  </a:cubicBezTo>
                  <a:cubicBezTo>
                    <a:pt x="349" y="236"/>
                    <a:pt x="353" y="235"/>
                    <a:pt x="356" y="233"/>
                  </a:cubicBezTo>
                  <a:cubicBezTo>
                    <a:pt x="355" y="230"/>
                    <a:pt x="355" y="230"/>
                    <a:pt x="355" y="230"/>
                  </a:cubicBezTo>
                  <a:cubicBezTo>
                    <a:pt x="357" y="233"/>
                    <a:pt x="357" y="233"/>
                    <a:pt x="357" y="233"/>
                  </a:cubicBezTo>
                  <a:cubicBezTo>
                    <a:pt x="358" y="233"/>
                    <a:pt x="358" y="233"/>
                    <a:pt x="358" y="233"/>
                  </a:cubicBezTo>
                  <a:cubicBezTo>
                    <a:pt x="358" y="233"/>
                    <a:pt x="359" y="232"/>
                    <a:pt x="359" y="232"/>
                  </a:cubicBezTo>
                  <a:cubicBezTo>
                    <a:pt x="363" y="231"/>
                    <a:pt x="368" y="231"/>
                    <a:pt x="372" y="230"/>
                  </a:cubicBezTo>
                  <a:cubicBezTo>
                    <a:pt x="374" y="230"/>
                    <a:pt x="376" y="230"/>
                    <a:pt x="378" y="230"/>
                  </a:cubicBezTo>
                  <a:cubicBezTo>
                    <a:pt x="383" y="229"/>
                    <a:pt x="383" y="229"/>
                    <a:pt x="383" y="229"/>
                  </a:cubicBezTo>
                  <a:cubicBezTo>
                    <a:pt x="386" y="229"/>
                    <a:pt x="389" y="229"/>
                    <a:pt x="391" y="229"/>
                  </a:cubicBezTo>
                  <a:cubicBezTo>
                    <a:pt x="396" y="229"/>
                    <a:pt x="396" y="229"/>
                    <a:pt x="396" y="229"/>
                  </a:cubicBezTo>
                  <a:cubicBezTo>
                    <a:pt x="396" y="229"/>
                    <a:pt x="397" y="229"/>
                    <a:pt x="398" y="229"/>
                  </a:cubicBezTo>
                  <a:cubicBezTo>
                    <a:pt x="399" y="229"/>
                    <a:pt x="399" y="229"/>
                    <a:pt x="399" y="229"/>
                  </a:cubicBezTo>
                  <a:cubicBezTo>
                    <a:pt x="400" y="229"/>
                    <a:pt x="401" y="229"/>
                    <a:pt x="402" y="229"/>
                  </a:cubicBezTo>
                  <a:cubicBezTo>
                    <a:pt x="403" y="229"/>
                    <a:pt x="404" y="229"/>
                    <a:pt x="405" y="229"/>
                  </a:cubicBezTo>
                  <a:cubicBezTo>
                    <a:pt x="407" y="229"/>
                    <a:pt x="410" y="229"/>
                    <a:pt x="412" y="228"/>
                  </a:cubicBezTo>
                  <a:cubicBezTo>
                    <a:pt x="413" y="227"/>
                    <a:pt x="415" y="227"/>
                    <a:pt x="417" y="226"/>
                  </a:cubicBezTo>
                  <a:cubicBezTo>
                    <a:pt x="419" y="225"/>
                    <a:pt x="419" y="225"/>
                    <a:pt x="419" y="225"/>
                  </a:cubicBezTo>
                  <a:cubicBezTo>
                    <a:pt x="422" y="224"/>
                    <a:pt x="422" y="224"/>
                    <a:pt x="422" y="224"/>
                  </a:cubicBezTo>
                  <a:cubicBezTo>
                    <a:pt x="424" y="223"/>
                    <a:pt x="425" y="222"/>
                    <a:pt x="427" y="221"/>
                  </a:cubicBezTo>
                  <a:cubicBezTo>
                    <a:pt x="428" y="221"/>
                    <a:pt x="429" y="220"/>
                    <a:pt x="431" y="219"/>
                  </a:cubicBezTo>
                  <a:cubicBezTo>
                    <a:pt x="431" y="218"/>
                    <a:pt x="432" y="217"/>
                    <a:pt x="432" y="216"/>
                  </a:cubicBezTo>
                  <a:cubicBezTo>
                    <a:pt x="433" y="216"/>
                    <a:pt x="433" y="216"/>
                    <a:pt x="433" y="216"/>
                  </a:cubicBezTo>
                  <a:cubicBezTo>
                    <a:pt x="434" y="214"/>
                    <a:pt x="436" y="211"/>
                    <a:pt x="439" y="209"/>
                  </a:cubicBezTo>
                  <a:cubicBezTo>
                    <a:pt x="441" y="208"/>
                    <a:pt x="444" y="207"/>
                    <a:pt x="446" y="205"/>
                  </a:cubicBezTo>
                  <a:cubicBezTo>
                    <a:pt x="447" y="205"/>
                    <a:pt x="447" y="205"/>
                    <a:pt x="447" y="205"/>
                  </a:cubicBezTo>
                  <a:cubicBezTo>
                    <a:pt x="450" y="203"/>
                    <a:pt x="453" y="202"/>
                    <a:pt x="455" y="200"/>
                  </a:cubicBezTo>
                  <a:cubicBezTo>
                    <a:pt x="456" y="200"/>
                    <a:pt x="456" y="200"/>
                    <a:pt x="456" y="199"/>
                  </a:cubicBezTo>
                  <a:cubicBezTo>
                    <a:pt x="456" y="199"/>
                    <a:pt x="456" y="199"/>
                    <a:pt x="456" y="199"/>
                  </a:cubicBezTo>
                  <a:cubicBezTo>
                    <a:pt x="456" y="199"/>
                    <a:pt x="456" y="199"/>
                    <a:pt x="456" y="199"/>
                  </a:cubicBezTo>
                  <a:cubicBezTo>
                    <a:pt x="455" y="198"/>
                    <a:pt x="455" y="198"/>
                    <a:pt x="454" y="197"/>
                  </a:cubicBezTo>
                  <a:cubicBezTo>
                    <a:pt x="453" y="197"/>
                    <a:pt x="453" y="196"/>
                    <a:pt x="452" y="196"/>
                  </a:cubicBezTo>
                  <a:cubicBezTo>
                    <a:pt x="451" y="195"/>
                    <a:pt x="450" y="194"/>
                    <a:pt x="450" y="193"/>
                  </a:cubicBezTo>
                  <a:cubicBezTo>
                    <a:pt x="449" y="191"/>
                    <a:pt x="447" y="189"/>
                    <a:pt x="447" y="187"/>
                  </a:cubicBezTo>
                  <a:cubicBezTo>
                    <a:pt x="446" y="185"/>
                    <a:pt x="447" y="184"/>
                    <a:pt x="447" y="183"/>
                  </a:cubicBezTo>
                  <a:cubicBezTo>
                    <a:pt x="448" y="182"/>
                    <a:pt x="448" y="182"/>
                    <a:pt x="448" y="182"/>
                  </a:cubicBezTo>
                  <a:cubicBezTo>
                    <a:pt x="449" y="180"/>
                    <a:pt x="450" y="178"/>
                    <a:pt x="451" y="175"/>
                  </a:cubicBezTo>
                  <a:cubicBezTo>
                    <a:pt x="452" y="173"/>
                    <a:pt x="453" y="172"/>
                    <a:pt x="455" y="170"/>
                  </a:cubicBezTo>
                  <a:cubicBezTo>
                    <a:pt x="456" y="169"/>
                    <a:pt x="456" y="169"/>
                    <a:pt x="457" y="168"/>
                  </a:cubicBezTo>
                  <a:cubicBezTo>
                    <a:pt x="458" y="167"/>
                    <a:pt x="460" y="167"/>
                    <a:pt x="461" y="167"/>
                  </a:cubicBezTo>
                  <a:cubicBezTo>
                    <a:pt x="462" y="167"/>
                    <a:pt x="463" y="167"/>
                    <a:pt x="464" y="167"/>
                  </a:cubicBezTo>
                  <a:cubicBezTo>
                    <a:pt x="466" y="167"/>
                    <a:pt x="468" y="167"/>
                    <a:pt x="470" y="168"/>
                  </a:cubicBezTo>
                  <a:cubicBezTo>
                    <a:pt x="473" y="169"/>
                    <a:pt x="476" y="171"/>
                    <a:pt x="479" y="172"/>
                  </a:cubicBezTo>
                  <a:cubicBezTo>
                    <a:pt x="480" y="173"/>
                    <a:pt x="481" y="173"/>
                    <a:pt x="482" y="174"/>
                  </a:cubicBezTo>
                  <a:cubicBezTo>
                    <a:pt x="483" y="174"/>
                    <a:pt x="484" y="174"/>
                    <a:pt x="486" y="174"/>
                  </a:cubicBezTo>
                  <a:cubicBezTo>
                    <a:pt x="486" y="175"/>
                    <a:pt x="486" y="175"/>
                    <a:pt x="487" y="175"/>
                  </a:cubicBezTo>
                  <a:cubicBezTo>
                    <a:pt x="487" y="175"/>
                    <a:pt x="487" y="175"/>
                    <a:pt x="487" y="175"/>
                  </a:cubicBezTo>
                  <a:cubicBezTo>
                    <a:pt x="488" y="175"/>
                    <a:pt x="488" y="175"/>
                    <a:pt x="489" y="175"/>
                  </a:cubicBezTo>
                  <a:cubicBezTo>
                    <a:pt x="490" y="175"/>
                    <a:pt x="491" y="174"/>
                    <a:pt x="493" y="174"/>
                  </a:cubicBezTo>
                  <a:cubicBezTo>
                    <a:pt x="493" y="173"/>
                    <a:pt x="493" y="173"/>
                    <a:pt x="493" y="173"/>
                  </a:cubicBezTo>
                  <a:cubicBezTo>
                    <a:pt x="494" y="172"/>
                    <a:pt x="495" y="172"/>
                    <a:pt x="495" y="172"/>
                  </a:cubicBezTo>
                  <a:cubicBezTo>
                    <a:pt x="499" y="169"/>
                    <a:pt x="502" y="167"/>
                    <a:pt x="505" y="164"/>
                  </a:cubicBezTo>
                  <a:cubicBezTo>
                    <a:pt x="503" y="162"/>
                    <a:pt x="503" y="162"/>
                    <a:pt x="503" y="162"/>
                  </a:cubicBezTo>
                  <a:cubicBezTo>
                    <a:pt x="506" y="163"/>
                    <a:pt x="506" y="163"/>
                    <a:pt x="506" y="163"/>
                  </a:cubicBezTo>
                  <a:cubicBezTo>
                    <a:pt x="506" y="163"/>
                    <a:pt x="506" y="163"/>
                    <a:pt x="506" y="163"/>
                  </a:cubicBezTo>
                  <a:cubicBezTo>
                    <a:pt x="506" y="163"/>
                    <a:pt x="506" y="163"/>
                    <a:pt x="506" y="163"/>
                  </a:cubicBezTo>
                  <a:cubicBezTo>
                    <a:pt x="506" y="162"/>
                    <a:pt x="506" y="162"/>
                    <a:pt x="506" y="162"/>
                  </a:cubicBezTo>
                  <a:cubicBezTo>
                    <a:pt x="507" y="162"/>
                    <a:pt x="507" y="162"/>
                    <a:pt x="507" y="162"/>
                  </a:cubicBezTo>
                  <a:cubicBezTo>
                    <a:pt x="507" y="162"/>
                    <a:pt x="508" y="161"/>
                    <a:pt x="509" y="160"/>
                  </a:cubicBezTo>
                  <a:cubicBezTo>
                    <a:pt x="509" y="160"/>
                    <a:pt x="509" y="160"/>
                    <a:pt x="509" y="160"/>
                  </a:cubicBezTo>
                  <a:cubicBezTo>
                    <a:pt x="510" y="159"/>
                    <a:pt x="511" y="159"/>
                    <a:pt x="513" y="159"/>
                  </a:cubicBezTo>
                  <a:cubicBezTo>
                    <a:pt x="514" y="159"/>
                    <a:pt x="515" y="159"/>
                    <a:pt x="515" y="159"/>
                  </a:cubicBezTo>
                  <a:cubicBezTo>
                    <a:pt x="516" y="159"/>
                    <a:pt x="516" y="159"/>
                    <a:pt x="516" y="159"/>
                  </a:cubicBezTo>
                  <a:cubicBezTo>
                    <a:pt x="516" y="159"/>
                    <a:pt x="516" y="159"/>
                    <a:pt x="516" y="159"/>
                  </a:cubicBezTo>
                  <a:cubicBezTo>
                    <a:pt x="528" y="158"/>
                    <a:pt x="528" y="158"/>
                    <a:pt x="528" y="158"/>
                  </a:cubicBezTo>
                  <a:cubicBezTo>
                    <a:pt x="529" y="158"/>
                    <a:pt x="529" y="158"/>
                    <a:pt x="530" y="158"/>
                  </a:cubicBezTo>
                  <a:cubicBezTo>
                    <a:pt x="530" y="157"/>
                    <a:pt x="530" y="157"/>
                    <a:pt x="530" y="157"/>
                  </a:cubicBezTo>
                  <a:cubicBezTo>
                    <a:pt x="531" y="157"/>
                    <a:pt x="532" y="157"/>
                    <a:pt x="532" y="156"/>
                  </a:cubicBezTo>
                  <a:cubicBezTo>
                    <a:pt x="533" y="156"/>
                    <a:pt x="533" y="156"/>
                    <a:pt x="534" y="155"/>
                  </a:cubicBezTo>
                  <a:cubicBezTo>
                    <a:pt x="535" y="154"/>
                    <a:pt x="535" y="154"/>
                    <a:pt x="535" y="154"/>
                  </a:cubicBezTo>
                  <a:cubicBezTo>
                    <a:pt x="536" y="154"/>
                    <a:pt x="536" y="154"/>
                    <a:pt x="536" y="154"/>
                  </a:cubicBezTo>
                  <a:cubicBezTo>
                    <a:pt x="537" y="154"/>
                    <a:pt x="537" y="153"/>
                    <a:pt x="538" y="153"/>
                  </a:cubicBezTo>
                  <a:cubicBezTo>
                    <a:pt x="538" y="153"/>
                    <a:pt x="538" y="153"/>
                    <a:pt x="538" y="153"/>
                  </a:cubicBezTo>
                  <a:cubicBezTo>
                    <a:pt x="538" y="152"/>
                    <a:pt x="538" y="152"/>
                    <a:pt x="538" y="151"/>
                  </a:cubicBezTo>
                  <a:cubicBezTo>
                    <a:pt x="538" y="150"/>
                    <a:pt x="538" y="150"/>
                    <a:pt x="538" y="150"/>
                  </a:cubicBezTo>
                  <a:cubicBezTo>
                    <a:pt x="538" y="146"/>
                    <a:pt x="544" y="141"/>
                    <a:pt x="544" y="140"/>
                  </a:cubicBezTo>
                  <a:cubicBezTo>
                    <a:pt x="547" y="137"/>
                    <a:pt x="552" y="137"/>
                    <a:pt x="555" y="137"/>
                  </a:cubicBezTo>
                  <a:cubicBezTo>
                    <a:pt x="557" y="137"/>
                    <a:pt x="558" y="137"/>
                    <a:pt x="560" y="137"/>
                  </a:cubicBezTo>
                  <a:cubicBezTo>
                    <a:pt x="561" y="137"/>
                    <a:pt x="561" y="137"/>
                    <a:pt x="561" y="137"/>
                  </a:cubicBezTo>
                  <a:cubicBezTo>
                    <a:pt x="561" y="137"/>
                    <a:pt x="562" y="137"/>
                    <a:pt x="562" y="137"/>
                  </a:cubicBezTo>
                  <a:cubicBezTo>
                    <a:pt x="569" y="134"/>
                    <a:pt x="575" y="132"/>
                    <a:pt x="582" y="129"/>
                  </a:cubicBezTo>
                  <a:cubicBezTo>
                    <a:pt x="583" y="129"/>
                    <a:pt x="585" y="129"/>
                    <a:pt x="588" y="129"/>
                  </a:cubicBezTo>
                  <a:cubicBezTo>
                    <a:pt x="590" y="129"/>
                    <a:pt x="591" y="129"/>
                    <a:pt x="593" y="129"/>
                  </a:cubicBezTo>
                  <a:cubicBezTo>
                    <a:pt x="594" y="129"/>
                    <a:pt x="594" y="129"/>
                    <a:pt x="594" y="129"/>
                  </a:cubicBezTo>
                  <a:cubicBezTo>
                    <a:pt x="595" y="129"/>
                    <a:pt x="597" y="129"/>
                    <a:pt x="598" y="129"/>
                  </a:cubicBezTo>
                  <a:cubicBezTo>
                    <a:pt x="608" y="130"/>
                    <a:pt x="608" y="130"/>
                    <a:pt x="608" y="130"/>
                  </a:cubicBezTo>
                  <a:cubicBezTo>
                    <a:pt x="608" y="127"/>
                    <a:pt x="607" y="125"/>
                    <a:pt x="605" y="122"/>
                  </a:cubicBezTo>
                  <a:cubicBezTo>
                    <a:pt x="605" y="122"/>
                    <a:pt x="604" y="121"/>
                    <a:pt x="603" y="120"/>
                  </a:cubicBezTo>
                  <a:cubicBezTo>
                    <a:pt x="603" y="120"/>
                    <a:pt x="603" y="120"/>
                    <a:pt x="603" y="120"/>
                  </a:cubicBezTo>
                  <a:cubicBezTo>
                    <a:pt x="602" y="119"/>
                    <a:pt x="601" y="118"/>
                    <a:pt x="600" y="117"/>
                  </a:cubicBezTo>
                  <a:cubicBezTo>
                    <a:pt x="599" y="116"/>
                    <a:pt x="598" y="115"/>
                    <a:pt x="597" y="114"/>
                  </a:cubicBezTo>
                  <a:cubicBezTo>
                    <a:pt x="596" y="114"/>
                    <a:pt x="595" y="113"/>
                    <a:pt x="594" y="112"/>
                  </a:cubicBezTo>
                  <a:cubicBezTo>
                    <a:pt x="594" y="111"/>
                    <a:pt x="593" y="111"/>
                    <a:pt x="593" y="110"/>
                  </a:cubicBezTo>
                  <a:cubicBezTo>
                    <a:pt x="592" y="110"/>
                    <a:pt x="591" y="109"/>
                    <a:pt x="590" y="108"/>
                  </a:cubicBezTo>
                  <a:cubicBezTo>
                    <a:pt x="589" y="108"/>
                    <a:pt x="587" y="107"/>
                    <a:pt x="586" y="106"/>
                  </a:cubicBezTo>
                  <a:cubicBezTo>
                    <a:pt x="585" y="105"/>
                    <a:pt x="585" y="105"/>
                    <a:pt x="585" y="104"/>
                  </a:cubicBezTo>
                  <a:cubicBezTo>
                    <a:pt x="585" y="104"/>
                    <a:pt x="585" y="104"/>
                    <a:pt x="585" y="104"/>
                  </a:cubicBezTo>
                  <a:cubicBezTo>
                    <a:pt x="584" y="104"/>
                    <a:pt x="584" y="103"/>
                    <a:pt x="584" y="103"/>
                  </a:cubicBezTo>
                  <a:cubicBezTo>
                    <a:pt x="584" y="103"/>
                    <a:pt x="584" y="103"/>
                    <a:pt x="584" y="103"/>
                  </a:cubicBezTo>
                  <a:cubicBezTo>
                    <a:pt x="583" y="103"/>
                    <a:pt x="583" y="103"/>
                    <a:pt x="583" y="103"/>
                  </a:cubicBezTo>
                  <a:cubicBezTo>
                    <a:pt x="583" y="103"/>
                    <a:pt x="583" y="103"/>
                    <a:pt x="582" y="103"/>
                  </a:cubicBezTo>
                  <a:cubicBezTo>
                    <a:pt x="581" y="103"/>
                    <a:pt x="579" y="103"/>
                    <a:pt x="577" y="103"/>
                  </a:cubicBezTo>
                  <a:cubicBezTo>
                    <a:pt x="576" y="103"/>
                    <a:pt x="575" y="103"/>
                    <a:pt x="574" y="103"/>
                  </a:cubicBezTo>
                  <a:cubicBezTo>
                    <a:pt x="573" y="104"/>
                    <a:pt x="572" y="104"/>
                    <a:pt x="571" y="104"/>
                  </a:cubicBezTo>
                  <a:cubicBezTo>
                    <a:pt x="569" y="104"/>
                    <a:pt x="568" y="105"/>
                    <a:pt x="566" y="107"/>
                  </a:cubicBezTo>
                  <a:cubicBezTo>
                    <a:pt x="566" y="107"/>
                    <a:pt x="566" y="107"/>
                    <a:pt x="566" y="107"/>
                  </a:cubicBezTo>
                  <a:cubicBezTo>
                    <a:pt x="565" y="109"/>
                    <a:pt x="564" y="110"/>
                    <a:pt x="563" y="110"/>
                  </a:cubicBezTo>
                  <a:cubicBezTo>
                    <a:pt x="562" y="110"/>
                    <a:pt x="562" y="110"/>
                    <a:pt x="562" y="110"/>
                  </a:cubicBezTo>
                  <a:cubicBezTo>
                    <a:pt x="562" y="110"/>
                    <a:pt x="562" y="110"/>
                    <a:pt x="562" y="110"/>
                  </a:cubicBezTo>
                  <a:cubicBezTo>
                    <a:pt x="560" y="110"/>
                    <a:pt x="558" y="109"/>
                    <a:pt x="555" y="107"/>
                  </a:cubicBezTo>
                  <a:cubicBezTo>
                    <a:pt x="555" y="107"/>
                    <a:pt x="554" y="106"/>
                    <a:pt x="554" y="106"/>
                  </a:cubicBezTo>
                  <a:cubicBezTo>
                    <a:pt x="553" y="106"/>
                    <a:pt x="553" y="106"/>
                    <a:pt x="552" y="106"/>
                  </a:cubicBezTo>
                  <a:cubicBezTo>
                    <a:pt x="552" y="106"/>
                    <a:pt x="552" y="106"/>
                    <a:pt x="552" y="106"/>
                  </a:cubicBezTo>
                  <a:cubicBezTo>
                    <a:pt x="544" y="107"/>
                    <a:pt x="544" y="107"/>
                    <a:pt x="544" y="107"/>
                  </a:cubicBezTo>
                  <a:cubicBezTo>
                    <a:pt x="542" y="107"/>
                    <a:pt x="540" y="107"/>
                    <a:pt x="538" y="108"/>
                  </a:cubicBezTo>
                  <a:cubicBezTo>
                    <a:pt x="538" y="108"/>
                    <a:pt x="538" y="108"/>
                    <a:pt x="538" y="108"/>
                  </a:cubicBezTo>
                  <a:cubicBezTo>
                    <a:pt x="538" y="108"/>
                    <a:pt x="537" y="109"/>
                    <a:pt x="535" y="110"/>
                  </a:cubicBezTo>
                  <a:cubicBezTo>
                    <a:pt x="535" y="110"/>
                    <a:pt x="535" y="110"/>
                    <a:pt x="535" y="110"/>
                  </a:cubicBezTo>
                  <a:cubicBezTo>
                    <a:pt x="533" y="110"/>
                    <a:pt x="531" y="108"/>
                    <a:pt x="529" y="106"/>
                  </a:cubicBezTo>
                  <a:cubicBezTo>
                    <a:pt x="528" y="105"/>
                    <a:pt x="527" y="104"/>
                    <a:pt x="526" y="102"/>
                  </a:cubicBezTo>
                  <a:cubicBezTo>
                    <a:pt x="526" y="102"/>
                    <a:pt x="526" y="102"/>
                    <a:pt x="526" y="101"/>
                  </a:cubicBezTo>
                  <a:cubicBezTo>
                    <a:pt x="525" y="101"/>
                    <a:pt x="525" y="101"/>
                    <a:pt x="525" y="101"/>
                  </a:cubicBezTo>
                  <a:cubicBezTo>
                    <a:pt x="525" y="100"/>
                    <a:pt x="525" y="100"/>
                    <a:pt x="525" y="100"/>
                  </a:cubicBezTo>
                  <a:cubicBezTo>
                    <a:pt x="525" y="100"/>
                    <a:pt x="525" y="99"/>
                    <a:pt x="525" y="98"/>
                  </a:cubicBezTo>
                  <a:cubicBezTo>
                    <a:pt x="524" y="95"/>
                    <a:pt x="527" y="94"/>
                    <a:pt x="529" y="93"/>
                  </a:cubicBezTo>
                  <a:cubicBezTo>
                    <a:pt x="529" y="93"/>
                    <a:pt x="530" y="93"/>
                    <a:pt x="530" y="92"/>
                  </a:cubicBezTo>
                  <a:cubicBezTo>
                    <a:pt x="530" y="92"/>
                    <a:pt x="530" y="92"/>
                    <a:pt x="530" y="91"/>
                  </a:cubicBezTo>
                  <a:cubicBezTo>
                    <a:pt x="530" y="90"/>
                    <a:pt x="529" y="88"/>
                    <a:pt x="530" y="87"/>
                  </a:cubicBezTo>
                  <a:cubicBezTo>
                    <a:pt x="537" y="73"/>
                    <a:pt x="537" y="73"/>
                    <a:pt x="537" y="73"/>
                  </a:cubicBezTo>
                  <a:cubicBezTo>
                    <a:pt x="539" y="70"/>
                    <a:pt x="540" y="67"/>
                    <a:pt x="542" y="64"/>
                  </a:cubicBezTo>
                  <a:cubicBezTo>
                    <a:pt x="546" y="56"/>
                    <a:pt x="546" y="56"/>
                    <a:pt x="546" y="56"/>
                  </a:cubicBezTo>
                  <a:cubicBezTo>
                    <a:pt x="545" y="55"/>
                    <a:pt x="545" y="55"/>
                    <a:pt x="545" y="55"/>
                  </a:cubicBezTo>
                  <a:cubicBezTo>
                    <a:pt x="545" y="55"/>
                    <a:pt x="545" y="55"/>
                    <a:pt x="545" y="55"/>
                  </a:cubicBezTo>
                  <a:cubicBezTo>
                    <a:pt x="541" y="53"/>
                    <a:pt x="541" y="52"/>
                    <a:pt x="540" y="52"/>
                  </a:cubicBezTo>
                  <a:cubicBezTo>
                    <a:pt x="540" y="52"/>
                    <a:pt x="540" y="52"/>
                    <a:pt x="540" y="52"/>
                  </a:cubicBezTo>
                  <a:cubicBezTo>
                    <a:pt x="528" y="55"/>
                    <a:pt x="528" y="55"/>
                    <a:pt x="528" y="55"/>
                  </a:cubicBezTo>
                  <a:cubicBezTo>
                    <a:pt x="528" y="55"/>
                    <a:pt x="528" y="55"/>
                    <a:pt x="527" y="55"/>
                  </a:cubicBezTo>
                  <a:cubicBezTo>
                    <a:pt x="527" y="55"/>
                    <a:pt x="527" y="55"/>
                    <a:pt x="527" y="55"/>
                  </a:cubicBezTo>
                  <a:cubicBezTo>
                    <a:pt x="526" y="55"/>
                    <a:pt x="526" y="55"/>
                    <a:pt x="526" y="55"/>
                  </a:cubicBezTo>
                  <a:cubicBezTo>
                    <a:pt x="526" y="55"/>
                    <a:pt x="526" y="55"/>
                    <a:pt x="526" y="55"/>
                  </a:cubicBezTo>
                  <a:cubicBezTo>
                    <a:pt x="525" y="55"/>
                    <a:pt x="525" y="55"/>
                    <a:pt x="524" y="54"/>
                  </a:cubicBezTo>
                  <a:cubicBezTo>
                    <a:pt x="512" y="47"/>
                    <a:pt x="512" y="47"/>
                    <a:pt x="512" y="47"/>
                  </a:cubicBezTo>
                  <a:cubicBezTo>
                    <a:pt x="511" y="47"/>
                    <a:pt x="511" y="47"/>
                    <a:pt x="511" y="47"/>
                  </a:cubicBezTo>
                  <a:cubicBezTo>
                    <a:pt x="510" y="47"/>
                    <a:pt x="509" y="47"/>
                    <a:pt x="508" y="47"/>
                  </a:cubicBezTo>
                  <a:cubicBezTo>
                    <a:pt x="506" y="47"/>
                    <a:pt x="505" y="47"/>
                    <a:pt x="504" y="47"/>
                  </a:cubicBezTo>
                  <a:cubicBezTo>
                    <a:pt x="503" y="47"/>
                    <a:pt x="502" y="47"/>
                    <a:pt x="501" y="47"/>
                  </a:cubicBezTo>
                  <a:cubicBezTo>
                    <a:pt x="501" y="47"/>
                    <a:pt x="501" y="47"/>
                    <a:pt x="501" y="47"/>
                  </a:cubicBezTo>
                  <a:cubicBezTo>
                    <a:pt x="500" y="47"/>
                    <a:pt x="497" y="49"/>
                    <a:pt x="496" y="49"/>
                  </a:cubicBezTo>
                  <a:cubicBezTo>
                    <a:pt x="495" y="50"/>
                    <a:pt x="495" y="50"/>
                    <a:pt x="495" y="50"/>
                  </a:cubicBezTo>
                  <a:cubicBezTo>
                    <a:pt x="495" y="50"/>
                    <a:pt x="494" y="51"/>
                    <a:pt x="494" y="51"/>
                  </a:cubicBezTo>
                  <a:cubicBezTo>
                    <a:pt x="491" y="52"/>
                    <a:pt x="491" y="52"/>
                    <a:pt x="491" y="52"/>
                  </a:cubicBezTo>
                  <a:cubicBezTo>
                    <a:pt x="487" y="55"/>
                    <a:pt x="487" y="55"/>
                    <a:pt x="487" y="55"/>
                  </a:cubicBezTo>
                  <a:cubicBezTo>
                    <a:pt x="478" y="64"/>
                    <a:pt x="478" y="64"/>
                    <a:pt x="478" y="64"/>
                  </a:cubicBezTo>
                  <a:cubicBezTo>
                    <a:pt x="477" y="64"/>
                    <a:pt x="477" y="64"/>
                    <a:pt x="476" y="65"/>
                  </a:cubicBezTo>
                  <a:cubicBezTo>
                    <a:pt x="462" y="67"/>
                    <a:pt x="462" y="67"/>
                    <a:pt x="462" y="67"/>
                  </a:cubicBezTo>
                  <a:cubicBezTo>
                    <a:pt x="440" y="73"/>
                    <a:pt x="440" y="73"/>
                    <a:pt x="440" y="73"/>
                  </a:cubicBezTo>
                  <a:cubicBezTo>
                    <a:pt x="438" y="74"/>
                    <a:pt x="437" y="74"/>
                    <a:pt x="436" y="74"/>
                  </a:cubicBezTo>
                  <a:cubicBezTo>
                    <a:pt x="426" y="72"/>
                    <a:pt x="426" y="72"/>
                    <a:pt x="426" y="72"/>
                  </a:cubicBezTo>
                  <a:cubicBezTo>
                    <a:pt x="409" y="70"/>
                    <a:pt x="409" y="70"/>
                    <a:pt x="409" y="70"/>
                  </a:cubicBezTo>
                  <a:cubicBezTo>
                    <a:pt x="409" y="70"/>
                    <a:pt x="409" y="70"/>
                    <a:pt x="408" y="70"/>
                  </a:cubicBezTo>
                  <a:cubicBezTo>
                    <a:pt x="406" y="69"/>
                    <a:pt x="406" y="69"/>
                    <a:pt x="406" y="69"/>
                  </a:cubicBezTo>
                  <a:cubicBezTo>
                    <a:pt x="394" y="69"/>
                    <a:pt x="394" y="69"/>
                    <a:pt x="394" y="69"/>
                  </a:cubicBezTo>
                  <a:cubicBezTo>
                    <a:pt x="394" y="69"/>
                    <a:pt x="394" y="69"/>
                    <a:pt x="394" y="69"/>
                  </a:cubicBezTo>
                  <a:cubicBezTo>
                    <a:pt x="394" y="68"/>
                    <a:pt x="394" y="68"/>
                    <a:pt x="394" y="68"/>
                  </a:cubicBezTo>
                  <a:cubicBezTo>
                    <a:pt x="393" y="69"/>
                    <a:pt x="393" y="69"/>
                    <a:pt x="393" y="69"/>
                  </a:cubicBezTo>
                  <a:cubicBezTo>
                    <a:pt x="393" y="69"/>
                    <a:pt x="392" y="69"/>
                    <a:pt x="392" y="69"/>
                  </a:cubicBezTo>
                  <a:cubicBezTo>
                    <a:pt x="383" y="62"/>
                    <a:pt x="383" y="62"/>
                    <a:pt x="383" y="62"/>
                  </a:cubicBezTo>
                  <a:cubicBezTo>
                    <a:pt x="383" y="62"/>
                    <a:pt x="382" y="62"/>
                    <a:pt x="382" y="61"/>
                  </a:cubicBezTo>
                  <a:cubicBezTo>
                    <a:pt x="382" y="61"/>
                    <a:pt x="382" y="61"/>
                    <a:pt x="382" y="61"/>
                  </a:cubicBezTo>
                  <a:cubicBezTo>
                    <a:pt x="381" y="54"/>
                    <a:pt x="381" y="54"/>
                    <a:pt x="381" y="54"/>
                  </a:cubicBezTo>
                  <a:cubicBezTo>
                    <a:pt x="380" y="54"/>
                    <a:pt x="380" y="54"/>
                    <a:pt x="380" y="54"/>
                  </a:cubicBezTo>
                  <a:cubicBezTo>
                    <a:pt x="380" y="54"/>
                    <a:pt x="379" y="54"/>
                    <a:pt x="379" y="53"/>
                  </a:cubicBezTo>
                  <a:cubicBezTo>
                    <a:pt x="377" y="53"/>
                    <a:pt x="376" y="53"/>
                    <a:pt x="375" y="53"/>
                  </a:cubicBezTo>
                  <a:cubicBezTo>
                    <a:pt x="374" y="53"/>
                    <a:pt x="374" y="53"/>
                    <a:pt x="374" y="53"/>
                  </a:cubicBezTo>
                  <a:cubicBezTo>
                    <a:pt x="370" y="53"/>
                    <a:pt x="367" y="51"/>
                    <a:pt x="364" y="48"/>
                  </a:cubicBezTo>
                  <a:cubicBezTo>
                    <a:pt x="363" y="47"/>
                    <a:pt x="361" y="46"/>
                    <a:pt x="359" y="45"/>
                  </a:cubicBezTo>
                  <a:cubicBezTo>
                    <a:pt x="359" y="45"/>
                    <a:pt x="358" y="45"/>
                    <a:pt x="358" y="45"/>
                  </a:cubicBezTo>
                  <a:cubicBezTo>
                    <a:pt x="357" y="45"/>
                    <a:pt x="357" y="45"/>
                    <a:pt x="356" y="45"/>
                  </a:cubicBezTo>
                  <a:cubicBezTo>
                    <a:pt x="356" y="45"/>
                    <a:pt x="356" y="45"/>
                    <a:pt x="356" y="45"/>
                  </a:cubicBezTo>
                  <a:cubicBezTo>
                    <a:pt x="354" y="45"/>
                    <a:pt x="354" y="45"/>
                    <a:pt x="354" y="45"/>
                  </a:cubicBezTo>
                  <a:cubicBezTo>
                    <a:pt x="349" y="45"/>
                    <a:pt x="349" y="45"/>
                    <a:pt x="349" y="45"/>
                  </a:cubicBezTo>
                  <a:cubicBezTo>
                    <a:pt x="347" y="45"/>
                    <a:pt x="346" y="44"/>
                    <a:pt x="346" y="43"/>
                  </a:cubicBezTo>
                  <a:cubicBezTo>
                    <a:pt x="345" y="43"/>
                    <a:pt x="345" y="43"/>
                    <a:pt x="345" y="43"/>
                  </a:cubicBezTo>
                  <a:cubicBezTo>
                    <a:pt x="343" y="42"/>
                    <a:pt x="340" y="42"/>
                    <a:pt x="339" y="42"/>
                  </a:cubicBezTo>
                  <a:cubicBezTo>
                    <a:pt x="337" y="42"/>
                    <a:pt x="335" y="41"/>
                    <a:pt x="334" y="41"/>
                  </a:cubicBezTo>
                  <a:cubicBezTo>
                    <a:pt x="333" y="41"/>
                    <a:pt x="333" y="41"/>
                    <a:pt x="333" y="41"/>
                  </a:cubicBezTo>
                  <a:cubicBezTo>
                    <a:pt x="331" y="41"/>
                    <a:pt x="328" y="42"/>
                    <a:pt x="326" y="43"/>
                  </a:cubicBezTo>
                  <a:cubicBezTo>
                    <a:pt x="325" y="43"/>
                    <a:pt x="325" y="43"/>
                    <a:pt x="325" y="43"/>
                  </a:cubicBezTo>
                  <a:cubicBezTo>
                    <a:pt x="322" y="43"/>
                    <a:pt x="319" y="44"/>
                    <a:pt x="317" y="45"/>
                  </a:cubicBezTo>
                  <a:cubicBezTo>
                    <a:pt x="316" y="45"/>
                    <a:pt x="316" y="46"/>
                    <a:pt x="316" y="46"/>
                  </a:cubicBezTo>
                  <a:cubicBezTo>
                    <a:pt x="315" y="46"/>
                    <a:pt x="315" y="46"/>
                    <a:pt x="315" y="46"/>
                  </a:cubicBezTo>
                  <a:cubicBezTo>
                    <a:pt x="315" y="46"/>
                    <a:pt x="314" y="46"/>
                    <a:pt x="314" y="47"/>
                  </a:cubicBezTo>
                  <a:cubicBezTo>
                    <a:pt x="313" y="47"/>
                    <a:pt x="313" y="47"/>
                    <a:pt x="313" y="47"/>
                  </a:cubicBezTo>
                  <a:cubicBezTo>
                    <a:pt x="311" y="48"/>
                    <a:pt x="309" y="49"/>
                    <a:pt x="307" y="49"/>
                  </a:cubicBezTo>
                  <a:cubicBezTo>
                    <a:pt x="306" y="49"/>
                    <a:pt x="306" y="49"/>
                    <a:pt x="305" y="49"/>
                  </a:cubicBezTo>
                  <a:cubicBezTo>
                    <a:pt x="283" y="43"/>
                    <a:pt x="283" y="43"/>
                    <a:pt x="283" y="43"/>
                  </a:cubicBezTo>
                  <a:cubicBezTo>
                    <a:pt x="281" y="43"/>
                    <a:pt x="279" y="42"/>
                    <a:pt x="277" y="41"/>
                  </a:cubicBezTo>
                  <a:cubicBezTo>
                    <a:pt x="276" y="40"/>
                    <a:pt x="275" y="39"/>
                    <a:pt x="274" y="38"/>
                  </a:cubicBezTo>
                  <a:cubicBezTo>
                    <a:pt x="274" y="37"/>
                    <a:pt x="274" y="37"/>
                    <a:pt x="274" y="37"/>
                  </a:cubicBezTo>
                  <a:cubicBezTo>
                    <a:pt x="273" y="36"/>
                    <a:pt x="272" y="35"/>
                    <a:pt x="272" y="34"/>
                  </a:cubicBezTo>
                  <a:cubicBezTo>
                    <a:pt x="272" y="33"/>
                    <a:pt x="272" y="32"/>
                    <a:pt x="271" y="31"/>
                  </a:cubicBezTo>
                  <a:cubicBezTo>
                    <a:pt x="271" y="30"/>
                    <a:pt x="271" y="30"/>
                    <a:pt x="271" y="30"/>
                  </a:cubicBezTo>
                  <a:cubicBezTo>
                    <a:pt x="271" y="28"/>
                    <a:pt x="271" y="28"/>
                    <a:pt x="271" y="28"/>
                  </a:cubicBezTo>
                  <a:cubicBezTo>
                    <a:pt x="271" y="28"/>
                    <a:pt x="271" y="27"/>
                    <a:pt x="271" y="27"/>
                  </a:cubicBezTo>
                  <a:cubicBezTo>
                    <a:pt x="270" y="26"/>
                    <a:pt x="270" y="25"/>
                    <a:pt x="270" y="24"/>
                  </a:cubicBezTo>
                  <a:cubicBezTo>
                    <a:pt x="270" y="23"/>
                    <a:pt x="270" y="22"/>
                    <a:pt x="270" y="21"/>
                  </a:cubicBezTo>
                  <a:cubicBezTo>
                    <a:pt x="270" y="20"/>
                    <a:pt x="270" y="19"/>
                    <a:pt x="270" y="19"/>
                  </a:cubicBezTo>
                  <a:cubicBezTo>
                    <a:pt x="269" y="18"/>
                    <a:pt x="268" y="18"/>
                    <a:pt x="267" y="18"/>
                  </a:cubicBezTo>
                  <a:cubicBezTo>
                    <a:pt x="266" y="18"/>
                    <a:pt x="266" y="18"/>
                    <a:pt x="266" y="18"/>
                  </a:cubicBezTo>
                  <a:cubicBezTo>
                    <a:pt x="265" y="17"/>
                    <a:pt x="263" y="17"/>
                    <a:pt x="261" y="16"/>
                  </a:cubicBezTo>
                  <a:cubicBezTo>
                    <a:pt x="256" y="15"/>
                    <a:pt x="256" y="15"/>
                    <a:pt x="256" y="15"/>
                  </a:cubicBezTo>
                  <a:cubicBezTo>
                    <a:pt x="254" y="14"/>
                    <a:pt x="252" y="14"/>
                    <a:pt x="250" y="13"/>
                  </a:cubicBezTo>
                  <a:cubicBezTo>
                    <a:pt x="247" y="11"/>
                    <a:pt x="245" y="10"/>
                    <a:pt x="243" y="10"/>
                  </a:cubicBezTo>
                  <a:cubicBezTo>
                    <a:pt x="242" y="10"/>
                    <a:pt x="241" y="10"/>
                    <a:pt x="241" y="10"/>
                  </a:cubicBezTo>
                  <a:cubicBezTo>
                    <a:pt x="240" y="10"/>
                    <a:pt x="240" y="10"/>
                    <a:pt x="240" y="10"/>
                  </a:cubicBezTo>
                  <a:cubicBezTo>
                    <a:pt x="240" y="10"/>
                    <a:pt x="240" y="10"/>
                    <a:pt x="239" y="10"/>
                  </a:cubicBezTo>
                  <a:cubicBezTo>
                    <a:pt x="239" y="10"/>
                    <a:pt x="239" y="10"/>
                    <a:pt x="239" y="10"/>
                  </a:cubicBezTo>
                  <a:cubicBezTo>
                    <a:pt x="239" y="10"/>
                    <a:pt x="239" y="10"/>
                    <a:pt x="239" y="10"/>
                  </a:cubicBezTo>
                  <a:cubicBezTo>
                    <a:pt x="233" y="9"/>
                    <a:pt x="228" y="9"/>
                    <a:pt x="223" y="6"/>
                  </a:cubicBezTo>
                  <a:cubicBezTo>
                    <a:pt x="212" y="0"/>
                    <a:pt x="212" y="0"/>
                    <a:pt x="212" y="0"/>
                  </a:cubicBezTo>
                  <a:cubicBezTo>
                    <a:pt x="212" y="0"/>
                    <a:pt x="212" y="0"/>
                    <a:pt x="212" y="0"/>
                  </a:cubicBezTo>
                  <a:cubicBezTo>
                    <a:pt x="211" y="0"/>
                    <a:pt x="211" y="0"/>
                    <a:pt x="2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449"/>
            <p:cNvSpPr/>
            <p:nvPr/>
          </p:nvSpPr>
          <p:spPr bwMode="auto">
            <a:xfrm>
              <a:off x="6113881" y="3944756"/>
              <a:ext cx="383751" cy="379625"/>
            </a:xfrm>
            <a:custGeom>
              <a:gdLst>
                <a:gd name="T0" fmla="*/ 108 w 118"/>
                <a:gd name="T1" fmla="*/ 0 h 117"/>
                <a:gd name="T2" fmla="*/ 106 w 118"/>
                <a:gd name="T3" fmla="*/ 5 h 117"/>
                <a:gd name="T4" fmla="*/ 104 w 118"/>
                <a:gd name="T5" fmla="*/ 10 h 117"/>
                <a:gd name="T6" fmla="*/ 96 w 118"/>
                <a:gd name="T7" fmla="*/ 14 h 117"/>
                <a:gd name="T8" fmla="*/ 91 w 118"/>
                <a:gd name="T9" fmla="*/ 20 h 117"/>
                <a:gd name="T10" fmla="*/ 81 w 118"/>
                <a:gd name="T11" fmla="*/ 22 h 117"/>
                <a:gd name="T12" fmla="*/ 76 w 118"/>
                <a:gd name="T13" fmla="*/ 26 h 117"/>
                <a:gd name="T14" fmla="*/ 78 w 118"/>
                <a:gd name="T15" fmla="*/ 31 h 117"/>
                <a:gd name="T16" fmla="*/ 72 w 118"/>
                <a:gd name="T17" fmla="*/ 36 h 117"/>
                <a:gd name="T18" fmla="*/ 66 w 118"/>
                <a:gd name="T19" fmla="*/ 36 h 117"/>
                <a:gd name="T20" fmla="*/ 55 w 118"/>
                <a:gd name="T21" fmla="*/ 34 h 117"/>
                <a:gd name="T22" fmla="*/ 51 w 118"/>
                <a:gd name="T23" fmla="*/ 30 h 117"/>
                <a:gd name="T24" fmla="*/ 49 w 118"/>
                <a:gd name="T25" fmla="*/ 28 h 117"/>
                <a:gd name="T26" fmla="*/ 48 w 118"/>
                <a:gd name="T27" fmla="*/ 28 h 117"/>
                <a:gd name="T28" fmla="*/ 46 w 118"/>
                <a:gd name="T29" fmla="*/ 30 h 117"/>
                <a:gd name="T30" fmla="*/ 36 w 118"/>
                <a:gd name="T31" fmla="*/ 44 h 117"/>
                <a:gd name="T32" fmla="*/ 32 w 118"/>
                <a:gd name="T33" fmla="*/ 48 h 117"/>
                <a:gd name="T34" fmla="*/ 26 w 118"/>
                <a:gd name="T35" fmla="*/ 49 h 117"/>
                <a:gd name="T36" fmla="*/ 21 w 118"/>
                <a:gd name="T37" fmla="*/ 54 h 117"/>
                <a:gd name="T38" fmla="*/ 3 w 118"/>
                <a:gd name="T39" fmla="*/ 66 h 117"/>
                <a:gd name="T40" fmla="*/ 1 w 118"/>
                <a:gd name="T41" fmla="*/ 66 h 117"/>
                <a:gd name="T42" fmla="*/ 0 w 118"/>
                <a:gd name="T43" fmla="*/ 67 h 117"/>
                <a:gd name="T44" fmla="*/ 8 w 118"/>
                <a:gd name="T45" fmla="*/ 71 h 117"/>
                <a:gd name="T46" fmla="*/ 19 w 118"/>
                <a:gd name="T47" fmla="*/ 75 h 117"/>
                <a:gd name="T48" fmla="*/ 19 w 118"/>
                <a:gd name="T49" fmla="*/ 84 h 117"/>
                <a:gd name="T50" fmla="*/ 26 w 118"/>
                <a:gd name="T51" fmla="*/ 96 h 117"/>
                <a:gd name="T52" fmla="*/ 21 w 118"/>
                <a:gd name="T53" fmla="*/ 95 h 117"/>
                <a:gd name="T54" fmla="*/ 15 w 118"/>
                <a:gd name="T55" fmla="*/ 96 h 117"/>
                <a:gd name="T56" fmla="*/ 12 w 118"/>
                <a:gd name="T57" fmla="*/ 105 h 117"/>
                <a:gd name="T58" fmla="*/ 7 w 118"/>
                <a:gd name="T59" fmla="*/ 107 h 117"/>
                <a:gd name="T60" fmla="*/ 14 w 118"/>
                <a:gd name="T61" fmla="*/ 111 h 117"/>
                <a:gd name="T62" fmla="*/ 18 w 118"/>
                <a:gd name="T63" fmla="*/ 114 h 117"/>
                <a:gd name="T64" fmla="*/ 18 w 118"/>
                <a:gd name="T65" fmla="*/ 114 h 117"/>
                <a:gd name="T66" fmla="*/ 22 w 118"/>
                <a:gd name="T67" fmla="*/ 113 h 117"/>
                <a:gd name="T68" fmla="*/ 20 w 118"/>
                <a:gd name="T69" fmla="*/ 115 h 117"/>
                <a:gd name="T70" fmla="*/ 20 w 118"/>
                <a:gd name="T71" fmla="*/ 117 h 117"/>
                <a:gd name="T72" fmla="*/ 27 w 118"/>
                <a:gd name="T73" fmla="*/ 111 h 117"/>
                <a:gd name="T74" fmla="*/ 32 w 118"/>
                <a:gd name="T75" fmla="*/ 114 h 117"/>
                <a:gd name="T76" fmla="*/ 37 w 118"/>
                <a:gd name="T77" fmla="*/ 115 h 117"/>
                <a:gd name="T78" fmla="*/ 43 w 118"/>
                <a:gd name="T79" fmla="*/ 113 h 117"/>
                <a:gd name="T80" fmla="*/ 43 w 118"/>
                <a:gd name="T81" fmla="*/ 112 h 117"/>
                <a:gd name="T82" fmla="*/ 47 w 118"/>
                <a:gd name="T83" fmla="*/ 107 h 117"/>
                <a:gd name="T84" fmla="*/ 51 w 118"/>
                <a:gd name="T85" fmla="*/ 103 h 117"/>
                <a:gd name="T86" fmla="*/ 58 w 118"/>
                <a:gd name="T87" fmla="*/ 102 h 117"/>
                <a:gd name="T88" fmla="*/ 71 w 118"/>
                <a:gd name="T89" fmla="*/ 101 h 117"/>
                <a:gd name="T90" fmla="*/ 73 w 118"/>
                <a:gd name="T91" fmla="*/ 99 h 117"/>
                <a:gd name="T92" fmla="*/ 75 w 118"/>
                <a:gd name="T93" fmla="*/ 96 h 117"/>
                <a:gd name="T94" fmla="*/ 76 w 118"/>
                <a:gd name="T95" fmla="*/ 95 h 117"/>
                <a:gd name="T96" fmla="*/ 71 w 118"/>
                <a:gd name="T97" fmla="*/ 90 h 117"/>
                <a:gd name="T98" fmla="*/ 60 w 118"/>
                <a:gd name="T99" fmla="*/ 84 h 117"/>
                <a:gd name="T100" fmla="*/ 62 w 118"/>
                <a:gd name="T101" fmla="*/ 81 h 117"/>
                <a:gd name="T102" fmla="*/ 62 w 118"/>
                <a:gd name="T103" fmla="*/ 75 h 117"/>
                <a:gd name="T104" fmla="*/ 76 w 118"/>
                <a:gd name="T105" fmla="*/ 65 h 117"/>
                <a:gd name="T106" fmla="*/ 104 w 118"/>
                <a:gd name="T107" fmla="*/ 45 h 117"/>
                <a:gd name="T108" fmla="*/ 103 w 118"/>
                <a:gd name="T109" fmla="*/ 39 h 117"/>
                <a:gd name="T110" fmla="*/ 104 w 118"/>
                <a:gd name="T111" fmla="*/ 34 h 117"/>
                <a:gd name="T112" fmla="*/ 116 w 118"/>
                <a:gd name="T113" fmla="*/ 13 h 117"/>
                <a:gd name="T114" fmla="*/ 118 w 118"/>
                <a:gd name="T115" fmla="*/ 13 h 117"/>
                <a:gd name="T116" fmla="*/ 116 w 118"/>
                <a:gd name="T117" fmla="*/ 11 h 117"/>
                <a:gd name="T118" fmla="*/ 110 w 118"/>
                <a:gd name="T119" fmla="*/ 5 h 117"/>
                <a:gd name="T120" fmla="*/ 111 w 118"/>
                <a:gd name="T121" fmla="*/ 2 h 117"/>
                <a:gd name="T122" fmla="*/ 108 w 118"/>
                <a:gd name="T123" fmla="*/ 0 h 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117">
                  <a:moveTo>
                    <a:pt x="108" y="0"/>
                  </a:moveTo>
                  <a:cubicBezTo>
                    <a:pt x="108" y="0"/>
                    <a:pt x="108" y="0"/>
                    <a:pt x="108" y="0"/>
                  </a:cubicBezTo>
                  <a:cubicBezTo>
                    <a:pt x="107" y="0"/>
                    <a:pt x="107" y="2"/>
                    <a:pt x="107" y="4"/>
                  </a:cubicBezTo>
                  <a:cubicBezTo>
                    <a:pt x="106" y="5"/>
                    <a:pt x="106" y="5"/>
                    <a:pt x="106" y="5"/>
                  </a:cubicBezTo>
                  <a:cubicBezTo>
                    <a:pt x="106" y="6"/>
                    <a:pt x="106" y="7"/>
                    <a:pt x="105" y="8"/>
                  </a:cubicBezTo>
                  <a:cubicBezTo>
                    <a:pt x="105" y="9"/>
                    <a:pt x="104" y="9"/>
                    <a:pt x="104" y="10"/>
                  </a:cubicBezTo>
                  <a:cubicBezTo>
                    <a:pt x="103" y="11"/>
                    <a:pt x="101" y="11"/>
                    <a:pt x="99" y="12"/>
                  </a:cubicBezTo>
                  <a:cubicBezTo>
                    <a:pt x="97" y="12"/>
                    <a:pt x="96" y="13"/>
                    <a:pt x="96" y="14"/>
                  </a:cubicBezTo>
                  <a:cubicBezTo>
                    <a:pt x="96" y="14"/>
                    <a:pt x="96" y="14"/>
                    <a:pt x="96" y="14"/>
                  </a:cubicBezTo>
                  <a:cubicBezTo>
                    <a:pt x="95" y="17"/>
                    <a:pt x="92" y="20"/>
                    <a:pt x="91" y="20"/>
                  </a:cubicBezTo>
                  <a:cubicBezTo>
                    <a:pt x="89" y="21"/>
                    <a:pt x="86" y="21"/>
                    <a:pt x="83" y="21"/>
                  </a:cubicBezTo>
                  <a:cubicBezTo>
                    <a:pt x="82" y="21"/>
                    <a:pt x="82" y="22"/>
                    <a:pt x="81" y="22"/>
                  </a:cubicBezTo>
                  <a:cubicBezTo>
                    <a:pt x="74" y="23"/>
                    <a:pt x="74" y="23"/>
                    <a:pt x="74" y="23"/>
                  </a:cubicBezTo>
                  <a:cubicBezTo>
                    <a:pt x="74" y="24"/>
                    <a:pt x="75" y="25"/>
                    <a:pt x="76" y="26"/>
                  </a:cubicBezTo>
                  <a:cubicBezTo>
                    <a:pt x="76" y="26"/>
                    <a:pt x="76" y="26"/>
                    <a:pt x="76" y="26"/>
                  </a:cubicBezTo>
                  <a:cubicBezTo>
                    <a:pt x="77" y="27"/>
                    <a:pt x="79" y="28"/>
                    <a:pt x="78" y="31"/>
                  </a:cubicBezTo>
                  <a:cubicBezTo>
                    <a:pt x="78" y="33"/>
                    <a:pt x="77" y="34"/>
                    <a:pt x="76" y="35"/>
                  </a:cubicBezTo>
                  <a:cubicBezTo>
                    <a:pt x="75" y="36"/>
                    <a:pt x="73" y="36"/>
                    <a:pt x="72" y="36"/>
                  </a:cubicBezTo>
                  <a:cubicBezTo>
                    <a:pt x="72" y="36"/>
                    <a:pt x="71" y="37"/>
                    <a:pt x="71" y="37"/>
                  </a:cubicBezTo>
                  <a:cubicBezTo>
                    <a:pt x="70" y="37"/>
                    <a:pt x="68" y="36"/>
                    <a:pt x="66" y="36"/>
                  </a:cubicBezTo>
                  <a:cubicBezTo>
                    <a:pt x="65" y="36"/>
                    <a:pt x="65" y="36"/>
                    <a:pt x="65" y="36"/>
                  </a:cubicBezTo>
                  <a:cubicBezTo>
                    <a:pt x="62" y="36"/>
                    <a:pt x="57" y="36"/>
                    <a:pt x="55" y="34"/>
                  </a:cubicBezTo>
                  <a:cubicBezTo>
                    <a:pt x="55" y="34"/>
                    <a:pt x="55" y="34"/>
                    <a:pt x="55" y="34"/>
                  </a:cubicBezTo>
                  <a:cubicBezTo>
                    <a:pt x="53" y="32"/>
                    <a:pt x="52" y="31"/>
                    <a:pt x="51" y="30"/>
                  </a:cubicBezTo>
                  <a:cubicBezTo>
                    <a:pt x="51" y="29"/>
                    <a:pt x="50" y="28"/>
                    <a:pt x="49" y="28"/>
                  </a:cubicBezTo>
                  <a:cubicBezTo>
                    <a:pt x="49" y="28"/>
                    <a:pt x="49" y="28"/>
                    <a:pt x="49" y="28"/>
                  </a:cubicBezTo>
                  <a:cubicBezTo>
                    <a:pt x="48" y="28"/>
                    <a:pt x="48" y="28"/>
                    <a:pt x="48" y="28"/>
                  </a:cubicBezTo>
                  <a:cubicBezTo>
                    <a:pt x="48" y="28"/>
                    <a:pt x="48" y="28"/>
                    <a:pt x="48" y="28"/>
                  </a:cubicBezTo>
                  <a:cubicBezTo>
                    <a:pt x="48" y="28"/>
                    <a:pt x="48" y="28"/>
                    <a:pt x="48" y="28"/>
                  </a:cubicBezTo>
                  <a:cubicBezTo>
                    <a:pt x="47" y="29"/>
                    <a:pt x="46" y="30"/>
                    <a:pt x="46" y="30"/>
                  </a:cubicBezTo>
                  <a:cubicBezTo>
                    <a:pt x="44" y="35"/>
                    <a:pt x="41" y="39"/>
                    <a:pt x="37" y="43"/>
                  </a:cubicBezTo>
                  <a:cubicBezTo>
                    <a:pt x="37" y="43"/>
                    <a:pt x="37" y="44"/>
                    <a:pt x="36" y="44"/>
                  </a:cubicBezTo>
                  <a:cubicBezTo>
                    <a:pt x="35" y="46"/>
                    <a:pt x="34" y="47"/>
                    <a:pt x="32" y="48"/>
                  </a:cubicBezTo>
                  <a:cubicBezTo>
                    <a:pt x="32" y="48"/>
                    <a:pt x="32" y="48"/>
                    <a:pt x="32" y="48"/>
                  </a:cubicBezTo>
                  <a:cubicBezTo>
                    <a:pt x="31" y="48"/>
                    <a:pt x="30" y="48"/>
                    <a:pt x="29" y="48"/>
                  </a:cubicBezTo>
                  <a:cubicBezTo>
                    <a:pt x="28" y="49"/>
                    <a:pt x="27" y="49"/>
                    <a:pt x="26" y="49"/>
                  </a:cubicBezTo>
                  <a:cubicBezTo>
                    <a:pt x="25" y="50"/>
                    <a:pt x="25" y="50"/>
                    <a:pt x="25" y="50"/>
                  </a:cubicBezTo>
                  <a:cubicBezTo>
                    <a:pt x="24" y="51"/>
                    <a:pt x="23" y="53"/>
                    <a:pt x="21" y="54"/>
                  </a:cubicBezTo>
                  <a:cubicBezTo>
                    <a:pt x="15" y="57"/>
                    <a:pt x="10" y="61"/>
                    <a:pt x="4" y="65"/>
                  </a:cubicBezTo>
                  <a:cubicBezTo>
                    <a:pt x="4" y="65"/>
                    <a:pt x="3" y="66"/>
                    <a:pt x="3" y="66"/>
                  </a:cubicBezTo>
                  <a:cubicBezTo>
                    <a:pt x="2" y="67"/>
                    <a:pt x="2" y="67"/>
                    <a:pt x="2" y="67"/>
                  </a:cubicBezTo>
                  <a:cubicBezTo>
                    <a:pt x="1" y="66"/>
                    <a:pt x="1" y="66"/>
                    <a:pt x="1" y="66"/>
                  </a:cubicBezTo>
                  <a:cubicBezTo>
                    <a:pt x="1" y="67"/>
                    <a:pt x="1" y="67"/>
                    <a:pt x="1" y="67"/>
                  </a:cubicBezTo>
                  <a:cubicBezTo>
                    <a:pt x="1" y="67"/>
                    <a:pt x="0" y="67"/>
                    <a:pt x="0" y="67"/>
                  </a:cubicBezTo>
                  <a:cubicBezTo>
                    <a:pt x="1" y="70"/>
                    <a:pt x="8" y="71"/>
                    <a:pt x="6" y="74"/>
                  </a:cubicBezTo>
                  <a:cubicBezTo>
                    <a:pt x="7" y="74"/>
                    <a:pt x="9" y="72"/>
                    <a:pt x="8" y="71"/>
                  </a:cubicBezTo>
                  <a:cubicBezTo>
                    <a:pt x="10" y="72"/>
                    <a:pt x="12" y="73"/>
                    <a:pt x="14" y="74"/>
                  </a:cubicBezTo>
                  <a:cubicBezTo>
                    <a:pt x="16" y="75"/>
                    <a:pt x="17" y="75"/>
                    <a:pt x="19" y="75"/>
                  </a:cubicBezTo>
                  <a:cubicBezTo>
                    <a:pt x="20" y="75"/>
                    <a:pt x="21" y="75"/>
                    <a:pt x="22" y="75"/>
                  </a:cubicBezTo>
                  <a:cubicBezTo>
                    <a:pt x="21" y="78"/>
                    <a:pt x="20" y="81"/>
                    <a:pt x="19" y="84"/>
                  </a:cubicBezTo>
                  <a:cubicBezTo>
                    <a:pt x="18" y="86"/>
                    <a:pt x="17" y="88"/>
                    <a:pt x="17" y="90"/>
                  </a:cubicBezTo>
                  <a:cubicBezTo>
                    <a:pt x="16" y="95"/>
                    <a:pt x="24" y="93"/>
                    <a:pt x="26" y="96"/>
                  </a:cubicBezTo>
                  <a:cubicBezTo>
                    <a:pt x="24" y="96"/>
                    <a:pt x="23" y="95"/>
                    <a:pt x="21" y="95"/>
                  </a:cubicBezTo>
                  <a:cubicBezTo>
                    <a:pt x="21" y="95"/>
                    <a:pt x="21" y="95"/>
                    <a:pt x="21" y="95"/>
                  </a:cubicBezTo>
                  <a:cubicBezTo>
                    <a:pt x="20" y="95"/>
                    <a:pt x="18" y="95"/>
                    <a:pt x="17" y="96"/>
                  </a:cubicBezTo>
                  <a:cubicBezTo>
                    <a:pt x="16" y="96"/>
                    <a:pt x="16" y="95"/>
                    <a:pt x="15" y="96"/>
                  </a:cubicBezTo>
                  <a:cubicBezTo>
                    <a:pt x="14" y="98"/>
                    <a:pt x="13" y="101"/>
                    <a:pt x="12" y="102"/>
                  </a:cubicBezTo>
                  <a:cubicBezTo>
                    <a:pt x="12" y="103"/>
                    <a:pt x="11" y="105"/>
                    <a:pt x="12" y="105"/>
                  </a:cubicBezTo>
                  <a:cubicBezTo>
                    <a:pt x="12" y="105"/>
                    <a:pt x="13" y="105"/>
                    <a:pt x="13" y="105"/>
                  </a:cubicBezTo>
                  <a:cubicBezTo>
                    <a:pt x="11" y="106"/>
                    <a:pt x="9" y="107"/>
                    <a:pt x="7" y="107"/>
                  </a:cubicBezTo>
                  <a:cubicBezTo>
                    <a:pt x="10" y="108"/>
                    <a:pt x="13" y="110"/>
                    <a:pt x="16" y="111"/>
                  </a:cubicBezTo>
                  <a:cubicBezTo>
                    <a:pt x="15" y="111"/>
                    <a:pt x="15" y="111"/>
                    <a:pt x="14" y="111"/>
                  </a:cubicBezTo>
                  <a:cubicBezTo>
                    <a:pt x="13" y="111"/>
                    <a:pt x="13" y="111"/>
                    <a:pt x="13" y="112"/>
                  </a:cubicBezTo>
                  <a:cubicBezTo>
                    <a:pt x="14" y="113"/>
                    <a:pt x="17" y="113"/>
                    <a:pt x="18" y="114"/>
                  </a:cubicBezTo>
                  <a:cubicBezTo>
                    <a:pt x="18" y="114"/>
                    <a:pt x="18" y="114"/>
                    <a:pt x="18" y="114"/>
                  </a:cubicBezTo>
                  <a:cubicBezTo>
                    <a:pt x="18" y="114"/>
                    <a:pt x="18" y="114"/>
                    <a:pt x="18" y="114"/>
                  </a:cubicBezTo>
                  <a:cubicBezTo>
                    <a:pt x="19" y="114"/>
                    <a:pt x="19" y="114"/>
                    <a:pt x="20" y="113"/>
                  </a:cubicBezTo>
                  <a:cubicBezTo>
                    <a:pt x="20" y="113"/>
                    <a:pt x="21" y="113"/>
                    <a:pt x="22" y="113"/>
                  </a:cubicBezTo>
                  <a:cubicBezTo>
                    <a:pt x="22" y="113"/>
                    <a:pt x="22" y="113"/>
                    <a:pt x="23" y="114"/>
                  </a:cubicBezTo>
                  <a:cubicBezTo>
                    <a:pt x="23" y="114"/>
                    <a:pt x="21" y="114"/>
                    <a:pt x="20" y="115"/>
                  </a:cubicBezTo>
                  <a:cubicBezTo>
                    <a:pt x="21" y="115"/>
                    <a:pt x="21" y="115"/>
                    <a:pt x="21" y="115"/>
                  </a:cubicBezTo>
                  <a:cubicBezTo>
                    <a:pt x="20" y="115"/>
                    <a:pt x="19" y="116"/>
                    <a:pt x="20" y="117"/>
                  </a:cubicBezTo>
                  <a:cubicBezTo>
                    <a:pt x="22" y="116"/>
                    <a:pt x="24" y="115"/>
                    <a:pt x="25" y="113"/>
                  </a:cubicBezTo>
                  <a:cubicBezTo>
                    <a:pt x="26" y="113"/>
                    <a:pt x="25" y="112"/>
                    <a:pt x="27" y="111"/>
                  </a:cubicBezTo>
                  <a:cubicBezTo>
                    <a:pt x="26" y="111"/>
                    <a:pt x="24" y="111"/>
                    <a:pt x="24" y="110"/>
                  </a:cubicBezTo>
                  <a:cubicBezTo>
                    <a:pt x="27" y="111"/>
                    <a:pt x="30" y="113"/>
                    <a:pt x="32" y="114"/>
                  </a:cubicBezTo>
                  <a:cubicBezTo>
                    <a:pt x="34" y="115"/>
                    <a:pt x="34" y="116"/>
                    <a:pt x="35" y="116"/>
                  </a:cubicBezTo>
                  <a:cubicBezTo>
                    <a:pt x="35" y="116"/>
                    <a:pt x="36" y="115"/>
                    <a:pt x="37" y="115"/>
                  </a:cubicBezTo>
                  <a:cubicBezTo>
                    <a:pt x="39" y="113"/>
                    <a:pt x="40" y="113"/>
                    <a:pt x="41" y="113"/>
                  </a:cubicBezTo>
                  <a:cubicBezTo>
                    <a:pt x="41" y="113"/>
                    <a:pt x="42" y="113"/>
                    <a:pt x="43" y="113"/>
                  </a:cubicBezTo>
                  <a:cubicBezTo>
                    <a:pt x="43" y="113"/>
                    <a:pt x="43" y="113"/>
                    <a:pt x="43" y="113"/>
                  </a:cubicBezTo>
                  <a:cubicBezTo>
                    <a:pt x="43" y="112"/>
                    <a:pt x="43" y="112"/>
                    <a:pt x="43" y="112"/>
                  </a:cubicBezTo>
                  <a:cubicBezTo>
                    <a:pt x="44" y="111"/>
                    <a:pt x="45" y="110"/>
                    <a:pt x="46" y="108"/>
                  </a:cubicBezTo>
                  <a:cubicBezTo>
                    <a:pt x="47" y="108"/>
                    <a:pt x="47" y="107"/>
                    <a:pt x="47" y="107"/>
                  </a:cubicBezTo>
                  <a:cubicBezTo>
                    <a:pt x="48" y="106"/>
                    <a:pt x="48" y="106"/>
                    <a:pt x="48" y="106"/>
                  </a:cubicBezTo>
                  <a:cubicBezTo>
                    <a:pt x="49" y="105"/>
                    <a:pt x="50" y="104"/>
                    <a:pt x="51" y="103"/>
                  </a:cubicBezTo>
                  <a:cubicBezTo>
                    <a:pt x="53" y="102"/>
                    <a:pt x="55" y="102"/>
                    <a:pt x="56" y="102"/>
                  </a:cubicBezTo>
                  <a:cubicBezTo>
                    <a:pt x="57" y="102"/>
                    <a:pt x="58" y="102"/>
                    <a:pt x="58" y="102"/>
                  </a:cubicBezTo>
                  <a:cubicBezTo>
                    <a:pt x="70" y="101"/>
                    <a:pt x="70" y="101"/>
                    <a:pt x="70" y="101"/>
                  </a:cubicBezTo>
                  <a:cubicBezTo>
                    <a:pt x="71" y="101"/>
                    <a:pt x="71" y="101"/>
                    <a:pt x="71" y="101"/>
                  </a:cubicBezTo>
                  <a:cubicBezTo>
                    <a:pt x="72" y="100"/>
                    <a:pt x="72" y="100"/>
                    <a:pt x="72" y="100"/>
                  </a:cubicBezTo>
                  <a:cubicBezTo>
                    <a:pt x="72" y="100"/>
                    <a:pt x="72" y="100"/>
                    <a:pt x="73" y="99"/>
                  </a:cubicBezTo>
                  <a:cubicBezTo>
                    <a:pt x="75" y="97"/>
                    <a:pt x="75" y="97"/>
                    <a:pt x="75" y="97"/>
                  </a:cubicBezTo>
                  <a:cubicBezTo>
                    <a:pt x="75" y="96"/>
                    <a:pt x="75" y="96"/>
                    <a:pt x="75" y="96"/>
                  </a:cubicBezTo>
                  <a:cubicBezTo>
                    <a:pt x="75" y="95"/>
                    <a:pt x="75" y="95"/>
                    <a:pt x="75" y="95"/>
                  </a:cubicBezTo>
                  <a:cubicBezTo>
                    <a:pt x="76" y="95"/>
                    <a:pt x="76" y="95"/>
                    <a:pt x="76" y="95"/>
                  </a:cubicBezTo>
                  <a:cubicBezTo>
                    <a:pt x="76" y="94"/>
                    <a:pt x="76" y="94"/>
                    <a:pt x="76" y="94"/>
                  </a:cubicBezTo>
                  <a:cubicBezTo>
                    <a:pt x="74" y="93"/>
                    <a:pt x="72" y="91"/>
                    <a:pt x="71" y="90"/>
                  </a:cubicBezTo>
                  <a:cubicBezTo>
                    <a:pt x="69" y="89"/>
                    <a:pt x="68" y="87"/>
                    <a:pt x="66" y="86"/>
                  </a:cubicBezTo>
                  <a:cubicBezTo>
                    <a:pt x="65" y="84"/>
                    <a:pt x="61" y="84"/>
                    <a:pt x="60" y="84"/>
                  </a:cubicBezTo>
                  <a:cubicBezTo>
                    <a:pt x="57" y="83"/>
                    <a:pt x="59" y="81"/>
                    <a:pt x="60" y="79"/>
                  </a:cubicBezTo>
                  <a:cubicBezTo>
                    <a:pt x="61" y="80"/>
                    <a:pt x="61" y="81"/>
                    <a:pt x="62" y="81"/>
                  </a:cubicBezTo>
                  <a:cubicBezTo>
                    <a:pt x="62" y="80"/>
                    <a:pt x="61" y="79"/>
                    <a:pt x="61" y="77"/>
                  </a:cubicBezTo>
                  <a:cubicBezTo>
                    <a:pt x="61" y="77"/>
                    <a:pt x="62" y="75"/>
                    <a:pt x="62" y="75"/>
                  </a:cubicBezTo>
                  <a:cubicBezTo>
                    <a:pt x="62" y="73"/>
                    <a:pt x="61" y="74"/>
                    <a:pt x="61" y="72"/>
                  </a:cubicBezTo>
                  <a:cubicBezTo>
                    <a:pt x="61" y="69"/>
                    <a:pt x="73" y="66"/>
                    <a:pt x="76" y="65"/>
                  </a:cubicBezTo>
                  <a:cubicBezTo>
                    <a:pt x="83" y="62"/>
                    <a:pt x="87" y="57"/>
                    <a:pt x="93" y="53"/>
                  </a:cubicBezTo>
                  <a:cubicBezTo>
                    <a:pt x="95" y="51"/>
                    <a:pt x="103" y="48"/>
                    <a:pt x="104" y="45"/>
                  </a:cubicBezTo>
                  <a:cubicBezTo>
                    <a:pt x="104" y="44"/>
                    <a:pt x="103" y="43"/>
                    <a:pt x="103" y="42"/>
                  </a:cubicBezTo>
                  <a:cubicBezTo>
                    <a:pt x="103" y="41"/>
                    <a:pt x="103" y="40"/>
                    <a:pt x="103" y="39"/>
                  </a:cubicBezTo>
                  <a:cubicBezTo>
                    <a:pt x="104" y="38"/>
                    <a:pt x="104" y="37"/>
                    <a:pt x="104" y="36"/>
                  </a:cubicBezTo>
                  <a:cubicBezTo>
                    <a:pt x="105" y="35"/>
                    <a:pt x="104" y="34"/>
                    <a:pt x="104" y="34"/>
                  </a:cubicBezTo>
                  <a:cubicBezTo>
                    <a:pt x="105" y="27"/>
                    <a:pt x="107" y="21"/>
                    <a:pt x="113" y="16"/>
                  </a:cubicBezTo>
                  <a:cubicBezTo>
                    <a:pt x="114" y="15"/>
                    <a:pt x="116" y="13"/>
                    <a:pt x="116" y="13"/>
                  </a:cubicBezTo>
                  <a:cubicBezTo>
                    <a:pt x="117" y="13"/>
                    <a:pt x="117" y="13"/>
                    <a:pt x="118" y="13"/>
                  </a:cubicBezTo>
                  <a:cubicBezTo>
                    <a:pt x="118" y="13"/>
                    <a:pt x="118" y="13"/>
                    <a:pt x="118" y="13"/>
                  </a:cubicBezTo>
                  <a:cubicBezTo>
                    <a:pt x="118" y="12"/>
                    <a:pt x="117" y="11"/>
                    <a:pt x="117" y="11"/>
                  </a:cubicBezTo>
                  <a:cubicBezTo>
                    <a:pt x="116" y="11"/>
                    <a:pt x="116" y="11"/>
                    <a:pt x="116" y="11"/>
                  </a:cubicBezTo>
                  <a:cubicBezTo>
                    <a:pt x="115" y="9"/>
                    <a:pt x="113" y="8"/>
                    <a:pt x="112" y="6"/>
                  </a:cubicBezTo>
                  <a:cubicBezTo>
                    <a:pt x="110" y="5"/>
                    <a:pt x="110" y="5"/>
                    <a:pt x="110" y="5"/>
                  </a:cubicBezTo>
                  <a:cubicBezTo>
                    <a:pt x="111" y="4"/>
                    <a:pt x="111" y="4"/>
                    <a:pt x="111" y="4"/>
                  </a:cubicBezTo>
                  <a:cubicBezTo>
                    <a:pt x="111" y="4"/>
                    <a:pt x="111" y="3"/>
                    <a:pt x="111" y="2"/>
                  </a:cubicBezTo>
                  <a:cubicBezTo>
                    <a:pt x="111" y="2"/>
                    <a:pt x="111" y="1"/>
                    <a:pt x="111" y="1"/>
                  </a:cubicBezTo>
                  <a:cubicBezTo>
                    <a:pt x="110" y="1"/>
                    <a:pt x="110" y="0"/>
                    <a:pt x="108" y="0"/>
                  </a:cubicBezTo>
                  <a:cubicBezTo>
                    <a:pt x="108" y="0"/>
                    <a:pt x="108" y="0"/>
                    <a:pt x="1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450"/>
            <p:cNvSpPr>
              <a:spLocks noEditPoints="1"/>
            </p:cNvSpPr>
            <p:nvPr/>
          </p:nvSpPr>
          <p:spPr bwMode="auto">
            <a:xfrm>
              <a:off x="6228043" y="4266611"/>
              <a:ext cx="210444" cy="298473"/>
            </a:xfrm>
            <a:custGeom>
              <a:gdLst>
                <a:gd name="T0" fmla="*/ 44 w 65"/>
                <a:gd name="T1" fmla="*/ 79 h 92"/>
                <a:gd name="T2" fmla="*/ 44 w 65"/>
                <a:gd name="T3" fmla="*/ 0 h 92"/>
                <a:gd name="T4" fmla="*/ 42 w 65"/>
                <a:gd name="T5" fmla="*/ 2 h 92"/>
                <a:gd name="T6" fmla="*/ 40 w 65"/>
                <a:gd name="T7" fmla="*/ 4 h 92"/>
                <a:gd name="T8" fmla="*/ 36 w 65"/>
                <a:gd name="T9" fmla="*/ 7 h 92"/>
                <a:gd name="T10" fmla="*/ 22 w 65"/>
                <a:gd name="T11" fmla="*/ 8 h 92"/>
                <a:gd name="T12" fmla="*/ 17 w 65"/>
                <a:gd name="T13" fmla="*/ 10 h 92"/>
                <a:gd name="T14" fmla="*/ 15 w 65"/>
                <a:gd name="T15" fmla="*/ 12 h 92"/>
                <a:gd name="T16" fmla="*/ 13 w 65"/>
                <a:gd name="T17" fmla="*/ 15 h 92"/>
                <a:gd name="T18" fmla="*/ 12 w 65"/>
                <a:gd name="T19" fmla="*/ 16 h 92"/>
                <a:gd name="T20" fmla="*/ 11 w 65"/>
                <a:gd name="T21" fmla="*/ 19 h 92"/>
                <a:gd name="T22" fmla="*/ 8 w 65"/>
                <a:gd name="T23" fmla="*/ 17 h 92"/>
                <a:gd name="T24" fmla="*/ 8 w 65"/>
                <a:gd name="T25" fmla="*/ 17 h 92"/>
                <a:gd name="T26" fmla="*/ 9 w 65"/>
                <a:gd name="T27" fmla="*/ 20 h 92"/>
                <a:gd name="T28" fmla="*/ 13 w 65"/>
                <a:gd name="T29" fmla="*/ 27 h 92"/>
                <a:gd name="T30" fmla="*/ 10 w 65"/>
                <a:gd name="T31" fmla="*/ 30 h 92"/>
                <a:gd name="T32" fmla="*/ 11 w 65"/>
                <a:gd name="T33" fmla="*/ 30 h 92"/>
                <a:gd name="T34" fmla="*/ 14 w 65"/>
                <a:gd name="T35" fmla="*/ 30 h 92"/>
                <a:gd name="T36" fmla="*/ 14 w 65"/>
                <a:gd name="T37" fmla="*/ 33 h 92"/>
                <a:gd name="T38" fmla="*/ 13 w 65"/>
                <a:gd name="T39" fmla="*/ 38 h 92"/>
                <a:gd name="T40" fmla="*/ 12 w 65"/>
                <a:gd name="T41" fmla="*/ 36 h 92"/>
                <a:gd name="T42" fmla="*/ 11 w 65"/>
                <a:gd name="T43" fmla="*/ 34 h 92"/>
                <a:gd name="T44" fmla="*/ 9 w 65"/>
                <a:gd name="T45" fmla="*/ 35 h 92"/>
                <a:gd name="T46" fmla="*/ 7 w 65"/>
                <a:gd name="T47" fmla="*/ 32 h 92"/>
                <a:gd name="T48" fmla="*/ 5 w 65"/>
                <a:gd name="T49" fmla="*/ 33 h 92"/>
                <a:gd name="T50" fmla="*/ 3 w 65"/>
                <a:gd name="T51" fmla="*/ 38 h 92"/>
                <a:gd name="T52" fmla="*/ 0 w 65"/>
                <a:gd name="T53" fmla="*/ 37 h 92"/>
                <a:gd name="T54" fmla="*/ 0 w 65"/>
                <a:gd name="T55" fmla="*/ 38 h 92"/>
                <a:gd name="T56" fmla="*/ 6 w 65"/>
                <a:gd name="T57" fmla="*/ 39 h 92"/>
                <a:gd name="T58" fmla="*/ 7 w 65"/>
                <a:gd name="T59" fmla="*/ 46 h 92"/>
                <a:gd name="T60" fmla="*/ 14 w 65"/>
                <a:gd name="T61" fmla="*/ 54 h 92"/>
                <a:gd name="T62" fmla="*/ 9 w 65"/>
                <a:gd name="T63" fmla="*/ 57 h 92"/>
                <a:gd name="T64" fmla="*/ 10 w 65"/>
                <a:gd name="T65" fmla="*/ 57 h 92"/>
                <a:gd name="T66" fmla="*/ 12 w 65"/>
                <a:gd name="T67" fmla="*/ 60 h 92"/>
                <a:gd name="T68" fmla="*/ 6 w 65"/>
                <a:gd name="T69" fmla="*/ 64 h 92"/>
                <a:gd name="T70" fmla="*/ 4 w 65"/>
                <a:gd name="T71" fmla="*/ 71 h 92"/>
                <a:gd name="T72" fmla="*/ 2 w 65"/>
                <a:gd name="T73" fmla="*/ 74 h 92"/>
                <a:gd name="T74" fmla="*/ 5 w 65"/>
                <a:gd name="T75" fmla="*/ 81 h 92"/>
                <a:gd name="T76" fmla="*/ 7 w 65"/>
                <a:gd name="T77" fmla="*/ 81 h 92"/>
                <a:gd name="T78" fmla="*/ 10 w 65"/>
                <a:gd name="T79" fmla="*/ 81 h 92"/>
                <a:gd name="T80" fmla="*/ 4 w 65"/>
                <a:gd name="T81" fmla="*/ 83 h 92"/>
                <a:gd name="T82" fmla="*/ 9 w 65"/>
                <a:gd name="T83" fmla="*/ 85 h 92"/>
                <a:gd name="T84" fmla="*/ 7 w 65"/>
                <a:gd name="T85" fmla="*/ 85 h 92"/>
                <a:gd name="T86" fmla="*/ 2 w 65"/>
                <a:gd name="T87" fmla="*/ 84 h 92"/>
                <a:gd name="T88" fmla="*/ 4 w 65"/>
                <a:gd name="T89" fmla="*/ 86 h 92"/>
                <a:gd name="T90" fmla="*/ 15 w 65"/>
                <a:gd name="T91" fmla="*/ 84 h 92"/>
                <a:gd name="T92" fmla="*/ 23 w 65"/>
                <a:gd name="T93" fmla="*/ 82 h 92"/>
                <a:gd name="T94" fmla="*/ 24 w 65"/>
                <a:gd name="T95" fmla="*/ 88 h 92"/>
                <a:gd name="T96" fmla="*/ 25 w 65"/>
                <a:gd name="T97" fmla="*/ 84 h 92"/>
                <a:gd name="T98" fmla="*/ 28 w 65"/>
                <a:gd name="T99" fmla="*/ 85 h 92"/>
                <a:gd name="T100" fmla="*/ 31 w 65"/>
                <a:gd name="T101" fmla="*/ 78 h 92"/>
                <a:gd name="T102" fmla="*/ 40 w 65"/>
                <a:gd name="T103" fmla="*/ 78 h 92"/>
                <a:gd name="T104" fmla="*/ 44 w 65"/>
                <a:gd name="T105" fmla="*/ 79 h 92"/>
                <a:gd name="T106" fmla="*/ 44 w 65"/>
                <a:gd name="T107" fmla="*/ 77 h 92"/>
                <a:gd name="T108" fmla="*/ 47 w 65"/>
                <a:gd name="T109" fmla="*/ 72 h 92"/>
                <a:gd name="T110" fmla="*/ 55 w 65"/>
                <a:gd name="T111" fmla="*/ 75 h 92"/>
                <a:gd name="T112" fmla="*/ 59 w 65"/>
                <a:gd name="T113" fmla="*/ 72 h 92"/>
                <a:gd name="T114" fmla="*/ 62 w 65"/>
                <a:gd name="T115" fmla="*/ 54 h 92"/>
                <a:gd name="T116" fmla="*/ 61 w 65"/>
                <a:gd name="T117" fmla="*/ 31 h 92"/>
                <a:gd name="T118" fmla="*/ 53 w 65"/>
                <a:gd name="T119" fmla="*/ 15 h 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 h="92">
                  <a:moveTo>
                    <a:pt x="44" y="79"/>
                  </a:moveTo>
                  <a:cubicBezTo>
                    <a:pt x="44" y="79"/>
                    <a:pt x="44" y="79"/>
                    <a:pt x="44" y="79"/>
                  </a:cubicBezTo>
                  <a:cubicBezTo>
                    <a:pt x="44" y="79"/>
                    <a:pt x="44" y="79"/>
                    <a:pt x="44" y="79"/>
                  </a:cubicBezTo>
                  <a:moveTo>
                    <a:pt x="44" y="0"/>
                  </a:moveTo>
                  <a:cubicBezTo>
                    <a:pt x="44" y="0"/>
                    <a:pt x="44" y="0"/>
                    <a:pt x="44" y="0"/>
                  </a:cubicBezTo>
                  <a:cubicBezTo>
                    <a:pt x="43" y="1"/>
                    <a:pt x="43" y="1"/>
                    <a:pt x="42" y="2"/>
                  </a:cubicBezTo>
                  <a:cubicBezTo>
                    <a:pt x="41" y="4"/>
                    <a:pt x="41" y="4"/>
                    <a:pt x="41" y="4"/>
                  </a:cubicBezTo>
                  <a:cubicBezTo>
                    <a:pt x="40" y="4"/>
                    <a:pt x="40" y="4"/>
                    <a:pt x="40" y="4"/>
                  </a:cubicBezTo>
                  <a:cubicBezTo>
                    <a:pt x="40" y="5"/>
                    <a:pt x="39" y="6"/>
                    <a:pt x="38" y="6"/>
                  </a:cubicBezTo>
                  <a:cubicBezTo>
                    <a:pt x="37" y="6"/>
                    <a:pt x="37" y="7"/>
                    <a:pt x="36" y="7"/>
                  </a:cubicBezTo>
                  <a:cubicBezTo>
                    <a:pt x="24" y="8"/>
                    <a:pt x="24" y="8"/>
                    <a:pt x="24" y="8"/>
                  </a:cubicBezTo>
                  <a:cubicBezTo>
                    <a:pt x="23" y="8"/>
                    <a:pt x="22" y="8"/>
                    <a:pt x="22" y="8"/>
                  </a:cubicBezTo>
                  <a:cubicBezTo>
                    <a:pt x="20" y="8"/>
                    <a:pt x="19" y="8"/>
                    <a:pt x="18" y="8"/>
                  </a:cubicBezTo>
                  <a:cubicBezTo>
                    <a:pt x="18" y="8"/>
                    <a:pt x="17" y="9"/>
                    <a:pt x="17" y="10"/>
                  </a:cubicBezTo>
                  <a:cubicBezTo>
                    <a:pt x="17" y="10"/>
                    <a:pt x="16" y="10"/>
                    <a:pt x="16" y="11"/>
                  </a:cubicBezTo>
                  <a:cubicBezTo>
                    <a:pt x="16" y="11"/>
                    <a:pt x="16" y="12"/>
                    <a:pt x="15" y="12"/>
                  </a:cubicBezTo>
                  <a:cubicBezTo>
                    <a:pt x="15" y="12"/>
                    <a:pt x="15" y="12"/>
                    <a:pt x="15" y="12"/>
                  </a:cubicBezTo>
                  <a:cubicBezTo>
                    <a:pt x="14" y="13"/>
                    <a:pt x="13" y="15"/>
                    <a:pt x="13" y="15"/>
                  </a:cubicBezTo>
                  <a:cubicBezTo>
                    <a:pt x="12" y="16"/>
                    <a:pt x="12" y="16"/>
                    <a:pt x="12" y="16"/>
                  </a:cubicBezTo>
                  <a:cubicBezTo>
                    <a:pt x="12" y="16"/>
                    <a:pt x="12" y="16"/>
                    <a:pt x="12" y="16"/>
                  </a:cubicBezTo>
                  <a:cubicBezTo>
                    <a:pt x="12" y="17"/>
                    <a:pt x="11" y="17"/>
                    <a:pt x="11" y="17"/>
                  </a:cubicBezTo>
                  <a:cubicBezTo>
                    <a:pt x="11" y="18"/>
                    <a:pt x="11" y="19"/>
                    <a:pt x="11" y="19"/>
                  </a:cubicBezTo>
                  <a:cubicBezTo>
                    <a:pt x="11" y="19"/>
                    <a:pt x="10" y="18"/>
                    <a:pt x="9" y="18"/>
                  </a:cubicBezTo>
                  <a:cubicBezTo>
                    <a:pt x="8" y="17"/>
                    <a:pt x="8" y="17"/>
                    <a:pt x="8" y="17"/>
                  </a:cubicBezTo>
                  <a:cubicBezTo>
                    <a:pt x="9" y="17"/>
                    <a:pt x="9" y="17"/>
                    <a:pt x="9" y="17"/>
                  </a:cubicBezTo>
                  <a:cubicBezTo>
                    <a:pt x="8" y="17"/>
                    <a:pt x="8" y="17"/>
                    <a:pt x="8" y="17"/>
                  </a:cubicBezTo>
                  <a:cubicBezTo>
                    <a:pt x="8" y="17"/>
                    <a:pt x="8" y="17"/>
                    <a:pt x="7" y="17"/>
                  </a:cubicBezTo>
                  <a:cubicBezTo>
                    <a:pt x="7" y="19"/>
                    <a:pt x="8" y="20"/>
                    <a:pt x="9" y="20"/>
                  </a:cubicBezTo>
                  <a:cubicBezTo>
                    <a:pt x="10" y="21"/>
                    <a:pt x="11" y="23"/>
                    <a:pt x="11" y="25"/>
                  </a:cubicBezTo>
                  <a:cubicBezTo>
                    <a:pt x="12" y="26"/>
                    <a:pt x="13" y="26"/>
                    <a:pt x="13" y="27"/>
                  </a:cubicBezTo>
                  <a:cubicBezTo>
                    <a:pt x="13" y="27"/>
                    <a:pt x="13" y="27"/>
                    <a:pt x="13" y="27"/>
                  </a:cubicBezTo>
                  <a:cubicBezTo>
                    <a:pt x="13" y="27"/>
                    <a:pt x="10" y="29"/>
                    <a:pt x="10" y="30"/>
                  </a:cubicBezTo>
                  <a:cubicBezTo>
                    <a:pt x="10" y="30"/>
                    <a:pt x="10" y="30"/>
                    <a:pt x="10" y="30"/>
                  </a:cubicBezTo>
                  <a:cubicBezTo>
                    <a:pt x="10" y="30"/>
                    <a:pt x="11" y="30"/>
                    <a:pt x="11" y="30"/>
                  </a:cubicBezTo>
                  <a:cubicBezTo>
                    <a:pt x="12" y="30"/>
                    <a:pt x="12" y="30"/>
                    <a:pt x="13" y="30"/>
                  </a:cubicBezTo>
                  <a:cubicBezTo>
                    <a:pt x="13" y="30"/>
                    <a:pt x="14" y="30"/>
                    <a:pt x="14" y="30"/>
                  </a:cubicBezTo>
                  <a:cubicBezTo>
                    <a:pt x="13" y="31"/>
                    <a:pt x="12" y="31"/>
                    <a:pt x="12" y="32"/>
                  </a:cubicBezTo>
                  <a:cubicBezTo>
                    <a:pt x="12" y="32"/>
                    <a:pt x="13" y="33"/>
                    <a:pt x="14" y="33"/>
                  </a:cubicBezTo>
                  <a:cubicBezTo>
                    <a:pt x="12" y="34"/>
                    <a:pt x="15" y="35"/>
                    <a:pt x="16" y="35"/>
                  </a:cubicBezTo>
                  <a:cubicBezTo>
                    <a:pt x="14" y="36"/>
                    <a:pt x="14" y="36"/>
                    <a:pt x="13" y="38"/>
                  </a:cubicBezTo>
                  <a:cubicBezTo>
                    <a:pt x="13" y="37"/>
                    <a:pt x="13" y="35"/>
                    <a:pt x="13" y="35"/>
                  </a:cubicBezTo>
                  <a:cubicBezTo>
                    <a:pt x="13" y="35"/>
                    <a:pt x="12" y="35"/>
                    <a:pt x="12" y="36"/>
                  </a:cubicBezTo>
                  <a:cubicBezTo>
                    <a:pt x="12" y="35"/>
                    <a:pt x="12" y="34"/>
                    <a:pt x="12" y="34"/>
                  </a:cubicBezTo>
                  <a:cubicBezTo>
                    <a:pt x="12" y="34"/>
                    <a:pt x="11" y="34"/>
                    <a:pt x="11" y="34"/>
                  </a:cubicBezTo>
                  <a:cubicBezTo>
                    <a:pt x="11" y="34"/>
                    <a:pt x="11" y="34"/>
                    <a:pt x="10" y="33"/>
                  </a:cubicBezTo>
                  <a:cubicBezTo>
                    <a:pt x="10" y="34"/>
                    <a:pt x="10" y="35"/>
                    <a:pt x="9" y="35"/>
                  </a:cubicBezTo>
                  <a:cubicBezTo>
                    <a:pt x="9" y="34"/>
                    <a:pt x="9" y="33"/>
                    <a:pt x="8" y="33"/>
                  </a:cubicBezTo>
                  <a:cubicBezTo>
                    <a:pt x="8" y="32"/>
                    <a:pt x="7" y="32"/>
                    <a:pt x="7" y="32"/>
                  </a:cubicBezTo>
                  <a:cubicBezTo>
                    <a:pt x="6" y="32"/>
                    <a:pt x="6" y="35"/>
                    <a:pt x="6" y="36"/>
                  </a:cubicBezTo>
                  <a:cubicBezTo>
                    <a:pt x="6" y="35"/>
                    <a:pt x="6" y="33"/>
                    <a:pt x="5" y="33"/>
                  </a:cubicBezTo>
                  <a:cubicBezTo>
                    <a:pt x="5" y="33"/>
                    <a:pt x="5" y="33"/>
                    <a:pt x="5" y="33"/>
                  </a:cubicBezTo>
                  <a:cubicBezTo>
                    <a:pt x="3" y="33"/>
                    <a:pt x="4" y="37"/>
                    <a:pt x="3" y="38"/>
                  </a:cubicBezTo>
                  <a:cubicBezTo>
                    <a:pt x="3" y="37"/>
                    <a:pt x="3" y="35"/>
                    <a:pt x="3" y="34"/>
                  </a:cubicBezTo>
                  <a:cubicBezTo>
                    <a:pt x="2" y="37"/>
                    <a:pt x="1" y="34"/>
                    <a:pt x="0" y="37"/>
                  </a:cubicBezTo>
                  <a:cubicBezTo>
                    <a:pt x="0" y="37"/>
                    <a:pt x="0" y="37"/>
                    <a:pt x="0" y="37"/>
                  </a:cubicBezTo>
                  <a:cubicBezTo>
                    <a:pt x="0" y="38"/>
                    <a:pt x="0" y="38"/>
                    <a:pt x="0" y="38"/>
                  </a:cubicBezTo>
                  <a:cubicBezTo>
                    <a:pt x="2" y="39"/>
                    <a:pt x="4" y="38"/>
                    <a:pt x="6" y="40"/>
                  </a:cubicBezTo>
                  <a:cubicBezTo>
                    <a:pt x="6" y="39"/>
                    <a:pt x="6" y="39"/>
                    <a:pt x="6" y="39"/>
                  </a:cubicBezTo>
                  <a:cubicBezTo>
                    <a:pt x="6" y="39"/>
                    <a:pt x="6" y="40"/>
                    <a:pt x="6" y="41"/>
                  </a:cubicBezTo>
                  <a:cubicBezTo>
                    <a:pt x="6" y="43"/>
                    <a:pt x="6" y="44"/>
                    <a:pt x="7" y="46"/>
                  </a:cubicBezTo>
                  <a:cubicBezTo>
                    <a:pt x="7" y="47"/>
                    <a:pt x="9" y="51"/>
                    <a:pt x="7" y="52"/>
                  </a:cubicBezTo>
                  <a:cubicBezTo>
                    <a:pt x="9" y="53"/>
                    <a:pt x="11" y="53"/>
                    <a:pt x="14" y="54"/>
                  </a:cubicBezTo>
                  <a:cubicBezTo>
                    <a:pt x="13" y="54"/>
                    <a:pt x="9" y="56"/>
                    <a:pt x="9" y="57"/>
                  </a:cubicBezTo>
                  <a:cubicBezTo>
                    <a:pt x="9" y="57"/>
                    <a:pt x="9" y="57"/>
                    <a:pt x="9" y="57"/>
                  </a:cubicBezTo>
                  <a:cubicBezTo>
                    <a:pt x="9" y="57"/>
                    <a:pt x="9" y="57"/>
                    <a:pt x="9" y="57"/>
                  </a:cubicBezTo>
                  <a:cubicBezTo>
                    <a:pt x="9" y="57"/>
                    <a:pt x="10" y="57"/>
                    <a:pt x="10" y="57"/>
                  </a:cubicBezTo>
                  <a:cubicBezTo>
                    <a:pt x="10" y="57"/>
                    <a:pt x="10" y="57"/>
                    <a:pt x="10" y="57"/>
                  </a:cubicBezTo>
                  <a:cubicBezTo>
                    <a:pt x="12" y="60"/>
                    <a:pt x="12" y="60"/>
                    <a:pt x="12" y="60"/>
                  </a:cubicBezTo>
                  <a:cubicBezTo>
                    <a:pt x="12" y="60"/>
                    <a:pt x="12" y="60"/>
                    <a:pt x="12" y="60"/>
                  </a:cubicBezTo>
                  <a:cubicBezTo>
                    <a:pt x="10" y="60"/>
                    <a:pt x="6" y="63"/>
                    <a:pt x="6" y="64"/>
                  </a:cubicBezTo>
                  <a:cubicBezTo>
                    <a:pt x="7" y="64"/>
                    <a:pt x="9" y="64"/>
                    <a:pt x="10" y="65"/>
                  </a:cubicBezTo>
                  <a:cubicBezTo>
                    <a:pt x="7" y="66"/>
                    <a:pt x="4" y="68"/>
                    <a:pt x="4" y="71"/>
                  </a:cubicBezTo>
                  <a:cubicBezTo>
                    <a:pt x="3" y="73"/>
                    <a:pt x="5" y="74"/>
                    <a:pt x="5" y="76"/>
                  </a:cubicBezTo>
                  <a:cubicBezTo>
                    <a:pt x="5" y="75"/>
                    <a:pt x="3" y="74"/>
                    <a:pt x="2" y="74"/>
                  </a:cubicBezTo>
                  <a:cubicBezTo>
                    <a:pt x="3" y="76"/>
                    <a:pt x="3" y="77"/>
                    <a:pt x="4" y="79"/>
                  </a:cubicBezTo>
                  <a:cubicBezTo>
                    <a:pt x="4" y="81"/>
                    <a:pt x="4" y="81"/>
                    <a:pt x="5" y="81"/>
                  </a:cubicBezTo>
                  <a:cubicBezTo>
                    <a:pt x="6" y="81"/>
                    <a:pt x="6" y="81"/>
                    <a:pt x="6" y="81"/>
                  </a:cubicBezTo>
                  <a:cubicBezTo>
                    <a:pt x="7" y="81"/>
                    <a:pt x="7" y="81"/>
                    <a:pt x="7" y="81"/>
                  </a:cubicBezTo>
                  <a:cubicBezTo>
                    <a:pt x="8" y="81"/>
                    <a:pt x="8" y="80"/>
                    <a:pt x="8" y="80"/>
                  </a:cubicBezTo>
                  <a:cubicBezTo>
                    <a:pt x="9" y="80"/>
                    <a:pt x="9" y="81"/>
                    <a:pt x="10" y="81"/>
                  </a:cubicBezTo>
                  <a:cubicBezTo>
                    <a:pt x="9" y="81"/>
                    <a:pt x="8" y="81"/>
                    <a:pt x="8" y="82"/>
                  </a:cubicBezTo>
                  <a:cubicBezTo>
                    <a:pt x="7" y="82"/>
                    <a:pt x="5" y="82"/>
                    <a:pt x="4" y="83"/>
                  </a:cubicBezTo>
                  <a:cubicBezTo>
                    <a:pt x="5" y="82"/>
                    <a:pt x="5" y="82"/>
                    <a:pt x="5" y="82"/>
                  </a:cubicBezTo>
                  <a:cubicBezTo>
                    <a:pt x="7" y="82"/>
                    <a:pt x="8" y="84"/>
                    <a:pt x="9" y="85"/>
                  </a:cubicBezTo>
                  <a:cubicBezTo>
                    <a:pt x="8" y="85"/>
                    <a:pt x="8" y="85"/>
                    <a:pt x="8" y="85"/>
                  </a:cubicBezTo>
                  <a:cubicBezTo>
                    <a:pt x="8" y="85"/>
                    <a:pt x="7" y="85"/>
                    <a:pt x="7" y="85"/>
                  </a:cubicBezTo>
                  <a:cubicBezTo>
                    <a:pt x="6" y="86"/>
                    <a:pt x="6" y="86"/>
                    <a:pt x="6" y="86"/>
                  </a:cubicBezTo>
                  <a:cubicBezTo>
                    <a:pt x="4" y="86"/>
                    <a:pt x="4" y="84"/>
                    <a:pt x="2" y="84"/>
                  </a:cubicBezTo>
                  <a:cubicBezTo>
                    <a:pt x="2" y="84"/>
                    <a:pt x="2" y="84"/>
                    <a:pt x="2" y="84"/>
                  </a:cubicBezTo>
                  <a:cubicBezTo>
                    <a:pt x="2" y="86"/>
                    <a:pt x="4" y="85"/>
                    <a:pt x="4" y="86"/>
                  </a:cubicBezTo>
                  <a:cubicBezTo>
                    <a:pt x="5" y="88"/>
                    <a:pt x="6" y="90"/>
                    <a:pt x="7" y="92"/>
                  </a:cubicBezTo>
                  <a:cubicBezTo>
                    <a:pt x="10" y="88"/>
                    <a:pt x="11" y="86"/>
                    <a:pt x="15" y="84"/>
                  </a:cubicBezTo>
                  <a:cubicBezTo>
                    <a:pt x="16" y="84"/>
                    <a:pt x="20" y="82"/>
                    <a:pt x="22" y="82"/>
                  </a:cubicBezTo>
                  <a:cubicBezTo>
                    <a:pt x="22" y="82"/>
                    <a:pt x="23" y="82"/>
                    <a:pt x="23" y="82"/>
                  </a:cubicBezTo>
                  <a:cubicBezTo>
                    <a:pt x="23" y="83"/>
                    <a:pt x="18" y="85"/>
                    <a:pt x="19" y="86"/>
                  </a:cubicBezTo>
                  <a:cubicBezTo>
                    <a:pt x="24" y="88"/>
                    <a:pt x="24" y="88"/>
                    <a:pt x="24" y="88"/>
                  </a:cubicBezTo>
                  <a:cubicBezTo>
                    <a:pt x="24" y="88"/>
                    <a:pt x="26" y="85"/>
                    <a:pt x="26" y="85"/>
                  </a:cubicBezTo>
                  <a:cubicBezTo>
                    <a:pt x="26" y="85"/>
                    <a:pt x="25" y="84"/>
                    <a:pt x="25" y="84"/>
                  </a:cubicBezTo>
                  <a:cubicBezTo>
                    <a:pt x="24" y="82"/>
                    <a:pt x="25" y="81"/>
                    <a:pt x="26" y="79"/>
                  </a:cubicBezTo>
                  <a:cubicBezTo>
                    <a:pt x="26" y="81"/>
                    <a:pt x="27" y="84"/>
                    <a:pt x="28" y="85"/>
                  </a:cubicBezTo>
                  <a:cubicBezTo>
                    <a:pt x="28" y="83"/>
                    <a:pt x="31" y="82"/>
                    <a:pt x="31" y="81"/>
                  </a:cubicBezTo>
                  <a:cubicBezTo>
                    <a:pt x="31" y="80"/>
                    <a:pt x="31" y="79"/>
                    <a:pt x="31" y="78"/>
                  </a:cubicBezTo>
                  <a:cubicBezTo>
                    <a:pt x="31" y="77"/>
                    <a:pt x="35" y="75"/>
                    <a:pt x="37" y="75"/>
                  </a:cubicBezTo>
                  <a:cubicBezTo>
                    <a:pt x="36" y="77"/>
                    <a:pt x="39" y="78"/>
                    <a:pt x="40" y="78"/>
                  </a:cubicBezTo>
                  <a:cubicBezTo>
                    <a:pt x="41" y="79"/>
                    <a:pt x="42" y="80"/>
                    <a:pt x="43" y="80"/>
                  </a:cubicBezTo>
                  <a:cubicBezTo>
                    <a:pt x="44" y="80"/>
                    <a:pt x="44" y="80"/>
                    <a:pt x="44" y="79"/>
                  </a:cubicBezTo>
                  <a:cubicBezTo>
                    <a:pt x="44" y="79"/>
                    <a:pt x="44" y="79"/>
                    <a:pt x="44" y="79"/>
                  </a:cubicBezTo>
                  <a:cubicBezTo>
                    <a:pt x="44" y="79"/>
                    <a:pt x="44" y="78"/>
                    <a:pt x="44" y="77"/>
                  </a:cubicBezTo>
                  <a:cubicBezTo>
                    <a:pt x="44" y="77"/>
                    <a:pt x="47" y="76"/>
                    <a:pt x="48" y="75"/>
                  </a:cubicBezTo>
                  <a:cubicBezTo>
                    <a:pt x="47" y="75"/>
                    <a:pt x="47" y="73"/>
                    <a:pt x="47" y="72"/>
                  </a:cubicBezTo>
                  <a:cubicBezTo>
                    <a:pt x="48" y="73"/>
                    <a:pt x="52" y="73"/>
                    <a:pt x="54" y="74"/>
                  </a:cubicBezTo>
                  <a:cubicBezTo>
                    <a:pt x="54" y="74"/>
                    <a:pt x="54" y="75"/>
                    <a:pt x="55" y="75"/>
                  </a:cubicBezTo>
                  <a:cubicBezTo>
                    <a:pt x="55" y="75"/>
                    <a:pt x="55" y="75"/>
                    <a:pt x="55" y="75"/>
                  </a:cubicBezTo>
                  <a:cubicBezTo>
                    <a:pt x="56" y="74"/>
                    <a:pt x="59" y="73"/>
                    <a:pt x="59" y="72"/>
                  </a:cubicBezTo>
                  <a:cubicBezTo>
                    <a:pt x="62" y="66"/>
                    <a:pt x="64" y="60"/>
                    <a:pt x="65" y="53"/>
                  </a:cubicBezTo>
                  <a:cubicBezTo>
                    <a:pt x="64" y="54"/>
                    <a:pt x="63" y="54"/>
                    <a:pt x="62" y="54"/>
                  </a:cubicBezTo>
                  <a:cubicBezTo>
                    <a:pt x="62" y="54"/>
                    <a:pt x="62" y="54"/>
                    <a:pt x="62" y="54"/>
                  </a:cubicBezTo>
                  <a:cubicBezTo>
                    <a:pt x="63" y="46"/>
                    <a:pt x="62" y="38"/>
                    <a:pt x="61" y="31"/>
                  </a:cubicBezTo>
                  <a:cubicBezTo>
                    <a:pt x="61" y="29"/>
                    <a:pt x="60" y="27"/>
                    <a:pt x="59" y="26"/>
                  </a:cubicBezTo>
                  <a:cubicBezTo>
                    <a:pt x="57" y="22"/>
                    <a:pt x="55" y="19"/>
                    <a:pt x="53" y="15"/>
                  </a:cubicBezTo>
                  <a:cubicBezTo>
                    <a:pt x="50" y="10"/>
                    <a:pt x="47" y="5"/>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451"/>
            <p:cNvSpPr/>
            <p:nvPr/>
          </p:nvSpPr>
          <p:spPr bwMode="auto">
            <a:xfrm>
              <a:off x="1645040" y="5201918"/>
              <a:ext cx="477282" cy="530924"/>
            </a:xfrm>
            <a:custGeom>
              <a:gdLst>
                <a:gd name="T0" fmla="*/ 79 w 147"/>
                <a:gd name="T1" fmla="*/ 3 h 163"/>
                <a:gd name="T2" fmla="*/ 73 w 147"/>
                <a:gd name="T3" fmla="*/ 7 h 163"/>
                <a:gd name="T4" fmla="*/ 73 w 147"/>
                <a:gd name="T5" fmla="*/ 5 h 163"/>
                <a:gd name="T6" fmla="*/ 72 w 147"/>
                <a:gd name="T7" fmla="*/ 12 h 163"/>
                <a:gd name="T8" fmla="*/ 76 w 147"/>
                <a:gd name="T9" fmla="*/ 15 h 163"/>
                <a:gd name="T10" fmla="*/ 73 w 147"/>
                <a:gd name="T11" fmla="*/ 19 h 163"/>
                <a:gd name="T12" fmla="*/ 69 w 147"/>
                <a:gd name="T13" fmla="*/ 19 h 163"/>
                <a:gd name="T14" fmla="*/ 67 w 147"/>
                <a:gd name="T15" fmla="*/ 19 h 163"/>
                <a:gd name="T16" fmla="*/ 65 w 147"/>
                <a:gd name="T17" fmla="*/ 23 h 163"/>
                <a:gd name="T18" fmla="*/ 65 w 147"/>
                <a:gd name="T19" fmla="*/ 26 h 163"/>
                <a:gd name="T20" fmla="*/ 62 w 147"/>
                <a:gd name="T21" fmla="*/ 39 h 163"/>
                <a:gd name="T22" fmla="*/ 61 w 147"/>
                <a:gd name="T23" fmla="*/ 41 h 163"/>
                <a:gd name="T24" fmla="*/ 63 w 147"/>
                <a:gd name="T25" fmla="*/ 46 h 163"/>
                <a:gd name="T26" fmla="*/ 65 w 147"/>
                <a:gd name="T27" fmla="*/ 50 h 163"/>
                <a:gd name="T28" fmla="*/ 66 w 147"/>
                <a:gd name="T29" fmla="*/ 54 h 163"/>
                <a:gd name="T30" fmla="*/ 68 w 147"/>
                <a:gd name="T31" fmla="*/ 59 h 163"/>
                <a:gd name="T32" fmla="*/ 66 w 147"/>
                <a:gd name="T33" fmla="*/ 70 h 163"/>
                <a:gd name="T34" fmla="*/ 61 w 147"/>
                <a:gd name="T35" fmla="*/ 85 h 163"/>
                <a:gd name="T36" fmla="*/ 60 w 147"/>
                <a:gd name="T37" fmla="*/ 87 h 163"/>
                <a:gd name="T38" fmla="*/ 60 w 147"/>
                <a:gd name="T39" fmla="*/ 89 h 163"/>
                <a:gd name="T40" fmla="*/ 59 w 147"/>
                <a:gd name="T41" fmla="*/ 92 h 163"/>
                <a:gd name="T42" fmla="*/ 57 w 147"/>
                <a:gd name="T43" fmla="*/ 97 h 163"/>
                <a:gd name="T44" fmla="*/ 56 w 147"/>
                <a:gd name="T45" fmla="*/ 102 h 163"/>
                <a:gd name="T46" fmla="*/ 51 w 147"/>
                <a:gd name="T47" fmla="*/ 101 h 163"/>
                <a:gd name="T48" fmla="*/ 3 w 147"/>
                <a:gd name="T49" fmla="*/ 118 h 163"/>
                <a:gd name="T50" fmla="*/ 7 w 147"/>
                <a:gd name="T51" fmla="*/ 132 h 163"/>
                <a:gd name="T52" fmla="*/ 29 w 147"/>
                <a:gd name="T53" fmla="*/ 160 h 163"/>
                <a:gd name="T54" fmla="*/ 43 w 147"/>
                <a:gd name="T55" fmla="*/ 156 h 163"/>
                <a:gd name="T56" fmla="*/ 52 w 147"/>
                <a:gd name="T57" fmla="*/ 157 h 163"/>
                <a:gd name="T58" fmla="*/ 55 w 147"/>
                <a:gd name="T59" fmla="*/ 156 h 163"/>
                <a:gd name="T60" fmla="*/ 70 w 147"/>
                <a:gd name="T61" fmla="*/ 139 h 163"/>
                <a:gd name="T62" fmla="*/ 83 w 147"/>
                <a:gd name="T63" fmla="*/ 135 h 163"/>
                <a:gd name="T64" fmla="*/ 85 w 147"/>
                <a:gd name="T65" fmla="*/ 130 h 163"/>
                <a:gd name="T66" fmla="*/ 95 w 147"/>
                <a:gd name="T67" fmla="*/ 121 h 163"/>
                <a:gd name="T68" fmla="*/ 108 w 147"/>
                <a:gd name="T69" fmla="*/ 114 h 163"/>
                <a:gd name="T70" fmla="*/ 107 w 147"/>
                <a:gd name="T71" fmla="*/ 109 h 163"/>
                <a:gd name="T72" fmla="*/ 108 w 147"/>
                <a:gd name="T73" fmla="*/ 98 h 163"/>
                <a:gd name="T74" fmla="*/ 116 w 147"/>
                <a:gd name="T75" fmla="*/ 86 h 163"/>
                <a:gd name="T76" fmla="*/ 117 w 147"/>
                <a:gd name="T77" fmla="*/ 90 h 163"/>
                <a:gd name="T78" fmla="*/ 122 w 147"/>
                <a:gd name="T79" fmla="*/ 88 h 163"/>
                <a:gd name="T80" fmla="*/ 132 w 147"/>
                <a:gd name="T81" fmla="*/ 73 h 163"/>
                <a:gd name="T82" fmla="*/ 143 w 147"/>
                <a:gd name="T83" fmla="*/ 58 h 163"/>
                <a:gd name="T84" fmla="*/ 143 w 147"/>
                <a:gd name="T85" fmla="*/ 47 h 163"/>
                <a:gd name="T86" fmla="*/ 136 w 147"/>
                <a:gd name="T87" fmla="*/ 41 h 163"/>
                <a:gd name="T88" fmla="*/ 127 w 147"/>
                <a:gd name="T89" fmla="*/ 30 h 163"/>
                <a:gd name="T90" fmla="*/ 122 w 147"/>
                <a:gd name="T91" fmla="*/ 25 h 163"/>
                <a:gd name="T92" fmla="*/ 120 w 147"/>
                <a:gd name="T93" fmla="*/ 25 h 163"/>
                <a:gd name="T94" fmla="*/ 108 w 147"/>
                <a:gd name="T95" fmla="*/ 22 h 163"/>
                <a:gd name="T96" fmla="*/ 89 w 147"/>
                <a:gd name="T97" fmla="*/ 12 h 163"/>
                <a:gd name="T98" fmla="*/ 83 w 147"/>
                <a:gd name="T99" fmla="*/ 4 h 163"/>
                <a:gd name="T100" fmla="*/ 82 w 147"/>
                <a:gd name="T101" fmla="*/ 0 h 1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 h="163">
                  <a:moveTo>
                    <a:pt x="82" y="0"/>
                  </a:moveTo>
                  <a:cubicBezTo>
                    <a:pt x="81" y="2"/>
                    <a:pt x="80" y="3"/>
                    <a:pt x="79" y="3"/>
                  </a:cubicBezTo>
                  <a:cubicBezTo>
                    <a:pt x="79" y="3"/>
                    <a:pt x="78" y="4"/>
                    <a:pt x="77" y="4"/>
                  </a:cubicBezTo>
                  <a:cubicBezTo>
                    <a:pt x="73" y="7"/>
                    <a:pt x="73" y="7"/>
                    <a:pt x="73" y="7"/>
                  </a:cubicBezTo>
                  <a:cubicBezTo>
                    <a:pt x="73" y="5"/>
                    <a:pt x="73" y="5"/>
                    <a:pt x="73" y="5"/>
                  </a:cubicBezTo>
                  <a:cubicBezTo>
                    <a:pt x="73" y="5"/>
                    <a:pt x="73" y="5"/>
                    <a:pt x="73" y="5"/>
                  </a:cubicBezTo>
                  <a:cubicBezTo>
                    <a:pt x="72" y="7"/>
                    <a:pt x="72" y="9"/>
                    <a:pt x="72" y="11"/>
                  </a:cubicBezTo>
                  <a:cubicBezTo>
                    <a:pt x="72" y="12"/>
                    <a:pt x="72" y="12"/>
                    <a:pt x="72" y="12"/>
                  </a:cubicBezTo>
                  <a:cubicBezTo>
                    <a:pt x="73" y="12"/>
                    <a:pt x="73" y="12"/>
                    <a:pt x="73" y="12"/>
                  </a:cubicBezTo>
                  <a:cubicBezTo>
                    <a:pt x="74" y="13"/>
                    <a:pt x="75" y="14"/>
                    <a:pt x="76" y="15"/>
                  </a:cubicBezTo>
                  <a:cubicBezTo>
                    <a:pt x="78" y="18"/>
                    <a:pt x="78" y="18"/>
                    <a:pt x="78" y="18"/>
                  </a:cubicBezTo>
                  <a:cubicBezTo>
                    <a:pt x="73" y="19"/>
                    <a:pt x="73" y="19"/>
                    <a:pt x="73" y="19"/>
                  </a:cubicBezTo>
                  <a:cubicBezTo>
                    <a:pt x="72" y="19"/>
                    <a:pt x="70" y="19"/>
                    <a:pt x="69" y="19"/>
                  </a:cubicBezTo>
                  <a:cubicBezTo>
                    <a:pt x="69" y="19"/>
                    <a:pt x="69" y="19"/>
                    <a:pt x="69" y="19"/>
                  </a:cubicBezTo>
                  <a:cubicBezTo>
                    <a:pt x="69" y="23"/>
                    <a:pt x="69" y="23"/>
                    <a:pt x="69" y="23"/>
                  </a:cubicBezTo>
                  <a:cubicBezTo>
                    <a:pt x="67" y="19"/>
                    <a:pt x="67" y="19"/>
                    <a:pt x="67" y="19"/>
                  </a:cubicBezTo>
                  <a:cubicBezTo>
                    <a:pt x="67" y="19"/>
                    <a:pt x="67" y="19"/>
                    <a:pt x="67" y="19"/>
                  </a:cubicBezTo>
                  <a:cubicBezTo>
                    <a:pt x="66" y="20"/>
                    <a:pt x="65" y="21"/>
                    <a:pt x="65" y="23"/>
                  </a:cubicBezTo>
                  <a:cubicBezTo>
                    <a:pt x="65" y="24"/>
                    <a:pt x="65" y="24"/>
                    <a:pt x="65" y="24"/>
                  </a:cubicBezTo>
                  <a:cubicBezTo>
                    <a:pt x="65" y="24"/>
                    <a:pt x="65" y="25"/>
                    <a:pt x="65" y="26"/>
                  </a:cubicBezTo>
                  <a:cubicBezTo>
                    <a:pt x="64" y="28"/>
                    <a:pt x="64" y="31"/>
                    <a:pt x="63" y="33"/>
                  </a:cubicBezTo>
                  <a:cubicBezTo>
                    <a:pt x="62" y="39"/>
                    <a:pt x="62" y="39"/>
                    <a:pt x="62" y="39"/>
                  </a:cubicBezTo>
                  <a:cubicBezTo>
                    <a:pt x="62" y="39"/>
                    <a:pt x="62" y="40"/>
                    <a:pt x="62" y="40"/>
                  </a:cubicBezTo>
                  <a:cubicBezTo>
                    <a:pt x="61" y="41"/>
                    <a:pt x="61" y="41"/>
                    <a:pt x="61" y="41"/>
                  </a:cubicBezTo>
                  <a:cubicBezTo>
                    <a:pt x="61" y="41"/>
                    <a:pt x="61" y="43"/>
                    <a:pt x="61" y="43"/>
                  </a:cubicBezTo>
                  <a:cubicBezTo>
                    <a:pt x="62" y="44"/>
                    <a:pt x="62" y="45"/>
                    <a:pt x="63" y="46"/>
                  </a:cubicBezTo>
                  <a:cubicBezTo>
                    <a:pt x="63" y="46"/>
                    <a:pt x="63" y="46"/>
                    <a:pt x="63" y="46"/>
                  </a:cubicBezTo>
                  <a:cubicBezTo>
                    <a:pt x="63" y="48"/>
                    <a:pt x="64" y="49"/>
                    <a:pt x="65" y="50"/>
                  </a:cubicBezTo>
                  <a:cubicBezTo>
                    <a:pt x="65" y="51"/>
                    <a:pt x="65" y="51"/>
                    <a:pt x="65" y="51"/>
                  </a:cubicBezTo>
                  <a:cubicBezTo>
                    <a:pt x="66" y="52"/>
                    <a:pt x="66" y="53"/>
                    <a:pt x="66" y="54"/>
                  </a:cubicBezTo>
                  <a:cubicBezTo>
                    <a:pt x="67" y="55"/>
                    <a:pt x="67" y="55"/>
                    <a:pt x="67" y="55"/>
                  </a:cubicBezTo>
                  <a:cubicBezTo>
                    <a:pt x="67" y="57"/>
                    <a:pt x="68" y="58"/>
                    <a:pt x="68" y="59"/>
                  </a:cubicBezTo>
                  <a:cubicBezTo>
                    <a:pt x="68" y="61"/>
                    <a:pt x="68" y="62"/>
                    <a:pt x="67" y="63"/>
                  </a:cubicBezTo>
                  <a:cubicBezTo>
                    <a:pt x="67" y="66"/>
                    <a:pt x="66" y="68"/>
                    <a:pt x="66" y="70"/>
                  </a:cubicBezTo>
                  <a:cubicBezTo>
                    <a:pt x="63" y="78"/>
                    <a:pt x="63" y="78"/>
                    <a:pt x="63" y="78"/>
                  </a:cubicBezTo>
                  <a:cubicBezTo>
                    <a:pt x="62" y="80"/>
                    <a:pt x="62" y="83"/>
                    <a:pt x="61" y="85"/>
                  </a:cubicBezTo>
                  <a:cubicBezTo>
                    <a:pt x="61" y="86"/>
                    <a:pt x="61" y="86"/>
                    <a:pt x="61" y="86"/>
                  </a:cubicBezTo>
                  <a:cubicBezTo>
                    <a:pt x="60" y="87"/>
                    <a:pt x="60" y="87"/>
                    <a:pt x="60" y="87"/>
                  </a:cubicBezTo>
                  <a:cubicBezTo>
                    <a:pt x="60" y="87"/>
                    <a:pt x="60" y="87"/>
                    <a:pt x="60" y="87"/>
                  </a:cubicBezTo>
                  <a:cubicBezTo>
                    <a:pt x="60" y="89"/>
                    <a:pt x="60" y="89"/>
                    <a:pt x="60" y="89"/>
                  </a:cubicBezTo>
                  <a:cubicBezTo>
                    <a:pt x="60" y="90"/>
                    <a:pt x="59" y="90"/>
                    <a:pt x="59" y="91"/>
                  </a:cubicBezTo>
                  <a:cubicBezTo>
                    <a:pt x="59" y="92"/>
                    <a:pt x="59" y="92"/>
                    <a:pt x="59" y="92"/>
                  </a:cubicBezTo>
                  <a:cubicBezTo>
                    <a:pt x="59" y="92"/>
                    <a:pt x="59" y="92"/>
                    <a:pt x="59" y="92"/>
                  </a:cubicBezTo>
                  <a:cubicBezTo>
                    <a:pt x="58" y="94"/>
                    <a:pt x="58" y="96"/>
                    <a:pt x="57" y="97"/>
                  </a:cubicBezTo>
                  <a:cubicBezTo>
                    <a:pt x="57" y="98"/>
                    <a:pt x="56" y="99"/>
                    <a:pt x="56" y="100"/>
                  </a:cubicBezTo>
                  <a:cubicBezTo>
                    <a:pt x="56" y="102"/>
                    <a:pt x="56" y="102"/>
                    <a:pt x="56" y="102"/>
                  </a:cubicBezTo>
                  <a:cubicBezTo>
                    <a:pt x="55" y="100"/>
                    <a:pt x="55" y="100"/>
                    <a:pt x="55" y="100"/>
                  </a:cubicBezTo>
                  <a:cubicBezTo>
                    <a:pt x="51" y="101"/>
                    <a:pt x="51" y="101"/>
                    <a:pt x="51" y="101"/>
                  </a:cubicBezTo>
                  <a:cubicBezTo>
                    <a:pt x="45" y="103"/>
                    <a:pt x="39" y="105"/>
                    <a:pt x="33" y="107"/>
                  </a:cubicBezTo>
                  <a:cubicBezTo>
                    <a:pt x="3" y="118"/>
                    <a:pt x="3" y="118"/>
                    <a:pt x="3" y="118"/>
                  </a:cubicBezTo>
                  <a:cubicBezTo>
                    <a:pt x="2" y="118"/>
                    <a:pt x="1" y="118"/>
                    <a:pt x="0" y="119"/>
                  </a:cubicBezTo>
                  <a:cubicBezTo>
                    <a:pt x="7" y="132"/>
                    <a:pt x="7" y="132"/>
                    <a:pt x="7" y="132"/>
                  </a:cubicBezTo>
                  <a:cubicBezTo>
                    <a:pt x="11" y="142"/>
                    <a:pt x="16" y="153"/>
                    <a:pt x="21" y="163"/>
                  </a:cubicBezTo>
                  <a:cubicBezTo>
                    <a:pt x="24" y="162"/>
                    <a:pt x="28" y="160"/>
                    <a:pt x="29" y="160"/>
                  </a:cubicBezTo>
                  <a:cubicBezTo>
                    <a:pt x="34" y="158"/>
                    <a:pt x="38" y="156"/>
                    <a:pt x="43" y="156"/>
                  </a:cubicBezTo>
                  <a:cubicBezTo>
                    <a:pt x="43" y="156"/>
                    <a:pt x="43" y="156"/>
                    <a:pt x="43" y="156"/>
                  </a:cubicBezTo>
                  <a:cubicBezTo>
                    <a:pt x="45" y="156"/>
                    <a:pt x="46" y="156"/>
                    <a:pt x="48" y="157"/>
                  </a:cubicBezTo>
                  <a:cubicBezTo>
                    <a:pt x="49" y="157"/>
                    <a:pt x="51" y="157"/>
                    <a:pt x="52" y="157"/>
                  </a:cubicBezTo>
                  <a:cubicBezTo>
                    <a:pt x="53" y="157"/>
                    <a:pt x="54" y="157"/>
                    <a:pt x="54" y="157"/>
                  </a:cubicBezTo>
                  <a:cubicBezTo>
                    <a:pt x="55" y="156"/>
                    <a:pt x="55" y="156"/>
                    <a:pt x="55" y="156"/>
                  </a:cubicBezTo>
                  <a:cubicBezTo>
                    <a:pt x="61" y="153"/>
                    <a:pt x="57" y="142"/>
                    <a:pt x="65" y="140"/>
                  </a:cubicBezTo>
                  <a:cubicBezTo>
                    <a:pt x="67" y="139"/>
                    <a:pt x="69" y="139"/>
                    <a:pt x="70" y="139"/>
                  </a:cubicBezTo>
                  <a:cubicBezTo>
                    <a:pt x="72" y="139"/>
                    <a:pt x="74" y="139"/>
                    <a:pt x="76" y="138"/>
                  </a:cubicBezTo>
                  <a:cubicBezTo>
                    <a:pt x="78" y="137"/>
                    <a:pt x="82" y="136"/>
                    <a:pt x="83" y="135"/>
                  </a:cubicBezTo>
                  <a:cubicBezTo>
                    <a:pt x="84" y="134"/>
                    <a:pt x="84" y="134"/>
                    <a:pt x="84" y="133"/>
                  </a:cubicBezTo>
                  <a:cubicBezTo>
                    <a:pt x="85" y="132"/>
                    <a:pt x="85" y="131"/>
                    <a:pt x="85" y="130"/>
                  </a:cubicBezTo>
                  <a:cubicBezTo>
                    <a:pt x="87" y="127"/>
                    <a:pt x="88" y="125"/>
                    <a:pt x="89" y="123"/>
                  </a:cubicBezTo>
                  <a:cubicBezTo>
                    <a:pt x="89" y="122"/>
                    <a:pt x="94" y="121"/>
                    <a:pt x="95" y="121"/>
                  </a:cubicBezTo>
                  <a:cubicBezTo>
                    <a:pt x="98" y="120"/>
                    <a:pt x="108" y="119"/>
                    <a:pt x="108" y="117"/>
                  </a:cubicBezTo>
                  <a:cubicBezTo>
                    <a:pt x="108" y="114"/>
                    <a:pt x="108" y="114"/>
                    <a:pt x="108" y="114"/>
                  </a:cubicBezTo>
                  <a:cubicBezTo>
                    <a:pt x="108" y="113"/>
                    <a:pt x="107" y="113"/>
                    <a:pt x="107" y="112"/>
                  </a:cubicBezTo>
                  <a:cubicBezTo>
                    <a:pt x="107" y="111"/>
                    <a:pt x="107" y="110"/>
                    <a:pt x="107" y="109"/>
                  </a:cubicBezTo>
                  <a:cubicBezTo>
                    <a:pt x="107" y="107"/>
                    <a:pt x="106" y="106"/>
                    <a:pt x="106" y="104"/>
                  </a:cubicBezTo>
                  <a:cubicBezTo>
                    <a:pt x="106" y="102"/>
                    <a:pt x="107" y="100"/>
                    <a:pt x="108" y="98"/>
                  </a:cubicBezTo>
                  <a:cubicBezTo>
                    <a:pt x="109" y="95"/>
                    <a:pt x="111" y="86"/>
                    <a:pt x="115" y="86"/>
                  </a:cubicBezTo>
                  <a:cubicBezTo>
                    <a:pt x="115" y="86"/>
                    <a:pt x="115" y="86"/>
                    <a:pt x="116" y="86"/>
                  </a:cubicBezTo>
                  <a:cubicBezTo>
                    <a:pt x="117" y="86"/>
                    <a:pt x="117" y="86"/>
                    <a:pt x="116" y="88"/>
                  </a:cubicBezTo>
                  <a:cubicBezTo>
                    <a:pt x="115" y="90"/>
                    <a:pt x="116" y="90"/>
                    <a:pt x="117" y="90"/>
                  </a:cubicBezTo>
                  <a:cubicBezTo>
                    <a:pt x="118" y="90"/>
                    <a:pt x="119" y="90"/>
                    <a:pt x="119" y="90"/>
                  </a:cubicBezTo>
                  <a:cubicBezTo>
                    <a:pt x="122" y="89"/>
                    <a:pt x="121" y="89"/>
                    <a:pt x="122" y="88"/>
                  </a:cubicBezTo>
                  <a:cubicBezTo>
                    <a:pt x="123" y="86"/>
                    <a:pt x="124" y="84"/>
                    <a:pt x="125" y="83"/>
                  </a:cubicBezTo>
                  <a:cubicBezTo>
                    <a:pt x="128" y="79"/>
                    <a:pt x="128" y="75"/>
                    <a:pt x="132" y="73"/>
                  </a:cubicBezTo>
                  <a:cubicBezTo>
                    <a:pt x="135" y="71"/>
                    <a:pt x="137" y="69"/>
                    <a:pt x="139" y="66"/>
                  </a:cubicBezTo>
                  <a:cubicBezTo>
                    <a:pt x="140" y="64"/>
                    <a:pt x="143" y="60"/>
                    <a:pt x="143" y="58"/>
                  </a:cubicBezTo>
                  <a:cubicBezTo>
                    <a:pt x="145" y="55"/>
                    <a:pt x="147" y="53"/>
                    <a:pt x="147" y="50"/>
                  </a:cubicBezTo>
                  <a:cubicBezTo>
                    <a:pt x="146" y="47"/>
                    <a:pt x="146" y="47"/>
                    <a:pt x="143" y="47"/>
                  </a:cubicBezTo>
                  <a:cubicBezTo>
                    <a:pt x="141" y="47"/>
                    <a:pt x="140" y="46"/>
                    <a:pt x="139" y="45"/>
                  </a:cubicBezTo>
                  <a:cubicBezTo>
                    <a:pt x="138" y="44"/>
                    <a:pt x="137" y="42"/>
                    <a:pt x="136" y="41"/>
                  </a:cubicBezTo>
                  <a:cubicBezTo>
                    <a:pt x="135" y="39"/>
                    <a:pt x="133" y="38"/>
                    <a:pt x="132" y="36"/>
                  </a:cubicBezTo>
                  <a:cubicBezTo>
                    <a:pt x="130" y="34"/>
                    <a:pt x="129" y="32"/>
                    <a:pt x="127" y="30"/>
                  </a:cubicBezTo>
                  <a:cubicBezTo>
                    <a:pt x="126" y="28"/>
                    <a:pt x="124" y="25"/>
                    <a:pt x="123" y="25"/>
                  </a:cubicBezTo>
                  <a:cubicBezTo>
                    <a:pt x="122" y="25"/>
                    <a:pt x="122" y="25"/>
                    <a:pt x="122" y="25"/>
                  </a:cubicBezTo>
                  <a:cubicBezTo>
                    <a:pt x="121" y="25"/>
                    <a:pt x="121" y="25"/>
                    <a:pt x="120" y="25"/>
                  </a:cubicBezTo>
                  <a:cubicBezTo>
                    <a:pt x="120" y="25"/>
                    <a:pt x="120" y="25"/>
                    <a:pt x="120" y="25"/>
                  </a:cubicBezTo>
                  <a:cubicBezTo>
                    <a:pt x="118" y="25"/>
                    <a:pt x="117" y="25"/>
                    <a:pt x="115" y="24"/>
                  </a:cubicBezTo>
                  <a:cubicBezTo>
                    <a:pt x="113" y="23"/>
                    <a:pt x="111" y="23"/>
                    <a:pt x="108" y="22"/>
                  </a:cubicBezTo>
                  <a:cubicBezTo>
                    <a:pt x="103" y="20"/>
                    <a:pt x="97" y="20"/>
                    <a:pt x="93" y="17"/>
                  </a:cubicBezTo>
                  <a:cubicBezTo>
                    <a:pt x="91" y="15"/>
                    <a:pt x="90" y="14"/>
                    <a:pt x="89" y="12"/>
                  </a:cubicBezTo>
                  <a:cubicBezTo>
                    <a:pt x="88" y="11"/>
                    <a:pt x="86" y="9"/>
                    <a:pt x="85" y="8"/>
                  </a:cubicBezTo>
                  <a:cubicBezTo>
                    <a:pt x="84" y="6"/>
                    <a:pt x="84" y="5"/>
                    <a:pt x="83" y="4"/>
                  </a:cubicBezTo>
                  <a:cubicBezTo>
                    <a:pt x="83" y="3"/>
                    <a:pt x="82" y="2"/>
                    <a:pt x="82" y="1"/>
                  </a:cubicBezTo>
                  <a:cubicBezTo>
                    <a:pt x="82" y="0"/>
                    <a:pt x="82" y="0"/>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452"/>
            <p:cNvSpPr/>
            <p:nvPr/>
          </p:nvSpPr>
          <p:spPr bwMode="auto">
            <a:xfrm>
              <a:off x="1053596" y="5592546"/>
              <a:ext cx="643711" cy="393379"/>
            </a:xfrm>
            <a:custGeom>
              <a:gdLst>
                <a:gd name="T0" fmla="*/ 170 w 198"/>
                <a:gd name="T1" fmla="*/ 1 h 121"/>
                <a:gd name="T2" fmla="*/ 142 w 198"/>
                <a:gd name="T3" fmla="*/ 5 h 121"/>
                <a:gd name="T4" fmla="*/ 117 w 198"/>
                <a:gd name="T5" fmla="*/ 11 h 121"/>
                <a:gd name="T6" fmla="*/ 108 w 198"/>
                <a:gd name="T7" fmla="*/ 16 h 121"/>
                <a:gd name="T8" fmla="*/ 91 w 198"/>
                <a:gd name="T9" fmla="*/ 38 h 121"/>
                <a:gd name="T10" fmla="*/ 87 w 198"/>
                <a:gd name="T11" fmla="*/ 39 h 121"/>
                <a:gd name="T12" fmla="*/ 85 w 198"/>
                <a:gd name="T13" fmla="*/ 40 h 121"/>
                <a:gd name="T14" fmla="*/ 81 w 198"/>
                <a:gd name="T15" fmla="*/ 37 h 121"/>
                <a:gd name="T16" fmla="*/ 78 w 198"/>
                <a:gd name="T17" fmla="*/ 33 h 121"/>
                <a:gd name="T18" fmla="*/ 77 w 198"/>
                <a:gd name="T19" fmla="*/ 33 h 121"/>
                <a:gd name="T20" fmla="*/ 66 w 198"/>
                <a:gd name="T21" fmla="*/ 32 h 121"/>
                <a:gd name="T22" fmla="*/ 45 w 198"/>
                <a:gd name="T23" fmla="*/ 31 h 121"/>
                <a:gd name="T24" fmla="*/ 35 w 198"/>
                <a:gd name="T25" fmla="*/ 32 h 121"/>
                <a:gd name="T26" fmla="*/ 32 w 198"/>
                <a:gd name="T27" fmla="*/ 32 h 121"/>
                <a:gd name="T28" fmla="*/ 28 w 198"/>
                <a:gd name="T29" fmla="*/ 33 h 121"/>
                <a:gd name="T30" fmla="*/ 23 w 198"/>
                <a:gd name="T31" fmla="*/ 32 h 121"/>
                <a:gd name="T32" fmla="*/ 19 w 198"/>
                <a:gd name="T33" fmla="*/ 30 h 121"/>
                <a:gd name="T34" fmla="*/ 16 w 198"/>
                <a:gd name="T35" fmla="*/ 30 h 121"/>
                <a:gd name="T36" fmla="*/ 15 w 198"/>
                <a:gd name="T37" fmla="*/ 30 h 121"/>
                <a:gd name="T38" fmla="*/ 13 w 198"/>
                <a:gd name="T39" fmla="*/ 36 h 121"/>
                <a:gd name="T40" fmla="*/ 13 w 198"/>
                <a:gd name="T41" fmla="*/ 36 h 121"/>
                <a:gd name="T42" fmla="*/ 13 w 198"/>
                <a:gd name="T43" fmla="*/ 38 h 121"/>
                <a:gd name="T44" fmla="*/ 13 w 198"/>
                <a:gd name="T45" fmla="*/ 40 h 121"/>
                <a:gd name="T46" fmla="*/ 11 w 198"/>
                <a:gd name="T47" fmla="*/ 47 h 121"/>
                <a:gd name="T48" fmla="*/ 7 w 198"/>
                <a:gd name="T49" fmla="*/ 49 h 121"/>
                <a:gd name="T50" fmla="*/ 4 w 198"/>
                <a:gd name="T51" fmla="*/ 52 h 121"/>
                <a:gd name="T52" fmla="*/ 5 w 198"/>
                <a:gd name="T53" fmla="*/ 58 h 121"/>
                <a:gd name="T54" fmla="*/ 4 w 198"/>
                <a:gd name="T55" fmla="*/ 66 h 121"/>
                <a:gd name="T56" fmla="*/ 3 w 198"/>
                <a:gd name="T57" fmla="*/ 70 h 121"/>
                <a:gd name="T58" fmla="*/ 2 w 198"/>
                <a:gd name="T59" fmla="*/ 72 h 121"/>
                <a:gd name="T60" fmla="*/ 3 w 198"/>
                <a:gd name="T61" fmla="*/ 72 h 121"/>
                <a:gd name="T62" fmla="*/ 6 w 198"/>
                <a:gd name="T63" fmla="*/ 81 h 121"/>
                <a:gd name="T64" fmla="*/ 12 w 198"/>
                <a:gd name="T65" fmla="*/ 99 h 121"/>
                <a:gd name="T66" fmla="*/ 12 w 198"/>
                <a:gd name="T67" fmla="*/ 110 h 121"/>
                <a:gd name="T68" fmla="*/ 22 w 198"/>
                <a:gd name="T69" fmla="*/ 121 h 121"/>
                <a:gd name="T70" fmla="*/ 34 w 198"/>
                <a:gd name="T71" fmla="*/ 121 h 121"/>
                <a:gd name="T72" fmla="*/ 34 w 198"/>
                <a:gd name="T73" fmla="*/ 121 h 121"/>
                <a:gd name="T74" fmla="*/ 40 w 198"/>
                <a:gd name="T75" fmla="*/ 119 h 121"/>
                <a:gd name="T76" fmla="*/ 46 w 198"/>
                <a:gd name="T77" fmla="*/ 119 h 121"/>
                <a:gd name="T78" fmla="*/ 56 w 198"/>
                <a:gd name="T79" fmla="*/ 110 h 121"/>
                <a:gd name="T80" fmla="*/ 87 w 198"/>
                <a:gd name="T81" fmla="*/ 103 h 121"/>
                <a:gd name="T82" fmla="*/ 104 w 198"/>
                <a:gd name="T83" fmla="*/ 95 h 121"/>
                <a:gd name="T84" fmla="*/ 110 w 198"/>
                <a:gd name="T85" fmla="*/ 95 h 121"/>
                <a:gd name="T86" fmla="*/ 122 w 198"/>
                <a:gd name="T87" fmla="*/ 87 h 121"/>
                <a:gd name="T88" fmla="*/ 138 w 198"/>
                <a:gd name="T89" fmla="*/ 80 h 121"/>
                <a:gd name="T90" fmla="*/ 167 w 198"/>
                <a:gd name="T91" fmla="*/ 71 h 121"/>
                <a:gd name="T92" fmla="*/ 184 w 198"/>
                <a:gd name="T93" fmla="*/ 64 h 121"/>
                <a:gd name="T94" fmla="*/ 184 w 198"/>
                <a:gd name="T95" fmla="*/ 60 h 121"/>
                <a:gd name="T96" fmla="*/ 187 w 198"/>
                <a:gd name="T97" fmla="*/ 51 h 121"/>
                <a:gd name="T98" fmla="*/ 198 w 198"/>
                <a:gd name="T99" fmla="*/ 45 h 121"/>
                <a:gd name="T100" fmla="*/ 178 w 198"/>
                <a:gd name="T101" fmla="*/ 0 h 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8" h="120">
                  <a:moveTo>
                    <a:pt x="178" y="0"/>
                  </a:moveTo>
                  <a:cubicBezTo>
                    <a:pt x="175" y="1"/>
                    <a:pt x="172" y="1"/>
                    <a:pt x="170" y="1"/>
                  </a:cubicBezTo>
                  <a:cubicBezTo>
                    <a:pt x="161" y="3"/>
                    <a:pt x="152" y="4"/>
                    <a:pt x="145" y="5"/>
                  </a:cubicBezTo>
                  <a:cubicBezTo>
                    <a:pt x="142" y="5"/>
                    <a:pt x="142" y="5"/>
                    <a:pt x="142" y="5"/>
                  </a:cubicBezTo>
                  <a:cubicBezTo>
                    <a:pt x="135" y="6"/>
                    <a:pt x="127" y="6"/>
                    <a:pt x="121" y="9"/>
                  </a:cubicBezTo>
                  <a:cubicBezTo>
                    <a:pt x="120" y="10"/>
                    <a:pt x="119" y="10"/>
                    <a:pt x="117" y="11"/>
                  </a:cubicBezTo>
                  <a:cubicBezTo>
                    <a:pt x="114" y="12"/>
                    <a:pt x="111" y="14"/>
                    <a:pt x="109" y="15"/>
                  </a:cubicBezTo>
                  <a:cubicBezTo>
                    <a:pt x="108" y="16"/>
                    <a:pt x="108" y="16"/>
                    <a:pt x="108" y="16"/>
                  </a:cubicBezTo>
                  <a:cubicBezTo>
                    <a:pt x="96" y="34"/>
                    <a:pt x="96" y="34"/>
                    <a:pt x="96" y="34"/>
                  </a:cubicBezTo>
                  <a:cubicBezTo>
                    <a:pt x="95" y="35"/>
                    <a:pt x="93" y="37"/>
                    <a:pt x="91" y="38"/>
                  </a:cubicBezTo>
                  <a:cubicBezTo>
                    <a:pt x="90" y="39"/>
                    <a:pt x="89" y="39"/>
                    <a:pt x="88" y="39"/>
                  </a:cubicBezTo>
                  <a:cubicBezTo>
                    <a:pt x="87" y="39"/>
                    <a:pt x="87" y="39"/>
                    <a:pt x="87" y="39"/>
                  </a:cubicBezTo>
                  <a:cubicBezTo>
                    <a:pt x="87" y="39"/>
                    <a:pt x="86" y="39"/>
                    <a:pt x="86" y="40"/>
                  </a:cubicBezTo>
                  <a:cubicBezTo>
                    <a:pt x="85" y="40"/>
                    <a:pt x="85" y="40"/>
                    <a:pt x="85" y="40"/>
                  </a:cubicBezTo>
                  <a:cubicBezTo>
                    <a:pt x="85" y="40"/>
                    <a:pt x="85" y="40"/>
                    <a:pt x="85" y="40"/>
                  </a:cubicBezTo>
                  <a:cubicBezTo>
                    <a:pt x="83" y="39"/>
                    <a:pt x="82" y="39"/>
                    <a:pt x="81" y="37"/>
                  </a:cubicBezTo>
                  <a:cubicBezTo>
                    <a:pt x="81" y="37"/>
                    <a:pt x="80" y="37"/>
                    <a:pt x="80" y="36"/>
                  </a:cubicBezTo>
                  <a:cubicBezTo>
                    <a:pt x="79" y="34"/>
                    <a:pt x="78" y="34"/>
                    <a:pt x="78" y="33"/>
                  </a:cubicBezTo>
                  <a:cubicBezTo>
                    <a:pt x="77" y="33"/>
                    <a:pt x="77" y="33"/>
                    <a:pt x="77" y="33"/>
                  </a:cubicBezTo>
                  <a:cubicBezTo>
                    <a:pt x="77" y="33"/>
                    <a:pt x="77" y="33"/>
                    <a:pt x="77" y="33"/>
                  </a:cubicBezTo>
                  <a:cubicBezTo>
                    <a:pt x="74" y="33"/>
                    <a:pt x="70" y="33"/>
                    <a:pt x="67" y="32"/>
                  </a:cubicBezTo>
                  <a:cubicBezTo>
                    <a:pt x="66" y="32"/>
                    <a:pt x="66" y="32"/>
                    <a:pt x="66" y="32"/>
                  </a:cubicBezTo>
                  <a:cubicBezTo>
                    <a:pt x="61" y="31"/>
                    <a:pt x="55" y="31"/>
                    <a:pt x="49" y="31"/>
                  </a:cubicBezTo>
                  <a:cubicBezTo>
                    <a:pt x="48" y="31"/>
                    <a:pt x="47" y="31"/>
                    <a:pt x="45" y="31"/>
                  </a:cubicBezTo>
                  <a:cubicBezTo>
                    <a:pt x="43" y="31"/>
                    <a:pt x="40" y="31"/>
                    <a:pt x="37" y="32"/>
                  </a:cubicBezTo>
                  <a:cubicBezTo>
                    <a:pt x="35" y="32"/>
                    <a:pt x="35" y="32"/>
                    <a:pt x="35" y="32"/>
                  </a:cubicBezTo>
                  <a:cubicBezTo>
                    <a:pt x="35" y="32"/>
                    <a:pt x="34" y="32"/>
                    <a:pt x="33" y="32"/>
                  </a:cubicBezTo>
                  <a:cubicBezTo>
                    <a:pt x="33" y="32"/>
                    <a:pt x="33" y="32"/>
                    <a:pt x="32" y="32"/>
                  </a:cubicBezTo>
                  <a:cubicBezTo>
                    <a:pt x="31" y="33"/>
                    <a:pt x="31" y="33"/>
                    <a:pt x="31" y="33"/>
                  </a:cubicBezTo>
                  <a:cubicBezTo>
                    <a:pt x="30" y="33"/>
                    <a:pt x="29" y="33"/>
                    <a:pt x="28" y="33"/>
                  </a:cubicBezTo>
                  <a:cubicBezTo>
                    <a:pt x="26" y="33"/>
                    <a:pt x="25" y="33"/>
                    <a:pt x="24" y="33"/>
                  </a:cubicBezTo>
                  <a:cubicBezTo>
                    <a:pt x="23" y="32"/>
                    <a:pt x="23" y="32"/>
                    <a:pt x="23" y="32"/>
                  </a:cubicBezTo>
                  <a:cubicBezTo>
                    <a:pt x="22" y="32"/>
                    <a:pt x="20" y="31"/>
                    <a:pt x="19" y="30"/>
                  </a:cubicBezTo>
                  <a:cubicBezTo>
                    <a:pt x="19" y="30"/>
                    <a:pt x="19" y="30"/>
                    <a:pt x="19" y="30"/>
                  </a:cubicBezTo>
                  <a:cubicBezTo>
                    <a:pt x="19" y="29"/>
                    <a:pt x="18" y="29"/>
                    <a:pt x="18" y="29"/>
                  </a:cubicBezTo>
                  <a:cubicBezTo>
                    <a:pt x="17" y="29"/>
                    <a:pt x="17" y="29"/>
                    <a:pt x="16" y="30"/>
                  </a:cubicBezTo>
                  <a:cubicBezTo>
                    <a:pt x="16" y="30"/>
                    <a:pt x="16" y="30"/>
                    <a:pt x="16" y="30"/>
                  </a:cubicBezTo>
                  <a:cubicBezTo>
                    <a:pt x="15" y="30"/>
                    <a:pt x="15" y="30"/>
                    <a:pt x="15" y="30"/>
                  </a:cubicBezTo>
                  <a:cubicBezTo>
                    <a:pt x="15" y="30"/>
                    <a:pt x="14" y="32"/>
                    <a:pt x="14" y="34"/>
                  </a:cubicBezTo>
                  <a:cubicBezTo>
                    <a:pt x="13" y="35"/>
                    <a:pt x="13" y="35"/>
                    <a:pt x="13" y="36"/>
                  </a:cubicBezTo>
                  <a:cubicBezTo>
                    <a:pt x="13" y="36"/>
                    <a:pt x="13" y="36"/>
                    <a:pt x="13" y="36"/>
                  </a:cubicBezTo>
                  <a:cubicBezTo>
                    <a:pt x="13" y="36"/>
                    <a:pt x="13" y="36"/>
                    <a:pt x="13" y="36"/>
                  </a:cubicBezTo>
                  <a:cubicBezTo>
                    <a:pt x="13" y="37"/>
                    <a:pt x="13" y="37"/>
                    <a:pt x="13" y="37"/>
                  </a:cubicBezTo>
                  <a:cubicBezTo>
                    <a:pt x="13" y="38"/>
                    <a:pt x="13" y="38"/>
                    <a:pt x="13" y="38"/>
                  </a:cubicBezTo>
                  <a:cubicBezTo>
                    <a:pt x="13" y="38"/>
                    <a:pt x="13" y="39"/>
                    <a:pt x="13" y="39"/>
                  </a:cubicBezTo>
                  <a:cubicBezTo>
                    <a:pt x="13" y="40"/>
                    <a:pt x="13" y="40"/>
                    <a:pt x="13" y="40"/>
                  </a:cubicBezTo>
                  <a:cubicBezTo>
                    <a:pt x="14" y="41"/>
                    <a:pt x="14" y="44"/>
                    <a:pt x="12" y="46"/>
                  </a:cubicBezTo>
                  <a:cubicBezTo>
                    <a:pt x="12" y="46"/>
                    <a:pt x="12" y="46"/>
                    <a:pt x="11" y="47"/>
                  </a:cubicBezTo>
                  <a:cubicBezTo>
                    <a:pt x="11" y="47"/>
                    <a:pt x="11" y="47"/>
                    <a:pt x="11" y="47"/>
                  </a:cubicBezTo>
                  <a:cubicBezTo>
                    <a:pt x="7" y="49"/>
                    <a:pt x="7" y="49"/>
                    <a:pt x="7" y="49"/>
                  </a:cubicBezTo>
                  <a:cubicBezTo>
                    <a:pt x="7" y="50"/>
                    <a:pt x="7" y="50"/>
                    <a:pt x="7" y="50"/>
                  </a:cubicBezTo>
                  <a:cubicBezTo>
                    <a:pt x="4" y="52"/>
                    <a:pt x="4" y="52"/>
                    <a:pt x="4" y="52"/>
                  </a:cubicBezTo>
                  <a:cubicBezTo>
                    <a:pt x="4" y="51"/>
                    <a:pt x="4" y="51"/>
                    <a:pt x="4" y="51"/>
                  </a:cubicBezTo>
                  <a:cubicBezTo>
                    <a:pt x="4" y="54"/>
                    <a:pt x="4" y="56"/>
                    <a:pt x="5" y="58"/>
                  </a:cubicBezTo>
                  <a:cubicBezTo>
                    <a:pt x="5" y="59"/>
                    <a:pt x="4" y="59"/>
                    <a:pt x="4" y="60"/>
                  </a:cubicBezTo>
                  <a:cubicBezTo>
                    <a:pt x="4" y="62"/>
                    <a:pt x="4" y="64"/>
                    <a:pt x="4" y="66"/>
                  </a:cubicBezTo>
                  <a:cubicBezTo>
                    <a:pt x="4" y="68"/>
                    <a:pt x="4" y="70"/>
                    <a:pt x="4" y="72"/>
                  </a:cubicBezTo>
                  <a:cubicBezTo>
                    <a:pt x="3" y="70"/>
                    <a:pt x="3" y="70"/>
                    <a:pt x="3" y="70"/>
                  </a:cubicBezTo>
                  <a:cubicBezTo>
                    <a:pt x="1" y="71"/>
                    <a:pt x="0" y="71"/>
                    <a:pt x="2" y="72"/>
                  </a:cubicBezTo>
                  <a:cubicBezTo>
                    <a:pt x="2" y="72"/>
                    <a:pt x="2" y="72"/>
                    <a:pt x="2" y="72"/>
                  </a:cubicBezTo>
                  <a:cubicBezTo>
                    <a:pt x="2" y="72"/>
                    <a:pt x="2" y="72"/>
                    <a:pt x="2" y="72"/>
                  </a:cubicBezTo>
                  <a:cubicBezTo>
                    <a:pt x="2" y="72"/>
                    <a:pt x="3" y="72"/>
                    <a:pt x="3" y="72"/>
                  </a:cubicBezTo>
                  <a:cubicBezTo>
                    <a:pt x="3" y="72"/>
                    <a:pt x="4" y="72"/>
                    <a:pt x="4" y="72"/>
                  </a:cubicBezTo>
                  <a:cubicBezTo>
                    <a:pt x="5" y="74"/>
                    <a:pt x="6" y="79"/>
                    <a:pt x="6" y="81"/>
                  </a:cubicBezTo>
                  <a:cubicBezTo>
                    <a:pt x="7" y="83"/>
                    <a:pt x="7" y="85"/>
                    <a:pt x="8" y="88"/>
                  </a:cubicBezTo>
                  <a:cubicBezTo>
                    <a:pt x="9" y="92"/>
                    <a:pt x="10" y="95"/>
                    <a:pt x="12" y="99"/>
                  </a:cubicBezTo>
                  <a:cubicBezTo>
                    <a:pt x="14" y="102"/>
                    <a:pt x="13" y="104"/>
                    <a:pt x="13" y="107"/>
                  </a:cubicBezTo>
                  <a:cubicBezTo>
                    <a:pt x="12" y="108"/>
                    <a:pt x="12" y="109"/>
                    <a:pt x="12" y="110"/>
                  </a:cubicBezTo>
                  <a:cubicBezTo>
                    <a:pt x="13" y="114"/>
                    <a:pt x="15" y="117"/>
                    <a:pt x="17" y="121"/>
                  </a:cubicBezTo>
                  <a:cubicBezTo>
                    <a:pt x="17" y="121"/>
                    <a:pt x="19" y="121"/>
                    <a:pt x="22" y="121"/>
                  </a:cubicBezTo>
                  <a:cubicBezTo>
                    <a:pt x="24" y="121"/>
                    <a:pt x="27" y="121"/>
                    <a:pt x="29" y="121"/>
                  </a:cubicBezTo>
                  <a:cubicBezTo>
                    <a:pt x="32" y="121"/>
                    <a:pt x="33" y="121"/>
                    <a:pt x="34" y="121"/>
                  </a:cubicBezTo>
                  <a:cubicBezTo>
                    <a:pt x="34" y="121"/>
                    <a:pt x="34" y="121"/>
                    <a:pt x="34" y="121"/>
                  </a:cubicBezTo>
                  <a:cubicBezTo>
                    <a:pt x="34" y="121"/>
                    <a:pt x="34" y="121"/>
                    <a:pt x="34" y="121"/>
                  </a:cubicBezTo>
                  <a:cubicBezTo>
                    <a:pt x="35" y="121"/>
                    <a:pt x="36" y="120"/>
                    <a:pt x="37" y="120"/>
                  </a:cubicBezTo>
                  <a:cubicBezTo>
                    <a:pt x="38" y="119"/>
                    <a:pt x="39" y="119"/>
                    <a:pt x="40" y="119"/>
                  </a:cubicBezTo>
                  <a:cubicBezTo>
                    <a:pt x="40" y="119"/>
                    <a:pt x="41" y="119"/>
                    <a:pt x="41" y="119"/>
                  </a:cubicBezTo>
                  <a:cubicBezTo>
                    <a:pt x="42" y="119"/>
                    <a:pt x="44" y="119"/>
                    <a:pt x="46" y="119"/>
                  </a:cubicBezTo>
                  <a:cubicBezTo>
                    <a:pt x="46" y="119"/>
                    <a:pt x="47" y="119"/>
                    <a:pt x="47" y="119"/>
                  </a:cubicBezTo>
                  <a:cubicBezTo>
                    <a:pt x="47" y="115"/>
                    <a:pt x="53" y="113"/>
                    <a:pt x="56" y="110"/>
                  </a:cubicBezTo>
                  <a:cubicBezTo>
                    <a:pt x="58" y="108"/>
                    <a:pt x="60" y="108"/>
                    <a:pt x="64" y="107"/>
                  </a:cubicBezTo>
                  <a:cubicBezTo>
                    <a:pt x="71" y="106"/>
                    <a:pt x="79" y="104"/>
                    <a:pt x="87" y="103"/>
                  </a:cubicBezTo>
                  <a:cubicBezTo>
                    <a:pt x="92" y="102"/>
                    <a:pt x="95" y="99"/>
                    <a:pt x="100" y="96"/>
                  </a:cubicBezTo>
                  <a:cubicBezTo>
                    <a:pt x="102" y="95"/>
                    <a:pt x="103" y="95"/>
                    <a:pt x="104" y="95"/>
                  </a:cubicBezTo>
                  <a:cubicBezTo>
                    <a:pt x="105" y="95"/>
                    <a:pt x="106" y="95"/>
                    <a:pt x="108" y="95"/>
                  </a:cubicBezTo>
                  <a:cubicBezTo>
                    <a:pt x="109" y="95"/>
                    <a:pt x="109" y="95"/>
                    <a:pt x="110" y="95"/>
                  </a:cubicBezTo>
                  <a:cubicBezTo>
                    <a:pt x="113" y="95"/>
                    <a:pt x="115" y="95"/>
                    <a:pt x="116" y="94"/>
                  </a:cubicBezTo>
                  <a:cubicBezTo>
                    <a:pt x="118" y="92"/>
                    <a:pt x="120" y="90"/>
                    <a:pt x="122" y="87"/>
                  </a:cubicBezTo>
                  <a:cubicBezTo>
                    <a:pt x="124" y="85"/>
                    <a:pt x="127" y="84"/>
                    <a:pt x="130" y="82"/>
                  </a:cubicBezTo>
                  <a:cubicBezTo>
                    <a:pt x="133" y="81"/>
                    <a:pt x="135" y="81"/>
                    <a:pt x="138" y="80"/>
                  </a:cubicBezTo>
                  <a:cubicBezTo>
                    <a:pt x="143" y="78"/>
                    <a:pt x="148" y="77"/>
                    <a:pt x="154" y="75"/>
                  </a:cubicBezTo>
                  <a:cubicBezTo>
                    <a:pt x="158" y="74"/>
                    <a:pt x="163" y="73"/>
                    <a:pt x="167" y="71"/>
                  </a:cubicBezTo>
                  <a:cubicBezTo>
                    <a:pt x="171" y="70"/>
                    <a:pt x="174" y="68"/>
                    <a:pt x="178" y="66"/>
                  </a:cubicBezTo>
                  <a:cubicBezTo>
                    <a:pt x="179" y="66"/>
                    <a:pt x="183" y="65"/>
                    <a:pt x="184" y="64"/>
                  </a:cubicBezTo>
                  <a:cubicBezTo>
                    <a:pt x="184" y="63"/>
                    <a:pt x="184" y="62"/>
                    <a:pt x="183" y="61"/>
                  </a:cubicBezTo>
                  <a:cubicBezTo>
                    <a:pt x="183" y="61"/>
                    <a:pt x="184" y="60"/>
                    <a:pt x="184" y="60"/>
                  </a:cubicBezTo>
                  <a:cubicBezTo>
                    <a:pt x="184" y="59"/>
                    <a:pt x="183" y="59"/>
                    <a:pt x="183" y="59"/>
                  </a:cubicBezTo>
                  <a:cubicBezTo>
                    <a:pt x="183" y="56"/>
                    <a:pt x="185" y="53"/>
                    <a:pt x="187" y="51"/>
                  </a:cubicBezTo>
                  <a:cubicBezTo>
                    <a:pt x="189" y="48"/>
                    <a:pt x="189" y="48"/>
                    <a:pt x="192" y="47"/>
                  </a:cubicBezTo>
                  <a:cubicBezTo>
                    <a:pt x="194" y="46"/>
                    <a:pt x="196" y="45"/>
                    <a:pt x="198" y="45"/>
                  </a:cubicBezTo>
                  <a:cubicBezTo>
                    <a:pt x="194" y="35"/>
                    <a:pt x="189" y="23"/>
                    <a:pt x="184" y="13"/>
                  </a:cubicBezTo>
                  <a:cubicBezTo>
                    <a:pt x="178" y="0"/>
                    <a:pt x="178" y="0"/>
                    <a:pt x="17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453"/>
            <p:cNvSpPr/>
            <p:nvPr/>
          </p:nvSpPr>
          <p:spPr bwMode="auto">
            <a:xfrm>
              <a:off x="1625784" y="5130395"/>
              <a:ext cx="281968" cy="204943"/>
            </a:xfrm>
            <a:custGeom>
              <a:gdLst>
                <a:gd name="T0" fmla="*/ 79 w 87"/>
                <a:gd name="T1" fmla="*/ 0 h 63"/>
                <a:gd name="T2" fmla="*/ 75 w 87"/>
                <a:gd name="T3" fmla="*/ 6 h 63"/>
                <a:gd name="T4" fmla="*/ 70 w 87"/>
                <a:gd name="T5" fmla="*/ 10 h 63"/>
                <a:gd name="T6" fmla="*/ 57 w 87"/>
                <a:gd name="T7" fmla="*/ 23 h 63"/>
                <a:gd name="T8" fmla="*/ 53 w 87"/>
                <a:gd name="T9" fmla="*/ 28 h 63"/>
                <a:gd name="T10" fmla="*/ 49 w 87"/>
                <a:gd name="T11" fmla="*/ 34 h 63"/>
                <a:gd name="T12" fmla="*/ 47 w 87"/>
                <a:gd name="T13" fmla="*/ 35 h 63"/>
                <a:gd name="T14" fmla="*/ 43 w 87"/>
                <a:gd name="T15" fmla="*/ 34 h 63"/>
                <a:gd name="T16" fmla="*/ 37 w 87"/>
                <a:gd name="T17" fmla="*/ 38 h 63"/>
                <a:gd name="T18" fmla="*/ 36 w 87"/>
                <a:gd name="T19" fmla="*/ 39 h 63"/>
                <a:gd name="T20" fmla="*/ 32 w 87"/>
                <a:gd name="T21" fmla="*/ 38 h 63"/>
                <a:gd name="T22" fmla="*/ 25 w 87"/>
                <a:gd name="T23" fmla="*/ 37 h 63"/>
                <a:gd name="T24" fmla="*/ 18 w 87"/>
                <a:gd name="T25" fmla="*/ 38 h 63"/>
                <a:gd name="T26" fmla="*/ 4 w 87"/>
                <a:gd name="T27" fmla="*/ 41 h 63"/>
                <a:gd name="T28" fmla="*/ 0 w 87"/>
                <a:gd name="T29" fmla="*/ 40 h 63"/>
                <a:gd name="T30" fmla="*/ 2 w 87"/>
                <a:gd name="T31" fmla="*/ 42 h 63"/>
                <a:gd name="T32" fmla="*/ 4 w 87"/>
                <a:gd name="T33" fmla="*/ 44 h 63"/>
                <a:gd name="T34" fmla="*/ 6 w 87"/>
                <a:gd name="T35" fmla="*/ 47 h 63"/>
                <a:gd name="T36" fmla="*/ 9 w 87"/>
                <a:gd name="T37" fmla="*/ 50 h 63"/>
                <a:gd name="T38" fmla="*/ 16 w 87"/>
                <a:gd name="T39" fmla="*/ 59 h 63"/>
                <a:gd name="T40" fmla="*/ 62 w 87"/>
                <a:gd name="T41" fmla="*/ 63 h 63"/>
                <a:gd name="T42" fmla="*/ 63 w 87"/>
                <a:gd name="T43" fmla="*/ 61 h 63"/>
                <a:gd name="T44" fmla="*/ 63 w 87"/>
                <a:gd name="T45" fmla="*/ 60 h 63"/>
                <a:gd name="T46" fmla="*/ 64 w 87"/>
                <a:gd name="T47" fmla="*/ 55 h 63"/>
                <a:gd name="T48" fmla="*/ 66 w 87"/>
                <a:gd name="T49" fmla="*/ 47 h 63"/>
                <a:gd name="T50" fmla="*/ 66 w 87"/>
                <a:gd name="T51" fmla="*/ 45 h 63"/>
                <a:gd name="T52" fmla="*/ 66 w 87"/>
                <a:gd name="T53" fmla="*/ 45 h 63"/>
                <a:gd name="T54" fmla="*/ 66 w 87"/>
                <a:gd name="T55" fmla="*/ 44 h 63"/>
                <a:gd name="T56" fmla="*/ 71 w 87"/>
                <a:gd name="T57" fmla="*/ 37 h 63"/>
                <a:gd name="T58" fmla="*/ 73 w 87"/>
                <a:gd name="T59" fmla="*/ 37 h 63"/>
                <a:gd name="T60" fmla="*/ 73 w 87"/>
                <a:gd name="T61" fmla="*/ 37 h 63"/>
                <a:gd name="T62" fmla="*/ 74 w 87"/>
                <a:gd name="T63" fmla="*/ 37 h 63"/>
                <a:gd name="T64" fmla="*/ 74 w 87"/>
                <a:gd name="T65" fmla="*/ 37 h 63"/>
                <a:gd name="T66" fmla="*/ 74 w 87"/>
                <a:gd name="T67" fmla="*/ 37 h 63"/>
                <a:gd name="T68" fmla="*/ 73 w 87"/>
                <a:gd name="T69" fmla="*/ 35 h 63"/>
                <a:gd name="T70" fmla="*/ 75 w 87"/>
                <a:gd name="T71" fmla="*/ 23 h 63"/>
                <a:gd name="T72" fmla="*/ 76 w 87"/>
                <a:gd name="T73" fmla="*/ 22 h 63"/>
                <a:gd name="T74" fmla="*/ 81 w 87"/>
                <a:gd name="T75" fmla="*/ 22 h 63"/>
                <a:gd name="T76" fmla="*/ 84 w 87"/>
                <a:gd name="T77" fmla="*/ 20 h 63"/>
                <a:gd name="T78" fmla="*/ 85 w 87"/>
                <a:gd name="T79" fmla="*/ 18 h 63"/>
                <a:gd name="T80" fmla="*/ 85 w 87"/>
                <a:gd name="T81" fmla="*/ 17 h 63"/>
                <a:gd name="T82" fmla="*/ 86 w 87"/>
                <a:gd name="T83" fmla="*/ 18 h 63"/>
                <a:gd name="T84" fmla="*/ 86 w 87"/>
                <a:gd name="T85" fmla="*/ 17 h 63"/>
                <a:gd name="T86" fmla="*/ 87 w 87"/>
                <a:gd name="T87" fmla="*/ 17 h 63"/>
                <a:gd name="T88" fmla="*/ 87 w 87"/>
                <a:gd name="T89" fmla="*/ 13 h 63"/>
                <a:gd name="T90" fmla="*/ 85 w 87"/>
                <a:gd name="T91" fmla="*/ 9 h 63"/>
                <a:gd name="T92" fmla="*/ 84 w 87"/>
                <a:gd name="T93" fmla="*/ 9 h 63"/>
                <a:gd name="T94" fmla="*/ 82 w 87"/>
                <a:gd name="T95" fmla="*/ 9 h 63"/>
                <a:gd name="T96" fmla="*/ 79 w 87"/>
                <a:gd name="T97" fmla="*/ 0 h 63"/>
                <a:gd name="T98" fmla="*/ 79 w 87"/>
                <a:gd name="T99" fmla="*/ 0 h 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7" h="62">
                  <a:moveTo>
                    <a:pt x="79" y="0"/>
                  </a:moveTo>
                  <a:cubicBezTo>
                    <a:pt x="78" y="2"/>
                    <a:pt x="76" y="4"/>
                    <a:pt x="75" y="6"/>
                  </a:cubicBezTo>
                  <a:cubicBezTo>
                    <a:pt x="74" y="7"/>
                    <a:pt x="71" y="9"/>
                    <a:pt x="70" y="10"/>
                  </a:cubicBezTo>
                  <a:cubicBezTo>
                    <a:pt x="65" y="15"/>
                    <a:pt x="62" y="19"/>
                    <a:pt x="57" y="23"/>
                  </a:cubicBezTo>
                  <a:cubicBezTo>
                    <a:pt x="54" y="24"/>
                    <a:pt x="54" y="25"/>
                    <a:pt x="53" y="28"/>
                  </a:cubicBezTo>
                  <a:cubicBezTo>
                    <a:pt x="52" y="30"/>
                    <a:pt x="51" y="33"/>
                    <a:pt x="49" y="34"/>
                  </a:cubicBezTo>
                  <a:cubicBezTo>
                    <a:pt x="48" y="35"/>
                    <a:pt x="48" y="35"/>
                    <a:pt x="47" y="35"/>
                  </a:cubicBezTo>
                  <a:cubicBezTo>
                    <a:pt x="46" y="35"/>
                    <a:pt x="44" y="34"/>
                    <a:pt x="43" y="34"/>
                  </a:cubicBezTo>
                  <a:cubicBezTo>
                    <a:pt x="46" y="36"/>
                    <a:pt x="39" y="38"/>
                    <a:pt x="37" y="38"/>
                  </a:cubicBezTo>
                  <a:cubicBezTo>
                    <a:pt x="37" y="39"/>
                    <a:pt x="36" y="39"/>
                    <a:pt x="36" y="39"/>
                  </a:cubicBezTo>
                  <a:cubicBezTo>
                    <a:pt x="34" y="39"/>
                    <a:pt x="34" y="38"/>
                    <a:pt x="32" y="38"/>
                  </a:cubicBezTo>
                  <a:cubicBezTo>
                    <a:pt x="30" y="37"/>
                    <a:pt x="27" y="37"/>
                    <a:pt x="25" y="37"/>
                  </a:cubicBezTo>
                  <a:cubicBezTo>
                    <a:pt x="22" y="37"/>
                    <a:pt x="20" y="37"/>
                    <a:pt x="18" y="38"/>
                  </a:cubicBezTo>
                  <a:cubicBezTo>
                    <a:pt x="15" y="38"/>
                    <a:pt x="9" y="41"/>
                    <a:pt x="4" y="41"/>
                  </a:cubicBezTo>
                  <a:cubicBezTo>
                    <a:pt x="2" y="41"/>
                    <a:pt x="1" y="41"/>
                    <a:pt x="0" y="40"/>
                  </a:cubicBezTo>
                  <a:cubicBezTo>
                    <a:pt x="1" y="41"/>
                    <a:pt x="2" y="42"/>
                    <a:pt x="2" y="42"/>
                  </a:cubicBezTo>
                  <a:cubicBezTo>
                    <a:pt x="4" y="44"/>
                    <a:pt x="4" y="44"/>
                    <a:pt x="4" y="44"/>
                  </a:cubicBezTo>
                  <a:cubicBezTo>
                    <a:pt x="4" y="44"/>
                    <a:pt x="6" y="47"/>
                    <a:pt x="6" y="47"/>
                  </a:cubicBezTo>
                  <a:cubicBezTo>
                    <a:pt x="9" y="50"/>
                    <a:pt x="9" y="50"/>
                    <a:pt x="9" y="50"/>
                  </a:cubicBezTo>
                  <a:cubicBezTo>
                    <a:pt x="11" y="53"/>
                    <a:pt x="13" y="56"/>
                    <a:pt x="16" y="59"/>
                  </a:cubicBezTo>
                  <a:cubicBezTo>
                    <a:pt x="62" y="63"/>
                    <a:pt x="62" y="63"/>
                    <a:pt x="62" y="63"/>
                  </a:cubicBezTo>
                  <a:cubicBezTo>
                    <a:pt x="63" y="62"/>
                    <a:pt x="63" y="62"/>
                    <a:pt x="63" y="61"/>
                  </a:cubicBezTo>
                  <a:cubicBezTo>
                    <a:pt x="63" y="61"/>
                    <a:pt x="63" y="60"/>
                    <a:pt x="63" y="60"/>
                  </a:cubicBezTo>
                  <a:cubicBezTo>
                    <a:pt x="64" y="55"/>
                    <a:pt x="64" y="55"/>
                    <a:pt x="64" y="55"/>
                  </a:cubicBezTo>
                  <a:cubicBezTo>
                    <a:pt x="65" y="52"/>
                    <a:pt x="65" y="50"/>
                    <a:pt x="66" y="47"/>
                  </a:cubicBezTo>
                  <a:cubicBezTo>
                    <a:pt x="66" y="46"/>
                    <a:pt x="66" y="46"/>
                    <a:pt x="66" y="45"/>
                  </a:cubicBezTo>
                  <a:cubicBezTo>
                    <a:pt x="66" y="45"/>
                    <a:pt x="66" y="45"/>
                    <a:pt x="66" y="45"/>
                  </a:cubicBezTo>
                  <a:cubicBezTo>
                    <a:pt x="66" y="44"/>
                    <a:pt x="66" y="44"/>
                    <a:pt x="66" y="44"/>
                  </a:cubicBezTo>
                  <a:cubicBezTo>
                    <a:pt x="67" y="41"/>
                    <a:pt x="68" y="39"/>
                    <a:pt x="71" y="37"/>
                  </a:cubicBezTo>
                  <a:cubicBezTo>
                    <a:pt x="72" y="37"/>
                    <a:pt x="72" y="37"/>
                    <a:pt x="73" y="37"/>
                  </a:cubicBezTo>
                  <a:cubicBezTo>
                    <a:pt x="73" y="37"/>
                    <a:pt x="73" y="37"/>
                    <a:pt x="73" y="37"/>
                  </a:cubicBezTo>
                  <a:cubicBezTo>
                    <a:pt x="74" y="37"/>
                    <a:pt x="74" y="37"/>
                    <a:pt x="74" y="37"/>
                  </a:cubicBezTo>
                  <a:cubicBezTo>
                    <a:pt x="74" y="37"/>
                    <a:pt x="74" y="37"/>
                    <a:pt x="74" y="37"/>
                  </a:cubicBezTo>
                  <a:cubicBezTo>
                    <a:pt x="74" y="37"/>
                    <a:pt x="74" y="37"/>
                    <a:pt x="74" y="37"/>
                  </a:cubicBezTo>
                  <a:cubicBezTo>
                    <a:pt x="73" y="36"/>
                    <a:pt x="73" y="35"/>
                    <a:pt x="73" y="35"/>
                  </a:cubicBezTo>
                  <a:cubicBezTo>
                    <a:pt x="73" y="30"/>
                    <a:pt x="74" y="27"/>
                    <a:pt x="75" y="23"/>
                  </a:cubicBezTo>
                  <a:cubicBezTo>
                    <a:pt x="76" y="22"/>
                    <a:pt x="76" y="22"/>
                    <a:pt x="76" y="22"/>
                  </a:cubicBezTo>
                  <a:cubicBezTo>
                    <a:pt x="81" y="22"/>
                    <a:pt x="81" y="22"/>
                    <a:pt x="81" y="22"/>
                  </a:cubicBezTo>
                  <a:cubicBezTo>
                    <a:pt x="82" y="21"/>
                    <a:pt x="83" y="21"/>
                    <a:pt x="84" y="20"/>
                  </a:cubicBezTo>
                  <a:cubicBezTo>
                    <a:pt x="84" y="20"/>
                    <a:pt x="84" y="19"/>
                    <a:pt x="85" y="18"/>
                  </a:cubicBezTo>
                  <a:cubicBezTo>
                    <a:pt x="85" y="17"/>
                    <a:pt x="85" y="17"/>
                    <a:pt x="85" y="17"/>
                  </a:cubicBezTo>
                  <a:cubicBezTo>
                    <a:pt x="86" y="18"/>
                    <a:pt x="86" y="18"/>
                    <a:pt x="86" y="18"/>
                  </a:cubicBezTo>
                  <a:cubicBezTo>
                    <a:pt x="86" y="17"/>
                    <a:pt x="86" y="17"/>
                    <a:pt x="86" y="17"/>
                  </a:cubicBezTo>
                  <a:cubicBezTo>
                    <a:pt x="87" y="17"/>
                    <a:pt x="87" y="17"/>
                    <a:pt x="87" y="17"/>
                  </a:cubicBezTo>
                  <a:cubicBezTo>
                    <a:pt x="87" y="15"/>
                    <a:pt x="87" y="13"/>
                    <a:pt x="87" y="13"/>
                  </a:cubicBezTo>
                  <a:cubicBezTo>
                    <a:pt x="86" y="11"/>
                    <a:pt x="86" y="10"/>
                    <a:pt x="85" y="9"/>
                  </a:cubicBezTo>
                  <a:cubicBezTo>
                    <a:pt x="85" y="9"/>
                    <a:pt x="84" y="9"/>
                    <a:pt x="84" y="9"/>
                  </a:cubicBezTo>
                  <a:cubicBezTo>
                    <a:pt x="83" y="9"/>
                    <a:pt x="83" y="9"/>
                    <a:pt x="82" y="9"/>
                  </a:cubicBezTo>
                  <a:cubicBezTo>
                    <a:pt x="80" y="7"/>
                    <a:pt x="79" y="4"/>
                    <a:pt x="79" y="0"/>
                  </a:cubicBezTo>
                  <a:cubicBezTo>
                    <a:pt x="79" y="0"/>
                    <a:pt x="79" y="0"/>
                    <a:pt x="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454"/>
            <p:cNvSpPr/>
            <p:nvPr/>
          </p:nvSpPr>
          <p:spPr bwMode="auto">
            <a:xfrm>
              <a:off x="552932" y="4721886"/>
              <a:ext cx="1297051" cy="1020585"/>
            </a:xfrm>
            <a:custGeom>
              <a:gdLst>
                <a:gd name="T0" fmla="*/ 78 w 399"/>
                <a:gd name="T1" fmla="*/ 5 h 314"/>
                <a:gd name="T2" fmla="*/ 64 w 399"/>
                <a:gd name="T3" fmla="*/ 25 h 314"/>
                <a:gd name="T4" fmla="*/ 67 w 399"/>
                <a:gd name="T5" fmla="*/ 29 h 314"/>
                <a:gd name="T6" fmla="*/ 52 w 399"/>
                <a:gd name="T7" fmla="*/ 46 h 314"/>
                <a:gd name="T8" fmla="*/ 47 w 399"/>
                <a:gd name="T9" fmla="*/ 47 h 314"/>
                <a:gd name="T10" fmla="*/ 36 w 399"/>
                <a:gd name="T11" fmla="*/ 57 h 314"/>
                <a:gd name="T12" fmla="*/ 24 w 399"/>
                <a:gd name="T13" fmla="*/ 61 h 314"/>
                <a:gd name="T14" fmla="*/ 9 w 399"/>
                <a:gd name="T15" fmla="*/ 59 h 314"/>
                <a:gd name="T16" fmla="*/ 2 w 399"/>
                <a:gd name="T17" fmla="*/ 84 h 314"/>
                <a:gd name="T18" fmla="*/ 5 w 399"/>
                <a:gd name="T19" fmla="*/ 82 h 314"/>
                <a:gd name="T20" fmla="*/ 8 w 399"/>
                <a:gd name="T21" fmla="*/ 82 h 314"/>
                <a:gd name="T22" fmla="*/ 27 w 399"/>
                <a:gd name="T23" fmla="*/ 104 h 314"/>
                <a:gd name="T24" fmla="*/ 52 w 399"/>
                <a:gd name="T25" fmla="*/ 143 h 314"/>
                <a:gd name="T26" fmla="*/ 73 w 399"/>
                <a:gd name="T27" fmla="*/ 168 h 314"/>
                <a:gd name="T28" fmla="*/ 88 w 399"/>
                <a:gd name="T29" fmla="*/ 198 h 314"/>
                <a:gd name="T30" fmla="*/ 94 w 399"/>
                <a:gd name="T31" fmla="*/ 230 h 314"/>
                <a:gd name="T32" fmla="*/ 112 w 399"/>
                <a:gd name="T33" fmla="*/ 244 h 314"/>
                <a:gd name="T34" fmla="*/ 146 w 399"/>
                <a:gd name="T35" fmla="*/ 293 h 314"/>
                <a:gd name="T36" fmla="*/ 162 w 399"/>
                <a:gd name="T37" fmla="*/ 311 h 314"/>
                <a:gd name="T38" fmla="*/ 162 w 399"/>
                <a:gd name="T39" fmla="*/ 304 h 314"/>
                <a:gd name="T40" fmla="*/ 169 w 399"/>
                <a:gd name="T41" fmla="*/ 293 h 314"/>
                <a:gd name="T42" fmla="*/ 179 w 399"/>
                <a:gd name="T43" fmla="*/ 296 h 314"/>
                <a:gd name="T44" fmla="*/ 184 w 399"/>
                <a:gd name="T45" fmla="*/ 296 h 314"/>
                <a:gd name="T46" fmla="*/ 199 w 399"/>
                <a:gd name="T47" fmla="*/ 294 h 314"/>
                <a:gd name="T48" fmla="*/ 232 w 399"/>
                <a:gd name="T49" fmla="*/ 297 h 314"/>
                <a:gd name="T50" fmla="*/ 238 w 399"/>
                <a:gd name="T51" fmla="*/ 302 h 314"/>
                <a:gd name="T52" fmla="*/ 240 w 399"/>
                <a:gd name="T53" fmla="*/ 303 h 314"/>
                <a:gd name="T54" fmla="*/ 260 w 399"/>
                <a:gd name="T55" fmla="*/ 280 h 314"/>
                <a:gd name="T56" fmla="*/ 295 w 399"/>
                <a:gd name="T57" fmla="*/ 269 h 314"/>
                <a:gd name="T58" fmla="*/ 333 w 399"/>
                <a:gd name="T59" fmla="*/ 263 h 314"/>
                <a:gd name="T60" fmla="*/ 389 w 399"/>
                <a:gd name="T61" fmla="*/ 244 h 314"/>
                <a:gd name="T62" fmla="*/ 391 w 399"/>
                <a:gd name="T63" fmla="*/ 237 h 314"/>
                <a:gd name="T64" fmla="*/ 397 w 399"/>
                <a:gd name="T65" fmla="*/ 217 h 314"/>
                <a:gd name="T66" fmla="*/ 398 w 399"/>
                <a:gd name="T67" fmla="*/ 204 h 314"/>
                <a:gd name="T68" fmla="*/ 395 w 399"/>
                <a:gd name="T69" fmla="*/ 197 h 314"/>
                <a:gd name="T70" fmla="*/ 344 w 399"/>
                <a:gd name="T71" fmla="*/ 189 h 314"/>
                <a:gd name="T72" fmla="*/ 329 w 399"/>
                <a:gd name="T73" fmla="*/ 172 h 314"/>
                <a:gd name="T74" fmla="*/ 320 w 399"/>
                <a:gd name="T75" fmla="*/ 157 h 314"/>
                <a:gd name="T76" fmla="*/ 323 w 399"/>
                <a:gd name="T77" fmla="*/ 153 h 314"/>
                <a:gd name="T78" fmla="*/ 319 w 399"/>
                <a:gd name="T79" fmla="*/ 153 h 314"/>
                <a:gd name="T80" fmla="*/ 315 w 399"/>
                <a:gd name="T81" fmla="*/ 154 h 314"/>
                <a:gd name="T82" fmla="*/ 311 w 399"/>
                <a:gd name="T83" fmla="*/ 150 h 314"/>
                <a:gd name="T84" fmla="*/ 295 w 399"/>
                <a:gd name="T85" fmla="*/ 125 h 314"/>
                <a:gd name="T86" fmla="*/ 299 w 399"/>
                <a:gd name="T87" fmla="*/ 117 h 314"/>
                <a:gd name="T88" fmla="*/ 294 w 399"/>
                <a:gd name="T89" fmla="*/ 108 h 314"/>
                <a:gd name="T90" fmla="*/ 286 w 399"/>
                <a:gd name="T91" fmla="*/ 102 h 314"/>
                <a:gd name="T92" fmla="*/ 279 w 399"/>
                <a:gd name="T93" fmla="*/ 94 h 314"/>
                <a:gd name="T94" fmla="*/ 272 w 399"/>
                <a:gd name="T95" fmla="*/ 91 h 314"/>
                <a:gd name="T96" fmla="*/ 265 w 399"/>
                <a:gd name="T97" fmla="*/ 75 h 314"/>
                <a:gd name="T98" fmla="*/ 261 w 399"/>
                <a:gd name="T99" fmla="*/ 75 h 314"/>
                <a:gd name="T100" fmla="*/ 247 w 399"/>
                <a:gd name="T101" fmla="*/ 70 h 314"/>
                <a:gd name="T102" fmla="*/ 247 w 399"/>
                <a:gd name="T103" fmla="*/ 69 h 314"/>
                <a:gd name="T104" fmla="*/ 246 w 399"/>
                <a:gd name="T105" fmla="*/ 68 h 314"/>
                <a:gd name="T106" fmla="*/ 229 w 399"/>
                <a:gd name="T107" fmla="*/ 64 h 314"/>
                <a:gd name="T108" fmla="*/ 224 w 399"/>
                <a:gd name="T109" fmla="*/ 64 h 314"/>
                <a:gd name="T110" fmla="*/ 184 w 399"/>
                <a:gd name="T111" fmla="*/ 54 h 314"/>
                <a:gd name="T112" fmla="*/ 143 w 399"/>
                <a:gd name="T113" fmla="*/ 22 h 314"/>
                <a:gd name="T114" fmla="*/ 116 w 399"/>
                <a:gd name="T115" fmla="*/ 7 h 3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9" h="314">
                  <a:moveTo>
                    <a:pt x="89" y="0"/>
                  </a:moveTo>
                  <a:cubicBezTo>
                    <a:pt x="88" y="1"/>
                    <a:pt x="88" y="1"/>
                    <a:pt x="88" y="1"/>
                  </a:cubicBezTo>
                  <a:cubicBezTo>
                    <a:pt x="85" y="2"/>
                    <a:pt x="82" y="3"/>
                    <a:pt x="78" y="4"/>
                  </a:cubicBezTo>
                  <a:cubicBezTo>
                    <a:pt x="78" y="5"/>
                    <a:pt x="78" y="5"/>
                    <a:pt x="78" y="5"/>
                  </a:cubicBezTo>
                  <a:cubicBezTo>
                    <a:pt x="76" y="5"/>
                    <a:pt x="75" y="5"/>
                    <a:pt x="73" y="6"/>
                  </a:cubicBezTo>
                  <a:cubicBezTo>
                    <a:pt x="67" y="8"/>
                    <a:pt x="60" y="10"/>
                    <a:pt x="54" y="12"/>
                  </a:cubicBezTo>
                  <a:cubicBezTo>
                    <a:pt x="52" y="12"/>
                    <a:pt x="52" y="12"/>
                    <a:pt x="52" y="12"/>
                  </a:cubicBezTo>
                  <a:cubicBezTo>
                    <a:pt x="56" y="16"/>
                    <a:pt x="60" y="21"/>
                    <a:pt x="64" y="25"/>
                  </a:cubicBezTo>
                  <a:cubicBezTo>
                    <a:pt x="64" y="26"/>
                    <a:pt x="64" y="26"/>
                    <a:pt x="65" y="26"/>
                  </a:cubicBezTo>
                  <a:cubicBezTo>
                    <a:pt x="65" y="27"/>
                    <a:pt x="65" y="27"/>
                    <a:pt x="65" y="27"/>
                  </a:cubicBezTo>
                  <a:cubicBezTo>
                    <a:pt x="66" y="27"/>
                    <a:pt x="66" y="28"/>
                    <a:pt x="66" y="28"/>
                  </a:cubicBezTo>
                  <a:cubicBezTo>
                    <a:pt x="67" y="29"/>
                    <a:pt x="67" y="29"/>
                    <a:pt x="67" y="29"/>
                  </a:cubicBezTo>
                  <a:cubicBezTo>
                    <a:pt x="68" y="30"/>
                    <a:pt x="69" y="31"/>
                    <a:pt x="69" y="32"/>
                  </a:cubicBezTo>
                  <a:cubicBezTo>
                    <a:pt x="69" y="33"/>
                    <a:pt x="69" y="35"/>
                    <a:pt x="60" y="42"/>
                  </a:cubicBezTo>
                  <a:cubicBezTo>
                    <a:pt x="59" y="44"/>
                    <a:pt x="59" y="44"/>
                    <a:pt x="58" y="44"/>
                  </a:cubicBezTo>
                  <a:cubicBezTo>
                    <a:pt x="57" y="46"/>
                    <a:pt x="54" y="46"/>
                    <a:pt x="52" y="46"/>
                  </a:cubicBezTo>
                  <a:cubicBezTo>
                    <a:pt x="52" y="46"/>
                    <a:pt x="52" y="46"/>
                    <a:pt x="52" y="46"/>
                  </a:cubicBezTo>
                  <a:cubicBezTo>
                    <a:pt x="51" y="46"/>
                    <a:pt x="51" y="46"/>
                    <a:pt x="50" y="46"/>
                  </a:cubicBezTo>
                  <a:cubicBezTo>
                    <a:pt x="49" y="47"/>
                    <a:pt x="49" y="47"/>
                    <a:pt x="48" y="47"/>
                  </a:cubicBezTo>
                  <a:cubicBezTo>
                    <a:pt x="47" y="47"/>
                    <a:pt x="47" y="47"/>
                    <a:pt x="47" y="47"/>
                  </a:cubicBezTo>
                  <a:cubicBezTo>
                    <a:pt x="47" y="47"/>
                    <a:pt x="46" y="47"/>
                    <a:pt x="45" y="47"/>
                  </a:cubicBezTo>
                  <a:cubicBezTo>
                    <a:pt x="43" y="48"/>
                    <a:pt x="42" y="50"/>
                    <a:pt x="40" y="52"/>
                  </a:cubicBezTo>
                  <a:cubicBezTo>
                    <a:pt x="39" y="53"/>
                    <a:pt x="39" y="53"/>
                    <a:pt x="38" y="54"/>
                  </a:cubicBezTo>
                  <a:cubicBezTo>
                    <a:pt x="36" y="57"/>
                    <a:pt x="36" y="57"/>
                    <a:pt x="36" y="57"/>
                  </a:cubicBezTo>
                  <a:cubicBezTo>
                    <a:pt x="34" y="59"/>
                    <a:pt x="32" y="61"/>
                    <a:pt x="31" y="61"/>
                  </a:cubicBezTo>
                  <a:cubicBezTo>
                    <a:pt x="31" y="62"/>
                    <a:pt x="30" y="62"/>
                    <a:pt x="29" y="62"/>
                  </a:cubicBezTo>
                  <a:cubicBezTo>
                    <a:pt x="28" y="62"/>
                    <a:pt x="27" y="62"/>
                    <a:pt x="24" y="61"/>
                  </a:cubicBezTo>
                  <a:cubicBezTo>
                    <a:pt x="24" y="61"/>
                    <a:pt x="24" y="61"/>
                    <a:pt x="24" y="61"/>
                  </a:cubicBezTo>
                  <a:cubicBezTo>
                    <a:pt x="23" y="61"/>
                    <a:pt x="23" y="61"/>
                    <a:pt x="23" y="61"/>
                  </a:cubicBezTo>
                  <a:cubicBezTo>
                    <a:pt x="11" y="59"/>
                    <a:pt x="11" y="59"/>
                    <a:pt x="11" y="59"/>
                  </a:cubicBezTo>
                  <a:cubicBezTo>
                    <a:pt x="10" y="59"/>
                    <a:pt x="10" y="59"/>
                    <a:pt x="10" y="59"/>
                  </a:cubicBezTo>
                  <a:cubicBezTo>
                    <a:pt x="10" y="59"/>
                    <a:pt x="10" y="59"/>
                    <a:pt x="9" y="59"/>
                  </a:cubicBezTo>
                  <a:cubicBezTo>
                    <a:pt x="9" y="60"/>
                    <a:pt x="9" y="60"/>
                    <a:pt x="9" y="60"/>
                  </a:cubicBezTo>
                  <a:cubicBezTo>
                    <a:pt x="8" y="59"/>
                    <a:pt x="8" y="59"/>
                    <a:pt x="8" y="59"/>
                  </a:cubicBezTo>
                  <a:cubicBezTo>
                    <a:pt x="7" y="65"/>
                    <a:pt x="5" y="70"/>
                    <a:pt x="4" y="75"/>
                  </a:cubicBezTo>
                  <a:cubicBezTo>
                    <a:pt x="3" y="76"/>
                    <a:pt x="0" y="83"/>
                    <a:pt x="2" y="84"/>
                  </a:cubicBezTo>
                  <a:cubicBezTo>
                    <a:pt x="2" y="84"/>
                    <a:pt x="2" y="84"/>
                    <a:pt x="2" y="84"/>
                  </a:cubicBezTo>
                  <a:cubicBezTo>
                    <a:pt x="3" y="84"/>
                    <a:pt x="3" y="82"/>
                    <a:pt x="3" y="82"/>
                  </a:cubicBezTo>
                  <a:cubicBezTo>
                    <a:pt x="3" y="82"/>
                    <a:pt x="3" y="82"/>
                    <a:pt x="4" y="82"/>
                  </a:cubicBezTo>
                  <a:cubicBezTo>
                    <a:pt x="4" y="82"/>
                    <a:pt x="4" y="82"/>
                    <a:pt x="5" y="82"/>
                  </a:cubicBezTo>
                  <a:cubicBezTo>
                    <a:pt x="5" y="82"/>
                    <a:pt x="5" y="82"/>
                    <a:pt x="6" y="82"/>
                  </a:cubicBezTo>
                  <a:cubicBezTo>
                    <a:pt x="6" y="82"/>
                    <a:pt x="6" y="82"/>
                    <a:pt x="6" y="82"/>
                  </a:cubicBezTo>
                  <a:cubicBezTo>
                    <a:pt x="6" y="82"/>
                    <a:pt x="7" y="82"/>
                    <a:pt x="7" y="82"/>
                  </a:cubicBezTo>
                  <a:cubicBezTo>
                    <a:pt x="7" y="82"/>
                    <a:pt x="8" y="82"/>
                    <a:pt x="8" y="82"/>
                  </a:cubicBezTo>
                  <a:cubicBezTo>
                    <a:pt x="8" y="82"/>
                    <a:pt x="9" y="82"/>
                    <a:pt x="9" y="82"/>
                  </a:cubicBezTo>
                  <a:cubicBezTo>
                    <a:pt x="9" y="82"/>
                    <a:pt x="9" y="82"/>
                    <a:pt x="9" y="82"/>
                  </a:cubicBezTo>
                  <a:cubicBezTo>
                    <a:pt x="11" y="82"/>
                    <a:pt x="12" y="83"/>
                    <a:pt x="14" y="85"/>
                  </a:cubicBezTo>
                  <a:cubicBezTo>
                    <a:pt x="18" y="91"/>
                    <a:pt x="22" y="98"/>
                    <a:pt x="27" y="104"/>
                  </a:cubicBezTo>
                  <a:cubicBezTo>
                    <a:pt x="31" y="111"/>
                    <a:pt x="34" y="120"/>
                    <a:pt x="41" y="125"/>
                  </a:cubicBezTo>
                  <a:cubicBezTo>
                    <a:pt x="42" y="125"/>
                    <a:pt x="42" y="126"/>
                    <a:pt x="42" y="127"/>
                  </a:cubicBezTo>
                  <a:cubicBezTo>
                    <a:pt x="42" y="130"/>
                    <a:pt x="43" y="131"/>
                    <a:pt x="45" y="133"/>
                  </a:cubicBezTo>
                  <a:cubicBezTo>
                    <a:pt x="47" y="136"/>
                    <a:pt x="51" y="140"/>
                    <a:pt x="52" y="143"/>
                  </a:cubicBezTo>
                  <a:cubicBezTo>
                    <a:pt x="53" y="145"/>
                    <a:pt x="53" y="148"/>
                    <a:pt x="54" y="151"/>
                  </a:cubicBezTo>
                  <a:cubicBezTo>
                    <a:pt x="55" y="154"/>
                    <a:pt x="56" y="156"/>
                    <a:pt x="58" y="159"/>
                  </a:cubicBezTo>
                  <a:cubicBezTo>
                    <a:pt x="59" y="161"/>
                    <a:pt x="61" y="161"/>
                    <a:pt x="64" y="161"/>
                  </a:cubicBezTo>
                  <a:cubicBezTo>
                    <a:pt x="67" y="161"/>
                    <a:pt x="71" y="166"/>
                    <a:pt x="73" y="168"/>
                  </a:cubicBezTo>
                  <a:cubicBezTo>
                    <a:pt x="74" y="169"/>
                    <a:pt x="75" y="170"/>
                    <a:pt x="76" y="172"/>
                  </a:cubicBezTo>
                  <a:cubicBezTo>
                    <a:pt x="78" y="176"/>
                    <a:pt x="80" y="179"/>
                    <a:pt x="82" y="183"/>
                  </a:cubicBezTo>
                  <a:cubicBezTo>
                    <a:pt x="84" y="187"/>
                    <a:pt x="85" y="191"/>
                    <a:pt x="87" y="195"/>
                  </a:cubicBezTo>
                  <a:cubicBezTo>
                    <a:pt x="88" y="196"/>
                    <a:pt x="88" y="197"/>
                    <a:pt x="88" y="198"/>
                  </a:cubicBezTo>
                  <a:cubicBezTo>
                    <a:pt x="88" y="199"/>
                    <a:pt x="87" y="200"/>
                    <a:pt x="87" y="200"/>
                  </a:cubicBezTo>
                  <a:cubicBezTo>
                    <a:pt x="86" y="203"/>
                    <a:pt x="87" y="206"/>
                    <a:pt x="87" y="210"/>
                  </a:cubicBezTo>
                  <a:cubicBezTo>
                    <a:pt x="88" y="214"/>
                    <a:pt x="87" y="221"/>
                    <a:pt x="90" y="225"/>
                  </a:cubicBezTo>
                  <a:cubicBezTo>
                    <a:pt x="91" y="227"/>
                    <a:pt x="93" y="228"/>
                    <a:pt x="94" y="230"/>
                  </a:cubicBezTo>
                  <a:cubicBezTo>
                    <a:pt x="96" y="234"/>
                    <a:pt x="99" y="238"/>
                    <a:pt x="103" y="240"/>
                  </a:cubicBezTo>
                  <a:cubicBezTo>
                    <a:pt x="103" y="240"/>
                    <a:pt x="103" y="240"/>
                    <a:pt x="103" y="240"/>
                  </a:cubicBezTo>
                  <a:cubicBezTo>
                    <a:pt x="104" y="240"/>
                    <a:pt x="105" y="240"/>
                    <a:pt x="107" y="240"/>
                  </a:cubicBezTo>
                  <a:cubicBezTo>
                    <a:pt x="108" y="241"/>
                    <a:pt x="110" y="243"/>
                    <a:pt x="112" y="244"/>
                  </a:cubicBezTo>
                  <a:cubicBezTo>
                    <a:pt x="113" y="245"/>
                    <a:pt x="113" y="246"/>
                    <a:pt x="114" y="248"/>
                  </a:cubicBezTo>
                  <a:cubicBezTo>
                    <a:pt x="118" y="254"/>
                    <a:pt x="122" y="260"/>
                    <a:pt x="126" y="267"/>
                  </a:cubicBezTo>
                  <a:cubicBezTo>
                    <a:pt x="129" y="272"/>
                    <a:pt x="132" y="277"/>
                    <a:pt x="135" y="282"/>
                  </a:cubicBezTo>
                  <a:cubicBezTo>
                    <a:pt x="137" y="286"/>
                    <a:pt x="143" y="290"/>
                    <a:pt x="146" y="293"/>
                  </a:cubicBezTo>
                  <a:cubicBezTo>
                    <a:pt x="150" y="297"/>
                    <a:pt x="148" y="299"/>
                    <a:pt x="150" y="304"/>
                  </a:cubicBezTo>
                  <a:cubicBezTo>
                    <a:pt x="150" y="304"/>
                    <a:pt x="150" y="304"/>
                    <a:pt x="150" y="304"/>
                  </a:cubicBezTo>
                  <a:cubicBezTo>
                    <a:pt x="155" y="304"/>
                    <a:pt x="156" y="310"/>
                    <a:pt x="157" y="314"/>
                  </a:cubicBezTo>
                  <a:cubicBezTo>
                    <a:pt x="158" y="313"/>
                    <a:pt x="160" y="312"/>
                    <a:pt x="162" y="311"/>
                  </a:cubicBezTo>
                  <a:cubicBezTo>
                    <a:pt x="163" y="310"/>
                    <a:pt x="163" y="310"/>
                    <a:pt x="163" y="310"/>
                  </a:cubicBezTo>
                  <a:cubicBezTo>
                    <a:pt x="163" y="310"/>
                    <a:pt x="163" y="310"/>
                    <a:pt x="163" y="309"/>
                  </a:cubicBezTo>
                  <a:cubicBezTo>
                    <a:pt x="162" y="308"/>
                    <a:pt x="162" y="307"/>
                    <a:pt x="162" y="307"/>
                  </a:cubicBezTo>
                  <a:cubicBezTo>
                    <a:pt x="162" y="306"/>
                    <a:pt x="162" y="305"/>
                    <a:pt x="162" y="304"/>
                  </a:cubicBezTo>
                  <a:cubicBezTo>
                    <a:pt x="162" y="304"/>
                    <a:pt x="162" y="303"/>
                    <a:pt x="162" y="303"/>
                  </a:cubicBezTo>
                  <a:cubicBezTo>
                    <a:pt x="162" y="302"/>
                    <a:pt x="163" y="301"/>
                    <a:pt x="163" y="300"/>
                  </a:cubicBezTo>
                  <a:cubicBezTo>
                    <a:pt x="165" y="294"/>
                    <a:pt x="167" y="293"/>
                    <a:pt x="169" y="293"/>
                  </a:cubicBezTo>
                  <a:cubicBezTo>
                    <a:pt x="169" y="293"/>
                    <a:pt x="169" y="293"/>
                    <a:pt x="169" y="293"/>
                  </a:cubicBezTo>
                  <a:cubicBezTo>
                    <a:pt x="170" y="293"/>
                    <a:pt x="171" y="293"/>
                    <a:pt x="172" y="293"/>
                  </a:cubicBezTo>
                  <a:cubicBezTo>
                    <a:pt x="173" y="293"/>
                    <a:pt x="174" y="293"/>
                    <a:pt x="175" y="293"/>
                  </a:cubicBezTo>
                  <a:cubicBezTo>
                    <a:pt x="176" y="294"/>
                    <a:pt x="176" y="294"/>
                    <a:pt x="177" y="295"/>
                  </a:cubicBezTo>
                  <a:cubicBezTo>
                    <a:pt x="177" y="295"/>
                    <a:pt x="178" y="296"/>
                    <a:pt x="179" y="296"/>
                  </a:cubicBezTo>
                  <a:cubicBezTo>
                    <a:pt x="179" y="296"/>
                    <a:pt x="179" y="296"/>
                    <a:pt x="179" y="296"/>
                  </a:cubicBezTo>
                  <a:cubicBezTo>
                    <a:pt x="179" y="296"/>
                    <a:pt x="179" y="296"/>
                    <a:pt x="180" y="296"/>
                  </a:cubicBezTo>
                  <a:cubicBezTo>
                    <a:pt x="180" y="296"/>
                    <a:pt x="181" y="296"/>
                    <a:pt x="182" y="296"/>
                  </a:cubicBezTo>
                  <a:cubicBezTo>
                    <a:pt x="182" y="296"/>
                    <a:pt x="183" y="296"/>
                    <a:pt x="184" y="296"/>
                  </a:cubicBezTo>
                  <a:cubicBezTo>
                    <a:pt x="184" y="296"/>
                    <a:pt x="184" y="296"/>
                    <a:pt x="184" y="296"/>
                  </a:cubicBezTo>
                  <a:cubicBezTo>
                    <a:pt x="185" y="296"/>
                    <a:pt x="186" y="296"/>
                    <a:pt x="187" y="295"/>
                  </a:cubicBezTo>
                  <a:cubicBezTo>
                    <a:pt x="188" y="295"/>
                    <a:pt x="189" y="295"/>
                    <a:pt x="190" y="295"/>
                  </a:cubicBezTo>
                  <a:cubicBezTo>
                    <a:pt x="193" y="295"/>
                    <a:pt x="196" y="294"/>
                    <a:pt x="199" y="294"/>
                  </a:cubicBezTo>
                  <a:cubicBezTo>
                    <a:pt x="201" y="294"/>
                    <a:pt x="202" y="294"/>
                    <a:pt x="203" y="294"/>
                  </a:cubicBezTo>
                  <a:cubicBezTo>
                    <a:pt x="209" y="294"/>
                    <a:pt x="215" y="295"/>
                    <a:pt x="221" y="296"/>
                  </a:cubicBezTo>
                  <a:cubicBezTo>
                    <a:pt x="225" y="296"/>
                    <a:pt x="228" y="296"/>
                    <a:pt x="231" y="297"/>
                  </a:cubicBezTo>
                  <a:cubicBezTo>
                    <a:pt x="232" y="297"/>
                    <a:pt x="232" y="297"/>
                    <a:pt x="232" y="297"/>
                  </a:cubicBezTo>
                  <a:cubicBezTo>
                    <a:pt x="232" y="297"/>
                    <a:pt x="232" y="297"/>
                    <a:pt x="233" y="297"/>
                  </a:cubicBezTo>
                  <a:cubicBezTo>
                    <a:pt x="233" y="297"/>
                    <a:pt x="233" y="297"/>
                    <a:pt x="233" y="297"/>
                  </a:cubicBezTo>
                  <a:cubicBezTo>
                    <a:pt x="235" y="297"/>
                    <a:pt x="237" y="300"/>
                    <a:pt x="238" y="301"/>
                  </a:cubicBezTo>
                  <a:cubicBezTo>
                    <a:pt x="238" y="302"/>
                    <a:pt x="238" y="302"/>
                    <a:pt x="238" y="302"/>
                  </a:cubicBezTo>
                  <a:cubicBezTo>
                    <a:pt x="239" y="303"/>
                    <a:pt x="239" y="303"/>
                    <a:pt x="239" y="303"/>
                  </a:cubicBezTo>
                  <a:cubicBezTo>
                    <a:pt x="239" y="303"/>
                    <a:pt x="239" y="303"/>
                    <a:pt x="239" y="303"/>
                  </a:cubicBezTo>
                  <a:cubicBezTo>
                    <a:pt x="240" y="303"/>
                    <a:pt x="240" y="303"/>
                    <a:pt x="240" y="303"/>
                  </a:cubicBezTo>
                  <a:cubicBezTo>
                    <a:pt x="240" y="303"/>
                    <a:pt x="240" y="303"/>
                    <a:pt x="240" y="303"/>
                  </a:cubicBezTo>
                  <a:cubicBezTo>
                    <a:pt x="241" y="302"/>
                    <a:pt x="242" y="302"/>
                    <a:pt x="243" y="302"/>
                  </a:cubicBezTo>
                  <a:cubicBezTo>
                    <a:pt x="244" y="301"/>
                    <a:pt x="245" y="300"/>
                    <a:pt x="246" y="299"/>
                  </a:cubicBezTo>
                  <a:cubicBezTo>
                    <a:pt x="259" y="281"/>
                    <a:pt x="259" y="281"/>
                    <a:pt x="259" y="281"/>
                  </a:cubicBezTo>
                  <a:cubicBezTo>
                    <a:pt x="259" y="281"/>
                    <a:pt x="259" y="280"/>
                    <a:pt x="260" y="280"/>
                  </a:cubicBezTo>
                  <a:cubicBezTo>
                    <a:pt x="262" y="278"/>
                    <a:pt x="266" y="276"/>
                    <a:pt x="269" y="275"/>
                  </a:cubicBezTo>
                  <a:cubicBezTo>
                    <a:pt x="270" y="274"/>
                    <a:pt x="270" y="274"/>
                    <a:pt x="270" y="274"/>
                  </a:cubicBezTo>
                  <a:cubicBezTo>
                    <a:pt x="271" y="274"/>
                    <a:pt x="272" y="273"/>
                    <a:pt x="273" y="273"/>
                  </a:cubicBezTo>
                  <a:cubicBezTo>
                    <a:pt x="280" y="270"/>
                    <a:pt x="288" y="269"/>
                    <a:pt x="295" y="269"/>
                  </a:cubicBezTo>
                  <a:cubicBezTo>
                    <a:pt x="299" y="268"/>
                    <a:pt x="299" y="268"/>
                    <a:pt x="299" y="268"/>
                  </a:cubicBezTo>
                  <a:cubicBezTo>
                    <a:pt x="305" y="268"/>
                    <a:pt x="314" y="266"/>
                    <a:pt x="323" y="265"/>
                  </a:cubicBezTo>
                  <a:cubicBezTo>
                    <a:pt x="326" y="264"/>
                    <a:pt x="329" y="264"/>
                    <a:pt x="332" y="263"/>
                  </a:cubicBezTo>
                  <a:cubicBezTo>
                    <a:pt x="333" y="263"/>
                    <a:pt x="333" y="263"/>
                    <a:pt x="333" y="263"/>
                  </a:cubicBezTo>
                  <a:cubicBezTo>
                    <a:pt x="335" y="262"/>
                    <a:pt x="336" y="262"/>
                    <a:pt x="337" y="261"/>
                  </a:cubicBezTo>
                  <a:cubicBezTo>
                    <a:pt x="366" y="251"/>
                    <a:pt x="366" y="251"/>
                    <a:pt x="366" y="251"/>
                  </a:cubicBezTo>
                  <a:cubicBezTo>
                    <a:pt x="373" y="249"/>
                    <a:pt x="379" y="247"/>
                    <a:pt x="386" y="245"/>
                  </a:cubicBezTo>
                  <a:cubicBezTo>
                    <a:pt x="389" y="244"/>
                    <a:pt x="389" y="244"/>
                    <a:pt x="389" y="244"/>
                  </a:cubicBezTo>
                  <a:cubicBezTo>
                    <a:pt x="389" y="243"/>
                    <a:pt x="389" y="243"/>
                    <a:pt x="389" y="243"/>
                  </a:cubicBezTo>
                  <a:cubicBezTo>
                    <a:pt x="389" y="242"/>
                    <a:pt x="390" y="241"/>
                    <a:pt x="390" y="240"/>
                  </a:cubicBezTo>
                  <a:cubicBezTo>
                    <a:pt x="390" y="239"/>
                    <a:pt x="390" y="239"/>
                    <a:pt x="390" y="239"/>
                  </a:cubicBezTo>
                  <a:cubicBezTo>
                    <a:pt x="390" y="238"/>
                    <a:pt x="391" y="238"/>
                    <a:pt x="391" y="237"/>
                  </a:cubicBezTo>
                  <a:cubicBezTo>
                    <a:pt x="391" y="236"/>
                    <a:pt x="391" y="235"/>
                    <a:pt x="392" y="234"/>
                  </a:cubicBezTo>
                  <a:cubicBezTo>
                    <a:pt x="392" y="234"/>
                    <a:pt x="392" y="233"/>
                    <a:pt x="392" y="233"/>
                  </a:cubicBezTo>
                  <a:cubicBezTo>
                    <a:pt x="393" y="231"/>
                    <a:pt x="393" y="229"/>
                    <a:pt x="394" y="228"/>
                  </a:cubicBezTo>
                  <a:cubicBezTo>
                    <a:pt x="397" y="217"/>
                    <a:pt x="397" y="217"/>
                    <a:pt x="397" y="217"/>
                  </a:cubicBezTo>
                  <a:cubicBezTo>
                    <a:pt x="398" y="215"/>
                    <a:pt x="398" y="213"/>
                    <a:pt x="399" y="211"/>
                  </a:cubicBezTo>
                  <a:cubicBezTo>
                    <a:pt x="399" y="210"/>
                    <a:pt x="399" y="209"/>
                    <a:pt x="399" y="207"/>
                  </a:cubicBezTo>
                  <a:cubicBezTo>
                    <a:pt x="399" y="207"/>
                    <a:pt x="399" y="206"/>
                    <a:pt x="398" y="205"/>
                  </a:cubicBezTo>
                  <a:cubicBezTo>
                    <a:pt x="398" y="204"/>
                    <a:pt x="398" y="204"/>
                    <a:pt x="398" y="204"/>
                  </a:cubicBezTo>
                  <a:cubicBezTo>
                    <a:pt x="398" y="204"/>
                    <a:pt x="398" y="204"/>
                    <a:pt x="398" y="204"/>
                  </a:cubicBezTo>
                  <a:cubicBezTo>
                    <a:pt x="398" y="203"/>
                    <a:pt x="397" y="202"/>
                    <a:pt x="397" y="201"/>
                  </a:cubicBezTo>
                  <a:cubicBezTo>
                    <a:pt x="397" y="200"/>
                    <a:pt x="397" y="200"/>
                    <a:pt x="397" y="200"/>
                  </a:cubicBezTo>
                  <a:cubicBezTo>
                    <a:pt x="396" y="199"/>
                    <a:pt x="395" y="198"/>
                    <a:pt x="395" y="197"/>
                  </a:cubicBezTo>
                  <a:cubicBezTo>
                    <a:pt x="395" y="196"/>
                    <a:pt x="395" y="196"/>
                    <a:pt x="395" y="196"/>
                  </a:cubicBezTo>
                  <a:cubicBezTo>
                    <a:pt x="394" y="196"/>
                    <a:pt x="394" y="195"/>
                    <a:pt x="393" y="194"/>
                  </a:cubicBezTo>
                  <a:cubicBezTo>
                    <a:pt x="392" y="194"/>
                    <a:pt x="392" y="194"/>
                    <a:pt x="392" y="194"/>
                  </a:cubicBezTo>
                  <a:cubicBezTo>
                    <a:pt x="344" y="189"/>
                    <a:pt x="344" y="189"/>
                    <a:pt x="344" y="189"/>
                  </a:cubicBezTo>
                  <a:cubicBezTo>
                    <a:pt x="343" y="189"/>
                    <a:pt x="343" y="188"/>
                    <a:pt x="342" y="188"/>
                  </a:cubicBezTo>
                  <a:cubicBezTo>
                    <a:pt x="340" y="185"/>
                    <a:pt x="337" y="182"/>
                    <a:pt x="335" y="178"/>
                  </a:cubicBezTo>
                  <a:cubicBezTo>
                    <a:pt x="330" y="173"/>
                    <a:pt x="330" y="173"/>
                    <a:pt x="330" y="173"/>
                  </a:cubicBezTo>
                  <a:cubicBezTo>
                    <a:pt x="329" y="172"/>
                    <a:pt x="329" y="172"/>
                    <a:pt x="329" y="172"/>
                  </a:cubicBezTo>
                  <a:cubicBezTo>
                    <a:pt x="326" y="169"/>
                    <a:pt x="324" y="166"/>
                    <a:pt x="323" y="163"/>
                  </a:cubicBezTo>
                  <a:cubicBezTo>
                    <a:pt x="322" y="160"/>
                    <a:pt x="322" y="160"/>
                    <a:pt x="322" y="160"/>
                  </a:cubicBezTo>
                  <a:cubicBezTo>
                    <a:pt x="322" y="160"/>
                    <a:pt x="321" y="160"/>
                    <a:pt x="320" y="159"/>
                  </a:cubicBezTo>
                  <a:cubicBezTo>
                    <a:pt x="319" y="159"/>
                    <a:pt x="320" y="157"/>
                    <a:pt x="320" y="157"/>
                  </a:cubicBezTo>
                  <a:cubicBezTo>
                    <a:pt x="321" y="156"/>
                    <a:pt x="322" y="156"/>
                    <a:pt x="323" y="155"/>
                  </a:cubicBezTo>
                  <a:cubicBezTo>
                    <a:pt x="323" y="154"/>
                    <a:pt x="323" y="154"/>
                    <a:pt x="323" y="154"/>
                  </a:cubicBezTo>
                  <a:cubicBezTo>
                    <a:pt x="323" y="153"/>
                    <a:pt x="323" y="153"/>
                    <a:pt x="323" y="153"/>
                  </a:cubicBezTo>
                  <a:cubicBezTo>
                    <a:pt x="323" y="153"/>
                    <a:pt x="323" y="153"/>
                    <a:pt x="323" y="153"/>
                  </a:cubicBezTo>
                  <a:cubicBezTo>
                    <a:pt x="322" y="153"/>
                    <a:pt x="321" y="153"/>
                    <a:pt x="321" y="153"/>
                  </a:cubicBezTo>
                  <a:cubicBezTo>
                    <a:pt x="321" y="153"/>
                    <a:pt x="321" y="153"/>
                    <a:pt x="321" y="153"/>
                  </a:cubicBezTo>
                  <a:cubicBezTo>
                    <a:pt x="320" y="153"/>
                    <a:pt x="320" y="153"/>
                    <a:pt x="320" y="153"/>
                  </a:cubicBezTo>
                  <a:cubicBezTo>
                    <a:pt x="319" y="153"/>
                    <a:pt x="319" y="153"/>
                    <a:pt x="319" y="153"/>
                  </a:cubicBezTo>
                  <a:cubicBezTo>
                    <a:pt x="318" y="153"/>
                    <a:pt x="318" y="153"/>
                    <a:pt x="317" y="153"/>
                  </a:cubicBezTo>
                  <a:cubicBezTo>
                    <a:pt x="316" y="154"/>
                    <a:pt x="316" y="154"/>
                    <a:pt x="315" y="154"/>
                  </a:cubicBezTo>
                  <a:cubicBezTo>
                    <a:pt x="315" y="154"/>
                    <a:pt x="315" y="154"/>
                    <a:pt x="315" y="154"/>
                  </a:cubicBezTo>
                  <a:cubicBezTo>
                    <a:pt x="315" y="154"/>
                    <a:pt x="315" y="154"/>
                    <a:pt x="315" y="154"/>
                  </a:cubicBezTo>
                  <a:cubicBezTo>
                    <a:pt x="314" y="154"/>
                    <a:pt x="314" y="154"/>
                    <a:pt x="314" y="154"/>
                  </a:cubicBezTo>
                  <a:cubicBezTo>
                    <a:pt x="314" y="154"/>
                    <a:pt x="314" y="154"/>
                    <a:pt x="314" y="154"/>
                  </a:cubicBezTo>
                  <a:cubicBezTo>
                    <a:pt x="314" y="153"/>
                    <a:pt x="314" y="153"/>
                    <a:pt x="314" y="153"/>
                  </a:cubicBezTo>
                  <a:cubicBezTo>
                    <a:pt x="312" y="153"/>
                    <a:pt x="312" y="152"/>
                    <a:pt x="311" y="150"/>
                  </a:cubicBezTo>
                  <a:cubicBezTo>
                    <a:pt x="311" y="149"/>
                    <a:pt x="311" y="149"/>
                    <a:pt x="311" y="149"/>
                  </a:cubicBezTo>
                  <a:cubicBezTo>
                    <a:pt x="310" y="149"/>
                    <a:pt x="310" y="149"/>
                    <a:pt x="310" y="149"/>
                  </a:cubicBezTo>
                  <a:cubicBezTo>
                    <a:pt x="308" y="145"/>
                    <a:pt x="305" y="141"/>
                    <a:pt x="303" y="137"/>
                  </a:cubicBezTo>
                  <a:cubicBezTo>
                    <a:pt x="300" y="133"/>
                    <a:pt x="296" y="129"/>
                    <a:pt x="295" y="125"/>
                  </a:cubicBezTo>
                  <a:cubicBezTo>
                    <a:pt x="295" y="124"/>
                    <a:pt x="295" y="122"/>
                    <a:pt x="295" y="122"/>
                  </a:cubicBezTo>
                  <a:cubicBezTo>
                    <a:pt x="295" y="122"/>
                    <a:pt x="296" y="121"/>
                    <a:pt x="296" y="121"/>
                  </a:cubicBezTo>
                  <a:cubicBezTo>
                    <a:pt x="297" y="121"/>
                    <a:pt x="297" y="123"/>
                    <a:pt x="298" y="124"/>
                  </a:cubicBezTo>
                  <a:cubicBezTo>
                    <a:pt x="298" y="123"/>
                    <a:pt x="300" y="119"/>
                    <a:pt x="299" y="117"/>
                  </a:cubicBezTo>
                  <a:cubicBezTo>
                    <a:pt x="298" y="114"/>
                    <a:pt x="294" y="114"/>
                    <a:pt x="295" y="110"/>
                  </a:cubicBezTo>
                  <a:cubicBezTo>
                    <a:pt x="296" y="111"/>
                    <a:pt x="297" y="111"/>
                    <a:pt x="298" y="111"/>
                  </a:cubicBezTo>
                  <a:cubicBezTo>
                    <a:pt x="298" y="111"/>
                    <a:pt x="298" y="111"/>
                    <a:pt x="298" y="111"/>
                  </a:cubicBezTo>
                  <a:cubicBezTo>
                    <a:pt x="296" y="110"/>
                    <a:pt x="296" y="109"/>
                    <a:pt x="294" y="108"/>
                  </a:cubicBezTo>
                  <a:cubicBezTo>
                    <a:pt x="293" y="107"/>
                    <a:pt x="292" y="107"/>
                    <a:pt x="291" y="106"/>
                  </a:cubicBezTo>
                  <a:cubicBezTo>
                    <a:pt x="289" y="105"/>
                    <a:pt x="288" y="101"/>
                    <a:pt x="286" y="101"/>
                  </a:cubicBezTo>
                  <a:cubicBezTo>
                    <a:pt x="286" y="101"/>
                    <a:pt x="286" y="101"/>
                    <a:pt x="286" y="101"/>
                  </a:cubicBezTo>
                  <a:cubicBezTo>
                    <a:pt x="286" y="102"/>
                    <a:pt x="286" y="102"/>
                    <a:pt x="286" y="102"/>
                  </a:cubicBezTo>
                  <a:cubicBezTo>
                    <a:pt x="283" y="101"/>
                    <a:pt x="282" y="97"/>
                    <a:pt x="279" y="96"/>
                  </a:cubicBezTo>
                  <a:cubicBezTo>
                    <a:pt x="280" y="96"/>
                    <a:pt x="281" y="95"/>
                    <a:pt x="282" y="95"/>
                  </a:cubicBezTo>
                  <a:cubicBezTo>
                    <a:pt x="281" y="94"/>
                    <a:pt x="281" y="94"/>
                    <a:pt x="280" y="94"/>
                  </a:cubicBezTo>
                  <a:cubicBezTo>
                    <a:pt x="280" y="94"/>
                    <a:pt x="280" y="94"/>
                    <a:pt x="279" y="94"/>
                  </a:cubicBezTo>
                  <a:cubicBezTo>
                    <a:pt x="279" y="94"/>
                    <a:pt x="279" y="94"/>
                    <a:pt x="279" y="94"/>
                  </a:cubicBezTo>
                  <a:cubicBezTo>
                    <a:pt x="279" y="94"/>
                    <a:pt x="278" y="94"/>
                    <a:pt x="278" y="93"/>
                  </a:cubicBezTo>
                  <a:cubicBezTo>
                    <a:pt x="277" y="93"/>
                    <a:pt x="276" y="92"/>
                    <a:pt x="276" y="92"/>
                  </a:cubicBezTo>
                  <a:cubicBezTo>
                    <a:pt x="274" y="91"/>
                    <a:pt x="273" y="93"/>
                    <a:pt x="272" y="91"/>
                  </a:cubicBezTo>
                  <a:cubicBezTo>
                    <a:pt x="271" y="89"/>
                    <a:pt x="271" y="86"/>
                    <a:pt x="270" y="84"/>
                  </a:cubicBezTo>
                  <a:cubicBezTo>
                    <a:pt x="269" y="81"/>
                    <a:pt x="267" y="78"/>
                    <a:pt x="266" y="75"/>
                  </a:cubicBezTo>
                  <a:cubicBezTo>
                    <a:pt x="266" y="76"/>
                    <a:pt x="266" y="76"/>
                    <a:pt x="266" y="76"/>
                  </a:cubicBezTo>
                  <a:cubicBezTo>
                    <a:pt x="265" y="75"/>
                    <a:pt x="265" y="75"/>
                    <a:pt x="265" y="75"/>
                  </a:cubicBezTo>
                  <a:cubicBezTo>
                    <a:pt x="264" y="75"/>
                    <a:pt x="264" y="75"/>
                    <a:pt x="264" y="75"/>
                  </a:cubicBezTo>
                  <a:cubicBezTo>
                    <a:pt x="264" y="75"/>
                    <a:pt x="264" y="75"/>
                    <a:pt x="264" y="75"/>
                  </a:cubicBezTo>
                  <a:cubicBezTo>
                    <a:pt x="263" y="75"/>
                    <a:pt x="262" y="75"/>
                    <a:pt x="262" y="75"/>
                  </a:cubicBezTo>
                  <a:cubicBezTo>
                    <a:pt x="261" y="75"/>
                    <a:pt x="261" y="75"/>
                    <a:pt x="261" y="75"/>
                  </a:cubicBezTo>
                  <a:cubicBezTo>
                    <a:pt x="260" y="76"/>
                    <a:pt x="258" y="76"/>
                    <a:pt x="257" y="76"/>
                  </a:cubicBezTo>
                  <a:cubicBezTo>
                    <a:pt x="254" y="76"/>
                    <a:pt x="252" y="75"/>
                    <a:pt x="251" y="75"/>
                  </a:cubicBezTo>
                  <a:cubicBezTo>
                    <a:pt x="249" y="74"/>
                    <a:pt x="248" y="73"/>
                    <a:pt x="247" y="72"/>
                  </a:cubicBezTo>
                  <a:cubicBezTo>
                    <a:pt x="247" y="71"/>
                    <a:pt x="247" y="71"/>
                    <a:pt x="247" y="70"/>
                  </a:cubicBezTo>
                  <a:cubicBezTo>
                    <a:pt x="247" y="70"/>
                    <a:pt x="247" y="70"/>
                    <a:pt x="247" y="70"/>
                  </a:cubicBezTo>
                  <a:cubicBezTo>
                    <a:pt x="247" y="70"/>
                    <a:pt x="247" y="70"/>
                    <a:pt x="247" y="70"/>
                  </a:cubicBezTo>
                  <a:cubicBezTo>
                    <a:pt x="247" y="69"/>
                    <a:pt x="247" y="69"/>
                    <a:pt x="247" y="69"/>
                  </a:cubicBezTo>
                  <a:cubicBezTo>
                    <a:pt x="247" y="69"/>
                    <a:pt x="247" y="69"/>
                    <a:pt x="247" y="69"/>
                  </a:cubicBezTo>
                  <a:cubicBezTo>
                    <a:pt x="246" y="68"/>
                    <a:pt x="246" y="68"/>
                    <a:pt x="246" y="68"/>
                  </a:cubicBezTo>
                  <a:cubicBezTo>
                    <a:pt x="246" y="68"/>
                    <a:pt x="246" y="68"/>
                    <a:pt x="246" y="68"/>
                  </a:cubicBezTo>
                  <a:cubicBezTo>
                    <a:pt x="246" y="68"/>
                    <a:pt x="246" y="68"/>
                    <a:pt x="246" y="68"/>
                  </a:cubicBezTo>
                  <a:cubicBezTo>
                    <a:pt x="246" y="68"/>
                    <a:pt x="246" y="68"/>
                    <a:pt x="246" y="68"/>
                  </a:cubicBezTo>
                  <a:cubicBezTo>
                    <a:pt x="230" y="64"/>
                    <a:pt x="230" y="64"/>
                    <a:pt x="230" y="64"/>
                  </a:cubicBezTo>
                  <a:cubicBezTo>
                    <a:pt x="230" y="64"/>
                    <a:pt x="230" y="64"/>
                    <a:pt x="230" y="64"/>
                  </a:cubicBezTo>
                  <a:cubicBezTo>
                    <a:pt x="229" y="64"/>
                    <a:pt x="229" y="64"/>
                    <a:pt x="229" y="64"/>
                  </a:cubicBezTo>
                  <a:cubicBezTo>
                    <a:pt x="229" y="64"/>
                    <a:pt x="229" y="64"/>
                    <a:pt x="229" y="64"/>
                  </a:cubicBezTo>
                  <a:cubicBezTo>
                    <a:pt x="228" y="64"/>
                    <a:pt x="228" y="64"/>
                    <a:pt x="227" y="64"/>
                  </a:cubicBezTo>
                  <a:cubicBezTo>
                    <a:pt x="227" y="64"/>
                    <a:pt x="227" y="64"/>
                    <a:pt x="227" y="64"/>
                  </a:cubicBezTo>
                  <a:cubicBezTo>
                    <a:pt x="226" y="64"/>
                    <a:pt x="225" y="64"/>
                    <a:pt x="224" y="64"/>
                  </a:cubicBezTo>
                  <a:cubicBezTo>
                    <a:pt x="224" y="64"/>
                    <a:pt x="224" y="64"/>
                    <a:pt x="224" y="64"/>
                  </a:cubicBezTo>
                  <a:cubicBezTo>
                    <a:pt x="224" y="64"/>
                    <a:pt x="224" y="64"/>
                    <a:pt x="224" y="64"/>
                  </a:cubicBezTo>
                  <a:cubicBezTo>
                    <a:pt x="197" y="62"/>
                    <a:pt x="197" y="62"/>
                    <a:pt x="197" y="62"/>
                  </a:cubicBezTo>
                  <a:cubicBezTo>
                    <a:pt x="196" y="62"/>
                    <a:pt x="194" y="62"/>
                    <a:pt x="192" y="60"/>
                  </a:cubicBezTo>
                  <a:cubicBezTo>
                    <a:pt x="189" y="58"/>
                    <a:pt x="186" y="56"/>
                    <a:pt x="184" y="54"/>
                  </a:cubicBezTo>
                  <a:cubicBezTo>
                    <a:pt x="181" y="52"/>
                    <a:pt x="179" y="50"/>
                    <a:pt x="176" y="48"/>
                  </a:cubicBezTo>
                  <a:cubicBezTo>
                    <a:pt x="164" y="38"/>
                    <a:pt x="164" y="38"/>
                    <a:pt x="164" y="38"/>
                  </a:cubicBezTo>
                  <a:cubicBezTo>
                    <a:pt x="161" y="36"/>
                    <a:pt x="158" y="34"/>
                    <a:pt x="156" y="32"/>
                  </a:cubicBezTo>
                  <a:cubicBezTo>
                    <a:pt x="152" y="28"/>
                    <a:pt x="148" y="25"/>
                    <a:pt x="143" y="22"/>
                  </a:cubicBezTo>
                  <a:cubicBezTo>
                    <a:pt x="139" y="19"/>
                    <a:pt x="139" y="19"/>
                    <a:pt x="139" y="19"/>
                  </a:cubicBezTo>
                  <a:cubicBezTo>
                    <a:pt x="137" y="19"/>
                    <a:pt x="135" y="18"/>
                    <a:pt x="134" y="17"/>
                  </a:cubicBezTo>
                  <a:cubicBezTo>
                    <a:pt x="129" y="14"/>
                    <a:pt x="123" y="11"/>
                    <a:pt x="118" y="8"/>
                  </a:cubicBezTo>
                  <a:cubicBezTo>
                    <a:pt x="117" y="7"/>
                    <a:pt x="117" y="7"/>
                    <a:pt x="116" y="7"/>
                  </a:cubicBezTo>
                  <a:cubicBezTo>
                    <a:pt x="115" y="6"/>
                    <a:pt x="113" y="4"/>
                    <a:pt x="112" y="4"/>
                  </a:cubicBezTo>
                  <a:cubicBezTo>
                    <a:pt x="89" y="0"/>
                    <a:pt x="89"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455"/>
            <p:cNvSpPr/>
            <p:nvPr/>
          </p:nvSpPr>
          <p:spPr bwMode="auto">
            <a:xfrm>
              <a:off x="4618766" y="6373802"/>
              <a:ext cx="259961" cy="321856"/>
            </a:xfrm>
            <a:custGeom>
              <a:gdLst>
                <a:gd name="T0" fmla="*/ 1 w 80"/>
                <a:gd name="T1" fmla="*/ 3 h 99"/>
                <a:gd name="T2" fmla="*/ 0 w 80"/>
                <a:gd name="T3" fmla="*/ 4 h 99"/>
                <a:gd name="T4" fmla="*/ 4 w 80"/>
                <a:gd name="T5" fmla="*/ 17 h 99"/>
                <a:gd name="T6" fmla="*/ 7 w 80"/>
                <a:gd name="T7" fmla="*/ 33 h 99"/>
                <a:gd name="T8" fmla="*/ 12 w 80"/>
                <a:gd name="T9" fmla="*/ 47 h 99"/>
                <a:gd name="T10" fmla="*/ 14 w 80"/>
                <a:gd name="T11" fmla="*/ 51 h 99"/>
                <a:gd name="T12" fmla="*/ 22 w 80"/>
                <a:gd name="T13" fmla="*/ 65 h 99"/>
                <a:gd name="T14" fmla="*/ 28 w 80"/>
                <a:gd name="T15" fmla="*/ 74 h 99"/>
                <a:gd name="T16" fmla="*/ 46 w 80"/>
                <a:gd name="T17" fmla="*/ 85 h 99"/>
                <a:gd name="T18" fmla="*/ 64 w 80"/>
                <a:gd name="T19" fmla="*/ 99 h 99"/>
                <a:gd name="T20" fmla="*/ 69 w 80"/>
                <a:gd name="T21" fmla="*/ 96 h 99"/>
                <a:gd name="T22" fmla="*/ 72 w 80"/>
                <a:gd name="T23" fmla="*/ 96 h 99"/>
                <a:gd name="T24" fmla="*/ 75 w 80"/>
                <a:gd name="T25" fmla="*/ 98 h 99"/>
                <a:gd name="T26" fmla="*/ 78 w 80"/>
                <a:gd name="T27" fmla="*/ 97 h 99"/>
                <a:gd name="T28" fmla="*/ 66 w 80"/>
                <a:gd name="T29" fmla="*/ 73 h 99"/>
                <a:gd name="T30" fmla="*/ 62 w 80"/>
                <a:gd name="T31" fmla="*/ 57 h 99"/>
                <a:gd name="T32" fmla="*/ 59 w 80"/>
                <a:gd name="T33" fmla="*/ 26 h 99"/>
                <a:gd name="T34" fmla="*/ 43 w 80"/>
                <a:gd name="T35" fmla="*/ 9 h 99"/>
                <a:gd name="T36" fmla="*/ 39 w 80"/>
                <a:gd name="T37" fmla="*/ 6 h 99"/>
                <a:gd name="T38" fmla="*/ 38 w 80"/>
                <a:gd name="T39" fmla="*/ 8 h 99"/>
                <a:gd name="T40" fmla="*/ 31 w 80"/>
                <a:gd name="T41" fmla="*/ 16 h 99"/>
                <a:gd name="T42" fmla="*/ 26 w 80"/>
                <a:gd name="T43" fmla="*/ 14 h 99"/>
                <a:gd name="T44" fmla="*/ 24 w 80"/>
                <a:gd name="T45" fmla="*/ 15 h 99"/>
                <a:gd name="T46" fmla="*/ 23 w 80"/>
                <a:gd name="T47" fmla="*/ 16 h 99"/>
                <a:gd name="T48" fmla="*/ 21 w 80"/>
                <a:gd name="T49" fmla="*/ 18 h 99"/>
                <a:gd name="T50" fmla="*/ 19 w 80"/>
                <a:gd name="T51" fmla="*/ 18 h 99"/>
                <a:gd name="T52" fmla="*/ 15 w 80"/>
                <a:gd name="T53" fmla="*/ 16 h 99"/>
                <a:gd name="T54" fmla="*/ 16 w 80"/>
                <a:gd name="T55" fmla="*/ 7 h 99"/>
                <a:gd name="T56" fmla="*/ 15 w 80"/>
                <a:gd name="T57" fmla="*/ 7 h 99"/>
                <a:gd name="T58" fmla="*/ 11 w 80"/>
                <a:gd name="T59" fmla="*/ 3 h 99"/>
                <a:gd name="T60" fmla="*/ 10 w 80"/>
                <a:gd name="T61" fmla="*/ 2 h 99"/>
                <a:gd name="T62" fmla="*/ 7 w 80"/>
                <a:gd name="T63" fmla="*/ 1 h 99"/>
                <a:gd name="T64" fmla="*/ 2 w 80"/>
                <a:gd name="T65" fmla="*/ 0 h 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9">
                  <a:moveTo>
                    <a:pt x="2" y="0"/>
                  </a:moveTo>
                  <a:cubicBezTo>
                    <a:pt x="1" y="3"/>
                    <a:pt x="1" y="3"/>
                    <a:pt x="1" y="3"/>
                  </a:cubicBezTo>
                  <a:cubicBezTo>
                    <a:pt x="0" y="3"/>
                    <a:pt x="0" y="3"/>
                    <a:pt x="0" y="3"/>
                  </a:cubicBezTo>
                  <a:cubicBezTo>
                    <a:pt x="0" y="4"/>
                    <a:pt x="0" y="4"/>
                    <a:pt x="0" y="4"/>
                  </a:cubicBezTo>
                  <a:cubicBezTo>
                    <a:pt x="1" y="6"/>
                    <a:pt x="3" y="7"/>
                    <a:pt x="4" y="10"/>
                  </a:cubicBezTo>
                  <a:cubicBezTo>
                    <a:pt x="4" y="12"/>
                    <a:pt x="4" y="15"/>
                    <a:pt x="4" y="17"/>
                  </a:cubicBezTo>
                  <a:cubicBezTo>
                    <a:pt x="3" y="20"/>
                    <a:pt x="4" y="23"/>
                    <a:pt x="5" y="26"/>
                  </a:cubicBezTo>
                  <a:cubicBezTo>
                    <a:pt x="5" y="28"/>
                    <a:pt x="6" y="30"/>
                    <a:pt x="7" y="33"/>
                  </a:cubicBezTo>
                  <a:cubicBezTo>
                    <a:pt x="8" y="36"/>
                    <a:pt x="9" y="36"/>
                    <a:pt x="8" y="40"/>
                  </a:cubicBezTo>
                  <a:cubicBezTo>
                    <a:pt x="8" y="43"/>
                    <a:pt x="10" y="44"/>
                    <a:pt x="12" y="47"/>
                  </a:cubicBezTo>
                  <a:cubicBezTo>
                    <a:pt x="11" y="47"/>
                    <a:pt x="10" y="48"/>
                    <a:pt x="10" y="49"/>
                  </a:cubicBezTo>
                  <a:cubicBezTo>
                    <a:pt x="11" y="50"/>
                    <a:pt x="13" y="50"/>
                    <a:pt x="14" y="51"/>
                  </a:cubicBezTo>
                  <a:cubicBezTo>
                    <a:pt x="15" y="53"/>
                    <a:pt x="16" y="55"/>
                    <a:pt x="18" y="57"/>
                  </a:cubicBezTo>
                  <a:cubicBezTo>
                    <a:pt x="19" y="60"/>
                    <a:pt x="22" y="62"/>
                    <a:pt x="22" y="65"/>
                  </a:cubicBezTo>
                  <a:cubicBezTo>
                    <a:pt x="22" y="68"/>
                    <a:pt x="21" y="68"/>
                    <a:pt x="23" y="70"/>
                  </a:cubicBezTo>
                  <a:cubicBezTo>
                    <a:pt x="24" y="71"/>
                    <a:pt x="26" y="73"/>
                    <a:pt x="28" y="74"/>
                  </a:cubicBezTo>
                  <a:cubicBezTo>
                    <a:pt x="31" y="75"/>
                    <a:pt x="33" y="77"/>
                    <a:pt x="36" y="79"/>
                  </a:cubicBezTo>
                  <a:cubicBezTo>
                    <a:pt x="40" y="82"/>
                    <a:pt x="43" y="83"/>
                    <a:pt x="46" y="85"/>
                  </a:cubicBezTo>
                  <a:cubicBezTo>
                    <a:pt x="49" y="88"/>
                    <a:pt x="53" y="90"/>
                    <a:pt x="56" y="92"/>
                  </a:cubicBezTo>
                  <a:cubicBezTo>
                    <a:pt x="59" y="94"/>
                    <a:pt x="61" y="97"/>
                    <a:pt x="64" y="99"/>
                  </a:cubicBezTo>
                  <a:cubicBezTo>
                    <a:pt x="65" y="98"/>
                    <a:pt x="67" y="96"/>
                    <a:pt x="69" y="96"/>
                  </a:cubicBezTo>
                  <a:cubicBezTo>
                    <a:pt x="69" y="96"/>
                    <a:pt x="69" y="96"/>
                    <a:pt x="69" y="96"/>
                  </a:cubicBezTo>
                  <a:cubicBezTo>
                    <a:pt x="70" y="96"/>
                    <a:pt x="70" y="96"/>
                    <a:pt x="71" y="96"/>
                  </a:cubicBezTo>
                  <a:cubicBezTo>
                    <a:pt x="71" y="96"/>
                    <a:pt x="72" y="96"/>
                    <a:pt x="72" y="96"/>
                  </a:cubicBezTo>
                  <a:cubicBezTo>
                    <a:pt x="73" y="96"/>
                    <a:pt x="73" y="96"/>
                    <a:pt x="73" y="93"/>
                  </a:cubicBezTo>
                  <a:cubicBezTo>
                    <a:pt x="77" y="95"/>
                    <a:pt x="75" y="95"/>
                    <a:pt x="75" y="98"/>
                  </a:cubicBezTo>
                  <a:cubicBezTo>
                    <a:pt x="76" y="98"/>
                    <a:pt x="76" y="98"/>
                    <a:pt x="76" y="98"/>
                  </a:cubicBezTo>
                  <a:cubicBezTo>
                    <a:pt x="77" y="98"/>
                    <a:pt x="78" y="97"/>
                    <a:pt x="78" y="97"/>
                  </a:cubicBezTo>
                  <a:cubicBezTo>
                    <a:pt x="80" y="94"/>
                    <a:pt x="76" y="89"/>
                    <a:pt x="75" y="87"/>
                  </a:cubicBezTo>
                  <a:cubicBezTo>
                    <a:pt x="73" y="82"/>
                    <a:pt x="69" y="77"/>
                    <a:pt x="66" y="73"/>
                  </a:cubicBezTo>
                  <a:cubicBezTo>
                    <a:pt x="65" y="71"/>
                    <a:pt x="62" y="69"/>
                    <a:pt x="62" y="67"/>
                  </a:cubicBezTo>
                  <a:cubicBezTo>
                    <a:pt x="62" y="64"/>
                    <a:pt x="62" y="60"/>
                    <a:pt x="62" y="57"/>
                  </a:cubicBezTo>
                  <a:cubicBezTo>
                    <a:pt x="61" y="52"/>
                    <a:pt x="62" y="47"/>
                    <a:pt x="63" y="42"/>
                  </a:cubicBezTo>
                  <a:cubicBezTo>
                    <a:pt x="63" y="36"/>
                    <a:pt x="62" y="31"/>
                    <a:pt x="59" y="26"/>
                  </a:cubicBezTo>
                  <a:cubicBezTo>
                    <a:pt x="56" y="20"/>
                    <a:pt x="52" y="18"/>
                    <a:pt x="48" y="15"/>
                  </a:cubicBezTo>
                  <a:cubicBezTo>
                    <a:pt x="46" y="13"/>
                    <a:pt x="44" y="11"/>
                    <a:pt x="43" y="9"/>
                  </a:cubicBezTo>
                  <a:cubicBezTo>
                    <a:pt x="43" y="8"/>
                    <a:pt x="41" y="7"/>
                    <a:pt x="39" y="6"/>
                  </a:cubicBezTo>
                  <a:cubicBezTo>
                    <a:pt x="39" y="6"/>
                    <a:pt x="39" y="6"/>
                    <a:pt x="39" y="6"/>
                  </a:cubicBezTo>
                  <a:cubicBezTo>
                    <a:pt x="39" y="7"/>
                    <a:pt x="39" y="7"/>
                    <a:pt x="38" y="8"/>
                  </a:cubicBezTo>
                  <a:cubicBezTo>
                    <a:pt x="38" y="8"/>
                    <a:pt x="38" y="8"/>
                    <a:pt x="38" y="8"/>
                  </a:cubicBezTo>
                  <a:cubicBezTo>
                    <a:pt x="38" y="9"/>
                    <a:pt x="38" y="9"/>
                    <a:pt x="37" y="10"/>
                  </a:cubicBezTo>
                  <a:cubicBezTo>
                    <a:pt x="36" y="12"/>
                    <a:pt x="35" y="15"/>
                    <a:pt x="31" y="16"/>
                  </a:cubicBezTo>
                  <a:cubicBezTo>
                    <a:pt x="30" y="16"/>
                    <a:pt x="30" y="16"/>
                    <a:pt x="30" y="16"/>
                  </a:cubicBezTo>
                  <a:cubicBezTo>
                    <a:pt x="28" y="16"/>
                    <a:pt x="27" y="15"/>
                    <a:pt x="26" y="14"/>
                  </a:cubicBezTo>
                  <a:cubicBezTo>
                    <a:pt x="25" y="14"/>
                    <a:pt x="25" y="14"/>
                    <a:pt x="25" y="14"/>
                  </a:cubicBezTo>
                  <a:cubicBezTo>
                    <a:pt x="25" y="14"/>
                    <a:pt x="25" y="14"/>
                    <a:pt x="24" y="15"/>
                  </a:cubicBezTo>
                  <a:cubicBezTo>
                    <a:pt x="23" y="16"/>
                    <a:pt x="23" y="16"/>
                    <a:pt x="23" y="16"/>
                  </a:cubicBezTo>
                  <a:cubicBezTo>
                    <a:pt x="23" y="16"/>
                    <a:pt x="23" y="16"/>
                    <a:pt x="23" y="16"/>
                  </a:cubicBezTo>
                  <a:cubicBezTo>
                    <a:pt x="22" y="17"/>
                    <a:pt x="22" y="17"/>
                    <a:pt x="22" y="17"/>
                  </a:cubicBezTo>
                  <a:cubicBezTo>
                    <a:pt x="22" y="17"/>
                    <a:pt x="21" y="17"/>
                    <a:pt x="21" y="18"/>
                  </a:cubicBezTo>
                  <a:cubicBezTo>
                    <a:pt x="20" y="18"/>
                    <a:pt x="20" y="18"/>
                    <a:pt x="20" y="18"/>
                  </a:cubicBezTo>
                  <a:cubicBezTo>
                    <a:pt x="20" y="18"/>
                    <a:pt x="19" y="18"/>
                    <a:pt x="19" y="18"/>
                  </a:cubicBezTo>
                  <a:cubicBezTo>
                    <a:pt x="18" y="18"/>
                    <a:pt x="18" y="18"/>
                    <a:pt x="18" y="18"/>
                  </a:cubicBezTo>
                  <a:cubicBezTo>
                    <a:pt x="17" y="18"/>
                    <a:pt x="16" y="17"/>
                    <a:pt x="15" y="16"/>
                  </a:cubicBezTo>
                  <a:cubicBezTo>
                    <a:pt x="13" y="14"/>
                    <a:pt x="14" y="11"/>
                    <a:pt x="15" y="9"/>
                  </a:cubicBezTo>
                  <a:cubicBezTo>
                    <a:pt x="15" y="8"/>
                    <a:pt x="16" y="7"/>
                    <a:pt x="16" y="7"/>
                  </a:cubicBezTo>
                  <a:cubicBezTo>
                    <a:pt x="16" y="7"/>
                    <a:pt x="15" y="7"/>
                    <a:pt x="15" y="7"/>
                  </a:cubicBezTo>
                  <a:cubicBezTo>
                    <a:pt x="15" y="7"/>
                    <a:pt x="15" y="7"/>
                    <a:pt x="15" y="7"/>
                  </a:cubicBezTo>
                  <a:cubicBezTo>
                    <a:pt x="12" y="7"/>
                    <a:pt x="11" y="6"/>
                    <a:pt x="11" y="5"/>
                  </a:cubicBezTo>
                  <a:cubicBezTo>
                    <a:pt x="11" y="4"/>
                    <a:pt x="11" y="4"/>
                    <a:pt x="11" y="3"/>
                  </a:cubicBezTo>
                  <a:cubicBezTo>
                    <a:pt x="10" y="2"/>
                    <a:pt x="10" y="2"/>
                    <a:pt x="10" y="2"/>
                  </a:cubicBezTo>
                  <a:cubicBezTo>
                    <a:pt x="10" y="2"/>
                    <a:pt x="10" y="2"/>
                    <a:pt x="10" y="2"/>
                  </a:cubicBezTo>
                  <a:cubicBezTo>
                    <a:pt x="9" y="2"/>
                    <a:pt x="9" y="2"/>
                    <a:pt x="9" y="2"/>
                  </a:cubicBezTo>
                  <a:cubicBezTo>
                    <a:pt x="9" y="2"/>
                    <a:pt x="8" y="2"/>
                    <a:pt x="7" y="1"/>
                  </a:cubicBezTo>
                  <a:cubicBezTo>
                    <a:pt x="6" y="1"/>
                    <a:pt x="6" y="1"/>
                    <a:pt x="6" y="1"/>
                  </a:cubicBezTo>
                  <a:cubicBezTo>
                    <a:pt x="5" y="1"/>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456"/>
            <p:cNvSpPr/>
            <p:nvPr/>
          </p:nvSpPr>
          <p:spPr bwMode="auto">
            <a:xfrm>
              <a:off x="1891247" y="5105637"/>
              <a:ext cx="23383" cy="41264"/>
            </a:xfrm>
            <a:custGeom>
              <a:gdLst>
                <a:gd name="T0" fmla="*/ 5 w 7"/>
                <a:gd name="T1" fmla="*/ 0 h 13"/>
                <a:gd name="T2" fmla="*/ 0 w 7"/>
                <a:gd name="T3" fmla="*/ 4 h 13"/>
                <a:gd name="T4" fmla="*/ 2 w 7"/>
                <a:gd name="T5" fmla="*/ 4 h 13"/>
                <a:gd name="T6" fmla="*/ 2 w 7"/>
                <a:gd name="T7" fmla="*/ 5 h 13"/>
                <a:gd name="T8" fmla="*/ 2 w 7"/>
                <a:gd name="T9" fmla="*/ 6 h 13"/>
                <a:gd name="T10" fmla="*/ 2 w 7"/>
                <a:gd name="T11" fmla="*/ 8 h 13"/>
                <a:gd name="T12" fmla="*/ 2 w 7"/>
                <a:gd name="T13" fmla="*/ 12 h 13"/>
                <a:gd name="T14" fmla="*/ 3 w 7"/>
                <a:gd name="T15" fmla="*/ 12 h 13"/>
                <a:gd name="T16" fmla="*/ 4 w 7"/>
                <a:gd name="T17" fmla="*/ 13 h 13"/>
                <a:gd name="T18" fmla="*/ 6 w 7"/>
                <a:gd name="T19" fmla="*/ 5 h 13"/>
                <a:gd name="T20" fmla="*/ 4 w 7"/>
                <a:gd name="T21" fmla="*/ 4 h 13"/>
                <a:gd name="T22" fmla="*/ 7 w 7"/>
                <a:gd name="T23" fmla="*/ 1 h 13"/>
                <a:gd name="T24" fmla="*/ 5 w 7"/>
                <a:gd name="T2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3">
                  <a:moveTo>
                    <a:pt x="5" y="0"/>
                  </a:moveTo>
                  <a:cubicBezTo>
                    <a:pt x="3" y="0"/>
                    <a:pt x="1" y="2"/>
                    <a:pt x="0" y="4"/>
                  </a:cubicBezTo>
                  <a:cubicBezTo>
                    <a:pt x="2" y="4"/>
                    <a:pt x="2" y="4"/>
                    <a:pt x="2" y="4"/>
                  </a:cubicBezTo>
                  <a:cubicBezTo>
                    <a:pt x="2" y="5"/>
                    <a:pt x="2" y="5"/>
                    <a:pt x="2" y="5"/>
                  </a:cubicBezTo>
                  <a:cubicBezTo>
                    <a:pt x="2" y="5"/>
                    <a:pt x="2" y="6"/>
                    <a:pt x="2" y="6"/>
                  </a:cubicBezTo>
                  <a:cubicBezTo>
                    <a:pt x="2" y="8"/>
                    <a:pt x="2" y="8"/>
                    <a:pt x="2" y="8"/>
                  </a:cubicBezTo>
                  <a:cubicBezTo>
                    <a:pt x="2" y="10"/>
                    <a:pt x="2" y="11"/>
                    <a:pt x="2" y="12"/>
                  </a:cubicBezTo>
                  <a:cubicBezTo>
                    <a:pt x="3" y="12"/>
                    <a:pt x="3" y="12"/>
                    <a:pt x="3" y="12"/>
                  </a:cubicBezTo>
                  <a:cubicBezTo>
                    <a:pt x="4" y="13"/>
                    <a:pt x="4" y="13"/>
                    <a:pt x="4" y="13"/>
                  </a:cubicBezTo>
                  <a:cubicBezTo>
                    <a:pt x="5" y="11"/>
                    <a:pt x="6" y="7"/>
                    <a:pt x="6" y="5"/>
                  </a:cubicBezTo>
                  <a:cubicBezTo>
                    <a:pt x="5" y="5"/>
                    <a:pt x="4" y="4"/>
                    <a:pt x="4" y="4"/>
                  </a:cubicBezTo>
                  <a:cubicBezTo>
                    <a:pt x="5" y="3"/>
                    <a:pt x="6" y="2"/>
                    <a:pt x="7"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457"/>
            <p:cNvSpPr/>
            <p:nvPr/>
          </p:nvSpPr>
          <p:spPr bwMode="auto">
            <a:xfrm>
              <a:off x="1" y="1514334"/>
              <a:ext cx="360368" cy="988950"/>
            </a:xfrm>
            <a:custGeom>
              <a:gdLst>
                <a:gd name="T0" fmla="*/ 39 w 111"/>
                <a:gd name="T1" fmla="*/ 1 h 304"/>
                <a:gd name="T2" fmla="*/ 31 w 111"/>
                <a:gd name="T3" fmla="*/ 4 h 304"/>
                <a:gd name="T4" fmla="*/ 26 w 111"/>
                <a:gd name="T5" fmla="*/ 4 h 304"/>
                <a:gd name="T6" fmla="*/ 17 w 111"/>
                <a:gd name="T7" fmla="*/ 8 h 304"/>
                <a:gd name="T8" fmla="*/ 10 w 111"/>
                <a:gd name="T9" fmla="*/ 13 h 304"/>
                <a:gd name="T10" fmla="*/ 8 w 111"/>
                <a:gd name="T11" fmla="*/ 20 h 304"/>
                <a:gd name="T12" fmla="*/ 4 w 111"/>
                <a:gd name="T13" fmla="*/ 38 h 304"/>
                <a:gd name="T14" fmla="*/ 0 w 111"/>
                <a:gd name="T15" fmla="*/ 41 h 304"/>
                <a:gd name="T16" fmla="*/ 7 w 111"/>
                <a:gd name="T17" fmla="*/ 304 h 304"/>
                <a:gd name="T18" fmla="*/ 10 w 111"/>
                <a:gd name="T19" fmla="*/ 301 h 304"/>
                <a:gd name="T20" fmla="*/ 11 w 111"/>
                <a:gd name="T21" fmla="*/ 299 h 304"/>
                <a:gd name="T22" fmla="*/ 26 w 111"/>
                <a:gd name="T23" fmla="*/ 296 h 304"/>
                <a:gd name="T24" fmla="*/ 35 w 111"/>
                <a:gd name="T25" fmla="*/ 295 h 304"/>
                <a:gd name="T26" fmla="*/ 65 w 111"/>
                <a:gd name="T27" fmla="*/ 275 h 304"/>
                <a:gd name="T28" fmla="*/ 99 w 111"/>
                <a:gd name="T29" fmla="*/ 243 h 304"/>
                <a:gd name="T30" fmla="*/ 108 w 111"/>
                <a:gd name="T31" fmla="*/ 232 h 304"/>
                <a:gd name="T32" fmla="*/ 110 w 111"/>
                <a:gd name="T33" fmla="*/ 225 h 304"/>
                <a:gd name="T34" fmla="*/ 90 w 111"/>
                <a:gd name="T35" fmla="*/ 208 h 304"/>
                <a:gd name="T36" fmla="*/ 83 w 111"/>
                <a:gd name="T37" fmla="*/ 199 h 304"/>
                <a:gd name="T38" fmla="*/ 93 w 111"/>
                <a:gd name="T39" fmla="*/ 188 h 304"/>
                <a:gd name="T40" fmla="*/ 83 w 111"/>
                <a:gd name="T41" fmla="*/ 178 h 304"/>
                <a:gd name="T42" fmla="*/ 81 w 111"/>
                <a:gd name="T43" fmla="*/ 174 h 304"/>
                <a:gd name="T44" fmla="*/ 85 w 111"/>
                <a:gd name="T45" fmla="*/ 173 h 304"/>
                <a:gd name="T46" fmla="*/ 75 w 111"/>
                <a:gd name="T47" fmla="*/ 165 h 304"/>
                <a:gd name="T48" fmla="*/ 77 w 111"/>
                <a:gd name="T49" fmla="*/ 158 h 304"/>
                <a:gd name="T50" fmla="*/ 76 w 111"/>
                <a:gd name="T51" fmla="*/ 151 h 304"/>
                <a:gd name="T52" fmla="*/ 77 w 111"/>
                <a:gd name="T53" fmla="*/ 145 h 304"/>
                <a:gd name="T54" fmla="*/ 83 w 111"/>
                <a:gd name="T55" fmla="*/ 140 h 304"/>
                <a:gd name="T56" fmla="*/ 68 w 111"/>
                <a:gd name="T57" fmla="*/ 110 h 304"/>
                <a:gd name="T58" fmla="*/ 65 w 111"/>
                <a:gd name="T59" fmla="*/ 106 h 304"/>
                <a:gd name="T60" fmla="*/ 81 w 111"/>
                <a:gd name="T61" fmla="*/ 78 h 304"/>
                <a:gd name="T62" fmla="*/ 73 w 111"/>
                <a:gd name="T63" fmla="*/ 71 h 304"/>
                <a:gd name="T64" fmla="*/ 66 w 111"/>
                <a:gd name="T65" fmla="*/ 66 h 304"/>
                <a:gd name="T66" fmla="*/ 55 w 111"/>
                <a:gd name="T67" fmla="*/ 56 h 304"/>
                <a:gd name="T68" fmla="*/ 55 w 111"/>
                <a:gd name="T69" fmla="*/ 46 h 304"/>
                <a:gd name="T70" fmla="*/ 56 w 111"/>
                <a:gd name="T71" fmla="*/ 44 h 304"/>
                <a:gd name="T72" fmla="*/ 53 w 111"/>
                <a:gd name="T73" fmla="*/ 40 h 304"/>
                <a:gd name="T74" fmla="*/ 58 w 111"/>
                <a:gd name="T75" fmla="*/ 34 h 304"/>
                <a:gd name="T76" fmla="*/ 62 w 111"/>
                <a:gd name="T77" fmla="*/ 33 h 304"/>
                <a:gd name="T78" fmla="*/ 62 w 111"/>
                <a:gd name="T79" fmla="*/ 32 h 304"/>
                <a:gd name="T80" fmla="*/ 62 w 111"/>
                <a:gd name="T81" fmla="*/ 29 h 304"/>
                <a:gd name="T82" fmla="*/ 64 w 111"/>
                <a:gd name="T83" fmla="*/ 23 h 304"/>
                <a:gd name="T84" fmla="*/ 68 w 111"/>
                <a:gd name="T85" fmla="*/ 18 h 304"/>
                <a:gd name="T86" fmla="*/ 58 w 111"/>
                <a:gd name="T87" fmla="*/ 10 h 304"/>
                <a:gd name="T88" fmla="*/ 48 w 111"/>
                <a:gd name="T89" fmla="*/ 5 h 304"/>
                <a:gd name="T90" fmla="*/ 41 w 111"/>
                <a:gd name="T91" fmla="*/ 0 h 3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304">
                  <a:moveTo>
                    <a:pt x="41" y="0"/>
                  </a:moveTo>
                  <a:cubicBezTo>
                    <a:pt x="41" y="0"/>
                    <a:pt x="40" y="1"/>
                    <a:pt x="40" y="1"/>
                  </a:cubicBezTo>
                  <a:cubicBezTo>
                    <a:pt x="39" y="1"/>
                    <a:pt x="39" y="1"/>
                    <a:pt x="39" y="1"/>
                  </a:cubicBezTo>
                  <a:cubicBezTo>
                    <a:pt x="38" y="2"/>
                    <a:pt x="37" y="3"/>
                    <a:pt x="36" y="3"/>
                  </a:cubicBezTo>
                  <a:cubicBezTo>
                    <a:pt x="36" y="3"/>
                    <a:pt x="35" y="4"/>
                    <a:pt x="33" y="4"/>
                  </a:cubicBezTo>
                  <a:cubicBezTo>
                    <a:pt x="33" y="4"/>
                    <a:pt x="32" y="4"/>
                    <a:pt x="31" y="4"/>
                  </a:cubicBezTo>
                  <a:cubicBezTo>
                    <a:pt x="31" y="4"/>
                    <a:pt x="31" y="4"/>
                    <a:pt x="31" y="4"/>
                  </a:cubicBezTo>
                  <a:cubicBezTo>
                    <a:pt x="30" y="4"/>
                    <a:pt x="29" y="4"/>
                    <a:pt x="28" y="4"/>
                  </a:cubicBezTo>
                  <a:cubicBezTo>
                    <a:pt x="26" y="4"/>
                    <a:pt x="26" y="4"/>
                    <a:pt x="26" y="4"/>
                  </a:cubicBezTo>
                  <a:cubicBezTo>
                    <a:pt x="26" y="4"/>
                    <a:pt x="25" y="4"/>
                    <a:pt x="25" y="5"/>
                  </a:cubicBezTo>
                  <a:cubicBezTo>
                    <a:pt x="21" y="5"/>
                    <a:pt x="19" y="5"/>
                    <a:pt x="17" y="8"/>
                  </a:cubicBezTo>
                  <a:cubicBezTo>
                    <a:pt x="17" y="8"/>
                    <a:pt x="17" y="8"/>
                    <a:pt x="17" y="8"/>
                  </a:cubicBezTo>
                  <a:cubicBezTo>
                    <a:pt x="16" y="9"/>
                    <a:pt x="15" y="10"/>
                    <a:pt x="13" y="11"/>
                  </a:cubicBezTo>
                  <a:cubicBezTo>
                    <a:pt x="13" y="11"/>
                    <a:pt x="13" y="11"/>
                    <a:pt x="13" y="11"/>
                  </a:cubicBezTo>
                  <a:cubicBezTo>
                    <a:pt x="12" y="12"/>
                    <a:pt x="11" y="12"/>
                    <a:pt x="10" y="13"/>
                  </a:cubicBezTo>
                  <a:cubicBezTo>
                    <a:pt x="10" y="13"/>
                    <a:pt x="10" y="13"/>
                    <a:pt x="10" y="13"/>
                  </a:cubicBezTo>
                  <a:cubicBezTo>
                    <a:pt x="10" y="14"/>
                    <a:pt x="9" y="15"/>
                    <a:pt x="9" y="17"/>
                  </a:cubicBezTo>
                  <a:cubicBezTo>
                    <a:pt x="8" y="20"/>
                    <a:pt x="8" y="20"/>
                    <a:pt x="8" y="20"/>
                  </a:cubicBezTo>
                  <a:cubicBezTo>
                    <a:pt x="7" y="22"/>
                    <a:pt x="7" y="24"/>
                    <a:pt x="7" y="27"/>
                  </a:cubicBezTo>
                  <a:cubicBezTo>
                    <a:pt x="7" y="29"/>
                    <a:pt x="6" y="32"/>
                    <a:pt x="6" y="34"/>
                  </a:cubicBezTo>
                  <a:cubicBezTo>
                    <a:pt x="5" y="35"/>
                    <a:pt x="5" y="37"/>
                    <a:pt x="4" y="38"/>
                  </a:cubicBezTo>
                  <a:cubicBezTo>
                    <a:pt x="4" y="38"/>
                    <a:pt x="4" y="38"/>
                    <a:pt x="4" y="38"/>
                  </a:cubicBezTo>
                  <a:cubicBezTo>
                    <a:pt x="3" y="40"/>
                    <a:pt x="2" y="41"/>
                    <a:pt x="1" y="41"/>
                  </a:cubicBezTo>
                  <a:cubicBezTo>
                    <a:pt x="0" y="41"/>
                    <a:pt x="0" y="41"/>
                    <a:pt x="0" y="41"/>
                  </a:cubicBezTo>
                  <a:cubicBezTo>
                    <a:pt x="0" y="303"/>
                    <a:pt x="0" y="303"/>
                    <a:pt x="0" y="303"/>
                  </a:cubicBezTo>
                  <a:cubicBezTo>
                    <a:pt x="1" y="302"/>
                    <a:pt x="1" y="301"/>
                    <a:pt x="2" y="301"/>
                  </a:cubicBezTo>
                  <a:cubicBezTo>
                    <a:pt x="3" y="302"/>
                    <a:pt x="6" y="303"/>
                    <a:pt x="7" y="304"/>
                  </a:cubicBezTo>
                  <a:cubicBezTo>
                    <a:pt x="7" y="303"/>
                    <a:pt x="7" y="302"/>
                    <a:pt x="7" y="301"/>
                  </a:cubicBezTo>
                  <a:cubicBezTo>
                    <a:pt x="8" y="301"/>
                    <a:pt x="9" y="301"/>
                    <a:pt x="10" y="301"/>
                  </a:cubicBezTo>
                  <a:cubicBezTo>
                    <a:pt x="10" y="301"/>
                    <a:pt x="10" y="301"/>
                    <a:pt x="10" y="301"/>
                  </a:cubicBezTo>
                  <a:cubicBezTo>
                    <a:pt x="9" y="301"/>
                    <a:pt x="9" y="300"/>
                    <a:pt x="9" y="299"/>
                  </a:cubicBezTo>
                  <a:cubicBezTo>
                    <a:pt x="8" y="299"/>
                    <a:pt x="8" y="298"/>
                    <a:pt x="9" y="298"/>
                  </a:cubicBezTo>
                  <a:cubicBezTo>
                    <a:pt x="9" y="298"/>
                    <a:pt x="10" y="299"/>
                    <a:pt x="11" y="299"/>
                  </a:cubicBezTo>
                  <a:cubicBezTo>
                    <a:pt x="12" y="299"/>
                    <a:pt x="12" y="299"/>
                    <a:pt x="13" y="299"/>
                  </a:cubicBezTo>
                  <a:cubicBezTo>
                    <a:pt x="14" y="299"/>
                    <a:pt x="14" y="299"/>
                    <a:pt x="14" y="299"/>
                  </a:cubicBezTo>
                  <a:cubicBezTo>
                    <a:pt x="18" y="297"/>
                    <a:pt x="22" y="296"/>
                    <a:pt x="26" y="296"/>
                  </a:cubicBezTo>
                  <a:cubicBezTo>
                    <a:pt x="29" y="296"/>
                    <a:pt x="31" y="297"/>
                    <a:pt x="34" y="297"/>
                  </a:cubicBezTo>
                  <a:cubicBezTo>
                    <a:pt x="34" y="295"/>
                    <a:pt x="34" y="295"/>
                    <a:pt x="34" y="295"/>
                  </a:cubicBezTo>
                  <a:cubicBezTo>
                    <a:pt x="35" y="295"/>
                    <a:pt x="35" y="295"/>
                    <a:pt x="35" y="295"/>
                  </a:cubicBezTo>
                  <a:cubicBezTo>
                    <a:pt x="35" y="295"/>
                    <a:pt x="35" y="295"/>
                    <a:pt x="35" y="295"/>
                  </a:cubicBezTo>
                  <a:cubicBezTo>
                    <a:pt x="37" y="295"/>
                    <a:pt x="40" y="294"/>
                    <a:pt x="42" y="292"/>
                  </a:cubicBezTo>
                  <a:cubicBezTo>
                    <a:pt x="49" y="286"/>
                    <a:pt x="58" y="280"/>
                    <a:pt x="65" y="275"/>
                  </a:cubicBezTo>
                  <a:cubicBezTo>
                    <a:pt x="72" y="270"/>
                    <a:pt x="77" y="265"/>
                    <a:pt x="82" y="260"/>
                  </a:cubicBezTo>
                  <a:cubicBezTo>
                    <a:pt x="84" y="257"/>
                    <a:pt x="87" y="255"/>
                    <a:pt x="88" y="253"/>
                  </a:cubicBezTo>
                  <a:cubicBezTo>
                    <a:pt x="92" y="250"/>
                    <a:pt x="95" y="246"/>
                    <a:pt x="99" y="243"/>
                  </a:cubicBezTo>
                  <a:cubicBezTo>
                    <a:pt x="100" y="242"/>
                    <a:pt x="101" y="241"/>
                    <a:pt x="102" y="241"/>
                  </a:cubicBezTo>
                  <a:cubicBezTo>
                    <a:pt x="104" y="239"/>
                    <a:pt x="106" y="238"/>
                    <a:pt x="107" y="236"/>
                  </a:cubicBezTo>
                  <a:cubicBezTo>
                    <a:pt x="107" y="235"/>
                    <a:pt x="108" y="234"/>
                    <a:pt x="108" y="232"/>
                  </a:cubicBezTo>
                  <a:cubicBezTo>
                    <a:pt x="109" y="232"/>
                    <a:pt x="109" y="232"/>
                    <a:pt x="109" y="232"/>
                  </a:cubicBezTo>
                  <a:cubicBezTo>
                    <a:pt x="109" y="231"/>
                    <a:pt x="110" y="229"/>
                    <a:pt x="111" y="228"/>
                  </a:cubicBezTo>
                  <a:cubicBezTo>
                    <a:pt x="111" y="226"/>
                    <a:pt x="111" y="226"/>
                    <a:pt x="110" y="225"/>
                  </a:cubicBezTo>
                  <a:cubicBezTo>
                    <a:pt x="110" y="225"/>
                    <a:pt x="110" y="224"/>
                    <a:pt x="109" y="223"/>
                  </a:cubicBezTo>
                  <a:cubicBezTo>
                    <a:pt x="104" y="217"/>
                    <a:pt x="97" y="213"/>
                    <a:pt x="90" y="208"/>
                  </a:cubicBezTo>
                  <a:cubicBezTo>
                    <a:pt x="90" y="208"/>
                    <a:pt x="90" y="208"/>
                    <a:pt x="90" y="208"/>
                  </a:cubicBezTo>
                  <a:cubicBezTo>
                    <a:pt x="87" y="206"/>
                    <a:pt x="85" y="205"/>
                    <a:pt x="83" y="203"/>
                  </a:cubicBezTo>
                  <a:cubicBezTo>
                    <a:pt x="79" y="201"/>
                    <a:pt x="79" y="201"/>
                    <a:pt x="79" y="201"/>
                  </a:cubicBezTo>
                  <a:cubicBezTo>
                    <a:pt x="83" y="199"/>
                    <a:pt x="83" y="199"/>
                    <a:pt x="83" y="199"/>
                  </a:cubicBezTo>
                  <a:cubicBezTo>
                    <a:pt x="86" y="198"/>
                    <a:pt x="88" y="196"/>
                    <a:pt x="91" y="193"/>
                  </a:cubicBezTo>
                  <a:cubicBezTo>
                    <a:pt x="92" y="192"/>
                    <a:pt x="92" y="192"/>
                    <a:pt x="92" y="192"/>
                  </a:cubicBezTo>
                  <a:cubicBezTo>
                    <a:pt x="93" y="191"/>
                    <a:pt x="94" y="189"/>
                    <a:pt x="93" y="188"/>
                  </a:cubicBezTo>
                  <a:cubicBezTo>
                    <a:pt x="93" y="187"/>
                    <a:pt x="90" y="186"/>
                    <a:pt x="89" y="186"/>
                  </a:cubicBezTo>
                  <a:cubicBezTo>
                    <a:pt x="88" y="186"/>
                    <a:pt x="88" y="185"/>
                    <a:pt x="87" y="185"/>
                  </a:cubicBezTo>
                  <a:cubicBezTo>
                    <a:pt x="85" y="184"/>
                    <a:pt x="84" y="181"/>
                    <a:pt x="83" y="178"/>
                  </a:cubicBezTo>
                  <a:cubicBezTo>
                    <a:pt x="82" y="178"/>
                    <a:pt x="82" y="178"/>
                    <a:pt x="82" y="178"/>
                  </a:cubicBezTo>
                  <a:cubicBezTo>
                    <a:pt x="82" y="177"/>
                    <a:pt x="82" y="177"/>
                    <a:pt x="82" y="177"/>
                  </a:cubicBezTo>
                  <a:cubicBezTo>
                    <a:pt x="81" y="174"/>
                    <a:pt x="81" y="174"/>
                    <a:pt x="81" y="174"/>
                  </a:cubicBezTo>
                  <a:cubicBezTo>
                    <a:pt x="83" y="173"/>
                    <a:pt x="83" y="173"/>
                    <a:pt x="83" y="173"/>
                  </a:cubicBezTo>
                  <a:cubicBezTo>
                    <a:pt x="83" y="173"/>
                    <a:pt x="84" y="173"/>
                    <a:pt x="84" y="173"/>
                  </a:cubicBezTo>
                  <a:cubicBezTo>
                    <a:pt x="85" y="173"/>
                    <a:pt x="85" y="173"/>
                    <a:pt x="85" y="173"/>
                  </a:cubicBezTo>
                  <a:cubicBezTo>
                    <a:pt x="85" y="173"/>
                    <a:pt x="85" y="173"/>
                    <a:pt x="85" y="173"/>
                  </a:cubicBezTo>
                  <a:cubicBezTo>
                    <a:pt x="84" y="172"/>
                    <a:pt x="83" y="172"/>
                    <a:pt x="82" y="172"/>
                  </a:cubicBezTo>
                  <a:cubicBezTo>
                    <a:pt x="78" y="171"/>
                    <a:pt x="75" y="168"/>
                    <a:pt x="75" y="165"/>
                  </a:cubicBezTo>
                  <a:cubicBezTo>
                    <a:pt x="74" y="161"/>
                    <a:pt x="77" y="159"/>
                    <a:pt x="78" y="159"/>
                  </a:cubicBezTo>
                  <a:cubicBezTo>
                    <a:pt x="78" y="158"/>
                    <a:pt x="78" y="158"/>
                    <a:pt x="78" y="158"/>
                  </a:cubicBezTo>
                  <a:cubicBezTo>
                    <a:pt x="77" y="158"/>
                    <a:pt x="77" y="158"/>
                    <a:pt x="77" y="158"/>
                  </a:cubicBezTo>
                  <a:cubicBezTo>
                    <a:pt x="74" y="157"/>
                    <a:pt x="75" y="154"/>
                    <a:pt x="75" y="152"/>
                  </a:cubicBezTo>
                  <a:cubicBezTo>
                    <a:pt x="75" y="151"/>
                    <a:pt x="75" y="151"/>
                    <a:pt x="75" y="151"/>
                  </a:cubicBezTo>
                  <a:cubicBezTo>
                    <a:pt x="76" y="151"/>
                    <a:pt x="76" y="151"/>
                    <a:pt x="76" y="151"/>
                  </a:cubicBezTo>
                  <a:cubicBezTo>
                    <a:pt x="76" y="150"/>
                    <a:pt x="76" y="150"/>
                    <a:pt x="76" y="150"/>
                  </a:cubicBezTo>
                  <a:cubicBezTo>
                    <a:pt x="76" y="149"/>
                    <a:pt x="77" y="147"/>
                    <a:pt x="77" y="145"/>
                  </a:cubicBezTo>
                  <a:cubicBezTo>
                    <a:pt x="77" y="145"/>
                    <a:pt x="77" y="145"/>
                    <a:pt x="77" y="145"/>
                  </a:cubicBezTo>
                  <a:cubicBezTo>
                    <a:pt x="75" y="142"/>
                    <a:pt x="75" y="142"/>
                    <a:pt x="75" y="142"/>
                  </a:cubicBezTo>
                  <a:cubicBezTo>
                    <a:pt x="78" y="141"/>
                    <a:pt x="78" y="141"/>
                    <a:pt x="78" y="141"/>
                  </a:cubicBezTo>
                  <a:cubicBezTo>
                    <a:pt x="80" y="140"/>
                    <a:pt x="81" y="140"/>
                    <a:pt x="83" y="140"/>
                  </a:cubicBezTo>
                  <a:cubicBezTo>
                    <a:pt x="74" y="118"/>
                    <a:pt x="74" y="118"/>
                    <a:pt x="74" y="118"/>
                  </a:cubicBezTo>
                  <a:cubicBezTo>
                    <a:pt x="73" y="116"/>
                    <a:pt x="71" y="113"/>
                    <a:pt x="70" y="111"/>
                  </a:cubicBezTo>
                  <a:cubicBezTo>
                    <a:pt x="69" y="111"/>
                    <a:pt x="69" y="110"/>
                    <a:pt x="68" y="110"/>
                  </a:cubicBezTo>
                  <a:cubicBezTo>
                    <a:pt x="68" y="109"/>
                    <a:pt x="68" y="109"/>
                    <a:pt x="68" y="109"/>
                  </a:cubicBezTo>
                  <a:cubicBezTo>
                    <a:pt x="67" y="109"/>
                    <a:pt x="67" y="109"/>
                    <a:pt x="67" y="109"/>
                  </a:cubicBezTo>
                  <a:cubicBezTo>
                    <a:pt x="67" y="108"/>
                    <a:pt x="65" y="107"/>
                    <a:pt x="65" y="106"/>
                  </a:cubicBezTo>
                  <a:cubicBezTo>
                    <a:pt x="64" y="105"/>
                    <a:pt x="64" y="104"/>
                    <a:pt x="64" y="103"/>
                  </a:cubicBezTo>
                  <a:cubicBezTo>
                    <a:pt x="64" y="101"/>
                    <a:pt x="64" y="100"/>
                    <a:pt x="65" y="99"/>
                  </a:cubicBezTo>
                  <a:cubicBezTo>
                    <a:pt x="81" y="78"/>
                    <a:pt x="81" y="78"/>
                    <a:pt x="81" y="78"/>
                  </a:cubicBezTo>
                  <a:cubicBezTo>
                    <a:pt x="80" y="78"/>
                    <a:pt x="79" y="77"/>
                    <a:pt x="78" y="76"/>
                  </a:cubicBezTo>
                  <a:cubicBezTo>
                    <a:pt x="78" y="76"/>
                    <a:pt x="78" y="76"/>
                    <a:pt x="77" y="76"/>
                  </a:cubicBezTo>
                  <a:cubicBezTo>
                    <a:pt x="76" y="74"/>
                    <a:pt x="74" y="72"/>
                    <a:pt x="73" y="71"/>
                  </a:cubicBezTo>
                  <a:cubicBezTo>
                    <a:pt x="72" y="69"/>
                    <a:pt x="71" y="67"/>
                    <a:pt x="68" y="66"/>
                  </a:cubicBezTo>
                  <a:cubicBezTo>
                    <a:pt x="67" y="66"/>
                    <a:pt x="67" y="66"/>
                    <a:pt x="67" y="66"/>
                  </a:cubicBezTo>
                  <a:cubicBezTo>
                    <a:pt x="67" y="66"/>
                    <a:pt x="67" y="66"/>
                    <a:pt x="66" y="66"/>
                  </a:cubicBezTo>
                  <a:cubicBezTo>
                    <a:pt x="66" y="66"/>
                    <a:pt x="66" y="66"/>
                    <a:pt x="66" y="66"/>
                  </a:cubicBezTo>
                  <a:cubicBezTo>
                    <a:pt x="63" y="65"/>
                    <a:pt x="60" y="64"/>
                    <a:pt x="58" y="63"/>
                  </a:cubicBezTo>
                  <a:cubicBezTo>
                    <a:pt x="56" y="61"/>
                    <a:pt x="56" y="59"/>
                    <a:pt x="55" y="56"/>
                  </a:cubicBezTo>
                  <a:cubicBezTo>
                    <a:pt x="55" y="56"/>
                    <a:pt x="55" y="56"/>
                    <a:pt x="55" y="56"/>
                  </a:cubicBezTo>
                  <a:cubicBezTo>
                    <a:pt x="54" y="55"/>
                    <a:pt x="54" y="55"/>
                    <a:pt x="54" y="54"/>
                  </a:cubicBezTo>
                  <a:cubicBezTo>
                    <a:pt x="53" y="51"/>
                    <a:pt x="54" y="49"/>
                    <a:pt x="55" y="46"/>
                  </a:cubicBezTo>
                  <a:cubicBezTo>
                    <a:pt x="55" y="46"/>
                    <a:pt x="55" y="46"/>
                    <a:pt x="55" y="46"/>
                  </a:cubicBezTo>
                  <a:cubicBezTo>
                    <a:pt x="55" y="46"/>
                    <a:pt x="56" y="45"/>
                    <a:pt x="56" y="45"/>
                  </a:cubicBezTo>
                  <a:cubicBezTo>
                    <a:pt x="56" y="44"/>
                    <a:pt x="56" y="44"/>
                    <a:pt x="56" y="44"/>
                  </a:cubicBezTo>
                  <a:cubicBezTo>
                    <a:pt x="56" y="43"/>
                    <a:pt x="57" y="42"/>
                    <a:pt x="57" y="41"/>
                  </a:cubicBezTo>
                  <a:cubicBezTo>
                    <a:pt x="57" y="41"/>
                    <a:pt x="57" y="41"/>
                    <a:pt x="57" y="41"/>
                  </a:cubicBezTo>
                  <a:cubicBezTo>
                    <a:pt x="56" y="41"/>
                    <a:pt x="54" y="41"/>
                    <a:pt x="53" y="40"/>
                  </a:cubicBezTo>
                  <a:cubicBezTo>
                    <a:pt x="49" y="38"/>
                    <a:pt x="49" y="38"/>
                    <a:pt x="49" y="38"/>
                  </a:cubicBezTo>
                  <a:cubicBezTo>
                    <a:pt x="53" y="36"/>
                    <a:pt x="53" y="36"/>
                    <a:pt x="53" y="36"/>
                  </a:cubicBezTo>
                  <a:cubicBezTo>
                    <a:pt x="55" y="35"/>
                    <a:pt x="56" y="35"/>
                    <a:pt x="58" y="34"/>
                  </a:cubicBezTo>
                  <a:cubicBezTo>
                    <a:pt x="61" y="33"/>
                    <a:pt x="61" y="33"/>
                    <a:pt x="61" y="33"/>
                  </a:cubicBezTo>
                  <a:cubicBezTo>
                    <a:pt x="61" y="33"/>
                    <a:pt x="62" y="33"/>
                    <a:pt x="62" y="33"/>
                  </a:cubicBezTo>
                  <a:cubicBezTo>
                    <a:pt x="62" y="33"/>
                    <a:pt x="62" y="33"/>
                    <a:pt x="62" y="33"/>
                  </a:cubicBezTo>
                  <a:cubicBezTo>
                    <a:pt x="63" y="33"/>
                    <a:pt x="63" y="33"/>
                    <a:pt x="63" y="33"/>
                  </a:cubicBezTo>
                  <a:cubicBezTo>
                    <a:pt x="62" y="32"/>
                    <a:pt x="62" y="32"/>
                    <a:pt x="62" y="32"/>
                  </a:cubicBezTo>
                  <a:cubicBezTo>
                    <a:pt x="62" y="32"/>
                    <a:pt x="62" y="32"/>
                    <a:pt x="62" y="32"/>
                  </a:cubicBezTo>
                  <a:cubicBezTo>
                    <a:pt x="62" y="32"/>
                    <a:pt x="62" y="32"/>
                    <a:pt x="62" y="32"/>
                  </a:cubicBezTo>
                  <a:cubicBezTo>
                    <a:pt x="62" y="31"/>
                    <a:pt x="62" y="31"/>
                    <a:pt x="62" y="31"/>
                  </a:cubicBezTo>
                  <a:cubicBezTo>
                    <a:pt x="62" y="31"/>
                    <a:pt x="62" y="30"/>
                    <a:pt x="62" y="29"/>
                  </a:cubicBezTo>
                  <a:cubicBezTo>
                    <a:pt x="62" y="29"/>
                    <a:pt x="62" y="28"/>
                    <a:pt x="62" y="27"/>
                  </a:cubicBezTo>
                  <a:cubicBezTo>
                    <a:pt x="62" y="27"/>
                    <a:pt x="62" y="26"/>
                    <a:pt x="63" y="25"/>
                  </a:cubicBezTo>
                  <a:cubicBezTo>
                    <a:pt x="64" y="23"/>
                    <a:pt x="64" y="23"/>
                    <a:pt x="64" y="23"/>
                  </a:cubicBezTo>
                  <a:cubicBezTo>
                    <a:pt x="65" y="23"/>
                    <a:pt x="66" y="22"/>
                    <a:pt x="66" y="21"/>
                  </a:cubicBezTo>
                  <a:cubicBezTo>
                    <a:pt x="67" y="20"/>
                    <a:pt x="68" y="19"/>
                    <a:pt x="68" y="19"/>
                  </a:cubicBezTo>
                  <a:cubicBezTo>
                    <a:pt x="68" y="18"/>
                    <a:pt x="68" y="18"/>
                    <a:pt x="68" y="18"/>
                  </a:cubicBezTo>
                  <a:cubicBezTo>
                    <a:pt x="69" y="18"/>
                    <a:pt x="69" y="17"/>
                    <a:pt x="69" y="17"/>
                  </a:cubicBezTo>
                  <a:cubicBezTo>
                    <a:pt x="68" y="16"/>
                    <a:pt x="65" y="14"/>
                    <a:pt x="62" y="12"/>
                  </a:cubicBezTo>
                  <a:cubicBezTo>
                    <a:pt x="61" y="11"/>
                    <a:pt x="59" y="11"/>
                    <a:pt x="58" y="10"/>
                  </a:cubicBezTo>
                  <a:cubicBezTo>
                    <a:pt x="55" y="9"/>
                    <a:pt x="55" y="9"/>
                    <a:pt x="55" y="9"/>
                  </a:cubicBezTo>
                  <a:cubicBezTo>
                    <a:pt x="52" y="7"/>
                    <a:pt x="51" y="7"/>
                    <a:pt x="50" y="6"/>
                  </a:cubicBezTo>
                  <a:cubicBezTo>
                    <a:pt x="49" y="5"/>
                    <a:pt x="49" y="5"/>
                    <a:pt x="48" y="5"/>
                  </a:cubicBezTo>
                  <a:cubicBezTo>
                    <a:pt x="48" y="4"/>
                    <a:pt x="48" y="4"/>
                    <a:pt x="48" y="4"/>
                  </a:cubicBezTo>
                  <a:cubicBezTo>
                    <a:pt x="47" y="4"/>
                    <a:pt x="47" y="4"/>
                    <a:pt x="47" y="4"/>
                  </a:cubicBezTo>
                  <a:cubicBezTo>
                    <a:pt x="45" y="2"/>
                    <a:pt x="43"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458"/>
            <p:cNvSpPr/>
            <p:nvPr/>
          </p:nvSpPr>
          <p:spPr bwMode="auto">
            <a:xfrm>
              <a:off x="900922" y="3897990"/>
              <a:ext cx="396130" cy="169181"/>
            </a:xfrm>
            <a:custGeom>
              <a:gdLst>
                <a:gd name="T0" fmla="*/ 0 w 122"/>
                <a:gd name="T1" fmla="*/ 3 h 52"/>
                <a:gd name="T2" fmla="*/ 8 w 122"/>
                <a:gd name="T3" fmla="*/ 8 h 52"/>
                <a:gd name="T4" fmla="*/ 27 w 122"/>
                <a:gd name="T5" fmla="*/ 22 h 52"/>
                <a:gd name="T6" fmla="*/ 31 w 122"/>
                <a:gd name="T7" fmla="*/ 38 h 52"/>
                <a:gd name="T8" fmla="*/ 28 w 122"/>
                <a:gd name="T9" fmla="*/ 43 h 52"/>
                <a:gd name="T10" fmla="*/ 33 w 122"/>
                <a:gd name="T11" fmla="*/ 43 h 52"/>
                <a:gd name="T12" fmla="*/ 37 w 122"/>
                <a:gd name="T13" fmla="*/ 43 h 52"/>
                <a:gd name="T14" fmla="*/ 44 w 122"/>
                <a:gd name="T15" fmla="*/ 44 h 52"/>
                <a:gd name="T16" fmla="*/ 49 w 122"/>
                <a:gd name="T17" fmla="*/ 41 h 52"/>
                <a:gd name="T18" fmla="*/ 55 w 122"/>
                <a:gd name="T19" fmla="*/ 45 h 52"/>
                <a:gd name="T20" fmla="*/ 56 w 122"/>
                <a:gd name="T21" fmla="*/ 45 h 52"/>
                <a:gd name="T22" fmla="*/ 57 w 122"/>
                <a:gd name="T23" fmla="*/ 46 h 52"/>
                <a:gd name="T24" fmla="*/ 61 w 122"/>
                <a:gd name="T25" fmla="*/ 49 h 52"/>
                <a:gd name="T26" fmla="*/ 64 w 122"/>
                <a:gd name="T27" fmla="*/ 51 h 52"/>
                <a:gd name="T28" fmla="*/ 65 w 122"/>
                <a:gd name="T29" fmla="*/ 52 h 52"/>
                <a:gd name="T30" fmla="*/ 67 w 122"/>
                <a:gd name="T31" fmla="*/ 52 h 52"/>
                <a:gd name="T32" fmla="*/ 83 w 122"/>
                <a:gd name="T33" fmla="*/ 50 h 52"/>
                <a:gd name="T34" fmla="*/ 86 w 122"/>
                <a:gd name="T35" fmla="*/ 50 h 52"/>
                <a:gd name="T36" fmla="*/ 88 w 122"/>
                <a:gd name="T37" fmla="*/ 50 h 52"/>
                <a:gd name="T38" fmla="*/ 88 w 122"/>
                <a:gd name="T39" fmla="*/ 49 h 52"/>
                <a:gd name="T40" fmla="*/ 95 w 122"/>
                <a:gd name="T41" fmla="*/ 47 h 52"/>
                <a:gd name="T42" fmla="*/ 99 w 122"/>
                <a:gd name="T43" fmla="*/ 44 h 52"/>
                <a:gd name="T44" fmla="*/ 106 w 122"/>
                <a:gd name="T45" fmla="*/ 47 h 52"/>
                <a:gd name="T46" fmla="*/ 109 w 122"/>
                <a:gd name="T47" fmla="*/ 49 h 52"/>
                <a:gd name="T48" fmla="*/ 120 w 122"/>
                <a:gd name="T49" fmla="*/ 52 h 52"/>
                <a:gd name="T50" fmla="*/ 122 w 122"/>
                <a:gd name="T51" fmla="*/ 50 h 52"/>
                <a:gd name="T52" fmla="*/ 115 w 122"/>
                <a:gd name="T53" fmla="*/ 45 h 52"/>
                <a:gd name="T54" fmla="*/ 117 w 122"/>
                <a:gd name="T55" fmla="*/ 38 h 52"/>
                <a:gd name="T56" fmla="*/ 105 w 122"/>
                <a:gd name="T57" fmla="*/ 32 h 52"/>
                <a:gd name="T58" fmla="*/ 104 w 122"/>
                <a:gd name="T59" fmla="*/ 25 h 52"/>
                <a:gd name="T60" fmla="*/ 92 w 122"/>
                <a:gd name="T61" fmla="*/ 20 h 52"/>
                <a:gd name="T62" fmla="*/ 90 w 122"/>
                <a:gd name="T63" fmla="*/ 27 h 52"/>
                <a:gd name="T64" fmla="*/ 85 w 122"/>
                <a:gd name="T65" fmla="*/ 20 h 52"/>
                <a:gd name="T66" fmla="*/ 80 w 122"/>
                <a:gd name="T67" fmla="*/ 21 h 52"/>
                <a:gd name="T68" fmla="*/ 72 w 122"/>
                <a:gd name="T69" fmla="*/ 23 h 52"/>
                <a:gd name="T70" fmla="*/ 66 w 122"/>
                <a:gd name="T71" fmla="*/ 19 h 52"/>
                <a:gd name="T72" fmla="*/ 67 w 122"/>
                <a:gd name="T73" fmla="*/ 18 h 52"/>
                <a:gd name="T74" fmla="*/ 44 w 122"/>
                <a:gd name="T75" fmla="*/ 8 h 52"/>
                <a:gd name="T76" fmla="*/ 37 w 122"/>
                <a:gd name="T77" fmla="*/ 9 h 52"/>
                <a:gd name="T78" fmla="*/ 9 w 122"/>
                <a:gd name="T79" fmla="*/ 1 h 52"/>
                <a:gd name="T80" fmla="*/ 7 w 122"/>
                <a:gd name="T81" fmla="*/ 2 h 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2" h="52">
                  <a:moveTo>
                    <a:pt x="1" y="0"/>
                  </a:moveTo>
                  <a:cubicBezTo>
                    <a:pt x="1" y="1"/>
                    <a:pt x="0" y="2"/>
                    <a:pt x="0" y="3"/>
                  </a:cubicBezTo>
                  <a:cubicBezTo>
                    <a:pt x="0" y="4"/>
                    <a:pt x="0" y="4"/>
                    <a:pt x="0" y="4"/>
                  </a:cubicBezTo>
                  <a:cubicBezTo>
                    <a:pt x="2" y="6"/>
                    <a:pt x="5" y="7"/>
                    <a:pt x="8" y="8"/>
                  </a:cubicBezTo>
                  <a:cubicBezTo>
                    <a:pt x="12" y="9"/>
                    <a:pt x="17" y="10"/>
                    <a:pt x="19" y="14"/>
                  </a:cubicBezTo>
                  <a:cubicBezTo>
                    <a:pt x="20" y="18"/>
                    <a:pt x="26" y="17"/>
                    <a:pt x="27" y="22"/>
                  </a:cubicBezTo>
                  <a:cubicBezTo>
                    <a:pt x="27" y="24"/>
                    <a:pt x="28" y="31"/>
                    <a:pt x="31" y="31"/>
                  </a:cubicBezTo>
                  <a:cubicBezTo>
                    <a:pt x="29" y="33"/>
                    <a:pt x="32" y="35"/>
                    <a:pt x="31" y="38"/>
                  </a:cubicBezTo>
                  <a:cubicBezTo>
                    <a:pt x="30" y="40"/>
                    <a:pt x="30" y="41"/>
                    <a:pt x="28" y="43"/>
                  </a:cubicBezTo>
                  <a:cubicBezTo>
                    <a:pt x="28" y="43"/>
                    <a:pt x="28" y="43"/>
                    <a:pt x="28" y="43"/>
                  </a:cubicBezTo>
                  <a:cubicBezTo>
                    <a:pt x="29" y="43"/>
                    <a:pt x="30" y="44"/>
                    <a:pt x="31" y="44"/>
                  </a:cubicBezTo>
                  <a:cubicBezTo>
                    <a:pt x="31" y="44"/>
                    <a:pt x="32" y="43"/>
                    <a:pt x="33" y="43"/>
                  </a:cubicBezTo>
                  <a:cubicBezTo>
                    <a:pt x="34" y="43"/>
                    <a:pt x="34" y="43"/>
                    <a:pt x="35" y="43"/>
                  </a:cubicBezTo>
                  <a:cubicBezTo>
                    <a:pt x="36" y="43"/>
                    <a:pt x="36" y="43"/>
                    <a:pt x="37" y="43"/>
                  </a:cubicBezTo>
                  <a:cubicBezTo>
                    <a:pt x="38" y="44"/>
                    <a:pt x="38" y="44"/>
                    <a:pt x="38" y="44"/>
                  </a:cubicBezTo>
                  <a:cubicBezTo>
                    <a:pt x="40" y="44"/>
                    <a:pt x="42" y="44"/>
                    <a:pt x="44" y="44"/>
                  </a:cubicBezTo>
                  <a:cubicBezTo>
                    <a:pt x="45" y="43"/>
                    <a:pt x="46" y="42"/>
                    <a:pt x="47" y="42"/>
                  </a:cubicBezTo>
                  <a:cubicBezTo>
                    <a:pt x="48" y="41"/>
                    <a:pt x="48" y="41"/>
                    <a:pt x="49" y="41"/>
                  </a:cubicBezTo>
                  <a:cubicBezTo>
                    <a:pt x="51" y="41"/>
                    <a:pt x="54" y="42"/>
                    <a:pt x="55" y="45"/>
                  </a:cubicBezTo>
                  <a:cubicBezTo>
                    <a:pt x="55" y="45"/>
                    <a:pt x="55" y="45"/>
                    <a:pt x="55" y="45"/>
                  </a:cubicBezTo>
                  <a:cubicBezTo>
                    <a:pt x="55" y="45"/>
                    <a:pt x="55" y="45"/>
                    <a:pt x="55" y="45"/>
                  </a:cubicBezTo>
                  <a:cubicBezTo>
                    <a:pt x="56" y="45"/>
                    <a:pt x="56" y="45"/>
                    <a:pt x="56" y="45"/>
                  </a:cubicBezTo>
                  <a:cubicBezTo>
                    <a:pt x="56" y="45"/>
                    <a:pt x="56" y="46"/>
                    <a:pt x="57" y="46"/>
                  </a:cubicBezTo>
                  <a:cubicBezTo>
                    <a:pt x="57" y="46"/>
                    <a:pt x="57" y="46"/>
                    <a:pt x="57" y="46"/>
                  </a:cubicBezTo>
                  <a:cubicBezTo>
                    <a:pt x="58" y="47"/>
                    <a:pt x="58" y="47"/>
                    <a:pt x="58" y="47"/>
                  </a:cubicBezTo>
                  <a:cubicBezTo>
                    <a:pt x="59" y="48"/>
                    <a:pt x="60" y="48"/>
                    <a:pt x="61" y="49"/>
                  </a:cubicBezTo>
                  <a:cubicBezTo>
                    <a:pt x="62" y="50"/>
                    <a:pt x="62" y="50"/>
                    <a:pt x="62" y="50"/>
                  </a:cubicBezTo>
                  <a:cubicBezTo>
                    <a:pt x="63" y="50"/>
                    <a:pt x="63" y="51"/>
                    <a:pt x="64" y="51"/>
                  </a:cubicBezTo>
                  <a:cubicBezTo>
                    <a:pt x="65" y="52"/>
                    <a:pt x="65" y="52"/>
                    <a:pt x="65" y="52"/>
                  </a:cubicBezTo>
                  <a:cubicBezTo>
                    <a:pt x="65" y="52"/>
                    <a:pt x="65" y="52"/>
                    <a:pt x="65" y="52"/>
                  </a:cubicBezTo>
                  <a:cubicBezTo>
                    <a:pt x="65" y="52"/>
                    <a:pt x="65" y="52"/>
                    <a:pt x="65" y="52"/>
                  </a:cubicBezTo>
                  <a:cubicBezTo>
                    <a:pt x="67" y="52"/>
                    <a:pt x="67" y="52"/>
                    <a:pt x="67" y="52"/>
                  </a:cubicBezTo>
                  <a:cubicBezTo>
                    <a:pt x="71" y="51"/>
                    <a:pt x="75" y="51"/>
                    <a:pt x="79" y="50"/>
                  </a:cubicBezTo>
                  <a:cubicBezTo>
                    <a:pt x="80" y="50"/>
                    <a:pt x="81" y="50"/>
                    <a:pt x="83" y="50"/>
                  </a:cubicBezTo>
                  <a:cubicBezTo>
                    <a:pt x="84" y="50"/>
                    <a:pt x="84" y="50"/>
                    <a:pt x="85" y="50"/>
                  </a:cubicBezTo>
                  <a:cubicBezTo>
                    <a:pt x="86" y="50"/>
                    <a:pt x="86" y="50"/>
                    <a:pt x="86" y="50"/>
                  </a:cubicBezTo>
                  <a:cubicBezTo>
                    <a:pt x="86" y="50"/>
                    <a:pt x="87" y="50"/>
                    <a:pt x="88" y="50"/>
                  </a:cubicBezTo>
                  <a:cubicBezTo>
                    <a:pt x="88" y="50"/>
                    <a:pt x="88" y="50"/>
                    <a:pt x="88" y="50"/>
                  </a:cubicBezTo>
                  <a:cubicBezTo>
                    <a:pt x="89" y="50"/>
                    <a:pt x="89" y="50"/>
                    <a:pt x="89" y="50"/>
                  </a:cubicBezTo>
                  <a:cubicBezTo>
                    <a:pt x="88" y="49"/>
                    <a:pt x="88" y="49"/>
                    <a:pt x="88" y="49"/>
                  </a:cubicBezTo>
                  <a:cubicBezTo>
                    <a:pt x="92" y="48"/>
                    <a:pt x="92" y="48"/>
                    <a:pt x="92" y="48"/>
                  </a:cubicBezTo>
                  <a:cubicBezTo>
                    <a:pt x="93" y="48"/>
                    <a:pt x="94" y="47"/>
                    <a:pt x="95" y="47"/>
                  </a:cubicBezTo>
                  <a:cubicBezTo>
                    <a:pt x="96" y="45"/>
                    <a:pt x="96" y="45"/>
                    <a:pt x="96" y="45"/>
                  </a:cubicBezTo>
                  <a:cubicBezTo>
                    <a:pt x="97" y="45"/>
                    <a:pt x="98" y="44"/>
                    <a:pt x="99" y="44"/>
                  </a:cubicBezTo>
                  <a:cubicBezTo>
                    <a:pt x="100" y="44"/>
                    <a:pt x="100" y="44"/>
                    <a:pt x="100" y="45"/>
                  </a:cubicBezTo>
                  <a:cubicBezTo>
                    <a:pt x="103" y="45"/>
                    <a:pt x="104" y="46"/>
                    <a:pt x="106" y="47"/>
                  </a:cubicBezTo>
                  <a:cubicBezTo>
                    <a:pt x="106" y="48"/>
                    <a:pt x="106" y="48"/>
                    <a:pt x="106" y="48"/>
                  </a:cubicBezTo>
                  <a:cubicBezTo>
                    <a:pt x="107" y="48"/>
                    <a:pt x="108" y="49"/>
                    <a:pt x="109" y="49"/>
                  </a:cubicBezTo>
                  <a:cubicBezTo>
                    <a:pt x="109" y="49"/>
                    <a:pt x="109" y="50"/>
                    <a:pt x="110" y="50"/>
                  </a:cubicBezTo>
                  <a:cubicBezTo>
                    <a:pt x="113" y="51"/>
                    <a:pt x="117" y="51"/>
                    <a:pt x="120" y="52"/>
                  </a:cubicBezTo>
                  <a:cubicBezTo>
                    <a:pt x="121" y="52"/>
                    <a:pt x="121" y="52"/>
                    <a:pt x="122" y="52"/>
                  </a:cubicBezTo>
                  <a:cubicBezTo>
                    <a:pt x="122" y="50"/>
                    <a:pt x="122" y="50"/>
                    <a:pt x="122" y="50"/>
                  </a:cubicBezTo>
                  <a:cubicBezTo>
                    <a:pt x="120" y="49"/>
                    <a:pt x="119" y="48"/>
                    <a:pt x="118" y="47"/>
                  </a:cubicBezTo>
                  <a:cubicBezTo>
                    <a:pt x="117" y="46"/>
                    <a:pt x="116" y="45"/>
                    <a:pt x="115" y="45"/>
                  </a:cubicBezTo>
                  <a:cubicBezTo>
                    <a:pt x="113" y="44"/>
                    <a:pt x="113" y="44"/>
                    <a:pt x="113" y="44"/>
                  </a:cubicBezTo>
                  <a:cubicBezTo>
                    <a:pt x="117" y="38"/>
                    <a:pt x="117" y="38"/>
                    <a:pt x="117" y="38"/>
                  </a:cubicBezTo>
                  <a:cubicBezTo>
                    <a:pt x="116" y="37"/>
                    <a:pt x="116" y="37"/>
                    <a:pt x="116" y="37"/>
                  </a:cubicBezTo>
                  <a:cubicBezTo>
                    <a:pt x="112" y="36"/>
                    <a:pt x="105" y="32"/>
                    <a:pt x="105" y="32"/>
                  </a:cubicBezTo>
                  <a:cubicBezTo>
                    <a:pt x="104" y="32"/>
                    <a:pt x="104" y="31"/>
                    <a:pt x="103" y="30"/>
                  </a:cubicBezTo>
                  <a:cubicBezTo>
                    <a:pt x="103" y="28"/>
                    <a:pt x="103" y="27"/>
                    <a:pt x="104" y="25"/>
                  </a:cubicBezTo>
                  <a:cubicBezTo>
                    <a:pt x="100" y="24"/>
                    <a:pt x="95" y="22"/>
                    <a:pt x="93" y="20"/>
                  </a:cubicBezTo>
                  <a:cubicBezTo>
                    <a:pt x="92" y="20"/>
                    <a:pt x="92" y="20"/>
                    <a:pt x="92" y="20"/>
                  </a:cubicBezTo>
                  <a:cubicBezTo>
                    <a:pt x="92" y="20"/>
                    <a:pt x="92" y="20"/>
                    <a:pt x="92" y="21"/>
                  </a:cubicBezTo>
                  <a:cubicBezTo>
                    <a:pt x="90" y="27"/>
                    <a:pt x="90" y="27"/>
                    <a:pt x="90" y="27"/>
                  </a:cubicBezTo>
                  <a:cubicBezTo>
                    <a:pt x="87" y="21"/>
                    <a:pt x="87" y="21"/>
                    <a:pt x="87" y="21"/>
                  </a:cubicBezTo>
                  <a:cubicBezTo>
                    <a:pt x="87" y="20"/>
                    <a:pt x="86" y="20"/>
                    <a:pt x="85" y="20"/>
                  </a:cubicBezTo>
                  <a:cubicBezTo>
                    <a:pt x="85" y="20"/>
                    <a:pt x="85" y="20"/>
                    <a:pt x="85" y="20"/>
                  </a:cubicBezTo>
                  <a:cubicBezTo>
                    <a:pt x="83" y="20"/>
                    <a:pt x="82" y="20"/>
                    <a:pt x="80" y="21"/>
                  </a:cubicBezTo>
                  <a:cubicBezTo>
                    <a:pt x="78" y="23"/>
                    <a:pt x="75" y="23"/>
                    <a:pt x="74" y="23"/>
                  </a:cubicBezTo>
                  <a:cubicBezTo>
                    <a:pt x="73" y="23"/>
                    <a:pt x="72" y="23"/>
                    <a:pt x="72" y="23"/>
                  </a:cubicBezTo>
                  <a:cubicBezTo>
                    <a:pt x="72" y="23"/>
                    <a:pt x="68" y="22"/>
                    <a:pt x="67" y="20"/>
                  </a:cubicBezTo>
                  <a:cubicBezTo>
                    <a:pt x="66" y="19"/>
                    <a:pt x="66" y="19"/>
                    <a:pt x="66" y="19"/>
                  </a:cubicBezTo>
                  <a:cubicBezTo>
                    <a:pt x="67" y="18"/>
                    <a:pt x="67" y="18"/>
                    <a:pt x="67" y="18"/>
                  </a:cubicBezTo>
                  <a:cubicBezTo>
                    <a:pt x="67" y="18"/>
                    <a:pt x="67" y="18"/>
                    <a:pt x="67" y="18"/>
                  </a:cubicBezTo>
                  <a:cubicBezTo>
                    <a:pt x="63" y="17"/>
                    <a:pt x="54" y="13"/>
                    <a:pt x="52" y="11"/>
                  </a:cubicBezTo>
                  <a:cubicBezTo>
                    <a:pt x="52" y="10"/>
                    <a:pt x="48" y="8"/>
                    <a:pt x="44" y="8"/>
                  </a:cubicBezTo>
                  <a:cubicBezTo>
                    <a:pt x="43" y="8"/>
                    <a:pt x="42" y="8"/>
                    <a:pt x="41" y="9"/>
                  </a:cubicBezTo>
                  <a:cubicBezTo>
                    <a:pt x="40" y="9"/>
                    <a:pt x="39" y="9"/>
                    <a:pt x="37" y="9"/>
                  </a:cubicBezTo>
                  <a:cubicBezTo>
                    <a:pt x="30" y="9"/>
                    <a:pt x="17" y="5"/>
                    <a:pt x="14" y="3"/>
                  </a:cubicBezTo>
                  <a:cubicBezTo>
                    <a:pt x="13" y="2"/>
                    <a:pt x="10" y="1"/>
                    <a:pt x="9" y="1"/>
                  </a:cubicBezTo>
                  <a:cubicBezTo>
                    <a:pt x="9" y="1"/>
                    <a:pt x="9" y="1"/>
                    <a:pt x="9" y="1"/>
                  </a:cubicBezTo>
                  <a:cubicBezTo>
                    <a:pt x="9" y="2"/>
                    <a:pt x="8" y="2"/>
                    <a:pt x="7" y="2"/>
                  </a:cubicBezTo>
                  <a:cubicBezTo>
                    <a:pt x="5" y="2"/>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459"/>
            <p:cNvSpPr/>
            <p:nvPr/>
          </p:nvSpPr>
          <p:spPr bwMode="auto">
            <a:xfrm>
              <a:off x="2229608" y="3134616"/>
              <a:ext cx="13755" cy="2751"/>
            </a:xfrm>
            <a:custGeom>
              <a:gdLst>
                <a:gd name="T0" fmla="*/ 0 w 4"/>
                <a:gd name="T1" fmla="*/ 0 h 1"/>
                <a:gd name="T2" fmla="*/ 0 w 4"/>
                <a:gd name="T3" fmla="*/ 1 h 1"/>
                <a:gd name="T4" fmla="*/ 1 w 4"/>
                <a:gd name="T5" fmla="*/ 1 h 1"/>
                <a:gd name="T6" fmla="*/ 2 w 4"/>
                <a:gd name="T7" fmla="*/ 1 h 1"/>
                <a:gd name="T8" fmla="*/ 2 w 4"/>
                <a:gd name="T9" fmla="*/ 1 h 1"/>
                <a:gd name="T10" fmla="*/ 3 w 4"/>
                <a:gd name="T11" fmla="*/ 1 h 1"/>
                <a:gd name="T12" fmla="*/ 3 w 4"/>
                <a:gd name="T13" fmla="*/ 1 h 1"/>
                <a:gd name="T14" fmla="*/ 4 w 4"/>
                <a:gd name="T15" fmla="*/ 1 h 1"/>
                <a:gd name="T16" fmla="*/ 2 w 4"/>
                <a:gd name="T17" fmla="*/ 0 h 1"/>
                <a:gd name="T18" fmla="*/ 0 w 4"/>
                <a:gd name="T1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
                  <a:moveTo>
                    <a:pt x="0" y="0"/>
                  </a:moveTo>
                  <a:cubicBezTo>
                    <a:pt x="0" y="1"/>
                    <a:pt x="0" y="1"/>
                    <a:pt x="0" y="1"/>
                  </a:cubicBezTo>
                  <a:cubicBezTo>
                    <a:pt x="1" y="1"/>
                    <a:pt x="1" y="1"/>
                    <a:pt x="1" y="1"/>
                  </a:cubicBezTo>
                  <a:cubicBezTo>
                    <a:pt x="2" y="1"/>
                    <a:pt x="2" y="1"/>
                    <a:pt x="2" y="1"/>
                  </a:cubicBezTo>
                  <a:cubicBezTo>
                    <a:pt x="2" y="1"/>
                    <a:pt x="2" y="1"/>
                    <a:pt x="2" y="1"/>
                  </a:cubicBezTo>
                  <a:cubicBezTo>
                    <a:pt x="2" y="1"/>
                    <a:pt x="3" y="1"/>
                    <a:pt x="3" y="1"/>
                  </a:cubicBezTo>
                  <a:cubicBezTo>
                    <a:pt x="3" y="1"/>
                    <a:pt x="3" y="1"/>
                    <a:pt x="3" y="1"/>
                  </a:cubicBezTo>
                  <a:cubicBezTo>
                    <a:pt x="4" y="1"/>
                    <a:pt x="4" y="1"/>
                    <a:pt x="4" y="1"/>
                  </a:cubicBezTo>
                  <a:cubicBezTo>
                    <a:pt x="2" y="0"/>
                    <a:pt x="2" y="0"/>
                    <a:pt x="2" y="0"/>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460"/>
            <p:cNvSpPr/>
            <p:nvPr/>
          </p:nvSpPr>
          <p:spPr bwMode="auto">
            <a:xfrm>
              <a:off x="2486816" y="2998445"/>
              <a:ext cx="2751"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461"/>
            <p:cNvSpPr/>
            <p:nvPr/>
          </p:nvSpPr>
          <p:spPr bwMode="auto">
            <a:xfrm>
              <a:off x="2486816" y="2998445"/>
              <a:ext cx="2751"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462"/>
            <p:cNvSpPr/>
            <p:nvPr/>
          </p:nvSpPr>
          <p:spPr bwMode="auto">
            <a:xfrm>
              <a:off x="1466232" y="3683420"/>
              <a:ext cx="2751" cy="4127"/>
            </a:xfrm>
            <a:custGeom>
              <a:gdLst>
                <a:gd name="T0" fmla="*/ 0 w 1"/>
                <a:gd name="T1" fmla="*/ 0 h 1"/>
                <a:gd name="T2" fmla="*/ 0 w 1"/>
                <a:gd name="T3" fmla="*/ 0 h 1"/>
                <a:gd name="T4" fmla="*/ 1 w 1"/>
                <a:gd name="T5" fmla="*/ 1 h 1"/>
                <a:gd name="T6" fmla="*/ 0 w 1"/>
                <a:gd name="T7" fmla="*/ 0 h 1"/>
              </a:gd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Rectangle 463"/>
            <p:cNvSpPr>
              <a:spLocks noChangeArrowheads="1"/>
            </p:cNvSpPr>
            <p:nvPr/>
          </p:nvSpPr>
          <p:spPr bwMode="auto">
            <a:xfrm>
              <a:off x="1442850" y="3647658"/>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464"/>
            <p:cNvSpPr/>
            <p:nvPr/>
          </p:nvSpPr>
          <p:spPr bwMode="auto">
            <a:xfrm flipH="1">
              <a:off x="1442850" y="364765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468"/>
            <p:cNvSpPr>
              <a:spLocks noEditPoints="1"/>
            </p:cNvSpPr>
            <p:nvPr/>
          </p:nvSpPr>
          <p:spPr bwMode="auto">
            <a:xfrm>
              <a:off x="686351" y="2493655"/>
              <a:ext cx="8298096" cy="1265415"/>
            </a:xfrm>
            <a:custGeom>
              <a:gdLst>
                <a:gd name="T0" fmla="*/ 0 w 2553"/>
                <a:gd name="T1" fmla="*/ 389 h 389"/>
                <a:gd name="T2" fmla="*/ 0 w 2553"/>
                <a:gd name="T3" fmla="*/ 389 h 389"/>
                <a:gd name="T4" fmla="*/ 0 w 2553"/>
                <a:gd name="T5" fmla="*/ 389 h 389"/>
                <a:gd name="T6" fmla="*/ 397 w 2553"/>
                <a:gd name="T7" fmla="*/ 252 h 389"/>
                <a:gd name="T8" fmla="*/ 397 w 2553"/>
                <a:gd name="T9" fmla="*/ 252 h 389"/>
                <a:gd name="T10" fmla="*/ 397 w 2553"/>
                <a:gd name="T11" fmla="*/ 252 h 389"/>
                <a:gd name="T12" fmla="*/ 2553 w 2553"/>
                <a:gd name="T13" fmla="*/ 0 h 389"/>
                <a:gd name="T14" fmla="*/ 2553 w 2553"/>
                <a:gd name="T15" fmla="*/ 0 h 389"/>
                <a:gd name="T16" fmla="*/ 2553 w 2553"/>
                <a:gd name="T17" fmla="*/ 0 h 3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3" h="389">
                  <a:moveTo>
                    <a:pt x="0" y="389"/>
                  </a:moveTo>
                  <a:cubicBezTo>
                    <a:pt x="0" y="389"/>
                    <a:pt x="0" y="389"/>
                    <a:pt x="0" y="389"/>
                  </a:cubicBezTo>
                  <a:cubicBezTo>
                    <a:pt x="0" y="389"/>
                    <a:pt x="0" y="389"/>
                    <a:pt x="0" y="389"/>
                  </a:cubicBezTo>
                  <a:moveTo>
                    <a:pt x="397" y="252"/>
                  </a:moveTo>
                  <a:cubicBezTo>
                    <a:pt x="397" y="252"/>
                    <a:pt x="397" y="252"/>
                    <a:pt x="397" y="252"/>
                  </a:cubicBezTo>
                  <a:cubicBezTo>
                    <a:pt x="397" y="252"/>
                    <a:pt x="397" y="252"/>
                    <a:pt x="397" y="252"/>
                  </a:cubicBezTo>
                  <a:moveTo>
                    <a:pt x="2553" y="0"/>
                  </a:moveTo>
                  <a:cubicBezTo>
                    <a:pt x="2553" y="0"/>
                    <a:pt x="2553" y="0"/>
                    <a:pt x="2553" y="0"/>
                  </a:cubicBezTo>
                  <a:cubicBezTo>
                    <a:pt x="2553" y="0"/>
                    <a:pt x="2553" y="0"/>
                    <a:pt x="25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469"/>
            <p:cNvSpPr>
              <a:spLocks noEditPoints="1"/>
            </p:cNvSpPr>
            <p:nvPr/>
          </p:nvSpPr>
          <p:spPr bwMode="auto">
            <a:xfrm>
              <a:off x="314980" y="6844207"/>
              <a:ext cx="231076" cy="16505"/>
            </a:xfrm>
            <a:custGeom>
              <a:gdLst>
                <a:gd name="T0" fmla="*/ 64 w 71"/>
                <a:gd name="T1" fmla="*/ 1 h 5"/>
                <a:gd name="T2" fmla="*/ 63 w 71"/>
                <a:gd name="T3" fmla="*/ 5 h 5"/>
                <a:gd name="T4" fmla="*/ 60 w 71"/>
                <a:gd name="T5" fmla="*/ 4 h 5"/>
                <a:gd name="T6" fmla="*/ 60 w 71"/>
                <a:gd name="T7" fmla="*/ 4 h 5"/>
                <a:gd name="T8" fmla="*/ 60 w 71"/>
                <a:gd name="T9" fmla="*/ 5 h 5"/>
                <a:gd name="T10" fmla="*/ 71 w 71"/>
                <a:gd name="T11" fmla="*/ 5 h 5"/>
                <a:gd name="T12" fmla="*/ 64 w 71"/>
                <a:gd name="T13" fmla="*/ 1 h 5"/>
                <a:gd name="T14" fmla="*/ 22 w 71"/>
                <a:gd name="T15" fmla="*/ 0 h 5"/>
                <a:gd name="T16" fmla="*/ 21 w 71"/>
                <a:gd name="T17" fmla="*/ 0 h 5"/>
                <a:gd name="T18" fmla="*/ 0 w 71"/>
                <a:gd name="T19" fmla="*/ 1 h 5"/>
                <a:gd name="T20" fmla="*/ 2 w 71"/>
                <a:gd name="T21" fmla="*/ 5 h 5"/>
                <a:gd name="T22" fmla="*/ 21 w 71"/>
                <a:gd name="T23" fmla="*/ 5 h 5"/>
                <a:gd name="T24" fmla="*/ 22 w 71"/>
                <a:gd name="T25"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5">
                  <a:moveTo>
                    <a:pt x="64" y="1"/>
                  </a:moveTo>
                  <a:cubicBezTo>
                    <a:pt x="63" y="2"/>
                    <a:pt x="63" y="3"/>
                    <a:pt x="63" y="5"/>
                  </a:cubicBezTo>
                  <a:cubicBezTo>
                    <a:pt x="62" y="4"/>
                    <a:pt x="61" y="4"/>
                    <a:pt x="60" y="4"/>
                  </a:cubicBezTo>
                  <a:cubicBezTo>
                    <a:pt x="60" y="4"/>
                    <a:pt x="60" y="4"/>
                    <a:pt x="60" y="4"/>
                  </a:cubicBezTo>
                  <a:cubicBezTo>
                    <a:pt x="60" y="4"/>
                    <a:pt x="60" y="4"/>
                    <a:pt x="60" y="5"/>
                  </a:cubicBezTo>
                  <a:cubicBezTo>
                    <a:pt x="71" y="5"/>
                    <a:pt x="71" y="5"/>
                    <a:pt x="71" y="5"/>
                  </a:cubicBezTo>
                  <a:cubicBezTo>
                    <a:pt x="69" y="3"/>
                    <a:pt x="66" y="2"/>
                    <a:pt x="64" y="1"/>
                  </a:cubicBezTo>
                  <a:moveTo>
                    <a:pt x="22" y="0"/>
                  </a:moveTo>
                  <a:cubicBezTo>
                    <a:pt x="21" y="0"/>
                    <a:pt x="21" y="0"/>
                    <a:pt x="21" y="0"/>
                  </a:cubicBezTo>
                  <a:cubicBezTo>
                    <a:pt x="13" y="0"/>
                    <a:pt x="6" y="1"/>
                    <a:pt x="0" y="1"/>
                  </a:cubicBezTo>
                  <a:cubicBezTo>
                    <a:pt x="2" y="5"/>
                    <a:pt x="2" y="5"/>
                    <a:pt x="2" y="5"/>
                  </a:cubicBezTo>
                  <a:cubicBezTo>
                    <a:pt x="21" y="5"/>
                    <a:pt x="21" y="5"/>
                    <a:pt x="21" y="5"/>
                  </a:cubicBezTo>
                  <a:cubicBezTo>
                    <a:pt x="22" y="3"/>
                    <a:pt x="22" y="2"/>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470"/>
            <p:cNvSpPr/>
            <p:nvPr/>
          </p:nvSpPr>
          <p:spPr bwMode="auto">
            <a:xfrm>
              <a:off x="519921" y="6496218"/>
              <a:ext cx="474531" cy="364495"/>
            </a:xfrm>
            <a:custGeom>
              <a:gdLst>
                <a:gd name="T0" fmla="*/ 9 w 146"/>
                <a:gd name="T1" fmla="*/ 0 h 112"/>
                <a:gd name="T2" fmla="*/ 5 w 146"/>
                <a:gd name="T3" fmla="*/ 4 h 112"/>
                <a:gd name="T4" fmla="*/ 3 w 146"/>
                <a:gd name="T5" fmla="*/ 6 h 112"/>
                <a:gd name="T6" fmla="*/ 5 w 146"/>
                <a:gd name="T7" fmla="*/ 11 h 112"/>
                <a:gd name="T8" fmla="*/ 7 w 146"/>
                <a:gd name="T9" fmla="*/ 13 h 112"/>
                <a:gd name="T10" fmla="*/ 11 w 146"/>
                <a:gd name="T11" fmla="*/ 15 h 112"/>
                <a:gd name="T12" fmla="*/ 12 w 146"/>
                <a:gd name="T13" fmla="*/ 16 h 112"/>
                <a:gd name="T14" fmla="*/ 15 w 146"/>
                <a:gd name="T15" fmla="*/ 29 h 112"/>
                <a:gd name="T16" fmla="*/ 21 w 146"/>
                <a:gd name="T17" fmla="*/ 38 h 112"/>
                <a:gd name="T18" fmla="*/ 22 w 146"/>
                <a:gd name="T19" fmla="*/ 48 h 112"/>
                <a:gd name="T20" fmla="*/ 22 w 146"/>
                <a:gd name="T21" fmla="*/ 48 h 112"/>
                <a:gd name="T22" fmla="*/ 18 w 146"/>
                <a:gd name="T23" fmla="*/ 58 h 112"/>
                <a:gd name="T24" fmla="*/ 18 w 146"/>
                <a:gd name="T25" fmla="*/ 60 h 112"/>
                <a:gd name="T26" fmla="*/ 14 w 146"/>
                <a:gd name="T27" fmla="*/ 66 h 112"/>
                <a:gd name="T28" fmla="*/ 11 w 146"/>
                <a:gd name="T29" fmla="*/ 68 h 112"/>
                <a:gd name="T30" fmla="*/ 9 w 146"/>
                <a:gd name="T31" fmla="*/ 72 h 112"/>
                <a:gd name="T32" fmla="*/ 5 w 146"/>
                <a:gd name="T33" fmla="*/ 78 h 112"/>
                <a:gd name="T34" fmla="*/ 3 w 146"/>
                <a:gd name="T35" fmla="*/ 82 h 112"/>
                <a:gd name="T36" fmla="*/ 1 w 146"/>
                <a:gd name="T37" fmla="*/ 84 h 112"/>
                <a:gd name="T38" fmla="*/ 1 w 146"/>
                <a:gd name="T39" fmla="*/ 86 h 112"/>
                <a:gd name="T40" fmla="*/ 6 w 146"/>
                <a:gd name="T41" fmla="*/ 92 h 112"/>
                <a:gd name="T42" fmla="*/ 17 w 146"/>
                <a:gd name="T43" fmla="*/ 91 h 112"/>
                <a:gd name="T44" fmla="*/ 15 w 146"/>
                <a:gd name="T45" fmla="*/ 91 h 112"/>
                <a:gd name="T46" fmla="*/ 13 w 146"/>
                <a:gd name="T47" fmla="*/ 92 h 112"/>
                <a:gd name="T48" fmla="*/ 11 w 146"/>
                <a:gd name="T49" fmla="*/ 92 h 112"/>
                <a:gd name="T50" fmla="*/ 10 w 146"/>
                <a:gd name="T51" fmla="*/ 92 h 112"/>
                <a:gd name="T52" fmla="*/ 9 w 146"/>
                <a:gd name="T53" fmla="*/ 96 h 112"/>
                <a:gd name="T54" fmla="*/ 7 w 146"/>
                <a:gd name="T55" fmla="*/ 94 h 112"/>
                <a:gd name="T56" fmla="*/ 6 w 146"/>
                <a:gd name="T57" fmla="*/ 95 h 112"/>
                <a:gd name="T58" fmla="*/ 5 w 146"/>
                <a:gd name="T59" fmla="*/ 94 h 112"/>
                <a:gd name="T60" fmla="*/ 4 w 146"/>
                <a:gd name="T61" fmla="*/ 103 h 112"/>
                <a:gd name="T62" fmla="*/ 137 w 146"/>
                <a:gd name="T63" fmla="*/ 112 h 112"/>
                <a:gd name="T64" fmla="*/ 131 w 146"/>
                <a:gd name="T65" fmla="*/ 93 h 112"/>
                <a:gd name="T66" fmla="*/ 131 w 146"/>
                <a:gd name="T67" fmla="*/ 68 h 112"/>
                <a:gd name="T68" fmla="*/ 131 w 146"/>
                <a:gd name="T69" fmla="*/ 38 h 112"/>
                <a:gd name="T70" fmla="*/ 132 w 146"/>
                <a:gd name="T71" fmla="*/ 29 h 112"/>
                <a:gd name="T72" fmla="*/ 132 w 146"/>
                <a:gd name="T73" fmla="*/ 23 h 112"/>
                <a:gd name="T74" fmla="*/ 146 w 146"/>
                <a:gd name="T75" fmla="*/ 13 h 112"/>
                <a:gd name="T76" fmla="*/ 139 w 146"/>
                <a:gd name="T77" fmla="*/ 13 h 112"/>
                <a:gd name="T78" fmla="*/ 130 w 146"/>
                <a:gd name="T79" fmla="*/ 8 h 112"/>
                <a:gd name="T80" fmla="*/ 112 w 146"/>
                <a:gd name="T81" fmla="*/ 17 h 112"/>
                <a:gd name="T82" fmla="*/ 106 w 146"/>
                <a:gd name="T83" fmla="*/ 23 h 112"/>
                <a:gd name="T84" fmla="*/ 104 w 146"/>
                <a:gd name="T85" fmla="*/ 23 h 112"/>
                <a:gd name="T86" fmla="*/ 96 w 146"/>
                <a:gd name="T87" fmla="*/ 21 h 112"/>
                <a:gd name="T88" fmla="*/ 91 w 146"/>
                <a:gd name="T89" fmla="*/ 21 h 112"/>
                <a:gd name="T90" fmla="*/ 73 w 146"/>
                <a:gd name="T91" fmla="*/ 16 h 112"/>
                <a:gd name="T92" fmla="*/ 61 w 146"/>
                <a:gd name="T93" fmla="*/ 8 h 112"/>
                <a:gd name="T94" fmla="*/ 57 w 146"/>
                <a:gd name="T95" fmla="*/ 6 h 112"/>
                <a:gd name="T96" fmla="*/ 55 w 146"/>
                <a:gd name="T97" fmla="*/ 5 h 112"/>
                <a:gd name="T98" fmla="*/ 40 w 146"/>
                <a:gd name="T99" fmla="*/ 3 h 1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6" h="112">
                  <a:moveTo>
                    <a:pt x="36" y="0"/>
                  </a:moveTo>
                  <a:cubicBezTo>
                    <a:pt x="33" y="0"/>
                    <a:pt x="33" y="0"/>
                    <a:pt x="33" y="0"/>
                  </a:cubicBezTo>
                  <a:cubicBezTo>
                    <a:pt x="9" y="0"/>
                    <a:pt x="9" y="0"/>
                    <a:pt x="9" y="0"/>
                  </a:cubicBezTo>
                  <a:cubicBezTo>
                    <a:pt x="9" y="0"/>
                    <a:pt x="8" y="0"/>
                    <a:pt x="7" y="1"/>
                  </a:cubicBezTo>
                  <a:cubicBezTo>
                    <a:pt x="7" y="2"/>
                    <a:pt x="7" y="2"/>
                    <a:pt x="6" y="2"/>
                  </a:cubicBezTo>
                  <a:cubicBezTo>
                    <a:pt x="6" y="3"/>
                    <a:pt x="6" y="3"/>
                    <a:pt x="5" y="4"/>
                  </a:cubicBezTo>
                  <a:cubicBezTo>
                    <a:pt x="5" y="4"/>
                    <a:pt x="5" y="4"/>
                    <a:pt x="5" y="4"/>
                  </a:cubicBezTo>
                  <a:cubicBezTo>
                    <a:pt x="3" y="6"/>
                    <a:pt x="3" y="6"/>
                    <a:pt x="3" y="6"/>
                  </a:cubicBezTo>
                  <a:cubicBezTo>
                    <a:pt x="3" y="6"/>
                    <a:pt x="3" y="6"/>
                    <a:pt x="3" y="6"/>
                  </a:cubicBezTo>
                  <a:cubicBezTo>
                    <a:pt x="3" y="7"/>
                    <a:pt x="4" y="7"/>
                    <a:pt x="4" y="8"/>
                  </a:cubicBezTo>
                  <a:cubicBezTo>
                    <a:pt x="4" y="8"/>
                    <a:pt x="4" y="8"/>
                    <a:pt x="4" y="8"/>
                  </a:cubicBezTo>
                  <a:cubicBezTo>
                    <a:pt x="4" y="9"/>
                    <a:pt x="5" y="10"/>
                    <a:pt x="5" y="11"/>
                  </a:cubicBezTo>
                  <a:cubicBezTo>
                    <a:pt x="5" y="12"/>
                    <a:pt x="5" y="12"/>
                    <a:pt x="6" y="12"/>
                  </a:cubicBezTo>
                  <a:cubicBezTo>
                    <a:pt x="6" y="12"/>
                    <a:pt x="6" y="12"/>
                    <a:pt x="6" y="12"/>
                  </a:cubicBezTo>
                  <a:cubicBezTo>
                    <a:pt x="7" y="13"/>
                    <a:pt x="7" y="13"/>
                    <a:pt x="7" y="13"/>
                  </a:cubicBezTo>
                  <a:cubicBezTo>
                    <a:pt x="8" y="13"/>
                    <a:pt x="8" y="13"/>
                    <a:pt x="9" y="13"/>
                  </a:cubicBezTo>
                  <a:cubicBezTo>
                    <a:pt x="9" y="13"/>
                    <a:pt x="9" y="13"/>
                    <a:pt x="9" y="13"/>
                  </a:cubicBezTo>
                  <a:cubicBezTo>
                    <a:pt x="10" y="14"/>
                    <a:pt x="11" y="14"/>
                    <a:pt x="11" y="15"/>
                  </a:cubicBezTo>
                  <a:cubicBezTo>
                    <a:pt x="11" y="15"/>
                    <a:pt x="11" y="15"/>
                    <a:pt x="11" y="15"/>
                  </a:cubicBezTo>
                  <a:cubicBezTo>
                    <a:pt x="12" y="16"/>
                    <a:pt x="12" y="16"/>
                    <a:pt x="12" y="16"/>
                  </a:cubicBezTo>
                  <a:cubicBezTo>
                    <a:pt x="12" y="16"/>
                    <a:pt x="12" y="16"/>
                    <a:pt x="12" y="16"/>
                  </a:cubicBezTo>
                  <a:cubicBezTo>
                    <a:pt x="12" y="18"/>
                    <a:pt x="12" y="21"/>
                    <a:pt x="13" y="23"/>
                  </a:cubicBezTo>
                  <a:cubicBezTo>
                    <a:pt x="13" y="25"/>
                    <a:pt x="13" y="25"/>
                    <a:pt x="13" y="25"/>
                  </a:cubicBezTo>
                  <a:cubicBezTo>
                    <a:pt x="13" y="26"/>
                    <a:pt x="14" y="27"/>
                    <a:pt x="15" y="29"/>
                  </a:cubicBezTo>
                  <a:cubicBezTo>
                    <a:pt x="16" y="30"/>
                    <a:pt x="16" y="30"/>
                    <a:pt x="16" y="30"/>
                  </a:cubicBezTo>
                  <a:cubicBezTo>
                    <a:pt x="16" y="30"/>
                    <a:pt x="17" y="31"/>
                    <a:pt x="17" y="31"/>
                  </a:cubicBezTo>
                  <a:cubicBezTo>
                    <a:pt x="19" y="34"/>
                    <a:pt x="21" y="36"/>
                    <a:pt x="21" y="38"/>
                  </a:cubicBezTo>
                  <a:cubicBezTo>
                    <a:pt x="20" y="41"/>
                    <a:pt x="21" y="43"/>
                    <a:pt x="21" y="46"/>
                  </a:cubicBezTo>
                  <a:cubicBezTo>
                    <a:pt x="26" y="45"/>
                    <a:pt x="26" y="45"/>
                    <a:pt x="26" y="45"/>
                  </a:cubicBezTo>
                  <a:cubicBezTo>
                    <a:pt x="22" y="48"/>
                    <a:pt x="22" y="48"/>
                    <a:pt x="22" y="48"/>
                  </a:cubicBezTo>
                  <a:cubicBezTo>
                    <a:pt x="22" y="48"/>
                    <a:pt x="22" y="48"/>
                    <a:pt x="22" y="48"/>
                  </a:cubicBezTo>
                  <a:cubicBezTo>
                    <a:pt x="22" y="48"/>
                    <a:pt x="22" y="48"/>
                    <a:pt x="22" y="48"/>
                  </a:cubicBezTo>
                  <a:cubicBezTo>
                    <a:pt x="22" y="48"/>
                    <a:pt x="22" y="48"/>
                    <a:pt x="22" y="48"/>
                  </a:cubicBezTo>
                  <a:cubicBezTo>
                    <a:pt x="22" y="50"/>
                    <a:pt x="21" y="53"/>
                    <a:pt x="20" y="56"/>
                  </a:cubicBezTo>
                  <a:cubicBezTo>
                    <a:pt x="19" y="57"/>
                    <a:pt x="19" y="57"/>
                    <a:pt x="19" y="57"/>
                  </a:cubicBezTo>
                  <a:cubicBezTo>
                    <a:pt x="19" y="58"/>
                    <a:pt x="19" y="58"/>
                    <a:pt x="18" y="58"/>
                  </a:cubicBezTo>
                  <a:cubicBezTo>
                    <a:pt x="18" y="59"/>
                    <a:pt x="18" y="59"/>
                    <a:pt x="18" y="60"/>
                  </a:cubicBezTo>
                  <a:cubicBezTo>
                    <a:pt x="18" y="60"/>
                    <a:pt x="18" y="60"/>
                    <a:pt x="18" y="60"/>
                  </a:cubicBezTo>
                  <a:cubicBezTo>
                    <a:pt x="18" y="60"/>
                    <a:pt x="18" y="60"/>
                    <a:pt x="18" y="60"/>
                  </a:cubicBezTo>
                  <a:cubicBezTo>
                    <a:pt x="18" y="61"/>
                    <a:pt x="19" y="62"/>
                    <a:pt x="18" y="64"/>
                  </a:cubicBezTo>
                  <a:cubicBezTo>
                    <a:pt x="17" y="65"/>
                    <a:pt x="15" y="65"/>
                    <a:pt x="14" y="66"/>
                  </a:cubicBezTo>
                  <a:cubicBezTo>
                    <a:pt x="14" y="66"/>
                    <a:pt x="14" y="66"/>
                    <a:pt x="14" y="66"/>
                  </a:cubicBezTo>
                  <a:cubicBezTo>
                    <a:pt x="13" y="68"/>
                    <a:pt x="13" y="68"/>
                    <a:pt x="13" y="68"/>
                  </a:cubicBezTo>
                  <a:cubicBezTo>
                    <a:pt x="11" y="67"/>
                    <a:pt x="11" y="67"/>
                    <a:pt x="11" y="67"/>
                  </a:cubicBezTo>
                  <a:cubicBezTo>
                    <a:pt x="11" y="68"/>
                    <a:pt x="11" y="68"/>
                    <a:pt x="11" y="68"/>
                  </a:cubicBezTo>
                  <a:cubicBezTo>
                    <a:pt x="11" y="68"/>
                    <a:pt x="10" y="69"/>
                    <a:pt x="10" y="70"/>
                  </a:cubicBezTo>
                  <a:cubicBezTo>
                    <a:pt x="9" y="71"/>
                    <a:pt x="9" y="71"/>
                    <a:pt x="9" y="71"/>
                  </a:cubicBezTo>
                  <a:cubicBezTo>
                    <a:pt x="9" y="71"/>
                    <a:pt x="9" y="72"/>
                    <a:pt x="9" y="72"/>
                  </a:cubicBezTo>
                  <a:cubicBezTo>
                    <a:pt x="8" y="73"/>
                    <a:pt x="8" y="73"/>
                    <a:pt x="7" y="74"/>
                  </a:cubicBezTo>
                  <a:cubicBezTo>
                    <a:pt x="7" y="74"/>
                    <a:pt x="7" y="74"/>
                    <a:pt x="7" y="74"/>
                  </a:cubicBezTo>
                  <a:cubicBezTo>
                    <a:pt x="6" y="75"/>
                    <a:pt x="5" y="76"/>
                    <a:pt x="5" y="78"/>
                  </a:cubicBezTo>
                  <a:cubicBezTo>
                    <a:pt x="4" y="78"/>
                    <a:pt x="4" y="78"/>
                    <a:pt x="4" y="79"/>
                  </a:cubicBezTo>
                  <a:cubicBezTo>
                    <a:pt x="4" y="79"/>
                    <a:pt x="3" y="80"/>
                    <a:pt x="3" y="81"/>
                  </a:cubicBezTo>
                  <a:cubicBezTo>
                    <a:pt x="3" y="82"/>
                    <a:pt x="3" y="82"/>
                    <a:pt x="3" y="82"/>
                  </a:cubicBezTo>
                  <a:cubicBezTo>
                    <a:pt x="3" y="82"/>
                    <a:pt x="3" y="82"/>
                    <a:pt x="2" y="83"/>
                  </a:cubicBezTo>
                  <a:cubicBezTo>
                    <a:pt x="2" y="84"/>
                    <a:pt x="2" y="84"/>
                    <a:pt x="2" y="84"/>
                  </a:cubicBezTo>
                  <a:cubicBezTo>
                    <a:pt x="1" y="84"/>
                    <a:pt x="1" y="84"/>
                    <a:pt x="1" y="84"/>
                  </a:cubicBezTo>
                  <a:cubicBezTo>
                    <a:pt x="1" y="85"/>
                    <a:pt x="1" y="85"/>
                    <a:pt x="1" y="85"/>
                  </a:cubicBezTo>
                  <a:cubicBezTo>
                    <a:pt x="0" y="85"/>
                    <a:pt x="0" y="85"/>
                    <a:pt x="0" y="85"/>
                  </a:cubicBezTo>
                  <a:cubicBezTo>
                    <a:pt x="0" y="85"/>
                    <a:pt x="0" y="86"/>
                    <a:pt x="1" y="86"/>
                  </a:cubicBezTo>
                  <a:cubicBezTo>
                    <a:pt x="2" y="88"/>
                    <a:pt x="3" y="90"/>
                    <a:pt x="5" y="92"/>
                  </a:cubicBezTo>
                  <a:cubicBezTo>
                    <a:pt x="5" y="92"/>
                    <a:pt x="5" y="93"/>
                    <a:pt x="6" y="93"/>
                  </a:cubicBezTo>
                  <a:cubicBezTo>
                    <a:pt x="6" y="93"/>
                    <a:pt x="6" y="93"/>
                    <a:pt x="6" y="92"/>
                  </a:cubicBezTo>
                  <a:cubicBezTo>
                    <a:pt x="8" y="91"/>
                    <a:pt x="7" y="90"/>
                    <a:pt x="7" y="90"/>
                  </a:cubicBezTo>
                  <a:cubicBezTo>
                    <a:pt x="7" y="89"/>
                    <a:pt x="13" y="88"/>
                    <a:pt x="14" y="88"/>
                  </a:cubicBezTo>
                  <a:cubicBezTo>
                    <a:pt x="14" y="89"/>
                    <a:pt x="17" y="90"/>
                    <a:pt x="17" y="91"/>
                  </a:cubicBezTo>
                  <a:cubicBezTo>
                    <a:pt x="17" y="92"/>
                    <a:pt x="16" y="92"/>
                    <a:pt x="16" y="92"/>
                  </a:cubicBezTo>
                  <a:cubicBezTo>
                    <a:pt x="16" y="92"/>
                    <a:pt x="16" y="92"/>
                    <a:pt x="16" y="91"/>
                  </a:cubicBezTo>
                  <a:cubicBezTo>
                    <a:pt x="15" y="91"/>
                    <a:pt x="15" y="91"/>
                    <a:pt x="15" y="91"/>
                  </a:cubicBezTo>
                  <a:cubicBezTo>
                    <a:pt x="15" y="91"/>
                    <a:pt x="15" y="91"/>
                    <a:pt x="15" y="91"/>
                  </a:cubicBezTo>
                  <a:cubicBezTo>
                    <a:pt x="14" y="92"/>
                    <a:pt x="15" y="92"/>
                    <a:pt x="13" y="92"/>
                  </a:cubicBezTo>
                  <a:cubicBezTo>
                    <a:pt x="13" y="92"/>
                    <a:pt x="13" y="92"/>
                    <a:pt x="13" y="92"/>
                  </a:cubicBezTo>
                  <a:cubicBezTo>
                    <a:pt x="13" y="92"/>
                    <a:pt x="13" y="92"/>
                    <a:pt x="12" y="92"/>
                  </a:cubicBezTo>
                  <a:cubicBezTo>
                    <a:pt x="12" y="92"/>
                    <a:pt x="12" y="92"/>
                    <a:pt x="12" y="92"/>
                  </a:cubicBezTo>
                  <a:cubicBezTo>
                    <a:pt x="12" y="92"/>
                    <a:pt x="12" y="92"/>
                    <a:pt x="11" y="92"/>
                  </a:cubicBezTo>
                  <a:cubicBezTo>
                    <a:pt x="11" y="92"/>
                    <a:pt x="11" y="92"/>
                    <a:pt x="11" y="92"/>
                  </a:cubicBezTo>
                  <a:cubicBezTo>
                    <a:pt x="11" y="92"/>
                    <a:pt x="11" y="92"/>
                    <a:pt x="11" y="92"/>
                  </a:cubicBezTo>
                  <a:cubicBezTo>
                    <a:pt x="11" y="92"/>
                    <a:pt x="10" y="92"/>
                    <a:pt x="10" y="92"/>
                  </a:cubicBezTo>
                  <a:cubicBezTo>
                    <a:pt x="10" y="92"/>
                    <a:pt x="10" y="92"/>
                    <a:pt x="10" y="93"/>
                  </a:cubicBezTo>
                  <a:cubicBezTo>
                    <a:pt x="10" y="94"/>
                    <a:pt x="10" y="95"/>
                    <a:pt x="9" y="95"/>
                  </a:cubicBezTo>
                  <a:cubicBezTo>
                    <a:pt x="9" y="95"/>
                    <a:pt x="9" y="96"/>
                    <a:pt x="9" y="96"/>
                  </a:cubicBezTo>
                  <a:cubicBezTo>
                    <a:pt x="8" y="96"/>
                    <a:pt x="8" y="94"/>
                    <a:pt x="8" y="94"/>
                  </a:cubicBezTo>
                  <a:cubicBezTo>
                    <a:pt x="8" y="94"/>
                    <a:pt x="8" y="94"/>
                    <a:pt x="7" y="94"/>
                  </a:cubicBezTo>
                  <a:cubicBezTo>
                    <a:pt x="7" y="94"/>
                    <a:pt x="7" y="94"/>
                    <a:pt x="7" y="94"/>
                  </a:cubicBezTo>
                  <a:cubicBezTo>
                    <a:pt x="7" y="94"/>
                    <a:pt x="7" y="95"/>
                    <a:pt x="7" y="95"/>
                  </a:cubicBezTo>
                  <a:cubicBezTo>
                    <a:pt x="7" y="95"/>
                    <a:pt x="7" y="95"/>
                    <a:pt x="6" y="94"/>
                  </a:cubicBezTo>
                  <a:cubicBezTo>
                    <a:pt x="6" y="95"/>
                    <a:pt x="6" y="95"/>
                    <a:pt x="6" y="95"/>
                  </a:cubicBezTo>
                  <a:cubicBezTo>
                    <a:pt x="6" y="95"/>
                    <a:pt x="6" y="94"/>
                    <a:pt x="6" y="94"/>
                  </a:cubicBezTo>
                  <a:cubicBezTo>
                    <a:pt x="5" y="94"/>
                    <a:pt x="5" y="94"/>
                    <a:pt x="5" y="94"/>
                  </a:cubicBezTo>
                  <a:cubicBezTo>
                    <a:pt x="5" y="94"/>
                    <a:pt x="5" y="94"/>
                    <a:pt x="5" y="94"/>
                  </a:cubicBezTo>
                  <a:cubicBezTo>
                    <a:pt x="4" y="94"/>
                    <a:pt x="4" y="94"/>
                    <a:pt x="4" y="95"/>
                  </a:cubicBezTo>
                  <a:cubicBezTo>
                    <a:pt x="3" y="96"/>
                    <a:pt x="1" y="99"/>
                    <a:pt x="1" y="100"/>
                  </a:cubicBezTo>
                  <a:cubicBezTo>
                    <a:pt x="2" y="101"/>
                    <a:pt x="4" y="101"/>
                    <a:pt x="4" y="103"/>
                  </a:cubicBezTo>
                  <a:cubicBezTo>
                    <a:pt x="4" y="103"/>
                    <a:pt x="3" y="103"/>
                    <a:pt x="3" y="104"/>
                  </a:cubicBezTo>
                  <a:cubicBezTo>
                    <a:pt x="8" y="106"/>
                    <a:pt x="13" y="109"/>
                    <a:pt x="18" y="112"/>
                  </a:cubicBezTo>
                  <a:cubicBezTo>
                    <a:pt x="137" y="112"/>
                    <a:pt x="137" y="112"/>
                    <a:pt x="137" y="112"/>
                  </a:cubicBezTo>
                  <a:cubicBezTo>
                    <a:pt x="136" y="110"/>
                    <a:pt x="135" y="108"/>
                    <a:pt x="134" y="106"/>
                  </a:cubicBezTo>
                  <a:cubicBezTo>
                    <a:pt x="133" y="105"/>
                    <a:pt x="132" y="104"/>
                    <a:pt x="132" y="103"/>
                  </a:cubicBezTo>
                  <a:cubicBezTo>
                    <a:pt x="131" y="100"/>
                    <a:pt x="131" y="96"/>
                    <a:pt x="131" y="93"/>
                  </a:cubicBezTo>
                  <a:cubicBezTo>
                    <a:pt x="131" y="92"/>
                    <a:pt x="131" y="92"/>
                    <a:pt x="131" y="92"/>
                  </a:cubicBezTo>
                  <a:cubicBezTo>
                    <a:pt x="131" y="91"/>
                    <a:pt x="131" y="90"/>
                    <a:pt x="131" y="89"/>
                  </a:cubicBezTo>
                  <a:cubicBezTo>
                    <a:pt x="131" y="82"/>
                    <a:pt x="131" y="75"/>
                    <a:pt x="131" y="68"/>
                  </a:cubicBezTo>
                  <a:cubicBezTo>
                    <a:pt x="131" y="66"/>
                    <a:pt x="131" y="66"/>
                    <a:pt x="131" y="66"/>
                  </a:cubicBezTo>
                  <a:cubicBezTo>
                    <a:pt x="131" y="59"/>
                    <a:pt x="131" y="53"/>
                    <a:pt x="131" y="47"/>
                  </a:cubicBezTo>
                  <a:cubicBezTo>
                    <a:pt x="131" y="38"/>
                    <a:pt x="131" y="38"/>
                    <a:pt x="131" y="38"/>
                  </a:cubicBezTo>
                  <a:cubicBezTo>
                    <a:pt x="131" y="38"/>
                    <a:pt x="131" y="37"/>
                    <a:pt x="131" y="37"/>
                  </a:cubicBezTo>
                  <a:cubicBezTo>
                    <a:pt x="131" y="34"/>
                    <a:pt x="131" y="32"/>
                    <a:pt x="132" y="30"/>
                  </a:cubicBezTo>
                  <a:cubicBezTo>
                    <a:pt x="132" y="29"/>
                    <a:pt x="132" y="29"/>
                    <a:pt x="132" y="29"/>
                  </a:cubicBezTo>
                  <a:cubicBezTo>
                    <a:pt x="133" y="29"/>
                    <a:pt x="134" y="28"/>
                    <a:pt x="134" y="27"/>
                  </a:cubicBezTo>
                  <a:cubicBezTo>
                    <a:pt x="135" y="26"/>
                    <a:pt x="135" y="26"/>
                    <a:pt x="135" y="26"/>
                  </a:cubicBezTo>
                  <a:cubicBezTo>
                    <a:pt x="132" y="23"/>
                    <a:pt x="132" y="23"/>
                    <a:pt x="132" y="23"/>
                  </a:cubicBezTo>
                  <a:cubicBezTo>
                    <a:pt x="136" y="25"/>
                    <a:pt x="136" y="25"/>
                    <a:pt x="136" y="25"/>
                  </a:cubicBezTo>
                  <a:cubicBezTo>
                    <a:pt x="138" y="22"/>
                    <a:pt x="138" y="22"/>
                    <a:pt x="138" y="22"/>
                  </a:cubicBezTo>
                  <a:cubicBezTo>
                    <a:pt x="138" y="22"/>
                    <a:pt x="142" y="17"/>
                    <a:pt x="146" y="13"/>
                  </a:cubicBezTo>
                  <a:cubicBezTo>
                    <a:pt x="144" y="13"/>
                    <a:pt x="143" y="13"/>
                    <a:pt x="141" y="13"/>
                  </a:cubicBezTo>
                  <a:cubicBezTo>
                    <a:pt x="141" y="13"/>
                    <a:pt x="140" y="13"/>
                    <a:pt x="140" y="13"/>
                  </a:cubicBezTo>
                  <a:cubicBezTo>
                    <a:pt x="139" y="13"/>
                    <a:pt x="139" y="13"/>
                    <a:pt x="139" y="13"/>
                  </a:cubicBezTo>
                  <a:cubicBezTo>
                    <a:pt x="138" y="13"/>
                    <a:pt x="138" y="13"/>
                    <a:pt x="137" y="13"/>
                  </a:cubicBezTo>
                  <a:cubicBezTo>
                    <a:pt x="137" y="13"/>
                    <a:pt x="136" y="12"/>
                    <a:pt x="135" y="12"/>
                  </a:cubicBezTo>
                  <a:cubicBezTo>
                    <a:pt x="134" y="11"/>
                    <a:pt x="132" y="9"/>
                    <a:pt x="130" y="8"/>
                  </a:cubicBezTo>
                  <a:cubicBezTo>
                    <a:pt x="129" y="7"/>
                    <a:pt x="129" y="7"/>
                    <a:pt x="129" y="7"/>
                  </a:cubicBezTo>
                  <a:cubicBezTo>
                    <a:pt x="115" y="13"/>
                    <a:pt x="115" y="13"/>
                    <a:pt x="115" y="13"/>
                  </a:cubicBezTo>
                  <a:cubicBezTo>
                    <a:pt x="114" y="14"/>
                    <a:pt x="113" y="16"/>
                    <a:pt x="112" y="17"/>
                  </a:cubicBezTo>
                  <a:cubicBezTo>
                    <a:pt x="111" y="19"/>
                    <a:pt x="109" y="21"/>
                    <a:pt x="107" y="22"/>
                  </a:cubicBezTo>
                  <a:cubicBezTo>
                    <a:pt x="107" y="23"/>
                    <a:pt x="107" y="23"/>
                    <a:pt x="107" y="23"/>
                  </a:cubicBezTo>
                  <a:cubicBezTo>
                    <a:pt x="106" y="23"/>
                    <a:pt x="106" y="23"/>
                    <a:pt x="106" y="23"/>
                  </a:cubicBezTo>
                  <a:cubicBezTo>
                    <a:pt x="106" y="23"/>
                    <a:pt x="106" y="23"/>
                    <a:pt x="105" y="23"/>
                  </a:cubicBezTo>
                  <a:cubicBezTo>
                    <a:pt x="104" y="23"/>
                    <a:pt x="104" y="23"/>
                    <a:pt x="104" y="23"/>
                  </a:cubicBezTo>
                  <a:cubicBezTo>
                    <a:pt x="104" y="23"/>
                    <a:pt x="104" y="23"/>
                    <a:pt x="104" y="23"/>
                  </a:cubicBezTo>
                  <a:cubicBezTo>
                    <a:pt x="103" y="23"/>
                    <a:pt x="103" y="23"/>
                    <a:pt x="103" y="23"/>
                  </a:cubicBezTo>
                  <a:cubicBezTo>
                    <a:pt x="103" y="22"/>
                    <a:pt x="103" y="22"/>
                    <a:pt x="103" y="22"/>
                  </a:cubicBezTo>
                  <a:cubicBezTo>
                    <a:pt x="101" y="22"/>
                    <a:pt x="98" y="22"/>
                    <a:pt x="96" y="21"/>
                  </a:cubicBezTo>
                  <a:cubicBezTo>
                    <a:pt x="93" y="21"/>
                    <a:pt x="93" y="21"/>
                    <a:pt x="93" y="21"/>
                  </a:cubicBezTo>
                  <a:cubicBezTo>
                    <a:pt x="93" y="21"/>
                    <a:pt x="92" y="21"/>
                    <a:pt x="92" y="21"/>
                  </a:cubicBezTo>
                  <a:cubicBezTo>
                    <a:pt x="91" y="21"/>
                    <a:pt x="91" y="21"/>
                    <a:pt x="91" y="21"/>
                  </a:cubicBezTo>
                  <a:cubicBezTo>
                    <a:pt x="86" y="21"/>
                    <a:pt x="80" y="20"/>
                    <a:pt x="77" y="18"/>
                  </a:cubicBezTo>
                  <a:cubicBezTo>
                    <a:pt x="76" y="17"/>
                    <a:pt x="75" y="17"/>
                    <a:pt x="74" y="16"/>
                  </a:cubicBezTo>
                  <a:cubicBezTo>
                    <a:pt x="73" y="16"/>
                    <a:pt x="73" y="16"/>
                    <a:pt x="73" y="16"/>
                  </a:cubicBezTo>
                  <a:cubicBezTo>
                    <a:pt x="71" y="14"/>
                    <a:pt x="69" y="12"/>
                    <a:pt x="66" y="11"/>
                  </a:cubicBezTo>
                  <a:cubicBezTo>
                    <a:pt x="65" y="10"/>
                    <a:pt x="65" y="10"/>
                    <a:pt x="65" y="10"/>
                  </a:cubicBezTo>
                  <a:cubicBezTo>
                    <a:pt x="63" y="10"/>
                    <a:pt x="62" y="9"/>
                    <a:pt x="61" y="8"/>
                  </a:cubicBezTo>
                  <a:cubicBezTo>
                    <a:pt x="60" y="8"/>
                    <a:pt x="60" y="8"/>
                    <a:pt x="60" y="8"/>
                  </a:cubicBezTo>
                  <a:cubicBezTo>
                    <a:pt x="59" y="7"/>
                    <a:pt x="58" y="7"/>
                    <a:pt x="57" y="6"/>
                  </a:cubicBezTo>
                  <a:cubicBezTo>
                    <a:pt x="57" y="6"/>
                    <a:pt x="57" y="6"/>
                    <a:pt x="57" y="6"/>
                  </a:cubicBezTo>
                  <a:cubicBezTo>
                    <a:pt x="56" y="5"/>
                    <a:pt x="56" y="5"/>
                    <a:pt x="56" y="5"/>
                  </a:cubicBezTo>
                  <a:cubicBezTo>
                    <a:pt x="56" y="5"/>
                    <a:pt x="56" y="5"/>
                    <a:pt x="56" y="5"/>
                  </a:cubicBezTo>
                  <a:cubicBezTo>
                    <a:pt x="55" y="5"/>
                    <a:pt x="55" y="5"/>
                    <a:pt x="55" y="5"/>
                  </a:cubicBezTo>
                  <a:cubicBezTo>
                    <a:pt x="54" y="4"/>
                    <a:pt x="53" y="4"/>
                    <a:pt x="53" y="4"/>
                  </a:cubicBezTo>
                  <a:cubicBezTo>
                    <a:pt x="52" y="4"/>
                    <a:pt x="51" y="3"/>
                    <a:pt x="51" y="3"/>
                  </a:cubicBezTo>
                  <a:cubicBezTo>
                    <a:pt x="40" y="3"/>
                    <a:pt x="40" y="3"/>
                    <a:pt x="40" y="3"/>
                  </a:cubicBezTo>
                  <a:cubicBezTo>
                    <a:pt x="38" y="3"/>
                    <a:pt x="37" y="2"/>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471"/>
            <p:cNvSpPr/>
            <p:nvPr/>
          </p:nvSpPr>
          <p:spPr bwMode="auto">
            <a:xfrm>
              <a:off x="257211" y="3761821"/>
              <a:ext cx="2751" cy="2751"/>
            </a:xfrm>
            <a:custGeom>
              <a:gdLst>
                <a:gd name="T0" fmla="*/ 2 w 2"/>
                <a:gd name="T1" fmla="*/ 0 h 2"/>
                <a:gd name="T2" fmla="*/ 0 w 2"/>
                <a:gd name="T3" fmla="*/ 2 h 2"/>
                <a:gd name="T4" fmla="*/ 0 w 2"/>
                <a:gd name="T5" fmla="*/ 2 h 2"/>
                <a:gd name="T6" fmla="*/ 2 w 2"/>
                <a:gd name="T7" fmla="*/ 0 h 2"/>
                <a:gd name="T8" fmla="*/ 2 w 2"/>
                <a:gd name="T9" fmla="*/ 0 h 2"/>
              </a:gd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472"/>
            <p:cNvSpPr/>
            <p:nvPr/>
          </p:nvSpPr>
          <p:spPr bwMode="auto">
            <a:xfrm>
              <a:off x="257211" y="3761821"/>
              <a:ext cx="2751" cy="2751"/>
            </a:xfrm>
            <a:custGeom>
              <a:gdLst>
                <a:gd name="T0" fmla="*/ 2 w 2"/>
                <a:gd name="T1" fmla="*/ 0 h 2"/>
                <a:gd name="T2" fmla="*/ 0 w 2"/>
                <a:gd name="T3" fmla="*/ 2 h 2"/>
                <a:gd name="T4" fmla="*/ 0 w 2"/>
                <a:gd name="T5" fmla="*/ 2 h 2"/>
                <a:gd name="T6" fmla="*/ 2 w 2"/>
                <a:gd name="T7" fmla="*/ 0 h 2"/>
                <a:gd name="T8" fmla="*/ 2 w 2"/>
                <a:gd name="T9" fmla="*/ 0 h 2"/>
              </a:gd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473"/>
            <p:cNvSpPr/>
            <p:nvPr/>
          </p:nvSpPr>
          <p:spPr bwMode="auto">
            <a:xfrm>
              <a:off x="1" y="3199261"/>
              <a:ext cx="900921" cy="627206"/>
            </a:xfrm>
            <a:custGeom>
              <a:gdLst>
                <a:gd name="T0" fmla="*/ 129 w 277"/>
                <a:gd name="T1" fmla="*/ 6 h 193"/>
                <a:gd name="T2" fmla="*/ 114 w 277"/>
                <a:gd name="T3" fmla="*/ 7 h 193"/>
                <a:gd name="T4" fmla="*/ 106 w 277"/>
                <a:gd name="T5" fmla="*/ 8 h 193"/>
                <a:gd name="T6" fmla="*/ 97 w 277"/>
                <a:gd name="T7" fmla="*/ 16 h 193"/>
                <a:gd name="T8" fmla="*/ 88 w 277"/>
                <a:gd name="T9" fmla="*/ 23 h 193"/>
                <a:gd name="T10" fmla="*/ 70 w 277"/>
                <a:gd name="T11" fmla="*/ 23 h 193"/>
                <a:gd name="T12" fmla="*/ 66 w 277"/>
                <a:gd name="T13" fmla="*/ 19 h 193"/>
                <a:gd name="T14" fmla="*/ 59 w 277"/>
                <a:gd name="T15" fmla="*/ 24 h 193"/>
                <a:gd name="T16" fmla="*/ 33 w 277"/>
                <a:gd name="T17" fmla="*/ 30 h 193"/>
                <a:gd name="T18" fmla="*/ 0 w 277"/>
                <a:gd name="T19" fmla="*/ 108 h 193"/>
                <a:gd name="T20" fmla="*/ 27 w 277"/>
                <a:gd name="T21" fmla="*/ 97 h 193"/>
                <a:gd name="T22" fmla="*/ 39 w 277"/>
                <a:gd name="T23" fmla="*/ 96 h 193"/>
                <a:gd name="T24" fmla="*/ 66 w 277"/>
                <a:gd name="T25" fmla="*/ 107 h 193"/>
                <a:gd name="T26" fmla="*/ 69 w 277"/>
                <a:gd name="T27" fmla="*/ 119 h 193"/>
                <a:gd name="T28" fmla="*/ 78 w 277"/>
                <a:gd name="T29" fmla="*/ 126 h 193"/>
                <a:gd name="T30" fmla="*/ 82 w 277"/>
                <a:gd name="T31" fmla="*/ 134 h 193"/>
                <a:gd name="T32" fmla="*/ 87 w 277"/>
                <a:gd name="T33" fmla="*/ 145 h 193"/>
                <a:gd name="T34" fmla="*/ 81 w 277"/>
                <a:gd name="T35" fmla="*/ 149 h 193"/>
                <a:gd name="T36" fmla="*/ 78 w 277"/>
                <a:gd name="T37" fmla="*/ 148 h 193"/>
                <a:gd name="T38" fmla="*/ 70 w 277"/>
                <a:gd name="T39" fmla="*/ 148 h 193"/>
                <a:gd name="T40" fmla="*/ 66 w 277"/>
                <a:gd name="T41" fmla="*/ 146 h 193"/>
                <a:gd name="T42" fmla="*/ 65 w 277"/>
                <a:gd name="T43" fmla="*/ 155 h 193"/>
                <a:gd name="T44" fmla="*/ 59 w 277"/>
                <a:gd name="T45" fmla="*/ 162 h 193"/>
                <a:gd name="T46" fmla="*/ 56 w 277"/>
                <a:gd name="T47" fmla="*/ 171 h 193"/>
                <a:gd name="T48" fmla="*/ 79 w 277"/>
                <a:gd name="T49" fmla="*/ 170 h 193"/>
                <a:gd name="T50" fmla="*/ 85 w 277"/>
                <a:gd name="T51" fmla="*/ 160 h 193"/>
                <a:gd name="T52" fmla="*/ 88 w 277"/>
                <a:gd name="T53" fmla="*/ 147 h 193"/>
                <a:gd name="T54" fmla="*/ 90 w 277"/>
                <a:gd name="T55" fmla="*/ 147 h 193"/>
                <a:gd name="T56" fmla="*/ 102 w 277"/>
                <a:gd name="T57" fmla="*/ 142 h 193"/>
                <a:gd name="T58" fmla="*/ 111 w 277"/>
                <a:gd name="T59" fmla="*/ 140 h 193"/>
                <a:gd name="T60" fmla="*/ 121 w 277"/>
                <a:gd name="T61" fmla="*/ 134 h 193"/>
                <a:gd name="T62" fmla="*/ 120 w 277"/>
                <a:gd name="T63" fmla="*/ 132 h 193"/>
                <a:gd name="T64" fmla="*/ 119 w 277"/>
                <a:gd name="T65" fmla="*/ 128 h 193"/>
                <a:gd name="T66" fmla="*/ 122 w 277"/>
                <a:gd name="T67" fmla="*/ 135 h 193"/>
                <a:gd name="T68" fmla="*/ 128 w 277"/>
                <a:gd name="T69" fmla="*/ 145 h 193"/>
                <a:gd name="T70" fmla="*/ 117 w 277"/>
                <a:gd name="T71" fmla="*/ 145 h 193"/>
                <a:gd name="T72" fmla="*/ 118 w 277"/>
                <a:gd name="T73" fmla="*/ 148 h 193"/>
                <a:gd name="T74" fmla="*/ 133 w 277"/>
                <a:gd name="T75" fmla="*/ 153 h 193"/>
                <a:gd name="T76" fmla="*/ 149 w 277"/>
                <a:gd name="T77" fmla="*/ 155 h 193"/>
                <a:gd name="T78" fmla="*/ 149 w 277"/>
                <a:gd name="T79" fmla="*/ 160 h 193"/>
                <a:gd name="T80" fmla="*/ 138 w 277"/>
                <a:gd name="T81" fmla="*/ 166 h 193"/>
                <a:gd name="T82" fmla="*/ 152 w 277"/>
                <a:gd name="T83" fmla="*/ 178 h 193"/>
                <a:gd name="T84" fmla="*/ 150 w 277"/>
                <a:gd name="T85" fmla="*/ 191 h 193"/>
                <a:gd name="T86" fmla="*/ 190 w 277"/>
                <a:gd name="T87" fmla="*/ 177 h 193"/>
                <a:gd name="T88" fmla="*/ 203 w 277"/>
                <a:gd name="T89" fmla="*/ 179 h 193"/>
                <a:gd name="T90" fmla="*/ 208 w 277"/>
                <a:gd name="T91" fmla="*/ 171 h 193"/>
                <a:gd name="T92" fmla="*/ 195 w 277"/>
                <a:gd name="T93" fmla="*/ 171 h 193"/>
                <a:gd name="T94" fmla="*/ 176 w 277"/>
                <a:gd name="T95" fmla="*/ 154 h 193"/>
                <a:gd name="T96" fmla="*/ 185 w 277"/>
                <a:gd name="T97" fmla="*/ 147 h 193"/>
                <a:gd name="T98" fmla="*/ 198 w 277"/>
                <a:gd name="T99" fmla="*/ 140 h 193"/>
                <a:gd name="T100" fmla="*/ 213 w 277"/>
                <a:gd name="T101" fmla="*/ 138 h 193"/>
                <a:gd name="T102" fmla="*/ 234 w 277"/>
                <a:gd name="T103" fmla="*/ 130 h 193"/>
                <a:gd name="T104" fmla="*/ 241 w 277"/>
                <a:gd name="T105" fmla="*/ 129 h 193"/>
                <a:gd name="T106" fmla="*/ 266 w 277"/>
                <a:gd name="T107" fmla="*/ 110 h 193"/>
                <a:gd name="T108" fmla="*/ 269 w 277"/>
                <a:gd name="T109" fmla="*/ 95 h 193"/>
                <a:gd name="T110" fmla="*/ 266 w 277"/>
                <a:gd name="T111" fmla="*/ 84 h 193"/>
                <a:gd name="T112" fmla="*/ 263 w 277"/>
                <a:gd name="T113" fmla="*/ 65 h 193"/>
                <a:gd name="T114" fmla="*/ 251 w 277"/>
                <a:gd name="T115" fmla="*/ 62 h 193"/>
                <a:gd name="T116" fmla="*/ 236 w 277"/>
                <a:gd name="T117" fmla="*/ 62 h 193"/>
                <a:gd name="T118" fmla="*/ 197 w 277"/>
                <a:gd name="T119" fmla="*/ 50 h 193"/>
                <a:gd name="T120" fmla="*/ 178 w 277"/>
                <a:gd name="T121" fmla="*/ 30 h 193"/>
                <a:gd name="T122" fmla="*/ 164 w 277"/>
                <a:gd name="T123" fmla="*/ 28 h 193"/>
                <a:gd name="T124" fmla="*/ 161 w 277"/>
                <a:gd name="T125" fmla="*/ 5 h 1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193">
                  <a:moveTo>
                    <a:pt x="154" y="0"/>
                  </a:moveTo>
                  <a:cubicBezTo>
                    <a:pt x="153" y="0"/>
                    <a:pt x="151" y="0"/>
                    <a:pt x="148" y="1"/>
                  </a:cubicBezTo>
                  <a:cubicBezTo>
                    <a:pt x="145" y="1"/>
                    <a:pt x="142" y="2"/>
                    <a:pt x="140" y="2"/>
                  </a:cubicBezTo>
                  <a:cubicBezTo>
                    <a:pt x="138" y="2"/>
                    <a:pt x="136" y="2"/>
                    <a:pt x="135" y="1"/>
                  </a:cubicBezTo>
                  <a:cubicBezTo>
                    <a:pt x="135" y="1"/>
                    <a:pt x="134" y="1"/>
                    <a:pt x="134" y="1"/>
                  </a:cubicBezTo>
                  <a:cubicBezTo>
                    <a:pt x="132" y="1"/>
                    <a:pt x="131" y="3"/>
                    <a:pt x="129" y="5"/>
                  </a:cubicBezTo>
                  <a:cubicBezTo>
                    <a:pt x="129" y="6"/>
                    <a:pt x="129" y="6"/>
                    <a:pt x="129" y="6"/>
                  </a:cubicBezTo>
                  <a:cubicBezTo>
                    <a:pt x="128" y="8"/>
                    <a:pt x="126" y="8"/>
                    <a:pt x="123" y="8"/>
                  </a:cubicBezTo>
                  <a:cubicBezTo>
                    <a:pt x="121" y="8"/>
                    <a:pt x="119" y="8"/>
                    <a:pt x="118" y="7"/>
                  </a:cubicBezTo>
                  <a:cubicBezTo>
                    <a:pt x="117" y="7"/>
                    <a:pt x="117" y="7"/>
                    <a:pt x="117" y="7"/>
                  </a:cubicBezTo>
                  <a:cubicBezTo>
                    <a:pt x="117" y="6"/>
                    <a:pt x="117" y="6"/>
                    <a:pt x="117" y="6"/>
                  </a:cubicBezTo>
                  <a:cubicBezTo>
                    <a:pt x="115" y="7"/>
                    <a:pt x="115" y="7"/>
                    <a:pt x="115" y="7"/>
                  </a:cubicBezTo>
                  <a:cubicBezTo>
                    <a:pt x="115" y="7"/>
                    <a:pt x="115" y="7"/>
                    <a:pt x="115" y="7"/>
                  </a:cubicBezTo>
                  <a:cubicBezTo>
                    <a:pt x="115" y="7"/>
                    <a:pt x="114" y="7"/>
                    <a:pt x="114" y="7"/>
                  </a:cubicBezTo>
                  <a:cubicBezTo>
                    <a:pt x="113" y="7"/>
                    <a:pt x="113" y="6"/>
                    <a:pt x="112" y="6"/>
                  </a:cubicBezTo>
                  <a:cubicBezTo>
                    <a:pt x="112" y="6"/>
                    <a:pt x="112" y="6"/>
                    <a:pt x="112" y="6"/>
                  </a:cubicBezTo>
                  <a:cubicBezTo>
                    <a:pt x="111" y="6"/>
                    <a:pt x="111" y="7"/>
                    <a:pt x="110" y="7"/>
                  </a:cubicBezTo>
                  <a:cubicBezTo>
                    <a:pt x="110" y="7"/>
                    <a:pt x="110" y="7"/>
                    <a:pt x="110" y="7"/>
                  </a:cubicBezTo>
                  <a:cubicBezTo>
                    <a:pt x="109" y="7"/>
                    <a:pt x="109" y="8"/>
                    <a:pt x="108" y="8"/>
                  </a:cubicBezTo>
                  <a:cubicBezTo>
                    <a:pt x="108" y="8"/>
                    <a:pt x="108" y="8"/>
                    <a:pt x="107" y="8"/>
                  </a:cubicBezTo>
                  <a:cubicBezTo>
                    <a:pt x="107" y="8"/>
                    <a:pt x="107" y="8"/>
                    <a:pt x="106" y="8"/>
                  </a:cubicBezTo>
                  <a:cubicBezTo>
                    <a:pt x="105" y="7"/>
                    <a:pt x="105" y="7"/>
                    <a:pt x="105" y="7"/>
                  </a:cubicBezTo>
                  <a:cubicBezTo>
                    <a:pt x="103" y="8"/>
                    <a:pt x="102" y="8"/>
                    <a:pt x="100" y="11"/>
                  </a:cubicBezTo>
                  <a:cubicBezTo>
                    <a:pt x="99" y="13"/>
                    <a:pt x="99" y="13"/>
                    <a:pt x="99" y="13"/>
                  </a:cubicBezTo>
                  <a:cubicBezTo>
                    <a:pt x="98" y="14"/>
                    <a:pt x="98" y="14"/>
                    <a:pt x="98" y="14"/>
                  </a:cubicBezTo>
                  <a:cubicBezTo>
                    <a:pt x="98" y="14"/>
                    <a:pt x="98" y="14"/>
                    <a:pt x="98" y="14"/>
                  </a:cubicBezTo>
                  <a:cubicBezTo>
                    <a:pt x="97" y="15"/>
                    <a:pt x="97" y="15"/>
                    <a:pt x="97" y="15"/>
                  </a:cubicBezTo>
                  <a:cubicBezTo>
                    <a:pt x="97" y="15"/>
                    <a:pt x="97" y="16"/>
                    <a:pt x="97" y="16"/>
                  </a:cubicBezTo>
                  <a:cubicBezTo>
                    <a:pt x="96" y="17"/>
                    <a:pt x="96" y="18"/>
                    <a:pt x="96" y="19"/>
                  </a:cubicBezTo>
                  <a:cubicBezTo>
                    <a:pt x="96" y="20"/>
                    <a:pt x="96" y="21"/>
                    <a:pt x="96" y="21"/>
                  </a:cubicBezTo>
                  <a:cubicBezTo>
                    <a:pt x="97" y="23"/>
                    <a:pt x="97" y="25"/>
                    <a:pt x="96" y="28"/>
                  </a:cubicBezTo>
                  <a:cubicBezTo>
                    <a:pt x="95" y="29"/>
                    <a:pt x="95" y="29"/>
                    <a:pt x="95" y="29"/>
                  </a:cubicBezTo>
                  <a:cubicBezTo>
                    <a:pt x="94" y="28"/>
                    <a:pt x="94" y="28"/>
                    <a:pt x="94" y="28"/>
                  </a:cubicBezTo>
                  <a:cubicBezTo>
                    <a:pt x="93" y="27"/>
                    <a:pt x="92" y="27"/>
                    <a:pt x="92" y="26"/>
                  </a:cubicBezTo>
                  <a:cubicBezTo>
                    <a:pt x="90" y="25"/>
                    <a:pt x="89" y="24"/>
                    <a:pt x="88" y="23"/>
                  </a:cubicBezTo>
                  <a:cubicBezTo>
                    <a:pt x="88" y="23"/>
                    <a:pt x="87" y="23"/>
                    <a:pt x="87" y="23"/>
                  </a:cubicBezTo>
                  <a:cubicBezTo>
                    <a:pt x="85" y="23"/>
                    <a:pt x="83" y="23"/>
                    <a:pt x="80" y="24"/>
                  </a:cubicBezTo>
                  <a:cubicBezTo>
                    <a:pt x="78" y="25"/>
                    <a:pt x="76" y="25"/>
                    <a:pt x="74" y="25"/>
                  </a:cubicBezTo>
                  <a:cubicBezTo>
                    <a:pt x="73" y="25"/>
                    <a:pt x="73" y="25"/>
                    <a:pt x="72" y="25"/>
                  </a:cubicBezTo>
                  <a:cubicBezTo>
                    <a:pt x="71" y="25"/>
                    <a:pt x="71" y="24"/>
                    <a:pt x="70" y="24"/>
                  </a:cubicBezTo>
                  <a:cubicBezTo>
                    <a:pt x="70" y="24"/>
                    <a:pt x="70" y="24"/>
                    <a:pt x="70" y="24"/>
                  </a:cubicBezTo>
                  <a:cubicBezTo>
                    <a:pt x="70" y="23"/>
                    <a:pt x="70" y="23"/>
                    <a:pt x="70" y="23"/>
                  </a:cubicBezTo>
                  <a:cubicBezTo>
                    <a:pt x="70" y="22"/>
                    <a:pt x="70" y="22"/>
                    <a:pt x="70" y="22"/>
                  </a:cubicBezTo>
                  <a:cubicBezTo>
                    <a:pt x="70" y="22"/>
                    <a:pt x="70" y="22"/>
                    <a:pt x="70" y="22"/>
                  </a:cubicBezTo>
                  <a:cubicBezTo>
                    <a:pt x="69" y="23"/>
                    <a:pt x="69" y="23"/>
                    <a:pt x="69" y="23"/>
                  </a:cubicBezTo>
                  <a:cubicBezTo>
                    <a:pt x="69" y="22"/>
                    <a:pt x="69" y="22"/>
                    <a:pt x="68" y="21"/>
                  </a:cubicBezTo>
                  <a:cubicBezTo>
                    <a:pt x="68" y="21"/>
                    <a:pt x="68" y="20"/>
                    <a:pt x="67" y="20"/>
                  </a:cubicBezTo>
                  <a:cubicBezTo>
                    <a:pt x="67" y="19"/>
                    <a:pt x="67" y="19"/>
                    <a:pt x="67" y="19"/>
                  </a:cubicBezTo>
                  <a:cubicBezTo>
                    <a:pt x="66" y="19"/>
                    <a:pt x="66" y="19"/>
                    <a:pt x="66" y="19"/>
                  </a:cubicBezTo>
                  <a:cubicBezTo>
                    <a:pt x="66" y="19"/>
                    <a:pt x="66" y="19"/>
                    <a:pt x="66" y="19"/>
                  </a:cubicBezTo>
                  <a:cubicBezTo>
                    <a:pt x="66" y="19"/>
                    <a:pt x="66" y="19"/>
                    <a:pt x="66" y="19"/>
                  </a:cubicBezTo>
                  <a:cubicBezTo>
                    <a:pt x="65" y="20"/>
                    <a:pt x="65" y="20"/>
                    <a:pt x="65" y="20"/>
                  </a:cubicBezTo>
                  <a:cubicBezTo>
                    <a:pt x="65" y="20"/>
                    <a:pt x="64" y="21"/>
                    <a:pt x="64" y="21"/>
                  </a:cubicBezTo>
                  <a:cubicBezTo>
                    <a:pt x="63" y="21"/>
                    <a:pt x="63" y="21"/>
                    <a:pt x="61" y="24"/>
                  </a:cubicBezTo>
                  <a:cubicBezTo>
                    <a:pt x="61" y="25"/>
                    <a:pt x="61" y="25"/>
                    <a:pt x="61" y="25"/>
                  </a:cubicBezTo>
                  <a:cubicBezTo>
                    <a:pt x="59" y="24"/>
                    <a:pt x="59" y="24"/>
                    <a:pt x="59" y="24"/>
                  </a:cubicBezTo>
                  <a:cubicBezTo>
                    <a:pt x="58" y="23"/>
                    <a:pt x="57" y="23"/>
                    <a:pt x="56" y="23"/>
                  </a:cubicBezTo>
                  <a:cubicBezTo>
                    <a:pt x="54" y="22"/>
                    <a:pt x="52" y="21"/>
                    <a:pt x="51" y="19"/>
                  </a:cubicBezTo>
                  <a:cubicBezTo>
                    <a:pt x="50" y="19"/>
                    <a:pt x="50" y="19"/>
                    <a:pt x="50" y="19"/>
                  </a:cubicBezTo>
                  <a:cubicBezTo>
                    <a:pt x="50" y="19"/>
                    <a:pt x="50" y="19"/>
                    <a:pt x="50" y="19"/>
                  </a:cubicBezTo>
                  <a:cubicBezTo>
                    <a:pt x="49" y="19"/>
                    <a:pt x="48" y="19"/>
                    <a:pt x="47" y="19"/>
                  </a:cubicBezTo>
                  <a:cubicBezTo>
                    <a:pt x="44" y="19"/>
                    <a:pt x="44" y="19"/>
                    <a:pt x="41" y="22"/>
                  </a:cubicBezTo>
                  <a:cubicBezTo>
                    <a:pt x="33" y="30"/>
                    <a:pt x="33" y="30"/>
                    <a:pt x="33" y="30"/>
                  </a:cubicBezTo>
                  <a:cubicBezTo>
                    <a:pt x="39" y="20"/>
                    <a:pt x="39" y="20"/>
                    <a:pt x="39" y="20"/>
                  </a:cubicBezTo>
                  <a:cubicBezTo>
                    <a:pt x="39" y="20"/>
                    <a:pt x="39" y="20"/>
                    <a:pt x="39" y="20"/>
                  </a:cubicBezTo>
                  <a:cubicBezTo>
                    <a:pt x="39" y="19"/>
                    <a:pt x="37" y="19"/>
                    <a:pt x="34" y="18"/>
                  </a:cubicBezTo>
                  <a:cubicBezTo>
                    <a:pt x="33" y="18"/>
                    <a:pt x="33" y="18"/>
                    <a:pt x="32" y="18"/>
                  </a:cubicBezTo>
                  <a:cubicBezTo>
                    <a:pt x="8" y="13"/>
                    <a:pt x="8" y="13"/>
                    <a:pt x="8" y="13"/>
                  </a:cubicBezTo>
                  <a:cubicBezTo>
                    <a:pt x="5" y="13"/>
                    <a:pt x="2" y="12"/>
                    <a:pt x="0" y="12"/>
                  </a:cubicBezTo>
                  <a:cubicBezTo>
                    <a:pt x="0" y="108"/>
                    <a:pt x="0" y="108"/>
                    <a:pt x="0" y="108"/>
                  </a:cubicBezTo>
                  <a:cubicBezTo>
                    <a:pt x="1" y="108"/>
                    <a:pt x="1" y="108"/>
                    <a:pt x="2" y="108"/>
                  </a:cubicBezTo>
                  <a:cubicBezTo>
                    <a:pt x="4" y="108"/>
                    <a:pt x="7" y="107"/>
                    <a:pt x="9" y="107"/>
                  </a:cubicBezTo>
                  <a:cubicBezTo>
                    <a:pt x="10" y="106"/>
                    <a:pt x="10" y="106"/>
                    <a:pt x="10" y="106"/>
                  </a:cubicBezTo>
                  <a:cubicBezTo>
                    <a:pt x="19" y="101"/>
                    <a:pt x="19" y="101"/>
                    <a:pt x="19" y="101"/>
                  </a:cubicBezTo>
                  <a:cubicBezTo>
                    <a:pt x="20" y="99"/>
                    <a:pt x="20" y="99"/>
                    <a:pt x="20" y="99"/>
                  </a:cubicBezTo>
                  <a:cubicBezTo>
                    <a:pt x="22" y="98"/>
                    <a:pt x="23" y="97"/>
                    <a:pt x="25" y="97"/>
                  </a:cubicBezTo>
                  <a:cubicBezTo>
                    <a:pt x="25" y="97"/>
                    <a:pt x="26" y="97"/>
                    <a:pt x="27" y="97"/>
                  </a:cubicBezTo>
                  <a:cubicBezTo>
                    <a:pt x="27" y="97"/>
                    <a:pt x="28" y="97"/>
                    <a:pt x="29" y="97"/>
                  </a:cubicBezTo>
                  <a:cubicBezTo>
                    <a:pt x="29" y="97"/>
                    <a:pt x="30" y="97"/>
                    <a:pt x="30" y="97"/>
                  </a:cubicBezTo>
                  <a:cubicBezTo>
                    <a:pt x="32" y="97"/>
                    <a:pt x="34" y="96"/>
                    <a:pt x="36" y="95"/>
                  </a:cubicBezTo>
                  <a:cubicBezTo>
                    <a:pt x="37" y="95"/>
                    <a:pt x="37" y="95"/>
                    <a:pt x="37" y="95"/>
                  </a:cubicBezTo>
                  <a:cubicBezTo>
                    <a:pt x="37" y="95"/>
                    <a:pt x="37" y="95"/>
                    <a:pt x="37" y="95"/>
                  </a:cubicBezTo>
                  <a:cubicBezTo>
                    <a:pt x="38" y="95"/>
                    <a:pt x="38" y="95"/>
                    <a:pt x="39" y="95"/>
                  </a:cubicBezTo>
                  <a:cubicBezTo>
                    <a:pt x="39" y="96"/>
                    <a:pt x="39" y="96"/>
                    <a:pt x="39" y="96"/>
                  </a:cubicBezTo>
                  <a:cubicBezTo>
                    <a:pt x="40" y="96"/>
                    <a:pt x="40" y="96"/>
                    <a:pt x="41" y="96"/>
                  </a:cubicBezTo>
                  <a:cubicBezTo>
                    <a:pt x="45" y="97"/>
                    <a:pt x="48" y="99"/>
                    <a:pt x="52" y="101"/>
                  </a:cubicBezTo>
                  <a:cubicBezTo>
                    <a:pt x="53" y="101"/>
                    <a:pt x="53" y="102"/>
                    <a:pt x="54" y="102"/>
                  </a:cubicBezTo>
                  <a:cubicBezTo>
                    <a:pt x="56" y="103"/>
                    <a:pt x="57" y="104"/>
                    <a:pt x="59" y="104"/>
                  </a:cubicBezTo>
                  <a:cubicBezTo>
                    <a:pt x="59" y="104"/>
                    <a:pt x="60" y="105"/>
                    <a:pt x="61" y="105"/>
                  </a:cubicBezTo>
                  <a:cubicBezTo>
                    <a:pt x="62" y="106"/>
                    <a:pt x="62" y="106"/>
                    <a:pt x="62" y="106"/>
                  </a:cubicBezTo>
                  <a:cubicBezTo>
                    <a:pt x="63" y="106"/>
                    <a:pt x="65" y="107"/>
                    <a:pt x="66" y="107"/>
                  </a:cubicBezTo>
                  <a:cubicBezTo>
                    <a:pt x="66" y="107"/>
                    <a:pt x="66" y="107"/>
                    <a:pt x="66" y="107"/>
                  </a:cubicBezTo>
                  <a:cubicBezTo>
                    <a:pt x="66" y="107"/>
                    <a:pt x="67" y="106"/>
                    <a:pt x="67" y="106"/>
                  </a:cubicBezTo>
                  <a:cubicBezTo>
                    <a:pt x="68" y="106"/>
                    <a:pt x="68" y="107"/>
                    <a:pt x="68" y="107"/>
                  </a:cubicBezTo>
                  <a:cubicBezTo>
                    <a:pt x="70" y="107"/>
                    <a:pt x="70" y="108"/>
                    <a:pt x="70" y="109"/>
                  </a:cubicBezTo>
                  <a:cubicBezTo>
                    <a:pt x="71" y="109"/>
                    <a:pt x="71" y="109"/>
                    <a:pt x="71" y="110"/>
                  </a:cubicBezTo>
                  <a:cubicBezTo>
                    <a:pt x="72" y="113"/>
                    <a:pt x="71" y="116"/>
                    <a:pt x="70" y="117"/>
                  </a:cubicBezTo>
                  <a:cubicBezTo>
                    <a:pt x="70" y="118"/>
                    <a:pt x="70" y="118"/>
                    <a:pt x="69" y="119"/>
                  </a:cubicBezTo>
                  <a:cubicBezTo>
                    <a:pt x="70" y="119"/>
                    <a:pt x="70" y="120"/>
                    <a:pt x="71" y="121"/>
                  </a:cubicBezTo>
                  <a:cubicBezTo>
                    <a:pt x="72" y="121"/>
                    <a:pt x="73" y="122"/>
                    <a:pt x="73" y="123"/>
                  </a:cubicBezTo>
                  <a:cubicBezTo>
                    <a:pt x="74" y="122"/>
                    <a:pt x="74" y="122"/>
                    <a:pt x="74" y="122"/>
                  </a:cubicBezTo>
                  <a:cubicBezTo>
                    <a:pt x="74" y="122"/>
                    <a:pt x="75" y="122"/>
                    <a:pt x="75" y="122"/>
                  </a:cubicBezTo>
                  <a:cubicBezTo>
                    <a:pt x="75" y="122"/>
                    <a:pt x="75" y="122"/>
                    <a:pt x="75" y="122"/>
                  </a:cubicBezTo>
                  <a:cubicBezTo>
                    <a:pt x="76" y="122"/>
                    <a:pt x="76" y="122"/>
                    <a:pt x="76" y="122"/>
                  </a:cubicBezTo>
                  <a:cubicBezTo>
                    <a:pt x="77" y="123"/>
                    <a:pt x="78" y="124"/>
                    <a:pt x="78" y="126"/>
                  </a:cubicBezTo>
                  <a:cubicBezTo>
                    <a:pt x="78" y="127"/>
                    <a:pt x="77" y="128"/>
                    <a:pt x="77" y="129"/>
                  </a:cubicBezTo>
                  <a:cubicBezTo>
                    <a:pt x="77" y="129"/>
                    <a:pt x="77" y="129"/>
                    <a:pt x="77" y="129"/>
                  </a:cubicBezTo>
                  <a:cubicBezTo>
                    <a:pt x="78" y="131"/>
                    <a:pt x="79" y="132"/>
                    <a:pt x="81" y="133"/>
                  </a:cubicBezTo>
                  <a:cubicBezTo>
                    <a:pt x="80" y="135"/>
                    <a:pt x="80" y="135"/>
                    <a:pt x="80" y="135"/>
                  </a:cubicBezTo>
                  <a:cubicBezTo>
                    <a:pt x="81" y="134"/>
                    <a:pt x="81" y="134"/>
                    <a:pt x="81" y="134"/>
                  </a:cubicBezTo>
                  <a:cubicBezTo>
                    <a:pt x="81" y="134"/>
                    <a:pt x="81" y="134"/>
                    <a:pt x="81" y="134"/>
                  </a:cubicBezTo>
                  <a:cubicBezTo>
                    <a:pt x="82" y="134"/>
                    <a:pt x="82" y="134"/>
                    <a:pt x="82" y="134"/>
                  </a:cubicBezTo>
                  <a:cubicBezTo>
                    <a:pt x="83" y="134"/>
                    <a:pt x="83" y="134"/>
                    <a:pt x="83" y="134"/>
                  </a:cubicBezTo>
                  <a:cubicBezTo>
                    <a:pt x="83" y="134"/>
                    <a:pt x="83" y="134"/>
                    <a:pt x="83" y="134"/>
                  </a:cubicBezTo>
                  <a:cubicBezTo>
                    <a:pt x="84" y="135"/>
                    <a:pt x="84" y="135"/>
                    <a:pt x="84" y="136"/>
                  </a:cubicBezTo>
                  <a:cubicBezTo>
                    <a:pt x="85" y="138"/>
                    <a:pt x="85" y="140"/>
                    <a:pt x="84" y="141"/>
                  </a:cubicBezTo>
                  <a:cubicBezTo>
                    <a:pt x="84" y="142"/>
                    <a:pt x="84" y="142"/>
                    <a:pt x="85" y="143"/>
                  </a:cubicBezTo>
                  <a:cubicBezTo>
                    <a:pt x="85" y="143"/>
                    <a:pt x="85" y="143"/>
                    <a:pt x="85" y="143"/>
                  </a:cubicBezTo>
                  <a:cubicBezTo>
                    <a:pt x="87" y="144"/>
                    <a:pt x="87" y="144"/>
                    <a:pt x="87" y="145"/>
                  </a:cubicBezTo>
                  <a:cubicBezTo>
                    <a:pt x="88" y="145"/>
                    <a:pt x="88" y="145"/>
                    <a:pt x="88" y="145"/>
                  </a:cubicBezTo>
                  <a:cubicBezTo>
                    <a:pt x="88" y="146"/>
                    <a:pt x="88" y="146"/>
                    <a:pt x="88" y="146"/>
                  </a:cubicBezTo>
                  <a:cubicBezTo>
                    <a:pt x="88" y="147"/>
                    <a:pt x="87" y="148"/>
                    <a:pt x="86" y="148"/>
                  </a:cubicBezTo>
                  <a:cubicBezTo>
                    <a:pt x="85" y="148"/>
                    <a:pt x="85" y="148"/>
                    <a:pt x="85" y="148"/>
                  </a:cubicBezTo>
                  <a:cubicBezTo>
                    <a:pt x="85" y="148"/>
                    <a:pt x="84" y="149"/>
                    <a:pt x="83" y="149"/>
                  </a:cubicBezTo>
                  <a:cubicBezTo>
                    <a:pt x="83" y="149"/>
                    <a:pt x="82" y="149"/>
                    <a:pt x="82" y="149"/>
                  </a:cubicBezTo>
                  <a:cubicBezTo>
                    <a:pt x="82" y="149"/>
                    <a:pt x="82" y="149"/>
                    <a:pt x="81" y="149"/>
                  </a:cubicBezTo>
                  <a:cubicBezTo>
                    <a:pt x="81" y="149"/>
                    <a:pt x="81" y="149"/>
                    <a:pt x="81" y="149"/>
                  </a:cubicBezTo>
                  <a:cubicBezTo>
                    <a:pt x="80" y="148"/>
                    <a:pt x="80" y="148"/>
                    <a:pt x="80" y="148"/>
                  </a:cubicBezTo>
                  <a:cubicBezTo>
                    <a:pt x="80" y="148"/>
                    <a:pt x="80" y="148"/>
                    <a:pt x="80" y="148"/>
                  </a:cubicBezTo>
                  <a:cubicBezTo>
                    <a:pt x="80" y="148"/>
                    <a:pt x="80" y="148"/>
                    <a:pt x="80" y="148"/>
                  </a:cubicBezTo>
                  <a:cubicBezTo>
                    <a:pt x="80" y="148"/>
                    <a:pt x="80" y="148"/>
                    <a:pt x="80" y="148"/>
                  </a:cubicBezTo>
                  <a:cubicBezTo>
                    <a:pt x="79" y="148"/>
                    <a:pt x="79" y="148"/>
                    <a:pt x="79" y="148"/>
                  </a:cubicBezTo>
                  <a:cubicBezTo>
                    <a:pt x="79" y="148"/>
                    <a:pt x="79" y="148"/>
                    <a:pt x="78" y="148"/>
                  </a:cubicBezTo>
                  <a:cubicBezTo>
                    <a:pt x="77" y="148"/>
                    <a:pt x="76" y="148"/>
                    <a:pt x="75" y="147"/>
                  </a:cubicBezTo>
                  <a:cubicBezTo>
                    <a:pt x="75" y="147"/>
                    <a:pt x="75" y="147"/>
                    <a:pt x="75" y="147"/>
                  </a:cubicBezTo>
                  <a:cubicBezTo>
                    <a:pt x="74" y="146"/>
                    <a:pt x="74" y="146"/>
                    <a:pt x="74" y="146"/>
                  </a:cubicBezTo>
                  <a:cubicBezTo>
                    <a:pt x="74" y="146"/>
                    <a:pt x="74" y="146"/>
                    <a:pt x="74" y="146"/>
                  </a:cubicBezTo>
                  <a:cubicBezTo>
                    <a:pt x="73" y="146"/>
                    <a:pt x="72" y="147"/>
                    <a:pt x="71" y="148"/>
                  </a:cubicBezTo>
                  <a:cubicBezTo>
                    <a:pt x="71" y="148"/>
                    <a:pt x="71" y="148"/>
                    <a:pt x="71" y="148"/>
                  </a:cubicBezTo>
                  <a:cubicBezTo>
                    <a:pt x="70" y="148"/>
                    <a:pt x="70" y="148"/>
                    <a:pt x="70" y="148"/>
                  </a:cubicBezTo>
                  <a:cubicBezTo>
                    <a:pt x="70" y="148"/>
                    <a:pt x="70" y="148"/>
                    <a:pt x="70" y="148"/>
                  </a:cubicBezTo>
                  <a:cubicBezTo>
                    <a:pt x="69" y="148"/>
                    <a:pt x="68" y="148"/>
                    <a:pt x="68" y="147"/>
                  </a:cubicBezTo>
                  <a:cubicBezTo>
                    <a:pt x="68" y="147"/>
                    <a:pt x="68" y="147"/>
                    <a:pt x="68" y="147"/>
                  </a:cubicBezTo>
                  <a:cubicBezTo>
                    <a:pt x="67" y="146"/>
                    <a:pt x="67" y="146"/>
                    <a:pt x="67" y="146"/>
                  </a:cubicBezTo>
                  <a:cubicBezTo>
                    <a:pt x="67" y="146"/>
                    <a:pt x="67" y="146"/>
                    <a:pt x="67" y="146"/>
                  </a:cubicBezTo>
                  <a:cubicBezTo>
                    <a:pt x="66" y="146"/>
                    <a:pt x="66" y="146"/>
                    <a:pt x="66" y="146"/>
                  </a:cubicBezTo>
                  <a:cubicBezTo>
                    <a:pt x="66" y="146"/>
                    <a:pt x="66" y="146"/>
                    <a:pt x="66" y="146"/>
                  </a:cubicBezTo>
                  <a:cubicBezTo>
                    <a:pt x="66" y="147"/>
                    <a:pt x="66" y="147"/>
                    <a:pt x="66" y="147"/>
                  </a:cubicBezTo>
                  <a:cubicBezTo>
                    <a:pt x="66" y="148"/>
                    <a:pt x="66" y="149"/>
                    <a:pt x="66" y="149"/>
                  </a:cubicBezTo>
                  <a:cubicBezTo>
                    <a:pt x="66" y="150"/>
                    <a:pt x="67" y="151"/>
                    <a:pt x="66" y="152"/>
                  </a:cubicBezTo>
                  <a:cubicBezTo>
                    <a:pt x="66" y="152"/>
                    <a:pt x="66" y="153"/>
                    <a:pt x="66" y="153"/>
                  </a:cubicBezTo>
                  <a:cubicBezTo>
                    <a:pt x="66" y="154"/>
                    <a:pt x="66" y="154"/>
                    <a:pt x="66" y="154"/>
                  </a:cubicBezTo>
                  <a:cubicBezTo>
                    <a:pt x="65" y="154"/>
                    <a:pt x="65" y="154"/>
                    <a:pt x="65" y="155"/>
                  </a:cubicBezTo>
                  <a:cubicBezTo>
                    <a:pt x="65" y="155"/>
                    <a:pt x="65" y="155"/>
                    <a:pt x="65" y="155"/>
                  </a:cubicBezTo>
                  <a:cubicBezTo>
                    <a:pt x="65" y="157"/>
                    <a:pt x="64" y="157"/>
                    <a:pt x="63" y="157"/>
                  </a:cubicBezTo>
                  <a:cubicBezTo>
                    <a:pt x="63" y="157"/>
                    <a:pt x="63" y="157"/>
                    <a:pt x="63" y="157"/>
                  </a:cubicBezTo>
                  <a:cubicBezTo>
                    <a:pt x="62" y="158"/>
                    <a:pt x="62" y="159"/>
                    <a:pt x="61" y="160"/>
                  </a:cubicBezTo>
                  <a:cubicBezTo>
                    <a:pt x="61" y="160"/>
                    <a:pt x="61" y="160"/>
                    <a:pt x="61" y="160"/>
                  </a:cubicBezTo>
                  <a:cubicBezTo>
                    <a:pt x="61" y="160"/>
                    <a:pt x="61" y="160"/>
                    <a:pt x="61" y="160"/>
                  </a:cubicBezTo>
                  <a:cubicBezTo>
                    <a:pt x="60" y="161"/>
                    <a:pt x="60" y="161"/>
                    <a:pt x="60" y="161"/>
                  </a:cubicBezTo>
                  <a:cubicBezTo>
                    <a:pt x="60" y="161"/>
                    <a:pt x="59" y="162"/>
                    <a:pt x="59" y="162"/>
                  </a:cubicBezTo>
                  <a:cubicBezTo>
                    <a:pt x="58" y="163"/>
                    <a:pt x="57" y="163"/>
                    <a:pt x="57" y="164"/>
                  </a:cubicBezTo>
                  <a:cubicBezTo>
                    <a:pt x="57" y="164"/>
                    <a:pt x="57" y="164"/>
                    <a:pt x="57" y="164"/>
                  </a:cubicBezTo>
                  <a:cubicBezTo>
                    <a:pt x="59" y="166"/>
                    <a:pt x="59" y="166"/>
                    <a:pt x="59" y="166"/>
                  </a:cubicBezTo>
                  <a:cubicBezTo>
                    <a:pt x="57" y="167"/>
                    <a:pt x="57" y="167"/>
                    <a:pt x="57" y="167"/>
                  </a:cubicBezTo>
                  <a:cubicBezTo>
                    <a:pt x="55" y="167"/>
                    <a:pt x="54" y="168"/>
                    <a:pt x="53" y="169"/>
                  </a:cubicBezTo>
                  <a:cubicBezTo>
                    <a:pt x="53" y="169"/>
                    <a:pt x="53" y="169"/>
                    <a:pt x="53" y="169"/>
                  </a:cubicBezTo>
                  <a:cubicBezTo>
                    <a:pt x="54" y="170"/>
                    <a:pt x="55" y="170"/>
                    <a:pt x="56" y="171"/>
                  </a:cubicBezTo>
                  <a:cubicBezTo>
                    <a:pt x="57" y="171"/>
                    <a:pt x="57" y="172"/>
                    <a:pt x="58" y="172"/>
                  </a:cubicBezTo>
                  <a:cubicBezTo>
                    <a:pt x="60" y="172"/>
                    <a:pt x="60" y="172"/>
                    <a:pt x="60" y="172"/>
                  </a:cubicBezTo>
                  <a:cubicBezTo>
                    <a:pt x="63" y="171"/>
                    <a:pt x="63" y="171"/>
                    <a:pt x="64" y="171"/>
                  </a:cubicBezTo>
                  <a:cubicBezTo>
                    <a:pt x="65" y="170"/>
                    <a:pt x="65" y="170"/>
                    <a:pt x="65" y="170"/>
                  </a:cubicBezTo>
                  <a:cubicBezTo>
                    <a:pt x="67" y="169"/>
                    <a:pt x="71" y="168"/>
                    <a:pt x="73" y="168"/>
                  </a:cubicBezTo>
                  <a:cubicBezTo>
                    <a:pt x="73" y="168"/>
                    <a:pt x="73" y="168"/>
                    <a:pt x="73" y="168"/>
                  </a:cubicBezTo>
                  <a:cubicBezTo>
                    <a:pt x="75" y="168"/>
                    <a:pt x="77" y="169"/>
                    <a:pt x="79" y="170"/>
                  </a:cubicBezTo>
                  <a:cubicBezTo>
                    <a:pt x="79" y="171"/>
                    <a:pt x="79" y="171"/>
                    <a:pt x="79" y="171"/>
                  </a:cubicBezTo>
                  <a:cubicBezTo>
                    <a:pt x="79" y="167"/>
                    <a:pt x="78" y="164"/>
                    <a:pt x="77" y="160"/>
                  </a:cubicBezTo>
                  <a:cubicBezTo>
                    <a:pt x="79" y="161"/>
                    <a:pt x="78" y="164"/>
                    <a:pt x="79" y="164"/>
                  </a:cubicBezTo>
                  <a:cubicBezTo>
                    <a:pt x="79" y="164"/>
                    <a:pt x="79" y="163"/>
                    <a:pt x="81" y="162"/>
                  </a:cubicBezTo>
                  <a:cubicBezTo>
                    <a:pt x="81" y="162"/>
                    <a:pt x="83" y="160"/>
                    <a:pt x="84" y="160"/>
                  </a:cubicBezTo>
                  <a:cubicBezTo>
                    <a:pt x="84" y="160"/>
                    <a:pt x="84" y="160"/>
                    <a:pt x="85" y="160"/>
                  </a:cubicBezTo>
                  <a:cubicBezTo>
                    <a:pt x="85" y="160"/>
                    <a:pt x="85" y="160"/>
                    <a:pt x="85" y="160"/>
                  </a:cubicBezTo>
                  <a:cubicBezTo>
                    <a:pt x="86" y="160"/>
                    <a:pt x="86" y="160"/>
                    <a:pt x="86" y="160"/>
                  </a:cubicBezTo>
                  <a:cubicBezTo>
                    <a:pt x="87" y="160"/>
                    <a:pt x="87" y="160"/>
                    <a:pt x="88" y="159"/>
                  </a:cubicBezTo>
                  <a:cubicBezTo>
                    <a:pt x="88" y="159"/>
                    <a:pt x="92" y="156"/>
                    <a:pt x="92" y="155"/>
                  </a:cubicBezTo>
                  <a:cubicBezTo>
                    <a:pt x="91" y="153"/>
                    <a:pt x="90" y="151"/>
                    <a:pt x="88" y="150"/>
                  </a:cubicBezTo>
                  <a:cubicBezTo>
                    <a:pt x="88" y="149"/>
                    <a:pt x="87" y="148"/>
                    <a:pt x="87" y="148"/>
                  </a:cubicBezTo>
                  <a:cubicBezTo>
                    <a:pt x="87" y="147"/>
                    <a:pt x="88" y="147"/>
                    <a:pt x="88" y="147"/>
                  </a:cubicBezTo>
                  <a:cubicBezTo>
                    <a:pt x="88" y="147"/>
                    <a:pt x="88" y="147"/>
                    <a:pt x="88" y="147"/>
                  </a:cubicBezTo>
                  <a:cubicBezTo>
                    <a:pt x="88" y="147"/>
                    <a:pt x="88" y="147"/>
                    <a:pt x="89" y="147"/>
                  </a:cubicBezTo>
                  <a:cubicBezTo>
                    <a:pt x="89" y="147"/>
                    <a:pt x="89" y="147"/>
                    <a:pt x="89" y="147"/>
                  </a:cubicBezTo>
                  <a:cubicBezTo>
                    <a:pt x="89" y="148"/>
                    <a:pt x="89" y="148"/>
                    <a:pt x="89" y="148"/>
                  </a:cubicBezTo>
                  <a:cubicBezTo>
                    <a:pt x="89" y="148"/>
                    <a:pt x="89" y="148"/>
                    <a:pt x="89" y="148"/>
                  </a:cubicBezTo>
                  <a:cubicBezTo>
                    <a:pt x="89" y="148"/>
                    <a:pt x="89" y="148"/>
                    <a:pt x="89" y="148"/>
                  </a:cubicBezTo>
                  <a:cubicBezTo>
                    <a:pt x="89" y="148"/>
                    <a:pt x="89" y="148"/>
                    <a:pt x="89" y="148"/>
                  </a:cubicBezTo>
                  <a:cubicBezTo>
                    <a:pt x="90" y="148"/>
                    <a:pt x="90" y="148"/>
                    <a:pt x="90" y="147"/>
                  </a:cubicBezTo>
                  <a:cubicBezTo>
                    <a:pt x="90" y="148"/>
                    <a:pt x="90" y="148"/>
                    <a:pt x="91" y="148"/>
                  </a:cubicBezTo>
                  <a:cubicBezTo>
                    <a:pt x="91" y="149"/>
                    <a:pt x="91" y="149"/>
                    <a:pt x="92" y="150"/>
                  </a:cubicBezTo>
                  <a:cubicBezTo>
                    <a:pt x="92" y="151"/>
                    <a:pt x="92" y="151"/>
                    <a:pt x="92" y="151"/>
                  </a:cubicBezTo>
                  <a:cubicBezTo>
                    <a:pt x="92" y="151"/>
                    <a:pt x="92" y="151"/>
                    <a:pt x="92" y="151"/>
                  </a:cubicBezTo>
                  <a:cubicBezTo>
                    <a:pt x="93" y="150"/>
                    <a:pt x="94" y="149"/>
                    <a:pt x="94" y="148"/>
                  </a:cubicBezTo>
                  <a:cubicBezTo>
                    <a:pt x="95" y="148"/>
                    <a:pt x="96" y="147"/>
                    <a:pt x="96" y="146"/>
                  </a:cubicBezTo>
                  <a:cubicBezTo>
                    <a:pt x="98" y="144"/>
                    <a:pt x="99" y="143"/>
                    <a:pt x="102" y="142"/>
                  </a:cubicBezTo>
                  <a:cubicBezTo>
                    <a:pt x="102" y="142"/>
                    <a:pt x="103" y="142"/>
                    <a:pt x="103" y="142"/>
                  </a:cubicBezTo>
                  <a:cubicBezTo>
                    <a:pt x="104" y="142"/>
                    <a:pt x="104" y="142"/>
                    <a:pt x="105" y="141"/>
                  </a:cubicBezTo>
                  <a:cubicBezTo>
                    <a:pt x="105" y="141"/>
                    <a:pt x="106" y="141"/>
                    <a:pt x="106" y="141"/>
                  </a:cubicBezTo>
                  <a:cubicBezTo>
                    <a:pt x="107" y="141"/>
                    <a:pt x="107" y="141"/>
                    <a:pt x="108" y="141"/>
                  </a:cubicBezTo>
                  <a:cubicBezTo>
                    <a:pt x="108" y="141"/>
                    <a:pt x="108" y="141"/>
                    <a:pt x="108" y="141"/>
                  </a:cubicBezTo>
                  <a:cubicBezTo>
                    <a:pt x="109" y="141"/>
                    <a:pt x="109" y="141"/>
                    <a:pt x="110" y="141"/>
                  </a:cubicBezTo>
                  <a:cubicBezTo>
                    <a:pt x="111" y="140"/>
                    <a:pt x="111" y="140"/>
                    <a:pt x="111" y="140"/>
                  </a:cubicBezTo>
                  <a:cubicBezTo>
                    <a:pt x="112" y="139"/>
                    <a:pt x="113" y="138"/>
                    <a:pt x="115" y="136"/>
                  </a:cubicBezTo>
                  <a:cubicBezTo>
                    <a:pt x="114" y="138"/>
                    <a:pt x="114" y="138"/>
                    <a:pt x="114" y="138"/>
                  </a:cubicBezTo>
                  <a:cubicBezTo>
                    <a:pt x="114" y="138"/>
                    <a:pt x="113" y="138"/>
                    <a:pt x="115" y="139"/>
                  </a:cubicBezTo>
                  <a:cubicBezTo>
                    <a:pt x="117" y="139"/>
                    <a:pt x="119" y="140"/>
                    <a:pt x="121" y="140"/>
                  </a:cubicBezTo>
                  <a:cubicBezTo>
                    <a:pt x="120" y="138"/>
                    <a:pt x="120" y="137"/>
                    <a:pt x="121" y="135"/>
                  </a:cubicBezTo>
                  <a:cubicBezTo>
                    <a:pt x="122" y="135"/>
                    <a:pt x="122" y="134"/>
                    <a:pt x="121" y="134"/>
                  </a:cubicBezTo>
                  <a:cubicBezTo>
                    <a:pt x="121" y="134"/>
                    <a:pt x="121" y="134"/>
                    <a:pt x="121" y="134"/>
                  </a:cubicBezTo>
                  <a:cubicBezTo>
                    <a:pt x="121" y="134"/>
                    <a:pt x="121" y="134"/>
                    <a:pt x="121" y="134"/>
                  </a:cubicBezTo>
                  <a:cubicBezTo>
                    <a:pt x="121" y="134"/>
                    <a:pt x="121" y="134"/>
                    <a:pt x="121" y="134"/>
                  </a:cubicBezTo>
                  <a:cubicBezTo>
                    <a:pt x="121" y="133"/>
                    <a:pt x="121" y="133"/>
                    <a:pt x="121" y="133"/>
                  </a:cubicBezTo>
                  <a:cubicBezTo>
                    <a:pt x="121" y="133"/>
                    <a:pt x="121" y="133"/>
                    <a:pt x="121" y="133"/>
                  </a:cubicBezTo>
                  <a:cubicBezTo>
                    <a:pt x="121" y="132"/>
                    <a:pt x="121" y="132"/>
                    <a:pt x="121" y="132"/>
                  </a:cubicBezTo>
                  <a:cubicBezTo>
                    <a:pt x="121" y="132"/>
                    <a:pt x="121" y="132"/>
                    <a:pt x="121" y="132"/>
                  </a:cubicBezTo>
                  <a:cubicBezTo>
                    <a:pt x="121" y="132"/>
                    <a:pt x="120" y="132"/>
                    <a:pt x="120" y="132"/>
                  </a:cubicBezTo>
                  <a:cubicBezTo>
                    <a:pt x="120" y="132"/>
                    <a:pt x="120" y="132"/>
                    <a:pt x="120" y="132"/>
                  </a:cubicBezTo>
                  <a:cubicBezTo>
                    <a:pt x="119" y="132"/>
                    <a:pt x="120" y="131"/>
                    <a:pt x="120" y="130"/>
                  </a:cubicBezTo>
                  <a:cubicBezTo>
                    <a:pt x="120" y="130"/>
                    <a:pt x="119" y="129"/>
                    <a:pt x="119" y="129"/>
                  </a:cubicBezTo>
                  <a:cubicBezTo>
                    <a:pt x="119" y="129"/>
                    <a:pt x="119" y="128"/>
                    <a:pt x="119" y="128"/>
                  </a:cubicBezTo>
                  <a:cubicBezTo>
                    <a:pt x="119" y="128"/>
                    <a:pt x="119" y="128"/>
                    <a:pt x="118" y="127"/>
                  </a:cubicBezTo>
                  <a:cubicBezTo>
                    <a:pt x="119" y="127"/>
                    <a:pt x="119" y="127"/>
                    <a:pt x="119" y="127"/>
                  </a:cubicBezTo>
                  <a:cubicBezTo>
                    <a:pt x="119" y="128"/>
                    <a:pt x="119" y="128"/>
                    <a:pt x="119" y="128"/>
                  </a:cubicBezTo>
                  <a:cubicBezTo>
                    <a:pt x="120" y="129"/>
                    <a:pt x="120" y="131"/>
                    <a:pt x="120" y="131"/>
                  </a:cubicBezTo>
                  <a:cubicBezTo>
                    <a:pt x="120" y="132"/>
                    <a:pt x="120" y="132"/>
                    <a:pt x="120" y="132"/>
                  </a:cubicBezTo>
                  <a:cubicBezTo>
                    <a:pt x="122" y="132"/>
                    <a:pt x="122" y="132"/>
                    <a:pt x="122" y="132"/>
                  </a:cubicBezTo>
                  <a:cubicBezTo>
                    <a:pt x="122" y="132"/>
                    <a:pt x="122" y="132"/>
                    <a:pt x="122" y="132"/>
                  </a:cubicBezTo>
                  <a:cubicBezTo>
                    <a:pt x="122" y="133"/>
                    <a:pt x="121" y="133"/>
                    <a:pt x="121" y="133"/>
                  </a:cubicBezTo>
                  <a:cubicBezTo>
                    <a:pt x="122" y="134"/>
                    <a:pt x="122" y="134"/>
                    <a:pt x="122" y="134"/>
                  </a:cubicBezTo>
                  <a:cubicBezTo>
                    <a:pt x="122" y="134"/>
                    <a:pt x="122" y="134"/>
                    <a:pt x="122" y="135"/>
                  </a:cubicBezTo>
                  <a:cubicBezTo>
                    <a:pt x="122" y="135"/>
                    <a:pt x="122" y="135"/>
                    <a:pt x="122" y="135"/>
                  </a:cubicBezTo>
                  <a:cubicBezTo>
                    <a:pt x="122" y="136"/>
                    <a:pt x="120" y="137"/>
                    <a:pt x="122" y="139"/>
                  </a:cubicBezTo>
                  <a:cubicBezTo>
                    <a:pt x="124" y="141"/>
                    <a:pt x="125" y="142"/>
                    <a:pt x="127" y="143"/>
                  </a:cubicBezTo>
                  <a:cubicBezTo>
                    <a:pt x="127" y="143"/>
                    <a:pt x="127" y="143"/>
                    <a:pt x="128" y="143"/>
                  </a:cubicBezTo>
                  <a:cubicBezTo>
                    <a:pt x="128" y="143"/>
                    <a:pt x="128" y="143"/>
                    <a:pt x="129" y="143"/>
                  </a:cubicBezTo>
                  <a:cubicBezTo>
                    <a:pt x="131" y="142"/>
                    <a:pt x="133" y="141"/>
                    <a:pt x="135" y="141"/>
                  </a:cubicBezTo>
                  <a:cubicBezTo>
                    <a:pt x="132" y="143"/>
                    <a:pt x="131" y="145"/>
                    <a:pt x="128" y="145"/>
                  </a:cubicBezTo>
                  <a:cubicBezTo>
                    <a:pt x="127" y="145"/>
                    <a:pt x="127" y="145"/>
                    <a:pt x="127" y="145"/>
                  </a:cubicBezTo>
                  <a:cubicBezTo>
                    <a:pt x="125" y="144"/>
                    <a:pt x="122" y="144"/>
                    <a:pt x="120" y="143"/>
                  </a:cubicBezTo>
                  <a:cubicBezTo>
                    <a:pt x="118" y="143"/>
                    <a:pt x="115" y="142"/>
                    <a:pt x="113" y="142"/>
                  </a:cubicBezTo>
                  <a:cubicBezTo>
                    <a:pt x="114" y="143"/>
                    <a:pt x="114" y="144"/>
                    <a:pt x="115" y="144"/>
                  </a:cubicBezTo>
                  <a:cubicBezTo>
                    <a:pt x="116" y="145"/>
                    <a:pt x="116" y="145"/>
                    <a:pt x="116" y="145"/>
                  </a:cubicBezTo>
                  <a:cubicBezTo>
                    <a:pt x="116" y="145"/>
                    <a:pt x="116" y="145"/>
                    <a:pt x="116" y="145"/>
                  </a:cubicBezTo>
                  <a:cubicBezTo>
                    <a:pt x="117" y="145"/>
                    <a:pt x="117" y="145"/>
                    <a:pt x="117" y="145"/>
                  </a:cubicBezTo>
                  <a:cubicBezTo>
                    <a:pt x="118" y="145"/>
                    <a:pt x="118" y="145"/>
                    <a:pt x="118" y="145"/>
                  </a:cubicBezTo>
                  <a:cubicBezTo>
                    <a:pt x="119" y="145"/>
                    <a:pt x="119" y="145"/>
                    <a:pt x="119" y="145"/>
                  </a:cubicBezTo>
                  <a:cubicBezTo>
                    <a:pt x="120" y="146"/>
                    <a:pt x="121" y="147"/>
                    <a:pt x="122" y="148"/>
                  </a:cubicBezTo>
                  <a:cubicBezTo>
                    <a:pt x="121" y="148"/>
                    <a:pt x="121" y="148"/>
                    <a:pt x="121" y="148"/>
                  </a:cubicBezTo>
                  <a:cubicBezTo>
                    <a:pt x="121" y="148"/>
                    <a:pt x="121" y="148"/>
                    <a:pt x="121" y="148"/>
                  </a:cubicBezTo>
                  <a:cubicBezTo>
                    <a:pt x="121" y="148"/>
                    <a:pt x="120" y="148"/>
                    <a:pt x="120" y="148"/>
                  </a:cubicBezTo>
                  <a:cubicBezTo>
                    <a:pt x="119" y="148"/>
                    <a:pt x="118" y="148"/>
                    <a:pt x="118" y="148"/>
                  </a:cubicBezTo>
                  <a:cubicBezTo>
                    <a:pt x="118" y="149"/>
                    <a:pt x="119" y="150"/>
                    <a:pt x="121" y="150"/>
                  </a:cubicBezTo>
                  <a:cubicBezTo>
                    <a:pt x="124" y="151"/>
                    <a:pt x="126" y="151"/>
                    <a:pt x="127" y="152"/>
                  </a:cubicBezTo>
                  <a:cubicBezTo>
                    <a:pt x="127" y="152"/>
                    <a:pt x="127" y="152"/>
                    <a:pt x="128" y="153"/>
                  </a:cubicBezTo>
                  <a:cubicBezTo>
                    <a:pt x="128" y="153"/>
                    <a:pt x="128" y="153"/>
                    <a:pt x="128" y="153"/>
                  </a:cubicBezTo>
                  <a:cubicBezTo>
                    <a:pt x="129" y="154"/>
                    <a:pt x="130" y="154"/>
                    <a:pt x="131" y="154"/>
                  </a:cubicBezTo>
                  <a:cubicBezTo>
                    <a:pt x="131" y="154"/>
                    <a:pt x="131" y="154"/>
                    <a:pt x="131" y="154"/>
                  </a:cubicBezTo>
                  <a:cubicBezTo>
                    <a:pt x="131" y="154"/>
                    <a:pt x="132" y="154"/>
                    <a:pt x="133" y="153"/>
                  </a:cubicBezTo>
                  <a:cubicBezTo>
                    <a:pt x="134" y="153"/>
                    <a:pt x="136" y="153"/>
                    <a:pt x="137" y="153"/>
                  </a:cubicBezTo>
                  <a:cubicBezTo>
                    <a:pt x="137" y="152"/>
                    <a:pt x="137" y="152"/>
                    <a:pt x="137" y="152"/>
                  </a:cubicBezTo>
                  <a:cubicBezTo>
                    <a:pt x="140" y="152"/>
                    <a:pt x="142" y="152"/>
                    <a:pt x="144" y="151"/>
                  </a:cubicBezTo>
                  <a:cubicBezTo>
                    <a:pt x="144" y="151"/>
                    <a:pt x="144" y="151"/>
                    <a:pt x="145" y="151"/>
                  </a:cubicBezTo>
                  <a:cubicBezTo>
                    <a:pt x="146" y="151"/>
                    <a:pt x="146" y="152"/>
                    <a:pt x="146" y="152"/>
                  </a:cubicBezTo>
                  <a:cubicBezTo>
                    <a:pt x="146" y="153"/>
                    <a:pt x="146" y="153"/>
                    <a:pt x="147" y="154"/>
                  </a:cubicBezTo>
                  <a:cubicBezTo>
                    <a:pt x="148" y="154"/>
                    <a:pt x="148" y="154"/>
                    <a:pt x="149" y="155"/>
                  </a:cubicBezTo>
                  <a:cubicBezTo>
                    <a:pt x="149" y="155"/>
                    <a:pt x="149" y="155"/>
                    <a:pt x="149" y="155"/>
                  </a:cubicBezTo>
                  <a:cubicBezTo>
                    <a:pt x="150" y="155"/>
                    <a:pt x="151" y="154"/>
                    <a:pt x="152" y="154"/>
                  </a:cubicBezTo>
                  <a:cubicBezTo>
                    <a:pt x="152" y="154"/>
                    <a:pt x="153" y="153"/>
                    <a:pt x="153" y="153"/>
                  </a:cubicBezTo>
                  <a:cubicBezTo>
                    <a:pt x="153" y="153"/>
                    <a:pt x="153" y="154"/>
                    <a:pt x="153" y="155"/>
                  </a:cubicBezTo>
                  <a:cubicBezTo>
                    <a:pt x="153" y="156"/>
                    <a:pt x="153" y="158"/>
                    <a:pt x="155" y="158"/>
                  </a:cubicBezTo>
                  <a:cubicBezTo>
                    <a:pt x="155" y="160"/>
                    <a:pt x="153" y="159"/>
                    <a:pt x="151" y="160"/>
                  </a:cubicBezTo>
                  <a:cubicBezTo>
                    <a:pt x="151" y="160"/>
                    <a:pt x="150" y="160"/>
                    <a:pt x="149" y="160"/>
                  </a:cubicBezTo>
                  <a:cubicBezTo>
                    <a:pt x="149" y="160"/>
                    <a:pt x="148" y="161"/>
                    <a:pt x="147" y="161"/>
                  </a:cubicBezTo>
                  <a:cubicBezTo>
                    <a:pt x="147" y="162"/>
                    <a:pt x="147" y="162"/>
                    <a:pt x="146" y="162"/>
                  </a:cubicBezTo>
                  <a:cubicBezTo>
                    <a:pt x="146" y="162"/>
                    <a:pt x="146" y="162"/>
                    <a:pt x="146" y="162"/>
                  </a:cubicBezTo>
                  <a:cubicBezTo>
                    <a:pt x="145" y="162"/>
                    <a:pt x="145" y="162"/>
                    <a:pt x="145" y="162"/>
                  </a:cubicBezTo>
                  <a:cubicBezTo>
                    <a:pt x="144" y="163"/>
                    <a:pt x="141" y="163"/>
                    <a:pt x="140" y="164"/>
                  </a:cubicBezTo>
                  <a:cubicBezTo>
                    <a:pt x="140" y="164"/>
                    <a:pt x="139" y="165"/>
                    <a:pt x="139" y="165"/>
                  </a:cubicBezTo>
                  <a:cubicBezTo>
                    <a:pt x="138" y="166"/>
                    <a:pt x="138" y="166"/>
                    <a:pt x="138" y="166"/>
                  </a:cubicBezTo>
                  <a:cubicBezTo>
                    <a:pt x="137" y="167"/>
                    <a:pt x="136" y="167"/>
                    <a:pt x="135" y="167"/>
                  </a:cubicBezTo>
                  <a:cubicBezTo>
                    <a:pt x="135" y="168"/>
                    <a:pt x="134" y="168"/>
                    <a:pt x="134" y="168"/>
                  </a:cubicBezTo>
                  <a:cubicBezTo>
                    <a:pt x="133" y="169"/>
                    <a:pt x="132" y="169"/>
                    <a:pt x="132" y="170"/>
                  </a:cubicBezTo>
                  <a:cubicBezTo>
                    <a:pt x="132" y="170"/>
                    <a:pt x="132" y="170"/>
                    <a:pt x="132" y="170"/>
                  </a:cubicBezTo>
                  <a:cubicBezTo>
                    <a:pt x="132" y="173"/>
                    <a:pt x="139" y="174"/>
                    <a:pt x="143" y="175"/>
                  </a:cubicBezTo>
                  <a:cubicBezTo>
                    <a:pt x="144" y="175"/>
                    <a:pt x="145" y="175"/>
                    <a:pt x="146" y="175"/>
                  </a:cubicBezTo>
                  <a:cubicBezTo>
                    <a:pt x="148" y="176"/>
                    <a:pt x="151" y="176"/>
                    <a:pt x="152" y="178"/>
                  </a:cubicBezTo>
                  <a:cubicBezTo>
                    <a:pt x="153" y="179"/>
                    <a:pt x="153" y="180"/>
                    <a:pt x="153" y="181"/>
                  </a:cubicBezTo>
                  <a:cubicBezTo>
                    <a:pt x="153" y="183"/>
                    <a:pt x="152" y="183"/>
                    <a:pt x="152" y="184"/>
                  </a:cubicBezTo>
                  <a:cubicBezTo>
                    <a:pt x="152" y="184"/>
                    <a:pt x="151" y="184"/>
                    <a:pt x="151" y="185"/>
                  </a:cubicBezTo>
                  <a:cubicBezTo>
                    <a:pt x="151" y="185"/>
                    <a:pt x="151" y="186"/>
                    <a:pt x="151" y="187"/>
                  </a:cubicBezTo>
                  <a:cubicBezTo>
                    <a:pt x="152" y="188"/>
                    <a:pt x="152" y="189"/>
                    <a:pt x="152" y="189"/>
                  </a:cubicBezTo>
                  <a:cubicBezTo>
                    <a:pt x="151" y="189"/>
                    <a:pt x="150" y="189"/>
                    <a:pt x="148" y="190"/>
                  </a:cubicBezTo>
                  <a:cubicBezTo>
                    <a:pt x="149" y="190"/>
                    <a:pt x="149" y="190"/>
                    <a:pt x="150" y="191"/>
                  </a:cubicBezTo>
                  <a:cubicBezTo>
                    <a:pt x="150" y="191"/>
                    <a:pt x="150" y="191"/>
                    <a:pt x="151" y="192"/>
                  </a:cubicBezTo>
                  <a:cubicBezTo>
                    <a:pt x="153" y="193"/>
                    <a:pt x="154" y="193"/>
                    <a:pt x="155" y="193"/>
                  </a:cubicBezTo>
                  <a:cubicBezTo>
                    <a:pt x="155" y="193"/>
                    <a:pt x="155" y="193"/>
                    <a:pt x="155" y="193"/>
                  </a:cubicBezTo>
                  <a:cubicBezTo>
                    <a:pt x="156" y="193"/>
                    <a:pt x="157" y="193"/>
                    <a:pt x="157" y="193"/>
                  </a:cubicBezTo>
                  <a:cubicBezTo>
                    <a:pt x="162" y="190"/>
                    <a:pt x="167" y="188"/>
                    <a:pt x="172" y="185"/>
                  </a:cubicBezTo>
                  <a:cubicBezTo>
                    <a:pt x="177" y="183"/>
                    <a:pt x="182" y="181"/>
                    <a:pt x="187" y="178"/>
                  </a:cubicBezTo>
                  <a:cubicBezTo>
                    <a:pt x="188" y="178"/>
                    <a:pt x="189" y="177"/>
                    <a:pt x="190" y="177"/>
                  </a:cubicBezTo>
                  <a:cubicBezTo>
                    <a:pt x="192" y="177"/>
                    <a:pt x="193" y="178"/>
                    <a:pt x="195" y="179"/>
                  </a:cubicBezTo>
                  <a:cubicBezTo>
                    <a:pt x="196" y="179"/>
                    <a:pt x="196" y="179"/>
                    <a:pt x="196" y="180"/>
                  </a:cubicBezTo>
                  <a:cubicBezTo>
                    <a:pt x="197" y="180"/>
                    <a:pt x="197" y="180"/>
                    <a:pt x="197" y="180"/>
                  </a:cubicBezTo>
                  <a:cubicBezTo>
                    <a:pt x="197" y="180"/>
                    <a:pt x="197" y="180"/>
                    <a:pt x="197" y="180"/>
                  </a:cubicBezTo>
                  <a:cubicBezTo>
                    <a:pt x="198" y="180"/>
                    <a:pt x="200" y="179"/>
                    <a:pt x="201" y="179"/>
                  </a:cubicBezTo>
                  <a:cubicBezTo>
                    <a:pt x="202" y="179"/>
                    <a:pt x="202" y="179"/>
                    <a:pt x="202" y="179"/>
                  </a:cubicBezTo>
                  <a:cubicBezTo>
                    <a:pt x="203" y="179"/>
                    <a:pt x="203" y="179"/>
                    <a:pt x="203" y="179"/>
                  </a:cubicBezTo>
                  <a:cubicBezTo>
                    <a:pt x="203" y="179"/>
                    <a:pt x="203" y="179"/>
                    <a:pt x="203" y="179"/>
                  </a:cubicBezTo>
                  <a:cubicBezTo>
                    <a:pt x="204" y="179"/>
                    <a:pt x="204" y="179"/>
                    <a:pt x="204" y="179"/>
                  </a:cubicBezTo>
                  <a:cubicBezTo>
                    <a:pt x="206" y="178"/>
                    <a:pt x="206" y="177"/>
                    <a:pt x="206" y="175"/>
                  </a:cubicBezTo>
                  <a:cubicBezTo>
                    <a:pt x="207" y="174"/>
                    <a:pt x="207" y="173"/>
                    <a:pt x="208" y="173"/>
                  </a:cubicBezTo>
                  <a:cubicBezTo>
                    <a:pt x="208" y="172"/>
                    <a:pt x="209" y="172"/>
                    <a:pt x="209" y="172"/>
                  </a:cubicBezTo>
                  <a:cubicBezTo>
                    <a:pt x="210" y="172"/>
                    <a:pt x="210" y="172"/>
                    <a:pt x="211" y="171"/>
                  </a:cubicBezTo>
                  <a:cubicBezTo>
                    <a:pt x="210" y="171"/>
                    <a:pt x="209" y="171"/>
                    <a:pt x="208" y="171"/>
                  </a:cubicBezTo>
                  <a:cubicBezTo>
                    <a:pt x="208" y="171"/>
                    <a:pt x="208" y="171"/>
                    <a:pt x="208" y="171"/>
                  </a:cubicBezTo>
                  <a:cubicBezTo>
                    <a:pt x="207" y="171"/>
                    <a:pt x="206" y="171"/>
                    <a:pt x="204" y="171"/>
                  </a:cubicBezTo>
                  <a:cubicBezTo>
                    <a:pt x="204" y="171"/>
                    <a:pt x="203" y="171"/>
                    <a:pt x="203" y="171"/>
                  </a:cubicBezTo>
                  <a:cubicBezTo>
                    <a:pt x="202" y="171"/>
                    <a:pt x="201" y="171"/>
                    <a:pt x="200" y="171"/>
                  </a:cubicBezTo>
                  <a:cubicBezTo>
                    <a:pt x="199" y="171"/>
                    <a:pt x="199" y="171"/>
                    <a:pt x="198" y="171"/>
                  </a:cubicBezTo>
                  <a:cubicBezTo>
                    <a:pt x="198" y="171"/>
                    <a:pt x="197" y="171"/>
                    <a:pt x="196" y="171"/>
                  </a:cubicBezTo>
                  <a:cubicBezTo>
                    <a:pt x="196" y="171"/>
                    <a:pt x="195" y="171"/>
                    <a:pt x="195" y="171"/>
                  </a:cubicBezTo>
                  <a:cubicBezTo>
                    <a:pt x="195" y="171"/>
                    <a:pt x="195" y="171"/>
                    <a:pt x="195" y="171"/>
                  </a:cubicBezTo>
                  <a:cubicBezTo>
                    <a:pt x="194" y="171"/>
                    <a:pt x="194" y="171"/>
                    <a:pt x="194" y="171"/>
                  </a:cubicBezTo>
                  <a:cubicBezTo>
                    <a:pt x="193" y="171"/>
                    <a:pt x="192" y="173"/>
                    <a:pt x="190" y="173"/>
                  </a:cubicBezTo>
                  <a:cubicBezTo>
                    <a:pt x="190" y="173"/>
                    <a:pt x="190" y="173"/>
                    <a:pt x="190" y="173"/>
                  </a:cubicBezTo>
                  <a:cubicBezTo>
                    <a:pt x="188" y="173"/>
                    <a:pt x="187" y="170"/>
                    <a:pt x="185" y="169"/>
                  </a:cubicBezTo>
                  <a:cubicBezTo>
                    <a:pt x="182" y="165"/>
                    <a:pt x="179" y="162"/>
                    <a:pt x="178" y="158"/>
                  </a:cubicBezTo>
                  <a:cubicBezTo>
                    <a:pt x="177" y="157"/>
                    <a:pt x="177" y="155"/>
                    <a:pt x="176" y="154"/>
                  </a:cubicBezTo>
                  <a:cubicBezTo>
                    <a:pt x="176" y="153"/>
                    <a:pt x="176" y="152"/>
                    <a:pt x="176" y="152"/>
                  </a:cubicBezTo>
                  <a:cubicBezTo>
                    <a:pt x="176" y="151"/>
                    <a:pt x="177" y="151"/>
                    <a:pt x="177" y="151"/>
                  </a:cubicBezTo>
                  <a:cubicBezTo>
                    <a:pt x="178" y="150"/>
                    <a:pt x="178" y="150"/>
                    <a:pt x="179" y="150"/>
                  </a:cubicBezTo>
                  <a:cubicBezTo>
                    <a:pt x="179" y="150"/>
                    <a:pt x="180" y="150"/>
                    <a:pt x="181" y="149"/>
                  </a:cubicBezTo>
                  <a:cubicBezTo>
                    <a:pt x="182" y="148"/>
                    <a:pt x="183" y="145"/>
                    <a:pt x="183" y="144"/>
                  </a:cubicBezTo>
                  <a:cubicBezTo>
                    <a:pt x="183" y="145"/>
                    <a:pt x="184" y="145"/>
                    <a:pt x="185" y="146"/>
                  </a:cubicBezTo>
                  <a:cubicBezTo>
                    <a:pt x="184" y="146"/>
                    <a:pt x="184" y="147"/>
                    <a:pt x="185" y="147"/>
                  </a:cubicBezTo>
                  <a:cubicBezTo>
                    <a:pt x="187" y="148"/>
                    <a:pt x="180" y="153"/>
                    <a:pt x="179" y="154"/>
                  </a:cubicBezTo>
                  <a:cubicBezTo>
                    <a:pt x="182" y="152"/>
                    <a:pt x="185" y="150"/>
                    <a:pt x="188" y="147"/>
                  </a:cubicBezTo>
                  <a:cubicBezTo>
                    <a:pt x="189" y="147"/>
                    <a:pt x="189" y="146"/>
                    <a:pt x="190" y="146"/>
                  </a:cubicBezTo>
                  <a:cubicBezTo>
                    <a:pt x="190" y="145"/>
                    <a:pt x="191" y="144"/>
                    <a:pt x="192" y="144"/>
                  </a:cubicBezTo>
                  <a:cubicBezTo>
                    <a:pt x="193" y="143"/>
                    <a:pt x="194" y="142"/>
                    <a:pt x="195" y="141"/>
                  </a:cubicBezTo>
                  <a:cubicBezTo>
                    <a:pt x="196" y="141"/>
                    <a:pt x="196" y="141"/>
                    <a:pt x="196" y="141"/>
                  </a:cubicBezTo>
                  <a:cubicBezTo>
                    <a:pt x="197" y="140"/>
                    <a:pt x="197" y="140"/>
                    <a:pt x="198" y="140"/>
                  </a:cubicBezTo>
                  <a:cubicBezTo>
                    <a:pt x="199" y="140"/>
                    <a:pt x="200" y="140"/>
                    <a:pt x="200" y="140"/>
                  </a:cubicBezTo>
                  <a:cubicBezTo>
                    <a:pt x="202" y="140"/>
                    <a:pt x="204" y="139"/>
                    <a:pt x="206" y="139"/>
                  </a:cubicBezTo>
                  <a:cubicBezTo>
                    <a:pt x="207" y="138"/>
                    <a:pt x="208" y="138"/>
                    <a:pt x="208" y="138"/>
                  </a:cubicBezTo>
                  <a:cubicBezTo>
                    <a:pt x="209" y="138"/>
                    <a:pt x="210" y="137"/>
                    <a:pt x="210" y="137"/>
                  </a:cubicBezTo>
                  <a:cubicBezTo>
                    <a:pt x="211" y="137"/>
                    <a:pt x="211" y="138"/>
                    <a:pt x="211" y="138"/>
                  </a:cubicBezTo>
                  <a:cubicBezTo>
                    <a:pt x="212" y="138"/>
                    <a:pt x="212" y="138"/>
                    <a:pt x="212" y="138"/>
                  </a:cubicBezTo>
                  <a:cubicBezTo>
                    <a:pt x="213" y="138"/>
                    <a:pt x="213" y="138"/>
                    <a:pt x="213" y="138"/>
                  </a:cubicBezTo>
                  <a:cubicBezTo>
                    <a:pt x="213" y="139"/>
                    <a:pt x="213" y="140"/>
                    <a:pt x="213" y="141"/>
                  </a:cubicBezTo>
                  <a:cubicBezTo>
                    <a:pt x="214" y="139"/>
                    <a:pt x="216" y="138"/>
                    <a:pt x="217" y="136"/>
                  </a:cubicBezTo>
                  <a:cubicBezTo>
                    <a:pt x="218" y="136"/>
                    <a:pt x="218" y="135"/>
                    <a:pt x="219" y="135"/>
                  </a:cubicBezTo>
                  <a:cubicBezTo>
                    <a:pt x="220" y="135"/>
                    <a:pt x="222" y="135"/>
                    <a:pt x="223" y="135"/>
                  </a:cubicBezTo>
                  <a:cubicBezTo>
                    <a:pt x="224" y="134"/>
                    <a:pt x="225" y="134"/>
                    <a:pt x="225" y="133"/>
                  </a:cubicBezTo>
                  <a:cubicBezTo>
                    <a:pt x="227" y="132"/>
                    <a:pt x="228" y="130"/>
                    <a:pt x="230" y="130"/>
                  </a:cubicBezTo>
                  <a:cubicBezTo>
                    <a:pt x="231" y="130"/>
                    <a:pt x="233" y="130"/>
                    <a:pt x="234" y="130"/>
                  </a:cubicBezTo>
                  <a:cubicBezTo>
                    <a:pt x="234" y="130"/>
                    <a:pt x="235" y="130"/>
                    <a:pt x="235" y="130"/>
                  </a:cubicBezTo>
                  <a:cubicBezTo>
                    <a:pt x="235" y="130"/>
                    <a:pt x="235" y="130"/>
                    <a:pt x="236" y="130"/>
                  </a:cubicBezTo>
                  <a:cubicBezTo>
                    <a:pt x="237" y="130"/>
                    <a:pt x="238" y="130"/>
                    <a:pt x="238" y="130"/>
                  </a:cubicBezTo>
                  <a:cubicBezTo>
                    <a:pt x="239" y="130"/>
                    <a:pt x="239" y="130"/>
                    <a:pt x="239" y="130"/>
                  </a:cubicBezTo>
                  <a:cubicBezTo>
                    <a:pt x="239" y="129"/>
                    <a:pt x="240" y="129"/>
                    <a:pt x="240" y="129"/>
                  </a:cubicBezTo>
                  <a:cubicBezTo>
                    <a:pt x="241" y="130"/>
                    <a:pt x="241" y="130"/>
                    <a:pt x="241" y="130"/>
                  </a:cubicBezTo>
                  <a:cubicBezTo>
                    <a:pt x="241" y="129"/>
                    <a:pt x="241" y="129"/>
                    <a:pt x="241" y="129"/>
                  </a:cubicBezTo>
                  <a:cubicBezTo>
                    <a:pt x="240" y="129"/>
                    <a:pt x="240" y="129"/>
                    <a:pt x="240" y="129"/>
                  </a:cubicBezTo>
                  <a:cubicBezTo>
                    <a:pt x="240" y="128"/>
                    <a:pt x="240" y="127"/>
                    <a:pt x="240" y="126"/>
                  </a:cubicBezTo>
                  <a:cubicBezTo>
                    <a:pt x="240" y="125"/>
                    <a:pt x="240" y="124"/>
                    <a:pt x="240" y="122"/>
                  </a:cubicBezTo>
                  <a:cubicBezTo>
                    <a:pt x="240" y="118"/>
                    <a:pt x="243" y="114"/>
                    <a:pt x="248" y="114"/>
                  </a:cubicBezTo>
                  <a:cubicBezTo>
                    <a:pt x="250" y="113"/>
                    <a:pt x="253" y="112"/>
                    <a:pt x="254" y="111"/>
                  </a:cubicBezTo>
                  <a:cubicBezTo>
                    <a:pt x="255" y="110"/>
                    <a:pt x="256" y="109"/>
                    <a:pt x="258" y="109"/>
                  </a:cubicBezTo>
                  <a:cubicBezTo>
                    <a:pt x="260" y="109"/>
                    <a:pt x="263" y="110"/>
                    <a:pt x="266" y="110"/>
                  </a:cubicBezTo>
                  <a:cubicBezTo>
                    <a:pt x="266" y="110"/>
                    <a:pt x="267" y="110"/>
                    <a:pt x="267" y="110"/>
                  </a:cubicBezTo>
                  <a:cubicBezTo>
                    <a:pt x="268" y="110"/>
                    <a:pt x="269" y="110"/>
                    <a:pt x="269" y="110"/>
                  </a:cubicBezTo>
                  <a:cubicBezTo>
                    <a:pt x="269" y="110"/>
                    <a:pt x="269" y="110"/>
                    <a:pt x="269" y="110"/>
                  </a:cubicBezTo>
                  <a:cubicBezTo>
                    <a:pt x="269" y="109"/>
                    <a:pt x="269" y="109"/>
                    <a:pt x="269" y="109"/>
                  </a:cubicBezTo>
                  <a:cubicBezTo>
                    <a:pt x="269" y="109"/>
                    <a:pt x="271" y="103"/>
                    <a:pt x="272" y="101"/>
                  </a:cubicBezTo>
                  <a:cubicBezTo>
                    <a:pt x="273" y="101"/>
                    <a:pt x="273" y="100"/>
                    <a:pt x="271" y="97"/>
                  </a:cubicBezTo>
                  <a:cubicBezTo>
                    <a:pt x="271" y="96"/>
                    <a:pt x="270" y="95"/>
                    <a:pt x="269" y="95"/>
                  </a:cubicBezTo>
                  <a:cubicBezTo>
                    <a:pt x="268" y="95"/>
                    <a:pt x="268" y="95"/>
                    <a:pt x="268" y="95"/>
                  </a:cubicBezTo>
                  <a:cubicBezTo>
                    <a:pt x="268" y="95"/>
                    <a:pt x="268" y="95"/>
                    <a:pt x="268" y="95"/>
                  </a:cubicBezTo>
                  <a:cubicBezTo>
                    <a:pt x="267" y="94"/>
                    <a:pt x="266" y="92"/>
                    <a:pt x="267" y="91"/>
                  </a:cubicBezTo>
                  <a:cubicBezTo>
                    <a:pt x="267" y="90"/>
                    <a:pt x="269" y="88"/>
                    <a:pt x="271" y="87"/>
                  </a:cubicBezTo>
                  <a:cubicBezTo>
                    <a:pt x="270" y="87"/>
                    <a:pt x="269" y="86"/>
                    <a:pt x="269" y="86"/>
                  </a:cubicBezTo>
                  <a:cubicBezTo>
                    <a:pt x="268" y="85"/>
                    <a:pt x="268" y="85"/>
                    <a:pt x="268" y="85"/>
                  </a:cubicBezTo>
                  <a:cubicBezTo>
                    <a:pt x="266" y="84"/>
                    <a:pt x="266" y="84"/>
                    <a:pt x="266" y="84"/>
                  </a:cubicBezTo>
                  <a:cubicBezTo>
                    <a:pt x="268" y="83"/>
                    <a:pt x="268" y="83"/>
                    <a:pt x="268" y="83"/>
                  </a:cubicBezTo>
                  <a:cubicBezTo>
                    <a:pt x="271" y="80"/>
                    <a:pt x="275" y="77"/>
                    <a:pt x="276" y="76"/>
                  </a:cubicBezTo>
                  <a:cubicBezTo>
                    <a:pt x="276" y="76"/>
                    <a:pt x="276" y="76"/>
                    <a:pt x="276" y="76"/>
                  </a:cubicBezTo>
                  <a:cubicBezTo>
                    <a:pt x="276" y="75"/>
                    <a:pt x="277" y="73"/>
                    <a:pt x="276" y="70"/>
                  </a:cubicBezTo>
                  <a:cubicBezTo>
                    <a:pt x="275" y="71"/>
                    <a:pt x="273" y="71"/>
                    <a:pt x="272" y="71"/>
                  </a:cubicBezTo>
                  <a:cubicBezTo>
                    <a:pt x="268" y="71"/>
                    <a:pt x="266" y="68"/>
                    <a:pt x="264" y="66"/>
                  </a:cubicBezTo>
                  <a:cubicBezTo>
                    <a:pt x="264" y="66"/>
                    <a:pt x="263" y="66"/>
                    <a:pt x="263" y="65"/>
                  </a:cubicBezTo>
                  <a:cubicBezTo>
                    <a:pt x="261" y="64"/>
                    <a:pt x="260" y="63"/>
                    <a:pt x="259" y="63"/>
                  </a:cubicBezTo>
                  <a:cubicBezTo>
                    <a:pt x="258" y="63"/>
                    <a:pt x="258" y="63"/>
                    <a:pt x="257" y="64"/>
                  </a:cubicBezTo>
                  <a:cubicBezTo>
                    <a:pt x="257" y="64"/>
                    <a:pt x="256" y="64"/>
                    <a:pt x="255" y="64"/>
                  </a:cubicBezTo>
                  <a:cubicBezTo>
                    <a:pt x="255" y="64"/>
                    <a:pt x="255" y="64"/>
                    <a:pt x="255" y="64"/>
                  </a:cubicBezTo>
                  <a:cubicBezTo>
                    <a:pt x="255" y="64"/>
                    <a:pt x="255" y="64"/>
                    <a:pt x="255" y="64"/>
                  </a:cubicBezTo>
                  <a:cubicBezTo>
                    <a:pt x="254" y="64"/>
                    <a:pt x="254" y="64"/>
                    <a:pt x="254" y="64"/>
                  </a:cubicBezTo>
                  <a:cubicBezTo>
                    <a:pt x="252" y="64"/>
                    <a:pt x="251" y="63"/>
                    <a:pt x="251" y="62"/>
                  </a:cubicBezTo>
                  <a:cubicBezTo>
                    <a:pt x="250" y="61"/>
                    <a:pt x="249" y="59"/>
                    <a:pt x="247" y="59"/>
                  </a:cubicBezTo>
                  <a:cubicBezTo>
                    <a:pt x="246" y="59"/>
                    <a:pt x="245" y="59"/>
                    <a:pt x="244" y="58"/>
                  </a:cubicBezTo>
                  <a:cubicBezTo>
                    <a:pt x="243" y="58"/>
                    <a:pt x="243" y="58"/>
                    <a:pt x="242" y="58"/>
                  </a:cubicBezTo>
                  <a:cubicBezTo>
                    <a:pt x="242" y="58"/>
                    <a:pt x="242" y="58"/>
                    <a:pt x="242" y="58"/>
                  </a:cubicBezTo>
                  <a:cubicBezTo>
                    <a:pt x="242" y="58"/>
                    <a:pt x="240" y="60"/>
                    <a:pt x="238" y="62"/>
                  </a:cubicBezTo>
                  <a:cubicBezTo>
                    <a:pt x="237" y="63"/>
                    <a:pt x="237" y="63"/>
                    <a:pt x="237" y="63"/>
                  </a:cubicBezTo>
                  <a:cubicBezTo>
                    <a:pt x="236" y="62"/>
                    <a:pt x="236" y="62"/>
                    <a:pt x="236" y="62"/>
                  </a:cubicBezTo>
                  <a:cubicBezTo>
                    <a:pt x="236" y="61"/>
                    <a:pt x="231" y="54"/>
                    <a:pt x="229" y="52"/>
                  </a:cubicBezTo>
                  <a:cubicBezTo>
                    <a:pt x="227" y="50"/>
                    <a:pt x="226" y="49"/>
                    <a:pt x="226" y="49"/>
                  </a:cubicBezTo>
                  <a:cubicBezTo>
                    <a:pt x="224" y="49"/>
                    <a:pt x="220" y="51"/>
                    <a:pt x="217" y="52"/>
                  </a:cubicBezTo>
                  <a:cubicBezTo>
                    <a:pt x="215" y="52"/>
                    <a:pt x="213" y="53"/>
                    <a:pt x="211" y="53"/>
                  </a:cubicBezTo>
                  <a:cubicBezTo>
                    <a:pt x="208" y="53"/>
                    <a:pt x="205" y="52"/>
                    <a:pt x="204" y="51"/>
                  </a:cubicBezTo>
                  <a:cubicBezTo>
                    <a:pt x="202" y="50"/>
                    <a:pt x="201" y="50"/>
                    <a:pt x="199" y="50"/>
                  </a:cubicBezTo>
                  <a:cubicBezTo>
                    <a:pt x="198" y="50"/>
                    <a:pt x="197" y="50"/>
                    <a:pt x="197" y="50"/>
                  </a:cubicBezTo>
                  <a:cubicBezTo>
                    <a:pt x="196" y="51"/>
                    <a:pt x="195" y="51"/>
                    <a:pt x="194" y="51"/>
                  </a:cubicBezTo>
                  <a:cubicBezTo>
                    <a:pt x="192" y="51"/>
                    <a:pt x="191" y="50"/>
                    <a:pt x="189" y="49"/>
                  </a:cubicBezTo>
                  <a:cubicBezTo>
                    <a:pt x="188" y="48"/>
                    <a:pt x="186" y="46"/>
                    <a:pt x="187" y="44"/>
                  </a:cubicBezTo>
                  <a:cubicBezTo>
                    <a:pt x="187" y="43"/>
                    <a:pt x="186" y="41"/>
                    <a:pt x="185" y="38"/>
                  </a:cubicBezTo>
                  <a:cubicBezTo>
                    <a:pt x="184" y="36"/>
                    <a:pt x="184" y="34"/>
                    <a:pt x="185" y="33"/>
                  </a:cubicBezTo>
                  <a:cubicBezTo>
                    <a:pt x="184" y="33"/>
                    <a:pt x="183" y="32"/>
                    <a:pt x="181" y="31"/>
                  </a:cubicBezTo>
                  <a:cubicBezTo>
                    <a:pt x="180" y="30"/>
                    <a:pt x="179" y="30"/>
                    <a:pt x="178" y="30"/>
                  </a:cubicBezTo>
                  <a:cubicBezTo>
                    <a:pt x="178" y="30"/>
                    <a:pt x="178" y="30"/>
                    <a:pt x="178" y="30"/>
                  </a:cubicBezTo>
                  <a:cubicBezTo>
                    <a:pt x="177" y="30"/>
                    <a:pt x="176" y="30"/>
                    <a:pt x="175" y="30"/>
                  </a:cubicBezTo>
                  <a:cubicBezTo>
                    <a:pt x="173" y="30"/>
                    <a:pt x="172" y="30"/>
                    <a:pt x="171" y="29"/>
                  </a:cubicBezTo>
                  <a:cubicBezTo>
                    <a:pt x="170" y="29"/>
                    <a:pt x="169" y="29"/>
                    <a:pt x="169" y="29"/>
                  </a:cubicBezTo>
                  <a:cubicBezTo>
                    <a:pt x="168" y="29"/>
                    <a:pt x="167" y="29"/>
                    <a:pt x="166" y="29"/>
                  </a:cubicBezTo>
                  <a:cubicBezTo>
                    <a:pt x="166" y="29"/>
                    <a:pt x="166" y="29"/>
                    <a:pt x="166" y="29"/>
                  </a:cubicBezTo>
                  <a:cubicBezTo>
                    <a:pt x="165" y="29"/>
                    <a:pt x="164" y="29"/>
                    <a:pt x="164" y="28"/>
                  </a:cubicBezTo>
                  <a:cubicBezTo>
                    <a:pt x="163" y="27"/>
                    <a:pt x="163" y="25"/>
                    <a:pt x="163" y="23"/>
                  </a:cubicBezTo>
                  <a:cubicBezTo>
                    <a:pt x="164" y="21"/>
                    <a:pt x="162" y="19"/>
                    <a:pt x="161" y="18"/>
                  </a:cubicBezTo>
                  <a:cubicBezTo>
                    <a:pt x="160" y="17"/>
                    <a:pt x="160" y="17"/>
                    <a:pt x="160" y="17"/>
                  </a:cubicBezTo>
                  <a:cubicBezTo>
                    <a:pt x="161" y="16"/>
                    <a:pt x="161" y="16"/>
                    <a:pt x="161" y="16"/>
                  </a:cubicBezTo>
                  <a:cubicBezTo>
                    <a:pt x="161" y="16"/>
                    <a:pt x="162" y="14"/>
                    <a:pt x="166" y="13"/>
                  </a:cubicBezTo>
                  <a:cubicBezTo>
                    <a:pt x="166" y="13"/>
                    <a:pt x="165" y="12"/>
                    <a:pt x="164" y="12"/>
                  </a:cubicBezTo>
                  <a:cubicBezTo>
                    <a:pt x="162" y="11"/>
                    <a:pt x="160" y="8"/>
                    <a:pt x="161" y="5"/>
                  </a:cubicBezTo>
                  <a:cubicBezTo>
                    <a:pt x="161" y="5"/>
                    <a:pt x="160" y="4"/>
                    <a:pt x="156" y="0"/>
                  </a:cubicBezTo>
                  <a:cubicBezTo>
                    <a:pt x="156" y="0"/>
                    <a:pt x="156" y="0"/>
                    <a:pt x="156" y="0"/>
                  </a:cubicBezTo>
                  <a:cubicBezTo>
                    <a:pt x="156" y="0"/>
                    <a:pt x="155" y="0"/>
                    <a:pt x="1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581"/>
            <p:cNvSpPr>
              <a:spLocks noEditPoints="1"/>
            </p:cNvSpPr>
            <p:nvPr/>
          </p:nvSpPr>
          <p:spPr bwMode="auto">
            <a:xfrm>
              <a:off x="106504" y="565227"/>
              <a:ext cx="10091352" cy="3490408"/>
            </a:xfrm>
            <a:custGeom>
              <a:gdLst>
                <a:gd name="T0" fmla="*/ 2725 w 3101"/>
                <a:gd name="T1" fmla="*/ 301 h 1070"/>
                <a:gd name="T2" fmla="*/ 2271 w 3101"/>
                <a:gd name="T3" fmla="*/ 211 h 1070"/>
                <a:gd name="T4" fmla="*/ 1965 w 3101"/>
                <a:gd name="T5" fmla="*/ 258 h 1070"/>
                <a:gd name="T6" fmla="*/ 1937 w 3101"/>
                <a:gd name="T7" fmla="*/ 225 h 1070"/>
                <a:gd name="T8" fmla="*/ 1934 w 3101"/>
                <a:gd name="T9" fmla="*/ 181 h 1070"/>
                <a:gd name="T10" fmla="*/ 1854 w 3101"/>
                <a:gd name="T11" fmla="*/ 156 h 1070"/>
                <a:gd name="T12" fmla="*/ 1733 w 3101"/>
                <a:gd name="T13" fmla="*/ 165 h 1070"/>
                <a:gd name="T14" fmla="*/ 1628 w 3101"/>
                <a:gd name="T15" fmla="*/ 153 h 1070"/>
                <a:gd name="T16" fmla="*/ 1570 w 3101"/>
                <a:gd name="T17" fmla="*/ 134 h 1070"/>
                <a:gd name="T18" fmla="*/ 1626 w 3101"/>
                <a:gd name="T19" fmla="*/ 81 h 1070"/>
                <a:gd name="T20" fmla="*/ 1632 w 3101"/>
                <a:gd name="T21" fmla="*/ 63 h 1070"/>
                <a:gd name="T22" fmla="*/ 1566 w 3101"/>
                <a:gd name="T23" fmla="*/ 41 h 1070"/>
                <a:gd name="T24" fmla="*/ 1501 w 3101"/>
                <a:gd name="T25" fmla="*/ 28 h 1070"/>
                <a:gd name="T26" fmla="*/ 1486 w 3101"/>
                <a:gd name="T27" fmla="*/ 18 h 1070"/>
                <a:gd name="T28" fmla="*/ 1403 w 3101"/>
                <a:gd name="T29" fmla="*/ 41 h 1070"/>
                <a:gd name="T30" fmla="*/ 1362 w 3101"/>
                <a:gd name="T31" fmla="*/ 53 h 1070"/>
                <a:gd name="T32" fmla="*/ 1314 w 3101"/>
                <a:gd name="T33" fmla="*/ 73 h 1070"/>
                <a:gd name="T34" fmla="*/ 1167 w 3101"/>
                <a:gd name="T35" fmla="*/ 93 h 1070"/>
                <a:gd name="T36" fmla="*/ 1131 w 3101"/>
                <a:gd name="T37" fmla="*/ 122 h 1070"/>
                <a:gd name="T38" fmla="*/ 1134 w 3101"/>
                <a:gd name="T39" fmla="*/ 132 h 1070"/>
                <a:gd name="T40" fmla="*/ 1010 w 3101"/>
                <a:gd name="T41" fmla="*/ 161 h 1070"/>
                <a:gd name="T42" fmla="*/ 1019 w 3101"/>
                <a:gd name="T43" fmla="*/ 203 h 1070"/>
                <a:gd name="T44" fmla="*/ 946 w 3101"/>
                <a:gd name="T45" fmla="*/ 240 h 1070"/>
                <a:gd name="T46" fmla="*/ 965 w 3101"/>
                <a:gd name="T47" fmla="*/ 255 h 1070"/>
                <a:gd name="T48" fmla="*/ 912 w 3101"/>
                <a:gd name="T49" fmla="*/ 232 h 1070"/>
                <a:gd name="T50" fmla="*/ 916 w 3101"/>
                <a:gd name="T51" fmla="*/ 202 h 1070"/>
                <a:gd name="T52" fmla="*/ 892 w 3101"/>
                <a:gd name="T53" fmla="*/ 266 h 1070"/>
                <a:gd name="T54" fmla="*/ 937 w 3101"/>
                <a:gd name="T55" fmla="*/ 317 h 1070"/>
                <a:gd name="T56" fmla="*/ 969 w 3101"/>
                <a:gd name="T57" fmla="*/ 366 h 1070"/>
                <a:gd name="T58" fmla="*/ 945 w 3101"/>
                <a:gd name="T59" fmla="*/ 335 h 1070"/>
                <a:gd name="T60" fmla="*/ 880 w 3101"/>
                <a:gd name="T61" fmla="*/ 389 h 1070"/>
                <a:gd name="T62" fmla="*/ 819 w 3101"/>
                <a:gd name="T63" fmla="*/ 397 h 1070"/>
                <a:gd name="T64" fmla="*/ 877 w 3101"/>
                <a:gd name="T65" fmla="*/ 336 h 1070"/>
                <a:gd name="T66" fmla="*/ 863 w 3101"/>
                <a:gd name="T67" fmla="*/ 260 h 1070"/>
                <a:gd name="T68" fmla="*/ 830 w 3101"/>
                <a:gd name="T69" fmla="*/ 186 h 1070"/>
                <a:gd name="T70" fmla="*/ 782 w 3101"/>
                <a:gd name="T71" fmla="*/ 219 h 1070"/>
                <a:gd name="T72" fmla="*/ 746 w 3101"/>
                <a:gd name="T73" fmla="*/ 261 h 1070"/>
                <a:gd name="T74" fmla="*/ 757 w 3101"/>
                <a:gd name="T75" fmla="*/ 300 h 1070"/>
                <a:gd name="T76" fmla="*/ 790 w 3101"/>
                <a:gd name="T77" fmla="*/ 325 h 1070"/>
                <a:gd name="T78" fmla="*/ 567 w 3101"/>
                <a:gd name="T79" fmla="*/ 336 h 1070"/>
                <a:gd name="T80" fmla="*/ 303 w 3101"/>
                <a:gd name="T81" fmla="*/ 414 h 1070"/>
                <a:gd name="T82" fmla="*/ 244 w 3101"/>
                <a:gd name="T83" fmla="*/ 360 h 1070"/>
                <a:gd name="T84" fmla="*/ 53 w 3101"/>
                <a:gd name="T85" fmla="*/ 461 h 1070"/>
                <a:gd name="T86" fmla="*/ 26 w 3101"/>
                <a:gd name="T87" fmla="*/ 708 h 1070"/>
                <a:gd name="T88" fmla="*/ 189 w 3101"/>
                <a:gd name="T89" fmla="*/ 851 h 1070"/>
                <a:gd name="T90" fmla="*/ 392 w 3101"/>
                <a:gd name="T91" fmla="*/ 1064 h 1070"/>
                <a:gd name="T92" fmla="*/ 367 w 3101"/>
                <a:gd name="T93" fmla="*/ 870 h 1070"/>
                <a:gd name="T94" fmla="*/ 519 w 3101"/>
                <a:gd name="T95" fmla="*/ 836 h 1070"/>
                <a:gd name="T96" fmla="*/ 636 w 3101"/>
                <a:gd name="T97" fmla="*/ 788 h 1070"/>
                <a:gd name="T98" fmla="*/ 715 w 3101"/>
                <a:gd name="T99" fmla="*/ 748 h 1070"/>
                <a:gd name="T100" fmla="*/ 880 w 3101"/>
                <a:gd name="T101" fmla="*/ 764 h 1070"/>
                <a:gd name="T102" fmla="*/ 1098 w 3101"/>
                <a:gd name="T103" fmla="*/ 862 h 1070"/>
                <a:gd name="T104" fmla="*/ 1275 w 3101"/>
                <a:gd name="T105" fmla="*/ 850 h 1070"/>
                <a:gd name="T106" fmla="*/ 1489 w 3101"/>
                <a:gd name="T107" fmla="*/ 850 h 1070"/>
                <a:gd name="T108" fmla="*/ 1779 w 3101"/>
                <a:gd name="T109" fmla="*/ 778 h 1070"/>
                <a:gd name="T110" fmla="*/ 1970 w 3101"/>
                <a:gd name="T111" fmla="*/ 913 h 1070"/>
                <a:gd name="T112" fmla="*/ 1976 w 3101"/>
                <a:gd name="T113" fmla="*/ 1041 h 1070"/>
                <a:gd name="T114" fmla="*/ 2151 w 3101"/>
                <a:gd name="T115" fmla="*/ 660 h 1070"/>
                <a:gd name="T116" fmla="*/ 2528 w 3101"/>
                <a:gd name="T117" fmla="*/ 576 h 1070"/>
                <a:gd name="T118" fmla="*/ 2552 w 3101"/>
                <a:gd name="T119" fmla="*/ 748 h 1070"/>
                <a:gd name="T120" fmla="*/ 2853 w 3101"/>
                <a:gd name="T121" fmla="*/ 523 h 1070"/>
                <a:gd name="T122" fmla="*/ 3031 w 3101"/>
                <a:gd name="T123" fmla="*/ 462 h 1070"/>
                <a:gd name="T124" fmla="*/ 1567 w 3101"/>
                <a:gd name="T125" fmla="*/ 734 h 107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1" h="1070">
                  <a:moveTo>
                    <a:pt x="3047" y="442"/>
                  </a:moveTo>
                  <a:cubicBezTo>
                    <a:pt x="3047" y="442"/>
                    <a:pt x="3049" y="442"/>
                    <a:pt x="3049" y="442"/>
                  </a:cubicBezTo>
                  <a:cubicBezTo>
                    <a:pt x="3051" y="441"/>
                    <a:pt x="3051" y="442"/>
                    <a:pt x="3052" y="441"/>
                  </a:cubicBezTo>
                  <a:cubicBezTo>
                    <a:pt x="3053" y="440"/>
                    <a:pt x="3054" y="436"/>
                    <a:pt x="3054" y="435"/>
                  </a:cubicBezTo>
                  <a:cubicBezTo>
                    <a:pt x="3052" y="436"/>
                    <a:pt x="3051" y="437"/>
                    <a:pt x="3049" y="435"/>
                  </a:cubicBezTo>
                  <a:cubicBezTo>
                    <a:pt x="3052" y="435"/>
                    <a:pt x="3051" y="433"/>
                    <a:pt x="3049" y="431"/>
                  </a:cubicBezTo>
                  <a:cubicBezTo>
                    <a:pt x="3047" y="430"/>
                    <a:pt x="3044" y="429"/>
                    <a:pt x="3042" y="428"/>
                  </a:cubicBezTo>
                  <a:cubicBezTo>
                    <a:pt x="3044" y="429"/>
                    <a:pt x="3046" y="428"/>
                    <a:pt x="3048" y="429"/>
                  </a:cubicBezTo>
                  <a:cubicBezTo>
                    <a:pt x="3050" y="429"/>
                    <a:pt x="3052" y="430"/>
                    <a:pt x="3052" y="432"/>
                  </a:cubicBezTo>
                  <a:cubicBezTo>
                    <a:pt x="3058" y="433"/>
                    <a:pt x="3064" y="434"/>
                    <a:pt x="3070" y="434"/>
                  </a:cubicBezTo>
                  <a:cubicBezTo>
                    <a:pt x="3072" y="435"/>
                    <a:pt x="3078" y="436"/>
                    <a:pt x="3076" y="432"/>
                  </a:cubicBezTo>
                  <a:cubicBezTo>
                    <a:pt x="3075" y="430"/>
                    <a:pt x="3072" y="430"/>
                    <a:pt x="3071" y="428"/>
                  </a:cubicBezTo>
                  <a:cubicBezTo>
                    <a:pt x="3070" y="428"/>
                    <a:pt x="3070" y="428"/>
                    <a:pt x="3069" y="427"/>
                  </a:cubicBezTo>
                  <a:cubicBezTo>
                    <a:pt x="3068" y="426"/>
                    <a:pt x="3067" y="425"/>
                    <a:pt x="3067" y="424"/>
                  </a:cubicBezTo>
                  <a:cubicBezTo>
                    <a:pt x="3069" y="424"/>
                    <a:pt x="3070" y="426"/>
                    <a:pt x="3072" y="428"/>
                  </a:cubicBezTo>
                  <a:cubicBezTo>
                    <a:pt x="3075" y="429"/>
                    <a:pt x="3081" y="431"/>
                    <a:pt x="3084" y="430"/>
                  </a:cubicBezTo>
                  <a:cubicBezTo>
                    <a:pt x="3086" y="430"/>
                    <a:pt x="3085" y="429"/>
                    <a:pt x="3085" y="428"/>
                  </a:cubicBezTo>
                  <a:cubicBezTo>
                    <a:pt x="3086" y="426"/>
                    <a:pt x="3088" y="425"/>
                    <a:pt x="3090" y="424"/>
                  </a:cubicBezTo>
                  <a:cubicBezTo>
                    <a:pt x="3092" y="423"/>
                    <a:pt x="3101" y="420"/>
                    <a:pt x="3101" y="416"/>
                  </a:cubicBezTo>
                  <a:cubicBezTo>
                    <a:pt x="3101" y="413"/>
                    <a:pt x="3098" y="414"/>
                    <a:pt x="3097" y="414"/>
                  </a:cubicBezTo>
                  <a:cubicBezTo>
                    <a:pt x="3095" y="414"/>
                    <a:pt x="3094" y="413"/>
                    <a:pt x="3092" y="414"/>
                  </a:cubicBezTo>
                  <a:cubicBezTo>
                    <a:pt x="3095" y="410"/>
                    <a:pt x="3087" y="409"/>
                    <a:pt x="3085" y="408"/>
                  </a:cubicBezTo>
                  <a:cubicBezTo>
                    <a:pt x="3084" y="407"/>
                    <a:pt x="3082" y="405"/>
                    <a:pt x="3081" y="404"/>
                  </a:cubicBezTo>
                  <a:cubicBezTo>
                    <a:pt x="3079" y="402"/>
                    <a:pt x="3076" y="401"/>
                    <a:pt x="3074" y="400"/>
                  </a:cubicBezTo>
                  <a:cubicBezTo>
                    <a:pt x="3070" y="396"/>
                    <a:pt x="3066" y="391"/>
                    <a:pt x="3061" y="389"/>
                  </a:cubicBezTo>
                  <a:cubicBezTo>
                    <a:pt x="3059" y="388"/>
                    <a:pt x="3059" y="388"/>
                    <a:pt x="3057" y="388"/>
                  </a:cubicBezTo>
                  <a:cubicBezTo>
                    <a:pt x="3056" y="388"/>
                    <a:pt x="3056" y="388"/>
                    <a:pt x="3055" y="388"/>
                  </a:cubicBezTo>
                  <a:cubicBezTo>
                    <a:pt x="3050" y="388"/>
                    <a:pt x="3043" y="386"/>
                    <a:pt x="3038" y="385"/>
                  </a:cubicBezTo>
                  <a:cubicBezTo>
                    <a:pt x="3041" y="386"/>
                    <a:pt x="3045" y="386"/>
                    <a:pt x="3048" y="388"/>
                  </a:cubicBezTo>
                  <a:cubicBezTo>
                    <a:pt x="3051" y="390"/>
                    <a:pt x="3046" y="389"/>
                    <a:pt x="3045" y="389"/>
                  </a:cubicBezTo>
                  <a:cubicBezTo>
                    <a:pt x="3043" y="388"/>
                    <a:pt x="3037" y="386"/>
                    <a:pt x="3035" y="387"/>
                  </a:cubicBezTo>
                  <a:cubicBezTo>
                    <a:pt x="3034" y="388"/>
                    <a:pt x="3033" y="390"/>
                    <a:pt x="3032" y="392"/>
                  </a:cubicBezTo>
                  <a:cubicBezTo>
                    <a:pt x="3032" y="390"/>
                    <a:pt x="3031" y="389"/>
                    <a:pt x="3032" y="387"/>
                  </a:cubicBezTo>
                  <a:cubicBezTo>
                    <a:pt x="3033" y="386"/>
                    <a:pt x="3036" y="386"/>
                    <a:pt x="3035" y="385"/>
                  </a:cubicBezTo>
                  <a:cubicBezTo>
                    <a:pt x="3034" y="384"/>
                    <a:pt x="3030" y="384"/>
                    <a:pt x="3029" y="383"/>
                  </a:cubicBezTo>
                  <a:cubicBezTo>
                    <a:pt x="3027" y="383"/>
                    <a:pt x="3026" y="383"/>
                    <a:pt x="3025" y="383"/>
                  </a:cubicBezTo>
                  <a:cubicBezTo>
                    <a:pt x="3023" y="384"/>
                    <a:pt x="3023" y="384"/>
                    <a:pt x="3021" y="384"/>
                  </a:cubicBezTo>
                  <a:cubicBezTo>
                    <a:pt x="3018" y="384"/>
                    <a:pt x="3010" y="382"/>
                    <a:pt x="3007" y="385"/>
                  </a:cubicBezTo>
                  <a:cubicBezTo>
                    <a:pt x="3008" y="385"/>
                    <a:pt x="3010" y="384"/>
                    <a:pt x="3011" y="384"/>
                  </a:cubicBezTo>
                  <a:cubicBezTo>
                    <a:pt x="3011" y="385"/>
                    <a:pt x="3010" y="385"/>
                    <a:pt x="3009" y="386"/>
                  </a:cubicBezTo>
                  <a:cubicBezTo>
                    <a:pt x="3010" y="386"/>
                    <a:pt x="3013" y="384"/>
                    <a:pt x="3014" y="385"/>
                  </a:cubicBezTo>
                  <a:cubicBezTo>
                    <a:pt x="3015" y="386"/>
                    <a:pt x="3014" y="387"/>
                    <a:pt x="3013" y="387"/>
                  </a:cubicBezTo>
                  <a:cubicBezTo>
                    <a:pt x="3016" y="388"/>
                    <a:pt x="3017" y="386"/>
                    <a:pt x="3018" y="389"/>
                  </a:cubicBezTo>
                  <a:cubicBezTo>
                    <a:pt x="3018" y="390"/>
                    <a:pt x="3019" y="392"/>
                    <a:pt x="3019" y="393"/>
                  </a:cubicBezTo>
                  <a:cubicBezTo>
                    <a:pt x="3019" y="394"/>
                    <a:pt x="3020" y="396"/>
                    <a:pt x="3020" y="397"/>
                  </a:cubicBezTo>
                  <a:cubicBezTo>
                    <a:pt x="3019" y="398"/>
                    <a:pt x="3016" y="398"/>
                    <a:pt x="3015" y="399"/>
                  </a:cubicBezTo>
                  <a:cubicBezTo>
                    <a:pt x="3013" y="401"/>
                    <a:pt x="3014" y="401"/>
                    <a:pt x="3016" y="401"/>
                  </a:cubicBezTo>
                  <a:cubicBezTo>
                    <a:pt x="3018" y="402"/>
                    <a:pt x="3020" y="402"/>
                    <a:pt x="3021" y="403"/>
                  </a:cubicBezTo>
                  <a:cubicBezTo>
                    <a:pt x="3023" y="404"/>
                    <a:pt x="3025" y="405"/>
                    <a:pt x="3024" y="406"/>
                  </a:cubicBezTo>
                  <a:cubicBezTo>
                    <a:pt x="3023" y="407"/>
                    <a:pt x="3021" y="407"/>
                    <a:pt x="3021" y="408"/>
                  </a:cubicBezTo>
                  <a:cubicBezTo>
                    <a:pt x="3020" y="408"/>
                    <a:pt x="3019" y="411"/>
                    <a:pt x="3019" y="412"/>
                  </a:cubicBezTo>
                  <a:cubicBezTo>
                    <a:pt x="3019" y="410"/>
                    <a:pt x="3020" y="404"/>
                    <a:pt x="3019" y="403"/>
                  </a:cubicBezTo>
                  <a:cubicBezTo>
                    <a:pt x="3018" y="403"/>
                    <a:pt x="3016" y="404"/>
                    <a:pt x="3015" y="404"/>
                  </a:cubicBezTo>
                  <a:cubicBezTo>
                    <a:pt x="3016" y="405"/>
                    <a:pt x="3012" y="408"/>
                    <a:pt x="3010" y="409"/>
                  </a:cubicBezTo>
                  <a:cubicBezTo>
                    <a:pt x="3011" y="407"/>
                    <a:pt x="3010" y="404"/>
                    <a:pt x="3010" y="403"/>
                  </a:cubicBezTo>
                  <a:cubicBezTo>
                    <a:pt x="3010" y="400"/>
                    <a:pt x="3002" y="398"/>
                    <a:pt x="3000" y="397"/>
                  </a:cubicBezTo>
                  <a:cubicBezTo>
                    <a:pt x="3001" y="397"/>
                    <a:pt x="3002" y="397"/>
                    <a:pt x="3002" y="396"/>
                  </a:cubicBezTo>
                  <a:cubicBezTo>
                    <a:pt x="3002" y="396"/>
                    <a:pt x="3004" y="395"/>
                    <a:pt x="3004" y="395"/>
                  </a:cubicBezTo>
                  <a:cubicBezTo>
                    <a:pt x="3007" y="392"/>
                    <a:pt x="3002" y="388"/>
                    <a:pt x="3002" y="384"/>
                  </a:cubicBezTo>
                  <a:cubicBezTo>
                    <a:pt x="3001" y="381"/>
                    <a:pt x="3004" y="378"/>
                    <a:pt x="3003" y="375"/>
                  </a:cubicBezTo>
                  <a:cubicBezTo>
                    <a:pt x="3003" y="374"/>
                    <a:pt x="3000" y="372"/>
                    <a:pt x="2999" y="372"/>
                  </a:cubicBezTo>
                  <a:cubicBezTo>
                    <a:pt x="3001" y="375"/>
                    <a:pt x="2996" y="376"/>
                    <a:pt x="2993" y="375"/>
                  </a:cubicBezTo>
                  <a:cubicBezTo>
                    <a:pt x="2995" y="373"/>
                    <a:pt x="2996" y="369"/>
                    <a:pt x="2994" y="366"/>
                  </a:cubicBezTo>
                  <a:cubicBezTo>
                    <a:pt x="2993" y="364"/>
                    <a:pt x="2990" y="363"/>
                    <a:pt x="2988" y="362"/>
                  </a:cubicBezTo>
                  <a:cubicBezTo>
                    <a:pt x="2984" y="360"/>
                    <a:pt x="2980" y="359"/>
                    <a:pt x="2976" y="357"/>
                  </a:cubicBezTo>
                  <a:cubicBezTo>
                    <a:pt x="2972" y="355"/>
                    <a:pt x="2968" y="353"/>
                    <a:pt x="2964" y="351"/>
                  </a:cubicBezTo>
                  <a:cubicBezTo>
                    <a:pt x="2962" y="350"/>
                    <a:pt x="2960" y="349"/>
                    <a:pt x="2958" y="348"/>
                  </a:cubicBezTo>
                  <a:cubicBezTo>
                    <a:pt x="2956" y="346"/>
                    <a:pt x="2954" y="347"/>
                    <a:pt x="2951" y="346"/>
                  </a:cubicBezTo>
                  <a:cubicBezTo>
                    <a:pt x="2950" y="346"/>
                    <a:pt x="2949" y="346"/>
                    <a:pt x="2948" y="346"/>
                  </a:cubicBezTo>
                  <a:cubicBezTo>
                    <a:pt x="2949" y="346"/>
                    <a:pt x="2951" y="346"/>
                    <a:pt x="2953" y="345"/>
                  </a:cubicBezTo>
                  <a:cubicBezTo>
                    <a:pt x="2950" y="344"/>
                    <a:pt x="2948" y="342"/>
                    <a:pt x="2945" y="341"/>
                  </a:cubicBezTo>
                  <a:cubicBezTo>
                    <a:pt x="2942" y="339"/>
                    <a:pt x="2939" y="338"/>
                    <a:pt x="2936" y="336"/>
                  </a:cubicBezTo>
                  <a:cubicBezTo>
                    <a:pt x="2940" y="339"/>
                    <a:pt x="2945" y="341"/>
                    <a:pt x="2949" y="343"/>
                  </a:cubicBezTo>
                  <a:cubicBezTo>
                    <a:pt x="2944" y="342"/>
                    <a:pt x="2939" y="340"/>
                    <a:pt x="2935" y="339"/>
                  </a:cubicBezTo>
                  <a:cubicBezTo>
                    <a:pt x="2933" y="338"/>
                    <a:pt x="2931" y="337"/>
                    <a:pt x="2929" y="337"/>
                  </a:cubicBezTo>
                  <a:cubicBezTo>
                    <a:pt x="2929" y="337"/>
                    <a:pt x="2927" y="333"/>
                    <a:pt x="2927" y="333"/>
                  </a:cubicBezTo>
                  <a:cubicBezTo>
                    <a:pt x="2924" y="330"/>
                    <a:pt x="2921" y="328"/>
                    <a:pt x="2917" y="325"/>
                  </a:cubicBezTo>
                  <a:cubicBezTo>
                    <a:pt x="2914" y="322"/>
                    <a:pt x="2909" y="322"/>
                    <a:pt x="2905" y="322"/>
                  </a:cubicBezTo>
                  <a:cubicBezTo>
                    <a:pt x="2894" y="316"/>
                    <a:pt x="2884" y="311"/>
                    <a:pt x="2873" y="306"/>
                  </a:cubicBezTo>
                  <a:cubicBezTo>
                    <a:pt x="2869" y="304"/>
                    <a:pt x="2864" y="303"/>
                    <a:pt x="2859" y="302"/>
                  </a:cubicBezTo>
                  <a:cubicBezTo>
                    <a:pt x="2856" y="302"/>
                    <a:pt x="2852" y="301"/>
                    <a:pt x="2848" y="300"/>
                  </a:cubicBezTo>
                  <a:cubicBezTo>
                    <a:pt x="2847" y="300"/>
                    <a:pt x="2844" y="300"/>
                    <a:pt x="2843" y="299"/>
                  </a:cubicBezTo>
                  <a:cubicBezTo>
                    <a:pt x="2839" y="296"/>
                    <a:pt x="2833" y="292"/>
                    <a:pt x="2829" y="291"/>
                  </a:cubicBezTo>
                  <a:cubicBezTo>
                    <a:pt x="2826" y="291"/>
                    <a:pt x="2824" y="291"/>
                    <a:pt x="2821" y="291"/>
                  </a:cubicBezTo>
                  <a:cubicBezTo>
                    <a:pt x="2819" y="291"/>
                    <a:pt x="2818" y="293"/>
                    <a:pt x="2815" y="293"/>
                  </a:cubicBezTo>
                  <a:cubicBezTo>
                    <a:pt x="2811" y="293"/>
                    <a:pt x="2806" y="292"/>
                    <a:pt x="2802" y="292"/>
                  </a:cubicBezTo>
                  <a:cubicBezTo>
                    <a:pt x="2795" y="291"/>
                    <a:pt x="2788" y="290"/>
                    <a:pt x="2781" y="289"/>
                  </a:cubicBezTo>
                  <a:cubicBezTo>
                    <a:pt x="2779" y="289"/>
                    <a:pt x="2777" y="290"/>
                    <a:pt x="2776" y="290"/>
                  </a:cubicBezTo>
                  <a:cubicBezTo>
                    <a:pt x="2776" y="290"/>
                    <a:pt x="2778" y="291"/>
                    <a:pt x="2779" y="292"/>
                  </a:cubicBezTo>
                  <a:cubicBezTo>
                    <a:pt x="2779" y="293"/>
                    <a:pt x="2778" y="293"/>
                    <a:pt x="2777" y="294"/>
                  </a:cubicBezTo>
                  <a:cubicBezTo>
                    <a:pt x="2776" y="295"/>
                    <a:pt x="2776" y="295"/>
                    <a:pt x="2775" y="294"/>
                  </a:cubicBezTo>
                  <a:cubicBezTo>
                    <a:pt x="2772" y="293"/>
                    <a:pt x="2770" y="291"/>
                    <a:pt x="2768" y="289"/>
                  </a:cubicBezTo>
                  <a:cubicBezTo>
                    <a:pt x="2766" y="288"/>
                    <a:pt x="2766" y="289"/>
                    <a:pt x="2764" y="289"/>
                  </a:cubicBezTo>
                  <a:cubicBezTo>
                    <a:pt x="2751" y="287"/>
                    <a:pt x="2739" y="286"/>
                    <a:pt x="2726" y="284"/>
                  </a:cubicBezTo>
                  <a:cubicBezTo>
                    <a:pt x="2725" y="284"/>
                    <a:pt x="2722" y="283"/>
                    <a:pt x="2722" y="284"/>
                  </a:cubicBezTo>
                  <a:cubicBezTo>
                    <a:pt x="2722" y="284"/>
                    <a:pt x="2725" y="284"/>
                    <a:pt x="2725" y="285"/>
                  </a:cubicBezTo>
                  <a:cubicBezTo>
                    <a:pt x="2726" y="286"/>
                    <a:pt x="2724" y="288"/>
                    <a:pt x="2724" y="289"/>
                  </a:cubicBezTo>
                  <a:cubicBezTo>
                    <a:pt x="2725" y="290"/>
                    <a:pt x="2725" y="291"/>
                    <a:pt x="2725" y="292"/>
                  </a:cubicBezTo>
                  <a:cubicBezTo>
                    <a:pt x="2725" y="294"/>
                    <a:pt x="2722" y="295"/>
                    <a:pt x="2721" y="296"/>
                  </a:cubicBezTo>
                  <a:cubicBezTo>
                    <a:pt x="2719" y="297"/>
                    <a:pt x="2716" y="300"/>
                    <a:pt x="2718" y="301"/>
                  </a:cubicBezTo>
                  <a:cubicBezTo>
                    <a:pt x="2719" y="303"/>
                    <a:pt x="2723" y="300"/>
                    <a:pt x="2725" y="301"/>
                  </a:cubicBezTo>
                  <a:cubicBezTo>
                    <a:pt x="2727" y="302"/>
                    <a:pt x="2727" y="304"/>
                    <a:pt x="2728" y="305"/>
                  </a:cubicBezTo>
                  <a:cubicBezTo>
                    <a:pt x="2728" y="307"/>
                    <a:pt x="2729" y="308"/>
                    <a:pt x="2730" y="309"/>
                  </a:cubicBezTo>
                  <a:cubicBezTo>
                    <a:pt x="2731" y="311"/>
                    <a:pt x="2732" y="311"/>
                    <a:pt x="2732" y="313"/>
                  </a:cubicBezTo>
                  <a:cubicBezTo>
                    <a:pt x="2732" y="314"/>
                    <a:pt x="2732" y="315"/>
                    <a:pt x="2732" y="315"/>
                  </a:cubicBezTo>
                  <a:cubicBezTo>
                    <a:pt x="2732" y="316"/>
                    <a:pt x="2733" y="316"/>
                    <a:pt x="2733" y="317"/>
                  </a:cubicBezTo>
                  <a:cubicBezTo>
                    <a:pt x="2734" y="319"/>
                    <a:pt x="2733" y="320"/>
                    <a:pt x="2731" y="321"/>
                  </a:cubicBezTo>
                  <a:cubicBezTo>
                    <a:pt x="2727" y="324"/>
                    <a:pt x="2728" y="324"/>
                    <a:pt x="2728" y="328"/>
                  </a:cubicBezTo>
                  <a:cubicBezTo>
                    <a:pt x="2727" y="326"/>
                    <a:pt x="2724" y="326"/>
                    <a:pt x="2723" y="326"/>
                  </a:cubicBezTo>
                  <a:cubicBezTo>
                    <a:pt x="2724" y="327"/>
                    <a:pt x="2725" y="328"/>
                    <a:pt x="2726" y="329"/>
                  </a:cubicBezTo>
                  <a:cubicBezTo>
                    <a:pt x="2723" y="328"/>
                    <a:pt x="2721" y="327"/>
                    <a:pt x="2717" y="328"/>
                  </a:cubicBezTo>
                  <a:cubicBezTo>
                    <a:pt x="2714" y="328"/>
                    <a:pt x="2709" y="330"/>
                    <a:pt x="2706" y="329"/>
                  </a:cubicBezTo>
                  <a:cubicBezTo>
                    <a:pt x="2702" y="327"/>
                    <a:pt x="2706" y="320"/>
                    <a:pt x="2701" y="318"/>
                  </a:cubicBezTo>
                  <a:cubicBezTo>
                    <a:pt x="2699" y="317"/>
                    <a:pt x="2697" y="317"/>
                    <a:pt x="2695" y="316"/>
                  </a:cubicBezTo>
                  <a:cubicBezTo>
                    <a:pt x="2693" y="315"/>
                    <a:pt x="2691" y="315"/>
                    <a:pt x="2689" y="314"/>
                  </a:cubicBezTo>
                  <a:cubicBezTo>
                    <a:pt x="2684" y="314"/>
                    <a:pt x="2680" y="314"/>
                    <a:pt x="2680" y="308"/>
                  </a:cubicBezTo>
                  <a:cubicBezTo>
                    <a:pt x="2680" y="306"/>
                    <a:pt x="2682" y="304"/>
                    <a:pt x="2680" y="302"/>
                  </a:cubicBezTo>
                  <a:cubicBezTo>
                    <a:pt x="2680" y="302"/>
                    <a:pt x="2678" y="301"/>
                    <a:pt x="2677" y="301"/>
                  </a:cubicBezTo>
                  <a:cubicBezTo>
                    <a:pt x="2677" y="300"/>
                    <a:pt x="2676" y="300"/>
                    <a:pt x="2676" y="300"/>
                  </a:cubicBezTo>
                  <a:cubicBezTo>
                    <a:pt x="2675" y="299"/>
                    <a:pt x="2676" y="300"/>
                    <a:pt x="2676" y="299"/>
                  </a:cubicBezTo>
                  <a:cubicBezTo>
                    <a:pt x="2672" y="290"/>
                    <a:pt x="2664" y="302"/>
                    <a:pt x="2660" y="302"/>
                  </a:cubicBezTo>
                  <a:cubicBezTo>
                    <a:pt x="2653" y="302"/>
                    <a:pt x="2646" y="302"/>
                    <a:pt x="2638" y="302"/>
                  </a:cubicBezTo>
                  <a:cubicBezTo>
                    <a:pt x="2634" y="302"/>
                    <a:pt x="2629" y="302"/>
                    <a:pt x="2625" y="301"/>
                  </a:cubicBezTo>
                  <a:cubicBezTo>
                    <a:pt x="2618" y="300"/>
                    <a:pt x="2611" y="298"/>
                    <a:pt x="2604" y="296"/>
                  </a:cubicBezTo>
                  <a:cubicBezTo>
                    <a:pt x="2603" y="296"/>
                    <a:pt x="2601" y="296"/>
                    <a:pt x="2600" y="296"/>
                  </a:cubicBezTo>
                  <a:cubicBezTo>
                    <a:pt x="2599" y="296"/>
                    <a:pt x="2598" y="297"/>
                    <a:pt x="2597" y="297"/>
                  </a:cubicBezTo>
                  <a:cubicBezTo>
                    <a:pt x="2589" y="297"/>
                    <a:pt x="2582" y="298"/>
                    <a:pt x="2575" y="299"/>
                  </a:cubicBezTo>
                  <a:cubicBezTo>
                    <a:pt x="2573" y="299"/>
                    <a:pt x="2571" y="299"/>
                    <a:pt x="2569" y="299"/>
                  </a:cubicBezTo>
                  <a:cubicBezTo>
                    <a:pt x="2569" y="299"/>
                    <a:pt x="2569" y="299"/>
                    <a:pt x="2569" y="299"/>
                  </a:cubicBezTo>
                  <a:cubicBezTo>
                    <a:pt x="2569" y="299"/>
                    <a:pt x="2569" y="299"/>
                    <a:pt x="2569" y="299"/>
                  </a:cubicBezTo>
                  <a:cubicBezTo>
                    <a:pt x="2560" y="300"/>
                    <a:pt x="2552" y="301"/>
                    <a:pt x="2543" y="302"/>
                  </a:cubicBezTo>
                  <a:cubicBezTo>
                    <a:pt x="2540" y="302"/>
                    <a:pt x="2535" y="300"/>
                    <a:pt x="2532" y="299"/>
                  </a:cubicBezTo>
                  <a:cubicBezTo>
                    <a:pt x="2528" y="298"/>
                    <a:pt x="2524" y="297"/>
                    <a:pt x="2519" y="296"/>
                  </a:cubicBezTo>
                  <a:cubicBezTo>
                    <a:pt x="2521" y="295"/>
                    <a:pt x="2518" y="292"/>
                    <a:pt x="2518" y="290"/>
                  </a:cubicBezTo>
                  <a:cubicBezTo>
                    <a:pt x="2519" y="290"/>
                    <a:pt x="2520" y="289"/>
                    <a:pt x="2520" y="289"/>
                  </a:cubicBezTo>
                  <a:cubicBezTo>
                    <a:pt x="2521" y="287"/>
                    <a:pt x="2519" y="286"/>
                    <a:pt x="2519" y="283"/>
                  </a:cubicBezTo>
                  <a:cubicBezTo>
                    <a:pt x="2519" y="283"/>
                    <a:pt x="2521" y="283"/>
                    <a:pt x="2521" y="283"/>
                  </a:cubicBezTo>
                  <a:cubicBezTo>
                    <a:pt x="2523" y="283"/>
                    <a:pt x="2523" y="284"/>
                    <a:pt x="2524" y="282"/>
                  </a:cubicBezTo>
                  <a:cubicBezTo>
                    <a:pt x="2526" y="280"/>
                    <a:pt x="2524" y="277"/>
                    <a:pt x="2523" y="274"/>
                  </a:cubicBezTo>
                  <a:cubicBezTo>
                    <a:pt x="2522" y="271"/>
                    <a:pt x="2521" y="266"/>
                    <a:pt x="2517" y="264"/>
                  </a:cubicBezTo>
                  <a:cubicBezTo>
                    <a:pt x="2516" y="263"/>
                    <a:pt x="2514" y="262"/>
                    <a:pt x="2513" y="261"/>
                  </a:cubicBezTo>
                  <a:cubicBezTo>
                    <a:pt x="2510" y="259"/>
                    <a:pt x="2507" y="258"/>
                    <a:pt x="2504" y="257"/>
                  </a:cubicBezTo>
                  <a:cubicBezTo>
                    <a:pt x="2494" y="254"/>
                    <a:pt x="2485" y="251"/>
                    <a:pt x="2475" y="251"/>
                  </a:cubicBezTo>
                  <a:cubicBezTo>
                    <a:pt x="2469" y="250"/>
                    <a:pt x="2462" y="250"/>
                    <a:pt x="2456" y="250"/>
                  </a:cubicBezTo>
                  <a:cubicBezTo>
                    <a:pt x="2453" y="250"/>
                    <a:pt x="2450" y="250"/>
                    <a:pt x="2447" y="250"/>
                  </a:cubicBezTo>
                  <a:cubicBezTo>
                    <a:pt x="2443" y="250"/>
                    <a:pt x="2440" y="251"/>
                    <a:pt x="2436" y="251"/>
                  </a:cubicBezTo>
                  <a:cubicBezTo>
                    <a:pt x="2430" y="252"/>
                    <a:pt x="2423" y="253"/>
                    <a:pt x="2417" y="254"/>
                  </a:cubicBezTo>
                  <a:cubicBezTo>
                    <a:pt x="2414" y="255"/>
                    <a:pt x="2411" y="256"/>
                    <a:pt x="2408" y="257"/>
                  </a:cubicBezTo>
                  <a:cubicBezTo>
                    <a:pt x="2405" y="258"/>
                    <a:pt x="2402" y="257"/>
                    <a:pt x="2398" y="258"/>
                  </a:cubicBezTo>
                  <a:cubicBezTo>
                    <a:pt x="2396" y="258"/>
                    <a:pt x="2392" y="258"/>
                    <a:pt x="2389" y="259"/>
                  </a:cubicBezTo>
                  <a:cubicBezTo>
                    <a:pt x="2385" y="259"/>
                    <a:pt x="2383" y="261"/>
                    <a:pt x="2379" y="260"/>
                  </a:cubicBezTo>
                  <a:cubicBezTo>
                    <a:pt x="2375" y="258"/>
                    <a:pt x="2370" y="256"/>
                    <a:pt x="2365" y="254"/>
                  </a:cubicBezTo>
                  <a:cubicBezTo>
                    <a:pt x="2367" y="254"/>
                    <a:pt x="2368" y="254"/>
                    <a:pt x="2370" y="254"/>
                  </a:cubicBezTo>
                  <a:cubicBezTo>
                    <a:pt x="2369" y="251"/>
                    <a:pt x="2366" y="248"/>
                    <a:pt x="2364" y="245"/>
                  </a:cubicBezTo>
                  <a:cubicBezTo>
                    <a:pt x="2361" y="242"/>
                    <a:pt x="2360" y="241"/>
                    <a:pt x="2357" y="240"/>
                  </a:cubicBezTo>
                  <a:cubicBezTo>
                    <a:pt x="2351" y="239"/>
                    <a:pt x="2350" y="241"/>
                    <a:pt x="2345" y="243"/>
                  </a:cubicBezTo>
                  <a:cubicBezTo>
                    <a:pt x="2345" y="243"/>
                    <a:pt x="2347" y="239"/>
                    <a:pt x="2347" y="240"/>
                  </a:cubicBezTo>
                  <a:cubicBezTo>
                    <a:pt x="2345" y="240"/>
                    <a:pt x="2345" y="241"/>
                    <a:pt x="2344" y="242"/>
                  </a:cubicBezTo>
                  <a:cubicBezTo>
                    <a:pt x="2341" y="244"/>
                    <a:pt x="2337" y="244"/>
                    <a:pt x="2334" y="246"/>
                  </a:cubicBezTo>
                  <a:cubicBezTo>
                    <a:pt x="2334" y="244"/>
                    <a:pt x="2339" y="242"/>
                    <a:pt x="2340" y="241"/>
                  </a:cubicBezTo>
                  <a:cubicBezTo>
                    <a:pt x="2342" y="239"/>
                    <a:pt x="2344" y="238"/>
                    <a:pt x="2346" y="236"/>
                  </a:cubicBezTo>
                  <a:cubicBezTo>
                    <a:pt x="2345" y="235"/>
                    <a:pt x="2342" y="235"/>
                    <a:pt x="2341" y="235"/>
                  </a:cubicBezTo>
                  <a:cubicBezTo>
                    <a:pt x="2340" y="236"/>
                    <a:pt x="2338" y="235"/>
                    <a:pt x="2337" y="235"/>
                  </a:cubicBezTo>
                  <a:cubicBezTo>
                    <a:pt x="2336" y="235"/>
                    <a:pt x="2332" y="237"/>
                    <a:pt x="2331" y="236"/>
                  </a:cubicBezTo>
                  <a:cubicBezTo>
                    <a:pt x="2330" y="235"/>
                    <a:pt x="2333" y="232"/>
                    <a:pt x="2335" y="232"/>
                  </a:cubicBezTo>
                  <a:cubicBezTo>
                    <a:pt x="2333" y="229"/>
                    <a:pt x="2327" y="231"/>
                    <a:pt x="2324" y="230"/>
                  </a:cubicBezTo>
                  <a:cubicBezTo>
                    <a:pt x="2322" y="230"/>
                    <a:pt x="2321" y="230"/>
                    <a:pt x="2319" y="229"/>
                  </a:cubicBezTo>
                  <a:cubicBezTo>
                    <a:pt x="2317" y="229"/>
                    <a:pt x="2314" y="230"/>
                    <a:pt x="2311" y="229"/>
                  </a:cubicBezTo>
                  <a:cubicBezTo>
                    <a:pt x="2313" y="228"/>
                    <a:pt x="2312" y="226"/>
                    <a:pt x="2311" y="225"/>
                  </a:cubicBezTo>
                  <a:cubicBezTo>
                    <a:pt x="2313" y="226"/>
                    <a:pt x="2314" y="226"/>
                    <a:pt x="2316" y="226"/>
                  </a:cubicBezTo>
                  <a:cubicBezTo>
                    <a:pt x="2318" y="227"/>
                    <a:pt x="2319" y="223"/>
                    <a:pt x="2320" y="222"/>
                  </a:cubicBezTo>
                  <a:cubicBezTo>
                    <a:pt x="2324" y="220"/>
                    <a:pt x="2325" y="228"/>
                    <a:pt x="2329" y="226"/>
                  </a:cubicBezTo>
                  <a:cubicBezTo>
                    <a:pt x="2331" y="225"/>
                    <a:pt x="2335" y="223"/>
                    <a:pt x="2334" y="220"/>
                  </a:cubicBezTo>
                  <a:cubicBezTo>
                    <a:pt x="2334" y="219"/>
                    <a:pt x="2332" y="218"/>
                    <a:pt x="2331" y="217"/>
                  </a:cubicBezTo>
                  <a:cubicBezTo>
                    <a:pt x="2329" y="215"/>
                    <a:pt x="2326" y="213"/>
                    <a:pt x="2323" y="212"/>
                  </a:cubicBezTo>
                  <a:cubicBezTo>
                    <a:pt x="2319" y="210"/>
                    <a:pt x="2315" y="210"/>
                    <a:pt x="2310" y="209"/>
                  </a:cubicBezTo>
                  <a:cubicBezTo>
                    <a:pt x="2306" y="208"/>
                    <a:pt x="2302" y="207"/>
                    <a:pt x="2298" y="206"/>
                  </a:cubicBezTo>
                  <a:cubicBezTo>
                    <a:pt x="2294" y="206"/>
                    <a:pt x="2291" y="206"/>
                    <a:pt x="2288" y="206"/>
                  </a:cubicBezTo>
                  <a:cubicBezTo>
                    <a:pt x="2285" y="206"/>
                    <a:pt x="2281" y="206"/>
                    <a:pt x="2278" y="207"/>
                  </a:cubicBezTo>
                  <a:cubicBezTo>
                    <a:pt x="2275" y="209"/>
                    <a:pt x="2273" y="213"/>
                    <a:pt x="2270" y="215"/>
                  </a:cubicBezTo>
                  <a:cubicBezTo>
                    <a:pt x="2268" y="216"/>
                    <a:pt x="2266" y="220"/>
                    <a:pt x="2264" y="222"/>
                  </a:cubicBezTo>
                  <a:cubicBezTo>
                    <a:pt x="2262" y="223"/>
                    <a:pt x="2261" y="224"/>
                    <a:pt x="2260" y="225"/>
                  </a:cubicBezTo>
                  <a:cubicBezTo>
                    <a:pt x="2258" y="226"/>
                    <a:pt x="2257" y="226"/>
                    <a:pt x="2255" y="226"/>
                  </a:cubicBezTo>
                  <a:cubicBezTo>
                    <a:pt x="2253" y="227"/>
                    <a:pt x="2252" y="227"/>
                    <a:pt x="2249" y="227"/>
                  </a:cubicBezTo>
                  <a:cubicBezTo>
                    <a:pt x="2245" y="228"/>
                    <a:pt x="2241" y="229"/>
                    <a:pt x="2236" y="229"/>
                  </a:cubicBezTo>
                  <a:cubicBezTo>
                    <a:pt x="2237" y="226"/>
                    <a:pt x="2236" y="226"/>
                    <a:pt x="2239" y="226"/>
                  </a:cubicBezTo>
                  <a:cubicBezTo>
                    <a:pt x="2239" y="226"/>
                    <a:pt x="2240" y="225"/>
                    <a:pt x="2241" y="225"/>
                  </a:cubicBezTo>
                  <a:cubicBezTo>
                    <a:pt x="2243" y="225"/>
                    <a:pt x="2240" y="223"/>
                    <a:pt x="2239" y="223"/>
                  </a:cubicBezTo>
                  <a:cubicBezTo>
                    <a:pt x="2236" y="220"/>
                    <a:pt x="2238" y="219"/>
                    <a:pt x="2241" y="221"/>
                  </a:cubicBezTo>
                  <a:cubicBezTo>
                    <a:pt x="2244" y="222"/>
                    <a:pt x="2245" y="223"/>
                    <a:pt x="2248" y="222"/>
                  </a:cubicBezTo>
                  <a:cubicBezTo>
                    <a:pt x="2249" y="221"/>
                    <a:pt x="2251" y="222"/>
                    <a:pt x="2253" y="221"/>
                  </a:cubicBezTo>
                  <a:cubicBezTo>
                    <a:pt x="2256" y="220"/>
                    <a:pt x="2251" y="217"/>
                    <a:pt x="2251" y="216"/>
                  </a:cubicBezTo>
                  <a:cubicBezTo>
                    <a:pt x="2250" y="215"/>
                    <a:pt x="2252" y="210"/>
                    <a:pt x="2253" y="210"/>
                  </a:cubicBezTo>
                  <a:cubicBezTo>
                    <a:pt x="2255" y="208"/>
                    <a:pt x="2256" y="214"/>
                    <a:pt x="2256" y="215"/>
                  </a:cubicBezTo>
                  <a:cubicBezTo>
                    <a:pt x="2257" y="215"/>
                    <a:pt x="2257" y="215"/>
                    <a:pt x="2257" y="216"/>
                  </a:cubicBezTo>
                  <a:cubicBezTo>
                    <a:pt x="2258" y="213"/>
                    <a:pt x="2262" y="212"/>
                    <a:pt x="2264" y="214"/>
                  </a:cubicBezTo>
                  <a:cubicBezTo>
                    <a:pt x="2262" y="214"/>
                    <a:pt x="2261" y="216"/>
                    <a:pt x="2259" y="217"/>
                  </a:cubicBezTo>
                  <a:cubicBezTo>
                    <a:pt x="2257" y="217"/>
                    <a:pt x="2258" y="217"/>
                    <a:pt x="2257" y="219"/>
                  </a:cubicBezTo>
                  <a:cubicBezTo>
                    <a:pt x="2257" y="220"/>
                    <a:pt x="2256" y="222"/>
                    <a:pt x="2257" y="223"/>
                  </a:cubicBezTo>
                  <a:cubicBezTo>
                    <a:pt x="2257" y="224"/>
                    <a:pt x="2258" y="223"/>
                    <a:pt x="2259" y="222"/>
                  </a:cubicBezTo>
                  <a:cubicBezTo>
                    <a:pt x="2260" y="221"/>
                    <a:pt x="2261" y="220"/>
                    <a:pt x="2263" y="219"/>
                  </a:cubicBezTo>
                  <a:cubicBezTo>
                    <a:pt x="2266" y="217"/>
                    <a:pt x="2269" y="213"/>
                    <a:pt x="2271" y="211"/>
                  </a:cubicBezTo>
                  <a:cubicBezTo>
                    <a:pt x="2273" y="209"/>
                    <a:pt x="2276" y="207"/>
                    <a:pt x="2272" y="207"/>
                  </a:cubicBezTo>
                  <a:cubicBezTo>
                    <a:pt x="2271" y="207"/>
                    <a:pt x="2269" y="207"/>
                    <a:pt x="2268" y="207"/>
                  </a:cubicBezTo>
                  <a:cubicBezTo>
                    <a:pt x="2253" y="207"/>
                    <a:pt x="2238" y="210"/>
                    <a:pt x="2223" y="210"/>
                  </a:cubicBezTo>
                  <a:cubicBezTo>
                    <a:pt x="2224" y="209"/>
                    <a:pt x="2225" y="209"/>
                    <a:pt x="2227" y="208"/>
                  </a:cubicBezTo>
                  <a:cubicBezTo>
                    <a:pt x="2226" y="208"/>
                    <a:pt x="2226" y="208"/>
                    <a:pt x="2226" y="208"/>
                  </a:cubicBezTo>
                  <a:cubicBezTo>
                    <a:pt x="2226" y="208"/>
                    <a:pt x="2226" y="208"/>
                    <a:pt x="2226" y="208"/>
                  </a:cubicBezTo>
                  <a:cubicBezTo>
                    <a:pt x="2227" y="208"/>
                    <a:pt x="2228" y="207"/>
                    <a:pt x="2229" y="207"/>
                  </a:cubicBezTo>
                  <a:cubicBezTo>
                    <a:pt x="2231" y="206"/>
                    <a:pt x="2232" y="205"/>
                    <a:pt x="2233" y="204"/>
                  </a:cubicBezTo>
                  <a:cubicBezTo>
                    <a:pt x="2233" y="204"/>
                    <a:pt x="2233" y="205"/>
                    <a:pt x="2233" y="205"/>
                  </a:cubicBezTo>
                  <a:cubicBezTo>
                    <a:pt x="2236" y="203"/>
                    <a:pt x="2237" y="203"/>
                    <a:pt x="2240" y="203"/>
                  </a:cubicBezTo>
                  <a:cubicBezTo>
                    <a:pt x="2242" y="203"/>
                    <a:pt x="2243" y="205"/>
                    <a:pt x="2245" y="205"/>
                  </a:cubicBezTo>
                  <a:cubicBezTo>
                    <a:pt x="2254" y="205"/>
                    <a:pt x="2264" y="205"/>
                    <a:pt x="2273" y="206"/>
                  </a:cubicBezTo>
                  <a:cubicBezTo>
                    <a:pt x="2261" y="202"/>
                    <a:pt x="2250" y="199"/>
                    <a:pt x="2238" y="197"/>
                  </a:cubicBezTo>
                  <a:cubicBezTo>
                    <a:pt x="2238" y="197"/>
                    <a:pt x="2238" y="197"/>
                    <a:pt x="2237" y="197"/>
                  </a:cubicBezTo>
                  <a:cubicBezTo>
                    <a:pt x="2237" y="197"/>
                    <a:pt x="2237" y="197"/>
                    <a:pt x="2236" y="197"/>
                  </a:cubicBezTo>
                  <a:cubicBezTo>
                    <a:pt x="2232" y="197"/>
                    <a:pt x="2229" y="195"/>
                    <a:pt x="2225" y="195"/>
                  </a:cubicBezTo>
                  <a:cubicBezTo>
                    <a:pt x="2218" y="195"/>
                    <a:pt x="2211" y="193"/>
                    <a:pt x="2204" y="193"/>
                  </a:cubicBezTo>
                  <a:cubicBezTo>
                    <a:pt x="2201" y="193"/>
                    <a:pt x="2198" y="193"/>
                    <a:pt x="2195" y="193"/>
                  </a:cubicBezTo>
                  <a:cubicBezTo>
                    <a:pt x="2191" y="193"/>
                    <a:pt x="2188" y="193"/>
                    <a:pt x="2185" y="193"/>
                  </a:cubicBezTo>
                  <a:cubicBezTo>
                    <a:pt x="2180" y="192"/>
                    <a:pt x="2175" y="190"/>
                    <a:pt x="2171" y="188"/>
                  </a:cubicBezTo>
                  <a:cubicBezTo>
                    <a:pt x="2166" y="186"/>
                    <a:pt x="2160" y="187"/>
                    <a:pt x="2154" y="186"/>
                  </a:cubicBezTo>
                  <a:cubicBezTo>
                    <a:pt x="2157" y="190"/>
                    <a:pt x="2161" y="193"/>
                    <a:pt x="2163" y="198"/>
                  </a:cubicBezTo>
                  <a:cubicBezTo>
                    <a:pt x="2161" y="198"/>
                    <a:pt x="2158" y="199"/>
                    <a:pt x="2156" y="200"/>
                  </a:cubicBezTo>
                  <a:cubicBezTo>
                    <a:pt x="2154" y="201"/>
                    <a:pt x="2151" y="201"/>
                    <a:pt x="2149" y="201"/>
                  </a:cubicBezTo>
                  <a:cubicBezTo>
                    <a:pt x="2147" y="201"/>
                    <a:pt x="2145" y="201"/>
                    <a:pt x="2143" y="201"/>
                  </a:cubicBezTo>
                  <a:cubicBezTo>
                    <a:pt x="2140" y="201"/>
                    <a:pt x="2138" y="203"/>
                    <a:pt x="2136" y="204"/>
                  </a:cubicBezTo>
                  <a:cubicBezTo>
                    <a:pt x="2132" y="206"/>
                    <a:pt x="2129" y="208"/>
                    <a:pt x="2126" y="210"/>
                  </a:cubicBezTo>
                  <a:cubicBezTo>
                    <a:pt x="2128" y="213"/>
                    <a:pt x="2131" y="212"/>
                    <a:pt x="2133" y="211"/>
                  </a:cubicBezTo>
                  <a:cubicBezTo>
                    <a:pt x="2135" y="209"/>
                    <a:pt x="2139" y="210"/>
                    <a:pt x="2141" y="210"/>
                  </a:cubicBezTo>
                  <a:cubicBezTo>
                    <a:pt x="2143" y="210"/>
                    <a:pt x="2144" y="209"/>
                    <a:pt x="2145" y="211"/>
                  </a:cubicBezTo>
                  <a:cubicBezTo>
                    <a:pt x="2147" y="213"/>
                    <a:pt x="2145" y="213"/>
                    <a:pt x="2143" y="213"/>
                  </a:cubicBezTo>
                  <a:cubicBezTo>
                    <a:pt x="2143" y="213"/>
                    <a:pt x="2142" y="213"/>
                    <a:pt x="2141" y="214"/>
                  </a:cubicBezTo>
                  <a:cubicBezTo>
                    <a:pt x="2140" y="215"/>
                    <a:pt x="2138" y="217"/>
                    <a:pt x="2137" y="219"/>
                  </a:cubicBezTo>
                  <a:cubicBezTo>
                    <a:pt x="2135" y="221"/>
                    <a:pt x="2133" y="220"/>
                    <a:pt x="2131" y="220"/>
                  </a:cubicBezTo>
                  <a:cubicBezTo>
                    <a:pt x="2136" y="221"/>
                    <a:pt x="2137" y="221"/>
                    <a:pt x="2137" y="226"/>
                  </a:cubicBezTo>
                  <a:cubicBezTo>
                    <a:pt x="2137" y="228"/>
                    <a:pt x="2138" y="230"/>
                    <a:pt x="2139" y="232"/>
                  </a:cubicBezTo>
                  <a:cubicBezTo>
                    <a:pt x="2140" y="234"/>
                    <a:pt x="2142" y="234"/>
                    <a:pt x="2143" y="237"/>
                  </a:cubicBezTo>
                  <a:cubicBezTo>
                    <a:pt x="2141" y="236"/>
                    <a:pt x="2139" y="238"/>
                    <a:pt x="2137" y="237"/>
                  </a:cubicBezTo>
                  <a:cubicBezTo>
                    <a:pt x="2134" y="235"/>
                    <a:pt x="2133" y="236"/>
                    <a:pt x="2131" y="238"/>
                  </a:cubicBezTo>
                  <a:cubicBezTo>
                    <a:pt x="2127" y="242"/>
                    <a:pt x="2126" y="235"/>
                    <a:pt x="2124" y="233"/>
                  </a:cubicBezTo>
                  <a:cubicBezTo>
                    <a:pt x="2124" y="233"/>
                    <a:pt x="2120" y="231"/>
                    <a:pt x="2120" y="231"/>
                  </a:cubicBezTo>
                  <a:cubicBezTo>
                    <a:pt x="2119" y="231"/>
                    <a:pt x="2115" y="236"/>
                    <a:pt x="2113" y="234"/>
                  </a:cubicBezTo>
                  <a:cubicBezTo>
                    <a:pt x="2112" y="233"/>
                    <a:pt x="2115" y="232"/>
                    <a:pt x="2113" y="232"/>
                  </a:cubicBezTo>
                  <a:cubicBezTo>
                    <a:pt x="2111" y="232"/>
                    <a:pt x="2109" y="233"/>
                    <a:pt x="2107" y="233"/>
                  </a:cubicBezTo>
                  <a:cubicBezTo>
                    <a:pt x="2105" y="234"/>
                    <a:pt x="2104" y="236"/>
                    <a:pt x="2103" y="237"/>
                  </a:cubicBezTo>
                  <a:cubicBezTo>
                    <a:pt x="2102" y="239"/>
                    <a:pt x="2101" y="241"/>
                    <a:pt x="2104" y="240"/>
                  </a:cubicBezTo>
                  <a:cubicBezTo>
                    <a:pt x="2104" y="242"/>
                    <a:pt x="2109" y="241"/>
                    <a:pt x="2111" y="242"/>
                  </a:cubicBezTo>
                  <a:cubicBezTo>
                    <a:pt x="2109" y="242"/>
                    <a:pt x="2107" y="242"/>
                    <a:pt x="2105" y="243"/>
                  </a:cubicBezTo>
                  <a:cubicBezTo>
                    <a:pt x="2107" y="243"/>
                    <a:pt x="2110" y="244"/>
                    <a:pt x="2107" y="245"/>
                  </a:cubicBezTo>
                  <a:cubicBezTo>
                    <a:pt x="2105" y="246"/>
                    <a:pt x="2102" y="245"/>
                    <a:pt x="2100" y="246"/>
                  </a:cubicBezTo>
                  <a:cubicBezTo>
                    <a:pt x="2101" y="246"/>
                    <a:pt x="2101" y="246"/>
                    <a:pt x="2102" y="247"/>
                  </a:cubicBezTo>
                  <a:cubicBezTo>
                    <a:pt x="2104" y="246"/>
                    <a:pt x="2104" y="248"/>
                    <a:pt x="2104" y="249"/>
                  </a:cubicBezTo>
                  <a:cubicBezTo>
                    <a:pt x="2103" y="249"/>
                    <a:pt x="2103" y="249"/>
                    <a:pt x="2102" y="249"/>
                  </a:cubicBezTo>
                  <a:cubicBezTo>
                    <a:pt x="2101" y="249"/>
                    <a:pt x="2101" y="248"/>
                    <a:pt x="2100" y="248"/>
                  </a:cubicBezTo>
                  <a:cubicBezTo>
                    <a:pt x="2099" y="247"/>
                    <a:pt x="2099" y="247"/>
                    <a:pt x="2098" y="246"/>
                  </a:cubicBezTo>
                  <a:cubicBezTo>
                    <a:pt x="2098" y="246"/>
                    <a:pt x="2099" y="245"/>
                    <a:pt x="2100" y="245"/>
                  </a:cubicBezTo>
                  <a:cubicBezTo>
                    <a:pt x="2097" y="244"/>
                    <a:pt x="2093" y="245"/>
                    <a:pt x="2095" y="241"/>
                  </a:cubicBezTo>
                  <a:cubicBezTo>
                    <a:pt x="2093" y="241"/>
                    <a:pt x="2092" y="241"/>
                    <a:pt x="2090" y="241"/>
                  </a:cubicBezTo>
                  <a:cubicBezTo>
                    <a:pt x="2092" y="239"/>
                    <a:pt x="2087" y="239"/>
                    <a:pt x="2086" y="238"/>
                  </a:cubicBezTo>
                  <a:cubicBezTo>
                    <a:pt x="2085" y="238"/>
                    <a:pt x="2084" y="237"/>
                    <a:pt x="2083" y="237"/>
                  </a:cubicBezTo>
                  <a:cubicBezTo>
                    <a:pt x="2081" y="236"/>
                    <a:pt x="2080" y="237"/>
                    <a:pt x="2077" y="236"/>
                  </a:cubicBezTo>
                  <a:cubicBezTo>
                    <a:pt x="2076" y="234"/>
                    <a:pt x="2076" y="233"/>
                    <a:pt x="2073" y="233"/>
                  </a:cubicBezTo>
                  <a:cubicBezTo>
                    <a:pt x="2071" y="233"/>
                    <a:pt x="2069" y="231"/>
                    <a:pt x="2066" y="231"/>
                  </a:cubicBezTo>
                  <a:cubicBezTo>
                    <a:pt x="2064" y="231"/>
                    <a:pt x="2062" y="232"/>
                    <a:pt x="2059" y="233"/>
                  </a:cubicBezTo>
                  <a:cubicBezTo>
                    <a:pt x="2054" y="234"/>
                    <a:pt x="2049" y="235"/>
                    <a:pt x="2045" y="236"/>
                  </a:cubicBezTo>
                  <a:cubicBezTo>
                    <a:pt x="2043" y="237"/>
                    <a:pt x="2042" y="239"/>
                    <a:pt x="2042" y="239"/>
                  </a:cubicBezTo>
                  <a:cubicBezTo>
                    <a:pt x="2042" y="240"/>
                    <a:pt x="2043" y="241"/>
                    <a:pt x="2043" y="241"/>
                  </a:cubicBezTo>
                  <a:cubicBezTo>
                    <a:pt x="2043" y="242"/>
                    <a:pt x="2041" y="243"/>
                    <a:pt x="2041" y="244"/>
                  </a:cubicBezTo>
                  <a:cubicBezTo>
                    <a:pt x="2041" y="242"/>
                    <a:pt x="2043" y="242"/>
                    <a:pt x="2042" y="241"/>
                  </a:cubicBezTo>
                  <a:cubicBezTo>
                    <a:pt x="2042" y="239"/>
                    <a:pt x="2039" y="240"/>
                    <a:pt x="2038" y="240"/>
                  </a:cubicBezTo>
                  <a:cubicBezTo>
                    <a:pt x="2036" y="240"/>
                    <a:pt x="2034" y="240"/>
                    <a:pt x="2033" y="240"/>
                  </a:cubicBezTo>
                  <a:cubicBezTo>
                    <a:pt x="2029" y="240"/>
                    <a:pt x="2026" y="239"/>
                    <a:pt x="2023" y="238"/>
                  </a:cubicBezTo>
                  <a:cubicBezTo>
                    <a:pt x="2020" y="237"/>
                    <a:pt x="2016" y="236"/>
                    <a:pt x="2014" y="234"/>
                  </a:cubicBezTo>
                  <a:cubicBezTo>
                    <a:pt x="2010" y="231"/>
                    <a:pt x="2009" y="228"/>
                    <a:pt x="2005" y="227"/>
                  </a:cubicBezTo>
                  <a:cubicBezTo>
                    <a:pt x="2003" y="226"/>
                    <a:pt x="2005" y="224"/>
                    <a:pt x="2004" y="223"/>
                  </a:cubicBezTo>
                  <a:cubicBezTo>
                    <a:pt x="2003" y="220"/>
                    <a:pt x="2002" y="221"/>
                    <a:pt x="2000" y="223"/>
                  </a:cubicBezTo>
                  <a:cubicBezTo>
                    <a:pt x="1998" y="225"/>
                    <a:pt x="1996" y="228"/>
                    <a:pt x="1995" y="231"/>
                  </a:cubicBezTo>
                  <a:cubicBezTo>
                    <a:pt x="1993" y="234"/>
                    <a:pt x="1992" y="237"/>
                    <a:pt x="1991" y="240"/>
                  </a:cubicBezTo>
                  <a:cubicBezTo>
                    <a:pt x="1991" y="241"/>
                    <a:pt x="1990" y="242"/>
                    <a:pt x="1990" y="243"/>
                  </a:cubicBezTo>
                  <a:cubicBezTo>
                    <a:pt x="1988" y="248"/>
                    <a:pt x="1988" y="248"/>
                    <a:pt x="1988" y="248"/>
                  </a:cubicBezTo>
                  <a:cubicBezTo>
                    <a:pt x="1976" y="260"/>
                    <a:pt x="1976" y="260"/>
                    <a:pt x="1976" y="260"/>
                  </a:cubicBezTo>
                  <a:cubicBezTo>
                    <a:pt x="1975" y="261"/>
                    <a:pt x="1975" y="261"/>
                    <a:pt x="1975" y="261"/>
                  </a:cubicBezTo>
                  <a:cubicBezTo>
                    <a:pt x="1973" y="262"/>
                    <a:pt x="1973" y="262"/>
                    <a:pt x="1973" y="262"/>
                  </a:cubicBezTo>
                  <a:cubicBezTo>
                    <a:pt x="1973" y="262"/>
                    <a:pt x="1970" y="262"/>
                    <a:pt x="1969" y="261"/>
                  </a:cubicBezTo>
                  <a:cubicBezTo>
                    <a:pt x="1969" y="261"/>
                    <a:pt x="1969" y="261"/>
                    <a:pt x="1969" y="261"/>
                  </a:cubicBezTo>
                  <a:cubicBezTo>
                    <a:pt x="1969" y="261"/>
                    <a:pt x="1969" y="261"/>
                    <a:pt x="1969" y="261"/>
                  </a:cubicBezTo>
                  <a:cubicBezTo>
                    <a:pt x="1969" y="261"/>
                    <a:pt x="1969" y="261"/>
                    <a:pt x="1969" y="261"/>
                  </a:cubicBezTo>
                  <a:cubicBezTo>
                    <a:pt x="1969" y="261"/>
                    <a:pt x="1969" y="261"/>
                    <a:pt x="1969" y="261"/>
                  </a:cubicBezTo>
                  <a:cubicBezTo>
                    <a:pt x="1969" y="260"/>
                    <a:pt x="1969" y="260"/>
                    <a:pt x="1969" y="260"/>
                  </a:cubicBezTo>
                  <a:cubicBezTo>
                    <a:pt x="1970" y="260"/>
                    <a:pt x="1970" y="260"/>
                    <a:pt x="1970" y="260"/>
                  </a:cubicBezTo>
                  <a:cubicBezTo>
                    <a:pt x="1970" y="260"/>
                    <a:pt x="1970" y="260"/>
                    <a:pt x="1970" y="260"/>
                  </a:cubicBezTo>
                  <a:cubicBezTo>
                    <a:pt x="1969" y="259"/>
                    <a:pt x="1969" y="259"/>
                    <a:pt x="1969" y="259"/>
                  </a:cubicBezTo>
                  <a:cubicBezTo>
                    <a:pt x="1969" y="259"/>
                    <a:pt x="1969" y="259"/>
                    <a:pt x="1969" y="259"/>
                  </a:cubicBezTo>
                  <a:cubicBezTo>
                    <a:pt x="1969" y="259"/>
                    <a:pt x="1969" y="259"/>
                    <a:pt x="1969" y="259"/>
                  </a:cubicBezTo>
                  <a:cubicBezTo>
                    <a:pt x="1969" y="259"/>
                    <a:pt x="1969" y="259"/>
                    <a:pt x="1969" y="259"/>
                  </a:cubicBezTo>
                  <a:cubicBezTo>
                    <a:pt x="1969" y="259"/>
                    <a:pt x="1969" y="259"/>
                    <a:pt x="1969" y="259"/>
                  </a:cubicBezTo>
                  <a:cubicBezTo>
                    <a:pt x="1969" y="258"/>
                    <a:pt x="1969" y="258"/>
                    <a:pt x="1969" y="258"/>
                  </a:cubicBezTo>
                  <a:cubicBezTo>
                    <a:pt x="1969" y="258"/>
                    <a:pt x="1969" y="258"/>
                    <a:pt x="1969" y="258"/>
                  </a:cubicBezTo>
                  <a:cubicBezTo>
                    <a:pt x="1968" y="258"/>
                    <a:pt x="1968" y="258"/>
                    <a:pt x="1968" y="258"/>
                  </a:cubicBezTo>
                  <a:cubicBezTo>
                    <a:pt x="1968" y="258"/>
                    <a:pt x="1968" y="258"/>
                    <a:pt x="1968" y="258"/>
                  </a:cubicBezTo>
                  <a:cubicBezTo>
                    <a:pt x="1965" y="258"/>
                    <a:pt x="1965" y="258"/>
                    <a:pt x="1965" y="258"/>
                  </a:cubicBezTo>
                  <a:cubicBezTo>
                    <a:pt x="1964" y="258"/>
                    <a:pt x="1964" y="258"/>
                    <a:pt x="1964" y="258"/>
                  </a:cubicBezTo>
                  <a:cubicBezTo>
                    <a:pt x="1963" y="258"/>
                    <a:pt x="1963" y="258"/>
                    <a:pt x="1963" y="258"/>
                  </a:cubicBezTo>
                  <a:cubicBezTo>
                    <a:pt x="1963" y="258"/>
                    <a:pt x="1963" y="258"/>
                    <a:pt x="1963" y="258"/>
                  </a:cubicBezTo>
                  <a:cubicBezTo>
                    <a:pt x="1963" y="257"/>
                    <a:pt x="1963" y="257"/>
                    <a:pt x="1963" y="257"/>
                  </a:cubicBezTo>
                  <a:cubicBezTo>
                    <a:pt x="1962" y="257"/>
                    <a:pt x="1962" y="257"/>
                    <a:pt x="1962" y="257"/>
                  </a:cubicBezTo>
                  <a:cubicBezTo>
                    <a:pt x="1962" y="257"/>
                    <a:pt x="1962" y="257"/>
                    <a:pt x="1962" y="257"/>
                  </a:cubicBezTo>
                  <a:cubicBezTo>
                    <a:pt x="1962" y="257"/>
                    <a:pt x="1962" y="257"/>
                    <a:pt x="1962" y="257"/>
                  </a:cubicBezTo>
                  <a:cubicBezTo>
                    <a:pt x="1962" y="257"/>
                    <a:pt x="1962" y="257"/>
                    <a:pt x="1962" y="257"/>
                  </a:cubicBezTo>
                  <a:cubicBezTo>
                    <a:pt x="1962" y="257"/>
                    <a:pt x="1962" y="257"/>
                    <a:pt x="1962" y="257"/>
                  </a:cubicBezTo>
                  <a:cubicBezTo>
                    <a:pt x="1962" y="256"/>
                    <a:pt x="1962" y="256"/>
                    <a:pt x="1962" y="256"/>
                  </a:cubicBezTo>
                  <a:cubicBezTo>
                    <a:pt x="1960" y="256"/>
                    <a:pt x="1959" y="256"/>
                    <a:pt x="1957" y="255"/>
                  </a:cubicBezTo>
                  <a:cubicBezTo>
                    <a:pt x="1956" y="255"/>
                    <a:pt x="1956" y="255"/>
                    <a:pt x="1956" y="255"/>
                  </a:cubicBezTo>
                  <a:cubicBezTo>
                    <a:pt x="1956" y="255"/>
                    <a:pt x="1956" y="255"/>
                    <a:pt x="1956" y="255"/>
                  </a:cubicBezTo>
                  <a:cubicBezTo>
                    <a:pt x="1956" y="255"/>
                    <a:pt x="1956" y="255"/>
                    <a:pt x="1956" y="255"/>
                  </a:cubicBezTo>
                  <a:cubicBezTo>
                    <a:pt x="1956" y="254"/>
                    <a:pt x="1956" y="254"/>
                    <a:pt x="1956" y="254"/>
                  </a:cubicBezTo>
                  <a:cubicBezTo>
                    <a:pt x="1956" y="254"/>
                    <a:pt x="1956" y="254"/>
                    <a:pt x="1956" y="254"/>
                  </a:cubicBezTo>
                  <a:cubicBezTo>
                    <a:pt x="1957" y="254"/>
                    <a:pt x="1957" y="254"/>
                    <a:pt x="1957" y="254"/>
                  </a:cubicBezTo>
                  <a:cubicBezTo>
                    <a:pt x="1957" y="254"/>
                    <a:pt x="1957" y="254"/>
                    <a:pt x="1957" y="254"/>
                  </a:cubicBezTo>
                  <a:cubicBezTo>
                    <a:pt x="1957" y="253"/>
                    <a:pt x="1957" y="253"/>
                    <a:pt x="1957" y="253"/>
                  </a:cubicBezTo>
                  <a:cubicBezTo>
                    <a:pt x="1955" y="253"/>
                    <a:pt x="1955" y="253"/>
                    <a:pt x="1955" y="253"/>
                  </a:cubicBezTo>
                  <a:cubicBezTo>
                    <a:pt x="1953" y="252"/>
                    <a:pt x="1953" y="252"/>
                    <a:pt x="1953" y="252"/>
                  </a:cubicBezTo>
                  <a:cubicBezTo>
                    <a:pt x="1948" y="251"/>
                    <a:pt x="1948" y="251"/>
                    <a:pt x="1948" y="251"/>
                  </a:cubicBezTo>
                  <a:cubicBezTo>
                    <a:pt x="1947" y="250"/>
                    <a:pt x="1947" y="250"/>
                    <a:pt x="1947" y="250"/>
                  </a:cubicBezTo>
                  <a:cubicBezTo>
                    <a:pt x="1946" y="250"/>
                    <a:pt x="1946" y="250"/>
                    <a:pt x="1946" y="250"/>
                  </a:cubicBezTo>
                  <a:cubicBezTo>
                    <a:pt x="1946" y="250"/>
                    <a:pt x="1946" y="250"/>
                    <a:pt x="1946" y="250"/>
                  </a:cubicBezTo>
                  <a:cubicBezTo>
                    <a:pt x="1946" y="250"/>
                    <a:pt x="1946" y="250"/>
                    <a:pt x="1946" y="250"/>
                  </a:cubicBezTo>
                  <a:cubicBezTo>
                    <a:pt x="1947" y="250"/>
                    <a:pt x="1947" y="250"/>
                    <a:pt x="1947" y="250"/>
                  </a:cubicBezTo>
                  <a:cubicBezTo>
                    <a:pt x="1947" y="249"/>
                    <a:pt x="1947" y="249"/>
                    <a:pt x="1947" y="249"/>
                  </a:cubicBezTo>
                  <a:cubicBezTo>
                    <a:pt x="1947" y="249"/>
                    <a:pt x="1947" y="249"/>
                    <a:pt x="1947" y="249"/>
                  </a:cubicBezTo>
                  <a:cubicBezTo>
                    <a:pt x="1948" y="249"/>
                    <a:pt x="1948" y="249"/>
                    <a:pt x="1948" y="249"/>
                  </a:cubicBezTo>
                  <a:cubicBezTo>
                    <a:pt x="1948" y="249"/>
                    <a:pt x="1948" y="249"/>
                    <a:pt x="1948" y="249"/>
                  </a:cubicBezTo>
                  <a:cubicBezTo>
                    <a:pt x="1948" y="249"/>
                    <a:pt x="1948" y="249"/>
                    <a:pt x="1948" y="249"/>
                  </a:cubicBezTo>
                  <a:cubicBezTo>
                    <a:pt x="1948" y="248"/>
                    <a:pt x="1948" y="248"/>
                    <a:pt x="1948" y="248"/>
                  </a:cubicBezTo>
                  <a:cubicBezTo>
                    <a:pt x="1948" y="248"/>
                    <a:pt x="1948" y="248"/>
                    <a:pt x="1948" y="248"/>
                  </a:cubicBezTo>
                  <a:cubicBezTo>
                    <a:pt x="1948" y="248"/>
                    <a:pt x="1948" y="248"/>
                    <a:pt x="1948" y="248"/>
                  </a:cubicBezTo>
                  <a:cubicBezTo>
                    <a:pt x="1947" y="248"/>
                    <a:pt x="1947" y="248"/>
                    <a:pt x="1947" y="248"/>
                  </a:cubicBezTo>
                  <a:cubicBezTo>
                    <a:pt x="1947" y="247"/>
                    <a:pt x="1947" y="247"/>
                    <a:pt x="1947" y="247"/>
                  </a:cubicBezTo>
                  <a:cubicBezTo>
                    <a:pt x="1947" y="247"/>
                    <a:pt x="1947" y="247"/>
                    <a:pt x="1947" y="247"/>
                  </a:cubicBezTo>
                  <a:cubicBezTo>
                    <a:pt x="1947" y="247"/>
                    <a:pt x="1947" y="247"/>
                    <a:pt x="1947" y="247"/>
                  </a:cubicBezTo>
                  <a:cubicBezTo>
                    <a:pt x="1947" y="247"/>
                    <a:pt x="1947" y="247"/>
                    <a:pt x="1947" y="247"/>
                  </a:cubicBezTo>
                  <a:cubicBezTo>
                    <a:pt x="1947" y="246"/>
                    <a:pt x="1947" y="246"/>
                    <a:pt x="1947" y="246"/>
                  </a:cubicBezTo>
                  <a:cubicBezTo>
                    <a:pt x="1947" y="246"/>
                    <a:pt x="1947" y="246"/>
                    <a:pt x="1947" y="246"/>
                  </a:cubicBezTo>
                  <a:cubicBezTo>
                    <a:pt x="1947" y="246"/>
                    <a:pt x="1947" y="246"/>
                    <a:pt x="1947" y="246"/>
                  </a:cubicBezTo>
                  <a:cubicBezTo>
                    <a:pt x="1947" y="245"/>
                    <a:pt x="1947" y="245"/>
                    <a:pt x="1947" y="245"/>
                  </a:cubicBezTo>
                  <a:cubicBezTo>
                    <a:pt x="1946" y="245"/>
                    <a:pt x="1946" y="245"/>
                    <a:pt x="1946" y="245"/>
                  </a:cubicBezTo>
                  <a:cubicBezTo>
                    <a:pt x="1946" y="245"/>
                    <a:pt x="1946" y="245"/>
                    <a:pt x="1946" y="245"/>
                  </a:cubicBezTo>
                  <a:cubicBezTo>
                    <a:pt x="1944" y="244"/>
                    <a:pt x="1944" y="244"/>
                    <a:pt x="1944" y="244"/>
                  </a:cubicBezTo>
                  <a:cubicBezTo>
                    <a:pt x="1944" y="243"/>
                    <a:pt x="1944" y="243"/>
                    <a:pt x="1944" y="243"/>
                  </a:cubicBezTo>
                  <a:cubicBezTo>
                    <a:pt x="1943" y="243"/>
                    <a:pt x="1943" y="243"/>
                    <a:pt x="1943" y="243"/>
                  </a:cubicBezTo>
                  <a:cubicBezTo>
                    <a:pt x="1943" y="243"/>
                    <a:pt x="1943" y="243"/>
                    <a:pt x="1943" y="243"/>
                  </a:cubicBezTo>
                  <a:cubicBezTo>
                    <a:pt x="1943" y="243"/>
                    <a:pt x="1943" y="243"/>
                    <a:pt x="1943" y="243"/>
                  </a:cubicBezTo>
                  <a:cubicBezTo>
                    <a:pt x="1942" y="243"/>
                    <a:pt x="1942" y="243"/>
                    <a:pt x="1942" y="243"/>
                  </a:cubicBezTo>
                  <a:cubicBezTo>
                    <a:pt x="1942" y="242"/>
                    <a:pt x="1942" y="242"/>
                    <a:pt x="1942" y="242"/>
                  </a:cubicBezTo>
                  <a:cubicBezTo>
                    <a:pt x="1942" y="242"/>
                    <a:pt x="1942" y="242"/>
                    <a:pt x="1942" y="242"/>
                  </a:cubicBezTo>
                  <a:cubicBezTo>
                    <a:pt x="1940" y="241"/>
                    <a:pt x="1941" y="241"/>
                    <a:pt x="1940" y="240"/>
                  </a:cubicBezTo>
                  <a:cubicBezTo>
                    <a:pt x="1940" y="239"/>
                    <a:pt x="1940" y="239"/>
                    <a:pt x="1940" y="239"/>
                  </a:cubicBezTo>
                  <a:cubicBezTo>
                    <a:pt x="1940" y="239"/>
                    <a:pt x="1940" y="239"/>
                    <a:pt x="1940" y="239"/>
                  </a:cubicBezTo>
                  <a:cubicBezTo>
                    <a:pt x="1939" y="236"/>
                    <a:pt x="1939" y="237"/>
                    <a:pt x="1936" y="235"/>
                  </a:cubicBezTo>
                  <a:cubicBezTo>
                    <a:pt x="1932" y="233"/>
                    <a:pt x="1932" y="233"/>
                    <a:pt x="1932" y="233"/>
                  </a:cubicBezTo>
                  <a:cubicBezTo>
                    <a:pt x="1931" y="232"/>
                    <a:pt x="1931" y="232"/>
                    <a:pt x="1931" y="232"/>
                  </a:cubicBezTo>
                  <a:cubicBezTo>
                    <a:pt x="1930" y="232"/>
                    <a:pt x="1930" y="232"/>
                    <a:pt x="1930" y="232"/>
                  </a:cubicBezTo>
                  <a:cubicBezTo>
                    <a:pt x="1930" y="231"/>
                    <a:pt x="1930" y="231"/>
                    <a:pt x="1930" y="231"/>
                  </a:cubicBezTo>
                  <a:cubicBezTo>
                    <a:pt x="1930" y="231"/>
                    <a:pt x="1930" y="231"/>
                    <a:pt x="1930" y="231"/>
                  </a:cubicBezTo>
                  <a:cubicBezTo>
                    <a:pt x="1930" y="231"/>
                    <a:pt x="1930" y="231"/>
                    <a:pt x="1930" y="231"/>
                  </a:cubicBezTo>
                  <a:cubicBezTo>
                    <a:pt x="1930" y="230"/>
                    <a:pt x="1930" y="230"/>
                    <a:pt x="1930" y="229"/>
                  </a:cubicBezTo>
                  <a:cubicBezTo>
                    <a:pt x="1931" y="229"/>
                    <a:pt x="1931" y="229"/>
                    <a:pt x="1931" y="229"/>
                  </a:cubicBezTo>
                  <a:cubicBezTo>
                    <a:pt x="1931" y="229"/>
                    <a:pt x="1931" y="229"/>
                    <a:pt x="1931" y="229"/>
                  </a:cubicBezTo>
                  <a:cubicBezTo>
                    <a:pt x="1932" y="228"/>
                    <a:pt x="1933" y="228"/>
                    <a:pt x="1934" y="228"/>
                  </a:cubicBezTo>
                  <a:cubicBezTo>
                    <a:pt x="1934" y="228"/>
                    <a:pt x="1934" y="228"/>
                    <a:pt x="1934" y="228"/>
                  </a:cubicBezTo>
                  <a:cubicBezTo>
                    <a:pt x="1935" y="228"/>
                    <a:pt x="1935" y="228"/>
                    <a:pt x="1935" y="228"/>
                  </a:cubicBezTo>
                  <a:cubicBezTo>
                    <a:pt x="1935" y="228"/>
                    <a:pt x="1935" y="228"/>
                    <a:pt x="1935" y="228"/>
                  </a:cubicBezTo>
                  <a:cubicBezTo>
                    <a:pt x="1941" y="227"/>
                    <a:pt x="1937" y="226"/>
                    <a:pt x="1942" y="228"/>
                  </a:cubicBezTo>
                  <a:cubicBezTo>
                    <a:pt x="1943" y="228"/>
                    <a:pt x="1943" y="228"/>
                    <a:pt x="1943" y="228"/>
                  </a:cubicBezTo>
                  <a:cubicBezTo>
                    <a:pt x="1943" y="228"/>
                    <a:pt x="1943" y="228"/>
                    <a:pt x="1943" y="228"/>
                  </a:cubicBezTo>
                  <a:cubicBezTo>
                    <a:pt x="1943" y="228"/>
                    <a:pt x="1943" y="228"/>
                    <a:pt x="1943" y="228"/>
                  </a:cubicBezTo>
                  <a:cubicBezTo>
                    <a:pt x="1943" y="227"/>
                    <a:pt x="1943" y="227"/>
                    <a:pt x="1943" y="227"/>
                  </a:cubicBezTo>
                  <a:cubicBezTo>
                    <a:pt x="1942" y="227"/>
                    <a:pt x="1942" y="227"/>
                    <a:pt x="1942" y="227"/>
                  </a:cubicBezTo>
                  <a:cubicBezTo>
                    <a:pt x="1942" y="227"/>
                    <a:pt x="1942" y="227"/>
                    <a:pt x="1942" y="227"/>
                  </a:cubicBezTo>
                  <a:cubicBezTo>
                    <a:pt x="1942" y="227"/>
                    <a:pt x="1942" y="227"/>
                    <a:pt x="1942" y="227"/>
                  </a:cubicBezTo>
                  <a:cubicBezTo>
                    <a:pt x="1941" y="226"/>
                    <a:pt x="1941" y="226"/>
                    <a:pt x="1941" y="226"/>
                  </a:cubicBezTo>
                  <a:cubicBezTo>
                    <a:pt x="1940" y="226"/>
                    <a:pt x="1940" y="226"/>
                    <a:pt x="1940" y="226"/>
                  </a:cubicBezTo>
                  <a:cubicBezTo>
                    <a:pt x="1939" y="225"/>
                    <a:pt x="1939" y="225"/>
                    <a:pt x="1939" y="225"/>
                  </a:cubicBezTo>
                  <a:cubicBezTo>
                    <a:pt x="1939" y="225"/>
                    <a:pt x="1939" y="225"/>
                    <a:pt x="1939" y="225"/>
                  </a:cubicBezTo>
                  <a:cubicBezTo>
                    <a:pt x="1938" y="223"/>
                    <a:pt x="1937" y="221"/>
                    <a:pt x="1936" y="219"/>
                  </a:cubicBezTo>
                  <a:cubicBezTo>
                    <a:pt x="1935" y="218"/>
                    <a:pt x="1935" y="218"/>
                    <a:pt x="1935"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9"/>
                    <a:pt x="1934" y="219"/>
                  </a:cubicBezTo>
                  <a:cubicBezTo>
                    <a:pt x="1935" y="219"/>
                    <a:pt x="1935" y="219"/>
                    <a:pt x="1935" y="219"/>
                  </a:cubicBezTo>
                  <a:cubicBezTo>
                    <a:pt x="1935" y="220"/>
                    <a:pt x="1935" y="220"/>
                    <a:pt x="1935" y="220"/>
                  </a:cubicBezTo>
                  <a:cubicBezTo>
                    <a:pt x="1935" y="220"/>
                    <a:pt x="1935" y="220"/>
                    <a:pt x="1935" y="221"/>
                  </a:cubicBezTo>
                  <a:cubicBezTo>
                    <a:pt x="1935" y="221"/>
                    <a:pt x="1935" y="221"/>
                    <a:pt x="1935" y="221"/>
                  </a:cubicBezTo>
                  <a:cubicBezTo>
                    <a:pt x="1935" y="221"/>
                    <a:pt x="1935" y="221"/>
                    <a:pt x="1935" y="221"/>
                  </a:cubicBezTo>
                  <a:cubicBezTo>
                    <a:pt x="1935" y="221"/>
                    <a:pt x="1935" y="221"/>
                    <a:pt x="1935" y="221"/>
                  </a:cubicBezTo>
                  <a:cubicBezTo>
                    <a:pt x="1936" y="222"/>
                    <a:pt x="1937" y="223"/>
                    <a:pt x="1937" y="224"/>
                  </a:cubicBezTo>
                  <a:cubicBezTo>
                    <a:pt x="1937" y="225"/>
                    <a:pt x="1937" y="225"/>
                    <a:pt x="1937" y="225"/>
                  </a:cubicBezTo>
                  <a:cubicBezTo>
                    <a:pt x="1937" y="225"/>
                    <a:pt x="1937" y="225"/>
                    <a:pt x="1937" y="225"/>
                  </a:cubicBezTo>
                  <a:cubicBezTo>
                    <a:pt x="1936" y="225"/>
                    <a:pt x="1936" y="225"/>
                    <a:pt x="1936" y="225"/>
                  </a:cubicBezTo>
                  <a:cubicBezTo>
                    <a:pt x="1934" y="225"/>
                    <a:pt x="1934" y="225"/>
                    <a:pt x="1934" y="225"/>
                  </a:cubicBezTo>
                  <a:cubicBezTo>
                    <a:pt x="1930" y="226"/>
                    <a:pt x="1930" y="226"/>
                    <a:pt x="1930" y="226"/>
                  </a:cubicBezTo>
                  <a:cubicBezTo>
                    <a:pt x="1928" y="226"/>
                    <a:pt x="1928" y="226"/>
                    <a:pt x="1928" y="226"/>
                  </a:cubicBezTo>
                  <a:cubicBezTo>
                    <a:pt x="1927" y="225"/>
                    <a:pt x="1927" y="225"/>
                    <a:pt x="1927" y="225"/>
                  </a:cubicBezTo>
                  <a:cubicBezTo>
                    <a:pt x="1927" y="225"/>
                    <a:pt x="1927" y="225"/>
                    <a:pt x="1927" y="225"/>
                  </a:cubicBezTo>
                  <a:cubicBezTo>
                    <a:pt x="1927" y="225"/>
                    <a:pt x="1927" y="225"/>
                    <a:pt x="1927" y="225"/>
                  </a:cubicBezTo>
                  <a:cubicBezTo>
                    <a:pt x="1927" y="224"/>
                    <a:pt x="1927" y="224"/>
                    <a:pt x="1926" y="223"/>
                  </a:cubicBezTo>
                  <a:cubicBezTo>
                    <a:pt x="1926" y="223"/>
                    <a:pt x="1926" y="223"/>
                    <a:pt x="1926" y="223"/>
                  </a:cubicBezTo>
                  <a:cubicBezTo>
                    <a:pt x="1926" y="222"/>
                    <a:pt x="1926" y="222"/>
                    <a:pt x="1926" y="222"/>
                  </a:cubicBezTo>
                  <a:cubicBezTo>
                    <a:pt x="1923" y="221"/>
                    <a:pt x="1924" y="221"/>
                    <a:pt x="1922" y="219"/>
                  </a:cubicBezTo>
                  <a:cubicBezTo>
                    <a:pt x="1919" y="214"/>
                    <a:pt x="1919" y="214"/>
                    <a:pt x="1919" y="214"/>
                  </a:cubicBezTo>
                  <a:cubicBezTo>
                    <a:pt x="1918" y="210"/>
                    <a:pt x="1918" y="210"/>
                    <a:pt x="1918" y="210"/>
                  </a:cubicBezTo>
                  <a:cubicBezTo>
                    <a:pt x="1920" y="210"/>
                    <a:pt x="1920" y="210"/>
                    <a:pt x="1920" y="210"/>
                  </a:cubicBezTo>
                  <a:cubicBezTo>
                    <a:pt x="1921" y="210"/>
                    <a:pt x="1921" y="210"/>
                    <a:pt x="1921" y="210"/>
                  </a:cubicBezTo>
                  <a:cubicBezTo>
                    <a:pt x="1921" y="211"/>
                    <a:pt x="1921" y="211"/>
                    <a:pt x="1921" y="211"/>
                  </a:cubicBezTo>
                  <a:cubicBezTo>
                    <a:pt x="1922" y="211"/>
                    <a:pt x="1922" y="211"/>
                    <a:pt x="1922" y="211"/>
                  </a:cubicBezTo>
                  <a:cubicBezTo>
                    <a:pt x="1922" y="211"/>
                    <a:pt x="1923" y="211"/>
                    <a:pt x="1924" y="211"/>
                  </a:cubicBezTo>
                  <a:cubicBezTo>
                    <a:pt x="1924" y="212"/>
                    <a:pt x="1924" y="212"/>
                    <a:pt x="1924" y="212"/>
                  </a:cubicBezTo>
                  <a:cubicBezTo>
                    <a:pt x="1924" y="212"/>
                    <a:pt x="1924" y="212"/>
                    <a:pt x="1924" y="212"/>
                  </a:cubicBezTo>
                  <a:cubicBezTo>
                    <a:pt x="1925" y="212"/>
                    <a:pt x="1925" y="212"/>
                    <a:pt x="1925" y="212"/>
                  </a:cubicBezTo>
                  <a:cubicBezTo>
                    <a:pt x="1925" y="213"/>
                    <a:pt x="1925" y="213"/>
                    <a:pt x="1925" y="213"/>
                  </a:cubicBezTo>
                  <a:cubicBezTo>
                    <a:pt x="1925" y="214"/>
                    <a:pt x="1925" y="214"/>
                    <a:pt x="1925" y="214"/>
                  </a:cubicBezTo>
                  <a:cubicBezTo>
                    <a:pt x="1926" y="214"/>
                    <a:pt x="1926" y="214"/>
                    <a:pt x="1926" y="214"/>
                  </a:cubicBezTo>
                  <a:cubicBezTo>
                    <a:pt x="1926" y="214"/>
                    <a:pt x="1926" y="214"/>
                    <a:pt x="1926" y="214"/>
                  </a:cubicBezTo>
                  <a:cubicBezTo>
                    <a:pt x="1926" y="214"/>
                    <a:pt x="1926" y="214"/>
                    <a:pt x="1926" y="214"/>
                  </a:cubicBezTo>
                  <a:cubicBezTo>
                    <a:pt x="1927" y="215"/>
                    <a:pt x="1927" y="215"/>
                    <a:pt x="1927" y="215"/>
                  </a:cubicBezTo>
                  <a:cubicBezTo>
                    <a:pt x="1927" y="215"/>
                    <a:pt x="1927" y="215"/>
                    <a:pt x="1927" y="215"/>
                  </a:cubicBezTo>
                  <a:cubicBezTo>
                    <a:pt x="1928" y="215"/>
                    <a:pt x="1928" y="215"/>
                    <a:pt x="1928" y="215"/>
                  </a:cubicBezTo>
                  <a:cubicBezTo>
                    <a:pt x="1928" y="215"/>
                    <a:pt x="1928" y="215"/>
                    <a:pt x="1928" y="215"/>
                  </a:cubicBezTo>
                  <a:cubicBezTo>
                    <a:pt x="1928" y="216"/>
                    <a:pt x="1929" y="215"/>
                    <a:pt x="1930" y="215"/>
                  </a:cubicBezTo>
                  <a:cubicBezTo>
                    <a:pt x="1930" y="215"/>
                    <a:pt x="1930" y="215"/>
                    <a:pt x="1930" y="215"/>
                  </a:cubicBezTo>
                  <a:cubicBezTo>
                    <a:pt x="1931" y="215"/>
                    <a:pt x="1931" y="215"/>
                    <a:pt x="1931" y="215"/>
                  </a:cubicBezTo>
                  <a:cubicBezTo>
                    <a:pt x="1932" y="216"/>
                    <a:pt x="1932" y="216"/>
                    <a:pt x="1933" y="216"/>
                  </a:cubicBezTo>
                  <a:cubicBezTo>
                    <a:pt x="1934" y="216"/>
                    <a:pt x="1934" y="216"/>
                    <a:pt x="1934" y="216"/>
                  </a:cubicBezTo>
                  <a:cubicBezTo>
                    <a:pt x="1934" y="215"/>
                    <a:pt x="1934" y="215"/>
                    <a:pt x="1934" y="215"/>
                  </a:cubicBezTo>
                  <a:cubicBezTo>
                    <a:pt x="1934" y="215"/>
                    <a:pt x="1934" y="215"/>
                    <a:pt x="1934" y="215"/>
                  </a:cubicBezTo>
                  <a:cubicBezTo>
                    <a:pt x="1935" y="215"/>
                    <a:pt x="1935" y="215"/>
                    <a:pt x="1935" y="215"/>
                  </a:cubicBezTo>
                  <a:cubicBezTo>
                    <a:pt x="1935" y="215"/>
                    <a:pt x="1935" y="215"/>
                    <a:pt x="1935" y="215"/>
                  </a:cubicBezTo>
                  <a:cubicBezTo>
                    <a:pt x="1935" y="215"/>
                    <a:pt x="1935" y="215"/>
                    <a:pt x="1935" y="215"/>
                  </a:cubicBezTo>
                  <a:cubicBezTo>
                    <a:pt x="1936" y="214"/>
                    <a:pt x="1937" y="215"/>
                    <a:pt x="1937" y="215"/>
                  </a:cubicBezTo>
                  <a:cubicBezTo>
                    <a:pt x="1938" y="215"/>
                    <a:pt x="1938" y="215"/>
                    <a:pt x="1938" y="215"/>
                  </a:cubicBezTo>
                  <a:cubicBezTo>
                    <a:pt x="1938" y="215"/>
                    <a:pt x="1938" y="215"/>
                    <a:pt x="1938" y="215"/>
                  </a:cubicBezTo>
                  <a:cubicBezTo>
                    <a:pt x="1939" y="215"/>
                    <a:pt x="1940" y="215"/>
                    <a:pt x="1940" y="215"/>
                  </a:cubicBezTo>
                  <a:cubicBezTo>
                    <a:pt x="1941" y="214"/>
                    <a:pt x="1941" y="214"/>
                    <a:pt x="1941" y="214"/>
                  </a:cubicBezTo>
                  <a:cubicBezTo>
                    <a:pt x="1941" y="214"/>
                    <a:pt x="1941" y="214"/>
                    <a:pt x="1941" y="214"/>
                  </a:cubicBezTo>
                  <a:cubicBezTo>
                    <a:pt x="1941" y="214"/>
                    <a:pt x="1941" y="214"/>
                    <a:pt x="1941" y="214"/>
                  </a:cubicBezTo>
                  <a:cubicBezTo>
                    <a:pt x="1942" y="214"/>
                    <a:pt x="1942" y="214"/>
                    <a:pt x="1942" y="214"/>
                  </a:cubicBezTo>
                  <a:cubicBezTo>
                    <a:pt x="1942" y="214"/>
                    <a:pt x="1942" y="214"/>
                    <a:pt x="1942" y="214"/>
                  </a:cubicBezTo>
                  <a:cubicBezTo>
                    <a:pt x="1942" y="213"/>
                    <a:pt x="1942" y="213"/>
                    <a:pt x="1942" y="213"/>
                  </a:cubicBezTo>
                  <a:cubicBezTo>
                    <a:pt x="1943" y="213"/>
                    <a:pt x="1943" y="213"/>
                    <a:pt x="1943" y="213"/>
                  </a:cubicBezTo>
                  <a:cubicBezTo>
                    <a:pt x="1944" y="211"/>
                    <a:pt x="1944" y="211"/>
                    <a:pt x="1944" y="211"/>
                  </a:cubicBezTo>
                  <a:cubicBezTo>
                    <a:pt x="1944" y="210"/>
                    <a:pt x="1944" y="210"/>
                    <a:pt x="1944" y="210"/>
                  </a:cubicBezTo>
                  <a:cubicBezTo>
                    <a:pt x="1944" y="209"/>
                    <a:pt x="1944" y="209"/>
                    <a:pt x="1944" y="209"/>
                  </a:cubicBezTo>
                  <a:cubicBezTo>
                    <a:pt x="1943" y="207"/>
                    <a:pt x="1943" y="207"/>
                    <a:pt x="1943" y="207"/>
                  </a:cubicBezTo>
                  <a:cubicBezTo>
                    <a:pt x="1942" y="206"/>
                    <a:pt x="1942" y="206"/>
                    <a:pt x="1942" y="206"/>
                  </a:cubicBezTo>
                  <a:cubicBezTo>
                    <a:pt x="1942" y="205"/>
                    <a:pt x="1942" y="205"/>
                    <a:pt x="1942" y="205"/>
                  </a:cubicBezTo>
                  <a:cubicBezTo>
                    <a:pt x="1942" y="205"/>
                    <a:pt x="1942" y="205"/>
                    <a:pt x="1942" y="205"/>
                  </a:cubicBezTo>
                  <a:cubicBezTo>
                    <a:pt x="1942" y="205"/>
                    <a:pt x="1942" y="205"/>
                    <a:pt x="1942" y="205"/>
                  </a:cubicBezTo>
                  <a:cubicBezTo>
                    <a:pt x="1941" y="204"/>
                    <a:pt x="1941" y="204"/>
                    <a:pt x="1941" y="204"/>
                  </a:cubicBezTo>
                  <a:cubicBezTo>
                    <a:pt x="1940" y="204"/>
                    <a:pt x="1940" y="204"/>
                    <a:pt x="1940" y="204"/>
                  </a:cubicBezTo>
                  <a:cubicBezTo>
                    <a:pt x="1939" y="203"/>
                    <a:pt x="1939" y="203"/>
                    <a:pt x="1939" y="203"/>
                  </a:cubicBezTo>
                  <a:cubicBezTo>
                    <a:pt x="1939" y="203"/>
                    <a:pt x="1939" y="203"/>
                    <a:pt x="1939" y="203"/>
                  </a:cubicBezTo>
                  <a:cubicBezTo>
                    <a:pt x="1939" y="202"/>
                    <a:pt x="1939" y="202"/>
                    <a:pt x="1939" y="202"/>
                  </a:cubicBezTo>
                  <a:cubicBezTo>
                    <a:pt x="1939" y="202"/>
                    <a:pt x="1939" y="202"/>
                    <a:pt x="1939" y="202"/>
                  </a:cubicBezTo>
                  <a:cubicBezTo>
                    <a:pt x="1939" y="202"/>
                    <a:pt x="1939" y="202"/>
                    <a:pt x="1939" y="202"/>
                  </a:cubicBezTo>
                  <a:cubicBezTo>
                    <a:pt x="1937" y="201"/>
                    <a:pt x="1937" y="201"/>
                    <a:pt x="1937" y="201"/>
                  </a:cubicBezTo>
                  <a:cubicBezTo>
                    <a:pt x="1936" y="201"/>
                    <a:pt x="1936" y="201"/>
                    <a:pt x="1936" y="201"/>
                  </a:cubicBezTo>
                  <a:cubicBezTo>
                    <a:pt x="1921" y="199"/>
                    <a:pt x="1921" y="199"/>
                    <a:pt x="1921" y="199"/>
                  </a:cubicBezTo>
                  <a:cubicBezTo>
                    <a:pt x="1922" y="198"/>
                    <a:pt x="1922" y="198"/>
                    <a:pt x="1922" y="198"/>
                  </a:cubicBezTo>
                  <a:cubicBezTo>
                    <a:pt x="1923" y="198"/>
                    <a:pt x="1923" y="198"/>
                    <a:pt x="1923" y="198"/>
                  </a:cubicBezTo>
                  <a:cubicBezTo>
                    <a:pt x="1924" y="198"/>
                    <a:pt x="1924" y="198"/>
                    <a:pt x="1924" y="198"/>
                  </a:cubicBezTo>
                  <a:cubicBezTo>
                    <a:pt x="1924" y="198"/>
                    <a:pt x="1924" y="198"/>
                    <a:pt x="1924" y="198"/>
                  </a:cubicBezTo>
                  <a:cubicBezTo>
                    <a:pt x="1926" y="199"/>
                    <a:pt x="1926" y="199"/>
                    <a:pt x="1927" y="199"/>
                  </a:cubicBezTo>
                  <a:cubicBezTo>
                    <a:pt x="1928" y="199"/>
                    <a:pt x="1928" y="199"/>
                    <a:pt x="1928" y="199"/>
                  </a:cubicBezTo>
                  <a:cubicBezTo>
                    <a:pt x="1928" y="199"/>
                    <a:pt x="1928" y="199"/>
                    <a:pt x="1928" y="199"/>
                  </a:cubicBezTo>
                  <a:cubicBezTo>
                    <a:pt x="1929" y="199"/>
                    <a:pt x="1929" y="198"/>
                    <a:pt x="1930" y="197"/>
                  </a:cubicBezTo>
                  <a:cubicBezTo>
                    <a:pt x="1931" y="197"/>
                    <a:pt x="1931" y="197"/>
                    <a:pt x="1931" y="197"/>
                  </a:cubicBezTo>
                  <a:cubicBezTo>
                    <a:pt x="1931" y="197"/>
                    <a:pt x="1931" y="197"/>
                    <a:pt x="1931" y="197"/>
                  </a:cubicBezTo>
                  <a:cubicBezTo>
                    <a:pt x="1931" y="197"/>
                    <a:pt x="1931" y="197"/>
                    <a:pt x="1931" y="197"/>
                  </a:cubicBezTo>
                  <a:cubicBezTo>
                    <a:pt x="1932" y="197"/>
                    <a:pt x="1932" y="197"/>
                    <a:pt x="1932" y="197"/>
                  </a:cubicBezTo>
                  <a:cubicBezTo>
                    <a:pt x="1934" y="197"/>
                    <a:pt x="1932" y="194"/>
                    <a:pt x="1935" y="194"/>
                  </a:cubicBezTo>
                  <a:cubicBezTo>
                    <a:pt x="1935" y="194"/>
                    <a:pt x="1935" y="194"/>
                    <a:pt x="1935" y="194"/>
                  </a:cubicBezTo>
                  <a:cubicBezTo>
                    <a:pt x="1936" y="195"/>
                    <a:pt x="1936" y="195"/>
                    <a:pt x="1936" y="195"/>
                  </a:cubicBezTo>
                  <a:cubicBezTo>
                    <a:pt x="1938" y="195"/>
                    <a:pt x="1937" y="194"/>
                    <a:pt x="1938" y="193"/>
                  </a:cubicBezTo>
                  <a:cubicBezTo>
                    <a:pt x="1939" y="193"/>
                    <a:pt x="1939" y="193"/>
                    <a:pt x="1939" y="193"/>
                  </a:cubicBezTo>
                  <a:cubicBezTo>
                    <a:pt x="1939" y="193"/>
                    <a:pt x="1939" y="193"/>
                    <a:pt x="1939" y="193"/>
                  </a:cubicBezTo>
                  <a:cubicBezTo>
                    <a:pt x="1940" y="193"/>
                    <a:pt x="1940" y="193"/>
                    <a:pt x="1940" y="193"/>
                  </a:cubicBezTo>
                  <a:cubicBezTo>
                    <a:pt x="1938" y="192"/>
                    <a:pt x="1938" y="192"/>
                    <a:pt x="1938" y="192"/>
                  </a:cubicBezTo>
                  <a:cubicBezTo>
                    <a:pt x="1937" y="192"/>
                    <a:pt x="1937" y="192"/>
                    <a:pt x="1937" y="192"/>
                  </a:cubicBezTo>
                  <a:cubicBezTo>
                    <a:pt x="1923" y="186"/>
                    <a:pt x="1923" y="186"/>
                    <a:pt x="1923" y="186"/>
                  </a:cubicBezTo>
                  <a:cubicBezTo>
                    <a:pt x="1923" y="185"/>
                    <a:pt x="1923" y="185"/>
                    <a:pt x="1923" y="185"/>
                  </a:cubicBezTo>
                  <a:cubicBezTo>
                    <a:pt x="1928" y="184"/>
                    <a:pt x="1928" y="184"/>
                    <a:pt x="1928" y="184"/>
                  </a:cubicBezTo>
                  <a:cubicBezTo>
                    <a:pt x="1930" y="183"/>
                    <a:pt x="1932" y="183"/>
                    <a:pt x="1933" y="182"/>
                  </a:cubicBezTo>
                  <a:cubicBezTo>
                    <a:pt x="1934" y="182"/>
                    <a:pt x="1934" y="182"/>
                    <a:pt x="1934" y="182"/>
                  </a:cubicBezTo>
                  <a:cubicBezTo>
                    <a:pt x="1934" y="182"/>
                    <a:pt x="1934" y="182"/>
                    <a:pt x="1934" y="182"/>
                  </a:cubicBezTo>
                  <a:cubicBezTo>
                    <a:pt x="1934" y="182"/>
                    <a:pt x="1934" y="182"/>
                    <a:pt x="1934" y="182"/>
                  </a:cubicBezTo>
                  <a:cubicBezTo>
                    <a:pt x="1934" y="182"/>
                    <a:pt x="1934" y="182"/>
                    <a:pt x="1934" y="182"/>
                  </a:cubicBezTo>
                  <a:cubicBezTo>
                    <a:pt x="1934" y="181"/>
                    <a:pt x="1934" y="181"/>
                    <a:pt x="1934" y="181"/>
                  </a:cubicBezTo>
                  <a:cubicBezTo>
                    <a:pt x="1934" y="181"/>
                    <a:pt x="1934" y="181"/>
                    <a:pt x="1934" y="181"/>
                  </a:cubicBezTo>
                  <a:cubicBezTo>
                    <a:pt x="1935" y="181"/>
                    <a:pt x="1935" y="181"/>
                    <a:pt x="1935" y="181"/>
                  </a:cubicBezTo>
                  <a:cubicBezTo>
                    <a:pt x="1935" y="181"/>
                    <a:pt x="1935" y="181"/>
                    <a:pt x="1935" y="181"/>
                  </a:cubicBezTo>
                  <a:cubicBezTo>
                    <a:pt x="1935" y="181"/>
                    <a:pt x="1935" y="181"/>
                    <a:pt x="1935" y="181"/>
                  </a:cubicBezTo>
                  <a:cubicBezTo>
                    <a:pt x="1935" y="180"/>
                    <a:pt x="1935" y="180"/>
                    <a:pt x="1935" y="180"/>
                  </a:cubicBezTo>
                  <a:cubicBezTo>
                    <a:pt x="1935" y="180"/>
                    <a:pt x="1935" y="180"/>
                    <a:pt x="1935" y="180"/>
                  </a:cubicBezTo>
                  <a:cubicBezTo>
                    <a:pt x="1935" y="180"/>
                    <a:pt x="1935" y="180"/>
                    <a:pt x="1935" y="180"/>
                  </a:cubicBezTo>
                  <a:cubicBezTo>
                    <a:pt x="1935" y="180"/>
                    <a:pt x="1935" y="180"/>
                    <a:pt x="1935" y="180"/>
                  </a:cubicBezTo>
                  <a:cubicBezTo>
                    <a:pt x="1935" y="179"/>
                    <a:pt x="1935" y="179"/>
                    <a:pt x="1935" y="179"/>
                  </a:cubicBezTo>
                  <a:cubicBezTo>
                    <a:pt x="1935" y="179"/>
                    <a:pt x="1935" y="179"/>
                    <a:pt x="1935" y="179"/>
                  </a:cubicBezTo>
                  <a:cubicBezTo>
                    <a:pt x="1936" y="179"/>
                    <a:pt x="1936" y="179"/>
                    <a:pt x="1936" y="179"/>
                  </a:cubicBezTo>
                  <a:cubicBezTo>
                    <a:pt x="1936" y="179"/>
                    <a:pt x="1936" y="179"/>
                    <a:pt x="1936" y="179"/>
                  </a:cubicBezTo>
                  <a:cubicBezTo>
                    <a:pt x="1936" y="178"/>
                    <a:pt x="1936" y="178"/>
                    <a:pt x="1936" y="178"/>
                  </a:cubicBezTo>
                  <a:cubicBezTo>
                    <a:pt x="1936" y="178"/>
                    <a:pt x="1936" y="178"/>
                    <a:pt x="1936" y="178"/>
                  </a:cubicBezTo>
                  <a:cubicBezTo>
                    <a:pt x="1935" y="178"/>
                    <a:pt x="1935" y="178"/>
                    <a:pt x="1935" y="178"/>
                  </a:cubicBezTo>
                  <a:cubicBezTo>
                    <a:pt x="1935" y="177"/>
                    <a:pt x="1935" y="177"/>
                    <a:pt x="1935" y="177"/>
                  </a:cubicBezTo>
                  <a:cubicBezTo>
                    <a:pt x="1935" y="177"/>
                    <a:pt x="1935" y="177"/>
                    <a:pt x="1935" y="177"/>
                  </a:cubicBezTo>
                  <a:cubicBezTo>
                    <a:pt x="1933" y="176"/>
                    <a:pt x="1933" y="176"/>
                    <a:pt x="1933" y="176"/>
                  </a:cubicBezTo>
                  <a:cubicBezTo>
                    <a:pt x="1933" y="176"/>
                    <a:pt x="1933" y="176"/>
                    <a:pt x="1933" y="176"/>
                  </a:cubicBezTo>
                  <a:cubicBezTo>
                    <a:pt x="1933" y="176"/>
                    <a:pt x="1933" y="176"/>
                    <a:pt x="1933" y="176"/>
                  </a:cubicBezTo>
                  <a:cubicBezTo>
                    <a:pt x="1932" y="175"/>
                    <a:pt x="1932" y="175"/>
                    <a:pt x="1932" y="175"/>
                  </a:cubicBezTo>
                  <a:cubicBezTo>
                    <a:pt x="1931" y="174"/>
                    <a:pt x="1931" y="174"/>
                    <a:pt x="1931" y="174"/>
                  </a:cubicBezTo>
                  <a:cubicBezTo>
                    <a:pt x="1929" y="173"/>
                    <a:pt x="1929" y="173"/>
                    <a:pt x="1929" y="173"/>
                  </a:cubicBezTo>
                  <a:cubicBezTo>
                    <a:pt x="1924" y="171"/>
                    <a:pt x="1924" y="171"/>
                    <a:pt x="1924" y="171"/>
                  </a:cubicBezTo>
                  <a:cubicBezTo>
                    <a:pt x="1921" y="169"/>
                    <a:pt x="1921" y="169"/>
                    <a:pt x="1921" y="169"/>
                  </a:cubicBezTo>
                  <a:cubicBezTo>
                    <a:pt x="1919" y="168"/>
                    <a:pt x="1919" y="168"/>
                    <a:pt x="1919" y="168"/>
                  </a:cubicBezTo>
                  <a:cubicBezTo>
                    <a:pt x="1916" y="166"/>
                    <a:pt x="1916" y="166"/>
                    <a:pt x="1916" y="166"/>
                  </a:cubicBezTo>
                  <a:cubicBezTo>
                    <a:pt x="1914" y="164"/>
                    <a:pt x="1902" y="163"/>
                    <a:pt x="1897" y="162"/>
                  </a:cubicBezTo>
                  <a:cubicBezTo>
                    <a:pt x="1897" y="162"/>
                    <a:pt x="1897" y="162"/>
                    <a:pt x="1897" y="162"/>
                  </a:cubicBezTo>
                  <a:cubicBezTo>
                    <a:pt x="1897" y="162"/>
                    <a:pt x="1897" y="162"/>
                    <a:pt x="1897" y="162"/>
                  </a:cubicBezTo>
                  <a:cubicBezTo>
                    <a:pt x="1896" y="162"/>
                    <a:pt x="1896" y="162"/>
                    <a:pt x="1896" y="162"/>
                  </a:cubicBezTo>
                  <a:cubicBezTo>
                    <a:pt x="1896" y="162"/>
                    <a:pt x="1896" y="162"/>
                    <a:pt x="1896" y="162"/>
                  </a:cubicBezTo>
                  <a:cubicBezTo>
                    <a:pt x="1895" y="162"/>
                    <a:pt x="1895" y="162"/>
                    <a:pt x="1895" y="162"/>
                  </a:cubicBezTo>
                  <a:cubicBezTo>
                    <a:pt x="1895" y="162"/>
                    <a:pt x="1895" y="162"/>
                    <a:pt x="1895" y="162"/>
                  </a:cubicBezTo>
                  <a:cubicBezTo>
                    <a:pt x="1894" y="163"/>
                    <a:pt x="1894" y="163"/>
                    <a:pt x="1894" y="163"/>
                  </a:cubicBezTo>
                  <a:cubicBezTo>
                    <a:pt x="1894" y="163"/>
                    <a:pt x="1894" y="163"/>
                    <a:pt x="1894" y="163"/>
                  </a:cubicBezTo>
                  <a:cubicBezTo>
                    <a:pt x="1894" y="164"/>
                    <a:pt x="1894" y="164"/>
                    <a:pt x="1894" y="164"/>
                  </a:cubicBezTo>
                  <a:cubicBezTo>
                    <a:pt x="1893" y="166"/>
                    <a:pt x="1893" y="166"/>
                    <a:pt x="1893" y="166"/>
                  </a:cubicBezTo>
                  <a:cubicBezTo>
                    <a:pt x="1892" y="167"/>
                    <a:pt x="1892" y="167"/>
                    <a:pt x="1892" y="167"/>
                  </a:cubicBezTo>
                  <a:cubicBezTo>
                    <a:pt x="1891" y="168"/>
                    <a:pt x="1891" y="168"/>
                    <a:pt x="1891" y="168"/>
                  </a:cubicBezTo>
                  <a:cubicBezTo>
                    <a:pt x="1887" y="168"/>
                    <a:pt x="1887" y="168"/>
                    <a:pt x="1887" y="168"/>
                  </a:cubicBezTo>
                  <a:cubicBezTo>
                    <a:pt x="1884" y="169"/>
                    <a:pt x="1884" y="169"/>
                    <a:pt x="1884" y="169"/>
                  </a:cubicBezTo>
                  <a:cubicBezTo>
                    <a:pt x="1880" y="166"/>
                    <a:pt x="1880" y="166"/>
                    <a:pt x="1880" y="166"/>
                  </a:cubicBezTo>
                  <a:cubicBezTo>
                    <a:pt x="1880" y="166"/>
                    <a:pt x="1880" y="166"/>
                    <a:pt x="1880" y="166"/>
                  </a:cubicBezTo>
                  <a:cubicBezTo>
                    <a:pt x="1880" y="165"/>
                    <a:pt x="1880" y="165"/>
                    <a:pt x="1880" y="165"/>
                  </a:cubicBezTo>
                  <a:cubicBezTo>
                    <a:pt x="1881" y="165"/>
                    <a:pt x="1881" y="165"/>
                    <a:pt x="1881" y="165"/>
                  </a:cubicBezTo>
                  <a:cubicBezTo>
                    <a:pt x="1882" y="165"/>
                    <a:pt x="1882" y="165"/>
                    <a:pt x="1882" y="165"/>
                  </a:cubicBezTo>
                  <a:cubicBezTo>
                    <a:pt x="1883" y="165"/>
                    <a:pt x="1883" y="165"/>
                    <a:pt x="1883" y="165"/>
                  </a:cubicBezTo>
                  <a:cubicBezTo>
                    <a:pt x="1884" y="164"/>
                    <a:pt x="1884" y="164"/>
                    <a:pt x="1884" y="164"/>
                  </a:cubicBezTo>
                  <a:cubicBezTo>
                    <a:pt x="1884" y="164"/>
                    <a:pt x="1884" y="164"/>
                    <a:pt x="1884" y="164"/>
                  </a:cubicBezTo>
                  <a:cubicBezTo>
                    <a:pt x="1884" y="164"/>
                    <a:pt x="1884" y="164"/>
                    <a:pt x="1884" y="164"/>
                  </a:cubicBezTo>
                  <a:cubicBezTo>
                    <a:pt x="1884" y="164"/>
                    <a:pt x="1884" y="164"/>
                    <a:pt x="1884" y="164"/>
                  </a:cubicBezTo>
                  <a:cubicBezTo>
                    <a:pt x="1884" y="163"/>
                    <a:pt x="1884" y="163"/>
                    <a:pt x="1884" y="163"/>
                  </a:cubicBezTo>
                  <a:cubicBezTo>
                    <a:pt x="1883" y="163"/>
                    <a:pt x="1883" y="163"/>
                    <a:pt x="1883" y="163"/>
                  </a:cubicBezTo>
                  <a:cubicBezTo>
                    <a:pt x="1883" y="163"/>
                    <a:pt x="1883" y="163"/>
                    <a:pt x="1883" y="163"/>
                  </a:cubicBezTo>
                  <a:cubicBezTo>
                    <a:pt x="1883" y="163"/>
                    <a:pt x="1883" y="163"/>
                    <a:pt x="1883" y="163"/>
                  </a:cubicBezTo>
                  <a:cubicBezTo>
                    <a:pt x="1882" y="162"/>
                    <a:pt x="1881" y="162"/>
                    <a:pt x="1879" y="162"/>
                  </a:cubicBezTo>
                  <a:cubicBezTo>
                    <a:pt x="1876" y="162"/>
                    <a:pt x="1876" y="162"/>
                    <a:pt x="1876" y="162"/>
                  </a:cubicBezTo>
                  <a:cubicBezTo>
                    <a:pt x="1874" y="162"/>
                    <a:pt x="1874" y="162"/>
                    <a:pt x="1874" y="162"/>
                  </a:cubicBezTo>
                  <a:cubicBezTo>
                    <a:pt x="1871" y="163"/>
                    <a:pt x="1871" y="163"/>
                    <a:pt x="1871" y="163"/>
                  </a:cubicBezTo>
                  <a:cubicBezTo>
                    <a:pt x="1870" y="163"/>
                    <a:pt x="1870" y="163"/>
                    <a:pt x="1870" y="163"/>
                  </a:cubicBezTo>
                  <a:cubicBezTo>
                    <a:pt x="1869" y="163"/>
                    <a:pt x="1869" y="163"/>
                    <a:pt x="1869" y="163"/>
                  </a:cubicBezTo>
                  <a:cubicBezTo>
                    <a:pt x="1869" y="163"/>
                    <a:pt x="1869" y="163"/>
                    <a:pt x="1869" y="163"/>
                  </a:cubicBezTo>
                  <a:cubicBezTo>
                    <a:pt x="1868" y="162"/>
                    <a:pt x="1868" y="162"/>
                    <a:pt x="1868" y="162"/>
                  </a:cubicBezTo>
                  <a:cubicBezTo>
                    <a:pt x="1868" y="162"/>
                    <a:pt x="1868" y="162"/>
                    <a:pt x="1868" y="162"/>
                  </a:cubicBezTo>
                  <a:cubicBezTo>
                    <a:pt x="1868" y="162"/>
                    <a:pt x="1868" y="162"/>
                    <a:pt x="1868" y="162"/>
                  </a:cubicBezTo>
                  <a:cubicBezTo>
                    <a:pt x="1867" y="162"/>
                    <a:pt x="1867" y="162"/>
                    <a:pt x="1867" y="162"/>
                  </a:cubicBezTo>
                  <a:cubicBezTo>
                    <a:pt x="1867" y="162"/>
                    <a:pt x="1867" y="162"/>
                    <a:pt x="1867" y="162"/>
                  </a:cubicBezTo>
                  <a:cubicBezTo>
                    <a:pt x="1866" y="162"/>
                    <a:pt x="1866" y="162"/>
                    <a:pt x="1866" y="162"/>
                  </a:cubicBezTo>
                  <a:cubicBezTo>
                    <a:pt x="1866" y="162"/>
                    <a:pt x="1866" y="162"/>
                    <a:pt x="1866" y="162"/>
                  </a:cubicBezTo>
                  <a:cubicBezTo>
                    <a:pt x="1866" y="162"/>
                    <a:pt x="1866" y="162"/>
                    <a:pt x="1866" y="162"/>
                  </a:cubicBezTo>
                  <a:cubicBezTo>
                    <a:pt x="1866" y="161"/>
                    <a:pt x="1866" y="161"/>
                    <a:pt x="1866" y="161"/>
                  </a:cubicBezTo>
                  <a:cubicBezTo>
                    <a:pt x="1866" y="161"/>
                    <a:pt x="1866" y="161"/>
                    <a:pt x="1866" y="161"/>
                  </a:cubicBezTo>
                  <a:cubicBezTo>
                    <a:pt x="1865" y="161"/>
                    <a:pt x="1865" y="161"/>
                    <a:pt x="1865" y="161"/>
                  </a:cubicBezTo>
                  <a:cubicBezTo>
                    <a:pt x="1864" y="161"/>
                    <a:pt x="1864" y="161"/>
                    <a:pt x="1864" y="161"/>
                  </a:cubicBezTo>
                  <a:cubicBezTo>
                    <a:pt x="1863" y="161"/>
                    <a:pt x="1863" y="161"/>
                    <a:pt x="1863" y="161"/>
                  </a:cubicBezTo>
                  <a:cubicBezTo>
                    <a:pt x="1862" y="161"/>
                    <a:pt x="1862" y="161"/>
                    <a:pt x="1862" y="161"/>
                  </a:cubicBezTo>
                  <a:cubicBezTo>
                    <a:pt x="1861" y="161"/>
                    <a:pt x="1861" y="161"/>
                    <a:pt x="1861" y="161"/>
                  </a:cubicBezTo>
                  <a:cubicBezTo>
                    <a:pt x="1861" y="161"/>
                    <a:pt x="1861" y="161"/>
                    <a:pt x="1861" y="161"/>
                  </a:cubicBezTo>
                  <a:cubicBezTo>
                    <a:pt x="1861" y="161"/>
                    <a:pt x="1861" y="161"/>
                    <a:pt x="1861" y="161"/>
                  </a:cubicBezTo>
                  <a:cubicBezTo>
                    <a:pt x="1861" y="160"/>
                    <a:pt x="1861" y="160"/>
                    <a:pt x="1861" y="160"/>
                  </a:cubicBezTo>
                  <a:cubicBezTo>
                    <a:pt x="1861" y="159"/>
                    <a:pt x="1861" y="159"/>
                    <a:pt x="1861" y="159"/>
                  </a:cubicBezTo>
                  <a:cubicBezTo>
                    <a:pt x="1861" y="159"/>
                    <a:pt x="1861" y="159"/>
                    <a:pt x="1861" y="159"/>
                  </a:cubicBezTo>
                  <a:cubicBezTo>
                    <a:pt x="1861" y="159"/>
                    <a:pt x="1861" y="159"/>
                    <a:pt x="1861" y="159"/>
                  </a:cubicBezTo>
                  <a:cubicBezTo>
                    <a:pt x="1861" y="159"/>
                    <a:pt x="1861" y="159"/>
                    <a:pt x="1861" y="159"/>
                  </a:cubicBezTo>
                  <a:cubicBezTo>
                    <a:pt x="1861" y="159"/>
                    <a:pt x="1861" y="159"/>
                    <a:pt x="1861" y="159"/>
                  </a:cubicBezTo>
                  <a:cubicBezTo>
                    <a:pt x="1861" y="159"/>
                    <a:pt x="1861" y="159"/>
                    <a:pt x="1861" y="159"/>
                  </a:cubicBezTo>
                  <a:cubicBezTo>
                    <a:pt x="1861" y="158"/>
                    <a:pt x="1861" y="158"/>
                    <a:pt x="1861" y="158"/>
                  </a:cubicBezTo>
                  <a:cubicBezTo>
                    <a:pt x="1860" y="158"/>
                    <a:pt x="1860" y="158"/>
                    <a:pt x="1860" y="158"/>
                  </a:cubicBezTo>
                  <a:cubicBezTo>
                    <a:pt x="1860" y="158"/>
                    <a:pt x="1860" y="158"/>
                    <a:pt x="1860" y="158"/>
                  </a:cubicBezTo>
                  <a:cubicBezTo>
                    <a:pt x="1860" y="158"/>
                    <a:pt x="1860" y="158"/>
                    <a:pt x="1860" y="158"/>
                  </a:cubicBezTo>
                  <a:cubicBezTo>
                    <a:pt x="1860" y="158"/>
                    <a:pt x="1860" y="158"/>
                    <a:pt x="1860" y="158"/>
                  </a:cubicBezTo>
                  <a:cubicBezTo>
                    <a:pt x="1860" y="158"/>
                    <a:pt x="1860" y="158"/>
                    <a:pt x="1860" y="158"/>
                  </a:cubicBezTo>
                  <a:cubicBezTo>
                    <a:pt x="1860" y="157"/>
                    <a:pt x="1860" y="157"/>
                    <a:pt x="1860" y="157"/>
                  </a:cubicBezTo>
                  <a:cubicBezTo>
                    <a:pt x="1860" y="157"/>
                    <a:pt x="1860" y="157"/>
                    <a:pt x="1860" y="157"/>
                  </a:cubicBezTo>
                  <a:cubicBezTo>
                    <a:pt x="1860" y="157"/>
                    <a:pt x="1860" y="157"/>
                    <a:pt x="1860" y="157"/>
                  </a:cubicBezTo>
                  <a:cubicBezTo>
                    <a:pt x="1858" y="156"/>
                    <a:pt x="1856" y="157"/>
                    <a:pt x="1855" y="157"/>
                  </a:cubicBezTo>
                  <a:cubicBezTo>
                    <a:pt x="1854" y="157"/>
                    <a:pt x="1854" y="157"/>
                    <a:pt x="1854" y="157"/>
                  </a:cubicBezTo>
                  <a:cubicBezTo>
                    <a:pt x="1854" y="156"/>
                    <a:pt x="1854" y="156"/>
                    <a:pt x="1854" y="156"/>
                  </a:cubicBezTo>
                  <a:cubicBezTo>
                    <a:pt x="1854" y="156"/>
                    <a:pt x="1854" y="156"/>
                    <a:pt x="1854" y="156"/>
                  </a:cubicBezTo>
                  <a:cubicBezTo>
                    <a:pt x="1854" y="156"/>
                    <a:pt x="1854" y="156"/>
                    <a:pt x="1854" y="156"/>
                  </a:cubicBezTo>
                  <a:cubicBezTo>
                    <a:pt x="1854" y="156"/>
                    <a:pt x="1854" y="156"/>
                    <a:pt x="1854" y="156"/>
                  </a:cubicBezTo>
                  <a:cubicBezTo>
                    <a:pt x="1853" y="156"/>
                    <a:pt x="1853" y="156"/>
                    <a:pt x="1853" y="156"/>
                  </a:cubicBezTo>
                  <a:cubicBezTo>
                    <a:pt x="1850" y="156"/>
                    <a:pt x="1853" y="155"/>
                    <a:pt x="1850" y="155"/>
                  </a:cubicBezTo>
                  <a:cubicBezTo>
                    <a:pt x="1849" y="155"/>
                    <a:pt x="1849" y="155"/>
                    <a:pt x="1849" y="155"/>
                  </a:cubicBezTo>
                  <a:cubicBezTo>
                    <a:pt x="1849" y="155"/>
                    <a:pt x="1849" y="155"/>
                    <a:pt x="1849" y="155"/>
                  </a:cubicBezTo>
                  <a:cubicBezTo>
                    <a:pt x="1847" y="154"/>
                    <a:pt x="1848" y="154"/>
                    <a:pt x="1846" y="154"/>
                  </a:cubicBezTo>
                  <a:cubicBezTo>
                    <a:pt x="1846" y="153"/>
                    <a:pt x="1846" y="153"/>
                    <a:pt x="1846" y="153"/>
                  </a:cubicBezTo>
                  <a:cubicBezTo>
                    <a:pt x="1845" y="153"/>
                    <a:pt x="1845" y="153"/>
                    <a:pt x="1845" y="153"/>
                  </a:cubicBezTo>
                  <a:cubicBezTo>
                    <a:pt x="1845" y="153"/>
                    <a:pt x="1845" y="153"/>
                    <a:pt x="1845" y="153"/>
                  </a:cubicBezTo>
                  <a:cubicBezTo>
                    <a:pt x="1846" y="153"/>
                    <a:pt x="1846" y="153"/>
                    <a:pt x="1846" y="153"/>
                  </a:cubicBezTo>
                  <a:cubicBezTo>
                    <a:pt x="1846" y="153"/>
                    <a:pt x="1846" y="153"/>
                    <a:pt x="1846" y="153"/>
                  </a:cubicBezTo>
                  <a:cubicBezTo>
                    <a:pt x="1845" y="153"/>
                    <a:pt x="1845" y="153"/>
                    <a:pt x="1845" y="153"/>
                  </a:cubicBezTo>
                  <a:cubicBezTo>
                    <a:pt x="1843" y="154"/>
                    <a:pt x="1843" y="154"/>
                    <a:pt x="1843" y="154"/>
                  </a:cubicBezTo>
                  <a:cubicBezTo>
                    <a:pt x="1840" y="156"/>
                    <a:pt x="1840" y="156"/>
                    <a:pt x="1840" y="156"/>
                  </a:cubicBezTo>
                  <a:cubicBezTo>
                    <a:pt x="1839" y="156"/>
                    <a:pt x="1839" y="156"/>
                    <a:pt x="1839" y="156"/>
                  </a:cubicBezTo>
                  <a:cubicBezTo>
                    <a:pt x="1838" y="157"/>
                    <a:pt x="1838" y="157"/>
                    <a:pt x="1838" y="157"/>
                  </a:cubicBezTo>
                  <a:cubicBezTo>
                    <a:pt x="1838" y="157"/>
                    <a:pt x="1838" y="157"/>
                    <a:pt x="1838" y="157"/>
                  </a:cubicBezTo>
                  <a:cubicBezTo>
                    <a:pt x="1838" y="156"/>
                    <a:pt x="1839" y="156"/>
                    <a:pt x="1838" y="155"/>
                  </a:cubicBezTo>
                  <a:cubicBezTo>
                    <a:pt x="1838" y="155"/>
                    <a:pt x="1838" y="155"/>
                    <a:pt x="1838" y="155"/>
                  </a:cubicBezTo>
                  <a:cubicBezTo>
                    <a:pt x="1838" y="155"/>
                    <a:pt x="1838" y="155"/>
                    <a:pt x="1838" y="155"/>
                  </a:cubicBezTo>
                  <a:cubicBezTo>
                    <a:pt x="1838" y="155"/>
                    <a:pt x="1838" y="155"/>
                    <a:pt x="1838" y="155"/>
                  </a:cubicBezTo>
                  <a:cubicBezTo>
                    <a:pt x="1838" y="154"/>
                    <a:pt x="1838" y="154"/>
                    <a:pt x="1837" y="154"/>
                  </a:cubicBezTo>
                  <a:cubicBezTo>
                    <a:pt x="1836" y="154"/>
                    <a:pt x="1836" y="154"/>
                    <a:pt x="1836" y="154"/>
                  </a:cubicBezTo>
                  <a:cubicBezTo>
                    <a:pt x="1836" y="154"/>
                    <a:pt x="1836" y="154"/>
                    <a:pt x="1836" y="154"/>
                  </a:cubicBezTo>
                  <a:cubicBezTo>
                    <a:pt x="1836" y="155"/>
                    <a:pt x="1836" y="155"/>
                    <a:pt x="1836" y="155"/>
                  </a:cubicBezTo>
                  <a:cubicBezTo>
                    <a:pt x="1837" y="157"/>
                    <a:pt x="1837" y="157"/>
                    <a:pt x="1837" y="157"/>
                  </a:cubicBezTo>
                  <a:cubicBezTo>
                    <a:pt x="1837" y="158"/>
                    <a:pt x="1837" y="158"/>
                    <a:pt x="1837" y="158"/>
                  </a:cubicBezTo>
                  <a:cubicBezTo>
                    <a:pt x="1837" y="158"/>
                    <a:pt x="1837" y="158"/>
                    <a:pt x="1837" y="158"/>
                  </a:cubicBezTo>
                  <a:cubicBezTo>
                    <a:pt x="1838" y="158"/>
                    <a:pt x="1838" y="158"/>
                    <a:pt x="1838" y="158"/>
                  </a:cubicBezTo>
                  <a:cubicBezTo>
                    <a:pt x="1838" y="159"/>
                    <a:pt x="1838" y="159"/>
                    <a:pt x="1838" y="159"/>
                  </a:cubicBezTo>
                  <a:cubicBezTo>
                    <a:pt x="1837" y="159"/>
                    <a:pt x="1837" y="159"/>
                    <a:pt x="1837" y="159"/>
                  </a:cubicBezTo>
                  <a:cubicBezTo>
                    <a:pt x="1836" y="159"/>
                    <a:pt x="1834" y="159"/>
                    <a:pt x="1833" y="160"/>
                  </a:cubicBezTo>
                  <a:cubicBezTo>
                    <a:pt x="1833" y="160"/>
                    <a:pt x="1833" y="160"/>
                    <a:pt x="1833" y="160"/>
                  </a:cubicBezTo>
                  <a:cubicBezTo>
                    <a:pt x="1832" y="160"/>
                    <a:pt x="1832" y="160"/>
                    <a:pt x="1832" y="160"/>
                  </a:cubicBezTo>
                  <a:cubicBezTo>
                    <a:pt x="1832" y="160"/>
                    <a:pt x="1832" y="160"/>
                    <a:pt x="1832" y="160"/>
                  </a:cubicBezTo>
                  <a:cubicBezTo>
                    <a:pt x="1832" y="160"/>
                    <a:pt x="1832" y="160"/>
                    <a:pt x="1832" y="160"/>
                  </a:cubicBezTo>
                  <a:cubicBezTo>
                    <a:pt x="1831" y="160"/>
                    <a:pt x="1831" y="160"/>
                    <a:pt x="1831" y="160"/>
                  </a:cubicBezTo>
                  <a:cubicBezTo>
                    <a:pt x="1831" y="160"/>
                    <a:pt x="1831" y="160"/>
                    <a:pt x="1831" y="160"/>
                  </a:cubicBezTo>
                  <a:cubicBezTo>
                    <a:pt x="1831" y="160"/>
                    <a:pt x="1831" y="160"/>
                    <a:pt x="1831" y="160"/>
                  </a:cubicBezTo>
                  <a:cubicBezTo>
                    <a:pt x="1831" y="159"/>
                    <a:pt x="1831" y="159"/>
                    <a:pt x="1831" y="159"/>
                  </a:cubicBezTo>
                  <a:cubicBezTo>
                    <a:pt x="1831" y="159"/>
                    <a:pt x="1831" y="159"/>
                    <a:pt x="1831" y="159"/>
                  </a:cubicBezTo>
                  <a:cubicBezTo>
                    <a:pt x="1831" y="159"/>
                    <a:pt x="1831" y="159"/>
                    <a:pt x="1831" y="159"/>
                  </a:cubicBezTo>
                  <a:cubicBezTo>
                    <a:pt x="1830" y="159"/>
                    <a:pt x="1830" y="159"/>
                    <a:pt x="1830" y="159"/>
                  </a:cubicBezTo>
                  <a:cubicBezTo>
                    <a:pt x="1830" y="159"/>
                    <a:pt x="1830" y="159"/>
                    <a:pt x="1830" y="159"/>
                  </a:cubicBezTo>
                  <a:cubicBezTo>
                    <a:pt x="1830" y="158"/>
                    <a:pt x="1830" y="158"/>
                    <a:pt x="1830" y="158"/>
                  </a:cubicBezTo>
                  <a:cubicBezTo>
                    <a:pt x="1830" y="158"/>
                    <a:pt x="1830" y="158"/>
                    <a:pt x="1830" y="158"/>
                  </a:cubicBezTo>
                  <a:cubicBezTo>
                    <a:pt x="1830" y="157"/>
                    <a:pt x="1830" y="157"/>
                    <a:pt x="1830" y="157"/>
                  </a:cubicBezTo>
                  <a:cubicBezTo>
                    <a:pt x="1830" y="157"/>
                    <a:pt x="1830" y="157"/>
                    <a:pt x="1830" y="157"/>
                  </a:cubicBezTo>
                  <a:cubicBezTo>
                    <a:pt x="1830" y="156"/>
                    <a:pt x="1830" y="156"/>
                    <a:pt x="1830" y="156"/>
                  </a:cubicBezTo>
                  <a:cubicBezTo>
                    <a:pt x="1830" y="156"/>
                    <a:pt x="1830" y="156"/>
                    <a:pt x="1830" y="156"/>
                  </a:cubicBezTo>
                  <a:cubicBezTo>
                    <a:pt x="1830" y="156"/>
                    <a:pt x="1830" y="156"/>
                    <a:pt x="1830" y="156"/>
                  </a:cubicBezTo>
                  <a:cubicBezTo>
                    <a:pt x="1829" y="156"/>
                    <a:pt x="1829" y="156"/>
                    <a:pt x="1829" y="156"/>
                  </a:cubicBezTo>
                  <a:cubicBezTo>
                    <a:pt x="1829" y="157"/>
                    <a:pt x="1829" y="157"/>
                    <a:pt x="1829" y="157"/>
                  </a:cubicBezTo>
                  <a:cubicBezTo>
                    <a:pt x="1828" y="157"/>
                    <a:pt x="1828" y="157"/>
                    <a:pt x="1828" y="157"/>
                  </a:cubicBezTo>
                  <a:cubicBezTo>
                    <a:pt x="1828" y="157"/>
                    <a:pt x="1828" y="157"/>
                    <a:pt x="1828" y="157"/>
                  </a:cubicBezTo>
                  <a:cubicBezTo>
                    <a:pt x="1827" y="157"/>
                    <a:pt x="1827" y="157"/>
                    <a:pt x="1827" y="157"/>
                  </a:cubicBezTo>
                  <a:cubicBezTo>
                    <a:pt x="1827" y="158"/>
                    <a:pt x="1827" y="158"/>
                    <a:pt x="1827" y="158"/>
                  </a:cubicBezTo>
                  <a:cubicBezTo>
                    <a:pt x="1826" y="158"/>
                    <a:pt x="1826" y="158"/>
                    <a:pt x="1826" y="158"/>
                  </a:cubicBezTo>
                  <a:cubicBezTo>
                    <a:pt x="1826" y="159"/>
                    <a:pt x="1826" y="159"/>
                    <a:pt x="1826" y="159"/>
                  </a:cubicBezTo>
                  <a:cubicBezTo>
                    <a:pt x="1825" y="161"/>
                    <a:pt x="1825" y="161"/>
                    <a:pt x="1825" y="161"/>
                  </a:cubicBezTo>
                  <a:cubicBezTo>
                    <a:pt x="1825" y="162"/>
                    <a:pt x="1825" y="162"/>
                    <a:pt x="1825" y="162"/>
                  </a:cubicBezTo>
                  <a:cubicBezTo>
                    <a:pt x="1826" y="164"/>
                    <a:pt x="1826" y="164"/>
                    <a:pt x="1826" y="164"/>
                  </a:cubicBezTo>
                  <a:cubicBezTo>
                    <a:pt x="1826" y="165"/>
                    <a:pt x="1826" y="165"/>
                    <a:pt x="1826" y="165"/>
                  </a:cubicBezTo>
                  <a:cubicBezTo>
                    <a:pt x="1827" y="165"/>
                    <a:pt x="1827" y="165"/>
                    <a:pt x="1827" y="165"/>
                  </a:cubicBezTo>
                  <a:cubicBezTo>
                    <a:pt x="1826" y="166"/>
                    <a:pt x="1826" y="166"/>
                    <a:pt x="1826" y="166"/>
                  </a:cubicBezTo>
                  <a:cubicBezTo>
                    <a:pt x="1825" y="165"/>
                    <a:pt x="1825" y="165"/>
                    <a:pt x="1825" y="165"/>
                  </a:cubicBezTo>
                  <a:cubicBezTo>
                    <a:pt x="1825" y="165"/>
                    <a:pt x="1825" y="165"/>
                    <a:pt x="1825" y="165"/>
                  </a:cubicBezTo>
                  <a:cubicBezTo>
                    <a:pt x="1824" y="165"/>
                    <a:pt x="1824" y="165"/>
                    <a:pt x="1824" y="165"/>
                  </a:cubicBezTo>
                  <a:cubicBezTo>
                    <a:pt x="1824" y="166"/>
                    <a:pt x="1824" y="166"/>
                    <a:pt x="1824" y="166"/>
                  </a:cubicBezTo>
                  <a:cubicBezTo>
                    <a:pt x="1824" y="167"/>
                    <a:pt x="1824" y="167"/>
                    <a:pt x="1824" y="167"/>
                  </a:cubicBezTo>
                  <a:cubicBezTo>
                    <a:pt x="1824" y="167"/>
                    <a:pt x="1824" y="167"/>
                    <a:pt x="1824" y="167"/>
                  </a:cubicBezTo>
                  <a:cubicBezTo>
                    <a:pt x="1824" y="167"/>
                    <a:pt x="1824" y="167"/>
                    <a:pt x="1824" y="167"/>
                  </a:cubicBezTo>
                  <a:cubicBezTo>
                    <a:pt x="1825" y="168"/>
                    <a:pt x="1825" y="168"/>
                    <a:pt x="1825" y="168"/>
                  </a:cubicBezTo>
                  <a:cubicBezTo>
                    <a:pt x="1826" y="168"/>
                    <a:pt x="1826" y="168"/>
                    <a:pt x="1826" y="168"/>
                  </a:cubicBezTo>
                  <a:cubicBezTo>
                    <a:pt x="1827" y="168"/>
                    <a:pt x="1827" y="168"/>
                    <a:pt x="1827" y="168"/>
                  </a:cubicBezTo>
                  <a:cubicBezTo>
                    <a:pt x="1827" y="169"/>
                    <a:pt x="1827" y="169"/>
                    <a:pt x="1827" y="169"/>
                  </a:cubicBezTo>
                  <a:cubicBezTo>
                    <a:pt x="1828" y="171"/>
                    <a:pt x="1828" y="171"/>
                    <a:pt x="1828" y="171"/>
                  </a:cubicBezTo>
                  <a:cubicBezTo>
                    <a:pt x="1829" y="172"/>
                    <a:pt x="1829" y="172"/>
                    <a:pt x="1829" y="172"/>
                  </a:cubicBezTo>
                  <a:cubicBezTo>
                    <a:pt x="1829" y="174"/>
                    <a:pt x="1829" y="174"/>
                    <a:pt x="1829" y="174"/>
                  </a:cubicBezTo>
                  <a:cubicBezTo>
                    <a:pt x="1830" y="174"/>
                    <a:pt x="1830" y="174"/>
                    <a:pt x="1830" y="174"/>
                  </a:cubicBezTo>
                  <a:cubicBezTo>
                    <a:pt x="1830" y="174"/>
                    <a:pt x="1830" y="174"/>
                    <a:pt x="1830" y="174"/>
                  </a:cubicBezTo>
                  <a:cubicBezTo>
                    <a:pt x="1830" y="174"/>
                    <a:pt x="1830" y="174"/>
                    <a:pt x="1830" y="174"/>
                  </a:cubicBezTo>
                  <a:cubicBezTo>
                    <a:pt x="1831" y="174"/>
                    <a:pt x="1831" y="174"/>
                    <a:pt x="1831" y="174"/>
                  </a:cubicBezTo>
                  <a:cubicBezTo>
                    <a:pt x="1831" y="174"/>
                    <a:pt x="1831" y="174"/>
                    <a:pt x="1831" y="174"/>
                  </a:cubicBezTo>
                  <a:cubicBezTo>
                    <a:pt x="1831" y="175"/>
                    <a:pt x="1831" y="175"/>
                    <a:pt x="1831" y="175"/>
                  </a:cubicBezTo>
                  <a:cubicBezTo>
                    <a:pt x="1831" y="175"/>
                    <a:pt x="1831" y="175"/>
                    <a:pt x="1831" y="175"/>
                  </a:cubicBezTo>
                  <a:cubicBezTo>
                    <a:pt x="1826" y="176"/>
                    <a:pt x="1826" y="176"/>
                    <a:pt x="1826" y="176"/>
                  </a:cubicBezTo>
                  <a:cubicBezTo>
                    <a:pt x="1826" y="177"/>
                    <a:pt x="1826" y="177"/>
                    <a:pt x="1826" y="177"/>
                  </a:cubicBezTo>
                  <a:cubicBezTo>
                    <a:pt x="1827" y="180"/>
                    <a:pt x="1827" y="180"/>
                    <a:pt x="1827" y="180"/>
                  </a:cubicBezTo>
                  <a:cubicBezTo>
                    <a:pt x="1826" y="181"/>
                    <a:pt x="1823" y="186"/>
                    <a:pt x="1820" y="185"/>
                  </a:cubicBezTo>
                  <a:cubicBezTo>
                    <a:pt x="1820" y="185"/>
                    <a:pt x="1820" y="185"/>
                    <a:pt x="1820" y="185"/>
                  </a:cubicBezTo>
                  <a:cubicBezTo>
                    <a:pt x="1820" y="185"/>
                    <a:pt x="1820" y="185"/>
                    <a:pt x="1820" y="185"/>
                  </a:cubicBezTo>
                  <a:cubicBezTo>
                    <a:pt x="1816" y="183"/>
                    <a:pt x="1812" y="184"/>
                    <a:pt x="1808" y="183"/>
                  </a:cubicBezTo>
                  <a:cubicBezTo>
                    <a:pt x="1799" y="184"/>
                    <a:pt x="1799" y="184"/>
                    <a:pt x="1799" y="184"/>
                  </a:cubicBezTo>
                  <a:cubicBezTo>
                    <a:pt x="1762" y="182"/>
                    <a:pt x="1762" y="182"/>
                    <a:pt x="1762" y="182"/>
                  </a:cubicBezTo>
                  <a:cubicBezTo>
                    <a:pt x="1757" y="182"/>
                    <a:pt x="1757" y="182"/>
                    <a:pt x="1757" y="182"/>
                  </a:cubicBezTo>
                  <a:cubicBezTo>
                    <a:pt x="1756" y="182"/>
                    <a:pt x="1756" y="182"/>
                    <a:pt x="1756" y="182"/>
                  </a:cubicBezTo>
                  <a:cubicBezTo>
                    <a:pt x="1733" y="175"/>
                    <a:pt x="1733" y="175"/>
                    <a:pt x="1733" y="175"/>
                  </a:cubicBezTo>
                  <a:cubicBezTo>
                    <a:pt x="1732" y="174"/>
                    <a:pt x="1732" y="174"/>
                    <a:pt x="1732" y="174"/>
                  </a:cubicBezTo>
                  <a:cubicBezTo>
                    <a:pt x="1732" y="174"/>
                    <a:pt x="1732" y="174"/>
                    <a:pt x="1732" y="174"/>
                  </a:cubicBezTo>
                  <a:cubicBezTo>
                    <a:pt x="1731" y="170"/>
                    <a:pt x="1731" y="170"/>
                    <a:pt x="1731" y="170"/>
                  </a:cubicBezTo>
                  <a:cubicBezTo>
                    <a:pt x="1733" y="165"/>
                    <a:pt x="1733" y="165"/>
                    <a:pt x="1733" y="165"/>
                  </a:cubicBezTo>
                  <a:cubicBezTo>
                    <a:pt x="1734" y="165"/>
                    <a:pt x="1734" y="165"/>
                    <a:pt x="1734" y="165"/>
                  </a:cubicBezTo>
                  <a:cubicBezTo>
                    <a:pt x="1736" y="165"/>
                    <a:pt x="1736" y="165"/>
                    <a:pt x="1736" y="165"/>
                  </a:cubicBezTo>
                  <a:cubicBezTo>
                    <a:pt x="1740" y="164"/>
                    <a:pt x="1740" y="164"/>
                    <a:pt x="1740" y="164"/>
                  </a:cubicBezTo>
                  <a:cubicBezTo>
                    <a:pt x="1742" y="164"/>
                    <a:pt x="1742" y="164"/>
                    <a:pt x="1742" y="164"/>
                  </a:cubicBezTo>
                  <a:cubicBezTo>
                    <a:pt x="1742" y="164"/>
                    <a:pt x="1742" y="164"/>
                    <a:pt x="1742" y="164"/>
                  </a:cubicBezTo>
                  <a:cubicBezTo>
                    <a:pt x="1742" y="164"/>
                    <a:pt x="1742" y="164"/>
                    <a:pt x="1742" y="164"/>
                  </a:cubicBezTo>
                  <a:cubicBezTo>
                    <a:pt x="1742" y="164"/>
                    <a:pt x="1742" y="164"/>
                    <a:pt x="1742" y="164"/>
                  </a:cubicBezTo>
                  <a:cubicBezTo>
                    <a:pt x="1742" y="163"/>
                    <a:pt x="1742" y="163"/>
                    <a:pt x="1742" y="163"/>
                  </a:cubicBezTo>
                  <a:cubicBezTo>
                    <a:pt x="1741" y="163"/>
                    <a:pt x="1741" y="163"/>
                    <a:pt x="1741" y="163"/>
                  </a:cubicBezTo>
                  <a:cubicBezTo>
                    <a:pt x="1741" y="163"/>
                    <a:pt x="1741" y="163"/>
                    <a:pt x="1741" y="163"/>
                  </a:cubicBezTo>
                  <a:cubicBezTo>
                    <a:pt x="1740" y="162"/>
                    <a:pt x="1738" y="162"/>
                    <a:pt x="1737" y="161"/>
                  </a:cubicBezTo>
                  <a:cubicBezTo>
                    <a:pt x="1736" y="161"/>
                    <a:pt x="1736" y="161"/>
                    <a:pt x="1736" y="161"/>
                  </a:cubicBezTo>
                  <a:cubicBezTo>
                    <a:pt x="1735" y="161"/>
                    <a:pt x="1735" y="161"/>
                    <a:pt x="1735" y="161"/>
                  </a:cubicBezTo>
                  <a:cubicBezTo>
                    <a:pt x="1734" y="161"/>
                    <a:pt x="1733" y="161"/>
                    <a:pt x="1732" y="161"/>
                  </a:cubicBezTo>
                  <a:cubicBezTo>
                    <a:pt x="1731" y="161"/>
                    <a:pt x="1731" y="161"/>
                    <a:pt x="1731" y="161"/>
                  </a:cubicBezTo>
                  <a:cubicBezTo>
                    <a:pt x="1731" y="161"/>
                    <a:pt x="1731" y="161"/>
                    <a:pt x="1731" y="161"/>
                  </a:cubicBezTo>
                  <a:cubicBezTo>
                    <a:pt x="1731" y="161"/>
                    <a:pt x="1731" y="161"/>
                    <a:pt x="1731" y="161"/>
                  </a:cubicBezTo>
                  <a:cubicBezTo>
                    <a:pt x="1728" y="161"/>
                    <a:pt x="1725" y="161"/>
                    <a:pt x="1723" y="161"/>
                  </a:cubicBezTo>
                  <a:cubicBezTo>
                    <a:pt x="1722" y="161"/>
                    <a:pt x="1722" y="161"/>
                    <a:pt x="1722" y="161"/>
                  </a:cubicBezTo>
                  <a:cubicBezTo>
                    <a:pt x="1722" y="161"/>
                    <a:pt x="1722" y="161"/>
                    <a:pt x="1722" y="161"/>
                  </a:cubicBezTo>
                  <a:cubicBezTo>
                    <a:pt x="1722" y="161"/>
                    <a:pt x="1722" y="161"/>
                    <a:pt x="1722" y="161"/>
                  </a:cubicBezTo>
                  <a:cubicBezTo>
                    <a:pt x="1721" y="161"/>
                    <a:pt x="1721" y="161"/>
                    <a:pt x="1721" y="161"/>
                  </a:cubicBezTo>
                  <a:cubicBezTo>
                    <a:pt x="1718" y="161"/>
                    <a:pt x="1716" y="161"/>
                    <a:pt x="1712" y="161"/>
                  </a:cubicBezTo>
                  <a:cubicBezTo>
                    <a:pt x="1712" y="161"/>
                    <a:pt x="1712" y="161"/>
                    <a:pt x="1712" y="161"/>
                  </a:cubicBezTo>
                  <a:cubicBezTo>
                    <a:pt x="1711" y="161"/>
                    <a:pt x="1711" y="161"/>
                    <a:pt x="1711" y="161"/>
                  </a:cubicBezTo>
                  <a:cubicBezTo>
                    <a:pt x="1709" y="160"/>
                    <a:pt x="1707" y="160"/>
                    <a:pt x="1705" y="159"/>
                  </a:cubicBezTo>
                  <a:cubicBezTo>
                    <a:pt x="1705" y="159"/>
                    <a:pt x="1705" y="159"/>
                    <a:pt x="1705" y="159"/>
                  </a:cubicBezTo>
                  <a:cubicBezTo>
                    <a:pt x="1705" y="159"/>
                    <a:pt x="1705" y="159"/>
                    <a:pt x="1705" y="159"/>
                  </a:cubicBezTo>
                  <a:cubicBezTo>
                    <a:pt x="1705" y="159"/>
                    <a:pt x="1705" y="159"/>
                    <a:pt x="1705" y="159"/>
                  </a:cubicBezTo>
                  <a:cubicBezTo>
                    <a:pt x="1704" y="159"/>
                    <a:pt x="1704" y="159"/>
                    <a:pt x="1704" y="159"/>
                  </a:cubicBezTo>
                  <a:cubicBezTo>
                    <a:pt x="1703" y="159"/>
                    <a:pt x="1703" y="159"/>
                    <a:pt x="1703" y="159"/>
                  </a:cubicBezTo>
                  <a:cubicBezTo>
                    <a:pt x="1701" y="159"/>
                    <a:pt x="1701" y="159"/>
                    <a:pt x="1701" y="159"/>
                  </a:cubicBezTo>
                  <a:cubicBezTo>
                    <a:pt x="1699" y="158"/>
                    <a:pt x="1699" y="158"/>
                    <a:pt x="1699" y="158"/>
                  </a:cubicBezTo>
                  <a:cubicBezTo>
                    <a:pt x="1698" y="158"/>
                    <a:pt x="1698" y="158"/>
                    <a:pt x="1698" y="158"/>
                  </a:cubicBezTo>
                  <a:cubicBezTo>
                    <a:pt x="1697" y="158"/>
                    <a:pt x="1697" y="158"/>
                    <a:pt x="1697" y="158"/>
                  </a:cubicBezTo>
                  <a:cubicBezTo>
                    <a:pt x="1675" y="156"/>
                    <a:pt x="1675" y="156"/>
                    <a:pt x="1675" y="156"/>
                  </a:cubicBezTo>
                  <a:cubicBezTo>
                    <a:pt x="1674" y="156"/>
                    <a:pt x="1674" y="156"/>
                    <a:pt x="1674" y="156"/>
                  </a:cubicBezTo>
                  <a:cubicBezTo>
                    <a:pt x="1673" y="157"/>
                    <a:pt x="1673" y="157"/>
                    <a:pt x="1673" y="157"/>
                  </a:cubicBezTo>
                  <a:cubicBezTo>
                    <a:pt x="1672" y="157"/>
                    <a:pt x="1672" y="157"/>
                    <a:pt x="1672" y="157"/>
                  </a:cubicBezTo>
                  <a:cubicBezTo>
                    <a:pt x="1672" y="157"/>
                    <a:pt x="1672" y="157"/>
                    <a:pt x="1672" y="157"/>
                  </a:cubicBezTo>
                  <a:cubicBezTo>
                    <a:pt x="1671" y="157"/>
                    <a:pt x="1671" y="157"/>
                    <a:pt x="1671" y="157"/>
                  </a:cubicBezTo>
                  <a:cubicBezTo>
                    <a:pt x="1671" y="157"/>
                    <a:pt x="1671" y="157"/>
                    <a:pt x="1671" y="157"/>
                  </a:cubicBezTo>
                  <a:cubicBezTo>
                    <a:pt x="1669" y="157"/>
                    <a:pt x="1666" y="158"/>
                    <a:pt x="1665" y="159"/>
                  </a:cubicBezTo>
                  <a:cubicBezTo>
                    <a:pt x="1665" y="160"/>
                    <a:pt x="1665" y="160"/>
                    <a:pt x="1665" y="160"/>
                  </a:cubicBezTo>
                  <a:cubicBezTo>
                    <a:pt x="1665" y="160"/>
                    <a:pt x="1665" y="160"/>
                    <a:pt x="1665" y="160"/>
                  </a:cubicBezTo>
                  <a:cubicBezTo>
                    <a:pt x="1664" y="160"/>
                    <a:pt x="1664" y="160"/>
                    <a:pt x="1664" y="160"/>
                  </a:cubicBezTo>
                  <a:cubicBezTo>
                    <a:pt x="1659" y="160"/>
                    <a:pt x="1654" y="160"/>
                    <a:pt x="1650" y="161"/>
                  </a:cubicBezTo>
                  <a:cubicBezTo>
                    <a:pt x="1649" y="161"/>
                    <a:pt x="1649" y="161"/>
                    <a:pt x="1649" y="161"/>
                  </a:cubicBezTo>
                  <a:cubicBezTo>
                    <a:pt x="1649" y="161"/>
                    <a:pt x="1649" y="161"/>
                    <a:pt x="1649" y="161"/>
                  </a:cubicBezTo>
                  <a:cubicBezTo>
                    <a:pt x="1648" y="161"/>
                    <a:pt x="1648" y="161"/>
                    <a:pt x="1647" y="161"/>
                  </a:cubicBezTo>
                  <a:cubicBezTo>
                    <a:pt x="1647" y="161"/>
                    <a:pt x="1647" y="161"/>
                    <a:pt x="1647" y="161"/>
                  </a:cubicBezTo>
                  <a:cubicBezTo>
                    <a:pt x="1647" y="161"/>
                    <a:pt x="1647" y="161"/>
                    <a:pt x="1647" y="161"/>
                  </a:cubicBezTo>
                  <a:cubicBezTo>
                    <a:pt x="1647" y="162"/>
                    <a:pt x="1647" y="162"/>
                    <a:pt x="1647" y="162"/>
                  </a:cubicBezTo>
                  <a:cubicBezTo>
                    <a:pt x="1646" y="162"/>
                    <a:pt x="1646" y="162"/>
                    <a:pt x="1646" y="162"/>
                  </a:cubicBezTo>
                  <a:cubicBezTo>
                    <a:pt x="1646" y="162"/>
                    <a:pt x="1646" y="162"/>
                    <a:pt x="1646" y="162"/>
                  </a:cubicBezTo>
                  <a:cubicBezTo>
                    <a:pt x="1643" y="163"/>
                    <a:pt x="1640" y="163"/>
                    <a:pt x="1638" y="164"/>
                  </a:cubicBezTo>
                  <a:cubicBezTo>
                    <a:pt x="1637" y="164"/>
                    <a:pt x="1637" y="164"/>
                    <a:pt x="1637" y="164"/>
                  </a:cubicBezTo>
                  <a:cubicBezTo>
                    <a:pt x="1637" y="164"/>
                    <a:pt x="1637" y="164"/>
                    <a:pt x="1637" y="164"/>
                  </a:cubicBezTo>
                  <a:cubicBezTo>
                    <a:pt x="1638" y="164"/>
                    <a:pt x="1638" y="164"/>
                    <a:pt x="1638" y="164"/>
                  </a:cubicBezTo>
                  <a:cubicBezTo>
                    <a:pt x="1638" y="165"/>
                    <a:pt x="1638" y="166"/>
                    <a:pt x="1638" y="166"/>
                  </a:cubicBezTo>
                  <a:cubicBezTo>
                    <a:pt x="1639" y="166"/>
                    <a:pt x="1639" y="166"/>
                    <a:pt x="1639" y="166"/>
                  </a:cubicBezTo>
                  <a:cubicBezTo>
                    <a:pt x="1639" y="166"/>
                    <a:pt x="1639" y="166"/>
                    <a:pt x="1639" y="166"/>
                  </a:cubicBezTo>
                  <a:cubicBezTo>
                    <a:pt x="1640" y="167"/>
                    <a:pt x="1640" y="167"/>
                    <a:pt x="1641" y="168"/>
                  </a:cubicBezTo>
                  <a:cubicBezTo>
                    <a:pt x="1641" y="168"/>
                    <a:pt x="1641" y="168"/>
                    <a:pt x="1641" y="168"/>
                  </a:cubicBezTo>
                  <a:cubicBezTo>
                    <a:pt x="1642" y="168"/>
                    <a:pt x="1642" y="168"/>
                    <a:pt x="1642" y="168"/>
                  </a:cubicBezTo>
                  <a:cubicBezTo>
                    <a:pt x="1642" y="168"/>
                    <a:pt x="1642" y="168"/>
                    <a:pt x="1642" y="168"/>
                  </a:cubicBezTo>
                  <a:cubicBezTo>
                    <a:pt x="1642" y="169"/>
                    <a:pt x="1642" y="169"/>
                    <a:pt x="1642" y="169"/>
                  </a:cubicBezTo>
                  <a:cubicBezTo>
                    <a:pt x="1643" y="169"/>
                    <a:pt x="1643" y="169"/>
                    <a:pt x="1643" y="169"/>
                  </a:cubicBezTo>
                  <a:cubicBezTo>
                    <a:pt x="1642" y="169"/>
                    <a:pt x="1642" y="169"/>
                    <a:pt x="1642" y="169"/>
                  </a:cubicBezTo>
                  <a:cubicBezTo>
                    <a:pt x="1642" y="170"/>
                    <a:pt x="1642" y="170"/>
                    <a:pt x="1642" y="170"/>
                  </a:cubicBezTo>
                  <a:cubicBezTo>
                    <a:pt x="1639" y="173"/>
                    <a:pt x="1639" y="173"/>
                    <a:pt x="1639" y="173"/>
                  </a:cubicBezTo>
                  <a:cubicBezTo>
                    <a:pt x="1638" y="173"/>
                    <a:pt x="1638" y="173"/>
                    <a:pt x="1638" y="173"/>
                  </a:cubicBezTo>
                  <a:cubicBezTo>
                    <a:pt x="1633" y="167"/>
                    <a:pt x="1633" y="167"/>
                    <a:pt x="1633" y="167"/>
                  </a:cubicBezTo>
                  <a:cubicBezTo>
                    <a:pt x="1633" y="166"/>
                    <a:pt x="1633" y="166"/>
                    <a:pt x="1633" y="166"/>
                  </a:cubicBezTo>
                  <a:cubicBezTo>
                    <a:pt x="1633" y="165"/>
                    <a:pt x="1633" y="165"/>
                    <a:pt x="1633" y="165"/>
                  </a:cubicBezTo>
                  <a:cubicBezTo>
                    <a:pt x="1633" y="164"/>
                    <a:pt x="1633" y="164"/>
                    <a:pt x="1633" y="164"/>
                  </a:cubicBezTo>
                  <a:cubicBezTo>
                    <a:pt x="1633" y="164"/>
                    <a:pt x="1633" y="164"/>
                    <a:pt x="1633" y="164"/>
                  </a:cubicBezTo>
                  <a:cubicBezTo>
                    <a:pt x="1633" y="163"/>
                    <a:pt x="1633" y="163"/>
                    <a:pt x="1633" y="163"/>
                  </a:cubicBezTo>
                  <a:cubicBezTo>
                    <a:pt x="1633" y="162"/>
                    <a:pt x="1634" y="162"/>
                    <a:pt x="1634" y="162"/>
                  </a:cubicBezTo>
                  <a:cubicBezTo>
                    <a:pt x="1634" y="161"/>
                    <a:pt x="1634" y="161"/>
                    <a:pt x="1634" y="161"/>
                  </a:cubicBezTo>
                  <a:cubicBezTo>
                    <a:pt x="1635" y="161"/>
                    <a:pt x="1635" y="161"/>
                    <a:pt x="1635" y="161"/>
                  </a:cubicBezTo>
                  <a:cubicBezTo>
                    <a:pt x="1635" y="161"/>
                    <a:pt x="1635" y="161"/>
                    <a:pt x="1635" y="161"/>
                  </a:cubicBezTo>
                  <a:cubicBezTo>
                    <a:pt x="1636" y="160"/>
                    <a:pt x="1636" y="160"/>
                    <a:pt x="1636" y="160"/>
                  </a:cubicBezTo>
                  <a:cubicBezTo>
                    <a:pt x="1637" y="159"/>
                    <a:pt x="1637" y="159"/>
                    <a:pt x="1637" y="159"/>
                  </a:cubicBezTo>
                  <a:cubicBezTo>
                    <a:pt x="1637" y="158"/>
                    <a:pt x="1637" y="158"/>
                    <a:pt x="1637" y="158"/>
                  </a:cubicBezTo>
                  <a:cubicBezTo>
                    <a:pt x="1636" y="157"/>
                    <a:pt x="1636" y="157"/>
                    <a:pt x="1636" y="157"/>
                  </a:cubicBezTo>
                  <a:cubicBezTo>
                    <a:pt x="1636" y="156"/>
                    <a:pt x="1636" y="156"/>
                    <a:pt x="1636" y="156"/>
                  </a:cubicBezTo>
                  <a:cubicBezTo>
                    <a:pt x="1635" y="156"/>
                    <a:pt x="1635" y="156"/>
                    <a:pt x="1635" y="156"/>
                  </a:cubicBezTo>
                  <a:cubicBezTo>
                    <a:pt x="1635" y="155"/>
                    <a:pt x="1635" y="155"/>
                    <a:pt x="1635" y="155"/>
                  </a:cubicBezTo>
                  <a:cubicBezTo>
                    <a:pt x="1634" y="155"/>
                    <a:pt x="1634" y="155"/>
                    <a:pt x="1634" y="155"/>
                  </a:cubicBezTo>
                  <a:cubicBezTo>
                    <a:pt x="1634" y="154"/>
                    <a:pt x="1634" y="154"/>
                    <a:pt x="1634" y="154"/>
                  </a:cubicBezTo>
                  <a:cubicBezTo>
                    <a:pt x="1632" y="151"/>
                    <a:pt x="1632" y="150"/>
                    <a:pt x="1629" y="148"/>
                  </a:cubicBezTo>
                  <a:cubicBezTo>
                    <a:pt x="1627" y="146"/>
                    <a:pt x="1627" y="146"/>
                    <a:pt x="1627" y="146"/>
                  </a:cubicBezTo>
                  <a:cubicBezTo>
                    <a:pt x="1626" y="145"/>
                    <a:pt x="1626" y="145"/>
                    <a:pt x="1626" y="145"/>
                  </a:cubicBezTo>
                  <a:cubicBezTo>
                    <a:pt x="1625" y="145"/>
                    <a:pt x="1625" y="145"/>
                    <a:pt x="1625" y="145"/>
                  </a:cubicBezTo>
                  <a:cubicBezTo>
                    <a:pt x="1625" y="145"/>
                    <a:pt x="1625" y="145"/>
                    <a:pt x="1625" y="145"/>
                  </a:cubicBezTo>
                  <a:cubicBezTo>
                    <a:pt x="1625" y="145"/>
                    <a:pt x="1625" y="145"/>
                    <a:pt x="1625" y="145"/>
                  </a:cubicBezTo>
                  <a:cubicBezTo>
                    <a:pt x="1625" y="147"/>
                    <a:pt x="1627" y="150"/>
                    <a:pt x="1628" y="152"/>
                  </a:cubicBezTo>
                  <a:cubicBezTo>
                    <a:pt x="1628" y="152"/>
                    <a:pt x="1628" y="152"/>
                    <a:pt x="1628" y="152"/>
                  </a:cubicBezTo>
                  <a:cubicBezTo>
                    <a:pt x="1628" y="153"/>
                    <a:pt x="1628" y="153"/>
                    <a:pt x="1628" y="153"/>
                  </a:cubicBezTo>
                  <a:cubicBezTo>
                    <a:pt x="1628" y="153"/>
                    <a:pt x="1628" y="153"/>
                    <a:pt x="1628" y="153"/>
                  </a:cubicBezTo>
                  <a:cubicBezTo>
                    <a:pt x="1628" y="154"/>
                    <a:pt x="1628" y="154"/>
                    <a:pt x="1628" y="154"/>
                  </a:cubicBezTo>
                  <a:cubicBezTo>
                    <a:pt x="1627" y="154"/>
                    <a:pt x="1627" y="154"/>
                    <a:pt x="1627" y="154"/>
                  </a:cubicBezTo>
                  <a:cubicBezTo>
                    <a:pt x="1627" y="154"/>
                    <a:pt x="1627" y="154"/>
                    <a:pt x="1627" y="154"/>
                  </a:cubicBezTo>
                  <a:cubicBezTo>
                    <a:pt x="1627" y="154"/>
                    <a:pt x="1627" y="154"/>
                    <a:pt x="1627" y="154"/>
                  </a:cubicBezTo>
                  <a:cubicBezTo>
                    <a:pt x="1627" y="155"/>
                    <a:pt x="1627" y="155"/>
                    <a:pt x="1627" y="155"/>
                  </a:cubicBezTo>
                  <a:cubicBezTo>
                    <a:pt x="1626" y="155"/>
                    <a:pt x="1626" y="155"/>
                    <a:pt x="1626" y="155"/>
                  </a:cubicBezTo>
                  <a:cubicBezTo>
                    <a:pt x="1626" y="155"/>
                    <a:pt x="1626" y="155"/>
                    <a:pt x="1626" y="155"/>
                  </a:cubicBezTo>
                  <a:cubicBezTo>
                    <a:pt x="1626" y="156"/>
                    <a:pt x="1626" y="156"/>
                    <a:pt x="1626" y="156"/>
                  </a:cubicBezTo>
                  <a:cubicBezTo>
                    <a:pt x="1625" y="156"/>
                    <a:pt x="1625" y="156"/>
                    <a:pt x="1625" y="156"/>
                  </a:cubicBezTo>
                  <a:cubicBezTo>
                    <a:pt x="1624" y="156"/>
                    <a:pt x="1624" y="156"/>
                    <a:pt x="1624" y="156"/>
                  </a:cubicBezTo>
                  <a:cubicBezTo>
                    <a:pt x="1622" y="156"/>
                    <a:pt x="1619" y="156"/>
                    <a:pt x="1617" y="156"/>
                  </a:cubicBezTo>
                  <a:cubicBezTo>
                    <a:pt x="1616" y="157"/>
                    <a:pt x="1616" y="157"/>
                    <a:pt x="1616" y="157"/>
                  </a:cubicBezTo>
                  <a:cubicBezTo>
                    <a:pt x="1615" y="157"/>
                    <a:pt x="1615" y="157"/>
                    <a:pt x="1615" y="157"/>
                  </a:cubicBezTo>
                  <a:cubicBezTo>
                    <a:pt x="1596" y="151"/>
                    <a:pt x="1596" y="151"/>
                    <a:pt x="1596" y="151"/>
                  </a:cubicBezTo>
                  <a:cubicBezTo>
                    <a:pt x="1596" y="151"/>
                    <a:pt x="1596" y="151"/>
                    <a:pt x="1596" y="151"/>
                  </a:cubicBezTo>
                  <a:cubicBezTo>
                    <a:pt x="1596" y="150"/>
                    <a:pt x="1596" y="150"/>
                    <a:pt x="1596" y="150"/>
                  </a:cubicBezTo>
                  <a:cubicBezTo>
                    <a:pt x="1597" y="149"/>
                    <a:pt x="1600" y="146"/>
                    <a:pt x="1599" y="144"/>
                  </a:cubicBezTo>
                  <a:cubicBezTo>
                    <a:pt x="1598" y="143"/>
                    <a:pt x="1596" y="143"/>
                    <a:pt x="1595" y="144"/>
                  </a:cubicBezTo>
                  <a:cubicBezTo>
                    <a:pt x="1593" y="144"/>
                    <a:pt x="1593" y="146"/>
                    <a:pt x="1591" y="146"/>
                  </a:cubicBezTo>
                  <a:cubicBezTo>
                    <a:pt x="1584" y="146"/>
                    <a:pt x="1578" y="145"/>
                    <a:pt x="1571" y="145"/>
                  </a:cubicBezTo>
                  <a:cubicBezTo>
                    <a:pt x="1570" y="145"/>
                    <a:pt x="1562" y="151"/>
                    <a:pt x="1562" y="153"/>
                  </a:cubicBezTo>
                  <a:cubicBezTo>
                    <a:pt x="1561" y="154"/>
                    <a:pt x="1564" y="158"/>
                    <a:pt x="1565" y="158"/>
                  </a:cubicBezTo>
                  <a:cubicBezTo>
                    <a:pt x="1566" y="157"/>
                    <a:pt x="1567" y="156"/>
                    <a:pt x="1568" y="156"/>
                  </a:cubicBezTo>
                  <a:cubicBezTo>
                    <a:pt x="1569" y="157"/>
                    <a:pt x="1571" y="156"/>
                    <a:pt x="1572" y="156"/>
                  </a:cubicBezTo>
                  <a:cubicBezTo>
                    <a:pt x="1575" y="156"/>
                    <a:pt x="1579" y="155"/>
                    <a:pt x="1582" y="155"/>
                  </a:cubicBezTo>
                  <a:cubicBezTo>
                    <a:pt x="1584" y="155"/>
                    <a:pt x="1587" y="154"/>
                    <a:pt x="1588" y="154"/>
                  </a:cubicBezTo>
                  <a:cubicBezTo>
                    <a:pt x="1588" y="156"/>
                    <a:pt x="1588" y="156"/>
                    <a:pt x="1588" y="156"/>
                  </a:cubicBezTo>
                  <a:cubicBezTo>
                    <a:pt x="1588" y="157"/>
                    <a:pt x="1588" y="157"/>
                    <a:pt x="1588" y="157"/>
                  </a:cubicBezTo>
                  <a:cubicBezTo>
                    <a:pt x="1571" y="164"/>
                    <a:pt x="1571" y="164"/>
                    <a:pt x="1571" y="164"/>
                  </a:cubicBezTo>
                  <a:cubicBezTo>
                    <a:pt x="1558" y="163"/>
                    <a:pt x="1558" y="163"/>
                    <a:pt x="1558" y="163"/>
                  </a:cubicBezTo>
                  <a:cubicBezTo>
                    <a:pt x="1556" y="163"/>
                    <a:pt x="1556" y="163"/>
                    <a:pt x="1556" y="163"/>
                  </a:cubicBezTo>
                  <a:cubicBezTo>
                    <a:pt x="1555" y="163"/>
                    <a:pt x="1555" y="163"/>
                    <a:pt x="1555" y="163"/>
                  </a:cubicBezTo>
                  <a:cubicBezTo>
                    <a:pt x="1555" y="163"/>
                    <a:pt x="1555" y="163"/>
                    <a:pt x="1555" y="163"/>
                  </a:cubicBezTo>
                  <a:cubicBezTo>
                    <a:pt x="1555" y="163"/>
                    <a:pt x="1555" y="163"/>
                    <a:pt x="1555" y="163"/>
                  </a:cubicBezTo>
                  <a:cubicBezTo>
                    <a:pt x="1555" y="164"/>
                    <a:pt x="1555" y="164"/>
                    <a:pt x="1555" y="164"/>
                  </a:cubicBezTo>
                  <a:cubicBezTo>
                    <a:pt x="1556" y="167"/>
                    <a:pt x="1556" y="167"/>
                    <a:pt x="1556" y="167"/>
                  </a:cubicBezTo>
                  <a:cubicBezTo>
                    <a:pt x="1556" y="168"/>
                    <a:pt x="1556" y="168"/>
                    <a:pt x="1556" y="168"/>
                  </a:cubicBezTo>
                  <a:cubicBezTo>
                    <a:pt x="1532" y="174"/>
                    <a:pt x="1532" y="174"/>
                    <a:pt x="1532" y="174"/>
                  </a:cubicBezTo>
                  <a:cubicBezTo>
                    <a:pt x="1531" y="175"/>
                    <a:pt x="1531" y="175"/>
                    <a:pt x="1531" y="175"/>
                  </a:cubicBezTo>
                  <a:cubicBezTo>
                    <a:pt x="1497" y="179"/>
                    <a:pt x="1497" y="179"/>
                    <a:pt x="1497" y="179"/>
                  </a:cubicBezTo>
                  <a:cubicBezTo>
                    <a:pt x="1497" y="181"/>
                    <a:pt x="1497" y="181"/>
                    <a:pt x="1497" y="181"/>
                  </a:cubicBezTo>
                  <a:cubicBezTo>
                    <a:pt x="1498" y="183"/>
                    <a:pt x="1498" y="183"/>
                    <a:pt x="1498" y="183"/>
                  </a:cubicBezTo>
                  <a:cubicBezTo>
                    <a:pt x="1498" y="183"/>
                    <a:pt x="1498" y="183"/>
                    <a:pt x="1498" y="183"/>
                  </a:cubicBezTo>
                  <a:cubicBezTo>
                    <a:pt x="1498" y="184"/>
                    <a:pt x="1498" y="184"/>
                    <a:pt x="1498" y="184"/>
                  </a:cubicBezTo>
                  <a:cubicBezTo>
                    <a:pt x="1476" y="191"/>
                    <a:pt x="1476" y="191"/>
                    <a:pt x="1476" y="191"/>
                  </a:cubicBezTo>
                  <a:cubicBezTo>
                    <a:pt x="1475" y="191"/>
                    <a:pt x="1475" y="191"/>
                    <a:pt x="1475" y="191"/>
                  </a:cubicBezTo>
                  <a:cubicBezTo>
                    <a:pt x="1475" y="190"/>
                    <a:pt x="1475" y="190"/>
                    <a:pt x="1475" y="190"/>
                  </a:cubicBezTo>
                  <a:cubicBezTo>
                    <a:pt x="1485" y="186"/>
                    <a:pt x="1485" y="186"/>
                    <a:pt x="1485" y="186"/>
                  </a:cubicBezTo>
                  <a:cubicBezTo>
                    <a:pt x="1488" y="185"/>
                    <a:pt x="1488" y="185"/>
                    <a:pt x="1490" y="182"/>
                  </a:cubicBezTo>
                  <a:cubicBezTo>
                    <a:pt x="1490" y="182"/>
                    <a:pt x="1490" y="182"/>
                    <a:pt x="1490" y="182"/>
                  </a:cubicBezTo>
                  <a:cubicBezTo>
                    <a:pt x="1490" y="182"/>
                    <a:pt x="1490" y="182"/>
                    <a:pt x="1490" y="182"/>
                  </a:cubicBezTo>
                  <a:cubicBezTo>
                    <a:pt x="1490" y="182"/>
                    <a:pt x="1490" y="182"/>
                    <a:pt x="1490" y="182"/>
                  </a:cubicBezTo>
                  <a:cubicBezTo>
                    <a:pt x="1490" y="182"/>
                    <a:pt x="1490" y="182"/>
                    <a:pt x="1490" y="182"/>
                  </a:cubicBezTo>
                  <a:cubicBezTo>
                    <a:pt x="1490" y="181"/>
                    <a:pt x="1490" y="181"/>
                    <a:pt x="1490" y="181"/>
                  </a:cubicBezTo>
                  <a:cubicBezTo>
                    <a:pt x="1490" y="181"/>
                    <a:pt x="1490" y="181"/>
                    <a:pt x="1490" y="181"/>
                  </a:cubicBezTo>
                  <a:cubicBezTo>
                    <a:pt x="1490" y="181"/>
                    <a:pt x="1490" y="181"/>
                    <a:pt x="1490" y="181"/>
                  </a:cubicBezTo>
                  <a:cubicBezTo>
                    <a:pt x="1491" y="180"/>
                    <a:pt x="1491" y="180"/>
                    <a:pt x="1491" y="180"/>
                  </a:cubicBezTo>
                  <a:cubicBezTo>
                    <a:pt x="1492" y="178"/>
                    <a:pt x="1492" y="178"/>
                    <a:pt x="1492" y="178"/>
                  </a:cubicBezTo>
                  <a:cubicBezTo>
                    <a:pt x="1494" y="174"/>
                    <a:pt x="1494" y="174"/>
                    <a:pt x="1494" y="174"/>
                  </a:cubicBezTo>
                  <a:cubicBezTo>
                    <a:pt x="1495" y="173"/>
                    <a:pt x="1495" y="173"/>
                    <a:pt x="1495" y="173"/>
                  </a:cubicBezTo>
                  <a:cubicBezTo>
                    <a:pt x="1495" y="172"/>
                    <a:pt x="1495" y="172"/>
                    <a:pt x="1495" y="172"/>
                  </a:cubicBezTo>
                  <a:cubicBezTo>
                    <a:pt x="1496" y="172"/>
                    <a:pt x="1496" y="172"/>
                    <a:pt x="1496" y="172"/>
                  </a:cubicBezTo>
                  <a:cubicBezTo>
                    <a:pt x="1497" y="171"/>
                    <a:pt x="1497" y="171"/>
                    <a:pt x="1497" y="171"/>
                  </a:cubicBezTo>
                  <a:cubicBezTo>
                    <a:pt x="1497" y="171"/>
                    <a:pt x="1497" y="171"/>
                    <a:pt x="1497" y="171"/>
                  </a:cubicBezTo>
                  <a:cubicBezTo>
                    <a:pt x="1498" y="171"/>
                    <a:pt x="1498" y="171"/>
                    <a:pt x="1498" y="171"/>
                  </a:cubicBezTo>
                  <a:cubicBezTo>
                    <a:pt x="1498" y="171"/>
                    <a:pt x="1498" y="171"/>
                    <a:pt x="1498" y="171"/>
                  </a:cubicBezTo>
                  <a:cubicBezTo>
                    <a:pt x="1499" y="171"/>
                    <a:pt x="1499" y="171"/>
                    <a:pt x="1499" y="171"/>
                  </a:cubicBezTo>
                  <a:cubicBezTo>
                    <a:pt x="1499" y="171"/>
                    <a:pt x="1499" y="171"/>
                    <a:pt x="1499" y="171"/>
                  </a:cubicBezTo>
                  <a:cubicBezTo>
                    <a:pt x="1499" y="171"/>
                    <a:pt x="1499" y="171"/>
                    <a:pt x="1499" y="171"/>
                  </a:cubicBezTo>
                  <a:cubicBezTo>
                    <a:pt x="1501" y="171"/>
                    <a:pt x="1501" y="171"/>
                    <a:pt x="1501" y="171"/>
                  </a:cubicBezTo>
                  <a:cubicBezTo>
                    <a:pt x="1503" y="170"/>
                    <a:pt x="1503" y="170"/>
                    <a:pt x="1503" y="170"/>
                  </a:cubicBezTo>
                  <a:cubicBezTo>
                    <a:pt x="1507" y="170"/>
                    <a:pt x="1507" y="170"/>
                    <a:pt x="1507" y="170"/>
                  </a:cubicBezTo>
                  <a:cubicBezTo>
                    <a:pt x="1508" y="170"/>
                    <a:pt x="1508" y="170"/>
                    <a:pt x="1508" y="170"/>
                  </a:cubicBezTo>
                  <a:cubicBezTo>
                    <a:pt x="1509" y="169"/>
                    <a:pt x="1509" y="169"/>
                    <a:pt x="1509" y="169"/>
                  </a:cubicBezTo>
                  <a:cubicBezTo>
                    <a:pt x="1509" y="169"/>
                    <a:pt x="1509" y="169"/>
                    <a:pt x="1509" y="169"/>
                  </a:cubicBezTo>
                  <a:cubicBezTo>
                    <a:pt x="1509" y="169"/>
                    <a:pt x="1509" y="169"/>
                    <a:pt x="1509" y="169"/>
                  </a:cubicBezTo>
                  <a:cubicBezTo>
                    <a:pt x="1510" y="168"/>
                    <a:pt x="1510" y="168"/>
                    <a:pt x="1510" y="168"/>
                  </a:cubicBezTo>
                  <a:cubicBezTo>
                    <a:pt x="1511" y="166"/>
                    <a:pt x="1511" y="166"/>
                    <a:pt x="1511" y="166"/>
                  </a:cubicBezTo>
                  <a:cubicBezTo>
                    <a:pt x="1514" y="162"/>
                    <a:pt x="1514" y="162"/>
                    <a:pt x="1514" y="162"/>
                  </a:cubicBezTo>
                  <a:cubicBezTo>
                    <a:pt x="1515" y="160"/>
                    <a:pt x="1515" y="160"/>
                    <a:pt x="1515" y="160"/>
                  </a:cubicBezTo>
                  <a:cubicBezTo>
                    <a:pt x="1516" y="160"/>
                    <a:pt x="1516" y="160"/>
                    <a:pt x="1516" y="160"/>
                  </a:cubicBezTo>
                  <a:cubicBezTo>
                    <a:pt x="1517" y="160"/>
                    <a:pt x="1517" y="160"/>
                    <a:pt x="1517" y="160"/>
                  </a:cubicBezTo>
                  <a:cubicBezTo>
                    <a:pt x="1517" y="160"/>
                    <a:pt x="1517" y="160"/>
                    <a:pt x="1517" y="160"/>
                  </a:cubicBezTo>
                  <a:cubicBezTo>
                    <a:pt x="1518" y="160"/>
                    <a:pt x="1518" y="160"/>
                    <a:pt x="1518" y="160"/>
                  </a:cubicBezTo>
                  <a:cubicBezTo>
                    <a:pt x="1518" y="159"/>
                    <a:pt x="1518" y="159"/>
                    <a:pt x="1518" y="159"/>
                  </a:cubicBezTo>
                  <a:cubicBezTo>
                    <a:pt x="1519" y="159"/>
                    <a:pt x="1519" y="159"/>
                    <a:pt x="1519" y="159"/>
                  </a:cubicBezTo>
                  <a:cubicBezTo>
                    <a:pt x="1520" y="159"/>
                    <a:pt x="1520" y="159"/>
                    <a:pt x="1520" y="159"/>
                  </a:cubicBezTo>
                  <a:cubicBezTo>
                    <a:pt x="1520" y="159"/>
                    <a:pt x="1520" y="159"/>
                    <a:pt x="1520" y="159"/>
                  </a:cubicBezTo>
                  <a:cubicBezTo>
                    <a:pt x="1520" y="159"/>
                    <a:pt x="1520" y="159"/>
                    <a:pt x="1520" y="159"/>
                  </a:cubicBezTo>
                  <a:cubicBezTo>
                    <a:pt x="1521" y="159"/>
                    <a:pt x="1521" y="159"/>
                    <a:pt x="1521" y="159"/>
                  </a:cubicBezTo>
                  <a:cubicBezTo>
                    <a:pt x="1522" y="159"/>
                    <a:pt x="1523" y="159"/>
                    <a:pt x="1524" y="159"/>
                  </a:cubicBezTo>
                  <a:cubicBezTo>
                    <a:pt x="1524" y="159"/>
                    <a:pt x="1524" y="159"/>
                    <a:pt x="1524" y="159"/>
                  </a:cubicBezTo>
                  <a:cubicBezTo>
                    <a:pt x="1568" y="139"/>
                    <a:pt x="1568" y="139"/>
                    <a:pt x="1568" y="139"/>
                  </a:cubicBezTo>
                  <a:cubicBezTo>
                    <a:pt x="1569" y="138"/>
                    <a:pt x="1569" y="138"/>
                    <a:pt x="1569" y="137"/>
                  </a:cubicBezTo>
                  <a:cubicBezTo>
                    <a:pt x="1570" y="137"/>
                    <a:pt x="1570" y="137"/>
                    <a:pt x="1570" y="137"/>
                  </a:cubicBezTo>
                  <a:cubicBezTo>
                    <a:pt x="1570" y="137"/>
                    <a:pt x="1570" y="137"/>
                    <a:pt x="1570" y="137"/>
                  </a:cubicBezTo>
                  <a:cubicBezTo>
                    <a:pt x="1570" y="136"/>
                    <a:pt x="1570" y="136"/>
                    <a:pt x="1570" y="136"/>
                  </a:cubicBezTo>
                  <a:cubicBezTo>
                    <a:pt x="1570" y="136"/>
                    <a:pt x="1570" y="136"/>
                    <a:pt x="1570" y="136"/>
                  </a:cubicBezTo>
                  <a:cubicBezTo>
                    <a:pt x="1570" y="136"/>
                    <a:pt x="1570" y="135"/>
                    <a:pt x="1570" y="135"/>
                  </a:cubicBezTo>
                  <a:cubicBezTo>
                    <a:pt x="1570" y="134"/>
                    <a:pt x="1570" y="134"/>
                    <a:pt x="1570" y="134"/>
                  </a:cubicBezTo>
                  <a:cubicBezTo>
                    <a:pt x="1570" y="134"/>
                    <a:pt x="1570" y="134"/>
                    <a:pt x="1570" y="134"/>
                  </a:cubicBezTo>
                  <a:cubicBezTo>
                    <a:pt x="1570" y="134"/>
                    <a:pt x="1570" y="134"/>
                    <a:pt x="1570" y="134"/>
                  </a:cubicBezTo>
                  <a:cubicBezTo>
                    <a:pt x="1569" y="134"/>
                    <a:pt x="1569" y="134"/>
                    <a:pt x="1569" y="134"/>
                  </a:cubicBezTo>
                  <a:cubicBezTo>
                    <a:pt x="1569" y="134"/>
                    <a:pt x="1569" y="134"/>
                    <a:pt x="1569" y="134"/>
                  </a:cubicBezTo>
                  <a:cubicBezTo>
                    <a:pt x="1568" y="134"/>
                    <a:pt x="1568" y="134"/>
                    <a:pt x="1568" y="134"/>
                  </a:cubicBezTo>
                  <a:cubicBezTo>
                    <a:pt x="1568" y="134"/>
                    <a:pt x="1568" y="134"/>
                    <a:pt x="1568" y="134"/>
                  </a:cubicBezTo>
                  <a:cubicBezTo>
                    <a:pt x="1567" y="134"/>
                    <a:pt x="1567" y="134"/>
                    <a:pt x="1567" y="134"/>
                  </a:cubicBezTo>
                  <a:cubicBezTo>
                    <a:pt x="1566" y="134"/>
                    <a:pt x="1566" y="134"/>
                    <a:pt x="1566" y="134"/>
                  </a:cubicBezTo>
                  <a:cubicBezTo>
                    <a:pt x="1564" y="134"/>
                    <a:pt x="1564" y="134"/>
                    <a:pt x="1564" y="134"/>
                  </a:cubicBezTo>
                  <a:cubicBezTo>
                    <a:pt x="1564" y="134"/>
                    <a:pt x="1564" y="134"/>
                    <a:pt x="1564" y="134"/>
                  </a:cubicBezTo>
                  <a:cubicBezTo>
                    <a:pt x="1564" y="133"/>
                    <a:pt x="1564" y="133"/>
                    <a:pt x="1564" y="133"/>
                  </a:cubicBezTo>
                  <a:cubicBezTo>
                    <a:pt x="1564" y="133"/>
                    <a:pt x="1564" y="133"/>
                    <a:pt x="1564" y="133"/>
                  </a:cubicBezTo>
                  <a:cubicBezTo>
                    <a:pt x="1565" y="133"/>
                    <a:pt x="1565" y="133"/>
                    <a:pt x="1565" y="133"/>
                  </a:cubicBezTo>
                  <a:cubicBezTo>
                    <a:pt x="1566" y="133"/>
                    <a:pt x="1566" y="133"/>
                    <a:pt x="1566" y="133"/>
                  </a:cubicBezTo>
                  <a:cubicBezTo>
                    <a:pt x="1568" y="132"/>
                    <a:pt x="1568" y="132"/>
                    <a:pt x="1568" y="132"/>
                  </a:cubicBezTo>
                  <a:cubicBezTo>
                    <a:pt x="1574" y="129"/>
                    <a:pt x="1574" y="129"/>
                    <a:pt x="1574" y="129"/>
                  </a:cubicBezTo>
                  <a:cubicBezTo>
                    <a:pt x="1576" y="128"/>
                    <a:pt x="1576" y="128"/>
                    <a:pt x="1576" y="128"/>
                  </a:cubicBezTo>
                  <a:cubicBezTo>
                    <a:pt x="1577" y="127"/>
                    <a:pt x="1577" y="127"/>
                    <a:pt x="1577" y="127"/>
                  </a:cubicBezTo>
                  <a:cubicBezTo>
                    <a:pt x="1578" y="127"/>
                    <a:pt x="1578" y="127"/>
                    <a:pt x="1578" y="127"/>
                  </a:cubicBezTo>
                  <a:cubicBezTo>
                    <a:pt x="1578" y="127"/>
                    <a:pt x="1578" y="127"/>
                    <a:pt x="1578" y="127"/>
                  </a:cubicBezTo>
                  <a:cubicBezTo>
                    <a:pt x="1579" y="127"/>
                    <a:pt x="1579" y="127"/>
                    <a:pt x="1579" y="127"/>
                  </a:cubicBezTo>
                  <a:cubicBezTo>
                    <a:pt x="1579" y="127"/>
                    <a:pt x="1579" y="127"/>
                    <a:pt x="1579" y="127"/>
                  </a:cubicBezTo>
                  <a:cubicBezTo>
                    <a:pt x="1579" y="127"/>
                    <a:pt x="1579" y="127"/>
                    <a:pt x="1579" y="127"/>
                  </a:cubicBezTo>
                  <a:cubicBezTo>
                    <a:pt x="1580" y="128"/>
                    <a:pt x="1580" y="128"/>
                    <a:pt x="1580" y="128"/>
                  </a:cubicBezTo>
                  <a:cubicBezTo>
                    <a:pt x="1580" y="128"/>
                    <a:pt x="1580" y="128"/>
                    <a:pt x="1580" y="128"/>
                  </a:cubicBezTo>
                  <a:cubicBezTo>
                    <a:pt x="1581" y="128"/>
                    <a:pt x="1581" y="128"/>
                    <a:pt x="1581" y="128"/>
                  </a:cubicBezTo>
                  <a:cubicBezTo>
                    <a:pt x="1636" y="100"/>
                    <a:pt x="1636" y="100"/>
                    <a:pt x="1636" y="100"/>
                  </a:cubicBezTo>
                  <a:cubicBezTo>
                    <a:pt x="1637" y="100"/>
                    <a:pt x="1637" y="100"/>
                    <a:pt x="1637" y="100"/>
                  </a:cubicBezTo>
                  <a:cubicBezTo>
                    <a:pt x="1637" y="99"/>
                    <a:pt x="1637" y="99"/>
                    <a:pt x="1637" y="99"/>
                  </a:cubicBezTo>
                  <a:cubicBezTo>
                    <a:pt x="1639" y="98"/>
                    <a:pt x="1639" y="98"/>
                    <a:pt x="1639" y="98"/>
                  </a:cubicBezTo>
                  <a:cubicBezTo>
                    <a:pt x="1639" y="97"/>
                    <a:pt x="1639" y="97"/>
                    <a:pt x="1639" y="97"/>
                  </a:cubicBezTo>
                  <a:cubicBezTo>
                    <a:pt x="1640" y="97"/>
                    <a:pt x="1640" y="97"/>
                    <a:pt x="1640" y="97"/>
                  </a:cubicBezTo>
                  <a:cubicBezTo>
                    <a:pt x="1640" y="97"/>
                    <a:pt x="1640" y="97"/>
                    <a:pt x="1640" y="97"/>
                  </a:cubicBezTo>
                  <a:cubicBezTo>
                    <a:pt x="1640" y="96"/>
                    <a:pt x="1640" y="96"/>
                    <a:pt x="1640" y="96"/>
                  </a:cubicBezTo>
                  <a:cubicBezTo>
                    <a:pt x="1640" y="96"/>
                    <a:pt x="1641" y="95"/>
                    <a:pt x="1641" y="94"/>
                  </a:cubicBezTo>
                  <a:cubicBezTo>
                    <a:pt x="1641" y="94"/>
                    <a:pt x="1641" y="94"/>
                    <a:pt x="1641" y="94"/>
                  </a:cubicBezTo>
                  <a:cubicBezTo>
                    <a:pt x="1641" y="94"/>
                    <a:pt x="1641" y="94"/>
                    <a:pt x="1641" y="94"/>
                  </a:cubicBezTo>
                  <a:cubicBezTo>
                    <a:pt x="1641" y="92"/>
                    <a:pt x="1642" y="93"/>
                    <a:pt x="1642" y="91"/>
                  </a:cubicBezTo>
                  <a:cubicBezTo>
                    <a:pt x="1642" y="91"/>
                    <a:pt x="1642" y="91"/>
                    <a:pt x="1642" y="91"/>
                  </a:cubicBezTo>
                  <a:cubicBezTo>
                    <a:pt x="1642" y="91"/>
                    <a:pt x="1642" y="91"/>
                    <a:pt x="1642" y="91"/>
                  </a:cubicBezTo>
                  <a:cubicBezTo>
                    <a:pt x="1642" y="91"/>
                    <a:pt x="1642" y="91"/>
                    <a:pt x="1642" y="91"/>
                  </a:cubicBezTo>
                  <a:cubicBezTo>
                    <a:pt x="1642" y="90"/>
                    <a:pt x="1642" y="90"/>
                    <a:pt x="1642" y="90"/>
                  </a:cubicBezTo>
                  <a:cubicBezTo>
                    <a:pt x="1642" y="90"/>
                    <a:pt x="1642" y="90"/>
                    <a:pt x="1642" y="90"/>
                  </a:cubicBezTo>
                  <a:cubicBezTo>
                    <a:pt x="1642" y="90"/>
                    <a:pt x="1642" y="90"/>
                    <a:pt x="1642" y="90"/>
                  </a:cubicBezTo>
                  <a:cubicBezTo>
                    <a:pt x="1642" y="90"/>
                    <a:pt x="1642" y="90"/>
                    <a:pt x="1642" y="90"/>
                  </a:cubicBezTo>
                  <a:cubicBezTo>
                    <a:pt x="1642" y="89"/>
                    <a:pt x="1642" y="89"/>
                    <a:pt x="1642" y="89"/>
                  </a:cubicBezTo>
                  <a:cubicBezTo>
                    <a:pt x="1641" y="89"/>
                    <a:pt x="1641" y="89"/>
                    <a:pt x="1641" y="89"/>
                  </a:cubicBezTo>
                  <a:cubicBezTo>
                    <a:pt x="1641" y="89"/>
                    <a:pt x="1641" y="89"/>
                    <a:pt x="1641" y="89"/>
                  </a:cubicBezTo>
                  <a:cubicBezTo>
                    <a:pt x="1641" y="89"/>
                    <a:pt x="1641" y="89"/>
                    <a:pt x="1641" y="89"/>
                  </a:cubicBezTo>
                  <a:cubicBezTo>
                    <a:pt x="1641" y="88"/>
                    <a:pt x="1641" y="88"/>
                    <a:pt x="1641" y="88"/>
                  </a:cubicBezTo>
                  <a:cubicBezTo>
                    <a:pt x="1641" y="88"/>
                    <a:pt x="1641" y="88"/>
                    <a:pt x="1641" y="88"/>
                  </a:cubicBezTo>
                  <a:cubicBezTo>
                    <a:pt x="1641" y="88"/>
                    <a:pt x="1641" y="88"/>
                    <a:pt x="1641" y="88"/>
                  </a:cubicBezTo>
                  <a:cubicBezTo>
                    <a:pt x="1641" y="88"/>
                    <a:pt x="1641" y="88"/>
                    <a:pt x="1641" y="88"/>
                  </a:cubicBezTo>
                  <a:cubicBezTo>
                    <a:pt x="1640" y="88"/>
                    <a:pt x="1639" y="89"/>
                    <a:pt x="1638" y="88"/>
                  </a:cubicBezTo>
                  <a:cubicBezTo>
                    <a:pt x="1638" y="88"/>
                    <a:pt x="1638" y="88"/>
                    <a:pt x="1638" y="88"/>
                  </a:cubicBezTo>
                  <a:cubicBezTo>
                    <a:pt x="1637" y="88"/>
                    <a:pt x="1637" y="88"/>
                    <a:pt x="1637" y="88"/>
                  </a:cubicBezTo>
                  <a:cubicBezTo>
                    <a:pt x="1637" y="88"/>
                    <a:pt x="1637" y="88"/>
                    <a:pt x="1637" y="88"/>
                  </a:cubicBezTo>
                  <a:cubicBezTo>
                    <a:pt x="1636" y="88"/>
                    <a:pt x="1636" y="88"/>
                    <a:pt x="1636" y="88"/>
                  </a:cubicBezTo>
                  <a:cubicBezTo>
                    <a:pt x="1635" y="87"/>
                    <a:pt x="1635" y="87"/>
                    <a:pt x="1634" y="86"/>
                  </a:cubicBezTo>
                  <a:cubicBezTo>
                    <a:pt x="1634" y="86"/>
                    <a:pt x="1634" y="86"/>
                    <a:pt x="1634" y="86"/>
                  </a:cubicBezTo>
                  <a:cubicBezTo>
                    <a:pt x="1633" y="86"/>
                    <a:pt x="1633" y="86"/>
                    <a:pt x="1633" y="86"/>
                  </a:cubicBezTo>
                  <a:cubicBezTo>
                    <a:pt x="1633" y="86"/>
                    <a:pt x="1633" y="86"/>
                    <a:pt x="1633" y="86"/>
                  </a:cubicBezTo>
                  <a:cubicBezTo>
                    <a:pt x="1633" y="86"/>
                    <a:pt x="1633" y="86"/>
                    <a:pt x="1633" y="86"/>
                  </a:cubicBezTo>
                  <a:cubicBezTo>
                    <a:pt x="1634" y="85"/>
                    <a:pt x="1634" y="85"/>
                    <a:pt x="1634" y="85"/>
                  </a:cubicBezTo>
                  <a:cubicBezTo>
                    <a:pt x="1634" y="85"/>
                    <a:pt x="1634" y="85"/>
                    <a:pt x="1634" y="85"/>
                  </a:cubicBezTo>
                  <a:cubicBezTo>
                    <a:pt x="1634" y="85"/>
                    <a:pt x="1634" y="85"/>
                    <a:pt x="1634" y="85"/>
                  </a:cubicBezTo>
                  <a:cubicBezTo>
                    <a:pt x="1634" y="84"/>
                    <a:pt x="1634" y="84"/>
                    <a:pt x="1634" y="84"/>
                  </a:cubicBezTo>
                  <a:cubicBezTo>
                    <a:pt x="1634" y="84"/>
                    <a:pt x="1634" y="84"/>
                    <a:pt x="1634" y="84"/>
                  </a:cubicBezTo>
                  <a:cubicBezTo>
                    <a:pt x="1634" y="83"/>
                    <a:pt x="1634" y="83"/>
                    <a:pt x="1634" y="83"/>
                  </a:cubicBezTo>
                  <a:cubicBezTo>
                    <a:pt x="1634" y="83"/>
                    <a:pt x="1634" y="83"/>
                    <a:pt x="1634" y="83"/>
                  </a:cubicBezTo>
                  <a:cubicBezTo>
                    <a:pt x="1633" y="83"/>
                    <a:pt x="1633" y="83"/>
                    <a:pt x="1633" y="83"/>
                  </a:cubicBezTo>
                  <a:cubicBezTo>
                    <a:pt x="1632" y="84"/>
                    <a:pt x="1632" y="84"/>
                    <a:pt x="1632" y="84"/>
                  </a:cubicBezTo>
                  <a:cubicBezTo>
                    <a:pt x="1630" y="86"/>
                    <a:pt x="1630" y="86"/>
                    <a:pt x="1630" y="86"/>
                  </a:cubicBezTo>
                  <a:cubicBezTo>
                    <a:pt x="1629" y="86"/>
                    <a:pt x="1629" y="86"/>
                    <a:pt x="1629" y="86"/>
                  </a:cubicBezTo>
                  <a:cubicBezTo>
                    <a:pt x="1629" y="87"/>
                    <a:pt x="1629" y="87"/>
                    <a:pt x="1629" y="87"/>
                  </a:cubicBezTo>
                  <a:cubicBezTo>
                    <a:pt x="1628" y="87"/>
                    <a:pt x="1628" y="87"/>
                    <a:pt x="1628" y="87"/>
                  </a:cubicBezTo>
                  <a:cubicBezTo>
                    <a:pt x="1628" y="87"/>
                    <a:pt x="1628" y="87"/>
                    <a:pt x="1628" y="87"/>
                  </a:cubicBezTo>
                  <a:cubicBezTo>
                    <a:pt x="1628" y="87"/>
                    <a:pt x="1628" y="87"/>
                    <a:pt x="1628" y="87"/>
                  </a:cubicBezTo>
                  <a:cubicBezTo>
                    <a:pt x="1628" y="87"/>
                    <a:pt x="1628" y="87"/>
                    <a:pt x="1628" y="87"/>
                  </a:cubicBezTo>
                  <a:cubicBezTo>
                    <a:pt x="1628" y="87"/>
                    <a:pt x="1628" y="87"/>
                    <a:pt x="1628" y="87"/>
                  </a:cubicBezTo>
                  <a:cubicBezTo>
                    <a:pt x="1627" y="87"/>
                    <a:pt x="1627" y="87"/>
                    <a:pt x="1627" y="87"/>
                  </a:cubicBezTo>
                  <a:cubicBezTo>
                    <a:pt x="1627" y="87"/>
                    <a:pt x="1627" y="87"/>
                    <a:pt x="1627" y="87"/>
                  </a:cubicBezTo>
                  <a:cubicBezTo>
                    <a:pt x="1626" y="87"/>
                    <a:pt x="1626" y="87"/>
                    <a:pt x="1626" y="87"/>
                  </a:cubicBezTo>
                  <a:cubicBezTo>
                    <a:pt x="1626" y="87"/>
                    <a:pt x="1626" y="87"/>
                    <a:pt x="1626" y="87"/>
                  </a:cubicBezTo>
                  <a:cubicBezTo>
                    <a:pt x="1625" y="87"/>
                    <a:pt x="1625" y="87"/>
                    <a:pt x="1625" y="87"/>
                  </a:cubicBezTo>
                  <a:cubicBezTo>
                    <a:pt x="1625" y="87"/>
                    <a:pt x="1625" y="87"/>
                    <a:pt x="1625" y="87"/>
                  </a:cubicBezTo>
                  <a:cubicBezTo>
                    <a:pt x="1625" y="86"/>
                    <a:pt x="1625" y="86"/>
                    <a:pt x="1625" y="86"/>
                  </a:cubicBezTo>
                  <a:cubicBezTo>
                    <a:pt x="1625" y="86"/>
                    <a:pt x="1625" y="86"/>
                    <a:pt x="1625" y="86"/>
                  </a:cubicBezTo>
                  <a:cubicBezTo>
                    <a:pt x="1625" y="86"/>
                    <a:pt x="1625" y="86"/>
                    <a:pt x="1625" y="86"/>
                  </a:cubicBezTo>
                  <a:cubicBezTo>
                    <a:pt x="1624" y="86"/>
                    <a:pt x="1624" y="86"/>
                    <a:pt x="1624" y="86"/>
                  </a:cubicBezTo>
                  <a:cubicBezTo>
                    <a:pt x="1625" y="85"/>
                    <a:pt x="1625" y="85"/>
                    <a:pt x="1625" y="85"/>
                  </a:cubicBezTo>
                  <a:cubicBezTo>
                    <a:pt x="1625" y="85"/>
                    <a:pt x="1625" y="85"/>
                    <a:pt x="1625" y="85"/>
                  </a:cubicBezTo>
                  <a:cubicBezTo>
                    <a:pt x="1625" y="84"/>
                    <a:pt x="1625" y="84"/>
                    <a:pt x="1625" y="84"/>
                  </a:cubicBezTo>
                  <a:cubicBezTo>
                    <a:pt x="1626" y="84"/>
                    <a:pt x="1626" y="83"/>
                    <a:pt x="1626" y="83"/>
                  </a:cubicBezTo>
                  <a:cubicBezTo>
                    <a:pt x="1625" y="82"/>
                    <a:pt x="1625" y="82"/>
                    <a:pt x="1625" y="82"/>
                  </a:cubicBezTo>
                  <a:cubicBezTo>
                    <a:pt x="1625" y="82"/>
                    <a:pt x="1625" y="82"/>
                    <a:pt x="1625" y="82"/>
                  </a:cubicBezTo>
                  <a:cubicBezTo>
                    <a:pt x="1625" y="82"/>
                    <a:pt x="1625" y="82"/>
                    <a:pt x="1625" y="82"/>
                  </a:cubicBezTo>
                  <a:cubicBezTo>
                    <a:pt x="1625" y="82"/>
                    <a:pt x="1625" y="82"/>
                    <a:pt x="1625" y="82"/>
                  </a:cubicBezTo>
                  <a:cubicBezTo>
                    <a:pt x="1625" y="81"/>
                    <a:pt x="1625" y="81"/>
                    <a:pt x="1625" y="81"/>
                  </a:cubicBezTo>
                  <a:cubicBezTo>
                    <a:pt x="1625" y="81"/>
                    <a:pt x="1625" y="81"/>
                    <a:pt x="1625" y="81"/>
                  </a:cubicBezTo>
                  <a:cubicBezTo>
                    <a:pt x="1626" y="81"/>
                    <a:pt x="1626" y="81"/>
                    <a:pt x="1626" y="81"/>
                  </a:cubicBezTo>
                  <a:cubicBezTo>
                    <a:pt x="1626" y="81"/>
                    <a:pt x="1626" y="81"/>
                    <a:pt x="1626" y="81"/>
                  </a:cubicBezTo>
                  <a:cubicBezTo>
                    <a:pt x="1626" y="81"/>
                    <a:pt x="1626" y="81"/>
                    <a:pt x="1626" y="81"/>
                  </a:cubicBezTo>
                  <a:cubicBezTo>
                    <a:pt x="1626" y="81"/>
                    <a:pt x="1626" y="81"/>
                    <a:pt x="1626" y="81"/>
                  </a:cubicBezTo>
                  <a:cubicBezTo>
                    <a:pt x="1626" y="80"/>
                    <a:pt x="1626" y="80"/>
                    <a:pt x="1626" y="80"/>
                  </a:cubicBezTo>
                  <a:cubicBezTo>
                    <a:pt x="1625" y="80"/>
                    <a:pt x="1625" y="80"/>
                    <a:pt x="1625" y="80"/>
                  </a:cubicBezTo>
                  <a:cubicBezTo>
                    <a:pt x="1625" y="80"/>
                    <a:pt x="1625" y="80"/>
                    <a:pt x="1625" y="80"/>
                  </a:cubicBezTo>
                  <a:cubicBezTo>
                    <a:pt x="1625" y="80"/>
                    <a:pt x="1625" y="80"/>
                    <a:pt x="1625" y="80"/>
                  </a:cubicBezTo>
                  <a:cubicBezTo>
                    <a:pt x="1625" y="79"/>
                    <a:pt x="1625" y="79"/>
                    <a:pt x="1625" y="79"/>
                  </a:cubicBezTo>
                  <a:cubicBezTo>
                    <a:pt x="1624" y="79"/>
                    <a:pt x="1624" y="79"/>
                    <a:pt x="1624" y="79"/>
                  </a:cubicBezTo>
                  <a:cubicBezTo>
                    <a:pt x="1624" y="79"/>
                    <a:pt x="1624" y="79"/>
                    <a:pt x="1624" y="79"/>
                  </a:cubicBezTo>
                  <a:cubicBezTo>
                    <a:pt x="1623" y="79"/>
                    <a:pt x="1623" y="79"/>
                    <a:pt x="1623" y="79"/>
                  </a:cubicBezTo>
                  <a:cubicBezTo>
                    <a:pt x="1623" y="79"/>
                    <a:pt x="1623" y="79"/>
                    <a:pt x="1623" y="79"/>
                  </a:cubicBezTo>
                  <a:cubicBezTo>
                    <a:pt x="1623" y="78"/>
                    <a:pt x="1623" y="78"/>
                    <a:pt x="1623" y="78"/>
                  </a:cubicBezTo>
                  <a:cubicBezTo>
                    <a:pt x="1622" y="78"/>
                    <a:pt x="1622" y="78"/>
                    <a:pt x="1622" y="78"/>
                  </a:cubicBezTo>
                  <a:cubicBezTo>
                    <a:pt x="1622" y="78"/>
                    <a:pt x="1622" y="78"/>
                    <a:pt x="1622" y="78"/>
                  </a:cubicBezTo>
                  <a:cubicBezTo>
                    <a:pt x="1619" y="78"/>
                    <a:pt x="1620" y="78"/>
                    <a:pt x="1618" y="77"/>
                  </a:cubicBezTo>
                  <a:cubicBezTo>
                    <a:pt x="1617" y="76"/>
                    <a:pt x="1617" y="76"/>
                    <a:pt x="1617" y="76"/>
                  </a:cubicBezTo>
                  <a:cubicBezTo>
                    <a:pt x="1616" y="75"/>
                    <a:pt x="1616" y="75"/>
                    <a:pt x="1616" y="75"/>
                  </a:cubicBezTo>
                  <a:cubicBezTo>
                    <a:pt x="1616" y="75"/>
                    <a:pt x="1616" y="75"/>
                    <a:pt x="1616" y="75"/>
                  </a:cubicBezTo>
                  <a:cubicBezTo>
                    <a:pt x="1617" y="75"/>
                    <a:pt x="1617" y="75"/>
                    <a:pt x="1617" y="75"/>
                  </a:cubicBezTo>
                  <a:cubicBezTo>
                    <a:pt x="1618" y="75"/>
                    <a:pt x="1618" y="75"/>
                    <a:pt x="1618" y="75"/>
                  </a:cubicBezTo>
                  <a:cubicBezTo>
                    <a:pt x="1621" y="75"/>
                    <a:pt x="1622" y="76"/>
                    <a:pt x="1625" y="77"/>
                  </a:cubicBezTo>
                  <a:cubicBezTo>
                    <a:pt x="1625" y="77"/>
                    <a:pt x="1625" y="77"/>
                    <a:pt x="1625" y="77"/>
                  </a:cubicBezTo>
                  <a:cubicBezTo>
                    <a:pt x="1625" y="77"/>
                    <a:pt x="1625" y="77"/>
                    <a:pt x="1625" y="77"/>
                  </a:cubicBezTo>
                  <a:cubicBezTo>
                    <a:pt x="1627" y="78"/>
                    <a:pt x="1628" y="79"/>
                    <a:pt x="1630" y="80"/>
                  </a:cubicBezTo>
                  <a:cubicBezTo>
                    <a:pt x="1630" y="80"/>
                    <a:pt x="1630" y="80"/>
                    <a:pt x="1630" y="80"/>
                  </a:cubicBezTo>
                  <a:cubicBezTo>
                    <a:pt x="1630" y="80"/>
                    <a:pt x="1630" y="80"/>
                    <a:pt x="1630" y="80"/>
                  </a:cubicBezTo>
                  <a:cubicBezTo>
                    <a:pt x="1631" y="80"/>
                    <a:pt x="1631" y="80"/>
                    <a:pt x="1631" y="80"/>
                  </a:cubicBezTo>
                  <a:cubicBezTo>
                    <a:pt x="1630" y="81"/>
                    <a:pt x="1630" y="81"/>
                    <a:pt x="1630" y="81"/>
                  </a:cubicBezTo>
                  <a:cubicBezTo>
                    <a:pt x="1630" y="81"/>
                    <a:pt x="1630" y="81"/>
                    <a:pt x="1630" y="81"/>
                  </a:cubicBezTo>
                  <a:cubicBezTo>
                    <a:pt x="1630" y="82"/>
                    <a:pt x="1630" y="82"/>
                    <a:pt x="1630" y="82"/>
                  </a:cubicBezTo>
                  <a:cubicBezTo>
                    <a:pt x="1630" y="82"/>
                    <a:pt x="1630" y="82"/>
                    <a:pt x="1630" y="82"/>
                  </a:cubicBezTo>
                  <a:cubicBezTo>
                    <a:pt x="1630" y="82"/>
                    <a:pt x="1630" y="82"/>
                    <a:pt x="1630" y="82"/>
                  </a:cubicBezTo>
                  <a:cubicBezTo>
                    <a:pt x="1631" y="81"/>
                    <a:pt x="1632" y="81"/>
                    <a:pt x="1633" y="81"/>
                  </a:cubicBezTo>
                  <a:cubicBezTo>
                    <a:pt x="1634" y="81"/>
                    <a:pt x="1634" y="81"/>
                    <a:pt x="1634" y="81"/>
                  </a:cubicBezTo>
                  <a:cubicBezTo>
                    <a:pt x="1634" y="81"/>
                    <a:pt x="1634" y="81"/>
                    <a:pt x="1634" y="81"/>
                  </a:cubicBezTo>
                  <a:cubicBezTo>
                    <a:pt x="1635" y="81"/>
                    <a:pt x="1635" y="81"/>
                    <a:pt x="1635" y="81"/>
                  </a:cubicBezTo>
                  <a:cubicBezTo>
                    <a:pt x="1636" y="82"/>
                    <a:pt x="1636" y="82"/>
                    <a:pt x="1636" y="82"/>
                  </a:cubicBezTo>
                  <a:cubicBezTo>
                    <a:pt x="1636" y="82"/>
                    <a:pt x="1636" y="82"/>
                    <a:pt x="1636" y="82"/>
                  </a:cubicBezTo>
                  <a:cubicBezTo>
                    <a:pt x="1637" y="82"/>
                    <a:pt x="1637" y="82"/>
                    <a:pt x="1637" y="82"/>
                  </a:cubicBezTo>
                  <a:cubicBezTo>
                    <a:pt x="1637" y="82"/>
                    <a:pt x="1637" y="82"/>
                    <a:pt x="1637" y="82"/>
                  </a:cubicBezTo>
                  <a:cubicBezTo>
                    <a:pt x="1638" y="82"/>
                    <a:pt x="1638" y="82"/>
                    <a:pt x="1638" y="82"/>
                  </a:cubicBezTo>
                  <a:cubicBezTo>
                    <a:pt x="1638" y="82"/>
                    <a:pt x="1638" y="82"/>
                    <a:pt x="1638" y="82"/>
                  </a:cubicBezTo>
                  <a:cubicBezTo>
                    <a:pt x="1639" y="83"/>
                    <a:pt x="1639" y="83"/>
                    <a:pt x="1639" y="83"/>
                  </a:cubicBezTo>
                  <a:cubicBezTo>
                    <a:pt x="1639" y="83"/>
                    <a:pt x="1639" y="83"/>
                    <a:pt x="1639" y="83"/>
                  </a:cubicBezTo>
                  <a:cubicBezTo>
                    <a:pt x="1640" y="85"/>
                    <a:pt x="1640" y="85"/>
                    <a:pt x="1640" y="85"/>
                  </a:cubicBezTo>
                  <a:cubicBezTo>
                    <a:pt x="1641" y="85"/>
                    <a:pt x="1641" y="85"/>
                    <a:pt x="1641" y="85"/>
                  </a:cubicBezTo>
                  <a:cubicBezTo>
                    <a:pt x="1642" y="85"/>
                    <a:pt x="1642" y="85"/>
                    <a:pt x="1642" y="85"/>
                  </a:cubicBezTo>
                  <a:cubicBezTo>
                    <a:pt x="1642" y="84"/>
                    <a:pt x="1642" y="84"/>
                    <a:pt x="1642" y="84"/>
                  </a:cubicBezTo>
                  <a:cubicBezTo>
                    <a:pt x="1642" y="84"/>
                    <a:pt x="1642" y="84"/>
                    <a:pt x="1642" y="84"/>
                  </a:cubicBezTo>
                  <a:cubicBezTo>
                    <a:pt x="1642" y="84"/>
                    <a:pt x="1642" y="83"/>
                    <a:pt x="1642" y="83"/>
                  </a:cubicBezTo>
                  <a:cubicBezTo>
                    <a:pt x="1642" y="83"/>
                    <a:pt x="1642" y="83"/>
                    <a:pt x="1642" y="83"/>
                  </a:cubicBezTo>
                  <a:cubicBezTo>
                    <a:pt x="1642" y="82"/>
                    <a:pt x="1642" y="82"/>
                    <a:pt x="1642" y="82"/>
                  </a:cubicBezTo>
                  <a:cubicBezTo>
                    <a:pt x="1643" y="80"/>
                    <a:pt x="1644" y="78"/>
                    <a:pt x="1645" y="76"/>
                  </a:cubicBezTo>
                  <a:cubicBezTo>
                    <a:pt x="1645" y="75"/>
                    <a:pt x="1645" y="75"/>
                    <a:pt x="1645" y="75"/>
                  </a:cubicBezTo>
                  <a:cubicBezTo>
                    <a:pt x="1645" y="75"/>
                    <a:pt x="1645" y="75"/>
                    <a:pt x="1645" y="75"/>
                  </a:cubicBezTo>
                  <a:cubicBezTo>
                    <a:pt x="1645" y="74"/>
                    <a:pt x="1645" y="74"/>
                    <a:pt x="1645" y="74"/>
                  </a:cubicBezTo>
                  <a:cubicBezTo>
                    <a:pt x="1645" y="74"/>
                    <a:pt x="1645" y="74"/>
                    <a:pt x="1645" y="74"/>
                  </a:cubicBezTo>
                  <a:cubicBezTo>
                    <a:pt x="1645" y="73"/>
                    <a:pt x="1645" y="72"/>
                    <a:pt x="1644" y="72"/>
                  </a:cubicBezTo>
                  <a:cubicBezTo>
                    <a:pt x="1644" y="72"/>
                    <a:pt x="1644" y="72"/>
                    <a:pt x="1644" y="72"/>
                  </a:cubicBezTo>
                  <a:cubicBezTo>
                    <a:pt x="1643" y="72"/>
                    <a:pt x="1643" y="72"/>
                    <a:pt x="1643" y="72"/>
                  </a:cubicBezTo>
                  <a:cubicBezTo>
                    <a:pt x="1643" y="72"/>
                    <a:pt x="1643" y="72"/>
                    <a:pt x="1643" y="72"/>
                  </a:cubicBezTo>
                  <a:cubicBezTo>
                    <a:pt x="1643" y="72"/>
                    <a:pt x="1643" y="72"/>
                    <a:pt x="1643" y="72"/>
                  </a:cubicBezTo>
                  <a:cubicBezTo>
                    <a:pt x="1643" y="72"/>
                    <a:pt x="1643" y="72"/>
                    <a:pt x="1643" y="72"/>
                  </a:cubicBezTo>
                  <a:cubicBezTo>
                    <a:pt x="1642" y="72"/>
                    <a:pt x="1642" y="72"/>
                    <a:pt x="1642" y="72"/>
                  </a:cubicBezTo>
                  <a:cubicBezTo>
                    <a:pt x="1642" y="72"/>
                    <a:pt x="1642" y="72"/>
                    <a:pt x="1642" y="72"/>
                  </a:cubicBezTo>
                  <a:cubicBezTo>
                    <a:pt x="1642" y="72"/>
                    <a:pt x="1642" y="72"/>
                    <a:pt x="1642" y="72"/>
                  </a:cubicBezTo>
                  <a:cubicBezTo>
                    <a:pt x="1641" y="73"/>
                    <a:pt x="1641" y="73"/>
                    <a:pt x="1641" y="73"/>
                  </a:cubicBezTo>
                  <a:cubicBezTo>
                    <a:pt x="1641" y="74"/>
                    <a:pt x="1641" y="74"/>
                    <a:pt x="1641" y="74"/>
                  </a:cubicBezTo>
                  <a:cubicBezTo>
                    <a:pt x="1641" y="74"/>
                    <a:pt x="1641" y="74"/>
                    <a:pt x="1641" y="74"/>
                  </a:cubicBezTo>
                  <a:cubicBezTo>
                    <a:pt x="1640" y="74"/>
                    <a:pt x="1640" y="74"/>
                    <a:pt x="1640" y="74"/>
                  </a:cubicBezTo>
                  <a:cubicBezTo>
                    <a:pt x="1640" y="74"/>
                    <a:pt x="1640" y="74"/>
                    <a:pt x="1640" y="74"/>
                  </a:cubicBezTo>
                  <a:cubicBezTo>
                    <a:pt x="1639" y="74"/>
                    <a:pt x="1639" y="74"/>
                    <a:pt x="1639" y="74"/>
                  </a:cubicBezTo>
                  <a:cubicBezTo>
                    <a:pt x="1639" y="74"/>
                    <a:pt x="1639" y="74"/>
                    <a:pt x="1639" y="74"/>
                  </a:cubicBezTo>
                  <a:cubicBezTo>
                    <a:pt x="1639" y="74"/>
                    <a:pt x="1639" y="74"/>
                    <a:pt x="1639" y="74"/>
                  </a:cubicBezTo>
                  <a:cubicBezTo>
                    <a:pt x="1639" y="74"/>
                    <a:pt x="1639" y="74"/>
                    <a:pt x="1639" y="74"/>
                  </a:cubicBezTo>
                  <a:cubicBezTo>
                    <a:pt x="1639" y="73"/>
                    <a:pt x="1639" y="73"/>
                    <a:pt x="1639" y="73"/>
                  </a:cubicBezTo>
                  <a:cubicBezTo>
                    <a:pt x="1639" y="73"/>
                    <a:pt x="1639" y="73"/>
                    <a:pt x="1639" y="73"/>
                  </a:cubicBezTo>
                  <a:cubicBezTo>
                    <a:pt x="1639" y="72"/>
                    <a:pt x="1639" y="72"/>
                    <a:pt x="1639" y="72"/>
                  </a:cubicBezTo>
                  <a:cubicBezTo>
                    <a:pt x="1639" y="71"/>
                    <a:pt x="1639" y="71"/>
                    <a:pt x="1639" y="71"/>
                  </a:cubicBezTo>
                  <a:cubicBezTo>
                    <a:pt x="1639" y="70"/>
                    <a:pt x="1639" y="68"/>
                    <a:pt x="1638" y="68"/>
                  </a:cubicBezTo>
                  <a:cubicBezTo>
                    <a:pt x="1637" y="68"/>
                    <a:pt x="1637" y="68"/>
                    <a:pt x="1637" y="68"/>
                  </a:cubicBezTo>
                  <a:cubicBezTo>
                    <a:pt x="1637" y="67"/>
                    <a:pt x="1637" y="67"/>
                    <a:pt x="1637" y="67"/>
                  </a:cubicBezTo>
                  <a:cubicBezTo>
                    <a:pt x="1637" y="66"/>
                    <a:pt x="1637" y="66"/>
                    <a:pt x="1637" y="66"/>
                  </a:cubicBezTo>
                  <a:cubicBezTo>
                    <a:pt x="1637" y="65"/>
                    <a:pt x="1637" y="65"/>
                    <a:pt x="1637" y="65"/>
                  </a:cubicBezTo>
                  <a:cubicBezTo>
                    <a:pt x="1637" y="63"/>
                    <a:pt x="1637" y="64"/>
                    <a:pt x="1637" y="63"/>
                  </a:cubicBezTo>
                  <a:cubicBezTo>
                    <a:pt x="1636" y="62"/>
                    <a:pt x="1636" y="62"/>
                    <a:pt x="1636" y="62"/>
                  </a:cubicBezTo>
                  <a:cubicBezTo>
                    <a:pt x="1636" y="62"/>
                    <a:pt x="1635" y="61"/>
                    <a:pt x="1635" y="61"/>
                  </a:cubicBezTo>
                  <a:cubicBezTo>
                    <a:pt x="1634" y="61"/>
                    <a:pt x="1634" y="61"/>
                    <a:pt x="1634" y="61"/>
                  </a:cubicBezTo>
                  <a:cubicBezTo>
                    <a:pt x="1634" y="61"/>
                    <a:pt x="1634" y="61"/>
                    <a:pt x="1634" y="61"/>
                  </a:cubicBezTo>
                  <a:cubicBezTo>
                    <a:pt x="1634" y="61"/>
                    <a:pt x="1634" y="61"/>
                    <a:pt x="1634" y="61"/>
                  </a:cubicBezTo>
                  <a:cubicBezTo>
                    <a:pt x="1633" y="61"/>
                    <a:pt x="1633" y="61"/>
                    <a:pt x="1633" y="61"/>
                  </a:cubicBezTo>
                  <a:cubicBezTo>
                    <a:pt x="1633" y="61"/>
                    <a:pt x="1633" y="61"/>
                    <a:pt x="1633" y="61"/>
                  </a:cubicBezTo>
                  <a:cubicBezTo>
                    <a:pt x="1633" y="61"/>
                    <a:pt x="1633" y="61"/>
                    <a:pt x="1633" y="61"/>
                  </a:cubicBezTo>
                  <a:cubicBezTo>
                    <a:pt x="1636" y="58"/>
                    <a:pt x="1628" y="59"/>
                    <a:pt x="1628" y="59"/>
                  </a:cubicBezTo>
                  <a:cubicBezTo>
                    <a:pt x="1627" y="59"/>
                    <a:pt x="1627" y="59"/>
                    <a:pt x="1627" y="59"/>
                  </a:cubicBezTo>
                  <a:cubicBezTo>
                    <a:pt x="1627" y="60"/>
                    <a:pt x="1627" y="60"/>
                    <a:pt x="1627" y="60"/>
                  </a:cubicBezTo>
                  <a:cubicBezTo>
                    <a:pt x="1628" y="63"/>
                    <a:pt x="1630" y="59"/>
                    <a:pt x="1634" y="64"/>
                  </a:cubicBezTo>
                  <a:cubicBezTo>
                    <a:pt x="1633" y="64"/>
                    <a:pt x="1633" y="64"/>
                    <a:pt x="1633" y="64"/>
                  </a:cubicBezTo>
                  <a:cubicBezTo>
                    <a:pt x="1633" y="64"/>
                    <a:pt x="1633" y="64"/>
                    <a:pt x="1633" y="64"/>
                  </a:cubicBezTo>
                  <a:cubicBezTo>
                    <a:pt x="1633" y="64"/>
                    <a:pt x="1633" y="64"/>
                    <a:pt x="1633" y="64"/>
                  </a:cubicBezTo>
                  <a:cubicBezTo>
                    <a:pt x="1632" y="63"/>
                    <a:pt x="1632" y="63"/>
                    <a:pt x="1632" y="63"/>
                  </a:cubicBezTo>
                  <a:cubicBezTo>
                    <a:pt x="1631" y="63"/>
                    <a:pt x="1631" y="63"/>
                    <a:pt x="1630" y="64"/>
                  </a:cubicBezTo>
                  <a:cubicBezTo>
                    <a:pt x="1629" y="65"/>
                    <a:pt x="1629" y="65"/>
                    <a:pt x="1629" y="65"/>
                  </a:cubicBezTo>
                  <a:cubicBezTo>
                    <a:pt x="1629" y="66"/>
                    <a:pt x="1629" y="66"/>
                    <a:pt x="1629" y="66"/>
                  </a:cubicBezTo>
                  <a:cubicBezTo>
                    <a:pt x="1629" y="66"/>
                    <a:pt x="1629" y="66"/>
                    <a:pt x="1628" y="66"/>
                  </a:cubicBezTo>
                  <a:cubicBezTo>
                    <a:pt x="1628" y="66"/>
                    <a:pt x="1628" y="66"/>
                    <a:pt x="1628" y="66"/>
                  </a:cubicBezTo>
                  <a:cubicBezTo>
                    <a:pt x="1628" y="67"/>
                    <a:pt x="1628" y="67"/>
                    <a:pt x="1628" y="67"/>
                  </a:cubicBezTo>
                  <a:cubicBezTo>
                    <a:pt x="1628" y="67"/>
                    <a:pt x="1628" y="67"/>
                    <a:pt x="1628" y="67"/>
                  </a:cubicBezTo>
                  <a:cubicBezTo>
                    <a:pt x="1627" y="67"/>
                    <a:pt x="1627" y="67"/>
                    <a:pt x="1627" y="67"/>
                  </a:cubicBezTo>
                  <a:cubicBezTo>
                    <a:pt x="1627" y="67"/>
                    <a:pt x="1627" y="67"/>
                    <a:pt x="1627" y="67"/>
                  </a:cubicBezTo>
                  <a:cubicBezTo>
                    <a:pt x="1626" y="67"/>
                    <a:pt x="1626" y="67"/>
                    <a:pt x="1626" y="67"/>
                  </a:cubicBezTo>
                  <a:cubicBezTo>
                    <a:pt x="1626" y="67"/>
                    <a:pt x="1626" y="67"/>
                    <a:pt x="1626" y="67"/>
                  </a:cubicBezTo>
                  <a:cubicBezTo>
                    <a:pt x="1625" y="66"/>
                    <a:pt x="1625" y="66"/>
                    <a:pt x="1625" y="66"/>
                  </a:cubicBezTo>
                  <a:cubicBezTo>
                    <a:pt x="1625" y="64"/>
                    <a:pt x="1625" y="64"/>
                    <a:pt x="1625" y="64"/>
                  </a:cubicBezTo>
                  <a:cubicBezTo>
                    <a:pt x="1625" y="64"/>
                    <a:pt x="1625" y="64"/>
                    <a:pt x="1625" y="64"/>
                  </a:cubicBezTo>
                  <a:cubicBezTo>
                    <a:pt x="1625" y="63"/>
                    <a:pt x="1625" y="63"/>
                    <a:pt x="1625" y="63"/>
                  </a:cubicBezTo>
                  <a:cubicBezTo>
                    <a:pt x="1624" y="62"/>
                    <a:pt x="1625" y="63"/>
                    <a:pt x="1625" y="62"/>
                  </a:cubicBezTo>
                  <a:cubicBezTo>
                    <a:pt x="1624" y="62"/>
                    <a:pt x="1624" y="62"/>
                    <a:pt x="1624" y="62"/>
                  </a:cubicBezTo>
                  <a:cubicBezTo>
                    <a:pt x="1624" y="62"/>
                    <a:pt x="1624" y="62"/>
                    <a:pt x="1624" y="62"/>
                  </a:cubicBezTo>
                  <a:cubicBezTo>
                    <a:pt x="1624" y="61"/>
                    <a:pt x="1624" y="61"/>
                    <a:pt x="1624" y="61"/>
                  </a:cubicBezTo>
                  <a:cubicBezTo>
                    <a:pt x="1623" y="61"/>
                    <a:pt x="1623" y="61"/>
                    <a:pt x="1623" y="61"/>
                  </a:cubicBezTo>
                  <a:cubicBezTo>
                    <a:pt x="1623" y="59"/>
                    <a:pt x="1623" y="59"/>
                    <a:pt x="1623" y="59"/>
                  </a:cubicBezTo>
                  <a:cubicBezTo>
                    <a:pt x="1624" y="56"/>
                    <a:pt x="1623" y="56"/>
                    <a:pt x="1620" y="54"/>
                  </a:cubicBezTo>
                  <a:cubicBezTo>
                    <a:pt x="1620" y="54"/>
                    <a:pt x="1620" y="54"/>
                    <a:pt x="1620" y="54"/>
                  </a:cubicBezTo>
                  <a:cubicBezTo>
                    <a:pt x="1619" y="54"/>
                    <a:pt x="1619" y="54"/>
                    <a:pt x="1619" y="54"/>
                  </a:cubicBezTo>
                  <a:cubicBezTo>
                    <a:pt x="1618" y="53"/>
                    <a:pt x="1615" y="51"/>
                    <a:pt x="1614" y="51"/>
                  </a:cubicBezTo>
                  <a:cubicBezTo>
                    <a:pt x="1613" y="52"/>
                    <a:pt x="1613" y="52"/>
                    <a:pt x="1613" y="52"/>
                  </a:cubicBezTo>
                  <a:cubicBezTo>
                    <a:pt x="1613" y="52"/>
                    <a:pt x="1613" y="52"/>
                    <a:pt x="1613" y="52"/>
                  </a:cubicBezTo>
                  <a:cubicBezTo>
                    <a:pt x="1613" y="52"/>
                    <a:pt x="1613" y="52"/>
                    <a:pt x="1613" y="52"/>
                  </a:cubicBezTo>
                  <a:cubicBezTo>
                    <a:pt x="1613" y="51"/>
                    <a:pt x="1613" y="51"/>
                    <a:pt x="1613" y="51"/>
                  </a:cubicBezTo>
                  <a:cubicBezTo>
                    <a:pt x="1613" y="51"/>
                    <a:pt x="1613" y="51"/>
                    <a:pt x="1613" y="51"/>
                  </a:cubicBezTo>
                  <a:cubicBezTo>
                    <a:pt x="1612" y="50"/>
                    <a:pt x="1612" y="50"/>
                    <a:pt x="1612" y="50"/>
                  </a:cubicBezTo>
                  <a:cubicBezTo>
                    <a:pt x="1611" y="49"/>
                    <a:pt x="1612" y="49"/>
                    <a:pt x="1609" y="49"/>
                  </a:cubicBezTo>
                  <a:cubicBezTo>
                    <a:pt x="1609" y="49"/>
                    <a:pt x="1609" y="49"/>
                    <a:pt x="1609" y="49"/>
                  </a:cubicBezTo>
                  <a:cubicBezTo>
                    <a:pt x="1609" y="48"/>
                    <a:pt x="1609" y="48"/>
                    <a:pt x="1609" y="48"/>
                  </a:cubicBezTo>
                  <a:cubicBezTo>
                    <a:pt x="1608" y="48"/>
                    <a:pt x="1608" y="47"/>
                    <a:pt x="1607" y="46"/>
                  </a:cubicBezTo>
                  <a:cubicBezTo>
                    <a:pt x="1606" y="46"/>
                    <a:pt x="1606" y="46"/>
                    <a:pt x="1606" y="46"/>
                  </a:cubicBezTo>
                  <a:cubicBezTo>
                    <a:pt x="1606" y="46"/>
                    <a:pt x="1606" y="46"/>
                    <a:pt x="1606" y="46"/>
                  </a:cubicBezTo>
                  <a:cubicBezTo>
                    <a:pt x="1606" y="46"/>
                    <a:pt x="1606" y="46"/>
                    <a:pt x="1606" y="46"/>
                  </a:cubicBezTo>
                  <a:cubicBezTo>
                    <a:pt x="1605" y="46"/>
                    <a:pt x="1605" y="46"/>
                    <a:pt x="1605" y="46"/>
                  </a:cubicBezTo>
                  <a:cubicBezTo>
                    <a:pt x="1605" y="46"/>
                    <a:pt x="1605" y="46"/>
                    <a:pt x="1605" y="46"/>
                  </a:cubicBezTo>
                  <a:cubicBezTo>
                    <a:pt x="1605" y="45"/>
                    <a:pt x="1605" y="45"/>
                    <a:pt x="1605" y="45"/>
                  </a:cubicBezTo>
                  <a:cubicBezTo>
                    <a:pt x="1604" y="45"/>
                    <a:pt x="1604" y="45"/>
                    <a:pt x="1604" y="45"/>
                  </a:cubicBezTo>
                  <a:cubicBezTo>
                    <a:pt x="1604" y="45"/>
                    <a:pt x="1604" y="45"/>
                    <a:pt x="1604" y="45"/>
                  </a:cubicBezTo>
                  <a:cubicBezTo>
                    <a:pt x="1603" y="45"/>
                    <a:pt x="1603" y="45"/>
                    <a:pt x="1603" y="45"/>
                  </a:cubicBezTo>
                  <a:cubicBezTo>
                    <a:pt x="1603" y="45"/>
                    <a:pt x="1603" y="45"/>
                    <a:pt x="1603" y="45"/>
                  </a:cubicBezTo>
                  <a:cubicBezTo>
                    <a:pt x="1602" y="45"/>
                    <a:pt x="1602" y="45"/>
                    <a:pt x="1602" y="45"/>
                  </a:cubicBezTo>
                  <a:cubicBezTo>
                    <a:pt x="1602" y="45"/>
                    <a:pt x="1602" y="45"/>
                    <a:pt x="1602" y="45"/>
                  </a:cubicBezTo>
                  <a:cubicBezTo>
                    <a:pt x="1601" y="45"/>
                    <a:pt x="1601" y="45"/>
                    <a:pt x="1601" y="45"/>
                  </a:cubicBezTo>
                  <a:cubicBezTo>
                    <a:pt x="1601" y="45"/>
                    <a:pt x="1601" y="45"/>
                    <a:pt x="1601" y="45"/>
                  </a:cubicBezTo>
                  <a:cubicBezTo>
                    <a:pt x="1601" y="44"/>
                    <a:pt x="1601" y="44"/>
                    <a:pt x="1601" y="44"/>
                  </a:cubicBezTo>
                  <a:cubicBezTo>
                    <a:pt x="1600" y="43"/>
                    <a:pt x="1600" y="43"/>
                    <a:pt x="1600" y="43"/>
                  </a:cubicBezTo>
                  <a:cubicBezTo>
                    <a:pt x="1600" y="42"/>
                    <a:pt x="1600" y="42"/>
                    <a:pt x="1600" y="42"/>
                  </a:cubicBezTo>
                  <a:cubicBezTo>
                    <a:pt x="1600" y="42"/>
                    <a:pt x="1600" y="42"/>
                    <a:pt x="1600" y="42"/>
                  </a:cubicBezTo>
                  <a:cubicBezTo>
                    <a:pt x="1599" y="42"/>
                    <a:pt x="1599" y="42"/>
                    <a:pt x="1599" y="42"/>
                  </a:cubicBezTo>
                  <a:cubicBezTo>
                    <a:pt x="1598" y="42"/>
                    <a:pt x="1598" y="42"/>
                    <a:pt x="1598" y="42"/>
                  </a:cubicBezTo>
                  <a:cubicBezTo>
                    <a:pt x="1598" y="42"/>
                    <a:pt x="1598" y="42"/>
                    <a:pt x="1598" y="42"/>
                  </a:cubicBezTo>
                  <a:cubicBezTo>
                    <a:pt x="1597" y="42"/>
                    <a:pt x="1597" y="42"/>
                    <a:pt x="1597" y="42"/>
                  </a:cubicBezTo>
                  <a:cubicBezTo>
                    <a:pt x="1597" y="42"/>
                    <a:pt x="1597" y="42"/>
                    <a:pt x="1597" y="42"/>
                  </a:cubicBezTo>
                  <a:cubicBezTo>
                    <a:pt x="1596" y="42"/>
                    <a:pt x="1596" y="42"/>
                    <a:pt x="1596" y="42"/>
                  </a:cubicBezTo>
                  <a:cubicBezTo>
                    <a:pt x="1595" y="42"/>
                    <a:pt x="1595" y="42"/>
                    <a:pt x="1595" y="42"/>
                  </a:cubicBezTo>
                  <a:cubicBezTo>
                    <a:pt x="1595" y="41"/>
                    <a:pt x="1595" y="41"/>
                    <a:pt x="1595" y="41"/>
                  </a:cubicBezTo>
                  <a:cubicBezTo>
                    <a:pt x="1594" y="41"/>
                    <a:pt x="1594" y="41"/>
                    <a:pt x="1594" y="41"/>
                  </a:cubicBezTo>
                  <a:cubicBezTo>
                    <a:pt x="1594" y="41"/>
                    <a:pt x="1594" y="41"/>
                    <a:pt x="1594" y="41"/>
                  </a:cubicBezTo>
                  <a:cubicBezTo>
                    <a:pt x="1593" y="41"/>
                    <a:pt x="1593" y="41"/>
                    <a:pt x="1593" y="41"/>
                  </a:cubicBezTo>
                  <a:cubicBezTo>
                    <a:pt x="1593" y="42"/>
                    <a:pt x="1593" y="42"/>
                    <a:pt x="1593" y="42"/>
                  </a:cubicBezTo>
                  <a:cubicBezTo>
                    <a:pt x="1593" y="42"/>
                    <a:pt x="1593" y="42"/>
                    <a:pt x="1593" y="42"/>
                  </a:cubicBezTo>
                  <a:cubicBezTo>
                    <a:pt x="1593" y="42"/>
                    <a:pt x="1593" y="42"/>
                    <a:pt x="1593" y="42"/>
                  </a:cubicBezTo>
                  <a:cubicBezTo>
                    <a:pt x="1593" y="42"/>
                    <a:pt x="1593" y="42"/>
                    <a:pt x="1593" y="42"/>
                  </a:cubicBezTo>
                  <a:cubicBezTo>
                    <a:pt x="1592" y="40"/>
                    <a:pt x="1592" y="40"/>
                    <a:pt x="1592" y="40"/>
                  </a:cubicBezTo>
                  <a:cubicBezTo>
                    <a:pt x="1592" y="40"/>
                    <a:pt x="1592" y="40"/>
                    <a:pt x="1592" y="40"/>
                  </a:cubicBezTo>
                  <a:cubicBezTo>
                    <a:pt x="1592" y="39"/>
                    <a:pt x="1592" y="39"/>
                    <a:pt x="1592" y="39"/>
                  </a:cubicBezTo>
                  <a:cubicBezTo>
                    <a:pt x="1591" y="39"/>
                    <a:pt x="1591" y="39"/>
                    <a:pt x="1591" y="39"/>
                  </a:cubicBezTo>
                  <a:cubicBezTo>
                    <a:pt x="1589" y="39"/>
                    <a:pt x="1590" y="39"/>
                    <a:pt x="1588" y="40"/>
                  </a:cubicBezTo>
                  <a:cubicBezTo>
                    <a:pt x="1588" y="40"/>
                    <a:pt x="1588" y="40"/>
                    <a:pt x="1588" y="40"/>
                  </a:cubicBezTo>
                  <a:cubicBezTo>
                    <a:pt x="1587" y="40"/>
                    <a:pt x="1587" y="40"/>
                    <a:pt x="1587" y="40"/>
                  </a:cubicBezTo>
                  <a:cubicBezTo>
                    <a:pt x="1587" y="40"/>
                    <a:pt x="1587" y="40"/>
                    <a:pt x="1587" y="40"/>
                  </a:cubicBezTo>
                  <a:cubicBezTo>
                    <a:pt x="1586" y="40"/>
                    <a:pt x="1586" y="40"/>
                    <a:pt x="1586" y="40"/>
                  </a:cubicBezTo>
                  <a:cubicBezTo>
                    <a:pt x="1586" y="40"/>
                    <a:pt x="1586" y="40"/>
                    <a:pt x="1586" y="40"/>
                  </a:cubicBezTo>
                  <a:cubicBezTo>
                    <a:pt x="1585" y="40"/>
                    <a:pt x="1585" y="40"/>
                    <a:pt x="1585" y="40"/>
                  </a:cubicBezTo>
                  <a:cubicBezTo>
                    <a:pt x="1585" y="41"/>
                    <a:pt x="1585" y="41"/>
                    <a:pt x="1585" y="41"/>
                  </a:cubicBezTo>
                  <a:cubicBezTo>
                    <a:pt x="1584" y="40"/>
                    <a:pt x="1584" y="40"/>
                    <a:pt x="1584" y="40"/>
                  </a:cubicBezTo>
                  <a:cubicBezTo>
                    <a:pt x="1584" y="40"/>
                    <a:pt x="1584" y="40"/>
                    <a:pt x="1584" y="40"/>
                  </a:cubicBezTo>
                  <a:cubicBezTo>
                    <a:pt x="1583" y="40"/>
                    <a:pt x="1583" y="40"/>
                    <a:pt x="1583" y="40"/>
                  </a:cubicBezTo>
                  <a:cubicBezTo>
                    <a:pt x="1583" y="40"/>
                    <a:pt x="1583" y="40"/>
                    <a:pt x="1583" y="40"/>
                  </a:cubicBezTo>
                  <a:cubicBezTo>
                    <a:pt x="1583" y="39"/>
                    <a:pt x="1583" y="39"/>
                    <a:pt x="1583" y="39"/>
                  </a:cubicBezTo>
                  <a:cubicBezTo>
                    <a:pt x="1582" y="39"/>
                    <a:pt x="1582" y="39"/>
                    <a:pt x="1582" y="39"/>
                  </a:cubicBezTo>
                  <a:cubicBezTo>
                    <a:pt x="1582" y="39"/>
                    <a:pt x="1582" y="39"/>
                    <a:pt x="1582" y="39"/>
                  </a:cubicBezTo>
                  <a:cubicBezTo>
                    <a:pt x="1581" y="39"/>
                    <a:pt x="1581" y="39"/>
                    <a:pt x="1581" y="39"/>
                  </a:cubicBezTo>
                  <a:cubicBezTo>
                    <a:pt x="1581" y="39"/>
                    <a:pt x="1581" y="39"/>
                    <a:pt x="1581" y="39"/>
                  </a:cubicBezTo>
                  <a:cubicBezTo>
                    <a:pt x="1580" y="39"/>
                    <a:pt x="1580" y="39"/>
                    <a:pt x="1580" y="39"/>
                  </a:cubicBezTo>
                  <a:cubicBezTo>
                    <a:pt x="1579" y="40"/>
                    <a:pt x="1577" y="40"/>
                    <a:pt x="1576" y="40"/>
                  </a:cubicBezTo>
                  <a:cubicBezTo>
                    <a:pt x="1575" y="40"/>
                    <a:pt x="1575" y="40"/>
                    <a:pt x="1575" y="40"/>
                  </a:cubicBezTo>
                  <a:cubicBezTo>
                    <a:pt x="1575" y="41"/>
                    <a:pt x="1575" y="41"/>
                    <a:pt x="1575" y="41"/>
                  </a:cubicBezTo>
                  <a:cubicBezTo>
                    <a:pt x="1574" y="41"/>
                    <a:pt x="1573" y="42"/>
                    <a:pt x="1571" y="42"/>
                  </a:cubicBezTo>
                  <a:cubicBezTo>
                    <a:pt x="1571" y="42"/>
                    <a:pt x="1571" y="42"/>
                    <a:pt x="1571" y="42"/>
                  </a:cubicBezTo>
                  <a:cubicBezTo>
                    <a:pt x="1571" y="42"/>
                    <a:pt x="1571" y="42"/>
                    <a:pt x="1571" y="42"/>
                  </a:cubicBezTo>
                  <a:cubicBezTo>
                    <a:pt x="1571" y="42"/>
                    <a:pt x="1571" y="42"/>
                    <a:pt x="1571" y="42"/>
                  </a:cubicBezTo>
                  <a:cubicBezTo>
                    <a:pt x="1571" y="42"/>
                    <a:pt x="1571" y="42"/>
                    <a:pt x="1571" y="42"/>
                  </a:cubicBezTo>
                  <a:cubicBezTo>
                    <a:pt x="1570" y="42"/>
                    <a:pt x="1570" y="42"/>
                    <a:pt x="1570" y="42"/>
                  </a:cubicBezTo>
                  <a:cubicBezTo>
                    <a:pt x="1570" y="41"/>
                    <a:pt x="1570" y="41"/>
                    <a:pt x="1570" y="41"/>
                  </a:cubicBezTo>
                  <a:cubicBezTo>
                    <a:pt x="1567" y="42"/>
                    <a:pt x="1569" y="41"/>
                    <a:pt x="1566" y="41"/>
                  </a:cubicBezTo>
                  <a:cubicBezTo>
                    <a:pt x="1565" y="41"/>
                    <a:pt x="1565" y="41"/>
                    <a:pt x="1565" y="41"/>
                  </a:cubicBezTo>
                  <a:cubicBezTo>
                    <a:pt x="1565" y="41"/>
                    <a:pt x="1565" y="41"/>
                    <a:pt x="1565" y="41"/>
                  </a:cubicBezTo>
                  <a:cubicBezTo>
                    <a:pt x="1564" y="41"/>
                    <a:pt x="1564" y="41"/>
                    <a:pt x="1564" y="41"/>
                  </a:cubicBezTo>
                  <a:cubicBezTo>
                    <a:pt x="1564" y="41"/>
                    <a:pt x="1564" y="41"/>
                    <a:pt x="1564" y="41"/>
                  </a:cubicBezTo>
                  <a:cubicBezTo>
                    <a:pt x="1564" y="40"/>
                    <a:pt x="1564" y="40"/>
                    <a:pt x="1564" y="40"/>
                  </a:cubicBezTo>
                  <a:cubicBezTo>
                    <a:pt x="1563" y="40"/>
                    <a:pt x="1563" y="40"/>
                    <a:pt x="1563" y="40"/>
                  </a:cubicBezTo>
                  <a:cubicBezTo>
                    <a:pt x="1563" y="40"/>
                    <a:pt x="1563" y="40"/>
                    <a:pt x="1563" y="40"/>
                  </a:cubicBezTo>
                  <a:cubicBezTo>
                    <a:pt x="1562" y="40"/>
                    <a:pt x="1562" y="40"/>
                    <a:pt x="1562" y="40"/>
                  </a:cubicBezTo>
                  <a:cubicBezTo>
                    <a:pt x="1562" y="40"/>
                    <a:pt x="1562" y="40"/>
                    <a:pt x="1562" y="40"/>
                  </a:cubicBezTo>
                  <a:cubicBezTo>
                    <a:pt x="1561" y="40"/>
                    <a:pt x="1561" y="40"/>
                    <a:pt x="1561" y="40"/>
                  </a:cubicBezTo>
                  <a:cubicBezTo>
                    <a:pt x="1561" y="40"/>
                    <a:pt x="1561" y="40"/>
                    <a:pt x="1561" y="40"/>
                  </a:cubicBezTo>
                  <a:cubicBezTo>
                    <a:pt x="1560" y="40"/>
                    <a:pt x="1560" y="40"/>
                    <a:pt x="1560" y="40"/>
                  </a:cubicBezTo>
                  <a:cubicBezTo>
                    <a:pt x="1560" y="40"/>
                    <a:pt x="1560" y="40"/>
                    <a:pt x="1560" y="40"/>
                  </a:cubicBezTo>
                  <a:cubicBezTo>
                    <a:pt x="1559" y="40"/>
                    <a:pt x="1559" y="40"/>
                    <a:pt x="1559" y="40"/>
                  </a:cubicBezTo>
                  <a:cubicBezTo>
                    <a:pt x="1559" y="40"/>
                    <a:pt x="1559" y="40"/>
                    <a:pt x="1559" y="40"/>
                  </a:cubicBezTo>
                  <a:cubicBezTo>
                    <a:pt x="1559" y="39"/>
                    <a:pt x="1559" y="39"/>
                    <a:pt x="1559" y="39"/>
                  </a:cubicBezTo>
                  <a:cubicBezTo>
                    <a:pt x="1559" y="39"/>
                    <a:pt x="1559" y="39"/>
                    <a:pt x="1559" y="39"/>
                  </a:cubicBezTo>
                  <a:cubicBezTo>
                    <a:pt x="1557" y="40"/>
                    <a:pt x="1556" y="40"/>
                    <a:pt x="1554" y="41"/>
                  </a:cubicBezTo>
                  <a:cubicBezTo>
                    <a:pt x="1554" y="40"/>
                    <a:pt x="1554" y="40"/>
                    <a:pt x="1554" y="40"/>
                  </a:cubicBezTo>
                  <a:cubicBezTo>
                    <a:pt x="1554" y="40"/>
                    <a:pt x="1554" y="40"/>
                    <a:pt x="1554" y="40"/>
                  </a:cubicBezTo>
                  <a:cubicBezTo>
                    <a:pt x="1552" y="40"/>
                    <a:pt x="1552" y="40"/>
                    <a:pt x="1551" y="41"/>
                  </a:cubicBezTo>
                  <a:cubicBezTo>
                    <a:pt x="1550" y="41"/>
                    <a:pt x="1550" y="41"/>
                    <a:pt x="1550" y="41"/>
                  </a:cubicBezTo>
                  <a:cubicBezTo>
                    <a:pt x="1550" y="41"/>
                    <a:pt x="1550" y="41"/>
                    <a:pt x="1550" y="41"/>
                  </a:cubicBezTo>
                  <a:cubicBezTo>
                    <a:pt x="1549" y="41"/>
                    <a:pt x="1549" y="41"/>
                    <a:pt x="1549" y="41"/>
                  </a:cubicBezTo>
                  <a:cubicBezTo>
                    <a:pt x="1549" y="41"/>
                    <a:pt x="1549" y="41"/>
                    <a:pt x="1549" y="41"/>
                  </a:cubicBezTo>
                  <a:cubicBezTo>
                    <a:pt x="1548" y="41"/>
                    <a:pt x="1548" y="41"/>
                    <a:pt x="1548" y="41"/>
                  </a:cubicBezTo>
                  <a:cubicBezTo>
                    <a:pt x="1548" y="41"/>
                    <a:pt x="1548" y="41"/>
                    <a:pt x="1548" y="41"/>
                  </a:cubicBezTo>
                  <a:cubicBezTo>
                    <a:pt x="1547" y="41"/>
                    <a:pt x="1547" y="41"/>
                    <a:pt x="1547" y="41"/>
                  </a:cubicBezTo>
                  <a:cubicBezTo>
                    <a:pt x="1546" y="41"/>
                    <a:pt x="1546" y="41"/>
                    <a:pt x="1546" y="41"/>
                  </a:cubicBezTo>
                  <a:cubicBezTo>
                    <a:pt x="1544" y="41"/>
                    <a:pt x="1543" y="41"/>
                    <a:pt x="1541" y="41"/>
                  </a:cubicBezTo>
                  <a:cubicBezTo>
                    <a:pt x="1540" y="41"/>
                    <a:pt x="1540" y="41"/>
                    <a:pt x="1540" y="41"/>
                  </a:cubicBezTo>
                  <a:cubicBezTo>
                    <a:pt x="1540" y="41"/>
                    <a:pt x="1540" y="41"/>
                    <a:pt x="1540" y="41"/>
                  </a:cubicBezTo>
                  <a:cubicBezTo>
                    <a:pt x="1538" y="42"/>
                    <a:pt x="1539" y="39"/>
                    <a:pt x="1536" y="40"/>
                  </a:cubicBezTo>
                  <a:cubicBezTo>
                    <a:pt x="1535" y="40"/>
                    <a:pt x="1535" y="40"/>
                    <a:pt x="1535" y="40"/>
                  </a:cubicBezTo>
                  <a:cubicBezTo>
                    <a:pt x="1535" y="40"/>
                    <a:pt x="1535" y="40"/>
                    <a:pt x="1535" y="40"/>
                  </a:cubicBezTo>
                  <a:cubicBezTo>
                    <a:pt x="1534" y="40"/>
                    <a:pt x="1534" y="40"/>
                    <a:pt x="1534" y="40"/>
                  </a:cubicBezTo>
                  <a:cubicBezTo>
                    <a:pt x="1534" y="40"/>
                    <a:pt x="1534" y="40"/>
                    <a:pt x="1534" y="40"/>
                  </a:cubicBezTo>
                  <a:cubicBezTo>
                    <a:pt x="1533" y="40"/>
                    <a:pt x="1533" y="40"/>
                    <a:pt x="1533" y="40"/>
                  </a:cubicBezTo>
                  <a:cubicBezTo>
                    <a:pt x="1533" y="40"/>
                    <a:pt x="1533" y="40"/>
                    <a:pt x="1533" y="40"/>
                  </a:cubicBezTo>
                  <a:cubicBezTo>
                    <a:pt x="1531" y="41"/>
                    <a:pt x="1531" y="41"/>
                    <a:pt x="1531" y="41"/>
                  </a:cubicBezTo>
                  <a:cubicBezTo>
                    <a:pt x="1531" y="41"/>
                    <a:pt x="1531" y="41"/>
                    <a:pt x="1531" y="41"/>
                  </a:cubicBezTo>
                  <a:cubicBezTo>
                    <a:pt x="1531" y="42"/>
                    <a:pt x="1531" y="42"/>
                    <a:pt x="1531" y="42"/>
                  </a:cubicBezTo>
                  <a:cubicBezTo>
                    <a:pt x="1532" y="43"/>
                    <a:pt x="1532" y="43"/>
                    <a:pt x="1532" y="43"/>
                  </a:cubicBezTo>
                  <a:cubicBezTo>
                    <a:pt x="1532" y="44"/>
                    <a:pt x="1532" y="44"/>
                    <a:pt x="1532" y="44"/>
                  </a:cubicBezTo>
                  <a:cubicBezTo>
                    <a:pt x="1532" y="44"/>
                    <a:pt x="1532" y="44"/>
                    <a:pt x="1532" y="44"/>
                  </a:cubicBezTo>
                  <a:cubicBezTo>
                    <a:pt x="1532" y="45"/>
                    <a:pt x="1532" y="45"/>
                    <a:pt x="1532" y="45"/>
                  </a:cubicBezTo>
                  <a:cubicBezTo>
                    <a:pt x="1532" y="45"/>
                    <a:pt x="1532" y="45"/>
                    <a:pt x="1532" y="45"/>
                  </a:cubicBezTo>
                  <a:cubicBezTo>
                    <a:pt x="1531" y="45"/>
                    <a:pt x="1531" y="45"/>
                    <a:pt x="1531" y="45"/>
                  </a:cubicBezTo>
                  <a:cubicBezTo>
                    <a:pt x="1531" y="46"/>
                    <a:pt x="1531" y="46"/>
                    <a:pt x="1531" y="46"/>
                  </a:cubicBezTo>
                  <a:cubicBezTo>
                    <a:pt x="1530" y="47"/>
                    <a:pt x="1530" y="48"/>
                    <a:pt x="1528" y="48"/>
                  </a:cubicBezTo>
                  <a:cubicBezTo>
                    <a:pt x="1528" y="48"/>
                    <a:pt x="1528" y="48"/>
                    <a:pt x="1528" y="48"/>
                  </a:cubicBezTo>
                  <a:cubicBezTo>
                    <a:pt x="1528" y="49"/>
                    <a:pt x="1528" y="49"/>
                    <a:pt x="1528" y="49"/>
                  </a:cubicBezTo>
                  <a:cubicBezTo>
                    <a:pt x="1527" y="49"/>
                    <a:pt x="1527" y="49"/>
                    <a:pt x="1527" y="49"/>
                  </a:cubicBezTo>
                  <a:cubicBezTo>
                    <a:pt x="1527" y="49"/>
                    <a:pt x="1527" y="49"/>
                    <a:pt x="1527" y="49"/>
                  </a:cubicBezTo>
                  <a:cubicBezTo>
                    <a:pt x="1526" y="49"/>
                    <a:pt x="1526" y="49"/>
                    <a:pt x="1526" y="49"/>
                  </a:cubicBezTo>
                  <a:cubicBezTo>
                    <a:pt x="1521" y="50"/>
                    <a:pt x="1523" y="47"/>
                    <a:pt x="1514" y="49"/>
                  </a:cubicBezTo>
                  <a:cubicBezTo>
                    <a:pt x="1514" y="49"/>
                    <a:pt x="1514" y="49"/>
                    <a:pt x="1514" y="49"/>
                  </a:cubicBezTo>
                  <a:cubicBezTo>
                    <a:pt x="1514" y="49"/>
                    <a:pt x="1514" y="49"/>
                    <a:pt x="1514" y="49"/>
                  </a:cubicBezTo>
                  <a:cubicBezTo>
                    <a:pt x="1514" y="49"/>
                    <a:pt x="1514" y="49"/>
                    <a:pt x="1514" y="49"/>
                  </a:cubicBezTo>
                  <a:cubicBezTo>
                    <a:pt x="1512" y="50"/>
                    <a:pt x="1511" y="49"/>
                    <a:pt x="1510" y="50"/>
                  </a:cubicBezTo>
                  <a:cubicBezTo>
                    <a:pt x="1510" y="51"/>
                    <a:pt x="1510" y="51"/>
                    <a:pt x="1510" y="51"/>
                  </a:cubicBezTo>
                  <a:cubicBezTo>
                    <a:pt x="1509" y="51"/>
                    <a:pt x="1509" y="51"/>
                    <a:pt x="1509" y="51"/>
                  </a:cubicBezTo>
                  <a:cubicBezTo>
                    <a:pt x="1507" y="50"/>
                    <a:pt x="1509" y="50"/>
                    <a:pt x="1505" y="50"/>
                  </a:cubicBezTo>
                  <a:cubicBezTo>
                    <a:pt x="1504" y="50"/>
                    <a:pt x="1504" y="50"/>
                    <a:pt x="1504" y="50"/>
                  </a:cubicBezTo>
                  <a:cubicBezTo>
                    <a:pt x="1504" y="50"/>
                    <a:pt x="1504" y="50"/>
                    <a:pt x="1504" y="50"/>
                  </a:cubicBezTo>
                  <a:cubicBezTo>
                    <a:pt x="1503" y="49"/>
                    <a:pt x="1503" y="49"/>
                    <a:pt x="1503" y="49"/>
                  </a:cubicBezTo>
                  <a:cubicBezTo>
                    <a:pt x="1503" y="49"/>
                    <a:pt x="1503" y="49"/>
                    <a:pt x="1503" y="49"/>
                  </a:cubicBezTo>
                  <a:cubicBezTo>
                    <a:pt x="1501" y="48"/>
                    <a:pt x="1501" y="48"/>
                    <a:pt x="1501" y="48"/>
                  </a:cubicBezTo>
                  <a:cubicBezTo>
                    <a:pt x="1522" y="33"/>
                    <a:pt x="1522" y="33"/>
                    <a:pt x="1522" y="33"/>
                  </a:cubicBezTo>
                  <a:cubicBezTo>
                    <a:pt x="1522" y="33"/>
                    <a:pt x="1522" y="33"/>
                    <a:pt x="1522" y="33"/>
                  </a:cubicBezTo>
                  <a:cubicBezTo>
                    <a:pt x="1522" y="33"/>
                    <a:pt x="1522" y="33"/>
                    <a:pt x="1522" y="33"/>
                  </a:cubicBezTo>
                  <a:cubicBezTo>
                    <a:pt x="1522" y="33"/>
                    <a:pt x="1522" y="33"/>
                    <a:pt x="1522" y="33"/>
                  </a:cubicBezTo>
                  <a:cubicBezTo>
                    <a:pt x="1522" y="32"/>
                    <a:pt x="1522" y="32"/>
                    <a:pt x="1522" y="32"/>
                  </a:cubicBezTo>
                  <a:cubicBezTo>
                    <a:pt x="1521" y="32"/>
                    <a:pt x="1521" y="32"/>
                    <a:pt x="1521" y="32"/>
                  </a:cubicBezTo>
                  <a:cubicBezTo>
                    <a:pt x="1521" y="32"/>
                    <a:pt x="1521" y="32"/>
                    <a:pt x="1521" y="32"/>
                  </a:cubicBezTo>
                  <a:cubicBezTo>
                    <a:pt x="1520" y="32"/>
                    <a:pt x="1520" y="32"/>
                    <a:pt x="1520" y="32"/>
                  </a:cubicBezTo>
                  <a:cubicBezTo>
                    <a:pt x="1520" y="32"/>
                    <a:pt x="1520" y="32"/>
                    <a:pt x="1520" y="32"/>
                  </a:cubicBezTo>
                  <a:cubicBezTo>
                    <a:pt x="1519" y="31"/>
                    <a:pt x="1519" y="31"/>
                    <a:pt x="1519" y="31"/>
                  </a:cubicBezTo>
                  <a:cubicBezTo>
                    <a:pt x="1518" y="29"/>
                    <a:pt x="1518" y="29"/>
                    <a:pt x="1515" y="29"/>
                  </a:cubicBezTo>
                  <a:cubicBezTo>
                    <a:pt x="1515" y="29"/>
                    <a:pt x="1515" y="29"/>
                    <a:pt x="1515" y="29"/>
                  </a:cubicBezTo>
                  <a:cubicBezTo>
                    <a:pt x="1514" y="29"/>
                    <a:pt x="1514" y="29"/>
                    <a:pt x="1514" y="29"/>
                  </a:cubicBezTo>
                  <a:cubicBezTo>
                    <a:pt x="1514" y="29"/>
                    <a:pt x="1514" y="29"/>
                    <a:pt x="1514" y="29"/>
                  </a:cubicBezTo>
                  <a:cubicBezTo>
                    <a:pt x="1514" y="29"/>
                    <a:pt x="1514" y="29"/>
                    <a:pt x="1514" y="29"/>
                  </a:cubicBezTo>
                  <a:cubicBezTo>
                    <a:pt x="1513" y="29"/>
                    <a:pt x="1512" y="28"/>
                    <a:pt x="1511" y="28"/>
                  </a:cubicBezTo>
                  <a:cubicBezTo>
                    <a:pt x="1511" y="28"/>
                    <a:pt x="1511" y="28"/>
                    <a:pt x="1511" y="28"/>
                  </a:cubicBezTo>
                  <a:cubicBezTo>
                    <a:pt x="1510" y="28"/>
                    <a:pt x="1510" y="28"/>
                    <a:pt x="1510" y="28"/>
                  </a:cubicBezTo>
                  <a:cubicBezTo>
                    <a:pt x="1508" y="28"/>
                    <a:pt x="1509" y="28"/>
                    <a:pt x="1508" y="28"/>
                  </a:cubicBezTo>
                  <a:cubicBezTo>
                    <a:pt x="1507" y="28"/>
                    <a:pt x="1507" y="28"/>
                    <a:pt x="1507" y="28"/>
                  </a:cubicBezTo>
                  <a:cubicBezTo>
                    <a:pt x="1506" y="28"/>
                    <a:pt x="1506" y="28"/>
                    <a:pt x="1506" y="28"/>
                  </a:cubicBezTo>
                  <a:cubicBezTo>
                    <a:pt x="1506" y="29"/>
                    <a:pt x="1506" y="29"/>
                    <a:pt x="1506" y="29"/>
                  </a:cubicBezTo>
                  <a:cubicBezTo>
                    <a:pt x="1507" y="29"/>
                    <a:pt x="1507" y="29"/>
                    <a:pt x="1507" y="29"/>
                  </a:cubicBezTo>
                  <a:cubicBezTo>
                    <a:pt x="1508" y="29"/>
                    <a:pt x="1508" y="29"/>
                    <a:pt x="1508" y="29"/>
                  </a:cubicBezTo>
                  <a:cubicBezTo>
                    <a:pt x="1508" y="29"/>
                    <a:pt x="1508" y="29"/>
                    <a:pt x="1508" y="29"/>
                  </a:cubicBezTo>
                  <a:cubicBezTo>
                    <a:pt x="1508" y="30"/>
                    <a:pt x="1508" y="30"/>
                    <a:pt x="1508" y="30"/>
                  </a:cubicBezTo>
                  <a:cubicBezTo>
                    <a:pt x="1508" y="30"/>
                    <a:pt x="1508" y="30"/>
                    <a:pt x="1508" y="30"/>
                  </a:cubicBezTo>
                  <a:cubicBezTo>
                    <a:pt x="1508" y="30"/>
                    <a:pt x="1508" y="30"/>
                    <a:pt x="1508" y="30"/>
                  </a:cubicBezTo>
                  <a:cubicBezTo>
                    <a:pt x="1508" y="30"/>
                    <a:pt x="1508" y="30"/>
                    <a:pt x="1508" y="30"/>
                  </a:cubicBezTo>
                  <a:cubicBezTo>
                    <a:pt x="1508" y="30"/>
                    <a:pt x="1508" y="30"/>
                    <a:pt x="1508" y="30"/>
                  </a:cubicBezTo>
                  <a:cubicBezTo>
                    <a:pt x="1507" y="30"/>
                    <a:pt x="1507" y="30"/>
                    <a:pt x="1507" y="30"/>
                  </a:cubicBezTo>
                  <a:cubicBezTo>
                    <a:pt x="1506" y="30"/>
                    <a:pt x="1506" y="30"/>
                    <a:pt x="1506" y="30"/>
                  </a:cubicBezTo>
                  <a:cubicBezTo>
                    <a:pt x="1505" y="29"/>
                    <a:pt x="1503" y="28"/>
                    <a:pt x="1501" y="28"/>
                  </a:cubicBezTo>
                  <a:cubicBezTo>
                    <a:pt x="1500" y="28"/>
                    <a:pt x="1500" y="28"/>
                    <a:pt x="1500" y="28"/>
                  </a:cubicBezTo>
                  <a:cubicBezTo>
                    <a:pt x="1500" y="28"/>
                    <a:pt x="1500" y="28"/>
                    <a:pt x="1500" y="28"/>
                  </a:cubicBezTo>
                  <a:cubicBezTo>
                    <a:pt x="1499" y="27"/>
                    <a:pt x="1499" y="27"/>
                    <a:pt x="1499" y="27"/>
                  </a:cubicBezTo>
                  <a:cubicBezTo>
                    <a:pt x="1498" y="27"/>
                    <a:pt x="1498" y="27"/>
                    <a:pt x="1498" y="27"/>
                  </a:cubicBezTo>
                  <a:cubicBezTo>
                    <a:pt x="1498" y="27"/>
                    <a:pt x="1498" y="27"/>
                    <a:pt x="1498" y="27"/>
                  </a:cubicBezTo>
                  <a:cubicBezTo>
                    <a:pt x="1497" y="27"/>
                    <a:pt x="1497" y="27"/>
                    <a:pt x="1497" y="27"/>
                  </a:cubicBezTo>
                  <a:cubicBezTo>
                    <a:pt x="1497" y="27"/>
                    <a:pt x="1497" y="27"/>
                    <a:pt x="1497" y="27"/>
                  </a:cubicBezTo>
                  <a:cubicBezTo>
                    <a:pt x="1496" y="28"/>
                    <a:pt x="1496" y="28"/>
                    <a:pt x="1496" y="28"/>
                  </a:cubicBezTo>
                  <a:cubicBezTo>
                    <a:pt x="1496" y="28"/>
                    <a:pt x="1496" y="28"/>
                    <a:pt x="1496" y="28"/>
                  </a:cubicBezTo>
                  <a:cubicBezTo>
                    <a:pt x="1496" y="28"/>
                    <a:pt x="1496" y="28"/>
                    <a:pt x="1496" y="28"/>
                  </a:cubicBezTo>
                  <a:cubicBezTo>
                    <a:pt x="1495" y="28"/>
                    <a:pt x="1495" y="28"/>
                    <a:pt x="1495" y="28"/>
                  </a:cubicBezTo>
                  <a:cubicBezTo>
                    <a:pt x="1494" y="29"/>
                    <a:pt x="1493" y="29"/>
                    <a:pt x="1492" y="30"/>
                  </a:cubicBezTo>
                  <a:cubicBezTo>
                    <a:pt x="1492" y="30"/>
                    <a:pt x="1492" y="30"/>
                    <a:pt x="1492" y="30"/>
                  </a:cubicBezTo>
                  <a:cubicBezTo>
                    <a:pt x="1492" y="30"/>
                    <a:pt x="1492" y="30"/>
                    <a:pt x="1492" y="30"/>
                  </a:cubicBezTo>
                  <a:cubicBezTo>
                    <a:pt x="1492" y="30"/>
                    <a:pt x="1492" y="30"/>
                    <a:pt x="1492" y="30"/>
                  </a:cubicBezTo>
                  <a:cubicBezTo>
                    <a:pt x="1491" y="30"/>
                    <a:pt x="1491" y="30"/>
                    <a:pt x="1491" y="30"/>
                  </a:cubicBezTo>
                  <a:cubicBezTo>
                    <a:pt x="1490" y="30"/>
                    <a:pt x="1490" y="30"/>
                    <a:pt x="1490" y="30"/>
                  </a:cubicBezTo>
                  <a:cubicBezTo>
                    <a:pt x="1489" y="30"/>
                    <a:pt x="1489" y="30"/>
                    <a:pt x="1487" y="31"/>
                  </a:cubicBezTo>
                  <a:cubicBezTo>
                    <a:pt x="1486" y="31"/>
                    <a:pt x="1486" y="31"/>
                    <a:pt x="1486" y="31"/>
                  </a:cubicBezTo>
                  <a:cubicBezTo>
                    <a:pt x="1484" y="30"/>
                    <a:pt x="1484" y="30"/>
                    <a:pt x="1484" y="30"/>
                  </a:cubicBezTo>
                  <a:cubicBezTo>
                    <a:pt x="1483" y="30"/>
                    <a:pt x="1483" y="30"/>
                    <a:pt x="1483" y="30"/>
                  </a:cubicBezTo>
                  <a:cubicBezTo>
                    <a:pt x="1482" y="30"/>
                    <a:pt x="1482" y="30"/>
                    <a:pt x="1482" y="30"/>
                  </a:cubicBezTo>
                  <a:cubicBezTo>
                    <a:pt x="1482" y="30"/>
                    <a:pt x="1482" y="30"/>
                    <a:pt x="1482" y="30"/>
                  </a:cubicBezTo>
                  <a:cubicBezTo>
                    <a:pt x="1482" y="30"/>
                    <a:pt x="1482" y="30"/>
                    <a:pt x="1482" y="30"/>
                  </a:cubicBezTo>
                  <a:cubicBezTo>
                    <a:pt x="1482" y="30"/>
                    <a:pt x="1482" y="30"/>
                    <a:pt x="1482" y="30"/>
                  </a:cubicBezTo>
                  <a:cubicBezTo>
                    <a:pt x="1482" y="29"/>
                    <a:pt x="1482" y="29"/>
                    <a:pt x="1482" y="29"/>
                  </a:cubicBezTo>
                  <a:cubicBezTo>
                    <a:pt x="1482" y="29"/>
                    <a:pt x="1482" y="29"/>
                    <a:pt x="1482" y="29"/>
                  </a:cubicBezTo>
                  <a:cubicBezTo>
                    <a:pt x="1482" y="29"/>
                    <a:pt x="1482" y="29"/>
                    <a:pt x="1482" y="29"/>
                  </a:cubicBezTo>
                  <a:cubicBezTo>
                    <a:pt x="1483" y="28"/>
                    <a:pt x="1484" y="28"/>
                    <a:pt x="1485" y="29"/>
                  </a:cubicBezTo>
                  <a:cubicBezTo>
                    <a:pt x="1486" y="29"/>
                    <a:pt x="1486" y="29"/>
                    <a:pt x="1486" y="29"/>
                  </a:cubicBezTo>
                  <a:cubicBezTo>
                    <a:pt x="1487" y="29"/>
                    <a:pt x="1487" y="29"/>
                    <a:pt x="1487" y="29"/>
                  </a:cubicBezTo>
                  <a:cubicBezTo>
                    <a:pt x="1489" y="29"/>
                    <a:pt x="1487" y="27"/>
                    <a:pt x="1489" y="27"/>
                  </a:cubicBezTo>
                  <a:cubicBezTo>
                    <a:pt x="1490" y="27"/>
                    <a:pt x="1490" y="27"/>
                    <a:pt x="1490" y="27"/>
                  </a:cubicBezTo>
                  <a:cubicBezTo>
                    <a:pt x="1490" y="26"/>
                    <a:pt x="1490" y="26"/>
                    <a:pt x="1490" y="26"/>
                  </a:cubicBezTo>
                  <a:cubicBezTo>
                    <a:pt x="1491" y="25"/>
                    <a:pt x="1491" y="25"/>
                    <a:pt x="1491" y="25"/>
                  </a:cubicBezTo>
                  <a:cubicBezTo>
                    <a:pt x="1491" y="24"/>
                    <a:pt x="1491" y="24"/>
                    <a:pt x="1491" y="24"/>
                  </a:cubicBezTo>
                  <a:cubicBezTo>
                    <a:pt x="1491" y="24"/>
                    <a:pt x="1491" y="24"/>
                    <a:pt x="1491" y="24"/>
                  </a:cubicBezTo>
                  <a:cubicBezTo>
                    <a:pt x="1491" y="24"/>
                    <a:pt x="1491" y="24"/>
                    <a:pt x="1491" y="24"/>
                  </a:cubicBezTo>
                  <a:cubicBezTo>
                    <a:pt x="1491" y="25"/>
                    <a:pt x="1491" y="25"/>
                    <a:pt x="1491" y="25"/>
                  </a:cubicBezTo>
                  <a:cubicBezTo>
                    <a:pt x="1490" y="25"/>
                    <a:pt x="1490" y="25"/>
                    <a:pt x="1490" y="25"/>
                  </a:cubicBezTo>
                  <a:cubicBezTo>
                    <a:pt x="1489" y="26"/>
                    <a:pt x="1487" y="25"/>
                    <a:pt x="1485" y="25"/>
                  </a:cubicBezTo>
                  <a:cubicBezTo>
                    <a:pt x="1485" y="25"/>
                    <a:pt x="1485" y="25"/>
                    <a:pt x="1485" y="25"/>
                  </a:cubicBezTo>
                  <a:cubicBezTo>
                    <a:pt x="1484" y="26"/>
                    <a:pt x="1484" y="26"/>
                    <a:pt x="1484" y="26"/>
                  </a:cubicBezTo>
                  <a:cubicBezTo>
                    <a:pt x="1482" y="26"/>
                    <a:pt x="1480" y="27"/>
                    <a:pt x="1478" y="26"/>
                  </a:cubicBezTo>
                  <a:cubicBezTo>
                    <a:pt x="1478" y="26"/>
                    <a:pt x="1478" y="26"/>
                    <a:pt x="1478" y="26"/>
                  </a:cubicBezTo>
                  <a:cubicBezTo>
                    <a:pt x="1477" y="26"/>
                    <a:pt x="1477" y="26"/>
                    <a:pt x="1477" y="26"/>
                  </a:cubicBezTo>
                  <a:cubicBezTo>
                    <a:pt x="1477" y="25"/>
                    <a:pt x="1477" y="25"/>
                    <a:pt x="1477" y="25"/>
                  </a:cubicBezTo>
                  <a:cubicBezTo>
                    <a:pt x="1476" y="26"/>
                    <a:pt x="1476" y="26"/>
                    <a:pt x="1476" y="26"/>
                  </a:cubicBezTo>
                  <a:cubicBezTo>
                    <a:pt x="1476" y="26"/>
                    <a:pt x="1476" y="26"/>
                    <a:pt x="1476" y="26"/>
                  </a:cubicBezTo>
                  <a:cubicBezTo>
                    <a:pt x="1476" y="26"/>
                    <a:pt x="1476" y="26"/>
                    <a:pt x="1476" y="26"/>
                  </a:cubicBezTo>
                  <a:cubicBezTo>
                    <a:pt x="1476" y="26"/>
                    <a:pt x="1476" y="26"/>
                    <a:pt x="1476" y="26"/>
                  </a:cubicBezTo>
                  <a:cubicBezTo>
                    <a:pt x="1476" y="26"/>
                    <a:pt x="1476" y="26"/>
                    <a:pt x="1476" y="26"/>
                  </a:cubicBezTo>
                  <a:cubicBezTo>
                    <a:pt x="1475" y="26"/>
                    <a:pt x="1475" y="26"/>
                    <a:pt x="1475" y="26"/>
                  </a:cubicBezTo>
                  <a:cubicBezTo>
                    <a:pt x="1475" y="26"/>
                    <a:pt x="1475" y="26"/>
                    <a:pt x="1475" y="26"/>
                  </a:cubicBezTo>
                  <a:cubicBezTo>
                    <a:pt x="1474" y="26"/>
                    <a:pt x="1474" y="26"/>
                    <a:pt x="1474" y="26"/>
                  </a:cubicBezTo>
                  <a:cubicBezTo>
                    <a:pt x="1474" y="26"/>
                    <a:pt x="1474" y="26"/>
                    <a:pt x="1474" y="26"/>
                  </a:cubicBezTo>
                  <a:cubicBezTo>
                    <a:pt x="1474" y="26"/>
                    <a:pt x="1474" y="26"/>
                    <a:pt x="1474" y="26"/>
                  </a:cubicBezTo>
                  <a:cubicBezTo>
                    <a:pt x="1473" y="26"/>
                    <a:pt x="1473" y="26"/>
                    <a:pt x="1473" y="26"/>
                  </a:cubicBezTo>
                  <a:cubicBezTo>
                    <a:pt x="1473" y="26"/>
                    <a:pt x="1473" y="26"/>
                    <a:pt x="1473" y="26"/>
                  </a:cubicBezTo>
                  <a:cubicBezTo>
                    <a:pt x="1472" y="26"/>
                    <a:pt x="1472" y="26"/>
                    <a:pt x="1472" y="26"/>
                  </a:cubicBezTo>
                  <a:cubicBezTo>
                    <a:pt x="1470" y="25"/>
                    <a:pt x="1470" y="25"/>
                    <a:pt x="1470" y="25"/>
                  </a:cubicBezTo>
                  <a:cubicBezTo>
                    <a:pt x="1469" y="25"/>
                    <a:pt x="1469" y="25"/>
                    <a:pt x="1469" y="25"/>
                  </a:cubicBezTo>
                  <a:cubicBezTo>
                    <a:pt x="1468" y="25"/>
                    <a:pt x="1468" y="25"/>
                    <a:pt x="1468" y="25"/>
                  </a:cubicBezTo>
                  <a:cubicBezTo>
                    <a:pt x="1468" y="25"/>
                    <a:pt x="1468" y="25"/>
                    <a:pt x="1468" y="25"/>
                  </a:cubicBezTo>
                  <a:cubicBezTo>
                    <a:pt x="1468" y="25"/>
                    <a:pt x="1468" y="25"/>
                    <a:pt x="1468" y="25"/>
                  </a:cubicBezTo>
                  <a:cubicBezTo>
                    <a:pt x="1468" y="25"/>
                    <a:pt x="1468" y="25"/>
                    <a:pt x="1468" y="25"/>
                  </a:cubicBezTo>
                  <a:cubicBezTo>
                    <a:pt x="1467" y="26"/>
                    <a:pt x="1467" y="26"/>
                    <a:pt x="1467" y="26"/>
                  </a:cubicBezTo>
                  <a:cubicBezTo>
                    <a:pt x="1466" y="26"/>
                    <a:pt x="1466" y="26"/>
                    <a:pt x="1466" y="26"/>
                  </a:cubicBezTo>
                  <a:cubicBezTo>
                    <a:pt x="1466" y="26"/>
                    <a:pt x="1466" y="26"/>
                    <a:pt x="1466" y="26"/>
                  </a:cubicBezTo>
                  <a:cubicBezTo>
                    <a:pt x="1465" y="26"/>
                    <a:pt x="1465" y="26"/>
                    <a:pt x="1465" y="26"/>
                  </a:cubicBezTo>
                  <a:cubicBezTo>
                    <a:pt x="1464" y="26"/>
                    <a:pt x="1464" y="26"/>
                    <a:pt x="1464" y="26"/>
                  </a:cubicBezTo>
                  <a:cubicBezTo>
                    <a:pt x="1462" y="26"/>
                    <a:pt x="1462" y="26"/>
                    <a:pt x="1462" y="26"/>
                  </a:cubicBezTo>
                  <a:cubicBezTo>
                    <a:pt x="1459" y="26"/>
                    <a:pt x="1459" y="26"/>
                    <a:pt x="1459" y="26"/>
                  </a:cubicBezTo>
                  <a:cubicBezTo>
                    <a:pt x="1457" y="26"/>
                    <a:pt x="1457" y="26"/>
                    <a:pt x="1457" y="26"/>
                  </a:cubicBezTo>
                  <a:cubicBezTo>
                    <a:pt x="1457" y="26"/>
                    <a:pt x="1457" y="26"/>
                    <a:pt x="1457" y="26"/>
                  </a:cubicBezTo>
                  <a:cubicBezTo>
                    <a:pt x="1457" y="26"/>
                    <a:pt x="1457" y="26"/>
                    <a:pt x="1457" y="26"/>
                  </a:cubicBezTo>
                  <a:cubicBezTo>
                    <a:pt x="1457" y="26"/>
                    <a:pt x="1457" y="26"/>
                    <a:pt x="1457" y="26"/>
                  </a:cubicBezTo>
                  <a:cubicBezTo>
                    <a:pt x="1457" y="25"/>
                    <a:pt x="1457" y="25"/>
                    <a:pt x="1457" y="25"/>
                  </a:cubicBezTo>
                  <a:cubicBezTo>
                    <a:pt x="1458" y="25"/>
                    <a:pt x="1458" y="25"/>
                    <a:pt x="1458" y="25"/>
                  </a:cubicBezTo>
                  <a:cubicBezTo>
                    <a:pt x="1459" y="25"/>
                    <a:pt x="1460" y="25"/>
                    <a:pt x="1461" y="24"/>
                  </a:cubicBezTo>
                  <a:cubicBezTo>
                    <a:pt x="1462" y="24"/>
                    <a:pt x="1462" y="24"/>
                    <a:pt x="1462" y="24"/>
                  </a:cubicBezTo>
                  <a:cubicBezTo>
                    <a:pt x="1462" y="25"/>
                    <a:pt x="1462" y="25"/>
                    <a:pt x="1462" y="25"/>
                  </a:cubicBezTo>
                  <a:cubicBezTo>
                    <a:pt x="1465" y="25"/>
                    <a:pt x="1464" y="24"/>
                    <a:pt x="1466" y="23"/>
                  </a:cubicBezTo>
                  <a:cubicBezTo>
                    <a:pt x="1466" y="23"/>
                    <a:pt x="1466" y="23"/>
                    <a:pt x="1466" y="23"/>
                  </a:cubicBezTo>
                  <a:cubicBezTo>
                    <a:pt x="1467" y="23"/>
                    <a:pt x="1467" y="23"/>
                    <a:pt x="1467" y="23"/>
                  </a:cubicBezTo>
                  <a:cubicBezTo>
                    <a:pt x="1467" y="23"/>
                    <a:pt x="1467" y="23"/>
                    <a:pt x="1467" y="23"/>
                  </a:cubicBezTo>
                  <a:cubicBezTo>
                    <a:pt x="1468" y="23"/>
                    <a:pt x="1468" y="23"/>
                    <a:pt x="1468" y="23"/>
                  </a:cubicBezTo>
                  <a:cubicBezTo>
                    <a:pt x="1469" y="22"/>
                    <a:pt x="1470" y="23"/>
                    <a:pt x="1472" y="23"/>
                  </a:cubicBezTo>
                  <a:cubicBezTo>
                    <a:pt x="1472" y="23"/>
                    <a:pt x="1472" y="23"/>
                    <a:pt x="1472" y="23"/>
                  </a:cubicBezTo>
                  <a:cubicBezTo>
                    <a:pt x="1473" y="23"/>
                    <a:pt x="1473" y="23"/>
                    <a:pt x="1473" y="23"/>
                  </a:cubicBezTo>
                  <a:cubicBezTo>
                    <a:pt x="1474" y="22"/>
                    <a:pt x="1475" y="22"/>
                    <a:pt x="1476" y="22"/>
                  </a:cubicBezTo>
                  <a:cubicBezTo>
                    <a:pt x="1476" y="22"/>
                    <a:pt x="1476" y="22"/>
                    <a:pt x="1476" y="22"/>
                  </a:cubicBezTo>
                  <a:cubicBezTo>
                    <a:pt x="1476" y="22"/>
                    <a:pt x="1476" y="22"/>
                    <a:pt x="1476" y="22"/>
                  </a:cubicBezTo>
                  <a:cubicBezTo>
                    <a:pt x="1477" y="22"/>
                    <a:pt x="1477" y="22"/>
                    <a:pt x="1477" y="22"/>
                  </a:cubicBezTo>
                  <a:cubicBezTo>
                    <a:pt x="1477" y="22"/>
                    <a:pt x="1477" y="22"/>
                    <a:pt x="1477" y="22"/>
                  </a:cubicBezTo>
                  <a:cubicBezTo>
                    <a:pt x="1477" y="22"/>
                    <a:pt x="1477" y="22"/>
                    <a:pt x="1477" y="22"/>
                  </a:cubicBezTo>
                  <a:cubicBezTo>
                    <a:pt x="1478" y="22"/>
                    <a:pt x="1478" y="22"/>
                    <a:pt x="1478" y="22"/>
                  </a:cubicBezTo>
                  <a:cubicBezTo>
                    <a:pt x="1480" y="21"/>
                    <a:pt x="1479" y="20"/>
                    <a:pt x="1481" y="20"/>
                  </a:cubicBezTo>
                  <a:cubicBezTo>
                    <a:pt x="1481" y="20"/>
                    <a:pt x="1481" y="20"/>
                    <a:pt x="1481" y="20"/>
                  </a:cubicBezTo>
                  <a:cubicBezTo>
                    <a:pt x="1482" y="20"/>
                    <a:pt x="1482" y="20"/>
                    <a:pt x="1482" y="20"/>
                  </a:cubicBezTo>
                  <a:cubicBezTo>
                    <a:pt x="1483" y="18"/>
                    <a:pt x="1484" y="18"/>
                    <a:pt x="1486" y="18"/>
                  </a:cubicBezTo>
                  <a:cubicBezTo>
                    <a:pt x="1486" y="17"/>
                    <a:pt x="1486" y="17"/>
                    <a:pt x="1486" y="17"/>
                  </a:cubicBezTo>
                  <a:cubicBezTo>
                    <a:pt x="1486" y="17"/>
                    <a:pt x="1486" y="17"/>
                    <a:pt x="1486" y="17"/>
                  </a:cubicBezTo>
                  <a:cubicBezTo>
                    <a:pt x="1487" y="17"/>
                    <a:pt x="1487" y="17"/>
                    <a:pt x="1487" y="17"/>
                  </a:cubicBezTo>
                  <a:cubicBezTo>
                    <a:pt x="1487" y="17"/>
                    <a:pt x="1487" y="17"/>
                    <a:pt x="1487" y="17"/>
                  </a:cubicBezTo>
                  <a:cubicBezTo>
                    <a:pt x="1489" y="15"/>
                    <a:pt x="1488" y="15"/>
                    <a:pt x="1491" y="15"/>
                  </a:cubicBezTo>
                  <a:cubicBezTo>
                    <a:pt x="1492" y="15"/>
                    <a:pt x="1492" y="15"/>
                    <a:pt x="1492" y="15"/>
                  </a:cubicBezTo>
                  <a:cubicBezTo>
                    <a:pt x="1492" y="15"/>
                    <a:pt x="1492" y="15"/>
                    <a:pt x="1492" y="15"/>
                  </a:cubicBezTo>
                  <a:cubicBezTo>
                    <a:pt x="1494" y="15"/>
                    <a:pt x="1494" y="15"/>
                    <a:pt x="1495" y="15"/>
                  </a:cubicBezTo>
                  <a:cubicBezTo>
                    <a:pt x="1495" y="15"/>
                    <a:pt x="1495" y="15"/>
                    <a:pt x="1495" y="15"/>
                  </a:cubicBezTo>
                  <a:cubicBezTo>
                    <a:pt x="1496" y="15"/>
                    <a:pt x="1496" y="15"/>
                    <a:pt x="1496" y="15"/>
                  </a:cubicBezTo>
                  <a:cubicBezTo>
                    <a:pt x="1496" y="15"/>
                    <a:pt x="1496" y="15"/>
                    <a:pt x="1496" y="15"/>
                  </a:cubicBezTo>
                  <a:cubicBezTo>
                    <a:pt x="1499" y="15"/>
                    <a:pt x="1499" y="15"/>
                    <a:pt x="1499" y="15"/>
                  </a:cubicBezTo>
                  <a:cubicBezTo>
                    <a:pt x="1491" y="7"/>
                    <a:pt x="1491" y="7"/>
                    <a:pt x="1491" y="7"/>
                  </a:cubicBezTo>
                  <a:cubicBezTo>
                    <a:pt x="1469" y="1"/>
                    <a:pt x="1469" y="1"/>
                    <a:pt x="1469" y="1"/>
                  </a:cubicBezTo>
                  <a:cubicBezTo>
                    <a:pt x="1466" y="1"/>
                    <a:pt x="1466" y="1"/>
                    <a:pt x="1466" y="1"/>
                  </a:cubicBezTo>
                  <a:cubicBezTo>
                    <a:pt x="1462" y="1"/>
                    <a:pt x="1462" y="1"/>
                    <a:pt x="1462" y="1"/>
                  </a:cubicBezTo>
                  <a:cubicBezTo>
                    <a:pt x="1459" y="0"/>
                    <a:pt x="1458" y="0"/>
                    <a:pt x="1455" y="0"/>
                  </a:cubicBezTo>
                  <a:cubicBezTo>
                    <a:pt x="1455" y="0"/>
                    <a:pt x="1455" y="0"/>
                    <a:pt x="1455" y="0"/>
                  </a:cubicBezTo>
                  <a:cubicBezTo>
                    <a:pt x="1454" y="0"/>
                    <a:pt x="1454" y="0"/>
                    <a:pt x="1454" y="0"/>
                  </a:cubicBezTo>
                  <a:cubicBezTo>
                    <a:pt x="1454" y="1"/>
                    <a:pt x="1453" y="1"/>
                    <a:pt x="1452" y="1"/>
                  </a:cubicBezTo>
                  <a:cubicBezTo>
                    <a:pt x="1452" y="1"/>
                    <a:pt x="1452" y="1"/>
                    <a:pt x="1452" y="1"/>
                  </a:cubicBezTo>
                  <a:cubicBezTo>
                    <a:pt x="1451" y="1"/>
                    <a:pt x="1451" y="1"/>
                    <a:pt x="1451" y="1"/>
                  </a:cubicBezTo>
                  <a:cubicBezTo>
                    <a:pt x="1451" y="2"/>
                    <a:pt x="1451" y="2"/>
                    <a:pt x="1451" y="2"/>
                  </a:cubicBezTo>
                  <a:cubicBezTo>
                    <a:pt x="1451" y="2"/>
                    <a:pt x="1451" y="2"/>
                    <a:pt x="1451" y="2"/>
                  </a:cubicBezTo>
                  <a:cubicBezTo>
                    <a:pt x="1450" y="2"/>
                    <a:pt x="1450" y="2"/>
                    <a:pt x="1450" y="2"/>
                  </a:cubicBezTo>
                  <a:cubicBezTo>
                    <a:pt x="1449" y="3"/>
                    <a:pt x="1449" y="3"/>
                    <a:pt x="1449" y="3"/>
                  </a:cubicBezTo>
                  <a:cubicBezTo>
                    <a:pt x="1446" y="3"/>
                    <a:pt x="1446" y="3"/>
                    <a:pt x="1446" y="3"/>
                  </a:cubicBezTo>
                  <a:cubicBezTo>
                    <a:pt x="1439" y="4"/>
                    <a:pt x="1439" y="4"/>
                    <a:pt x="1439" y="4"/>
                  </a:cubicBezTo>
                  <a:cubicBezTo>
                    <a:pt x="1436" y="5"/>
                    <a:pt x="1436" y="5"/>
                    <a:pt x="1436" y="5"/>
                  </a:cubicBezTo>
                  <a:cubicBezTo>
                    <a:pt x="1433" y="6"/>
                    <a:pt x="1433" y="6"/>
                    <a:pt x="1433" y="6"/>
                  </a:cubicBezTo>
                  <a:cubicBezTo>
                    <a:pt x="1432" y="7"/>
                    <a:pt x="1432" y="7"/>
                    <a:pt x="1432" y="7"/>
                  </a:cubicBezTo>
                  <a:cubicBezTo>
                    <a:pt x="1430" y="7"/>
                    <a:pt x="1430" y="7"/>
                    <a:pt x="1430" y="7"/>
                  </a:cubicBezTo>
                  <a:cubicBezTo>
                    <a:pt x="1427" y="9"/>
                    <a:pt x="1427" y="9"/>
                    <a:pt x="1427" y="9"/>
                  </a:cubicBezTo>
                  <a:cubicBezTo>
                    <a:pt x="1424" y="10"/>
                    <a:pt x="1424" y="10"/>
                    <a:pt x="1424" y="10"/>
                  </a:cubicBezTo>
                  <a:cubicBezTo>
                    <a:pt x="1422" y="11"/>
                    <a:pt x="1422" y="11"/>
                    <a:pt x="1422" y="11"/>
                  </a:cubicBezTo>
                  <a:cubicBezTo>
                    <a:pt x="1417" y="13"/>
                    <a:pt x="1417" y="13"/>
                    <a:pt x="1417" y="13"/>
                  </a:cubicBezTo>
                  <a:cubicBezTo>
                    <a:pt x="1415" y="14"/>
                    <a:pt x="1415" y="14"/>
                    <a:pt x="1415" y="14"/>
                  </a:cubicBezTo>
                  <a:cubicBezTo>
                    <a:pt x="1414" y="15"/>
                    <a:pt x="1414" y="15"/>
                    <a:pt x="1414" y="15"/>
                  </a:cubicBezTo>
                  <a:cubicBezTo>
                    <a:pt x="1414" y="15"/>
                    <a:pt x="1414" y="15"/>
                    <a:pt x="1414" y="15"/>
                  </a:cubicBezTo>
                  <a:cubicBezTo>
                    <a:pt x="1414" y="15"/>
                    <a:pt x="1414" y="15"/>
                    <a:pt x="1414" y="15"/>
                  </a:cubicBezTo>
                  <a:cubicBezTo>
                    <a:pt x="1414" y="16"/>
                    <a:pt x="1414" y="16"/>
                    <a:pt x="1414" y="16"/>
                  </a:cubicBezTo>
                  <a:cubicBezTo>
                    <a:pt x="1414" y="16"/>
                    <a:pt x="1414" y="16"/>
                    <a:pt x="1414" y="16"/>
                  </a:cubicBezTo>
                  <a:cubicBezTo>
                    <a:pt x="1414" y="16"/>
                    <a:pt x="1414" y="16"/>
                    <a:pt x="1414" y="16"/>
                  </a:cubicBezTo>
                  <a:cubicBezTo>
                    <a:pt x="1414" y="16"/>
                    <a:pt x="1414" y="16"/>
                    <a:pt x="1414" y="16"/>
                  </a:cubicBezTo>
                  <a:cubicBezTo>
                    <a:pt x="1415" y="16"/>
                    <a:pt x="1415" y="16"/>
                    <a:pt x="1415" y="16"/>
                  </a:cubicBezTo>
                  <a:cubicBezTo>
                    <a:pt x="1417" y="16"/>
                    <a:pt x="1417" y="16"/>
                    <a:pt x="1417" y="16"/>
                  </a:cubicBezTo>
                  <a:cubicBezTo>
                    <a:pt x="1418" y="16"/>
                    <a:pt x="1418" y="16"/>
                    <a:pt x="1418" y="16"/>
                  </a:cubicBezTo>
                  <a:cubicBezTo>
                    <a:pt x="1418" y="16"/>
                    <a:pt x="1418" y="16"/>
                    <a:pt x="1418" y="16"/>
                  </a:cubicBezTo>
                  <a:cubicBezTo>
                    <a:pt x="1418" y="17"/>
                    <a:pt x="1418" y="17"/>
                    <a:pt x="1418" y="17"/>
                  </a:cubicBezTo>
                  <a:cubicBezTo>
                    <a:pt x="1418" y="17"/>
                    <a:pt x="1418" y="17"/>
                    <a:pt x="1418" y="17"/>
                  </a:cubicBezTo>
                  <a:cubicBezTo>
                    <a:pt x="1415" y="19"/>
                    <a:pt x="1412" y="19"/>
                    <a:pt x="1409" y="23"/>
                  </a:cubicBezTo>
                  <a:cubicBezTo>
                    <a:pt x="1408" y="23"/>
                    <a:pt x="1408" y="23"/>
                    <a:pt x="1408" y="23"/>
                  </a:cubicBezTo>
                  <a:cubicBezTo>
                    <a:pt x="1408" y="23"/>
                    <a:pt x="1408" y="23"/>
                    <a:pt x="1408" y="23"/>
                  </a:cubicBezTo>
                  <a:cubicBezTo>
                    <a:pt x="1408" y="24"/>
                    <a:pt x="1408" y="24"/>
                    <a:pt x="1408" y="24"/>
                  </a:cubicBezTo>
                  <a:cubicBezTo>
                    <a:pt x="1407" y="24"/>
                    <a:pt x="1406" y="24"/>
                    <a:pt x="1405" y="25"/>
                  </a:cubicBezTo>
                  <a:cubicBezTo>
                    <a:pt x="1405" y="25"/>
                    <a:pt x="1405" y="25"/>
                    <a:pt x="1405" y="25"/>
                  </a:cubicBezTo>
                  <a:cubicBezTo>
                    <a:pt x="1405" y="25"/>
                    <a:pt x="1405" y="25"/>
                    <a:pt x="1405" y="25"/>
                  </a:cubicBezTo>
                  <a:cubicBezTo>
                    <a:pt x="1404" y="25"/>
                    <a:pt x="1404" y="26"/>
                    <a:pt x="1403" y="27"/>
                  </a:cubicBezTo>
                  <a:cubicBezTo>
                    <a:pt x="1403" y="27"/>
                    <a:pt x="1403" y="27"/>
                    <a:pt x="1403" y="27"/>
                  </a:cubicBezTo>
                  <a:cubicBezTo>
                    <a:pt x="1403" y="27"/>
                    <a:pt x="1403" y="27"/>
                    <a:pt x="1403" y="27"/>
                  </a:cubicBezTo>
                  <a:cubicBezTo>
                    <a:pt x="1404" y="27"/>
                    <a:pt x="1404" y="27"/>
                    <a:pt x="1404" y="27"/>
                  </a:cubicBezTo>
                  <a:cubicBezTo>
                    <a:pt x="1403" y="28"/>
                    <a:pt x="1403" y="28"/>
                    <a:pt x="1403" y="28"/>
                  </a:cubicBezTo>
                  <a:cubicBezTo>
                    <a:pt x="1403" y="28"/>
                    <a:pt x="1403" y="28"/>
                    <a:pt x="1403" y="28"/>
                  </a:cubicBezTo>
                  <a:cubicBezTo>
                    <a:pt x="1400" y="29"/>
                    <a:pt x="1400" y="29"/>
                    <a:pt x="1400" y="29"/>
                  </a:cubicBezTo>
                  <a:cubicBezTo>
                    <a:pt x="1399" y="30"/>
                    <a:pt x="1399" y="30"/>
                    <a:pt x="1399" y="30"/>
                  </a:cubicBezTo>
                  <a:cubicBezTo>
                    <a:pt x="1398" y="31"/>
                    <a:pt x="1398" y="31"/>
                    <a:pt x="1398" y="31"/>
                  </a:cubicBezTo>
                  <a:cubicBezTo>
                    <a:pt x="1398" y="31"/>
                    <a:pt x="1398" y="31"/>
                    <a:pt x="1398" y="31"/>
                  </a:cubicBezTo>
                  <a:cubicBezTo>
                    <a:pt x="1398" y="31"/>
                    <a:pt x="1398" y="31"/>
                    <a:pt x="1398" y="31"/>
                  </a:cubicBezTo>
                  <a:cubicBezTo>
                    <a:pt x="1398" y="31"/>
                    <a:pt x="1398" y="31"/>
                    <a:pt x="1398" y="31"/>
                  </a:cubicBezTo>
                  <a:cubicBezTo>
                    <a:pt x="1398" y="32"/>
                    <a:pt x="1398" y="32"/>
                    <a:pt x="1398" y="32"/>
                  </a:cubicBezTo>
                  <a:cubicBezTo>
                    <a:pt x="1398" y="32"/>
                    <a:pt x="1398" y="32"/>
                    <a:pt x="1398" y="32"/>
                  </a:cubicBezTo>
                  <a:cubicBezTo>
                    <a:pt x="1398" y="32"/>
                    <a:pt x="1398" y="32"/>
                    <a:pt x="1398" y="32"/>
                  </a:cubicBezTo>
                  <a:cubicBezTo>
                    <a:pt x="1398" y="33"/>
                    <a:pt x="1398" y="33"/>
                    <a:pt x="1397" y="34"/>
                  </a:cubicBezTo>
                  <a:cubicBezTo>
                    <a:pt x="1397" y="34"/>
                    <a:pt x="1397" y="34"/>
                    <a:pt x="1397" y="34"/>
                  </a:cubicBezTo>
                  <a:cubicBezTo>
                    <a:pt x="1397" y="34"/>
                    <a:pt x="1397" y="34"/>
                    <a:pt x="1397" y="34"/>
                  </a:cubicBezTo>
                  <a:cubicBezTo>
                    <a:pt x="1397" y="35"/>
                    <a:pt x="1397" y="35"/>
                    <a:pt x="1397" y="35"/>
                  </a:cubicBezTo>
                  <a:cubicBezTo>
                    <a:pt x="1397" y="35"/>
                    <a:pt x="1397" y="35"/>
                    <a:pt x="1397" y="35"/>
                  </a:cubicBezTo>
                  <a:cubicBezTo>
                    <a:pt x="1398" y="35"/>
                    <a:pt x="1398" y="35"/>
                    <a:pt x="1398" y="35"/>
                  </a:cubicBezTo>
                  <a:cubicBezTo>
                    <a:pt x="1398" y="35"/>
                    <a:pt x="1398" y="35"/>
                    <a:pt x="1398" y="35"/>
                  </a:cubicBezTo>
                  <a:cubicBezTo>
                    <a:pt x="1398" y="35"/>
                    <a:pt x="1398" y="35"/>
                    <a:pt x="1398" y="35"/>
                  </a:cubicBezTo>
                  <a:cubicBezTo>
                    <a:pt x="1398" y="36"/>
                    <a:pt x="1398" y="36"/>
                    <a:pt x="1398" y="36"/>
                  </a:cubicBezTo>
                  <a:cubicBezTo>
                    <a:pt x="1397" y="36"/>
                    <a:pt x="1397" y="36"/>
                    <a:pt x="1397" y="36"/>
                  </a:cubicBezTo>
                  <a:cubicBezTo>
                    <a:pt x="1397" y="36"/>
                    <a:pt x="1397" y="36"/>
                    <a:pt x="1397" y="36"/>
                  </a:cubicBezTo>
                  <a:cubicBezTo>
                    <a:pt x="1398" y="36"/>
                    <a:pt x="1398" y="36"/>
                    <a:pt x="1398" y="36"/>
                  </a:cubicBezTo>
                  <a:cubicBezTo>
                    <a:pt x="1398" y="37"/>
                    <a:pt x="1398" y="37"/>
                    <a:pt x="1399" y="37"/>
                  </a:cubicBezTo>
                  <a:cubicBezTo>
                    <a:pt x="1399" y="38"/>
                    <a:pt x="1399" y="38"/>
                    <a:pt x="1399" y="38"/>
                  </a:cubicBezTo>
                  <a:cubicBezTo>
                    <a:pt x="1399" y="38"/>
                    <a:pt x="1399" y="38"/>
                    <a:pt x="1399" y="38"/>
                  </a:cubicBezTo>
                  <a:cubicBezTo>
                    <a:pt x="1399" y="38"/>
                    <a:pt x="1399" y="38"/>
                    <a:pt x="1399" y="38"/>
                  </a:cubicBezTo>
                  <a:cubicBezTo>
                    <a:pt x="1400" y="38"/>
                    <a:pt x="1400" y="38"/>
                    <a:pt x="1400" y="38"/>
                  </a:cubicBezTo>
                  <a:cubicBezTo>
                    <a:pt x="1400" y="38"/>
                    <a:pt x="1400" y="38"/>
                    <a:pt x="1400" y="38"/>
                  </a:cubicBezTo>
                  <a:cubicBezTo>
                    <a:pt x="1400" y="38"/>
                    <a:pt x="1400" y="38"/>
                    <a:pt x="1400" y="38"/>
                  </a:cubicBezTo>
                  <a:cubicBezTo>
                    <a:pt x="1400" y="38"/>
                    <a:pt x="1401" y="38"/>
                    <a:pt x="1401" y="38"/>
                  </a:cubicBezTo>
                  <a:cubicBezTo>
                    <a:pt x="1402" y="38"/>
                    <a:pt x="1402" y="38"/>
                    <a:pt x="1402" y="38"/>
                  </a:cubicBezTo>
                  <a:cubicBezTo>
                    <a:pt x="1402" y="38"/>
                    <a:pt x="1402" y="38"/>
                    <a:pt x="1402" y="38"/>
                  </a:cubicBezTo>
                  <a:cubicBezTo>
                    <a:pt x="1403" y="38"/>
                    <a:pt x="1403" y="38"/>
                    <a:pt x="1403" y="38"/>
                  </a:cubicBezTo>
                  <a:cubicBezTo>
                    <a:pt x="1403" y="39"/>
                    <a:pt x="1403" y="39"/>
                    <a:pt x="1403" y="39"/>
                  </a:cubicBezTo>
                  <a:cubicBezTo>
                    <a:pt x="1404" y="39"/>
                    <a:pt x="1404" y="39"/>
                    <a:pt x="1404" y="39"/>
                  </a:cubicBezTo>
                  <a:cubicBezTo>
                    <a:pt x="1404" y="39"/>
                    <a:pt x="1404" y="39"/>
                    <a:pt x="1404" y="39"/>
                  </a:cubicBezTo>
                  <a:cubicBezTo>
                    <a:pt x="1404" y="39"/>
                    <a:pt x="1404" y="39"/>
                    <a:pt x="1404" y="39"/>
                  </a:cubicBezTo>
                  <a:cubicBezTo>
                    <a:pt x="1403" y="40"/>
                    <a:pt x="1403" y="40"/>
                    <a:pt x="1403" y="40"/>
                  </a:cubicBezTo>
                  <a:cubicBezTo>
                    <a:pt x="1403" y="41"/>
                    <a:pt x="1403" y="41"/>
                    <a:pt x="1403" y="41"/>
                  </a:cubicBezTo>
                  <a:cubicBezTo>
                    <a:pt x="1402" y="41"/>
                    <a:pt x="1402" y="41"/>
                    <a:pt x="1402" y="41"/>
                  </a:cubicBezTo>
                  <a:cubicBezTo>
                    <a:pt x="1402" y="41"/>
                    <a:pt x="1402" y="41"/>
                    <a:pt x="1402" y="41"/>
                  </a:cubicBezTo>
                  <a:cubicBezTo>
                    <a:pt x="1402" y="41"/>
                    <a:pt x="1402" y="41"/>
                    <a:pt x="1402" y="41"/>
                  </a:cubicBezTo>
                  <a:cubicBezTo>
                    <a:pt x="1402" y="42"/>
                    <a:pt x="1402" y="42"/>
                    <a:pt x="1402" y="42"/>
                  </a:cubicBezTo>
                  <a:cubicBezTo>
                    <a:pt x="1402" y="42"/>
                    <a:pt x="1402" y="42"/>
                    <a:pt x="1402" y="42"/>
                  </a:cubicBezTo>
                  <a:cubicBezTo>
                    <a:pt x="1402" y="42"/>
                    <a:pt x="1402" y="42"/>
                    <a:pt x="1402" y="42"/>
                  </a:cubicBezTo>
                  <a:cubicBezTo>
                    <a:pt x="1402" y="43"/>
                    <a:pt x="1402" y="43"/>
                    <a:pt x="1402" y="43"/>
                  </a:cubicBezTo>
                  <a:cubicBezTo>
                    <a:pt x="1402" y="43"/>
                    <a:pt x="1402" y="43"/>
                    <a:pt x="1402" y="43"/>
                  </a:cubicBezTo>
                  <a:cubicBezTo>
                    <a:pt x="1402" y="44"/>
                    <a:pt x="1402" y="44"/>
                    <a:pt x="1401" y="45"/>
                  </a:cubicBezTo>
                  <a:cubicBezTo>
                    <a:pt x="1401" y="46"/>
                    <a:pt x="1401" y="46"/>
                    <a:pt x="1401" y="46"/>
                  </a:cubicBezTo>
                  <a:cubicBezTo>
                    <a:pt x="1399" y="47"/>
                    <a:pt x="1399" y="47"/>
                    <a:pt x="1399" y="47"/>
                  </a:cubicBezTo>
                  <a:cubicBezTo>
                    <a:pt x="1398" y="47"/>
                    <a:pt x="1398" y="47"/>
                    <a:pt x="1398" y="47"/>
                  </a:cubicBezTo>
                  <a:cubicBezTo>
                    <a:pt x="1398" y="48"/>
                    <a:pt x="1398" y="48"/>
                    <a:pt x="1398" y="48"/>
                  </a:cubicBezTo>
                  <a:cubicBezTo>
                    <a:pt x="1399" y="48"/>
                    <a:pt x="1399" y="48"/>
                    <a:pt x="1399" y="48"/>
                  </a:cubicBezTo>
                  <a:cubicBezTo>
                    <a:pt x="1399" y="48"/>
                    <a:pt x="1399" y="48"/>
                    <a:pt x="1399"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2" y="49"/>
                    <a:pt x="1404" y="48"/>
                    <a:pt x="1405" y="49"/>
                  </a:cubicBezTo>
                  <a:cubicBezTo>
                    <a:pt x="1406" y="49"/>
                    <a:pt x="1406" y="49"/>
                    <a:pt x="1406" y="49"/>
                  </a:cubicBezTo>
                  <a:cubicBezTo>
                    <a:pt x="1407" y="49"/>
                    <a:pt x="1407" y="49"/>
                    <a:pt x="1407" y="49"/>
                  </a:cubicBezTo>
                  <a:cubicBezTo>
                    <a:pt x="1407" y="49"/>
                    <a:pt x="1407" y="49"/>
                    <a:pt x="1407" y="49"/>
                  </a:cubicBezTo>
                  <a:cubicBezTo>
                    <a:pt x="1408" y="49"/>
                    <a:pt x="1408" y="49"/>
                    <a:pt x="1408" y="49"/>
                  </a:cubicBezTo>
                  <a:cubicBezTo>
                    <a:pt x="1408" y="49"/>
                    <a:pt x="1408" y="49"/>
                    <a:pt x="1408" y="49"/>
                  </a:cubicBezTo>
                  <a:cubicBezTo>
                    <a:pt x="1409" y="49"/>
                    <a:pt x="1409" y="49"/>
                    <a:pt x="1409" y="49"/>
                  </a:cubicBezTo>
                  <a:cubicBezTo>
                    <a:pt x="1409" y="49"/>
                    <a:pt x="1409" y="49"/>
                    <a:pt x="1409" y="49"/>
                  </a:cubicBezTo>
                  <a:cubicBezTo>
                    <a:pt x="1410" y="50"/>
                    <a:pt x="1410" y="50"/>
                    <a:pt x="1410" y="50"/>
                  </a:cubicBezTo>
                  <a:cubicBezTo>
                    <a:pt x="1410" y="50"/>
                    <a:pt x="1410" y="50"/>
                    <a:pt x="1410" y="50"/>
                  </a:cubicBezTo>
                  <a:cubicBezTo>
                    <a:pt x="1410" y="50"/>
                    <a:pt x="1410" y="50"/>
                    <a:pt x="1410" y="50"/>
                  </a:cubicBezTo>
                  <a:cubicBezTo>
                    <a:pt x="1410" y="50"/>
                    <a:pt x="1410" y="50"/>
                    <a:pt x="1410" y="50"/>
                  </a:cubicBezTo>
                  <a:cubicBezTo>
                    <a:pt x="1410" y="50"/>
                    <a:pt x="1410" y="50"/>
                    <a:pt x="1410" y="50"/>
                  </a:cubicBezTo>
                  <a:cubicBezTo>
                    <a:pt x="1411" y="51"/>
                    <a:pt x="1411" y="51"/>
                    <a:pt x="1411" y="51"/>
                  </a:cubicBezTo>
                  <a:cubicBezTo>
                    <a:pt x="1411" y="51"/>
                    <a:pt x="1411" y="51"/>
                    <a:pt x="1411" y="51"/>
                  </a:cubicBezTo>
                  <a:cubicBezTo>
                    <a:pt x="1412" y="51"/>
                    <a:pt x="1412" y="51"/>
                    <a:pt x="1412" y="51"/>
                  </a:cubicBezTo>
                  <a:cubicBezTo>
                    <a:pt x="1415" y="50"/>
                    <a:pt x="1414" y="51"/>
                    <a:pt x="1416" y="51"/>
                  </a:cubicBezTo>
                  <a:cubicBezTo>
                    <a:pt x="1416" y="51"/>
                    <a:pt x="1416" y="51"/>
                    <a:pt x="1416" y="51"/>
                  </a:cubicBezTo>
                  <a:cubicBezTo>
                    <a:pt x="1417" y="51"/>
                    <a:pt x="1417" y="51"/>
                    <a:pt x="1417" y="51"/>
                  </a:cubicBezTo>
                  <a:cubicBezTo>
                    <a:pt x="1418" y="52"/>
                    <a:pt x="1418" y="52"/>
                    <a:pt x="1419" y="53"/>
                  </a:cubicBezTo>
                  <a:cubicBezTo>
                    <a:pt x="1420" y="53"/>
                    <a:pt x="1420" y="53"/>
                    <a:pt x="1420" y="53"/>
                  </a:cubicBezTo>
                  <a:cubicBezTo>
                    <a:pt x="1422" y="54"/>
                    <a:pt x="1422" y="54"/>
                    <a:pt x="1422" y="54"/>
                  </a:cubicBezTo>
                  <a:cubicBezTo>
                    <a:pt x="1423" y="54"/>
                    <a:pt x="1423" y="54"/>
                    <a:pt x="1423" y="54"/>
                  </a:cubicBezTo>
                  <a:cubicBezTo>
                    <a:pt x="1422" y="54"/>
                    <a:pt x="1422" y="54"/>
                    <a:pt x="1422" y="54"/>
                  </a:cubicBezTo>
                  <a:cubicBezTo>
                    <a:pt x="1422" y="54"/>
                    <a:pt x="1422" y="54"/>
                    <a:pt x="1422" y="54"/>
                  </a:cubicBezTo>
                  <a:cubicBezTo>
                    <a:pt x="1421" y="54"/>
                    <a:pt x="1421" y="54"/>
                    <a:pt x="1421" y="54"/>
                  </a:cubicBezTo>
                  <a:cubicBezTo>
                    <a:pt x="1421" y="54"/>
                    <a:pt x="1421" y="54"/>
                    <a:pt x="1421" y="54"/>
                  </a:cubicBezTo>
                  <a:cubicBezTo>
                    <a:pt x="1420" y="54"/>
                    <a:pt x="1419" y="54"/>
                    <a:pt x="1418" y="54"/>
                  </a:cubicBezTo>
                  <a:cubicBezTo>
                    <a:pt x="1418" y="54"/>
                    <a:pt x="1418" y="54"/>
                    <a:pt x="1418" y="54"/>
                  </a:cubicBezTo>
                  <a:cubicBezTo>
                    <a:pt x="1417" y="54"/>
                    <a:pt x="1417" y="54"/>
                    <a:pt x="1417" y="54"/>
                  </a:cubicBezTo>
                  <a:cubicBezTo>
                    <a:pt x="1417" y="54"/>
                    <a:pt x="1417" y="54"/>
                    <a:pt x="1417" y="54"/>
                  </a:cubicBezTo>
                  <a:cubicBezTo>
                    <a:pt x="1416" y="53"/>
                    <a:pt x="1416" y="53"/>
                    <a:pt x="1416" y="53"/>
                  </a:cubicBezTo>
                  <a:cubicBezTo>
                    <a:pt x="1416" y="53"/>
                    <a:pt x="1416" y="53"/>
                    <a:pt x="1416" y="53"/>
                  </a:cubicBezTo>
                  <a:cubicBezTo>
                    <a:pt x="1416" y="53"/>
                    <a:pt x="1416" y="53"/>
                    <a:pt x="1416" y="53"/>
                  </a:cubicBezTo>
                  <a:cubicBezTo>
                    <a:pt x="1415" y="53"/>
                    <a:pt x="1415" y="53"/>
                    <a:pt x="1415" y="53"/>
                  </a:cubicBezTo>
                  <a:cubicBezTo>
                    <a:pt x="1415" y="53"/>
                    <a:pt x="1415" y="53"/>
                    <a:pt x="1415" y="53"/>
                  </a:cubicBezTo>
                  <a:cubicBezTo>
                    <a:pt x="1415" y="53"/>
                    <a:pt x="1415" y="53"/>
                    <a:pt x="1415" y="53"/>
                  </a:cubicBezTo>
                  <a:cubicBezTo>
                    <a:pt x="1415" y="53"/>
                    <a:pt x="1415" y="53"/>
                    <a:pt x="1415" y="53"/>
                  </a:cubicBezTo>
                  <a:cubicBezTo>
                    <a:pt x="1415" y="52"/>
                    <a:pt x="1415" y="52"/>
                    <a:pt x="1415" y="52"/>
                  </a:cubicBezTo>
                  <a:cubicBezTo>
                    <a:pt x="1415" y="52"/>
                    <a:pt x="1415" y="52"/>
                    <a:pt x="1415" y="52"/>
                  </a:cubicBezTo>
                  <a:cubicBezTo>
                    <a:pt x="1415" y="52"/>
                    <a:pt x="1415" y="52"/>
                    <a:pt x="1415" y="52"/>
                  </a:cubicBezTo>
                  <a:cubicBezTo>
                    <a:pt x="1414" y="52"/>
                    <a:pt x="1414" y="52"/>
                    <a:pt x="1414" y="52"/>
                  </a:cubicBezTo>
                  <a:cubicBezTo>
                    <a:pt x="1414" y="52"/>
                    <a:pt x="1414" y="52"/>
                    <a:pt x="1414" y="52"/>
                  </a:cubicBezTo>
                  <a:cubicBezTo>
                    <a:pt x="1413" y="51"/>
                    <a:pt x="1411" y="51"/>
                    <a:pt x="1410" y="51"/>
                  </a:cubicBezTo>
                  <a:cubicBezTo>
                    <a:pt x="1409" y="51"/>
                    <a:pt x="1409" y="51"/>
                    <a:pt x="1409" y="51"/>
                  </a:cubicBezTo>
                  <a:cubicBezTo>
                    <a:pt x="1409" y="51"/>
                    <a:pt x="1409" y="51"/>
                    <a:pt x="1409" y="51"/>
                  </a:cubicBezTo>
                  <a:cubicBezTo>
                    <a:pt x="1406" y="50"/>
                    <a:pt x="1405" y="51"/>
                    <a:pt x="1403" y="51"/>
                  </a:cubicBezTo>
                  <a:cubicBezTo>
                    <a:pt x="1401" y="51"/>
                    <a:pt x="1401" y="51"/>
                    <a:pt x="1401" y="51"/>
                  </a:cubicBezTo>
                  <a:cubicBezTo>
                    <a:pt x="1401" y="51"/>
                    <a:pt x="1401" y="51"/>
                    <a:pt x="1401" y="51"/>
                  </a:cubicBezTo>
                  <a:cubicBezTo>
                    <a:pt x="1400" y="51"/>
                    <a:pt x="1400" y="51"/>
                    <a:pt x="1400" y="51"/>
                  </a:cubicBezTo>
                  <a:cubicBezTo>
                    <a:pt x="1400" y="51"/>
                    <a:pt x="1400" y="51"/>
                    <a:pt x="1400" y="51"/>
                  </a:cubicBezTo>
                  <a:cubicBezTo>
                    <a:pt x="1401" y="51"/>
                    <a:pt x="1401" y="51"/>
                    <a:pt x="1401" y="51"/>
                  </a:cubicBezTo>
                  <a:cubicBezTo>
                    <a:pt x="1401" y="50"/>
                    <a:pt x="1400" y="50"/>
                    <a:pt x="1399" y="49"/>
                  </a:cubicBezTo>
                  <a:cubicBezTo>
                    <a:pt x="1399" y="49"/>
                    <a:pt x="1399" y="49"/>
                    <a:pt x="1399" y="49"/>
                  </a:cubicBezTo>
                  <a:cubicBezTo>
                    <a:pt x="1399" y="49"/>
                    <a:pt x="1399" y="49"/>
                    <a:pt x="1399" y="49"/>
                  </a:cubicBezTo>
                  <a:cubicBezTo>
                    <a:pt x="1396" y="49"/>
                    <a:pt x="1390" y="50"/>
                    <a:pt x="1387" y="51"/>
                  </a:cubicBezTo>
                  <a:cubicBezTo>
                    <a:pt x="1386" y="51"/>
                    <a:pt x="1386" y="51"/>
                    <a:pt x="1386" y="51"/>
                  </a:cubicBezTo>
                  <a:cubicBezTo>
                    <a:pt x="1386" y="51"/>
                    <a:pt x="1386" y="51"/>
                    <a:pt x="1386" y="51"/>
                  </a:cubicBezTo>
                  <a:cubicBezTo>
                    <a:pt x="1386" y="50"/>
                    <a:pt x="1386" y="50"/>
                    <a:pt x="1386" y="50"/>
                  </a:cubicBezTo>
                  <a:cubicBezTo>
                    <a:pt x="1386" y="50"/>
                    <a:pt x="1386" y="50"/>
                    <a:pt x="1386" y="50"/>
                  </a:cubicBezTo>
                  <a:cubicBezTo>
                    <a:pt x="1381" y="50"/>
                    <a:pt x="1377" y="51"/>
                    <a:pt x="1373" y="51"/>
                  </a:cubicBezTo>
                  <a:cubicBezTo>
                    <a:pt x="1372" y="51"/>
                    <a:pt x="1372" y="51"/>
                    <a:pt x="1372" y="51"/>
                  </a:cubicBezTo>
                  <a:cubicBezTo>
                    <a:pt x="1372" y="51"/>
                    <a:pt x="1372" y="51"/>
                    <a:pt x="1372" y="51"/>
                  </a:cubicBezTo>
                  <a:cubicBezTo>
                    <a:pt x="1371" y="51"/>
                    <a:pt x="1371" y="51"/>
                    <a:pt x="1371" y="51"/>
                  </a:cubicBezTo>
                  <a:cubicBezTo>
                    <a:pt x="1371" y="51"/>
                    <a:pt x="1371" y="51"/>
                    <a:pt x="1371" y="51"/>
                  </a:cubicBezTo>
                  <a:cubicBezTo>
                    <a:pt x="1370" y="51"/>
                    <a:pt x="1370" y="51"/>
                    <a:pt x="1370" y="51"/>
                  </a:cubicBezTo>
                  <a:cubicBezTo>
                    <a:pt x="1369" y="50"/>
                    <a:pt x="1369" y="50"/>
                    <a:pt x="1369" y="50"/>
                  </a:cubicBezTo>
                  <a:cubicBezTo>
                    <a:pt x="1367" y="50"/>
                    <a:pt x="1367" y="50"/>
                    <a:pt x="1367" y="50"/>
                  </a:cubicBezTo>
                  <a:cubicBezTo>
                    <a:pt x="1362" y="49"/>
                    <a:pt x="1362" y="49"/>
                    <a:pt x="1362" y="49"/>
                  </a:cubicBezTo>
                  <a:cubicBezTo>
                    <a:pt x="1360" y="49"/>
                    <a:pt x="1360" y="49"/>
                    <a:pt x="1360" y="49"/>
                  </a:cubicBezTo>
                  <a:cubicBezTo>
                    <a:pt x="1359" y="49"/>
                    <a:pt x="1359" y="49"/>
                    <a:pt x="1359" y="49"/>
                  </a:cubicBezTo>
                  <a:cubicBezTo>
                    <a:pt x="1359" y="49"/>
                    <a:pt x="1359" y="49"/>
                    <a:pt x="1359" y="49"/>
                  </a:cubicBezTo>
                  <a:cubicBezTo>
                    <a:pt x="1358" y="50"/>
                    <a:pt x="1358" y="50"/>
                    <a:pt x="1358" y="50"/>
                  </a:cubicBezTo>
                  <a:cubicBezTo>
                    <a:pt x="1358" y="50"/>
                    <a:pt x="1358" y="50"/>
                    <a:pt x="1358" y="50"/>
                  </a:cubicBezTo>
                  <a:cubicBezTo>
                    <a:pt x="1358" y="50"/>
                    <a:pt x="1358" y="50"/>
                    <a:pt x="1358" y="50"/>
                  </a:cubicBezTo>
                  <a:cubicBezTo>
                    <a:pt x="1358" y="51"/>
                    <a:pt x="1358" y="51"/>
                    <a:pt x="1358" y="51"/>
                  </a:cubicBezTo>
                  <a:cubicBezTo>
                    <a:pt x="1359" y="51"/>
                    <a:pt x="1359" y="51"/>
                    <a:pt x="1359" y="51"/>
                  </a:cubicBezTo>
                  <a:cubicBezTo>
                    <a:pt x="1361" y="52"/>
                    <a:pt x="1360" y="51"/>
                    <a:pt x="1362" y="53"/>
                  </a:cubicBezTo>
                  <a:cubicBezTo>
                    <a:pt x="1362" y="53"/>
                    <a:pt x="1362" y="53"/>
                    <a:pt x="1362" y="53"/>
                  </a:cubicBezTo>
                  <a:cubicBezTo>
                    <a:pt x="1362" y="53"/>
                    <a:pt x="1362" y="53"/>
                    <a:pt x="1362" y="53"/>
                  </a:cubicBezTo>
                  <a:cubicBezTo>
                    <a:pt x="1362" y="53"/>
                    <a:pt x="1362" y="53"/>
                    <a:pt x="1362" y="53"/>
                  </a:cubicBezTo>
                  <a:cubicBezTo>
                    <a:pt x="1362" y="53"/>
                    <a:pt x="1362" y="53"/>
                    <a:pt x="1362" y="53"/>
                  </a:cubicBezTo>
                  <a:cubicBezTo>
                    <a:pt x="1362" y="54"/>
                    <a:pt x="1362" y="54"/>
                    <a:pt x="1362" y="54"/>
                  </a:cubicBezTo>
                  <a:cubicBezTo>
                    <a:pt x="1362" y="54"/>
                    <a:pt x="1362" y="54"/>
                    <a:pt x="1362" y="54"/>
                  </a:cubicBezTo>
                  <a:cubicBezTo>
                    <a:pt x="1362" y="54"/>
                    <a:pt x="1362" y="54"/>
                    <a:pt x="1362" y="54"/>
                  </a:cubicBezTo>
                  <a:cubicBezTo>
                    <a:pt x="1362" y="54"/>
                    <a:pt x="1362" y="54"/>
                    <a:pt x="1362" y="54"/>
                  </a:cubicBezTo>
                  <a:cubicBezTo>
                    <a:pt x="1362" y="55"/>
                    <a:pt x="1362" y="55"/>
                    <a:pt x="1362" y="55"/>
                  </a:cubicBezTo>
                  <a:cubicBezTo>
                    <a:pt x="1362" y="55"/>
                    <a:pt x="1362" y="55"/>
                    <a:pt x="1362" y="55"/>
                  </a:cubicBezTo>
                  <a:cubicBezTo>
                    <a:pt x="1362" y="55"/>
                    <a:pt x="1362" y="55"/>
                    <a:pt x="1362" y="55"/>
                  </a:cubicBezTo>
                  <a:cubicBezTo>
                    <a:pt x="1363" y="55"/>
                    <a:pt x="1363" y="55"/>
                    <a:pt x="1363" y="55"/>
                  </a:cubicBezTo>
                  <a:cubicBezTo>
                    <a:pt x="1363" y="55"/>
                    <a:pt x="1363" y="55"/>
                    <a:pt x="1363" y="55"/>
                  </a:cubicBezTo>
                  <a:cubicBezTo>
                    <a:pt x="1363" y="56"/>
                    <a:pt x="1363" y="56"/>
                    <a:pt x="1363" y="56"/>
                  </a:cubicBezTo>
                  <a:cubicBezTo>
                    <a:pt x="1364" y="55"/>
                    <a:pt x="1364" y="55"/>
                    <a:pt x="1364" y="55"/>
                  </a:cubicBezTo>
                  <a:cubicBezTo>
                    <a:pt x="1364" y="55"/>
                    <a:pt x="1364" y="55"/>
                    <a:pt x="1364" y="55"/>
                  </a:cubicBezTo>
                  <a:cubicBezTo>
                    <a:pt x="1365" y="55"/>
                    <a:pt x="1365" y="55"/>
                    <a:pt x="1365" y="55"/>
                  </a:cubicBezTo>
                  <a:cubicBezTo>
                    <a:pt x="1365" y="55"/>
                    <a:pt x="1365" y="55"/>
                    <a:pt x="1365" y="55"/>
                  </a:cubicBezTo>
                  <a:cubicBezTo>
                    <a:pt x="1366" y="55"/>
                    <a:pt x="1366" y="55"/>
                    <a:pt x="1366" y="55"/>
                  </a:cubicBezTo>
                  <a:cubicBezTo>
                    <a:pt x="1367" y="56"/>
                    <a:pt x="1368" y="56"/>
                    <a:pt x="1369" y="58"/>
                  </a:cubicBezTo>
                  <a:cubicBezTo>
                    <a:pt x="1369" y="58"/>
                    <a:pt x="1369" y="58"/>
                    <a:pt x="1369" y="58"/>
                  </a:cubicBezTo>
                  <a:cubicBezTo>
                    <a:pt x="1369" y="58"/>
                    <a:pt x="1369" y="58"/>
                    <a:pt x="1369" y="58"/>
                  </a:cubicBezTo>
                  <a:cubicBezTo>
                    <a:pt x="1370" y="58"/>
                    <a:pt x="1370" y="58"/>
                    <a:pt x="1370" y="58"/>
                  </a:cubicBezTo>
                  <a:cubicBezTo>
                    <a:pt x="1370" y="58"/>
                    <a:pt x="1370" y="58"/>
                    <a:pt x="1370" y="58"/>
                  </a:cubicBezTo>
                  <a:cubicBezTo>
                    <a:pt x="1371" y="58"/>
                    <a:pt x="1371" y="58"/>
                    <a:pt x="1371" y="58"/>
                  </a:cubicBezTo>
                  <a:cubicBezTo>
                    <a:pt x="1372" y="58"/>
                    <a:pt x="1372" y="58"/>
                    <a:pt x="1372" y="58"/>
                  </a:cubicBezTo>
                  <a:cubicBezTo>
                    <a:pt x="1372" y="58"/>
                    <a:pt x="1372" y="58"/>
                    <a:pt x="1372" y="58"/>
                  </a:cubicBezTo>
                  <a:cubicBezTo>
                    <a:pt x="1373" y="58"/>
                    <a:pt x="1373" y="58"/>
                    <a:pt x="1373" y="58"/>
                  </a:cubicBezTo>
                  <a:cubicBezTo>
                    <a:pt x="1373" y="59"/>
                    <a:pt x="1373" y="59"/>
                    <a:pt x="1373" y="59"/>
                  </a:cubicBezTo>
                  <a:cubicBezTo>
                    <a:pt x="1373" y="59"/>
                    <a:pt x="1373" y="59"/>
                    <a:pt x="1373" y="59"/>
                  </a:cubicBezTo>
                  <a:cubicBezTo>
                    <a:pt x="1374" y="59"/>
                    <a:pt x="1374" y="59"/>
                    <a:pt x="1374" y="59"/>
                  </a:cubicBezTo>
                  <a:cubicBezTo>
                    <a:pt x="1374" y="59"/>
                    <a:pt x="1374" y="59"/>
                    <a:pt x="1374" y="59"/>
                  </a:cubicBezTo>
                  <a:cubicBezTo>
                    <a:pt x="1374" y="60"/>
                    <a:pt x="1374" y="60"/>
                    <a:pt x="1374" y="60"/>
                  </a:cubicBezTo>
                  <a:cubicBezTo>
                    <a:pt x="1374" y="60"/>
                    <a:pt x="1374" y="60"/>
                    <a:pt x="1374" y="60"/>
                  </a:cubicBezTo>
                  <a:cubicBezTo>
                    <a:pt x="1374" y="60"/>
                    <a:pt x="1374" y="60"/>
                    <a:pt x="1374" y="60"/>
                  </a:cubicBezTo>
                  <a:cubicBezTo>
                    <a:pt x="1374" y="61"/>
                    <a:pt x="1374" y="61"/>
                    <a:pt x="1374" y="61"/>
                  </a:cubicBezTo>
                  <a:cubicBezTo>
                    <a:pt x="1374" y="61"/>
                    <a:pt x="1374" y="61"/>
                    <a:pt x="1374" y="61"/>
                  </a:cubicBezTo>
                  <a:cubicBezTo>
                    <a:pt x="1374" y="61"/>
                    <a:pt x="1374" y="61"/>
                    <a:pt x="1374" y="61"/>
                  </a:cubicBezTo>
                  <a:cubicBezTo>
                    <a:pt x="1374" y="61"/>
                    <a:pt x="1374" y="61"/>
                    <a:pt x="1374" y="61"/>
                  </a:cubicBezTo>
                  <a:cubicBezTo>
                    <a:pt x="1374" y="62"/>
                    <a:pt x="1374" y="62"/>
                    <a:pt x="1374" y="62"/>
                  </a:cubicBezTo>
                  <a:cubicBezTo>
                    <a:pt x="1374" y="62"/>
                    <a:pt x="1374" y="62"/>
                    <a:pt x="1374" y="62"/>
                  </a:cubicBezTo>
                  <a:cubicBezTo>
                    <a:pt x="1375" y="62"/>
                    <a:pt x="1375" y="62"/>
                    <a:pt x="1375" y="62"/>
                  </a:cubicBezTo>
                  <a:cubicBezTo>
                    <a:pt x="1375" y="62"/>
                    <a:pt x="1375" y="62"/>
                    <a:pt x="1375" y="62"/>
                  </a:cubicBezTo>
                  <a:cubicBezTo>
                    <a:pt x="1376" y="62"/>
                    <a:pt x="1376" y="62"/>
                    <a:pt x="1376" y="62"/>
                  </a:cubicBezTo>
                  <a:cubicBezTo>
                    <a:pt x="1376" y="62"/>
                    <a:pt x="1376" y="62"/>
                    <a:pt x="1376" y="62"/>
                  </a:cubicBezTo>
                  <a:cubicBezTo>
                    <a:pt x="1376" y="63"/>
                    <a:pt x="1376" y="63"/>
                    <a:pt x="1376" y="63"/>
                  </a:cubicBezTo>
                  <a:cubicBezTo>
                    <a:pt x="1377" y="63"/>
                    <a:pt x="1377" y="63"/>
                    <a:pt x="1377" y="63"/>
                  </a:cubicBezTo>
                  <a:cubicBezTo>
                    <a:pt x="1377" y="63"/>
                    <a:pt x="1377" y="63"/>
                    <a:pt x="1377" y="63"/>
                  </a:cubicBezTo>
                  <a:cubicBezTo>
                    <a:pt x="1377" y="64"/>
                    <a:pt x="1377" y="64"/>
                    <a:pt x="1377" y="64"/>
                  </a:cubicBezTo>
                  <a:cubicBezTo>
                    <a:pt x="1377" y="64"/>
                    <a:pt x="1377" y="64"/>
                    <a:pt x="1377" y="64"/>
                  </a:cubicBezTo>
                  <a:cubicBezTo>
                    <a:pt x="1378" y="67"/>
                    <a:pt x="1378" y="67"/>
                    <a:pt x="1378" y="67"/>
                  </a:cubicBezTo>
                  <a:cubicBezTo>
                    <a:pt x="1376" y="67"/>
                    <a:pt x="1376" y="67"/>
                    <a:pt x="1376" y="67"/>
                  </a:cubicBezTo>
                  <a:cubicBezTo>
                    <a:pt x="1361" y="60"/>
                    <a:pt x="1361" y="60"/>
                    <a:pt x="1361" y="60"/>
                  </a:cubicBezTo>
                  <a:cubicBezTo>
                    <a:pt x="1359" y="60"/>
                    <a:pt x="1359" y="60"/>
                    <a:pt x="1359" y="60"/>
                  </a:cubicBezTo>
                  <a:cubicBezTo>
                    <a:pt x="1357" y="59"/>
                    <a:pt x="1357" y="59"/>
                    <a:pt x="1357" y="59"/>
                  </a:cubicBezTo>
                  <a:cubicBezTo>
                    <a:pt x="1357" y="59"/>
                    <a:pt x="1357" y="59"/>
                    <a:pt x="1357" y="59"/>
                  </a:cubicBezTo>
                  <a:cubicBezTo>
                    <a:pt x="1356" y="59"/>
                    <a:pt x="1356" y="59"/>
                    <a:pt x="1356" y="59"/>
                  </a:cubicBezTo>
                  <a:cubicBezTo>
                    <a:pt x="1356" y="59"/>
                    <a:pt x="1356" y="59"/>
                    <a:pt x="1356" y="59"/>
                  </a:cubicBezTo>
                  <a:cubicBezTo>
                    <a:pt x="1356" y="59"/>
                    <a:pt x="1356" y="59"/>
                    <a:pt x="1356" y="59"/>
                  </a:cubicBezTo>
                  <a:cubicBezTo>
                    <a:pt x="1355" y="60"/>
                    <a:pt x="1355" y="60"/>
                    <a:pt x="1355" y="60"/>
                  </a:cubicBezTo>
                  <a:cubicBezTo>
                    <a:pt x="1355" y="60"/>
                    <a:pt x="1355" y="60"/>
                    <a:pt x="1355" y="60"/>
                  </a:cubicBezTo>
                  <a:cubicBezTo>
                    <a:pt x="1354" y="60"/>
                    <a:pt x="1353" y="60"/>
                    <a:pt x="1353" y="61"/>
                  </a:cubicBezTo>
                  <a:cubicBezTo>
                    <a:pt x="1352" y="61"/>
                    <a:pt x="1352" y="61"/>
                    <a:pt x="1352" y="61"/>
                  </a:cubicBezTo>
                  <a:cubicBezTo>
                    <a:pt x="1352" y="61"/>
                    <a:pt x="1352" y="61"/>
                    <a:pt x="1352" y="61"/>
                  </a:cubicBezTo>
                  <a:cubicBezTo>
                    <a:pt x="1352" y="61"/>
                    <a:pt x="1352" y="61"/>
                    <a:pt x="1352" y="61"/>
                  </a:cubicBezTo>
                  <a:cubicBezTo>
                    <a:pt x="1352" y="62"/>
                    <a:pt x="1352" y="62"/>
                    <a:pt x="1352" y="62"/>
                  </a:cubicBezTo>
                  <a:cubicBezTo>
                    <a:pt x="1349" y="62"/>
                    <a:pt x="1347" y="62"/>
                    <a:pt x="1344" y="63"/>
                  </a:cubicBezTo>
                  <a:cubicBezTo>
                    <a:pt x="1344" y="63"/>
                    <a:pt x="1344" y="63"/>
                    <a:pt x="1344" y="63"/>
                  </a:cubicBezTo>
                  <a:cubicBezTo>
                    <a:pt x="1343" y="63"/>
                    <a:pt x="1343" y="63"/>
                    <a:pt x="1343" y="63"/>
                  </a:cubicBezTo>
                  <a:cubicBezTo>
                    <a:pt x="1343" y="63"/>
                    <a:pt x="1342" y="64"/>
                    <a:pt x="1342" y="64"/>
                  </a:cubicBezTo>
                  <a:cubicBezTo>
                    <a:pt x="1342" y="64"/>
                    <a:pt x="1342" y="64"/>
                    <a:pt x="1342" y="64"/>
                  </a:cubicBezTo>
                  <a:cubicBezTo>
                    <a:pt x="1342" y="64"/>
                    <a:pt x="1342" y="64"/>
                    <a:pt x="1342" y="64"/>
                  </a:cubicBezTo>
                  <a:cubicBezTo>
                    <a:pt x="1341" y="64"/>
                    <a:pt x="1341" y="64"/>
                    <a:pt x="1341" y="64"/>
                  </a:cubicBezTo>
                  <a:cubicBezTo>
                    <a:pt x="1342" y="65"/>
                    <a:pt x="1342" y="65"/>
                    <a:pt x="1342" y="65"/>
                  </a:cubicBezTo>
                  <a:cubicBezTo>
                    <a:pt x="1341" y="65"/>
                    <a:pt x="1341" y="65"/>
                    <a:pt x="1341" y="65"/>
                  </a:cubicBezTo>
                  <a:cubicBezTo>
                    <a:pt x="1341" y="65"/>
                    <a:pt x="1341" y="65"/>
                    <a:pt x="1341" y="65"/>
                  </a:cubicBezTo>
                  <a:cubicBezTo>
                    <a:pt x="1340" y="65"/>
                    <a:pt x="1337" y="65"/>
                    <a:pt x="1336" y="66"/>
                  </a:cubicBezTo>
                  <a:cubicBezTo>
                    <a:pt x="1336" y="66"/>
                    <a:pt x="1336" y="66"/>
                    <a:pt x="1336" y="66"/>
                  </a:cubicBezTo>
                  <a:cubicBezTo>
                    <a:pt x="1336" y="66"/>
                    <a:pt x="1336" y="66"/>
                    <a:pt x="1336" y="66"/>
                  </a:cubicBezTo>
                  <a:cubicBezTo>
                    <a:pt x="1334" y="67"/>
                    <a:pt x="1333" y="68"/>
                    <a:pt x="1332" y="68"/>
                  </a:cubicBezTo>
                  <a:cubicBezTo>
                    <a:pt x="1329" y="71"/>
                    <a:pt x="1329" y="71"/>
                    <a:pt x="1329" y="71"/>
                  </a:cubicBezTo>
                  <a:cubicBezTo>
                    <a:pt x="1328" y="71"/>
                    <a:pt x="1328" y="71"/>
                    <a:pt x="1328" y="71"/>
                  </a:cubicBezTo>
                  <a:cubicBezTo>
                    <a:pt x="1328" y="70"/>
                    <a:pt x="1328" y="70"/>
                    <a:pt x="1328" y="70"/>
                  </a:cubicBezTo>
                  <a:cubicBezTo>
                    <a:pt x="1330" y="68"/>
                    <a:pt x="1330" y="68"/>
                    <a:pt x="1330" y="68"/>
                  </a:cubicBezTo>
                  <a:cubicBezTo>
                    <a:pt x="1330" y="68"/>
                    <a:pt x="1330" y="68"/>
                    <a:pt x="1330" y="68"/>
                  </a:cubicBezTo>
                  <a:cubicBezTo>
                    <a:pt x="1330" y="67"/>
                    <a:pt x="1330" y="67"/>
                    <a:pt x="1330" y="67"/>
                  </a:cubicBezTo>
                  <a:cubicBezTo>
                    <a:pt x="1329" y="68"/>
                    <a:pt x="1329" y="68"/>
                    <a:pt x="1329" y="68"/>
                  </a:cubicBezTo>
                  <a:cubicBezTo>
                    <a:pt x="1329" y="68"/>
                    <a:pt x="1329" y="68"/>
                    <a:pt x="1329" y="68"/>
                  </a:cubicBezTo>
                  <a:cubicBezTo>
                    <a:pt x="1328" y="68"/>
                    <a:pt x="1328" y="68"/>
                    <a:pt x="1328" y="68"/>
                  </a:cubicBezTo>
                  <a:cubicBezTo>
                    <a:pt x="1328" y="68"/>
                    <a:pt x="1328" y="68"/>
                    <a:pt x="1328" y="68"/>
                  </a:cubicBezTo>
                  <a:cubicBezTo>
                    <a:pt x="1328" y="68"/>
                    <a:pt x="1328" y="68"/>
                    <a:pt x="1328" y="68"/>
                  </a:cubicBezTo>
                  <a:cubicBezTo>
                    <a:pt x="1327" y="68"/>
                    <a:pt x="1327" y="68"/>
                    <a:pt x="1327" y="68"/>
                  </a:cubicBezTo>
                  <a:cubicBezTo>
                    <a:pt x="1327" y="68"/>
                    <a:pt x="1327" y="68"/>
                    <a:pt x="1327" y="68"/>
                  </a:cubicBezTo>
                  <a:cubicBezTo>
                    <a:pt x="1326" y="69"/>
                    <a:pt x="1326" y="69"/>
                    <a:pt x="1326" y="69"/>
                  </a:cubicBezTo>
                  <a:cubicBezTo>
                    <a:pt x="1323" y="70"/>
                    <a:pt x="1323" y="70"/>
                    <a:pt x="1323" y="70"/>
                  </a:cubicBezTo>
                  <a:cubicBezTo>
                    <a:pt x="1317" y="73"/>
                    <a:pt x="1317" y="73"/>
                    <a:pt x="1317" y="73"/>
                  </a:cubicBezTo>
                  <a:cubicBezTo>
                    <a:pt x="1314" y="74"/>
                    <a:pt x="1314" y="74"/>
                    <a:pt x="1314" y="74"/>
                  </a:cubicBezTo>
                  <a:cubicBezTo>
                    <a:pt x="1313" y="74"/>
                    <a:pt x="1313" y="74"/>
                    <a:pt x="1313" y="74"/>
                  </a:cubicBezTo>
                  <a:cubicBezTo>
                    <a:pt x="1313" y="74"/>
                    <a:pt x="1313" y="74"/>
                    <a:pt x="1313" y="74"/>
                  </a:cubicBezTo>
                  <a:cubicBezTo>
                    <a:pt x="1314" y="74"/>
                    <a:pt x="1314" y="74"/>
                    <a:pt x="1314" y="74"/>
                  </a:cubicBezTo>
                  <a:cubicBezTo>
                    <a:pt x="1314" y="73"/>
                    <a:pt x="1314" y="73"/>
                    <a:pt x="1314" y="73"/>
                  </a:cubicBezTo>
                  <a:cubicBezTo>
                    <a:pt x="1314" y="73"/>
                    <a:pt x="1314" y="73"/>
                    <a:pt x="1314" y="73"/>
                  </a:cubicBezTo>
                  <a:cubicBezTo>
                    <a:pt x="1314" y="73"/>
                    <a:pt x="1314" y="73"/>
                    <a:pt x="1314" y="73"/>
                  </a:cubicBezTo>
                  <a:cubicBezTo>
                    <a:pt x="1314" y="72"/>
                    <a:pt x="1314" y="72"/>
                    <a:pt x="1314" y="72"/>
                  </a:cubicBezTo>
                  <a:cubicBezTo>
                    <a:pt x="1314" y="70"/>
                    <a:pt x="1314" y="70"/>
                    <a:pt x="1314" y="70"/>
                  </a:cubicBezTo>
                  <a:cubicBezTo>
                    <a:pt x="1314" y="69"/>
                    <a:pt x="1314" y="69"/>
                    <a:pt x="1314" y="69"/>
                  </a:cubicBezTo>
                  <a:cubicBezTo>
                    <a:pt x="1313" y="69"/>
                    <a:pt x="1313" y="69"/>
                    <a:pt x="1313" y="69"/>
                  </a:cubicBezTo>
                  <a:cubicBezTo>
                    <a:pt x="1312" y="69"/>
                    <a:pt x="1312" y="69"/>
                    <a:pt x="1312" y="69"/>
                  </a:cubicBezTo>
                  <a:cubicBezTo>
                    <a:pt x="1311" y="69"/>
                    <a:pt x="1311" y="69"/>
                    <a:pt x="1311" y="69"/>
                  </a:cubicBezTo>
                  <a:cubicBezTo>
                    <a:pt x="1310" y="69"/>
                    <a:pt x="1310" y="69"/>
                    <a:pt x="1310" y="69"/>
                  </a:cubicBezTo>
                  <a:cubicBezTo>
                    <a:pt x="1309" y="70"/>
                    <a:pt x="1309" y="70"/>
                    <a:pt x="1309" y="70"/>
                  </a:cubicBezTo>
                  <a:cubicBezTo>
                    <a:pt x="1307" y="71"/>
                    <a:pt x="1307" y="71"/>
                    <a:pt x="1307" y="71"/>
                  </a:cubicBezTo>
                  <a:cubicBezTo>
                    <a:pt x="1302" y="74"/>
                    <a:pt x="1302" y="74"/>
                    <a:pt x="1302" y="74"/>
                  </a:cubicBezTo>
                  <a:cubicBezTo>
                    <a:pt x="1300" y="74"/>
                    <a:pt x="1300" y="74"/>
                    <a:pt x="1300" y="74"/>
                  </a:cubicBezTo>
                  <a:cubicBezTo>
                    <a:pt x="1299" y="75"/>
                    <a:pt x="1299" y="75"/>
                    <a:pt x="1299" y="75"/>
                  </a:cubicBezTo>
                  <a:cubicBezTo>
                    <a:pt x="1298" y="75"/>
                    <a:pt x="1298" y="75"/>
                    <a:pt x="1298" y="75"/>
                  </a:cubicBezTo>
                  <a:cubicBezTo>
                    <a:pt x="1298" y="74"/>
                    <a:pt x="1298" y="74"/>
                    <a:pt x="1298" y="74"/>
                  </a:cubicBezTo>
                  <a:cubicBezTo>
                    <a:pt x="1298" y="74"/>
                    <a:pt x="1298" y="74"/>
                    <a:pt x="1298" y="74"/>
                  </a:cubicBezTo>
                  <a:cubicBezTo>
                    <a:pt x="1297" y="74"/>
                    <a:pt x="1297" y="74"/>
                    <a:pt x="1297" y="74"/>
                  </a:cubicBezTo>
                  <a:cubicBezTo>
                    <a:pt x="1297" y="74"/>
                    <a:pt x="1297" y="74"/>
                    <a:pt x="1297" y="74"/>
                  </a:cubicBezTo>
                  <a:cubicBezTo>
                    <a:pt x="1297" y="74"/>
                    <a:pt x="1297" y="74"/>
                    <a:pt x="1297" y="74"/>
                  </a:cubicBezTo>
                  <a:cubicBezTo>
                    <a:pt x="1297" y="74"/>
                    <a:pt x="1297" y="74"/>
                    <a:pt x="1297" y="74"/>
                  </a:cubicBezTo>
                  <a:cubicBezTo>
                    <a:pt x="1297" y="73"/>
                    <a:pt x="1297" y="73"/>
                    <a:pt x="1297" y="73"/>
                  </a:cubicBezTo>
                  <a:cubicBezTo>
                    <a:pt x="1300" y="73"/>
                    <a:pt x="1299" y="72"/>
                    <a:pt x="1302" y="70"/>
                  </a:cubicBezTo>
                  <a:cubicBezTo>
                    <a:pt x="1302" y="70"/>
                    <a:pt x="1302" y="70"/>
                    <a:pt x="1302" y="70"/>
                  </a:cubicBezTo>
                  <a:cubicBezTo>
                    <a:pt x="1251" y="65"/>
                    <a:pt x="1251" y="65"/>
                    <a:pt x="1251" y="65"/>
                  </a:cubicBezTo>
                  <a:cubicBezTo>
                    <a:pt x="1250" y="65"/>
                    <a:pt x="1250" y="65"/>
                    <a:pt x="1250" y="65"/>
                  </a:cubicBezTo>
                  <a:cubicBezTo>
                    <a:pt x="1250" y="65"/>
                    <a:pt x="1250" y="65"/>
                    <a:pt x="1250" y="65"/>
                  </a:cubicBezTo>
                  <a:cubicBezTo>
                    <a:pt x="1250" y="66"/>
                    <a:pt x="1250" y="66"/>
                    <a:pt x="1250" y="66"/>
                  </a:cubicBezTo>
                  <a:cubicBezTo>
                    <a:pt x="1250" y="66"/>
                    <a:pt x="1250" y="66"/>
                    <a:pt x="1250" y="66"/>
                  </a:cubicBezTo>
                  <a:cubicBezTo>
                    <a:pt x="1249" y="66"/>
                    <a:pt x="1249" y="66"/>
                    <a:pt x="1249" y="66"/>
                  </a:cubicBezTo>
                  <a:cubicBezTo>
                    <a:pt x="1248" y="66"/>
                    <a:pt x="1248" y="66"/>
                    <a:pt x="1248" y="66"/>
                  </a:cubicBezTo>
                  <a:cubicBezTo>
                    <a:pt x="1248" y="66"/>
                    <a:pt x="1248" y="66"/>
                    <a:pt x="1248" y="66"/>
                  </a:cubicBezTo>
                  <a:cubicBezTo>
                    <a:pt x="1248" y="67"/>
                    <a:pt x="1248" y="67"/>
                    <a:pt x="1248" y="67"/>
                  </a:cubicBezTo>
                  <a:cubicBezTo>
                    <a:pt x="1247" y="67"/>
                    <a:pt x="1247" y="67"/>
                    <a:pt x="1246" y="67"/>
                  </a:cubicBezTo>
                  <a:cubicBezTo>
                    <a:pt x="1246" y="67"/>
                    <a:pt x="1246" y="67"/>
                    <a:pt x="1246" y="67"/>
                  </a:cubicBezTo>
                  <a:cubicBezTo>
                    <a:pt x="1246" y="67"/>
                    <a:pt x="1246" y="67"/>
                    <a:pt x="1246" y="67"/>
                  </a:cubicBezTo>
                  <a:cubicBezTo>
                    <a:pt x="1246" y="68"/>
                    <a:pt x="1246" y="68"/>
                    <a:pt x="1246" y="68"/>
                  </a:cubicBezTo>
                  <a:cubicBezTo>
                    <a:pt x="1246" y="68"/>
                    <a:pt x="1246" y="68"/>
                    <a:pt x="1246" y="68"/>
                  </a:cubicBezTo>
                  <a:cubicBezTo>
                    <a:pt x="1246" y="68"/>
                    <a:pt x="1246" y="69"/>
                    <a:pt x="1246" y="69"/>
                  </a:cubicBezTo>
                  <a:cubicBezTo>
                    <a:pt x="1246" y="69"/>
                    <a:pt x="1246" y="69"/>
                    <a:pt x="1246" y="69"/>
                  </a:cubicBezTo>
                  <a:cubicBezTo>
                    <a:pt x="1246" y="69"/>
                    <a:pt x="1246" y="69"/>
                    <a:pt x="1246" y="69"/>
                  </a:cubicBezTo>
                  <a:cubicBezTo>
                    <a:pt x="1246" y="70"/>
                    <a:pt x="1246" y="70"/>
                    <a:pt x="1245" y="70"/>
                  </a:cubicBezTo>
                  <a:cubicBezTo>
                    <a:pt x="1245" y="70"/>
                    <a:pt x="1245" y="70"/>
                    <a:pt x="1245" y="70"/>
                  </a:cubicBezTo>
                  <a:cubicBezTo>
                    <a:pt x="1245" y="70"/>
                    <a:pt x="1245" y="70"/>
                    <a:pt x="1245" y="70"/>
                  </a:cubicBezTo>
                  <a:cubicBezTo>
                    <a:pt x="1244" y="70"/>
                    <a:pt x="1244" y="70"/>
                    <a:pt x="1244" y="70"/>
                  </a:cubicBezTo>
                  <a:cubicBezTo>
                    <a:pt x="1244" y="71"/>
                    <a:pt x="1244" y="71"/>
                    <a:pt x="1244" y="71"/>
                  </a:cubicBezTo>
                  <a:cubicBezTo>
                    <a:pt x="1245" y="71"/>
                    <a:pt x="1245" y="71"/>
                    <a:pt x="1245" y="71"/>
                  </a:cubicBezTo>
                  <a:cubicBezTo>
                    <a:pt x="1247" y="71"/>
                    <a:pt x="1247" y="71"/>
                    <a:pt x="1247" y="71"/>
                  </a:cubicBezTo>
                  <a:cubicBezTo>
                    <a:pt x="1251" y="70"/>
                    <a:pt x="1251" y="70"/>
                    <a:pt x="1251" y="70"/>
                  </a:cubicBezTo>
                  <a:cubicBezTo>
                    <a:pt x="1252" y="70"/>
                    <a:pt x="1252" y="70"/>
                    <a:pt x="1252" y="70"/>
                  </a:cubicBezTo>
                  <a:cubicBezTo>
                    <a:pt x="1253" y="70"/>
                    <a:pt x="1253" y="70"/>
                    <a:pt x="1253" y="70"/>
                  </a:cubicBezTo>
                  <a:cubicBezTo>
                    <a:pt x="1253" y="70"/>
                    <a:pt x="1253" y="70"/>
                    <a:pt x="1253" y="70"/>
                  </a:cubicBezTo>
                  <a:cubicBezTo>
                    <a:pt x="1253" y="71"/>
                    <a:pt x="1253" y="71"/>
                    <a:pt x="1253" y="71"/>
                  </a:cubicBezTo>
                  <a:cubicBezTo>
                    <a:pt x="1253" y="71"/>
                    <a:pt x="1253" y="71"/>
                    <a:pt x="1253" y="71"/>
                  </a:cubicBezTo>
                  <a:cubicBezTo>
                    <a:pt x="1253" y="71"/>
                    <a:pt x="1253" y="71"/>
                    <a:pt x="1253" y="71"/>
                  </a:cubicBezTo>
                  <a:cubicBezTo>
                    <a:pt x="1253" y="71"/>
                    <a:pt x="1253" y="71"/>
                    <a:pt x="1253" y="71"/>
                  </a:cubicBezTo>
                  <a:cubicBezTo>
                    <a:pt x="1253" y="71"/>
                    <a:pt x="1253" y="71"/>
                    <a:pt x="1253" y="71"/>
                  </a:cubicBezTo>
                  <a:cubicBezTo>
                    <a:pt x="1255" y="72"/>
                    <a:pt x="1258" y="71"/>
                    <a:pt x="1259" y="71"/>
                  </a:cubicBezTo>
                  <a:cubicBezTo>
                    <a:pt x="1259" y="72"/>
                    <a:pt x="1259" y="72"/>
                    <a:pt x="1259" y="72"/>
                  </a:cubicBezTo>
                  <a:cubicBezTo>
                    <a:pt x="1259" y="72"/>
                    <a:pt x="1259" y="72"/>
                    <a:pt x="1259" y="72"/>
                  </a:cubicBezTo>
                  <a:cubicBezTo>
                    <a:pt x="1260" y="72"/>
                    <a:pt x="1260" y="72"/>
                    <a:pt x="1260" y="72"/>
                  </a:cubicBezTo>
                  <a:cubicBezTo>
                    <a:pt x="1262" y="72"/>
                    <a:pt x="1262" y="72"/>
                    <a:pt x="1262" y="72"/>
                  </a:cubicBezTo>
                  <a:cubicBezTo>
                    <a:pt x="1267" y="71"/>
                    <a:pt x="1267" y="71"/>
                    <a:pt x="1267" y="71"/>
                  </a:cubicBezTo>
                  <a:cubicBezTo>
                    <a:pt x="1268" y="71"/>
                    <a:pt x="1268" y="71"/>
                    <a:pt x="1268" y="71"/>
                  </a:cubicBezTo>
                  <a:cubicBezTo>
                    <a:pt x="1269" y="71"/>
                    <a:pt x="1269" y="71"/>
                    <a:pt x="1269" y="71"/>
                  </a:cubicBezTo>
                  <a:cubicBezTo>
                    <a:pt x="1269" y="72"/>
                    <a:pt x="1269" y="72"/>
                    <a:pt x="1269" y="72"/>
                  </a:cubicBezTo>
                  <a:cubicBezTo>
                    <a:pt x="1269" y="72"/>
                    <a:pt x="1269" y="72"/>
                    <a:pt x="1269" y="72"/>
                  </a:cubicBezTo>
                  <a:cubicBezTo>
                    <a:pt x="1269" y="72"/>
                    <a:pt x="1269" y="72"/>
                    <a:pt x="1269" y="72"/>
                  </a:cubicBezTo>
                  <a:cubicBezTo>
                    <a:pt x="1266" y="73"/>
                    <a:pt x="1263" y="74"/>
                    <a:pt x="1259" y="74"/>
                  </a:cubicBezTo>
                  <a:cubicBezTo>
                    <a:pt x="1223" y="79"/>
                    <a:pt x="1223" y="79"/>
                    <a:pt x="1223" y="79"/>
                  </a:cubicBezTo>
                  <a:cubicBezTo>
                    <a:pt x="1223" y="79"/>
                    <a:pt x="1223" y="79"/>
                    <a:pt x="1223" y="79"/>
                  </a:cubicBezTo>
                  <a:cubicBezTo>
                    <a:pt x="1216" y="81"/>
                    <a:pt x="1210" y="81"/>
                    <a:pt x="1203" y="83"/>
                  </a:cubicBezTo>
                  <a:cubicBezTo>
                    <a:pt x="1201" y="84"/>
                    <a:pt x="1201" y="84"/>
                    <a:pt x="1201" y="84"/>
                  </a:cubicBezTo>
                  <a:cubicBezTo>
                    <a:pt x="1195" y="84"/>
                    <a:pt x="1195" y="84"/>
                    <a:pt x="1195" y="84"/>
                  </a:cubicBezTo>
                  <a:cubicBezTo>
                    <a:pt x="1193" y="85"/>
                    <a:pt x="1193" y="85"/>
                    <a:pt x="1193" y="85"/>
                  </a:cubicBezTo>
                  <a:cubicBezTo>
                    <a:pt x="1191" y="85"/>
                    <a:pt x="1191" y="85"/>
                    <a:pt x="1191" y="85"/>
                  </a:cubicBezTo>
                  <a:cubicBezTo>
                    <a:pt x="1190" y="86"/>
                    <a:pt x="1189" y="86"/>
                    <a:pt x="1188" y="86"/>
                  </a:cubicBezTo>
                  <a:cubicBezTo>
                    <a:pt x="1185" y="87"/>
                    <a:pt x="1185" y="87"/>
                    <a:pt x="1185" y="87"/>
                  </a:cubicBezTo>
                  <a:cubicBezTo>
                    <a:pt x="1179" y="88"/>
                    <a:pt x="1179" y="88"/>
                    <a:pt x="1179" y="88"/>
                  </a:cubicBezTo>
                  <a:cubicBezTo>
                    <a:pt x="1177" y="88"/>
                    <a:pt x="1177" y="88"/>
                    <a:pt x="1177" y="88"/>
                  </a:cubicBezTo>
                  <a:cubicBezTo>
                    <a:pt x="1176" y="89"/>
                    <a:pt x="1176" y="89"/>
                    <a:pt x="1176" y="89"/>
                  </a:cubicBezTo>
                  <a:cubicBezTo>
                    <a:pt x="1175" y="89"/>
                    <a:pt x="1175" y="89"/>
                    <a:pt x="1175" y="89"/>
                  </a:cubicBezTo>
                  <a:cubicBezTo>
                    <a:pt x="1175" y="89"/>
                    <a:pt x="1175" y="89"/>
                    <a:pt x="1175" y="89"/>
                  </a:cubicBezTo>
                  <a:cubicBezTo>
                    <a:pt x="1175" y="89"/>
                    <a:pt x="1175" y="89"/>
                    <a:pt x="1175" y="89"/>
                  </a:cubicBezTo>
                  <a:cubicBezTo>
                    <a:pt x="1175" y="90"/>
                    <a:pt x="1175" y="90"/>
                    <a:pt x="1175" y="90"/>
                  </a:cubicBezTo>
                  <a:cubicBezTo>
                    <a:pt x="1174" y="90"/>
                    <a:pt x="1174" y="90"/>
                    <a:pt x="1174" y="90"/>
                  </a:cubicBezTo>
                  <a:cubicBezTo>
                    <a:pt x="1174" y="90"/>
                    <a:pt x="1174" y="90"/>
                    <a:pt x="1174" y="90"/>
                  </a:cubicBezTo>
                  <a:cubicBezTo>
                    <a:pt x="1172" y="91"/>
                    <a:pt x="1172" y="91"/>
                    <a:pt x="1172" y="91"/>
                  </a:cubicBezTo>
                  <a:cubicBezTo>
                    <a:pt x="1172" y="91"/>
                    <a:pt x="1172" y="91"/>
                    <a:pt x="1172" y="91"/>
                  </a:cubicBezTo>
                  <a:cubicBezTo>
                    <a:pt x="1171" y="91"/>
                    <a:pt x="1171" y="91"/>
                    <a:pt x="1171" y="91"/>
                  </a:cubicBezTo>
                  <a:cubicBezTo>
                    <a:pt x="1171" y="91"/>
                    <a:pt x="1171" y="91"/>
                    <a:pt x="1171" y="91"/>
                  </a:cubicBezTo>
                  <a:cubicBezTo>
                    <a:pt x="1171" y="91"/>
                    <a:pt x="1171" y="91"/>
                    <a:pt x="1171" y="91"/>
                  </a:cubicBezTo>
                  <a:cubicBezTo>
                    <a:pt x="1170" y="91"/>
                    <a:pt x="1170" y="91"/>
                    <a:pt x="1170" y="91"/>
                  </a:cubicBezTo>
                  <a:cubicBezTo>
                    <a:pt x="1171" y="91"/>
                    <a:pt x="1171" y="91"/>
                    <a:pt x="1171" y="91"/>
                  </a:cubicBezTo>
                  <a:cubicBezTo>
                    <a:pt x="1171" y="91"/>
                    <a:pt x="1171" y="91"/>
                    <a:pt x="1171" y="91"/>
                  </a:cubicBezTo>
                  <a:cubicBezTo>
                    <a:pt x="1171" y="91"/>
                    <a:pt x="1171" y="91"/>
                    <a:pt x="1171" y="91"/>
                  </a:cubicBezTo>
                  <a:cubicBezTo>
                    <a:pt x="1171" y="91"/>
                    <a:pt x="1171" y="91"/>
                    <a:pt x="1171" y="91"/>
                  </a:cubicBezTo>
                  <a:cubicBezTo>
                    <a:pt x="1172" y="91"/>
                    <a:pt x="1172" y="91"/>
                    <a:pt x="1172" y="91"/>
                  </a:cubicBezTo>
                  <a:cubicBezTo>
                    <a:pt x="1172" y="92"/>
                    <a:pt x="1172" y="92"/>
                    <a:pt x="1172" y="92"/>
                  </a:cubicBezTo>
                  <a:cubicBezTo>
                    <a:pt x="1172" y="92"/>
                    <a:pt x="1172" y="92"/>
                    <a:pt x="1172" y="92"/>
                  </a:cubicBezTo>
                  <a:cubicBezTo>
                    <a:pt x="1169" y="92"/>
                    <a:pt x="1169" y="92"/>
                    <a:pt x="1167" y="93"/>
                  </a:cubicBezTo>
                  <a:cubicBezTo>
                    <a:pt x="1167" y="93"/>
                    <a:pt x="1167" y="93"/>
                    <a:pt x="1167" y="93"/>
                  </a:cubicBezTo>
                  <a:cubicBezTo>
                    <a:pt x="1167" y="94"/>
                    <a:pt x="1167" y="94"/>
                    <a:pt x="1167" y="94"/>
                  </a:cubicBezTo>
                  <a:cubicBezTo>
                    <a:pt x="1167" y="94"/>
                    <a:pt x="1167" y="94"/>
                    <a:pt x="1167" y="94"/>
                  </a:cubicBezTo>
                  <a:cubicBezTo>
                    <a:pt x="1167" y="94"/>
                    <a:pt x="1167" y="94"/>
                    <a:pt x="1167" y="94"/>
                  </a:cubicBezTo>
                  <a:cubicBezTo>
                    <a:pt x="1166" y="94"/>
                    <a:pt x="1166" y="94"/>
                    <a:pt x="1166" y="94"/>
                  </a:cubicBezTo>
                  <a:cubicBezTo>
                    <a:pt x="1165" y="94"/>
                    <a:pt x="1165" y="94"/>
                    <a:pt x="1165" y="94"/>
                  </a:cubicBezTo>
                  <a:cubicBezTo>
                    <a:pt x="1165" y="94"/>
                    <a:pt x="1165" y="94"/>
                    <a:pt x="1165" y="94"/>
                  </a:cubicBezTo>
                  <a:cubicBezTo>
                    <a:pt x="1164" y="95"/>
                    <a:pt x="1164" y="95"/>
                    <a:pt x="1164" y="95"/>
                  </a:cubicBezTo>
                  <a:cubicBezTo>
                    <a:pt x="1164" y="95"/>
                    <a:pt x="1164" y="95"/>
                    <a:pt x="1164" y="95"/>
                  </a:cubicBezTo>
                  <a:cubicBezTo>
                    <a:pt x="1164" y="95"/>
                    <a:pt x="1164" y="95"/>
                    <a:pt x="1164" y="95"/>
                  </a:cubicBezTo>
                  <a:cubicBezTo>
                    <a:pt x="1163" y="95"/>
                    <a:pt x="1163" y="95"/>
                    <a:pt x="1163" y="95"/>
                  </a:cubicBezTo>
                  <a:cubicBezTo>
                    <a:pt x="1163" y="95"/>
                    <a:pt x="1163" y="95"/>
                    <a:pt x="1163" y="95"/>
                  </a:cubicBezTo>
                  <a:cubicBezTo>
                    <a:pt x="1163" y="95"/>
                    <a:pt x="1163" y="95"/>
                    <a:pt x="1163" y="95"/>
                  </a:cubicBezTo>
                  <a:cubicBezTo>
                    <a:pt x="1163" y="96"/>
                    <a:pt x="1163" y="96"/>
                    <a:pt x="1163" y="96"/>
                  </a:cubicBezTo>
                  <a:cubicBezTo>
                    <a:pt x="1163" y="96"/>
                    <a:pt x="1163" y="96"/>
                    <a:pt x="1163" y="96"/>
                  </a:cubicBezTo>
                  <a:cubicBezTo>
                    <a:pt x="1163" y="96"/>
                    <a:pt x="1163" y="96"/>
                    <a:pt x="1163" y="96"/>
                  </a:cubicBezTo>
                  <a:cubicBezTo>
                    <a:pt x="1163" y="96"/>
                    <a:pt x="1163" y="96"/>
                    <a:pt x="1163" y="96"/>
                  </a:cubicBezTo>
                  <a:cubicBezTo>
                    <a:pt x="1162" y="97"/>
                    <a:pt x="1162" y="97"/>
                    <a:pt x="1162" y="97"/>
                  </a:cubicBezTo>
                  <a:cubicBezTo>
                    <a:pt x="1162" y="97"/>
                    <a:pt x="1162" y="97"/>
                    <a:pt x="1162" y="97"/>
                  </a:cubicBezTo>
                  <a:cubicBezTo>
                    <a:pt x="1161" y="97"/>
                    <a:pt x="1161" y="97"/>
                    <a:pt x="1161" y="97"/>
                  </a:cubicBezTo>
                  <a:cubicBezTo>
                    <a:pt x="1161" y="97"/>
                    <a:pt x="1161" y="97"/>
                    <a:pt x="1161" y="97"/>
                  </a:cubicBezTo>
                  <a:cubicBezTo>
                    <a:pt x="1161" y="98"/>
                    <a:pt x="1161" y="98"/>
                    <a:pt x="1161" y="98"/>
                  </a:cubicBezTo>
                  <a:cubicBezTo>
                    <a:pt x="1160" y="98"/>
                    <a:pt x="1160" y="98"/>
                    <a:pt x="1159" y="98"/>
                  </a:cubicBezTo>
                  <a:cubicBezTo>
                    <a:pt x="1159" y="99"/>
                    <a:pt x="1159" y="99"/>
                    <a:pt x="1159" y="99"/>
                  </a:cubicBezTo>
                  <a:cubicBezTo>
                    <a:pt x="1158" y="99"/>
                    <a:pt x="1158" y="99"/>
                    <a:pt x="1158" y="99"/>
                  </a:cubicBezTo>
                  <a:cubicBezTo>
                    <a:pt x="1157" y="100"/>
                    <a:pt x="1157" y="100"/>
                    <a:pt x="1157" y="100"/>
                  </a:cubicBezTo>
                  <a:cubicBezTo>
                    <a:pt x="1153" y="103"/>
                    <a:pt x="1153" y="103"/>
                    <a:pt x="1153" y="103"/>
                  </a:cubicBezTo>
                  <a:cubicBezTo>
                    <a:pt x="1152" y="103"/>
                    <a:pt x="1152" y="103"/>
                    <a:pt x="1152" y="103"/>
                  </a:cubicBezTo>
                  <a:cubicBezTo>
                    <a:pt x="1151" y="104"/>
                    <a:pt x="1151" y="104"/>
                    <a:pt x="1151" y="104"/>
                  </a:cubicBezTo>
                  <a:cubicBezTo>
                    <a:pt x="1150" y="104"/>
                    <a:pt x="1150" y="104"/>
                    <a:pt x="1150" y="104"/>
                  </a:cubicBezTo>
                  <a:cubicBezTo>
                    <a:pt x="1148" y="103"/>
                    <a:pt x="1148" y="103"/>
                    <a:pt x="1148" y="103"/>
                  </a:cubicBezTo>
                  <a:cubicBezTo>
                    <a:pt x="1145" y="103"/>
                    <a:pt x="1145" y="103"/>
                    <a:pt x="1145" y="103"/>
                  </a:cubicBezTo>
                  <a:cubicBezTo>
                    <a:pt x="1137" y="102"/>
                    <a:pt x="1137" y="102"/>
                    <a:pt x="1137" y="102"/>
                  </a:cubicBezTo>
                  <a:cubicBezTo>
                    <a:pt x="1134" y="102"/>
                    <a:pt x="1134" y="102"/>
                    <a:pt x="1134" y="102"/>
                  </a:cubicBezTo>
                  <a:cubicBezTo>
                    <a:pt x="1132" y="102"/>
                    <a:pt x="1132" y="102"/>
                    <a:pt x="1132" y="102"/>
                  </a:cubicBezTo>
                  <a:cubicBezTo>
                    <a:pt x="1132" y="102"/>
                    <a:pt x="1132" y="102"/>
                    <a:pt x="1132" y="102"/>
                  </a:cubicBezTo>
                  <a:cubicBezTo>
                    <a:pt x="1132" y="103"/>
                    <a:pt x="1132" y="103"/>
                    <a:pt x="1131" y="104"/>
                  </a:cubicBezTo>
                  <a:cubicBezTo>
                    <a:pt x="1131" y="104"/>
                    <a:pt x="1131" y="104"/>
                    <a:pt x="1131" y="104"/>
                  </a:cubicBezTo>
                  <a:cubicBezTo>
                    <a:pt x="1131" y="104"/>
                    <a:pt x="1131" y="104"/>
                    <a:pt x="1131" y="104"/>
                  </a:cubicBezTo>
                  <a:cubicBezTo>
                    <a:pt x="1132" y="104"/>
                    <a:pt x="1132" y="104"/>
                    <a:pt x="1132" y="104"/>
                  </a:cubicBezTo>
                  <a:cubicBezTo>
                    <a:pt x="1132" y="105"/>
                    <a:pt x="1132" y="105"/>
                    <a:pt x="1132" y="105"/>
                  </a:cubicBezTo>
                  <a:cubicBezTo>
                    <a:pt x="1133" y="104"/>
                    <a:pt x="1133" y="104"/>
                    <a:pt x="1133" y="104"/>
                  </a:cubicBezTo>
                  <a:cubicBezTo>
                    <a:pt x="1134" y="104"/>
                    <a:pt x="1134" y="104"/>
                    <a:pt x="1134" y="104"/>
                  </a:cubicBezTo>
                  <a:cubicBezTo>
                    <a:pt x="1134" y="104"/>
                    <a:pt x="1134" y="104"/>
                    <a:pt x="1134" y="104"/>
                  </a:cubicBezTo>
                  <a:cubicBezTo>
                    <a:pt x="1135" y="104"/>
                    <a:pt x="1135" y="104"/>
                    <a:pt x="1135" y="104"/>
                  </a:cubicBezTo>
                  <a:cubicBezTo>
                    <a:pt x="1135" y="104"/>
                    <a:pt x="1135" y="104"/>
                    <a:pt x="1135" y="104"/>
                  </a:cubicBezTo>
                  <a:cubicBezTo>
                    <a:pt x="1136" y="105"/>
                    <a:pt x="1136" y="105"/>
                    <a:pt x="1136" y="105"/>
                  </a:cubicBezTo>
                  <a:cubicBezTo>
                    <a:pt x="1136" y="105"/>
                    <a:pt x="1136" y="105"/>
                    <a:pt x="1136" y="105"/>
                  </a:cubicBezTo>
                  <a:cubicBezTo>
                    <a:pt x="1137" y="105"/>
                    <a:pt x="1138" y="105"/>
                    <a:pt x="1138" y="105"/>
                  </a:cubicBezTo>
                  <a:cubicBezTo>
                    <a:pt x="1139" y="105"/>
                    <a:pt x="1139" y="105"/>
                    <a:pt x="1139" y="105"/>
                  </a:cubicBezTo>
                  <a:cubicBezTo>
                    <a:pt x="1139" y="105"/>
                    <a:pt x="1139" y="105"/>
                    <a:pt x="1139" y="105"/>
                  </a:cubicBezTo>
                  <a:cubicBezTo>
                    <a:pt x="1139" y="106"/>
                    <a:pt x="1139" y="106"/>
                    <a:pt x="1139" y="106"/>
                  </a:cubicBezTo>
                  <a:cubicBezTo>
                    <a:pt x="1140" y="106"/>
                    <a:pt x="1140" y="106"/>
                    <a:pt x="1140" y="106"/>
                  </a:cubicBezTo>
                  <a:cubicBezTo>
                    <a:pt x="1140" y="106"/>
                    <a:pt x="1140" y="106"/>
                    <a:pt x="1140" y="106"/>
                  </a:cubicBezTo>
                  <a:cubicBezTo>
                    <a:pt x="1140" y="106"/>
                    <a:pt x="1140" y="106"/>
                    <a:pt x="1140" y="106"/>
                  </a:cubicBezTo>
                  <a:cubicBezTo>
                    <a:pt x="1141" y="106"/>
                    <a:pt x="1141" y="106"/>
                    <a:pt x="1141" y="106"/>
                  </a:cubicBezTo>
                  <a:cubicBezTo>
                    <a:pt x="1142" y="106"/>
                    <a:pt x="1142" y="106"/>
                    <a:pt x="1142" y="106"/>
                  </a:cubicBezTo>
                  <a:cubicBezTo>
                    <a:pt x="1142" y="106"/>
                    <a:pt x="1142" y="106"/>
                    <a:pt x="1142" y="106"/>
                  </a:cubicBezTo>
                  <a:cubicBezTo>
                    <a:pt x="1143" y="106"/>
                    <a:pt x="1143" y="106"/>
                    <a:pt x="1143" y="106"/>
                  </a:cubicBezTo>
                  <a:cubicBezTo>
                    <a:pt x="1143" y="106"/>
                    <a:pt x="1143" y="106"/>
                    <a:pt x="1143" y="106"/>
                  </a:cubicBezTo>
                  <a:cubicBezTo>
                    <a:pt x="1143" y="106"/>
                    <a:pt x="1143" y="106"/>
                    <a:pt x="1143" y="106"/>
                  </a:cubicBezTo>
                  <a:cubicBezTo>
                    <a:pt x="1141" y="107"/>
                    <a:pt x="1139" y="107"/>
                    <a:pt x="1137" y="108"/>
                  </a:cubicBezTo>
                  <a:cubicBezTo>
                    <a:pt x="1137" y="108"/>
                    <a:pt x="1137" y="108"/>
                    <a:pt x="1137" y="108"/>
                  </a:cubicBezTo>
                  <a:cubicBezTo>
                    <a:pt x="1137" y="108"/>
                    <a:pt x="1137" y="108"/>
                    <a:pt x="1137" y="108"/>
                  </a:cubicBezTo>
                  <a:cubicBezTo>
                    <a:pt x="1137" y="109"/>
                    <a:pt x="1137" y="109"/>
                    <a:pt x="1137" y="109"/>
                  </a:cubicBezTo>
                  <a:cubicBezTo>
                    <a:pt x="1137" y="109"/>
                    <a:pt x="1137" y="109"/>
                    <a:pt x="1137" y="109"/>
                  </a:cubicBezTo>
                  <a:cubicBezTo>
                    <a:pt x="1138" y="109"/>
                    <a:pt x="1138" y="109"/>
                    <a:pt x="1140" y="109"/>
                  </a:cubicBezTo>
                  <a:cubicBezTo>
                    <a:pt x="1140" y="109"/>
                    <a:pt x="1140" y="109"/>
                    <a:pt x="1140" y="109"/>
                  </a:cubicBezTo>
                  <a:cubicBezTo>
                    <a:pt x="1140" y="110"/>
                    <a:pt x="1140" y="110"/>
                    <a:pt x="1140" y="110"/>
                  </a:cubicBezTo>
                  <a:cubicBezTo>
                    <a:pt x="1140" y="110"/>
                    <a:pt x="1140" y="110"/>
                    <a:pt x="1140" y="110"/>
                  </a:cubicBezTo>
                  <a:cubicBezTo>
                    <a:pt x="1140" y="110"/>
                    <a:pt x="1140" y="110"/>
                    <a:pt x="1140" y="110"/>
                  </a:cubicBezTo>
                  <a:cubicBezTo>
                    <a:pt x="1140" y="110"/>
                    <a:pt x="1140" y="110"/>
                    <a:pt x="1140" y="110"/>
                  </a:cubicBezTo>
                  <a:cubicBezTo>
                    <a:pt x="1140" y="110"/>
                    <a:pt x="1140" y="110"/>
                    <a:pt x="1140" y="110"/>
                  </a:cubicBezTo>
                  <a:cubicBezTo>
                    <a:pt x="1139" y="111"/>
                    <a:pt x="1139" y="111"/>
                    <a:pt x="1139" y="111"/>
                  </a:cubicBezTo>
                  <a:cubicBezTo>
                    <a:pt x="1139" y="111"/>
                    <a:pt x="1139" y="111"/>
                    <a:pt x="1139" y="111"/>
                  </a:cubicBezTo>
                  <a:cubicBezTo>
                    <a:pt x="1139" y="111"/>
                    <a:pt x="1139" y="111"/>
                    <a:pt x="1139" y="111"/>
                  </a:cubicBezTo>
                  <a:cubicBezTo>
                    <a:pt x="1139" y="111"/>
                    <a:pt x="1139" y="111"/>
                    <a:pt x="1139" y="111"/>
                  </a:cubicBezTo>
                  <a:cubicBezTo>
                    <a:pt x="1138" y="111"/>
                    <a:pt x="1138" y="111"/>
                    <a:pt x="1138" y="111"/>
                  </a:cubicBezTo>
                  <a:cubicBezTo>
                    <a:pt x="1138" y="111"/>
                    <a:pt x="1138" y="111"/>
                    <a:pt x="1138" y="111"/>
                  </a:cubicBezTo>
                  <a:cubicBezTo>
                    <a:pt x="1138" y="112"/>
                    <a:pt x="1138" y="112"/>
                    <a:pt x="1138" y="112"/>
                  </a:cubicBezTo>
                  <a:cubicBezTo>
                    <a:pt x="1137" y="112"/>
                    <a:pt x="1136" y="112"/>
                    <a:pt x="1136" y="113"/>
                  </a:cubicBezTo>
                  <a:cubicBezTo>
                    <a:pt x="1135" y="113"/>
                    <a:pt x="1135" y="113"/>
                    <a:pt x="1135" y="113"/>
                  </a:cubicBezTo>
                  <a:cubicBezTo>
                    <a:pt x="1135" y="113"/>
                    <a:pt x="1135" y="113"/>
                    <a:pt x="1135" y="113"/>
                  </a:cubicBezTo>
                  <a:cubicBezTo>
                    <a:pt x="1135" y="113"/>
                    <a:pt x="1135" y="113"/>
                    <a:pt x="1135" y="113"/>
                  </a:cubicBezTo>
                  <a:cubicBezTo>
                    <a:pt x="1134" y="114"/>
                    <a:pt x="1134" y="114"/>
                    <a:pt x="1134" y="114"/>
                  </a:cubicBezTo>
                  <a:cubicBezTo>
                    <a:pt x="1134" y="114"/>
                    <a:pt x="1134" y="114"/>
                    <a:pt x="1134" y="114"/>
                  </a:cubicBezTo>
                  <a:cubicBezTo>
                    <a:pt x="1134" y="114"/>
                    <a:pt x="1134" y="114"/>
                    <a:pt x="1134" y="114"/>
                  </a:cubicBezTo>
                  <a:cubicBezTo>
                    <a:pt x="1134" y="114"/>
                    <a:pt x="1134" y="114"/>
                    <a:pt x="1134" y="114"/>
                  </a:cubicBezTo>
                  <a:cubicBezTo>
                    <a:pt x="1134" y="115"/>
                    <a:pt x="1134" y="115"/>
                    <a:pt x="1134" y="115"/>
                  </a:cubicBezTo>
                  <a:cubicBezTo>
                    <a:pt x="1134" y="115"/>
                    <a:pt x="1134" y="115"/>
                    <a:pt x="1134" y="115"/>
                  </a:cubicBezTo>
                  <a:cubicBezTo>
                    <a:pt x="1134" y="115"/>
                    <a:pt x="1134" y="115"/>
                    <a:pt x="1134" y="115"/>
                  </a:cubicBezTo>
                  <a:cubicBezTo>
                    <a:pt x="1134" y="116"/>
                    <a:pt x="1134" y="116"/>
                    <a:pt x="1134" y="116"/>
                  </a:cubicBezTo>
                  <a:cubicBezTo>
                    <a:pt x="1134" y="116"/>
                    <a:pt x="1134" y="116"/>
                    <a:pt x="1134" y="116"/>
                  </a:cubicBezTo>
                  <a:cubicBezTo>
                    <a:pt x="1134" y="116"/>
                    <a:pt x="1134" y="116"/>
                    <a:pt x="1134" y="116"/>
                  </a:cubicBezTo>
                  <a:cubicBezTo>
                    <a:pt x="1132" y="117"/>
                    <a:pt x="1131" y="117"/>
                    <a:pt x="1129" y="119"/>
                  </a:cubicBezTo>
                  <a:cubicBezTo>
                    <a:pt x="1129" y="119"/>
                    <a:pt x="1129" y="119"/>
                    <a:pt x="1129" y="119"/>
                  </a:cubicBezTo>
                  <a:cubicBezTo>
                    <a:pt x="1129" y="119"/>
                    <a:pt x="1129" y="119"/>
                    <a:pt x="1129" y="119"/>
                  </a:cubicBezTo>
                  <a:cubicBezTo>
                    <a:pt x="1130" y="120"/>
                    <a:pt x="1130" y="120"/>
                    <a:pt x="1130" y="120"/>
                  </a:cubicBezTo>
                  <a:cubicBezTo>
                    <a:pt x="1131" y="122"/>
                    <a:pt x="1131" y="122"/>
                    <a:pt x="1131" y="122"/>
                  </a:cubicBezTo>
                  <a:cubicBezTo>
                    <a:pt x="1132" y="122"/>
                    <a:pt x="1132" y="122"/>
                    <a:pt x="1132" y="122"/>
                  </a:cubicBezTo>
                  <a:cubicBezTo>
                    <a:pt x="1132" y="122"/>
                    <a:pt x="1132" y="122"/>
                    <a:pt x="1132" y="122"/>
                  </a:cubicBezTo>
                  <a:cubicBezTo>
                    <a:pt x="1131" y="122"/>
                    <a:pt x="1131" y="122"/>
                    <a:pt x="1131" y="122"/>
                  </a:cubicBezTo>
                  <a:cubicBezTo>
                    <a:pt x="1131" y="122"/>
                    <a:pt x="1131" y="122"/>
                    <a:pt x="1131" y="122"/>
                  </a:cubicBezTo>
                  <a:cubicBezTo>
                    <a:pt x="1130" y="122"/>
                    <a:pt x="1130" y="122"/>
                    <a:pt x="1130" y="122"/>
                  </a:cubicBezTo>
                  <a:cubicBezTo>
                    <a:pt x="1129" y="122"/>
                    <a:pt x="1129" y="122"/>
                    <a:pt x="1129" y="122"/>
                  </a:cubicBezTo>
                  <a:cubicBezTo>
                    <a:pt x="1128" y="122"/>
                    <a:pt x="1128" y="122"/>
                    <a:pt x="1128" y="122"/>
                  </a:cubicBezTo>
                  <a:cubicBezTo>
                    <a:pt x="1127" y="122"/>
                    <a:pt x="1127" y="122"/>
                    <a:pt x="1127" y="122"/>
                  </a:cubicBezTo>
                  <a:cubicBezTo>
                    <a:pt x="1127" y="122"/>
                    <a:pt x="1127" y="122"/>
                    <a:pt x="1127" y="122"/>
                  </a:cubicBezTo>
                  <a:cubicBezTo>
                    <a:pt x="1127" y="122"/>
                    <a:pt x="1127" y="122"/>
                    <a:pt x="1127" y="122"/>
                  </a:cubicBezTo>
                  <a:cubicBezTo>
                    <a:pt x="1127" y="121"/>
                    <a:pt x="1127" y="121"/>
                    <a:pt x="1127" y="121"/>
                  </a:cubicBezTo>
                  <a:cubicBezTo>
                    <a:pt x="1127" y="121"/>
                    <a:pt x="1127" y="121"/>
                    <a:pt x="1127" y="121"/>
                  </a:cubicBezTo>
                  <a:cubicBezTo>
                    <a:pt x="1126" y="121"/>
                    <a:pt x="1126" y="121"/>
                    <a:pt x="1126" y="121"/>
                  </a:cubicBezTo>
                  <a:cubicBezTo>
                    <a:pt x="1124" y="120"/>
                    <a:pt x="1128" y="119"/>
                    <a:pt x="1125" y="119"/>
                  </a:cubicBezTo>
                  <a:cubicBezTo>
                    <a:pt x="1125" y="119"/>
                    <a:pt x="1125" y="119"/>
                    <a:pt x="1125" y="119"/>
                  </a:cubicBezTo>
                  <a:cubicBezTo>
                    <a:pt x="1124" y="119"/>
                    <a:pt x="1124" y="119"/>
                    <a:pt x="1124" y="119"/>
                  </a:cubicBezTo>
                  <a:cubicBezTo>
                    <a:pt x="1118" y="119"/>
                    <a:pt x="1122" y="119"/>
                    <a:pt x="1116" y="116"/>
                  </a:cubicBezTo>
                  <a:cubicBezTo>
                    <a:pt x="1115" y="115"/>
                    <a:pt x="1115" y="115"/>
                    <a:pt x="1115" y="115"/>
                  </a:cubicBezTo>
                  <a:cubicBezTo>
                    <a:pt x="1115" y="115"/>
                    <a:pt x="1115" y="115"/>
                    <a:pt x="1115" y="115"/>
                  </a:cubicBezTo>
                  <a:cubicBezTo>
                    <a:pt x="1115" y="115"/>
                    <a:pt x="1115" y="115"/>
                    <a:pt x="1115" y="115"/>
                  </a:cubicBezTo>
                  <a:cubicBezTo>
                    <a:pt x="1115" y="115"/>
                    <a:pt x="1115" y="115"/>
                    <a:pt x="1115" y="115"/>
                  </a:cubicBezTo>
                  <a:cubicBezTo>
                    <a:pt x="1116" y="116"/>
                    <a:pt x="1116" y="116"/>
                    <a:pt x="1116" y="116"/>
                  </a:cubicBezTo>
                  <a:cubicBezTo>
                    <a:pt x="1116" y="116"/>
                    <a:pt x="1116" y="116"/>
                    <a:pt x="1116" y="116"/>
                  </a:cubicBezTo>
                  <a:cubicBezTo>
                    <a:pt x="1116" y="116"/>
                    <a:pt x="1116" y="116"/>
                    <a:pt x="1116" y="116"/>
                  </a:cubicBezTo>
                  <a:cubicBezTo>
                    <a:pt x="1116" y="116"/>
                    <a:pt x="1116" y="116"/>
                    <a:pt x="1116" y="116"/>
                  </a:cubicBezTo>
                  <a:cubicBezTo>
                    <a:pt x="1116" y="117"/>
                    <a:pt x="1116" y="117"/>
                    <a:pt x="1116" y="117"/>
                  </a:cubicBezTo>
                  <a:cubicBezTo>
                    <a:pt x="1115" y="117"/>
                    <a:pt x="1115" y="117"/>
                    <a:pt x="1115" y="117"/>
                  </a:cubicBezTo>
                  <a:cubicBezTo>
                    <a:pt x="1113" y="118"/>
                    <a:pt x="1113" y="118"/>
                    <a:pt x="1113" y="118"/>
                  </a:cubicBezTo>
                  <a:cubicBezTo>
                    <a:pt x="1112" y="118"/>
                    <a:pt x="1112" y="118"/>
                    <a:pt x="1112" y="118"/>
                  </a:cubicBezTo>
                  <a:cubicBezTo>
                    <a:pt x="1112" y="119"/>
                    <a:pt x="1112" y="119"/>
                    <a:pt x="1112" y="119"/>
                  </a:cubicBezTo>
                  <a:cubicBezTo>
                    <a:pt x="1111" y="119"/>
                    <a:pt x="1111" y="119"/>
                    <a:pt x="1111" y="119"/>
                  </a:cubicBezTo>
                  <a:cubicBezTo>
                    <a:pt x="1111" y="119"/>
                    <a:pt x="1111" y="119"/>
                    <a:pt x="1111" y="119"/>
                  </a:cubicBezTo>
                  <a:cubicBezTo>
                    <a:pt x="1111" y="119"/>
                    <a:pt x="1111" y="119"/>
                    <a:pt x="1111" y="119"/>
                  </a:cubicBezTo>
                  <a:cubicBezTo>
                    <a:pt x="1111" y="120"/>
                    <a:pt x="1111" y="120"/>
                    <a:pt x="1111" y="120"/>
                  </a:cubicBezTo>
                  <a:cubicBezTo>
                    <a:pt x="1111" y="120"/>
                    <a:pt x="1111" y="120"/>
                    <a:pt x="1111" y="120"/>
                  </a:cubicBezTo>
                  <a:cubicBezTo>
                    <a:pt x="1111" y="120"/>
                    <a:pt x="1111" y="120"/>
                    <a:pt x="1111" y="120"/>
                  </a:cubicBezTo>
                  <a:cubicBezTo>
                    <a:pt x="1111" y="120"/>
                    <a:pt x="1111" y="120"/>
                    <a:pt x="1111" y="120"/>
                  </a:cubicBezTo>
                  <a:cubicBezTo>
                    <a:pt x="1111" y="120"/>
                    <a:pt x="1111" y="120"/>
                    <a:pt x="1111" y="120"/>
                  </a:cubicBezTo>
                  <a:cubicBezTo>
                    <a:pt x="1111" y="121"/>
                    <a:pt x="1111" y="121"/>
                    <a:pt x="1111" y="121"/>
                  </a:cubicBezTo>
                  <a:cubicBezTo>
                    <a:pt x="1110" y="121"/>
                    <a:pt x="1110" y="121"/>
                    <a:pt x="1110" y="121"/>
                  </a:cubicBezTo>
                  <a:cubicBezTo>
                    <a:pt x="1110" y="121"/>
                    <a:pt x="1110" y="121"/>
                    <a:pt x="1110" y="121"/>
                  </a:cubicBezTo>
                  <a:cubicBezTo>
                    <a:pt x="1110" y="121"/>
                    <a:pt x="1110" y="121"/>
                    <a:pt x="1110" y="121"/>
                  </a:cubicBezTo>
                  <a:cubicBezTo>
                    <a:pt x="1109" y="121"/>
                    <a:pt x="1109" y="121"/>
                    <a:pt x="1109" y="121"/>
                  </a:cubicBezTo>
                  <a:cubicBezTo>
                    <a:pt x="1109" y="121"/>
                    <a:pt x="1109" y="121"/>
                    <a:pt x="1109" y="121"/>
                  </a:cubicBezTo>
                  <a:cubicBezTo>
                    <a:pt x="1110" y="122"/>
                    <a:pt x="1110" y="122"/>
                    <a:pt x="1110" y="122"/>
                  </a:cubicBezTo>
                  <a:cubicBezTo>
                    <a:pt x="1110" y="122"/>
                    <a:pt x="1110" y="122"/>
                    <a:pt x="1110" y="122"/>
                  </a:cubicBezTo>
                  <a:cubicBezTo>
                    <a:pt x="1111" y="122"/>
                    <a:pt x="1111" y="122"/>
                    <a:pt x="1111" y="122"/>
                  </a:cubicBezTo>
                  <a:cubicBezTo>
                    <a:pt x="1112" y="122"/>
                    <a:pt x="1112" y="123"/>
                    <a:pt x="1114" y="122"/>
                  </a:cubicBezTo>
                  <a:cubicBezTo>
                    <a:pt x="1114" y="122"/>
                    <a:pt x="1114" y="122"/>
                    <a:pt x="1114" y="122"/>
                  </a:cubicBezTo>
                  <a:cubicBezTo>
                    <a:pt x="1115" y="122"/>
                    <a:pt x="1115" y="122"/>
                    <a:pt x="1115" y="122"/>
                  </a:cubicBezTo>
                  <a:cubicBezTo>
                    <a:pt x="1116" y="122"/>
                    <a:pt x="1116" y="122"/>
                    <a:pt x="1118" y="122"/>
                  </a:cubicBezTo>
                  <a:cubicBezTo>
                    <a:pt x="1118" y="122"/>
                    <a:pt x="1118" y="122"/>
                    <a:pt x="1118" y="122"/>
                  </a:cubicBezTo>
                  <a:cubicBezTo>
                    <a:pt x="1119" y="122"/>
                    <a:pt x="1119" y="122"/>
                    <a:pt x="1119" y="122"/>
                  </a:cubicBezTo>
                  <a:cubicBezTo>
                    <a:pt x="1119" y="123"/>
                    <a:pt x="1119" y="123"/>
                    <a:pt x="1119" y="123"/>
                  </a:cubicBezTo>
                  <a:cubicBezTo>
                    <a:pt x="1120" y="123"/>
                    <a:pt x="1120" y="123"/>
                    <a:pt x="1120" y="123"/>
                  </a:cubicBezTo>
                  <a:cubicBezTo>
                    <a:pt x="1121" y="123"/>
                    <a:pt x="1121" y="124"/>
                    <a:pt x="1122" y="124"/>
                  </a:cubicBezTo>
                  <a:cubicBezTo>
                    <a:pt x="1122" y="124"/>
                    <a:pt x="1122" y="124"/>
                    <a:pt x="1122" y="124"/>
                  </a:cubicBezTo>
                  <a:cubicBezTo>
                    <a:pt x="1123" y="124"/>
                    <a:pt x="1123" y="124"/>
                    <a:pt x="1123" y="124"/>
                  </a:cubicBezTo>
                  <a:cubicBezTo>
                    <a:pt x="1124" y="125"/>
                    <a:pt x="1125" y="124"/>
                    <a:pt x="1126" y="124"/>
                  </a:cubicBezTo>
                  <a:cubicBezTo>
                    <a:pt x="1127" y="124"/>
                    <a:pt x="1127" y="124"/>
                    <a:pt x="1127" y="124"/>
                  </a:cubicBezTo>
                  <a:cubicBezTo>
                    <a:pt x="1128" y="124"/>
                    <a:pt x="1128" y="124"/>
                    <a:pt x="1128" y="124"/>
                  </a:cubicBezTo>
                  <a:cubicBezTo>
                    <a:pt x="1128" y="124"/>
                    <a:pt x="1128" y="124"/>
                    <a:pt x="1128" y="124"/>
                  </a:cubicBezTo>
                  <a:cubicBezTo>
                    <a:pt x="1128" y="125"/>
                    <a:pt x="1128" y="125"/>
                    <a:pt x="1128" y="125"/>
                  </a:cubicBezTo>
                  <a:cubicBezTo>
                    <a:pt x="1126" y="125"/>
                    <a:pt x="1126" y="125"/>
                    <a:pt x="1126" y="125"/>
                  </a:cubicBezTo>
                  <a:cubicBezTo>
                    <a:pt x="1126" y="125"/>
                    <a:pt x="1126" y="125"/>
                    <a:pt x="1126" y="125"/>
                  </a:cubicBezTo>
                  <a:cubicBezTo>
                    <a:pt x="1125" y="126"/>
                    <a:pt x="1125" y="126"/>
                    <a:pt x="1125" y="126"/>
                  </a:cubicBezTo>
                  <a:cubicBezTo>
                    <a:pt x="1125" y="126"/>
                    <a:pt x="1125" y="126"/>
                    <a:pt x="1125" y="126"/>
                  </a:cubicBezTo>
                  <a:cubicBezTo>
                    <a:pt x="1125" y="126"/>
                    <a:pt x="1125" y="126"/>
                    <a:pt x="1125" y="126"/>
                  </a:cubicBezTo>
                  <a:cubicBezTo>
                    <a:pt x="1125" y="126"/>
                    <a:pt x="1125" y="126"/>
                    <a:pt x="1125" y="126"/>
                  </a:cubicBezTo>
                  <a:cubicBezTo>
                    <a:pt x="1125" y="126"/>
                    <a:pt x="1125" y="126"/>
                    <a:pt x="1125" y="126"/>
                  </a:cubicBezTo>
                  <a:cubicBezTo>
                    <a:pt x="1125" y="127"/>
                    <a:pt x="1125" y="127"/>
                    <a:pt x="1125" y="127"/>
                  </a:cubicBezTo>
                  <a:cubicBezTo>
                    <a:pt x="1125" y="127"/>
                    <a:pt x="1125" y="127"/>
                    <a:pt x="1125" y="127"/>
                  </a:cubicBezTo>
                  <a:cubicBezTo>
                    <a:pt x="1126" y="127"/>
                    <a:pt x="1126" y="127"/>
                    <a:pt x="1126" y="127"/>
                  </a:cubicBezTo>
                  <a:cubicBezTo>
                    <a:pt x="1126" y="127"/>
                    <a:pt x="1126" y="127"/>
                    <a:pt x="1126" y="127"/>
                  </a:cubicBezTo>
                  <a:cubicBezTo>
                    <a:pt x="1126" y="127"/>
                    <a:pt x="1126" y="127"/>
                    <a:pt x="1126" y="127"/>
                  </a:cubicBezTo>
                  <a:cubicBezTo>
                    <a:pt x="1126" y="127"/>
                    <a:pt x="1126" y="127"/>
                    <a:pt x="1126" y="127"/>
                  </a:cubicBezTo>
                  <a:cubicBezTo>
                    <a:pt x="1127" y="128"/>
                    <a:pt x="1127" y="128"/>
                    <a:pt x="1127" y="128"/>
                  </a:cubicBezTo>
                  <a:cubicBezTo>
                    <a:pt x="1127" y="128"/>
                    <a:pt x="1127" y="128"/>
                    <a:pt x="1127" y="128"/>
                  </a:cubicBezTo>
                  <a:cubicBezTo>
                    <a:pt x="1127" y="128"/>
                    <a:pt x="1127" y="128"/>
                    <a:pt x="1127" y="128"/>
                  </a:cubicBezTo>
                  <a:cubicBezTo>
                    <a:pt x="1128" y="128"/>
                    <a:pt x="1128" y="128"/>
                    <a:pt x="1128" y="128"/>
                  </a:cubicBezTo>
                  <a:cubicBezTo>
                    <a:pt x="1128" y="128"/>
                    <a:pt x="1128" y="128"/>
                    <a:pt x="1128" y="128"/>
                  </a:cubicBezTo>
                  <a:cubicBezTo>
                    <a:pt x="1128" y="129"/>
                    <a:pt x="1128" y="129"/>
                    <a:pt x="1128" y="129"/>
                  </a:cubicBezTo>
                  <a:cubicBezTo>
                    <a:pt x="1128" y="129"/>
                    <a:pt x="1128" y="129"/>
                    <a:pt x="1128" y="129"/>
                  </a:cubicBezTo>
                  <a:cubicBezTo>
                    <a:pt x="1129" y="129"/>
                    <a:pt x="1129" y="129"/>
                    <a:pt x="1129" y="129"/>
                  </a:cubicBezTo>
                  <a:cubicBezTo>
                    <a:pt x="1129" y="129"/>
                    <a:pt x="1129" y="129"/>
                    <a:pt x="1129" y="129"/>
                  </a:cubicBezTo>
                  <a:cubicBezTo>
                    <a:pt x="1129" y="129"/>
                    <a:pt x="1129" y="129"/>
                    <a:pt x="1129" y="129"/>
                  </a:cubicBezTo>
                  <a:cubicBezTo>
                    <a:pt x="1129" y="129"/>
                    <a:pt x="1129" y="129"/>
                    <a:pt x="1129" y="129"/>
                  </a:cubicBezTo>
                  <a:cubicBezTo>
                    <a:pt x="1130" y="130"/>
                    <a:pt x="1130" y="130"/>
                    <a:pt x="1130" y="130"/>
                  </a:cubicBezTo>
                  <a:cubicBezTo>
                    <a:pt x="1130" y="130"/>
                    <a:pt x="1130" y="130"/>
                    <a:pt x="1130" y="130"/>
                  </a:cubicBezTo>
                  <a:cubicBezTo>
                    <a:pt x="1131" y="129"/>
                    <a:pt x="1131" y="129"/>
                    <a:pt x="1131" y="129"/>
                  </a:cubicBezTo>
                  <a:cubicBezTo>
                    <a:pt x="1131" y="129"/>
                    <a:pt x="1131" y="129"/>
                    <a:pt x="1131" y="129"/>
                  </a:cubicBezTo>
                  <a:cubicBezTo>
                    <a:pt x="1132" y="129"/>
                    <a:pt x="1132" y="129"/>
                    <a:pt x="1132" y="129"/>
                  </a:cubicBezTo>
                  <a:cubicBezTo>
                    <a:pt x="1134" y="129"/>
                    <a:pt x="1134" y="129"/>
                    <a:pt x="1134" y="129"/>
                  </a:cubicBezTo>
                  <a:cubicBezTo>
                    <a:pt x="1134" y="129"/>
                    <a:pt x="1134" y="129"/>
                    <a:pt x="1134" y="129"/>
                  </a:cubicBezTo>
                  <a:cubicBezTo>
                    <a:pt x="1135" y="129"/>
                    <a:pt x="1135" y="129"/>
                    <a:pt x="1135" y="129"/>
                  </a:cubicBezTo>
                  <a:cubicBezTo>
                    <a:pt x="1135" y="129"/>
                    <a:pt x="1135" y="129"/>
                    <a:pt x="1135" y="129"/>
                  </a:cubicBezTo>
                  <a:cubicBezTo>
                    <a:pt x="1135" y="129"/>
                    <a:pt x="1135" y="129"/>
                    <a:pt x="1135" y="129"/>
                  </a:cubicBezTo>
                  <a:cubicBezTo>
                    <a:pt x="1135" y="130"/>
                    <a:pt x="1135" y="130"/>
                    <a:pt x="1135" y="130"/>
                  </a:cubicBezTo>
                  <a:cubicBezTo>
                    <a:pt x="1134" y="130"/>
                    <a:pt x="1134" y="130"/>
                    <a:pt x="1134" y="130"/>
                  </a:cubicBezTo>
                  <a:cubicBezTo>
                    <a:pt x="1134" y="130"/>
                    <a:pt x="1134" y="130"/>
                    <a:pt x="1134" y="130"/>
                  </a:cubicBezTo>
                  <a:cubicBezTo>
                    <a:pt x="1134" y="130"/>
                    <a:pt x="1134" y="130"/>
                    <a:pt x="1134" y="130"/>
                  </a:cubicBezTo>
                  <a:cubicBezTo>
                    <a:pt x="1134" y="131"/>
                    <a:pt x="1134" y="131"/>
                    <a:pt x="1134" y="131"/>
                  </a:cubicBezTo>
                  <a:cubicBezTo>
                    <a:pt x="1134" y="131"/>
                    <a:pt x="1134" y="131"/>
                    <a:pt x="1134" y="131"/>
                  </a:cubicBezTo>
                  <a:cubicBezTo>
                    <a:pt x="1134" y="132"/>
                    <a:pt x="1134" y="132"/>
                    <a:pt x="1134" y="132"/>
                  </a:cubicBezTo>
                  <a:cubicBezTo>
                    <a:pt x="1134" y="134"/>
                    <a:pt x="1134" y="134"/>
                    <a:pt x="1134" y="134"/>
                  </a:cubicBezTo>
                  <a:cubicBezTo>
                    <a:pt x="1133" y="135"/>
                    <a:pt x="1133" y="135"/>
                    <a:pt x="1133" y="135"/>
                  </a:cubicBezTo>
                  <a:cubicBezTo>
                    <a:pt x="1133" y="135"/>
                    <a:pt x="1133" y="135"/>
                    <a:pt x="1133" y="135"/>
                  </a:cubicBezTo>
                  <a:cubicBezTo>
                    <a:pt x="1133" y="135"/>
                    <a:pt x="1133" y="135"/>
                    <a:pt x="1133" y="135"/>
                  </a:cubicBezTo>
                  <a:cubicBezTo>
                    <a:pt x="1133" y="135"/>
                    <a:pt x="1133" y="135"/>
                    <a:pt x="1133" y="135"/>
                  </a:cubicBezTo>
                  <a:cubicBezTo>
                    <a:pt x="1133" y="135"/>
                    <a:pt x="1133" y="135"/>
                    <a:pt x="1133" y="135"/>
                  </a:cubicBezTo>
                  <a:cubicBezTo>
                    <a:pt x="1133" y="134"/>
                    <a:pt x="1133" y="134"/>
                    <a:pt x="1133" y="134"/>
                  </a:cubicBezTo>
                  <a:cubicBezTo>
                    <a:pt x="1133" y="134"/>
                    <a:pt x="1133" y="134"/>
                    <a:pt x="1133" y="134"/>
                  </a:cubicBezTo>
                  <a:cubicBezTo>
                    <a:pt x="1133" y="134"/>
                    <a:pt x="1133" y="134"/>
                    <a:pt x="1133" y="134"/>
                  </a:cubicBezTo>
                  <a:cubicBezTo>
                    <a:pt x="1132" y="134"/>
                    <a:pt x="1129" y="134"/>
                    <a:pt x="1128" y="134"/>
                  </a:cubicBezTo>
                  <a:cubicBezTo>
                    <a:pt x="1128" y="134"/>
                    <a:pt x="1128" y="134"/>
                    <a:pt x="1128" y="134"/>
                  </a:cubicBezTo>
                  <a:cubicBezTo>
                    <a:pt x="1128" y="134"/>
                    <a:pt x="1128" y="134"/>
                    <a:pt x="1128" y="134"/>
                  </a:cubicBezTo>
                  <a:cubicBezTo>
                    <a:pt x="1128" y="134"/>
                    <a:pt x="1128" y="134"/>
                    <a:pt x="1128" y="134"/>
                  </a:cubicBezTo>
                  <a:cubicBezTo>
                    <a:pt x="1129" y="133"/>
                    <a:pt x="1129" y="133"/>
                    <a:pt x="1129" y="133"/>
                  </a:cubicBezTo>
                  <a:cubicBezTo>
                    <a:pt x="1129" y="133"/>
                    <a:pt x="1129" y="133"/>
                    <a:pt x="1129" y="133"/>
                  </a:cubicBezTo>
                  <a:cubicBezTo>
                    <a:pt x="1129" y="133"/>
                    <a:pt x="1129" y="133"/>
                    <a:pt x="1129" y="133"/>
                  </a:cubicBezTo>
                  <a:cubicBezTo>
                    <a:pt x="1130" y="133"/>
                    <a:pt x="1130" y="133"/>
                    <a:pt x="1130" y="133"/>
                  </a:cubicBezTo>
                  <a:cubicBezTo>
                    <a:pt x="1130" y="133"/>
                    <a:pt x="1130" y="133"/>
                    <a:pt x="1130" y="133"/>
                  </a:cubicBezTo>
                  <a:cubicBezTo>
                    <a:pt x="1130" y="132"/>
                    <a:pt x="1130" y="132"/>
                    <a:pt x="1130" y="132"/>
                  </a:cubicBezTo>
                  <a:cubicBezTo>
                    <a:pt x="1131" y="132"/>
                    <a:pt x="1131" y="132"/>
                    <a:pt x="1131" y="132"/>
                  </a:cubicBezTo>
                  <a:cubicBezTo>
                    <a:pt x="1131" y="132"/>
                    <a:pt x="1131" y="132"/>
                    <a:pt x="1131" y="132"/>
                  </a:cubicBezTo>
                  <a:cubicBezTo>
                    <a:pt x="1131" y="132"/>
                    <a:pt x="1131" y="132"/>
                    <a:pt x="1131" y="132"/>
                  </a:cubicBezTo>
                  <a:cubicBezTo>
                    <a:pt x="1132" y="132"/>
                    <a:pt x="1132" y="132"/>
                    <a:pt x="1132" y="132"/>
                  </a:cubicBezTo>
                  <a:cubicBezTo>
                    <a:pt x="1132" y="132"/>
                    <a:pt x="1132" y="132"/>
                    <a:pt x="1132" y="132"/>
                  </a:cubicBezTo>
                  <a:cubicBezTo>
                    <a:pt x="1132" y="131"/>
                    <a:pt x="1132" y="131"/>
                    <a:pt x="1132" y="131"/>
                  </a:cubicBezTo>
                  <a:cubicBezTo>
                    <a:pt x="1132" y="131"/>
                    <a:pt x="1132" y="131"/>
                    <a:pt x="1132" y="131"/>
                  </a:cubicBezTo>
                  <a:cubicBezTo>
                    <a:pt x="1132" y="131"/>
                    <a:pt x="1132" y="131"/>
                    <a:pt x="1132" y="131"/>
                  </a:cubicBezTo>
                  <a:cubicBezTo>
                    <a:pt x="1131" y="131"/>
                    <a:pt x="1131" y="131"/>
                    <a:pt x="1131" y="131"/>
                  </a:cubicBezTo>
                  <a:cubicBezTo>
                    <a:pt x="1130" y="131"/>
                    <a:pt x="1130" y="131"/>
                    <a:pt x="1130" y="131"/>
                  </a:cubicBezTo>
                  <a:cubicBezTo>
                    <a:pt x="1129" y="131"/>
                    <a:pt x="1129" y="131"/>
                    <a:pt x="1129" y="131"/>
                  </a:cubicBezTo>
                  <a:cubicBezTo>
                    <a:pt x="1129" y="131"/>
                    <a:pt x="1129" y="131"/>
                    <a:pt x="1129" y="131"/>
                  </a:cubicBezTo>
                  <a:cubicBezTo>
                    <a:pt x="1129" y="131"/>
                    <a:pt x="1129" y="131"/>
                    <a:pt x="1129" y="131"/>
                  </a:cubicBezTo>
                  <a:cubicBezTo>
                    <a:pt x="1128" y="131"/>
                    <a:pt x="1128" y="131"/>
                    <a:pt x="1128" y="131"/>
                  </a:cubicBezTo>
                  <a:cubicBezTo>
                    <a:pt x="1126" y="131"/>
                    <a:pt x="1126" y="131"/>
                    <a:pt x="1126" y="131"/>
                  </a:cubicBezTo>
                  <a:cubicBezTo>
                    <a:pt x="1124" y="131"/>
                    <a:pt x="1124" y="131"/>
                    <a:pt x="1124" y="131"/>
                  </a:cubicBezTo>
                  <a:cubicBezTo>
                    <a:pt x="1118" y="130"/>
                    <a:pt x="1118" y="130"/>
                    <a:pt x="1118" y="130"/>
                  </a:cubicBezTo>
                  <a:cubicBezTo>
                    <a:pt x="1116" y="130"/>
                    <a:pt x="1116" y="130"/>
                    <a:pt x="1116" y="130"/>
                  </a:cubicBezTo>
                  <a:cubicBezTo>
                    <a:pt x="1115" y="130"/>
                    <a:pt x="1115" y="130"/>
                    <a:pt x="1115" y="130"/>
                  </a:cubicBezTo>
                  <a:cubicBezTo>
                    <a:pt x="1116" y="130"/>
                    <a:pt x="1116" y="130"/>
                    <a:pt x="1116" y="130"/>
                  </a:cubicBezTo>
                  <a:cubicBezTo>
                    <a:pt x="1116" y="130"/>
                    <a:pt x="1116" y="130"/>
                    <a:pt x="1116" y="130"/>
                  </a:cubicBezTo>
                  <a:cubicBezTo>
                    <a:pt x="1115" y="131"/>
                    <a:pt x="1115" y="131"/>
                    <a:pt x="1115" y="131"/>
                  </a:cubicBezTo>
                  <a:cubicBezTo>
                    <a:pt x="1114" y="131"/>
                    <a:pt x="1114" y="131"/>
                    <a:pt x="1114" y="131"/>
                  </a:cubicBezTo>
                  <a:cubicBezTo>
                    <a:pt x="1113" y="132"/>
                    <a:pt x="1113" y="132"/>
                    <a:pt x="1113" y="132"/>
                  </a:cubicBezTo>
                  <a:cubicBezTo>
                    <a:pt x="1112" y="132"/>
                    <a:pt x="1112" y="132"/>
                    <a:pt x="1112" y="132"/>
                  </a:cubicBezTo>
                  <a:cubicBezTo>
                    <a:pt x="1112" y="133"/>
                    <a:pt x="1112" y="133"/>
                    <a:pt x="1112" y="133"/>
                  </a:cubicBezTo>
                  <a:cubicBezTo>
                    <a:pt x="1113" y="133"/>
                    <a:pt x="1113" y="133"/>
                    <a:pt x="1113" y="133"/>
                  </a:cubicBezTo>
                  <a:cubicBezTo>
                    <a:pt x="1113" y="133"/>
                    <a:pt x="1113" y="133"/>
                    <a:pt x="1113" y="133"/>
                  </a:cubicBezTo>
                  <a:cubicBezTo>
                    <a:pt x="1113" y="133"/>
                    <a:pt x="1113" y="133"/>
                    <a:pt x="1113" y="133"/>
                  </a:cubicBezTo>
                  <a:cubicBezTo>
                    <a:pt x="1113" y="133"/>
                    <a:pt x="1113" y="133"/>
                    <a:pt x="1113" y="133"/>
                  </a:cubicBezTo>
                  <a:cubicBezTo>
                    <a:pt x="1113" y="134"/>
                    <a:pt x="1113" y="134"/>
                    <a:pt x="1113" y="134"/>
                  </a:cubicBezTo>
                  <a:cubicBezTo>
                    <a:pt x="1113" y="134"/>
                    <a:pt x="1113" y="134"/>
                    <a:pt x="1113" y="134"/>
                  </a:cubicBezTo>
                  <a:cubicBezTo>
                    <a:pt x="1113" y="134"/>
                    <a:pt x="1113" y="134"/>
                    <a:pt x="1113" y="134"/>
                  </a:cubicBezTo>
                  <a:cubicBezTo>
                    <a:pt x="1113" y="134"/>
                    <a:pt x="1113" y="134"/>
                    <a:pt x="1113" y="134"/>
                  </a:cubicBezTo>
                  <a:cubicBezTo>
                    <a:pt x="1113" y="135"/>
                    <a:pt x="1113" y="135"/>
                    <a:pt x="1113" y="135"/>
                  </a:cubicBezTo>
                  <a:cubicBezTo>
                    <a:pt x="1113" y="135"/>
                    <a:pt x="1113" y="135"/>
                    <a:pt x="1113" y="135"/>
                  </a:cubicBezTo>
                  <a:cubicBezTo>
                    <a:pt x="1113" y="135"/>
                    <a:pt x="1113" y="135"/>
                    <a:pt x="1113" y="135"/>
                  </a:cubicBezTo>
                  <a:cubicBezTo>
                    <a:pt x="1114" y="135"/>
                    <a:pt x="1114" y="135"/>
                    <a:pt x="1114" y="135"/>
                  </a:cubicBezTo>
                  <a:cubicBezTo>
                    <a:pt x="1115" y="136"/>
                    <a:pt x="1118" y="136"/>
                    <a:pt x="1120" y="136"/>
                  </a:cubicBezTo>
                  <a:cubicBezTo>
                    <a:pt x="1120" y="136"/>
                    <a:pt x="1120" y="136"/>
                    <a:pt x="1120" y="136"/>
                  </a:cubicBezTo>
                  <a:cubicBezTo>
                    <a:pt x="1121" y="136"/>
                    <a:pt x="1121" y="136"/>
                    <a:pt x="1121" y="136"/>
                  </a:cubicBezTo>
                  <a:cubicBezTo>
                    <a:pt x="1121" y="136"/>
                    <a:pt x="1121" y="136"/>
                    <a:pt x="1121" y="136"/>
                  </a:cubicBezTo>
                  <a:cubicBezTo>
                    <a:pt x="1122" y="136"/>
                    <a:pt x="1122" y="136"/>
                    <a:pt x="1122" y="136"/>
                  </a:cubicBezTo>
                  <a:cubicBezTo>
                    <a:pt x="1125" y="136"/>
                    <a:pt x="1124" y="135"/>
                    <a:pt x="1127" y="137"/>
                  </a:cubicBezTo>
                  <a:cubicBezTo>
                    <a:pt x="1127" y="137"/>
                    <a:pt x="1127" y="137"/>
                    <a:pt x="1127" y="137"/>
                  </a:cubicBezTo>
                  <a:cubicBezTo>
                    <a:pt x="1128" y="137"/>
                    <a:pt x="1128" y="137"/>
                    <a:pt x="1128" y="137"/>
                  </a:cubicBezTo>
                  <a:cubicBezTo>
                    <a:pt x="1128" y="137"/>
                    <a:pt x="1128" y="137"/>
                    <a:pt x="1128" y="137"/>
                  </a:cubicBezTo>
                  <a:cubicBezTo>
                    <a:pt x="1128" y="137"/>
                    <a:pt x="1128" y="137"/>
                    <a:pt x="1128" y="137"/>
                  </a:cubicBezTo>
                  <a:cubicBezTo>
                    <a:pt x="1129" y="138"/>
                    <a:pt x="1129" y="138"/>
                    <a:pt x="1129" y="138"/>
                  </a:cubicBezTo>
                  <a:cubicBezTo>
                    <a:pt x="1129" y="138"/>
                    <a:pt x="1129" y="138"/>
                    <a:pt x="1129" y="138"/>
                  </a:cubicBezTo>
                  <a:cubicBezTo>
                    <a:pt x="1129" y="138"/>
                    <a:pt x="1129" y="138"/>
                    <a:pt x="1129" y="138"/>
                  </a:cubicBezTo>
                  <a:cubicBezTo>
                    <a:pt x="1129" y="138"/>
                    <a:pt x="1129" y="138"/>
                    <a:pt x="1129" y="138"/>
                  </a:cubicBezTo>
                  <a:cubicBezTo>
                    <a:pt x="1129" y="138"/>
                    <a:pt x="1129" y="138"/>
                    <a:pt x="1129" y="138"/>
                  </a:cubicBezTo>
                  <a:cubicBezTo>
                    <a:pt x="1129" y="139"/>
                    <a:pt x="1129" y="139"/>
                    <a:pt x="1129" y="139"/>
                  </a:cubicBezTo>
                  <a:cubicBezTo>
                    <a:pt x="1129" y="139"/>
                    <a:pt x="1129" y="139"/>
                    <a:pt x="1129" y="139"/>
                  </a:cubicBezTo>
                  <a:cubicBezTo>
                    <a:pt x="1129" y="139"/>
                    <a:pt x="1129" y="139"/>
                    <a:pt x="1129" y="139"/>
                  </a:cubicBezTo>
                  <a:cubicBezTo>
                    <a:pt x="1129" y="139"/>
                    <a:pt x="1129" y="139"/>
                    <a:pt x="1129" y="139"/>
                  </a:cubicBezTo>
                  <a:cubicBezTo>
                    <a:pt x="1129" y="139"/>
                    <a:pt x="1129" y="139"/>
                    <a:pt x="1129" y="139"/>
                  </a:cubicBezTo>
                  <a:cubicBezTo>
                    <a:pt x="1128" y="140"/>
                    <a:pt x="1128" y="140"/>
                    <a:pt x="1128" y="140"/>
                  </a:cubicBezTo>
                  <a:cubicBezTo>
                    <a:pt x="1128" y="140"/>
                    <a:pt x="1128" y="140"/>
                    <a:pt x="1128" y="140"/>
                  </a:cubicBezTo>
                  <a:cubicBezTo>
                    <a:pt x="1128" y="140"/>
                    <a:pt x="1128" y="140"/>
                    <a:pt x="1128" y="140"/>
                  </a:cubicBezTo>
                  <a:cubicBezTo>
                    <a:pt x="1128" y="140"/>
                    <a:pt x="1128" y="140"/>
                    <a:pt x="1128" y="140"/>
                  </a:cubicBezTo>
                  <a:cubicBezTo>
                    <a:pt x="1128" y="140"/>
                    <a:pt x="1128" y="140"/>
                    <a:pt x="1128" y="140"/>
                  </a:cubicBezTo>
                  <a:cubicBezTo>
                    <a:pt x="1129" y="141"/>
                    <a:pt x="1130" y="141"/>
                    <a:pt x="1130" y="141"/>
                  </a:cubicBezTo>
                  <a:cubicBezTo>
                    <a:pt x="1130" y="141"/>
                    <a:pt x="1130" y="141"/>
                    <a:pt x="1130" y="141"/>
                  </a:cubicBezTo>
                  <a:cubicBezTo>
                    <a:pt x="1130" y="142"/>
                    <a:pt x="1130" y="142"/>
                    <a:pt x="1130" y="142"/>
                  </a:cubicBezTo>
                  <a:cubicBezTo>
                    <a:pt x="1130" y="143"/>
                    <a:pt x="1131" y="143"/>
                    <a:pt x="1132" y="143"/>
                  </a:cubicBezTo>
                  <a:cubicBezTo>
                    <a:pt x="1132" y="143"/>
                    <a:pt x="1132" y="143"/>
                    <a:pt x="1132" y="143"/>
                  </a:cubicBezTo>
                  <a:cubicBezTo>
                    <a:pt x="1133" y="143"/>
                    <a:pt x="1133" y="143"/>
                    <a:pt x="1133" y="143"/>
                  </a:cubicBezTo>
                  <a:cubicBezTo>
                    <a:pt x="1134" y="143"/>
                    <a:pt x="1135" y="143"/>
                    <a:pt x="1136" y="143"/>
                  </a:cubicBezTo>
                  <a:cubicBezTo>
                    <a:pt x="1137" y="144"/>
                    <a:pt x="1137" y="144"/>
                    <a:pt x="1137" y="144"/>
                  </a:cubicBezTo>
                  <a:cubicBezTo>
                    <a:pt x="1139" y="144"/>
                    <a:pt x="1139" y="144"/>
                    <a:pt x="1139" y="144"/>
                  </a:cubicBezTo>
                  <a:cubicBezTo>
                    <a:pt x="1138" y="145"/>
                    <a:pt x="1138" y="145"/>
                    <a:pt x="1138" y="145"/>
                  </a:cubicBezTo>
                  <a:cubicBezTo>
                    <a:pt x="1135" y="144"/>
                    <a:pt x="1135" y="144"/>
                    <a:pt x="1135" y="144"/>
                  </a:cubicBezTo>
                  <a:cubicBezTo>
                    <a:pt x="1133" y="144"/>
                    <a:pt x="1133" y="144"/>
                    <a:pt x="1133" y="144"/>
                  </a:cubicBezTo>
                  <a:cubicBezTo>
                    <a:pt x="1132" y="144"/>
                    <a:pt x="1132" y="144"/>
                    <a:pt x="1132" y="144"/>
                  </a:cubicBezTo>
                  <a:cubicBezTo>
                    <a:pt x="1132" y="144"/>
                    <a:pt x="1132" y="144"/>
                    <a:pt x="1132" y="144"/>
                  </a:cubicBezTo>
                  <a:cubicBezTo>
                    <a:pt x="1133" y="145"/>
                    <a:pt x="1134" y="145"/>
                    <a:pt x="1134" y="147"/>
                  </a:cubicBezTo>
                  <a:cubicBezTo>
                    <a:pt x="1136" y="149"/>
                    <a:pt x="1136" y="149"/>
                    <a:pt x="1136" y="149"/>
                  </a:cubicBezTo>
                  <a:cubicBezTo>
                    <a:pt x="1134" y="150"/>
                    <a:pt x="1134" y="150"/>
                    <a:pt x="1134" y="150"/>
                  </a:cubicBezTo>
                  <a:cubicBezTo>
                    <a:pt x="1010" y="161"/>
                    <a:pt x="1010" y="161"/>
                    <a:pt x="1010" y="161"/>
                  </a:cubicBezTo>
                  <a:cubicBezTo>
                    <a:pt x="1010" y="161"/>
                    <a:pt x="1010" y="161"/>
                    <a:pt x="1010" y="161"/>
                  </a:cubicBezTo>
                  <a:cubicBezTo>
                    <a:pt x="1010" y="162"/>
                    <a:pt x="1010" y="162"/>
                    <a:pt x="1010" y="162"/>
                  </a:cubicBezTo>
                  <a:cubicBezTo>
                    <a:pt x="1010" y="162"/>
                    <a:pt x="1010" y="162"/>
                    <a:pt x="1010" y="163"/>
                  </a:cubicBezTo>
                  <a:cubicBezTo>
                    <a:pt x="1010" y="163"/>
                    <a:pt x="1010" y="163"/>
                    <a:pt x="1010" y="163"/>
                  </a:cubicBezTo>
                  <a:cubicBezTo>
                    <a:pt x="1010" y="164"/>
                    <a:pt x="1010" y="164"/>
                    <a:pt x="1010" y="164"/>
                  </a:cubicBezTo>
                  <a:cubicBezTo>
                    <a:pt x="1010" y="164"/>
                    <a:pt x="1010" y="164"/>
                    <a:pt x="1010" y="164"/>
                  </a:cubicBezTo>
                  <a:cubicBezTo>
                    <a:pt x="1010" y="164"/>
                    <a:pt x="1010" y="164"/>
                    <a:pt x="1010" y="164"/>
                  </a:cubicBezTo>
                  <a:cubicBezTo>
                    <a:pt x="1010" y="164"/>
                    <a:pt x="1010" y="164"/>
                    <a:pt x="1010" y="164"/>
                  </a:cubicBezTo>
                  <a:cubicBezTo>
                    <a:pt x="1011" y="164"/>
                    <a:pt x="1011" y="164"/>
                    <a:pt x="1011" y="164"/>
                  </a:cubicBezTo>
                  <a:cubicBezTo>
                    <a:pt x="1011" y="164"/>
                    <a:pt x="1011" y="164"/>
                    <a:pt x="1011" y="164"/>
                  </a:cubicBezTo>
                  <a:cubicBezTo>
                    <a:pt x="1012" y="164"/>
                    <a:pt x="1012" y="164"/>
                    <a:pt x="1012" y="164"/>
                  </a:cubicBezTo>
                  <a:cubicBezTo>
                    <a:pt x="1012" y="164"/>
                    <a:pt x="1012" y="164"/>
                    <a:pt x="1012" y="164"/>
                  </a:cubicBezTo>
                  <a:cubicBezTo>
                    <a:pt x="1012" y="164"/>
                    <a:pt x="1012" y="164"/>
                    <a:pt x="1012" y="164"/>
                  </a:cubicBezTo>
                  <a:cubicBezTo>
                    <a:pt x="1012" y="164"/>
                    <a:pt x="1012" y="164"/>
                    <a:pt x="1012" y="164"/>
                  </a:cubicBezTo>
                  <a:cubicBezTo>
                    <a:pt x="1012" y="164"/>
                    <a:pt x="1012" y="164"/>
                    <a:pt x="1012" y="164"/>
                  </a:cubicBezTo>
                  <a:cubicBezTo>
                    <a:pt x="1012" y="165"/>
                    <a:pt x="1012" y="165"/>
                    <a:pt x="1012" y="165"/>
                  </a:cubicBezTo>
                  <a:cubicBezTo>
                    <a:pt x="1011" y="166"/>
                    <a:pt x="1011" y="166"/>
                    <a:pt x="1009" y="167"/>
                  </a:cubicBezTo>
                  <a:cubicBezTo>
                    <a:pt x="1009" y="167"/>
                    <a:pt x="1009" y="167"/>
                    <a:pt x="1009" y="167"/>
                  </a:cubicBezTo>
                  <a:cubicBezTo>
                    <a:pt x="1007" y="168"/>
                    <a:pt x="1007" y="168"/>
                    <a:pt x="1007" y="168"/>
                  </a:cubicBezTo>
                  <a:cubicBezTo>
                    <a:pt x="1006" y="169"/>
                    <a:pt x="1006" y="169"/>
                    <a:pt x="1006" y="169"/>
                  </a:cubicBezTo>
                  <a:cubicBezTo>
                    <a:pt x="1005" y="170"/>
                    <a:pt x="1005" y="170"/>
                    <a:pt x="1005" y="170"/>
                  </a:cubicBezTo>
                  <a:cubicBezTo>
                    <a:pt x="1005" y="170"/>
                    <a:pt x="1005" y="170"/>
                    <a:pt x="1005" y="170"/>
                  </a:cubicBezTo>
                  <a:cubicBezTo>
                    <a:pt x="1005" y="170"/>
                    <a:pt x="1005" y="170"/>
                    <a:pt x="1005" y="170"/>
                  </a:cubicBezTo>
                  <a:cubicBezTo>
                    <a:pt x="1005" y="170"/>
                    <a:pt x="1005" y="170"/>
                    <a:pt x="1005" y="170"/>
                  </a:cubicBezTo>
                  <a:cubicBezTo>
                    <a:pt x="1005" y="170"/>
                    <a:pt x="1005" y="170"/>
                    <a:pt x="1005" y="170"/>
                  </a:cubicBezTo>
                  <a:cubicBezTo>
                    <a:pt x="1005" y="171"/>
                    <a:pt x="1005" y="171"/>
                    <a:pt x="1005" y="171"/>
                  </a:cubicBezTo>
                  <a:cubicBezTo>
                    <a:pt x="1005" y="171"/>
                    <a:pt x="1005" y="171"/>
                    <a:pt x="1005" y="171"/>
                  </a:cubicBezTo>
                  <a:cubicBezTo>
                    <a:pt x="1005" y="171"/>
                    <a:pt x="1005" y="171"/>
                    <a:pt x="1005" y="171"/>
                  </a:cubicBezTo>
                  <a:cubicBezTo>
                    <a:pt x="1005" y="171"/>
                    <a:pt x="1005" y="171"/>
                    <a:pt x="1005" y="171"/>
                  </a:cubicBezTo>
                  <a:cubicBezTo>
                    <a:pt x="1006" y="171"/>
                    <a:pt x="1006" y="171"/>
                    <a:pt x="1006" y="171"/>
                  </a:cubicBezTo>
                  <a:cubicBezTo>
                    <a:pt x="1006" y="171"/>
                    <a:pt x="1006" y="171"/>
                    <a:pt x="1006" y="171"/>
                  </a:cubicBezTo>
                  <a:cubicBezTo>
                    <a:pt x="1006" y="172"/>
                    <a:pt x="1006" y="172"/>
                    <a:pt x="1006" y="172"/>
                  </a:cubicBezTo>
                  <a:cubicBezTo>
                    <a:pt x="1007" y="172"/>
                    <a:pt x="1008" y="171"/>
                    <a:pt x="1009" y="172"/>
                  </a:cubicBezTo>
                  <a:cubicBezTo>
                    <a:pt x="1009" y="172"/>
                    <a:pt x="1009" y="172"/>
                    <a:pt x="1009" y="172"/>
                  </a:cubicBezTo>
                  <a:cubicBezTo>
                    <a:pt x="1010" y="172"/>
                    <a:pt x="1010" y="172"/>
                    <a:pt x="1010" y="172"/>
                  </a:cubicBezTo>
                  <a:cubicBezTo>
                    <a:pt x="1010" y="172"/>
                    <a:pt x="1010" y="172"/>
                    <a:pt x="1010" y="172"/>
                  </a:cubicBezTo>
                  <a:cubicBezTo>
                    <a:pt x="1010" y="173"/>
                    <a:pt x="1010" y="173"/>
                    <a:pt x="1010" y="173"/>
                  </a:cubicBezTo>
                  <a:cubicBezTo>
                    <a:pt x="1009" y="173"/>
                    <a:pt x="1009" y="173"/>
                    <a:pt x="1009" y="173"/>
                  </a:cubicBezTo>
                  <a:cubicBezTo>
                    <a:pt x="1006" y="175"/>
                    <a:pt x="1006" y="175"/>
                    <a:pt x="1006" y="175"/>
                  </a:cubicBezTo>
                  <a:cubicBezTo>
                    <a:pt x="1005" y="175"/>
                    <a:pt x="1005" y="175"/>
                    <a:pt x="1005" y="175"/>
                  </a:cubicBezTo>
                  <a:cubicBezTo>
                    <a:pt x="1005" y="176"/>
                    <a:pt x="1005" y="176"/>
                    <a:pt x="1005" y="176"/>
                  </a:cubicBezTo>
                  <a:cubicBezTo>
                    <a:pt x="1005" y="176"/>
                    <a:pt x="1005" y="176"/>
                    <a:pt x="1005" y="176"/>
                  </a:cubicBezTo>
                  <a:cubicBezTo>
                    <a:pt x="1005" y="176"/>
                    <a:pt x="1005" y="176"/>
                    <a:pt x="1005" y="176"/>
                  </a:cubicBezTo>
                  <a:cubicBezTo>
                    <a:pt x="1005" y="176"/>
                    <a:pt x="1005" y="176"/>
                    <a:pt x="1005" y="176"/>
                  </a:cubicBezTo>
                  <a:cubicBezTo>
                    <a:pt x="1006" y="176"/>
                    <a:pt x="1006" y="176"/>
                    <a:pt x="1006" y="176"/>
                  </a:cubicBezTo>
                  <a:cubicBezTo>
                    <a:pt x="1006" y="176"/>
                    <a:pt x="1006" y="176"/>
                    <a:pt x="1006" y="176"/>
                  </a:cubicBezTo>
                  <a:cubicBezTo>
                    <a:pt x="1006" y="176"/>
                    <a:pt x="1006" y="176"/>
                    <a:pt x="1006" y="176"/>
                  </a:cubicBezTo>
                  <a:cubicBezTo>
                    <a:pt x="1007" y="176"/>
                    <a:pt x="1007" y="176"/>
                    <a:pt x="1007" y="176"/>
                  </a:cubicBezTo>
                  <a:cubicBezTo>
                    <a:pt x="1007" y="176"/>
                    <a:pt x="1007" y="176"/>
                    <a:pt x="1007" y="176"/>
                  </a:cubicBezTo>
                  <a:cubicBezTo>
                    <a:pt x="1008" y="176"/>
                    <a:pt x="1008" y="176"/>
                    <a:pt x="1008" y="176"/>
                  </a:cubicBezTo>
                  <a:cubicBezTo>
                    <a:pt x="1008" y="176"/>
                    <a:pt x="1008" y="176"/>
                    <a:pt x="1008" y="176"/>
                  </a:cubicBezTo>
                  <a:cubicBezTo>
                    <a:pt x="1009" y="176"/>
                    <a:pt x="1009" y="176"/>
                    <a:pt x="1009" y="176"/>
                  </a:cubicBezTo>
                  <a:cubicBezTo>
                    <a:pt x="1009" y="176"/>
                    <a:pt x="1009" y="176"/>
                    <a:pt x="1009" y="176"/>
                  </a:cubicBezTo>
                  <a:cubicBezTo>
                    <a:pt x="1009" y="177"/>
                    <a:pt x="1009" y="177"/>
                    <a:pt x="1009" y="177"/>
                  </a:cubicBezTo>
                  <a:cubicBezTo>
                    <a:pt x="1010" y="177"/>
                    <a:pt x="1010" y="177"/>
                    <a:pt x="1010" y="177"/>
                  </a:cubicBezTo>
                  <a:cubicBezTo>
                    <a:pt x="1010" y="177"/>
                    <a:pt x="1010" y="177"/>
                    <a:pt x="1010" y="177"/>
                  </a:cubicBezTo>
                  <a:cubicBezTo>
                    <a:pt x="1010" y="177"/>
                    <a:pt x="1010" y="177"/>
                    <a:pt x="1010" y="177"/>
                  </a:cubicBezTo>
                  <a:cubicBezTo>
                    <a:pt x="1010" y="177"/>
                    <a:pt x="1010" y="177"/>
                    <a:pt x="1010" y="177"/>
                  </a:cubicBezTo>
                  <a:cubicBezTo>
                    <a:pt x="1009" y="178"/>
                    <a:pt x="1009" y="178"/>
                    <a:pt x="1009" y="178"/>
                  </a:cubicBezTo>
                  <a:cubicBezTo>
                    <a:pt x="1008" y="179"/>
                    <a:pt x="1008" y="179"/>
                    <a:pt x="1008" y="179"/>
                  </a:cubicBezTo>
                  <a:cubicBezTo>
                    <a:pt x="1008" y="179"/>
                    <a:pt x="1008" y="179"/>
                    <a:pt x="1008" y="179"/>
                  </a:cubicBezTo>
                  <a:cubicBezTo>
                    <a:pt x="1009" y="179"/>
                    <a:pt x="1009" y="179"/>
                    <a:pt x="1009" y="179"/>
                  </a:cubicBezTo>
                  <a:cubicBezTo>
                    <a:pt x="1009" y="179"/>
                    <a:pt x="1009" y="179"/>
                    <a:pt x="1009" y="179"/>
                  </a:cubicBezTo>
                  <a:cubicBezTo>
                    <a:pt x="1009" y="179"/>
                    <a:pt x="1009" y="179"/>
                    <a:pt x="1009" y="179"/>
                  </a:cubicBezTo>
                  <a:cubicBezTo>
                    <a:pt x="1010" y="179"/>
                    <a:pt x="1010" y="179"/>
                    <a:pt x="1010" y="179"/>
                  </a:cubicBezTo>
                  <a:cubicBezTo>
                    <a:pt x="1011" y="180"/>
                    <a:pt x="1012" y="180"/>
                    <a:pt x="1013" y="180"/>
                  </a:cubicBezTo>
                  <a:cubicBezTo>
                    <a:pt x="1013" y="180"/>
                    <a:pt x="1013" y="180"/>
                    <a:pt x="1013" y="180"/>
                  </a:cubicBezTo>
                  <a:cubicBezTo>
                    <a:pt x="1014" y="181"/>
                    <a:pt x="1014" y="181"/>
                    <a:pt x="1014" y="181"/>
                  </a:cubicBezTo>
                  <a:cubicBezTo>
                    <a:pt x="1015" y="182"/>
                    <a:pt x="1014" y="181"/>
                    <a:pt x="1015" y="182"/>
                  </a:cubicBezTo>
                  <a:cubicBezTo>
                    <a:pt x="1015" y="183"/>
                    <a:pt x="1015" y="183"/>
                    <a:pt x="1015" y="183"/>
                  </a:cubicBezTo>
                  <a:cubicBezTo>
                    <a:pt x="1015" y="183"/>
                    <a:pt x="1015" y="183"/>
                    <a:pt x="1015" y="183"/>
                  </a:cubicBezTo>
                  <a:cubicBezTo>
                    <a:pt x="1015" y="183"/>
                    <a:pt x="1015" y="183"/>
                    <a:pt x="1015" y="183"/>
                  </a:cubicBezTo>
                  <a:cubicBezTo>
                    <a:pt x="1016" y="186"/>
                    <a:pt x="1015" y="187"/>
                    <a:pt x="1014" y="189"/>
                  </a:cubicBezTo>
                  <a:cubicBezTo>
                    <a:pt x="1014" y="190"/>
                    <a:pt x="1014" y="190"/>
                    <a:pt x="1014" y="190"/>
                  </a:cubicBezTo>
                  <a:cubicBezTo>
                    <a:pt x="1014" y="190"/>
                    <a:pt x="1014" y="190"/>
                    <a:pt x="1014" y="190"/>
                  </a:cubicBezTo>
                  <a:cubicBezTo>
                    <a:pt x="1014" y="190"/>
                    <a:pt x="1014" y="190"/>
                    <a:pt x="1014" y="190"/>
                  </a:cubicBezTo>
                  <a:cubicBezTo>
                    <a:pt x="1014" y="190"/>
                    <a:pt x="1014" y="190"/>
                    <a:pt x="1014" y="190"/>
                  </a:cubicBezTo>
                  <a:cubicBezTo>
                    <a:pt x="1014" y="190"/>
                    <a:pt x="1014" y="190"/>
                    <a:pt x="1014" y="190"/>
                  </a:cubicBezTo>
                  <a:cubicBezTo>
                    <a:pt x="1013" y="191"/>
                    <a:pt x="1012" y="191"/>
                    <a:pt x="1012" y="193"/>
                  </a:cubicBezTo>
                  <a:cubicBezTo>
                    <a:pt x="1012" y="193"/>
                    <a:pt x="1012" y="193"/>
                    <a:pt x="1012" y="193"/>
                  </a:cubicBezTo>
                  <a:cubicBezTo>
                    <a:pt x="1012" y="193"/>
                    <a:pt x="1012" y="193"/>
                    <a:pt x="1012" y="193"/>
                  </a:cubicBezTo>
                  <a:cubicBezTo>
                    <a:pt x="1013" y="194"/>
                    <a:pt x="1012" y="195"/>
                    <a:pt x="1014" y="195"/>
                  </a:cubicBezTo>
                  <a:cubicBezTo>
                    <a:pt x="1014" y="195"/>
                    <a:pt x="1014" y="195"/>
                    <a:pt x="1014" y="195"/>
                  </a:cubicBezTo>
                  <a:cubicBezTo>
                    <a:pt x="1015" y="195"/>
                    <a:pt x="1015" y="195"/>
                    <a:pt x="1015" y="195"/>
                  </a:cubicBezTo>
                  <a:cubicBezTo>
                    <a:pt x="1015" y="195"/>
                    <a:pt x="1015" y="195"/>
                    <a:pt x="1015" y="195"/>
                  </a:cubicBezTo>
                  <a:cubicBezTo>
                    <a:pt x="1015" y="196"/>
                    <a:pt x="1015" y="196"/>
                    <a:pt x="1015" y="196"/>
                  </a:cubicBezTo>
                  <a:cubicBezTo>
                    <a:pt x="1015" y="196"/>
                    <a:pt x="1015" y="196"/>
                    <a:pt x="1015" y="196"/>
                  </a:cubicBezTo>
                  <a:cubicBezTo>
                    <a:pt x="1016" y="196"/>
                    <a:pt x="1016" y="196"/>
                    <a:pt x="1016" y="196"/>
                  </a:cubicBezTo>
                  <a:cubicBezTo>
                    <a:pt x="1015" y="196"/>
                    <a:pt x="1015" y="196"/>
                    <a:pt x="1015" y="196"/>
                  </a:cubicBezTo>
                  <a:cubicBezTo>
                    <a:pt x="1015" y="196"/>
                    <a:pt x="1015" y="196"/>
                    <a:pt x="1015" y="196"/>
                  </a:cubicBezTo>
                  <a:cubicBezTo>
                    <a:pt x="1015" y="197"/>
                    <a:pt x="1015" y="197"/>
                    <a:pt x="1015" y="197"/>
                  </a:cubicBezTo>
                  <a:cubicBezTo>
                    <a:pt x="1015" y="197"/>
                    <a:pt x="1015" y="197"/>
                    <a:pt x="1015" y="197"/>
                  </a:cubicBezTo>
                  <a:cubicBezTo>
                    <a:pt x="1015" y="197"/>
                    <a:pt x="1015" y="197"/>
                    <a:pt x="1015" y="197"/>
                  </a:cubicBezTo>
                  <a:cubicBezTo>
                    <a:pt x="1014" y="197"/>
                    <a:pt x="1014" y="197"/>
                    <a:pt x="1014" y="197"/>
                  </a:cubicBezTo>
                  <a:cubicBezTo>
                    <a:pt x="1014" y="198"/>
                    <a:pt x="1014" y="198"/>
                    <a:pt x="1014" y="198"/>
                  </a:cubicBezTo>
                  <a:cubicBezTo>
                    <a:pt x="1014" y="198"/>
                    <a:pt x="1014" y="198"/>
                    <a:pt x="1014" y="198"/>
                  </a:cubicBezTo>
                  <a:cubicBezTo>
                    <a:pt x="1013" y="198"/>
                    <a:pt x="1013" y="198"/>
                    <a:pt x="1013" y="198"/>
                  </a:cubicBezTo>
                  <a:cubicBezTo>
                    <a:pt x="1013" y="199"/>
                    <a:pt x="1013" y="199"/>
                    <a:pt x="1013" y="199"/>
                  </a:cubicBezTo>
                  <a:cubicBezTo>
                    <a:pt x="1013" y="199"/>
                    <a:pt x="1015" y="200"/>
                    <a:pt x="1015" y="200"/>
                  </a:cubicBezTo>
                  <a:cubicBezTo>
                    <a:pt x="1016" y="201"/>
                    <a:pt x="1016" y="201"/>
                    <a:pt x="1016" y="201"/>
                  </a:cubicBezTo>
                  <a:cubicBezTo>
                    <a:pt x="1016" y="201"/>
                    <a:pt x="1016" y="201"/>
                    <a:pt x="1016" y="201"/>
                  </a:cubicBezTo>
                  <a:cubicBezTo>
                    <a:pt x="1019" y="203"/>
                    <a:pt x="1019" y="203"/>
                    <a:pt x="1019" y="203"/>
                  </a:cubicBezTo>
                  <a:cubicBezTo>
                    <a:pt x="1041" y="208"/>
                    <a:pt x="1041" y="208"/>
                    <a:pt x="1041" y="208"/>
                  </a:cubicBezTo>
                  <a:cubicBezTo>
                    <a:pt x="1042" y="213"/>
                    <a:pt x="1042" y="213"/>
                    <a:pt x="1042" y="213"/>
                  </a:cubicBezTo>
                  <a:cubicBezTo>
                    <a:pt x="1042" y="214"/>
                    <a:pt x="1042" y="214"/>
                    <a:pt x="1042" y="214"/>
                  </a:cubicBezTo>
                  <a:cubicBezTo>
                    <a:pt x="1043" y="215"/>
                    <a:pt x="1043" y="215"/>
                    <a:pt x="1043" y="215"/>
                  </a:cubicBezTo>
                  <a:cubicBezTo>
                    <a:pt x="1043" y="216"/>
                    <a:pt x="1043" y="216"/>
                    <a:pt x="1043" y="216"/>
                  </a:cubicBezTo>
                  <a:cubicBezTo>
                    <a:pt x="1051" y="223"/>
                    <a:pt x="1051" y="223"/>
                    <a:pt x="1051" y="223"/>
                  </a:cubicBezTo>
                  <a:cubicBezTo>
                    <a:pt x="1051" y="226"/>
                    <a:pt x="1051" y="226"/>
                    <a:pt x="1051" y="226"/>
                  </a:cubicBezTo>
                  <a:cubicBezTo>
                    <a:pt x="1045" y="228"/>
                    <a:pt x="1045" y="228"/>
                    <a:pt x="1045" y="228"/>
                  </a:cubicBezTo>
                  <a:cubicBezTo>
                    <a:pt x="1044" y="228"/>
                    <a:pt x="1044" y="228"/>
                    <a:pt x="1044" y="228"/>
                  </a:cubicBezTo>
                  <a:cubicBezTo>
                    <a:pt x="1042" y="228"/>
                    <a:pt x="1041" y="229"/>
                    <a:pt x="1038" y="229"/>
                  </a:cubicBezTo>
                  <a:cubicBezTo>
                    <a:pt x="1038" y="229"/>
                    <a:pt x="1038" y="229"/>
                    <a:pt x="1038" y="229"/>
                  </a:cubicBezTo>
                  <a:cubicBezTo>
                    <a:pt x="1038" y="229"/>
                    <a:pt x="1038" y="229"/>
                    <a:pt x="1038" y="229"/>
                  </a:cubicBezTo>
                  <a:cubicBezTo>
                    <a:pt x="1037" y="229"/>
                    <a:pt x="1037" y="229"/>
                    <a:pt x="1037" y="229"/>
                  </a:cubicBezTo>
                  <a:cubicBezTo>
                    <a:pt x="1036" y="229"/>
                    <a:pt x="1036" y="228"/>
                    <a:pt x="1035" y="229"/>
                  </a:cubicBezTo>
                  <a:cubicBezTo>
                    <a:pt x="1035" y="229"/>
                    <a:pt x="1035" y="229"/>
                    <a:pt x="1035" y="229"/>
                  </a:cubicBezTo>
                  <a:cubicBezTo>
                    <a:pt x="1034" y="229"/>
                    <a:pt x="1034" y="229"/>
                    <a:pt x="1034" y="229"/>
                  </a:cubicBezTo>
                  <a:cubicBezTo>
                    <a:pt x="1034" y="229"/>
                    <a:pt x="1034" y="229"/>
                    <a:pt x="1034" y="229"/>
                  </a:cubicBezTo>
                  <a:cubicBezTo>
                    <a:pt x="1033" y="229"/>
                    <a:pt x="1033" y="229"/>
                    <a:pt x="1033" y="229"/>
                  </a:cubicBezTo>
                  <a:cubicBezTo>
                    <a:pt x="1033" y="229"/>
                    <a:pt x="1033" y="229"/>
                    <a:pt x="1033" y="229"/>
                  </a:cubicBezTo>
                  <a:cubicBezTo>
                    <a:pt x="1033" y="229"/>
                    <a:pt x="1033" y="229"/>
                    <a:pt x="1033" y="229"/>
                  </a:cubicBezTo>
                  <a:cubicBezTo>
                    <a:pt x="1031" y="228"/>
                    <a:pt x="1031" y="228"/>
                    <a:pt x="1031" y="228"/>
                  </a:cubicBezTo>
                  <a:cubicBezTo>
                    <a:pt x="1028" y="225"/>
                    <a:pt x="1028" y="225"/>
                    <a:pt x="1028" y="225"/>
                  </a:cubicBezTo>
                  <a:cubicBezTo>
                    <a:pt x="1020" y="219"/>
                    <a:pt x="1020" y="219"/>
                    <a:pt x="1020" y="219"/>
                  </a:cubicBezTo>
                  <a:cubicBezTo>
                    <a:pt x="1017" y="217"/>
                    <a:pt x="1017" y="217"/>
                    <a:pt x="1017" y="217"/>
                  </a:cubicBezTo>
                  <a:cubicBezTo>
                    <a:pt x="1016" y="216"/>
                    <a:pt x="1016" y="216"/>
                    <a:pt x="1016" y="216"/>
                  </a:cubicBezTo>
                  <a:cubicBezTo>
                    <a:pt x="1016" y="216"/>
                    <a:pt x="1016" y="216"/>
                    <a:pt x="1016" y="216"/>
                  </a:cubicBezTo>
                  <a:cubicBezTo>
                    <a:pt x="1014" y="215"/>
                    <a:pt x="1014" y="215"/>
                    <a:pt x="1014" y="215"/>
                  </a:cubicBezTo>
                  <a:cubicBezTo>
                    <a:pt x="1013" y="214"/>
                    <a:pt x="1013" y="214"/>
                    <a:pt x="1013" y="214"/>
                  </a:cubicBezTo>
                  <a:cubicBezTo>
                    <a:pt x="1000" y="210"/>
                    <a:pt x="1000" y="210"/>
                    <a:pt x="1000" y="210"/>
                  </a:cubicBezTo>
                  <a:cubicBezTo>
                    <a:pt x="971" y="205"/>
                    <a:pt x="971" y="205"/>
                    <a:pt x="971" y="205"/>
                  </a:cubicBezTo>
                  <a:cubicBezTo>
                    <a:pt x="971" y="205"/>
                    <a:pt x="971" y="205"/>
                    <a:pt x="971" y="205"/>
                  </a:cubicBezTo>
                  <a:cubicBezTo>
                    <a:pt x="951" y="211"/>
                    <a:pt x="951" y="211"/>
                    <a:pt x="951" y="211"/>
                  </a:cubicBezTo>
                  <a:cubicBezTo>
                    <a:pt x="951" y="212"/>
                    <a:pt x="951" y="212"/>
                    <a:pt x="951" y="212"/>
                  </a:cubicBezTo>
                  <a:cubicBezTo>
                    <a:pt x="950" y="213"/>
                    <a:pt x="950" y="213"/>
                    <a:pt x="950" y="213"/>
                  </a:cubicBezTo>
                  <a:cubicBezTo>
                    <a:pt x="950" y="214"/>
                    <a:pt x="950" y="214"/>
                    <a:pt x="950" y="214"/>
                  </a:cubicBezTo>
                  <a:cubicBezTo>
                    <a:pt x="950" y="215"/>
                    <a:pt x="950" y="215"/>
                    <a:pt x="950" y="215"/>
                  </a:cubicBezTo>
                  <a:cubicBezTo>
                    <a:pt x="950" y="215"/>
                    <a:pt x="950" y="215"/>
                    <a:pt x="950" y="215"/>
                  </a:cubicBezTo>
                  <a:cubicBezTo>
                    <a:pt x="950" y="215"/>
                    <a:pt x="950" y="215"/>
                    <a:pt x="950" y="215"/>
                  </a:cubicBezTo>
                  <a:cubicBezTo>
                    <a:pt x="950" y="215"/>
                    <a:pt x="950" y="215"/>
                    <a:pt x="950" y="215"/>
                  </a:cubicBezTo>
                  <a:cubicBezTo>
                    <a:pt x="950" y="215"/>
                    <a:pt x="950" y="215"/>
                    <a:pt x="950" y="215"/>
                  </a:cubicBezTo>
                  <a:cubicBezTo>
                    <a:pt x="951" y="216"/>
                    <a:pt x="951" y="216"/>
                    <a:pt x="951" y="216"/>
                  </a:cubicBezTo>
                  <a:cubicBezTo>
                    <a:pt x="951" y="216"/>
                    <a:pt x="951" y="216"/>
                    <a:pt x="951" y="216"/>
                  </a:cubicBezTo>
                  <a:cubicBezTo>
                    <a:pt x="952" y="216"/>
                    <a:pt x="952" y="216"/>
                    <a:pt x="952" y="216"/>
                  </a:cubicBezTo>
                  <a:cubicBezTo>
                    <a:pt x="952" y="216"/>
                    <a:pt x="952" y="216"/>
                    <a:pt x="952" y="216"/>
                  </a:cubicBezTo>
                  <a:cubicBezTo>
                    <a:pt x="952" y="216"/>
                    <a:pt x="952" y="216"/>
                    <a:pt x="952" y="216"/>
                  </a:cubicBezTo>
                  <a:cubicBezTo>
                    <a:pt x="953" y="216"/>
                    <a:pt x="953" y="216"/>
                    <a:pt x="953" y="216"/>
                  </a:cubicBezTo>
                  <a:cubicBezTo>
                    <a:pt x="954" y="216"/>
                    <a:pt x="954" y="215"/>
                    <a:pt x="956" y="214"/>
                  </a:cubicBezTo>
                  <a:cubicBezTo>
                    <a:pt x="956" y="214"/>
                    <a:pt x="956" y="214"/>
                    <a:pt x="956" y="214"/>
                  </a:cubicBezTo>
                  <a:cubicBezTo>
                    <a:pt x="957" y="214"/>
                    <a:pt x="957" y="214"/>
                    <a:pt x="957" y="214"/>
                  </a:cubicBezTo>
                  <a:cubicBezTo>
                    <a:pt x="957" y="214"/>
                    <a:pt x="957" y="214"/>
                    <a:pt x="957" y="214"/>
                  </a:cubicBezTo>
                  <a:cubicBezTo>
                    <a:pt x="957" y="214"/>
                    <a:pt x="957" y="214"/>
                    <a:pt x="957" y="214"/>
                  </a:cubicBezTo>
                  <a:cubicBezTo>
                    <a:pt x="958" y="214"/>
                    <a:pt x="960" y="214"/>
                    <a:pt x="961" y="214"/>
                  </a:cubicBezTo>
                  <a:cubicBezTo>
                    <a:pt x="961" y="214"/>
                    <a:pt x="961" y="214"/>
                    <a:pt x="961" y="214"/>
                  </a:cubicBezTo>
                  <a:cubicBezTo>
                    <a:pt x="962" y="214"/>
                    <a:pt x="962" y="214"/>
                    <a:pt x="962" y="214"/>
                  </a:cubicBezTo>
                  <a:cubicBezTo>
                    <a:pt x="962" y="215"/>
                    <a:pt x="963" y="215"/>
                    <a:pt x="964" y="216"/>
                  </a:cubicBezTo>
                  <a:cubicBezTo>
                    <a:pt x="964" y="217"/>
                    <a:pt x="964" y="217"/>
                    <a:pt x="964" y="217"/>
                  </a:cubicBezTo>
                  <a:cubicBezTo>
                    <a:pt x="964" y="218"/>
                    <a:pt x="964" y="218"/>
                    <a:pt x="964" y="218"/>
                  </a:cubicBezTo>
                  <a:cubicBezTo>
                    <a:pt x="964" y="221"/>
                    <a:pt x="964" y="221"/>
                    <a:pt x="964" y="221"/>
                  </a:cubicBezTo>
                  <a:cubicBezTo>
                    <a:pt x="964" y="222"/>
                    <a:pt x="964" y="222"/>
                    <a:pt x="964" y="222"/>
                  </a:cubicBezTo>
                  <a:cubicBezTo>
                    <a:pt x="963" y="223"/>
                    <a:pt x="963" y="223"/>
                    <a:pt x="963" y="223"/>
                  </a:cubicBezTo>
                  <a:cubicBezTo>
                    <a:pt x="961" y="223"/>
                    <a:pt x="958" y="224"/>
                    <a:pt x="956" y="224"/>
                  </a:cubicBezTo>
                  <a:cubicBezTo>
                    <a:pt x="955" y="224"/>
                    <a:pt x="955" y="224"/>
                    <a:pt x="955" y="224"/>
                  </a:cubicBezTo>
                  <a:cubicBezTo>
                    <a:pt x="955" y="224"/>
                    <a:pt x="955" y="224"/>
                    <a:pt x="955" y="224"/>
                  </a:cubicBezTo>
                  <a:cubicBezTo>
                    <a:pt x="954" y="224"/>
                    <a:pt x="954" y="224"/>
                    <a:pt x="954" y="224"/>
                  </a:cubicBezTo>
                  <a:cubicBezTo>
                    <a:pt x="953" y="224"/>
                    <a:pt x="952" y="224"/>
                    <a:pt x="951" y="223"/>
                  </a:cubicBezTo>
                  <a:cubicBezTo>
                    <a:pt x="951" y="223"/>
                    <a:pt x="951" y="223"/>
                    <a:pt x="951" y="223"/>
                  </a:cubicBezTo>
                  <a:cubicBezTo>
                    <a:pt x="951" y="222"/>
                    <a:pt x="951" y="222"/>
                    <a:pt x="951" y="222"/>
                  </a:cubicBezTo>
                  <a:cubicBezTo>
                    <a:pt x="949" y="221"/>
                    <a:pt x="950" y="222"/>
                    <a:pt x="948" y="220"/>
                  </a:cubicBezTo>
                  <a:cubicBezTo>
                    <a:pt x="948" y="220"/>
                    <a:pt x="948" y="220"/>
                    <a:pt x="948" y="220"/>
                  </a:cubicBezTo>
                  <a:cubicBezTo>
                    <a:pt x="947" y="220"/>
                    <a:pt x="947" y="220"/>
                    <a:pt x="947" y="220"/>
                  </a:cubicBezTo>
                  <a:cubicBezTo>
                    <a:pt x="944" y="218"/>
                    <a:pt x="944" y="218"/>
                    <a:pt x="944" y="218"/>
                  </a:cubicBezTo>
                  <a:cubicBezTo>
                    <a:pt x="924" y="221"/>
                    <a:pt x="924" y="221"/>
                    <a:pt x="924" y="221"/>
                  </a:cubicBezTo>
                  <a:cubicBezTo>
                    <a:pt x="924" y="221"/>
                    <a:pt x="924" y="221"/>
                    <a:pt x="924" y="221"/>
                  </a:cubicBezTo>
                  <a:cubicBezTo>
                    <a:pt x="924" y="221"/>
                    <a:pt x="924" y="221"/>
                    <a:pt x="924" y="221"/>
                  </a:cubicBezTo>
                  <a:cubicBezTo>
                    <a:pt x="924" y="222"/>
                    <a:pt x="924" y="222"/>
                    <a:pt x="924" y="222"/>
                  </a:cubicBezTo>
                  <a:cubicBezTo>
                    <a:pt x="924" y="222"/>
                    <a:pt x="924" y="222"/>
                    <a:pt x="924" y="222"/>
                  </a:cubicBezTo>
                  <a:cubicBezTo>
                    <a:pt x="924" y="222"/>
                    <a:pt x="924" y="222"/>
                    <a:pt x="924" y="222"/>
                  </a:cubicBezTo>
                  <a:cubicBezTo>
                    <a:pt x="924" y="222"/>
                    <a:pt x="924" y="222"/>
                    <a:pt x="924" y="222"/>
                  </a:cubicBezTo>
                  <a:cubicBezTo>
                    <a:pt x="924" y="222"/>
                    <a:pt x="924" y="222"/>
                    <a:pt x="924" y="222"/>
                  </a:cubicBezTo>
                  <a:cubicBezTo>
                    <a:pt x="925" y="222"/>
                    <a:pt x="925" y="222"/>
                    <a:pt x="925" y="222"/>
                  </a:cubicBezTo>
                  <a:cubicBezTo>
                    <a:pt x="925" y="223"/>
                    <a:pt x="925" y="223"/>
                    <a:pt x="925" y="223"/>
                  </a:cubicBezTo>
                  <a:cubicBezTo>
                    <a:pt x="925" y="223"/>
                    <a:pt x="925" y="223"/>
                    <a:pt x="925" y="223"/>
                  </a:cubicBezTo>
                  <a:cubicBezTo>
                    <a:pt x="925" y="224"/>
                    <a:pt x="926" y="225"/>
                    <a:pt x="926" y="225"/>
                  </a:cubicBezTo>
                  <a:cubicBezTo>
                    <a:pt x="926" y="225"/>
                    <a:pt x="926" y="225"/>
                    <a:pt x="926" y="225"/>
                  </a:cubicBezTo>
                  <a:cubicBezTo>
                    <a:pt x="926" y="226"/>
                    <a:pt x="926" y="226"/>
                    <a:pt x="926" y="226"/>
                  </a:cubicBezTo>
                  <a:cubicBezTo>
                    <a:pt x="926" y="226"/>
                    <a:pt x="926" y="226"/>
                    <a:pt x="926" y="226"/>
                  </a:cubicBezTo>
                  <a:cubicBezTo>
                    <a:pt x="926" y="226"/>
                    <a:pt x="926" y="226"/>
                    <a:pt x="926" y="226"/>
                  </a:cubicBezTo>
                  <a:cubicBezTo>
                    <a:pt x="927" y="227"/>
                    <a:pt x="927" y="227"/>
                    <a:pt x="927" y="228"/>
                  </a:cubicBezTo>
                  <a:cubicBezTo>
                    <a:pt x="927" y="228"/>
                    <a:pt x="927" y="228"/>
                    <a:pt x="927" y="228"/>
                  </a:cubicBezTo>
                  <a:cubicBezTo>
                    <a:pt x="927" y="228"/>
                    <a:pt x="927" y="228"/>
                    <a:pt x="927" y="228"/>
                  </a:cubicBezTo>
                  <a:cubicBezTo>
                    <a:pt x="928" y="230"/>
                    <a:pt x="928" y="232"/>
                    <a:pt x="929" y="233"/>
                  </a:cubicBezTo>
                  <a:cubicBezTo>
                    <a:pt x="930" y="234"/>
                    <a:pt x="930" y="234"/>
                    <a:pt x="930" y="234"/>
                  </a:cubicBezTo>
                  <a:cubicBezTo>
                    <a:pt x="930" y="234"/>
                    <a:pt x="930" y="234"/>
                    <a:pt x="930" y="234"/>
                  </a:cubicBezTo>
                  <a:cubicBezTo>
                    <a:pt x="930" y="234"/>
                    <a:pt x="930" y="234"/>
                    <a:pt x="930" y="234"/>
                  </a:cubicBezTo>
                  <a:cubicBezTo>
                    <a:pt x="931" y="234"/>
                    <a:pt x="931" y="234"/>
                    <a:pt x="931" y="234"/>
                  </a:cubicBezTo>
                  <a:cubicBezTo>
                    <a:pt x="931" y="234"/>
                    <a:pt x="931" y="234"/>
                    <a:pt x="931" y="234"/>
                  </a:cubicBezTo>
                  <a:cubicBezTo>
                    <a:pt x="936" y="235"/>
                    <a:pt x="935" y="237"/>
                    <a:pt x="940" y="238"/>
                  </a:cubicBezTo>
                  <a:cubicBezTo>
                    <a:pt x="941" y="238"/>
                    <a:pt x="941" y="238"/>
                    <a:pt x="941" y="238"/>
                  </a:cubicBezTo>
                  <a:cubicBezTo>
                    <a:pt x="941" y="238"/>
                    <a:pt x="941" y="238"/>
                    <a:pt x="941" y="238"/>
                  </a:cubicBezTo>
                  <a:cubicBezTo>
                    <a:pt x="943" y="239"/>
                    <a:pt x="943" y="238"/>
                    <a:pt x="944" y="239"/>
                  </a:cubicBezTo>
                  <a:cubicBezTo>
                    <a:pt x="946" y="240"/>
                    <a:pt x="946" y="240"/>
                    <a:pt x="946" y="240"/>
                  </a:cubicBezTo>
                  <a:cubicBezTo>
                    <a:pt x="946" y="240"/>
                    <a:pt x="946" y="240"/>
                    <a:pt x="946" y="240"/>
                  </a:cubicBezTo>
                  <a:cubicBezTo>
                    <a:pt x="947" y="241"/>
                    <a:pt x="948" y="242"/>
                    <a:pt x="950" y="242"/>
                  </a:cubicBezTo>
                  <a:cubicBezTo>
                    <a:pt x="950" y="242"/>
                    <a:pt x="950" y="242"/>
                    <a:pt x="950" y="242"/>
                  </a:cubicBezTo>
                  <a:cubicBezTo>
                    <a:pt x="950" y="242"/>
                    <a:pt x="950" y="242"/>
                    <a:pt x="950" y="242"/>
                  </a:cubicBezTo>
                  <a:cubicBezTo>
                    <a:pt x="951" y="242"/>
                    <a:pt x="951" y="242"/>
                    <a:pt x="951" y="242"/>
                  </a:cubicBezTo>
                  <a:cubicBezTo>
                    <a:pt x="951" y="242"/>
                    <a:pt x="951" y="242"/>
                    <a:pt x="951" y="242"/>
                  </a:cubicBezTo>
                  <a:cubicBezTo>
                    <a:pt x="951" y="242"/>
                    <a:pt x="951" y="242"/>
                    <a:pt x="951" y="242"/>
                  </a:cubicBezTo>
                  <a:cubicBezTo>
                    <a:pt x="951" y="242"/>
                    <a:pt x="951" y="242"/>
                    <a:pt x="951" y="242"/>
                  </a:cubicBezTo>
                  <a:cubicBezTo>
                    <a:pt x="951" y="242"/>
                    <a:pt x="951" y="242"/>
                    <a:pt x="951" y="242"/>
                  </a:cubicBezTo>
                  <a:cubicBezTo>
                    <a:pt x="954" y="242"/>
                    <a:pt x="954" y="244"/>
                    <a:pt x="957" y="243"/>
                  </a:cubicBezTo>
                  <a:cubicBezTo>
                    <a:pt x="957" y="243"/>
                    <a:pt x="957" y="243"/>
                    <a:pt x="957" y="243"/>
                  </a:cubicBezTo>
                  <a:cubicBezTo>
                    <a:pt x="957" y="243"/>
                    <a:pt x="957" y="243"/>
                    <a:pt x="957" y="243"/>
                  </a:cubicBezTo>
                  <a:cubicBezTo>
                    <a:pt x="957" y="243"/>
                    <a:pt x="957" y="243"/>
                    <a:pt x="957" y="243"/>
                  </a:cubicBezTo>
                  <a:cubicBezTo>
                    <a:pt x="956" y="242"/>
                    <a:pt x="957" y="242"/>
                    <a:pt x="958" y="242"/>
                  </a:cubicBezTo>
                  <a:cubicBezTo>
                    <a:pt x="958" y="242"/>
                    <a:pt x="958" y="242"/>
                    <a:pt x="958" y="242"/>
                  </a:cubicBezTo>
                  <a:cubicBezTo>
                    <a:pt x="958" y="242"/>
                    <a:pt x="958" y="242"/>
                    <a:pt x="958" y="242"/>
                  </a:cubicBezTo>
                  <a:cubicBezTo>
                    <a:pt x="959" y="242"/>
                    <a:pt x="959" y="242"/>
                    <a:pt x="959" y="242"/>
                  </a:cubicBezTo>
                  <a:cubicBezTo>
                    <a:pt x="959" y="242"/>
                    <a:pt x="959" y="242"/>
                    <a:pt x="959" y="242"/>
                  </a:cubicBezTo>
                  <a:cubicBezTo>
                    <a:pt x="959" y="242"/>
                    <a:pt x="959" y="242"/>
                    <a:pt x="959" y="242"/>
                  </a:cubicBezTo>
                  <a:cubicBezTo>
                    <a:pt x="959" y="241"/>
                    <a:pt x="959" y="241"/>
                    <a:pt x="959" y="241"/>
                  </a:cubicBezTo>
                  <a:cubicBezTo>
                    <a:pt x="960" y="241"/>
                    <a:pt x="960" y="241"/>
                    <a:pt x="960" y="241"/>
                  </a:cubicBezTo>
                  <a:cubicBezTo>
                    <a:pt x="961" y="241"/>
                    <a:pt x="961" y="241"/>
                    <a:pt x="961" y="241"/>
                  </a:cubicBezTo>
                  <a:cubicBezTo>
                    <a:pt x="962" y="241"/>
                    <a:pt x="962" y="241"/>
                    <a:pt x="962" y="241"/>
                  </a:cubicBezTo>
                  <a:cubicBezTo>
                    <a:pt x="962" y="241"/>
                    <a:pt x="962" y="241"/>
                    <a:pt x="962" y="241"/>
                  </a:cubicBezTo>
                  <a:cubicBezTo>
                    <a:pt x="962" y="241"/>
                    <a:pt x="962" y="241"/>
                    <a:pt x="962" y="241"/>
                  </a:cubicBezTo>
                  <a:cubicBezTo>
                    <a:pt x="962" y="241"/>
                    <a:pt x="962" y="241"/>
                    <a:pt x="962" y="241"/>
                  </a:cubicBezTo>
                  <a:cubicBezTo>
                    <a:pt x="961" y="242"/>
                    <a:pt x="961" y="242"/>
                    <a:pt x="961" y="242"/>
                  </a:cubicBezTo>
                  <a:cubicBezTo>
                    <a:pt x="961" y="244"/>
                    <a:pt x="961" y="244"/>
                    <a:pt x="961" y="244"/>
                  </a:cubicBezTo>
                  <a:cubicBezTo>
                    <a:pt x="961" y="244"/>
                    <a:pt x="961" y="244"/>
                    <a:pt x="961" y="244"/>
                  </a:cubicBezTo>
                  <a:cubicBezTo>
                    <a:pt x="961" y="244"/>
                    <a:pt x="961" y="244"/>
                    <a:pt x="961" y="244"/>
                  </a:cubicBezTo>
                  <a:cubicBezTo>
                    <a:pt x="961" y="244"/>
                    <a:pt x="961" y="244"/>
                    <a:pt x="961" y="244"/>
                  </a:cubicBezTo>
                  <a:cubicBezTo>
                    <a:pt x="961" y="244"/>
                    <a:pt x="961" y="244"/>
                    <a:pt x="961" y="244"/>
                  </a:cubicBezTo>
                  <a:cubicBezTo>
                    <a:pt x="962" y="244"/>
                    <a:pt x="962" y="244"/>
                    <a:pt x="962" y="244"/>
                  </a:cubicBezTo>
                  <a:cubicBezTo>
                    <a:pt x="962" y="244"/>
                    <a:pt x="962" y="244"/>
                    <a:pt x="962" y="244"/>
                  </a:cubicBezTo>
                  <a:cubicBezTo>
                    <a:pt x="962" y="244"/>
                    <a:pt x="962" y="244"/>
                    <a:pt x="962" y="244"/>
                  </a:cubicBezTo>
                  <a:cubicBezTo>
                    <a:pt x="962" y="244"/>
                    <a:pt x="962" y="244"/>
                    <a:pt x="962" y="244"/>
                  </a:cubicBezTo>
                  <a:cubicBezTo>
                    <a:pt x="963" y="244"/>
                    <a:pt x="963" y="244"/>
                    <a:pt x="963" y="244"/>
                  </a:cubicBezTo>
                  <a:cubicBezTo>
                    <a:pt x="964" y="244"/>
                    <a:pt x="964" y="244"/>
                    <a:pt x="964" y="244"/>
                  </a:cubicBezTo>
                  <a:cubicBezTo>
                    <a:pt x="966" y="244"/>
                    <a:pt x="966" y="244"/>
                    <a:pt x="966" y="244"/>
                  </a:cubicBezTo>
                  <a:cubicBezTo>
                    <a:pt x="967" y="245"/>
                    <a:pt x="967" y="245"/>
                    <a:pt x="967" y="245"/>
                  </a:cubicBezTo>
                  <a:cubicBezTo>
                    <a:pt x="968" y="245"/>
                    <a:pt x="968" y="245"/>
                    <a:pt x="968" y="245"/>
                  </a:cubicBezTo>
                  <a:cubicBezTo>
                    <a:pt x="968" y="245"/>
                    <a:pt x="968" y="245"/>
                    <a:pt x="968" y="245"/>
                  </a:cubicBezTo>
                  <a:cubicBezTo>
                    <a:pt x="968" y="246"/>
                    <a:pt x="968" y="246"/>
                    <a:pt x="968" y="246"/>
                  </a:cubicBezTo>
                  <a:cubicBezTo>
                    <a:pt x="968" y="246"/>
                    <a:pt x="968" y="246"/>
                    <a:pt x="968" y="246"/>
                  </a:cubicBezTo>
                  <a:cubicBezTo>
                    <a:pt x="966" y="251"/>
                    <a:pt x="966" y="249"/>
                    <a:pt x="969" y="252"/>
                  </a:cubicBezTo>
                  <a:cubicBezTo>
                    <a:pt x="969" y="252"/>
                    <a:pt x="969" y="252"/>
                    <a:pt x="969" y="252"/>
                  </a:cubicBezTo>
                  <a:cubicBezTo>
                    <a:pt x="970" y="251"/>
                    <a:pt x="970" y="251"/>
                    <a:pt x="970" y="251"/>
                  </a:cubicBezTo>
                  <a:cubicBezTo>
                    <a:pt x="970" y="251"/>
                    <a:pt x="970" y="251"/>
                    <a:pt x="970" y="251"/>
                  </a:cubicBezTo>
                  <a:cubicBezTo>
                    <a:pt x="971" y="250"/>
                    <a:pt x="971" y="250"/>
                    <a:pt x="971" y="250"/>
                  </a:cubicBezTo>
                  <a:cubicBezTo>
                    <a:pt x="971" y="250"/>
                    <a:pt x="971" y="250"/>
                    <a:pt x="971" y="250"/>
                  </a:cubicBezTo>
                  <a:cubicBezTo>
                    <a:pt x="972" y="251"/>
                    <a:pt x="972" y="251"/>
                    <a:pt x="972" y="251"/>
                  </a:cubicBezTo>
                  <a:cubicBezTo>
                    <a:pt x="972" y="251"/>
                    <a:pt x="972" y="251"/>
                    <a:pt x="972" y="251"/>
                  </a:cubicBezTo>
                  <a:cubicBezTo>
                    <a:pt x="972" y="252"/>
                    <a:pt x="972" y="252"/>
                    <a:pt x="972" y="252"/>
                  </a:cubicBezTo>
                  <a:cubicBezTo>
                    <a:pt x="972" y="252"/>
                    <a:pt x="972" y="252"/>
                    <a:pt x="972" y="252"/>
                  </a:cubicBezTo>
                  <a:cubicBezTo>
                    <a:pt x="972" y="252"/>
                    <a:pt x="972" y="252"/>
                    <a:pt x="972" y="252"/>
                  </a:cubicBezTo>
                  <a:cubicBezTo>
                    <a:pt x="971" y="252"/>
                    <a:pt x="971" y="252"/>
                    <a:pt x="971" y="252"/>
                  </a:cubicBezTo>
                  <a:cubicBezTo>
                    <a:pt x="971" y="252"/>
                    <a:pt x="971" y="252"/>
                    <a:pt x="971" y="252"/>
                  </a:cubicBezTo>
                  <a:cubicBezTo>
                    <a:pt x="971" y="252"/>
                    <a:pt x="971" y="252"/>
                    <a:pt x="971" y="252"/>
                  </a:cubicBezTo>
                  <a:cubicBezTo>
                    <a:pt x="971" y="253"/>
                    <a:pt x="971" y="253"/>
                    <a:pt x="971" y="253"/>
                  </a:cubicBezTo>
                  <a:cubicBezTo>
                    <a:pt x="971" y="254"/>
                    <a:pt x="971" y="254"/>
                    <a:pt x="971" y="254"/>
                  </a:cubicBezTo>
                  <a:cubicBezTo>
                    <a:pt x="970" y="255"/>
                    <a:pt x="970" y="255"/>
                    <a:pt x="970" y="255"/>
                  </a:cubicBezTo>
                  <a:cubicBezTo>
                    <a:pt x="971" y="256"/>
                    <a:pt x="971" y="256"/>
                    <a:pt x="971" y="256"/>
                  </a:cubicBezTo>
                  <a:cubicBezTo>
                    <a:pt x="971" y="256"/>
                    <a:pt x="971" y="256"/>
                    <a:pt x="971" y="256"/>
                  </a:cubicBezTo>
                  <a:cubicBezTo>
                    <a:pt x="971" y="256"/>
                    <a:pt x="971" y="256"/>
                    <a:pt x="971" y="256"/>
                  </a:cubicBezTo>
                  <a:cubicBezTo>
                    <a:pt x="971" y="256"/>
                    <a:pt x="971" y="256"/>
                    <a:pt x="971" y="256"/>
                  </a:cubicBezTo>
                  <a:cubicBezTo>
                    <a:pt x="973" y="253"/>
                    <a:pt x="974" y="256"/>
                    <a:pt x="976" y="256"/>
                  </a:cubicBezTo>
                  <a:cubicBezTo>
                    <a:pt x="976" y="255"/>
                    <a:pt x="976" y="255"/>
                    <a:pt x="976" y="255"/>
                  </a:cubicBezTo>
                  <a:cubicBezTo>
                    <a:pt x="977" y="255"/>
                    <a:pt x="977" y="255"/>
                    <a:pt x="977" y="255"/>
                  </a:cubicBezTo>
                  <a:cubicBezTo>
                    <a:pt x="977" y="255"/>
                    <a:pt x="977" y="255"/>
                    <a:pt x="977" y="255"/>
                  </a:cubicBezTo>
                  <a:cubicBezTo>
                    <a:pt x="977" y="255"/>
                    <a:pt x="977" y="255"/>
                    <a:pt x="977" y="255"/>
                  </a:cubicBezTo>
                  <a:cubicBezTo>
                    <a:pt x="977" y="255"/>
                    <a:pt x="977" y="255"/>
                    <a:pt x="977" y="255"/>
                  </a:cubicBezTo>
                  <a:cubicBezTo>
                    <a:pt x="977" y="254"/>
                    <a:pt x="977" y="254"/>
                    <a:pt x="977" y="254"/>
                  </a:cubicBezTo>
                  <a:cubicBezTo>
                    <a:pt x="977" y="254"/>
                    <a:pt x="977" y="254"/>
                    <a:pt x="977" y="254"/>
                  </a:cubicBezTo>
                  <a:cubicBezTo>
                    <a:pt x="977" y="253"/>
                    <a:pt x="977" y="253"/>
                    <a:pt x="977" y="253"/>
                  </a:cubicBezTo>
                  <a:cubicBezTo>
                    <a:pt x="977" y="253"/>
                    <a:pt x="977" y="253"/>
                    <a:pt x="977" y="253"/>
                  </a:cubicBezTo>
                  <a:cubicBezTo>
                    <a:pt x="977" y="253"/>
                    <a:pt x="977" y="253"/>
                    <a:pt x="977" y="253"/>
                  </a:cubicBezTo>
                  <a:cubicBezTo>
                    <a:pt x="978" y="253"/>
                    <a:pt x="978" y="253"/>
                    <a:pt x="978" y="253"/>
                  </a:cubicBezTo>
                  <a:cubicBezTo>
                    <a:pt x="978" y="253"/>
                    <a:pt x="978" y="253"/>
                    <a:pt x="978" y="253"/>
                  </a:cubicBezTo>
                  <a:cubicBezTo>
                    <a:pt x="979" y="253"/>
                    <a:pt x="979" y="253"/>
                    <a:pt x="979" y="253"/>
                  </a:cubicBezTo>
                  <a:cubicBezTo>
                    <a:pt x="979" y="253"/>
                    <a:pt x="979" y="253"/>
                    <a:pt x="979" y="253"/>
                  </a:cubicBezTo>
                  <a:cubicBezTo>
                    <a:pt x="980" y="253"/>
                    <a:pt x="980" y="253"/>
                    <a:pt x="980" y="253"/>
                  </a:cubicBezTo>
                  <a:cubicBezTo>
                    <a:pt x="982" y="253"/>
                    <a:pt x="982" y="253"/>
                    <a:pt x="982" y="253"/>
                  </a:cubicBezTo>
                  <a:cubicBezTo>
                    <a:pt x="983" y="253"/>
                    <a:pt x="983" y="253"/>
                    <a:pt x="983" y="253"/>
                  </a:cubicBezTo>
                  <a:cubicBezTo>
                    <a:pt x="983" y="253"/>
                    <a:pt x="983" y="253"/>
                    <a:pt x="983" y="253"/>
                  </a:cubicBezTo>
                  <a:cubicBezTo>
                    <a:pt x="983" y="253"/>
                    <a:pt x="983" y="253"/>
                    <a:pt x="983" y="253"/>
                  </a:cubicBezTo>
                  <a:cubicBezTo>
                    <a:pt x="983" y="253"/>
                    <a:pt x="983" y="253"/>
                    <a:pt x="983" y="253"/>
                  </a:cubicBezTo>
                  <a:cubicBezTo>
                    <a:pt x="983" y="254"/>
                    <a:pt x="983" y="254"/>
                    <a:pt x="983" y="254"/>
                  </a:cubicBezTo>
                  <a:cubicBezTo>
                    <a:pt x="982" y="254"/>
                    <a:pt x="982" y="254"/>
                    <a:pt x="982" y="254"/>
                  </a:cubicBezTo>
                  <a:cubicBezTo>
                    <a:pt x="981" y="256"/>
                    <a:pt x="978" y="256"/>
                    <a:pt x="975" y="256"/>
                  </a:cubicBezTo>
                  <a:cubicBezTo>
                    <a:pt x="975" y="256"/>
                    <a:pt x="975" y="256"/>
                    <a:pt x="975" y="256"/>
                  </a:cubicBezTo>
                  <a:cubicBezTo>
                    <a:pt x="975" y="256"/>
                    <a:pt x="975" y="256"/>
                    <a:pt x="975" y="256"/>
                  </a:cubicBezTo>
                  <a:cubicBezTo>
                    <a:pt x="972" y="256"/>
                    <a:pt x="970" y="258"/>
                    <a:pt x="969" y="257"/>
                  </a:cubicBezTo>
                  <a:cubicBezTo>
                    <a:pt x="968" y="256"/>
                    <a:pt x="968" y="256"/>
                    <a:pt x="968" y="256"/>
                  </a:cubicBezTo>
                  <a:cubicBezTo>
                    <a:pt x="968" y="256"/>
                    <a:pt x="968" y="256"/>
                    <a:pt x="968" y="256"/>
                  </a:cubicBezTo>
                  <a:cubicBezTo>
                    <a:pt x="968" y="256"/>
                    <a:pt x="968" y="256"/>
                    <a:pt x="968" y="256"/>
                  </a:cubicBezTo>
                  <a:cubicBezTo>
                    <a:pt x="967" y="256"/>
                    <a:pt x="967" y="256"/>
                    <a:pt x="967" y="256"/>
                  </a:cubicBezTo>
                  <a:cubicBezTo>
                    <a:pt x="967" y="255"/>
                    <a:pt x="967" y="255"/>
                    <a:pt x="967" y="255"/>
                  </a:cubicBezTo>
                  <a:cubicBezTo>
                    <a:pt x="967" y="255"/>
                    <a:pt x="967" y="255"/>
                    <a:pt x="967" y="255"/>
                  </a:cubicBezTo>
                  <a:cubicBezTo>
                    <a:pt x="966" y="255"/>
                    <a:pt x="966" y="255"/>
                    <a:pt x="966" y="255"/>
                  </a:cubicBezTo>
                  <a:cubicBezTo>
                    <a:pt x="966" y="255"/>
                    <a:pt x="966" y="255"/>
                    <a:pt x="966" y="255"/>
                  </a:cubicBezTo>
                  <a:cubicBezTo>
                    <a:pt x="965" y="255"/>
                    <a:pt x="965" y="255"/>
                    <a:pt x="965" y="255"/>
                  </a:cubicBezTo>
                  <a:cubicBezTo>
                    <a:pt x="965" y="255"/>
                    <a:pt x="965" y="255"/>
                    <a:pt x="965" y="255"/>
                  </a:cubicBezTo>
                  <a:cubicBezTo>
                    <a:pt x="965" y="255"/>
                    <a:pt x="965" y="255"/>
                    <a:pt x="965" y="255"/>
                  </a:cubicBezTo>
                  <a:cubicBezTo>
                    <a:pt x="964" y="255"/>
                    <a:pt x="964" y="255"/>
                    <a:pt x="964" y="255"/>
                  </a:cubicBezTo>
                  <a:cubicBezTo>
                    <a:pt x="964" y="255"/>
                    <a:pt x="964" y="255"/>
                    <a:pt x="964" y="255"/>
                  </a:cubicBezTo>
                  <a:cubicBezTo>
                    <a:pt x="964" y="255"/>
                    <a:pt x="964" y="255"/>
                    <a:pt x="964" y="255"/>
                  </a:cubicBezTo>
                  <a:cubicBezTo>
                    <a:pt x="963" y="255"/>
                    <a:pt x="963" y="255"/>
                    <a:pt x="963" y="255"/>
                  </a:cubicBezTo>
                  <a:cubicBezTo>
                    <a:pt x="963" y="255"/>
                    <a:pt x="963" y="255"/>
                    <a:pt x="963" y="255"/>
                  </a:cubicBezTo>
                  <a:cubicBezTo>
                    <a:pt x="962" y="255"/>
                    <a:pt x="960" y="254"/>
                    <a:pt x="960" y="253"/>
                  </a:cubicBezTo>
                  <a:cubicBezTo>
                    <a:pt x="960" y="253"/>
                    <a:pt x="960" y="253"/>
                    <a:pt x="960" y="253"/>
                  </a:cubicBezTo>
                  <a:cubicBezTo>
                    <a:pt x="960" y="253"/>
                    <a:pt x="960" y="253"/>
                    <a:pt x="960" y="253"/>
                  </a:cubicBezTo>
                  <a:cubicBezTo>
                    <a:pt x="960" y="253"/>
                    <a:pt x="960" y="253"/>
                    <a:pt x="960" y="253"/>
                  </a:cubicBezTo>
                  <a:cubicBezTo>
                    <a:pt x="960" y="253"/>
                    <a:pt x="960" y="253"/>
                    <a:pt x="960" y="253"/>
                  </a:cubicBezTo>
                  <a:cubicBezTo>
                    <a:pt x="960" y="252"/>
                    <a:pt x="960" y="252"/>
                    <a:pt x="960" y="252"/>
                  </a:cubicBezTo>
                  <a:cubicBezTo>
                    <a:pt x="960" y="252"/>
                    <a:pt x="960" y="252"/>
                    <a:pt x="960" y="252"/>
                  </a:cubicBezTo>
                  <a:cubicBezTo>
                    <a:pt x="960" y="252"/>
                    <a:pt x="960" y="252"/>
                    <a:pt x="960" y="252"/>
                  </a:cubicBezTo>
                  <a:cubicBezTo>
                    <a:pt x="960" y="252"/>
                    <a:pt x="960" y="252"/>
                    <a:pt x="960" y="252"/>
                  </a:cubicBezTo>
                  <a:cubicBezTo>
                    <a:pt x="960" y="251"/>
                    <a:pt x="960" y="251"/>
                    <a:pt x="960" y="251"/>
                  </a:cubicBezTo>
                  <a:cubicBezTo>
                    <a:pt x="960" y="251"/>
                    <a:pt x="960" y="251"/>
                    <a:pt x="960" y="251"/>
                  </a:cubicBezTo>
                  <a:cubicBezTo>
                    <a:pt x="960" y="250"/>
                    <a:pt x="960" y="250"/>
                    <a:pt x="960" y="250"/>
                  </a:cubicBezTo>
                  <a:cubicBezTo>
                    <a:pt x="959" y="250"/>
                    <a:pt x="959" y="250"/>
                    <a:pt x="959" y="250"/>
                  </a:cubicBezTo>
                  <a:cubicBezTo>
                    <a:pt x="959" y="250"/>
                    <a:pt x="959" y="250"/>
                    <a:pt x="959" y="250"/>
                  </a:cubicBezTo>
                  <a:cubicBezTo>
                    <a:pt x="959" y="250"/>
                    <a:pt x="959" y="250"/>
                    <a:pt x="959" y="250"/>
                  </a:cubicBezTo>
                  <a:cubicBezTo>
                    <a:pt x="959" y="249"/>
                    <a:pt x="959" y="249"/>
                    <a:pt x="959" y="249"/>
                  </a:cubicBezTo>
                  <a:cubicBezTo>
                    <a:pt x="958" y="248"/>
                    <a:pt x="956" y="248"/>
                    <a:pt x="955" y="248"/>
                  </a:cubicBezTo>
                  <a:cubicBezTo>
                    <a:pt x="955" y="248"/>
                    <a:pt x="955" y="248"/>
                    <a:pt x="955" y="248"/>
                  </a:cubicBezTo>
                  <a:cubicBezTo>
                    <a:pt x="954" y="248"/>
                    <a:pt x="954" y="248"/>
                    <a:pt x="954" y="248"/>
                  </a:cubicBezTo>
                  <a:cubicBezTo>
                    <a:pt x="954" y="248"/>
                    <a:pt x="954" y="248"/>
                    <a:pt x="954" y="248"/>
                  </a:cubicBezTo>
                  <a:cubicBezTo>
                    <a:pt x="953" y="248"/>
                    <a:pt x="953" y="248"/>
                    <a:pt x="953" y="248"/>
                  </a:cubicBezTo>
                  <a:cubicBezTo>
                    <a:pt x="952" y="248"/>
                    <a:pt x="951" y="247"/>
                    <a:pt x="949" y="247"/>
                  </a:cubicBezTo>
                  <a:cubicBezTo>
                    <a:pt x="949" y="247"/>
                    <a:pt x="949" y="247"/>
                    <a:pt x="949" y="247"/>
                  </a:cubicBezTo>
                  <a:cubicBezTo>
                    <a:pt x="948" y="247"/>
                    <a:pt x="948" y="247"/>
                    <a:pt x="948" y="247"/>
                  </a:cubicBezTo>
                  <a:cubicBezTo>
                    <a:pt x="948" y="247"/>
                    <a:pt x="948" y="247"/>
                    <a:pt x="948" y="247"/>
                  </a:cubicBezTo>
                  <a:cubicBezTo>
                    <a:pt x="948" y="247"/>
                    <a:pt x="948" y="247"/>
                    <a:pt x="948" y="247"/>
                  </a:cubicBezTo>
                  <a:cubicBezTo>
                    <a:pt x="947" y="247"/>
                    <a:pt x="947" y="247"/>
                    <a:pt x="947" y="247"/>
                  </a:cubicBezTo>
                  <a:cubicBezTo>
                    <a:pt x="947" y="247"/>
                    <a:pt x="947" y="247"/>
                    <a:pt x="947" y="247"/>
                  </a:cubicBezTo>
                  <a:cubicBezTo>
                    <a:pt x="947" y="247"/>
                    <a:pt x="947" y="247"/>
                    <a:pt x="947" y="247"/>
                  </a:cubicBezTo>
                  <a:cubicBezTo>
                    <a:pt x="946" y="247"/>
                    <a:pt x="946" y="247"/>
                    <a:pt x="946" y="247"/>
                  </a:cubicBezTo>
                  <a:cubicBezTo>
                    <a:pt x="946" y="247"/>
                    <a:pt x="946" y="247"/>
                    <a:pt x="946" y="247"/>
                  </a:cubicBezTo>
                  <a:cubicBezTo>
                    <a:pt x="946" y="247"/>
                    <a:pt x="946" y="247"/>
                    <a:pt x="946" y="247"/>
                  </a:cubicBezTo>
                  <a:cubicBezTo>
                    <a:pt x="945" y="247"/>
                    <a:pt x="945" y="247"/>
                    <a:pt x="945" y="247"/>
                  </a:cubicBezTo>
                  <a:cubicBezTo>
                    <a:pt x="945" y="247"/>
                    <a:pt x="945" y="247"/>
                    <a:pt x="945" y="247"/>
                  </a:cubicBezTo>
                  <a:cubicBezTo>
                    <a:pt x="944" y="247"/>
                    <a:pt x="944" y="247"/>
                    <a:pt x="944" y="247"/>
                  </a:cubicBezTo>
                  <a:cubicBezTo>
                    <a:pt x="944" y="247"/>
                    <a:pt x="944" y="247"/>
                    <a:pt x="944" y="247"/>
                  </a:cubicBezTo>
                  <a:cubicBezTo>
                    <a:pt x="943" y="248"/>
                    <a:pt x="943" y="248"/>
                    <a:pt x="943" y="248"/>
                  </a:cubicBezTo>
                  <a:cubicBezTo>
                    <a:pt x="942" y="250"/>
                    <a:pt x="942" y="250"/>
                    <a:pt x="942" y="250"/>
                  </a:cubicBezTo>
                  <a:cubicBezTo>
                    <a:pt x="941" y="250"/>
                    <a:pt x="941" y="250"/>
                    <a:pt x="941" y="250"/>
                  </a:cubicBezTo>
                  <a:cubicBezTo>
                    <a:pt x="941" y="251"/>
                    <a:pt x="941" y="251"/>
                    <a:pt x="941" y="251"/>
                  </a:cubicBezTo>
                  <a:cubicBezTo>
                    <a:pt x="941" y="250"/>
                    <a:pt x="941" y="250"/>
                    <a:pt x="941" y="250"/>
                  </a:cubicBezTo>
                  <a:cubicBezTo>
                    <a:pt x="942" y="249"/>
                    <a:pt x="939" y="249"/>
                    <a:pt x="941" y="247"/>
                  </a:cubicBezTo>
                  <a:cubicBezTo>
                    <a:pt x="941" y="247"/>
                    <a:pt x="941" y="247"/>
                    <a:pt x="941" y="247"/>
                  </a:cubicBezTo>
                  <a:cubicBezTo>
                    <a:pt x="941" y="247"/>
                    <a:pt x="941" y="247"/>
                    <a:pt x="941" y="247"/>
                  </a:cubicBezTo>
                  <a:cubicBezTo>
                    <a:pt x="940" y="247"/>
                    <a:pt x="940" y="247"/>
                    <a:pt x="940" y="247"/>
                  </a:cubicBezTo>
                  <a:cubicBezTo>
                    <a:pt x="940" y="247"/>
                    <a:pt x="940" y="247"/>
                    <a:pt x="940" y="247"/>
                  </a:cubicBezTo>
                  <a:cubicBezTo>
                    <a:pt x="935" y="245"/>
                    <a:pt x="935" y="246"/>
                    <a:pt x="930" y="246"/>
                  </a:cubicBezTo>
                  <a:cubicBezTo>
                    <a:pt x="930" y="246"/>
                    <a:pt x="930" y="246"/>
                    <a:pt x="930" y="246"/>
                  </a:cubicBezTo>
                  <a:cubicBezTo>
                    <a:pt x="929" y="246"/>
                    <a:pt x="929" y="246"/>
                    <a:pt x="929" y="246"/>
                  </a:cubicBezTo>
                  <a:cubicBezTo>
                    <a:pt x="929" y="246"/>
                    <a:pt x="929" y="246"/>
                    <a:pt x="929" y="246"/>
                  </a:cubicBezTo>
                  <a:cubicBezTo>
                    <a:pt x="929" y="246"/>
                    <a:pt x="929" y="246"/>
                    <a:pt x="929" y="246"/>
                  </a:cubicBezTo>
                  <a:cubicBezTo>
                    <a:pt x="928" y="246"/>
                    <a:pt x="928" y="246"/>
                    <a:pt x="928" y="246"/>
                  </a:cubicBezTo>
                  <a:cubicBezTo>
                    <a:pt x="927" y="246"/>
                    <a:pt x="927" y="246"/>
                    <a:pt x="927" y="246"/>
                  </a:cubicBezTo>
                  <a:cubicBezTo>
                    <a:pt x="926" y="246"/>
                    <a:pt x="926" y="246"/>
                    <a:pt x="926" y="246"/>
                  </a:cubicBezTo>
                  <a:cubicBezTo>
                    <a:pt x="926" y="246"/>
                    <a:pt x="926" y="246"/>
                    <a:pt x="926" y="246"/>
                  </a:cubicBezTo>
                  <a:cubicBezTo>
                    <a:pt x="925" y="246"/>
                    <a:pt x="925" y="246"/>
                    <a:pt x="925" y="246"/>
                  </a:cubicBezTo>
                  <a:cubicBezTo>
                    <a:pt x="925" y="246"/>
                    <a:pt x="925" y="246"/>
                    <a:pt x="925" y="246"/>
                  </a:cubicBezTo>
                  <a:cubicBezTo>
                    <a:pt x="925" y="246"/>
                    <a:pt x="925" y="246"/>
                    <a:pt x="925" y="246"/>
                  </a:cubicBezTo>
                  <a:cubicBezTo>
                    <a:pt x="925" y="245"/>
                    <a:pt x="925" y="245"/>
                    <a:pt x="925" y="245"/>
                  </a:cubicBezTo>
                  <a:cubicBezTo>
                    <a:pt x="925" y="245"/>
                    <a:pt x="925" y="245"/>
                    <a:pt x="925" y="245"/>
                  </a:cubicBezTo>
                  <a:cubicBezTo>
                    <a:pt x="924" y="245"/>
                    <a:pt x="924" y="245"/>
                    <a:pt x="924" y="245"/>
                  </a:cubicBezTo>
                  <a:cubicBezTo>
                    <a:pt x="924" y="245"/>
                    <a:pt x="924" y="245"/>
                    <a:pt x="924" y="245"/>
                  </a:cubicBezTo>
                  <a:cubicBezTo>
                    <a:pt x="924" y="245"/>
                    <a:pt x="924" y="245"/>
                    <a:pt x="924" y="245"/>
                  </a:cubicBezTo>
                  <a:cubicBezTo>
                    <a:pt x="922" y="245"/>
                    <a:pt x="921" y="245"/>
                    <a:pt x="919" y="244"/>
                  </a:cubicBezTo>
                  <a:cubicBezTo>
                    <a:pt x="919" y="244"/>
                    <a:pt x="919" y="244"/>
                    <a:pt x="919" y="244"/>
                  </a:cubicBezTo>
                  <a:cubicBezTo>
                    <a:pt x="918" y="244"/>
                    <a:pt x="918" y="244"/>
                    <a:pt x="918" y="244"/>
                  </a:cubicBezTo>
                  <a:cubicBezTo>
                    <a:pt x="918" y="244"/>
                    <a:pt x="918" y="244"/>
                    <a:pt x="918" y="244"/>
                  </a:cubicBezTo>
                  <a:cubicBezTo>
                    <a:pt x="918" y="244"/>
                    <a:pt x="918" y="244"/>
                    <a:pt x="918" y="244"/>
                  </a:cubicBezTo>
                  <a:cubicBezTo>
                    <a:pt x="917" y="243"/>
                    <a:pt x="917" y="243"/>
                    <a:pt x="917" y="243"/>
                  </a:cubicBezTo>
                  <a:cubicBezTo>
                    <a:pt x="917" y="243"/>
                    <a:pt x="917" y="243"/>
                    <a:pt x="917" y="243"/>
                  </a:cubicBezTo>
                  <a:cubicBezTo>
                    <a:pt x="914" y="242"/>
                    <a:pt x="914" y="243"/>
                    <a:pt x="911" y="241"/>
                  </a:cubicBezTo>
                  <a:cubicBezTo>
                    <a:pt x="910" y="241"/>
                    <a:pt x="910" y="241"/>
                    <a:pt x="910" y="241"/>
                  </a:cubicBezTo>
                  <a:cubicBezTo>
                    <a:pt x="909" y="240"/>
                    <a:pt x="909" y="240"/>
                    <a:pt x="909" y="240"/>
                  </a:cubicBezTo>
                  <a:cubicBezTo>
                    <a:pt x="909" y="239"/>
                    <a:pt x="909" y="239"/>
                    <a:pt x="909" y="238"/>
                  </a:cubicBezTo>
                  <a:cubicBezTo>
                    <a:pt x="909" y="237"/>
                    <a:pt x="909" y="237"/>
                    <a:pt x="909" y="237"/>
                  </a:cubicBezTo>
                  <a:cubicBezTo>
                    <a:pt x="909" y="237"/>
                    <a:pt x="909" y="237"/>
                    <a:pt x="909" y="237"/>
                  </a:cubicBezTo>
                  <a:cubicBezTo>
                    <a:pt x="910" y="237"/>
                    <a:pt x="910" y="237"/>
                    <a:pt x="910" y="237"/>
                  </a:cubicBezTo>
                  <a:cubicBezTo>
                    <a:pt x="910" y="237"/>
                    <a:pt x="910" y="237"/>
                    <a:pt x="910" y="237"/>
                  </a:cubicBezTo>
                  <a:cubicBezTo>
                    <a:pt x="911" y="237"/>
                    <a:pt x="911" y="237"/>
                    <a:pt x="911" y="237"/>
                  </a:cubicBezTo>
                  <a:cubicBezTo>
                    <a:pt x="911" y="237"/>
                    <a:pt x="911" y="237"/>
                    <a:pt x="911" y="237"/>
                  </a:cubicBezTo>
                  <a:cubicBezTo>
                    <a:pt x="911" y="237"/>
                    <a:pt x="911" y="237"/>
                    <a:pt x="911" y="237"/>
                  </a:cubicBezTo>
                  <a:cubicBezTo>
                    <a:pt x="912" y="237"/>
                    <a:pt x="912" y="237"/>
                    <a:pt x="912" y="237"/>
                  </a:cubicBezTo>
                  <a:cubicBezTo>
                    <a:pt x="912" y="237"/>
                    <a:pt x="912" y="237"/>
                    <a:pt x="912" y="237"/>
                  </a:cubicBezTo>
                  <a:cubicBezTo>
                    <a:pt x="912" y="237"/>
                    <a:pt x="912" y="237"/>
                    <a:pt x="912" y="237"/>
                  </a:cubicBezTo>
                  <a:cubicBezTo>
                    <a:pt x="913" y="237"/>
                    <a:pt x="913" y="237"/>
                    <a:pt x="913" y="237"/>
                  </a:cubicBezTo>
                  <a:cubicBezTo>
                    <a:pt x="913" y="237"/>
                    <a:pt x="913" y="237"/>
                    <a:pt x="913" y="237"/>
                  </a:cubicBezTo>
                  <a:cubicBezTo>
                    <a:pt x="913" y="237"/>
                    <a:pt x="913" y="237"/>
                    <a:pt x="913" y="237"/>
                  </a:cubicBezTo>
                  <a:cubicBezTo>
                    <a:pt x="913" y="237"/>
                    <a:pt x="913" y="237"/>
                    <a:pt x="913" y="237"/>
                  </a:cubicBezTo>
                  <a:cubicBezTo>
                    <a:pt x="913" y="237"/>
                    <a:pt x="913" y="237"/>
                    <a:pt x="913" y="237"/>
                  </a:cubicBezTo>
                  <a:cubicBezTo>
                    <a:pt x="913" y="236"/>
                    <a:pt x="913" y="236"/>
                    <a:pt x="913" y="236"/>
                  </a:cubicBezTo>
                  <a:cubicBezTo>
                    <a:pt x="913" y="236"/>
                    <a:pt x="913" y="236"/>
                    <a:pt x="913" y="236"/>
                  </a:cubicBezTo>
                  <a:cubicBezTo>
                    <a:pt x="913" y="235"/>
                    <a:pt x="916" y="235"/>
                    <a:pt x="914" y="233"/>
                  </a:cubicBezTo>
                  <a:cubicBezTo>
                    <a:pt x="912" y="232"/>
                    <a:pt x="912" y="232"/>
                    <a:pt x="912" y="232"/>
                  </a:cubicBezTo>
                  <a:cubicBezTo>
                    <a:pt x="912" y="232"/>
                    <a:pt x="912" y="232"/>
                    <a:pt x="912" y="232"/>
                  </a:cubicBezTo>
                  <a:cubicBezTo>
                    <a:pt x="912" y="232"/>
                    <a:pt x="912" y="232"/>
                    <a:pt x="912" y="232"/>
                  </a:cubicBezTo>
                  <a:cubicBezTo>
                    <a:pt x="912" y="232"/>
                    <a:pt x="912" y="232"/>
                    <a:pt x="912" y="232"/>
                  </a:cubicBezTo>
                  <a:cubicBezTo>
                    <a:pt x="913" y="231"/>
                    <a:pt x="913" y="231"/>
                    <a:pt x="913" y="231"/>
                  </a:cubicBezTo>
                  <a:cubicBezTo>
                    <a:pt x="913" y="231"/>
                    <a:pt x="913" y="231"/>
                    <a:pt x="913" y="231"/>
                  </a:cubicBezTo>
                  <a:cubicBezTo>
                    <a:pt x="913" y="231"/>
                    <a:pt x="913" y="231"/>
                    <a:pt x="913" y="231"/>
                  </a:cubicBezTo>
                  <a:cubicBezTo>
                    <a:pt x="914" y="231"/>
                    <a:pt x="914" y="231"/>
                    <a:pt x="914" y="231"/>
                  </a:cubicBezTo>
                  <a:cubicBezTo>
                    <a:pt x="914" y="231"/>
                    <a:pt x="914" y="231"/>
                    <a:pt x="914" y="231"/>
                  </a:cubicBezTo>
                  <a:cubicBezTo>
                    <a:pt x="914" y="231"/>
                    <a:pt x="914" y="231"/>
                    <a:pt x="914" y="231"/>
                  </a:cubicBezTo>
                  <a:cubicBezTo>
                    <a:pt x="914" y="230"/>
                    <a:pt x="914" y="230"/>
                    <a:pt x="914" y="230"/>
                  </a:cubicBezTo>
                  <a:cubicBezTo>
                    <a:pt x="913" y="230"/>
                    <a:pt x="913" y="230"/>
                    <a:pt x="913" y="230"/>
                  </a:cubicBezTo>
                  <a:cubicBezTo>
                    <a:pt x="911" y="228"/>
                    <a:pt x="911" y="228"/>
                    <a:pt x="911" y="228"/>
                  </a:cubicBezTo>
                  <a:cubicBezTo>
                    <a:pt x="910" y="228"/>
                    <a:pt x="910" y="228"/>
                    <a:pt x="910" y="228"/>
                  </a:cubicBezTo>
                  <a:cubicBezTo>
                    <a:pt x="910" y="227"/>
                    <a:pt x="910" y="227"/>
                    <a:pt x="910" y="227"/>
                  </a:cubicBezTo>
                  <a:cubicBezTo>
                    <a:pt x="910" y="227"/>
                    <a:pt x="910" y="227"/>
                    <a:pt x="910" y="227"/>
                  </a:cubicBezTo>
                  <a:cubicBezTo>
                    <a:pt x="909" y="227"/>
                    <a:pt x="909" y="227"/>
                    <a:pt x="909" y="227"/>
                  </a:cubicBezTo>
                  <a:cubicBezTo>
                    <a:pt x="909" y="227"/>
                    <a:pt x="909" y="227"/>
                    <a:pt x="909" y="227"/>
                  </a:cubicBezTo>
                  <a:cubicBezTo>
                    <a:pt x="909" y="226"/>
                    <a:pt x="909" y="226"/>
                    <a:pt x="909" y="226"/>
                  </a:cubicBezTo>
                  <a:cubicBezTo>
                    <a:pt x="909" y="226"/>
                    <a:pt x="909" y="226"/>
                    <a:pt x="909" y="226"/>
                  </a:cubicBezTo>
                  <a:cubicBezTo>
                    <a:pt x="909" y="226"/>
                    <a:pt x="909" y="226"/>
                    <a:pt x="909" y="226"/>
                  </a:cubicBezTo>
                  <a:cubicBezTo>
                    <a:pt x="909" y="226"/>
                    <a:pt x="909" y="226"/>
                    <a:pt x="909" y="226"/>
                  </a:cubicBezTo>
                  <a:cubicBezTo>
                    <a:pt x="909" y="226"/>
                    <a:pt x="909" y="226"/>
                    <a:pt x="909" y="226"/>
                  </a:cubicBezTo>
                  <a:cubicBezTo>
                    <a:pt x="909" y="225"/>
                    <a:pt x="909" y="225"/>
                    <a:pt x="909" y="225"/>
                  </a:cubicBezTo>
                  <a:cubicBezTo>
                    <a:pt x="909" y="225"/>
                    <a:pt x="909" y="225"/>
                    <a:pt x="909" y="225"/>
                  </a:cubicBezTo>
                  <a:cubicBezTo>
                    <a:pt x="909" y="225"/>
                    <a:pt x="909" y="225"/>
                    <a:pt x="909" y="225"/>
                  </a:cubicBezTo>
                  <a:cubicBezTo>
                    <a:pt x="909" y="225"/>
                    <a:pt x="909" y="225"/>
                    <a:pt x="909" y="225"/>
                  </a:cubicBezTo>
                  <a:cubicBezTo>
                    <a:pt x="909" y="224"/>
                    <a:pt x="909" y="224"/>
                    <a:pt x="909" y="224"/>
                  </a:cubicBezTo>
                  <a:cubicBezTo>
                    <a:pt x="909" y="224"/>
                    <a:pt x="909" y="224"/>
                    <a:pt x="909" y="224"/>
                  </a:cubicBezTo>
                  <a:cubicBezTo>
                    <a:pt x="908" y="223"/>
                    <a:pt x="910" y="222"/>
                    <a:pt x="910" y="221"/>
                  </a:cubicBezTo>
                  <a:cubicBezTo>
                    <a:pt x="910" y="221"/>
                    <a:pt x="910" y="221"/>
                    <a:pt x="910" y="221"/>
                  </a:cubicBezTo>
                  <a:cubicBezTo>
                    <a:pt x="909" y="221"/>
                    <a:pt x="909" y="221"/>
                    <a:pt x="909" y="221"/>
                  </a:cubicBezTo>
                  <a:cubicBezTo>
                    <a:pt x="909" y="221"/>
                    <a:pt x="909" y="221"/>
                    <a:pt x="909" y="221"/>
                  </a:cubicBezTo>
                  <a:cubicBezTo>
                    <a:pt x="909" y="220"/>
                    <a:pt x="909" y="220"/>
                    <a:pt x="909" y="220"/>
                  </a:cubicBezTo>
                  <a:cubicBezTo>
                    <a:pt x="910" y="220"/>
                    <a:pt x="910" y="220"/>
                    <a:pt x="910" y="220"/>
                  </a:cubicBezTo>
                  <a:cubicBezTo>
                    <a:pt x="910" y="220"/>
                    <a:pt x="910" y="220"/>
                    <a:pt x="910" y="220"/>
                  </a:cubicBezTo>
                  <a:cubicBezTo>
                    <a:pt x="910" y="220"/>
                    <a:pt x="910" y="220"/>
                    <a:pt x="910" y="220"/>
                  </a:cubicBezTo>
                  <a:cubicBezTo>
                    <a:pt x="910" y="220"/>
                    <a:pt x="910" y="220"/>
                    <a:pt x="910" y="220"/>
                  </a:cubicBezTo>
                  <a:cubicBezTo>
                    <a:pt x="911" y="220"/>
                    <a:pt x="911" y="220"/>
                    <a:pt x="911" y="220"/>
                  </a:cubicBezTo>
                  <a:cubicBezTo>
                    <a:pt x="911" y="220"/>
                    <a:pt x="911" y="220"/>
                    <a:pt x="911" y="220"/>
                  </a:cubicBezTo>
                  <a:cubicBezTo>
                    <a:pt x="911" y="219"/>
                    <a:pt x="911" y="219"/>
                    <a:pt x="911" y="219"/>
                  </a:cubicBezTo>
                  <a:cubicBezTo>
                    <a:pt x="912" y="219"/>
                    <a:pt x="912" y="219"/>
                    <a:pt x="912" y="219"/>
                  </a:cubicBezTo>
                  <a:cubicBezTo>
                    <a:pt x="912" y="219"/>
                    <a:pt x="912" y="219"/>
                    <a:pt x="912" y="219"/>
                  </a:cubicBezTo>
                  <a:cubicBezTo>
                    <a:pt x="913" y="219"/>
                    <a:pt x="913" y="219"/>
                    <a:pt x="913" y="219"/>
                  </a:cubicBezTo>
                  <a:cubicBezTo>
                    <a:pt x="913" y="219"/>
                    <a:pt x="913" y="219"/>
                    <a:pt x="913" y="219"/>
                  </a:cubicBezTo>
                  <a:cubicBezTo>
                    <a:pt x="913" y="219"/>
                    <a:pt x="913" y="219"/>
                    <a:pt x="913" y="219"/>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7"/>
                    <a:pt x="913" y="217"/>
                    <a:pt x="913" y="217"/>
                  </a:cubicBezTo>
                  <a:cubicBezTo>
                    <a:pt x="913" y="217"/>
                    <a:pt x="913" y="217"/>
                    <a:pt x="913" y="217"/>
                  </a:cubicBezTo>
                  <a:cubicBezTo>
                    <a:pt x="913" y="217"/>
                    <a:pt x="913" y="217"/>
                    <a:pt x="913" y="217"/>
                  </a:cubicBezTo>
                  <a:cubicBezTo>
                    <a:pt x="913" y="216"/>
                    <a:pt x="914" y="216"/>
                    <a:pt x="914" y="216"/>
                  </a:cubicBezTo>
                  <a:cubicBezTo>
                    <a:pt x="914" y="216"/>
                    <a:pt x="914" y="216"/>
                    <a:pt x="914" y="216"/>
                  </a:cubicBezTo>
                  <a:cubicBezTo>
                    <a:pt x="914" y="215"/>
                    <a:pt x="914" y="215"/>
                    <a:pt x="914" y="215"/>
                  </a:cubicBezTo>
                  <a:cubicBezTo>
                    <a:pt x="915" y="215"/>
                    <a:pt x="915" y="215"/>
                    <a:pt x="915" y="215"/>
                  </a:cubicBezTo>
                  <a:cubicBezTo>
                    <a:pt x="915" y="215"/>
                    <a:pt x="915" y="215"/>
                    <a:pt x="915" y="215"/>
                  </a:cubicBezTo>
                  <a:cubicBezTo>
                    <a:pt x="914" y="214"/>
                    <a:pt x="914" y="214"/>
                    <a:pt x="914" y="214"/>
                  </a:cubicBezTo>
                  <a:cubicBezTo>
                    <a:pt x="914" y="214"/>
                    <a:pt x="914" y="214"/>
                    <a:pt x="914" y="214"/>
                  </a:cubicBezTo>
                  <a:cubicBezTo>
                    <a:pt x="914" y="214"/>
                    <a:pt x="914" y="214"/>
                    <a:pt x="914" y="214"/>
                  </a:cubicBezTo>
                  <a:cubicBezTo>
                    <a:pt x="914" y="214"/>
                    <a:pt x="914" y="214"/>
                    <a:pt x="914" y="214"/>
                  </a:cubicBezTo>
                  <a:cubicBezTo>
                    <a:pt x="914" y="214"/>
                    <a:pt x="914" y="214"/>
                    <a:pt x="914" y="214"/>
                  </a:cubicBezTo>
                  <a:cubicBezTo>
                    <a:pt x="914" y="213"/>
                    <a:pt x="914" y="213"/>
                    <a:pt x="914" y="213"/>
                  </a:cubicBezTo>
                  <a:cubicBezTo>
                    <a:pt x="914" y="213"/>
                    <a:pt x="914" y="213"/>
                    <a:pt x="914" y="213"/>
                  </a:cubicBezTo>
                  <a:cubicBezTo>
                    <a:pt x="914" y="213"/>
                    <a:pt x="914" y="213"/>
                    <a:pt x="914" y="213"/>
                  </a:cubicBezTo>
                  <a:cubicBezTo>
                    <a:pt x="915" y="212"/>
                    <a:pt x="915" y="212"/>
                    <a:pt x="915" y="211"/>
                  </a:cubicBezTo>
                  <a:cubicBezTo>
                    <a:pt x="916" y="211"/>
                    <a:pt x="916" y="211"/>
                    <a:pt x="916" y="211"/>
                  </a:cubicBezTo>
                  <a:cubicBezTo>
                    <a:pt x="916" y="211"/>
                    <a:pt x="916" y="211"/>
                    <a:pt x="916" y="211"/>
                  </a:cubicBezTo>
                  <a:cubicBezTo>
                    <a:pt x="916" y="211"/>
                    <a:pt x="916" y="211"/>
                    <a:pt x="916" y="211"/>
                  </a:cubicBezTo>
                  <a:cubicBezTo>
                    <a:pt x="916" y="210"/>
                    <a:pt x="917" y="210"/>
                    <a:pt x="917" y="210"/>
                  </a:cubicBezTo>
                  <a:cubicBezTo>
                    <a:pt x="918" y="210"/>
                    <a:pt x="918" y="210"/>
                    <a:pt x="918" y="210"/>
                  </a:cubicBezTo>
                  <a:cubicBezTo>
                    <a:pt x="918" y="209"/>
                    <a:pt x="918" y="209"/>
                    <a:pt x="918" y="209"/>
                  </a:cubicBezTo>
                  <a:cubicBezTo>
                    <a:pt x="918" y="209"/>
                    <a:pt x="918" y="209"/>
                    <a:pt x="918" y="209"/>
                  </a:cubicBezTo>
                  <a:cubicBezTo>
                    <a:pt x="918" y="209"/>
                    <a:pt x="918" y="209"/>
                    <a:pt x="918" y="209"/>
                  </a:cubicBezTo>
                  <a:cubicBezTo>
                    <a:pt x="919" y="209"/>
                    <a:pt x="919" y="209"/>
                    <a:pt x="919" y="209"/>
                  </a:cubicBezTo>
                  <a:cubicBezTo>
                    <a:pt x="919" y="208"/>
                    <a:pt x="919" y="208"/>
                    <a:pt x="919" y="208"/>
                  </a:cubicBezTo>
                  <a:cubicBezTo>
                    <a:pt x="919" y="208"/>
                    <a:pt x="919" y="208"/>
                    <a:pt x="919" y="208"/>
                  </a:cubicBezTo>
                  <a:cubicBezTo>
                    <a:pt x="918" y="208"/>
                    <a:pt x="918" y="208"/>
                    <a:pt x="918" y="208"/>
                  </a:cubicBezTo>
                  <a:cubicBezTo>
                    <a:pt x="918" y="207"/>
                    <a:pt x="918" y="207"/>
                    <a:pt x="918" y="207"/>
                  </a:cubicBezTo>
                  <a:cubicBezTo>
                    <a:pt x="917" y="207"/>
                    <a:pt x="917" y="207"/>
                    <a:pt x="917" y="207"/>
                  </a:cubicBezTo>
                  <a:cubicBezTo>
                    <a:pt x="917" y="206"/>
                    <a:pt x="917" y="206"/>
                    <a:pt x="917" y="206"/>
                  </a:cubicBezTo>
                  <a:cubicBezTo>
                    <a:pt x="917" y="206"/>
                    <a:pt x="917" y="206"/>
                    <a:pt x="917" y="206"/>
                  </a:cubicBezTo>
                  <a:cubicBezTo>
                    <a:pt x="917" y="206"/>
                    <a:pt x="917" y="206"/>
                    <a:pt x="917" y="206"/>
                  </a:cubicBezTo>
                  <a:cubicBezTo>
                    <a:pt x="917" y="206"/>
                    <a:pt x="917" y="206"/>
                    <a:pt x="917" y="206"/>
                  </a:cubicBezTo>
                  <a:cubicBezTo>
                    <a:pt x="917" y="205"/>
                    <a:pt x="917" y="205"/>
                    <a:pt x="917" y="205"/>
                  </a:cubicBezTo>
                  <a:cubicBezTo>
                    <a:pt x="917" y="205"/>
                    <a:pt x="917" y="205"/>
                    <a:pt x="917" y="205"/>
                  </a:cubicBezTo>
                  <a:cubicBezTo>
                    <a:pt x="917" y="205"/>
                    <a:pt x="917" y="205"/>
                    <a:pt x="917" y="205"/>
                  </a:cubicBezTo>
                  <a:cubicBezTo>
                    <a:pt x="917" y="205"/>
                    <a:pt x="917" y="205"/>
                    <a:pt x="917" y="205"/>
                  </a:cubicBezTo>
                  <a:cubicBezTo>
                    <a:pt x="917" y="204"/>
                    <a:pt x="917" y="204"/>
                    <a:pt x="917" y="204"/>
                  </a:cubicBezTo>
                  <a:cubicBezTo>
                    <a:pt x="917" y="204"/>
                    <a:pt x="917" y="204"/>
                    <a:pt x="917" y="204"/>
                  </a:cubicBezTo>
                  <a:cubicBezTo>
                    <a:pt x="916" y="204"/>
                    <a:pt x="916" y="204"/>
                    <a:pt x="916" y="204"/>
                  </a:cubicBezTo>
                  <a:cubicBezTo>
                    <a:pt x="916" y="204"/>
                    <a:pt x="916" y="204"/>
                    <a:pt x="916" y="204"/>
                  </a:cubicBezTo>
                  <a:cubicBezTo>
                    <a:pt x="916" y="203"/>
                    <a:pt x="916" y="203"/>
                    <a:pt x="916" y="203"/>
                  </a:cubicBezTo>
                  <a:cubicBezTo>
                    <a:pt x="916" y="203"/>
                    <a:pt x="916" y="203"/>
                    <a:pt x="916" y="203"/>
                  </a:cubicBezTo>
                  <a:cubicBezTo>
                    <a:pt x="916" y="203"/>
                    <a:pt x="916" y="203"/>
                    <a:pt x="916" y="203"/>
                  </a:cubicBezTo>
                  <a:cubicBezTo>
                    <a:pt x="916" y="203"/>
                    <a:pt x="916" y="203"/>
                    <a:pt x="916" y="203"/>
                  </a:cubicBezTo>
                  <a:cubicBezTo>
                    <a:pt x="916" y="202"/>
                    <a:pt x="916" y="202"/>
                    <a:pt x="916" y="202"/>
                  </a:cubicBezTo>
                  <a:cubicBezTo>
                    <a:pt x="916" y="202"/>
                    <a:pt x="916" y="202"/>
                    <a:pt x="916" y="202"/>
                  </a:cubicBezTo>
                  <a:cubicBezTo>
                    <a:pt x="916" y="202"/>
                    <a:pt x="916" y="202"/>
                    <a:pt x="916" y="202"/>
                  </a:cubicBezTo>
                  <a:cubicBezTo>
                    <a:pt x="916" y="202"/>
                    <a:pt x="916" y="202"/>
                    <a:pt x="916" y="202"/>
                  </a:cubicBezTo>
                  <a:cubicBezTo>
                    <a:pt x="915" y="202"/>
                    <a:pt x="915" y="202"/>
                    <a:pt x="915" y="202"/>
                  </a:cubicBezTo>
                  <a:cubicBezTo>
                    <a:pt x="915" y="201"/>
                    <a:pt x="915" y="201"/>
                    <a:pt x="915" y="201"/>
                  </a:cubicBezTo>
                  <a:cubicBezTo>
                    <a:pt x="915" y="201"/>
                    <a:pt x="915" y="201"/>
                    <a:pt x="915" y="201"/>
                  </a:cubicBezTo>
                  <a:cubicBezTo>
                    <a:pt x="915" y="201"/>
                    <a:pt x="915" y="201"/>
                    <a:pt x="915" y="201"/>
                  </a:cubicBezTo>
                  <a:cubicBezTo>
                    <a:pt x="915" y="201"/>
                    <a:pt x="915" y="201"/>
                    <a:pt x="915" y="201"/>
                  </a:cubicBezTo>
                  <a:cubicBezTo>
                    <a:pt x="915" y="201"/>
                    <a:pt x="915" y="201"/>
                    <a:pt x="915" y="201"/>
                  </a:cubicBezTo>
                  <a:cubicBezTo>
                    <a:pt x="915" y="200"/>
                    <a:pt x="915" y="200"/>
                    <a:pt x="915" y="200"/>
                  </a:cubicBezTo>
                  <a:cubicBezTo>
                    <a:pt x="915" y="200"/>
                    <a:pt x="915" y="200"/>
                    <a:pt x="915" y="200"/>
                  </a:cubicBezTo>
                  <a:cubicBezTo>
                    <a:pt x="915" y="200"/>
                    <a:pt x="915" y="200"/>
                    <a:pt x="915" y="200"/>
                  </a:cubicBezTo>
                  <a:cubicBezTo>
                    <a:pt x="914" y="198"/>
                    <a:pt x="914" y="198"/>
                    <a:pt x="914" y="198"/>
                  </a:cubicBezTo>
                  <a:cubicBezTo>
                    <a:pt x="912" y="196"/>
                    <a:pt x="912" y="196"/>
                    <a:pt x="912" y="196"/>
                  </a:cubicBezTo>
                  <a:cubicBezTo>
                    <a:pt x="907" y="190"/>
                    <a:pt x="907" y="190"/>
                    <a:pt x="907" y="190"/>
                  </a:cubicBezTo>
                  <a:cubicBezTo>
                    <a:pt x="905" y="188"/>
                    <a:pt x="905" y="188"/>
                    <a:pt x="905" y="188"/>
                  </a:cubicBezTo>
                  <a:cubicBezTo>
                    <a:pt x="904" y="187"/>
                    <a:pt x="904" y="187"/>
                    <a:pt x="904" y="187"/>
                  </a:cubicBezTo>
                  <a:cubicBezTo>
                    <a:pt x="903" y="187"/>
                    <a:pt x="903" y="187"/>
                    <a:pt x="903" y="187"/>
                  </a:cubicBezTo>
                  <a:cubicBezTo>
                    <a:pt x="903" y="187"/>
                    <a:pt x="903" y="187"/>
                    <a:pt x="903" y="187"/>
                  </a:cubicBezTo>
                  <a:cubicBezTo>
                    <a:pt x="902" y="188"/>
                    <a:pt x="902" y="188"/>
                    <a:pt x="902" y="188"/>
                  </a:cubicBezTo>
                  <a:cubicBezTo>
                    <a:pt x="902" y="188"/>
                    <a:pt x="902" y="188"/>
                    <a:pt x="902" y="188"/>
                  </a:cubicBezTo>
                  <a:cubicBezTo>
                    <a:pt x="902" y="188"/>
                    <a:pt x="902" y="188"/>
                    <a:pt x="902" y="188"/>
                  </a:cubicBezTo>
                  <a:cubicBezTo>
                    <a:pt x="901" y="188"/>
                    <a:pt x="898" y="189"/>
                    <a:pt x="900" y="190"/>
                  </a:cubicBezTo>
                  <a:cubicBezTo>
                    <a:pt x="901" y="190"/>
                    <a:pt x="901" y="190"/>
                    <a:pt x="901" y="190"/>
                  </a:cubicBezTo>
                  <a:cubicBezTo>
                    <a:pt x="901" y="190"/>
                    <a:pt x="901" y="190"/>
                    <a:pt x="901" y="190"/>
                  </a:cubicBezTo>
                  <a:cubicBezTo>
                    <a:pt x="902" y="191"/>
                    <a:pt x="902" y="192"/>
                    <a:pt x="903" y="192"/>
                  </a:cubicBezTo>
                  <a:cubicBezTo>
                    <a:pt x="903" y="193"/>
                    <a:pt x="903" y="193"/>
                    <a:pt x="903" y="193"/>
                  </a:cubicBezTo>
                  <a:cubicBezTo>
                    <a:pt x="903" y="193"/>
                    <a:pt x="903" y="193"/>
                    <a:pt x="903" y="193"/>
                  </a:cubicBezTo>
                  <a:cubicBezTo>
                    <a:pt x="904" y="193"/>
                    <a:pt x="904" y="193"/>
                    <a:pt x="904" y="193"/>
                  </a:cubicBezTo>
                  <a:cubicBezTo>
                    <a:pt x="904" y="193"/>
                    <a:pt x="904" y="193"/>
                    <a:pt x="904" y="193"/>
                  </a:cubicBezTo>
                  <a:cubicBezTo>
                    <a:pt x="904" y="194"/>
                    <a:pt x="905" y="194"/>
                    <a:pt x="905" y="195"/>
                  </a:cubicBezTo>
                  <a:cubicBezTo>
                    <a:pt x="905" y="195"/>
                    <a:pt x="905" y="195"/>
                    <a:pt x="905" y="195"/>
                  </a:cubicBezTo>
                  <a:cubicBezTo>
                    <a:pt x="905" y="196"/>
                    <a:pt x="905" y="196"/>
                    <a:pt x="905" y="196"/>
                  </a:cubicBezTo>
                  <a:cubicBezTo>
                    <a:pt x="906" y="197"/>
                    <a:pt x="906" y="197"/>
                    <a:pt x="906" y="198"/>
                  </a:cubicBezTo>
                  <a:cubicBezTo>
                    <a:pt x="906" y="199"/>
                    <a:pt x="906" y="199"/>
                    <a:pt x="906" y="199"/>
                  </a:cubicBezTo>
                  <a:cubicBezTo>
                    <a:pt x="906" y="199"/>
                    <a:pt x="906" y="199"/>
                    <a:pt x="906" y="199"/>
                  </a:cubicBezTo>
                  <a:cubicBezTo>
                    <a:pt x="906" y="201"/>
                    <a:pt x="906" y="202"/>
                    <a:pt x="907" y="204"/>
                  </a:cubicBezTo>
                  <a:cubicBezTo>
                    <a:pt x="907" y="205"/>
                    <a:pt x="907" y="205"/>
                    <a:pt x="907" y="205"/>
                  </a:cubicBezTo>
                  <a:cubicBezTo>
                    <a:pt x="907" y="205"/>
                    <a:pt x="907" y="205"/>
                    <a:pt x="907" y="205"/>
                  </a:cubicBezTo>
                  <a:cubicBezTo>
                    <a:pt x="907" y="206"/>
                    <a:pt x="906" y="206"/>
                    <a:pt x="907" y="207"/>
                  </a:cubicBezTo>
                  <a:cubicBezTo>
                    <a:pt x="907" y="207"/>
                    <a:pt x="907" y="207"/>
                    <a:pt x="907" y="207"/>
                  </a:cubicBezTo>
                  <a:cubicBezTo>
                    <a:pt x="906" y="208"/>
                    <a:pt x="906" y="208"/>
                    <a:pt x="906" y="208"/>
                  </a:cubicBezTo>
                  <a:cubicBezTo>
                    <a:pt x="906" y="208"/>
                    <a:pt x="906" y="209"/>
                    <a:pt x="906" y="210"/>
                  </a:cubicBezTo>
                  <a:cubicBezTo>
                    <a:pt x="906" y="210"/>
                    <a:pt x="906" y="210"/>
                    <a:pt x="906" y="210"/>
                  </a:cubicBezTo>
                  <a:cubicBezTo>
                    <a:pt x="906" y="211"/>
                    <a:pt x="906" y="211"/>
                    <a:pt x="906" y="211"/>
                  </a:cubicBezTo>
                  <a:cubicBezTo>
                    <a:pt x="906" y="211"/>
                    <a:pt x="906" y="211"/>
                    <a:pt x="906" y="211"/>
                  </a:cubicBezTo>
                  <a:cubicBezTo>
                    <a:pt x="906" y="211"/>
                    <a:pt x="906" y="211"/>
                    <a:pt x="906" y="211"/>
                  </a:cubicBezTo>
                  <a:cubicBezTo>
                    <a:pt x="905" y="211"/>
                    <a:pt x="905" y="211"/>
                    <a:pt x="905" y="211"/>
                  </a:cubicBezTo>
                  <a:cubicBezTo>
                    <a:pt x="903" y="215"/>
                    <a:pt x="904" y="215"/>
                    <a:pt x="900" y="216"/>
                  </a:cubicBezTo>
                  <a:cubicBezTo>
                    <a:pt x="900" y="216"/>
                    <a:pt x="900" y="216"/>
                    <a:pt x="900" y="216"/>
                  </a:cubicBezTo>
                  <a:cubicBezTo>
                    <a:pt x="899" y="216"/>
                    <a:pt x="899" y="216"/>
                    <a:pt x="899" y="216"/>
                  </a:cubicBezTo>
                  <a:cubicBezTo>
                    <a:pt x="899" y="216"/>
                    <a:pt x="899" y="216"/>
                    <a:pt x="899" y="216"/>
                  </a:cubicBezTo>
                  <a:cubicBezTo>
                    <a:pt x="897" y="217"/>
                    <a:pt x="897" y="217"/>
                    <a:pt x="895" y="218"/>
                  </a:cubicBezTo>
                  <a:cubicBezTo>
                    <a:pt x="895" y="218"/>
                    <a:pt x="895" y="218"/>
                    <a:pt x="895" y="218"/>
                  </a:cubicBezTo>
                  <a:cubicBezTo>
                    <a:pt x="894" y="218"/>
                    <a:pt x="894" y="218"/>
                    <a:pt x="894" y="218"/>
                  </a:cubicBezTo>
                  <a:cubicBezTo>
                    <a:pt x="890" y="220"/>
                    <a:pt x="886" y="221"/>
                    <a:pt x="882" y="222"/>
                  </a:cubicBezTo>
                  <a:cubicBezTo>
                    <a:pt x="882" y="222"/>
                    <a:pt x="882" y="222"/>
                    <a:pt x="882" y="222"/>
                  </a:cubicBezTo>
                  <a:cubicBezTo>
                    <a:pt x="882" y="222"/>
                    <a:pt x="882" y="222"/>
                    <a:pt x="882" y="222"/>
                  </a:cubicBezTo>
                  <a:cubicBezTo>
                    <a:pt x="881" y="222"/>
                    <a:pt x="881" y="222"/>
                    <a:pt x="881" y="222"/>
                  </a:cubicBezTo>
                  <a:cubicBezTo>
                    <a:pt x="881" y="223"/>
                    <a:pt x="881" y="223"/>
                    <a:pt x="881" y="223"/>
                  </a:cubicBezTo>
                  <a:cubicBezTo>
                    <a:pt x="880" y="223"/>
                    <a:pt x="880" y="223"/>
                    <a:pt x="880" y="223"/>
                  </a:cubicBezTo>
                  <a:cubicBezTo>
                    <a:pt x="880" y="223"/>
                    <a:pt x="880" y="223"/>
                    <a:pt x="880" y="223"/>
                  </a:cubicBezTo>
                  <a:cubicBezTo>
                    <a:pt x="879" y="223"/>
                    <a:pt x="878" y="224"/>
                    <a:pt x="877" y="224"/>
                  </a:cubicBezTo>
                  <a:cubicBezTo>
                    <a:pt x="876" y="225"/>
                    <a:pt x="876" y="225"/>
                    <a:pt x="876" y="225"/>
                  </a:cubicBezTo>
                  <a:cubicBezTo>
                    <a:pt x="876" y="225"/>
                    <a:pt x="876" y="225"/>
                    <a:pt x="876" y="225"/>
                  </a:cubicBezTo>
                  <a:cubicBezTo>
                    <a:pt x="875" y="226"/>
                    <a:pt x="875" y="226"/>
                    <a:pt x="876" y="227"/>
                  </a:cubicBezTo>
                  <a:cubicBezTo>
                    <a:pt x="876" y="227"/>
                    <a:pt x="876" y="227"/>
                    <a:pt x="876" y="227"/>
                  </a:cubicBezTo>
                  <a:cubicBezTo>
                    <a:pt x="876" y="228"/>
                    <a:pt x="876" y="228"/>
                    <a:pt x="876" y="228"/>
                  </a:cubicBezTo>
                  <a:cubicBezTo>
                    <a:pt x="876" y="228"/>
                    <a:pt x="876" y="228"/>
                    <a:pt x="876" y="228"/>
                  </a:cubicBezTo>
                  <a:cubicBezTo>
                    <a:pt x="877" y="229"/>
                    <a:pt x="876" y="230"/>
                    <a:pt x="876" y="230"/>
                  </a:cubicBezTo>
                  <a:cubicBezTo>
                    <a:pt x="876" y="230"/>
                    <a:pt x="876" y="230"/>
                    <a:pt x="876" y="230"/>
                  </a:cubicBezTo>
                  <a:cubicBezTo>
                    <a:pt x="875" y="231"/>
                    <a:pt x="875" y="231"/>
                    <a:pt x="875" y="231"/>
                  </a:cubicBezTo>
                  <a:cubicBezTo>
                    <a:pt x="874" y="232"/>
                    <a:pt x="874" y="232"/>
                    <a:pt x="873" y="233"/>
                  </a:cubicBezTo>
                  <a:cubicBezTo>
                    <a:pt x="872" y="234"/>
                    <a:pt x="872" y="234"/>
                    <a:pt x="872" y="234"/>
                  </a:cubicBezTo>
                  <a:cubicBezTo>
                    <a:pt x="871" y="235"/>
                    <a:pt x="871" y="235"/>
                    <a:pt x="871" y="235"/>
                  </a:cubicBezTo>
                  <a:cubicBezTo>
                    <a:pt x="868" y="237"/>
                    <a:pt x="868" y="237"/>
                    <a:pt x="868" y="237"/>
                  </a:cubicBezTo>
                  <a:cubicBezTo>
                    <a:pt x="867" y="238"/>
                    <a:pt x="867" y="238"/>
                    <a:pt x="867" y="238"/>
                  </a:cubicBezTo>
                  <a:cubicBezTo>
                    <a:pt x="867" y="239"/>
                    <a:pt x="867" y="239"/>
                    <a:pt x="867" y="239"/>
                  </a:cubicBezTo>
                  <a:cubicBezTo>
                    <a:pt x="867" y="239"/>
                    <a:pt x="867" y="239"/>
                    <a:pt x="867" y="239"/>
                  </a:cubicBezTo>
                  <a:cubicBezTo>
                    <a:pt x="868" y="239"/>
                    <a:pt x="868" y="239"/>
                    <a:pt x="868" y="239"/>
                  </a:cubicBezTo>
                  <a:cubicBezTo>
                    <a:pt x="868" y="240"/>
                    <a:pt x="868" y="240"/>
                    <a:pt x="868" y="240"/>
                  </a:cubicBezTo>
                  <a:cubicBezTo>
                    <a:pt x="868" y="240"/>
                    <a:pt x="868" y="240"/>
                    <a:pt x="868" y="240"/>
                  </a:cubicBezTo>
                  <a:cubicBezTo>
                    <a:pt x="876" y="243"/>
                    <a:pt x="877" y="243"/>
                    <a:pt x="880" y="251"/>
                  </a:cubicBezTo>
                  <a:cubicBezTo>
                    <a:pt x="880" y="251"/>
                    <a:pt x="880" y="251"/>
                    <a:pt x="880" y="251"/>
                  </a:cubicBezTo>
                  <a:cubicBezTo>
                    <a:pt x="880" y="251"/>
                    <a:pt x="880" y="251"/>
                    <a:pt x="880" y="251"/>
                  </a:cubicBezTo>
                  <a:cubicBezTo>
                    <a:pt x="880" y="251"/>
                    <a:pt x="880" y="251"/>
                    <a:pt x="880" y="251"/>
                  </a:cubicBezTo>
                  <a:cubicBezTo>
                    <a:pt x="882" y="254"/>
                    <a:pt x="884" y="253"/>
                    <a:pt x="884" y="256"/>
                  </a:cubicBezTo>
                  <a:cubicBezTo>
                    <a:pt x="884" y="257"/>
                    <a:pt x="884" y="257"/>
                    <a:pt x="884" y="257"/>
                  </a:cubicBezTo>
                  <a:cubicBezTo>
                    <a:pt x="884" y="258"/>
                    <a:pt x="884" y="259"/>
                    <a:pt x="885" y="259"/>
                  </a:cubicBezTo>
                  <a:cubicBezTo>
                    <a:pt x="885" y="259"/>
                    <a:pt x="885" y="259"/>
                    <a:pt x="885" y="259"/>
                  </a:cubicBezTo>
                  <a:cubicBezTo>
                    <a:pt x="885" y="260"/>
                    <a:pt x="885" y="260"/>
                    <a:pt x="885" y="260"/>
                  </a:cubicBezTo>
                  <a:cubicBezTo>
                    <a:pt x="886" y="260"/>
                    <a:pt x="887" y="261"/>
                    <a:pt x="888" y="262"/>
                  </a:cubicBezTo>
                  <a:cubicBezTo>
                    <a:pt x="889" y="262"/>
                    <a:pt x="889" y="262"/>
                    <a:pt x="889" y="262"/>
                  </a:cubicBezTo>
                  <a:cubicBezTo>
                    <a:pt x="889" y="262"/>
                    <a:pt x="889" y="262"/>
                    <a:pt x="889" y="262"/>
                  </a:cubicBezTo>
                  <a:cubicBezTo>
                    <a:pt x="889" y="262"/>
                    <a:pt x="889" y="262"/>
                    <a:pt x="889" y="262"/>
                  </a:cubicBezTo>
                  <a:cubicBezTo>
                    <a:pt x="889" y="262"/>
                    <a:pt x="889" y="262"/>
                    <a:pt x="889" y="262"/>
                  </a:cubicBezTo>
                  <a:cubicBezTo>
                    <a:pt x="890" y="263"/>
                    <a:pt x="890" y="263"/>
                    <a:pt x="890" y="263"/>
                  </a:cubicBezTo>
                  <a:cubicBezTo>
                    <a:pt x="890" y="263"/>
                    <a:pt x="890" y="263"/>
                    <a:pt x="890" y="263"/>
                  </a:cubicBezTo>
                  <a:cubicBezTo>
                    <a:pt x="890" y="263"/>
                    <a:pt x="890" y="263"/>
                    <a:pt x="890" y="263"/>
                  </a:cubicBezTo>
                  <a:cubicBezTo>
                    <a:pt x="890" y="263"/>
                    <a:pt x="890" y="263"/>
                    <a:pt x="890" y="263"/>
                  </a:cubicBezTo>
                  <a:cubicBezTo>
                    <a:pt x="891" y="264"/>
                    <a:pt x="891" y="264"/>
                    <a:pt x="892" y="266"/>
                  </a:cubicBezTo>
                  <a:cubicBezTo>
                    <a:pt x="892" y="266"/>
                    <a:pt x="892" y="266"/>
                    <a:pt x="892" y="266"/>
                  </a:cubicBezTo>
                  <a:cubicBezTo>
                    <a:pt x="892" y="266"/>
                    <a:pt x="892" y="266"/>
                    <a:pt x="892" y="266"/>
                  </a:cubicBezTo>
                  <a:cubicBezTo>
                    <a:pt x="892" y="267"/>
                    <a:pt x="892" y="267"/>
                    <a:pt x="892" y="267"/>
                  </a:cubicBezTo>
                  <a:cubicBezTo>
                    <a:pt x="892" y="267"/>
                    <a:pt x="892" y="267"/>
                    <a:pt x="892" y="267"/>
                  </a:cubicBezTo>
                  <a:cubicBezTo>
                    <a:pt x="892" y="267"/>
                    <a:pt x="892" y="267"/>
                    <a:pt x="892" y="267"/>
                  </a:cubicBezTo>
                  <a:cubicBezTo>
                    <a:pt x="892" y="267"/>
                    <a:pt x="892" y="267"/>
                    <a:pt x="892" y="267"/>
                  </a:cubicBezTo>
                  <a:cubicBezTo>
                    <a:pt x="892" y="268"/>
                    <a:pt x="892" y="268"/>
                    <a:pt x="892" y="268"/>
                  </a:cubicBezTo>
                  <a:cubicBezTo>
                    <a:pt x="892" y="268"/>
                    <a:pt x="892" y="268"/>
                    <a:pt x="892" y="268"/>
                  </a:cubicBezTo>
                  <a:cubicBezTo>
                    <a:pt x="891" y="270"/>
                    <a:pt x="891" y="270"/>
                    <a:pt x="891" y="270"/>
                  </a:cubicBezTo>
                  <a:cubicBezTo>
                    <a:pt x="889" y="272"/>
                    <a:pt x="889" y="272"/>
                    <a:pt x="889" y="272"/>
                  </a:cubicBezTo>
                  <a:cubicBezTo>
                    <a:pt x="883" y="279"/>
                    <a:pt x="883" y="279"/>
                    <a:pt x="883" y="279"/>
                  </a:cubicBezTo>
                  <a:cubicBezTo>
                    <a:pt x="881" y="281"/>
                    <a:pt x="881" y="281"/>
                    <a:pt x="881" y="281"/>
                  </a:cubicBezTo>
                  <a:cubicBezTo>
                    <a:pt x="880" y="283"/>
                    <a:pt x="880" y="283"/>
                    <a:pt x="880" y="283"/>
                  </a:cubicBezTo>
                  <a:cubicBezTo>
                    <a:pt x="879" y="284"/>
                    <a:pt x="881" y="283"/>
                    <a:pt x="881" y="285"/>
                  </a:cubicBezTo>
                  <a:cubicBezTo>
                    <a:pt x="881" y="285"/>
                    <a:pt x="881" y="285"/>
                    <a:pt x="881" y="285"/>
                  </a:cubicBezTo>
                  <a:cubicBezTo>
                    <a:pt x="881" y="285"/>
                    <a:pt x="881" y="285"/>
                    <a:pt x="881" y="285"/>
                  </a:cubicBezTo>
                  <a:cubicBezTo>
                    <a:pt x="881" y="286"/>
                    <a:pt x="880" y="287"/>
                    <a:pt x="880" y="288"/>
                  </a:cubicBezTo>
                  <a:cubicBezTo>
                    <a:pt x="880" y="288"/>
                    <a:pt x="880" y="288"/>
                    <a:pt x="880" y="288"/>
                  </a:cubicBezTo>
                  <a:cubicBezTo>
                    <a:pt x="880" y="288"/>
                    <a:pt x="880" y="288"/>
                    <a:pt x="880" y="288"/>
                  </a:cubicBezTo>
                  <a:cubicBezTo>
                    <a:pt x="880" y="289"/>
                    <a:pt x="880" y="289"/>
                    <a:pt x="880" y="289"/>
                  </a:cubicBezTo>
                  <a:cubicBezTo>
                    <a:pt x="879" y="290"/>
                    <a:pt x="879" y="290"/>
                    <a:pt x="879" y="290"/>
                  </a:cubicBezTo>
                  <a:cubicBezTo>
                    <a:pt x="877" y="294"/>
                    <a:pt x="877" y="294"/>
                    <a:pt x="877" y="294"/>
                  </a:cubicBezTo>
                  <a:cubicBezTo>
                    <a:pt x="877" y="296"/>
                    <a:pt x="877" y="296"/>
                    <a:pt x="877" y="296"/>
                  </a:cubicBezTo>
                  <a:cubicBezTo>
                    <a:pt x="876" y="297"/>
                    <a:pt x="876" y="297"/>
                    <a:pt x="876" y="297"/>
                  </a:cubicBezTo>
                  <a:cubicBezTo>
                    <a:pt x="877" y="297"/>
                    <a:pt x="877" y="297"/>
                    <a:pt x="877" y="297"/>
                  </a:cubicBezTo>
                  <a:cubicBezTo>
                    <a:pt x="877" y="298"/>
                    <a:pt x="877" y="298"/>
                    <a:pt x="877" y="298"/>
                  </a:cubicBezTo>
                  <a:cubicBezTo>
                    <a:pt x="877" y="298"/>
                    <a:pt x="877" y="298"/>
                    <a:pt x="877" y="298"/>
                  </a:cubicBezTo>
                  <a:cubicBezTo>
                    <a:pt x="877" y="298"/>
                    <a:pt x="877" y="298"/>
                    <a:pt x="877" y="298"/>
                  </a:cubicBezTo>
                  <a:cubicBezTo>
                    <a:pt x="877" y="298"/>
                    <a:pt x="877" y="298"/>
                    <a:pt x="877" y="298"/>
                  </a:cubicBezTo>
                  <a:cubicBezTo>
                    <a:pt x="877" y="298"/>
                    <a:pt x="877" y="298"/>
                    <a:pt x="877" y="298"/>
                  </a:cubicBezTo>
                  <a:cubicBezTo>
                    <a:pt x="877" y="299"/>
                    <a:pt x="877" y="299"/>
                    <a:pt x="877" y="299"/>
                  </a:cubicBezTo>
                  <a:cubicBezTo>
                    <a:pt x="878" y="299"/>
                    <a:pt x="878" y="299"/>
                    <a:pt x="878" y="299"/>
                  </a:cubicBezTo>
                  <a:cubicBezTo>
                    <a:pt x="878" y="299"/>
                    <a:pt x="878" y="299"/>
                    <a:pt x="878" y="299"/>
                  </a:cubicBezTo>
                  <a:cubicBezTo>
                    <a:pt x="878" y="299"/>
                    <a:pt x="878" y="299"/>
                    <a:pt x="878" y="299"/>
                  </a:cubicBezTo>
                  <a:cubicBezTo>
                    <a:pt x="878" y="299"/>
                    <a:pt x="878" y="299"/>
                    <a:pt x="878" y="299"/>
                  </a:cubicBezTo>
                  <a:cubicBezTo>
                    <a:pt x="879" y="301"/>
                    <a:pt x="879" y="301"/>
                    <a:pt x="880" y="302"/>
                  </a:cubicBezTo>
                  <a:cubicBezTo>
                    <a:pt x="880" y="302"/>
                    <a:pt x="880" y="302"/>
                    <a:pt x="880" y="302"/>
                  </a:cubicBezTo>
                  <a:cubicBezTo>
                    <a:pt x="880" y="302"/>
                    <a:pt x="880" y="302"/>
                    <a:pt x="880" y="302"/>
                  </a:cubicBezTo>
                  <a:cubicBezTo>
                    <a:pt x="881" y="302"/>
                    <a:pt x="881" y="302"/>
                    <a:pt x="881" y="302"/>
                  </a:cubicBezTo>
                  <a:cubicBezTo>
                    <a:pt x="881" y="302"/>
                    <a:pt x="881" y="302"/>
                    <a:pt x="881" y="302"/>
                  </a:cubicBezTo>
                  <a:cubicBezTo>
                    <a:pt x="881" y="303"/>
                    <a:pt x="882" y="304"/>
                    <a:pt x="882" y="305"/>
                  </a:cubicBezTo>
                  <a:cubicBezTo>
                    <a:pt x="883" y="305"/>
                    <a:pt x="883" y="305"/>
                    <a:pt x="883" y="305"/>
                  </a:cubicBezTo>
                  <a:cubicBezTo>
                    <a:pt x="883" y="305"/>
                    <a:pt x="883" y="305"/>
                    <a:pt x="883" y="305"/>
                  </a:cubicBezTo>
                  <a:cubicBezTo>
                    <a:pt x="883" y="305"/>
                    <a:pt x="883" y="305"/>
                    <a:pt x="883" y="305"/>
                  </a:cubicBezTo>
                  <a:cubicBezTo>
                    <a:pt x="883" y="305"/>
                    <a:pt x="883" y="305"/>
                    <a:pt x="883" y="305"/>
                  </a:cubicBezTo>
                  <a:cubicBezTo>
                    <a:pt x="883" y="306"/>
                    <a:pt x="883" y="306"/>
                    <a:pt x="883" y="306"/>
                  </a:cubicBezTo>
                  <a:cubicBezTo>
                    <a:pt x="883" y="306"/>
                    <a:pt x="883" y="306"/>
                    <a:pt x="883" y="306"/>
                  </a:cubicBezTo>
                  <a:cubicBezTo>
                    <a:pt x="883" y="306"/>
                    <a:pt x="883" y="306"/>
                    <a:pt x="883" y="306"/>
                  </a:cubicBezTo>
                  <a:cubicBezTo>
                    <a:pt x="883" y="306"/>
                    <a:pt x="883" y="306"/>
                    <a:pt x="883" y="306"/>
                  </a:cubicBezTo>
                  <a:cubicBezTo>
                    <a:pt x="883" y="306"/>
                    <a:pt x="883" y="306"/>
                    <a:pt x="883" y="306"/>
                  </a:cubicBezTo>
                  <a:cubicBezTo>
                    <a:pt x="883" y="307"/>
                    <a:pt x="883" y="307"/>
                    <a:pt x="883" y="307"/>
                  </a:cubicBezTo>
                  <a:cubicBezTo>
                    <a:pt x="883" y="309"/>
                    <a:pt x="883" y="309"/>
                    <a:pt x="883" y="309"/>
                  </a:cubicBezTo>
                  <a:cubicBezTo>
                    <a:pt x="881" y="313"/>
                    <a:pt x="881" y="313"/>
                    <a:pt x="881" y="313"/>
                  </a:cubicBezTo>
                  <a:cubicBezTo>
                    <a:pt x="881" y="315"/>
                    <a:pt x="881" y="315"/>
                    <a:pt x="881" y="315"/>
                  </a:cubicBezTo>
                  <a:cubicBezTo>
                    <a:pt x="881" y="316"/>
                    <a:pt x="881" y="316"/>
                    <a:pt x="881" y="316"/>
                  </a:cubicBezTo>
                  <a:cubicBezTo>
                    <a:pt x="881" y="316"/>
                    <a:pt x="881" y="316"/>
                    <a:pt x="881" y="316"/>
                  </a:cubicBezTo>
                  <a:cubicBezTo>
                    <a:pt x="881" y="316"/>
                    <a:pt x="881" y="316"/>
                    <a:pt x="881" y="316"/>
                  </a:cubicBezTo>
                  <a:cubicBezTo>
                    <a:pt x="881" y="317"/>
                    <a:pt x="881" y="317"/>
                    <a:pt x="881" y="317"/>
                  </a:cubicBezTo>
                  <a:cubicBezTo>
                    <a:pt x="882" y="317"/>
                    <a:pt x="882" y="317"/>
                    <a:pt x="882" y="317"/>
                  </a:cubicBezTo>
                  <a:cubicBezTo>
                    <a:pt x="882" y="317"/>
                    <a:pt x="882" y="317"/>
                    <a:pt x="882" y="317"/>
                  </a:cubicBezTo>
                  <a:cubicBezTo>
                    <a:pt x="882" y="317"/>
                    <a:pt x="882" y="317"/>
                    <a:pt x="882" y="317"/>
                  </a:cubicBezTo>
                  <a:cubicBezTo>
                    <a:pt x="882" y="317"/>
                    <a:pt x="882" y="317"/>
                    <a:pt x="882" y="317"/>
                  </a:cubicBezTo>
                  <a:cubicBezTo>
                    <a:pt x="882" y="318"/>
                    <a:pt x="882" y="318"/>
                    <a:pt x="882" y="318"/>
                  </a:cubicBezTo>
                  <a:cubicBezTo>
                    <a:pt x="883" y="318"/>
                    <a:pt x="883" y="318"/>
                    <a:pt x="883" y="318"/>
                  </a:cubicBezTo>
                  <a:cubicBezTo>
                    <a:pt x="884" y="319"/>
                    <a:pt x="884" y="319"/>
                    <a:pt x="886" y="318"/>
                  </a:cubicBezTo>
                  <a:cubicBezTo>
                    <a:pt x="886" y="318"/>
                    <a:pt x="886" y="318"/>
                    <a:pt x="886" y="318"/>
                  </a:cubicBezTo>
                  <a:cubicBezTo>
                    <a:pt x="886" y="318"/>
                    <a:pt x="886" y="318"/>
                    <a:pt x="886" y="318"/>
                  </a:cubicBezTo>
                  <a:cubicBezTo>
                    <a:pt x="888" y="318"/>
                    <a:pt x="889" y="317"/>
                    <a:pt x="890" y="317"/>
                  </a:cubicBezTo>
                  <a:cubicBezTo>
                    <a:pt x="890" y="317"/>
                    <a:pt x="890" y="317"/>
                    <a:pt x="890" y="317"/>
                  </a:cubicBezTo>
                  <a:cubicBezTo>
                    <a:pt x="890" y="317"/>
                    <a:pt x="890" y="317"/>
                    <a:pt x="890" y="317"/>
                  </a:cubicBezTo>
                  <a:cubicBezTo>
                    <a:pt x="891" y="317"/>
                    <a:pt x="891" y="317"/>
                    <a:pt x="891" y="317"/>
                  </a:cubicBezTo>
                  <a:cubicBezTo>
                    <a:pt x="894" y="316"/>
                    <a:pt x="896" y="317"/>
                    <a:pt x="899" y="319"/>
                  </a:cubicBezTo>
                  <a:cubicBezTo>
                    <a:pt x="900" y="319"/>
                    <a:pt x="900" y="319"/>
                    <a:pt x="900" y="319"/>
                  </a:cubicBezTo>
                  <a:cubicBezTo>
                    <a:pt x="900" y="319"/>
                    <a:pt x="900" y="319"/>
                    <a:pt x="900" y="319"/>
                  </a:cubicBezTo>
                  <a:cubicBezTo>
                    <a:pt x="900" y="319"/>
                    <a:pt x="900" y="319"/>
                    <a:pt x="900" y="319"/>
                  </a:cubicBezTo>
                  <a:cubicBezTo>
                    <a:pt x="901" y="319"/>
                    <a:pt x="901" y="319"/>
                    <a:pt x="901" y="319"/>
                  </a:cubicBezTo>
                  <a:cubicBezTo>
                    <a:pt x="901" y="319"/>
                    <a:pt x="901" y="319"/>
                    <a:pt x="901" y="319"/>
                  </a:cubicBezTo>
                  <a:cubicBezTo>
                    <a:pt x="903" y="318"/>
                    <a:pt x="903" y="318"/>
                    <a:pt x="905" y="318"/>
                  </a:cubicBezTo>
                  <a:cubicBezTo>
                    <a:pt x="905" y="318"/>
                    <a:pt x="905" y="318"/>
                    <a:pt x="905" y="318"/>
                  </a:cubicBezTo>
                  <a:cubicBezTo>
                    <a:pt x="905" y="318"/>
                    <a:pt x="905" y="318"/>
                    <a:pt x="905" y="318"/>
                  </a:cubicBezTo>
                  <a:cubicBezTo>
                    <a:pt x="907" y="318"/>
                    <a:pt x="905" y="317"/>
                    <a:pt x="908" y="316"/>
                  </a:cubicBezTo>
                  <a:cubicBezTo>
                    <a:pt x="908" y="316"/>
                    <a:pt x="908" y="316"/>
                    <a:pt x="908" y="316"/>
                  </a:cubicBezTo>
                  <a:cubicBezTo>
                    <a:pt x="909" y="315"/>
                    <a:pt x="909" y="315"/>
                    <a:pt x="909" y="315"/>
                  </a:cubicBezTo>
                  <a:cubicBezTo>
                    <a:pt x="909" y="315"/>
                    <a:pt x="909" y="315"/>
                    <a:pt x="909" y="315"/>
                  </a:cubicBezTo>
                  <a:cubicBezTo>
                    <a:pt x="909" y="315"/>
                    <a:pt x="909" y="315"/>
                    <a:pt x="909" y="315"/>
                  </a:cubicBezTo>
                  <a:cubicBezTo>
                    <a:pt x="911" y="315"/>
                    <a:pt x="910" y="314"/>
                    <a:pt x="913" y="314"/>
                  </a:cubicBezTo>
                  <a:cubicBezTo>
                    <a:pt x="913" y="313"/>
                    <a:pt x="913" y="313"/>
                    <a:pt x="913" y="313"/>
                  </a:cubicBezTo>
                  <a:cubicBezTo>
                    <a:pt x="913" y="313"/>
                    <a:pt x="913" y="313"/>
                    <a:pt x="913" y="313"/>
                  </a:cubicBezTo>
                  <a:cubicBezTo>
                    <a:pt x="914" y="313"/>
                    <a:pt x="916" y="313"/>
                    <a:pt x="917" y="313"/>
                  </a:cubicBezTo>
                  <a:cubicBezTo>
                    <a:pt x="918" y="313"/>
                    <a:pt x="918" y="313"/>
                    <a:pt x="918" y="313"/>
                  </a:cubicBezTo>
                  <a:cubicBezTo>
                    <a:pt x="918" y="313"/>
                    <a:pt x="918" y="313"/>
                    <a:pt x="918" y="313"/>
                  </a:cubicBezTo>
                  <a:cubicBezTo>
                    <a:pt x="918" y="313"/>
                    <a:pt x="918" y="313"/>
                    <a:pt x="918" y="313"/>
                  </a:cubicBezTo>
                  <a:cubicBezTo>
                    <a:pt x="919" y="314"/>
                    <a:pt x="919" y="314"/>
                    <a:pt x="919" y="314"/>
                  </a:cubicBezTo>
                  <a:cubicBezTo>
                    <a:pt x="919" y="314"/>
                    <a:pt x="919" y="314"/>
                    <a:pt x="919" y="314"/>
                  </a:cubicBezTo>
                  <a:cubicBezTo>
                    <a:pt x="919" y="314"/>
                    <a:pt x="919" y="314"/>
                    <a:pt x="919" y="314"/>
                  </a:cubicBezTo>
                  <a:cubicBezTo>
                    <a:pt x="925" y="314"/>
                    <a:pt x="922" y="312"/>
                    <a:pt x="928" y="315"/>
                  </a:cubicBezTo>
                  <a:cubicBezTo>
                    <a:pt x="928" y="315"/>
                    <a:pt x="928" y="315"/>
                    <a:pt x="928" y="315"/>
                  </a:cubicBezTo>
                  <a:cubicBezTo>
                    <a:pt x="928" y="315"/>
                    <a:pt x="928" y="315"/>
                    <a:pt x="928" y="315"/>
                  </a:cubicBezTo>
                  <a:cubicBezTo>
                    <a:pt x="929" y="315"/>
                    <a:pt x="929" y="315"/>
                    <a:pt x="929" y="315"/>
                  </a:cubicBezTo>
                  <a:cubicBezTo>
                    <a:pt x="930" y="316"/>
                    <a:pt x="930" y="316"/>
                    <a:pt x="932" y="317"/>
                  </a:cubicBezTo>
                  <a:cubicBezTo>
                    <a:pt x="933" y="317"/>
                    <a:pt x="933" y="317"/>
                    <a:pt x="933" y="317"/>
                  </a:cubicBezTo>
                  <a:cubicBezTo>
                    <a:pt x="935" y="317"/>
                    <a:pt x="934" y="316"/>
                    <a:pt x="937" y="317"/>
                  </a:cubicBezTo>
                  <a:cubicBezTo>
                    <a:pt x="937" y="317"/>
                    <a:pt x="937" y="317"/>
                    <a:pt x="937" y="317"/>
                  </a:cubicBezTo>
                  <a:cubicBezTo>
                    <a:pt x="937" y="317"/>
                    <a:pt x="937" y="317"/>
                    <a:pt x="937" y="317"/>
                  </a:cubicBezTo>
                  <a:cubicBezTo>
                    <a:pt x="938" y="317"/>
                    <a:pt x="938" y="317"/>
                    <a:pt x="938" y="317"/>
                  </a:cubicBezTo>
                  <a:cubicBezTo>
                    <a:pt x="938" y="317"/>
                    <a:pt x="938" y="317"/>
                    <a:pt x="938" y="317"/>
                  </a:cubicBezTo>
                  <a:cubicBezTo>
                    <a:pt x="938" y="318"/>
                    <a:pt x="938" y="318"/>
                    <a:pt x="938" y="318"/>
                  </a:cubicBezTo>
                  <a:cubicBezTo>
                    <a:pt x="939" y="318"/>
                    <a:pt x="939" y="318"/>
                    <a:pt x="939" y="318"/>
                  </a:cubicBezTo>
                  <a:cubicBezTo>
                    <a:pt x="940" y="318"/>
                    <a:pt x="939" y="319"/>
                    <a:pt x="940" y="320"/>
                  </a:cubicBezTo>
                  <a:cubicBezTo>
                    <a:pt x="940" y="320"/>
                    <a:pt x="940" y="320"/>
                    <a:pt x="940" y="320"/>
                  </a:cubicBezTo>
                  <a:cubicBezTo>
                    <a:pt x="941" y="321"/>
                    <a:pt x="941" y="321"/>
                    <a:pt x="941" y="321"/>
                  </a:cubicBezTo>
                  <a:cubicBezTo>
                    <a:pt x="941" y="321"/>
                    <a:pt x="942" y="321"/>
                    <a:pt x="943" y="321"/>
                  </a:cubicBezTo>
                  <a:cubicBezTo>
                    <a:pt x="943" y="321"/>
                    <a:pt x="943" y="321"/>
                    <a:pt x="943" y="321"/>
                  </a:cubicBezTo>
                  <a:cubicBezTo>
                    <a:pt x="943" y="321"/>
                    <a:pt x="943" y="321"/>
                    <a:pt x="943" y="321"/>
                  </a:cubicBezTo>
                  <a:cubicBezTo>
                    <a:pt x="944" y="322"/>
                    <a:pt x="944" y="322"/>
                    <a:pt x="944" y="322"/>
                  </a:cubicBezTo>
                  <a:cubicBezTo>
                    <a:pt x="949" y="322"/>
                    <a:pt x="948" y="324"/>
                    <a:pt x="952" y="324"/>
                  </a:cubicBezTo>
                  <a:cubicBezTo>
                    <a:pt x="952" y="324"/>
                    <a:pt x="952" y="324"/>
                    <a:pt x="952" y="324"/>
                  </a:cubicBezTo>
                  <a:cubicBezTo>
                    <a:pt x="953" y="324"/>
                    <a:pt x="953" y="324"/>
                    <a:pt x="953" y="324"/>
                  </a:cubicBezTo>
                  <a:cubicBezTo>
                    <a:pt x="953" y="324"/>
                    <a:pt x="953" y="324"/>
                    <a:pt x="953" y="324"/>
                  </a:cubicBezTo>
                  <a:cubicBezTo>
                    <a:pt x="953" y="324"/>
                    <a:pt x="953" y="324"/>
                    <a:pt x="953" y="324"/>
                  </a:cubicBezTo>
                  <a:cubicBezTo>
                    <a:pt x="954" y="324"/>
                    <a:pt x="954" y="324"/>
                    <a:pt x="954" y="324"/>
                  </a:cubicBezTo>
                  <a:cubicBezTo>
                    <a:pt x="954" y="325"/>
                    <a:pt x="954" y="325"/>
                    <a:pt x="954" y="325"/>
                  </a:cubicBezTo>
                  <a:cubicBezTo>
                    <a:pt x="955" y="327"/>
                    <a:pt x="955" y="327"/>
                    <a:pt x="955" y="327"/>
                  </a:cubicBezTo>
                  <a:cubicBezTo>
                    <a:pt x="956" y="332"/>
                    <a:pt x="956" y="332"/>
                    <a:pt x="956" y="332"/>
                  </a:cubicBezTo>
                  <a:cubicBezTo>
                    <a:pt x="956" y="333"/>
                    <a:pt x="956" y="333"/>
                    <a:pt x="956" y="333"/>
                  </a:cubicBezTo>
                  <a:cubicBezTo>
                    <a:pt x="956" y="335"/>
                    <a:pt x="956" y="335"/>
                    <a:pt x="956" y="335"/>
                  </a:cubicBezTo>
                  <a:cubicBezTo>
                    <a:pt x="957" y="335"/>
                    <a:pt x="957" y="335"/>
                    <a:pt x="957" y="335"/>
                  </a:cubicBezTo>
                  <a:cubicBezTo>
                    <a:pt x="957" y="335"/>
                    <a:pt x="957" y="335"/>
                    <a:pt x="957" y="335"/>
                  </a:cubicBezTo>
                  <a:cubicBezTo>
                    <a:pt x="957" y="336"/>
                    <a:pt x="957" y="336"/>
                    <a:pt x="957" y="336"/>
                  </a:cubicBezTo>
                  <a:cubicBezTo>
                    <a:pt x="957" y="337"/>
                    <a:pt x="957" y="337"/>
                    <a:pt x="957" y="337"/>
                  </a:cubicBezTo>
                  <a:cubicBezTo>
                    <a:pt x="958" y="337"/>
                    <a:pt x="958" y="337"/>
                    <a:pt x="958" y="337"/>
                  </a:cubicBezTo>
                  <a:cubicBezTo>
                    <a:pt x="958" y="338"/>
                    <a:pt x="958" y="338"/>
                    <a:pt x="958" y="338"/>
                  </a:cubicBezTo>
                  <a:cubicBezTo>
                    <a:pt x="958" y="338"/>
                    <a:pt x="958" y="338"/>
                    <a:pt x="958" y="338"/>
                  </a:cubicBezTo>
                  <a:cubicBezTo>
                    <a:pt x="959" y="337"/>
                    <a:pt x="959" y="337"/>
                    <a:pt x="959" y="337"/>
                  </a:cubicBezTo>
                  <a:cubicBezTo>
                    <a:pt x="959" y="338"/>
                    <a:pt x="959" y="338"/>
                    <a:pt x="959" y="338"/>
                  </a:cubicBezTo>
                  <a:cubicBezTo>
                    <a:pt x="959" y="338"/>
                    <a:pt x="959" y="338"/>
                    <a:pt x="959" y="338"/>
                  </a:cubicBezTo>
                  <a:cubicBezTo>
                    <a:pt x="960" y="339"/>
                    <a:pt x="960" y="339"/>
                    <a:pt x="960" y="339"/>
                  </a:cubicBezTo>
                  <a:cubicBezTo>
                    <a:pt x="960" y="339"/>
                    <a:pt x="960" y="339"/>
                    <a:pt x="960" y="339"/>
                  </a:cubicBezTo>
                  <a:cubicBezTo>
                    <a:pt x="960" y="340"/>
                    <a:pt x="960" y="340"/>
                    <a:pt x="960" y="340"/>
                  </a:cubicBezTo>
                  <a:cubicBezTo>
                    <a:pt x="960" y="340"/>
                    <a:pt x="960" y="340"/>
                    <a:pt x="960" y="340"/>
                  </a:cubicBezTo>
                  <a:cubicBezTo>
                    <a:pt x="961" y="341"/>
                    <a:pt x="961" y="341"/>
                    <a:pt x="961" y="341"/>
                  </a:cubicBezTo>
                  <a:cubicBezTo>
                    <a:pt x="961" y="341"/>
                    <a:pt x="961" y="341"/>
                    <a:pt x="961" y="341"/>
                  </a:cubicBezTo>
                  <a:cubicBezTo>
                    <a:pt x="961" y="342"/>
                    <a:pt x="961" y="342"/>
                    <a:pt x="961" y="342"/>
                  </a:cubicBezTo>
                  <a:cubicBezTo>
                    <a:pt x="961" y="342"/>
                    <a:pt x="961" y="342"/>
                    <a:pt x="961" y="342"/>
                  </a:cubicBezTo>
                  <a:cubicBezTo>
                    <a:pt x="962" y="342"/>
                    <a:pt x="962" y="342"/>
                    <a:pt x="963" y="343"/>
                  </a:cubicBezTo>
                  <a:cubicBezTo>
                    <a:pt x="964" y="345"/>
                    <a:pt x="964" y="345"/>
                    <a:pt x="964" y="345"/>
                  </a:cubicBezTo>
                  <a:cubicBezTo>
                    <a:pt x="965" y="346"/>
                    <a:pt x="965" y="346"/>
                    <a:pt x="965" y="346"/>
                  </a:cubicBezTo>
                  <a:cubicBezTo>
                    <a:pt x="965" y="346"/>
                    <a:pt x="965" y="346"/>
                    <a:pt x="965" y="346"/>
                  </a:cubicBezTo>
                  <a:cubicBezTo>
                    <a:pt x="964" y="346"/>
                    <a:pt x="964" y="346"/>
                    <a:pt x="964" y="346"/>
                  </a:cubicBezTo>
                  <a:cubicBezTo>
                    <a:pt x="964" y="346"/>
                    <a:pt x="964" y="346"/>
                    <a:pt x="964" y="346"/>
                  </a:cubicBezTo>
                  <a:cubicBezTo>
                    <a:pt x="962" y="347"/>
                    <a:pt x="960" y="347"/>
                    <a:pt x="958" y="347"/>
                  </a:cubicBezTo>
                  <a:cubicBezTo>
                    <a:pt x="958" y="347"/>
                    <a:pt x="958" y="347"/>
                    <a:pt x="958" y="347"/>
                  </a:cubicBezTo>
                  <a:cubicBezTo>
                    <a:pt x="958" y="347"/>
                    <a:pt x="958" y="347"/>
                    <a:pt x="958" y="347"/>
                  </a:cubicBezTo>
                  <a:cubicBezTo>
                    <a:pt x="954" y="347"/>
                    <a:pt x="952" y="352"/>
                    <a:pt x="952" y="355"/>
                  </a:cubicBezTo>
                  <a:cubicBezTo>
                    <a:pt x="952" y="356"/>
                    <a:pt x="952" y="356"/>
                    <a:pt x="952" y="356"/>
                  </a:cubicBezTo>
                  <a:cubicBezTo>
                    <a:pt x="953" y="356"/>
                    <a:pt x="953" y="356"/>
                    <a:pt x="953" y="356"/>
                  </a:cubicBezTo>
                  <a:cubicBezTo>
                    <a:pt x="953" y="357"/>
                    <a:pt x="953" y="357"/>
                    <a:pt x="953" y="357"/>
                  </a:cubicBezTo>
                  <a:cubicBezTo>
                    <a:pt x="953" y="358"/>
                    <a:pt x="953" y="358"/>
                    <a:pt x="953" y="358"/>
                  </a:cubicBezTo>
                  <a:cubicBezTo>
                    <a:pt x="952" y="361"/>
                    <a:pt x="952" y="361"/>
                    <a:pt x="952" y="361"/>
                  </a:cubicBezTo>
                  <a:cubicBezTo>
                    <a:pt x="952" y="362"/>
                    <a:pt x="952" y="362"/>
                    <a:pt x="952" y="362"/>
                  </a:cubicBezTo>
                  <a:cubicBezTo>
                    <a:pt x="952" y="362"/>
                    <a:pt x="952" y="362"/>
                    <a:pt x="952" y="362"/>
                  </a:cubicBezTo>
                  <a:cubicBezTo>
                    <a:pt x="952" y="362"/>
                    <a:pt x="952" y="362"/>
                    <a:pt x="952" y="362"/>
                  </a:cubicBezTo>
                  <a:cubicBezTo>
                    <a:pt x="952" y="363"/>
                    <a:pt x="952" y="363"/>
                    <a:pt x="952" y="363"/>
                  </a:cubicBezTo>
                  <a:cubicBezTo>
                    <a:pt x="952" y="363"/>
                    <a:pt x="952" y="363"/>
                    <a:pt x="952" y="363"/>
                  </a:cubicBezTo>
                  <a:cubicBezTo>
                    <a:pt x="952" y="363"/>
                    <a:pt x="952" y="363"/>
                    <a:pt x="952" y="363"/>
                  </a:cubicBezTo>
                  <a:cubicBezTo>
                    <a:pt x="953" y="363"/>
                    <a:pt x="953" y="363"/>
                    <a:pt x="953" y="363"/>
                  </a:cubicBezTo>
                  <a:cubicBezTo>
                    <a:pt x="953" y="363"/>
                    <a:pt x="953" y="363"/>
                    <a:pt x="953" y="363"/>
                  </a:cubicBezTo>
                  <a:cubicBezTo>
                    <a:pt x="953" y="363"/>
                    <a:pt x="953" y="363"/>
                    <a:pt x="953" y="363"/>
                  </a:cubicBezTo>
                  <a:cubicBezTo>
                    <a:pt x="954" y="363"/>
                    <a:pt x="954" y="363"/>
                    <a:pt x="954" y="363"/>
                  </a:cubicBezTo>
                  <a:cubicBezTo>
                    <a:pt x="954" y="363"/>
                    <a:pt x="954" y="363"/>
                    <a:pt x="954" y="363"/>
                  </a:cubicBezTo>
                  <a:cubicBezTo>
                    <a:pt x="954" y="363"/>
                    <a:pt x="954" y="363"/>
                    <a:pt x="954" y="363"/>
                  </a:cubicBezTo>
                  <a:cubicBezTo>
                    <a:pt x="955" y="363"/>
                    <a:pt x="955" y="363"/>
                    <a:pt x="955" y="363"/>
                  </a:cubicBezTo>
                  <a:cubicBezTo>
                    <a:pt x="955" y="363"/>
                    <a:pt x="955" y="363"/>
                    <a:pt x="955" y="363"/>
                  </a:cubicBezTo>
                  <a:cubicBezTo>
                    <a:pt x="955" y="363"/>
                    <a:pt x="955" y="363"/>
                    <a:pt x="955" y="363"/>
                  </a:cubicBezTo>
                  <a:cubicBezTo>
                    <a:pt x="956" y="363"/>
                    <a:pt x="956" y="363"/>
                    <a:pt x="956" y="363"/>
                  </a:cubicBezTo>
                  <a:cubicBezTo>
                    <a:pt x="956" y="363"/>
                    <a:pt x="956" y="363"/>
                    <a:pt x="956" y="363"/>
                  </a:cubicBezTo>
                  <a:cubicBezTo>
                    <a:pt x="956" y="363"/>
                    <a:pt x="956" y="363"/>
                    <a:pt x="956" y="363"/>
                  </a:cubicBezTo>
                  <a:cubicBezTo>
                    <a:pt x="957" y="363"/>
                    <a:pt x="957" y="363"/>
                    <a:pt x="957" y="363"/>
                  </a:cubicBezTo>
                  <a:cubicBezTo>
                    <a:pt x="957" y="363"/>
                    <a:pt x="957" y="363"/>
                    <a:pt x="957" y="363"/>
                  </a:cubicBezTo>
                  <a:cubicBezTo>
                    <a:pt x="957" y="363"/>
                    <a:pt x="957" y="363"/>
                    <a:pt x="957" y="363"/>
                  </a:cubicBezTo>
                  <a:cubicBezTo>
                    <a:pt x="957" y="362"/>
                    <a:pt x="957" y="362"/>
                    <a:pt x="957" y="362"/>
                  </a:cubicBezTo>
                  <a:cubicBezTo>
                    <a:pt x="957" y="362"/>
                    <a:pt x="957" y="362"/>
                    <a:pt x="957" y="362"/>
                  </a:cubicBezTo>
                  <a:cubicBezTo>
                    <a:pt x="957" y="362"/>
                    <a:pt x="957" y="362"/>
                    <a:pt x="957" y="362"/>
                  </a:cubicBezTo>
                  <a:cubicBezTo>
                    <a:pt x="958" y="362"/>
                    <a:pt x="958" y="362"/>
                    <a:pt x="958" y="362"/>
                  </a:cubicBezTo>
                  <a:cubicBezTo>
                    <a:pt x="958" y="362"/>
                    <a:pt x="958" y="362"/>
                    <a:pt x="958" y="362"/>
                  </a:cubicBezTo>
                  <a:cubicBezTo>
                    <a:pt x="958" y="362"/>
                    <a:pt x="958" y="362"/>
                    <a:pt x="958" y="362"/>
                  </a:cubicBezTo>
                  <a:cubicBezTo>
                    <a:pt x="960" y="365"/>
                    <a:pt x="959" y="365"/>
                    <a:pt x="961" y="364"/>
                  </a:cubicBezTo>
                  <a:cubicBezTo>
                    <a:pt x="961" y="364"/>
                    <a:pt x="961" y="364"/>
                    <a:pt x="961" y="364"/>
                  </a:cubicBezTo>
                  <a:cubicBezTo>
                    <a:pt x="962" y="364"/>
                    <a:pt x="962" y="364"/>
                    <a:pt x="962" y="364"/>
                  </a:cubicBezTo>
                  <a:cubicBezTo>
                    <a:pt x="962" y="364"/>
                    <a:pt x="962" y="364"/>
                    <a:pt x="962" y="364"/>
                  </a:cubicBezTo>
                  <a:cubicBezTo>
                    <a:pt x="963" y="365"/>
                    <a:pt x="962" y="365"/>
                    <a:pt x="963" y="365"/>
                  </a:cubicBezTo>
                  <a:cubicBezTo>
                    <a:pt x="963" y="365"/>
                    <a:pt x="963" y="365"/>
                    <a:pt x="963" y="365"/>
                  </a:cubicBezTo>
                  <a:cubicBezTo>
                    <a:pt x="964" y="366"/>
                    <a:pt x="964" y="366"/>
                    <a:pt x="964" y="366"/>
                  </a:cubicBezTo>
                  <a:cubicBezTo>
                    <a:pt x="964" y="366"/>
                    <a:pt x="965" y="366"/>
                    <a:pt x="965" y="365"/>
                  </a:cubicBezTo>
                  <a:cubicBezTo>
                    <a:pt x="965" y="365"/>
                    <a:pt x="965" y="365"/>
                    <a:pt x="965" y="365"/>
                  </a:cubicBezTo>
                  <a:cubicBezTo>
                    <a:pt x="966" y="365"/>
                    <a:pt x="966" y="365"/>
                    <a:pt x="966" y="365"/>
                  </a:cubicBezTo>
                  <a:cubicBezTo>
                    <a:pt x="966" y="365"/>
                    <a:pt x="966" y="365"/>
                    <a:pt x="966" y="365"/>
                  </a:cubicBezTo>
                  <a:cubicBezTo>
                    <a:pt x="966" y="366"/>
                    <a:pt x="966" y="366"/>
                    <a:pt x="966" y="366"/>
                  </a:cubicBezTo>
                  <a:cubicBezTo>
                    <a:pt x="967" y="366"/>
                    <a:pt x="967" y="366"/>
                    <a:pt x="967" y="366"/>
                  </a:cubicBezTo>
                  <a:cubicBezTo>
                    <a:pt x="967" y="365"/>
                    <a:pt x="967" y="365"/>
                    <a:pt x="967" y="365"/>
                  </a:cubicBezTo>
                  <a:cubicBezTo>
                    <a:pt x="967" y="365"/>
                    <a:pt x="968" y="365"/>
                    <a:pt x="968" y="365"/>
                  </a:cubicBezTo>
                  <a:cubicBezTo>
                    <a:pt x="968" y="366"/>
                    <a:pt x="968" y="366"/>
                    <a:pt x="968"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5"/>
                    <a:pt x="969" y="365"/>
                    <a:pt x="969" y="365"/>
                  </a:cubicBezTo>
                  <a:cubicBezTo>
                    <a:pt x="970" y="365"/>
                    <a:pt x="970" y="365"/>
                    <a:pt x="970" y="365"/>
                  </a:cubicBezTo>
                  <a:cubicBezTo>
                    <a:pt x="970" y="365"/>
                    <a:pt x="970" y="365"/>
                    <a:pt x="970" y="365"/>
                  </a:cubicBezTo>
                  <a:cubicBezTo>
                    <a:pt x="970" y="365"/>
                    <a:pt x="970" y="365"/>
                    <a:pt x="970" y="365"/>
                  </a:cubicBezTo>
                  <a:cubicBezTo>
                    <a:pt x="970" y="364"/>
                    <a:pt x="970" y="364"/>
                    <a:pt x="970" y="364"/>
                  </a:cubicBezTo>
                  <a:cubicBezTo>
                    <a:pt x="970" y="364"/>
                    <a:pt x="970" y="364"/>
                    <a:pt x="970" y="364"/>
                  </a:cubicBezTo>
                  <a:cubicBezTo>
                    <a:pt x="970" y="364"/>
                    <a:pt x="970" y="364"/>
                    <a:pt x="970" y="364"/>
                  </a:cubicBezTo>
                  <a:cubicBezTo>
                    <a:pt x="970" y="364"/>
                    <a:pt x="970" y="364"/>
                    <a:pt x="970" y="364"/>
                  </a:cubicBezTo>
                  <a:cubicBezTo>
                    <a:pt x="970" y="365"/>
                    <a:pt x="970" y="365"/>
                    <a:pt x="970" y="365"/>
                  </a:cubicBezTo>
                  <a:cubicBezTo>
                    <a:pt x="970" y="365"/>
                    <a:pt x="970" y="365"/>
                    <a:pt x="970" y="365"/>
                  </a:cubicBezTo>
                  <a:cubicBezTo>
                    <a:pt x="971" y="365"/>
                    <a:pt x="971" y="365"/>
                    <a:pt x="971" y="365"/>
                  </a:cubicBezTo>
                  <a:cubicBezTo>
                    <a:pt x="971" y="365"/>
                    <a:pt x="971" y="365"/>
                    <a:pt x="971" y="365"/>
                  </a:cubicBezTo>
                  <a:cubicBezTo>
                    <a:pt x="971" y="365"/>
                    <a:pt x="971" y="365"/>
                    <a:pt x="971" y="365"/>
                  </a:cubicBezTo>
                  <a:cubicBezTo>
                    <a:pt x="971" y="366"/>
                    <a:pt x="971" y="366"/>
                    <a:pt x="971" y="366"/>
                  </a:cubicBezTo>
                  <a:cubicBezTo>
                    <a:pt x="972" y="366"/>
                    <a:pt x="972" y="366"/>
                    <a:pt x="972" y="366"/>
                  </a:cubicBezTo>
                  <a:cubicBezTo>
                    <a:pt x="973" y="366"/>
                    <a:pt x="973" y="366"/>
                    <a:pt x="973" y="366"/>
                  </a:cubicBezTo>
                  <a:cubicBezTo>
                    <a:pt x="973" y="366"/>
                    <a:pt x="973" y="366"/>
                    <a:pt x="973" y="366"/>
                  </a:cubicBezTo>
                  <a:cubicBezTo>
                    <a:pt x="973" y="366"/>
                    <a:pt x="973" y="366"/>
                    <a:pt x="973" y="366"/>
                  </a:cubicBezTo>
                  <a:cubicBezTo>
                    <a:pt x="973" y="366"/>
                    <a:pt x="973" y="366"/>
                    <a:pt x="973" y="366"/>
                  </a:cubicBezTo>
                  <a:cubicBezTo>
                    <a:pt x="972" y="367"/>
                    <a:pt x="972" y="367"/>
                    <a:pt x="972" y="367"/>
                  </a:cubicBezTo>
                  <a:cubicBezTo>
                    <a:pt x="971" y="367"/>
                    <a:pt x="971" y="367"/>
                    <a:pt x="971" y="367"/>
                  </a:cubicBezTo>
                  <a:cubicBezTo>
                    <a:pt x="971" y="367"/>
                    <a:pt x="971" y="367"/>
                    <a:pt x="971" y="367"/>
                  </a:cubicBezTo>
                  <a:cubicBezTo>
                    <a:pt x="971" y="367"/>
                    <a:pt x="971" y="367"/>
                    <a:pt x="971" y="367"/>
                  </a:cubicBezTo>
                  <a:cubicBezTo>
                    <a:pt x="971" y="367"/>
                    <a:pt x="971" y="367"/>
                    <a:pt x="971" y="367"/>
                  </a:cubicBezTo>
                  <a:cubicBezTo>
                    <a:pt x="973" y="367"/>
                    <a:pt x="974" y="368"/>
                    <a:pt x="975" y="367"/>
                  </a:cubicBezTo>
                  <a:cubicBezTo>
                    <a:pt x="975" y="366"/>
                    <a:pt x="975" y="366"/>
                    <a:pt x="975" y="366"/>
                  </a:cubicBezTo>
                  <a:cubicBezTo>
                    <a:pt x="975" y="366"/>
                    <a:pt x="975" y="366"/>
                    <a:pt x="975" y="366"/>
                  </a:cubicBezTo>
                  <a:cubicBezTo>
                    <a:pt x="975" y="366"/>
                    <a:pt x="975" y="366"/>
                    <a:pt x="975" y="366"/>
                  </a:cubicBezTo>
                  <a:cubicBezTo>
                    <a:pt x="976" y="366"/>
                    <a:pt x="976" y="366"/>
                    <a:pt x="976" y="366"/>
                  </a:cubicBezTo>
                  <a:cubicBezTo>
                    <a:pt x="976" y="366"/>
                    <a:pt x="976" y="366"/>
                    <a:pt x="976" y="366"/>
                  </a:cubicBezTo>
                  <a:cubicBezTo>
                    <a:pt x="976" y="366"/>
                    <a:pt x="976" y="366"/>
                    <a:pt x="976" y="366"/>
                  </a:cubicBezTo>
                  <a:cubicBezTo>
                    <a:pt x="977" y="366"/>
                    <a:pt x="977" y="366"/>
                    <a:pt x="977" y="366"/>
                  </a:cubicBezTo>
                  <a:cubicBezTo>
                    <a:pt x="977" y="367"/>
                    <a:pt x="977" y="367"/>
                    <a:pt x="977" y="367"/>
                  </a:cubicBezTo>
                  <a:cubicBezTo>
                    <a:pt x="977" y="367"/>
                    <a:pt x="977" y="367"/>
                    <a:pt x="977" y="367"/>
                  </a:cubicBezTo>
                  <a:cubicBezTo>
                    <a:pt x="978" y="367"/>
                    <a:pt x="978" y="367"/>
                    <a:pt x="978" y="367"/>
                  </a:cubicBezTo>
                  <a:cubicBezTo>
                    <a:pt x="978" y="367"/>
                    <a:pt x="978" y="367"/>
                    <a:pt x="978" y="367"/>
                  </a:cubicBezTo>
                  <a:cubicBezTo>
                    <a:pt x="978" y="367"/>
                    <a:pt x="978" y="367"/>
                    <a:pt x="978" y="367"/>
                  </a:cubicBezTo>
                  <a:cubicBezTo>
                    <a:pt x="979" y="367"/>
                    <a:pt x="979" y="367"/>
                    <a:pt x="979" y="367"/>
                  </a:cubicBezTo>
                  <a:cubicBezTo>
                    <a:pt x="979" y="368"/>
                    <a:pt x="979" y="368"/>
                    <a:pt x="979" y="368"/>
                  </a:cubicBezTo>
                  <a:cubicBezTo>
                    <a:pt x="981" y="368"/>
                    <a:pt x="981" y="368"/>
                    <a:pt x="981" y="368"/>
                  </a:cubicBezTo>
                  <a:cubicBezTo>
                    <a:pt x="981" y="368"/>
                    <a:pt x="981" y="368"/>
                    <a:pt x="981" y="368"/>
                  </a:cubicBezTo>
                  <a:cubicBezTo>
                    <a:pt x="981" y="369"/>
                    <a:pt x="981" y="369"/>
                    <a:pt x="981" y="369"/>
                  </a:cubicBezTo>
                  <a:cubicBezTo>
                    <a:pt x="981" y="369"/>
                    <a:pt x="981" y="369"/>
                    <a:pt x="981" y="369"/>
                  </a:cubicBezTo>
                  <a:cubicBezTo>
                    <a:pt x="981" y="369"/>
                    <a:pt x="981" y="369"/>
                    <a:pt x="981" y="369"/>
                  </a:cubicBezTo>
                  <a:cubicBezTo>
                    <a:pt x="979" y="369"/>
                    <a:pt x="977" y="368"/>
                    <a:pt x="975" y="368"/>
                  </a:cubicBezTo>
                  <a:cubicBezTo>
                    <a:pt x="975" y="368"/>
                    <a:pt x="975" y="368"/>
                    <a:pt x="975" y="368"/>
                  </a:cubicBezTo>
                  <a:cubicBezTo>
                    <a:pt x="975" y="368"/>
                    <a:pt x="975" y="368"/>
                    <a:pt x="975" y="368"/>
                  </a:cubicBezTo>
                  <a:cubicBezTo>
                    <a:pt x="974" y="368"/>
                    <a:pt x="974" y="368"/>
                    <a:pt x="974" y="368"/>
                  </a:cubicBezTo>
                  <a:cubicBezTo>
                    <a:pt x="974" y="368"/>
                    <a:pt x="973" y="368"/>
                    <a:pt x="973" y="368"/>
                  </a:cubicBezTo>
                  <a:cubicBezTo>
                    <a:pt x="972" y="368"/>
                    <a:pt x="972" y="368"/>
                    <a:pt x="972" y="368"/>
                  </a:cubicBezTo>
                  <a:cubicBezTo>
                    <a:pt x="972" y="368"/>
                    <a:pt x="972" y="368"/>
                    <a:pt x="972" y="368"/>
                  </a:cubicBezTo>
                  <a:cubicBezTo>
                    <a:pt x="971" y="369"/>
                    <a:pt x="971" y="369"/>
                    <a:pt x="970" y="369"/>
                  </a:cubicBezTo>
                  <a:cubicBezTo>
                    <a:pt x="970" y="369"/>
                    <a:pt x="970" y="369"/>
                    <a:pt x="970" y="369"/>
                  </a:cubicBezTo>
                  <a:cubicBezTo>
                    <a:pt x="968" y="369"/>
                    <a:pt x="968" y="369"/>
                    <a:pt x="968" y="369"/>
                  </a:cubicBezTo>
                  <a:cubicBezTo>
                    <a:pt x="956" y="369"/>
                    <a:pt x="956" y="369"/>
                    <a:pt x="956" y="369"/>
                  </a:cubicBezTo>
                  <a:cubicBezTo>
                    <a:pt x="949" y="364"/>
                    <a:pt x="949" y="364"/>
                    <a:pt x="949" y="364"/>
                  </a:cubicBezTo>
                  <a:cubicBezTo>
                    <a:pt x="945" y="362"/>
                    <a:pt x="945" y="362"/>
                    <a:pt x="945" y="362"/>
                  </a:cubicBezTo>
                  <a:cubicBezTo>
                    <a:pt x="945" y="361"/>
                    <a:pt x="945" y="361"/>
                    <a:pt x="945" y="361"/>
                  </a:cubicBezTo>
                  <a:cubicBezTo>
                    <a:pt x="944" y="361"/>
                    <a:pt x="944" y="361"/>
                    <a:pt x="944" y="361"/>
                  </a:cubicBezTo>
                  <a:cubicBezTo>
                    <a:pt x="944" y="360"/>
                    <a:pt x="944" y="360"/>
                    <a:pt x="944" y="360"/>
                  </a:cubicBezTo>
                  <a:cubicBezTo>
                    <a:pt x="944" y="360"/>
                    <a:pt x="944" y="360"/>
                    <a:pt x="944" y="360"/>
                  </a:cubicBezTo>
                  <a:cubicBezTo>
                    <a:pt x="944" y="360"/>
                    <a:pt x="944" y="360"/>
                    <a:pt x="944" y="360"/>
                  </a:cubicBezTo>
                  <a:cubicBezTo>
                    <a:pt x="945" y="360"/>
                    <a:pt x="945" y="360"/>
                    <a:pt x="945" y="360"/>
                  </a:cubicBezTo>
                  <a:cubicBezTo>
                    <a:pt x="945" y="360"/>
                    <a:pt x="945" y="360"/>
                    <a:pt x="945" y="360"/>
                  </a:cubicBezTo>
                  <a:cubicBezTo>
                    <a:pt x="945" y="360"/>
                    <a:pt x="945" y="360"/>
                    <a:pt x="945" y="360"/>
                  </a:cubicBezTo>
                  <a:cubicBezTo>
                    <a:pt x="945" y="360"/>
                    <a:pt x="945" y="360"/>
                    <a:pt x="945" y="360"/>
                  </a:cubicBezTo>
                  <a:cubicBezTo>
                    <a:pt x="946" y="360"/>
                    <a:pt x="946" y="360"/>
                    <a:pt x="946" y="360"/>
                  </a:cubicBezTo>
                  <a:cubicBezTo>
                    <a:pt x="946" y="360"/>
                    <a:pt x="946" y="360"/>
                    <a:pt x="946" y="360"/>
                  </a:cubicBezTo>
                  <a:cubicBezTo>
                    <a:pt x="946" y="360"/>
                    <a:pt x="946" y="360"/>
                    <a:pt x="946" y="360"/>
                  </a:cubicBezTo>
                  <a:cubicBezTo>
                    <a:pt x="946" y="360"/>
                    <a:pt x="946" y="360"/>
                    <a:pt x="946" y="360"/>
                  </a:cubicBezTo>
                  <a:cubicBezTo>
                    <a:pt x="948" y="359"/>
                    <a:pt x="948" y="359"/>
                    <a:pt x="948" y="359"/>
                  </a:cubicBezTo>
                  <a:cubicBezTo>
                    <a:pt x="947" y="352"/>
                    <a:pt x="947" y="352"/>
                    <a:pt x="947" y="352"/>
                  </a:cubicBezTo>
                  <a:cubicBezTo>
                    <a:pt x="947" y="351"/>
                    <a:pt x="947" y="351"/>
                    <a:pt x="947" y="351"/>
                  </a:cubicBezTo>
                  <a:cubicBezTo>
                    <a:pt x="948" y="350"/>
                    <a:pt x="948" y="350"/>
                    <a:pt x="948" y="350"/>
                  </a:cubicBezTo>
                  <a:cubicBezTo>
                    <a:pt x="949" y="348"/>
                    <a:pt x="949" y="348"/>
                    <a:pt x="949" y="348"/>
                  </a:cubicBezTo>
                  <a:cubicBezTo>
                    <a:pt x="949" y="347"/>
                    <a:pt x="949" y="347"/>
                    <a:pt x="949" y="347"/>
                  </a:cubicBezTo>
                  <a:cubicBezTo>
                    <a:pt x="949" y="347"/>
                    <a:pt x="949" y="347"/>
                    <a:pt x="949" y="347"/>
                  </a:cubicBezTo>
                  <a:cubicBezTo>
                    <a:pt x="948" y="346"/>
                    <a:pt x="948" y="346"/>
                    <a:pt x="948" y="346"/>
                  </a:cubicBezTo>
                  <a:cubicBezTo>
                    <a:pt x="948" y="346"/>
                    <a:pt x="948" y="346"/>
                    <a:pt x="948" y="346"/>
                  </a:cubicBezTo>
                  <a:cubicBezTo>
                    <a:pt x="946" y="345"/>
                    <a:pt x="946" y="345"/>
                    <a:pt x="946" y="345"/>
                  </a:cubicBezTo>
                  <a:cubicBezTo>
                    <a:pt x="946" y="345"/>
                    <a:pt x="946" y="345"/>
                    <a:pt x="946" y="345"/>
                  </a:cubicBezTo>
                  <a:cubicBezTo>
                    <a:pt x="946" y="344"/>
                    <a:pt x="946" y="344"/>
                    <a:pt x="946" y="344"/>
                  </a:cubicBezTo>
                  <a:cubicBezTo>
                    <a:pt x="946" y="344"/>
                    <a:pt x="946" y="344"/>
                    <a:pt x="946" y="344"/>
                  </a:cubicBezTo>
                  <a:cubicBezTo>
                    <a:pt x="946" y="343"/>
                    <a:pt x="946" y="343"/>
                    <a:pt x="946" y="343"/>
                  </a:cubicBezTo>
                  <a:cubicBezTo>
                    <a:pt x="947" y="342"/>
                    <a:pt x="947" y="342"/>
                    <a:pt x="947" y="342"/>
                  </a:cubicBezTo>
                  <a:cubicBezTo>
                    <a:pt x="948" y="339"/>
                    <a:pt x="948" y="339"/>
                    <a:pt x="948" y="339"/>
                  </a:cubicBezTo>
                  <a:cubicBezTo>
                    <a:pt x="948" y="338"/>
                    <a:pt x="948" y="338"/>
                    <a:pt x="948" y="338"/>
                  </a:cubicBezTo>
                  <a:cubicBezTo>
                    <a:pt x="948" y="337"/>
                    <a:pt x="948" y="337"/>
                    <a:pt x="948" y="337"/>
                  </a:cubicBezTo>
                  <a:cubicBezTo>
                    <a:pt x="948" y="337"/>
                    <a:pt x="948" y="337"/>
                    <a:pt x="948" y="337"/>
                  </a:cubicBezTo>
                  <a:cubicBezTo>
                    <a:pt x="948" y="336"/>
                    <a:pt x="948" y="336"/>
                    <a:pt x="948" y="336"/>
                  </a:cubicBezTo>
                  <a:cubicBezTo>
                    <a:pt x="948" y="336"/>
                    <a:pt x="948" y="336"/>
                    <a:pt x="948" y="336"/>
                  </a:cubicBezTo>
                  <a:cubicBezTo>
                    <a:pt x="947" y="336"/>
                    <a:pt x="947" y="336"/>
                    <a:pt x="947" y="336"/>
                  </a:cubicBezTo>
                  <a:cubicBezTo>
                    <a:pt x="947" y="336"/>
                    <a:pt x="946" y="335"/>
                    <a:pt x="946" y="335"/>
                  </a:cubicBezTo>
                  <a:cubicBezTo>
                    <a:pt x="946" y="335"/>
                    <a:pt x="946" y="335"/>
                    <a:pt x="946" y="335"/>
                  </a:cubicBezTo>
                  <a:cubicBezTo>
                    <a:pt x="945" y="335"/>
                    <a:pt x="945" y="335"/>
                    <a:pt x="945" y="335"/>
                  </a:cubicBezTo>
                  <a:cubicBezTo>
                    <a:pt x="945" y="335"/>
                    <a:pt x="945" y="335"/>
                    <a:pt x="945" y="335"/>
                  </a:cubicBezTo>
                  <a:cubicBezTo>
                    <a:pt x="945" y="336"/>
                    <a:pt x="945" y="336"/>
                    <a:pt x="945" y="336"/>
                  </a:cubicBezTo>
                  <a:cubicBezTo>
                    <a:pt x="945" y="336"/>
                    <a:pt x="945" y="336"/>
                    <a:pt x="945" y="336"/>
                  </a:cubicBezTo>
                  <a:cubicBezTo>
                    <a:pt x="945" y="336"/>
                    <a:pt x="945" y="336"/>
                    <a:pt x="945" y="336"/>
                  </a:cubicBezTo>
                  <a:cubicBezTo>
                    <a:pt x="944" y="335"/>
                    <a:pt x="944" y="335"/>
                    <a:pt x="944" y="335"/>
                  </a:cubicBezTo>
                  <a:cubicBezTo>
                    <a:pt x="944" y="335"/>
                    <a:pt x="944" y="335"/>
                    <a:pt x="944" y="335"/>
                  </a:cubicBezTo>
                  <a:cubicBezTo>
                    <a:pt x="944" y="334"/>
                    <a:pt x="944" y="334"/>
                    <a:pt x="944" y="334"/>
                  </a:cubicBezTo>
                  <a:cubicBezTo>
                    <a:pt x="944" y="334"/>
                    <a:pt x="944" y="334"/>
                    <a:pt x="944" y="334"/>
                  </a:cubicBezTo>
                  <a:cubicBezTo>
                    <a:pt x="943" y="333"/>
                    <a:pt x="942" y="333"/>
                    <a:pt x="942" y="333"/>
                  </a:cubicBezTo>
                  <a:cubicBezTo>
                    <a:pt x="942" y="332"/>
                    <a:pt x="942" y="332"/>
                    <a:pt x="942" y="332"/>
                  </a:cubicBezTo>
                  <a:cubicBezTo>
                    <a:pt x="941" y="331"/>
                    <a:pt x="941" y="331"/>
                    <a:pt x="941" y="331"/>
                  </a:cubicBezTo>
                  <a:cubicBezTo>
                    <a:pt x="939" y="330"/>
                    <a:pt x="939" y="330"/>
                    <a:pt x="939" y="330"/>
                  </a:cubicBezTo>
                  <a:cubicBezTo>
                    <a:pt x="937" y="325"/>
                    <a:pt x="937" y="325"/>
                    <a:pt x="937" y="325"/>
                  </a:cubicBezTo>
                  <a:cubicBezTo>
                    <a:pt x="935" y="323"/>
                    <a:pt x="935" y="323"/>
                    <a:pt x="935" y="323"/>
                  </a:cubicBezTo>
                  <a:cubicBezTo>
                    <a:pt x="935" y="322"/>
                    <a:pt x="935" y="322"/>
                    <a:pt x="935" y="322"/>
                  </a:cubicBezTo>
                  <a:cubicBezTo>
                    <a:pt x="934" y="322"/>
                    <a:pt x="934" y="322"/>
                    <a:pt x="934" y="322"/>
                  </a:cubicBezTo>
                  <a:cubicBezTo>
                    <a:pt x="934" y="322"/>
                    <a:pt x="934" y="322"/>
                    <a:pt x="934" y="322"/>
                  </a:cubicBezTo>
                  <a:cubicBezTo>
                    <a:pt x="933" y="322"/>
                    <a:pt x="933" y="322"/>
                    <a:pt x="933" y="322"/>
                  </a:cubicBezTo>
                  <a:cubicBezTo>
                    <a:pt x="933" y="322"/>
                    <a:pt x="933" y="322"/>
                    <a:pt x="933" y="322"/>
                  </a:cubicBezTo>
                  <a:cubicBezTo>
                    <a:pt x="933" y="322"/>
                    <a:pt x="933" y="322"/>
                    <a:pt x="933" y="322"/>
                  </a:cubicBezTo>
                  <a:cubicBezTo>
                    <a:pt x="932" y="322"/>
                    <a:pt x="932" y="322"/>
                    <a:pt x="932" y="322"/>
                  </a:cubicBezTo>
                  <a:cubicBezTo>
                    <a:pt x="932" y="322"/>
                    <a:pt x="932" y="322"/>
                    <a:pt x="932" y="322"/>
                  </a:cubicBezTo>
                  <a:cubicBezTo>
                    <a:pt x="932" y="322"/>
                    <a:pt x="932" y="322"/>
                    <a:pt x="932" y="322"/>
                  </a:cubicBezTo>
                  <a:cubicBezTo>
                    <a:pt x="930" y="322"/>
                    <a:pt x="927" y="322"/>
                    <a:pt x="925" y="323"/>
                  </a:cubicBezTo>
                  <a:cubicBezTo>
                    <a:pt x="924" y="323"/>
                    <a:pt x="924" y="323"/>
                    <a:pt x="924" y="323"/>
                  </a:cubicBezTo>
                  <a:cubicBezTo>
                    <a:pt x="924" y="323"/>
                    <a:pt x="924" y="323"/>
                    <a:pt x="924" y="323"/>
                  </a:cubicBezTo>
                  <a:cubicBezTo>
                    <a:pt x="924" y="323"/>
                    <a:pt x="924" y="323"/>
                    <a:pt x="924" y="323"/>
                  </a:cubicBezTo>
                  <a:cubicBezTo>
                    <a:pt x="923" y="323"/>
                    <a:pt x="923" y="323"/>
                    <a:pt x="923" y="323"/>
                  </a:cubicBezTo>
                  <a:cubicBezTo>
                    <a:pt x="923" y="323"/>
                    <a:pt x="923" y="323"/>
                    <a:pt x="923" y="323"/>
                  </a:cubicBezTo>
                  <a:cubicBezTo>
                    <a:pt x="923" y="323"/>
                    <a:pt x="923" y="323"/>
                    <a:pt x="923" y="323"/>
                  </a:cubicBezTo>
                  <a:cubicBezTo>
                    <a:pt x="922" y="323"/>
                    <a:pt x="922" y="323"/>
                    <a:pt x="922" y="323"/>
                  </a:cubicBezTo>
                  <a:cubicBezTo>
                    <a:pt x="920" y="324"/>
                    <a:pt x="920" y="324"/>
                    <a:pt x="920" y="324"/>
                  </a:cubicBezTo>
                  <a:cubicBezTo>
                    <a:pt x="894" y="331"/>
                    <a:pt x="894" y="331"/>
                    <a:pt x="894" y="331"/>
                  </a:cubicBezTo>
                  <a:cubicBezTo>
                    <a:pt x="894" y="332"/>
                    <a:pt x="894" y="332"/>
                    <a:pt x="894" y="332"/>
                  </a:cubicBezTo>
                  <a:cubicBezTo>
                    <a:pt x="894" y="332"/>
                    <a:pt x="894" y="332"/>
                    <a:pt x="894" y="332"/>
                  </a:cubicBezTo>
                  <a:cubicBezTo>
                    <a:pt x="894" y="332"/>
                    <a:pt x="894" y="332"/>
                    <a:pt x="894" y="332"/>
                  </a:cubicBezTo>
                  <a:cubicBezTo>
                    <a:pt x="894" y="332"/>
                    <a:pt x="894" y="332"/>
                    <a:pt x="894" y="332"/>
                  </a:cubicBezTo>
                  <a:cubicBezTo>
                    <a:pt x="894" y="332"/>
                    <a:pt x="894" y="332"/>
                    <a:pt x="894" y="332"/>
                  </a:cubicBezTo>
                  <a:cubicBezTo>
                    <a:pt x="894" y="333"/>
                    <a:pt x="894" y="333"/>
                    <a:pt x="894" y="333"/>
                  </a:cubicBezTo>
                  <a:cubicBezTo>
                    <a:pt x="894" y="334"/>
                    <a:pt x="893" y="334"/>
                    <a:pt x="893" y="335"/>
                  </a:cubicBezTo>
                  <a:cubicBezTo>
                    <a:pt x="894" y="335"/>
                    <a:pt x="894" y="335"/>
                    <a:pt x="894" y="335"/>
                  </a:cubicBezTo>
                  <a:cubicBezTo>
                    <a:pt x="894" y="335"/>
                    <a:pt x="894" y="335"/>
                    <a:pt x="894" y="335"/>
                  </a:cubicBezTo>
                  <a:cubicBezTo>
                    <a:pt x="894" y="336"/>
                    <a:pt x="894" y="336"/>
                    <a:pt x="894" y="336"/>
                  </a:cubicBezTo>
                  <a:cubicBezTo>
                    <a:pt x="896" y="338"/>
                    <a:pt x="891" y="341"/>
                    <a:pt x="892" y="342"/>
                  </a:cubicBezTo>
                  <a:cubicBezTo>
                    <a:pt x="892" y="342"/>
                    <a:pt x="892" y="342"/>
                    <a:pt x="892" y="342"/>
                  </a:cubicBezTo>
                  <a:cubicBezTo>
                    <a:pt x="892" y="343"/>
                    <a:pt x="892" y="343"/>
                    <a:pt x="892" y="343"/>
                  </a:cubicBezTo>
                  <a:cubicBezTo>
                    <a:pt x="892" y="343"/>
                    <a:pt x="892" y="343"/>
                    <a:pt x="892" y="343"/>
                  </a:cubicBezTo>
                  <a:cubicBezTo>
                    <a:pt x="893" y="343"/>
                    <a:pt x="893" y="343"/>
                    <a:pt x="893" y="343"/>
                  </a:cubicBezTo>
                  <a:cubicBezTo>
                    <a:pt x="893" y="343"/>
                    <a:pt x="893" y="343"/>
                    <a:pt x="893" y="343"/>
                  </a:cubicBezTo>
                  <a:cubicBezTo>
                    <a:pt x="893" y="343"/>
                    <a:pt x="893" y="343"/>
                    <a:pt x="893" y="343"/>
                  </a:cubicBezTo>
                  <a:cubicBezTo>
                    <a:pt x="895" y="345"/>
                    <a:pt x="897" y="346"/>
                    <a:pt x="898" y="348"/>
                  </a:cubicBezTo>
                  <a:cubicBezTo>
                    <a:pt x="898" y="348"/>
                    <a:pt x="898" y="348"/>
                    <a:pt x="898" y="348"/>
                  </a:cubicBezTo>
                  <a:cubicBezTo>
                    <a:pt x="898" y="348"/>
                    <a:pt x="898" y="348"/>
                    <a:pt x="898" y="348"/>
                  </a:cubicBezTo>
                  <a:cubicBezTo>
                    <a:pt x="900" y="351"/>
                    <a:pt x="899" y="350"/>
                    <a:pt x="900" y="352"/>
                  </a:cubicBezTo>
                  <a:cubicBezTo>
                    <a:pt x="900" y="353"/>
                    <a:pt x="900" y="353"/>
                    <a:pt x="900" y="353"/>
                  </a:cubicBezTo>
                  <a:cubicBezTo>
                    <a:pt x="900" y="353"/>
                    <a:pt x="900" y="353"/>
                    <a:pt x="900" y="353"/>
                  </a:cubicBezTo>
                  <a:cubicBezTo>
                    <a:pt x="900" y="353"/>
                    <a:pt x="900" y="353"/>
                    <a:pt x="900" y="353"/>
                  </a:cubicBezTo>
                  <a:cubicBezTo>
                    <a:pt x="900" y="353"/>
                    <a:pt x="900" y="353"/>
                    <a:pt x="900" y="353"/>
                  </a:cubicBezTo>
                  <a:cubicBezTo>
                    <a:pt x="900" y="353"/>
                    <a:pt x="900" y="353"/>
                    <a:pt x="900" y="353"/>
                  </a:cubicBezTo>
                  <a:cubicBezTo>
                    <a:pt x="900" y="354"/>
                    <a:pt x="900" y="354"/>
                    <a:pt x="900" y="354"/>
                  </a:cubicBezTo>
                  <a:cubicBezTo>
                    <a:pt x="900" y="354"/>
                    <a:pt x="900" y="354"/>
                    <a:pt x="900" y="354"/>
                  </a:cubicBezTo>
                  <a:cubicBezTo>
                    <a:pt x="901" y="354"/>
                    <a:pt x="901" y="354"/>
                    <a:pt x="901" y="354"/>
                  </a:cubicBezTo>
                  <a:cubicBezTo>
                    <a:pt x="901" y="354"/>
                    <a:pt x="901" y="354"/>
                    <a:pt x="901" y="354"/>
                  </a:cubicBezTo>
                  <a:cubicBezTo>
                    <a:pt x="901" y="354"/>
                    <a:pt x="901" y="354"/>
                    <a:pt x="901" y="354"/>
                  </a:cubicBezTo>
                  <a:cubicBezTo>
                    <a:pt x="901" y="354"/>
                    <a:pt x="901" y="354"/>
                    <a:pt x="901" y="354"/>
                  </a:cubicBezTo>
                  <a:cubicBezTo>
                    <a:pt x="901" y="355"/>
                    <a:pt x="901" y="355"/>
                    <a:pt x="901" y="355"/>
                  </a:cubicBezTo>
                  <a:cubicBezTo>
                    <a:pt x="901" y="355"/>
                    <a:pt x="901" y="355"/>
                    <a:pt x="901" y="355"/>
                  </a:cubicBezTo>
                  <a:cubicBezTo>
                    <a:pt x="901" y="355"/>
                    <a:pt x="901" y="355"/>
                    <a:pt x="901" y="355"/>
                  </a:cubicBezTo>
                  <a:cubicBezTo>
                    <a:pt x="901" y="355"/>
                    <a:pt x="901" y="355"/>
                    <a:pt x="901" y="355"/>
                  </a:cubicBezTo>
                  <a:cubicBezTo>
                    <a:pt x="901" y="355"/>
                    <a:pt x="901" y="355"/>
                    <a:pt x="901" y="355"/>
                  </a:cubicBezTo>
                  <a:cubicBezTo>
                    <a:pt x="901" y="355"/>
                    <a:pt x="901" y="355"/>
                    <a:pt x="901" y="355"/>
                  </a:cubicBezTo>
                  <a:cubicBezTo>
                    <a:pt x="901" y="356"/>
                    <a:pt x="901" y="356"/>
                    <a:pt x="901" y="356"/>
                  </a:cubicBezTo>
                  <a:cubicBezTo>
                    <a:pt x="901" y="356"/>
                    <a:pt x="901" y="356"/>
                    <a:pt x="901" y="356"/>
                  </a:cubicBezTo>
                  <a:cubicBezTo>
                    <a:pt x="901" y="357"/>
                    <a:pt x="901" y="357"/>
                    <a:pt x="901" y="357"/>
                  </a:cubicBezTo>
                  <a:cubicBezTo>
                    <a:pt x="901" y="358"/>
                    <a:pt x="901" y="358"/>
                    <a:pt x="901" y="358"/>
                  </a:cubicBezTo>
                  <a:cubicBezTo>
                    <a:pt x="900" y="362"/>
                    <a:pt x="900" y="362"/>
                    <a:pt x="900" y="362"/>
                  </a:cubicBezTo>
                  <a:cubicBezTo>
                    <a:pt x="899" y="364"/>
                    <a:pt x="899" y="364"/>
                    <a:pt x="899" y="364"/>
                  </a:cubicBezTo>
                  <a:cubicBezTo>
                    <a:pt x="899" y="365"/>
                    <a:pt x="899" y="365"/>
                    <a:pt x="899" y="365"/>
                  </a:cubicBezTo>
                  <a:cubicBezTo>
                    <a:pt x="899" y="365"/>
                    <a:pt x="899" y="365"/>
                    <a:pt x="899" y="365"/>
                  </a:cubicBezTo>
                  <a:cubicBezTo>
                    <a:pt x="899" y="365"/>
                    <a:pt x="899" y="365"/>
                    <a:pt x="899" y="365"/>
                  </a:cubicBezTo>
                  <a:cubicBezTo>
                    <a:pt x="898" y="366"/>
                    <a:pt x="898" y="366"/>
                    <a:pt x="898" y="366"/>
                  </a:cubicBezTo>
                  <a:cubicBezTo>
                    <a:pt x="896" y="367"/>
                    <a:pt x="893" y="369"/>
                    <a:pt x="891" y="371"/>
                  </a:cubicBezTo>
                  <a:cubicBezTo>
                    <a:pt x="889" y="372"/>
                    <a:pt x="889" y="372"/>
                    <a:pt x="889" y="372"/>
                  </a:cubicBezTo>
                  <a:cubicBezTo>
                    <a:pt x="886" y="376"/>
                    <a:pt x="886" y="376"/>
                    <a:pt x="886" y="376"/>
                  </a:cubicBezTo>
                  <a:cubicBezTo>
                    <a:pt x="884" y="377"/>
                    <a:pt x="884" y="377"/>
                    <a:pt x="884" y="377"/>
                  </a:cubicBezTo>
                  <a:cubicBezTo>
                    <a:pt x="884" y="378"/>
                    <a:pt x="884" y="378"/>
                    <a:pt x="884" y="378"/>
                  </a:cubicBezTo>
                  <a:cubicBezTo>
                    <a:pt x="884" y="378"/>
                    <a:pt x="884" y="378"/>
                    <a:pt x="884" y="378"/>
                  </a:cubicBezTo>
                  <a:cubicBezTo>
                    <a:pt x="884" y="378"/>
                    <a:pt x="884" y="378"/>
                    <a:pt x="884" y="378"/>
                  </a:cubicBezTo>
                  <a:cubicBezTo>
                    <a:pt x="884" y="378"/>
                    <a:pt x="884" y="378"/>
                    <a:pt x="884" y="378"/>
                  </a:cubicBezTo>
                  <a:cubicBezTo>
                    <a:pt x="884" y="379"/>
                    <a:pt x="884" y="379"/>
                    <a:pt x="884" y="379"/>
                  </a:cubicBezTo>
                  <a:cubicBezTo>
                    <a:pt x="885" y="380"/>
                    <a:pt x="884" y="381"/>
                    <a:pt x="884" y="382"/>
                  </a:cubicBezTo>
                  <a:cubicBezTo>
                    <a:pt x="883" y="385"/>
                    <a:pt x="883" y="385"/>
                    <a:pt x="883" y="385"/>
                  </a:cubicBezTo>
                  <a:cubicBezTo>
                    <a:pt x="883" y="387"/>
                    <a:pt x="883" y="387"/>
                    <a:pt x="883" y="387"/>
                  </a:cubicBezTo>
                  <a:cubicBezTo>
                    <a:pt x="882" y="388"/>
                    <a:pt x="882" y="388"/>
                    <a:pt x="882" y="388"/>
                  </a:cubicBezTo>
                  <a:cubicBezTo>
                    <a:pt x="882" y="388"/>
                    <a:pt x="882" y="388"/>
                    <a:pt x="882" y="388"/>
                  </a:cubicBezTo>
                  <a:cubicBezTo>
                    <a:pt x="882" y="388"/>
                    <a:pt x="882" y="388"/>
                    <a:pt x="882" y="388"/>
                  </a:cubicBezTo>
                  <a:cubicBezTo>
                    <a:pt x="881" y="388"/>
                    <a:pt x="881" y="388"/>
                    <a:pt x="881" y="388"/>
                  </a:cubicBezTo>
                  <a:cubicBezTo>
                    <a:pt x="881" y="388"/>
                    <a:pt x="881" y="388"/>
                    <a:pt x="881" y="388"/>
                  </a:cubicBezTo>
                  <a:cubicBezTo>
                    <a:pt x="881" y="388"/>
                    <a:pt x="881" y="388"/>
                    <a:pt x="881" y="388"/>
                  </a:cubicBezTo>
                  <a:cubicBezTo>
                    <a:pt x="881" y="389"/>
                    <a:pt x="881" y="389"/>
                    <a:pt x="881" y="389"/>
                  </a:cubicBezTo>
                  <a:cubicBezTo>
                    <a:pt x="880" y="389"/>
                    <a:pt x="880" y="389"/>
                    <a:pt x="880" y="389"/>
                  </a:cubicBezTo>
                  <a:cubicBezTo>
                    <a:pt x="880" y="389"/>
                    <a:pt x="880" y="389"/>
                    <a:pt x="880" y="389"/>
                  </a:cubicBezTo>
                  <a:cubicBezTo>
                    <a:pt x="880" y="389"/>
                    <a:pt x="880" y="389"/>
                    <a:pt x="880" y="389"/>
                  </a:cubicBezTo>
                  <a:cubicBezTo>
                    <a:pt x="878" y="390"/>
                    <a:pt x="877" y="392"/>
                    <a:pt x="876" y="392"/>
                  </a:cubicBezTo>
                  <a:cubicBezTo>
                    <a:pt x="875" y="393"/>
                    <a:pt x="875" y="393"/>
                    <a:pt x="875" y="393"/>
                  </a:cubicBezTo>
                  <a:cubicBezTo>
                    <a:pt x="875" y="393"/>
                    <a:pt x="875" y="393"/>
                    <a:pt x="875" y="393"/>
                  </a:cubicBezTo>
                  <a:cubicBezTo>
                    <a:pt x="874" y="393"/>
                    <a:pt x="874" y="393"/>
                    <a:pt x="873" y="393"/>
                  </a:cubicBezTo>
                  <a:cubicBezTo>
                    <a:pt x="873" y="393"/>
                    <a:pt x="873" y="393"/>
                    <a:pt x="873" y="393"/>
                  </a:cubicBezTo>
                  <a:cubicBezTo>
                    <a:pt x="873" y="393"/>
                    <a:pt x="873" y="393"/>
                    <a:pt x="873" y="393"/>
                  </a:cubicBezTo>
                  <a:cubicBezTo>
                    <a:pt x="872" y="393"/>
                    <a:pt x="872" y="393"/>
                    <a:pt x="872" y="393"/>
                  </a:cubicBezTo>
                  <a:cubicBezTo>
                    <a:pt x="872" y="393"/>
                    <a:pt x="872" y="393"/>
                    <a:pt x="872" y="393"/>
                  </a:cubicBezTo>
                  <a:cubicBezTo>
                    <a:pt x="872" y="394"/>
                    <a:pt x="872" y="394"/>
                    <a:pt x="872" y="394"/>
                  </a:cubicBezTo>
                  <a:cubicBezTo>
                    <a:pt x="869" y="394"/>
                    <a:pt x="868" y="396"/>
                    <a:pt x="866" y="398"/>
                  </a:cubicBezTo>
                  <a:cubicBezTo>
                    <a:pt x="865" y="398"/>
                    <a:pt x="865" y="398"/>
                    <a:pt x="865" y="398"/>
                  </a:cubicBezTo>
                  <a:cubicBezTo>
                    <a:pt x="865" y="398"/>
                    <a:pt x="865" y="398"/>
                    <a:pt x="865" y="398"/>
                  </a:cubicBezTo>
                  <a:cubicBezTo>
                    <a:pt x="864" y="398"/>
                    <a:pt x="864" y="398"/>
                    <a:pt x="864" y="398"/>
                  </a:cubicBezTo>
                  <a:cubicBezTo>
                    <a:pt x="864" y="398"/>
                    <a:pt x="864" y="398"/>
                    <a:pt x="863" y="399"/>
                  </a:cubicBezTo>
                  <a:cubicBezTo>
                    <a:pt x="862" y="399"/>
                    <a:pt x="862" y="399"/>
                    <a:pt x="862" y="399"/>
                  </a:cubicBezTo>
                  <a:cubicBezTo>
                    <a:pt x="862" y="399"/>
                    <a:pt x="862" y="399"/>
                    <a:pt x="862" y="399"/>
                  </a:cubicBezTo>
                  <a:cubicBezTo>
                    <a:pt x="862" y="399"/>
                    <a:pt x="862" y="399"/>
                    <a:pt x="862" y="399"/>
                  </a:cubicBezTo>
                  <a:cubicBezTo>
                    <a:pt x="861" y="399"/>
                    <a:pt x="861" y="399"/>
                    <a:pt x="861" y="399"/>
                  </a:cubicBezTo>
                  <a:cubicBezTo>
                    <a:pt x="861" y="399"/>
                    <a:pt x="861" y="399"/>
                    <a:pt x="861" y="399"/>
                  </a:cubicBezTo>
                  <a:cubicBezTo>
                    <a:pt x="861" y="399"/>
                    <a:pt x="861" y="399"/>
                    <a:pt x="861" y="399"/>
                  </a:cubicBezTo>
                  <a:cubicBezTo>
                    <a:pt x="861" y="399"/>
                    <a:pt x="861" y="399"/>
                    <a:pt x="861" y="399"/>
                  </a:cubicBezTo>
                  <a:cubicBezTo>
                    <a:pt x="860" y="399"/>
                    <a:pt x="860" y="399"/>
                    <a:pt x="860" y="399"/>
                  </a:cubicBezTo>
                  <a:cubicBezTo>
                    <a:pt x="858" y="400"/>
                    <a:pt x="858" y="400"/>
                    <a:pt x="858" y="400"/>
                  </a:cubicBezTo>
                  <a:cubicBezTo>
                    <a:pt x="855" y="402"/>
                    <a:pt x="855" y="402"/>
                    <a:pt x="855" y="402"/>
                  </a:cubicBezTo>
                  <a:cubicBezTo>
                    <a:pt x="854" y="402"/>
                    <a:pt x="854" y="402"/>
                    <a:pt x="854" y="402"/>
                  </a:cubicBezTo>
                  <a:cubicBezTo>
                    <a:pt x="853" y="403"/>
                    <a:pt x="853" y="403"/>
                    <a:pt x="853" y="403"/>
                  </a:cubicBezTo>
                  <a:cubicBezTo>
                    <a:pt x="853" y="403"/>
                    <a:pt x="853" y="403"/>
                    <a:pt x="853" y="403"/>
                  </a:cubicBezTo>
                  <a:cubicBezTo>
                    <a:pt x="854" y="403"/>
                    <a:pt x="854" y="403"/>
                    <a:pt x="854" y="403"/>
                  </a:cubicBezTo>
                  <a:cubicBezTo>
                    <a:pt x="854" y="403"/>
                    <a:pt x="854" y="403"/>
                    <a:pt x="854" y="403"/>
                  </a:cubicBezTo>
                  <a:cubicBezTo>
                    <a:pt x="854" y="403"/>
                    <a:pt x="854" y="403"/>
                    <a:pt x="854" y="403"/>
                  </a:cubicBezTo>
                  <a:cubicBezTo>
                    <a:pt x="855" y="403"/>
                    <a:pt x="855" y="403"/>
                    <a:pt x="855" y="403"/>
                  </a:cubicBezTo>
                  <a:cubicBezTo>
                    <a:pt x="855" y="403"/>
                    <a:pt x="855" y="403"/>
                    <a:pt x="855" y="403"/>
                  </a:cubicBezTo>
                  <a:cubicBezTo>
                    <a:pt x="854" y="403"/>
                    <a:pt x="854" y="403"/>
                    <a:pt x="854" y="403"/>
                  </a:cubicBezTo>
                  <a:cubicBezTo>
                    <a:pt x="854" y="404"/>
                    <a:pt x="854" y="404"/>
                    <a:pt x="854" y="404"/>
                  </a:cubicBezTo>
                  <a:cubicBezTo>
                    <a:pt x="854" y="404"/>
                    <a:pt x="854" y="404"/>
                    <a:pt x="854" y="404"/>
                  </a:cubicBezTo>
                  <a:cubicBezTo>
                    <a:pt x="854" y="405"/>
                    <a:pt x="854" y="405"/>
                    <a:pt x="854" y="405"/>
                  </a:cubicBezTo>
                  <a:cubicBezTo>
                    <a:pt x="854" y="406"/>
                    <a:pt x="854" y="406"/>
                    <a:pt x="854" y="406"/>
                  </a:cubicBezTo>
                  <a:cubicBezTo>
                    <a:pt x="854" y="408"/>
                    <a:pt x="854" y="408"/>
                    <a:pt x="854" y="408"/>
                  </a:cubicBezTo>
                  <a:cubicBezTo>
                    <a:pt x="854" y="409"/>
                    <a:pt x="854" y="409"/>
                    <a:pt x="854" y="409"/>
                  </a:cubicBezTo>
                  <a:cubicBezTo>
                    <a:pt x="853" y="410"/>
                    <a:pt x="853" y="410"/>
                    <a:pt x="853" y="410"/>
                  </a:cubicBezTo>
                  <a:cubicBezTo>
                    <a:pt x="853" y="410"/>
                    <a:pt x="853" y="410"/>
                    <a:pt x="853" y="410"/>
                  </a:cubicBezTo>
                  <a:cubicBezTo>
                    <a:pt x="852" y="410"/>
                    <a:pt x="852" y="410"/>
                    <a:pt x="852" y="410"/>
                  </a:cubicBezTo>
                  <a:cubicBezTo>
                    <a:pt x="851" y="410"/>
                    <a:pt x="851" y="410"/>
                    <a:pt x="851" y="410"/>
                  </a:cubicBezTo>
                  <a:cubicBezTo>
                    <a:pt x="851" y="411"/>
                    <a:pt x="851" y="411"/>
                    <a:pt x="851" y="411"/>
                  </a:cubicBezTo>
                  <a:cubicBezTo>
                    <a:pt x="850" y="411"/>
                    <a:pt x="850" y="411"/>
                    <a:pt x="850" y="411"/>
                  </a:cubicBezTo>
                  <a:cubicBezTo>
                    <a:pt x="849" y="411"/>
                    <a:pt x="849" y="411"/>
                    <a:pt x="849" y="411"/>
                  </a:cubicBezTo>
                  <a:cubicBezTo>
                    <a:pt x="848" y="411"/>
                    <a:pt x="848" y="411"/>
                    <a:pt x="848" y="411"/>
                  </a:cubicBezTo>
                  <a:cubicBezTo>
                    <a:pt x="848" y="412"/>
                    <a:pt x="848" y="412"/>
                    <a:pt x="848" y="412"/>
                  </a:cubicBezTo>
                  <a:cubicBezTo>
                    <a:pt x="847" y="412"/>
                    <a:pt x="847" y="412"/>
                    <a:pt x="847" y="412"/>
                  </a:cubicBezTo>
                  <a:cubicBezTo>
                    <a:pt x="847" y="412"/>
                    <a:pt x="847" y="412"/>
                    <a:pt x="847" y="412"/>
                  </a:cubicBezTo>
                  <a:cubicBezTo>
                    <a:pt x="847" y="411"/>
                    <a:pt x="847" y="411"/>
                    <a:pt x="847" y="411"/>
                  </a:cubicBezTo>
                  <a:cubicBezTo>
                    <a:pt x="847" y="411"/>
                    <a:pt x="847" y="411"/>
                    <a:pt x="847" y="411"/>
                  </a:cubicBezTo>
                  <a:cubicBezTo>
                    <a:pt x="847" y="411"/>
                    <a:pt x="847" y="411"/>
                    <a:pt x="847" y="411"/>
                  </a:cubicBezTo>
                  <a:cubicBezTo>
                    <a:pt x="846" y="411"/>
                    <a:pt x="846" y="411"/>
                    <a:pt x="846" y="411"/>
                  </a:cubicBezTo>
                  <a:cubicBezTo>
                    <a:pt x="846" y="411"/>
                    <a:pt x="845" y="412"/>
                    <a:pt x="844" y="411"/>
                  </a:cubicBezTo>
                  <a:cubicBezTo>
                    <a:pt x="844" y="411"/>
                    <a:pt x="844" y="411"/>
                    <a:pt x="844" y="411"/>
                  </a:cubicBezTo>
                  <a:cubicBezTo>
                    <a:pt x="843" y="411"/>
                    <a:pt x="843" y="411"/>
                    <a:pt x="843" y="411"/>
                  </a:cubicBezTo>
                  <a:cubicBezTo>
                    <a:pt x="843" y="410"/>
                    <a:pt x="843" y="409"/>
                    <a:pt x="842" y="409"/>
                  </a:cubicBezTo>
                  <a:cubicBezTo>
                    <a:pt x="842" y="409"/>
                    <a:pt x="842" y="409"/>
                    <a:pt x="842" y="409"/>
                  </a:cubicBezTo>
                  <a:cubicBezTo>
                    <a:pt x="842" y="409"/>
                    <a:pt x="842" y="409"/>
                    <a:pt x="842" y="409"/>
                  </a:cubicBezTo>
                  <a:cubicBezTo>
                    <a:pt x="841" y="409"/>
                    <a:pt x="841" y="409"/>
                    <a:pt x="841" y="409"/>
                  </a:cubicBezTo>
                  <a:cubicBezTo>
                    <a:pt x="841" y="409"/>
                    <a:pt x="841" y="409"/>
                    <a:pt x="841" y="409"/>
                  </a:cubicBezTo>
                  <a:cubicBezTo>
                    <a:pt x="841" y="408"/>
                    <a:pt x="841" y="408"/>
                    <a:pt x="841" y="408"/>
                  </a:cubicBezTo>
                  <a:cubicBezTo>
                    <a:pt x="838" y="408"/>
                    <a:pt x="837" y="407"/>
                    <a:pt x="834" y="407"/>
                  </a:cubicBezTo>
                  <a:cubicBezTo>
                    <a:pt x="833" y="407"/>
                    <a:pt x="833" y="407"/>
                    <a:pt x="833" y="407"/>
                  </a:cubicBezTo>
                  <a:cubicBezTo>
                    <a:pt x="833" y="407"/>
                    <a:pt x="833" y="407"/>
                    <a:pt x="833" y="407"/>
                  </a:cubicBezTo>
                  <a:cubicBezTo>
                    <a:pt x="831" y="407"/>
                    <a:pt x="829" y="407"/>
                    <a:pt x="827" y="407"/>
                  </a:cubicBezTo>
                  <a:cubicBezTo>
                    <a:pt x="826" y="407"/>
                    <a:pt x="826" y="407"/>
                    <a:pt x="826" y="407"/>
                  </a:cubicBezTo>
                  <a:cubicBezTo>
                    <a:pt x="826" y="407"/>
                    <a:pt x="826" y="407"/>
                    <a:pt x="826" y="407"/>
                  </a:cubicBezTo>
                  <a:cubicBezTo>
                    <a:pt x="826" y="407"/>
                    <a:pt x="826" y="407"/>
                    <a:pt x="826" y="407"/>
                  </a:cubicBezTo>
                  <a:cubicBezTo>
                    <a:pt x="825" y="407"/>
                    <a:pt x="825" y="407"/>
                    <a:pt x="825" y="407"/>
                  </a:cubicBezTo>
                  <a:cubicBezTo>
                    <a:pt x="825" y="407"/>
                    <a:pt x="825" y="407"/>
                    <a:pt x="825" y="407"/>
                  </a:cubicBezTo>
                  <a:cubicBezTo>
                    <a:pt x="817" y="408"/>
                    <a:pt x="818" y="409"/>
                    <a:pt x="810" y="406"/>
                  </a:cubicBezTo>
                  <a:cubicBezTo>
                    <a:pt x="810" y="406"/>
                    <a:pt x="810" y="406"/>
                    <a:pt x="810" y="406"/>
                  </a:cubicBezTo>
                  <a:cubicBezTo>
                    <a:pt x="810" y="406"/>
                    <a:pt x="810" y="406"/>
                    <a:pt x="810" y="406"/>
                  </a:cubicBezTo>
                  <a:cubicBezTo>
                    <a:pt x="810" y="406"/>
                    <a:pt x="810" y="406"/>
                    <a:pt x="810" y="406"/>
                  </a:cubicBezTo>
                  <a:cubicBezTo>
                    <a:pt x="806" y="406"/>
                    <a:pt x="807" y="404"/>
                    <a:pt x="803" y="403"/>
                  </a:cubicBezTo>
                  <a:cubicBezTo>
                    <a:pt x="803" y="403"/>
                    <a:pt x="803" y="403"/>
                    <a:pt x="803" y="403"/>
                  </a:cubicBezTo>
                  <a:cubicBezTo>
                    <a:pt x="803" y="403"/>
                    <a:pt x="803" y="403"/>
                    <a:pt x="803" y="403"/>
                  </a:cubicBezTo>
                  <a:cubicBezTo>
                    <a:pt x="800" y="403"/>
                    <a:pt x="798" y="403"/>
                    <a:pt x="796" y="401"/>
                  </a:cubicBezTo>
                  <a:cubicBezTo>
                    <a:pt x="795" y="401"/>
                    <a:pt x="795" y="401"/>
                    <a:pt x="795" y="401"/>
                  </a:cubicBezTo>
                  <a:cubicBezTo>
                    <a:pt x="792" y="399"/>
                    <a:pt x="792" y="399"/>
                    <a:pt x="792" y="399"/>
                  </a:cubicBezTo>
                  <a:cubicBezTo>
                    <a:pt x="790" y="394"/>
                    <a:pt x="790" y="394"/>
                    <a:pt x="790" y="394"/>
                  </a:cubicBezTo>
                  <a:cubicBezTo>
                    <a:pt x="790" y="393"/>
                    <a:pt x="790" y="393"/>
                    <a:pt x="790" y="393"/>
                  </a:cubicBezTo>
                  <a:cubicBezTo>
                    <a:pt x="796" y="393"/>
                    <a:pt x="796" y="393"/>
                    <a:pt x="796" y="393"/>
                  </a:cubicBezTo>
                  <a:cubicBezTo>
                    <a:pt x="806" y="391"/>
                    <a:pt x="806" y="391"/>
                    <a:pt x="806" y="391"/>
                  </a:cubicBezTo>
                  <a:cubicBezTo>
                    <a:pt x="807" y="391"/>
                    <a:pt x="807" y="391"/>
                    <a:pt x="807" y="391"/>
                  </a:cubicBezTo>
                  <a:cubicBezTo>
                    <a:pt x="808" y="391"/>
                    <a:pt x="808" y="391"/>
                    <a:pt x="808" y="391"/>
                  </a:cubicBezTo>
                  <a:cubicBezTo>
                    <a:pt x="808" y="392"/>
                    <a:pt x="808" y="392"/>
                    <a:pt x="808" y="392"/>
                  </a:cubicBezTo>
                  <a:cubicBezTo>
                    <a:pt x="808" y="392"/>
                    <a:pt x="808" y="392"/>
                    <a:pt x="808" y="392"/>
                  </a:cubicBezTo>
                  <a:cubicBezTo>
                    <a:pt x="809" y="392"/>
                    <a:pt x="809" y="392"/>
                    <a:pt x="809" y="392"/>
                  </a:cubicBezTo>
                  <a:cubicBezTo>
                    <a:pt x="809" y="393"/>
                    <a:pt x="809" y="393"/>
                    <a:pt x="809" y="393"/>
                  </a:cubicBezTo>
                  <a:cubicBezTo>
                    <a:pt x="811" y="394"/>
                    <a:pt x="811" y="394"/>
                    <a:pt x="811" y="394"/>
                  </a:cubicBezTo>
                  <a:cubicBezTo>
                    <a:pt x="814" y="396"/>
                    <a:pt x="814" y="396"/>
                    <a:pt x="814" y="396"/>
                  </a:cubicBezTo>
                  <a:cubicBezTo>
                    <a:pt x="815" y="397"/>
                    <a:pt x="815" y="397"/>
                    <a:pt x="815" y="397"/>
                  </a:cubicBezTo>
                  <a:cubicBezTo>
                    <a:pt x="816" y="397"/>
                    <a:pt x="816" y="397"/>
                    <a:pt x="816" y="397"/>
                  </a:cubicBezTo>
                  <a:cubicBezTo>
                    <a:pt x="817" y="397"/>
                    <a:pt x="817" y="397"/>
                    <a:pt x="817" y="397"/>
                  </a:cubicBezTo>
                  <a:cubicBezTo>
                    <a:pt x="817" y="397"/>
                    <a:pt x="817" y="397"/>
                    <a:pt x="817" y="397"/>
                  </a:cubicBezTo>
                  <a:cubicBezTo>
                    <a:pt x="818" y="397"/>
                    <a:pt x="818" y="397"/>
                    <a:pt x="818" y="397"/>
                  </a:cubicBezTo>
                  <a:cubicBezTo>
                    <a:pt x="819" y="397"/>
                    <a:pt x="819" y="397"/>
                    <a:pt x="819" y="397"/>
                  </a:cubicBezTo>
                  <a:cubicBezTo>
                    <a:pt x="819" y="397"/>
                    <a:pt x="819" y="397"/>
                    <a:pt x="819" y="397"/>
                  </a:cubicBezTo>
                  <a:cubicBezTo>
                    <a:pt x="820" y="397"/>
                    <a:pt x="820" y="397"/>
                    <a:pt x="820" y="397"/>
                  </a:cubicBezTo>
                  <a:cubicBezTo>
                    <a:pt x="820" y="396"/>
                    <a:pt x="820" y="396"/>
                    <a:pt x="820" y="396"/>
                  </a:cubicBezTo>
                  <a:cubicBezTo>
                    <a:pt x="819" y="396"/>
                    <a:pt x="819" y="396"/>
                    <a:pt x="819" y="396"/>
                  </a:cubicBezTo>
                  <a:cubicBezTo>
                    <a:pt x="819" y="396"/>
                    <a:pt x="819" y="396"/>
                    <a:pt x="819" y="396"/>
                  </a:cubicBezTo>
                  <a:cubicBezTo>
                    <a:pt x="819" y="396"/>
                    <a:pt x="819" y="396"/>
                    <a:pt x="819" y="396"/>
                  </a:cubicBezTo>
                  <a:cubicBezTo>
                    <a:pt x="818" y="396"/>
                    <a:pt x="818" y="396"/>
                    <a:pt x="818" y="396"/>
                  </a:cubicBezTo>
                  <a:cubicBezTo>
                    <a:pt x="818" y="396"/>
                    <a:pt x="818" y="396"/>
                    <a:pt x="818" y="396"/>
                  </a:cubicBezTo>
                  <a:cubicBezTo>
                    <a:pt x="818" y="396"/>
                    <a:pt x="818" y="396"/>
                    <a:pt x="818" y="396"/>
                  </a:cubicBezTo>
                  <a:cubicBezTo>
                    <a:pt x="819" y="396"/>
                    <a:pt x="820" y="396"/>
                    <a:pt x="821" y="395"/>
                  </a:cubicBezTo>
                  <a:cubicBezTo>
                    <a:pt x="821" y="395"/>
                    <a:pt x="821" y="395"/>
                    <a:pt x="821" y="395"/>
                  </a:cubicBezTo>
                  <a:cubicBezTo>
                    <a:pt x="820" y="395"/>
                    <a:pt x="820" y="395"/>
                    <a:pt x="820" y="395"/>
                  </a:cubicBezTo>
                  <a:cubicBezTo>
                    <a:pt x="820" y="395"/>
                    <a:pt x="820" y="395"/>
                    <a:pt x="820" y="395"/>
                  </a:cubicBezTo>
                  <a:cubicBezTo>
                    <a:pt x="820" y="395"/>
                    <a:pt x="820" y="395"/>
                    <a:pt x="820" y="395"/>
                  </a:cubicBezTo>
                  <a:cubicBezTo>
                    <a:pt x="820" y="395"/>
                    <a:pt x="820" y="395"/>
                    <a:pt x="820" y="395"/>
                  </a:cubicBezTo>
                  <a:cubicBezTo>
                    <a:pt x="820" y="395"/>
                    <a:pt x="820" y="395"/>
                    <a:pt x="820" y="395"/>
                  </a:cubicBezTo>
                  <a:cubicBezTo>
                    <a:pt x="820" y="395"/>
                    <a:pt x="820" y="395"/>
                    <a:pt x="820" y="395"/>
                  </a:cubicBezTo>
                  <a:cubicBezTo>
                    <a:pt x="821" y="395"/>
                    <a:pt x="821" y="395"/>
                    <a:pt x="821" y="395"/>
                  </a:cubicBezTo>
                  <a:cubicBezTo>
                    <a:pt x="822" y="395"/>
                    <a:pt x="822" y="395"/>
                    <a:pt x="822" y="395"/>
                  </a:cubicBezTo>
                  <a:cubicBezTo>
                    <a:pt x="822" y="395"/>
                    <a:pt x="822" y="395"/>
                    <a:pt x="822" y="395"/>
                  </a:cubicBezTo>
                  <a:cubicBezTo>
                    <a:pt x="823" y="395"/>
                    <a:pt x="823" y="395"/>
                    <a:pt x="823" y="395"/>
                  </a:cubicBezTo>
                  <a:cubicBezTo>
                    <a:pt x="823" y="394"/>
                    <a:pt x="823" y="394"/>
                    <a:pt x="823" y="394"/>
                  </a:cubicBezTo>
                  <a:cubicBezTo>
                    <a:pt x="823" y="394"/>
                    <a:pt x="823" y="394"/>
                    <a:pt x="823" y="394"/>
                  </a:cubicBezTo>
                  <a:cubicBezTo>
                    <a:pt x="824" y="394"/>
                    <a:pt x="824" y="394"/>
                    <a:pt x="824" y="394"/>
                  </a:cubicBezTo>
                  <a:cubicBezTo>
                    <a:pt x="843" y="390"/>
                    <a:pt x="843" y="390"/>
                    <a:pt x="843" y="390"/>
                  </a:cubicBezTo>
                  <a:cubicBezTo>
                    <a:pt x="843" y="389"/>
                    <a:pt x="843" y="389"/>
                    <a:pt x="843" y="389"/>
                  </a:cubicBezTo>
                  <a:cubicBezTo>
                    <a:pt x="843" y="389"/>
                    <a:pt x="843" y="389"/>
                    <a:pt x="843" y="389"/>
                  </a:cubicBezTo>
                  <a:cubicBezTo>
                    <a:pt x="843" y="388"/>
                    <a:pt x="845" y="388"/>
                    <a:pt x="845" y="387"/>
                  </a:cubicBezTo>
                  <a:cubicBezTo>
                    <a:pt x="845" y="387"/>
                    <a:pt x="845" y="387"/>
                    <a:pt x="845" y="387"/>
                  </a:cubicBezTo>
                  <a:cubicBezTo>
                    <a:pt x="845" y="387"/>
                    <a:pt x="845" y="387"/>
                    <a:pt x="845" y="387"/>
                  </a:cubicBezTo>
                  <a:cubicBezTo>
                    <a:pt x="845" y="387"/>
                    <a:pt x="845" y="387"/>
                    <a:pt x="845" y="387"/>
                  </a:cubicBezTo>
                  <a:cubicBezTo>
                    <a:pt x="845" y="387"/>
                    <a:pt x="845" y="387"/>
                    <a:pt x="845" y="387"/>
                  </a:cubicBezTo>
                  <a:cubicBezTo>
                    <a:pt x="846" y="386"/>
                    <a:pt x="848" y="385"/>
                    <a:pt x="849" y="384"/>
                  </a:cubicBezTo>
                  <a:cubicBezTo>
                    <a:pt x="851" y="383"/>
                    <a:pt x="851" y="383"/>
                    <a:pt x="851" y="383"/>
                  </a:cubicBezTo>
                  <a:cubicBezTo>
                    <a:pt x="851" y="382"/>
                    <a:pt x="851" y="382"/>
                    <a:pt x="851" y="382"/>
                  </a:cubicBezTo>
                  <a:cubicBezTo>
                    <a:pt x="852" y="381"/>
                    <a:pt x="852" y="381"/>
                    <a:pt x="852" y="381"/>
                  </a:cubicBezTo>
                  <a:cubicBezTo>
                    <a:pt x="852" y="381"/>
                    <a:pt x="852" y="381"/>
                    <a:pt x="852" y="381"/>
                  </a:cubicBezTo>
                  <a:cubicBezTo>
                    <a:pt x="852" y="381"/>
                    <a:pt x="852" y="381"/>
                    <a:pt x="852" y="381"/>
                  </a:cubicBezTo>
                  <a:cubicBezTo>
                    <a:pt x="852" y="381"/>
                    <a:pt x="852" y="381"/>
                    <a:pt x="852" y="381"/>
                  </a:cubicBezTo>
                  <a:cubicBezTo>
                    <a:pt x="852" y="380"/>
                    <a:pt x="852" y="380"/>
                    <a:pt x="852" y="380"/>
                  </a:cubicBezTo>
                  <a:cubicBezTo>
                    <a:pt x="851" y="380"/>
                    <a:pt x="851" y="380"/>
                    <a:pt x="851" y="380"/>
                  </a:cubicBezTo>
                  <a:cubicBezTo>
                    <a:pt x="851" y="380"/>
                    <a:pt x="851" y="380"/>
                    <a:pt x="851" y="380"/>
                  </a:cubicBezTo>
                  <a:cubicBezTo>
                    <a:pt x="851" y="380"/>
                    <a:pt x="851" y="380"/>
                    <a:pt x="851" y="380"/>
                  </a:cubicBezTo>
                  <a:cubicBezTo>
                    <a:pt x="852" y="379"/>
                    <a:pt x="852" y="379"/>
                    <a:pt x="852" y="379"/>
                  </a:cubicBezTo>
                  <a:cubicBezTo>
                    <a:pt x="852" y="379"/>
                    <a:pt x="852" y="379"/>
                    <a:pt x="852" y="379"/>
                  </a:cubicBezTo>
                  <a:cubicBezTo>
                    <a:pt x="854" y="377"/>
                    <a:pt x="854" y="377"/>
                    <a:pt x="854" y="377"/>
                  </a:cubicBezTo>
                  <a:cubicBezTo>
                    <a:pt x="855" y="377"/>
                    <a:pt x="855" y="377"/>
                    <a:pt x="855" y="377"/>
                  </a:cubicBezTo>
                  <a:cubicBezTo>
                    <a:pt x="855" y="376"/>
                    <a:pt x="855" y="376"/>
                    <a:pt x="855" y="376"/>
                  </a:cubicBezTo>
                  <a:cubicBezTo>
                    <a:pt x="855" y="376"/>
                    <a:pt x="855" y="376"/>
                    <a:pt x="855" y="376"/>
                  </a:cubicBezTo>
                  <a:cubicBezTo>
                    <a:pt x="855" y="376"/>
                    <a:pt x="855" y="376"/>
                    <a:pt x="855" y="376"/>
                  </a:cubicBezTo>
                  <a:cubicBezTo>
                    <a:pt x="856" y="376"/>
                    <a:pt x="856" y="376"/>
                    <a:pt x="856" y="376"/>
                  </a:cubicBezTo>
                  <a:cubicBezTo>
                    <a:pt x="856" y="375"/>
                    <a:pt x="856" y="375"/>
                    <a:pt x="856" y="375"/>
                  </a:cubicBezTo>
                  <a:cubicBezTo>
                    <a:pt x="856" y="375"/>
                    <a:pt x="856" y="375"/>
                    <a:pt x="856" y="375"/>
                  </a:cubicBezTo>
                  <a:cubicBezTo>
                    <a:pt x="856" y="374"/>
                    <a:pt x="856" y="375"/>
                    <a:pt x="856" y="374"/>
                  </a:cubicBezTo>
                  <a:cubicBezTo>
                    <a:pt x="856" y="373"/>
                    <a:pt x="856" y="373"/>
                    <a:pt x="856" y="373"/>
                  </a:cubicBezTo>
                  <a:cubicBezTo>
                    <a:pt x="857" y="372"/>
                    <a:pt x="857" y="372"/>
                    <a:pt x="857" y="372"/>
                  </a:cubicBezTo>
                  <a:cubicBezTo>
                    <a:pt x="859" y="371"/>
                    <a:pt x="859" y="371"/>
                    <a:pt x="859" y="371"/>
                  </a:cubicBezTo>
                  <a:cubicBezTo>
                    <a:pt x="865" y="367"/>
                    <a:pt x="865" y="367"/>
                    <a:pt x="865" y="367"/>
                  </a:cubicBezTo>
                  <a:cubicBezTo>
                    <a:pt x="868" y="365"/>
                    <a:pt x="868" y="365"/>
                    <a:pt x="868" y="365"/>
                  </a:cubicBezTo>
                  <a:cubicBezTo>
                    <a:pt x="869" y="364"/>
                    <a:pt x="869" y="364"/>
                    <a:pt x="869" y="364"/>
                  </a:cubicBezTo>
                  <a:cubicBezTo>
                    <a:pt x="869" y="364"/>
                    <a:pt x="869" y="364"/>
                    <a:pt x="869" y="364"/>
                  </a:cubicBezTo>
                  <a:cubicBezTo>
                    <a:pt x="869" y="364"/>
                    <a:pt x="869" y="363"/>
                    <a:pt x="869" y="363"/>
                  </a:cubicBezTo>
                  <a:cubicBezTo>
                    <a:pt x="869" y="363"/>
                    <a:pt x="869" y="363"/>
                    <a:pt x="869" y="363"/>
                  </a:cubicBezTo>
                  <a:cubicBezTo>
                    <a:pt x="869" y="362"/>
                    <a:pt x="869" y="362"/>
                    <a:pt x="869" y="362"/>
                  </a:cubicBezTo>
                  <a:cubicBezTo>
                    <a:pt x="869" y="362"/>
                    <a:pt x="868" y="362"/>
                    <a:pt x="868" y="362"/>
                  </a:cubicBezTo>
                  <a:cubicBezTo>
                    <a:pt x="868" y="361"/>
                    <a:pt x="868" y="361"/>
                    <a:pt x="868" y="361"/>
                  </a:cubicBezTo>
                  <a:cubicBezTo>
                    <a:pt x="868" y="361"/>
                    <a:pt x="868" y="361"/>
                    <a:pt x="868" y="361"/>
                  </a:cubicBezTo>
                  <a:cubicBezTo>
                    <a:pt x="869" y="360"/>
                    <a:pt x="869" y="360"/>
                    <a:pt x="869" y="360"/>
                  </a:cubicBezTo>
                  <a:cubicBezTo>
                    <a:pt x="870" y="360"/>
                    <a:pt x="870" y="360"/>
                    <a:pt x="870" y="360"/>
                  </a:cubicBezTo>
                  <a:cubicBezTo>
                    <a:pt x="871" y="359"/>
                    <a:pt x="870" y="359"/>
                    <a:pt x="870" y="358"/>
                  </a:cubicBezTo>
                  <a:cubicBezTo>
                    <a:pt x="870" y="358"/>
                    <a:pt x="870" y="358"/>
                    <a:pt x="870" y="358"/>
                  </a:cubicBezTo>
                  <a:cubicBezTo>
                    <a:pt x="870" y="358"/>
                    <a:pt x="870" y="358"/>
                    <a:pt x="870" y="358"/>
                  </a:cubicBezTo>
                  <a:cubicBezTo>
                    <a:pt x="870" y="358"/>
                    <a:pt x="870" y="357"/>
                    <a:pt x="870" y="357"/>
                  </a:cubicBezTo>
                  <a:cubicBezTo>
                    <a:pt x="870" y="357"/>
                    <a:pt x="870" y="357"/>
                    <a:pt x="870" y="357"/>
                  </a:cubicBezTo>
                  <a:cubicBezTo>
                    <a:pt x="870" y="357"/>
                    <a:pt x="870" y="357"/>
                    <a:pt x="870" y="357"/>
                  </a:cubicBezTo>
                  <a:cubicBezTo>
                    <a:pt x="870" y="356"/>
                    <a:pt x="870" y="356"/>
                    <a:pt x="870" y="356"/>
                  </a:cubicBezTo>
                  <a:cubicBezTo>
                    <a:pt x="870" y="356"/>
                    <a:pt x="870" y="356"/>
                    <a:pt x="870" y="356"/>
                  </a:cubicBezTo>
                  <a:cubicBezTo>
                    <a:pt x="870" y="355"/>
                    <a:pt x="870" y="355"/>
                    <a:pt x="870" y="355"/>
                  </a:cubicBezTo>
                  <a:cubicBezTo>
                    <a:pt x="870" y="355"/>
                    <a:pt x="870" y="355"/>
                    <a:pt x="870" y="355"/>
                  </a:cubicBezTo>
                  <a:cubicBezTo>
                    <a:pt x="870" y="355"/>
                    <a:pt x="870" y="355"/>
                    <a:pt x="870" y="355"/>
                  </a:cubicBezTo>
                  <a:cubicBezTo>
                    <a:pt x="870" y="355"/>
                    <a:pt x="870" y="355"/>
                    <a:pt x="870" y="355"/>
                  </a:cubicBezTo>
                  <a:cubicBezTo>
                    <a:pt x="870" y="355"/>
                    <a:pt x="870" y="355"/>
                    <a:pt x="870" y="355"/>
                  </a:cubicBezTo>
                  <a:cubicBezTo>
                    <a:pt x="870" y="355"/>
                    <a:pt x="870" y="355"/>
                    <a:pt x="870" y="355"/>
                  </a:cubicBezTo>
                  <a:cubicBezTo>
                    <a:pt x="870" y="354"/>
                    <a:pt x="870" y="354"/>
                    <a:pt x="870" y="354"/>
                  </a:cubicBezTo>
                  <a:cubicBezTo>
                    <a:pt x="870" y="354"/>
                    <a:pt x="870" y="354"/>
                    <a:pt x="870" y="354"/>
                  </a:cubicBezTo>
                  <a:cubicBezTo>
                    <a:pt x="870" y="354"/>
                    <a:pt x="870" y="354"/>
                    <a:pt x="870" y="354"/>
                  </a:cubicBezTo>
                  <a:cubicBezTo>
                    <a:pt x="870" y="354"/>
                    <a:pt x="870" y="354"/>
                    <a:pt x="870" y="354"/>
                  </a:cubicBezTo>
                  <a:cubicBezTo>
                    <a:pt x="870" y="354"/>
                    <a:pt x="870" y="354"/>
                    <a:pt x="870" y="354"/>
                  </a:cubicBezTo>
                  <a:cubicBezTo>
                    <a:pt x="870" y="354"/>
                    <a:pt x="870" y="354"/>
                    <a:pt x="870" y="354"/>
                  </a:cubicBezTo>
                  <a:cubicBezTo>
                    <a:pt x="869" y="354"/>
                    <a:pt x="869" y="354"/>
                    <a:pt x="869" y="354"/>
                  </a:cubicBezTo>
                  <a:cubicBezTo>
                    <a:pt x="869" y="353"/>
                    <a:pt x="869" y="353"/>
                    <a:pt x="869" y="353"/>
                  </a:cubicBezTo>
                  <a:cubicBezTo>
                    <a:pt x="869" y="353"/>
                    <a:pt x="869" y="353"/>
                    <a:pt x="869" y="353"/>
                  </a:cubicBezTo>
                  <a:cubicBezTo>
                    <a:pt x="869" y="352"/>
                    <a:pt x="867" y="352"/>
                    <a:pt x="868" y="350"/>
                  </a:cubicBezTo>
                  <a:cubicBezTo>
                    <a:pt x="868" y="350"/>
                    <a:pt x="868" y="350"/>
                    <a:pt x="868" y="350"/>
                  </a:cubicBezTo>
                  <a:cubicBezTo>
                    <a:pt x="870" y="349"/>
                    <a:pt x="870" y="349"/>
                    <a:pt x="870" y="349"/>
                  </a:cubicBezTo>
                  <a:cubicBezTo>
                    <a:pt x="871" y="347"/>
                    <a:pt x="871" y="347"/>
                    <a:pt x="871" y="347"/>
                  </a:cubicBezTo>
                  <a:cubicBezTo>
                    <a:pt x="876" y="342"/>
                    <a:pt x="876" y="342"/>
                    <a:pt x="876" y="342"/>
                  </a:cubicBezTo>
                  <a:cubicBezTo>
                    <a:pt x="878" y="340"/>
                    <a:pt x="878" y="340"/>
                    <a:pt x="878" y="340"/>
                  </a:cubicBezTo>
                  <a:cubicBezTo>
                    <a:pt x="879" y="339"/>
                    <a:pt x="879" y="339"/>
                    <a:pt x="879" y="339"/>
                  </a:cubicBezTo>
                  <a:cubicBezTo>
                    <a:pt x="879" y="338"/>
                    <a:pt x="878" y="337"/>
                    <a:pt x="878" y="336"/>
                  </a:cubicBezTo>
                  <a:cubicBezTo>
                    <a:pt x="877" y="336"/>
                    <a:pt x="877" y="336"/>
                    <a:pt x="877" y="336"/>
                  </a:cubicBezTo>
                  <a:cubicBezTo>
                    <a:pt x="877" y="336"/>
                    <a:pt x="877" y="336"/>
                    <a:pt x="877" y="336"/>
                  </a:cubicBezTo>
                  <a:cubicBezTo>
                    <a:pt x="875" y="334"/>
                    <a:pt x="875" y="335"/>
                    <a:pt x="873" y="333"/>
                  </a:cubicBezTo>
                  <a:cubicBezTo>
                    <a:pt x="873" y="333"/>
                    <a:pt x="873" y="333"/>
                    <a:pt x="873" y="333"/>
                  </a:cubicBezTo>
                  <a:cubicBezTo>
                    <a:pt x="872" y="333"/>
                    <a:pt x="872" y="333"/>
                    <a:pt x="872" y="333"/>
                  </a:cubicBezTo>
                  <a:cubicBezTo>
                    <a:pt x="872" y="333"/>
                    <a:pt x="872" y="333"/>
                    <a:pt x="872" y="333"/>
                  </a:cubicBezTo>
                  <a:cubicBezTo>
                    <a:pt x="867" y="329"/>
                    <a:pt x="867" y="330"/>
                    <a:pt x="862" y="327"/>
                  </a:cubicBezTo>
                  <a:cubicBezTo>
                    <a:pt x="862" y="327"/>
                    <a:pt x="862" y="327"/>
                    <a:pt x="862" y="327"/>
                  </a:cubicBezTo>
                  <a:cubicBezTo>
                    <a:pt x="862" y="327"/>
                    <a:pt x="862" y="327"/>
                    <a:pt x="862" y="327"/>
                  </a:cubicBezTo>
                  <a:cubicBezTo>
                    <a:pt x="861" y="327"/>
                    <a:pt x="861" y="327"/>
                    <a:pt x="861" y="327"/>
                  </a:cubicBezTo>
                  <a:cubicBezTo>
                    <a:pt x="861" y="327"/>
                    <a:pt x="861" y="327"/>
                    <a:pt x="861" y="327"/>
                  </a:cubicBezTo>
                  <a:cubicBezTo>
                    <a:pt x="861" y="326"/>
                    <a:pt x="861" y="326"/>
                    <a:pt x="861" y="326"/>
                  </a:cubicBezTo>
                  <a:cubicBezTo>
                    <a:pt x="861" y="326"/>
                    <a:pt x="861" y="326"/>
                    <a:pt x="861" y="326"/>
                  </a:cubicBezTo>
                  <a:cubicBezTo>
                    <a:pt x="860" y="326"/>
                    <a:pt x="860" y="326"/>
                    <a:pt x="860" y="326"/>
                  </a:cubicBezTo>
                  <a:cubicBezTo>
                    <a:pt x="860" y="326"/>
                    <a:pt x="858" y="324"/>
                    <a:pt x="858" y="323"/>
                  </a:cubicBezTo>
                  <a:cubicBezTo>
                    <a:pt x="858" y="323"/>
                    <a:pt x="858" y="323"/>
                    <a:pt x="858" y="323"/>
                  </a:cubicBezTo>
                  <a:cubicBezTo>
                    <a:pt x="858" y="323"/>
                    <a:pt x="858" y="323"/>
                    <a:pt x="858" y="323"/>
                  </a:cubicBezTo>
                  <a:cubicBezTo>
                    <a:pt x="858" y="322"/>
                    <a:pt x="858" y="321"/>
                    <a:pt x="858" y="320"/>
                  </a:cubicBezTo>
                  <a:cubicBezTo>
                    <a:pt x="858" y="320"/>
                    <a:pt x="858" y="320"/>
                    <a:pt x="858" y="320"/>
                  </a:cubicBezTo>
                  <a:cubicBezTo>
                    <a:pt x="858" y="320"/>
                    <a:pt x="858" y="320"/>
                    <a:pt x="858" y="320"/>
                  </a:cubicBezTo>
                  <a:cubicBezTo>
                    <a:pt x="858" y="320"/>
                    <a:pt x="858" y="320"/>
                    <a:pt x="858" y="320"/>
                  </a:cubicBezTo>
                  <a:cubicBezTo>
                    <a:pt x="858" y="320"/>
                    <a:pt x="858" y="320"/>
                    <a:pt x="858" y="320"/>
                  </a:cubicBezTo>
                  <a:cubicBezTo>
                    <a:pt x="857" y="319"/>
                    <a:pt x="857" y="319"/>
                    <a:pt x="857" y="319"/>
                  </a:cubicBezTo>
                  <a:cubicBezTo>
                    <a:pt x="858" y="317"/>
                    <a:pt x="859" y="314"/>
                    <a:pt x="860" y="311"/>
                  </a:cubicBezTo>
                  <a:cubicBezTo>
                    <a:pt x="860" y="311"/>
                    <a:pt x="860" y="311"/>
                    <a:pt x="860" y="311"/>
                  </a:cubicBezTo>
                  <a:cubicBezTo>
                    <a:pt x="859" y="311"/>
                    <a:pt x="859" y="311"/>
                    <a:pt x="859" y="311"/>
                  </a:cubicBezTo>
                  <a:cubicBezTo>
                    <a:pt x="859" y="311"/>
                    <a:pt x="859" y="310"/>
                    <a:pt x="859" y="310"/>
                  </a:cubicBezTo>
                  <a:cubicBezTo>
                    <a:pt x="859" y="310"/>
                    <a:pt x="859" y="310"/>
                    <a:pt x="859" y="310"/>
                  </a:cubicBezTo>
                  <a:cubicBezTo>
                    <a:pt x="859" y="309"/>
                    <a:pt x="859" y="309"/>
                    <a:pt x="859" y="309"/>
                  </a:cubicBezTo>
                  <a:cubicBezTo>
                    <a:pt x="859" y="309"/>
                    <a:pt x="859" y="309"/>
                    <a:pt x="859" y="309"/>
                  </a:cubicBezTo>
                  <a:cubicBezTo>
                    <a:pt x="859" y="307"/>
                    <a:pt x="860" y="305"/>
                    <a:pt x="859" y="304"/>
                  </a:cubicBezTo>
                  <a:cubicBezTo>
                    <a:pt x="859" y="304"/>
                    <a:pt x="859" y="304"/>
                    <a:pt x="859" y="304"/>
                  </a:cubicBezTo>
                  <a:cubicBezTo>
                    <a:pt x="859" y="303"/>
                    <a:pt x="859" y="303"/>
                    <a:pt x="859" y="303"/>
                  </a:cubicBezTo>
                  <a:cubicBezTo>
                    <a:pt x="859" y="303"/>
                    <a:pt x="859" y="303"/>
                    <a:pt x="859" y="303"/>
                  </a:cubicBezTo>
                  <a:cubicBezTo>
                    <a:pt x="859" y="303"/>
                    <a:pt x="859" y="303"/>
                    <a:pt x="859" y="303"/>
                  </a:cubicBezTo>
                  <a:cubicBezTo>
                    <a:pt x="859" y="303"/>
                    <a:pt x="859" y="303"/>
                    <a:pt x="859" y="303"/>
                  </a:cubicBezTo>
                  <a:cubicBezTo>
                    <a:pt x="859" y="303"/>
                    <a:pt x="859" y="303"/>
                    <a:pt x="859" y="303"/>
                  </a:cubicBezTo>
                  <a:cubicBezTo>
                    <a:pt x="859" y="302"/>
                    <a:pt x="859" y="302"/>
                    <a:pt x="859" y="302"/>
                  </a:cubicBezTo>
                  <a:cubicBezTo>
                    <a:pt x="858" y="302"/>
                    <a:pt x="858" y="302"/>
                    <a:pt x="858" y="302"/>
                  </a:cubicBezTo>
                  <a:cubicBezTo>
                    <a:pt x="858" y="302"/>
                    <a:pt x="858" y="302"/>
                    <a:pt x="858" y="302"/>
                  </a:cubicBezTo>
                  <a:cubicBezTo>
                    <a:pt x="858" y="301"/>
                    <a:pt x="858" y="301"/>
                    <a:pt x="858" y="301"/>
                  </a:cubicBezTo>
                  <a:cubicBezTo>
                    <a:pt x="859" y="300"/>
                    <a:pt x="859" y="300"/>
                    <a:pt x="859" y="300"/>
                  </a:cubicBezTo>
                  <a:cubicBezTo>
                    <a:pt x="859" y="297"/>
                    <a:pt x="859" y="297"/>
                    <a:pt x="859" y="297"/>
                  </a:cubicBezTo>
                  <a:cubicBezTo>
                    <a:pt x="860" y="296"/>
                    <a:pt x="860" y="296"/>
                    <a:pt x="860" y="296"/>
                  </a:cubicBezTo>
                  <a:cubicBezTo>
                    <a:pt x="860" y="295"/>
                    <a:pt x="860" y="295"/>
                    <a:pt x="860" y="295"/>
                  </a:cubicBezTo>
                  <a:cubicBezTo>
                    <a:pt x="860" y="295"/>
                    <a:pt x="860" y="294"/>
                    <a:pt x="860" y="294"/>
                  </a:cubicBezTo>
                  <a:cubicBezTo>
                    <a:pt x="860" y="294"/>
                    <a:pt x="860" y="294"/>
                    <a:pt x="860" y="294"/>
                  </a:cubicBezTo>
                  <a:cubicBezTo>
                    <a:pt x="860" y="293"/>
                    <a:pt x="860" y="293"/>
                    <a:pt x="860" y="293"/>
                  </a:cubicBezTo>
                  <a:cubicBezTo>
                    <a:pt x="860" y="293"/>
                    <a:pt x="860" y="293"/>
                    <a:pt x="860" y="293"/>
                  </a:cubicBezTo>
                  <a:cubicBezTo>
                    <a:pt x="860" y="292"/>
                    <a:pt x="860" y="291"/>
                    <a:pt x="859" y="290"/>
                  </a:cubicBezTo>
                  <a:cubicBezTo>
                    <a:pt x="859" y="290"/>
                    <a:pt x="859" y="290"/>
                    <a:pt x="859" y="290"/>
                  </a:cubicBezTo>
                  <a:cubicBezTo>
                    <a:pt x="859" y="290"/>
                    <a:pt x="859" y="290"/>
                    <a:pt x="859" y="290"/>
                  </a:cubicBezTo>
                  <a:cubicBezTo>
                    <a:pt x="859" y="290"/>
                    <a:pt x="859" y="290"/>
                    <a:pt x="859" y="290"/>
                  </a:cubicBezTo>
                  <a:cubicBezTo>
                    <a:pt x="858" y="289"/>
                    <a:pt x="858" y="289"/>
                    <a:pt x="858" y="289"/>
                  </a:cubicBezTo>
                  <a:cubicBezTo>
                    <a:pt x="858" y="289"/>
                    <a:pt x="858" y="289"/>
                    <a:pt x="858" y="289"/>
                  </a:cubicBezTo>
                  <a:cubicBezTo>
                    <a:pt x="858" y="289"/>
                    <a:pt x="858" y="289"/>
                    <a:pt x="858" y="289"/>
                  </a:cubicBezTo>
                  <a:cubicBezTo>
                    <a:pt x="858" y="289"/>
                    <a:pt x="858" y="289"/>
                    <a:pt x="858" y="289"/>
                  </a:cubicBezTo>
                  <a:cubicBezTo>
                    <a:pt x="858" y="289"/>
                    <a:pt x="858" y="289"/>
                    <a:pt x="858" y="289"/>
                  </a:cubicBezTo>
                  <a:cubicBezTo>
                    <a:pt x="857" y="288"/>
                    <a:pt x="857" y="288"/>
                    <a:pt x="857" y="288"/>
                  </a:cubicBezTo>
                  <a:cubicBezTo>
                    <a:pt x="858" y="288"/>
                    <a:pt x="858" y="288"/>
                    <a:pt x="858" y="288"/>
                  </a:cubicBezTo>
                  <a:cubicBezTo>
                    <a:pt x="858" y="287"/>
                    <a:pt x="858" y="287"/>
                    <a:pt x="858" y="287"/>
                  </a:cubicBezTo>
                  <a:cubicBezTo>
                    <a:pt x="859" y="284"/>
                    <a:pt x="859" y="284"/>
                    <a:pt x="859" y="284"/>
                  </a:cubicBezTo>
                  <a:cubicBezTo>
                    <a:pt x="859" y="283"/>
                    <a:pt x="859" y="282"/>
                    <a:pt x="859" y="282"/>
                  </a:cubicBezTo>
                  <a:cubicBezTo>
                    <a:pt x="859" y="281"/>
                    <a:pt x="859" y="281"/>
                    <a:pt x="859" y="281"/>
                  </a:cubicBezTo>
                  <a:cubicBezTo>
                    <a:pt x="859" y="281"/>
                    <a:pt x="859" y="281"/>
                    <a:pt x="859" y="281"/>
                  </a:cubicBezTo>
                  <a:cubicBezTo>
                    <a:pt x="859" y="281"/>
                    <a:pt x="859" y="281"/>
                    <a:pt x="859" y="281"/>
                  </a:cubicBezTo>
                  <a:cubicBezTo>
                    <a:pt x="858" y="281"/>
                    <a:pt x="858" y="281"/>
                    <a:pt x="858" y="281"/>
                  </a:cubicBezTo>
                  <a:cubicBezTo>
                    <a:pt x="858" y="281"/>
                    <a:pt x="858" y="281"/>
                    <a:pt x="858" y="281"/>
                  </a:cubicBezTo>
                  <a:cubicBezTo>
                    <a:pt x="857" y="280"/>
                    <a:pt x="857" y="280"/>
                    <a:pt x="857" y="280"/>
                  </a:cubicBezTo>
                  <a:cubicBezTo>
                    <a:pt x="857" y="280"/>
                    <a:pt x="857" y="280"/>
                    <a:pt x="857" y="280"/>
                  </a:cubicBezTo>
                  <a:cubicBezTo>
                    <a:pt x="856" y="278"/>
                    <a:pt x="856" y="278"/>
                    <a:pt x="856" y="278"/>
                  </a:cubicBezTo>
                  <a:cubicBezTo>
                    <a:pt x="856" y="278"/>
                    <a:pt x="856" y="278"/>
                    <a:pt x="856" y="278"/>
                  </a:cubicBezTo>
                  <a:cubicBezTo>
                    <a:pt x="856" y="277"/>
                    <a:pt x="856" y="277"/>
                    <a:pt x="856" y="277"/>
                  </a:cubicBezTo>
                  <a:cubicBezTo>
                    <a:pt x="856" y="277"/>
                    <a:pt x="856" y="277"/>
                    <a:pt x="856" y="277"/>
                  </a:cubicBezTo>
                  <a:cubicBezTo>
                    <a:pt x="857" y="277"/>
                    <a:pt x="857" y="276"/>
                    <a:pt x="858" y="276"/>
                  </a:cubicBezTo>
                  <a:cubicBezTo>
                    <a:pt x="858" y="275"/>
                    <a:pt x="858" y="275"/>
                    <a:pt x="858" y="275"/>
                  </a:cubicBezTo>
                  <a:cubicBezTo>
                    <a:pt x="859" y="275"/>
                    <a:pt x="859" y="275"/>
                    <a:pt x="859" y="275"/>
                  </a:cubicBezTo>
                  <a:cubicBezTo>
                    <a:pt x="859" y="275"/>
                    <a:pt x="859" y="275"/>
                    <a:pt x="859" y="275"/>
                  </a:cubicBezTo>
                  <a:cubicBezTo>
                    <a:pt x="861" y="274"/>
                    <a:pt x="861" y="274"/>
                    <a:pt x="861" y="274"/>
                  </a:cubicBezTo>
                  <a:cubicBezTo>
                    <a:pt x="862" y="273"/>
                    <a:pt x="862" y="273"/>
                    <a:pt x="862" y="273"/>
                  </a:cubicBezTo>
                  <a:cubicBezTo>
                    <a:pt x="862" y="273"/>
                    <a:pt x="862" y="273"/>
                    <a:pt x="862" y="273"/>
                  </a:cubicBezTo>
                  <a:cubicBezTo>
                    <a:pt x="862" y="273"/>
                    <a:pt x="862" y="273"/>
                    <a:pt x="862" y="273"/>
                  </a:cubicBezTo>
                  <a:cubicBezTo>
                    <a:pt x="862" y="272"/>
                    <a:pt x="862" y="272"/>
                    <a:pt x="862" y="272"/>
                  </a:cubicBezTo>
                  <a:cubicBezTo>
                    <a:pt x="862" y="272"/>
                    <a:pt x="862" y="272"/>
                    <a:pt x="862" y="272"/>
                  </a:cubicBezTo>
                  <a:cubicBezTo>
                    <a:pt x="862" y="272"/>
                    <a:pt x="862" y="272"/>
                    <a:pt x="862" y="272"/>
                  </a:cubicBezTo>
                  <a:cubicBezTo>
                    <a:pt x="862" y="272"/>
                    <a:pt x="862" y="272"/>
                    <a:pt x="862" y="272"/>
                  </a:cubicBezTo>
                  <a:cubicBezTo>
                    <a:pt x="862" y="271"/>
                    <a:pt x="862" y="270"/>
                    <a:pt x="862" y="269"/>
                  </a:cubicBezTo>
                  <a:cubicBezTo>
                    <a:pt x="862" y="269"/>
                    <a:pt x="862" y="269"/>
                    <a:pt x="862" y="269"/>
                  </a:cubicBezTo>
                  <a:cubicBezTo>
                    <a:pt x="862" y="269"/>
                    <a:pt x="862" y="269"/>
                    <a:pt x="862" y="269"/>
                  </a:cubicBezTo>
                  <a:cubicBezTo>
                    <a:pt x="861" y="268"/>
                    <a:pt x="861" y="268"/>
                    <a:pt x="861" y="268"/>
                  </a:cubicBezTo>
                  <a:cubicBezTo>
                    <a:pt x="861" y="268"/>
                    <a:pt x="861" y="268"/>
                    <a:pt x="861" y="268"/>
                  </a:cubicBezTo>
                  <a:cubicBezTo>
                    <a:pt x="861" y="268"/>
                    <a:pt x="861" y="268"/>
                    <a:pt x="861" y="268"/>
                  </a:cubicBezTo>
                  <a:cubicBezTo>
                    <a:pt x="861" y="267"/>
                    <a:pt x="861" y="267"/>
                    <a:pt x="861" y="267"/>
                  </a:cubicBezTo>
                  <a:cubicBezTo>
                    <a:pt x="862" y="265"/>
                    <a:pt x="862" y="265"/>
                    <a:pt x="862" y="265"/>
                  </a:cubicBezTo>
                  <a:cubicBezTo>
                    <a:pt x="862" y="264"/>
                    <a:pt x="862" y="264"/>
                    <a:pt x="862" y="264"/>
                  </a:cubicBezTo>
                  <a:cubicBezTo>
                    <a:pt x="862" y="263"/>
                    <a:pt x="862" y="263"/>
                    <a:pt x="862" y="263"/>
                  </a:cubicBezTo>
                  <a:cubicBezTo>
                    <a:pt x="862" y="263"/>
                    <a:pt x="862" y="263"/>
                    <a:pt x="862" y="263"/>
                  </a:cubicBezTo>
                  <a:cubicBezTo>
                    <a:pt x="862" y="262"/>
                    <a:pt x="862" y="262"/>
                    <a:pt x="862" y="262"/>
                  </a:cubicBezTo>
                  <a:cubicBezTo>
                    <a:pt x="862" y="262"/>
                    <a:pt x="862" y="262"/>
                    <a:pt x="862" y="262"/>
                  </a:cubicBezTo>
                  <a:cubicBezTo>
                    <a:pt x="863" y="261"/>
                    <a:pt x="863" y="261"/>
                    <a:pt x="863" y="261"/>
                  </a:cubicBezTo>
                  <a:cubicBezTo>
                    <a:pt x="863" y="260"/>
                    <a:pt x="863" y="260"/>
                    <a:pt x="863" y="260"/>
                  </a:cubicBezTo>
                  <a:cubicBezTo>
                    <a:pt x="863" y="260"/>
                    <a:pt x="863" y="260"/>
                    <a:pt x="863" y="260"/>
                  </a:cubicBezTo>
                  <a:cubicBezTo>
                    <a:pt x="863" y="258"/>
                    <a:pt x="864" y="258"/>
                    <a:pt x="863" y="257"/>
                  </a:cubicBezTo>
                  <a:cubicBezTo>
                    <a:pt x="863" y="257"/>
                    <a:pt x="863" y="257"/>
                    <a:pt x="863" y="257"/>
                  </a:cubicBezTo>
                  <a:cubicBezTo>
                    <a:pt x="862" y="256"/>
                    <a:pt x="862" y="256"/>
                    <a:pt x="862" y="256"/>
                  </a:cubicBezTo>
                  <a:cubicBezTo>
                    <a:pt x="861" y="255"/>
                    <a:pt x="861" y="256"/>
                    <a:pt x="861" y="254"/>
                  </a:cubicBezTo>
                  <a:cubicBezTo>
                    <a:pt x="861" y="254"/>
                    <a:pt x="861" y="254"/>
                    <a:pt x="861" y="254"/>
                  </a:cubicBezTo>
                  <a:cubicBezTo>
                    <a:pt x="860" y="254"/>
                    <a:pt x="860" y="254"/>
                    <a:pt x="860" y="254"/>
                  </a:cubicBezTo>
                  <a:cubicBezTo>
                    <a:pt x="860" y="254"/>
                    <a:pt x="860" y="254"/>
                    <a:pt x="860" y="254"/>
                  </a:cubicBezTo>
                  <a:cubicBezTo>
                    <a:pt x="860" y="253"/>
                    <a:pt x="860" y="253"/>
                    <a:pt x="860" y="253"/>
                  </a:cubicBezTo>
                  <a:cubicBezTo>
                    <a:pt x="860" y="253"/>
                    <a:pt x="860" y="253"/>
                    <a:pt x="860" y="253"/>
                  </a:cubicBezTo>
                  <a:cubicBezTo>
                    <a:pt x="860" y="253"/>
                    <a:pt x="860" y="253"/>
                    <a:pt x="860" y="253"/>
                  </a:cubicBezTo>
                  <a:cubicBezTo>
                    <a:pt x="859" y="251"/>
                    <a:pt x="861" y="250"/>
                    <a:pt x="859" y="248"/>
                  </a:cubicBezTo>
                  <a:cubicBezTo>
                    <a:pt x="859" y="248"/>
                    <a:pt x="859" y="248"/>
                    <a:pt x="859" y="248"/>
                  </a:cubicBezTo>
                  <a:cubicBezTo>
                    <a:pt x="859" y="248"/>
                    <a:pt x="859" y="248"/>
                    <a:pt x="859" y="248"/>
                  </a:cubicBezTo>
                  <a:cubicBezTo>
                    <a:pt x="858" y="247"/>
                    <a:pt x="856" y="247"/>
                    <a:pt x="855" y="246"/>
                  </a:cubicBezTo>
                  <a:cubicBezTo>
                    <a:pt x="854" y="246"/>
                    <a:pt x="854" y="246"/>
                    <a:pt x="854" y="246"/>
                  </a:cubicBezTo>
                  <a:cubicBezTo>
                    <a:pt x="854" y="246"/>
                    <a:pt x="854" y="246"/>
                    <a:pt x="854" y="246"/>
                  </a:cubicBezTo>
                  <a:cubicBezTo>
                    <a:pt x="854" y="246"/>
                    <a:pt x="854" y="246"/>
                    <a:pt x="854" y="246"/>
                  </a:cubicBezTo>
                  <a:cubicBezTo>
                    <a:pt x="850" y="244"/>
                    <a:pt x="849" y="244"/>
                    <a:pt x="847" y="241"/>
                  </a:cubicBezTo>
                  <a:cubicBezTo>
                    <a:pt x="847" y="241"/>
                    <a:pt x="847" y="241"/>
                    <a:pt x="847" y="241"/>
                  </a:cubicBezTo>
                  <a:cubicBezTo>
                    <a:pt x="846" y="240"/>
                    <a:pt x="846" y="240"/>
                    <a:pt x="846" y="240"/>
                  </a:cubicBezTo>
                  <a:cubicBezTo>
                    <a:pt x="846" y="240"/>
                    <a:pt x="846" y="240"/>
                    <a:pt x="846" y="240"/>
                  </a:cubicBezTo>
                  <a:cubicBezTo>
                    <a:pt x="846" y="240"/>
                    <a:pt x="846" y="240"/>
                    <a:pt x="846" y="240"/>
                  </a:cubicBezTo>
                  <a:cubicBezTo>
                    <a:pt x="846" y="240"/>
                    <a:pt x="846" y="240"/>
                    <a:pt x="846" y="240"/>
                  </a:cubicBezTo>
                  <a:cubicBezTo>
                    <a:pt x="846" y="240"/>
                    <a:pt x="846" y="240"/>
                    <a:pt x="846" y="240"/>
                  </a:cubicBezTo>
                  <a:cubicBezTo>
                    <a:pt x="845" y="239"/>
                    <a:pt x="845" y="239"/>
                    <a:pt x="845" y="239"/>
                  </a:cubicBezTo>
                  <a:cubicBezTo>
                    <a:pt x="844" y="237"/>
                    <a:pt x="843" y="235"/>
                    <a:pt x="846" y="234"/>
                  </a:cubicBezTo>
                  <a:cubicBezTo>
                    <a:pt x="846" y="234"/>
                    <a:pt x="846" y="234"/>
                    <a:pt x="846" y="234"/>
                  </a:cubicBezTo>
                  <a:cubicBezTo>
                    <a:pt x="846" y="234"/>
                    <a:pt x="846" y="234"/>
                    <a:pt x="846" y="234"/>
                  </a:cubicBezTo>
                  <a:cubicBezTo>
                    <a:pt x="847" y="233"/>
                    <a:pt x="847" y="234"/>
                    <a:pt x="850" y="233"/>
                  </a:cubicBezTo>
                  <a:cubicBezTo>
                    <a:pt x="850" y="232"/>
                    <a:pt x="850" y="232"/>
                    <a:pt x="850" y="232"/>
                  </a:cubicBezTo>
                  <a:cubicBezTo>
                    <a:pt x="851" y="231"/>
                    <a:pt x="851" y="231"/>
                    <a:pt x="851" y="231"/>
                  </a:cubicBezTo>
                  <a:cubicBezTo>
                    <a:pt x="853" y="228"/>
                    <a:pt x="853" y="228"/>
                    <a:pt x="853" y="228"/>
                  </a:cubicBezTo>
                  <a:cubicBezTo>
                    <a:pt x="853" y="225"/>
                    <a:pt x="853" y="225"/>
                    <a:pt x="853" y="225"/>
                  </a:cubicBezTo>
                  <a:cubicBezTo>
                    <a:pt x="854" y="224"/>
                    <a:pt x="854" y="224"/>
                    <a:pt x="854" y="224"/>
                  </a:cubicBezTo>
                  <a:cubicBezTo>
                    <a:pt x="854" y="223"/>
                    <a:pt x="854" y="223"/>
                    <a:pt x="854" y="223"/>
                  </a:cubicBezTo>
                  <a:cubicBezTo>
                    <a:pt x="854" y="223"/>
                    <a:pt x="854" y="223"/>
                    <a:pt x="854" y="223"/>
                  </a:cubicBezTo>
                  <a:cubicBezTo>
                    <a:pt x="854" y="223"/>
                    <a:pt x="854" y="223"/>
                    <a:pt x="854" y="223"/>
                  </a:cubicBezTo>
                  <a:cubicBezTo>
                    <a:pt x="854" y="223"/>
                    <a:pt x="854" y="223"/>
                    <a:pt x="854" y="223"/>
                  </a:cubicBezTo>
                  <a:cubicBezTo>
                    <a:pt x="854" y="223"/>
                    <a:pt x="854" y="223"/>
                    <a:pt x="854" y="223"/>
                  </a:cubicBezTo>
                  <a:cubicBezTo>
                    <a:pt x="855" y="222"/>
                    <a:pt x="855" y="222"/>
                    <a:pt x="855" y="222"/>
                  </a:cubicBezTo>
                  <a:cubicBezTo>
                    <a:pt x="855" y="222"/>
                    <a:pt x="855" y="222"/>
                    <a:pt x="855" y="222"/>
                  </a:cubicBezTo>
                  <a:cubicBezTo>
                    <a:pt x="856" y="222"/>
                    <a:pt x="856" y="222"/>
                    <a:pt x="856" y="222"/>
                  </a:cubicBezTo>
                  <a:cubicBezTo>
                    <a:pt x="856" y="222"/>
                    <a:pt x="856" y="222"/>
                    <a:pt x="856" y="222"/>
                  </a:cubicBezTo>
                  <a:cubicBezTo>
                    <a:pt x="857" y="221"/>
                    <a:pt x="857" y="221"/>
                    <a:pt x="857" y="221"/>
                  </a:cubicBezTo>
                  <a:cubicBezTo>
                    <a:pt x="858" y="218"/>
                    <a:pt x="858" y="218"/>
                    <a:pt x="858" y="218"/>
                  </a:cubicBezTo>
                  <a:cubicBezTo>
                    <a:pt x="858" y="217"/>
                    <a:pt x="858" y="217"/>
                    <a:pt x="858" y="217"/>
                  </a:cubicBezTo>
                  <a:cubicBezTo>
                    <a:pt x="859" y="216"/>
                    <a:pt x="859" y="216"/>
                    <a:pt x="859" y="216"/>
                  </a:cubicBezTo>
                  <a:cubicBezTo>
                    <a:pt x="859" y="215"/>
                    <a:pt x="859" y="215"/>
                    <a:pt x="859" y="215"/>
                  </a:cubicBezTo>
                  <a:cubicBezTo>
                    <a:pt x="860" y="214"/>
                    <a:pt x="860" y="214"/>
                    <a:pt x="860" y="214"/>
                  </a:cubicBezTo>
                  <a:cubicBezTo>
                    <a:pt x="863" y="210"/>
                    <a:pt x="863" y="210"/>
                    <a:pt x="863" y="210"/>
                  </a:cubicBezTo>
                  <a:cubicBezTo>
                    <a:pt x="864" y="208"/>
                    <a:pt x="864" y="208"/>
                    <a:pt x="864" y="208"/>
                  </a:cubicBezTo>
                  <a:cubicBezTo>
                    <a:pt x="864" y="208"/>
                    <a:pt x="864" y="208"/>
                    <a:pt x="864" y="208"/>
                  </a:cubicBezTo>
                  <a:cubicBezTo>
                    <a:pt x="864" y="207"/>
                    <a:pt x="864" y="207"/>
                    <a:pt x="864" y="207"/>
                  </a:cubicBezTo>
                  <a:cubicBezTo>
                    <a:pt x="864" y="207"/>
                    <a:pt x="864" y="207"/>
                    <a:pt x="864" y="207"/>
                  </a:cubicBezTo>
                  <a:cubicBezTo>
                    <a:pt x="864" y="207"/>
                    <a:pt x="864" y="207"/>
                    <a:pt x="864" y="207"/>
                  </a:cubicBezTo>
                  <a:cubicBezTo>
                    <a:pt x="864" y="207"/>
                    <a:pt x="864" y="207"/>
                    <a:pt x="864" y="207"/>
                  </a:cubicBezTo>
                  <a:cubicBezTo>
                    <a:pt x="864" y="207"/>
                    <a:pt x="864" y="207"/>
                    <a:pt x="864" y="207"/>
                  </a:cubicBezTo>
                  <a:cubicBezTo>
                    <a:pt x="863" y="206"/>
                    <a:pt x="863" y="206"/>
                    <a:pt x="863" y="206"/>
                  </a:cubicBezTo>
                  <a:cubicBezTo>
                    <a:pt x="863" y="206"/>
                    <a:pt x="863" y="206"/>
                    <a:pt x="863" y="206"/>
                  </a:cubicBezTo>
                  <a:cubicBezTo>
                    <a:pt x="863" y="205"/>
                    <a:pt x="863" y="205"/>
                    <a:pt x="863" y="205"/>
                  </a:cubicBezTo>
                  <a:cubicBezTo>
                    <a:pt x="863" y="205"/>
                    <a:pt x="863" y="205"/>
                    <a:pt x="863" y="205"/>
                  </a:cubicBezTo>
                  <a:cubicBezTo>
                    <a:pt x="863" y="205"/>
                    <a:pt x="863" y="205"/>
                    <a:pt x="863" y="205"/>
                  </a:cubicBezTo>
                  <a:cubicBezTo>
                    <a:pt x="863" y="205"/>
                    <a:pt x="863" y="205"/>
                    <a:pt x="863" y="205"/>
                  </a:cubicBezTo>
                  <a:cubicBezTo>
                    <a:pt x="863" y="204"/>
                    <a:pt x="863" y="204"/>
                    <a:pt x="863" y="204"/>
                  </a:cubicBezTo>
                  <a:cubicBezTo>
                    <a:pt x="863" y="204"/>
                    <a:pt x="863" y="204"/>
                    <a:pt x="863" y="204"/>
                  </a:cubicBezTo>
                  <a:cubicBezTo>
                    <a:pt x="863" y="204"/>
                    <a:pt x="863" y="204"/>
                    <a:pt x="863" y="204"/>
                  </a:cubicBezTo>
                  <a:cubicBezTo>
                    <a:pt x="863" y="203"/>
                    <a:pt x="863" y="203"/>
                    <a:pt x="863" y="203"/>
                  </a:cubicBezTo>
                  <a:cubicBezTo>
                    <a:pt x="863" y="203"/>
                    <a:pt x="863" y="203"/>
                    <a:pt x="863" y="203"/>
                  </a:cubicBezTo>
                  <a:cubicBezTo>
                    <a:pt x="863" y="200"/>
                    <a:pt x="863" y="200"/>
                    <a:pt x="863" y="200"/>
                  </a:cubicBezTo>
                  <a:cubicBezTo>
                    <a:pt x="863" y="198"/>
                    <a:pt x="863" y="198"/>
                    <a:pt x="863" y="198"/>
                  </a:cubicBezTo>
                  <a:cubicBezTo>
                    <a:pt x="863" y="194"/>
                    <a:pt x="863" y="194"/>
                    <a:pt x="863" y="194"/>
                  </a:cubicBezTo>
                  <a:cubicBezTo>
                    <a:pt x="863" y="193"/>
                    <a:pt x="863" y="193"/>
                    <a:pt x="863" y="193"/>
                  </a:cubicBezTo>
                  <a:cubicBezTo>
                    <a:pt x="862" y="192"/>
                    <a:pt x="862" y="192"/>
                    <a:pt x="862" y="192"/>
                  </a:cubicBezTo>
                  <a:cubicBezTo>
                    <a:pt x="861" y="192"/>
                    <a:pt x="859" y="191"/>
                    <a:pt x="858" y="191"/>
                  </a:cubicBezTo>
                  <a:cubicBezTo>
                    <a:pt x="857" y="191"/>
                    <a:pt x="857" y="191"/>
                    <a:pt x="857" y="191"/>
                  </a:cubicBezTo>
                  <a:cubicBezTo>
                    <a:pt x="857" y="190"/>
                    <a:pt x="857" y="190"/>
                    <a:pt x="857" y="190"/>
                  </a:cubicBezTo>
                  <a:cubicBezTo>
                    <a:pt x="857" y="190"/>
                    <a:pt x="857" y="190"/>
                    <a:pt x="857" y="190"/>
                  </a:cubicBezTo>
                  <a:cubicBezTo>
                    <a:pt x="856" y="190"/>
                    <a:pt x="856" y="190"/>
                    <a:pt x="856" y="190"/>
                  </a:cubicBezTo>
                  <a:cubicBezTo>
                    <a:pt x="855" y="190"/>
                    <a:pt x="853" y="189"/>
                    <a:pt x="851" y="189"/>
                  </a:cubicBezTo>
                  <a:cubicBezTo>
                    <a:pt x="851" y="189"/>
                    <a:pt x="851" y="189"/>
                    <a:pt x="851" y="189"/>
                  </a:cubicBezTo>
                  <a:cubicBezTo>
                    <a:pt x="851" y="189"/>
                    <a:pt x="851" y="189"/>
                    <a:pt x="851" y="189"/>
                  </a:cubicBezTo>
                  <a:cubicBezTo>
                    <a:pt x="848" y="188"/>
                    <a:pt x="849" y="189"/>
                    <a:pt x="847" y="189"/>
                  </a:cubicBezTo>
                  <a:cubicBezTo>
                    <a:pt x="847" y="189"/>
                    <a:pt x="847" y="189"/>
                    <a:pt x="847" y="189"/>
                  </a:cubicBezTo>
                  <a:cubicBezTo>
                    <a:pt x="846" y="189"/>
                    <a:pt x="846" y="189"/>
                    <a:pt x="846" y="189"/>
                  </a:cubicBezTo>
                  <a:cubicBezTo>
                    <a:pt x="846" y="189"/>
                    <a:pt x="846" y="189"/>
                    <a:pt x="846" y="189"/>
                  </a:cubicBezTo>
                  <a:cubicBezTo>
                    <a:pt x="845" y="189"/>
                    <a:pt x="845" y="189"/>
                    <a:pt x="845" y="189"/>
                  </a:cubicBezTo>
                  <a:cubicBezTo>
                    <a:pt x="844" y="189"/>
                    <a:pt x="844" y="189"/>
                    <a:pt x="844" y="189"/>
                  </a:cubicBezTo>
                  <a:cubicBezTo>
                    <a:pt x="845" y="189"/>
                    <a:pt x="845" y="189"/>
                    <a:pt x="845" y="189"/>
                  </a:cubicBezTo>
                  <a:cubicBezTo>
                    <a:pt x="845" y="189"/>
                    <a:pt x="845" y="189"/>
                    <a:pt x="845" y="189"/>
                  </a:cubicBezTo>
                  <a:cubicBezTo>
                    <a:pt x="847" y="188"/>
                    <a:pt x="847" y="188"/>
                    <a:pt x="847" y="188"/>
                  </a:cubicBezTo>
                  <a:cubicBezTo>
                    <a:pt x="847" y="188"/>
                    <a:pt x="847" y="188"/>
                    <a:pt x="847" y="188"/>
                  </a:cubicBezTo>
                  <a:cubicBezTo>
                    <a:pt x="847" y="188"/>
                    <a:pt x="847" y="188"/>
                    <a:pt x="847" y="188"/>
                  </a:cubicBezTo>
                  <a:cubicBezTo>
                    <a:pt x="847" y="188"/>
                    <a:pt x="847" y="188"/>
                    <a:pt x="847" y="188"/>
                  </a:cubicBezTo>
                  <a:cubicBezTo>
                    <a:pt x="846" y="188"/>
                    <a:pt x="846" y="188"/>
                    <a:pt x="846" y="188"/>
                  </a:cubicBezTo>
                  <a:cubicBezTo>
                    <a:pt x="846" y="187"/>
                    <a:pt x="846" y="187"/>
                    <a:pt x="846" y="187"/>
                  </a:cubicBezTo>
                  <a:cubicBezTo>
                    <a:pt x="840" y="187"/>
                    <a:pt x="841" y="185"/>
                    <a:pt x="835" y="186"/>
                  </a:cubicBezTo>
                  <a:cubicBezTo>
                    <a:pt x="835" y="186"/>
                    <a:pt x="835" y="186"/>
                    <a:pt x="835" y="186"/>
                  </a:cubicBezTo>
                  <a:cubicBezTo>
                    <a:pt x="835" y="186"/>
                    <a:pt x="835" y="186"/>
                    <a:pt x="835" y="186"/>
                  </a:cubicBezTo>
                  <a:cubicBezTo>
                    <a:pt x="834" y="186"/>
                    <a:pt x="834" y="186"/>
                    <a:pt x="834" y="186"/>
                  </a:cubicBezTo>
                  <a:cubicBezTo>
                    <a:pt x="832" y="186"/>
                    <a:pt x="832" y="185"/>
                    <a:pt x="830" y="186"/>
                  </a:cubicBezTo>
                  <a:cubicBezTo>
                    <a:pt x="830" y="186"/>
                    <a:pt x="830" y="186"/>
                    <a:pt x="830" y="186"/>
                  </a:cubicBezTo>
                  <a:cubicBezTo>
                    <a:pt x="829" y="186"/>
                    <a:pt x="829" y="186"/>
                    <a:pt x="829" y="186"/>
                  </a:cubicBezTo>
                  <a:cubicBezTo>
                    <a:pt x="827" y="185"/>
                    <a:pt x="827" y="186"/>
                    <a:pt x="825" y="186"/>
                  </a:cubicBezTo>
                  <a:cubicBezTo>
                    <a:pt x="825" y="186"/>
                    <a:pt x="825" y="186"/>
                    <a:pt x="825" y="186"/>
                  </a:cubicBezTo>
                  <a:cubicBezTo>
                    <a:pt x="824" y="186"/>
                    <a:pt x="824" y="186"/>
                    <a:pt x="824" y="186"/>
                  </a:cubicBezTo>
                  <a:cubicBezTo>
                    <a:pt x="824" y="186"/>
                    <a:pt x="824" y="186"/>
                    <a:pt x="824" y="186"/>
                  </a:cubicBezTo>
                  <a:cubicBezTo>
                    <a:pt x="824" y="186"/>
                    <a:pt x="824" y="186"/>
                    <a:pt x="824" y="186"/>
                  </a:cubicBezTo>
                  <a:cubicBezTo>
                    <a:pt x="823" y="186"/>
                    <a:pt x="823" y="186"/>
                    <a:pt x="823" y="186"/>
                  </a:cubicBezTo>
                  <a:cubicBezTo>
                    <a:pt x="820" y="186"/>
                    <a:pt x="817" y="185"/>
                    <a:pt x="813" y="186"/>
                  </a:cubicBezTo>
                  <a:cubicBezTo>
                    <a:pt x="812" y="186"/>
                    <a:pt x="812" y="186"/>
                    <a:pt x="812" y="186"/>
                  </a:cubicBezTo>
                  <a:cubicBezTo>
                    <a:pt x="812" y="186"/>
                    <a:pt x="812" y="186"/>
                    <a:pt x="812" y="186"/>
                  </a:cubicBezTo>
                  <a:cubicBezTo>
                    <a:pt x="812" y="186"/>
                    <a:pt x="812" y="186"/>
                    <a:pt x="812" y="186"/>
                  </a:cubicBezTo>
                  <a:cubicBezTo>
                    <a:pt x="810" y="186"/>
                    <a:pt x="809" y="186"/>
                    <a:pt x="808" y="186"/>
                  </a:cubicBezTo>
                  <a:cubicBezTo>
                    <a:pt x="807" y="186"/>
                    <a:pt x="807" y="186"/>
                    <a:pt x="807" y="186"/>
                  </a:cubicBezTo>
                  <a:cubicBezTo>
                    <a:pt x="806" y="186"/>
                    <a:pt x="805" y="187"/>
                    <a:pt x="803" y="187"/>
                  </a:cubicBezTo>
                  <a:cubicBezTo>
                    <a:pt x="802" y="186"/>
                    <a:pt x="802" y="186"/>
                    <a:pt x="802" y="186"/>
                  </a:cubicBezTo>
                  <a:cubicBezTo>
                    <a:pt x="801" y="186"/>
                    <a:pt x="801" y="186"/>
                    <a:pt x="801" y="186"/>
                  </a:cubicBezTo>
                  <a:cubicBezTo>
                    <a:pt x="801" y="186"/>
                    <a:pt x="801" y="186"/>
                    <a:pt x="801" y="186"/>
                  </a:cubicBezTo>
                  <a:cubicBezTo>
                    <a:pt x="801" y="185"/>
                    <a:pt x="801" y="185"/>
                    <a:pt x="801" y="185"/>
                  </a:cubicBezTo>
                  <a:cubicBezTo>
                    <a:pt x="801" y="185"/>
                    <a:pt x="801" y="185"/>
                    <a:pt x="801" y="185"/>
                  </a:cubicBezTo>
                  <a:cubicBezTo>
                    <a:pt x="803" y="185"/>
                    <a:pt x="803" y="185"/>
                    <a:pt x="805" y="184"/>
                  </a:cubicBezTo>
                  <a:cubicBezTo>
                    <a:pt x="805" y="184"/>
                    <a:pt x="805" y="184"/>
                    <a:pt x="805" y="184"/>
                  </a:cubicBezTo>
                  <a:cubicBezTo>
                    <a:pt x="805" y="183"/>
                    <a:pt x="805" y="183"/>
                    <a:pt x="805" y="183"/>
                  </a:cubicBezTo>
                  <a:cubicBezTo>
                    <a:pt x="804" y="183"/>
                    <a:pt x="804" y="183"/>
                    <a:pt x="804" y="183"/>
                  </a:cubicBezTo>
                  <a:cubicBezTo>
                    <a:pt x="804" y="183"/>
                    <a:pt x="804" y="183"/>
                    <a:pt x="804" y="183"/>
                  </a:cubicBezTo>
                  <a:cubicBezTo>
                    <a:pt x="803" y="183"/>
                    <a:pt x="803" y="183"/>
                    <a:pt x="803" y="183"/>
                  </a:cubicBezTo>
                  <a:cubicBezTo>
                    <a:pt x="802" y="183"/>
                    <a:pt x="796" y="183"/>
                    <a:pt x="796" y="185"/>
                  </a:cubicBezTo>
                  <a:cubicBezTo>
                    <a:pt x="796" y="185"/>
                    <a:pt x="796" y="185"/>
                    <a:pt x="796" y="185"/>
                  </a:cubicBezTo>
                  <a:cubicBezTo>
                    <a:pt x="796" y="186"/>
                    <a:pt x="796" y="186"/>
                    <a:pt x="796" y="186"/>
                  </a:cubicBezTo>
                  <a:cubicBezTo>
                    <a:pt x="796" y="186"/>
                    <a:pt x="796" y="186"/>
                    <a:pt x="796" y="186"/>
                  </a:cubicBezTo>
                  <a:cubicBezTo>
                    <a:pt x="796" y="187"/>
                    <a:pt x="796" y="187"/>
                    <a:pt x="795" y="188"/>
                  </a:cubicBezTo>
                  <a:cubicBezTo>
                    <a:pt x="795" y="188"/>
                    <a:pt x="795" y="188"/>
                    <a:pt x="795" y="188"/>
                  </a:cubicBezTo>
                  <a:cubicBezTo>
                    <a:pt x="795" y="188"/>
                    <a:pt x="795" y="188"/>
                    <a:pt x="795" y="188"/>
                  </a:cubicBezTo>
                  <a:cubicBezTo>
                    <a:pt x="795" y="189"/>
                    <a:pt x="794" y="190"/>
                    <a:pt x="793" y="191"/>
                  </a:cubicBezTo>
                  <a:cubicBezTo>
                    <a:pt x="793" y="191"/>
                    <a:pt x="793" y="191"/>
                    <a:pt x="793" y="191"/>
                  </a:cubicBezTo>
                  <a:cubicBezTo>
                    <a:pt x="793" y="191"/>
                    <a:pt x="793" y="191"/>
                    <a:pt x="793" y="191"/>
                  </a:cubicBezTo>
                  <a:cubicBezTo>
                    <a:pt x="792" y="191"/>
                    <a:pt x="792" y="191"/>
                    <a:pt x="792" y="191"/>
                  </a:cubicBezTo>
                  <a:cubicBezTo>
                    <a:pt x="792" y="191"/>
                    <a:pt x="792" y="191"/>
                    <a:pt x="792" y="191"/>
                  </a:cubicBezTo>
                  <a:cubicBezTo>
                    <a:pt x="791" y="192"/>
                    <a:pt x="791" y="192"/>
                    <a:pt x="791" y="192"/>
                  </a:cubicBezTo>
                  <a:cubicBezTo>
                    <a:pt x="791" y="192"/>
                    <a:pt x="791" y="192"/>
                    <a:pt x="791" y="192"/>
                  </a:cubicBezTo>
                  <a:cubicBezTo>
                    <a:pt x="791" y="193"/>
                    <a:pt x="791" y="193"/>
                    <a:pt x="791" y="193"/>
                  </a:cubicBezTo>
                  <a:cubicBezTo>
                    <a:pt x="791" y="194"/>
                    <a:pt x="791" y="194"/>
                    <a:pt x="791" y="194"/>
                  </a:cubicBezTo>
                  <a:cubicBezTo>
                    <a:pt x="791" y="194"/>
                    <a:pt x="791" y="194"/>
                    <a:pt x="791" y="194"/>
                  </a:cubicBezTo>
                  <a:cubicBezTo>
                    <a:pt x="791" y="195"/>
                    <a:pt x="791" y="195"/>
                    <a:pt x="791" y="195"/>
                  </a:cubicBezTo>
                  <a:cubicBezTo>
                    <a:pt x="790" y="195"/>
                    <a:pt x="790" y="195"/>
                    <a:pt x="790" y="195"/>
                  </a:cubicBezTo>
                  <a:cubicBezTo>
                    <a:pt x="790" y="195"/>
                    <a:pt x="790" y="195"/>
                    <a:pt x="790" y="195"/>
                  </a:cubicBezTo>
                  <a:cubicBezTo>
                    <a:pt x="790" y="195"/>
                    <a:pt x="790" y="195"/>
                    <a:pt x="790" y="195"/>
                  </a:cubicBezTo>
                  <a:cubicBezTo>
                    <a:pt x="790" y="195"/>
                    <a:pt x="790" y="195"/>
                    <a:pt x="790" y="195"/>
                  </a:cubicBezTo>
                  <a:cubicBezTo>
                    <a:pt x="790" y="195"/>
                    <a:pt x="790" y="195"/>
                    <a:pt x="790" y="195"/>
                  </a:cubicBezTo>
                  <a:cubicBezTo>
                    <a:pt x="790" y="195"/>
                    <a:pt x="790" y="195"/>
                    <a:pt x="790" y="195"/>
                  </a:cubicBezTo>
                  <a:cubicBezTo>
                    <a:pt x="789" y="196"/>
                    <a:pt x="789" y="197"/>
                    <a:pt x="789" y="197"/>
                  </a:cubicBezTo>
                  <a:cubicBezTo>
                    <a:pt x="789" y="197"/>
                    <a:pt x="789" y="197"/>
                    <a:pt x="789" y="197"/>
                  </a:cubicBezTo>
                  <a:cubicBezTo>
                    <a:pt x="789" y="198"/>
                    <a:pt x="789" y="198"/>
                    <a:pt x="789" y="198"/>
                  </a:cubicBezTo>
                  <a:cubicBezTo>
                    <a:pt x="789" y="198"/>
                    <a:pt x="789" y="198"/>
                    <a:pt x="789" y="198"/>
                  </a:cubicBezTo>
                  <a:cubicBezTo>
                    <a:pt x="789" y="198"/>
                    <a:pt x="789" y="198"/>
                    <a:pt x="789" y="198"/>
                  </a:cubicBezTo>
                  <a:cubicBezTo>
                    <a:pt x="788" y="199"/>
                    <a:pt x="788" y="199"/>
                    <a:pt x="788" y="199"/>
                  </a:cubicBezTo>
                  <a:cubicBezTo>
                    <a:pt x="788" y="199"/>
                    <a:pt x="788" y="199"/>
                    <a:pt x="788" y="199"/>
                  </a:cubicBezTo>
                  <a:cubicBezTo>
                    <a:pt x="788" y="200"/>
                    <a:pt x="788" y="200"/>
                    <a:pt x="788" y="200"/>
                  </a:cubicBezTo>
                  <a:cubicBezTo>
                    <a:pt x="788" y="201"/>
                    <a:pt x="788" y="201"/>
                    <a:pt x="788" y="201"/>
                  </a:cubicBezTo>
                  <a:cubicBezTo>
                    <a:pt x="788" y="201"/>
                    <a:pt x="788" y="201"/>
                    <a:pt x="788" y="201"/>
                  </a:cubicBezTo>
                  <a:cubicBezTo>
                    <a:pt x="788" y="201"/>
                    <a:pt x="788" y="201"/>
                    <a:pt x="788" y="201"/>
                  </a:cubicBezTo>
                  <a:cubicBezTo>
                    <a:pt x="788" y="201"/>
                    <a:pt x="788" y="201"/>
                    <a:pt x="788" y="201"/>
                  </a:cubicBezTo>
                  <a:cubicBezTo>
                    <a:pt x="788" y="202"/>
                    <a:pt x="788" y="202"/>
                    <a:pt x="788" y="202"/>
                  </a:cubicBezTo>
                  <a:cubicBezTo>
                    <a:pt x="787" y="202"/>
                    <a:pt x="787" y="202"/>
                    <a:pt x="787" y="202"/>
                  </a:cubicBezTo>
                  <a:cubicBezTo>
                    <a:pt x="787" y="202"/>
                    <a:pt x="787" y="202"/>
                    <a:pt x="787" y="202"/>
                  </a:cubicBezTo>
                  <a:cubicBezTo>
                    <a:pt x="787" y="202"/>
                    <a:pt x="787" y="202"/>
                    <a:pt x="787" y="202"/>
                  </a:cubicBezTo>
                  <a:cubicBezTo>
                    <a:pt x="787" y="202"/>
                    <a:pt x="787" y="202"/>
                    <a:pt x="787" y="202"/>
                  </a:cubicBezTo>
                  <a:cubicBezTo>
                    <a:pt x="787" y="203"/>
                    <a:pt x="787" y="203"/>
                    <a:pt x="787" y="203"/>
                  </a:cubicBezTo>
                  <a:cubicBezTo>
                    <a:pt x="787" y="203"/>
                    <a:pt x="787" y="203"/>
                    <a:pt x="787" y="203"/>
                  </a:cubicBezTo>
                  <a:cubicBezTo>
                    <a:pt x="787" y="203"/>
                    <a:pt x="787" y="203"/>
                    <a:pt x="787" y="203"/>
                  </a:cubicBezTo>
                  <a:cubicBezTo>
                    <a:pt x="787" y="203"/>
                    <a:pt x="787" y="203"/>
                    <a:pt x="787" y="203"/>
                  </a:cubicBezTo>
                  <a:cubicBezTo>
                    <a:pt x="787" y="204"/>
                    <a:pt x="787" y="204"/>
                    <a:pt x="787" y="204"/>
                  </a:cubicBezTo>
                  <a:cubicBezTo>
                    <a:pt x="787" y="204"/>
                    <a:pt x="787" y="204"/>
                    <a:pt x="787" y="204"/>
                  </a:cubicBezTo>
                  <a:cubicBezTo>
                    <a:pt x="787" y="204"/>
                    <a:pt x="787" y="204"/>
                    <a:pt x="787" y="204"/>
                  </a:cubicBezTo>
                  <a:cubicBezTo>
                    <a:pt x="787" y="204"/>
                    <a:pt x="787" y="204"/>
                    <a:pt x="787" y="204"/>
                  </a:cubicBezTo>
                  <a:cubicBezTo>
                    <a:pt x="787" y="204"/>
                    <a:pt x="787" y="204"/>
                    <a:pt x="787" y="204"/>
                  </a:cubicBezTo>
                  <a:cubicBezTo>
                    <a:pt x="787" y="205"/>
                    <a:pt x="787" y="205"/>
                    <a:pt x="787" y="205"/>
                  </a:cubicBezTo>
                  <a:cubicBezTo>
                    <a:pt x="787" y="205"/>
                    <a:pt x="787" y="205"/>
                    <a:pt x="787" y="205"/>
                  </a:cubicBezTo>
                  <a:cubicBezTo>
                    <a:pt x="787" y="205"/>
                    <a:pt x="787" y="205"/>
                    <a:pt x="787" y="205"/>
                  </a:cubicBezTo>
                  <a:cubicBezTo>
                    <a:pt x="787" y="205"/>
                    <a:pt x="787" y="205"/>
                    <a:pt x="787" y="205"/>
                  </a:cubicBezTo>
                  <a:cubicBezTo>
                    <a:pt x="787" y="206"/>
                    <a:pt x="787" y="206"/>
                    <a:pt x="787" y="206"/>
                  </a:cubicBezTo>
                  <a:cubicBezTo>
                    <a:pt x="787" y="206"/>
                    <a:pt x="787" y="206"/>
                    <a:pt x="787" y="206"/>
                  </a:cubicBezTo>
                  <a:cubicBezTo>
                    <a:pt x="787" y="206"/>
                    <a:pt x="787" y="206"/>
                    <a:pt x="787" y="206"/>
                  </a:cubicBezTo>
                  <a:cubicBezTo>
                    <a:pt x="787" y="207"/>
                    <a:pt x="786" y="206"/>
                    <a:pt x="786" y="208"/>
                  </a:cubicBezTo>
                  <a:cubicBezTo>
                    <a:pt x="786" y="208"/>
                    <a:pt x="786" y="208"/>
                    <a:pt x="786" y="208"/>
                  </a:cubicBezTo>
                  <a:cubicBezTo>
                    <a:pt x="786" y="208"/>
                    <a:pt x="786" y="208"/>
                    <a:pt x="786" y="208"/>
                  </a:cubicBezTo>
                  <a:cubicBezTo>
                    <a:pt x="785" y="209"/>
                    <a:pt x="785" y="209"/>
                    <a:pt x="785" y="210"/>
                  </a:cubicBezTo>
                  <a:cubicBezTo>
                    <a:pt x="785" y="211"/>
                    <a:pt x="785" y="211"/>
                    <a:pt x="785" y="211"/>
                  </a:cubicBezTo>
                  <a:cubicBezTo>
                    <a:pt x="785" y="211"/>
                    <a:pt x="785" y="211"/>
                    <a:pt x="785" y="211"/>
                  </a:cubicBezTo>
                  <a:cubicBezTo>
                    <a:pt x="785" y="211"/>
                    <a:pt x="785" y="211"/>
                    <a:pt x="785" y="211"/>
                  </a:cubicBezTo>
                  <a:cubicBezTo>
                    <a:pt x="785" y="211"/>
                    <a:pt x="785" y="211"/>
                    <a:pt x="785" y="211"/>
                  </a:cubicBezTo>
                  <a:cubicBezTo>
                    <a:pt x="785" y="212"/>
                    <a:pt x="784" y="213"/>
                    <a:pt x="784" y="213"/>
                  </a:cubicBezTo>
                  <a:cubicBezTo>
                    <a:pt x="784" y="214"/>
                    <a:pt x="784" y="214"/>
                    <a:pt x="784" y="214"/>
                  </a:cubicBezTo>
                  <a:cubicBezTo>
                    <a:pt x="784" y="215"/>
                    <a:pt x="784" y="215"/>
                    <a:pt x="784" y="216"/>
                  </a:cubicBezTo>
                  <a:cubicBezTo>
                    <a:pt x="784" y="216"/>
                    <a:pt x="784" y="216"/>
                    <a:pt x="784" y="216"/>
                  </a:cubicBezTo>
                  <a:cubicBezTo>
                    <a:pt x="784" y="216"/>
                    <a:pt x="784" y="216"/>
                    <a:pt x="784" y="216"/>
                  </a:cubicBezTo>
                  <a:cubicBezTo>
                    <a:pt x="784" y="217"/>
                    <a:pt x="784" y="217"/>
                    <a:pt x="784" y="217"/>
                  </a:cubicBezTo>
                  <a:cubicBezTo>
                    <a:pt x="783" y="217"/>
                    <a:pt x="783" y="217"/>
                    <a:pt x="783" y="217"/>
                  </a:cubicBezTo>
                  <a:cubicBezTo>
                    <a:pt x="783" y="217"/>
                    <a:pt x="783" y="217"/>
                    <a:pt x="783" y="217"/>
                  </a:cubicBezTo>
                  <a:cubicBezTo>
                    <a:pt x="783" y="218"/>
                    <a:pt x="782" y="218"/>
                    <a:pt x="782" y="219"/>
                  </a:cubicBezTo>
                  <a:cubicBezTo>
                    <a:pt x="782" y="219"/>
                    <a:pt x="782" y="219"/>
                    <a:pt x="782" y="219"/>
                  </a:cubicBezTo>
                  <a:cubicBezTo>
                    <a:pt x="782" y="219"/>
                    <a:pt x="782" y="219"/>
                    <a:pt x="782" y="219"/>
                  </a:cubicBezTo>
                  <a:cubicBezTo>
                    <a:pt x="782" y="221"/>
                    <a:pt x="782" y="221"/>
                    <a:pt x="781" y="221"/>
                  </a:cubicBezTo>
                  <a:cubicBezTo>
                    <a:pt x="781" y="222"/>
                    <a:pt x="781" y="222"/>
                    <a:pt x="781" y="222"/>
                  </a:cubicBezTo>
                  <a:cubicBezTo>
                    <a:pt x="781" y="222"/>
                    <a:pt x="781" y="222"/>
                    <a:pt x="781" y="222"/>
                  </a:cubicBezTo>
                  <a:cubicBezTo>
                    <a:pt x="781" y="222"/>
                    <a:pt x="781" y="222"/>
                    <a:pt x="781" y="222"/>
                  </a:cubicBezTo>
                  <a:cubicBezTo>
                    <a:pt x="780" y="226"/>
                    <a:pt x="780" y="224"/>
                    <a:pt x="778" y="227"/>
                  </a:cubicBezTo>
                  <a:cubicBezTo>
                    <a:pt x="778" y="228"/>
                    <a:pt x="778" y="228"/>
                    <a:pt x="778" y="228"/>
                  </a:cubicBezTo>
                  <a:cubicBezTo>
                    <a:pt x="778" y="228"/>
                    <a:pt x="778" y="228"/>
                    <a:pt x="778" y="228"/>
                  </a:cubicBezTo>
                  <a:cubicBezTo>
                    <a:pt x="778" y="229"/>
                    <a:pt x="778" y="229"/>
                    <a:pt x="778" y="229"/>
                  </a:cubicBezTo>
                  <a:cubicBezTo>
                    <a:pt x="778" y="229"/>
                    <a:pt x="778" y="229"/>
                    <a:pt x="778" y="229"/>
                  </a:cubicBezTo>
                  <a:cubicBezTo>
                    <a:pt x="778" y="229"/>
                    <a:pt x="778" y="229"/>
                    <a:pt x="778" y="229"/>
                  </a:cubicBezTo>
                  <a:cubicBezTo>
                    <a:pt x="777" y="229"/>
                    <a:pt x="777" y="229"/>
                    <a:pt x="777" y="229"/>
                  </a:cubicBezTo>
                  <a:cubicBezTo>
                    <a:pt x="777" y="229"/>
                    <a:pt x="777" y="229"/>
                    <a:pt x="777" y="229"/>
                  </a:cubicBezTo>
                  <a:cubicBezTo>
                    <a:pt x="777" y="229"/>
                    <a:pt x="777" y="229"/>
                    <a:pt x="777" y="229"/>
                  </a:cubicBezTo>
                  <a:cubicBezTo>
                    <a:pt x="776" y="229"/>
                    <a:pt x="776" y="229"/>
                    <a:pt x="776" y="229"/>
                  </a:cubicBezTo>
                  <a:cubicBezTo>
                    <a:pt x="775" y="230"/>
                    <a:pt x="774" y="232"/>
                    <a:pt x="773" y="232"/>
                  </a:cubicBezTo>
                  <a:cubicBezTo>
                    <a:pt x="773" y="233"/>
                    <a:pt x="773" y="233"/>
                    <a:pt x="773" y="233"/>
                  </a:cubicBezTo>
                  <a:cubicBezTo>
                    <a:pt x="772" y="233"/>
                    <a:pt x="772" y="233"/>
                    <a:pt x="772" y="233"/>
                  </a:cubicBezTo>
                  <a:cubicBezTo>
                    <a:pt x="772" y="233"/>
                    <a:pt x="772" y="233"/>
                    <a:pt x="772" y="233"/>
                  </a:cubicBezTo>
                  <a:cubicBezTo>
                    <a:pt x="772" y="233"/>
                    <a:pt x="771" y="234"/>
                    <a:pt x="771" y="234"/>
                  </a:cubicBezTo>
                  <a:cubicBezTo>
                    <a:pt x="771" y="234"/>
                    <a:pt x="771" y="234"/>
                    <a:pt x="771" y="234"/>
                  </a:cubicBezTo>
                  <a:cubicBezTo>
                    <a:pt x="771" y="234"/>
                    <a:pt x="771" y="234"/>
                    <a:pt x="771" y="234"/>
                  </a:cubicBezTo>
                  <a:cubicBezTo>
                    <a:pt x="770" y="235"/>
                    <a:pt x="770" y="235"/>
                    <a:pt x="769" y="235"/>
                  </a:cubicBezTo>
                  <a:cubicBezTo>
                    <a:pt x="769" y="235"/>
                    <a:pt x="769" y="235"/>
                    <a:pt x="769" y="235"/>
                  </a:cubicBezTo>
                  <a:cubicBezTo>
                    <a:pt x="768" y="235"/>
                    <a:pt x="768" y="235"/>
                    <a:pt x="768" y="235"/>
                  </a:cubicBezTo>
                  <a:cubicBezTo>
                    <a:pt x="768" y="236"/>
                    <a:pt x="768" y="236"/>
                    <a:pt x="768" y="236"/>
                  </a:cubicBezTo>
                  <a:cubicBezTo>
                    <a:pt x="768" y="236"/>
                    <a:pt x="768" y="236"/>
                    <a:pt x="768" y="236"/>
                  </a:cubicBezTo>
                  <a:cubicBezTo>
                    <a:pt x="768" y="236"/>
                    <a:pt x="768" y="236"/>
                    <a:pt x="768" y="236"/>
                  </a:cubicBezTo>
                  <a:cubicBezTo>
                    <a:pt x="767" y="236"/>
                    <a:pt x="767" y="236"/>
                    <a:pt x="767" y="236"/>
                  </a:cubicBezTo>
                  <a:cubicBezTo>
                    <a:pt x="767" y="237"/>
                    <a:pt x="766" y="237"/>
                    <a:pt x="766" y="237"/>
                  </a:cubicBezTo>
                  <a:cubicBezTo>
                    <a:pt x="765" y="237"/>
                    <a:pt x="765" y="237"/>
                    <a:pt x="765" y="237"/>
                  </a:cubicBezTo>
                  <a:cubicBezTo>
                    <a:pt x="765" y="237"/>
                    <a:pt x="765" y="237"/>
                    <a:pt x="765" y="237"/>
                  </a:cubicBezTo>
                  <a:cubicBezTo>
                    <a:pt x="764" y="238"/>
                    <a:pt x="764" y="238"/>
                    <a:pt x="763" y="238"/>
                  </a:cubicBezTo>
                  <a:cubicBezTo>
                    <a:pt x="763" y="238"/>
                    <a:pt x="763" y="238"/>
                    <a:pt x="763" y="238"/>
                  </a:cubicBezTo>
                  <a:cubicBezTo>
                    <a:pt x="763" y="239"/>
                    <a:pt x="763" y="239"/>
                    <a:pt x="763" y="239"/>
                  </a:cubicBezTo>
                  <a:cubicBezTo>
                    <a:pt x="763" y="239"/>
                    <a:pt x="763" y="239"/>
                    <a:pt x="763" y="239"/>
                  </a:cubicBezTo>
                  <a:cubicBezTo>
                    <a:pt x="763" y="239"/>
                    <a:pt x="763" y="239"/>
                    <a:pt x="763" y="239"/>
                  </a:cubicBezTo>
                  <a:cubicBezTo>
                    <a:pt x="762" y="239"/>
                    <a:pt x="762" y="239"/>
                    <a:pt x="761" y="239"/>
                  </a:cubicBezTo>
                  <a:cubicBezTo>
                    <a:pt x="761" y="240"/>
                    <a:pt x="761" y="240"/>
                    <a:pt x="761" y="240"/>
                  </a:cubicBezTo>
                  <a:cubicBezTo>
                    <a:pt x="761" y="240"/>
                    <a:pt x="761" y="240"/>
                    <a:pt x="761" y="240"/>
                  </a:cubicBezTo>
                  <a:cubicBezTo>
                    <a:pt x="760" y="240"/>
                    <a:pt x="760" y="240"/>
                    <a:pt x="759" y="241"/>
                  </a:cubicBezTo>
                  <a:cubicBezTo>
                    <a:pt x="758" y="241"/>
                    <a:pt x="758" y="241"/>
                    <a:pt x="758" y="241"/>
                  </a:cubicBezTo>
                  <a:cubicBezTo>
                    <a:pt x="758" y="241"/>
                    <a:pt x="758" y="241"/>
                    <a:pt x="758" y="241"/>
                  </a:cubicBezTo>
                  <a:cubicBezTo>
                    <a:pt x="758" y="241"/>
                    <a:pt x="758" y="241"/>
                    <a:pt x="758" y="241"/>
                  </a:cubicBezTo>
                  <a:cubicBezTo>
                    <a:pt x="757" y="241"/>
                    <a:pt x="757" y="241"/>
                    <a:pt x="757" y="241"/>
                  </a:cubicBezTo>
                  <a:cubicBezTo>
                    <a:pt x="757" y="241"/>
                    <a:pt x="757" y="241"/>
                    <a:pt x="757" y="241"/>
                  </a:cubicBezTo>
                  <a:cubicBezTo>
                    <a:pt x="757" y="241"/>
                    <a:pt x="757" y="241"/>
                    <a:pt x="757" y="241"/>
                  </a:cubicBezTo>
                  <a:cubicBezTo>
                    <a:pt x="756" y="242"/>
                    <a:pt x="756" y="242"/>
                    <a:pt x="756" y="242"/>
                  </a:cubicBezTo>
                  <a:cubicBezTo>
                    <a:pt x="755" y="242"/>
                    <a:pt x="754" y="243"/>
                    <a:pt x="752" y="243"/>
                  </a:cubicBezTo>
                  <a:cubicBezTo>
                    <a:pt x="752" y="243"/>
                    <a:pt x="752" y="243"/>
                    <a:pt x="752" y="243"/>
                  </a:cubicBezTo>
                  <a:cubicBezTo>
                    <a:pt x="752" y="243"/>
                    <a:pt x="752" y="243"/>
                    <a:pt x="752" y="243"/>
                  </a:cubicBezTo>
                  <a:cubicBezTo>
                    <a:pt x="750" y="243"/>
                    <a:pt x="750" y="244"/>
                    <a:pt x="749" y="246"/>
                  </a:cubicBezTo>
                  <a:cubicBezTo>
                    <a:pt x="749" y="246"/>
                    <a:pt x="749" y="246"/>
                    <a:pt x="749" y="246"/>
                  </a:cubicBezTo>
                  <a:cubicBezTo>
                    <a:pt x="749" y="246"/>
                    <a:pt x="749" y="246"/>
                    <a:pt x="749" y="246"/>
                  </a:cubicBezTo>
                  <a:cubicBezTo>
                    <a:pt x="749" y="246"/>
                    <a:pt x="749" y="246"/>
                    <a:pt x="749" y="246"/>
                  </a:cubicBezTo>
                  <a:cubicBezTo>
                    <a:pt x="749" y="247"/>
                    <a:pt x="749" y="247"/>
                    <a:pt x="749" y="247"/>
                  </a:cubicBezTo>
                  <a:cubicBezTo>
                    <a:pt x="749" y="247"/>
                    <a:pt x="749" y="247"/>
                    <a:pt x="749" y="247"/>
                  </a:cubicBezTo>
                  <a:cubicBezTo>
                    <a:pt x="749" y="247"/>
                    <a:pt x="749" y="247"/>
                    <a:pt x="749" y="247"/>
                  </a:cubicBezTo>
                  <a:cubicBezTo>
                    <a:pt x="749" y="247"/>
                    <a:pt x="749" y="247"/>
                    <a:pt x="749" y="247"/>
                  </a:cubicBezTo>
                  <a:cubicBezTo>
                    <a:pt x="749" y="248"/>
                    <a:pt x="749" y="248"/>
                    <a:pt x="749" y="248"/>
                  </a:cubicBezTo>
                  <a:cubicBezTo>
                    <a:pt x="748" y="248"/>
                    <a:pt x="748" y="248"/>
                    <a:pt x="748" y="248"/>
                  </a:cubicBezTo>
                  <a:cubicBezTo>
                    <a:pt x="748" y="248"/>
                    <a:pt x="748" y="248"/>
                    <a:pt x="748" y="248"/>
                  </a:cubicBezTo>
                  <a:cubicBezTo>
                    <a:pt x="748" y="248"/>
                    <a:pt x="748" y="248"/>
                    <a:pt x="748" y="248"/>
                  </a:cubicBezTo>
                  <a:cubicBezTo>
                    <a:pt x="748" y="248"/>
                    <a:pt x="748" y="248"/>
                    <a:pt x="748" y="248"/>
                  </a:cubicBezTo>
                  <a:cubicBezTo>
                    <a:pt x="747" y="249"/>
                    <a:pt x="747" y="249"/>
                    <a:pt x="746" y="250"/>
                  </a:cubicBezTo>
                  <a:cubicBezTo>
                    <a:pt x="745" y="252"/>
                    <a:pt x="745" y="252"/>
                    <a:pt x="745" y="252"/>
                  </a:cubicBezTo>
                  <a:cubicBezTo>
                    <a:pt x="745" y="252"/>
                    <a:pt x="745" y="252"/>
                    <a:pt x="745" y="252"/>
                  </a:cubicBezTo>
                  <a:cubicBezTo>
                    <a:pt x="745" y="253"/>
                    <a:pt x="745" y="253"/>
                    <a:pt x="745" y="253"/>
                  </a:cubicBezTo>
                  <a:cubicBezTo>
                    <a:pt x="745" y="253"/>
                    <a:pt x="745" y="253"/>
                    <a:pt x="745" y="253"/>
                  </a:cubicBezTo>
                  <a:cubicBezTo>
                    <a:pt x="746" y="253"/>
                    <a:pt x="746" y="253"/>
                    <a:pt x="746" y="253"/>
                  </a:cubicBezTo>
                  <a:cubicBezTo>
                    <a:pt x="746" y="253"/>
                    <a:pt x="746" y="253"/>
                    <a:pt x="746" y="253"/>
                  </a:cubicBezTo>
                  <a:cubicBezTo>
                    <a:pt x="747" y="253"/>
                    <a:pt x="747" y="253"/>
                    <a:pt x="747" y="253"/>
                  </a:cubicBezTo>
                  <a:cubicBezTo>
                    <a:pt x="747" y="253"/>
                    <a:pt x="747" y="253"/>
                    <a:pt x="747" y="253"/>
                  </a:cubicBezTo>
                  <a:cubicBezTo>
                    <a:pt x="747" y="253"/>
                    <a:pt x="747" y="253"/>
                    <a:pt x="747" y="253"/>
                  </a:cubicBezTo>
                  <a:cubicBezTo>
                    <a:pt x="747" y="253"/>
                    <a:pt x="747" y="253"/>
                    <a:pt x="747" y="253"/>
                  </a:cubicBezTo>
                  <a:cubicBezTo>
                    <a:pt x="747" y="253"/>
                    <a:pt x="747" y="253"/>
                    <a:pt x="747" y="253"/>
                  </a:cubicBezTo>
                  <a:cubicBezTo>
                    <a:pt x="747" y="253"/>
                    <a:pt x="747" y="253"/>
                    <a:pt x="747" y="253"/>
                  </a:cubicBezTo>
                  <a:cubicBezTo>
                    <a:pt x="747" y="252"/>
                    <a:pt x="747" y="252"/>
                    <a:pt x="747" y="252"/>
                  </a:cubicBezTo>
                  <a:cubicBezTo>
                    <a:pt x="747" y="251"/>
                    <a:pt x="747" y="251"/>
                    <a:pt x="747" y="251"/>
                  </a:cubicBezTo>
                  <a:cubicBezTo>
                    <a:pt x="748" y="251"/>
                    <a:pt x="748" y="251"/>
                    <a:pt x="748" y="251"/>
                  </a:cubicBezTo>
                  <a:cubicBezTo>
                    <a:pt x="748" y="251"/>
                    <a:pt x="748" y="251"/>
                    <a:pt x="748" y="251"/>
                  </a:cubicBezTo>
                  <a:cubicBezTo>
                    <a:pt x="749" y="251"/>
                    <a:pt x="749" y="251"/>
                    <a:pt x="749" y="251"/>
                  </a:cubicBezTo>
                  <a:cubicBezTo>
                    <a:pt x="750" y="251"/>
                    <a:pt x="750" y="251"/>
                    <a:pt x="750" y="251"/>
                  </a:cubicBezTo>
                  <a:cubicBezTo>
                    <a:pt x="750" y="251"/>
                    <a:pt x="750" y="251"/>
                    <a:pt x="750" y="251"/>
                  </a:cubicBezTo>
                  <a:cubicBezTo>
                    <a:pt x="749" y="251"/>
                    <a:pt x="749" y="251"/>
                    <a:pt x="749" y="251"/>
                  </a:cubicBezTo>
                  <a:cubicBezTo>
                    <a:pt x="749" y="251"/>
                    <a:pt x="749" y="251"/>
                    <a:pt x="749" y="251"/>
                  </a:cubicBezTo>
                  <a:cubicBezTo>
                    <a:pt x="749" y="252"/>
                    <a:pt x="749" y="252"/>
                    <a:pt x="749" y="252"/>
                  </a:cubicBezTo>
                  <a:cubicBezTo>
                    <a:pt x="749" y="252"/>
                    <a:pt x="749" y="252"/>
                    <a:pt x="749" y="252"/>
                  </a:cubicBezTo>
                  <a:cubicBezTo>
                    <a:pt x="749" y="252"/>
                    <a:pt x="749" y="253"/>
                    <a:pt x="749" y="253"/>
                  </a:cubicBezTo>
                  <a:cubicBezTo>
                    <a:pt x="749" y="254"/>
                    <a:pt x="749" y="254"/>
                    <a:pt x="749" y="254"/>
                  </a:cubicBezTo>
                  <a:cubicBezTo>
                    <a:pt x="748" y="254"/>
                    <a:pt x="748" y="254"/>
                    <a:pt x="748" y="254"/>
                  </a:cubicBezTo>
                  <a:cubicBezTo>
                    <a:pt x="747" y="256"/>
                    <a:pt x="747" y="255"/>
                    <a:pt x="745" y="257"/>
                  </a:cubicBezTo>
                  <a:cubicBezTo>
                    <a:pt x="745" y="258"/>
                    <a:pt x="745" y="258"/>
                    <a:pt x="745" y="258"/>
                  </a:cubicBezTo>
                  <a:cubicBezTo>
                    <a:pt x="745" y="258"/>
                    <a:pt x="745" y="258"/>
                    <a:pt x="745" y="258"/>
                  </a:cubicBezTo>
                  <a:cubicBezTo>
                    <a:pt x="745" y="258"/>
                    <a:pt x="745" y="258"/>
                    <a:pt x="745" y="258"/>
                  </a:cubicBezTo>
                  <a:cubicBezTo>
                    <a:pt x="745" y="259"/>
                    <a:pt x="745" y="259"/>
                    <a:pt x="745" y="259"/>
                  </a:cubicBezTo>
                  <a:cubicBezTo>
                    <a:pt x="745" y="259"/>
                    <a:pt x="745" y="259"/>
                    <a:pt x="745" y="259"/>
                  </a:cubicBezTo>
                  <a:cubicBezTo>
                    <a:pt x="746" y="259"/>
                    <a:pt x="746" y="259"/>
                    <a:pt x="746" y="259"/>
                  </a:cubicBezTo>
                  <a:cubicBezTo>
                    <a:pt x="746" y="259"/>
                    <a:pt x="746" y="259"/>
                    <a:pt x="746" y="259"/>
                  </a:cubicBezTo>
                  <a:cubicBezTo>
                    <a:pt x="746" y="260"/>
                    <a:pt x="746" y="260"/>
                    <a:pt x="746" y="260"/>
                  </a:cubicBezTo>
                  <a:cubicBezTo>
                    <a:pt x="746" y="260"/>
                    <a:pt x="746" y="260"/>
                    <a:pt x="746" y="260"/>
                  </a:cubicBezTo>
                  <a:cubicBezTo>
                    <a:pt x="746" y="261"/>
                    <a:pt x="746" y="261"/>
                    <a:pt x="746" y="261"/>
                  </a:cubicBezTo>
                  <a:cubicBezTo>
                    <a:pt x="746" y="261"/>
                    <a:pt x="746" y="261"/>
                    <a:pt x="746" y="261"/>
                  </a:cubicBezTo>
                  <a:cubicBezTo>
                    <a:pt x="746" y="261"/>
                    <a:pt x="746" y="261"/>
                    <a:pt x="746" y="261"/>
                  </a:cubicBezTo>
                  <a:cubicBezTo>
                    <a:pt x="747" y="261"/>
                    <a:pt x="747" y="261"/>
                    <a:pt x="747" y="261"/>
                  </a:cubicBezTo>
                  <a:cubicBezTo>
                    <a:pt x="747" y="261"/>
                    <a:pt x="747" y="261"/>
                    <a:pt x="747" y="261"/>
                  </a:cubicBezTo>
                  <a:cubicBezTo>
                    <a:pt x="747" y="261"/>
                    <a:pt x="747" y="261"/>
                    <a:pt x="747" y="261"/>
                  </a:cubicBezTo>
                  <a:cubicBezTo>
                    <a:pt x="748" y="260"/>
                    <a:pt x="750" y="261"/>
                    <a:pt x="751" y="260"/>
                  </a:cubicBezTo>
                  <a:cubicBezTo>
                    <a:pt x="751" y="260"/>
                    <a:pt x="751" y="260"/>
                    <a:pt x="751" y="260"/>
                  </a:cubicBezTo>
                  <a:cubicBezTo>
                    <a:pt x="751" y="260"/>
                    <a:pt x="751" y="260"/>
                    <a:pt x="751" y="260"/>
                  </a:cubicBezTo>
                  <a:cubicBezTo>
                    <a:pt x="752" y="260"/>
                    <a:pt x="752" y="260"/>
                    <a:pt x="752" y="260"/>
                  </a:cubicBezTo>
                  <a:cubicBezTo>
                    <a:pt x="752" y="260"/>
                    <a:pt x="752" y="260"/>
                    <a:pt x="752" y="260"/>
                  </a:cubicBezTo>
                  <a:cubicBezTo>
                    <a:pt x="752" y="260"/>
                    <a:pt x="752" y="260"/>
                    <a:pt x="752" y="260"/>
                  </a:cubicBezTo>
                  <a:cubicBezTo>
                    <a:pt x="752" y="260"/>
                    <a:pt x="752" y="260"/>
                    <a:pt x="752" y="260"/>
                  </a:cubicBezTo>
                  <a:cubicBezTo>
                    <a:pt x="754" y="260"/>
                    <a:pt x="754" y="259"/>
                    <a:pt x="755" y="259"/>
                  </a:cubicBezTo>
                  <a:cubicBezTo>
                    <a:pt x="756" y="259"/>
                    <a:pt x="756" y="259"/>
                    <a:pt x="756" y="259"/>
                  </a:cubicBezTo>
                  <a:cubicBezTo>
                    <a:pt x="756" y="260"/>
                    <a:pt x="756" y="260"/>
                    <a:pt x="756" y="260"/>
                  </a:cubicBezTo>
                  <a:cubicBezTo>
                    <a:pt x="758" y="261"/>
                    <a:pt x="759" y="261"/>
                    <a:pt x="758" y="263"/>
                  </a:cubicBezTo>
                  <a:cubicBezTo>
                    <a:pt x="758" y="263"/>
                    <a:pt x="758" y="263"/>
                    <a:pt x="758" y="263"/>
                  </a:cubicBezTo>
                  <a:cubicBezTo>
                    <a:pt x="758" y="264"/>
                    <a:pt x="758" y="264"/>
                    <a:pt x="758" y="264"/>
                  </a:cubicBezTo>
                  <a:cubicBezTo>
                    <a:pt x="758" y="264"/>
                    <a:pt x="758" y="264"/>
                    <a:pt x="758" y="264"/>
                  </a:cubicBezTo>
                  <a:cubicBezTo>
                    <a:pt x="758" y="264"/>
                    <a:pt x="758" y="264"/>
                    <a:pt x="758" y="264"/>
                  </a:cubicBezTo>
                  <a:cubicBezTo>
                    <a:pt x="757" y="265"/>
                    <a:pt x="758" y="265"/>
                    <a:pt x="757" y="266"/>
                  </a:cubicBezTo>
                  <a:cubicBezTo>
                    <a:pt x="757" y="266"/>
                    <a:pt x="757" y="266"/>
                    <a:pt x="757" y="266"/>
                  </a:cubicBezTo>
                  <a:cubicBezTo>
                    <a:pt x="757" y="267"/>
                    <a:pt x="757" y="267"/>
                    <a:pt x="757" y="267"/>
                  </a:cubicBezTo>
                  <a:cubicBezTo>
                    <a:pt x="757" y="268"/>
                    <a:pt x="756" y="268"/>
                    <a:pt x="757" y="269"/>
                  </a:cubicBezTo>
                  <a:cubicBezTo>
                    <a:pt x="757" y="271"/>
                    <a:pt x="757" y="271"/>
                    <a:pt x="757" y="271"/>
                  </a:cubicBezTo>
                  <a:cubicBezTo>
                    <a:pt x="757" y="271"/>
                    <a:pt x="757" y="271"/>
                    <a:pt x="757" y="271"/>
                  </a:cubicBezTo>
                  <a:cubicBezTo>
                    <a:pt x="757" y="272"/>
                    <a:pt x="757" y="272"/>
                    <a:pt x="757" y="272"/>
                  </a:cubicBezTo>
                  <a:cubicBezTo>
                    <a:pt x="757" y="272"/>
                    <a:pt x="757" y="272"/>
                    <a:pt x="757" y="272"/>
                  </a:cubicBezTo>
                  <a:cubicBezTo>
                    <a:pt x="757" y="272"/>
                    <a:pt x="757" y="272"/>
                    <a:pt x="757" y="272"/>
                  </a:cubicBezTo>
                  <a:cubicBezTo>
                    <a:pt x="757" y="272"/>
                    <a:pt x="757" y="272"/>
                    <a:pt x="757" y="272"/>
                  </a:cubicBezTo>
                  <a:cubicBezTo>
                    <a:pt x="757" y="273"/>
                    <a:pt x="757" y="273"/>
                    <a:pt x="757" y="273"/>
                  </a:cubicBezTo>
                  <a:cubicBezTo>
                    <a:pt x="757" y="274"/>
                    <a:pt x="756" y="273"/>
                    <a:pt x="756" y="275"/>
                  </a:cubicBezTo>
                  <a:cubicBezTo>
                    <a:pt x="756" y="275"/>
                    <a:pt x="756" y="275"/>
                    <a:pt x="756" y="275"/>
                  </a:cubicBezTo>
                  <a:cubicBezTo>
                    <a:pt x="756" y="275"/>
                    <a:pt x="756" y="275"/>
                    <a:pt x="756" y="275"/>
                  </a:cubicBezTo>
                  <a:cubicBezTo>
                    <a:pt x="755" y="276"/>
                    <a:pt x="755" y="277"/>
                    <a:pt x="755" y="278"/>
                  </a:cubicBezTo>
                  <a:cubicBezTo>
                    <a:pt x="754" y="280"/>
                    <a:pt x="754" y="280"/>
                    <a:pt x="754" y="280"/>
                  </a:cubicBezTo>
                  <a:cubicBezTo>
                    <a:pt x="754" y="280"/>
                    <a:pt x="754" y="280"/>
                    <a:pt x="754" y="280"/>
                  </a:cubicBezTo>
                  <a:cubicBezTo>
                    <a:pt x="754" y="281"/>
                    <a:pt x="754" y="281"/>
                    <a:pt x="754" y="281"/>
                  </a:cubicBezTo>
                  <a:cubicBezTo>
                    <a:pt x="754" y="281"/>
                    <a:pt x="754" y="281"/>
                    <a:pt x="754" y="281"/>
                  </a:cubicBezTo>
                  <a:cubicBezTo>
                    <a:pt x="755" y="281"/>
                    <a:pt x="755" y="281"/>
                    <a:pt x="755" y="281"/>
                  </a:cubicBezTo>
                  <a:cubicBezTo>
                    <a:pt x="755" y="281"/>
                    <a:pt x="755" y="281"/>
                    <a:pt x="755" y="281"/>
                  </a:cubicBezTo>
                  <a:cubicBezTo>
                    <a:pt x="756" y="282"/>
                    <a:pt x="756" y="282"/>
                    <a:pt x="756" y="282"/>
                  </a:cubicBezTo>
                  <a:cubicBezTo>
                    <a:pt x="757" y="282"/>
                    <a:pt x="757" y="282"/>
                    <a:pt x="757" y="282"/>
                  </a:cubicBezTo>
                  <a:cubicBezTo>
                    <a:pt x="758" y="283"/>
                    <a:pt x="758" y="283"/>
                    <a:pt x="758" y="283"/>
                  </a:cubicBezTo>
                  <a:cubicBezTo>
                    <a:pt x="758" y="284"/>
                    <a:pt x="758" y="284"/>
                    <a:pt x="758" y="284"/>
                  </a:cubicBezTo>
                  <a:cubicBezTo>
                    <a:pt x="758" y="284"/>
                    <a:pt x="758" y="284"/>
                    <a:pt x="758" y="284"/>
                  </a:cubicBezTo>
                  <a:cubicBezTo>
                    <a:pt x="758" y="285"/>
                    <a:pt x="758" y="285"/>
                    <a:pt x="758" y="285"/>
                  </a:cubicBezTo>
                  <a:cubicBezTo>
                    <a:pt x="758" y="285"/>
                    <a:pt x="758" y="285"/>
                    <a:pt x="758" y="285"/>
                  </a:cubicBezTo>
                  <a:cubicBezTo>
                    <a:pt x="758" y="285"/>
                    <a:pt x="758" y="285"/>
                    <a:pt x="758" y="285"/>
                  </a:cubicBezTo>
                  <a:cubicBezTo>
                    <a:pt x="758" y="285"/>
                    <a:pt x="758" y="285"/>
                    <a:pt x="758" y="285"/>
                  </a:cubicBezTo>
                  <a:cubicBezTo>
                    <a:pt x="757" y="286"/>
                    <a:pt x="757" y="287"/>
                    <a:pt x="756" y="288"/>
                  </a:cubicBezTo>
                  <a:cubicBezTo>
                    <a:pt x="756" y="288"/>
                    <a:pt x="756" y="288"/>
                    <a:pt x="756" y="288"/>
                  </a:cubicBezTo>
                  <a:cubicBezTo>
                    <a:pt x="756" y="288"/>
                    <a:pt x="756" y="288"/>
                    <a:pt x="756" y="288"/>
                  </a:cubicBezTo>
                  <a:cubicBezTo>
                    <a:pt x="756" y="288"/>
                    <a:pt x="756" y="288"/>
                    <a:pt x="756" y="288"/>
                  </a:cubicBezTo>
                  <a:cubicBezTo>
                    <a:pt x="756" y="288"/>
                    <a:pt x="756" y="288"/>
                    <a:pt x="756" y="288"/>
                  </a:cubicBezTo>
                  <a:cubicBezTo>
                    <a:pt x="756" y="288"/>
                    <a:pt x="756" y="288"/>
                    <a:pt x="756" y="288"/>
                  </a:cubicBezTo>
                  <a:cubicBezTo>
                    <a:pt x="755" y="288"/>
                    <a:pt x="755" y="288"/>
                    <a:pt x="755" y="288"/>
                  </a:cubicBezTo>
                  <a:cubicBezTo>
                    <a:pt x="753" y="289"/>
                    <a:pt x="753" y="287"/>
                    <a:pt x="752" y="286"/>
                  </a:cubicBezTo>
                  <a:cubicBezTo>
                    <a:pt x="751" y="286"/>
                    <a:pt x="751" y="286"/>
                    <a:pt x="751" y="286"/>
                  </a:cubicBezTo>
                  <a:cubicBezTo>
                    <a:pt x="751" y="286"/>
                    <a:pt x="751" y="286"/>
                    <a:pt x="751" y="286"/>
                  </a:cubicBezTo>
                  <a:cubicBezTo>
                    <a:pt x="751" y="286"/>
                    <a:pt x="751" y="286"/>
                    <a:pt x="751" y="286"/>
                  </a:cubicBezTo>
                  <a:cubicBezTo>
                    <a:pt x="750" y="287"/>
                    <a:pt x="750" y="287"/>
                    <a:pt x="750" y="287"/>
                  </a:cubicBezTo>
                  <a:cubicBezTo>
                    <a:pt x="750" y="287"/>
                    <a:pt x="750" y="287"/>
                    <a:pt x="750" y="287"/>
                  </a:cubicBezTo>
                  <a:cubicBezTo>
                    <a:pt x="750" y="287"/>
                    <a:pt x="750" y="287"/>
                    <a:pt x="750" y="287"/>
                  </a:cubicBezTo>
                  <a:cubicBezTo>
                    <a:pt x="750" y="287"/>
                    <a:pt x="750" y="287"/>
                    <a:pt x="750" y="287"/>
                  </a:cubicBezTo>
                  <a:cubicBezTo>
                    <a:pt x="750" y="287"/>
                    <a:pt x="750" y="287"/>
                    <a:pt x="750" y="287"/>
                  </a:cubicBezTo>
                  <a:cubicBezTo>
                    <a:pt x="750" y="288"/>
                    <a:pt x="750" y="288"/>
                    <a:pt x="750" y="288"/>
                  </a:cubicBezTo>
                  <a:cubicBezTo>
                    <a:pt x="750" y="288"/>
                    <a:pt x="750" y="288"/>
                    <a:pt x="750" y="288"/>
                  </a:cubicBezTo>
                  <a:cubicBezTo>
                    <a:pt x="750" y="288"/>
                    <a:pt x="750" y="288"/>
                    <a:pt x="750" y="288"/>
                  </a:cubicBezTo>
                  <a:cubicBezTo>
                    <a:pt x="750" y="288"/>
                    <a:pt x="750" y="288"/>
                    <a:pt x="750" y="288"/>
                  </a:cubicBezTo>
                  <a:cubicBezTo>
                    <a:pt x="750" y="288"/>
                    <a:pt x="750" y="288"/>
                    <a:pt x="750" y="288"/>
                  </a:cubicBezTo>
                  <a:cubicBezTo>
                    <a:pt x="750" y="288"/>
                    <a:pt x="750" y="288"/>
                    <a:pt x="750" y="288"/>
                  </a:cubicBezTo>
                  <a:cubicBezTo>
                    <a:pt x="749" y="293"/>
                    <a:pt x="747" y="294"/>
                    <a:pt x="748" y="301"/>
                  </a:cubicBezTo>
                  <a:cubicBezTo>
                    <a:pt x="748" y="302"/>
                    <a:pt x="748" y="302"/>
                    <a:pt x="748" y="302"/>
                  </a:cubicBezTo>
                  <a:cubicBezTo>
                    <a:pt x="748" y="302"/>
                    <a:pt x="748" y="302"/>
                    <a:pt x="748" y="302"/>
                  </a:cubicBezTo>
                  <a:cubicBezTo>
                    <a:pt x="749" y="302"/>
                    <a:pt x="749" y="302"/>
                    <a:pt x="749" y="302"/>
                  </a:cubicBezTo>
                  <a:cubicBezTo>
                    <a:pt x="749" y="302"/>
                    <a:pt x="749" y="302"/>
                    <a:pt x="749" y="302"/>
                  </a:cubicBezTo>
                  <a:cubicBezTo>
                    <a:pt x="749" y="302"/>
                    <a:pt x="749" y="302"/>
                    <a:pt x="749" y="302"/>
                  </a:cubicBezTo>
                  <a:cubicBezTo>
                    <a:pt x="749" y="302"/>
                    <a:pt x="749" y="302"/>
                    <a:pt x="749" y="302"/>
                  </a:cubicBezTo>
                  <a:cubicBezTo>
                    <a:pt x="749" y="301"/>
                    <a:pt x="749" y="301"/>
                    <a:pt x="749" y="301"/>
                  </a:cubicBezTo>
                  <a:cubicBezTo>
                    <a:pt x="749" y="300"/>
                    <a:pt x="749" y="300"/>
                    <a:pt x="749" y="300"/>
                  </a:cubicBezTo>
                  <a:cubicBezTo>
                    <a:pt x="750" y="300"/>
                    <a:pt x="750" y="300"/>
                    <a:pt x="750" y="300"/>
                  </a:cubicBezTo>
                  <a:cubicBezTo>
                    <a:pt x="750" y="300"/>
                    <a:pt x="750" y="300"/>
                    <a:pt x="750" y="300"/>
                  </a:cubicBezTo>
                  <a:cubicBezTo>
                    <a:pt x="750" y="300"/>
                    <a:pt x="750" y="300"/>
                    <a:pt x="750" y="300"/>
                  </a:cubicBezTo>
                  <a:cubicBezTo>
                    <a:pt x="750" y="300"/>
                    <a:pt x="750" y="300"/>
                    <a:pt x="750" y="300"/>
                  </a:cubicBezTo>
                  <a:cubicBezTo>
                    <a:pt x="751" y="300"/>
                    <a:pt x="751" y="300"/>
                    <a:pt x="751" y="300"/>
                  </a:cubicBezTo>
                  <a:cubicBezTo>
                    <a:pt x="751" y="300"/>
                    <a:pt x="751" y="300"/>
                    <a:pt x="751" y="300"/>
                  </a:cubicBezTo>
                  <a:cubicBezTo>
                    <a:pt x="751" y="300"/>
                    <a:pt x="751" y="300"/>
                    <a:pt x="751" y="300"/>
                  </a:cubicBezTo>
                  <a:cubicBezTo>
                    <a:pt x="751" y="299"/>
                    <a:pt x="751" y="299"/>
                    <a:pt x="751" y="299"/>
                  </a:cubicBezTo>
                  <a:cubicBezTo>
                    <a:pt x="752" y="299"/>
                    <a:pt x="752" y="299"/>
                    <a:pt x="752" y="299"/>
                  </a:cubicBezTo>
                  <a:cubicBezTo>
                    <a:pt x="752" y="298"/>
                    <a:pt x="752" y="298"/>
                    <a:pt x="752" y="298"/>
                  </a:cubicBezTo>
                  <a:cubicBezTo>
                    <a:pt x="752" y="298"/>
                    <a:pt x="752" y="298"/>
                    <a:pt x="752" y="298"/>
                  </a:cubicBezTo>
                  <a:cubicBezTo>
                    <a:pt x="752" y="298"/>
                    <a:pt x="752" y="298"/>
                    <a:pt x="752" y="298"/>
                  </a:cubicBezTo>
                  <a:cubicBezTo>
                    <a:pt x="752" y="298"/>
                    <a:pt x="752" y="298"/>
                    <a:pt x="752" y="298"/>
                  </a:cubicBezTo>
                  <a:cubicBezTo>
                    <a:pt x="753" y="298"/>
                    <a:pt x="753" y="298"/>
                    <a:pt x="753" y="298"/>
                  </a:cubicBezTo>
                  <a:cubicBezTo>
                    <a:pt x="753" y="298"/>
                    <a:pt x="753" y="298"/>
                    <a:pt x="753" y="298"/>
                  </a:cubicBezTo>
                  <a:cubicBezTo>
                    <a:pt x="753" y="298"/>
                    <a:pt x="753" y="298"/>
                    <a:pt x="753" y="298"/>
                  </a:cubicBezTo>
                  <a:cubicBezTo>
                    <a:pt x="754" y="298"/>
                    <a:pt x="755" y="299"/>
                    <a:pt x="756" y="299"/>
                  </a:cubicBezTo>
                  <a:cubicBezTo>
                    <a:pt x="757" y="300"/>
                    <a:pt x="757" y="300"/>
                    <a:pt x="757" y="300"/>
                  </a:cubicBezTo>
                  <a:cubicBezTo>
                    <a:pt x="757" y="300"/>
                    <a:pt x="757" y="300"/>
                    <a:pt x="757" y="300"/>
                  </a:cubicBezTo>
                  <a:cubicBezTo>
                    <a:pt x="757" y="300"/>
                    <a:pt x="757" y="300"/>
                    <a:pt x="757" y="300"/>
                  </a:cubicBezTo>
                  <a:cubicBezTo>
                    <a:pt x="758" y="300"/>
                    <a:pt x="758" y="300"/>
                    <a:pt x="758" y="300"/>
                  </a:cubicBezTo>
                  <a:cubicBezTo>
                    <a:pt x="759" y="301"/>
                    <a:pt x="759" y="301"/>
                    <a:pt x="760" y="301"/>
                  </a:cubicBezTo>
                  <a:cubicBezTo>
                    <a:pt x="761" y="301"/>
                    <a:pt x="761" y="301"/>
                    <a:pt x="761" y="301"/>
                  </a:cubicBezTo>
                  <a:cubicBezTo>
                    <a:pt x="761" y="301"/>
                    <a:pt x="761" y="301"/>
                    <a:pt x="761" y="301"/>
                  </a:cubicBezTo>
                  <a:cubicBezTo>
                    <a:pt x="763" y="301"/>
                    <a:pt x="762" y="301"/>
                    <a:pt x="764" y="302"/>
                  </a:cubicBezTo>
                  <a:cubicBezTo>
                    <a:pt x="764" y="302"/>
                    <a:pt x="764" y="302"/>
                    <a:pt x="764" y="302"/>
                  </a:cubicBezTo>
                  <a:cubicBezTo>
                    <a:pt x="765" y="302"/>
                    <a:pt x="765" y="302"/>
                    <a:pt x="765" y="302"/>
                  </a:cubicBezTo>
                  <a:cubicBezTo>
                    <a:pt x="765" y="302"/>
                    <a:pt x="765" y="302"/>
                    <a:pt x="765" y="302"/>
                  </a:cubicBezTo>
                  <a:cubicBezTo>
                    <a:pt x="765" y="302"/>
                    <a:pt x="765" y="302"/>
                    <a:pt x="765" y="302"/>
                  </a:cubicBezTo>
                  <a:cubicBezTo>
                    <a:pt x="765" y="303"/>
                    <a:pt x="765" y="303"/>
                    <a:pt x="765" y="303"/>
                  </a:cubicBezTo>
                  <a:cubicBezTo>
                    <a:pt x="765" y="303"/>
                    <a:pt x="765" y="303"/>
                    <a:pt x="765" y="303"/>
                  </a:cubicBezTo>
                  <a:cubicBezTo>
                    <a:pt x="765" y="303"/>
                    <a:pt x="765" y="303"/>
                    <a:pt x="765" y="303"/>
                  </a:cubicBezTo>
                  <a:cubicBezTo>
                    <a:pt x="766" y="303"/>
                    <a:pt x="766" y="303"/>
                    <a:pt x="766" y="303"/>
                  </a:cubicBezTo>
                  <a:cubicBezTo>
                    <a:pt x="766" y="303"/>
                    <a:pt x="766" y="303"/>
                    <a:pt x="766" y="303"/>
                  </a:cubicBezTo>
                  <a:cubicBezTo>
                    <a:pt x="766" y="303"/>
                    <a:pt x="766" y="303"/>
                    <a:pt x="766" y="303"/>
                  </a:cubicBezTo>
                  <a:cubicBezTo>
                    <a:pt x="767" y="304"/>
                    <a:pt x="767" y="304"/>
                    <a:pt x="767" y="304"/>
                  </a:cubicBezTo>
                  <a:cubicBezTo>
                    <a:pt x="767" y="304"/>
                    <a:pt x="767" y="304"/>
                    <a:pt x="767" y="304"/>
                  </a:cubicBezTo>
                  <a:cubicBezTo>
                    <a:pt x="767" y="304"/>
                    <a:pt x="767" y="304"/>
                    <a:pt x="767" y="304"/>
                  </a:cubicBezTo>
                  <a:cubicBezTo>
                    <a:pt x="768" y="304"/>
                    <a:pt x="768" y="304"/>
                    <a:pt x="768" y="304"/>
                  </a:cubicBezTo>
                  <a:cubicBezTo>
                    <a:pt x="768" y="304"/>
                    <a:pt x="768" y="304"/>
                    <a:pt x="768" y="304"/>
                  </a:cubicBezTo>
                  <a:cubicBezTo>
                    <a:pt x="768" y="304"/>
                    <a:pt x="768" y="304"/>
                    <a:pt x="768" y="304"/>
                  </a:cubicBezTo>
                  <a:cubicBezTo>
                    <a:pt x="769" y="305"/>
                    <a:pt x="769" y="305"/>
                    <a:pt x="769" y="305"/>
                  </a:cubicBezTo>
                  <a:cubicBezTo>
                    <a:pt x="769" y="305"/>
                    <a:pt x="769" y="305"/>
                    <a:pt x="769" y="305"/>
                  </a:cubicBezTo>
                  <a:cubicBezTo>
                    <a:pt x="769" y="305"/>
                    <a:pt x="769" y="305"/>
                    <a:pt x="769" y="305"/>
                  </a:cubicBezTo>
                  <a:cubicBezTo>
                    <a:pt x="770" y="305"/>
                    <a:pt x="770" y="305"/>
                    <a:pt x="770" y="305"/>
                  </a:cubicBezTo>
                  <a:cubicBezTo>
                    <a:pt x="770" y="305"/>
                    <a:pt x="770" y="305"/>
                    <a:pt x="770" y="305"/>
                  </a:cubicBezTo>
                  <a:cubicBezTo>
                    <a:pt x="771" y="305"/>
                    <a:pt x="771" y="305"/>
                    <a:pt x="771" y="305"/>
                  </a:cubicBezTo>
                  <a:cubicBezTo>
                    <a:pt x="771" y="305"/>
                    <a:pt x="771" y="305"/>
                    <a:pt x="771" y="305"/>
                  </a:cubicBezTo>
                  <a:cubicBezTo>
                    <a:pt x="771" y="305"/>
                    <a:pt x="771" y="305"/>
                    <a:pt x="771" y="305"/>
                  </a:cubicBezTo>
                  <a:cubicBezTo>
                    <a:pt x="771" y="305"/>
                    <a:pt x="771" y="305"/>
                    <a:pt x="771" y="305"/>
                  </a:cubicBezTo>
                  <a:cubicBezTo>
                    <a:pt x="771" y="304"/>
                    <a:pt x="771" y="304"/>
                    <a:pt x="771" y="304"/>
                  </a:cubicBezTo>
                  <a:cubicBezTo>
                    <a:pt x="772" y="304"/>
                    <a:pt x="772" y="304"/>
                    <a:pt x="772" y="304"/>
                  </a:cubicBezTo>
                  <a:cubicBezTo>
                    <a:pt x="773" y="304"/>
                    <a:pt x="773" y="304"/>
                    <a:pt x="773" y="304"/>
                  </a:cubicBezTo>
                  <a:cubicBezTo>
                    <a:pt x="773" y="304"/>
                    <a:pt x="773" y="304"/>
                    <a:pt x="773" y="304"/>
                  </a:cubicBezTo>
                  <a:cubicBezTo>
                    <a:pt x="773" y="304"/>
                    <a:pt x="773" y="304"/>
                    <a:pt x="773" y="304"/>
                  </a:cubicBezTo>
                  <a:cubicBezTo>
                    <a:pt x="773" y="304"/>
                    <a:pt x="773" y="304"/>
                    <a:pt x="773" y="304"/>
                  </a:cubicBezTo>
                  <a:cubicBezTo>
                    <a:pt x="773" y="305"/>
                    <a:pt x="773" y="305"/>
                    <a:pt x="773" y="305"/>
                  </a:cubicBezTo>
                  <a:cubicBezTo>
                    <a:pt x="773" y="305"/>
                    <a:pt x="773" y="305"/>
                    <a:pt x="773" y="305"/>
                  </a:cubicBezTo>
                  <a:cubicBezTo>
                    <a:pt x="773" y="306"/>
                    <a:pt x="773" y="306"/>
                    <a:pt x="773" y="306"/>
                  </a:cubicBezTo>
                  <a:cubicBezTo>
                    <a:pt x="773" y="306"/>
                    <a:pt x="773" y="306"/>
                    <a:pt x="773" y="306"/>
                  </a:cubicBezTo>
                  <a:cubicBezTo>
                    <a:pt x="773" y="306"/>
                    <a:pt x="773" y="306"/>
                    <a:pt x="773" y="306"/>
                  </a:cubicBezTo>
                  <a:cubicBezTo>
                    <a:pt x="773" y="306"/>
                    <a:pt x="773" y="306"/>
                    <a:pt x="773" y="306"/>
                  </a:cubicBezTo>
                  <a:cubicBezTo>
                    <a:pt x="773" y="306"/>
                    <a:pt x="773" y="306"/>
                    <a:pt x="773" y="306"/>
                  </a:cubicBezTo>
                  <a:cubicBezTo>
                    <a:pt x="773" y="307"/>
                    <a:pt x="773" y="307"/>
                    <a:pt x="773" y="307"/>
                  </a:cubicBezTo>
                  <a:cubicBezTo>
                    <a:pt x="773" y="307"/>
                    <a:pt x="773" y="307"/>
                    <a:pt x="773" y="307"/>
                  </a:cubicBezTo>
                  <a:cubicBezTo>
                    <a:pt x="773" y="308"/>
                    <a:pt x="773" y="308"/>
                    <a:pt x="773" y="308"/>
                  </a:cubicBezTo>
                  <a:cubicBezTo>
                    <a:pt x="773" y="309"/>
                    <a:pt x="773" y="309"/>
                    <a:pt x="773" y="309"/>
                  </a:cubicBezTo>
                  <a:cubicBezTo>
                    <a:pt x="772" y="310"/>
                    <a:pt x="772" y="310"/>
                    <a:pt x="772" y="310"/>
                  </a:cubicBezTo>
                  <a:cubicBezTo>
                    <a:pt x="772" y="310"/>
                    <a:pt x="772" y="310"/>
                    <a:pt x="772" y="310"/>
                  </a:cubicBezTo>
                  <a:cubicBezTo>
                    <a:pt x="772" y="311"/>
                    <a:pt x="772" y="311"/>
                    <a:pt x="772" y="311"/>
                  </a:cubicBezTo>
                  <a:cubicBezTo>
                    <a:pt x="772" y="311"/>
                    <a:pt x="772" y="311"/>
                    <a:pt x="772" y="311"/>
                  </a:cubicBezTo>
                  <a:cubicBezTo>
                    <a:pt x="772" y="311"/>
                    <a:pt x="772" y="311"/>
                    <a:pt x="772" y="311"/>
                  </a:cubicBezTo>
                  <a:cubicBezTo>
                    <a:pt x="772" y="311"/>
                    <a:pt x="772" y="311"/>
                    <a:pt x="772" y="311"/>
                  </a:cubicBezTo>
                  <a:cubicBezTo>
                    <a:pt x="772" y="312"/>
                    <a:pt x="772" y="312"/>
                    <a:pt x="772" y="312"/>
                  </a:cubicBezTo>
                  <a:cubicBezTo>
                    <a:pt x="772" y="312"/>
                    <a:pt x="772" y="312"/>
                    <a:pt x="772" y="312"/>
                  </a:cubicBezTo>
                  <a:cubicBezTo>
                    <a:pt x="772" y="312"/>
                    <a:pt x="772" y="312"/>
                    <a:pt x="772" y="312"/>
                  </a:cubicBezTo>
                  <a:cubicBezTo>
                    <a:pt x="772" y="312"/>
                    <a:pt x="772" y="312"/>
                    <a:pt x="772" y="312"/>
                  </a:cubicBezTo>
                  <a:cubicBezTo>
                    <a:pt x="773" y="314"/>
                    <a:pt x="775" y="315"/>
                    <a:pt x="775" y="316"/>
                  </a:cubicBezTo>
                  <a:cubicBezTo>
                    <a:pt x="776" y="316"/>
                    <a:pt x="776" y="316"/>
                    <a:pt x="776" y="316"/>
                  </a:cubicBezTo>
                  <a:cubicBezTo>
                    <a:pt x="776" y="317"/>
                    <a:pt x="776" y="317"/>
                    <a:pt x="776" y="317"/>
                  </a:cubicBezTo>
                  <a:cubicBezTo>
                    <a:pt x="777" y="318"/>
                    <a:pt x="778" y="318"/>
                    <a:pt x="779" y="321"/>
                  </a:cubicBezTo>
                  <a:cubicBezTo>
                    <a:pt x="779" y="321"/>
                    <a:pt x="779" y="321"/>
                    <a:pt x="779" y="321"/>
                  </a:cubicBezTo>
                  <a:cubicBezTo>
                    <a:pt x="779" y="321"/>
                    <a:pt x="779" y="321"/>
                    <a:pt x="779" y="321"/>
                  </a:cubicBezTo>
                  <a:cubicBezTo>
                    <a:pt x="779" y="321"/>
                    <a:pt x="779" y="321"/>
                    <a:pt x="779" y="321"/>
                  </a:cubicBezTo>
                  <a:cubicBezTo>
                    <a:pt x="779" y="321"/>
                    <a:pt x="779" y="321"/>
                    <a:pt x="779" y="321"/>
                  </a:cubicBezTo>
                  <a:cubicBezTo>
                    <a:pt x="779" y="321"/>
                    <a:pt x="779" y="321"/>
                    <a:pt x="779" y="321"/>
                  </a:cubicBezTo>
                  <a:cubicBezTo>
                    <a:pt x="779" y="321"/>
                    <a:pt x="779" y="321"/>
                    <a:pt x="779" y="321"/>
                  </a:cubicBezTo>
                  <a:cubicBezTo>
                    <a:pt x="780" y="322"/>
                    <a:pt x="780" y="322"/>
                    <a:pt x="780" y="322"/>
                  </a:cubicBezTo>
                  <a:cubicBezTo>
                    <a:pt x="780" y="322"/>
                    <a:pt x="780" y="322"/>
                    <a:pt x="780" y="322"/>
                  </a:cubicBezTo>
                  <a:cubicBezTo>
                    <a:pt x="780" y="322"/>
                    <a:pt x="780" y="322"/>
                    <a:pt x="780" y="322"/>
                  </a:cubicBezTo>
                  <a:cubicBezTo>
                    <a:pt x="780" y="322"/>
                    <a:pt x="780" y="322"/>
                    <a:pt x="780" y="322"/>
                  </a:cubicBezTo>
                  <a:cubicBezTo>
                    <a:pt x="780" y="322"/>
                    <a:pt x="780" y="322"/>
                    <a:pt x="780" y="322"/>
                  </a:cubicBezTo>
                  <a:cubicBezTo>
                    <a:pt x="781" y="322"/>
                    <a:pt x="781" y="322"/>
                    <a:pt x="781" y="322"/>
                  </a:cubicBezTo>
                  <a:cubicBezTo>
                    <a:pt x="781" y="323"/>
                    <a:pt x="781" y="323"/>
                    <a:pt x="781" y="323"/>
                  </a:cubicBezTo>
                  <a:cubicBezTo>
                    <a:pt x="781" y="323"/>
                    <a:pt x="781" y="323"/>
                    <a:pt x="781" y="323"/>
                  </a:cubicBezTo>
                  <a:cubicBezTo>
                    <a:pt x="781" y="323"/>
                    <a:pt x="781" y="323"/>
                    <a:pt x="781" y="323"/>
                  </a:cubicBezTo>
                  <a:cubicBezTo>
                    <a:pt x="783" y="323"/>
                    <a:pt x="784" y="324"/>
                    <a:pt x="785" y="324"/>
                  </a:cubicBezTo>
                  <a:cubicBezTo>
                    <a:pt x="785" y="324"/>
                    <a:pt x="785" y="324"/>
                    <a:pt x="785" y="324"/>
                  </a:cubicBezTo>
                  <a:cubicBezTo>
                    <a:pt x="785" y="324"/>
                    <a:pt x="785" y="324"/>
                    <a:pt x="785" y="324"/>
                  </a:cubicBezTo>
                  <a:cubicBezTo>
                    <a:pt x="786" y="324"/>
                    <a:pt x="786" y="324"/>
                    <a:pt x="786" y="324"/>
                  </a:cubicBezTo>
                  <a:cubicBezTo>
                    <a:pt x="786" y="324"/>
                    <a:pt x="786" y="324"/>
                    <a:pt x="786" y="324"/>
                  </a:cubicBezTo>
                  <a:cubicBezTo>
                    <a:pt x="787" y="324"/>
                    <a:pt x="788" y="324"/>
                    <a:pt x="788" y="323"/>
                  </a:cubicBezTo>
                  <a:cubicBezTo>
                    <a:pt x="789" y="323"/>
                    <a:pt x="789" y="323"/>
                    <a:pt x="789" y="323"/>
                  </a:cubicBezTo>
                  <a:cubicBezTo>
                    <a:pt x="789" y="323"/>
                    <a:pt x="789" y="323"/>
                    <a:pt x="789" y="323"/>
                  </a:cubicBezTo>
                  <a:cubicBezTo>
                    <a:pt x="789" y="323"/>
                    <a:pt x="789" y="323"/>
                    <a:pt x="789" y="323"/>
                  </a:cubicBezTo>
                  <a:cubicBezTo>
                    <a:pt x="790" y="323"/>
                    <a:pt x="790" y="323"/>
                    <a:pt x="790" y="323"/>
                  </a:cubicBezTo>
                  <a:cubicBezTo>
                    <a:pt x="790" y="323"/>
                    <a:pt x="790" y="323"/>
                    <a:pt x="790" y="323"/>
                  </a:cubicBezTo>
                  <a:cubicBezTo>
                    <a:pt x="790" y="323"/>
                    <a:pt x="790" y="323"/>
                    <a:pt x="790" y="323"/>
                  </a:cubicBezTo>
                  <a:cubicBezTo>
                    <a:pt x="790" y="323"/>
                    <a:pt x="790" y="323"/>
                    <a:pt x="790" y="323"/>
                  </a:cubicBezTo>
                  <a:cubicBezTo>
                    <a:pt x="791" y="323"/>
                    <a:pt x="791" y="323"/>
                    <a:pt x="791" y="323"/>
                  </a:cubicBezTo>
                  <a:cubicBezTo>
                    <a:pt x="791" y="323"/>
                    <a:pt x="791" y="323"/>
                    <a:pt x="791" y="323"/>
                  </a:cubicBezTo>
                  <a:cubicBezTo>
                    <a:pt x="791" y="323"/>
                    <a:pt x="791" y="323"/>
                    <a:pt x="791" y="323"/>
                  </a:cubicBezTo>
                  <a:cubicBezTo>
                    <a:pt x="791" y="323"/>
                    <a:pt x="791" y="323"/>
                    <a:pt x="791" y="323"/>
                  </a:cubicBezTo>
                  <a:cubicBezTo>
                    <a:pt x="792" y="323"/>
                    <a:pt x="792" y="323"/>
                    <a:pt x="792" y="323"/>
                  </a:cubicBezTo>
                  <a:cubicBezTo>
                    <a:pt x="792" y="323"/>
                    <a:pt x="792" y="323"/>
                    <a:pt x="792" y="323"/>
                  </a:cubicBezTo>
                  <a:cubicBezTo>
                    <a:pt x="793" y="323"/>
                    <a:pt x="793" y="323"/>
                    <a:pt x="793" y="323"/>
                  </a:cubicBezTo>
                  <a:cubicBezTo>
                    <a:pt x="794" y="323"/>
                    <a:pt x="794" y="323"/>
                    <a:pt x="794" y="323"/>
                  </a:cubicBezTo>
                  <a:cubicBezTo>
                    <a:pt x="794" y="323"/>
                    <a:pt x="794" y="323"/>
                    <a:pt x="794" y="323"/>
                  </a:cubicBezTo>
                  <a:cubicBezTo>
                    <a:pt x="794" y="323"/>
                    <a:pt x="794" y="323"/>
                    <a:pt x="794" y="323"/>
                  </a:cubicBezTo>
                  <a:cubicBezTo>
                    <a:pt x="791" y="324"/>
                    <a:pt x="795" y="324"/>
                    <a:pt x="790" y="325"/>
                  </a:cubicBezTo>
                  <a:cubicBezTo>
                    <a:pt x="790" y="325"/>
                    <a:pt x="790" y="325"/>
                    <a:pt x="790" y="325"/>
                  </a:cubicBezTo>
                  <a:cubicBezTo>
                    <a:pt x="790" y="325"/>
                    <a:pt x="790" y="325"/>
                    <a:pt x="790" y="325"/>
                  </a:cubicBezTo>
                  <a:cubicBezTo>
                    <a:pt x="790" y="325"/>
                    <a:pt x="790" y="325"/>
                    <a:pt x="790" y="325"/>
                  </a:cubicBezTo>
                  <a:cubicBezTo>
                    <a:pt x="790" y="326"/>
                    <a:pt x="790" y="326"/>
                    <a:pt x="790" y="326"/>
                  </a:cubicBezTo>
                  <a:cubicBezTo>
                    <a:pt x="791" y="326"/>
                    <a:pt x="791" y="326"/>
                    <a:pt x="791" y="326"/>
                  </a:cubicBezTo>
                  <a:cubicBezTo>
                    <a:pt x="792" y="326"/>
                    <a:pt x="792" y="326"/>
                    <a:pt x="792" y="326"/>
                  </a:cubicBezTo>
                  <a:cubicBezTo>
                    <a:pt x="792" y="326"/>
                    <a:pt x="792" y="326"/>
                    <a:pt x="792" y="326"/>
                  </a:cubicBezTo>
                  <a:cubicBezTo>
                    <a:pt x="792" y="326"/>
                    <a:pt x="792" y="326"/>
                    <a:pt x="792" y="326"/>
                  </a:cubicBezTo>
                  <a:cubicBezTo>
                    <a:pt x="792" y="326"/>
                    <a:pt x="792" y="326"/>
                    <a:pt x="792" y="326"/>
                  </a:cubicBezTo>
                  <a:cubicBezTo>
                    <a:pt x="792" y="327"/>
                    <a:pt x="792" y="327"/>
                    <a:pt x="792" y="327"/>
                  </a:cubicBezTo>
                  <a:cubicBezTo>
                    <a:pt x="792" y="327"/>
                    <a:pt x="792" y="327"/>
                    <a:pt x="792" y="327"/>
                  </a:cubicBezTo>
                  <a:cubicBezTo>
                    <a:pt x="792" y="327"/>
                    <a:pt x="792" y="327"/>
                    <a:pt x="792" y="327"/>
                  </a:cubicBezTo>
                  <a:cubicBezTo>
                    <a:pt x="792" y="327"/>
                    <a:pt x="792" y="327"/>
                    <a:pt x="792" y="327"/>
                  </a:cubicBezTo>
                  <a:cubicBezTo>
                    <a:pt x="791" y="327"/>
                    <a:pt x="791" y="327"/>
                    <a:pt x="791" y="327"/>
                  </a:cubicBezTo>
                  <a:cubicBezTo>
                    <a:pt x="791" y="328"/>
                    <a:pt x="791" y="328"/>
                    <a:pt x="791" y="328"/>
                  </a:cubicBezTo>
                  <a:cubicBezTo>
                    <a:pt x="791" y="328"/>
                    <a:pt x="791" y="328"/>
                    <a:pt x="791" y="328"/>
                  </a:cubicBezTo>
                  <a:cubicBezTo>
                    <a:pt x="791" y="328"/>
                    <a:pt x="791" y="328"/>
                    <a:pt x="791" y="328"/>
                  </a:cubicBezTo>
                  <a:cubicBezTo>
                    <a:pt x="790" y="328"/>
                    <a:pt x="790" y="328"/>
                    <a:pt x="790" y="328"/>
                  </a:cubicBezTo>
                  <a:cubicBezTo>
                    <a:pt x="790" y="328"/>
                    <a:pt x="790" y="328"/>
                    <a:pt x="790" y="328"/>
                  </a:cubicBezTo>
                  <a:cubicBezTo>
                    <a:pt x="790" y="328"/>
                    <a:pt x="790" y="328"/>
                    <a:pt x="790" y="328"/>
                  </a:cubicBezTo>
                  <a:cubicBezTo>
                    <a:pt x="790" y="329"/>
                    <a:pt x="791" y="329"/>
                    <a:pt x="790" y="330"/>
                  </a:cubicBezTo>
                  <a:cubicBezTo>
                    <a:pt x="790" y="330"/>
                    <a:pt x="790" y="330"/>
                    <a:pt x="790" y="330"/>
                  </a:cubicBezTo>
                  <a:cubicBezTo>
                    <a:pt x="790" y="330"/>
                    <a:pt x="790" y="330"/>
                    <a:pt x="790" y="330"/>
                  </a:cubicBezTo>
                  <a:cubicBezTo>
                    <a:pt x="790" y="330"/>
                    <a:pt x="790" y="330"/>
                    <a:pt x="790" y="330"/>
                  </a:cubicBezTo>
                  <a:cubicBezTo>
                    <a:pt x="790" y="331"/>
                    <a:pt x="789" y="334"/>
                    <a:pt x="788" y="335"/>
                  </a:cubicBezTo>
                  <a:cubicBezTo>
                    <a:pt x="788" y="335"/>
                    <a:pt x="788" y="335"/>
                    <a:pt x="788" y="335"/>
                  </a:cubicBezTo>
                  <a:cubicBezTo>
                    <a:pt x="788" y="335"/>
                    <a:pt x="788" y="335"/>
                    <a:pt x="788" y="335"/>
                  </a:cubicBezTo>
                  <a:cubicBezTo>
                    <a:pt x="788" y="335"/>
                    <a:pt x="788" y="335"/>
                    <a:pt x="788" y="335"/>
                  </a:cubicBezTo>
                  <a:cubicBezTo>
                    <a:pt x="787" y="336"/>
                    <a:pt x="787" y="336"/>
                    <a:pt x="787" y="336"/>
                  </a:cubicBezTo>
                  <a:cubicBezTo>
                    <a:pt x="786" y="338"/>
                    <a:pt x="786" y="338"/>
                    <a:pt x="784" y="340"/>
                  </a:cubicBezTo>
                  <a:cubicBezTo>
                    <a:pt x="784" y="340"/>
                    <a:pt x="784" y="340"/>
                    <a:pt x="784" y="340"/>
                  </a:cubicBezTo>
                  <a:cubicBezTo>
                    <a:pt x="784" y="340"/>
                    <a:pt x="784" y="340"/>
                    <a:pt x="784" y="340"/>
                  </a:cubicBezTo>
                  <a:cubicBezTo>
                    <a:pt x="783" y="340"/>
                    <a:pt x="783" y="340"/>
                    <a:pt x="783" y="340"/>
                  </a:cubicBezTo>
                  <a:cubicBezTo>
                    <a:pt x="783" y="341"/>
                    <a:pt x="783" y="341"/>
                    <a:pt x="783" y="341"/>
                  </a:cubicBezTo>
                  <a:cubicBezTo>
                    <a:pt x="783" y="341"/>
                    <a:pt x="783" y="341"/>
                    <a:pt x="783" y="341"/>
                  </a:cubicBezTo>
                  <a:cubicBezTo>
                    <a:pt x="783" y="341"/>
                    <a:pt x="783" y="341"/>
                    <a:pt x="783" y="341"/>
                  </a:cubicBezTo>
                  <a:cubicBezTo>
                    <a:pt x="783" y="342"/>
                    <a:pt x="783" y="342"/>
                    <a:pt x="783" y="342"/>
                  </a:cubicBezTo>
                  <a:cubicBezTo>
                    <a:pt x="783" y="343"/>
                    <a:pt x="783" y="343"/>
                    <a:pt x="783" y="343"/>
                  </a:cubicBezTo>
                  <a:cubicBezTo>
                    <a:pt x="783" y="344"/>
                    <a:pt x="783" y="344"/>
                    <a:pt x="783" y="344"/>
                  </a:cubicBezTo>
                  <a:cubicBezTo>
                    <a:pt x="783" y="344"/>
                    <a:pt x="783" y="344"/>
                    <a:pt x="783" y="344"/>
                  </a:cubicBezTo>
                  <a:cubicBezTo>
                    <a:pt x="783" y="344"/>
                    <a:pt x="783" y="344"/>
                    <a:pt x="783" y="344"/>
                  </a:cubicBezTo>
                  <a:cubicBezTo>
                    <a:pt x="782" y="344"/>
                    <a:pt x="782" y="344"/>
                    <a:pt x="782" y="344"/>
                  </a:cubicBezTo>
                  <a:cubicBezTo>
                    <a:pt x="781" y="344"/>
                    <a:pt x="782" y="345"/>
                    <a:pt x="781" y="346"/>
                  </a:cubicBezTo>
                  <a:cubicBezTo>
                    <a:pt x="781" y="346"/>
                    <a:pt x="781" y="346"/>
                    <a:pt x="781" y="346"/>
                  </a:cubicBezTo>
                  <a:cubicBezTo>
                    <a:pt x="780" y="346"/>
                    <a:pt x="780" y="346"/>
                    <a:pt x="780" y="346"/>
                  </a:cubicBezTo>
                  <a:cubicBezTo>
                    <a:pt x="780" y="346"/>
                    <a:pt x="780" y="346"/>
                    <a:pt x="780" y="346"/>
                  </a:cubicBezTo>
                  <a:cubicBezTo>
                    <a:pt x="778" y="347"/>
                    <a:pt x="778" y="347"/>
                    <a:pt x="778" y="347"/>
                  </a:cubicBezTo>
                  <a:cubicBezTo>
                    <a:pt x="754" y="327"/>
                    <a:pt x="754" y="327"/>
                    <a:pt x="754" y="327"/>
                  </a:cubicBezTo>
                  <a:cubicBezTo>
                    <a:pt x="754" y="326"/>
                    <a:pt x="754" y="326"/>
                    <a:pt x="754" y="326"/>
                  </a:cubicBezTo>
                  <a:cubicBezTo>
                    <a:pt x="752" y="326"/>
                    <a:pt x="751" y="325"/>
                    <a:pt x="749" y="325"/>
                  </a:cubicBezTo>
                  <a:cubicBezTo>
                    <a:pt x="749" y="325"/>
                    <a:pt x="749" y="325"/>
                    <a:pt x="749" y="325"/>
                  </a:cubicBezTo>
                  <a:cubicBezTo>
                    <a:pt x="748" y="325"/>
                    <a:pt x="748" y="325"/>
                    <a:pt x="748" y="325"/>
                  </a:cubicBezTo>
                  <a:cubicBezTo>
                    <a:pt x="745" y="325"/>
                    <a:pt x="742" y="324"/>
                    <a:pt x="739" y="323"/>
                  </a:cubicBezTo>
                  <a:cubicBezTo>
                    <a:pt x="732" y="320"/>
                    <a:pt x="732" y="320"/>
                    <a:pt x="732" y="320"/>
                  </a:cubicBezTo>
                  <a:cubicBezTo>
                    <a:pt x="729" y="319"/>
                    <a:pt x="729" y="319"/>
                    <a:pt x="729" y="319"/>
                  </a:cubicBezTo>
                  <a:cubicBezTo>
                    <a:pt x="729" y="317"/>
                    <a:pt x="729" y="317"/>
                    <a:pt x="729" y="317"/>
                  </a:cubicBezTo>
                  <a:cubicBezTo>
                    <a:pt x="730" y="317"/>
                    <a:pt x="730" y="317"/>
                    <a:pt x="730" y="317"/>
                  </a:cubicBezTo>
                  <a:cubicBezTo>
                    <a:pt x="729" y="317"/>
                    <a:pt x="729" y="317"/>
                    <a:pt x="729" y="317"/>
                  </a:cubicBezTo>
                  <a:cubicBezTo>
                    <a:pt x="727" y="316"/>
                    <a:pt x="727" y="316"/>
                    <a:pt x="727" y="316"/>
                  </a:cubicBezTo>
                  <a:cubicBezTo>
                    <a:pt x="715" y="312"/>
                    <a:pt x="715" y="312"/>
                    <a:pt x="715" y="312"/>
                  </a:cubicBezTo>
                  <a:cubicBezTo>
                    <a:pt x="715" y="312"/>
                    <a:pt x="715" y="312"/>
                    <a:pt x="715" y="312"/>
                  </a:cubicBezTo>
                  <a:cubicBezTo>
                    <a:pt x="715" y="313"/>
                    <a:pt x="715" y="313"/>
                    <a:pt x="715" y="313"/>
                  </a:cubicBezTo>
                  <a:cubicBezTo>
                    <a:pt x="714" y="313"/>
                    <a:pt x="714" y="313"/>
                    <a:pt x="714" y="313"/>
                  </a:cubicBezTo>
                  <a:cubicBezTo>
                    <a:pt x="714" y="313"/>
                    <a:pt x="715" y="313"/>
                    <a:pt x="715" y="312"/>
                  </a:cubicBezTo>
                  <a:cubicBezTo>
                    <a:pt x="714" y="313"/>
                    <a:pt x="712" y="315"/>
                    <a:pt x="712" y="315"/>
                  </a:cubicBezTo>
                  <a:cubicBezTo>
                    <a:pt x="712" y="315"/>
                    <a:pt x="712" y="315"/>
                    <a:pt x="712" y="315"/>
                  </a:cubicBezTo>
                  <a:cubicBezTo>
                    <a:pt x="712" y="315"/>
                    <a:pt x="712" y="315"/>
                    <a:pt x="712" y="315"/>
                  </a:cubicBezTo>
                  <a:cubicBezTo>
                    <a:pt x="711" y="316"/>
                    <a:pt x="711" y="316"/>
                    <a:pt x="711" y="316"/>
                  </a:cubicBezTo>
                  <a:cubicBezTo>
                    <a:pt x="711" y="316"/>
                    <a:pt x="710" y="313"/>
                    <a:pt x="711" y="312"/>
                  </a:cubicBezTo>
                  <a:cubicBezTo>
                    <a:pt x="712" y="311"/>
                    <a:pt x="714" y="313"/>
                    <a:pt x="714" y="311"/>
                  </a:cubicBezTo>
                  <a:cubicBezTo>
                    <a:pt x="714" y="311"/>
                    <a:pt x="710" y="309"/>
                    <a:pt x="710" y="309"/>
                  </a:cubicBezTo>
                  <a:cubicBezTo>
                    <a:pt x="706" y="307"/>
                    <a:pt x="703" y="305"/>
                    <a:pt x="700" y="304"/>
                  </a:cubicBezTo>
                  <a:cubicBezTo>
                    <a:pt x="689" y="300"/>
                    <a:pt x="679" y="298"/>
                    <a:pt x="668" y="297"/>
                  </a:cubicBezTo>
                  <a:cubicBezTo>
                    <a:pt x="661" y="296"/>
                    <a:pt x="653" y="295"/>
                    <a:pt x="646" y="294"/>
                  </a:cubicBezTo>
                  <a:cubicBezTo>
                    <a:pt x="644" y="294"/>
                    <a:pt x="641" y="292"/>
                    <a:pt x="640" y="293"/>
                  </a:cubicBezTo>
                  <a:cubicBezTo>
                    <a:pt x="635" y="294"/>
                    <a:pt x="631" y="298"/>
                    <a:pt x="627" y="299"/>
                  </a:cubicBezTo>
                  <a:cubicBezTo>
                    <a:pt x="625" y="299"/>
                    <a:pt x="621" y="298"/>
                    <a:pt x="622" y="302"/>
                  </a:cubicBezTo>
                  <a:cubicBezTo>
                    <a:pt x="624" y="305"/>
                    <a:pt x="625" y="306"/>
                    <a:pt x="627" y="308"/>
                  </a:cubicBezTo>
                  <a:cubicBezTo>
                    <a:pt x="628" y="309"/>
                    <a:pt x="630" y="311"/>
                    <a:pt x="630" y="313"/>
                  </a:cubicBezTo>
                  <a:cubicBezTo>
                    <a:pt x="630" y="314"/>
                    <a:pt x="631" y="321"/>
                    <a:pt x="633" y="317"/>
                  </a:cubicBezTo>
                  <a:cubicBezTo>
                    <a:pt x="635" y="315"/>
                    <a:pt x="636" y="318"/>
                    <a:pt x="636" y="320"/>
                  </a:cubicBezTo>
                  <a:cubicBezTo>
                    <a:pt x="637" y="322"/>
                    <a:pt x="637" y="324"/>
                    <a:pt x="635" y="325"/>
                  </a:cubicBezTo>
                  <a:cubicBezTo>
                    <a:pt x="631" y="328"/>
                    <a:pt x="624" y="329"/>
                    <a:pt x="619" y="331"/>
                  </a:cubicBezTo>
                  <a:cubicBezTo>
                    <a:pt x="619" y="331"/>
                    <a:pt x="619" y="332"/>
                    <a:pt x="619" y="332"/>
                  </a:cubicBezTo>
                  <a:cubicBezTo>
                    <a:pt x="619" y="332"/>
                    <a:pt x="619" y="332"/>
                    <a:pt x="619" y="331"/>
                  </a:cubicBezTo>
                  <a:cubicBezTo>
                    <a:pt x="618" y="333"/>
                    <a:pt x="616" y="334"/>
                    <a:pt x="617" y="336"/>
                  </a:cubicBezTo>
                  <a:cubicBezTo>
                    <a:pt x="617" y="337"/>
                    <a:pt x="618" y="337"/>
                    <a:pt x="618" y="338"/>
                  </a:cubicBezTo>
                  <a:cubicBezTo>
                    <a:pt x="618" y="340"/>
                    <a:pt x="617" y="341"/>
                    <a:pt x="615" y="342"/>
                  </a:cubicBezTo>
                  <a:cubicBezTo>
                    <a:pt x="612" y="344"/>
                    <a:pt x="607" y="342"/>
                    <a:pt x="604" y="341"/>
                  </a:cubicBezTo>
                  <a:cubicBezTo>
                    <a:pt x="600" y="340"/>
                    <a:pt x="602" y="340"/>
                    <a:pt x="602" y="337"/>
                  </a:cubicBezTo>
                  <a:cubicBezTo>
                    <a:pt x="602" y="336"/>
                    <a:pt x="601" y="336"/>
                    <a:pt x="601" y="335"/>
                  </a:cubicBezTo>
                  <a:cubicBezTo>
                    <a:pt x="601" y="334"/>
                    <a:pt x="602" y="332"/>
                    <a:pt x="603" y="332"/>
                  </a:cubicBezTo>
                  <a:cubicBezTo>
                    <a:pt x="604" y="331"/>
                    <a:pt x="608" y="331"/>
                    <a:pt x="607" y="329"/>
                  </a:cubicBezTo>
                  <a:cubicBezTo>
                    <a:pt x="607" y="328"/>
                    <a:pt x="604" y="326"/>
                    <a:pt x="603" y="325"/>
                  </a:cubicBezTo>
                  <a:cubicBezTo>
                    <a:pt x="601" y="324"/>
                    <a:pt x="600" y="324"/>
                    <a:pt x="598" y="324"/>
                  </a:cubicBezTo>
                  <a:cubicBezTo>
                    <a:pt x="599" y="322"/>
                    <a:pt x="602" y="322"/>
                    <a:pt x="604" y="322"/>
                  </a:cubicBezTo>
                  <a:cubicBezTo>
                    <a:pt x="597" y="321"/>
                    <a:pt x="591" y="324"/>
                    <a:pt x="586" y="328"/>
                  </a:cubicBezTo>
                  <a:cubicBezTo>
                    <a:pt x="587" y="329"/>
                    <a:pt x="589" y="329"/>
                    <a:pt x="589" y="330"/>
                  </a:cubicBezTo>
                  <a:cubicBezTo>
                    <a:pt x="587" y="330"/>
                    <a:pt x="585" y="328"/>
                    <a:pt x="585" y="327"/>
                  </a:cubicBezTo>
                  <a:cubicBezTo>
                    <a:pt x="584" y="326"/>
                    <a:pt x="587" y="324"/>
                    <a:pt x="583" y="326"/>
                  </a:cubicBezTo>
                  <a:cubicBezTo>
                    <a:pt x="579" y="328"/>
                    <a:pt x="573" y="330"/>
                    <a:pt x="570" y="333"/>
                  </a:cubicBezTo>
                  <a:cubicBezTo>
                    <a:pt x="569" y="335"/>
                    <a:pt x="570" y="335"/>
                    <a:pt x="567" y="336"/>
                  </a:cubicBezTo>
                  <a:cubicBezTo>
                    <a:pt x="565" y="336"/>
                    <a:pt x="562" y="335"/>
                    <a:pt x="560" y="335"/>
                  </a:cubicBezTo>
                  <a:cubicBezTo>
                    <a:pt x="556" y="334"/>
                    <a:pt x="554" y="333"/>
                    <a:pt x="550" y="334"/>
                  </a:cubicBezTo>
                  <a:cubicBezTo>
                    <a:pt x="547" y="335"/>
                    <a:pt x="546" y="334"/>
                    <a:pt x="543" y="333"/>
                  </a:cubicBezTo>
                  <a:cubicBezTo>
                    <a:pt x="540" y="332"/>
                    <a:pt x="534" y="338"/>
                    <a:pt x="532" y="339"/>
                  </a:cubicBezTo>
                  <a:cubicBezTo>
                    <a:pt x="529" y="341"/>
                    <a:pt x="526" y="343"/>
                    <a:pt x="523" y="345"/>
                  </a:cubicBezTo>
                  <a:cubicBezTo>
                    <a:pt x="522" y="345"/>
                    <a:pt x="523" y="346"/>
                    <a:pt x="522" y="347"/>
                  </a:cubicBezTo>
                  <a:cubicBezTo>
                    <a:pt x="520" y="349"/>
                    <a:pt x="520" y="349"/>
                    <a:pt x="518" y="347"/>
                  </a:cubicBezTo>
                  <a:cubicBezTo>
                    <a:pt x="516" y="346"/>
                    <a:pt x="515" y="344"/>
                    <a:pt x="512" y="345"/>
                  </a:cubicBezTo>
                  <a:cubicBezTo>
                    <a:pt x="510" y="347"/>
                    <a:pt x="508" y="349"/>
                    <a:pt x="508" y="345"/>
                  </a:cubicBezTo>
                  <a:cubicBezTo>
                    <a:pt x="505" y="346"/>
                    <a:pt x="505" y="348"/>
                    <a:pt x="502" y="347"/>
                  </a:cubicBezTo>
                  <a:cubicBezTo>
                    <a:pt x="499" y="346"/>
                    <a:pt x="495" y="345"/>
                    <a:pt x="492" y="343"/>
                  </a:cubicBezTo>
                  <a:cubicBezTo>
                    <a:pt x="494" y="342"/>
                    <a:pt x="496" y="343"/>
                    <a:pt x="498" y="342"/>
                  </a:cubicBezTo>
                  <a:cubicBezTo>
                    <a:pt x="497" y="342"/>
                    <a:pt x="497" y="342"/>
                    <a:pt x="496" y="341"/>
                  </a:cubicBezTo>
                  <a:cubicBezTo>
                    <a:pt x="498" y="341"/>
                    <a:pt x="501" y="341"/>
                    <a:pt x="503" y="341"/>
                  </a:cubicBezTo>
                  <a:cubicBezTo>
                    <a:pt x="503" y="339"/>
                    <a:pt x="502" y="338"/>
                    <a:pt x="501" y="336"/>
                  </a:cubicBezTo>
                  <a:cubicBezTo>
                    <a:pt x="498" y="333"/>
                    <a:pt x="500" y="333"/>
                    <a:pt x="501" y="330"/>
                  </a:cubicBezTo>
                  <a:cubicBezTo>
                    <a:pt x="502" y="329"/>
                    <a:pt x="502" y="329"/>
                    <a:pt x="503" y="328"/>
                  </a:cubicBezTo>
                  <a:cubicBezTo>
                    <a:pt x="504" y="327"/>
                    <a:pt x="506" y="327"/>
                    <a:pt x="504" y="326"/>
                  </a:cubicBezTo>
                  <a:cubicBezTo>
                    <a:pt x="502" y="325"/>
                    <a:pt x="499" y="326"/>
                    <a:pt x="497" y="324"/>
                  </a:cubicBezTo>
                  <a:cubicBezTo>
                    <a:pt x="498" y="324"/>
                    <a:pt x="499" y="324"/>
                    <a:pt x="499" y="324"/>
                  </a:cubicBezTo>
                  <a:cubicBezTo>
                    <a:pt x="493" y="325"/>
                    <a:pt x="488" y="327"/>
                    <a:pt x="482" y="329"/>
                  </a:cubicBezTo>
                  <a:cubicBezTo>
                    <a:pt x="480" y="330"/>
                    <a:pt x="478" y="331"/>
                    <a:pt x="476" y="332"/>
                  </a:cubicBezTo>
                  <a:cubicBezTo>
                    <a:pt x="474" y="333"/>
                    <a:pt x="470" y="334"/>
                    <a:pt x="473" y="335"/>
                  </a:cubicBezTo>
                  <a:cubicBezTo>
                    <a:pt x="474" y="336"/>
                    <a:pt x="475" y="335"/>
                    <a:pt x="476" y="336"/>
                  </a:cubicBezTo>
                  <a:cubicBezTo>
                    <a:pt x="477" y="336"/>
                    <a:pt x="478" y="337"/>
                    <a:pt x="478" y="338"/>
                  </a:cubicBezTo>
                  <a:cubicBezTo>
                    <a:pt x="480" y="339"/>
                    <a:pt x="481" y="339"/>
                    <a:pt x="479" y="341"/>
                  </a:cubicBezTo>
                  <a:cubicBezTo>
                    <a:pt x="478" y="342"/>
                    <a:pt x="474" y="344"/>
                    <a:pt x="473" y="344"/>
                  </a:cubicBezTo>
                  <a:cubicBezTo>
                    <a:pt x="471" y="344"/>
                    <a:pt x="471" y="343"/>
                    <a:pt x="472" y="341"/>
                  </a:cubicBezTo>
                  <a:cubicBezTo>
                    <a:pt x="472" y="340"/>
                    <a:pt x="472" y="339"/>
                    <a:pt x="473" y="339"/>
                  </a:cubicBezTo>
                  <a:cubicBezTo>
                    <a:pt x="472" y="338"/>
                    <a:pt x="469" y="338"/>
                    <a:pt x="468" y="338"/>
                  </a:cubicBezTo>
                  <a:cubicBezTo>
                    <a:pt x="469" y="337"/>
                    <a:pt x="470" y="337"/>
                    <a:pt x="470" y="336"/>
                  </a:cubicBezTo>
                  <a:cubicBezTo>
                    <a:pt x="467" y="336"/>
                    <a:pt x="460" y="337"/>
                    <a:pt x="458" y="339"/>
                  </a:cubicBezTo>
                  <a:cubicBezTo>
                    <a:pt x="457" y="340"/>
                    <a:pt x="459" y="340"/>
                    <a:pt x="458" y="340"/>
                  </a:cubicBezTo>
                  <a:cubicBezTo>
                    <a:pt x="458" y="341"/>
                    <a:pt x="457" y="341"/>
                    <a:pt x="456" y="341"/>
                  </a:cubicBezTo>
                  <a:cubicBezTo>
                    <a:pt x="455" y="341"/>
                    <a:pt x="454" y="342"/>
                    <a:pt x="452" y="342"/>
                  </a:cubicBezTo>
                  <a:cubicBezTo>
                    <a:pt x="450" y="342"/>
                    <a:pt x="448" y="343"/>
                    <a:pt x="446" y="343"/>
                  </a:cubicBezTo>
                  <a:cubicBezTo>
                    <a:pt x="442" y="344"/>
                    <a:pt x="441" y="344"/>
                    <a:pt x="438" y="346"/>
                  </a:cubicBezTo>
                  <a:cubicBezTo>
                    <a:pt x="436" y="347"/>
                    <a:pt x="434" y="348"/>
                    <a:pt x="432" y="349"/>
                  </a:cubicBezTo>
                  <a:cubicBezTo>
                    <a:pt x="430" y="351"/>
                    <a:pt x="429" y="353"/>
                    <a:pt x="427" y="353"/>
                  </a:cubicBezTo>
                  <a:cubicBezTo>
                    <a:pt x="425" y="354"/>
                    <a:pt x="423" y="355"/>
                    <a:pt x="420" y="356"/>
                  </a:cubicBezTo>
                  <a:cubicBezTo>
                    <a:pt x="418" y="356"/>
                    <a:pt x="416" y="357"/>
                    <a:pt x="414" y="358"/>
                  </a:cubicBezTo>
                  <a:cubicBezTo>
                    <a:pt x="413" y="359"/>
                    <a:pt x="411" y="359"/>
                    <a:pt x="409" y="359"/>
                  </a:cubicBezTo>
                  <a:cubicBezTo>
                    <a:pt x="409" y="359"/>
                    <a:pt x="408" y="359"/>
                    <a:pt x="407" y="360"/>
                  </a:cubicBezTo>
                  <a:cubicBezTo>
                    <a:pt x="405" y="360"/>
                    <a:pt x="406" y="360"/>
                    <a:pt x="405" y="361"/>
                  </a:cubicBezTo>
                  <a:cubicBezTo>
                    <a:pt x="404" y="364"/>
                    <a:pt x="405" y="363"/>
                    <a:pt x="408" y="364"/>
                  </a:cubicBezTo>
                  <a:cubicBezTo>
                    <a:pt x="409" y="364"/>
                    <a:pt x="410" y="365"/>
                    <a:pt x="411" y="366"/>
                  </a:cubicBezTo>
                  <a:cubicBezTo>
                    <a:pt x="406" y="367"/>
                    <a:pt x="401" y="365"/>
                    <a:pt x="396" y="365"/>
                  </a:cubicBezTo>
                  <a:cubicBezTo>
                    <a:pt x="394" y="366"/>
                    <a:pt x="394" y="366"/>
                    <a:pt x="392" y="367"/>
                  </a:cubicBezTo>
                  <a:cubicBezTo>
                    <a:pt x="391" y="368"/>
                    <a:pt x="387" y="367"/>
                    <a:pt x="387" y="368"/>
                  </a:cubicBezTo>
                  <a:cubicBezTo>
                    <a:pt x="386" y="369"/>
                    <a:pt x="389" y="371"/>
                    <a:pt x="389" y="372"/>
                  </a:cubicBezTo>
                  <a:cubicBezTo>
                    <a:pt x="389" y="374"/>
                    <a:pt x="386" y="375"/>
                    <a:pt x="386" y="377"/>
                  </a:cubicBezTo>
                  <a:cubicBezTo>
                    <a:pt x="386" y="378"/>
                    <a:pt x="386" y="379"/>
                    <a:pt x="386" y="380"/>
                  </a:cubicBezTo>
                  <a:cubicBezTo>
                    <a:pt x="385" y="380"/>
                    <a:pt x="384" y="380"/>
                    <a:pt x="384" y="381"/>
                  </a:cubicBezTo>
                  <a:cubicBezTo>
                    <a:pt x="384" y="381"/>
                    <a:pt x="385" y="381"/>
                    <a:pt x="385" y="382"/>
                  </a:cubicBezTo>
                  <a:cubicBezTo>
                    <a:pt x="385" y="384"/>
                    <a:pt x="386" y="385"/>
                    <a:pt x="385" y="387"/>
                  </a:cubicBezTo>
                  <a:cubicBezTo>
                    <a:pt x="384" y="388"/>
                    <a:pt x="383" y="388"/>
                    <a:pt x="382" y="389"/>
                  </a:cubicBezTo>
                  <a:cubicBezTo>
                    <a:pt x="381" y="390"/>
                    <a:pt x="383" y="391"/>
                    <a:pt x="380" y="391"/>
                  </a:cubicBezTo>
                  <a:cubicBezTo>
                    <a:pt x="376" y="390"/>
                    <a:pt x="374" y="391"/>
                    <a:pt x="370" y="392"/>
                  </a:cubicBezTo>
                  <a:cubicBezTo>
                    <a:pt x="368" y="392"/>
                    <a:pt x="366" y="392"/>
                    <a:pt x="365" y="393"/>
                  </a:cubicBezTo>
                  <a:cubicBezTo>
                    <a:pt x="363" y="393"/>
                    <a:pt x="362" y="395"/>
                    <a:pt x="360" y="395"/>
                  </a:cubicBezTo>
                  <a:cubicBezTo>
                    <a:pt x="362" y="393"/>
                    <a:pt x="365" y="391"/>
                    <a:pt x="360" y="392"/>
                  </a:cubicBezTo>
                  <a:cubicBezTo>
                    <a:pt x="358" y="392"/>
                    <a:pt x="355" y="393"/>
                    <a:pt x="353" y="392"/>
                  </a:cubicBezTo>
                  <a:cubicBezTo>
                    <a:pt x="350" y="392"/>
                    <a:pt x="348" y="389"/>
                    <a:pt x="346" y="386"/>
                  </a:cubicBezTo>
                  <a:cubicBezTo>
                    <a:pt x="344" y="382"/>
                    <a:pt x="340" y="380"/>
                    <a:pt x="336" y="378"/>
                  </a:cubicBezTo>
                  <a:cubicBezTo>
                    <a:pt x="333" y="377"/>
                    <a:pt x="331" y="375"/>
                    <a:pt x="332" y="372"/>
                  </a:cubicBezTo>
                  <a:cubicBezTo>
                    <a:pt x="333" y="370"/>
                    <a:pt x="335" y="369"/>
                    <a:pt x="337" y="368"/>
                  </a:cubicBezTo>
                  <a:cubicBezTo>
                    <a:pt x="339" y="367"/>
                    <a:pt x="341" y="367"/>
                    <a:pt x="339" y="364"/>
                  </a:cubicBezTo>
                  <a:cubicBezTo>
                    <a:pt x="339" y="363"/>
                    <a:pt x="345" y="362"/>
                    <a:pt x="345" y="362"/>
                  </a:cubicBezTo>
                  <a:cubicBezTo>
                    <a:pt x="349" y="362"/>
                    <a:pt x="353" y="361"/>
                    <a:pt x="357" y="361"/>
                  </a:cubicBezTo>
                  <a:cubicBezTo>
                    <a:pt x="359" y="360"/>
                    <a:pt x="359" y="360"/>
                    <a:pt x="361" y="360"/>
                  </a:cubicBezTo>
                  <a:cubicBezTo>
                    <a:pt x="362" y="361"/>
                    <a:pt x="365" y="361"/>
                    <a:pt x="366" y="360"/>
                  </a:cubicBezTo>
                  <a:cubicBezTo>
                    <a:pt x="367" y="359"/>
                    <a:pt x="364" y="355"/>
                    <a:pt x="363" y="354"/>
                  </a:cubicBezTo>
                  <a:cubicBezTo>
                    <a:pt x="362" y="352"/>
                    <a:pt x="363" y="350"/>
                    <a:pt x="360" y="349"/>
                  </a:cubicBezTo>
                  <a:cubicBezTo>
                    <a:pt x="357" y="347"/>
                    <a:pt x="354" y="345"/>
                    <a:pt x="352" y="342"/>
                  </a:cubicBezTo>
                  <a:cubicBezTo>
                    <a:pt x="351" y="341"/>
                    <a:pt x="350" y="339"/>
                    <a:pt x="353" y="339"/>
                  </a:cubicBezTo>
                  <a:cubicBezTo>
                    <a:pt x="335" y="337"/>
                    <a:pt x="317" y="335"/>
                    <a:pt x="300" y="333"/>
                  </a:cubicBezTo>
                  <a:cubicBezTo>
                    <a:pt x="303" y="336"/>
                    <a:pt x="307" y="339"/>
                    <a:pt x="312" y="341"/>
                  </a:cubicBezTo>
                  <a:cubicBezTo>
                    <a:pt x="314" y="341"/>
                    <a:pt x="316" y="343"/>
                    <a:pt x="317" y="344"/>
                  </a:cubicBezTo>
                  <a:cubicBezTo>
                    <a:pt x="318" y="345"/>
                    <a:pt x="319" y="346"/>
                    <a:pt x="319" y="348"/>
                  </a:cubicBezTo>
                  <a:cubicBezTo>
                    <a:pt x="320" y="349"/>
                    <a:pt x="321" y="351"/>
                    <a:pt x="321" y="352"/>
                  </a:cubicBezTo>
                  <a:cubicBezTo>
                    <a:pt x="321" y="353"/>
                    <a:pt x="321" y="352"/>
                    <a:pt x="320" y="353"/>
                  </a:cubicBezTo>
                  <a:cubicBezTo>
                    <a:pt x="319" y="354"/>
                    <a:pt x="317" y="354"/>
                    <a:pt x="317" y="354"/>
                  </a:cubicBezTo>
                  <a:cubicBezTo>
                    <a:pt x="316" y="356"/>
                    <a:pt x="318" y="356"/>
                    <a:pt x="318" y="357"/>
                  </a:cubicBezTo>
                  <a:cubicBezTo>
                    <a:pt x="318" y="358"/>
                    <a:pt x="317" y="357"/>
                    <a:pt x="316" y="359"/>
                  </a:cubicBezTo>
                  <a:cubicBezTo>
                    <a:pt x="315" y="360"/>
                    <a:pt x="315" y="364"/>
                    <a:pt x="315" y="365"/>
                  </a:cubicBezTo>
                  <a:cubicBezTo>
                    <a:pt x="313" y="368"/>
                    <a:pt x="309" y="373"/>
                    <a:pt x="309" y="376"/>
                  </a:cubicBezTo>
                  <a:cubicBezTo>
                    <a:pt x="310" y="379"/>
                    <a:pt x="313" y="380"/>
                    <a:pt x="315" y="381"/>
                  </a:cubicBezTo>
                  <a:cubicBezTo>
                    <a:pt x="317" y="382"/>
                    <a:pt x="318" y="383"/>
                    <a:pt x="319" y="384"/>
                  </a:cubicBezTo>
                  <a:cubicBezTo>
                    <a:pt x="320" y="385"/>
                    <a:pt x="321" y="383"/>
                    <a:pt x="322" y="385"/>
                  </a:cubicBezTo>
                  <a:cubicBezTo>
                    <a:pt x="322" y="386"/>
                    <a:pt x="323" y="388"/>
                    <a:pt x="323" y="389"/>
                  </a:cubicBezTo>
                  <a:cubicBezTo>
                    <a:pt x="324" y="392"/>
                    <a:pt x="325" y="397"/>
                    <a:pt x="323" y="399"/>
                  </a:cubicBezTo>
                  <a:cubicBezTo>
                    <a:pt x="320" y="403"/>
                    <a:pt x="314" y="409"/>
                    <a:pt x="316" y="415"/>
                  </a:cubicBezTo>
                  <a:cubicBezTo>
                    <a:pt x="316" y="415"/>
                    <a:pt x="317" y="415"/>
                    <a:pt x="317" y="416"/>
                  </a:cubicBezTo>
                  <a:cubicBezTo>
                    <a:pt x="317" y="417"/>
                    <a:pt x="316" y="418"/>
                    <a:pt x="316" y="419"/>
                  </a:cubicBezTo>
                  <a:cubicBezTo>
                    <a:pt x="316" y="420"/>
                    <a:pt x="318" y="421"/>
                    <a:pt x="317" y="423"/>
                  </a:cubicBezTo>
                  <a:cubicBezTo>
                    <a:pt x="317" y="422"/>
                    <a:pt x="315" y="420"/>
                    <a:pt x="315" y="419"/>
                  </a:cubicBezTo>
                  <a:cubicBezTo>
                    <a:pt x="314" y="417"/>
                    <a:pt x="315" y="417"/>
                    <a:pt x="314" y="416"/>
                  </a:cubicBezTo>
                  <a:cubicBezTo>
                    <a:pt x="312" y="411"/>
                    <a:pt x="307" y="414"/>
                    <a:pt x="304" y="417"/>
                  </a:cubicBezTo>
                  <a:cubicBezTo>
                    <a:pt x="305" y="417"/>
                    <a:pt x="305" y="418"/>
                    <a:pt x="305" y="419"/>
                  </a:cubicBezTo>
                  <a:cubicBezTo>
                    <a:pt x="304" y="419"/>
                    <a:pt x="300" y="417"/>
                    <a:pt x="301" y="416"/>
                  </a:cubicBezTo>
                  <a:cubicBezTo>
                    <a:pt x="301" y="416"/>
                    <a:pt x="302" y="415"/>
                    <a:pt x="303" y="414"/>
                  </a:cubicBezTo>
                  <a:cubicBezTo>
                    <a:pt x="304" y="414"/>
                    <a:pt x="308" y="412"/>
                    <a:pt x="308" y="411"/>
                  </a:cubicBezTo>
                  <a:cubicBezTo>
                    <a:pt x="308" y="409"/>
                    <a:pt x="305" y="409"/>
                    <a:pt x="303" y="408"/>
                  </a:cubicBezTo>
                  <a:cubicBezTo>
                    <a:pt x="303" y="408"/>
                    <a:pt x="302" y="408"/>
                    <a:pt x="302" y="407"/>
                  </a:cubicBezTo>
                  <a:cubicBezTo>
                    <a:pt x="301" y="407"/>
                    <a:pt x="302" y="406"/>
                    <a:pt x="301" y="406"/>
                  </a:cubicBezTo>
                  <a:cubicBezTo>
                    <a:pt x="300" y="405"/>
                    <a:pt x="299" y="405"/>
                    <a:pt x="297" y="405"/>
                  </a:cubicBezTo>
                  <a:cubicBezTo>
                    <a:pt x="292" y="405"/>
                    <a:pt x="289" y="405"/>
                    <a:pt x="285" y="403"/>
                  </a:cubicBezTo>
                  <a:cubicBezTo>
                    <a:pt x="284" y="403"/>
                    <a:pt x="281" y="402"/>
                    <a:pt x="280" y="402"/>
                  </a:cubicBezTo>
                  <a:cubicBezTo>
                    <a:pt x="277" y="405"/>
                    <a:pt x="274" y="408"/>
                    <a:pt x="271" y="411"/>
                  </a:cubicBezTo>
                  <a:cubicBezTo>
                    <a:pt x="268" y="414"/>
                    <a:pt x="265" y="415"/>
                    <a:pt x="261" y="416"/>
                  </a:cubicBezTo>
                  <a:cubicBezTo>
                    <a:pt x="256" y="418"/>
                    <a:pt x="251" y="419"/>
                    <a:pt x="247" y="423"/>
                  </a:cubicBezTo>
                  <a:cubicBezTo>
                    <a:pt x="243" y="426"/>
                    <a:pt x="238" y="428"/>
                    <a:pt x="235" y="431"/>
                  </a:cubicBezTo>
                  <a:cubicBezTo>
                    <a:pt x="228" y="436"/>
                    <a:pt x="237" y="444"/>
                    <a:pt x="241" y="448"/>
                  </a:cubicBezTo>
                  <a:cubicBezTo>
                    <a:pt x="244" y="451"/>
                    <a:pt x="245" y="453"/>
                    <a:pt x="246" y="457"/>
                  </a:cubicBezTo>
                  <a:cubicBezTo>
                    <a:pt x="246" y="458"/>
                    <a:pt x="248" y="464"/>
                    <a:pt x="248" y="464"/>
                  </a:cubicBezTo>
                  <a:cubicBezTo>
                    <a:pt x="246" y="464"/>
                    <a:pt x="244" y="464"/>
                    <a:pt x="242" y="463"/>
                  </a:cubicBezTo>
                  <a:cubicBezTo>
                    <a:pt x="230" y="462"/>
                    <a:pt x="217" y="460"/>
                    <a:pt x="204" y="458"/>
                  </a:cubicBezTo>
                  <a:cubicBezTo>
                    <a:pt x="202" y="458"/>
                    <a:pt x="203" y="460"/>
                    <a:pt x="202" y="460"/>
                  </a:cubicBezTo>
                  <a:cubicBezTo>
                    <a:pt x="201" y="461"/>
                    <a:pt x="199" y="460"/>
                    <a:pt x="200" y="458"/>
                  </a:cubicBezTo>
                  <a:cubicBezTo>
                    <a:pt x="201" y="456"/>
                    <a:pt x="206" y="456"/>
                    <a:pt x="207" y="456"/>
                  </a:cubicBezTo>
                  <a:cubicBezTo>
                    <a:pt x="207" y="455"/>
                    <a:pt x="207" y="456"/>
                    <a:pt x="207" y="455"/>
                  </a:cubicBezTo>
                  <a:cubicBezTo>
                    <a:pt x="203" y="452"/>
                    <a:pt x="198" y="450"/>
                    <a:pt x="193" y="448"/>
                  </a:cubicBezTo>
                  <a:cubicBezTo>
                    <a:pt x="191" y="447"/>
                    <a:pt x="188" y="446"/>
                    <a:pt x="185" y="445"/>
                  </a:cubicBezTo>
                  <a:cubicBezTo>
                    <a:pt x="184" y="444"/>
                    <a:pt x="183" y="444"/>
                    <a:pt x="181" y="444"/>
                  </a:cubicBezTo>
                  <a:cubicBezTo>
                    <a:pt x="177" y="444"/>
                    <a:pt x="177" y="446"/>
                    <a:pt x="177" y="449"/>
                  </a:cubicBezTo>
                  <a:cubicBezTo>
                    <a:pt x="177" y="450"/>
                    <a:pt x="175" y="452"/>
                    <a:pt x="174" y="452"/>
                  </a:cubicBezTo>
                  <a:cubicBezTo>
                    <a:pt x="172" y="453"/>
                    <a:pt x="171" y="451"/>
                    <a:pt x="170" y="452"/>
                  </a:cubicBezTo>
                  <a:cubicBezTo>
                    <a:pt x="173" y="457"/>
                    <a:pt x="178" y="462"/>
                    <a:pt x="182" y="466"/>
                  </a:cubicBezTo>
                  <a:cubicBezTo>
                    <a:pt x="183" y="468"/>
                    <a:pt x="185" y="470"/>
                    <a:pt x="187" y="470"/>
                  </a:cubicBezTo>
                  <a:cubicBezTo>
                    <a:pt x="188" y="470"/>
                    <a:pt x="189" y="469"/>
                    <a:pt x="190" y="469"/>
                  </a:cubicBezTo>
                  <a:cubicBezTo>
                    <a:pt x="191" y="469"/>
                    <a:pt x="192" y="469"/>
                    <a:pt x="193" y="469"/>
                  </a:cubicBezTo>
                  <a:cubicBezTo>
                    <a:pt x="194" y="468"/>
                    <a:pt x="193" y="467"/>
                    <a:pt x="195" y="467"/>
                  </a:cubicBezTo>
                  <a:cubicBezTo>
                    <a:pt x="196" y="467"/>
                    <a:pt x="196" y="468"/>
                    <a:pt x="196" y="469"/>
                  </a:cubicBezTo>
                  <a:cubicBezTo>
                    <a:pt x="197" y="470"/>
                    <a:pt x="198" y="470"/>
                    <a:pt x="199" y="471"/>
                  </a:cubicBezTo>
                  <a:cubicBezTo>
                    <a:pt x="200" y="472"/>
                    <a:pt x="199" y="473"/>
                    <a:pt x="200" y="475"/>
                  </a:cubicBezTo>
                  <a:cubicBezTo>
                    <a:pt x="200" y="477"/>
                    <a:pt x="202" y="478"/>
                    <a:pt x="201" y="480"/>
                  </a:cubicBezTo>
                  <a:cubicBezTo>
                    <a:pt x="200" y="481"/>
                    <a:pt x="198" y="483"/>
                    <a:pt x="196" y="483"/>
                  </a:cubicBezTo>
                  <a:cubicBezTo>
                    <a:pt x="195" y="484"/>
                    <a:pt x="194" y="483"/>
                    <a:pt x="193" y="484"/>
                  </a:cubicBezTo>
                  <a:cubicBezTo>
                    <a:pt x="192" y="484"/>
                    <a:pt x="192" y="484"/>
                    <a:pt x="192" y="485"/>
                  </a:cubicBezTo>
                  <a:cubicBezTo>
                    <a:pt x="190" y="486"/>
                    <a:pt x="190" y="487"/>
                    <a:pt x="187" y="486"/>
                  </a:cubicBezTo>
                  <a:cubicBezTo>
                    <a:pt x="184" y="485"/>
                    <a:pt x="180" y="484"/>
                    <a:pt x="177" y="483"/>
                  </a:cubicBezTo>
                  <a:cubicBezTo>
                    <a:pt x="172" y="482"/>
                    <a:pt x="171" y="481"/>
                    <a:pt x="167" y="477"/>
                  </a:cubicBezTo>
                  <a:cubicBezTo>
                    <a:pt x="166" y="476"/>
                    <a:pt x="165" y="474"/>
                    <a:pt x="163" y="473"/>
                  </a:cubicBezTo>
                  <a:cubicBezTo>
                    <a:pt x="157" y="468"/>
                    <a:pt x="149" y="470"/>
                    <a:pt x="142" y="467"/>
                  </a:cubicBezTo>
                  <a:cubicBezTo>
                    <a:pt x="142" y="467"/>
                    <a:pt x="139" y="465"/>
                    <a:pt x="138" y="464"/>
                  </a:cubicBezTo>
                  <a:cubicBezTo>
                    <a:pt x="138" y="463"/>
                    <a:pt x="138" y="463"/>
                    <a:pt x="139" y="462"/>
                  </a:cubicBezTo>
                  <a:cubicBezTo>
                    <a:pt x="139" y="460"/>
                    <a:pt x="139" y="459"/>
                    <a:pt x="140" y="458"/>
                  </a:cubicBezTo>
                  <a:cubicBezTo>
                    <a:pt x="141" y="458"/>
                    <a:pt x="142" y="458"/>
                    <a:pt x="142" y="457"/>
                  </a:cubicBezTo>
                  <a:cubicBezTo>
                    <a:pt x="141" y="456"/>
                    <a:pt x="140" y="457"/>
                    <a:pt x="138" y="457"/>
                  </a:cubicBezTo>
                  <a:cubicBezTo>
                    <a:pt x="139" y="456"/>
                    <a:pt x="140" y="456"/>
                    <a:pt x="141" y="455"/>
                  </a:cubicBezTo>
                  <a:cubicBezTo>
                    <a:pt x="138" y="451"/>
                    <a:pt x="137" y="449"/>
                    <a:pt x="136" y="445"/>
                  </a:cubicBezTo>
                  <a:cubicBezTo>
                    <a:pt x="135" y="441"/>
                    <a:pt x="132" y="440"/>
                    <a:pt x="129" y="438"/>
                  </a:cubicBezTo>
                  <a:cubicBezTo>
                    <a:pt x="130" y="437"/>
                    <a:pt x="131" y="437"/>
                    <a:pt x="131" y="437"/>
                  </a:cubicBezTo>
                  <a:cubicBezTo>
                    <a:pt x="132" y="437"/>
                    <a:pt x="133" y="436"/>
                    <a:pt x="133" y="436"/>
                  </a:cubicBezTo>
                  <a:cubicBezTo>
                    <a:pt x="134" y="436"/>
                    <a:pt x="134" y="436"/>
                    <a:pt x="135" y="436"/>
                  </a:cubicBezTo>
                  <a:cubicBezTo>
                    <a:pt x="136" y="435"/>
                    <a:pt x="136" y="432"/>
                    <a:pt x="136" y="431"/>
                  </a:cubicBezTo>
                  <a:cubicBezTo>
                    <a:pt x="136" y="429"/>
                    <a:pt x="136" y="428"/>
                    <a:pt x="136" y="426"/>
                  </a:cubicBezTo>
                  <a:cubicBezTo>
                    <a:pt x="137" y="424"/>
                    <a:pt x="137" y="425"/>
                    <a:pt x="138" y="426"/>
                  </a:cubicBezTo>
                  <a:cubicBezTo>
                    <a:pt x="139" y="426"/>
                    <a:pt x="142" y="429"/>
                    <a:pt x="141" y="426"/>
                  </a:cubicBezTo>
                  <a:cubicBezTo>
                    <a:pt x="140" y="422"/>
                    <a:pt x="137" y="419"/>
                    <a:pt x="134" y="416"/>
                  </a:cubicBezTo>
                  <a:cubicBezTo>
                    <a:pt x="132" y="414"/>
                    <a:pt x="125" y="413"/>
                    <a:pt x="123" y="412"/>
                  </a:cubicBezTo>
                  <a:cubicBezTo>
                    <a:pt x="119" y="411"/>
                    <a:pt x="114" y="410"/>
                    <a:pt x="110" y="409"/>
                  </a:cubicBezTo>
                  <a:cubicBezTo>
                    <a:pt x="112" y="408"/>
                    <a:pt x="119" y="407"/>
                    <a:pt x="117" y="404"/>
                  </a:cubicBezTo>
                  <a:cubicBezTo>
                    <a:pt x="116" y="402"/>
                    <a:pt x="107" y="403"/>
                    <a:pt x="104" y="402"/>
                  </a:cubicBezTo>
                  <a:cubicBezTo>
                    <a:pt x="105" y="402"/>
                    <a:pt x="107" y="401"/>
                    <a:pt x="108" y="401"/>
                  </a:cubicBezTo>
                  <a:cubicBezTo>
                    <a:pt x="106" y="401"/>
                    <a:pt x="104" y="400"/>
                    <a:pt x="102" y="400"/>
                  </a:cubicBezTo>
                  <a:cubicBezTo>
                    <a:pt x="104" y="399"/>
                    <a:pt x="107" y="399"/>
                    <a:pt x="110" y="398"/>
                  </a:cubicBezTo>
                  <a:cubicBezTo>
                    <a:pt x="108" y="396"/>
                    <a:pt x="106" y="397"/>
                    <a:pt x="104" y="397"/>
                  </a:cubicBezTo>
                  <a:cubicBezTo>
                    <a:pt x="103" y="397"/>
                    <a:pt x="102" y="396"/>
                    <a:pt x="101" y="396"/>
                  </a:cubicBezTo>
                  <a:cubicBezTo>
                    <a:pt x="100" y="395"/>
                    <a:pt x="102" y="395"/>
                    <a:pt x="102" y="394"/>
                  </a:cubicBezTo>
                  <a:cubicBezTo>
                    <a:pt x="101" y="394"/>
                    <a:pt x="99" y="393"/>
                    <a:pt x="98" y="393"/>
                  </a:cubicBezTo>
                  <a:cubicBezTo>
                    <a:pt x="97" y="392"/>
                    <a:pt x="92" y="390"/>
                    <a:pt x="93" y="388"/>
                  </a:cubicBezTo>
                  <a:cubicBezTo>
                    <a:pt x="95" y="386"/>
                    <a:pt x="95" y="387"/>
                    <a:pt x="93" y="385"/>
                  </a:cubicBezTo>
                  <a:cubicBezTo>
                    <a:pt x="90" y="382"/>
                    <a:pt x="87" y="384"/>
                    <a:pt x="83" y="382"/>
                  </a:cubicBezTo>
                  <a:cubicBezTo>
                    <a:pt x="84" y="382"/>
                    <a:pt x="86" y="382"/>
                    <a:pt x="87" y="382"/>
                  </a:cubicBezTo>
                  <a:cubicBezTo>
                    <a:pt x="89" y="382"/>
                    <a:pt x="91" y="382"/>
                    <a:pt x="93" y="382"/>
                  </a:cubicBezTo>
                  <a:cubicBezTo>
                    <a:pt x="94" y="382"/>
                    <a:pt x="96" y="383"/>
                    <a:pt x="98" y="383"/>
                  </a:cubicBezTo>
                  <a:cubicBezTo>
                    <a:pt x="99" y="383"/>
                    <a:pt x="102" y="384"/>
                    <a:pt x="103" y="384"/>
                  </a:cubicBezTo>
                  <a:cubicBezTo>
                    <a:pt x="100" y="385"/>
                    <a:pt x="100" y="386"/>
                    <a:pt x="102" y="388"/>
                  </a:cubicBezTo>
                  <a:cubicBezTo>
                    <a:pt x="103" y="389"/>
                    <a:pt x="105" y="390"/>
                    <a:pt x="106" y="391"/>
                  </a:cubicBezTo>
                  <a:cubicBezTo>
                    <a:pt x="109" y="393"/>
                    <a:pt x="111" y="395"/>
                    <a:pt x="114" y="396"/>
                  </a:cubicBezTo>
                  <a:cubicBezTo>
                    <a:pt x="116" y="396"/>
                    <a:pt x="119" y="396"/>
                    <a:pt x="121" y="397"/>
                  </a:cubicBezTo>
                  <a:cubicBezTo>
                    <a:pt x="124" y="397"/>
                    <a:pt x="123" y="396"/>
                    <a:pt x="125" y="395"/>
                  </a:cubicBezTo>
                  <a:cubicBezTo>
                    <a:pt x="127" y="394"/>
                    <a:pt x="130" y="396"/>
                    <a:pt x="131" y="397"/>
                  </a:cubicBezTo>
                  <a:cubicBezTo>
                    <a:pt x="134" y="398"/>
                    <a:pt x="133" y="398"/>
                    <a:pt x="133" y="399"/>
                  </a:cubicBezTo>
                  <a:cubicBezTo>
                    <a:pt x="133" y="402"/>
                    <a:pt x="132" y="402"/>
                    <a:pt x="135" y="402"/>
                  </a:cubicBezTo>
                  <a:cubicBezTo>
                    <a:pt x="137" y="402"/>
                    <a:pt x="140" y="401"/>
                    <a:pt x="143" y="401"/>
                  </a:cubicBezTo>
                  <a:cubicBezTo>
                    <a:pt x="146" y="402"/>
                    <a:pt x="150" y="403"/>
                    <a:pt x="154" y="404"/>
                  </a:cubicBezTo>
                  <a:cubicBezTo>
                    <a:pt x="170" y="408"/>
                    <a:pt x="185" y="411"/>
                    <a:pt x="200" y="415"/>
                  </a:cubicBezTo>
                  <a:cubicBezTo>
                    <a:pt x="207" y="416"/>
                    <a:pt x="210" y="417"/>
                    <a:pt x="216" y="416"/>
                  </a:cubicBezTo>
                  <a:cubicBezTo>
                    <a:pt x="219" y="415"/>
                    <a:pt x="221" y="415"/>
                    <a:pt x="223" y="415"/>
                  </a:cubicBezTo>
                  <a:cubicBezTo>
                    <a:pt x="226" y="414"/>
                    <a:pt x="227" y="413"/>
                    <a:pt x="229" y="413"/>
                  </a:cubicBezTo>
                  <a:cubicBezTo>
                    <a:pt x="235" y="411"/>
                    <a:pt x="241" y="410"/>
                    <a:pt x="245" y="406"/>
                  </a:cubicBezTo>
                  <a:cubicBezTo>
                    <a:pt x="250" y="403"/>
                    <a:pt x="254" y="397"/>
                    <a:pt x="258" y="393"/>
                  </a:cubicBezTo>
                  <a:cubicBezTo>
                    <a:pt x="261" y="390"/>
                    <a:pt x="264" y="387"/>
                    <a:pt x="264" y="383"/>
                  </a:cubicBezTo>
                  <a:cubicBezTo>
                    <a:pt x="264" y="381"/>
                    <a:pt x="263" y="380"/>
                    <a:pt x="262" y="380"/>
                  </a:cubicBezTo>
                  <a:cubicBezTo>
                    <a:pt x="260" y="379"/>
                    <a:pt x="259" y="380"/>
                    <a:pt x="259" y="377"/>
                  </a:cubicBezTo>
                  <a:cubicBezTo>
                    <a:pt x="260" y="375"/>
                    <a:pt x="260" y="374"/>
                    <a:pt x="259" y="372"/>
                  </a:cubicBezTo>
                  <a:cubicBezTo>
                    <a:pt x="257" y="370"/>
                    <a:pt x="257" y="373"/>
                    <a:pt x="257" y="369"/>
                  </a:cubicBezTo>
                  <a:cubicBezTo>
                    <a:pt x="257" y="369"/>
                    <a:pt x="257" y="364"/>
                    <a:pt x="257" y="364"/>
                  </a:cubicBezTo>
                  <a:cubicBezTo>
                    <a:pt x="254" y="363"/>
                    <a:pt x="251" y="363"/>
                    <a:pt x="249" y="363"/>
                  </a:cubicBezTo>
                  <a:cubicBezTo>
                    <a:pt x="246" y="362"/>
                    <a:pt x="246" y="361"/>
                    <a:pt x="244" y="360"/>
                  </a:cubicBezTo>
                  <a:cubicBezTo>
                    <a:pt x="241" y="357"/>
                    <a:pt x="239" y="354"/>
                    <a:pt x="236" y="352"/>
                  </a:cubicBezTo>
                  <a:cubicBezTo>
                    <a:pt x="235" y="351"/>
                    <a:pt x="232" y="348"/>
                    <a:pt x="232" y="349"/>
                  </a:cubicBezTo>
                  <a:cubicBezTo>
                    <a:pt x="232" y="349"/>
                    <a:pt x="234" y="351"/>
                    <a:pt x="234" y="351"/>
                  </a:cubicBezTo>
                  <a:cubicBezTo>
                    <a:pt x="228" y="349"/>
                    <a:pt x="222" y="348"/>
                    <a:pt x="216" y="346"/>
                  </a:cubicBezTo>
                  <a:cubicBezTo>
                    <a:pt x="214" y="345"/>
                    <a:pt x="211" y="344"/>
                    <a:pt x="208" y="344"/>
                  </a:cubicBezTo>
                  <a:cubicBezTo>
                    <a:pt x="206" y="343"/>
                    <a:pt x="205" y="341"/>
                    <a:pt x="204" y="340"/>
                  </a:cubicBezTo>
                  <a:cubicBezTo>
                    <a:pt x="201" y="337"/>
                    <a:pt x="199" y="335"/>
                    <a:pt x="195" y="333"/>
                  </a:cubicBezTo>
                  <a:cubicBezTo>
                    <a:pt x="188" y="330"/>
                    <a:pt x="181" y="327"/>
                    <a:pt x="175" y="324"/>
                  </a:cubicBezTo>
                  <a:cubicBezTo>
                    <a:pt x="168" y="321"/>
                    <a:pt x="161" y="318"/>
                    <a:pt x="154" y="315"/>
                  </a:cubicBezTo>
                  <a:cubicBezTo>
                    <a:pt x="151" y="314"/>
                    <a:pt x="149" y="312"/>
                    <a:pt x="146" y="312"/>
                  </a:cubicBezTo>
                  <a:cubicBezTo>
                    <a:pt x="138" y="312"/>
                    <a:pt x="129" y="310"/>
                    <a:pt x="120" y="310"/>
                  </a:cubicBezTo>
                  <a:cubicBezTo>
                    <a:pt x="118" y="310"/>
                    <a:pt x="116" y="310"/>
                    <a:pt x="115" y="312"/>
                  </a:cubicBezTo>
                  <a:cubicBezTo>
                    <a:pt x="115" y="315"/>
                    <a:pt x="115" y="315"/>
                    <a:pt x="113" y="317"/>
                  </a:cubicBezTo>
                  <a:cubicBezTo>
                    <a:pt x="112" y="317"/>
                    <a:pt x="113" y="318"/>
                    <a:pt x="111" y="318"/>
                  </a:cubicBezTo>
                  <a:cubicBezTo>
                    <a:pt x="111" y="318"/>
                    <a:pt x="109" y="319"/>
                    <a:pt x="108" y="319"/>
                  </a:cubicBezTo>
                  <a:cubicBezTo>
                    <a:pt x="105" y="319"/>
                    <a:pt x="106" y="320"/>
                    <a:pt x="105" y="323"/>
                  </a:cubicBezTo>
                  <a:cubicBezTo>
                    <a:pt x="105" y="320"/>
                    <a:pt x="105" y="319"/>
                    <a:pt x="108" y="318"/>
                  </a:cubicBezTo>
                  <a:cubicBezTo>
                    <a:pt x="110" y="318"/>
                    <a:pt x="111" y="316"/>
                    <a:pt x="114" y="316"/>
                  </a:cubicBezTo>
                  <a:cubicBezTo>
                    <a:pt x="113" y="315"/>
                    <a:pt x="109" y="313"/>
                    <a:pt x="109" y="312"/>
                  </a:cubicBezTo>
                  <a:cubicBezTo>
                    <a:pt x="110" y="311"/>
                    <a:pt x="111" y="312"/>
                    <a:pt x="111" y="311"/>
                  </a:cubicBezTo>
                  <a:cubicBezTo>
                    <a:pt x="112" y="310"/>
                    <a:pt x="112" y="308"/>
                    <a:pt x="112" y="307"/>
                  </a:cubicBezTo>
                  <a:cubicBezTo>
                    <a:pt x="108" y="308"/>
                    <a:pt x="105" y="310"/>
                    <a:pt x="101" y="311"/>
                  </a:cubicBezTo>
                  <a:cubicBezTo>
                    <a:pt x="102" y="309"/>
                    <a:pt x="99" y="309"/>
                    <a:pt x="98" y="309"/>
                  </a:cubicBezTo>
                  <a:cubicBezTo>
                    <a:pt x="95" y="308"/>
                    <a:pt x="92" y="308"/>
                    <a:pt x="89" y="307"/>
                  </a:cubicBezTo>
                  <a:cubicBezTo>
                    <a:pt x="90" y="305"/>
                    <a:pt x="86" y="304"/>
                    <a:pt x="86" y="302"/>
                  </a:cubicBezTo>
                  <a:cubicBezTo>
                    <a:pt x="85" y="301"/>
                    <a:pt x="87" y="297"/>
                    <a:pt x="88" y="296"/>
                  </a:cubicBezTo>
                  <a:cubicBezTo>
                    <a:pt x="89" y="297"/>
                    <a:pt x="88" y="298"/>
                    <a:pt x="89" y="299"/>
                  </a:cubicBezTo>
                  <a:cubicBezTo>
                    <a:pt x="90" y="300"/>
                    <a:pt x="96" y="300"/>
                    <a:pt x="97" y="301"/>
                  </a:cubicBezTo>
                  <a:cubicBezTo>
                    <a:pt x="99" y="301"/>
                    <a:pt x="102" y="302"/>
                    <a:pt x="103" y="301"/>
                  </a:cubicBezTo>
                  <a:cubicBezTo>
                    <a:pt x="104" y="301"/>
                    <a:pt x="107" y="297"/>
                    <a:pt x="106" y="296"/>
                  </a:cubicBezTo>
                  <a:cubicBezTo>
                    <a:pt x="106" y="296"/>
                    <a:pt x="102" y="295"/>
                    <a:pt x="101" y="295"/>
                  </a:cubicBezTo>
                  <a:cubicBezTo>
                    <a:pt x="99" y="295"/>
                    <a:pt x="97" y="296"/>
                    <a:pt x="96" y="295"/>
                  </a:cubicBezTo>
                  <a:cubicBezTo>
                    <a:pt x="95" y="294"/>
                    <a:pt x="95" y="293"/>
                    <a:pt x="94" y="293"/>
                  </a:cubicBezTo>
                  <a:cubicBezTo>
                    <a:pt x="93" y="292"/>
                    <a:pt x="92" y="292"/>
                    <a:pt x="91" y="292"/>
                  </a:cubicBezTo>
                  <a:cubicBezTo>
                    <a:pt x="89" y="292"/>
                    <a:pt x="87" y="288"/>
                    <a:pt x="85" y="289"/>
                  </a:cubicBezTo>
                  <a:cubicBezTo>
                    <a:pt x="82" y="289"/>
                    <a:pt x="85" y="292"/>
                    <a:pt x="86" y="293"/>
                  </a:cubicBezTo>
                  <a:cubicBezTo>
                    <a:pt x="86" y="294"/>
                    <a:pt x="87" y="294"/>
                    <a:pt x="87" y="295"/>
                  </a:cubicBezTo>
                  <a:cubicBezTo>
                    <a:pt x="87" y="296"/>
                    <a:pt x="86" y="295"/>
                    <a:pt x="85" y="295"/>
                  </a:cubicBezTo>
                  <a:cubicBezTo>
                    <a:pt x="84" y="294"/>
                    <a:pt x="83" y="293"/>
                    <a:pt x="81" y="293"/>
                  </a:cubicBezTo>
                  <a:cubicBezTo>
                    <a:pt x="79" y="293"/>
                    <a:pt x="81" y="295"/>
                    <a:pt x="80" y="296"/>
                  </a:cubicBezTo>
                  <a:cubicBezTo>
                    <a:pt x="78" y="298"/>
                    <a:pt x="70" y="296"/>
                    <a:pt x="65" y="295"/>
                  </a:cubicBezTo>
                  <a:cubicBezTo>
                    <a:pt x="66" y="296"/>
                    <a:pt x="66" y="296"/>
                    <a:pt x="66" y="296"/>
                  </a:cubicBezTo>
                  <a:cubicBezTo>
                    <a:pt x="66" y="298"/>
                    <a:pt x="66" y="301"/>
                    <a:pt x="65" y="302"/>
                  </a:cubicBezTo>
                  <a:cubicBezTo>
                    <a:pt x="64" y="303"/>
                    <a:pt x="63" y="304"/>
                    <a:pt x="62" y="304"/>
                  </a:cubicBezTo>
                  <a:cubicBezTo>
                    <a:pt x="61" y="304"/>
                    <a:pt x="61" y="304"/>
                    <a:pt x="61" y="304"/>
                  </a:cubicBezTo>
                  <a:cubicBezTo>
                    <a:pt x="61" y="304"/>
                    <a:pt x="61" y="304"/>
                    <a:pt x="61" y="304"/>
                  </a:cubicBezTo>
                  <a:cubicBezTo>
                    <a:pt x="60" y="304"/>
                    <a:pt x="60" y="304"/>
                    <a:pt x="59" y="304"/>
                  </a:cubicBezTo>
                  <a:cubicBezTo>
                    <a:pt x="59" y="304"/>
                    <a:pt x="59" y="304"/>
                    <a:pt x="59" y="304"/>
                  </a:cubicBezTo>
                  <a:cubicBezTo>
                    <a:pt x="59" y="304"/>
                    <a:pt x="59" y="304"/>
                    <a:pt x="59" y="304"/>
                  </a:cubicBezTo>
                  <a:cubicBezTo>
                    <a:pt x="57" y="304"/>
                    <a:pt x="55" y="303"/>
                    <a:pt x="53" y="302"/>
                  </a:cubicBezTo>
                  <a:cubicBezTo>
                    <a:pt x="52" y="302"/>
                    <a:pt x="52" y="302"/>
                    <a:pt x="52" y="302"/>
                  </a:cubicBezTo>
                  <a:cubicBezTo>
                    <a:pt x="52" y="302"/>
                    <a:pt x="52" y="302"/>
                    <a:pt x="52" y="302"/>
                  </a:cubicBezTo>
                  <a:cubicBezTo>
                    <a:pt x="51" y="303"/>
                    <a:pt x="51" y="303"/>
                    <a:pt x="51" y="304"/>
                  </a:cubicBezTo>
                  <a:cubicBezTo>
                    <a:pt x="49" y="307"/>
                    <a:pt x="47" y="309"/>
                    <a:pt x="43" y="310"/>
                  </a:cubicBezTo>
                  <a:cubicBezTo>
                    <a:pt x="41" y="310"/>
                    <a:pt x="41" y="310"/>
                    <a:pt x="41" y="310"/>
                  </a:cubicBezTo>
                  <a:cubicBezTo>
                    <a:pt x="40" y="311"/>
                    <a:pt x="39" y="311"/>
                    <a:pt x="37" y="311"/>
                  </a:cubicBezTo>
                  <a:cubicBezTo>
                    <a:pt x="37" y="312"/>
                    <a:pt x="37" y="312"/>
                    <a:pt x="37" y="312"/>
                  </a:cubicBezTo>
                  <a:cubicBezTo>
                    <a:pt x="37" y="312"/>
                    <a:pt x="37" y="312"/>
                    <a:pt x="36" y="312"/>
                  </a:cubicBezTo>
                  <a:cubicBezTo>
                    <a:pt x="35" y="312"/>
                    <a:pt x="33" y="316"/>
                    <a:pt x="32" y="318"/>
                  </a:cubicBezTo>
                  <a:cubicBezTo>
                    <a:pt x="30" y="320"/>
                    <a:pt x="30" y="320"/>
                    <a:pt x="30" y="320"/>
                  </a:cubicBezTo>
                  <a:cubicBezTo>
                    <a:pt x="31" y="323"/>
                    <a:pt x="28" y="324"/>
                    <a:pt x="27" y="324"/>
                  </a:cubicBezTo>
                  <a:cubicBezTo>
                    <a:pt x="26" y="324"/>
                    <a:pt x="26" y="324"/>
                    <a:pt x="25" y="325"/>
                  </a:cubicBezTo>
                  <a:cubicBezTo>
                    <a:pt x="25" y="326"/>
                    <a:pt x="25" y="326"/>
                    <a:pt x="25" y="326"/>
                  </a:cubicBezTo>
                  <a:cubicBezTo>
                    <a:pt x="25" y="328"/>
                    <a:pt x="24" y="330"/>
                    <a:pt x="23" y="332"/>
                  </a:cubicBezTo>
                  <a:cubicBezTo>
                    <a:pt x="23" y="333"/>
                    <a:pt x="23" y="333"/>
                    <a:pt x="23" y="333"/>
                  </a:cubicBezTo>
                  <a:cubicBezTo>
                    <a:pt x="23" y="334"/>
                    <a:pt x="23" y="335"/>
                    <a:pt x="22" y="335"/>
                  </a:cubicBezTo>
                  <a:cubicBezTo>
                    <a:pt x="22" y="336"/>
                    <a:pt x="21" y="339"/>
                    <a:pt x="21" y="339"/>
                  </a:cubicBezTo>
                  <a:cubicBezTo>
                    <a:pt x="22" y="340"/>
                    <a:pt x="22" y="341"/>
                    <a:pt x="22" y="342"/>
                  </a:cubicBezTo>
                  <a:cubicBezTo>
                    <a:pt x="23" y="343"/>
                    <a:pt x="23" y="346"/>
                    <a:pt x="24" y="346"/>
                  </a:cubicBezTo>
                  <a:cubicBezTo>
                    <a:pt x="25" y="347"/>
                    <a:pt x="29" y="348"/>
                    <a:pt x="30" y="348"/>
                  </a:cubicBezTo>
                  <a:cubicBezTo>
                    <a:pt x="30" y="348"/>
                    <a:pt x="31" y="348"/>
                    <a:pt x="31" y="348"/>
                  </a:cubicBezTo>
                  <a:cubicBezTo>
                    <a:pt x="32" y="348"/>
                    <a:pt x="32" y="349"/>
                    <a:pt x="33" y="349"/>
                  </a:cubicBezTo>
                  <a:cubicBezTo>
                    <a:pt x="37" y="350"/>
                    <a:pt x="39" y="353"/>
                    <a:pt x="40" y="355"/>
                  </a:cubicBezTo>
                  <a:cubicBezTo>
                    <a:pt x="41" y="357"/>
                    <a:pt x="42" y="358"/>
                    <a:pt x="43" y="359"/>
                  </a:cubicBezTo>
                  <a:cubicBezTo>
                    <a:pt x="44" y="359"/>
                    <a:pt x="44" y="359"/>
                    <a:pt x="44" y="360"/>
                  </a:cubicBezTo>
                  <a:cubicBezTo>
                    <a:pt x="47" y="362"/>
                    <a:pt x="49" y="363"/>
                    <a:pt x="49" y="365"/>
                  </a:cubicBezTo>
                  <a:cubicBezTo>
                    <a:pt x="49" y="366"/>
                    <a:pt x="49" y="366"/>
                    <a:pt x="49" y="366"/>
                  </a:cubicBezTo>
                  <a:cubicBezTo>
                    <a:pt x="49" y="367"/>
                    <a:pt x="49" y="367"/>
                    <a:pt x="49" y="367"/>
                  </a:cubicBezTo>
                  <a:cubicBezTo>
                    <a:pt x="32" y="389"/>
                    <a:pt x="32" y="389"/>
                    <a:pt x="32" y="389"/>
                  </a:cubicBezTo>
                  <a:cubicBezTo>
                    <a:pt x="32" y="389"/>
                    <a:pt x="32" y="389"/>
                    <a:pt x="32" y="390"/>
                  </a:cubicBezTo>
                  <a:cubicBezTo>
                    <a:pt x="32" y="390"/>
                    <a:pt x="32" y="391"/>
                    <a:pt x="32" y="391"/>
                  </a:cubicBezTo>
                  <a:cubicBezTo>
                    <a:pt x="32" y="391"/>
                    <a:pt x="33" y="392"/>
                    <a:pt x="33" y="392"/>
                  </a:cubicBezTo>
                  <a:cubicBezTo>
                    <a:pt x="34" y="392"/>
                    <a:pt x="34" y="393"/>
                    <a:pt x="35" y="393"/>
                  </a:cubicBezTo>
                  <a:cubicBezTo>
                    <a:pt x="35" y="394"/>
                    <a:pt x="36" y="395"/>
                    <a:pt x="37" y="396"/>
                  </a:cubicBezTo>
                  <a:cubicBezTo>
                    <a:pt x="38" y="398"/>
                    <a:pt x="40" y="401"/>
                    <a:pt x="41" y="404"/>
                  </a:cubicBezTo>
                  <a:cubicBezTo>
                    <a:pt x="53" y="431"/>
                    <a:pt x="53" y="431"/>
                    <a:pt x="53" y="431"/>
                  </a:cubicBezTo>
                  <a:cubicBezTo>
                    <a:pt x="50" y="432"/>
                    <a:pt x="50" y="432"/>
                    <a:pt x="50" y="432"/>
                  </a:cubicBezTo>
                  <a:cubicBezTo>
                    <a:pt x="49" y="432"/>
                    <a:pt x="48" y="432"/>
                    <a:pt x="48" y="432"/>
                  </a:cubicBezTo>
                  <a:cubicBezTo>
                    <a:pt x="47" y="432"/>
                    <a:pt x="47" y="432"/>
                    <a:pt x="47" y="432"/>
                  </a:cubicBezTo>
                  <a:cubicBezTo>
                    <a:pt x="47" y="432"/>
                    <a:pt x="46" y="432"/>
                    <a:pt x="45" y="432"/>
                  </a:cubicBezTo>
                  <a:cubicBezTo>
                    <a:pt x="45" y="432"/>
                    <a:pt x="45" y="432"/>
                    <a:pt x="45" y="432"/>
                  </a:cubicBezTo>
                  <a:cubicBezTo>
                    <a:pt x="45" y="435"/>
                    <a:pt x="44" y="437"/>
                    <a:pt x="43" y="439"/>
                  </a:cubicBezTo>
                  <a:cubicBezTo>
                    <a:pt x="43" y="440"/>
                    <a:pt x="43" y="440"/>
                    <a:pt x="43" y="440"/>
                  </a:cubicBezTo>
                  <a:cubicBezTo>
                    <a:pt x="43" y="441"/>
                    <a:pt x="43" y="441"/>
                    <a:pt x="43" y="441"/>
                  </a:cubicBezTo>
                  <a:cubicBezTo>
                    <a:pt x="43" y="441"/>
                    <a:pt x="43" y="441"/>
                    <a:pt x="44" y="442"/>
                  </a:cubicBezTo>
                  <a:cubicBezTo>
                    <a:pt x="45" y="443"/>
                    <a:pt x="46" y="444"/>
                    <a:pt x="46" y="446"/>
                  </a:cubicBezTo>
                  <a:cubicBezTo>
                    <a:pt x="46" y="448"/>
                    <a:pt x="45" y="449"/>
                    <a:pt x="44" y="449"/>
                  </a:cubicBezTo>
                  <a:cubicBezTo>
                    <a:pt x="42" y="450"/>
                    <a:pt x="42" y="450"/>
                    <a:pt x="42" y="451"/>
                  </a:cubicBezTo>
                  <a:cubicBezTo>
                    <a:pt x="43" y="452"/>
                    <a:pt x="44" y="454"/>
                    <a:pt x="45" y="454"/>
                  </a:cubicBezTo>
                  <a:cubicBezTo>
                    <a:pt x="49" y="455"/>
                    <a:pt x="50" y="455"/>
                    <a:pt x="52" y="458"/>
                  </a:cubicBezTo>
                  <a:cubicBezTo>
                    <a:pt x="53" y="459"/>
                    <a:pt x="53" y="461"/>
                    <a:pt x="53" y="461"/>
                  </a:cubicBezTo>
                  <a:cubicBezTo>
                    <a:pt x="53" y="463"/>
                    <a:pt x="51" y="464"/>
                    <a:pt x="50" y="464"/>
                  </a:cubicBezTo>
                  <a:cubicBezTo>
                    <a:pt x="51" y="466"/>
                    <a:pt x="52" y="468"/>
                    <a:pt x="52" y="468"/>
                  </a:cubicBezTo>
                  <a:cubicBezTo>
                    <a:pt x="52" y="468"/>
                    <a:pt x="53" y="468"/>
                    <a:pt x="53" y="468"/>
                  </a:cubicBezTo>
                  <a:cubicBezTo>
                    <a:pt x="54" y="469"/>
                    <a:pt x="54" y="469"/>
                    <a:pt x="54" y="469"/>
                  </a:cubicBezTo>
                  <a:cubicBezTo>
                    <a:pt x="56" y="469"/>
                    <a:pt x="59" y="470"/>
                    <a:pt x="60" y="472"/>
                  </a:cubicBezTo>
                  <a:cubicBezTo>
                    <a:pt x="62" y="476"/>
                    <a:pt x="61" y="480"/>
                    <a:pt x="58" y="483"/>
                  </a:cubicBezTo>
                  <a:cubicBezTo>
                    <a:pt x="57" y="484"/>
                    <a:pt x="57" y="484"/>
                    <a:pt x="57" y="484"/>
                  </a:cubicBezTo>
                  <a:cubicBezTo>
                    <a:pt x="55" y="486"/>
                    <a:pt x="54" y="487"/>
                    <a:pt x="52" y="489"/>
                  </a:cubicBezTo>
                  <a:cubicBezTo>
                    <a:pt x="53" y="489"/>
                    <a:pt x="54" y="490"/>
                    <a:pt x="56" y="491"/>
                  </a:cubicBezTo>
                  <a:cubicBezTo>
                    <a:pt x="63" y="496"/>
                    <a:pt x="71" y="501"/>
                    <a:pt x="76" y="508"/>
                  </a:cubicBezTo>
                  <a:cubicBezTo>
                    <a:pt x="76" y="508"/>
                    <a:pt x="77" y="509"/>
                    <a:pt x="77" y="509"/>
                  </a:cubicBezTo>
                  <a:cubicBezTo>
                    <a:pt x="77" y="509"/>
                    <a:pt x="77" y="509"/>
                    <a:pt x="77" y="509"/>
                  </a:cubicBezTo>
                  <a:cubicBezTo>
                    <a:pt x="79" y="511"/>
                    <a:pt x="80" y="513"/>
                    <a:pt x="78" y="517"/>
                  </a:cubicBezTo>
                  <a:cubicBezTo>
                    <a:pt x="77" y="518"/>
                    <a:pt x="76" y="519"/>
                    <a:pt x="76" y="521"/>
                  </a:cubicBezTo>
                  <a:cubicBezTo>
                    <a:pt x="75" y="522"/>
                    <a:pt x="75" y="524"/>
                    <a:pt x="74" y="526"/>
                  </a:cubicBezTo>
                  <a:cubicBezTo>
                    <a:pt x="72" y="528"/>
                    <a:pt x="70" y="530"/>
                    <a:pt x="68" y="532"/>
                  </a:cubicBezTo>
                  <a:cubicBezTo>
                    <a:pt x="67" y="532"/>
                    <a:pt x="66" y="533"/>
                    <a:pt x="65" y="533"/>
                  </a:cubicBezTo>
                  <a:cubicBezTo>
                    <a:pt x="62" y="537"/>
                    <a:pt x="58" y="540"/>
                    <a:pt x="55" y="543"/>
                  </a:cubicBezTo>
                  <a:cubicBezTo>
                    <a:pt x="53" y="545"/>
                    <a:pt x="51" y="548"/>
                    <a:pt x="48" y="550"/>
                  </a:cubicBezTo>
                  <a:cubicBezTo>
                    <a:pt x="43" y="555"/>
                    <a:pt x="38" y="561"/>
                    <a:pt x="31" y="565"/>
                  </a:cubicBezTo>
                  <a:cubicBezTo>
                    <a:pt x="24" y="570"/>
                    <a:pt x="16" y="576"/>
                    <a:pt x="9" y="582"/>
                  </a:cubicBezTo>
                  <a:cubicBezTo>
                    <a:pt x="12" y="582"/>
                    <a:pt x="14" y="581"/>
                    <a:pt x="16" y="581"/>
                  </a:cubicBezTo>
                  <a:cubicBezTo>
                    <a:pt x="16" y="579"/>
                    <a:pt x="20" y="579"/>
                    <a:pt x="22" y="577"/>
                  </a:cubicBezTo>
                  <a:cubicBezTo>
                    <a:pt x="24" y="582"/>
                    <a:pt x="17" y="578"/>
                    <a:pt x="21" y="583"/>
                  </a:cubicBezTo>
                  <a:cubicBezTo>
                    <a:pt x="25" y="588"/>
                    <a:pt x="19" y="583"/>
                    <a:pt x="18" y="582"/>
                  </a:cubicBezTo>
                  <a:cubicBezTo>
                    <a:pt x="20" y="589"/>
                    <a:pt x="29" y="590"/>
                    <a:pt x="36" y="593"/>
                  </a:cubicBezTo>
                  <a:cubicBezTo>
                    <a:pt x="38" y="594"/>
                    <a:pt x="40" y="594"/>
                    <a:pt x="42" y="595"/>
                  </a:cubicBezTo>
                  <a:cubicBezTo>
                    <a:pt x="44" y="596"/>
                    <a:pt x="46" y="597"/>
                    <a:pt x="48" y="598"/>
                  </a:cubicBezTo>
                  <a:cubicBezTo>
                    <a:pt x="50" y="601"/>
                    <a:pt x="50" y="601"/>
                    <a:pt x="50" y="601"/>
                  </a:cubicBezTo>
                  <a:cubicBezTo>
                    <a:pt x="47" y="601"/>
                    <a:pt x="47" y="601"/>
                    <a:pt x="47" y="601"/>
                  </a:cubicBezTo>
                  <a:cubicBezTo>
                    <a:pt x="45" y="601"/>
                    <a:pt x="43" y="600"/>
                    <a:pt x="41" y="600"/>
                  </a:cubicBezTo>
                  <a:cubicBezTo>
                    <a:pt x="38" y="599"/>
                    <a:pt x="34" y="598"/>
                    <a:pt x="31" y="599"/>
                  </a:cubicBezTo>
                  <a:cubicBezTo>
                    <a:pt x="29" y="600"/>
                    <a:pt x="27" y="603"/>
                    <a:pt x="25" y="604"/>
                  </a:cubicBezTo>
                  <a:cubicBezTo>
                    <a:pt x="24" y="605"/>
                    <a:pt x="21" y="603"/>
                    <a:pt x="20" y="603"/>
                  </a:cubicBezTo>
                  <a:cubicBezTo>
                    <a:pt x="17" y="602"/>
                    <a:pt x="14" y="606"/>
                    <a:pt x="11" y="604"/>
                  </a:cubicBezTo>
                  <a:cubicBezTo>
                    <a:pt x="10" y="606"/>
                    <a:pt x="10" y="608"/>
                    <a:pt x="10" y="611"/>
                  </a:cubicBezTo>
                  <a:cubicBezTo>
                    <a:pt x="15" y="614"/>
                    <a:pt x="15" y="614"/>
                    <a:pt x="15" y="614"/>
                  </a:cubicBezTo>
                  <a:cubicBezTo>
                    <a:pt x="14" y="616"/>
                    <a:pt x="14" y="616"/>
                    <a:pt x="14" y="616"/>
                  </a:cubicBezTo>
                  <a:cubicBezTo>
                    <a:pt x="14" y="616"/>
                    <a:pt x="13" y="616"/>
                    <a:pt x="13" y="617"/>
                  </a:cubicBezTo>
                  <a:cubicBezTo>
                    <a:pt x="16" y="619"/>
                    <a:pt x="16" y="619"/>
                    <a:pt x="16" y="619"/>
                  </a:cubicBezTo>
                  <a:cubicBezTo>
                    <a:pt x="11" y="620"/>
                    <a:pt x="11" y="620"/>
                    <a:pt x="11" y="620"/>
                  </a:cubicBezTo>
                  <a:cubicBezTo>
                    <a:pt x="11" y="620"/>
                    <a:pt x="9" y="621"/>
                    <a:pt x="8" y="624"/>
                  </a:cubicBezTo>
                  <a:cubicBezTo>
                    <a:pt x="6" y="628"/>
                    <a:pt x="3" y="632"/>
                    <a:pt x="1" y="633"/>
                  </a:cubicBezTo>
                  <a:cubicBezTo>
                    <a:pt x="1" y="633"/>
                    <a:pt x="1" y="634"/>
                    <a:pt x="1" y="635"/>
                  </a:cubicBezTo>
                  <a:cubicBezTo>
                    <a:pt x="2" y="638"/>
                    <a:pt x="1" y="641"/>
                    <a:pt x="1" y="643"/>
                  </a:cubicBezTo>
                  <a:cubicBezTo>
                    <a:pt x="1" y="644"/>
                    <a:pt x="1" y="644"/>
                    <a:pt x="1" y="644"/>
                  </a:cubicBezTo>
                  <a:cubicBezTo>
                    <a:pt x="1" y="645"/>
                    <a:pt x="1" y="648"/>
                    <a:pt x="3" y="650"/>
                  </a:cubicBezTo>
                  <a:cubicBezTo>
                    <a:pt x="6" y="653"/>
                    <a:pt x="7" y="656"/>
                    <a:pt x="7" y="657"/>
                  </a:cubicBezTo>
                  <a:cubicBezTo>
                    <a:pt x="8" y="659"/>
                    <a:pt x="7" y="660"/>
                    <a:pt x="7" y="660"/>
                  </a:cubicBezTo>
                  <a:cubicBezTo>
                    <a:pt x="6" y="661"/>
                    <a:pt x="6" y="661"/>
                    <a:pt x="6" y="661"/>
                  </a:cubicBezTo>
                  <a:cubicBezTo>
                    <a:pt x="5" y="661"/>
                    <a:pt x="5" y="661"/>
                    <a:pt x="5" y="661"/>
                  </a:cubicBezTo>
                  <a:cubicBezTo>
                    <a:pt x="5" y="661"/>
                    <a:pt x="5" y="661"/>
                    <a:pt x="4" y="661"/>
                  </a:cubicBezTo>
                  <a:cubicBezTo>
                    <a:pt x="4" y="661"/>
                    <a:pt x="4" y="661"/>
                    <a:pt x="4" y="661"/>
                  </a:cubicBezTo>
                  <a:cubicBezTo>
                    <a:pt x="3" y="661"/>
                    <a:pt x="3" y="661"/>
                    <a:pt x="3" y="661"/>
                  </a:cubicBezTo>
                  <a:cubicBezTo>
                    <a:pt x="3" y="661"/>
                    <a:pt x="3" y="661"/>
                    <a:pt x="3" y="661"/>
                  </a:cubicBezTo>
                  <a:cubicBezTo>
                    <a:pt x="3" y="661"/>
                    <a:pt x="3" y="661"/>
                    <a:pt x="3" y="661"/>
                  </a:cubicBezTo>
                  <a:cubicBezTo>
                    <a:pt x="2" y="661"/>
                    <a:pt x="2" y="661"/>
                    <a:pt x="2" y="662"/>
                  </a:cubicBezTo>
                  <a:cubicBezTo>
                    <a:pt x="2" y="662"/>
                    <a:pt x="2" y="662"/>
                    <a:pt x="2" y="662"/>
                  </a:cubicBezTo>
                  <a:cubicBezTo>
                    <a:pt x="2" y="662"/>
                    <a:pt x="2" y="662"/>
                    <a:pt x="1" y="662"/>
                  </a:cubicBezTo>
                  <a:cubicBezTo>
                    <a:pt x="1" y="663"/>
                    <a:pt x="1" y="663"/>
                    <a:pt x="1" y="663"/>
                  </a:cubicBezTo>
                  <a:cubicBezTo>
                    <a:pt x="1" y="663"/>
                    <a:pt x="1" y="663"/>
                    <a:pt x="1" y="663"/>
                  </a:cubicBezTo>
                  <a:cubicBezTo>
                    <a:pt x="1" y="664"/>
                    <a:pt x="1" y="664"/>
                    <a:pt x="1" y="664"/>
                  </a:cubicBezTo>
                  <a:cubicBezTo>
                    <a:pt x="1" y="664"/>
                    <a:pt x="0" y="664"/>
                    <a:pt x="0" y="664"/>
                  </a:cubicBezTo>
                  <a:cubicBezTo>
                    <a:pt x="0" y="664"/>
                    <a:pt x="0" y="664"/>
                    <a:pt x="0" y="664"/>
                  </a:cubicBezTo>
                  <a:cubicBezTo>
                    <a:pt x="0" y="664"/>
                    <a:pt x="0" y="665"/>
                    <a:pt x="0" y="665"/>
                  </a:cubicBezTo>
                  <a:cubicBezTo>
                    <a:pt x="0" y="665"/>
                    <a:pt x="0" y="665"/>
                    <a:pt x="0" y="665"/>
                  </a:cubicBezTo>
                  <a:cubicBezTo>
                    <a:pt x="0" y="666"/>
                    <a:pt x="0" y="666"/>
                    <a:pt x="0" y="666"/>
                  </a:cubicBezTo>
                  <a:cubicBezTo>
                    <a:pt x="0" y="666"/>
                    <a:pt x="0" y="666"/>
                    <a:pt x="0" y="666"/>
                  </a:cubicBezTo>
                  <a:cubicBezTo>
                    <a:pt x="0" y="667"/>
                    <a:pt x="0" y="667"/>
                    <a:pt x="0" y="667"/>
                  </a:cubicBezTo>
                  <a:cubicBezTo>
                    <a:pt x="0" y="667"/>
                    <a:pt x="0" y="667"/>
                    <a:pt x="1" y="667"/>
                  </a:cubicBezTo>
                  <a:cubicBezTo>
                    <a:pt x="1" y="667"/>
                    <a:pt x="1" y="667"/>
                    <a:pt x="1" y="667"/>
                  </a:cubicBezTo>
                  <a:cubicBezTo>
                    <a:pt x="1" y="667"/>
                    <a:pt x="1" y="667"/>
                    <a:pt x="1" y="667"/>
                  </a:cubicBezTo>
                  <a:cubicBezTo>
                    <a:pt x="1" y="667"/>
                    <a:pt x="1" y="667"/>
                    <a:pt x="1" y="668"/>
                  </a:cubicBezTo>
                  <a:cubicBezTo>
                    <a:pt x="3" y="669"/>
                    <a:pt x="5" y="670"/>
                    <a:pt x="6" y="670"/>
                  </a:cubicBezTo>
                  <a:cubicBezTo>
                    <a:pt x="7" y="671"/>
                    <a:pt x="8" y="671"/>
                    <a:pt x="8" y="672"/>
                  </a:cubicBezTo>
                  <a:cubicBezTo>
                    <a:pt x="9" y="674"/>
                    <a:pt x="7" y="678"/>
                    <a:pt x="6" y="679"/>
                  </a:cubicBezTo>
                  <a:cubicBezTo>
                    <a:pt x="6" y="679"/>
                    <a:pt x="6" y="679"/>
                    <a:pt x="6" y="679"/>
                  </a:cubicBezTo>
                  <a:cubicBezTo>
                    <a:pt x="7" y="680"/>
                    <a:pt x="7" y="681"/>
                    <a:pt x="6" y="683"/>
                  </a:cubicBezTo>
                  <a:cubicBezTo>
                    <a:pt x="6" y="683"/>
                    <a:pt x="6" y="683"/>
                    <a:pt x="6" y="683"/>
                  </a:cubicBezTo>
                  <a:cubicBezTo>
                    <a:pt x="6" y="683"/>
                    <a:pt x="6" y="683"/>
                    <a:pt x="6" y="683"/>
                  </a:cubicBezTo>
                  <a:cubicBezTo>
                    <a:pt x="9" y="684"/>
                    <a:pt x="11" y="687"/>
                    <a:pt x="12" y="690"/>
                  </a:cubicBezTo>
                  <a:cubicBezTo>
                    <a:pt x="13" y="694"/>
                    <a:pt x="13" y="694"/>
                    <a:pt x="13" y="695"/>
                  </a:cubicBezTo>
                  <a:cubicBezTo>
                    <a:pt x="14" y="695"/>
                    <a:pt x="14" y="695"/>
                    <a:pt x="14" y="695"/>
                  </a:cubicBezTo>
                  <a:cubicBezTo>
                    <a:pt x="14" y="695"/>
                    <a:pt x="14" y="696"/>
                    <a:pt x="14" y="696"/>
                  </a:cubicBezTo>
                  <a:cubicBezTo>
                    <a:pt x="14" y="696"/>
                    <a:pt x="14" y="696"/>
                    <a:pt x="14" y="697"/>
                  </a:cubicBezTo>
                  <a:cubicBezTo>
                    <a:pt x="14" y="697"/>
                    <a:pt x="14" y="697"/>
                    <a:pt x="14" y="697"/>
                  </a:cubicBezTo>
                  <a:cubicBezTo>
                    <a:pt x="14" y="697"/>
                    <a:pt x="15" y="698"/>
                    <a:pt x="15" y="698"/>
                  </a:cubicBezTo>
                  <a:cubicBezTo>
                    <a:pt x="15" y="699"/>
                    <a:pt x="15" y="699"/>
                    <a:pt x="15" y="699"/>
                  </a:cubicBezTo>
                  <a:cubicBezTo>
                    <a:pt x="15" y="699"/>
                    <a:pt x="15" y="699"/>
                    <a:pt x="15" y="699"/>
                  </a:cubicBezTo>
                  <a:cubicBezTo>
                    <a:pt x="15" y="703"/>
                    <a:pt x="15" y="703"/>
                    <a:pt x="15" y="703"/>
                  </a:cubicBezTo>
                  <a:cubicBezTo>
                    <a:pt x="15" y="703"/>
                    <a:pt x="15" y="703"/>
                    <a:pt x="15" y="703"/>
                  </a:cubicBezTo>
                  <a:cubicBezTo>
                    <a:pt x="15" y="703"/>
                    <a:pt x="15" y="704"/>
                    <a:pt x="16" y="704"/>
                  </a:cubicBezTo>
                  <a:cubicBezTo>
                    <a:pt x="16" y="704"/>
                    <a:pt x="16" y="704"/>
                    <a:pt x="17" y="704"/>
                  </a:cubicBezTo>
                  <a:cubicBezTo>
                    <a:pt x="17" y="704"/>
                    <a:pt x="17" y="705"/>
                    <a:pt x="17" y="705"/>
                  </a:cubicBezTo>
                  <a:cubicBezTo>
                    <a:pt x="18" y="705"/>
                    <a:pt x="18" y="705"/>
                    <a:pt x="19" y="705"/>
                  </a:cubicBezTo>
                  <a:cubicBezTo>
                    <a:pt x="19" y="706"/>
                    <a:pt x="19" y="706"/>
                    <a:pt x="19" y="706"/>
                  </a:cubicBezTo>
                  <a:cubicBezTo>
                    <a:pt x="22" y="707"/>
                    <a:pt x="22" y="707"/>
                    <a:pt x="22" y="707"/>
                  </a:cubicBezTo>
                  <a:cubicBezTo>
                    <a:pt x="23" y="707"/>
                    <a:pt x="23" y="707"/>
                    <a:pt x="23" y="707"/>
                  </a:cubicBezTo>
                  <a:cubicBezTo>
                    <a:pt x="24" y="707"/>
                    <a:pt x="24" y="707"/>
                    <a:pt x="24" y="708"/>
                  </a:cubicBezTo>
                  <a:cubicBezTo>
                    <a:pt x="25" y="708"/>
                    <a:pt x="25" y="708"/>
                    <a:pt x="25" y="708"/>
                  </a:cubicBezTo>
                  <a:cubicBezTo>
                    <a:pt x="25" y="708"/>
                    <a:pt x="25" y="708"/>
                    <a:pt x="26" y="708"/>
                  </a:cubicBezTo>
                  <a:cubicBezTo>
                    <a:pt x="26" y="708"/>
                    <a:pt x="26" y="708"/>
                    <a:pt x="26" y="708"/>
                  </a:cubicBezTo>
                  <a:cubicBezTo>
                    <a:pt x="27" y="708"/>
                    <a:pt x="27" y="708"/>
                    <a:pt x="28" y="707"/>
                  </a:cubicBezTo>
                  <a:cubicBezTo>
                    <a:pt x="28" y="707"/>
                    <a:pt x="28" y="707"/>
                    <a:pt x="28" y="707"/>
                  </a:cubicBezTo>
                  <a:cubicBezTo>
                    <a:pt x="29" y="707"/>
                    <a:pt x="30" y="707"/>
                    <a:pt x="31" y="707"/>
                  </a:cubicBezTo>
                  <a:cubicBezTo>
                    <a:pt x="31" y="707"/>
                    <a:pt x="32" y="707"/>
                    <a:pt x="33" y="707"/>
                  </a:cubicBezTo>
                  <a:cubicBezTo>
                    <a:pt x="33" y="707"/>
                    <a:pt x="33" y="707"/>
                    <a:pt x="33" y="707"/>
                  </a:cubicBezTo>
                  <a:cubicBezTo>
                    <a:pt x="34" y="707"/>
                    <a:pt x="35" y="708"/>
                    <a:pt x="36" y="709"/>
                  </a:cubicBezTo>
                  <a:cubicBezTo>
                    <a:pt x="36" y="710"/>
                    <a:pt x="36" y="710"/>
                    <a:pt x="36" y="710"/>
                  </a:cubicBezTo>
                  <a:cubicBezTo>
                    <a:pt x="36" y="709"/>
                    <a:pt x="36" y="709"/>
                    <a:pt x="36" y="709"/>
                  </a:cubicBezTo>
                  <a:cubicBezTo>
                    <a:pt x="37" y="710"/>
                    <a:pt x="38" y="711"/>
                    <a:pt x="38" y="713"/>
                  </a:cubicBezTo>
                  <a:cubicBezTo>
                    <a:pt x="38" y="713"/>
                    <a:pt x="38" y="713"/>
                    <a:pt x="38" y="713"/>
                  </a:cubicBezTo>
                  <a:cubicBezTo>
                    <a:pt x="38" y="713"/>
                    <a:pt x="38" y="714"/>
                    <a:pt x="38" y="714"/>
                  </a:cubicBezTo>
                  <a:cubicBezTo>
                    <a:pt x="39" y="714"/>
                    <a:pt x="39" y="713"/>
                    <a:pt x="40" y="713"/>
                  </a:cubicBezTo>
                  <a:cubicBezTo>
                    <a:pt x="40" y="713"/>
                    <a:pt x="41" y="712"/>
                    <a:pt x="42" y="712"/>
                  </a:cubicBezTo>
                  <a:cubicBezTo>
                    <a:pt x="42" y="712"/>
                    <a:pt x="43" y="711"/>
                    <a:pt x="43" y="711"/>
                  </a:cubicBezTo>
                  <a:cubicBezTo>
                    <a:pt x="44" y="711"/>
                    <a:pt x="44" y="711"/>
                    <a:pt x="44" y="711"/>
                  </a:cubicBezTo>
                  <a:cubicBezTo>
                    <a:pt x="44" y="711"/>
                    <a:pt x="44" y="711"/>
                    <a:pt x="44" y="711"/>
                  </a:cubicBezTo>
                  <a:cubicBezTo>
                    <a:pt x="45" y="711"/>
                    <a:pt x="45" y="711"/>
                    <a:pt x="45" y="711"/>
                  </a:cubicBezTo>
                  <a:cubicBezTo>
                    <a:pt x="46" y="710"/>
                    <a:pt x="46" y="710"/>
                    <a:pt x="46" y="710"/>
                  </a:cubicBezTo>
                  <a:cubicBezTo>
                    <a:pt x="47" y="710"/>
                    <a:pt x="47" y="710"/>
                    <a:pt x="48" y="710"/>
                  </a:cubicBezTo>
                  <a:cubicBezTo>
                    <a:pt x="48" y="710"/>
                    <a:pt x="48" y="710"/>
                    <a:pt x="49" y="710"/>
                  </a:cubicBezTo>
                  <a:cubicBezTo>
                    <a:pt x="50" y="710"/>
                    <a:pt x="51" y="710"/>
                    <a:pt x="52" y="711"/>
                  </a:cubicBezTo>
                  <a:cubicBezTo>
                    <a:pt x="53" y="711"/>
                    <a:pt x="53" y="711"/>
                    <a:pt x="53" y="711"/>
                  </a:cubicBezTo>
                  <a:cubicBezTo>
                    <a:pt x="54" y="711"/>
                    <a:pt x="56" y="712"/>
                    <a:pt x="57" y="712"/>
                  </a:cubicBezTo>
                  <a:cubicBezTo>
                    <a:pt x="64" y="715"/>
                    <a:pt x="66" y="717"/>
                    <a:pt x="66" y="718"/>
                  </a:cubicBezTo>
                  <a:cubicBezTo>
                    <a:pt x="67" y="718"/>
                    <a:pt x="67" y="718"/>
                    <a:pt x="67" y="718"/>
                  </a:cubicBezTo>
                  <a:cubicBezTo>
                    <a:pt x="67" y="726"/>
                    <a:pt x="67" y="726"/>
                    <a:pt x="67" y="726"/>
                  </a:cubicBezTo>
                  <a:cubicBezTo>
                    <a:pt x="66" y="728"/>
                    <a:pt x="66" y="728"/>
                    <a:pt x="66" y="728"/>
                  </a:cubicBezTo>
                  <a:cubicBezTo>
                    <a:pt x="66" y="728"/>
                    <a:pt x="66" y="728"/>
                    <a:pt x="66" y="728"/>
                  </a:cubicBezTo>
                  <a:cubicBezTo>
                    <a:pt x="67" y="729"/>
                    <a:pt x="70" y="733"/>
                    <a:pt x="69" y="736"/>
                  </a:cubicBezTo>
                  <a:cubicBezTo>
                    <a:pt x="68" y="736"/>
                    <a:pt x="68" y="736"/>
                    <a:pt x="68" y="736"/>
                  </a:cubicBezTo>
                  <a:cubicBezTo>
                    <a:pt x="68" y="737"/>
                    <a:pt x="66" y="738"/>
                    <a:pt x="65" y="740"/>
                  </a:cubicBezTo>
                  <a:cubicBezTo>
                    <a:pt x="69" y="741"/>
                    <a:pt x="72" y="743"/>
                    <a:pt x="72" y="747"/>
                  </a:cubicBezTo>
                  <a:cubicBezTo>
                    <a:pt x="72" y="748"/>
                    <a:pt x="74" y="752"/>
                    <a:pt x="79" y="755"/>
                  </a:cubicBezTo>
                  <a:cubicBezTo>
                    <a:pt x="83" y="757"/>
                    <a:pt x="84" y="760"/>
                    <a:pt x="84" y="762"/>
                  </a:cubicBezTo>
                  <a:cubicBezTo>
                    <a:pt x="85" y="763"/>
                    <a:pt x="84" y="764"/>
                    <a:pt x="84" y="765"/>
                  </a:cubicBezTo>
                  <a:cubicBezTo>
                    <a:pt x="86" y="766"/>
                    <a:pt x="89" y="767"/>
                    <a:pt x="95" y="767"/>
                  </a:cubicBezTo>
                  <a:cubicBezTo>
                    <a:pt x="101" y="768"/>
                    <a:pt x="101" y="768"/>
                    <a:pt x="101" y="768"/>
                  </a:cubicBezTo>
                  <a:cubicBezTo>
                    <a:pt x="96" y="771"/>
                    <a:pt x="96" y="771"/>
                    <a:pt x="96" y="771"/>
                  </a:cubicBezTo>
                  <a:cubicBezTo>
                    <a:pt x="96" y="771"/>
                    <a:pt x="96" y="771"/>
                    <a:pt x="96" y="771"/>
                  </a:cubicBezTo>
                  <a:cubicBezTo>
                    <a:pt x="96" y="771"/>
                    <a:pt x="97" y="772"/>
                    <a:pt x="98" y="773"/>
                  </a:cubicBezTo>
                  <a:cubicBezTo>
                    <a:pt x="98" y="773"/>
                    <a:pt x="99" y="773"/>
                    <a:pt x="99" y="774"/>
                  </a:cubicBezTo>
                  <a:cubicBezTo>
                    <a:pt x="101" y="775"/>
                    <a:pt x="102" y="776"/>
                    <a:pt x="102" y="778"/>
                  </a:cubicBezTo>
                  <a:cubicBezTo>
                    <a:pt x="102" y="779"/>
                    <a:pt x="102" y="780"/>
                    <a:pt x="101" y="780"/>
                  </a:cubicBezTo>
                  <a:cubicBezTo>
                    <a:pt x="101" y="781"/>
                    <a:pt x="100" y="781"/>
                    <a:pt x="100" y="781"/>
                  </a:cubicBezTo>
                  <a:cubicBezTo>
                    <a:pt x="99" y="782"/>
                    <a:pt x="98" y="782"/>
                    <a:pt x="97" y="783"/>
                  </a:cubicBezTo>
                  <a:cubicBezTo>
                    <a:pt x="97" y="783"/>
                    <a:pt x="96" y="783"/>
                    <a:pt x="96" y="784"/>
                  </a:cubicBezTo>
                  <a:cubicBezTo>
                    <a:pt x="96" y="784"/>
                    <a:pt x="96" y="784"/>
                    <a:pt x="96" y="784"/>
                  </a:cubicBezTo>
                  <a:cubicBezTo>
                    <a:pt x="95" y="785"/>
                    <a:pt x="95" y="785"/>
                    <a:pt x="95" y="785"/>
                  </a:cubicBezTo>
                  <a:cubicBezTo>
                    <a:pt x="94" y="785"/>
                    <a:pt x="94" y="785"/>
                    <a:pt x="94" y="785"/>
                  </a:cubicBezTo>
                  <a:cubicBezTo>
                    <a:pt x="92" y="786"/>
                    <a:pt x="92" y="786"/>
                    <a:pt x="92" y="786"/>
                  </a:cubicBezTo>
                  <a:cubicBezTo>
                    <a:pt x="92" y="786"/>
                    <a:pt x="92" y="786"/>
                    <a:pt x="91" y="786"/>
                  </a:cubicBezTo>
                  <a:cubicBezTo>
                    <a:pt x="91" y="786"/>
                    <a:pt x="91" y="786"/>
                    <a:pt x="91" y="787"/>
                  </a:cubicBezTo>
                  <a:cubicBezTo>
                    <a:pt x="90" y="787"/>
                    <a:pt x="90" y="787"/>
                    <a:pt x="90" y="787"/>
                  </a:cubicBezTo>
                  <a:cubicBezTo>
                    <a:pt x="90" y="787"/>
                    <a:pt x="89" y="787"/>
                    <a:pt x="89" y="787"/>
                  </a:cubicBezTo>
                  <a:cubicBezTo>
                    <a:pt x="87" y="788"/>
                    <a:pt x="85" y="788"/>
                    <a:pt x="84" y="787"/>
                  </a:cubicBezTo>
                  <a:cubicBezTo>
                    <a:pt x="82" y="787"/>
                    <a:pt x="81" y="787"/>
                    <a:pt x="80" y="787"/>
                  </a:cubicBezTo>
                  <a:cubicBezTo>
                    <a:pt x="79" y="787"/>
                    <a:pt x="79" y="787"/>
                    <a:pt x="79" y="787"/>
                  </a:cubicBezTo>
                  <a:cubicBezTo>
                    <a:pt x="78" y="787"/>
                    <a:pt x="78" y="787"/>
                    <a:pt x="77" y="787"/>
                  </a:cubicBezTo>
                  <a:cubicBezTo>
                    <a:pt x="76" y="787"/>
                    <a:pt x="76" y="787"/>
                    <a:pt x="76" y="787"/>
                  </a:cubicBezTo>
                  <a:cubicBezTo>
                    <a:pt x="76" y="787"/>
                    <a:pt x="75" y="787"/>
                    <a:pt x="75" y="787"/>
                  </a:cubicBezTo>
                  <a:cubicBezTo>
                    <a:pt x="75" y="787"/>
                    <a:pt x="75" y="787"/>
                    <a:pt x="75" y="787"/>
                  </a:cubicBezTo>
                  <a:cubicBezTo>
                    <a:pt x="75" y="787"/>
                    <a:pt x="75" y="787"/>
                    <a:pt x="75" y="787"/>
                  </a:cubicBezTo>
                  <a:cubicBezTo>
                    <a:pt x="75" y="788"/>
                    <a:pt x="76" y="789"/>
                    <a:pt x="77" y="790"/>
                  </a:cubicBezTo>
                  <a:cubicBezTo>
                    <a:pt x="79" y="791"/>
                    <a:pt x="81" y="793"/>
                    <a:pt x="80" y="802"/>
                  </a:cubicBezTo>
                  <a:cubicBezTo>
                    <a:pt x="79" y="804"/>
                    <a:pt x="80" y="805"/>
                    <a:pt x="81" y="806"/>
                  </a:cubicBezTo>
                  <a:cubicBezTo>
                    <a:pt x="81" y="806"/>
                    <a:pt x="81" y="806"/>
                    <a:pt x="81" y="806"/>
                  </a:cubicBezTo>
                  <a:cubicBezTo>
                    <a:pt x="81" y="806"/>
                    <a:pt x="82" y="806"/>
                    <a:pt x="82" y="807"/>
                  </a:cubicBezTo>
                  <a:cubicBezTo>
                    <a:pt x="82" y="807"/>
                    <a:pt x="82" y="807"/>
                    <a:pt x="82" y="807"/>
                  </a:cubicBezTo>
                  <a:cubicBezTo>
                    <a:pt x="82" y="807"/>
                    <a:pt x="82" y="807"/>
                    <a:pt x="82" y="807"/>
                  </a:cubicBezTo>
                  <a:cubicBezTo>
                    <a:pt x="83" y="809"/>
                    <a:pt x="83" y="809"/>
                    <a:pt x="83" y="809"/>
                  </a:cubicBezTo>
                  <a:cubicBezTo>
                    <a:pt x="86" y="810"/>
                    <a:pt x="88" y="810"/>
                    <a:pt x="89" y="809"/>
                  </a:cubicBezTo>
                  <a:cubicBezTo>
                    <a:pt x="89" y="809"/>
                    <a:pt x="89" y="809"/>
                    <a:pt x="89" y="809"/>
                  </a:cubicBezTo>
                  <a:cubicBezTo>
                    <a:pt x="91" y="806"/>
                    <a:pt x="93" y="802"/>
                    <a:pt x="99" y="803"/>
                  </a:cubicBezTo>
                  <a:cubicBezTo>
                    <a:pt x="102" y="804"/>
                    <a:pt x="106" y="803"/>
                    <a:pt x="111" y="802"/>
                  </a:cubicBezTo>
                  <a:cubicBezTo>
                    <a:pt x="114" y="801"/>
                    <a:pt x="119" y="801"/>
                    <a:pt x="121" y="803"/>
                  </a:cubicBezTo>
                  <a:cubicBezTo>
                    <a:pt x="122" y="803"/>
                    <a:pt x="122" y="803"/>
                    <a:pt x="122" y="803"/>
                  </a:cubicBezTo>
                  <a:cubicBezTo>
                    <a:pt x="127" y="807"/>
                    <a:pt x="128" y="809"/>
                    <a:pt x="128" y="811"/>
                  </a:cubicBezTo>
                  <a:cubicBezTo>
                    <a:pt x="128" y="812"/>
                    <a:pt x="128" y="812"/>
                    <a:pt x="128" y="812"/>
                  </a:cubicBezTo>
                  <a:cubicBezTo>
                    <a:pt x="128" y="813"/>
                    <a:pt x="128" y="813"/>
                    <a:pt x="129" y="814"/>
                  </a:cubicBezTo>
                  <a:cubicBezTo>
                    <a:pt x="130" y="814"/>
                    <a:pt x="132" y="815"/>
                    <a:pt x="133" y="817"/>
                  </a:cubicBezTo>
                  <a:cubicBezTo>
                    <a:pt x="134" y="818"/>
                    <a:pt x="134" y="819"/>
                    <a:pt x="134" y="819"/>
                  </a:cubicBezTo>
                  <a:cubicBezTo>
                    <a:pt x="134" y="821"/>
                    <a:pt x="134" y="821"/>
                    <a:pt x="134" y="821"/>
                  </a:cubicBezTo>
                  <a:cubicBezTo>
                    <a:pt x="132" y="822"/>
                    <a:pt x="132" y="822"/>
                    <a:pt x="132" y="822"/>
                  </a:cubicBezTo>
                  <a:cubicBezTo>
                    <a:pt x="131" y="822"/>
                    <a:pt x="129" y="822"/>
                    <a:pt x="129" y="823"/>
                  </a:cubicBezTo>
                  <a:cubicBezTo>
                    <a:pt x="130" y="825"/>
                    <a:pt x="130" y="827"/>
                    <a:pt x="130" y="829"/>
                  </a:cubicBezTo>
                  <a:cubicBezTo>
                    <a:pt x="130" y="829"/>
                    <a:pt x="130" y="830"/>
                    <a:pt x="130" y="830"/>
                  </a:cubicBezTo>
                  <a:cubicBezTo>
                    <a:pt x="132" y="830"/>
                    <a:pt x="134" y="830"/>
                    <a:pt x="136" y="831"/>
                  </a:cubicBezTo>
                  <a:cubicBezTo>
                    <a:pt x="137" y="832"/>
                    <a:pt x="139" y="832"/>
                    <a:pt x="139" y="832"/>
                  </a:cubicBezTo>
                  <a:cubicBezTo>
                    <a:pt x="141" y="831"/>
                    <a:pt x="143" y="831"/>
                    <a:pt x="147" y="833"/>
                  </a:cubicBezTo>
                  <a:cubicBezTo>
                    <a:pt x="149" y="835"/>
                    <a:pt x="150" y="836"/>
                    <a:pt x="151" y="836"/>
                  </a:cubicBezTo>
                  <a:cubicBezTo>
                    <a:pt x="153" y="837"/>
                    <a:pt x="153" y="837"/>
                    <a:pt x="153" y="837"/>
                  </a:cubicBezTo>
                  <a:cubicBezTo>
                    <a:pt x="151" y="839"/>
                    <a:pt x="151" y="839"/>
                    <a:pt x="151" y="839"/>
                  </a:cubicBezTo>
                  <a:cubicBezTo>
                    <a:pt x="151" y="839"/>
                    <a:pt x="150" y="840"/>
                    <a:pt x="151" y="841"/>
                  </a:cubicBezTo>
                  <a:cubicBezTo>
                    <a:pt x="153" y="844"/>
                    <a:pt x="154" y="848"/>
                    <a:pt x="153" y="850"/>
                  </a:cubicBezTo>
                  <a:cubicBezTo>
                    <a:pt x="153" y="850"/>
                    <a:pt x="154" y="851"/>
                    <a:pt x="155" y="852"/>
                  </a:cubicBezTo>
                  <a:cubicBezTo>
                    <a:pt x="155" y="852"/>
                    <a:pt x="156" y="853"/>
                    <a:pt x="158" y="852"/>
                  </a:cubicBezTo>
                  <a:cubicBezTo>
                    <a:pt x="161" y="850"/>
                    <a:pt x="165" y="851"/>
                    <a:pt x="169" y="853"/>
                  </a:cubicBezTo>
                  <a:cubicBezTo>
                    <a:pt x="170" y="854"/>
                    <a:pt x="175" y="855"/>
                    <a:pt x="178" y="854"/>
                  </a:cubicBezTo>
                  <a:cubicBezTo>
                    <a:pt x="183" y="852"/>
                    <a:pt x="188" y="851"/>
                    <a:pt x="188" y="851"/>
                  </a:cubicBezTo>
                  <a:cubicBezTo>
                    <a:pt x="189" y="851"/>
                    <a:pt x="189" y="851"/>
                    <a:pt x="189" y="851"/>
                  </a:cubicBezTo>
                  <a:cubicBezTo>
                    <a:pt x="189" y="851"/>
                    <a:pt x="192" y="851"/>
                    <a:pt x="194" y="854"/>
                  </a:cubicBezTo>
                  <a:cubicBezTo>
                    <a:pt x="196" y="857"/>
                    <a:pt x="199" y="860"/>
                    <a:pt x="200" y="862"/>
                  </a:cubicBezTo>
                  <a:cubicBezTo>
                    <a:pt x="202" y="861"/>
                    <a:pt x="203" y="860"/>
                    <a:pt x="205" y="860"/>
                  </a:cubicBezTo>
                  <a:cubicBezTo>
                    <a:pt x="206" y="859"/>
                    <a:pt x="207" y="860"/>
                    <a:pt x="208" y="860"/>
                  </a:cubicBezTo>
                  <a:cubicBezTo>
                    <a:pt x="209" y="861"/>
                    <a:pt x="209" y="861"/>
                    <a:pt x="210" y="861"/>
                  </a:cubicBezTo>
                  <a:cubicBezTo>
                    <a:pt x="214" y="861"/>
                    <a:pt x="216" y="864"/>
                    <a:pt x="217" y="865"/>
                  </a:cubicBezTo>
                  <a:cubicBezTo>
                    <a:pt x="217" y="866"/>
                    <a:pt x="218" y="866"/>
                    <a:pt x="218" y="866"/>
                  </a:cubicBezTo>
                  <a:cubicBezTo>
                    <a:pt x="218" y="866"/>
                    <a:pt x="218" y="866"/>
                    <a:pt x="218" y="866"/>
                  </a:cubicBezTo>
                  <a:cubicBezTo>
                    <a:pt x="220" y="865"/>
                    <a:pt x="224" y="863"/>
                    <a:pt x="229" y="868"/>
                  </a:cubicBezTo>
                  <a:cubicBezTo>
                    <a:pt x="229" y="868"/>
                    <a:pt x="229" y="869"/>
                    <a:pt x="230" y="869"/>
                  </a:cubicBezTo>
                  <a:cubicBezTo>
                    <a:pt x="232" y="872"/>
                    <a:pt x="234" y="874"/>
                    <a:pt x="239" y="872"/>
                  </a:cubicBezTo>
                  <a:cubicBezTo>
                    <a:pt x="242" y="870"/>
                    <a:pt x="242" y="870"/>
                    <a:pt x="242" y="870"/>
                  </a:cubicBezTo>
                  <a:cubicBezTo>
                    <a:pt x="242" y="873"/>
                    <a:pt x="242" y="873"/>
                    <a:pt x="242" y="873"/>
                  </a:cubicBezTo>
                  <a:cubicBezTo>
                    <a:pt x="244" y="878"/>
                    <a:pt x="243" y="881"/>
                    <a:pt x="242" y="882"/>
                  </a:cubicBezTo>
                  <a:cubicBezTo>
                    <a:pt x="242" y="883"/>
                    <a:pt x="242" y="883"/>
                    <a:pt x="242" y="883"/>
                  </a:cubicBezTo>
                  <a:cubicBezTo>
                    <a:pt x="241" y="885"/>
                    <a:pt x="238" y="887"/>
                    <a:pt x="236" y="889"/>
                  </a:cubicBezTo>
                  <a:cubicBezTo>
                    <a:pt x="237" y="890"/>
                    <a:pt x="239" y="890"/>
                    <a:pt x="239" y="890"/>
                  </a:cubicBezTo>
                  <a:cubicBezTo>
                    <a:pt x="253" y="893"/>
                    <a:pt x="253" y="893"/>
                    <a:pt x="253" y="893"/>
                  </a:cubicBezTo>
                  <a:cubicBezTo>
                    <a:pt x="239" y="895"/>
                    <a:pt x="239" y="895"/>
                    <a:pt x="239" y="895"/>
                  </a:cubicBezTo>
                  <a:cubicBezTo>
                    <a:pt x="237" y="895"/>
                    <a:pt x="235" y="896"/>
                    <a:pt x="234" y="897"/>
                  </a:cubicBezTo>
                  <a:cubicBezTo>
                    <a:pt x="236" y="898"/>
                    <a:pt x="237" y="900"/>
                    <a:pt x="238" y="900"/>
                  </a:cubicBezTo>
                  <a:cubicBezTo>
                    <a:pt x="238" y="902"/>
                    <a:pt x="239" y="904"/>
                    <a:pt x="239" y="907"/>
                  </a:cubicBezTo>
                  <a:cubicBezTo>
                    <a:pt x="239" y="907"/>
                    <a:pt x="239" y="908"/>
                    <a:pt x="239" y="909"/>
                  </a:cubicBezTo>
                  <a:cubicBezTo>
                    <a:pt x="238" y="910"/>
                    <a:pt x="236" y="913"/>
                    <a:pt x="236" y="915"/>
                  </a:cubicBezTo>
                  <a:cubicBezTo>
                    <a:pt x="235" y="916"/>
                    <a:pt x="235" y="917"/>
                    <a:pt x="234" y="918"/>
                  </a:cubicBezTo>
                  <a:cubicBezTo>
                    <a:pt x="233" y="919"/>
                    <a:pt x="231" y="920"/>
                    <a:pt x="228" y="919"/>
                  </a:cubicBezTo>
                  <a:cubicBezTo>
                    <a:pt x="226" y="919"/>
                    <a:pt x="221" y="918"/>
                    <a:pt x="220" y="919"/>
                  </a:cubicBezTo>
                  <a:cubicBezTo>
                    <a:pt x="218" y="920"/>
                    <a:pt x="215" y="922"/>
                    <a:pt x="212" y="923"/>
                  </a:cubicBezTo>
                  <a:cubicBezTo>
                    <a:pt x="210" y="923"/>
                    <a:pt x="207" y="924"/>
                    <a:pt x="207" y="928"/>
                  </a:cubicBezTo>
                  <a:cubicBezTo>
                    <a:pt x="207" y="928"/>
                    <a:pt x="207" y="929"/>
                    <a:pt x="207" y="930"/>
                  </a:cubicBezTo>
                  <a:cubicBezTo>
                    <a:pt x="207" y="931"/>
                    <a:pt x="207" y="931"/>
                    <a:pt x="207" y="931"/>
                  </a:cubicBezTo>
                  <a:cubicBezTo>
                    <a:pt x="207" y="932"/>
                    <a:pt x="207" y="933"/>
                    <a:pt x="206" y="934"/>
                  </a:cubicBezTo>
                  <a:cubicBezTo>
                    <a:pt x="208" y="933"/>
                    <a:pt x="209" y="933"/>
                    <a:pt x="210" y="932"/>
                  </a:cubicBezTo>
                  <a:cubicBezTo>
                    <a:pt x="210" y="933"/>
                    <a:pt x="209" y="933"/>
                    <a:pt x="209" y="934"/>
                  </a:cubicBezTo>
                  <a:cubicBezTo>
                    <a:pt x="211" y="934"/>
                    <a:pt x="214" y="934"/>
                    <a:pt x="216" y="933"/>
                  </a:cubicBezTo>
                  <a:cubicBezTo>
                    <a:pt x="217" y="932"/>
                    <a:pt x="217" y="931"/>
                    <a:pt x="219" y="931"/>
                  </a:cubicBezTo>
                  <a:cubicBezTo>
                    <a:pt x="220" y="931"/>
                    <a:pt x="222" y="931"/>
                    <a:pt x="224" y="932"/>
                  </a:cubicBezTo>
                  <a:cubicBezTo>
                    <a:pt x="224" y="934"/>
                    <a:pt x="223" y="936"/>
                    <a:pt x="226" y="934"/>
                  </a:cubicBezTo>
                  <a:cubicBezTo>
                    <a:pt x="222" y="936"/>
                    <a:pt x="216" y="940"/>
                    <a:pt x="211" y="940"/>
                  </a:cubicBezTo>
                  <a:cubicBezTo>
                    <a:pt x="210" y="941"/>
                    <a:pt x="209" y="940"/>
                    <a:pt x="208" y="941"/>
                  </a:cubicBezTo>
                  <a:cubicBezTo>
                    <a:pt x="208" y="942"/>
                    <a:pt x="211" y="944"/>
                    <a:pt x="211" y="945"/>
                  </a:cubicBezTo>
                  <a:cubicBezTo>
                    <a:pt x="210" y="946"/>
                    <a:pt x="201" y="946"/>
                    <a:pt x="199" y="946"/>
                  </a:cubicBezTo>
                  <a:cubicBezTo>
                    <a:pt x="198" y="946"/>
                    <a:pt x="196" y="945"/>
                    <a:pt x="195" y="945"/>
                  </a:cubicBezTo>
                  <a:cubicBezTo>
                    <a:pt x="195" y="945"/>
                    <a:pt x="195" y="947"/>
                    <a:pt x="196" y="948"/>
                  </a:cubicBezTo>
                  <a:cubicBezTo>
                    <a:pt x="197" y="950"/>
                    <a:pt x="197" y="950"/>
                    <a:pt x="199" y="951"/>
                  </a:cubicBezTo>
                  <a:cubicBezTo>
                    <a:pt x="202" y="953"/>
                    <a:pt x="211" y="957"/>
                    <a:pt x="210" y="960"/>
                  </a:cubicBezTo>
                  <a:cubicBezTo>
                    <a:pt x="209" y="960"/>
                    <a:pt x="207" y="960"/>
                    <a:pt x="206" y="959"/>
                  </a:cubicBezTo>
                  <a:cubicBezTo>
                    <a:pt x="206" y="959"/>
                    <a:pt x="205" y="958"/>
                    <a:pt x="205" y="958"/>
                  </a:cubicBezTo>
                  <a:cubicBezTo>
                    <a:pt x="202" y="958"/>
                    <a:pt x="201" y="963"/>
                    <a:pt x="201" y="965"/>
                  </a:cubicBezTo>
                  <a:cubicBezTo>
                    <a:pt x="201" y="964"/>
                    <a:pt x="201" y="961"/>
                    <a:pt x="200" y="960"/>
                  </a:cubicBezTo>
                  <a:cubicBezTo>
                    <a:pt x="201" y="960"/>
                    <a:pt x="201" y="960"/>
                    <a:pt x="201" y="960"/>
                  </a:cubicBezTo>
                  <a:cubicBezTo>
                    <a:pt x="200" y="959"/>
                    <a:pt x="199" y="960"/>
                    <a:pt x="199" y="961"/>
                  </a:cubicBezTo>
                  <a:cubicBezTo>
                    <a:pt x="198" y="961"/>
                    <a:pt x="193" y="972"/>
                    <a:pt x="192" y="969"/>
                  </a:cubicBezTo>
                  <a:cubicBezTo>
                    <a:pt x="191" y="970"/>
                    <a:pt x="198" y="977"/>
                    <a:pt x="192" y="977"/>
                  </a:cubicBezTo>
                  <a:cubicBezTo>
                    <a:pt x="188" y="977"/>
                    <a:pt x="185" y="976"/>
                    <a:pt x="181" y="975"/>
                  </a:cubicBezTo>
                  <a:cubicBezTo>
                    <a:pt x="178" y="974"/>
                    <a:pt x="177" y="975"/>
                    <a:pt x="174" y="977"/>
                  </a:cubicBezTo>
                  <a:cubicBezTo>
                    <a:pt x="177" y="974"/>
                    <a:pt x="177" y="978"/>
                    <a:pt x="180" y="977"/>
                  </a:cubicBezTo>
                  <a:cubicBezTo>
                    <a:pt x="178" y="980"/>
                    <a:pt x="175" y="980"/>
                    <a:pt x="173" y="980"/>
                  </a:cubicBezTo>
                  <a:cubicBezTo>
                    <a:pt x="175" y="982"/>
                    <a:pt x="178" y="983"/>
                    <a:pt x="181" y="984"/>
                  </a:cubicBezTo>
                  <a:cubicBezTo>
                    <a:pt x="184" y="985"/>
                    <a:pt x="187" y="990"/>
                    <a:pt x="189" y="992"/>
                  </a:cubicBezTo>
                  <a:cubicBezTo>
                    <a:pt x="190" y="993"/>
                    <a:pt x="194" y="992"/>
                    <a:pt x="195" y="992"/>
                  </a:cubicBezTo>
                  <a:cubicBezTo>
                    <a:pt x="197" y="992"/>
                    <a:pt x="197" y="992"/>
                    <a:pt x="199" y="994"/>
                  </a:cubicBezTo>
                  <a:cubicBezTo>
                    <a:pt x="200" y="995"/>
                    <a:pt x="202" y="998"/>
                    <a:pt x="203" y="998"/>
                  </a:cubicBezTo>
                  <a:cubicBezTo>
                    <a:pt x="205" y="1000"/>
                    <a:pt x="208" y="1000"/>
                    <a:pt x="210" y="1000"/>
                  </a:cubicBezTo>
                  <a:cubicBezTo>
                    <a:pt x="214" y="1001"/>
                    <a:pt x="217" y="1005"/>
                    <a:pt x="220" y="1007"/>
                  </a:cubicBezTo>
                  <a:cubicBezTo>
                    <a:pt x="226" y="1011"/>
                    <a:pt x="231" y="1016"/>
                    <a:pt x="236" y="1021"/>
                  </a:cubicBezTo>
                  <a:cubicBezTo>
                    <a:pt x="237" y="1018"/>
                    <a:pt x="238" y="1016"/>
                    <a:pt x="239" y="1016"/>
                  </a:cubicBezTo>
                  <a:cubicBezTo>
                    <a:pt x="240" y="1015"/>
                    <a:pt x="241" y="1015"/>
                    <a:pt x="242" y="1016"/>
                  </a:cubicBezTo>
                  <a:cubicBezTo>
                    <a:pt x="242" y="1016"/>
                    <a:pt x="242" y="1016"/>
                    <a:pt x="242" y="1016"/>
                  </a:cubicBezTo>
                  <a:cubicBezTo>
                    <a:pt x="245" y="1017"/>
                    <a:pt x="247" y="1017"/>
                    <a:pt x="248" y="1017"/>
                  </a:cubicBezTo>
                  <a:cubicBezTo>
                    <a:pt x="251" y="1016"/>
                    <a:pt x="255" y="1018"/>
                    <a:pt x="257" y="1019"/>
                  </a:cubicBezTo>
                  <a:cubicBezTo>
                    <a:pt x="257" y="1019"/>
                    <a:pt x="258" y="1020"/>
                    <a:pt x="259" y="1020"/>
                  </a:cubicBezTo>
                  <a:cubicBezTo>
                    <a:pt x="264" y="1022"/>
                    <a:pt x="276" y="1025"/>
                    <a:pt x="280" y="1024"/>
                  </a:cubicBezTo>
                  <a:cubicBezTo>
                    <a:pt x="286" y="1022"/>
                    <a:pt x="294" y="1025"/>
                    <a:pt x="296" y="1028"/>
                  </a:cubicBezTo>
                  <a:cubicBezTo>
                    <a:pt x="297" y="1029"/>
                    <a:pt x="306" y="1033"/>
                    <a:pt x="308" y="1033"/>
                  </a:cubicBezTo>
                  <a:cubicBezTo>
                    <a:pt x="309" y="1033"/>
                    <a:pt x="310" y="1034"/>
                    <a:pt x="311" y="1035"/>
                  </a:cubicBezTo>
                  <a:cubicBezTo>
                    <a:pt x="312" y="1036"/>
                    <a:pt x="312" y="1037"/>
                    <a:pt x="312" y="1038"/>
                  </a:cubicBezTo>
                  <a:cubicBezTo>
                    <a:pt x="312" y="1038"/>
                    <a:pt x="312" y="1038"/>
                    <a:pt x="313" y="1038"/>
                  </a:cubicBezTo>
                  <a:cubicBezTo>
                    <a:pt x="314" y="1039"/>
                    <a:pt x="315" y="1039"/>
                    <a:pt x="318" y="1037"/>
                  </a:cubicBezTo>
                  <a:cubicBezTo>
                    <a:pt x="321" y="1035"/>
                    <a:pt x="324" y="1034"/>
                    <a:pt x="326" y="1035"/>
                  </a:cubicBezTo>
                  <a:cubicBezTo>
                    <a:pt x="327" y="1035"/>
                    <a:pt x="328" y="1036"/>
                    <a:pt x="329" y="1036"/>
                  </a:cubicBezTo>
                  <a:cubicBezTo>
                    <a:pt x="329" y="1036"/>
                    <a:pt x="330" y="1035"/>
                    <a:pt x="330" y="1035"/>
                  </a:cubicBezTo>
                  <a:cubicBezTo>
                    <a:pt x="332" y="1035"/>
                    <a:pt x="333" y="1035"/>
                    <a:pt x="335" y="1036"/>
                  </a:cubicBezTo>
                  <a:cubicBezTo>
                    <a:pt x="338" y="1038"/>
                    <a:pt x="346" y="1041"/>
                    <a:pt x="347" y="1041"/>
                  </a:cubicBezTo>
                  <a:cubicBezTo>
                    <a:pt x="352" y="1041"/>
                    <a:pt x="352" y="1041"/>
                    <a:pt x="352" y="1041"/>
                  </a:cubicBezTo>
                  <a:cubicBezTo>
                    <a:pt x="349" y="1045"/>
                    <a:pt x="349" y="1045"/>
                    <a:pt x="349" y="1045"/>
                  </a:cubicBezTo>
                  <a:cubicBezTo>
                    <a:pt x="348" y="1046"/>
                    <a:pt x="348" y="1048"/>
                    <a:pt x="348" y="1048"/>
                  </a:cubicBezTo>
                  <a:cubicBezTo>
                    <a:pt x="350" y="1050"/>
                    <a:pt x="355" y="1052"/>
                    <a:pt x="356" y="1052"/>
                  </a:cubicBezTo>
                  <a:cubicBezTo>
                    <a:pt x="357" y="1052"/>
                    <a:pt x="357" y="1052"/>
                    <a:pt x="357" y="1052"/>
                  </a:cubicBezTo>
                  <a:cubicBezTo>
                    <a:pt x="358" y="1052"/>
                    <a:pt x="358" y="1052"/>
                    <a:pt x="358" y="1052"/>
                  </a:cubicBezTo>
                  <a:cubicBezTo>
                    <a:pt x="358" y="1053"/>
                    <a:pt x="359" y="1053"/>
                    <a:pt x="360" y="1054"/>
                  </a:cubicBezTo>
                  <a:cubicBezTo>
                    <a:pt x="360" y="1054"/>
                    <a:pt x="360" y="1054"/>
                    <a:pt x="360" y="1054"/>
                  </a:cubicBezTo>
                  <a:cubicBezTo>
                    <a:pt x="361" y="1054"/>
                    <a:pt x="361" y="1054"/>
                    <a:pt x="361" y="1054"/>
                  </a:cubicBezTo>
                  <a:cubicBezTo>
                    <a:pt x="362" y="1054"/>
                    <a:pt x="363" y="1054"/>
                    <a:pt x="364" y="1054"/>
                  </a:cubicBezTo>
                  <a:cubicBezTo>
                    <a:pt x="364" y="1054"/>
                    <a:pt x="364" y="1055"/>
                    <a:pt x="365" y="1055"/>
                  </a:cubicBezTo>
                  <a:cubicBezTo>
                    <a:pt x="368" y="1055"/>
                    <a:pt x="371" y="1057"/>
                    <a:pt x="372" y="1060"/>
                  </a:cubicBezTo>
                  <a:cubicBezTo>
                    <a:pt x="372" y="1062"/>
                    <a:pt x="374" y="1063"/>
                    <a:pt x="374" y="1063"/>
                  </a:cubicBezTo>
                  <a:cubicBezTo>
                    <a:pt x="376" y="1063"/>
                    <a:pt x="378" y="1067"/>
                    <a:pt x="378" y="1067"/>
                  </a:cubicBezTo>
                  <a:cubicBezTo>
                    <a:pt x="378" y="1067"/>
                    <a:pt x="379" y="1069"/>
                    <a:pt x="382" y="1069"/>
                  </a:cubicBezTo>
                  <a:cubicBezTo>
                    <a:pt x="387" y="1070"/>
                    <a:pt x="387" y="1070"/>
                    <a:pt x="388" y="1068"/>
                  </a:cubicBezTo>
                  <a:cubicBezTo>
                    <a:pt x="389" y="1065"/>
                    <a:pt x="391" y="1064"/>
                    <a:pt x="392" y="1064"/>
                  </a:cubicBezTo>
                  <a:cubicBezTo>
                    <a:pt x="392" y="1063"/>
                    <a:pt x="392" y="1063"/>
                    <a:pt x="393" y="1063"/>
                  </a:cubicBezTo>
                  <a:cubicBezTo>
                    <a:pt x="393" y="1063"/>
                    <a:pt x="393" y="1062"/>
                    <a:pt x="394" y="1062"/>
                  </a:cubicBezTo>
                  <a:cubicBezTo>
                    <a:pt x="396" y="1061"/>
                    <a:pt x="399" y="1058"/>
                    <a:pt x="399" y="1057"/>
                  </a:cubicBezTo>
                  <a:cubicBezTo>
                    <a:pt x="399" y="1056"/>
                    <a:pt x="399" y="1056"/>
                    <a:pt x="399" y="1056"/>
                  </a:cubicBezTo>
                  <a:cubicBezTo>
                    <a:pt x="399" y="1056"/>
                    <a:pt x="399" y="1056"/>
                    <a:pt x="399" y="1056"/>
                  </a:cubicBezTo>
                  <a:cubicBezTo>
                    <a:pt x="395" y="1053"/>
                    <a:pt x="393" y="1048"/>
                    <a:pt x="390" y="1044"/>
                  </a:cubicBezTo>
                  <a:cubicBezTo>
                    <a:pt x="388" y="1042"/>
                    <a:pt x="386" y="1040"/>
                    <a:pt x="385" y="1037"/>
                  </a:cubicBezTo>
                  <a:cubicBezTo>
                    <a:pt x="385" y="1036"/>
                    <a:pt x="384" y="1035"/>
                    <a:pt x="384" y="1034"/>
                  </a:cubicBezTo>
                  <a:cubicBezTo>
                    <a:pt x="383" y="1033"/>
                    <a:pt x="381" y="1033"/>
                    <a:pt x="381" y="1032"/>
                  </a:cubicBezTo>
                  <a:cubicBezTo>
                    <a:pt x="382" y="1026"/>
                    <a:pt x="383" y="1020"/>
                    <a:pt x="383" y="1015"/>
                  </a:cubicBezTo>
                  <a:cubicBezTo>
                    <a:pt x="383" y="1014"/>
                    <a:pt x="383" y="1012"/>
                    <a:pt x="384" y="1011"/>
                  </a:cubicBezTo>
                  <a:cubicBezTo>
                    <a:pt x="380" y="1010"/>
                    <a:pt x="380" y="1016"/>
                    <a:pt x="380" y="1019"/>
                  </a:cubicBezTo>
                  <a:cubicBezTo>
                    <a:pt x="379" y="1018"/>
                    <a:pt x="378" y="1018"/>
                    <a:pt x="378" y="1017"/>
                  </a:cubicBezTo>
                  <a:cubicBezTo>
                    <a:pt x="379" y="1017"/>
                    <a:pt x="380" y="1014"/>
                    <a:pt x="380" y="1014"/>
                  </a:cubicBezTo>
                  <a:cubicBezTo>
                    <a:pt x="380" y="1012"/>
                    <a:pt x="380" y="1011"/>
                    <a:pt x="379" y="1009"/>
                  </a:cubicBezTo>
                  <a:cubicBezTo>
                    <a:pt x="377" y="1005"/>
                    <a:pt x="376" y="1003"/>
                    <a:pt x="372" y="1001"/>
                  </a:cubicBezTo>
                  <a:cubicBezTo>
                    <a:pt x="370" y="1000"/>
                    <a:pt x="368" y="1000"/>
                    <a:pt x="366" y="999"/>
                  </a:cubicBezTo>
                  <a:cubicBezTo>
                    <a:pt x="363" y="996"/>
                    <a:pt x="368" y="992"/>
                    <a:pt x="370" y="990"/>
                  </a:cubicBezTo>
                  <a:cubicBezTo>
                    <a:pt x="374" y="986"/>
                    <a:pt x="375" y="984"/>
                    <a:pt x="377" y="980"/>
                  </a:cubicBezTo>
                  <a:cubicBezTo>
                    <a:pt x="378" y="977"/>
                    <a:pt x="379" y="974"/>
                    <a:pt x="380" y="972"/>
                  </a:cubicBezTo>
                  <a:cubicBezTo>
                    <a:pt x="380" y="971"/>
                    <a:pt x="380" y="971"/>
                    <a:pt x="380" y="971"/>
                  </a:cubicBezTo>
                  <a:cubicBezTo>
                    <a:pt x="380" y="971"/>
                    <a:pt x="380" y="971"/>
                    <a:pt x="380" y="971"/>
                  </a:cubicBezTo>
                  <a:cubicBezTo>
                    <a:pt x="380" y="971"/>
                    <a:pt x="380" y="971"/>
                    <a:pt x="380" y="971"/>
                  </a:cubicBezTo>
                  <a:cubicBezTo>
                    <a:pt x="381" y="969"/>
                    <a:pt x="381" y="969"/>
                    <a:pt x="381" y="969"/>
                  </a:cubicBezTo>
                  <a:cubicBezTo>
                    <a:pt x="382" y="970"/>
                    <a:pt x="383" y="971"/>
                    <a:pt x="383" y="971"/>
                  </a:cubicBezTo>
                  <a:cubicBezTo>
                    <a:pt x="384" y="970"/>
                    <a:pt x="383" y="968"/>
                    <a:pt x="383" y="967"/>
                  </a:cubicBezTo>
                  <a:cubicBezTo>
                    <a:pt x="384" y="968"/>
                    <a:pt x="385" y="969"/>
                    <a:pt x="387" y="970"/>
                  </a:cubicBezTo>
                  <a:cubicBezTo>
                    <a:pt x="388" y="967"/>
                    <a:pt x="389" y="968"/>
                    <a:pt x="392" y="968"/>
                  </a:cubicBezTo>
                  <a:cubicBezTo>
                    <a:pt x="394" y="968"/>
                    <a:pt x="394" y="968"/>
                    <a:pt x="396" y="967"/>
                  </a:cubicBezTo>
                  <a:cubicBezTo>
                    <a:pt x="397" y="965"/>
                    <a:pt x="399" y="963"/>
                    <a:pt x="401" y="962"/>
                  </a:cubicBezTo>
                  <a:cubicBezTo>
                    <a:pt x="401" y="962"/>
                    <a:pt x="404" y="964"/>
                    <a:pt x="405" y="965"/>
                  </a:cubicBezTo>
                  <a:cubicBezTo>
                    <a:pt x="404" y="964"/>
                    <a:pt x="404" y="961"/>
                    <a:pt x="404" y="959"/>
                  </a:cubicBezTo>
                  <a:cubicBezTo>
                    <a:pt x="404" y="956"/>
                    <a:pt x="409" y="959"/>
                    <a:pt x="411" y="957"/>
                  </a:cubicBezTo>
                  <a:cubicBezTo>
                    <a:pt x="412" y="957"/>
                    <a:pt x="412" y="956"/>
                    <a:pt x="412" y="954"/>
                  </a:cubicBezTo>
                  <a:cubicBezTo>
                    <a:pt x="411" y="954"/>
                    <a:pt x="411" y="954"/>
                    <a:pt x="410" y="954"/>
                  </a:cubicBezTo>
                  <a:cubicBezTo>
                    <a:pt x="409" y="953"/>
                    <a:pt x="408" y="953"/>
                    <a:pt x="407" y="952"/>
                  </a:cubicBezTo>
                  <a:cubicBezTo>
                    <a:pt x="405" y="955"/>
                    <a:pt x="405" y="955"/>
                    <a:pt x="405" y="955"/>
                  </a:cubicBezTo>
                  <a:cubicBezTo>
                    <a:pt x="406" y="952"/>
                    <a:pt x="406" y="952"/>
                    <a:pt x="406" y="952"/>
                  </a:cubicBezTo>
                  <a:cubicBezTo>
                    <a:pt x="405" y="951"/>
                    <a:pt x="405" y="951"/>
                    <a:pt x="405" y="951"/>
                  </a:cubicBezTo>
                  <a:cubicBezTo>
                    <a:pt x="404" y="951"/>
                    <a:pt x="403" y="950"/>
                    <a:pt x="403" y="950"/>
                  </a:cubicBezTo>
                  <a:cubicBezTo>
                    <a:pt x="402" y="950"/>
                    <a:pt x="402" y="950"/>
                    <a:pt x="402" y="950"/>
                  </a:cubicBezTo>
                  <a:cubicBezTo>
                    <a:pt x="402" y="950"/>
                    <a:pt x="402" y="950"/>
                    <a:pt x="402" y="950"/>
                  </a:cubicBezTo>
                  <a:cubicBezTo>
                    <a:pt x="402" y="950"/>
                    <a:pt x="402" y="950"/>
                    <a:pt x="402" y="950"/>
                  </a:cubicBezTo>
                  <a:cubicBezTo>
                    <a:pt x="401" y="950"/>
                    <a:pt x="401" y="950"/>
                    <a:pt x="401" y="950"/>
                  </a:cubicBezTo>
                  <a:cubicBezTo>
                    <a:pt x="400" y="950"/>
                    <a:pt x="400" y="950"/>
                    <a:pt x="400" y="950"/>
                  </a:cubicBezTo>
                  <a:cubicBezTo>
                    <a:pt x="399" y="949"/>
                    <a:pt x="399" y="948"/>
                    <a:pt x="398" y="947"/>
                  </a:cubicBezTo>
                  <a:cubicBezTo>
                    <a:pt x="398" y="947"/>
                    <a:pt x="398" y="947"/>
                    <a:pt x="398" y="947"/>
                  </a:cubicBezTo>
                  <a:cubicBezTo>
                    <a:pt x="396" y="946"/>
                    <a:pt x="396" y="946"/>
                    <a:pt x="396" y="946"/>
                  </a:cubicBezTo>
                  <a:cubicBezTo>
                    <a:pt x="397" y="944"/>
                    <a:pt x="397" y="944"/>
                    <a:pt x="397" y="944"/>
                  </a:cubicBezTo>
                  <a:cubicBezTo>
                    <a:pt x="398" y="943"/>
                    <a:pt x="398" y="943"/>
                    <a:pt x="398" y="942"/>
                  </a:cubicBezTo>
                  <a:cubicBezTo>
                    <a:pt x="399" y="942"/>
                    <a:pt x="399" y="941"/>
                    <a:pt x="400" y="941"/>
                  </a:cubicBezTo>
                  <a:cubicBezTo>
                    <a:pt x="402" y="939"/>
                    <a:pt x="404" y="941"/>
                    <a:pt x="405" y="941"/>
                  </a:cubicBezTo>
                  <a:cubicBezTo>
                    <a:pt x="405" y="941"/>
                    <a:pt x="406" y="942"/>
                    <a:pt x="406" y="942"/>
                  </a:cubicBezTo>
                  <a:cubicBezTo>
                    <a:pt x="406" y="942"/>
                    <a:pt x="406" y="942"/>
                    <a:pt x="407" y="942"/>
                  </a:cubicBezTo>
                  <a:cubicBezTo>
                    <a:pt x="407" y="942"/>
                    <a:pt x="407" y="942"/>
                    <a:pt x="407" y="942"/>
                  </a:cubicBezTo>
                  <a:cubicBezTo>
                    <a:pt x="407" y="942"/>
                    <a:pt x="407" y="942"/>
                    <a:pt x="407" y="942"/>
                  </a:cubicBezTo>
                  <a:cubicBezTo>
                    <a:pt x="407" y="942"/>
                    <a:pt x="407" y="942"/>
                    <a:pt x="407" y="942"/>
                  </a:cubicBezTo>
                  <a:cubicBezTo>
                    <a:pt x="407" y="941"/>
                    <a:pt x="406" y="941"/>
                    <a:pt x="406" y="941"/>
                  </a:cubicBezTo>
                  <a:cubicBezTo>
                    <a:pt x="406" y="941"/>
                    <a:pt x="406" y="941"/>
                    <a:pt x="406" y="941"/>
                  </a:cubicBezTo>
                  <a:cubicBezTo>
                    <a:pt x="406" y="941"/>
                    <a:pt x="406" y="941"/>
                    <a:pt x="406" y="940"/>
                  </a:cubicBezTo>
                  <a:cubicBezTo>
                    <a:pt x="406" y="940"/>
                    <a:pt x="406" y="940"/>
                    <a:pt x="405" y="940"/>
                  </a:cubicBezTo>
                  <a:cubicBezTo>
                    <a:pt x="405" y="939"/>
                    <a:pt x="405" y="939"/>
                    <a:pt x="405" y="939"/>
                  </a:cubicBezTo>
                  <a:cubicBezTo>
                    <a:pt x="405" y="939"/>
                    <a:pt x="404" y="939"/>
                    <a:pt x="404" y="938"/>
                  </a:cubicBezTo>
                  <a:cubicBezTo>
                    <a:pt x="403" y="937"/>
                    <a:pt x="403" y="937"/>
                    <a:pt x="402" y="936"/>
                  </a:cubicBezTo>
                  <a:cubicBezTo>
                    <a:pt x="401" y="935"/>
                    <a:pt x="400" y="933"/>
                    <a:pt x="399" y="931"/>
                  </a:cubicBezTo>
                  <a:cubicBezTo>
                    <a:pt x="396" y="927"/>
                    <a:pt x="396" y="927"/>
                    <a:pt x="396" y="927"/>
                  </a:cubicBezTo>
                  <a:cubicBezTo>
                    <a:pt x="395" y="926"/>
                    <a:pt x="395" y="925"/>
                    <a:pt x="394" y="924"/>
                  </a:cubicBezTo>
                  <a:cubicBezTo>
                    <a:pt x="393" y="923"/>
                    <a:pt x="392" y="921"/>
                    <a:pt x="392" y="921"/>
                  </a:cubicBezTo>
                  <a:cubicBezTo>
                    <a:pt x="392" y="921"/>
                    <a:pt x="392" y="921"/>
                    <a:pt x="392" y="921"/>
                  </a:cubicBezTo>
                  <a:cubicBezTo>
                    <a:pt x="391" y="921"/>
                    <a:pt x="391" y="921"/>
                    <a:pt x="391" y="921"/>
                  </a:cubicBezTo>
                  <a:cubicBezTo>
                    <a:pt x="391" y="920"/>
                    <a:pt x="390" y="921"/>
                    <a:pt x="389" y="921"/>
                  </a:cubicBezTo>
                  <a:cubicBezTo>
                    <a:pt x="387" y="921"/>
                    <a:pt x="386" y="921"/>
                    <a:pt x="385" y="922"/>
                  </a:cubicBezTo>
                  <a:cubicBezTo>
                    <a:pt x="384" y="922"/>
                    <a:pt x="383" y="922"/>
                    <a:pt x="383" y="922"/>
                  </a:cubicBezTo>
                  <a:cubicBezTo>
                    <a:pt x="379" y="923"/>
                    <a:pt x="377" y="922"/>
                    <a:pt x="375" y="921"/>
                  </a:cubicBezTo>
                  <a:cubicBezTo>
                    <a:pt x="372" y="919"/>
                    <a:pt x="372" y="917"/>
                    <a:pt x="372" y="914"/>
                  </a:cubicBezTo>
                  <a:cubicBezTo>
                    <a:pt x="371" y="913"/>
                    <a:pt x="372" y="912"/>
                    <a:pt x="372" y="911"/>
                  </a:cubicBezTo>
                  <a:cubicBezTo>
                    <a:pt x="372" y="910"/>
                    <a:pt x="372" y="909"/>
                    <a:pt x="371" y="909"/>
                  </a:cubicBezTo>
                  <a:cubicBezTo>
                    <a:pt x="371" y="908"/>
                    <a:pt x="371" y="908"/>
                    <a:pt x="371" y="908"/>
                  </a:cubicBezTo>
                  <a:cubicBezTo>
                    <a:pt x="371" y="908"/>
                    <a:pt x="370" y="908"/>
                    <a:pt x="370" y="908"/>
                  </a:cubicBezTo>
                  <a:cubicBezTo>
                    <a:pt x="369" y="907"/>
                    <a:pt x="369" y="907"/>
                    <a:pt x="369" y="907"/>
                  </a:cubicBezTo>
                  <a:cubicBezTo>
                    <a:pt x="368" y="907"/>
                    <a:pt x="366" y="907"/>
                    <a:pt x="365" y="906"/>
                  </a:cubicBezTo>
                  <a:cubicBezTo>
                    <a:pt x="363" y="906"/>
                    <a:pt x="363" y="906"/>
                    <a:pt x="363" y="906"/>
                  </a:cubicBezTo>
                  <a:cubicBezTo>
                    <a:pt x="363" y="906"/>
                    <a:pt x="363" y="906"/>
                    <a:pt x="363" y="906"/>
                  </a:cubicBezTo>
                  <a:cubicBezTo>
                    <a:pt x="363" y="905"/>
                    <a:pt x="363" y="905"/>
                    <a:pt x="363" y="905"/>
                  </a:cubicBezTo>
                  <a:cubicBezTo>
                    <a:pt x="361" y="905"/>
                    <a:pt x="360" y="904"/>
                    <a:pt x="360" y="902"/>
                  </a:cubicBezTo>
                  <a:cubicBezTo>
                    <a:pt x="360" y="902"/>
                    <a:pt x="360" y="902"/>
                    <a:pt x="360" y="902"/>
                  </a:cubicBezTo>
                  <a:cubicBezTo>
                    <a:pt x="360" y="901"/>
                    <a:pt x="360" y="901"/>
                    <a:pt x="360" y="901"/>
                  </a:cubicBezTo>
                  <a:cubicBezTo>
                    <a:pt x="360" y="899"/>
                    <a:pt x="361" y="897"/>
                    <a:pt x="362" y="895"/>
                  </a:cubicBezTo>
                  <a:cubicBezTo>
                    <a:pt x="362" y="895"/>
                    <a:pt x="362" y="895"/>
                    <a:pt x="362" y="895"/>
                  </a:cubicBezTo>
                  <a:cubicBezTo>
                    <a:pt x="364" y="892"/>
                    <a:pt x="366" y="889"/>
                    <a:pt x="368" y="887"/>
                  </a:cubicBezTo>
                  <a:cubicBezTo>
                    <a:pt x="368" y="887"/>
                    <a:pt x="368" y="886"/>
                    <a:pt x="368" y="886"/>
                  </a:cubicBezTo>
                  <a:cubicBezTo>
                    <a:pt x="369" y="886"/>
                    <a:pt x="369" y="886"/>
                    <a:pt x="369" y="886"/>
                  </a:cubicBezTo>
                  <a:cubicBezTo>
                    <a:pt x="370" y="885"/>
                    <a:pt x="370" y="885"/>
                    <a:pt x="369" y="883"/>
                  </a:cubicBezTo>
                  <a:cubicBezTo>
                    <a:pt x="368" y="883"/>
                    <a:pt x="368" y="883"/>
                    <a:pt x="368" y="883"/>
                  </a:cubicBezTo>
                  <a:cubicBezTo>
                    <a:pt x="367" y="882"/>
                    <a:pt x="367" y="882"/>
                    <a:pt x="367" y="882"/>
                  </a:cubicBezTo>
                  <a:cubicBezTo>
                    <a:pt x="366" y="882"/>
                    <a:pt x="366" y="881"/>
                    <a:pt x="366" y="881"/>
                  </a:cubicBezTo>
                  <a:cubicBezTo>
                    <a:pt x="365" y="880"/>
                    <a:pt x="365" y="879"/>
                    <a:pt x="365" y="878"/>
                  </a:cubicBezTo>
                  <a:cubicBezTo>
                    <a:pt x="365" y="878"/>
                    <a:pt x="365" y="878"/>
                    <a:pt x="365" y="877"/>
                  </a:cubicBezTo>
                  <a:cubicBezTo>
                    <a:pt x="366" y="876"/>
                    <a:pt x="366" y="876"/>
                    <a:pt x="366" y="875"/>
                  </a:cubicBezTo>
                  <a:cubicBezTo>
                    <a:pt x="367" y="871"/>
                    <a:pt x="367" y="871"/>
                    <a:pt x="367" y="871"/>
                  </a:cubicBezTo>
                  <a:cubicBezTo>
                    <a:pt x="367" y="871"/>
                    <a:pt x="367" y="870"/>
                    <a:pt x="367" y="870"/>
                  </a:cubicBezTo>
                  <a:cubicBezTo>
                    <a:pt x="367" y="869"/>
                    <a:pt x="367" y="869"/>
                    <a:pt x="367" y="869"/>
                  </a:cubicBezTo>
                  <a:cubicBezTo>
                    <a:pt x="367" y="868"/>
                    <a:pt x="367" y="868"/>
                    <a:pt x="367" y="867"/>
                  </a:cubicBezTo>
                  <a:cubicBezTo>
                    <a:pt x="369" y="865"/>
                    <a:pt x="370" y="864"/>
                    <a:pt x="372" y="864"/>
                  </a:cubicBezTo>
                  <a:cubicBezTo>
                    <a:pt x="373" y="863"/>
                    <a:pt x="373" y="863"/>
                    <a:pt x="374" y="863"/>
                  </a:cubicBezTo>
                  <a:cubicBezTo>
                    <a:pt x="374" y="863"/>
                    <a:pt x="374" y="863"/>
                    <a:pt x="374" y="863"/>
                  </a:cubicBezTo>
                  <a:cubicBezTo>
                    <a:pt x="374" y="862"/>
                    <a:pt x="374" y="862"/>
                    <a:pt x="374" y="862"/>
                  </a:cubicBezTo>
                  <a:cubicBezTo>
                    <a:pt x="375" y="861"/>
                    <a:pt x="375" y="861"/>
                    <a:pt x="375" y="861"/>
                  </a:cubicBezTo>
                  <a:cubicBezTo>
                    <a:pt x="375" y="860"/>
                    <a:pt x="376" y="859"/>
                    <a:pt x="376" y="857"/>
                  </a:cubicBezTo>
                  <a:cubicBezTo>
                    <a:pt x="376" y="857"/>
                    <a:pt x="376" y="857"/>
                    <a:pt x="376" y="857"/>
                  </a:cubicBezTo>
                  <a:cubicBezTo>
                    <a:pt x="376" y="856"/>
                    <a:pt x="377" y="856"/>
                    <a:pt x="377" y="855"/>
                  </a:cubicBezTo>
                  <a:cubicBezTo>
                    <a:pt x="377" y="855"/>
                    <a:pt x="377" y="855"/>
                    <a:pt x="377" y="854"/>
                  </a:cubicBezTo>
                  <a:cubicBezTo>
                    <a:pt x="379" y="852"/>
                    <a:pt x="380" y="852"/>
                    <a:pt x="383" y="852"/>
                  </a:cubicBezTo>
                  <a:cubicBezTo>
                    <a:pt x="383" y="852"/>
                    <a:pt x="384" y="852"/>
                    <a:pt x="384" y="852"/>
                  </a:cubicBezTo>
                  <a:cubicBezTo>
                    <a:pt x="385" y="852"/>
                    <a:pt x="385" y="852"/>
                    <a:pt x="385" y="852"/>
                  </a:cubicBezTo>
                  <a:cubicBezTo>
                    <a:pt x="388" y="853"/>
                    <a:pt x="390" y="856"/>
                    <a:pt x="392" y="858"/>
                  </a:cubicBezTo>
                  <a:cubicBezTo>
                    <a:pt x="393" y="859"/>
                    <a:pt x="393" y="859"/>
                    <a:pt x="393" y="859"/>
                  </a:cubicBezTo>
                  <a:cubicBezTo>
                    <a:pt x="393" y="859"/>
                    <a:pt x="394" y="860"/>
                    <a:pt x="394" y="861"/>
                  </a:cubicBezTo>
                  <a:cubicBezTo>
                    <a:pt x="395" y="861"/>
                    <a:pt x="395" y="861"/>
                    <a:pt x="395" y="861"/>
                  </a:cubicBezTo>
                  <a:cubicBezTo>
                    <a:pt x="396" y="862"/>
                    <a:pt x="397" y="864"/>
                    <a:pt x="398" y="865"/>
                  </a:cubicBezTo>
                  <a:cubicBezTo>
                    <a:pt x="398" y="865"/>
                    <a:pt x="399" y="865"/>
                    <a:pt x="399" y="865"/>
                  </a:cubicBezTo>
                  <a:cubicBezTo>
                    <a:pt x="399" y="865"/>
                    <a:pt x="399" y="865"/>
                    <a:pt x="399" y="865"/>
                  </a:cubicBezTo>
                  <a:cubicBezTo>
                    <a:pt x="399" y="865"/>
                    <a:pt x="400" y="865"/>
                    <a:pt x="401" y="865"/>
                  </a:cubicBezTo>
                  <a:cubicBezTo>
                    <a:pt x="401" y="864"/>
                    <a:pt x="401" y="864"/>
                    <a:pt x="401" y="864"/>
                  </a:cubicBezTo>
                  <a:cubicBezTo>
                    <a:pt x="402" y="864"/>
                    <a:pt x="404" y="864"/>
                    <a:pt x="404" y="863"/>
                  </a:cubicBezTo>
                  <a:cubicBezTo>
                    <a:pt x="404" y="863"/>
                    <a:pt x="404" y="863"/>
                    <a:pt x="404" y="863"/>
                  </a:cubicBezTo>
                  <a:cubicBezTo>
                    <a:pt x="404" y="863"/>
                    <a:pt x="404" y="863"/>
                    <a:pt x="404" y="863"/>
                  </a:cubicBezTo>
                  <a:cubicBezTo>
                    <a:pt x="404" y="862"/>
                    <a:pt x="404" y="862"/>
                    <a:pt x="404" y="862"/>
                  </a:cubicBezTo>
                  <a:cubicBezTo>
                    <a:pt x="403" y="861"/>
                    <a:pt x="403" y="860"/>
                    <a:pt x="403" y="860"/>
                  </a:cubicBezTo>
                  <a:cubicBezTo>
                    <a:pt x="403" y="860"/>
                    <a:pt x="403" y="860"/>
                    <a:pt x="403" y="860"/>
                  </a:cubicBezTo>
                  <a:cubicBezTo>
                    <a:pt x="403" y="859"/>
                    <a:pt x="403" y="859"/>
                    <a:pt x="403" y="859"/>
                  </a:cubicBezTo>
                  <a:cubicBezTo>
                    <a:pt x="403" y="859"/>
                    <a:pt x="403" y="858"/>
                    <a:pt x="402" y="858"/>
                  </a:cubicBezTo>
                  <a:cubicBezTo>
                    <a:pt x="402" y="857"/>
                    <a:pt x="402" y="856"/>
                    <a:pt x="402" y="855"/>
                  </a:cubicBezTo>
                  <a:cubicBezTo>
                    <a:pt x="402" y="854"/>
                    <a:pt x="401" y="853"/>
                    <a:pt x="401" y="852"/>
                  </a:cubicBezTo>
                  <a:cubicBezTo>
                    <a:pt x="401" y="852"/>
                    <a:pt x="401" y="852"/>
                    <a:pt x="401" y="851"/>
                  </a:cubicBezTo>
                  <a:cubicBezTo>
                    <a:pt x="400" y="850"/>
                    <a:pt x="400" y="849"/>
                    <a:pt x="400" y="847"/>
                  </a:cubicBezTo>
                  <a:cubicBezTo>
                    <a:pt x="399" y="844"/>
                    <a:pt x="399" y="844"/>
                    <a:pt x="399" y="844"/>
                  </a:cubicBezTo>
                  <a:cubicBezTo>
                    <a:pt x="401" y="844"/>
                    <a:pt x="401" y="844"/>
                    <a:pt x="401" y="844"/>
                  </a:cubicBezTo>
                  <a:cubicBezTo>
                    <a:pt x="403" y="845"/>
                    <a:pt x="403" y="845"/>
                    <a:pt x="403" y="845"/>
                  </a:cubicBezTo>
                  <a:cubicBezTo>
                    <a:pt x="404" y="846"/>
                    <a:pt x="405" y="846"/>
                    <a:pt x="407" y="844"/>
                  </a:cubicBezTo>
                  <a:cubicBezTo>
                    <a:pt x="408" y="844"/>
                    <a:pt x="408" y="844"/>
                    <a:pt x="409" y="843"/>
                  </a:cubicBezTo>
                  <a:cubicBezTo>
                    <a:pt x="409" y="843"/>
                    <a:pt x="409" y="843"/>
                    <a:pt x="410" y="843"/>
                  </a:cubicBezTo>
                  <a:cubicBezTo>
                    <a:pt x="410" y="843"/>
                    <a:pt x="410" y="843"/>
                    <a:pt x="410" y="843"/>
                  </a:cubicBezTo>
                  <a:cubicBezTo>
                    <a:pt x="411" y="842"/>
                    <a:pt x="411" y="842"/>
                    <a:pt x="412" y="842"/>
                  </a:cubicBezTo>
                  <a:cubicBezTo>
                    <a:pt x="412" y="842"/>
                    <a:pt x="412" y="842"/>
                    <a:pt x="412" y="842"/>
                  </a:cubicBezTo>
                  <a:cubicBezTo>
                    <a:pt x="413" y="842"/>
                    <a:pt x="414" y="841"/>
                    <a:pt x="415" y="841"/>
                  </a:cubicBezTo>
                  <a:cubicBezTo>
                    <a:pt x="415" y="841"/>
                    <a:pt x="415" y="841"/>
                    <a:pt x="415" y="841"/>
                  </a:cubicBezTo>
                  <a:cubicBezTo>
                    <a:pt x="413" y="838"/>
                    <a:pt x="413" y="838"/>
                    <a:pt x="413" y="838"/>
                  </a:cubicBezTo>
                  <a:cubicBezTo>
                    <a:pt x="429" y="831"/>
                    <a:pt x="429" y="831"/>
                    <a:pt x="429" y="831"/>
                  </a:cubicBezTo>
                  <a:cubicBezTo>
                    <a:pt x="430" y="830"/>
                    <a:pt x="430" y="830"/>
                    <a:pt x="430" y="830"/>
                  </a:cubicBezTo>
                  <a:cubicBezTo>
                    <a:pt x="431" y="830"/>
                    <a:pt x="431" y="830"/>
                    <a:pt x="431" y="830"/>
                  </a:cubicBezTo>
                  <a:cubicBezTo>
                    <a:pt x="432" y="830"/>
                    <a:pt x="433" y="830"/>
                    <a:pt x="433" y="829"/>
                  </a:cubicBezTo>
                  <a:cubicBezTo>
                    <a:pt x="433" y="829"/>
                    <a:pt x="433" y="829"/>
                    <a:pt x="433" y="829"/>
                  </a:cubicBezTo>
                  <a:cubicBezTo>
                    <a:pt x="434" y="828"/>
                    <a:pt x="434" y="828"/>
                    <a:pt x="434" y="828"/>
                  </a:cubicBezTo>
                  <a:cubicBezTo>
                    <a:pt x="434" y="827"/>
                    <a:pt x="434" y="827"/>
                    <a:pt x="434" y="827"/>
                  </a:cubicBezTo>
                  <a:cubicBezTo>
                    <a:pt x="435" y="826"/>
                    <a:pt x="435" y="826"/>
                    <a:pt x="435" y="826"/>
                  </a:cubicBezTo>
                  <a:cubicBezTo>
                    <a:pt x="437" y="823"/>
                    <a:pt x="437" y="822"/>
                    <a:pt x="441" y="822"/>
                  </a:cubicBezTo>
                  <a:cubicBezTo>
                    <a:pt x="442" y="821"/>
                    <a:pt x="442" y="821"/>
                    <a:pt x="442" y="821"/>
                  </a:cubicBezTo>
                  <a:cubicBezTo>
                    <a:pt x="442" y="821"/>
                    <a:pt x="442" y="821"/>
                    <a:pt x="442" y="821"/>
                  </a:cubicBezTo>
                  <a:cubicBezTo>
                    <a:pt x="442" y="821"/>
                    <a:pt x="441" y="821"/>
                    <a:pt x="441" y="820"/>
                  </a:cubicBezTo>
                  <a:cubicBezTo>
                    <a:pt x="440" y="816"/>
                    <a:pt x="440" y="816"/>
                    <a:pt x="440" y="816"/>
                  </a:cubicBezTo>
                  <a:cubicBezTo>
                    <a:pt x="445" y="817"/>
                    <a:pt x="445" y="817"/>
                    <a:pt x="445" y="817"/>
                  </a:cubicBezTo>
                  <a:cubicBezTo>
                    <a:pt x="446" y="817"/>
                    <a:pt x="447" y="818"/>
                    <a:pt x="449" y="818"/>
                  </a:cubicBezTo>
                  <a:cubicBezTo>
                    <a:pt x="449" y="818"/>
                    <a:pt x="450" y="818"/>
                    <a:pt x="450" y="819"/>
                  </a:cubicBezTo>
                  <a:cubicBezTo>
                    <a:pt x="452" y="819"/>
                    <a:pt x="453" y="819"/>
                    <a:pt x="454" y="820"/>
                  </a:cubicBezTo>
                  <a:cubicBezTo>
                    <a:pt x="454" y="820"/>
                    <a:pt x="456" y="821"/>
                    <a:pt x="457" y="823"/>
                  </a:cubicBezTo>
                  <a:cubicBezTo>
                    <a:pt x="458" y="820"/>
                    <a:pt x="458" y="820"/>
                    <a:pt x="458" y="820"/>
                  </a:cubicBezTo>
                  <a:cubicBezTo>
                    <a:pt x="458" y="824"/>
                    <a:pt x="458" y="824"/>
                    <a:pt x="458" y="824"/>
                  </a:cubicBezTo>
                  <a:cubicBezTo>
                    <a:pt x="458" y="824"/>
                    <a:pt x="458" y="824"/>
                    <a:pt x="458" y="824"/>
                  </a:cubicBezTo>
                  <a:cubicBezTo>
                    <a:pt x="458" y="825"/>
                    <a:pt x="459" y="825"/>
                    <a:pt x="459" y="825"/>
                  </a:cubicBezTo>
                  <a:cubicBezTo>
                    <a:pt x="459" y="825"/>
                    <a:pt x="459" y="825"/>
                    <a:pt x="460" y="825"/>
                  </a:cubicBezTo>
                  <a:cubicBezTo>
                    <a:pt x="460" y="825"/>
                    <a:pt x="460" y="825"/>
                    <a:pt x="460" y="825"/>
                  </a:cubicBezTo>
                  <a:cubicBezTo>
                    <a:pt x="460" y="825"/>
                    <a:pt x="460" y="825"/>
                    <a:pt x="460" y="825"/>
                  </a:cubicBezTo>
                  <a:cubicBezTo>
                    <a:pt x="460" y="824"/>
                    <a:pt x="460" y="824"/>
                    <a:pt x="460" y="824"/>
                  </a:cubicBezTo>
                  <a:cubicBezTo>
                    <a:pt x="460" y="823"/>
                    <a:pt x="460" y="823"/>
                    <a:pt x="460" y="823"/>
                  </a:cubicBezTo>
                  <a:cubicBezTo>
                    <a:pt x="460" y="822"/>
                    <a:pt x="461" y="820"/>
                    <a:pt x="464" y="820"/>
                  </a:cubicBezTo>
                  <a:cubicBezTo>
                    <a:pt x="468" y="819"/>
                    <a:pt x="468" y="819"/>
                    <a:pt x="472" y="817"/>
                  </a:cubicBezTo>
                  <a:cubicBezTo>
                    <a:pt x="474" y="816"/>
                    <a:pt x="474" y="816"/>
                    <a:pt x="474" y="816"/>
                  </a:cubicBezTo>
                  <a:cubicBezTo>
                    <a:pt x="475" y="818"/>
                    <a:pt x="475" y="818"/>
                    <a:pt x="475" y="818"/>
                  </a:cubicBezTo>
                  <a:cubicBezTo>
                    <a:pt x="475" y="818"/>
                    <a:pt x="476" y="819"/>
                    <a:pt x="476" y="820"/>
                  </a:cubicBezTo>
                  <a:cubicBezTo>
                    <a:pt x="476" y="821"/>
                    <a:pt x="477" y="822"/>
                    <a:pt x="477" y="823"/>
                  </a:cubicBezTo>
                  <a:cubicBezTo>
                    <a:pt x="477" y="823"/>
                    <a:pt x="477" y="823"/>
                    <a:pt x="477" y="823"/>
                  </a:cubicBezTo>
                  <a:cubicBezTo>
                    <a:pt x="478" y="824"/>
                    <a:pt x="478" y="824"/>
                    <a:pt x="478" y="824"/>
                  </a:cubicBezTo>
                  <a:cubicBezTo>
                    <a:pt x="478" y="825"/>
                    <a:pt x="478" y="825"/>
                    <a:pt x="478" y="825"/>
                  </a:cubicBezTo>
                  <a:cubicBezTo>
                    <a:pt x="478" y="825"/>
                    <a:pt x="478" y="825"/>
                    <a:pt x="478" y="825"/>
                  </a:cubicBezTo>
                  <a:cubicBezTo>
                    <a:pt x="478" y="825"/>
                    <a:pt x="478" y="825"/>
                    <a:pt x="478" y="825"/>
                  </a:cubicBezTo>
                  <a:cubicBezTo>
                    <a:pt x="478" y="825"/>
                    <a:pt x="478" y="825"/>
                    <a:pt x="478" y="825"/>
                  </a:cubicBezTo>
                  <a:cubicBezTo>
                    <a:pt x="479" y="825"/>
                    <a:pt x="479" y="825"/>
                    <a:pt x="479" y="825"/>
                  </a:cubicBezTo>
                  <a:cubicBezTo>
                    <a:pt x="478" y="820"/>
                    <a:pt x="478" y="820"/>
                    <a:pt x="478" y="820"/>
                  </a:cubicBezTo>
                  <a:cubicBezTo>
                    <a:pt x="480" y="824"/>
                    <a:pt x="480" y="824"/>
                    <a:pt x="480" y="824"/>
                  </a:cubicBezTo>
                  <a:cubicBezTo>
                    <a:pt x="480" y="824"/>
                    <a:pt x="480" y="824"/>
                    <a:pt x="480" y="824"/>
                  </a:cubicBezTo>
                  <a:cubicBezTo>
                    <a:pt x="482" y="824"/>
                    <a:pt x="484" y="824"/>
                    <a:pt x="486" y="824"/>
                  </a:cubicBezTo>
                  <a:cubicBezTo>
                    <a:pt x="489" y="823"/>
                    <a:pt x="492" y="824"/>
                    <a:pt x="495" y="825"/>
                  </a:cubicBezTo>
                  <a:cubicBezTo>
                    <a:pt x="500" y="827"/>
                    <a:pt x="505" y="831"/>
                    <a:pt x="509" y="835"/>
                  </a:cubicBezTo>
                  <a:cubicBezTo>
                    <a:pt x="509" y="835"/>
                    <a:pt x="509" y="835"/>
                    <a:pt x="509" y="835"/>
                  </a:cubicBezTo>
                  <a:cubicBezTo>
                    <a:pt x="510" y="836"/>
                    <a:pt x="512" y="837"/>
                    <a:pt x="513" y="838"/>
                  </a:cubicBezTo>
                  <a:cubicBezTo>
                    <a:pt x="513" y="838"/>
                    <a:pt x="513" y="838"/>
                    <a:pt x="513" y="838"/>
                  </a:cubicBezTo>
                  <a:cubicBezTo>
                    <a:pt x="513" y="837"/>
                    <a:pt x="513" y="837"/>
                    <a:pt x="513" y="837"/>
                  </a:cubicBezTo>
                  <a:cubicBezTo>
                    <a:pt x="514" y="836"/>
                    <a:pt x="514" y="836"/>
                    <a:pt x="514" y="836"/>
                  </a:cubicBezTo>
                  <a:cubicBezTo>
                    <a:pt x="515" y="836"/>
                    <a:pt x="516" y="836"/>
                    <a:pt x="516" y="836"/>
                  </a:cubicBezTo>
                  <a:cubicBezTo>
                    <a:pt x="517" y="836"/>
                    <a:pt x="518" y="836"/>
                    <a:pt x="518" y="836"/>
                  </a:cubicBezTo>
                  <a:cubicBezTo>
                    <a:pt x="518" y="836"/>
                    <a:pt x="519" y="836"/>
                    <a:pt x="519" y="836"/>
                  </a:cubicBezTo>
                  <a:cubicBezTo>
                    <a:pt x="519" y="836"/>
                    <a:pt x="519" y="836"/>
                    <a:pt x="519" y="836"/>
                  </a:cubicBezTo>
                  <a:cubicBezTo>
                    <a:pt x="519" y="836"/>
                    <a:pt x="519" y="836"/>
                    <a:pt x="519" y="836"/>
                  </a:cubicBezTo>
                  <a:cubicBezTo>
                    <a:pt x="521" y="837"/>
                    <a:pt x="522" y="838"/>
                    <a:pt x="523" y="838"/>
                  </a:cubicBezTo>
                  <a:cubicBezTo>
                    <a:pt x="525" y="840"/>
                    <a:pt x="525" y="840"/>
                    <a:pt x="525" y="840"/>
                  </a:cubicBezTo>
                  <a:cubicBezTo>
                    <a:pt x="528" y="842"/>
                    <a:pt x="530" y="844"/>
                    <a:pt x="533" y="845"/>
                  </a:cubicBezTo>
                  <a:cubicBezTo>
                    <a:pt x="535" y="847"/>
                    <a:pt x="537" y="847"/>
                    <a:pt x="537" y="848"/>
                  </a:cubicBezTo>
                  <a:cubicBezTo>
                    <a:pt x="537" y="847"/>
                    <a:pt x="537" y="847"/>
                    <a:pt x="538" y="847"/>
                  </a:cubicBezTo>
                  <a:cubicBezTo>
                    <a:pt x="538" y="847"/>
                    <a:pt x="538" y="847"/>
                    <a:pt x="538" y="847"/>
                  </a:cubicBezTo>
                  <a:cubicBezTo>
                    <a:pt x="539" y="846"/>
                    <a:pt x="539" y="846"/>
                    <a:pt x="539" y="846"/>
                  </a:cubicBezTo>
                  <a:cubicBezTo>
                    <a:pt x="540" y="846"/>
                    <a:pt x="540" y="845"/>
                    <a:pt x="541" y="845"/>
                  </a:cubicBezTo>
                  <a:cubicBezTo>
                    <a:pt x="541" y="845"/>
                    <a:pt x="542" y="845"/>
                    <a:pt x="542" y="845"/>
                  </a:cubicBezTo>
                  <a:cubicBezTo>
                    <a:pt x="542" y="844"/>
                    <a:pt x="542" y="844"/>
                    <a:pt x="542" y="844"/>
                  </a:cubicBezTo>
                  <a:cubicBezTo>
                    <a:pt x="542" y="844"/>
                    <a:pt x="542" y="844"/>
                    <a:pt x="543" y="844"/>
                  </a:cubicBezTo>
                  <a:cubicBezTo>
                    <a:pt x="543" y="843"/>
                    <a:pt x="543" y="843"/>
                    <a:pt x="543" y="843"/>
                  </a:cubicBezTo>
                  <a:cubicBezTo>
                    <a:pt x="543" y="842"/>
                    <a:pt x="543" y="842"/>
                    <a:pt x="543" y="842"/>
                  </a:cubicBezTo>
                  <a:cubicBezTo>
                    <a:pt x="544" y="840"/>
                    <a:pt x="546" y="840"/>
                    <a:pt x="547" y="840"/>
                  </a:cubicBezTo>
                  <a:cubicBezTo>
                    <a:pt x="547" y="840"/>
                    <a:pt x="548" y="839"/>
                    <a:pt x="548" y="839"/>
                  </a:cubicBezTo>
                  <a:cubicBezTo>
                    <a:pt x="548" y="839"/>
                    <a:pt x="548" y="839"/>
                    <a:pt x="549" y="838"/>
                  </a:cubicBezTo>
                  <a:cubicBezTo>
                    <a:pt x="549" y="836"/>
                    <a:pt x="551" y="835"/>
                    <a:pt x="553" y="835"/>
                  </a:cubicBezTo>
                  <a:cubicBezTo>
                    <a:pt x="556" y="835"/>
                    <a:pt x="559" y="834"/>
                    <a:pt x="562" y="834"/>
                  </a:cubicBezTo>
                  <a:cubicBezTo>
                    <a:pt x="565" y="834"/>
                    <a:pt x="566" y="834"/>
                    <a:pt x="568" y="836"/>
                  </a:cubicBezTo>
                  <a:cubicBezTo>
                    <a:pt x="568" y="836"/>
                    <a:pt x="568" y="837"/>
                    <a:pt x="569" y="837"/>
                  </a:cubicBezTo>
                  <a:cubicBezTo>
                    <a:pt x="569" y="838"/>
                    <a:pt x="569" y="838"/>
                    <a:pt x="569" y="838"/>
                  </a:cubicBezTo>
                  <a:cubicBezTo>
                    <a:pt x="570" y="838"/>
                    <a:pt x="571" y="840"/>
                    <a:pt x="571" y="840"/>
                  </a:cubicBezTo>
                  <a:cubicBezTo>
                    <a:pt x="571" y="840"/>
                    <a:pt x="572" y="840"/>
                    <a:pt x="572" y="840"/>
                  </a:cubicBezTo>
                  <a:cubicBezTo>
                    <a:pt x="573" y="840"/>
                    <a:pt x="573" y="839"/>
                    <a:pt x="574" y="839"/>
                  </a:cubicBezTo>
                  <a:cubicBezTo>
                    <a:pt x="574" y="839"/>
                    <a:pt x="574" y="839"/>
                    <a:pt x="574" y="839"/>
                  </a:cubicBezTo>
                  <a:cubicBezTo>
                    <a:pt x="574" y="839"/>
                    <a:pt x="574" y="839"/>
                    <a:pt x="574" y="839"/>
                  </a:cubicBezTo>
                  <a:cubicBezTo>
                    <a:pt x="574" y="838"/>
                    <a:pt x="574" y="838"/>
                    <a:pt x="574" y="838"/>
                  </a:cubicBezTo>
                  <a:cubicBezTo>
                    <a:pt x="574" y="835"/>
                    <a:pt x="576" y="833"/>
                    <a:pt x="579" y="833"/>
                  </a:cubicBezTo>
                  <a:cubicBezTo>
                    <a:pt x="580" y="833"/>
                    <a:pt x="580" y="833"/>
                    <a:pt x="580" y="833"/>
                  </a:cubicBezTo>
                  <a:cubicBezTo>
                    <a:pt x="585" y="833"/>
                    <a:pt x="594" y="833"/>
                    <a:pt x="595" y="841"/>
                  </a:cubicBezTo>
                  <a:cubicBezTo>
                    <a:pt x="595" y="841"/>
                    <a:pt x="595" y="841"/>
                    <a:pt x="595" y="841"/>
                  </a:cubicBezTo>
                  <a:cubicBezTo>
                    <a:pt x="595" y="841"/>
                    <a:pt x="595" y="842"/>
                    <a:pt x="595" y="842"/>
                  </a:cubicBezTo>
                  <a:cubicBezTo>
                    <a:pt x="596" y="842"/>
                    <a:pt x="596" y="843"/>
                    <a:pt x="597" y="843"/>
                  </a:cubicBezTo>
                  <a:cubicBezTo>
                    <a:pt x="598" y="844"/>
                    <a:pt x="598" y="844"/>
                    <a:pt x="599" y="844"/>
                  </a:cubicBezTo>
                  <a:cubicBezTo>
                    <a:pt x="599" y="844"/>
                    <a:pt x="599" y="844"/>
                    <a:pt x="599" y="844"/>
                  </a:cubicBezTo>
                  <a:cubicBezTo>
                    <a:pt x="599" y="844"/>
                    <a:pt x="599" y="844"/>
                    <a:pt x="599" y="844"/>
                  </a:cubicBezTo>
                  <a:cubicBezTo>
                    <a:pt x="600" y="844"/>
                    <a:pt x="600" y="844"/>
                    <a:pt x="600" y="844"/>
                  </a:cubicBezTo>
                  <a:cubicBezTo>
                    <a:pt x="600" y="845"/>
                    <a:pt x="601" y="845"/>
                    <a:pt x="601" y="845"/>
                  </a:cubicBezTo>
                  <a:cubicBezTo>
                    <a:pt x="602" y="845"/>
                    <a:pt x="602" y="845"/>
                    <a:pt x="602" y="845"/>
                  </a:cubicBezTo>
                  <a:cubicBezTo>
                    <a:pt x="602" y="845"/>
                    <a:pt x="603" y="845"/>
                    <a:pt x="603" y="845"/>
                  </a:cubicBezTo>
                  <a:cubicBezTo>
                    <a:pt x="606" y="845"/>
                    <a:pt x="608" y="846"/>
                    <a:pt x="610" y="846"/>
                  </a:cubicBezTo>
                  <a:cubicBezTo>
                    <a:pt x="611" y="847"/>
                    <a:pt x="612" y="847"/>
                    <a:pt x="613" y="848"/>
                  </a:cubicBezTo>
                  <a:cubicBezTo>
                    <a:pt x="613" y="848"/>
                    <a:pt x="613" y="848"/>
                    <a:pt x="613" y="848"/>
                  </a:cubicBezTo>
                  <a:cubicBezTo>
                    <a:pt x="613" y="848"/>
                    <a:pt x="613" y="848"/>
                    <a:pt x="613" y="848"/>
                  </a:cubicBezTo>
                  <a:cubicBezTo>
                    <a:pt x="613" y="848"/>
                    <a:pt x="614" y="848"/>
                    <a:pt x="614" y="848"/>
                  </a:cubicBezTo>
                  <a:cubicBezTo>
                    <a:pt x="614" y="847"/>
                    <a:pt x="614" y="847"/>
                    <a:pt x="614" y="847"/>
                  </a:cubicBezTo>
                  <a:cubicBezTo>
                    <a:pt x="615" y="847"/>
                    <a:pt x="615" y="847"/>
                    <a:pt x="615" y="846"/>
                  </a:cubicBezTo>
                  <a:cubicBezTo>
                    <a:pt x="616" y="845"/>
                    <a:pt x="616" y="844"/>
                    <a:pt x="616" y="842"/>
                  </a:cubicBezTo>
                  <a:cubicBezTo>
                    <a:pt x="616" y="842"/>
                    <a:pt x="616" y="842"/>
                    <a:pt x="616" y="842"/>
                  </a:cubicBezTo>
                  <a:cubicBezTo>
                    <a:pt x="616" y="842"/>
                    <a:pt x="617" y="842"/>
                    <a:pt x="617" y="841"/>
                  </a:cubicBezTo>
                  <a:cubicBezTo>
                    <a:pt x="618" y="839"/>
                    <a:pt x="618" y="839"/>
                    <a:pt x="618" y="839"/>
                  </a:cubicBezTo>
                  <a:cubicBezTo>
                    <a:pt x="623" y="842"/>
                    <a:pt x="623" y="842"/>
                    <a:pt x="623" y="842"/>
                  </a:cubicBezTo>
                  <a:cubicBezTo>
                    <a:pt x="625" y="843"/>
                    <a:pt x="625" y="843"/>
                    <a:pt x="625" y="843"/>
                  </a:cubicBezTo>
                  <a:cubicBezTo>
                    <a:pt x="627" y="844"/>
                    <a:pt x="630" y="844"/>
                    <a:pt x="632" y="845"/>
                  </a:cubicBezTo>
                  <a:cubicBezTo>
                    <a:pt x="633" y="845"/>
                    <a:pt x="633" y="845"/>
                    <a:pt x="633" y="845"/>
                  </a:cubicBezTo>
                  <a:cubicBezTo>
                    <a:pt x="634" y="845"/>
                    <a:pt x="634" y="845"/>
                    <a:pt x="634" y="845"/>
                  </a:cubicBezTo>
                  <a:cubicBezTo>
                    <a:pt x="635" y="845"/>
                    <a:pt x="635" y="844"/>
                    <a:pt x="636" y="844"/>
                  </a:cubicBezTo>
                  <a:cubicBezTo>
                    <a:pt x="638" y="844"/>
                    <a:pt x="642" y="843"/>
                    <a:pt x="643" y="842"/>
                  </a:cubicBezTo>
                  <a:cubicBezTo>
                    <a:pt x="644" y="842"/>
                    <a:pt x="644" y="842"/>
                    <a:pt x="644" y="842"/>
                  </a:cubicBezTo>
                  <a:cubicBezTo>
                    <a:pt x="644" y="842"/>
                    <a:pt x="644" y="842"/>
                    <a:pt x="644" y="842"/>
                  </a:cubicBezTo>
                  <a:cubicBezTo>
                    <a:pt x="644" y="841"/>
                    <a:pt x="644" y="841"/>
                    <a:pt x="644" y="841"/>
                  </a:cubicBezTo>
                  <a:cubicBezTo>
                    <a:pt x="645" y="840"/>
                    <a:pt x="645" y="840"/>
                    <a:pt x="645" y="840"/>
                  </a:cubicBezTo>
                  <a:cubicBezTo>
                    <a:pt x="645" y="839"/>
                    <a:pt x="645" y="839"/>
                    <a:pt x="645" y="838"/>
                  </a:cubicBezTo>
                  <a:cubicBezTo>
                    <a:pt x="645" y="837"/>
                    <a:pt x="645" y="837"/>
                    <a:pt x="645" y="837"/>
                  </a:cubicBezTo>
                  <a:cubicBezTo>
                    <a:pt x="646" y="836"/>
                    <a:pt x="646" y="834"/>
                    <a:pt x="647" y="833"/>
                  </a:cubicBezTo>
                  <a:cubicBezTo>
                    <a:pt x="637" y="828"/>
                    <a:pt x="637" y="828"/>
                    <a:pt x="637" y="828"/>
                  </a:cubicBezTo>
                  <a:cubicBezTo>
                    <a:pt x="631" y="825"/>
                    <a:pt x="631" y="825"/>
                    <a:pt x="631" y="825"/>
                  </a:cubicBezTo>
                  <a:cubicBezTo>
                    <a:pt x="628" y="825"/>
                    <a:pt x="628" y="825"/>
                    <a:pt x="628" y="825"/>
                  </a:cubicBezTo>
                  <a:cubicBezTo>
                    <a:pt x="628" y="824"/>
                    <a:pt x="627" y="824"/>
                    <a:pt x="627" y="824"/>
                  </a:cubicBezTo>
                  <a:cubicBezTo>
                    <a:pt x="624" y="823"/>
                    <a:pt x="624" y="823"/>
                    <a:pt x="624" y="823"/>
                  </a:cubicBezTo>
                  <a:cubicBezTo>
                    <a:pt x="623" y="821"/>
                    <a:pt x="623" y="821"/>
                    <a:pt x="623" y="821"/>
                  </a:cubicBezTo>
                  <a:cubicBezTo>
                    <a:pt x="623" y="821"/>
                    <a:pt x="623" y="821"/>
                    <a:pt x="623" y="821"/>
                  </a:cubicBezTo>
                  <a:cubicBezTo>
                    <a:pt x="622" y="820"/>
                    <a:pt x="621" y="820"/>
                    <a:pt x="620" y="819"/>
                  </a:cubicBezTo>
                  <a:cubicBezTo>
                    <a:pt x="619" y="819"/>
                    <a:pt x="619" y="819"/>
                    <a:pt x="619" y="819"/>
                  </a:cubicBezTo>
                  <a:cubicBezTo>
                    <a:pt x="618" y="817"/>
                    <a:pt x="618" y="817"/>
                    <a:pt x="618" y="817"/>
                  </a:cubicBezTo>
                  <a:cubicBezTo>
                    <a:pt x="618" y="817"/>
                    <a:pt x="618" y="816"/>
                    <a:pt x="617" y="816"/>
                  </a:cubicBezTo>
                  <a:cubicBezTo>
                    <a:pt x="616" y="815"/>
                    <a:pt x="616" y="815"/>
                    <a:pt x="616" y="815"/>
                  </a:cubicBezTo>
                  <a:cubicBezTo>
                    <a:pt x="617" y="812"/>
                    <a:pt x="617" y="812"/>
                    <a:pt x="617" y="812"/>
                  </a:cubicBezTo>
                  <a:cubicBezTo>
                    <a:pt x="617" y="811"/>
                    <a:pt x="617" y="811"/>
                    <a:pt x="617" y="811"/>
                  </a:cubicBezTo>
                  <a:cubicBezTo>
                    <a:pt x="619" y="811"/>
                    <a:pt x="619" y="811"/>
                    <a:pt x="619" y="811"/>
                  </a:cubicBezTo>
                  <a:cubicBezTo>
                    <a:pt x="622" y="811"/>
                    <a:pt x="622" y="811"/>
                    <a:pt x="622" y="811"/>
                  </a:cubicBezTo>
                  <a:cubicBezTo>
                    <a:pt x="622" y="811"/>
                    <a:pt x="622" y="811"/>
                    <a:pt x="622" y="811"/>
                  </a:cubicBezTo>
                  <a:cubicBezTo>
                    <a:pt x="623" y="810"/>
                    <a:pt x="623" y="810"/>
                    <a:pt x="623" y="810"/>
                  </a:cubicBezTo>
                  <a:cubicBezTo>
                    <a:pt x="624" y="810"/>
                    <a:pt x="624" y="809"/>
                    <a:pt x="625" y="809"/>
                  </a:cubicBezTo>
                  <a:cubicBezTo>
                    <a:pt x="627" y="807"/>
                    <a:pt x="627" y="807"/>
                    <a:pt x="627" y="807"/>
                  </a:cubicBezTo>
                  <a:cubicBezTo>
                    <a:pt x="628" y="807"/>
                    <a:pt x="629" y="807"/>
                    <a:pt x="630" y="807"/>
                  </a:cubicBezTo>
                  <a:cubicBezTo>
                    <a:pt x="631" y="807"/>
                    <a:pt x="631" y="807"/>
                    <a:pt x="632" y="806"/>
                  </a:cubicBezTo>
                  <a:cubicBezTo>
                    <a:pt x="632" y="806"/>
                    <a:pt x="632" y="806"/>
                    <a:pt x="633" y="806"/>
                  </a:cubicBezTo>
                  <a:cubicBezTo>
                    <a:pt x="633" y="806"/>
                    <a:pt x="633" y="805"/>
                    <a:pt x="633" y="805"/>
                  </a:cubicBezTo>
                  <a:cubicBezTo>
                    <a:pt x="634" y="805"/>
                    <a:pt x="635" y="804"/>
                    <a:pt x="635" y="804"/>
                  </a:cubicBezTo>
                  <a:cubicBezTo>
                    <a:pt x="635" y="803"/>
                    <a:pt x="635" y="803"/>
                    <a:pt x="635" y="803"/>
                  </a:cubicBezTo>
                  <a:cubicBezTo>
                    <a:pt x="631" y="798"/>
                    <a:pt x="631" y="798"/>
                    <a:pt x="631" y="798"/>
                  </a:cubicBezTo>
                  <a:cubicBezTo>
                    <a:pt x="615" y="795"/>
                    <a:pt x="615" y="795"/>
                    <a:pt x="615" y="795"/>
                  </a:cubicBezTo>
                  <a:cubicBezTo>
                    <a:pt x="630" y="793"/>
                    <a:pt x="630" y="793"/>
                    <a:pt x="630" y="793"/>
                  </a:cubicBezTo>
                  <a:cubicBezTo>
                    <a:pt x="630" y="793"/>
                    <a:pt x="631" y="793"/>
                    <a:pt x="631" y="793"/>
                  </a:cubicBezTo>
                  <a:cubicBezTo>
                    <a:pt x="631" y="793"/>
                    <a:pt x="631" y="793"/>
                    <a:pt x="631" y="793"/>
                  </a:cubicBezTo>
                  <a:cubicBezTo>
                    <a:pt x="632" y="792"/>
                    <a:pt x="632" y="792"/>
                    <a:pt x="632" y="792"/>
                  </a:cubicBezTo>
                  <a:cubicBezTo>
                    <a:pt x="633" y="791"/>
                    <a:pt x="634" y="790"/>
                    <a:pt x="635" y="789"/>
                  </a:cubicBezTo>
                  <a:cubicBezTo>
                    <a:pt x="636" y="788"/>
                    <a:pt x="636" y="788"/>
                    <a:pt x="636" y="788"/>
                  </a:cubicBezTo>
                  <a:cubicBezTo>
                    <a:pt x="636" y="787"/>
                    <a:pt x="636" y="787"/>
                    <a:pt x="636" y="787"/>
                  </a:cubicBezTo>
                  <a:cubicBezTo>
                    <a:pt x="638" y="786"/>
                    <a:pt x="638" y="786"/>
                    <a:pt x="638" y="786"/>
                  </a:cubicBezTo>
                  <a:cubicBezTo>
                    <a:pt x="638" y="786"/>
                    <a:pt x="638" y="786"/>
                    <a:pt x="638" y="786"/>
                  </a:cubicBezTo>
                  <a:cubicBezTo>
                    <a:pt x="639" y="786"/>
                    <a:pt x="639" y="785"/>
                    <a:pt x="640" y="785"/>
                  </a:cubicBezTo>
                  <a:cubicBezTo>
                    <a:pt x="640" y="785"/>
                    <a:pt x="640" y="785"/>
                    <a:pt x="640" y="785"/>
                  </a:cubicBezTo>
                  <a:cubicBezTo>
                    <a:pt x="641" y="785"/>
                    <a:pt x="641" y="785"/>
                    <a:pt x="642" y="785"/>
                  </a:cubicBezTo>
                  <a:cubicBezTo>
                    <a:pt x="642" y="785"/>
                    <a:pt x="643" y="785"/>
                    <a:pt x="644" y="785"/>
                  </a:cubicBezTo>
                  <a:cubicBezTo>
                    <a:pt x="644" y="785"/>
                    <a:pt x="644" y="785"/>
                    <a:pt x="645" y="785"/>
                  </a:cubicBezTo>
                  <a:cubicBezTo>
                    <a:pt x="645" y="785"/>
                    <a:pt x="646" y="785"/>
                    <a:pt x="646" y="785"/>
                  </a:cubicBezTo>
                  <a:cubicBezTo>
                    <a:pt x="647" y="784"/>
                    <a:pt x="647" y="784"/>
                    <a:pt x="647" y="784"/>
                  </a:cubicBezTo>
                  <a:cubicBezTo>
                    <a:pt x="648" y="785"/>
                    <a:pt x="648" y="785"/>
                    <a:pt x="648" y="785"/>
                  </a:cubicBezTo>
                  <a:cubicBezTo>
                    <a:pt x="648" y="785"/>
                    <a:pt x="648" y="785"/>
                    <a:pt x="648" y="785"/>
                  </a:cubicBezTo>
                  <a:cubicBezTo>
                    <a:pt x="648" y="784"/>
                    <a:pt x="648" y="784"/>
                    <a:pt x="648" y="784"/>
                  </a:cubicBezTo>
                  <a:cubicBezTo>
                    <a:pt x="648" y="784"/>
                    <a:pt x="648" y="784"/>
                    <a:pt x="648" y="784"/>
                  </a:cubicBezTo>
                  <a:cubicBezTo>
                    <a:pt x="647" y="784"/>
                    <a:pt x="647" y="784"/>
                    <a:pt x="646" y="784"/>
                  </a:cubicBezTo>
                  <a:cubicBezTo>
                    <a:pt x="645" y="783"/>
                    <a:pt x="645" y="783"/>
                    <a:pt x="645" y="783"/>
                  </a:cubicBezTo>
                  <a:cubicBezTo>
                    <a:pt x="645" y="783"/>
                    <a:pt x="644" y="783"/>
                    <a:pt x="644" y="783"/>
                  </a:cubicBezTo>
                  <a:cubicBezTo>
                    <a:pt x="643" y="783"/>
                    <a:pt x="643" y="783"/>
                    <a:pt x="642" y="783"/>
                  </a:cubicBezTo>
                  <a:cubicBezTo>
                    <a:pt x="642" y="783"/>
                    <a:pt x="642" y="783"/>
                    <a:pt x="642" y="783"/>
                  </a:cubicBezTo>
                  <a:cubicBezTo>
                    <a:pt x="641" y="782"/>
                    <a:pt x="641" y="782"/>
                    <a:pt x="641" y="782"/>
                  </a:cubicBezTo>
                  <a:cubicBezTo>
                    <a:pt x="640" y="781"/>
                    <a:pt x="640" y="781"/>
                    <a:pt x="640" y="781"/>
                  </a:cubicBezTo>
                  <a:cubicBezTo>
                    <a:pt x="635" y="784"/>
                    <a:pt x="635" y="784"/>
                    <a:pt x="635" y="784"/>
                  </a:cubicBezTo>
                  <a:cubicBezTo>
                    <a:pt x="638" y="781"/>
                    <a:pt x="638" y="781"/>
                    <a:pt x="638" y="781"/>
                  </a:cubicBezTo>
                  <a:cubicBezTo>
                    <a:pt x="634" y="783"/>
                    <a:pt x="634" y="783"/>
                    <a:pt x="634" y="783"/>
                  </a:cubicBezTo>
                  <a:cubicBezTo>
                    <a:pt x="639" y="779"/>
                    <a:pt x="639" y="779"/>
                    <a:pt x="639" y="779"/>
                  </a:cubicBezTo>
                  <a:cubicBezTo>
                    <a:pt x="638" y="778"/>
                    <a:pt x="638" y="778"/>
                    <a:pt x="638" y="778"/>
                  </a:cubicBezTo>
                  <a:cubicBezTo>
                    <a:pt x="639" y="776"/>
                    <a:pt x="639" y="776"/>
                    <a:pt x="639" y="776"/>
                  </a:cubicBezTo>
                  <a:cubicBezTo>
                    <a:pt x="639" y="776"/>
                    <a:pt x="639" y="776"/>
                    <a:pt x="640" y="775"/>
                  </a:cubicBezTo>
                  <a:cubicBezTo>
                    <a:pt x="640" y="775"/>
                    <a:pt x="640" y="775"/>
                    <a:pt x="640" y="775"/>
                  </a:cubicBezTo>
                  <a:cubicBezTo>
                    <a:pt x="640" y="775"/>
                    <a:pt x="640" y="775"/>
                    <a:pt x="640" y="775"/>
                  </a:cubicBezTo>
                  <a:cubicBezTo>
                    <a:pt x="639" y="774"/>
                    <a:pt x="639" y="774"/>
                    <a:pt x="639" y="774"/>
                  </a:cubicBezTo>
                  <a:cubicBezTo>
                    <a:pt x="638" y="774"/>
                    <a:pt x="638" y="774"/>
                    <a:pt x="637" y="774"/>
                  </a:cubicBezTo>
                  <a:cubicBezTo>
                    <a:pt x="635" y="773"/>
                    <a:pt x="635" y="773"/>
                    <a:pt x="635" y="773"/>
                  </a:cubicBezTo>
                  <a:cubicBezTo>
                    <a:pt x="634" y="773"/>
                    <a:pt x="634" y="773"/>
                    <a:pt x="634" y="773"/>
                  </a:cubicBezTo>
                  <a:cubicBezTo>
                    <a:pt x="633" y="770"/>
                    <a:pt x="633" y="770"/>
                    <a:pt x="633" y="770"/>
                  </a:cubicBezTo>
                  <a:cubicBezTo>
                    <a:pt x="635" y="769"/>
                    <a:pt x="635" y="769"/>
                    <a:pt x="635" y="769"/>
                  </a:cubicBezTo>
                  <a:cubicBezTo>
                    <a:pt x="635" y="768"/>
                    <a:pt x="635" y="768"/>
                    <a:pt x="635" y="768"/>
                  </a:cubicBezTo>
                  <a:cubicBezTo>
                    <a:pt x="636" y="768"/>
                    <a:pt x="636" y="768"/>
                    <a:pt x="637" y="768"/>
                  </a:cubicBezTo>
                  <a:cubicBezTo>
                    <a:pt x="637" y="768"/>
                    <a:pt x="637" y="768"/>
                    <a:pt x="637" y="768"/>
                  </a:cubicBezTo>
                  <a:cubicBezTo>
                    <a:pt x="639" y="767"/>
                    <a:pt x="639" y="767"/>
                    <a:pt x="639" y="767"/>
                  </a:cubicBezTo>
                  <a:cubicBezTo>
                    <a:pt x="633" y="763"/>
                    <a:pt x="633" y="763"/>
                    <a:pt x="633" y="763"/>
                  </a:cubicBezTo>
                  <a:cubicBezTo>
                    <a:pt x="636" y="762"/>
                    <a:pt x="636" y="762"/>
                    <a:pt x="636" y="762"/>
                  </a:cubicBezTo>
                  <a:cubicBezTo>
                    <a:pt x="637" y="761"/>
                    <a:pt x="637" y="761"/>
                    <a:pt x="637" y="761"/>
                  </a:cubicBezTo>
                  <a:cubicBezTo>
                    <a:pt x="638" y="761"/>
                    <a:pt x="638" y="761"/>
                    <a:pt x="639" y="760"/>
                  </a:cubicBezTo>
                  <a:cubicBezTo>
                    <a:pt x="639" y="760"/>
                    <a:pt x="639" y="760"/>
                    <a:pt x="639" y="760"/>
                  </a:cubicBezTo>
                  <a:cubicBezTo>
                    <a:pt x="641" y="759"/>
                    <a:pt x="642" y="758"/>
                    <a:pt x="644" y="758"/>
                  </a:cubicBezTo>
                  <a:cubicBezTo>
                    <a:pt x="644" y="758"/>
                    <a:pt x="645" y="758"/>
                    <a:pt x="645" y="758"/>
                  </a:cubicBezTo>
                  <a:cubicBezTo>
                    <a:pt x="645" y="758"/>
                    <a:pt x="646" y="758"/>
                    <a:pt x="646" y="758"/>
                  </a:cubicBezTo>
                  <a:cubicBezTo>
                    <a:pt x="646" y="757"/>
                    <a:pt x="646" y="757"/>
                    <a:pt x="646" y="757"/>
                  </a:cubicBezTo>
                  <a:cubicBezTo>
                    <a:pt x="647" y="758"/>
                    <a:pt x="647" y="758"/>
                    <a:pt x="647" y="758"/>
                  </a:cubicBezTo>
                  <a:cubicBezTo>
                    <a:pt x="650" y="759"/>
                    <a:pt x="651" y="759"/>
                    <a:pt x="653" y="759"/>
                  </a:cubicBezTo>
                  <a:cubicBezTo>
                    <a:pt x="653" y="759"/>
                    <a:pt x="653" y="759"/>
                    <a:pt x="653" y="759"/>
                  </a:cubicBezTo>
                  <a:cubicBezTo>
                    <a:pt x="654" y="759"/>
                    <a:pt x="654" y="759"/>
                    <a:pt x="654" y="759"/>
                  </a:cubicBezTo>
                  <a:cubicBezTo>
                    <a:pt x="659" y="759"/>
                    <a:pt x="659" y="759"/>
                    <a:pt x="659" y="759"/>
                  </a:cubicBezTo>
                  <a:cubicBezTo>
                    <a:pt x="659" y="756"/>
                    <a:pt x="659" y="756"/>
                    <a:pt x="659" y="756"/>
                  </a:cubicBezTo>
                  <a:cubicBezTo>
                    <a:pt x="660" y="759"/>
                    <a:pt x="660" y="759"/>
                    <a:pt x="660" y="759"/>
                  </a:cubicBezTo>
                  <a:cubicBezTo>
                    <a:pt x="660" y="759"/>
                    <a:pt x="660" y="759"/>
                    <a:pt x="660" y="759"/>
                  </a:cubicBezTo>
                  <a:cubicBezTo>
                    <a:pt x="661" y="759"/>
                    <a:pt x="661" y="759"/>
                    <a:pt x="662" y="759"/>
                  </a:cubicBezTo>
                  <a:cubicBezTo>
                    <a:pt x="663" y="759"/>
                    <a:pt x="663" y="759"/>
                    <a:pt x="663" y="759"/>
                  </a:cubicBezTo>
                  <a:cubicBezTo>
                    <a:pt x="663" y="759"/>
                    <a:pt x="663" y="759"/>
                    <a:pt x="663" y="759"/>
                  </a:cubicBezTo>
                  <a:cubicBezTo>
                    <a:pt x="663" y="759"/>
                    <a:pt x="664" y="759"/>
                    <a:pt x="664" y="759"/>
                  </a:cubicBezTo>
                  <a:cubicBezTo>
                    <a:pt x="665" y="758"/>
                    <a:pt x="665" y="758"/>
                    <a:pt x="665" y="758"/>
                  </a:cubicBezTo>
                  <a:cubicBezTo>
                    <a:pt x="666" y="758"/>
                    <a:pt x="666" y="758"/>
                    <a:pt x="666" y="758"/>
                  </a:cubicBezTo>
                  <a:cubicBezTo>
                    <a:pt x="667" y="757"/>
                    <a:pt x="667" y="757"/>
                    <a:pt x="667" y="757"/>
                  </a:cubicBezTo>
                  <a:cubicBezTo>
                    <a:pt x="668" y="758"/>
                    <a:pt x="668" y="758"/>
                    <a:pt x="668" y="758"/>
                  </a:cubicBezTo>
                  <a:cubicBezTo>
                    <a:pt x="668" y="758"/>
                    <a:pt x="668" y="758"/>
                    <a:pt x="668" y="758"/>
                  </a:cubicBezTo>
                  <a:cubicBezTo>
                    <a:pt x="669" y="757"/>
                    <a:pt x="669" y="757"/>
                    <a:pt x="670" y="757"/>
                  </a:cubicBezTo>
                  <a:cubicBezTo>
                    <a:pt x="670" y="757"/>
                    <a:pt x="670" y="757"/>
                    <a:pt x="670" y="757"/>
                  </a:cubicBezTo>
                  <a:cubicBezTo>
                    <a:pt x="671" y="757"/>
                    <a:pt x="671" y="757"/>
                    <a:pt x="671" y="757"/>
                  </a:cubicBezTo>
                  <a:cubicBezTo>
                    <a:pt x="671" y="757"/>
                    <a:pt x="671" y="757"/>
                    <a:pt x="671" y="757"/>
                  </a:cubicBezTo>
                  <a:cubicBezTo>
                    <a:pt x="672" y="756"/>
                    <a:pt x="672" y="756"/>
                    <a:pt x="672" y="756"/>
                  </a:cubicBezTo>
                  <a:cubicBezTo>
                    <a:pt x="668" y="756"/>
                    <a:pt x="668" y="756"/>
                    <a:pt x="668" y="756"/>
                  </a:cubicBezTo>
                  <a:cubicBezTo>
                    <a:pt x="679" y="755"/>
                    <a:pt x="679" y="755"/>
                    <a:pt x="679" y="755"/>
                  </a:cubicBezTo>
                  <a:cubicBezTo>
                    <a:pt x="679" y="750"/>
                    <a:pt x="679" y="750"/>
                    <a:pt x="679" y="750"/>
                  </a:cubicBezTo>
                  <a:cubicBezTo>
                    <a:pt x="680" y="754"/>
                    <a:pt x="680" y="754"/>
                    <a:pt x="680" y="754"/>
                  </a:cubicBezTo>
                  <a:cubicBezTo>
                    <a:pt x="689" y="753"/>
                    <a:pt x="689" y="753"/>
                    <a:pt x="689" y="753"/>
                  </a:cubicBezTo>
                  <a:cubicBezTo>
                    <a:pt x="689" y="753"/>
                    <a:pt x="689" y="753"/>
                    <a:pt x="689" y="753"/>
                  </a:cubicBezTo>
                  <a:cubicBezTo>
                    <a:pt x="691" y="752"/>
                    <a:pt x="691" y="752"/>
                    <a:pt x="691" y="752"/>
                  </a:cubicBezTo>
                  <a:cubicBezTo>
                    <a:pt x="691" y="752"/>
                    <a:pt x="691" y="752"/>
                    <a:pt x="691" y="752"/>
                  </a:cubicBezTo>
                  <a:cubicBezTo>
                    <a:pt x="693" y="752"/>
                    <a:pt x="693" y="752"/>
                    <a:pt x="693" y="752"/>
                  </a:cubicBezTo>
                  <a:cubicBezTo>
                    <a:pt x="694" y="751"/>
                    <a:pt x="694" y="751"/>
                    <a:pt x="694" y="751"/>
                  </a:cubicBezTo>
                  <a:cubicBezTo>
                    <a:pt x="695" y="751"/>
                    <a:pt x="695" y="751"/>
                    <a:pt x="695" y="751"/>
                  </a:cubicBezTo>
                  <a:cubicBezTo>
                    <a:pt x="696" y="751"/>
                    <a:pt x="696" y="751"/>
                    <a:pt x="696" y="751"/>
                  </a:cubicBezTo>
                  <a:cubicBezTo>
                    <a:pt x="696" y="751"/>
                    <a:pt x="696" y="751"/>
                    <a:pt x="696" y="751"/>
                  </a:cubicBezTo>
                  <a:cubicBezTo>
                    <a:pt x="698" y="750"/>
                    <a:pt x="698" y="750"/>
                    <a:pt x="698" y="750"/>
                  </a:cubicBezTo>
                  <a:cubicBezTo>
                    <a:pt x="698" y="751"/>
                    <a:pt x="698" y="751"/>
                    <a:pt x="698" y="751"/>
                  </a:cubicBezTo>
                  <a:cubicBezTo>
                    <a:pt x="701" y="750"/>
                    <a:pt x="701" y="750"/>
                    <a:pt x="701" y="750"/>
                  </a:cubicBezTo>
                  <a:cubicBezTo>
                    <a:pt x="701" y="750"/>
                    <a:pt x="701" y="750"/>
                    <a:pt x="701" y="750"/>
                  </a:cubicBezTo>
                  <a:cubicBezTo>
                    <a:pt x="702" y="750"/>
                    <a:pt x="702" y="750"/>
                    <a:pt x="702" y="750"/>
                  </a:cubicBezTo>
                  <a:cubicBezTo>
                    <a:pt x="703" y="750"/>
                    <a:pt x="703" y="750"/>
                    <a:pt x="704" y="750"/>
                  </a:cubicBezTo>
                  <a:cubicBezTo>
                    <a:pt x="704" y="750"/>
                    <a:pt x="704" y="750"/>
                    <a:pt x="704" y="750"/>
                  </a:cubicBezTo>
                  <a:cubicBezTo>
                    <a:pt x="704" y="750"/>
                    <a:pt x="705" y="750"/>
                    <a:pt x="705" y="750"/>
                  </a:cubicBezTo>
                  <a:cubicBezTo>
                    <a:pt x="705" y="749"/>
                    <a:pt x="706" y="749"/>
                    <a:pt x="706" y="749"/>
                  </a:cubicBezTo>
                  <a:cubicBezTo>
                    <a:pt x="706" y="749"/>
                    <a:pt x="707" y="749"/>
                    <a:pt x="707" y="749"/>
                  </a:cubicBezTo>
                  <a:cubicBezTo>
                    <a:pt x="707" y="749"/>
                    <a:pt x="708" y="749"/>
                    <a:pt x="708" y="750"/>
                  </a:cubicBezTo>
                  <a:cubicBezTo>
                    <a:pt x="709" y="750"/>
                    <a:pt x="709" y="750"/>
                    <a:pt x="709" y="750"/>
                  </a:cubicBezTo>
                  <a:cubicBezTo>
                    <a:pt x="709" y="750"/>
                    <a:pt x="709" y="750"/>
                    <a:pt x="709" y="750"/>
                  </a:cubicBezTo>
                  <a:cubicBezTo>
                    <a:pt x="710" y="750"/>
                    <a:pt x="710" y="750"/>
                    <a:pt x="710" y="750"/>
                  </a:cubicBezTo>
                  <a:cubicBezTo>
                    <a:pt x="711" y="749"/>
                    <a:pt x="712" y="748"/>
                    <a:pt x="715" y="749"/>
                  </a:cubicBezTo>
                  <a:cubicBezTo>
                    <a:pt x="715" y="749"/>
                    <a:pt x="715" y="748"/>
                    <a:pt x="715" y="748"/>
                  </a:cubicBezTo>
                  <a:cubicBezTo>
                    <a:pt x="715" y="748"/>
                    <a:pt x="715" y="748"/>
                    <a:pt x="715" y="748"/>
                  </a:cubicBezTo>
                  <a:cubicBezTo>
                    <a:pt x="716" y="747"/>
                    <a:pt x="716" y="747"/>
                    <a:pt x="716" y="747"/>
                  </a:cubicBezTo>
                  <a:cubicBezTo>
                    <a:pt x="716" y="747"/>
                    <a:pt x="716" y="747"/>
                    <a:pt x="716" y="747"/>
                  </a:cubicBezTo>
                  <a:cubicBezTo>
                    <a:pt x="717" y="746"/>
                    <a:pt x="717" y="746"/>
                    <a:pt x="717" y="746"/>
                  </a:cubicBezTo>
                  <a:cubicBezTo>
                    <a:pt x="711" y="745"/>
                    <a:pt x="711" y="745"/>
                    <a:pt x="711" y="745"/>
                  </a:cubicBezTo>
                  <a:cubicBezTo>
                    <a:pt x="724" y="743"/>
                    <a:pt x="724" y="743"/>
                    <a:pt x="724" y="743"/>
                  </a:cubicBezTo>
                  <a:cubicBezTo>
                    <a:pt x="725" y="743"/>
                    <a:pt x="725" y="743"/>
                    <a:pt x="725" y="743"/>
                  </a:cubicBezTo>
                  <a:cubicBezTo>
                    <a:pt x="728" y="742"/>
                    <a:pt x="728" y="742"/>
                    <a:pt x="728" y="742"/>
                  </a:cubicBezTo>
                  <a:cubicBezTo>
                    <a:pt x="730" y="741"/>
                    <a:pt x="730" y="741"/>
                    <a:pt x="730" y="741"/>
                  </a:cubicBezTo>
                  <a:cubicBezTo>
                    <a:pt x="730" y="741"/>
                    <a:pt x="731" y="741"/>
                    <a:pt x="731" y="741"/>
                  </a:cubicBezTo>
                  <a:cubicBezTo>
                    <a:pt x="732" y="741"/>
                    <a:pt x="732" y="741"/>
                    <a:pt x="732" y="741"/>
                  </a:cubicBezTo>
                  <a:cubicBezTo>
                    <a:pt x="733" y="741"/>
                    <a:pt x="733" y="741"/>
                    <a:pt x="734" y="741"/>
                  </a:cubicBezTo>
                  <a:cubicBezTo>
                    <a:pt x="734" y="741"/>
                    <a:pt x="735" y="742"/>
                    <a:pt x="735" y="742"/>
                  </a:cubicBezTo>
                  <a:cubicBezTo>
                    <a:pt x="737" y="742"/>
                    <a:pt x="737" y="742"/>
                    <a:pt x="737" y="742"/>
                  </a:cubicBezTo>
                  <a:cubicBezTo>
                    <a:pt x="738" y="742"/>
                    <a:pt x="739" y="741"/>
                    <a:pt x="740" y="741"/>
                  </a:cubicBezTo>
                  <a:cubicBezTo>
                    <a:pt x="741" y="741"/>
                    <a:pt x="741" y="741"/>
                    <a:pt x="741" y="741"/>
                  </a:cubicBezTo>
                  <a:cubicBezTo>
                    <a:pt x="742" y="740"/>
                    <a:pt x="744" y="740"/>
                    <a:pt x="745" y="740"/>
                  </a:cubicBezTo>
                  <a:cubicBezTo>
                    <a:pt x="743" y="739"/>
                    <a:pt x="743" y="739"/>
                    <a:pt x="743" y="739"/>
                  </a:cubicBezTo>
                  <a:cubicBezTo>
                    <a:pt x="750" y="739"/>
                    <a:pt x="750" y="739"/>
                    <a:pt x="750" y="739"/>
                  </a:cubicBezTo>
                  <a:cubicBezTo>
                    <a:pt x="752" y="738"/>
                    <a:pt x="752" y="738"/>
                    <a:pt x="752" y="738"/>
                  </a:cubicBezTo>
                  <a:cubicBezTo>
                    <a:pt x="753" y="738"/>
                    <a:pt x="754" y="738"/>
                    <a:pt x="755" y="737"/>
                  </a:cubicBezTo>
                  <a:cubicBezTo>
                    <a:pt x="756" y="737"/>
                    <a:pt x="756" y="737"/>
                    <a:pt x="756" y="737"/>
                  </a:cubicBezTo>
                  <a:cubicBezTo>
                    <a:pt x="758" y="736"/>
                    <a:pt x="758" y="736"/>
                    <a:pt x="758" y="736"/>
                  </a:cubicBezTo>
                  <a:cubicBezTo>
                    <a:pt x="759" y="737"/>
                    <a:pt x="759" y="737"/>
                    <a:pt x="759" y="737"/>
                  </a:cubicBezTo>
                  <a:cubicBezTo>
                    <a:pt x="766" y="735"/>
                    <a:pt x="766" y="735"/>
                    <a:pt x="766" y="735"/>
                  </a:cubicBezTo>
                  <a:cubicBezTo>
                    <a:pt x="766" y="735"/>
                    <a:pt x="766" y="735"/>
                    <a:pt x="766" y="735"/>
                  </a:cubicBezTo>
                  <a:cubicBezTo>
                    <a:pt x="767" y="734"/>
                    <a:pt x="767" y="734"/>
                    <a:pt x="767" y="734"/>
                  </a:cubicBezTo>
                  <a:cubicBezTo>
                    <a:pt x="768" y="734"/>
                    <a:pt x="768" y="734"/>
                    <a:pt x="769" y="734"/>
                  </a:cubicBezTo>
                  <a:cubicBezTo>
                    <a:pt x="770" y="733"/>
                    <a:pt x="770" y="733"/>
                    <a:pt x="771" y="734"/>
                  </a:cubicBezTo>
                  <a:cubicBezTo>
                    <a:pt x="772" y="734"/>
                    <a:pt x="772" y="734"/>
                    <a:pt x="772" y="734"/>
                  </a:cubicBezTo>
                  <a:cubicBezTo>
                    <a:pt x="772" y="734"/>
                    <a:pt x="772" y="734"/>
                    <a:pt x="772" y="734"/>
                  </a:cubicBezTo>
                  <a:cubicBezTo>
                    <a:pt x="772" y="734"/>
                    <a:pt x="773" y="734"/>
                    <a:pt x="773" y="734"/>
                  </a:cubicBezTo>
                  <a:cubicBezTo>
                    <a:pt x="775" y="733"/>
                    <a:pt x="775" y="733"/>
                    <a:pt x="775" y="733"/>
                  </a:cubicBezTo>
                  <a:cubicBezTo>
                    <a:pt x="775" y="733"/>
                    <a:pt x="775" y="733"/>
                    <a:pt x="775" y="733"/>
                  </a:cubicBezTo>
                  <a:cubicBezTo>
                    <a:pt x="776" y="732"/>
                    <a:pt x="776" y="732"/>
                    <a:pt x="776" y="732"/>
                  </a:cubicBezTo>
                  <a:cubicBezTo>
                    <a:pt x="776" y="732"/>
                    <a:pt x="777" y="731"/>
                    <a:pt x="778" y="731"/>
                  </a:cubicBezTo>
                  <a:cubicBezTo>
                    <a:pt x="779" y="730"/>
                    <a:pt x="781" y="729"/>
                    <a:pt x="781" y="729"/>
                  </a:cubicBezTo>
                  <a:cubicBezTo>
                    <a:pt x="782" y="728"/>
                    <a:pt x="782" y="727"/>
                    <a:pt x="782" y="726"/>
                  </a:cubicBezTo>
                  <a:cubicBezTo>
                    <a:pt x="783" y="725"/>
                    <a:pt x="783" y="725"/>
                    <a:pt x="783" y="725"/>
                  </a:cubicBezTo>
                  <a:cubicBezTo>
                    <a:pt x="784" y="724"/>
                    <a:pt x="785" y="724"/>
                    <a:pt x="786" y="724"/>
                  </a:cubicBezTo>
                  <a:cubicBezTo>
                    <a:pt x="786" y="724"/>
                    <a:pt x="786" y="724"/>
                    <a:pt x="787" y="724"/>
                  </a:cubicBezTo>
                  <a:cubicBezTo>
                    <a:pt x="786" y="723"/>
                    <a:pt x="786" y="723"/>
                    <a:pt x="786" y="723"/>
                  </a:cubicBezTo>
                  <a:cubicBezTo>
                    <a:pt x="791" y="724"/>
                    <a:pt x="791" y="724"/>
                    <a:pt x="791" y="724"/>
                  </a:cubicBezTo>
                  <a:cubicBezTo>
                    <a:pt x="792" y="724"/>
                    <a:pt x="792" y="724"/>
                    <a:pt x="792" y="724"/>
                  </a:cubicBezTo>
                  <a:cubicBezTo>
                    <a:pt x="792" y="723"/>
                    <a:pt x="792" y="723"/>
                    <a:pt x="792" y="723"/>
                  </a:cubicBezTo>
                  <a:cubicBezTo>
                    <a:pt x="795" y="724"/>
                    <a:pt x="795" y="724"/>
                    <a:pt x="795" y="724"/>
                  </a:cubicBezTo>
                  <a:cubicBezTo>
                    <a:pt x="795" y="724"/>
                    <a:pt x="795" y="724"/>
                    <a:pt x="795" y="724"/>
                  </a:cubicBezTo>
                  <a:cubicBezTo>
                    <a:pt x="795" y="724"/>
                    <a:pt x="795" y="724"/>
                    <a:pt x="795" y="724"/>
                  </a:cubicBezTo>
                  <a:cubicBezTo>
                    <a:pt x="795" y="724"/>
                    <a:pt x="795" y="724"/>
                    <a:pt x="796" y="724"/>
                  </a:cubicBezTo>
                  <a:cubicBezTo>
                    <a:pt x="803" y="724"/>
                    <a:pt x="803" y="724"/>
                    <a:pt x="803" y="724"/>
                  </a:cubicBezTo>
                  <a:cubicBezTo>
                    <a:pt x="804" y="724"/>
                    <a:pt x="805" y="724"/>
                    <a:pt x="805" y="725"/>
                  </a:cubicBezTo>
                  <a:cubicBezTo>
                    <a:pt x="807" y="726"/>
                    <a:pt x="807" y="726"/>
                    <a:pt x="807" y="726"/>
                  </a:cubicBezTo>
                  <a:cubicBezTo>
                    <a:pt x="807" y="726"/>
                    <a:pt x="808" y="727"/>
                    <a:pt x="809" y="728"/>
                  </a:cubicBezTo>
                  <a:cubicBezTo>
                    <a:pt x="810" y="728"/>
                    <a:pt x="810" y="728"/>
                    <a:pt x="810" y="728"/>
                  </a:cubicBezTo>
                  <a:cubicBezTo>
                    <a:pt x="810" y="728"/>
                    <a:pt x="810" y="728"/>
                    <a:pt x="810" y="728"/>
                  </a:cubicBezTo>
                  <a:cubicBezTo>
                    <a:pt x="811" y="728"/>
                    <a:pt x="812" y="729"/>
                    <a:pt x="813" y="729"/>
                  </a:cubicBezTo>
                  <a:cubicBezTo>
                    <a:pt x="813" y="729"/>
                    <a:pt x="813" y="729"/>
                    <a:pt x="813" y="729"/>
                  </a:cubicBezTo>
                  <a:cubicBezTo>
                    <a:pt x="814" y="728"/>
                    <a:pt x="817" y="726"/>
                    <a:pt x="819" y="725"/>
                  </a:cubicBezTo>
                  <a:cubicBezTo>
                    <a:pt x="819" y="725"/>
                    <a:pt x="819" y="725"/>
                    <a:pt x="819" y="725"/>
                  </a:cubicBezTo>
                  <a:cubicBezTo>
                    <a:pt x="824" y="725"/>
                    <a:pt x="824" y="725"/>
                    <a:pt x="824" y="725"/>
                  </a:cubicBezTo>
                  <a:cubicBezTo>
                    <a:pt x="824" y="725"/>
                    <a:pt x="824" y="725"/>
                    <a:pt x="824" y="725"/>
                  </a:cubicBezTo>
                  <a:cubicBezTo>
                    <a:pt x="826" y="725"/>
                    <a:pt x="827" y="726"/>
                    <a:pt x="827" y="727"/>
                  </a:cubicBezTo>
                  <a:cubicBezTo>
                    <a:pt x="829" y="730"/>
                    <a:pt x="830" y="733"/>
                    <a:pt x="831" y="735"/>
                  </a:cubicBezTo>
                  <a:cubicBezTo>
                    <a:pt x="835" y="743"/>
                    <a:pt x="835" y="743"/>
                    <a:pt x="835" y="743"/>
                  </a:cubicBezTo>
                  <a:cubicBezTo>
                    <a:pt x="835" y="744"/>
                    <a:pt x="835" y="744"/>
                    <a:pt x="835" y="745"/>
                  </a:cubicBezTo>
                  <a:cubicBezTo>
                    <a:pt x="835" y="746"/>
                    <a:pt x="835" y="746"/>
                    <a:pt x="835" y="746"/>
                  </a:cubicBezTo>
                  <a:cubicBezTo>
                    <a:pt x="834" y="747"/>
                    <a:pt x="834" y="747"/>
                    <a:pt x="834" y="747"/>
                  </a:cubicBezTo>
                  <a:cubicBezTo>
                    <a:pt x="834" y="748"/>
                    <a:pt x="834" y="748"/>
                    <a:pt x="834" y="748"/>
                  </a:cubicBezTo>
                  <a:cubicBezTo>
                    <a:pt x="834" y="748"/>
                    <a:pt x="834" y="749"/>
                    <a:pt x="834" y="749"/>
                  </a:cubicBezTo>
                  <a:cubicBezTo>
                    <a:pt x="834" y="749"/>
                    <a:pt x="834" y="749"/>
                    <a:pt x="834" y="749"/>
                  </a:cubicBezTo>
                  <a:cubicBezTo>
                    <a:pt x="834" y="750"/>
                    <a:pt x="834" y="750"/>
                    <a:pt x="834" y="750"/>
                  </a:cubicBezTo>
                  <a:cubicBezTo>
                    <a:pt x="835" y="750"/>
                    <a:pt x="835" y="750"/>
                    <a:pt x="835" y="750"/>
                  </a:cubicBezTo>
                  <a:cubicBezTo>
                    <a:pt x="835" y="751"/>
                    <a:pt x="835" y="751"/>
                    <a:pt x="835" y="751"/>
                  </a:cubicBezTo>
                  <a:cubicBezTo>
                    <a:pt x="835" y="753"/>
                    <a:pt x="834" y="754"/>
                    <a:pt x="833" y="755"/>
                  </a:cubicBezTo>
                  <a:cubicBezTo>
                    <a:pt x="833" y="755"/>
                    <a:pt x="832" y="755"/>
                    <a:pt x="832" y="755"/>
                  </a:cubicBezTo>
                  <a:cubicBezTo>
                    <a:pt x="833" y="756"/>
                    <a:pt x="833" y="756"/>
                    <a:pt x="833" y="756"/>
                  </a:cubicBezTo>
                  <a:cubicBezTo>
                    <a:pt x="834" y="756"/>
                    <a:pt x="834" y="756"/>
                    <a:pt x="834" y="756"/>
                  </a:cubicBezTo>
                  <a:cubicBezTo>
                    <a:pt x="835" y="756"/>
                    <a:pt x="835" y="756"/>
                    <a:pt x="835" y="756"/>
                  </a:cubicBezTo>
                  <a:cubicBezTo>
                    <a:pt x="836" y="756"/>
                    <a:pt x="837" y="756"/>
                    <a:pt x="838" y="756"/>
                  </a:cubicBezTo>
                  <a:cubicBezTo>
                    <a:pt x="842" y="756"/>
                    <a:pt x="842" y="756"/>
                    <a:pt x="842" y="756"/>
                  </a:cubicBezTo>
                  <a:cubicBezTo>
                    <a:pt x="846" y="755"/>
                    <a:pt x="846" y="755"/>
                    <a:pt x="846" y="755"/>
                  </a:cubicBezTo>
                  <a:cubicBezTo>
                    <a:pt x="847" y="755"/>
                    <a:pt x="847" y="754"/>
                    <a:pt x="847" y="754"/>
                  </a:cubicBezTo>
                  <a:cubicBezTo>
                    <a:pt x="847" y="754"/>
                    <a:pt x="846" y="753"/>
                    <a:pt x="846" y="753"/>
                  </a:cubicBezTo>
                  <a:cubicBezTo>
                    <a:pt x="846" y="750"/>
                    <a:pt x="846" y="750"/>
                    <a:pt x="846" y="750"/>
                  </a:cubicBezTo>
                  <a:cubicBezTo>
                    <a:pt x="850" y="749"/>
                    <a:pt x="850" y="749"/>
                    <a:pt x="850" y="749"/>
                  </a:cubicBezTo>
                  <a:cubicBezTo>
                    <a:pt x="852" y="750"/>
                    <a:pt x="852" y="750"/>
                    <a:pt x="852" y="750"/>
                  </a:cubicBezTo>
                  <a:cubicBezTo>
                    <a:pt x="852" y="750"/>
                    <a:pt x="852" y="750"/>
                    <a:pt x="852" y="750"/>
                  </a:cubicBezTo>
                  <a:cubicBezTo>
                    <a:pt x="856" y="754"/>
                    <a:pt x="856" y="754"/>
                    <a:pt x="856" y="754"/>
                  </a:cubicBezTo>
                  <a:cubicBezTo>
                    <a:pt x="856" y="755"/>
                    <a:pt x="857" y="756"/>
                    <a:pt x="857" y="757"/>
                  </a:cubicBezTo>
                  <a:cubicBezTo>
                    <a:pt x="857" y="757"/>
                    <a:pt x="857" y="757"/>
                    <a:pt x="857" y="756"/>
                  </a:cubicBezTo>
                  <a:cubicBezTo>
                    <a:pt x="858" y="756"/>
                    <a:pt x="858" y="756"/>
                    <a:pt x="858" y="756"/>
                  </a:cubicBezTo>
                  <a:cubicBezTo>
                    <a:pt x="859" y="756"/>
                    <a:pt x="859" y="756"/>
                    <a:pt x="860" y="756"/>
                  </a:cubicBezTo>
                  <a:cubicBezTo>
                    <a:pt x="861" y="756"/>
                    <a:pt x="861" y="756"/>
                    <a:pt x="861" y="756"/>
                  </a:cubicBezTo>
                  <a:cubicBezTo>
                    <a:pt x="862" y="757"/>
                    <a:pt x="862" y="757"/>
                    <a:pt x="862" y="757"/>
                  </a:cubicBezTo>
                  <a:cubicBezTo>
                    <a:pt x="862" y="757"/>
                    <a:pt x="863" y="757"/>
                    <a:pt x="864" y="758"/>
                  </a:cubicBezTo>
                  <a:cubicBezTo>
                    <a:pt x="864" y="758"/>
                    <a:pt x="864" y="758"/>
                    <a:pt x="864" y="758"/>
                  </a:cubicBezTo>
                  <a:cubicBezTo>
                    <a:pt x="866" y="759"/>
                    <a:pt x="868" y="760"/>
                    <a:pt x="869" y="760"/>
                  </a:cubicBezTo>
                  <a:cubicBezTo>
                    <a:pt x="869" y="760"/>
                    <a:pt x="869" y="760"/>
                    <a:pt x="869" y="760"/>
                  </a:cubicBezTo>
                  <a:cubicBezTo>
                    <a:pt x="885" y="757"/>
                    <a:pt x="885" y="757"/>
                    <a:pt x="885" y="757"/>
                  </a:cubicBezTo>
                  <a:cubicBezTo>
                    <a:pt x="883" y="761"/>
                    <a:pt x="883" y="761"/>
                    <a:pt x="883" y="761"/>
                  </a:cubicBezTo>
                  <a:cubicBezTo>
                    <a:pt x="883" y="762"/>
                    <a:pt x="882" y="762"/>
                    <a:pt x="882" y="762"/>
                  </a:cubicBezTo>
                  <a:cubicBezTo>
                    <a:pt x="880" y="764"/>
                    <a:pt x="880" y="764"/>
                    <a:pt x="880" y="764"/>
                  </a:cubicBezTo>
                  <a:cubicBezTo>
                    <a:pt x="879" y="765"/>
                    <a:pt x="878" y="766"/>
                    <a:pt x="878" y="766"/>
                  </a:cubicBezTo>
                  <a:cubicBezTo>
                    <a:pt x="876" y="767"/>
                    <a:pt x="876" y="767"/>
                    <a:pt x="876" y="767"/>
                  </a:cubicBezTo>
                  <a:cubicBezTo>
                    <a:pt x="876" y="768"/>
                    <a:pt x="876" y="768"/>
                    <a:pt x="876" y="768"/>
                  </a:cubicBezTo>
                  <a:cubicBezTo>
                    <a:pt x="875" y="769"/>
                    <a:pt x="874" y="769"/>
                    <a:pt x="874" y="770"/>
                  </a:cubicBezTo>
                  <a:cubicBezTo>
                    <a:pt x="874" y="771"/>
                    <a:pt x="874" y="771"/>
                    <a:pt x="874" y="771"/>
                  </a:cubicBezTo>
                  <a:cubicBezTo>
                    <a:pt x="875" y="773"/>
                    <a:pt x="875" y="773"/>
                    <a:pt x="875" y="773"/>
                  </a:cubicBezTo>
                  <a:cubicBezTo>
                    <a:pt x="877" y="772"/>
                    <a:pt x="877" y="772"/>
                    <a:pt x="877" y="772"/>
                  </a:cubicBezTo>
                  <a:cubicBezTo>
                    <a:pt x="879" y="771"/>
                    <a:pt x="881" y="770"/>
                    <a:pt x="883" y="770"/>
                  </a:cubicBezTo>
                  <a:cubicBezTo>
                    <a:pt x="888" y="770"/>
                    <a:pt x="888" y="770"/>
                    <a:pt x="888" y="770"/>
                  </a:cubicBezTo>
                  <a:cubicBezTo>
                    <a:pt x="890" y="771"/>
                    <a:pt x="890" y="771"/>
                    <a:pt x="890" y="771"/>
                  </a:cubicBezTo>
                  <a:cubicBezTo>
                    <a:pt x="891" y="771"/>
                    <a:pt x="891" y="771"/>
                    <a:pt x="892" y="772"/>
                  </a:cubicBezTo>
                  <a:cubicBezTo>
                    <a:pt x="892" y="771"/>
                    <a:pt x="892" y="771"/>
                    <a:pt x="892" y="771"/>
                  </a:cubicBezTo>
                  <a:cubicBezTo>
                    <a:pt x="892" y="770"/>
                    <a:pt x="892" y="770"/>
                    <a:pt x="892" y="770"/>
                  </a:cubicBezTo>
                  <a:cubicBezTo>
                    <a:pt x="892" y="769"/>
                    <a:pt x="893" y="768"/>
                    <a:pt x="894" y="768"/>
                  </a:cubicBezTo>
                  <a:cubicBezTo>
                    <a:pt x="894" y="767"/>
                    <a:pt x="894" y="767"/>
                    <a:pt x="894" y="767"/>
                  </a:cubicBezTo>
                  <a:cubicBezTo>
                    <a:pt x="902" y="764"/>
                    <a:pt x="902" y="764"/>
                    <a:pt x="902" y="764"/>
                  </a:cubicBezTo>
                  <a:cubicBezTo>
                    <a:pt x="905" y="763"/>
                    <a:pt x="908" y="761"/>
                    <a:pt x="910" y="760"/>
                  </a:cubicBezTo>
                  <a:cubicBezTo>
                    <a:pt x="913" y="759"/>
                    <a:pt x="916" y="757"/>
                    <a:pt x="918" y="756"/>
                  </a:cubicBezTo>
                  <a:cubicBezTo>
                    <a:pt x="954" y="741"/>
                    <a:pt x="954" y="741"/>
                    <a:pt x="954" y="741"/>
                  </a:cubicBezTo>
                  <a:cubicBezTo>
                    <a:pt x="941" y="753"/>
                    <a:pt x="941" y="753"/>
                    <a:pt x="941" y="753"/>
                  </a:cubicBezTo>
                  <a:cubicBezTo>
                    <a:pt x="941" y="755"/>
                    <a:pt x="941" y="755"/>
                    <a:pt x="941" y="755"/>
                  </a:cubicBezTo>
                  <a:cubicBezTo>
                    <a:pt x="941" y="756"/>
                    <a:pt x="941" y="757"/>
                    <a:pt x="940" y="758"/>
                  </a:cubicBezTo>
                  <a:cubicBezTo>
                    <a:pt x="940" y="758"/>
                    <a:pt x="940" y="758"/>
                    <a:pt x="940" y="758"/>
                  </a:cubicBezTo>
                  <a:cubicBezTo>
                    <a:pt x="940" y="759"/>
                    <a:pt x="940" y="759"/>
                    <a:pt x="940" y="759"/>
                  </a:cubicBezTo>
                  <a:cubicBezTo>
                    <a:pt x="940" y="759"/>
                    <a:pt x="939" y="759"/>
                    <a:pt x="939" y="759"/>
                  </a:cubicBezTo>
                  <a:cubicBezTo>
                    <a:pt x="939" y="759"/>
                    <a:pt x="939" y="759"/>
                    <a:pt x="939" y="759"/>
                  </a:cubicBezTo>
                  <a:cubicBezTo>
                    <a:pt x="939" y="759"/>
                    <a:pt x="938" y="760"/>
                    <a:pt x="938" y="760"/>
                  </a:cubicBezTo>
                  <a:cubicBezTo>
                    <a:pt x="938" y="760"/>
                    <a:pt x="938" y="760"/>
                    <a:pt x="937" y="760"/>
                  </a:cubicBezTo>
                  <a:cubicBezTo>
                    <a:pt x="938" y="761"/>
                    <a:pt x="939" y="762"/>
                    <a:pt x="940" y="762"/>
                  </a:cubicBezTo>
                  <a:cubicBezTo>
                    <a:pt x="944" y="766"/>
                    <a:pt x="944" y="766"/>
                    <a:pt x="944" y="766"/>
                  </a:cubicBezTo>
                  <a:cubicBezTo>
                    <a:pt x="955" y="774"/>
                    <a:pt x="955" y="774"/>
                    <a:pt x="955" y="774"/>
                  </a:cubicBezTo>
                  <a:cubicBezTo>
                    <a:pt x="958" y="776"/>
                    <a:pt x="961" y="779"/>
                    <a:pt x="962" y="781"/>
                  </a:cubicBezTo>
                  <a:cubicBezTo>
                    <a:pt x="971" y="793"/>
                    <a:pt x="971" y="793"/>
                    <a:pt x="971" y="793"/>
                  </a:cubicBezTo>
                  <a:cubicBezTo>
                    <a:pt x="974" y="798"/>
                    <a:pt x="974" y="798"/>
                    <a:pt x="974" y="798"/>
                  </a:cubicBezTo>
                  <a:cubicBezTo>
                    <a:pt x="979" y="805"/>
                    <a:pt x="984" y="813"/>
                    <a:pt x="988" y="819"/>
                  </a:cubicBezTo>
                  <a:cubicBezTo>
                    <a:pt x="992" y="826"/>
                    <a:pt x="996" y="833"/>
                    <a:pt x="1001" y="839"/>
                  </a:cubicBezTo>
                  <a:cubicBezTo>
                    <a:pt x="1002" y="841"/>
                    <a:pt x="1002" y="841"/>
                    <a:pt x="1002" y="841"/>
                  </a:cubicBezTo>
                  <a:cubicBezTo>
                    <a:pt x="1002" y="840"/>
                    <a:pt x="1003" y="840"/>
                    <a:pt x="1003" y="839"/>
                  </a:cubicBezTo>
                  <a:cubicBezTo>
                    <a:pt x="1003" y="839"/>
                    <a:pt x="1003" y="839"/>
                    <a:pt x="1003" y="839"/>
                  </a:cubicBezTo>
                  <a:cubicBezTo>
                    <a:pt x="1004" y="839"/>
                    <a:pt x="1005" y="839"/>
                    <a:pt x="1006" y="838"/>
                  </a:cubicBezTo>
                  <a:cubicBezTo>
                    <a:pt x="1006" y="838"/>
                    <a:pt x="1006" y="838"/>
                    <a:pt x="1006" y="838"/>
                  </a:cubicBezTo>
                  <a:cubicBezTo>
                    <a:pt x="1007" y="838"/>
                    <a:pt x="1007" y="838"/>
                    <a:pt x="1007" y="838"/>
                  </a:cubicBezTo>
                  <a:cubicBezTo>
                    <a:pt x="1006" y="837"/>
                    <a:pt x="1006" y="837"/>
                    <a:pt x="1006" y="837"/>
                  </a:cubicBezTo>
                  <a:cubicBezTo>
                    <a:pt x="1006" y="837"/>
                    <a:pt x="1006" y="837"/>
                    <a:pt x="1006" y="837"/>
                  </a:cubicBezTo>
                  <a:cubicBezTo>
                    <a:pt x="1006" y="837"/>
                    <a:pt x="1006" y="836"/>
                    <a:pt x="1006" y="836"/>
                  </a:cubicBezTo>
                  <a:cubicBezTo>
                    <a:pt x="1006" y="835"/>
                    <a:pt x="1006" y="835"/>
                    <a:pt x="1006" y="835"/>
                  </a:cubicBezTo>
                  <a:cubicBezTo>
                    <a:pt x="1006" y="835"/>
                    <a:pt x="1006" y="835"/>
                    <a:pt x="1006" y="835"/>
                  </a:cubicBezTo>
                  <a:cubicBezTo>
                    <a:pt x="1006" y="835"/>
                    <a:pt x="1006" y="835"/>
                    <a:pt x="1006" y="834"/>
                  </a:cubicBezTo>
                  <a:cubicBezTo>
                    <a:pt x="1006" y="834"/>
                    <a:pt x="1006" y="834"/>
                    <a:pt x="1006" y="834"/>
                  </a:cubicBezTo>
                  <a:cubicBezTo>
                    <a:pt x="1006" y="833"/>
                    <a:pt x="1006" y="833"/>
                    <a:pt x="1006" y="833"/>
                  </a:cubicBezTo>
                  <a:cubicBezTo>
                    <a:pt x="1006" y="832"/>
                    <a:pt x="1007" y="832"/>
                    <a:pt x="1007" y="832"/>
                  </a:cubicBezTo>
                  <a:cubicBezTo>
                    <a:pt x="1008" y="831"/>
                    <a:pt x="1008" y="831"/>
                    <a:pt x="1009" y="831"/>
                  </a:cubicBezTo>
                  <a:cubicBezTo>
                    <a:pt x="1010" y="831"/>
                    <a:pt x="1010" y="831"/>
                    <a:pt x="1010" y="831"/>
                  </a:cubicBezTo>
                  <a:cubicBezTo>
                    <a:pt x="1010" y="831"/>
                    <a:pt x="1010" y="831"/>
                    <a:pt x="1010" y="831"/>
                  </a:cubicBezTo>
                  <a:cubicBezTo>
                    <a:pt x="1010" y="831"/>
                    <a:pt x="1010" y="831"/>
                    <a:pt x="1010" y="831"/>
                  </a:cubicBezTo>
                  <a:cubicBezTo>
                    <a:pt x="1010" y="831"/>
                    <a:pt x="1010" y="831"/>
                    <a:pt x="1010" y="831"/>
                  </a:cubicBezTo>
                  <a:cubicBezTo>
                    <a:pt x="1011" y="830"/>
                    <a:pt x="1012" y="828"/>
                    <a:pt x="1014" y="829"/>
                  </a:cubicBezTo>
                  <a:cubicBezTo>
                    <a:pt x="1021" y="831"/>
                    <a:pt x="1021" y="831"/>
                    <a:pt x="1021" y="831"/>
                  </a:cubicBezTo>
                  <a:cubicBezTo>
                    <a:pt x="1024" y="832"/>
                    <a:pt x="1024" y="833"/>
                    <a:pt x="1024" y="834"/>
                  </a:cubicBezTo>
                  <a:cubicBezTo>
                    <a:pt x="1024" y="836"/>
                    <a:pt x="1024" y="836"/>
                    <a:pt x="1024" y="836"/>
                  </a:cubicBezTo>
                  <a:cubicBezTo>
                    <a:pt x="1024" y="836"/>
                    <a:pt x="1023" y="837"/>
                    <a:pt x="1023" y="837"/>
                  </a:cubicBezTo>
                  <a:cubicBezTo>
                    <a:pt x="1023" y="837"/>
                    <a:pt x="1023" y="837"/>
                    <a:pt x="1023" y="838"/>
                  </a:cubicBezTo>
                  <a:cubicBezTo>
                    <a:pt x="1023" y="838"/>
                    <a:pt x="1023" y="838"/>
                    <a:pt x="1023" y="838"/>
                  </a:cubicBezTo>
                  <a:cubicBezTo>
                    <a:pt x="1024" y="838"/>
                    <a:pt x="1024" y="838"/>
                    <a:pt x="1024" y="838"/>
                  </a:cubicBezTo>
                  <a:cubicBezTo>
                    <a:pt x="1024" y="839"/>
                    <a:pt x="1025" y="839"/>
                    <a:pt x="1026" y="840"/>
                  </a:cubicBezTo>
                  <a:cubicBezTo>
                    <a:pt x="1026" y="840"/>
                    <a:pt x="1026" y="840"/>
                    <a:pt x="1026" y="840"/>
                  </a:cubicBezTo>
                  <a:cubicBezTo>
                    <a:pt x="1027" y="841"/>
                    <a:pt x="1028" y="842"/>
                    <a:pt x="1028" y="843"/>
                  </a:cubicBezTo>
                  <a:cubicBezTo>
                    <a:pt x="1029" y="843"/>
                    <a:pt x="1029" y="843"/>
                    <a:pt x="1029" y="843"/>
                  </a:cubicBezTo>
                  <a:cubicBezTo>
                    <a:pt x="1030" y="843"/>
                    <a:pt x="1030" y="843"/>
                    <a:pt x="1030" y="843"/>
                  </a:cubicBezTo>
                  <a:cubicBezTo>
                    <a:pt x="1030" y="843"/>
                    <a:pt x="1030" y="843"/>
                    <a:pt x="1031" y="843"/>
                  </a:cubicBezTo>
                  <a:cubicBezTo>
                    <a:pt x="1031" y="843"/>
                    <a:pt x="1031" y="843"/>
                    <a:pt x="1031" y="843"/>
                  </a:cubicBezTo>
                  <a:cubicBezTo>
                    <a:pt x="1032" y="843"/>
                    <a:pt x="1032" y="843"/>
                    <a:pt x="1032" y="843"/>
                  </a:cubicBezTo>
                  <a:cubicBezTo>
                    <a:pt x="1032" y="843"/>
                    <a:pt x="1032" y="843"/>
                    <a:pt x="1032" y="843"/>
                  </a:cubicBezTo>
                  <a:cubicBezTo>
                    <a:pt x="1034" y="842"/>
                    <a:pt x="1035" y="842"/>
                    <a:pt x="1037" y="842"/>
                  </a:cubicBezTo>
                  <a:cubicBezTo>
                    <a:pt x="1047" y="843"/>
                    <a:pt x="1047" y="843"/>
                    <a:pt x="1047" y="843"/>
                  </a:cubicBezTo>
                  <a:cubicBezTo>
                    <a:pt x="1048" y="843"/>
                    <a:pt x="1048" y="843"/>
                    <a:pt x="1048" y="843"/>
                  </a:cubicBezTo>
                  <a:cubicBezTo>
                    <a:pt x="1048" y="843"/>
                    <a:pt x="1048" y="843"/>
                    <a:pt x="1049" y="842"/>
                  </a:cubicBezTo>
                  <a:cubicBezTo>
                    <a:pt x="1049" y="842"/>
                    <a:pt x="1049" y="842"/>
                    <a:pt x="1049" y="842"/>
                  </a:cubicBezTo>
                  <a:cubicBezTo>
                    <a:pt x="1050" y="842"/>
                    <a:pt x="1050" y="842"/>
                    <a:pt x="1050" y="842"/>
                  </a:cubicBezTo>
                  <a:cubicBezTo>
                    <a:pt x="1050" y="841"/>
                    <a:pt x="1050" y="841"/>
                    <a:pt x="1050" y="841"/>
                  </a:cubicBezTo>
                  <a:cubicBezTo>
                    <a:pt x="1050" y="840"/>
                    <a:pt x="1051" y="839"/>
                    <a:pt x="1052" y="839"/>
                  </a:cubicBezTo>
                  <a:cubicBezTo>
                    <a:pt x="1053" y="838"/>
                    <a:pt x="1053" y="838"/>
                    <a:pt x="1053" y="838"/>
                  </a:cubicBezTo>
                  <a:cubicBezTo>
                    <a:pt x="1059" y="837"/>
                    <a:pt x="1059" y="837"/>
                    <a:pt x="1059" y="837"/>
                  </a:cubicBezTo>
                  <a:cubicBezTo>
                    <a:pt x="1060" y="836"/>
                    <a:pt x="1060" y="836"/>
                    <a:pt x="1060" y="836"/>
                  </a:cubicBezTo>
                  <a:cubicBezTo>
                    <a:pt x="1061" y="836"/>
                    <a:pt x="1061" y="836"/>
                    <a:pt x="1061" y="836"/>
                  </a:cubicBezTo>
                  <a:cubicBezTo>
                    <a:pt x="1070" y="838"/>
                    <a:pt x="1070" y="838"/>
                    <a:pt x="1070" y="838"/>
                  </a:cubicBezTo>
                  <a:cubicBezTo>
                    <a:pt x="1070" y="839"/>
                    <a:pt x="1071" y="839"/>
                    <a:pt x="1072" y="839"/>
                  </a:cubicBezTo>
                  <a:cubicBezTo>
                    <a:pt x="1073" y="839"/>
                    <a:pt x="1074" y="840"/>
                    <a:pt x="1075" y="840"/>
                  </a:cubicBezTo>
                  <a:cubicBezTo>
                    <a:pt x="1075" y="840"/>
                    <a:pt x="1075" y="840"/>
                    <a:pt x="1075" y="840"/>
                  </a:cubicBezTo>
                  <a:cubicBezTo>
                    <a:pt x="1076" y="841"/>
                    <a:pt x="1076" y="841"/>
                    <a:pt x="1076" y="841"/>
                  </a:cubicBezTo>
                  <a:cubicBezTo>
                    <a:pt x="1077" y="843"/>
                    <a:pt x="1077" y="843"/>
                    <a:pt x="1077" y="843"/>
                  </a:cubicBezTo>
                  <a:cubicBezTo>
                    <a:pt x="1079" y="846"/>
                    <a:pt x="1079" y="846"/>
                    <a:pt x="1079" y="846"/>
                  </a:cubicBezTo>
                  <a:cubicBezTo>
                    <a:pt x="1080" y="847"/>
                    <a:pt x="1081" y="849"/>
                    <a:pt x="1082" y="850"/>
                  </a:cubicBezTo>
                  <a:cubicBezTo>
                    <a:pt x="1082" y="851"/>
                    <a:pt x="1082" y="851"/>
                    <a:pt x="1082" y="851"/>
                  </a:cubicBezTo>
                  <a:cubicBezTo>
                    <a:pt x="1082" y="852"/>
                    <a:pt x="1082" y="853"/>
                    <a:pt x="1083" y="853"/>
                  </a:cubicBezTo>
                  <a:cubicBezTo>
                    <a:pt x="1083" y="854"/>
                    <a:pt x="1083" y="854"/>
                    <a:pt x="1083" y="854"/>
                  </a:cubicBezTo>
                  <a:cubicBezTo>
                    <a:pt x="1083" y="854"/>
                    <a:pt x="1083" y="854"/>
                    <a:pt x="1083" y="855"/>
                  </a:cubicBezTo>
                  <a:cubicBezTo>
                    <a:pt x="1083" y="855"/>
                    <a:pt x="1083" y="855"/>
                    <a:pt x="1083" y="855"/>
                  </a:cubicBezTo>
                  <a:cubicBezTo>
                    <a:pt x="1085" y="855"/>
                    <a:pt x="1085" y="855"/>
                    <a:pt x="1085" y="855"/>
                  </a:cubicBezTo>
                  <a:cubicBezTo>
                    <a:pt x="1086" y="855"/>
                    <a:pt x="1086" y="855"/>
                    <a:pt x="1086" y="855"/>
                  </a:cubicBezTo>
                  <a:cubicBezTo>
                    <a:pt x="1098" y="862"/>
                    <a:pt x="1098" y="862"/>
                    <a:pt x="1098" y="862"/>
                  </a:cubicBezTo>
                  <a:cubicBezTo>
                    <a:pt x="1098" y="863"/>
                    <a:pt x="1098" y="863"/>
                    <a:pt x="1098" y="863"/>
                  </a:cubicBezTo>
                  <a:cubicBezTo>
                    <a:pt x="1098" y="863"/>
                    <a:pt x="1098" y="863"/>
                    <a:pt x="1098" y="863"/>
                  </a:cubicBezTo>
                  <a:cubicBezTo>
                    <a:pt x="1102" y="863"/>
                    <a:pt x="1102" y="863"/>
                    <a:pt x="1102" y="863"/>
                  </a:cubicBezTo>
                  <a:cubicBezTo>
                    <a:pt x="1098" y="864"/>
                    <a:pt x="1098" y="864"/>
                    <a:pt x="1098" y="864"/>
                  </a:cubicBezTo>
                  <a:cubicBezTo>
                    <a:pt x="1098" y="864"/>
                    <a:pt x="1098" y="865"/>
                    <a:pt x="1098" y="865"/>
                  </a:cubicBezTo>
                  <a:cubicBezTo>
                    <a:pt x="1098" y="865"/>
                    <a:pt x="1098" y="865"/>
                    <a:pt x="1098" y="865"/>
                  </a:cubicBezTo>
                  <a:cubicBezTo>
                    <a:pt x="1098" y="865"/>
                    <a:pt x="1098" y="865"/>
                    <a:pt x="1099" y="866"/>
                  </a:cubicBezTo>
                  <a:cubicBezTo>
                    <a:pt x="1099" y="867"/>
                    <a:pt x="1099" y="867"/>
                    <a:pt x="1099" y="867"/>
                  </a:cubicBezTo>
                  <a:cubicBezTo>
                    <a:pt x="1099" y="867"/>
                    <a:pt x="1099" y="867"/>
                    <a:pt x="1099" y="867"/>
                  </a:cubicBezTo>
                  <a:cubicBezTo>
                    <a:pt x="1100" y="868"/>
                    <a:pt x="1100" y="868"/>
                    <a:pt x="1100" y="868"/>
                  </a:cubicBezTo>
                  <a:cubicBezTo>
                    <a:pt x="1100" y="868"/>
                    <a:pt x="1100" y="868"/>
                    <a:pt x="1100" y="868"/>
                  </a:cubicBezTo>
                  <a:cubicBezTo>
                    <a:pt x="1100" y="868"/>
                    <a:pt x="1100" y="868"/>
                    <a:pt x="1100" y="868"/>
                  </a:cubicBezTo>
                  <a:cubicBezTo>
                    <a:pt x="1100" y="869"/>
                    <a:pt x="1101" y="869"/>
                    <a:pt x="1101" y="870"/>
                  </a:cubicBezTo>
                  <a:cubicBezTo>
                    <a:pt x="1101" y="871"/>
                    <a:pt x="1101" y="871"/>
                    <a:pt x="1101" y="871"/>
                  </a:cubicBezTo>
                  <a:cubicBezTo>
                    <a:pt x="1101" y="871"/>
                    <a:pt x="1101" y="871"/>
                    <a:pt x="1101" y="871"/>
                  </a:cubicBezTo>
                  <a:cubicBezTo>
                    <a:pt x="1104" y="870"/>
                    <a:pt x="1104" y="870"/>
                    <a:pt x="1104" y="870"/>
                  </a:cubicBezTo>
                  <a:cubicBezTo>
                    <a:pt x="1103" y="872"/>
                    <a:pt x="1103" y="872"/>
                    <a:pt x="1103" y="872"/>
                  </a:cubicBezTo>
                  <a:cubicBezTo>
                    <a:pt x="1111" y="873"/>
                    <a:pt x="1111" y="873"/>
                    <a:pt x="1111" y="873"/>
                  </a:cubicBezTo>
                  <a:cubicBezTo>
                    <a:pt x="1112" y="872"/>
                    <a:pt x="1112" y="872"/>
                    <a:pt x="1112" y="872"/>
                  </a:cubicBezTo>
                  <a:cubicBezTo>
                    <a:pt x="1117" y="873"/>
                    <a:pt x="1117" y="873"/>
                    <a:pt x="1117" y="873"/>
                  </a:cubicBezTo>
                  <a:cubicBezTo>
                    <a:pt x="1116" y="874"/>
                    <a:pt x="1116" y="874"/>
                    <a:pt x="1116" y="874"/>
                  </a:cubicBezTo>
                  <a:cubicBezTo>
                    <a:pt x="1117" y="874"/>
                    <a:pt x="1117" y="874"/>
                    <a:pt x="1117" y="874"/>
                  </a:cubicBezTo>
                  <a:cubicBezTo>
                    <a:pt x="1119" y="872"/>
                    <a:pt x="1119" y="872"/>
                    <a:pt x="1119" y="872"/>
                  </a:cubicBezTo>
                  <a:cubicBezTo>
                    <a:pt x="1120" y="871"/>
                    <a:pt x="1121" y="870"/>
                    <a:pt x="1123" y="869"/>
                  </a:cubicBezTo>
                  <a:cubicBezTo>
                    <a:pt x="1128" y="863"/>
                    <a:pt x="1128" y="863"/>
                    <a:pt x="1128" y="863"/>
                  </a:cubicBezTo>
                  <a:cubicBezTo>
                    <a:pt x="1129" y="869"/>
                    <a:pt x="1129" y="869"/>
                    <a:pt x="1129" y="869"/>
                  </a:cubicBezTo>
                  <a:cubicBezTo>
                    <a:pt x="1129" y="869"/>
                    <a:pt x="1128" y="870"/>
                    <a:pt x="1128" y="871"/>
                  </a:cubicBezTo>
                  <a:cubicBezTo>
                    <a:pt x="1128" y="871"/>
                    <a:pt x="1128" y="872"/>
                    <a:pt x="1128" y="873"/>
                  </a:cubicBezTo>
                  <a:cubicBezTo>
                    <a:pt x="1128" y="873"/>
                    <a:pt x="1128" y="873"/>
                    <a:pt x="1128" y="873"/>
                  </a:cubicBezTo>
                  <a:cubicBezTo>
                    <a:pt x="1129" y="874"/>
                    <a:pt x="1129" y="874"/>
                    <a:pt x="1129" y="874"/>
                  </a:cubicBezTo>
                  <a:cubicBezTo>
                    <a:pt x="1132" y="876"/>
                    <a:pt x="1135" y="879"/>
                    <a:pt x="1138" y="882"/>
                  </a:cubicBezTo>
                  <a:cubicBezTo>
                    <a:pt x="1140" y="883"/>
                    <a:pt x="1140" y="883"/>
                    <a:pt x="1140" y="883"/>
                  </a:cubicBezTo>
                  <a:cubicBezTo>
                    <a:pt x="1141" y="883"/>
                    <a:pt x="1143" y="883"/>
                    <a:pt x="1143" y="883"/>
                  </a:cubicBezTo>
                  <a:cubicBezTo>
                    <a:pt x="1144" y="883"/>
                    <a:pt x="1145" y="883"/>
                    <a:pt x="1146" y="882"/>
                  </a:cubicBezTo>
                  <a:cubicBezTo>
                    <a:pt x="1146" y="882"/>
                    <a:pt x="1146" y="882"/>
                    <a:pt x="1146" y="882"/>
                  </a:cubicBezTo>
                  <a:cubicBezTo>
                    <a:pt x="1148" y="882"/>
                    <a:pt x="1148" y="882"/>
                    <a:pt x="1148" y="882"/>
                  </a:cubicBezTo>
                  <a:cubicBezTo>
                    <a:pt x="1154" y="880"/>
                    <a:pt x="1154" y="880"/>
                    <a:pt x="1154" y="880"/>
                  </a:cubicBezTo>
                  <a:cubicBezTo>
                    <a:pt x="1154" y="879"/>
                    <a:pt x="1154" y="879"/>
                    <a:pt x="1154" y="879"/>
                  </a:cubicBezTo>
                  <a:cubicBezTo>
                    <a:pt x="1154" y="877"/>
                    <a:pt x="1154" y="877"/>
                    <a:pt x="1154" y="877"/>
                  </a:cubicBezTo>
                  <a:cubicBezTo>
                    <a:pt x="1155" y="876"/>
                    <a:pt x="1155" y="876"/>
                    <a:pt x="1155" y="875"/>
                  </a:cubicBezTo>
                  <a:cubicBezTo>
                    <a:pt x="1156" y="875"/>
                    <a:pt x="1156" y="875"/>
                    <a:pt x="1156" y="875"/>
                  </a:cubicBezTo>
                  <a:cubicBezTo>
                    <a:pt x="1156" y="875"/>
                    <a:pt x="1156" y="875"/>
                    <a:pt x="1156" y="875"/>
                  </a:cubicBezTo>
                  <a:cubicBezTo>
                    <a:pt x="1157" y="874"/>
                    <a:pt x="1157" y="874"/>
                    <a:pt x="1157" y="874"/>
                  </a:cubicBezTo>
                  <a:cubicBezTo>
                    <a:pt x="1157" y="875"/>
                    <a:pt x="1157" y="875"/>
                    <a:pt x="1157" y="875"/>
                  </a:cubicBezTo>
                  <a:cubicBezTo>
                    <a:pt x="1157" y="875"/>
                    <a:pt x="1157" y="875"/>
                    <a:pt x="1157" y="874"/>
                  </a:cubicBezTo>
                  <a:cubicBezTo>
                    <a:pt x="1158" y="874"/>
                    <a:pt x="1158" y="874"/>
                    <a:pt x="1159" y="874"/>
                  </a:cubicBezTo>
                  <a:cubicBezTo>
                    <a:pt x="1159" y="874"/>
                    <a:pt x="1159" y="874"/>
                    <a:pt x="1159" y="874"/>
                  </a:cubicBezTo>
                  <a:cubicBezTo>
                    <a:pt x="1159" y="874"/>
                    <a:pt x="1159" y="874"/>
                    <a:pt x="1159" y="874"/>
                  </a:cubicBezTo>
                  <a:cubicBezTo>
                    <a:pt x="1159" y="874"/>
                    <a:pt x="1159" y="874"/>
                    <a:pt x="1159" y="874"/>
                  </a:cubicBezTo>
                  <a:cubicBezTo>
                    <a:pt x="1160" y="874"/>
                    <a:pt x="1160" y="874"/>
                    <a:pt x="1160" y="874"/>
                  </a:cubicBezTo>
                  <a:cubicBezTo>
                    <a:pt x="1161" y="874"/>
                    <a:pt x="1161" y="874"/>
                    <a:pt x="1161" y="874"/>
                  </a:cubicBezTo>
                  <a:cubicBezTo>
                    <a:pt x="1162" y="874"/>
                    <a:pt x="1163" y="874"/>
                    <a:pt x="1163" y="874"/>
                  </a:cubicBezTo>
                  <a:cubicBezTo>
                    <a:pt x="1164" y="874"/>
                    <a:pt x="1165" y="874"/>
                    <a:pt x="1166" y="874"/>
                  </a:cubicBezTo>
                  <a:cubicBezTo>
                    <a:pt x="1170" y="873"/>
                    <a:pt x="1170" y="873"/>
                    <a:pt x="1170" y="873"/>
                  </a:cubicBezTo>
                  <a:cubicBezTo>
                    <a:pt x="1174" y="873"/>
                    <a:pt x="1177" y="872"/>
                    <a:pt x="1181" y="870"/>
                  </a:cubicBezTo>
                  <a:cubicBezTo>
                    <a:pt x="1182" y="870"/>
                    <a:pt x="1182" y="870"/>
                    <a:pt x="1182" y="870"/>
                  </a:cubicBezTo>
                  <a:cubicBezTo>
                    <a:pt x="1182" y="870"/>
                    <a:pt x="1182" y="870"/>
                    <a:pt x="1182" y="870"/>
                  </a:cubicBezTo>
                  <a:cubicBezTo>
                    <a:pt x="1182" y="870"/>
                    <a:pt x="1182" y="870"/>
                    <a:pt x="1182" y="870"/>
                  </a:cubicBezTo>
                  <a:cubicBezTo>
                    <a:pt x="1182" y="869"/>
                    <a:pt x="1182" y="869"/>
                    <a:pt x="1182" y="869"/>
                  </a:cubicBezTo>
                  <a:cubicBezTo>
                    <a:pt x="1182" y="869"/>
                    <a:pt x="1182" y="869"/>
                    <a:pt x="1182" y="869"/>
                  </a:cubicBezTo>
                  <a:cubicBezTo>
                    <a:pt x="1181" y="866"/>
                    <a:pt x="1181" y="866"/>
                    <a:pt x="1181" y="866"/>
                  </a:cubicBezTo>
                  <a:cubicBezTo>
                    <a:pt x="1178" y="859"/>
                    <a:pt x="1178" y="859"/>
                    <a:pt x="1178" y="859"/>
                  </a:cubicBezTo>
                  <a:cubicBezTo>
                    <a:pt x="1184" y="863"/>
                    <a:pt x="1184" y="863"/>
                    <a:pt x="1184" y="863"/>
                  </a:cubicBezTo>
                  <a:cubicBezTo>
                    <a:pt x="1185" y="863"/>
                    <a:pt x="1187" y="863"/>
                    <a:pt x="1188" y="862"/>
                  </a:cubicBezTo>
                  <a:cubicBezTo>
                    <a:pt x="1188" y="862"/>
                    <a:pt x="1189" y="862"/>
                    <a:pt x="1189" y="862"/>
                  </a:cubicBezTo>
                  <a:cubicBezTo>
                    <a:pt x="1190" y="861"/>
                    <a:pt x="1190" y="861"/>
                    <a:pt x="1191" y="861"/>
                  </a:cubicBezTo>
                  <a:cubicBezTo>
                    <a:pt x="1192" y="861"/>
                    <a:pt x="1192" y="861"/>
                    <a:pt x="1192" y="861"/>
                  </a:cubicBezTo>
                  <a:cubicBezTo>
                    <a:pt x="1191" y="860"/>
                    <a:pt x="1191" y="860"/>
                    <a:pt x="1191" y="860"/>
                  </a:cubicBezTo>
                  <a:cubicBezTo>
                    <a:pt x="1192" y="859"/>
                    <a:pt x="1192" y="859"/>
                    <a:pt x="1192" y="859"/>
                  </a:cubicBezTo>
                  <a:cubicBezTo>
                    <a:pt x="1193" y="860"/>
                    <a:pt x="1193" y="860"/>
                    <a:pt x="1193" y="860"/>
                  </a:cubicBezTo>
                  <a:cubicBezTo>
                    <a:pt x="1194" y="859"/>
                    <a:pt x="1194" y="859"/>
                    <a:pt x="1194" y="859"/>
                  </a:cubicBezTo>
                  <a:cubicBezTo>
                    <a:pt x="1195" y="859"/>
                    <a:pt x="1195" y="858"/>
                    <a:pt x="1196" y="858"/>
                  </a:cubicBezTo>
                  <a:cubicBezTo>
                    <a:pt x="1199" y="856"/>
                    <a:pt x="1203" y="854"/>
                    <a:pt x="1206" y="852"/>
                  </a:cubicBezTo>
                  <a:cubicBezTo>
                    <a:pt x="1213" y="849"/>
                    <a:pt x="1213" y="849"/>
                    <a:pt x="1213" y="849"/>
                  </a:cubicBezTo>
                  <a:cubicBezTo>
                    <a:pt x="1215" y="848"/>
                    <a:pt x="1217" y="847"/>
                    <a:pt x="1219" y="847"/>
                  </a:cubicBezTo>
                  <a:cubicBezTo>
                    <a:pt x="1221" y="845"/>
                    <a:pt x="1221" y="845"/>
                    <a:pt x="1221" y="845"/>
                  </a:cubicBezTo>
                  <a:cubicBezTo>
                    <a:pt x="1223" y="844"/>
                    <a:pt x="1225" y="844"/>
                    <a:pt x="1227" y="844"/>
                  </a:cubicBezTo>
                  <a:cubicBezTo>
                    <a:pt x="1228" y="844"/>
                    <a:pt x="1228" y="844"/>
                    <a:pt x="1228" y="844"/>
                  </a:cubicBezTo>
                  <a:cubicBezTo>
                    <a:pt x="1229" y="844"/>
                    <a:pt x="1230" y="844"/>
                    <a:pt x="1230" y="844"/>
                  </a:cubicBezTo>
                  <a:cubicBezTo>
                    <a:pt x="1231" y="844"/>
                    <a:pt x="1231" y="844"/>
                    <a:pt x="1232" y="844"/>
                  </a:cubicBezTo>
                  <a:cubicBezTo>
                    <a:pt x="1232" y="844"/>
                    <a:pt x="1232" y="843"/>
                    <a:pt x="1232" y="843"/>
                  </a:cubicBezTo>
                  <a:cubicBezTo>
                    <a:pt x="1233" y="842"/>
                    <a:pt x="1233" y="842"/>
                    <a:pt x="1233" y="841"/>
                  </a:cubicBezTo>
                  <a:cubicBezTo>
                    <a:pt x="1234" y="840"/>
                    <a:pt x="1235" y="840"/>
                    <a:pt x="1236" y="840"/>
                  </a:cubicBezTo>
                  <a:cubicBezTo>
                    <a:pt x="1237" y="839"/>
                    <a:pt x="1238" y="840"/>
                    <a:pt x="1238" y="841"/>
                  </a:cubicBezTo>
                  <a:cubicBezTo>
                    <a:pt x="1239" y="841"/>
                    <a:pt x="1239" y="841"/>
                    <a:pt x="1239" y="841"/>
                  </a:cubicBezTo>
                  <a:cubicBezTo>
                    <a:pt x="1239" y="841"/>
                    <a:pt x="1240" y="841"/>
                    <a:pt x="1240" y="841"/>
                  </a:cubicBezTo>
                  <a:cubicBezTo>
                    <a:pt x="1241" y="841"/>
                    <a:pt x="1241" y="841"/>
                    <a:pt x="1241" y="841"/>
                  </a:cubicBezTo>
                  <a:cubicBezTo>
                    <a:pt x="1242" y="841"/>
                    <a:pt x="1243" y="841"/>
                    <a:pt x="1243" y="841"/>
                  </a:cubicBezTo>
                  <a:cubicBezTo>
                    <a:pt x="1244" y="841"/>
                    <a:pt x="1244" y="841"/>
                    <a:pt x="1244" y="841"/>
                  </a:cubicBezTo>
                  <a:cubicBezTo>
                    <a:pt x="1244" y="841"/>
                    <a:pt x="1245" y="841"/>
                    <a:pt x="1245" y="841"/>
                  </a:cubicBezTo>
                  <a:cubicBezTo>
                    <a:pt x="1246" y="841"/>
                    <a:pt x="1246" y="841"/>
                    <a:pt x="1246" y="841"/>
                  </a:cubicBezTo>
                  <a:cubicBezTo>
                    <a:pt x="1247" y="841"/>
                    <a:pt x="1248" y="842"/>
                    <a:pt x="1248" y="842"/>
                  </a:cubicBezTo>
                  <a:cubicBezTo>
                    <a:pt x="1249" y="843"/>
                    <a:pt x="1249" y="843"/>
                    <a:pt x="1250" y="843"/>
                  </a:cubicBezTo>
                  <a:cubicBezTo>
                    <a:pt x="1251" y="844"/>
                    <a:pt x="1251" y="844"/>
                    <a:pt x="1252" y="844"/>
                  </a:cubicBezTo>
                  <a:cubicBezTo>
                    <a:pt x="1253" y="845"/>
                    <a:pt x="1253" y="845"/>
                    <a:pt x="1254" y="845"/>
                  </a:cubicBezTo>
                  <a:cubicBezTo>
                    <a:pt x="1254" y="845"/>
                    <a:pt x="1254" y="845"/>
                    <a:pt x="1254" y="845"/>
                  </a:cubicBezTo>
                  <a:cubicBezTo>
                    <a:pt x="1255" y="845"/>
                    <a:pt x="1255" y="845"/>
                    <a:pt x="1255" y="845"/>
                  </a:cubicBezTo>
                  <a:cubicBezTo>
                    <a:pt x="1257" y="846"/>
                    <a:pt x="1259" y="846"/>
                    <a:pt x="1261" y="846"/>
                  </a:cubicBezTo>
                  <a:cubicBezTo>
                    <a:pt x="1269" y="847"/>
                    <a:pt x="1269" y="847"/>
                    <a:pt x="1269" y="847"/>
                  </a:cubicBezTo>
                  <a:cubicBezTo>
                    <a:pt x="1271" y="847"/>
                    <a:pt x="1271" y="847"/>
                    <a:pt x="1272" y="847"/>
                  </a:cubicBezTo>
                  <a:cubicBezTo>
                    <a:pt x="1273" y="848"/>
                    <a:pt x="1274" y="848"/>
                    <a:pt x="1275" y="850"/>
                  </a:cubicBezTo>
                  <a:cubicBezTo>
                    <a:pt x="1275" y="851"/>
                    <a:pt x="1276" y="853"/>
                    <a:pt x="1277" y="855"/>
                  </a:cubicBezTo>
                  <a:cubicBezTo>
                    <a:pt x="1277" y="855"/>
                    <a:pt x="1277" y="855"/>
                    <a:pt x="1277" y="855"/>
                  </a:cubicBezTo>
                  <a:cubicBezTo>
                    <a:pt x="1277" y="856"/>
                    <a:pt x="1278" y="857"/>
                    <a:pt x="1278" y="858"/>
                  </a:cubicBezTo>
                  <a:cubicBezTo>
                    <a:pt x="1278" y="859"/>
                    <a:pt x="1278" y="859"/>
                    <a:pt x="1278" y="859"/>
                  </a:cubicBezTo>
                  <a:cubicBezTo>
                    <a:pt x="1279" y="861"/>
                    <a:pt x="1279" y="861"/>
                    <a:pt x="1282" y="861"/>
                  </a:cubicBezTo>
                  <a:cubicBezTo>
                    <a:pt x="1293" y="863"/>
                    <a:pt x="1293" y="863"/>
                    <a:pt x="1293" y="863"/>
                  </a:cubicBezTo>
                  <a:cubicBezTo>
                    <a:pt x="1293" y="863"/>
                    <a:pt x="1294" y="863"/>
                    <a:pt x="1294" y="863"/>
                  </a:cubicBezTo>
                  <a:cubicBezTo>
                    <a:pt x="1295" y="863"/>
                    <a:pt x="1295" y="863"/>
                    <a:pt x="1295" y="863"/>
                  </a:cubicBezTo>
                  <a:cubicBezTo>
                    <a:pt x="1295" y="863"/>
                    <a:pt x="1296" y="863"/>
                    <a:pt x="1296" y="863"/>
                  </a:cubicBezTo>
                  <a:cubicBezTo>
                    <a:pt x="1296" y="863"/>
                    <a:pt x="1296" y="863"/>
                    <a:pt x="1296" y="863"/>
                  </a:cubicBezTo>
                  <a:cubicBezTo>
                    <a:pt x="1297" y="863"/>
                    <a:pt x="1297" y="863"/>
                    <a:pt x="1297" y="863"/>
                  </a:cubicBezTo>
                  <a:cubicBezTo>
                    <a:pt x="1299" y="862"/>
                    <a:pt x="1301" y="861"/>
                    <a:pt x="1303" y="861"/>
                  </a:cubicBezTo>
                  <a:cubicBezTo>
                    <a:pt x="1303" y="861"/>
                    <a:pt x="1303" y="861"/>
                    <a:pt x="1303" y="861"/>
                  </a:cubicBezTo>
                  <a:cubicBezTo>
                    <a:pt x="1304" y="861"/>
                    <a:pt x="1304" y="861"/>
                    <a:pt x="1304" y="861"/>
                  </a:cubicBezTo>
                  <a:cubicBezTo>
                    <a:pt x="1304" y="861"/>
                    <a:pt x="1305" y="861"/>
                    <a:pt x="1305" y="861"/>
                  </a:cubicBezTo>
                  <a:cubicBezTo>
                    <a:pt x="1306" y="861"/>
                    <a:pt x="1306" y="861"/>
                    <a:pt x="1307" y="861"/>
                  </a:cubicBezTo>
                  <a:cubicBezTo>
                    <a:pt x="1309" y="862"/>
                    <a:pt x="1310" y="862"/>
                    <a:pt x="1311" y="862"/>
                  </a:cubicBezTo>
                  <a:cubicBezTo>
                    <a:pt x="1311" y="862"/>
                    <a:pt x="1311" y="862"/>
                    <a:pt x="1311" y="862"/>
                  </a:cubicBezTo>
                  <a:cubicBezTo>
                    <a:pt x="1313" y="863"/>
                    <a:pt x="1314" y="863"/>
                    <a:pt x="1315" y="863"/>
                  </a:cubicBezTo>
                  <a:cubicBezTo>
                    <a:pt x="1315" y="864"/>
                    <a:pt x="1316" y="864"/>
                    <a:pt x="1316" y="864"/>
                  </a:cubicBezTo>
                  <a:cubicBezTo>
                    <a:pt x="1319" y="864"/>
                    <a:pt x="1319" y="864"/>
                    <a:pt x="1319" y="864"/>
                  </a:cubicBezTo>
                  <a:cubicBezTo>
                    <a:pt x="1321" y="865"/>
                    <a:pt x="1322" y="865"/>
                    <a:pt x="1324" y="865"/>
                  </a:cubicBezTo>
                  <a:cubicBezTo>
                    <a:pt x="1325" y="866"/>
                    <a:pt x="1326" y="866"/>
                    <a:pt x="1327" y="866"/>
                  </a:cubicBezTo>
                  <a:cubicBezTo>
                    <a:pt x="1327" y="867"/>
                    <a:pt x="1327" y="867"/>
                    <a:pt x="1327" y="867"/>
                  </a:cubicBezTo>
                  <a:cubicBezTo>
                    <a:pt x="1329" y="867"/>
                    <a:pt x="1330" y="868"/>
                    <a:pt x="1331" y="867"/>
                  </a:cubicBezTo>
                  <a:cubicBezTo>
                    <a:pt x="1331" y="867"/>
                    <a:pt x="1332" y="867"/>
                    <a:pt x="1332" y="866"/>
                  </a:cubicBezTo>
                  <a:cubicBezTo>
                    <a:pt x="1333" y="865"/>
                    <a:pt x="1333" y="865"/>
                    <a:pt x="1333" y="865"/>
                  </a:cubicBezTo>
                  <a:cubicBezTo>
                    <a:pt x="1333" y="864"/>
                    <a:pt x="1334" y="864"/>
                    <a:pt x="1334" y="864"/>
                  </a:cubicBezTo>
                  <a:cubicBezTo>
                    <a:pt x="1334" y="864"/>
                    <a:pt x="1335" y="863"/>
                    <a:pt x="1335" y="863"/>
                  </a:cubicBezTo>
                  <a:cubicBezTo>
                    <a:pt x="1335" y="863"/>
                    <a:pt x="1335" y="863"/>
                    <a:pt x="1336" y="863"/>
                  </a:cubicBezTo>
                  <a:cubicBezTo>
                    <a:pt x="1336" y="863"/>
                    <a:pt x="1336" y="863"/>
                    <a:pt x="1336" y="863"/>
                  </a:cubicBezTo>
                  <a:cubicBezTo>
                    <a:pt x="1337" y="863"/>
                    <a:pt x="1337" y="862"/>
                    <a:pt x="1337" y="862"/>
                  </a:cubicBezTo>
                  <a:cubicBezTo>
                    <a:pt x="1338" y="862"/>
                    <a:pt x="1339" y="862"/>
                    <a:pt x="1339" y="862"/>
                  </a:cubicBezTo>
                  <a:cubicBezTo>
                    <a:pt x="1342" y="861"/>
                    <a:pt x="1343" y="861"/>
                    <a:pt x="1344" y="860"/>
                  </a:cubicBezTo>
                  <a:cubicBezTo>
                    <a:pt x="1345" y="856"/>
                    <a:pt x="1345" y="856"/>
                    <a:pt x="1345" y="856"/>
                  </a:cubicBezTo>
                  <a:cubicBezTo>
                    <a:pt x="1345" y="855"/>
                    <a:pt x="1345" y="855"/>
                    <a:pt x="1345" y="854"/>
                  </a:cubicBezTo>
                  <a:cubicBezTo>
                    <a:pt x="1346" y="852"/>
                    <a:pt x="1346" y="852"/>
                    <a:pt x="1346" y="852"/>
                  </a:cubicBezTo>
                  <a:cubicBezTo>
                    <a:pt x="1346" y="852"/>
                    <a:pt x="1346" y="852"/>
                    <a:pt x="1346" y="852"/>
                  </a:cubicBezTo>
                  <a:cubicBezTo>
                    <a:pt x="1346" y="852"/>
                    <a:pt x="1346" y="852"/>
                    <a:pt x="1346" y="852"/>
                  </a:cubicBezTo>
                  <a:cubicBezTo>
                    <a:pt x="1345" y="851"/>
                    <a:pt x="1344" y="851"/>
                    <a:pt x="1343" y="850"/>
                  </a:cubicBezTo>
                  <a:cubicBezTo>
                    <a:pt x="1342" y="849"/>
                    <a:pt x="1341" y="847"/>
                    <a:pt x="1340" y="845"/>
                  </a:cubicBezTo>
                  <a:cubicBezTo>
                    <a:pt x="1339" y="842"/>
                    <a:pt x="1338" y="840"/>
                    <a:pt x="1339" y="838"/>
                  </a:cubicBezTo>
                  <a:cubicBezTo>
                    <a:pt x="1339" y="837"/>
                    <a:pt x="1339" y="837"/>
                    <a:pt x="1339" y="837"/>
                  </a:cubicBezTo>
                  <a:cubicBezTo>
                    <a:pt x="1339" y="836"/>
                    <a:pt x="1339" y="836"/>
                    <a:pt x="1339" y="835"/>
                  </a:cubicBezTo>
                  <a:cubicBezTo>
                    <a:pt x="1339" y="834"/>
                    <a:pt x="1339" y="834"/>
                    <a:pt x="1339" y="833"/>
                  </a:cubicBezTo>
                  <a:cubicBezTo>
                    <a:pt x="1339" y="833"/>
                    <a:pt x="1339" y="833"/>
                    <a:pt x="1340" y="832"/>
                  </a:cubicBezTo>
                  <a:cubicBezTo>
                    <a:pt x="1340" y="832"/>
                    <a:pt x="1340" y="832"/>
                    <a:pt x="1340" y="832"/>
                  </a:cubicBezTo>
                  <a:cubicBezTo>
                    <a:pt x="1340" y="830"/>
                    <a:pt x="1341" y="828"/>
                    <a:pt x="1342" y="827"/>
                  </a:cubicBezTo>
                  <a:cubicBezTo>
                    <a:pt x="1342" y="826"/>
                    <a:pt x="1342" y="826"/>
                    <a:pt x="1342" y="826"/>
                  </a:cubicBezTo>
                  <a:cubicBezTo>
                    <a:pt x="1343" y="825"/>
                    <a:pt x="1344" y="824"/>
                    <a:pt x="1345" y="824"/>
                  </a:cubicBezTo>
                  <a:cubicBezTo>
                    <a:pt x="1345" y="824"/>
                    <a:pt x="1345" y="824"/>
                    <a:pt x="1346" y="824"/>
                  </a:cubicBezTo>
                  <a:cubicBezTo>
                    <a:pt x="1346" y="824"/>
                    <a:pt x="1346" y="824"/>
                    <a:pt x="1346" y="824"/>
                  </a:cubicBezTo>
                  <a:cubicBezTo>
                    <a:pt x="1346" y="823"/>
                    <a:pt x="1346" y="822"/>
                    <a:pt x="1346" y="821"/>
                  </a:cubicBezTo>
                  <a:cubicBezTo>
                    <a:pt x="1346" y="821"/>
                    <a:pt x="1347" y="820"/>
                    <a:pt x="1347" y="820"/>
                  </a:cubicBezTo>
                  <a:cubicBezTo>
                    <a:pt x="1347" y="820"/>
                    <a:pt x="1347" y="819"/>
                    <a:pt x="1347" y="819"/>
                  </a:cubicBezTo>
                  <a:cubicBezTo>
                    <a:pt x="1348" y="819"/>
                    <a:pt x="1348" y="819"/>
                    <a:pt x="1348" y="819"/>
                  </a:cubicBezTo>
                  <a:cubicBezTo>
                    <a:pt x="1348" y="819"/>
                    <a:pt x="1348" y="819"/>
                    <a:pt x="1348" y="818"/>
                  </a:cubicBezTo>
                  <a:cubicBezTo>
                    <a:pt x="1348" y="818"/>
                    <a:pt x="1349" y="818"/>
                    <a:pt x="1349" y="817"/>
                  </a:cubicBezTo>
                  <a:cubicBezTo>
                    <a:pt x="1350" y="817"/>
                    <a:pt x="1350" y="817"/>
                    <a:pt x="1350" y="817"/>
                  </a:cubicBezTo>
                  <a:cubicBezTo>
                    <a:pt x="1351" y="815"/>
                    <a:pt x="1353" y="814"/>
                    <a:pt x="1355" y="812"/>
                  </a:cubicBezTo>
                  <a:cubicBezTo>
                    <a:pt x="1360" y="807"/>
                    <a:pt x="1360" y="807"/>
                    <a:pt x="1360" y="807"/>
                  </a:cubicBezTo>
                  <a:cubicBezTo>
                    <a:pt x="1363" y="808"/>
                    <a:pt x="1363" y="808"/>
                    <a:pt x="1363" y="808"/>
                  </a:cubicBezTo>
                  <a:cubicBezTo>
                    <a:pt x="1365" y="805"/>
                    <a:pt x="1365" y="805"/>
                    <a:pt x="1365" y="805"/>
                  </a:cubicBezTo>
                  <a:cubicBezTo>
                    <a:pt x="1364" y="809"/>
                    <a:pt x="1364" y="809"/>
                    <a:pt x="1364" y="809"/>
                  </a:cubicBezTo>
                  <a:cubicBezTo>
                    <a:pt x="1375" y="814"/>
                    <a:pt x="1375" y="814"/>
                    <a:pt x="1375" y="814"/>
                  </a:cubicBezTo>
                  <a:cubicBezTo>
                    <a:pt x="1380" y="817"/>
                    <a:pt x="1383" y="817"/>
                    <a:pt x="1389" y="818"/>
                  </a:cubicBezTo>
                  <a:cubicBezTo>
                    <a:pt x="1390" y="818"/>
                    <a:pt x="1390" y="818"/>
                    <a:pt x="1390" y="818"/>
                  </a:cubicBezTo>
                  <a:cubicBezTo>
                    <a:pt x="1390" y="818"/>
                    <a:pt x="1390" y="818"/>
                    <a:pt x="1390" y="818"/>
                  </a:cubicBezTo>
                  <a:cubicBezTo>
                    <a:pt x="1392" y="818"/>
                    <a:pt x="1392" y="818"/>
                    <a:pt x="1392" y="818"/>
                  </a:cubicBezTo>
                  <a:cubicBezTo>
                    <a:pt x="1392" y="818"/>
                    <a:pt x="1393" y="818"/>
                    <a:pt x="1393" y="819"/>
                  </a:cubicBezTo>
                  <a:cubicBezTo>
                    <a:pt x="1396" y="819"/>
                    <a:pt x="1399" y="820"/>
                    <a:pt x="1401" y="821"/>
                  </a:cubicBezTo>
                  <a:cubicBezTo>
                    <a:pt x="1403" y="822"/>
                    <a:pt x="1405" y="823"/>
                    <a:pt x="1407" y="824"/>
                  </a:cubicBezTo>
                  <a:cubicBezTo>
                    <a:pt x="1417" y="826"/>
                    <a:pt x="1417" y="826"/>
                    <a:pt x="1417" y="826"/>
                  </a:cubicBezTo>
                  <a:cubicBezTo>
                    <a:pt x="1418" y="826"/>
                    <a:pt x="1418" y="826"/>
                    <a:pt x="1418" y="827"/>
                  </a:cubicBezTo>
                  <a:cubicBezTo>
                    <a:pt x="1423" y="828"/>
                    <a:pt x="1425" y="828"/>
                    <a:pt x="1425" y="829"/>
                  </a:cubicBezTo>
                  <a:cubicBezTo>
                    <a:pt x="1425" y="829"/>
                    <a:pt x="1425" y="830"/>
                    <a:pt x="1426" y="830"/>
                  </a:cubicBezTo>
                  <a:cubicBezTo>
                    <a:pt x="1426" y="832"/>
                    <a:pt x="1425" y="833"/>
                    <a:pt x="1425" y="833"/>
                  </a:cubicBezTo>
                  <a:cubicBezTo>
                    <a:pt x="1425" y="833"/>
                    <a:pt x="1425" y="833"/>
                    <a:pt x="1425" y="833"/>
                  </a:cubicBezTo>
                  <a:cubicBezTo>
                    <a:pt x="1425" y="834"/>
                    <a:pt x="1425" y="835"/>
                    <a:pt x="1425" y="836"/>
                  </a:cubicBezTo>
                  <a:cubicBezTo>
                    <a:pt x="1425" y="837"/>
                    <a:pt x="1425" y="838"/>
                    <a:pt x="1425" y="839"/>
                  </a:cubicBezTo>
                  <a:cubicBezTo>
                    <a:pt x="1425" y="839"/>
                    <a:pt x="1425" y="840"/>
                    <a:pt x="1426" y="841"/>
                  </a:cubicBezTo>
                  <a:cubicBezTo>
                    <a:pt x="1426" y="843"/>
                    <a:pt x="1426" y="843"/>
                    <a:pt x="1426" y="843"/>
                  </a:cubicBezTo>
                  <a:cubicBezTo>
                    <a:pt x="1426" y="844"/>
                    <a:pt x="1426" y="845"/>
                    <a:pt x="1427" y="846"/>
                  </a:cubicBezTo>
                  <a:cubicBezTo>
                    <a:pt x="1427" y="847"/>
                    <a:pt x="1427" y="847"/>
                    <a:pt x="1427" y="847"/>
                  </a:cubicBezTo>
                  <a:cubicBezTo>
                    <a:pt x="1428" y="848"/>
                    <a:pt x="1428" y="848"/>
                    <a:pt x="1428" y="848"/>
                  </a:cubicBezTo>
                  <a:cubicBezTo>
                    <a:pt x="1428" y="849"/>
                    <a:pt x="1429" y="849"/>
                    <a:pt x="1430" y="850"/>
                  </a:cubicBezTo>
                  <a:cubicBezTo>
                    <a:pt x="1431" y="851"/>
                    <a:pt x="1433" y="851"/>
                    <a:pt x="1434" y="852"/>
                  </a:cubicBezTo>
                  <a:cubicBezTo>
                    <a:pt x="1456" y="857"/>
                    <a:pt x="1456" y="857"/>
                    <a:pt x="1456" y="857"/>
                  </a:cubicBezTo>
                  <a:cubicBezTo>
                    <a:pt x="1456" y="857"/>
                    <a:pt x="1457" y="857"/>
                    <a:pt x="1457" y="857"/>
                  </a:cubicBezTo>
                  <a:cubicBezTo>
                    <a:pt x="1457" y="857"/>
                    <a:pt x="1457" y="857"/>
                    <a:pt x="1457" y="857"/>
                  </a:cubicBezTo>
                  <a:cubicBezTo>
                    <a:pt x="1458" y="857"/>
                    <a:pt x="1458" y="857"/>
                    <a:pt x="1458" y="857"/>
                  </a:cubicBezTo>
                  <a:cubicBezTo>
                    <a:pt x="1458" y="857"/>
                    <a:pt x="1459" y="857"/>
                    <a:pt x="1459" y="857"/>
                  </a:cubicBezTo>
                  <a:cubicBezTo>
                    <a:pt x="1459" y="857"/>
                    <a:pt x="1459" y="857"/>
                    <a:pt x="1459" y="857"/>
                  </a:cubicBezTo>
                  <a:cubicBezTo>
                    <a:pt x="1460" y="857"/>
                    <a:pt x="1460" y="856"/>
                    <a:pt x="1461" y="856"/>
                  </a:cubicBezTo>
                  <a:cubicBezTo>
                    <a:pt x="1461" y="856"/>
                    <a:pt x="1461" y="856"/>
                    <a:pt x="1461" y="856"/>
                  </a:cubicBezTo>
                  <a:cubicBezTo>
                    <a:pt x="1462" y="855"/>
                    <a:pt x="1462" y="855"/>
                    <a:pt x="1463" y="855"/>
                  </a:cubicBezTo>
                  <a:cubicBezTo>
                    <a:pt x="1464" y="854"/>
                    <a:pt x="1464" y="854"/>
                    <a:pt x="1464" y="854"/>
                  </a:cubicBezTo>
                  <a:cubicBezTo>
                    <a:pt x="1464" y="854"/>
                    <a:pt x="1464" y="854"/>
                    <a:pt x="1465" y="854"/>
                  </a:cubicBezTo>
                  <a:cubicBezTo>
                    <a:pt x="1468" y="852"/>
                    <a:pt x="1471" y="852"/>
                    <a:pt x="1474" y="851"/>
                  </a:cubicBezTo>
                  <a:cubicBezTo>
                    <a:pt x="1478" y="850"/>
                    <a:pt x="1481" y="849"/>
                    <a:pt x="1484" y="850"/>
                  </a:cubicBezTo>
                  <a:cubicBezTo>
                    <a:pt x="1486" y="850"/>
                    <a:pt x="1488" y="850"/>
                    <a:pt x="1489" y="850"/>
                  </a:cubicBezTo>
                  <a:cubicBezTo>
                    <a:pt x="1492" y="850"/>
                    <a:pt x="1495" y="851"/>
                    <a:pt x="1497" y="852"/>
                  </a:cubicBezTo>
                  <a:cubicBezTo>
                    <a:pt x="1498" y="852"/>
                    <a:pt x="1498" y="853"/>
                    <a:pt x="1499" y="853"/>
                  </a:cubicBezTo>
                  <a:cubicBezTo>
                    <a:pt x="1504" y="853"/>
                    <a:pt x="1504" y="853"/>
                    <a:pt x="1504" y="853"/>
                  </a:cubicBezTo>
                  <a:cubicBezTo>
                    <a:pt x="1505" y="853"/>
                    <a:pt x="1505" y="853"/>
                    <a:pt x="1506" y="853"/>
                  </a:cubicBezTo>
                  <a:cubicBezTo>
                    <a:pt x="1507" y="853"/>
                    <a:pt x="1507" y="853"/>
                    <a:pt x="1507" y="853"/>
                  </a:cubicBezTo>
                  <a:cubicBezTo>
                    <a:pt x="1507" y="853"/>
                    <a:pt x="1507" y="853"/>
                    <a:pt x="1507" y="853"/>
                  </a:cubicBezTo>
                  <a:cubicBezTo>
                    <a:pt x="1508" y="853"/>
                    <a:pt x="1508" y="853"/>
                    <a:pt x="1508" y="853"/>
                  </a:cubicBezTo>
                  <a:cubicBezTo>
                    <a:pt x="1509" y="853"/>
                    <a:pt x="1510" y="853"/>
                    <a:pt x="1511" y="854"/>
                  </a:cubicBezTo>
                  <a:cubicBezTo>
                    <a:pt x="1514" y="855"/>
                    <a:pt x="1516" y="856"/>
                    <a:pt x="1517" y="858"/>
                  </a:cubicBezTo>
                  <a:cubicBezTo>
                    <a:pt x="1519" y="860"/>
                    <a:pt x="1521" y="861"/>
                    <a:pt x="1524" y="862"/>
                  </a:cubicBezTo>
                  <a:cubicBezTo>
                    <a:pt x="1525" y="862"/>
                    <a:pt x="1525" y="862"/>
                    <a:pt x="1525" y="862"/>
                  </a:cubicBezTo>
                  <a:cubicBezTo>
                    <a:pt x="1526" y="862"/>
                    <a:pt x="1526" y="862"/>
                    <a:pt x="1527" y="862"/>
                  </a:cubicBezTo>
                  <a:cubicBezTo>
                    <a:pt x="1527" y="861"/>
                    <a:pt x="1527" y="861"/>
                    <a:pt x="1527" y="861"/>
                  </a:cubicBezTo>
                  <a:cubicBezTo>
                    <a:pt x="1532" y="862"/>
                    <a:pt x="1532" y="862"/>
                    <a:pt x="1532" y="862"/>
                  </a:cubicBezTo>
                  <a:cubicBezTo>
                    <a:pt x="1532" y="862"/>
                    <a:pt x="1532" y="862"/>
                    <a:pt x="1532" y="862"/>
                  </a:cubicBezTo>
                  <a:cubicBezTo>
                    <a:pt x="1532" y="863"/>
                    <a:pt x="1532" y="863"/>
                    <a:pt x="1533" y="863"/>
                  </a:cubicBezTo>
                  <a:cubicBezTo>
                    <a:pt x="1533" y="863"/>
                    <a:pt x="1533" y="863"/>
                    <a:pt x="1533" y="863"/>
                  </a:cubicBezTo>
                  <a:cubicBezTo>
                    <a:pt x="1534" y="863"/>
                    <a:pt x="1534" y="863"/>
                    <a:pt x="1534" y="863"/>
                  </a:cubicBezTo>
                  <a:cubicBezTo>
                    <a:pt x="1535" y="864"/>
                    <a:pt x="1535" y="864"/>
                    <a:pt x="1535" y="864"/>
                  </a:cubicBezTo>
                  <a:cubicBezTo>
                    <a:pt x="1536" y="867"/>
                    <a:pt x="1536" y="867"/>
                    <a:pt x="1536" y="867"/>
                  </a:cubicBezTo>
                  <a:cubicBezTo>
                    <a:pt x="1536" y="872"/>
                    <a:pt x="1536" y="872"/>
                    <a:pt x="1536" y="872"/>
                  </a:cubicBezTo>
                  <a:cubicBezTo>
                    <a:pt x="1544" y="878"/>
                    <a:pt x="1544" y="878"/>
                    <a:pt x="1544" y="878"/>
                  </a:cubicBezTo>
                  <a:cubicBezTo>
                    <a:pt x="1556" y="877"/>
                    <a:pt x="1556" y="877"/>
                    <a:pt x="1556" y="877"/>
                  </a:cubicBezTo>
                  <a:cubicBezTo>
                    <a:pt x="1560" y="878"/>
                    <a:pt x="1560" y="878"/>
                    <a:pt x="1560" y="878"/>
                  </a:cubicBezTo>
                  <a:cubicBezTo>
                    <a:pt x="1560" y="878"/>
                    <a:pt x="1560" y="878"/>
                    <a:pt x="1560" y="878"/>
                  </a:cubicBezTo>
                  <a:cubicBezTo>
                    <a:pt x="1561" y="878"/>
                    <a:pt x="1561" y="878"/>
                    <a:pt x="1561" y="878"/>
                  </a:cubicBezTo>
                  <a:cubicBezTo>
                    <a:pt x="1587" y="882"/>
                    <a:pt x="1587" y="882"/>
                    <a:pt x="1587" y="882"/>
                  </a:cubicBezTo>
                  <a:cubicBezTo>
                    <a:pt x="1587" y="882"/>
                    <a:pt x="1588" y="882"/>
                    <a:pt x="1588" y="882"/>
                  </a:cubicBezTo>
                  <a:cubicBezTo>
                    <a:pt x="1611" y="875"/>
                    <a:pt x="1611" y="875"/>
                    <a:pt x="1611" y="875"/>
                  </a:cubicBezTo>
                  <a:cubicBezTo>
                    <a:pt x="1625" y="873"/>
                    <a:pt x="1625" y="873"/>
                    <a:pt x="1625" y="873"/>
                  </a:cubicBezTo>
                  <a:cubicBezTo>
                    <a:pt x="1625" y="873"/>
                    <a:pt x="1625" y="873"/>
                    <a:pt x="1626" y="873"/>
                  </a:cubicBezTo>
                  <a:cubicBezTo>
                    <a:pt x="1634" y="864"/>
                    <a:pt x="1634" y="864"/>
                    <a:pt x="1634" y="864"/>
                  </a:cubicBezTo>
                  <a:cubicBezTo>
                    <a:pt x="1638" y="861"/>
                    <a:pt x="1638" y="861"/>
                    <a:pt x="1638" y="861"/>
                  </a:cubicBezTo>
                  <a:cubicBezTo>
                    <a:pt x="1641" y="860"/>
                    <a:pt x="1641" y="860"/>
                    <a:pt x="1641" y="860"/>
                  </a:cubicBezTo>
                  <a:cubicBezTo>
                    <a:pt x="1642" y="860"/>
                    <a:pt x="1642" y="859"/>
                    <a:pt x="1643" y="859"/>
                  </a:cubicBezTo>
                  <a:cubicBezTo>
                    <a:pt x="1643" y="859"/>
                    <a:pt x="1643" y="859"/>
                    <a:pt x="1643" y="859"/>
                  </a:cubicBezTo>
                  <a:cubicBezTo>
                    <a:pt x="1644" y="858"/>
                    <a:pt x="1644" y="858"/>
                    <a:pt x="1645" y="858"/>
                  </a:cubicBezTo>
                  <a:cubicBezTo>
                    <a:pt x="1646" y="857"/>
                    <a:pt x="1648" y="856"/>
                    <a:pt x="1650" y="856"/>
                  </a:cubicBezTo>
                  <a:cubicBezTo>
                    <a:pt x="1650" y="855"/>
                    <a:pt x="1650" y="855"/>
                    <a:pt x="1650" y="855"/>
                  </a:cubicBezTo>
                  <a:cubicBezTo>
                    <a:pt x="1651" y="855"/>
                    <a:pt x="1652" y="855"/>
                    <a:pt x="1653" y="855"/>
                  </a:cubicBezTo>
                  <a:cubicBezTo>
                    <a:pt x="1654" y="855"/>
                    <a:pt x="1654" y="855"/>
                    <a:pt x="1654" y="855"/>
                  </a:cubicBezTo>
                  <a:cubicBezTo>
                    <a:pt x="1657" y="855"/>
                    <a:pt x="1659" y="855"/>
                    <a:pt x="1661" y="855"/>
                  </a:cubicBezTo>
                  <a:cubicBezTo>
                    <a:pt x="1664" y="855"/>
                    <a:pt x="1664" y="855"/>
                    <a:pt x="1664" y="855"/>
                  </a:cubicBezTo>
                  <a:cubicBezTo>
                    <a:pt x="1676" y="863"/>
                    <a:pt x="1676" y="863"/>
                    <a:pt x="1676" y="863"/>
                  </a:cubicBezTo>
                  <a:cubicBezTo>
                    <a:pt x="1677" y="863"/>
                    <a:pt x="1677" y="864"/>
                    <a:pt x="1677" y="864"/>
                  </a:cubicBezTo>
                  <a:cubicBezTo>
                    <a:pt x="1677" y="864"/>
                    <a:pt x="1677" y="864"/>
                    <a:pt x="1677" y="864"/>
                  </a:cubicBezTo>
                  <a:cubicBezTo>
                    <a:pt x="1677" y="864"/>
                    <a:pt x="1677" y="864"/>
                    <a:pt x="1677" y="864"/>
                  </a:cubicBezTo>
                  <a:cubicBezTo>
                    <a:pt x="1677" y="864"/>
                    <a:pt x="1677" y="864"/>
                    <a:pt x="1677" y="864"/>
                  </a:cubicBezTo>
                  <a:cubicBezTo>
                    <a:pt x="1690" y="860"/>
                    <a:pt x="1690" y="860"/>
                    <a:pt x="1690" y="860"/>
                  </a:cubicBezTo>
                  <a:cubicBezTo>
                    <a:pt x="1691" y="861"/>
                    <a:pt x="1691" y="861"/>
                    <a:pt x="1691" y="861"/>
                  </a:cubicBezTo>
                  <a:cubicBezTo>
                    <a:pt x="1693" y="861"/>
                    <a:pt x="1695" y="862"/>
                    <a:pt x="1697" y="864"/>
                  </a:cubicBezTo>
                  <a:cubicBezTo>
                    <a:pt x="1698" y="864"/>
                    <a:pt x="1698" y="864"/>
                    <a:pt x="1698" y="864"/>
                  </a:cubicBezTo>
                  <a:cubicBezTo>
                    <a:pt x="1698" y="865"/>
                    <a:pt x="1699" y="865"/>
                    <a:pt x="1699" y="865"/>
                  </a:cubicBezTo>
                  <a:cubicBezTo>
                    <a:pt x="1699" y="865"/>
                    <a:pt x="1699" y="865"/>
                    <a:pt x="1699" y="865"/>
                  </a:cubicBezTo>
                  <a:cubicBezTo>
                    <a:pt x="1700" y="865"/>
                    <a:pt x="1700" y="866"/>
                    <a:pt x="1700" y="866"/>
                  </a:cubicBezTo>
                  <a:cubicBezTo>
                    <a:pt x="1702" y="866"/>
                    <a:pt x="1703" y="867"/>
                    <a:pt x="1704" y="867"/>
                  </a:cubicBezTo>
                  <a:cubicBezTo>
                    <a:pt x="1715" y="870"/>
                    <a:pt x="1715" y="870"/>
                    <a:pt x="1715" y="870"/>
                  </a:cubicBezTo>
                  <a:cubicBezTo>
                    <a:pt x="1715" y="870"/>
                    <a:pt x="1715" y="870"/>
                    <a:pt x="1715" y="870"/>
                  </a:cubicBezTo>
                  <a:cubicBezTo>
                    <a:pt x="1721" y="872"/>
                    <a:pt x="1721" y="872"/>
                    <a:pt x="1721" y="872"/>
                  </a:cubicBezTo>
                  <a:cubicBezTo>
                    <a:pt x="1727" y="868"/>
                    <a:pt x="1727" y="868"/>
                    <a:pt x="1727" y="868"/>
                  </a:cubicBezTo>
                  <a:cubicBezTo>
                    <a:pt x="1729" y="867"/>
                    <a:pt x="1731" y="864"/>
                    <a:pt x="1734" y="863"/>
                  </a:cubicBezTo>
                  <a:cubicBezTo>
                    <a:pt x="1734" y="863"/>
                    <a:pt x="1734" y="863"/>
                    <a:pt x="1734" y="863"/>
                  </a:cubicBezTo>
                  <a:cubicBezTo>
                    <a:pt x="1742" y="862"/>
                    <a:pt x="1742" y="862"/>
                    <a:pt x="1742" y="862"/>
                  </a:cubicBezTo>
                  <a:cubicBezTo>
                    <a:pt x="1747" y="859"/>
                    <a:pt x="1747" y="859"/>
                    <a:pt x="1747" y="859"/>
                  </a:cubicBezTo>
                  <a:cubicBezTo>
                    <a:pt x="1747" y="859"/>
                    <a:pt x="1747" y="859"/>
                    <a:pt x="1747" y="859"/>
                  </a:cubicBezTo>
                  <a:cubicBezTo>
                    <a:pt x="1747" y="858"/>
                    <a:pt x="1747" y="858"/>
                    <a:pt x="1747" y="857"/>
                  </a:cubicBezTo>
                  <a:cubicBezTo>
                    <a:pt x="1747" y="857"/>
                    <a:pt x="1747" y="857"/>
                    <a:pt x="1747" y="857"/>
                  </a:cubicBezTo>
                  <a:cubicBezTo>
                    <a:pt x="1747" y="854"/>
                    <a:pt x="1747" y="854"/>
                    <a:pt x="1747" y="854"/>
                  </a:cubicBezTo>
                  <a:cubicBezTo>
                    <a:pt x="1748" y="846"/>
                    <a:pt x="1748" y="846"/>
                    <a:pt x="1748" y="846"/>
                  </a:cubicBezTo>
                  <a:cubicBezTo>
                    <a:pt x="1751" y="840"/>
                    <a:pt x="1751" y="840"/>
                    <a:pt x="1751" y="840"/>
                  </a:cubicBezTo>
                  <a:cubicBezTo>
                    <a:pt x="1755" y="834"/>
                    <a:pt x="1755" y="834"/>
                    <a:pt x="1755" y="834"/>
                  </a:cubicBezTo>
                  <a:cubicBezTo>
                    <a:pt x="1756" y="831"/>
                    <a:pt x="1757" y="829"/>
                    <a:pt x="1759" y="827"/>
                  </a:cubicBezTo>
                  <a:cubicBezTo>
                    <a:pt x="1760" y="824"/>
                    <a:pt x="1760" y="824"/>
                    <a:pt x="1760" y="824"/>
                  </a:cubicBezTo>
                  <a:cubicBezTo>
                    <a:pt x="1770" y="814"/>
                    <a:pt x="1770" y="814"/>
                    <a:pt x="1770" y="814"/>
                  </a:cubicBezTo>
                  <a:cubicBezTo>
                    <a:pt x="1772" y="812"/>
                    <a:pt x="1773" y="811"/>
                    <a:pt x="1774" y="809"/>
                  </a:cubicBezTo>
                  <a:cubicBezTo>
                    <a:pt x="1774" y="809"/>
                    <a:pt x="1774" y="809"/>
                    <a:pt x="1774" y="809"/>
                  </a:cubicBezTo>
                  <a:cubicBezTo>
                    <a:pt x="1774" y="808"/>
                    <a:pt x="1774" y="808"/>
                    <a:pt x="1774" y="808"/>
                  </a:cubicBezTo>
                  <a:cubicBezTo>
                    <a:pt x="1772" y="807"/>
                    <a:pt x="1772" y="807"/>
                    <a:pt x="1772" y="807"/>
                  </a:cubicBezTo>
                  <a:cubicBezTo>
                    <a:pt x="1772" y="806"/>
                    <a:pt x="1772" y="806"/>
                    <a:pt x="1772" y="806"/>
                  </a:cubicBezTo>
                  <a:cubicBezTo>
                    <a:pt x="1772" y="804"/>
                    <a:pt x="1772" y="804"/>
                    <a:pt x="1772" y="804"/>
                  </a:cubicBezTo>
                  <a:cubicBezTo>
                    <a:pt x="1773" y="801"/>
                    <a:pt x="1773" y="801"/>
                    <a:pt x="1773" y="801"/>
                  </a:cubicBezTo>
                  <a:cubicBezTo>
                    <a:pt x="1773" y="801"/>
                    <a:pt x="1772" y="801"/>
                    <a:pt x="1772" y="800"/>
                  </a:cubicBezTo>
                  <a:cubicBezTo>
                    <a:pt x="1771" y="800"/>
                    <a:pt x="1771" y="800"/>
                    <a:pt x="1771" y="800"/>
                  </a:cubicBezTo>
                  <a:cubicBezTo>
                    <a:pt x="1771" y="800"/>
                    <a:pt x="1771" y="800"/>
                    <a:pt x="1771" y="800"/>
                  </a:cubicBezTo>
                  <a:cubicBezTo>
                    <a:pt x="1770" y="800"/>
                    <a:pt x="1770" y="800"/>
                    <a:pt x="1770" y="800"/>
                  </a:cubicBezTo>
                  <a:cubicBezTo>
                    <a:pt x="1770" y="800"/>
                    <a:pt x="1769" y="800"/>
                    <a:pt x="1768" y="800"/>
                  </a:cubicBezTo>
                  <a:cubicBezTo>
                    <a:pt x="1768" y="800"/>
                    <a:pt x="1768" y="800"/>
                    <a:pt x="1768" y="800"/>
                  </a:cubicBezTo>
                  <a:cubicBezTo>
                    <a:pt x="1767" y="800"/>
                    <a:pt x="1766" y="800"/>
                    <a:pt x="1765" y="800"/>
                  </a:cubicBezTo>
                  <a:cubicBezTo>
                    <a:pt x="1762" y="801"/>
                    <a:pt x="1762" y="801"/>
                    <a:pt x="1762" y="801"/>
                  </a:cubicBezTo>
                  <a:cubicBezTo>
                    <a:pt x="1761" y="799"/>
                    <a:pt x="1761" y="799"/>
                    <a:pt x="1761" y="799"/>
                  </a:cubicBezTo>
                  <a:cubicBezTo>
                    <a:pt x="1761" y="798"/>
                    <a:pt x="1760" y="797"/>
                    <a:pt x="1760" y="794"/>
                  </a:cubicBezTo>
                  <a:cubicBezTo>
                    <a:pt x="1760" y="792"/>
                    <a:pt x="1760" y="792"/>
                    <a:pt x="1760" y="792"/>
                  </a:cubicBezTo>
                  <a:cubicBezTo>
                    <a:pt x="1763" y="791"/>
                    <a:pt x="1763" y="791"/>
                    <a:pt x="1763" y="791"/>
                  </a:cubicBezTo>
                  <a:cubicBezTo>
                    <a:pt x="1763" y="790"/>
                    <a:pt x="1764" y="790"/>
                    <a:pt x="1766" y="789"/>
                  </a:cubicBezTo>
                  <a:cubicBezTo>
                    <a:pt x="1766" y="788"/>
                    <a:pt x="1767" y="788"/>
                    <a:pt x="1767" y="788"/>
                  </a:cubicBezTo>
                  <a:cubicBezTo>
                    <a:pt x="1771" y="784"/>
                    <a:pt x="1771" y="784"/>
                    <a:pt x="1771" y="784"/>
                  </a:cubicBezTo>
                  <a:cubicBezTo>
                    <a:pt x="1772" y="783"/>
                    <a:pt x="1773" y="782"/>
                    <a:pt x="1775" y="780"/>
                  </a:cubicBezTo>
                  <a:cubicBezTo>
                    <a:pt x="1776" y="779"/>
                    <a:pt x="1776" y="779"/>
                    <a:pt x="1776" y="779"/>
                  </a:cubicBezTo>
                  <a:cubicBezTo>
                    <a:pt x="1777" y="779"/>
                    <a:pt x="1777" y="779"/>
                    <a:pt x="1777" y="779"/>
                  </a:cubicBezTo>
                  <a:cubicBezTo>
                    <a:pt x="1778" y="778"/>
                    <a:pt x="1778" y="778"/>
                    <a:pt x="1778" y="778"/>
                  </a:cubicBezTo>
                  <a:cubicBezTo>
                    <a:pt x="1779" y="778"/>
                    <a:pt x="1779" y="778"/>
                    <a:pt x="1779" y="778"/>
                  </a:cubicBezTo>
                  <a:cubicBezTo>
                    <a:pt x="1780" y="778"/>
                    <a:pt x="1780" y="778"/>
                    <a:pt x="1780" y="778"/>
                  </a:cubicBezTo>
                  <a:cubicBezTo>
                    <a:pt x="1781" y="778"/>
                    <a:pt x="1782" y="778"/>
                    <a:pt x="1783" y="778"/>
                  </a:cubicBezTo>
                  <a:cubicBezTo>
                    <a:pt x="1784" y="778"/>
                    <a:pt x="1784" y="778"/>
                    <a:pt x="1785" y="778"/>
                  </a:cubicBezTo>
                  <a:cubicBezTo>
                    <a:pt x="1789" y="777"/>
                    <a:pt x="1793" y="776"/>
                    <a:pt x="1797" y="775"/>
                  </a:cubicBezTo>
                  <a:cubicBezTo>
                    <a:pt x="1800" y="775"/>
                    <a:pt x="1800" y="775"/>
                    <a:pt x="1800" y="775"/>
                  </a:cubicBezTo>
                  <a:cubicBezTo>
                    <a:pt x="1810" y="774"/>
                    <a:pt x="1810" y="774"/>
                    <a:pt x="1810" y="774"/>
                  </a:cubicBezTo>
                  <a:cubicBezTo>
                    <a:pt x="1813" y="774"/>
                    <a:pt x="1816" y="773"/>
                    <a:pt x="1818" y="773"/>
                  </a:cubicBezTo>
                  <a:cubicBezTo>
                    <a:pt x="1820" y="772"/>
                    <a:pt x="1820" y="772"/>
                    <a:pt x="1820" y="772"/>
                  </a:cubicBezTo>
                  <a:cubicBezTo>
                    <a:pt x="1820" y="772"/>
                    <a:pt x="1821" y="772"/>
                    <a:pt x="1822" y="772"/>
                  </a:cubicBezTo>
                  <a:cubicBezTo>
                    <a:pt x="1823" y="771"/>
                    <a:pt x="1824" y="771"/>
                    <a:pt x="1825" y="771"/>
                  </a:cubicBezTo>
                  <a:cubicBezTo>
                    <a:pt x="1827" y="771"/>
                    <a:pt x="1827" y="771"/>
                    <a:pt x="1827" y="771"/>
                  </a:cubicBezTo>
                  <a:cubicBezTo>
                    <a:pt x="1829" y="771"/>
                    <a:pt x="1829" y="771"/>
                    <a:pt x="1829" y="771"/>
                  </a:cubicBezTo>
                  <a:cubicBezTo>
                    <a:pt x="1832" y="771"/>
                    <a:pt x="1832" y="771"/>
                    <a:pt x="1832" y="771"/>
                  </a:cubicBezTo>
                  <a:cubicBezTo>
                    <a:pt x="1833" y="772"/>
                    <a:pt x="1833" y="772"/>
                    <a:pt x="1833" y="772"/>
                  </a:cubicBezTo>
                  <a:cubicBezTo>
                    <a:pt x="1836" y="773"/>
                    <a:pt x="1839" y="775"/>
                    <a:pt x="1841" y="776"/>
                  </a:cubicBezTo>
                  <a:cubicBezTo>
                    <a:pt x="1851" y="780"/>
                    <a:pt x="1851" y="780"/>
                    <a:pt x="1851" y="780"/>
                  </a:cubicBezTo>
                  <a:cubicBezTo>
                    <a:pt x="1855" y="781"/>
                    <a:pt x="1855" y="781"/>
                    <a:pt x="1855" y="781"/>
                  </a:cubicBezTo>
                  <a:cubicBezTo>
                    <a:pt x="1855" y="781"/>
                    <a:pt x="1855" y="781"/>
                    <a:pt x="1855" y="781"/>
                  </a:cubicBezTo>
                  <a:cubicBezTo>
                    <a:pt x="1856" y="781"/>
                    <a:pt x="1856" y="781"/>
                    <a:pt x="1856" y="781"/>
                  </a:cubicBezTo>
                  <a:cubicBezTo>
                    <a:pt x="1857" y="780"/>
                    <a:pt x="1859" y="780"/>
                    <a:pt x="1860" y="780"/>
                  </a:cubicBezTo>
                  <a:cubicBezTo>
                    <a:pt x="1861" y="780"/>
                    <a:pt x="1861" y="780"/>
                    <a:pt x="1861" y="780"/>
                  </a:cubicBezTo>
                  <a:cubicBezTo>
                    <a:pt x="1862" y="781"/>
                    <a:pt x="1862" y="781"/>
                    <a:pt x="1862" y="781"/>
                  </a:cubicBezTo>
                  <a:cubicBezTo>
                    <a:pt x="1862" y="781"/>
                    <a:pt x="1862" y="781"/>
                    <a:pt x="1862" y="781"/>
                  </a:cubicBezTo>
                  <a:cubicBezTo>
                    <a:pt x="1863" y="781"/>
                    <a:pt x="1863" y="781"/>
                    <a:pt x="1863" y="782"/>
                  </a:cubicBezTo>
                  <a:cubicBezTo>
                    <a:pt x="1863" y="782"/>
                    <a:pt x="1863" y="782"/>
                    <a:pt x="1863" y="782"/>
                  </a:cubicBezTo>
                  <a:cubicBezTo>
                    <a:pt x="1863" y="782"/>
                    <a:pt x="1863" y="782"/>
                    <a:pt x="1864" y="782"/>
                  </a:cubicBezTo>
                  <a:cubicBezTo>
                    <a:pt x="1865" y="783"/>
                    <a:pt x="1865" y="783"/>
                    <a:pt x="1865" y="783"/>
                  </a:cubicBezTo>
                  <a:cubicBezTo>
                    <a:pt x="1865" y="783"/>
                    <a:pt x="1866" y="783"/>
                    <a:pt x="1866" y="783"/>
                  </a:cubicBezTo>
                  <a:cubicBezTo>
                    <a:pt x="1867" y="783"/>
                    <a:pt x="1867" y="783"/>
                    <a:pt x="1867" y="783"/>
                  </a:cubicBezTo>
                  <a:cubicBezTo>
                    <a:pt x="1868" y="784"/>
                    <a:pt x="1868" y="784"/>
                    <a:pt x="1868" y="784"/>
                  </a:cubicBezTo>
                  <a:cubicBezTo>
                    <a:pt x="1868" y="784"/>
                    <a:pt x="1868" y="784"/>
                    <a:pt x="1868" y="784"/>
                  </a:cubicBezTo>
                  <a:cubicBezTo>
                    <a:pt x="1869" y="784"/>
                    <a:pt x="1869" y="784"/>
                    <a:pt x="1869" y="784"/>
                  </a:cubicBezTo>
                  <a:cubicBezTo>
                    <a:pt x="1870" y="784"/>
                    <a:pt x="1870" y="784"/>
                    <a:pt x="1870" y="784"/>
                  </a:cubicBezTo>
                  <a:cubicBezTo>
                    <a:pt x="1875" y="789"/>
                    <a:pt x="1875" y="789"/>
                    <a:pt x="1875" y="789"/>
                  </a:cubicBezTo>
                  <a:cubicBezTo>
                    <a:pt x="1877" y="786"/>
                    <a:pt x="1877" y="786"/>
                    <a:pt x="1877" y="786"/>
                  </a:cubicBezTo>
                  <a:cubicBezTo>
                    <a:pt x="1876" y="789"/>
                    <a:pt x="1876" y="789"/>
                    <a:pt x="1876" y="789"/>
                  </a:cubicBezTo>
                  <a:cubicBezTo>
                    <a:pt x="1876" y="790"/>
                    <a:pt x="1876" y="790"/>
                    <a:pt x="1876" y="790"/>
                  </a:cubicBezTo>
                  <a:cubicBezTo>
                    <a:pt x="1876" y="790"/>
                    <a:pt x="1877" y="790"/>
                    <a:pt x="1877" y="790"/>
                  </a:cubicBezTo>
                  <a:cubicBezTo>
                    <a:pt x="1878" y="791"/>
                    <a:pt x="1878" y="791"/>
                    <a:pt x="1878" y="791"/>
                  </a:cubicBezTo>
                  <a:cubicBezTo>
                    <a:pt x="1878" y="791"/>
                    <a:pt x="1878" y="791"/>
                    <a:pt x="1878" y="791"/>
                  </a:cubicBezTo>
                  <a:cubicBezTo>
                    <a:pt x="1880" y="792"/>
                    <a:pt x="1880" y="792"/>
                    <a:pt x="1880" y="792"/>
                  </a:cubicBezTo>
                  <a:cubicBezTo>
                    <a:pt x="1880" y="794"/>
                    <a:pt x="1880" y="794"/>
                    <a:pt x="1880" y="794"/>
                  </a:cubicBezTo>
                  <a:cubicBezTo>
                    <a:pt x="1880" y="795"/>
                    <a:pt x="1880" y="795"/>
                    <a:pt x="1880" y="795"/>
                  </a:cubicBezTo>
                  <a:cubicBezTo>
                    <a:pt x="1880" y="796"/>
                    <a:pt x="1879" y="797"/>
                    <a:pt x="1879" y="797"/>
                  </a:cubicBezTo>
                  <a:cubicBezTo>
                    <a:pt x="1879" y="798"/>
                    <a:pt x="1879" y="798"/>
                    <a:pt x="1879" y="798"/>
                  </a:cubicBezTo>
                  <a:cubicBezTo>
                    <a:pt x="1879" y="799"/>
                    <a:pt x="1879" y="799"/>
                    <a:pt x="1879" y="799"/>
                  </a:cubicBezTo>
                  <a:cubicBezTo>
                    <a:pt x="1880" y="799"/>
                    <a:pt x="1880" y="799"/>
                    <a:pt x="1881" y="800"/>
                  </a:cubicBezTo>
                  <a:cubicBezTo>
                    <a:pt x="1883" y="802"/>
                    <a:pt x="1886" y="805"/>
                    <a:pt x="1887" y="808"/>
                  </a:cubicBezTo>
                  <a:cubicBezTo>
                    <a:pt x="1888" y="809"/>
                    <a:pt x="1888" y="809"/>
                    <a:pt x="1888" y="809"/>
                  </a:cubicBezTo>
                  <a:cubicBezTo>
                    <a:pt x="1888" y="811"/>
                    <a:pt x="1888" y="811"/>
                    <a:pt x="1888" y="811"/>
                  </a:cubicBezTo>
                  <a:cubicBezTo>
                    <a:pt x="1888" y="813"/>
                    <a:pt x="1888" y="813"/>
                    <a:pt x="1888" y="813"/>
                  </a:cubicBezTo>
                  <a:cubicBezTo>
                    <a:pt x="1887" y="814"/>
                    <a:pt x="1887" y="814"/>
                    <a:pt x="1887" y="814"/>
                  </a:cubicBezTo>
                  <a:cubicBezTo>
                    <a:pt x="1887" y="814"/>
                    <a:pt x="1887" y="814"/>
                    <a:pt x="1887" y="814"/>
                  </a:cubicBezTo>
                  <a:cubicBezTo>
                    <a:pt x="1888" y="815"/>
                    <a:pt x="1888" y="815"/>
                    <a:pt x="1888" y="815"/>
                  </a:cubicBezTo>
                  <a:cubicBezTo>
                    <a:pt x="1889" y="819"/>
                    <a:pt x="1891" y="823"/>
                    <a:pt x="1893" y="826"/>
                  </a:cubicBezTo>
                  <a:cubicBezTo>
                    <a:pt x="1894" y="829"/>
                    <a:pt x="1894" y="829"/>
                    <a:pt x="1894" y="829"/>
                  </a:cubicBezTo>
                  <a:cubicBezTo>
                    <a:pt x="1894" y="829"/>
                    <a:pt x="1894" y="829"/>
                    <a:pt x="1894" y="829"/>
                  </a:cubicBezTo>
                  <a:cubicBezTo>
                    <a:pt x="1897" y="828"/>
                    <a:pt x="1897" y="828"/>
                    <a:pt x="1897" y="828"/>
                  </a:cubicBezTo>
                  <a:cubicBezTo>
                    <a:pt x="1898" y="838"/>
                    <a:pt x="1898" y="838"/>
                    <a:pt x="1898" y="838"/>
                  </a:cubicBezTo>
                  <a:cubicBezTo>
                    <a:pt x="1899" y="839"/>
                    <a:pt x="1899" y="839"/>
                    <a:pt x="1899" y="839"/>
                  </a:cubicBezTo>
                  <a:cubicBezTo>
                    <a:pt x="1899" y="839"/>
                    <a:pt x="1899" y="839"/>
                    <a:pt x="1899" y="839"/>
                  </a:cubicBezTo>
                  <a:cubicBezTo>
                    <a:pt x="1899" y="839"/>
                    <a:pt x="1899" y="839"/>
                    <a:pt x="1899" y="839"/>
                  </a:cubicBezTo>
                  <a:cubicBezTo>
                    <a:pt x="1900" y="840"/>
                    <a:pt x="1900" y="840"/>
                    <a:pt x="1900" y="840"/>
                  </a:cubicBezTo>
                  <a:cubicBezTo>
                    <a:pt x="1906" y="853"/>
                    <a:pt x="1906" y="853"/>
                    <a:pt x="1906" y="853"/>
                  </a:cubicBezTo>
                  <a:cubicBezTo>
                    <a:pt x="1906" y="854"/>
                    <a:pt x="1906" y="854"/>
                    <a:pt x="1907" y="855"/>
                  </a:cubicBezTo>
                  <a:cubicBezTo>
                    <a:pt x="1906" y="856"/>
                    <a:pt x="1906" y="856"/>
                    <a:pt x="1906" y="856"/>
                  </a:cubicBezTo>
                  <a:cubicBezTo>
                    <a:pt x="1907" y="855"/>
                    <a:pt x="1907" y="855"/>
                    <a:pt x="1907" y="855"/>
                  </a:cubicBezTo>
                  <a:cubicBezTo>
                    <a:pt x="1907" y="856"/>
                    <a:pt x="1908" y="856"/>
                    <a:pt x="1908" y="857"/>
                  </a:cubicBezTo>
                  <a:cubicBezTo>
                    <a:pt x="1908" y="857"/>
                    <a:pt x="1908" y="857"/>
                    <a:pt x="1908" y="857"/>
                  </a:cubicBezTo>
                  <a:cubicBezTo>
                    <a:pt x="1909" y="858"/>
                    <a:pt x="1909" y="858"/>
                    <a:pt x="1909" y="858"/>
                  </a:cubicBezTo>
                  <a:cubicBezTo>
                    <a:pt x="1908" y="861"/>
                    <a:pt x="1908" y="861"/>
                    <a:pt x="1908" y="861"/>
                  </a:cubicBezTo>
                  <a:cubicBezTo>
                    <a:pt x="1908" y="861"/>
                    <a:pt x="1908" y="862"/>
                    <a:pt x="1908" y="862"/>
                  </a:cubicBezTo>
                  <a:cubicBezTo>
                    <a:pt x="1908" y="863"/>
                    <a:pt x="1908" y="863"/>
                    <a:pt x="1908" y="863"/>
                  </a:cubicBezTo>
                  <a:cubicBezTo>
                    <a:pt x="1908" y="864"/>
                    <a:pt x="1908" y="865"/>
                    <a:pt x="1908" y="865"/>
                  </a:cubicBezTo>
                  <a:cubicBezTo>
                    <a:pt x="1912" y="871"/>
                    <a:pt x="1912" y="871"/>
                    <a:pt x="1912" y="871"/>
                  </a:cubicBezTo>
                  <a:cubicBezTo>
                    <a:pt x="1912" y="871"/>
                    <a:pt x="1912" y="872"/>
                    <a:pt x="1914" y="872"/>
                  </a:cubicBezTo>
                  <a:cubicBezTo>
                    <a:pt x="1924" y="872"/>
                    <a:pt x="1924" y="872"/>
                    <a:pt x="1924" y="872"/>
                  </a:cubicBezTo>
                  <a:cubicBezTo>
                    <a:pt x="1926" y="872"/>
                    <a:pt x="1928" y="873"/>
                    <a:pt x="1930" y="874"/>
                  </a:cubicBezTo>
                  <a:cubicBezTo>
                    <a:pt x="1931" y="874"/>
                    <a:pt x="1931" y="874"/>
                    <a:pt x="1931" y="874"/>
                  </a:cubicBezTo>
                  <a:cubicBezTo>
                    <a:pt x="1931" y="874"/>
                    <a:pt x="1932" y="874"/>
                    <a:pt x="1932" y="875"/>
                  </a:cubicBezTo>
                  <a:cubicBezTo>
                    <a:pt x="1938" y="877"/>
                    <a:pt x="1938" y="877"/>
                    <a:pt x="1938" y="877"/>
                  </a:cubicBezTo>
                  <a:cubicBezTo>
                    <a:pt x="1941" y="875"/>
                    <a:pt x="1941" y="875"/>
                    <a:pt x="1941" y="875"/>
                  </a:cubicBezTo>
                  <a:cubicBezTo>
                    <a:pt x="1944" y="876"/>
                    <a:pt x="1944" y="876"/>
                    <a:pt x="1944" y="876"/>
                  </a:cubicBezTo>
                  <a:cubicBezTo>
                    <a:pt x="1958" y="889"/>
                    <a:pt x="1958" y="889"/>
                    <a:pt x="1958" y="889"/>
                  </a:cubicBezTo>
                  <a:cubicBezTo>
                    <a:pt x="1958" y="889"/>
                    <a:pt x="1958" y="889"/>
                    <a:pt x="1958" y="889"/>
                  </a:cubicBezTo>
                  <a:cubicBezTo>
                    <a:pt x="1959" y="889"/>
                    <a:pt x="1959" y="889"/>
                    <a:pt x="1959" y="889"/>
                  </a:cubicBezTo>
                  <a:cubicBezTo>
                    <a:pt x="1960" y="889"/>
                    <a:pt x="1960" y="889"/>
                    <a:pt x="1960" y="889"/>
                  </a:cubicBezTo>
                  <a:cubicBezTo>
                    <a:pt x="1967" y="889"/>
                    <a:pt x="1967" y="889"/>
                    <a:pt x="1967" y="889"/>
                  </a:cubicBezTo>
                  <a:cubicBezTo>
                    <a:pt x="1965" y="897"/>
                    <a:pt x="1965" y="897"/>
                    <a:pt x="1965" y="897"/>
                  </a:cubicBezTo>
                  <a:cubicBezTo>
                    <a:pt x="1965" y="897"/>
                    <a:pt x="1965" y="897"/>
                    <a:pt x="1965" y="897"/>
                  </a:cubicBezTo>
                  <a:cubicBezTo>
                    <a:pt x="1966" y="898"/>
                    <a:pt x="1966" y="898"/>
                    <a:pt x="1966" y="898"/>
                  </a:cubicBezTo>
                  <a:cubicBezTo>
                    <a:pt x="1967" y="898"/>
                    <a:pt x="1968" y="899"/>
                    <a:pt x="1968" y="899"/>
                  </a:cubicBezTo>
                  <a:cubicBezTo>
                    <a:pt x="1968" y="899"/>
                    <a:pt x="1969" y="900"/>
                    <a:pt x="1969" y="900"/>
                  </a:cubicBezTo>
                  <a:cubicBezTo>
                    <a:pt x="1970" y="901"/>
                    <a:pt x="1970" y="902"/>
                    <a:pt x="1970" y="903"/>
                  </a:cubicBezTo>
                  <a:cubicBezTo>
                    <a:pt x="1970" y="903"/>
                    <a:pt x="1970" y="904"/>
                    <a:pt x="1970" y="904"/>
                  </a:cubicBezTo>
                  <a:cubicBezTo>
                    <a:pt x="1971" y="905"/>
                    <a:pt x="1971" y="907"/>
                    <a:pt x="1969" y="908"/>
                  </a:cubicBezTo>
                  <a:cubicBezTo>
                    <a:pt x="1969" y="909"/>
                    <a:pt x="1969" y="909"/>
                    <a:pt x="1969" y="909"/>
                  </a:cubicBezTo>
                  <a:cubicBezTo>
                    <a:pt x="1968" y="910"/>
                    <a:pt x="1968" y="911"/>
                    <a:pt x="1968" y="911"/>
                  </a:cubicBezTo>
                  <a:cubicBezTo>
                    <a:pt x="1968" y="911"/>
                    <a:pt x="1969" y="911"/>
                    <a:pt x="1969" y="912"/>
                  </a:cubicBezTo>
                  <a:cubicBezTo>
                    <a:pt x="1969" y="912"/>
                    <a:pt x="1969" y="912"/>
                    <a:pt x="1970" y="912"/>
                  </a:cubicBezTo>
                  <a:cubicBezTo>
                    <a:pt x="1970" y="913"/>
                    <a:pt x="1970" y="913"/>
                    <a:pt x="1970" y="913"/>
                  </a:cubicBezTo>
                  <a:cubicBezTo>
                    <a:pt x="1970" y="913"/>
                    <a:pt x="1971" y="913"/>
                    <a:pt x="1971" y="914"/>
                  </a:cubicBezTo>
                  <a:cubicBezTo>
                    <a:pt x="1971" y="914"/>
                    <a:pt x="1971" y="914"/>
                    <a:pt x="1971" y="914"/>
                  </a:cubicBezTo>
                  <a:cubicBezTo>
                    <a:pt x="1972" y="915"/>
                    <a:pt x="1972" y="915"/>
                    <a:pt x="1972" y="915"/>
                  </a:cubicBezTo>
                  <a:cubicBezTo>
                    <a:pt x="1972" y="916"/>
                    <a:pt x="1972" y="916"/>
                    <a:pt x="1973" y="916"/>
                  </a:cubicBezTo>
                  <a:cubicBezTo>
                    <a:pt x="1973" y="917"/>
                    <a:pt x="1973" y="917"/>
                    <a:pt x="1973" y="918"/>
                  </a:cubicBezTo>
                  <a:cubicBezTo>
                    <a:pt x="1973" y="918"/>
                    <a:pt x="1973" y="918"/>
                    <a:pt x="1973" y="918"/>
                  </a:cubicBezTo>
                  <a:cubicBezTo>
                    <a:pt x="1975" y="918"/>
                    <a:pt x="1978" y="918"/>
                    <a:pt x="1980" y="918"/>
                  </a:cubicBezTo>
                  <a:cubicBezTo>
                    <a:pt x="1986" y="918"/>
                    <a:pt x="1991" y="918"/>
                    <a:pt x="1998" y="918"/>
                  </a:cubicBezTo>
                  <a:cubicBezTo>
                    <a:pt x="1999" y="918"/>
                    <a:pt x="1999" y="918"/>
                    <a:pt x="1999" y="917"/>
                  </a:cubicBezTo>
                  <a:cubicBezTo>
                    <a:pt x="2000" y="916"/>
                    <a:pt x="2000" y="915"/>
                    <a:pt x="2001" y="914"/>
                  </a:cubicBezTo>
                  <a:cubicBezTo>
                    <a:pt x="2002" y="912"/>
                    <a:pt x="2004" y="911"/>
                    <a:pt x="2006" y="910"/>
                  </a:cubicBezTo>
                  <a:cubicBezTo>
                    <a:pt x="2008" y="909"/>
                    <a:pt x="2010" y="908"/>
                    <a:pt x="2012" y="908"/>
                  </a:cubicBezTo>
                  <a:cubicBezTo>
                    <a:pt x="2014" y="908"/>
                    <a:pt x="2015" y="908"/>
                    <a:pt x="2017" y="907"/>
                  </a:cubicBezTo>
                  <a:cubicBezTo>
                    <a:pt x="2022" y="905"/>
                    <a:pt x="2022" y="905"/>
                    <a:pt x="2022" y="905"/>
                  </a:cubicBezTo>
                  <a:cubicBezTo>
                    <a:pt x="2025" y="904"/>
                    <a:pt x="2027" y="903"/>
                    <a:pt x="2030" y="903"/>
                  </a:cubicBezTo>
                  <a:cubicBezTo>
                    <a:pt x="2028" y="902"/>
                    <a:pt x="2028" y="902"/>
                    <a:pt x="2028" y="902"/>
                  </a:cubicBezTo>
                  <a:cubicBezTo>
                    <a:pt x="2038" y="901"/>
                    <a:pt x="2038" y="901"/>
                    <a:pt x="2038" y="901"/>
                  </a:cubicBezTo>
                  <a:cubicBezTo>
                    <a:pt x="2041" y="900"/>
                    <a:pt x="2043" y="900"/>
                    <a:pt x="2046" y="900"/>
                  </a:cubicBezTo>
                  <a:cubicBezTo>
                    <a:pt x="2046" y="900"/>
                    <a:pt x="2047" y="900"/>
                    <a:pt x="2047" y="900"/>
                  </a:cubicBezTo>
                  <a:cubicBezTo>
                    <a:pt x="2048" y="900"/>
                    <a:pt x="2048" y="900"/>
                    <a:pt x="2048" y="900"/>
                  </a:cubicBezTo>
                  <a:cubicBezTo>
                    <a:pt x="2054" y="900"/>
                    <a:pt x="2054" y="900"/>
                    <a:pt x="2054" y="900"/>
                  </a:cubicBezTo>
                  <a:cubicBezTo>
                    <a:pt x="2049" y="904"/>
                    <a:pt x="2049" y="904"/>
                    <a:pt x="2049" y="904"/>
                  </a:cubicBezTo>
                  <a:cubicBezTo>
                    <a:pt x="2049" y="904"/>
                    <a:pt x="2049" y="905"/>
                    <a:pt x="2048" y="905"/>
                  </a:cubicBezTo>
                  <a:cubicBezTo>
                    <a:pt x="2047" y="907"/>
                    <a:pt x="2045" y="908"/>
                    <a:pt x="2044" y="908"/>
                  </a:cubicBezTo>
                  <a:cubicBezTo>
                    <a:pt x="2044" y="908"/>
                    <a:pt x="2044" y="908"/>
                    <a:pt x="2044" y="908"/>
                  </a:cubicBezTo>
                  <a:cubicBezTo>
                    <a:pt x="2043" y="910"/>
                    <a:pt x="2042" y="912"/>
                    <a:pt x="2042" y="913"/>
                  </a:cubicBezTo>
                  <a:cubicBezTo>
                    <a:pt x="2042" y="913"/>
                    <a:pt x="2043" y="914"/>
                    <a:pt x="2043" y="915"/>
                  </a:cubicBezTo>
                  <a:cubicBezTo>
                    <a:pt x="2044" y="916"/>
                    <a:pt x="2045" y="916"/>
                    <a:pt x="2045" y="917"/>
                  </a:cubicBezTo>
                  <a:cubicBezTo>
                    <a:pt x="2045" y="917"/>
                    <a:pt x="2045" y="918"/>
                    <a:pt x="2045" y="918"/>
                  </a:cubicBezTo>
                  <a:cubicBezTo>
                    <a:pt x="2045" y="919"/>
                    <a:pt x="2045" y="919"/>
                    <a:pt x="2045" y="919"/>
                  </a:cubicBezTo>
                  <a:cubicBezTo>
                    <a:pt x="2046" y="919"/>
                    <a:pt x="2046" y="920"/>
                    <a:pt x="2045" y="920"/>
                  </a:cubicBezTo>
                  <a:cubicBezTo>
                    <a:pt x="2045" y="924"/>
                    <a:pt x="2041" y="926"/>
                    <a:pt x="2039" y="927"/>
                  </a:cubicBezTo>
                  <a:cubicBezTo>
                    <a:pt x="2038" y="928"/>
                    <a:pt x="2038" y="928"/>
                    <a:pt x="2038" y="928"/>
                  </a:cubicBezTo>
                  <a:cubicBezTo>
                    <a:pt x="2038" y="928"/>
                    <a:pt x="2037" y="928"/>
                    <a:pt x="2037" y="928"/>
                  </a:cubicBezTo>
                  <a:cubicBezTo>
                    <a:pt x="2036" y="929"/>
                    <a:pt x="2036" y="929"/>
                    <a:pt x="2036" y="929"/>
                  </a:cubicBezTo>
                  <a:cubicBezTo>
                    <a:pt x="2035" y="929"/>
                    <a:pt x="2035" y="929"/>
                    <a:pt x="2035" y="930"/>
                  </a:cubicBezTo>
                  <a:cubicBezTo>
                    <a:pt x="2035" y="930"/>
                    <a:pt x="2035" y="930"/>
                    <a:pt x="2035" y="931"/>
                  </a:cubicBezTo>
                  <a:cubicBezTo>
                    <a:pt x="2035" y="932"/>
                    <a:pt x="2035" y="933"/>
                    <a:pt x="2035" y="934"/>
                  </a:cubicBezTo>
                  <a:cubicBezTo>
                    <a:pt x="2034" y="934"/>
                    <a:pt x="2034" y="934"/>
                    <a:pt x="2034" y="934"/>
                  </a:cubicBezTo>
                  <a:cubicBezTo>
                    <a:pt x="2034" y="936"/>
                    <a:pt x="2034" y="937"/>
                    <a:pt x="2033" y="939"/>
                  </a:cubicBezTo>
                  <a:cubicBezTo>
                    <a:pt x="2033" y="939"/>
                    <a:pt x="2033" y="939"/>
                    <a:pt x="2033" y="939"/>
                  </a:cubicBezTo>
                  <a:cubicBezTo>
                    <a:pt x="2033" y="939"/>
                    <a:pt x="2033" y="940"/>
                    <a:pt x="2033" y="941"/>
                  </a:cubicBezTo>
                  <a:cubicBezTo>
                    <a:pt x="2032" y="942"/>
                    <a:pt x="2032" y="942"/>
                    <a:pt x="2032" y="942"/>
                  </a:cubicBezTo>
                  <a:cubicBezTo>
                    <a:pt x="2032" y="943"/>
                    <a:pt x="2032" y="944"/>
                    <a:pt x="2031" y="945"/>
                  </a:cubicBezTo>
                  <a:cubicBezTo>
                    <a:pt x="2031" y="945"/>
                    <a:pt x="2031" y="946"/>
                    <a:pt x="2031" y="946"/>
                  </a:cubicBezTo>
                  <a:cubicBezTo>
                    <a:pt x="2031" y="947"/>
                    <a:pt x="2030" y="948"/>
                    <a:pt x="2029" y="949"/>
                  </a:cubicBezTo>
                  <a:cubicBezTo>
                    <a:pt x="2029" y="949"/>
                    <a:pt x="2029" y="949"/>
                    <a:pt x="2029" y="949"/>
                  </a:cubicBezTo>
                  <a:cubicBezTo>
                    <a:pt x="2029" y="949"/>
                    <a:pt x="2029" y="949"/>
                    <a:pt x="2029" y="949"/>
                  </a:cubicBezTo>
                  <a:cubicBezTo>
                    <a:pt x="2029" y="950"/>
                    <a:pt x="2029" y="950"/>
                    <a:pt x="2029" y="950"/>
                  </a:cubicBezTo>
                  <a:cubicBezTo>
                    <a:pt x="2029" y="951"/>
                    <a:pt x="2029" y="951"/>
                    <a:pt x="2029" y="951"/>
                  </a:cubicBezTo>
                  <a:cubicBezTo>
                    <a:pt x="2029" y="953"/>
                    <a:pt x="2029" y="955"/>
                    <a:pt x="2028" y="957"/>
                  </a:cubicBezTo>
                  <a:cubicBezTo>
                    <a:pt x="2027" y="959"/>
                    <a:pt x="2025" y="961"/>
                    <a:pt x="2024" y="963"/>
                  </a:cubicBezTo>
                  <a:cubicBezTo>
                    <a:pt x="2023" y="963"/>
                    <a:pt x="2023" y="964"/>
                    <a:pt x="2022" y="964"/>
                  </a:cubicBezTo>
                  <a:cubicBezTo>
                    <a:pt x="2022" y="965"/>
                    <a:pt x="2022" y="966"/>
                    <a:pt x="2021" y="968"/>
                  </a:cubicBezTo>
                  <a:cubicBezTo>
                    <a:pt x="2021" y="968"/>
                    <a:pt x="2021" y="968"/>
                    <a:pt x="2021" y="968"/>
                  </a:cubicBezTo>
                  <a:cubicBezTo>
                    <a:pt x="2025" y="968"/>
                    <a:pt x="2025" y="968"/>
                    <a:pt x="2025" y="968"/>
                  </a:cubicBezTo>
                  <a:cubicBezTo>
                    <a:pt x="2021" y="969"/>
                    <a:pt x="2021" y="969"/>
                    <a:pt x="2021" y="969"/>
                  </a:cubicBezTo>
                  <a:cubicBezTo>
                    <a:pt x="2021" y="969"/>
                    <a:pt x="2021" y="969"/>
                    <a:pt x="2021" y="969"/>
                  </a:cubicBezTo>
                  <a:cubicBezTo>
                    <a:pt x="2021" y="969"/>
                    <a:pt x="2021" y="970"/>
                    <a:pt x="2021" y="970"/>
                  </a:cubicBezTo>
                  <a:cubicBezTo>
                    <a:pt x="2021" y="970"/>
                    <a:pt x="2021" y="970"/>
                    <a:pt x="2021" y="970"/>
                  </a:cubicBezTo>
                  <a:cubicBezTo>
                    <a:pt x="2021" y="971"/>
                    <a:pt x="2021" y="971"/>
                    <a:pt x="2020" y="971"/>
                  </a:cubicBezTo>
                  <a:cubicBezTo>
                    <a:pt x="2020" y="971"/>
                    <a:pt x="2020" y="972"/>
                    <a:pt x="2020" y="972"/>
                  </a:cubicBezTo>
                  <a:cubicBezTo>
                    <a:pt x="2019" y="973"/>
                    <a:pt x="2017" y="974"/>
                    <a:pt x="2016" y="975"/>
                  </a:cubicBezTo>
                  <a:cubicBezTo>
                    <a:pt x="2015" y="975"/>
                    <a:pt x="2015" y="975"/>
                    <a:pt x="2015" y="975"/>
                  </a:cubicBezTo>
                  <a:cubicBezTo>
                    <a:pt x="2015" y="976"/>
                    <a:pt x="2014" y="976"/>
                    <a:pt x="2014" y="977"/>
                  </a:cubicBezTo>
                  <a:cubicBezTo>
                    <a:pt x="2014" y="978"/>
                    <a:pt x="2014" y="978"/>
                    <a:pt x="2014" y="979"/>
                  </a:cubicBezTo>
                  <a:cubicBezTo>
                    <a:pt x="2014" y="980"/>
                    <a:pt x="2014" y="980"/>
                    <a:pt x="2014" y="980"/>
                  </a:cubicBezTo>
                  <a:cubicBezTo>
                    <a:pt x="2014" y="981"/>
                    <a:pt x="2014" y="982"/>
                    <a:pt x="2013" y="983"/>
                  </a:cubicBezTo>
                  <a:cubicBezTo>
                    <a:pt x="2012" y="985"/>
                    <a:pt x="2008" y="986"/>
                    <a:pt x="2006" y="986"/>
                  </a:cubicBezTo>
                  <a:cubicBezTo>
                    <a:pt x="2005" y="986"/>
                    <a:pt x="2003" y="985"/>
                    <a:pt x="2000" y="984"/>
                  </a:cubicBezTo>
                  <a:cubicBezTo>
                    <a:pt x="2000" y="984"/>
                    <a:pt x="2000" y="984"/>
                    <a:pt x="2000" y="984"/>
                  </a:cubicBezTo>
                  <a:cubicBezTo>
                    <a:pt x="1999" y="984"/>
                    <a:pt x="1999" y="984"/>
                    <a:pt x="1998" y="984"/>
                  </a:cubicBezTo>
                  <a:cubicBezTo>
                    <a:pt x="1998" y="983"/>
                    <a:pt x="1997" y="983"/>
                    <a:pt x="1996" y="983"/>
                  </a:cubicBezTo>
                  <a:cubicBezTo>
                    <a:pt x="1993" y="983"/>
                    <a:pt x="1990" y="982"/>
                    <a:pt x="1989" y="980"/>
                  </a:cubicBezTo>
                  <a:cubicBezTo>
                    <a:pt x="1988" y="980"/>
                    <a:pt x="1988" y="980"/>
                    <a:pt x="1988" y="980"/>
                  </a:cubicBezTo>
                  <a:cubicBezTo>
                    <a:pt x="1988" y="980"/>
                    <a:pt x="1988" y="980"/>
                    <a:pt x="1988" y="981"/>
                  </a:cubicBezTo>
                  <a:cubicBezTo>
                    <a:pt x="1991" y="984"/>
                    <a:pt x="1991" y="984"/>
                    <a:pt x="1991" y="984"/>
                  </a:cubicBezTo>
                  <a:cubicBezTo>
                    <a:pt x="1987" y="982"/>
                    <a:pt x="1987" y="982"/>
                    <a:pt x="1987" y="982"/>
                  </a:cubicBezTo>
                  <a:cubicBezTo>
                    <a:pt x="1986" y="983"/>
                    <a:pt x="1985" y="985"/>
                    <a:pt x="1983" y="986"/>
                  </a:cubicBezTo>
                  <a:cubicBezTo>
                    <a:pt x="1983" y="986"/>
                    <a:pt x="1983" y="986"/>
                    <a:pt x="1983" y="986"/>
                  </a:cubicBezTo>
                  <a:cubicBezTo>
                    <a:pt x="1981" y="988"/>
                    <a:pt x="1977" y="989"/>
                    <a:pt x="1974" y="990"/>
                  </a:cubicBezTo>
                  <a:cubicBezTo>
                    <a:pt x="1974" y="990"/>
                    <a:pt x="1974" y="990"/>
                    <a:pt x="1974" y="990"/>
                  </a:cubicBezTo>
                  <a:cubicBezTo>
                    <a:pt x="1976" y="995"/>
                    <a:pt x="1978" y="1001"/>
                    <a:pt x="1978" y="1008"/>
                  </a:cubicBezTo>
                  <a:cubicBezTo>
                    <a:pt x="1978" y="1010"/>
                    <a:pt x="1978" y="1013"/>
                    <a:pt x="1979" y="1015"/>
                  </a:cubicBezTo>
                  <a:cubicBezTo>
                    <a:pt x="1979" y="1017"/>
                    <a:pt x="1979" y="1018"/>
                    <a:pt x="1979" y="1019"/>
                  </a:cubicBezTo>
                  <a:cubicBezTo>
                    <a:pt x="1979" y="1023"/>
                    <a:pt x="1978" y="1026"/>
                    <a:pt x="1978" y="1029"/>
                  </a:cubicBezTo>
                  <a:cubicBezTo>
                    <a:pt x="1977" y="1030"/>
                    <a:pt x="1977" y="1030"/>
                    <a:pt x="1977" y="1030"/>
                  </a:cubicBezTo>
                  <a:cubicBezTo>
                    <a:pt x="1976" y="1034"/>
                    <a:pt x="1975" y="1037"/>
                    <a:pt x="1970" y="1037"/>
                  </a:cubicBezTo>
                  <a:cubicBezTo>
                    <a:pt x="1968" y="1037"/>
                    <a:pt x="1967" y="1037"/>
                    <a:pt x="1965" y="1038"/>
                  </a:cubicBezTo>
                  <a:cubicBezTo>
                    <a:pt x="1966" y="1039"/>
                    <a:pt x="1966" y="1040"/>
                    <a:pt x="1966" y="1041"/>
                  </a:cubicBezTo>
                  <a:cubicBezTo>
                    <a:pt x="1966" y="1042"/>
                    <a:pt x="1966" y="1042"/>
                    <a:pt x="1966" y="1042"/>
                  </a:cubicBezTo>
                  <a:cubicBezTo>
                    <a:pt x="1964" y="1042"/>
                    <a:pt x="1964" y="1042"/>
                    <a:pt x="1964" y="1042"/>
                  </a:cubicBezTo>
                  <a:cubicBezTo>
                    <a:pt x="1965" y="1043"/>
                    <a:pt x="1966" y="1044"/>
                    <a:pt x="1967" y="1046"/>
                  </a:cubicBezTo>
                  <a:cubicBezTo>
                    <a:pt x="1968" y="1045"/>
                    <a:pt x="1969" y="1043"/>
                    <a:pt x="1969" y="1042"/>
                  </a:cubicBezTo>
                  <a:cubicBezTo>
                    <a:pt x="1968" y="1041"/>
                    <a:pt x="1966" y="1040"/>
                    <a:pt x="1966" y="1039"/>
                  </a:cubicBezTo>
                  <a:cubicBezTo>
                    <a:pt x="1966" y="1038"/>
                    <a:pt x="1967" y="1038"/>
                    <a:pt x="1968" y="1039"/>
                  </a:cubicBezTo>
                  <a:cubicBezTo>
                    <a:pt x="1968" y="1039"/>
                    <a:pt x="1968" y="1039"/>
                    <a:pt x="1967" y="1039"/>
                  </a:cubicBezTo>
                  <a:cubicBezTo>
                    <a:pt x="1968" y="1039"/>
                    <a:pt x="1970" y="1039"/>
                    <a:pt x="1970" y="1040"/>
                  </a:cubicBezTo>
                  <a:cubicBezTo>
                    <a:pt x="1970" y="1040"/>
                    <a:pt x="1969" y="1040"/>
                    <a:pt x="1968" y="1040"/>
                  </a:cubicBezTo>
                  <a:cubicBezTo>
                    <a:pt x="1969" y="1041"/>
                    <a:pt x="1970" y="1040"/>
                    <a:pt x="1972" y="1040"/>
                  </a:cubicBezTo>
                  <a:cubicBezTo>
                    <a:pt x="1974" y="1039"/>
                    <a:pt x="1974" y="1040"/>
                    <a:pt x="1976" y="1041"/>
                  </a:cubicBezTo>
                  <a:cubicBezTo>
                    <a:pt x="1975" y="1039"/>
                    <a:pt x="1979" y="1036"/>
                    <a:pt x="1981" y="1034"/>
                  </a:cubicBezTo>
                  <a:cubicBezTo>
                    <a:pt x="1982" y="1032"/>
                    <a:pt x="1983" y="1031"/>
                    <a:pt x="1984" y="1029"/>
                  </a:cubicBezTo>
                  <a:cubicBezTo>
                    <a:pt x="1984" y="1029"/>
                    <a:pt x="1983" y="1028"/>
                    <a:pt x="1983" y="1028"/>
                  </a:cubicBezTo>
                  <a:cubicBezTo>
                    <a:pt x="1983" y="1025"/>
                    <a:pt x="1986" y="1023"/>
                    <a:pt x="1989" y="1023"/>
                  </a:cubicBezTo>
                  <a:cubicBezTo>
                    <a:pt x="1990" y="1023"/>
                    <a:pt x="1991" y="1023"/>
                    <a:pt x="1991" y="1024"/>
                  </a:cubicBezTo>
                  <a:cubicBezTo>
                    <a:pt x="1991" y="1024"/>
                    <a:pt x="1991" y="1024"/>
                    <a:pt x="1991" y="1024"/>
                  </a:cubicBezTo>
                  <a:cubicBezTo>
                    <a:pt x="1993" y="1025"/>
                    <a:pt x="1993" y="1026"/>
                    <a:pt x="1994" y="1027"/>
                  </a:cubicBezTo>
                  <a:cubicBezTo>
                    <a:pt x="1995" y="1026"/>
                    <a:pt x="1996" y="1025"/>
                    <a:pt x="1996" y="1024"/>
                  </a:cubicBezTo>
                  <a:cubicBezTo>
                    <a:pt x="1996" y="1026"/>
                    <a:pt x="1995" y="1034"/>
                    <a:pt x="1997" y="1035"/>
                  </a:cubicBezTo>
                  <a:cubicBezTo>
                    <a:pt x="1997" y="1035"/>
                    <a:pt x="1997" y="1033"/>
                    <a:pt x="1997" y="1033"/>
                  </a:cubicBezTo>
                  <a:cubicBezTo>
                    <a:pt x="1998" y="1033"/>
                    <a:pt x="1999" y="1034"/>
                    <a:pt x="2000" y="1034"/>
                  </a:cubicBezTo>
                  <a:cubicBezTo>
                    <a:pt x="2001" y="1035"/>
                    <a:pt x="2003" y="1034"/>
                    <a:pt x="2004" y="1033"/>
                  </a:cubicBezTo>
                  <a:cubicBezTo>
                    <a:pt x="2006" y="1033"/>
                    <a:pt x="2009" y="1039"/>
                    <a:pt x="2012" y="1039"/>
                  </a:cubicBezTo>
                  <a:cubicBezTo>
                    <a:pt x="2013" y="1038"/>
                    <a:pt x="2014" y="1037"/>
                    <a:pt x="2016" y="1037"/>
                  </a:cubicBezTo>
                  <a:cubicBezTo>
                    <a:pt x="2018" y="1036"/>
                    <a:pt x="2022" y="1035"/>
                    <a:pt x="2025" y="1035"/>
                  </a:cubicBezTo>
                  <a:cubicBezTo>
                    <a:pt x="2029" y="1034"/>
                    <a:pt x="2034" y="1029"/>
                    <a:pt x="2038" y="1027"/>
                  </a:cubicBezTo>
                  <a:cubicBezTo>
                    <a:pt x="2042" y="1024"/>
                    <a:pt x="2047" y="1023"/>
                    <a:pt x="2050" y="1020"/>
                  </a:cubicBezTo>
                  <a:cubicBezTo>
                    <a:pt x="2053" y="1017"/>
                    <a:pt x="2056" y="1013"/>
                    <a:pt x="2058" y="1010"/>
                  </a:cubicBezTo>
                  <a:cubicBezTo>
                    <a:pt x="2059" y="1008"/>
                    <a:pt x="2060" y="1004"/>
                    <a:pt x="2061" y="1003"/>
                  </a:cubicBezTo>
                  <a:cubicBezTo>
                    <a:pt x="2064" y="1001"/>
                    <a:pt x="2066" y="999"/>
                    <a:pt x="2069" y="997"/>
                  </a:cubicBezTo>
                  <a:cubicBezTo>
                    <a:pt x="2073" y="993"/>
                    <a:pt x="2075" y="988"/>
                    <a:pt x="2079" y="985"/>
                  </a:cubicBezTo>
                  <a:cubicBezTo>
                    <a:pt x="2083" y="980"/>
                    <a:pt x="2088" y="976"/>
                    <a:pt x="2092" y="972"/>
                  </a:cubicBezTo>
                  <a:cubicBezTo>
                    <a:pt x="2096" y="968"/>
                    <a:pt x="2099" y="965"/>
                    <a:pt x="2102" y="961"/>
                  </a:cubicBezTo>
                  <a:cubicBezTo>
                    <a:pt x="2105" y="957"/>
                    <a:pt x="2109" y="952"/>
                    <a:pt x="2112" y="947"/>
                  </a:cubicBezTo>
                  <a:cubicBezTo>
                    <a:pt x="2114" y="943"/>
                    <a:pt x="2114" y="938"/>
                    <a:pt x="2117" y="935"/>
                  </a:cubicBezTo>
                  <a:cubicBezTo>
                    <a:pt x="2120" y="931"/>
                    <a:pt x="2124" y="929"/>
                    <a:pt x="2126" y="924"/>
                  </a:cubicBezTo>
                  <a:cubicBezTo>
                    <a:pt x="2128" y="921"/>
                    <a:pt x="2129" y="917"/>
                    <a:pt x="2132" y="915"/>
                  </a:cubicBezTo>
                  <a:cubicBezTo>
                    <a:pt x="2135" y="912"/>
                    <a:pt x="2140" y="909"/>
                    <a:pt x="2143" y="905"/>
                  </a:cubicBezTo>
                  <a:cubicBezTo>
                    <a:pt x="2146" y="901"/>
                    <a:pt x="2147" y="896"/>
                    <a:pt x="2149" y="892"/>
                  </a:cubicBezTo>
                  <a:cubicBezTo>
                    <a:pt x="2150" y="890"/>
                    <a:pt x="2151" y="887"/>
                    <a:pt x="2148" y="888"/>
                  </a:cubicBezTo>
                  <a:cubicBezTo>
                    <a:pt x="2150" y="884"/>
                    <a:pt x="2153" y="879"/>
                    <a:pt x="2154" y="874"/>
                  </a:cubicBezTo>
                  <a:cubicBezTo>
                    <a:pt x="2154" y="873"/>
                    <a:pt x="2153" y="872"/>
                    <a:pt x="2153" y="870"/>
                  </a:cubicBezTo>
                  <a:cubicBezTo>
                    <a:pt x="2153" y="868"/>
                    <a:pt x="2151" y="868"/>
                    <a:pt x="2152" y="866"/>
                  </a:cubicBezTo>
                  <a:cubicBezTo>
                    <a:pt x="2153" y="864"/>
                    <a:pt x="2155" y="863"/>
                    <a:pt x="2156" y="861"/>
                  </a:cubicBezTo>
                  <a:cubicBezTo>
                    <a:pt x="2154" y="862"/>
                    <a:pt x="2153" y="861"/>
                    <a:pt x="2153" y="858"/>
                  </a:cubicBezTo>
                  <a:cubicBezTo>
                    <a:pt x="2153" y="856"/>
                    <a:pt x="2153" y="854"/>
                    <a:pt x="2153" y="852"/>
                  </a:cubicBezTo>
                  <a:cubicBezTo>
                    <a:pt x="2152" y="848"/>
                    <a:pt x="2152" y="846"/>
                    <a:pt x="2154" y="842"/>
                  </a:cubicBezTo>
                  <a:cubicBezTo>
                    <a:pt x="2156" y="839"/>
                    <a:pt x="2155" y="835"/>
                    <a:pt x="2156" y="831"/>
                  </a:cubicBezTo>
                  <a:cubicBezTo>
                    <a:pt x="2156" y="830"/>
                    <a:pt x="2158" y="829"/>
                    <a:pt x="2159" y="829"/>
                  </a:cubicBezTo>
                  <a:cubicBezTo>
                    <a:pt x="2161" y="828"/>
                    <a:pt x="2158" y="828"/>
                    <a:pt x="2158" y="827"/>
                  </a:cubicBezTo>
                  <a:cubicBezTo>
                    <a:pt x="2159" y="822"/>
                    <a:pt x="2167" y="818"/>
                    <a:pt x="2170" y="815"/>
                  </a:cubicBezTo>
                  <a:cubicBezTo>
                    <a:pt x="2166" y="812"/>
                    <a:pt x="2169" y="811"/>
                    <a:pt x="2172" y="808"/>
                  </a:cubicBezTo>
                  <a:cubicBezTo>
                    <a:pt x="2169" y="809"/>
                    <a:pt x="2166" y="804"/>
                    <a:pt x="2165" y="802"/>
                  </a:cubicBezTo>
                  <a:cubicBezTo>
                    <a:pt x="2164" y="801"/>
                    <a:pt x="2166" y="801"/>
                    <a:pt x="2166" y="801"/>
                  </a:cubicBezTo>
                  <a:cubicBezTo>
                    <a:pt x="2167" y="798"/>
                    <a:pt x="2167" y="794"/>
                    <a:pt x="2167" y="791"/>
                  </a:cubicBezTo>
                  <a:cubicBezTo>
                    <a:pt x="2165" y="792"/>
                    <a:pt x="2164" y="791"/>
                    <a:pt x="2163" y="790"/>
                  </a:cubicBezTo>
                  <a:cubicBezTo>
                    <a:pt x="2162" y="789"/>
                    <a:pt x="2161" y="788"/>
                    <a:pt x="2160" y="787"/>
                  </a:cubicBezTo>
                  <a:cubicBezTo>
                    <a:pt x="2159" y="786"/>
                    <a:pt x="2157" y="786"/>
                    <a:pt x="2157" y="785"/>
                  </a:cubicBezTo>
                  <a:cubicBezTo>
                    <a:pt x="2160" y="786"/>
                    <a:pt x="2163" y="787"/>
                    <a:pt x="2166" y="788"/>
                  </a:cubicBezTo>
                  <a:cubicBezTo>
                    <a:pt x="2166" y="788"/>
                    <a:pt x="2167" y="787"/>
                    <a:pt x="2166" y="787"/>
                  </a:cubicBezTo>
                  <a:cubicBezTo>
                    <a:pt x="2169" y="786"/>
                    <a:pt x="2170" y="785"/>
                    <a:pt x="2170" y="782"/>
                  </a:cubicBezTo>
                  <a:cubicBezTo>
                    <a:pt x="2170" y="778"/>
                    <a:pt x="2163" y="776"/>
                    <a:pt x="2160" y="774"/>
                  </a:cubicBezTo>
                  <a:cubicBezTo>
                    <a:pt x="2157" y="773"/>
                    <a:pt x="2154" y="771"/>
                    <a:pt x="2152" y="769"/>
                  </a:cubicBezTo>
                  <a:cubicBezTo>
                    <a:pt x="2147" y="765"/>
                    <a:pt x="2144" y="760"/>
                    <a:pt x="2140" y="755"/>
                  </a:cubicBezTo>
                  <a:cubicBezTo>
                    <a:pt x="2139" y="754"/>
                    <a:pt x="2133" y="755"/>
                    <a:pt x="2131" y="755"/>
                  </a:cubicBezTo>
                  <a:cubicBezTo>
                    <a:pt x="2126" y="754"/>
                    <a:pt x="2122" y="754"/>
                    <a:pt x="2117" y="754"/>
                  </a:cubicBezTo>
                  <a:cubicBezTo>
                    <a:pt x="2120" y="755"/>
                    <a:pt x="2119" y="758"/>
                    <a:pt x="2118" y="760"/>
                  </a:cubicBezTo>
                  <a:cubicBezTo>
                    <a:pt x="2122" y="757"/>
                    <a:pt x="2118" y="764"/>
                    <a:pt x="2118" y="765"/>
                  </a:cubicBezTo>
                  <a:cubicBezTo>
                    <a:pt x="2118" y="766"/>
                    <a:pt x="2118" y="766"/>
                    <a:pt x="2118" y="767"/>
                  </a:cubicBezTo>
                  <a:cubicBezTo>
                    <a:pt x="2118" y="768"/>
                    <a:pt x="2116" y="770"/>
                    <a:pt x="2115" y="772"/>
                  </a:cubicBezTo>
                  <a:cubicBezTo>
                    <a:pt x="2113" y="775"/>
                    <a:pt x="2112" y="774"/>
                    <a:pt x="2109" y="775"/>
                  </a:cubicBezTo>
                  <a:cubicBezTo>
                    <a:pt x="2109" y="774"/>
                    <a:pt x="2111" y="772"/>
                    <a:pt x="2111" y="771"/>
                  </a:cubicBezTo>
                  <a:cubicBezTo>
                    <a:pt x="2112" y="770"/>
                    <a:pt x="2114" y="769"/>
                    <a:pt x="2115" y="767"/>
                  </a:cubicBezTo>
                  <a:cubicBezTo>
                    <a:pt x="2116" y="766"/>
                    <a:pt x="2117" y="763"/>
                    <a:pt x="2115" y="762"/>
                  </a:cubicBezTo>
                  <a:cubicBezTo>
                    <a:pt x="2113" y="762"/>
                    <a:pt x="2107" y="769"/>
                    <a:pt x="2106" y="770"/>
                  </a:cubicBezTo>
                  <a:cubicBezTo>
                    <a:pt x="2104" y="772"/>
                    <a:pt x="2102" y="773"/>
                    <a:pt x="2099" y="774"/>
                  </a:cubicBezTo>
                  <a:cubicBezTo>
                    <a:pt x="2097" y="774"/>
                    <a:pt x="2090" y="774"/>
                    <a:pt x="2090" y="772"/>
                  </a:cubicBezTo>
                  <a:cubicBezTo>
                    <a:pt x="2090" y="771"/>
                    <a:pt x="2095" y="770"/>
                    <a:pt x="2095" y="770"/>
                  </a:cubicBezTo>
                  <a:cubicBezTo>
                    <a:pt x="2097" y="769"/>
                    <a:pt x="2096" y="767"/>
                    <a:pt x="2097" y="766"/>
                  </a:cubicBezTo>
                  <a:cubicBezTo>
                    <a:pt x="2098" y="766"/>
                    <a:pt x="2102" y="764"/>
                    <a:pt x="2101" y="763"/>
                  </a:cubicBezTo>
                  <a:cubicBezTo>
                    <a:pt x="2098" y="763"/>
                    <a:pt x="2097" y="763"/>
                    <a:pt x="2095" y="762"/>
                  </a:cubicBezTo>
                  <a:cubicBezTo>
                    <a:pt x="2093" y="761"/>
                    <a:pt x="2089" y="760"/>
                    <a:pt x="2094" y="760"/>
                  </a:cubicBezTo>
                  <a:cubicBezTo>
                    <a:pt x="2095" y="760"/>
                    <a:pt x="2097" y="757"/>
                    <a:pt x="2096" y="756"/>
                  </a:cubicBezTo>
                  <a:cubicBezTo>
                    <a:pt x="2093" y="753"/>
                    <a:pt x="2093" y="755"/>
                    <a:pt x="2090" y="756"/>
                  </a:cubicBezTo>
                  <a:cubicBezTo>
                    <a:pt x="2088" y="757"/>
                    <a:pt x="2087" y="758"/>
                    <a:pt x="2088" y="760"/>
                  </a:cubicBezTo>
                  <a:cubicBezTo>
                    <a:pt x="2090" y="761"/>
                    <a:pt x="2091" y="760"/>
                    <a:pt x="2091" y="762"/>
                  </a:cubicBezTo>
                  <a:cubicBezTo>
                    <a:pt x="2090" y="764"/>
                    <a:pt x="2082" y="768"/>
                    <a:pt x="2080" y="767"/>
                  </a:cubicBezTo>
                  <a:cubicBezTo>
                    <a:pt x="2077" y="765"/>
                    <a:pt x="2081" y="762"/>
                    <a:pt x="2081" y="760"/>
                  </a:cubicBezTo>
                  <a:cubicBezTo>
                    <a:pt x="2082" y="758"/>
                    <a:pt x="2082" y="757"/>
                    <a:pt x="2081" y="756"/>
                  </a:cubicBezTo>
                  <a:cubicBezTo>
                    <a:pt x="2081" y="756"/>
                    <a:pt x="2082" y="755"/>
                    <a:pt x="2082" y="755"/>
                  </a:cubicBezTo>
                  <a:cubicBezTo>
                    <a:pt x="2082" y="755"/>
                    <a:pt x="2081" y="755"/>
                    <a:pt x="2081" y="754"/>
                  </a:cubicBezTo>
                  <a:cubicBezTo>
                    <a:pt x="2081" y="754"/>
                    <a:pt x="2082" y="754"/>
                    <a:pt x="2082" y="754"/>
                  </a:cubicBezTo>
                  <a:cubicBezTo>
                    <a:pt x="2082" y="754"/>
                    <a:pt x="2082" y="753"/>
                    <a:pt x="2082" y="753"/>
                  </a:cubicBezTo>
                  <a:cubicBezTo>
                    <a:pt x="2082" y="753"/>
                    <a:pt x="2081" y="752"/>
                    <a:pt x="2081" y="751"/>
                  </a:cubicBezTo>
                  <a:cubicBezTo>
                    <a:pt x="2081" y="750"/>
                    <a:pt x="2082" y="751"/>
                    <a:pt x="2082" y="751"/>
                  </a:cubicBezTo>
                  <a:cubicBezTo>
                    <a:pt x="2082" y="751"/>
                    <a:pt x="2082" y="750"/>
                    <a:pt x="2082" y="750"/>
                  </a:cubicBezTo>
                  <a:cubicBezTo>
                    <a:pt x="2083" y="748"/>
                    <a:pt x="2082" y="747"/>
                    <a:pt x="2081" y="745"/>
                  </a:cubicBezTo>
                  <a:cubicBezTo>
                    <a:pt x="2079" y="743"/>
                    <a:pt x="2073" y="744"/>
                    <a:pt x="2069" y="744"/>
                  </a:cubicBezTo>
                  <a:cubicBezTo>
                    <a:pt x="2064" y="744"/>
                    <a:pt x="2058" y="744"/>
                    <a:pt x="2052" y="743"/>
                  </a:cubicBezTo>
                  <a:cubicBezTo>
                    <a:pt x="2053" y="742"/>
                    <a:pt x="2051" y="741"/>
                    <a:pt x="2051" y="739"/>
                  </a:cubicBezTo>
                  <a:cubicBezTo>
                    <a:pt x="2051" y="738"/>
                    <a:pt x="2053" y="736"/>
                    <a:pt x="2054" y="735"/>
                  </a:cubicBezTo>
                  <a:cubicBezTo>
                    <a:pt x="2057" y="733"/>
                    <a:pt x="2060" y="732"/>
                    <a:pt x="2063" y="730"/>
                  </a:cubicBezTo>
                  <a:cubicBezTo>
                    <a:pt x="2067" y="728"/>
                    <a:pt x="2069" y="727"/>
                    <a:pt x="2072" y="724"/>
                  </a:cubicBezTo>
                  <a:cubicBezTo>
                    <a:pt x="2076" y="720"/>
                    <a:pt x="2083" y="717"/>
                    <a:pt x="2088" y="714"/>
                  </a:cubicBezTo>
                  <a:cubicBezTo>
                    <a:pt x="2092" y="712"/>
                    <a:pt x="2096" y="709"/>
                    <a:pt x="2099" y="706"/>
                  </a:cubicBezTo>
                  <a:cubicBezTo>
                    <a:pt x="2101" y="704"/>
                    <a:pt x="2110" y="699"/>
                    <a:pt x="2109" y="696"/>
                  </a:cubicBezTo>
                  <a:cubicBezTo>
                    <a:pt x="2109" y="696"/>
                    <a:pt x="2108" y="696"/>
                    <a:pt x="2108" y="695"/>
                  </a:cubicBezTo>
                  <a:cubicBezTo>
                    <a:pt x="2107" y="694"/>
                    <a:pt x="2111" y="691"/>
                    <a:pt x="2111" y="690"/>
                  </a:cubicBezTo>
                  <a:cubicBezTo>
                    <a:pt x="2115" y="686"/>
                    <a:pt x="2117" y="682"/>
                    <a:pt x="2121" y="679"/>
                  </a:cubicBezTo>
                  <a:cubicBezTo>
                    <a:pt x="2127" y="675"/>
                    <a:pt x="2133" y="670"/>
                    <a:pt x="2140" y="665"/>
                  </a:cubicBezTo>
                  <a:cubicBezTo>
                    <a:pt x="2143" y="663"/>
                    <a:pt x="2147" y="662"/>
                    <a:pt x="2151" y="660"/>
                  </a:cubicBezTo>
                  <a:cubicBezTo>
                    <a:pt x="2153" y="659"/>
                    <a:pt x="2153" y="657"/>
                    <a:pt x="2153" y="656"/>
                  </a:cubicBezTo>
                  <a:cubicBezTo>
                    <a:pt x="2154" y="653"/>
                    <a:pt x="2156" y="650"/>
                    <a:pt x="2157" y="648"/>
                  </a:cubicBezTo>
                  <a:cubicBezTo>
                    <a:pt x="2158" y="645"/>
                    <a:pt x="2160" y="644"/>
                    <a:pt x="2162" y="642"/>
                  </a:cubicBezTo>
                  <a:cubicBezTo>
                    <a:pt x="2168" y="638"/>
                    <a:pt x="2174" y="633"/>
                    <a:pt x="2179" y="628"/>
                  </a:cubicBezTo>
                  <a:cubicBezTo>
                    <a:pt x="2183" y="626"/>
                    <a:pt x="2186" y="623"/>
                    <a:pt x="2190" y="621"/>
                  </a:cubicBezTo>
                  <a:cubicBezTo>
                    <a:pt x="2194" y="619"/>
                    <a:pt x="2200" y="616"/>
                    <a:pt x="2205" y="616"/>
                  </a:cubicBezTo>
                  <a:cubicBezTo>
                    <a:pt x="2206" y="616"/>
                    <a:pt x="2208" y="617"/>
                    <a:pt x="2209" y="617"/>
                  </a:cubicBezTo>
                  <a:cubicBezTo>
                    <a:pt x="2212" y="617"/>
                    <a:pt x="2215" y="615"/>
                    <a:pt x="2217" y="615"/>
                  </a:cubicBezTo>
                  <a:cubicBezTo>
                    <a:pt x="2220" y="615"/>
                    <a:pt x="2224" y="615"/>
                    <a:pt x="2227" y="615"/>
                  </a:cubicBezTo>
                  <a:cubicBezTo>
                    <a:pt x="2226" y="617"/>
                    <a:pt x="2231" y="616"/>
                    <a:pt x="2232" y="615"/>
                  </a:cubicBezTo>
                  <a:cubicBezTo>
                    <a:pt x="2234" y="615"/>
                    <a:pt x="2234" y="616"/>
                    <a:pt x="2237" y="616"/>
                  </a:cubicBezTo>
                  <a:cubicBezTo>
                    <a:pt x="2239" y="616"/>
                    <a:pt x="2241" y="615"/>
                    <a:pt x="2244" y="615"/>
                  </a:cubicBezTo>
                  <a:cubicBezTo>
                    <a:pt x="2244" y="615"/>
                    <a:pt x="2245" y="615"/>
                    <a:pt x="2246" y="615"/>
                  </a:cubicBezTo>
                  <a:cubicBezTo>
                    <a:pt x="2247" y="615"/>
                    <a:pt x="2248" y="615"/>
                    <a:pt x="2249" y="615"/>
                  </a:cubicBezTo>
                  <a:cubicBezTo>
                    <a:pt x="2250" y="615"/>
                    <a:pt x="2255" y="615"/>
                    <a:pt x="2256" y="615"/>
                  </a:cubicBezTo>
                  <a:cubicBezTo>
                    <a:pt x="2257" y="617"/>
                    <a:pt x="2253" y="618"/>
                    <a:pt x="2254" y="619"/>
                  </a:cubicBezTo>
                  <a:cubicBezTo>
                    <a:pt x="2254" y="621"/>
                    <a:pt x="2263" y="622"/>
                    <a:pt x="2264" y="621"/>
                  </a:cubicBezTo>
                  <a:cubicBezTo>
                    <a:pt x="2264" y="620"/>
                    <a:pt x="2263" y="620"/>
                    <a:pt x="2264" y="619"/>
                  </a:cubicBezTo>
                  <a:cubicBezTo>
                    <a:pt x="2264" y="618"/>
                    <a:pt x="2265" y="617"/>
                    <a:pt x="2266" y="615"/>
                  </a:cubicBezTo>
                  <a:cubicBezTo>
                    <a:pt x="2267" y="613"/>
                    <a:pt x="2271" y="614"/>
                    <a:pt x="2274" y="616"/>
                  </a:cubicBezTo>
                  <a:cubicBezTo>
                    <a:pt x="2280" y="618"/>
                    <a:pt x="2286" y="621"/>
                    <a:pt x="2292" y="619"/>
                  </a:cubicBezTo>
                  <a:cubicBezTo>
                    <a:pt x="2295" y="618"/>
                    <a:pt x="2297" y="616"/>
                    <a:pt x="2300" y="615"/>
                  </a:cubicBezTo>
                  <a:cubicBezTo>
                    <a:pt x="2302" y="614"/>
                    <a:pt x="2305" y="617"/>
                    <a:pt x="2307" y="617"/>
                  </a:cubicBezTo>
                  <a:cubicBezTo>
                    <a:pt x="2308" y="618"/>
                    <a:pt x="2310" y="619"/>
                    <a:pt x="2312" y="619"/>
                  </a:cubicBezTo>
                  <a:cubicBezTo>
                    <a:pt x="2314" y="619"/>
                    <a:pt x="2313" y="619"/>
                    <a:pt x="2313" y="618"/>
                  </a:cubicBezTo>
                  <a:cubicBezTo>
                    <a:pt x="2313" y="616"/>
                    <a:pt x="2312" y="617"/>
                    <a:pt x="2311" y="616"/>
                  </a:cubicBezTo>
                  <a:cubicBezTo>
                    <a:pt x="2309" y="616"/>
                    <a:pt x="2308" y="616"/>
                    <a:pt x="2309" y="614"/>
                  </a:cubicBezTo>
                  <a:cubicBezTo>
                    <a:pt x="2312" y="611"/>
                    <a:pt x="2315" y="613"/>
                    <a:pt x="2319" y="613"/>
                  </a:cubicBezTo>
                  <a:cubicBezTo>
                    <a:pt x="2319" y="611"/>
                    <a:pt x="2317" y="612"/>
                    <a:pt x="2316" y="610"/>
                  </a:cubicBezTo>
                  <a:cubicBezTo>
                    <a:pt x="2316" y="608"/>
                    <a:pt x="2321" y="605"/>
                    <a:pt x="2324" y="605"/>
                  </a:cubicBezTo>
                  <a:cubicBezTo>
                    <a:pt x="2326" y="605"/>
                    <a:pt x="2329" y="605"/>
                    <a:pt x="2331" y="606"/>
                  </a:cubicBezTo>
                  <a:cubicBezTo>
                    <a:pt x="2333" y="607"/>
                    <a:pt x="2335" y="607"/>
                    <a:pt x="2337" y="608"/>
                  </a:cubicBezTo>
                  <a:cubicBezTo>
                    <a:pt x="2339" y="609"/>
                    <a:pt x="2342" y="609"/>
                    <a:pt x="2344" y="610"/>
                  </a:cubicBezTo>
                  <a:cubicBezTo>
                    <a:pt x="2344" y="610"/>
                    <a:pt x="2345" y="612"/>
                    <a:pt x="2346" y="613"/>
                  </a:cubicBezTo>
                  <a:cubicBezTo>
                    <a:pt x="2347" y="614"/>
                    <a:pt x="2350" y="615"/>
                    <a:pt x="2354" y="610"/>
                  </a:cubicBezTo>
                  <a:cubicBezTo>
                    <a:pt x="2354" y="610"/>
                    <a:pt x="2355" y="611"/>
                    <a:pt x="2356" y="611"/>
                  </a:cubicBezTo>
                  <a:cubicBezTo>
                    <a:pt x="2359" y="612"/>
                    <a:pt x="2361" y="613"/>
                    <a:pt x="2364" y="614"/>
                  </a:cubicBezTo>
                  <a:cubicBezTo>
                    <a:pt x="2365" y="615"/>
                    <a:pt x="2365" y="615"/>
                    <a:pt x="2366" y="616"/>
                  </a:cubicBezTo>
                  <a:cubicBezTo>
                    <a:pt x="2366" y="617"/>
                    <a:pt x="2365" y="617"/>
                    <a:pt x="2366" y="618"/>
                  </a:cubicBezTo>
                  <a:cubicBezTo>
                    <a:pt x="2368" y="620"/>
                    <a:pt x="2374" y="619"/>
                    <a:pt x="2377" y="620"/>
                  </a:cubicBezTo>
                  <a:cubicBezTo>
                    <a:pt x="2374" y="622"/>
                    <a:pt x="2370" y="622"/>
                    <a:pt x="2367" y="622"/>
                  </a:cubicBezTo>
                  <a:cubicBezTo>
                    <a:pt x="2365" y="622"/>
                    <a:pt x="2362" y="622"/>
                    <a:pt x="2359" y="622"/>
                  </a:cubicBezTo>
                  <a:cubicBezTo>
                    <a:pt x="2358" y="623"/>
                    <a:pt x="2356" y="624"/>
                    <a:pt x="2354" y="624"/>
                  </a:cubicBezTo>
                  <a:cubicBezTo>
                    <a:pt x="2355" y="626"/>
                    <a:pt x="2359" y="628"/>
                    <a:pt x="2358" y="631"/>
                  </a:cubicBezTo>
                  <a:cubicBezTo>
                    <a:pt x="2365" y="629"/>
                    <a:pt x="2372" y="627"/>
                    <a:pt x="2378" y="626"/>
                  </a:cubicBezTo>
                  <a:cubicBezTo>
                    <a:pt x="2378" y="625"/>
                    <a:pt x="2378" y="625"/>
                    <a:pt x="2378" y="625"/>
                  </a:cubicBezTo>
                  <a:cubicBezTo>
                    <a:pt x="2380" y="626"/>
                    <a:pt x="2386" y="631"/>
                    <a:pt x="2389" y="629"/>
                  </a:cubicBezTo>
                  <a:cubicBezTo>
                    <a:pt x="2389" y="628"/>
                    <a:pt x="2389" y="626"/>
                    <a:pt x="2390" y="625"/>
                  </a:cubicBezTo>
                  <a:cubicBezTo>
                    <a:pt x="2392" y="623"/>
                    <a:pt x="2394" y="624"/>
                    <a:pt x="2396" y="623"/>
                  </a:cubicBezTo>
                  <a:cubicBezTo>
                    <a:pt x="2396" y="622"/>
                    <a:pt x="2397" y="620"/>
                    <a:pt x="2399" y="620"/>
                  </a:cubicBezTo>
                  <a:cubicBezTo>
                    <a:pt x="2401" y="621"/>
                    <a:pt x="2403" y="622"/>
                    <a:pt x="2405" y="622"/>
                  </a:cubicBezTo>
                  <a:cubicBezTo>
                    <a:pt x="2406" y="623"/>
                    <a:pt x="2408" y="624"/>
                    <a:pt x="2409" y="625"/>
                  </a:cubicBezTo>
                  <a:cubicBezTo>
                    <a:pt x="2412" y="625"/>
                    <a:pt x="2414" y="621"/>
                    <a:pt x="2418" y="621"/>
                  </a:cubicBezTo>
                  <a:cubicBezTo>
                    <a:pt x="2422" y="620"/>
                    <a:pt x="2427" y="621"/>
                    <a:pt x="2432" y="622"/>
                  </a:cubicBezTo>
                  <a:cubicBezTo>
                    <a:pt x="2432" y="621"/>
                    <a:pt x="2433" y="617"/>
                    <a:pt x="2432" y="616"/>
                  </a:cubicBezTo>
                  <a:cubicBezTo>
                    <a:pt x="2431" y="615"/>
                    <a:pt x="2429" y="614"/>
                    <a:pt x="2427" y="613"/>
                  </a:cubicBezTo>
                  <a:cubicBezTo>
                    <a:pt x="2426" y="613"/>
                    <a:pt x="2426" y="613"/>
                    <a:pt x="2425" y="613"/>
                  </a:cubicBezTo>
                  <a:cubicBezTo>
                    <a:pt x="2424" y="613"/>
                    <a:pt x="2423" y="612"/>
                    <a:pt x="2422" y="612"/>
                  </a:cubicBezTo>
                  <a:cubicBezTo>
                    <a:pt x="2421" y="611"/>
                    <a:pt x="2418" y="611"/>
                    <a:pt x="2418" y="612"/>
                  </a:cubicBezTo>
                  <a:cubicBezTo>
                    <a:pt x="2417" y="612"/>
                    <a:pt x="2419" y="614"/>
                    <a:pt x="2418" y="614"/>
                  </a:cubicBezTo>
                  <a:cubicBezTo>
                    <a:pt x="2418" y="615"/>
                    <a:pt x="2417" y="613"/>
                    <a:pt x="2416" y="613"/>
                  </a:cubicBezTo>
                  <a:cubicBezTo>
                    <a:pt x="2416" y="614"/>
                    <a:pt x="2414" y="614"/>
                    <a:pt x="2413" y="614"/>
                  </a:cubicBezTo>
                  <a:cubicBezTo>
                    <a:pt x="2410" y="612"/>
                    <a:pt x="2415" y="610"/>
                    <a:pt x="2416" y="610"/>
                  </a:cubicBezTo>
                  <a:cubicBezTo>
                    <a:pt x="2416" y="608"/>
                    <a:pt x="2414" y="607"/>
                    <a:pt x="2414" y="605"/>
                  </a:cubicBezTo>
                  <a:cubicBezTo>
                    <a:pt x="2414" y="604"/>
                    <a:pt x="2414" y="602"/>
                    <a:pt x="2414" y="602"/>
                  </a:cubicBezTo>
                  <a:cubicBezTo>
                    <a:pt x="2415" y="602"/>
                    <a:pt x="2417" y="602"/>
                    <a:pt x="2417" y="602"/>
                  </a:cubicBezTo>
                  <a:cubicBezTo>
                    <a:pt x="2417" y="602"/>
                    <a:pt x="2419" y="599"/>
                    <a:pt x="2420" y="598"/>
                  </a:cubicBezTo>
                  <a:cubicBezTo>
                    <a:pt x="2420" y="598"/>
                    <a:pt x="2420" y="597"/>
                    <a:pt x="2420" y="597"/>
                  </a:cubicBezTo>
                  <a:cubicBezTo>
                    <a:pt x="2426" y="593"/>
                    <a:pt x="2432" y="588"/>
                    <a:pt x="2437" y="583"/>
                  </a:cubicBezTo>
                  <a:cubicBezTo>
                    <a:pt x="2439" y="582"/>
                    <a:pt x="2441" y="580"/>
                    <a:pt x="2443" y="579"/>
                  </a:cubicBezTo>
                  <a:cubicBezTo>
                    <a:pt x="2444" y="578"/>
                    <a:pt x="2445" y="578"/>
                    <a:pt x="2446" y="577"/>
                  </a:cubicBezTo>
                  <a:cubicBezTo>
                    <a:pt x="2447" y="575"/>
                    <a:pt x="2448" y="572"/>
                    <a:pt x="2449" y="570"/>
                  </a:cubicBezTo>
                  <a:cubicBezTo>
                    <a:pt x="2450" y="568"/>
                    <a:pt x="2454" y="567"/>
                    <a:pt x="2456" y="566"/>
                  </a:cubicBezTo>
                  <a:cubicBezTo>
                    <a:pt x="2458" y="564"/>
                    <a:pt x="2460" y="564"/>
                    <a:pt x="2460" y="561"/>
                  </a:cubicBezTo>
                  <a:cubicBezTo>
                    <a:pt x="2460" y="560"/>
                    <a:pt x="2460" y="559"/>
                    <a:pt x="2460" y="558"/>
                  </a:cubicBezTo>
                  <a:cubicBezTo>
                    <a:pt x="2460" y="555"/>
                    <a:pt x="2462" y="554"/>
                    <a:pt x="2465" y="552"/>
                  </a:cubicBezTo>
                  <a:cubicBezTo>
                    <a:pt x="2474" y="548"/>
                    <a:pt x="2485" y="546"/>
                    <a:pt x="2495" y="545"/>
                  </a:cubicBezTo>
                  <a:cubicBezTo>
                    <a:pt x="2497" y="545"/>
                    <a:pt x="2500" y="546"/>
                    <a:pt x="2501" y="545"/>
                  </a:cubicBezTo>
                  <a:cubicBezTo>
                    <a:pt x="2502" y="545"/>
                    <a:pt x="2503" y="544"/>
                    <a:pt x="2504" y="543"/>
                  </a:cubicBezTo>
                  <a:cubicBezTo>
                    <a:pt x="2507" y="543"/>
                    <a:pt x="2508" y="542"/>
                    <a:pt x="2511" y="545"/>
                  </a:cubicBezTo>
                  <a:cubicBezTo>
                    <a:pt x="2512" y="546"/>
                    <a:pt x="2513" y="546"/>
                    <a:pt x="2514" y="547"/>
                  </a:cubicBezTo>
                  <a:cubicBezTo>
                    <a:pt x="2514" y="547"/>
                    <a:pt x="2514" y="548"/>
                    <a:pt x="2515" y="548"/>
                  </a:cubicBezTo>
                  <a:cubicBezTo>
                    <a:pt x="2515" y="548"/>
                    <a:pt x="2514" y="549"/>
                    <a:pt x="2514" y="549"/>
                  </a:cubicBezTo>
                  <a:cubicBezTo>
                    <a:pt x="2516" y="551"/>
                    <a:pt x="2521" y="547"/>
                    <a:pt x="2523" y="546"/>
                  </a:cubicBezTo>
                  <a:cubicBezTo>
                    <a:pt x="2524" y="545"/>
                    <a:pt x="2527" y="543"/>
                    <a:pt x="2528" y="543"/>
                  </a:cubicBezTo>
                  <a:cubicBezTo>
                    <a:pt x="2530" y="542"/>
                    <a:pt x="2530" y="541"/>
                    <a:pt x="2531" y="544"/>
                  </a:cubicBezTo>
                  <a:cubicBezTo>
                    <a:pt x="2531" y="544"/>
                    <a:pt x="2531" y="546"/>
                    <a:pt x="2531" y="547"/>
                  </a:cubicBezTo>
                  <a:cubicBezTo>
                    <a:pt x="2531" y="548"/>
                    <a:pt x="2530" y="548"/>
                    <a:pt x="2529" y="549"/>
                  </a:cubicBezTo>
                  <a:cubicBezTo>
                    <a:pt x="2529" y="549"/>
                    <a:pt x="2529" y="550"/>
                    <a:pt x="2529" y="550"/>
                  </a:cubicBezTo>
                  <a:cubicBezTo>
                    <a:pt x="2529" y="550"/>
                    <a:pt x="2528" y="551"/>
                    <a:pt x="2528" y="551"/>
                  </a:cubicBezTo>
                  <a:cubicBezTo>
                    <a:pt x="2528" y="552"/>
                    <a:pt x="2528" y="553"/>
                    <a:pt x="2528" y="553"/>
                  </a:cubicBezTo>
                  <a:cubicBezTo>
                    <a:pt x="2527" y="554"/>
                    <a:pt x="2526" y="554"/>
                    <a:pt x="2525" y="555"/>
                  </a:cubicBezTo>
                  <a:cubicBezTo>
                    <a:pt x="2525" y="555"/>
                    <a:pt x="2525" y="556"/>
                    <a:pt x="2524" y="556"/>
                  </a:cubicBezTo>
                  <a:cubicBezTo>
                    <a:pt x="2527" y="557"/>
                    <a:pt x="2520" y="560"/>
                    <a:pt x="2523" y="561"/>
                  </a:cubicBezTo>
                  <a:cubicBezTo>
                    <a:pt x="2522" y="562"/>
                    <a:pt x="2520" y="561"/>
                    <a:pt x="2519" y="562"/>
                  </a:cubicBezTo>
                  <a:cubicBezTo>
                    <a:pt x="2523" y="563"/>
                    <a:pt x="2524" y="564"/>
                    <a:pt x="2523" y="567"/>
                  </a:cubicBezTo>
                  <a:cubicBezTo>
                    <a:pt x="2521" y="570"/>
                    <a:pt x="2518" y="572"/>
                    <a:pt x="2524" y="571"/>
                  </a:cubicBezTo>
                  <a:cubicBezTo>
                    <a:pt x="2526" y="571"/>
                    <a:pt x="2527" y="571"/>
                    <a:pt x="2529" y="571"/>
                  </a:cubicBezTo>
                  <a:cubicBezTo>
                    <a:pt x="2531" y="571"/>
                    <a:pt x="2530" y="571"/>
                    <a:pt x="2530" y="572"/>
                  </a:cubicBezTo>
                  <a:cubicBezTo>
                    <a:pt x="2530" y="573"/>
                    <a:pt x="2527" y="573"/>
                    <a:pt x="2527" y="575"/>
                  </a:cubicBezTo>
                  <a:cubicBezTo>
                    <a:pt x="2527" y="575"/>
                    <a:pt x="2528" y="576"/>
                    <a:pt x="2528" y="576"/>
                  </a:cubicBezTo>
                  <a:cubicBezTo>
                    <a:pt x="2528" y="577"/>
                    <a:pt x="2528" y="577"/>
                    <a:pt x="2528" y="578"/>
                  </a:cubicBezTo>
                  <a:cubicBezTo>
                    <a:pt x="2527" y="579"/>
                    <a:pt x="2526" y="579"/>
                    <a:pt x="2527" y="581"/>
                  </a:cubicBezTo>
                  <a:cubicBezTo>
                    <a:pt x="2529" y="581"/>
                    <a:pt x="2531" y="580"/>
                    <a:pt x="2533" y="579"/>
                  </a:cubicBezTo>
                  <a:cubicBezTo>
                    <a:pt x="2534" y="578"/>
                    <a:pt x="2537" y="578"/>
                    <a:pt x="2539" y="577"/>
                  </a:cubicBezTo>
                  <a:cubicBezTo>
                    <a:pt x="2540" y="576"/>
                    <a:pt x="2540" y="574"/>
                    <a:pt x="2541" y="572"/>
                  </a:cubicBezTo>
                  <a:cubicBezTo>
                    <a:pt x="2542" y="571"/>
                    <a:pt x="2544" y="570"/>
                    <a:pt x="2545" y="569"/>
                  </a:cubicBezTo>
                  <a:cubicBezTo>
                    <a:pt x="2550" y="565"/>
                    <a:pt x="2556" y="561"/>
                    <a:pt x="2562" y="557"/>
                  </a:cubicBezTo>
                  <a:cubicBezTo>
                    <a:pt x="2564" y="556"/>
                    <a:pt x="2570" y="553"/>
                    <a:pt x="2571" y="550"/>
                  </a:cubicBezTo>
                  <a:cubicBezTo>
                    <a:pt x="2571" y="550"/>
                    <a:pt x="2571" y="550"/>
                    <a:pt x="2571" y="550"/>
                  </a:cubicBezTo>
                  <a:cubicBezTo>
                    <a:pt x="2576" y="551"/>
                    <a:pt x="2576" y="551"/>
                    <a:pt x="2576" y="551"/>
                  </a:cubicBezTo>
                  <a:cubicBezTo>
                    <a:pt x="2578" y="551"/>
                    <a:pt x="2578" y="548"/>
                    <a:pt x="2579" y="549"/>
                  </a:cubicBezTo>
                  <a:cubicBezTo>
                    <a:pt x="2580" y="550"/>
                    <a:pt x="2580" y="553"/>
                    <a:pt x="2581" y="554"/>
                  </a:cubicBezTo>
                  <a:cubicBezTo>
                    <a:pt x="2582" y="555"/>
                    <a:pt x="2587" y="550"/>
                    <a:pt x="2587" y="549"/>
                  </a:cubicBezTo>
                  <a:cubicBezTo>
                    <a:pt x="2586" y="547"/>
                    <a:pt x="2582" y="548"/>
                    <a:pt x="2581" y="547"/>
                  </a:cubicBezTo>
                  <a:cubicBezTo>
                    <a:pt x="2580" y="546"/>
                    <a:pt x="2582" y="543"/>
                    <a:pt x="2583" y="542"/>
                  </a:cubicBezTo>
                  <a:cubicBezTo>
                    <a:pt x="2584" y="540"/>
                    <a:pt x="2584" y="538"/>
                    <a:pt x="2584" y="537"/>
                  </a:cubicBezTo>
                  <a:cubicBezTo>
                    <a:pt x="2585" y="535"/>
                    <a:pt x="2587" y="533"/>
                    <a:pt x="2587" y="531"/>
                  </a:cubicBezTo>
                  <a:cubicBezTo>
                    <a:pt x="2588" y="529"/>
                    <a:pt x="2587" y="529"/>
                    <a:pt x="2586" y="526"/>
                  </a:cubicBezTo>
                  <a:cubicBezTo>
                    <a:pt x="2586" y="523"/>
                    <a:pt x="2589" y="524"/>
                    <a:pt x="2592" y="523"/>
                  </a:cubicBezTo>
                  <a:cubicBezTo>
                    <a:pt x="2595" y="522"/>
                    <a:pt x="2598" y="521"/>
                    <a:pt x="2602" y="521"/>
                  </a:cubicBezTo>
                  <a:cubicBezTo>
                    <a:pt x="2605" y="520"/>
                    <a:pt x="2609" y="518"/>
                    <a:pt x="2612" y="521"/>
                  </a:cubicBezTo>
                  <a:cubicBezTo>
                    <a:pt x="2613" y="522"/>
                    <a:pt x="2614" y="523"/>
                    <a:pt x="2616" y="524"/>
                  </a:cubicBezTo>
                  <a:cubicBezTo>
                    <a:pt x="2617" y="524"/>
                    <a:pt x="2618" y="525"/>
                    <a:pt x="2620" y="525"/>
                  </a:cubicBezTo>
                  <a:cubicBezTo>
                    <a:pt x="2624" y="526"/>
                    <a:pt x="2628" y="525"/>
                    <a:pt x="2631" y="527"/>
                  </a:cubicBezTo>
                  <a:cubicBezTo>
                    <a:pt x="2628" y="528"/>
                    <a:pt x="2625" y="525"/>
                    <a:pt x="2621" y="526"/>
                  </a:cubicBezTo>
                  <a:cubicBezTo>
                    <a:pt x="2622" y="528"/>
                    <a:pt x="2624" y="529"/>
                    <a:pt x="2625" y="531"/>
                  </a:cubicBezTo>
                  <a:cubicBezTo>
                    <a:pt x="2623" y="529"/>
                    <a:pt x="2622" y="528"/>
                    <a:pt x="2619" y="528"/>
                  </a:cubicBezTo>
                  <a:cubicBezTo>
                    <a:pt x="2617" y="528"/>
                    <a:pt x="2615" y="527"/>
                    <a:pt x="2613" y="526"/>
                  </a:cubicBezTo>
                  <a:cubicBezTo>
                    <a:pt x="2610" y="526"/>
                    <a:pt x="2609" y="528"/>
                    <a:pt x="2608" y="529"/>
                  </a:cubicBezTo>
                  <a:cubicBezTo>
                    <a:pt x="2606" y="531"/>
                    <a:pt x="2603" y="531"/>
                    <a:pt x="2602" y="533"/>
                  </a:cubicBezTo>
                  <a:cubicBezTo>
                    <a:pt x="2602" y="534"/>
                    <a:pt x="2602" y="537"/>
                    <a:pt x="2602" y="538"/>
                  </a:cubicBezTo>
                  <a:cubicBezTo>
                    <a:pt x="2601" y="539"/>
                    <a:pt x="2602" y="541"/>
                    <a:pt x="2602" y="542"/>
                  </a:cubicBezTo>
                  <a:cubicBezTo>
                    <a:pt x="2601" y="544"/>
                    <a:pt x="2602" y="546"/>
                    <a:pt x="2601" y="547"/>
                  </a:cubicBezTo>
                  <a:cubicBezTo>
                    <a:pt x="2601" y="550"/>
                    <a:pt x="2599" y="549"/>
                    <a:pt x="2598" y="551"/>
                  </a:cubicBezTo>
                  <a:cubicBezTo>
                    <a:pt x="2596" y="552"/>
                    <a:pt x="2597" y="554"/>
                    <a:pt x="2598" y="556"/>
                  </a:cubicBezTo>
                  <a:cubicBezTo>
                    <a:pt x="2600" y="558"/>
                    <a:pt x="2601" y="558"/>
                    <a:pt x="2600" y="560"/>
                  </a:cubicBezTo>
                  <a:cubicBezTo>
                    <a:pt x="2599" y="564"/>
                    <a:pt x="2594" y="564"/>
                    <a:pt x="2593" y="567"/>
                  </a:cubicBezTo>
                  <a:cubicBezTo>
                    <a:pt x="2592" y="568"/>
                    <a:pt x="2594" y="573"/>
                    <a:pt x="2594" y="573"/>
                  </a:cubicBezTo>
                  <a:cubicBezTo>
                    <a:pt x="2589" y="575"/>
                    <a:pt x="2584" y="577"/>
                    <a:pt x="2579" y="579"/>
                  </a:cubicBezTo>
                  <a:cubicBezTo>
                    <a:pt x="2573" y="581"/>
                    <a:pt x="2567" y="584"/>
                    <a:pt x="2562" y="586"/>
                  </a:cubicBezTo>
                  <a:cubicBezTo>
                    <a:pt x="2560" y="586"/>
                    <a:pt x="2560" y="587"/>
                    <a:pt x="2560" y="589"/>
                  </a:cubicBezTo>
                  <a:cubicBezTo>
                    <a:pt x="2560" y="589"/>
                    <a:pt x="2560" y="589"/>
                    <a:pt x="2561" y="589"/>
                  </a:cubicBezTo>
                  <a:cubicBezTo>
                    <a:pt x="2556" y="596"/>
                    <a:pt x="2549" y="601"/>
                    <a:pt x="2542" y="606"/>
                  </a:cubicBezTo>
                  <a:cubicBezTo>
                    <a:pt x="2536" y="611"/>
                    <a:pt x="2527" y="616"/>
                    <a:pt x="2522" y="623"/>
                  </a:cubicBezTo>
                  <a:cubicBezTo>
                    <a:pt x="2519" y="628"/>
                    <a:pt x="2515" y="633"/>
                    <a:pt x="2512" y="638"/>
                  </a:cubicBezTo>
                  <a:cubicBezTo>
                    <a:pt x="2511" y="639"/>
                    <a:pt x="2510" y="641"/>
                    <a:pt x="2509" y="642"/>
                  </a:cubicBezTo>
                  <a:cubicBezTo>
                    <a:pt x="2509" y="642"/>
                    <a:pt x="2508" y="641"/>
                    <a:pt x="2507" y="642"/>
                  </a:cubicBezTo>
                  <a:cubicBezTo>
                    <a:pt x="2502" y="646"/>
                    <a:pt x="2496" y="649"/>
                    <a:pt x="2490" y="653"/>
                  </a:cubicBezTo>
                  <a:cubicBezTo>
                    <a:pt x="2491" y="654"/>
                    <a:pt x="2492" y="655"/>
                    <a:pt x="2492" y="656"/>
                  </a:cubicBezTo>
                  <a:cubicBezTo>
                    <a:pt x="2490" y="652"/>
                    <a:pt x="2487" y="655"/>
                    <a:pt x="2484" y="655"/>
                  </a:cubicBezTo>
                  <a:cubicBezTo>
                    <a:pt x="2483" y="655"/>
                    <a:pt x="2482" y="654"/>
                    <a:pt x="2480" y="655"/>
                  </a:cubicBezTo>
                  <a:cubicBezTo>
                    <a:pt x="2478" y="655"/>
                    <a:pt x="2478" y="658"/>
                    <a:pt x="2476" y="659"/>
                  </a:cubicBezTo>
                  <a:cubicBezTo>
                    <a:pt x="2475" y="660"/>
                    <a:pt x="2471" y="660"/>
                    <a:pt x="2469" y="660"/>
                  </a:cubicBezTo>
                  <a:cubicBezTo>
                    <a:pt x="2467" y="661"/>
                    <a:pt x="2465" y="661"/>
                    <a:pt x="2462" y="662"/>
                  </a:cubicBezTo>
                  <a:cubicBezTo>
                    <a:pt x="2464" y="664"/>
                    <a:pt x="2465" y="667"/>
                    <a:pt x="2466" y="670"/>
                  </a:cubicBezTo>
                  <a:cubicBezTo>
                    <a:pt x="2466" y="671"/>
                    <a:pt x="2465" y="673"/>
                    <a:pt x="2464" y="674"/>
                  </a:cubicBezTo>
                  <a:cubicBezTo>
                    <a:pt x="2463" y="676"/>
                    <a:pt x="2462" y="679"/>
                    <a:pt x="2461" y="681"/>
                  </a:cubicBezTo>
                  <a:cubicBezTo>
                    <a:pt x="2459" y="677"/>
                    <a:pt x="2457" y="682"/>
                    <a:pt x="2456" y="683"/>
                  </a:cubicBezTo>
                  <a:cubicBezTo>
                    <a:pt x="2455" y="684"/>
                    <a:pt x="2454" y="684"/>
                    <a:pt x="2453" y="685"/>
                  </a:cubicBezTo>
                  <a:cubicBezTo>
                    <a:pt x="2452" y="686"/>
                    <a:pt x="2451" y="687"/>
                    <a:pt x="2450" y="688"/>
                  </a:cubicBezTo>
                  <a:cubicBezTo>
                    <a:pt x="2446" y="692"/>
                    <a:pt x="2446" y="696"/>
                    <a:pt x="2444" y="701"/>
                  </a:cubicBezTo>
                  <a:cubicBezTo>
                    <a:pt x="2440" y="716"/>
                    <a:pt x="2439" y="732"/>
                    <a:pt x="2442" y="748"/>
                  </a:cubicBezTo>
                  <a:cubicBezTo>
                    <a:pt x="2444" y="757"/>
                    <a:pt x="2447" y="767"/>
                    <a:pt x="2448" y="777"/>
                  </a:cubicBezTo>
                  <a:cubicBezTo>
                    <a:pt x="2449" y="783"/>
                    <a:pt x="2449" y="790"/>
                    <a:pt x="2451" y="796"/>
                  </a:cubicBezTo>
                  <a:cubicBezTo>
                    <a:pt x="2452" y="798"/>
                    <a:pt x="2453" y="798"/>
                    <a:pt x="2454" y="799"/>
                  </a:cubicBezTo>
                  <a:cubicBezTo>
                    <a:pt x="2455" y="800"/>
                    <a:pt x="2456" y="800"/>
                    <a:pt x="2456" y="801"/>
                  </a:cubicBezTo>
                  <a:cubicBezTo>
                    <a:pt x="2456" y="802"/>
                    <a:pt x="2455" y="801"/>
                    <a:pt x="2455" y="801"/>
                  </a:cubicBezTo>
                  <a:cubicBezTo>
                    <a:pt x="2456" y="808"/>
                    <a:pt x="2457" y="814"/>
                    <a:pt x="2457" y="821"/>
                  </a:cubicBezTo>
                  <a:cubicBezTo>
                    <a:pt x="2457" y="824"/>
                    <a:pt x="2457" y="829"/>
                    <a:pt x="2458" y="832"/>
                  </a:cubicBezTo>
                  <a:cubicBezTo>
                    <a:pt x="2459" y="833"/>
                    <a:pt x="2460" y="834"/>
                    <a:pt x="2461" y="835"/>
                  </a:cubicBezTo>
                  <a:cubicBezTo>
                    <a:pt x="2463" y="837"/>
                    <a:pt x="2461" y="839"/>
                    <a:pt x="2460" y="842"/>
                  </a:cubicBezTo>
                  <a:cubicBezTo>
                    <a:pt x="2465" y="838"/>
                    <a:pt x="2470" y="834"/>
                    <a:pt x="2475" y="830"/>
                  </a:cubicBezTo>
                  <a:cubicBezTo>
                    <a:pt x="2478" y="827"/>
                    <a:pt x="2481" y="824"/>
                    <a:pt x="2484" y="820"/>
                  </a:cubicBezTo>
                  <a:cubicBezTo>
                    <a:pt x="2488" y="815"/>
                    <a:pt x="2492" y="810"/>
                    <a:pt x="2496" y="806"/>
                  </a:cubicBezTo>
                  <a:cubicBezTo>
                    <a:pt x="2497" y="804"/>
                    <a:pt x="2496" y="802"/>
                    <a:pt x="2496" y="800"/>
                  </a:cubicBezTo>
                  <a:cubicBezTo>
                    <a:pt x="2496" y="800"/>
                    <a:pt x="2495" y="799"/>
                    <a:pt x="2495" y="799"/>
                  </a:cubicBezTo>
                  <a:cubicBezTo>
                    <a:pt x="2495" y="798"/>
                    <a:pt x="2495" y="798"/>
                    <a:pt x="2495" y="797"/>
                  </a:cubicBezTo>
                  <a:cubicBezTo>
                    <a:pt x="2495" y="796"/>
                    <a:pt x="2497" y="796"/>
                    <a:pt x="2497" y="795"/>
                  </a:cubicBezTo>
                  <a:cubicBezTo>
                    <a:pt x="2497" y="795"/>
                    <a:pt x="2498" y="794"/>
                    <a:pt x="2498" y="792"/>
                  </a:cubicBezTo>
                  <a:cubicBezTo>
                    <a:pt x="2495" y="792"/>
                    <a:pt x="2493" y="790"/>
                    <a:pt x="2493" y="787"/>
                  </a:cubicBezTo>
                  <a:cubicBezTo>
                    <a:pt x="2493" y="784"/>
                    <a:pt x="2495" y="782"/>
                    <a:pt x="2498" y="782"/>
                  </a:cubicBezTo>
                  <a:cubicBezTo>
                    <a:pt x="2501" y="782"/>
                    <a:pt x="2503" y="784"/>
                    <a:pt x="2503" y="787"/>
                  </a:cubicBezTo>
                  <a:cubicBezTo>
                    <a:pt x="2504" y="787"/>
                    <a:pt x="2504" y="787"/>
                    <a:pt x="2504" y="787"/>
                  </a:cubicBezTo>
                  <a:cubicBezTo>
                    <a:pt x="2506" y="785"/>
                    <a:pt x="2507" y="785"/>
                    <a:pt x="2509" y="784"/>
                  </a:cubicBezTo>
                  <a:cubicBezTo>
                    <a:pt x="2511" y="783"/>
                    <a:pt x="2513" y="782"/>
                    <a:pt x="2515" y="782"/>
                  </a:cubicBezTo>
                  <a:cubicBezTo>
                    <a:pt x="2517" y="781"/>
                    <a:pt x="2518" y="782"/>
                    <a:pt x="2520" y="781"/>
                  </a:cubicBezTo>
                  <a:cubicBezTo>
                    <a:pt x="2518" y="783"/>
                    <a:pt x="2524" y="785"/>
                    <a:pt x="2525" y="785"/>
                  </a:cubicBezTo>
                  <a:cubicBezTo>
                    <a:pt x="2525" y="784"/>
                    <a:pt x="2525" y="782"/>
                    <a:pt x="2524" y="781"/>
                  </a:cubicBezTo>
                  <a:cubicBezTo>
                    <a:pt x="2522" y="783"/>
                    <a:pt x="2523" y="781"/>
                    <a:pt x="2523" y="780"/>
                  </a:cubicBezTo>
                  <a:cubicBezTo>
                    <a:pt x="2523" y="780"/>
                    <a:pt x="2523" y="779"/>
                    <a:pt x="2523" y="779"/>
                  </a:cubicBezTo>
                  <a:cubicBezTo>
                    <a:pt x="2523" y="779"/>
                    <a:pt x="2523" y="779"/>
                    <a:pt x="2522" y="779"/>
                  </a:cubicBezTo>
                  <a:cubicBezTo>
                    <a:pt x="2522" y="778"/>
                    <a:pt x="2521" y="776"/>
                    <a:pt x="2520" y="774"/>
                  </a:cubicBezTo>
                  <a:cubicBezTo>
                    <a:pt x="2522" y="775"/>
                    <a:pt x="2525" y="775"/>
                    <a:pt x="2523" y="772"/>
                  </a:cubicBezTo>
                  <a:cubicBezTo>
                    <a:pt x="2523" y="772"/>
                    <a:pt x="2522" y="772"/>
                    <a:pt x="2521" y="771"/>
                  </a:cubicBezTo>
                  <a:cubicBezTo>
                    <a:pt x="2521" y="771"/>
                    <a:pt x="2521" y="769"/>
                    <a:pt x="2521" y="768"/>
                  </a:cubicBezTo>
                  <a:cubicBezTo>
                    <a:pt x="2521" y="765"/>
                    <a:pt x="2523" y="760"/>
                    <a:pt x="2525" y="758"/>
                  </a:cubicBezTo>
                  <a:cubicBezTo>
                    <a:pt x="2526" y="756"/>
                    <a:pt x="2530" y="754"/>
                    <a:pt x="2532" y="752"/>
                  </a:cubicBezTo>
                  <a:cubicBezTo>
                    <a:pt x="2535" y="750"/>
                    <a:pt x="2539" y="747"/>
                    <a:pt x="2543" y="747"/>
                  </a:cubicBezTo>
                  <a:cubicBezTo>
                    <a:pt x="2544" y="746"/>
                    <a:pt x="2545" y="746"/>
                    <a:pt x="2545" y="746"/>
                  </a:cubicBezTo>
                  <a:cubicBezTo>
                    <a:pt x="2547" y="747"/>
                    <a:pt x="2546" y="747"/>
                    <a:pt x="2547" y="748"/>
                  </a:cubicBezTo>
                  <a:cubicBezTo>
                    <a:pt x="2549" y="749"/>
                    <a:pt x="2550" y="749"/>
                    <a:pt x="2552" y="748"/>
                  </a:cubicBezTo>
                  <a:cubicBezTo>
                    <a:pt x="2556" y="747"/>
                    <a:pt x="2560" y="745"/>
                    <a:pt x="2563" y="742"/>
                  </a:cubicBezTo>
                  <a:cubicBezTo>
                    <a:pt x="2566" y="740"/>
                    <a:pt x="2565" y="739"/>
                    <a:pt x="2563" y="737"/>
                  </a:cubicBezTo>
                  <a:cubicBezTo>
                    <a:pt x="2562" y="736"/>
                    <a:pt x="2562" y="735"/>
                    <a:pt x="2560" y="734"/>
                  </a:cubicBezTo>
                  <a:cubicBezTo>
                    <a:pt x="2557" y="731"/>
                    <a:pt x="2558" y="724"/>
                    <a:pt x="2558" y="719"/>
                  </a:cubicBezTo>
                  <a:cubicBezTo>
                    <a:pt x="2558" y="717"/>
                    <a:pt x="2560" y="713"/>
                    <a:pt x="2561" y="711"/>
                  </a:cubicBezTo>
                  <a:cubicBezTo>
                    <a:pt x="2562" y="708"/>
                    <a:pt x="2563" y="706"/>
                    <a:pt x="2566" y="705"/>
                  </a:cubicBezTo>
                  <a:cubicBezTo>
                    <a:pt x="2568" y="704"/>
                    <a:pt x="2573" y="703"/>
                    <a:pt x="2573" y="701"/>
                  </a:cubicBezTo>
                  <a:cubicBezTo>
                    <a:pt x="2572" y="698"/>
                    <a:pt x="2568" y="699"/>
                    <a:pt x="2572" y="697"/>
                  </a:cubicBezTo>
                  <a:cubicBezTo>
                    <a:pt x="2574" y="696"/>
                    <a:pt x="2575" y="696"/>
                    <a:pt x="2577" y="696"/>
                  </a:cubicBezTo>
                  <a:cubicBezTo>
                    <a:pt x="2578" y="696"/>
                    <a:pt x="2578" y="695"/>
                    <a:pt x="2580" y="695"/>
                  </a:cubicBezTo>
                  <a:cubicBezTo>
                    <a:pt x="2580" y="695"/>
                    <a:pt x="2582" y="693"/>
                    <a:pt x="2582" y="695"/>
                  </a:cubicBezTo>
                  <a:cubicBezTo>
                    <a:pt x="2582" y="696"/>
                    <a:pt x="2580" y="698"/>
                    <a:pt x="2579" y="698"/>
                  </a:cubicBezTo>
                  <a:cubicBezTo>
                    <a:pt x="2577" y="700"/>
                    <a:pt x="2574" y="700"/>
                    <a:pt x="2573" y="703"/>
                  </a:cubicBezTo>
                  <a:cubicBezTo>
                    <a:pt x="2575" y="703"/>
                    <a:pt x="2576" y="705"/>
                    <a:pt x="2577" y="706"/>
                  </a:cubicBezTo>
                  <a:cubicBezTo>
                    <a:pt x="2580" y="709"/>
                    <a:pt x="2583" y="706"/>
                    <a:pt x="2586" y="704"/>
                  </a:cubicBezTo>
                  <a:cubicBezTo>
                    <a:pt x="2589" y="703"/>
                    <a:pt x="2588" y="701"/>
                    <a:pt x="2587" y="698"/>
                  </a:cubicBezTo>
                  <a:cubicBezTo>
                    <a:pt x="2586" y="695"/>
                    <a:pt x="2586" y="692"/>
                    <a:pt x="2585" y="690"/>
                  </a:cubicBezTo>
                  <a:cubicBezTo>
                    <a:pt x="2585" y="688"/>
                    <a:pt x="2580" y="689"/>
                    <a:pt x="2578" y="688"/>
                  </a:cubicBezTo>
                  <a:cubicBezTo>
                    <a:pt x="2577" y="686"/>
                    <a:pt x="2577" y="685"/>
                    <a:pt x="2577" y="683"/>
                  </a:cubicBezTo>
                  <a:cubicBezTo>
                    <a:pt x="2578" y="680"/>
                    <a:pt x="2577" y="677"/>
                    <a:pt x="2577" y="674"/>
                  </a:cubicBezTo>
                  <a:cubicBezTo>
                    <a:pt x="2576" y="669"/>
                    <a:pt x="2584" y="666"/>
                    <a:pt x="2585" y="662"/>
                  </a:cubicBezTo>
                  <a:cubicBezTo>
                    <a:pt x="2586" y="658"/>
                    <a:pt x="2584" y="659"/>
                    <a:pt x="2581" y="658"/>
                  </a:cubicBezTo>
                  <a:cubicBezTo>
                    <a:pt x="2579" y="657"/>
                    <a:pt x="2576" y="654"/>
                    <a:pt x="2573" y="656"/>
                  </a:cubicBezTo>
                  <a:cubicBezTo>
                    <a:pt x="2569" y="657"/>
                    <a:pt x="2573" y="661"/>
                    <a:pt x="2569" y="663"/>
                  </a:cubicBezTo>
                  <a:cubicBezTo>
                    <a:pt x="2570" y="659"/>
                    <a:pt x="2569" y="660"/>
                    <a:pt x="2567" y="658"/>
                  </a:cubicBezTo>
                  <a:cubicBezTo>
                    <a:pt x="2564" y="657"/>
                    <a:pt x="2561" y="656"/>
                    <a:pt x="2561" y="653"/>
                  </a:cubicBezTo>
                  <a:cubicBezTo>
                    <a:pt x="2561" y="650"/>
                    <a:pt x="2563" y="645"/>
                    <a:pt x="2565" y="642"/>
                  </a:cubicBezTo>
                  <a:cubicBezTo>
                    <a:pt x="2566" y="640"/>
                    <a:pt x="2568" y="638"/>
                    <a:pt x="2569" y="636"/>
                  </a:cubicBezTo>
                  <a:cubicBezTo>
                    <a:pt x="2571" y="635"/>
                    <a:pt x="2572" y="634"/>
                    <a:pt x="2573" y="633"/>
                  </a:cubicBezTo>
                  <a:cubicBezTo>
                    <a:pt x="2574" y="633"/>
                    <a:pt x="2579" y="630"/>
                    <a:pt x="2575" y="630"/>
                  </a:cubicBezTo>
                  <a:cubicBezTo>
                    <a:pt x="2577" y="629"/>
                    <a:pt x="2581" y="628"/>
                    <a:pt x="2582" y="626"/>
                  </a:cubicBezTo>
                  <a:cubicBezTo>
                    <a:pt x="2580" y="626"/>
                    <a:pt x="2579" y="624"/>
                    <a:pt x="2580" y="622"/>
                  </a:cubicBezTo>
                  <a:cubicBezTo>
                    <a:pt x="2581" y="621"/>
                    <a:pt x="2582" y="623"/>
                    <a:pt x="2582" y="623"/>
                  </a:cubicBezTo>
                  <a:cubicBezTo>
                    <a:pt x="2584" y="624"/>
                    <a:pt x="2586" y="624"/>
                    <a:pt x="2584" y="622"/>
                  </a:cubicBezTo>
                  <a:cubicBezTo>
                    <a:pt x="2582" y="620"/>
                    <a:pt x="2582" y="620"/>
                    <a:pt x="2585" y="618"/>
                  </a:cubicBezTo>
                  <a:cubicBezTo>
                    <a:pt x="2587" y="616"/>
                    <a:pt x="2587" y="616"/>
                    <a:pt x="2586" y="614"/>
                  </a:cubicBezTo>
                  <a:cubicBezTo>
                    <a:pt x="2586" y="613"/>
                    <a:pt x="2585" y="612"/>
                    <a:pt x="2585" y="611"/>
                  </a:cubicBezTo>
                  <a:cubicBezTo>
                    <a:pt x="2585" y="609"/>
                    <a:pt x="2586" y="607"/>
                    <a:pt x="2587" y="605"/>
                  </a:cubicBezTo>
                  <a:cubicBezTo>
                    <a:pt x="2588" y="604"/>
                    <a:pt x="2589" y="602"/>
                    <a:pt x="2591" y="601"/>
                  </a:cubicBezTo>
                  <a:cubicBezTo>
                    <a:pt x="2593" y="600"/>
                    <a:pt x="2594" y="601"/>
                    <a:pt x="2596" y="599"/>
                  </a:cubicBezTo>
                  <a:cubicBezTo>
                    <a:pt x="2595" y="599"/>
                    <a:pt x="2594" y="598"/>
                    <a:pt x="2593" y="597"/>
                  </a:cubicBezTo>
                  <a:cubicBezTo>
                    <a:pt x="2596" y="597"/>
                    <a:pt x="2598" y="597"/>
                    <a:pt x="2600" y="597"/>
                  </a:cubicBezTo>
                  <a:cubicBezTo>
                    <a:pt x="2601" y="598"/>
                    <a:pt x="2603" y="598"/>
                    <a:pt x="2603" y="599"/>
                  </a:cubicBezTo>
                  <a:cubicBezTo>
                    <a:pt x="2603" y="600"/>
                    <a:pt x="2599" y="603"/>
                    <a:pt x="2603" y="602"/>
                  </a:cubicBezTo>
                  <a:cubicBezTo>
                    <a:pt x="2601" y="599"/>
                    <a:pt x="2605" y="598"/>
                    <a:pt x="2607" y="597"/>
                  </a:cubicBezTo>
                  <a:cubicBezTo>
                    <a:pt x="2610" y="596"/>
                    <a:pt x="2611" y="596"/>
                    <a:pt x="2614" y="599"/>
                  </a:cubicBezTo>
                  <a:cubicBezTo>
                    <a:pt x="2615" y="601"/>
                    <a:pt x="2616" y="606"/>
                    <a:pt x="2619" y="603"/>
                  </a:cubicBezTo>
                  <a:cubicBezTo>
                    <a:pt x="2620" y="602"/>
                    <a:pt x="2622" y="600"/>
                    <a:pt x="2622" y="599"/>
                  </a:cubicBezTo>
                  <a:cubicBezTo>
                    <a:pt x="2623" y="598"/>
                    <a:pt x="2623" y="599"/>
                    <a:pt x="2623" y="598"/>
                  </a:cubicBezTo>
                  <a:cubicBezTo>
                    <a:pt x="2623" y="597"/>
                    <a:pt x="2621" y="597"/>
                    <a:pt x="2623" y="596"/>
                  </a:cubicBezTo>
                  <a:cubicBezTo>
                    <a:pt x="2625" y="595"/>
                    <a:pt x="2627" y="593"/>
                    <a:pt x="2629" y="592"/>
                  </a:cubicBezTo>
                  <a:cubicBezTo>
                    <a:pt x="2635" y="590"/>
                    <a:pt x="2640" y="587"/>
                    <a:pt x="2645" y="584"/>
                  </a:cubicBezTo>
                  <a:cubicBezTo>
                    <a:pt x="2645" y="584"/>
                    <a:pt x="2646" y="588"/>
                    <a:pt x="2643" y="587"/>
                  </a:cubicBezTo>
                  <a:cubicBezTo>
                    <a:pt x="2644" y="588"/>
                    <a:pt x="2644" y="590"/>
                    <a:pt x="2643" y="591"/>
                  </a:cubicBezTo>
                  <a:cubicBezTo>
                    <a:pt x="2643" y="593"/>
                    <a:pt x="2643" y="593"/>
                    <a:pt x="2642" y="595"/>
                  </a:cubicBezTo>
                  <a:cubicBezTo>
                    <a:pt x="2640" y="597"/>
                    <a:pt x="2640" y="604"/>
                    <a:pt x="2644" y="603"/>
                  </a:cubicBezTo>
                  <a:cubicBezTo>
                    <a:pt x="2646" y="602"/>
                    <a:pt x="2648" y="598"/>
                    <a:pt x="2650" y="597"/>
                  </a:cubicBezTo>
                  <a:cubicBezTo>
                    <a:pt x="2651" y="595"/>
                    <a:pt x="2656" y="591"/>
                    <a:pt x="2656" y="590"/>
                  </a:cubicBezTo>
                  <a:cubicBezTo>
                    <a:pt x="2659" y="589"/>
                    <a:pt x="2662" y="588"/>
                    <a:pt x="2665" y="586"/>
                  </a:cubicBezTo>
                  <a:cubicBezTo>
                    <a:pt x="2670" y="584"/>
                    <a:pt x="2672" y="583"/>
                    <a:pt x="2677" y="582"/>
                  </a:cubicBezTo>
                  <a:cubicBezTo>
                    <a:pt x="2684" y="582"/>
                    <a:pt x="2691" y="581"/>
                    <a:pt x="2698" y="581"/>
                  </a:cubicBezTo>
                  <a:cubicBezTo>
                    <a:pt x="2700" y="580"/>
                    <a:pt x="2704" y="582"/>
                    <a:pt x="2700" y="582"/>
                  </a:cubicBezTo>
                  <a:cubicBezTo>
                    <a:pt x="2702" y="583"/>
                    <a:pt x="2707" y="584"/>
                    <a:pt x="2708" y="586"/>
                  </a:cubicBezTo>
                  <a:cubicBezTo>
                    <a:pt x="2709" y="587"/>
                    <a:pt x="2709" y="589"/>
                    <a:pt x="2710" y="590"/>
                  </a:cubicBezTo>
                  <a:cubicBezTo>
                    <a:pt x="2711" y="591"/>
                    <a:pt x="2712" y="591"/>
                    <a:pt x="2714" y="592"/>
                  </a:cubicBezTo>
                  <a:cubicBezTo>
                    <a:pt x="2711" y="592"/>
                    <a:pt x="2711" y="594"/>
                    <a:pt x="2713" y="595"/>
                  </a:cubicBezTo>
                  <a:cubicBezTo>
                    <a:pt x="2714" y="597"/>
                    <a:pt x="2717" y="598"/>
                    <a:pt x="2718" y="600"/>
                  </a:cubicBezTo>
                  <a:cubicBezTo>
                    <a:pt x="2722" y="604"/>
                    <a:pt x="2723" y="595"/>
                    <a:pt x="2723" y="593"/>
                  </a:cubicBezTo>
                  <a:cubicBezTo>
                    <a:pt x="2724" y="591"/>
                    <a:pt x="2724" y="590"/>
                    <a:pt x="2726" y="590"/>
                  </a:cubicBezTo>
                  <a:cubicBezTo>
                    <a:pt x="2728" y="589"/>
                    <a:pt x="2726" y="588"/>
                    <a:pt x="2727" y="588"/>
                  </a:cubicBezTo>
                  <a:cubicBezTo>
                    <a:pt x="2727" y="588"/>
                    <a:pt x="2726" y="588"/>
                    <a:pt x="2726" y="587"/>
                  </a:cubicBezTo>
                  <a:cubicBezTo>
                    <a:pt x="2727" y="586"/>
                    <a:pt x="2727" y="587"/>
                    <a:pt x="2728" y="586"/>
                  </a:cubicBezTo>
                  <a:cubicBezTo>
                    <a:pt x="2728" y="586"/>
                    <a:pt x="2729" y="586"/>
                    <a:pt x="2729" y="586"/>
                  </a:cubicBezTo>
                  <a:cubicBezTo>
                    <a:pt x="2730" y="585"/>
                    <a:pt x="2729" y="585"/>
                    <a:pt x="2730" y="585"/>
                  </a:cubicBezTo>
                  <a:cubicBezTo>
                    <a:pt x="2730" y="584"/>
                    <a:pt x="2731" y="584"/>
                    <a:pt x="2733" y="583"/>
                  </a:cubicBezTo>
                  <a:cubicBezTo>
                    <a:pt x="2735" y="583"/>
                    <a:pt x="2738" y="582"/>
                    <a:pt x="2739" y="581"/>
                  </a:cubicBezTo>
                  <a:cubicBezTo>
                    <a:pt x="2740" y="580"/>
                    <a:pt x="2740" y="579"/>
                    <a:pt x="2741" y="578"/>
                  </a:cubicBezTo>
                  <a:cubicBezTo>
                    <a:pt x="2743" y="577"/>
                    <a:pt x="2747" y="576"/>
                    <a:pt x="2749" y="575"/>
                  </a:cubicBezTo>
                  <a:cubicBezTo>
                    <a:pt x="2750" y="575"/>
                    <a:pt x="2757" y="572"/>
                    <a:pt x="2756" y="570"/>
                  </a:cubicBezTo>
                  <a:cubicBezTo>
                    <a:pt x="2756" y="568"/>
                    <a:pt x="2754" y="568"/>
                    <a:pt x="2753" y="567"/>
                  </a:cubicBezTo>
                  <a:cubicBezTo>
                    <a:pt x="2756" y="568"/>
                    <a:pt x="2760" y="569"/>
                    <a:pt x="2762" y="567"/>
                  </a:cubicBezTo>
                  <a:cubicBezTo>
                    <a:pt x="2761" y="567"/>
                    <a:pt x="2760" y="567"/>
                    <a:pt x="2759" y="566"/>
                  </a:cubicBezTo>
                  <a:cubicBezTo>
                    <a:pt x="2761" y="566"/>
                    <a:pt x="2760" y="564"/>
                    <a:pt x="2760" y="563"/>
                  </a:cubicBezTo>
                  <a:cubicBezTo>
                    <a:pt x="2762" y="564"/>
                    <a:pt x="2767" y="562"/>
                    <a:pt x="2766" y="560"/>
                  </a:cubicBezTo>
                  <a:cubicBezTo>
                    <a:pt x="2767" y="560"/>
                    <a:pt x="2769" y="561"/>
                    <a:pt x="2771" y="560"/>
                  </a:cubicBezTo>
                  <a:cubicBezTo>
                    <a:pt x="2771" y="558"/>
                    <a:pt x="2764" y="556"/>
                    <a:pt x="2770" y="556"/>
                  </a:cubicBezTo>
                  <a:cubicBezTo>
                    <a:pt x="2770" y="556"/>
                    <a:pt x="2771" y="557"/>
                    <a:pt x="2771" y="557"/>
                  </a:cubicBezTo>
                  <a:cubicBezTo>
                    <a:pt x="2772" y="557"/>
                    <a:pt x="2774" y="556"/>
                    <a:pt x="2775" y="555"/>
                  </a:cubicBezTo>
                  <a:cubicBezTo>
                    <a:pt x="2777" y="555"/>
                    <a:pt x="2779" y="554"/>
                    <a:pt x="2780" y="554"/>
                  </a:cubicBezTo>
                  <a:cubicBezTo>
                    <a:pt x="2781" y="552"/>
                    <a:pt x="2781" y="553"/>
                    <a:pt x="2781" y="551"/>
                  </a:cubicBezTo>
                  <a:cubicBezTo>
                    <a:pt x="2782" y="550"/>
                    <a:pt x="2782" y="548"/>
                    <a:pt x="2783" y="548"/>
                  </a:cubicBezTo>
                  <a:cubicBezTo>
                    <a:pt x="2784" y="547"/>
                    <a:pt x="2784" y="549"/>
                    <a:pt x="2784" y="549"/>
                  </a:cubicBezTo>
                  <a:cubicBezTo>
                    <a:pt x="2787" y="549"/>
                    <a:pt x="2789" y="546"/>
                    <a:pt x="2791" y="545"/>
                  </a:cubicBezTo>
                  <a:cubicBezTo>
                    <a:pt x="2793" y="545"/>
                    <a:pt x="2794" y="546"/>
                    <a:pt x="2796" y="546"/>
                  </a:cubicBezTo>
                  <a:cubicBezTo>
                    <a:pt x="2799" y="546"/>
                    <a:pt x="2802" y="546"/>
                    <a:pt x="2804" y="543"/>
                  </a:cubicBezTo>
                  <a:cubicBezTo>
                    <a:pt x="2804" y="543"/>
                    <a:pt x="2802" y="541"/>
                    <a:pt x="2803" y="541"/>
                  </a:cubicBezTo>
                  <a:cubicBezTo>
                    <a:pt x="2806" y="541"/>
                    <a:pt x="2808" y="540"/>
                    <a:pt x="2811" y="540"/>
                  </a:cubicBezTo>
                  <a:cubicBezTo>
                    <a:pt x="2815" y="539"/>
                    <a:pt x="2813" y="538"/>
                    <a:pt x="2815" y="536"/>
                  </a:cubicBezTo>
                  <a:cubicBezTo>
                    <a:pt x="2816" y="534"/>
                    <a:pt x="2820" y="534"/>
                    <a:pt x="2821" y="533"/>
                  </a:cubicBezTo>
                  <a:cubicBezTo>
                    <a:pt x="2827" y="530"/>
                    <a:pt x="2834" y="528"/>
                    <a:pt x="2841" y="525"/>
                  </a:cubicBezTo>
                  <a:cubicBezTo>
                    <a:pt x="2844" y="523"/>
                    <a:pt x="2849" y="524"/>
                    <a:pt x="2853" y="523"/>
                  </a:cubicBezTo>
                  <a:cubicBezTo>
                    <a:pt x="2851" y="523"/>
                    <a:pt x="2848" y="524"/>
                    <a:pt x="2847" y="521"/>
                  </a:cubicBezTo>
                  <a:cubicBezTo>
                    <a:pt x="2847" y="520"/>
                    <a:pt x="2848" y="520"/>
                    <a:pt x="2848" y="519"/>
                  </a:cubicBezTo>
                  <a:cubicBezTo>
                    <a:pt x="2849" y="517"/>
                    <a:pt x="2848" y="516"/>
                    <a:pt x="2848" y="515"/>
                  </a:cubicBezTo>
                  <a:cubicBezTo>
                    <a:pt x="2849" y="516"/>
                    <a:pt x="2850" y="517"/>
                    <a:pt x="2851" y="517"/>
                  </a:cubicBezTo>
                  <a:cubicBezTo>
                    <a:pt x="2852" y="517"/>
                    <a:pt x="2859" y="516"/>
                    <a:pt x="2855" y="517"/>
                  </a:cubicBezTo>
                  <a:cubicBezTo>
                    <a:pt x="2854" y="518"/>
                    <a:pt x="2853" y="522"/>
                    <a:pt x="2854" y="523"/>
                  </a:cubicBezTo>
                  <a:cubicBezTo>
                    <a:pt x="2858" y="524"/>
                    <a:pt x="2863" y="523"/>
                    <a:pt x="2867" y="524"/>
                  </a:cubicBezTo>
                  <a:cubicBezTo>
                    <a:pt x="2871" y="525"/>
                    <a:pt x="2875" y="527"/>
                    <a:pt x="2879" y="528"/>
                  </a:cubicBezTo>
                  <a:cubicBezTo>
                    <a:pt x="2882" y="529"/>
                    <a:pt x="2884" y="530"/>
                    <a:pt x="2887" y="531"/>
                  </a:cubicBezTo>
                  <a:cubicBezTo>
                    <a:pt x="2889" y="532"/>
                    <a:pt x="2888" y="528"/>
                    <a:pt x="2889" y="527"/>
                  </a:cubicBezTo>
                  <a:cubicBezTo>
                    <a:pt x="2891" y="524"/>
                    <a:pt x="2898" y="523"/>
                    <a:pt x="2897" y="519"/>
                  </a:cubicBezTo>
                  <a:cubicBezTo>
                    <a:pt x="2897" y="517"/>
                    <a:pt x="2896" y="515"/>
                    <a:pt x="2894" y="514"/>
                  </a:cubicBezTo>
                  <a:cubicBezTo>
                    <a:pt x="2890" y="513"/>
                    <a:pt x="2892" y="513"/>
                    <a:pt x="2894" y="509"/>
                  </a:cubicBezTo>
                  <a:cubicBezTo>
                    <a:pt x="2894" y="507"/>
                    <a:pt x="2894" y="506"/>
                    <a:pt x="2892" y="505"/>
                  </a:cubicBezTo>
                  <a:cubicBezTo>
                    <a:pt x="2889" y="503"/>
                    <a:pt x="2884" y="503"/>
                    <a:pt x="2883" y="499"/>
                  </a:cubicBezTo>
                  <a:cubicBezTo>
                    <a:pt x="2884" y="499"/>
                    <a:pt x="2885" y="500"/>
                    <a:pt x="2886" y="501"/>
                  </a:cubicBezTo>
                  <a:cubicBezTo>
                    <a:pt x="2884" y="498"/>
                    <a:pt x="2883" y="496"/>
                    <a:pt x="2881" y="493"/>
                  </a:cubicBezTo>
                  <a:cubicBezTo>
                    <a:pt x="2881" y="495"/>
                    <a:pt x="2884" y="499"/>
                    <a:pt x="2881" y="499"/>
                  </a:cubicBezTo>
                  <a:cubicBezTo>
                    <a:pt x="2878" y="499"/>
                    <a:pt x="2882" y="495"/>
                    <a:pt x="2880" y="494"/>
                  </a:cubicBezTo>
                  <a:cubicBezTo>
                    <a:pt x="2878" y="492"/>
                    <a:pt x="2872" y="497"/>
                    <a:pt x="2873" y="493"/>
                  </a:cubicBezTo>
                  <a:cubicBezTo>
                    <a:pt x="2874" y="491"/>
                    <a:pt x="2879" y="492"/>
                    <a:pt x="2881" y="492"/>
                  </a:cubicBezTo>
                  <a:cubicBezTo>
                    <a:pt x="2880" y="492"/>
                    <a:pt x="2880" y="491"/>
                    <a:pt x="2879" y="491"/>
                  </a:cubicBezTo>
                  <a:cubicBezTo>
                    <a:pt x="2880" y="491"/>
                    <a:pt x="2881" y="491"/>
                    <a:pt x="2881" y="491"/>
                  </a:cubicBezTo>
                  <a:cubicBezTo>
                    <a:pt x="2881" y="489"/>
                    <a:pt x="2881" y="487"/>
                    <a:pt x="2880" y="485"/>
                  </a:cubicBezTo>
                  <a:cubicBezTo>
                    <a:pt x="2880" y="484"/>
                    <a:pt x="2880" y="483"/>
                    <a:pt x="2880" y="482"/>
                  </a:cubicBezTo>
                  <a:cubicBezTo>
                    <a:pt x="2879" y="482"/>
                    <a:pt x="2877" y="483"/>
                    <a:pt x="2877" y="481"/>
                  </a:cubicBezTo>
                  <a:cubicBezTo>
                    <a:pt x="2878" y="478"/>
                    <a:pt x="2877" y="478"/>
                    <a:pt x="2875" y="475"/>
                  </a:cubicBezTo>
                  <a:cubicBezTo>
                    <a:pt x="2874" y="473"/>
                    <a:pt x="2873" y="469"/>
                    <a:pt x="2870" y="472"/>
                  </a:cubicBezTo>
                  <a:cubicBezTo>
                    <a:pt x="2869" y="474"/>
                    <a:pt x="2871" y="474"/>
                    <a:pt x="2868" y="474"/>
                  </a:cubicBezTo>
                  <a:cubicBezTo>
                    <a:pt x="2867" y="474"/>
                    <a:pt x="2866" y="474"/>
                    <a:pt x="2865" y="473"/>
                  </a:cubicBezTo>
                  <a:cubicBezTo>
                    <a:pt x="2863" y="473"/>
                    <a:pt x="2861" y="472"/>
                    <a:pt x="2859" y="470"/>
                  </a:cubicBezTo>
                  <a:cubicBezTo>
                    <a:pt x="2858" y="469"/>
                    <a:pt x="2857" y="467"/>
                    <a:pt x="2857" y="465"/>
                  </a:cubicBezTo>
                  <a:cubicBezTo>
                    <a:pt x="2857" y="464"/>
                    <a:pt x="2856" y="457"/>
                    <a:pt x="2854" y="457"/>
                  </a:cubicBezTo>
                  <a:cubicBezTo>
                    <a:pt x="2854" y="457"/>
                    <a:pt x="2849" y="459"/>
                    <a:pt x="2848" y="459"/>
                  </a:cubicBezTo>
                  <a:cubicBezTo>
                    <a:pt x="2847" y="459"/>
                    <a:pt x="2846" y="460"/>
                    <a:pt x="2845" y="460"/>
                  </a:cubicBezTo>
                  <a:cubicBezTo>
                    <a:pt x="2843" y="460"/>
                    <a:pt x="2840" y="459"/>
                    <a:pt x="2838" y="459"/>
                  </a:cubicBezTo>
                  <a:cubicBezTo>
                    <a:pt x="2837" y="460"/>
                    <a:pt x="2836" y="461"/>
                    <a:pt x="2835" y="461"/>
                  </a:cubicBezTo>
                  <a:cubicBezTo>
                    <a:pt x="2834" y="462"/>
                    <a:pt x="2833" y="463"/>
                    <a:pt x="2831" y="464"/>
                  </a:cubicBezTo>
                  <a:cubicBezTo>
                    <a:pt x="2831" y="461"/>
                    <a:pt x="2833" y="461"/>
                    <a:pt x="2835" y="460"/>
                  </a:cubicBezTo>
                  <a:cubicBezTo>
                    <a:pt x="2834" y="459"/>
                    <a:pt x="2827" y="453"/>
                    <a:pt x="2829" y="452"/>
                  </a:cubicBezTo>
                  <a:cubicBezTo>
                    <a:pt x="2830" y="451"/>
                    <a:pt x="2834" y="453"/>
                    <a:pt x="2835" y="454"/>
                  </a:cubicBezTo>
                  <a:cubicBezTo>
                    <a:pt x="2837" y="455"/>
                    <a:pt x="2837" y="456"/>
                    <a:pt x="2840" y="455"/>
                  </a:cubicBezTo>
                  <a:cubicBezTo>
                    <a:pt x="2841" y="454"/>
                    <a:pt x="2844" y="454"/>
                    <a:pt x="2845" y="455"/>
                  </a:cubicBezTo>
                  <a:cubicBezTo>
                    <a:pt x="2847" y="455"/>
                    <a:pt x="2848" y="458"/>
                    <a:pt x="2850" y="457"/>
                  </a:cubicBezTo>
                  <a:cubicBezTo>
                    <a:pt x="2854" y="455"/>
                    <a:pt x="2850" y="451"/>
                    <a:pt x="2848" y="450"/>
                  </a:cubicBezTo>
                  <a:cubicBezTo>
                    <a:pt x="2846" y="448"/>
                    <a:pt x="2845" y="449"/>
                    <a:pt x="2842" y="449"/>
                  </a:cubicBezTo>
                  <a:cubicBezTo>
                    <a:pt x="2840" y="449"/>
                    <a:pt x="2838" y="448"/>
                    <a:pt x="2837" y="447"/>
                  </a:cubicBezTo>
                  <a:cubicBezTo>
                    <a:pt x="2838" y="448"/>
                    <a:pt x="2840" y="449"/>
                    <a:pt x="2841" y="449"/>
                  </a:cubicBezTo>
                  <a:cubicBezTo>
                    <a:pt x="2843" y="449"/>
                    <a:pt x="2844" y="447"/>
                    <a:pt x="2846" y="447"/>
                  </a:cubicBezTo>
                  <a:cubicBezTo>
                    <a:pt x="2847" y="447"/>
                    <a:pt x="2850" y="449"/>
                    <a:pt x="2852" y="450"/>
                  </a:cubicBezTo>
                  <a:cubicBezTo>
                    <a:pt x="2852" y="450"/>
                    <a:pt x="2852" y="451"/>
                    <a:pt x="2852" y="452"/>
                  </a:cubicBezTo>
                  <a:cubicBezTo>
                    <a:pt x="2853" y="452"/>
                    <a:pt x="2854" y="452"/>
                    <a:pt x="2854" y="452"/>
                  </a:cubicBezTo>
                  <a:cubicBezTo>
                    <a:pt x="2855" y="452"/>
                    <a:pt x="2858" y="453"/>
                    <a:pt x="2856" y="454"/>
                  </a:cubicBezTo>
                  <a:cubicBezTo>
                    <a:pt x="2854" y="456"/>
                    <a:pt x="2861" y="457"/>
                    <a:pt x="2860" y="458"/>
                  </a:cubicBezTo>
                  <a:cubicBezTo>
                    <a:pt x="2865" y="460"/>
                    <a:pt x="2870" y="460"/>
                    <a:pt x="2876" y="458"/>
                  </a:cubicBezTo>
                  <a:cubicBezTo>
                    <a:pt x="2884" y="456"/>
                    <a:pt x="2892" y="454"/>
                    <a:pt x="2899" y="452"/>
                  </a:cubicBezTo>
                  <a:cubicBezTo>
                    <a:pt x="2901" y="451"/>
                    <a:pt x="2905" y="449"/>
                    <a:pt x="2905" y="447"/>
                  </a:cubicBezTo>
                  <a:cubicBezTo>
                    <a:pt x="2905" y="447"/>
                    <a:pt x="2905" y="447"/>
                    <a:pt x="2905" y="448"/>
                  </a:cubicBezTo>
                  <a:cubicBezTo>
                    <a:pt x="2906" y="448"/>
                    <a:pt x="2906" y="448"/>
                    <a:pt x="2907" y="447"/>
                  </a:cubicBezTo>
                  <a:cubicBezTo>
                    <a:pt x="2909" y="447"/>
                    <a:pt x="2911" y="446"/>
                    <a:pt x="2912" y="445"/>
                  </a:cubicBezTo>
                  <a:cubicBezTo>
                    <a:pt x="2912" y="445"/>
                    <a:pt x="2912" y="445"/>
                    <a:pt x="2912" y="445"/>
                  </a:cubicBezTo>
                  <a:cubicBezTo>
                    <a:pt x="2914" y="443"/>
                    <a:pt x="2913" y="440"/>
                    <a:pt x="2915" y="438"/>
                  </a:cubicBezTo>
                  <a:cubicBezTo>
                    <a:pt x="2914" y="438"/>
                    <a:pt x="2913" y="438"/>
                    <a:pt x="2913" y="438"/>
                  </a:cubicBezTo>
                  <a:cubicBezTo>
                    <a:pt x="2910" y="439"/>
                    <a:pt x="2907" y="439"/>
                    <a:pt x="2905" y="440"/>
                  </a:cubicBezTo>
                  <a:cubicBezTo>
                    <a:pt x="2905" y="440"/>
                    <a:pt x="2905" y="440"/>
                    <a:pt x="2905" y="440"/>
                  </a:cubicBezTo>
                  <a:cubicBezTo>
                    <a:pt x="2905" y="439"/>
                    <a:pt x="2903" y="440"/>
                    <a:pt x="2902" y="439"/>
                  </a:cubicBezTo>
                  <a:cubicBezTo>
                    <a:pt x="2903" y="439"/>
                    <a:pt x="2904" y="438"/>
                    <a:pt x="2904" y="438"/>
                  </a:cubicBezTo>
                  <a:cubicBezTo>
                    <a:pt x="2909" y="436"/>
                    <a:pt x="2914" y="434"/>
                    <a:pt x="2918" y="433"/>
                  </a:cubicBezTo>
                  <a:cubicBezTo>
                    <a:pt x="2917" y="431"/>
                    <a:pt x="2919" y="430"/>
                    <a:pt x="2917" y="429"/>
                  </a:cubicBezTo>
                  <a:cubicBezTo>
                    <a:pt x="2915" y="429"/>
                    <a:pt x="2913" y="427"/>
                    <a:pt x="2912" y="426"/>
                  </a:cubicBezTo>
                  <a:cubicBezTo>
                    <a:pt x="2910" y="425"/>
                    <a:pt x="2910" y="423"/>
                    <a:pt x="2910" y="420"/>
                  </a:cubicBezTo>
                  <a:cubicBezTo>
                    <a:pt x="2910" y="419"/>
                    <a:pt x="2910" y="410"/>
                    <a:pt x="2912" y="414"/>
                  </a:cubicBezTo>
                  <a:cubicBezTo>
                    <a:pt x="2912" y="414"/>
                    <a:pt x="2911" y="414"/>
                    <a:pt x="2911" y="414"/>
                  </a:cubicBezTo>
                  <a:cubicBezTo>
                    <a:pt x="2912" y="416"/>
                    <a:pt x="2915" y="415"/>
                    <a:pt x="2916" y="414"/>
                  </a:cubicBezTo>
                  <a:cubicBezTo>
                    <a:pt x="2920" y="413"/>
                    <a:pt x="2919" y="411"/>
                    <a:pt x="2917" y="409"/>
                  </a:cubicBezTo>
                  <a:cubicBezTo>
                    <a:pt x="2916" y="408"/>
                    <a:pt x="2921" y="404"/>
                    <a:pt x="2922" y="407"/>
                  </a:cubicBezTo>
                  <a:cubicBezTo>
                    <a:pt x="2923" y="409"/>
                    <a:pt x="2922" y="409"/>
                    <a:pt x="2922" y="410"/>
                  </a:cubicBezTo>
                  <a:cubicBezTo>
                    <a:pt x="2922" y="411"/>
                    <a:pt x="2922" y="412"/>
                    <a:pt x="2923" y="412"/>
                  </a:cubicBezTo>
                  <a:cubicBezTo>
                    <a:pt x="2927" y="411"/>
                    <a:pt x="2930" y="408"/>
                    <a:pt x="2933" y="406"/>
                  </a:cubicBezTo>
                  <a:cubicBezTo>
                    <a:pt x="2933" y="409"/>
                    <a:pt x="2934" y="412"/>
                    <a:pt x="2932" y="414"/>
                  </a:cubicBezTo>
                  <a:cubicBezTo>
                    <a:pt x="2932" y="415"/>
                    <a:pt x="2931" y="415"/>
                    <a:pt x="2930" y="416"/>
                  </a:cubicBezTo>
                  <a:cubicBezTo>
                    <a:pt x="2930" y="416"/>
                    <a:pt x="2930" y="417"/>
                    <a:pt x="2929" y="418"/>
                  </a:cubicBezTo>
                  <a:cubicBezTo>
                    <a:pt x="2928" y="420"/>
                    <a:pt x="2926" y="418"/>
                    <a:pt x="2925" y="417"/>
                  </a:cubicBezTo>
                  <a:cubicBezTo>
                    <a:pt x="2925" y="418"/>
                    <a:pt x="2926" y="419"/>
                    <a:pt x="2926" y="419"/>
                  </a:cubicBezTo>
                  <a:cubicBezTo>
                    <a:pt x="2926" y="420"/>
                    <a:pt x="2926" y="422"/>
                    <a:pt x="2926" y="422"/>
                  </a:cubicBezTo>
                  <a:cubicBezTo>
                    <a:pt x="2927" y="423"/>
                    <a:pt x="2930" y="425"/>
                    <a:pt x="2931" y="426"/>
                  </a:cubicBezTo>
                  <a:cubicBezTo>
                    <a:pt x="2933" y="427"/>
                    <a:pt x="2935" y="426"/>
                    <a:pt x="2934" y="429"/>
                  </a:cubicBezTo>
                  <a:cubicBezTo>
                    <a:pt x="2934" y="429"/>
                    <a:pt x="2933" y="431"/>
                    <a:pt x="2933" y="431"/>
                  </a:cubicBezTo>
                  <a:cubicBezTo>
                    <a:pt x="2933" y="432"/>
                    <a:pt x="2936" y="432"/>
                    <a:pt x="2937" y="432"/>
                  </a:cubicBezTo>
                  <a:cubicBezTo>
                    <a:pt x="2949" y="432"/>
                    <a:pt x="2962" y="430"/>
                    <a:pt x="2973" y="434"/>
                  </a:cubicBezTo>
                  <a:cubicBezTo>
                    <a:pt x="2977" y="435"/>
                    <a:pt x="2982" y="436"/>
                    <a:pt x="2983" y="439"/>
                  </a:cubicBezTo>
                  <a:cubicBezTo>
                    <a:pt x="2983" y="441"/>
                    <a:pt x="2984" y="442"/>
                    <a:pt x="2985" y="444"/>
                  </a:cubicBezTo>
                  <a:cubicBezTo>
                    <a:pt x="2985" y="445"/>
                    <a:pt x="2985" y="446"/>
                    <a:pt x="2985" y="446"/>
                  </a:cubicBezTo>
                  <a:cubicBezTo>
                    <a:pt x="2986" y="448"/>
                    <a:pt x="2987" y="450"/>
                    <a:pt x="2988" y="452"/>
                  </a:cubicBezTo>
                  <a:cubicBezTo>
                    <a:pt x="2989" y="453"/>
                    <a:pt x="2990" y="456"/>
                    <a:pt x="2992" y="457"/>
                  </a:cubicBezTo>
                  <a:cubicBezTo>
                    <a:pt x="2992" y="457"/>
                    <a:pt x="2994" y="456"/>
                    <a:pt x="2995" y="456"/>
                  </a:cubicBezTo>
                  <a:cubicBezTo>
                    <a:pt x="2997" y="457"/>
                    <a:pt x="2998" y="456"/>
                    <a:pt x="3000" y="456"/>
                  </a:cubicBezTo>
                  <a:cubicBezTo>
                    <a:pt x="3002" y="456"/>
                    <a:pt x="3007" y="458"/>
                    <a:pt x="3010" y="459"/>
                  </a:cubicBezTo>
                  <a:cubicBezTo>
                    <a:pt x="3016" y="461"/>
                    <a:pt x="3018" y="470"/>
                    <a:pt x="3025" y="470"/>
                  </a:cubicBezTo>
                  <a:cubicBezTo>
                    <a:pt x="3027" y="470"/>
                    <a:pt x="3029" y="469"/>
                    <a:pt x="3030" y="468"/>
                  </a:cubicBezTo>
                  <a:cubicBezTo>
                    <a:pt x="3033" y="466"/>
                    <a:pt x="3030" y="465"/>
                    <a:pt x="3031" y="462"/>
                  </a:cubicBezTo>
                  <a:cubicBezTo>
                    <a:pt x="3034" y="465"/>
                    <a:pt x="3031" y="472"/>
                    <a:pt x="3035" y="473"/>
                  </a:cubicBezTo>
                  <a:cubicBezTo>
                    <a:pt x="3037" y="473"/>
                    <a:pt x="3039" y="471"/>
                    <a:pt x="3040" y="471"/>
                  </a:cubicBezTo>
                  <a:cubicBezTo>
                    <a:pt x="3041" y="468"/>
                    <a:pt x="3040" y="468"/>
                    <a:pt x="3038" y="466"/>
                  </a:cubicBezTo>
                  <a:cubicBezTo>
                    <a:pt x="3040" y="466"/>
                    <a:pt x="3042" y="468"/>
                    <a:pt x="3045" y="468"/>
                  </a:cubicBezTo>
                  <a:cubicBezTo>
                    <a:pt x="3047" y="469"/>
                    <a:pt x="3050" y="468"/>
                    <a:pt x="3052" y="468"/>
                  </a:cubicBezTo>
                  <a:cubicBezTo>
                    <a:pt x="3048" y="466"/>
                    <a:pt x="3043" y="465"/>
                    <a:pt x="3039" y="463"/>
                  </a:cubicBezTo>
                  <a:cubicBezTo>
                    <a:pt x="3036" y="461"/>
                    <a:pt x="3037" y="460"/>
                    <a:pt x="3039" y="459"/>
                  </a:cubicBezTo>
                  <a:cubicBezTo>
                    <a:pt x="3042" y="458"/>
                    <a:pt x="3043" y="457"/>
                    <a:pt x="3040" y="455"/>
                  </a:cubicBezTo>
                  <a:cubicBezTo>
                    <a:pt x="3039" y="454"/>
                    <a:pt x="3037" y="455"/>
                    <a:pt x="3036" y="456"/>
                  </a:cubicBezTo>
                  <a:cubicBezTo>
                    <a:pt x="3037" y="455"/>
                    <a:pt x="3037" y="454"/>
                    <a:pt x="3038" y="454"/>
                  </a:cubicBezTo>
                  <a:cubicBezTo>
                    <a:pt x="3040" y="453"/>
                    <a:pt x="3041" y="455"/>
                    <a:pt x="3043" y="454"/>
                  </a:cubicBezTo>
                  <a:cubicBezTo>
                    <a:pt x="3044" y="454"/>
                    <a:pt x="3045" y="453"/>
                    <a:pt x="3046" y="453"/>
                  </a:cubicBezTo>
                  <a:cubicBezTo>
                    <a:pt x="3048" y="453"/>
                    <a:pt x="3049" y="452"/>
                    <a:pt x="3050" y="452"/>
                  </a:cubicBezTo>
                  <a:cubicBezTo>
                    <a:pt x="3053" y="450"/>
                    <a:pt x="3056" y="448"/>
                    <a:pt x="3053" y="445"/>
                  </a:cubicBezTo>
                  <a:cubicBezTo>
                    <a:pt x="3051" y="442"/>
                    <a:pt x="3047" y="445"/>
                    <a:pt x="3044" y="442"/>
                  </a:cubicBezTo>
                  <a:cubicBezTo>
                    <a:pt x="3046" y="441"/>
                    <a:pt x="3046" y="442"/>
                    <a:pt x="3047" y="442"/>
                  </a:cubicBezTo>
                  <a:close/>
                  <a:moveTo>
                    <a:pt x="100" y="585"/>
                  </a:moveTo>
                  <a:cubicBezTo>
                    <a:pt x="99" y="584"/>
                    <a:pt x="97" y="582"/>
                    <a:pt x="98" y="586"/>
                  </a:cubicBezTo>
                  <a:cubicBezTo>
                    <a:pt x="98" y="587"/>
                    <a:pt x="98" y="587"/>
                    <a:pt x="98" y="589"/>
                  </a:cubicBezTo>
                  <a:cubicBezTo>
                    <a:pt x="98" y="589"/>
                    <a:pt x="97" y="590"/>
                    <a:pt x="97" y="590"/>
                  </a:cubicBezTo>
                  <a:cubicBezTo>
                    <a:pt x="97" y="590"/>
                    <a:pt x="97" y="591"/>
                    <a:pt x="97" y="592"/>
                  </a:cubicBezTo>
                  <a:cubicBezTo>
                    <a:pt x="97" y="593"/>
                    <a:pt x="96" y="594"/>
                    <a:pt x="94" y="593"/>
                  </a:cubicBezTo>
                  <a:cubicBezTo>
                    <a:pt x="91" y="593"/>
                    <a:pt x="87" y="592"/>
                    <a:pt x="84" y="592"/>
                  </a:cubicBezTo>
                  <a:cubicBezTo>
                    <a:pt x="83" y="592"/>
                    <a:pt x="81" y="591"/>
                    <a:pt x="81" y="592"/>
                  </a:cubicBezTo>
                  <a:cubicBezTo>
                    <a:pt x="79" y="592"/>
                    <a:pt x="78" y="597"/>
                    <a:pt x="77" y="599"/>
                  </a:cubicBezTo>
                  <a:cubicBezTo>
                    <a:pt x="77" y="599"/>
                    <a:pt x="77" y="599"/>
                    <a:pt x="77" y="599"/>
                  </a:cubicBezTo>
                  <a:cubicBezTo>
                    <a:pt x="77" y="599"/>
                    <a:pt x="76" y="601"/>
                    <a:pt x="75" y="601"/>
                  </a:cubicBezTo>
                  <a:cubicBezTo>
                    <a:pt x="73" y="602"/>
                    <a:pt x="70" y="601"/>
                    <a:pt x="67" y="600"/>
                  </a:cubicBezTo>
                  <a:cubicBezTo>
                    <a:pt x="68" y="600"/>
                    <a:pt x="68" y="599"/>
                    <a:pt x="69" y="599"/>
                  </a:cubicBezTo>
                  <a:cubicBezTo>
                    <a:pt x="66" y="594"/>
                    <a:pt x="63" y="588"/>
                    <a:pt x="61" y="583"/>
                  </a:cubicBezTo>
                  <a:cubicBezTo>
                    <a:pt x="59" y="580"/>
                    <a:pt x="58" y="576"/>
                    <a:pt x="56" y="573"/>
                  </a:cubicBezTo>
                  <a:cubicBezTo>
                    <a:pt x="54" y="570"/>
                    <a:pt x="44" y="566"/>
                    <a:pt x="45" y="564"/>
                  </a:cubicBezTo>
                  <a:cubicBezTo>
                    <a:pt x="46" y="560"/>
                    <a:pt x="46" y="564"/>
                    <a:pt x="48" y="563"/>
                  </a:cubicBezTo>
                  <a:cubicBezTo>
                    <a:pt x="49" y="563"/>
                    <a:pt x="51" y="558"/>
                    <a:pt x="52" y="557"/>
                  </a:cubicBezTo>
                  <a:cubicBezTo>
                    <a:pt x="52" y="557"/>
                    <a:pt x="51" y="555"/>
                    <a:pt x="51" y="555"/>
                  </a:cubicBezTo>
                  <a:cubicBezTo>
                    <a:pt x="52" y="554"/>
                    <a:pt x="57" y="555"/>
                    <a:pt x="58" y="554"/>
                  </a:cubicBezTo>
                  <a:cubicBezTo>
                    <a:pt x="59" y="554"/>
                    <a:pt x="62" y="549"/>
                    <a:pt x="63" y="548"/>
                  </a:cubicBezTo>
                  <a:cubicBezTo>
                    <a:pt x="63" y="547"/>
                    <a:pt x="65" y="549"/>
                    <a:pt x="66" y="549"/>
                  </a:cubicBezTo>
                  <a:cubicBezTo>
                    <a:pt x="73" y="553"/>
                    <a:pt x="79" y="557"/>
                    <a:pt x="86" y="561"/>
                  </a:cubicBezTo>
                  <a:cubicBezTo>
                    <a:pt x="90" y="564"/>
                    <a:pt x="92" y="566"/>
                    <a:pt x="95" y="570"/>
                  </a:cubicBezTo>
                  <a:cubicBezTo>
                    <a:pt x="98" y="573"/>
                    <a:pt x="100" y="576"/>
                    <a:pt x="102" y="578"/>
                  </a:cubicBezTo>
                  <a:cubicBezTo>
                    <a:pt x="103" y="580"/>
                    <a:pt x="101" y="583"/>
                    <a:pt x="100" y="585"/>
                  </a:cubicBezTo>
                  <a:close/>
                  <a:moveTo>
                    <a:pt x="159" y="572"/>
                  </a:moveTo>
                  <a:cubicBezTo>
                    <a:pt x="160" y="573"/>
                    <a:pt x="161" y="573"/>
                    <a:pt x="159" y="573"/>
                  </a:cubicBezTo>
                  <a:cubicBezTo>
                    <a:pt x="158" y="573"/>
                    <a:pt x="152" y="572"/>
                    <a:pt x="152" y="572"/>
                  </a:cubicBezTo>
                  <a:cubicBezTo>
                    <a:pt x="152" y="571"/>
                    <a:pt x="152" y="570"/>
                    <a:pt x="152" y="569"/>
                  </a:cubicBezTo>
                  <a:cubicBezTo>
                    <a:pt x="152" y="570"/>
                    <a:pt x="153" y="570"/>
                    <a:pt x="154" y="568"/>
                  </a:cubicBezTo>
                  <a:cubicBezTo>
                    <a:pt x="155" y="567"/>
                    <a:pt x="155" y="566"/>
                    <a:pt x="153" y="564"/>
                  </a:cubicBezTo>
                  <a:cubicBezTo>
                    <a:pt x="150" y="562"/>
                    <a:pt x="148" y="559"/>
                    <a:pt x="145" y="557"/>
                  </a:cubicBezTo>
                  <a:cubicBezTo>
                    <a:pt x="142" y="555"/>
                    <a:pt x="140" y="555"/>
                    <a:pt x="138" y="553"/>
                  </a:cubicBezTo>
                  <a:cubicBezTo>
                    <a:pt x="135" y="551"/>
                    <a:pt x="133" y="548"/>
                    <a:pt x="130" y="546"/>
                  </a:cubicBezTo>
                  <a:cubicBezTo>
                    <a:pt x="131" y="546"/>
                    <a:pt x="133" y="546"/>
                    <a:pt x="134" y="547"/>
                  </a:cubicBezTo>
                  <a:cubicBezTo>
                    <a:pt x="134" y="545"/>
                    <a:pt x="133" y="542"/>
                    <a:pt x="133" y="540"/>
                  </a:cubicBezTo>
                  <a:cubicBezTo>
                    <a:pt x="133" y="539"/>
                    <a:pt x="131" y="539"/>
                    <a:pt x="130" y="538"/>
                  </a:cubicBezTo>
                  <a:cubicBezTo>
                    <a:pt x="128" y="536"/>
                    <a:pt x="129" y="535"/>
                    <a:pt x="128" y="533"/>
                  </a:cubicBezTo>
                  <a:cubicBezTo>
                    <a:pt x="128" y="532"/>
                    <a:pt x="125" y="529"/>
                    <a:pt x="125" y="529"/>
                  </a:cubicBezTo>
                  <a:cubicBezTo>
                    <a:pt x="124" y="528"/>
                    <a:pt x="124" y="530"/>
                    <a:pt x="123" y="529"/>
                  </a:cubicBezTo>
                  <a:cubicBezTo>
                    <a:pt x="122" y="529"/>
                    <a:pt x="122" y="527"/>
                    <a:pt x="122" y="527"/>
                  </a:cubicBezTo>
                  <a:cubicBezTo>
                    <a:pt x="122" y="526"/>
                    <a:pt x="122" y="526"/>
                    <a:pt x="122" y="526"/>
                  </a:cubicBezTo>
                  <a:cubicBezTo>
                    <a:pt x="125" y="527"/>
                    <a:pt x="126" y="530"/>
                    <a:pt x="128" y="532"/>
                  </a:cubicBezTo>
                  <a:cubicBezTo>
                    <a:pt x="129" y="532"/>
                    <a:pt x="130" y="532"/>
                    <a:pt x="130" y="533"/>
                  </a:cubicBezTo>
                  <a:cubicBezTo>
                    <a:pt x="130" y="534"/>
                    <a:pt x="129" y="533"/>
                    <a:pt x="129" y="534"/>
                  </a:cubicBezTo>
                  <a:cubicBezTo>
                    <a:pt x="130" y="537"/>
                    <a:pt x="134" y="538"/>
                    <a:pt x="137" y="540"/>
                  </a:cubicBezTo>
                  <a:cubicBezTo>
                    <a:pt x="136" y="538"/>
                    <a:pt x="136" y="536"/>
                    <a:pt x="134" y="534"/>
                  </a:cubicBezTo>
                  <a:cubicBezTo>
                    <a:pt x="135" y="535"/>
                    <a:pt x="136" y="535"/>
                    <a:pt x="137" y="536"/>
                  </a:cubicBezTo>
                  <a:cubicBezTo>
                    <a:pt x="136" y="534"/>
                    <a:pt x="134" y="529"/>
                    <a:pt x="132" y="528"/>
                  </a:cubicBezTo>
                  <a:cubicBezTo>
                    <a:pt x="134" y="529"/>
                    <a:pt x="136" y="532"/>
                    <a:pt x="138" y="533"/>
                  </a:cubicBezTo>
                  <a:cubicBezTo>
                    <a:pt x="137" y="529"/>
                    <a:pt x="133" y="527"/>
                    <a:pt x="132" y="524"/>
                  </a:cubicBezTo>
                  <a:cubicBezTo>
                    <a:pt x="136" y="525"/>
                    <a:pt x="138" y="529"/>
                    <a:pt x="139" y="532"/>
                  </a:cubicBezTo>
                  <a:cubicBezTo>
                    <a:pt x="140" y="533"/>
                    <a:pt x="140" y="535"/>
                    <a:pt x="141" y="537"/>
                  </a:cubicBezTo>
                  <a:cubicBezTo>
                    <a:pt x="142" y="537"/>
                    <a:pt x="144" y="541"/>
                    <a:pt x="145" y="540"/>
                  </a:cubicBezTo>
                  <a:cubicBezTo>
                    <a:pt x="147" y="538"/>
                    <a:pt x="143" y="535"/>
                    <a:pt x="143" y="534"/>
                  </a:cubicBezTo>
                  <a:cubicBezTo>
                    <a:pt x="144" y="534"/>
                    <a:pt x="145" y="536"/>
                    <a:pt x="147" y="536"/>
                  </a:cubicBezTo>
                  <a:cubicBezTo>
                    <a:pt x="148" y="536"/>
                    <a:pt x="148" y="536"/>
                    <a:pt x="149" y="537"/>
                  </a:cubicBezTo>
                  <a:cubicBezTo>
                    <a:pt x="151" y="534"/>
                    <a:pt x="153" y="530"/>
                    <a:pt x="151" y="527"/>
                  </a:cubicBezTo>
                  <a:cubicBezTo>
                    <a:pt x="151" y="526"/>
                    <a:pt x="150" y="525"/>
                    <a:pt x="149" y="525"/>
                  </a:cubicBezTo>
                  <a:cubicBezTo>
                    <a:pt x="149" y="525"/>
                    <a:pt x="149" y="524"/>
                    <a:pt x="149" y="524"/>
                  </a:cubicBezTo>
                  <a:cubicBezTo>
                    <a:pt x="148" y="524"/>
                    <a:pt x="147" y="525"/>
                    <a:pt x="147" y="525"/>
                  </a:cubicBezTo>
                  <a:cubicBezTo>
                    <a:pt x="144" y="525"/>
                    <a:pt x="143" y="521"/>
                    <a:pt x="141" y="521"/>
                  </a:cubicBezTo>
                  <a:cubicBezTo>
                    <a:pt x="140" y="522"/>
                    <a:pt x="140" y="523"/>
                    <a:pt x="141" y="525"/>
                  </a:cubicBezTo>
                  <a:cubicBezTo>
                    <a:pt x="141" y="525"/>
                    <a:pt x="141" y="525"/>
                    <a:pt x="141" y="525"/>
                  </a:cubicBezTo>
                  <a:cubicBezTo>
                    <a:pt x="142" y="525"/>
                    <a:pt x="142" y="527"/>
                    <a:pt x="143" y="528"/>
                  </a:cubicBezTo>
                  <a:cubicBezTo>
                    <a:pt x="143" y="527"/>
                    <a:pt x="142" y="526"/>
                    <a:pt x="141" y="525"/>
                  </a:cubicBezTo>
                  <a:cubicBezTo>
                    <a:pt x="140" y="524"/>
                    <a:pt x="140" y="524"/>
                    <a:pt x="139" y="523"/>
                  </a:cubicBezTo>
                  <a:cubicBezTo>
                    <a:pt x="138" y="522"/>
                    <a:pt x="137" y="521"/>
                    <a:pt x="136" y="520"/>
                  </a:cubicBezTo>
                  <a:cubicBezTo>
                    <a:pt x="134" y="518"/>
                    <a:pt x="134" y="517"/>
                    <a:pt x="133" y="515"/>
                  </a:cubicBezTo>
                  <a:cubicBezTo>
                    <a:pt x="133" y="515"/>
                    <a:pt x="131" y="515"/>
                    <a:pt x="132" y="514"/>
                  </a:cubicBezTo>
                  <a:cubicBezTo>
                    <a:pt x="133" y="513"/>
                    <a:pt x="136" y="515"/>
                    <a:pt x="137" y="516"/>
                  </a:cubicBezTo>
                  <a:cubicBezTo>
                    <a:pt x="143" y="519"/>
                    <a:pt x="149" y="522"/>
                    <a:pt x="156" y="525"/>
                  </a:cubicBezTo>
                  <a:cubicBezTo>
                    <a:pt x="158" y="526"/>
                    <a:pt x="158" y="533"/>
                    <a:pt x="157" y="535"/>
                  </a:cubicBezTo>
                  <a:cubicBezTo>
                    <a:pt x="157" y="537"/>
                    <a:pt x="154" y="538"/>
                    <a:pt x="156" y="540"/>
                  </a:cubicBezTo>
                  <a:cubicBezTo>
                    <a:pt x="160" y="546"/>
                    <a:pt x="164" y="551"/>
                    <a:pt x="168" y="557"/>
                  </a:cubicBezTo>
                  <a:cubicBezTo>
                    <a:pt x="171" y="559"/>
                    <a:pt x="168" y="560"/>
                    <a:pt x="168" y="563"/>
                  </a:cubicBezTo>
                  <a:cubicBezTo>
                    <a:pt x="169" y="564"/>
                    <a:pt x="169" y="564"/>
                    <a:pt x="170" y="565"/>
                  </a:cubicBezTo>
                  <a:cubicBezTo>
                    <a:pt x="167" y="568"/>
                    <a:pt x="163" y="570"/>
                    <a:pt x="159" y="572"/>
                  </a:cubicBezTo>
                  <a:close/>
                  <a:moveTo>
                    <a:pt x="1569" y="723"/>
                  </a:moveTo>
                  <a:cubicBezTo>
                    <a:pt x="1569" y="723"/>
                    <a:pt x="1569" y="723"/>
                    <a:pt x="1569" y="723"/>
                  </a:cubicBezTo>
                  <a:cubicBezTo>
                    <a:pt x="1569" y="724"/>
                    <a:pt x="1568" y="725"/>
                    <a:pt x="1568" y="725"/>
                  </a:cubicBezTo>
                  <a:cubicBezTo>
                    <a:pt x="1567" y="727"/>
                    <a:pt x="1568" y="728"/>
                    <a:pt x="1568" y="729"/>
                  </a:cubicBezTo>
                  <a:cubicBezTo>
                    <a:pt x="1567" y="730"/>
                    <a:pt x="1567" y="730"/>
                    <a:pt x="1567" y="731"/>
                  </a:cubicBezTo>
                  <a:cubicBezTo>
                    <a:pt x="1566" y="732"/>
                    <a:pt x="1567" y="733"/>
                    <a:pt x="1567" y="734"/>
                  </a:cubicBezTo>
                  <a:cubicBezTo>
                    <a:pt x="1567" y="735"/>
                    <a:pt x="1566" y="736"/>
                    <a:pt x="1566" y="737"/>
                  </a:cubicBezTo>
                  <a:cubicBezTo>
                    <a:pt x="1566" y="738"/>
                    <a:pt x="1565" y="740"/>
                    <a:pt x="1565" y="740"/>
                  </a:cubicBezTo>
                  <a:cubicBezTo>
                    <a:pt x="1564" y="742"/>
                    <a:pt x="1564" y="743"/>
                    <a:pt x="1564" y="744"/>
                  </a:cubicBezTo>
                  <a:cubicBezTo>
                    <a:pt x="1563" y="745"/>
                    <a:pt x="1563" y="745"/>
                    <a:pt x="1562" y="747"/>
                  </a:cubicBezTo>
                  <a:cubicBezTo>
                    <a:pt x="1562" y="749"/>
                    <a:pt x="1562" y="751"/>
                    <a:pt x="1562" y="752"/>
                  </a:cubicBezTo>
                  <a:cubicBezTo>
                    <a:pt x="1562" y="756"/>
                    <a:pt x="1563" y="758"/>
                    <a:pt x="1561" y="762"/>
                  </a:cubicBezTo>
                  <a:cubicBezTo>
                    <a:pt x="1560" y="764"/>
                    <a:pt x="1557" y="771"/>
                    <a:pt x="1554" y="772"/>
                  </a:cubicBezTo>
                  <a:cubicBezTo>
                    <a:pt x="1551" y="773"/>
                    <a:pt x="1554" y="769"/>
                    <a:pt x="1553" y="768"/>
                  </a:cubicBezTo>
                  <a:cubicBezTo>
                    <a:pt x="1550" y="764"/>
                    <a:pt x="1545" y="772"/>
                    <a:pt x="1544" y="775"/>
                  </a:cubicBezTo>
                  <a:cubicBezTo>
                    <a:pt x="1546" y="774"/>
                    <a:pt x="1548" y="771"/>
                    <a:pt x="1550" y="772"/>
                  </a:cubicBezTo>
                  <a:cubicBezTo>
                    <a:pt x="1552" y="773"/>
                    <a:pt x="1552" y="777"/>
                    <a:pt x="1552" y="779"/>
                  </a:cubicBezTo>
                  <a:cubicBezTo>
                    <a:pt x="1551" y="780"/>
                    <a:pt x="1548" y="780"/>
                    <a:pt x="1547" y="781"/>
                  </a:cubicBezTo>
                  <a:cubicBezTo>
                    <a:pt x="1546" y="781"/>
                    <a:pt x="1543" y="782"/>
                    <a:pt x="1542" y="783"/>
                  </a:cubicBezTo>
                  <a:cubicBezTo>
                    <a:pt x="1539" y="785"/>
                    <a:pt x="1537" y="788"/>
                    <a:pt x="1535" y="790"/>
                  </a:cubicBezTo>
                  <a:cubicBezTo>
                    <a:pt x="1532" y="794"/>
                    <a:pt x="1530" y="795"/>
                    <a:pt x="1526" y="795"/>
                  </a:cubicBezTo>
                  <a:cubicBezTo>
                    <a:pt x="1521" y="796"/>
                    <a:pt x="1516" y="801"/>
                    <a:pt x="1512" y="804"/>
                  </a:cubicBezTo>
                  <a:cubicBezTo>
                    <a:pt x="1509" y="806"/>
                    <a:pt x="1507" y="804"/>
                    <a:pt x="1503" y="805"/>
                  </a:cubicBezTo>
                  <a:cubicBezTo>
                    <a:pt x="1501" y="805"/>
                    <a:pt x="1500" y="806"/>
                    <a:pt x="1500" y="808"/>
                  </a:cubicBezTo>
                  <a:cubicBezTo>
                    <a:pt x="1500" y="810"/>
                    <a:pt x="1501" y="809"/>
                    <a:pt x="1500" y="811"/>
                  </a:cubicBezTo>
                  <a:cubicBezTo>
                    <a:pt x="1499" y="813"/>
                    <a:pt x="1498" y="814"/>
                    <a:pt x="1497" y="815"/>
                  </a:cubicBezTo>
                  <a:cubicBezTo>
                    <a:pt x="1495" y="819"/>
                    <a:pt x="1494" y="820"/>
                    <a:pt x="1490" y="821"/>
                  </a:cubicBezTo>
                  <a:cubicBezTo>
                    <a:pt x="1481" y="824"/>
                    <a:pt x="1472" y="828"/>
                    <a:pt x="1462" y="826"/>
                  </a:cubicBezTo>
                  <a:cubicBezTo>
                    <a:pt x="1460" y="826"/>
                    <a:pt x="1458" y="824"/>
                    <a:pt x="1456" y="823"/>
                  </a:cubicBezTo>
                  <a:cubicBezTo>
                    <a:pt x="1455" y="823"/>
                    <a:pt x="1453" y="823"/>
                    <a:pt x="1452" y="822"/>
                  </a:cubicBezTo>
                  <a:cubicBezTo>
                    <a:pt x="1450" y="820"/>
                    <a:pt x="1457" y="820"/>
                    <a:pt x="1459" y="819"/>
                  </a:cubicBezTo>
                  <a:cubicBezTo>
                    <a:pt x="1469" y="818"/>
                    <a:pt x="1482" y="817"/>
                    <a:pt x="1489" y="808"/>
                  </a:cubicBezTo>
                  <a:cubicBezTo>
                    <a:pt x="1493" y="804"/>
                    <a:pt x="1495" y="800"/>
                    <a:pt x="1501" y="798"/>
                  </a:cubicBezTo>
                  <a:cubicBezTo>
                    <a:pt x="1503" y="797"/>
                    <a:pt x="1504" y="797"/>
                    <a:pt x="1505" y="795"/>
                  </a:cubicBezTo>
                  <a:cubicBezTo>
                    <a:pt x="1507" y="794"/>
                    <a:pt x="1513" y="790"/>
                    <a:pt x="1509" y="787"/>
                  </a:cubicBezTo>
                  <a:cubicBezTo>
                    <a:pt x="1519" y="779"/>
                    <a:pt x="1532" y="773"/>
                    <a:pt x="1539" y="761"/>
                  </a:cubicBezTo>
                  <a:cubicBezTo>
                    <a:pt x="1544" y="751"/>
                    <a:pt x="1551" y="741"/>
                    <a:pt x="1554" y="730"/>
                  </a:cubicBezTo>
                  <a:cubicBezTo>
                    <a:pt x="1555" y="726"/>
                    <a:pt x="1556" y="722"/>
                    <a:pt x="1559" y="719"/>
                  </a:cubicBezTo>
                  <a:cubicBezTo>
                    <a:pt x="1561" y="717"/>
                    <a:pt x="1562" y="715"/>
                    <a:pt x="1565" y="715"/>
                  </a:cubicBezTo>
                  <a:cubicBezTo>
                    <a:pt x="1566" y="715"/>
                    <a:pt x="1567" y="716"/>
                    <a:pt x="1568" y="716"/>
                  </a:cubicBezTo>
                  <a:cubicBezTo>
                    <a:pt x="1567" y="715"/>
                    <a:pt x="1565" y="715"/>
                    <a:pt x="1564" y="714"/>
                  </a:cubicBezTo>
                  <a:cubicBezTo>
                    <a:pt x="1567" y="714"/>
                    <a:pt x="1570" y="715"/>
                    <a:pt x="1571" y="718"/>
                  </a:cubicBezTo>
                  <a:cubicBezTo>
                    <a:pt x="1569" y="719"/>
                    <a:pt x="1569" y="720"/>
                    <a:pt x="1569" y="721"/>
                  </a:cubicBezTo>
                  <a:cubicBezTo>
                    <a:pt x="1569" y="722"/>
                    <a:pt x="1569" y="722"/>
                    <a:pt x="1569" y="7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84" name="Freeform 581"/>
            <p:cNvSpPr/>
            <p:nvPr/>
          </p:nvSpPr>
          <p:spPr bwMode="auto">
            <a:xfrm>
              <a:off x="3920335" y="4977858"/>
              <a:ext cx="193703" cy="97520"/>
            </a:xfrm>
            <a:custGeom>
              <a:gdLst>
                <a:gd name="T0" fmla="*/ 50 w 58"/>
                <a:gd name="T1" fmla="*/ 8 h 28"/>
                <a:gd name="T2" fmla="*/ 50 w 58"/>
                <a:gd name="T3" fmla="*/ 7 h 28"/>
                <a:gd name="T4" fmla="*/ 44 w 58"/>
                <a:gd name="T5" fmla="*/ 5 h 28"/>
                <a:gd name="T6" fmla="*/ 41 w 58"/>
                <a:gd name="T7" fmla="*/ 6 h 28"/>
                <a:gd name="T8" fmla="*/ 37 w 58"/>
                <a:gd name="T9" fmla="*/ 6 h 28"/>
                <a:gd name="T10" fmla="*/ 36 w 58"/>
                <a:gd name="T11" fmla="*/ 6 h 28"/>
                <a:gd name="T12" fmla="*/ 32 w 58"/>
                <a:gd name="T13" fmla="*/ 5 h 28"/>
                <a:gd name="T14" fmla="*/ 30 w 58"/>
                <a:gd name="T15" fmla="*/ 5 h 28"/>
                <a:gd name="T16" fmla="*/ 28 w 58"/>
                <a:gd name="T17" fmla="*/ 5 h 28"/>
                <a:gd name="T18" fmla="*/ 26 w 58"/>
                <a:gd name="T19" fmla="*/ 0 h 28"/>
                <a:gd name="T20" fmla="*/ 23 w 58"/>
                <a:gd name="T21" fmla="*/ 0 h 28"/>
                <a:gd name="T22" fmla="*/ 21 w 58"/>
                <a:gd name="T23" fmla="*/ 0 h 28"/>
                <a:gd name="T24" fmla="*/ 11 w 58"/>
                <a:gd name="T25" fmla="*/ 6 h 28"/>
                <a:gd name="T26" fmla="*/ 7 w 58"/>
                <a:gd name="T27" fmla="*/ 11 h 28"/>
                <a:gd name="T28" fmla="*/ 2 w 58"/>
                <a:gd name="T29" fmla="*/ 18 h 28"/>
                <a:gd name="T30" fmla="*/ 2 w 58"/>
                <a:gd name="T31" fmla="*/ 20 h 28"/>
                <a:gd name="T32" fmla="*/ 0 w 58"/>
                <a:gd name="T33" fmla="*/ 21 h 28"/>
                <a:gd name="T34" fmla="*/ 2 w 58"/>
                <a:gd name="T35" fmla="*/ 24 h 28"/>
                <a:gd name="T36" fmla="*/ 5 w 58"/>
                <a:gd name="T37" fmla="*/ 26 h 28"/>
                <a:gd name="T38" fmla="*/ 6 w 58"/>
                <a:gd name="T39" fmla="*/ 26 h 28"/>
                <a:gd name="T40" fmla="*/ 8 w 58"/>
                <a:gd name="T41" fmla="*/ 26 h 28"/>
                <a:gd name="T42" fmla="*/ 9 w 58"/>
                <a:gd name="T43" fmla="*/ 26 h 28"/>
                <a:gd name="T44" fmla="*/ 11 w 58"/>
                <a:gd name="T45" fmla="*/ 26 h 28"/>
                <a:gd name="T46" fmla="*/ 14 w 58"/>
                <a:gd name="T47" fmla="*/ 27 h 28"/>
                <a:gd name="T48" fmla="*/ 15 w 58"/>
                <a:gd name="T49" fmla="*/ 28 h 28"/>
                <a:gd name="T50" fmla="*/ 17 w 58"/>
                <a:gd name="T51" fmla="*/ 28 h 28"/>
                <a:gd name="T52" fmla="*/ 22 w 58"/>
                <a:gd name="T53" fmla="*/ 26 h 28"/>
                <a:gd name="T54" fmla="*/ 24 w 58"/>
                <a:gd name="T55" fmla="*/ 25 h 28"/>
                <a:gd name="T56" fmla="*/ 30 w 58"/>
                <a:gd name="T57" fmla="*/ 25 h 28"/>
                <a:gd name="T58" fmla="*/ 32 w 58"/>
                <a:gd name="T59" fmla="*/ 26 h 28"/>
                <a:gd name="T60" fmla="*/ 35 w 58"/>
                <a:gd name="T61" fmla="*/ 27 h 28"/>
                <a:gd name="T62" fmla="*/ 37 w 58"/>
                <a:gd name="T63" fmla="*/ 27 h 28"/>
                <a:gd name="T64" fmla="*/ 42 w 58"/>
                <a:gd name="T65" fmla="*/ 26 h 28"/>
                <a:gd name="T66" fmla="*/ 49 w 58"/>
                <a:gd name="T67" fmla="*/ 26 h 28"/>
                <a:gd name="T68" fmla="*/ 51 w 58"/>
                <a:gd name="T69" fmla="*/ 26 h 28"/>
                <a:gd name="T70" fmla="*/ 55 w 58"/>
                <a:gd name="T71" fmla="*/ 25 h 28"/>
                <a:gd name="T72" fmla="*/ 56 w 58"/>
                <a:gd name="T73" fmla="*/ 25 h 28"/>
                <a:gd name="T74" fmla="*/ 57 w 58"/>
                <a:gd name="T75" fmla="*/ 26 h 28"/>
                <a:gd name="T76" fmla="*/ 57 w 58"/>
                <a:gd name="T77" fmla="*/ 23 h 28"/>
                <a:gd name="T78" fmla="*/ 58 w 58"/>
                <a:gd name="T79" fmla="*/ 19 h 28"/>
                <a:gd name="T80" fmla="*/ 53 w 58"/>
                <a:gd name="T81" fmla="*/ 17 h 28"/>
                <a:gd name="T82" fmla="*/ 50 w 58"/>
                <a:gd name="T83" fmla="*/ 15 h 28"/>
                <a:gd name="T84" fmla="*/ 49 w 58"/>
                <a:gd name="T85" fmla="*/ 14 h 28"/>
                <a:gd name="T86" fmla="*/ 49 w 58"/>
                <a:gd name="T87" fmla="*/ 11 h 28"/>
                <a:gd name="T88" fmla="*/ 49 w 58"/>
                <a:gd name="T89" fmla="*/ 10 h 28"/>
                <a:gd name="T90" fmla="*/ 50 w 58"/>
                <a:gd name="T91" fmla="*/ 9 h 28"/>
                <a:gd name="T92" fmla="*/ 49 w 58"/>
                <a:gd name="T93" fmla="*/ 9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 h="28">
                  <a:moveTo>
                    <a:pt x="50" y="8"/>
                  </a:moveTo>
                  <a:cubicBezTo>
                    <a:pt x="50" y="8"/>
                    <a:pt x="50" y="8"/>
                    <a:pt x="50" y="8"/>
                  </a:cubicBezTo>
                  <a:cubicBezTo>
                    <a:pt x="50" y="7"/>
                    <a:pt x="50" y="7"/>
                    <a:pt x="50" y="7"/>
                  </a:cubicBezTo>
                  <a:cubicBezTo>
                    <a:pt x="50" y="7"/>
                    <a:pt x="50" y="7"/>
                    <a:pt x="50" y="7"/>
                  </a:cubicBezTo>
                  <a:cubicBezTo>
                    <a:pt x="50" y="7"/>
                    <a:pt x="49" y="6"/>
                    <a:pt x="48" y="6"/>
                  </a:cubicBezTo>
                  <a:cubicBezTo>
                    <a:pt x="46" y="5"/>
                    <a:pt x="44" y="5"/>
                    <a:pt x="44" y="5"/>
                  </a:cubicBezTo>
                  <a:cubicBezTo>
                    <a:pt x="44" y="5"/>
                    <a:pt x="43" y="5"/>
                    <a:pt x="42" y="6"/>
                  </a:cubicBezTo>
                  <a:cubicBezTo>
                    <a:pt x="41" y="6"/>
                    <a:pt x="41" y="6"/>
                    <a:pt x="41" y="6"/>
                  </a:cubicBezTo>
                  <a:cubicBezTo>
                    <a:pt x="40" y="7"/>
                    <a:pt x="40" y="7"/>
                    <a:pt x="40" y="7"/>
                  </a:cubicBezTo>
                  <a:cubicBezTo>
                    <a:pt x="39" y="7"/>
                    <a:pt x="38" y="6"/>
                    <a:pt x="37" y="6"/>
                  </a:cubicBezTo>
                  <a:cubicBezTo>
                    <a:pt x="36" y="6"/>
                    <a:pt x="36" y="6"/>
                    <a:pt x="36" y="6"/>
                  </a:cubicBezTo>
                  <a:cubicBezTo>
                    <a:pt x="36" y="6"/>
                    <a:pt x="36" y="6"/>
                    <a:pt x="36" y="6"/>
                  </a:cubicBezTo>
                  <a:cubicBezTo>
                    <a:pt x="35" y="5"/>
                    <a:pt x="35" y="5"/>
                    <a:pt x="35" y="5"/>
                  </a:cubicBezTo>
                  <a:cubicBezTo>
                    <a:pt x="34" y="5"/>
                    <a:pt x="33" y="5"/>
                    <a:pt x="32" y="5"/>
                  </a:cubicBezTo>
                  <a:cubicBezTo>
                    <a:pt x="32" y="5"/>
                    <a:pt x="31" y="5"/>
                    <a:pt x="31" y="5"/>
                  </a:cubicBezTo>
                  <a:cubicBezTo>
                    <a:pt x="30" y="5"/>
                    <a:pt x="30" y="5"/>
                    <a:pt x="30" y="5"/>
                  </a:cubicBezTo>
                  <a:cubicBezTo>
                    <a:pt x="30" y="5"/>
                    <a:pt x="29" y="5"/>
                    <a:pt x="29" y="5"/>
                  </a:cubicBezTo>
                  <a:cubicBezTo>
                    <a:pt x="28" y="5"/>
                    <a:pt x="28" y="5"/>
                    <a:pt x="28" y="5"/>
                  </a:cubicBezTo>
                  <a:cubicBezTo>
                    <a:pt x="26" y="3"/>
                    <a:pt x="26" y="2"/>
                    <a:pt x="26" y="1"/>
                  </a:cubicBezTo>
                  <a:cubicBezTo>
                    <a:pt x="26" y="1"/>
                    <a:pt x="26" y="1"/>
                    <a:pt x="26" y="0"/>
                  </a:cubicBezTo>
                  <a:cubicBezTo>
                    <a:pt x="25" y="0"/>
                    <a:pt x="25" y="0"/>
                    <a:pt x="24" y="0"/>
                  </a:cubicBezTo>
                  <a:cubicBezTo>
                    <a:pt x="23" y="0"/>
                    <a:pt x="23" y="0"/>
                    <a:pt x="23" y="0"/>
                  </a:cubicBezTo>
                  <a:cubicBezTo>
                    <a:pt x="23" y="0"/>
                    <a:pt x="23" y="0"/>
                    <a:pt x="22" y="0"/>
                  </a:cubicBezTo>
                  <a:cubicBezTo>
                    <a:pt x="21" y="0"/>
                    <a:pt x="21" y="0"/>
                    <a:pt x="21" y="0"/>
                  </a:cubicBezTo>
                  <a:cubicBezTo>
                    <a:pt x="17" y="1"/>
                    <a:pt x="14" y="3"/>
                    <a:pt x="13" y="4"/>
                  </a:cubicBezTo>
                  <a:cubicBezTo>
                    <a:pt x="12" y="5"/>
                    <a:pt x="12" y="6"/>
                    <a:pt x="11" y="6"/>
                  </a:cubicBezTo>
                  <a:cubicBezTo>
                    <a:pt x="11" y="6"/>
                    <a:pt x="11" y="6"/>
                    <a:pt x="11" y="6"/>
                  </a:cubicBezTo>
                  <a:cubicBezTo>
                    <a:pt x="9" y="8"/>
                    <a:pt x="8" y="10"/>
                    <a:pt x="7" y="11"/>
                  </a:cubicBezTo>
                  <a:cubicBezTo>
                    <a:pt x="6" y="12"/>
                    <a:pt x="5" y="14"/>
                    <a:pt x="5" y="15"/>
                  </a:cubicBezTo>
                  <a:cubicBezTo>
                    <a:pt x="4" y="16"/>
                    <a:pt x="3" y="17"/>
                    <a:pt x="2" y="18"/>
                  </a:cubicBezTo>
                  <a:cubicBezTo>
                    <a:pt x="2" y="19"/>
                    <a:pt x="2" y="19"/>
                    <a:pt x="2" y="19"/>
                  </a:cubicBezTo>
                  <a:cubicBezTo>
                    <a:pt x="2" y="20"/>
                    <a:pt x="2" y="20"/>
                    <a:pt x="2" y="20"/>
                  </a:cubicBezTo>
                  <a:cubicBezTo>
                    <a:pt x="0" y="21"/>
                    <a:pt x="0" y="21"/>
                    <a:pt x="0" y="21"/>
                  </a:cubicBezTo>
                  <a:cubicBezTo>
                    <a:pt x="0" y="21"/>
                    <a:pt x="0" y="21"/>
                    <a:pt x="0" y="21"/>
                  </a:cubicBezTo>
                  <a:cubicBezTo>
                    <a:pt x="1" y="22"/>
                    <a:pt x="2" y="23"/>
                    <a:pt x="2" y="24"/>
                  </a:cubicBezTo>
                  <a:cubicBezTo>
                    <a:pt x="2" y="24"/>
                    <a:pt x="2" y="24"/>
                    <a:pt x="2" y="24"/>
                  </a:cubicBezTo>
                  <a:cubicBezTo>
                    <a:pt x="3" y="24"/>
                    <a:pt x="3" y="25"/>
                    <a:pt x="3" y="25"/>
                  </a:cubicBezTo>
                  <a:cubicBezTo>
                    <a:pt x="4" y="25"/>
                    <a:pt x="4" y="25"/>
                    <a:pt x="5" y="26"/>
                  </a:cubicBezTo>
                  <a:cubicBezTo>
                    <a:pt x="5" y="26"/>
                    <a:pt x="5" y="26"/>
                    <a:pt x="5" y="26"/>
                  </a:cubicBezTo>
                  <a:cubicBezTo>
                    <a:pt x="5" y="26"/>
                    <a:pt x="6" y="26"/>
                    <a:pt x="6" y="26"/>
                  </a:cubicBezTo>
                  <a:cubicBezTo>
                    <a:pt x="6" y="26"/>
                    <a:pt x="6" y="26"/>
                    <a:pt x="6" y="26"/>
                  </a:cubicBezTo>
                  <a:cubicBezTo>
                    <a:pt x="8" y="26"/>
                    <a:pt x="8" y="26"/>
                    <a:pt x="8" y="26"/>
                  </a:cubicBezTo>
                  <a:cubicBezTo>
                    <a:pt x="8" y="26"/>
                    <a:pt x="8" y="26"/>
                    <a:pt x="8" y="26"/>
                  </a:cubicBezTo>
                  <a:cubicBezTo>
                    <a:pt x="8" y="26"/>
                    <a:pt x="9" y="26"/>
                    <a:pt x="9" y="26"/>
                  </a:cubicBezTo>
                  <a:cubicBezTo>
                    <a:pt x="9" y="26"/>
                    <a:pt x="9" y="26"/>
                    <a:pt x="9" y="26"/>
                  </a:cubicBezTo>
                  <a:cubicBezTo>
                    <a:pt x="10" y="26"/>
                    <a:pt x="10" y="26"/>
                    <a:pt x="11" y="26"/>
                  </a:cubicBezTo>
                  <a:cubicBezTo>
                    <a:pt x="12" y="26"/>
                    <a:pt x="13" y="27"/>
                    <a:pt x="14" y="27"/>
                  </a:cubicBezTo>
                  <a:cubicBezTo>
                    <a:pt x="14" y="27"/>
                    <a:pt x="14" y="27"/>
                    <a:pt x="14" y="27"/>
                  </a:cubicBezTo>
                  <a:cubicBezTo>
                    <a:pt x="16" y="22"/>
                    <a:pt x="16" y="22"/>
                    <a:pt x="16" y="22"/>
                  </a:cubicBezTo>
                  <a:cubicBezTo>
                    <a:pt x="15" y="28"/>
                    <a:pt x="15" y="28"/>
                    <a:pt x="15" y="28"/>
                  </a:cubicBezTo>
                  <a:cubicBezTo>
                    <a:pt x="15" y="28"/>
                    <a:pt x="15" y="28"/>
                    <a:pt x="15" y="28"/>
                  </a:cubicBezTo>
                  <a:cubicBezTo>
                    <a:pt x="16" y="28"/>
                    <a:pt x="17" y="28"/>
                    <a:pt x="17" y="28"/>
                  </a:cubicBezTo>
                  <a:cubicBezTo>
                    <a:pt x="18" y="28"/>
                    <a:pt x="18" y="28"/>
                    <a:pt x="18" y="28"/>
                  </a:cubicBezTo>
                  <a:cubicBezTo>
                    <a:pt x="19" y="28"/>
                    <a:pt x="21" y="27"/>
                    <a:pt x="22" y="26"/>
                  </a:cubicBezTo>
                  <a:cubicBezTo>
                    <a:pt x="24" y="26"/>
                    <a:pt x="24" y="26"/>
                    <a:pt x="24" y="26"/>
                  </a:cubicBezTo>
                  <a:cubicBezTo>
                    <a:pt x="24" y="25"/>
                    <a:pt x="24" y="25"/>
                    <a:pt x="24" y="25"/>
                  </a:cubicBezTo>
                  <a:cubicBezTo>
                    <a:pt x="25" y="25"/>
                    <a:pt x="25" y="25"/>
                    <a:pt x="26" y="25"/>
                  </a:cubicBezTo>
                  <a:cubicBezTo>
                    <a:pt x="27" y="24"/>
                    <a:pt x="29" y="24"/>
                    <a:pt x="30" y="25"/>
                  </a:cubicBezTo>
                  <a:cubicBezTo>
                    <a:pt x="30" y="25"/>
                    <a:pt x="30" y="26"/>
                    <a:pt x="31" y="26"/>
                  </a:cubicBezTo>
                  <a:cubicBezTo>
                    <a:pt x="32" y="26"/>
                    <a:pt x="32" y="26"/>
                    <a:pt x="32" y="26"/>
                  </a:cubicBezTo>
                  <a:cubicBezTo>
                    <a:pt x="32" y="26"/>
                    <a:pt x="33" y="26"/>
                    <a:pt x="34" y="27"/>
                  </a:cubicBezTo>
                  <a:cubicBezTo>
                    <a:pt x="35" y="27"/>
                    <a:pt x="35" y="27"/>
                    <a:pt x="35" y="27"/>
                  </a:cubicBezTo>
                  <a:cubicBezTo>
                    <a:pt x="35" y="27"/>
                    <a:pt x="35" y="27"/>
                    <a:pt x="35" y="27"/>
                  </a:cubicBezTo>
                  <a:cubicBezTo>
                    <a:pt x="36" y="27"/>
                    <a:pt x="37" y="27"/>
                    <a:pt x="37" y="27"/>
                  </a:cubicBezTo>
                  <a:cubicBezTo>
                    <a:pt x="39" y="27"/>
                    <a:pt x="40" y="27"/>
                    <a:pt x="42" y="26"/>
                  </a:cubicBezTo>
                  <a:cubicBezTo>
                    <a:pt x="42" y="26"/>
                    <a:pt x="42" y="26"/>
                    <a:pt x="42" y="26"/>
                  </a:cubicBezTo>
                  <a:cubicBezTo>
                    <a:pt x="44" y="26"/>
                    <a:pt x="45" y="26"/>
                    <a:pt x="47" y="26"/>
                  </a:cubicBezTo>
                  <a:cubicBezTo>
                    <a:pt x="48" y="26"/>
                    <a:pt x="49" y="26"/>
                    <a:pt x="49" y="26"/>
                  </a:cubicBezTo>
                  <a:cubicBezTo>
                    <a:pt x="50" y="26"/>
                    <a:pt x="50" y="26"/>
                    <a:pt x="50" y="26"/>
                  </a:cubicBezTo>
                  <a:cubicBezTo>
                    <a:pt x="51" y="26"/>
                    <a:pt x="51" y="26"/>
                    <a:pt x="51" y="26"/>
                  </a:cubicBezTo>
                  <a:cubicBezTo>
                    <a:pt x="52" y="26"/>
                    <a:pt x="53" y="26"/>
                    <a:pt x="55" y="25"/>
                  </a:cubicBezTo>
                  <a:cubicBezTo>
                    <a:pt x="55" y="25"/>
                    <a:pt x="55" y="25"/>
                    <a:pt x="55" y="25"/>
                  </a:cubicBezTo>
                  <a:cubicBezTo>
                    <a:pt x="56" y="25"/>
                    <a:pt x="56" y="25"/>
                    <a:pt x="56" y="25"/>
                  </a:cubicBezTo>
                  <a:cubicBezTo>
                    <a:pt x="56" y="25"/>
                    <a:pt x="56" y="25"/>
                    <a:pt x="56" y="25"/>
                  </a:cubicBezTo>
                  <a:cubicBezTo>
                    <a:pt x="56" y="25"/>
                    <a:pt x="56" y="25"/>
                    <a:pt x="57" y="26"/>
                  </a:cubicBezTo>
                  <a:cubicBezTo>
                    <a:pt x="57" y="26"/>
                    <a:pt x="57" y="26"/>
                    <a:pt x="57" y="26"/>
                  </a:cubicBezTo>
                  <a:cubicBezTo>
                    <a:pt x="58" y="26"/>
                    <a:pt x="58" y="26"/>
                    <a:pt x="58" y="26"/>
                  </a:cubicBezTo>
                  <a:cubicBezTo>
                    <a:pt x="57" y="25"/>
                    <a:pt x="57" y="24"/>
                    <a:pt x="57" y="23"/>
                  </a:cubicBezTo>
                  <a:cubicBezTo>
                    <a:pt x="56" y="22"/>
                    <a:pt x="56" y="22"/>
                    <a:pt x="56" y="21"/>
                  </a:cubicBezTo>
                  <a:cubicBezTo>
                    <a:pt x="57" y="20"/>
                    <a:pt x="57" y="19"/>
                    <a:pt x="58" y="19"/>
                  </a:cubicBezTo>
                  <a:cubicBezTo>
                    <a:pt x="57" y="18"/>
                    <a:pt x="57" y="18"/>
                    <a:pt x="56" y="18"/>
                  </a:cubicBezTo>
                  <a:cubicBezTo>
                    <a:pt x="55" y="18"/>
                    <a:pt x="54" y="18"/>
                    <a:pt x="53" y="17"/>
                  </a:cubicBezTo>
                  <a:cubicBezTo>
                    <a:pt x="52" y="17"/>
                    <a:pt x="52" y="17"/>
                    <a:pt x="51" y="16"/>
                  </a:cubicBezTo>
                  <a:cubicBezTo>
                    <a:pt x="51" y="16"/>
                    <a:pt x="50" y="16"/>
                    <a:pt x="50" y="15"/>
                  </a:cubicBezTo>
                  <a:cubicBezTo>
                    <a:pt x="50" y="15"/>
                    <a:pt x="50" y="15"/>
                    <a:pt x="49" y="15"/>
                  </a:cubicBezTo>
                  <a:cubicBezTo>
                    <a:pt x="49" y="14"/>
                    <a:pt x="49" y="14"/>
                    <a:pt x="49" y="14"/>
                  </a:cubicBezTo>
                  <a:cubicBezTo>
                    <a:pt x="49" y="13"/>
                    <a:pt x="49" y="13"/>
                    <a:pt x="49" y="13"/>
                  </a:cubicBezTo>
                  <a:cubicBezTo>
                    <a:pt x="49" y="12"/>
                    <a:pt x="49" y="12"/>
                    <a:pt x="49" y="11"/>
                  </a:cubicBezTo>
                  <a:cubicBezTo>
                    <a:pt x="49" y="11"/>
                    <a:pt x="49" y="11"/>
                    <a:pt x="49" y="11"/>
                  </a:cubicBezTo>
                  <a:cubicBezTo>
                    <a:pt x="49" y="10"/>
                    <a:pt x="49" y="10"/>
                    <a:pt x="49" y="10"/>
                  </a:cubicBezTo>
                  <a:cubicBezTo>
                    <a:pt x="49" y="10"/>
                    <a:pt x="49" y="9"/>
                    <a:pt x="49" y="9"/>
                  </a:cubicBezTo>
                  <a:cubicBezTo>
                    <a:pt x="50" y="9"/>
                    <a:pt x="50" y="9"/>
                    <a:pt x="50" y="9"/>
                  </a:cubicBezTo>
                  <a:cubicBezTo>
                    <a:pt x="49" y="9"/>
                    <a:pt x="49" y="9"/>
                    <a:pt x="49" y="9"/>
                  </a:cubicBezTo>
                  <a:cubicBezTo>
                    <a:pt x="49" y="9"/>
                    <a:pt x="49" y="9"/>
                    <a:pt x="49" y="9"/>
                  </a:cubicBezTo>
                  <a:cubicBezTo>
                    <a:pt x="50" y="8"/>
                    <a:pt x="50" y="8"/>
                    <a:pt x="5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576"/>
            <p:cNvSpPr/>
            <p:nvPr/>
          </p:nvSpPr>
          <p:spPr bwMode="auto">
            <a:xfrm>
              <a:off x="1117426" y="4066527"/>
              <a:ext cx="181576" cy="173196"/>
            </a:xfrm>
            <a:custGeom>
              <a:gdLst>
                <a:gd name="T0" fmla="*/ 49 w 52"/>
                <a:gd name="T1" fmla="*/ 50 h 50"/>
                <a:gd name="T2" fmla="*/ 51 w 52"/>
                <a:gd name="T3" fmla="*/ 49 h 50"/>
                <a:gd name="T4" fmla="*/ 52 w 52"/>
                <a:gd name="T5" fmla="*/ 49 h 50"/>
                <a:gd name="T6" fmla="*/ 51 w 52"/>
                <a:gd name="T7" fmla="*/ 47 h 50"/>
                <a:gd name="T8" fmla="*/ 50 w 52"/>
                <a:gd name="T9" fmla="*/ 46 h 50"/>
                <a:gd name="T10" fmla="*/ 50 w 52"/>
                <a:gd name="T11" fmla="*/ 40 h 50"/>
                <a:gd name="T12" fmla="*/ 36 w 52"/>
                <a:gd name="T13" fmla="*/ 30 h 50"/>
                <a:gd name="T14" fmla="*/ 36 w 52"/>
                <a:gd name="T15" fmla="*/ 25 h 50"/>
                <a:gd name="T16" fmla="*/ 40 w 52"/>
                <a:gd name="T17" fmla="*/ 24 h 50"/>
                <a:gd name="T18" fmla="*/ 40 w 52"/>
                <a:gd name="T19" fmla="*/ 23 h 50"/>
                <a:gd name="T20" fmla="*/ 38 w 52"/>
                <a:gd name="T21" fmla="*/ 20 h 50"/>
                <a:gd name="T22" fmla="*/ 35 w 52"/>
                <a:gd name="T23" fmla="*/ 18 h 50"/>
                <a:gd name="T24" fmla="*/ 33 w 52"/>
                <a:gd name="T25" fmla="*/ 8 h 50"/>
                <a:gd name="T26" fmla="*/ 34 w 52"/>
                <a:gd name="T27" fmla="*/ 7 h 50"/>
                <a:gd name="T28" fmla="*/ 32 w 52"/>
                <a:gd name="T29" fmla="*/ 6 h 50"/>
                <a:gd name="T30" fmla="*/ 28 w 52"/>
                <a:gd name="T31" fmla="*/ 5 h 50"/>
                <a:gd name="T32" fmla="*/ 21 w 52"/>
                <a:gd name="T33" fmla="*/ 7 h 50"/>
                <a:gd name="T34" fmla="*/ 26 w 52"/>
                <a:gd name="T35" fmla="*/ 1 h 50"/>
                <a:gd name="T36" fmla="*/ 25 w 52"/>
                <a:gd name="T37" fmla="*/ 0 h 50"/>
                <a:gd name="T38" fmla="*/ 22 w 52"/>
                <a:gd name="T39" fmla="*/ 1 h 50"/>
                <a:gd name="T40" fmla="*/ 20 w 52"/>
                <a:gd name="T41" fmla="*/ 1 h 50"/>
                <a:gd name="T42" fmla="*/ 17 w 52"/>
                <a:gd name="T43" fmla="*/ 2 h 50"/>
                <a:gd name="T44" fmla="*/ 12 w 52"/>
                <a:gd name="T45" fmla="*/ 2 h 50"/>
                <a:gd name="T46" fmla="*/ 1 w 52"/>
                <a:gd name="T47" fmla="*/ 4 h 50"/>
                <a:gd name="T48" fmla="*/ 1 w 52"/>
                <a:gd name="T49" fmla="*/ 5 h 50"/>
                <a:gd name="T50" fmla="*/ 2 w 52"/>
                <a:gd name="T51" fmla="*/ 6 h 50"/>
                <a:gd name="T52" fmla="*/ 2 w 52"/>
                <a:gd name="T53" fmla="*/ 8 h 50"/>
                <a:gd name="T54" fmla="*/ 2 w 52"/>
                <a:gd name="T55" fmla="*/ 10 h 50"/>
                <a:gd name="T56" fmla="*/ 2 w 52"/>
                <a:gd name="T57" fmla="*/ 15 h 50"/>
                <a:gd name="T58" fmla="*/ 0 w 52"/>
                <a:gd name="T59" fmla="*/ 16 h 50"/>
                <a:gd name="T60" fmla="*/ 2 w 52"/>
                <a:gd name="T61" fmla="*/ 20 h 50"/>
                <a:gd name="T62" fmla="*/ 5 w 52"/>
                <a:gd name="T63" fmla="*/ 23 h 50"/>
                <a:gd name="T64" fmla="*/ 9 w 52"/>
                <a:gd name="T65" fmla="*/ 24 h 50"/>
                <a:gd name="T66" fmla="*/ 21 w 52"/>
                <a:gd name="T67" fmla="*/ 31 h 50"/>
                <a:gd name="T68" fmla="*/ 26 w 52"/>
                <a:gd name="T69" fmla="*/ 29 h 50"/>
                <a:gd name="T70" fmla="*/ 29 w 52"/>
                <a:gd name="T71" fmla="*/ 31 h 50"/>
                <a:gd name="T72" fmla="*/ 31 w 52"/>
                <a:gd name="T73" fmla="*/ 33 h 50"/>
                <a:gd name="T74" fmla="*/ 33 w 52"/>
                <a:gd name="T75" fmla="*/ 34 h 50"/>
                <a:gd name="T76" fmla="*/ 34 w 52"/>
                <a:gd name="T77" fmla="*/ 35 h 50"/>
                <a:gd name="T78" fmla="*/ 37 w 52"/>
                <a:gd name="T79" fmla="*/ 34 h 50"/>
                <a:gd name="T80" fmla="*/ 41 w 52"/>
                <a:gd name="T81" fmla="*/ 35 h 50"/>
                <a:gd name="T82" fmla="*/ 42 w 52"/>
                <a:gd name="T83" fmla="*/ 39 h 50"/>
                <a:gd name="T84" fmla="*/ 43 w 52"/>
                <a:gd name="T85" fmla="*/ 40 h 50"/>
                <a:gd name="T86" fmla="*/ 49 w 52"/>
                <a:gd name="T87" fmla="*/ 49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50">
                  <a:moveTo>
                    <a:pt x="49" y="49"/>
                  </a:moveTo>
                  <a:cubicBezTo>
                    <a:pt x="49" y="50"/>
                    <a:pt x="49" y="50"/>
                    <a:pt x="49" y="50"/>
                  </a:cubicBezTo>
                  <a:cubicBezTo>
                    <a:pt x="49" y="50"/>
                    <a:pt x="49" y="50"/>
                    <a:pt x="49" y="50"/>
                  </a:cubicBezTo>
                  <a:cubicBezTo>
                    <a:pt x="50" y="49"/>
                    <a:pt x="50" y="49"/>
                    <a:pt x="51" y="49"/>
                  </a:cubicBezTo>
                  <a:cubicBezTo>
                    <a:pt x="51" y="49"/>
                    <a:pt x="51" y="49"/>
                    <a:pt x="52" y="49"/>
                  </a:cubicBezTo>
                  <a:cubicBezTo>
                    <a:pt x="52" y="49"/>
                    <a:pt x="52" y="49"/>
                    <a:pt x="52" y="49"/>
                  </a:cubicBezTo>
                  <a:cubicBezTo>
                    <a:pt x="52" y="49"/>
                    <a:pt x="51" y="48"/>
                    <a:pt x="51" y="48"/>
                  </a:cubicBezTo>
                  <a:cubicBezTo>
                    <a:pt x="51" y="48"/>
                    <a:pt x="51" y="48"/>
                    <a:pt x="51" y="47"/>
                  </a:cubicBezTo>
                  <a:cubicBezTo>
                    <a:pt x="50" y="47"/>
                    <a:pt x="50" y="47"/>
                    <a:pt x="50" y="47"/>
                  </a:cubicBezTo>
                  <a:cubicBezTo>
                    <a:pt x="50" y="46"/>
                    <a:pt x="50" y="46"/>
                    <a:pt x="50" y="46"/>
                  </a:cubicBezTo>
                  <a:cubicBezTo>
                    <a:pt x="50" y="45"/>
                    <a:pt x="50" y="44"/>
                    <a:pt x="51" y="43"/>
                  </a:cubicBezTo>
                  <a:cubicBezTo>
                    <a:pt x="50" y="42"/>
                    <a:pt x="50" y="41"/>
                    <a:pt x="50" y="40"/>
                  </a:cubicBezTo>
                  <a:cubicBezTo>
                    <a:pt x="50" y="40"/>
                    <a:pt x="50" y="39"/>
                    <a:pt x="50" y="39"/>
                  </a:cubicBezTo>
                  <a:cubicBezTo>
                    <a:pt x="45" y="36"/>
                    <a:pt x="41" y="33"/>
                    <a:pt x="36" y="30"/>
                  </a:cubicBezTo>
                  <a:cubicBezTo>
                    <a:pt x="30" y="26"/>
                    <a:pt x="30" y="26"/>
                    <a:pt x="30" y="26"/>
                  </a:cubicBezTo>
                  <a:cubicBezTo>
                    <a:pt x="36" y="25"/>
                    <a:pt x="36" y="25"/>
                    <a:pt x="36" y="25"/>
                  </a:cubicBezTo>
                  <a:cubicBezTo>
                    <a:pt x="36" y="25"/>
                    <a:pt x="37" y="25"/>
                    <a:pt x="38" y="24"/>
                  </a:cubicBezTo>
                  <a:cubicBezTo>
                    <a:pt x="39" y="24"/>
                    <a:pt x="40" y="24"/>
                    <a:pt x="40" y="24"/>
                  </a:cubicBezTo>
                  <a:cubicBezTo>
                    <a:pt x="40" y="24"/>
                    <a:pt x="40" y="24"/>
                    <a:pt x="40" y="24"/>
                  </a:cubicBezTo>
                  <a:cubicBezTo>
                    <a:pt x="40" y="23"/>
                    <a:pt x="40" y="23"/>
                    <a:pt x="40" y="23"/>
                  </a:cubicBezTo>
                  <a:cubicBezTo>
                    <a:pt x="40" y="23"/>
                    <a:pt x="40" y="22"/>
                    <a:pt x="40" y="22"/>
                  </a:cubicBezTo>
                  <a:cubicBezTo>
                    <a:pt x="39" y="22"/>
                    <a:pt x="39" y="21"/>
                    <a:pt x="38" y="20"/>
                  </a:cubicBezTo>
                  <a:cubicBezTo>
                    <a:pt x="36" y="19"/>
                    <a:pt x="36" y="19"/>
                    <a:pt x="36" y="19"/>
                  </a:cubicBezTo>
                  <a:cubicBezTo>
                    <a:pt x="36" y="18"/>
                    <a:pt x="35" y="18"/>
                    <a:pt x="35" y="18"/>
                  </a:cubicBezTo>
                  <a:cubicBezTo>
                    <a:pt x="33" y="16"/>
                    <a:pt x="29" y="14"/>
                    <a:pt x="31" y="10"/>
                  </a:cubicBezTo>
                  <a:cubicBezTo>
                    <a:pt x="32" y="9"/>
                    <a:pt x="32" y="8"/>
                    <a:pt x="33" y="8"/>
                  </a:cubicBezTo>
                  <a:cubicBezTo>
                    <a:pt x="33" y="8"/>
                    <a:pt x="33" y="8"/>
                    <a:pt x="34" y="8"/>
                  </a:cubicBezTo>
                  <a:cubicBezTo>
                    <a:pt x="34" y="7"/>
                    <a:pt x="34" y="7"/>
                    <a:pt x="34" y="7"/>
                  </a:cubicBezTo>
                  <a:cubicBezTo>
                    <a:pt x="34" y="7"/>
                    <a:pt x="33" y="7"/>
                    <a:pt x="33" y="7"/>
                  </a:cubicBezTo>
                  <a:cubicBezTo>
                    <a:pt x="33" y="7"/>
                    <a:pt x="32" y="7"/>
                    <a:pt x="32" y="6"/>
                  </a:cubicBezTo>
                  <a:cubicBezTo>
                    <a:pt x="30" y="5"/>
                    <a:pt x="29" y="5"/>
                    <a:pt x="28" y="5"/>
                  </a:cubicBezTo>
                  <a:cubicBezTo>
                    <a:pt x="28" y="5"/>
                    <a:pt x="28" y="5"/>
                    <a:pt x="28" y="5"/>
                  </a:cubicBezTo>
                  <a:cubicBezTo>
                    <a:pt x="28" y="5"/>
                    <a:pt x="28" y="5"/>
                    <a:pt x="27" y="5"/>
                  </a:cubicBezTo>
                  <a:cubicBezTo>
                    <a:pt x="21" y="7"/>
                    <a:pt x="21" y="7"/>
                    <a:pt x="21" y="7"/>
                  </a:cubicBezTo>
                  <a:cubicBezTo>
                    <a:pt x="25" y="1"/>
                    <a:pt x="25" y="1"/>
                    <a:pt x="25" y="1"/>
                  </a:cubicBezTo>
                  <a:cubicBezTo>
                    <a:pt x="25" y="1"/>
                    <a:pt x="26" y="1"/>
                    <a:pt x="26" y="1"/>
                  </a:cubicBezTo>
                  <a:cubicBezTo>
                    <a:pt x="26" y="0"/>
                    <a:pt x="25" y="0"/>
                    <a:pt x="25" y="0"/>
                  </a:cubicBezTo>
                  <a:cubicBezTo>
                    <a:pt x="25" y="0"/>
                    <a:pt x="25" y="0"/>
                    <a:pt x="25" y="0"/>
                  </a:cubicBezTo>
                  <a:cubicBezTo>
                    <a:pt x="25" y="0"/>
                    <a:pt x="24" y="0"/>
                    <a:pt x="24" y="0"/>
                  </a:cubicBezTo>
                  <a:cubicBezTo>
                    <a:pt x="23" y="1"/>
                    <a:pt x="23" y="1"/>
                    <a:pt x="22" y="1"/>
                  </a:cubicBezTo>
                  <a:cubicBezTo>
                    <a:pt x="21" y="1"/>
                    <a:pt x="21" y="1"/>
                    <a:pt x="21" y="1"/>
                  </a:cubicBezTo>
                  <a:cubicBezTo>
                    <a:pt x="21" y="1"/>
                    <a:pt x="20" y="1"/>
                    <a:pt x="20" y="1"/>
                  </a:cubicBezTo>
                  <a:cubicBezTo>
                    <a:pt x="19" y="1"/>
                    <a:pt x="19" y="1"/>
                    <a:pt x="19" y="1"/>
                  </a:cubicBezTo>
                  <a:cubicBezTo>
                    <a:pt x="18" y="2"/>
                    <a:pt x="18" y="2"/>
                    <a:pt x="17" y="2"/>
                  </a:cubicBezTo>
                  <a:cubicBezTo>
                    <a:pt x="16" y="2"/>
                    <a:pt x="15" y="2"/>
                    <a:pt x="15" y="1"/>
                  </a:cubicBezTo>
                  <a:cubicBezTo>
                    <a:pt x="14" y="2"/>
                    <a:pt x="13" y="2"/>
                    <a:pt x="12" y="2"/>
                  </a:cubicBezTo>
                  <a:cubicBezTo>
                    <a:pt x="8" y="2"/>
                    <a:pt x="4" y="3"/>
                    <a:pt x="0" y="3"/>
                  </a:cubicBezTo>
                  <a:cubicBezTo>
                    <a:pt x="1" y="4"/>
                    <a:pt x="1" y="4"/>
                    <a:pt x="1" y="4"/>
                  </a:cubicBezTo>
                  <a:cubicBezTo>
                    <a:pt x="1" y="5"/>
                    <a:pt x="1" y="5"/>
                    <a:pt x="1" y="5"/>
                  </a:cubicBezTo>
                  <a:cubicBezTo>
                    <a:pt x="1" y="5"/>
                    <a:pt x="1" y="5"/>
                    <a:pt x="1" y="5"/>
                  </a:cubicBezTo>
                  <a:cubicBezTo>
                    <a:pt x="5" y="4"/>
                    <a:pt x="5" y="4"/>
                    <a:pt x="5" y="4"/>
                  </a:cubicBezTo>
                  <a:cubicBezTo>
                    <a:pt x="2" y="6"/>
                    <a:pt x="2" y="6"/>
                    <a:pt x="2" y="6"/>
                  </a:cubicBezTo>
                  <a:cubicBezTo>
                    <a:pt x="2" y="7"/>
                    <a:pt x="2" y="7"/>
                    <a:pt x="2" y="7"/>
                  </a:cubicBezTo>
                  <a:cubicBezTo>
                    <a:pt x="2" y="7"/>
                    <a:pt x="2" y="7"/>
                    <a:pt x="2" y="8"/>
                  </a:cubicBezTo>
                  <a:cubicBezTo>
                    <a:pt x="2" y="9"/>
                    <a:pt x="2" y="9"/>
                    <a:pt x="2" y="9"/>
                  </a:cubicBezTo>
                  <a:cubicBezTo>
                    <a:pt x="2" y="9"/>
                    <a:pt x="2" y="10"/>
                    <a:pt x="2" y="10"/>
                  </a:cubicBezTo>
                  <a:cubicBezTo>
                    <a:pt x="2" y="13"/>
                    <a:pt x="2" y="13"/>
                    <a:pt x="2" y="13"/>
                  </a:cubicBezTo>
                  <a:cubicBezTo>
                    <a:pt x="3" y="14"/>
                    <a:pt x="2" y="15"/>
                    <a:pt x="2" y="15"/>
                  </a:cubicBezTo>
                  <a:cubicBezTo>
                    <a:pt x="1" y="15"/>
                    <a:pt x="1" y="16"/>
                    <a:pt x="0" y="16"/>
                  </a:cubicBezTo>
                  <a:cubicBezTo>
                    <a:pt x="0" y="16"/>
                    <a:pt x="0" y="16"/>
                    <a:pt x="0" y="16"/>
                  </a:cubicBezTo>
                  <a:cubicBezTo>
                    <a:pt x="1" y="17"/>
                    <a:pt x="1" y="17"/>
                    <a:pt x="1" y="18"/>
                  </a:cubicBezTo>
                  <a:cubicBezTo>
                    <a:pt x="2" y="19"/>
                    <a:pt x="2" y="20"/>
                    <a:pt x="2" y="20"/>
                  </a:cubicBezTo>
                  <a:cubicBezTo>
                    <a:pt x="2" y="21"/>
                    <a:pt x="2" y="22"/>
                    <a:pt x="2" y="23"/>
                  </a:cubicBezTo>
                  <a:cubicBezTo>
                    <a:pt x="3" y="23"/>
                    <a:pt x="4" y="23"/>
                    <a:pt x="5" y="23"/>
                  </a:cubicBezTo>
                  <a:cubicBezTo>
                    <a:pt x="5" y="23"/>
                    <a:pt x="6" y="23"/>
                    <a:pt x="6" y="23"/>
                  </a:cubicBezTo>
                  <a:cubicBezTo>
                    <a:pt x="7" y="24"/>
                    <a:pt x="8" y="24"/>
                    <a:pt x="9" y="24"/>
                  </a:cubicBezTo>
                  <a:cubicBezTo>
                    <a:pt x="14" y="24"/>
                    <a:pt x="15" y="25"/>
                    <a:pt x="18" y="28"/>
                  </a:cubicBezTo>
                  <a:cubicBezTo>
                    <a:pt x="21" y="31"/>
                    <a:pt x="21" y="31"/>
                    <a:pt x="21" y="31"/>
                  </a:cubicBezTo>
                  <a:cubicBezTo>
                    <a:pt x="22" y="31"/>
                    <a:pt x="22" y="30"/>
                    <a:pt x="23" y="30"/>
                  </a:cubicBezTo>
                  <a:cubicBezTo>
                    <a:pt x="24" y="30"/>
                    <a:pt x="25" y="30"/>
                    <a:pt x="26" y="29"/>
                  </a:cubicBezTo>
                  <a:cubicBezTo>
                    <a:pt x="27" y="29"/>
                    <a:pt x="27" y="29"/>
                    <a:pt x="27" y="29"/>
                  </a:cubicBezTo>
                  <a:cubicBezTo>
                    <a:pt x="29" y="31"/>
                    <a:pt x="29" y="31"/>
                    <a:pt x="29" y="31"/>
                  </a:cubicBezTo>
                  <a:cubicBezTo>
                    <a:pt x="29" y="31"/>
                    <a:pt x="30" y="32"/>
                    <a:pt x="31" y="33"/>
                  </a:cubicBezTo>
                  <a:cubicBezTo>
                    <a:pt x="31" y="33"/>
                    <a:pt x="31" y="33"/>
                    <a:pt x="31" y="33"/>
                  </a:cubicBezTo>
                  <a:cubicBezTo>
                    <a:pt x="31" y="33"/>
                    <a:pt x="31" y="33"/>
                    <a:pt x="31" y="33"/>
                  </a:cubicBezTo>
                  <a:cubicBezTo>
                    <a:pt x="32" y="34"/>
                    <a:pt x="32" y="34"/>
                    <a:pt x="33" y="34"/>
                  </a:cubicBezTo>
                  <a:cubicBezTo>
                    <a:pt x="33" y="35"/>
                    <a:pt x="33" y="35"/>
                    <a:pt x="34" y="35"/>
                  </a:cubicBezTo>
                  <a:cubicBezTo>
                    <a:pt x="34" y="35"/>
                    <a:pt x="34" y="35"/>
                    <a:pt x="34" y="35"/>
                  </a:cubicBezTo>
                  <a:cubicBezTo>
                    <a:pt x="35" y="35"/>
                    <a:pt x="35" y="35"/>
                    <a:pt x="35" y="35"/>
                  </a:cubicBezTo>
                  <a:cubicBezTo>
                    <a:pt x="35" y="35"/>
                    <a:pt x="36" y="35"/>
                    <a:pt x="37" y="34"/>
                  </a:cubicBezTo>
                  <a:cubicBezTo>
                    <a:pt x="40" y="33"/>
                    <a:pt x="40" y="33"/>
                    <a:pt x="40" y="33"/>
                  </a:cubicBezTo>
                  <a:cubicBezTo>
                    <a:pt x="41" y="35"/>
                    <a:pt x="41" y="35"/>
                    <a:pt x="41" y="35"/>
                  </a:cubicBezTo>
                  <a:cubicBezTo>
                    <a:pt x="41" y="36"/>
                    <a:pt x="41" y="37"/>
                    <a:pt x="42" y="38"/>
                  </a:cubicBezTo>
                  <a:cubicBezTo>
                    <a:pt x="42" y="39"/>
                    <a:pt x="42" y="39"/>
                    <a:pt x="42" y="39"/>
                  </a:cubicBezTo>
                  <a:cubicBezTo>
                    <a:pt x="42" y="39"/>
                    <a:pt x="42" y="40"/>
                    <a:pt x="43" y="40"/>
                  </a:cubicBezTo>
                  <a:cubicBezTo>
                    <a:pt x="43" y="40"/>
                    <a:pt x="43" y="40"/>
                    <a:pt x="43" y="40"/>
                  </a:cubicBezTo>
                  <a:cubicBezTo>
                    <a:pt x="44" y="40"/>
                    <a:pt x="45" y="41"/>
                    <a:pt x="46" y="41"/>
                  </a:cubicBezTo>
                  <a:cubicBezTo>
                    <a:pt x="47" y="43"/>
                    <a:pt x="48" y="46"/>
                    <a:pt x="49"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577"/>
            <p:cNvSpPr/>
            <p:nvPr/>
          </p:nvSpPr>
          <p:spPr bwMode="auto">
            <a:xfrm>
              <a:off x="1201231" y="4185250"/>
              <a:ext cx="69837" cy="54473"/>
            </a:xfrm>
            <a:custGeom>
              <a:gdLst>
                <a:gd name="T0" fmla="*/ 17 w 20"/>
                <a:gd name="T1" fmla="*/ 10 h 16"/>
                <a:gd name="T2" fmla="*/ 17 w 20"/>
                <a:gd name="T3" fmla="*/ 10 h 16"/>
                <a:gd name="T4" fmla="*/ 14 w 20"/>
                <a:gd name="T5" fmla="*/ 7 h 16"/>
                <a:gd name="T6" fmla="*/ 13 w 20"/>
                <a:gd name="T7" fmla="*/ 5 h 16"/>
                <a:gd name="T8" fmla="*/ 11 w 20"/>
                <a:gd name="T9" fmla="*/ 6 h 16"/>
                <a:gd name="T10" fmla="*/ 10 w 20"/>
                <a:gd name="T11" fmla="*/ 6 h 16"/>
                <a:gd name="T12" fmla="*/ 8 w 20"/>
                <a:gd name="T13" fmla="*/ 5 h 16"/>
                <a:gd name="T14" fmla="*/ 8 w 20"/>
                <a:gd name="T15" fmla="*/ 5 h 16"/>
                <a:gd name="T16" fmla="*/ 6 w 20"/>
                <a:gd name="T17" fmla="*/ 4 h 16"/>
                <a:gd name="T18" fmla="*/ 4 w 20"/>
                <a:gd name="T19" fmla="*/ 3 h 16"/>
                <a:gd name="T20" fmla="*/ 3 w 20"/>
                <a:gd name="T21" fmla="*/ 2 h 16"/>
                <a:gd name="T22" fmla="*/ 2 w 20"/>
                <a:gd name="T23" fmla="*/ 0 h 16"/>
                <a:gd name="T24" fmla="*/ 2 w 20"/>
                <a:gd name="T25" fmla="*/ 0 h 16"/>
                <a:gd name="T26" fmla="*/ 0 w 20"/>
                <a:gd name="T27" fmla="*/ 1 h 16"/>
                <a:gd name="T28" fmla="*/ 0 w 20"/>
                <a:gd name="T29" fmla="*/ 1 h 16"/>
                <a:gd name="T30" fmla="*/ 1 w 20"/>
                <a:gd name="T31" fmla="*/ 2 h 16"/>
                <a:gd name="T32" fmla="*/ 6 w 20"/>
                <a:gd name="T33" fmla="*/ 8 h 16"/>
                <a:gd name="T34" fmla="*/ 7 w 20"/>
                <a:gd name="T35" fmla="*/ 9 h 16"/>
                <a:gd name="T36" fmla="*/ 7 w 20"/>
                <a:gd name="T37" fmla="*/ 9 h 16"/>
                <a:gd name="T38" fmla="*/ 11 w 20"/>
                <a:gd name="T39" fmla="*/ 13 h 16"/>
                <a:gd name="T40" fmla="*/ 17 w 20"/>
                <a:gd name="T41" fmla="*/ 15 h 16"/>
                <a:gd name="T42" fmla="*/ 19 w 20"/>
                <a:gd name="T43" fmla="*/ 15 h 16"/>
                <a:gd name="T44" fmla="*/ 20 w 20"/>
                <a:gd name="T45" fmla="*/ 16 h 16"/>
                <a:gd name="T46" fmla="*/ 20 w 20"/>
                <a:gd name="T47" fmla="*/ 16 h 16"/>
                <a:gd name="T48" fmla="*/ 18 w 20"/>
                <a:gd name="T49" fmla="*/ 11 h 16"/>
                <a:gd name="T50" fmla="*/ 17 w 20"/>
                <a:gd name="T51" fmla="*/ 1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16">
                  <a:moveTo>
                    <a:pt x="17" y="10"/>
                  </a:moveTo>
                  <a:cubicBezTo>
                    <a:pt x="17" y="10"/>
                    <a:pt x="17" y="10"/>
                    <a:pt x="17" y="10"/>
                  </a:cubicBezTo>
                  <a:cubicBezTo>
                    <a:pt x="15" y="9"/>
                    <a:pt x="14" y="8"/>
                    <a:pt x="14" y="7"/>
                  </a:cubicBezTo>
                  <a:cubicBezTo>
                    <a:pt x="13" y="6"/>
                    <a:pt x="13" y="6"/>
                    <a:pt x="13" y="5"/>
                  </a:cubicBezTo>
                  <a:cubicBezTo>
                    <a:pt x="12" y="6"/>
                    <a:pt x="12" y="6"/>
                    <a:pt x="11" y="6"/>
                  </a:cubicBezTo>
                  <a:cubicBezTo>
                    <a:pt x="10" y="6"/>
                    <a:pt x="10" y="6"/>
                    <a:pt x="10" y="6"/>
                  </a:cubicBezTo>
                  <a:cubicBezTo>
                    <a:pt x="10" y="6"/>
                    <a:pt x="9" y="6"/>
                    <a:pt x="8" y="5"/>
                  </a:cubicBezTo>
                  <a:cubicBezTo>
                    <a:pt x="8" y="5"/>
                    <a:pt x="8" y="5"/>
                    <a:pt x="8" y="5"/>
                  </a:cubicBezTo>
                  <a:cubicBezTo>
                    <a:pt x="8" y="5"/>
                    <a:pt x="7" y="5"/>
                    <a:pt x="6" y="4"/>
                  </a:cubicBezTo>
                  <a:cubicBezTo>
                    <a:pt x="6" y="4"/>
                    <a:pt x="5" y="3"/>
                    <a:pt x="4" y="3"/>
                  </a:cubicBezTo>
                  <a:cubicBezTo>
                    <a:pt x="4" y="2"/>
                    <a:pt x="4" y="2"/>
                    <a:pt x="3" y="2"/>
                  </a:cubicBezTo>
                  <a:cubicBezTo>
                    <a:pt x="3" y="1"/>
                    <a:pt x="2" y="1"/>
                    <a:pt x="2" y="0"/>
                  </a:cubicBezTo>
                  <a:cubicBezTo>
                    <a:pt x="2" y="0"/>
                    <a:pt x="2" y="0"/>
                    <a:pt x="2" y="0"/>
                  </a:cubicBezTo>
                  <a:cubicBezTo>
                    <a:pt x="0" y="1"/>
                    <a:pt x="0" y="1"/>
                    <a:pt x="0" y="1"/>
                  </a:cubicBezTo>
                  <a:cubicBezTo>
                    <a:pt x="0" y="1"/>
                    <a:pt x="0" y="1"/>
                    <a:pt x="0" y="1"/>
                  </a:cubicBezTo>
                  <a:cubicBezTo>
                    <a:pt x="0" y="1"/>
                    <a:pt x="0" y="2"/>
                    <a:pt x="1" y="2"/>
                  </a:cubicBezTo>
                  <a:cubicBezTo>
                    <a:pt x="1" y="2"/>
                    <a:pt x="1" y="3"/>
                    <a:pt x="6" y="8"/>
                  </a:cubicBezTo>
                  <a:cubicBezTo>
                    <a:pt x="6" y="8"/>
                    <a:pt x="6" y="8"/>
                    <a:pt x="7" y="9"/>
                  </a:cubicBezTo>
                  <a:cubicBezTo>
                    <a:pt x="7" y="9"/>
                    <a:pt x="7" y="9"/>
                    <a:pt x="7" y="9"/>
                  </a:cubicBezTo>
                  <a:cubicBezTo>
                    <a:pt x="9" y="11"/>
                    <a:pt x="10" y="12"/>
                    <a:pt x="11" y="13"/>
                  </a:cubicBezTo>
                  <a:cubicBezTo>
                    <a:pt x="11" y="13"/>
                    <a:pt x="14" y="14"/>
                    <a:pt x="17" y="15"/>
                  </a:cubicBezTo>
                  <a:cubicBezTo>
                    <a:pt x="18" y="15"/>
                    <a:pt x="18" y="15"/>
                    <a:pt x="19" y="15"/>
                  </a:cubicBezTo>
                  <a:cubicBezTo>
                    <a:pt x="19" y="15"/>
                    <a:pt x="20" y="15"/>
                    <a:pt x="20" y="16"/>
                  </a:cubicBezTo>
                  <a:cubicBezTo>
                    <a:pt x="20" y="16"/>
                    <a:pt x="20" y="16"/>
                    <a:pt x="20" y="16"/>
                  </a:cubicBezTo>
                  <a:cubicBezTo>
                    <a:pt x="20" y="14"/>
                    <a:pt x="19" y="12"/>
                    <a:pt x="18" y="11"/>
                  </a:cubicBezTo>
                  <a:cubicBezTo>
                    <a:pt x="18" y="10"/>
                    <a:pt x="18" y="10"/>
                    <a:pt x="1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566"/>
            <p:cNvSpPr/>
            <p:nvPr/>
          </p:nvSpPr>
          <p:spPr bwMode="auto">
            <a:xfrm>
              <a:off x="2707139" y="4087189"/>
              <a:ext cx="87409" cy="65024"/>
            </a:xfrm>
            <a:custGeom>
              <a:gdLst>
                <a:gd name="T0" fmla="*/ 1 w 32"/>
                <a:gd name="T1" fmla="*/ 17 h 23"/>
                <a:gd name="T2" fmla="*/ 2 w 32"/>
                <a:gd name="T3" fmla="*/ 20 h 23"/>
                <a:gd name="T4" fmla="*/ 2 w 32"/>
                <a:gd name="T5" fmla="*/ 22 h 23"/>
                <a:gd name="T6" fmla="*/ 5 w 32"/>
                <a:gd name="T7" fmla="*/ 20 h 23"/>
                <a:gd name="T8" fmla="*/ 7 w 32"/>
                <a:gd name="T9" fmla="*/ 19 h 23"/>
                <a:gd name="T10" fmla="*/ 8 w 32"/>
                <a:gd name="T11" fmla="*/ 19 h 23"/>
                <a:gd name="T12" fmla="*/ 15 w 32"/>
                <a:gd name="T13" fmla="*/ 17 h 23"/>
                <a:gd name="T14" fmla="*/ 31 w 32"/>
                <a:gd name="T15" fmla="*/ 23 h 23"/>
                <a:gd name="T16" fmla="*/ 32 w 32"/>
                <a:gd name="T17" fmla="*/ 22 h 23"/>
                <a:gd name="T18" fmla="*/ 31 w 32"/>
                <a:gd name="T19" fmla="*/ 22 h 23"/>
                <a:gd name="T20" fmla="*/ 31 w 32"/>
                <a:gd name="T21" fmla="*/ 22 h 23"/>
                <a:gd name="T22" fmla="*/ 24 w 32"/>
                <a:gd name="T23" fmla="*/ 17 h 23"/>
                <a:gd name="T24" fmla="*/ 20 w 32"/>
                <a:gd name="T25" fmla="*/ 15 h 23"/>
                <a:gd name="T26" fmla="*/ 23 w 32"/>
                <a:gd name="T27" fmla="*/ 12 h 23"/>
                <a:gd name="T28" fmla="*/ 31 w 32"/>
                <a:gd name="T29" fmla="*/ 5 h 23"/>
                <a:gd name="T30" fmla="*/ 27 w 32"/>
                <a:gd name="T31" fmla="*/ 0 h 23"/>
                <a:gd name="T32" fmla="*/ 27 w 32"/>
                <a:gd name="T33" fmla="*/ 0 h 23"/>
                <a:gd name="T34" fmla="*/ 26 w 32"/>
                <a:gd name="T35" fmla="*/ 1 h 23"/>
                <a:gd name="T36" fmla="*/ 25 w 32"/>
                <a:gd name="T37" fmla="*/ 2 h 23"/>
                <a:gd name="T38" fmla="*/ 24 w 32"/>
                <a:gd name="T39" fmla="*/ 3 h 23"/>
                <a:gd name="T40" fmla="*/ 23 w 32"/>
                <a:gd name="T41" fmla="*/ 3 h 23"/>
                <a:gd name="T42" fmla="*/ 19 w 32"/>
                <a:gd name="T43" fmla="*/ 7 h 23"/>
                <a:gd name="T44" fmla="*/ 18 w 32"/>
                <a:gd name="T45" fmla="*/ 7 h 23"/>
                <a:gd name="T46" fmla="*/ 16 w 32"/>
                <a:gd name="T47" fmla="*/ 8 h 23"/>
                <a:gd name="T48" fmla="*/ 14 w 32"/>
                <a:gd name="T49" fmla="*/ 9 h 23"/>
                <a:gd name="T50" fmla="*/ 6 w 32"/>
                <a:gd name="T51" fmla="*/ 10 h 23"/>
                <a:gd name="T52" fmla="*/ 5 w 32"/>
                <a:gd name="T53" fmla="*/ 9 h 23"/>
                <a:gd name="T54" fmla="*/ 5 w 32"/>
                <a:gd name="T55" fmla="*/ 9 h 23"/>
                <a:gd name="T56" fmla="*/ 2 w 32"/>
                <a:gd name="T57" fmla="*/ 8 h 23"/>
                <a:gd name="T58" fmla="*/ 1 w 32"/>
                <a:gd name="T59" fmla="*/ 8 h 23"/>
                <a:gd name="T60" fmla="*/ 0 w 32"/>
                <a:gd name="T61" fmla="*/ 10 h 23"/>
                <a:gd name="T62" fmla="*/ 1 w 32"/>
                <a:gd name="T63" fmla="*/ 17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23">
                  <a:moveTo>
                    <a:pt x="1" y="17"/>
                  </a:moveTo>
                  <a:cubicBezTo>
                    <a:pt x="1" y="18"/>
                    <a:pt x="2" y="19"/>
                    <a:pt x="2" y="20"/>
                  </a:cubicBezTo>
                  <a:cubicBezTo>
                    <a:pt x="2" y="22"/>
                    <a:pt x="2" y="22"/>
                    <a:pt x="2" y="22"/>
                  </a:cubicBezTo>
                  <a:cubicBezTo>
                    <a:pt x="3" y="21"/>
                    <a:pt x="4" y="20"/>
                    <a:pt x="5" y="20"/>
                  </a:cubicBezTo>
                  <a:cubicBezTo>
                    <a:pt x="6" y="20"/>
                    <a:pt x="6" y="20"/>
                    <a:pt x="7" y="19"/>
                  </a:cubicBezTo>
                  <a:cubicBezTo>
                    <a:pt x="8" y="19"/>
                    <a:pt x="8" y="19"/>
                    <a:pt x="8" y="19"/>
                  </a:cubicBezTo>
                  <a:cubicBezTo>
                    <a:pt x="10" y="18"/>
                    <a:pt x="13" y="17"/>
                    <a:pt x="15" y="17"/>
                  </a:cubicBezTo>
                  <a:cubicBezTo>
                    <a:pt x="20" y="18"/>
                    <a:pt x="27" y="21"/>
                    <a:pt x="31" y="23"/>
                  </a:cubicBezTo>
                  <a:cubicBezTo>
                    <a:pt x="32" y="22"/>
                    <a:pt x="32" y="22"/>
                    <a:pt x="32" y="22"/>
                  </a:cubicBezTo>
                  <a:cubicBezTo>
                    <a:pt x="31" y="22"/>
                    <a:pt x="31" y="22"/>
                    <a:pt x="31" y="22"/>
                  </a:cubicBezTo>
                  <a:cubicBezTo>
                    <a:pt x="31" y="22"/>
                    <a:pt x="31" y="22"/>
                    <a:pt x="31" y="22"/>
                  </a:cubicBezTo>
                  <a:cubicBezTo>
                    <a:pt x="29" y="20"/>
                    <a:pt x="27" y="19"/>
                    <a:pt x="24" y="17"/>
                  </a:cubicBezTo>
                  <a:cubicBezTo>
                    <a:pt x="20" y="15"/>
                    <a:pt x="20" y="15"/>
                    <a:pt x="20" y="15"/>
                  </a:cubicBezTo>
                  <a:cubicBezTo>
                    <a:pt x="23" y="12"/>
                    <a:pt x="23" y="12"/>
                    <a:pt x="23" y="12"/>
                  </a:cubicBezTo>
                  <a:cubicBezTo>
                    <a:pt x="26" y="10"/>
                    <a:pt x="29" y="7"/>
                    <a:pt x="31" y="5"/>
                  </a:cubicBezTo>
                  <a:cubicBezTo>
                    <a:pt x="27" y="0"/>
                    <a:pt x="27" y="0"/>
                    <a:pt x="27" y="0"/>
                  </a:cubicBezTo>
                  <a:cubicBezTo>
                    <a:pt x="27" y="0"/>
                    <a:pt x="27" y="0"/>
                    <a:pt x="27" y="0"/>
                  </a:cubicBezTo>
                  <a:cubicBezTo>
                    <a:pt x="26" y="1"/>
                    <a:pt x="26" y="1"/>
                    <a:pt x="26" y="1"/>
                  </a:cubicBezTo>
                  <a:cubicBezTo>
                    <a:pt x="26" y="1"/>
                    <a:pt x="26" y="1"/>
                    <a:pt x="25" y="2"/>
                  </a:cubicBezTo>
                  <a:cubicBezTo>
                    <a:pt x="25" y="2"/>
                    <a:pt x="24" y="2"/>
                    <a:pt x="24" y="3"/>
                  </a:cubicBezTo>
                  <a:cubicBezTo>
                    <a:pt x="23" y="3"/>
                    <a:pt x="23" y="3"/>
                    <a:pt x="23" y="3"/>
                  </a:cubicBezTo>
                  <a:cubicBezTo>
                    <a:pt x="22" y="5"/>
                    <a:pt x="20" y="6"/>
                    <a:pt x="19" y="7"/>
                  </a:cubicBezTo>
                  <a:cubicBezTo>
                    <a:pt x="18" y="7"/>
                    <a:pt x="18" y="7"/>
                    <a:pt x="18" y="7"/>
                  </a:cubicBezTo>
                  <a:cubicBezTo>
                    <a:pt x="17" y="7"/>
                    <a:pt x="17" y="7"/>
                    <a:pt x="16" y="8"/>
                  </a:cubicBezTo>
                  <a:cubicBezTo>
                    <a:pt x="15" y="8"/>
                    <a:pt x="15" y="8"/>
                    <a:pt x="14" y="9"/>
                  </a:cubicBezTo>
                  <a:cubicBezTo>
                    <a:pt x="12" y="10"/>
                    <a:pt x="9" y="11"/>
                    <a:pt x="6" y="10"/>
                  </a:cubicBezTo>
                  <a:cubicBezTo>
                    <a:pt x="6" y="10"/>
                    <a:pt x="5" y="9"/>
                    <a:pt x="5" y="9"/>
                  </a:cubicBezTo>
                  <a:cubicBezTo>
                    <a:pt x="5" y="9"/>
                    <a:pt x="5" y="9"/>
                    <a:pt x="5" y="9"/>
                  </a:cubicBezTo>
                  <a:cubicBezTo>
                    <a:pt x="4" y="9"/>
                    <a:pt x="3" y="8"/>
                    <a:pt x="2" y="8"/>
                  </a:cubicBezTo>
                  <a:cubicBezTo>
                    <a:pt x="1" y="8"/>
                    <a:pt x="1" y="8"/>
                    <a:pt x="1" y="8"/>
                  </a:cubicBezTo>
                  <a:cubicBezTo>
                    <a:pt x="0" y="9"/>
                    <a:pt x="0" y="10"/>
                    <a:pt x="0" y="10"/>
                  </a:cubicBezTo>
                  <a:cubicBezTo>
                    <a:pt x="0" y="12"/>
                    <a:pt x="0" y="15"/>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9" name="Text Placeholder 377"/>
          <p:cNvSpPr>
            <a:spLocks noGrp="1"/>
          </p:cNvSpPr>
          <p:nvPr>
            <p:ph type="body" sz="quarter" idx="12" hasCustomPrompt="1"/>
          </p:nvPr>
        </p:nvSpPr>
        <p:spPr>
          <a:xfrm>
            <a:off x="8201602"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spTree>
    <p:extLst>
      <p:ext uri="{BB962C8B-B14F-4D97-AF65-F5344CB8AC3E}">
        <p14:creationId xmlns:p14="http://schemas.microsoft.com/office/powerpoint/2010/main" val="796024751"/>
      </p:ext>
    </p:extLst>
  </p:cSld>
  <p:clrMapOvr>
    <a:masterClrMapping/>
  </p:clrMapOvr>
  <p:transition/>
  <p:timing/>
</p:sldLayout>
</file>

<file path=ppt/slideLayouts/slideLayout18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outh east asi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grpSp>
        <p:nvGrpSpPr>
          <p:cNvPr id="477" name="Group 476"/>
          <p:cNvGrpSpPr/>
          <p:nvPr userDrawn="1"/>
        </p:nvGrpSpPr>
        <p:grpSpPr>
          <a:xfrm>
            <a:off x="1589" y="0"/>
            <a:ext cx="12175435" cy="6825765"/>
            <a:chOff x="1589" y="0"/>
            <a:chExt cx="12175435" cy="6825765"/>
          </a:xfrm>
          <a:gradFill>
            <a:gsLst>
              <a:gs pos="100000">
                <a:schemeClr val="accent5"/>
              </a:gs>
              <a:gs pos="0">
                <a:schemeClr val="accent1"/>
              </a:gs>
            </a:gsLst>
            <a:lin ang="0" scaled="1"/>
          </a:gradFill>
        </p:grpSpPr>
        <p:grpSp>
          <p:nvGrpSpPr>
            <p:cNvPr id="478" name="Group 205"/>
            <p:cNvGrpSpPr/>
            <p:nvPr/>
          </p:nvGrpSpPr>
          <p:grpSpPr>
            <a:xfrm>
              <a:off x="99637" y="1266568"/>
              <a:ext cx="12077387" cy="5505472"/>
              <a:chOff x="74" y="923"/>
              <a:chExt cx="8992" cy="4099"/>
            </a:xfrm>
            <a:grpFill/>
          </p:grpSpPr>
          <p:sp>
            <p:nvSpPr>
              <p:cNvPr id="1277" name="Rectangle 5"/>
              <p:cNvSpPr>
                <a:spLocks noChangeArrowheads="1"/>
              </p:cNvSpPr>
              <p:nvPr/>
            </p:nvSpPr>
            <p:spPr bwMode="auto">
              <a:xfrm>
                <a:off x="1090" y="139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Rectangle 6"/>
              <p:cNvSpPr>
                <a:spLocks noChangeArrowheads="1"/>
              </p:cNvSpPr>
              <p:nvPr/>
            </p:nvSpPr>
            <p:spPr bwMode="auto">
              <a:xfrm>
                <a:off x="1090" y="139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9" name="Freeform 7"/>
              <p:cNvSpPr/>
              <p:nvPr/>
            </p:nvSpPr>
            <p:spPr bwMode="auto">
              <a:xfrm>
                <a:off x="3947" y="3696"/>
                <a:ext cx="12" cy="14"/>
              </a:xfrm>
              <a:custGeom>
                <a:gdLst>
                  <a:gd name="T0" fmla="*/ 2 w 5"/>
                  <a:gd name="T1" fmla="*/ 0 h 6"/>
                  <a:gd name="T2" fmla="*/ 2 w 5"/>
                  <a:gd name="T3" fmla="*/ 0 h 6"/>
                  <a:gd name="T4" fmla="*/ 1 w 5"/>
                  <a:gd name="T5" fmla="*/ 0 h 6"/>
                  <a:gd name="T6" fmla="*/ 0 w 5"/>
                  <a:gd name="T7" fmla="*/ 1 h 6"/>
                  <a:gd name="T8" fmla="*/ 5 w 5"/>
                  <a:gd name="T9" fmla="*/ 6 h 6"/>
                  <a:gd name="T10" fmla="*/ 3 w 5"/>
                  <a:gd name="T11" fmla="*/ 0 h 6"/>
                  <a:gd name="T12" fmla="*/ 2 w 5"/>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5" h="6">
                    <a:moveTo>
                      <a:pt x="2" y="0"/>
                    </a:moveTo>
                    <a:cubicBezTo>
                      <a:pt x="2" y="0"/>
                      <a:pt x="2" y="0"/>
                      <a:pt x="2" y="0"/>
                    </a:cubicBezTo>
                    <a:cubicBezTo>
                      <a:pt x="1" y="0"/>
                      <a:pt x="1" y="0"/>
                      <a:pt x="1" y="0"/>
                    </a:cubicBezTo>
                    <a:cubicBezTo>
                      <a:pt x="1" y="0"/>
                      <a:pt x="0" y="0"/>
                      <a:pt x="0" y="1"/>
                    </a:cubicBezTo>
                    <a:cubicBezTo>
                      <a:pt x="0" y="3"/>
                      <a:pt x="4" y="6"/>
                      <a:pt x="5" y="6"/>
                    </a:cubicBezTo>
                    <a:cubicBezTo>
                      <a:pt x="5" y="5"/>
                      <a:pt x="4" y="1"/>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Oval 8"/>
              <p:cNvSpPr>
                <a:spLocks noChangeArrowheads="1"/>
              </p:cNvSpPr>
              <p:nvPr/>
            </p:nvSpPr>
            <p:spPr bwMode="auto">
              <a:xfrm>
                <a:off x="6601" y="4932"/>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Freeform 9"/>
              <p:cNvSpPr/>
              <p:nvPr/>
            </p:nvSpPr>
            <p:spPr bwMode="auto">
              <a:xfrm>
                <a:off x="2400" y="3606"/>
                <a:ext cx="16" cy="14"/>
              </a:xfrm>
              <a:custGeom>
                <a:gdLst>
                  <a:gd name="T0" fmla="*/ 7 w 7"/>
                  <a:gd name="T1" fmla="*/ 0 h 6"/>
                  <a:gd name="T2" fmla="*/ 0 w 7"/>
                  <a:gd name="T3" fmla="*/ 0 h 6"/>
                  <a:gd name="T4" fmla="*/ 0 w 7"/>
                  <a:gd name="T5" fmla="*/ 6 h 6"/>
                  <a:gd name="T6" fmla="*/ 7 w 7"/>
                  <a:gd name="T7" fmla="*/ 0 h 6"/>
                </a:gdLst>
                <a:cxnLst>
                  <a:cxn ang="0">
                    <a:pos x="T0" y="T1"/>
                  </a:cxn>
                  <a:cxn ang="0">
                    <a:pos x="T2" y="T3"/>
                  </a:cxn>
                  <a:cxn ang="0">
                    <a:pos x="T4" y="T5"/>
                  </a:cxn>
                  <a:cxn ang="0">
                    <a:pos x="T6" y="T7"/>
                  </a:cxn>
                </a:cxnLst>
                <a:rect l="0" t="0" r="r" b="b"/>
                <a:pathLst>
                  <a:path w="7" h="6">
                    <a:moveTo>
                      <a:pt x="7" y="0"/>
                    </a:moveTo>
                    <a:cubicBezTo>
                      <a:pt x="5" y="0"/>
                      <a:pt x="2" y="0"/>
                      <a:pt x="0" y="0"/>
                    </a:cubicBezTo>
                    <a:cubicBezTo>
                      <a:pt x="0" y="2"/>
                      <a:pt x="0" y="4"/>
                      <a:pt x="0" y="6"/>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2" name="Freeform 10"/>
              <p:cNvSpPr/>
              <p:nvPr/>
            </p:nvSpPr>
            <p:spPr bwMode="auto">
              <a:xfrm>
                <a:off x="3647" y="3152"/>
                <a:ext cx="5" cy="17"/>
              </a:xfrm>
              <a:custGeom>
                <a:gdLst>
                  <a:gd name="T0" fmla="*/ 0 w 2"/>
                  <a:gd name="T1" fmla="*/ 0 h 7"/>
                  <a:gd name="T2" fmla="*/ 1 w 2"/>
                  <a:gd name="T3" fmla="*/ 4 h 7"/>
                  <a:gd name="T4" fmla="*/ 2 w 2"/>
                  <a:gd name="T5" fmla="*/ 7 h 7"/>
                  <a:gd name="T6" fmla="*/ 2 w 2"/>
                  <a:gd name="T7" fmla="*/ 3 h 7"/>
                  <a:gd name="T8" fmla="*/ 0 w 2"/>
                  <a:gd name="T9" fmla="*/ 0 h 7"/>
                </a:gdLst>
                <a:cxnLst>
                  <a:cxn ang="0">
                    <a:pos x="T0" y="T1"/>
                  </a:cxn>
                  <a:cxn ang="0">
                    <a:pos x="T2" y="T3"/>
                  </a:cxn>
                  <a:cxn ang="0">
                    <a:pos x="T4" y="T5"/>
                  </a:cxn>
                  <a:cxn ang="0">
                    <a:pos x="T6" y="T7"/>
                  </a:cxn>
                  <a:cxn ang="0">
                    <a:pos x="T8" y="T9"/>
                  </a:cxn>
                </a:cxnLst>
                <a:rect l="0" t="0" r="r" b="b"/>
                <a:pathLst>
                  <a:path w="2" h="7">
                    <a:moveTo>
                      <a:pt x="0" y="0"/>
                    </a:moveTo>
                    <a:cubicBezTo>
                      <a:pt x="0" y="1"/>
                      <a:pt x="0" y="2"/>
                      <a:pt x="1" y="4"/>
                    </a:cubicBezTo>
                    <a:cubicBezTo>
                      <a:pt x="1" y="5"/>
                      <a:pt x="2" y="6"/>
                      <a:pt x="2" y="7"/>
                    </a:cubicBezTo>
                    <a:cubicBezTo>
                      <a:pt x="2" y="6"/>
                      <a:pt x="2" y="4"/>
                      <a:pt x="2"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3" name="Rectangle 11"/>
              <p:cNvSpPr>
                <a:spLocks noChangeArrowheads="1"/>
              </p:cNvSpPr>
              <p:nvPr/>
            </p:nvSpPr>
            <p:spPr bwMode="auto">
              <a:xfrm>
                <a:off x="2872" y="373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Freeform 12"/>
              <p:cNvSpPr/>
              <p:nvPr/>
            </p:nvSpPr>
            <p:spPr bwMode="auto">
              <a:xfrm flipH="1">
                <a:off x="2872" y="3734"/>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Oval 13"/>
              <p:cNvSpPr>
                <a:spLocks noChangeArrowheads="1"/>
              </p:cNvSpPr>
              <p:nvPr/>
            </p:nvSpPr>
            <p:spPr bwMode="auto">
              <a:xfrm>
                <a:off x="7057" y="390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Freeform 14"/>
              <p:cNvSpPr/>
              <p:nvPr/>
            </p:nvSpPr>
            <p:spPr bwMode="auto">
              <a:xfrm>
                <a:off x="7074" y="3918"/>
                <a:ext cx="2" cy="0"/>
              </a:xfrm>
              <a:custGeom>
                <a:gdLst>
                  <a:gd name="T0" fmla="*/ 1 w 1"/>
                  <a:gd name="T1" fmla="*/ 0 w 1"/>
                  <a:gd name="T2" fmla="*/ 0 w 1"/>
                  <a:gd name="T3" fmla="*/ 1 w 1"/>
                  <a:gd name="T4" fmla="*/ 1 w 1"/>
                </a:gdLst>
                <a:cxnLst>
                  <a:cxn ang="0">
                    <a:pos x="T0" y="0"/>
                  </a:cxn>
                  <a:cxn ang="0">
                    <a:pos x="T1" y="0"/>
                  </a:cxn>
                  <a:cxn ang="0">
                    <a:pos x="T2" y="0"/>
                  </a:cxn>
                  <a:cxn ang="0">
                    <a:pos x="T3" y="0"/>
                  </a:cxn>
                  <a:cxn ang="0">
                    <a:pos x="T4" y="0"/>
                  </a:cxn>
                </a:cxnLst>
                <a:rect l="0" t="0" r="r" b="b"/>
                <a:pathLst>
                  <a:path w="1">
                    <a:moveTo>
                      <a:pt x="1" y="0"/>
                    </a:moveTo>
                    <a:cubicBezTo>
                      <a:pt x="1" y="0"/>
                      <a:pt x="1" y="0"/>
                      <a:pt x="0" y="0"/>
                    </a:cubicBezTo>
                    <a:cubicBezTo>
                      <a:pt x="0" y="0"/>
                      <a:pt x="0" y="0"/>
                      <a:pt x="0" y="0"/>
                    </a:cubicBezTo>
                    <a:cubicBezTo>
                      <a:pt x="0" y="0"/>
                      <a:pt x="0"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Freeform 15"/>
              <p:cNvSpPr/>
              <p:nvPr/>
            </p:nvSpPr>
            <p:spPr bwMode="auto">
              <a:xfrm>
                <a:off x="7889" y="4958"/>
                <a:ext cx="19" cy="12"/>
              </a:xfrm>
              <a:custGeom>
                <a:gdLst>
                  <a:gd name="T0" fmla="*/ 4 w 8"/>
                  <a:gd name="T1" fmla="*/ 0 h 5"/>
                  <a:gd name="T2" fmla="*/ 3 w 8"/>
                  <a:gd name="T3" fmla="*/ 0 h 5"/>
                  <a:gd name="T4" fmla="*/ 0 w 8"/>
                  <a:gd name="T5" fmla="*/ 5 h 5"/>
                  <a:gd name="T6" fmla="*/ 3 w 8"/>
                  <a:gd name="T7" fmla="*/ 3 h 5"/>
                  <a:gd name="T8" fmla="*/ 4 w 8"/>
                  <a:gd name="T9" fmla="*/ 3 h 5"/>
                  <a:gd name="T10" fmla="*/ 4 w 8"/>
                  <a:gd name="T11" fmla="*/ 3 h 5"/>
                  <a:gd name="T12" fmla="*/ 6 w 8"/>
                  <a:gd name="T13" fmla="*/ 3 h 5"/>
                  <a:gd name="T14" fmla="*/ 7 w 8"/>
                  <a:gd name="T15" fmla="*/ 2 h 5"/>
                  <a:gd name="T16" fmla="*/ 8 w 8"/>
                  <a:gd name="T17" fmla="*/ 1 h 5"/>
                  <a:gd name="T18" fmla="*/ 4 w 8"/>
                  <a:gd name="T19"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5">
                    <a:moveTo>
                      <a:pt x="4" y="0"/>
                    </a:moveTo>
                    <a:cubicBezTo>
                      <a:pt x="4" y="0"/>
                      <a:pt x="3" y="0"/>
                      <a:pt x="3" y="0"/>
                    </a:cubicBezTo>
                    <a:cubicBezTo>
                      <a:pt x="2" y="1"/>
                      <a:pt x="1" y="2"/>
                      <a:pt x="0" y="5"/>
                    </a:cubicBezTo>
                    <a:cubicBezTo>
                      <a:pt x="2" y="5"/>
                      <a:pt x="2" y="3"/>
                      <a:pt x="3" y="3"/>
                    </a:cubicBezTo>
                    <a:cubicBezTo>
                      <a:pt x="4" y="3"/>
                      <a:pt x="4" y="3"/>
                      <a:pt x="4" y="3"/>
                    </a:cubicBezTo>
                    <a:cubicBezTo>
                      <a:pt x="4" y="3"/>
                      <a:pt x="4" y="3"/>
                      <a:pt x="4" y="3"/>
                    </a:cubicBezTo>
                    <a:cubicBezTo>
                      <a:pt x="5" y="3"/>
                      <a:pt x="5" y="3"/>
                      <a:pt x="6" y="3"/>
                    </a:cubicBezTo>
                    <a:cubicBezTo>
                      <a:pt x="6" y="3"/>
                      <a:pt x="7" y="3"/>
                      <a:pt x="7" y="2"/>
                    </a:cubicBezTo>
                    <a:cubicBezTo>
                      <a:pt x="7" y="2"/>
                      <a:pt x="8" y="2"/>
                      <a:pt x="8" y="1"/>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Freeform 16"/>
              <p:cNvSpPr/>
              <p:nvPr/>
            </p:nvSpPr>
            <p:spPr bwMode="auto">
              <a:xfrm>
                <a:off x="7948" y="5015"/>
                <a:ext cx="7" cy="7"/>
              </a:xfrm>
              <a:custGeom>
                <a:gdLst>
                  <a:gd name="T0" fmla="*/ 0 w 3"/>
                  <a:gd name="T1" fmla="*/ 0 h 3"/>
                  <a:gd name="T2" fmla="*/ 0 w 3"/>
                  <a:gd name="T3" fmla="*/ 0 h 3"/>
                  <a:gd name="T4" fmla="*/ 0 w 3"/>
                  <a:gd name="T5" fmla="*/ 0 h 3"/>
                  <a:gd name="T6" fmla="*/ 0 w 3"/>
                  <a:gd name="T7" fmla="*/ 0 h 3"/>
                  <a:gd name="T8" fmla="*/ 0 w 3"/>
                  <a:gd name="T9" fmla="*/ 3 h 3"/>
                  <a:gd name="T10" fmla="*/ 1 w 3"/>
                  <a:gd name="T11" fmla="*/ 3 h 3"/>
                  <a:gd name="T12" fmla="*/ 3 w 3"/>
                  <a:gd name="T13" fmla="*/ 3 h 3"/>
                  <a:gd name="T14" fmla="*/ 0 w 3"/>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cubicBezTo>
                      <a:pt x="0" y="0"/>
                      <a:pt x="0" y="0"/>
                      <a:pt x="0" y="0"/>
                    </a:cubicBezTo>
                    <a:cubicBezTo>
                      <a:pt x="0" y="0"/>
                      <a:pt x="0" y="0"/>
                      <a:pt x="0" y="0"/>
                    </a:cubicBezTo>
                    <a:cubicBezTo>
                      <a:pt x="0" y="0"/>
                      <a:pt x="0" y="0"/>
                      <a:pt x="0" y="0"/>
                    </a:cubicBezTo>
                    <a:cubicBezTo>
                      <a:pt x="0" y="1"/>
                      <a:pt x="0" y="2"/>
                      <a:pt x="0" y="3"/>
                    </a:cubicBezTo>
                    <a:cubicBezTo>
                      <a:pt x="1" y="3"/>
                      <a:pt x="1" y="3"/>
                      <a:pt x="1" y="3"/>
                    </a:cubicBezTo>
                    <a:cubicBezTo>
                      <a:pt x="2" y="3"/>
                      <a:pt x="3" y="3"/>
                      <a:pt x="3" y="3"/>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Freeform 17"/>
              <p:cNvSpPr/>
              <p:nvPr/>
            </p:nvSpPr>
            <p:spPr bwMode="auto">
              <a:xfrm>
                <a:off x="8940" y="1010"/>
                <a:ext cx="10" cy="5"/>
              </a:xfrm>
              <a:custGeom>
                <a:gdLst>
                  <a:gd name="T0" fmla="*/ 1 w 4"/>
                  <a:gd name="T1" fmla="*/ 0 h 2"/>
                  <a:gd name="T2" fmla="*/ 0 w 4"/>
                  <a:gd name="T3" fmla="*/ 0 h 2"/>
                  <a:gd name="T4" fmla="*/ 4 w 4"/>
                  <a:gd name="T5" fmla="*/ 2 h 2"/>
                  <a:gd name="T6" fmla="*/ 1 w 4"/>
                  <a:gd name="T7" fmla="*/ 0 h 2"/>
                </a:gdLst>
                <a:cxnLst>
                  <a:cxn ang="0">
                    <a:pos x="T0" y="T1"/>
                  </a:cxn>
                  <a:cxn ang="0">
                    <a:pos x="T2" y="T3"/>
                  </a:cxn>
                  <a:cxn ang="0">
                    <a:pos x="T4" y="T5"/>
                  </a:cxn>
                  <a:cxn ang="0">
                    <a:pos x="T6" y="T7"/>
                  </a:cxn>
                </a:cxnLst>
                <a:rect l="0" t="0" r="r" b="b"/>
                <a:pathLst>
                  <a:path w="4" h="2">
                    <a:moveTo>
                      <a:pt x="1" y="0"/>
                    </a:moveTo>
                    <a:cubicBezTo>
                      <a:pt x="1" y="0"/>
                      <a:pt x="1" y="0"/>
                      <a:pt x="0" y="0"/>
                    </a:cubicBezTo>
                    <a:cubicBezTo>
                      <a:pt x="1" y="1"/>
                      <a:pt x="2" y="1"/>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Freeform 18"/>
              <p:cNvSpPr/>
              <p:nvPr/>
            </p:nvSpPr>
            <p:spPr bwMode="auto">
              <a:xfrm>
                <a:off x="9061" y="992"/>
                <a:ext cx="5" cy="2"/>
              </a:xfrm>
              <a:custGeom>
                <a:gdLst>
                  <a:gd name="T0" fmla="*/ 2 w 2"/>
                  <a:gd name="T1" fmla="*/ 0 h 1"/>
                  <a:gd name="T2" fmla="*/ 0 w 2"/>
                  <a:gd name="T3" fmla="*/ 0 h 1"/>
                  <a:gd name="T4" fmla="*/ 2 w 2"/>
                  <a:gd name="T5" fmla="*/ 1 h 1"/>
                  <a:gd name="T6" fmla="*/ 2 w 2"/>
                  <a:gd name="T7" fmla="*/ 0 h 1"/>
                </a:gdLst>
                <a:cxnLst>
                  <a:cxn ang="0">
                    <a:pos x="T0" y="T1"/>
                  </a:cxn>
                  <a:cxn ang="0">
                    <a:pos x="T2" y="T3"/>
                  </a:cxn>
                  <a:cxn ang="0">
                    <a:pos x="T4" y="T5"/>
                  </a:cxn>
                  <a:cxn ang="0">
                    <a:pos x="T6" y="T7"/>
                  </a:cxn>
                </a:cxnLst>
                <a:rect l="0" t="0" r="r" b="b"/>
                <a:pathLst>
                  <a:path w="2" h="1">
                    <a:moveTo>
                      <a:pt x="2" y="0"/>
                    </a:moveTo>
                    <a:cubicBezTo>
                      <a:pt x="1" y="0"/>
                      <a:pt x="1" y="0"/>
                      <a:pt x="0" y="0"/>
                    </a:cubicBezTo>
                    <a:cubicBezTo>
                      <a:pt x="1" y="1"/>
                      <a:pt x="1"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Freeform 19"/>
              <p:cNvSpPr/>
              <p:nvPr/>
            </p:nvSpPr>
            <p:spPr bwMode="auto">
              <a:xfrm>
                <a:off x="8988" y="970"/>
                <a:ext cx="75" cy="31"/>
              </a:xfrm>
              <a:custGeom>
                <a:gdLst>
                  <a:gd name="T0" fmla="*/ 28 w 32"/>
                  <a:gd name="T1" fmla="*/ 0 h 13"/>
                  <a:gd name="T2" fmla="*/ 25 w 32"/>
                  <a:gd name="T3" fmla="*/ 6 h 13"/>
                  <a:gd name="T4" fmla="*/ 18 w 32"/>
                  <a:gd name="T5" fmla="*/ 9 h 13"/>
                  <a:gd name="T6" fmla="*/ 14 w 32"/>
                  <a:gd name="T7" fmla="*/ 10 h 13"/>
                  <a:gd name="T8" fmla="*/ 13 w 32"/>
                  <a:gd name="T9" fmla="*/ 11 h 13"/>
                  <a:gd name="T10" fmla="*/ 13 w 32"/>
                  <a:gd name="T11" fmla="*/ 11 h 13"/>
                  <a:gd name="T12" fmla="*/ 12 w 32"/>
                  <a:gd name="T13" fmla="*/ 11 h 13"/>
                  <a:gd name="T14" fmla="*/ 11 w 32"/>
                  <a:gd name="T15" fmla="*/ 10 h 13"/>
                  <a:gd name="T16" fmla="*/ 10 w 32"/>
                  <a:gd name="T17" fmla="*/ 11 h 13"/>
                  <a:gd name="T18" fmla="*/ 9 w 32"/>
                  <a:gd name="T19" fmla="*/ 10 h 13"/>
                  <a:gd name="T20" fmla="*/ 6 w 32"/>
                  <a:gd name="T21" fmla="*/ 13 h 13"/>
                  <a:gd name="T22" fmla="*/ 5 w 32"/>
                  <a:gd name="T23" fmla="*/ 13 h 13"/>
                  <a:gd name="T24" fmla="*/ 4 w 32"/>
                  <a:gd name="T25" fmla="*/ 13 h 13"/>
                  <a:gd name="T26" fmla="*/ 3 w 32"/>
                  <a:gd name="T27" fmla="*/ 13 h 13"/>
                  <a:gd name="T28" fmla="*/ 0 w 32"/>
                  <a:gd name="T29" fmla="*/ 13 h 13"/>
                  <a:gd name="T30" fmla="*/ 8 w 32"/>
                  <a:gd name="T31" fmla="*/ 13 h 13"/>
                  <a:gd name="T32" fmla="*/ 17 w 32"/>
                  <a:gd name="T33" fmla="*/ 13 h 13"/>
                  <a:gd name="T34" fmla="*/ 25 w 32"/>
                  <a:gd name="T35" fmla="*/ 10 h 13"/>
                  <a:gd name="T36" fmla="*/ 25 w 32"/>
                  <a:gd name="T37" fmla="*/ 10 h 13"/>
                  <a:gd name="T38" fmla="*/ 26 w 32"/>
                  <a:gd name="T39" fmla="*/ 10 h 13"/>
                  <a:gd name="T40" fmla="*/ 27 w 32"/>
                  <a:gd name="T41" fmla="*/ 10 h 13"/>
                  <a:gd name="T42" fmla="*/ 28 w 32"/>
                  <a:gd name="T43" fmla="*/ 9 h 13"/>
                  <a:gd name="T44" fmla="*/ 28 w 32"/>
                  <a:gd name="T45" fmla="*/ 9 h 13"/>
                  <a:gd name="T46" fmla="*/ 29 w 32"/>
                  <a:gd name="T47" fmla="*/ 10 h 13"/>
                  <a:gd name="T48" fmla="*/ 29 w 32"/>
                  <a:gd name="T49" fmla="*/ 10 h 13"/>
                  <a:gd name="T50" fmla="*/ 29 w 32"/>
                  <a:gd name="T51" fmla="*/ 9 h 13"/>
                  <a:gd name="T52" fmla="*/ 27 w 32"/>
                  <a:gd name="T53" fmla="*/ 6 h 13"/>
                  <a:gd name="T54" fmla="*/ 28 w 32"/>
                  <a:gd name="T55" fmla="*/ 6 h 13"/>
                  <a:gd name="T56" fmla="*/ 32 w 32"/>
                  <a:gd name="T57" fmla="*/ 4 h 13"/>
                  <a:gd name="T58" fmla="*/ 28 w 32"/>
                  <a:gd name="T59"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13">
                    <a:moveTo>
                      <a:pt x="28" y="0"/>
                    </a:moveTo>
                    <a:cubicBezTo>
                      <a:pt x="27" y="2"/>
                      <a:pt x="27" y="4"/>
                      <a:pt x="25" y="6"/>
                    </a:cubicBezTo>
                    <a:cubicBezTo>
                      <a:pt x="24" y="7"/>
                      <a:pt x="20" y="8"/>
                      <a:pt x="18" y="9"/>
                    </a:cubicBezTo>
                    <a:cubicBezTo>
                      <a:pt x="17" y="10"/>
                      <a:pt x="16" y="10"/>
                      <a:pt x="14" y="10"/>
                    </a:cubicBezTo>
                    <a:cubicBezTo>
                      <a:pt x="14" y="10"/>
                      <a:pt x="13" y="11"/>
                      <a:pt x="13" y="11"/>
                    </a:cubicBezTo>
                    <a:cubicBezTo>
                      <a:pt x="13" y="11"/>
                      <a:pt x="13" y="11"/>
                      <a:pt x="13" y="11"/>
                    </a:cubicBezTo>
                    <a:cubicBezTo>
                      <a:pt x="12" y="11"/>
                      <a:pt x="12" y="11"/>
                      <a:pt x="12" y="11"/>
                    </a:cubicBezTo>
                    <a:cubicBezTo>
                      <a:pt x="11" y="10"/>
                      <a:pt x="11" y="10"/>
                      <a:pt x="11" y="10"/>
                    </a:cubicBezTo>
                    <a:cubicBezTo>
                      <a:pt x="10" y="10"/>
                      <a:pt x="10" y="10"/>
                      <a:pt x="10" y="11"/>
                    </a:cubicBezTo>
                    <a:cubicBezTo>
                      <a:pt x="9" y="10"/>
                      <a:pt x="9" y="10"/>
                      <a:pt x="9" y="10"/>
                    </a:cubicBezTo>
                    <a:cubicBezTo>
                      <a:pt x="8" y="12"/>
                      <a:pt x="7" y="10"/>
                      <a:pt x="6" y="13"/>
                    </a:cubicBezTo>
                    <a:cubicBezTo>
                      <a:pt x="6" y="13"/>
                      <a:pt x="6" y="13"/>
                      <a:pt x="5" y="13"/>
                    </a:cubicBezTo>
                    <a:cubicBezTo>
                      <a:pt x="5" y="13"/>
                      <a:pt x="4" y="13"/>
                      <a:pt x="4" y="13"/>
                    </a:cubicBezTo>
                    <a:cubicBezTo>
                      <a:pt x="4" y="13"/>
                      <a:pt x="3" y="13"/>
                      <a:pt x="3" y="13"/>
                    </a:cubicBezTo>
                    <a:cubicBezTo>
                      <a:pt x="2" y="13"/>
                      <a:pt x="1" y="13"/>
                      <a:pt x="0" y="13"/>
                    </a:cubicBezTo>
                    <a:cubicBezTo>
                      <a:pt x="2" y="13"/>
                      <a:pt x="5" y="13"/>
                      <a:pt x="8" y="13"/>
                    </a:cubicBezTo>
                    <a:cubicBezTo>
                      <a:pt x="11" y="13"/>
                      <a:pt x="14" y="13"/>
                      <a:pt x="17" y="13"/>
                    </a:cubicBezTo>
                    <a:cubicBezTo>
                      <a:pt x="20" y="12"/>
                      <a:pt x="22" y="11"/>
                      <a:pt x="25" y="10"/>
                    </a:cubicBezTo>
                    <a:cubicBezTo>
                      <a:pt x="25" y="10"/>
                      <a:pt x="25" y="10"/>
                      <a:pt x="25" y="10"/>
                    </a:cubicBezTo>
                    <a:cubicBezTo>
                      <a:pt x="25" y="10"/>
                      <a:pt x="26" y="10"/>
                      <a:pt x="26" y="10"/>
                    </a:cubicBezTo>
                    <a:cubicBezTo>
                      <a:pt x="26" y="10"/>
                      <a:pt x="26" y="10"/>
                      <a:pt x="27" y="10"/>
                    </a:cubicBezTo>
                    <a:cubicBezTo>
                      <a:pt x="27" y="10"/>
                      <a:pt x="27" y="10"/>
                      <a:pt x="28" y="9"/>
                    </a:cubicBezTo>
                    <a:cubicBezTo>
                      <a:pt x="28" y="9"/>
                      <a:pt x="28" y="9"/>
                      <a:pt x="28" y="9"/>
                    </a:cubicBezTo>
                    <a:cubicBezTo>
                      <a:pt x="28" y="9"/>
                      <a:pt x="28" y="10"/>
                      <a:pt x="29" y="10"/>
                    </a:cubicBezTo>
                    <a:cubicBezTo>
                      <a:pt x="29" y="10"/>
                      <a:pt x="29" y="10"/>
                      <a:pt x="29" y="10"/>
                    </a:cubicBezTo>
                    <a:cubicBezTo>
                      <a:pt x="29" y="10"/>
                      <a:pt x="29" y="10"/>
                      <a:pt x="29" y="9"/>
                    </a:cubicBezTo>
                    <a:cubicBezTo>
                      <a:pt x="30" y="9"/>
                      <a:pt x="27" y="7"/>
                      <a:pt x="27" y="6"/>
                    </a:cubicBezTo>
                    <a:cubicBezTo>
                      <a:pt x="27" y="6"/>
                      <a:pt x="28" y="6"/>
                      <a:pt x="28" y="6"/>
                    </a:cubicBezTo>
                    <a:cubicBezTo>
                      <a:pt x="30" y="6"/>
                      <a:pt x="32" y="5"/>
                      <a:pt x="32" y="4"/>
                    </a:cubicBezTo>
                    <a:cubicBezTo>
                      <a:pt x="32" y="2"/>
                      <a:pt x="29" y="1"/>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2" name="Freeform 20"/>
              <p:cNvSpPr/>
              <p:nvPr/>
            </p:nvSpPr>
            <p:spPr bwMode="auto">
              <a:xfrm>
                <a:off x="8936" y="1010"/>
                <a:ext cx="9" cy="10"/>
              </a:xfrm>
              <a:custGeom>
                <a:gdLst>
                  <a:gd name="T0" fmla="*/ 0 w 4"/>
                  <a:gd name="T1" fmla="*/ 0 h 4"/>
                  <a:gd name="T2" fmla="*/ 1 w 4"/>
                  <a:gd name="T3" fmla="*/ 4 h 4"/>
                  <a:gd name="T4" fmla="*/ 4 w 4"/>
                  <a:gd name="T5" fmla="*/ 2 h 4"/>
                  <a:gd name="T6" fmla="*/ 0 w 4"/>
                  <a:gd name="T7" fmla="*/ 0 h 4"/>
                </a:gdLst>
                <a:cxnLst>
                  <a:cxn ang="0">
                    <a:pos x="T0" y="T1"/>
                  </a:cxn>
                  <a:cxn ang="0">
                    <a:pos x="T2" y="T3"/>
                  </a:cxn>
                  <a:cxn ang="0">
                    <a:pos x="T4" y="T5"/>
                  </a:cxn>
                  <a:cxn ang="0">
                    <a:pos x="T6" y="T7"/>
                  </a:cxn>
                </a:cxnLst>
                <a:rect l="0" t="0" r="r" b="b"/>
                <a:pathLst>
                  <a:path w="4" h="4">
                    <a:moveTo>
                      <a:pt x="0" y="0"/>
                    </a:moveTo>
                    <a:cubicBezTo>
                      <a:pt x="0" y="2"/>
                      <a:pt x="0" y="3"/>
                      <a:pt x="1" y="4"/>
                    </a:cubicBezTo>
                    <a:cubicBezTo>
                      <a:pt x="2" y="3"/>
                      <a:pt x="3" y="3"/>
                      <a:pt x="4"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3" name="Freeform 21"/>
              <p:cNvSpPr/>
              <p:nvPr/>
            </p:nvSpPr>
            <p:spPr bwMode="auto">
              <a:xfrm>
                <a:off x="8921" y="1013"/>
                <a:ext cx="10" cy="12"/>
              </a:xfrm>
              <a:custGeom>
                <a:gdLst>
                  <a:gd name="T0" fmla="*/ 2 w 4"/>
                  <a:gd name="T1" fmla="*/ 0 h 5"/>
                  <a:gd name="T2" fmla="*/ 2 w 4"/>
                  <a:gd name="T3" fmla="*/ 5 h 5"/>
                  <a:gd name="T4" fmla="*/ 3 w 4"/>
                  <a:gd name="T5" fmla="*/ 1 h 5"/>
                  <a:gd name="T6" fmla="*/ 4 w 4"/>
                  <a:gd name="T7" fmla="*/ 0 h 5"/>
                  <a:gd name="T8" fmla="*/ 2 w 4"/>
                  <a:gd name="T9" fmla="*/ 0 h 5"/>
                </a:gdLst>
                <a:cxnLst>
                  <a:cxn ang="0">
                    <a:pos x="T0" y="T1"/>
                  </a:cxn>
                  <a:cxn ang="0">
                    <a:pos x="T2" y="T3"/>
                  </a:cxn>
                  <a:cxn ang="0">
                    <a:pos x="T4" y="T5"/>
                  </a:cxn>
                  <a:cxn ang="0">
                    <a:pos x="T6" y="T7"/>
                  </a:cxn>
                  <a:cxn ang="0">
                    <a:pos x="T8" y="T9"/>
                  </a:cxn>
                </a:cxnLst>
                <a:rect l="0" t="0" r="r" b="b"/>
                <a:pathLst>
                  <a:path w="4" h="5">
                    <a:moveTo>
                      <a:pt x="2" y="0"/>
                    </a:moveTo>
                    <a:cubicBezTo>
                      <a:pt x="0" y="0"/>
                      <a:pt x="1" y="3"/>
                      <a:pt x="2" y="5"/>
                    </a:cubicBezTo>
                    <a:cubicBezTo>
                      <a:pt x="3" y="3"/>
                      <a:pt x="4" y="2"/>
                      <a:pt x="3" y="1"/>
                    </a:cubicBezTo>
                    <a:cubicBezTo>
                      <a:pt x="3" y="1"/>
                      <a:pt x="3" y="1"/>
                      <a:pt x="4"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Freeform 22"/>
              <p:cNvSpPr/>
              <p:nvPr/>
            </p:nvSpPr>
            <p:spPr bwMode="auto">
              <a:xfrm>
                <a:off x="8891" y="1003"/>
                <a:ext cx="38" cy="31"/>
              </a:xfrm>
              <a:custGeom>
                <a:gdLst>
                  <a:gd name="T0" fmla="*/ 8 w 16"/>
                  <a:gd name="T1" fmla="*/ 0 h 13"/>
                  <a:gd name="T2" fmla="*/ 5 w 16"/>
                  <a:gd name="T3" fmla="*/ 1 h 13"/>
                  <a:gd name="T4" fmla="*/ 6 w 16"/>
                  <a:gd name="T5" fmla="*/ 6 h 13"/>
                  <a:gd name="T6" fmla="*/ 6 w 16"/>
                  <a:gd name="T7" fmla="*/ 6 h 13"/>
                  <a:gd name="T8" fmla="*/ 4 w 16"/>
                  <a:gd name="T9" fmla="*/ 6 h 13"/>
                  <a:gd name="T10" fmla="*/ 2 w 16"/>
                  <a:gd name="T11" fmla="*/ 6 h 13"/>
                  <a:gd name="T12" fmla="*/ 2 w 16"/>
                  <a:gd name="T13" fmla="*/ 6 h 13"/>
                  <a:gd name="T14" fmla="*/ 0 w 16"/>
                  <a:gd name="T15" fmla="*/ 13 h 13"/>
                  <a:gd name="T16" fmla="*/ 3 w 16"/>
                  <a:gd name="T17" fmla="*/ 9 h 13"/>
                  <a:gd name="T18" fmla="*/ 5 w 16"/>
                  <a:gd name="T19" fmla="*/ 12 h 13"/>
                  <a:gd name="T20" fmla="*/ 6 w 16"/>
                  <a:gd name="T21" fmla="*/ 12 h 13"/>
                  <a:gd name="T22" fmla="*/ 6 w 16"/>
                  <a:gd name="T23" fmla="*/ 10 h 13"/>
                  <a:gd name="T24" fmla="*/ 10 w 16"/>
                  <a:gd name="T25" fmla="*/ 9 h 13"/>
                  <a:gd name="T26" fmla="*/ 11 w 16"/>
                  <a:gd name="T27" fmla="*/ 8 h 13"/>
                  <a:gd name="T28" fmla="*/ 11 w 16"/>
                  <a:gd name="T29" fmla="*/ 8 h 13"/>
                  <a:gd name="T30" fmla="*/ 12 w 16"/>
                  <a:gd name="T31" fmla="*/ 8 h 13"/>
                  <a:gd name="T32" fmla="*/ 12 w 16"/>
                  <a:gd name="T33" fmla="*/ 9 h 13"/>
                  <a:gd name="T34" fmla="*/ 13 w 16"/>
                  <a:gd name="T35" fmla="*/ 8 h 13"/>
                  <a:gd name="T36" fmla="*/ 8 w 16"/>
                  <a:gd name="T37" fmla="*/ 4 h 13"/>
                  <a:gd name="T38" fmla="*/ 8 w 16"/>
                  <a:gd name="T39"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13">
                    <a:moveTo>
                      <a:pt x="8" y="0"/>
                    </a:moveTo>
                    <a:cubicBezTo>
                      <a:pt x="5" y="1"/>
                      <a:pt x="5" y="1"/>
                      <a:pt x="5" y="1"/>
                    </a:cubicBezTo>
                    <a:cubicBezTo>
                      <a:pt x="4" y="2"/>
                      <a:pt x="6" y="5"/>
                      <a:pt x="6" y="6"/>
                    </a:cubicBezTo>
                    <a:cubicBezTo>
                      <a:pt x="6" y="6"/>
                      <a:pt x="6" y="6"/>
                      <a:pt x="6" y="6"/>
                    </a:cubicBezTo>
                    <a:cubicBezTo>
                      <a:pt x="5" y="6"/>
                      <a:pt x="4" y="6"/>
                      <a:pt x="4" y="6"/>
                    </a:cubicBezTo>
                    <a:cubicBezTo>
                      <a:pt x="3" y="6"/>
                      <a:pt x="2" y="6"/>
                      <a:pt x="2" y="6"/>
                    </a:cubicBezTo>
                    <a:cubicBezTo>
                      <a:pt x="2" y="6"/>
                      <a:pt x="2" y="6"/>
                      <a:pt x="2" y="6"/>
                    </a:cubicBezTo>
                    <a:cubicBezTo>
                      <a:pt x="0" y="6"/>
                      <a:pt x="1" y="12"/>
                      <a:pt x="0" y="13"/>
                    </a:cubicBezTo>
                    <a:cubicBezTo>
                      <a:pt x="1" y="12"/>
                      <a:pt x="2" y="10"/>
                      <a:pt x="3" y="9"/>
                    </a:cubicBezTo>
                    <a:cubicBezTo>
                      <a:pt x="4" y="10"/>
                      <a:pt x="4" y="12"/>
                      <a:pt x="5" y="12"/>
                    </a:cubicBezTo>
                    <a:cubicBezTo>
                      <a:pt x="5" y="12"/>
                      <a:pt x="5" y="12"/>
                      <a:pt x="6" y="12"/>
                    </a:cubicBezTo>
                    <a:cubicBezTo>
                      <a:pt x="7" y="12"/>
                      <a:pt x="5" y="11"/>
                      <a:pt x="6" y="10"/>
                    </a:cubicBezTo>
                    <a:cubicBezTo>
                      <a:pt x="7" y="10"/>
                      <a:pt x="9" y="10"/>
                      <a:pt x="10" y="9"/>
                    </a:cubicBezTo>
                    <a:cubicBezTo>
                      <a:pt x="10" y="9"/>
                      <a:pt x="10" y="8"/>
                      <a:pt x="11" y="8"/>
                    </a:cubicBezTo>
                    <a:cubicBezTo>
                      <a:pt x="11" y="8"/>
                      <a:pt x="11" y="8"/>
                      <a:pt x="11" y="8"/>
                    </a:cubicBezTo>
                    <a:cubicBezTo>
                      <a:pt x="11" y="8"/>
                      <a:pt x="12" y="8"/>
                      <a:pt x="12" y="8"/>
                    </a:cubicBezTo>
                    <a:cubicBezTo>
                      <a:pt x="12" y="8"/>
                      <a:pt x="12" y="9"/>
                      <a:pt x="12" y="9"/>
                    </a:cubicBezTo>
                    <a:cubicBezTo>
                      <a:pt x="12" y="9"/>
                      <a:pt x="13" y="9"/>
                      <a:pt x="13" y="8"/>
                    </a:cubicBezTo>
                    <a:cubicBezTo>
                      <a:pt x="16" y="5"/>
                      <a:pt x="10" y="5"/>
                      <a:pt x="8" y="4"/>
                    </a:cubicBezTo>
                    <a:cubicBezTo>
                      <a:pt x="9" y="2"/>
                      <a:pt x="11"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Freeform 23"/>
              <p:cNvSpPr/>
              <p:nvPr/>
            </p:nvSpPr>
            <p:spPr bwMode="auto">
              <a:xfrm>
                <a:off x="8276" y="923"/>
                <a:ext cx="55" cy="21"/>
              </a:xfrm>
              <a:custGeom>
                <a:gdLst>
                  <a:gd name="T0" fmla="*/ 7 w 23"/>
                  <a:gd name="T1" fmla="*/ 0 h 9"/>
                  <a:gd name="T2" fmla="*/ 0 w 23"/>
                  <a:gd name="T3" fmla="*/ 3 h 9"/>
                  <a:gd name="T4" fmla="*/ 11 w 23"/>
                  <a:gd name="T5" fmla="*/ 9 h 9"/>
                  <a:gd name="T6" fmla="*/ 14 w 23"/>
                  <a:gd name="T7" fmla="*/ 6 h 9"/>
                  <a:gd name="T8" fmla="*/ 14 w 23"/>
                  <a:gd name="T9" fmla="*/ 6 h 9"/>
                  <a:gd name="T10" fmla="*/ 15 w 23"/>
                  <a:gd name="T11" fmla="*/ 7 h 9"/>
                  <a:gd name="T12" fmla="*/ 16 w 23"/>
                  <a:gd name="T13" fmla="*/ 8 h 9"/>
                  <a:gd name="T14" fmla="*/ 16 w 23"/>
                  <a:gd name="T15" fmla="*/ 8 h 9"/>
                  <a:gd name="T16" fmla="*/ 19 w 23"/>
                  <a:gd name="T17" fmla="*/ 6 h 9"/>
                  <a:gd name="T18" fmla="*/ 19 w 23"/>
                  <a:gd name="T19" fmla="*/ 6 h 9"/>
                  <a:gd name="T20" fmla="*/ 20 w 23"/>
                  <a:gd name="T21" fmla="*/ 6 h 9"/>
                  <a:gd name="T22" fmla="*/ 22 w 23"/>
                  <a:gd name="T23" fmla="*/ 6 h 9"/>
                  <a:gd name="T24" fmla="*/ 23 w 23"/>
                  <a:gd name="T25" fmla="*/ 6 h 9"/>
                  <a:gd name="T26" fmla="*/ 17 w 23"/>
                  <a:gd name="T27" fmla="*/ 3 h 9"/>
                  <a:gd name="T28" fmla="*/ 16 w 23"/>
                  <a:gd name="T29" fmla="*/ 3 h 9"/>
                  <a:gd name="T30" fmla="*/ 10 w 23"/>
                  <a:gd name="T31" fmla="*/ 0 h 9"/>
                  <a:gd name="T32" fmla="*/ 7 w 23"/>
                  <a:gd name="T3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9">
                    <a:moveTo>
                      <a:pt x="7" y="0"/>
                    </a:moveTo>
                    <a:cubicBezTo>
                      <a:pt x="4" y="0"/>
                      <a:pt x="2" y="1"/>
                      <a:pt x="0" y="3"/>
                    </a:cubicBezTo>
                    <a:cubicBezTo>
                      <a:pt x="3" y="5"/>
                      <a:pt x="7" y="7"/>
                      <a:pt x="11" y="9"/>
                    </a:cubicBezTo>
                    <a:cubicBezTo>
                      <a:pt x="12" y="8"/>
                      <a:pt x="13" y="6"/>
                      <a:pt x="14" y="6"/>
                    </a:cubicBezTo>
                    <a:cubicBezTo>
                      <a:pt x="14" y="6"/>
                      <a:pt x="14" y="6"/>
                      <a:pt x="14" y="6"/>
                    </a:cubicBezTo>
                    <a:cubicBezTo>
                      <a:pt x="15" y="6"/>
                      <a:pt x="15" y="7"/>
                      <a:pt x="15" y="7"/>
                    </a:cubicBezTo>
                    <a:cubicBezTo>
                      <a:pt x="16" y="7"/>
                      <a:pt x="16" y="8"/>
                      <a:pt x="16" y="8"/>
                    </a:cubicBezTo>
                    <a:cubicBezTo>
                      <a:pt x="16" y="8"/>
                      <a:pt x="16" y="8"/>
                      <a:pt x="16" y="8"/>
                    </a:cubicBezTo>
                    <a:cubicBezTo>
                      <a:pt x="18" y="7"/>
                      <a:pt x="18" y="6"/>
                      <a:pt x="19" y="6"/>
                    </a:cubicBezTo>
                    <a:cubicBezTo>
                      <a:pt x="19" y="6"/>
                      <a:pt x="19" y="6"/>
                      <a:pt x="19" y="6"/>
                    </a:cubicBezTo>
                    <a:cubicBezTo>
                      <a:pt x="19" y="6"/>
                      <a:pt x="20" y="6"/>
                      <a:pt x="20" y="6"/>
                    </a:cubicBezTo>
                    <a:cubicBezTo>
                      <a:pt x="21" y="6"/>
                      <a:pt x="22" y="6"/>
                      <a:pt x="22" y="6"/>
                    </a:cubicBezTo>
                    <a:cubicBezTo>
                      <a:pt x="23" y="6"/>
                      <a:pt x="23" y="6"/>
                      <a:pt x="23" y="6"/>
                    </a:cubicBezTo>
                    <a:cubicBezTo>
                      <a:pt x="23" y="4"/>
                      <a:pt x="19" y="3"/>
                      <a:pt x="17" y="3"/>
                    </a:cubicBezTo>
                    <a:cubicBezTo>
                      <a:pt x="17" y="3"/>
                      <a:pt x="17" y="3"/>
                      <a:pt x="16" y="3"/>
                    </a:cubicBezTo>
                    <a:cubicBezTo>
                      <a:pt x="19" y="0"/>
                      <a:pt x="10" y="0"/>
                      <a:pt x="10"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Freeform 24"/>
              <p:cNvSpPr/>
              <p:nvPr/>
            </p:nvSpPr>
            <p:spPr bwMode="auto">
              <a:xfrm>
                <a:off x="8546" y="994"/>
                <a:ext cx="33" cy="21"/>
              </a:xfrm>
              <a:custGeom>
                <a:gdLst>
                  <a:gd name="T0" fmla="*/ 14 w 14"/>
                  <a:gd name="T1" fmla="*/ 0 h 9"/>
                  <a:gd name="T2" fmla="*/ 5 w 14"/>
                  <a:gd name="T3" fmla="*/ 9 h 9"/>
                  <a:gd name="T4" fmla="*/ 8 w 14"/>
                  <a:gd name="T5" fmla="*/ 6 h 9"/>
                  <a:gd name="T6" fmla="*/ 9 w 14"/>
                  <a:gd name="T7" fmla="*/ 6 h 9"/>
                  <a:gd name="T8" fmla="*/ 10 w 14"/>
                  <a:gd name="T9" fmla="*/ 7 h 9"/>
                  <a:gd name="T10" fmla="*/ 11 w 14"/>
                  <a:gd name="T11" fmla="*/ 6 h 9"/>
                  <a:gd name="T12" fmla="*/ 12 w 14"/>
                  <a:gd name="T13" fmla="*/ 3 h 9"/>
                  <a:gd name="T14" fmla="*/ 14 w 14"/>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14" y="0"/>
                    </a:moveTo>
                    <a:cubicBezTo>
                      <a:pt x="11" y="2"/>
                      <a:pt x="0" y="6"/>
                      <a:pt x="5" y="9"/>
                    </a:cubicBezTo>
                    <a:cubicBezTo>
                      <a:pt x="6" y="7"/>
                      <a:pt x="7" y="6"/>
                      <a:pt x="8" y="6"/>
                    </a:cubicBezTo>
                    <a:cubicBezTo>
                      <a:pt x="8" y="6"/>
                      <a:pt x="8" y="6"/>
                      <a:pt x="9" y="6"/>
                    </a:cubicBezTo>
                    <a:cubicBezTo>
                      <a:pt x="9" y="7"/>
                      <a:pt x="9" y="7"/>
                      <a:pt x="10" y="7"/>
                    </a:cubicBezTo>
                    <a:cubicBezTo>
                      <a:pt x="10" y="7"/>
                      <a:pt x="11" y="7"/>
                      <a:pt x="11" y="6"/>
                    </a:cubicBezTo>
                    <a:cubicBezTo>
                      <a:pt x="13" y="5"/>
                      <a:pt x="12" y="4"/>
                      <a:pt x="12" y="3"/>
                    </a:cubicBezTo>
                    <a:cubicBezTo>
                      <a:pt x="12" y="2"/>
                      <a:pt x="14"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25"/>
              <p:cNvSpPr/>
              <p:nvPr/>
            </p:nvSpPr>
            <p:spPr bwMode="auto">
              <a:xfrm>
                <a:off x="8328" y="963"/>
                <a:ext cx="24" cy="12"/>
              </a:xfrm>
              <a:custGeom>
                <a:gdLst>
                  <a:gd name="T0" fmla="*/ 8 w 10"/>
                  <a:gd name="T1" fmla="*/ 0 h 5"/>
                  <a:gd name="T2" fmla="*/ 4 w 10"/>
                  <a:gd name="T3" fmla="*/ 2 h 5"/>
                  <a:gd name="T4" fmla="*/ 3 w 10"/>
                  <a:gd name="T5" fmla="*/ 2 h 5"/>
                  <a:gd name="T6" fmla="*/ 2 w 10"/>
                  <a:gd name="T7" fmla="*/ 2 h 5"/>
                  <a:gd name="T8" fmla="*/ 2 w 10"/>
                  <a:gd name="T9" fmla="*/ 2 h 5"/>
                  <a:gd name="T10" fmla="*/ 0 w 10"/>
                  <a:gd name="T11" fmla="*/ 3 h 5"/>
                  <a:gd name="T12" fmla="*/ 7 w 10"/>
                  <a:gd name="T13" fmla="*/ 5 h 5"/>
                  <a:gd name="T14" fmla="*/ 10 w 10"/>
                  <a:gd name="T15" fmla="*/ 0 h 5"/>
                  <a:gd name="T16" fmla="*/ 8 w 10"/>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
                    <a:moveTo>
                      <a:pt x="8" y="0"/>
                    </a:moveTo>
                    <a:cubicBezTo>
                      <a:pt x="6" y="0"/>
                      <a:pt x="6" y="1"/>
                      <a:pt x="4" y="2"/>
                    </a:cubicBezTo>
                    <a:cubicBezTo>
                      <a:pt x="3" y="2"/>
                      <a:pt x="3" y="2"/>
                      <a:pt x="3" y="2"/>
                    </a:cubicBezTo>
                    <a:cubicBezTo>
                      <a:pt x="3" y="2"/>
                      <a:pt x="2" y="2"/>
                      <a:pt x="2" y="2"/>
                    </a:cubicBezTo>
                    <a:cubicBezTo>
                      <a:pt x="2" y="2"/>
                      <a:pt x="2" y="2"/>
                      <a:pt x="2" y="2"/>
                    </a:cubicBezTo>
                    <a:cubicBezTo>
                      <a:pt x="1" y="2"/>
                      <a:pt x="1" y="2"/>
                      <a:pt x="0" y="3"/>
                    </a:cubicBezTo>
                    <a:cubicBezTo>
                      <a:pt x="2" y="4"/>
                      <a:pt x="5" y="4"/>
                      <a:pt x="7" y="5"/>
                    </a:cubicBezTo>
                    <a:cubicBezTo>
                      <a:pt x="8" y="3"/>
                      <a:pt x="8"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Freeform 26"/>
              <p:cNvSpPr/>
              <p:nvPr/>
            </p:nvSpPr>
            <p:spPr bwMode="auto">
              <a:xfrm>
                <a:off x="8938" y="994"/>
                <a:ext cx="14" cy="12"/>
              </a:xfrm>
              <a:custGeom>
                <a:gdLst>
                  <a:gd name="T0" fmla="*/ 1 w 6"/>
                  <a:gd name="T1" fmla="*/ 0 h 5"/>
                  <a:gd name="T2" fmla="*/ 0 w 6"/>
                  <a:gd name="T3" fmla="*/ 0 h 5"/>
                  <a:gd name="T4" fmla="*/ 2 w 6"/>
                  <a:gd name="T5" fmla="*/ 5 h 5"/>
                  <a:gd name="T6" fmla="*/ 1 w 6"/>
                  <a:gd name="T7" fmla="*/ 0 h 5"/>
                </a:gdLst>
                <a:cxnLst>
                  <a:cxn ang="0">
                    <a:pos x="T0" y="T1"/>
                  </a:cxn>
                  <a:cxn ang="0">
                    <a:pos x="T2" y="T3"/>
                  </a:cxn>
                  <a:cxn ang="0">
                    <a:pos x="T4" y="T5"/>
                  </a:cxn>
                  <a:cxn ang="0">
                    <a:pos x="T6" y="T7"/>
                  </a:cxn>
                </a:cxnLst>
                <a:rect l="0" t="0" r="r" b="b"/>
                <a:pathLst>
                  <a:path w="6" h="5">
                    <a:moveTo>
                      <a:pt x="1" y="0"/>
                    </a:moveTo>
                    <a:cubicBezTo>
                      <a:pt x="0" y="0"/>
                      <a:pt x="0" y="0"/>
                      <a:pt x="0" y="0"/>
                    </a:cubicBezTo>
                    <a:cubicBezTo>
                      <a:pt x="0" y="2"/>
                      <a:pt x="1" y="3"/>
                      <a:pt x="2" y="5"/>
                    </a:cubicBezTo>
                    <a:cubicBezTo>
                      <a:pt x="6"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Freeform 27"/>
              <p:cNvSpPr/>
              <p:nvPr/>
            </p:nvSpPr>
            <p:spPr bwMode="auto">
              <a:xfrm>
                <a:off x="8685" y="1001"/>
                <a:ext cx="17" cy="12"/>
              </a:xfrm>
              <a:custGeom>
                <a:gdLst>
                  <a:gd name="T0" fmla="*/ 3 w 7"/>
                  <a:gd name="T1" fmla="*/ 0 h 5"/>
                  <a:gd name="T2" fmla="*/ 0 w 7"/>
                  <a:gd name="T3" fmla="*/ 1 h 5"/>
                  <a:gd name="T4" fmla="*/ 3 w 7"/>
                  <a:gd name="T5" fmla="*/ 5 h 5"/>
                  <a:gd name="T6" fmla="*/ 5 w 7"/>
                  <a:gd name="T7" fmla="*/ 1 h 5"/>
                  <a:gd name="T8" fmla="*/ 3 w 7"/>
                  <a:gd name="T9" fmla="*/ 0 h 5"/>
                </a:gdLst>
                <a:cxnLst>
                  <a:cxn ang="0">
                    <a:pos x="T0" y="T1"/>
                  </a:cxn>
                  <a:cxn ang="0">
                    <a:pos x="T2" y="T3"/>
                  </a:cxn>
                  <a:cxn ang="0">
                    <a:pos x="T4" y="T5"/>
                  </a:cxn>
                  <a:cxn ang="0">
                    <a:pos x="T6" y="T7"/>
                  </a:cxn>
                  <a:cxn ang="0">
                    <a:pos x="T8" y="T9"/>
                  </a:cxn>
                </a:cxnLst>
                <a:rect l="0" t="0" r="r" b="b"/>
                <a:pathLst>
                  <a:path w="7" h="5">
                    <a:moveTo>
                      <a:pt x="3" y="0"/>
                    </a:moveTo>
                    <a:cubicBezTo>
                      <a:pt x="2" y="0"/>
                      <a:pt x="1" y="1"/>
                      <a:pt x="0" y="1"/>
                    </a:cubicBezTo>
                    <a:cubicBezTo>
                      <a:pt x="1" y="3"/>
                      <a:pt x="2" y="4"/>
                      <a:pt x="3" y="5"/>
                    </a:cubicBezTo>
                    <a:cubicBezTo>
                      <a:pt x="6" y="4"/>
                      <a:pt x="7" y="2"/>
                      <a:pt x="5"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Freeform 28"/>
              <p:cNvSpPr/>
              <p:nvPr/>
            </p:nvSpPr>
            <p:spPr bwMode="auto">
              <a:xfrm>
                <a:off x="8858" y="1010"/>
                <a:ext cx="28" cy="17"/>
              </a:xfrm>
              <a:custGeom>
                <a:gdLst>
                  <a:gd name="T0" fmla="*/ 12 w 12"/>
                  <a:gd name="T1" fmla="*/ 0 h 7"/>
                  <a:gd name="T2" fmla="*/ 0 w 12"/>
                  <a:gd name="T3" fmla="*/ 6 h 7"/>
                  <a:gd name="T4" fmla="*/ 3 w 12"/>
                  <a:gd name="T5" fmla="*/ 6 h 7"/>
                  <a:gd name="T6" fmla="*/ 4 w 12"/>
                  <a:gd name="T7" fmla="*/ 6 h 7"/>
                  <a:gd name="T8" fmla="*/ 6 w 12"/>
                  <a:gd name="T9" fmla="*/ 7 h 7"/>
                  <a:gd name="T10" fmla="*/ 7 w 12"/>
                  <a:gd name="T11" fmla="*/ 7 h 7"/>
                  <a:gd name="T12" fmla="*/ 10 w 12"/>
                  <a:gd name="T13" fmla="*/ 4 h 7"/>
                  <a:gd name="T14" fmla="*/ 12 w 12"/>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7">
                    <a:moveTo>
                      <a:pt x="12" y="0"/>
                    </a:moveTo>
                    <a:cubicBezTo>
                      <a:pt x="8" y="2"/>
                      <a:pt x="4" y="4"/>
                      <a:pt x="0" y="6"/>
                    </a:cubicBezTo>
                    <a:cubicBezTo>
                      <a:pt x="1" y="6"/>
                      <a:pt x="2" y="6"/>
                      <a:pt x="3" y="6"/>
                    </a:cubicBezTo>
                    <a:cubicBezTo>
                      <a:pt x="3" y="6"/>
                      <a:pt x="4" y="6"/>
                      <a:pt x="4" y="6"/>
                    </a:cubicBezTo>
                    <a:cubicBezTo>
                      <a:pt x="5" y="6"/>
                      <a:pt x="5" y="7"/>
                      <a:pt x="6" y="7"/>
                    </a:cubicBezTo>
                    <a:cubicBezTo>
                      <a:pt x="7" y="7"/>
                      <a:pt x="7" y="7"/>
                      <a:pt x="7" y="7"/>
                    </a:cubicBezTo>
                    <a:cubicBezTo>
                      <a:pt x="9" y="6"/>
                      <a:pt x="9" y="6"/>
                      <a:pt x="10" y="4"/>
                    </a:cubicBezTo>
                    <a:cubicBezTo>
                      <a:pt x="11" y="2"/>
                      <a:pt x="10"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Freeform 29"/>
              <p:cNvSpPr/>
              <p:nvPr/>
            </p:nvSpPr>
            <p:spPr bwMode="auto">
              <a:xfrm>
                <a:off x="8815" y="1008"/>
                <a:ext cx="38" cy="26"/>
              </a:xfrm>
              <a:custGeom>
                <a:gdLst>
                  <a:gd name="T0" fmla="*/ 6 w 16"/>
                  <a:gd name="T1" fmla="*/ 0 h 11"/>
                  <a:gd name="T2" fmla="*/ 2 w 16"/>
                  <a:gd name="T3" fmla="*/ 1 h 11"/>
                  <a:gd name="T4" fmla="*/ 8 w 16"/>
                  <a:gd name="T5" fmla="*/ 11 h 11"/>
                  <a:gd name="T6" fmla="*/ 11 w 16"/>
                  <a:gd name="T7" fmla="*/ 7 h 11"/>
                  <a:gd name="T8" fmla="*/ 11 w 16"/>
                  <a:gd name="T9" fmla="*/ 5 h 11"/>
                  <a:gd name="T10" fmla="*/ 16 w 16"/>
                  <a:gd name="T11" fmla="*/ 3 h 11"/>
                  <a:gd name="T12" fmla="*/ 14 w 16"/>
                  <a:gd name="T13" fmla="*/ 3 h 11"/>
                  <a:gd name="T14" fmla="*/ 13 w 16"/>
                  <a:gd name="T15" fmla="*/ 3 h 11"/>
                  <a:gd name="T16" fmla="*/ 11 w 16"/>
                  <a:gd name="T17" fmla="*/ 3 h 11"/>
                  <a:gd name="T18" fmla="*/ 10 w 16"/>
                  <a:gd name="T19" fmla="*/ 2 h 11"/>
                  <a:gd name="T20" fmla="*/ 7 w 16"/>
                  <a:gd name="T21" fmla="*/ 0 h 11"/>
                  <a:gd name="T22" fmla="*/ 6 w 16"/>
                  <a:gd name="T2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1">
                    <a:moveTo>
                      <a:pt x="6" y="0"/>
                    </a:moveTo>
                    <a:cubicBezTo>
                      <a:pt x="4" y="0"/>
                      <a:pt x="3" y="0"/>
                      <a:pt x="2" y="1"/>
                    </a:cubicBezTo>
                    <a:cubicBezTo>
                      <a:pt x="0" y="3"/>
                      <a:pt x="7" y="9"/>
                      <a:pt x="8" y="11"/>
                    </a:cubicBezTo>
                    <a:cubicBezTo>
                      <a:pt x="9" y="10"/>
                      <a:pt x="10" y="8"/>
                      <a:pt x="11" y="7"/>
                    </a:cubicBezTo>
                    <a:cubicBezTo>
                      <a:pt x="11" y="6"/>
                      <a:pt x="11" y="5"/>
                      <a:pt x="11" y="5"/>
                    </a:cubicBezTo>
                    <a:cubicBezTo>
                      <a:pt x="12" y="3"/>
                      <a:pt x="15" y="4"/>
                      <a:pt x="16" y="3"/>
                    </a:cubicBezTo>
                    <a:cubicBezTo>
                      <a:pt x="15" y="3"/>
                      <a:pt x="15" y="3"/>
                      <a:pt x="14" y="3"/>
                    </a:cubicBezTo>
                    <a:cubicBezTo>
                      <a:pt x="14" y="3"/>
                      <a:pt x="13" y="3"/>
                      <a:pt x="13" y="3"/>
                    </a:cubicBezTo>
                    <a:cubicBezTo>
                      <a:pt x="12" y="3"/>
                      <a:pt x="12" y="3"/>
                      <a:pt x="11" y="3"/>
                    </a:cubicBezTo>
                    <a:cubicBezTo>
                      <a:pt x="11" y="3"/>
                      <a:pt x="10" y="3"/>
                      <a:pt x="10" y="2"/>
                    </a:cubicBezTo>
                    <a:cubicBezTo>
                      <a:pt x="9" y="2"/>
                      <a:pt x="9" y="1"/>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Freeform 30"/>
              <p:cNvSpPr/>
              <p:nvPr/>
            </p:nvSpPr>
            <p:spPr bwMode="auto">
              <a:xfrm>
                <a:off x="8635" y="1029"/>
                <a:ext cx="48" cy="24"/>
              </a:xfrm>
              <a:custGeom>
                <a:gdLst>
                  <a:gd name="T0" fmla="*/ 1 w 20"/>
                  <a:gd name="T1" fmla="*/ 0 h 10"/>
                  <a:gd name="T2" fmla="*/ 0 w 20"/>
                  <a:gd name="T3" fmla="*/ 0 h 10"/>
                  <a:gd name="T4" fmla="*/ 15 w 20"/>
                  <a:gd name="T5" fmla="*/ 10 h 10"/>
                  <a:gd name="T6" fmla="*/ 19 w 20"/>
                  <a:gd name="T7" fmla="*/ 9 h 10"/>
                  <a:gd name="T8" fmla="*/ 20 w 20"/>
                  <a:gd name="T9" fmla="*/ 9 h 10"/>
                  <a:gd name="T10" fmla="*/ 10 w 20"/>
                  <a:gd name="T11" fmla="*/ 5 h 10"/>
                  <a:gd name="T12" fmla="*/ 7 w 20"/>
                  <a:gd name="T13" fmla="*/ 2 h 10"/>
                  <a:gd name="T14" fmla="*/ 1 w 20"/>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 y="0"/>
                    </a:moveTo>
                    <a:cubicBezTo>
                      <a:pt x="0" y="0"/>
                      <a:pt x="0" y="0"/>
                      <a:pt x="0" y="0"/>
                    </a:cubicBezTo>
                    <a:cubicBezTo>
                      <a:pt x="4" y="4"/>
                      <a:pt x="10" y="7"/>
                      <a:pt x="15" y="10"/>
                    </a:cubicBezTo>
                    <a:cubicBezTo>
                      <a:pt x="16" y="10"/>
                      <a:pt x="17" y="9"/>
                      <a:pt x="19" y="9"/>
                    </a:cubicBezTo>
                    <a:cubicBezTo>
                      <a:pt x="19" y="9"/>
                      <a:pt x="19" y="9"/>
                      <a:pt x="20" y="9"/>
                    </a:cubicBezTo>
                    <a:cubicBezTo>
                      <a:pt x="17" y="8"/>
                      <a:pt x="13" y="7"/>
                      <a:pt x="10" y="5"/>
                    </a:cubicBezTo>
                    <a:cubicBezTo>
                      <a:pt x="9" y="4"/>
                      <a:pt x="8" y="3"/>
                      <a:pt x="7" y="2"/>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Freeform 31"/>
              <p:cNvSpPr/>
              <p:nvPr/>
            </p:nvSpPr>
            <p:spPr bwMode="auto">
              <a:xfrm>
                <a:off x="74" y="1426"/>
                <a:ext cx="31" cy="15"/>
              </a:xfrm>
              <a:custGeom>
                <a:gdLst>
                  <a:gd name="T0" fmla="*/ 0 w 13"/>
                  <a:gd name="T1" fmla="*/ 0 h 6"/>
                  <a:gd name="T2" fmla="*/ 13 w 13"/>
                  <a:gd name="T3" fmla="*/ 6 h 6"/>
                  <a:gd name="T4" fmla="*/ 0 w 13"/>
                  <a:gd name="T5" fmla="*/ 0 h 6"/>
                </a:gdLst>
                <a:cxnLst>
                  <a:cxn ang="0">
                    <a:pos x="T0" y="T1"/>
                  </a:cxn>
                  <a:cxn ang="0">
                    <a:pos x="T2" y="T3"/>
                  </a:cxn>
                  <a:cxn ang="0">
                    <a:pos x="T4" y="T5"/>
                  </a:cxn>
                </a:cxnLst>
                <a:rect l="0" t="0" r="r" b="b"/>
                <a:pathLst>
                  <a:path w="13" h="6">
                    <a:moveTo>
                      <a:pt x="0" y="0"/>
                    </a:moveTo>
                    <a:cubicBezTo>
                      <a:pt x="0" y="5"/>
                      <a:pt x="9" y="5"/>
                      <a:pt x="13" y="6"/>
                    </a:cubicBezTo>
                    <a:cubicBezTo>
                      <a:pt x="9" y="4"/>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Freeform 32"/>
              <p:cNvSpPr/>
              <p:nvPr/>
            </p:nvSpPr>
            <p:spPr bwMode="auto">
              <a:xfrm>
                <a:off x="1324" y="1939"/>
                <a:ext cx="5" cy="24"/>
              </a:xfrm>
              <a:custGeom>
                <a:gdLst>
                  <a:gd name="T0" fmla="*/ 1 w 2"/>
                  <a:gd name="T1" fmla="*/ 0 h 10"/>
                  <a:gd name="T2" fmla="*/ 2 w 2"/>
                  <a:gd name="T3" fmla="*/ 10 h 10"/>
                  <a:gd name="T4" fmla="*/ 1 w 2"/>
                  <a:gd name="T5" fmla="*/ 0 h 10"/>
                </a:gdLst>
                <a:cxnLst>
                  <a:cxn ang="0">
                    <a:pos x="T0" y="T1"/>
                  </a:cxn>
                  <a:cxn ang="0">
                    <a:pos x="T2" y="T3"/>
                  </a:cxn>
                  <a:cxn ang="0">
                    <a:pos x="T4" y="T5"/>
                  </a:cxn>
                </a:cxnLst>
                <a:rect l="0" t="0" r="r" b="b"/>
                <a:pathLst>
                  <a:path w="2" h="10">
                    <a:moveTo>
                      <a:pt x="1" y="0"/>
                    </a:moveTo>
                    <a:cubicBezTo>
                      <a:pt x="0" y="2"/>
                      <a:pt x="2" y="7"/>
                      <a:pt x="2" y="10"/>
                    </a:cubicBezTo>
                    <a:cubicBezTo>
                      <a:pt x="2" y="6"/>
                      <a:pt x="1"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Freeform 33"/>
              <p:cNvSpPr/>
              <p:nvPr/>
            </p:nvSpPr>
            <p:spPr bwMode="auto">
              <a:xfrm>
                <a:off x="838" y="3824"/>
                <a:ext cx="30" cy="9"/>
              </a:xfrm>
              <a:custGeom>
                <a:gdLst>
                  <a:gd name="T0" fmla="*/ 0 w 13"/>
                  <a:gd name="T1" fmla="*/ 0 h 4"/>
                  <a:gd name="T2" fmla="*/ 13 w 13"/>
                  <a:gd name="T3" fmla="*/ 4 h 4"/>
                  <a:gd name="T4" fmla="*/ 0 w 13"/>
                  <a:gd name="T5" fmla="*/ 0 h 4"/>
                  <a:gd name="T6" fmla="*/ 0 w 13"/>
                  <a:gd name="T7" fmla="*/ 0 h 4"/>
                </a:gdLst>
                <a:cxnLst>
                  <a:cxn ang="0">
                    <a:pos x="T0" y="T1"/>
                  </a:cxn>
                  <a:cxn ang="0">
                    <a:pos x="T2" y="T3"/>
                  </a:cxn>
                  <a:cxn ang="0">
                    <a:pos x="T4" y="T5"/>
                  </a:cxn>
                  <a:cxn ang="0">
                    <a:pos x="T6" y="T7"/>
                  </a:cxn>
                </a:cxnLst>
                <a:rect l="0" t="0" r="r" b="b"/>
                <a:pathLst>
                  <a:path w="13" h="4">
                    <a:moveTo>
                      <a:pt x="0" y="0"/>
                    </a:moveTo>
                    <a:cubicBezTo>
                      <a:pt x="4" y="1"/>
                      <a:pt x="9" y="3"/>
                      <a:pt x="13" y="4"/>
                    </a:cubicBezTo>
                    <a:cubicBezTo>
                      <a:pt x="9" y="3"/>
                      <a:pt x="4"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Freeform 34"/>
              <p:cNvSpPr/>
              <p:nvPr/>
            </p:nvSpPr>
            <p:spPr bwMode="auto">
              <a:xfrm>
                <a:off x="4271" y="4254"/>
                <a:ext cx="19" cy="4"/>
              </a:xfrm>
              <a:custGeom>
                <a:gdLst>
                  <a:gd name="T0" fmla="*/ 6 w 8"/>
                  <a:gd name="T1" fmla="*/ 0 h 2"/>
                  <a:gd name="T2" fmla="*/ 0 w 8"/>
                  <a:gd name="T3" fmla="*/ 2 h 2"/>
                  <a:gd name="T4" fmla="*/ 8 w 8"/>
                  <a:gd name="T5" fmla="*/ 1 h 2"/>
                  <a:gd name="T6" fmla="*/ 6 w 8"/>
                  <a:gd name="T7" fmla="*/ 0 h 2"/>
                </a:gdLst>
                <a:cxnLst>
                  <a:cxn ang="0">
                    <a:pos x="T0" y="T1"/>
                  </a:cxn>
                  <a:cxn ang="0">
                    <a:pos x="T2" y="T3"/>
                  </a:cxn>
                  <a:cxn ang="0">
                    <a:pos x="T4" y="T5"/>
                  </a:cxn>
                  <a:cxn ang="0">
                    <a:pos x="T6" y="T7"/>
                  </a:cxn>
                </a:cxnLst>
                <a:rect l="0" t="0" r="r" b="b"/>
                <a:pathLst>
                  <a:path w="8" h="2">
                    <a:moveTo>
                      <a:pt x="6" y="0"/>
                    </a:moveTo>
                    <a:cubicBezTo>
                      <a:pt x="4" y="1"/>
                      <a:pt x="1" y="0"/>
                      <a:pt x="0" y="2"/>
                    </a:cubicBezTo>
                    <a:cubicBezTo>
                      <a:pt x="2" y="2"/>
                      <a:pt x="5" y="2"/>
                      <a:pt x="8" y="1"/>
                    </a:cubicBezTo>
                    <a:cubicBezTo>
                      <a:pt x="7" y="1"/>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Freeform 35"/>
              <p:cNvSpPr/>
              <p:nvPr/>
            </p:nvSpPr>
            <p:spPr bwMode="auto">
              <a:xfrm>
                <a:off x="1464" y="4601"/>
                <a:ext cx="7" cy="14"/>
              </a:xfrm>
              <a:custGeom>
                <a:gdLst>
                  <a:gd name="T0" fmla="*/ 1 w 3"/>
                  <a:gd name="T1" fmla="*/ 0 h 6"/>
                  <a:gd name="T2" fmla="*/ 3 w 3"/>
                  <a:gd name="T3" fmla="*/ 6 h 6"/>
                  <a:gd name="T4" fmla="*/ 3 w 3"/>
                  <a:gd name="T5" fmla="*/ 6 h 6"/>
                  <a:gd name="T6" fmla="*/ 3 w 3"/>
                  <a:gd name="T7" fmla="*/ 6 h 6"/>
                  <a:gd name="T8" fmla="*/ 1 w 3"/>
                  <a:gd name="T9" fmla="*/ 0 h 6"/>
                </a:gdLst>
                <a:cxnLst>
                  <a:cxn ang="0">
                    <a:pos x="T0" y="T1"/>
                  </a:cxn>
                  <a:cxn ang="0">
                    <a:pos x="T2" y="T3"/>
                  </a:cxn>
                  <a:cxn ang="0">
                    <a:pos x="T4" y="T5"/>
                  </a:cxn>
                  <a:cxn ang="0">
                    <a:pos x="T6" y="T7"/>
                  </a:cxn>
                  <a:cxn ang="0">
                    <a:pos x="T8" y="T9"/>
                  </a:cxn>
                </a:cxnLst>
                <a:rect l="0" t="0" r="r" b="b"/>
                <a:pathLst>
                  <a:path w="3" h="6">
                    <a:moveTo>
                      <a:pt x="1" y="0"/>
                    </a:moveTo>
                    <a:cubicBezTo>
                      <a:pt x="0" y="2"/>
                      <a:pt x="1" y="4"/>
                      <a:pt x="3" y="6"/>
                    </a:cubicBezTo>
                    <a:cubicBezTo>
                      <a:pt x="3" y="6"/>
                      <a:pt x="3" y="6"/>
                      <a:pt x="3" y="6"/>
                    </a:cubicBezTo>
                    <a:cubicBezTo>
                      <a:pt x="3" y="6"/>
                      <a:pt x="3" y="6"/>
                      <a:pt x="3" y="6"/>
                    </a:cubicBezTo>
                    <a:cubicBezTo>
                      <a:pt x="3" y="3"/>
                      <a:pt x="1"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Freeform 36"/>
              <p:cNvSpPr>
                <a:spLocks noEditPoints="1"/>
              </p:cNvSpPr>
              <p:nvPr/>
            </p:nvSpPr>
            <p:spPr bwMode="auto">
              <a:xfrm>
                <a:off x="672" y="3337"/>
                <a:ext cx="10" cy="16"/>
              </a:xfrm>
              <a:custGeom>
                <a:gdLst>
                  <a:gd name="T0" fmla="*/ 2 w 4"/>
                  <a:gd name="T1" fmla="*/ 1 h 7"/>
                  <a:gd name="T2" fmla="*/ 1 w 4"/>
                  <a:gd name="T3" fmla="*/ 5 h 7"/>
                  <a:gd name="T4" fmla="*/ 4 w 4"/>
                  <a:gd name="T5" fmla="*/ 7 h 7"/>
                  <a:gd name="T6" fmla="*/ 2 w 4"/>
                  <a:gd name="T7" fmla="*/ 1 h 7"/>
                  <a:gd name="T8" fmla="*/ 1 w 4"/>
                  <a:gd name="T9" fmla="*/ 0 h 7"/>
                  <a:gd name="T10" fmla="*/ 2 w 4"/>
                  <a:gd name="T11" fmla="*/ 1 h 7"/>
                  <a:gd name="T12" fmla="*/ 1 w 4"/>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4" h="7">
                    <a:moveTo>
                      <a:pt x="2" y="1"/>
                    </a:moveTo>
                    <a:cubicBezTo>
                      <a:pt x="2" y="3"/>
                      <a:pt x="0" y="3"/>
                      <a:pt x="1" y="5"/>
                    </a:cubicBezTo>
                    <a:cubicBezTo>
                      <a:pt x="2" y="6"/>
                      <a:pt x="3" y="6"/>
                      <a:pt x="4" y="7"/>
                    </a:cubicBezTo>
                    <a:cubicBezTo>
                      <a:pt x="4" y="5"/>
                      <a:pt x="3" y="3"/>
                      <a:pt x="2" y="1"/>
                    </a:cubicBezTo>
                    <a:moveTo>
                      <a:pt x="1" y="0"/>
                    </a:moveTo>
                    <a:cubicBezTo>
                      <a:pt x="2" y="1"/>
                      <a:pt x="2" y="1"/>
                      <a:pt x="2" y="1"/>
                    </a:cubicBezTo>
                    <a:cubicBezTo>
                      <a:pt x="2"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Freeform 37"/>
              <p:cNvSpPr/>
              <p:nvPr/>
            </p:nvSpPr>
            <p:spPr bwMode="auto">
              <a:xfrm>
                <a:off x="682" y="3351"/>
                <a:ext cx="11" cy="14"/>
              </a:xfrm>
              <a:custGeom>
                <a:gdLst>
                  <a:gd name="T0" fmla="*/ 2 w 5"/>
                  <a:gd name="T1" fmla="*/ 0 h 6"/>
                  <a:gd name="T2" fmla="*/ 0 w 5"/>
                  <a:gd name="T3" fmla="*/ 2 h 6"/>
                  <a:gd name="T4" fmla="*/ 5 w 5"/>
                  <a:gd name="T5" fmla="*/ 6 h 6"/>
                  <a:gd name="T6" fmla="*/ 2 w 5"/>
                  <a:gd name="T7" fmla="*/ 0 h 6"/>
                </a:gdLst>
                <a:cxnLst>
                  <a:cxn ang="0">
                    <a:pos x="T0" y="T1"/>
                  </a:cxn>
                  <a:cxn ang="0">
                    <a:pos x="T2" y="T3"/>
                  </a:cxn>
                  <a:cxn ang="0">
                    <a:pos x="T4" y="T5"/>
                  </a:cxn>
                  <a:cxn ang="0">
                    <a:pos x="T6" y="T7"/>
                  </a:cxn>
                </a:cxnLst>
                <a:rect l="0" t="0" r="r" b="b"/>
                <a:pathLst>
                  <a:path w="5" h="6">
                    <a:moveTo>
                      <a:pt x="2" y="0"/>
                    </a:moveTo>
                    <a:cubicBezTo>
                      <a:pt x="2" y="0"/>
                      <a:pt x="1" y="0"/>
                      <a:pt x="0" y="2"/>
                    </a:cubicBezTo>
                    <a:cubicBezTo>
                      <a:pt x="2" y="3"/>
                      <a:pt x="3" y="4"/>
                      <a:pt x="5" y="6"/>
                    </a:cubicBezTo>
                    <a:cubicBezTo>
                      <a:pt x="5" y="3"/>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0" name="Freeform 38"/>
              <p:cNvSpPr/>
              <p:nvPr/>
            </p:nvSpPr>
            <p:spPr bwMode="auto">
              <a:xfrm>
                <a:off x="670" y="3346"/>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0"/>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1" name="Freeform 39"/>
              <p:cNvSpPr/>
              <p:nvPr/>
            </p:nvSpPr>
            <p:spPr bwMode="auto">
              <a:xfrm>
                <a:off x="675" y="3351"/>
                <a:ext cx="7" cy="4"/>
              </a:xfrm>
              <a:custGeom>
                <a:gdLst>
                  <a:gd name="T0" fmla="*/ 0 w 3"/>
                  <a:gd name="T1" fmla="*/ 0 h 2"/>
                  <a:gd name="T2" fmla="*/ 3 w 3"/>
                  <a:gd name="T3" fmla="*/ 2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cubicBezTo>
                      <a:pt x="1" y="1"/>
                      <a:pt x="2" y="2"/>
                      <a:pt x="3" y="2"/>
                    </a:cubicBezTo>
                    <a:cubicBezTo>
                      <a:pt x="3" y="2"/>
                      <a:pt x="3"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Freeform 40"/>
              <p:cNvSpPr>
                <a:spLocks noEditPoints="1"/>
              </p:cNvSpPr>
              <p:nvPr/>
            </p:nvSpPr>
            <p:spPr bwMode="auto">
              <a:xfrm>
                <a:off x="5441" y="3743"/>
                <a:ext cx="49" cy="33"/>
              </a:xfrm>
              <a:custGeom>
                <a:gdLst>
                  <a:gd name="T0" fmla="*/ 1 w 21"/>
                  <a:gd name="T1" fmla="*/ 10 h 14"/>
                  <a:gd name="T2" fmla="*/ 1 w 21"/>
                  <a:gd name="T3" fmla="*/ 10 h 14"/>
                  <a:gd name="T4" fmla="*/ 1 w 21"/>
                  <a:gd name="T5" fmla="*/ 10 h 14"/>
                  <a:gd name="T6" fmla="*/ 12 w 21"/>
                  <a:gd name="T7" fmla="*/ 0 h 14"/>
                  <a:gd name="T8" fmla="*/ 7 w 21"/>
                  <a:gd name="T9" fmla="*/ 4 h 14"/>
                  <a:gd name="T10" fmla="*/ 1 w 21"/>
                  <a:gd name="T11" fmla="*/ 10 h 14"/>
                  <a:gd name="T12" fmla="*/ 1 w 21"/>
                  <a:gd name="T13" fmla="*/ 10 h 14"/>
                  <a:gd name="T14" fmla="*/ 2 w 21"/>
                  <a:gd name="T15" fmla="*/ 11 h 14"/>
                  <a:gd name="T16" fmla="*/ 2 w 21"/>
                  <a:gd name="T17" fmla="*/ 12 h 14"/>
                  <a:gd name="T18" fmla="*/ 2 w 21"/>
                  <a:gd name="T19" fmla="*/ 12 h 14"/>
                  <a:gd name="T20" fmla="*/ 8 w 21"/>
                  <a:gd name="T21" fmla="*/ 14 h 14"/>
                  <a:gd name="T22" fmla="*/ 19 w 21"/>
                  <a:gd name="T23" fmla="*/ 11 h 14"/>
                  <a:gd name="T24" fmla="*/ 20 w 21"/>
                  <a:gd name="T25" fmla="*/ 9 h 14"/>
                  <a:gd name="T26" fmla="*/ 19 w 21"/>
                  <a:gd name="T27" fmla="*/ 8 h 14"/>
                  <a:gd name="T28" fmla="*/ 20 w 21"/>
                  <a:gd name="T29" fmla="*/ 7 h 14"/>
                  <a:gd name="T30" fmla="*/ 19 w 21"/>
                  <a:gd name="T31" fmla="*/ 3 h 14"/>
                  <a:gd name="T32" fmla="*/ 13 w 21"/>
                  <a:gd name="T33" fmla="*/ 0 h 14"/>
                  <a:gd name="T34" fmla="*/ 12 w 21"/>
                  <a:gd name="T35"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14">
                    <a:moveTo>
                      <a:pt x="1" y="10"/>
                    </a:moveTo>
                    <a:cubicBezTo>
                      <a:pt x="1" y="10"/>
                      <a:pt x="1" y="10"/>
                      <a:pt x="1" y="10"/>
                    </a:cubicBezTo>
                    <a:cubicBezTo>
                      <a:pt x="1" y="10"/>
                      <a:pt x="1" y="10"/>
                      <a:pt x="1" y="10"/>
                    </a:cubicBezTo>
                    <a:moveTo>
                      <a:pt x="12" y="0"/>
                    </a:moveTo>
                    <a:cubicBezTo>
                      <a:pt x="10" y="0"/>
                      <a:pt x="9" y="2"/>
                      <a:pt x="7" y="4"/>
                    </a:cubicBezTo>
                    <a:cubicBezTo>
                      <a:pt x="5" y="6"/>
                      <a:pt x="0" y="6"/>
                      <a:pt x="1" y="10"/>
                    </a:cubicBezTo>
                    <a:cubicBezTo>
                      <a:pt x="1" y="10"/>
                      <a:pt x="1" y="10"/>
                      <a:pt x="1" y="10"/>
                    </a:cubicBezTo>
                    <a:cubicBezTo>
                      <a:pt x="1" y="10"/>
                      <a:pt x="1" y="11"/>
                      <a:pt x="2" y="11"/>
                    </a:cubicBezTo>
                    <a:cubicBezTo>
                      <a:pt x="2" y="12"/>
                      <a:pt x="2" y="12"/>
                      <a:pt x="2" y="12"/>
                    </a:cubicBezTo>
                    <a:cubicBezTo>
                      <a:pt x="2" y="12"/>
                      <a:pt x="2" y="12"/>
                      <a:pt x="2" y="12"/>
                    </a:cubicBezTo>
                    <a:cubicBezTo>
                      <a:pt x="4" y="14"/>
                      <a:pt x="5" y="14"/>
                      <a:pt x="8" y="14"/>
                    </a:cubicBezTo>
                    <a:cubicBezTo>
                      <a:pt x="11" y="13"/>
                      <a:pt x="16" y="13"/>
                      <a:pt x="19" y="11"/>
                    </a:cubicBezTo>
                    <a:cubicBezTo>
                      <a:pt x="21" y="9"/>
                      <a:pt x="20" y="10"/>
                      <a:pt x="20" y="9"/>
                    </a:cubicBezTo>
                    <a:cubicBezTo>
                      <a:pt x="19" y="8"/>
                      <a:pt x="19" y="8"/>
                      <a:pt x="19" y="8"/>
                    </a:cubicBezTo>
                    <a:cubicBezTo>
                      <a:pt x="20" y="7"/>
                      <a:pt x="20" y="7"/>
                      <a:pt x="20" y="7"/>
                    </a:cubicBezTo>
                    <a:cubicBezTo>
                      <a:pt x="20" y="5"/>
                      <a:pt x="20" y="4"/>
                      <a:pt x="19" y="3"/>
                    </a:cubicBezTo>
                    <a:cubicBezTo>
                      <a:pt x="19" y="2"/>
                      <a:pt x="14" y="0"/>
                      <a:pt x="13" y="0"/>
                    </a:cubicBezTo>
                    <a:cubicBezTo>
                      <a:pt x="13"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Freeform 41"/>
              <p:cNvSpPr/>
              <p:nvPr/>
            </p:nvSpPr>
            <p:spPr bwMode="auto">
              <a:xfrm>
                <a:off x="5469" y="3601"/>
                <a:ext cx="83" cy="88"/>
              </a:xfrm>
              <a:custGeom>
                <a:gdLst>
                  <a:gd name="T0" fmla="*/ 19 w 35"/>
                  <a:gd name="T1" fmla="*/ 0 h 37"/>
                  <a:gd name="T2" fmla="*/ 15 w 35"/>
                  <a:gd name="T3" fmla="*/ 0 h 37"/>
                  <a:gd name="T4" fmla="*/ 0 w 35"/>
                  <a:gd name="T5" fmla="*/ 0 h 37"/>
                  <a:gd name="T6" fmla="*/ 9 w 35"/>
                  <a:gd name="T7" fmla="*/ 12 h 37"/>
                  <a:gd name="T8" fmla="*/ 20 w 35"/>
                  <a:gd name="T9" fmla="*/ 21 h 37"/>
                  <a:gd name="T10" fmla="*/ 18 w 35"/>
                  <a:gd name="T11" fmla="*/ 24 h 37"/>
                  <a:gd name="T12" fmla="*/ 19 w 35"/>
                  <a:gd name="T13" fmla="*/ 30 h 37"/>
                  <a:gd name="T14" fmla="*/ 24 w 35"/>
                  <a:gd name="T15" fmla="*/ 37 h 37"/>
                  <a:gd name="T16" fmla="*/ 25 w 35"/>
                  <a:gd name="T17" fmla="*/ 37 h 37"/>
                  <a:gd name="T18" fmla="*/ 26 w 35"/>
                  <a:gd name="T19" fmla="*/ 37 h 37"/>
                  <a:gd name="T20" fmla="*/ 27 w 35"/>
                  <a:gd name="T21" fmla="*/ 36 h 37"/>
                  <a:gd name="T22" fmla="*/ 27 w 35"/>
                  <a:gd name="T23" fmla="*/ 36 h 37"/>
                  <a:gd name="T24" fmla="*/ 31 w 35"/>
                  <a:gd name="T25" fmla="*/ 37 h 37"/>
                  <a:gd name="T26" fmla="*/ 32 w 35"/>
                  <a:gd name="T27" fmla="*/ 36 h 37"/>
                  <a:gd name="T28" fmla="*/ 33 w 35"/>
                  <a:gd name="T29" fmla="*/ 36 h 37"/>
                  <a:gd name="T30" fmla="*/ 34 w 35"/>
                  <a:gd name="T31" fmla="*/ 36 h 37"/>
                  <a:gd name="T32" fmla="*/ 35 w 35"/>
                  <a:gd name="T33" fmla="*/ 36 h 37"/>
                  <a:gd name="T34" fmla="*/ 32 w 35"/>
                  <a:gd name="T35" fmla="*/ 34 h 37"/>
                  <a:gd name="T36" fmla="*/ 34 w 35"/>
                  <a:gd name="T37" fmla="*/ 31 h 37"/>
                  <a:gd name="T38" fmla="*/ 32 w 35"/>
                  <a:gd name="T39" fmla="*/ 20 h 37"/>
                  <a:gd name="T40" fmla="*/ 31 w 35"/>
                  <a:gd name="T41" fmla="*/ 10 h 37"/>
                  <a:gd name="T42" fmla="*/ 31 w 35"/>
                  <a:gd name="T43" fmla="*/ 10 h 37"/>
                  <a:gd name="T44" fmla="*/ 28 w 35"/>
                  <a:gd name="T45" fmla="*/ 8 h 37"/>
                  <a:gd name="T46" fmla="*/ 26 w 35"/>
                  <a:gd name="T47" fmla="*/ 5 h 37"/>
                  <a:gd name="T48" fmla="*/ 27 w 35"/>
                  <a:gd name="T49" fmla="*/ 4 h 37"/>
                  <a:gd name="T50" fmla="*/ 23 w 35"/>
                  <a:gd name="T51" fmla="*/ 0 h 37"/>
                  <a:gd name="T52" fmla="*/ 19 w 35"/>
                  <a:gd name="T53"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7">
                    <a:moveTo>
                      <a:pt x="19" y="0"/>
                    </a:moveTo>
                    <a:cubicBezTo>
                      <a:pt x="18" y="0"/>
                      <a:pt x="16" y="0"/>
                      <a:pt x="15" y="0"/>
                    </a:cubicBezTo>
                    <a:cubicBezTo>
                      <a:pt x="10" y="0"/>
                      <a:pt x="5" y="0"/>
                      <a:pt x="0" y="0"/>
                    </a:cubicBezTo>
                    <a:cubicBezTo>
                      <a:pt x="2" y="7"/>
                      <a:pt x="4" y="8"/>
                      <a:pt x="9" y="12"/>
                    </a:cubicBezTo>
                    <a:cubicBezTo>
                      <a:pt x="12" y="15"/>
                      <a:pt x="17" y="18"/>
                      <a:pt x="20" y="21"/>
                    </a:cubicBezTo>
                    <a:cubicBezTo>
                      <a:pt x="18" y="22"/>
                      <a:pt x="19" y="22"/>
                      <a:pt x="18" y="24"/>
                    </a:cubicBezTo>
                    <a:cubicBezTo>
                      <a:pt x="18" y="26"/>
                      <a:pt x="18" y="28"/>
                      <a:pt x="19" y="30"/>
                    </a:cubicBezTo>
                    <a:cubicBezTo>
                      <a:pt x="21" y="32"/>
                      <a:pt x="22" y="34"/>
                      <a:pt x="24" y="37"/>
                    </a:cubicBezTo>
                    <a:cubicBezTo>
                      <a:pt x="24" y="37"/>
                      <a:pt x="24" y="37"/>
                      <a:pt x="25" y="37"/>
                    </a:cubicBezTo>
                    <a:cubicBezTo>
                      <a:pt x="25" y="37"/>
                      <a:pt x="25" y="37"/>
                      <a:pt x="26" y="37"/>
                    </a:cubicBezTo>
                    <a:cubicBezTo>
                      <a:pt x="26" y="36"/>
                      <a:pt x="26" y="36"/>
                      <a:pt x="27" y="36"/>
                    </a:cubicBezTo>
                    <a:cubicBezTo>
                      <a:pt x="27" y="36"/>
                      <a:pt x="27" y="36"/>
                      <a:pt x="27" y="36"/>
                    </a:cubicBezTo>
                    <a:cubicBezTo>
                      <a:pt x="28" y="36"/>
                      <a:pt x="31" y="36"/>
                      <a:pt x="31" y="37"/>
                    </a:cubicBezTo>
                    <a:cubicBezTo>
                      <a:pt x="31" y="36"/>
                      <a:pt x="32" y="36"/>
                      <a:pt x="32" y="36"/>
                    </a:cubicBezTo>
                    <a:cubicBezTo>
                      <a:pt x="32" y="36"/>
                      <a:pt x="32" y="36"/>
                      <a:pt x="33" y="36"/>
                    </a:cubicBezTo>
                    <a:cubicBezTo>
                      <a:pt x="33" y="36"/>
                      <a:pt x="33" y="36"/>
                      <a:pt x="34" y="36"/>
                    </a:cubicBezTo>
                    <a:cubicBezTo>
                      <a:pt x="34" y="36"/>
                      <a:pt x="34" y="36"/>
                      <a:pt x="35" y="36"/>
                    </a:cubicBezTo>
                    <a:cubicBezTo>
                      <a:pt x="34" y="35"/>
                      <a:pt x="33" y="35"/>
                      <a:pt x="32" y="34"/>
                    </a:cubicBezTo>
                    <a:cubicBezTo>
                      <a:pt x="33" y="33"/>
                      <a:pt x="34" y="32"/>
                      <a:pt x="34" y="31"/>
                    </a:cubicBezTo>
                    <a:cubicBezTo>
                      <a:pt x="35" y="28"/>
                      <a:pt x="33" y="22"/>
                      <a:pt x="32" y="20"/>
                    </a:cubicBezTo>
                    <a:cubicBezTo>
                      <a:pt x="32" y="18"/>
                      <a:pt x="30" y="11"/>
                      <a:pt x="31" y="10"/>
                    </a:cubicBezTo>
                    <a:cubicBezTo>
                      <a:pt x="31" y="10"/>
                      <a:pt x="31" y="10"/>
                      <a:pt x="31" y="10"/>
                    </a:cubicBezTo>
                    <a:cubicBezTo>
                      <a:pt x="30" y="9"/>
                      <a:pt x="29" y="9"/>
                      <a:pt x="28" y="8"/>
                    </a:cubicBezTo>
                    <a:cubicBezTo>
                      <a:pt x="25" y="7"/>
                      <a:pt x="27" y="7"/>
                      <a:pt x="26" y="5"/>
                    </a:cubicBezTo>
                    <a:cubicBezTo>
                      <a:pt x="26" y="4"/>
                      <a:pt x="27" y="4"/>
                      <a:pt x="27" y="4"/>
                    </a:cubicBezTo>
                    <a:cubicBezTo>
                      <a:pt x="26" y="3"/>
                      <a:pt x="25" y="1"/>
                      <a:pt x="23" y="0"/>
                    </a:cubicBezTo>
                    <a:cubicBezTo>
                      <a:pt x="22" y="0"/>
                      <a:pt x="21"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Freeform 42"/>
              <p:cNvSpPr/>
              <p:nvPr/>
            </p:nvSpPr>
            <p:spPr bwMode="auto">
              <a:xfrm>
                <a:off x="5471" y="3663"/>
                <a:ext cx="57" cy="87"/>
              </a:xfrm>
              <a:custGeom>
                <a:gdLst>
                  <a:gd name="T0" fmla="*/ 0 w 24"/>
                  <a:gd name="T1" fmla="*/ 0 h 37"/>
                  <a:gd name="T2" fmla="*/ 2 w 24"/>
                  <a:gd name="T3" fmla="*/ 6 h 37"/>
                  <a:gd name="T4" fmla="*/ 2 w 24"/>
                  <a:gd name="T5" fmla="*/ 12 h 37"/>
                  <a:gd name="T6" fmla="*/ 3 w 24"/>
                  <a:gd name="T7" fmla="*/ 15 h 37"/>
                  <a:gd name="T8" fmla="*/ 3 w 24"/>
                  <a:gd name="T9" fmla="*/ 15 h 37"/>
                  <a:gd name="T10" fmla="*/ 4 w 24"/>
                  <a:gd name="T11" fmla="*/ 16 h 37"/>
                  <a:gd name="T12" fmla="*/ 6 w 24"/>
                  <a:gd name="T13" fmla="*/ 15 h 37"/>
                  <a:gd name="T14" fmla="*/ 8 w 24"/>
                  <a:gd name="T15" fmla="*/ 13 h 37"/>
                  <a:gd name="T16" fmla="*/ 8 w 24"/>
                  <a:gd name="T17" fmla="*/ 13 h 37"/>
                  <a:gd name="T18" fmla="*/ 12 w 24"/>
                  <a:gd name="T19" fmla="*/ 34 h 37"/>
                  <a:gd name="T20" fmla="*/ 18 w 24"/>
                  <a:gd name="T21" fmla="*/ 37 h 37"/>
                  <a:gd name="T22" fmla="*/ 18 w 24"/>
                  <a:gd name="T23" fmla="*/ 29 h 37"/>
                  <a:gd name="T24" fmla="*/ 21 w 24"/>
                  <a:gd name="T25" fmla="*/ 34 h 37"/>
                  <a:gd name="T26" fmla="*/ 24 w 24"/>
                  <a:gd name="T27" fmla="*/ 29 h 37"/>
                  <a:gd name="T28" fmla="*/ 21 w 24"/>
                  <a:gd name="T29" fmla="*/ 22 h 37"/>
                  <a:gd name="T30" fmla="*/ 17 w 24"/>
                  <a:gd name="T31" fmla="*/ 3 h 37"/>
                  <a:gd name="T32" fmla="*/ 9 w 24"/>
                  <a:gd name="T33" fmla="*/ 5 h 37"/>
                  <a:gd name="T34" fmla="*/ 7 w 24"/>
                  <a:gd name="T35" fmla="*/ 5 h 37"/>
                  <a:gd name="T36" fmla="*/ 0 w 24"/>
                  <a:gd name="T37"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37">
                    <a:moveTo>
                      <a:pt x="0" y="0"/>
                    </a:moveTo>
                    <a:cubicBezTo>
                      <a:pt x="1" y="2"/>
                      <a:pt x="2" y="5"/>
                      <a:pt x="2" y="6"/>
                    </a:cubicBezTo>
                    <a:cubicBezTo>
                      <a:pt x="3" y="8"/>
                      <a:pt x="2" y="10"/>
                      <a:pt x="2" y="12"/>
                    </a:cubicBezTo>
                    <a:cubicBezTo>
                      <a:pt x="2" y="13"/>
                      <a:pt x="2" y="15"/>
                      <a:pt x="3" y="15"/>
                    </a:cubicBezTo>
                    <a:cubicBezTo>
                      <a:pt x="3" y="15"/>
                      <a:pt x="3" y="15"/>
                      <a:pt x="3" y="15"/>
                    </a:cubicBezTo>
                    <a:cubicBezTo>
                      <a:pt x="4" y="16"/>
                      <a:pt x="4" y="16"/>
                      <a:pt x="4" y="16"/>
                    </a:cubicBezTo>
                    <a:cubicBezTo>
                      <a:pt x="5" y="16"/>
                      <a:pt x="5" y="15"/>
                      <a:pt x="6" y="15"/>
                    </a:cubicBezTo>
                    <a:cubicBezTo>
                      <a:pt x="7" y="14"/>
                      <a:pt x="7" y="13"/>
                      <a:pt x="8" y="13"/>
                    </a:cubicBezTo>
                    <a:cubicBezTo>
                      <a:pt x="8" y="13"/>
                      <a:pt x="8" y="13"/>
                      <a:pt x="8" y="13"/>
                    </a:cubicBezTo>
                    <a:cubicBezTo>
                      <a:pt x="14" y="14"/>
                      <a:pt x="12" y="31"/>
                      <a:pt x="12" y="34"/>
                    </a:cubicBezTo>
                    <a:cubicBezTo>
                      <a:pt x="14" y="35"/>
                      <a:pt x="16" y="36"/>
                      <a:pt x="18" y="37"/>
                    </a:cubicBezTo>
                    <a:cubicBezTo>
                      <a:pt x="18" y="34"/>
                      <a:pt x="17" y="32"/>
                      <a:pt x="18" y="29"/>
                    </a:cubicBezTo>
                    <a:cubicBezTo>
                      <a:pt x="19" y="30"/>
                      <a:pt x="20" y="32"/>
                      <a:pt x="21" y="34"/>
                    </a:cubicBezTo>
                    <a:cubicBezTo>
                      <a:pt x="22" y="32"/>
                      <a:pt x="24" y="31"/>
                      <a:pt x="24" y="29"/>
                    </a:cubicBezTo>
                    <a:cubicBezTo>
                      <a:pt x="24" y="28"/>
                      <a:pt x="22" y="23"/>
                      <a:pt x="21" y="22"/>
                    </a:cubicBezTo>
                    <a:cubicBezTo>
                      <a:pt x="16" y="17"/>
                      <a:pt x="17" y="10"/>
                      <a:pt x="17" y="3"/>
                    </a:cubicBezTo>
                    <a:cubicBezTo>
                      <a:pt x="15" y="4"/>
                      <a:pt x="12" y="5"/>
                      <a:pt x="9" y="5"/>
                    </a:cubicBezTo>
                    <a:cubicBezTo>
                      <a:pt x="8" y="5"/>
                      <a:pt x="7" y="5"/>
                      <a:pt x="7" y="5"/>
                    </a:cubicBezTo>
                    <a:cubicBezTo>
                      <a:pt x="4" y="4"/>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43"/>
              <p:cNvSpPr/>
              <p:nvPr/>
            </p:nvSpPr>
            <p:spPr bwMode="auto">
              <a:xfrm>
                <a:off x="5200" y="3242"/>
                <a:ext cx="267" cy="359"/>
              </a:xfrm>
              <a:custGeom>
                <a:gdLst>
                  <a:gd name="T0" fmla="*/ 28 w 113"/>
                  <a:gd name="T1" fmla="*/ 1 h 152"/>
                  <a:gd name="T2" fmla="*/ 27 w 113"/>
                  <a:gd name="T3" fmla="*/ 1 h 152"/>
                  <a:gd name="T4" fmla="*/ 25 w 113"/>
                  <a:gd name="T5" fmla="*/ 1 h 152"/>
                  <a:gd name="T6" fmla="*/ 22 w 113"/>
                  <a:gd name="T7" fmla="*/ 8 h 152"/>
                  <a:gd name="T8" fmla="*/ 20 w 113"/>
                  <a:gd name="T9" fmla="*/ 41 h 152"/>
                  <a:gd name="T10" fmla="*/ 19 w 113"/>
                  <a:gd name="T11" fmla="*/ 63 h 152"/>
                  <a:gd name="T12" fmla="*/ 15 w 113"/>
                  <a:gd name="T13" fmla="*/ 65 h 152"/>
                  <a:gd name="T14" fmla="*/ 7 w 113"/>
                  <a:gd name="T15" fmla="*/ 56 h 152"/>
                  <a:gd name="T16" fmla="*/ 7 w 113"/>
                  <a:gd name="T17" fmla="*/ 74 h 152"/>
                  <a:gd name="T18" fmla="*/ 13 w 113"/>
                  <a:gd name="T19" fmla="*/ 96 h 152"/>
                  <a:gd name="T20" fmla="*/ 19 w 113"/>
                  <a:gd name="T21" fmla="*/ 101 h 152"/>
                  <a:gd name="T22" fmla="*/ 20 w 113"/>
                  <a:gd name="T23" fmla="*/ 105 h 152"/>
                  <a:gd name="T24" fmla="*/ 23 w 113"/>
                  <a:gd name="T25" fmla="*/ 95 h 152"/>
                  <a:gd name="T26" fmla="*/ 34 w 113"/>
                  <a:gd name="T27" fmla="*/ 95 h 152"/>
                  <a:gd name="T28" fmla="*/ 34 w 113"/>
                  <a:gd name="T29" fmla="*/ 108 h 152"/>
                  <a:gd name="T30" fmla="*/ 24 w 113"/>
                  <a:gd name="T31" fmla="*/ 111 h 152"/>
                  <a:gd name="T32" fmla="*/ 28 w 113"/>
                  <a:gd name="T33" fmla="*/ 118 h 152"/>
                  <a:gd name="T34" fmla="*/ 31 w 113"/>
                  <a:gd name="T35" fmla="*/ 123 h 152"/>
                  <a:gd name="T36" fmla="*/ 40 w 113"/>
                  <a:gd name="T37" fmla="*/ 126 h 152"/>
                  <a:gd name="T38" fmla="*/ 46 w 113"/>
                  <a:gd name="T39" fmla="*/ 120 h 152"/>
                  <a:gd name="T40" fmla="*/ 57 w 113"/>
                  <a:gd name="T41" fmla="*/ 120 h 152"/>
                  <a:gd name="T42" fmla="*/ 66 w 113"/>
                  <a:gd name="T43" fmla="*/ 127 h 152"/>
                  <a:gd name="T44" fmla="*/ 66 w 113"/>
                  <a:gd name="T45" fmla="*/ 127 h 152"/>
                  <a:gd name="T46" fmla="*/ 71 w 113"/>
                  <a:gd name="T47" fmla="*/ 124 h 152"/>
                  <a:gd name="T48" fmla="*/ 71 w 113"/>
                  <a:gd name="T49" fmla="*/ 118 h 152"/>
                  <a:gd name="T50" fmla="*/ 88 w 113"/>
                  <a:gd name="T51" fmla="*/ 132 h 152"/>
                  <a:gd name="T52" fmla="*/ 97 w 113"/>
                  <a:gd name="T53" fmla="*/ 142 h 152"/>
                  <a:gd name="T54" fmla="*/ 105 w 113"/>
                  <a:gd name="T55" fmla="*/ 143 h 152"/>
                  <a:gd name="T56" fmla="*/ 106 w 113"/>
                  <a:gd name="T57" fmla="*/ 142 h 152"/>
                  <a:gd name="T58" fmla="*/ 108 w 113"/>
                  <a:gd name="T59" fmla="*/ 142 h 152"/>
                  <a:gd name="T60" fmla="*/ 106 w 113"/>
                  <a:gd name="T61" fmla="*/ 145 h 152"/>
                  <a:gd name="T62" fmla="*/ 105 w 113"/>
                  <a:gd name="T63" fmla="*/ 145 h 152"/>
                  <a:gd name="T64" fmla="*/ 104 w 113"/>
                  <a:gd name="T65" fmla="*/ 145 h 152"/>
                  <a:gd name="T66" fmla="*/ 112 w 113"/>
                  <a:gd name="T67" fmla="*/ 140 h 152"/>
                  <a:gd name="T68" fmla="*/ 106 w 113"/>
                  <a:gd name="T69" fmla="*/ 138 h 152"/>
                  <a:gd name="T70" fmla="*/ 105 w 113"/>
                  <a:gd name="T71" fmla="*/ 135 h 152"/>
                  <a:gd name="T72" fmla="*/ 97 w 113"/>
                  <a:gd name="T73" fmla="*/ 123 h 152"/>
                  <a:gd name="T74" fmla="*/ 101 w 113"/>
                  <a:gd name="T75" fmla="*/ 123 h 152"/>
                  <a:gd name="T76" fmla="*/ 104 w 113"/>
                  <a:gd name="T77" fmla="*/ 123 h 152"/>
                  <a:gd name="T78" fmla="*/ 107 w 113"/>
                  <a:gd name="T79" fmla="*/ 123 h 152"/>
                  <a:gd name="T80" fmla="*/ 92 w 113"/>
                  <a:gd name="T81" fmla="*/ 114 h 152"/>
                  <a:gd name="T82" fmla="*/ 91 w 113"/>
                  <a:gd name="T83" fmla="*/ 120 h 152"/>
                  <a:gd name="T84" fmla="*/ 84 w 113"/>
                  <a:gd name="T85" fmla="*/ 115 h 152"/>
                  <a:gd name="T86" fmla="*/ 73 w 113"/>
                  <a:gd name="T87" fmla="*/ 107 h 152"/>
                  <a:gd name="T88" fmla="*/ 65 w 113"/>
                  <a:gd name="T89" fmla="*/ 117 h 152"/>
                  <a:gd name="T90" fmla="*/ 64 w 113"/>
                  <a:gd name="T91" fmla="*/ 119 h 152"/>
                  <a:gd name="T92" fmla="*/ 52 w 113"/>
                  <a:gd name="T93" fmla="*/ 108 h 152"/>
                  <a:gd name="T94" fmla="*/ 48 w 113"/>
                  <a:gd name="T95" fmla="*/ 91 h 152"/>
                  <a:gd name="T96" fmla="*/ 50 w 113"/>
                  <a:gd name="T97" fmla="*/ 72 h 152"/>
                  <a:gd name="T98" fmla="*/ 49 w 113"/>
                  <a:gd name="T99" fmla="*/ 72 h 152"/>
                  <a:gd name="T100" fmla="*/ 48 w 113"/>
                  <a:gd name="T101" fmla="*/ 72 h 152"/>
                  <a:gd name="T102" fmla="*/ 60 w 113"/>
                  <a:gd name="T103" fmla="*/ 64 h 152"/>
                  <a:gd name="T104" fmla="*/ 71 w 113"/>
                  <a:gd name="T105" fmla="*/ 40 h 152"/>
                  <a:gd name="T106" fmla="*/ 64 w 113"/>
                  <a:gd name="T107" fmla="*/ 27 h 152"/>
                  <a:gd name="T108" fmla="*/ 65 w 113"/>
                  <a:gd name="T109" fmla="*/ 2 h 152"/>
                  <a:gd name="T110" fmla="*/ 57 w 113"/>
                  <a:gd name="T111" fmla="*/ 8 h 152"/>
                  <a:gd name="T112" fmla="*/ 54 w 113"/>
                  <a:gd name="T113" fmla="*/ 8 h 152"/>
                  <a:gd name="T114" fmla="*/ 34 w 113"/>
                  <a:gd name="T115" fmla="*/ 0 h 1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52">
                    <a:moveTo>
                      <a:pt x="34" y="0"/>
                    </a:moveTo>
                    <a:cubicBezTo>
                      <a:pt x="32" y="1"/>
                      <a:pt x="30" y="1"/>
                      <a:pt x="28" y="1"/>
                    </a:cubicBezTo>
                    <a:cubicBezTo>
                      <a:pt x="28" y="1"/>
                      <a:pt x="28" y="1"/>
                      <a:pt x="28" y="1"/>
                    </a:cubicBezTo>
                    <a:cubicBezTo>
                      <a:pt x="28" y="1"/>
                      <a:pt x="27" y="1"/>
                      <a:pt x="27" y="1"/>
                    </a:cubicBezTo>
                    <a:cubicBezTo>
                      <a:pt x="26" y="1"/>
                      <a:pt x="26" y="1"/>
                      <a:pt x="26" y="1"/>
                    </a:cubicBezTo>
                    <a:cubicBezTo>
                      <a:pt x="25" y="1"/>
                      <a:pt x="25" y="1"/>
                      <a:pt x="25" y="1"/>
                    </a:cubicBezTo>
                    <a:cubicBezTo>
                      <a:pt x="25" y="1"/>
                      <a:pt x="24" y="2"/>
                      <a:pt x="24" y="2"/>
                    </a:cubicBezTo>
                    <a:cubicBezTo>
                      <a:pt x="23" y="3"/>
                      <a:pt x="23" y="7"/>
                      <a:pt x="22" y="8"/>
                    </a:cubicBezTo>
                    <a:cubicBezTo>
                      <a:pt x="22" y="11"/>
                      <a:pt x="20" y="15"/>
                      <a:pt x="20" y="18"/>
                    </a:cubicBezTo>
                    <a:cubicBezTo>
                      <a:pt x="20" y="25"/>
                      <a:pt x="20" y="33"/>
                      <a:pt x="20" y="41"/>
                    </a:cubicBezTo>
                    <a:cubicBezTo>
                      <a:pt x="20" y="43"/>
                      <a:pt x="18" y="49"/>
                      <a:pt x="17" y="50"/>
                    </a:cubicBezTo>
                    <a:cubicBezTo>
                      <a:pt x="17" y="54"/>
                      <a:pt x="21" y="60"/>
                      <a:pt x="19" y="63"/>
                    </a:cubicBezTo>
                    <a:cubicBezTo>
                      <a:pt x="18" y="64"/>
                      <a:pt x="16" y="65"/>
                      <a:pt x="15" y="65"/>
                    </a:cubicBezTo>
                    <a:cubicBezTo>
                      <a:pt x="15" y="65"/>
                      <a:pt x="15" y="65"/>
                      <a:pt x="15" y="65"/>
                    </a:cubicBezTo>
                    <a:cubicBezTo>
                      <a:pt x="12" y="64"/>
                      <a:pt x="7" y="60"/>
                      <a:pt x="7" y="58"/>
                    </a:cubicBezTo>
                    <a:cubicBezTo>
                      <a:pt x="8" y="56"/>
                      <a:pt x="8" y="56"/>
                      <a:pt x="7" y="56"/>
                    </a:cubicBezTo>
                    <a:cubicBezTo>
                      <a:pt x="7" y="56"/>
                      <a:pt x="7" y="56"/>
                      <a:pt x="6" y="56"/>
                    </a:cubicBezTo>
                    <a:cubicBezTo>
                      <a:pt x="0" y="57"/>
                      <a:pt x="7" y="71"/>
                      <a:pt x="7" y="74"/>
                    </a:cubicBezTo>
                    <a:cubicBezTo>
                      <a:pt x="9" y="81"/>
                      <a:pt x="10" y="89"/>
                      <a:pt x="12" y="96"/>
                    </a:cubicBezTo>
                    <a:cubicBezTo>
                      <a:pt x="12" y="96"/>
                      <a:pt x="12" y="96"/>
                      <a:pt x="13" y="96"/>
                    </a:cubicBezTo>
                    <a:cubicBezTo>
                      <a:pt x="14" y="96"/>
                      <a:pt x="15" y="96"/>
                      <a:pt x="17" y="96"/>
                    </a:cubicBezTo>
                    <a:cubicBezTo>
                      <a:pt x="14" y="100"/>
                      <a:pt x="18" y="99"/>
                      <a:pt x="19" y="101"/>
                    </a:cubicBezTo>
                    <a:cubicBezTo>
                      <a:pt x="19" y="102"/>
                      <a:pt x="18" y="103"/>
                      <a:pt x="19" y="103"/>
                    </a:cubicBezTo>
                    <a:cubicBezTo>
                      <a:pt x="19" y="104"/>
                      <a:pt x="19" y="105"/>
                      <a:pt x="20" y="105"/>
                    </a:cubicBezTo>
                    <a:cubicBezTo>
                      <a:pt x="21" y="105"/>
                      <a:pt x="21" y="105"/>
                      <a:pt x="22" y="105"/>
                    </a:cubicBezTo>
                    <a:cubicBezTo>
                      <a:pt x="25" y="105"/>
                      <a:pt x="23" y="98"/>
                      <a:pt x="23" y="95"/>
                    </a:cubicBezTo>
                    <a:cubicBezTo>
                      <a:pt x="25" y="96"/>
                      <a:pt x="27" y="97"/>
                      <a:pt x="29" y="98"/>
                    </a:cubicBezTo>
                    <a:cubicBezTo>
                      <a:pt x="30" y="96"/>
                      <a:pt x="32" y="95"/>
                      <a:pt x="34" y="95"/>
                    </a:cubicBezTo>
                    <a:cubicBezTo>
                      <a:pt x="38" y="95"/>
                      <a:pt x="41" y="98"/>
                      <a:pt x="41" y="101"/>
                    </a:cubicBezTo>
                    <a:cubicBezTo>
                      <a:pt x="41" y="105"/>
                      <a:pt x="38" y="108"/>
                      <a:pt x="34" y="108"/>
                    </a:cubicBezTo>
                    <a:cubicBezTo>
                      <a:pt x="32" y="108"/>
                      <a:pt x="31" y="107"/>
                      <a:pt x="30" y="106"/>
                    </a:cubicBezTo>
                    <a:cubicBezTo>
                      <a:pt x="27" y="108"/>
                      <a:pt x="24" y="110"/>
                      <a:pt x="24" y="111"/>
                    </a:cubicBezTo>
                    <a:cubicBezTo>
                      <a:pt x="25" y="115"/>
                      <a:pt x="25" y="118"/>
                      <a:pt x="26" y="122"/>
                    </a:cubicBezTo>
                    <a:cubicBezTo>
                      <a:pt x="27" y="120"/>
                      <a:pt x="27" y="118"/>
                      <a:pt x="28" y="118"/>
                    </a:cubicBezTo>
                    <a:cubicBezTo>
                      <a:pt x="28" y="118"/>
                      <a:pt x="29" y="119"/>
                      <a:pt x="32" y="121"/>
                    </a:cubicBezTo>
                    <a:cubicBezTo>
                      <a:pt x="33" y="122"/>
                      <a:pt x="31" y="123"/>
                      <a:pt x="31" y="123"/>
                    </a:cubicBezTo>
                    <a:cubicBezTo>
                      <a:pt x="32" y="124"/>
                      <a:pt x="35" y="126"/>
                      <a:pt x="37" y="126"/>
                    </a:cubicBezTo>
                    <a:cubicBezTo>
                      <a:pt x="38" y="126"/>
                      <a:pt x="39" y="126"/>
                      <a:pt x="40" y="126"/>
                    </a:cubicBezTo>
                    <a:cubicBezTo>
                      <a:pt x="40" y="126"/>
                      <a:pt x="41" y="126"/>
                      <a:pt x="41" y="126"/>
                    </a:cubicBezTo>
                    <a:cubicBezTo>
                      <a:pt x="43" y="125"/>
                      <a:pt x="44" y="121"/>
                      <a:pt x="46" y="120"/>
                    </a:cubicBezTo>
                    <a:cubicBezTo>
                      <a:pt x="49" y="119"/>
                      <a:pt x="50" y="118"/>
                      <a:pt x="52" y="118"/>
                    </a:cubicBezTo>
                    <a:cubicBezTo>
                      <a:pt x="53" y="118"/>
                      <a:pt x="54" y="119"/>
                      <a:pt x="57" y="120"/>
                    </a:cubicBezTo>
                    <a:cubicBezTo>
                      <a:pt x="58" y="121"/>
                      <a:pt x="60" y="121"/>
                      <a:pt x="61" y="122"/>
                    </a:cubicBezTo>
                    <a:cubicBezTo>
                      <a:pt x="63" y="124"/>
                      <a:pt x="63" y="127"/>
                      <a:pt x="66" y="127"/>
                    </a:cubicBezTo>
                    <a:cubicBezTo>
                      <a:pt x="66" y="127"/>
                      <a:pt x="66" y="127"/>
                      <a:pt x="66" y="127"/>
                    </a:cubicBezTo>
                    <a:cubicBezTo>
                      <a:pt x="66" y="127"/>
                      <a:pt x="66" y="127"/>
                      <a:pt x="66" y="127"/>
                    </a:cubicBezTo>
                    <a:cubicBezTo>
                      <a:pt x="71" y="127"/>
                      <a:pt x="71" y="135"/>
                      <a:pt x="73" y="137"/>
                    </a:cubicBezTo>
                    <a:cubicBezTo>
                      <a:pt x="73" y="133"/>
                      <a:pt x="72" y="128"/>
                      <a:pt x="71" y="124"/>
                    </a:cubicBezTo>
                    <a:cubicBezTo>
                      <a:pt x="71" y="122"/>
                      <a:pt x="71" y="119"/>
                      <a:pt x="69" y="118"/>
                    </a:cubicBezTo>
                    <a:cubicBezTo>
                      <a:pt x="70" y="118"/>
                      <a:pt x="71" y="118"/>
                      <a:pt x="71" y="118"/>
                    </a:cubicBezTo>
                    <a:cubicBezTo>
                      <a:pt x="73" y="118"/>
                      <a:pt x="74" y="119"/>
                      <a:pt x="76" y="121"/>
                    </a:cubicBezTo>
                    <a:cubicBezTo>
                      <a:pt x="80" y="125"/>
                      <a:pt x="84" y="129"/>
                      <a:pt x="88" y="132"/>
                    </a:cubicBezTo>
                    <a:cubicBezTo>
                      <a:pt x="91" y="135"/>
                      <a:pt x="91" y="135"/>
                      <a:pt x="91" y="139"/>
                    </a:cubicBezTo>
                    <a:cubicBezTo>
                      <a:pt x="90" y="141"/>
                      <a:pt x="95" y="142"/>
                      <a:pt x="97" y="142"/>
                    </a:cubicBezTo>
                    <a:cubicBezTo>
                      <a:pt x="99" y="143"/>
                      <a:pt x="101" y="143"/>
                      <a:pt x="103" y="143"/>
                    </a:cubicBezTo>
                    <a:cubicBezTo>
                      <a:pt x="103" y="143"/>
                      <a:pt x="104" y="143"/>
                      <a:pt x="105" y="143"/>
                    </a:cubicBezTo>
                    <a:cubicBezTo>
                      <a:pt x="105" y="143"/>
                      <a:pt x="105" y="142"/>
                      <a:pt x="106" y="142"/>
                    </a:cubicBezTo>
                    <a:cubicBezTo>
                      <a:pt x="106" y="142"/>
                      <a:pt x="106" y="142"/>
                      <a:pt x="106" y="142"/>
                    </a:cubicBezTo>
                    <a:cubicBezTo>
                      <a:pt x="106" y="142"/>
                      <a:pt x="107" y="142"/>
                      <a:pt x="107" y="142"/>
                    </a:cubicBezTo>
                    <a:cubicBezTo>
                      <a:pt x="107" y="142"/>
                      <a:pt x="108" y="142"/>
                      <a:pt x="108" y="142"/>
                    </a:cubicBezTo>
                    <a:cubicBezTo>
                      <a:pt x="108" y="142"/>
                      <a:pt x="108" y="142"/>
                      <a:pt x="108" y="142"/>
                    </a:cubicBezTo>
                    <a:cubicBezTo>
                      <a:pt x="108" y="143"/>
                      <a:pt x="107" y="144"/>
                      <a:pt x="106" y="145"/>
                    </a:cubicBezTo>
                    <a:cubicBezTo>
                      <a:pt x="106" y="145"/>
                      <a:pt x="106" y="145"/>
                      <a:pt x="106" y="145"/>
                    </a:cubicBezTo>
                    <a:cubicBezTo>
                      <a:pt x="106" y="145"/>
                      <a:pt x="105" y="145"/>
                      <a:pt x="105" y="145"/>
                    </a:cubicBezTo>
                    <a:cubicBezTo>
                      <a:pt x="105" y="145"/>
                      <a:pt x="105" y="145"/>
                      <a:pt x="105" y="145"/>
                    </a:cubicBezTo>
                    <a:cubicBezTo>
                      <a:pt x="105" y="145"/>
                      <a:pt x="104" y="145"/>
                      <a:pt x="104" y="145"/>
                    </a:cubicBezTo>
                    <a:cubicBezTo>
                      <a:pt x="103" y="148"/>
                      <a:pt x="109" y="151"/>
                      <a:pt x="110" y="152"/>
                    </a:cubicBezTo>
                    <a:cubicBezTo>
                      <a:pt x="111" y="151"/>
                      <a:pt x="113" y="140"/>
                      <a:pt x="112" y="140"/>
                    </a:cubicBezTo>
                    <a:cubicBezTo>
                      <a:pt x="111" y="139"/>
                      <a:pt x="109" y="138"/>
                      <a:pt x="107" y="138"/>
                    </a:cubicBezTo>
                    <a:cubicBezTo>
                      <a:pt x="107" y="138"/>
                      <a:pt x="106" y="138"/>
                      <a:pt x="106" y="138"/>
                    </a:cubicBezTo>
                    <a:cubicBezTo>
                      <a:pt x="103" y="140"/>
                      <a:pt x="103" y="140"/>
                      <a:pt x="103" y="140"/>
                    </a:cubicBezTo>
                    <a:cubicBezTo>
                      <a:pt x="101" y="139"/>
                      <a:pt x="103" y="135"/>
                      <a:pt x="105" y="135"/>
                    </a:cubicBezTo>
                    <a:cubicBezTo>
                      <a:pt x="105" y="135"/>
                      <a:pt x="105" y="135"/>
                      <a:pt x="105" y="135"/>
                    </a:cubicBezTo>
                    <a:cubicBezTo>
                      <a:pt x="103" y="134"/>
                      <a:pt x="95" y="126"/>
                      <a:pt x="97" y="123"/>
                    </a:cubicBezTo>
                    <a:cubicBezTo>
                      <a:pt x="98" y="123"/>
                      <a:pt x="98" y="123"/>
                      <a:pt x="99" y="123"/>
                    </a:cubicBezTo>
                    <a:cubicBezTo>
                      <a:pt x="99" y="123"/>
                      <a:pt x="100" y="123"/>
                      <a:pt x="101" y="123"/>
                    </a:cubicBezTo>
                    <a:cubicBezTo>
                      <a:pt x="101" y="123"/>
                      <a:pt x="102" y="123"/>
                      <a:pt x="102" y="123"/>
                    </a:cubicBezTo>
                    <a:cubicBezTo>
                      <a:pt x="103" y="123"/>
                      <a:pt x="103" y="123"/>
                      <a:pt x="104" y="123"/>
                    </a:cubicBezTo>
                    <a:cubicBezTo>
                      <a:pt x="105" y="123"/>
                      <a:pt x="105" y="123"/>
                      <a:pt x="106" y="123"/>
                    </a:cubicBezTo>
                    <a:cubicBezTo>
                      <a:pt x="107" y="123"/>
                      <a:pt x="107" y="123"/>
                      <a:pt x="107" y="123"/>
                    </a:cubicBezTo>
                    <a:cubicBezTo>
                      <a:pt x="107" y="117"/>
                      <a:pt x="95" y="117"/>
                      <a:pt x="92" y="115"/>
                    </a:cubicBezTo>
                    <a:cubicBezTo>
                      <a:pt x="92" y="115"/>
                      <a:pt x="92" y="114"/>
                      <a:pt x="92" y="114"/>
                    </a:cubicBezTo>
                    <a:cubicBezTo>
                      <a:pt x="91" y="115"/>
                      <a:pt x="91" y="117"/>
                      <a:pt x="91" y="118"/>
                    </a:cubicBezTo>
                    <a:cubicBezTo>
                      <a:pt x="91" y="120"/>
                      <a:pt x="91" y="120"/>
                      <a:pt x="91" y="120"/>
                    </a:cubicBezTo>
                    <a:cubicBezTo>
                      <a:pt x="90" y="122"/>
                      <a:pt x="88" y="122"/>
                      <a:pt x="86" y="124"/>
                    </a:cubicBezTo>
                    <a:cubicBezTo>
                      <a:pt x="84" y="121"/>
                      <a:pt x="86" y="118"/>
                      <a:pt x="84" y="115"/>
                    </a:cubicBezTo>
                    <a:cubicBezTo>
                      <a:pt x="84" y="114"/>
                      <a:pt x="82" y="111"/>
                      <a:pt x="81" y="110"/>
                    </a:cubicBezTo>
                    <a:cubicBezTo>
                      <a:pt x="79" y="109"/>
                      <a:pt x="76" y="107"/>
                      <a:pt x="73" y="107"/>
                    </a:cubicBezTo>
                    <a:cubicBezTo>
                      <a:pt x="72" y="107"/>
                      <a:pt x="71" y="107"/>
                      <a:pt x="71" y="108"/>
                    </a:cubicBezTo>
                    <a:cubicBezTo>
                      <a:pt x="68" y="109"/>
                      <a:pt x="67" y="117"/>
                      <a:pt x="65" y="117"/>
                    </a:cubicBezTo>
                    <a:cubicBezTo>
                      <a:pt x="64" y="117"/>
                      <a:pt x="64" y="117"/>
                      <a:pt x="63" y="116"/>
                    </a:cubicBezTo>
                    <a:cubicBezTo>
                      <a:pt x="64" y="117"/>
                      <a:pt x="64" y="118"/>
                      <a:pt x="64" y="119"/>
                    </a:cubicBezTo>
                    <a:cubicBezTo>
                      <a:pt x="62" y="118"/>
                      <a:pt x="59" y="117"/>
                      <a:pt x="57" y="116"/>
                    </a:cubicBezTo>
                    <a:cubicBezTo>
                      <a:pt x="53" y="114"/>
                      <a:pt x="53" y="112"/>
                      <a:pt x="52" y="108"/>
                    </a:cubicBezTo>
                    <a:cubicBezTo>
                      <a:pt x="52" y="105"/>
                      <a:pt x="52" y="101"/>
                      <a:pt x="52" y="99"/>
                    </a:cubicBezTo>
                    <a:cubicBezTo>
                      <a:pt x="51" y="96"/>
                      <a:pt x="49" y="93"/>
                      <a:pt x="48" y="91"/>
                    </a:cubicBezTo>
                    <a:cubicBezTo>
                      <a:pt x="45" y="86"/>
                      <a:pt x="42" y="84"/>
                      <a:pt x="46" y="79"/>
                    </a:cubicBezTo>
                    <a:cubicBezTo>
                      <a:pt x="47" y="77"/>
                      <a:pt x="50" y="74"/>
                      <a:pt x="50" y="72"/>
                    </a:cubicBezTo>
                    <a:cubicBezTo>
                      <a:pt x="50" y="72"/>
                      <a:pt x="49" y="72"/>
                      <a:pt x="49" y="72"/>
                    </a:cubicBezTo>
                    <a:cubicBezTo>
                      <a:pt x="49" y="72"/>
                      <a:pt x="49" y="72"/>
                      <a:pt x="49" y="72"/>
                    </a:cubicBezTo>
                    <a:cubicBezTo>
                      <a:pt x="49" y="72"/>
                      <a:pt x="49" y="72"/>
                      <a:pt x="49" y="72"/>
                    </a:cubicBezTo>
                    <a:cubicBezTo>
                      <a:pt x="48" y="72"/>
                      <a:pt x="48" y="72"/>
                      <a:pt x="48" y="72"/>
                    </a:cubicBezTo>
                    <a:cubicBezTo>
                      <a:pt x="47" y="64"/>
                      <a:pt x="59" y="65"/>
                      <a:pt x="61" y="59"/>
                    </a:cubicBezTo>
                    <a:cubicBezTo>
                      <a:pt x="61" y="61"/>
                      <a:pt x="60" y="62"/>
                      <a:pt x="60" y="64"/>
                    </a:cubicBezTo>
                    <a:cubicBezTo>
                      <a:pt x="63" y="58"/>
                      <a:pt x="66" y="52"/>
                      <a:pt x="69" y="47"/>
                    </a:cubicBezTo>
                    <a:cubicBezTo>
                      <a:pt x="70" y="45"/>
                      <a:pt x="71" y="42"/>
                      <a:pt x="71" y="40"/>
                    </a:cubicBezTo>
                    <a:cubicBezTo>
                      <a:pt x="71" y="39"/>
                      <a:pt x="72" y="39"/>
                      <a:pt x="71" y="38"/>
                    </a:cubicBezTo>
                    <a:cubicBezTo>
                      <a:pt x="69" y="34"/>
                      <a:pt x="66" y="30"/>
                      <a:pt x="64" y="27"/>
                    </a:cubicBezTo>
                    <a:cubicBezTo>
                      <a:pt x="62" y="25"/>
                      <a:pt x="66" y="15"/>
                      <a:pt x="66" y="13"/>
                    </a:cubicBezTo>
                    <a:cubicBezTo>
                      <a:pt x="67" y="9"/>
                      <a:pt x="67" y="6"/>
                      <a:pt x="65" y="2"/>
                    </a:cubicBezTo>
                    <a:cubicBezTo>
                      <a:pt x="63" y="4"/>
                      <a:pt x="61" y="7"/>
                      <a:pt x="59" y="8"/>
                    </a:cubicBezTo>
                    <a:cubicBezTo>
                      <a:pt x="59" y="8"/>
                      <a:pt x="58" y="8"/>
                      <a:pt x="57" y="8"/>
                    </a:cubicBezTo>
                    <a:cubicBezTo>
                      <a:pt x="56" y="8"/>
                      <a:pt x="56" y="8"/>
                      <a:pt x="55" y="8"/>
                    </a:cubicBezTo>
                    <a:cubicBezTo>
                      <a:pt x="55" y="8"/>
                      <a:pt x="54" y="8"/>
                      <a:pt x="54" y="8"/>
                    </a:cubicBezTo>
                    <a:cubicBezTo>
                      <a:pt x="52" y="8"/>
                      <a:pt x="51" y="8"/>
                      <a:pt x="51" y="10"/>
                    </a:cubicBezTo>
                    <a:cubicBezTo>
                      <a:pt x="51" y="3"/>
                      <a:pt x="38" y="2"/>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Freeform 44"/>
              <p:cNvSpPr/>
              <p:nvPr/>
            </p:nvSpPr>
            <p:spPr bwMode="auto">
              <a:xfrm>
                <a:off x="5058" y="3670"/>
                <a:ext cx="146" cy="182"/>
              </a:xfrm>
              <a:custGeom>
                <a:gdLst>
                  <a:gd name="T0" fmla="*/ 56 w 62"/>
                  <a:gd name="T1" fmla="*/ 0 h 77"/>
                  <a:gd name="T2" fmla="*/ 53 w 62"/>
                  <a:gd name="T3" fmla="*/ 12 h 77"/>
                  <a:gd name="T4" fmla="*/ 56 w 62"/>
                  <a:gd name="T5" fmla="*/ 17 h 77"/>
                  <a:gd name="T6" fmla="*/ 55 w 62"/>
                  <a:gd name="T7" fmla="*/ 17 h 77"/>
                  <a:gd name="T8" fmla="*/ 52 w 62"/>
                  <a:gd name="T9" fmla="*/ 13 h 77"/>
                  <a:gd name="T10" fmla="*/ 50 w 62"/>
                  <a:gd name="T11" fmla="*/ 12 h 77"/>
                  <a:gd name="T12" fmla="*/ 50 w 62"/>
                  <a:gd name="T13" fmla="*/ 14 h 77"/>
                  <a:gd name="T14" fmla="*/ 51 w 62"/>
                  <a:gd name="T15" fmla="*/ 21 h 77"/>
                  <a:gd name="T16" fmla="*/ 48 w 62"/>
                  <a:gd name="T17" fmla="*/ 25 h 77"/>
                  <a:gd name="T18" fmla="*/ 48 w 62"/>
                  <a:gd name="T19" fmla="*/ 24 h 77"/>
                  <a:gd name="T20" fmla="*/ 41 w 62"/>
                  <a:gd name="T21" fmla="*/ 33 h 77"/>
                  <a:gd name="T22" fmla="*/ 39 w 62"/>
                  <a:gd name="T23" fmla="*/ 34 h 77"/>
                  <a:gd name="T24" fmla="*/ 39 w 62"/>
                  <a:gd name="T25" fmla="*/ 33 h 77"/>
                  <a:gd name="T26" fmla="*/ 27 w 62"/>
                  <a:gd name="T27" fmla="*/ 46 h 77"/>
                  <a:gd name="T28" fmla="*/ 20 w 62"/>
                  <a:gd name="T29" fmla="*/ 53 h 77"/>
                  <a:gd name="T30" fmla="*/ 20 w 62"/>
                  <a:gd name="T31" fmla="*/ 53 h 77"/>
                  <a:gd name="T32" fmla="*/ 11 w 62"/>
                  <a:gd name="T33" fmla="*/ 61 h 77"/>
                  <a:gd name="T34" fmla="*/ 3 w 62"/>
                  <a:gd name="T35" fmla="*/ 69 h 77"/>
                  <a:gd name="T36" fmla="*/ 0 w 62"/>
                  <a:gd name="T37" fmla="*/ 77 h 77"/>
                  <a:gd name="T38" fmla="*/ 17 w 62"/>
                  <a:gd name="T39" fmla="*/ 64 h 77"/>
                  <a:gd name="T40" fmla="*/ 32 w 62"/>
                  <a:gd name="T41" fmla="*/ 52 h 77"/>
                  <a:gd name="T42" fmla="*/ 36 w 62"/>
                  <a:gd name="T43" fmla="*/ 47 h 77"/>
                  <a:gd name="T44" fmla="*/ 38 w 62"/>
                  <a:gd name="T45" fmla="*/ 43 h 77"/>
                  <a:gd name="T46" fmla="*/ 42 w 62"/>
                  <a:gd name="T47" fmla="*/ 36 h 77"/>
                  <a:gd name="T48" fmla="*/ 47 w 62"/>
                  <a:gd name="T49" fmla="*/ 35 h 77"/>
                  <a:gd name="T50" fmla="*/ 54 w 62"/>
                  <a:gd name="T51" fmla="*/ 26 h 77"/>
                  <a:gd name="T52" fmla="*/ 62 w 62"/>
                  <a:gd name="T53" fmla="*/ 22 h 77"/>
                  <a:gd name="T54" fmla="*/ 61 w 62"/>
                  <a:gd name="T55" fmla="*/ 21 h 77"/>
                  <a:gd name="T56" fmla="*/ 60 w 62"/>
                  <a:gd name="T57" fmla="*/ 18 h 77"/>
                  <a:gd name="T58" fmla="*/ 59 w 62"/>
                  <a:gd name="T59" fmla="*/ 19 h 77"/>
                  <a:gd name="T60" fmla="*/ 59 w 62"/>
                  <a:gd name="T61" fmla="*/ 16 h 77"/>
                  <a:gd name="T62" fmla="*/ 58 w 62"/>
                  <a:gd name="T63" fmla="*/ 15 h 77"/>
                  <a:gd name="T64" fmla="*/ 58 w 62"/>
                  <a:gd name="T65" fmla="*/ 15 h 77"/>
                  <a:gd name="T66" fmla="*/ 58 w 62"/>
                  <a:gd name="T67" fmla="*/ 15 h 77"/>
                  <a:gd name="T68" fmla="*/ 58 w 62"/>
                  <a:gd name="T69" fmla="*/ 15 h 77"/>
                  <a:gd name="T70" fmla="*/ 57 w 62"/>
                  <a:gd name="T71" fmla="*/ 13 h 77"/>
                  <a:gd name="T72" fmla="*/ 58 w 62"/>
                  <a:gd name="T73" fmla="*/ 8 h 77"/>
                  <a:gd name="T74" fmla="*/ 58 w 62"/>
                  <a:gd name="T75" fmla="*/ 8 h 77"/>
                  <a:gd name="T76" fmla="*/ 58 w 62"/>
                  <a:gd name="T77" fmla="*/ 5 h 77"/>
                  <a:gd name="T78" fmla="*/ 56 w 62"/>
                  <a:gd name="T79" fmla="*/ 0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 h="77">
                    <a:moveTo>
                      <a:pt x="56" y="0"/>
                    </a:moveTo>
                    <a:cubicBezTo>
                      <a:pt x="55" y="3"/>
                      <a:pt x="52" y="8"/>
                      <a:pt x="53" y="12"/>
                    </a:cubicBezTo>
                    <a:cubicBezTo>
                      <a:pt x="53" y="13"/>
                      <a:pt x="55" y="15"/>
                      <a:pt x="56" y="17"/>
                    </a:cubicBezTo>
                    <a:cubicBezTo>
                      <a:pt x="55" y="17"/>
                      <a:pt x="55" y="17"/>
                      <a:pt x="55" y="17"/>
                    </a:cubicBezTo>
                    <a:cubicBezTo>
                      <a:pt x="55" y="16"/>
                      <a:pt x="53" y="14"/>
                      <a:pt x="52" y="13"/>
                    </a:cubicBezTo>
                    <a:cubicBezTo>
                      <a:pt x="51" y="12"/>
                      <a:pt x="51" y="12"/>
                      <a:pt x="50" y="12"/>
                    </a:cubicBezTo>
                    <a:cubicBezTo>
                      <a:pt x="50" y="12"/>
                      <a:pt x="50" y="12"/>
                      <a:pt x="50" y="14"/>
                    </a:cubicBezTo>
                    <a:cubicBezTo>
                      <a:pt x="50" y="15"/>
                      <a:pt x="51" y="19"/>
                      <a:pt x="51" y="21"/>
                    </a:cubicBezTo>
                    <a:cubicBezTo>
                      <a:pt x="51" y="23"/>
                      <a:pt x="49" y="25"/>
                      <a:pt x="48" y="25"/>
                    </a:cubicBezTo>
                    <a:cubicBezTo>
                      <a:pt x="48" y="25"/>
                      <a:pt x="48" y="25"/>
                      <a:pt x="48" y="24"/>
                    </a:cubicBezTo>
                    <a:cubicBezTo>
                      <a:pt x="46" y="27"/>
                      <a:pt x="43" y="32"/>
                      <a:pt x="41" y="33"/>
                    </a:cubicBezTo>
                    <a:cubicBezTo>
                      <a:pt x="40" y="34"/>
                      <a:pt x="39" y="34"/>
                      <a:pt x="39" y="34"/>
                    </a:cubicBezTo>
                    <a:cubicBezTo>
                      <a:pt x="39" y="34"/>
                      <a:pt x="39" y="34"/>
                      <a:pt x="39" y="33"/>
                    </a:cubicBezTo>
                    <a:cubicBezTo>
                      <a:pt x="35" y="38"/>
                      <a:pt x="31" y="42"/>
                      <a:pt x="27" y="46"/>
                    </a:cubicBezTo>
                    <a:cubicBezTo>
                      <a:pt x="26" y="47"/>
                      <a:pt x="22" y="53"/>
                      <a:pt x="20" y="53"/>
                    </a:cubicBezTo>
                    <a:cubicBezTo>
                      <a:pt x="20" y="53"/>
                      <a:pt x="20" y="53"/>
                      <a:pt x="20" y="53"/>
                    </a:cubicBezTo>
                    <a:cubicBezTo>
                      <a:pt x="16" y="54"/>
                      <a:pt x="13" y="59"/>
                      <a:pt x="11" y="61"/>
                    </a:cubicBezTo>
                    <a:cubicBezTo>
                      <a:pt x="8" y="64"/>
                      <a:pt x="5" y="66"/>
                      <a:pt x="3" y="69"/>
                    </a:cubicBezTo>
                    <a:cubicBezTo>
                      <a:pt x="1" y="71"/>
                      <a:pt x="1" y="74"/>
                      <a:pt x="0" y="77"/>
                    </a:cubicBezTo>
                    <a:cubicBezTo>
                      <a:pt x="6" y="72"/>
                      <a:pt x="12" y="68"/>
                      <a:pt x="17" y="64"/>
                    </a:cubicBezTo>
                    <a:cubicBezTo>
                      <a:pt x="22" y="60"/>
                      <a:pt x="29" y="57"/>
                      <a:pt x="32" y="52"/>
                    </a:cubicBezTo>
                    <a:cubicBezTo>
                      <a:pt x="34" y="50"/>
                      <a:pt x="35" y="49"/>
                      <a:pt x="36" y="47"/>
                    </a:cubicBezTo>
                    <a:cubicBezTo>
                      <a:pt x="37" y="46"/>
                      <a:pt x="40" y="43"/>
                      <a:pt x="38" y="43"/>
                    </a:cubicBezTo>
                    <a:cubicBezTo>
                      <a:pt x="41" y="40"/>
                      <a:pt x="37" y="37"/>
                      <a:pt x="42" y="36"/>
                    </a:cubicBezTo>
                    <a:cubicBezTo>
                      <a:pt x="44" y="35"/>
                      <a:pt x="45" y="35"/>
                      <a:pt x="47" y="35"/>
                    </a:cubicBezTo>
                    <a:cubicBezTo>
                      <a:pt x="51" y="33"/>
                      <a:pt x="51" y="28"/>
                      <a:pt x="54" y="26"/>
                    </a:cubicBezTo>
                    <a:cubicBezTo>
                      <a:pt x="56" y="25"/>
                      <a:pt x="62" y="24"/>
                      <a:pt x="62" y="22"/>
                    </a:cubicBezTo>
                    <a:cubicBezTo>
                      <a:pt x="62" y="22"/>
                      <a:pt x="61" y="21"/>
                      <a:pt x="61" y="21"/>
                    </a:cubicBezTo>
                    <a:cubicBezTo>
                      <a:pt x="61" y="20"/>
                      <a:pt x="61" y="18"/>
                      <a:pt x="60" y="18"/>
                    </a:cubicBezTo>
                    <a:cubicBezTo>
                      <a:pt x="60" y="18"/>
                      <a:pt x="60" y="18"/>
                      <a:pt x="59" y="19"/>
                    </a:cubicBezTo>
                    <a:cubicBezTo>
                      <a:pt x="60" y="17"/>
                      <a:pt x="60" y="17"/>
                      <a:pt x="59" y="16"/>
                    </a:cubicBezTo>
                    <a:cubicBezTo>
                      <a:pt x="59" y="15"/>
                      <a:pt x="59" y="15"/>
                      <a:pt x="58" y="15"/>
                    </a:cubicBezTo>
                    <a:cubicBezTo>
                      <a:pt x="58" y="15"/>
                      <a:pt x="58" y="15"/>
                      <a:pt x="58" y="15"/>
                    </a:cubicBezTo>
                    <a:cubicBezTo>
                      <a:pt x="58" y="15"/>
                      <a:pt x="58" y="15"/>
                      <a:pt x="58" y="15"/>
                    </a:cubicBezTo>
                    <a:cubicBezTo>
                      <a:pt x="58" y="15"/>
                      <a:pt x="58" y="15"/>
                      <a:pt x="58" y="15"/>
                    </a:cubicBezTo>
                    <a:cubicBezTo>
                      <a:pt x="58" y="14"/>
                      <a:pt x="57" y="14"/>
                      <a:pt x="57" y="13"/>
                    </a:cubicBezTo>
                    <a:cubicBezTo>
                      <a:pt x="57" y="11"/>
                      <a:pt x="59" y="11"/>
                      <a:pt x="58" y="8"/>
                    </a:cubicBezTo>
                    <a:cubicBezTo>
                      <a:pt x="58" y="8"/>
                      <a:pt x="58" y="8"/>
                      <a:pt x="58" y="8"/>
                    </a:cubicBezTo>
                    <a:cubicBezTo>
                      <a:pt x="57" y="8"/>
                      <a:pt x="58" y="6"/>
                      <a:pt x="58" y="5"/>
                    </a:cubicBezTo>
                    <a:cubicBezTo>
                      <a:pt x="59" y="1"/>
                      <a:pt x="57" y="3"/>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7" name="Freeform 45"/>
              <p:cNvSpPr/>
              <p:nvPr/>
            </p:nvSpPr>
            <p:spPr bwMode="auto">
              <a:xfrm>
                <a:off x="5412" y="3677"/>
                <a:ext cx="48" cy="111"/>
              </a:xfrm>
              <a:custGeom>
                <a:gdLst>
                  <a:gd name="T0" fmla="*/ 19 w 20"/>
                  <a:gd name="T1" fmla="*/ 0 h 47"/>
                  <a:gd name="T2" fmla="*/ 16 w 20"/>
                  <a:gd name="T3" fmla="*/ 7 h 47"/>
                  <a:gd name="T4" fmla="*/ 13 w 20"/>
                  <a:gd name="T5" fmla="*/ 15 h 47"/>
                  <a:gd name="T6" fmla="*/ 6 w 20"/>
                  <a:gd name="T7" fmla="*/ 28 h 47"/>
                  <a:gd name="T8" fmla="*/ 3 w 20"/>
                  <a:gd name="T9" fmla="*/ 35 h 47"/>
                  <a:gd name="T10" fmla="*/ 2 w 20"/>
                  <a:gd name="T11" fmla="*/ 47 h 47"/>
                  <a:gd name="T12" fmla="*/ 11 w 20"/>
                  <a:gd name="T13" fmla="*/ 28 h 47"/>
                  <a:gd name="T14" fmla="*/ 19 w 20"/>
                  <a:gd name="T15" fmla="*/ 20 h 47"/>
                  <a:gd name="T16" fmla="*/ 18 w 20"/>
                  <a:gd name="T17" fmla="*/ 15 h 47"/>
                  <a:gd name="T18" fmla="*/ 19 w 20"/>
                  <a:gd name="T19"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47">
                    <a:moveTo>
                      <a:pt x="19" y="0"/>
                    </a:moveTo>
                    <a:cubicBezTo>
                      <a:pt x="17" y="0"/>
                      <a:pt x="16" y="5"/>
                      <a:pt x="16" y="7"/>
                    </a:cubicBezTo>
                    <a:cubicBezTo>
                      <a:pt x="15" y="9"/>
                      <a:pt x="14" y="12"/>
                      <a:pt x="13" y="15"/>
                    </a:cubicBezTo>
                    <a:cubicBezTo>
                      <a:pt x="10" y="19"/>
                      <a:pt x="9" y="24"/>
                      <a:pt x="6" y="28"/>
                    </a:cubicBezTo>
                    <a:cubicBezTo>
                      <a:pt x="4" y="31"/>
                      <a:pt x="3" y="32"/>
                      <a:pt x="3" y="35"/>
                    </a:cubicBezTo>
                    <a:cubicBezTo>
                      <a:pt x="2" y="39"/>
                      <a:pt x="0" y="43"/>
                      <a:pt x="2" y="47"/>
                    </a:cubicBezTo>
                    <a:cubicBezTo>
                      <a:pt x="4" y="41"/>
                      <a:pt x="6" y="33"/>
                      <a:pt x="11" y="28"/>
                    </a:cubicBezTo>
                    <a:cubicBezTo>
                      <a:pt x="14" y="25"/>
                      <a:pt x="18" y="24"/>
                      <a:pt x="19" y="20"/>
                    </a:cubicBezTo>
                    <a:cubicBezTo>
                      <a:pt x="19" y="18"/>
                      <a:pt x="18" y="17"/>
                      <a:pt x="18" y="15"/>
                    </a:cubicBezTo>
                    <a:cubicBezTo>
                      <a:pt x="19" y="10"/>
                      <a:pt x="20" y="5"/>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8" name="Freeform 46"/>
              <p:cNvSpPr/>
              <p:nvPr/>
            </p:nvSpPr>
            <p:spPr bwMode="auto">
              <a:xfrm>
                <a:off x="5403" y="3599"/>
                <a:ext cx="57" cy="52"/>
              </a:xfrm>
              <a:custGeom>
                <a:gdLst>
                  <a:gd name="T0" fmla="*/ 3 w 24"/>
                  <a:gd name="T1" fmla="*/ 0 h 22"/>
                  <a:gd name="T2" fmla="*/ 4 w 24"/>
                  <a:gd name="T3" fmla="*/ 6 h 22"/>
                  <a:gd name="T4" fmla="*/ 3 w 24"/>
                  <a:gd name="T5" fmla="*/ 9 h 22"/>
                  <a:gd name="T6" fmla="*/ 3 w 24"/>
                  <a:gd name="T7" fmla="*/ 10 h 22"/>
                  <a:gd name="T8" fmla="*/ 4 w 24"/>
                  <a:gd name="T9" fmla="*/ 9 h 22"/>
                  <a:gd name="T10" fmla="*/ 4 w 24"/>
                  <a:gd name="T11" fmla="*/ 9 h 22"/>
                  <a:gd name="T12" fmla="*/ 4 w 24"/>
                  <a:gd name="T13" fmla="*/ 9 h 22"/>
                  <a:gd name="T14" fmla="*/ 4 w 24"/>
                  <a:gd name="T15" fmla="*/ 9 h 22"/>
                  <a:gd name="T16" fmla="*/ 4 w 24"/>
                  <a:gd name="T17" fmla="*/ 10 h 22"/>
                  <a:gd name="T18" fmla="*/ 4 w 24"/>
                  <a:gd name="T19" fmla="*/ 11 h 22"/>
                  <a:gd name="T20" fmla="*/ 1 w 24"/>
                  <a:gd name="T21" fmla="*/ 17 h 22"/>
                  <a:gd name="T22" fmla="*/ 3 w 24"/>
                  <a:gd name="T23" fmla="*/ 16 h 22"/>
                  <a:gd name="T24" fmla="*/ 9 w 24"/>
                  <a:gd name="T25" fmla="*/ 10 h 22"/>
                  <a:gd name="T26" fmla="*/ 11 w 24"/>
                  <a:gd name="T27" fmla="*/ 11 h 22"/>
                  <a:gd name="T28" fmla="*/ 13 w 24"/>
                  <a:gd name="T29" fmla="*/ 14 h 22"/>
                  <a:gd name="T30" fmla="*/ 15 w 24"/>
                  <a:gd name="T31" fmla="*/ 17 h 22"/>
                  <a:gd name="T32" fmla="*/ 18 w 24"/>
                  <a:gd name="T33" fmla="*/ 18 h 22"/>
                  <a:gd name="T34" fmla="*/ 24 w 24"/>
                  <a:gd name="T35" fmla="*/ 22 h 22"/>
                  <a:gd name="T36" fmla="*/ 19 w 24"/>
                  <a:gd name="T37" fmla="*/ 10 h 22"/>
                  <a:gd name="T38" fmla="*/ 16 w 24"/>
                  <a:gd name="T39" fmla="*/ 8 h 22"/>
                  <a:gd name="T40" fmla="*/ 3 w 24"/>
                  <a:gd name="T41"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2">
                    <a:moveTo>
                      <a:pt x="3" y="0"/>
                    </a:moveTo>
                    <a:cubicBezTo>
                      <a:pt x="4" y="2"/>
                      <a:pt x="4" y="4"/>
                      <a:pt x="4" y="6"/>
                    </a:cubicBezTo>
                    <a:cubicBezTo>
                      <a:pt x="4" y="7"/>
                      <a:pt x="3" y="8"/>
                      <a:pt x="3" y="9"/>
                    </a:cubicBezTo>
                    <a:cubicBezTo>
                      <a:pt x="3" y="9"/>
                      <a:pt x="3" y="10"/>
                      <a:pt x="3" y="10"/>
                    </a:cubicBezTo>
                    <a:cubicBezTo>
                      <a:pt x="4" y="10"/>
                      <a:pt x="4" y="10"/>
                      <a:pt x="4" y="9"/>
                    </a:cubicBezTo>
                    <a:cubicBezTo>
                      <a:pt x="4" y="9"/>
                      <a:pt x="4" y="9"/>
                      <a:pt x="4" y="9"/>
                    </a:cubicBezTo>
                    <a:cubicBezTo>
                      <a:pt x="4" y="9"/>
                      <a:pt x="4" y="9"/>
                      <a:pt x="4" y="9"/>
                    </a:cubicBezTo>
                    <a:cubicBezTo>
                      <a:pt x="4" y="9"/>
                      <a:pt x="4" y="9"/>
                      <a:pt x="4" y="9"/>
                    </a:cubicBezTo>
                    <a:cubicBezTo>
                      <a:pt x="4" y="9"/>
                      <a:pt x="4" y="10"/>
                      <a:pt x="4" y="10"/>
                    </a:cubicBezTo>
                    <a:cubicBezTo>
                      <a:pt x="4" y="11"/>
                      <a:pt x="4" y="11"/>
                      <a:pt x="4" y="11"/>
                    </a:cubicBezTo>
                    <a:cubicBezTo>
                      <a:pt x="4" y="12"/>
                      <a:pt x="0" y="17"/>
                      <a:pt x="1" y="17"/>
                    </a:cubicBezTo>
                    <a:cubicBezTo>
                      <a:pt x="2" y="17"/>
                      <a:pt x="2" y="17"/>
                      <a:pt x="3" y="16"/>
                    </a:cubicBezTo>
                    <a:cubicBezTo>
                      <a:pt x="5" y="15"/>
                      <a:pt x="7" y="10"/>
                      <a:pt x="9" y="10"/>
                    </a:cubicBezTo>
                    <a:cubicBezTo>
                      <a:pt x="10" y="10"/>
                      <a:pt x="11" y="10"/>
                      <a:pt x="11" y="11"/>
                    </a:cubicBezTo>
                    <a:cubicBezTo>
                      <a:pt x="12" y="12"/>
                      <a:pt x="13" y="14"/>
                      <a:pt x="13" y="14"/>
                    </a:cubicBezTo>
                    <a:cubicBezTo>
                      <a:pt x="14" y="14"/>
                      <a:pt x="15" y="17"/>
                      <a:pt x="15" y="17"/>
                    </a:cubicBezTo>
                    <a:cubicBezTo>
                      <a:pt x="16" y="17"/>
                      <a:pt x="17" y="17"/>
                      <a:pt x="18" y="18"/>
                    </a:cubicBezTo>
                    <a:cubicBezTo>
                      <a:pt x="20" y="19"/>
                      <a:pt x="22" y="20"/>
                      <a:pt x="24" y="22"/>
                    </a:cubicBezTo>
                    <a:cubicBezTo>
                      <a:pt x="22" y="19"/>
                      <a:pt x="22" y="12"/>
                      <a:pt x="19" y="10"/>
                    </a:cubicBezTo>
                    <a:cubicBezTo>
                      <a:pt x="19" y="10"/>
                      <a:pt x="16" y="9"/>
                      <a:pt x="16" y="8"/>
                    </a:cubicBezTo>
                    <a:cubicBezTo>
                      <a:pt x="12" y="4"/>
                      <a:pt x="8"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Freeform 47"/>
              <p:cNvSpPr/>
              <p:nvPr/>
            </p:nvSpPr>
            <p:spPr bwMode="auto">
              <a:xfrm>
                <a:off x="5216" y="3637"/>
                <a:ext cx="10" cy="19"/>
              </a:xfrm>
              <a:custGeom>
                <a:gdLst>
                  <a:gd name="T0" fmla="*/ 0 w 4"/>
                  <a:gd name="T1" fmla="*/ 0 h 8"/>
                  <a:gd name="T2" fmla="*/ 1 w 4"/>
                  <a:gd name="T3" fmla="*/ 8 h 8"/>
                  <a:gd name="T4" fmla="*/ 3 w 4"/>
                  <a:gd name="T5" fmla="*/ 3 h 8"/>
                  <a:gd name="T6" fmla="*/ 4 w 4"/>
                  <a:gd name="T7" fmla="*/ 3 h 8"/>
                  <a:gd name="T8" fmla="*/ 2 w 4"/>
                  <a:gd name="T9" fmla="*/ 2 h 8"/>
                  <a:gd name="T10" fmla="*/ 3 w 4"/>
                  <a:gd name="T11" fmla="*/ 1 h 8"/>
                  <a:gd name="T12" fmla="*/ 0 w 4"/>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cubicBezTo>
                      <a:pt x="0" y="2"/>
                      <a:pt x="1" y="5"/>
                      <a:pt x="1" y="8"/>
                    </a:cubicBezTo>
                    <a:cubicBezTo>
                      <a:pt x="4" y="6"/>
                      <a:pt x="4" y="5"/>
                      <a:pt x="3" y="3"/>
                    </a:cubicBezTo>
                    <a:cubicBezTo>
                      <a:pt x="4" y="3"/>
                      <a:pt x="4" y="3"/>
                      <a:pt x="4" y="3"/>
                    </a:cubicBezTo>
                    <a:cubicBezTo>
                      <a:pt x="4" y="2"/>
                      <a:pt x="3" y="2"/>
                      <a:pt x="2" y="2"/>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0" name="Freeform 48"/>
              <p:cNvSpPr/>
              <p:nvPr/>
            </p:nvSpPr>
            <p:spPr bwMode="auto">
              <a:xfrm>
                <a:off x="5495" y="3795"/>
                <a:ext cx="7" cy="12"/>
              </a:xfrm>
              <a:custGeom>
                <a:gdLst>
                  <a:gd name="T0" fmla="*/ 0 w 3"/>
                  <a:gd name="T1" fmla="*/ 0 h 5"/>
                  <a:gd name="T2" fmla="*/ 2 w 3"/>
                  <a:gd name="T3" fmla="*/ 5 h 5"/>
                  <a:gd name="T4" fmla="*/ 0 w 3"/>
                  <a:gd name="T5" fmla="*/ 0 h 5"/>
                </a:gdLst>
                <a:cxnLst>
                  <a:cxn ang="0">
                    <a:pos x="T0" y="T1"/>
                  </a:cxn>
                  <a:cxn ang="0">
                    <a:pos x="T2" y="T3"/>
                  </a:cxn>
                  <a:cxn ang="0">
                    <a:pos x="T4" y="T5"/>
                  </a:cxn>
                </a:cxnLst>
                <a:rect l="0" t="0" r="r" b="b"/>
                <a:pathLst>
                  <a:path w="3" h="5">
                    <a:moveTo>
                      <a:pt x="0" y="0"/>
                    </a:moveTo>
                    <a:cubicBezTo>
                      <a:pt x="0" y="2"/>
                      <a:pt x="1" y="4"/>
                      <a:pt x="2"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1" name="Freeform 49"/>
              <p:cNvSpPr/>
              <p:nvPr/>
            </p:nvSpPr>
            <p:spPr bwMode="auto">
              <a:xfrm>
                <a:off x="5356" y="3694"/>
                <a:ext cx="73" cy="115"/>
              </a:xfrm>
              <a:custGeom>
                <a:gdLst>
                  <a:gd name="T0" fmla="*/ 22 w 31"/>
                  <a:gd name="T1" fmla="*/ 0 h 49"/>
                  <a:gd name="T2" fmla="*/ 21 w 31"/>
                  <a:gd name="T3" fmla="*/ 1 h 49"/>
                  <a:gd name="T4" fmla="*/ 9 w 31"/>
                  <a:gd name="T5" fmla="*/ 21 h 49"/>
                  <a:gd name="T6" fmla="*/ 7 w 31"/>
                  <a:gd name="T7" fmla="*/ 26 h 49"/>
                  <a:gd name="T8" fmla="*/ 6 w 31"/>
                  <a:gd name="T9" fmla="*/ 25 h 49"/>
                  <a:gd name="T10" fmla="*/ 4 w 31"/>
                  <a:gd name="T11" fmla="*/ 26 h 49"/>
                  <a:gd name="T12" fmla="*/ 7 w 31"/>
                  <a:gd name="T13" fmla="*/ 39 h 49"/>
                  <a:gd name="T14" fmla="*/ 13 w 31"/>
                  <a:gd name="T15" fmla="*/ 41 h 49"/>
                  <a:gd name="T16" fmla="*/ 14 w 31"/>
                  <a:gd name="T17" fmla="*/ 44 h 49"/>
                  <a:gd name="T18" fmla="*/ 19 w 31"/>
                  <a:gd name="T19" fmla="*/ 49 h 49"/>
                  <a:gd name="T20" fmla="*/ 19 w 31"/>
                  <a:gd name="T21" fmla="*/ 49 h 49"/>
                  <a:gd name="T22" fmla="*/ 20 w 31"/>
                  <a:gd name="T23" fmla="*/ 36 h 49"/>
                  <a:gd name="T24" fmla="*/ 24 w 31"/>
                  <a:gd name="T25" fmla="*/ 20 h 49"/>
                  <a:gd name="T26" fmla="*/ 31 w 31"/>
                  <a:gd name="T27" fmla="*/ 4 h 49"/>
                  <a:gd name="T28" fmla="*/ 30 w 31"/>
                  <a:gd name="T29" fmla="*/ 3 h 49"/>
                  <a:gd name="T30" fmla="*/ 27 w 31"/>
                  <a:gd name="T31" fmla="*/ 1 h 49"/>
                  <a:gd name="T32" fmla="*/ 22 w 31"/>
                  <a:gd name="T33"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9">
                    <a:moveTo>
                      <a:pt x="22" y="0"/>
                    </a:moveTo>
                    <a:cubicBezTo>
                      <a:pt x="22" y="0"/>
                      <a:pt x="22" y="1"/>
                      <a:pt x="21" y="1"/>
                    </a:cubicBezTo>
                    <a:cubicBezTo>
                      <a:pt x="13" y="3"/>
                      <a:pt x="12" y="14"/>
                      <a:pt x="9" y="21"/>
                    </a:cubicBezTo>
                    <a:cubicBezTo>
                      <a:pt x="9" y="22"/>
                      <a:pt x="8" y="25"/>
                      <a:pt x="7" y="26"/>
                    </a:cubicBezTo>
                    <a:cubicBezTo>
                      <a:pt x="6" y="25"/>
                      <a:pt x="6" y="25"/>
                      <a:pt x="6" y="25"/>
                    </a:cubicBezTo>
                    <a:cubicBezTo>
                      <a:pt x="5" y="26"/>
                      <a:pt x="4" y="26"/>
                      <a:pt x="4" y="26"/>
                    </a:cubicBezTo>
                    <a:cubicBezTo>
                      <a:pt x="0" y="29"/>
                      <a:pt x="6" y="36"/>
                      <a:pt x="7" y="39"/>
                    </a:cubicBezTo>
                    <a:cubicBezTo>
                      <a:pt x="9" y="41"/>
                      <a:pt x="11" y="40"/>
                      <a:pt x="13" y="41"/>
                    </a:cubicBezTo>
                    <a:cubicBezTo>
                      <a:pt x="14" y="42"/>
                      <a:pt x="13" y="42"/>
                      <a:pt x="14" y="44"/>
                    </a:cubicBezTo>
                    <a:cubicBezTo>
                      <a:pt x="15" y="46"/>
                      <a:pt x="15" y="49"/>
                      <a:pt x="19" y="49"/>
                    </a:cubicBezTo>
                    <a:cubicBezTo>
                      <a:pt x="19" y="49"/>
                      <a:pt x="19" y="49"/>
                      <a:pt x="19" y="49"/>
                    </a:cubicBezTo>
                    <a:cubicBezTo>
                      <a:pt x="25" y="49"/>
                      <a:pt x="21" y="40"/>
                      <a:pt x="20" y="36"/>
                    </a:cubicBezTo>
                    <a:cubicBezTo>
                      <a:pt x="19" y="31"/>
                      <a:pt x="23" y="25"/>
                      <a:pt x="24" y="20"/>
                    </a:cubicBezTo>
                    <a:cubicBezTo>
                      <a:pt x="26" y="14"/>
                      <a:pt x="29" y="9"/>
                      <a:pt x="31" y="4"/>
                    </a:cubicBezTo>
                    <a:cubicBezTo>
                      <a:pt x="30" y="4"/>
                      <a:pt x="31" y="3"/>
                      <a:pt x="30" y="3"/>
                    </a:cubicBezTo>
                    <a:cubicBezTo>
                      <a:pt x="29" y="2"/>
                      <a:pt x="29" y="2"/>
                      <a:pt x="27" y="1"/>
                    </a:cubicBezTo>
                    <a:cubicBezTo>
                      <a:pt x="25" y="1"/>
                      <a:pt x="24"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2" name="Freeform 50"/>
              <p:cNvSpPr/>
              <p:nvPr/>
            </p:nvSpPr>
            <p:spPr bwMode="auto">
              <a:xfrm>
                <a:off x="5327" y="3764"/>
                <a:ext cx="279" cy="249"/>
              </a:xfrm>
              <a:custGeom>
                <a:gdLst>
                  <a:gd name="T0" fmla="*/ 91 w 118"/>
                  <a:gd name="T1" fmla="*/ 15 h 105"/>
                  <a:gd name="T2" fmla="*/ 83 w 118"/>
                  <a:gd name="T3" fmla="*/ 18 h 105"/>
                  <a:gd name="T4" fmla="*/ 79 w 118"/>
                  <a:gd name="T5" fmla="*/ 22 h 105"/>
                  <a:gd name="T6" fmla="*/ 75 w 118"/>
                  <a:gd name="T7" fmla="*/ 20 h 105"/>
                  <a:gd name="T8" fmla="*/ 65 w 118"/>
                  <a:gd name="T9" fmla="*/ 30 h 105"/>
                  <a:gd name="T10" fmla="*/ 58 w 118"/>
                  <a:gd name="T11" fmla="*/ 38 h 105"/>
                  <a:gd name="T12" fmla="*/ 46 w 118"/>
                  <a:gd name="T13" fmla="*/ 44 h 105"/>
                  <a:gd name="T14" fmla="*/ 48 w 118"/>
                  <a:gd name="T15" fmla="*/ 31 h 105"/>
                  <a:gd name="T16" fmla="*/ 39 w 118"/>
                  <a:gd name="T17" fmla="*/ 27 h 105"/>
                  <a:gd name="T18" fmla="*/ 29 w 118"/>
                  <a:gd name="T19" fmla="*/ 35 h 105"/>
                  <a:gd name="T20" fmla="*/ 24 w 118"/>
                  <a:gd name="T21" fmla="*/ 42 h 105"/>
                  <a:gd name="T22" fmla="*/ 8 w 118"/>
                  <a:gd name="T23" fmla="*/ 55 h 105"/>
                  <a:gd name="T24" fmla="*/ 4 w 118"/>
                  <a:gd name="T25" fmla="*/ 71 h 105"/>
                  <a:gd name="T26" fmla="*/ 9 w 118"/>
                  <a:gd name="T27" fmla="*/ 69 h 105"/>
                  <a:gd name="T28" fmla="*/ 14 w 118"/>
                  <a:gd name="T29" fmla="*/ 60 h 105"/>
                  <a:gd name="T30" fmla="*/ 15 w 118"/>
                  <a:gd name="T31" fmla="*/ 55 h 105"/>
                  <a:gd name="T32" fmla="*/ 24 w 118"/>
                  <a:gd name="T33" fmla="*/ 54 h 105"/>
                  <a:gd name="T34" fmla="*/ 31 w 118"/>
                  <a:gd name="T35" fmla="*/ 52 h 105"/>
                  <a:gd name="T36" fmla="*/ 34 w 118"/>
                  <a:gd name="T37" fmla="*/ 55 h 105"/>
                  <a:gd name="T38" fmla="*/ 34 w 118"/>
                  <a:gd name="T39" fmla="*/ 58 h 105"/>
                  <a:gd name="T40" fmla="*/ 39 w 118"/>
                  <a:gd name="T41" fmla="*/ 60 h 105"/>
                  <a:gd name="T42" fmla="*/ 43 w 118"/>
                  <a:gd name="T43" fmla="*/ 49 h 105"/>
                  <a:gd name="T44" fmla="*/ 58 w 118"/>
                  <a:gd name="T45" fmla="*/ 63 h 105"/>
                  <a:gd name="T46" fmla="*/ 55 w 118"/>
                  <a:gd name="T47" fmla="*/ 80 h 105"/>
                  <a:gd name="T48" fmla="*/ 74 w 118"/>
                  <a:gd name="T49" fmla="*/ 96 h 105"/>
                  <a:gd name="T50" fmla="*/ 81 w 118"/>
                  <a:gd name="T51" fmla="*/ 96 h 105"/>
                  <a:gd name="T52" fmla="*/ 85 w 118"/>
                  <a:gd name="T53" fmla="*/ 92 h 105"/>
                  <a:gd name="T54" fmla="*/ 87 w 118"/>
                  <a:gd name="T55" fmla="*/ 105 h 105"/>
                  <a:gd name="T56" fmla="*/ 95 w 118"/>
                  <a:gd name="T57" fmla="*/ 96 h 105"/>
                  <a:gd name="T58" fmla="*/ 89 w 118"/>
                  <a:gd name="T59" fmla="*/ 79 h 105"/>
                  <a:gd name="T60" fmla="*/ 89 w 118"/>
                  <a:gd name="T61" fmla="*/ 75 h 105"/>
                  <a:gd name="T62" fmla="*/ 98 w 118"/>
                  <a:gd name="T63" fmla="*/ 61 h 105"/>
                  <a:gd name="T64" fmla="*/ 105 w 118"/>
                  <a:gd name="T65" fmla="*/ 73 h 105"/>
                  <a:gd name="T66" fmla="*/ 108 w 118"/>
                  <a:gd name="T67" fmla="*/ 87 h 105"/>
                  <a:gd name="T68" fmla="*/ 109 w 118"/>
                  <a:gd name="T69" fmla="*/ 72 h 105"/>
                  <a:gd name="T70" fmla="*/ 110 w 118"/>
                  <a:gd name="T71" fmla="*/ 73 h 105"/>
                  <a:gd name="T72" fmla="*/ 113 w 118"/>
                  <a:gd name="T73" fmla="*/ 72 h 105"/>
                  <a:gd name="T74" fmla="*/ 117 w 118"/>
                  <a:gd name="T75" fmla="*/ 64 h 105"/>
                  <a:gd name="T76" fmla="*/ 112 w 118"/>
                  <a:gd name="T77" fmla="*/ 47 h 105"/>
                  <a:gd name="T78" fmla="*/ 112 w 118"/>
                  <a:gd name="T79" fmla="*/ 40 h 105"/>
                  <a:gd name="T80" fmla="*/ 110 w 118"/>
                  <a:gd name="T81" fmla="*/ 32 h 105"/>
                  <a:gd name="T82" fmla="*/ 108 w 118"/>
                  <a:gd name="T83" fmla="*/ 32 h 105"/>
                  <a:gd name="T84" fmla="*/ 110 w 118"/>
                  <a:gd name="T85" fmla="*/ 25 h 105"/>
                  <a:gd name="T86" fmla="*/ 105 w 118"/>
                  <a:gd name="T87" fmla="*/ 13 h 105"/>
                  <a:gd name="T88" fmla="*/ 89 w 118"/>
                  <a:gd name="T89" fmla="*/ 0 h 1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8" h="105">
                    <a:moveTo>
                      <a:pt x="89" y="0"/>
                    </a:moveTo>
                    <a:cubicBezTo>
                      <a:pt x="90" y="5"/>
                      <a:pt x="91" y="10"/>
                      <a:pt x="91" y="15"/>
                    </a:cubicBezTo>
                    <a:cubicBezTo>
                      <a:pt x="92" y="16"/>
                      <a:pt x="92" y="18"/>
                      <a:pt x="92" y="20"/>
                    </a:cubicBezTo>
                    <a:cubicBezTo>
                      <a:pt x="89" y="19"/>
                      <a:pt x="86" y="18"/>
                      <a:pt x="83" y="18"/>
                    </a:cubicBezTo>
                    <a:cubicBezTo>
                      <a:pt x="83" y="21"/>
                      <a:pt x="83" y="23"/>
                      <a:pt x="82" y="23"/>
                    </a:cubicBezTo>
                    <a:cubicBezTo>
                      <a:pt x="81" y="23"/>
                      <a:pt x="80" y="22"/>
                      <a:pt x="79" y="22"/>
                    </a:cubicBezTo>
                    <a:cubicBezTo>
                      <a:pt x="78" y="21"/>
                      <a:pt x="76" y="20"/>
                      <a:pt x="75" y="20"/>
                    </a:cubicBezTo>
                    <a:cubicBezTo>
                      <a:pt x="75" y="20"/>
                      <a:pt x="75" y="20"/>
                      <a:pt x="75" y="20"/>
                    </a:cubicBezTo>
                    <a:cubicBezTo>
                      <a:pt x="72" y="20"/>
                      <a:pt x="73" y="29"/>
                      <a:pt x="72" y="32"/>
                    </a:cubicBezTo>
                    <a:cubicBezTo>
                      <a:pt x="71" y="32"/>
                      <a:pt x="65" y="30"/>
                      <a:pt x="65" y="30"/>
                    </a:cubicBezTo>
                    <a:cubicBezTo>
                      <a:pt x="65" y="30"/>
                      <a:pt x="65" y="30"/>
                      <a:pt x="65" y="30"/>
                    </a:cubicBezTo>
                    <a:cubicBezTo>
                      <a:pt x="62" y="33"/>
                      <a:pt x="61" y="36"/>
                      <a:pt x="58" y="38"/>
                    </a:cubicBezTo>
                    <a:cubicBezTo>
                      <a:pt x="56" y="39"/>
                      <a:pt x="49" y="45"/>
                      <a:pt x="46" y="45"/>
                    </a:cubicBezTo>
                    <a:cubicBezTo>
                      <a:pt x="46" y="45"/>
                      <a:pt x="46" y="45"/>
                      <a:pt x="46" y="44"/>
                    </a:cubicBezTo>
                    <a:cubicBezTo>
                      <a:pt x="48" y="43"/>
                      <a:pt x="50" y="42"/>
                      <a:pt x="51" y="40"/>
                    </a:cubicBezTo>
                    <a:cubicBezTo>
                      <a:pt x="51" y="37"/>
                      <a:pt x="50" y="32"/>
                      <a:pt x="48" y="31"/>
                    </a:cubicBezTo>
                    <a:cubicBezTo>
                      <a:pt x="47" y="30"/>
                      <a:pt x="48" y="30"/>
                      <a:pt x="46" y="30"/>
                    </a:cubicBezTo>
                    <a:cubicBezTo>
                      <a:pt x="43" y="29"/>
                      <a:pt x="41" y="28"/>
                      <a:pt x="39" y="27"/>
                    </a:cubicBezTo>
                    <a:cubicBezTo>
                      <a:pt x="39" y="27"/>
                      <a:pt x="39" y="27"/>
                      <a:pt x="39" y="27"/>
                    </a:cubicBezTo>
                    <a:cubicBezTo>
                      <a:pt x="35" y="30"/>
                      <a:pt x="31" y="31"/>
                      <a:pt x="29" y="35"/>
                    </a:cubicBezTo>
                    <a:cubicBezTo>
                      <a:pt x="29" y="37"/>
                      <a:pt x="28" y="40"/>
                      <a:pt x="27" y="41"/>
                    </a:cubicBezTo>
                    <a:cubicBezTo>
                      <a:pt x="26" y="42"/>
                      <a:pt x="24" y="42"/>
                      <a:pt x="24" y="42"/>
                    </a:cubicBezTo>
                    <a:cubicBezTo>
                      <a:pt x="18" y="43"/>
                      <a:pt x="11" y="44"/>
                      <a:pt x="8" y="49"/>
                    </a:cubicBezTo>
                    <a:cubicBezTo>
                      <a:pt x="7" y="51"/>
                      <a:pt x="7" y="53"/>
                      <a:pt x="8" y="55"/>
                    </a:cubicBezTo>
                    <a:cubicBezTo>
                      <a:pt x="7" y="56"/>
                      <a:pt x="7" y="56"/>
                      <a:pt x="7" y="57"/>
                    </a:cubicBezTo>
                    <a:cubicBezTo>
                      <a:pt x="5" y="60"/>
                      <a:pt x="0" y="69"/>
                      <a:pt x="4" y="71"/>
                    </a:cubicBezTo>
                    <a:cubicBezTo>
                      <a:pt x="6" y="71"/>
                      <a:pt x="6" y="72"/>
                      <a:pt x="7" y="72"/>
                    </a:cubicBezTo>
                    <a:cubicBezTo>
                      <a:pt x="8" y="72"/>
                      <a:pt x="8" y="71"/>
                      <a:pt x="9" y="69"/>
                    </a:cubicBezTo>
                    <a:cubicBezTo>
                      <a:pt x="10" y="68"/>
                      <a:pt x="11" y="67"/>
                      <a:pt x="11" y="66"/>
                    </a:cubicBezTo>
                    <a:cubicBezTo>
                      <a:pt x="12" y="64"/>
                      <a:pt x="11" y="61"/>
                      <a:pt x="14" y="60"/>
                    </a:cubicBezTo>
                    <a:cubicBezTo>
                      <a:pt x="11" y="59"/>
                      <a:pt x="16" y="56"/>
                      <a:pt x="17" y="55"/>
                    </a:cubicBezTo>
                    <a:cubicBezTo>
                      <a:pt x="17" y="55"/>
                      <a:pt x="16" y="55"/>
                      <a:pt x="15" y="55"/>
                    </a:cubicBezTo>
                    <a:cubicBezTo>
                      <a:pt x="17" y="53"/>
                      <a:pt x="18" y="51"/>
                      <a:pt x="20" y="51"/>
                    </a:cubicBezTo>
                    <a:cubicBezTo>
                      <a:pt x="22" y="51"/>
                      <a:pt x="23" y="52"/>
                      <a:pt x="24" y="54"/>
                    </a:cubicBezTo>
                    <a:cubicBezTo>
                      <a:pt x="26" y="55"/>
                      <a:pt x="24" y="57"/>
                      <a:pt x="25" y="59"/>
                    </a:cubicBezTo>
                    <a:cubicBezTo>
                      <a:pt x="27" y="58"/>
                      <a:pt x="29" y="54"/>
                      <a:pt x="31" y="52"/>
                    </a:cubicBezTo>
                    <a:cubicBezTo>
                      <a:pt x="31" y="52"/>
                      <a:pt x="32" y="52"/>
                      <a:pt x="32" y="52"/>
                    </a:cubicBezTo>
                    <a:cubicBezTo>
                      <a:pt x="33" y="52"/>
                      <a:pt x="34" y="53"/>
                      <a:pt x="34" y="55"/>
                    </a:cubicBezTo>
                    <a:cubicBezTo>
                      <a:pt x="34" y="56"/>
                      <a:pt x="32" y="55"/>
                      <a:pt x="32" y="57"/>
                    </a:cubicBezTo>
                    <a:cubicBezTo>
                      <a:pt x="33" y="57"/>
                      <a:pt x="33" y="58"/>
                      <a:pt x="34" y="58"/>
                    </a:cubicBezTo>
                    <a:cubicBezTo>
                      <a:pt x="35" y="58"/>
                      <a:pt x="36" y="57"/>
                      <a:pt x="37" y="57"/>
                    </a:cubicBezTo>
                    <a:cubicBezTo>
                      <a:pt x="36" y="59"/>
                      <a:pt x="38" y="59"/>
                      <a:pt x="39" y="60"/>
                    </a:cubicBezTo>
                    <a:cubicBezTo>
                      <a:pt x="39" y="57"/>
                      <a:pt x="36" y="54"/>
                      <a:pt x="40" y="50"/>
                    </a:cubicBezTo>
                    <a:cubicBezTo>
                      <a:pt x="41" y="49"/>
                      <a:pt x="42" y="49"/>
                      <a:pt x="43" y="49"/>
                    </a:cubicBezTo>
                    <a:cubicBezTo>
                      <a:pt x="48" y="49"/>
                      <a:pt x="54" y="55"/>
                      <a:pt x="57" y="58"/>
                    </a:cubicBezTo>
                    <a:cubicBezTo>
                      <a:pt x="60" y="60"/>
                      <a:pt x="61" y="60"/>
                      <a:pt x="58" y="63"/>
                    </a:cubicBezTo>
                    <a:cubicBezTo>
                      <a:pt x="57" y="64"/>
                      <a:pt x="56" y="65"/>
                      <a:pt x="55" y="66"/>
                    </a:cubicBezTo>
                    <a:cubicBezTo>
                      <a:pt x="53" y="70"/>
                      <a:pt x="55" y="75"/>
                      <a:pt x="55" y="80"/>
                    </a:cubicBezTo>
                    <a:cubicBezTo>
                      <a:pt x="55" y="81"/>
                      <a:pt x="54" y="83"/>
                      <a:pt x="55" y="84"/>
                    </a:cubicBezTo>
                    <a:cubicBezTo>
                      <a:pt x="61" y="90"/>
                      <a:pt x="66" y="93"/>
                      <a:pt x="74" y="96"/>
                    </a:cubicBezTo>
                    <a:cubicBezTo>
                      <a:pt x="76" y="96"/>
                      <a:pt x="77" y="97"/>
                      <a:pt x="79" y="97"/>
                    </a:cubicBezTo>
                    <a:cubicBezTo>
                      <a:pt x="80" y="97"/>
                      <a:pt x="80" y="97"/>
                      <a:pt x="81" y="96"/>
                    </a:cubicBezTo>
                    <a:cubicBezTo>
                      <a:pt x="82" y="94"/>
                      <a:pt x="82" y="92"/>
                      <a:pt x="84" y="92"/>
                    </a:cubicBezTo>
                    <a:cubicBezTo>
                      <a:pt x="84" y="92"/>
                      <a:pt x="84" y="92"/>
                      <a:pt x="85" y="92"/>
                    </a:cubicBezTo>
                    <a:cubicBezTo>
                      <a:pt x="84" y="97"/>
                      <a:pt x="82" y="98"/>
                      <a:pt x="85" y="103"/>
                    </a:cubicBezTo>
                    <a:cubicBezTo>
                      <a:pt x="86" y="104"/>
                      <a:pt x="86" y="105"/>
                      <a:pt x="87" y="105"/>
                    </a:cubicBezTo>
                    <a:cubicBezTo>
                      <a:pt x="88" y="105"/>
                      <a:pt x="89" y="103"/>
                      <a:pt x="91" y="102"/>
                    </a:cubicBezTo>
                    <a:cubicBezTo>
                      <a:pt x="92" y="100"/>
                      <a:pt x="94" y="98"/>
                      <a:pt x="95" y="96"/>
                    </a:cubicBezTo>
                    <a:cubicBezTo>
                      <a:pt x="97" y="92"/>
                      <a:pt x="94" y="84"/>
                      <a:pt x="92" y="81"/>
                    </a:cubicBezTo>
                    <a:cubicBezTo>
                      <a:pt x="91" y="81"/>
                      <a:pt x="90" y="79"/>
                      <a:pt x="89" y="79"/>
                    </a:cubicBezTo>
                    <a:cubicBezTo>
                      <a:pt x="89" y="79"/>
                      <a:pt x="89" y="79"/>
                      <a:pt x="89" y="79"/>
                    </a:cubicBezTo>
                    <a:cubicBezTo>
                      <a:pt x="88" y="79"/>
                      <a:pt x="89" y="76"/>
                      <a:pt x="89" y="75"/>
                    </a:cubicBezTo>
                    <a:cubicBezTo>
                      <a:pt x="90" y="72"/>
                      <a:pt x="94" y="62"/>
                      <a:pt x="98" y="61"/>
                    </a:cubicBezTo>
                    <a:cubicBezTo>
                      <a:pt x="98" y="61"/>
                      <a:pt x="98" y="61"/>
                      <a:pt x="98" y="61"/>
                    </a:cubicBezTo>
                    <a:cubicBezTo>
                      <a:pt x="101" y="61"/>
                      <a:pt x="101" y="66"/>
                      <a:pt x="102" y="69"/>
                    </a:cubicBezTo>
                    <a:cubicBezTo>
                      <a:pt x="103" y="71"/>
                      <a:pt x="104" y="72"/>
                      <a:pt x="105" y="73"/>
                    </a:cubicBezTo>
                    <a:cubicBezTo>
                      <a:pt x="106" y="76"/>
                      <a:pt x="105" y="79"/>
                      <a:pt x="105" y="81"/>
                    </a:cubicBezTo>
                    <a:cubicBezTo>
                      <a:pt x="106" y="84"/>
                      <a:pt x="108" y="85"/>
                      <a:pt x="108" y="87"/>
                    </a:cubicBezTo>
                    <a:cubicBezTo>
                      <a:pt x="109" y="84"/>
                      <a:pt x="108" y="79"/>
                      <a:pt x="107" y="76"/>
                    </a:cubicBezTo>
                    <a:cubicBezTo>
                      <a:pt x="107" y="74"/>
                      <a:pt x="106" y="72"/>
                      <a:pt x="109" y="72"/>
                    </a:cubicBezTo>
                    <a:cubicBezTo>
                      <a:pt x="109" y="72"/>
                      <a:pt x="109" y="72"/>
                      <a:pt x="109" y="72"/>
                    </a:cubicBezTo>
                    <a:cubicBezTo>
                      <a:pt x="110" y="72"/>
                      <a:pt x="110" y="72"/>
                      <a:pt x="110" y="73"/>
                    </a:cubicBezTo>
                    <a:cubicBezTo>
                      <a:pt x="111" y="73"/>
                      <a:pt x="111" y="74"/>
                      <a:pt x="111" y="74"/>
                    </a:cubicBezTo>
                    <a:cubicBezTo>
                      <a:pt x="112" y="74"/>
                      <a:pt x="112" y="74"/>
                      <a:pt x="113" y="72"/>
                    </a:cubicBezTo>
                    <a:cubicBezTo>
                      <a:pt x="113" y="70"/>
                      <a:pt x="114" y="70"/>
                      <a:pt x="114" y="70"/>
                    </a:cubicBezTo>
                    <a:cubicBezTo>
                      <a:pt x="115" y="68"/>
                      <a:pt x="117" y="65"/>
                      <a:pt x="117" y="64"/>
                    </a:cubicBezTo>
                    <a:cubicBezTo>
                      <a:pt x="118" y="61"/>
                      <a:pt x="117" y="57"/>
                      <a:pt x="117" y="53"/>
                    </a:cubicBezTo>
                    <a:cubicBezTo>
                      <a:pt x="117" y="50"/>
                      <a:pt x="114" y="49"/>
                      <a:pt x="112" y="47"/>
                    </a:cubicBezTo>
                    <a:cubicBezTo>
                      <a:pt x="115" y="45"/>
                      <a:pt x="113" y="42"/>
                      <a:pt x="115" y="39"/>
                    </a:cubicBezTo>
                    <a:cubicBezTo>
                      <a:pt x="113" y="39"/>
                      <a:pt x="113" y="40"/>
                      <a:pt x="112" y="40"/>
                    </a:cubicBezTo>
                    <a:cubicBezTo>
                      <a:pt x="110" y="40"/>
                      <a:pt x="113" y="36"/>
                      <a:pt x="113" y="33"/>
                    </a:cubicBezTo>
                    <a:cubicBezTo>
                      <a:pt x="112" y="32"/>
                      <a:pt x="111" y="32"/>
                      <a:pt x="110" y="32"/>
                    </a:cubicBezTo>
                    <a:cubicBezTo>
                      <a:pt x="110" y="32"/>
                      <a:pt x="109" y="32"/>
                      <a:pt x="109" y="32"/>
                    </a:cubicBezTo>
                    <a:cubicBezTo>
                      <a:pt x="108" y="32"/>
                      <a:pt x="108" y="32"/>
                      <a:pt x="108" y="32"/>
                    </a:cubicBezTo>
                    <a:cubicBezTo>
                      <a:pt x="107" y="32"/>
                      <a:pt x="107" y="32"/>
                      <a:pt x="106" y="31"/>
                    </a:cubicBezTo>
                    <a:cubicBezTo>
                      <a:pt x="104" y="29"/>
                      <a:pt x="110" y="27"/>
                      <a:pt x="110" y="25"/>
                    </a:cubicBezTo>
                    <a:cubicBezTo>
                      <a:pt x="113" y="21"/>
                      <a:pt x="108" y="17"/>
                      <a:pt x="108" y="12"/>
                    </a:cubicBezTo>
                    <a:cubicBezTo>
                      <a:pt x="107" y="13"/>
                      <a:pt x="106" y="13"/>
                      <a:pt x="105" y="13"/>
                    </a:cubicBezTo>
                    <a:cubicBezTo>
                      <a:pt x="104" y="13"/>
                      <a:pt x="103" y="12"/>
                      <a:pt x="102" y="9"/>
                    </a:cubicBezTo>
                    <a:cubicBezTo>
                      <a:pt x="100" y="5"/>
                      <a:pt x="93" y="2"/>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Freeform 51"/>
              <p:cNvSpPr/>
              <p:nvPr/>
            </p:nvSpPr>
            <p:spPr bwMode="auto">
              <a:xfrm>
                <a:off x="5363" y="3606"/>
                <a:ext cx="16" cy="14"/>
              </a:xfrm>
              <a:custGeom>
                <a:gdLst>
                  <a:gd name="T0" fmla="*/ 4 w 7"/>
                  <a:gd name="T1" fmla="*/ 0 h 6"/>
                  <a:gd name="T2" fmla="*/ 0 w 7"/>
                  <a:gd name="T3" fmla="*/ 1 h 6"/>
                  <a:gd name="T4" fmla="*/ 5 w 7"/>
                  <a:gd name="T5" fmla="*/ 6 h 6"/>
                  <a:gd name="T6" fmla="*/ 5 w 7"/>
                  <a:gd name="T7" fmla="*/ 0 h 6"/>
                  <a:gd name="T8" fmla="*/ 4 w 7"/>
                  <a:gd name="T9" fmla="*/ 0 h 6"/>
                </a:gdLst>
                <a:cxnLst>
                  <a:cxn ang="0">
                    <a:pos x="T0" y="T1"/>
                  </a:cxn>
                  <a:cxn ang="0">
                    <a:pos x="T2" y="T3"/>
                  </a:cxn>
                  <a:cxn ang="0">
                    <a:pos x="T4" y="T5"/>
                  </a:cxn>
                  <a:cxn ang="0">
                    <a:pos x="T6" y="T7"/>
                  </a:cxn>
                  <a:cxn ang="0">
                    <a:pos x="T8" y="T9"/>
                  </a:cxn>
                </a:cxnLst>
                <a:rect l="0" t="0" r="r" b="b"/>
                <a:pathLst>
                  <a:path w="7" h="6">
                    <a:moveTo>
                      <a:pt x="4" y="0"/>
                    </a:moveTo>
                    <a:cubicBezTo>
                      <a:pt x="2" y="0"/>
                      <a:pt x="0" y="0"/>
                      <a:pt x="0" y="1"/>
                    </a:cubicBezTo>
                    <a:cubicBezTo>
                      <a:pt x="0" y="2"/>
                      <a:pt x="5" y="5"/>
                      <a:pt x="5" y="6"/>
                    </a:cubicBezTo>
                    <a:cubicBezTo>
                      <a:pt x="6" y="3"/>
                      <a:pt x="7"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4" name="Freeform 52"/>
              <p:cNvSpPr/>
              <p:nvPr/>
            </p:nvSpPr>
            <p:spPr bwMode="auto">
              <a:xfrm>
                <a:off x="5320" y="3455"/>
                <a:ext cx="24" cy="23"/>
              </a:xfrm>
              <a:custGeom>
                <a:gdLst>
                  <a:gd name="T0" fmla="*/ 7 w 10"/>
                  <a:gd name="T1" fmla="*/ 0 h 10"/>
                  <a:gd name="T2" fmla="*/ 6 w 10"/>
                  <a:gd name="T3" fmla="*/ 0 h 10"/>
                  <a:gd name="T4" fmla="*/ 6 w 10"/>
                  <a:gd name="T5" fmla="*/ 10 h 10"/>
                  <a:gd name="T6" fmla="*/ 7 w 10"/>
                  <a:gd name="T7" fmla="*/ 4 h 10"/>
                  <a:gd name="T8" fmla="*/ 8 w 10"/>
                  <a:gd name="T9" fmla="*/ 2 h 10"/>
                  <a:gd name="T10" fmla="*/ 7 w 10"/>
                  <a:gd name="T11" fmla="*/ 0 h 10"/>
                </a:gdLst>
                <a:cxnLst>
                  <a:cxn ang="0">
                    <a:pos x="T0" y="T1"/>
                  </a:cxn>
                  <a:cxn ang="0">
                    <a:pos x="T2" y="T3"/>
                  </a:cxn>
                  <a:cxn ang="0">
                    <a:pos x="T4" y="T5"/>
                  </a:cxn>
                  <a:cxn ang="0">
                    <a:pos x="T6" y="T7"/>
                  </a:cxn>
                  <a:cxn ang="0">
                    <a:pos x="T8" y="T9"/>
                  </a:cxn>
                  <a:cxn ang="0">
                    <a:pos x="T10" y="T11"/>
                  </a:cxn>
                </a:cxnLst>
                <a:rect l="0" t="0" r="r" b="b"/>
                <a:pathLst>
                  <a:path w="10" h="10">
                    <a:moveTo>
                      <a:pt x="7" y="0"/>
                    </a:moveTo>
                    <a:cubicBezTo>
                      <a:pt x="7" y="0"/>
                      <a:pt x="6" y="0"/>
                      <a:pt x="6" y="0"/>
                    </a:cubicBezTo>
                    <a:cubicBezTo>
                      <a:pt x="0" y="0"/>
                      <a:pt x="5" y="7"/>
                      <a:pt x="6" y="10"/>
                    </a:cubicBezTo>
                    <a:cubicBezTo>
                      <a:pt x="10" y="7"/>
                      <a:pt x="7" y="7"/>
                      <a:pt x="7" y="4"/>
                    </a:cubicBezTo>
                    <a:cubicBezTo>
                      <a:pt x="7" y="3"/>
                      <a:pt x="8" y="3"/>
                      <a:pt x="8" y="2"/>
                    </a:cubicBezTo>
                    <a:cubicBezTo>
                      <a:pt x="8" y="1"/>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5" name="Freeform 53"/>
              <p:cNvSpPr/>
              <p:nvPr/>
            </p:nvSpPr>
            <p:spPr bwMode="auto">
              <a:xfrm>
                <a:off x="5365" y="3708"/>
                <a:ext cx="14" cy="21"/>
              </a:xfrm>
              <a:custGeom>
                <a:gdLst>
                  <a:gd name="T0" fmla="*/ 5 w 6"/>
                  <a:gd name="T1" fmla="*/ 0 h 9"/>
                  <a:gd name="T2" fmla="*/ 2 w 6"/>
                  <a:gd name="T3" fmla="*/ 6 h 9"/>
                  <a:gd name="T4" fmla="*/ 2 w 6"/>
                  <a:gd name="T5" fmla="*/ 9 h 9"/>
                  <a:gd name="T6" fmla="*/ 5 w 6"/>
                  <a:gd name="T7" fmla="*/ 0 h 9"/>
                </a:gdLst>
                <a:cxnLst>
                  <a:cxn ang="0">
                    <a:pos x="T0" y="T1"/>
                  </a:cxn>
                  <a:cxn ang="0">
                    <a:pos x="T2" y="T3"/>
                  </a:cxn>
                  <a:cxn ang="0">
                    <a:pos x="T4" y="T5"/>
                  </a:cxn>
                  <a:cxn ang="0">
                    <a:pos x="T6" y="T7"/>
                  </a:cxn>
                </a:cxnLst>
                <a:rect l="0" t="0" r="r" b="b"/>
                <a:pathLst>
                  <a:path w="6" h="9">
                    <a:moveTo>
                      <a:pt x="5" y="0"/>
                    </a:moveTo>
                    <a:cubicBezTo>
                      <a:pt x="4" y="2"/>
                      <a:pt x="1" y="4"/>
                      <a:pt x="2" y="6"/>
                    </a:cubicBezTo>
                    <a:cubicBezTo>
                      <a:pt x="0" y="6"/>
                      <a:pt x="1" y="8"/>
                      <a:pt x="2" y="9"/>
                    </a:cubicBezTo>
                    <a:cubicBezTo>
                      <a:pt x="4" y="6"/>
                      <a:pt x="6"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Freeform 54"/>
              <p:cNvSpPr/>
              <p:nvPr/>
            </p:nvSpPr>
            <p:spPr bwMode="auto">
              <a:xfrm>
                <a:off x="5566" y="3750"/>
                <a:ext cx="14" cy="17"/>
              </a:xfrm>
              <a:custGeom>
                <a:gdLst>
                  <a:gd name="T0" fmla="*/ 4 w 6"/>
                  <a:gd name="T1" fmla="*/ 0 h 7"/>
                  <a:gd name="T2" fmla="*/ 3 w 6"/>
                  <a:gd name="T3" fmla="*/ 7 h 7"/>
                  <a:gd name="T4" fmla="*/ 6 w 6"/>
                  <a:gd name="T5" fmla="*/ 6 h 7"/>
                  <a:gd name="T6" fmla="*/ 4 w 6"/>
                  <a:gd name="T7" fmla="*/ 0 h 7"/>
                </a:gdLst>
                <a:cxnLst>
                  <a:cxn ang="0">
                    <a:pos x="T0" y="T1"/>
                  </a:cxn>
                  <a:cxn ang="0">
                    <a:pos x="T2" y="T3"/>
                  </a:cxn>
                  <a:cxn ang="0">
                    <a:pos x="T4" y="T5"/>
                  </a:cxn>
                  <a:cxn ang="0">
                    <a:pos x="T6" y="T7"/>
                  </a:cxn>
                </a:cxnLst>
                <a:rect l="0" t="0" r="r" b="b"/>
                <a:pathLst>
                  <a:path w="6" h="7">
                    <a:moveTo>
                      <a:pt x="4" y="0"/>
                    </a:moveTo>
                    <a:cubicBezTo>
                      <a:pt x="2" y="3"/>
                      <a:pt x="0" y="5"/>
                      <a:pt x="3" y="7"/>
                    </a:cubicBezTo>
                    <a:cubicBezTo>
                      <a:pt x="4" y="7"/>
                      <a:pt x="5" y="6"/>
                      <a:pt x="6" y="6"/>
                    </a:cubicBezTo>
                    <a:cubicBezTo>
                      <a:pt x="5"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Freeform 55"/>
              <p:cNvSpPr/>
              <p:nvPr/>
            </p:nvSpPr>
            <p:spPr bwMode="auto">
              <a:xfrm>
                <a:off x="5424" y="3793"/>
                <a:ext cx="17" cy="14"/>
              </a:xfrm>
              <a:custGeom>
                <a:gdLst>
                  <a:gd name="T0" fmla="*/ 3 w 7"/>
                  <a:gd name="T1" fmla="*/ 0 h 6"/>
                  <a:gd name="T2" fmla="*/ 0 w 7"/>
                  <a:gd name="T3" fmla="*/ 3 h 6"/>
                  <a:gd name="T4" fmla="*/ 3 w 7"/>
                  <a:gd name="T5" fmla="*/ 6 h 6"/>
                  <a:gd name="T6" fmla="*/ 3 w 7"/>
                  <a:gd name="T7" fmla="*/ 0 h 6"/>
                </a:gdLst>
                <a:cxnLst>
                  <a:cxn ang="0">
                    <a:pos x="T0" y="T1"/>
                  </a:cxn>
                  <a:cxn ang="0">
                    <a:pos x="T2" y="T3"/>
                  </a:cxn>
                  <a:cxn ang="0">
                    <a:pos x="T4" y="T5"/>
                  </a:cxn>
                  <a:cxn ang="0">
                    <a:pos x="T6" y="T7"/>
                  </a:cxn>
                </a:cxnLst>
                <a:rect l="0" t="0" r="r" b="b"/>
                <a:pathLst>
                  <a:path w="7" h="6">
                    <a:moveTo>
                      <a:pt x="3" y="0"/>
                    </a:moveTo>
                    <a:cubicBezTo>
                      <a:pt x="3" y="2"/>
                      <a:pt x="0" y="2"/>
                      <a:pt x="0" y="3"/>
                    </a:cubicBezTo>
                    <a:cubicBezTo>
                      <a:pt x="0" y="4"/>
                      <a:pt x="2" y="5"/>
                      <a:pt x="3" y="6"/>
                    </a:cubicBezTo>
                    <a:cubicBezTo>
                      <a:pt x="7" y="5"/>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8" name="Freeform 56"/>
              <p:cNvSpPr/>
              <p:nvPr/>
            </p:nvSpPr>
            <p:spPr bwMode="auto">
              <a:xfrm>
                <a:off x="5044" y="3866"/>
                <a:ext cx="12" cy="14"/>
              </a:xfrm>
              <a:custGeom>
                <a:gdLst>
                  <a:gd name="T0" fmla="*/ 2 w 5"/>
                  <a:gd name="T1" fmla="*/ 0 h 6"/>
                  <a:gd name="T2" fmla="*/ 2 w 5"/>
                  <a:gd name="T3" fmla="*/ 6 h 6"/>
                  <a:gd name="T4" fmla="*/ 3 w 5"/>
                  <a:gd name="T5" fmla="*/ 2 h 6"/>
                  <a:gd name="T6" fmla="*/ 3 w 5"/>
                  <a:gd name="T7" fmla="*/ 0 h 6"/>
                  <a:gd name="T8" fmla="*/ 2 w 5"/>
                  <a:gd name="T9" fmla="*/ 0 h 6"/>
                </a:gdLst>
                <a:cxnLst>
                  <a:cxn ang="0">
                    <a:pos x="T0" y="T1"/>
                  </a:cxn>
                  <a:cxn ang="0">
                    <a:pos x="T2" y="T3"/>
                  </a:cxn>
                  <a:cxn ang="0">
                    <a:pos x="T4" y="T5"/>
                  </a:cxn>
                  <a:cxn ang="0">
                    <a:pos x="T6" y="T7"/>
                  </a:cxn>
                  <a:cxn ang="0">
                    <a:pos x="T8" y="T9"/>
                  </a:cxn>
                </a:cxnLst>
                <a:rect l="0" t="0" r="r" b="b"/>
                <a:pathLst>
                  <a:path w="5" h="6">
                    <a:moveTo>
                      <a:pt x="2" y="0"/>
                    </a:moveTo>
                    <a:cubicBezTo>
                      <a:pt x="0" y="0"/>
                      <a:pt x="2" y="6"/>
                      <a:pt x="2" y="6"/>
                    </a:cubicBezTo>
                    <a:cubicBezTo>
                      <a:pt x="3" y="5"/>
                      <a:pt x="5" y="3"/>
                      <a:pt x="3" y="2"/>
                    </a:cubicBezTo>
                    <a:cubicBezTo>
                      <a:pt x="3" y="1"/>
                      <a:pt x="4" y="0"/>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Freeform 57"/>
              <p:cNvSpPr/>
              <p:nvPr/>
            </p:nvSpPr>
            <p:spPr bwMode="auto">
              <a:xfrm>
                <a:off x="5330" y="3944"/>
                <a:ext cx="30" cy="19"/>
              </a:xfrm>
              <a:custGeom>
                <a:gdLst>
                  <a:gd name="T0" fmla="*/ 5 w 13"/>
                  <a:gd name="T1" fmla="*/ 0 h 8"/>
                  <a:gd name="T2" fmla="*/ 3 w 13"/>
                  <a:gd name="T3" fmla="*/ 1 h 8"/>
                  <a:gd name="T4" fmla="*/ 1 w 13"/>
                  <a:gd name="T5" fmla="*/ 2 h 8"/>
                  <a:gd name="T6" fmla="*/ 0 w 13"/>
                  <a:gd name="T7" fmla="*/ 1 h 8"/>
                  <a:gd name="T8" fmla="*/ 3 w 13"/>
                  <a:gd name="T9" fmla="*/ 8 h 8"/>
                  <a:gd name="T10" fmla="*/ 8 w 13"/>
                  <a:gd name="T11" fmla="*/ 7 h 8"/>
                  <a:gd name="T12" fmla="*/ 9 w 13"/>
                  <a:gd name="T13" fmla="*/ 5 h 8"/>
                  <a:gd name="T14" fmla="*/ 9 w 13"/>
                  <a:gd name="T15" fmla="*/ 2 h 8"/>
                  <a:gd name="T16" fmla="*/ 6 w 13"/>
                  <a:gd name="T17" fmla="*/ 0 h 8"/>
                  <a:gd name="T18" fmla="*/ 5 w 13"/>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8">
                    <a:moveTo>
                      <a:pt x="5" y="0"/>
                    </a:moveTo>
                    <a:cubicBezTo>
                      <a:pt x="4" y="0"/>
                      <a:pt x="4" y="0"/>
                      <a:pt x="3" y="1"/>
                    </a:cubicBezTo>
                    <a:cubicBezTo>
                      <a:pt x="2" y="1"/>
                      <a:pt x="1" y="2"/>
                      <a:pt x="1" y="2"/>
                    </a:cubicBezTo>
                    <a:cubicBezTo>
                      <a:pt x="0" y="2"/>
                      <a:pt x="0" y="2"/>
                      <a:pt x="0" y="1"/>
                    </a:cubicBezTo>
                    <a:cubicBezTo>
                      <a:pt x="0" y="4"/>
                      <a:pt x="2" y="6"/>
                      <a:pt x="3" y="8"/>
                    </a:cubicBezTo>
                    <a:cubicBezTo>
                      <a:pt x="4" y="8"/>
                      <a:pt x="7" y="8"/>
                      <a:pt x="8" y="7"/>
                    </a:cubicBezTo>
                    <a:cubicBezTo>
                      <a:pt x="9" y="6"/>
                      <a:pt x="8" y="5"/>
                      <a:pt x="9" y="5"/>
                    </a:cubicBezTo>
                    <a:cubicBezTo>
                      <a:pt x="11" y="3"/>
                      <a:pt x="13" y="3"/>
                      <a:pt x="9" y="2"/>
                    </a:cubicBezTo>
                    <a:cubicBezTo>
                      <a:pt x="7" y="1"/>
                      <a:pt x="7" y="0"/>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Freeform 58"/>
              <p:cNvSpPr/>
              <p:nvPr/>
            </p:nvSpPr>
            <p:spPr bwMode="auto">
              <a:xfrm>
                <a:off x="5552" y="3918"/>
                <a:ext cx="5" cy="17"/>
              </a:xfrm>
              <a:custGeom>
                <a:gdLst>
                  <a:gd name="T0" fmla="*/ 1 w 2"/>
                  <a:gd name="T1" fmla="*/ 0 h 7"/>
                  <a:gd name="T2" fmla="*/ 2 w 2"/>
                  <a:gd name="T3" fmla="*/ 7 h 7"/>
                  <a:gd name="T4" fmla="*/ 1 w 2"/>
                  <a:gd name="T5" fmla="*/ 0 h 7"/>
                </a:gdLst>
                <a:cxnLst>
                  <a:cxn ang="0">
                    <a:pos x="T0" y="T1"/>
                  </a:cxn>
                  <a:cxn ang="0">
                    <a:pos x="T2" y="T3"/>
                  </a:cxn>
                  <a:cxn ang="0">
                    <a:pos x="T4" y="T5"/>
                  </a:cxn>
                </a:cxnLst>
                <a:rect l="0" t="0" r="r" b="b"/>
                <a:pathLst>
                  <a:path w="2" h="7">
                    <a:moveTo>
                      <a:pt x="1" y="0"/>
                    </a:moveTo>
                    <a:cubicBezTo>
                      <a:pt x="0" y="2"/>
                      <a:pt x="1" y="5"/>
                      <a:pt x="2" y="7"/>
                    </a:cubicBezTo>
                    <a:cubicBezTo>
                      <a:pt x="2" y="5"/>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Freeform 59"/>
              <p:cNvSpPr/>
              <p:nvPr/>
            </p:nvSpPr>
            <p:spPr bwMode="auto">
              <a:xfrm>
                <a:off x="5327" y="3107"/>
                <a:ext cx="3"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2" name="Freeform 60"/>
              <p:cNvSpPr/>
              <p:nvPr/>
            </p:nvSpPr>
            <p:spPr bwMode="auto">
              <a:xfrm>
                <a:off x="5429" y="3594"/>
                <a:ext cx="14" cy="22"/>
              </a:xfrm>
              <a:custGeom>
                <a:gdLst>
                  <a:gd name="T0" fmla="*/ 1 w 6"/>
                  <a:gd name="T1" fmla="*/ 0 h 9"/>
                  <a:gd name="T2" fmla="*/ 6 w 6"/>
                  <a:gd name="T3" fmla="*/ 9 h 9"/>
                  <a:gd name="T4" fmla="*/ 1 w 6"/>
                  <a:gd name="T5" fmla="*/ 0 h 9"/>
                </a:gdLst>
                <a:cxnLst>
                  <a:cxn ang="0">
                    <a:pos x="T0" y="T1"/>
                  </a:cxn>
                  <a:cxn ang="0">
                    <a:pos x="T2" y="T3"/>
                  </a:cxn>
                  <a:cxn ang="0">
                    <a:pos x="T4" y="T5"/>
                  </a:cxn>
                </a:cxnLst>
                <a:rect l="0" t="0" r="r" b="b"/>
                <a:pathLst>
                  <a:path w="6" h="9">
                    <a:moveTo>
                      <a:pt x="1" y="0"/>
                    </a:moveTo>
                    <a:cubicBezTo>
                      <a:pt x="0" y="2"/>
                      <a:pt x="4" y="7"/>
                      <a:pt x="6" y="9"/>
                    </a:cubicBezTo>
                    <a:cubicBezTo>
                      <a:pt x="4" y="6"/>
                      <a:pt x="3"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Freeform 61"/>
              <p:cNvSpPr/>
              <p:nvPr/>
            </p:nvSpPr>
            <p:spPr bwMode="auto">
              <a:xfrm>
                <a:off x="5330" y="3216"/>
                <a:ext cx="4" cy="12"/>
              </a:xfrm>
              <a:custGeom>
                <a:gdLst>
                  <a:gd name="T0" fmla="*/ 2 w 2"/>
                  <a:gd name="T1" fmla="*/ 0 h 5"/>
                  <a:gd name="T2" fmla="*/ 0 w 2"/>
                  <a:gd name="T3" fmla="*/ 5 h 5"/>
                  <a:gd name="T4" fmla="*/ 2 w 2"/>
                  <a:gd name="T5" fmla="*/ 0 h 5"/>
                </a:gdLst>
                <a:cxnLst>
                  <a:cxn ang="0">
                    <a:pos x="T0" y="T1"/>
                  </a:cxn>
                  <a:cxn ang="0">
                    <a:pos x="T2" y="T3"/>
                  </a:cxn>
                  <a:cxn ang="0">
                    <a:pos x="T4" y="T5"/>
                  </a:cxn>
                </a:cxnLst>
                <a:rect l="0" t="0" r="r" b="b"/>
                <a:pathLst>
                  <a:path w="2" h="5">
                    <a:moveTo>
                      <a:pt x="2" y="0"/>
                    </a:moveTo>
                    <a:cubicBezTo>
                      <a:pt x="0" y="0"/>
                      <a:pt x="0" y="3"/>
                      <a:pt x="0" y="5"/>
                    </a:cubicBezTo>
                    <a:cubicBezTo>
                      <a:pt x="1"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Freeform 62"/>
              <p:cNvSpPr/>
              <p:nvPr/>
            </p:nvSpPr>
            <p:spPr bwMode="auto">
              <a:xfrm>
                <a:off x="5330" y="3639"/>
                <a:ext cx="75" cy="88"/>
              </a:xfrm>
              <a:custGeom>
                <a:gdLst>
                  <a:gd name="T0" fmla="*/ 3 w 32"/>
                  <a:gd name="T1" fmla="*/ 0 h 37"/>
                  <a:gd name="T2" fmla="*/ 0 w 32"/>
                  <a:gd name="T3" fmla="*/ 4 h 37"/>
                  <a:gd name="T4" fmla="*/ 1 w 32"/>
                  <a:gd name="T5" fmla="*/ 4 h 37"/>
                  <a:gd name="T6" fmla="*/ 6 w 32"/>
                  <a:gd name="T7" fmla="*/ 11 h 37"/>
                  <a:gd name="T8" fmla="*/ 5 w 32"/>
                  <a:gd name="T9" fmla="*/ 18 h 37"/>
                  <a:gd name="T10" fmla="*/ 3 w 32"/>
                  <a:gd name="T11" fmla="*/ 26 h 37"/>
                  <a:gd name="T12" fmla="*/ 3 w 32"/>
                  <a:gd name="T13" fmla="*/ 37 h 37"/>
                  <a:gd name="T14" fmla="*/ 5 w 32"/>
                  <a:gd name="T15" fmla="*/ 36 h 37"/>
                  <a:gd name="T16" fmla="*/ 24 w 32"/>
                  <a:gd name="T17" fmla="*/ 26 h 37"/>
                  <a:gd name="T18" fmla="*/ 31 w 32"/>
                  <a:gd name="T19" fmla="*/ 19 h 37"/>
                  <a:gd name="T20" fmla="*/ 31 w 32"/>
                  <a:gd name="T21" fmla="*/ 17 h 37"/>
                  <a:gd name="T22" fmla="*/ 32 w 32"/>
                  <a:gd name="T23" fmla="*/ 13 h 37"/>
                  <a:gd name="T24" fmla="*/ 30 w 32"/>
                  <a:gd name="T25" fmla="*/ 10 h 37"/>
                  <a:gd name="T26" fmla="*/ 25 w 32"/>
                  <a:gd name="T27" fmla="*/ 12 h 37"/>
                  <a:gd name="T28" fmla="*/ 16 w 32"/>
                  <a:gd name="T29" fmla="*/ 8 h 37"/>
                  <a:gd name="T30" fmla="*/ 3 w 32"/>
                  <a:gd name="T31"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37">
                    <a:moveTo>
                      <a:pt x="3" y="0"/>
                    </a:moveTo>
                    <a:cubicBezTo>
                      <a:pt x="1" y="1"/>
                      <a:pt x="1" y="2"/>
                      <a:pt x="0" y="4"/>
                    </a:cubicBezTo>
                    <a:cubicBezTo>
                      <a:pt x="1" y="4"/>
                      <a:pt x="1" y="4"/>
                      <a:pt x="1" y="4"/>
                    </a:cubicBezTo>
                    <a:cubicBezTo>
                      <a:pt x="6" y="6"/>
                      <a:pt x="6" y="6"/>
                      <a:pt x="6" y="11"/>
                    </a:cubicBezTo>
                    <a:cubicBezTo>
                      <a:pt x="5" y="13"/>
                      <a:pt x="5" y="16"/>
                      <a:pt x="5" y="18"/>
                    </a:cubicBezTo>
                    <a:cubicBezTo>
                      <a:pt x="5" y="22"/>
                      <a:pt x="4" y="23"/>
                      <a:pt x="3" y="26"/>
                    </a:cubicBezTo>
                    <a:cubicBezTo>
                      <a:pt x="3" y="29"/>
                      <a:pt x="0" y="37"/>
                      <a:pt x="3" y="37"/>
                    </a:cubicBezTo>
                    <a:cubicBezTo>
                      <a:pt x="3" y="37"/>
                      <a:pt x="4" y="37"/>
                      <a:pt x="5" y="36"/>
                    </a:cubicBezTo>
                    <a:cubicBezTo>
                      <a:pt x="11" y="33"/>
                      <a:pt x="19" y="31"/>
                      <a:pt x="24" y="26"/>
                    </a:cubicBezTo>
                    <a:cubicBezTo>
                      <a:pt x="26" y="24"/>
                      <a:pt x="31" y="21"/>
                      <a:pt x="31" y="19"/>
                    </a:cubicBezTo>
                    <a:cubicBezTo>
                      <a:pt x="32" y="18"/>
                      <a:pt x="31" y="18"/>
                      <a:pt x="31" y="17"/>
                    </a:cubicBezTo>
                    <a:cubicBezTo>
                      <a:pt x="31" y="16"/>
                      <a:pt x="32" y="14"/>
                      <a:pt x="32" y="13"/>
                    </a:cubicBezTo>
                    <a:cubicBezTo>
                      <a:pt x="32" y="11"/>
                      <a:pt x="31" y="10"/>
                      <a:pt x="30" y="10"/>
                    </a:cubicBezTo>
                    <a:cubicBezTo>
                      <a:pt x="29" y="10"/>
                      <a:pt x="27" y="11"/>
                      <a:pt x="25" y="12"/>
                    </a:cubicBezTo>
                    <a:cubicBezTo>
                      <a:pt x="23" y="10"/>
                      <a:pt x="19" y="10"/>
                      <a:pt x="16" y="8"/>
                    </a:cubicBezTo>
                    <a:cubicBezTo>
                      <a:pt x="12" y="6"/>
                      <a:pt x="7"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63"/>
              <p:cNvSpPr/>
              <p:nvPr/>
            </p:nvSpPr>
            <p:spPr bwMode="auto">
              <a:xfrm>
                <a:off x="5393" y="3571"/>
                <a:ext cx="8" cy="4"/>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0" y="2"/>
                      <a:pt x="1" y="2"/>
                      <a:pt x="3"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Freeform 64"/>
              <p:cNvSpPr/>
              <p:nvPr/>
            </p:nvSpPr>
            <p:spPr bwMode="auto">
              <a:xfrm>
                <a:off x="5214" y="4027"/>
                <a:ext cx="24" cy="16"/>
              </a:xfrm>
              <a:custGeom>
                <a:gdLst>
                  <a:gd name="T0" fmla="*/ 8 w 10"/>
                  <a:gd name="T1" fmla="*/ 0 h 7"/>
                  <a:gd name="T2" fmla="*/ 0 w 10"/>
                  <a:gd name="T3" fmla="*/ 7 h 7"/>
                  <a:gd name="T4" fmla="*/ 3 w 10"/>
                  <a:gd name="T5" fmla="*/ 5 h 7"/>
                  <a:gd name="T6" fmla="*/ 4 w 10"/>
                  <a:gd name="T7" fmla="*/ 4 h 7"/>
                  <a:gd name="T8" fmla="*/ 5 w 10"/>
                  <a:gd name="T9" fmla="*/ 3 h 7"/>
                  <a:gd name="T10" fmla="*/ 5 w 10"/>
                  <a:gd name="T11" fmla="*/ 4 h 7"/>
                  <a:gd name="T12" fmla="*/ 6 w 10"/>
                  <a:gd name="T13" fmla="*/ 4 h 7"/>
                  <a:gd name="T14" fmla="*/ 6 w 10"/>
                  <a:gd name="T15" fmla="*/ 2 h 7"/>
                  <a:gd name="T16" fmla="*/ 7 w 10"/>
                  <a:gd name="T17" fmla="*/ 4 h 7"/>
                  <a:gd name="T18" fmla="*/ 9 w 10"/>
                  <a:gd name="T19" fmla="*/ 5 h 7"/>
                  <a:gd name="T20" fmla="*/ 10 w 10"/>
                  <a:gd name="T21" fmla="*/ 2 h 7"/>
                  <a:gd name="T22" fmla="*/ 8 w 10"/>
                  <a:gd name="T2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7">
                    <a:moveTo>
                      <a:pt x="8" y="0"/>
                    </a:moveTo>
                    <a:cubicBezTo>
                      <a:pt x="6" y="0"/>
                      <a:pt x="1" y="5"/>
                      <a:pt x="0" y="7"/>
                    </a:cubicBezTo>
                    <a:cubicBezTo>
                      <a:pt x="1" y="6"/>
                      <a:pt x="3" y="5"/>
                      <a:pt x="3" y="5"/>
                    </a:cubicBezTo>
                    <a:cubicBezTo>
                      <a:pt x="4" y="5"/>
                      <a:pt x="4" y="4"/>
                      <a:pt x="4" y="4"/>
                    </a:cubicBezTo>
                    <a:cubicBezTo>
                      <a:pt x="4" y="4"/>
                      <a:pt x="5" y="3"/>
                      <a:pt x="5" y="3"/>
                    </a:cubicBezTo>
                    <a:cubicBezTo>
                      <a:pt x="5" y="3"/>
                      <a:pt x="5" y="4"/>
                      <a:pt x="5" y="4"/>
                    </a:cubicBezTo>
                    <a:cubicBezTo>
                      <a:pt x="6" y="4"/>
                      <a:pt x="6" y="4"/>
                      <a:pt x="6" y="4"/>
                    </a:cubicBezTo>
                    <a:cubicBezTo>
                      <a:pt x="6" y="4"/>
                      <a:pt x="6" y="3"/>
                      <a:pt x="6" y="2"/>
                    </a:cubicBezTo>
                    <a:cubicBezTo>
                      <a:pt x="7" y="3"/>
                      <a:pt x="7" y="3"/>
                      <a:pt x="7" y="4"/>
                    </a:cubicBezTo>
                    <a:cubicBezTo>
                      <a:pt x="8" y="4"/>
                      <a:pt x="8" y="4"/>
                      <a:pt x="9" y="5"/>
                    </a:cubicBezTo>
                    <a:cubicBezTo>
                      <a:pt x="9" y="4"/>
                      <a:pt x="10" y="2"/>
                      <a:pt x="10" y="2"/>
                    </a:cubicBezTo>
                    <a:cubicBezTo>
                      <a:pt x="9"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Freeform 65"/>
              <p:cNvSpPr/>
              <p:nvPr/>
            </p:nvSpPr>
            <p:spPr bwMode="auto">
              <a:xfrm>
                <a:off x="5301" y="3195"/>
                <a:ext cx="10" cy="7"/>
              </a:xfrm>
              <a:custGeom>
                <a:gdLst>
                  <a:gd name="T0" fmla="*/ 4 w 4"/>
                  <a:gd name="T1" fmla="*/ 0 h 3"/>
                  <a:gd name="T2" fmla="*/ 0 w 4"/>
                  <a:gd name="T3" fmla="*/ 0 h 3"/>
                  <a:gd name="T4" fmla="*/ 4 w 4"/>
                  <a:gd name="T5" fmla="*/ 3 h 3"/>
                  <a:gd name="T6" fmla="*/ 4 w 4"/>
                  <a:gd name="T7" fmla="*/ 0 h 3"/>
                </a:gdLst>
                <a:cxnLst>
                  <a:cxn ang="0">
                    <a:pos x="T0" y="T1"/>
                  </a:cxn>
                  <a:cxn ang="0">
                    <a:pos x="T2" y="T3"/>
                  </a:cxn>
                  <a:cxn ang="0">
                    <a:pos x="T4" y="T5"/>
                  </a:cxn>
                  <a:cxn ang="0">
                    <a:pos x="T6" y="T7"/>
                  </a:cxn>
                </a:cxnLst>
                <a:rect l="0" t="0" r="r" b="b"/>
                <a:pathLst>
                  <a:path w="4" h="3">
                    <a:moveTo>
                      <a:pt x="4" y="0"/>
                    </a:moveTo>
                    <a:cubicBezTo>
                      <a:pt x="3" y="0"/>
                      <a:pt x="1" y="0"/>
                      <a:pt x="0" y="0"/>
                    </a:cubicBezTo>
                    <a:cubicBezTo>
                      <a:pt x="1" y="2"/>
                      <a:pt x="2" y="3"/>
                      <a:pt x="4" y="3"/>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Freeform 66"/>
              <p:cNvSpPr/>
              <p:nvPr/>
            </p:nvSpPr>
            <p:spPr bwMode="auto">
              <a:xfrm>
                <a:off x="5474" y="3653"/>
                <a:ext cx="21" cy="15"/>
              </a:xfrm>
              <a:custGeom>
                <a:gdLst>
                  <a:gd name="T0" fmla="*/ 2 w 9"/>
                  <a:gd name="T1" fmla="*/ 0 h 6"/>
                  <a:gd name="T2" fmla="*/ 0 w 9"/>
                  <a:gd name="T3" fmla="*/ 0 h 6"/>
                  <a:gd name="T4" fmla="*/ 4 w 9"/>
                  <a:gd name="T5" fmla="*/ 6 h 6"/>
                  <a:gd name="T6" fmla="*/ 2 w 9"/>
                  <a:gd name="T7" fmla="*/ 0 h 6"/>
                </a:gdLst>
                <a:cxnLst>
                  <a:cxn ang="0">
                    <a:pos x="T0" y="T1"/>
                  </a:cxn>
                  <a:cxn ang="0">
                    <a:pos x="T2" y="T3"/>
                  </a:cxn>
                  <a:cxn ang="0">
                    <a:pos x="T4" y="T5"/>
                  </a:cxn>
                  <a:cxn ang="0">
                    <a:pos x="T6" y="T7"/>
                  </a:cxn>
                </a:cxnLst>
                <a:rect l="0" t="0" r="r" b="b"/>
                <a:pathLst>
                  <a:path w="9" h="6">
                    <a:moveTo>
                      <a:pt x="2" y="0"/>
                    </a:moveTo>
                    <a:cubicBezTo>
                      <a:pt x="1" y="0"/>
                      <a:pt x="1" y="0"/>
                      <a:pt x="0" y="0"/>
                    </a:cubicBezTo>
                    <a:cubicBezTo>
                      <a:pt x="2" y="2"/>
                      <a:pt x="2" y="4"/>
                      <a:pt x="4" y="6"/>
                    </a:cubicBezTo>
                    <a:cubicBezTo>
                      <a:pt x="9" y="4"/>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67"/>
              <p:cNvSpPr/>
              <p:nvPr/>
            </p:nvSpPr>
            <p:spPr bwMode="auto">
              <a:xfrm>
                <a:off x="5327" y="3542"/>
                <a:ext cx="22" cy="21"/>
              </a:xfrm>
              <a:custGeom>
                <a:gdLst>
                  <a:gd name="T0" fmla="*/ 1 w 9"/>
                  <a:gd name="T1" fmla="*/ 0 h 9"/>
                  <a:gd name="T2" fmla="*/ 0 w 9"/>
                  <a:gd name="T3" fmla="*/ 4 h 9"/>
                  <a:gd name="T4" fmla="*/ 5 w 9"/>
                  <a:gd name="T5" fmla="*/ 9 h 9"/>
                  <a:gd name="T6" fmla="*/ 6 w 9"/>
                  <a:gd name="T7" fmla="*/ 1 h 9"/>
                  <a:gd name="T8" fmla="*/ 1 w 9"/>
                  <a:gd name="T9" fmla="*/ 0 h 9"/>
                </a:gdLst>
                <a:cxnLst>
                  <a:cxn ang="0">
                    <a:pos x="T0" y="T1"/>
                  </a:cxn>
                  <a:cxn ang="0">
                    <a:pos x="T2" y="T3"/>
                  </a:cxn>
                  <a:cxn ang="0">
                    <a:pos x="T4" y="T5"/>
                  </a:cxn>
                  <a:cxn ang="0">
                    <a:pos x="T6" y="T7"/>
                  </a:cxn>
                  <a:cxn ang="0">
                    <a:pos x="T8" y="T9"/>
                  </a:cxn>
                </a:cxnLst>
                <a:rect l="0" t="0" r="r" b="b"/>
                <a:pathLst>
                  <a:path w="9" h="9">
                    <a:moveTo>
                      <a:pt x="1" y="0"/>
                    </a:moveTo>
                    <a:cubicBezTo>
                      <a:pt x="1" y="1"/>
                      <a:pt x="0" y="3"/>
                      <a:pt x="0" y="4"/>
                    </a:cubicBezTo>
                    <a:cubicBezTo>
                      <a:pt x="1" y="7"/>
                      <a:pt x="3" y="8"/>
                      <a:pt x="5" y="9"/>
                    </a:cubicBezTo>
                    <a:cubicBezTo>
                      <a:pt x="7" y="6"/>
                      <a:pt x="9" y="3"/>
                      <a:pt x="6" y="1"/>
                    </a:cubicBezTo>
                    <a:cubicBezTo>
                      <a:pt x="5" y="0"/>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Freeform 68"/>
              <p:cNvSpPr/>
              <p:nvPr/>
            </p:nvSpPr>
            <p:spPr bwMode="auto">
              <a:xfrm>
                <a:off x="5214" y="3618"/>
                <a:ext cx="26" cy="19"/>
              </a:xfrm>
              <a:custGeom>
                <a:gdLst>
                  <a:gd name="T0" fmla="*/ 1 w 11"/>
                  <a:gd name="T1" fmla="*/ 0 h 8"/>
                  <a:gd name="T2" fmla="*/ 1 w 11"/>
                  <a:gd name="T3" fmla="*/ 0 h 8"/>
                  <a:gd name="T4" fmla="*/ 0 w 11"/>
                  <a:gd name="T5" fmla="*/ 3 h 8"/>
                  <a:gd name="T6" fmla="*/ 1 w 11"/>
                  <a:gd name="T7" fmla="*/ 2 h 8"/>
                  <a:gd name="T8" fmla="*/ 2 w 11"/>
                  <a:gd name="T9" fmla="*/ 5 h 8"/>
                  <a:gd name="T10" fmla="*/ 6 w 11"/>
                  <a:gd name="T11" fmla="*/ 8 h 8"/>
                  <a:gd name="T12" fmla="*/ 11 w 11"/>
                  <a:gd name="T13" fmla="*/ 5 h 8"/>
                  <a:gd name="T14" fmla="*/ 9 w 11"/>
                  <a:gd name="T15" fmla="*/ 2 h 8"/>
                  <a:gd name="T16" fmla="*/ 9 w 11"/>
                  <a:gd name="T17" fmla="*/ 4 h 8"/>
                  <a:gd name="T18" fmla="*/ 9 w 11"/>
                  <a:gd name="T19" fmla="*/ 4 h 8"/>
                  <a:gd name="T20" fmla="*/ 5 w 11"/>
                  <a:gd name="T21" fmla="*/ 2 h 8"/>
                  <a:gd name="T22" fmla="*/ 1 w 11"/>
                  <a:gd name="T23"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1" y="0"/>
                    </a:moveTo>
                    <a:cubicBezTo>
                      <a:pt x="0" y="0"/>
                      <a:pt x="0" y="0"/>
                      <a:pt x="1" y="0"/>
                    </a:cubicBezTo>
                    <a:cubicBezTo>
                      <a:pt x="0" y="1"/>
                      <a:pt x="0" y="1"/>
                      <a:pt x="0" y="3"/>
                    </a:cubicBezTo>
                    <a:cubicBezTo>
                      <a:pt x="0" y="2"/>
                      <a:pt x="0" y="2"/>
                      <a:pt x="1" y="2"/>
                    </a:cubicBezTo>
                    <a:cubicBezTo>
                      <a:pt x="2" y="2"/>
                      <a:pt x="1" y="4"/>
                      <a:pt x="2" y="5"/>
                    </a:cubicBezTo>
                    <a:cubicBezTo>
                      <a:pt x="3" y="6"/>
                      <a:pt x="4" y="8"/>
                      <a:pt x="6" y="8"/>
                    </a:cubicBezTo>
                    <a:cubicBezTo>
                      <a:pt x="8" y="7"/>
                      <a:pt x="10" y="6"/>
                      <a:pt x="11" y="5"/>
                    </a:cubicBezTo>
                    <a:cubicBezTo>
                      <a:pt x="10" y="4"/>
                      <a:pt x="10" y="3"/>
                      <a:pt x="9" y="2"/>
                    </a:cubicBezTo>
                    <a:cubicBezTo>
                      <a:pt x="9" y="2"/>
                      <a:pt x="9" y="3"/>
                      <a:pt x="9" y="4"/>
                    </a:cubicBezTo>
                    <a:cubicBezTo>
                      <a:pt x="9" y="4"/>
                      <a:pt x="9" y="4"/>
                      <a:pt x="9" y="4"/>
                    </a:cubicBezTo>
                    <a:cubicBezTo>
                      <a:pt x="8" y="4"/>
                      <a:pt x="6" y="3"/>
                      <a:pt x="5" y="2"/>
                    </a:cubicBezTo>
                    <a:cubicBezTo>
                      <a:pt x="3"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69"/>
              <p:cNvSpPr/>
              <p:nvPr/>
            </p:nvSpPr>
            <p:spPr bwMode="auto">
              <a:xfrm>
                <a:off x="5540" y="3724"/>
                <a:ext cx="9" cy="31"/>
              </a:xfrm>
              <a:custGeom>
                <a:gdLst>
                  <a:gd name="T0" fmla="*/ 4 w 4"/>
                  <a:gd name="T1" fmla="*/ 0 h 13"/>
                  <a:gd name="T2" fmla="*/ 1 w 4"/>
                  <a:gd name="T3" fmla="*/ 7 h 13"/>
                  <a:gd name="T4" fmla="*/ 1 w 4"/>
                  <a:gd name="T5" fmla="*/ 10 h 13"/>
                  <a:gd name="T6" fmla="*/ 2 w 4"/>
                  <a:gd name="T7" fmla="*/ 12 h 13"/>
                  <a:gd name="T8" fmla="*/ 4 w 4"/>
                  <a:gd name="T9" fmla="*/ 12 h 13"/>
                  <a:gd name="T10" fmla="*/ 3 w 4"/>
                  <a:gd name="T11" fmla="*/ 13 h 13"/>
                  <a:gd name="T12" fmla="*/ 4 w 4"/>
                  <a:gd name="T13" fmla="*/ 13 h 13"/>
                  <a:gd name="T14" fmla="*/ 4 w 4"/>
                  <a:gd name="T15" fmla="*/ 0 h 1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3">
                    <a:moveTo>
                      <a:pt x="4" y="0"/>
                    </a:moveTo>
                    <a:cubicBezTo>
                      <a:pt x="3" y="3"/>
                      <a:pt x="1" y="4"/>
                      <a:pt x="1" y="7"/>
                    </a:cubicBezTo>
                    <a:cubicBezTo>
                      <a:pt x="1" y="8"/>
                      <a:pt x="0" y="9"/>
                      <a:pt x="1" y="10"/>
                    </a:cubicBezTo>
                    <a:cubicBezTo>
                      <a:pt x="2" y="11"/>
                      <a:pt x="4" y="10"/>
                      <a:pt x="2" y="12"/>
                    </a:cubicBezTo>
                    <a:cubicBezTo>
                      <a:pt x="4" y="12"/>
                      <a:pt x="4" y="12"/>
                      <a:pt x="4" y="12"/>
                    </a:cubicBezTo>
                    <a:cubicBezTo>
                      <a:pt x="3" y="13"/>
                      <a:pt x="3" y="13"/>
                      <a:pt x="3" y="13"/>
                    </a:cubicBezTo>
                    <a:cubicBezTo>
                      <a:pt x="4" y="13"/>
                      <a:pt x="4" y="13"/>
                      <a:pt x="4" y="13"/>
                    </a:cubicBezTo>
                    <a:cubicBezTo>
                      <a:pt x="4" y="9"/>
                      <a:pt x="4" y="5"/>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Freeform 70"/>
              <p:cNvSpPr/>
              <p:nvPr/>
            </p:nvSpPr>
            <p:spPr bwMode="auto">
              <a:xfrm>
                <a:off x="5240" y="3545"/>
                <a:ext cx="73" cy="78"/>
              </a:xfrm>
              <a:custGeom>
                <a:gdLst>
                  <a:gd name="T0" fmla="*/ 3 w 31"/>
                  <a:gd name="T1" fmla="*/ 0 h 33"/>
                  <a:gd name="T2" fmla="*/ 0 w 31"/>
                  <a:gd name="T3" fmla="*/ 2 h 33"/>
                  <a:gd name="T4" fmla="*/ 11 w 31"/>
                  <a:gd name="T5" fmla="*/ 16 h 33"/>
                  <a:gd name="T6" fmla="*/ 23 w 31"/>
                  <a:gd name="T7" fmla="*/ 33 h 33"/>
                  <a:gd name="T8" fmla="*/ 26 w 31"/>
                  <a:gd name="T9" fmla="*/ 30 h 33"/>
                  <a:gd name="T10" fmla="*/ 27 w 31"/>
                  <a:gd name="T11" fmla="*/ 31 h 33"/>
                  <a:gd name="T12" fmla="*/ 27 w 31"/>
                  <a:gd name="T13" fmla="*/ 29 h 33"/>
                  <a:gd name="T14" fmla="*/ 28 w 31"/>
                  <a:gd name="T15" fmla="*/ 29 h 33"/>
                  <a:gd name="T16" fmla="*/ 29 w 31"/>
                  <a:gd name="T17" fmla="*/ 25 h 33"/>
                  <a:gd name="T18" fmla="*/ 30 w 31"/>
                  <a:gd name="T19" fmla="*/ 17 h 33"/>
                  <a:gd name="T20" fmla="*/ 29 w 31"/>
                  <a:gd name="T21" fmla="*/ 13 h 33"/>
                  <a:gd name="T22" fmla="*/ 31 w 31"/>
                  <a:gd name="T23" fmla="*/ 11 h 33"/>
                  <a:gd name="T24" fmla="*/ 25 w 31"/>
                  <a:gd name="T25" fmla="*/ 7 h 33"/>
                  <a:gd name="T26" fmla="*/ 15 w 31"/>
                  <a:gd name="T27" fmla="*/ 1 h 33"/>
                  <a:gd name="T28" fmla="*/ 11 w 31"/>
                  <a:gd name="T29" fmla="*/ 1 h 33"/>
                  <a:gd name="T30" fmla="*/ 9 w 31"/>
                  <a:gd name="T31" fmla="*/ 1 h 33"/>
                  <a:gd name="T32" fmla="*/ 6 w 31"/>
                  <a:gd name="T33" fmla="*/ 1 h 33"/>
                  <a:gd name="T34" fmla="*/ 3 w 31"/>
                  <a:gd name="T35"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33">
                    <a:moveTo>
                      <a:pt x="3" y="0"/>
                    </a:moveTo>
                    <a:cubicBezTo>
                      <a:pt x="2" y="0"/>
                      <a:pt x="1" y="1"/>
                      <a:pt x="0" y="2"/>
                    </a:cubicBezTo>
                    <a:cubicBezTo>
                      <a:pt x="7" y="3"/>
                      <a:pt x="9" y="11"/>
                      <a:pt x="11" y="16"/>
                    </a:cubicBezTo>
                    <a:cubicBezTo>
                      <a:pt x="13" y="23"/>
                      <a:pt x="18" y="28"/>
                      <a:pt x="23" y="33"/>
                    </a:cubicBezTo>
                    <a:cubicBezTo>
                      <a:pt x="24" y="32"/>
                      <a:pt x="25" y="30"/>
                      <a:pt x="26" y="30"/>
                    </a:cubicBezTo>
                    <a:cubicBezTo>
                      <a:pt x="26" y="30"/>
                      <a:pt x="26" y="31"/>
                      <a:pt x="27" y="31"/>
                    </a:cubicBezTo>
                    <a:cubicBezTo>
                      <a:pt x="26" y="30"/>
                      <a:pt x="27" y="29"/>
                      <a:pt x="27" y="29"/>
                    </a:cubicBezTo>
                    <a:cubicBezTo>
                      <a:pt x="27" y="29"/>
                      <a:pt x="28" y="29"/>
                      <a:pt x="28" y="29"/>
                    </a:cubicBezTo>
                    <a:cubicBezTo>
                      <a:pt x="27" y="27"/>
                      <a:pt x="28" y="26"/>
                      <a:pt x="29" y="25"/>
                    </a:cubicBezTo>
                    <a:cubicBezTo>
                      <a:pt x="31" y="22"/>
                      <a:pt x="31" y="22"/>
                      <a:pt x="30" y="17"/>
                    </a:cubicBezTo>
                    <a:cubicBezTo>
                      <a:pt x="29" y="16"/>
                      <a:pt x="29" y="14"/>
                      <a:pt x="29" y="13"/>
                    </a:cubicBezTo>
                    <a:cubicBezTo>
                      <a:pt x="29" y="12"/>
                      <a:pt x="31" y="11"/>
                      <a:pt x="31" y="11"/>
                    </a:cubicBezTo>
                    <a:cubicBezTo>
                      <a:pt x="31" y="10"/>
                      <a:pt x="27" y="8"/>
                      <a:pt x="25" y="7"/>
                    </a:cubicBezTo>
                    <a:cubicBezTo>
                      <a:pt x="22" y="5"/>
                      <a:pt x="18" y="3"/>
                      <a:pt x="15" y="1"/>
                    </a:cubicBezTo>
                    <a:cubicBezTo>
                      <a:pt x="15" y="1"/>
                      <a:pt x="12" y="1"/>
                      <a:pt x="11" y="1"/>
                    </a:cubicBezTo>
                    <a:cubicBezTo>
                      <a:pt x="10" y="1"/>
                      <a:pt x="9" y="1"/>
                      <a:pt x="9" y="1"/>
                    </a:cubicBezTo>
                    <a:cubicBezTo>
                      <a:pt x="8" y="1"/>
                      <a:pt x="7" y="1"/>
                      <a:pt x="6"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Freeform 71"/>
              <p:cNvSpPr/>
              <p:nvPr/>
            </p:nvSpPr>
            <p:spPr bwMode="auto">
              <a:xfrm>
                <a:off x="5330" y="3594"/>
                <a:ext cx="19" cy="36"/>
              </a:xfrm>
              <a:custGeom>
                <a:gdLst>
                  <a:gd name="T0" fmla="*/ 7 w 8"/>
                  <a:gd name="T1" fmla="*/ 0 h 15"/>
                  <a:gd name="T2" fmla="*/ 6 w 8"/>
                  <a:gd name="T3" fmla="*/ 1 h 15"/>
                  <a:gd name="T4" fmla="*/ 4 w 8"/>
                  <a:gd name="T5" fmla="*/ 15 h 15"/>
                  <a:gd name="T6" fmla="*/ 7 w 8"/>
                  <a:gd name="T7" fmla="*/ 3 h 15"/>
                  <a:gd name="T8" fmla="*/ 7 w 8"/>
                  <a:gd name="T9" fmla="*/ 0 h 15"/>
                </a:gdLst>
                <a:cxnLst>
                  <a:cxn ang="0">
                    <a:pos x="T0" y="T1"/>
                  </a:cxn>
                  <a:cxn ang="0">
                    <a:pos x="T2" y="T3"/>
                  </a:cxn>
                  <a:cxn ang="0">
                    <a:pos x="T4" y="T5"/>
                  </a:cxn>
                  <a:cxn ang="0">
                    <a:pos x="T6" y="T7"/>
                  </a:cxn>
                  <a:cxn ang="0">
                    <a:pos x="T8" y="T9"/>
                  </a:cxn>
                </a:cxnLst>
                <a:rect l="0" t="0" r="r" b="b"/>
                <a:pathLst>
                  <a:path w="8" h="15">
                    <a:moveTo>
                      <a:pt x="7" y="0"/>
                    </a:moveTo>
                    <a:cubicBezTo>
                      <a:pt x="7" y="0"/>
                      <a:pt x="6" y="0"/>
                      <a:pt x="6" y="1"/>
                    </a:cubicBezTo>
                    <a:cubicBezTo>
                      <a:pt x="0" y="3"/>
                      <a:pt x="2" y="11"/>
                      <a:pt x="4" y="15"/>
                    </a:cubicBezTo>
                    <a:cubicBezTo>
                      <a:pt x="6" y="13"/>
                      <a:pt x="7" y="6"/>
                      <a:pt x="7" y="3"/>
                    </a:cubicBezTo>
                    <a:cubicBezTo>
                      <a:pt x="8" y="2"/>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72"/>
              <p:cNvSpPr/>
              <p:nvPr/>
            </p:nvSpPr>
            <p:spPr bwMode="auto">
              <a:xfrm>
                <a:off x="5455" y="3511"/>
                <a:ext cx="26" cy="34"/>
              </a:xfrm>
              <a:custGeom>
                <a:gdLst>
                  <a:gd name="T0" fmla="*/ 5 w 11"/>
                  <a:gd name="T1" fmla="*/ 0 h 14"/>
                  <a:gd name="T2" fmla="*/ 3 w 11"/>
                  <a:gd name="T3" fmla="*/ 5 h 14"/>
                  <a:gd name="T4" fmla="*/ 1 w 11"/>
                  <a:gd name="T5" fmla="*/ 10 h 14"/>
                  <a:gd name="T6" fmla="*/ 5 w 11"/>
                  <a:gd name="T7" fmla="*/ 14 h 14"/>
                  <a:gd name="T8" fmla="*/ 10 w 11"/>
                  <a:gd name="T9" fmla="*/ 5 h 14"/>
                  <a:gd name="T10" fmla="*/ 8 w 11"/>
                  <a:gd name="T11" fmla="*/ 4 h 14"/>
                  <a:gd name="T12" fmla="*/ 8 w 11"/>
                  <a:gd name="T13" fmla="*/ 4 h 14"/>
                  <a:gd name="T14" fmla="*/ 5 w 11"/>
                  <a:gd name="T15" fmla="*/ 0 h 1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5" y="0"/>
                    </a:moveTo>
                    <a:cubicBezTo>
                      <a:pt x="4" y="0"/>
                      <a:pt x="3" y="2"/>
                      <a:pt x="3" y="5"/>
                    </a:cubicBezTo>
                    <a:cubicBezTo>
                      <a:pt x="3" y="8"/>
                      <a:pt x="3" y="8"/>
                      <a:pt x="1" y="10"/>
                    </a:cubicBezTo>
                    <a:cubicBezTo>
                      <a:pt x="0" y="12"/>
                      <a:pt x="4" y="14"/>
                      <a:pt x="5" y="14"/>
                    </a:cubicBezTo>
                    <a:cubicBezTo>
                      <a:pt x="7" y="12"/>
                      <a:pt x="11" y="8"/>
                      <a:pt x="10" y="5"/>
                    </a:cubicBezTo>
                    <a:cubicBezTo>
                      <a:pt x="10" y="5"/>
                      <a:pt x="9" y="4"/>
                      <a:pt x="8" y="4"/>
                    </a:cubicBezTo>
                    <a:cubicBezTo>
                      <a:pt x="8" y="4"/>
                      <a:pt x="8" y="4"/>
                      <a:pt x="8" y="4"/>
                    </a:cubicBezTo>
                    <a:cubicBezTo>
                      <a:pt x="6" y="2"/>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73"/>
              <p:cNvSpPr/>
              <p:nvPr/>
            </p:nvSpPr>
            <p:spPr bwMode="auto">
              <a:xfrm>
                <a:off x="5273" y="3982"/>
                <a:ext cx="35" cy="14"/>
              </a:xfrm>
              <a:custGeom>
                <a:gdLst>
                  <a:gd name="T0" fmla="*/ 5 w 15"/>
                  <a:gd name="T1" fmla="*/ 0 h 6"/>
                  <a:gd name="T2" fmla="*/ 2 w 15"/>
                  <a:gd name="T3" fmla="*/ 1 h 6"/>
                  <a:gd name="T4" fmla="*/ 0 w 15"/>
                  <a:gd name="T5" fmla="*/ 2 h 6"/>
                  <a:gd name="T6" fmla="*/ 10 w 15"/>
                  <a:gd name="T7" fmla="*/ 6 h 6"/>
                  <a:gd name="T8" fmla="*/ 11 w 15"/>
                  <a:gd name="T9" fmla="*/ 2 h 6"/>
                  <a:gd name="T10" fmla="*/ 11 w 15"/>
                  <a:gd name="T11" fmla="*/ 2 h 6"/>
                  <a:gd name="T12" fmla="*/ 10 w 15"/>
                  <a:gd name="T13" fmla="*/ 2 h 6"/>
                  <a:gd name="T14" fmla="*/ 9 w 15"/>
                  <a:gd name="T15" fmla="*/ 2 h 6"/>
                  <a:gd name="T16" fmla="*/ 8 w 15"/>
                  <a:gd name="T17" fmla="*/ 2 h 6"/>
                  <a:gd name="T18" fmla="*/ 7 w 15"/>
                  <a:gd name="T19" fmla="*/ 1 h 6"/>
                  <a:gd name="T20" fmla="*/ 5 w 15"/>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6">
                    <a:moveTo>
                      <a:pt x="5" y="0"/>
                    </a:moveTo>
                    <a:cubicBezTo>
                      <a:pt x="4" y="0"/>
                      <a:pt x="3" y="0"/>
                      <a:pt x="2" y="1"/>
                    </a:cubicBezTo>
                    <a:cubicBezTo>
                      <a:pt x="2" y="1"/>
                      <a:pt x="0" y="2"/>
                      <a:pt x="0" y="2"/>
                    </a:cubicBezTo>
                    <a:cubicBezTo>
                      <a:pt x="0" y="4"/>
                      <a:pt x="9" y="5"/>
                      <a:pt x="10" y="6"/>
                    </a:cubicBezTo>
                    <a:cubicBezTo>
                      <a:pt x="13" y="5"/>
                      <a:pt x="15" y="3"/>
                      <a:pt x="11" y="2"/>
                    </a:cubicBezTo>
                    <a:cubicBezTo>
                      <a:pt x="11" y="2"/>
                      <a:pt x="11" y="2"/>
                      <a:pt x="11" y="2"/>
                    </a:cubicBezTo>
                    <a:cubicBezTo>
                      <a:pt x="10" y="2"/>
                      <a:pt x="10" y="2"/>
                      <a:pt x="10" y="2"/>
                    </a:cubicBezTo>
                    <a:cubicBezTo>
                      <a:pt x="9" y="2"/>
                      <a:pt x="9" y="2"/>
                      <a:pt x="9" y="2"/>
                    </a:cubicBezTo>
                    <a:cubicBezTo>
                      <a:pt x="9" y="2"/>
                      <a:pt x="8" y="2"/>
                      <a:pt x="8" y="2"/>
                    </a:cubicBezTo>
                    <a:cubicBezTo>
                      <a:pt x="8" y="2"/>
                      <a:pt x="8" y="1"/>
                      <a:pt x="7" y="1"/>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74"/>
              <p:cNvSpPr/>
              <p:nvPr/>
            </p:nvSpPr>
            <p:spPr bwMode="auto">
              <a:xfrm>
                <a:off x="6067" y="3887"/>
                <a:ext cx="7" cy="22"/>
              </a:xfrm>
              <a:custGeom>
                <a:gdLst>
                  <a:gd name="T0" fmla="*/ 3 w 3"/>
                  <a:gd name="T1" fmla="*/ 0 h 9"/>
                  <a:gd name="T2" fmla="*/ 3 w 3"/>
                  <a:gd name="T3" fmla="*/ 0 h 9"/>
                  <a:gd name="T4" fmla="*/ 2 w 3"/>
                  <a:gd name="T5" fmla="*/ 2 h 9"/>
                  <a:gd name="T6" fmla="*/ 0 w 3"/>
                  <a:gd name="T7" fmla="*/ 7 h 9"/>
                  <a:gd name="T8" fmla="*/ 0 w 3"/>
                  <a:gd name="T9" fmla="*/ 9 h 9"/>
                  <a:gd name="T10" fmla="*/ 1 w 3"/>
                  <a:gd name="T11" fmla="*/ 8 h 9"/>
                  <a:gd name="T12" fmla="*/ 3 w 3"/>
                  <a:gd name="T13" fmla="*/ 2 h 9"/>
                  <a:gd name="T14" fmla="*/ 3 w 3"/>
                  <a:gd name="T15" fmla="*/ 0 h 9"/>
                  <a:gd name="T16" fmla="*/ 3 w 3"/>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3" y="0"/>
                    </a:moveTo>
                    <a:cubicBezTo>
                      <a:pt x="3" y="0"/>
                      <a:pt x="3" y="0"/>
                      <a:pt x="3" y="0"/>
                    </a:cubicBezTo>
                    <a:cubicBezTo>
                      <a:pt x="3" y="1"/>
                      <a:pt x="2" y="2"/>
                      <a:pt x="2" y="2"/>
                    </a:cubicBezTo>
                    <a:cubicBezTo>
                      <a:pt x="1" y="4"/>
                      <a:pt x="0" y="5"/>
                      <a:pt x="0" y="7"/>
                    </a:cubicBezTo>
                    <a:cubicBezTo>
                      <a:pt x="0" y="8"/>
                      <a:pt x="0" y="8"/>
                      <a:pt x="0" y="9"/>
                    </a:cubicBezTo>
                    <a:cubicBezTo>
                      <a:pt x="1" y="8"/>
                      <a:pt x="1" y="8"/>
                      <a:pt x="1" y="8"/>
                    </a:cubicBezTo>
                    <a:cubicBezTo>
                      <a:pt x="2" y="6"/>
                      <a:pt x="3" y="4"/>
                      <a:pt x="3" y="2"/>
                    </a:cubicBezTo>
                    <a:cubicBezTo>
                      <a:pt x="3" y="2"/>
                      <a:pt x="3"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75"/>
              <p:cNvSpPr/>
              <p:nvPr/>
            </p:nvSpPr>
            <p:spPr bwMode="auto">
              <a:xfrm>
                <a:off x="6057" y="3911"/>
                <a:ext cx="5" cy="5"/>
              </a:xfrm>
              <a:custGeom>
                <a:gdLst>
                  <a:gd name="T0" fmla="*/ 2 w 2"/>
                  <a:gd name="T1" fmla="*/ 0 h 2"/>
                  <a:gd name="T2" fmla="*/ 2 w 2"/>
                  <a:gd name="T3" fmla="*/ 0 h 2"/>
                  <a:gd name="T4" fmla="*/ 0 w 2"/>
                  <a:gd name="T5" fmla="*/ 2 h 2"/>
                  <a:gd name="T6" fmla="*/ 2 w 2"/>
                  <a:gd name="T7" fmla="*/ 0 h 2"/>
                  <a:gd name="T8" fmla="*/ 2 w 2"/>
                  <a:gd name="T9" fmla="*/ 0 h 2"/>
                </a:gdLst>
                <a:cxnLst>
                  <a:cxn ang="0">
                    <a:pos x="T0" y="T1"/>
                  </a:cxn>
                  <a:cxn ang="0">
                    <a:pos x="T2" y="T3"/>
                  </a:cxn>
                  <a:cxn ang="0">
                    <a:pos x="T4" y="T5"/>
                  </a:cxn>
                  <a:cxn ang="0">
                    <a:pos x="T6" y="T7"/>
                  </a:cxn>
                  <a:cxn ang="0">
                    <a:pos x="T8" y="T9"/>
                  </a:cxn>
                </a:cxnLst>
                <a:rect l="0" t="0" r="r" b="b"/>
                <a:pathLst>
                  <a:path w="2" h="2">
                    <a:moveTo>
                      <a:pt x="2" y="0"/>
                    </a:moveTo>
                    <a:cubicBezTo>
                      <a:pt x="2" y="0"/>
                      <a:pt x="2" y="0"/>
                      <a:pt x="2" y="0"/>
                    </a:cubicBezTo>
                    <a:cubicBezTo>
                      <a:pt x="1" y="1"/>
                      <a:pt x="1" y="1"/>
                      <a:pt x="0" y="2"/>
                    </a:cubicBezTo>
                    <a:cubicBezTo>
                      <a:pt x="1" y="2"/>
                      <a:pt x="2"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76"/>
              <p:cNvSpPr/>
              <p:nvPr/>
            </p:nvSpPr>
            <p:spPr bwMode="auto">
              <a:xfrm>
                <a:off x="4047" y="3972"/>
                <a:ext cx="2" cy="5"/>
              </a:xfrm>
              <a:custGeom>
                <a:gdLst>
                  <a:gd name="T0" fmla="*/ 1 w 1"/>
                  <a:gd name="T1" fmla="*/ 0 h 2"/>
                  <a:gd name="T2" fmla="*/ 0 w 1"/>
                  <a:gd name="T3" fmla="*/ 2 h 2"/>
                  <a:gd name="T4" fmla="*/ 0 w 1"/>
                  <a:gd name="T5" fmla="*/ 2 h 2"/>
                  <a:gd name="T6" fmla="*/ 1 w 1"/>
                  <a:gd name="T7" fmla="*/ 0 h 2"/>
                </a:gdLst>
                <a:cxnLst>
                  <a:cxn ang="0">
                    <a:pos x="T0" y="T1"/>
                  </a:cxn>
                  <a:cxn ang="0">
                    <a:pos x="T2" y="T3"/>
                  </a:cxn>
                  <a:cxn ang="0">
                    <a:pos x="T4" y="T5"/>
                  </a:cxn>
                  <a:cxn ang="0">
                    <a:pos x="T6" y="T7"/>
                  </a:cxn>
                </a:cxnLst>
                <a:rect l="0" t="0" r="r" b="b"/>
                <a:pathLst>
                  <a:path w="1" h="2">
                    <a:moveTo>
                      <a:pt x="1" y="0"/>
                    </a:moveTo>
                    <a:cubicBezTo>
                      <a:pt x="1" y="0"/>
                      <a:pt x="1" y="1"/>
                      <a:pt x="0" y="2"/>
                    </a:cubicBezTo>
                    <a:cubicBezTo>
                      <a:pt x="0" y="2"/>
                      <a:pt x="0" y="2"/>
                      <a:pt x="0" y="2"/>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Freeform 77"/>
              <p:cNvSpPr/>
              <p:nvPr/>
            </p:nvSpPr>
            <p:spPr bwMode="auto">
              <a:xfrm>
                <a:off x="5143" y="4074"/>
                <a:ext cx="7" cy="2"/>
              </a:xfrm>
              <a:custGeom>
                <a:gdLst>
                  <a:gd name="T0" fmla="*/ 0 w 3"/>
                  <a:gd name="T1" fmla="*/ 0 h 1"/>
                  <a:gd name="T2" fmla="*/ 2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1" y="1"/>
                      <a:pt x="2" y="1"/>
                      <a:pt x="2" y="1"/>
                    </a:cubicBezTo>
                    <a:cubicBezTo>
                      <a:pt x="3" y="1"/>
                      <a:pt x="3" y="1"/>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78"/>
              <p:cNvSpPr/>
              <p:nvPr/>
            </p:nvSpPr>
            <p:spPr bwMode="auto">
              <a:xfrm>
                <a:off x="4940" y="4024"/>
                <a:ext cx="7" cy="5"/>
              </a:xfrm>
              <a:custGeom>
                <a:gdLst>
                  <a:gd name="T0" fmla="*/ 2 w 3"/>
                  <a:gd name="T1" fmla="*/ 0 h 2"/>
                  <a:gd name="T2" fmla="*/ 0 w 3"/>
                  <a:gd name="T3" fmla="*/ 2 h 2"/>
                  <a:gd name="T4" fmla="*/ 2 w 3"/>
                  <a:gd name="T5" fmla="*/ 0 h 2"/>
                </a:gdLst>
                <a:cxnLst>
                  <a:cxn ang="0">
                    <a:pos x="T0" y="T1"/>
                  </a:cxn>
                  <a:cxn ang="0">
                    <a:pos x="T2" y="T3"/>
                  </a:cxn>
                  <a:cxn ang="0">
                    <a:pos x="T4" y="T5"/>
                  </a:cxn>
                </a:cxnLst>
                <a:rect l="0" t="0" r="r" b="b"/>
                <a:pathLst>
                  <a:path w="3" h="2">
                    <a:moveTo>
                      <a:pt x="2" y="0"/>
                    </a:moveTo>
                    <a:cubicBezTo>
                      <a:pt x="2" y="0"/>
                      <a:pt x="1" y="1"/>
                      <a:pt x="0" y="2"/>
                    </a:cubicBezTo>
                    <a:cubicBezTo>
                      <a:pt x="2" y="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79"/>
              <p:cNvSpPr/>
              <p:nvPr/>
            </p:nvSpPr>
            <p:spPr bwMode="auto">
              <a:xfrm>
                <a:off x="4037" y="3961"/>
                <a:ext cx="17" cy="9"/>
              </a:xfrm>
              <a:custGeom>
                <a:gdLst>
                  <a:gd name="T0" fmla="*/ 5 w 7"/>
                  <a:gd name="T1" fmla="*/ 0 h 4"/>
                  <a:gd name="T2" fmla="*/ 2 w 7"/>
                  <a:gd name="T3" fmla="*/ 1 h 4"/>
                  <a:gd name="T4" fmla="*/ 0 w 7"/>
                  <a:gd name="T5" fmla="*/ 1 h 4"/>
                  <a:gd name="T6" fmla="*/ 4 w 7"/>
                  <a:gd name="T7" fmla="*/ 4 h 4"/>
                  <a:gd name="T8" fmla="*/ 5 w 7"/>
                  <a:gd name="T9" fmla="*/ 0 h 4"/>
                </a:gdLst>
                <a:cxnLst>
                  <a:cxn ang="0">
                    <a:pos x="T0" y="T1"/>
                  </a:cxn>
                  <a:cxn ang="0">
                    <a:pos x="T2" y="T3"/>
                  </a:cxn>
                  <a:cxn ang="0">
                    <a:pos x="T4" y="T5"/>
                  </a:cxn>
                  <a:cxn ang="0">
                    <a:pos x="T6" y="T7"/>
                  </a:cxn>
                  <a:cxn ang="0">
                    <a:pos x="T8" y="T9"/>
                  </a:cxn>
                </a:cxnLst>
                <a:rect l="0" t="0" r="r" b="b"/>
                <a:pathLst>
                  <a:path w="7" h="4">
                    <a:moveTo>
                      <a:pt x="5" y="0"/>
                    </a:moveTo>
                    <a:cubicBezTo>
                      <a:pt x="4" y="1"/>
                      <a:pt x="3" y="1"/>
                      <a:pt x="2" y="1"/>
                    </a:cubicBezTo>
                    <a:cubicBezTo>
                      <a:pt x="2" y="1"/>
                      <a:pt x="1" y="1"/>
                      <a:pt x="0" y="1"/>
                    </a:cubicBezTo>
                    <a:cubicBezTo>
                      <a:pt x="0" y="3"/>
                      <a:pt x="2" y="4"/>
                      <a:pt x="4" y="4"/>
                    </a:cubicBezTo>
                    <a:cubicBezTo>
                      <a:pt x="6" y="4"/>
                      <a:pt x="7"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80"/>
              <p:cNvSpPr/>
              <p:nvPr/>
            </p:nvSpPr>
            <p:spPr bwMode="auto">
              <a:xfrm>
                <a:off x="5067" y="3946"/>
                <a:ext cx="10" cy="3"/>
              </a:xfrm>
              <a:custGeom>
                <a:gdLst>
                  <a:gd name="T0" fmla="*/ 4 w 4"/>
                  <a:gd name="T1" fmla="*/ 0 h 1"/>
                  <a:gd name="T2" fmla="*/ 0 w 4"/>
                  <a:gd name="T3" fmla="*/ 1 h 1"/>
                  <a:gd name="T4" fmla="*/ 2 w 4"/>
                  <a:gd name="T5" fmla="*/ 1 h 1"/>
                  <a:gd name="T6" fmla="*/ 4 w 4"/>
                  <a:gd name="T7" fmla="*/ 0 h 1"/>
                  <a:gd name="T8" fmla="*/ 4 w 4"/>
                  <a:gd name="T9" fmla="*/ 0 h 1"/>
                </a:gdLst>
                <a:cxnLst>
                  <a:cxn ang="0">
                    <a:pos x="T0" y="T1"/>
                  </a:cxn>
                  <a:cxn ang="0">
                    <a:pos x="T2" y="T3"/>
                  </a:cxn>
                  <a:cxn ang="0">
                    <a:pos x="T4" y="T5"/>
                  </a:cxn>
                  <a:cxn ang="0">
                    <a:pos x="T6" y="T7"/>
                  </a:cxn>
                  <a:cxn ang="0">
                    <a:pos x="T8" y="T9"/>
                  </a:cxn>
                </a:cxnLst>
                <a:rect l="0" t="0" r="r" b="b"/>
                <a:pathLst>
                  <a:path w="4" h="1">
                    <a:moveTo>
                      <a:pt x="4" y="0"/>
                    </a:moveTo>
                    <a:cubicBezTo>
                      <a:pt x="2" y="0"/>
                      <a:pt x="1" y="0"/>
                      <a:pt x="0" y="1"/>
                    </a:cubicBezTo>
                    <a:cubicBezTo>
                      <a:pt x="1" y="1"/>
                      <a:pt x="2" y="1"/>
                      <a:pt x="2" y="1"/>
                    </a:cubicBezTo>
                    <a:cubicBezTo>
                      <a:pt x="3" y="1"/>
                      <a:pt x="4"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81"/>
              <p:cNvSpPr/>
              <p:nvPr/>
            </p:nvSpPr>
            <p:spPr bwMode="auto">
              <a:xfrm>
                <a:off x="5051" y="3909"/>
                <a:ext cx="14" cy="14"/>
              </a:xfrm>
              <a:custGeom>
                <a:gdLst>
                  <a:gd name="T0" fmla="*/ 5 w 6"/>
                  <a:gd name="T1" fmla="*/ 0 h 6"/>
                  <a:gd name="T2" fmla="*/ 1 w 6"/>
                  <a:gd name="T3" fmla="*/ 1 h 6"/>
                  <a:gd name="T4" fmla="*/ 0 w 6"/>
                  <a:gd name="T5" fmla="*/ 6 h 6"/>
                  <a:gd name="T6" fmla="*/ 5 w 6"/>
                  <a:gd name="T7" fmla="*/ 4 h 6"/>
                  <a:gd name="T8" fmla="*/ 5 w 6"/>
                  <a:gd name="T9" fmla="*/ 0 h 6"/>
                </a:gdLst>
                <a:cxnLst>
                  <a:cxn ang="0">
                    <a:pos x="T0" y="T1"/>
                  </a:cxn>
                  <a:cxn ang="0">
                    <a:pos x="T2" y="T3"/>
                  </a:cxn>
                  <a:cxn ang="0">
                    <a:pos x="T4" y="T5"/>
                  </a:cxn>
                  <a:cxn ang="0">
                    <a:pos x="T6" y="T7"/>
                  </a:cxn>
                  <a:cxn ang="0">
                    <a:pos x="T8" y="T9"/>
                  </a:cxn>
                </a:cxnLst>
                <a:rect l="0" t="0" r="r" b="b"/>
                <a:pathLst>
                  <a:path w="6" h="6">
                    <a:moveTo>
                      <a:pt x="5" y="0"/>
                    </a:moveTo>
                    <a:cubicBezTo>
                      <a:pt x="4" y="0"/>
                      <a:pt x="3" y="1"/>
                      <a:pt x="1" y="1"/>
                    </a:cubicBezTo>
                    <a:cubicBezTo>
                      <a:pt x="0" y="3"/>
                      <a:pt x="0" y="4"/>
                      <a:pt x="0" y="6"/>
                    </a:cubicBezTo>
                    <a:cubicBezTo>
                      <a:pt x="1" y="5"/>
                      <a:pt x="5" y="4"/>
                      <a:pt x="5" y="4"/>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82"/>
              <p:cNvSpPr/>
              <p:nvPr/>
            </p:nvSpPr>
            <p:spPr bwMode="auto">
              <a:xfrm>
                <a:off x="4297" y="4169"/>
                <a:ext cx="5" cy="9"/>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1" y="2"/>
                      <a:pt x="0" y="3"/>
                      <a:pt x="1" y="4"/>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83"/>
              <p:cNvSpPr/>
              <p:nvPr/>
            </p:nvSpPr>
            <p:spPr bwMode="auto">
              <a:xfrm>
                <a:off x="4715" y="4176"/>
                <a:ext cx="7" cy="21"/>
              </a:xfrm>
              <a:custGeom>
                <a:gdLst>
                  <a:gd name="T0" fmla="*/ 1 w 3"/>
                  <a:gd name="T1" fmla="*/ 0 h 9"/>
                  <a:gd name="T2" fmla="*/ 0 w 3"/>
                  <a:gd name="T3" fmla="*/ 7 h 9"/>
                  <a:gd name="T4" fmla="*/ 2 w 3"/>
                  <a:gd name="T5" fmla="*/ 9 h 9"/>
                  <a:gd name="T6" fmla="*/ 1 w 3"/>
                  <a:gd name="T7" fmla="*/ 0 h 9"/>
                </a:gdLst>
                <a:cxnLst>
                  <a:cxn ang="0">
                    <a:pos x="T0" y="T1"/>
                  </a:cxn>
                  <a:cxn ang="0">
                    <a:pos x="T2" y="T3"/>
                  </a:cxn>
                  <a:cxn ang="0">
                    <a:pos x="T4" y="T5"/>
                  </a:cxn>
                  <a:cxn ang="0">
                    <a:pos x="T6" y="T7"/>
                  </a:cxn>
                </a:cxnLst>
                <a:rect l="0" t="0" r="r" b="b"/>
                <a:pathLst>
                  <a:path w="3" h="9">
                    <a:moveTo>
                      <a:pt x="1" y="0"/>
                    </a:moveTo>
                    <a:cubicBezTo>
                      <a:pt x="1" y="2"/>
                      <a:pt x="1" y="4"/>
                      <a:pt x="0" y="7"/>
                    </a:cubicBezTo>
                    <a:cubicBezTo>
                      <a:pt x="1" y="9"/>
                      <a:pt x="2" y="9"/>
                      <a:pt x="2" y="9"/>
                    </a:cubicBezTo>
                    <a:cubicBezTo>
                      <a:pt x="3" y="9"/>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84"/>
              <p:cNvSpPr/>
              <p:nvPr/>
            </p:nvSpPr>
            <p:spPr bwMode="auto">
              <a:xfrm>
                <a:off x="5129" y="4065"/>
                <a:ext cx="12" cy="4"/>
              </a:xfrm>
              <a:custGeom>
                <a:gdLst>
                  <a:gd name="T0" fmla="*/ 0 w 5"/>
                  <a:gd name="T1" fmla="*/ 0 h 2"/>
                  <a:gd name="T2" fmla="*/ 4 w 5"/>
                  <a:gd name="T3" fmla="*/ 2 h 2"/>
                  <a:gd name="T4" fmla="*/ 5 w 5"/>
                  <a:gd name="T5" fmla="*/ 1 h 2"/>
                  <a:gd name="T6" fmla="*/ 0 w 5"/>
                  <a:gd name="T7" fmla="*/ 0 h 2"/>
                </a:gdLst>
                <a:cxnLst>
                  <a:cxn ang="0">
                    <a:pos x="T0" y="T1"/>
                  </a:cxn>
                  <a:cxn ang="0">
                    <a:pos x="T2" y="T3"/>
                  </a:cxn>
                  <a:cxn ang="0">
                    <a:pos x="T4" y="T5"/>
                  </a:cxn>
                  <a:cxn ang="0">
                    <a:pos x="T6" y="T7"/>
                  </a:cxn>
                </a:cxnLst>
                <a:rect l="0" t="0" r="r" b="b"/>
                <a:pathLst>
                  <a:path w="5" h="2">
                    <a:moveTo>
                      <a:pt x="0" y="0"/>
                    </a:moveTo>
                    <a:cubicBezTo>
                      <a:pt x="1" y="1"/>
                      <a:pt x="2" y="2"/>
                      <a:pt x="4" y="2"/>
                    </a:cubicBezTo>
                    <a:cubicBezTo>
                      <a:pt x="4" y="2"/>
                      <a:pt x="4" y="1"/>
                      <a:pt x="5" y="1"/>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85"/>
              <p:cNvSpPr/>
              <p:nvPr/>
            </p:nvSpPr>
            <p:spPr bwMode="auto">
              <a:xfrm>
                <a:off x="1653" y="3117"/>
                <a:ext cx="16" cy="30"/>
              </a:xfrm>
              <a:custGeom>
                <a:gdLst>
                  <a:gd name="T0" fmla="*/ 6 w 7"/>
                  <a:gd name="T1" fmla="*/ 0 h 13"/>
                  <a:gd name="T2" fmla="*/ 0 w 7"/>
                  <a:gd name="T3" fmla="*/ 13 h 13"/>
                  <a:gd name="T4" fmla="*/ 7 w 7"/>
                  <a:gd name="T5" fmla="*/ 4 h 13"/>
                  <a:gd name="T6" fmla="*/ 6 w 7"/>
                  <a:gd name="T7" fmla="*/ 0 h 13"/>
                </a:gdLst>
                <a:cxnLst>
                  <a:cxn ang="0">
                    <a:pos x="T0" y="T1"/>
                  </a:cxn>
                  <a:cxn ang="0">
                    <a:pos x="T2" y="T3"/>
                  </a:cxn>
                  <a:cxn ang="0">
                    <a:pos x="T4" y="T5"/>
                  </a:cxn>
                  <a:cxn ang="0">
                    <a:pos x="T6" y="T7"/>
                  </a:cxn>
                </a:cxnLst>
                <a:rect l="0" t="0" r="r" b="b"/>
                <a:pathLst>
                  <a:path w="7" h="13">
                    <a:moveTo>
                      <a:pt x="6" y="0"/>
                    </a:moveTo>
                    <a:cubicBezTo>
                      <a:pt x="4" y="4"/>
                      <a:pt x="2" y="8"/>
                      <a:pt x="0" y="13"/>
                    </a:cubicBezTo>
                    <a:cubicBezTo>
                      <a:pt x="3" y="10"/>
                      <a:pt x="3" y="6"/>
                      <a:pt x="7" y="4"/>
                    </a:cubicBezTo>
                    <a:cubicBezTo>
                      <a:pt x="7" y="3"/>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86"/>
              <p:cNvSpPr/>
              <p:nvPr/>
            </p:nvSpPr>
            <p:spPr bwMode="auto">
              <a:xfrm>
                <a:off x="5715" y="2216"/>
                <a:ext cx="14" cy="14"/>
              </a:xfrm>
              <a:custGeom>
                <a:gdLst>
                  <a:gd name="T0" fmla="*/ 6 w 6"/>
                  <a:gd name="T1" fmla="*/ 0 h 6"/>
                  <a:gd name="T2" fmla="*/ 1 w 6"/>
                  <a:gd name="T3" fmla="*/ 2 h 6"/>
                  <a:gd name="T4" fmla="*/ 3 w 6"/>
                  <a:gd name="T5" fmla="*/ 6 h 6"/>
                  <a:gd name="T6" fmla="*/ 3 w 6"/>
                  <a:gd name="T7" fmla="*/ 6 h 6"/>
                  <a:gd name="T8" fmla="*/ 6 w 6"/>
                  <a:gd name="T9" fmla="*/ 0 h 6"/>
                  <a:gd name="T10" fmla="*/ 6 w 6"/>
                  <a:gd name="T11" fmla="*/ 0 h 6"/>
                </a:gdLst>
                <a:cxnLst>
                  <a:cxn ang="0">
                    <a:pos x="T0" y="T1"/>
                  </a:cxn>
                  <a:cxn ang="0">
                    <a:pos x="T2" y="T3"/>
                  </a:cxn>
                  <a:cxn ang="0">
                    <a:pos x="T4" y="T5"/>
                  </a:cxn>
                  <a:cxn ang="0">
                    <a:pos x="T6" y="T7"/>
                  </a:cxn>
                  <a:cxn ang="0">
                    <a:pos x="T8" y="T9"/>
                  </a:cxn>
                  <a:cxn ang="0">
                    <a:pos x="T10" y="T11"/>
                  </a:cxn>
                </a:cxnLst>
                <a:rect l="0" t="0" r="r" b="b"/>
                <a:pathLst>
                  <a:path w="6" h="6">
                    <a:moveTo>
                      <a:pt x="6" y="0"/>
                    </a:moveTo>
                    <a:cubicBezTo>
                      <a:pt x="4" y="0"/>
                      <a:pt x="2" y="1"/>
                      <a:pt x="1" y="2"/>
                    </a:cubicBezTo>
                    <a:cubicBezTo>
                      <a:pt x="1" y="3"/>
                      <a:pt x="0" y="5"/>
                      <a:pt x="3" y="6"/>
                    </a:cubicBezTo>
                    <a:cubicBezTo>
                      <a:pt x="3" y="6"/>
                      <a:pt x="3" y="6"/>
                      <a:pt x="3" y="6"/>
                    </a:cubicBezTo>
                    <a:cubicBezTo>
                      <a:pt x="4" y="4"/>
                      <a:pt x="5" y="2"/>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87"/>
              <p:cNvSpPr/>
              <p:nvPr/>
            </p:nvSpPr>
            <p:spPr bwMode="auto">
              <a:xfrm>
                <a:off x="5755" y="2256"/>
                <a:ext cx="9" cy="14"/>
              </a:xfrm>
              <a:custGeom>
                <a:gdLst>
                  <a:gd name="T0" fmla="*/ 1 w 4"/>
                  <a:gd name="T1" fmla="*/ 0 h 6"/>
                  <a:gd name="T2" fmla="*/ 0 w 4"/>
                  <a:gd name="T3" fmla="*/ 6 h 6"/>
                  <a:gd name="T4" fmla="*/ 4 w 4"/>
                  <a:gd name="T5" fmla="*/ 3 h 6"/>
                  <a:gd name="T6" fmla="*/ 1 w 4"/>
                  <a:gd name="T7" fmla="*/ 0 h 6"/>
                </a:gdLst>
                <a:cxnLst>
                  <a:cxn ang="0">
                    <a:pos x="T0" y="T1"/>
                  </a:cxn>
                  <a:cxn ang="0">
                    <a:pos x="T2" y="T3"/>
                  </a:cxn>
                  <a:cxn ang="0">
                    <a:pos x="T4" y="T5"/>
                  </a:cxn>
                  <a:cxn ang="0">
                    <a:pos x="T6" y="T7"/>
                  </a:cxn>
                </a:cxnLst>
                <a:rect l="0" t="0" r="r" b="b"/>
                <a:pathLst>
                  <a:path w="4" h="6">
                    <a:moveTo>
                      <a:pt x="1" y="0"/>
                    </a:moveTo>
                    <a:cubicBezTo>
                      <a:pt x="1" y="2"/>
                      <a:pt x="0" y="4"/>
                      <a:pt x="0" y="6"/>
                    </a:cubicBezTo>
                    <a:cubicBezTo>
                      <a:pt x="2" y="5"/>
                      <a:pt x="3" y="4"/>
                      <a:pt x="4" y="3"/>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88"/>
              <p:cNvSpPr/>
              <p:nvPr/>
            </p:nvSpPr>
            <p:spPr bwMode="auto">
              <a:xfrm>
                <a:off x="5760" y="2233"/>
                <a:ext cx="12" cy="23"/>
              </a:xfrm>
              <a:custGeom>
                <a:gdLst>
                  <a:gd name="T0" fmla="*/ 5 w 5"/>
                  <a:gd name="T1" fmla="*/ 0 h 10"/>
                  <a:gd name="T2" fmla="*/ 2 w 5"/>
                  <a:gd name="T3" fmla="*/ 3 h 10"/>
                  <a:gd name="T4" fmla="*/ 1 w 5"/>
                  <a:gd name="T5" fmla="*/ 5 h 10"/>
                  <a:gd name="T6" fmla="*/ 0 w 5"/>
                  <a:gd name="T7" fmla="*/ 9 h 10"/>
                  <a:gd name="T8" fmla="*/ 3 w 5"/>
                  <a:gd name="T9" fmla="*/ 10 h 10"/>
                  <a:gd name="T10" fmla="*/ 5 w 5"/>
                  <a:gd name="T11" fmla="*/ 0 h 10"/>
                </a:gdLst>
                <a:cxnLst>
                  <a:cxn ang="0">
                    <a:pos x="T0" y="T1"/>
                  </a:cxn>
                  <a:cxn ang="0">
                    <a:pos x="T2" y="T3"/>
                  </a:cxn>
                  <a:cxn ang="0">
                    <a:pos x="T4" y="T5"/>
                  </a:cxn>
                  <a:cxn ang="0">
                    <a:pos x="T6" y="T7"/>
                  </a:cxn>
                  <a:cxn ang="0">
                    <a:pos x="T8" y="T9"/>
                  </a:cxn>
                  <a:cxn ang="0">
                    <a:pos x="T10" y="T11"/>
                  </a:cxn>
                </a:cxnLst>
                <a:rect l="0" t="0" r="r" b="b"/>
                <a:pathLst>
                  <a:path w="5" h="10">
                    <a:moveTo>
                      <a:pt x="5" y="0"/>
                    </a:moveTo>
                    <a:cubicBezTo>
                      <a:pt x="4" y="2"/>
                      <a:pt x="3" y="1"/>
                      <a:pt x="2" y="3"/>
                    </a:cubicBezTo>
                    <a:cubicBezTo>
                      <a:pt x="1" y="4"/>
                      <a:pt x="1" y="4"/>
                      <a:pt x="1" y="5"/>
                    </a:cubicBezTo>
                    <a:cubicBezTo>
                      <a:pt x="1" y="7"/>
                      <a:pt x="1" y="8"/>
                      <a:pt x="0" y="9"/>
                    </a:cubicBezTo>
                    <a:cubicBezTo>
                      <a:pt x="1" y="10"/>
                      <a:pt x="2" y="10"/>
                      <a:pt x="3" y="10"/>
                    </a:cubicBezTo>
                    <a:cubicBezTo>
                      <a:pt x="3" y="7"/>
                      <a:pt x="4"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89"/>
              <p:cNvSpPr/>
              <p:nvPr/>
            </p:nvSpPr>
            <p:spPr bwMode="auto">
              <a:xfrm>
                <a:off x="5578" y="2242"/>
                <a:ext cx="16" cy="10"/>
              </a:xfrm>
              <a:custGeom>
                <a:gdLst>
                  <a:gd name="T0" fmla="*/ 4 w 7"/>
                  <a:gd name="T1" fmla="*/ 0 h 4"/>
                  <a:gd name="T2" fmla="*/ 2 w 7"/>
                  <a:gd name="T3" fmla="*/ 2 h 4"/>
                  <a:gd name="T4" fmla="*/ 0 w 7"/>
                  <a:gd name="T5" fmla="*/ 4 h 4"/>
                  <a:gd name="T6" fmla="*/ 7 w 7"/>
                  <a:gd name="T7" fmla="*/ 2 h 4"/>
                  <a:gd name="T8" fmla="*/ 4 w 7"/>
                  <a:gd name="T9" fmla="*/ 0 h 4"/>
                </a:gdLst>
                <a:cxnLst>
                  <a:cxn ang="0">
                    <a:pos x="T0" y="T1"/>
                  </a:cxn>
                  <a:cxn ang="0">
                    <a:pos x="T2" y="T3"/>
                  </a:cxn>
                  <a:cxn ang="0">
                    <a:pos x="T4" y="T5"/>
                  </a:cxn>
                  <a:cxn ang="0">
                    <a:pos x="T6" y="T7"/>
                  </a:cxn>
                  <a:cxn ang="0">
                    <a:pos x="T8" y="T9"/>
                  </a:cxn>
                </a:cxnLst>
                <a:rect l="0" t="0" r="r" b="b"/>
                <a:pathLst>
                  <a:path w="7" h="4">
                    <a:moveTo>
                      <a:pt x="4" y="0"/>
                    </a:moveTo>
                    <a:cubicBezTo>
                      <a:pt x="3" y="0"/>
                      <a:pt x="3" y="1"/>
                      <a:pt x="2" y="2"/>
                    </a:cubicBezTo>
                    <a:cubicBezTo>
                      <a:pt x="1" y="3"/>
                      <a:pt x="0" y="3"/>
                      <a:pt x="0" y="4"/>
                    </a:cubicBezTo>
                    <a:cubicBezTo>
                      <a:pt x="2" y="4"/>
                      <a:pt x="4" y="3"/>
                      <a:pt x="7" y="2"/>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90"/>
              <p:cNvSpPr/>
              <p:nvPr/>
            </p:nvSpPr>
            <p:spPr bwMode="auto">
              <a:xfrm>
                <a:off x="5677" y="2218"/>
                <a:ext cx="14" cy="15"/>
              </a:xfrm>
              <a:custGeom>
                <a:gdLst>
                  <a:gd name="T0" fmla="*/ 3 w 6"/>
                  <a:gd name="T1" fmla="*/ 0 h 6"/>
                  <a:gd name="T2" fmla="*/ 1 w 6"/>
                  <a:gd name="T3" fmla="*/ 4 h 6"/>
                  <a:gd name="T4" fmla="*/ 6 w 6"/>
                  <a:gd name="T5" fmla="*/ 6 h 6"/>
                  <a:gd name="T6" fmla="*/ 3 w 6"/>
                  <a:gd name="T7" fmla="*/ 0 h 6"/>
                </a:gdLst>
                <a:cxnLst>
                  <a:cxn ang="0">
                    <a:pos x="T0" y="T1"/>
                  </a:cxn>
                  <a:cxn ang="0">
                    <a:pos x="T2" y="T3"/>
                  </a:cxn>
                  <a:cxn ang="0">
                    <a:pos x="T4" y="T5"/>
                  </a:cxn>
                  <a:cxn ang="0">
                    <a:pos x="T6" y="T7"/>
                  </a:cxn>
                </a:cxnLst>
                <a:rect l="0" t="0" r="r" b="b"/>
                <a:pathLst>
                  <a:path w="6" h="6">
                    <a:moveTo>
                      <a:pt x="3" y="0"/>
                    </a:moveTo>
                    <a:cubicBezTo>
                      <a:pt x="0" y="0"/>
                      <a:pt x="0" y="2"/>
                      <a:pt x="1" y="4"/>
                    </a:cubicBezTo>
                    <a:cubicBezTo>
                      <a:pt x="2" y="6"/>
                      <a:pt x="3" y="6"/>
                      <a:pt x="6" y="6"/>
                    </a:cubicBezTo>
                    <a:cubicBezTo>
                      <a:pt x="5" y="4"/>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91"/>
              <p:cNvSpPr/>
              <p:nvPr/>
            </p:nvSpPr>
            <p:spPr bwMode="auto">
              <a:xfrm>
                <a:off x="5580" y="2311"/>
                <a:ext cx="47" cy="21"/>
              </a:xfrm>
              <a:custGeom>
                <a:gdLst>
                  <a:gd name="T0" fmla="*/ 8 w 20"/>
                  <a:gd name="T1" fmla="*/ 0 h 9"/>
                  <a:gd name="T2" fmla="*/ 0 w 20"/>
                  <a:gd name="T3" fmla="*/ 6 h 9"/>
                  <a:gd name="T4" fmla="*/ 5 w 20"/>
                  <a:gd name="T5" fmla="*/ 9 h 9"/>
                  <a:gd name="T6" fmla="*/ 20 w 20"/>
                  <a:gd name="T7" fmla="*/ 1 h 9"/>
                  <a:gd name="T8" fmla="*/ 8 w 20"/>
                  <a:gd name="T9" fmla="*/ 0 h 9"/>
                </a:gdLst>
                <a:cxnLst>
                  <a:cxn ang="0">
                    <a:pos x="T0" y="T1"/>
                  </a:cxn>
                  <a:cxn ang="0">
                    <a:pos x="T2" y="T3"/>
                  </a:cxn>
                  <a:cxn ang="0">
                    <a:pos x="T4" y="T5"/>
                  </a:cxn>
                  <a:cxn ang="0">
                    <a:pos x="T6" y="T7"/>
                  </a:cxn>
                  <a:cxn ang="0">
                    <a:pos x="T8" y="T9"/>
                  </a:cxn>
                </a:cxnLst>
                <a:rect l="0" t="0" r="r" b="b"/>
                <a:pathLst>
                  <a:path w="20" h="9">
                    <a:moveTo>
                      <a:pt x="8" y="0"/>
                    </a:moveTo>
                    <a:cubicBezTo>
                      <a:pt x="6" y="2"/>
                      <a:pt x="3" y="4"/>
                      <a:pt x="0" y="6"/>
                    </a:cubicBezTo>
                    <a:cubicBezTo>
                      <a:pt x="2" y="8"/>
                      <a:pt x="3" y="9"/>
                      <a:pt x="5" y="9"/>
                    </a:cubicBezTo>
                    <a:cubicBezTo>
                      <a:pt x="10" y="9"/>
                      <a:pt x="16" y="4"/>
                      <a:pt x="20" y="1"/>
                    </a:cubicBezTo>
                    <a:cubicBezTo>
                      <a:pt x="16" y="1"/>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92"/>
              <p:cNvSpPr/>
              <p:nvPr/>
            </p:nvSpPr>
            <p:spPr bwMode="auto">
              <a:xfrm>
                <a:off x="6350" y="2228"/>
                <a:ext cx="3" cy="7"/>
              </a:xfrm>
              <a:custGeom>
                <a:gdLst>
                  <a:gd name="T0" fmla="*/ 1 w 1"/>
                  <a:gd name="T1" fmla="*/ 0 h 3"/>
                  <a:gd name="T2" fmla="*/ 1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93"/>
              <p:cNvSpPr/>
              <p:nvPr/>
            </p:nvSpPr>
            <p:spPr bwMode="auto">
              <a:xfrm>
                <a:off x="6372" y="1488"/>
                <a:ext cx="352" cy="291"/>
              </a:xfrm>
              <a:custGeom>
                <a:gdLst>
                  <a:gd name="T0" fmla="*/ 49 w 149"/>
                  <a:gd name="T1" fmla="*/ 3 h 123"/>
                  <a:gd name="T2" fmla="*/ 47 w 149"/>
                  <a:gd name="T3" fmla="*/ 3 h 123"/>
                  <a:gd name="T4" fmla="*/ 46 w 149"/>
                  <a:gd name="T5" fmla="*/ 14 h 123"/>
                  <a:gd name="T6" fmla="*/ 47 w 149"/>
                  <a:gd name="T7" fmla="*/ 45 h 123"/>
                  <a:gd name="T8" fmla="*/ 40 w 149"/>
                  <a:gd name="T9" fmla="*/ 63 h 123"/>
                  <a:gd name="T10" fmla="*/ 34 w 149"/>
                  <a:gd name="T11" fmla="*/ 72 h 123"/>
                  <a:gd name="T12" fmla="*/ 29 w 149"/>
                  <a:gd name="T13" fmla="*/ 70 h 123"/>
                  <a:gd name="T14" fmla="*/ 28 w 149"/>
                  <a:gd name="T15" fmla="*/ 70 h 123"/>
                  <a:gd name="T16" fmla="*/ 25 w 149"/>
                  <a:gd name="T17" fmla="*/ 70 h 123"/>
                  <a:gd name="T18" fmla="*/ 17 w 149"/>
                  <a:gd name="T19" fmla="*/ 66 h 123"/>
                  <a:gd name="T20" fmla="*/ 18 w 149"/>
                  <a:gd name="T21" fmla="*/ 74 h 123"/>
                  <a:gd name="T22" fmla="*/ 13 w 149"/>
                  <a:gd name="T23" fmla="*/ 83 h 123"/>
                  <a:gd name="T24" fmla="*/ 12 w 149"/>
                  <a:gd name="T25" fmla="*/ 83 h 123"/>
                  <a:gd name="T26" fmla="*/ 10 w 149"/>
                  <a:gd name="T27" fmla="*/ 83 h 123"/>
                  <a:gd name="T28" fmla="*/ 6 w 149"/>
                  <a:gd name="T29" fmla="*/ 86 h 123"/>
                  <a:gd name="T30" fmla="*/ 5 w 149"/>
                  <a:gd name="T31" fmla="*/ 86 h 123"/>
                  <a:gd name="T32" fmla="*/ 1 w 149"/>
                  <a:gd name="T33" fmla="*/ 96 h 123"/>
                  <a:gd name="T34" fmla="*/ 7 w 149"/>
                  <a:gd name="T35" fmla="*/ 115 h 123"/>
                  <a:gd name="T36" fmla="*/ 11 w 149"/>
                  <a:gd name="T37" fmla="*/ 123 h 123"/>
                  <a:gd name="T38" fmla="*/ 17 w 149"/>
                  <a:gd name="T39" fmla="*/ 117 h 123"/>
                  <a:gd name="T40" fmla="*/ 21 w 149"/>
                  <a:gd name="T41" fmla="*/ 113 h 123"/>
                  <a:gd name="T42" fmla="*/ 23 w 149"/>
                  <a:gd name="T43" fmla="*/ 112 h 123"/>
                  <a:gd name="T44" fmla="*/ 30 w 149"/>
                  <a:gd name="T45" fmla="*/ 114 h 123"/>
                  <a:gd name="T46" fmla="*/ 30 w 149"/>
                  <a:gd name="T47" fmla="*/ 109 h 123"/>
                  <a:gd name="T48" fmla="*/ 21 w 149"/>
                  <a:gd name="T49" fmla="*/ 102 h 123"/>
                  <a:gd name="T50" fmla="*/ 13 w 149"/>
                  <a:gd name="T51" fmla="*/ 95 h 123"/>
                  <a:gd name="T52" fmla="*/ 25 w 149"/>
                  <a:gd name="T53" fmla="*/ 91 h 123"/>
                  <a:gd name="T54" fmla="*/ 29 w 149"/>
                  <a:gd name="T55" fmla="*/ 97 h 123"/>
                  <a:gd name="T56" fmla="*/ 39 w 149"/>
                  <a:gd name="T57" fmla="*/ 90 h 123"/>
                  <a:gd name="T58" fmla="*/ 53 w 149"/>
                  <a:gd name="T59" fmla="*/ 89 h 123"/>
                  <a:gd name="T60" fmla="*/ 65 w 149"/>
                  <a:gd name="T61" fmla="*/ 97 h 123"/>
                  <a:gd name="T62" fmla="*/ 84 w 149"/>
                  <a:gd name="T63" fmla="*/ 107 h 123"/>
                  <a:gd name="T64" fmla="*/ 88 w 149"/>
                  <a:gd name="T65" fmla="*/ 102 h 123"/>
                  <a:gd name="T66" fmla="*/ 95 w 149"/>
                  <a:gd name="T67" fmla="*/ 87 h 123"/>
                  <a:gd name="T68" fmla="*/ 115 w 149"/>
                  <a:gd name="T69" fmla="*/ 78 h 123"/>
                  <a:gd name="T70" fmla="*/ 121 w 149"/>
                  <a:gd name="T71" fmla="*/ 78 h 123"/>
                  <a:gd name="T72" fmla="*/ 124 w 149"/>
                  <a:gd name="T73" fmla="*/ 75 h 123"/>
                  <a:gd name="T74" fmla="*/ 127 w 149"/>
                  <a:gd name="T75" fmla="*/ 77 h 123"/>
                  <a:gd name="T76" fmla="*/ 131 w 149"/>
                  <a:gd name="T77" fmla="*/ 75 h 123"/>
                  <a:gd name="T78" fmla="*/ 142 w 149"/>
                  <a:gd name="T79" fmla="*/ 69 h 123"/>
                  <a:gd name="T80" fmla="*/ 136 w 149"/>
                  <a:gd name="T81" fmla="*/ 63 h 123"/>
                  <a:gd name="T82" fmla="*/ 138 w 149"/>
                  <a:gd name="T83" fmla="*/ 60 h 123"/>
                  <a:gd name="T84" fmla="*/ 132 w 149"/>
                  <a:gd name="T85" fmla="*/ 50 h 123"/>
                  <a:gd name="T86" fmla="*/ 138 w 149"/>
                  <a:gd name="T87" fmla="*/ 36 h 123"/>
                  <a:gd name="T88" fmla="*/ 121 w 149"/>
                  <a:gd name="T89" fmla="*/ 49 h 123"/>
                  <a:gd name="T90" fmla="*/ 110 w 149"/>
                  <a:gd name="T91" fmla="*/ 46 h 123"/>
                  <a:gd name="T92" fmla="*/ 108 w 149"/>
                  <a:gd name="T93" fmla="*/ 44 h 123"/>
                  <a:gd name="T94" fmla="*/ 103 w 149"/>
                  <a:gd name="T95" fmla="*/ 43 h 123"/>
                  <a:gd name="T96" fmla="*/ 80 w 149"/>
                  <a:gd name="T97" fmla="*/ 29 h 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123">
                    <a:moveTo>
                      <a:pt x="54" y="0"/>
                    </a:moveTo>
                    <a:cubicBezTo>
                      <a:pt x="53" y="1"/>
                      <a:pt x="51" y="3"/>
                      <a:pt x="49" y="3"/>
                    </a:cubicBezTo>
                    <a:cubicBezTo>
                      <a:pt x="49" y="3"/>
                      <a:pt x="49" y="3"/>
                      <a:pt x="49" y="3"/>
                    </a:cubicBezTo>
                    <a:cubicBezTo>
                      <a:pt x="49" y="3"/>
                      <a:pt x="47" y="3"/>
                      <a:pt x="47" y="3"/>
                    </a:cubicBezTo>
                    <a:cubicBezTo>
                      <a:pt x="47" y="3"/>
                      <a:pt x="46" y="2"/>
                      <a:pt x="46" y="5"/>
                    </a:cubicBezTo>
                    <a:cubicBezTo>
                      <a:pt x="46" y="8"/>
                      <a:pt x="46" y="11"/>
                      <a:pt x="46" y="14"/>
                    </a:cubicBezTo>
                    <a:cubicBezTo>
                      <a:pt x="47" y="16"/>
                      <a:pt x="49" y="18"/>
                      <a:pt x="49" y="20"/>
                    </a:cubicBezTo>
                    <a:cubicBezTo>
                      <a:pt x="52" y="28"/>
                      <a:pt x="48" y="37"/>
                      <a:pt x="47" y="45"/>
                    </a:cubicBezTo>
                    <a:cubicBezTo>
                      <a:pt x="47" y="50"/>
                      <a:pt x="39" y="51"/>
                      <a:pt x="39" y="55"/>
                    </a:cubicBezTo>
                    <a:cubicBezTo>
                      <a:pt x="40" y="58"/>
                      <a:pt x="40" y="60"/>
                      <a:pt x="40" y="63"/>
                    </a:cubicBezTo>
                    <a:cubicBezTo>
                      <a:pt x="41" y="64"/>
                      <a:pt x="42" y="65"/>
                      <a:pt x="41" y="67"/>
                    </a:cubicBezTo>
                    <a:cubicBezTo>
                      <a:pt x="39" y="69"/>
                      <a:pt x="37" y="72"/>
                      <a:pt x="34" y="72"/>
                    </a:cubicBezTo>
                    <a:cubicBezTo>
                      <a:pt x="33" y="72"/>
                      <a:pt x="33" y="71"/>
                      <a:pt x="32" y="71"/>
                    </a:cubicBezTo>
                    <a:cubicBezTo>
                      <a:pt x="30" y="70"/>
                      <a:pt x="31" y="70"/>
                      <a:pt x="29" y="70"/>
                    </a:cubicBezTo>
                    <a:cubicBezTo>
                      <a:pt x="29" y="70"/>
                      <a:pt x="29" y="70"/>
                      <a:pt x="29" y="70"/>
                    </a:cubicBezTo>
                    <a:cubicBezTo>
                      <a:pt x="29" y="70"/>
                      <a:pt x="28" y="70"/>
                      <a:pt x="28" y="70"/>
                    </a:cubicBezTo>
                    <a:cubicBezTo>
                      <a:pt x="27" y="70"/>
                      <a:pt x="27" y="70"/>
                      <a:pt x="26" y="70"/>
                    </a:cubicBezTo>
                    <a:cubicBezTo>
                      <a:pt x="26" y="70"/>
                      <a:pt x="26" y="70"/>
                      <a:pt x="25" y="70"/>
                    </a:cubicBezTo>
                    <a:cubicBezTo>
                      <a:pt x="24" y="70"/>
                      <a:pt x="23" y="68"/>
                      <a:pt x="22" y="68"/>
                    </a:cubicBezTo>
                    <a:cubicBezTo>
                      <a:pt x="21" y="67"/>
                      <a:pt x="19" y="66"/>
                      <a:pt x="17" y="66"/>
                    </a:cubicBezTo>
                    <a:cubicBezTo>
                      <a:pt x="16" y="66"/>
                      <a:pt x="15" y="66"/>
                      <a:pt x="14" y="68"/>
                    </a:cubicBezTo>
                    <a:cubicBezTo>
                      <a:pt x="14" y="70"/>
                      <a:pt x="17" y="72"/>
                      <a:pt x="18" y="74"/>
                    </a:cubicBezTo>
                    <a:cubicBezTo>
                      <a:pt x="19" y="77"/>
                      <a:pt x="18" y="76"/>
                      <a:pt x="16" y="79"/>
                    </a:cubicBezTo>
                    <a:cubicBezTo>
                      <a:pt x="15" y="79"/>
                      <a:pt x="14" y="83"/>
                      <a:pt x="13" y="83"/>
                    </a:cubicBezTo>
                    <a:cubicBezTo>
                      <a:pt x="13" y="83"/>
                      <a:pt x="13" y="83"/>
                      <a:pt x="13" y="83"/>
                    </a:cubicBezTo>
                    <a:cubicBezTo>
                      <a:pt x="12" y="83"/>
                      <a:pt x="12" y="83"/>
                      <a:pt x="12" y="83"/>
                    </a:cubicBezTo>
                    <a:cubicBezTo>
                      <a:pt x="11" y="83"/>
                      <a:pt x="11" y="82"/>
                      <a:pt x="11" y="82"/>
                    </a:cubicBezTo>
                    <a:cubicBezTo>
                      <a:pt x="10" y="82"/>
                      <a:pt x="10" y="83"/>
                      <a:pt x="10" y="83"/>
                    </a:cubicBezTo>
                    <a:cubicBezTo>
                      <a:pt x="9" y="83"/>
                      <a:pt x="8" y="85"/>
                      <a:pt x="7" y="86"/>
                    </a:cubicBezTo>
                    <a:cubicBezTo>
                      <a:pt x="7" y="86"/>
                      <a:pt x="6" y="86"/>
                      <a:pt x="6" y="86"/>
                    </a:cubicBezTo>
                    <a:cubicBezTo>
                      <a:pt x="6" y="86"/>
                      <a:pt x="5" y="86"/>
                      <a:pt x="5" y="86"/>
                    </a:cubicBezTo>
                    <a:cubicBezTo>
                      <a:pt x="5" y="86"/>
                      <a:pt x="5" y="86"/>
                      <a:pt x="5" y="86"/>
                    </a:cubicBezTo>
                    <a:cubicBezTo>
                      <a:pt x="4" y="86"/>
                      <a:pt x="3" y="86"/>
                      <a:pt x="3" y="86"/>
                    </a:cubicBezTo>
                    <a:cubicBezTo>
                      <a:pt x="1" y="88"/>
                      <a:pt x="1" y="94"/>
                      <a:pt x="1" y="96"/>
                    </a:cubicBezTo>
                    <a:cubicBezTo>
                      <a:pt x="0" y="100"/>
                      <a:pt x="4" y="100"/>
                      <a:pt x="6" y="103"/>
                    </a:cubicBezTo>
                    <a:cubicBezTo>
                      <a:pt x="10" y="106"/>
                      <a:pt x="9" y="109"/>
                      <a:pt x="7" y="115"/>
                    </a:cubicBezTo>
                    <a:cubicBezTo>
                      <a:pt x="6" y="116"/>
                      <a:pt x="5" y="118"/>
                      <a:pt x="5" y="119"/>
                    </a:cubicBezTo>
                    <a:cubicBezTo>
                      <a:pt x="6" y="120"/>
                      <a:pt x="9" y="123"/>
                      <a:pt x="11" y="123"/>
                    </a:cubicBezTo>
                    <a:cubicBezTo>
                      <a:pt x="11" y="123"/>
                      <a:pt x="11" y="123"/>
                      <a:pt x="12" y="123"/>
                    </a:cubicBezTo>
                    <a:cubicBezTo>
                      <a:pt x="13" y="121"/>
                      <a:pt x="15" y="119"/>
                      <a:pt x="17" y="117"/>
                    </a:cubicBezTo>
                    <a:cubicBezTo>
                      <a:pt x="17" y="117"/>
                      <a:pt x="17" y="116"/>
                      <a:pt x="17" y="115"/>
                    </a:cubicBezTo>
                    <a:cubicBezTo>
                      <a:pt x="18" y="115"/>
                      <a:pt x="20" y="113"/>
                      <a:pt x="21" y="113"/>
                    </a:cubicBezTo>
                    <a:cubicBezTo>
                      <a:pt x="22" y="112"/>
                      <a:pt x="21" y="112"/>
                      <a:pt x="23" y="112"/>
                    </a:cubicBezTo>
                    <a:cubicBezTo>
                      <a:pt x="23" y="112"/>
                      <a:pt x="23" y="112"/>
                      <a:pt x="23" y="112"/>
                    </a:cubicBezTo>
                    <a:cubicBezTo>
                      <a:pt x="24" y="112"/>
                      <a:pt x="26" y="113"/>
                      <a:pt x="28" y="113"/>
                    </a:cubicBezTo>
                    <a:cubicBezTo>
                      <a:pt x="29" y="114"/>
                      <a:pt x="29" y="114"/>
                      <a:pt x="30" y="114"/>
                    </a:cubicBezTo>
                    <a:cubicBezTo>
                      <a:pt x="31" y="114"/>
                      <a:pt x="31" y="114"/>
                      <a:pt x="32" y="113"/>
                    </a:cubicBezTo>
                    <a:cubicBezTo>
                      <a:pt x="34" y="109"/>
                      <a:pt x="33" y="111"/>
                      <a:pt x="30" y="109"/>
                    </a:cubicBezTo>
                    <a:cubicBezTo>
                      <a:pt x="28" y="108"/>
                      <a:pt x="27" y="105"/>
                      <a:pt x="25" y="104"/>
                    </a:cubicBezTo>
                    <a:cubicBezTo>
                      <a:pt x="24" y="102"/>
                      <a:pt x="24" y="103"/>
                      <a:pt x="21" y="102"/>
                    </a:cubicBezTo>
                    <a:cubicBezTo>
                      <a:pt x="19" y="102"/>
                      <a:pt x="19" y="102"/>
                      <a:pt x="17" y="101"/>
                    </a:cubicBezTo>
                    <a:cubicBezTo>
                      <a:pt x="14" y="99"/>
                      <a:pt x="12" y="99"/>
                      <a:pt x="13" y="95"/>
                    </a:cubicBezTo>
                    <a:cubicBezTo>
                      <a:pt x="15" y="91"/>
                      <a:pt x="17" y="89"/>
                      <a:pt x="20" y="89"/>
                    </a:cubicBezTo>
                    <a:cubicBezTo>
                      <a:pt x="22" y="89"/>
                      <a:pt x="23" y="90"/>
                      <a:pt x="25" y="91"/>
                    </a:cubicBezTo>
                    <a:cubicBezTo>
                      <a:pt x="27" y="92"/>
                      <a:pt x="27" y="93"/>
                      <a:pt x="28" y="94"/>
                    </a:cubicBezTo>
                    <a:cubicBezTo>
                      <a:pt x="29" y="95"/>
                      <a:pt x="30" y="96"/>
                      <a:pt x="29" y="97"/>
                    </a:cubicBezTo>
                    <a:cubicBezTo>
                      <a:pt x="29" y="97"/>
                      <a:pt x="30" y="97"/>
                      <a:pt x="30" y="97"/>
                    </a:cubicBezTo>
                    <a:cubicBezTo>
                      <a:pt x="32" y="97"/>
                      <a:pt x="37" y="92"/>
                      <a:pt x="39" y="90"/>
                    </a:cubicBezTo>
                    <a:cubicBezTo>
                      <a:pt x="42" y="89"/>
                      <a:pt x="44" y="88"/>
                      <a:pt x="46" y="88"/>
                    </a:cubicBezTo>
                    <a:cubicBezTo>
                      <a:pt x="48" y="88"/>
                      <a:pt x="50" y="89"/>
                      <a:pt x="53" y="89"/>
                    </a:cubicBezTo>
                    <a:cubicBezTo>
                      <a:pt x="54" y="90"/>
                      <a:pt x="58" y="92"/>
                      <a:pt x="59" y="93"/>
                    </a:cubicBezTo>
                    <a:cubicBezTo>
                      <a:pt x="61" y="94"/>
                      <a:pt x="63" y="96"/>
                      <a:pt x="65" y="97"/>
                    </a:cubicBezTo>
                    <a:cubicBezTo>
                      <a:pt x="70" y="100"/>
                      <a:pt x="77" y="101"/>
                      <a:pt x="82" y="105"/>
                    </a:cubicBezTo>
                    <a:cubicBezTo>
                      <a:pt x="83" y="105"/>
                      <a:pt x="84" y="107"/>
                      <a:pt x="84" y="107"/>
                    </a:cubicBezTo>
                    <a:cubicBezTo>
                      <a:pt x="85" y="107"/>
                      <a:pt x="85" y="107"/>
                      <a:pt x="85" y="107"/>
                    </a:cubicBezTo>
                    <a:cubicBezTo>
                      <a:pt x="87" y="107"/>
                      <a:pt x="88" y="104"/>
                      <a:pt x="88" y="102"/>
                    </a:cubicBezTo>
                    <a:cubicBezTo>
                      <a:pt x="88" y="99"/>
                      <a:pt x="88" y="97"/>
                      <a:pt x="90" y="94"/>
                    </a:cubicBezTo>
                    <a:cubicBezTo>
                      <a:pt x="91" y="92"/>
                      <a:pt x="93" y="89"/>
                      <a:pt x="95" y="87"/>
                    </a:cubicBezTo>
                    <a:cubicBezTo>
                      <a:pt x="97" y="85"/>
                      <a:pt x="101" y="81"/>
                      <a:pt x="104" y="79"/>
                    </a:cubicBezTo>
                    <a:cubicBezTo>
                      <a:pt x="106" y="78"/>
                      <a:pt x="111" y="78"/>
                      <a:pt x="115" y="78"/>
                    </a:cubicBezTo>
                    <a:cubicBezTo>
                      <a:pt x="117" y="78"/>
                      <a:pt x="118" y="78"/>
                      <a:pt x="119" y="78"/>
                    </a:cubicBezTo>
                    <a:cubicBezTo>
                      <a:pt x="120" y="78"/>
                      <a:pt x="121" y="78"/>
                      <a:pt x="121" y="78"/>
                    </a:cubicBezTo>
                    <a:cubicBezTo>
                      <a:pt x="122" y="78"/>
                      <a:pt x="123" y="78"/>
                      <a:pt x="124" y="77"/>
                    </a:cubicBezTo>
                    <a:cubicBezTo>
                      <a:pt x="124" y="77"/>
                      <a:pt x="124" y="75"/>
                      <a:pt x="124" y="75"/>
                    </a:cubicBezTo>
                    <a:cubicBezTo>
                      <a:pt x="125" y="75"/>
                      <a:pt x="125" y="76"/>
                      <a:pt x="125" y="76"/>
                    </a:cubicBezTo>
                    <a:cubicBezTo>
                      <a:pt x="126" y="76"/>
                      <a:pt x="127" y="77"/>
                      <a:pt x="127" y="77"/>
                    </a:cubicBezTo>
                    <a:cubicBezTo>
                      <a:pt x="127" y="77"/>
                      <a:pt x="127" y="77"/>
                      <a:pt x="128" y="77"/>
                    </a:cubicBezTo>
                    <a:cubicBezTo>
                      <a:pt x="129" y="77"/>
                      <a:pt x="130" y="76"/>
                      <a:pt x="131" y="75"/>
                    </a:cubicBezTo>
                    <a:cubicBezTo>
                      <a:pt x="137" y="72"/>
                      <a:pt x="143" y="69"/>
                      <a:pt x="149" y="65"/>
                    </a:cubicBezTo>
                    <a:cubicBezTo>
                      <a:pt x="148" y="65"/>
                      <a:pt x="140" y="66"/>
                      <a:pt x="142" y="69"/>
                    </a:cubicBezTo>
                    <a:cubicBezTo>
                      <a:pt x="141" y="69"/>
                      <a:pt x="139" y="69"/>
                      <a:pt x="138" y="68"/>
                    </a:cubicBezTo>
                    <a:cubicBezTo>
                      <a:pt x="136" y="67"/>
                      <a:pt x="136" y="65"/>
                      <a:pt x="136" y="63"/>
                    </a:cubicBezTo>
                    <a:cubicBezTo>
                      <a:pt x="135" y="61"/>
                      <a:pt x="135" y="60"/>
                      <a:pt x="134" y="58"/>
                    </a:cubicBezTo>
                    <a:cubicBezTo>
                      <a:pt x="135" y="59"/>
                      <a:pt x="137" y="59"/>
                      <a:pt x="138" y="60"/>
                    </a:cubicBezTo>
                    <a:cubicBezTo>
                      <a:pt x="136" y="58"/>
                      <a:pt x="131" y="55"/>
                      <a:pt x="131" y="53"/>
                    </a:cubicBezTo>
                    <a:cubicBezTo>
                      <a:pt x="132" y="50"/>
                      <a:pt x="132" y="50"/>
                      <a:pt x="132" y="50"/>
                    </a:cubicBezTo>
                    <a:cubicBezTo>
                      <a:pt x="132" y="49"/>
                      <a:pt x="133" y="47"/>
                      <a:pt x="134" y="46"/>
                    </a:cubicBezTo>
                    <a:cubicBezTo>
                      <a:pt x="135" y="44"/>
                      <a:pt x="140" y="39"/>
                      <a:pt x="138" y="36"/>
                    </a:cubicBezTo>
                    <a:cubicBezTo>
                      <a:pt x="133" y="39"/>
                      <a:pt x="130" y="44"/>
                      <a:pt x="126" y="47"/>
                    </a:cubicBezTo>
                    <a:cubicBezTo>
                      <a:pt x="124" y="48"/>
                      <a:pt x="123" y="49"/>
                      <a:pt x="121" y="49"/>
                    </a:cubicBezTo>
                    <a:cubicBezTo>
                      <a:pt x="120" y="49"/>
                      <a:pt x="119" y="49"/>
                      <a:pt x="117" y="48"/>
                    </a:cubicBezTo>
                    <a:cubicBezTo>
                      <a:pt x="115" y="48"/>
                      <a:pt x="113" y="47"/>
                      <a:pt x="110" y="46"/>
                    </a:cubicBezTo>
                    <a:cubicBezTo>
                      <a:pt x="110" y="46"/>
                      <a:pt x="108" y="46"/>
                      <a:pt x="108" y="46"/>
                    </a:cubicBezTo>
                    <a:cubicBezTo>
                      <a:pt x="107" y="45"/>
                      <a:pt x="108" y="44"/>
                      <a:pt x="108" y="44"/>
                    </a:cubicBezTo>
                    <a:cubicBezTo>
                      <a:pt x="107" y="43"/>
                      <a:pt x="106" y="43"/>
                      <a:pt x="106" y="43"/>
                    </a:cubicBezTo>
                    <a:cubicBezTo>
                      <a:pt x="105" y="43"/>
                      <a:pt x="104" y="43"/>
                      <a:pt x="103" y="43"/>
                    </a:cubicBezTo>
                    <a:cubicBezTo>
                      <a:pt x="103" y="43"/>
                      <a:pt x="103" y="43"/>
                      <a:pt x="103" y="43"/>
                    </a:cubicBezTo>
                    <a:cubicBezTo>
                      <a:pt x="95" y="43"/>
                      <a:pt x="86" y="34"/>
                      <a:pt x="80" y="29"/>
                    </a:cubicBezTo>
                    <a:cubicBezTo>
                      <a:pt x="70" y="21"/>
                      <a:pt x="63" y="1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Freeform 94"/>
              <p:cNvSpPr/>
              <p:nvPr/>
            </p:nvSpPr>
            <p:spPr bwMode="auto">
              <a:xfrm>
                <a:off x="5779" y="2282"/>
                <a:ext cx="144" cy="192"/>
              </a:xfrm>
              <a:custGeom>
                <a:gdLst>
                  <a:gd name="T0" fmla="*/ 32 w 61"/>
                  <a:gd name="T1" fmla="*/ 1 h 81"/>
                  <a:gd name="T2" fmla="*/ 30 w 61"/>
                  <a:gd name="T3" fmla="*/ 1 h 81"/>
                  <a:gd name="T4" fmla="*/ 22 w 61"/>
                  <a:gd name="T5" fmla="*/ 5 h 81"/>
                  <a:gd name="T6" fmla="*/ 12 w 61"/>
                  <a:gd name="T7" fmla="*/ 13 h 81"/>
                  <a:gd name="T8" fmla="*/ 6 w 61"/>
                  <a:gd name="T9" fmla="*/ 17 h 81"/>
                  <a:gd name="T10" fmla="*/ 3 w 61"/>
                  <a:gd name="T11" fmla="*/ 24 h 81"/>
                  <a:gd name="T12" fmla="*/ 4 w 61"/>
                  <a:gd name="T13" fmla="*/ 38 h 81"/>
                  <a:gd name="T14" fmla="*/ 15 w 61"/>
                  <a:gd name="T15" fmla="*/ 37 h 81"/>
                  <a:gd name="T16" fmla="*/ 19 w 61"/>
                  <a:gd name="T17" fmla="*/ 35 h 81"/>
                  <a:gd name="T18" fmla="*/ 16 w 61"/>
                  <a:gd name="T19" fmla="*/ 27 h 81"/>
                  <a:gd name="T20" fmla="*/ 17 w 61"/>
                  <a:gd name="T21" fmla="*/ 21 h 81"/>
                  <a:gd name="T22" fmla="*/ 22 w 61"/>
                  <a:gd name="T23" fmla="*/ 28 h 81"/>
                  <a:gd name="T24" fmla="*/ 22 w 61"/>
                  <a:gd name="T25" fmla="*/ 37 h 81"/>
                  <a:gd name="T26" fmla="*/ 27 w 61"/>
                  <a:gd name="T27" fmla="*/ 36 h 81"/>
                  <a:gd name="T28" fmla="*/ 22 w 61"/>
                  <a:gd name="T29" fmla="*/ 44 h 81"/>
                  <a:gd name="T30" fmla="*/ 16 w 61"/>
                  <a:gd name="T31" fmla="*/ 70 h 81"/>
                  <a:gd name="T32" fmla="*/ 14 w 61"/>
                  <a:gd name="T33" fmla="*/ 70 h 81"/>
                  <a:gd name="T34" fmla="*/ 22 w 61"/>
                  <a:gd name="T35" fmla="*/ 75 h 81"/>
                  <a:gd name="T36" fmla="*/ 26 w 61"/>
                  <a:gd name="T37" fmla="*/ 76 h 81"/>
                  <a:gd name="T38" fmla="*/ 25 w 61"/>
                  <a:gd name="T39" fmla="*/ 63 h 81"/>
                  <a:gd name="T40" fmla="*/ 31 w 61"/>
                  <a:gd name="T41" fmla="*/ 63 h 81"/>
                  <a:gd name="T42" fmla="*/ 27 w 61"/>
                  <a:gd name="T43" fmla="*/ 81 h 81"/>
                  <a:gd name="T44" fmla="*/ 39 w 61"/>
                  <a:gd name="T45" fmla="*/ 68 h 81"/>
                  <a:gd name="T46" fmla="*/ 46 w 61"/>
                  <a:gd name="T47" fmla="*/ 64 h 81"/>
                  <a:gd name="T48" fmla="*/ 53 w 61"/>
                  <a:gd name="T49" fmla="*/ 44 h 81"/>
                  <a:gd name="T50" fmla="*/ 61 w 61"/>
                  <a:gd name="T51" fmla="*/ 28 h 81"/>
                  <a:gd name="T52" fmla="*/ 57 w 61"/>
                  <a:gd name="T53" fmla="*/ 19 h 81"/>
                  <a:gd name="T54" fmla="*/ 55 w 61"/>
                  <a:gd name="T55" fmla="*/ 19 h 81"/>
                  <a:gd name="T56" fmla="*/ 54 w 61"/>
                  <a:gd name="T57" fmla="*/ 19 h 81"/>
                  <a:gd name="T58" fmla="*/ 48 w 61"/>
                  <a:gd name="T59" fmla="*/ 17 h 81"/>
                  <a:gd name="T60" fmla="*/ 50 w 61"/>
                  <a:gd name="T61" fmla="*/ 7 h 81"/>
                  <a:gd name="T62" fmla="*/ 47 w 61"/>
                  <a:gd name="T63" fmla="*/ 9 h 81"/>
                  <a:gd name="T64" fmla="*/ 44 w 61"/>
                  <a:gd name="T65" fmla="*/ 11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81">
                    <a:moveTo>
                      <a:pt x="35" y="0"/>
                    </a:moveTo>
                    <a:cubicBezTo>
                      <a:pt x="34" y="1"/>
                      <a:pt x="33" y="1"/>
                      <a:pt x="32" y="1"/>
                    </a:cubicBezTo>
                    <a:cubicBezTo>
                      <a:pt x="31" y="1"/>
                      <a:pt x="31" y="1"/>
                      <a:pt x="31" y="1"/>
                    </a:cubicBezTo>
                    <a:cubicBezTo>
                      <a:pt x="31" y="1"/>
                      <a:pt x="30" y="1"/>
                      <a:pt x="30" y="1"/>
                    </a:cubicBezTo>
                    <a:cubicBezTo>
                      <a:pt x="29" y="1"/>
                      <a:pt x="27" y="1"/>
                      <a:pt x="26" y="1"/>
                    </a:cubicBezTo>
                    <a:cubicBezTo>
                      <a:pt x="23" y="2"/>
                      <a:pt x="23" y="3"/>
                      <a:pt x="22" y="5"/>
                    </a:cubicBezTo>
                    <a:cubicBezTo>
                      <a:pt x="21" y="7"/>
                      <a:pt x="21" y="6"/>
                      <a:pt x="17" y="8"/>
                    </a:cubicBezTo>
                    <a:cubicBezTo>
                      <a:pt x="14" y="9"/>
                      <a:pt x="13" y="10"/>
                      <a:pt x="12" y="13"/>
                    </a:cubicBezTo>
                    <a:cubicBezTo>
                      <a:pt x="10" y="13"/>
                      <a:pt x="9" y="12"/>
                      <a:pt x="7" y="11"/>
                    </a:cubicBezTo>
                    <a:cubicBezTo>
                      <a:pt x="6" y="13"/>
                      <a:pt x="6" y="14"/>
                      <a:pt x="6" y="17"/>
                    </a:cubicBezTo>
                    <a:cubicBezTo>
                      <a:pt x="4" y="17"/>
                      <a:pt x="2" y="16"/>
                      <a:pt x="0" y="16"/>
                    </a:cubicBezTo>
                    <a:cubicBezTo>
                      <a:pt x="0" y="21"/>
                      <a:pt x="1" y="21"/>
                      <a:pt x="3" y="24"/>
                    </a:cubicBezTo>
                    <a:cubicBezTo>
                      <a:pt x="1" y="27"/>
                      <a:pt x="2" y="29"/>
                      <a:pt x="4" y="31"/>
                    </a:cubicBezTo>
                    <a:cubicBezTo>
                      <a:pt x="6" y="34"/>
                      <a:pt x="8" y="35"/>
                      <a:pt x="4" y="38"/>
                    </a:cubicBezTo>
                    <a:cubicBezTo>
                      <a:pt x="8" y="36"/>
                      <a:pt x="11" y="34"/>
                      <a:pt x="15" y="32"/>
                    </a:cubicBezTo>
                    <a:cubicBezTo>
                      <a:pt x="16" y="34"/>
                      <a:pt x="13" y="36"/>
                      <a:pt x="15" y="37"/>
                    </a:cubicBezTo>
                    <a:cubicBezTo>
                      <a:pt x="15" y="37"/>
                      <a:pt x="15" y="37"/>
                      <a:pt x="15" y="37"/>
                    </a:cubicBezTo>
                    <a:cubicBezTo>
                      <a:pt x="16" y="37"/>
                      <a:pt x="18" y="36"/>
                      <a:pt x="19" y="35"/>
                    </a:cubicBezTo>
                    <a:cubicBezTo>
                      <a:pt x="18" y="33"/>
                      <a:pt x="15" y="31"/>
                      <a:pt x="13" y="30"/>
                    </a:cubicBezTo>
                    <a:cubicBezTo>
                      <a:pt x="14" y="29"/>
                      <a:pt x="16" y="28"/>
                      <a:pt x="16" y="27"/>
                    </a:cubicBezTo>
                    <a:cubicBezTo>
                      <a:pt x="15" y="26"/>
                      <a:pt x="14" y="24"/>
                      <a:pt x="14" y="23"/>
                    </a:cubicBezTo>
                    <a:cubicBezTo>
                      <a:pt x="16" y="23"/>
                      <a:pt x="16" y="21"/>
                      <a:pt x="17" y="21"/>
                    </a:cubicBezTo>
                    <a:cubicBezTo>
                      <a:pt x="17" y="21"/>
                      <a:pt x="18" y="22"/>
                      <a:pt x="19" y="22"/>
                    </a:cubicBezTo>
                    <a:cubicBezTo>
                      <a:pt x="20" y="23"/>
                      <a:pt x="21" y="27"/>
                      <a:pt x="22" y="28"/>
                    </a:cubicBezTo>
                    <a:cubicBezTo>
                      <a:pt x="24" y="30"/>
                      <a:pt x="25" y="32"/>
                      <a:pt x="26" y="34"/>
                    </a:cubicBezTo>
                    <a:cubicBezTo>
                      <a:pt x="24" y="34"/>
                      <a:pt x="23" y="36"/>
                      <a:pt x="22" y="37"/>
                    </a:cubicBezTo>
                    <a:cubicBezTo>
                      <a:pt x="23" y="36"/>
                      <a:pt x="24" y="36"/>
                      <a:pt x="25" y="36"/>
                    </a:cubicBezTo>
                    <a:cubicBezTo>
                      <a:pt x="26" y="36"/>
                      <a:pt x="26" y="36"/>
                      <a:pt x="27" y="36"/>
                    </a:cubicBezTo>
                    <a:cubicBezTo>
                      <a:pt x="26" y="37"/>
                      <a:pt x="24" y="44"/>
                      <a:pt x="23" y="44"/>
                    </a:cubicBezTo>
                    <a:cubicBezTo>
                      <a:pt x="23" y="44"/>
                      <a:pt x="23" y="44"/>
                      <a:pt x="22" y="44"/>
                    </a:cubicBezTo>
                    <a:cubicBezTo>
                      <a:pt x="20" y="51"/>
                      <a:pt x="12" y="52"/>
                      <a:pt x="15" y="60"/>
                    </a:cubicBezTo>
                    <a:cubicBezTo>
                      <a:pt x="16" y="61"/>
                      <a:pt x="20" y="70"/>
                      <a:pt x="16" y="70"/>
                    </a:cubicBezTo>
                    <a:cubicBezTo>
                      <a:pt x="15" y="70"/>
                      <a:pt x="15" y="70"/>
                      <a:pt x="14" y="70"/>
                    </a:cubicBezTo>
                    <a:cubicBezTo>
                      <a:pt x="14" y="70"/>
                      <a:pt x="14" y="70"/>
                      <a:pt x="14" y="70"/>
                    </a:cubicBezTo>
                    <a:cubicBezTo>
                      <a:pt x="14" y="71"/>
                      <a:pt x="17" y="74"/>
                      <a:pt x="18" y="74"/>
                    </a:cubicBezTo>
                    <a:cubicBezTo>
                      <a:pt x="19" y="74"/>
                      <a:pt x="21" y="74"/>
                      <a:pt x="22" y="75"/>
                    </a:cubicBezTo>
                    <a:cubicBezTo>
                      <a:pt x="23" y="75"/>
                      <a:pt x="24" y="76"/>
                      <a:pt x="25" y="76"/>
                    </a:cubicBezTo>
                    <a:cubicBezTo>
                      <a:pt x="26" y="76"/>
                      <a:pt x="26" y="76"/>
                      <a:pt x="26" y="76"/>
                    </a:cubicBezTo>
                    <a:cubicBezTo>
                      <a:pt x="27" y="74"/>
                      <a:pt x="25" y="72"/>
                      <a:pt x="24" y="70"/>
                    </a:cubicBezTo>
                    <a:cubicBezTo>
                      <a:pt x="23" y="68"/>
                      <a:pt x="24" y="66"/>
                      <a:pt x="25" y="63"/>
                    </a:cubicBezTo>
                    <a:cubicBezTo>
                      <a:pt x="26" y="63"/>
                      <a:pt x="28" y="61"/>
                      <a:pt x="29" y="61"/>
                    </a:cubicBezTo>
                    <a:cubicBezTo>
                      <a:pt x="30" y="61"/>
                      <a:pt x="30" y="62"/>
                      <a:pt x="31" y="63"/>
                    </a:cubicBezTo>
                    <a:cubicBezTo>
                      <a:pt x="31" y="64"/>
                      <a:pt x="29" y="65"/>
                      <a:pt x="29" y="65"/>
                    </a:cubicBezTo>
                    <a:cubicBezTo>
                      <a:pt x="30" y="73"/>
                      <a:pt x="31" y="74"/>
                      <a:pt x="27" y="81"/>
                    </a:cubicBezTo>
                    <a:cubicBezTo>
                      <a:pt x="31" y="78"/>
                      <a:pt x="35" y="76"/>
                      <a:pt x="38" y="73"/>
                    </a:cubicBezTo>
                    <a:cubicBezTo>
                      <a:pt x="38" y="72"/>
                      <a:pt x="39" y="70"/>
                      <a:pt x="39" y="68"/>
                    </a:cubicBezTo>
                    <a:cubicBezTo>
                      <a:pt x="41" y="69"/>
                      <a:pt x="42" y="69"/>
                      <a:pt x="43" y="69"/>
                    </a:cubicBezTo>
                    <a:cubicBezTo>
                      <a:pt x="45" y="69"/>
                      <a:pt x="45" y="68"/>
                      <a:pt x="46" y="64"/>
                    </a:cubicBezTo>
                    <a:cubicBezTo>
                      <a:pt x="47" y="62"/>
                      <a:pt x="47" y="61"/>
                      <a:pt x="47" y="59"/>
                    </a:cubicBezTo>
                    <a:cubicBezTo>
                      <a:pt x="48" y="54"/>
                      <a:pt x="51" y="49"/>
                      <a:pt x="53" y="44"/>
                    </a:cubicBezTo>
                    <a:cubicBezTo>
                      <a:pt x="54" y="40"/>
                      <a:pt x="55" y="37"/>
                      <a:pt x="57" y="34"/>
                    </a:cubicBezTo>
                    <a:cubicBezTo>
                      <a:pt x="58" y="31"/>
                      <a:pt x="60" y="30"/>
                      <a:pt x="61" y="28"/>
                    </a:cubicBezTo>
                    <a:cubicBezTo>
                      <a:pt x="61" y="28"/>
                      <a:pt x="61" y="28"/>
                      <a:pt x="60" y="28"/>
                    </a:cubicBezTo>
                    <a:cubicBezTo>
                      <a:pt x="60" y="26"/>
                      <a:pt x="60" y="20"/>
                      <a:pt x="57" y="19"/>
                    </a:cubicBezTo>
                    <a:cubicBezTo>
                      <a:pt x="57" y="19"/>
                      <a:pt x="57" y="19"/>
                      <a:pt x="57" y="19"/>
                    </a:cubicBezTo>
                    <a:cubicBezTo>
                      <a:pt x="57" y="19"/>
                      <a:pt x="56" y="19"/>
                      <a:pt x="55" y="19"/>
                    </a:cubicBezTo>
                    <a:cubicBezTo>
                      <a:pt x="55" y="19"/>
                      <a:pt x="54" y="19"/>
                      <a:pt x="54" y="19"/>
                    </a:cubicBezTo>
                    <a:cubicBezTo>
                      <a:pt x="54" y="19"/>
                      <a:pt x="54" y="19"/>
                      <a:pt x="54" y="19"/>
                    </a:cubicBezTo>
                    <a:cubicBezTo>
                      <a:pt x="52" y="19"/>
                      <a:pt x="47" y="18"/>
                      <a:pt x="48" y="17"/>
                    </a:cubicBezTo>
                    <a:cubicBezTo>
                      <a:pt x="48" y="17"/>
                      <a:pt x="48" y="17"/>
                      <a:pt x="48" y="17"/>
                    </a:cubicBezTo>
                    <a:cubicBezTo>
                      <a:pt x="49" y="17"/>
                      <a:pt x="50" y="16"/>
                      <a:pt x="51" y="16"/>
                    </a:cubicBezTo>
                    <a:cubicBezTo>
                      <a:pt x="52" y="14"/>
                      <a:pt x="53" y="8"/>
                      <a:pt x="50" y="7"/>
                    </a:cubicBezTo>
                    <a:cubicBezTo>
                      <a:pt x="50" y="7"/>
                      <a:pt x="50" y="7"/>
                      <a:pt x="50" y="7"/>
                    </a:cubicBezTo>
                    <a:cubicBezTo>
                      <a:pt x="49" y="7"/>
                      <a:pt x="48" y="8"/>
                      <a:pt x="47" y="9"/>
                    </a:cubicBezTo>
                    <a:cubicBezTo>
                      <a:pt x="46" y="10"/>
                      <a:pt x="46" y="10"/>
                      <a:pt x="44" y="11"/>
                    </a:cubicBezTo>
                    <a:cubicBezTo>
                      <a:pt x="44" y="11"/>
                      <a:pt x="44" y="11"/>
                      <a:pt x="44" y="11"/>
                    </a:cubicBezTo>
                    <a:cubicBezTo>
                      <a:pt x="39" y="11"/>
                      <a:pt x="33" y="5"/>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95"/>
              <p:cNvSpPr/>
              <p:nvPr/>
            </p:nvSpPr>
            <p:spPr bwMode="auto">
              <a:xfrm>
                <a:off x="5783" y="2289"/>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1"/>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96"/>
              <p:cNvSpPr/>
              <p:nvPr/>
            </p:nvSpPr>
            <p:spPr bwMode="auto">
              <a:xfrm>
                <a:off x="5854" y="1772"/>
                <a:ext cx="657" cy="543"/>
              </a:xfrm>
              <a:custGeom>
                <a:gdLst>
                  <a:gd name="T0" fmla="*/ 244 w 278"/>
                  <a:gd name="T1" fmla="*/ 10 h 230"/>
                  <a:gd name="T2" fmla="*/ 254 w 278"/>
                  <a:gd name="T3" fmla="*/ 8 h 230"/>
                  <a:gd name="T4" fmla="*/ 253 w 278"/>
                  <a:gd name="T5" fmla="*/ 19 h 230"/>
                  <a:gd name="T6" fmla="*/ 247 w 278"/>
                  <a:gd name="T7" fmla="*/ 19 h 230"/>
                  <a:gd name="T8" fmla="*/ 245 w 278"/>
                  <a:gd name="T9" fmla="*/ 20 h 230"/>
                  <a:gd name="T10" fmla="*/ 233 w 278"/>
                  <a:gd name="T11" fmla="*/ 8 h 230"/>
                  <a:gd name="T12" fmla="*/ 223 w 278"/>
                  <a:gd name="T13" fmla="*/ 32 h 230"/>
                  <a:gd name="T14" fmla="*/ 221 w 278"/>
                  <a:gd name="T15" fmla="*/ 49 h 230"/>
                  <a:gd name="T16" fmla="*/ 222 w 278"/>
                  <a:gd name="T17" fmla="*/ 48 h 230"/>
                  <a:gd name="T18" fmla="*/ 224 w 278"/>
                  <a:gd name="T19" fmla="*/ 62 h 230"/>
                  <a:gd name="T20" fmla="*/ 210 w 278"/>
                  <a:gd name="T21" fmla="*/ 98 h 230"/>
                  <a:gd name="T22" fmla="*/ 188 w 278"/>
                  <a:gd name="T23" fmla="*/ 121 h 230"/>
                  <a:gd name="T24" fmla="*/ 153 w 278"/>
                  <a:gd name="T25" fmla="*/ 137 h 230"/>
                  <a:gd name="T26" fmla="*/ 152 w 278"/>
                  <a:gd name="T27" fmla="*/ 128 h 230"/>
                  <a:gd name="T28" fmla="*/ 151 w 278"/>
                  <a:gd name="T29" fmla="*/ 129 h 230"/>
                  <a:gd name="T30" fmla="*/ 155 w 278"/>
                  <a:gd name="T31" fmla="*/ 122 h 230"/>
                  <a:gd name="T32" fmla="*/ 156 w 278"/>
                  <a:gd name="T33" fmla="*/ 123 h 230"/>
                  <a:gd name="T34" fmla="*/ 157 w 278"/>
                  <a:gd name="T35" fmla="*/ 116 h 230"/>
                  <a:gd name="T36" fmla="*/ 145 w 278"/>
                  <a:gd name="T37" fmla="*/ 133 h 230"/>
                  <a:gd name="T38" fmla="*/ 128 w 278"/>
                  <a:gd name="T39" fmla="*/ 168 h 230"/>
                  <a:gd name="T40" fmla="*/ 119 w 278"/>
                  <a:gd name="T41" fmla="*/ 173 h 230"/>
                  <a:gd name="T42" fmla="*/ 110 w 278"/>
                  <a:gd name="T43" fmla="*/ 174 h 230"/>
                  <a:gd name="T44" fmla="*/ 107 w 278"/>
                  <a:gd name="T45" fmla="*/ 166 h 230"/>
                  <a:gd name="T46" fmla="*/ 43 w 278"/>
                  <a:gd name="T47" fmla="*/ 175 h 230"/>
                  <a:gd name="T48" fmla="*/ 15 w 278"/>
                  <a:gd name="T49" fmla="*/ 200 h 230"/>
                  <a:gd name="T50" fmla="*/ 6 w 278"/>
                  <a:gd name="T51" fmla="*/ 204 h 230"/>
                  <a:gd name="T52" fmla="*/ 2 w 278"/>
                  <a:gd name="T53" fmla="*/ 204 h 230"/>
                  <a:gd name="T54" fmla="*/ 0 w 278"/>
                  <a:gd name="T55" fmla="*/ 211 h 230"/>
                  <a:gd name="T56" fmla="*/ 1 w 278"/>
                  <a:gd name="T57" fmla="*/ 216 h 230"/>
                  <a:gd name="T58" fmla="*/ 3 w 278"/>
                  <a:gd name="T59" fmla="*/ 216 h 230"/>
                  <a:gd name="T60" fmla="*/ 30 w 278"/>
                  <a:gd name="T61" fmla="*/ 218 h 230"/>
                  <a:gd name="T62" fmla="*/ 43 w 278"/>
                  <a:gd name="T63" fmla="*/ 209 h 230"/>
                  <a:gd name="T64" fmla="*/ 65 w 278"/>
                  <a:gd name="T65" fmla="*/ 201 h 230"/>
                  <a:gd name="T66" fmla="*/ 74 w 278"/>
                  <a:gd name="T67" fmla="*/ 202 h 230"/>
                  <a:gd name="T68" fmla="*/ 110 w 278"/>
                  <a:gd name="T69" fmla="*/ 195 h 230"/>
                  <a:gd name="T70" fmla="*/ 105 w 278"/>
                  <a:gd name="T71" fmla="*/ 210 h 230"/>
                  <a:gd name="T72" fmla="*/ 111 w 278"/>
                  <a:gd name="T73" fmla="*/ 223 h 230"/>
                  <a:gd name="T74" fmla="*/ 141 w 278"/>
                  <a:gd name="T75" fmla="*/ 207 h 230"/>
                  <a:gd name="T76" fmla="*/ 144 w 278"/>
                  <a:gd name="T77" fmla="*/ 205 h 230"/>
                  <a:gd name="T78" fmla="*/ 147 w 278"/>
                  <a:gd name="T79" fmla="*/ 208 h 230"/>
                  <a:gd name="T80" fmla="*/ 140 w 278"/>
                  <a:gd name="T81" fmla="*/ 195 h 230"/>
                  <a:gd name="T82" fmla="*/ 148 w 278"/>
                  <a:gd name="T83" fmla="*/ 195 h 230"/>
                  <a:gd name="T84" fmla="*/ 156 w 278"/>
                  <a:gd name="T85" fmla="*/ 196 h 230"/>
                  <a:gd name="T86" fmla="*/ 183 w 278"/>
                  <a:gd name="T87" fmla="*/ 194 h 230"/>
                  <a:gd name="T88" fmla="*/ 189 w 278"/>
                  <a:gd name="T89" fmla="*/ 187 h 230"/>
                  <a:gd name="T90" fmla="*/ 198 w 278"/>
                  <a:gd name="T91" fmla="*/ 186 h 230"/>
                  <a:gd name="T92" fmla="*/ 199 w 278"/>
                  <a:gd name="T93" fmla="*/ 197 h 230"/>
                  <a:gd name="T94" fmla="*/ 210 w 278"/>
                  <a:gd name="T95" fmla="*/ 182 h 230"/>
                  <a:gd name="T96" fmla="*/ 221 w 278"/>
                  <a:gd name="T97" fmla="*/ 189 h 230"/>
                  <a:gd name="T98" fmla="*/ 235 w 278"/>
                  <a:gd name="T99" fmla="*/ 179 h 230"/>
                  <a:gd name="T100" fmla="*/ 240 w 278"/>
                  <a:gd name="T101" fmla="*/ 147 h 230"/>
                  <a:gd name="T102" fmla="*/ 250 w 278"/>
                  <a:gd name="T103" fmla="*/ 124 h 230"/>
                  <a:gd name="T104" fmla="*/ 254 w 278"/>
                  <a:gd name="T105" fmla="*/ 92 h 230"/>
                  <a:gd name="T106" fmla="*/ 262 w 278"/>
                  <a:gd name="T107" fmla="*/ 94 h 230"/>
                  <a:gd name="T108" fmla="*/ 266 w 278"/>
                  <a:gd name="T109" fmla="*/ 75 h 230"/>
                  <a:gd name="T110" fmla="*/ 270 w 278"/>
                  <a:gd name="T111" fmla="*/ 73 h 230"/>
                  <a:gd name="T112" fmla="*/ 260 w 278"/>
                  <a:gd name="T113" fmla="*/ 21 h 230"/>
                  <a:gd name="T114" fmla="*/ 255 w 278"/>
                  <a:gd name="T115" fmla="*/ 2 h 2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8" h="230">
                    <a:moveTo>
                      <a:pt x="249" y="0"/>
                    </a:moveTo>
                    <a:cubicBezTo>
                      <a:pt x="249" y="0"/>
                      <a:pt x="249" y="0"/>
                      <a:pt x="249" y="0"/>
                    </a:cubicBezTo>
                    <a:cubicBezTo>
                      <a:pt x="248" y="0"/>
                      <a:pt x="243" y="8"/>
                      <a:pt x="244" y="10"/>
                    </a:cubicBezTo>
                    <a:cubicBezTo>
                      <a:pt x="244" y="11"/>
                      <a:pt x="245" y="11"/>
                      <a:pt x="245" y="11"/>
                    </a:cubicBezTo>
                    <a:cubicBezTo>
                      <a:pt x="247" y="11"/>
                      <a:pt x="248" y="11"/>
                      <a:pt x="250" y="10"/>
                    </a:cubicBezTo>
                    <a:cubicBezTo>
                      <a:pt x="252" y="9"/>
                      <a:pt x="253" y="8"/>
                      <a:pt x="254" y="8"/>
                    </a:cubicBezTo>
                    <a:cubicBezTo>
                      <a:pt x="254" y="8"/>
                      <a:pt x="255" y="8"/>
                      <a:pt x="255" y="8"/>
                    </a:cubicBezTo>
                    <a:cubicBezTo>
                      <a:pt x="257" y="9"/>
                      <a:pt x="256" y="13"/>
                      <a:pt x="255" y="15"/>
                    </a:cubicBezTo>
                    <a:cubicBezTo>
                      <a:pt x="255" y="16"/>
                      <a:pt x="254" y="19"/>
                      <a:pt x="253" y="19"/>
                    </a:cubicBezTo>
                    <a:cubicBezTo>
                      <a:pt x="253" y="20"/>
                      <a:pt x="252" y="20"/>
                      <a:pt x="252" y="20"/>
                    </a:cubicBezTo>
                    <a:cubicBezTo>
                      <a:pt x="251" y="20"/>
                      <a:pt x="250" y="20"/>
                      <a:pt x="249" y="19"/>
                    </a:cubicBezTo>
                    <a:cubicBezTo>
                      <a:pt x="248" y="19"/>
                      <a:pt x="247" y="19"/>
                      <a:pt x="247" y="19"/>
                    </a:cubicBezTo>
                    <a:cubicBezTo>
                      <a:pt x="247" y="19"/>
                      <a:pt x="246" y="19"/>
                      <a:pt x="246" y="19"/>
                    </a:cubicBezTo>
                    <a:cubicBezTo>
                      <a:pt x="246" y="19"/>
                      <a:pt x="245" y="20"/>
                      <a:pt x="245" y="20"/>
                    </a:cubicBezTo>
                    <a:cubicBezTo>
                      <a:pt x="245" y="20"/>
                      <a:pt x="245" y="20"/>
                      <a:pt x="245" y="20"/>
                    </a:cubicBezTo>
                    <a:cubicBezTo>
                      <a:pt x="241" y="20"/>
                      <a:pt x="241" y="15"/>
                      <a:pt x="241" y="12"/>
                    </a:cubicBezTo>
                    <a:cubicBezTo>
                      <a:pt x="240" y="12"/>
                      <a:pt x="241" y="11"/>
                      <a:pt x="241" y="10"/>
                    </a:cubicBezTo>
                    <a:cubicBezTo>
                      <a:pt x="240" y="9"/>
                      <a:pt x="235" y="9"/>
                      <a:pt x="233" y="8"/>
                    </a:cubicBezTo>
                    <a:cubicBezTo>
                      <a:pt x="234" y="13"/>
                      <a:pt x="235" y="15"/>
                      <a:pt x="232" y="17"/>
                    </a:cubicBezTo>
                    <a:cubicBezTo>
                      <a:pt x="230" y="20"/>
                      <a:pt x="227" y="21"/>
                      <a:pt x="225" y="24"/>
                    </a:cubicBezTo>
                    <a:cubicBezTo>
                      <a:pt x="222" y="27"/>
                      <a:pt x="221" y="27"/>
                      <a:pt x="223" y="32"/>
                    </a:cubicBezTo>
                    <a:cubicBezTo>
                      <a:pt x="224" y="35"/>
                      <a:pt x="221" y="42"/>
                      <a:pt x="220" y="46"/>
                    </a:cubicBezTo>
                    <a:cubicBezTo>
                      <a:pt x="219" y="45"/>
                      <a:pt x="218" y="45"/>
                      <a:pt x="218" y="45"/>
                    </a:cubicBezTo>
                    <a:cubicBezTo>
                      <a:pt x="218" y="46"/>
                      <a:pt x="220" y="48"/>
                      <a:pt x="221" y="49"/>
                    </a:cubicBezTo>
                    <a:cubicBezTo>
                      <a:pt x="221" y="49"/>
                      <a:pt x="221" y="49"/>
                      <a:pt x="221" y="49"/>
                    </a:cubicBezTo>
                    <a:cubicBezTo>
                      <a:pt x="221" y="49"/>
                      <a:pt x="222" y="48"/>
                      <a:pt x="222" y="48"/>
                    </a:cubicBezTo>
                    <a:cubicBezTo>
                      <a:pt x="222" y="48"/>
                      <a:pt x="222" y="48"/>
                      <a:pt x="222" y="48"/>
                    </a:cubicBezTo>
                    <a:cubicBezTo>
                      <a:pt x="222" y="48"/>
                      <a:pt x="222" y="48"/>
                      <a:pt x="223" y="48"/>
                    </a:cubicBezTo>
                    <a:cubicBezTo>
                      <a:pt x="224" y="48"/>
                      <a:pt x="225" y="48"/>
                      <a:pt x="226" y="50"/>
                    </a:cubicBezTo>
                    <a:cubicBezTo>
                      <a:pt x="228" y="53"/>
                      <a:pt x="225" y="58"/>
                      <a:pt x="224" y="62"/>
                    </a:cubicBezTo>
                    <a:cubicBezTo>
                      <a:pt x="222" y="70"/>
                      <a:pt x="219" y="76"/>
                      <a:pt x="215" y="83"/>
                    </a:cubicBezTo>
                    <a:cubicBezTo>
                      <a:pt x="214" y="87"/>
                      <a:pt x="212" y="90"/>
                      <a:pt x="211" y="94"/>
                    </a:cubicBezTo>
                    <a:cubicBezTo>
                      <a:pt x="211" y="96"/>
                      <a:pt x="211" y="97"/>
                      <a:pt x="210" y="98"/>
                    </a:cubicBezTo>
                    <a:cubicBezTo>
                      <a:pt x="209" y="101"/>
                      <a:pt x="206" y="103"/>
                      <a:pt x="204" y="105"/>
                    </a:cubicBezTo>
                    <a:cubicBezTo>
                      <a:pt x="200" y="109"/>
                      <a:pt x="195" y="113"/>
                      <a:pt x="191" y="117"/>
                    </a:cubicBezTo>
                    <a:cubicBezTo>
                      <a:pt x="190" y="118"/>
                      <a:pt x="190" y="120"/>
                      <a:pt x="188" y="121"/>
                    </a:cubicBezTo>
                    <a:cubicBezTo>
                      <a:pt x="181" y="124"/>
                      <a:pt x="173" y="127"/>
                      <a:pt x="166" y="131"/>
                    </a:cubicBezTo>
                    <a:cubicBezTo>
                      <a:pt x="163" y="133"/>
                      <a:pt x="160" y="138"/>
                      <a:pt x="156" y="138"/>
                    </a:cubicBezTo>
                    <a:cubicBezTo>
                      <a:pt x="155" y="138"/>
                      <a:pt x="154" y="138"/>
                      <a:pt x="153" y="137"/>
                    </a:cubicBezTo>
                    <a:cubicBezTo>
                      <a:pt x="151" y="135"/>
                      <a:pt x="151" y="135"/>
                      <a:pt x="152" y="133"/>
                    </a:cubicBezTo>
                    <a:cubicBezTo>
                      <a:pt x="152" y="132"/>
                      <a:pt x="153" y="129"/>
                      <a:pt x="152" y="129"/>
                    </a:cubicBezTo>
                    <a:cubicBezTo>
                      <a:pt x="152" y="128"/>
                      <a:pt x="152" y="128"/>
                      <a:pt x="152" y="128"/>
                    </a:cubicBezTo>
                    <a:cubicBezTo>
                      <a:pt x="152" y="128"/>
                      <a:pt x="151" y="128"/>
                      <a:pt x="151" y="129"/>
                    </a:cubicBezTo>
                    <a:cubicBezTo>
                      <a:pt x="151" y="129"/>
                      <a:pt x="151" y="129"/>
                      <a:pt x="151" y="129"/>
                    </a:cubicBezTo>
                    <a:cubicBezTo>
                      <a:pt x="151" y="129"/>
                      <a:pt x="151" y="129"/>
                      <a:pt x="151" y="129"/>
                    </a:cubicBezTo>
                    <a:cubicBezTo>
                      <a:pt x="150" y="129"/>
                      <a:pt x="148" y="129"/>
                      <a:pt x="148" y="128"/>
                    </a:cubicBezTo>
                    <a:cubicBezTo>
                      <a:pt x="147" y="125"/>
                      <a:pt x="151" y="126"/>
                      <a:pt x="152" y="125"/>
                    </a:cubicBezTo>
                    <a:cubicBezTo>
                      <a:pt x="153" y="125"/>
                      <a:pt x="153" y="123"/>
                      <a:pt x="155" y="122"/>
                    </a:cubicBezTo>
                    <a:cubicBezTo>
                      <a:pt x="155" y="122"/>
                      <a:pt x="155" y="122"/>
                      <a:pt x="155" y="122"/>
                    </a:cubicBezTo>
                    <a:cubicBezTo>
                      <a:pt x="155" y="122"/>
                      <a:pt x="155" y="122"/>
                      <a:pt x="156" y="122"/>
                    </a:cubicBezTo>
                    <a:cubicBezTo>
                      <a:pt x="156" y="122"/>
                      <a:pt x="156" y="123"/>
                      <a:pt x="156" y="123"/>
                    </a:cubicBezTo>
                    <a:cubicBezTo>
                      <a:pt x="157" y="123"/>
                      <a:pt x="157" y="122"/>
                      <a:pt x="157" y="122"/>
                    </a:cubicBezTo>
                    <a:cubicBezTo>
                      <a:pt x="159" y="121"/>
                      <a:pt x="161" y="117"/>
                      <a:pt x="157" y="116"/>
                    </a:cubicBezTo>
                    <a:cubicBezTo>
                      <a:pt x="157" y="116"/>
                      <a:pt x="157" y="116"/>
                      <a:pt x="157" y="116"/>
                    </a:cubicBezTo>
                    <a:cubicBezTo>
                      <a:pt x="157" y="116"/>
                      <a:pt x="155" y="117"/>
                      <a:pt x="154" y="117"/>
                    </a:cubicBezTo>
                    <a:cubicBezTo>
                      <a:pt x="152" y="118"/>
                      <a:pt x="148" y="119"/>
                      <a:pt x="146" y="120"/>
                    </a:cubicBezTo>
                    <a:cubicBezTo>
                      <a:pt x="142" y="123"/>
                      <a:pt x="146" y="129"/>
                      <a:pt x="145" y="133"/>
                    </a:cubicBezTo>
                    <a:cubicBezTo>
                      <a:pt x="145" y="137"/>
                      <a:pt x="141" y="140"/>
                      <a:pt x="138" y="143"/>
                    </a:cubicBezTo>
                    <a:cubicBezTo>
                      <a:pt x="135" y="148"/>
                      <a:pt x="128" y="155"/>
                      <a:pt x="127" y="161"/>
                    </a:cubicBezTo>
                    <a:cubicBezTo>
                      <a:pt x="127" y="163"/>
                      <a:pt x="129" y="165"/>
                      <a:pt x="128" y="168"/>
                    </a:cubicBezTo>
                    <a:cubicBezTo>
                      <a:pt x="128" y="168"/>
                      <a:pt x="128" y="168"/>
                      <a:pt x="127" y="168"/>
                    </a:cubicBezTo>
                    <a:cubicBezTo>
                      <a:pt x="126" y="168"/>
                      <a:pt x="123" y="172"/>
                      <a:pt x="122" y="172"/>
                    </a:cubicBezTo>
                    <a:cubicBezTo>
                      <a:pt x="121" y="173"/>
                      <a:pt x="120" y="173"/>
                      <a:pt x="119" y="173"/>
                    </a:cubicBezTo>
                    <a:cubicBezTo>
                      <a:pt x="118" y="173"/>
                      <a:pt x="117" y="173"/>
                      <a:pt x="116" y="173"/>
                    </a:cubicBezTo>
                    <a:cubicBezTo>
                      <a:pt x="116" y="173"/>
                      <a:pt x="115" y="172"/>
                      <a:pt x="114" y="172"/>
                    </a:cubicBezTo>
                    <a:cubicBezTo>
                      <a:pt x="113" y="172"/>
                      <a:pt x="111" y="173"/>
                      <a:pt x="110" y="174"/>
                    </a:cubicBezTo>
                    <a:cubicBezTo>
                      <a:pt x="108" y="172"/>
                      <a:pt x="108" y="171"/>
                      <a:pt x="108" y="169"/>
                    </a:cubicBezTo>
                    <a:cubicBezTo>
                      <a:pt x="108" y="168"/>
                      <a:pt x="109" y="168"/>
                      <a:pt x="109" y="168"/>
                    </a:cubicBezTo>
                    <a:cubicBezTo>
                      <a:pt x="109" y="166"/>
                      <a:pt x="108" y="166"/>
                      <a:pt x="107" y="166"/>
                    </a:cubicBezTo>
                    <a:cubicBezTo>
                      <a:pt x="104" y="166"/>
                      <a:pt x="99" y="168"/>
                      <a:pt x="98" y="169"/>
                    </a:cubicBezTo>
                    <a:cubicBezTo>
                      <a:pt x="90" y="171"/>
                      <a:pt x="79" y="170"/>
                      <a:pt x="70" y="171"/>
                    </a:cubicBezTo>
                    <a:cubicBezTo>
                      <a:pt x="61" y="172"/>
                      <a:pt x="53" y="173"/>
                      <a:pt x="43" y="175"/>
                    </a:cubicBezTo>
                    <a:cubicBezTo>
                      <a:pt x="45" y="179"/>
                      <a:pt x="42" y="180"/>
                      <a:pt x="39" y="182"/>
                    </a:cubicBezTo>
                    <a:cubicBezTo>
                      <a:pt x="33" y="186"/>
                      <a:pt x="28" y="191"/>
                      <a:pt x="22" y="195"/>
                    </a:cubicBezTo>
                    <a:cubicBezTo>
                      <a:pt x="20" y="196"/>
                      <a:pt x="17" y="198"/>
                      <a:pt x="15" y="200"/>
                    </a:cubicBezTo>
                    <a:cubicBezTo>
                      <a:pt x="13" y="202"/>
                      <a:pt x="13" y="203"/>
                      <a:pt x="10" y="204"/>
                    </a:cubicBezTo>
                    <a:cubicBezTo>
                      <a:pt x="10" y="204"/>
                      <a:pt x="9" y="204"/>
                      <a:pt x="9" y="204"/>
                    </a:cubicBezTo>
                    <a:cubicBezTo>
                      <a:pt x="8" y="204"/>
                      <a:pt x="7" y="204"/>
                      <a:pt x="6" y="204"/>
                    </a:cubicBezTo>
                    <a:cubicBezTo>
                      <a:pt x="5" y="203"/>
                      <a:pt x="4" y="203"/>
                      <a:pt x="4" y="203"/>
                    </a:cubicBezTo>
                    <a:cubicBezTo>
                      <a:pt x="3" y="203"/>
                      <a:pt x="2" y="203"/>
                      <a:pt x="2" y="204"/>
                    </a:cubicBezTo>
                    <a:cubicBezTo>
                      <a:pt x="2" y="204"/>
                      <a:pt x="2" y="204"/>
                      <a:pt x="2" y="204"/>
                    </a:cubicBezTo>
                    <a:cubicBezTo>
                      <a:pt x="2" y="204"/>
                      <a:pt x="0" y="206"/>
                      <a:pt x="0" y="206"/>
                    </a:cubicBezTo>
                    <a:cubicBezTo>
                      <a:pt x="0" y="207"/>
                      <a:pt x="1" y="209"/>
                      <a:pt x="1" y="210"/>
                    </a:cubicBezTo>
                    <a:cubicBezTo>
                      <a:pt x="1" y="210"/>
                      <a:pt x="0" y="211"/>
                      <a:pt x="0" y="211"/>
                    </a:cubicBezTo>
                    <a:cubicBezTo>
                      <a:pt x="0" y="212"/>
                      <a:pt x="1" y="212"/>
                      <a:pt x="1" y="213"/>
                    </a:cubicBezTo>
                    <a:cubicBezTo>
                      <a:pt x="0" y="214"/>
                      <a:pt x="2" y="215"/>
                      <a:pt x="0" y="216"/>
                    </a:cubicBezTo>
                    <a:cubicBezTo>
                      <a:pt x="1" y="216"/>
                      <a:pt x="1" y="216"/>
                      <a:pt x="1" y="216"/>
                    </a:cubicBezTo>
                    <a:cubicBezTo>
                      <a:pt x="2" y="216"/>
                      <a:pt x="2" y="216"/>
                      <a:pt x="2" y="216"/>
                    </a:cubicBezTo>
                    <a:cubicBezTo>
                      <a:pt x="2" y="216"/>
                      <a:pt x="3" y="216"/>
                      <a:pt x="3" y="216"/>
                    </a:cubicBezTo>
                    <a:cubicBezTo>
                      <a:pt x="3" y="216"/>
                      <a:pt x="3" y="216"/>
                      <a:pt x="3" y="216"/>
                    </a:cubicBezTo>
                    <a:cubicBezTo>
                      <a:pt x="10" y="216"/>
                      <a:pt x="16" y="215"/>
                      <a:pt x="23" y="215"/>
                    </a:cubicBezTo>
                    <a:cubicBezTo>
                      <a:pt x="22" y="216"/>
                      <a:pt x="25" y="216"/>
                      <a:pt x="27" y="216"/>
                    </a:cubicBezTo>
                    <a:cubicBezTo>
                      <a:pt x="28" y="217"/>
                      <a:pt x="29" y="217"/>
                      <a:pt x="30" y="218"/>
                    </a:cubicBezTo>
                    <a:cubicBezTo>
                      <a:pt x="31" y="217"/>
                      <a:pt x="34" y="205"/>
                      <a:pt x="37" y="205"/>
                    </a:cubicBezTo>
                    <a:cubicBezTo>
                      <a:pt x="37" y="205"/>
                      <a:pt x="37" y="205"/>
                      <a:pt x="38" y="205"/>
                    </a:cubicBezTo>
                    <a:cubicBezTo>
                      <a:pt x="41" y="207"/>
                      <a:pt x="41" y="209"/>
                      <a:pt x="43" y="209"/>
                    </a:cubicBezTo>
                    <a:cubicBezTo>
                      <a:pt x="44" y="209"/>
                      <a:pt x="45" y="209"/>
                      <a:pt x="45" y="209"/>
                    </a:cubicBezTo>
                    <a:cubicBezTo>
                      <a:pt x="52" y="209"/>
                      <a:pt x="57" y="206"/>
                      <a:pt x="62" y="202"/>
                    </a:cubicBezTo>
                    <a:cubicBezTo>
                      <a:pt x="63" y="202"/>
                      <a:pt x="64" y="201"/>
                      <a:pt x="65" y="201"/>
                    </a:cubicBezTo>
                    <a:cubicBezTo>
                      <a:pt x="66" y="201"/>
                      <a:pt x="68" y="202"/>
                      <a:pt x="69" y="202"/>
                    </a:cubicBezTo>
                    <a:cubicBezTo>
                      <a:pt x="70" y="202"/>
                      <a:pt x="71" y="203"/>
                      <a:pt x="72" y="203"/>
                    </a:cubicBezTo>
                    <a:cubicBezTo>
                      <a:pt x="73" y="203"/>
                      <a:pt x="73" y="202"/>
                      <a:pt x="74" y="202"/>
                    </a:cubicBezTo>
                    <a:cubicBezTo>
                      <a:pt x="76" y="201"/>
                      <a:pt x="75" y="199"/>
                      <a:pt x="77" y="198"/>
                    </a:cubicBezTo>
                    <a:cubicBezTo>
                      <a:pt x="78" y="197"/>
                      <a:pt x="83" y="195"/>
                      <a:pt x="85" y="195"/>
                    </a:cubicBezTo>
                    <a:cubicBezTo>
                      <a:pt x="93" y="195"/>
                      <a:pt x="102" y="195"/>
                      <a:pt x="110" y="195"/>
                    </a:cubicBezTo>
                    <a:cubicBezTo>
                      <a:pt x="116" y="195"/>
                      <a:pt x="112" y="200"/>
                      <a:pt x="110" y="202"/>
                    </a:cubicBezTo>
                    <a:cubicBezTo>
                      <a:pt x="108" y="203"/>
                      <a:pt x="106" y="205"/>
                      <a:pt x="104" y="206"/>
                    </a:cubicBezTo>
                    <a:cubicBezTo>
                      <a:pt x="104" y="207"/>
                      <a:pt x="105" y="209"/>
                      <a:pt x="105" y="210"/>
                    </a:cubicBezTo>
                    <a:cubicBezTo>
                      <a:pt x="105" y="211"/>
                      <a:pt x="105" y="212"/>
                      <a:pt x="105" y="212"/>
                    </a:cubicBezTo>
                    <a:cubicBezTo>
                      <a:pt x="105" y="214"/>
                      <a:pt x="105" y="216"/>
                      <a:pt x="103" y="218"/>
                    </a:cubicBezTo>
                    <a:cubicBezTo>
                      <a:pt x="106" y="220"/>
                      <a:pt x="109" y="221"/>
                      <a:pt x="111" y="223"/>
                    </a:cubicBezTo>
                    <a:cubicBezTo>
                      <a:pt x="106" y="224"/>
                      <a:pt x="120" y="229"/>
                      <a:pt x="121" y="230"/>
                    </a:cubicBezTo>
                    <a:cubicBezTo>
                      <a:pt x="126" y="225"/>
                      <a:pt x="131" y="218"/>
                      <a:pt x="135" y="212"/>
                    </a:cubicBezTo>
                    <a:cubicBezTo>
                      <a:pt x="137" y="209"/>
                      <a:pt x="138" y="208"/>
                      <a:pt x="141" y="207"/>
                    </a:cubicBezTo>
                    <a:cubicBezTo>
                      <a:pt x="141" y="207"/>
                      <a:pt x="142" y="207"/>
                      <a:pt x="142" y="207"/>
                    </a:cubicBezTo>
                    <a:cubicBezTo>
                      <a:pt x="143" y="206"/>
                      <a:pt x="143" y="205"/>
                      <a:pt x="144" y="205"/>
                    </a:cubicBezTo>
                    <a:cubicBezTo>
                      <a:pt x="144" y="205"/>
                      <a:pt x="144" y="205"/>
                      <a:pt x="144" y="205"/>
                    </a:cubicBezTo>
                    <a:cubicBezTo>
                      <a:pt x="144" y="205"/>
                      <a:pt x="144" y="206"/>
                      <a:pt x="144" y="206"/>
                    </a:cubicBezTo>
                    <a:cubicBezTo>
                      <a:pt x="145" y="206"/>
                      <a:pt x="145" y="206"/>
                      <a:pt x="146" y="206"/>
                    </a:cubicBezTo>
                    <a:cubicBezTo>
                      <a:pt x="147" y="206"/>
                      <a:pt x="148" y="206"/>
                      <a:pt x="147" y="208"/>
                    </a:cubicBezTo>
                    <a:cubicBezTo>
                      <a:pt x="148" y="207"/>
                      <a:pt x="148" y="207"/>
                      <a:pt x="148" y="207"/>
                    </a:cubicBezTo>
                    <a:cubicBezTo>
                      <a:pt x="147" y="203"/>
                      <a:pt x="145" y="201"/>
                      <a:pt x="142" y="198"/>
                    </a:cubicBezTo>
                    <a:cubicBezTo>
                      <a:pt x="140" y="197"/>
                      <a:pt x="139" y="199"/>
                      <a:pt x="140" y="195"/>
                    </a:cubicBezTo>
                    <a:cubicBezTo>
                      <a:pt x="142" y="191"/>
                      <a:pt x="144" y="186"/>
                      <a:pt x="148" y="185"/>
                    </a:cubicBezTo>
                    <a:cubicBezTo>
                      <a:pt x="148" y="188"/>
                      <a:pt x="146" y="189"/>
                      <a:pt x="148" y="193"/>
                    </a:cubicBezTo>
                    <a:cubicBezTo>
                      <a:pt x="148" y="194"/>
                      <a:pt x="148" y="195"/>
                      <a:pt x="148" y="195"/>
                    </a:cubicBezTo>
                    <a:cubicBezTo>
                      <a:pt x="148" y="195"/>
                      <a:pt x="149" y="194"/>
                      <a:pt x="149" y="192"/>
                    </a:cubicBezTo>
                    <a:cubicBezTo>
                      <a:pt x="150" y="191"/>
                      <a:pt x="150" y="190"/>
                      <a:pt x="150" y="189"/>
                    </a:cubicBezTo>
                    <a:cubicBezTo>
                      <a:pt x="152" y="194"/>
                      <a:pt x="152" y="193"/>
                      <a:pt x="156" y="196"/>
                    </a:cubicBezTo>
                    <a:cubicBezTo>
                      <a:pt x="154" y="197"/>
                      <a:pt x="152" y="196"/>
                      <a:pt x="152" y="199"/>
                    </a:cubicBezTo>
                    <a:cubicBezTo>
                      <a:pt x="158" y="198"/>
                      <a:pt x="164" y="196"/>
                      <a:pt x="170" y="196"/>
                    </a:cubicBezTo>
                    <a:cubicBezTo>
                      <a:pt x="173" y="195"/>
                      <a:pt x="181" y="196"/>
                      <a:pt x="183" y="194"/>
                    </a:cubicBezTo>
                    <a:cubicBezTo>
                      <a:pt x="185" y="192"/>
                      <a:pt x="184" y="190"/>
                      <a:pt x="186" y="189"/>
                    </a:cubicBezTo>
                    <a:cubicBezTo>
                      <a:pt x="187" y="188"/>
                      <a:pt x="188" y="188"/>
                      <a:pt x="189" y="187"/>
                    </a:cubicBezTo>
                    <a:cubicBezTo>
                      <a:pt x="189" y="187"/>
                      <a:pt x="189" y="187"/>
                      <a:pt x="189" y="187"/>
                    </a:cubicBezTo>
                    <a:cubicBezTo>
                      <a:pt x="189" y="187"/>
                      <a:pt x="189" y="185"/>
                      <a:pt x="189" y="185"/>
                    </a:cubicBezTo>
                    <a:cubicBezTo>
                      <a:pt x="190" y="184"/>
                      <a:pt x="191" y="183"/>
                      <a:pt x="193" y="183"/>
                    </a:cubicBezTo>
                    <a:cubicBezTo>
                      <a:pt x="195" y="183"/>
                      <a:pt x="197" y="184"/>
                      <a:pt x="198" y="186"/>
                    </a:cubicBezTo>
                    <a:cubicBezTo>
                      <a:pt x="197" y="186"/>
                      <a:pt x="195" y="186"/>
                      <a:pt x="195" y="187"/>
                    </a:cubicBezTo>
                    <a:cubicBezTo>
                      <a:pt x="194" y="189"/>
                      <a:pt x="196" y="196"/>
                      <a:pt x="196" y="198"/>
                    </a:cubicBezTo>
                    <a:cubicBezTo>
                      <a:pt x="197" y="198"/>
                      <a:pt x="198" y="197"/>
                      <a:pt x="199" y="197"/>
                    </a:cubicBezTo>
                    <a:cubicBezTo>
                      <a:pt x="202" y="194"/>
                      <a:pt x="204" y="191"/>
                      <a:pt x="203" y="187"/>
                    </a:cubicBezTo>
                    <a:cubicBezTo>
                      <a:pt x="203" y="186"/>
                      <a:pt x="203" y="185"/>
                      <a:pt x="203" y="184"/>
                    </a:cubicBezTo>
                    <a:cubicBezTo>
                      <a:pt x="205" y="183"/>
                      <a:pt x="208" y="182"/>
                      <a:pt x="210" y="182"/>
                    </a:cubicBezTo>
                    <a:cubicBezTo>
                      <a:pt x="214" y="182"/>
                      <a:pt x="218" y="184"/>
                      <a:pt x="220" y="188"/>
                    </a:cubicBezTo>
                    <a:cubicBezTo>
                      <a:pt x="220" y="188"/>
                      <a:pt x="220" y="188"/>
                      <a:pt x="219" y="188"/>
                    </a:cubicBezTo>
                    <a:cubicBezTo>
                      <a:pt x="220" y="189"/>
                      <a:pt x="221" y="189"/>
                      <a:pt x="221" y="189"/>
                    </a:cubicBezTo>
                    <a:cubicBezTo>
                      <a:pt x="221" y="189"/>
                      <a:pt x="221" y="189"/>
                      <a:pt x="221" y="189"/>
                    </a:cubicBezTo>
                    <a:cubicBezTo>
                      <a:pt x="222" y="189"/>
                      <a:pt x="222" y="189"/>
                      <a:pt x="223" y="189"/>
                    </a:cubicBezTo>
                    <a:cubicBezTo>
                      <a:pt x="227" y="188"/>
                      <a:pt x="234" y="183"/>
                      <a:pt x="235" y="179"/>
                    </a:cubicBezTo>
                    <a:cubicBezTo>
                      <a:pt x="235" y="171"/>
                      <a:pt x="240" y="170"/>
                      <a:pt x="246" y="166"/>
                    </a:cubicBezTo>
                    <a:cubicBezTo>
                      <a:pt x="244" y="163"/>
                      <a:pt x="241" y="159"/>
                      <a:pt x="240" y="156"/>
                    </a:cubicBezTo>
                    <a:cubicBezTo>
                      <a:pt x="239" y="153"/>
                      <a:pt x="240" y="150"/>
                      <a:pt x="240" y="147"/>
                    </a:cubicBezTo>
                    <a:cubicBezTo>
                      <a:pt x="242" y="143"/>
                      <a:pt x="243" y="139"/>
                      <a:pt x="245" y="135"/>
                    </a:cubicBezTo>
                    <a:cubicBezTo>
                      <a:pt x="245" y="133"/>
                      <a:pt x="247" y="133"/>
                      <a:pt x="248" y="132"/>
                    </a:cubicBezTo>
                    <a:cubicBezTo>
                      <a:pt x="250" y="130"/>
                      <a:pt x="250" y="126"/>
                      <a:pt x="250" y="124"/>
                    </a:cubicBezTo>
                    <a:cubicBezTo>
                      <a:pt x="249" y="117"/>
                      <a:pt x="248" y="110"/>
                      <a:pt x="248" y="103"/>
                    </a:cubicBezTo>
                    <a:cubicBezTo>
                      <a:pt x="248" y="100"/>
                      <a:pt x="248" y="98"/>
                      <a:pt x="249" y="96"/>
                    </a:cubicBezTo>
                    <a:cubicBezTo>
                      <a:pt x="251" y="93"/>
                      <a:pt x="251" y="94"/>
                      <a:pt x="254" y="92"/>
                    </a:cubicBezTo>
                    <a:cubicBezTo>
                      <a:pt x="255" y="92"/>
                      <a:pt x="256" y="91"/>
                      <a:pt x="257" y="91"/>
                    </a:cubicBezTo>
                    <a:cubicBezTo>
                      <a:pt x="257" y="91"/>
                      <a:pt x="257" y="91"/>
                      <a:pt x="258" y="91"/>
                    </a:cubicBezTo>
                    <a:cubicBezTo>
                      <a:pt x="260" y="91"/>
                      <a:pt x="261" y="93"/>
                      <a:pt x="262" y="94"/>
                    </a:cubicBezTo>
                    <a:cubicBezTo>
                      <a:pt x="262" y="87"/>
                      <a:pt x="261" y="84"/>
                      <a:pt x="264" y="77"/>
                    </a:cubicBezTo>
                    <a:cubicBezTo>
                      <a:pt x="265" y="75"/>
                      <a:pt x="265" y="75"/>
                      <a:pt x="266" y="75"/>
                    </a:cubicBezTo>
                    <a:cubicBezTo>
                      <a:pt x="266" y="75"/>
                      <a:pt x="266" y="75"/>
                      <a:pt x="266" y="75"/>
                    </a:cubicBezTo>
                    <a:cubicBezTo>
                      <a:pt x="266" y="75"/>
                      <a:pt x="266" y="75"/>
                      <a:pt x="267" y="74"/>
                    </a:cubicBezTo>
                    <a:cubicBezTo>
                      <a:pt x="268" y="73"/>
                      <a:pt x="268" y="73"/>
                      <a:pt x="268" y="73"/>
                    </a:cubicBezTo>
                    <a:cubicBezTo>
                      <a:pt x="270" y="73"/>
                      <a:pt x="270" y="73"/>
                      <a:pt x="270" y="73"/>
                    </a:cubicBezTo>
                    <a:cubicBezTo>
                      <a:pt x="272" y="71"/>
                      <a:pt x="276" y="61"/>
                      <a:pt x="274" y="60"/>
                    </a:cubicBezTo>
                    <a:cubicBezTo>
                      <a:pt x="278" y="57"/>
                      <a:pt x="270" y="41"/>
                      <a:pt x="268" y="36"/>
                    </a:cubicBezTo>
                    <a:cubicBezTo>
                      <a:pt x="266" y="31"/>
                      <a:pt x="261" y="27"/>
                      <a:pt x="260" y="21"/>
                    </a:cubicBezTo>
                    <a:cubicBezTo>
                      <a:pt x="259" y="16"/>
                      <a:pt x="260" y="11"/>
                      <a:pt x="260" y="6"/>
                    </a:cubicBezTo>
                    <a:cubicBezTo>
                      <a:pt x="260" y="6"/>
                      <a:pt x="261" y="5"/>
                      <a:pt x="261" y="4"/>
                    </a:cubicBezTo>
                    <a:cubicBezTo>
                      <a:pt x="261" y="3"/>
                      <a:pt x="256" y="3"/>
                      <a:pt x="255" y="2"/>
                    </a:cubicBezTo>
                    <a:cubicBezTo>
                      <a:pt x="254" y="2"/>
                      <a:pt x="250" y="0"/>
                      <a:pt x="2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97"/>
              <p:cNvSpPr>
                <a:spLocks noEditPoints="1"/>
              </p:cNvSpPr>
              <p:nvPr/>
            </p:nvSpPr>
            <p:spPr bwMode="auto">
              <a:xfrm>
                <a:off x="5920" y="2256"/>
                <a:ext cx="159" cy="107"/>
              </a:xfrm>
              <a:custGeom>
                <a:gdLst>
                  <a:gd name="T0" fmla="*/ 1 w 67"/>
                  <a:gd name="T1" fmla="*/ 28 h 45"/>
                  <a:gd name="T2" fmla="*/ 0 w 67"/>
                  <a:gd name="T3" fmla="*/ 28 h 45"/>
                  <a:gd name="T4" fmla="*/ 1 w 67"/>
                  <a:gd name="T5" fmla="*/ 28 h 45"/>
                  <a:gd name="T6" fmla="*/ 48 w 67"/>
                  <a:gd name="T7" fmla="*/ 0 h 45"/>
                  <a:gd name="T8" fmla="*/ 38 w 67"/>
                  <a:gd name="T9" fmla="*/ 3 h 45"/>
                  <a:gd name="T10" fmla="*/ 39 w 67"/>
                  <a:gd name="T11" fmla="*/ 9 h 45"/>
                  <a:gd name="T12" fmla="*/ 29 w 67"/>
                  <a:gd name="T13" fmla="*/ 12 h 45"/>
                  <a:gd name="T14" fmla="*/ 26 w 67"/>
                  <a:gd name="T15" fmla="*/ 11 h 45"/>
                  <a:gd name="T16" fmla="*/ 23 w 67"/>
                  <a:gd name="T17" fmla="*/ 7 h 45"/>
                  <a:gd name="T18" fmla="*/ 22 w 67"/>
                  <a:gd name="T19" fmla="*/ 7 h 45"/>
                  <a:gd name="T20" fmla="*/ 17 w 67"/>
                  <a:gd name="T21" fmla="*/ 13 h 45"/>
                  <a:gd name="T22" fmla="*/ 16 w 67"/>
                  <a:gd name="T23" fmla="*/ 17 h 45"/>
                  <a:gd name="T24" fmla="*/ 1 w 67"/>
                  <a:gd name="T25" fmla="*/ 28 h 45"/>
                  <a:gd name="T26" fmla="*/ 4 w 67"/>
                  <a:gd name="T27" fmla="*/ 27 h 45"/>
                  <a:gd name="T28" fmla="*/ 7 w 67"/>
                  <a:gd name="T29" fmla="*/ 25 h 45"/>
                  <a:gd name="T30" fmla="*/ 8 w 67"/>
                  <a:gd name="T31" fmla="*/ 25 h 45"/>
                  <a:gd name="T32" fmla="*/ 10 w 67"/>
                  <a:gd name="T33" fmla="*/ 27 h 45"/>
                  <a:gd name="T34" fmla="*/ 11 w 67"/>
                  <a:gd name="T35" fmla="*/ 29 h 45"/>
                  <a:gd name="T36" fmla="*/ 12 w 67"/>
                  <a:gd name="T37" fmla="*/ 29 h 45"/>
                  <a:gd name="T38" fmla="*/ 10 w 67"/>
                  <a:gd name="T39" fmla="*/ 32 h 45"/>
                  <a:gd name="T40" fmla="*/ 10 w 67"/>
                  <a:gd name="T41" fmla="*/ 36 h 45"/>
                  <a:gd name="T42" fmla="*/ 12 w 67"/>
                  <a:gd name="T43" fmla="*/ 40 h 45"/>
                  <a:gd name="T44" fmla="*/ 14 w 67"/>
                  <a:gd name="T45" fmla="*/ 39 h 45"/>
                  <a:gd name="T46" fmla="*/ 16 w 67"/>
                  <a:gd name="T47" fmla="*/ 44 h 45"/>
                  <a:gd name="T48" fmla="*/ 17 w 67"/>
                  <a:gd name="T49" fmla="*/ 44 h 45"/>
                  <a:gd name="T50" fmla="*/ 20 w 67"/>
                  <a:gd name="T51" fmla="*/ 44 h 45"/>
                  <a:gd name="T52" fmla="*/ 24 w 67"/>
                  <a:gd name="T53" fmla="*/ 45 h 45"/>
                  <a:gd name="T54" fmla="*/ 25 w 67"/>
                  <a:gd name="T55" fmla="*/ 44 h 45"/>
                  <a:gd name="T56" fmla="*/ 24 w 67"/>
                  <a:gd name="T57" fmla="*/ 43 h 45"/>
                  <a:gd name="T58" fmla="*/ 24 w 67"/>
                  <a:gd name="T59" fmla="*/ 41 h 45"/>
                  <a:gd name="T60" fmla="*/ 34 w 67"/>
                  <a:gd name="T61" fmla="*/ 29 h 45"/>
                  <a:gd name="T62" fmla="*/ 44 w 67"/>
                  <a:gd name="T63" fmla="*/ 23 h 45"/>
                  <a:gd name="T64" fmla="*/ 47 w 67"/>
                  <a:gd name="T65" fmla="*/ 24 h 45"/>
                  <a:gd name="T66" fmla="*/ 54 w 67"/>
                  <a:gd name="T67" fmla="*/ 30 h 45"/>
                  <a:gd name="T68" fmla="*/ 67 w 67"/>
                  <a:gd name="T69" fmla="*/ 14 h 45"/>
                  <a:gd name="T70" fmla="*/ 64 w 67"/>
                  <a:gd name="T71" fmla="*/ 10 h 45"/>
                  <a:gd name="T72" fmla="*/ 65 w 67"/>
                  <a:gd name="T73" fmla="*/ 3 h 45"/>
                  <a:gd name="T74" fmla="*/ 64 w 67"/>
                  <a:gd name="T75" fmla="*/ 4 h 45"/>
                  <a:gd name="T76" fmla="*/ 64 w 67"/>
                  <a:gd name="T77" fmla="*/ 3 h 45"/>
                  <a:gd name="T78" fmla="*/ 63 w 67"/>
                  <a:gd name="T79" fmla="*/ 3 h 45"/>
                  <a:gd name="T80" fmla="*/ 62 w 67"/>
                  <a:gd name="T81" fmla="*/ 4 h 45"/>
                  <a:gd name="T82" fmla="*/ 62 w 67"/>
                  <a:gd name="T83" fmla="*/ 4 h 45"/>
                  <a:gd name="T84" fmla="*/ 50 w 67"/>
                  <a:gd name="T85" fmla="*/ 0 h 45"/>
                  <a:gd name="T86" fmla="*/ 48 w 67"/>
                  <a:gd name="T87"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 h="45">
                    <a:moveTo>
                      <a:pt x="1" y="28"/>
                    </a:moveTo>
                    <a:cubicBezTo>
                      <a:pt x="1" y="28"/>
                      <a:pt x="0" y="28"/>
                      <a:pt x="0" y="28"/>
                    </a:cubicBezTo>
                    <a:cubicBezTo>
                      <a:pt x="0" y="28"/>
                      <a:pt x="1" y="28"/>
                      <a:pt x="1" y="28"/>
                    </a:cubicBezTo>
                    <a:moveTo>
                      <a:pt x="48" y="0"/>
                    </a:moveTo>
                    <a:cubicBezTo>
                      <a:pt x="45" y="0"/>
                      <a:pt x="41" y="1"/>
                      <a:pt x="38" y="3"/>
                    </a:cubicBezTo>
                    <a:cubicBezTo>
                      <a:pt x="41" y="4"/>
                      <a:pt x="40" y="6"/>
                      <a:pt x="39" y="9"/>
                    </a:cubicBezTo>
                    <a:cubicBezTo>
                      <a:pt x="36" y="9"/>
                      <a:pt x="32" y="12"/>
                      <a:pt x="29" y="12"/>
                    </a:cubicBezTo>
                    <a:cubicBezTo>
                      <a:pt x="28" y="12"/>
                      <a:pt x="27" y="11"/>
                      <a:pt x="26" y="11"/>
                    </a:cubicBezTo>
                    <a:cubicBezTo>
                      <a:pt x="25" y="10"/>
                      <a:pt x="25" y="7"/>
                      <a:pt x="23" y="7"/>
                    </a:cubicBezTo>
                    <a:cubicBezTo>
                      <a:pt x="23" y="7"/>
                      <a:pt x="22" y="7"/>
                      <a:pt x="22" y="7"/>
                    </a:cubicBezTo>
                    <a:cubicBezTo>
                      <a:pt x="23" y="7"/>
                      <a:pt x="18" y="11"/>
                      <a:pt x="17" y="13"/>
                    </a:cubicBezTo>
                    <a:cubicBezTo>
                      <a:pt x="17" y="15"/>
                      <a:pt x="18" y="16"/>
                      <a:pt x="16" y="17"/>
                    </a:cubicBezTo>
                    <a:cubicBezTo>
                      <a:pt x="11" y="21"/>
                      <a:pt x="6" y="24"/>
                      <a:pt x="1" y="28"/>
                    </a:cubicBezTo>
                    <a:cubicBezTo>
                      <a:pt x="2" y="27"/>
                      <a:pt x="3" y="27"/>
                      <a:pt x="4" y="27"/>
                    </a:cubicBezTo>
                    <a:cubicBezTo>
                      <a:pt x="5" y="26"/>
                      <a:pt x="6" y="25"/>
                      <a:pt x="7" y="25"/>
                    </a:cubicBezTo>
                    <a:cubicBezTo>
                      <a:pt x="8" y="25"/>
                      <a:pt x="8" y="25"/>
                      <a:pt x="8" y="25"/>
                    </a:cubicBezTo>
                    <a:cubicBezTo>
                      <a:pt x="10" y="25"/>
                      <a:pt x="10" y="26"/>
                      <a:pt x="10" y="27"/>
                    </a:cubicBezTo>
                    <a:cubicBezTo>
                      <a:pt x="10" y="28"/>
                      <a:pt x="9" y="29"/>
                      <a:pt x="11" y="29"/>
                    </a:cubicBezTo>
                    <a:cubicBezTo>
                      <a:pt x="11" y="29"/>
                      <a:pt x="11" y="29"/>
                      <a:pt x="12" y="29"/>
                    </a:cubicBezTo>
                    <a:cubicBezTo>
                      <a:pt x="11" y="30"/>
                      <a:pt x="11" y="31"/>
                      <a:pt x="10" y="32"/>
                    </a:cubicBezTo>
                    <a:cubicBezTo>
                      <a:pt x="11" y="32"/>
                      <a:pt x="11" y="35"/>
                      <a:pt x="10" y="36"/>
                    </a:cubicBezTo>
                    <a:cubicBezTo>
                      <a:pt x="13" y="36"/>
                      <a:pt x="12" y="38"/>
                      <a:pt x="12" y="40"/>
                    </a:cubicBezTo>
                    <a:cubicBezTo>
                      <a:pt x="13" y="39"/>
                      <a:pt x="13" y="39"/>
                      <a:pt x="14" y="39"/>
                    </a:cubicBezTo>
                    <a:cubicBezTo>
                      <a:pt x="16" y="39"/>
                      <a:pt x="16" y="42"/>
                      <a:pt x="16" y="44"/>
                    </a:cubicBezTo>
                    <a:cubicBezTo>
                      <a:pt x="16" y="44"/>
                      <a:pt x="17" y="44"/>
                      <a:pt x="17" y="44"/>
                    </a:cubicBezTo>
                    <a:cubicBezTo>
                      <a:pt x="18" y="44"/>
                      <a:pt x="19" y="44"/>
                      <a:pt x="20" y="44"/>
                    </a:cubicBezTo>
                    <a:cubicBezTo>
                      <a:pt x="22" y="45"/>
                      <a:pt x="23" y="45"/>
                      <a:pt x="24" y="45"/>
                    </a:cubicBezTo>
                    <a:cubicBezTo>
                      <a:pt x="24" y="45"/>
                      <a:pt x="25" y="45"/>
                      <a:pt x="25" y="44"/>
                    </a:cubicBezTo>
                    <a:cubicBezTo>
                      <a:pt x="25" y="43"/>
                      <a:pt x="24" y="43"/>
                      <a:pt x="24" y="43"/>
                    </a:cubicBezTo>
                    <a:cubicBezTo>
                      <a:pt x="24" y="42"/>
                      <a:pt x="24" y="41"/>
                      <a:pt x="24" y="41"/>
                    </a:cubicBezTo>
                    <a:cubicBezTo>
                      <a:pt x="25" y="36"/>
                      <a:pt x="31" y="32"/>
                      <a:pt x="34" y="29"/>
                    </a:cubicBezTo>
                    <a:cubicBezTo>
                      <a:pt x="37" y="26"/>
                      <a:pt x="40" y="23"/>
                      <a:pt x="44" y="23"/>
                    </a:cubicBezTo>
                    <a:cubicBezTo>
                      <a:pt x="45" y="23"/>
                      <a:pt x="46" y="23"/>
                      <a:pt x="47" y="24"/>
                    </a:cubicBezTo>
                    <a:cubicBezTo>
                      <a:pt x="50" y="25"/>
                      <a:pt x="51" y="29"/>
                      <a:pt x="54" y="30"/>
                    </a:cubicBezTo>
                    <a:cubicBezTo>
                      <a:pt x="54" y="22"/>
                      <a:pt x="62" y="19"/>
                      <a:pt x="67" y="14"/>
                    </a:cubicBezTo>
                    <a:cubicBezTo>
                      <a:pt x="66" y="14"/>
                      <a:pt x="67" y="10"/>
                      <a:pt x="64" y="10"/>
                    </a:cubicBezTo>
                    <a:cubicBezTo>
                      <a:pt x="64" y="8"/>
                      <a:pt x="65" y="5"/>
                      <a:pt x="65" y="3"/>
                    </a:cubicBezTo>
                    <a:cubicBezTo>
                      <a:pt x="65" y="3"/>
                      <a:pt x="65" y="3"/>
                      <a:pt x="64" y="4"/>
                    </a:cubicBezTo>
                    <a:cubicBezTo>
                      <a:pt x="64" y="3"/>
                      <a:pt x="64" y="3"/>
                      <a:pt x="64" y="3"/>
                    </a:cubicBezTo>
                    <a:cubicBezTo>
                      <a:pt x="64" y="3"/>
                      <a:pt x="64" y="3"/>
                      <a:pt x="63" y="3"/>
                    </a:cubicBezTo>
                    <a:cubicBezTo>
                      <a:pt x="63" y="3"/>
                      <a:pt x="63" y="4"/>
                      <a:pt x="62" y="4"/>
                    </a:cubicBezTo>
                    <a:cubicBezTo>
                      <a:pt x="62" y="4"/>
                      <a:pt x="62" y="4"/>
                      <a:pt x="62" y="4"/>
                    </a:cubicBezTo>
                    <a:cubicBezTo>
                      <a:pt x="58" y="3"/>
                      <a:pt x="54" y="2"/>
                      <a:pt x="50" y="0"/>
                    </a:cubicBezTo>
                    <a:cubicBezTo>
                      <a:pt x="50" y="0"/>
                      <a:pt x="49"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98"/>
              <p:cNvSpPr/>
              <p:nvPr/>
            </p:nvSpPr>
            <p:spPr bwMode="auto">
              <a:xfrm>
                <a:off x="5528" y="2859"/>
                <a:ext cx="10" cy="9"/>
              </a:xfrm>
              <a:custGeom>
                <a:gdLst>
                  <a:gd name="T0" fmla="*/ 1 w 4"/>
                  <a:gd name="T1" fmla="*/ 0 h 4"/>
                  <a:gd name="T2" fmla="*/ 1 w 4"/>
                  <a:gd name="T3" fmla="*/ 4 h 4"/>
                  <a:gd name="T4" fmla="*/ 4 w 4"/>
                  <a:gd name="T5" fmla="*/ 4 h 4"/>
                  <a:gd name="T6" fmla="*/ 1 w 4"/>
                  <a:gd name="T7" fmla="*/ 0 h 4"/>
                </a:gdLst>
                <a:cxnLst>
                  <a:cxn ang="0">
                    <a:pos x="T0" y="T1"/>
                  </a:cxn>
                  <a:cxn ang="0">
                    <a:pos x="T2" y="T3"/>
                  </a:cxn>
                  <a:cxn ang="0">
                    <a:pos x="T4" y="T5"/>
                  </a:cxn>
                  <a:cxn ang="0">
                    <a:pos x="T6" y="T7"/>
                  </a:cxn>
                </a:cxnLst>
                <a:rect l="0" t="0" r="r" b="b"/>
                <a:pathLst>
                  <a:path w="4" h="4">
                    <a:moveTo>
                      <a:pt x="1" y="0"/>
                    </a:moveTo>
                    <a:cubicBezTo>
                      <a:pt x="0" y="3"/>
                      <a:pt x="0" y="4"/>
                      <a:pt x="1" y="4"/>
                    </a:cubicBezTo>
                    <a:cubicBezTo>
                      <a:pt x="2" y="4"/>
                      <a:pt x="3" y="4"/>
                      <a:pt x="4" y="4"/>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99"/>
              <p:cNvSpPr/>
              <p:nvPr/>
            </p:nvSpPr>
            <p:spPr bwMode="auto">
              <a:xfrm>
                <a:off x="6443" y="1493"/>
                <a:ext cx="2" cy="11"/>
              </a:xfrm>
              <a:custGeom>
                <a:gdLst>
                  <a:gd name="T0" fmla="*/ 0 w 1"/>
                  <a:gd name="T1" fmla="*/ 0 h 5"/>
                  <a:gd name="T2" fmla="*/ 1 w 1"/>
                  <a:gd name="T3" fmla="*/ 5 h 5"/>
                  <a:gd name="T4" fmla="*/ 0 w 1"/>
                  <a:gd name="T5" fmla="*/ 0 h 5"/>
                </a:gdLst>
                <a:cxnLst>
                  <a:cxn ang="0">
                    <a:pos x="T0" y="T1"/>
                  </a:cxn>
                  <a:cxn ang="0">
                    <a:pos x="T2" y="T3"/>
                  </a:cxn>
                  <a:cxn ang="0">
                    <a:pos x="T4" y="T5"/>
                  </a:cxn>
                </a:cxnLst>
                <a:rect l="0" t="0" r="r" b="b"/>
                <a:pathLst>
                  <a:path w="1" h="5">
                    <a:moveTo>
                      <a:pt x="0" y="0"/>
                    </a:moveTo>
                    <a:cubicBezTo>
                      <a:pt x="1" y="2"/>
                      <a:pt x="0" y="3"/>
                      <a:pt x="1" y="5"/>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100"/>
              <p:cNvSpPr/>
              <p:nvPr/>
            </p:nvSpPr>
            <p:spPr bwMode="auto">
              <a:xfrm>
                <a:off x="5724" y="2358"/>
                <a:ext cx="17" cy="12"/>
              </a:xfrm>
              <a:custGeom>
                <a:gdLst>
                  <a:gd name="T0" fmla="*/ 4 w 7"/>
                  <a:gd name="T1" fmla="*/ 0 h 5"/>
                  <a:gd name="T2" fmla="*/ 1 w 7"/>
                  <a:gd name="T3" fmla="*/ 2 h 5"/>
                  <a:gd name="T4" fmla="*/ 2 w 7"/>
                  <a:gd name="T5" fmla="*/ 5 h 5"/>
                  <a:gd name="T6" fmla="*/ 4 w 7"/>
                  <a:gd name="T7" fmla="*/ 5 h 5"/>
                  <a:gd name="T8" fmla="*/ 6 w 7"/>
                  <a:gd name="T9" fmla="*/ 4 h 5"/>
                  <a:gd name="T10" fmla="*/ 7 w 7"/>
                  <a:gd name="T11" fmla="*/ 4 h 5"/>
                  <a:gd name="T12" fmla="*/ 4 w 7"/>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7" h="5">
                    <a:moveTo>
                      <a:pt x="4" y="0"/>
                    </a:moveTo>
                    <a:cubicBezTo>
                      <a:pt x="3" y="0"/>
                      <a:pt x="2" y="1"/>
                      <a:pt x="1" y="2"/>
                    </a:cubicBezTo>
                    <a:cubicBezTo>
                      <a:pt x="0" y="5"/>
                      <a:pt x="1" y="5"/>
                      <a:pt x="2" y="5"/>
                    </a:cubicBezTo>
                    <a:cubicBezTo>
                      <a:pt x="2" y="5"/>
                      <a:pt x="3" y="5"/>
                      <a:pt x="4" y="5"/>
                    </a:cubicBezTo>
                    <a:cubicBezTo>
                      <a:pt x="5" y="4"/>
                      <a:pt x="6" y="4"/>
                      <a:pt x="6" y="4"/>
                    </a:cubicBezTo>
                    <a:cubicBezTo>
                      <a:pt x="6" y="4"/>
                      <a:pt x="6" y="4"/>
                      <a:pt x="7" y="4"/>
                    </a:cubicBezTo>
                    <a:cubicBezTo>
                      <a:pt x="6"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101"/>
              <p:cNvSpPr/>
              <p:nvPr/>
            </p:nvSpPr>
            <p:spPr bwMode="auto">
              <a:xfrm>
                <a:off x="5852" y="2483"/>
                <a:ext cx="14" cy="31"/>
              </a:xfrm>
              <a:custGeom>
                <a:gdLst>
                  <a:gd name="T0" fmla="*/ 6 w 6"/>
                  <a:gd name="T1" fmla="*/ 0 h 13"/>
                  <a:gd name="T2" fmla="*/ 3 w 6"/>
                  <a:gd name="T3" fmla="*/ 7 h 13"/>
                  <a:gd name="T4" fmla="*/ 1 w 6"/>
                  <a:gd name="T5" fmla="*/ 13 h 13"/>
                  <a:gd name="T6" fmla="*/ 6 w 6"/>
                  <a:gd name="T7" fmla="*/ 0 h 13"/>
                </a:gdLst>
                <a:cxnLst>
                  <a:cxn ang="0">
                    <a:pos x="T0" y="T1"/>
                  </a:cxn>
                  <a:cxn ang="0">
                    <a:pos x="T2" y="T3"/>
                  </a:cxn>
                  <a:cxn ang="0">
                    <a:pos x="T4" y="T5"/>
                  </a:cxn>
                  <a:cxn ang="0">
                    <a:pos x="T6" y="T7"/>
                  </a:cxn>
                </a:cxnLst>
                <a:rect l="0" t="0" r="r" b="b"/>
                <a:pathLst>
                  <a:path w="6" h="13">
                    <a:moveTo>
                      <a:pt x="6" y="0"/>
                    </a:moveTo>
                    <a:cubicBezTo>
                      <a:pt x="3" y="3"/>
                      <a:pt x="4" y="4"/>
                      <a:pt x="3" y="7"/>
                    </a:cubicBezTo>
                    <a:cubicBezTo>
                      <a:pt x="2" y="10"/>
                      <a:pt x="0" y="10"/>
                      <a:pt x="1" y="13"/>
                    </a:cubicBezTo>
                    <a:cubicBezTo>
                      <a:pt x="3" y="9"/>
                      <a:pt x="5"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102"/>
              <p:cNvSpPr/>
              <p:nvPr/>
            </p:nvSpPr>
            <p:spPr bwMode="auto">
              <a:xfrm>
                <a:off x="5738" y="2670"/>
                <a:ext cx="5" cy="14"/>
              </a:xfrm>
              <a:custGeom>
                <a:gdLst>
                  <a:gd name="T0" fmla="*/ 1 w 2"/>
                  <a:gd name="T1" fmla="*/ 0 h 6"/>
                  <a:gd name="T2" fmla="*/ 2 w 2"/>
                  <a:gd name="T3" fmla="*/ 6 h 6"/>
                  <a:gd name="T4" fmla="*/ 1 w 2"/>
                  <a:gd name="T5" fmla="*/ 0 h 6"/>
                </a:gdLst>
                <a:cxnLst>
                  <a:cxn ang="0">
                    <a:pos x="T0" y="T1"/>
                  </a:cxn>
                  <a:cxn ang="0">
                    <a:pos x="T2" y="T3"/>
                  </a:cxn>
                  <a:cxn ang="0">
                    <a:pos x="T4" y="T5"/>
                  </a:cxn>
                </a:cxnLst>
                <a:rect l="0" t="0" r="r" b="b"/>
                <a:pathLst>
                  <a:path w="2" h="6">
                    <a:moveTo>
                      <a:pt x="1" y="0"/>
                    </a:moveTo>
                    <a:cubicBezTo>
                      <a:pt x="0" y="2"/>
                      <a:pt x="0" y="4"/>
                      <a:pt x="2" y="6"/>
                    </a:cubicBezTo>
                    <a:cubicBezTo>
                      <a:pt x="2"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103"/>
              <p:cNvSpPr/>
              <p:nvPr/>
            </p:nvSpPr>
            <p:spPr bwMode="auto">
              <a:xfrm>
                <a:off x="5757" y="2651"/>
                <a:ext cx="10" cy="7"/>
              </a:xfrm>
              <a:custGeom>
                <a:gdLst>
                  <a:gd name="T0" fmla="*/ 0 w 4"/>
                  <a:gd name="T1" fmla="*/ 0 h 3"/>
                  <a:gd name="T2" fmla="*/ 3 w 4"/>
                  <a:gd name="T3" fmla="*/ 3 h 3"/>
                  <a:gd name="T4" fmla="*/ 4 w 4"/>
                  <a:gd name="T5" fmla="*/ 3 h 3"/>
                  <a:gd name="T6" fmla="*/ 0 w 4"/>
                  <a:gd name="T7" fmla="*/ 0 h 3"/>
                </a:gdLst>
                <a:cxnLst>
                  <a:cxn ang="0">
                    <a:pos x="T0" y="T1"/>
                  </a:cxn>
                  <a:cxn ang="0">
                    <a:pos x="T2" y="T3"/>
                  </a:cxn>
                  <a:cxn ang="0">
                    <a:pos x="T4" y="T5"/>
                  </a:cxn>
                  <a:cxn ang="0">
                    <a:pos x="T6" y="T7"/>
                  </a:cxn>
                </a:cxnLst>
                <a:rect l="0" t="0" r="r" b="b"/>
                <a:pathLst>
                  <a:path w="4" h="3">
                    <a:moveTo>
                      <a:pt x="0" y="0"/>
                    </a:moveTo>
                    <a:cubicBezTo>
                      <a:pt x="0" y="2"/>
                      <a:pt x="1" y="3"/>
                      <a:pt x="3" y="3"/>
                    </a:cubicBezTo>
                    <a:cubicBezTo>
                      <a:pt x="3" y="3"/>
                      <a:pt x="3"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104"/>
              <p:cNvSpPr/>
              <p:nvPr/>
            </p:nvSpPr>
            <p:spPr bwMode="auto">
              <a:xfrm>
                <a:off x="6509" y="2743"/>
                <a:ext cx="5" cy="7"/>
              </a:xfrm>
              <a:custGeom>
                <a:gdLst>
                  <a:gd name="T0" fmla="*/ 0 w 2"/>
                  <a:gd name="T1" fmla="*/ 0 h 3"/>
                  <a:gd name="T2" fmla="*/ 1 w 2"/>
                  <a:gd name="T3" fmla="*/ 3 h 3"/>
                  <a:gd name="T4" fmla="*/ 2 w 2"/>
                  <a:gd name="T5" fmla="*/ 3 h 3"/>
                  <a:gd name="T6" fmla="*/ 1 w 2"/>
                  <a:gd name="T7" fmla="*/ 3 h 3"/>
                  <a:gd name="T8" fmla="*/ 0 w 2"/>
                  <a:gd name="T9" fmla="*/ 0 h 3"/>
                </a:gdLst>
                <a:cxnLst>
                  <a:cxn ang="0">
                    <a:pos x="T0" y="T1"/>
                  </a:cxn>
                  <a:cxn ang="0">
                    <a:pos x="T2" y="T3"/>
                  </a:cxn>
                  <a:cxn ang="0">
                    <a:pos x="T4" y="T5"/>
                  </a:cxn>
                  <a:cxn ang="0">
                    <a:pos x="T6" y="T7"/>
                  </a:cxn>
                  <a:cxn ang="0">
                    <a:pos x="T8" y="T9"/>
                  </a:cxn>
                </a:cxnLst>
                <a:rect l="0" t="0" r="r" b="b"/>
                <a:pathLst>
                  <a:path w="2" h="3">
                    <a:moveTo>
                      <a:pt x="0" y="0"/>
                    </a:moveTo>
                    <a:cubicBezTo>
                      <a:pt x="0" y="1"/>
                      <a:pt x="1" y="2"/>
                      <a:pt x="1" y="3"/>
                    </a:cubicBezTo>
                    <a:cubicBezTo>
                      <a:pt x="2" y="3"/>
                      <a:pt x="2" y="3"/>
                      <a:pt x="2" y="3"/>
                    </a:cubicBezTo>
                    <a:cubicBezTo>
                      <a:pt x="1" y="3"/>
                      <a:pt x="1" y="3"/>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105"/>
              <p:cNvSpPr/>
              <p:nvPr/>
            </p:nvSpPr>
            <p:spPr bwMode="auto">
              <a:xfrm>
                <a:off x="5746" y="2339"/>
                <a:ext cx="7" cy="17"/>
              </a:xfrm>
              <a:custGeom>
                <a:gdLst>
                  <a:gd name="T0" fmla="*/ 3 w 3"/>
                  <a:gd name="T1" fmla="*/ 0 h 7"/>
                  <a:gd name="T2" fmla="*/ 0 w 3"/>
                  <a:gd name="T3" fmla="*/ 3 h 7"/>
                  <a:gd name="T4" fmla="*/ 1 w 3"/>
                  <a:gd name="T5" fmla="*/ 7 h 7"/>
                  <a:gd name="T6" fmla="*/ 3 w 3"/>
                  <a:gd name="T7" fmla="*/ 0 h 7"/>
                </a:gdLst>
                <a:cxnLst>
                  <a:cxn ang="0">
                    <a:pos x="T0" y="T1"/>
                  </a:cxn>
                  <a:cxn ang="0">
                    <a:pos x="T2" y="T3"/>
                  </a:cxn>
                  <a:cxn ang="0">
                    <a:pos x="T4" y="T5"/>
                  </a:cxn>
                  <a:cxn ang="0">
                    <a:pos x="T6" y="T7"/>
                  </a:cxn>
                </a:cxnLst>
                <a:rect l="0" t="0" r="r" b="b"/>
                <a:pathLst>
                  <a:path w="3" h="7">
                    <a:moveTo>
                      <a:pt x="3" y="0"/>
                    </a:moveTo>
                    <a:cubicBezTo>
                      <a:pt x="0" y="3"/>
                      <a:pt x="0" y="3"/>
                      <a:pt x="0" y="3"/>
                    </a:cubicBezTo>
                    <a:cubicBezTo>
                      <a:pt x="0" y="4"/>
                      <a:pt x="2" y="5"/>
                      <a:pt x="1" y="7"/>
                    </a:cubicBezTo>
                    <a:cubicBezTo>
                      <a:pt x="2" y="5"/>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106"/>
              <p:cNvSpPr/>
              <p:nvPr/>
            </p:nvSpPr>
            <p:spPr bwMode="auto">
              <a:xfrm>
                <a:off x="5984" y="2126"/>
                <a:ext cx="17" cy="10"/>
              </a:xfrm>
              <a:custGeom>
                <a:gdLst>
                  <a:gd name="T0" fmla="*/ 5 w 7"/>
                  <a:gd name="T1" fmla="*/ 0 h 4"/>
                  <a:gd name="T2" fmla="*/ 5 w 7"/>
                  <a:gd name="T3" fmla="*/ 4 h 4"/>
                  <a:gd name="T4" fmla="*/ 5 w 7"/>
                  <a:gd name="T5" fmla="*/ 0 h 4"/>
                </a:gdLst>
                <a:cxnLst>
                  <a:cxn ang="0">
                    <a:pos x="T0" y="T1"/>
                  </a:cxn>
                  <a:cxn ang="0">
                    <a:pos x="T2" y="T3"/>
                  </a:cxn>
                  <a:cxn ang="0">
                    <a:pos x="T4" y="T5"/>
                  </a:cxn>
                </a:cxnLst>
                <a:rect l="0" t="0" r="r" b="b"/>
                <a:pathLst>
                  <a:path w="7" h="4">
                    <a:moveTo>
                      <a:pt x="5" y="0"/>
                    </a:moveTo>
                    <a:cubicBezTo>
                      <a:pt x="0" y="1"/>
                      <a:pt x="3" y="4"/>
                      <a:pt x="5" y="4"/>
                    </a:cubicBezTo>
                    <a:cubicBezTo>
                      <a:pt x="6" y="4"/>
                      <a:pt x="7"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107"/>
              <p:cNvSpPr/>
              <p:nvPr/>
            </p:nvSpPr>
            <p:spPr bwMode="auto">
              <a:xfrm>
                <a:off x="6069" y="2244"/>
                <a:ext cx="26" cy="22"/>
              </a:xfrm>
              <a:custGeom>
                <a:gdLst>
                  <a:gd name="T0" fmla="*/ 11 w 11"/>
                  <a:gd name="T1" fmla="*/ 0 h 9"/>
                  <a:gd name="T2" fmla="*/ 6 w 11"/>
                  <a:gd name="T3" fmla="*/ 9 h 9"/>
                  <a:gd name="T4" fmla="*/ 9 w 11"/>
                  <a:gd name="T5" fmla="*/ 8 h 9"/>
                  <a:gd name="T6" fmla="*/ 8 w 11"/>
                  <a:gd name="T7" fmla="*/ 5 h 9"/>
                  <a:gd name="T8" fmla="*/ 11 w 11"/>
                  <a:gd name="T9" fmla="*/ 0 h 9"/>
                </a:gdLst>
                <a:cxnLst>
                  <a:cxn ang="0">
                    <a:pos x="T0" y="T1"/>
                  </a:cxn>
                  <a:cxn ang="0">
                    <a:pos x="T2" y="T3"/>
                  </a:cxn>
                  <a:cxn ang="0">
                    <a:pos x="T4" y="T5"/>
                  </a:cxn>
                  <a:cxn ang="0">
                    <a:pos x="T6" y="T7"/>
                  </a:cxn>
                  <a:cxn ang="0">
                    <a:pos x="T8" y="T9"/>
                  </a:cxn>
                </a:cxnLst>
                <a:rect l="0" t="0" r="r" b="b"/>
                <a:pathLst>
                  <a:path w="11" h="9">
                    <a:moveTo>
                      <a:pt x="11" y="0"/>
                    </a:moveTo>
                    <a:cubicBezTo>
                      <a:pt x="9" y="1"/>
                      <a:pt x="0" y="9"/>
                      <a:pt x="6" y="9"/>
                    </a:cubicBezTo>
                    <a:cubicBezTo>
                      <a:pt x="6" y="9"/>
                      <a:pt x="9" y="8"/>
                      <a:pt x="9" y="8"/>
                    </a:cubicBezTo>
                    <a:cubicBezTo>
                      <a:pt x="10" y="6"/>
                      <a:pt x="8" y="7"/>
                      <a:pt x="8" y="5"/>
                    </a:cubicBezTo>
                    <a:cubicBezTo>
                      <a:pt x="8" y="3"/>
                      <a:pt x="10"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Freeform 108"/>
              <p:cNvSpPr/>
              <p:nvPr/>
            </p:nvSpPr>
            <p:spPr bwMode="auto">
              <a:xfrm>
                <a:off x="5665" y="2738"/>
                <a:ext cx="36" cy="45"/>
              </a:xfrm>
              <a:custGeom>
                <a:gdLst>
                  <a:gd name="T0" fmla="*/ 15 w 15"/>
                  <a:gd name="T1" fmla="*/ 0 h 19"/>
                  <a:gd name="T2" fmla="*/ 12 w 15"/>
                  <a:gd name="T3" fmla="*/ 3 h 19"/>
                  <a:gd name="T4" fmla="*/ 12 w 15"/>
                  <a:gd name="T5" fmla="*/ 4 h 19"/>
                  <a:gd name="T6" fmla="*/ 11 w 15"/>
                  <a:gd name="T7" fmla="*/ 4 h 19"/>
                  <a:gd name="T8" fmla="*/ 10 w 15"/>
                  <a:gd name="T9" fmla="*/ 3 h 19"/>
                  <a:gd name="T10" fmla="*/ 9 w 15"/>
                  <a:gd name="T11" fmla="*/ 3 h 19"/>
                  <a:gd name="T12" fmla="*/ 8 w 15"/>
                  <a:gd name="T13" fmla="*/ 3 h 19"/>
                  <a:gd name="T14" fmla="*/ 7 w 15"/>
                  <a:gd name="T15" fmla="*/ 5 h 19"/>
                  <a:gd name="T16" fmla="*/ 7 w 15"/>
                  <a:gd name="T17" fmla="*/ 8 h 19"/>
                  <a:gd name="T18" fmla="*/ 4 w 15"/>
                  <a:gd name="T19" fmla="*/ 10 h 19"/>
                  <a:gd name="T20" fmla="*/ 3 w 15"/>
                  <a:gd name="T21" fmla="*/ 11 h 19"/>
                  <a:gd name="T22" fmla="*/ 2 w 15"/>
                  <a:gd name="T23" fmla="*/ 14 h 19"/>
                  <a:gd name="T24" fmla="*/ 2 w 15"/>
                  <a:gd name="T25" fmla="*/ 19 h 19"/>
                  <a:gd name="T26" fmla="*/ 9 w 15"/>
                  <a:gd name="T27" fmla="*/ 9 h 19"/>
                  <a:gd name="T28" fmla="*/ 15 w 15"/>
                  <a:gd name="T2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9">
                    <a:moveTo>
                      <a:pt x="15" y="0"/>
                    </a:moveTo>
                    <a:cubicBezTo>
                      <a:pt x="14" y="1"/>
                      <a:pt x="13" y="2"/>
                      <a:pt x="12" y="3"/>
                    </a:cubicBezTo>
                    <a:cubicBezTo>
                      <a:pt x="12" y="3"/>
                      <a:pt x="12" y="4"/>
                      <a:pt x="12" y="4"/>
                    </a:cubicBezTo>
                    <a:cubicBezTo>
                      <a:pt x="11" y="4"/>
                      <a:pt x="11" y="4"/>
                      <a:pt x="11" y="4"/>
                    </a:cubicBezTo>
                    <a:cubicBezTo>
                      <a:pt x="11" y="4"/>
                      <a:pt x="10" y="4"/>
                      <a:pt x="10" y="3"/>
                    </a:cubicBezTo>
                    <a:cubicBezTo>
                      <a:pt x="9" y="3"/>
                      <a:pt x="9" y="3"/>
                      <a:pt x="9" y="3"/>
                    </a:cubicBezTo>
                    <a:cubicBezTo>
                      <a:pt x="8" y="3"/>
                      <a:pt x="8" y="3"/>
                      <a:pt x="8" y="3"/>
                    </a:cubicBezTo>
                    <a:cubicBezTo>
                      <a:pt x="7" y="3"/>
                      <a:pt x="5" y="4"/>
                      <a:pt x="7" y="5"/>
                    </a:cubicBezTo>
                    <a:cubicBezTo>
                      <a:pt x="10" y="6"/>
                      <a:pt x="8" y="7"/>
                      <a:pt x="7" y="8"/>
                    </a:cubicBezTo>
                    <a:cubicBezTo>
                      <a:pt x="7" y="8"/>
                      <a:pt x="5" y="9"/>
                      <a:pt x="4" y="10"/>
                    </a:cubicBezTo>
                    <a:cubicBezTo>
                      <a:pt x="3" y="11"/>
                      <a:pt x="4" y="9"/>
                      <a:pt x="3" y="11"/>
                    </a:cubicBezTo>
                    <a:cubicBezTo>
                      <a:pt x="2" y="12"/>
                      <a:pt x="2" y="14"/>
                      <a:pt x="2" y="14"/>
                    </a:cubicBezTo>
                    <a:cubicBezTo>
                      <a:pt x="1" y="17"/>
                      <a:pt x="0" y="15"/>
                      <a:pt x="2" y="19"/>
                    </a:cubicBezTo>
                    <a:cubicBezTo>
                      <a:pt x="4" y="16"/>
                      <a:pt x="7" y="12"/>
                      <a:pt x="9" y="9"/>
                    </a:cubicBezTo>
                    <a:cubicBezTo>
                      <a:pt x="11" y="6"/>
                      <a:pt x="14" y="3"/>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Freeform 109"/>
              <p:cNvSpPr/>
              <p:nvPr/>
            </p:nvSpPr>
            <p:spPr bwMode="auto">
              <a:xfrm>
                <a:off x="5720" y="2698"/>
                <a:ext cx="9" cy="3"/>
              </a:xfrm>
              <a:custGeom>
                <a:gdLst>
                  <a:gd name="T0" fmla="*/ 4 w 4"/>
                  <a:gd name="T1" fmla="*/ 0 h 1"/>
                  <a:gd name="T2" fmla="*/ 0 w 4"/>
                  <a:gd name="T3" fmla="*/ 1 h 1"/>
                  <a:gd name="T4" fmla="*/ 1 w 4"/>
                  <a:gd name="T5" fmla="*/ 1 h 1"/>
                  <a:gd name="T6" fmla="*/ 4 w 4"/>
                  <a:gd name="T7" fmla="*/ 0 h 1"/>
                </a:gdLst>
                <a:cxnLst>
                  <a:cxn ang="0">
                    <a:pos x="T0" y="T1"/>
                  </a:cxn>
                  <a:cxn ang="0">
                    <a:pos x="T2" y="T3"/>
                  </a:cxn>
                  <a:cxn ang="0">
                    <a:pos x="T4" y="T5"/>
                  </a:cxn>
                  <a:cxn ang="0">
                    <a:pos x="T6" y="T7"/>
                  </a:cxn>
                </a:cxnLst>
                <a:rect l="0" t="0" r="r" b="b"/>
                <a:pathLst>
                  <a:path w="4" h="1">
                    <a:moveTo>
                      <a:pt x="4" y="0"/>
                    </a:moveTo>
                    <a:cubicBezTo>
                      <a:pt x="3" y="0"/>
                      <a:pt x="1" y="1"/>
                      <a:pt x="0" y="1"/>
                    </a:cubicBezTo>
                    <a:cubicBezTo>
                      <a:pt x="1" y="1"/>
                      <a:pt x="1" y="1"/>
                      <a:pt x="1" y="1"/>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2" name="Freeform 110"/>
              <p:cNvSpPr/>
              <p:nvPr/>
            </p:nvSpPr>
            <p:spPr bwMode="auto">
              <a:xfrm>
                <a:off x="6450" y="1507"/>
                <a:ext cx="14" cy="12"/>
              </a:xfrm>
              <a:custGeom>
                <a:gdLst>
                  <a:gd name="T0" fmla="*/ 2 w 6"/>
                  <a:gd name="T1" fmla="*/ 0 h 5"/>
                  <a:gd name="T2" fmla="*/ 4 w 6"/>
                  <a:gd name="T3" fmla="*/ 5 h 5"/>
                  <a:gd name="T4" fmla="*/ 2 w 6"/>
                  <a:gd name="T5" fmla="*/ 0 h 5"/>
                </a:gdLst>
                <a:cxnLst>
                  <a:cxn ang="0">
                    <a:pos x="T0" y="T1"/>
                  </a:cxn>
                  <a:cxn ang="0">
                    <a:pos x="T2" y="T3"/>
                  </a:cxn>
                  <a:cxn ang="0">
                    <a:pos x="T4" y="T5"/>
                  </a:cxn>
                </a:cxnLst>
                <a:rect l="0" t="0" r="r" b="b"/>
                <a:pathLst>
                  <a:path w="6" h="5">
                    <a:moveTo>
                      <a:pt x="2" y="0"/>
                    </a:moveTo>
                    <a:cubicBezTo>
                      <a:pt x="0" y="3"/>
                      <a:pt x="3" y="5"/>
                      <a:pt x="4" y="5"/>
                    </a:cubicBezTo>
                    <a:cubicBezTo>
                      <a:pt x="5" y="5"/>
                      <a:pt x="6"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Freeform 111"/>
              <p:cNvSpPr/>
              <p:nvPr/>
            </p:nvSpPr>
            <p:spPr bwMode="auto">
              <a:xfrm>
                <a:off x="6282" y="1994"/>
                <a:ext cx="19" cy="33"/>
              </a:xfrm>
              <a:custGeom>
                <a:gdLst>
                  <a:gd name="T0" fmla="*/ 7 w 8"/>
                  <a:gd name="T1" fmla="*/ 0 h 14"/>
                  <a:gd name="T2" fmla="*/ 0 w 8"/>
                  <a:gd name="T3" fmla="*/ 7 h 14"/>
                  <a:gd name="T4" fmla="*/ 0 w 8"/>
                  <a:gd name="T5" fmla="*/ 13 h 14"/>
                  <a:gd name="T6" fmla="*/ 1 w 8"/>
                  <a:gd name="T7" fmla="*/ 14 h 14"/>
                  <a:gd name="T8" fmla="*/ 7 w 8"/>
                  <a:gd name="T9" fmla="*/ 0 h 14"/>
                </a:gdLst>
                <a:cxnLst>
                  <a:cxn ang="0">
                    <a:pos x="T0" y="T1"/>
                  </a:cxn>
                  <a:cxn ang="0">
                    <a:pos x="T2" y="T3"/>
                  </a:cxn>
                  <a:cxn ang="0">
                    <a:pos x="T4" y="T5"/>
                  </a:cxn>
                  <a:cxn ang="0">
                    <a:pos x="T6" y="T7"/>
                  </a:cxn>
                  <a:cxn ang="0">
                    <a:pos x="T8" y="T9"/>
                  </a:cxn>
                </a:cxnLst>
                <a:rect l="0" t="0" r="r" b="b"/>
                <a:pathLst>
                  <a:path w="8" h="14">
                    <a:moveTo>
                      <a:pt x="7" y="0"/>
                    </a:moveTo>
                    <a:cubicBezTo>
                      <a:pt x="5" y="1"/>
                      <a:pt x="1" y="4"/>
                      <a:pt x="0" y="7"/>
                    </a:cubicBezTo>
                    <a:cubicBezTo>
                      <a:pt x="0" y="10"/>
                      <a:pt x="4" y="12"/>
                      <a:pt x="0" y="13"/>
                    </a:cubicBezTo>
                    <a:cubicBezTo>
                      <a:pt x="0" y="14"/>
                      <a:pt x="1" y="14"/>
                      <a:pt x="1" y="14"/>
                    </a:cubicBezTo>
                    <a:cubicBezTo>
                      <a:pt x="8" y="14"/>
                      <a:pt x="7" y="6"/>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4" name="Freeform 112"/>
              <p:cNvSpPr/>
              <p:nvPr/>
            </p:nvSpPr>
            <p:spPr bwMode="auto">
              <a:xfrm>
                <a:off x="5436" y="2887"/>
                <a:ext cx="17" cy="10"/>
              </a:xfrm>
              <a:custGeom>
                <a:gdLst>
                  <a:gd name="T0" fmla="*/ 3 w 7"/>
                  <a:gd name="T1" fmla="*/ 0 h 4"/>
                  <a:gd name="T2" fmla="*/ 0 w 7"/>
                  <a:gd name="T3" fmla="*/ 3 h 4"/>
                  <a:gd name="T4" fmla="*/ 4 w 7"/>
                  <a:gd name="T5" fmla="*/ 4 h 4"/>
                  <a:gd name="T6" fmla="*/ 4 w 7"/>
                  <a:gd name="T7" fmla="*/ 4 h 4"/>
                  <a:gd name="T8" fmla="*/ 3 w 7"/>
                  <a:gd name="T9" fmla="*/ 0 h 4"/>
                </a:gdLst>
                <a:cxnLst>
                  <a:cxn ang="0">
                    <a:pos x="T0" y="T1"/>
                  </a:cxn>
                  <a:cxn ang="0">
                    <a:pos x="T2" y="T3"/>
                  </a:cxn>
                  <a:cxn ang="0">
                    <a:pos x="T4" y="T5"/>
                  </a:cxn>
                  <a:cxn ang="0">
                    <a:pos x="T6" y="T7"/>
                  </a:cxn>
                  <a:cxn ang="0">
                    <a:pos x="T8" y="T9"/>
                  </a:cxn>
                </a:cxnLst>
                <a:rect l="0" t="0" r="r" b="b"/>
                <a:pathLst>
                  <a:path w="7" h="4">
                    <a:moveTo>
                      <a:pt x="3" y="0"/>
                    </a:moveTo>
                    <a:cubicBezTo>
                      <a:pt x="2" y="2"/>
                      <a:pt x="1" y="3"/>
                      <a:pt x="0" y="3"/>
                    </a:cubicBezTo>
                    <a:cubicBezTo>
                      <a:pt x="0" y="3"/>
                      <a:pt x="2" y="4"/>
                      <a:pt x="4" y="4"/>
                    </a:cubicBezTo>
                    <a:cubicBezTo>
                      <a:pt x="4" y="4"/>
                      <a:pt x="4" y="4"/>
                      <a:pt x="4" y="4"/>
                    </a:cubicBezTo>
                    <a:cubicBezTo>
                      <a:pt x="7" y="3"/>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Freeform 113"/>
              <p:cNvSpPr/>
              <p:nvPr/>
            </p:nvSpPr>
            <p:spPr bwMode="auto">
              <a:xfrm>
                <a:off x="6350" y="1722"/>
                <a:ext cx="10" cy="12"/>
              </a:xfrm>
              <a:custGeom>
                <a:gdLst>
                  <a:gd name="T0" fmla="*/ 3 w 4"/>
                  <a:gd name="T1" fmla="*/ 0 h 5"/>
                  <a:gd name="T2" fmla="*/ 1 w 4"/>
                  <a:gd name="T3" fmla="*/ 1 h 5"/>
                  <a:gd name="T4" fmla="*/ 1 w 4"/>
                  <a:gd name="T5" fmla="*/ 1 h 5"/>
                  <a:gd name="T6" fmla="*/ 1 w 4"/>
                  <a:gd name="T7" fmla="*/ 5 h 5"/>
                  <a:gd name="T8" fmla="*/ 1 w 4"/>
                  <a:gd name="T9" fmla="*/ 5 h 5"/>
                  <a:gd name="T10" fmla="*/ 3 w 4"/>
                  <a:gd name="T11" fmla="*/ 3 h 5"/>
                  <a:gd name="T12" fmla="*/ 3 w 4"/>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4" h="5">
                    <a:moveTo>
                      <a:pt x="3" y="0"/>
                    </a:moveTo>
                    <a:cubicBezTo>
                      <a:pt x="3" y="0"/>
                      <a:pt x="2" y="0"/>
                      <a:pt x="1" y="1"/>
                    </a:cubicBezTo>
                    <a:cubicBezTo>
                      <a:pt x="1" y="1"/>
                      <a:pt x="1" y="1"/>
                      <a:pt x="1" y="1"/>
                    </a:cubicBezTo>
                    <a:cubicBezTo>
                      <a:pt x="1" y="1"/>
                      <a:pt x="0" y="5"/>
                      <a:pt x="1" y="5"/>
                    </a:cubicBezTo>
                    <a:cubicBezTo>
                      <a:pt x="1" y="5"/>
                      <a:pt x="1" y="5"/>
                      <a:pt x="1" y="5"/>
                    </a:cubicBezTo>
                    <a:cubicBezTo>
                      <a:pt x="2" y="5"/>
                      <a:pt x="3" y="4"/>
                      <a:pt x="3" y="3"/>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6" name="Freeform 114"/>
              <p:cNvSpPr/>
              <p:nvPr/>
            </p:nvSpPr>
            <p:spPr bwMode="auto">
              <a:xfrm>
                <a:off x="5805" y="2374"/>
                <a:ext cx="11" cy="22"/>
              </a:xfrm>
              <a:custGeom>
                <a:gdLst>
                  <a:gd name="T0" fmla="*/ 0 w 5"/>
                  <a:gd name="T1" fmla="*/ 0 h 9"/>
                  <a:gd name="T2" fmla="*/ 0 w 5"/>
                  <a:gd name="T3" fmla="*/ 9 h 9"/>
                  <a:gd name="T4" fmla="*/ 5 w 5"/>
                  <a:gd name="T5" fmla="*/ 4 h 9"/>
                  <a:gd name="T6" fmla="*/ 4 w 5"/>
                  <a:gd name="T7" fmla="*/ 1 h 9"/>
                  <a:gd name="T8" fmla="*/ 3 w 5"/>
                  <a:gd name="T9" fmla="*/ 0 h 9"/>
                  <a:gd name="T10" fmla="*/ 2 w 5"/>
                  <a:gd name="T11" fmla="*/ 0 h 9"/>
                  <a:gd name="T12" fmla="*/ 1 w 5"/>
                  <a:gd name="T13" fmla="*/ 0 h 9"/>
                  <a:gd name="T14" fmla="*/ 0 w 5"/>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0" y="0"/>
                    </a:moveTo>
                    <a:cubicBezTo>
                      <a:pt x="0" y="3"/>
                      <a:pt x="0" y="6"/>
                      <a:pt x="0" y="9"/>
                    </a:cubicBezTo>
                    <a:cubicBezTo>
                      <a:pt x="2" y="8"/>
                      <a:pt x="4" y="6"/>
                      <a:pt x="5" y="4"/>
                    </a:cubicBezTo>
                    <a:cubicBezTo>
                      <a:pt x="4" y="1"/>
                      <a:pt x="4" y="1"/>
                      <a:pt x="4" y="1"/>
                    </a:cubicBezTo>
                    <a:cubicBezTo>
                      <a:pt x="4" y="0"/>
                      <a:pt x="3" y="0"/>
                      <a:pt x="3" y="0"/>
                    </a:cubicBezTo>
                    <a:cubicBezTo>
                      <a:pt x="3" y="0"/>
                      <a:pt x="2" y="0"/>
                      <a:pt x="2" y="0"/>
                    </a:cubicBezTo>
                    <a:cubicBezTo>
                      <a:pt x="2"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7" name="Freeform 115"/>
              <p:cNvSpPr/>
              <p:nvPr/>
            </p:nvSpPr>
            <p:spPr bwMode="auto">
              <a:xfrm>
                <a:off x="5460" y="2878"/>
                <a:ext cx="14" cy="14"/>
              </a:xfrm>
              <a:custGeom>
                <a:gdLst>
                  <a:gd name="T0" fmla="*/ 6 w 6"/>
                  <a:gd name="T1" fmla="*/ 0 h 6"/>
                  <a:gd name="T2" fmla="*/ 0 w 6"/>
                  <a:gd name="T3" fmla="*/ 3 h 6"/>
                  <a:gd name="T4" fmla="*/ 2 w 6"/>
                  <a:gd name="T5" fmla="*/ 6 h 6"/>
                  <a:gd name="T6" fmla="*/ 4 w 6"/>
                  <a:gd name="T7" fmla="*/ 3 h 6"/>
                  <a:gd name="T8" fmla="*/ 6 w 6"/>
                  <a:gd name="T9" fmla="*/ 0 h 6"/>
                </a:gdLst>
                <a:cxnLst>
                  <a:cxn ang="0">
                    <a:pos x="T0" y="T1"/>
                  </a:cxn>
                  <a:cxn ang="0">
                    <a:pos x="T2" y="T3"/>
                  </a:cxn>
                  <a:cxn ang="0">
                    <a:pos x="T4" y="T5"/>
                  </a:cxn>
                  <a:cxn ang="0">
                    <a:pos x="T6" y="T7"/>
                  </a:cxn>
                  <a:cxn ang="0">
                    <a:pos x="T8" y="T9"/>
                  </a:cxn>
                </a:cxnLst>
                <a:rect l="0" t="0" r="r" b="b"/>
                <a:pathLst>
                  <a:path w="6" h="6">
                    <a:moveTo>
                      <a:pt x="6" y="0"/>
                    </a:moveTo>
                    <a:cubicBezTo>
                      <a:pt x="4" y="1"/>
                      <a:pt x="2" y="2"/>
                      <a:pt x="0" y="3"/>
                    </a:cubicBezTo>
                    <a:cubicBezTo>
                      <a:pt x="0" y="5"/>
                      <a:pt x="1" y="6"/>
                      <a:pt x="2" y="6"/>
                    </a:cubicBezTo>
                    <a:cubicBezTo>
                      <a:pt x="3" y="6"/>
                      <a:pt x="4" y="5"/>
                      <a:pt x="4" y="3"/>
                    </a:cubicBezTo>
                    <a:cubicBezTo>
                      <a:pt x="5" y="2"/>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8" name="Freeform 116"/>
              <p:cNvSpPr/>
              <p:nvPr/>
            </p:nvSpPr>
            <p:spPr bwMode="auto">
              <a:xfrm>
                <a:off x="5824" y="2509"/>
                <a:ext cx="23" cy="12"/>
              </a:xfrm>
              <a:custGeom>
                <a:gdLst>
                  <a:gd name="T0" fmla="*/ 5 w 10"/>
                  <a:gd name="T1" fmla="*/ 0 h 5"/>
                  <a:gd name="T2" fmla="*/ 2 w 10"/>
                  <a:gd name="T3" fmla="*/ 4 h 5"/>
                  <a:gd name="T4" fmla="*/ 5 w 10"/>
                  <a:gd name="T5" fmla="*/ 5 h 5"/>
                  <a:gd name="T6" fmla="*/ 6 w 10"/>
                  <a:gd name="T7" fmla="*/ 5 h 5"/>
                  <a:gd name="T8" fmla="*/ 5 w 10"/>
                  <a:gd name="T9" fmla="*/ 0 h 5"/>
                </a:gdLst>
                <a:cxnLst>
                  <a:cxn ang="0">
                    <a:pos x="T0" y="T1"/>
                  </a:cxn>
                  <a:cxn ang="0">
                    <a:pos x="T2" y="T3"/>
                  </a:cxn>
                  <a:cxn ang="0">
                    <a:pos x="T4" y="T5"/>
                  </a:cxn>
                  <a:cxn ang="0">
                    <a:pos x="T6" y="T7"/>
                  </a:cxn>
                  <a:cxn ang="0">
                    <a:pos x="T8" y="T9"/>
                  </a:cxn>
                </a:cxnLst>
                <a:rect l="0" t="0" r="r" b="b"/>
                <a:pathLst>
                  <a:path w="10" h="5">
                    <a:moveTo>
                      <a:pt x="5" y="0"/>
                    </a:moveTo>
                    <a:cubicBezTo>
                      <a:pt x="2" y="1"/>
                      <a:pt x="0" y="1"/>
                      <a:pt x="2" y="4"/>
                    </a:cubicBezTo>
                    <a:cubicBezTo>
                      <a:pt x="3" y="5"/>
                      <a:pt x="4" y="5"/>
                      <a:pt x="5" y="5"/>
                    </a:cubicBezTo>
                    <a:cubicBezTo>
                      <a:pt x="5" y="5"/>
                      <a:pt x="5" y="5"/>
                      <a:pt x="6" y="5"/>
                    </a:cubicBezTo>
                    <a:cubicBezTo>
                      <a:pt x="10" y="4"/>
                      <a:pt x="7"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Freeform 117"/>
              <p:cNvSpPr/>
              <p:nvPr/>
            </p:nvSpPr>
            <p:spPr bwMode="auto">
              <a:xfrm>
                <a:off x="5755" y="2637"/>
                <a:ext cx="26" cy="19"/>
              </a:xfrm>
              <a:custGeom>
                <a:gdLst>
                  <a:gd name="T0" fmla="*/ 10 w 11"/>
                  <a:gd name="T1" fmla="*/ 0 h 8"/>
                  <a:gd name="T2" fmla="*/ 6 w 11"/>
                  <a:gd name="T3" fmla="*/ 2 h 8"/>
                  <a:gd name="T4" fmla="*/ 0 w 11"/>
                  <a:gd name="T5" fmla="*/ 5 h 8"/>
                  <a:gd name="T6" fmla="*/ 0 w 11"/>
                  <a:gd name="T7" fmla="*/ 5 h 8"/>
                  <a:gd name="T8" fmla="*/ 3 w 11"/>
                  <a:gd name="T9" fmla="*/ 7 h 8"/>
                  <a:gd name="T10" fmla="*/ 4 w 11"/>
                  <a:gd name="T11" fmla="*/ 8 h 8"/>
                  <a:gd name="T12" fmla="*/ 4 w 11"/>
                  <a:gd name="T13" fmla="*/ 8 h 8"/>
                  <a:gd name="T14" fmla="*/ 11 w 11"/>
                  <a:gd name="T15" fmla="*/ 0 h 8"/>
                  <a:gd name="T16" fmla="*/ 10 w 11"/>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10" y="0"/>
                    </a:moveTo>
                    <a:cubicBezTo>
                      <a:pt x="9" y="0"/>
                      <a:pt x="7" y="1"/>
                      <a:pt x="6" y="2"/>
                    </a:cubicBezTo>
                    <a:cubicBezTo>
                      <a:pt x="4" y="2"/>
                      <a:pt x="2" y="5"/>
                      <a:pt x="0" y="5"/>
                    </a:cubicBezTo>
                    <a:cubicBezTo>
                      <a:pt x="0" y="5"/>
                      <a:pt x="0" y="5"/>
                      <a:pt x="0" y="5"/>
                    </a:cubicBezTo>
                    <a:cubicBezTo>
                      <a:pt x="1" y="5"/>
                      <a:pt x="2" y="6"/>
                      <a:pt x="3" y="7"/>
                    </a:cubicBezTo>
                    <a:cubicBezTo>
                      <a:pt x="4" y="7"/>
                      <a:pt x="3" y="8"/>
                      <a:pt x="4" y="8"/>
                    </a:cubicBezTo>
                    <a:cubicBezTo>
                      <a:pt x="4" y="8"/>
                      <a:pt x="4" y="8"/>
                      <a:pt x="4" y="8"/>
                    </a:cubicBezTo>
                    <a:cubicBezTo>
                      <a:pt x="7" y="8"/>
                      <a:pt x="10" y="2"/>
                      <a:pt x="11" y="0"/>
                    </a:cubicBezTo>
                    <a:cubicBezTo>
                      <a:pt x="11"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0" name="Freeform 118"/>
              <p:cNvSpPr/>
              <p:nvPr/>
            </p:nvSpPr>
            <p:spPr bwMode="auto">
              <a:xfrm>
                <a:off x="3361" y="3043"/>
                <a:ext cx="7" cy="15"/>
              </a:xfrm>
              <a:custGeom>
                <a:gdLst>
                  <a:gd name="T0" fmla="*/ 3 w 3"/>
                  <a:gd name="T1" fmla="*/ 0 h 6"/>
                  <a:gd name="T2" fmla="*/ 1 w 3"/>
                  <a:gd name="T3" fmla="*/ 6 h 6"/>
                  <a:gd name="T4" fmla="*/ 3 w 3"/>
                  <a:gd name="T5" fmla="*/ 0 h 6"/>
                </a:gdLst>
                <a:cxnLst>
                  <a:cxn ang="0">
                    <a:pos x="T0" y="T1"/>
                  </a:cxn>
                  <a:cxn ang="0">
                    <a:pos x="T2" y="T3"/>
                  </a:cxn>
                  <a:cxn ang="0">
                    <a:pos x="T4" y="T5"/>
                  </a:cxn>
                </a:cxnLst>
                <a:rect l="0" t="0" r="r" b="b"/>
                <a:pathLst>
                  <a:path w="3" h="6">
                    <a:moveTo>
                      <a:pt x="3" y="0"/>
                    </a:moveTo>
                    <a:cubicBezTo>
                      <a:pt x="2" y="2"/>
                      <a:pt x="0" y="4"/>
                      <a:pt x="1" y="6"/>
                    </a:cubicBezTo>
                    <a:cubicBezTo>
                      <a:pt x="2" y="4"/>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1" name="Freeform 119"/>
              <p:cNvSpPr/>
              <p:nvPr/>
            </p:nvSpPr>
            <p:spPr bwMode="auto">
              <a:xfrm>
                <a:off x="2872" y="3734"/>
                <a:ext cx="7" cy="4"/>
              </a:xfrm>
              <a:custGeom>
                <a:gdLst>
                  <a:gd name="T0" fmla="*/ 0 w 3"/>
                  <a:gd name="T1" fmla="*/ 0 h 2"/>
                  <a:gd name="T2" fmla="*/ 0 w 3"/>
                  <a:gd name="T3" fmla="*/ 0 h 2"/>
                  <a:gd name="T4" fmla="*/ 3 w 3"/>
                  <a:gd name="T5" fmla="*/ 2 h 2"/>
                  <a:gd name="T6" fmla="*/ 1 w 3"/>
                  <a:gd name="T7" fmla="*/ 0 h 2"/>
                  <a:gd name="T8" fmla="*/ 0 w 3"/>
                  <a:gd name="T9" fmla="*/ 0 h 2"/>
                </a:gdLst>
                <a:cxnLst>
                  <a:cxn ang="0">
                    <a:pos x="T0" y="T1"/>
                  </a:cxn>
                  <a:cxn ang="0">
                    <a:pos x="T2" y="T3"/>
                  </a:cxn>
                  <a:cxn ang="0">
                    <a:pos x="T4" y="T5"/>
                  </a:cxn>
                  <a:cxn ang="0">
                    <a:pos x="T6" y="T7"/>
                  </a:cxn>
                  <a:cxn ang="0">
                    <a:pos x="T8" y="T9"/>
                  </a:cxn>
                </a:cxnLst>
                <a:rect l="0" t="0" r="r" b="b"/>
                <a:pathLst>
                  <a:path w="3" h="2">
                    <a:moveTo>
                      <a:pt x="0" y="0"/>
                    </a:moveTo>
                    <a:cubicBezTo>
                      <a:pt x="0" y="0"/>
                      <a:pt x="0" y="0"/>
                      <a:pt x="0" y="0"/>
                    </a:cubicBezTo>
                    <a:cubicBezTo>
                      <a:pt x="1" y="1"/>
                      <a:pt x="2" y="1"/>
                      <a:pt x="3" y="2"/>
                    </a:cubicBezTo>
                    <a:cubicBezTo>
                      <a:pt x="3" y="1"/>
                      <a:pt x="2"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2" name="Freeform 120"/>
              <p:cNvSpPr/>
              <p:nvPr/>
            </p:nvSpPr>
            <p:spPr bwMode="auto">
              <a:xfrm flipH="1">
                <a:off x="3366" y="3039"/>
                <a:ext cx="0" cy="7"/>
              </a:xfrm>
              <a:custGeom>
                <a:gdLst>
                  <a:gd name="T0" fmla="*/ 0 h 3"/>
                  <a:gd name="T1" fmla="*/ 3 h 3"/>
                  <a:gd name="T2" fmla="*/ 0 h 3"/>
                  <a:gd name="T3" fmla="*/ 0 h 3"/>
                </a:gdLst>
                <a:cxnLst>
                  <a:cxn ang="0">
                    <a:pos x="0" y="T0"/>
                  </a:cxn>
                  <a:cxn ang="0">
                    <a:pos x="0" y="T1"/>
                  </a:cxn>
                  <a:cxn ang="0">
                    <a:pos x="0" y="T2"/>
                  </a:cxn>
                  <a:cxn ang="0">
                    <a:pos x="0" y="T3"/>
                  </a:cxn>
                </a:cxnLst>
                <a:rect l="0" t="0" r="r" b="b"/>
                <a:pathLst>
                  <a:path h="3">
                    <a:moveTo>
                      <a:pt x="0" y="0"/>
                    </a:moveTo>
                    <a:cubicBezTo>
                      <a:pt x="0" y="1"/>
                      <a:pt x="0" y="2"/>
                      <a:pt x="0" y="3"/>
                    </a:cubicBezTo>
                    <a:cubicBezTo>
                      <a:pt x="0" y="2"/>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121"/>
              <p:cNvSpPr/>
              <p:nvPr/>
            </p:nvSpPr>
            <p:spPr bwMode="auto">
              <a:xfrm>
                <a:off x="3768" y="4001"/>
                <a:ext cx="7" cy="2"/>
              </a:xfrm>
              <a:custGeom>
                <a:gdLst>
                  <a:gd name="T0" fmla="*/ 1 w 3"/>
                  <a:gd name="T1" fmla="*/ 0 h 1"/>
                  <a:gd name="T2" fmla="*/ 0 w 3"/>
                  <a:gd name="T3" fmla="*/ 0 h 1"/>
                  <a:gd name="T4" fmla="*/ 3 w 3"/>
                  <a:gd name="T5" fmla="*/ 1 h 1"/>
                  <a:gd name="T6" fmla="*/ 1 w 3"/>
                  <a:gd name="T7" fmla="*/ 0 h 1"/>
                </a:gdLst>
                <a:cxnLst>
                  <a:cxn ang="0">
                    <a:pos x="T0" y="T1"/>
                  </a:cxn>
                  <a:cxn ang="0">
                    <a:pos x="T2" y="T3"/>
                  </a:cxn>
                  <a:cxn ang="0">
                    <a:pos x="T4" y="T5"/>
                  </a:cxn>
                  <a:cxn ang="0">
                    <a:pos x="T6" y="T7"/>
                  </a:cxn>
                </a:cxnLst>
                <a:rect l="0" t="0" r="r" b="b"/>
                <a:pathLst>
                  <a:path w="3" h="1">
                    <a:moveTo>
                      <a:pt x="1" y="0"/>
                    </a:moveTo>
                    <a:cubicBezTo>
                      <a:pt x="1" y="0"/>
                      <a:pt x="0" y="0"/>
                      <a:pt x="0" y="0"/>
                    </a:cubicBezTo>
                    <a:cubicBezTo>
                      <a:pt x="1" y="1"/>
                      <a:pt x="2" y="1"/>
                      <a:pt x="3"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Freeform 122"/>
              <p:cNvSpPr/>
              <p:nvPr/>
            </p:nvSpPr>
            <p:spPr bwMode="auto">
              <a:xfrm>
                <a:off x="4316" y="4327"/>
                <a:ext cx="2" cy="7"/>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0"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Freeform 123"/>
              <p:cNvSpPr/>
              <p:nvPr/>
            </p:nvSpPr>
            <p:spPr bwMode="auto">
              <a:xfrm>
                <a:off x="5816" y="4337"/>
                <a:ext cx="67" cy="26"/>
              </a:xfrm>
              <a:custGeom>
                <a:gdLst>
                  <a:gd name="T0" fmla="*/ 15 w 28"/>
                  <a:gd name="T1" fmla="*/ 0 h 11"/>
                  <a:gd name="T2" fmla="*/ 0 w 28"/>
                  <a:gd name="T3" fmla="*/ 5 h 11"/>
                  <a:gd name="T4" fmla="*/ 5 w 28"/>
                  <a:gd name="T5" fmla="*/ 7 h 11"/>
                  <a:gd name="T6" fmla="*/ 5 w 28"/>
                  <a:gd name="T7" fmla="*/ 7 h 11"/>
                  <a:gd name="T8" fmla="*/ 6 w 28"/>
                  <a:gd name="T9" fmla="*/ 7 h 11"/>
                  <a:gd name="T10" fmla="*/ 7 w 28"/>
                  <a:gd name="T11" fmla="*/ 6 h 11"/>
                  <a:gd name="T12" fmla="*/ 7 w 28"/>
                  <a:gd name="T13" fmla="*/ 6 h 11"/>
                  <a:gd name="T14" fmla="*/ 8 w 28"/>
                  <a:gd name="T15" fmla="*/ 11 h 11"/>
                  <a:gd name="T16" fmla="*/ 9 w 28"/>
                  <a:gd name="T17" fmla="*/ 8 h 11"/>
                  <a:gd name="T18" fmla="*/ 10 w 28"/>
                  <a:gd name="T19" fmla="*/ 8 h 11"/>
                  <a:gd name="T20" fmla="*/ 13 w 28"/>
                  <a:gd name="T21" fmla="*/ 11 h 11"/>
                  <a:gd name="T22" fmla="*/ 14 w 28"/>
                  <a:gd name="T23" fmla="*/ 11 h 11"/>
                  <a:gd name="T24" fmla="*/ 17 w 28"/>
                  <a:gd name="T25" fmla="*/ 8 h 11"/>
                  <a:gd name="T26" fmla="*/ 19 w 28"/>
                  <a:gd name="T27" fmla="*/ 9 h 11"/>
                  <a:gd name="T28" fmla="*/ 20 w 28"/>
                  <a:gd name="T29" fmla="*/ 9 h 11"/>
                  <a:gd name="T30" fmla="*/ 21 w 28"/>
                  <a:gd name="T31" fmla="*/ 9 h 11"/>
                  <a:gd name="T32" fmla="*/ 21 w 28"/>
                  <a:gd name="T33" fmla="*/ 9 h 11"/>
                  <a:gd name="T34" fmla="*/ 25 w 28"/>
                  <a:gd name="T35" fmla="*/ 10 h 11"/>
                  <a:gd name="T36" fmla="*/ 25 w 28"/>
                  <a:gd name="T37" fmla="*/ 10 h 11"/>
                  <a:gd name="T38" fmla="*/ 26 w 28"/>
                  <a:gd name="T39" fmla="*/ 4 h 11"/>
                  <a:gd name="T40" fmla="*/ 21 w 28"/>
                  <a:gd name="T41" fmla="*/ 2 h 11"/>
                  <a:gd name="T42" fmla="*/ 19 w 28"/>
                  <a:gd name="T43" fmla="*/ 1 h 11"/>
                  <a:gd name="T44" fmla="*/ 15 w 28"/>
                  <a:gd name="T45"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11">
                    <a:moveTo>
                      <a:pt x="15" y="0"/>
                    </a:moveTo>
                    <a:cubicBezTo>
                      <a:pt x="10" y="2"/>
                      <a:pt x="5" y="3"/>
                      <a:pt x="0" y="5"/>
                    </a:cubicBezTo>
                    <a:cubicBezTo>
                      <a:pt x="2" y="6"/>
                      <a:pt x="3" y="7"/>
                      <a:pt x="5" y="7"/>
                    </a:cubicBezTo>
                    <a:cubicBezTo>
                      <a:pt x="5" y="7"/>
                      <a:pt x="5" y="7"/>
                      <a:pt x="5" y="7"/>
                    </a:cubicBezTo>
                    <a:cubicBezTo>
                      <a:pt x="5" y="7"/>
                      <a:pt x="5" y="7"/>
                      <a:pt x="6" y="7"/>
                    </a:cubicBezTo>
                    <a:cubicBezTo>
                      <a:pt x="6" y="7"/>
                      <a:pt x="7" y="6"/>
                      <a:pt x="7" y="6"/>
                    </a:cubicBezTo>
                    <a:cubicBezTo>
                      <a:pt x="7" y="6"/>
                      <a:pt x="7" y="6"/>
                      <a:pt x="7" y="6"/>
                    </a:cubicBezTo>
                    <a:cubicBezTo>
                      <a:pt x="8" y="7"/>
                      <a:pt x="8" y="9"/>
                      <a:pt x="8" y="11"/>
                    </a:cubicBezTo>
                    <a:cubicBezTo>
                      <a:pt x="8" y="10"/>
                      <a:pt x="9" y="8"/>
                      <a:pt x="9" y="8"/>
                    </a:cubicBezTo>
                    <a:cubicBezTo>
                      <a:pt x="10" y="8"/>
                      <a:pt x="10" y="8"/>
                      <a:pt x="10" y="8"/>
                    </a:cubicBezTo>
                    <a:cubicBezTo>
                      <a:pt x="12" y="8"/>
                      <a:pt x="12" y="11"/>
                      <a:pt x="13" y="11"/>
                    </a:cubicBezTo>
                    <a:cubicBezTo>
                      <a:pt x="13" y="11"/>
                      <a:pt x="14" y="11"/>
                      <a:pt x="14" y="11"/>
                    </a:cubicBezTo>
                    <a:cubicBezTo>
                      <a:pt x="16" y="11"/>
                      <a:pt x="18" y="10"/>
                      <a:pt x="17" y="8"/>
                    </a:cubicBezTo>
                    <a:cubicBezTo>
                      <a:pt x="18" y="9"/>
                      <a:pt x="18" y="9"/>
                      <a:pt x="19" y="9"/>
                    </a:cubicBezTo>
                    <a:cubicBezTo>
                      <a:pt x="19" y="9"/>
                      <a:pt x="19" y="9"/>
                      <a:pt x="20" y="9"/>
                    </a:cubicBezTo>
                    <a:cubicBezTo>
                      <a:pt x="20" y="9"/>
                      <a:pt x="20" y="9"/>
                      <a:pt x="21" y="9"/>
                    </a:cubicBezTo>
                    <a:cubicBezTo>
                      <a:pt x="21" y="9"/>
                      <a:pt x="21" y="9"/>
                      <a:pt x="21" y="9"/>
                    </a:cubicBezTo>
                    <a:cubicBezTo>
                      <a:pt x="22" y="9"/>
                      <a:pt x="24" y="10"/>
                      <a:pt x="25" y="10"/>
                    </a:cubicBezTo>
                    <a:cubicBezTo>
                      <a:pt x="25" y="10"/>
                      <a:pt x="25" y="10"/>
                      <a:pt x="25" y="10"/>
                    </a:cubicBezTo>
                    <a:cubicBezTo>
                      <a:pt x="28" y="9"/>
                      <a:pt x="27" y="5"/>
                      <a:pt x="26" y="4"/>
                    </a:cubicBezTo>
                    <a:cubicBezTo>
                      <a:pt x="25" y="3"/>
                      <a:pt x="22" y="2"/>
                      <a:pt x="21" y="2"/>
                    </a:cubicBezTo>
                    <a:cubicBezTo>
                      <a:pt x="20" y="2"/>
                      <a:pt x="21" y="2"/>
                      <a:pt x="19" y="1"/>
                    </a:cubicBezTo>
                    <a:cubicBezTo>
                      <a:pt x="18" y="1"/>
                      <a:pt x="17"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Freeform 124"/>
              <p:cNvSpPr/>
              <p:nvPr/>
            </p:nvSpPr>
            <p:spPr bwMode="auto">
              <a:xfrm>
                <a:off x="5448" y="4816"/>
                <a:ext cx="23" cy="19"/>
              </a:xfrm>
              <a:custGeom>
                <a:gdLst>
                  <a:gd name="T0" fmla="*/ 10 w 10"/>
                  <a:gd name="T1" fmla="*/ 0 h 8"/>
                  <a:gd name="T2" fmla="*/ 2 w 10"/>
                  <a:gd name="T3" fmla="*/ 3 h 8"/>
                  <a:gd name="T4" fmla="*/ 4 w 10"/>
                  <a:gd name="T5" fmla="*/ 7 h 8"/>
                  <a:gd name="T6" fmla="*/ 5 w 10"/>
                  <a:gd name="T7" fmla="*/ 8 h 8"/>
                  <a:gd name="T8" fmla="*/ 7 w 10"/>
                  <a:gd name="T9" fmla="*/ 8 h 8"/>
                  <a:gd name="T10" fmla="*/ 10 w 10"/>
                  <a:gd name="T11" fmla="*/ 0 h 8"/>
                </a:gdLst>
                <a:cxnLst>
                  <a:cxn ang="0">
                    <a:pos x="T0" y="T1"/>
                  </a:cxn>
                  <a:cxn ang="0">
                    <a:pos x="T2" y="T3"/>
                  </a:cxn>
                  <a:cxn ang="0">
                    <a:pos x="T4" y="T5"/>
                  </a:cxn>
                  <a:cxn ang="0">
                    <a:pos x="T6" y="T7"/>
                  </a:cxn>
                  <a:cxn ang="0">
                    <a:pos x="T8" y="T9"/>
                  </a:cxn>
                  <a:cxn ang="0">
                    <a:pos x="T10" y="T11"/>
                  </a:cxn>
                </a:cxnLst>
                <a:rect l="0" t="0" r="r" b="b"/>
                <a:pathLst>
                  <a:path w="10" h="8">
                    <a:moveTo>
                      <a:pt x="10" y="0"/>
                    </a:moveTo>
                    <a:cubicBezTo>
                      <a:pt x="8" y="0"/>
                      <a:pt x="5" y="2"/>
                      <a:pt x="2" y="3"/>
                    </a:cubicBezTo>
                    <a:cubicBezTo>
                      <a:pt x="0" y="7"/>
                      <a:pt x="1" y="6"/>
                      <a:pt x="4" y="7"/>
                    </a:cubicBezTo>
                    <a:cubicBezTo>
                      <a:pt x="5" y="7"/>
                      <a:pt x="4" y="8"/>
                      <a:pt x="5" y="8"/>
                    </a:cubicBezTo>
                    <a:cubicBezTo>
                      <a:pt x="6" y="8"/>
                      <a:pt x="6" y="8"/>
                      <a:pt x="7" y="8"/>
                    </a:cubicBezTo>
                    <a:cubicBezTo>
                      <a:pt x="8" y="7"/>
                      <a:pt x="10"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125"/>
              <p:cNvSpPr/>
              <p:nvPr/>
            </p:nvSpPr>
            <p:spPr bwMode="auto">
              <a:xfrm>
                <a:off x="4306" y="4358"/>
                <a:ext cx="22" cy="19"/>
              </a:xfrm>
              <a:custGeom>
                <a:gdLst>
                  <a:gd name="T0" fmla="*/ 5 w 9"/>
                  <a:gd name="T1" fmla="*/ 0 h 8"/>
                  <a:gd name="T2" fmla="*/ 2 w 9"/>
                  <a:gd name="T3" fmla="*/ 2 h 8"/>
                  <a:gd name="T4" fmla="*/ 1 w 9"/>
                  <a:gd name="T5" fmla="*/ 1 h 8"/>
                  <a:gd name="T6" fmla="*/ 0 w 9"/>
                  <a:gd name="T7" fmla="*/ 2 h 8"/>
                  <a:gd name="T8" fmla="*/ 2 w 9"/>
                  <a:gd name="T9" fmla="*/ 6 h 8"/>
                  <a:gd name="T10" fmla="*/ 2 w 9"/>
                  <a:gd name="T11" fmla="*/ 7 h 8"/>
                  <a:gd name="T12" fmla="*/ 3 w 9"/>
                  <a:gd name="T13" fmla="*/ 8 h 8"/>
                  <a:gd name="T14" fmla="*/ 6 w 9"/>
                  <a:gd name="T15" fmla="*/ 6 h 8"/>
                  <a:gd name="T16" fmla="*/ 5 w 9"/>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5" y="0"/>
                    </a:moveTo>
                    <a:cubicBezTo>
                      <a:pt x="4" y="1"/>
                      <a:pt x="3" y="0"/>
                      <a:pt x="2" y="2"/>
                    </a:cubicBezTo>
                    <a:cubicBezTo>
                      <a:pt x="2" y="1"/>
                      <a:pt x="1" y="1"/>
                      <a:pt x="1" y="1"/>
                    </a:cubicBezTo>
                    <a:cubicBezTo>
                      <a:pt x="1" y="1"/>
                      <a:pt x="0" y="1"/>
                      <a:pt x="0" y="2"/>
                    </a:cubicBezTo>
                    <a:cubicBezTo>
                      <a:pt x="0" y="3"/>
                      <a:pt x="1" y="5"/>
                      <a:pt x="2" y="6"/>
                    </a:cubicBezTo>
                    <a:cubicBezTo>
                      <a:pt x="2" y="6"/>
                      <a:pt x="2" y="7"/>
                      <a:pt x="2" y="7"/>
                    </a:cubicBezTo>
                    <a:cubicBezTo>
                      <a:pt x="2" y="8"/>
                      <a:pt x="2" y="8"/>
                      <a:pt x="3" y="8"/>
                    </a:cubicBezTo>
                    <a:cubicBezTo>
                      <a:pt x="4" y="8"/>
                      <a:pt x="5" y="7"/>
                      <a:pt x="6" y="6"/>
                    </a:cubicBezTo>
                    <a:cubicBezTo>
                      <a:pt x="9" y="4"/>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Freeform 126"/>
              <p:cNvSpPr/>
              <p:nvPr/>
            </p:nvSpPr>
            <p:spPr bwMode="auto">
              <a:xfrm>
                <a:off x="4377" y="4679"/>
                <a:ext cx="532" cy="170"/>
              </a:xfrm>
              <a:custGeom>
                <a:gdLst>
                  <a:gd name="T0" fmla="*/ 0 w 225"/>
                  <a:gd name="T1" fmla="*/ 23 h 72"/>
                  <a:gd name="T2" fmla="*/ 23 w 225"/>
                  <a:gd name="T3" fmla="*/ 37 h 72"/>
                  <a:gd name="T4" fmla="*/ 28 w 225"/>
                  <a:gd name="T5" fmla="*/ 38 h 72"/>
                  <a:gd name="T6" fmla="*/ 63 w 225"/>
                  <a:gd name="T7" fmla="*/ 46 h 72"/>
                  <a:gd name="T8" fmla="*/ 74 w 225"/>
                  <a:gd name="T9" fmla="*/ 47 h 72"/>
                  <a:gd name="T10" fmla="*/ 83 w 225"/>
                  <a:gd name="T11" fmla="*/ 44 h 72"/>
                  <a:gd name="T12" fmla="*/ 125 w 225"/>
                  <a:gd name="T13" fmla="*/ 55 h 72"/>
                  <a:gd name="T14" fmla="*/ 147 w 225"/>
                  <a:gd name="T15" fmla="*/ 59 h 72"/>
                  <a:gd name="T16" fmla="*/ 155 w 225"/>
                  <a:gd name="T17" fmla="*/ 60 h 72"/>
                  <a:gd name="T18" fmla="*/ 164 w 225"/>
                  <a:gd name="T19" fmla="*/ 61 h 72"/>
                  <a:gd name="T20" fmla="*/ 177 w 225"/>
                  <a:gd name="T21" fmla="*/ 63 h 72"/>
                  <a:gd name="T22" fmla="*/ 189 w 225"/>
                  <a:gd name="T23" fmla="*/ 61 h 72"/>
                  <a:gd name="T24" fmla="*/ 225 w 225"/>
                  <a:gd name="T25" fmla="*/ 72 h 72"/>
                  <a:gd name="T26" fmla="*/ 220 w 225"/>
                  <a:gd name="T27" fmla="*/ 54 h 72"/>
                  <a:gd name="T28" fmla="*/ 210 w 225"/>
                  <a:gd name="T29" fmla="*/ 43 h 72"/>
                  <a:gd name="T30" fmla="*/ 199 w 225"/>
                  <a:gd name="T31" fmla="*/ 45 h 72"/>
                  <a:gd name="T32" fmla="*/ 181 w 225"/>
                  <a:gd name="T33" fmla="*/ 42 h 72"/>
                  <a:gd name="T34" fmla="*/ 177 w 225"/>
                  <a:gd name="T35" fmla="*/ 34 h 72"/>
                  <a:gd name="T36" fmla="*/ 173 w 225"/>
                  <a:gd name="T37" fmla="*/ 24 h 72"/>
                  <a:gd name="T38" fmla="*/ 166 w 225"/>
                  <a:gd name="T39" fmla="*/ 25 h 72"/>
                  <a:gd name="T40" fmla="*/ 143 w 225"/>
                  <a:gd name="T41" fmla="*/ 20 h 72"/>
                  <a:gd name="T42" fmla="*/ 134 w 225"/>
                  <a:gd name="T43" fmla="*/ 13 h 72"/>
                  <a:gd name="T44" fmla="*/ 122 w 225"/>
                  <a:gd name="T45" fmla="*/ 27 h 72"/>
                  <a:gd name="T46" fmla="*/ 102 w 225"/>
                  <a:gd name="T47" fmla="*/ 24 h 72"/>
                  <a:gd name="T48" fmla="*/ 97 w 225"/>
                  <a:gd name="T49" fmla="*/ 24 h 72"/>
                  <a:gd name="T50" fmla="*/ 92 w 225"/>
                  <a:gd name="T51" fmla="*/ 24 h 72"/>
                  <a:gd name="T52" fmla="*/ 76 w 225"/>
                  <a:gd name="T53" fmla="*/ 20 h 72"/>
                  <a:gd name="T54" fmla="*/ 68 w 225"/>
                  <a:gd name="T55" fmla="*/ 9 h 72"/>
                  <a:gd name="T56" fmla="*/ 66 w 225"/>
                  <a:gd name="T57" fmla="*/ 10 h 72"/>
                  <a:gd name="T58" fmla="*/ 55 w 225"/>
                  <a:gd name="T59" fmla="*/ 9 h 72"/>
                  <a:gd name="T60" fmla="*/ 40 w 225"/>
                  <a:gd name="T61" fmla="*/ 2 h 72"/>
                  <a:gd name="T62" fmla="*/ 37 w 225"/>
                  <a:gd name="T63" fmla="*/ 14 h 72"/>
                  <a:gd name="T64" fmla="*/ 31 w 225"/>
                  <a:gd name="T65" fmla="*/ 5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72">
                    <a:moveTo>
                      <a:pt x="14" y="0"/>
                    </a:moveTo>
                    <a:cubicBezTo>
                      <a:pt x="8" y="7"/>
                      <a:pt x="5" y="16"/>
                      <a:pt x="0" y="23"/>
                    </a:cubicBezTo>
                    <a:cubicBezTo>
                      <a:pt x="8" y="24"/>
                      <a:pt x="16" y="25"/>
                      <a:pt x="23" y="28"/>
                    </a:cubicBezTo>
                    <a:cubicBezTo>
                      <a:pt x="28" y="30"/>
                      <a:pt x="24" y="32"/>
                      <a:pt x="23" y="37"/>
                    </a:cubicBezTo>
                    <a:cubicBezTo>
                      <a:pt x="23" y="37"/>
                      <a:pt x="24" y="37"/>
                      <a:pt x="24" y="37"/>
                    </a:cubicBezTo>
                    <a:cubicBezTo>
                      <a:pt x="25" y="37"/>
                      <a:pt x="27" y="38"/>
                      <a:pt x="28" y="38"/>
                    </a:cubicBezTo>
                    <a:cubicBezTo>
                      <a:pt x="35" y="39"/>
                      <a:pt x="41" y="39"/>
                      <a:pt x="47" y="40"/>
                    </a:cubicBezTo>
                    <a:cubicBezTo>
                      <a:pt x="53" y="41"/>
                      <a:pt x="58" y="45"/>
                      <a:pt x="63" y="46"/>
                    </a:cubicBezTo>
                    <a:cubicBezTo>
                      <a:pt x="66" y="47"/>
                      <a:pt x="68" y="47"/>
                      <a:pt x="70" y="47"/>
                    </a:cubicBezTo>
                    <a:cubicBezTo>
                      <a:pt x="71" y="47"/>
                      <a:pt x="72" y="47"/>
                      <a:pt x="74" y="47"/>
                    </a:cubicBezTo>
                    <a:cubicBezTo>
                      <a:pt x="76" y="46"/>
                      <a:pt x="79" y="44"/>
                      <a:pt x="82" y="44"/>
                    </a:cubicBezTo>
                    <a:cubicBezTo>
                      <a:pt x="82" y="44"/>
                      <a:pt x="83" y="44"/>
                      <a:pt x="83" y="44"/>
                    </a:cubicBezTo>
                    <a:cubicBezTo>
                      <a:pt x="91" y="45"/>
                      <a:pt x="99" y="46"/>
                      <a:pt x="107" y="48"/>
                    </a:cubicBezTo>
                    <a:cubicBezTo>
                      <a:pt x="113" y="50"/>
                      <a:pt x="119" y="53"/>
                      <a:pt x="125" y="55"/>
                    </a:cubicBezTo>
                    <a:cubicBezTo>
                      <a:pt x="128" y="56"/>
                      <a:pt x="132" y="58"/>
                      <a:pt x="135" y="58"/>
                    </a:cubicBezTo>
                    <a:cubicBezTo>
                      <a:pt x="139" y="58"/>
                      <a:pt x="143" y="58"/>
                      <a:pt x="147" y="59"/>
                    </a:cubicBezTo>
                    <a:cubicBezTo>
                      <a:pt x="149" y="60"/>
                      <a:pt x="151" y="61"/>
                      <a:pt x="152" y="61"/>
                    </a:cubicBezTo>
                    <a:cubicBezTo>
                      <a:pt x="153" y="61"/>
                      <a:pt x="154" y="61"/>
                      <a:pt x="155" y="60"/>
                    </a:cubicBezTo>
                    <a:cubicBezTo>
                      <a:pt x="155" y="59"/>
                      <a:pt x="155" y="59"/>
                      <a:pt x="156" y="59"/>
                    </a:cubicBezTo>
                    <a:cubicBezTo>
                      <a:pt x="158" y="59"/>
                      <a:pt x="162" y="60"/>
                      <a:pt x="164" y="61"/>
                    </a:cubicBezTo>
                    <a:cubicBezTo>
                      <a:pt x="168" y="61"/>
                      <a:pt x="172" y="62"/>
                      <a:pt x="176" y="63"/>
                    </a:cubicBezTo>
                    <a:cubicBezTo>
                      <a:pt x="177" y="63"/>
                      <a:pt x="177" y="63"/>
                      <a:pt x="177" y="63"/>
                    </a:cubicBezTo>
                    <a:cubicBezTo>
                      <a:pt x="180" y="63"/>
                      <a:pt x="182" y="61"/>
                      <a:pt x="184" y="61"/>
                    </a:cubicBezTo>
                    <a:cubicBezTo>
                      <a:pt x="186" y="61"/>
                      <a:pt x="187" y="61"/>
                      <a:pt x="189" y="61"/>
                    </a:cubicBezTo>
                    <a:cubicBezTo>
                      <a:pt x="195" y="61"/>
                      <a:pt x="199" y="63"/>
                      <a:pt x="205" y="66"/>
                    </a:cubicBezTo>
                    <a:cubicBezTo>
                      <a:pt x="211" y="69"/>
                      <a:pt x="218" y="70"/>
                      <a:pt x="225" y="72"/>
                    </a:cubicBezTo>
                    <a:cubicBezTo>
                      <a:pt x="221" y="68"/>
                      <a:pt x="218" y="66"/>
                      <a:pt x="219" y="61"/>
                    </a:cubicBezTo>
                    <a:cubicBezTo>
                      <a:pt x="219" y="59"/>
                      <a:pt x="220" y="56"/>
                      <a:pt x="220" y="54"/>
                    </a:cubicBezTo>
                    <a:cubicBezTo>
                      <a:pt x="221" y="49"/>
                      <a:pt x="222" y="48"/>
                      <a:pt x="217" y="46"/>
                    </a:cubicBezTo>
                    <a:cubicBezTo>
                      <a:pt x="215" y="45"/>
                      <a:pt x="212" y="43"/>
                      <a:pt x="210" y="43"/>
                    </a:cubicBezTo>
                    <a:cubicBezTo>
                      <a:pt x="210" y="43"/>
                      <a:pt x="210" y="43"/>
                      <a:pt x="210" y="43"/>
                    </a:cubicBezTo>
                    <a:cubicBezTo>
                      <a:pt x="207" y="43"/>
                      <a:pt x="203" y="45"/>
                      <a:pt x="199" y="45"/>
                    </a:cubicBezTo>
                    <a:cubicBezTo>
                      <a:pt x="197" y="46"/>
                      <a:pt x="195" y="46"/>
                      <a:pt x="193" y="46"/>
                    </a:cubicBezTo>
                    <a:cubicBezTo>
                      <a:pt x="189" y="46"/>
                      <a:pt x="186" y="45"/>
                      <a:pt x="181" y="42"/>
                    </a:cubicBezTo>
                    <a:cubicBezTo>
                      <a:pt x="179" y="41"/>
                      <a:pt x="180" y="39"/>
                      <a:pt x="180" y="37"/>
                    </a:cubicBezTo>
                    <a:cubicBezTo>
                      <a:pt x="181" y="35"/>
                      <a:pt x="179" y="35"/>
                      <a:pt x="177" y="34"/>
                    </a:cubicBezTo>
                    <a:cubicBezTo>
                      <a:pt x="174" y="32"/>
                      <a:pt x="175" y="30"/>
                      <a:pt x="175" y="26"/>
                    </a:cubicBezTo>
                    <a:cubicBezTo>
                      <a:pt x="175" y="25"/>
                      <a:pt x="174" y="24"/>
                      <a:pt x="173" y="24"/>
                    </a:cubicBezTo>
                    <a:cubicBezTo>
                      <a:pt x="172" y="24"/>
                      <a:pt x="170" y="25"/>
                      <a:pt x="169" y="25"/>
                    </a:cubicBezTo>
                    <a:cubicBezTo>
                      <a:pt x="168" y="25"/>
                      <a:pt x="167" y="25"/>
                      <a:pt x="166" y="25"/>
                    </a:cubicBezTo>
                    <a:cubicBezTo>
                      <a:pt x="166" y="25"/>
                      <a:pt x="165" y="25"/>
                      <a:pt x="165" y="25"/>
                    </a:cubicBezTo>
                    <a:cubicBezTo>
                      <a:pt x="157" y="23"/>
                      <a:pt x="151" y="21"/>
                      <a:pt x="143" y="20"/>
                    </a:cubicBezTo>
                    <a:cubicBezTo>
                      <a:pt x="139" y="20"/>
                      <a:pt x="137" y="16"/>
                      <a:pt x="135" y="14"/>
                    </a:cubicBezTo>
                    <a:cubicBezTo>
                      <a:pt x="135" y="13"/>
                      <a:pt x="134" y="13"/>
                      <a:pt x="134" y="13"/>
                    </a:cubicBezTo>
                    <a:cubicBezTo>
                      <a:pt x="133" y="13"/>
                      <a:pt x="129" y="15"/>
                      <a:pt x="128" y="16"/>
                    </a:cubicBezTo>
                    <a:cubicBezTo>
                      <a:pt x="128" y="18"/>
                      <a:pt x="125" y="27"/>
                      <a:pt x="122" y="27"/>
                    </a:cubicBezTo>
                    <a:cubicBezTo>
                      <a:pt x="122" y="27"/>
                      <a:pt x="122" y="27"/>
                      <a:pt x="122" y="27"/>
                    </a:cubicBezTo>
                    <a:cubicBezTo>
                      <a:pt x="115" y="26"/>
                      <a:pt x="109" y="25"/>
                      <a:pt x="102" y="24"/>
                    </a:cubicBezTo>
                    <a:cubicBezTo>
                      <a:pt x="101" y="24"/>
                      <a:pt x="101" y="24"/>
                      <a:pt x="100" y="24"/>
                    </a:cubicBezTo>
                    <a:cubicBezTo>
                      <a:pt x="99" y="24"/>
                      <a:pt x="98" y="24"/>
                      <a:pt x="97" y="24"/>
                    </a:cubicBezTo>
                    <a:cubicBezTo>
                      <a:pt x="96" y="24"/>
                      <a:pt x="95" y="24"/>
                      <a:pt x="93" y="24"/>
                    </a:cubicBezTo>
                    <a:cubicBezTo>
                      <a:pt x="93" y="24"/>
                      <a:pt x="92" y="24"/>
                      <a:pt x="92" y="24"/>
                    </a:cubicBezTo>
                    <a:cubicBezTo>
                      <a:pt x="89" y="24"/>
                      <a:pt x="86" y="24"/>
                      <a:pt x="84" y="23"/>
                    </a:cubicBezTo>
                    <a:cubicBezTo>
                      <a:pt x="81" y="23"/>
                      <a:pt x="77" y="23"/>
                      <a:pt x="76" y="20"/>
                    </a:cubicBezTo>
                    <a:cubicBezTo>
                      <a:pt x="75" y="16"/>
                      <a:pt x="73" y="14"/>
                      <a:pt x="71" y="11"/>
                    </a:cubicBezTo>
                    <a:cubicBezTo>
                      <a:pt x="70" y="10"/>
                      <a:pt x="69" y="9"/>
                      <a:pt x="68" y="9"/>
                    </a:cubicBezTo>
                    <a:cubicBezTo>
                      <a:pt x="68" y="9"/>
                      <a:pt x="68" y="10"/>
                      <a:pt x="67" y="10"/>
                    </a:cubicBezTo>
                    <a:cubicBezTo>
                      <a:pt x="67" y="10"/>
                      <a:pt x="66" y="10"/>
                      <a:pt x="66" y="10"/>
                    </a:cubicBezTo>
                    <a:cubicBezTo>
                      <a:pt x="66" y="10"/>
                      <a:pt x="66" y="10"/>
                      <a:pt x="66" y="10"/>
                    </a:cubicBezTo>
                    <a:cubicBezTo>
                      <a:pt x="62" y="10"/>
                      <a:pt x="59" y="9"/>
                      <a:pt x="55" y="9"/>
                    </a:cubicBezTo>
                    <a:cubicBezTo>
                      <a:pt x="52" y="9"/>
                      <a:pt x="49" y="7"/>
                      <a:pt x="46" y="5"/>
                    </a:cubicBezTo>
                    <a:cubicBezTo>
                      <a:pt x="46" y="5"/>
                      <a:pt x="43" y="3"/>
                      <a:pt x="40" y="2"/>
                    </a:cubicBezTo>
                    <a:cubicBezTo>
                      <a:pt x="43" y="3"/>
                      <a:pt x="44" y="5"/>
                      <a:pt x="44" y="8"/>
                    </a:cubicBezTo>
                    <a:cubicBezTo>
                      <a:pt x="44" y="11"/>
                      <a:pt x="41" y="14"/>
                      <a:pt x="37" y="14"/>
                    </a:cubicBezTo>
                    <a:cubicBezTo>
                      <a:pt x="34" y="14"/>
                      <a:pt x="31" y="11"/>
                      <a:pt x="31" y="8"/>
                    </a:cubicBezTo>
                    <a:cubicBezTo>
                      <a:pt x="31" y="6"/>
                      <a:pt x="31" y="5"/>
                      <a:pt x="31" y="5"/>
                    </a:cubicBezTo>
                    <a:cubicBezTo>
                      <a:pt x="25" y="4"/>
                      <a:pt x="20" y="2"/>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Freeform 127"/>
              <p:cNvSpPr/>
              <p:nvPr/>
            </p:nvSpPr>
            <p:spPr bwMode="auto">
              <a:xfrm>
                <a:off x="4181" y="4254"/>
                <a:ext cx="24" cy="28"/>
              </a:xfrm>
              <a:custGeom>
                <a:gdLst>
                  <a:gd name="T0" fmla="*/ 3 w 10"/>
                  <a:gd name="T1" fmla="*/ 0 h 12"/>
                  <a:gd name="T2" fmla="*/ 6 w 10"/>
                  <a:gd name="T3" fmla="*/ 12 h 12"/>
                  <a:gd name="T4" fmla="*/ 6 w 10"/>
                  <a:gd name="T5" fmla="*/ 3 h 12"/>
                  <a:gd name="T6" fmla="*/ 3 w 10"/>
                  <a:gd name="T7" fmla="*/ 0 h 12"/>
                </a:gdLst>
                <a:cxnLst>
                  <a:cxn ang="0">
                    <a:pos x="T0" y="T1"/>
                  </a:cxn>
                  <a:cxn ang="0">
                    <a:pos x="T2" y="T3"/>
                  </a:cxn>
                  <a:cxn ang="0">
                    <a:pos x="T4" y="T5"/>
                  </a:cxn>
                  <a:cxn ang="0">
                    <a:pos x="T6" y="T7"/>
                  </a:cxn>
                </a:cxnLst>
                <a:rect l="0" t="0" r="r" b="b"/>
                <a:pathLst>
                  <a:path w="10" h="12">
                    <a:moveTo>
                      <a:pt x="3" y="0"/>
                    </a:moveTo>
                    <a:cubicBezTo>
                      <a:pt x="0" y="2"/>
                      <a:pt x="4" y="10"/>
                      <a:pt x="6" y="12"/>
                    </a:cubicBezTo>
                    <a:cubicBezTo>
                      <a:pt x="8" y="8"/>
                      <a:pt x="10" y="6"/>
                      <a:pt x="6" y="3"/>
                    </a:cubicBezTo>
                    <a:cubicBezTo>
                      <a:pt x="5" y="2"/>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Freeform 128"/>
              <p:cNvSpPr/>
              <p:nvPr/>
            </p:nvSpPr>
            <p:spPr bwMode="auto">
              <a:xfrm>
                <a:off x="5479" y="4431"/>
                <a:ext cx="54" cy="24"/>
              </a:xfrm>
              <a:custGeom>
                <a:gdLst>
                  <a:gd name="T0" fmla="*/ 4 w 23"/>
                  <a:gd name="T1" fmla="*/ 0 h 10"/>
                  <a:gd name="T2" fmla="*/ 0 w 23"/>
                  <a:gd name="T3" fmla="*/ 1 h 10"/>
                  <a:gd name="T4" fmla="*/ 0 w 23"/>
                  <a:gd name="T5" fmla="*/ 10 h 10"/>
                  <a:gd name="T6" fmla="*/ 7 w 23"/>
                  <a:gd name="T7" fmla="*/ 8 h 10"/>
                  <a:gd name="T8" fmla="*/ 10 w 23"/>
                  <a:gd name="T9" fmla="*/ 7 h 10"/>
                  <a:gd name="T10" fmla="*/ 11 w 23"/>
                  <a:gd name="T11" fmla="*/ 7 h 10"/>
                  <a:gd name="T12" fmla="*/ 15 w 23"/>
                  <a:gd name="T13" fmla="*/ 8 h 10"/>
                  <a:gd name="T14" fmla="*/ 21 w 23"/>
                  <a:gd name="T15" fmla="*/ 7 h 10"/>
                  <a:gd name="T16" fmla="*/ 22 w 23"/>
                  <a:gd name="T17" fmla="*/ 5 h 10"/>
                  <a:gd name="T18" fmla="*/ 22 w 23"/>
                  <a:gd name="T19" fmla="*/ 3 h 10"/>
                  <a:gd name="T20" fmla="*/ 21 w 23"/>
                  <a:gd name="T21" fmla="*/ 3 h 10"/>
                  <a:gd name="T22" fmla="*/ 20 w 23"/>
                  <a:gd name="T23" fmla="*/ 3 h 10"/>
                  <a:gd name="T24" fmla="*/ 20 w 23"/>
                  <a:gd name="T25" fmla="*/ 4 h 10"/>
                  <a:gd name="T26" fmla="*/ 19 w 23"/>
                  <a:gd name="T27" fmla="*/ 3 h 10"/>
                  <a:gd name="T28" fmla="*/ 19 w 23"/>
                  <a:gd name="T29" fmla="*/ 3 h 10"/>
                  <a:gd name="T30" fmla="*/ 18 w 23"/>
                  <a:gd name="T31" fmla="*/ 2 h 10"/>
                  <a:gd name="T32" fmla="*/ 17 w 23"/>
                  <a:gd name="T33" fmla="*/ 2 h 10"/>
                  <a:gd name="T34" fmla="*/ 16 w 23"/>
                  <a:gd name="T35" fmla="*/ 3 h 10"/>
                  <a:gd name="T36" fmla="*/ 16 w 23"/>
                  <a:gd name="T37" fmla="*/ 3 h 10"/>
                  <a:gd name="T38" fmla="*/ 15 w 23"/>
                  <a:gd name="T39" fmla="*/ 3 h 10"/>
                  <a:gd name="T40" fmla="*/ 4 w 23"/>
                  <a:gd name="T4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10">
                    <a:moveTo>
                      <a:pt x="4" y="0"/>
                    </a:moveTo>
                    <a:cubicBezTo>
                      <a:pt x="2" y="0"/>
                      <a:pt x="1" y="0"/>
                      <a:pt x="0" y="1"/>
                    </a:cubicBezTo>
                    <a:cubicBezTo>
                      <a:pt x="0" y="4"/>
                      <a:pt x="0" y="7"/>
                      <a:pt x="0" y="10"/>
                    </a:cubicBezTo>
                    <a:cubicBezTo>
                      <a:pt x="3" y="9"/>
                      <a:pt x="5" y="9"/>
                      <a:pt x="7" y="8"/>
                    </a:cubicBezTo>
                    <a:cubicBezTo>
                      <a:pt x="8" y="8"/>
                      <a:pt x="9" y="7"/>
                      <a:pt x="10" y="7"/>
                    </a:cubicBezTo>
                    <a:cubicBezTo>
                      <a:pt x="10" y="7"/>
                      <a:pt x="11" y="7"/>
                      <a:pt x="11" y="7"/>
                    </a:cubicBezTo>
                    <a:cubicBezTo>
                      <a:pt x="12" y="8"/>
                      <a:pt x="14" y="8"/>
                      <a:pt x="15" y="8"/>
                    </a:cubicBezTo>
                    <a:cubicBezTo>
                      <a:pt x="17" y="8"/>
                      <a:pt x="19" y="7"/>
                      <a:pt x="21" y="7"/>
                    </a:cubicBezTo>
                    <a:cubicBezTo>
                      <a:pt x="22" y="6"/>
                      <a:pt x="23" y="7"/>
                      <a:pt x="22" y="5"/>
                    </a:cubicBezTo>
                    <a:cubicBezTo>
                      <a:pt x="22" y="3"/>
                      <a:pt x="22" y="3"/>
                      <a:pt x="22" y="3"/>
                    </a:cubicBezTo>
                    <a:cubicBezTo>
                      <a:pt x="22" y="3"/>
                      <a:pt x="22" y="3"/>
                      <a:pt x="21" y="3"/>
                    </a:cubicBezTo>
                    <a:cubicBezTo>
                      <a:pt x="21" y="3"/>
                      <a:pt x="20" y="3"/>
                      <a:pt x="20" y="3"/>
                    </a:cubicBezTo>
                    <a:cubicBezTo>
                      <a:pt x="20" y="4"/>
                      <a:pt x="20" y="4"/>
                      <a:pt x="20" y="4"/>
                    </a:cubicBezTo>
                    <a:cubicBezTo>
                      <a:pt x="19" y="4"/>
                      <a:pt x="19" y="3"/>
                      <a:pt x="19" y="3"/>
                    </a:cubicBezTo>
                    <a:cubicBezTo>
                      <a:pt x="19" y="3"/>
                      <a:pt x="19" y="3"/>
                      <a:pt x="19" y="3"/>
                    </a:cubicBezTo>
                    <a:cubicBezTo>
                      <a:pt x="19" y="3"/>
                      <a:pt x="18" y="2"/>
                      <a:pt x="18" y="2"/>
                    </a:cubicBezTo>
                    <a:cubicBezTo>
                      <a:pt x="18" y="2"/>
                      <a:pt x="17" y="2"/>
                      <a:pt x="17" y="2"/>
                    </a:cubicBezTo>
                    <a:cubicBezTo>
                      <a:pt x="17" y="2"/>
                      <a:pt x="17" y="3"/>
                      <a:pt x="16" y="3"/>
                    </a:cubicBezTo>
                    <a:cubicBezTo>
                      <a:pt x="16" y="3"/>
                      <a:pt x="16" y="3"/>
                      <a:pt x="16" y="3"/>
                    </a:cubicBezTo>
                    <a:cubicBezTo>
                      <a:pt x="15" y="3"/>
                      <a:pt x="15" y="3"/>
                      <a:pt x="15" y="3"/>
                    </a:cubicBezTo>
                    <a:cubicBezTo>
                      <a:pt x="12"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129"/>
              <p:cNvSpPr/>
              <p:nvPr/>
            </p:nvSpPr>
            <p:spPr bwMode="auto">
              <a:xfrm>
                <a:off x="5410" y="4816"/>
                <a:ext cx="40" cy="22"/>
              </a:xfrm>
              <a:custGeom>
                <a:gdLst>
                  <a:gd name="T0" fmla="*/ 14 w 17"/>
                  <a:gd name="T1" fmla="*/ 0 h 9"/>
                  <a:gd name="T2" fmla="*/ 11 w 17"/>
                  <a:gd name="T3" fmla="*/ 1 h 9"/>
                  <a:gd name="T4" fmla="*/ 11 w 17"/>
                  <a:gd name="T5" fmla="*/ 1 h 9"/>
                  <a:gd name="T6" fmla="*/ 11 w 17"/>
                  <a:gd name="T7" fmla="*/ 0 h 9"/>
                  <a:gd name="T8" fmla="*/ 11 w 17"/>
                  <a:gd name="T9" fmla="*/ 0 h 9"/>
                  <a:gd name="T10" fmla="*/ 10 w 17"/>
                  <a:gd name="T11" fmla="*/ 0 h 9"/>
                  <a:gd name="T12" fmla="*/ 10 w 17"/>
                  <a:gd name="T13" fmla="*/ 2 h 9"/>
                  <a:gd name="T14" fmla="*/ 8 w 17"/>
                  <a:gd name="T15" fmla="*/ 4 h 9"/>
                  <a:gd name="T16" fmla="*/ 8 w 17"/>
                  <a:gd name="T17" fmla="*/ 4 h 9"/>
                  <a:gd name="T18" fmla="*/ 7 w 17"/>
                  <a:gd name="T19" fmla="*/ 1 h 9"/>
                  <a:gd name="T20" fmla="*/ 4 w 17"/>
                  <a:gd name="T21" fmla="*/ 1 h 9"/>
                  <a:gd name="T22" fmla="*/ 0 w 17"/>
                  <a:gd name="T23" fmla="*/ 8 h 9"/>
                  <a:gd name="T24" fmla="*/ 5 w 17"/>
                  <a:gd name="T25" fmla="*/ 9 h 9"/>
                  <a:gd name="T26" fmla="*/ 7 w 17"/>
                  <a:gd name="T27" fmla="*/ 9 h 9"/>
                  <a:gd name="T28" fmla="*/ 9 w 17"/>
                  <a:gd name="T29" fmla="*/ 8 h 9"/>
                  <a:gd name="T30" fmla="*/ 9 w 17"/>
                  <a:gd name="T31" fmla="*/ 7 h 9"/>
                  <a:gd name="T32" fmla="*/ 9 w 17"/>
                  <a:gd name="T33" fmla="*/ 6 h 9"/>
                  <a:gd name="T34" fmla="*/ 12 w 17"/>
                  <a:gd name="T35" fmla="*/ 5 h 9"/>
                  <a:gd name="T36" fmla="*/ 17 w 17"/>
                  <a:gd name="T37" fmla="*/ 0 h 9"/>
                  <a:gd name="T38" fmla="*/ 14 w 17"/>
                  <a:gd name="T3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9">
                    <a:moveTo>
                      <a:pt x="14" y="0"/>
                    </a:moveTo>
                    <a:cubicBezTo>
                      <a:pt x="13" y="0"/>
                      <a:pt x="12" y="0"/>
                      <a:pt x="11" y="1"/>
                    </a:cubicBezTo>
                    <a:cubicBezTo>
                      <a:pt x="11" y="1"/>
                      <a:pt x="11" y="1"/>
                      <a:pt x="11" y="1"/>
                    </a:cubicBezTo>
                    <a:cubicBezTo>
                      <a:pt x="11" y="1"/>
                      <a:pt x="11" y="1"/>
                      <a:pt x="11" y="0"/>
                    </a:cubicBezTo>
                    <a:cubicBezTo>
                      <a:pt x="11" y="0"/>
                      <a:pt x="11" y="0"/>
                      <a:pt x="11" y="0"/>
                    </a:cubicBezTo>
                    <a:cubicBezTo>
                      <a:pt x="10" y="0"/>
                      <a:pt x="10" y="0"/>
                      <a:pt x="10" y="0"/>
                    </a:cubicBezTo>
                    <a:cubicBezTo>
                      <a:pt x="10" y="1"/>
                      <a:pt x="10" y="2"/>
                      <a:pt x="10" y="2"/>
                    </a:cubicBezTo>
                    <a:cubicBezTo>
                      <a:pt x="9" y="3"/>
                      <a:pt x="9" y="4"/>
                      <a:pt x="8" y="4"/>
                    </a:cubicBezTo>
                    <a:cubicBezTo>
                      <a:pt x="8" y="4"/>
                      <a:pt x="8" y="4"/>
                      <a:pt x="8" y="4"/>
                    </a:cubicBezTo>
                    <a:cubicBezTo>
                      <a:pt x="5" y="3"/>
                      <a:pt x="9" y="1"/>
                      <a:pt x="7" y="1"/>
                    </a:cubicBezTo>
                    <a:cubicBezTo>
                      <a:pt x="6" y="1"/>
                      <a:pt x="6" y="1"/>
                      <a:pt x="4" y="1"/>
                    </a:cubicBezTo>
                    <a:cubicBezTo>
                      <a:pt x="9" y="4"/>
                      <a:pt x="2" y="6"/>
                      <a:pt x="0" y="8"/>
                    </a:cubicBezTo>
                    <a:cubicBezTo>
                      <a:pt x="2" y="8"/>
                      <a:pt x="4" y="9"/>
                      <a:pt x="5" y="9"/>
                    </a:cubicBezTo>
                    <a:cubicBezTo>
                      <a:pt x="6" y="9"/>
                      <a:pt x="6" y="9"/>
                      <a:pt x="7" y="9"/>
                    </a:cubicBezTo>
                    <a:cubicBezTo>
                      <a:pt x="8" y="9"/>
                      <a:pt x="8" y="9"/>
                      <a:pt x="9" y="8"/>
                    </a:cubicBezTo>
                    <a:cubicBezTo>
                      <a:pt x="9" y="8"/>
                      <a:pt x="9" y="7"/>
                      <a:pt x="9" y="7"/>
                    </a:cubicBezTo>
                    <a:cubicBezTo>
                      <a:pt x="9" y="6"/>
                      <a:pt x="9" y="6"/>
                      <a:pt x="9" y="6"/>
                    </a:cubicBezTo>
                    <a:cubicBezTo>
                      <a:pt x="10" y="5"/>
                      <a:pt x="11" y="6"/>
                      <a:pt x="12" y="5"/>
                    </a:cubicBezTo>
                    <a:cubicBezTo>
                      <a:pt x="13" y="4"/>
                      <a:pt x="16" y="2"/>
                      <a:pt x="17" y="0"/>
                    </a:cubicBezTo>
                    <a:cubicBezTo>
                      <a:pt x="16"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Freeform 130"/>
              <p:cNvSpPr/>
              <p:nvPr/>
            </p:nvSpPr>
            <p:spPr bwMode="auto">
              <a:xfrm>
                <a:off x="4021" y="4455"/>
                <a:ext cx="30" cy="21"/>
              </a:xfrm>
              <a:custGeom>
                <a:gdLst>
                  <a:gd name="T0" fmla="*/ 6 w 13"/>
                  <a:gd name="T1" fmla="*/ 0 h 9"/>
                  <a:gd name="T2" fmla="*/ 5 w 13"/>
                  <a:gd name="T3" fmla="*/ 0 h 9"/>
                  <a:gd name="T4" fmla="*/ 13 w 13"/>
                  <a:gd name="T5" fmla="*/ 9 h 9"/>
                  <a:gd name="T6" fmla="*/ 8 w 13"/>
                  <a:gd name="T7" fmla="*/ 1 h 9"/>
                  <a:gd name="T8" fmla="*/ 6 w 13"/>
                  <a:gd name="T9" fmla="*/ 0 h 9"/>
                </a:gdLst>
                <a:cxnLst>
                  <a:cxn ang="0">
                    <a:pos x="T0" y="T1"/>
                  </a:cxn>
                  <a:cxn ang="0">
                    <a:pos x="T2" y="T3"/>
                  </a:cxn>
                  <a:cxn ang="0">
                    <a:pos x="T4" y="T5"/>
                  </a:cxn>
                  <a:cxn ang="0">
                    <a:pos x="T6" y="T7"/>
                  </a:cxn>
                  <a:cxn ang="0">
                    <a:pos x="T8" y="T9"/>
                  </a:cxn>
                </a:cxnLst>
                <a:rect l="0" t="0" r="r" b="b"/>
                <a:pathLst>
                  <a:path w="13" h="9">
                    <a:moveTo>
                      <a:pt x="6" y="0"/>
                    </a:moveTo>
                    <a:cubicBezTo>
                      <a:pt x="6" y="0"/>
                      <a:pt x="6" y="0"/>
                      <a:pt x="5" y="0"/>
                    </a:cubicBezTo>
                    <a:cubicBezTo>
                      <a:pt x="0" y="4"/>
                      <a:pt x="11" y="8"/>
                      <a:pt x="13" y="9"/>
                    </a:cubicBezTo>
                    <a:cubicBezTo>
                      <a:pt x="12" y="7"/>
                      <a:pt x="9" y="2"/>
                      <a:pt x="8"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131"/>
              <p:cNvSpPr/>
              <p:nvPr/>
            </p:nvSpPr>
            <p:spPr bwMode="auto">
              <a:xfrm>
                <a:off x="5084" y="4098"/>
                <a:ext cx="5" cy="7"/>
              </a:xfrm>
              <a:custGeom>
                <a:gdLst>
                  <a:gd name="T0" fmla="*/ 0 w 2"/>
                  <a:gd name="T1" fmla="*/ 0 h 3"/>
                  <a:gd name="T2" fmla="*/ 0 w 2"/>
                  <a:gd name="T3" fmla="*/ 2 h 3"/>
                  <a:gd name="T4" fmla="*/ 0 w 2"/>
                  <a:gd name="T5" fmla="*/ 2 h 3"/>
                  <a:gd name="T6" fmla="*/ 1 w 2"/>
                  <a:gd name="T7" fmla="*/ 3 h 3"/>
                  <a:gd name="T8" fmla="*/ 2 w 2"/>
                  <a:gd name="T9" fmla="*/ 3 h 3"/>
                  <a:gd name="T10" fmla="*/ 0 w 2"/>
                  <a:gd name="T11" fmla="*/ 0 h 3"/>
                </a:gdLst>
                <a:cxnLst>
                  <a:cxn ang="0">
                    <a:pos x="T0" y="T1"/>
                  </a:cxn>
                  <a:cxn ang="0">
                    <a:pos x="T2" y="T3"/>
                  </a:cxn>
                  <a:cxn ang="0">
                    <a:pos x="T4" y="T5"/>
                  </a:cxn>
                  <a:cxn ang="0">
                    <a:pos x="T6" y="T7"/>
                  </a:cxn>
                  <a:cxn ang="0">
                    <a:pos x="T8" y="T9"/>
                  </a:cxn>
                  <a:cxn ang="0">
                    <a:pos x="T10" y="T11"/>
                  </a:cxn>
                </a:cxnLst>
                <a:rect l="0" t="0" r="r" b="b"/>
                <a:pathLst>
                  <a:path w="2" h="3">
                    <a:moveTo>
                      <a:pt x="0" y="0"/>
                    </a:moveTo>
                    <a:cubicBezTo>
                      <a:pt x="0" y="1"/>
                      <a:pt x="0" y="2"/>
                      <a:pt x="0" y="2"/>
                    </a:cubicBezTo>
                    <a:cubicBezTo>
                      <a:pt x="0" y="2"/>
                      <a:pt x="0" y="2"/>
                      <a:pt x="0" y="2"/>
                    </a:cubicBezTo>
                    <a:cubicBezTo>
                      <a:pt x="1" y="3"/>
                      <a:pt x="1" y="3"/>
                      <a:pt x="1" y="3"/>
                    </a:cubicBezTo>
                    <a:cubicBezTo>
                      <a:pt x="1" y="3"/>
                      <a:pt x="2" y="3"/>
                      <a:pt x="2" y="3"/>
                    </a:cubicBezTo>
                    <a:cubicBezTo>
                      <a:pt x="2" y="2"/>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Freeform 132"/>
              <p:cNvSpPr/>
              <p:nvPr/>
            </p:nvSpPr>
            <p:spPr bwMode="auto">
              <a:xfrm>
                <a:off x="6249" y="4767"/>
                <a:ext cx="80" cy="61"/>
              </a:xfrm>
              <a:custGeom>
                <a:gdLst>
                  <a:gd name="T0" fmla="*/ 25 w 34"/>
                  <a:gd name="T1" fmla="*/ 0 h 26"/>
                  <a:gd name="T2" fmla="*/ 17 w 34"/>
                  <a:gd name="T3" fmla="*/ 1 h 26"/>
                  <a:gd name="T4" fmla="*/ 5 w 34"/>
                  <a:gd name="T5" fmla="*/ 13 h 26"/>
                  <a:gd name="T6" fmla="*/ 0 w 34"/>
                  <a:gd name="T7" fmla="*/ 26 h 26"/>
                  <a:gd name="T8" fmla="*/ 2 w 34"/>
                  <a:gd name="T9" fmla="*/ 25 h 26"/>
                  <a:gd name="T10" fmla="*/ 8 w 34"/>
                  <a:gd name="T11" fmla="*/ 25 h 26"/>
                  <a:gd name="T12" fmla="*/ 10 w 34"/>
                  <a:gd name="T13" fmla="*/ 25 h 26"/>
                  <a:gd name="T14" fmla="*/ 16 w 34"/>
                  <a:gd name="T15" fmla="*/ 26 h 26"/>
                  <a:gd name="T16" fmla="*/ 19 w 34"/>
                  <a:gd name="T17" fmla="*/ 25 h 26"/>
                  <a:gd name="T18" fmla="*/ 24 w 34"/>
                  <a:gd name="T19" fmla="*/ 21 h 26"/>
                  <a:gd name="T20" fmla="*/ 26 w 34"/>
                  <a:gd name="T21" fmla="*/ 19 h 26"/>
                  <a:gd name="T22" fmla="*/ 31 w 34"/>
                  <a:gd name="T23" fmla="*/ 17 h 26"/>
                  <a:gd name="T24" fmla="*/ 30 w 34"/>
                  <a:gd name="T25" fmla="*/ 14 h 26"/>
                  <a:gd name="T26" fmla="*/ 33 w 34"/>
                  <a:gd name="T27" fmla="*/ 11 h 26"/>
                  <a:gd name="T28" fmla="*/ 33 w 34"/>
                  <a:gd name="T29" fmla="*/ 10 h 26"/>
                  <a:gd name="T30" fmla="*/ 34 w 34"/>
                  <a:gd name="T31" fmla="*/ 6 h 26"/>
                  <a:gd name="T32" fmla="*/ 30 w 34"/>
                  <a:gd name="T33" fmla="*/ 3 h 26"/>
                  <a:gd name="T34" fmla="*/ 25 w 34"/>
                  <a:gd name="T35" fmla="*/ 0 h 26"/>
                  <a:gd name="T36" fmla="*/ 25 w 34"/>
                  <a:gd name="T37"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26">
                    <a:moveTo>
                      <a:pt x="25" y="0"/>
                    </a:moveTo>
                    <a:cubicBezTo>
                      <a:pt x="23" y="0"/>
                      <a:pt x="19" y="1"/>
                      <a:pt x="17" y="1"/>
                    </a:cubicBezTo>
                    <a:cubicBezTo>
                      <a:pt x="11" y="5"/>
                      <a:pt x="8" y="7"/>
                      <a:pt x="5" y="13"/>
                    </a:cubicBezTo>
                    <a:cubicBezTo>
                      <a:pt x="3" y="17"/>
                      <a:pt x="1" y="22"/>
                      <a:pt x="0" y="26"/>
                    </a:cubicBezTo>
                    <a:cubicBezTo>
                      <a:pt x="1" y="26"/>
                      <a:pt x="2" y="25"/>
                      <a:pt x="2" y="25"/>
                    </a:cubicBezTo>
                    <a:cubicBezTo>
                      <a:pt x="4" y="25"/>
                      <a:pt x="6" y="25"/>
                      <a:pt x="8" y="25"/>
                    </a:cubicBezTo>
                    <a:cubicBezTo>
                      <a:pt x="9" y="25"/>
                      <a:pt x="9" y="25"/>
                      <a:pt x="10" y="25"/>
                    </a:cubicBezTo>
                    <a:cubicBezTo>
                      <a:pt x="12" y="25"/>
                      <a:pt x="14" y="26"/>
                      <a:pt x="16" y="26"/>
                    </a:cubicBezTo>
                    <a:cubicBezTo>
                      <a:pt x="17" y="26"/>
                      <a:pt x="18" y="26"/>
                      <a:pt x="19" y="25"/>
                    </a:cubicBezTo>
                    <a:cubicBezTo>
                      <a:pt x="21" y="24"/>
                      <a:pt x="22" y="23"/>
                      <a:pt x="24" y="21"/>
                    </a:cubicBezTo>
                    <a:cubicBezTo>
                      <a:pt x="25" y="21"/>
                      <a:pt x="25" y="20"/>
                      <a:pt x="26" y="19"/>
                    </a:cubicBezTo>
                    <a:cubicBezTo>
                      <a:pt x="27" y="19"/>
                      <a:pt x="30" y="19"/>
                      <a:pt x="31" y="17"/>
                    </a:cubicBezTo>
                    <a:cubicBezTo>
                      <a:pt x="31" y="17"/>
                      <a:pt x="30" y="15"/>
                      <a:pt x="30" y="14"/>
                    </a:cubicBezTo>
                    <a:cubicBezTo>
                      <a:pt x="31" y="13"/>
                      <a:pt x="32" y="13"/>
                      <a:pt x="33" y="11"/>
                    </a:cubicBezTo>
                    <a:cubicBezTo>
                      <a:pt x="33" y="11"/>
                      <a:pt x="33" y="10"/>
                      <a:pt x="33" y="10"/>
                    </a:cubicBezTo>
                    <a:cubicBezTo>
                      <a:pt x="34" y="8"/>
                      <a:pt x="34" y="7"/>
                      <a:pt x="34" y="6"/>
                    </a:cubicBezTo>
                    <a:cubicBezTo>
                      <a:pt x="33" y="5"/>
                      <a:pt x="31" y="4"/>
                      <a:pt x="30" y="3"/>
                    </a:cubicBezTo>
                    <a:cubicBezTo>
                      <a:pt x="29" y="1"/>
                      <a:pt x="29" y="0"/>
                      <a:pt x="25" y="0"/>
                    </a:cubicBezTo>
                    <a:cubicBezTo>
                      <a:pt x="25" y="0"/>
                      <a:pt x="25"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133"/>
              <p:cNvSpPr/>
              <p:nvPr/>
            </p:nvSpPr>
            <p:spPr bwMode="auto">
              <a:xfrm>
                <a:off x="6039" y="4696"/>
                <a:ext cx="35" cy="42"/>
              </a:xfrm>
              <a:custGeom>
                <a:gdLst>
                  <a:gd name="T0" fmla="*/ 2 w 15"/>
                  <a:gd name="T1" fmla="*/ 0 h 18"/>
                  <a:gd name="T2" fmla="*/ 4 w 15"/>
                  <a:gd name="T3" fmla="*/ 8 h 18"/>
                  <a:gd name="T4" fmla="*/ 4 w 15"/>
                  <a:gd name="T5" fmla="*/ 8 h 18"/>
                  <a:gd name="T6" fmla="*/ 2 w 15"/>
                  <a:gd name="T7" fmla="*/ 17 h 18"/>
                  <a:gd name="T8" fmla="*/ 4 w 15"/>
                  <a:gd name="T9" fmla="*/ 18 h 18"/>
                  <a:gd name="T10" fmla="*/ 10 w 15"/>
                  <a:gd name="T11" fmla="*/ 12 h 18"/>
                  <a:gd name="T12" fmla="*/ 10 w 15"/>
                  <a:gd name="T13" fmla="*/ 12 h 18"/>
                  <a:gd name="T14" fmla="*/ 2 w 15"/>
                  <a:gd name="T15" fmla="*/ 0 h 1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2" y="0"/>
                    </a:moveTo>
                    <a:cubicBezTo>
                      <a:pt x="2" y="3"/>
                      <a:pt x="1" y="7"/>
                      <a:pt x="4" y="8"/>
                    </a:cubicBezTo>
                    <a:cubicBezTo>
                      <a:pt x="4" y="8"/>
                      <a:pt x="4" y="8"/>
                      <a:pt x="4" y="8"/>
                    </a:cubicBezTo>
                    <a:cubicBezTo>
                      <a:pt x="0" y="8"/>
                      <a:pt x="0" y="15"/>
                      <a:pt x="2" y="17"/>
                    </a:cubicBezTo>
                    <a:cubicBezTo>
                      <a:pt x="3" y="18"/>
                      <a:pt x="3" y="18"/>
                      <a:pt x="4" y="18"/>
                    </a:cubicBezTo>
                    <a:cubicBezTo>
                      <a:pt x="7" y="18"/>
                      <a:pt x="9" y="15"/>
                      <a:pt x="10" y="12"/>
                    </a:cubicBezTo>
                    <a:cubicBezTo>
                      <a:pt x="10" y="12"/>
                      <a:pt x="10" y="12"/>
                      <a:pt x="10" y="12"/>
                    </a:cubicBezTo>
                    <a:cubicBezTo>
                      <a:pt x="15" y="1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Freeform 134"/>
              <p:cNvSpPr/>
              <p:nvPr/>
            </p:nvSpPr>
            <p:spPr bwMode="auto">
              <a:xfrm>
                <a:off x="4796" y="4736"/>
                <a:ext cx="85" cy="21"/>
              </a:xfrm>
              <a:custGeom>
                <a:gdLst>
                  <a:gd name="T0" fmla="*/ 13 w 36"/>
                  <a:gd name="T1" fmla="*/ 0 h 9"/>
                  <a:gd name="T2" fmla="*/ 2 w 36"/>
                  <a:gd name="T3" fmla="*/ 5 h 9"/>
                  <a:gd name="T4" fmla="*/ 4 w 36"/>
                  <a:gd name="T5" fmla="*/ 8 h 9"/>
                  <a:gd name="T6" fmla="*/ 12 w 36"/>
                  <a:gd name="T7" fmla="*/ 9 h 9"/>
                  <a:gd name="T8" fmla="*/ 36 w 36"/>
                  <a:gd name="T9" fmla="*/ 3 h 9"/>
                  <a:gd name="T10" fmla="*/ 29 w 36"/>
                  <a:gd name="T11" fmla="*/ 1 h 9"/>
                  <a:gd name="T12" fmla="*/ 24 w 36"/>
                  <a:gd name="T13" fmla="*/ 1 h 9"/>
                  <a:gd name="T14" fmla="*/ 13 w 36"/>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9">
                    <a:moveTo>
                      <a:pt x="13" y="0"/>
                    </a:moveTo>
                    <a:cubicBezTo>
                      <a:pt x="8" y="0"/>
                      <a:pt x="4" y="1"/>
                      <a:pt x="2" y="5"/>
                    </a:cubicBezTo>
                    <a:cubicBezTo>
                      <a:pt x="0" y="8"/>
                      <a:pt x="2" y="7"/>
                      <a:pt x="4" y="8"/>
                    </a:cubicBezTo>
                    <a:cubicBezTo>
                      <a:pt x="7" y="9"/>
                      <a:pt x="10" y="9"/>
                      <a:pt x="12" y="9"/>
                    </a:cubicBezTo>
                    <a:cubicBezTo>
                      <a:pt x="20" y="9"/>
                      <a:pt x="28" y="6"/>
                      <a:pt x="36" y="3"/>
                    </a:cubicBezTo>
                    <a:cubicBezTo>
                      <a:pt x="34" y="1"/>
                      <a:pt x="31" y="1"/>
                      <a:pt x="29" y="1"/>
                    </a:cubicBezTo>
                    <a:cubicBezTo>
                      <a:pt x="27" y="1"/>
                      <a:pt x="25" y="1"/>
                      <a:pt x="24" y="1"/>
                    </a:cubicBezTo>
                    <a:cubicBezTo>
                      <a:pt x="21" y="1"/>
                      <a:pt x="17"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135"/>
              <p:cNvSpPr/>
              <p:nvPr/>
            </p:nvSpPr>
            <p:spPr bwMode="auto">
              <a:xfrm>
                <a:off x="5979" y="4646"/>
                <a:ext cx="10" cy="19"/>
              </a:xfrm>
              <a:custGeom>
                <a:gdLst>
                  <a:gd name="T0" fmla="*/ 4 w 4"/>
                  <a:gd name="T1" fmla="*/ 0 h 8"/>
                  <a:gd name="T2" fmla="*/ 0 w 4"/>
                  <a:gd name="T3" fmla="*/ 8 h 8"/>
                  <a:gd name="T4" fmla="*/ 4 w 4"/>
                  <a:gd name="T5" fmla="*/ 0 h 8"/>
                </a:gdLst>
                <a:cxnLst>
                  <a:cxn ang="0">
                    <a:pos x="T0" y="T1"/>
                  </a:cxn>
                  <a:cxn ang="0">
                    <a:pos x="T2" y="T3"/>
                  </a:cxn>
                  <a:cxn ang="0">
                    <a:pos x="T4" y="T5"/>
                  </a:cxn>
                </a:cxnLst>
                <a:rect l="0" t="0" r="r" b="b"/>
                <a:pathLst>
                  <a:path w="4" h="8">
                    <a:moveTo>
                      <a:pt x="4" y="0"/>
                    </a:moveTo>
                    <a:cubicBezTo>
                      <a:pt x="2" y="0"/>
                      <a:pt x="0" y="6"/>
                      <a:pt x="0" y="8"/>
                    </a:cubicBezTo>
                    <a:cubicBezTo>
                      <a:pt x="1" y="5"/>
                      <a:pt x="2"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136"/>
              <p:cNvSpPr/>
              <p:nvPr/>
            </p:nvSpPr>
            <p:spPr bwMode="auto">
              <a:xfrm>
                <a:off x="5970" y="4665"/>
                <a:ext cx="9" cy="21"/>
              </a:xfrm>
              <a:custGeom>
                <a:gdLst>
                  <a:gd name="T0" fmla="*/ 4 w 4"/>
                  <a:gd name="T1" fmla="*/ 0 h 9"/>
                  <a:gd name="T2" fmla="*/ 0 w 4"/>
                  <a:gd name="T3" fmla="*/ 9 h 9"/>
                  <a:gd name="T4" fmla="*/ 4 w 4"/>
                  <a:gd name="T5" fmla="*/ 0 h 9"/>
                  <a:gd name="T6" fmla="*/ 4 w 4"/>
                  <a:gd name="T7" fmla="*/ 0 h 9"/>
                </a:gdLst>
                <a:cxnLst>
                  <a:cxn ang="0">
                    <a:pos x="T0" y="T1"/>
                  </a:cxn>
                  <a:cxn ang="0">
                    <a:pos x="T2" y="T3"/>
                  </a:cxn>
                  <a:cxn ang="0">
                    <a:pos x="T4" y="T5"/>
                  </a:cxn>
                  <a:cxn ang="0">
                    <a:pos x="T6" y="T7"/>
                  </a:cxn>
                </a:cxnLst>
                <a:rect l="0" t="0" r="r" b="b"/>
                <a:pathLst>
                  <a:path w="4" h="9">
                    <a:moveTo>
                      <a:pt x="4" y="0"/>
                    </a:moveTo>
                    <a:cubicBezTo>
                      <a:pt x="1" y="0"/>
                      <a:pt x="0" y="7"/>
                      <a:pt x="0" y="9"/>
                    </a:cubicBezTo>
                    <a:cubicBezTo>
                      <a:pt x="1" y="6"/>
                      <a:pt x="2" y="3"/>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137"/>
              <p:cNvSpPr/>
              <p:nvPr/>
            </p:nvSpPr>
            <p:spPr bwMode="auto">
              <a:xfrm>
                <a:off x="5207" y="4807"/>
                <a:ext cx="191" cy="52"/>
              </a:xfrm>
              <a:custGeom>
                <a:gdLst>
                  <a:gd name="T0" fmla="*/ 77 w 81"/>
                  <a:gd name="T1" fmla="*/ 0 h 22"/>
                  <a:gd name="T2" fmla="*/ 79 w 81"/>
                  <a:gd name="T3" fmla="*/ 4 h 22"/>
                  <a:gd name="T4" fmla="*/ 68 w 81"/>
                  <a:gd name="T5" fmla="*/ 11 h 22"/>
                  <a:gd name="T6" fmla="*/ 68 w 81"/>
                  <a:gd name="T7" fmla="*/ 13 h 22"/>
                  <a:gd name="T8" fmla="*/ 64 w 81"/>
                  <a:gd name="T9" fmla="*/ 14 h 22"/>
                  <a:gd name="T10" fmla="*/ 61 w 81"/>
                  <a:gd name="T11" fmla="*/ 13 h 22"/>
                  <a:gd name="T12" fmla="*/ 50 w 81"/>
                  <a:gd name="T13" fmla="*/ 10 h 22"/>
                  <a:gd name="T14" fmla="*/ 47 w 81"/>
                  <a:gd name="T15" fmla="*/ 10 h 22"/>
                  <a:gd name="T16" fmla="*/ 43 w 81"/>
                  <a:gd name="T17" fmla="*/ 13 h 22"/>
                  <a:gd name="T18" fmla="*/ 43 w 81"/>
                  <a:gd name="T19" fmla="*/ 13 h 22"/>
                  <a:gd name="T20" fmla="*/ 34 w 81"/>
                  <a:gd name="T21" fmla="*/ 9 h 22"/>
                  <a:gd name="T22" fmla="*/ 19 w 81"/>
                  <a:gd name="T23" fmla="*/ 7 h 22"/>
                  <a:gd name="T24" fmla="*/ 14 w 81"/>
                  <a:gd name="T25" fmla="*/ 7 h 22"/>
                  <a:gd name="T26" fmla="*/ 2 w 81"/>
                  <a:gd name="T27" fmla="*/ 13 h 22"/>
                  <a:gd name="T28" fmla="*/ 10 w 81"/>
                  <a:gd name="T29" fmla="*/ 19 h 22"/>
                  <a:gd name="T30" fmla="*/ 14 w 81"/>
                  <a:gd name="T31" fmla="*/ 19 h 22"/>
                  <a:gd name="T32" fmla="*/ 23 w 81"/>
                  <a:gd name="T33" fmla="*/ 18 h 22"/>
                  <a:gd name="T34" fmla="*/ 26 w 81"/>
                  <a:gd name="T35" fmla="*/ 19 h 22"/>
                  <a:gd name="T36" fmla="*/ 30 w 81"/>
                  <a:gd name="T37" fmla="*/ 22 h 22"/>
                  <a:gd name="T38" fmla="*/ 31 w 81"/>
                  <a:gd name="T39" fmla="*/ 22 h 22"/>
                  <a:gd name="T40" fmla="*/ 40 w 81"/>
                  <a:gd name="T41" fmla="*/ 19 h 22"/>
                  <a:gd name="T42" fmla="*/ 41 w 81"/>
                  <a:gd name="T43" fmla="*/ 18 h 22"/>
                  <a:gd name="T44" fmla="*/ 44 w 81"/>
                  <a:gd name="T45" fmla="*/ 20 h 22"/>
                  <a:gd name="T46" fmla="*/ 48 w 81"/>
                  <a:gd name="T47" fmla="*/ 21 h 22"/>
                  <a:gd name="T48" fmla="*/ 48 w 81"/>
                  <a:gd name="T49" fmla="*/ 21 h 22"/>
                  <a:gd name="T50" fmla="*/ 56 w 81"/>
                  <a:gd name="T51" fmla="*/ 18 h 22"/>
                  <a:gd name="T52" fmla="*/ 69 w 81"/>
                  <a:gd name="T53" fmla="*/ 15 h 22"/>
                  <a:gd name="T54" fmla="*/ 75 w 81"/>
                  <a:gd name="T55" fmla="*/ 14 h 22"/>
                  <a:gd name="T56" fmla="*/ 77 w 81"/>
                  <a:gd name="T57" fmla="*/ 11 h 22"/>
                  <a:gd name="T58" fmla="*/ 80 w 81"/>
                  <a:gd name="T59" fmla="*/ 7 h 22"/>
                  <a:gd name="T60" fmla="*/ 80 w 81"/>
                  <a:gd name="T61" fmla="*/ 7 h 22"/>
                  <a:gd name="T62" fmla="*/ 81 w 81"/>
                  <a:gd name="T63" fmla="*/ 6 h 22"/>
                  <a:gd name="T64" fmla="*/ 77 w 81"/>
                  <a:gd name="T65"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 h="22">
                    <a:moveTo>
                      <a:pt x="77" y="0"/>
                    </a:moveTo>
                    <a:cubicBezTo>
                      <a:pt x="77" y="2"/>
                      <a:pt x="78" y="3"/>
                      <a:pt x="79" y="4"/>
                    </a:cubicBezTo>
                    <a:cubicBezTo>
                      <a:pt x="75" y="6"/>
                      <a:pt x="71" y="7"/>
                      <a:pt x="68" y="11"/>
                    </a:cubicBezTo>
                    <a:cubicBezTo>
                      <a:pt x="68" y="11"/>
                      <a:pt x="69" y="12"/>
                      <a:pt x="68" y="13"/>
                    </a:cubicBezTo>
                    <a:cubicBezTo>
                      <a:pt x="67" y="14"/>
                      <a:pt x="66" y="14"/>
                      <a:pt x="64" y="14"/>
                    </a:cubicBezTo>
                    <a:cubicBezTo>
                      <a:pt x="63" y="14"/>
                      <a:pt x="62" y="14"/>
                      <a:pt x="61" y="13"/>
                    </a:cubicBezTo>
                    <a:cubicBezTo>
                      <a:pt x="57" y="12"/>
                      <a:pt x="54" y="10"/>
                      <a:pt x="50" y="10"/>
                    </a:cubicBezTo>
                    <a:cubicBezTo>
                      <a:pt x="49" y="10"/>
                      <a:pt x="48" y="10"/>
                      <a:pt x="47" y="10"/>
                    </a:cubicBezTo>
                    <a:cubicBezTo>
                      <a:pt x="45" y="11"/>
                      <a:pt x="45" y="13"/>
                      <a:pt x="43" y="13"/>
                    </a:cubicBezTo>
                    <a:cubicBezTo>
                      <a:pt x="43" y="13"/>
                      <a:pt x="43" y="13"/>
                      <a:pt x="43" y="13"/>
                    </a:cubicBezTo>
                    <a:cubicBezTo>
                      <a:pt x="40" y="12"/>
                      <a:pt x="37" y="10"/>
                      <a:pt x="34" y="9"/>
                    </a:cubicBezTo>
                    <a:cubicBezTo>
                      <a:pt x="29" y="6"/>
                      <a:pt x="25" y="7"/>
                      <a:pt x="19" y="7"/>
                    </a:cubicBezTo>
                    <a:cubicBezTo>
                      <a:pt x="18" y="7"/>
                      <a:pt x="16" y="7"/>
                      <a:pt x="14" y="7"/>
                    </a:cubicBezTo>
                    <a:cubicBezTo>
                      <a:pt x="9" y="7"/>
                      <a:pt x="3" y="7"/>
                      <a:pt x="2" y="13"/>
                    </a:cubicBezTo>
                    <a:cubicBezTo>
                      <a:pt x="0" y="18"/>
                      <a:pt x="5" y="19"/>
                      <a:pt x="10" y="19"/>
                    </a:cubicBezTo>
                    <a:cubicBezTo>
                      <a:pt x="11" y="19"/>
                      <a:pt x="12" y="19"/>
                      <a:pt x="14" y="19"/>
                    </a:cubicBezTo>
                    <a:cubicBezTo>
                      <a:pt x="16" y="19"/>
                      <a:pt x="20" y="18"/>
                      <a:pt x="23" y="18"/>
                    </a:cubicBezTo>
                    <a:cubicBezTo>
                      <a:pt x="24" y="18"/>
                      <a:pt x="25" y="18"/>
                      <a:pt x="26" y="19"/>
                    </a:cubicBezTo>
                    <a:cubicBezTo>
                      <a:pt x="28" y="19"/>
                      <a:pt x="28" y="21"/>
                      <a:pt x="30" y="22"/>
                    </a:cubicBezTo>
                    <a:cubicBezTo>
                      <a:pt x="30" y="22"/>
                      <a:pt x="31" y="22"/>
                      <a:pt x="31" y="22"/>
                    </a:cubicBezTo>
                    <a:cubicBezTo>
                      <a:pt x="34" y="22"/>
                      <a:pt x="37" y="20"/>
                      <a:pt x="40" y="19"/>
                    </a:cubicBezTo>
                    <a:cubicBezTo>
                      <a:pt x="40" y="18"/>
                      <a:pt x="40" y="18"/>
                      <a:pt x="41" y="18"/>
                    </a:cubicBezTo>
                    <a:cubicBezTo>
                      <a:pt x="42" y="18"/>
                      <a:pt x="43" y="19"/>
                      <a:pt x="44" y="20"/>
                    </a:cubicBezTo>
                    <a:cubicBezTo>
                      <a:pt x="45" y="20"/>
                      <a:pt x="47" y="21"/>
                      <a:pt x="48" y="21"/>
                    </a:cubicBezTo>
                    <a:cubicBezTo>
                      <a:pt x="48" y="21"/>
                      <a:pt x="48" y="21"/>
                      <a:pt x="48" y="21"/>
                    </a:cubicBezTo>
                    <a:cubicBezTo>
                      <a:pt x="50" y="21"/>
                      <a:pt x="53" y="19"/>
                      <a:pt x="56" y="18"/>
                    </a:cubicBezTo>
                    <a:cubicBezTo>
                      <a:pt x="60" y="17"/>
                      <a:pt x="65" y="16"/>
                      <a:pt x="69" y="15"/>
                    </a:cubicBezTo>
                    <a:cubicBezTo>
                      <a:pt x="71" y="15"/>
                      <a:pt x="74" y="15"/>
                      <a:pt x="75" y="14"/>
                    </a:cubicBezTo>
                    <a:cubicBezTo>
                      <a:pt x="77" y="13"/>
                      <a:pt x="77" y="12"/>
                      <a:pt x="77" y="11"/>
                    </a:cubicBezTo>
                    <a:cubicBezTo>
                      <a:pt x="78" y="10"/>
                      <a:pt x="80" y="7"/>
                      <a:pt x="80" y="7"/>
                    </a:cubicBezTo>
                    <a:cubicBezTo>
                      <a:pt x="80" y="7"/>
                      <a:pt x="80" y="7"/>
                      <a:pt x="80" y="7"/>
                    </a:cubicBezTo>
                    <a:cubicBezTo>
                      <a:pt x="80" y="7"/>
                      <a:pt x="81" y="7"/>
                      <a:pt x="81" y="6"/>
                    </a:cubicBezTo>
                    <a:cubicBezTo>
                      <a:pt x="81" y="5"/>
                      <a:pt x="78" y="1"/>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Freeform 138"/>
              <p:cNvSpPr/>
              <p:nvPr/>
            </p:nvSpPr>
            <p:spPr bwMode="auto">
              <a:xfrm>
                <a:off x="4900" y="4807"/>
                <a:ext cx="73" cy="47"/>
              </a:xfrm>
              <a:custGeom>
                <a:gdLst>
                  <a:gd name="T0" fmla="*/ 16 w 31"/>
                  <a:gd name="T1" fmla="*/ 0 h 20"/>
                  <a:gd name="T2" fmla="*/ 0 w 31"/>
                  <a:gd name="T3" fmla="*/ 2 h 20"/>
                  <a:gd name="T4" fmla="*/ 11 w 31"/>
                  <a:gd name="T5" fmla="*/ 10 h 20"/>
                  <a:gd name="T6" fmla="*/ 16 w 31"/>
                  <a:gd name="T7" fmla="*/ 15 h 20"/>
                  <a:gd name="T8" fmla="*/ 16 w 31"/>
                  <a:gd name="T9" fmla="*/ 20 h 20"/>
                  <a:gd name="T10" fmla="*/ 17 w 31"/>
                  <a:gd name="T11" fmla="*/ 20 h 20"/>
                  <a:gd name="T12" fmla="*/ 21 w 31"/>
                  <a:gd name="T13" fmla="*/ 14 h 20"/>
                  <a:gd name="T14" fmla="*/ 31 w 31"/>
                  <a:gd name="T15" fmla="*/ 7 h 20"/>
                  <a:gd name="T16" fmla="*/ 27 w 31"/>
                  <a:gd name="T17" fmla="*/ 4 h 20"/>
                  <a:gd name="T18" fmla="*/ 16 w 31"/>
                  <a:gd name="T19"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20">
                    <a:moveTo>
                      <a:pt x="16" y="0"/>
                    </a:moveTo>
                    <a:cubicBezTo>
                      <a:pt x="10" y="0"/>
                      <a:pt x="5" y="2"/>
                      <a:pt x="0" y="2"/>
                    </a:cubicBezTo>
                    <a:cubicBezTo>
                      <a:pt x="4" y="8"/>
                      <a:pt x="4" y="8"/>
                      <a:pt x="11" y="10"/>
                    </a:cubicBezTo>
                    <a:cubicBezTo>
                      <a:pt x="12" y="10"/>
                      <a:pt x="16" y="13"/>
                      <a:pt x="16" y="15"/>
                    </a:cubicBezTo>
                    <a:cubicBezTo>
                      <a:pt x="16" y="15"/>
                      <a:pt x="15" y="19"/>
                      <a:pt x="16" y="20"/>
                    </a:cubicBezTo>
                    <a:cubicBezTo>
                      <a:pt x="16" y="20"/>
                      <a:pt x="16" y="20"/>
                      <a:pt x="17" y="20"/>
                    </a:cubicBezTo>
                    <a:cubicBezTo>
                      <a:pt x="18" y="20"/>
                      <a:pt x="20" y="15"/>
                      <a:pt x="21" y="14"/>
                    </a:cubicBezTo>
                    <a:cubicBezTo>
                      <a:pt x="23" y="13"/>
                      <a:pt x="31" y="10"/>
                      <a:pt x="31" y="7"/>
                    </a:cubicBezTo>
                    <a:cubicBezTo>
                      <a:pt x="27" y="4"/>
                      <a:pt x="27" y="4"/>
                      <a:pt x="27" y="4"/>
                    </a:cubicBezTo>
                    <a:cubicBezTo>
                      <a:pt x="24" y="1"/>
                      <a:pt x="20"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139"/>
              <p:cNvSpPr/>
              <p:nvPr/>
            </p:nvSpPr>
            <p:spPr bwMode="auto">
              <a:xfrm>
                <a:off x="3966" y="4237"/>
                <a:ext cx="10" cy="5"/>
              </a:xfrm>
              <a:custGeom>
                <a:gdLst>
                  <a:gd name="T0" fmla="*/ 1 w 4"/>
                  <a:gd name="T1" fmla="*/ 0 h 2"/>
                  <a:gd name="T2" fmla="*/ 0 w 4"/>
                  <a:gd name="T3" fmla="*/ 1 h 2"/>
                  <a:gd name="T4" fmla="*/ 4 w 4"/>
                  <a:gd name="T5" fmla="*/ 2 h 2"/>
                  <a:gd name="T6" fmla="*/ 1 w 4"/>
                  <a:gd name="T7" fmla="*/ 0 h 2"/>
                </a:gdLst>
                <a:cxnLst>
                  <a:cxn ang="0">
                    <a:pos x="T0" y="T1"/>
                  </a:cxn>
                  <a:cxn ang="0">
                    <a:pos x="T2" y="T3"/>
                  </a:cxn>
                  <a:cxn ang="0">
                    <a:pos x="T4" y="T5"/>
                  </a:cxn>
                  <a:cxn ang="0">
                    <a:pos x="T6" y="T7"/>
                  </a:cxn>
                </a:cxnLst>
                <a:rect l="0" t="0" r="r" b="b"/>
                <a:pathLst>
                  <a:path w="4" h="2">
                    <a:moveTo>
                      <a:pt x="1" y="0"/>
                    </a:moveTo>
                    <a:cubicBezTo>
                      <a:pt x="1" y="0"/>
                      <a:pt x="1" y="0"/>
                      <a:pt x="0" y="1"/>
                    </a:cubicBezTo>
                    <a:cubicBezTo>
                      <a:pt x="1" y="1"/>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Freeform 140"/>
              <p:cNvSpPr/>
              <p:nvPr/>
            </p:nvSpPr>
            <p:spPr bwMode="auto">
              <a:xfrm>
                <a:off x="4961" y="4842"/>
                <a:ext cx="7" cy="7"/>
              </a:xfrm>
              <a:custGeom>
                <a:gdLst>
                  <a:gd name="T0" fmla="*/ 0 w 3"/>
                  <a:gd name="T1" fmla="*/ 0 h 3"/>
                  <a:gd name="T2" fmla="*/ 0 w 3"/>
                  <a:gd name="T3" fmla="*/ 0 h 3"/>
                  <a:gd name="T4" fmla="*/ 2 w 3"/>
                  <a:gd name="T5" fmla="*/ 3 h 3"/>
                  <a:gd name="T6" fmla="*/ 0 w 3"/>
                  <a:gd name="T7" fmla="*/ 0 h 3"/>
                </a:gdLst>
                <a:cxnLst>
                  <a:cxn ang="0">
                    <a:pos x="T0" y="T1"/>
                  </a:cxn>
                  <a:cxn ang="0">
                    <a:pos x="T2" y="T3"/>
                  </a:cxn>
                  <a:cxn ang="0">
                    <a:pos x="T4" y="T5"/>
                  </a:cxn>
                  <a:cxn ang="0">
                    <a:pos x="T6" y="T7"/>
                  </a:cxn>
                </a:cxnLst>
                <a:rect l="0" t="0" r="r" b="b"/>
                <a:pathLst>
                  <a:path w="3" h="3">
                    <a:moveTo>
                      <a:pt x="0" y="0"/>
                    </a:moveTo>
                    <a:cubicBezTo>
                      <a:pt x="0" y="0"/>
                      <a:pt x="0" y="0"/>
                      <a:pt x="0" y="0"/>
                    </a:cubicBezTo>
                    <a:cubicBezTo>
                      <a:pt x="1" y="1"/>
                      <a:pt x="1" y="2"/>
                      <a:pt x="2" y="3"/>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141"/>
              <p:cNvSpPr/>
              <p:nvPr/>
            </p:nvSpPr>
            <p:spPr bwMode="auto">
              <a:xfrm>
                <a:off x="4451" y="4507"/>
                <a:ext cx="9" cy="4"/>
              </a:xfrm>
              <a:custGeom>
                <a:gdLst>
                  <a:gd name="T0" fmla="*/ 2 w 4"/>
                  <a:gd name="T1" fmla="*/ 0 h 2"/>
                  <a:gd name="T2" fmla="*/ 0 w 4"/>
                  <a:gd name="T3" fmla="*/ 1 h 2"/>
                  <a:gd name="T4" fmla="*/ 3 w 4"/>
                  <a:gd name="T5" fmla="*/ 2 h 2"/>
                  <a:gd name="T6" fmla="*/ 2 w 4"/>
                  <a:gd name="T7" fmla="*/ 0 h 2"/>
                </a:gdLst>
                <a:cxnLst>
                  <a:cxn ang="0">
                    <a:pos x="T0" y="T1"/>
                  </a:cxn>
                  <a:cxn ang="0">
                    <a:pos x="T2" y="T3"/>
                  </a:cxn>
                  <a:cxn ang="0">
                    <a:pos x="T4" y="T5"/>
                  </a:cxn>
                  <a:cxn ang="0">
                    <a:pos x="T6" y="T7"/>
                  </a:cxn>
                </a:cxnLst>
                <a:rect l="0" t="0" r="r" b="b"/>
                <a:pathLst>
                  <a:path w="4" h="2">
                    <a:moveTo>
                      <a:pt x="2" y="0"/>
                    </a:moveTo>
                    <a:cubicBezTo>
                      <a:pt x="1" y="0"/>
                      <a:pt x="0" y="0"/>
                      <a:pt x="0" y="1"/>
                    </a:cubicBezTo>
                    <a:cubicBezTo>
                      <a:pt x="1" y="2"/>
                      <a:pt x="2" y="2"/>
                      <a:pt x="3" y="2"/>
                    </a:cubicBezTo>
                    <a:cubicBezTo>
                      <a:pt x="3" y="2"/>
                      <a:pt x="4"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142"/>
              <p:cNvSpPr/>
              <p:nvPr/>
            </p:nvSpPr>
            <p:spPr bwMode="auto">
              <a:xfrm>
                <a:off x="4259" y="4351"/>
                <a:ext cx="17" cy="7"/>
              </a:xfrm>
              <a:custGeom>
                <a:gdLst>
                  <a:gd name="T0" fmla="*/ 3 w 7"/>
                  <a:gd name="T1" fmla="*/ 0 h 3"/>
                  <a:gd name="T2" fmla="*/ 0 w 7"/>
                  <a:gd name="T3" fmla="*/ 3 h 3"/>
                  <a:gd name="T4" fmla="*/ 7 w 7"/>
                  <a:gd name="T5" fmla="*/ 1 h 3"/>
                  <a:gd name="T6" fmla="*/ 3 w 7"/>
                  <a:gd name="T7" fmla="*/ 0 h 3"/>
                </a:gdLst>
                <a:cxnLst>
                  <a:cxn ang="0">
                    <a:pos x="T0" y="T1"/>
                  </a:cxn>
                  <a:cxn ang="0">
                    <a:pos x="T2" y="T3"/>
                  </a:cxn>
                  <a:cxn ang="0">
                    <a:pos x="T4" y="T5"/>
                  </a:cxn>
                  <a:cxn ang="0">
                    <a:pos x="T6" y="T7"/>
                  </a:cxn>
                </a:cxnLst>
                <a:rect l="0" t="0" r="r" b="b"/>
                <a:pathLst>
                  <a:path w="7" h="3">
                    <a:moveTo>
                      <a:pt x="3" y="0"/>
                    </a:moveTo>
                    <a:cubicBezTo>
                      <a:pt x="2" y="0"/>
                      <a:pt x="1" y="1"/>
                      <a:pt x="0" y="3"/>
                    </a:cubicBezTo>
                    <a:cubicBezTo>
                      <a:pt x="2" y="2"/>
                      <a:pt x="4" y="1"/>
                      <a:pt x="7"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143"/>
              <p:cNvSpPr/>
              <p:nvPr/>
            </p:nvSpPr>
            <p:spPr bwMode="auto">
              <a:xfrm>
                <a:off x="4351" y="4424"/>
                <a:ext cx="104" cy="95"/>
              </a:xfrm>
              <a:custGeom>
                <a:gdLst>
                  <a:gd name="T0" fmla="*/ 21 w 44"/>
                  <a:gd name="T1" fmla="*/ 0 h 40"/>
                  <a:gd name="T2" fmla="*/ 16 w 44"/>
                  <a:gd name="T3" fmla="*/ 1 h 40"/>
                  <a:gd name="T4" fmla="*/ 18 w 44"/>
                  <a:gd name="T5" fmla="*/ 7 h 40"/>
                  <a:gd name="T6" fmla="*/ 13 w 44"/>
                  <a:gd name="T7" fmla="*/ 1 h 40"/>
                  <a:gd name="T8" fmla="*/ 10 w 44"/>
                  <a:gd name="T9" fmla="*/ 2 h 40"/>
                  <a:gd name="T10" fmla="*/ 8 w 44"/>
                  <a:gd name="T11" fmla="*/ 4 h 40"/>
                  <a:gd name="T12" fmla="*/ 8 w 44"/>
                  <a:gd name="T13" fmla="*/ 8 h 40"/>
                  <a:gd name="T14" fmla="*/ 6 w 44"/>
                  <a:gd name="T15" fmla="*/ 14 h 40"/>
                  <a:gd name="T16" fmla="*/ 8 w 44"/>
                  <a:gd name="T17" fmla="*/ 15 h 40"/>
                  <a:gd name="T18" fmla="*/ 8 w 44"/>
                  <a:gd name="T19" fmla="*/ 15 h 40"/>
                  <a:gd name="T20" fmla="*/ 11 w 44"/>
                  <a:gd name="T21" fmla="*/ 15 h 40"/>
                  <a:gd name="T22" fmla="*/ 13 w 44"/>
                  <a:gd name="T23" fmla="*/ 14 h 40"/>
                  <a:gd name="T24" fmla="*/ 14 w 44"/>
                  <a:gd name="T25" fmla="*/ 15 h 40"/>
                  <a:gd name="T26" fmla="*/ 15 w 44"/>
                  <a:gd name="T27" fmla="*/ 15 h 40"/>
                  <a:gd name="T28" fmla="*/ 16 w 44"/>
                  <a:gd name="T29" fmla="*/ 15 h 40"/>
                  <a:gd name="T30" fmla="*/ 16 w 44"/>
                  <a:gd name="T31" fmla="*/ 15 h 40"/>
                  <a:gd name="T32" fmla="*/ 18 w 44"/>
                  <a:gd name="T33" fmla="*/ 16 h 40"/>
                  <a:gd name="T34" fmla="*/ 19 w 44"/>
                  <a:gd name="T35" fmla="*/ 21 h 40"/>
                  <a:gd name="T36" fmla="*/ 22 w 44"/>
                  <a:gd name="T37" fmla="*/ 25 h 40"/>
                  <a:gd name="T38" fmla="*/ 23 w 44"/>
                  <a:gd name="T39" fmla="*/ 31 h 40"/>
                  <a:gd name="T40" fmla="*/ 24 w 44"/>
                  <a:gd name="T41" fmla="*/ 33 h 40"/>
                  <a:gd name="T42" fmla="*/ 28 w 44"/>
                  <a:gd name="T43" fmla="*/ 34 h 40"/>
                  <a:gd name="T44" fmla="*/ 40 w 44"/>
                  <a:gd name="T45" fmla="*/ 40 h 40"/>
                  <a:gd name="T46" fmla="*/ 42 w 44"/>
                  <a:gd name="T47" fmla="*/ 39 h 40"/>
                  <a:gd name="T48" fmla="*/ 39 w 44"/>
                  <a:gd name="T49" fmla="*/ 35 h 40"/>
                  <a:gd name="T50" fmla="*/ 44 w 44"/>
                  <a:gd name="T51" fmla="*/ 27 h 40"/>
                  <a:gd name="T52" fmla="*/ 31 w 44"/>
                  <a:gd name="T53" fmla="*/ 22 h 40"/>
                  <a:gd name="T54" fmla="*/ 27 w 44"/>
                  <a:gd name="T55" fmla="*/ 12 h 40"/>
                  <a:gd name="T56" fmla="*/ 24 w 44"/>
                  <a:gd name="T57" fmla="*/ 2 h 40"/>
                  <a:gd name="T58" fmla="*/ 21 w 44"/>
                  <a:gd name="T59"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 h="40">
                    <a:moveTo>
                      <a:pt x="21" y="0"/>
                    </a:moveTo>
                    <a:cubicBezTo>
                      <a:pt x="19" y="0"/>
                      <a:pt x="18" y="1"/>
                      <a:pt x="16" y="1"/>
                    </a:cubicBezTo>
                    <a:cubicBezTo>
                      <a:pt x="17" y="3"/>
                      <a:pt x="18" y="5"/>
                      <a:pt x="18" y="7"/>
                    </a:cubicBezTo>
                    <a:cubicBezTo>
                      <a:pt x="16" y="4"/>
                      <a:pt x="15" y="1"/>
                      <a:pt x="13" y="1"/>
                    </a:cubicBezTo>
                    <a:cubicBezTo>
                      <a:pt x="12" y="1"/>
                      <a:pt x="11" y="1"/>
                      <a:pt x="10" y="2"/>
                    </a:cubicBezTo>
                    <a:cubicBezTo>
                      <a:pt x="9" y="2"/>
                      <a:pt x="8" y="3"/>
                      <a:pt x="8" y="4"/>
                    </a:cubicBezTo>
                    <a:cubicBezTo>
                      <a:pt x="7" y="6"/>
                      <a:pt x="10" y="6"/>
                      <a:pt x="8" y="8"/>
                    </a:cubicBezTo>
                    <a:cubicBezTo>
                      <a:pt x="3" y="12"/>
                      <a:pt x="0" y="13"/>
                      <a:pt x="6" y="14"/>
                    </a:cubicBezTo>
                    <a:cubicBezTo>
                      <a:pt x="6" y="15"/>
                      <a:pt x="7" y="15"/>
                      <a:pt x="8" y="15"/>
                    </a:cubicBezTo>
                    <a:cubicBezTo>
                      <a:pt x="8" y="15"/>
                      <a:pt x="8" y="15"/>
                      <a:pt x="8" y="15"/>
                    </a:cubicBezTo>
                    <a:cubicBezTo>
                      <a:pt x="9" y="15"/>
                      <a:pt x="10" y="15"/>
                      <a:pt x="11" y="15"/>
                    </a:cubicBezTo>
                    <a:cubicBezTo>
                      <a:pt x="11" y="15"/>
                      <a:pt x="12" y="14"/>
                      <a:pt x="13" y="14"/>
                    </a:cubicBezTo>
                    <a:cubicBezTo>
                      <a:pt x="14" y="15"/>
                      <a:pt x="14" y="15"/>
                      <a:pt x="14" y="15"/>
                    </a:cubicBezTo>
                    <a:cubicBezTo>
                      <a:pt x="15" y="15"/>
                      <a:pt x="15" y="15"/>
                      <a:pt x="15" y="15"/>
                    </a:cubicBezTo>
                    <a:cubicBezTo>
                      <a:pt x="15" y="15"/>
                      <a:pt x="15" y="15"/>
                      <a:pt x="16" y="15"/>
                    </a:cubicBezTo>
                    <a:cubicBezTo>
                      <a:pt x="16" y="15"/>
                      <a:pt x="16" y="15"/>
                      <a:pt x="16" y="15"/>
                    </a:cubicBezTo>
                    <a:cubicBezTo>
                      <a:pt x="17" y="15"/>
                      <a:pt x="17" y="15"/>
                      <a:pt x="18" y="16"/>
                    </a:cubicBezTo>
                    <a:cubicBezTo>
                      <a:pt x="18" y="18"/>
                      <a:pt x="18" y="20"/>
                      <a:pt x="19" y="21"/>
                    </a:cubicBezTo>
                    <a:cubicBezTo>
                      <a:pt x="20" y="23"/>
                      <a:pt x="22" y="23"/>
                      <a:pt x="22" y="25"/>
                    </a:cubicBezTo>
                    <a:cubicBezTo>
                      <a:pt x="23" y="27"/>
                      <a:pt x="23" y="29"/>
                      <a:pt x="23" y="31"/>
                    </a:cubicBezTo>
                    <a:cubicBezTo>
                      <a:pt x="23" y="32"/>
                      <a:pt x="23" y="32"/>
                      <a:pt x="24" y="33"/>
                    </a:cubicBezTo>
                    <a:cubicBezTo>
                      <a:pt x="25" y="33"/>
                      <a:pt x="27" y="33"/>
                      <a:pt x="28" y="34"/>
                    </a:cubicBezTo>
                    <a:cubicBezTo>
                      <a:pt x="29" y="34"/>
                      <a:pt x="36" y="40"/>
                      <a:pt x="40" y="40"/>
                    </a:cubicBezTo>
                    <a:cubicBezTo>
                      <a:pt x="41" y="40"/>
                      <a:pt x="42" y="39"/>
                      <a:pt x="42" y="39"/>
                    </a:cubicBezTo>
                    <a:cubicBezTo>
                      <a:pt x="43" y="37"/>
                      <a:pt x="39" y="37"/>
                      <a:pt x="39" y="35"/>
                    </a:cubicBezTo>
                    <a:cubicBezTo>
                      <a:pt x="37" y="32"/>
                      <a:pt x="43" y="28"/>
                      <a:pt x="44" y="27"/>
                    </a:cubicBezTo>
                    <a:cubicBezTo>
                      <a:pt x="41" y="26"/>
                      <a:pt x="33" y="26"/>
                      <a:pt x="31" y="22"/>
                    </a:cubicBezTo>
                    <a:cubicBezTo>
                      <a:pt x="29" y="19"/>
                      <a:pt x="28" y="15"/>
                      <a:pt x="27" y="12"/>
                    </a:cubicBezTo>
                    <a:cubicBezTo>
                      <a:pt x="26" y="9"/>
                      <a:pt x="26" y="4"/>
                      <a:pt x="24" y="2"/>
                    </a:cubicBezTo>
                    <a:cubicBezTo>
                      <a:pt x="23" y="0"/>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144"/>
              <p:cNvSpPr/>
              <p:nvPr/>
            </p:nvSpPr>
            <p:spPr bwMode="auto">
              <a:xfrm>
                <a:off x="4496" y="4483"/>
                <a:ext cx="44" cy="43"/>
              </a:xfrm>
              <a:custGeom>
                <a:gdLst>
                  <a:gd name="T0" fmla="*/ 7 w 19"/>
                  <a:gd name="T1" fmla="*/ 0 h 18"/>
                  <a:gd name="T2" fmla="*/ 4 w 19"/>
                  <a:gd name="T3" fmla="*/ 1 h 18"/>
                  <a:gd name="T4" fmla="*/ 3 w 19"/>
                  <a:gd name="T5" fmla="*/ 4 h 18"/>
                  <a:gd name="T6" fmla="*/ 2 w 19"/>
                  <a:gd name="T7" fmla="*/ 10 h 18"/>
                  <a:gd name="T8" fmla="*/ 2 w 19"/>
                  <a:gd name="T9" fmla="*/ 10 h 18"/>
                  <a:gd name="T10" fmla="*/ 2 w 19"/>
                  <a:gd name="T11" fmla="*/ 17 h 18"/>
                  <a:gd name="T12" fmla="*/ 3 w 19"/>
                  <a:gd name="T13" fmla="*/ 17 h 18"/>
                  <a:gd name="T14" fmla="*/ 9 w 19"/>
                  <a:gd name="T15" fmla="*/ 13 h 18"/>
                  <a:gd name="T16" fmla="*/ 14 w 19"/>
                  <a:gd name="T17" fmla="*/ 18 h 18"/>
                  <a:gd name="T18" fmla="*/ 17 w 19"/>
                  <a:gd name="T19" fmla="*/ 15 h 18"/>
                  <a:gd name="T20" fmla="*/ 19 w 19"/>
                  <a:gd name="T21" fmla="*/ 7 h 18"/>
                  <a:gd name="T22" fmla="*/ 16 w 19"/>
                  <a:gd name="T23" fmla="*/ 4 h 18"/>
                  <a:gd name="T24" fmla="*/ 7 w 19"/>
                  <a:gd name="T2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8">
                    <a:moveTo>
                      <a:pt x="7" y="0"/>
                    </a:moveTo>
                    <a:cubicBezTo>
                      <a:pt x="5" y="0"/>
                      <a:pt x="4" y="1"/>
                      <a:pt x="4" y="1"/>
                    </a:cubicBezTo>
                    <a:cubicBezTo>
                      <a:pt x="3" y="2"/>
                      <a:pt x="3" y="3"/>
                      <a:pt x="3" y="4"/>
                    </a:cubicBezTo>
                    <a:cubicBezTo>
                      <a:pt x="2" y="6"/>
                      <a:pt x="0" y="10"/>
                      <a:pt x="2" y="10"/>
                    </a:cubicBezTo>
                    <a:cubicBezTo>
                      <a:pt x="2" y="10"/>
                      <a:pt x="2" y="10"/>
                      <a:pt x="2" y="10"/>
                    </a:cubicBezTo>
                    <a:cubicBezTo>
                      <a:pt x="2" y="11"/>
                      <a:pt x="2" y="17"/>
                      <a:pt x="2" y="17"/>
                    </a:cubicBezTo>
                    <a:cubicBezTo>
                      <a:pt x="3" y="17"/>
                      <a:pt x="3" y="17"/>
                      <a:pt x="3" y="17"/>
                    </a:cubicBezTo>
                    <a:cubicBezTo>
                      <a:pt x="5" y="17"/>
                      <a:pt x="8" y="14"/>
                      <a:pt x="9" y="13"/>
                    </a:cubicBezTo>
                    <a:cubicBezTo>
                      <a:pt x="10" y="15"/>
                      <a:pt x="12" y="16"/>
                      <a:pt x="14" y="18"/>
                    </a:cubicBezTo>
                    <a:cubicBezTo>
                      <a:pt x="15" y="16"/>
                      <a:pt x="16" y="16"/>
                      <a:pt x="17" y="15"/>
                    </a:cubicBezTo>
                    <a:cubicBezTo>
                      <a:pt x="16" y="13"/>
                      <a:pt x="19" y="10"/>
                      <a:pt x="19" y="7"/>
                    </a:cubicBezTo>
                    <a:cubicBezTo>
                      <a:pt x="18" y="5"/>
                      <a:pt x="17" y="4"/>
                      <a:pt x="16" y="4"/>
                    </a:cubicBezTo>
                    <a:cubicBezTo>
                      <a:pt x="14" y="2"/>
                      <a:pt x="10"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145"/>
              <p:cNvSpPr/>
              <p:nvPr/>
            </p:nvSpPr>
            <p:spPr bwMode="auto">
              <a:xfrm>
                <a:off x="5679" y="4500"/>
                <a:ext cx="178" cy="61"/>
              </a:xfrm>
              <a:custGeom>
                <a:gdLst>
                  <a:gd name="T0" fmla="*/ 40 w 75"/>
                  <a:gd name="T1" fmla="*/ 0 h 26"/>
                  <a:gd name="T2" fmla="*/ 36 w 75"/>
                  <a:gd name="T3" fmla="*/ 2 h 26"/>
                  <a:gd name="T4" fmla="*/ 32 w 75"/>
                  <a:gd name="T5" fmla="*/ 4 h 26"/>
                  <a:gd name="T6" fmla="*/ 30 w 75"/>
                  <a:gd name="T7" fmla="*/ 3 h 26"/>
                  <a:gd name="T8" fmla="*/ 29 w 75"/>
                  <a:gd name="T9" fmla="*/ 0 h 26"/>
                  <a:gd name="T10" fmla="*/ 29 w 75"/>
                  <a:gd name="T11" fmla="*/ 0 h 26"/>
                  <a:gd name="T12" fmla="*/ 26 w 75"/>
                  <a:gd name="T13" fmla="*/ 1 h 26"/>
                  <a:gd name="T14" fmla="*/ 21 w 75"/>
                  <a:gd name="T15" fmla="*/ 2 h 26"/>
                  <a:gd name="T16" fmla="*/ 17 w 75"/>
                  <a:gd name="T17" fmla="*/ 2 h 26"/>
                  <a:gd name="T18" fmla="*/ 14 w 75"/>
                  <a:gd name="T19" fmla="*/ 2 h 26"/>
                  <a:gd name="T20" fmla="*/ 12 w 75"/>
                  <a:gd name="T21" fmla="*/ 2 h 26"/>
                  <a:gd name="T22" fmla="*/ 5 w 75"/>
                  <a:gd name="T23" fmla="*/ 5 h 26"/>
                  <a:gd name="T24" fmla="*/ 0 w 75"/>
                  <a:gd name="T25" fmla="*/ 9 h 26"/>
                  <a:gd name="T26" fmla="*/ 2 w 75"/>
                  <a:gd name="T27" fmla="*/ 15 h 26"/>
                  <a:gd name="T28" fmla="*/ 1 w 75"/>
                  <a:gd name="T29" fmla="*/ 19 h 26"/>
                  <a:gd name="T30" fmla="*/ 4 w 75"/>
                  <a:gd name="T31" fmla="*/ 14 h 26"/>
                  <a:gd name="T32" fmla="*/ 5 w 75"/>
                  <a:gd name="T33" fmla="*/ 10 h 26"/>
                  <a:gd name="T34" fmla="*/ 7 w 75"/>
                  <a:gd name="T35" fmla="*/ 7 h 26"/>
                  <a:gd name="T36" fmla="*/ 7 w 75"/>
                  <a:gd name="T37" fmla="*/ 7 h 26"/>
                  <a:gd name="T38" fmla="*/ 8 w 75"/>
                  <a:gd name="T39" fmla="*/ 9 h 26"/>
                  <a:gd name="T40" fmla="*/ 8 w 75"/>
                  <a:gd name="T41" fmla="*/ 10 h 26"/>
                  <a:gd name="T42" fmla="*/ 10 w 75"/>
                  <a:gd name="T43" fmla="*/ 11 h 26"/>
                  <a:gd name="T44" fmla="*/ 14 w 75"/>
                  <a:gd name="T45" fmla="*/ 16 h 26"/>
                  <a:gd name="T46" fmla="*/ 16 w 75"/>
                  <a:gd name="T47" fmla="*/ 16 h 26"/>
                  <a:gd name="T48" fmla="*/ 23 w 75"/>
                  <a:gd name="T49" fmla="*/ 11 h 26"/>
                  <a:gd name="T50" fmla="*/ 25 w 75"/>
                  <a:gd name="T51" fmla="*/ 10 h 26"/>
                  <a:gd name="T52" fmla="*/ 26 w 75"/>
                  <a:gd name="T53" fmla="*/ 12 h 26"/>
                  <a:gd name="T54" fmla="*/ 37 w 75"/>
                  <a:gd name="T55" fmla="*/ 15 h 26"/>
                  <a:gd name="T56" fmla="*/ 39 w 75"/>
                  <a:gd name="T57" fmla="*/ 15 h 26"/>
                  <a:gd name="T58" fmla="*/ 41 w 75"/>
                  <a:gd name="T59" fmla="*/ 15 h 26"/>
                  <a:gd name="T60" fmla="*/ 42 w 75"/>
                  <a:gd name="T61" fmla="*/ 15 h 26"/>
                  <a:gd name="T62" fmla="*/ 42 w 75"/>
                  <a:gd name="T63" fmla="*/ 13 h 26"/>
                  <a:gd name="T64" fmla="*/ 46 w 75"/>
                  <a:gd name="T65" fmla="*/ 13 h 26"/>
                  <a:gd name="T66" fmla="*/ 73 w 75"/>
                  <a:gd name="T67" fmla="*/ 26 h 26"/>
                  <a:gd name="T68" fmla="*/ 73 w 75"/>
                  <a:gd name="T69" fmla="*/ 17 h 26"/>
                  <a:gd name="T70" fmla="*/ 70 w 75"/>
                  <a:gd name="T71" fmla="*/ 15 h 26"/>
                  <a:gd name="T72" fmla="*/ 68 w 75"/>
                  <a:gd name="T73" fmla="*/ 12 h 26"/>
                  <a:gd name="T74" fmla="*/ 60 w 75"/>
                  <a:gd name="T75" fmla="*/ 4 h 26"/>
                  <a:gd name="T76" fmla="*/ 48 w 75"/>
                  <a:gd name="T77" fmla="*/ 3 h 26"/>
                  <a:gd name="T78" fmla="*/ 43 w 75"/>
                  <a:gd name="T79" fmla="*/ 0 h 26"/>
                  <a:gd name="T80" fmla="*/ 40 w 75"/>
                  <a:gd name="T81"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 h="26">
                    <a:moveTo>
                      <a:pt x="40" y="0"/>
                    </a:moveTo>
                    <a:cubicBezTo>
                      <a:pt x="39" y="0"/>
                      <a:pt x="38" y="1"/>
                      <a:pt x="36" y="2"/>
                    </a:cubicBezTo>
                    <a:cubicBezTo>
                      <a:pt x="34" y="3"/>
                      <a:pt x="33" y="4"/>
                      <a:pt x="32" y="4"/>
                    </a:cubicBezTo>
                    <a:cubicBezTo>
                      <a:pt x="31" y="4"/>
                      <a:pt x="31" y="3"/>
                      <a:pt x="30" y="3"/>
                    </a:cubicBezTo>
                    <a:cubicBezTo>
                      <a:pt x="29" y="2"/>
                      <a:pt x="31" y="1"/>
                      <a:pt x="29" y="0"/>
                    </a:cubicBezTo>
                    <a:cubicBezTo>
                      <a:pt x="29" y="0"/>
                      <a:pt x="29" y="0"/>
                      <a:pt x="29" y="0"/>
                    </a:cubicBezTo>
                    <a:cubicBezTo>
                      <a:pt x="29" y="0"/>
                      <a:pt x="27" y="1"/>
                      <a:pt x="26" y="1"/>
                    </a:cubicBezTo>
                    <a:cubicBezTo>
                      <a:pt x="25" y="2"/>
                      <a:pt x="23" y="2"/>
                      <a:pt x="21" y="2"/>
                    </a:cubicBezTo>
                    <a:cubicBezTo>
                      <a:pt x="20" y="2"/>
                      <a:pt x="19" y="2"/>
                      <a:pt x="17" y="2"/>
                    </a:cubicBezTo>
                    <a:cubicBezTo>
                      <a:pt x="16" y="2"/>
                      <a:pt x="15" y="2"/>
                      <a:pt x="14" y="2"/>
                    </a:cubicBezTo>
                    <a:cubicBezTo>
                      <a:pt x="13" y="2"/>
                      <a:pt x="13" y="2"/>
                      <a:pt x="12" y="2"/>
                    </a:cubicBezTo>
                    <a:cubicBezTo>
                      <a:pt x="9" y="2"/>
                      <a:pt x="6" y="1"/>
                      <a:pt x="5" y="5"/>
                    </a:cubicBezTo>
                    <a:cubicBezTo>
                      <a:pt x="5" y="7"/>
                      <a:pt x="2" y="9"/>
                      <a:pt x="0" y="9"/>
                    </a:cubicBezTo>
                    <a:cubicBezTo>
                      <a:pt x="0" y="11"/>
                      <a:pt x="2" y="12"/>
                      <a:pt x="2" y="15"/>
                    </a:cubicBezTo>
                    <a:cubicBezTo>
                      <a:pt x="2" y="16"/>
                      <a:pt x="0" y="17"/>
                      <a:pt x="1" y="19"/>
                    </a:cubicBezTo>
                    <a:cubicBezTo>
                      <a:pt x="2" y="17"/>
                      <a:pt x="3" y="15"/>
                      <a:pt x="4" y="14"/>
                    </a:cubicBezTo>
                    <a:cubicBezTo>
                      <a:pt x="5" y="13"/>
                      <a:pt x="5" y="11"/>
                      <a:pt x="5" y="10"/>
                    </a:cubicBezTo>
                    <a:cubicBezTo>
                      <a:pt x="5" y="9"/>
                      <a:pt x="6" y="8"/>
                      <a:pt x="7" y="7"/>
                    </a:cubicBezTo>
                    <a:cubicBezTo>
                      <a:pt x="7" y="7"/>
                      <a:pt x="7" y="7"/>
                      <a:pt x="7" y="7"/>
                    </a:cubicBezTo>
                    <a:cubicBezTo>
                      <a:pt x="8" y="7"/>
                      <a:pt x="7" y="8"/>
                      <a:pt x="8" y="9"/>
                    </a:cubicBezTo>
                    <a:cubicBezTo>
                      <a:pt x="8" y="10"/>
                      <a:pt x="8" y="10"/>
                      <a:pt x="8" y="10"/>
                    </a:cubicBezTo>
                    <a:cubicBezTo>
                      <a:pt x="9" y="11"/>
                      <a:pt x="10" y="10"/>
                      <a:pt x="10" y="11"/>
                    </a:cubicBezTo>
                    <a:cubicBezTo>
                      <a:pt x="12" y="12"/>
                      <a:pt x="12" y="15"/>
                      <a:pt x="14" y="16"/>
                    </a:cubicBezTo>
                    <a:cubicBezTo>
                      <a:pt x="15" y="16"/>
                      <a:pt x="15" y="16"/>
                      <a:pt x="16" y="16"/>
                    </a:cubicBezTo>
                    <a:cubicBezTo>
                      <a:pt x="19" y="16"/>
                      <a:pt x="21" y="13"/>
                      <a:pt x="23" y="11"/>
                    </a:cubicBezTo>
                    <a:cubicBezTo>
                      <a:pt x="24" y="11"/>
                      <a:pt x="24" y="10"/>
                      <a:pt x="25" y="10"/>
                    </a:cubicBezTo>
                    <a:cubicBezTo>
                      <a:pt x="25" y="10"/>
                      <a:pt x="26" y="11"/>
                      <a:pt x="26" y="12"/>
                    </a:cubicBezTo>
                    <a:cubicBezTo>
                      <a:pt x="27" y="15"/>
                      <a:pt x="33" y="15"/>
                      <a:pt x="37" y="15"/>
                    </a:cubicBezTo>
                    <a:cubicBezTo>
                      <a:pt x="38" y="15"/>
                      <a:pt x="39" y="15"/>
                      <a:pt x="39" y="15"/>
                    </a:cubicBezTo>
                    <a:cubicBezTo>
                      <a:pt x="40" y="15"/>
                      <a:pt x="41" y="15"/>
                      <a:pt x="41" y="15"/>
                    </a:cubicBezTo>
                    <a:cubicBezTo>
                      <a:pt x="41" y="15"/>
                      <a:pt x="42" y="15"/>
                      <a:pt x="42" y="15"/>
                    </a:cubicBezTo>
                    <a:cubicBezTo>
                      <a:pt x="39" y="13"/>
                      <a:pt x="41" y="13"/>
                      <a:pt x="42" y="13"/>
                    </a:cubicBezTo>
                    <a:cubicBezTo>
                      <a:pt x="44" y="13"/>
                      <a:pt x="45" y="13"/>
                      <a:pt x="46" y="13"/>
                    </a:cubicBezTo>
                    <a:cubicBezTo>
                      <a:pt x="56" y="14"/>
                      <a:pt x="65" y="22"/>
                      <a:pt x="73" y="26"/>
                    </a:cubicBezTo>
                    <a:cubicBezTo>
                      <a:pt x="73" y="23"/>
                      <a:pt x="75" y="20"/>
                      <a:pt x="73" y="17"/>
                    </a:cubicBezTo>
                    <a:cubicBezTo>
                      <a:pt x="72" y="16"/>
                      <a:pt x="72" y="16"/>
                      <a:pt x="70" y="15"/>
                    </a:cubicBezTo>
                    <a:cubicBezTo>
                      <a:pt x="68" y="14"/>
                      <a:pt x="69" y="14"/>
                      <a:pt x="68" y="12"/>
                    </a:cubicBezTo>
                    <a:cubicBezTo>
                      <a:pt x="67" y="8"/>
                      <a:pt x="64" y="5"/>
                      <a:pt x="60" y="4"/>
                    </a:cubicBezTo>
                    <a:cubicBezTo>
                      <a:pt x="55" y="4"/>
                      <a:pt x="52" y="5"/>
                      <a:pt x="48" y="3"/>
                    </a:cubicBezTo>
                    <a:cubicBezTo>
                      <a:pt x="47" y="2"/>
                      <a:pt x="45" y="1"/>
                      <a:pt x="43" y="0"/>
                    </a:cubicBezTo>
                    <a:cubicBezTo>
                      <a:pt x="42" y="0"/>
                      <a:pt x="41"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Freeform 146"/>
              <p:cNvSpPr/>
              <p:nvPr/>
            </p:nvSpPr>
            <p:spPr bwMode="auto">
              <a:xfrm>
                <a:off x="4252" y="4270"/>
                <a:ext cx="7" cy="7"/>
              </a:xfrm>
              <a:custGeom>
                <a:gdLst>
                  <a:gd name="T0" fmla="*/ 1 w 3"/>
                  <a:gd name="T1" fmla="*/ 0 h 3"/>
                  <a:gd name="T2" fmla="*/ 0 w 3"/>
                  <a:gd name="T3" fmla="*/ 0 h 3"/>
                  <a:gd name="T4" fmla="*/ 3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1" y="0"/>
                      <a:pt x="0" y="0"/>
                      <a:pt x="0" y="0"/>
                    </a:cubicBezTo>
                    <a:cubicBezTo>
                      <a:pt x="1" y="1"/>
                      <a:pt x="2" y="2"/>
                      <a:pt x="3" y="3"/>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Freeform 147"/>
              <p:cNvSpPr/>
              <p:nvPr/>
            </p:nvSpPr>
            <p:spPr bwMode="auto">
              <a:xfrm>
                <a:off x="4276" y="4284"/>
                <a:ext cx="5" cy="8"/>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1" y="1"/>
                      <a:pt x="1" y="2"/>
                      <a:pt x="2" y="3"/>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148"/>
              <p:cNvSpPr/>
              <p:nvPr/>
            </p:nvSpPr>
            <p:spPr bwMode="auto">
              <a:xfrm>
                <a:off x="5564" y="4516"/>
                <a:ext cx="80" cy="45"/>
              </a:xfrm>
              <a:custGeom>
                <a:gdLst>
                  <a:gd name="T0" fmla="*/ 17 w 34"/>
                  <a:gd name="T1" fmla="*/ 0 h 19"/>
                  <a:gd name="T2" fmla="*/ 14 w 34"/>
                  <a:gd name="T3" fmla="*/ 0 h 19"/>
                  <a:gd name="T4" fmla="*/ 4 w 34"/>
                  <a:gd name="T5" fmla="*/ 8 h 19"/>
                  <a:gd name="T6" fmla="*/ 8 w 34"/>
                  <a:gd name="T7" fmla="*/ 13 h 19"/>
                  <a:gd name="T8" fmla="*/ 20 w 34"/>
                  <a:gd name="T9" fmla="*/ 19 h 19"/>
                  <a:gd name="T10" fmla="*/ 20 w 34"/>
                  <a:gd name="T11" fmla="*/ 19 h 19"/>
                  <a:gd name="T12" fmla="*/ 34 w 34"/>
                  <a:gd name="T13" fmla="*/ 13 h 19"/>
                  <a:gd name="T14" fmla="*/ 34 w 34"/>
                  <a:gd name="T15" fmla="*/ 7 h 19"/>
                  <a:gd name="T16" fmla="*/ 31 w 34"/>
                  <a:gd name="T17" fmla="*/ 5 h 19"/>
                  <a:gd name="T18" fmla="*/ 28 w 34"/>
                  <a:gd name="T19" fmla="*/ 2 h 19"/>
                  <a:gd name="T20" fmla="*/ 17 w 34"/>
                  <a:gd name="T21"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19">
                    <a:moveTo>
                      <a:pt x="17" y="0"/>
                    </a:moveTo>
                    <a:cubicBezTo>
                      <a:pt x="16" y="0"/>
                      <a:pt x="15" y="0"/>
                      <a:pt x="14" y="0"/>
                    </a:cubicBezTo>
                    <a:cubicBezTo>
                      <a:pt x="9" y="1"/>
                      <a:pt x="0" y="1"/>
                      <a:pt x="4" y="8"/>
                    </a:cubicBezTo>
                    <a:cubicBezTo>
                      <a:pt x="5" y="9"/>
                      <a:pt x="7" y="12"/>
                      <a:pt x="8" y="13"/>
                    </a:cubicBezTo>
                    <a:cubicBezTo>
                      <a:pt x="10" y="15"/>
                      <a:pt x="17" y="18"/>
                      <a:pt x="20" y="19"/>
                    </a:cubicBezTo>
                    <a:cubicBezTo>
                      <a:pt x="20" y="19"/>
                      <a:pt x="20" y="19"/>
                      <a:pt x="20" y="19"/>
                    </a:cubicBezTo>
                    <a:cubicBezTo>
                      <a:pt x="23" y="19"/>
                      <a:pt x="32" y="16"/>
                      <a:pt x="34" y="13"/>
                    </a:cubicBezTo>
                    <a:cubicBezTo>
                      <a:pt x="34" y="12"/>
                      <a:pt x="34" y="8"/>
                      <a:pt x="34" y="7"/>
                    </a:cubicBezTo>
                    <a:cubicBezTo>
                      <a:pt x="33" y="6"/>
                      <a:pt x="32" y="7"/>
                      <a:pt x="31" y="5"/>
                    </a:cubicBezTo>
                    <a:cubicBezTo>
                      <a:pt x="30" y="3"/>
                      <a:pt x="30" y="3"/>
                      <a:pt x="28" y="2"/>
                    </a:cubicBezTo>
                    <a:cubicBezTo>
                      <a:pt x="24" y="0"/>
                      <a:pt x="21"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149"/>
              <p:cNvSpPr/>
              <p:nvPr/>
            </p:nvSpPr>
            <p:spPr bwMode="auto">
              <a:xfrm>
                <a:off x="5160" y="4880"/>
                <a:ext cx="113" cy="59"/>
              </a:xfrm>
              <a:custGeom>
                <a:gdLst>
                  <a:gd name="T0" fmla="*/ 24 w 48"/>
                  <a:gd name="T1" fmla="*/ 1 h 25"/>
                  <a:gd name="T2" fmla="*/ 23 w 48"/>
                  <a:gd name="T3" fmla="*/ 1 h 25"/>
                  <a:gd name="T4" fmla="*/ 0 w 48"/>
                  <a:gd name="T5" fmla="*/ 6 h 25"/>
                  <a:gd name="T6" fmla="*/ 3 w 48"/>
                  <a:gd name="T7" fmla="*/ 9 h 25"/>
                  <a:gd name="T8" fmla="*/ 11 w 48"/>
                  <a:gd name="T9" fmla="*/ 12 h 25"/>
                  <a:gd name="T10" fmla="*/ 11 w 48"/>
                  <a:gd name="T11" fmla="*/ 12 h 25"/>
                  <a:gd name="T12" fmla="*/ 13 w 48"/>
                  <a:gd name="T13" fmla="*/ 12 h 25"/>
                  <a:gd name="T14" fmla="*/ 14 w 48"/>
                  <a:gd name="T15" fmla="*/ 11 h 25"/>
                  <a:gd name="T16" fmla="*/ 19 w 48"/>
                  <a:gd name="T17" fmla="*/ 13 h 25"/>
                  <a:gd name="T18" fmla="*/ 37 w 48"/>
                  <a:gd name="T19" fmla="*/ 25 h 25"/>
                  <a:gd name="T20" fmla="*/ 38 w 48"/>
                  <a:gd name="T21" fmla="*/ 25 h 25"/>
                  <a:gd name="T22" fmla="*/ 40 w 48"/>
                  <a:gd name="T23" fmla="*/ 23 h 25"/>
                  <a:gd name="T24" fmla="*/ 47 w 48"/>
                  <a:gd name="T25" fmla="*/ 17 h 25"/>
                  <a:gd name="T26" fmla="*/ 42 w 48"/>
                  <a:gd name="T27" fmla="*/ 14 h 25"/>
                  <a:gd name="T28" fmla="*/ 39 w 48"/>
                  <a:gd name="T29" fmla="*/ 9 h 25"/>
                  <a:gd name="T30" fmla="*/ 36 w 48"/>
                  <a:gd name="T31" fmla="*/ 8 h 25"/>
                  <a:gd name="T32" fmla="*/ 36 w 48"/>
                  <a:gd name="T33" fmla="*/ 8 h 25"/>
                  <a:gd name="T34" fmla="*/ 35 w 48"/>
                  <a:gd name="T35" fmla="*/ 9 h 25"/>
                  <a:gd name="T36" fmla="*/ 34 w 48"/>
                  <a:gd name="T37" fmla="*/ 9 h 25"/>
                  <a:gd name="T38" fmla="*/ 33 w 48"/>
                  <a:gd name="T39" fmla="*/ 8 h 25"/>
                  <a:gd name="T40" fmla="*/ 32 w 48"/>
                  <a:gd name="T41" fmla="*/ 5 h 25"/>
                  <a:gd name="T42" fmla="*/ 30 w 48"/>
                  <a:gd name="T43" fmla="*/ 4 h 25"/>
                  <a:gd name="T44" fmla="*/ 24 w 48"/>
                  <a:gd name="T45" fmla="*/ 1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5">
                    <a:moveTo>
                      <a:pt x="24" y="1"/>
                    </a:moveTo>
                    <a:cubicBezTo>
                      <a:pt x="24" y="1"/>
                      <a:pt x="24" y="1"/>
                      <a:pt x="23" y="1"/>
                    </a:cubicBezTo>
                    <a:cubicBezTo>
                      <a:pt x="15" y="1"/>
                      <a:pt x="7" y="0"/>
                      <a:pt x="0" y="6"/>
                    </a:cubicBezTo>
                    <a:cubicBezTo>
                      <a:pt x="0" y="6"/>
                      <a:pt x="2" y="8"/>
                      <a:pt x="3" y="9"/>
                    </a:cubicBezTo>
                    <a:cubicBezTo>
                      <a:pt x="5" y="10"/>
                      <a:pt x="9" y="12"/>
                      <a:pt x="11" y="12"/>
                    </a:cubicBezTo>
                    <a:cubicBezTo>
                      <a:pt x="11" y="12"/>
                      <a:pt x="11" y="12"/>
                      <a:pt x="11" y="12"/>
                    </a:cubicBezTo>
                    <a:cubicBezTo>
                      <a:pt x="12" y="12"/>
                      <a:pt x="12" y="12"/>
                      <a:pt x="13" y="12"/>
                    </a:cubicBezTo>
                    <a:cubicBezTo>
                      <a:pt x="13" y="12"/>
                      <a:pt x="14" y="11"/>
                      <a:pt x="14" y="11"/>
                    </a:cubicBezTo>
                    <a:cubicBezTo>
                      <a:pt x="16" y="11"/>
                      <a:pt x="17" y="12"/>
                      <a:pt x="19" y="13"/>
                    </a:cubicBezTo>
                    <a:cubicBezTo>
                      <a:pt x="25" y="17"/>
                      <a:pt x="31" y="21"/>
                      <a:pt x="37" y="25"/>
                    </a:cubicBezTo>
                    <a:cubicBezTo>
                      <a:pt x="38" y="25"/>
                      <a:pt x="38" y="25"/>
                      <a:pt x="38" y="25"/>
                    </a:cubicBezTo>
                    <a:cubicBezTo>
                      <a:pt x="38" y="25"/>
                      <a:pt x="39" y="23"/>
                      <a:pt x="40" y="23"/>
                    </a:cubicBezTo>
                    <a:cubicBezTo>
                      <a:pt x="43" y="22"/>
                      <a:pt x="48" y="22"/>
                      <a:pt x="47" y="17"/>
                    </a:cubicBezTo>
                    <a:cubicBezTo>
                      <a:pt x="46" y="15"/>
                      <a:pt x="44" y="15"/>
                      <a:pt x="42" y="14"/>
                    </a:cubicBezTo>
                    <a:cubicBezTo>
                      <a:pt x="41" y="12"/>
                      <a:pt x="41" y="10"/>
                      <a:pt x="39" y="9"/>
                    </a:cubicBezTo>
                    <a:cubicBezTo>
                      <a:pt x="37" y="8"/>
                      <a:pt x="38" y="8"/>
                      <a:pt x="36" y="8"/>
                    </a:cubicBezTo>
                    <a:cubicBezTo>
                      <a:pt x="36" y="8"/>
                      <a:pt x="36" y="8"/>
                      <a:pt x="36" y="8"/>
                    </a:cubicBezTo>
                    <a:cubicBezTo>
                      <a:pt x="35" y="8"/>
                      <a:pt x="35" y="8"/>
                      <a:pt x="35" y="9"/>
                    </a:cubicBezTo>
                    <a:cubicBezTo>
                      <a:pt x="35" y="9"/>
                      <a:pt x="35" y="9"/>
                      <a:pt x="34" y="9"/>
                    </a:cubicBezTo>
                    <a:cubicBezTo>
                      <a:pt x="34" y="9"/>
                      <a:pt x="34" y="9"/>
                      <a:pt x="33" y="8"/>
                    </a:cubicBezTo>
                    <a:cubicBezTo>
                      <a:pt x="32" y="8"/>
                      <a:pt x="33" y="6"/>
                      <a:pt x="32" y="5"/>
                    </a:cubicBezTo>
                    <a:cubicBezTo>
                      <a:pt x="31" y="4"/>
                      <a:pt x="31" y="5"/>
                      <a:pt x="30" y="4"/>
                    </a:cubicBezTo>
                    <a:cubicBezTo>
                      <a:pt x="28" y="3"/>
                      <a:pt x="27" y="1"/>
                      <a:pt x="2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150"/>
              <p:cNvSpPr/>
              <p:nvPr/>
            </p:nvSpPr>
            <p:spPr bwMode="auto">
              <a:xfrm>
                <a:off x="5370" y="4594"/>
                <a:ext cx="40" cy="73"/>
              </a:xfrm>
              <a:custGeom>
                <a:gdLst>
                  <a:gd name="T0" fmla="*/ 12 w 17"/>
                  <a:gd name="T1" fmla="*/ 0 h 31"/>
                  <a:gd name="T2" fmla="*/ 9 w 17"/>
                  <a:gd name="T3" fmla="*/ 2 h 31"/>
                  <a:gd name="T4" fmla="*/ 8 w 17"/>
                  <a:gd name="T5" fmla="*/ 9 h 31"/>
                  <a:gd name="T6" fmla="*/ 6 w 17"/>
                  <a:gd name="T7" fmla="*/ 17 h 31"/>
                  <a:gd name="T8" fmla="*/ 2 w 17"/>
                  <a:gd name="T9" fmla="*/ 25 h 31"/>
                  <a:gd name="T10" fmla="*/ 2 w 17"/>
                  <a:gd name="T11" fmla="*/ 28 h 31"/>
                  <a:gd name="T12" fmla="*/ 6 w 17"/>
                  <a:gd name="T13" fmla="*/ 31 h 31"/>
                  <a:gd name="T14" fmla="*/ 7 w 17"/>
                  <a:gd name="T15" fmla="*/ 31 h 31"/>
                  <a:gd name="T16" fmla="*/ 8 w 17"/>
                  <a:gd name="T17" fmla="*/ 29 h 31"/>
                  <a:gd name="T18" fmla="*/ 16 w 17"/>
                  <a:gd name="T19" fmla="*/ 21 h 31"/>
                  <a:gd name="T20" fmla="*/ 13 w 17"/>
                  <a:gd name="T21" fmla="*/ 18 h 31"/>
                  <a:gd name="T22" fmla="*/ 13 w 17"/>
                  <a:gd name="T23" fmla="*/ 8 h 31"/>
                  <a:gd name="T24" fmla="*/ 14 w 17"/>
                  <a:gd name="T25" fmla="*/ 7 h 31"/>
                  <a:gd name="T26" fmla="*/ 17 w 17"/>
                  <a:gd name="T27" fmla="*/ 10 h 31"/>
                  <a:gd name="T28" fmla="*/ 12 w 17"/>
                  <a:gd name="T29"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31">
                    <a:moveTo>
                      <a:pt x="12" y="0"/>
                    </a:moveTo>
                    <a:cubicBezTo>
                      <a:pt x="11" y="0"/>
                      <a:pt x="10" y="0"/>
                      <a:pt x="9" y="2"/>
                    </a:cubicBezTo>
                    <a:cubicBezTo>
                      <a:pt x="7" y="4"/>
                      <a:pt x="8" y="6"/>
                      <a:pt x="8" y="9"/>
                    </a:cubicBezTo>
                    <a:cubicBezTo>
                      <a:pt x="8" y="11"/>
                      <a:pt x="5" y="14"/>
                      <a:pt x="6" y="17"/>
                    </a:cubicBezTo>
                    <a:cubicBezTo>
                      <a:pt x="5" y="20"/>
                      <a:pt x="4" y="22"/>
                      <a:pt x="2" y="25"/>
                    </a:cubicBezTo>
                    <a:cubicBezTo>
                      <a:pt x="2" y="26"/>
                      <a:pt x="0" y="27"/>
                      <a:pt x="2" y="28"/>
                    </a:cubicBezTo>
                    <a:cubicBezTo>
                      <a:pt x="3" y="29"/>
                      <a:pt x="5" y="31"/>
                      <a:pt x="6" y="31"/>
                    </a:cubicBezTo>
                    <a:cubicBezTo>
                      <a:pt x="6" y="31"/>
                      <a:pt x="7" y="31"/>
                      <a:pt x="7" y="31"/>
                    </a:cubicBezTo>
                    <a:cubicBezTo>
                      <a:pt x="7" y="31"/>
                      <a:pt x="7" y="30"/>
                      <a:pt x="8" y="29"/>
                    </a:cubicBezTo>
                    <a:cubicBezTo>
                      <a:pt x="10" y="28"/>
                      <a:pt x="17" y="23"/>
                      <a:pt x="16" y="21"/>
                    </a:cubicBezTo>
                    <a:cubicBezTo>
                      <a:pt x="16" y="20"/>
                      <a:pt x="13" y="19"/>
                      <a:pt x="13" y="18"/>
                    </a:cubicBezTo>
                    <a:cubicBezTo>
                      <a:pt x="11" y="16"/>
                      <a:pt x="10" y="10"/>
                      <a:pt x="13" y="8"/>
                    </a:cubicBezTo>
                    <a:cubicBezTo>
                      <a:pt x="13" y="8"/>
                      <a:pt x="14" y="7"/>
                      <a:pt x="14" y="7"/>
                    </a:cubicBezTo>
                    <a:cubicBezTo>
                      <a:pt x="15" y="7"/>
                      <a:pt x="15" y="9"/>
                      <a:pt x="17" y="10"/>
                    </a:cubicBezTo>
                    <a:cubicBezTo>
                      <a:pt x="17" y="6"/>
                      <a:pt x="15"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Freeform 151"/>
              <p:cNvSpPr/>
              <p:nvPr/>
            </p:nvSpPr>
            <p:spPr bwMode="auto">
              <a:xfrm>
                <a:off x="4070" y="4500"/>
                <a:ext cx="24" cy="30"/>
              </a:xfrm>
              <a:custGeom>
                <a:gdLst>
                  <a:gd name="T0" fmla="*/ 0 w 10"/>
                  <a:gd name="T1" fmla="*/ 0 h 13"/>
                  <a:gd name="T2" fmla="*/ 6 w 10"/>
                  <a:gd name="T3" fmla="*/ 13 h 13"/>
                  <a:gd name="T4" fmla="*/ 4 w 10"/>
                  <a:gd name="T5" fmla="*/ 9 h 13"/>
                  <a:gd name="T6" fmla="*/ 0 w 10"/>
                  <a:gd name="T7" fmla="*/ 0 h 13"/>
                </a:gdLst>
                <a:cxnLst>
                  <a:cxn ang="0">
                    <a:pos x="T0" y="T1"/>
                  </a:cxn>
                  <a:cxn ang="0">
                    <a:pos x="T2" y="T3"/>
                  </a:cxn>
                  <a:cxn ang="0">
                    <a:pos x="T4" y="T5"/>
                  </a:cxn>
                  <a:cxn ang="0">
                    <a:pos x="T6" y="T7"/>
                  </a:cxn>
                </a:cxnLst>
                <a:rect l="0" t="0" r="r" b="b"/>
                <a:pathLst>
                  <a:path w="10" h="13">
                    <a:moveTo>
                      <a:pt x="0" y="0"/>
                    </a:moveTo>
                    <a:cubicBezTo>
                      <a:pt x="2" y="4"/>
                      <a:pt x="4" y="9"/>
                      <a:pt x="6" y="13"/>
                    </a:cubicBezTo>
                    <a:cubicBezTo>
                      <a:pt x="6" y="12"/>
                      <a:pt x="5" y="10"/>
                      <a:pt x="4" y="9"/>
                    </a:cubicBezTo>
                    <a:cubicBezTo>
                      <a:pt x="10" y="8"/>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Freeform 152"/>
              <p:cNvSpPr/>
              <p:nvPr/>
            </p:nvSpPr>
            <p:spPr bwMode="auto">
              <a:xfrm>
                <a:off x="5006" y="4535"/>
                <a:ext cx="9" cy="14"/>
              </a:xfrm>
              <a:custGeom>
                <a:gdLst>
                  <a:gd name="T0" fmla="*/ 4 w 4"/>
                  <a:gd name="T1" fmla="*/ 0 h 6"/>
                  <a:gd name="T2" fmla="*/ 2 w 4"/>
                  <a:gd name="T3" fmla="*/ 1 h 6"/>
                  <a:gd name="T4" fmla="*/ 2 w 4"/>
                  <a:gd name="T5" fmla="*/ 1 h 6"/>
                  <a:gd name="T6" fmla="*/ 2 w 4"/>
                  <a:gd name="T7" fmla="*/ 2 h 6"/>
                  <a:gd name="T8" fmla="*/ 2 w 4"/>
                  <a:gd name="T9" fmla="*/ 6 h 6"/>
                  <a:gd name="T10" fmla="*/ 4 w 4"/>
                  <a:gd name="T11" fmla="*/ 0 h 6"/>
                </a:gdLst>
                <a:cxnLst>
                  <a:cxn ang="0">
                    <a:pos x="T0" y="T1"/>
                  </a:cxn>
                  <a:cxn ang="0">
                    <a:pos x="T2" y="T3"/>
                  </a:cxn>
                  <a:cxn ang="0">
                    <a:pos x="T4" y="T5"/>
                  </a:cxn>
                  <a:cxn ang="0">
                    <a:pos x="T6" y="T7"/>
                  </a:cxn>
                  <a:cxn ang="0">
                    <a:pos x="T8" y="T9"/>
                  </a:cxn>
                  <a:cxn ang="0">
                    <a:pos x="T10" y="T11"/>
                  </a:cxn>
                </a:cxnLst>
                <a:rect l="0" t="0" r="r" b="b"/>
                <a:pathLst>
                  <a:path w="4" h="6">
                    <a:moveTo>
                      <a:pt x="4" y="0"/>
                    </a:moveTo>
                    <a:cubicBezTo>
                      <a:pt x="3" y="0"/>
                      <a:pt x="2" y="1"/>
                      <a:pt x="2" y="1"/>
                    </a:cubicBezTo>
                    <a:cubicBezTo>
                      <a:pt x="2" y="1"/>
                      <a:pt x="2" y="1"/>
                      <a:pt x="2" y="1"/>
                    </a:cubicBezTo>
                    <a:cubicBezTo>
                      <a:pt x="2" y="2"/>
                      <a:pt x="2" y="2"/>
                      <a:pt x="2" y="2"/>
                    </a:cubicBezTo>
                    <a:cubicBezTo>
                      <a:pt x="0" y="3"/>
                      <a:pt x="1" y="4"/>
                      <a:pt x="2" y="6"/>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153"/>
              <p:cNvSpPr/>
              <p:nvPr/>
            </p:nvSpPr>
            <p:spPr bwMode="auto">
              <a:xfrm>
                <a:off x="6046" y="4653"/>
                <a:ext cx="37" cy="55"/>
              </a:xfrm>
              <a:custGeom>
                <a:gdLst>
                  <a:gd name="T0" fmla="*/ 9 w 16"/>
                  <a:gd name="T1" fmla="*/ 0 h 23"/>
                  <a:gd name="T2" fmla="*/ 8 w 16"/>
                  <a:gd name="T3" fmla="*/ 1 h 23"/>
                  <a:gd name="T4" fmla="*/ 8 w 16"/>
                  <a:gd name="T5" fmla="*/ 3 h 23"/>
                  <a:gd name="T6" fmla="*/ 8 w 16"/>
                  <a:gd name="T7" fmla="*/ 3 h 23"/>
                  <a:gd name="T8" fmla="*/ 7 w 16"/>
                  <a:gd name="T9" fmla="*/ 4 h 23"/>
                  <a:gd name="T10" fmla="*/ 5 w 16"/>
                  <a:gd name="T11" fmla="*/ 6 h 23"/>
                  <a:gd name="T12" fmla="*/ 3 w 16"/>
                  <a:gd name="T13" fmla="*/ 8 h 23"/>
                  <a:gd name="T14" fmla="*/ 5 w 16"/>
                  <a:gd name="T15" fmla="*/ 10 h 23"/>
                  <a:gd name="T16" fmla="*/ 3 w 16"/>
                  <a:gd name="T17" fmla="*/ 12 h 23"/>
                  <a:gd name="T18" fmla="*/ 3 w 16"/>
                  <a:gd name="T19" fmla="*/ 16 h 23"/>
                  <a:gd name="T20" fmla="*/ 11 w 16"/>
                  <a:gd name="T21" fmla="*/ 23 h 23"/>
                  <a:gd name="T22" fmla="*/ 12 w 16"/>
                  <a:gd name="T23" fmla="*/ 23 h 23"/>
                  <a:gd name="T24" fmla="*/ 14 w 16"/>
                  <a:gd name="T25" fmla="*/ 19 h 23"/>
                  <a:gd name="T26" fmla="*/ 13 w 16"/>
                  <a:gd name="T27" fmla="*/ 19 h 23"/>
                  <a:gd name="T28" fmla="*/ 13 w 16"/>
                  <a:gd name="T29" fmla="*/ 14 h 23"/>
                  <a:gd name="T30" fmla="*/ 13 w 16"/>
                  <a:gd name="T31" fmla="*/ 2 h 23"/>
                  <a:gd name="T32" fmla="*/ 11 w 16"/>
                  <a:gd name="T33" fmla="*/ 0 h 23"/>
                  <a:gd name="T34" fmla="*/ 9 w 16"/>
                  <a:gd name="T35"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23">
                    <a:moveTo>
                      <a:pt x="9" y="0"/>
                    </a:moveTo>
                    <a:cubicBezTo>
                      <a:pt x="8" y="0"/>
                      <a:pt x="9" y="1"/>
                      <a:pt x="8" y="1"/>
                    </a:cubicBezTo>
                    <a:cubicBezTo>
                      <a:pt x="8" y="1"/>
                      <a:pt x="9" y="2"/>
                      <a:pt x="8" y="3"/>
                    </a:cubicBezTo>
                    <a:cubicBezTo>
                      <a:pt x="8" y="3"/>
                      <a:pt x="8" y="3"/>
                      <a:pt x="8" y="3"/>
                    </a:cubicBezTo>
                    <a:cubicBezTo>
                      <a:pt x="8" y="3"/>
                      <a:pt x="7" y="3"/>
                      <a:pt x="7" y="4"/>
                    </a:cubicBezTo>
                    <a:cubicBezTo>
                      <a:pt x="6" y="5"/>
                      <a:pt x="6" y="5"/>
                      <a:pt x="5" y="6"/>
                    </a:cubicBezTo>
                    <a:cubicBezTo>
                      <a:pt x="2" y="8"/>
                      <a:pt x="0" y="6"/>
                      <a:pt x="3" y="8"/>
                    </a:cubicBezTo>
                    <a:cubicBezTo>
                      <a:pt x="4" y="9"/>
                      <a:pt x="5" y="8"/>
                      <a:pt x="5" y="10"/>
                    </a:cubicBezTo>
                    <a:cubicBezTo>
                      <a:pt x="5" y="11"/>
                      <a:pt x="4" y="11"/>
                      <a:pt x="3" y="12"/>
                    </a:cubicBezTo>
                    <a:cubicBezTo>
                      <a:pt x="3" y="16"/>
                      <a:pt x="3" y="16"/>
                      <a:pt x="3" y="16"/>
                    </a:cubicBezTo>
                    <a:cubicBezTo>
                      <a:pt x="3" y="19"/>
                      <a:pt x="8" y="23"/>
                      <a:pt x="11" y="23"/>
                    </a:cubicBezTo>
                    <a:cubicBezTo>
                      <a:pt x="11" y="23"/>
                      <a:pt x="11" y="23"/>
                      <a:pt x="12" y="23"/>
                    </a:cubicBezTo>
                    <a:cubicBezTo>
                      <a:pt x="13" y="22"/>
                      <a:pt x="16" y="19"/>
                      <a:pt x="14" y="19"/>
                    </a:cubicBezTo>
                    <a:cubicBezTo>
                      <a:pt x="13" y="19"/>
                      <a:pt x="13" y="19"/>
                      <a:pt x="13" y="19"/>
                    </a:cubicBezTo>
                    <a:cubicBezTo>
                      <a:pt x="16" y="17"/>
                      <a:pt x="15" y="16"/>
                      <a:pt x="13" y="14"/>
                    </a:cubicBezTo>
                    <a:cubicBezTo>
                      <a:pt x="14" y="10"/>
                      <a:pt x="16" y="6"/>
                      <a:pt x="13" y="2"/>
                    </a:cubicBezTo>
                    <a:cubicBezTo>
                      <a:pt x="12" y="1"/>
                      <a:pt x="12" y="1"/>
                      <a:pt x="11" y="0"/>
                    </a:cubicBezTo>
                    <a:cubicBezTo>
                      <a:pt x="10" y="0"/>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Freeform 154"/>
              <p:cNvSpPr>
                <a:spLocks noEditPoints="1"/>
              </p:cNvSpPr>
              <p:nvPr/>
            </p:nvSpPr>
            <p:spPr bwMode="auto">
              <a:xfrm>
                <a:off x="5831" y="4360"/>
                <a:ext cx="9" cy="7"/>
              </a:xfrm>
              <a:custGeom>
                <a:gdLst>
                  <a:gd name="T0" fmla="*/ 4 w 4"/>
                  <a:gd name="T1" fmla="*/ 1 h 3"/>
                  <a:gd name="T2" fmla="*/ 0 w 4"/>
                  <a:gd name="T3" fmla="*/ 2 h 3"/>
                  <a:gd name="T4" fmla="*/ 0 w 4"/>
                  <a:gd name="T5" fmla="*/ 3 h 3"/>
                  <a:gd name="T6" fmla="*/ 4 w 4"/>
                  <a:gd name="T7" fmla="*/ 1 h 3"/>
                  <a:gd name="T8" fmla="*/ 4 w 4"/>
                  <a:gd name="T9" fmla="*/ 0 h 3"/>
                  <a:gd name="T10" fmla="*/ 4 w 4"/>
                  <a:gd name="T11" fmla="*/ 1 h 3"/>
                  <a:gd name="T12" fmla="*/ 4 w 4"/>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4" h="3">
                    <a:moveTo>
                      <a:pt x="4" y="1"/>
                    </a:moveTo>
                    <a:cubicBezTo>
                      <a:pt x="2" y="2"/>
                      <a:pt x="1" y="1"/>
                      <a:pt x="0" y="2"/>
                    </a:cubicBezTo>
                    <a:cubicBezTo>
                      <a:pt x="0" y="2"/>
                      <a:pt x="0" y="2"/>
                      <a:pt x="0" y="3"/>
                    </a:cubicBezTo>
                    <a:cubicBezTo>
                      <a:pt x="1" y="2"/>
                      <a:pt x="3" y="1"/>
                      <a:pt x="4" y="1"/>
                    </a:cubicBezTo>
                    <a:moveTo>
                      <a:pt x="4" y="0"/>
                    </a:moveTo>
                    <a:cubicBezTo>
                      <a:pt x="4" y="0"/>
                      <a:pt x="4" y="1"/>
                      <a:pt x="4" y="1"/>
                    </a:cubicBezTo>
                    <a:cubicBezTo>
                      <a:pt x="4"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155"/>
              <p:cNvSpPr/>
              <p:nvPr/>
            </p:nvSpPr>
            <p:spPr bwMode="auto">
              <a:xfrm>
                <a:off x="5384" y="4403"/>
                <a:ext cx="45" cy="28"/>
              </a:xfrm>
              <a:custGeom>
                <a:gdLst>
                  <a:gd name="T0" fmla="*/ 10 w 19"/>
                  <a:gd name="T1" fmla="*/ 0 h 12"/>
                  <a:gd name="T2" fmla="*/ 7 w 19"/>
                  <a:gd name="T3" fmla="*/ 1 h 12"/>
                  <a:gd name="T4" fmla="*/ 7 w 19"/>
                  <a:gd name="T5" fmla="*/ 1 h 12"/>
                  <a:gd name="T6" fmla="*/ 2 w 19"/>
                  <a:gd name="T7" fmla="*/ 2 h 12"/>
                  <a:gd name="T8" fmla="*/ 1 w 19"/>
                  <a:gd name="T9" fmla="*/ 8 h 12"/>
                  <a:gd name="T10" fmla="*/ 3 w 19"/>
                  <a:gd name="T11" fmla="*/ 11 h 12"/>
                  <a:gd name="T12" fmla="*/ 9 w 19"/>
                  <a:gd name="T13" fmla="*/ 4 h 12"/>
                  <a:gd name="T14" fmla="*/ 10 w 19"/>
                  <a:gd name="T15" fmla="*/ 8 h 12"/>
                  <a:gd name="T16" fmla="*/ 11 w 19"/>
                  <a:gd name="T17" fmla="*/ 12 h 12"/>
                  <a:gd name="T18" fmla="*/ 19 w 19"/>
                  <a:gd name="T19" fmla="*/ 4 h 12"/>
                  <a:gd name="T20" fmla="*/ 15 w 19"/>
                  <a:gd name="T21" fmla="*/ 2 h 12"/>
                  <a:gd name="T22" fmla="*/ 13 w 19"/>
                  <a:gd name="T23" fmla="*/ 4 h 12"/>
                  <a:gd name="T24" fmla="*/ 10 w 19"/>
                  <a:gd name="T25"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2">
                    <a:moveTo>
                      <a:pt x="10" y="0"/>
                    </a:moveTo>
                    <a:cubicBezTo>
                      <a:pt x="10" y="1"/>
                      <a:pt x="8" y="1"/>
                      <a:pt x="7" y="1"/>
                    </a:cubicBezTo>
                    <a:cubicBezTo>
                      <a:pt x="7" y="1"/>
                      <a:pt x="7" y="1"/>
                      <a:pt x="7" y="1"/>
                    </a:cubicBezTo>
                    <a:cubicBezTo>
                      <a:pt x="6" y="1"/>
                      <a:pt x="4" y="1"/>
                      <a:pt x="2" y="2"/>
                    </a:cubicBezTo>
                    <a:cubicBezTo>
                      <a:pt x="0" y="4"/>
                      <a:pt x="0" y="6"/>
                      <a:pt x="1" y="8"/>
                    </a:cubicBezTo>
                    <a:cubicBezTo>
                      <a:pt x="1" y="10"/>
                      <a:pt x="2" y="11"/>
                      <a:pt x="3" y="11"/>
                    </a:cubicBezTo>
                    <a:cubicBezTo>
                      <a:pt x="5" y="11"/>
                      <a:pt x="7" y="6"/>
                      <a:pt x="9" y="4"/>
                    </a:cubicBezTo>
                    <a:cubicBezTo>
                      <a:pt x="9" y="5"/>
                      <a:pt x="10" y="7"/>
                      <a:pt x="10" y="8"/>
                    </a:cubicBezTo>
                    <a:cubicBezTo>
                      <a:pt x="9" y="11"/>
                      <a:pt x="7" y="11"/>
                      <a:pt x="11" y="12"/>
                    </a:cubicBezTo>
                    <a:cubicBezTo>
                      <a:pt x="12" y="6"/>
                      <a:pt x="14" y="7"/>
                      <a:pt x="19" y="4"/>
                    </a:cubicBezTo>
                    <a:cubicBezTo>
                      <a:pt x="18" y="3"/>
                      <a:pt x="16" y="2"/>
                      <a:pt x="15" y="2"/>
                    </a:cubicBezTo>
                    <a:cubicBezTo>
                      <a:pt x="14" y="2"/>
                      <a:pt x="13" y="3"/>
                      <a:pt x="13" y="4"/>
                    </a:cubicBezTo>
                    <a:cubicBezTo>
                      <a:pt x="12" y="3"/>
                      <a:pt x="11" y="1"/>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156"/>
              <p:cNvSpPr/>
              <p:nvPr/>
            </p:nvSpPr>
            <p:spPr bwMode="auto">
              <a:xfrm>
                <a:off x="5715" y="4748"/>
                <a:ext cx="9" cy="9"/>
              </a:xfrm>
              <a:custGeom>
                <a:gdLst>
                  <a:gd name="T0" fmla="*/ 4 w 4"/>
                  <a:gd name="T1" fmla="*/ 0 h 4"/>
                  <a:gd name="T2" fmla="*/ 4 w 4"/>
                  <a:gd name="T3" fmla="*/ 4 h 4"/>
                  <a:gd name="T4" fmla="*/ 4 w 4"/>
                  <a:gd name="T5" fmla="*/ 0 h 4"/>
                </a:gdLst>
                <a:cxnLst>
                  <a:cxn ang="0">
                    <a:pos x="T0" y="T1"/>
                  </a:cxn>
                  <a:cxn ang="0">
                    <a:pos x="T2" y="T3"/>
                  </a:cxn>
                  <a:cxn ang="0">
                    <a:pos x="T4" y="T5"/>
                  </a:cxn>
                </a:cxnLst>
                <a:rect l="0" t="0" r="r" b="b"/>
                <a:pathLst>
                  <a:path w="4" h="4">
                    <a:moveTo>
                      <a:pt x="4" y="0"/>
                    </a:moveTo>
                    <a:cubicBezTo>
                      <a:pt x="0" y="1"/>
                      <a:pt x="1" y="3"/>
                      <a:pt x="4" y="4"/>
                    </a:cubicBezTo>
                    <a:cubicBezTo>
                      <a:pt x="4" y="3"/>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157"/>
              <p:cNvSpPr/>
              <p:nvPr/>
            </p:nvSpPr>
            <p:spPr bwMode="auto">
              <a:xfrm>
                <a:off x="5651" y="4417"/>
                <a:ext cx="47" cy="21"/>
              </a:xfrm>
              <a:custGeom>
                <a:gdLst>
                  <a:gd name="T0" fmla="*/ 8 w 20"/>
                  <a:gd name="T1" fmla="*/ 0 h 9"/>
                  <a:gd name="T2" fmla="*/ 2 w 20"/>
                  <a:gd name="T3" fmla="*/ 1 h 9"/>
                  <a:gd name="T4" fmla="*/ 0 w 20"/>
                  <a:gd name="T5" fmla="*/ 7 h 9"/>
                  <a:gd name="T6" fmla="*/ 4 w 20"/>
                  <a:gd name="T7" fmla="*/ 9 h 9"/>
                  <a:gd name="T8" fmla="*/ 7 w 20"/>
                  <a:gd name="T9" fmla="*/ 8 h 9"/>
                  <a:gd name="T10" fmla="*/ 13 w 20"/>
                  <a:gd name="T11" fmla="*/ 8 h 9"/>
                  <a:gd name="T12" fmla="*/ 14 w 20"/>
                  <a:gd name="T13" fmla="*/ 8 h 9"/>
                  <a:gd name="T14" fmla="*/ 16 w 20"/>
                  <a:gd name="T15" fmla="*/ 8 h 9"/>
                  <a:gd name="T16" fmla="*/ 15 w 20"/>
                  <a:gd name="T17" fmla="*/ 3 h 9"/>
                  <a:gd name="T18" fmla="*/ 8 w 20"/>
                  <a:gd name="T1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9">
                    <a:moveTo>
                      <a:pt x="8" y="0"/>
                    </a:moveTo>
                    <a:cubicBezTo>
                      <a:pt x="7" y="0"/>
                      <a:pt x="5" y="1"/>
                      <a:pt x="2" y="1"/>
                    </a:cubicBezTo>
                    <a:cubicBezTo>
                      <a:pt x="1" y="3"/>
                      <a:pt x="0" y="5"/>
                      <a:pt x="0" y="7"/>
                    </a:cubicBezTo>
                    <a:cubicBezTo>
                      <a:pt x="1" y="8"/>
                      <a:pt x="3" y="9"/>
                      <a:pt x="4" y="9"/>
                    </a:cubicBezTo>
                    <a:cubicBezTo>
                      <a:pt x="5" y="9"/>
                      <a:pt x="6" y="8"/>
                      <a:pt x="7" y="8"/>
                    </a:cubicBezTo>
                    <a:cubicBezTo>
                      <a:pt x="9" y="8"/>
                      <a:pt x="11" y="8"/>
                      <a:pt x="13" y="8"/>
                    </a:cubicBezTo>
                    <a:cubicBezTo>
                      <a:pt x="13" y="8"/>
                      <a:pt x="14" y="8"/>
                      <a:pt x="14" y="8"/>
                    </a:cubicBezTo>
                    <a:cubicBezTo>
                      <a:pt x="15" y="8"/>
                      <a:pt x="15" y="8"/>
                      <a:pt x="16" y="8"/>
                    </a:cubicBezTo>
                    <a:cubicBezTo>
                      <a:pt x="19" y="8"/>
                      <a:pt x="20" y="7"/>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158"/>
              <p:cNvSpPr/>
              <p:nvPr/>
            </p:nvSpPr>
            <p:spPr bwMode="auto">
              <a:xfrm>
                <a:off x="3888" y="4247"/>
                <a:ext cx="50" cy="56"/>
              </a:xfrm>
              <a:custGeom>
                <a:gdLst>
                  <a:gd name="T0" fmla="*/ 6 w 21"/>
                  <a:gd name="T1" fmla="*/ 0 h 24"/>
                  <a:gd name="T2" fmla="*/ 0 w 21"/>
                  <a:gd name="T3" fmla="*/ 3 h 24"/>
                  <a:gd name="T4" fmla="*/ 11 w 21"/>
                  <a:gd name="T5" fmla="*/ 16 h 24"/>
                  <a:gd name="T6" fmla="*/ 18 w 21"/>
                  <a:gd name="T7" fmla="*/ 24 h 24"/>
                  <a:gd name="T8" fmla="*/ 20 w 21"/>
                  <a:gd name="T9" fmla="*/ 19 h 24"/>
                  <a:gd name="T10" fmla="*/ 19 w 21"/>
                  <a:gd name="T11" fmla="*/ 13 h 24"/>
                  <a:gd name="T12" fmla="*/ 6 w 21"/>
                  <a:gd name="T13" fmla="*/ 0 h 24"/>
                </a:gdLst>
                <a:cxnLst>
                  <a:cxn ang="0">
                    <a:pos x="T0" y="T1"/>
                  </a:cxn>
                  <a:cxn ang="0">
                    <a:pos x="T2" y="T3"/>
                  </a:cxn>
                  <a:cxn ang="0">
                    <a:pos x="T4" y="T5"/>
                  </a:cxn>
                  <a:cxn ang="0">
                    <a:pos x="T6" y="T7"/>
                  </a:cxn>
                  <a:cxn ang="0">
                    <a:pos x="T8" y="T9"/>
                  </a:cxn>
                  <a:cxn ang="0">
                    <a:pos x="T10" y="T11"/>
                  </a:cxn>
                  <a:cxn ang="0">
                    <a:pos x="T12" y="T13"/>
                  </a:cxn>
                </a:cxnLst>
                <a:rect l="0" t="0" r="r" b="b"/>
                <a:pathLst>
                  <a:path w="21" h="24">
                    <a:moveTo>
                      <a:pt x="6" y="0"/>
                    </a:moveTo>
                    <a:cubicBezTo>
                      <a:pt x="7" y="4"/>
                      <a:pt x="2" y="2"/>
                      <a:pt x="0" y="3"/>
                    </a:cubicBezTo>
                    <a:cubicBezTo>
                      <a:pt x="5" y="5"/>
                      <a:pt x="7" y="12"/>
                      <a:pt x="11" y="16"/>
                    </a:cubicBezTo>
                    <a:cubicBezTo>
                      <a:pt x="13" y="19"/>
                      <a:pt x="15" y="22"/>
                      <a:pt x="18" y="24"/>
                    </a:cubicBezTo>
                    <a:cubicBezTo>
                      <a:pt x="20" y="23"/>
                      <a:pt x="20" y="21"/>
                      <a:pt x="20" y="19"/>
                    </a:cubicBezTo>
                    <a:cubicBezTo>
                      <a:pt x="20" y="17"/>
                      <a:pt x="21" y="16"/>
                      <a:pt x="19" y="13"/>
                    </a:cubicBezTo>
                    <a:cubicBezTo>
                      <a:pt x="15" y="9"/>
                      <a:pt x="11"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159"/>
              <p:cNvSpPr/>
              <p:nvPr/>
            </p:nvSpPr>
            <p:spPr bwMode="auto">
              <a:xfrm>
                <a:off x="6055" y="4455"/>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0"/>
                      <a:pt x="0" y="2"/>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160"/>
              <p:cNvSpPr/>
              <p:nvPr/>
            </p:nvSpPr>
            <p:spPr bwMode="auto">
              <a:xfrm>
                <a:off x="5644" y="4355"/>
                <a:ext cx="38" cy="34"/>
              </a:xfrm>
              <a:custGeom>
                <a:gdLst>
                  <a:gd name="T0" fmla="*/ 7 w 16"/>
                  <a:gd name="T1" fmla="*/ 0 h 14"/>
                  <a:gd name="T2" fmla="*/ 5 w 16"/>
                  <a:gd name="T3" fmla="*/ 2 h 14"/>
                  <a:gd name="T4" fmla="*/ 5 w 16"/>
                  <a:gd name="T5" fmla="*/ 2 h 14"/>
                  <a:gd name="T6" fmla="*/ 4 w 16"/>
                  <a:gd name="T7" fmla="*/ 1 h 14"/>
                  <a:gd name="T8" fmla="*/ 3 w 16"/>
                  <a:gd name="T9" fmla="*/ 0 h 14"/>
                  <a:gd name="T10" fmla="*/ 3 w 16"/>
                  <a:gd name="T11" fmla="*/ 0 h 14"/>
                  <a:gd name="T12" fmla="*/ 3 w 16"/>
                  <a:gd name="T13" fmla="*/ 7 h 14"/>
                  <a:gd name="T14" fmla="*/ 5 w 16"/>
                  <a:gd name="T15" fmla="*/ 8 h 14"/>
                  <a:gd name="T16" fmla="*/ 5 w 16"/>
                  <a:gd name="T17" fmla="*/ 10 h 14"/>
                  <a:gd name="T18" fmla="*/ 5 w 16"/>
                  <a:gd name="T19" fmla="*/ 12 h 14"/>
                  <a:gd name="T20" fmla="*/ 7 w 16"/>
                  <a:gd name="T21" fmla="*/ 12 h 14"/>
                  <a:gd name="T22" fmla="*/ 9 w 16"/>
                  <a:gd name="T23" fmla="*/ 11 h 14"/>
                  <a:gd name="T24" fmla="*/ 12 w 16"/>
                  <a:gd name="T25" fmla="*/ 14 h 14"/>
                  <a:gd name="T26" fmla="*/ 12 w 16"/>
                  <a:gd name="T27" fmla="*/ 14 h 14"/>
                  <a:gd name="T28" fmla="*/ 15 w 16"/>
                  <a:gd name="T29" fmla="*/ 12 h 14"/>
                  <a:gd name="T30" fmla="*/ 11 w 16"/>
                  <a:gd name="T31" fmla="*/ 9 h 14"/>
                  <a:gd name="T32" fmla="*/ 11 w 16"/>
                  <a:gd name="T33" fmla="*/ 9 h 14"/>
                  <a:gd name="T34" fmla="*/ 11 w 16"/>
                  <a:gd name="T35" fmla="*/ 9 h 14"/>
                  <a:gd name="T36" fmla="*/ 10 w 16"/>
                  <a:gd name="T37" fmla="*/ 10 h 14"/>
                  <a:gd name="T38" fmla="*/ 10 w 16"/>
                  <a:gd name="T39" fmla="*/ 8 h 14"/>
                  <a:gd name="T40" fmla="*/ 7 w 16"/>
                  <a:gd name="T41"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4">
                    <a:moveTo>
                      <a:pt x="7" y="0"/>
                    </a:moveTo>
                    <a:cubicBezTo>
                      <a:pt x="6" y="0"/>
                      <a:pt x="5" y="2"/>
                      <a:pt x="5" y="2"/>
                    </a:cubicBezTo>
                    <a:cubicBezTo>
                      <a:pt x="5" y="2"/>
                      <a:pt x="5" y="2"/>
                      <a:pt x="5" y="2"/>
                    </a:cubicBezTo>
                    <a:cubicBezTo>
                      <a:pt x="4" y="2"/>
                      <a:pt x="4" y="2"/>
                      <a:pt x="4" y="1"/>
                    </a:cubicBezTo>
                    <a:cubicBezTo>
                      <a:pt x="4" y="1"/>
                      <a:pt x="3" y="0"/>
                      <a:pt x="3" y="0"/>
                    </a:cubicBezTo>
                    <a:cubicBezTo>
                      <a:pt x="3" y="0"/>
                      <a:pt x="3" y="0"/>
                      <a:pt x="3" y="0"/>
                    </a:cubicBezTo>
                    <a:cubicBezTo>
                      <a:pt x="0" y="0"/>
                      <a:pt x="2" y="5"/>
                      <a:pt x="3" y="7"/>
                    </a:cubicBezTo>
                    <a:cubicBezTo>
                      <a:pt x="3" y="7"/>
                      <a:pt x="5" y="8"/>
                      <a:pt x="5" y="8"/>
                    </a:cubicBezTo>
                    <a:cubicBezTo>
                      <a:pt x="6" y="9"/>
                      <a:pt x="5" y="9"/>
                      <a:pt x="5" y="10"/>
                    </a:cubicBezTo>
                    <a:cubicBezTo>
                      <a:pt x="5" y="11"/>
                      <a:pt x="4" y="12"/>
                      <a:pt x="5" y="12"/>
                    </a:cubicBezTo>
                    <a:cubicBezTo>
                      <a:pt x="6" y="12"/>
                      <a:pt x="6" y="12"/>
                      <a:pt x="7" y="12"/>
                    </a:cubicBezTo>
                    <a:cubicBezTo>
                      <a:pt x="8" y="11"/>
                      <a:pt x="8" y="11"/>
                      <a:pt x="9" y="11"/>
                    </a:cubicBezTo>
                    <a:cubicBezTo>
                      <a:pt x="11" y="11"/>
                      <a:pt x="9" y="14"/>
                      <a:pt x="12" y="14"/>
                    </a:cubicBezTo>
                    <a:cubicBezTo>
                      <a:pt x="12" y="14"/>
                      <a:pt x="12" y="14"/>
                      <a:pt x="12" y="14"/>
                    </a:cubicBezTo>
                    <a:cubicBezTo>
                      <a:pt x="14" y="14"/>
                      <a:pt x="14" y="13"/>
                      <a:pt x="15" y="12"/>
                    </a:cubicBezTo>
                    <a:cubicBezTo>
                      <a:pt x="16" y="11"/>
                      <a:pt x="12" y="10"/>
                      <a:pt x="11" y="9"/>
                    </a:cubicBezTo>
                    <a:cubicBezTo>
                      <a:pt x="11" y="9"/>
                      <a:pt x="11" y="9"/>
                      <a:pt x="11" y="9"/>
                    </a:cubicBezTo>
                    <a:cubicBezTo>
                      <a:pt x="11" y="9"/>
                      <a:pt x="11" y="9"/>
                      <a:pt x="11" y="9"/>
                    </a:cubicBezTo>
                    <a:cubicBezTo>
                      <a:pt x="10" y="10"/>
                      <a:pt x="10" y="10"/>
                      <a:pt x="10" y="10"/>
                    </a:cubicBezTo>
                    <a:cubicBezTo>
                      <a:pt x="10" y="10"/>
                      <a:pt x="10" y="9"/>
                      <a:pt x="10" y="8"/>
                    </a:cubicBezTo>
                    <a:cubicBezTo>
                      <a:pt x="9" y="5"/>
                      <a:pt x="9"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161"/>
              <p:cNvSpPr/>
              <p:nvPr/>
            </p:nvSpPr>
            <p:spPr bwMode="auto">
              <a:xfrm>
                <a:off x="4791" y="4670"/>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1" y="1"/>
                      <a:pt x="0" y="1"/>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Freeform 162"/>
              <p:cNvSpPr/>
              <p:nvPr/>
            </p:nvSpPr>
            <p:spPr bwMode="auto">
              <a:xfrm>
                <a:off x="3780" y="4008"/>
                <a:ext cx="630" cy="674"/>
              </a:xfrm>
              <a:custGeom>
                <a:gdLst>
                  <a:gd name="T0" fmla="*/ 1 w 267"/>
                  <a:gd name="T1" fmla="*/ 6 h 285"/>
                  <a:gd name="T2" fmla="*/ 46 w 267"/>
                  <a:gd name="T3" fmla="*/ 54 h 285"/>
                  <a:gd name="T4" fmla="*/ 60 w 267"/>
                  <a:gd name="T5" fmla="*/ 74 h 285"/>
                  <a:gd name="T6" fmla="*/ 77 w 267"/>
                  <a:gd name="T7" fmla="*/ 89 h 285"/>
                  <a:gd name="T8" fmla="*/ 88 w 267"/>
                  <a:gd name="T9" fmla="*/ 99 h 285"/>
                  <a:gd name="T10" fmla="*/ 104 w 267"/>
                  <a:gd name="T11" fmla="*/ 135 h 285"/>
                  <a:gd name="T12" fmla="*/ 137 w 267"/>
                  <a:gd name="T13" fmla="*/ 183 h 285"/>
                  <a:gd name="T14" fmla="*/ 173 w 267"/>
                  <a:gd name="T15" fmla="*/ 231 h 285"/>
                  <a:gd name="T16" fmla="*/ 202 w 267"/>
                  <a:gd name="T17" fmla="*/ 257 h 285"/>
                  <a:gd name="T18" fmla="*/ 232 w 267"/>
                  <a:gd name="T19" fmla="*/ 285 h 285"/>
                  <a:gd name="T20" fmla="*/ 234 w 267"/>
                  <a:gd name="T21" fmla="*/ 275 h 285"/>
                  <a:gd name="T22" fmla="*/ 244 w 267"/>
                  <a:gd name="T23" fmla="*/ 281 h 285"/>
                  <a:gd name="T24" fmla="*/ 250 w 267"/>
                  <a:gd name="T25" fmla="*/ 275 h 285"/>
                  <a:gd name="T26" fmla="*/ 262 w 267"/>
                  <a:gd name="T27" fmla="*/ 247 h 285"/>
                  <a:gd name="T28" fmla="*/ 263 w 267"/>
                  <a:gd name="T29" fmla="*/ 224 h 285"/>
                  <a:gd name="T30" fmla="*/ 247 w 267"/>
                  <a:gd name="T31" fmla="*/ 197 h 285"/>
                  <a:gd name="T32" fmla="*/ 236 w 267"/>
                  <a:gd name="T33" fmla="*/ 198 h 285"/>
                  <a:gd name="T34" fmla="*/ 231 w 267"/>
                  <a:gd name="T35" fmla="*/ 198 h 285"/>
                  <a:gd name="T36" fmla="*/ 229 w 267"/>
                  <a:gd name="T37" fmla="*/ 185 h 285"/>
                  <a:gd name="T38" fmla="*/ 224 w 267"/>
                  <a:gd name="T39" fmla="*/ 165 h 285"/>
                  <a:gd name="T40" fmla="*/ 220 w 267"/>
                  <a:gd name="T41" fmla="*/ 165 h 285"/>
                  <a:gd name="T42" fmla="*/ 201 w 267"/>
                  <a:gd name="T43" fmla="*/ 150 h 285"/>
                  <a:gd name="T44" fmla="*/ 200 w 267"/>
                  <a:gd name="T45" fmla="*/ 148 h 285"/>
                  <a:gd name="T46" fmla="*/ 199 w 267"/>
                  <a:gd name="T47" fmla="*/ 145 h 285"/>
                  <a:gd name="T48" fmla="*/ 207 w 267"/>
                  <a:gd name="T49" fmla="*/ 140 h 285"/>
                  <a:gd name="T50" fmla="*/ 207 w 267"/>
                  <a:gd name="T51" fmla="*/ 131 h 285"/>
                  <a:gd name="T52" fmla="*/ 191 w 267"/>
                  <a:gd name="T53" fmla="*/ 130 h 285"/>
                  <a:gd name="T54" fmla="*/ 181 w 267"/>
                  <a:gd name="T55" fmla="*/ 134 h 285"/>
                  <a:gd name="T56" fmla="*/ 194 w 267"/>
                  <a:gd name="T57" fmla="*/ 128 h 285"/>
                  <a:gd name="T58" fmla="*/ 176 w 267"/>
                  <a:gd name="T59" fmla="*/ 118 h 285"/>
                  <a:gd name="T60" fmla="*/ 155 w 267"/>
                  <a:gd name="T61" fmla="*/ 97 h 285"/>
                  <a:gd name="T62" fmla="*/ 139 w 267"/>
                  <a:gd name="T63" fmla="*/ 84 h 285"/>
                  <a:gd name="T64" fmla="*/ 141 w 267"/>
                  <a:gd name="T65" fmla="*/ 94 h 285"/>
                  <a:gd name="T66" fmla="*/ 128 w 267"/>
                  <a:gd name="T67" fmla="*/ 83 h 285"/>
                  <a:gd name="T68" fmla="*/ 118 w 267"/>
                  <a:gd name="T69" fmla="*/ 74 h 285"/>
                  <a:gd name="T70" fmla="*/ 91 w 267"/>
                  <a:gd name="T71" fmla="*/ 49 h 285"/>
                  <a:gd name="T72" fmla="*/ 78 w 267"/>
                  <a:gd name="T73" fmla="*/ 51 h 285"/>
                  <a:gd name="T74" fmla="*/ 79 w 267"/>
                  <a:gd name="T75" fmla="*/ 39 h 285"/>
                  <a:gd name="T76" fmla="*/ 75 w 267"/>
                  <a:gd name="T77" fmla="*/ 33 h 285"/>
                  <a:gd name="T78" fmla="*/ 57 w 267"/>
                  <a:gd name="T79" fmla="*/ 11 h 285"/>
                  <a:gd name="T80" fmla="*/ 49 w 267"/>
                  <a:gd name="T81" fmla="*/ 12 h 285"/>
                  <a:gd name="T82" fmla="*/ 33 w 267"/>
                  <a:gd name="T83" fmla="*/ 10 h 2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285">
                    <a:moveTo>
                      <a:pt x="9" y="0"/>
                    </a:moveTo>
                    <a:cubicBezTo>
                      <a:pt x="6" y="0"/>
                      <a:pt x="5" y="0"/>
                      <a:pt x="2" y="2"/>
                    </a:cubicBezTo>
                    <a:cubicBezTo>
                      <a:pt x="0" y="3"/>
                      <a:pt x="0" y="3"/>
                      <a:pt x="1" y="6"/>
                    </a:cubicBezTo>
                    <a:cubicBezTo>
                      <a:pt x="2" y="11"/>
                      <a:pt x="3" y="13"/>
                      <a:pt x="6" y="17"/>
                    </a:cubicBezTo>
                    <a:cubicBezTo>
                      <a:pt x="14" y="29"/>
                      <a:pt x="24" y="41"/>
                      <a:pt x="36" y="48"/>
                    </a:cubicBezTo>
                    <a:cubicBezTo>
                      <a:pt x="39" y="50"/>
                      <a:pt x="43" y="51"/>
                      <a:pt x="46" y="54"/>
                    </a:cubicBezTo>
                    <a:cubicBezTo>
                      <a:pt x="48" y="57"/>
                      <a:pt x="51" y="61"/>
                      <a:pt x="54" y="64"/>
                    </a:cubicBezTo>
                    <a:cubicBezTo>
                      <a:pt x="55" y="65"/>
                      <a:pt x="58" y="67"/>
                      <a:pt x="58" y="68"/>
                    </a:cubicBezTo>
                    <a:cubicBezTo>
                      <a:pt x="59" y="70"/>
                      <a:pt x="59" y="72"/>
                      <a:pt x="60" y="74"/>
                    </a:cubicBezTo>
                    <a:cubicBezTo>
                      <a:pt x="60" y="77"/>
                      <a:pt x="60" y="81"/>
                      <a:pt x="62" y="82"/>
                    </a:cubicBezTo>
                    <a:cubicBezTo>
                      <a:pt x="63" y="84"/>
                      <a:pt x="65" y="84"/>
                      <a:pt x="67" y="84"/>
                    </a:cubicBezTo>
                    <a:cubicBezTo>
                      <a:pt x="71" y="85"/>
                      <a:pt x="73" y="87"/>
                      <a:pt x="77" y="89"/>
                    </a:cubicBezTo>
                    <a:cubicBezTo>
                      <a:pt x="81" y="91"/>
                      <a:pt x="83" y="93"/>
                      <a:pt x="87" y="96"/>
                    </a:cubicBezTo>
                    <a:cubicBezTo>
                      <a:pt x="86" y="95"/>
                      <a:pt x="86" y="95"/>
                      <a:pt x="86" y="95"/>
                    </a:cubicBezTo>
                    <a:cubicBezTo>
                      <a:pt x="88" y="96"/>
                      <a:pt x="88" y="97"/>
                      <a:pt x="88" y="99"/>
                    </a:cubicBezTo>
                    <a:cubicBezTo>
                      <a:pt x="88" y="103"/>
                      <a:pt x="89" y="107"/>
                      <a:pt x="91" y="111"/>
                    </a:cubicBezTo>
                    <a:cubicBezTo>
                      <a:pt x="92" y="117"/>
                      <a:pt x="94" y="123"/>
                      <a:pt x="96" y="129"/>
                    </a:cubicBezTo>
                    <a:cubicBezTo>
                      <a:pt x="97" y="134"/>
                      <a:pt x="99" y="133"/>
                      <a:pt x="104" y="135"/>
                    </a:cubicBezTo>
                    <a:cubicBezTo>
                      <a:pt x="108" y="136"/>
                      <a:pt x="109" y="137"/>
                      <a:pt x="111" y="141"/>
                    </a:cubicBezTo>
                    <a:cubicBezTo>
                      <a:pt x="115" y="148"/>
                      <a:pt x="126" y="156"/>
                      <a:pt x="127" y="164"/>
                    </a:cubicBezTo>
                    <a:cubicBezTo>
                      <a:pt x="127" y="171"/>
                      <a:pt x="133" y="177"/>
                      <a:pt x="137" y="183"/>
                    </a:cubicBezTo>
                    <a:cubicBezTo>
                      <a:pt x="140" y="188"/>
                      <a:pt x="141" y="193"/>
                      <a:pt x="143" y="199"/>
                    </a:cubicBezTo>
                    <a:cubicBezTo>
                      <a:pt x="144" y="205"/>
                      <a:pt x="152" y="212"/>
                      <a:pt x="156" y="217"/>
                    </a:cubicBezTo>
                    <a:cubicBezTo>
                      <a:pt x="161" y="222"/>
                      <a:pt x="167" y="226"/>
                      <a:pt x="173" y="231"/>
                    </a:cubicBezTo>
                    <a:cubicBezTo>
                      <a:pt x="175" y="232"/>
                      <a:pt x="173" y="236"/>
                      <a:pt x="175" y="237"/>
                    </a:cubicBezTo>
                    <a:cubicBezTo>
                      <a:pt x="178" y="240"/>
                      <a:pt x="182" y="242"/>
                      <a:pt x="185" y="245"/>
                    </a:cubicBezTo>
                    <a:cubicBezTo>
                      <a:pt x="191" y="249"/>
                      <a:pt x="196" y="253"/>
                      <a:pt x="202" y="257"/>
                    </a:cubicBezTo>
                    <a:cubicBezTo>
                      <a:pt x="207" y="261"/>
                      <a:pt x="211" y="265"/>
                      <a:pt x="216" y="270"/>
                    </a:cubicBezTo>
                    <a:cubicBezTo>
                      <a:pt x="220" y="274"/>
                      <a:pt x="224" y="278"/>
                      <a:pt x="227" y="282"/>
                    </a:cubicBezTo>
                    <a:cubicBezTo>
                      <a:pt x="228" y="283"/>
                      <a:pt x="230" y="285"/>
                      <a:pt x="232" y="285"/>
                    </a:cubicBezTo>
                    <a:cubicBezTo>
                      <a:pt x="232" y="285"/>
                      <a:pt x="232" y="285"/>
                      <a:pt x="232" y="285"/>
                    </a:cubicBezTo>
                    <a:cubicBezTo>
                      <a:pt x="232" y="283"/>
                      <a:pt x="229" y="275"/>
                      <a:pt x="232" y="275"/>
                    </a:cubicBezTo>
                    <a:cubicBezTo>
                      <a:pt x="233" y="275"/>
                      <a:pt x="233" y="275"/>
                      <a:pt x="234" y="275"/>
                    </a:cubicBezTo>
                    <a:cubicBezTo>
                      <a:pt x="235" y="275"/>
                      <a:pt x="236" y="277"/>
                      <a:pt x="237" y="278"/>
                    </a:cubicBezTo>
                    <a:cubicBezTo>
                      <a:pt x="238" y="279"/>
                      <a:pt x="239" y="279"/>
                      <a:pt x="241" y="280"/>
                    </a:cubicBezTo>
                    <a:cubicBezTo>
                      <a:pt x="242" y="280"/>
                      <a:pt x="243" y="281"/>
                      <a:pt x="244" y="281"/>
                    </a:cubicBezTo>
                    <a:cubicBezTo>
                      <a:pt x="245" y="281"/>
                      <a:pt x="245" y="280"/>
                      <a:pt x="245" y="280"/>
                    </a:cubicBezTo>
                    <a:cubicBezTo>
                      <a:pt x="246" y="278"/>
                      <a:pt x="246" y="275"/>
                      <a:pt x="249" y="275"/>
                    </a:cubicBezTo>
                    <a:cubicBezTo>
                      <a:pt x="249" y="275"/>
                      <a:pt x="249" y="275"/>
                      <a:pt x="250" y="275"/>
                    </a:cubicBezTo>
                    <a:cubicBezTo>
                      <a:pt x="252" y="276"/>
                      <a:pt x="256" y="282"/>
                      <a:pt x="259" y="284"/>
                    </a:cubicBezTo>
                    <a:cubicBezTo>
                      <a:pt x="261" y="283"/>
                      <a:pt x="261" y="281"/>
                      <a:pt x="261" y="279"/>
                    </a:cubicBezTo>
                    <a:cubicBezTo>
                      <a:pt x="263" y="269"/>
                      <a:pt x="263" y="258"/>
                      <a:pt x="262" y="247"/>
                    </a:cubicBezTo>
                    <a:cubicBezTo>
                      <a:pt x="262" y="243"/>
                      <a:pt x="262" y="241"/>
                      <a:pt x="263" y="237"/>
                    </a:cubicBezTo>
                    <a:cubicBezTo>
                      <a:pt x="264" y="235"/>
                      <a:pt x="265" y="234"/>
                      <a:pt x="264" y="233"/>
                    </a:cubicBezTo>
                    <a:cubicBezTo>
                      <a:pt x="263" y="229"/>
                      <a:pt x="260" y="229"/>
                      <a:pt x="263" y="224"/>
                    </a:cubicBezTo>
                    <a:cubicBezTo>
                      <a:pt x="263" y="223"/>
                      <a:pt x="267" y="220"/>
                      <a:pt x="267" y="219"/>
                    </a:cubicBezTo>
                    <a:cubicBezTo>
                      <a:pt x="267" y="211"/>
                      <a:pt x="262" y="206"/>
                      <a:pt x="257" y="199"/>
                    </a:cubicBezTo>
                    <a:cubicBezTo>
                      <a:pt x="255" y="197"/>
                      <a:pt x="250" y="197"/>
                      <a:pt x="247" y="197"/>
                    </a:cubicBezTo>
                    <a:cubicBezTo>
                      <a:pt x="244" y="196"/>
                      <a:pt x="241" y="196"/>
                      <a:pt x="238" y="196"/>
                    </a:cubicBezTo>
                    <a:cubicBezTo>
                      <a:pt x="238" y="196"/>
                      <a:pt x="238" y="196"/>
                      <a:pt x="238" y="196"/>
                    </a:cubicBezTo>
                    <a:cubicBezTo>
                      <a:pt x="237" y="196"/>
                      <a:pt x="236" y="197"/>
                      <a:pt x="236" y="198"/>
                    </a:cubicBezTo>
                    <a:cubicBezTo>
                      <a:pt x="235" y="199"/>
                      <a:pt x="236" y="200"/>
                      <a:pt x="235" y="201"/>
                    </a:cubicBezTo>
                    <a:cubicBezTo>
                      <a:pt x="234" y="204"/>
                      <a:pt x="232" y="205"/>
                      <a:pt x="230" y="207"/>
                    </a:cubicBezTo>
                    <a:cubicBezTo>
                      <a:pt x="230" y="201"/>
                      <a:pt x="238" y="204"/>
                      <a:pt x="231" y="198"/>
                    </a:cubicBezTo>
                    <a:cubicBezTo>
                      <a:pt x="233" y="197"/>
                      <a:pt x="234" y="197"/>
                      <a:pt x="236" y="196"/>
                    </a:cubicBezTo>
                    <a:cubicBezTo>
                      <a:pt x="240" y="191"/>
                      <a:pt x="232" y="192"/>
                      <a:pt x="231" y="188"/>
                    </a:cubicBezTo>
                    <a:cubicBezTo>
                      <a:pt x="229" y="187"/>
                      <a:pt x="229" y="187"/>
                      <a:pt x="229" y="185"/>
                    </a:cubicBezTo>
                    <a:cubicBezTo>
                      <a:pt x="228" y="182"/>
                      <a:pt x="229" y="181"/>
                      <a:pt x="229" y="179"/>
                    </a:cubicBezTo>
                    <a:cubicBezTo>
                      <a:pt x="228" y="175"/>
                      <a:pt x="227" y="171"/>
                      <a:pt x="226" y="168"/>
                    </a:cubicBezTo>
                    <a:cubicBezTo>
                      <a:pt x="226" y="165"/>
                      <a:pt x="225" y="165"/>
                      <a:pt x="224" y="165"/>
                    </a:cubicBezTo>
                    <a:cubicBezTo>
                      <a:pt x="224" y="165"/>
                      <a:pt x="223" y="165"/>
                      <a:pt x="223" y="165"/>
                    </a:cubicBezTo>
                    <a:cubicBezTo>
                      <a:pt x="222" y="165"/>
                      <a:pt x="222" y="165"/>
                      <a:pt x="221" y="165"/>
                    </a:cubicBezTo>
                    <a:cubicBezTo>
                      <a:pt x="221" y="165"/>
                      <a:pt x="221" y="165"/>
                      <a:pt x="220" y="165"/>
                    </a:cubicBezTo>
                    <a:cubicBezTo>
                      <a:pt x="219" y="165"/>
                      <a:pt x="217" y="164"/>
                      <a:pt x="215" y="163"/>
                    </a:cubicBezTo>
                    <a:cubicBezTo>
                      <a:pt x="213" y="163"/>
                      <a:pt x="211" y="163"/>
                      <a:pt x="209" y="162"/>
                    </a:cubicBezTo>
                    <a:cubicBezTo>
                      <a:pt x="203" y="160"/>
                      <a:pt x="202" y="156"/>
                      <a:pt x="201" y="150"/>
                    </a:cubicBezTo>
                    <a:cubicBezTo>
                      <a:pt x="201" y="151"/>
                      <a:pt x="202" y="152"/>
                      <a:pt x="202" y="152"/>
                    </a:cubicBezTo>
                    <a:cubicBezTo>
                      <a:pt x="204" y="152"/>
                      <a:pt x="205" y="150"/>
                      <a:pt x="206" y="150"/>
                    </a:cubicBezTo>
                    <a:cubicBezTo>
                      <a:pt x="204" y="148"/>
                      <a:pt x="203" y="149"/>
                      <a:pt x="200" y="148"/>
                    </a:cubicBezTo>
                    <a:cubicBezTo>
                      <a:pt x="202" y="147"/>
                      <a:pt x="203" y="146"/>
                      <a:pt x="204" y="144"/>
                    </a:cubicBezTo>
                    <a:cubicBezTo>
                      <a:pt x="202" y="145"/>
                      <a:pt x="201" y="145"/>
                      <a:pt x="200" y="145"/>
                    </a:cubicBezTo>
                    <a:cubicBezTo>
                      <a:pt x="199" y="145"/>
                      <a:pt x="199" y="145"/>
                      <a:pt x="199" y="145"/>
                    </a:cubicBezTo>
                    <a:cubicBezTo>
                      <a:pt x="202" y="144"/>
                      <a:pt x="202" y="144"/>
                      <a:pt x="205" y="142"/>
                    </a:cubicBezTo>
                    <a:cubicBezTo>
                      <a:pt x="205" y="141"/>
                      <a:pt x="206" y="140"/>
                      <a:pt x="206" y="139"/>
                    </a:cubicBezTo>
                    <a:cubicBezTo>
                      <a:pt x="207" y="140"/>
                      <a:pt x="207" y="140"/>
                      <a:pt x="207" y="140"/>
                    </a:cubicBezTo>
                    <a:cubicBezTo>
                      <a:pt x="208" y="140"/>
                      <a:pt x="210" y="139"/>
                      <a:pt x="212" y="139"/>
                    </a:cubicBezTo>
                    <a:cubicBezTo>
                      <a:pt x="211" y="137"/>
                      <a:pt x="211" y="131"/>
                      <a:pt x="208" y="131"/>
                    </a:cubicBezTo>
                    <a:cubicBezTo>
                      <a:pt x="208" y="131"/>
                      <a:pt x="207" y="131"/>
                      <a:pt x="207" y="131"/>
                    </a:cubicBezTo>
                    <a:cubicBezTo>
                      <a:pt x="207" y="130"/>
                      <a:pt x="204" y="127"/>
                      <a:pt x="202" y="127"/>
                    </a:cubicBezTo>
                    <a:cubicBezTo>
                      <a:pt x="202" y="126"/>
                      <a:pt x="201" y="126"/>
                      <a:pt x="201" y="126"/>
                    </a:cubicBezTo>
                    <a:cubicBezTo>
                      <a:pt x="197" y="126"/>
                      <a:pt x="194" y="128"/>
                      <a:pt x="191" y="130"/>
                    </a:cubicBezTo>
                    <a:cubicBezTo>
                      <a:pt x="188" y="132"/>
                      <a:pt x="185" y="135"/>
                      <a:pt x="182" y="135"/>
                    </a:cubicBezTo>
                    <a:cubicBezTo>
                      <a:pt x="181" y="135"/>
                      <a:pt x="179" y="134"/>
                      <a:pt x="178" y="133"/>
                    </a:cubicBezTo>
                    <a:cubicBezTo>
                      <a:pt x="180" y="134"/>
                      <a:pt x="181" y="134"/>
                      <a:pt x="181" y="134"/>
                    </a:cubicBezTo>
                    <a:cubicBezTo>
                      <a:pt x="182" y="134"/>
                      <a:pt x="183" y="134"/>
                      <a:pt x="185" y="133"/>
                    </a:cubicBezTo>
                    <a:cubicBezTo>
                      <a:pt x="186" y="132"/>
                      <a:pt x="188" y="131"/>
                      <a:pt x="190" y="131"/>
                    </a:cubicBezTo>
                    <a:cubicBezTo>
                      <a:pt x="190" y="130"/>
                      <a:pt x="194" y="129"/>
                      <a:pt x="194" y="128"/>
                    </a:cubicBezTo>
                    <a:cubicBezTo>
                      <a:pt x="194" y="127"/>
                      <a:pt x="191" y="122"/>
                      <a:pt x="190" y="122"/>
                    </a:cubicBezTo>
                    <a:cubicBezTo>
                      <a:pt x="187" y="122"/>
                      <a:pt x="184" y="121"/>
                      <a:pt x="181" y="120"/>
                    </a:cubicBezTo>
                    <a:cubicBezTo>
                      <a:pt x="178" y="120"/>
                      <a:pt x="178" y="119"/>
                      <a:pt x="176" y="118"/>
                    </a:cubicBezTo>
                    <a:cubicBezTo>
                      <a:pt x="173" y="115"/>
                      <a:pt x="172" y="114"/>
                      <a:pt x="171" y="110"/>
                    </a:cubicBezTo>
                    <a:cubicBezTo>
                      <a:pt x="170" y="106"/>
                      <a:pt x="166" y="103"/>
                      <a:pt x="164" y="101"/>
                    </a:cubicBezTo>
                    <a:cubicBezTo>
                      <a:pt x="161" y="98"/>
                      <a:pt x="158" y="98"/>
                      <a:pt x="155" y="97"/>
                    </a:cubicBezTo>
                    <a:cubicBezTo>
                      <a:pt x="152" y="97"/>
                      <a:pt x="153" y="96"/>
                      <a:pt x="151" y="94"/>
                    </a:cubicBezTo>
                    <a:cubicBezTo>
                      <a:pt x="150" y="93"/>
                      <a:pt x="149" y="91"/>
                      <a:pt x="148" y="89"/>
                    </a:cubicBezTo>
                    <a:cubicBezTo>
                      <a:pt x="145" y="85"/>
                      <a:pt x="144" y="85"/>
                      <a:pt x="139" y="84"/>
                    </a:cubicBezTo>
                    <a:cubicBezTo>
                      <a:pt x="139" y="84"/>
                      <a:pt x="139" y="84"/>
                      <a:pt x="139" y="84"/>
                    </a:cubicBezTo>
                    <a:cubicBezTo>
                      <a:pt x="137" y="84"/>
                      <a:pt x="137" y="85"/>
                      <a:pt x="138" y="87"/>
                    </a:cubicBezTo>
                    <a:cubicBezTo>
                      <a:pt x="139" y="90"/>
                      <a:pt x="141" y="90"/>
                      <a:pt x="141" y="94"/>
                    </a:cubicBezTo>
                    <a:cubicBezTo>
                      <a:pt x="140" y="93"/>
                      <a:pt x="140" y="91"/>
                      <a:pt x="139" y="90"/>
                    </a:cubicBezTo>
                    <a:cubicBezTo>
                      <a:pt x="137" y="88"/>
                      <a:pt x="134" y="87"/>
                      <a:pt x="131" y="86"/>
                    </a:cubicBezTo>
                    <a:cubicBezTo>
                      <a:pt x="130" y="85"/>
                      <a:pt x="129" y="84"/>
                      <a:pt x="128" y="83"/>
                    </a:cubicBezTo>
                    <a:cubicBezTo>
                      <a:pt x="126" y="79"/>
                      <a:pt x="127" y="75"/>
                      <a:pt x="121" y="75"/>
                    </a:cubicBezTo>
                    <a:cubicBezTo>
                      <a:pt x="121" y="76"/>
                      <a:pt x="121" y="76"/>
                      <a:pt x="121" y="77"/>
                    </a:cubicBezTo>
                    <a:cubicBezTo>
                      <a:pt x="120" y="76"/>
                      <a:pt x="119" y="75"/>
                      <a:pt x="118" y="74"/>
                    </a:cubicBezTo>
                    <a:cubicBezTo>
                      <a:pt x="117" y="70"/>
                      <a:pt x="119" y="69"/>
                      <a:pt x="115" y="66"/>
                    </a:cubicBezTo>
                    <a:cubicBezTo>
                      <a:pt x="109" y="61"/>
                      <a:pt x="104" y="56"/>
                      <a:pt x="97" y="52"/>
                    </a:cubicBezTo>
                    <a:cubicBezTo>
                      <a:pt x="96" y="51"/>
                      <a:pt x="94" y="50"/>
                      <a:pt x="91" y="49"/>
                    </a:cubicBezTo>
                    <a:cubicBezTo>
                      <a:pt x="92" y="50"/>
                      <a:pt x="92" y="50"/>
                      <a:pt x="92" y="51"/>
                    </a:cubicBezTo>
                    <a:cubicBezTo>
                      <a:pt x="92" y="54"/>
                      <a:pt x="89" y="57"/>
                      <a:pt x="85" y="57"/>
                    </a:cubicBezTo>
                    <a:cubicBezTo>
                      <a:pt x="81" y="57"/>
                      <a:pt x="78" y="54"/>
                      <a:pt x="78" y="51"/>
                    </a:cubicBezTo>
                    <a:cubicBezTo>
                      <a:pt x="78" y="47"/>
                      <a:pt x="81" y="44"/>
                      <a:pt x="85" y="44"/>
                    </a:cubicBezTo>
                    <a:cubicBezTo>
                      <a:pt x="85" y="44"/>
                      <a:pt x="85" y="44"/>
                      <a:pt x="85" y="44"/>
                    </a:cubicBezTo>
                    <a:cubicBezTo>
                      <a:pt x="84" y="42"/>
                      <a:pt x="82" y="41"/>
                      <a:pt x="79" y="39"/>
                    </a:cubicBezTo>
                    <a:cubicBezTo>
                      <a:pt x="78" y="39"/>
                      <a:pt x="76" y="37"/>
                      <a:pt x="74" y="37"/>
                    </a:cubicBezTo>
                    <a:cubicBezTo>
                      <a:pt x="74" y="37"/>
                      <a:pt x="73" y="38"/>
                      <a:pt x="73" y="38"/>
                    </a:cubicBezTo>
                    <a:cubicBezTo>
                      <a:pt x="74" y="36"/>
                      <a:pt x="76" y="34"/>
                      <a:pt x="75" y="33"/>
                    </a:cubicBezTo>
                    <a:cubicBezTo>
                      <a:pt x="74" y="31"/>
                      <a:pt x="72" y="28"/>
                      <a:pt x="70" y="27"/>
                    </a:cubicBezTo>
                    <a:cubicBezTo>
                      <a:pt x="67" y="27"/>
                      <a:pt x="69" y="23"/>
                      <a:pt x="68" y="21"/>
                    </a:cubicBezTo>
                    <a:cubicBezTo>
                      <a:pt x="66" y="17"/>
                      <a:pt x="61" y="14"/>
                      <a:pt x="57" y="11"/>
                    </a:cubicBezTo>
                    <a:cubicBezTo>
                      <a:pt x="57" y="10"/>
                      <a:pt x="56" y="10"/>
                      <a:pt x="56" y="10"/>
                    </a:cubicBezTo>
                    <a:cubicBezTo>
                      <a:pt x="54" y="10"/>
                      <a:pt x="53" y="11"/>
                      <a:pt x="51" y="11"/>
                    </a:cubicBezTo>
                    <a:cubicBezTo>
                      <a:pt x="50" y="11"/>
                      <a:pt x="49" y="12"/>
                      <a:pt x="49" y="12"/>
                    </a:cubicBezTo>
                    <a:cubicBezTo>
                      <a:pt x="48" y="12"/>
                      <a:pt x="47" y="11"/>
                      <a:pt x="46" y="10"/>
                    </a:cubicBezTo>
                    <a:cubicBezTo>
                      <a:pt x="44" y="9"/>
                      <a:pt x="42" y="9"/>
                      <a:pt x="40" y="9"/>
                    </a:cubicBezTo>
                    <a:cubicBezTo>
                      <a:pt x="38" y="9"/>
                      <a:pt x="35" y="10"/>
                      <a:pt x="33" y="10"/>
                    </a:cubicBezTo>
                    <a:cubicBezTo>
                      <a:pt x="32" y="10"/>
                      <a:pt x="32" y="10"/>
                      <a:pt x="31" y="10"/>
                    </a:cubicBezTo>
                    <a:cubicBezTo>
                      <a:pt x="23" y="10"/>
                      <a:pt x="17"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Freeform 163"/>
              <p:cNvSpPr/>
              <p:nvPr/>
            </p:nvSpPr>
            <p:spPr bwMode="auto">
              <a:xfrm>
                <a:off x="6117" y="4374"/>
                <a:ext cx="28" cy="12"/>
              </a:xfrm>
              <a:custGeom>
                <a:gdLst>
                  <a:gd name="T0" fmla="*/ 0 w 12"/>
                  <a:gd name="T1" fmla="*/ 0 h 5"/>
                  <a:gd name="T2" fmla="*/ 8 w 12"/>
                  <a:gd name="T3" fmla="*/ 5 h 5"/>
                  <a:gd name="T4" fmla="*/ 0 w 12"/>
                  <a:gd name="T5" fmla="*/ 0 h 5"/>
                </a:gdLst>
                <a:cxnLst>
                  <a:cxn ang="0">
                    <a:pos x="T0" y="T1"/>
                  </a:cxn>
                  <a:cxn ang="0">
                    <a:pos x="T2" y="T3"/>
                  </a:cxn>
                  <a:cxn ang="0">
                    <a:pos x="T4" y="T5"/>
                  </a:cxn>
                </a:cxnLst>
                <a:rect l="0" t="0" r="r" b="b"/>
                <a:pathLst>
                  <a:path w="12" h="5">
                    <a:moveTo>
                      <a:pt x="0" y="0"/>
                    </a:moveTo>
                    <a:cubicBezTo>
                      <a:pt x="3" y="2"/>
                      <a:pt x="5" y="3"/>
                      <a:pt x="8" y="5"/>
                    </a:cubicBezTo>
                    <a:cubicBezTo>
                      <a:pt x="1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6" name="Freeform 164"/>
              <p:cNvSpPr/>
              <p:nvPr/>
            </p:nvSpPr>
            <p:spPr bwMode="auto">
              <a:xfrm>
                <a:off x="5651" y="4209"/>
                <a:ext cx="90" cy="180"/>
              </a:xfrm>
              <a:custGeom>
                <a:gdLst>
                  <a:gd name="T0" fmla="*/ 17 w 38"/>
                  <a:gd name="T1" fmla="*/ 0 h 76"/>
                  <a:gd name="T2" fmla="*/ 9 w 38"/>
                  <a:gd name="T3" fmla="*/ 6 h 76"/>
                  <a:gd name="T4" fmla="*/ 5 w 38"/>
                  <a:gd name="T5" fmla="*/ 12 h 76"/>
                  <a:gd name="T6" fmla="*/ 2 w 38"/>
                  <a:gd name="T7" fmla="*/ 23 h 76"/>
                  <a:gd name="T8" fmla="*/ 2 w 38"/>
                  <a:gd name="T9" fmla="*/ 29 h 76"/>
                  <a:gd name="T10" fmla="*/ 5 w 38"/>
                  <a:gd name="T11" fmla="*/ 33 h 76"/>
                  <a:gd name="T12" fmla="*/ 4 w 38"/>
                  <a:gd name="T13" fmla="*/ 38 h 76"/>
                  <a:gd name="T14" fmla="*/ 8 w 38"/>
                  <a:gd name="T15" fmla="*/ 47 h 76"/>
                  <a:gd name="T16" fmla="*/ 7 w 38"/>
                  <a:gd name="T17" fmla="*/ 59 h 76"/>
                  <a:gd name="T18" fmla="*/ 15 w 38"/>
                  <a:gd name="T19" fmla="*/ 69 h 76"/>
                  <a:gd name="T20" fmla="*/ 26 w 38"/>
                  <a:gd name="T21" fmla="*/ 76 h 76"/>
                  <a:gd name="T22" fmla="*/ 14 w 38"/>
                  <a:gd name="T23" fmla="*/ 56 h 76"/>
                  <a:gd name="T24" fmla="*/ 13 w 38"/>
                  <a:gd name="T25" fmla="*/ 48 h 76"/>
                  <a:gd name="T26" fmla="*/ 15 w 38"/>
                  <a:gd name="T27" fmla="*/ 43 h 76"/>
                  <a:gd name="T28" fmla="*/ 15 w 38"/>
                  <a:gd name="T29" fmla="*/ 43 h 76"/>
                  <a:gd name="T30" fmla="*/ 31 w 38"/>
                  <a:gd name="T31" fmla="*/ 47 h 76"/>
                  <a:gd name="T32" fmla="*/ 38 w 38"/>
                  <a:gd name="T33" fmla="*/ 49 h 76"/>
                  <a:gd name="T34" fmla="*/ 27 w 38"/>
                  <a:gd name="T35" fmla="*/ 39 h 76"/>
                  <a:gd name="T36" fmla="*/ 24 w 38"/>
                  <a:gd name="T37" fmla="*/ 38 h 76"/>
                  <a:gd name="T38" fmla="*/ 30 w 38"/>
                  <a:gd name="T39" fmla="*/ 29 h 76"/>
                  <a:gd name="T40" fmla="*/ 33 w 38"/>
                  <a:gd name="T41" fmla="*/ 24 h 76"/>
                  <a:gd name="T42" fmla="*/ 34 w 38"/>
                  <a:gd name="T43" fmla="*/ 21 h 76"/>
                  <a:gd name="T44" fmla="*/ 33 w 38"/>
                  <a:gd name="T45" fmla="*/ 16 h 76"/>
                  <a:gd name="T46" fmla="*/ 31 w 38"/>
                  <a:gd name="T47" fmla="*/ 16 h 76"/>
                  <a:gd name="T48" fmla="*/ 25 w 38"/>
                  <a:gd name="T49" fmla="*/ 17 h 76"/>
                  <a:gd name="T50" fmla="*/ 20 w 38"/>
                  <a:gd name="T51" fmla="*/ 20 h 76"/>
                  <a:gd name="T52" fmla="*/ 18 w 38"/>
                  <a:gd name="T53" fmla="*/ 23 h 76"/>
                  <a:gd name="T54" fmla="*/ 20 w 38"/>
                  <a:gd name="T55" fmla="*/ 26 h 76"/>
                  <a:gd name="T56" fmla="*/ 14 w 38"/>
                  <a:gd name="T57" fmla="*/ 29 h 76"/>
                  <a:gd name="T58" fmla="*/ 12 w 38"/>
                  <a:gd name="T59" fmla="*/ 34 h 76"/>
                  <a:gd name="T60" fmla="*/ 11 w 38"/>
                  <a:gd name="T61" fmla="*/ 34 h 76"/>
                  <a:gd name="T62" fmla="*/ 7 w 38"/>
                  <a:gd name="T63" fmla="*/ 31 h 76"/>
                  <a:gd name="T64" fmla="*/ 11 w 38"/>
                  <a:gd name="T65" fmla="*/ 26 h 76"/>
                  <a:gd name="T66" fmla="*/ 12 w 38"/>
                  <a:gd name="T67" fmla="*/ 26 h 76"/>
                  <a:gd name="T68" fmla="*/ 12 w 38"/>
                  <a:gd name="T69" fmla="*/ 26 h 76"/>
                  <a:gd name="T70" fmla="*/ 12 w 38"/>
                  <a:gd name="T71" fmla="*/ 26 h 76"/>
                  <a:gd name="T72" fmla="*/ 13 w 38"/>
                  <a:gd name="T73" fmla="*/ 26 h 76"/>
                  <a:gd name="T74" fmla="*/ 13 w 38"/>
                  <a:gd name="T75" fmla="*/ 24 h 76"/>
                  <a:gd name="T76" fmla="*/ 15 w 38"/>
                  <a:gd name="T77" fmla="*/ 22 h 76"/>
                  <a:gd name="T78" fmla="*/ 14 w 38"/>
                  <a:gd name="T79" fmla="*/ 10 h 76"/>
                  <a:gd name="T80" fmla="*/ 14 w 38"/>
                  <a:gd name="T81" fmla="*/ 5 h 76"/>
                  <a:gd name="T82" fmla="*/ 17 w 38"/>
                  <a:gd name="T83" fmla="*/ 0 h 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76">
                    <a:moveTo>
                      <a:pt x="17" y="0"/>
                    </a:moveTo>
                    <a:cubicBezTo>
                      <a:pt x="14" y="2"/>
                      <a:pt x="11" y="4"/>
                      <a:pt x="9" y="6"/>
                    </a:cubicBezTo>
                    <a:cubicBezTo>
                      <a:pt x="7" y="8"/>
                      <a:pt x="5" y="10"/>
                      <a:pt x="5" y="12"/>
                    </a:cubicBezTo>
                    <a:cubicBezTo>
                      <a:pt x="3" y="16"/>
                      <a:pt x="3" y="19"/>
                      <a:pt x="2" y="23"/>
                    </a:cubicBezTo>
                    <a:cubicBezTo>
                      <a:pt x="1" y="25"/>
                      <a:pt x="0" y="26"/>
                      <a:pt x="2" y="29"/>
                    </a:cubicBezTo>
                    <a:cubicBezTo>
                      <a:pt x="2" y="30"/>
                      <a:pt x="5" y="32"/>
                      <a:pt x="5" y="33"/>
                    </a:cubicBezTo>
                    <a:cubicBezTo>
                      <a:pt x="6" y="34"/>
                      <a:pt x="4" y="36"/>
                      <a:pt x="4" y="38"/>
                    </a:cubicBezTo>
                    <a:cubicBezTo>
                      <a:pt x="4" y="42"/>
                      <a:pt x="8" y="44"/>
                      <a:pt x="8" y="47"/>
                    </a:cubicBezTo>
                    <a:cubicBezTo>
                      <a:pt x="8" y="51"/>
                      <a:pt x="6" y="56"/>
                      <a:pt x="7" y="59"/>
                    </a:cubicBezTo>
                    <a:cubicBezTo>
                      <a:pt x="8" y="63"/>
                      <a:pt x="13" y="67"/>
                      <a:pt x="15" y="69"/>
                    </a:cubicBezTo>
                    <a:cubicBezTo>
                      <a:pt x="18" y="73"/>
                      <a:pt x="22" y="74"/>
                      <a:pt x="26" y="76"/>
                    </a:cubicBezTo>
                    <a:cubicBezTo>
                      <a:pt x="22" y="70"/>
                      <a:pt x="18" y="63"/>
                      <a:pt x="14" y="56"/>
                    </a:cubicBezTo>
                    <a:cubicBezTo>
                      <a:pt x="12" y="53"/>
                      <a:pt x="13" y="51"/>
                      <a:pt x="13" y="48"/>
                    </a:cubicBezTo>
                    <a:cubicBezTo>
                      <a:pt x="13" y="47"/>
                      <a:pt x="12" y="43"/>
                      <a:pt x="15" y="43"/>
                    </a:cubicBezTo>
                    <a:cubicBezTo>
                      <a:pt x="15" y="43"/>
                      <a:pt x="15" y="43"/>
                      <a:pt x="15" y="43"/>
                    </a:cubicBezTo>
                    <a:cubicBezTo>
                      <a:pt x="21" y="44"/>
                      <a:pt x="26" y="45"/>
                      <a:pt x="31" y="47"/>
                    </a:cubicBezTo>
                    <a:cubicBezTo>
                      <a:pt x="33" y="47"/>
                      <a:pt x="36" y="47"/>
                      <a:pt x="38" y="49"/>
                    </a:cubicBezTo>
                    <a:cubicBezTo>
                      <a:pt x="35" y="45"/>
                      <a:pt x="32" y="41"/>
                      <a:pt x="27" y="39"/>
                    </a:cubicBezTo>
                    <a:cubicBezTo>
                      <a:pt x="26" y="39"/>
                      <a:pt x="25" y="39"/>
                      <a:pt x="24" y="38"/>
                    </a:cubicBezTo>
                    <a:cubicBezTo>
                      <a:pt x="17" y="34"/>
                      <a:pt x="27" y="31"/>
                      <a:pt x="30" y="29"/>
                    </a:cubicBezTo>
                    <a:cubicBezTo>
                      <a:pt x="33" y="27"/>
                      <a:pt x="32" y="27"/>
                      <a:pt x="33" y="24"/>
                    </a:cubicBezTo>
                    <a:cubicBezTo>
                      <a:pt x="33" y="23"/>
                      <a:pt x="34" y="22"/>
                      <a:pt x="34" y="21"/>
                    </a:cubicBezTo>
                    <a:cubicBezTo>
                      <a:pt x="34" y="19"/>
                      <a:pt x="31" y="17"/>
                      <a:pt x="33" y="16"/>
                    </a:cubicBezTo>
                    <a:cubicBezTo>
                      <a:pt x="33" y="16"/>
                      <a:pt x="32" y="16"/>
                      <a:pt x="31" y="16"/>
                    </a:cubicBezTo>
                    <a:cubicBezTo>
                      <a:pt x="29" y="16"/>
                      <a:pt x="26" y="16"/>
                      <a:pt x="25" y="17"/>
                    </a:cubicBezTo>
                    <a:cubicBezTo>
                      <a:pt x="23" y="17"/>
                      <a:pt x="21" y="19"/>
                      <a:pt x="20" y="20"/>
                    </a:cubicBezTo>
                    <a:cubicBezTo>
                      <a:pt x="18" y="23"/>
                      <a:pt x="18" y="23"/>
                      <a:pt x="18" y="23"/>
                    </a:cubicBezTo>
                    <a:cubicBezTo>
                      <a:pt x="18" y="24"/>
                      <a:pt x="21" y="24"/>
                      <a:pt x="20" y="26"/>
                    </a:cubicBezTo>
                    <a:cubicBezTo>
                      <a:pt x="18" y="28"/>
                      <a:pt x="16" y="26"/>
                      <a:pt x="14" y="29"/>
                    </a:cubicBezTo>
                    <a:cubicBezTo>
                      <a:pt x="13" y="30"/>
                      <a:pt x="14" y="33"/>
                      <a:pt x="12" y="34"/>
                    </a:cubicBezTo>
                    <a:cubicBezTo>
                      <a:pt x="12" y="34"/>
                      <a:pt x="11" y="34"/>
                      <a:pt x="11" y="34"/>
                    </a:cubicBezTo>
                    <a:cubicBezTo>
                      <a:pt x="9" y="34"/>
                      <a:pt x="7" y="33"/>
                      <a:pt x="7" y="31"/>
                    </a:cubicBezTo>
                    <a:cubicBezTo>
                      <a:pt x="8" y="29"/>
                      <a:pt x="9" y="27"/>
                      <a:pt x="11" y="26"/>
                    </a:cubicBezTo>
                    <a:cubicBezTo>
                      <a:pt x="11" y="26"/>
                      <a:pt x="11" y="26"/>
                      <a:pt x="12" y="26"/>
                    </a:cubicBezTo>
                    <a:cubicBezTo>
                      <a:pt x="12" y="26"/>
                      <a:pt x="12" y="26"/>
                      <a:pt x="12" y="26"/>
                    </a:cubicBezTo>
                    <a:cubicBezTo>
                      <a:pt x="12" y="26"/>
                      <a:pt x="12" y="26"/>
                      <a:pt x="12" y="26"/>
                    </a:cubicBezTo>
                    <a:cubicBezTo>
                      <a:pt x="12" y="26"/>
                      <a:pt x="13" y="26"/>
                      <a:pt x="13" y="26"/>
                    </a:cubicBezTo>
                    <a:cubicBezTo>
                      <a:pt x="13" y="26"/>
                      <a:pt x="13" y="25"/>
                      <a:pt x="13" y="24"/>
                    </a:cubicBezTo>
                    <a:cubicBezTo>
                      <a:pt x="14" y="24"/>
                      <a:pt x="15" y="23"/>
                      <a:pt x="15" y="22"/>
                    </a:cubicBezTo>
                    <a:cubicBezTo>
                      <a:pt x="17" y="18"/>
                      <a:pt x="16" y="15"/>
                      <a:pt x="14" y="10"/>
                    </a:cubicBezTo>
                    <a:cubicBezTo>
                      <a:pt x="12" y="7"/>
                      <a:pt x="13" y="8"/>
                      <a:pt x="14" y="5"/>
                    </a:cubicBezTo>
                    <a:cubicBezTo>
                      <a:pt x="15" y="4"/>
                      <a:pt x="17" y="2"/>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165"/>
              <p:cNvSpPr/>
              <p:nvPr/>
            </p:nvSpPr>
            <p:spPr bwMode="auto">
              <a:xfrm>
                <a:off x="4571" y="4786"/>
                <a:ext cx="14" cy="4"/>
              </a:xfrm>
              <a:custGeom>
                <a:gdLst>
                  <a:gd name="T0" fmla="*/ 0 w 6"/>
                  <a:gd name="T1" fmla="*/ 0 h 2"/>
                  <a:gd name="T2" fmla="*/ 6 w 6"/>
                  <a:gd name="T3" fmla="*/ 2 h 2"/>
                  <a:gd name="T4" fmla="*/ 0 w 6"/>
                  <a:gd name="T5" fmla="*/ 0 h 2"/>
                </a:gdLst>
                <a:cxnLst>
                  <a:cxn ang="0">
                    <a:pos x="T0" y="T1"/>
                  </a:cxn>
                  <a:cxn ang="0">
                    <a:pos x="T2" y="T3"/>
                  </a:cxn>
                  <a:cxn ang="0">
                    <a:pos x="T4" y="T5"/>
                  </a:cxn>
                </a:cxnLst>
                <a:rect l="0" t="0" r="r" b="b"/>
                <a:pathLst>
                  <a:path w="6" h="2">
                    <a:moveTo>
                      <a:pt x="0" y="0"/>
                    </a:moveTo>
                    <a:cubicBezTo>
                      <a:pt x="2" y="1"/>
                      <a:pt x="4" y="2"/>
                      <a:pt x="6" y="2"/>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Freeform 166"/>
              <p:cNvSpPr/>
              <p:nvPr/>
            </p:nvSpPr>
            <p:spPr bwMode="auto">
              <a:xfrm>
                <a:off x="5956" y="4663"/>
                <a:ext cx="7" cy="21"/>
              </a:xfrm>
              <a:custGeom>
                <a:gdLst>
                  <a:gd name="T0" fmla="*/ 0 w 3"/>
                  <a:gd name="T1" fmla="*/ 0 h 9"/>
                  <a:gd name="T2" fmla="*/ 3 w 3"/>
                  <a:gd name="T3" fmla="*/ 9 h 9"/>
                  <a:gd name="T4" fmla="*/ 3 w 3"/>
                  <a:gd name="T5" fmla="*/ 2 h 9"/>
                  <a:gd name="T6" fmla="*/ 0 w 3"/>
                  <a:gd name="T7" fmla="*/ 0 h 9"/>
                </a:gdLst>
                <a:cxnLst>
                  <a:cxn ang="0">
                    <a:pos x="T0" y="T1"/>
                  </a:cxn>
                  <a:cxn ang="0">
                    <a:pos x="T2" y="T3"/>
                  </a:cxn>
                  <a:cxn ang="0">
                    <a:pos x="T4" y="T5"/>
                  </a:cxn>
                  <a:cxn ang="0">
                    <a:pos x="T6" y="T7"/>
                  </a:cxn>
                </a:cxnLst>
                <a:rect l="0" t="0" r="r" b="b"/>
                <a:pathLst>
                  <a:path w="3" h="9">
                    <a:moveTo>
                      <a:pt x="0" y="0"/>
                    </a:moveTo>
                    <a:cubicBezTo>
                      <a:pt x="1" y="3"/>
                      <a:pt x="1" y="8"/>
                      <a:pt x="3" y="9"/>
                    </a:cubicBezTo>
                    <a:cubicBezTo>
                      <a:pt x="3" y="7"/>
                      <a:pt x="3" y="4"/>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167"/>
              <p:cNvSpPr/>
              <p:nvPr/>
            </p:nvSpPr>
            <p:spPr bwMode="auto">
              <a:xfrm>
                <a:off x="3973" y="4391"/>
                <a:ext cx="43" cy="52"/>
              </a:xfrm>
              <a:custGeom>
                <a:gdLst>
                  <a:gd name="T0" fmla="*/ 7 w 18"/>
                  <a:gd name="T1" fmla="*/ 0 h 22"/>
                  <a:gd name="T2" fmla="*/ 3 w 18"/>
                  <a:gd name="T3" fmla="*/ 2 h 22"/>
                  <a:gd name="T4" fmla="*/ 5 w 18"/>
                  <a:gd name="T5" fmla="*/ 13 h 22"/>
                  <a:gd name="T6" fmla="*/ 14 w 18"/>
                  <a:gd name="T7" fmla="*/ 22 h 22"/>
                  <a:gd name="T8" fmla="*/ 16 w 18"/>
                  <a:gd name="T9" fmla="*/ 12 h 22"/>
                  <a:gd name="T10" fmla="*/ 10 w 18"/>
                  <a:gd name="T11" fmla="*/ 1 h 22"/>
                  <a:gd name="T12" fmla="*/ 7 w 18"/>
                  <a:gd name="T13" fmla="*/ 0 h 22"/>
                </a:gdLst>
                <a:cxnLst>
                  <a:cxn ang="0">
                    <a:pos x="T0" y="T1"/>
                  </a:cxn>
                  <a:cxn ang="0">
                    <a:pos x="T2" y="T3"/>
                  </a:cxn>
                  <a:cxn ang="0">
                    <a:pos x="T4" y="T5"/>
                  </a:cxn>
                  <a:cxn ang="0">
                    <a:pos x="T6" y="T7"/>
                  </a:cxn>
                  <a:cxn ang="0">
                    <a:pos x="T8" y="T9"/>
                  </a:cxn>
                  <a:cxn ang="0">
                    <a:pos x="T10" y="T11"/>
                  </a:cxn>
                  <a:cxn ang="0">
                    <a:pos x="T12" y="T13"/>
                  </a:cxn>
                </a:cxnLst>
                <a:rect l="0" t="0" r="r" b="b"/>
                <a:pathLst>
                  <a:path w="18" h="22">
                    <a:moveTo>
                      <a:pt x="7" y="0"/>
                    </a:moveTo>
                    <a:cubicBezTo>
                      <a:pt x="6" y="0"/>
                      <a:pt x="3" y="1"/>
                      <a:pt x="3" y="2"/>
                    </a:cubicBezTo>
                    <a:cubicBezTo>
                      <a:pt x="0" y="6"/>
                      <a:pt x="3" y="9"/>
                      <a:pt x="5" y="13"/>
                    </a:cubicBezTo>
                    <a:cubicBezTo>
                      <a:pt x="8" y="17"/>
                      <a:pt x="9" y="20"/>
                      <a:pt x="14" y="22"/>
                    </a:cubicBezTo>
                    <a:cubicBezTo>
                      <a:pt x="18" y="17"/>
                      <a:pt x="18" y="17"/>
                      <a:pt x="16" y="12"/>
                    </a:cubicBezTo>
                    <a:cubicBezTo>
                      <a:pt x="14" y="9"/>
                      <a:pt x="12" y="5"/>
                      <a:pt x="10" y="1"/>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0" name="Freeform 168"/>
              <p:cNvSpPr/>
              <p:nvPr/>
            </p:nvSpPr>
            <p:spPr bwMode="auto">
              <a:xfrm>
                <a:off x="5559" y="4779"/>
                <a:ext cx="64" cy="26"/>
              </a:xfrm>
              <a:custGeom>
                <a:gdLst>
                  <a:gd name="T0" fmla="*/ 19 w 27"/>
                  <a:gd name="T1" fmla="*/ 0 h 11"/>
                  <a:gd name="T2" fmla="*/ 18 w 27"/>
                  <a:gd name="T3" fmla="*/ 0 h 11"/>
                  <a:gd name="T4" fmla="*/ 15 w 27"/>
                  <a:gd name="T5" fmla="*/ 2 h 11"/>
                  <a:gd name="T6" fmla="*/ 9 w 27"/>
                  <a:gd name="T7" fmla="*/ 3 h 11"/>
                  <a:gd name="T8" fmla="*/ 9 w 27"/>
                  <a:gd name="T9" fmla="*/ 3 h 11"/>
                  <a:gd name="T10" fmla="*/ 5 w 27"/>
                  <a:gd name="T11" fmla="*/ 3 h 11"/>
                  <a:gd name="T12" fmla="*/ 3 w 27"/>
                  <a:gd name="T13" fmla="*/ 4 h 11"/>
                  <a:gd name="T14" fmla="*/ 0 w 27"/>
                  <a:gd name="T15" fmla="*/ 11 h 11"/>
                  <a:gd name="T16" fmla="*/ 8 w 27"/>
                  <a:gd name="T17" fmla="*/ 8 h 11"/>
                  <a:gd name="T18" fmla="*/ 12 w 27"/>
                  <a:gd name="T19" fmla="*/ 9 h 11"/>
                  <a:gd name="T20" fmla="*/ 15 w 27"/>
                  <a:gd name="T21" fmla="*/ 9 h 11"/>
                  <a:gd name="T22" fmla="*/ 23 w 27"/>
                  <a:gd name="T23" fmla="*/ 5 h 11"/>
                  <a:gd name="T24" fmla="*/ 21 w 27"/>
                  <a:gd name="T25" fmla="*/ 1 h 11"/>
                  <a:gd name="T26" fmla="*/ 19 w 27"/>
                  <a:gd name="T2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1">
                    <a:moveTo>
                      <a:pt x="19" y="0"/>
                    </a:moveTo>
                    <a:cubicBezTo>
                      <a:pt x="19" y="0"/>
                      <a:pt x="19" y="0"/>
                      <a:pt x="18" y="0"/>
                    </a:cubicBezTo>
                    <a:cubicBezTo>
                      <a:pt x="17" y="1"/>
                      <a:pt x="16" y="1"/>
                      <a:pt x="15" y="2"/>
                    </a:cubicBezTo>
                    <a:cubicBezTo>
                      <a:pt x="13" y="2"/>
                      <a:pt x="11" y="3"/>
                      <a:pt x="9" y="3"/>
                    </a:cubicBezTo>
                    <a:cubicBezTo>
                      <a:pt x="9" y="3"/>
                      <a:pt x="9" y="3"/>
                      <a:pt x="9" y="3"/>
                    </a:cubicBezTo>
                    <a:cubicBezTo>
                      <a:pt x="7" y="3"/>
                      <a:pt x="6" y="3"/>
                      <a:pt x="5" y="3"/>
                    </a:cubicBezTo>
                    <a:cubicBezTo>
                      <a:pt x="5" y="3"/>
                      <a:pt x="4" y="3"/>
                      <a:pt x="3" y="4"/>
                    </a:cubicBezTo>
                    <a:cubicBezTo>
                      <a:pt x="1" y="6"/>
                      <a:pt x="1" y="8"/>
                      <a:pt x="0" y="11"/>
                    </a:cubicBezTo>
                    <a:cubicBezTo>
                      <a:pt x="4" y="9"/>
                      <a:pt x="6" y="8"/>
                      <a:pt x="8" y="8"/>
                    </a:cubicBezTo>
                    <a:cubicBezTo>
                      <a:pt x="10" y="8"/>
                      <a:pt x="11" y="8"/>
                      <a:pt x="12" y="9"/>
                    </a:cubicBezTo>
                    <a:cubicBezTo>
                      <a:pt x="13" y="9"/>
                      <a:pt x="14" y="9"/>
                      <a:pt x="15" y="9"/>
                    </a:cubicBezTo>
                    <a:cubicBezTo>
                      <a:pt x="18" y="9"/>
                      <a:pt x="20" y="7"/>
                      <a:pt x="23" y="5"/>
                    </a:cubicBezTo>
                    <a:cubicBezTo>
                      <a:pt x="27" y="3"/>
                      <a:pt x="24" y="2"/>
                      <a:pt x="21" y="1"/>
                    </a:cubicBezTo>
                    <a:cubicBezTo>
                      <a:pt x="20" y="0"/>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Freeform 169"/>
              <p:cNvSpPr/>
              <p:nvPr/>
            </p:nvSpPr>
            <p:spPr bwMode="auto">
              <a:xfrm>
                <a:off x="5868" y="4753"/>
                <a:ext cx="38" cy="52"/>
              </a:xfrm>
              <a:custGeom>
                <a:gdLst>
                  <a:gd name="T0" fmla="*/ 13 w 16"/>
                  <a:gd name="T1" fmla="*/ 0 h 22"/>
                  <a:gd name="T2" fmla="*/ 3 w 16"/>
                  <a:gd name="T3" fmla="*/ 10 h 22"/>
                  <a:gd name="T4" fmla="*/ 1 w 16"/>
                  <a:gd name="T5" fmla="*/ 14 h 22"/>
                  <a:gd name="T6" fmla="*/ 0 w 16"/>
                  <a:gd name="T7" fmla="*/ 14 h 22"/>
                  <a:gd name="T8" fmla="*/ 0 w 16"/>
                  <a:gd name="T9" fmla="*/ 15 h 22"/>
                  <a:gd name="T10" fmla="*/ 0 w 16"/>
                  <a:gd name="T11" fmla="*/ 20 h 22"/>
                  <a:gd name="T12" fmla="*/ 1 w 16"/>
                  <a:gd name="T13" fmla="*/ 22 h 22"/>
                  <a:gd name="T14" fmla="*/ 3 w 16"/>
                  <a:gd name="T15" fmla="*/ 22 h 22"/>
                  <a:gd name="T16" fmla="*/ 6 w 16"/>
                  <a:gd name="T17" fmla="*/ 22 h 22"/>
                  <a:gd name="T18" fmla="*/ 7 w 16"/>
                  <a:gd name="T19" fmla="*/ 19 h 22"/>
                  <a:gd name="T20" fmla="*/ 8 w 16"/>
                  <a:gd name="T21" fmla="*/ 17 h 22"/>
                  <a:gd name="T22" fmla="*/ 12 w 16"/>
                  <a:gd name="T23" fmla="*/ 13 h 22"/>
                  <a:gd name="T24" fmla="*/ 15 w 16"/>
                  <a:gd name="T25" fmla="*/ 7 h 22"/>
                  <a:gd name="T26" fmla="*/ 16 w 16"/>
                  <a:gd name="T27" fmla="*/ 2 h 22"/>
                  <a:gd name="T28" fmla="*/ 13 w 16"/>
                  <a:gd name="T29"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2">
                    <a:moveTo>
                      <a:pt x="13" y="0"/>
                    </a:moveTo>
                    <a:cubicBezTo>
                      <a:pt x="10" y="2"/>
                      <a:pt x="5" y="6"/>
                      <a:pt x="3" y="10"/>
                    </a:cubicBezTo>
                    <a:cubicBezTo>
                      <a:pt x="2" y="12"/>
                      <a:pt x="3" y="14"/>
                      <a:pt x="1" y="14"/>
                    </a:cubicBezTo>
                    <a:cubicBezTo>
                      <a:pt x="1" y="14"/>
                      <a:pt x="0" y="14"/>
                      <a:pt x="0" y="14"/>
                    </a:cubicBezTo>
                    <a:cubicBezTo>
                      <a:pt x="0" y="15"/>
                      <a:pt x="0" y="15"/>
                      <a:pt x="0" y="15"/>
                    </a:cubicBezTo>
                    <a:cubicBezTo>
                      <a:pt x="0" y="20"/>
                      <a:pt x="0" y="20"/>
                      <a:pt x="0" y="20"/>
                    </a:cubicBezTo>
                    <a:cubicBezTo>
                      <a:pt x="1" y="22"/>
                      <a:pt x="0" y="21"/>
                      <a:pt x="1" y="22"/>
                    </a:cubicBezTo>
                    <a:cubicBezTo>
                      <a:pt x="2" y="22"/>
                      <a:pt x="3" y="22"/>
                      <a:pt x="3" y="22"/>
                    </a:cubicBezTo>
                    <a:cubicBezTo>
                      <a:pt x="4" y="22"/>
                      <a:pt x="5" y="22"/>
                      <a:pt x="6" y="22"/>
                    </a:cubicBezTo>
                    <a:cubicBezTo>
                      <a:pt x="7" y="19"/>
                      <a:pt x="7" y="19"/>
                      <a:pt x="7" y="19"/>
                    </a:cubicBezTo>
                    <a:cubicBezTo>
                      <a:pt x="7" y="18"/>
                      <a:pt x="8" y="18"/>
                      <a:pt x="8" y="17"/>
                    </a:cubicBezTo>
                    <a:cubicBezTo>
                      <a:pt x="9" y="15"/>
                      <a:pt x="11" y="14"/>
                      <a:pt x="12" y="13"/>
                    </a:cubicBezTo>
                    <a:cubicBezTo>
                      <a:pt x="13" y="11"/>
                      <a:pt x="13" y="9"/>
                      <a:pt x="15" y="7"/>
                    </a:cubicBezTo>
                    <a:cubicBezTo>
                      <a:pt x="13" y="6"/>
                      <a:pt x="13" y="3"/>
                      <a:pt x="16" y="2"/>
                    </a:cubicBezTo>
                    <a:cubicBezTo>
                      <a:pt x="15" y="1"/>
                      <a:pt x="14"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2" name="Freeform 170"/>
              <p:cNvSpPr/>
              <p:nvPr/>
            </p:nvSpPr>
            <p:spPr bwMode="auto">
              <a:xfrm>
                <a:off x="6124" y="4429"/>
                <a:ext cx="82" cy="19"/>
              </a:xfrm>
              <a:custGeom>
                <a:gdLst>
                  <a:gd name="T0" fmla="*/ 0 w 35"/>
                  <a:gd name="T1" fmla="*/ 0 h 8"/>
                  <a:gd name="T2" fmla="*/ 24 w 35"/>
                  <a:gd name="T3" fmla="*/ 8 h 8"/>
                  <a:gd name="T4" fmla="*/ 26 w 35"/>
                  <a:gd name="T5" fmla="*/ 7 h 8"/>
                  <a:gd name="T6" fmla="*/ 27 w 35"/>
                  <a:gd name="T7" fmla="*/ 7 h 8"/>
                  <a:gd name="T8" fmla="*/ 35 w 35"/>
                  <a:gd name="T9" fmla="*/ 5 h 8"/>
                  <a:gd name="T10" fmla="*/ 31 w 35"/>
                  <a:gd name="T11" fmla="*/ 4 h 8"/>
                  <a:gd name="T12" fmla="*/ 24 w 35"/>
                  <a:gd name="T13" fmla="*/ 3 h 8"/>
                  <a:gd name="T14" fmla="*/ 17 w 35"/>
                  <a:gd name="T15" fmla="*/ 2 h 8"/>
                  <a:gd name="T16" fmla="*/ 0 w 35"/>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8">
                    <a:moveTo>
                      <a:pt x="0" y="0"/>
                    </a:moveTo>
                    <a:cubicBezTo>
                      <a:pt x="1" y="1"/>
                      <a:pt x="18" y="8"/>
                      <a:pt x="24" y="8"/>
                    </a:cubicBezTo>
                    <a:cubicBezTo>
                      <a:pt x="25" y="8"/>
                      <a:pt x="26" y="8"/>
                      <a:pt x="26" y="7"/>
                    </a:cubicBezTo>
                    <a:cubicBezTo>
                      <a:pt x="26" y="7"/>
                      <a:pt x="26" y="7"/>
                      <a:pt x="27" y="7"/>
                    </a:cubicBezTo>
                    <a:cubicBezTo>
                      <a:pt x="30" y="7"/>
                      <a:pt x="32" y="6"/>
                      <a:pt x="35" y="5"/>
                    </a:cubicBezTo>
                    <a:cubicBezTo>
                      <a:pt x="33" y="4"/>
                      <a:pt x="32" y="4"/>
                      <a:pt x="31" y="4"/>
                    </a:cubicBezTo>
                    <a:cubicBezTo>
                      <a:pt x="29" y="4"/>
                      <a:pt x="26" y="4"/>
                      <a:pt x="24" y="3"/>
                    </a:cubicBezTo>
                    <a:cubicBezTo>
                      <a:pt x="21" y="3"/>
                      <a:pt x="19" y="2"/>
                      <a:pt x="17" y="2"/>
                    </a:cubicBezTo>
                    <a:cubicBezTo>
                      <a:pt x="12" y="1"/>
                      <a:pt x="6"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171"/>
              <p:cNvSpPr/>
              <p:nvPr/>
            </p:nvSpPr>
            <p:spPr bwMode="auto">
              <a:xfrm>
                <a:off x="5327" y="4632"/>
                <a:ext cx="10" cy="24"/>
              </a:xfrm>
              <a:custGeom>
                <a:gdLst>
                  <a:gd name="T0" fmla="*/ 3 w 4"/>
                  <a:gd name="T1" fmla="*/ 0 h 10"/>
                  <a:gd name="T2" fmla="*/ 0 w 4"/>
                  <a:gd name="T3" fmla="*/ 5 h 10"/>
                  <a:gd name="T4" fmla="*/ 4 w 4"/>
                  <a:gd name="T5" fmla="*/ 10 h 10"/>
                  <a:gd name="T6" fmla="*/ 4 w 4"/>
                  <a:gd name="T7" fmla="*/ 0 h 10"/>
                  <a:gd name="T8" fmla="*/ 3 w 4"/>
                  <a:gd name="T9" fmla="*/ 0 h 10"/>
                </a:gdLst>
                <a:cxnLst>
                  <a:cxn ang="0">
                    <a:pos x="T0" y="T1"/>
                  </a:cxn>
                  <a:cxn ang="0">
                    <a:pos x="T2" y="T3"/>
                  </a:cxn>
                  <a:cxn ang="0">
                    <a:pos x="T4" y="T5"/>
                  </a:cxn>
                  <a:cxn ang="0">
                    <a:pos x="T6" y="T7"/>
                  </a:cxn>
                  <a:cxn ang="0">
                    <a:pos x="T8" y="T9"/>
                  </a:cxn>
                </a:cxnLst>
                <a:rect l="0" t="0" r="r" b="b"/>
                <a:pathLst>
                  <a:path w="4" h="10">
                    <a:moveTo>
                      <a:pt x="3" y="0"/>
                    </a:moveTo>
                    <a:cubicBezTo>
                      <a:pt x="1" y="0"/>
                      <a:pt x="0" y="3"/>
                      <a:pt x="0" y="5"/>
                    </a:cubicBezTo>
                    <a:cubicBezTo>
                      <a:pt x="0" y="7"/>
                      <a:pt x="3" y="8"/>
                      <a:pt x="4" y="10"/>
                    </a:cubicBezTo>
                    <a:cubicBezTo>
                      <a:pt x="4" y="7"/>
                      <a:pt x="4" y="3"/>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Freeform 172"/>
              <p:cNvSpPr/>
              <p:nvPr/>
            </p:nvSpPr>
            <p:spPr bwMode="auto">
              <a:xfrm>
                <a:off x="5150" y="4235"/>
                <a:ext cx="378" cy="432"/>
              </a:xfrm>
              <a:custGeom>
                <a:gdLst>
                  <a:gd name="T0" fmla="*/ 143 w 160"/>
                  <a:gd name="T1" fmla="*/ 9 h 183"/>
                  <a:gd name="T2" fmla="*/ 128 w 160"/>
                  <a:gd name="T3" fmla="*/ 22 h 183"/>
                  <a:gd name="T4" fmla="*/ 103 w 160"/>
                  <a:gd name="T5" fmla="*/ 22 h 183"/>
                  <a:gd name="T6" fmla="*/ 77 w 160"/>
                  <a:gd name="T7" fmla="*/ 17 h 183"/>
                  <a:gd name="T8" fmla="*/ 72 w 160"/>
                  <a:gd name="T9" fmla="*/ 17 h 183"/>
                  <a:gd name="T10" fmla="*/ 63 w 160"/>
                  <a:gd name="T11" fmla="*/ 12 h 183"/>
                  <a:gd name="T12" fmla="*/ 50 w 160"/>
                  <a:gd name="T13" fmla="*/ 16 h 183"/>
                  <a:gd name="T14" fmla="*/ 42 w 160"/>
                  <a:gd name="T15" fmla="*/ 23 h 183"/>
                  <a:gd name="T16" fmla="*/ 38 w 160"/>
                  <a:gd name="T17" fmla="*/ 19 h 183"/>
                  <a:gd name="T18" fmla="*/ 31 w 160"/>
                  <a:gd name="T19" fmla="*/ 26 h 183"/>
                  <a:gd name="T20" fmla="*/ 24 w 160"/>
                  <a:gd name="T21" fmla="*/ 43 h 183"/>
                  <a:gd name="T22" fmla="*/ 26 w 160"/>
                  <a:gd name="T23" fmla="*/ 48 h 183"/>
                  <a:gd name="T24" fmla="*/ 15 w 160"/>
                  <a:gd name="T25" fmla="*/ 72 h 183"/>
                  <a:gd name="T26" fmla="*/ 2 w 160"/>
                  <a:gd name="T27" fmla="*/ 108 h 183"/>
                  <a:gd name="T28" fmla="*/ 2 w 160"/>
                  <a:gd name="T29" fmla="*/ 113 h 183"/>
                  <a:gd name="T30" fmla="*/ 7 w 160"/>
                  <a:gd name="T31" fmla="*/ 130 h 183"/>
                  <a:gd name="T32" fmla="*/ 20 w 160"/>
                  <a:gd name="T33" fmla="*/ 139 h 183"/>
                  <a:gd name="T34" fmla="*/ 16 w 160"/>
                  <a:gd name="T35" fmla="*/ 181 h 183"/>
                  <a:gd name="T36" fmla="*/ 23 w 160"/>
                  <a:gd name="T37" fmla="*/ 183 h 183"/>
                  <a:gd name="T38" fmla="*/ 38 w 160"/>
                  <a:gd name="T39" fmla="*/ 180 h 183"/>
                  <a:gd name="T40" fmla="*/ 41 w 160"/>
                  <a:gd name="T41" fmla="*/ 156 h 183"/>
                  <a:gd name="T42" fmla="*/ 37 w 160"/>
                  <a:gd name="T43" fmla="*/ 117 h 183"/>
                  <a:gd name="T44" fmla="*/ 53 w 160"/>
                  <a:gd name="T45" fmla="*/ 108 h 183"/>
                  <a:gd name="T46" fmla="*/ 53 w 160"/>
                  <a:gd name="T47" fmla="*/ 130 h 183"/>
                  <a:gd name="T48" fmla="*/ 60 w 160"/>
                  <a:gd name="T49" fmla="*/ 137 h 183"/>
                  <a:gd name="T50" fmla="*/ 65 w 160"/>
                  <a:gd name="T51" fmla="*/ 141 h 183"/>
                  <a:gd name="T52" fmla="*/ 67 w 160"/>
                  <a:gd name="T53" fmla="*/ 156 h 183"/>
                  <a:gd name="T54" fmla="*/ 80 w 160"/>
                  <a:gd name="T55" fmla="*/ 163 h 183"/>
                  <a:gd name="T56" fmla="*/ 94 w 160"/>
                  <a:gd name="T57" fmla="*/ 152 h 183"/>
                  <a:gd name="T58" fmla="*/ 100 w 160"/>
                  <a:gd name="T59" fmla="*/ 144 h 183"/>
                  <a:gd name="T60" fmla="*/ 93 w 160"/>
                  <a:gd name="T61" fmla="*/ 141 h 183"/>
                  <a:gd name="T62" fmla="*/ 90 w 160"/>
                  <a:gd name="T63" fmla="*/ 135 h 183"/>
                  <a:gd name="T64" fmla="*/ 89 w 160"/>
                  <a:gd name="T65" fmla="*/ 135 h 183"/>
                  <a:gd name="T66" fmla="*/ 90 w 160"/>
                  <a:gd name="T67" fmla="*/ 122 h 183"/>
                  <a:gd name="T68" fmla="*/ 80 w 160"/>
                  <a:gd name="T69" fmla="*/ 109 h 183"/>
                  <a:gd name="T70" fmla="*/ 71 w 160"/>
                  <a:gd name="T71" fmla="*/ 97 h 183"/>
                  <a:gd name="T72" fmla="*/ 67 w 160"/>
                  <a:gd name="T73" fmla="*/ 93 h 183"/>
                  <a:gd name="T74" fmla="*/ 64 w 160"/>
                  <a:gd name="T75" fmla="*/ 89 h 183"/>
                  <a:gd name="T76" fmla="*/ 96 w 160"/>
                  <a:gd name="T77" fmla="*/ 72 h 183"/>
                  <a:gd name="T78" fmla="*/ 106 w 160"/>
                  <a:gd name="T79" fmla="*/ 64 h 183"/>
                  <a:gd name="T80" fmla="*/ 109 w 160"/>
                  <a:gd name="T81" fmla="*/ 57 h 183"/>
                  <a:gd name="T82" fmla="*/ 98 w 160"/>
                  <a:gd name="T83" fmla="*/ 62 h 183"/>
                  <a:gd name="T84" fmla="*/ 86 w 160"/>
                  <a:gd name="T85" fmla="*/ 62 h 183"/>
                  <a:gd name="T86" fmla="*/ 71 w 160"/>
                  <a:gd name="T87" fmla="*/ 64 h 183"/>
                  <a:gd name="T88" fmla="*/ 65 w 160"/>
                  <a:gd name="T89" fmla="*/ 67 h 183"/>
                  <a:gd name="T90" fmla="*/ 56 w 160"/>
                  <a:gd name="T91" fmla="*/ 78 h 183"/>
                  <a:gd name="T92" fmla="*/ 47 w 160"/>
                  <a:gd name="T93" fmla="*/ 77 h 183"/>
                  <a:gd name="T94" fmla="*/ 40 w 160"/>
                  <a:gd name="T95" fmla="*/ 65 h 183"/>
                  <a:gd name="T96" fmla="*/ 38 w 160"/>
                  <a:gd name="T97" fmla="*/ 66 h 183"/>
                  <a:gd name="T98" fmla="*/ 30 w 160"/>
                  <a:gd name="T99" fmla="*/ 49 h 183"/>
                  <a:gd name="T100" fmla="*/ 55 w 160"/>
                  <a:gd name="T101" fmla="*/ 31 h 183"/>
                  <a:gd name="T102" fmla="*/ 82 w 160"/>
                  <a:gd name="T103" fmla="*/ 31 h 183"/>
                  <a:gd name="T104" fmla="*/ 91 w 160"/>
                  <a:gd name="T105" fmla="*/ 31 h 183"/>
                  <a:gd name="T106" fmla="*/ 116 w 160"/>
                  <a:gd name="T107" fmla="*/ 36 h 183"/>
                  <a:gd name="T108" fmla="*/ 136 w 160"/>
                  <a:gd name="T109" fmla="*/ 33 h 183"/>
                  <a:gd name="T110" fmla="*/ 156 w 160"/>
                  <a:gd name="T111" fmla="*/ 9 h 1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83">
                    <a:moveTo>
                      <a:pt x="154" y="0"/>
                    </a:moveTo>
                    <a:cubicBezTo>
                      <a:pt x="152" y="0"/>
                      <a:pt x="151" y="3"/>
                      <a:pt x="149" y="4"/>
                    </a:cubicBezTo>
                    <a:cubicBezTo>
                      <a:pt x="148" y="8"/>
                      <a:pt x="147" y="8"/>
                      <a:pt x="143" y="9"/>
                    </a:cubicBezTo>
                    <a:cubicBezTo>
                      <a:pt x="144" y="12"/>
                      <a:pt x="145" y="12"/>
                      <a:pt x="142" y="14"/>
                    </a:cubicBezTo>
                    <a:cubicBezTo>
                      <a:pt x="140" y="17"/>
                      <a:pt x="136" y="18"/>
                      <a:pt x="133" y="19"/>
                    </a:cubicBezTo>
                    <a:cubicBezTo>
                      <a:pt x="132" y="20"/>
                      <a:pt x="128" y="21"/>
                      <a:pt x="128" y="22"/>
                    </a:cubicBezTo>
                    <a:cubicBezTo>
                      <a:pt x="123" y="22"/>
                      <a:pt x="119" y="22"/>
                      <a:pt x="114" y="21"/>
                    </a:cubicBezTo>
                    <a:cubicBezTo>
                      <a:pt x="112" y="21"/>
                      <a:pt x="111" y="21"/>
                      <a:pt x="109" y="21"/>
                    </a:cubicBezTo>
                    <a:cubicBezTo>
                      <a:pt x="107" y="21"/>
                      <a:pt x="105" y="21"/>
                      <a:pt x="103" y="22"/>
                    </a:cubicBezTo>
                    <a:cubicBezTo>
                      <a:pt x="102" y="22"/>
                      <a:pt x="101" y="22"/>
                      <a:pt x="100" y="22"/>
                    </a:cubicBezTo>
                    <a:cubicBezTo>
                      <a:pt x="95" y="22"/>
                      <a:pt x="89" y="19"/>
                      <a:pt x="85" y="18"/>
                    </a:cubicBezTo>
                    <a:cubicBezTo>
                      <a:pt x="82" y="17"/>
                      <a:pt x="80" y="17"/>
                      <a:pt x="77" y="17"/>
                    </a:cubicBezTo>
                    <a:cubicBezTo>
                      <a:pt x="76" y="17"/>
                      <a:pt x="76" y="17"/>
                      <a:pt x="75" y="17"/>
                    </a:cubicBezTo>
                    <a:cubicBezTo>
                      <a:pt x="74" y="17"/>
                      <a:pt x="73" y="17"/>
                      <a:pt x="73" y="17"/>
                    </a:cubicBezTo>
                    <a:cubicBezTo>
                      <a:pt x="72" y="17"/>
                      <a:pt x="72" y="17"/>
                      <a:pt x="72" y="17"/>
                    </a:cubicBezTo>
                    <a:cubicBezTo>
                      <a:pt x="68" y="17"/>
                      <a:pt x="69" y="14"/>
                      <a:pt x="67" y="12"/>
                    </a:cubicBezTo>
                    <a:cubicBezTo>
                      <a:pt x="66" y="12"/>
                      <a:pt x="66" y="11"/>
                      <a:pt x="65" y="11"/>
                    </a:cubicBezTo>
                    <a:cubicBezTo>
                      <a:pt x="65" y="11"/>
                      <a:pt x="64" y="12"/>
                      <a:pt x="63" y="12"/>
                    </a:cubicBezTo>
                    <a:cubicBezTo>
                      <a:pt x="62" y="12"/>
                      <a:pt x="62" y="12"/>
                      <a:pt x="61" y="12"/>
                    </a:cubicBezTo>
                    <a:cubicBezTo>
                      <a:pt x="57" y="12"/>
                      <a:pt x="54" y="11"/>
                      <a:pt x="51" y="11"/>
                    </a:cubicBezTo>
                    <a:cubicBezTo>
                      <a:pt x="51" y="12"/>
                      <a:pt x="51" y="15"/>
                      <a:pt x="50" y="16"/>
                    </a:cubicBezTo>
                    <a:cubicBezTo>
                      <a:pt x="49" y="18"/>
                      <a:pt x="48" y="19"/>
                      <a:pt x="46" y="21"/>
                    </a:cubicBezTo>
                    <a:cubicBezTo>
                      <a:pt x="45" y="22"/>
                      <a:pt x="45" y="23"/>
                      <a:pt x="44" y="23"/>
                    </a:cubicBezTo>
                    <a:cubicBezTo>
                      <a:pt x="43" y="23"/>
                      <a:pt x="43" y="23"/>
                      <a:pt x="42" y="23"/>
                    </a:cubicBezTo>
                    <a:cubicBezTo>
                      <a:pt x="40" y="22"/>
                      <a:pt x="39" y="21"/>
                      <a:pt x="39" y="21"/>
                    </a:cubicBezTo>
                    <a:cubicBezTo>
                      <a:pt x="39" y="20"/>
                      <a:pt x="39" y="19"/>
                      <a:pt x="39" y="19"/>
                    </a:cubicBezTo>
                    <a:cubicBezTo>
                      <a:pt x="39" y="19"/>
                      <a:pt x="39" y="19"/>
                      <a:pt x="38" y="19"/>
                    </a:cubicBezTo>
                    <a:cubicBezTo>
                      <a:pt x="38" y="19"/>
                      <a:pt x="37" y="20"/>
                      <a:pt x="37" y="21"/>
                    </a:cubicBezTo>
                    <a:cubicBezTo>
                      <a:pt x="36" y="22"/>
                      <a:pt x="35" y="24"/>
                      <a:pt x="33" y="25"/>
                    </a:cubicBezTo>
                    <a:cubicBezTo>
                      <a:pt x="33" y="25"/>
                      <a:pt x="31" y="25"/>
                      <a:pt x="31" y="26"/>
                    </a:cubicBezTo>
                    <a:cubicBezTo>
                      <a:pt x="31" y="28"/>
                      <a:pt x="30" y="30"/>
                      <a:pt x="29" y="31"/>
                    </a:cubicBezTo>
                    <a:cubicBezTo>
                      <a:pt x="29" y="31"/>
                      <a:pt x="28" y="31"/>
                      <a:pt x="28" y="32"/>
                    </a:cubicBezTo>
                    <a:cubicBezTo>
                      <a:pt x="26" y="35"/>
                      <a:pt x="25" y="39"/>
                      <a:pt x="24" y="43"/>
                    </a:cubicBezTo>
                    <a:cubicBezTo>
                      <a:pt x="23" y="43"/>
                      <a:pt x="23" y="43"/>
                      <a:pt x="22" y="43"/>
                    </a:cubicBezTo>
                    <a:cubicBezTo>
                      <a:pt x="22" y="43"/>
                      <a:pt x="22" y="43"/>
                      <a:pt x="21" y="43"/>
                    </a:cubicBezTo>
                    <a:cubicBezTo>
                      <a:pt x="24" y="45"/>
                      <a:pt x="25" y="45"/>
                      <a:pt x="26" y="48"/>
                    </a:cubicBezTo>
                    <a:cubicBezTo>
                      <a:pt x="26" y="52"/>
                      <a:pt x="28" y="60"/>
                      <a:pt x="25" y="62"/>
                    </a:cubicBezTo>
                    <a:cubicBezTo>
                      <a:pt x="25" y="61"/>
                      <a:pt x="24" y="60"/>
                      <a:pt x="24" y="59"/>
                    </a:cubicBezTo>
                    <a:cubicBezTo>
                      <a:pt x="20" y="62"/>
                      <a:pt x="18" y="67"/>
                      <a:pt x="15" y="72"/>
                    </a:cubicBezTo>
                    <a:cubicBezTo>
                      <a:pt x="15" y="72"/>
                      <a:pt x="14" y="73"/>
                      <a:pt x="14" y="74"/>
                    </a:cubicBezTo>
                    <a:cubicBezTo>
                      <a:pt x="12" y="79"/>
                      <a:pt x="16" y="85"/>
                      <a:pt x="13" y="90"/>
                    </a:cubicBezTo>
                    <a:cubicBezTo>
                      <a:pt x="9" y="96"/>
                      <a:pt x="6" y="102"/>
                      <a:pt x="2" y="108"/>
                    </a:cubicBezTo>
                    <a:cubicBezTo>
                      <a:pt x="2" y="108"/>
                      <a:pt x="2" y="108"/>
                      <a:pt x="1" y="108"/>
                    </a:cubicBezTo>
                    <a:cubicBezTo>
                      <a:pt x="1" y="108"/>
                      <a:pt x="1" y="108"/>
                      <a:pt x="1" y="108"/>
                    </a:cubicBezTo>
                    <a:cubicBezTo>
                      <a:pt x="0" y="110"/>
                      <a:pt x="2" y="112"/>
                      <a:pt x="2" y="113"/>
                    </a:cubicBezTo>
                    <a:cubicBezTo>
                      <a:pt x="3" y="116"/>
                      <a:pt x="1" y="116"/>
                      <a:pt x="1" y="119"/>
                    </a:cubicBezTo>
                    <a:cubicBezTo>
                      <a:pt x="0" y="121"/>
                      <a:pt x="2" y="124"/>
                      <a:pt x="4" y="127"/>
                    </a:cubicBezTo>
                    <a:cubicBezTo>
                      <a:pt x="5" y="129"/>
                      <a:pt x="5" y="130"/>
                      <a:pt x="7" y="130"/>
                    </a:cubicBezTo>
                    <a:cubicBezTo>
                      <a:pt x="8" y="130"/>
                      <a:pt x="8" y="130"/>
                      <a:pt x="9" y="130"/>
                    </a:cubicBezTo>
                    <a:cubicBezTo>
                      <a:pt x="12" y="130"/>
                      <a:pt x="15" y="129"/>
                      <a:pt x="18" y="129"/>
                    </a:cubicBezTo>
                    <a:cubicBezTo>
                      <a:pt x="17" y="135"/>
                      <a:pt x="17" y="135"/>
                      <a:pt x="20" y="139"/>
                    </a:cubicBezTo>
                    <a:cubicBezTo>
                      <a:pt x="22" y="142"/>
                      <a:pt x="21" y="151"/>
                      <a:pt x="20" y="154"/>
                    </a:cubicBezTo>
                    <a:cubicBezTo>
                      <a:pt x="20" y="159"/>
                      <a:pt x="19" y="164"/>
                      <a:pt x="17" y="168"/>
                    </a:cubicBezTo>
                    <a:cubicBezTo>
                      <a:pt x="15" y="173"/>
                      <a:pt x="15" y="176"/>
                      <a:pt x="16" y="181"/>
                    </a:cubicBezTo>
                    <a:cubicBezTo>
                      <a:pt x="17" y="180"/>
                      <a:pt x="18" y="180"/>
                      <a:pt x="18" y="180"/>
                    </a:cubicBezTo>
                    <a:cubicBezTo>
                      <a:pt x="20" y="180"/>
                      <a:pt x="20" y="183"/>
                      <a:pt x="22" y="183"/>
                    </a:cubicBezTo>
                    <a:cubicBezTo>
                      <a:pt x="22" y="183"/>
                      <a:pt x="22" y="183"/>
                      <a:pt x="23" y="183"/>
                    </a:cubicBezTo>
                    <a:cubicBezTo>
                      <a:pt x="24" y="183"/>
                      <a:pt x="24" y="183"/>
                      <a:pt x="26" y="182"/>
                    </a:cubicBezTo>
                    <a:cubicBezTo>
                      <a:pt x="29" y="180"/>
                      <a:pt x="32" y="181"/>
                      <a:pt x="35" y="180"/>
                    </a:cubicBezTo>
                    <a:cubicBezTo>
                      <a:pt x="36" y="180"/>
                      <a:pt x="37" y="180"/>
                      <a:pt x="38" y="180"/>
                    </a:cubicBezTo>
                    <a:cubicBezTo>
                      <a:pt x="39" y="180"/>
                      <a:pt x="40" y="180"/>
                      <a:pt x="42" y="182"/>
                    </a:cubicBezTo>
                    <a:cubicBezTo>
                      <a:pt x="40" y="177"/>
                      <a:pt x="37" y="171"/>
                      <a:pt x="38" y="166"/>
                    </a:cubicBezTo>
                    <a:cubicBezTo>
                      <a:pt x="39" y="163"/>
                      <a:pt x="42" y="159"/>
                      <a:pt x="41" y="156"/>
                    </a:cubicBezTo>
                    <a:cubicBezTo>
                      <a:pt x="40" y="149"/>
                      <a:pt x="40" y="145"/>
                      <a:pt x="41" y="139"/>
                    </a:cubicBezTo>
                    <a:cubicBezTo>
                      <a:pt x="41" y="134"/>
                      <a:pt x="42" y="129"/>
                      <a:pt x="40" y="124"/>
                    </a:cubicBezTo>
                    <a:cubicBezTo>
                      <a:pt x="40" y="122"/>
                      <a:pt x="37" y="120"/>
                      <a:pt x="37" y="117"/>
                    </a:cubicBezTo>
                    <a:cubicBezTo>
                      <a:pt x="37" y="115"/>
                      <a:pt x="38" y="114"/>
                      <a:pt x="41" y="113"/>
                    </a:cubicBezTo>
                    <a:cubicBezTo>
                      <a:pt x="44" y="110"/>
                      <a:pt x="47" y="108"/>
                      <a:pt x="51" y="108"/>
                    </a:cubicBezTo>
                    <a:cubicBezTo>
                      <a:pt x="51" y="108"/>
                      <a:pt x="52" y="108"/>
                      <a:pt x="53" y="108"/>
                    </a:cubicBezTo>
                    <a:cubicBezTo>
                      <a:pt x="58" y="109"/>
                      <a:pt x="57" y="116"/>
                      <a:pt x="56" y="121"/>
                    </a:cubicBezTo>
                    <a:cubicBezTo>
                      <a:pt x="56" y="123"/>
                      <a:pt x="54" y="124"/>
                      <a:pt x="53" y="126"/>
                    </a:cubicBezTo>
                    <a:cubicBezTo>
                      <a:pt x="52" y="128"/>
                      <a:pt x="51" y="128"/>
                      <a:pt x="53" y="130"/>
                    </a:cubicBezTo>
                    <a:cubicBezTo>
                      <a:pt x="55" y="133"/>
                      <a:pt x="57" y="135"/>
                      <a:pt x="59" y="137"/>
                    </a:cubicBezTo>
                    <a:cubicBezTo>
                      <a:pt x="59" y="137"/>
                      <a:pt x="59" y="137"/>
                      <a:pt x="60" y="137"/>
                    </a:cubicBezTo>
                    <a:cubicBezTo>
                      <a:pt x="60" y="137"/>
                      <a:pt x="60" y="137"/>
                      <a:pt x="60" y="137"/>
                    </a:cubicBezTo>
                    <a:cubicBezTo>
                      <a:pt x="60" y="137"/>
                      <a:pt x="60" y="137"/>
                      <a:pt x="61" y="137"/>
                    </a:cubicBezTo>
                    <a:cubicBezTo>
                      <a:pt x="61" y="137"/>
                      <a:pt x="61" y="137"/>
                      <a:pt x="61" y="137"/>
                    </a:cubicBezTo>
                    <a:cubicBezTo>
                      <a:pt x="63" y="138"/>
                      <a:pt x="63" y="140"/>
                      <a:pt x="65" y="141"/>
                    </a:cubicBezTo>
                    <a:cubicBezTo>
                      <a:pt x="66" y="142"/>
                      <a:pt x="67" y="142"/>
                      <a:pt x="68" y="142"/>
                    </a:cubicBezTo>
                    <a:cubicBezTo>
                      <a:pt x="70" y="143"/>
                      <a:pt x="70" y="143"/>
                      <a:pt x="69" y="146"/>
                    </a:cubicBezTo>
                    <a:cubicBezTo>
                      <a:pt x="69" y="148"/>
                      <a:pt x="66" y="155"/>
                      <a:pt x="67" y="156"/>
                    </a:cubicBezTo>
                    <a:cubicBezTo>
                      <a:pt x="70" y="160"/>
                      <a:pt x="71" y="162"/>
                      <a:pt x="76" y="163"/>
                    </a:cubicBezTo>
                    <a:cubicBezTo>
                      <a:pt x="77" y="163"/>
                      <a:pt x="78" y="163"/>
                      <a:pt x="79" y="163"/>
                    </a:cubicBezTo>
                    <a:cubicBezTo>
                      <a:pt x="79" y="163"/>
                      <a:pt x="80" y="163"/>
                      <a:pt x="80" y="163"/>
                    </a:cubicBezTo>
                    <a:cubicBezTo>
                      <a:pt x="83" y="162"/>
                      <a:pt x="83" y="158"/>
                      <a:pt x="84" y="154"/>
                    </a:cubicBezTo>
                    <a:cubicBezTo>
                      <a:pt x="84" y="153"/>
                      <a:pt x="89" y="152"/>
                      <a:pt x="91" y="152"/>
                    </a:cubicBezTo>
                    <a:cubicBezTo>
                      <a:pt x="94" y="152"/>
                      <a:pt x="94" y="152"/>
                      <a:pt x="94" y="152"/>
                    </a:cubicBezTo>
                    <a:cubicBezTo>
                      <a:pt x="96" y="152"/>
                      <a:pt x="96" y="153"/>
                      <a:pt x="98" y="153"/>
                    </a:cubicBezTo>
                    <a:cubicBezTo>
                      <a:pt x="98" y="153"/>
                      <a:pt x="99" y="153"/>
                      <a:pt x="100" y="152"/>
                    </a:cubicBezTo>
                    <a:cubicBezTo>
                      <a:pt x="103" y="150"/>
                      <a:pt x="103" y="144"/>
                      <a:pt x="100" y="144"/>
                    </a:cubicBezTo>
                    <a:cubicBezTo>
                      <a:pt x="99" y="144"/>
                      <a:pt x="98" y="144"/>
                      <a:pt x="97" y="145"/>
                    </a:cubicBezTo>
                    <a:cubicBezTo>
                      <a:pt x="96" y="143"/>
                      <a:pt x="96" y="141"/>
                      <a:pt x="94" y="141"/>
                    </a:cubicBezTo>
                    <a:cubicBezTo>
                      <a:pt x="93" y="141"/>
                      <a:pt x="93" y="141"/>
                      <a:pt x="93" y="141"/>
                    </a:cubicBezTo>
                    <a:cubicBezTo>
                      <a:pt x="94" y="141"/>
                      <a:pt x="95" y="140"/>
                      <a:pt x="96" y="140"/>
                    </a:cubicBezTo>
                    <a:cubicBezTo>
                      <a:pt x="94" y="139"/>
                      <a:pt x="92" y="136"/>
                      <a:pt x="91" y="135"/>
                    </a:cubicBezTo>
                    <a:cubicBezTo>
                      <a:pt x="90" y="135"/>
                      <a:pt x="90" y="135"/>
                      <a:pt x="90" y="135"/>
                    </a:cubicBezTo>
                    <a:cubicBezTo>
                      <a:pt x="90" y="135"/>
                      <a:pt x="89" y="135"/>
                      <a:pt x="89" y="135"/>
                    </a:cubicBezTo>
                    <a:cubicBezTo>
                      <a:pt x="89" y="135"/>
                      <a:pt x="89" y="135"/>
                      <a:pt x="89" y="135"/>
                    </a:cubicBezTo>
                    <a:cubicBezTo>
                      <a:pt x="89" y="135"/>
                      <a:pt x="89" y="135"/>
                      <a:pt x="89" y="135"/>
                    </a:cubicBezTo>
                    <a:cubicBezTo>
                      <a:pt x="88" y="135"/>
                      <a:pt x="86" y="134"/>
                      <a:pt x="86" y="133"/>
                    </a:cubicBezTo>
                    <a:cubicBezTo>
                      <a:pt x="84" y="130"/>
                      <a:pt x="87" y="131"/>
                      <a:pt x="89" y="128"/>
                    </a:cubicBezTo>
                    <a:cubicBezTo>
                      <a:pt x="90" y="126"/>
                      <a:pt x="86" y="123"/>
                      <a:pt x="90" y="122"/>
                    </a:cubicBezTo>
                    <a:cubicBezTo>
                      <a:pt x="90" y="122"/>
                      <a:pt x="91" y="122"/>
                      <a:pt x="91" y="121"/>
                    </a:cubicBezTo>
                    <a:cubicBezTo>
                      <a:pt x="87" y="118"/>
                      <a:pt x="87" y="118"/>
                      <a:pt x="85" y="114"/>
                    </a:cubicBezTo>
                    <a:cubicBezTo>
                      <a:pt x="83" y="112"/>
                      <a:pt x="81" y="111"/>
                      <a:pt x="80" y="109"/>
                    </a:cubicBezTo>
                    <a:cubicBezTo>
                      <a:pt x="78" y="106"/>
                      <a:pt x="77" y="99"/>
                      <a:pt x="73" y="97"/>
                    </a:cubicBezTo>
                    <a:cubicBezTo>
                      <a:pt x="72" y="97"/>
                      <a:pt x="72" y="97"/>
                      <a:pt x="72" y="97"/>
                    </a:cubicBezTo>
                    <a:cubicBezTo>
                      <a:pt x="72" y="97"/>
                      <a:pt x="71" y="97"/>
                      <a:pt x="71" y="97"/>
                    </a:cubicBezTo>
                    <a:cubicBezTo>
                      <a:pt x="71" y="97"/>
                      <a:pt x="71" y="97"/>
                      <a:pt x="70" y="97"/>
                    </a:cubicBezTo>
                    <a:cubicBezTo>
                      <a:pt x="70" y="97"/>
                      <a:pt x="70" y="97"/>
                      <a:pt x="69" y="96"/>
                    </a:cubicBezTo>
                    <a:cubicBezTo>
                      <a:pt x="68" y="96"/>
                      <a:pt x="68" y="94"/>
                      <a:pt x="67" y="93"/>
                    </a:cubicBezTo>
                    <a:cubicBezTo>
                      <a:pt x="66" y="92"/>
                      <a:pt x="66" y="91"/>
                      <a:pt x="65" y="91"/>
                    </a:cubicBezTo>
                    <a:cubicBezTo>
                      <a:pt x="64" y="91"/>
                      <a:pt x="64" y="91"/>
                      <a:pt x="64" y="92"/>
                    </a:cubicBezTo>
                    <a:cubicBezTo>
                      <a:pt x="63" y="91"/>
                      <a:pt x="63" y="90"/>
                      <a:pt x="64" y="89"/>
                    </a:cubicBezTo>
                    <a:cubicBezTo>
                      <a:pt x="67" y="89"/>
                      <a:pt x="68" y="90"/>
                      <a:pt x="70" y="90"/>
                    </a:cubicBezTo>
                    <a:cubicBezTo>
                      <a:pt x="71" y="90"/>
                      <a:pt x="72" y="90"/>
                      <a:pt x="75" y="88"/>
                    </a:cubicBezTo>
                    <a:cubicBezTo>
                      <a:pt x="81" y="82"/>
                      <a:pt x="90" y="78"/>
                      <a:pt x="96" y="72"/>
                    </a:cubicBezTo>
                    <a:cubicBezTo>
                      <a:pt x="97" y="70"/>
                      <a:pt x="98" y="69"/>
                      <a:pt x="99" y="67"/>
                    </a:cubicBezTo>
                    <a:cubicBezTo>
                      <a:pt x="101" y="65"/>
                      <a:pt x="101" y="65"/>
                      <a:pt x="104" y="65"/>
                    </a:cubicBezTo>
                    <a:cubicBezTo>
                      <a:pt x="105" y="64"/>
                      <a:pt x="105" y="64"/>
                      <a:pt x="106" y="64"/>
                    </a:cubicBezTo>
                    <a:cubicBezTo>
                      <a:pt x="109" y="64"/>
                      <a:pt x="110" y="66"/>
                      <a:pt x="113" y="68"/>
                    </a:cubicBezTo>
                    <a:cubicBezTo>
                      <a:pt x="114" y="64"/>
                      <a:pt x="116" y="59"/>
                      <a:pt x="111" y="58"/>
                    </a:cubicBezTo>
                    <a:cubicBezTo>
                      <a:pt x="110" y="57"/>
                      <a:pt x="110" y="57"/>
                      <a:pt x="109" y="57"/>
                    </a:cubicBezTo>
                    <a:cubicBezTo>
                      <a:pt x="108" y="57"/>
                      <a:pt x="108" y="57"/>
                      <a:pt x="108" y="57"/>
                    </a:cubicBezTo>
                    <a:cubicBezTo>
                      <a:pt x="105" y="57"/>
                      <a:pt x="104" y="58"/>
                      <a:pt x="102" y="61"/>
                    </a:cubicBezTo>
                    <a:cubicBezTo>
                      <a:pt x="105" y="62"/>
                      <a:pt x="100" y="62"/>
                      <a:pt x="98" y="62"/>
                    </a:cubicBezTo>
                    <a:cubicBezTo>
                      <a:pt x="97" y="62"/>
                      <a:pt x="97" y="62"/>
                      <a:pt x="96" y="62"/>
                    </a:cubicBezTo>
                    <a:cubicBezTo>
                      <a:pt x="94" y="62"/>
                      <a:pt x="92" y="62"/>
                      <a:pt x="89" y="62"/>
                    </a:cubicBezTo>
                    <a:cubicBezTo>
                      <a:pt x="88" y="62"/>
                      <a:pt x="87" y="62"/>
                      <a:pt x="86" y="62"/>
                    </a:cubicBezTo>
                    <a:cubicBezTo>
                      <a:pt x="83" y="62"/>
                      <a:pt x="80" y="65"/>
                      <a:pt x="77" y="66"/>
                    </a:cubicBezTo>
                    <a:cubicBezTo>
                      <a:pt x="77" y="66"/>
                      <a:pt x="76" y="66"/>
                      <a:pt x="76" y="66"/>
                    </a:cubicBezTo>
                    <a:cubicBezTo>
                      <a:pt x="74" y="66"/>
                      <a:pt x="73" y="65"/>
                      <a:pt x="71" y="64"/>
                    </a:cubicBezTo>
                    <a:cubicBezTo>
                      <a:pt x="71" y="64"/>
                      <a:pt x="71" y="63"/>
                      <a:pt x="71" y="63"/>
                    </a:cubicBezTo>
                    <a:cubicBezTo>
                      <a:pt x="71" y="63"/>
                      <a:pt x="70" y="63"/>
                      <a:pt x="70" y="64"/>
                    </a:cubicBezTo>
                    <a:cubicBezTo>
                      <a:pt x="68" y="65"/>
                      <a:pt x="67" y="66"/>
                      <a:pt x="65" y="67"/>
                    </a:cubicBezTo>
                    <a:cubicBezTo>
                      <a:pt x="64" y="69"/>
                      <a:pt x="63" y="70"/>
                      <a:pt x="61" y="72"/>
                    </a:cubicBezTo>
                    <a:cubicBezTo>
                      <a:pt x="60" y="73"/>
                      <a:pt x="60" y="76"/>
                      <a:pt x="58" y="77"/>
                    </a:cubicBezTo>
                    <a:cubicBezTo>
                      <a:pt x="57" y="78"/>
                      <a:pt x="57" y="78"/>
                      <a:pt x="56" y="78"/>
                    </a:cubicBezTo>
                    <a:cubicBezTo>
                      <a:pt x="55" y="78"/>
                      <a:pt x="54" y="78"/>
                      <a:pt x="53" y="77"/>
                    </a:cubicBezTo>
                    <a:cubicBezTo>
                      <a:pt x="52" y="77"/>
                      <a:pt x="50" y="77"/>
                      <a:pt x="49" y="77"/>
                    </a:cubicBezTo>
                    <a:cubicBezTo>
                      <a:pt x="49" y="77"/>
                      <a:pt x="48" y="77"/>
                      <a:pt x="47" y="77"/>
                    </a:cubicBezTo>
                    <a:cubicBezTo>
                      <a:pt x="45" y="74"/>
                      <a:pt x="45" y="68"/>
                      <a:pt x="41" y="66"/>
                    </a:cubicBezTo>
                    <a:cubicBezTo>
                      <a:pt x="41" y="66"/>
                      <a:pt x="41" y="66"/>
                      <a:pt x="40" y="65"/>
                    </a:cubicBezTo>
                    <a:cubicBezTo>
                      <a:pt x="40" y="65"/>
                      <a:pt x="40" y="65"/>
                      <a:pt x="40" y="65"/>
                    </a:cubicBezTo>
                    <a:cubicBezTo>
                      <a:pt x="40" y="65"/>
                      <a:pt x="39" y="66"/>
                      <a:pt x="39" y="66"/>
                    </a:cubicBezTo>
                    <a:cubicBezTo>
                      <a:pt x="39" y="66"/>
                      <a:pt x="39" y="66"/>
                      <a:pt x="38" y="66"/>
                    </a:cubicBezTo>
                    <a:cubicBezTo>
                      <a:pt x="38" y="66"/>
                      <a:pt x="38" y="66"/>
                      <a:pt x="38" y="66"/>
                    </a:cubicBezTo>
                    <a:cubicBezTo>
                      <a:pt x="36" y="66"/>
                      <a:pt x="35" y="63"/>
                      <a:pt x="34" y="61"/>
                    </a:cubicBezTo>
                    <a:cubicBezTo>
                      <a:pt x="32" y="59"/>
                      <a:pt x="32" y="58"/>
                      <a:pt x="32" y="55"/>
                    </a:cubicBezTo>
                    <a:cubicBezTo>
                      <a:pt x="31" y="53"/>
                      <a:pt x="30" y="51"/>
                      <a:pt x="30" y="49"/>
                    </a:cubicBezTo>
                    <a:cubicBezTo>
                      <a:pt x="31" y="43"/>
                      <a:pt x="35" y="35"/>
                      <a:pt x="40" y="31"/>
                    </a:cubicBezTo>
                    <a:cubicBezTo>
                      <a:pt x="42" y="30"/>
                      <a:pt x="44" y="30"/>
                      <a:pt x="46" y="30"/>
                    </a:cubicBezTo>
                    <a:cubicBezTo>
                      <a:pt x="49" y="30"/>
                      <a:pt x="52" y="30"/>
                      <a:pt x="55" y="31"/>
                    </a:cubicBezTo>
                    <a:cubicBezTo>
                      <a:pt x="58" y="31"/>
                      <a:pt x="61" y="32"/>
                      <a:pt x="63" y="32"/>
                    </a:cubicBezTo>
                    <a:cubicBezTo>
                      <a:pt x="63" y="32"/>
                      <a:pt x="63" y="32"/>
                      <a:pt x="63" y="32"/>
                    </a:cubicBezTo>
                    <a:cubicBezTo>
                      <a:pt x="70" y="32"/>
                      <a:pt x="76" y="31"/>
                      <a:pt x="82" y="31"/>
                    </a:cubicBezTo>
                    <a:cubicBezTo>
                      <a:pt x="83" y="31"/>
                      <a:pt x="83" y="31"/>
                      <a:pt x="84" y="31"/>
                    </a:cubicBezTo>
                    <a:cubicBezTo>
                      <a:pt x="84" y="31"/>
                      <a:pt x="84" y="31"/>
                      <a:pt x="85" y="31"/>
                    </a:cubicBezTo>
                    <a:cubicBezTo>
                      <a:pt x="87" y="31"/>
                      <a:pt x="89" y="31"/>
                      <a:pt x="91" y="31"/>
                    </a:cubicBezTo>
                    <a:cubicBezTo>
                      <a:pt x="93" y="31"/>
                      <a:pt x="95" y="31"/>
                      <a:pt x="97" y="31"/>
                    </a:cubicBezTo>
                    <a:cubicBezTo>
                      <a:pt x="101" y="31"/>
                      <a:pt x="104" y="31"/>
                      <a:pt x="107" y="32"/>
                    </a:cubicBezTo>
                    <a:cubicBezTo>
                      <a:pt x="110" y="33"/>
                      <a:pt x="113" y="35"/>
                      <a:pt x="116" y="36"/>
                    </a:cubicBezTo>
                    <a:cubicBezTo>
                      <a:pt x="118" y="36"/>
                      <a:pt x="119" y="36"/>
                      <a:pt x="120" y="36"/>
                    </a:cubicBezTo>
                    <a:cubicBezTo>
                      <a:pt x="122" y="36"/>
                      <a:pt x="124" y="36"/>
                      <a:pt x="126" y="35"/>
                    </a:cubicBezTo>
                    <a:cubicBezTo>
                      <a:pt x="128" y="35"/>
                      <a:pt x="134" y="35"/>
                      <a:pt x="136" y="33"/>
                    </a:cubicBezTo>
                    <a:cubicBezTo>
                      <a:pt x="139" y="30"/>
                      <a:pt x="142" y="27"/>
                      <a:pt x="145" y="24"/>
                    </a:cubicBezTo>
                    <a:cubicBezTo>
                      <a:pt x="147" y="22"/>
                      <a:pt x="150" y="21"/>
                      <a:pt x="152" y="18"/>
                    </a:cubicBezTo>
                    <a:cubicBezTo>
                      <a:pt x="153" y="15"/>
                      <a:pt x="155" y="12"/>
                      <a:pt x="156" y="9"/>
                    </a:cubicBezTo>
                    <a:cubicBezTo>
                      <a:pt x="158" y="5"/>
                      <a:pt x="160" y="2"/>
                      <a:pt x="155" y="1"/>
                    </a:cubicBezTo>
                    <a:cubicBezTo>
                      <a:pt x="155" y="0"/>
                      <a:pt x="154" y="0"/>
                      <a:pt x="1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173"/>
              <p:cNvSpPr/>
              <p:nvPr/>
            </p:nvSpPr>
            <p:spPr bwMode="auto">
              <a:xfrm>
                <a:off x="5788" y="4403"/>
                <a:ext cx="10" cy="4"/>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2" y="0"/>
                      <a:pt x="1" y="1"/>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Freeform 174"/>
              <p:cNvSpPr/>
              <p:nvPr/>
            </p:nvSpPr>
            <p:spPr bwMode="auto">
              <a:xfrm>
                <a:off x="4980" y="4819"/>
                <a:ext cx="61" cy="40"/>
              </a:xfrm>
              <a:custGeom>
                <a:gdLst>
                  <a:gd name="T0" fmla="*/ 15 w 26"/>
                  <a:gd name="T1" fmla="*/ 0 h 17"/>
                  <a:gd name="T2" fmla="*/ 6 w 26"/>
                  <a:gd name="T3" fmla="*/ 7 h 17"/>
                  <a:gd name="T4" fmla="*/ 0 w 26"/>
                  <a:gd name="T5" fmla="*/ 14 h 17"/>
                  <a:gd name="T6" fmla="*/ 3 w 26"/>
                  <a:gd name="T7" fmla="*/ 15 h 17"/>
                  <a:gd name="T8" fmla="*/ 3 w 26"/>
                  <a:gd name="T9" fmla="*/ 15 h 17"/>
                  <a:gd name="T10" fmla="*/ 3 w 26"/>
                  <a:gd name="T11" fmla="*/ 15 h 17"/>
                  <a:gd name="T12" fmla="*/ 4 w 26"/>
                  <a:gd name="T13" fmla="*/ 16 h 17"/>
                  <a:gd name="T14" fmla="*/ 4 w 26"/>
                  <a:gd name="T15" fmla="*/ 16 h 17"/>
                  <a:gd name="T16" fmla="*/ 11 w 26"/>
                  <a:gd name="T17" fmla="*/ 16 h 17"/>
                  <a:gd name="T18" fmla="*/ 13 w 26"/>
                  <a:gd name="T19" fmla="*/ 17 h 17"/>
                  <a:gd name="T20" fmla="*/ 14 w 26"/>
                  <a:gd name="T21" fmla="*/ 16 h 17"/>
                  <a:gd name="T22" fmla="*/ 15 w 26"/>
                  <a:gd name="T23" fmla="*/ 14 h 17"/>
                  <a:gd name="T24" fmla="*/ 17 w 26"/>
                  <a:gd name="T25" fmla="*/ 15 h 17"/>
                  <a:gd name="T26" fmla="*/ 19 w 26"/>
                  <a:gd name="T27" fmla="*/ 15 h 17"/>
                  <a:gd name="T28" fmla="*/ 19 w 26"/>
                  <a:gd name="T29" fmla="*/ 0 h 17"/>
                  <a:gd name="T30" fmla="*/ 15 w 26"/>
                  <a:gd name="T31"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17">
                    <a:moveTo>
                      <a:pt x="15" y="0"/>
                    </a:moveTo>
                    <a:cubicBezTo>
                      <a:pt x="10" y="0"/>
                      <a:pt x="4" y="2"/>
                      <a:pt x="6" y="7"/>
                    </a:cubicBezTo>
                    <a:cubicBezTo>
                      <a:pt x="8" y="11"/>
                      <a:pt x="3" y="12"/>
                      <a:pt x="0" y="14"/>
                    </a:cubicBezTo>
                    <a:cubicBezTo>
                      <a:pt x="1" y="14"/>
                      <a:pt x="2" y="14"/>
                      <a:pt x="3" y="15"/>
                    </a:cubicBezTo>
                    <a:cubicBezTo>
                      <a:pt x="3" y="15"/>
                      <a:pt x="3" y="15"/>
                      <a:pt x="3" y="15"/>
                    </a:cubicBezTo>
                    <a:cubicBezTo>
                      <a:pt x="3" y="15"/>
                      <a:pt x="3" y="15"/>
                      <a:pt x="3" y="15"/>
                    </a:cubicBezTo>
                    <a:cubicBezTo>
                      <a:pt x="4" y="15"/>
                      <a:pt x="4" y="16"/>
                      <a:pt x="4" y="16"/>
                    </a:cubicBezTo>
                    <a:cubicBezTo>
                      <a:pt x="4" y="16"/>
                      <a:pt x="4" y="16"/>
                      <a:pt x="4" y="16"/>
                    </a:cubicBezTo>
                    <a:cubicBezTo>
                      <a:pt x="6" y="16"/>
                      <a:pt x="8" y="16"/>
                      <a:pt x="11" y="16"/>
                    </a:cubicBezTo>
                    <a:cubicBezTo>
                      <a:pt x="12" y="17"/>
                      <a:pt x="12" y="17"/>
                      <a:pt x="13" y="17"/>
                    </a:cubicBezTo>
                    <a:cubicBezTo>
                      <a:pt x="13" y="17"/>
                      <a:pt x="14" y="17"/>
                      <a:pt x="14" y="16"/>
                    </a:cubicBezTo>
                    <a:cubicBezTo>
                      <a:pt x="16" y="16"/>
                      <a:pt x="14" y="14"/>
                      <a:pt x="15" y="14"/>
                    </a:cubicBezTo>
                    <a:cubicBezTo>
                      <a:pt x="16" y="14"/>
                      <a:pt x="16" y="14"/>
                      <a:pt x="17" y="15"/>
                    </a:cubicBezTo>
                    <a:cubicBezTo>
                      <a:pt x="17" y="15"/>
                      <a:pt x="18" y="15"/>
                      <a:pt x="19" y="15"/>
                    </a:cubicBezTo>
                    <a:cubicBezTo>
                      <a:pt x="15" y="13"/>
                      <a:pt x="26" y="3"/>
                      <a:pt x="19" y="0"/>
                    </a:cubicBezTo>
                    <a:cubicBezTo>
                      <a:pt x="18" y="0"/>
                      <a:pt x="17"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175"/>
              <p:cNvSpPr/>
              <p:nvPr/>
            </p:nvSpPr>
            <p:spPr bwMode="auto">
              <a:xfrm>
                <a:off x="5032" y="4809"/>
                <a:ext cx="144" cy="59"/>
              </a:xfrm>
              <a:custGeom>
                <a:gdLst>
                  <a:gd name="T0" fmla="*/ 30 w 61"/>
                  <a:gd name="T1" fmla="*/ 0 h 25"/>
                  <a:gd name="T2" fmla="*/ 26 w 61"/>
                  <a:gd name="T3" fmla="*/ 1 h 25"/>
                  <a:gd name="T4" fmla="*/ 29 w 61"/>
                  <a:gd name="T5" fmla="*/ 8 h 25"/>
                  <a:gd name="T6" fmla="*/ 38 w 61"/>
                  <a:gd name="T7" fmla="*/ 12 h 25"/>
                  <a:gd name="T8" fmla="*/ 27 w 61"/>
                  <a:gd name="T9" fmla="*/ 15 h 25"/>
                  <a:gd name="T10" fmla="*/ 26 w 61"/>
                  <a:gd name="T11" fmla="*/ 15 h 25"/>
                  <a:gd name="T12" fmla="*/ 25 w 61"/>
                  <a:gd name="T13" fmla="*/ 13 h 25"/>
                  <a:gd name="T14" fmla="*/ 15 w 61"/>
                  <a:gd name="T15" fmla="*/ 9 h 25"/>
                  <a:gd name="T16" fmla="*/ 10 w 61"/>
                  <a:gd name="T17" fmla="*/ 7 h 25"/>
                  <a:gd name="T18" fmla="*/ 6 w 61"/>
                  <a:gd name="T19" fmla="*/ 9 h 25"/>
                  <a:gd name="T20" fmla="*/ 2 w 61"/>
                  <a:gd name="T21" fmla="*/ 12 h 25"/>
                  <a:gd name="T22" fmla="*/ 1 w 61"/>
                  <a:gd name="T23" fmla="*/ 17 h 25"/>
                  <a:gd name="T24" fmla="*/ 6 w 61"/>
                  <a:gd name="T25" fmla="*/ 24 h 25"/>
                  <a:gd name="T26" fmla="*/ 9 w 61"/>
                  <a:gd name="T27" fmla="*/ 25 h 25"/>
                  <a:gd name="T28" fmla="*/ 9 w 61"/>
                  <a:gd name="T29" fmla="*/ 25 h 25"/>
                  <a:gd name="T30" fmla="*/ 26 w 61"/>
                  <a:gd name="T31" fmla="*/ 21 h 25"/>
                  <a:gd name="T32" fmla="*/ 35 w 61"/>
                  <a:gd name="T33" fmla="*/ 18 h 25"/>
                  <a:gd name="T34" fmla="*/ 41 w 61"/>
                  <a:gd name="T35" fmla="*/ 12 h 25"/>
                  <a:gd name="T36" fmla="*/ 42 w 61"/>
                  <a:gd name="T37" fmla="*/ 15 h 25"/>
                  <a:gd name="T38" fmla="*/ 43 w 61"/>
                  <a:gd name="T39" fmla="*/ 19 h 25"/>
                  <a:gd name="T40" fmla="*/ 43 w 61"/>
                  <a:gd name="T41" fmla="*/ 19 h 25"/>
                  <a:gd name="T42" fmla="*/ 50 w 61"/>
                  <a:gd name="T43" fmla="*/ 18 h 25"/>
                  <a:gd name="T44" fmla="*/ 60 w 61"/>
                  <a:gd name="T45" fmla="*/ 15 h 25"/>
                  <a:gd name="T46" fmla="*/ 61 w 61"/>
                  <a:gd name="T47" fmla="*/ 12 h 25"/>
                  <a:gd name="T48" fmla="*/ 58 w 61"/>
                  <a:gd name="T49" fmla="*/ 14 h 25"/>
                  <a:gd name="T50" fmla="*/ 56 w 61"/>
                  <a:gd name="T51" fmla="*/ 11 h 25"/>
                  <a:gd name="T52" fmla="*/ 57 w 61"/>
                  <a:gd name="T53" fmla="*/ 9 h 25"/>
                  <a:gd name="T54" fmla="*/ 54 w 61"/>
                  <a:gd name="T55" fmla="*/ 5 h 25"/>
                  <a:gd name="T56" fmla="*/ 54 w 61"/>
                  <a:gd name="T57" fmla="*/ 5 h 25"/>
                  <a:gd name="T58" fmla="*/ 48 w 61"/>
                  <a:gd name="T59" fmla="*/ 10 h 25"/>
                  <a:gd name="T60" fmla="*/ 44 w 61"/>
                  <a:gd name="T61" fmla="*/ 4 h 25"/>
                  <a:gd name="T62" fmla="*/ 39 w 61"/>
                  <a:gd name="T63" fmla="*/ 7 h 25"/>
                  <a:gd name="T64" fmla="*/ 30 w 61"/>
                  <a:gd name="T65"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25">
                    <a:moveTo>
                      <a:pt x="30" y="0"/>
                    </a:moveTo>
                    <a:cubicBezTo>
                      <a:pt x="29" y="0"/>
                      <a:pt x="28" y="0"/>
                      <a:pt x="26" y="1"/>
                    </a:cubicBezTo>
                    <a:cubicBezTo>
                      <a:pt x="26" y="4"/>
                      <a:pt x="27" y="6"/>
                      <a:pt x="29" y="8"/>
                    </a:cubicBezTo>
                    <a:cubicBezTo>
                      <a:pt x="30" y="9"/>
                      <a:pt x="38" y="11"/>
                      <a:pt x="38" y="12"/>
                    </a:cubicBezTo>
                    <a:cubicBezTo>
                      <a:pt x="38" y="14"/>
                      <a:pt x="30" y="15"/>
                      <a:pt x="27" y="15"/>
                    </a:cubicBezTo>
                    <a:cubicBezTo>
                      <a:pt x="27" y="15"/>
                      <a:pt x="26" y="15"/>
                      <a:pt x="26" y="15"/>
                    </a:cubicBezTo>
                    <a:cubicBezTo>
                      <a:pt x="26" y="15"/>
                      <a:pt x="25" y="13"/>
                      <a:pt x="25" y="13"/>
                    </a:cubicBezTo>
                    <a:cubicBezTo>
                      <a:pt x="22" y="12"/>
                      <a:pt x="18" y="10"/>
                      <a:pt x="15" y="9"/>
                    </a:cubicBezTo>
                    <a:cubicBezTo>
                      <a:pt x="13" y="8"/>
                      <a:pt x="12" y="7"/>
                      <a:pt x="10" y="7"/>
                    </a:cubicBezTo>
                    <a:cubicBezTo>
                      <a:pt x="9" y="7"/>
                      <a:pt x="8" y="8"/>
                      <a:pt x="6" y="9"/>
                    </a:cubicBezTo>
                    <a:cubicBezTo>
                      <a:pt x="4" y="10"/>
                      <a:pt x="2" y="10"/>
                      <a:pt x="2" y="12"/>
                    </a:cubicBezTo>
                    <a:cubicBezTo>
                      <a:pt x="1" y="14"/>
                      <a:pt x="1" y="15"/>
                      <a:pt x="1" y="17"/>
                    </a:cubicBezTo>
                    <a:cubicBezTo>
                      <a:pt x="1" y="23"/>
                      <a:pt x="0" y="22"/>
                      <a:pt x="6" y="24"/>
                    </a:cubicBezTo>
                    <a:cubicBezTo>
                      <a:pt x="7" y="25"/>
                      <a:pt x="8" y="25"/>
                      <a:pt x="9" y="25"/>
                    </a:cubicBezTo>
                    <a:cubicBezTo>
                      <a:pt x="9" y="25"/>
                      <a:pt x="9" y="25"/>
                      <a:pt x="9" y="25"/>
                    </a:cubicBezTo>
                    <a:cubicBezTo>
                      <a:pt x="15" y="25"/>
                      <a:pt x="21" y="22"/>
                      <a:pt x="26" y="21"/>
                    </a:cubicBezTo>
                    <a:cubicBezTo>
                      <a:pt x="29" y="21"/>
                      <a:pt x="32" y="19"/>
                      <a:pt x="35" y="18"/>
                    </a:cubicBezTo>
                    <a:cubicBezTo>
                      <a:pt x="38" y="16"/>
                      <a:pt x="39" y="15"/>
                      <a:pt x="41" y="12"/>
                    </a:cubicBezTo>
                    <a:cubicBezTo>
                      <a:pt x="42" y="13"/>
                      <a:pt x="42" y="14"/>
                      <a:pt x="42" y="15"/>
                    </a:cubicBezTo>
                    <a:cubicBezTo>
                      <a:pt x="42" y="16"/>
                      <a:pt x="43" y="19"/>
                      <a:pt x="43" y="19"/>
                    </a:cubicBezTo>
                    <a:cubicBezTo>
                      <a:pt x="43" y="19"/>
                      <a:pt x="43" y="19"/>
                      <a:pt x="43" y="19"/>
                    </a:cubicBezTo>
                    <a:cubicBezTo>
                      <a:pt x="45" y="19"/>
                      <a:pt x="47" y="18"/>
                      <a:pt x="50" y="18"/>
                    </a:cubicBezTo>
                    <a:cubicBezTo>
                      <a:pt x="52" y="17"/>
                      <a:pt x="59" y="17"/>
                      <a:pt x="60" y="15"/>
                    </a:cubicBezTo>
                    <a:cubicBezTo>
                      <a:pt x="61" y="15"/>
                      <a:pt x="61" y="13"/>
                      <a:pt x="61" y="12"/>
                    </a:cubicBezTo>
                    <a:cubicBezTo>
                      <a:pt x="60" y="13"/>
                      <a:pt x="59" y="14"/>
                      <a:pt x="58" y="14"/>
                    </a:cubicBezTo>
                    <a:cubicBezTo>
                      <a:pt x="57" y="14"/>
                      <a:pt x="57" y="13"/>
                      <a:pt x="56" y="11"/>
                    </a:cubicBezTo>
                    <a:cubicBezTo>
                      <a:pt x="56" y="11"/>
                      <a:pt x="57" y="9"/>
                      <a:pt x="57" y="9"/>
                    </a:cubicBezTo>
                    <a:cubicBezTo>
                      <a:pt x="57" y="6"/>
                      <a:pt x="56" y="5"/>
                      <a:pt x="54" y="5"/>
                    </a:cubicBezTo>
                    <a:cubicBezTo>
                      <a:pt x="54" y="5"/>
                      <a:pt x="54" y="5"/>
                      <a:pt x="54" y="5"/>
                    </a:cubicBezTo>
                    <a:cubicBezTo>
                      <a:pt x="49" y="6"/>
                      <a:pt x="50" y="6"/>
                      <a:pt x="48" y="10"/>
                    </a:cubicBezTo>
                    <a:cubicBezTo>
                      <a:pt x="48" y="6"/>
                      <a:pt x="46" y="4"/>
                      <a:pt x="44" y="4"/>
                    </a:cubicBezTo>
                    <a:cubicBezTo>
                      <a:pt x="43" y="4"/>
                      <a:pt x="41" y="5"/>
                      <a:pt x="39" y="7"/>
                    </a:cubicBezTo>
                    <a:cubicBezTo>
                      <a:pt x="35" y="2"/>
                      <a:pt x="34"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Freeform 176"/>
              <p:cNvSpPr/>
              <p:nvPr/>
            </p:nvSpPr>
            <p:spPr bwMode="auto">
              <a:xfrm>
                <a:off x="5649" y="4774"/>
                <a:ext cx="4" cy="9"/>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1" y="2"/>
                      <a:pt x="0" y="2"/>
                      <a:pt x="1"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177"/>
              <p:cNvSpPr/>
              <p:nvPr/>
            </p:nvSpPr>
            <p:spPr bwMode="auto">
              <a:xfrm>
                <a:off x="4940" y="4736"/>
                <a:ext cx="23" cy="7"/>
              </a:xfrm>
              <a:custGeom>
                <a:gdLst>
                  <a:gd name="T0" fmla="*/ 4 w 10"/>
                  <a:gd name="T1" fmla="*/ 0 h 3"/>
                  <a:gd name="T2" fmla="*/ 5 w 10"/>
                  <a:gd name="T3" fmla="*/ 3 h 3"/>
                  <a:gd name="T4" fmla="*/ 6 w 10"/>
                  <a:gd name="T5" fmla="*/ 3 h 3"/>
                  <a:gd name="T6" fmla="*/ 9 w 10"/>
                  <a:gd name="T7" fmla="*/ 2 h 3"/>
                  <a:gd name="T8" fmla="*/ 10 w 10"/>
                  <a:gd name="T9" fmla="*/ 2 h 3"/>
                  <a:gd name="T10" fmla="*/ 4 w 10"/>
                  <a:gd name="T11" fmla="*/ 0 h 3"/>
                </a:gdLst>
                <a:cxnLst>
                  <a:cxn ang="0">
                    <a:pos x="T0" y="T1"/>
                  </a:cxn>
                  <a:cxn ang="0">
                    <a:pos x="T2" y="T3"/>
                  </a:cxn>
                  <a:cxn ang="0">
                    <a:pos x="T4" y="T5"/>
                  </a:cxn>
                  <a:cxn ang="0">
                    <a:pos x="T6" y="T7"/>
                  </a:cxn>
                  <a:cxn ang="0">
                    <a:pos x="T8" y="T9"/>
                  </a:cxn>
                  <a:cxn ang="0">
                    <a:pos x="T10" y="T11"/>
                  </a:cxn>
                </a:cxnLst>
                <a:rect l="0" t="0" r="r" b="b"/>
                <a:pathLst>
                  <a:path w="10" h="3">
                    <a:moveTo>
                      <a:pt x="4" y="0"/>
                    </a:moveTo>
                    <a:cubicBezTo>
                      <a:pt x="0" y="1"/>
                      <a:pt x="2" y="3"/>
                      <a:pt x="5" y="3"/>
                    </a:cubicBezTo>
                    <a:cubicBezTo>
                      <a:pt x="5" y="3"/>
                      <a:pt x="5" y="3"/>
                      <a:pt x="6" y="3"/>
                    </a:cubicBezTo>
                    <a:cubicBezTo>
                      <a:pt x="9" y="2"/>
                      <a:pt x="9" y="2"/>
                      <a:pt x="9" y="2"/>
                    </a:cubicBezTo>
                    <a:cubicBezTo>
                      <a:pt x="10" y="2"/>
                      <a:pt x="10" y="2"/>
                      <a:pt x="10" y="2"/>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Freeform 178"/>
              <p:cNvSpPr/>
              <p:nvPr/>
            </p:nvSpPr>
            <p:spPr bwMode="auto">
              <a:xfrm>
                <a:off x="5164" y="4812"/>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Freeform 179"/>
              <p:cNvSpPr/>
              <p:nvPr/>
            </p:nvSpPr>
            <p:spPr bwMode="auto">
              <a:xfrm>
                <a:off x="4571" y="4426"/>
                <a:ext cx="10" cy="3"/>
              </a:xfrm>
              <a:custGeom>
                <a:gdLst>
                  <a:gd name="T0" fmla="*/ 1 w 4"/>
                  <a:gd name="T1" fmla="*/ 0 h 1"/>
                  <a:gd name="T2" fmla="*/ 0 w 4"/>
                  <a:gd name="T3" fmla="*/ 1 h 1"/>
                  <a:gd name="T4" fmla="*/ 1 w 4"/>
                  <a:gd name="T5" fmla="*/ 1 h 1"/>
                  <a:gd name="T6" fmla="*/ 4 w 4"/>
                  <a:gd name="T7" fmla="*/ 1 h 1"/>
                  <a:gd name="T8" fmla="*/ 1 w 4"/>
                  <a:gd name="T9" fmla="*/ 0 h 1"/>
                </a:gdLst>
                <a:cxnLst>
                  <a:cxn ang="0">
                    <a:pos x="T0" y="T1"/>
                  </a:cxn>
                  <a:cxn ang="0">
                    <a:pos x="T2" y="T3"/>
                  </a:cxn>
                  <a:cxn ang="0">
                    <a:pos x="T4" y="T5"/>
                  </a:cxn>
                  <a:cxn ang="0">
                    <a:pos x="T6" y="T7"/>
                  </a:cxn>
                  <a:cxn ang="0">
                    <a:pos x="T8" y="T9"/>
                  </a:cxn>
                </a:cxnLst>
                <a:rect l="0" t="0" r="r" b="b"/>
                <a:pathLst>
                  <a:path w="4" h="1">
                    <a:moveTo>
                      <a:pt x="1" y="0"/>
                    </a:moveTo>
                    <a:cubicBezTo>
                      <a:pt x="1" y="0"/>
                      <a:pt x="0" y="1"/>
                      <a:pt x="0" y="1"/>
                    </a:cubicBezTo>
                    <a:cubicBezTo>
                      <a:pt x="0" y="1"/>
                      <a:pt x="0" y="1"/>
                      <a:pt x="1" y="1"/>
                    </a:cubicBezTo>
                    <a:cubicBezTo>
                      <a:pt x="2" y="1"/>
                      <a:pt x="3" y="1"/>
                      <a:pt x="4"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180"/>
              <p:cNvSpPr/>
              <p:nvPr/>
            </p:nvSpPr>
            <p:spPr bwMode="auto">
              <a:xfrm>
                <a:off x="5850" y="4809"/>
                <a:ext cx="23" cy="14"/>
              </a:xfrm>
              <a:custGeom>
                <a:gdLst>
                  <a:gd name="T0" fmla="*/ 7 w 10"/>
                  <a:gd name="T1" fmla="*/ 0 h 6"/>
                  <a:gd name="T2" fmla="*/ 0 w 10"/>
                  <a:gd name="T3" fmla="*/ 6 h 6"/>
                  <a:gd name="T4" fmla="*/ 6 w 10"/>
                  <a:gd name="T5" fmla="*/ 3 h 6"/>
                  <a:gd name="T6" fmla="*/ 10 w 10"/>
                  <a:gd name="T7" fmla="*/ 1 h 6"/>
                  <a:gd name="T8" fmla="*/ 7 w 10"/>
                  <a:gd name="T9" fmla="*/ 0 h 6"/>
                </a:gdLst>
                <a:cxnLst>
                  <a:cxn ang="0">
                    <a:pos x="T0" y="T1"/>
                  </a:cxn>
                  <a:cxn ang="0">
                    <a:pos x="T2" y="T3"/>
                  </a:cxn>
                  <a:cxn ang="0">
                    <a:pos x="T4" y="T5"/>
                  </a:cxn>
                  <a:cxn ang="0">
                    <a:pos x="T6" y="T7"/>
                  </a:cxn>
                  <a:cxn ang="0">
                    <a:pos x="T8" y="T9"/>
                  </a:cxn>
                </a:cxnLst>
                <a:rect l="0" t="0" r="r" b="b"/>
                <a:pathLst>
                  <a:path w="10" h="6">
                    <a:moveTo>
                      <a:pt x="7" y="0"/>
                    </a:moveTo>
                    <a:cubicBezTo>
                      <a:pt x="4" y="0"/>
                      <a:pt x="2" y="3"/>
                      <a:pt x="0" y="6"/>
                    </a:cubicBezTo>
                    <a:cubicBezTo>
                      <a:pt x="3" y="5"/>
                      <a:pt x="3" y="4"/>
                      <a:pt x="6" y="3"/>
                    </a:cubicBezTo>
                    <a:cubicBezTo>
                      <a:pt x="7" y="3"/>
                      <a:pt x="8" y="2"/>
                      <a:pt x="10"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181"/>
              <p:cNvSpPr/>
              <p:nvPr/>
            </p:nvSpPr>
            <p:spPr bwMode="auto">
              <a:xfrm>
                <a:off x="5649" y="4294"/>
                <a:ext cx="7" cy="7"/>
              </a:xfrm>
              <a:custGeom>
                <a:gdLst>
                  <a:gd name="T0" fmla="*/ 3 w 3"/>
                  <a:gd name="T1" fmla="*/ 0 h 3"/>
                  <a:gd name="T2" fmla="*/ 1 w 3"/>
                  <a:gd name="T3" fmla="*/ 3 h 3"/>
                  <a:gd name="T4" fmla="*/ 3 w 3"/>
                  <a:gd name="T5" fmla="*/ 0 h 3"/>
                </a:gdLst>
                <a:cxnLst>
                  <a:cxn ang="0">
                    <a:pos x="T0" y="T1"/>
                  </a:cxn>
                  <a:cxn ang="0">
                    <a:pos x="T2" y="T3"/>
                  </a:cxn>
                  <a:cxn ang="0">
                    <a:pos x="T4" y="T5"/>
                  </a:cxn>
                </a:cxnLst>
                <a:rect l="0" t="0" r="r" b="b"/>
                <a:pathLst>
                  <a:path w="3" h="3">
                    <a:moveTo>
                      <a:pt x="3" y="0"/>
                    </a:moveTo>
                    <a:cubicBezTo>
                      <a:pt x="1" y="1"/>
                      <a:pt x="0" y="2"/>
                      <a:pt x="1" y="3"/>
                    </a:cubicBezTo>
                    <a:cubicBezTo>
                      <a:pt x="2"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Freeform 182"/>
              <p:cNvSpPr/>
              <p:nvPr/>
            </p:nvSpPr>
            <p:spPr bwMode="auto">
              <a:xfrm>
                <a:off x="5682" y="4545"/>
                <a:ext cx="21" cy="9"/>
              </a:xfrm>
              <a:custGeom>
                <a:gdLst>
                  <a:gd name="T0" fmla="*/ 5 w 9"/>
                  <a:gd name="T1" fmla="*/ 0 h 4"/>
                  <a:gd name="T2" fmla="*/ 1 w 9"/>
                  <a:gd name="T3" fmla="*/ 2 h 4"/>
                  <a:gd name="T4" fmla="*/ 1 w 9"/>
                  <a:gd name="T5" fmla="*/ 4 h 4"/>
                  <a:gd name="T6" fmla="*/ 4 w 9"/>
                  <a:gd name="T7" fmla="*/ 4 h 4"/>
                  <a:gd name="T8" fmla="*/ 9 w 9"/>
                  <a:gd name="T9" fmla="*/ 1 h 4"/>
                  <a:gd name="T10" fmla="*/ 5 w 9"/>
                  <a:gd name="T11" fmla="*/ 0 h 4"/>
                </a:gdLst>
                <a:cxnLst>
                  <a:cxn ang="0">
                    <a:pos x="T0" y="T1"/>
                  </a:cxn>
                  <a:cxn ang="0">
                    <a:pos x="T2" y="T3"/>
                  </a:cxn>
                  <a:cxn ang="0">
                    <a:pos x="T4" y="T5"/>
                  </a:cxn>
                  <a:cxn ang="0">
                    <a:pos x="T6" y="T7"/>
                  </a:cxn>
                  <a:cxn ang="0">
                    <a:pos x="T8" y="T9"/>
                  </a:cxn>
                  <a:cxn ang="0">
                    <a:pos x="T10" y="T11"/>
                  </a:cxn>
                </a:cxnLst>
                <a:rect l="0" t="0" r="r" b="b"/>
                <a:pathLst>
                  <a:path w="9" h="4">
                    <a:moveTo>
                      <a:pt x="5" y="0"/>
                    </a:moveTo>
                    <a:cubicBezTo>
                      <a:pt x="3" y="0"/>
                      <a:pt x="2" y="1"/>
                      <a:pt x="1" y="2"/>
                    </a:cubicBezTo>
                    <a:cubicBezTo>
                      <a:pt x="0" y="4"/>
                      <a:pt x="0" y="4"/>
                      <a:pt x="1" y="4"/>
                    </a:cubicBezTo>
                    <a:cubicBezTo>
                      <a:pt x="2" y="4"/>
                      <a:pt x="3" y="4"/>
                      <a:pt x="4" y="4"/>
                    </a:cubicBezTo>
                    <a:cubicBezTo>
                      <a:pt x="6" y="3"/>
                      <a:pt x="8" y="2"/>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183"/>
              <p:cNvSpPr/>
              <p:nvPr/>
            </p:nvSpPr>
            <p:spPr bwMode="auto">
              <a:xfrm>
                <a:off x="5613" y="4072"/>
                <a:ext cx="12" cy="33"/>
              </a:xfrm>
              <a:custGeom>
                <a:gdLst>
                  <a:gd name="T0" fmla="*/ 1 w 5"/>
                  <a:gd name="T1" fmla="*/ 0 h 14"/>
                  <a:gd name="T2" fmla="*/ 1 w 5"/>
                  <a:gd name="T3" fmla="*/ 14 h 14"/>
                  <a:gd name="T4" fmla="*/ 3 w 5"/>
                  <a:gd name="T5" fmla="*/ 9 h 14"/>
                  <a:gd name="T6" fmla="*/ 5 w 5"/>
                  <a:gd name="T7" fmla="*/ 7 h 14"/>
                  <a:gd name="T8" fmla="*/ 3 w 5"/>
                  <a:gd name="T9" fmla="*/ 5 h 14"/>
                  <a:gd name="T10" fmla="*/ 4 w 5"/>
                  <a:gd name="T11" fmla="*/ 3 h 14"/>
                  <a:gd name="T12" fmla="*/ 1 w 5"/>
                  <a:gd name="T13" fmla="*/ 0 h 14"/>
                </a:gdLst>
                <a:cxnLst>
                  <a:cxn ang="0">
                    <a:pos x="T0" y="T1"/>
                  </a:cxn>
                  <a:cxn ang="0">
                    <a:pos x="T2" y="T3"/>
                  </a:cxn>
                  <a:cxn ang="0">
                    <a:pos x="T4" y="T5"/>
                  </a:cxn>
                  <a:cxn ang="0">
                    <a:pos x="T6" y="T7"/>
                  </a:cxn>
                  <a:cxn ang="0">
                    <a:pos x="T8" y="T9"/>
                  </a:cxn>
                  <a:cxn ang="0">
                    <a:pos x="T10" y="T11"/>
                  </a:cxn>
                  <a:cxn ang="0">
                    <a:pos x="T12" y="T13"/>
                  </a:cxn>
                </a:cxnLst>
                <a:rect l="0" t="0" r="r" b="b"/>
                <a:pathLst>
                  <a:path w="5" h="14">
                    <a:moveTo>
                      <a:pt x="1" y="0"/>
                    </a:moveTo>
                    <a:cubicBezTo>
                      <a:pt x="0" y="5"/>
                      <a:pt x="1" y="9"/>
                      <a:pt x="1" y="14"/>
                    </a:cubicBezTo>
                    <a:cubicBezTo>
                      <a:pt x="2" y="12"/>
                      <a:pt x="2" y="10"/>
                      <a:pt x="3" y="9"/>
                    </a:cubicBezTo>
                    <a:cubicBezTo>
                      <a:pt x="3" y="8"/>
                      <a:pt x="5" y="7"/>
                      <a:pt x="5" y="7"/>
                    </a:cubicBezTo>
                    <a:cubicBezTo>
                      <a:pt x="5" y="6"/>
                      <a:pt x="3" y="5"/>
                      <a:pt x="3" y="5"/>
                    </a:cubicBezTo>
                    <a:cubicBezTo>
                      <a:pt x="3" y="4"/>
                      <a:pt x="4" y="3"/>
                      <a:pt x="4" y="3"/>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Freeform 184"/>
              <p:cNvSpPr/>
              <p:nvPr/>
            </p:nvSpPr>
            <p:spPr bwMode="auto">
              <a:xfrm>
                <a:off x="4522" y="4091"/>
                <a:ext cx="28" cy="33"/>
              </a:xfrm>
              <a:custGeom>
                <a:gdLst>
                  <a:gd name="T0" fmla="*/ 7 w 12"/>
                  <a:gd name="T1" fmla="*/ 0 h 14"/>
                  <a:gd name="T2" fmla="*/ 1 w 12"/>
                  <a:gd name="T3" fmla="*/ 4 h 14"/>
                  <a:gd name="T4" fmla="*/ 2 w 12"/>
                  <a:gd name="T5" fmla="*/ 9 h 14"/>
                  <a:gd name="T6" fmla="*/ 8 w 12"/>
                  <a:gd name="T7" fmla="*/ 12 h 14"/>
                  <a:gd name="T8" fmla="*/ 4 w 12"/>
                  <a:gd name="T9" fmla="*/ 13 h 14"/>
                  <a:gd name="T10" fmla="*/ 6 w 12"/>
                  <a:gd name="T11" fmla="*/ 14 h 14"/>
                  <a:gd name="T12" fmla="*/ 8 w 12"/>
                  <a:gd name="T13" fmla="*/ 14 h 14"/>
                  <a:gd name="T14" fmla="*/ 11 w 12"/>
                  <a:gd name="T15" fmla="*/ 9 h 14"/>
                  <a:gd name="T16" fmla="*/ 7 w 12"/>
                  <a:gd name="T1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4">
                    <a:moveTo>
                      <a:pt x="7" y="0"/>
                    </a:moveTo>
                    <a:cubicBezTo>
                      <a:pt x="5" y="1"/>
                      <a:pt x="2" y="3"/>
                      <a:pt x="1" y="4"/>
                    </a:cubicBezTo>
                    <a:cubicBezTo>
                      <a:pt x="0" y="6"/>
                      <a:pt x="1" y="7"/>
                      <a:pt x="2" y="9"/>
                    </a:cubicBezTo>
                    <a:cubicBezTo>
                      <a:pt x="4" y="10"/>
                      <a:pt x="7" y="10"/>
                      <a:pt x="8" y="12"/>
                    </a:cubicBezTo>
                    <a:cubicBezTo>
                      <a:pt x="7" y="12"/>
                      <a:pt x="3" y="12"/>
                      <a:pt x="4" y="13"/>
                    </a:cubicBezTo>
                    <a:cubicBezTo>
                      <a:pt x="4" y="14"/>
                      <a:pt x="5" y="14"/>
                      <a:pt x="6" y="14"/>
                    </a:cubicBezTo>
                    <a:cubicBezTo>
                      <a:pt x="7" y="14"/>
                      <a:pt x="7" y="14"/>
                      <a:pt x="8" y="14"/>
                    </a:cubicBezTo>
                    <a:cubicBezTo>
                      <a:pt x="9" y="13"/>
                      <a:pt x="10" y="11"/>
                      <a:pt x="11" y="9"/>
                    </a:cubicBezTo>
                    <a:cubicBezTo>
                      <a:pt x="12" y="5"/>
                      <a:pt x="8"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185"/>
              <p:cNvSpPr/>
              <p:nvPr/>
            </p:nvSpPr>
            <p:spPr bwMode="auto">
              <a:xfrm>
                <a:off x="4240" y="4296"/>
                <a:ext cx="10" cy="7"/>
              </a:xfrm>
              <a:custGeom>
                <a:gdLst>
                  <a:gd name="T0" fmla="*/ 2 w 4"/>
                  <a:gd name="T1" fmla="*/ 0 h 3"/>
                  <a:gd name="T2" fmla="*/ 0 w 4"/>
                  <a:gd name="T3" fmla="*/ 3 h 3"/>
                  <a:gd name="T4" fmla="*/ 4 w 4"/>
                  <a:gd name="T5" fmla="*/ 3 h 3"/>
                  <a:gd name="T6" fmla="*/ 2 w 4"/>
                  <a:gd name="T7" fmla="*/ 0 h 3"/>
                </a:gdLst>
                <a:cxnLst>
                  <a:cxn ang="0">
                    <a:pos x="T0" y="T1"/>
                  </a:cxn>
                  <a:cxn ang="0">
                    <a:pos x="T2" y="T3"/>
                  </a:cxn>
                  <a:cxn ang="0">
                    <a:pos x="T4" y="T5"/>
                  </a:cxn>
                  <a:cxn ang="0">
                    <a:pos x="T6" y="T7"/>
                  </a:cxn>
                </a:cxnLst>
                <a:rect l="0" t="0" r="r" b="b"/>
                <a:pathLst>
                  <a:path w="4" h="3">
                    <a:moveTo>
                      <a:pt x="2" y="0"/>
                    </a:moveTo>
                    <a:cubicBezTo>
                      <a:pt x="1" y="0"/>
                      <a:pt x="0" y="1"/>
                      <a:pt x="0" y="3"/>
                    </a:cubicBezTo>
                    <a:cubicBezTo>
                      <a:pt x="1" y="3"/>
                      <a:pt x="3" y="3"/>
                      <a:pt x="4"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186"/>
              <p:cNvSpPr/>
              <p:nvPr/>
            </p:nvSpPr>
            <p:spPr bwMode="auto">
              <a:xfrm>
                <a:off x="4198" y="4268"/>
                <a:ext cx="45" cy="24"/>
              </a:xfrm>
              <a:custGeom>
                <a:gdLst>
                  <a:gd name="T0" fmla="*/ 9 w 19"/>
                  <a:gd name="T1" fmla="*/ 0 h 10"/>
                  <a:gd name="T2" fmla="*/ 9 w 19"/>
                  <a:gd name="T3" fmla="*/ 0 h 10"/>
                  <a:gd name="T4" fmla="*/ 6 w 19"/>
                  <a:gd name="T5" fmla="*/ 4 h 10"/>
                  <a:gd name="T6" fmla="*/ 5 w 19"/>
                  <a:gd name="T7" fmla="*/ 3 h 10"/>
                  <a:gd name="T8" fmla="*/ 3 w 19"/>
                  <a:gd name="T9" fmla="*/ 1 h 10"/>
                  <a:gd name="T10" fmla="*/ 3 w 19"/>
                  <a:gd name="T11" fmla="*/ 1 h 10"/>
                  <a:gd name="T12" fmla="*/ 3 w 19"/>
                  <a:gd name="T13" fmla="*/ 6 h 10"/>
                  <a:gd name="T14" fmla="*/ 0 w 19"/>
                  <a:gd name="T15" fmla="*/ 7 h 10"/>
                  <a:gd name="T16" fmla="*/ 8 w 19"/>
                  <a:gd name="T17" fmla="*/ 10 h 10"/>
                  <a:gd name="T18" fmla="*/ 13 w 19"/>
                  <a:gd name="T19" fmla="*/ 10 h 10"/>
                  <a:gd name="T20" fmla="*/ 16 w 19"/>
                  <a:gd name="T21" fmla="*/ 10 h 10"/>
                  <a:gd name="T22" fmla="*/ 16 w 19"/>
                  <a:gd name="T23" fmla="*/ 10 h 10"/>
                  <a:gd name="T24" fmla="*/ 7 w 19"/>
                  <a:gd name="T25" fmla="*/ 5 h 10"/>
                  <a:gd name="T26" fmla="*/ 6 w 19"/>
                  <a:gd name="T27" fmla="*/ 4 h 10"/>
                  <a:gd name="T28" fmla="*/ 7 w 19"/>
                  <a:gd name="T29" fmla="*/ 4 h 10"/>
                  <a:gd name="T30" fmla="*/ 8 w 19"/>
                  <a:gd name="T31" fmla="*/ 4 h 10"/>
                  <a:gd name="T32" fmla="*/ 19 w 19"/>
                  <a:gd name="T33" fmla="*/ 8 h 10"/>
                  <a:gd name="T34" fmla="*/ 13 w 19"/>
                  <a:gd name="T35" fmla="*/ 2 h 10"/>
                  <a:gd name="T36" fmla="*/ 9 w 19"/>
                  <a:gd name="T3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10">
                    <a:moveTo>
                      <a:pt x="9" y="0"/>
                    </a:moveTo>
                    <a:cubicBezTo>
                      <a:pt x="9" y="0"/>
                      <a:pt x="9" y="0"/>
                      <a:pt x="9" y="0"/>
                    </a:cubicBezTo>
                    <a:cubicBezTo>
                      <a:pt x="7" y="1"/>
                      <a:pt x="7" y="2"/>
                      <a:pt x="6" y="4"/>
                    </a:cubicBezTo>
                    <a:cubicBezTo>
                      <a:pt x="6" y="3"/>
                      <a:pt x="6" y="3"/>
                      <a:pt x="5" y="3"/>
                    </a:cubicBezTo>
                    <a:cubicBezTo>
                      <a:pt x="5" y="2"/>
                      <a:pt x="4" y="1"/>
                      <a:pt x="3" y="1"/>
                    </a:cubicBezTo>
                    <a:cubicBezTo>
                      <a:pt x="3" y="1"/>
                      <a:pt x="3" y="1"/>
                      <a:pt x="3" y="1"/>
                    </a:cubicBezTo>
                    <a:cubicBezTo>
                      <a:pt x="1" y="1"/>
                      <a:pt x="3" y="4"/>
                      <a:pt x="3" y="6"/>
                    </a:cubicBezTo>
                    <a:cubicBezTo>
                      <a:pt x="2" y="6"/>
                      <a:pt x="0" y="6"/>
                      <a:pt x="0" y="7"/>
                    </a:cubicBezTo>
                    <a:cubicBezTo>
                      <a:pt x="0" y="10"/>
                      <a:pt x="4" y="10"/>
                      <a:pt x="8" y="10"/>
                    </a:cubicBezTo>
                    <a:cubicBezTo>
                      <a:pt x="10" y="10"/>
                      <a:pt x="12" y="10"/>
                      <a:pt x="13" y="10"/>
                    </a:cubicBezTo>
                    <a:cubicBezTo>
                      <a:pt x="15" y="10"/>
                      <a:pt x="16" y="10"/>
                      <a:pt x="16" y="10"/>
                    </a:cubicBezTo>
                    <a:cubicBezTo>
                      <a:pt x="16" y="10"/>
                      <a:pt x="16" y="10"/>
                      <a:pt x="16" y="10"/>
                    </a:cubicBezTo>
                    <a:cubicBezTo>
                      <a:pt x="13" y="6"/>
                      <a:pt x="10" y="7"/>
                      <a:pt x="7" y="5"/>
                    </a:cubicBezTo>
                    <a:cubicBezTo>
                      <a:pt x="6" y="4"/>
                      <a:pt x="6" y="4"/>
                      <a:pt x="6" y="4"/>
                    </a:cubicBezTo>
                    <a:cubicBezTo>
                      <a:pt x="6" y="4"/>
                      <a:pt x="7" y="4"/>
                      <a:pt x="7" y="4"/>
                    </a:cubicBezTo>
                    <a:cubicBezTo>
                      <a:pt x="7" y="4"/>
                      <a:pt x="8" y="4"/>
                      <a:pt x="8" y="4"/>
                    </a:cubicBezTo>
                    <a:cubicBezTo>
                      <a:pt x="11" y="4"/>
                      <a:pt x="18" y="8"/>
                      <a:pt x="19" y="8"/>
                    </a:cubicBezTo>
                    <a:cubicBezTo>
                      <a:pt x="17" y="5"/>
                      <a:pt x="16" y="3"/>
                      <a:pt x="13" y="2"/>
                    </a:cubicBezTo>
                    <a:cubicBezTo>
                      <a:pt x="12" y="1"/>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187"/>
              <p:cNvSpPr/>
              <p:nvPr/>
            </p:nvSpPr>
            <p:spPr bwMode="auto">
              <a:xfrm>
                <a:off x="5998" y="4575"/>
                <a:ext cx="10" cy="10"/>
              </a:xfrm>
              <a:custGeom>
                <a:gdLst>
                  <a:gd name="T0" fmla="*/ 0 w 4"/>
                  <a:gd name="T1" fmla="*/ 0 h 4"/>
                  <a:gd name="T2" fmla="*/ 4 w 4"/>
                  <a:gd name="T3" fmla="*/ 4 h 4"/>
                  <a:gd name="T4" fmla="*/ 4 w 4"/>
                  <a:gd name="T5" fmla="*/ 4 h 4"/>
                  <a:gd name="T6" fmla="*/ 0 w 4"/>
                  <a:gd name="T7" fmla="*/ 0 h 4"/>
                </a:gdLst>
                <a:cxnLst>
                  <a:cxn ang="0">
                    <a:pos x="T0" y="T1"/>
                  </a:cxn>
                  <a:cxn ang="0">
                    <a:pos x="T2" y="T3"/>
                  </a:cxn>
                  <a:cxn ang="0">
                    <a:pos x="T4" y="T5"/>
                  </a:cxn>
                  <a:cxn ang="0">
                    <a:pos x="T6" y="T7"/>
                  </a:cxn>
                </a:cxnLst>
                <a:rect l="0" t="0" r="r" b="b"/>
                <a:pathLst>
                  <a:path w="4" h="4">
                    <a:moveTo>
                      <a:pt x="0" y="0"/>
                    </a:moveTo>
                    <a:cubicBezTo>
                      <a:pt x="0" y="2"/>
                      <a:pt x="2" y="4"/>
                      <a:pt x="4" y="4"/>
                    </a:cubicBezTo>
                    <a:cubicBezTo>
                      <a:pt x="4" y="4"/>
                      <a:pt x="4" y="4"/>
                      <a:pt x="4"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188"/>
              <p:cNvSpPr/>
              <p:nvPr/>
            </p:nvSpPr>
            <p:spPr bwMode="auto">
              <a:xfrm>
                <a:off x="5330" y="4355"/>
                <a:ext cx="9" cy="3"/>
              </a:xfrm>
              <a:custGeom>
                <a:gdLst>
                  <a:gd name="T0" fmla="*/ 3 w 4"/>
                  <a:gd name="T1" fmla="*/ 0 h 1"/>
                  <a:gd name="T2" fmla="*/ 0 w 4"/>
                  <a:gd name="T3" fmla="*/ 1 h 1"/>
                  <a:gd name="T4" fmla="*/ 4 w 4"/>
                  <a:gd name="T5" fmla="*/ 0 h 1"/>
                  <a:gd name="T6" fmla="*/ 3 w 4"/>
                  <a:gd name="T7" fmla="*/ 0 h 1"/>
                </a:gdLst>
                <a:cxnLst>
                  <a:cxn ang="0">
                    <a:pos x="T0" y="T1"/>
                  </a:cxn>
                  <a:cxn ang="0">
                    <a:pos x="T2" y="T3"/>
                  </a:cxn>
                  <a:cxn ang="0">
                    <a:pos x="T4" y="T5"/>
                  </a:cxn>
                  <a:cxn ang="0">
                    <a:pos x="T6" y="T7"/>
                  </a:cxn>
                </a:cxnLst>
                <a:rect l="0" t="0" r="r" b="b"/>
                <a:pathLst>
                  <a:path w="4" h="1">
                    <a:moveTo>
                      <a:pt x="3" y="0"/>
                    </a:moveTo>
                    <a:cubicBezTo>
                      <a:pt x="2" y="0"/>
                      <a:pt x="1" y="0"/>
                      <a:pt x="0" y="1"/>
                    </a:cubicBezTo>
                    <a:cubicBezTo>
                      <a:pt x="2" y="1"/>
                      <a:pt x="3"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189"/>
              <p:cNvSpPr/>
              <p:nvPr/>
            </p:nvSpPr>
            <p:spPr bwMode="auto">
              <a:xfrm>
                <a:off x="5443" y="4448"/>
                <a:ext cx="2" cy="2"/>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1" y="1"/>
                      <a:pt x="1"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Freeform 190"/>
              <p:cNvSpPr/>
              <p:nvPr/>
            </p:nvSpPr>
            <p:spPr bwMode="auto">
              <a:xfrm>
                <a:off x="4281" y="4284"/>
                <a:ext cx="7" cy="8"/>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2"/>
                      <a:pt x="3" y="3"/>
                    </a:cubicBezTo>
                    <a:cubicBezTo>
                      <a:pt x="2"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191"/>
              <p:cNvSpPr/>
              <p:nvPr/>
            </p:nvSpPr>
            <p:spPr bwMode="auto">
              <a:xfrm>
                <a:off x="4302" y="4292"/>
                <a:ext cx="4" cy="4"/>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2"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Freeform 192"/>
              <p:cNvSpPr/>
              <p:nvPr/>
            </p:nvSpPr>
            <p:spPr bwMode="auto">
              <a:xfrm>
                <a:off x="4252" y="4284"/>
                <a:ext cx="10" cy="12"/>
              </a:xfrm>
              <a:custGeom>
                <a:gdLst>
                  <a:gd name="T0" fmla="*/ 1 w 4"/>
                  <a:gd name="T1" fmla="*/ 0 h 5"/>
                  <a:gd name="T2" fmla="*/ 2 w 4"/>
                  <a:gd name="T3" fmla="*/ 5 h 5"/>
                  <a:gd name="T4" fmla="*/ 4 w 4"/>
                  <a:gd name="T5" fmla="*/ 4 h 5"/>
                  <a:gd name="T6" fmla="*/ 1 w 4"/>
                  <a:gd name="T7" fmla="*/ 0 h 5"/>
                </a:gdLst>
                <a:cxnLst>
                  <a:cxn ang="0">
                    <a:pos x="T0" y="T1"/>
                  </a:cxn>
                  <a:cxn ang="0">
                    <a:pos x="T2" y="T3"/>
                  </a:cxn>
                  <a:cxn ang="0">
                    <a:pos x="T4" y="T5"/>
                  </a:cxn>
                  <a:cxn ang="0">
                    <a:pos x="T6" y="T7"/>
                  </a:cxn>
                </a:cxnLst>
                <a:rect l="0" t="0" r="r" b="b"/>
                <a:pathLst>
                  <a:path w="4" h="5">
                    <a:moveTo>
                      <a:pt x="1" y="0"/>
                    </a:moveTo>
                    <a:cubicBezTo>
                      <a:pt x="0" y="2"/>
                      <a:pt x="0" y="5"/>
                      <a:pt x="2" y="5"/>
                    </a:cubicBezTo>
                    <a:cubicBezTo>
                      <a:pt x="3" y="5"/>
                      <a:pt x="3" y="5"/>
                      <a:pt x="4" y="4"/>
                    </a:cubicBezTo>
                    <a:cubicBezTo>
                      <a:pt x="3"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Freeform 193"/>
              <p:cNvSpPr/>
              <p:nvPr/>
            </p:nvSpPr>
            <p:spPr bwMode="auto">
              <a:xfrm>
                <a:off x="5675" y="4809"/>
                <a:ext cx="19" cy="10"/>
              </a:xfrm>
              <a:custGeom>
                <a:gdLst>
                  <a:gd name="T0" fmla="*/ 0 w 8"/>
                  <a:gd name="T1" fmla="*/ 0 h 4"/>
                  <a:gd name="T2" fmla="*/ 5 w 8"/>
                  <a:gd name="T3" fmla="*/ 4 h 4"/>
                  <a:gd name="T4" fmla="*/ 5 w 8"/>
                  <a:gd name="T5" fmla="*/ 4 h 4"/>
                  <a:gd name="T6" fmla="*/ 8 w 8"/>
                  <a:gd name="T7" fmla="*/ 2 h 4"/>
                  <a:gd name="T8" fmla="*/ 0 w 8"/>
                  <a:gd name="T9" fmla="*/ 0 h 4"/>
                </a:gdLst>
                <a:cxnLst>
                  <a:cxn ang="0">
                    <a:pos x="T0" y="T1"/>
                  </a:cxn>
                  <a:cxn ang="0">
                    <a:pos x="T2" y="T3"/>
                  </a:cxn>
                  <a:cxn ang="0">
                    <a:pos x="T4" y="T5"/>
                  </a:cxn>
                  <a:cxn ang="0">
                    <a:pos x="T6" y="T7"/>
                  </a:cxn>
                  <a:cxn ang="0">
                    <a:pos x="T8" y="T9"/>
                  </a:cxn>
                </a:cxnLst>
                <a:rect l="0" t="0" r="r" b="b"/>
                <a:pathLst>
                  <a:path w="8" h="4">
                    <a:moveTo>
                      <a:pt x="0" y="0"/>
                    </a:moveTo>
                    <a:cubicBezTo>
                      <a:pt x="0" y="2"/>
                      <a:pt x="3" y="4"/>
                      <a:pt x="5" y="4"/>
                    </a:cubicBezTo>
                    <a:cubicBezTo>
                      <a:pt x="5" y="4"/>
                      <a:pt x="5" y="4"/>
                      <a:pt x="5" y="4"/>
                    </a:cubicBezTo>
                    <a:cubicBezTo>
                      <a:pt x="7" y="4"/>
                      <a:pt x="7" y="3"/>
                      <a:pt x="8"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Freeform 194"/>
              <p:cNvSpPr/>
              <p:nvPr/>
            </p:nvSpPr>
            <p:spPr bwMode="auto">
              <a:xfrm>
                <a:off x="5245" y="4675"/>
                <a:ext cx="7" cy="40"/>
              </a:xfrm>
              <a:custGeom>
                <a:gdLst>
                  <a:gd name="T0" fmla="*/ 3 w 3"/>
                  <a:gd name="T1" fmla="*/ 0 h 17"/>
                  <a:gd name="T2" fmla="*/ 2 w 3"/>
                  <a:gd name="T3" fmla="*/ 17 h 17"/>
                  <a:gd name="T4" fmla="*/ 3 w 3"/>
                  <a:gd name="T5" fmla="*/ 0 h 17"/>
                </a:gdLst>
                <a:cxnLst>
                  <a:cxn ang="0">
                    <a:pos x="T0" y="T1"/>
                  </a:cxn>
                  <a:cxn ang="0">
                    <a:pos x="T2" y="T3"/>
                  </a:cxn>
                  <a:cxn ang="0">
                    <a:pos x="T4" y="T5"/>
                  </a:cxn>
                </a:cxnLst>
                <a:rect l="0" t="0" r="r" b="b"/>
                <a:pathLst>
                  <a:path w="3" h="17">
                    <a:moveTo>
                      <a:pt x="3" y="0"/>
                    </a:moveTo>
                    <a:cubicBezTo>
                      <a:pt x="0" y="4"/>
                      <a:pt x="1" y="12"/>
                      <a:pt x="2" y="17"/>
                    </a:cubicBezTo>
                    <a:cubicBezTo>
                      <a:pt x="2" y="11"/>
                      <a:pt x="2" y="5"/>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7" name="Freeform 195"/>
              <p:cNvSpPr/>
              <p:nvPr/>
            </p:nvSpPr>
            <p:spPr bwMode="auto">
              <a:xfrm>
                <a:off x="4323" y="4325"/>
                <a:ext cx="9" cy="9"/>
              </a:xfrm>
              <a:custGeom>
                <a:gdLst>
                  <a:gd name="T0" fmla="*/ 0 w 4"/>
                  <a:gd name="T1" fmla="*/ 0 h 4"/>
                  <a:gd name="T2" fmla="*/ 4 w 4"/>
                  <a:gd name="T3" fmla="*/ 4 h 4"/>
                  <a:gd name="T4" fmla="*/ 0 w 4"/>
                  <a:gd name="T5" fmla="*/ 0 h 4"/>
                </a:gdLst>
                <a:cxnLst>
                  <a:cxn ang="0">
                    <a:pos x="T0" y="T1"/>
                  </a:cxn>
                  <a:cxn ang="0">
                    <a:pos x="T2" y="T3"/>
                  </a:cxn>
                  <a:cxn ang="0">
                    <a:pos x="T4" y="T5"/>
                  </a:cxn>
                </a:cxnLst>
                <a:rect l="0" t="0" r="r" b="b"/>
                <a:pathLst>
                  <a:path w="4" h="4">
                    <a:moveTo>
                      <a:pt x="0" y="0"/>
                    </a:moveTo>
                    <a:cubicBezTo>
                      <a:pt x="0" y="3"/>
                      <a:pt x="2" y="3"/>
                      <a:pt x="4" y="4"/>
                    </a:cubicBezTo>
                    <a:cubicBezTo>
                      <a:pt x="3"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Freeform 196"/>
              <p:cNvSpPr/>
              <p:nvPr/>
            </p:nvSpPr>
            <p:spPr bwMode="auto">
              <a:xfrm>
                <a:off x="5916" y="4757"/>
                <a:ext cx="2" cy="3"/>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0" y="1"/>
                      <a:pt x="1"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9" name="Freeform 197"/>
              <p:cNvSpPr>
                <a:spLocks noEditPoints="1"/>
              </p:cNvSpPr>
              <p:nvPr/>
            </p:nvSpPr>
            <p:spPr bwMode="auto">
              <a:xfrm>
                <a:off x="5906" y="4753"/>
                <a:ext cx="10" cy="4"/>
              </a:xfrm>
              <a:custGeom>
                <a:gdLst>
                  <a:gd name="T0" fmla="*/ 0 w 4"/>
                  <a:gd name="T1" fmla="*/ 0 h 2"/>
                  <a:gd name="T2" fmla="*/ 4 w 4"/>
                  <a:gd name="T3" fmla="*/ 2 h 2"/>
                  <a:gd name="T4" fmla="*/ 0 w 4"/>
                  <a:gd name="T5" fmla="*/ 0 h 2"/>
                  <a:gd name="T6" fmla="*/ 0 w 4"/>
                  <a:gd name="T7" fmla="*/ 0 h 2"/>
                  <a:gd name="T8" fmla="*/ 0 w 4"/>
                  <a:gd name="T9" fmla="*/ 0 h 2"/>
                  <a:gd name="T10" fmla="*/ 0 w 4"/>
                  <a:gd name="T11" fmla="*/ 0 h 2"/>
                </a:gdLst>
                <a:cxnLst>
                  <a:cxn ang="0">
                    <a:pos x="T0" y="T1"/>
                  </a:cxn>
                  <a:cxn ang="0">
                    <a:pos x="T2" y="T3"/>
                  </a:cxn>
                  <a:cxn ang="0">
                    <a:pos x="T4" y="T5"/>
                  </a:cxn>
                  <a:cxn ang="0">
                    <a:pos x="T6" y="T7"/>
                  </a:cxn>
                  <a:cxn ang="0">
                    <a:pos x="T8" y="T9"/>
                  </a:cxn>
                  <a:cxn ang="0">
                    <a:pos x="T10" y="T11"/>
                  </a:cxn>
                </a:cxnLst>
                <a:rect l="0" t="0" r="r" b="b"/>
                <a:pathLst>
                  <a:path w="4" h="2">
                    <a:moveTo>
                      <a:pt x="0" y="0"/>
                    </a:moveTo>
                    <a:cubicBezTo>
                      <a:pt x="1" y="0"/>
                      <a:pt x="2" y="1"/>
                      <a:pt x="4" y="2"/>
                    </a:cubicBezTo>
                    <a:cubicBezTo>
                      <a:pt x="3" y="0"/>
                      <a:pt x="1"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Freeform 198"/>
              <p:cNvSpPr/>
              <p:nvPr/>
            </p:nvSpPr>
            <p:spPr bwMode="auto">
              <a:xfrm>
                <a:off x="5353" y="4606"/>
                <a:ext cx="33" cy="47"/>
              </a:xfrm>
              <a:custGeom>
                <a:gdLst>
                  <a:gd name="T0" fmla="*/ 11 w 14"/>
                  <a:gd name="T1" fmla="*/ 0 h 20"/>
                  <a:gd name="T2" fmla="*/ 7 w 14"/>
                  <a:gd name="T3" fmla="*/ 2 h 20"/>
                  <a:gd name="T4" fmla="*/ 3 w 14"/>
                  <a:gd name="T5" fmla="*/ 4 h 20"/>
                  <a:gd name="T6" fmla="*/ 2 w 14"/>
                  <a:gd name="T7" fmla="*/ 14 h 20"/>
                  <a:gd name="T8" fmla="*/ 4 w 14"/>
                  <a:gd name="T9" fmla="*/ 19 h 20"/>
                  <a:gd name="T10" fmla="*/ 7 w 14"/>
                  <a:gd name="T11" fmla="*/ 20 h 20"/>
                  <a:gd name="T12" fmla="*/ 9 w 14"/>
                  <a:gd name="T13" fmla="*/ 18 h 20"/>
                  <a:gd name="T14" fmla="*/ 10 w 14"/>
                  <a:gd name="T15" fmla="*/ 16 h 20"/>
                  <a:gd name="T16" fmla="*/ 10 w 14"/>
                  <a:gd name="T17" fmla="*/ 12 h 20"/>
                  <a:gd name="T18" fmla="*/ 12 w 14"/>
                  <a:gd name="T19" fmla="*/ 9 h 20"/>
                  <a:gd name="T20" fmla="*/ 11 w 14"/>
                  <a:gd name="T21"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11" y="0"/>
                    </a:moveTo>
                    <a:cubicBezTo>
                      <a:pt x="9" y="0"/>
                      <a:pt x="8" y="1"/>
                      <a:pt x="7" y="2"/>
                    </a:cubicBezTo>
                    <a:cubicBezTo>
                      <a:pt x="6" y="3"/>
                      <a:pt x="4" y="3"/>
                      <a:pt x="3" y="4"/>
                    </a:cubicBezTo>
                    <a:cubicBezTo>
                      <a:pt x="0" y="7"/>
                      <a:pt x="5" y="10"/>
                      <a:pt x="2" y="14"/>
                    </a:cubicBezTo>
                    <a:cubicBezTo>
                      <a:pt x="1" y="19"/>
                      <a:pt x="0" y="18"/>
                      <a:pt x="4" y="19"/>
                    </a:cubicBezTo>
                    <a:cubicBezTo>
                      <a:pt x="5" y="20"/>
                      <a:pt x="6" y="20"/>
                      <a:pt x="7" y="20"/>
                    </a:cubicBezTo>
                    <a:cubicBezTo>
                      <a:pt x="8" y="20"/>
                      <a:pt x="8" y="19"/>
                      <a:pt x="9" y="18"/>
                    </a:cubicBezTo>
                    <a:cubicBezTo>
                      <a:pt x="9" y="17"/>
                      <a:pt x="9" y="18"/>
                      <a:pt x="10" y="16"/>
                    </a:cubicBezTo>
                    <a:cubicBezTo>
                      <a:pt x="10" y="14"/>
                      <a:pt x="8" y="15"/>
                      <a:pt x="10" y="12"/>
                    </a:cubicBezTo>
                    <a:cubicBezTo>
                      <a:pt x="11" y="11"/>
                      <a:pt x="12" y="10"/>
                      <a:pt x="12" y="9"/>
                    </a:cubicBezTo>
                    <a:cubicBezTo>
                      <a:pt x="14" y="6"/>
                      <a:pt x="12"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Freeform 199"/>
              <p:cNvSpPr/>
              <p:nvPr/>
            </p:nvSpPr>
            <p:spPr bwMode="auto">
              <a:xfrm>
                <a:off x="5393" y="4819"/>
                <a:ext cx="26" cy="9"/>
              </a:xfrm>
              <a:custGeom>
                <a:gdLst>
                  <a:gd name="T0" fmla="*/ 6 w 11"/>
                  <a:gd name="T1" fmla="*/ 0 h 4"/>
                  <a:gd name="T2" fmla="*/ 4 w 11"/>
                  <a:gd name="T3" fmla="*/ 1 h 4"/>
                  <a:gd name="T4" fmla="*/ 5 w 11"/>
                  <a:gd name="T5" fmla="*/ 4 h 4"/>
                  <a:gd name="T6" fmla="*/ 7 w 11"/>
                  <a:gd name="T7" fmla="*/ 3 h 4"/>
                  <a:gd name="T8" fmla="*/ 8 w 11"/>
                  <a:gd name="T9" fmla="*/ 3 h 4"/>
                  <a:gd name="T10" fmla="*/ 8 w 11"/>
                  <a:gd name="T11" fmla="*/ 3 h 4"/>
                  <a:gd name="T12" fmla="*/ 8 w 11"/>
                  <a:gd name="T13" fmla="*/ 3 h 4"/>
                  <a:gd name="T14" fmla="*/ 9 w 11"/>
                  <a:gd name="T15" fmla="*/ 3 h 4"/>
                  <a:gd name="T16" fmla="*/ 6 w 11"/>
                  <a:gd name="T1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6" y="0"/>
                    </a:moveTo>
                    <a:cubicBezTo>
                      <a:pt x="5" y="0"/>
                      <a:pt x="4" y="1"/>
                      <a:pt x="4" y="1"/>
                    </a:cubicBezTo>
                    <a:cubicBezTo>
                      <a:pt x="0" y="3"/>
                      <a:pt x="2" y="4"/>
                      <a:pt x="5" y="4"/>
                    </a:cubicBezTo>
                    <a:cubicBezTo>
                      <a:pt x="5" y="4"/>
                      <a:pt x="6" y="4"/>
                      <a:pt x="7" y="3"/>
                    </a:cubicBezTo>
                    <a:cubicBezTo>
                      <a:pt x="7" y="3"/>
                      <a:pt x="7" y="3"/>
                      <a:pt x="8" y="3"/>
                    </a:cubicBezTo>
                    <a:cubicBezTo>
                      <a:pt x="8" y="3"/>
                      <a:pt x="8" y="3"/>
                      <a:pt x="8" y="3"/>
                    </a:cubicBezTo>
                    <a:cubicBezTo>
                      <a:pt x="8" y="3"/>
                      <a:pt x="8" y="3"/>
                      <a:pt x="8" y="3"/>
                    </a:cubicBezTo>
                    <a:cubicBezTo>
                      <a:pt x="9" y="3"/>
                      <a:pt x="9" y="3"/>
                      <a:pt x="9" y="3"/>
                    </a:cubicBezTo>
                    <a:cubicBezTo>
                      <a:pt x="11"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Freeform 200"/>
              <p:cNvSpPr/>
              <p:nvPr/>
            </p:nvSpPr>
            <p:spPr bwMode="auto">
              <a:xfrm>
                <a:off x="5323" y="4949"/>
                <a:ext cx="16" cy="7"/>
              </a:xfrm>
              <a:custGeom>
                <a:gdLst>
                  <a:gd name="T0" fmla="*/ 7 w 7"/>
                  <a:gd name="T1" fmla="*/ 0 h 3"/>
                  <a:gd name="T2" fmla="*/ 0 w 7"/>
                  <a:gd name="T3" fmla="*/ 2 h 3"/>
                  <a:gd name="T4" fmla="*/ 3 w 7"/>
                  <a:gd name="T5" fmla="*/ 3 h 3"/>
                  <a:gd name="T6" fmla="*/ 7 w 7"/>
                  <a:gd name="T7" fmla="*/ 0 h 3"/>
                </a:gdLst>
                <a:cxnLst>
                  <a:cxn ang="0">
                    <a:pos x="T0" y="T1"/>
                  </a:cxn>
                  <a:cxn ang="0">
                    <a:pos x="T2" y="T3"/>
                  </a:cxn>
                  <a:cxn ang="0">
                    <a:pos x="T4" y="T5"/>
                  </a:cxn>
                  <a:cxn ang="0">
                    <a:pos x="T6" y="T7"/>
                  </a:cxn>
                </a:cxnLst>
                <a:rect l="0" t="0" r="r" b="b"/>
                <a:pathLst>
                  <a:path w="7" h="3">
                    <a:moveTo>
                      <a:pt x="7" y="0"/>
                    </a:moveTo>
                    <a:cubicBezTo>
                      <a:pt x="4" y="0"/>
                      <a:pt x="2" y="1"/>
                      <a:pt x="0" y="2"/>
                    </a:cubicBezTo>
                    <a:cubicBezTo>
                      <a:pt x="1" y="2"/>
                      <a:pt x="2" y="3"/>
                      <a:pt x="3" y="3"/>
                    </a:cubicBezTo>
                    <a:cubicBezTo>
                      <a:pt x="5" y="3"/>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3" name="Freeform 201"/>
              <p:cNvSpPr/>
              <p:nvPr/>
            </p:nvSpPr>
            <p:spPr bwMode="auto">
              <a:xfrm>
                <a:off x="5637" y="4372"/>
                <a:ext cx="12" cy="12"/>
              </a:xfrm>
              <a:custGeom>
                <a:gdLst>
                  <a:gd name="T0" fmla="*/ 3 w 5"/>
                  <a:gd name="T1" fmla="*/ 0 h 5"/>
                  <a:gd name="T2" fmla="*/ 1 w 5"/>
                  <a:gd name="T3" fmla="*/ 4 h 5"/>
                  <a:gd name="T4" fmla="*/ 3 w 5"/>
                  <a:gd name="T5" fmla="*/ 5 h 5"/>
                  <a:gd name="T6" fmla="*/ 3 w 5"/>
                  <a:gd name="T7" fmla="*/ 0 h 5"/>
                </a:gdLst>
                <a:cxnLst>
                  <a:cxn ang="0">
                    <a:pos x="T0" y="T1"/>
                  </a:cxn>
                  <a:cxn ang="0">
                    <a:pos x="T2" y="T3"/>
                  </a:cxn>
                  <a:cxn ang="0">
                    <a:pos x="T4" y="T5"/>
                  </a:cxn>
                  <a:cxn ang="0">
                    <a:pos x="T6" y="T7"/>
                  </a:cxn>
                </a:cxnLst>
                <a:rect l="0" t="0" r="r" b="b"/>
                <a:pathLst>
                  <a:path w="5" h="5">
                    <a:moveTo>
                      <a:pt x="3" y="0"/>
                    </a:moveTo>
                    <a:cubicBezTo>
                      <a:pt x="2" y="1"/>
                      <a:pt x="0" y="3"/>
                      <a:pt x="1" y="4"/>
                    </a:cubicBezTo>
                    <a:cubicBezTo>
                      <a:pt x="3" y="5"/>
                      <a:pt x="3" y="5"/>
                      <a:pt x="3" y="5"/>
                    </a:cubicBezTo>
                    <a:cubicBezTo>
                      <a:pt x="5" y="4"/>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Freeform 202"/>
              <p:cNvSpPr/>
              <p:nvPr/>
            </p:nvSpPr>
            <p:spPr bwMode="auto">
              <a:xfrm>
                <a:off x="5764" y="4334"/>
                <a:ext cx="12" cy="17"/>
              </a:xfrm>
              <a:custGeom>
                <a:gdLst>
                  <a:gd name="T0" fmla="*/ 0 w 5"/>
                  <a:gd name="T1" fmla="*/ 0 h 7"/>
                  <a:gd name="T2" fmla="*/ 5 w 5"/>
                  <a:gd name="T3" fmla="*/ 7 h 7"/>
                  <a:gd name="T4" fmla="*/ 0 w 5"/>
                  <a:gd name="T5" fmla="*/ 0 h 7"/>
                </a:gdLst>
                <a:cxnLst>
                  <a:cxn ang="0">
                    <a:pos x="T0" y="T1"/>
                  </a:cxn>
                  <a:cxn ang="0">
                    <a:pos x="T2" y="T3"/>
                  </a:cxn>
                  <a:cxn ang="0">
                    <a:pos x="T4" y="T5"/>
                  </a:cxn>
                </a:cxnLst>
                <a:rect l="0" t="0" r="r" b="b"/>
                <a:pathLst>
                  <a:path w="5" h="7">
                    <a:moveTo>
                      <a:pt x="0" y="0"/>
                    </a:moveTo>
                    <a:cubicBezTo>
                      <a:pt x="1" y="2"/>
                      <a:pt x="3" y="4"/>
                      <a:pt x="5" y="7"/>
                    </a:cubicBezTo>
                    <a:cubicBezTo>
                      <a:pt x="5"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5" name="Freeform 203"/>
              <p:cNvSpPr/>
              <p:nvPr/>
            </p:nvSpPr>
            <p:spPr bwMode="auto">
              <a:xfrm>
                <a:off x="3782" y="3994"/>
                <a:ext cx="7" cy="2"/>
              </a:xfrm>
              <a:custGeom>
                <a:gdLst>
                  <a:gd name="T0" fmla="*/ 0 w 3"/>
                  <a:gd name="T1" fmla="*/ 0 h 1"/>
                  <a:gd name="T2" fmla="*/ 3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1" y="1"/>
                      <a:pt x="2" y="1"/>
                      <a:pt x="3" y="1"/>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6" name="Freeform 204"/>
              <p:cNvSpPr/>
              <p:nvPr/>
            </p:nvSpPr>
            <p:spPr bwMode="auto">
              <a:xfrm>
                <a:off x="4136" y="4214"/>
                <a:ext cx="26" cy="23"/>
              </a:xfrm>
              <a:custGeom>
                <a:gdLst>
                  <a:gd name="T0" fmla="*/ 7 w 11"/>
                  <a:gd name="T1" fmla="*/ 0 h 10"/>
                  <a:gd name="T2" fmla="*/ 7 w 11"/>
                  <a:gd name="T3" fmla="*/ 0 h 10"/>
                  <a:gd name="T4" fmla="*/ 4 w 11"/>
                  <a:gd name="T5" fmla="*/ 1 h 10"/>
                  <a:gd name="T6" fmla="*/ 4 w 11"/>
                  <a:gd name="T7" fmla="*/ 1 h 10"/>
                  <a:gd name="T8" fmla="*/ 3 w 11"/>
                  <a:gd name="T9" fmla="*/ 1 h 10"/>
                  <a:gd name="T10" fmla="*/ 3 w 11"/>
                  <a:gd name="T11" fmla="*/ 1 h 10"/>
                  <a:gd name="T12" fmla="*/ 2 w 11"/>
                  <a:gd name="T13" fmla="*/ 2 h 10"/>
                  <a:gd name="T14" fmla="*/ 3 w 11"/>
                  <a:gd name="T15" fmla="*/ 9 h 10"/>
                  <a:gd name="T16" fmla="*/ 5 w 11"/>
                  <a:gd name="T17" fmla="*/ 10 h 10"/>
                  <a:gd name="T18" fmla="*/ 11 w 11"/>
                  <a:gd name="T19" fmla="*/ 4 h 10"/>
                  <a:gd name="T20" fmla="*/ 7 w 11"/>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7" y="0"/>
                    </a:moveTo>
                    <a:cubicBezTo>
                      <a:pt x="7" y="0"/>
                      <a:pt x="7" y="0"/>
                      <a:pt x="7" y="0"/>
                    </a:cubicBezTo>
                    <a:cubicBezTo>
                      <a:pt x="4" y="1"/>
                      <a:pt x="4" y="1"/>
                      <a:pt x="4" y="1"/>
                    </a:cubicBezTo>
                    <a:cubicBezTo>
                      <a:pt x="4" y="1"/>
                      <a:pt x="4" y="1"/>
                      <a:pt x="4" y="1"/>
                    </a:cubicBezTo>
                    <a:cubicBezTo>
                      <a:pt x="3" y="1"/>
                      <a:pt x="3" y="1"/>
                      <a:pt x="3" y="1"/>
                    </a:cubicBezTo>
                    <a:cubicBezTo>
                      <a:pt x="3" y="1"/>
                      <a:pt x="3" y="1"/>
                      <a:pt x="3" y="1"/>
                    </a:cubicBezTo>
                    <a:cubicBezTo>
                      <a:pt x="3" y="1"/>
                      <a:pt x="2" y="1"/>
                      <a:pt x="2" y="2"/>
                    </a:cubicBezTo>
                    <a:cubicBezTo>
                      <a:pt x="0" y="3"/>
                      <a:pt x="2" y="8"/>
                      <a:pt x="3" y="9"/>
                    </a:cubicBezTo>
                    <a:cubicBezTo>
                      <a:pt x="4" y="10"/>
                      <a:pt x="4" y="10"/>
                      <a:pt x="5" y="10"/>
                    </a:cubicBezTo>
                    <a:cubicBezTo>
                      <a:pt x="7" y="10"/>
                      <a:pt x="9" y="6"/>
                      <a:pt x="11" y="4"/>
                    </a:cubicBezTo>
                    <a:cubicBezTo>
                      <a:pt x="10"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9" name="Group 406"/>
            <p:cNvGrpSpPr/>
            <p:nvPr/>
          </p:nvGrpSpPr>
          <p:grpSpPr>
            <a:xfrm>
              <a:off x="154705" y="580230"/>
              <a:ext cx="10511302" cy="6220016"/>
              <a:chOff x="115" y="412"/>
              <a:chExt cx="7826" cy="4631"/>
            </a:xfrm>
            <a:grpFill/>
          </p:grpSpPr>
          <p:sp>
            <p:nvSpPr>
              <p:cNvPr id="616" name="Freeform 206"/>
              <p:cNvSpPr/>
              <p:nvPr/>
            </p:nvSpPr>
            <p:spPr bwMode="auto">
              <a:xfrm>
                <a:off x="5535" y="4176"/>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0" y="1"/>
                      <a:pt x="0" y="2"/>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207"/>
              <p:cNvSpPr/>
              <p:nvPr/>
            </p:nvSpPr>
            <p:spPr bwMode="auto">
              <a:xfrm>
                <a:off x="4581" y="4188"/>
                <a:ext cx="7" cy="4"/>
              </a:xfrm>
              <a:custGeom>
                <a:gdLst>
                  <a:gd name="T0" fmla="*/ 0 w 3"/>
                  <a:gd name="T1" fmla="*/ 0 h 2"/>
                  <a:gd name="T2" fmla="*/ 2 w 3"/>
                  <a:gd name="T3" fmla="*/ 2 h 2"/>
                  <a:gd name="T4" fmla="*/ 3 w 3"/>
                  <a:gd name="T5" fmla="*/ 1 h 2"/>
                  <a:gd name="T6" fmla="*/ 0 w 3"/>
                  <a:gd name="T7" fmla="*/ 0 h 2"/>
                </a:gdLst>
                <a:cxnLst>
                  <a:cxn ang="0">
                    <a:pos x="T0" y="T1"/>
                  </a:cxn>
                  <a:cxn ang="0">
                    <a:pos x="T2" y="T3"/>
                  </a:cxn>
                  <a:cxn ang="0">
                    <a:pos x="T4" y="T5"/>
                  </a:cxn>
                  <a:cxn ang="0">
                    <a:pos x="T6" y="T7"/>
                  </a:cxn>
                </a:cxnLst>
                <a:rect l="0" t="0" r="r" b="b"/>
                <a:pathLst>
                  <a:path w="3" h="2">
                    <a:moveTo>
                      <a:pt x="0" y="0"/>
                    </a:moveTo>
                    <a:cubicBezTo>
                      <a:pt x="1" y="1"/>
                      <a:pt x="1" y="2"/>
                      <a:pt x="2" y="2"/>
                    </a:cubicBezTo>
                    <a:cubicBezTo>
                      <a:pt x="3" y="2"/>
                      <a:pt x="3" y="2"/>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208"/>
              <p:cNvSpPr/>
              <p:nvPr/>
            </p:nvSpPr>
            <p:spPr bwMode="auto">
              <a:xfrm>
                <a:off x="4174" y="4242"/>
                <a:ext cx="33" cy="21"/>
              </a:xfrm>
              <a:custGeom>
                <a:gdLst>
                  <a:gd name="T0" fmla="*/ 1 w 14"/>
                  <a:gd name="T1" fmla="*/ 0 h 9"/>
                  <a:gd name="T2" fmla="*/ 0 w 14"/>
                  <a:gd name="T3" fmla="*/ 0 h 9"/>
                  <a:gd name="T4" fmla="*/ 6 w 14"/>
                  <a:gd name="T5" fmla="*/ 5 h 9"/>
                  <a:gd name="T6" fmla="*/ 12 w 14"/>
                  <a:gd name="T7" fmla="*/ 9 h 9"/>
                  <a:gd name="T8" fmla="*/ 6 w 14"/>
                  <a:gd name="T9" fmla="*/ 2 h 9"/>
                  <a:gd name="T10" fmla="*/ 1 w 14"/>
                  <a:gd name="T11" fmla="*/ 0 h 9"/>
                </a:gdLst>
                <a:cxnLst>
                  <a:cxn ang="0">
                    <a:pos x="T0" y="T1"/>
                  </a:cxn>
                  <a:cxn ang="0">
                    <a:pos x="T2" y="T3"/>
                  </a:cxn>
                  <a:cxn ang="0">
                    <a:pos x="T4" y="T5"/>
                  </a:cxn>
                  <a:cxn ang="0">
                    <a:pos x="T6" y="T7"/>
                  </a:cxn>
                  <a:cxn ang="0">
                    <a:pos x="T8" y="T9"/>
                  </a:cxn>
                  <a:cxn ang="0">
                    <a:pos x="T10" y="T11"/>
                  </a:cxn>
                </a:cxnLst>
                <a:rect l="0" t="0" r="r" b="b"/>
                <a:pathLst>
                  <a:path w="14" h="9">
                    <a:moveTo>
                      <a:pt x="1" y="0"/>
                    </a:moveTo>
                    <a:cubicBezTo>
                      <a:pt x="1" y="0"/>
                      <a:pt x="0" y="0"/>
                      <a:pt x="0" y="0"/>
                    </a:cubicBezTo>
                    <a:cubicBezTo>
                      <a:pt x="2" y="3"/>
                      <a:pt x="3" y="4"/>
                      <a:pt x="6" y="5"/>
                    </a:cubicBezTo>
                    <a:cubicBezTo>
                      <a:pt x="8" y="5"/>
                      <a:pt x="10" y="7"/>
                      <a:pt x="12" y="9"/>
                    </a:cubicBezTo>
                    <a:cubicBezTo>
                      <a:pt x="14" y="3"/>
                      <a:pt x="10" y="2"/>
                      <a:pt x="6" y="2"/>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209"/>
              <p:cNvSpPr/>
              <p:nvPr/>
            </p:nvSpPr>
            <p:spPr bwMode="auto">
              <a:xfrm>
                <a:off x="5710" y="4542"/>
                <a:ext cx="10" cy="5"/>
              </a:xfrm>
              <a:custGeom>
                <a:gdLst>
                  <a:gd name="T0" fmla="*/ 1 w 4"/>
                  <a:gd name="T1" fmla="*/ 0 h 2"/>
                  <a:gd name="T2" fmla="*/ 0 w 4"/>
                  <a:gd name="T3" fmla="*/ 2 h 2"/>
                  <a:gd name="T4" fmla="*/ 1 w 4"/>
                  <a:gd name="T5" fmla="*/ 2 h 2"/>
                  <a:gd name="T6" fmla="*/ 4 w 4"/>
                  <a:gd name="T7" fmla="*/ 2 h 2"/>
                  <a:gd name="T8" fmla="*/ 1 w 4"/>
                  <a:gd name="T9" fmla="*/ 0 h 2"/>
                </a:gdLst>
                <a:cxnLst>
                  <a:cxn ang="0">
                    <a:pos x="T0" y="T1"/>
                  </a:cxn>
                  <a:cxn ang="0">
                    <a:pos x="T2" y="T3"/>
                  </a:cxn>
                  <a:cxn ang="0">
                    <a:pos x="T4" y="T5"/>
                  </a:cxn>
                  <a:cxn ang="0">
                    <a:pos x="T6" y="T7"/>
                  </a:cxn>
                  <a:cxn ang="0">
                    <a:pos x="T8" y="T9"/>
                  </a:cxn>
                </a:cxnLst>
                <a:rect l="0" t="0" r="r" b="b"/>
                <a:pathLst>
                  <a:path w="4" h="2">
                    <a:moveTo>
                      <a:pt x="1" y="0"/>
                    </a:moveTo>
                    <a:cubicBezTo>
                      <a:pt x="1" y="1"/>
                      <a:pt x="0" y="2"/>
                      <a:pt x="0" y="2"/>
                    </a:cubicBezTo>
                    <a:cubicBezTo>
                      <a:pt x="0" y="2"/>
                      <a:pt x="0" y="2"/>
                      <a:pt x="1" y="2"/>
                    </a:cubicBezTo>
                    <a:cubicBezTo>
                      <a:pt x="2" y="2"/>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210"/>
              <p:cNvSpPr/>
              <p:nvPr/>
            </p:nvSpPr>
            <p:spPr bwMode="auto">
              <a:xfrm>
                <a:off x="6079" y="4391"/>
                <a:ext cx="16" cy="12"/>
              </a:xfrm>
              <a:custGeom>
                <a:gdLst>
                  <a:gd name="T0" fmla="*/ 4 w 7"/>
                  <a:gd name="T1" fmla="*/ 0 h 5"/>
                  <a:gd name="T2" fmla="*/ 5 w 7"/>
                  <a:gd name="T3" fmla="*/ 5 h 5"/>
                  <a:gd name="T4" fmla="*/ 4 w 7"/>
                  <a:gd name="T5" fmla="*/ 0 h 5"/>
                </a:gdLst>
                <a:cxnLst>
                  <a:cxn ang="0">
                    <a:pos x="T0" y="T1"/>
                  </a:cxn>
                  <a:cxn ang="0">
                    <a:pos x="T2" y="T3"/>
                  </a:cxn>
                  <a:cxn ang="0">
                    <a:pos x="T4" y="T5"/>
                  </a:cxn>
                </a:cxnLst>
                <a:rect l="0" t="0" r="r" b="b"/>
                <a:pathLst>
                  <a:path w="7" h="5">
                    <a:moveTo>
                      <a:pt x="4" y="0"/>
                    </a:moveTo>
                    <a:cubicBezTo>
                      <a:pt x="0" y="2"/>
                      <a:pt x="3" y="5"/>
                      <a:pt x="5" y="5"/>
                    </a:cubicBezTo>
                    <a:cubicBezTo>
                      <a:pt x="6" y="5"/>
                      <a:pt x="7"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211"/>
              <p:cNvSpPr/>
              <p:nvPr/>
            </p:nvSpPr>
            <p:spPr bwMode="auto">
              <a:xfrm>
                <a:off x="4285" y="4270"/>
                <a:ext cx="14" cy="10"/>
              </a:xfrm>
              <a:custGeom>
                <a:gdLst>
                  <a:gd name="T0" fmla="*/ 3 w 6"/>
                  <a:gd name="T1" fmla="*/ 0 h 4"/>
                  <a:gd name="T2" fmla="*/ 1 w 6"/>
                  <a:gd name="T3" fmla="*/ 1 h 4"/>
                  <a:gd name="T4" fmla="*/ 0 w 6"/>
                  <a:gd name="T5" fmla="*/ 1 h 4"/>
                  <a:gd name="T6" fmla="*/ 3 w 6"/>
                  <a:gd name="T7" fmla="*/ 4 h 4"/>
                  <a:gd name="T8" fmla="*/ 6 w 6"/>
                  <a:gd name="T9" fmla="*/ 0 h 4"/>
                  <a:gd name="T10" fmla="*/ 3 w 6"/>
                  <a:gd name="T11" fmla="*/ 0 h 4"/>
                </a:gdLst>
                <a:cxnLst>
                  <a:cxn ang="0">
                    <a:pos x="T0" y="T1"/>
                  </a:cxn>
                  <a:cxn ang="0">
                    <a:pos x="T2" y="T3"/>
                  </a:cxn>
                  <a:cxn ang="0">
                    <a:pos x="T4" y="T5"/>
                  </a:cxn>
                  <a:cxn ang="0">
                    <a:pos x="T6" y="T7"/>
                  </a:cxn>
                  <a:cxn ang="0">
                    <a:pos x="T8" y="T9"/>
                  </a:cxn>
                  <a:cxn ang="0">
                    <a:pos x="T10" y="T11"/>
                  </a:cxn>
                </a:cxnLst>
                <a:rect l="0" t="0" r="r" b="b"/>
                <a:pathLst>
                  <a:path w="6" h="4">
                    <a:moveTo>
                      <a:pt x="3" y="0"/>
                    </a:moveTo>
                    <a:cubicBezTo>
                      <a:pt x="2" y="0"/>
                      <a:pt x="1" y="0"/>
                      <a:pt x="1" y="1"/>
                    </a:cubicBezTo>
                    <a:cubicBezTo>
                      <a:pt x="0" y="1"/>
                      <a:pt x="1" y="1"/>
                      <a:pt x="0" y="1"/>
                    </a:cubicBezTo>
                    <a:cubicBezTo>
                      <a:pt x="1" y="3"/>
                      <a:pt x="2" y="4"/>
                      <a:pt x="3" y="4"/>
                    </a:cubicBezTo>
                    <a:cubicBezTo>
                      <a:pt x="4" y="4"/>
                      <a:pt x="5" y="2"/>
                      <a:pt x="6"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212"/>
              <p:cNvSpPr/>
              <p:nvPr/>
            </p:nvSpPr>
            <p:spPr bwMode="auto">
              <a:xfrm>
                <a:off x="4306" y="4266"/>
                <a:ext cx="24" cy="21"/>
              </a:xfrm>
              <a:custGeom>
                <a:gdLst>
                  <a:gd name="T0" fmla="*/ 7 w 10"/>
                  <a:gd name="T1" fmla="*/ 0 h 9"/>
                  <a:gd name="T2" fmla="*/ 0 w 10"/>
                  <a:gd name="T3" fmla="*/ 3 h 9"/>
                  <a:gd name="T4" fmla="*/ 3 w 10"/>
                  <a:gd name="T5" fmla="*/ 5 h 9"/>
                  <a:gd name="T6" fmla="*/ 7 w 10"/>
                  <a:gd name="T7" fmla="*/ 9 h 9"/>
                  <a:gd name="T8" fmla="*/ 8 w 10"/>
                  <a:gd name="T9" fmla="*/ 8 h 9"/>
                  <a:gd name="T10" fmla="*/ 10 w 10"/>
                  <a:gd name="T11" fmla="*/ 7 h 9"/>
                  <a:gd name="T12" fmla="*/ 10 w 10"/>
                  <a:gd name="T13" fmla="*/ 4 h 9"/>
                  <a:gd name="T14" fmla="*/ 10 w 10"/>
                  <a:gd name="T15" fmla="*/ 4 h 9"/>
                  <a:gd name="T16" fmla="*/ 8 w 10"/>
                  <a:gd name="T17" fmla="*/ 2 h 9"/>
                  <a:gd name="T18" fmla="*/ 8 w 10"/>
                  <a:gd name="T19" fmla="*/ 0 h 9"/>
                  <a:gd name="T20" fmla="*/ 8 w 10"/>
                  <a:gd name="T21" fmla="*/ 0 h 9"/>
                  <a:gd name="T22" fmla="*/ 7 w 10"/>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7" y="0"/>
                    </a:moveTo>
                    <a:cubicBezTo>
                      <a:pt x="4" y="0"/>
                      <a:pt x="1" y="1"/>
                      <a:pt x="0" y="3"/>
                    </a:cubicBezTo>
                    <a:cubicBezTo>
                      <a:pt x="0" y="4"/>
                      <a:pt x="1" y="4"/>
                      <a:pt x="3" y="5"/>
                    </a:cubicBezTo>
                    <a:cubicBezTo>
                      <a:pt x="5" y="5"/>
                      <a:pt x="5" y="9"/>
                      <a:pt x="7" y="9"/>
                    </a:cubicBezTo>
                    <a:cubicBezTo>
                      <a:pt x="7" y="9"/>
                      <a:pt x="7" y="9"/>
                      <a:pt x="8" y="8"/>
                    </a:cubicBezTo>
                    <a:cubicBezTo>
                      <a:pt x="9" y="7"/>
                      <a:pt x="9" y="8"/>
                      <a:pt x="10" y="7"/>
                    </a:cubicBezTo>
                    <a:cubicBezTo>
                      <a:pt x="10" y="6"/>
                      <a:pt x="10" y="4"/>
                      <a:pt x="10" y="4"/>
                    </a:cubicBezTo>
                    <a:cubicBezTo>
                      <a:pt x="10" y="4"/>
                      <a:pt x="10" y="4"/>
                      <a:pt x="10" y="4"/>
                    </a:cubicBezTo>
                    <a:cubicBezTo>
                      <a:pt x="10" y="4"/>
                      <a:pt x="9" y="3"/>
                      <a:pt x="8" y="2"/>
                    </a:cubicBezTo>
                    <a:cubicBezTo>
                      <a:pt x="8" y="1"/>
                      <a:pt x="7" y="0"/>
                      <a:pt x="8" y="0"/>
                    </a:cubicBezTo>
                    <a:cubicBezTo>
                      <a:pt x="8" y="0"/>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213"/>
              <p:cNvSpPr/>
              <p:nvPr/>
            </p:nvSpPr>
            <p:spPr bwMode="auto">
              <a:xfrm>
                <a:off x="3959" y="4339"/>
                <a:ext cx="14" cy="21"/>
              </a:xfrm>
              <a:custGeom>
                <a:gdLst>
                  <a:gd name="T0" fmla="*/ 0 w 6"/>
                  <a:gd name="T1" fmla="*/ 0 h 9"/>
                  <a:gd name="T2" fmla="*/ 6 w 6"/>
                  <a:gd name="T3" fmla="*/ 9 h 9"/>
                  <a:gd name="T4" fmla="*/ 0 w 6"/>
                  <a:gd name="T5" fmla="*/ 0 h 9"/>
                </a:gdLst>
                <a:cxnLst>
                  <a:cxn ang="0">
                    <a:pos x="T0" y="T1"/>
                  </a:cxn>
                  <a:cxn ang="0">
                    <a:pos x="T2" y="T3"/>
                  </a:cxn>
                  <a:cxn ang="0">
                    <a:pos x="T4" y="T5"/>
                  </a:cxn>
                </a:cxnLst>
                <a:rect l="0" t="0" r="r" b="b"/>
                <a:pathLst>
                  <a:path w="6" h="9">
                    <a:moveTo>
                      <a:pt x="0" y="0"/>
                    </a:moveTo>
                    <a:cubicBezTo>
                      <a:pt x="2" y="2"/>
                      <a:pt x="4" y="6"/>
                      <a:pt x="6" y="9"/>
                    </a:cubicBezTo>
                    <a:cubicBezTo>
                      <a:pt x="5" y="7"/>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214"/>
              <p:cNvSpPr/>
              <p:nvPr/>
            </p:nvSpPr>
            <p:spPr bwMode="auto">
              <a:xfrm>
                <a:off x="5540" y="4121"/>
                <a:ext cx="14" cy="22"/>
              </a:xfrm>
              <a:custGeom>
                <a:gdLst>
                  <a:gd name="T0" fmla="*/ 0 w 6"/>
                  <a:gd name="T1" fmla="*/ 0 h 9"/>
                  <a:gd name="T2" fmla="*/ 0 w 6"/>
                  <a:gd name="T3" fmla="*/ 0 h 9"/>
                  <a:gd name="T4" fmla="*/ 5 w 6"/>
                  <a:gd name="T5" fmla="*/ 9 h 9"/>
                  <a:gd name="T6" fmla="*/ 3 w 6"/>
                  <a:gd name="T7" fmla="*/ 3 h 9"/>
                  <a:gd name="T8" fmla="*/ 0 w 6"/>
                  <a:gd name="T9" fmla="*/ 0 h 9"/>
                </a:gdLst>
                <a:cxnLst>
                  <a:cxn ang="0">
                    <a:pos x="T0" y="T1"/>
                  </a:cxn>
                  <a:cxn ang="0">
                    <a:pos x="T2" y="T3"/>
                  </a:cxn>
                  <a:cxn ang="0">
                    <a:pos x="T4" y="T5"/>
                  </a:cxn>
                  <a:cxn ang="0">
                    <a:pos x="T6" y="T7"/>
                  </a:cxn>
                  <a:cxn ang="0">
                    <a:pos x="T8" y="T9"/>
                  </a:cxn>
                </a:cxnLst>
                <a:rect l="0" t="0" r="r" b="b"/>
                <a:pathLst>
                  <a:path w="6" h="9">
                    <a:moveTo>
                      <a:pt x="0" y="0"/>
                    </a:moveTo>
                    <a:cubicBezTo>
                      <a:pt x="0" y="0"/>
                      <a:pt x="0" y="0"/>
                      <a:pt x="0" y="0"/>
                    </a:cubicBezTo>
                    <a:cubicBezTo>
                      <a:pt x="1" y="3"/>
                      <a:pt x="3" y="6"/>
                      <a:pt x="5" y="9"/>
                    </a:cubicBezTo>
                    <a:cubicBezTo>
                      <a:pt x="6" y="5"/>
                      <a:pt x="5" y="5"/>
                      <a:pt x="3"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215"/>
              <p:cNvSpPr/>
              <p:nvPr/>
            </p:nvSpPr>
            <p:spPr bwMode="auto">
              <a:xfrm>
                <a:off x="5318" y="4363"/>
                <a:ext cx="14" cy="4"/>
              </a:xfrm>
              <a:custGeom>
                <a:gdLst>
                  <a:gd name="T0" fmla="*/ 1 w 6"/>
                  <a:gd name="T1" fmla="*/ 0 h 2"/>
                  <a:gd name="T2" fmla="*/ 0 w 6"/>
                  <a:gd name="T3" fmla="*/ 2 h 2"/>
                  <a:gd name="T4" fmla="*/ 6 w 6"/>
                  <a:gd name="T5" fmla="*/ 1 h 2"/>
                  <a:gd name="T6" fmla="*/ 1 w 6"/>
                  <a:gd name="T7" fmla="*/ 0 h 2"/>
                </a:gdLst>
                <a:cxnLst>
                  <a:cxn ang="0">
                    <a:pos x="T0" y="T1"/>
                  </a:cxn>
                  <a:cxn ang="0">
                    <a:pos x="T2" y="T3"/>
                  </a:cxn>
                  <a:cxn ang="0">
                    <a:pos x="T4" y="T5"/>
                  </a:cxn>
                  <a:cxn ang="0">
                    <a:pos x="T6" y="T7"/>
                  </a:cxn>
                </a:cxnLst>
                <a:rect l="0" t="0" r="r" b="b"/>
                <a:pathLst>
                  <a:path w="6" h="2">
                    <a:moveTo>
                      <a:pt x="1" y="0"/>
                    </a:moveTo>
                    <a:cubicBezTo>
                      <a:pt x="1" y="1"/>
                      <a:pt x="0" y="2"/>
                      <a:pt x="0" y="2"/>
                    </a:cubicBezTo>
                    <a:cubicBezTo>
                      <a:pt x="2" y="2"/>
                      <a:pt x="5" y="2"/>
                      <a:pt x="6" y="1"/>
                    </a:cubicBezTo>
                    <a:cubicBezTo>
                      <a:pt x="5" y="1"/>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216"/>
              <p:cNvSpPr/>
              <p:nvPr/>
            </p:nvSpPr>
            <p:spPr bwMode="auto">
              <a:xfrm>
                <a:off x="4569" y="4162"/>
                <a:ext cx="7" cy="7"/>
              </a:xfrm>
              <a:custGeom>
                <a:gdLst>
                  <a:gd name="T0" fmla="*/ 3 w 3"/>
                  <a:gd name="T1" fmla="*/ 0 h 3"/>
                  <a:gd name="T2" fmla="*/ 0 w 3"/>
                  <a:gd name="T3" fmla="*/ 3 h 3"/>
                  <a:gd name="T4" fmla="*/ 2 w 3"/>
                  <a:gd name="T5" fmla="*/ 3 h 3"/>
                  <a:gd name="T6" fmla="*/ 3 w 3"/>
                  <a:gd name="T7" fmla="*/ 0 h 3"/>
                </a:gdLst>
                <a:cxnLst>
                  <a:cxn ang="0">
                    <a:pos x="T0" y="T1"/>
                  </a:cxn>
                  <a:cxn ang="0">
                    <a:pos x="T2" y="T3"/>
                  </a:cxn>
                  <a:cxn ang="0">
                    <a:pos x="T4" y="T5"/>
                  </a:cxn>
                  <a:cxn ang="0">
                    <a:pos x="T6" y="T7"/>
                  </a:cxn>
                </a:cxnLst>
                <a:rect l="0" t="0" r="r" b="b"/>
                <a:pathLst>
                  <a:path w="3" h="3">
                    <a:moveTo>
                      <a:pt x="3" y="0"/>
                    </a:moveTo>
                    <a:cubicBezTo>
                      <a:pt x="2" y="1"/>
                      <a:pt x="1" y="2"/>
                      <a:pt x="0" y="3"/>
                    </a:cubicBezTo>
                    <a:cubicBezTo>
                      <a:pt x="1" y="3"/>
                      <a:pt x="1" y="3"/>
                      <a:pt x="2" y="3"/>
                    </a:cubicBezTo>
                    <a:cubicBezTo>
                      <a:pt x="3"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217"/>
              <p:cNvSpPr>
                <a:spLocks noEditPoints="1"/>
              </p:cNvSpPr>
              <p:nvPr/>
            </p:nvSpPr>
            <p:spPr bwMode="auto">
              <a:xfrm>
                <a:off x="5138" y="4204"/>
                <a:ext cx="5" cy="5"/>
              </a:xfrm>
              <a:custGeom>
                <a:gdLst>
                  <a:gd name="T0" fmla="*/ 2 w 2"/>
                  <a:gd name="T1" fmla="*/ 2 h 2"/>
                  <a:gd name="T2" fmla="*/ 2 w 2"/>
                  <a:gd name="T3" fmla="*/ 2 h 2"/>
                  <a:gd name="T4" fmla="*/ 2 w 2"/>
                  <a:gd name="T5" fmla="*/ 2 h 2"/>
                  <a:gd name="T6" fmla="*/ 0 w 2"/>
                  <a:gd name="T7" fmla="*/ 0 h 2"/>
                  <a:gd name="T8" fmla="*/ 2 w 2"/>
                  <a:gd name="T9" fmla="*/ 2 h 2"/>
                  <a:gd name="T10" fmla="*/ 0 w 2"/>
                  <a:gd name="T11" fmla="*/ 0 h 2"/>
                </a:gdLst>
                <a:cxnLst>
                  <a:cxn ang="0">
                    <a:pos x="T0" y="T1"/>
                  </a:cxn>
                  <a:cxn ang="0">
                    <a:pos x="T2" y="T3"/>
                  </a:cxn>
                  <a:cxn ang="0">
                    <a:pos x="T4" y="T5"/>
                  </a:cxn>
                  <a:cxn ang="0">
                    <a:pos x="T6" y="T7"/>
                  </a:cxn>
                  <a:cxn ang="0">
                    <a:pos x="T8" y="T9"/>
                  </a:cxn>
                  <a:cxn ang="0">
                    <a:pos x="T10" y="T11"/>
                  </a:cxn>
                </a:cxnLst>
                <a:rect l="0" t="0" r="r" b="b"/>
                <a:pathLst>
                  <a:path w="2" h="2">
                    <a:moveTo>
                      <a:pt x="2" y="2"/>
                    </a:moveTo>
                    <a:cubicBezTo>
                      <a:pt x="2" y="2"/>
                      <a:pt x="2" y="2"/>
                      <a:pt x="2" y="2"/>
                    </a:cubicBezTo>
                    <a:cubicBezTo>
                      <a:pt x="2" y="2"/>
                      <a:pt x="2" y="2"/>
                      <a:pt x="2" y="2"/>
                    </a:cubicBezTo>
                    <a:moveTo>
                      <a:pt x="0" y="0"/>
                    </a:moveTo>
                    <a:cubicBezTo>
                      <a:pt x="1" y="0"/>
                      <a:pt x="2"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218"/>
              <p:cNvSpPr/>
              <p:nvPr/>
            </p:nvSpPr>
            <p:spPr bwMode="auto">
              <a:xfrm>
                <a:off x="4607" y="4393"/>
                <a:ext cx="18" cy="17"/>
              </a:xfrm>
              <a:custGeom>
                <a:gdLst>
                  <a:gd name="T0" fmla="*/ 3 w 8"/>
                  <a:gd name="T1" fmla="*/ 0 h 7"/>
                  <a:gd name="T2" fmla="*/ 2 w 8"/>
                  <a:gd name="T3" fmla="*/ 0 h 7"/>
                  <a:gd name="T4" fmla="*/ 2 w 8"/>
                  <a:gd name="T5" fmla="*/ 0 h 7"/>
                  <a:gd name="T6" fmla="*/ 1 w 8"/>
                  <a:gd name="T7" fmla="*/ 0 h 7"/>
                  <a:gd name="T8" fmla="*/ 1 w 8"/>
                  <a:gd name="T9" fmla="*/ 0 h 7"/>
                  <a:gd name="T10" fmla="*/ 1 w 8"/>
                  <a:gd name="T11" fmla="*/ 0 h 7"/>
                  <a:gd name="T12" fmla="*/ 1 w 8"/>
                  <a:gd name="T13" fmla="*/ 1 h 7"/>
                  <a:gd name="T14" fmla="*/ 0 w 8"/>
                  <a:gd name="T15" fmla="*/ 7 h 7"/>
                  <a:gd name="T16" fmla="*/ 8 w 8"/>
                  <a:gd name="T17" fmla="*/ 4 h 7"/>
                  <a:gd name="T18" fmla="*/ 8 w 8"/>
                  <a:gd name="T19" fmla="*/ 4 h 7"/>
                  <a:gd name="T20" fmla="*/ 8 w 8"/>
                  <a:gd name="T21" fmla="*/ 3 h 7"/>
                  <a:gd name="T22" fmla="*/ 8 w 8"/>
                  <a:gd name="T23" fmla="*/ 3 h 7"/>
                  <a:gd name="T24" fmla="*/ 8 w 8"/>
                  <a:gd name="T25" fmla="*/ 1 h 7"/>
                  <a:gd name="T26" fmla="*/ 5 w 8"/>
                  <a:gd name="T27" fmla="*/ 1 h 7"/>
                  <a:gd name="T28" fmla="*/ 5 w 8"/>
                  <a:gd name="T29" fmla="*/ 0 h 7"/>
                  <a:gd name="T30" fmla="*/ 3 w 8"/>
                  <a:gd name="T3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7">
                    <a:moveTo>
                      <a:pt x="3" y="0"/>
                    </a:move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1"/>
                      <a:pt x="1" y="1"/>
                      <a:pt x="1" y="1"/>
                    </a:cubicBezTo>
                    <a:cubicBezTo>
                      <a:pt x="0" y="2"/>
                      <a:pt x="0" y="5"/>
                      <a:pt x="0" y="7"/>
                    </a:cubicBezTo>
                    <a:cubicBezTo>
                      <a:pt x="2" y="7"/>
                      <a:pt x="7" y="6"/>
                      <a:pt x="8" y="4"/>
                    </a:cubicBezTo>
                    <a:cubicBezTo>
                      <a:pt x="8" y="4"/>
                      <a:pt x="8" y="4"/>
                      <a:pt x="8" y="4"/>
                    </a:cubicBezTo>
                    <a:cubicBezTo>
                      <a:pt x="8" y="3"/>
                      <a:pt x="8" y="3"/>
                      <a:pt x="8" y="3"/>
                    </a:cubicBezTo>
                    <a:cubicBezTo>
                      <a:pt x="8" y="3"/>
                      <a:pt x="8" y="3"/>
                      <a:pt x="8" y="3"/>
                    </a:cubicBezTo>
                    <a:cubicBezTo>
                      <a:pt x="8" y="2"/>
                      <a:pt x="8" y="2"/>
                      <a:pt x="8" y="1"/>
                    </a:cubicBezTo>
                    <a:cubicBezTo>
                      <a:pt x="8" y="1"/>
                      <a:pt x="7" y="1"/>
                      <a:pt x="5" y="1"/>
                    </a:cubicBezTo>
                    <a:cubicBezTo>
                      <a:pt x="5" y="0"/>
                      <a:pt x="5" y="0"/>
                      <a:pt x="5"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219"/>
              <p:cNvSpPr>
                <a:spLocks noEditPoints="1"/>
              </p:cNvSpPr>
              <p:nvPr/>
            </p:nvSpPr>
            <p:spPr bwMode="auto">
              <a:xfrm>
                <a:off x="5634" y="4353"/>
                <a:ext cx="10" cy="14"/>
              </a:xfrm>
              <a:custGeom>
                <a:gdLst>
                  <a:gd name="T0" fmla="*/ 1 w 4"/>
                  <a:gd name="T1" fmla="*/ 6 h 6"/>
                  <a:gd name="T2" fmla="*/ 1 w 4"/>
                  <a:gd name="T3" fmla="*/ 6 h 6"/>
                  <a:gd name="T4" fmla="*/ 1 w 4"/>
                  <a:gd name="T5" fmla="*/ 6 h 6"/>
                  <a:gd name="T6" fmla="*/ 3 w 4"/>
                  <a:gd name="T7" fmla="*/ 0 h 6"/>
                  <a:gd name="T8" fmla="*/ 0 w 4"/>
                  <a:gd name="T9" fmla="*/ 4 h 6"/>
                  <a:gd name="T10" fmla="*/ 0 w 4"/>
                  <a:gd name="T11" fmla="*/ 4 h 6"/>
                  <a:gd name="T12" fmla="*/ 1 w 4"/>
                  <a:gd name="T13" fmla="*/ 5 h 6"/>
                  <a:gd name="T14" fmla="*/ 1 w 4"/>
                  <a:gd name="T15" fmla="*/ 6 h 6"/>
                  <a:gd name="T16" fmla="*/ 1 w 4"/>
                  <a:gd name="T17" fmla="*/ 6 h 6"/>
                  <a:gd name="T18" fmla="*/ 2 w 4"/>
                  <a:gd name="T19" fmla="*/ 6 h 6"/>
                  <a:gd name="T20" fmla="*/ 4 w 4"/>
                  <a:gd name="T21" fmla="*/ 0 h 6"/>
                  <a:gd name="T22" fmla="*/ 3 w 4"/>
                  <a:gd name="T2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1" y="6"/>
                    </a:moveTo>
                    <a:cubicBezTo>
                      <a:pt x="1" y="6"/>
                      <a:pt x="1" y="6"/>
                      <a:pt x="1" y="6"/>
                    </a:cubicBezTo>
                    <a:cubicBezTo>
                      <a:pt x="1" y="6"/>
                      <a:pt x="1" y="6"/>
                      <a:pt x="1" y="6"/>
                    </a:cubicBezTo>
                    <a:moveTo>
                      <a:pt x="3" y="0"/>
                    </a:moveTo>
                    <a:cubicBezTo>
                      <a:pt x="1" y="0"/>
                      <a:pt x="0" y="1"/>
                      <a:pt x="0" y="4"/>
                    </a:cubicBezTo>
                    <a:cubicBezTo>
                      <a:pt x="0" y="4"/>
                      <a:pt x="0" y="4"/>
                      <a:pt x="0" y="4"/>
                    </a:cubicBezTo>
                    <a:cubicBezTo>
                      <a:pt x="0" y="4"/>
                      <a:pt x="0" y="4"/>
                      <a:pt x="1" y="5"/>
                    </a:cubicBezTo>
                    <a:cubicBezTo>
                      <a:pt x="1" y="5"/>
                      <a:pt x="1" y="6"/>
                      <a:pt x="1" y="6"/>
                    </a:cubicBezTo>
                    <a:cubicBezTo>
                      <a:pt x="1" y="6"/>
                      <a:pt x="1" y="6"/>
                      <a:pt x="1" y="6"/>
                    </a:cubicBezTo>
                    <a:cubicBezTo>
                      <a:pt x="1" y="6"/>
                      <a:pt x="1" y="6"/>
                      <a:pt x="2" y="6"/>
                    </a:cubicBezTo>
                    <a:cubicBezTo>
                      <a:pt x="4" y="6"/>
                      <a:pt x="4"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220"/>
              <p:cNvSpPr/>
              <p:nvPr/>
            </p:nvSpPr>
            <p:spPr bwMode="auto">
              <a:xfrm>
                <a:off x="4181" y="4644"/>
                <a:ext cx="19" cy="12"/>
              </a:xfrm>
              <a:custGeom>
                <a:gdLst>
                  <a:gd name="T0" fmla="*/ 2 w 8"/>
                  <a:gd name="T1" fmla="*/ 0 h 5"/>
                  <a:gd name="T2" fmla="*/ 0 w 8"/>
                  <a:gd name="T3" fmla="*/ 1 h 5"/>
                  <a:gd name="T4" fmla="*/ 7 w 8"/>
                  <a:gd name="T5" fmla="*/ 5 h 5"/>
                  <a:gd name="T6" fmla="*/ 2 w 8"/>
                  <a:gd name="T7" fmla="*/ 0 h 5"/>
                </a:gdLst>
                <a:cxnLst>
                  <a:cxn ang="0">
                    <a:pos x="T0" y="T1"/>
                  </a:cxn>
                  <a:cxn ang="0">
                    <a:pos x="T2" y="T3"/>
                  </a:cxn>
                  <a:cxn ang="0">
                    <a:pos x="T4" y="T5"/>
                  </a:cxn>
                  <a:cxn ang="0">
                    <a:pos x="T6" y="T7"/>
                  </a:cxn>
                </a:cxnLst>
                <a:rect l="0" t="0" r="r" b="b"/>
                <a:pathLst>
                  <a:path w="8" h="5">
                    <a:moveTo>
                      <a:pt x="2" y="0"/>
                    </a:moveTo>
                    <a:cubicBezTo>
                      <a:pt x="1" y="0"/>
                      <a:pt x="0" y="1"/>
                      <a:pt x="0" y="1"/>
                    </a:cubicBezTo>
                    <a:cubicBezTo>
                      <a:pt x="2" y="3"/>
                      <a:pt x="4" y="4"/>
                      <a:pt x="7" y="5"/>
                    </a:cubicBezTo>
                    <a:cubicBezTo>
                      <a:pt x="8" y="3"/>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221"/>
              <p:cNvSpPr/>
              <p:nvPr/>
            </p:nvSpPr>
            <p:spPr bwMode="auto">
              <a:xfrm>
                <a:off x="6102" y="4424"/>
                <a:ext cx="12" cy="2"/>
              </a:xfrm>
              <a:custGeom>
                <a:gdLst>
                  <a:gd name="T0" fmla="*/ 0 w 5"/>
                  <a:gd name="T1" fmla="*/ 0 h 1"/>
                  <a:gd name="T2" fmla="*/ 3 w 5"/>
                  <a:gd name="T3" fmla="*/ 1 h 1"/>
                  <a:gd name="T4" fmla="*/ 5 w 5"/>
                  <a:gd name="T5" fmla="*/ 0 h 1"/>
                  <a:gd name="T6" fmla="*/ 0 w 5"/>
                  <a:gd name="T7" fmla="*/ 0 h 1"/>
                </a:gdLst>
                <a:cxnLst>
                  <a:cxn ang="0">
                    <a:pos x="T0" y="T1"/>
                  </a:cxn>
                  <a:cxn ang="0">
                    <a:pos x="T2" y="T3"/>
                  </a:cxn>
                  <a:cxn ang="0">
                    <a:pos x="T4" y="T5"/>
                  </a:cxn>
                  <a:cxn ang="0">
                    <a:pos x="T6" y="T7"/>
                  </a:cxn>
                </a:cxnLst>
                <a:rect l="0" t="0" r="r" b="b"/>
                <a:pathLst>
                  <a:path w="5" h="1">
                    <a:moveTo>
                      <a:pt x="0" y="0"/>
                    </a:moveTo>
                    <a:cubicBezTo>
                      <a:pt x="1" y="0"/>
                      <a:pt x="2" y="1"/>
                      <a:pt x="3" y="1"/>
                    </a:cubicBezTo>
                    <a:cubicBezTo>
                      <a:pt x="4" y="1"/>
                      <a:pt x="4" y="0"/>
                      <a:pt x="5" y="0"/>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222"/>
              <p:cNvSpPr>
                <a:spLocks noEditPoints="1"/>
              </p:cNvSpPr>
              <p:nvPr/>
            </p:nvSpPr>
            <p:spPr bwMode="auto">
              <a:xfrm>
                <a:off x="5412" y="4930"/>
                <a:ext cx="10" cy="12"/>
              </a:xfrm>
              <a:custGeom>
                <a:gdLst>
                  <a:gd name="T0" fmla="*/ 4 w 4"/>
                  <a:gd name="T1" fmla="*/ 0 h 5"/>
                  <a:gd name="T2" fmla="*/ 1 w 4"/>
                  <a:gd name="T3" fmla="*/ 5 h 5"/>
                  <a:gd name="T4" fmla="*/ 4 w 4"/>
                  <a:gd name="T5" fmla="*/ 0 h 5"/>
                  <a:gd name="T6" fmla="*/ 4 w 4"/>
                  <a:gd name="T7" fmla="*/ 0 h 5"/>
                  <a:gd name="T8" fmla="*/ 4 w 4"/>
                  <a:gd name="T9" fmla="*/ 0 h 5"/>
                  <a:gd name="T10" fmla="*/ 4 w 4"/>
                  <a:gd name="T11" fmla="*/ 0 h 5"/>
                </a:gdLst>
                <a:cxnLst>
                  <a:cxn ang="0">
                    <a:pos x="T0" y="T1"/>
                  </a:cxn>
                  <a:cxn ang="0">
                    <a:pos x="T2" y="T3"/>
                  </a:cxn>
                  <a:cxn ang="0">
                    <a:pos x="T4" y="T5"/>
                  </a:cxn>
                  <a:cxn ang="0">
                    <a:pos x="T6" y="T7"/>
                  </a:cxn>
                  <a:cxn ang="0">
                    <a:pos x="T8" y="T9"/>
                  </a:cxn>
                  <a:cxn ang="0">
                    <a:pos x="T10" y="T11"/>
                  </a:cxn>
                </a:cxnLst>
                <a:rect l="0" t="0" r="r" b="b"/>
                <a:pathLst>
                  <a:path w="4" h="5">
                    <a:moveTo>
                      <a:pt x="4" y="0"/>
                    </a:moveTo>
                    <a:cubicBezTo>
                      <a:pt x="3" y="2"/>
                      <a:pt x="0" y="2"/>
                      <a:pt x="1" y="5"/>
                    </a:cubicBezTo>
                    <a:cubicBezTo>
                      <a:pt x="2" y="3"/>
                      <a:pt x="3" y="2"/>
                      <a:pt x="4" y="0"/>
                    </a:cubicBezTo>
                    <a:moveTo>
                      <a:pt x="4" y="0"/>
                    </a:move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223"/>
              <p:cNvSpPr/>
              <p:nvPr/>
            </p:nvSpPr>
            <p:spPr bwMode="auto">
              <a:xfrm>
                <a:off x="4283" y="4277"/>
                <a:ext cx="5" cy="5"/>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0" y="0"/>
                      <a:pt x="0" y="0"/>
                      <a:pt x="0" y="0"/>
                    </a:cubicBezTo>
                    <a:cubicBezTo>
                      <a:pt x="0" y="1"/>
                      <a:pt x="1" y="2"/>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224"/>
              <p:cNvSpPr/>
              <p:nvPr/>
            </p:nvSpPr>
            <p:spPr bwMode="auto">
              <a:xfrm>
                <a:off x="6046" y="4438"/>
                <a:ext cx="4" cy="12"/>
              </a:xfrm>
              <a:custGeom>
                <a:gdLst>
                  <a:gd name="T0" fmla="*/ 2 w 2"/>
                  <a:gd name="T1" fmla="*/ 0 h 5"/>
                  <a:gd name="T2" fmla="*/ 0 w 2"/>
                  <a:gd name="T3" fmla="*/ 5 h 5"/>
                  <a:gd name="T4" fmla="*/ 2 w 2"/>
                  <a:gd name="T5" fmla="*/ 0 h 5"/>
                </a:gdLst>
                <a:cxnLst>
                  <a:cxn ang="0">
                    <a:pos x="T0" y="T1"/>
                  </a:cxn>
                  <a:cxn ang="0">
                    <a:pos x="T2" y="T3"/>
                  </a:cxn>
                  <a:cxn ang="0">
                    <a:pos x="T4" y="T5"/>
                  </a:cxn>
                </a:cxnLst>
                <a:rect l="0" t="0" r="r" b="b"/>
                <a:pathLst>
                  <a:path w="2" h="5">
                    <a:moveTo>
                      <a:pt x="2" y="0"/>
                    </a:moveTo>
                    <a:cubicBezTo>
                      <a:pt x="1" y="1"/>
                      <a:pt x="0" y="3"/>
                      <a:pt x="0" y="5"/>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225"/>
              <p:cNvSpPr/>
              <p:nvPr/>
            </p:nvSpPr>
            <p:spPr bwMode="auto">
              <a:xfrm>
                <a:off x="4356" y="4717"/>
                <a:ext cx="10" cy="5"/>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2" y="0"/>
                      <a:pt x="1" y="1"/>
                      <a:pt x="0" y="2"/>
                    </a:cubicBezTo>
                    <a:cubicBezTo>
                      <a:pt x="1" y="2"/>
                      <a:pt x="2"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226"/>
              <p:cNvSpPr/>
              <p:nvPr/>
            </p:nvSpPr>
            <p:spPr bwMode="auto">
              <a:xfrm>
                <a:off x="4297" y="4282"/>
                <a:ext cx="9" cy="10"/>
              </a:xfrm>
              <a:custGeom>
                <a:gdLst>
                  <a:gd name="T0" fmla="*/ 0 w 4"/>
                  <a:gd name="T1" fmla="*/ 0 h 4"/>
                  <a:gd name="T2" fmla="*/ 2 w 4"/>
                  <a:gd name="T3" fmla="*/ 4 h 4"/>
                  <a:gd name="T4" fmla="*/ 4 w 4"/>
                  <a:gd name="T5" fmla="*/ 2 h 4"/>
                  <a:gd name="T6" fmla="*/ 0 w 4"/>
                  <a:gd name="T7" fmla="*/ 0 h 4"/>
                </a:gdLst>
                <a:cxnLst>
                  <a:cxn ang="0">
                    <a:pos x="T0" y="T1"/>
                  </a:cxn>
                  <a:cxn ang="0">
                    <a:pos x="T2" y="T3"/>
                  </a:cxn>
                  <a:cxn ang="0">
                    <a:pos x="T4" y="T5"/>
                  </a:cxn>
                  <a:cxn ang="0">
                    <a:pos x="T6" y="T7"/>
                  </a:cxn>
                </a:cxnLst>
                <a:rect l="0" t="0" r="r" b="b"/>
                <a:pathLst>
                  <a:path w="4" h="4">
                    <a:moveTo>
                      <a:pt x="0" y="0"/>
                    </a:moveTo>
                    <a:cubicBezTo>
                      <a:pt x="0" y="1"/>
                      <a:pt x="1" y="2"/>
                      <a:pt x="2" y="4"/>
                    </a:cubicBezTo>
                    <a:cubicBezTo>
                      <a:pt x="3" y="3"/>
                      <a:pt x="3" y="3"/>
                      <a:pt x="4" y="2"/>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Freeform 227"/>
              <p:cNvSpPr/>
              <p:nvPr/>
            </p:nvSpPr>
            <p:spPr bwMode="auto">
              <a:xfrm>
                <a:off x="5779" y="4790"/>
                <a:ext cx="19" cy="17"/>
              </a:xfrm>
              <a:custGeom>
                <a:gdLst>
                  <a:gd name="T0" fmla="*/ 2 w 8"/>
                  <a:gd name="T1" fmla="*/ 0 h 7"/>
                  <a:gd name="T2" fmla="*/ 3 w 8"/>
                  <a:gd name="T3" fmla="*/ 6 h 7"/>
                  <a:gd name="T4" fmla="*/ 4 w 8"/>
                  <a:gd name="T5" fmla="*/ 7 h 7"/>
                  <a:gd name="T6" fmla="*/ 7 w 8"/>
                  <a:gd name="T7" fmla="*/ 4 h 7"/>
                  <a:gd name="T8" fmla="*/ 2 w 8"/>
                  <a:gd name="T9" fmla="*/ 0 h 7"/>
                </a:gdLst>
                <a:cxnLst>
                  <a:cxn ang="0">
                    <a:pos x="T0" y="T1"/>
                  </a:cxn>
                  <a:cxn ang="0">
                    <a:pos x="T2" y="T3"/>
                  </a:cxn>
                  <a:cxn ang="0">
                    <a:pos x="T4" y="T5"/>
                  </a:cxn>
                  <a:cxn ang="0">
                    <a:pos x="T6" y="T7"/>
                  </a:cxn>
                  <a:cxn ang="0">
                    <a:pos x="T8" y="T9"/>
                  </a:cxn>
                </a:cxnLst>
                <a:rect l="0" t="0" r="r" b="b"/>
                <a:pathLst>
                  <a:path w="8" h="7">
                    <a:moveTo>
                      <a:pt x="2" y="0"/>
                    </a:moveTo>
                    <a:cubicBezTo>
                      <a:pt x="0" y="2"/>
                      <a:pt x="1" y="6"/>
                      <a:pt x="3" y="6"/>
                    </a:cubicBezTo>
                    <a:cubicBezTo>
                      <a:pt x="3" y="7"/>
                      <a:pt x="4" y="7"/>
                      <a:pt x="4" y="7"/>
                    </a:cubicBezTo>
                    <a:cubicBezTo>
                      <a:pt x="6" y="7"/>
                      <a:pt x="7" y="6"/>
                      <a:pt x="7" y="4"/>
                    </a:cubicBezTo>
                    <a:cubicBezTo>
                      <a:pt x="8" y="1"/>
                      <a:pt x="4"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Freeform 228"/>
              <p:cNvSpPr/>
              <p:nvPr/>
            </p:nvSpPr>
            <p:spPr bwMode="auto">
              <a:xfrm>
                <a:off x="5722" y="4540"/>
                <a:ext cx="7" cy="7"/>
              </a:xfrm>
              <a:custGeom>
                <a:gdLst>
                  <a:gd name="T0" fmla="*/ 0 w 3"/>
                  <a:gd name="T1" fmla="*/ 0 h 3"/>
                  <a:gd name="T2" fmla="*/ 2 w 3"/>
                  <a:gd name="T3" fmla="*/ 3 h 3"/>
                  <a:gd name="T4" fmla="*/ 3 w 3"/>
                  <a:gd name="T5" fmla="*/ 3 h 3"/>
                  <a:gd name="T6" fmla="*/ 0 w 3"/>
                  <a:gd name="T7" fmla="*/ 0 h 3"/>
                </a:gdLst>
                <a:cxnLst>
                  <a:cxn ang="0">
                    <a:pos x="T0" y="T1"/>
                  </a:cxn>
                  <a:cxn ang="0">
                    <a:pos x="T2" y="T3"/>
                  </a:cxn>
                  <a:cxn ang="0">
                    <a:pos x="T4" y="T5"/>
                  </a:cxn>
                  <a:cxn ang="0">
                    <a:pos x="T6" y="T7"/>
                  </a:cxn>
                </a:cxnLst>
                <a:rect l="0" t="0" r="r" b="b"/>
                <a:pathLst>
                  <a:path w="3" h="3">
                    <a:moveTo>
                      <a:pt x="0" y="0"/>
                    </a:moveTo>
                    <a:cubicBezTo>
                      <a:pt x="0" y="2"/>
                      <a:pt x="1" y="3"/>
                      <a:pt x="2" y="3"/>
                    </a:cubicBezTo>
                    <a:cubicBezTo>
                      <a:pt x="2"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229"/>
              <p:cNvSpPr/>
              <p:nvPr/>
            </p:nvSpPr>
            <p:spPr bwMode="auto">
              <a:xfrm>
                <a:off x="4389" y="4159"/>
                <a:ext cx="10" cy="12"/>
              </a:xfrm>
              <a:custGeom>
                <a:gdLst>
                  <a:gd name="T0" fmla="*/ 0 w 4"/>
                  <a:gd name="T1" fmla="*/ 0 h 5"/>
                  <a:gd name="T2" fmla="*/ 0 w 4"/>
                  <a:gd name="T3" fmla="*/ 5 h 5"/>
                  <a:gd name="T4" fmla="*/ 4 w 4"/>
                  <a:gd name="T5" fmla="*/ 2 h 5"/>
                  <a:gd name="T6" fmla="*/ 0 w 4"/>
                  <a:gd name="T7" fmla="*/ 0 h 5"/>
                </a:gdLst>
                <a:cxnLst>
                  <a:cxn ang="0">
                    <a:pos x="T0" y="T1"/>
                  </a:cxn>
                  <a:cxn ang="0">
                    <a:pos x="T2" y="T3"/>
                  </a:cxn>
                  <a:cxn ang="0">
                    <a:pos x="T4" y="T5"/>
                  </a:cxn>
                  <a:cxn ang="0">
                    <a:pos x="T6" y="T7"/>
                  </a:cxn>
                </a:cxnLst>
                <a:rect l="0" t="0" r="r" b="b"/>
                <a:pathLst>
                  <a:path w="4" h="5">
                    <a:moveTo>
                      <a:pt x="0" y="0"/>
                    </a:moveTo>
                    <a:cubicBezTo>
                      <a:pt x="0" y="2"/>
                      <a:pt x="0" y="3"/>
                      <a:pt x="0" y="5"/>
                    </a:cubicBezTo>
                    <a:cubicBezTo>
                      <a:pt x="2" y="4"/>
                      <a:pt x="3" y="3"/>
                      <a:pt x="4" y="2"/>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230"/>
              <p:cNvSpPr/>
              <p:nvPr/>
            </p:nvSpPr>
            <p:spPr bwMode="auto">
              <a:xfrm>
                <a:off x="5656" y="4405"/>
                <a:ext cx="14" cy="5"/>
              </a:xfrm>
              <a:custGeom>
                <a:gdLst>
                  <a:gd name="T0" fmla="*/ 3 w 6"/>
                  <a:gd name="T1" fmla="*/ 0 h 2"/>
                  <a:gd name="T2" fmla="*/ 0 w 6"/>
                  <a:gd name="T3" fmla="*/ 1 h 2"/>
                  <a:gd name="T4" fmla="*/ 5 w 6"/>
                  <a:gd name="T5" fmla="*/ 2 h 2"/>
                  <a:gd name="T6" fmla="*/ 6 w 6"/>
                  <a:gd name="T7" fmla="*/ 2 h 2"/>
                  <a:gd name="T8" fmla="*/ 3 w 6"/>
                  <a:gd name="T9" fmla="*/ 0 h 2"/>
                </a:gdLst>
                <a:cxnLst>
                  <a:cxn ang="0">
                    <a:pos x="T0" y="T1"/>
                  </a:cxn>
                  <a:cxn ang="0">
                    <a:pos x="T2" y="T3"/>
                  </a:cxn>
                  <a:cxn ang="0">
                    <a:pos x="T4" y="T5"/>
                  </a:cxn>
                  <a:cxn ang="0">
                    <a:pos x="T6" y="T7"/>
                  </a:cxn>
                  <a:cxn ang="0">
                    <a:pos x="T8" y="T9"/>
                  </a:cxn>
                </a:cxnLst>
                <a:rect l="0" t="0" r="r" b="b"/>
                <a:pathLst>
                  <a:path w="6" h="2">
                    <a:moveTo>
                      <a:pt x="3" y="0"/>
                    </a:moveTo>
                    <a:cubicBezTo>
                      <a:pt x="2" y="0"/>
                      <a:pt x="1" y="1"/>
                      <a:pt x="0" y="1"/>
                    </a:cubicBezTo>
                    <a:cubicBezTo>
                      <a:pt x="2" y="2"/>
                      <a:pt x="3" y="2"/>
                      <a:pt x="5" y="2"/>
                    </a:cubicBezTo>
                    <a:cubicBezTo>
                      <a:pt x="5" y="2"/>
                      <a:pt x="5" y="2"/>
                      <a:pt x="6" y="2"/>
                    </a:cubicBezTo>
                    <a:cubicBezTo>
                      <a:pt x="5" y="1"/>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Freeform 231"/>
              <p:cNvSpPr/>
              <p:nvPr/>
            </p:nvSpPr>
            <p:spPr bwMode="auto">
              <a:xfrm>
                <a:off x="4058" y="4481"/>
                <a:ext cx="15" cy="21"/>
              </a:xfrm>
              <a:custGeom>
                <a:gdLst>
                  <a:gd name="T0" fmla="*/ 0 w 6"/>
                  <a:gd name="T1" fmla="*/ 0 h 9"/>
                  <a:gd name="T2" fmla="*/ 1 w 6"/>
                  <a:gd name="T3" fmla="*/ 9 h 9"/>
                  <a:gd name="T4" fmla="*/ 1 w 6"/>
                  <a:gd name="T5" fmla="*/ 9 h 9"/>
                  <a:gd name="T6" fmla="*/ 4 w 6"/>
                  <a:gd name="T7" fmla="*/ 5 h 9"/>
                  <a:gd name="T8" fmla="*/ 0 w 6"/>
                  <a:gd name="T9" fmla="*/ 0 h 9"/>
                </a:gdLst>
                <a:cxnLst>
                  <a:cxn ang="0">
                    <a:pos x="T0" y="T1"/>
                  </a:cxn>
                  <a:cxn ang="0">
                    <a:pos x="T2" y="T3"/>
                  </a:cxn>
                  <a:cxn ang="0">
                    <a:pos x="T4" y="T5"/>
                  </a:cxn>
                  <a:cxn ang="0">
                    <a:pos x="T6" y="T7"/>
                  </a:cxn>
                  <a:cxn ang="0">
                    <a:pos x="T8" y="T9"/>
                  </a:cxn>
                </a:cxnLst>
                <a:rect l="0" t="0" r="r" b="b"/>
                <a:pathLst>
                  <a:path w="6" h="9">
                    <a:moveTo>
                      <a:pt x="0" y="0"/>
                    </a:moveTo>
                    <a:cubicBezTo>
                      <a:pt x="0" y="3"/>
                      <a:pt x="0" y="6"/>
                      <a:pt x="1" y="9"/>
                    </a:cubicBezTo>
                    <a:cubicBezTo>
                      <a:pt x="1" y="9"/>
                      <a:pt x="1" y="9"/>
                      <a:pt x="1" y="9"/>
                    </a:cubicBezTo>
                    <a:cubicBezTo>
                      <a:pt x="4" y="9"/>
                      <a:pt x="6" y="7"/>
                      <a:pt x="4" y="5"/>
                    </a:cubicBezTo>
                    <a:cubicBezTo>
                      <a:pt x="4"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232"/>
              <p:cNvSpPr/>
              <p:nvPr/>
            </p:nvSpPr>
            <p:spPr bwMode="auto">
              <a:xfrm>
                <a:off x="3959" y="4353"/>
                <a:ext cx="14" cy="14"/>
              </a:xfrm>
              <a:custGeom>
                <a:gdLst>
                  <a:gd name="T0" fmla="*/ 4 w 6"/>
                  <a:gd name="T1" fmla="*/ 0 h 6"/>
                  <a:gd name="T2" fmla="*/ 2 w 6"/>
                  <a:gd name="T3" fmla="*/ 2 h 6"/>
                  <a:gd name="T4" fmla="*/ 0 w 6"/>
                  <a:gd name="T5" fmla="*/ 6 h 6"/>
                  <a:gd name="T6" fmla="*/ 1 w 6"/>
                  <a:gd name="T7" fmla="*/ 6 h 6"/>
                  <a:gd name="T8" fmla="*/ 5 w 6"/>
                  <a:gd name="T9" fmla="*/ 5 h 6"/>
                  <a:gd name="T10" fmla="*/ 4 w 6"/>
                  <a:gd name="T11" fmla="*/ 0 h 6"/>
                </a:gdLst>
                <a:cxnLst>
                  <a:cxn ang="0">
                    <a:pos x="T0" y="T1"/>
                  </a:cxn>
                  <a:cxn ang="0">
                    <a:pos x="T2" y="T3"/>
                  </a:cxn>
                  <a:cxn ang="0">
                    <a:pos x="T4" y="T5"/>
                  </a:cxn>
                  <a:cxn ang="0">
                    <a:pos x="T6" y="T7"/>
                  </a:cxn>
                  <a:cxn ang="0">
                    <a:pos x="T8" y="T9"/>
                  </a:cxn>
                  <a:cxn ang="0">
                    <a:pos x="T10" y="T11"/>
                  </a:cxn>
                </a:cxnLst>
                <a:rect l="0" t="0" r="r" b="b"/>
                <a:pathLst>
                  <a:path w="6" h="6">
                    <a:moveTo>
                      <a:pt x="4" y="0"/>
                    </a:moveTo>
                    <a:cubicBezTo>
                      <a:pt x="3" y="0"/>
                      <a:pt x="2" y="0"/>
                      <a:pt x="2" y="2"/>
                    </a:cubicBezTo>
                    <a:cubicBezTo>
                      <a:pt x="1" y="4"/>
                      <a:pt x="2" y="6"/>
                      <a:pt x="0" y="6"/>
                    </a:cubicBezTo>
                    <a:cubicBezTo>
                      <a:pt x="0" y="6"/>
                      <a:pt x="1" y="6"/>
                      <a:pt x="1" y="6"/>
                    </a:cubicBezTo>
                    <a:cubicBezTo>
                      <a:pt x="3" y="6"/>
                      <a:pt x="4" y="6"/>
                      <a:pt x="5" y="5"/>
                    </a:cubicBezTo>
                    <a:cubicBezTo>
                      <a:pt x="6" y="2"/>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233"/>
              <p:cNvSpPr/>
              <p:nvPr/>
            </p:nvSpPr>
            <p:spPr bwMode="auto">
              <a:xfrm>
                <a:off x="5559" y="4452"/>
                <a:ext cx="14" cy="29"/>
              </a:xfrm>
              <a:custGeom>
                <a:gdLst>
                  <a:gd name="T0" fmla="*/ 4 w 6"/>
                  <a:gd name="T1" fmla="*/ 0 h 12"/>
                  <a:gd name="T2" fmla="*/ 4 w 6"/>
                  <a:gd name="T3" fmla="*/ 7 h 12"/>
                  <a:gd name="T4" fmla="*/ 6 w 6"/>
                  <a:gd name="T5" fmla="*/ 12 h 12"/>
                  <a:gd name="T6" fmla="*/ 4 w 6"/>
                  <a:gd name="T7" fmla="*/ 0 h 12"/>
                </a:gdLst>
                <a:cxnLst>
                  <a:cxn ang="0">
                    <a:pos x="T0" y="T1"/>
                  </a:cxn>
                  <a:cxn ang="0">
                    <a:pos x="T2" y="T3"/>
                  </a:cxn>
                  <a:cxn ang="0">
                    <a:pos x="T4" y="T5"/>
                  </a:cxn>
                  <a:cxn ang="0">
                    <a:pos x="T6" y="T7"/>
                  </a:cxn>
                </a:cxnLst>
                <a:rect l="0" t="0" r="r" b="b"/>
                <a:pathLst>
                  <a:path w="6" h="12">
                    <a:moveTo>
                      <a:pt x="4" y="0"/>
                    </a:moveTo>
                    <a:cubicBezTo>
                      <a:pt x="0" y="2"/>
                      <a:pt x="3" y="4"/>
                      <a:pt x="4" y="7"/>
                    </a:cubicBezTo>
                    <a:cubicBezTo>
                      <a:pt x="4" y="9"/>
                      <a:pt x="4" y="11"/>
                      <a:pt x="6" y="12"/>
                    </a:cubicBezTo>
                    <a:cubicBezTo>
                      <a:pt x="6" y="8"/>
                      <a:pt x="5"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234"/>
              <p:cNvSpPr/>
              <p:nvPr/>
            </p:nvSpPr>
            <p:spPr bwMode="auto">
              <a:xfrm>
                <a:off x="3891" y="4206"/>
                <a:ext cx="14" cy="10"/>
              </a:xfrm>
              <a:custGeom>
                <a:gdLst>
                  <a:gd name="T0" fmla="*/ 2 w 6"/>
                  <a:gd name="T1" fmla="*/ 0 h 4"/>
                  <a:gd name="T2" fmla="*/ 0 w 6"/>
                  <a:gd name="T3" fmla="*/ 0 h 4"/>
                  <a:gd name="T4" fmla="*/ 6 w 6"/>
                  <a:gd name="T5" fmla="*/ 4 h 4"/>
                  <a:gd name="T6" fmla="*/ 2 w 6"/>
                  <a:gd name="T7" fmla="*/ 0 h 4"/>
                </a:gdLst>
                <a:cxnLst>
                  <a:cxn ang="0">
                    <a:pos x="T0" y="T1"/>
                  </a:cxn>
                  <a:cxn ang="0">
                    <a:pos x="T2" y="T3"/>
                  </a:cxn>
                  <a:cxn ang="0">
                    <a:pos x="T4" y="T5"/>
                  </a:cxn>
                  <a:cxn ang="0">
                    <a:pos x="T6" y="T7"/>
                  </a:cxn>
                </a:cxnLst>
                <a:rect l="0" t="0" r="r" b="b"/>
                <a:pathLst>
                  <a:path w="6" h="4">
                    <a:moveTo>
                      <a:pt x="2" y="0"/>
                    </a:moveTo>
                    <a:cubicBezTo>
                      <a:pt x="1" y="0"/>
                      <a:pt x="1" y="0"/>
                      <a:pt x="0" y="0"/>
                    </a:cubicBezTo>
                    <a:cubicBezTo>
                      <a:pt x="2" y="2"/>
                      <a:pt x="4" y="3"/>
                      <a:pt x="6" y="4"/>
                    </a:cubicBezTo>
                    <a:cubicBezTo>
                      <a:pt x="6"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235"/>
              <p:cNvSpPr/>
              <p:nvPr/>
            </p:nvSpPr>
            <p:spPr bwMode="auto">
              <a:xfrm>
                <a:off x="5424" y="4424"/>
                <a:ext cx="5" cy="14"/>
              </a:xfrm>
              <a:custGeom>
                <a:gdLst>
                  <a:gd name="T0" fmla="*/ 1 w 2"/>
                  <a:gd name="T1" fmla="*/ 0 h 6"/>
                  <a:gd name="T2" fmla="*/ 0 w 2"/>
                  <a:gd name="T3" fmla="*/ 5 h 6"/>
                  <a:gd name="T4" fmla="*/ 1 w 2"/>
                  <a:gd name="T5" fmla="*/ 6 h 6"/>
                  <a:gd name="T6" fmla="*/ 1 w 2"/>
                  <a:gd name="T7" fmla="*/ 0 h 6"/>
                </a:gdLst>
                <a:cxnLst>
                  <a:cxn ang="0">
                    <a:pos x="T0" y="T1"/>
                  </a:cxn>
                  <a:cxn ang="0">
                    <a:pos x="T2" y="T3"/>
                  </a:cxn>
                  <a:cxn ang="0">
                    <a:pos x="T4" y="T5"/>
                  </a:cxn>
                  <a:cxn ang="0">
                    <a:pos x="T6" y="T7"/>
                  </a:cxn>
                </a:cxnLst>
                <a:rect l="0" t="0" r="r" b="b"/>
                <a:pathLst>
                  <a:path w="2" h="6">
                    <a:moveTo>
                      <a:pt x="1" y="0"/>
                    </a:moveTo>
                    <a:cubicBezTo>
                      <a:pt x="1" y="0"/>
                      <a:pt x="0" y="4"/>
                      <a:pt x="0" y="5"/>
                    </a:cubicBezTo>
                    <a:cubicBezTo>
                      <a:pt x="1" y="5"/>
                      <a:pt x="1" y="6"/>
                      <a:pt x="1" y="6"/>
                    </a:cubicBezTo>
                    <a:cubicBezTo>
                      <a:pt x="2" y="6"/>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236"/>
              <p:cNvSpPr/>
              <p:nvPr/>
            </p:nvSpPr>
            <p:spPr bwMode="auto">
              <a:xfrm>
                <a:off x="5393" y="4568"/>
                <a:ext cx="19" cy="14"/>
              </a:xfrm>
              <a:custGeom>
                <a:gdLst>
                  <a:gd name="T0" fmla="*/ 2 w 8"/>
                  <a:gd name="T1" fmla="*/ 0 h 6"/>
                  <a:gd name="T2" fmla="*/ 3 w 8"/>
                  <a:gd name="T3" fmla="*/ 6 h 6"/>
                  <a:gd name="T4" fmla="*/ 4 w 8"/>
                  <a:gd name="T5" fmla="*/ 6 h 6"/>
                  <a:gd name="T6" fmla="*/ 7 w 8"/>
                  <a:gd name="T7" fmla="*/ 4 h 6"/>
                  <a:gd name="T8" fmla="*/ 2 w 8"/>
                  <a:gd name="T9" fmla="*/ 0 h 6"/>
                </a:gdLst>
                <a:cxnLst>
                  <a:cxn ang="0">
                    <a:pos x="T0" y="T1"/>
                  </a:cxn>
                  <a:cxn ang="0">
                    <a:pos x="T2" y="T3"/>
                  </a:cxn>
                  <a:cxn ang="0">
                    <a:pos x="T4" y="T5"/>
                  </a:cxn>
                  <a:cxn ang="0">
                    <a:pos x="T6" y="T7"/>
                  </a:cxn>
                  <a:cxn ang="0">
                    <a:pos x="T8" y="T9"/>
                  </a:cxn>
                </a:cxnLst>
                <a:rect l="0" t="0" r="r" b="b"/>
                <a:pathLst>
                  <a:path w="8" h="6">
                    <a:moveTo>
                      <a:pt x="2" y="0"/>
                    </a:moveTo>
                    <a:cubicBezTo>
                      <a:pt x="0" y="1"/>
                      <a:pt x="0" y="5"/>
                      <a:pt x="3" y="6"/>
                    </a:cubicBezTo>
                    <a:cubicBezTo>
                      <a:pt x="3" y="6"/>
                      <a:pt x="4" y="6"/>
                      <a:pt x="4" y="6"/>
                    </a:cubicBezTo>
                    <a:cubicBezTo>
                      <a:pt x="5" y="6"/>
                      <a:pt x="7" y="6"/>
                      <a:pt x="7" y="4"/>
                    </a:cubicBezTo>
                    <a:cubicBezTo>
                      <a:pt x="8" y="1"/>
                      <a:pt x="6"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237"/>
              <p:cNvSpPr/>
              <p:nvPr/>
            </p:nvSpPr>
            <p:spPr bwMode="auto">
              <a:xfrm>
                <a:off x="5183" y="4828"/>
                <a:ext cx="14" cy="19"/>
              </a:xfrm>
              <a:custGeom>
                <a:gdLst>
                  <a:gd name="T0" fmla="*/ 3 w 6"/>
                  <a:gd name="T1" fmla="*/ 0 h 8"/>
                  <a:gd name="T2" fmla="*/ 2 w 6"/>
                  <a:gd name="T3" fmla="*/ 6 h 8"/>
                  <a:gd name="T4" fmla="*/ 2 w 6"/>
                  <a:gd name="T5" fmla="*/ 8 h 8"/>
                  <a:gd name="T6" fmla="*/ 4 w 6"/>
                  <a:gd name="T7" fmla="*/ 7 h 8"/>
                  <a:gd name="T8" fmla="*/ 3 w 6"/>
                  <a:gd name="T9" fmla="*/ 0 h 8"/>
                </a:gdLst>
                <a:cxnLst>
                  <a:cxn ang="0">
                    <a:pos x="T0" y="T1"/>
                  </a:cxn>
                  <a:cxn ang="0">
                    <a:pos x="T2" y="T3"/>
                  </a:cxn>
                  <a:cxn ang="0">
                    <a:pos x="T4" y="T5"/>
                  </a:cxn>
                  <a:cxn ang="0">
                    <a:pos x="T6" y="T7"/>
                  </a:cxn>
                  <a:cxn ang="0">
                    <a:pos x="T8" y="T9"/>
                  </a:cxn>
                </a:cxnLst>
                <a:rect l="0" t="0" r="r" b="b"/>
                <a:pathLst>
                  <a:path w="6" h="8">
                    <a:moveTo>
                      <a:pt x="3" y="0"/>
                    </a:moveTo>
                    <a:cubicBezTo>
                      <a:pt x="2" y="3"/>
                      <a:pt x="0" y="4"/>
                      <a:pt x="2" y="6"/>
                    </a:cubicBezTo>
                    <a:cubicBezTo>
                      <a:pt x="2" y="7"/>
                      <a:pt x="2" y="8"/>
                      <a:pt x="2" y="8"/>
                    </a:cubicBezTo>
                    <a:cubicBezTo>
                      <a:pt x="2" y="8"/>
                      <a:pt x="3" y="8"/>
                      <a:pt x="4" y="7"/>
                    </a:cubicBezTo>
                    <a:cubicBezTo>
                      <a:pt x="6" y="3"/>
                      <a:pt x="6" y="4"/>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238"/>
              <p:cNvSpPr/>
              <p:nvPr/>
            </p:nvSpPr>
            <p:spPr bwMode="auto">
              <a:xfrm>
                <a:off x="6301" y="4814"/>
                <a:ext cx="23" cy="14"/>
              </a:xfrm>
              <a:custGeom>
                <a:gdLst>
                  <a:gd name="T0" fmla="*/ 7 w 10"/>
                  <a:gd name="T1" fmla="*/ 0 h 6"/>
                  <a:gd name="T2" fmla="*/ 0 w 10"/>
                  <a:gd name="T3" fmla="*/ 4 h 6"/>
                  <a:gd name="T4" fmla="*/ 6 w 10"/>
                  <a:gd name="T5" fmla="*/ 6 h 6"/>
                  <a:gd name="T6" fmla="*/ 6 w 10"/>
                  <a:gd name="T7" fmla="*/ 6 h 6"/>
                  <a:gd name="T8" fmla="*/ 7 w 10"/>
                  <a:gd name="T9" fmla="*/ 0 h 6"/>
                </a:gdLst>
                <a:cxnLst>
                  <a:cxn ang="0">
                    <a:pos x="T0" y="T1"/>
                  </a:cxn>
                  <a:cxn ang="0">
                    <a:pos x="T2" y="T3"/>
                  </a:cxn>
                  <a:cxn ang="0">
                    <a:pos x="T4" y="T5"/>
                  </a:cxn>
                  <a:cxn ang="0">
                    <a:pos x="T6" y="T7"/>
                  </a:cxn>
                  <a:cxn ang="0">
                    <a:pos x="T8" y="T9"/>
                  </a:cxn>
                </a:cxnLst>
                <a:rect l="0" t="0" r="r" b="b"/>
                <a:pathLst>
                  <a:path w="10" h="6">
                    <a:moveTo>
                      <a:pt x="7" y="0"/>
                    </a:moveTo>
                    <a:cubicBezTo>
                      <a:pt x="6" y="0"/>
                      <a:pt x="0" y="2"/>
                      <a:pt x="0" y="4"/>
                    </a:cubicBezTo>
                    <a:cubicBezTo>
                      <a:pt x="0" y="5"/>
                      <a:pt x="5" y="6"/>
                      <a:pt x="6" y="6"/>
                    </a:cubicBezTo>
                    <a:cubicBezTo>
                      <a:pt x="6" y="6"/>
                      <a:pt x="6" y="6"/>
                      <a:pt x="6" y="6"/>
                    </a:cubicBezTo>
                    <a:cubicBezTo>
                      <a:pt x="10" y="5"/>
                      <a:pt x="8"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239"/>
              <p:cNvSpPr/>
              <p:nvPr/>
            </p:nvSpPr>
            <p:spPr bwMode="auto">
              <a:xfrm>
                <a:off x="6140" y="4379"/>
                <a:ext cx="36" cy="28"/>
              </a:xfrm>
              <a:custGeom>
                <a:gdLst>
                  <a:gd name="T0" fmla="*/ 1 w 15"/>
                  <a:gd name="T1" fmla="*/ 0 h 12"/>
                  <a:gd name="T2" fmla="*/ 0 w 15"/>
                  <a:gd name="T3" fmla="*/ 1 h 12"/>
                  <a:gd name="T4" fmla="*/ 3 w 15"/>
                  <a:gd name="T5" fmla="*/ 12 h 12"/>
                  <a:gd name="T6" fmla="*/ 4 w 15"/>
                  <a:gd name="T7" fmla="*/ 12 h 12"/>
                  <a:gd name="T8" fmla="*/ 6 w 15"/>
                  <a:gd name="T9" fmla="*/ 12 h 12"/>
                  <a:gd name="T10" fmla="*/ 7 w 15"/>
                  <a:gd name="T11" fmla="*/ 12 h 12"/>
                  <a:gd name="T12" fmla="*/ 7 w 15"/>
                  <a:gd name="T13" fmla="*/ 12 h 12"/>
                  <a:gd name="T14" fmla="*/ 9 w 15"/>
                  <a:gd name="T15" fmla="*/ 12 h 12"/>
                  <a:gd name="T16" fmla="*/ 15 w 15"/>
                  <a:gd name="T17" fmla="*/ 9 h 12"/>
                  <a:gd name="T18" fmla="*/ 15 w 15"/>
                  <a:gd name="T19" fmla="*/ 9 h 12"/>
                  <a:gd name="T20" fmla="*/ 13 w 15"/>
                  <a:gd name="T21" fmla="*/ 9 h 12"/>
                  <a:gd name="T22" fmla="*/ 10 w 15"/>
                  <a:gd name="T23" fmla="*/ 9 h 12"/>
                  <a:gd name="T24" fmla="*/ 7 w 15"/>
                  <a:gd name="T25" fmla="*/ 5 h 12"/>
                  <a:gd name="T26" fmla="*/ 1 w 15"/>
                  <a:gd name="T27"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2">
                    <a:moveTo>
                      <a:pt x="1" y="0"/>
                    </a:moveTo>
                    <a:cubicBezTo>
                      <a:pt x="0" y="0"/>
                      <a:pt x="0" y="0"/>
                      <a:pt x="0" y="1"/>
                    </a:cubicBezTo>
                    <a:cubicBezTo>
                      <a:pt x="0" y="3"/>
                      <a:pt x="1" y="11"/>
                      <a:pt x="3" y="12"/>
                    </a:cubicBezTo>
                    <a:cubicBezTo>
                      <a:pt x="3" y="12"/>
                      <a:pt x="3" y="12"/>
                      <a:pt x="4" y="12"/>
                    </a:cubicBezTo>
                    <a:cubicBezTo>
                      <a:pt x="5" y="12"/>
                      <a:pt x="5" y="12"/>
                      <a:pt x="6" y="12"/>
                    </a:cubicBezTo>
                    <a:cubicBezTo>
                      <a:pt x="6" y="12"/>
                      <a:pt x="7" y="12"/>
                      <a:pt x="7" y="12"/>
                    </a:cubicBezTo>
                    <a:cubicBezTo>
                      <a:pt x="7" y="12"/>
                      <a:pt x="7" y="12"/>
                      <a:pt x="7" y="12"/>
                    </a:cubicBezTo>
                    <a:cubicBezTo>
                      <a:pt x="7" y="12"/>
                      <a:pt x="8" y="12"/>
                      <a:pt x="9" y="12"/>
                    </a:cubicBezTo>
                    <a:cubicBezTo>
                      <a:pt x="11" y="12"/>
                      <a:pt x="13" y="11"/>
                      <a:pt x="15" y="9"/>
                    </a:cubicBezTo>
                    <a:cubicBezTo>
                      <a:pt x="15" y="9"/>
                      <a:pt x="15" y="9"/>
                      <a:pt x="15" y="9"/>
                    </a:cubicBezTo>
                    <a:cubicBezTo>
                      <a:pt x="14" y="9"/>
                      <a:pt x="13" y="9"/>
                      <a:pt x="13" y="9"/>
                    </a:cubicBezTo>
                    <a:cubicBezTo>
                      <a:pt x="10" y="9"/>
                      <a:pt x="10" y="9"/>
                      <a:pt x="10" y="9"/>
                    </a:cubicBezTo>
                    <a:cubicBezTo>
                      <a:pt x="9" y="8"/>
                      <a:pt x="8" y="5"/>
                      <a:pt x="7" y="5"/>
                    </a:cubicBezTo>
                    <a:cubicBezTo>
                      <a:pt x="7"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240"/>
              <p:cNvSpPr/>
              <p:nvPr/>
            </p:nvSpPr>
            <p:spPr bwMode="auto">
              <a:xfrm>
                <a:off x="5471" y="4812"/>
                <a:ext cx="52" cy="19"/>
              </a:xfrm>
              <a:custGeom>
                <a:gdLst>
                  <a:gd name="T0" fmla="*/ 13 w 22"/>
                  <a:gd name="T1" fmla="*/ 0 h 8"/>
                  <a:gd name="T2" fmla="*/ 9 w 22"/>
                  <a:gd name="T3" fmla="*/ 0 h 8"/>
                  <a:gd name="T4" fmla="*/ 5 w 22"/>
                  <a:gd name="T5" fmla="*/ 0 h 8"/>
                  <a:gd name="T6" fmla="*/ 5 w 22"/>
                  <a:gd name="T7" fmla="*/ 0 h 8"/>
                  <a:gd name="T8" fmla="*/ 4 w 22"/>
                  <a:gd name="T9" fmla="*/ 3 h 8"/>
                  <a:gd name="T10" fmla="*/ 6 w 22"/>
                  <a:gd name="T11" fmla="*/ 2 h 8"/>
                  <a:gd name="T12" fmla="*/ 3 w 22"/>
                  <a:gd name="T13" fmla="*/ 4 h 8"/>
                  <a:gd name="T14" fmla="*/ 4 w 22"/>
                  <a:gd name="T15" fmla="*/ 8 h 8"/>
                  <a:gd name="T16" fmla="*/ 6 w 22"/>
                  <a:gd name="T17" fmla="*/ 7 h 8"/>
                  <a:gd name="T18" fmla="*/ 13 w 22"/>
                  <a:gd name="T19" fmla="*/ 7 h 8"/>
                  <a:gd name="T20" fmla="*/ 20 w 22"/>
                  <a:gd name="T21" fmla="*/ 5 h 8"/>
                  <a:gd name="T22" fmla="*/ 20 w 22"/>
                  <a:gd name="T23" fmla="*/ 1 h 8"/>
                  <a:gd name="T24" fmla="*/ 13 w 22"/>
                  <a:gd name="T25"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8">
                    <a:moveTo>
                      <a:pt x="13" y="0"/>
                    </a:moveTo>
                    <a:cubicBezTo>
                      <a:pt x="11" y="0"/>
                      <a:pt x="10" y="0"/>
                      <a:pt x="9" y="0"/>
                    </a:cubicBezTo>
                    <a:cubicBezTo>
                      <a:pt x="7" y="0"/>
                      <a:pt x="6" y="0"/>
                      <a:pt x="5" y="0"/>
                    </a:cubicBezTo>
                    <a:cubicBezTo>
                      <a:pt x="5" y="0"/>
                      <a:pt x="5" y="0"/>
                      <a:pt x="5" y="0"/>
                    </a:cubicBezTo>
                    <a:cubicBezTo>
                      <a:pt x="3" y="2"/>
                      <a:pt x="2" y="3"/>
                      <a:pt x="4" y="3"/>
                    </a:cubicBezTo>
                    <a:cubicBezTo>
                      <a:pt x="4" y="3"/>
                      <a:pt x="5" y="3"/>
                      <a:pt x="6" y="2"/>
                    </a:cubicBezTo>
                    <a:cubicBezTo>
                      <a:pt x="5" y="3"/>
                      <a:pt x="4" y="4"/>
                      <a:pt x="3" y="4"/>
                    </a:cubicBezTo>
                    <a:cubicBezTo>
                      <a:pt x="0" y="7"/>
                      <a:pt x="2" y="8"/>
                      <a:pt x="4" y="8"/>
                    </a:cubicBezTo>
                    <a:cubicBezTo>
                      <a:pt x="4" y="8"/>
                      <a:pt x="5" y="8"/>
                      <a:pt x="6" y="7"/>
                    </a:cubicBezTo>
                    <a:cubicBezTo>
                      <a:pt x="8" y="7"/>
                      <a:pt x="10" y="7"/>
                      <a:pt x="13" y="7"/>
                    </a:cubicBezTo>
                    <a:cubicBezTo>
                      <a:pt x="14" y="6"/>
                      <a:pt x="18" y="6"/>
                      <a:pt x="20" y="5"/>
                    </a:cubicBezTo>
                    <a:cubicBezTo>
                      <a:pt x="21" y="5"/>
                      <a:pt x="22" y="3"/>
                      <a:pt x="20" y="1"/>
                    </a:cubicBezTo>
                    <a:cubicBezTo>
                      <a:pt x="19" y="0"/>
                      <a:pt x="16"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241"/>
              <p:cNvSpPr/>
              <p:nvPr/>
            </p:nvSpPr>
            <p:spPr bwMode="auto">
              <a:xfrm>
                <a:off x="5840" y="4389"/>
                <a:ext cx="26" cy="26"/>
              </a:xfrm>
              <a:custGeom>
                <a:gdLst>
                  <a:gd name="T0" fmla="*/ 7 w 11"/>
                  <a:gd name="T1" fmla="*/ 0 h 11"/>
                  <a:gd name="T2" fmla="*/ 6 w 11"/>
                  <a:gd name="T3" fmla="*/ 0 h 11"/>
                  <a:gd name="T4" fmla="*/ 2 w 11"/>
                  <a:gd name="T5" fmla="*/ 5 h 11"/>
                  <a:gd name="T6" fmla="*/ 6 w 11"/>
                  <a:gd name="T7" fmla="*/ 11 h 11"/>
                  <a:gd name="T8" fmla="*/ 6 w 11"/>
                  <a:gd name="T9" fmla="*/ 11 h 11"/>
                  <a:gd name="T10" fmla="*/ 11 w 11"/>
                  <a:gd name="T11" fmla="*/ 3 h 11"/>
                  <a:gd name="T12" fmla="*/ 7 w 11"/>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11" h="11">
                    <a:moveTo>
                      <a:pt x="7" y="0"/>
                    </a:moveTo>
                    <a:cubicBezTo>
                      <a:pt x="7" y="0"/>
                      <a:pt x="6" y="0"/>
                      <a:pt x="6" y="0"/>
                    </a:cubicBezTo>
                    <a:cubicBezTo>
                      <a:pt x="2" y="0"/>
                      <a:pt x="0" y="2"/>
                      <a:pt x="2" y="5"/>
                    </a:cubicBezTo>
                    <a:cubicBezTo>
                      <a:pt x="2" y="6"/>
                      <a:pt x="4" y="11"/>
                      <a:pt x="6" y="11"/>
                    </a:cubicBezTo>
                    <a:cubicBezTo>
                      <a:pt x="6" y="11"/>
                      <a:pt x="6" y="11"/>
                      <a:pt x="6" y="11"/>
                    </a:cubicBezTo>
                    <a:cubicBezTo>
                      <a:pt x="9" y="11"/>
                      <a:pt x="11" y="5"/>
                      <a:pt x="11" y="3"/>
                    </a:cubicBezTo>
                    <a:cubicBezTo>
                      <a:pt x="10" y="1"/>
                      <a:pt x="10"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242"/>
              <p:cNvSpPr/>
              <p:nvPr/>
            </p:nvSpPr>
            <p:spPr bwMode="auto">
              <a:xfrm>
                <a:off x="5828" y="4384"/>
                <a:ext cx="17" cy="7"/>
              </a:xfrm>
              <a:custGeom>
                <a:gdLst>
                  <a:gd name="T0" fmla="*/ 4 w 7"/>
                  <a:gd name="T1" fmla="*/ 0 h 3"/>
                  <a:gd name="T2" fmla="*/ 3 w 7"/>
                  <a:gd name="T3" fmla="*/ 1 h 3"/>
                  <a:gd name="T4" fmla="*/ 2 w 7"/>
                  <a:gd name="T5" fmla="*/ 0 h 3"/>
                  <a:gd name="T6" fmla="*/ 1 w 7"/>
                  <a:gd name="T7" fmla="*/ 0 h 3"/>
                  <a:gd name="T8" fmla="*/ 1 w 7"/>
                  <a:gd name="T9" fmla="*/ 0 h 3"/>
                  <a:gd name="T10" fmla="*/ 0 w 7"/>
                  <a:gd name="T11" fmla="*/ 3 h 3"/>
                  <a:gd name="T12" fmla="*/ 7 w 7"/>
                  <a:gd name="T13" fmla="*/ 0 h 3"/>
                  <a:gd name="T14" fmla="*/ 6 w 7"/>
                  <a:gd name="T15" fmla="*/ 0 h 3"/>
                  <a:gd name="T16" fmla="*/ 5 w 7"/>
                  <a:gd name="T17" fmla="*/ 0 h 3"/>
                  <a:gd name="T18" fmla="*/ 5 w 7"/>
                  <a:gd name="T19" fmla="*/ 0 h 3"/>
                  <a:gd name="T20" fmla="*/ 4 w 7"/>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4" y="0"/>
                    </a:moveTo>
                    <a:cubicBezTo>
                      <a:pt x="3" y="1"/>
                      <a:pt x="3" y="1"/>
                      <a:pt x="3" y="1"/>
                    </a:cubicBezTo>
                    <a:cubicBezTo>
                      <a:pt x="2" y="1"/>
                      <a:pt x="2" y="1"/>
                      <a:pt x="2" y="0"/>
                    </a:cubicBezTo>
                    <a:cubicBezTo>
                      <a:pt x="2" y="0"/>
                      <a:pt x="2" y="0"/>
                      <a:pt x="1" y="0"/>
                    </a:cubicBezTo>
                    <a:cubicBezTo>
                      <a:pt x="1" y="0"/>
                      <a:pt x="1" y="0"/>
                      <a:pt x="1" y="0"/>
                    </a:cubicBezTo>
                    <a:cubicBezTo>
                      <a:pt x="1" y="0"/>
                      <a:pt x="1" y="2"/>
                      <a:pt x="0" y="3"/>
                    </a:cubicBezTo>
                    <a:cubicBezTo>
                      <a:pt x="2" y="2"/>
                      <a:pt x="4" y="1"/>
                      <a:pt x="7" y="0"/>
                    </a:cubicBezTo>
                    <a:cubicBezTo>
                      <a:pt x="7" y="0"/>
                      <a:pt x="6" y="0"/>
                      <a:pt x="6" y="0"/>
                    </a:cubicBezTo>
                    <a:cubicBezTo>
                      <a:pt x="6" y="0"/>
                      <a:pt x="6" y="0"/>
                      <a:pt x="5" y="0"/>
                    </a:cubicBezTo>
                    <a:cubicBezTo>
                      <a:pt x="5" y="0"/>
                      <a:pt x="5" y="0"/>
                      <a:pt x="5"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243"/>
              <p:cNvSpPr/>
              <p:nvPr/>
            </p:nvSpPr>
            <p:spPr bwMode="auto">
              <a:xfrm>
                <a:off x="4316" y="4337"/>
                <a:ext cx="28" cy="18"/>
              </a:xfrm>
              <a:custGeom>
                <a:gdLst>
                  <a:gd name="T0" fmla="*/ 2 w 12"/>
                  <a:gd name="T1" fmla="*/ 0 h 8"/>
                  <a:gd name="T2" fmla="*/ 0 w 12"/>
                  <a:gd name="T3" fmla="*/ 5 h 8"/>
                  <a:gd name="T4" fmla="*/ 3 w 12"/>
                  <a:gd name="T5" fmla="*/ 6 h 8"/>
                  <a:gd name="T6" fmla="*/ 3 w 12"/>
                  <a:gd name="T7" fmla="*/ 6 h 8"/>
                  <a:gd name="T8" fmla="*/ 7 w 12"/>
                  <a:gd name="T9" fmla="*/ 5 h 8"/>
                  <a:gd name="T10" fmla="*/ 7 w 12"/>
                  <a:gd name="T11" fmla="*/ 5 h 8"/>
                  <a:gd name="T12" fmla="*/ 12 w 12"/>
                  <a:gd name="T13" fmla="*/ 8 h 8"/>
                  <a:gd name="T14" fmla="*/ 2 w 12"/>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2" y="0"/>
                    </a:moveTo>
                    <a:cubicBezTo>
                      <a:pt x="2" y="2"/>
                      <a:pt x="0" y="4"/>
                      <a:pt x="0" y="5"/>
                    </a:cubicBezTo>
                    <a:cubicBezTo>
                      <a:pt x="0" y="6"/>
                      <a:pt x="3" y="6"/>
                      <a:pt x="3" y="6"/>
                    </a:cubicBezTo>
                    <a:cubicBezTo>
                      <a:pt x="3" y="6"/>
                      <a:pt x="3" y="6"/>
                      <a:pt x="3" y="6"/>
                    </a:cubicBezTo>
                    <a:cubicBezTo>
                      <a:pt x="5" y="6"/>
                      <a:pt x="6" y="5"/>
                      <a:pt x="7" y="5"/>
                    </a:cubicBezTo>
                    <a:cubicBezTo>
                      <a:pt x="7" y="5"/>
                      <a:pt x="7" y="5"/>
                      <a:pt x="7" y="5"/>
                    </a:cubicBezTo>
                    <a:cubicBezTo>
                      <a:pt x="9" y="6"/>
                      <a:pt x="11" y="8"/>
                      <a:pt x="12" y="8"/>
                    </a:cubicBezTo>
                    <a:cubicBezTo>
                      <a:pt x="9" y="5"/>
                      <a:pt x="6"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244"/>
              <p:cNvSpPr/>
              <p:nvPr/>
            </p:nvSpPr>
            <p:spPr bwMode="auto">
              <a:xfrm>
                <a:off x="5701" y="4183"/>
                <a:ext cx="23" cy="38"/>
              </a:xfrm>
              <a:custGeom>
                <a:gdLst>
                  <a:gd name="T0" fmla="*/ 8 w 10"/>
                  <a:gd name="T1" fmla="*/ 0 h 16"/>
                  <a:gd name="T2" fmla="*/ 0 w 10"/>
                  <a:gd name="T3" fmla="*/ 8 h 16"/>
                  <a:gd name="T4" fmla="*/ 0 w 10"/>
                  <a:gd name="T5" fmla="*/ 12 h 16"/>
                  <a:gd name="T6" fmla="*/ 1 w 10"/>
                  <a:gd name="T7" fmla="*/ 16 h 16"/>
                  <a:gd name="T8" fmla="*/ 7 w 10"/>
                  <a:gd name="T9" fmla="*/ 14 h 16"/>
                  <a:gd name="T10" fmla="*/ 8 w 10"/>
                  <a:gd name="T11" fmla="*/ 0 h 16"/>
                </a:gdLst>
                <a:cxnLst>
                  <a:cxn ang="0">
                    <a:pos x="T0" y="T1"/>
                  </a:cxn>
                  <a:cxn ang="0">
                    <a:pos x="T2" y="T3"/>
                  </a:cxn>
                  <a:cxn ang="0">
                    <a:pos x="T4" y="T5"/>
                  </a:cxn>
                  <a:cxn ang="0">
                    <a:pos x="T6" y="T7"/>
                  </a:cxn>
                  <a:cxn ang="0">
                    <a:pos x="T8" y="T9"/>
                  </a:cxn>
                  <a:cxn ang="0">
                    <a:pos x="T10" y="T11"/>
                  </a:cxn>
                </a:cxnLst>
                <a:rect l="0" t="0" r="r" b="b"/>
                <a:pathLst>
                  <a:path w="10" h="16">
                    <a:moveTo>
                      <a:pt x="8" y="0"/>
                    </a:moveTo>
                    <a:cubicBezTo>
                      <a:pt x="5" y="2"/>
                      <a:pt x="1" y="5"/>
                      <a:pt x="0" y="8"/>
                    </a:cubicBezTo>
                    <a:cubicBezTo>
                      <a:pt x="0" y="9"/>
                      <a:pt x="0" y="10"/>
                      <a:pt x="0" y="12"/>
                    </a:cubicBezTo>
                    <a:cubicBezTo>
                      <a:pt x="1" y="13"/>
                      <a:pt x="2" y="15"/>
                      <a:pt x="1" y="16"/>
                    </a:cubicBezTo>
                    <a:cubicBezTo>
                      <a:pt x="3" y="16"/>
                      <a:pt x="6" y="15"/>
                      <a:pt x="7" y="14"/>
                    </a:cubicBezTo>
                    <a:cubicBezTo>
                      <a:pt x="10" y="12"/>
                      <a:pt x="10" y="3"/>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245"/>
              <p:cNvSpPr/>
              <p:nvPr/>
            </p:nvSpPr>
            <p:spPr bwMode="auto">
              <a:xfrm>
                <a:off x="5526" y="4441"/>
                <a:ext cx="66" cy="9"/>
              </a:xfrm>
              <a:custGeom>
                <a:gdLst>
                  <a:gd name="T0" fmla="*/ 5 w 28"/>
                  <a:gd name="T1" fmla="*/ 0 h 4"/>
                  <a:gd name="T2" fmla="*/ 5 w 28"/>
                  <a:gd name="T3" fmla="*/ 4 h 4"/>
                  <a:gd name="T4" fmla="*/ 12 w 28"/>
                  <a:gd name="T5" fmla="*/ 3 h 4"/>
                  <a:gd name="T6" fmla="*/ 13 w 28"/>
                  <a:gd name="T7" fmla="*/ 3 h 4"/>
                  <a:gd name="T8" fmla="*/ 15 w 28"/>
                  <a:gd name="T9" fmla="*/ 4 h 4"/>
                  <a:gd name="T10" fmla="*/ 17 w 28"/>
                  <a:gd name="T11" fmla="*/ 4 h 4"/>
                  <a:gd name="T12" fmla="*/ 17 w 28"/>
                  <a:gd name="T13" fmla="*/ 4 h 4"/>
                  <a:gd name="T14" fmla="*/ 28 w 28"/>
                  <a:gd name="T15" fmla="*/ 1 h 4"/>
                  <a:gd name="T16" fmla="*/ 5 w 28"/>
                  <a:gd name="T1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
                    <a:moveTo>
                      <a:pt x="5" y="0"/>
                    </a:moveTo>
                    <a:cubicBezTo>
                      <a:pt x="0" y="2"/>
                      <a:pt x="5" y="2"/>
                      <a:pt x="5" y="4"/>
                    </a:cubicBezTo>
                    <a:cubicBezTo>
                      <a:pt x="8" y="4"/>
                      <a:pt x="10" y="4"/>
                      <a:pt x="12" y="3"/>
                    </a:cubicBezTo>
                    <a:cubicBezTo>
                      <a:pt x="12" y="3"/>
                      <a:pt x="13" y="3"/>
                      <a:pt x="13" y="3"/>
                    </a:cubicBezTo>
                    <a:cubicBezTo>
                      <a:pt x="14" y="3"/>
                      <a:pt x="14" y="3"/>
                      <a:pt x="15" y="4"/>
                    </a:cubicBezTo>
                    <a:cubicBezTo>
                      <a:pt x="16" y="4"/>
                      <a:pt x="16" y="4"/>
                      <a:pt x="17" y="4"/>
                    </a:cubicBezTo>
                    <a:cubicBezTo>
                      <a:pt x="17" y="4"/>
                      <a:pt x="17" y="4"/>
                      <a:pt x="17" y="4"/>
                    </a:cubicBezTo>
                    <a:cubicBezTo>
                      <a:pt x="20" y="3"/>
                      <a:pt x="26" y="3"/>
                      <a:pt x="28" y="1"/>
                    </a:cubicBezTo>
                    <a:cubicBezTo>
                      <a:pt x="20" y="1"/>
                      <a:pt x="12"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246"/>
              <p:cNvSpPr/>
              <p:nvPr/>
            </p:nvSpPr>
            <p:spPr bwMode="auto">
              <a:xfrm>
                <a:off x="5384" y="4946"/>
                <a:ext cx="35" cy="29"/>
              </a:xfrm>
              <a:custGeom>
                <a:gdLst>
                  <a:gd name="T0" fmla="*/ 15 w 15"/>
                  <a:gd name="T1" fmla="*/ 0 h 12"/>
                  <a:gd name="T2" fmla="*/ 6 w 15"/>
                  <a:gd name="T3" fmla="*/ 6 h 12"/>
                  <a:gd name="T4" fmla="*/ 1 w 15"/>
                  <a:gd name="T5" fmla="*/ 8 h 12"/>
                  <a:gd name="T6" fmla="*/ 2 w 15"/>
                  <a:gd name="T7" fmla="*/ 12 h 12"/>
                  <a:gd name="T8" fmla="*/ 8 w 15"/>
                  <a:gd name="T9" fmla="*/ 10 h 12"/>
                  <a:gd name="T10" fmla="*/ 11 w 15"/>
                  <a:gd name="T11" fmla="*/ 9 h 12"/>
                  <a:gd name="T12" fmla="*/ 15 w 15"/>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15" h="12">
                    <a:moveTo>
                      <a:pt x="15" y="0"/>
                    </a:moveTo>
                    <a:cubicBezTo>
                      <a:pt x="12" y="2"/>
                      <a:pt x="9" y="4"/>
                      <a:pt x="6" y="6"/>
                    </a:cubicBezTo>
                    <a:cubicBezTo>
                      <a:pt x="5" y="6"/>
                      <a:pt x="2" y="7"/>
                      <a:pt x="1" y="8"/>
                    </a:cubicBezTo>
                    <a:cubicBezTo>
                      <a:pt x="0" y="11"/>
                      <a:pt x="0" y="12"/>
                      <a:pt x="2" y="12"/>
                    </a:cubicBezTo>
                    <a:cubicBezTo>
                      <a:pt x="4" y="12"/>
                      <a:pt x="7" y="10"/>
                      <a:pt x="8" y="10"/>
                    </a:cubicBezTo>
                    <a:cubicBezTo>
                      <a:pt x="10" y="9"/>
                      <a:pt x="10" y="10"/>
                      <a:pt x="11" y="9"/>
                    </a:cubicBezTo>
                    <a:cubicBezTo>
                      <a:pt x="15" y="5"/>
                      <a:pt x="15" y="6"/>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247"/>
              <p:cNvSpPr/>
              <p:nvPr/>
            </p:nvSpPr>
            <p:spPr bwMode="auto">
              <a:xfrm>
                <a:off x="5788" y="4433"/>
                <a:ext cx="43" cy="24"/>
              </a:xfrm>
              <a:custGeom>
                <a:gdLst>
                  <a:gd name="T0" fmla="*/ 15 w 18"/>
                  <a:gd name="T1" fmla="*/ 0 h 10"/>
                  <a:gd name="T2" fmla="*/ 6 w 18"/>
                  <a:gd name="T3" fmla="*/ 3 h 10"/>
                  <a:gd name="T4" fmla="*/ 0 w 18"/>
                  <a:gd name="T5" fmla="*/ 5 h 10"/>
                  <a:gd name="T6" fmla="*/ 10 w 18"/>
                  <a:gd name="T7" fmla="*/ 10 h 10"/>
                  <a:gd name="T8" fmla="*/ 12 w 18"/>
                  <a:gd name="T9" fmla="*/ 10 h 10"/>
                  <a:gd name="T10" fmla="*/ 14 w 18"/>
                  <a:gd name="T11" fmla="*/ 8 h 10"/>
                  <a:gd name="T12" fmla="*/ 15 w 18"/>
                  <a:gd name="T13" fmla="*/ 8 h 10"/>
                  <a:gd name="T14" fmla="*/ 15 w 18"/>
                  <a:gd name="T15" fmla="*/ 8 h 10"/>
                  <a:gd name="T16" fmla="*/ 16 w 18"/>
                  <a:gd name="T17" fmla="*/ 8 h 10"/>
                  <a:gd name="T18" fmla="*/ 17 w 18"/>
                  <a:gd name="T19" fmla="*/ 8 h 10"/>
                  <a:gd name="T20" fmla="*/ 17 w 18"/>
                  <a:gd name="T21" fmla="*/ 4 h 10"/>
                  <a:gd name="T22" fmla="*/ 15 w 18"/>
                  <a:gd name="T23" fmla="*/ 1 h 10"/>
                  <a:gd name="T24" fmla="*/ 15 w 18"/>
                  <a:gd name="T25" fmla="*/ 1 h 10"/>
                  <a:gd name="T26" fmla="*/ 15 w 18"/>
                  <a:gd name="T2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0">
                    <a:moveTo>
                      <a:pt x="15" y="0"/>
                    </a:moveTo>
                    <a:cubicBezTo>
                      <a:pt x="12" y="0"/>
                      <a:pt x="8" y="2"/>
                      <a:pt x="6" y="3"/>
                    </a:cubicBezTo>
                    <a:cubicBezTo>
                      <a:pt x="4" y="4"/>
                      <a:pt x="2" y="4"/>
                      <a:pt x="0" y="5"/>
                    </a:cubicBezTo>
                    <a:cubicBezTo>
                      <a:pt x="3" y="7"/>
                      <a:pt x="6" y="8"/>
                      <a:pt x="10" y="10"/>
                    </a:cubicBezTo>
                    <a:cubicBezTo>
                      <a:pt x="10" y="10"/>
                      <a:pt x="12" y="10"/>
                      <a:pt x="12" y="10"/>
                    </a:cubicBezTo>
                    <a:cubicBezTo>
                      <a:pt x="13" y="9"/>
                      <a:pt x="14" y="8"/>
                      <a:pt x="14" y="8"/>
                    </a:cubicBezTo>
                    <a:cubicBezTo>
                      <a:pt x="15" y="8"/>
                      <a:pt x="15" y="8"/>
                      <a:pt x="15" y="8"/>
                    </a:cubicBezTo>
                    <a:cubicBezTo>
                      <a:pt x="15" y="8"/>
                      <a:pt x="15" y="8"/>
                      <a:pt x="15" y="8"/>
                    </a:cubicBezTo>
                    <a:cubicBezTo>
                      <a:pt x="16" y="8"/>
                      <a:pt x="16" y="8"/>
                      <a:pt x="16" y="8"/>
                    </a:cubicBezTo>
                    <a:cubicBezTo>
                      <a:pt x="16" y="8"/>
                      <a:pt x="16" y="8"/>
                      <a:pt x="17" y="8"/>
                    </a:cubicBezTo>
                    <a:cubicBezTo>
                      <a:pt x="17" y="8"/>
                      <a:pt x="18" y="5"/>
                      <a:pt x="17" y="4"/>
                    </a:cubicBezTo>
                    <a:cubicBezTo>
                      <a:pt x="17" y="3"/>
                      <a:pt x="15" y="1"/>
                      <a:pt x="15" y="1"/>
                    </a:cubicBezTo>
                    <a:cubicBezTo>
                      <a:pt x="15" y="1"/>
                      <a:pt x="15" y="1"/>
                      <a:pt x="15" y="1"/>
                    </a:cubicBezTo>
                    <a:cubicBezTo>
                      <a:pt x="15"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Freeform 248"/>
              <p:cNvSpPr/>
              <p:nvPr/>
            </p:nvSpPr>
            <p:spPr bwMode="auto">
              <a:xfrm>
                <a:off x="3806" y="4166"/>
                <a:ext cx="44" cy="33"/>
              </a:xfrm>
              <a:custGeom>
                <a:gdLst>
                  <a:gd name="T0" fmla="*/ 3 w 19"/>
                  <a:gd name="T1" fmla="*/ 0 h 14"/>
                  <a:gd name="T2" fmla="*/ 2 w 19"/>
                  <a:gd name="T3" fmla="*/ 4 h 14"/>
                  <a:gd name="T4" fmla="*/ 2 w 19"/>
                  <a:gd name="T5" fmla="*/ 4 h 14"/>
                  <a:gd name="T6" fmla="*/ 4 w 19"/>
                  <a:gd name="T7" fmla="*/ 7 h 14"/>
                  <a:gd name="T8" fmla="*/ 8 w 19"/>
                  <a:gd name="T9" fmla="*/ 8 h 14"/>
                  <a:gd name="T10" fmla="*/ 19 w 19"/>
                  <a:gd name="T11" fmla="*/ 14 h 14"/>
                  <a:gd name="T12" fmla="*/ 19 w 19"/>
                  <a:gd name="T13" fmla="*/ 14 h 14"/>
                  <a:gd name="T14" fmla="*/ 14 w 19"/>
                  <a:gd name="T15" fmla="*/ 8 h 14"/>
                  <a:gd name="T16" fmla="*/ 3 w 19"/>
                  <a:gd name="T1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4">
                    <a:moveTo>
                      <a:pt x="3" y="0"/>
                    </a:moveTo>
                    <a:cubicBezTo>
                      <a:pt x="2" y="1"/>
                      <a:pt x="0" y="4"/>
                      <a:pt x="2" y="4"/>
                    </a:cubicBezTo>
                    <a:cubicBezTo>
                      <a:pt x="2" y="4"/>
                      <a:pt x="2" y="4"/>
                      <a:pt x="2" y="4"/>
                    </a:cubicBezTo>
                    <a:cubicBezTo>
                      <a:pt x="3" y="5"/>
                      <a:pt x="3" y="6"/>
                      <a:pt x="4" y="7"/>
                    </a:cubicBezTo>
                    <a:cubicBezTo>
                      <a:pt x="5" y="8"/>
                      <a:pt x="7" y="8"/>
                      <a:pt x="8" y="8"/>
                    </a:cubicBezTo>
                    <a:cubicBezTo>
                      <a:pt x="11" y="9"/>
                      <a:pt x="16" y="14"/>
                      <a:pt x="19" y="14"/>
                    </a:cubicBezTo>
                    <a:cubicBezTo>
                      <a:pt x="19" y="14"/>
                      <a:pt x="19" y="14"/>
                      <a:pt x="19" y="14"/>
                    </a:cubicBezTo>
                    <a:cubicBezTo>
                      <a:pt x="19" y="10"/>
                      <a:pt x="18" y="10"/>
                      <a:pt x="14" y="8"/>
                    </a:cubicBezTo>
                    <a:cubicBezTo>
                      <a:pt x="11" y="5"/>
                      <a:pt x="7"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Freeform 249"/>
              <p:cNvSpPr/>
              <p:nvPr/>
            </p:nvSpPr>
            <p:spPr bwMode="auto">
              <a:xfrm>
                <a:off x="4989" y="4528"/>
                <a:ext cx="17" cy="45"/>
              </a:xfrm>
              <a:custGeom>
                <a:gdLst>
                  <a:gd name="T0" fmla="*/ 7 w 7"/>
                  <a:gd name="T1" fmla="*/ 0 h 19"/>
                  <a:gd name="T2" fmla="*/ 5 w 7"/>
                  <a:gd name="T3" fmla="*/ 0 h 19"/>
                  <a:gd name="T4" fmla="*/ 4 w 7"/>
                  <a:gd name="T5" fmla="*/ 1 h 19"/>
                  <a:gd name="T6" fmla="*/ 3 w 7"/>
                  <a:gd name="T7" fmla="*/ 1 h 19"/>
                  <a:gd name="T8" fmla="*/ 3 w 7"/>
                  <a:gd name="T9" fmla="*/ 2 h 19"/>
                  <a:gd name="T10" fmla="*/ 2 w 7"/>
                  <a:gd name="T11" fmla="*/ 2 h 19"/>
                  <a:gd name="T12" fmla="*/ 2 w 7"/>
                  <a:gd name="T13" fmla="*/ 3 h 19"/>
                  <a:gd name="T14" fmla="*/ 1 w 7"/>
                  <a:gd name="T15" fmla="*/ 11 h 19"/>
                  <a:gd name="T16" fmla="*/ 2 w 7"/>
                  <a:gd name="T17" fmla="*/ 16 h 19"/>
                  <a:gd name="T18" fmla="*/ 2 w 7"/>
                  <a:gd name="T19" fmla="*/ 16 h 19"/>
                  <a:gd name="T20" fmla="*/ 2 w 7"/>
                  <a:gd name="T21" fmla="*/ 17 h 19"/>
                  <a:gd name="T22" fmla="*/ 1 w 7"/>
                  <a:gd name="T23" fmla="*/ 19 h 19"/>
                  <a:gd name="T24" fmla="*/ 2 w 7"/>
                  <a:gd name="T25" fmla="*/ 19 h 19"/>
                  <a:gd name="T26" fmla="*/ 2 w 7"/>
                  <a:gd name="T27" fmla="*/ 19 h 19"/>
                  <a:gd name="T28" fmla="*/ 2 w 7"/>
                  <a:gd name="T29" fmla="*/ 19 h 19"/>
                  <a:gd name="T30" fmla="*/ 2 w 7"/>
                  <a:gd name="T31" fmla="*/ 19 h 19"/>
                  <a:gd name="T32" fmla="*/ 7 w 7"/>
                  <a:gd name="T33" fmla="*/ 15 h 19"/>
                  <a:gd name="T34" fmla="*/ 7 w 7"/>
                  <a:gd name="T35"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9">
                    <a:moveTo>
                      <a:pt x="7" y="0"/>
                    </a:moveTo>
                    <a:cubicBezTo>
                      <a:pt x="6" y="0"/>
                      <a:pt x="5" y="0"/>
                      <a:pt x="5" y="0"/>
                    </a:cubicBezTo>
                    <a:cubicBezTo>
                      <a:pt x="4" y="0"/>
                      <a:pt x="4" y="1"/>
                      <a:pt x="4" y="1"/>
                    </a:cubicBezTo>
                    <a:cubicBezTo>
                      <a:pt x="3" y="1"/>
                      <a:pt x="3" y="1"/>
                      <a:pt x="3" y="1"/>
                    </a:cubicBezTo>
                    <a:cubicBezTo>
                      <a:pt x="3" y="2"/>
                      <a:pt x="3" y="2"/>
                      <a:pt x="3" y="2"/>
                    </a:cubicBezTo>
                    <a:cubicBezTo>
                      <a:pt x="2" y="2"/>
                      <a:pt x="2" y="2"/>
                      <a:pt x="2" y="2"/>
                    </a:cubicBezTo>
                    <a:cubicBezTo>
                      <a:pt x="2" y="3"/>
                      <a:pt x="2" y="3"/>
                      <a:pt x="2" y="3"/>
                    </a:cubicBezTo>
                    <a:cubicBezTo>
                      <a:pt x="1" y="6"/>
                      <a:pt x="0" y="9"/>
                      <a:pt x="1" y="11"/>
                    </a:cubicBezTo>
                    <a:cubicBezTo>
                      <a:pt x="1" y="13"/>
                      <a:pt x="2" y="15"/>
                      <a:pt x="2" y="16"/>
                    </a:cubicBezTo>
                    <a:cubicBezTo>
                      <a:pt x="2" y="16"/>
                      <a:pt x="2" y="16"/>
                      <a:pt x="2" y="16"/>
                    </a:cubicBezTo>
                    <a:cubicBezTo>
                      <a:pt x="2" y="17"/>
                      <a:pt x="2" y="17"/>
                      <a:pt x="2" y="17"/>
                    </a:cubicBezTo>
                    <a:cubicBezTo>
                      <a:pt x="1" y="18"/>
                      <a:pt x="1" y="18"/>
                      <a:pt x="1" y="19"/>
                    </a:cubicBezTo>
                    <a:cubicBezTo>
                      <a:pt x="1" y="19"/>
                      <a:pt x="2" y="19"/>
                      <a:pt x="2" y="19"/>
                    </a:cubicBezTo>
                    <a:cubicBezTo>
                      <a:pt x="2" y="19"/>
                      <a:pt x="2" y="19"/>
                      <a:pt x="2" y="19"/>
                    </a:cubicBezTo>
                    <a:cubicBezTo>
                      <a:pt x="2" y="19"/>
                      <a:pt x="2" y="19"/>
                      <a:pt x="2" y="19"/>
                    </a:cubicBezTo>
                    <a:cubicBezTo>
                      <a:pt x="2" y="19"/>
                      <a:pt x="2" y="19"/>
                      <a:pt x="2" y="19"/>
                    </a:cubicBezTo>
                    <a:cubicBezTo>
                      <a:pt x="4" y="19"/>
                      <a:pt x="6" y="16"/>
                      <a:pt x="7" y="15"/>
                    </a:cubicBezTo>
                    <a:cubicBezTo>
                      <a:pt x="7" y="10"/>
                      <a:pt x="7" y="5"/>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250"/>
              <p:cNvSpPr/>
              <p:nvPr/>
            </p:nvSpPr>
            <p:spPr bwMode="auto">
              <a:xfrm>
                <a:off x="6655" y="3542"/>
                <a:ext cx="19" cy="19"/>
              </a:xfrm>
              <a:custGeom>
                <a:gdLst>
                  <a:gd name="T0" fmla="*/ 8 w 8"/>
                  <a:gd name="T1" fmla="*/ 0 h 8"/>
                  <a:gd name="T2" fmla="*/ 4 w 8"/>
                  <a:gd name="T3" fmla="*/ 1 h 8"/>
                  <a:gd name="T4" fmla="*/ 0 w 8"/>
                  <a:gd name="T5" fmla="*/ 3 h 8"/>
                  <a:gd name="T6" fmla="*/ 0 w 8"/>
                  <a:gd name="T7" fmla="*/ 3 h 8"/>
                  <a:gd name="T8" fmla="*/ 1 w 8"/>
                  <a:gd name="T9" fmla="*/ 8 h 8"/>
                  <a:gd name="T10" fmla="*/ 1 w 8"/>
                  <a:gd name="T11" fmla="*/ 8 h 8"/>
                  <a:gd name="T12" fmla="*/ 8 w 8"/>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cubicBezTo>
                      <a:pt x="7" y="0"/>
                      <a:pt x="5" y="0"/>
                      <a:pt x="4" y="1"/>
                    </a:cubicBezTo>
                    <a:cubicBezTo>
                      <a:pt x="3" y="2"/>
                      <a:pt x="1" y="3"/>
                      <a:pt x="0" y="3"/>
                    </a:cubicBezTo>
                    <a:cubicBezTo>
                      <a:pt x="0" y="3"/>
                      <a:pt x="0" y="3"/>
                      <a:pt x="0" y="3"/>
                    </a:cubicBezTo>
                    <a:cubicBezTo>
                      <a:pt x="0" y="4"/>
                      <a:pt x="0" y="7"/>
                      <a:pt x="1" y="8"/>
                    </a:cubicBezTo>
                    <a:cubicBezTo>
                      <a:pt x="1" y="8"/>
                      <a:pt x="1" y="8"/>
                      <a:pt x="1" y="8"/>
                    </a:cubicBezTo>
                    <a:cubicBezTo>
                      <a:pt x="3" y="8"/>
                      <a:pt x="7"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251"/>
              <p:cNvSpPr/>
              <p:nvPr/>
            </p:nvSpPr>
            <p:spPr bwMode="auto">
              <a:xfrm>
                <a:off x="6273" y="3781"/>
                <a:ext cx="4" cy="5"/>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1" y="1"/>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Freeform 252"/>
              <p:cNvSpPr/>
              <p:nvPr/>
            </p:nvSpPr>
            <p:spPr bwMode="auto">
              <a:xfrm>
                <a:off x="7721" y="4024"/>
                <a:ext cx="5" cy="5"/>
              </a:xfrm>
              <a:custGeom>
                <a:gdLst>
                  <a:gd name="T0" fmla="*/ 2 w 2"/>
                  <a:gd name="T1" fmla="*/ 0 h 2"/>
                  <a:gd name="T2" fmla="*/ 0 w 2"/>
                  <a:gd name="T3" fmla="*/ 1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0"/>
                      <a:pt x="0" y="0"/>
                      <a:pt x="0" y="1"/>
                    </a:cubicBezTo>
                    <a:cubicBezTo>
                      <a:pt x="0" y="2"/>
                      <a:pt x="1" y="2"/>
                      <a:pt x="1" y="2"/>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253"/>
              <p:cNvSpPr/>
              <p:nvPr/>
            </p:nvSpPr>
            <p:spPr bwMode="auto">
              <a:xfrm>
                <a:off x="7445" y="3930"/>
                <a:ext cx="11" cy="12"/>
              </a:xfrm>
              <a:custGeom>
                <a:gdLst>
                  <a:gd name="T0" fmla="*/ 0 w 5"/>
                  <a:gd name="T1" fmla="*/ 0 h 5"/>
                  <a:gd name="T2" fmla="*/ 1 w 5"/>
                  <a:gd name="T3" fmla="*/ 5 h 5"/>
                  <a:gd name="T4" fmla="*/ 3 w 5"/>
                  <a:gd name="T5" fmla="*/ 3 h 5"/>
                  <a:gd name="T6" fmla="*/ 0 w 5"/>
                  <a:gd name="T7" fmla="*/ 0 h 5"/>
                </a:gdLst>
                <a:cxnLst>
                  <a:cxn ang="0">
                    <a:pos x="T0" y="T1"/>
                  </a:cxn>
                  <a:cxn ang="0">
                    <a:pos x="T2" y="T3"/>
                  </a:cxn>
                  <a:cxn ang="0">
                    <a:pos x="T4" y="T5"/>
                  </a:cxn>
                  <a:cxn ang="0">
                    <a:pos x="T6" y="T7"/>
                  </a:cxn>
                </a:cxnLst>
                <a:rect l="0" t="0" r="r" b="b"/>
                <a:pathLst>
                  <a:path w="5" h="5">
                    <a:moveTo>
                      <a:pt x="0" y="0"/>
                    </a:moveTo>
                    <a:cubicBezTo>
                      <a:pt x="0" y="2"/>
                      <a:pt x="0" y="3"/>
                      <a:pt x="1" y="5"/>
                    </a:cubicBezTo>
                    <a:cubicBezTo>
                      <a:pt x="2" y="5"/>
                      <a:pt x="3" y="4"/>
                      <a:pt x="3" y="3"/>
                    </a:cubicBezTo>
                    <a:cubicBezTo>
                      <a:pt x="5"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254"/>
              <p:cNvSpPr/>
              <p:nvPr/>
            </p:nvSpPr>
            <p:spPr bwMode="auto">
              <a:xfrm>
                <a:off x="6712" y="3452"/>
                <a:ext cx="2" cy="10"/>
              </a:xfrm>
              <a:custGeom>
                <a:gdLst>
                  <a:gd name="T0" fmla="*/ 1 w 1"/>
                  <a:gd name="T1" fmla="*/ 0 h 4"/>
                  <a:gd name="T2" fmla="*/ 0 w 1"/>
                  <a:gd name="T3" fmla="*/ 4 h 4"/>
                  <a:gd name="T4" fmla="*/ 1 w 1"/>
                  <a:gd name="T5" fmla="*/ 0 h 4"/>
                </a:gdLst>
                <a:cxnLst>
                  <a:cxn ang="0">
                    <a:pos x="T0" y="T1"/>
                  </a:cxn>
                  <a:cxn ang="0">
                    <a:pos x="T2" y="T3"/>
                  </a:cxn>
                  <a:cxn ang="0">
                    <a:pos x="T4" y="T5"/>
                  </a:cxn>
                </a:cxnLst>
                <a:rect l="0" t="0" r="r" b="b"/>
                <a:pathLst>
                  <a:path w="1" h="4">
                    <a:moveTo>
                      <a:pt x="1" y="0"/>
                    </a:moveTo>
                    <a:cubicBezTo>
                      <a:pt x="1" y="1"/>
                      <a:pt x="1" y="3"/>
                      <a:pt x="0" y="4"/>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255"/>
              <p:cNvSpPr/>
              <p:nvPr/>
            </p:nvSpPr>
            <p:spPr bwMode="auto">
              <a:xfrm>
                <a:off x="6719" y="3441"/>
                <a:ext cx="5" cy="11"/>
              </a:xfrm>
              <a:custGeom>
                <a:gdLst>
                  <a:gd name="T0" fmla="*/ 2 w 2"/>
                  <a:gd name="T1" fmla="*/ 0 h 5"/>
                  <a:gd name="T2" fmla="*/ 2 w 2"/>
                  <a:gd name="T3" fmla="*/ 1 h 5"/>
                  <a:gd name="T4" fmla="*/ 0 w 2"/>
                  <a:gd name="T5" fmla="*/ 5 h 5"/>
                  <a:gd name="T6" fmla="*/ 2 w 2"/>
                  <a:gd name="T7" fmla="*/ 1 h 5"/>
                  <a:gd name="T8" fmla="*/ 2 w 2"/>
                  <a:gd name="T9" fmla="*/ 0 h 5"/>
                </a:gdLst>
                <a:cxnLst>
                  <a:cxn ang="0">
                    <a:pos x="T0" y="T1"/>
                  </a:cxn>
                  <a:cxn ang="0">
                    <a:pos x="T2" y="T3"/>
                  </a:cxn>
                  <a:cxn ang="0">
                    <a:pos x="T4" y="T5"/>
                  </a:cxn>
                  <a:cxn ang="0">
                    <a:pos x="T6" y="T7"/>
                  </a:cxn>
                  <a:cxn ang="0">
                    <a:pos x="T8" y="T9"/>
                  </a:cxn>
                </a:cxnLst>
                <a:rect l="0" t="0" r="r" b="b"/>
                <a:pathLst>
                  <a:path w="2" h="5">
                    <a:moveTo>
                      <a:pt x="2" y="0"/>
                    </a:moveTo>
                    <a:cubicBezTo>
                      <a:pt x="2" y="1"/>
                      <a:pt x="2" y="1"/>
                      <a:pt x="2" y="1"/>
                    </a:cubicBezTo>
                    <a:cubicBezTo>
                      <a:pt x="1" y="2"/>
                      <a:pt x="1" y="3"/>
                      <a:pt x="0" y="5"/>
                    </a:cubicBezTo>
                    <a:cubicBezTo>
                      <a:pt x="1" y="3"/>
                      <a:pt x="1" y="2"/>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256"/>
              <p:cNvSpPr/>
              <p:nvPr/>
            </p:nvSpPr>
            <p:spPr bwMode="auto">
              <a:xfrm>
                <a:off x="6719" y="3268"/>
                <a:ext cx="7" cy="7"/>
              </a:xfrm>
              <a:custGeom>
                <a:gdLst>
                  <a:gd name="T0" fmla="*/ 3 w 3"/>
                  <a:gd name="T1" fmla="*/ 0 h 3"/>
                  <a:gd name="T2" fmla="*/ 0 w 3"/>
                  <a:gd name="T3" fmla="*/ 3 h 3"/>
                  <a:gd name="T4" fmla="*/ 0 w 3"/>
                  <a:gd name="T5" fmla="*/ 3 h 3"/>
                  <a:gd name="T6" fmla="*/ 1 w 3"/>
                  <a:gd name="T7" fmla="*/ 2 h 3"/>
                  <a:gd name="T8" fmla="*/ 3 w 3"/>
                  <a:gd name="T9" fmla="*/ 0 h 3"/>
                </a:gdLst>
                <a:cxnLst>
                  <a:cxn ang="0">
                    <a:pos x="T0" y="T1"/>
                  </a:cxn>
                  <a:cxn ang="0">
                    <a:pos x="T2" y="T3"/>
                  </a:cxn>
                  <a:cxn ang="0">
                    <a:pos x="T4" y="T5"/>
                  </a:cxn>
                  <a:cxn ang="0">
                    <a:pos x="T6" y="T7"/>
                  </a:cxn>
                  <a:cxn ang="0">
                    <a:pos x="T8" y="T9"/>
                  </a:cxn>
                </a:cxnLst>
                <a:rect l="0" t="0" r="r" b="b"/>
                <a:pathLst>
                  <a:path w="3" h="3">
                    <a:moveTo>
                      <a:pt x="3" y="0"/>
                    </a:moveTo>
                    <a:cubicBezTo>
                      <a:pt x="2" y="1"/>
                      <a:pt x="1" y="2"/>
                      <a:pt x="0" y="3"/>
                    </a:cubicBezTo>
                    <a:cubicBezTo>
                      <a:pt x="0" y="3"/>
                      <a:pt x="0" y="3"/>
                      <a:pt x="0" y="3"/>
                    </a:cubicBezTo>
                    <a:cubicBezTo>
                      <a:pt x="1" y="2"/>
                      <a:pt x="1" y="2"/>
                      <a:pt x="1" y="2"/>
                    </a:cubicBezTo>
                    <a:cubicBezTo>
                      <a:pt x="2"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257"/>
              <p:cNvSpPr/>
              <p:nvPr/>
            </p:nvSpPr>
            <p:spPr bwMode="auto">
              <a:xfrm>
                <a:off x="4231" y="3670"/>
                <a:ext cx="5" cy="9"/>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1" y="2"/>
                      <a:pt x="0" y="3"/>
                      <a:pt x="1" y="4"/>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258"/>
              <p:cNvSpPr/>
              <p:nvPr/>
            </p:nvSpPr>
            <p:spPr bwMode="auto">
              <a:xfrm>
                <a:off x="7459" y="4776"/>
                <a:ext cx="85" cy="59"/>
              </a:xfrm>
              <a:custGeom>
                <a:gdLst>
                  <a:gd name="T0" fmla="*/ 1 w 36"/>
                  <a:gd name="T1" fmla="*/ 0 h 25"/>
                  <a:gd name="T2" fmla="*/ 0 w 36"/>
                  <a:gd name="T3" fmla="*/ 0 h 25"/>
                  <a:gd name="T4" fmla="*/ 1 w 36"/>
                  <a:gd name="T5" fmla="*/ 1 h 25"/>
                  <a:gd name="T6" fmla="*/ 3 w 36"/>
                  <a:gd name="T7" fmla="*/ 3 h 25"/>
                  <a:gd name="T8" fmla="*/ 4 w 36"/>
                  <a:gd name="T9" fmla="*/ 6 h 25"/>
                  <a:gd name="T10" fmla="*/ 6 w 36"/>
                  <a:gd name="T11" fmla="*/ 7 h 25"/>
                  <a:gd name="T12" fmla="*/ 16 w 36"/>
                  <a:gd name="T13" fmla="*/ 14 h 25"/>
                  <a:gd name="T14" fmla="*/ 28 w 36"/>
                  <a:gd name="T15" fmla="*/ 21 h 25"/>
                  <a:gd name="T16" fmla="*/ 29 w 36"/>
                  <a:gd name="T17" fmla="*/ 22 h 25"/>
                  <a:gd name="T18" fmla="*/ 36 w 36"/>
                  <a:gd name="T19" fmla="*/ 25 h 25"/>
                  <a:gd name="T20" fmla="*/ 35 w 36"/>
                  <a:gd name="T21" fmla="*/ 23 h 25"/>
                  <a:gd name="T22" fmla="*/ 33 w 36"/>
                  <a:gd name="T23" fmla="*/ 22 h 25"/>
                  <a:gd name="T24" fmla="*/ 34 w 36"/>
                  <a:gd name="T25" fmla="*/ 20 h 25"/>
                  <a:gd name="T26" fmla="*/ 33 w 36"/>
                  <a:gd name="T27" fmla="*/ 18 h 25"/>
                  <a:gd name="T28" fmla="*/ 26 w 36"/>
                  <a:gd name="T29" fmla="*/ 14 h 25"/>
                  <a:gd name="T30" fmla="*/ 18 w 36"/>
                  <a:gd name="T31" fmla="*/ 9 h 25"/>
                  <a:gd name="T32" fmla="*/ 18 w 36"/>
                  <a:gd name="T33" fmla="*/ 9 h 25"/>
                  <a:gd name="T34" fmla="*/ 17 w 36"/>
                  <a:gd name="T35" fmla="*/ 9 h 25"/>
                  <a:gd name="T36" fmla="*/ 17 w 36"/>
                  <a:gd name="T37" fmla="*/ 9 h 25"/>
                  <a:gd name="T38" fmla="*/ 16 w 36"/>
                  <a:gd name="T39" fmla="*/ 9 h 25"/>
                  <a:gd name="T40" fmla="*/ 12 w 36"/>
                  <a:gd name="T41" fmla="*/ 5 h 25"/>
                  <a:gd name="T42" fmla="*/ 5 w 36"/>
                  <a:gd name="T43" fmla="*/ 1 h 25"/>
                  <a:gd name="T44" fmla="*/ 1 w 36"/>
                  <a:gd name="T45"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 y="0"/>
                    </a:moveTo>
                    <a:cubicBezTo>
                      <a:pt x="0" y="0"/>
                      <a:pt x="0" y="0"/>
                      <a:pt x="0" y="0"/>
                    </a:cubicBezTo>
                    <a:cubicBezTo>
                      <a:pt x="0" y="1"/>
                      <a:pt x="1" y="1"/>
                      <a:pt x="1" y="1"/>
                    </a:cubicBezTo>
                    <a:cubicBezTo>
                      <a:pt x="1" y="2"/>
                      <a:pt x="3" y="2"/>
                      <a:pt x="3" y="3"/>
                    </a:cubicBezTo>
                    <a:cubicBezTo>
                      <a:pt x="4" y="4"/>
                      <a:pt x="3" y="5"/>
                      <a:pt x="4" y="6"/>
                    </a:cubicBezTo>
                    <a:cubicBezTo>
                      <a:pt x="5" y="7"/>
                      <a:pt x="6" y="7"/>
                      <a:pt x="6" y="7"/>
                    </a:cubicBezTo>
                    <a:cubicBezTo>
                      <a:pt x="10" y="10"/>
                      <a:pt x="12" y="12"/>
                      <a:pt x="16" y="14"/>
                    </a:cubicBezTo>
                    <a:cubicBezTo>
                      <a:pt x="20" y="17"/>
                      <a:pt x="24" y="19"/>
                      <a:pt x="28" y="21"/>
                    </a:cubicBezTo>
                    <a:cubicBezTo>
                      <a:pt x="29" y="21"/>
                      <a:pt x="29" y="21"/>
                      <a:pt x="29" y="22"/>
                    </a:cubicBezTo>
                    <a:cubicBezTo>
                      <a:pt x="31" y="23"/>
                      <a:pt x="34" y="24"/>
                      <a:pt x="36" y="25"/>
                    </a:cubicBezTo>
                    <a:cubicBezTo>
                      <a:pt x="35" y="24"/>
                      <a:pt x="35" y="24"/>
                      <a:pt x="35" y="23"/>
                    </a:cubicBezTo>
                    <a:cubicBezTo>
                      <a:pt x="34" y="22"/>
                      <a:pt x="33" y="22"/>
                      <a:pt x="33" y="22"/>
                    </a:cubicBezTo>
                    <a:cubicBezTo>
                      <a:pt x="33" y="21"/>
                      <a:pt x="34" y="21"/>
                      <a:pt x="34" y="20"/>
                    </a:cubicBezTo>
                    <a:cubicBezTo>
                      <a:pt x="34" y="19"/>
                      <a:pt x="34" y="19"/>
                      <a:pt x="33" y="18"/>
                    </a:cubicBezTo>
                    <a:cubicBezTo>
                      <a:pt x="31" y="16"/>
                      <a:pt x="28" y="15"/>
                      <a:pt x="26" y="14"/>
                    </a:cubicBezTo>
                    <a:cubicBezTo>
                      <a:pt x="24" y="11"/>
                      <a:pt x="22" y="11"/>
                      <a:pt x="18" y="9"/>
                    </a:cubicBezTo>
                    <a:cubicBezTo>
                      <a:pt x="18" y="9"/>
                      <a:pt x="18" y="9"/>
                      <a:pt x="18" y="9"/>
                    </a:cubicBezTo>
                    <a:cubicBezTo>
                      <a:pt x="18" y="9"/>
                      <a:pt x="18" y="9"/>
                      <a:pt x="17" y="9"/>
                    </a:cubicBezTo>
                    <a:cubicBezTo>
                      <a:pt x="17" y="9"/>
                      <a:pt x="17" y="9"/>
                      <a:pt x="17" y="9"/>
                    </a:cubicBezTo>
                    <a:cubicBezTo>
                      <a:pt x="17" y="9"/>
                      <a:pt x="17" y="9"/>
                      <a:pt x="16" y="9"/>
                    </a:cubicBezTo>
                    <a:cubicBezTo>
                      <a:pt x="15" y="8"/>
                      <a:pt x="13" y="6"/>
                      <a:pt x="12" y="5"/>
                    </a:cubicBezTo>
                    <a:cubicBezTo>
                      <a:pt x="10" y="3"/>
                      <a:pt x="8" y="2"/>
                      <a:pt x="5" y="1"/>
                    </a:cubicBezTo>
                    <a:cubicBezTo>
                      <a:pt x="5"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259"/>
              <p:cNvSpPr/>
              <p:nvPr/>
            </p:nvSpPr>
            <p:spPr bwMode="auto">
              <a:xfrm>
                <a:off x="7388" y="4802"/>
                <a:ext cx="38" cy="36"/>
              </a:xfrm>
              <a:custGeom>
                <a:gdLst>
                  <a:gd name="T0" fmla="*/ 7 w 16"/>
                  <a:gd name="T1" fmla="*/ 0 h 15"/>
                  <a:gd name="T2" fmla="*/ 1 w 16"/>
                  <a:gd name="T3" fmla="*/ 5 h 15"/>
                  <a:gd name="T4" fmla="*/ 0 w 16"/>
                  <a:gd name="T5" fmla="*/ 8 h 15"/>
                  <a:gd name="T6" fmla="*/ 1 w 16"/>
                  <a:gd name="T7" fmla="*/ 9 h 15"/>
                  <a:gd name="T8" fmla="*/ 4 w 16"/>
                  <a:gd name="T9" fmla="*/ 7 h 15"/>
                  <a:gd name="T10" fmla="*/ 6 w 16"/>
                  <a:gd name="T11" fmla="*/ 7 h 15"/>
                  <a:gd name="T12" fmla="*/ 7 w 16"/>
                  <a:gd name="T13" fmla="*/ 7 h 15"/>
                  <a:gd name="T14" fmla="*/ 8 w 16"/>
                  <a:gd name="T15" fmla="*/ 9 h 15"/>
                  <a:gd name="T16" fmla="*/ 14 w 16"/>
                  <a:gd name="T17" fmla="*/ 15 h 15"/>
                  <a:gd name="T18" fmla="*/ 13 w 16"/>
                  <a:gd name="T19" fmla="*/ 6 h 15"/>
                  <a:gd name="T20" fmla="*/ 9 w 16"/>
                  <a:gd name="T21" fmla="*/ 1 h 15"/>
                  <a:gd name="T22" fmla="*/ 7 w 16"/>
                  <a:gd name="T2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5">
                    <a:moveTo>
                      <a:pt x="7" y="0"/>
                    </a:moveTo>
                    <a:cubicBezTo>
                      <a:pt x="4" y="0"/>
                      <a:pt x="2" y="3"/>
                      <a:pt x="1" y="5"/>
                    </a:cubicBezTo>
                    <a:cubicBezTo>
                      <a:pt x="0" y="6"/>
                      <a:pt x="0" y="8"/>
                      <a:pt x="0" y="8"/>
                    </a:cubicBezTo>
                    <a:cubicBezTo>
                      <a:pt x="1" y="9"/>
                      <a:pt x="1" y="9"/>
                      <a:pt x="1" y="9"/>
                    </a:cubicBezTo>
                    <a:cubicBezTo>
                      <a:pt x="2" y="9"/>
                      <a:pt x="3" y="8"/>
                      <a:pt x="4" y="7"/>
                    </a:cubicBezTo>
                    <a:cubicBezTo>
                      <a:pt x="4" y="7"/>
                      <a:pt x="6" y="7"/>
                      <a:pt x="6" y="7"/>
                    </a:cubicBezTo>
                    <a:cubicBezTo>
                      <a:pt x="7" y="7"/>
                      <a:pt x="7" y="7"/>
                      <a:pt x="7" y="7"/>
                    </a:cubicBezTo>
                    <a:cubicBezTo>
                      <a:pt x="9" y="7"/>
                      <a:pt x="8" y="7"/>
                      <a:pt x="8" y="9"/>
                    </a:cubicBezTo>
                    <a:cubicBezTo>
                      <a:pt x="10" y="13"/>
                      <a:pt x="10" y="12"/>
                      <a:pt x="14" y="15"/>
                    </a:cubicBezTo>
                    <a:cubicBezTo>
                      <a:pt x="16" y="11"/>
                      <a:pt x="16" y="10"/>
                      <a:pt x="13" y="6"/>
                    </a:cubicBezTo>
                    <a:cubicBezTo>
                      <a:pt x="12" y="5"/>
                      <a:pt x="11" y="2"/>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Freeform 260"/>
              <p:cNvSpPr/>
              <p:nvPr/>
            </p:nvSpPr>
            <p:spPr bwMode="auto">
              <a:xfrm>
                <a:off x="7622" y="4932"/>
                <a:ext cx="66" cy="38"/>
              </a:xfrm>
              <a:custGeom>
                <a:gdLst>
                  <a:gd name="T0" fmla="*/ 3 w 28"/>
                  <a:gd name="T1" fmla="*/ 0 h 16"/>
                  <a:gd name="T2" fmla="*/ 3 w 28"/>
                  <a:gd name="T3" fmla="*/ 0 h 16"/>
                  <a:gd name="T4" fmla="*/ 2 w 28"/>
                  <a:gd name="T5" fmla="*/ 4 h 16"/>
                  <a:gd name="T6" fmla="*/ 3 w 28"/>
                  <a:gd name="T7" fmla="*/ 4 h 16"/>
                  <a:gd name="T8" fmla="*/ 4 w 28"/>
                  <a:gd name="T9" fmla="*/ 4 h 16"/>
                  <a:gd name="T10" fmla="*/ 5 w 28"/>
                  <a:gd name="T11" fmla="*/ 4 h 16"/>
                  <a:gd name="T12" fmla="*/ 6 w 28"/>
                  <a:gd name="T13" fmla="*/ 4 h 16"/>
                  <a:gd name="T14" fmla="*/ 8 w 28"/>
                  <a:gd name="T15" fmla="*/ 9 h 16"/>
                  <a:gd name="T16" fmla="*/ 10 w 28"/>
                  <a:gd name="T17" fmla="*/ 11 h 16"/>
                  <a:gd name="T18" fmla="*/ 15 w 28"/>
                  <a:gd name="T19" fmla="*/ 14 h 16"/>
                  <a:gd name="T20" fmla="*/ 21 w 28"/>
                  <a:gd name="T21" fmla="*/ 15 h 16"/>
                  <a:gd name="T22" fmla="*/ 27 w 28"/>
                  <a:gd name="T23" fmla="*/ 16 h 16"/>
                  <a:gd name="T24" fmla="*/ 28 w 28"/>
                  <a:gd name="T25" fmla="*/ 16 h 16"/>
                  <a:gd name="T26" fmla="*/ 22 w 28"/>
                  <a:gd name="T27" fmla="*/ 7 h 16"/>
                  <a:gd name="T28" fmla="*/ 21 w 28"/>
                  <a:gd name="T29" fmla="*/ 6 h 16"/>
                  <a:gd name="T30" fmla="*/ 20 w 28"/>
                  <a:gd name="T31" fmla="*/ 7 h 16"/>
                  <a:gd name="T32" fmla="*/ 20 w 28"/>
                  <a:gd name="T33" fmla="*/ 7 h 16"/>
                  <a:gd name="T34" fmla="*/ 20 w 28"/>
                  <a:gd name="T35" fmla="*/ 7 h 16"/>
                  <a:gd name="T36" fmla="*/ 9 w 28"/>
                  <a:gd name="T37" fmla="*/ 3 h 16"/>
                  <a:gd name="T38" fmla="*/ 3 w 28"/>
                  <a:gd name="T39"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16">
                    <a:moveTo>
                      <a:pt x="3" y="0"/>
                    </a:moveTo>
                    <a:cubicBezTo>
                      <a:pt x="3" y="0"/>
                      <a:pt x="3" y="0"/>
                      <a:pt x="3" y="0"/>
                    </a:cubicBezTo>
                    <a:cubicBezTo>
                      <a:pt x="1" y="0"/>
                      <a:pt x="0" y="2"/>
                      <a:pt x="2" y="4"/>
                    </a:cubicBezTo>
                    <a:cubicBezTo>
                      <a:pt x="2" y="4"/>
                      <a:pt x="2" y="4"/>
                      <a:pt x="3" y="4"/>
                    </a:cubicBezTo>
                    <a:cubicBezTo>
                      <a:pt x="3" y="4"/>
                      <a:pt x="3" y="4"/>
                      <a:pt x="4" y="4"/>
                    </a:cubicBezTo>
                    <a:cubicBezTo>
                      <a:pt x="4" y="4"/>
                      <a:pt x="4" y="4"/>
                      <a:pt x="5" y="4"/>
                    </a:cubicBezTo>
                    <a:cubicBezTo>
                      <a:pt x="5" y="4"/>
                      <a:pt x="5" y="4"/>
                      <a:pt x="6" y="4"/>
                    </a:cubicBezTo>
                    <a:cubicBezTo>
                      <a:pt x="7" y="5"/>
                      <a:pt x="7" y="8"/>
                      <a:pt x="8" y="9"/>
                    </a:cubicBezTo>
                    <a:cubicBezTo>
                      <a:pt x="9" y="10"/>
                      <a:pt x="10" y="10"/>
                      <a:pt x="10" y="11"/>
                    </a:cubicBezTo>
                    <a:cubicBezTo>
                      <a:pt x="12" y="12"/>
                      <a:pt x="14" y="13"/>
                      <a:pt x="15" y="14"/>
                    </a:cubicBezTo>
                    <a:cubicBezTo>
                      <a:pt x="17" y="14"/>
                      <a:pt x="19" y="15"/>
                      <a:pt x="21" y="15"/>
                    </a:cubicBezTo>
                    <a:cubicBezTo>
                      <a:pt x="22" y="15"/>
                      <a:pt x="25" y="16"/>
                      <a:pt x="27" y="16"/>
                    </a:cubicBezTo>
                    <a:cubicBezTo>
                      <a:pt x="28" y="16"/>
                      <a:pt x="28" y="16"/>
                      <a:pt x="28" y="16"/>
                    </a:cubicBezTo>
                    <a:cubicBezTo>
                      <a:pt x="27" y="13"/>
                      <a:pt x="24" y="9"/>
                      <a:pt x="22" y="7"/>
                    </a:cubicBezTo>
                    <a:cubicBezTo>
                      <a:pt x="21" y="6"/>
                      <a:pt x="21" y="6"/>
                      <a:pt x="21" y="6"/>
                    </a:cubicBezTo>
                    <a:cubicBezTo>
                      <a:pt x="21" y="6"/>
                      <a:pt x="21" y="6"/>
                      <a:pt x="20" y="7"/>
                    </a:cubicBezTo>
                    <a:cubicBezTo>
                      <a:pt x="20" y="7"/>
                      <a:pt x="20" y="7"/>
                      <a:pt x="20" y="7"/>
                    </a:cubicBezTo>
                    <a:cubicBezTo>
                      <a:pt x="20" y="7"/>
                      <a:pt x="20" y="7"/>
                      <a:pt x="20" y="7"/>
                    </a:cubicBezTo>
                    <a:cubicBezTo>
                      <a:pt x="16" y="6"/>
                      <a:pt x="13" y="4"/>
                      <a:pt x="9" y="3"/>
                    </a:cubicBezTo>
                    <a:cubicBezTo>
                      <a:pt x="8"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261"/>
              <p:cNvSpPr/>
              <p:nvPr/>
            </p:nvSpPr>
            <p:spPr bwMode="auto">
              <a:xfrm>
                <a:off x="7381" y="4812"/>
                <a:ext cx="7" cy="9"/>
              </a:xfrm>
              <a:custGeom>
                <a:gdLst>
                  <a:gd name="T0" fmla="*/ 1 w 3"/>
                  <a:gd name="T1" fmla="*/ 0 h 4"/>
                  <a:gd name="T2" fmla="*/ 0 w 3"/>
                  <a:gd name="T3" fmla="*/ 1 h 4"/>
                  <a:gd name="T4" fmla="*/ 3 w 3"/>
                  <a:gd name="T5" fmla="*/ 4 h 4"/>
                  <a:gd name="T6" fmla="*/ 1 w 3"/>
                  <a:gd name="T7" fmla="*/ 0 h 4"/>
                </a:gdLst>
                <a:cxnLst>
                  <a:cxn ang="0">
                    <a:pos x="T0" y="T1"/>
                  </a:cxn>
                  <a:cxn ang="0">
                    <a:pos x="T2" y="T3"/>
                  </a:cxn>
                  <a:cxn ang="0">
                    <a:pos x="T4" y="T5"/>
                  </a:cxn>
                  <a:cxn ang="0">
                    <a:pos x="T6" y="T7"/>
                  </a:cxn>
                </a:cxnLst>
                <a:rect l="0" t="0" r="r" b="b"/>
                <a:pathLst>
                  <a:path w="3" h="4">
                    <a:moveTo>
                      <a:pt x="1" y="0"/>
                    </a:moveTo>
                    <a:cubicBezTo>
                      <a:pt x="1" y="0"/>
                      <a:pt x="0" y="0"/>
                      <a:pt x="0" y="1"/>
                    </a:cubicBezTo>
                    <a:cubicBezTo>
                      <a:pt x="1" y="2"/>
                      <a:pt x="2" y="3"/>
                      <a:pt x="3" y="4"/>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262"/>
              <p:cNvSpPr/>
              <p:nvPr/>
            </p:nvSpPr>
            <p:spPr bwMode="auto">
              <a:xfrm>
                <a:off x="7582" y="4821"/>
                <a:ext cx="49" cy="78"/>
              </a:xfrm>
              <a:custGeom>
                <a:gdLst>
                  <a:gd name="T0" fmla="*/ 4 w 21"/>
                  <a:gd name="T1" fmla="*/ 0 h 33"/>
                  <a:gd name="T2" fmla="*/ 4 w 21"/>
                  <a:gd name="T3" fmla="*/ 1 h 33"/>
                  <a:gd name="T4" fmla="*/ 1 w 21"/>
                  <a:gd name="T5" fmla="*/ 1 h 33"/>
                  <a:gd name="T6" fmla="*/ 3 w 21"/>
                  <a:gd name="T7" fmla="*/ 4 h 33"/>
                  <a:gd name="T8" fmla="*/ 3 w 21"/>
                  <a:gd name="T9" fmla="*/ 9 h 33"/>
                  <a:gd name="T10" fmla="*/ 8 w 21"/>
                  <a:gd name="T11" fmla="*/ 21 h 33"/>
                  <a:gd name="T12" fmla="*/ 20 w 21"/>
                  <a:gd name="T13" fmla="*/ 33 h 33"/>
                  <a:gd name="T14" fmla="*/ 20 w 21"/>
                  <a:gd name="T15" fmla="*/ 29 h 33"/>
                  <a:gd name="T16" fmla="*/ 19 w 21"/>
                  <a:gd name="T17" fmla="*/ 27 h 33"/>
                  <a:gd name="T18" fmla="*/ 18 w 21"/>
                  <a:gd name="T19" fmla="*/ 24 h 33"/>
                  <a:gd name="T20" fmla="*/ 15 w 21"/>
                  <a:gd name="T21" fmla="*/ 17 h 33"/>
                  <a:gd name="T22" fmla="*/ 13 w 21"/>
                  <a:gd name="T23" fmla="*/ 15 h 33"/>
                  <a:gd name="T24" fmla="*/ 9 w 21"/>
                  <a:gd name="T25" fmla="*/ 5 h 33"/>
                  <a:gd name="T26" fmla="*/ 4 w 21"/>
                  <a:gd name="T27"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3">
                    <a:moveTo>
                      <a:pt x="4" y="0"/>
                    </a:moveTo>
                    <a:cubicBezTo>
                      <a:pt x="4" y="1"/>
                      <a:pt x="4" y="1"/>
                      <a:pt x="4" y="1"/>
                    </a:cubicBezTo>
                    <a:cubicBezTo>
                      <a:pt x="3" y="1"/>
                      <a:pt x="2" y="1"/>
                      <a:pt x="1" y="1"/>
                    </a:cubicBezTo>
                    <a:cubicBezTo>
                      <a:pt x="0" y="1"/>
                      <a:pt x="2" y="2"/>
                      <a:pt x="3" y="4"/>
                    </a:cubicBezTo>
                    <a:cubicBezTo>
                      <a:pt x="4" y="7"/>
                      <a:pt x="3" y="6"/>
                      <a:pt x="3" y="9"/>
                    </a:cubicBezTo>
                    <a:cubicBezTo>
                      <a:pt x="3" y="11"/>
                      <a:pt x="6" y="19"/>
                      <a:pt x="8" y="21"/>
                    </a:cubicBezTo>
                    <a:cubicBezTo>
                      <a:pt x="12" y="25"/>
                      <a:pt x="16" y="29"/>
                      <a:pt x="20" y="33"/>
                    </a:cubicBezTo>
                    <a:cubicBezTo>
                      <a:pt x="21" y="32"/>
                      <a:pt x="20" y="31"/>
                      <a:pt x="20" y="29"/>
                    </a:cubicBezTo>
                    <a:cubicBezTo>
                      <a:pt x="20" y="29"/>
                      <a:pt x="19" y="28"/>
                      <a:pt x="19" y="27"/>
                    </a:cubicBezTo>
                    <a:cubicBezTo>
                      <a:pt x="18" y="25"/>
                      <a:pt x="18" y="25"/>
                      <a:pt x="18" y="24"/>
                    </a:cubicBezTo>
                    <a:cubicBezTo>
                      <a:pt x="17" y="22"/>
                      <a:pt x="17" y="19"/>
                      <a:pt x="15" y="17"/>
                    </a:cubicBezTo>
                    <a:cubicBezTo>
                      <a:pt x="15" y="16"/>
                      <a:pt x="13" y="15"/>
                      <a:pt x="13" y="15"/>
                    </a:cubicBezTo>
                    <a:cubicBezTo>
                      <a:pt x="11" y="12"/>
                      <a:pt x="11" y="8"/>
                      <a:pt x="9" y="5"/>
                    </a:cubicBezTo>
                    <a:cubicBezTo>
                      <a:pt x="7" y="4"/>
                      <a:pt x="6"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263"/>
              <p:cNvSpPr/>
              <p:nvPr/>
            </p:nvSpPr>
            <p:spPr bwMode="auto">
              <a:xfrm>
                <a:off x="7350" y="4800"/>
                <a:ext cx="2" cy="16"/>
              </a:xfrm>
              <a:custGeom>
                <a:gdLst>
                  <a:gd name="T0" fmla="*/ 0 w 1"/>
                  <a:gd name="T1" fmla="*/ 0 h 7"/>
                  <a:gd name="T2" fmla="*/ 1 w 1"/>
                  <a:gd name="T3" fmla="*/ 7 h 7"/>
                  <a:gd name="T4" fmla="*/ 0 w 1"/>
                  <a:gd name="T5" fmla="*/ 0 h 7"/>
                </a:gdLst>
                <a:cxnLst>
                  <a:cxn ang="0">
                    <a:pos x="T0" y="T1"/>
                  </a:cxn>
                  <a:cxn ang="0">
                    <a:pos x="T2" y="T3"/>
                  </a:cxn>
                  <a:cxn ang="0">
                    <a:pos x="T4" y="T5"/>
                  </a:cxn>
                </a:cxnLst>
                <a:rect l="0" t="0" r="r" b="b"/>
                <a:pathLst>
                  <a:path w="1" h="7">
                    <a:moveTo>
                      <a:pt x="0" y="0"/>
                    </a:moveTo>
                    <a:cubicBezTo>
                      <a:pt x="0" y="2"/>
                      <a:pt x="0" y="4"/>
                      <a:pt x="1" y="7"/>
                    </a:cubicBezTo>
                    <a:cubicBezTo>
                      <a:pt x="1"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264"/>
              <p:cNvSpPr/>
              <p:nvPr/>
            </p:nvSpPr>
            <p:spPr bwMode="auto">
              <a:xfrm>
                <a:off x="7402" y="4845"/>
                <a:ext cx="9" cy="4"/>
              </a:xfrm>
              <a:custGeom>
                <a:gdLst>
                  <a:gd name="T0" fmla="*/ 2 w 4"/>
                  <a:gd name="T1" fmla="*/ 0 h 2"/>
                  <a:gd name="T2" fmla="*/ 0 w 4"/>
                  <a:gd name="T3" fmla="*/ 0 h 2"/>
                  <a:gd name="T4" fmla="*/ 4 w 4"/>
                  <a:gd name="T5" fmla="*/ 2 h 2"/>
                  <a:gd name="T6" fmla="*/ 2 w 4"/>
                  <a:gd name="T7" fmla="*/ 0 h 2"/>
                </a:gdLst>
                <a:cxnLst>
                  <a:cxn ang="0">
                    <a:pos x="T0" y="T1"/>
                  </a:cxn>
                  <a:cxn ang="0">
                    <a:pos x="T2" y="T3"/>
                  </a:cxn>
                  <a:cxn ang="0">
                    <a:pos x="T4" y="T5"/>
                  </a:cxn>
                  <a:cxn ang="0">
                    <a:pos x="T6" y="T7"/>
                  </a:cxn>
                </a:cxnLst>
                <a:rect l="0" t="0" r="r" b="b"/>
                <a:pathLst>
                  <a:path w="4" h="2">
                    <a:moveTo>
                      <a:pt x="2" y="0"/>
                    </a:moveTo>
                    <a:cubicBezTo>
                      <a:pt x="1" y="0"/>
                      <a:pt x="1" y="0"/>
                      <a:pt x="0" y="0"/>
                    </a:cubicBezTo>
                    <a:cubicBezTo>
                      <a:pt x="1" y="1"/>
                      <a:pt x="2" y="2"/>
                      <a:pt x="4" y="2"/>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265"/>
              <p:cNvSpPr/>
              <p:nvPr/>
            </p:nvSpPr>
            <p:spPr bwMode="auto">
              <a:xfrm>
                <a:off x="7385" y="4828"/>
                <a:ext cx="17" cy="19"/>
              </a:xfrm>
              <a:custGeom>
                <a:gdLst>
                  <a:gd name="T0" fmla="*/ 4 w 7"/>
                  <a:gd name="T1" fmla="*/ 0 h 8"/>
                  <a:gd name="T2" fmla="*/ 1 w 7"/>
                  <a:gd name="T3" fmla="*/ 2 h 8"/>
                  <a:gd name="T4" fmla="*/ 5 w 7"/>
                  <a:gd name="T5" fmla="*/ 8 h 8"/>
                  <a:gd name="T6" fmla="*/ 5 w 7"/>
                  <a:gd name="T7" fmla="*/ 0 h 8"/>
                  <a:gd name="T8" fmla="*/ 4 w 7"/>
                  <a:gd name="T9" fmla="*/ 0 h 8"/>
                </a:gdLst>
                <a:cxnLst>
                  <a:cxn ang="0">
                    <a:pos x="T0" y="T1"/>
                  </a:cxn>
                  <a:cxn ang="0">
                    <a:pos x="T2" y="T3"/>
                  </a:cxn>
                  <a:cxn ang="0">
                    <a:pos x="T4" y="T5"/>
                  </a:cxn>
                  <a:cxn ang="0">
                    <a:pos x="T6" y="T7"/>
                  </a:cxn>
                  <a:cxn ang="0">
                    <a:pos x="T8" y="T9"/>
                  </a:cxn>
                </a:cxnLst>
                <a:rect l="0" t="0" r="r" b="b"/>
                <a:pathLst>
                  <a:path w="7" h="8">
                    <a:moveTo>
                      <a:pt x="4" y="0"/>
                    </a:moveTo>
                    <a:cubicBezTo>
                      <a:pt x="3" y="0"/>
                      <a:pt x="2" y="1"/>
                      <a:pt x="1" y="2"/>
                    </a:cubicBezTo>
                    <a:cubicBezTo>
                      <a:pt x="0" y="5"/>
                      <a:pt x="3" y="6"/>
                      <a:pt x="5" y="8"/>
                    </a:cubicBezTo>
                    <a:cubicBezTo>
                      <a:pt x="1" y="4"/>
                      <a:pt x="7" y="3"/>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266"/>
              <p:cNvSpPr/>
              <p:nvPr/>
            </p:nvSpPr>
            <p:spPr bwMode="auto">
              <a:xfrm>
                <a:off x="7341" y="4724"/>
                <a:ext cx="68" cy="43"/>
              </a:xfrm>
              <a:custGeom>
                <a:gdLst>
                  <a:gd name="T0" fmla="*/ 2 w 29"/>
                  <a:gd name="T1" fmla="*/ 0 h 18"/>
                  <a:gd name="T2" fmla="*/ 1 w 29"/>
                  <a:gd name="T3" fmla="*/ 2 h 18"/>
                  <a:gd name="T4" fmla="*/ 6 w 29"/>
                  <a:gd name="T5" fmla="*/ 6 h 18"/>
                  <a:gd name="T6" fmla="*/ 11 w 29"/>
                  <a:gd name="T7" fmla="*/ 12 h 18"/>
                  <a:gd name="T8" fmla="*/ 21 w 29"/>
                  <a:gd name="T9" fmla="*/ 18 h 18"/>
                  <a:gd name="T10" fmla="*/ 23 w 29"/>
                  <a:gd name="T11" fmla="*/ 18 h 18"/>
                  <a:gd name="T12" fmla="*/ 27 w 29"/>
                  <a:gd name="T13" fmla="*/ 16 h 18"/>
                  <a:gd name="T14" fmla="*/ 23 w 29"/>
                  <a:gd name="T15" fmla="*/ 16 h 18"/>
                  <a:gd name="T16" fmla="*/ 19 w 29"/>
                  <a:gd name="T17" fmla="*/ 13 h 18"/>
                  <a:gd name="T18" fmla="*/ 15 w 29"/>
                  <a:gd name="T19" fmla="*/ 6 h 18"/>
                  <a:gd name="T20" fmla="*/ 9 w 29"/>
                  <a:gd name="T21" fmla="*/ 3 h 18"/>
                  <a:gd name="T22" fmla="*/ 5 w 29"/>
                  <a:gd name="T23" fmla="*/ 0 h 18"/>
                  <a:gd name="T24" fmla="*/ 2 w 29"/>
                  <a:gd name="T2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8">
                    <a:moveTo>
                      <a:pt x="2" y="0"/>
                    </a:moveTo>
                    <a:cubicBezTo>
                      <a:pt x="1" y="0"/>
                      <a:pt x="0" y="0"/>
                      <a:pt x="1" y="2"/>
                    </a:cubicBezTo>
                    <a:cubicBezTo>
                      <a:pt x="2" y="4"/>
                      <a:pt x="5" y="5"/>
                      <a:pt x="6" y="6"/>
                    </a:cubicBezTo>
                    <a:cubicBezTo>
                      <a:pt x="8" y="7"/>
                      <a:pt x="9" y="10"/>
                      <a:pt x="11" y="12"/>
                    </a:cubicBezTo>
                    <a:cubicBezTo>
                      <a:pt x="15" y="15"/>
                      <a:pt x="16" y="17"/>
                      <a:pt x="21" y="18"/>
                    </a:cubicBezTo>
                    <a:cubicBezTo>
                      <a:pt x="21" y="18"/>
                      <a:pt x="22" y="18"/>
                      <a:pt x="23" y="18"/>
                    </a:cubicBezTo>
                    <a:cubicBezTo>
                      <a:pt x="26" y="18"/>
                      <a:pt x="29" y="18"/>
                      <a:pt x="27" y="16"/>
                    </a:cubicBezTo>
                    <a:cubicBezTo>
                      <a:pt x="27" y="16"/>
                      <a:pt x="24" y="16"/>
                      <a:pt x="23" y="16"/>
                    </a:cubicBezTo>
                    <a:cubicBezTo>
                      <a:pt x="22" y="15"/>
                      <a:pt x="20" y="14"/>
                      <a:pt x="19" y="13"/>
                    </a:cubicBezTo>
                    <a:cubicBezTo>
                      <a:pt x="17" y="11"/>
                      <a:pt x="18" y="8"/>
                      <a:pt x="15" y="6"/>
                    </a:cubicBezTo>
                    <a:cubicBezTo>
                      <a:pt x="13" y="5"/>
                      <a:pt x="11" y="4"/>
                      <a:pt x="9" y="3"/>
                    </a:cubicBezTo>
                    <a:cubicBezTo>
                      <a:pt x="7" y="2"/>
                      <a:pt x="6" y="1"/>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267"/>
              <p:cNvSpPr/>
              <p:nvPr/>
            </p:nvSpPr>
            <p:spPr bwMode="auto">
              <a:xfrm>
                <a:off x="7449" y="4774"/>
                <a:ext cx="7" cy="5"/>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0"/>
                      <a:pt x="2" y="1"/>
                      <a:pt x="3" y="2"/>
                    </a:cubicBezTo>
                    <a:cubicBezTo>
                      <a:pt x="3"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268"/>
              <p:cNvSpPr/>
              <p:nvPr/>
            </p:nvSpPr>
            <p:spPr bwMode="auto">
              <a:xfrm>
                <a:off x="7662" y="4901"/>
                <a:ext cx="2" cy="10"/>
              </a:xfrm>
              <a:custGeom>
                <a:gdLst>
                  <a:gd name="T0" fmla="*/ 1 w 1"/>
                  <a:gd name="T1" fmla="*/ 0 h 4"/>
                  <a:gd name="T2" fmla="*/ 1 w 1"/>
                  <a:gd name="T3" fmla="*/ 4 h 4"/>
                  <a:gd name="T4" fmla="*/ 1 w 1"/>
                  <a:gd name="T5" fmla="*/ 0 h 4"/>
                </a:gdLst>
                <a:cxnLst>
                  <a:cxn ang="0">
                    <a:pos x="T0" y="T1"/>
                  </a:cxn>
                  <a:cxn ang="0">
                    <a:pos x="T2" y="T3"/>
                  </a:cxn>
                  <a:cxn ang="0">
                    <a:pos x="T4" y="T5"/>
                  </a:cxn>
                </a:cxnLst>
                <a:rect l="0" t="0" r="r" b="b"/>
                <a:pathLst>
                  <a:path w="1" h="4">
                    <a:moveTo>
                      <a:pt x="1" y="0"/>
                    </a:moveTo>
                    <a:cubicBezTo>
                      <a:pt x="0" y="2"/>
                      <a:pt x="1" y="3"/>
                      <a:pt x="1" y="4"/>
                    </a:cubicBezTo>
                    <a:cubicBezTo>
                      <a:pt x="1"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269"/>
              <p:cNvSpPr/>
              <p:nvPr/>
            </p:nvSpPr>
            <p:spPr bwMode="auto">
              <a:xfrm>
                <a:off x="7523" y="4878"/>
                <a:ext cx="73" cy="40"/>
              </a:xfrm>
              <a:custGeom>
                <a:gdLst>
                  <a:gd name="T0" fmla="*/ 4 w 31"/>
                  <a:gd name="T1" fmla="*/ 0 h 17"/>
                  <a:gd name="T2" fmla="*/ 2 w 31"/>
                  <a:gd name="T3" fmla="*/ 1 h 17"/>
                  <a:gd name="T4" fmla="*/ 3 w 31"/>
                  <a:gd name="T5" fmla="*/ 8 h 17"/>
                  <a:gd name="T6" fmla="*/ 12 w 31"/>
                  <a:gd name="T7" fmla="*/ 14 h 17"/>
                  <a:gd name="T8" fmla="*/ 13 w 31"/>
                  <a:gd name="T9" fmla="*/ 14 h 17"/>
                  <a:gd name="T10" fmla="*/ 15 w 31"/>
                  <a:gd name="T11" fmla="*/ 14 h 17"/>
                  <a:gd name="T12" fmla="*/ 18 w 31"/>
                  <a:gd name="T13" fmla="*/ 13 h 17"/>
                  <a:gd name="T14" fmla="*/ 20 w 31"/>
                  <a:gd name="T15" fmla="*/ 14 h 17"/>
                  <a:gd name="T16" fmla="*/ 22 w 31"/>
                  <a:gd name="T17" fmla="*/ 15 h 17"/>
                  <a:gd name="T18" fmla="*/ 27 w 31"/>
                  <a:gd name="T19" fmla="*/ 17 h 17"/>
                  <a:gd name="T20" fmla="*/ 30 w 31"/>
                  <a:gd name="T21" fmla="*/ 11 h 17"/>
                  <a:gd name="T22" fmla="*/ 29 w 31"/>
                  <a:gd name="T23" fmla="*/ 11 h 17"/>
                  <a:gd name="T24" fmla="*/ 26 w 31"/>
                  <a:gd name="T25" fmla="*/ 7 h 17"/>
                  <a:gd name="T26" fmla="*/ 16 w 31"/>
                  <a:gd name="T27" fmla="*/ 4 h 17"/>
                  <a:gd name="T28" fmla="*/ 16 w 31"/>
                  <a:gd name="T29" fmla="*/ 4 h 17"/>
                  <a:gd name="T30" fmla="*/ 14 w 31"/>
                  <a:gd name="T31" fmla="*/ 4 h 17"/>
                  <a:gd name="T32" fmla="*/ 13 w 31"/>
                  <a:gd name="T33" fmla="*/ 4 h 17"/>
                  <a:gd name="T34" fmla="*/ 12 w 31"/>
                  <a:gd name="T35" fmla="*/ 4 h 17"/>
                  <a:gd name="T36" fmla="*/ 4 w 31"/>
                  <a:gd name="T37"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7">
                    <a:moveTo>
                      <a:pt x="4" y="0"/>
                    </a:moveTo>
                    <a:cubicBezTo>
                      <a:pt x="3" y="0"/>
                      <a:pt x="2" y="0"/>
                      <a:pt x="2" y="1"/>
                    </a:cubicBezTo>
                    <a:cubicBezTo>
                      <a:pt x="0" y="3"/>
                      <a:pt x="2" y="6"/>
                      <a:pt x="3" y="8"/>
                    </a:cubicBezTo>
                    <a:cubicBezTo>
                      <a:pt x="5" y="12"/>
                      <a:pt x="8" y="13"/>
                      <a:pt x="12" y="14"/>
                    </a:cubicBezTo>
                    <a:cubicBezTo>
                      <a:pt x="13" y="14"/>
                      <a:pt x="13" y="14"/>
                      <a:pt x="13" y="14"/>
                    </a:cubicBezTo>
                    <a:cubicBezTo>
                      <a:pt x="14" y="14"/>
                      <a:pt x="15" y="14"/>
                      <a:pt x="15" y="14"/>
                    </a:cubicBezTo>
                    <a:cubicBezTo>
                      <a:pt x="16" y="13"/>
                      <a:pt x="17" y="13"/>
                      <a:pt x="18" y="13"/>
                    </a:cubicBezTo>
                    <a:cubicBezTo>
                      <a:pt x="18" y="13"/>
                      <a:pt x="19" y="13"/>
                      <a:pt x="20" y="14"/>
                    </a:cubicBezTo>
                    <a:cubicBezTo>
                      <a:pt x="21" y="14"/>
                      <a:pt x="21" y="15"/>
                      <a:pt x="22" y="15"/>
                    </a:cubicBezTo>
                    <a:cubicBezTo>
                      <a:pt x="23" y="16"/>
                      <a:pt x="26" y="16"/>
                      <a:pt x="27" y="17"/>
                    </a:cubicBezTo>
                    <a:cubicBezTo>
                      <a:pt x="29" y="15"/>
                      <a:pt x="31" y="13"/>
                      <a:pt x="30" y="11"/>
                    </a:cubicBezTo>
                    <a:cubicBezTo>
                      <a:pt x="29" y="11"/>
                      <a:pt x="29" y="11"/>
                      <a:pt x="29" y="11"/>
                    </a:cubicBezTo>
                    <a:cubicBezTo>
                      <a:pt x="28" y="9"/>
                      <a:pt x="27" y="8"/>
                      <a:pt x="26" y="7"/>
                    </a:cubicBezTo>
                    <a:cubicBezTo>
                      <a:pt x="23" y="4"/>
                      <a:pt x="19" y="4"/>
                      <a:pt x="16" y="4"/>
                    </a:cubicBezTo>
                    <a:cubicBezTo>
                      <a:pt x="16" y="4"/>
                      <a:pt x="16" y="4"/>
                      <a:pt x="16" y="4"/>
                    </a:cubicBezTo>
                    <a:cubicBezTo>
                      <a:pt x="15" y="4"/>
                      <a:pt x="15" y="4"/>
                      <a:pt x="14" y="4"/>
                    </a:cubicBezTo>
                    <a:cubicBezTo>
                      <a:pt x="14" y="4"/>
                      <a:pt x="14" y="4"/>
                      <a:pt x="13" y="4"/>
                    </a:cubicBezTo>
                    <a:cubicBezTo>
                      <a:pt x="13" y="4"/>
                      <a:pt x="13" y="4"/>
                      <a:pt x="12" y="4"/>
                    </a:cubicBezTo>
                    <a:cubicBezTo>
                      <a:pt x="10" y="3"/>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270"/>
              <p:cNvSpPr/>
              <p:nvPr/>
            </p:nvSpPr>
            <p:spPr bwMode="auto">
              <a:xfrm>
                <a:off x="7629" y="4883"/>
                <a:ext cx="12" cy="26"/>
              </a:xfrm>
              <a:custGeom>
                <a:gdLst>
                  <a:gd name="T0" fmla="*/ 0 w 5"/>
                  <a:gd name="T1" fmla="*/ 0 h 11"/>
                  <a:gd name="T2" fmla="*/ 5 w 5"/>
                  <a:gd name="T3" fmla="*/ 11 h 11"/>
                  <a:gd name="T4" fmla="*/ 0 w 5"/>
                  <a:gd name="T5" fmla="*/ 0 h 11"/>
                </a:gdLst>
                <a:cxnLst>
                  <a:cxn ang="0">
                    <a:pos x="T0" y="T1"/>
                  </a:cxn>
                  <a:cxn ang="0">
                    <a:pos x="T2" y="T3"/>
                  </a:cxn>
                  <a:cxn ang="0">
                    <a:pos x="T4" y="T5"/>
                  </a:cxn>
                </a:cxnLst>
                <a:rect l="0" t="0" r="r" b="b"/>
                <a:pathLst>
                  <a:path w="5" h="11">
                    <a:moveTo>
                      <a:pt x="0" y="0"/>
                    </a:moveTo>
                    <a:cubicBezTo>
                      <a:pt x="1" y="4"/>
                      <a:pt x="3" y="7"/>
                      <a:pt x="5" y="11"/>
                    </a:cubicBezTo>
                    <a:cubicBezTo>
                      <a:pt x="5" y="7"/>
                      <a:pt x="3"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271"/>
              <p:cNvSpPr/>
              <p:nvPr/>
            </p:nvSpPr>
            <p:spPr bwMode="auto">
              <a:xfrm>
                <a:off x="7525" y="4826"/>
                <a:ext cx="5" cy="9"/>
              </a:xfrm>
              <a:custGeom>
                <a:gdLst>
                  <a:gd name="T0" fmla="*/ 0 w 2"/>
                  <a:gd name="T1" fmla="*/ 0 h 4"/>
                  <a:gd name="T2" fmla="*/ 2 w 2"/>
                  <a:gd name="T3" fmla="*/ 4 h 4"/>
                  <a:gd name="T4" fmla="*/ 1 w 2"/>
                  <a:gd name="T5" fmla="*/ 1 h 4"/>
                  <a:gd name="T6" fmla="*/ 0 w 2"/>
                  <a:gd name="T7" fmla="*/ 0 h 4"/>
                  <a:gd name="T8" fmla="*/ 0 w 2"/>
                  <a:gd name="T9" fmla="*/ 0 h 4"/>
                </a:gdLst>
                <a:cxnLst>
                  <a:cxn ang="0">
                    <a:pos x="T0" y="T1"/>
                  </a:cxn>
                  <a:cxn ang="0">
                    <a:pos x="T2" y="T3"/>
                  </a:cxn>
                  <a:cxn ang="0">
                    <a:pos x="T4" y="T5"/>
                  </a:cxn>
                  <a:cxn ang="0">
                    <a:pos x="T6" y="T7"/>
                  </a:cxn>
                  <a:cxn ang="0">
                    <a:pos x="T8" y="T9"/>
                  </a:cxn>
                </a:cxnLst>
                <a:rect l="0" t="0" r="r" b="b"/>
                <a:pathLst>
                  <a:path w="2" h="4">
                    <a:moveTo>
                      <a:pt x="0" y="0"/>
                    </a:moveTo>
                    <a:cubicBezTo>
                      <a:pt x="1" y="1"/>
                      <a:pt x="2" y="3"/>
                      <a:pt x="2" y="4"/>
                    </a:cubicBezTo>
                    <a:cubicBezTo>
                      <a:pt x="2" y="3"/>
                      <a:pt x="2" y="1"/>
                      <a:pt x="1" y="1"/>
                    </a:cubicBezTo>
                    <a:cubicBezTo>
                      <a:pt x="1"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272"/>
              <p:cNvSpPr/>
              <p:nvPr/>
            </p:nvSpPr>
            <p:spPr bwMode="auto">
              <a:xfrm>
                <a:off x="7452" y="4779"/>
                <a:ext cx="11" cy="4"/>
              </a:xfrm>
              <a:custGeom>
                <a:gdLst>
                  <a:gd name="T0" fmla="*/ 1 w 5"/>
                  <a:gd name="T1" fmla="*/ 0 h 2"/>
                  <a:gd name="T2" fmla="*/ 0 w 5"/>
                  <a:gd name="T3" fmla="*/ 0 h 2"/>
                  <a:gd name="T4" fmla="*/ 5 w 5"/>
                  <a:gd name="T5" fmla="*/ 2 h 2"/>
                  <a:gd name="T6" fmla="*/ 1 w 5"/>
                  <a:gd name="T7" fmla="*/ 0 h 2"/>
                </a:gdLst>
                <a:cxnLst>
                  <a:cxn ang="0">
                    <a:pos x="T0" y="T1"/>
                  </a:cxn>
                  <a:cxn ang="0">
                    <a:pos x="T2" y="T3"/>
                  </a:cxn>
                  <a:cxn ang="0">
                    <a:pos x="T4" y="T5"/>
                  </a:cxn>
                  <a:cxn ang="0">
                    <a:pos x="T6" y="T7"/>
                  </a:cxn>
                </a:cxnLst>
                <a:rect l="0" t="0" r="r" b="b"/>
                <a:pathLst>
                  <a:path w="5" h="2">
                    <a:moveTo>
                      <a:pt x="1" y="0"/>
                    </a:moveTo>
                    <a:cubicBezTo>
                      <a:pt x="1" y="0"/>
                      <a:pt x="0" y="0"/>
                      <a:pt x="0" y="0"/>
                    </a:cubicBezTo>
                    <a:cubicBezTo>
                      <a:pt x="2" y="1"/>
                      <a:pt x="3" y="1"/>
                      <a:pt x="5" y="2"/>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Freeform 273"/>
              <p:cNvSpPr/>
              <p:nvPr/>
            </p:nvSpPr>
            <p:spPr bwMode="auto">
              <a:xfrm>
                <a:off x="7369" y="4795"/>
                <a:ext cx="19" cy="17"/>
              </a:xfrm>
              <a:custGeom>
                <a:gdLst>
                  <a:gd name="T0" fmla="*/ 5 w 8"/>
                  <a:gd name="T1" fmla="*/ 0 h 7"/>
                  <a:gd name="T2" fmla="*/ 2 w 8"/>
                  <a:gd name="T3" fmla="*/ 2 h 7"/>
                  <a:gd name="T4" fmla="*/ 6 w 8"/>
                  <a:gd name="T5" fmla="*/ 7 h 7"/>
                  <a:gd name="T6" fmla="*/ 6 w 8"/>
                  <a:gd name="T7" fmla="*/ 0 h 7"/>
                  <a:gd name="T8" fmla="*/ 5 w 8"/>
                  <a:gd name="T9" fmla="*/ 0 h 7"/>
                </a:gdLst>
                <a:cxnLst>
                  <a:cxn ang="0">
                    <a:pos x="T0" y="T1"/>
                  </a:cxn>
                  <a:cxn ang="0">
                    <a:pos x="T2" y="T3"/>
                  </a:cxn>
                  <a:cxn ang="0">
                    <a:pos x="T4" y="T5"/>
                  </a:cxn>
                  <a:cxn ang="0">
                    <a:pos x="T6" y="T7"/>
                  </a:cxn>
                  <a:cxn ang="0">
                    <a:pos x="T8" y="T9"/>
                  </a:cxn>
                </a:cxnLst>
                <a:rect l="0" t="0" r="r" b="b"/>
                <a:pathLst>
                  <a:path w="8" h="7">
                    <a:moveTo>
                      <a:pt x="5" y="0"/>
                    </a:moveTo>
                    <a:cubicBezTo>
                      <a:pt x="3" y="0"/>
                      <a:pt x="3" y="1"/>
                      <a:pt x="2" y="2"/>
                    </a:cubicBezTo>
                    <a:cubicBezTo>
                      <a:pt x="0" y="4"/>
                      <a:pt x="5" y="6"/>
                      <a:pt x="6" y="7"/>
                    </a:cubicBezTo>
                    <a:cubicBezTo>
                      <a:pt x="8" y="6"/>
                      <a:pt x="8" y="2"/>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274"/>
              <p:cNvSpPr/>
              <p:nvPr/>
            </p:nvSpPr>
            <p:spPr bwMode="auto">
              <a:xfrm>
                <a:off x="7445" y="4845"/>
                <a:ext cx="2" cy="7"/>
              </a:xfrm>
              <a:custGeom>
                <a:gdLst>
                  <a:gd name="T0" fmla="*/ 0 w 1"/>
                  <a:gd name="T1" fmla="*/ 0 h 3"/>
                  <a:gd name="T2" fmla="*/ 0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0" y="3"/>
                    </a:cubicBezTo>
                    <a:cubicBezTo>
                      <a:pt x="0"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275"/>
              <p:cNvSpPr/>
              <p:nvPr/>
            </p:nvSpPr>
            <p:spPr bwMode="auto">
              <a:xfrm>
                <a:off x="7300" y="4743"/>
                <a:ext cx="15" cy="10"/>
              </a:xfrm>
              <a:custGeom>
                <a:gdLst>
                  <a:gd name="T0" fmla="*/ 0 w 6"/>
                  <a:gd name="T1" fmla="*/ 0 h 4"/>
                  <a:gd name="T2" fmla="*/ 1 w 6"/>
                  <a:gd name="T3" fmla="*/ 4 h 4"/>
                  <a:gd name="T4" fmla="*/ 0 w 6"/>
                  <a:gd name="T5" fmla="*/ 0 h 4"/>
                </a:gdLst>
                <a:cxnLst>
                  <a:cxn ang="0">
                    <a:pos x="T0" y="T1"/>
                  </a:cxn>
                  <a:cxn ang="0">
                    <a:pos x="T2" y="T3"/>
                  </a:cxn>
                  <a:cxn ang="0">
                    <a:pos x="T4" y="T5"/>
                  </a:cxn>
                </a:cxnLst>
                <a:rect l="0" t="0" r="r" b="b"/>
                <a:pathLst>
                  <a:path w="6" h="4">
                    <a:moveTo>
                      <a:pt x="0" y="0"/>
                    </a:moveTo>
                    <a:cubicBezTo>
                      <a:pt x="1" y="1"/>
                      <a:pt x="1" y="3"/>
                      <a:pt x="1" y="4"/>
                    </a:cubicBezTo>
                    <a:cubicBezTo>
                      <a:pt x="6"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276"/>
              <p:cNvSpPr/>
              <p:nvPr/>
            </p:nvSpPr>
            <p:spPr bwMode="auto">
              <a:xfrm>
                <a:off x="7563" y="4868"/>
                <a:ext cx="9" cy="5"/>
              </a:xfrm>
              <a:custGeom>
                <a:gdLst>
                  <a:gd name="T0" fmla="*/ 3 w 4"/>
                  <a:gd name="T1" fmla="*/ 0 h 2"/>
                  <a:gd name="T2" fmla="*/ 0 w 4"/>
                  <a:gd name="T3" fmla="*/ 2 h 2"/>
                  <a:gd name="T4" fmla="*/ 1 w 4"/>
                  <a:gd name="T5" fmla="*/ 2 h 2"/>
                  <a:gd name="T6" fmla="*/ 4 w 4"/>
                  <a:gd name="T7" fmla="*/ 1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1" y="1"/>
                      <a:pt x="0" y="2"/>
                    </a:cubicBezTo>
                    <a:cubicBezTo>
                      <a:pt x="1" y="2"/>
                      <a:pt x="1" y="2"/>
                      <a:pt x="1" y="2"/>
                    </a:cubicBezTo>
                    <a:cubicBezTo>
                      <a:pt x="3" y="2"/>
                      <a:pt x="4" y="2"/>
                      <a:pt x="4" y="1"/>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Freeform 277"/>
              <p:cNvSpPr/>
              <p:nvPr/>
            </p:nvSpPr>
            <p:spPr bwMode="auto">
              <a:xfrm>
                <a:off x="7376" y="4814"/>
                <a:ext cx="7" cy="9"/>
              </a:xfrm>
              <a:custGeom>
                <a:gdLst>
                  <a:gd name="T0" fmla="*/ 0 w 3"/>
                  <a:gd name="T1" fmla="*/ 0 h 4"/>
                  <a:gd name="T2" fmla="*/ 0 w 3"/>
                  <a:gd name="T3" fmla="*/ 0 h 4"/>
                  <a:gd name="T4" fmla="*/ 3 w 3"/>
                  <a:gd name="T5" fmla="*/ 4 h 4"/>
                  <a:gd name="T6" fmla="*/ 0 w 3"/>
                  <a:gd name="T7" fmla="*/ 0 h 4"/>
                </a:gdLst>
                <a:cxnLst>
                  <a:cxn ang="0">
                    <a:pos x="T0" y="T1"/>
                  </a:cxn>
                  <a:cxn ang="0">
                    <a:pos x="T2" y="T3"/>
                  </a:cxn>
                  <a:cxn ang="0">
                    <a:pos x="T4" y="T5"/>
                  </a:cxn>
                  <a:cxn ang="0">
                    <a:pos x="T6" y="T7"/>
                  </a:cxn>
                </a:cxnLst>
                <a:rect l="0" t="0" r="r" b="b"/>
                <a:pathLst>
                  <a:path w="3" h="4">
                    <a:moveTo>
                      <a:pt x="0" y="0"/>
                    </a:moveTo>
                    <a:cubicBezTo>
                      <a:pt x="0" y="0"/>
                      <a:pt x="0" y="0"/>
                      <a:pt x="0" y="0"/>
                    </a:cubicBezTo>
                    <a:cubicBezTo>
                      <a:pt x="1" y="2"/>
                      <a:pt x="2" y="3"/>
                      <a:pt x="3" y="4"/>
                    </a:cubicBezTo>
                    <a:cubicBezTo>
                      <a:pt x="3" y="2"/>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278"/>
              <p:cNvSpPr/>
              <p:nvPr/>
            </p:nvSpPr>
            <p:spPr bwMode="auto">
              <a:xfrm>
                <a:off x="7556" y="4861"/>
                <a:ext cx="11" cy="10"/>
              </a:xfrm>
              <a:custGeom>
                <a:gdLst>
                  <a:gd name="T0" fmla="*/ 2 w 5"/>
                  <a:gd name="T1" fmla="*/ 0 h 4"/>
                  <a:gd name="T2" fmla="*/ 0 w 5"/>
                  <a:gd name="T3" fmla="*/ 1 h 4"/>
                  <a:gd name="T4" fmla="*/ 4 w 5"/>
                  <a:gd name="T5" fmla="*/ 4 h 4"/>
                  <a:gd name="T6" fmla="*/ 2 w 5"/>
                  <a:gd name="T7" fmla="*/ 0 h 4"/>
                </a:gdLst>
                <a:cxnLst>
                  <a:cxn ang="0">
                    <a:pos x="T0" y="T1"/>
                  </a:cxn>
                  <a:cxn ang="0">
                    <a:pos x="T2" y="T3"/>
                  </a:cxn>
                  <a:cxn ang="0">
                    <a:pos x="T4" y="T5"/>
                  </a:cxn>
                  <a:cxn ang="0">
                    <a:pos x="T6" y="T7"/>
                  </a:cxn>
                </a:cxnLst>
                <a:rect l="0" t="0" r="r" b="b"/>
                <a:pathLst>
                  <a:path w="5" h="4">
                    <a:moveTo>
                      <a:pt x="2" y="0"/>
                    </a:moveTo>
                    <a:cubicBezTo>
                      <a:pt x="1" y="0"/>
                      <a:pt x="0" y="1"/>
                      <a:pt x="0" y="1"/>
                    </a:cubicBezTo>
                    <a:cubicBezTo>
                      <a:pt x="1" y="2"/>
                      <a:pt x="2" y="3"/>
                      <a:pt x="4" y="4"/>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Freeform 279"/>
              <p:cNvSpPr>
                <a:spLocks noEditPoints="1"/>
              </p:cNvSpPr>
              <p:nvPr/>
            </p:nvSpPr>
            <p:spPr bwMode="auto">
              <a:xfrm>
                <a:off x="7428" y="4833"/>
                <a:ext cx="14" cy="16"/>
              </a:xfrm>
              <a:custGeom>
                <a:gdLst>
                  <a:gd name="T0" fmla="*/ 6 w 6"/>
                  <a:gd name="T1" fmla="*/ 2 h 7"/>
                  <a:gd name="T2" fmla="*/ 6 w 6"/>
                  <a:gd name="T3" fmla="*/ 2 h 7"/>
                  <a:gd name="T4" fmla="*/ 6 w 6"/>
                  <a:gd name="T5" fmla="*/ 2 h 7"/>
                  <a:gd name="T6" fmla="*/ 3 w 6"/>
                  <a:gd name="T7" fmla="*/ 0 h 7"/>
                  <a:gd name="T8" fmla="*/ 0 w 6"/>
                  <a:gd name="T9" fmla="*/ 2 h 7"/>
                  <a:gd name="T10" fmla="*/ 2 w 6"/>
                  <a:gd name="T11" fmla="*/ 7 h 7"/>
                  <a:gd name="T12" fmla="*/ 5 w 6"/>
                  <a:gd name="T13" fmla="*/ 3 h 7"/>
                  <a:gd name="T14" fmla="*/ 5 w 6"/>
                  <a:gd name="T15" fmla="*/ 3 h 7"/>
                  <a:gd name="T16" fmla="*/ 5 w 6"/>
                  <a:gd name="T17" fmla="*/ 2 h 7"/>
                  <a:gd name="T18" fmla="*/ 5 w 6"/>
                  <a:gd name="T19" fmla="*/ 2 h 7"/>
                  <a:gd name="T20" fmla="*/ 6 w 6"/>
                  <a:gd name="T21" fmla="*/ 2 h 7"/>
                  <a:gd name="T22" fmla="*/ 3 w 6"/>
                  <a:gd name="T2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2"/>
                    </a:moveTo>
                    <a:cubicBezTo>
                      <a:pt x="6" y="2"/>
                      <a:pt x="6" y="2"/>
                      <a:pt x="6" y="2"/>
                    </a:cubicBezTo>
                    <a:cubicBezTo>
                      <a:pt x="6" y="2"/>
                      <a:pt x="6" y="2"/>
                      <a:pt x="6" y="2"/>
                    </a:cubicBezTo>
                    <a:moveTo>
                      <a:pt x="3" y="0"/>
                    </a:moveTo>
                    <a:cubicBezTo>
                      <a:pt x="2" y="0"/>
                      <a:pt x="1" y="1"/>
                      <a:pt x="0" y="2"/>
                    </a:cubicBezTo>
                    <a:cubicBezTo>
                      <a:pt x="0" y="3"/>
                      <a:pt x="1" y="5"/>
                      <a:pt x="2" y="7"/>
                    </a:cubicBezTo>
                    <a:cubicBezTo>
                      <a:pt x="5" y="5"/>
                      <a:pt x="4" y="5"/>
                      <a:pt x="5" y="3"/>
                    </a:cubicBezTo>
                    <a:cubicBezTo>
                      <a:pt x="5" y="3"/>
                      <a:pt x="5" y="3"/>
                      <a:pt x="5" y="3"/>
                    </a:cubicBezTo>
                    <a:cubicBezTo>
                      <a:pt x="5" y="3"/>
                      <a:pt x="5" y="3"/>
                      <a:pt x="5" y="2"/>
                    </a:cubicBezTo>
                    <a:cubicBezTo>
                      <a:pt x="5" y="2"/>
                      <a:pt x="5" y="2"/>
                      <a:pt x="5" y="2"/>
                    </a:cubicBezTo>
                    <a:cubicBezTo>
                      <a:pt x="6" y="2"/>
                      <a:pt x="6" y="2"/>
                      <a:pt x="6" y="2"/>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280"/>
              <p:cNvSpPr/>
              <p:nvPr/>
            </p:nvSpPr>
            <p:spPr bwMode="auto">
              <a:xfrm>
                <a:off x="7350" y="4779"/>
                <a:ext cx="17" cy="21"/>
              </a:xfrm>
              <a:custGeom>
                <a:gdLst>
                  <a:gd name="T0" fmla="*/ 0 w 7"/>
                  <a:gd name="T1" fmla="*/ 0 h 9"/>
                  <a:gd name="T2" fmla="*/ 3 w 7"/>
                  <a:gd name="T3" fmla="*/ 9 h 9"/>
                  <a:gd name="T4" fmla="*/ 5 w 7"/>
                  <a:gd name="T5" fmla="*/ 3 h 9"/>
                  <a:gd name="T6" fmla="*/ 0 w 7"/>
                  <a:gd name="T7" fmla="*/ 0 h 9"/>
                </a:gdLst>
                <a:cxnLst>
                  <a:cxn ang="0">
                    <a:pos x="T0" y="T1"/>
                  </a:cxn>
                  <a:cxn ang="0">
                    <a:pos x="T2" y="T3"/>
                  </a:cxn>
                  <a:cxn ang="0">
                    <a:pos x="T4" y="T5"/>
                  </a:cxn>
                  <a:cxn ang="0">
                    <a:pos x="T6" y="T7"/>
                  </a:cxn>
                </a:cxnLst>
                <a:rect l="0" t="0" r="r" b="b"/>
                <a:pathLst>
                  <a:path w="7" h="9">
                    <a:moveTo>
                      <a:pt x="0" y="0"/>
                    </a:moveTo>
                    <a:cubicBezTo>
                      <a:pt x="0" y="3"/>
                      <a:pt x="2" y="6"/>
                      <a:pt x="3" y="9"/>
                    </a:cubicBezTo>
                    <a:cubicBezTo>
                      <a:pt x="3" y="6"/>
                      <a:pt x="7" y="6"/>
                      <a:pt x="5" y="3"/>
                    </a:cubicBezTo>
                    <a:cubicBezTo>
                      <a:pt x="5" y="3"/>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281"/>
              <p:cNvSpPr/>
              <p:nvPr/>
            </p:nvSpPr>
            <p:spPr bwMode="auto">
              <a:xfrm>
                <a:off x="7549" y="5008"/>
                <a:ext cx="37" cy="21"/>
              </a:xfrm>
              <a:custGeom>
                <a:gdLst>
                  <a:gd name="T0" fmla="*/ 1 w 16"/>
                  <a:gd name="T1" fmla="*/ 0 h 9"/>
                  <a:gd name="T2" fmla="*/ 0 w 16"/>
                  <a:gd name="T3" fmla="*/ 0 h 9"/>
                  <a:gd name="T4" fmla="*/ 13 w 16"/>
                  <a:gd name="T5" fmla="*/ 9 h 9"/>
                  <a:gd name="T6" fmla="*/ 7 w 16"/>
                  <a:gd name="T7" fmla="*/ 3 h 9"/>
                  <a:gd name="T8" fmla="*/ 1 w 16"/>
                  <a:gd name="T9" fmla="*/ 0 h 9"/>
                </a:gdLst>
                <a:cxnLst>
                  <a:cxn ang="0">
                    <a:pos x="T0" y="T1"/>
                  </a:cxn>
                  <a:cxn ang="0">
                    <a:pos x="T2" y="T3"/>
                  </a:cxn>
                  <a:cxn ang="0">
                    <a:pos x="T4" y="T5"/>
                  </a:cxn>
                  <a:cxn ang="0">
                    <a:pos x="T6" y="T7"/>
                  </a:cxn>
                  <a:cxn ang="0">
                    <a:pos x="T8" y="T9"/>
                  </a:cxn>
                </a:cxnLst>
                <a:rect l="0" t="0" r="r" b="b"/>
                <a:pathLst>
                  <a:path w="16" h="9">
                    <a:moveTo>
                      <a:pt x="1" y="0"/>
                    </a:moveTo>
                    <a:cubicBezTo>
                      <a:pt x="0" y="0"/>
                      <a:pt x="0" y="0"/>
                      <a:pt x="0" y="0"/>
                    </a:cubicBezTo>
                    <a:cubicBezTo>
                      <a:pt x="4" y="4"/>
                      <a:pt x="8" y="6"/>
                      <a:pt x="13" y="9"/>
                    </a:cubicBezTo>
                    <a:cubicBezTo>
                      <a:pt x="16" y="7"/>
                      <a:pt x="8" y="4"/>
                      <a:pt x="7" y="3"/>
                    </a:cubicBezTo>
                    <a:cubicBezTo>
                      <a:pt x="5"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282"/>
              <p:cNvSpPr/>
              <p:nvPr/>
            </p:nvSpPr>
            <p:spPr bwMode="auto">
              <a:xfrm>
                <a:off x="3952" y="3743"/>
                <a:ext cx="5" cy="7"/>
              </a:xfrm>
              <a:custGeom>
                <a:gdLst>
                  <a:gd name="T0" fmla="*/ 1 w 2"/>
                  <a:gd name="T1" fmla="*/ 0 h 3"/>
                  <a:gd name="T2" fmla="*/ 0 w 2"/>
                  <a:gd name="T3" fmla="*/ 3 h 3"/>
                  <a:gd name="T4" fmla="*/ 1 w 2"/>
                  <a:gd name="T5" fmla="*/ 0 h 3"/>
                </a:gdLst>
                <a:cxnLst>
                  <a:cxn ang="0">
                    <a:pos x="T0" y="T1"/>
                  </a:cxn>
                  <a:cxn ang="0">
                    <a:pos x="T2" y="T3"/>
                  </a:cxn>
                  <a:cxn ang="0">
                    <a:pos x="T4" y="T5"/>
                  </a:cxn>
                </a:cxnLst>
                <a:rect l="0" t="0" r="r" b="b"/>
                <a:pathLst>
                  <a:path w="2" h="3">
                    <a:moveTo>
                      <a:pt x="1" y="0"/>
                    </a:moveTo>
                    <a:cubicBezTo>
                      <a:pt x="0" y="1"/>
                      <a:pt x="0" y="2"/>
                      <a:pt x="0" y="3"/>
                    </a:cubicBezTo>
                    <a:cubicBezTo>
                      <a:pt x="1"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283"/>
              <p:cNvSpPr/>
              <p:nvPr/>
            </p:nvSpPr>
            <p:spPr bwMode="auto">
              <a:xfrm>
                <a:off x="3954" y="3750"/>
                <a:ext cx="5" cy="5"/>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1"/>
                      <a:pt x="0"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284"/>
              <p:cNvSpPr/>
              <p:nvPr/>
            </p:nvSpPr>
            <p:spPr bwMode="auto">
              <a:xfrm>
                <a:off x="3910" y="3367"/>
                <a:ext cx="7" cy="17"/>
              </a:xfrm>
              <a:custGeom>
                <a:gdLst>
                  <a:gd name="T0" fmla="*/ 2 w 3"/>
                  <a:gd name="T1" fmla="*/ 0 h 7"/>
                  <a:gd name="T2" fmla="*/ 3 w 3"/>
                  <a:gd name="T3" fmla="*/ 7 h 7"/>
                  <a:gd name="T4" fmla="*/ 2 w 3"/>
                  <a:gd name="T5" fmla="*/ 0 h 7"/>
                </a:gdLst>
                <a:cxnLst>
                  <a:cxn ang="0">
                    <a:pos x="T0" y="T1"/>
                  </a:cxn>
                  <a:cxn ang="0">
                    <a:pos x="T2" y="T3"/>
                  </a:cxn>
                  <a:cxn ang="0">
                    <a:pos x="T4" y="T5"/>
                  </a:cxn>
                </a:cxnLst>
                <a:rect l="0" t="0" r="r" b="b"/>
                <a:pathLst>
                  <a:path w="3" h="7">
                    <a:moveTo>
                      <a:pt x="2" y="0"/>
                    </a:moveTo>
                    <a:cubicBezTo>
                      <a:pt x="0" y="1"/>
                      <a:pt x="0" y="6"/>
                      <a:pt x="3" y="7"/>
                    </a:cubicBezTo>
                    <a:cubicBezTo>
                      <a:pt x="3" y="5"/>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285"/>
              <p:cNvSpPr/>
              <p:nvPr/>
            </p:nvSpPr>
            <p:spPr bwMode="auto">
              <a:xfrm>
                <a:off x="3943" y="3646"/>
                <a:ext cx="2" cy="10"/>
              </a:xfrm>
              <a:custGeom>
                <a:gdLst>
                  <a:gd name="T0" fmla="*/ 0 w 1"/>
                  <a:gd name="T1" fmla="*/ 0 h 4"/>
                  <a:gd name="T2" fmla="*/ 1 w 1"/>
                  <a:gd name="T3" fmla="*/ 4 h 4"/>
                  <a:gd name="T4" fmla="*/ 0 w 1"/>
                  <a:gd name="T5" fmla="*/ 0 h 4"/>
                </a:gdLst>
                <a:cxnLst>
                  <a:cxn ang="0">
                    <a:pos x="T0" y="T1"/>
                  </a:cxn>
                  <a:cxn ang="0">
                    <a:pos x="T2" y="T3"/>
                  </a:cxn>
                  <a:cxn ang="0">
                    <a:pos x="T4" y="T5"/>
                  </a:cxn>
                </a:cxnLst>
                <a:rect l="0" t="0" r="r" b="b"/>
                <a:pathLst>
                  <a:path w="1" h="4">
                    <a:moveTo>
                      <a:pt x="0" y="0"/>
                    </a:moveTo>
                    <a:cubicBezTo>
                      <a:pt x="0" y="1"/>
                      <a:pt x="1" y="2"/>
                      <a:pt x="1"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286"/>
              <p:cNvSpPr/>
              <p:nvPr/>
            </p:nvSpPr>
            <p:spPr bwMode="auto">
              <a:xfrm>
                <a:off x="3957" y="3563"/>
                <a:ext cx="4" cy="15"/>
              </a:xfrm>
              <a:custGeom>
                <a:gdLst>
                  <a:gd name="T0" fmla="*/ 0 w 2"/>
                  <a:gd name="T1" fmla="*/ 0 h 6"/>
                  <a:gd name="T2" fmla="*/ 1 w 2"/>
                  <a:gd name="T3" fmla="*/ 5 h 6"/>
                  <a:gd name="T4" fmla="*/ 1 w 2"/>
                  <a:gd name="T5" fmla="*/ 6 h 6"/>
                  <a:gd name="T6" fmla="*/ 2 w 2"/>
                  <a:gd name="T7" fmla="*/ 4 h 6"/>
                  <a:gd name="T8" fmla="*/ 0 w 2"/>
                  <a:gd name="T9" fmla="*/ 0 h 6"/>
                </a:gdLst>
                <a:cxnLst>
                  <a:cxn ang="0">
                    <a:pos x="T0" y="T1"/>
                  </a:cxn>
                  <a:cxn ang="0">
                    <a:pos x="T2" y="T3"/>
                  </a:cxn>
                  <a:cxn ang="0">
                    <a:pos x="T4" y="T5"/>
                  </a:cxn>
                  <a:cxn ang="0">
                    <a:pos x="T6" y="T7"/>
                  </a:cxn>
                  <a:cxn ang="0">
                    <a:pos x="T8" y="T9"/>
                  </a:cxn>
                </a:cxnLst>
                <a:rect l="0" t="0" r="r" b="b"/>
                <a:pathLst>
                  <a:path w="2" h="6">
                    <a:moveTo>
                      <a:pt x="0" y="0"/>
                    </a:moveTo>
                    <a:cubicBezTo>
                      <a:pt x="0" y="2"/>
                      <a:pt x="0" y="3"/>
                      <a:pt x="1" y="5"/>
                    </a:cubicBezTo>
                    <a:cubicBezTo>
                      <a:pt x="1" y="6"/>
                      <a:pt x="1" y="6"/>
                      <a:pt x="1" y="6"/>
                    </a:cubicBezTo>
                    <a:cubicBezTo>
                      <a:pt x="1" y="5"/>
                      <a:pt x="2" y="4"/>
                      <a:pt x="2" y="4"/>
                    </a:cubicBezTo>
                    <a:cubicBezTo>
                      <a:pt x="2" y="3"/>
                      <a:pt x="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Freeform 287"/>
              <p:cNvSpPr/>
              <p:nvPr/>
            </p:nvSpPr>
            <p:spPr bwMode="auto">
              <a:xfrm>
                <a:off x="3959" y="3594"/>
                <a:ext cx="14" cy="19"/>
              </a:xfrm>
              <a:custGeom>
                <a:gdLst>
                  <a:gd name="T0" fmla="*/ 1 w 6"/>
                  <a:gd name="T1" fmla="*/ 0 h 8"/>
                  <a:gd name="T2" fmla="*/ 1 w 6"/>
                  <a:gd name="T3" fmla="*/ 0 h 8"/>
                  <a:gd name="T4" fmla="*/ 0 w 6"/>
                  <a:gd name="T5" fmla="*/ 8 h 8"/>
                  <a:gd name="T6" fmla="*/ 1 w 6"/>
                  <a:gd name="T7" fmla="*/ 0 h 8"/>
                  <a:gd name="T8" fmla="*/ 1 w 6"/>
                  <a:gd name="T9" fmla="*/ 0 h 8"/>
                </a:gdLst>
                <a:cxnLst>
                  <a:cxn ang="0">
                    <a:pos x="T0" y="T1"/>
                  </a:cxn>
                  <a:cxn ang="0">
                    <a:pos x="T2" y="T3"/>
                  </a:cxn>
                  <a:cxn ang="0">
                    <a:pos x="T4" y="T5"/>
                  </a:cxn>
                  <a:cxn ang="0">
                    <a:pos x="T6" y="T7"/>
                  </a:cxn>
                  <a:cxn ang="0">
                    <a:pos x="T8" y="T9"/>
                  </a:cxn>
                </a:cxnLst>
                <a:rect l="0" t="0" r="r" b="b"/>
                <a:pathLst>
                  <a:path w="6" h="8">
                    <a:moveTo>
                      <a:pt x="1" y="0"/>
                    </a:moveTo>
                    <a:cubicBezTo>
                      <a:pt x="1" y="0"/>
                      <a:pt x="1" y="0"/>
                      <a:pt x="1" y="0"/>
                    </a:cubicBezTo>
                    <a:cubicBezTo>
                      <a:pt x="0" y="3"/>
                      <a:pt x="0" y="6"/>
                      <a:pt x="0" y="8"/>
                    </a:cubicBezTo>
                    <a:cubicBezTo>
                      <a:pt x="6" y="8"/>
                      <a:pt x="5" y="2"/>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288"/>
              <p:cNvSpPr/>
              <p:nvPr/>
            </p:nvSpPr>
            <p:spPr bwMode="auto">
              <a:xfrm>
                <a:off x="3952" y="3646"/>
                <a:ext cx="9" cy="22"/>
              </a:xfrm>
              <a:custGeom>
                <a:gdLst>
                  <a:gd name="T0" fmla="*/ 3 w 4"/>
                  <a:gd name="T1" fmla="*/ 0 h 9"/>
                  <a:gd name="T2" fmla="*/ 0 w 4"/>
                  <a:gd name="T3" fmla="*/ 9 h 9"/>
                  <a:gd name="T4" fmla="*/ 3 w 4"/>
                  <a:gd name="T5" fmla="*/ 5 h 9"/>
                  <a:gd name="T6" fmla="*/ 3 w 4"/>
                  <a:gd name="T7" fmla="*/ 0 h 9"/>
                </a:gdLst>
                <a:cxnLst>
                  <a:cxn ang="0">
                    <a:pos x="T0" y="T1"/>
                  </a:cxn>
                  <a:cxn ang="0">
                    <a:pos x="T2" y="T3"/>
                  </a:cxn>
                  <a:cxn ang="0">
                    <a:pos x="T4" y="T5"/>
                  </a:cxn>
                  <a:cxn ang="0">
                    <a:pos x="T6" y="T7"/>
                  </a:cxn>
                </a:cxnLst>
                <a:rect l="0" t="0" r="r" b="b"/>
                <a:pathLst>
                  <a:path w="4" h="9">
                    <a:moveTo>
                      <a:pt x="3" y="0"/>
                    </a:moveTo>
                    <a:cubicBezTo>
                      <a:pt x="2" y="3"/>
                      <a:pt x="1" y="6"/>
                      <a:pt x="0" y="9"/>
                    </a:cubicBezTo>
                    <a:cubicBezTo>
                      <a:pt x="3" y="9"/>
                      <a:pt x="2" y="7"/>
                      <a:pt x="3" y="5"/>
                    </a:cubicBezTo>
                    <a:cubicBezTo>
                      <a:pt x="3"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289"/>
              <p:cNvSpPr/>
              <p:nvPr/>
            </p:nvSpPr>
            <p:spPr bwMode="auto">
              <a:xfrm>
                <a:off x="3961" y="3646"/>
                <a:ext cx="15" cy="17"/>
              </a:xfrm>
              <a:custGeom>
                <a:gdLst>
                  <a:gd name="T0" fmla="*/ 4 w 6"/>
                  <a:gd name="T1" fmla="*/ 0 h 7"/>
                  <a:gd name="T2" fmla="*/ 2 w 6"/>
                  <a:gd name="T3" fmla="*/ 0 h 7"/>
                  <a:gd name="T4" fmla="*/ 2 w 6"/>
                  <a:gd name="T5" fmla="*/ 5 h 7"/>
                  <a:gd name="T6" fmla="*/ 2 w 6"/>
                  <a:gd name="T7" fmla="*/ 5 h 7"/>
                  <a:gd name="T8" fmla="*/ 5 w 6"/>
                  <a:gd name="T9" fmla="*/ 7 h 7"/>
                  <a:gd name="T10" fmla="*/ 5 w 6"/>
                  <a:gd name="T11" fmla="*/ 1 h 7"/>
                  <a:gd name="T12" fmla="*/ 5 w 6"/>
                  <a:gd name="T13" fmla="*/ 1 h 7"/>
                  <a:gd name="T14" fmla="*/ 4 w 6"/>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4" y="0"/>
                    </a:moveTo>
                    <a:cubicBezTo>
                      <a:pt x="3" y="0"/>
                      <a:pt x="2" y="0"/>
                      <a:pt x="2" y="0"/>
                    </a:cubicBezTo>
                    <a:cubicBezTo>
                      <a:pt x="0" y="0"/>
                      <a:pt x="2" y="4"/>
                      <a:pt x="2" y="5"/>
                    </a:cubicBezTo>
                    <a:cubicBezTo>
                      <a:pt x="2" y="5"/>
                      <a:pt x="2" y="5"/>
                      <a:pt x="2" y="5"/>
                    </a:cubicBezTo>
                    <a:cubicBezTo>
                      <a:pt x="3" y="5"/>
                      <a:pt x="4" y="6"/>
                      <a:pt x="5" y="7"/>
                    </a:cubicBezTo>
                    <a:cubicBezTo>
                      <a:pt x="5" y="6"/>
                      <a:pt x="6" y="3"/>
                      <a:pt x="5" y="1"/>
                    </a:cubicBezTo>
                    <a:cubicBezTo>
                      <a:pt x="5" y="1"/>
                      <a:pt x="5" y="1"/>
                      <a:pt x="5"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290"/>
              <p:cNvSpPr/>
              <p:nvPr/>
            </p:nvSpPr>
            <p:spPr bwMode="auto">
              <a:xfrm>
                <a:off x="3940" y="3611"/>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2" y="1"/>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Freeform 291"/>
              <p:cNvSpPr/>
              <p:nvPr/>
            </p:nvSpPr>
            <p:spPr bwMode="auto">
              <a:xfrm>
                <a:off x="3503" y="2989"/>
                <a:ext cx="28" cy="47"/>
              </a:xfrm>
              <a:custGeom>
                <a:gdLst>
                  <a:gd name="T0" fmla="*/ 5 w 12"/>
                  <a:gd name="T1" fmla="*/ 0 h 20"/>
                  <a:gd name="T2" fmla="*/ 5 w 12"/>
                  <a:gd name="T3" fmla="*/ 5 h 20"/>
                  <a:gd name="T4" fmla="*/ 5 w 12"/>
                  <a:gd name="T5" fmla="*/ 13 h 20"/>
                  <a:gd name="T6" fmla="*/ 5 w 12"/>
                  <a:gd name="T7" fmla="*/ 19 h 20"/>
                  <a:gd name="T8" fmla="*/ 5 w 12"/>
                  <a:gd name="T9" fmla="*/ 20 h 20"/>
                  <a:gd name="T10" fmla="*/ 6 w 12"/>
                  <a:gd name="T11" fmla="*/ 20 h 20"/>
                  <a:gd name="T12" fmla="*/ 6 w 12"/>
                  <a:gd name="T13" fmla="*/ 20 h 20"/>
                  <a:gd name="T14" fmla="*/ 6 w 12"/>
                  <a:gd name="T15" fmla="*/ 19 h 20"/>
                  <a:gd name="T16" fmla="*/ 8 w 12"/>
                  <a:gd name="T17" fmla="*/ 18 h 20"/>
                  <a:gd name="T18" fmla="*/ 8 w 12"/>
                  <a:gd name="T19" fmla="*/ 18 h 20"/>
                  <a:gd name="T20" fmla="*/ 6 w 12"/>
                  <a:gd name="T21" fmla="*/ 1 h 20"/>
                  <a:gd name="T22" fmla="*/ 5 w 12"/>
                  <a:gd name="T23"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0">
                    <a:moveTo>
                      <a:pt x="5" y="0"/>
                    </a:moveTo>
                    <a:cubicBezTo>
                      <a:pt x="3" y="0"/>
                      <a:pt x="0" y="4"/>
                      <a:pt x="5" y="5"/>
                    </a:cubicBezTo>
                    <a:cubicBezTo>
                      <a:pt x="5" y="8"/>
                      <a:pt x="5" y="10"/>
                      <a:pt x="5" y="13"/>
                    </a:cubicBezTo>
                    <a:cubicBezTo>
                      <a:pt x="5" y="14"/>
                      <a:pt x="4" y="17"/>
                      <a:pt x="5" y="19"/>
                    </a:cubicBezTo>
                    <a:cubicBezTo>
                      <a:pt x="5" y="20"/>
                      <a:pt x="5" y="20"/>
                      <a:pt x="5" y="20"/>
                    </a:cubicBezTo>
                    <a:cubicBezTo>
                      <a:pt x="5" y="20"/>
                      <a:pt x="5" y="20"/>
                      <a:pt x="6" y="20"/>
                    </a:cubicBezTo>
                    <a:cubicBezTo>
                      <a:pt x="6" y="20"/>
                      <a:pt x="6" y="20"/>
                      <a:pt x="6" y="20"/>
                    </a:cubicBezTo>
                    <a:cubicBezTo>
                      <a:pt x="5" y="20"/>
                      <a:pt x="6" y="19"/>
                      <a:pt x="6" y="19"/>
                    </a:cubicBezTo>
                    <a:cubicBezTo>
                      <a:pt x="7" y="18"/>
                      <a:pt x="8" y="18"/>
                      <a:pt x="8" y="18"/>
                    </a:cubicBezTo>
                    <a:cubicBezTo>
                      <a:pt x="8" y="18"/>
                      <a:pt x="8" y="18"/>
                      <a:pt x="8" y="18"/>
                    </a:cubicBezTo>
                    <a:cubicBezTo>
                      <a:pt x="12" y="12"/>
                      <a:pt x="9" y="6"/>
                      <a:pt x="6" y="1"/>
                    </a:cubicBezTo>
                    <a:cubicBezTo>
                      <a:pt x="6" y="1"/>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292"/>
              <p:cNvSpPr/>
              <p:nvPr/>
            </p:nvSpPr>
            <p:spPr bwMode="auto">
              <a:xfrm>
                <a:off x="3583" y="3041"/>
                <a:ext cx="3" cy="12"/>
              </a:xfrm>
              <a:custGeom>
                <a:gdLst>
                  <a:gd name="T0" fmla="*/ 1 w 1"/>
                  <a:gd name="T1" fmla="*/ 0 h 5"/>
                  <a:gd name="T2" fmla="*/ 0 w 1"/>
                  <a:gd name="T3" fmla="*/ 5 h 5"/>
                  <a:gd name="T4" fmla="*/ 1 w 1"/>
                  <a:gd name="T5" fmla="*/ 0 h 5"/>
                </a:gdLst>
                <a:cxnLst>
                  <a:cxn ang="0">
                    <a:pos x="T0" y="T1"/>
                  </a:cxn>
                  <a:cxn ang="0">
                    <a:pos x="T2" y="T3"/>
                  </a:cxn>
                  <a:cxn ang="0">
                    <a:pos x="T4" y="T5"/>
                  </a:cxn>
                </a:cxnLst>
                <a:rect l="0" t="0" r="r" b="b"/>
                <a:pathLst>
                  <a:path w="1" h="5">
                    <a:moveTo>
                      <a:pt x="1" y="0"/>
                    </a:moveTo>
                    <a:cubicBezTo>
                      <a:pt x="0" y="1"/>
                      <a:pt x="0" y="3"/>
                      <a:pt x="0" y="5"/>
                    </a:cubicBezTo>
                    <a:cubicBezTo>
                      <a:pt x="0" y="3"/>
                      <a:pt x="0"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293"/>
              <p:cNvSpPr/>
              <p:nvPr/>
            </p:nvSpPr>
            <p:spPr bwMode="auto">
              <a:xfrm>
                <a:off x="3560" y="2996"/>
                <a:ext cx="9" cy="19"/>
              </a:xfrm>
              <a:custGeom>
                <a:gdLst>
                  <a:gd name="T0" fmla="*/ 0 w 4"/>
                  <a:gd name="T1" fmla="*/ 0 h 8"/>
                  <a:gd name="T2" fmla="*/ 2 w 4"/>
                  <a:gd name="T3" fmla="*/ 8 h 8"/>
                  <a:gd name="T4" fmla="*/ 0 w 4"/>
                  <a:gd name="T5" fmla="*/ 0 h 8"/>
                </a:gdLst>
                <a:cxnLst>
                  <a:cxn ang="0">
                    <a:pos x="T0" y="T1"/>
                  </a:cxn>
                  <a:cxn ang="0">
                    <a:pos x="T2" y="T3"/>
                  </a:cxn>
                  <a:cxn ang="0">
                    <a:pos x="T4" y="T5"/>
                  </a:cxn>
                </a:cxnLst>
                <a:rect l="0" t="0" r="r" b="b"/>
                <a:pathLst>
                  <a:path w="4" h="8">
                    <a:moveTo>
                      <a:pt x="0" y="0"/>
                    </a:moveTo>
                    <a:cubicBezTo>
                      <a:pt x="1" y="3"/>
                      <a:pt x="1" y="5"/>
                      <a:pt x="2" y="8"/>
                    </a:cubicBezTo>
                    <a:cubicBezTo>
                      <a:pt x="4" y="5"/>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294"/>
              <p:cNvSpPr/>
              <p:nvPr/>
            </p:nvSpPr>
            <p:spPr bwMode="auto">
              <a:xfrm>
                <a:off x="3536" y="3003"/>
                <a:ext cx="10" cy="26"/>
              </a:xfrm>
              <a:custGeom>
                <a:gdLst>
                  <a:gd name="T0" fmla="*/ 2 w 4"/>
                  <a:gd name="T1" fmla="*/ 0 h 11"/>
                  <a:gd name="T2" fmla="*/ 0 w 4"/>
                  <a:gd name="T3" fmla="*/ 11 h 11"/>
                  <a:gd name="T4" fmla="*/ 3 w 4"/>
                  <a:gd name="T5" fmla="*/ 5 h 11"/>
                  <a:gd name="T6" fmla="*/ 2 w 4"/>
                  <a:gd name="T7" fmla="*/ 0 h 11"/>
                </a:gdLst>
                <a:cxnLst>
                  <a:cxn ang="0">
                    <a:pos x="T0" y="T1"/>
                  </a:cxn>
                  <a:cxn ang="0">
                    <a:pos x="T2" y="T3"/>
                  </a:cxn>
                  <a:cxn ang="0">
                    <a:pos x="T4" y="T5"/>
                  </a:cxn>
                  <a:cxn ang="0">
                    <a:pos x="T6" y="T7"/>
                  </a:cxn>
                </a:cxnLst>
                <a:rect l="0" t="0" r="r" b="b"/>
                <a:pathLst>
                  <a:path w="4" h="11">
                    <a:moveTo>
                      <a:pt x="2" y="0"/>
                    </a:moveTo>
                    <a:cubicBezTo>
                      <a:pt x="1" y="4"/>
                      <a:pt x="1" y="8"/>
                      <a:pt x="0" y="11"/>
                    </a:cubicBezTo>
                    <a:cubicBezTo>
                      <a:pt x="2" y="8"/>
                      <a:pt x="4" y="9"/>
                      <a:pt x="3" y="5"/>
                    </a:cubicBezTo>
                    <a:cubicBezTo>
                      <a:pt x="3"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Freeform 295"/>
              <p:cNvSpPr/>
              <p:nvPr/>
            </p:nvSpPr>
            <p:spPr bwMode="auto">
              <a:xfrm>
                <a:off x="1176" y="2774"/>
                <a:ext cx="9" cy="28"/>
              </a:xfrm>
              <a:custGeom>
                <a:gdLst>
                  <a:gd name="T0" fmla="*/ 2 w 4"/>
                  <a:gd name="T1" fmla="*/ 0 h 12"/>
                  <a:gd name="T2" fmla="*/ 1 w 4"/>
                  <a:gd name="T3" fmla="*/ 0 h 12"/>
                  <a:gd name="T4" fmla="*/ 3 w 4"/>
                  <a:gd name="T5" fmla="*/ 12 h 12"/>
                  <a:gd name="T6" fmla="*/ 4 w 4"/>
                  <a:gd name="T7" fmla="*/ 5 h 12"/>
                  <a:gd name="T8" fmla="*/ 4 w 4"/>
                  <a:gd name="T9" fmla="*/ 1 h 12"/>
                  <a:gd name="T10" fmla="*/ 2 w 4"/>
                  <a:gd name="T11" fmla="*/ 0 h 12"/>
                </a:gdLst>
                <a:cxnLst>
                  <a:cxn ang="0">
                    <a:pos x="T0" y="T1"/>
                  </a:cxn>
                  <a:cxn ang="0">
                    <a:pos x="T2" y="T3"/>
                  </a:cxn>
                  <a:cxn ang="0">
                    <a:pos x="T4" y="T5"/>
                  </a:cxn>
                  <a:cxn ang="0">
                    <a:pos x="T6" y="T7"/>
                  </a:cxn>
                  <a:cxn ang="0">
                    <a:pos x="T8" y="T9"/>
                  </a:cxn>
                  <a:cxn ang="0">
                    <a:pos x="T10" y="T11"/>
                  </a:cxn>
                </a:cxnLst>
                <a:rect l="0" t="0" r="r" b="b"/>
                <a:pathLst>
                  <a:path w="4" h="12">
                    <a:moveTo>
                      <a:pt x="2" y="0"/>
                    </a:moveTo>
                    <a:cubicBezTo>
                      <a:pt x="1" y="0"/>
                      <a:pt x="1" y="0"/>
                      <a:pt x="1" y="0"/>
                    </a:cubicBezTo>
                    <a:cubicBezTo>
                      <a:pt x="0" y="1"/>
                      <a:pt x="2" y="10"/>
                      <a:pt x="3" y="12"/>
                    </a:cubicBezTo>
                    <a:cubicBezTo>
                      <a:pt x="4" y="10"/>
                      <a:pt x="4" y="7"/>
                      <a:pt x="4" y="5"/>
                    </a:cubicBezTo>
                    <a:cubicBezTo>
                      <a:pt x="4" y="3"/>
                      <a:pt x="2" y="1"/>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296"/>
              <p:cNvSpPr/>
              <p:nvPr/>
            </p:nvSpPr>
            <p:spPr bwMode="auto">
              <a:xfrm>
                <a:off x="6164" y="5008"/>
                <a:ext cx="16" cy="12"/>
              </a:xfrm>
              <a:custGeom>
                <a:gdLst>
                  <a:gd name="T0" fmla="*/ 7 w 7"/>
                  <a:gd name="T1" fmla="*/ 0 h 5"/>
                  <a:gd name="T2" fmla="*/ 0 w 7"/>
                  <a:gd name="T3" fmla="*/ 5 h 5"/>
                  <a:gd name="T4" fmla="*/ 7 w 7"/>
                  <a:gd name="T5" fmla="*/ 0 h 5"/>
                </a:gdLst>
                <a:cxnLst>
                  <a:cxn ang="0">
                    <a:pos x="T0" y="T1"/>
                  </a:cxn>
                  <a:cxn ang="0">
                    <a:pos x="T2" y="T3"/>
                  </a:cxn>
                  <a:cxn ang="0">
                    <a:pos x="T4" y="T5"/>
                  </a:cxn>
                </a:cxnLst>
                <a:rect l="0" t="0" r="r" b="b"/>
                <a:pathLst>
                  <a:path w="7" h="5">
                    <a:moveTo>
                      <a:pt x="7" y="0"/>
                    </a:moveTo>
                    <a:cubicBezTo>
                      <a:pt x="5" y="1"/>
                      <a:pt x="2" y="3"/>
                      <a:pt x="0" y="5"/>
                    </a:cubicBezTo>
                    <a:cubicBezTo>
                      <a:pt x="2" y="5"/>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Freeform 297"/>
              <p:cNvSpPr/>
              <p:nvPr/>
            </p:nvSpPr>
            <p:spPr bwMode="auto">
              <a:xfrm>
                <a:off x="6511" y="4925"/>
                <a:ext cx="3" cy="7"/>
              </a:xfrm>
              <a:custGeom>
                <a:gdLst>
                  <a:gd name="T0" fmla="*/ 0 w 1"/>
                  <a:gd name="T1" fmla="*/ 0 h 3"/>
                  <a:gd name="T2" fmla="*/ 0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0" y="3"/>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298"/>
              <p:cNvSpPr/>
              <p:nvPr/>
            </p:nvSpPr>
            <p:spPr bwMode="auto">
              <a:xfrm>
                <a:off x="5949" y="4977"/>
                <a:ext cx="9" cy="24"/>
              </a:xfrm>
              <a:custGeom>
                <a:gdLst>
                  <a:gd name="T0" fmla="*/ 3 w 4"/>
                  <a:gd name="T1" fmla="*/ 0 h 10"/>
                  <a:gd name="T2" fmla="*/ 0 w 4"/>
                  <a:gd name="T3" fmla="*/ 2 h 10"/>
                  <a:gd name="T4" fmla="*/ 3 w 4"/>
                  <a:gd name="T5" fmla="*/ 10 h 10"/>
                  <a:gd name="T6" fmla="*/ 3 w 4"/>
                  <a:gd name="T7" fmla="*/ 4 h 10"/>
                  <a:gd name="T8" fmla="*/ 3 w 4"/>
                  <a:gd name="T9" fmla="*/ 0 h 10"/>
                </a:gdLst>
                <a:cxnLst>
                  <a:cxn ang="0">
                    <a:pos x="T0" y="T1"/>
                  </a:cxn>
                  <a:cxn ang="0">
                    <a:pos x="T2" y="T3"/>
                  </a:cxn>
                  <a:cxn ang="0">
                    <a:pos x="T4" y="T5"/>
                  </a:cxn>
                  <a:cxn ang="0">
                    <a:pos x="T6" y="T7"/>
                  </a:cxn>
                  <a:cxn ang="0">
                    <a:pos x="T8" y="T9"/>
                  </a:cxn>
                </a:cxnLst>
                <a:rect l="0" t="0" r="r" b="b"/>
                <a:pathLst>
                  <a:path w="4" h="10">
                    <a:moveTo>
                      <a:pt x="3" y="0"/>
                    </a:moveTo>
                    <a:cubicBezTo>
                      <a:pt x="2" y="1"/>
                      <a:pt x="1" y="1"/>
                      <a:pt x="0" y="2"/>
                    </a:cubicBezTo>
                    <a:cubicBezTo>
                      <a:pt x="0" y="4"/>
                      <a:pt x="2" y="7"/>
                      <a:pt x="3" y="10"/>
                    </a:cubicBezTo>
                    <a:cubicBezTo>
                      <a:pt x="4" y="7"/>
                      <a:pt x="3" y="5"/>
                      <a:pt x="3" y="4"/>
                    </a:cubicBezTo>
                    <a:cubicBezTo>
                      <a:pt x="3"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Freeform 299"/>
              <p:cNvSpPr/>
              <p:nvPr/>
            </p:nvSpPr>
            <p:spPr bwMode="auto">
              <a:xfrm>
                <a:off x="5826" y="4991"/>
                <a:ext cx="68" cy="43"/>
              </a:xfrm>
              <a:custGeom>
                <a:gdLst>
                  <a:gd name="T0" fmla="*/ 22 w 29"/>
                  <a:gd name="T1" fmla="*/ 0 h 18"/>
                  <a:gd name="T2" fmla="*/ 21 w 29"/>
                  <a:gd name="T3" fmla="*/ 5 h 18"/>
                  <a:gd name="T4" fmla="*/ 18 w 29"/>
                  <a:gd name="T5" fmla="*/ 2 h 18"/>
                  <a:gd name="T6" fmla="*/ 17 w 29"/>
                  <a:gd name="T7" fmla="*/ 2 h 18"/>
                  <a:gd name="T8" fmla="*/ 8 w 29"/>
                  <a:gd name="T9" fmla="*/ 5 h 18"/>
                  <a:gd name="T10" fmla="*/ 7 w 29"/>
                  <a:gd name="T11" fmla="*/ 5 h 18"/>
                  <a:gd name="T12" fmla="*/ 0 w 29"/>
                  <a:gd name="T13" fmla="*/ 0 h 18"/>
                  <a:gd name="T14" fmla="*/ 4 w 29"/>
                  <a:gd name="T15" fmla="*/ 12 h 18"/>
                  <a:gd name="T16" fmla="*/ 8 w 29"/>
                  <a:gd name="T17" fmla="*/ 15 h 18"/>
                  <a:gd name="T18" fmla="*/ 14 w 29"/>
                  <a:gd name="T19" fmla="*/ 18 h 18"/>
                  <a:gd name="T20" fmla="*/ 14 w 29"/>
                  <a:gd name="T21" fmla="*/ 18 h 18"/>
                  <a:gd name="T22" fmla="*/ 25 w 29"/>
                  <a:gd name="T23" fmla="*/ 11 h 18"/>
                  <a:gd name="T24" fmla="*/ 29 w 29"/>
                  <a:gd name="T25" fmla="*/ 6 h 18"/>
                  <a:gd name="T26" fmla="*/ 27 w 29"/>
                  <a:gd name="T27" fmla="*/ 3 h 18"/>
                  <a:gd name="T28" fmla="*/ 22 w 29"/>
                  <a:gd name="T29"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8">
                    <a:moveTo>
                      <a:pt x="22" y="0"/>
                    </a:moveTo>
                    <a:cubicBezTo>
                      <a:pt x="21" y="0"/>
                      <a:pt x="19" y="1"/>
                      <a:pt x="21" y="5"/>
                    </a:cubicBezTo>
                    <a:cubicBezTo>
                      <a:pt x="20" y="3"/>
                      <a:pt x="19" y="2"/>
                      <a:pt x="18" y="2"/>
                    </a:cubicBezTo>
                    <a:cubicBezTo>
                      <a:pt x="18" y="2"/>
                      <a:pt x="18" y="2"/>
                      <a:pt x="17" y="2"/>
                    </a:cubicBezTo>
                    <a:cubicBezTo>
                      <a:pt x="14" y="3"/>
                      <a:pt x="11" y="4"/>
                      <a:pt x="8" y="5"/>
                    </a:cubicBezTo>
                    <a:cubicBezTo>
                      <a:pt x="8" y="5"/>
                      <a:pt x="7" y="5"/>
                      <a:pt x="7" y="5"/>
                    </a:cubicBezTo>
                    <a:cubicBezTo>
                      <a:pt x="4" y="5"/>
                      <a:pt x="3" y="2"/>
                      <a:pt x="0" y="0"/>
                    </a:cubicBezTo>
                    <a:cubicBezTo>
                      <a:pt x="1" y="4"/>
                      <a:pt x="1" y="9"/>
                      <a:pt x="4" y="12"/>
                    </a:cubicBezTo>
                    <a:cubicBezTo>
                      <a:pt x="6" y="13"/>
                      <a:pt x="7" y="14"/>
                      <a:pt x="8" y="15"/>
                    </a:cubicBezTo>
                    <a:cubicBezTo>
                      <a:pt x="9" y="16"/>
                      <a:pt x="13" y="18"/>
                      <a:pt x="14" y="18"/>
                    </a:cubicBezTo>
                    <a:cubicBezTo>
                      <a:pt x="14" y="18"/>
                      <a:pt x="14" y="18"/>
                      <a:pt x="14" y="18"/>
                    </a:cubicBezTo>
                    <a:cubicBezTo>
                      <a:pt x="17" y="18"/>
                      <a:pt x="22" y="12"/>
                      <a:pt x="25" y="11"/>
                    </a:cubicBezTo>
                    <a:cubicBezTo>
                      <a:pt x="26" y="10"/>
                      <a:pt x="29" y="8"/>
                      <a:pt x="29" y="6"/>
                    </a:cubicBezTo>
                    <a:cubicBezTo>
                      <a:pt x="29" y="4"/>
                      <a:pt x="27" y="4"/>
                      <a:pt x="27" y="3"/>
                    </a:cubicBezTo>
                    <a:cubicBezTo>
                      <a:pt x="26" y="1"/>
                      <a:pt x="24"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Freeform 300"/>
              <p:cNvSpPr/>
              <p:nvPr/>
            </p:nvSpPr>
            <p:spPr bwMode="auto">
              <a:xfrm>
                <a:off x="6514" y="4956"/>
                <a:ext cx="9" cy="9"/>
              </a:xfrm>
              <a:custGeom>
                <a:gdLst>
                  <a:gd name="T0" fmla="*/ 0 w 4"/>
                  <a:gd name="T1" fmla="*/ 0 h 4"/>
                  <a:gd name="T2" fmla="*/ 0 w 4"/>
                  <a:gd name="T3" fmla="*/ 4 h 4"/>
                  <a:gd name="T4" fmla="*/ 0 w 4"/>
                  <a:gd name="T5" fmla="*/ 0 h 4"/>
                </a:gdLst>
                <a:cxnLst>
                  <a:cxn ang="0">
                    <a:pos x="T0" y="T1"/>
                  </a:cxn>
                  <a:cxn ang="0">
                    <a:pos x="T2" y="T3"/>
                  </a:cxn>
                  <a:cxn ang="0">
                    <a:pos x="T4" y="T5"/>
                  </a:cxn>
                </a:cxnLst>
                <a:rect l="0" t="0" r="r" b="b"/>
                <a:pathLst>
                  <a:path w="4" h="4">
                    <a:moveTo>
                      <a:pt x="0" y="0"/>
                    </a:moveTo>
                    <a:cubicBezTo>
                      <a:pt x="0" y="1"/>
                      <a:pt x="0" y="3"/>
                      <a:pt x="0" y="4"/>
                    </a:cubicBezTo>
                    <a:cubicBezTo>
                      <a:pt x="4"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Freeform 301"/>
              <p:cNvSpPr/>
              <p:nvPr/>
            </p:nvSpPr>
            <p:spPr bwMode="auto">
              <a:xfrm>
                <a:off x="6516" y="4930"/>
                <a:ext cx="7" cy="7"/>
              </a:xfrm>
              <a:custGeom>
                <a:gdLst>
                  <a:gd name="T0" fmla="*/ 1 w 3"/>
                  <a:gd name="T1" fmla="*/ 0 h 3"/>
                  <a:gd name="T2" fmla="*/ 1 w 3"/>
                  <a:gd name="T3" fmla="*/ 3 h 3"/>
                  <a:gd name="T4" fmla="*/ 1 w 3"/>
                  <a:gd name="T5" fmla="*/ 0 h 3"/>
                </a:gdLst>
                <a:cxnLst>
                  <a:cxn ang="0">
                    <a:pos x="T0" y="T1"/>
                  </a:cxn>
                  <a:cxn ang="0">
                    <a:pos x="T2" y="T3"/>
                  </a:cxn>
                  <a:cxn ang="0">
                    <a:pos x="T4" y="T5"/>
                  </a:cxn>
                </a:cxnLst>
                <a:rect l="0" t="0" r="r" b="b"/>
                <a:pathLst>
                  <a:path w="3" h="3">
                    <a:moveTo>
                      <a:pt x="1" y="0"/>
                    </a:moveTo>
                    <a:cubicBezTo>
                      <a:pt x="1" y="0"/>
                      <a:pt x="0" y="1"/>
                      <a:pt x="1"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302"/>
              <p:cNvSpPr/>
              <p:nvPr/>
            </p:nvSpPr>
            <p:spPr bwMode="auto">
              <a:xfrm>
                <a:off x="6164" y="5039"/>
                <a:ext cx="7" cy="4"/>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0"/>
                      <a:pt x="1" y="1"/>
                      <a:pt x="0" y="2"/>
                    </a:cubicBezTo>
                    <a:cubicBezTo>
                      <a:pt x="1"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Freeform 303"/>
              <p:cNvSpPr/>
              <p:nvPr/>
            </p:nvSpPr>
            <p:spPr bwMode="auto">
              <a:xfrm>
                <a:off x="6183" y="4982"/>
                <a:ext cx="16" cy="24"/>
              </a:xfrm>
              <a:custGeom>
                <a:gdLst>
                  <a:gd name="T0" fmla="*/ 7 w 7"/>
                  <a:gd name="T1" fmla="*/ 0 h 10"/>
                  <a:gd name="T2" fmla="*/ 0 w 7"/>
                  <a:gd name="T3" fmla="*/ 10 h 10"/>
                  <a:gd name="T4" fmla="*/ 7 w 7"/>
                  <a:gd name="T5" fmla="*/ 0 h 10"/>
                </a:gdLst>
                <a:cxnLst>
                  <a:cxn ang="0">
                    <a:pos x="T0" y="T1"/>
                  </a:cxn>
                  <a:cxn ang="0">
                    <a:pos x="T2" y="T3"/>
                  </a:cxn>
                  <a:cxn ang="0">
                    <a:pos x="T4" y="T5"/>
                  </a:cxn>
                </a:cxnLst>
                <a:rect l="0" t="0" r="r" b="b"/>
                <a:pathLst>
                  <a:path w="7" h="10">
                    <a:moveTo>
                      <a:pt x="7" y="0"/>
                    </a:moveTo>
                    <a:cubicBezTo>
                      <a:pt x="4" y="3"/>
                      <a:pt x="2" y="7"/>
                      <a:pt x="0" y="10"/>
                    </a:cubicBezTo>
                    <a:cubicBezTo>
                      <a:pt x="4" y="8"/>
                      <a:pt x="5"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304"/>
              <p:cNvSpPr/>
              <p:nvPr/>
            </p:nvSpPr>
            <p:spPr bwMode="auto">
              <a:xfrm>
                <a:off x="5802" y="4998"/>
                <a:ext cx="38" cy="31"/>
              </a:xfrm>
              <a:custGeom>
                <a:gdLst>
                  <a:gd name="T0" fmla="*/ 8 w 16"/>
                  <a:gd name="T1" fmla="*/ 0 h 13"/>
                  <a:gd name="T2" fmla="*/ 5 w 16"/>
                  <a:gd name="T3" fmla="*/ 3 h 13"/>
                  <a:gd name="T4" fmla="*/ 5 w 16"/>
                  <a:gd name="T5" fmla="*/ 8 h 13"/>
                  <a:gd name="T6" fmla="*/ 4 w 16"/>
                  <a:gd name="T7" fmla="*/ 9 h 13"/>
                  <a:gd name="T8" fmla="*/ 4 w 16"/>
                  <a:gd name="T9" fmla="*/ 9 h 13"/>
                  <a:gd name="T10" fmla="*/ 3 w 16"/>
                  <a:gd name="T11" fmla="*/ 9 h 13"/>
                  <a:gd name="T12" fmla="*/ 3 w 16"/>
                  <a:gd name="T13" fmla="*/ 9 h 13"/>
                  <a:gd name="T14" fmla="*/ 2 w 16"/>
                  <a:gd name="T15" fmla="*/ 11 h 13"/>
                  <a:gd name="T16" fmla="*/ 3 w 16"/>
                  <a:gd name="T17" fmla="*/ 12 h 13"/>
                  <a:gd name="T18" fmla="*/ 13 w 16"/>
                  <a:gd name="T19" fmla="*/ 13 h 13"/>
                  <a:gd name="T20" fmla="*/ 13 w 16"/>
                  <a:gd name="T21" fmla="*/ 13 h 13"/>
                  <a:gd name="T22" fmla="*/ 16 w 16"/>
                  <a:gd name="T23" fmla="*/ 11 h 13"/>
                  <a:gd name="T24" fmla="*/ 12 w 16"/>
                  <a:gd name="T25" fmla="*/ 9 h 13"/>
                  <a:gd name="T26" fmla="*/ 12 w 16"/>
                  <a:gd name="T27" fmla="*/ 9 h 13"/>
                  <a:gd name="T28" fmla="*/ 10 w 16"/>
                  <a:gd name="T29" fmla="*/ 4 h 13"/>
                  <a:gd name="T30" fmla="*/ 9 w 16"/>
                  <a:gd name="T31" fmla="*/ 1 h 13"/>
                  <a:gd name="T32" fmla="*/ 8 w 16"/>
                  <a:gd name="T33"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3">
                    <a:moveTo>
                      <a:pt x="8" y="0"/>
                    </a:moveTo>
                    <a:cubicBezTo>
                      <a:pt x="7" y="0"/>
                      <a:pt x="5" y="2"/>
                      <a:pt x="5" y="3"/>
                    </a:cubicBezTo>
                    <a:cubicBezTo>
                      <a:pt x="4" y="5"/>
                      <a:pt x="6" y="7"/>
                      <a:pt x="5" y="8"/>
                    </a:cubicBezTo>
                    <a:cubicBezTo>
                      <a:pt x="5" y="9"/>
                      <a:pt x="5" y="9"/>
                      <a:pt x="4" y="9"/>
                    </a:cubicBezTo>
                    <a:cubicBezTo>
                      <a:pt x="4" y="9"/>
                      <a:pt x="4" y="9"/>
                      <a:pt x="4" y="9"/>
                    </a:cubicBezTo>
                    <a:cubicBezTo>
                      <a:pt x="4" y="9"/>
                      <a:pt x="3" y="9"/>
                      <a:pt x="3" y="9"/>
                    </a:cubicBezTo>
                    <a:cubicBezTo>
                      <a:pt x="3" y="9"/>
                      <a:pt x="3" y="9"/>
                      <a:pt x="3" y="9"/>
                    </a:cubicBezTo>
                    <a:cubicBezTo>
                      <a:pt x="2" y="11"/>
                      <a:pt x="2" y="11"/>
                      <a:pt x="2" y="11"/>
                    </a:cubicBezTo>
                    <a:cubicBezTo>
                      <a:pt x="2" y="11"/>
                      <a:pt x="0" y="11"/>
                      <a:pt x="3" y="12"/>
                    </a:cubicBezTo>
                    <a:cubicBezTo>
                      <a:pt x="6" y="12"/>
                      <a:pt x="10" y="13"/>
                      <a:pt x="13" y="13"/>
                    </a:cubicBezTo>
                    <a:cubicBezTo>
                      <a:pt x="13" y="13"/>
                      <a:pt x="13" y="13"/>
                      <a:pt x="13" y="13"/>
                    </a:cubicBezTo>
                    <a:cubicBezTo>
                      <a:pt x="16" y="13"/>
                      <a:pt x="16" y="12"/>
                      <a:pt x="16" y="11"/>
                    </a:cubicBezTo>
                    <a:cubicBezTo>
                      <a:pt x="15" y="10"/>
                      <a:pt x="14" y="9"/>
                      <a:pt x="12" y="9"/>
                    </a:cubicBezTo>
                    <a:cubicBezTo>
                      <a:pt x="12" y="9"/>
                      <a:pt x="12" y="9"/>
                      <a:pt x="12" y="9"/>
                    </a:cubicBezTo>
                    <a:cubicBezTo>
                      <a:pt x="13" y="7"/>
                      <a:pt x="11" y="5"/>
                      <a:pt x="10" y="4"/>
                    </a:cubicBezTo>
                    <a:cubicBezTo>
                      <a:pt x="10" y="3"/>
                      <a:pt x="10" y="2"/>
                      <a:pt x="9" y="1"/>
                    </a:cubicBezTo>
                    <a:cubicBezTo>
                      <a:pt x="9"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Freeform 305"/>
              <p:cNvSpPr/>
              <p:nvPr/>
            </p:nvSpPr>
            <p:spPr bwMode="auto">
              <a:xfrm>
                <a:off x="1457" y="2729"/>
                <a:ext cx="56" cy="26"/>
              </a:xfrm>
              <a:custGeom>
                <a:gdLst>
                  <a:gd name="T0" fmla="*/ 20 w 24"/>
                  <a:gd name="T1" fmla="*/ 0 h 11"/>
                  <a:gd name="T2" fmla="*/ 17 w 24"/>
                  <a:gd name="T3" fmla="*/ 0 h 11"/>
                  <a:gd name="T4" fmla="*/ 13 w 24"/>
                  <a:gd name="T5" fmla="*/ 0 h 11"/>
                  <a:gd name="T6" fmla="*/ 12 w 24"/>
                  <a:gd name="T7" fmla="*/ 0 h 11"/>
                  <a:gd name="T8" fmla="*/ 9 w 24"/>
                  <a:gd name="T9" fmla="*/ 5 h 11"/>
                  <a:gd name="T10" fmla="*/ 7 w 24"/>
                  <a:gd name="T11" fmla="*/ 6 h 11"/>
                  <a:gd name="T12" fmla="*/ 0 w 24"/>
                  <a:gd name="T13" fmla="*/ 11 h 11"/>
                  <a:gd name="T14" fmla="*/ 2 w 24"/>
                  <a:gd name="T15" fmla="*/ 10 h 11"/>
                  <a:gd name="T16" fmla="*/ 14 w 24"/>
                  <a:gd name="T17" fmla="*/ 6 h 11"/>
                  <a:gd name="T18" fmla="*/ 15 w 24"/>
                  <a:gd name="T19" fmla="*/ 6 h 11"/>
                  <a:gd name="T20" fmla="*/ 16 w 24"/>
                  <a:gd name="T21" fmla="*/ 6 h 11"/>
                  <a:gd name="T22" fmla="*/ 16 w 24"/>
                  <a:gd name="T23" fmla="*/ 6 h 11"/>
                  <a:gd name="T24" fmla="*/ 17 w 24"/>
                  <a:gd name="T25" fmla="*/ 6 h 11"/>
                  <a:gd name="T26" fmla="*/ 20 w 24"/>
                  <a:gd name="T27" fmla="*/ 4 h 11"/>
                  <a:gd name="T28" fmla="*/ 24 w 24"/>
                  <a:gd name="T29" fmla="*/ 0 h 11"/>
                  <a:gd name="T30" fmla="*/ 22 w 24"/>
                  <a:gd name="T31" fmla="*/ 0 h 11"/>
                  <a:gd name="T32" fmla="*/ 20 w 24"/>
                  <a:gd name="T3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1">
                    <a:moveTo>
                      <a:pt x="20" y="0"/>
                    </a:moveTo>
                    <a:cubicBezTo>
                      <a:pt x="19" y="0"/>
                      <a:pt x="18" y="0"/>
                      <a:pt x="17" y="0"/>
                    </a:cubicBezTo>
                    <a:cubicBezTo>
                      <a:pt x="17" y="0"/>
                      <a:pt x="14" y="0"/>
                      <a:pt x="13" y="0"/>
                    </a:cubicBezTo>
                    <a:cubicBezTo>
                      <a:pt x="12" y="0"/>
                      <a:pt x="12" y="0"/>
                      <a:pt x="12" y="0"/>
                    </a:cubicBezTo>
                    <a:cubicBezTo>
                      <a:pt x="10" y="2"/>
                      <a:pt x="13" y="3"/>
                      <a:pt x="9" y="5"/>
                    </a:cubicBezTo>
                    <a:cubicBezTo>
                      <a:pt x="8" y="5"/>
                      <a:pt x="7" y="6"/>
                      <a:pt x="7" y="6"/>
                    </a:cubicBezTo>
                    <a:cubicBezTo>
                      <a:pt x="4" y="7"/>
                      <a:pt x="1" y="8"/>
                      <a:pt x="0" y="11"/>
                    </a:cubicBezTo>
                    <a:cubicBezTo>
                      <a:pt x="1" y="11"/>
                      <a:pt x="2" y="10"/>
                      <a:pt x="2" y="10"/>
                    </a:cubicBezTo>
                    <a:cubicBezTo>
                      <a:pt x="6" y="9"/>
                      <a:pt x="11" y="6"/>
                      <a:pt x="14" y="6"/>
                    </a:cubicBezTo>
                    <a:cubicBezTo>
                      <a:pt x="15" y="6"/>
                      <a:pt x="15" y="6"/>
                      <a:pt x="15" y="6"/>
                    </a:cubicBezTo>
                    <a:cubicBezTo>
                      <a:pt x="15" y="6"/>
                      <a:pt x="15" y="6"/>
                      <a:pt x="16" y="6"/>
                    </a:cubicBezTo>
                    <a:cubicBezTo>
                      <a:pt x="16" y="6"/>
                      <a:pt x="16" y="6"/>
                      <a:pt x="16" y="6"/>
                    </a:cubicBezTo>
                    <a:cubicBezTo>
                      <a:pt x="17" y="6"/>
                      <a:pt x="17" y="6"/>
                      <a:pt x="17" y="6"/>
                    </a:cubicBezTo>
                    <a:cubicBezTo>
                      <a:pt x="18" y="6"/>
                      <a:pt x="19" y="5"/>
                      <a:pt x="20" y="4"/>
                    </a:cubicBezTo>
                    <a:cubicBezTo>
                      <a:pt x="21" y="3"/>
                      <a:pt x="22" y="1"/>
                      <a:pt x="24" y="0"/>
                    </a:cubicBezTo>
                    <a:cubicBezTo>
                      <a:pt x="24" y="0"/>
                      <a:pt x="23" y="0"/>
                      <a:pt x="22" y="0"/>
                    </a:cubicBezTo>
                    <a:cubicBezTo>
                      <a:pt x="21" y="0"/>
                      <a:pt x="21"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306"/>
              <p:cNvSpPr/>
              <p:nvPr/>
            </p:nvSpPr>
            <p:spPr bwMode="auto">
              <a:xfrm>
                <a:off x="1360" y="2897"/>
                <a:ext cx="26" cy="7"/>
              </a:xfrm>
              <a:custGeom>
                <a:gdLst>
                  <a:gd name="T0" fmla="*/ 5 w 11"/>
                  <a:gd name="T1" fmla="*/ 0 h 3"/>
                  <a:gd name="T2" fmla="*/ 0 w 11"/>
                  <a:gd name="T3" fmla="*/ 2 h 3"/>
                  <a:gd name="T4" fmla="*/ 4 w 11"/>
                  <a:gd name="T5" fmla="*/ 3 h 3"/>
                  <a:gd name="T6" fmla="*/ 6 w 11"/>
                  <a:gd name="T7" fmla="*/ 0 h 3"/>
                  <a:gd name="T8" fmla="*/ 5 w 11"/>
                  <a:gd name="T9" fmla="*/ 0 h 3"/>
                </a:gdLst>
                <a:cxnLst>
                  <a:cxn ang="0">
                    <a:pos x="T0" y="T1"/>
                  </a:cxn>
                  <a:cxn ang="0">
                    <a:pos x="T2" y="T3"/>
                  </a:cxn>
                  <a:cxn ang="0">
                    <a:pos x="T4" y="T5"/>
                  </a:cxn>
                  <a:cxn ang="0">
                    <a:pos x="T6" y="T7"/>
                  </a:cxn>
                  <a:cxn ang="0">
                    <a:pos x="T8" y="T9"/>
                  </a:cxn>
                </a:cxnLst>
                <a:rect l="0" t="0" r="r" b="b"/>
                <a:pathLst>
                  <a:path w="11" h="3">
                    <a:moveTo>
                      <a:pt x="5" y="0"/>
                    </a:moveTo>
                    <a:cubicBezTo>
                      <a:pt x="3" y="0"/>
                      <a:pt x="2" y="1"/>
                      <a:pt x="0" y="2"/>
                    </a:cubicBezTo>
                    <a:cubicBezTo>
                      <a:pt x="1" y="3"/>
                      <a:pt x="3" y="3"/>
                      <a:pt x="4" y="3"/>
                    </a:cubicBezTo>
                    <a:cubicBezTo>
                      <a:pt x="6" y="3"/>
                      <a:pt x="11" y="2"/>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Freeform 307"/>
              <p:cNvSpPr/>
              <p:nvPr/>
            </p:nvSpPr>
            <p:spPr bwMode="auto">
              <a:xfrm>
                <a:off x="6573" y="4828"/>
                <a:ext cx="23" cy="19"/>
              </a:xfrm>
              <a:custGeom>
                <a:gdLst>
                  <a:gd name="T0" fmla="*/ 0 w 10"/>
                  <a:gd name="T1" fmla="*/ 0 h 8"/>
                  <a:gd name="T2" fmla="*/ 10 w 10"/>
                  <a:gd name="T3" fmla="*/ 8 h 8"/>
                  <a:gd name="T4" fmla="*/ 0 w 10"/>
                  <a:gd name="T5" fmla="*/ 0 h 8"/>
                </a:gdLst>
                <a:cxnLst>
                  <a:cxn ang="0">
                    <a:pos x="T0" y="T1"/>
                  </a:cxn>
                  <a:cxn ang="0">
                    <a:pos x="T2" y="T3"/>
                  </a:cxn>
                  <a:cxn ang="0">
                    <a:pos x="T4" y="T5"/>
                  </a:cxn>
                </a:cxnLst>
                <a:rect l="0" t="0" r="r" b="b"/>
                <a:pathLst>
                  <a:path w="10" h="8">
                    <a:moveTo>
                      <a:pt x="0" y="0"/>
                    </a:moveTo>
                    <a:cubicBezTo>
                      <a:pt x="3" y="3"/>
                      <a:pt x="7" y="5"/>
                      <a:pt x="10" y="8"/>
                    </a:cubicBezTo>
                    <a:cubicBezTo>
                      <a:pt x="10" y="3"/>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Freeform 308"/>
              <p:cNvSpPr>
                <a:spLocks noEditPoints="1"/>
              </p:cNvSpPr>
              <p:nvPr/>
            </p:nvSpPr>
            <p:spPr bwMode="auto">
              <a:xfrm>
                <a:off x="7022" y="4828"/>
                <a:ext cx="11" cy="24"/>
              </a:xfrm>
              <a:custGeom>
                <a:gdLst>
                  <a:gd name="T0" fmla="*/ 5 w 5"/>
                  <a:gd name="T1" fmla="*/ 9 h 10"/>
                  <a:gd name="T2" fmla="*/ 5 w 5"/>
                  <a:gd name="T3" fmla="*/ 10 h 10"/>
                  <a:gd name="T4" fmla="*/ 5 w 5"/>
                  <a:gd name="T5" fmla="*/ 9 h 10"/>
                  <a:gd name="T6" fmla="*/ 5 w 5"/>
                  <a:gd name="T7" fmla="*/ 0 h 10"/>
                  <a:gd name="T8" fmla="*/ 5 w 5"/>
                  <a:gd name="T9" fmla="*/ 9 h 10"/>
                  <a:gd name="T10" fmla="*/ 5 w 5"/>
                  <a:gd name="T11" fmla="*/ 4 h 10"/>
                  <a:gd name="T12" fmla="*/ 5 w 5"/>
                  <a:gd name="T13" fmla="*/ 0 h 10"/>
                </a:gdLst>
                <a:cxnLst>
                  <a:cxn ang="0">
                    <a:pos x="T0" y="T1"/>
                  </a:cxn>
                  <a:cxn ang="0">
                    <a:pos x="T2" y="T3"/>
                  </a:cxn>
                  <a:cxn ang="0">
                    <a:pos x="T4" y="T5"/>
                  </a:cxn>
                  <a:cxn ang="0">
                    <a:pos x="T6" y="T7"/>
                  </a:cxn>
                  <a:cxn ang="0">
                    <a:pos x="T8" y="T9"/>
                  </a:cxn>
                  <a:cxn ang="0">
                    <a:pos x="T10" y="T11"/>
                  </a:cxn>
                  <a:cxn ang="0">
                    <a:pos x="T12" y="T13"/>
                  </a:cxn>
                </a:cxnLst>
                <a:rect l="0" t="0" r="r" b="b"/>
                <a:pathLst>
                  <a:path w="5" h="10">
                    <a:moveTo>
                      <a:pt x="5" y="9"/>
                    </a:moveTo>
                    <a:cubicBezTo>
                      <a:pt x="5" y="9"/>
                      <a:pt x="5" y="10"/>
                      <a:pt x="5" y="10"/>
                    </a:cubicBezTo>
                    <a:cubicBezTo>
                      <a:pt x="5" y="10"/>
                      <a:pt x="5" y="9"/>
                      <a:pt x="5" y="9"/>
                    </a:cubicBezTo>
                    <a:moveTo>
                      <a:pt x="5" y="0"/>
                    </a:moveTo>
                    <a:cubicBezTo>
                      <a:pt x="0" y="2"/>
                      <a:pt x="3" y="5"/>
                      <a:pt x="5" y="9"/>
                    </a:cubicBezTo>
                    <a:cubicBezTo>
                      <a:pt x="4" y="7"/>
                      <a:pt x="5" y="6"/>
                      <a:pt x="5" y="4"/>
                    </a:cubicBezTo>
                    <a:cubicBezTo>
                      <a:pt x="5" y="2"/>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Freeform 309"/>
              <p:cNvSpPr/>
              <p:nvPr/>
            </p:nvSpPr>
            <p:spPr bwMode="auto">
              <a:xfrm>
                <a:off x="7116" y="4958"/>
                <a:ext cx="19" cy="5"/>
              </a:xfrm>
              <a:custGeom>
                <a:gdLst>
                  <a:gd name="T0" fmla="*/ 0 w 8"/>
                  <a:gd name="T1" fmla="*/ 0 h 2"/>
                  <a:gd name="T2" fmla="*/ 5 w 8"/>
                  <a:gd name="T3" fmla="*/ 2 h 2"/>
                  <a:gd name="T4" fmla="*/ 8 w 8"/>
                  <a:gd name="T5" fmla="*/ 1 h 2"/>
                  <a:gd name="T6" fmla="*/ 0 w 8"/>
                  <a:gd name="T7" fmla="*/ 0 h 2"/>
                </a:gdLst>
                <a:cxnLst>
                  <a:cxn ang="0">
                    <a:pos x="T0" y="T1"/>
                  </a:cxn>
                  <a:cxn ang="0">
                    <a:pos x="T2" y="T3"/>
                  </a:cxn>
                  <a:cxn ang="0">
                    <a:pos x="T4" y="T5"/>
                  </a:cxn>
                  <a:cxn ang="0">
                    <a:pos x="T6" y="T7"/>
                  </a:cxn>
                </a:cxnLst>
                <a:rect l="0" t="0" r="r" b="b"/>
                <a:pathLst>
                  <a:path w="8" h="2">
                    <a:moveTo>
                      <a:pt x="0" y="0"/>
                    </a:moveTo>
                    <a:cubicBezTo>
                      <a:pt x="1" y="1"/>
                      <a:pt x="3" y="1"/>
                      <a:pt x="5" y="2"/>
                    </a:cubicBezTo>
                    <a:cubicBezTo>
                      <a:pt x="6" y="2"/>
                      <a:pt x="7" y="1"/>
                      <a:pt x="8" y="1"/>
                    </a:cubicBezTo>
                    <a:cubicBezTo>
                      <a:pt x="5"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310"/>
              <p:cNvSpPr/>
              <p:nvPr/>
            </p:nvSpPr>
            <p:spPr bwMode="auto">
              <a:xfrm>
                <a:off x="6972" y="4875"/>
                <a:ext cx="19" cy="17"/>
              </a:xfrm>
              <a:custGeom>
                <a:gdLst>
                  <a:gd name="T0" fmla="*/ 3 w 8"/>
                  <a:gd name="T1" fmla="*/ 0 h 7"/>
                  <a:gd name="T2" fmla="*/ 1 w 8"/>
                  <a:gd name="T3" fmla="*/ 1 h 7"/>
                  <a:gd name="T4" fmla="*/ 6 w 8"/>
                  <a:gd name="T5" fmla="*/ 7 h 7"/>
                  <a:gd name="T6" fmla="*/ 5 w 8"/>
                  <a:gd name="T7" fmla="*/ 0 h 7"/>
                  <a:gd name="T8" fmla="*/ 3 w 8"/>
                  <a:gd name="T9" fmla="*/ 0 h 7"/>
                </a:gdLst>
                <a:cxnLst>
                  <a:cxn ang="0">
                    <a:pos x="T0" y="T1"/>
                  </a:cxn>
                  <a:cxn ang="0">
                    <a:pos x="T2" y="T3"/>
                  </a:cxn>
                  <a:cxn ang="0">
                    <a:pos x="T4" y="T5"/>
                  </a:cxn>
                  <a:cxn ang="0">
                    <a:pos x="T6" y="T7"/>
                  </a:cxn>
                  <a:cxn ang="0">
                    <a:pos x="T8" y="T9"/>
                  </a:cxn>
                </a:cxnLst>
                <a:rect l="0" t="0" r="r" b="b"/>
                <a:pathLst>
                  <a:path w="8" h="7">
                    <a:moveTo>
                      <a:pt x="3" y="0"/>
                    </a:moveTo>
                    <a:cubicBezTo>
                      <a:pt x="3" y="0"/>
                      <a:pt x="2" y="0"/>
                      <a:pt x="1" y="1"/>
                    </a:cubicBezTo>
                    <a:cubicBezTo>
                      <a:pt x="0" y="4"/>
                      <a:pt x="4" y="6"/>
                      <a:pt x="6" y="7"/>
                    </a:cubicBezTo>
                    <a:cubicBezTo>
                      <a:pt x="7" y="5"/>
                      <a:pt x="8" y="2"/>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Freeform 311"/>
              <p:cNvSpPr/>
              <p:nvPr/>
            </p:nvSpPr>
            <p:spPr bwMode="auto">
              <a:xfrm>
                <a:off x="7154" y="4998"/>
                <a:ext cx="33" cy="19"/>
              </a:xfrm>
              <a:custGeom>
                <a:gdLst>
                  <a:gd name="T0" fmla="*/ 0 w 14"/>
                  <a:gd name="T1" fmla="*/ 0 h 8"/>
                  <a:gd name="T2" fmla="*/ 9 w 14"/>
                  <a:gd name="T3" fmla="*/ 8 h 8"/>
                  <a:gd name="T4" fmla="*/ 14 w 14"/>
                  <a:gd name="T5" fmla="*/ 7 h 8"/>
                  <a:gd name="T6" fmla="*/ 0 w 14"/>
                  <a:gd name="T7" fmla="*/ 0 h 8"/>
                </a:gdLst>
                <a:cxnLst>
                  <a:cxn ang="0">
                    <a:pos x="T0" y="T1"/>
                  </a:cxn>
                  <a:cxn ang="0">
                    <a:pos x="T2" y="T3"/>
                  </a:cxn>
                  <a:cxn ang="0">
                    <a:pos x="T4" y="T5"/>
                  </a:cxn>
                  <a:cxn ang="0">
                    <a:pos x="T6" y="T7"/>
                  </a:cxn>
                </a:cxnLst>
                <a:rect l="0" t="0" r="r" b="b"/>
                <a:pathLst>
                  <a:path w="14" h="8">
                    <a:moveTo>
                      <a:pt x="0" y="0"/>
                    </a:moveTo>
                    <a:cubicBezTo>
                      <a:pt x="3" y="3"/>
                      <a:pt x="6" y="5"/>
                      <a:pt x="9" y="8"/>
                    </a:cubicBezTo>
                    <a:cubicBezTo>
                      <a:pt x="11" y="8"/>
                      <a:pt x="12" y="7"/>
                      <a:pt x="14" y="7"/>
                    </a:cubicBezTo>
                    <a:cubicBezTo>
                      <a:pt x="11" y="3"/>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Freeform 312"/>
              <p:cNvSpPr/>
              <p:nvPr/>
            </p:nvSpPr>
            <p:spPr bwMode="auto">
              <a:xfrm>
                <a:off x="7012" y="4485"/>
                <a:ext cx="140" cy="133"/>
              </a:xfrm>
              <a:custGeom>
                <a:gdLst>
                  <a:gd name="T0" fmla="*/ 1 w 59"/>
                  <a:gd name="T1" fmla="*/ 0 h 56"/>
                  <a:gd name="T2" fmla="*/ 0 w 59"/>
                  <a:gd name="T3" fmla="*/ 5 h 56"/>
                  <a:gd name="T4" fmla="*/ 1 w 59"/>
                  <a:gd name="T5" fmla="*/ 6 h 56"/>
                  <a:gd name="T6" fmla="*/ 2 w 59"/>
                  <a:gd name="T7" fmla="*/ 6 h 56"/>
                  <a:gd name="T8" fmla="*/ 3 w 59"/>
                  <a:gd name="T9" fmla="*/ 6 h 56"/>
                  <a:gd name="T10" fmla="*/ 4 w 59"/>
                  <a:gd name="T11" fmla="*/ 5 h 56"/>
                  <a:gd name="T12" fmla="*/ 4 w 59"/>
                  <a:gd name="T13" fmla="*/ 6 h 56"/>
                  <a:gd name="T14" fmla="*/ 28 w 59"/>
                  <a:gd name="T15" fmla="*/ 20 h 56"/>
                  <a:gd name="T16" fmla="*/ 45 w 59"/>
                  <a:gd name="T17" fmla="*/ 35 h 56"/>
                  <a:gd name="T18" fmla="*/ 48 w 59"/>
                  <a:gd name="T19" fmla="*/ 42 h 56"/>
                  <a:gd name="T20" fmla="*/ 48 w 59"/>
                  <a:gd name="T21" fmla="*/ 45 h 56"/>
                  <a:gd name="T22" fmla="*/ 53 w 59"/>
                  <a:gd name="T23" fmla="*/ 56 h 56"/>
                  <a:gd name="T24" fmla="*/ 58 w 59"/>
                  <a:gd name="T25" fmla="*/ 42 h 56"/>
                  <a:gd name="T26" fmla="*/ 57 w 59"/>
                  <a:gd name="T27" fmla="*/ 40 h 56"/>
                  <a:gd name="T28" fmla="*/ 51 w 59"/>
                  <a:gd name="T29" fmla="*/ 32 h 56"/>
                  <a:gd name="T30" fmla="*/ 50 w 59"/>
                  <a:gd name="T31" fmla="*/ 32 h 56"/>
                  <a:gd name="T32" fmla="*/ 50 w 59"/>
                  <a:gd name="T33" fmla="*/ 33 h 56"/>
                  <a:gd name="T34" fmla="*/ 49 w 59"/>
                  <a:gd name="T35" fmla="*/ 33 h 56"/>
                  <a:gd name="T36" fmla="*/ 48 w 59"/>
                  <a:gd name="T37" fmla="*/ 33 h 56"/>
                  <a:gd name="T38" fmla="*/ 41 w 59"/>
                  <a:gd name="T39" fmla="*/ 26 h 56"/>
                  <a:gd name="T40" fmla="*/ 34 w 59"/>
                  <a:gd name="T41" fmla="*/ 20 h 56"/>
                  <a:gd name="T42" fmla="*/ 25 w 59"/>
                  <a:gd name="T43" fmla="*/ 14 h 56"/>
                  <a:gd name="T44" fmla="*/ 16 w 59"/>
                  <a:gd name="T45" fmla="*/ 8 h 56"/>
                  <a:gd name="T46" fmla="*/ 12 w 59"/>
                  <a:gd name="T47" fmla="*/ 8 h 56"/>
                  <a:gd name="T48" fmla="*/ 1 w 59"/>
                  <a:gd name="T49" fmla="*/ 0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56">
                    <a:moveTo>
                      <a:pt x="1" y="0"/>
                    </a:moveTo>
                    <a:cubicBezTo>
                      <a:pt x="4" y="4"/>
                      <a:pt x="3" y="3"/>
                      <a:pt x="0" y="5"/>
                    </a:cubicBezTo>
                    <a:cubicBezTo>
                      <a:pt x="1" y="6"/>
                      <a:pt x="1" y="6"/>
                      <a:pt x="1" y="6"/>
                    </a:cubicBezTo>
                    <a:cubicBezTo>
                      <a:pt x="1" y="6"/>
                      <a:pt x="2" y="6"/>
                      <a:pt x="2" y="6"/>
                    </a:cubicBezTo>
                    <a:cubicBezTo>
                      <a:pt x="2" y="6"/>
                      <a:pt x="2" y="6"/>
                      <a:pt x="3" y="6"/>
                    </a:cubicBezTo>
                    <a:cubicBezTo>
                      <a:pt x="3" y="6"/>
                      <a:pt x="3" y="5"/>
                      <a:pt x="4" y="5"/>
                    </a:cubicBezTo>
                    <a:cubicBezTo>
                      <a:pt x="4" y="5"/>
                      <a:pt x="4" y="6"/>
                      <a:pt x="4" y="6"/>
                    </a:cubicBezTo>
                    <a:cubicBezTo>
                      <a:pt x="12" y="10"/>
                      <a:pt x="20" y="15"/>
                      <a:pt x="28" y="20"/>
                    </a:cubicBezTo>
                    <a:cubicBezTo>
                      <a:pt x="35" y="24"/>
                      <a:pt x="41" y="27"/>
                      <a:pt x="45" y="35"/>
                    </a:cubicBezTo>
                    <a:cubicBezTo>
                      <a:pt x="46" y="37"/>
                      <a:pt x="47" y="39"/>
                      <a:pt x="48" y="42"/>
                    </a:cubicBezTo>
                    <a:cubicBezTo>
                      <a:pt x="48" y="43"/>
                      <a:pt x="47" y="44"/>
                      <a:pt x="48" y="45"/>
                    </a:cubicBezTo>
                    <a:cubicBezTo>
                      <a:pt x="48" y="49"/>
                      <a:pt x="51" y="53"/>
                      <a:pt x="53" y="56"/>
                    </a:cubicBezTo>
                    <a:cubicBezTo>
                      <a:pt x="54" y="53"/>
                      <a:pt x="59" y="46"/>
                      <a:pt x="58" y="42"/>
                    </a:cubicBezTo>
                    <a:cubicBezTo>
                      <a:pt x="58" y="41"/>
                      <a:pt x="57" y="41"/>
                      <a:pt x="57" y="40"/>
                    </a:cubicBezTo>
                    <a:cubicBezTo>
                      <a:pt x="55" y="38"/>
                      <a:pt x="53" y="33"/>
                      <a:pt x="51" y="32"/>
                    </a:cubicBezTo>
                    <a:cubicBezTo>
                      <a:pt x="51" y="32"/>
                      <a:pt x="51" y="32"/>
                      <a:pt x="50" y="32"/>
                    </a:cubicBezTo>
                    <a:cubicBezTo>
                      <a:pt x="50" y="32"/>
                      <a:pt x="50" y="33"/>
                      <a:pt x="50" y="33"/>
                    </a:cubicBezTo>
                    <a:cubicBezTo>
                      <a:pt x="49" y="33"/>
                      <a:pt x="49" y="33"/>
                      <a:pt x="49" y="33"/>
                    </a:cubicBezTo>
                    <a:cubicBezTo>
                      <a:pt x="49" y="33"/>
                      <a:pt x="48" y="33"/>
                      <a:pt x="48" y="33"/>
                    </a:cubicBezTo>
                    <a:cubicBezTo>
                      <a:pt x="46" y="32"/>
                      <a:pt x="43" y="28"/>
                      <a:pt x="41" y="26"/>
                    </a:cubicBezTo>
                    <a:cubicBezTo>
                      <a:pt x="39" y="24"/>
                      <a:pt x="36" y="22"/>
                      <a:pt x="34" y="20"/>
                    </a:cubicBezTo>
                    <a:cubicBezTo>
                      <a:pt x="31" y="17"/>
                      <a:pt x="28" y="17"/>
                      <a:pt x="25" y="14"/>
                    </a:cubicBezTo>
                    <a:cubicBezTo>
                      <a:pt x="22" y="12"/>
                      <a:pt x="19" y="10"/>
                      <a:pt x="16" y="8"/>
                    </a:cubicBezTo>
                    <a:cubicBezTo>
                      <a:pt x="15" y="8"/>
                      <a:pt x="13" y="8"/>
                      <a:pt x="12" y="8"/>
                    </a:cubicBezTo>
                    <a:cubicBezTo>
                      <a:pt x="9" y="5"/>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Freeform 313"/>
              <p:cNvSpPr/>
              <p:nvPr/>
            </p:nvSpPr>
            <p:spPr bwMode="auto">
              <a:xfrm>
                <a:off x="7204" y="4998"/>
                <a:ext cx="14" cy="8"/>
              </a:xfrm>
              <a:custGeom>
                <a:gdLst>
                  <a:gd name="T0" fmla="*/ 2 w 6"/>
                  <a:gd name="T1" fmla="*/ 0 h 3"/>
                  <a:gd name="T2" fmla="*/ 1 w 6"/>
                  <a:gd name="T3" fmla="*/ 3 h 3"/>
                  <a:gd name="T4" fmla="*/ 6 w 6"/>
                  <a:gd name="T5" fmla="*/ 2 h 3"/>
                  <a:gd name="T6" fmla="*/ 2 w 6"/>
                  <a:gd name="T7" fmla="*/ 0 h 3"/>
                </a:gdLst>
                <a:cxnLst>
                  <a:cxn ang="0">
                    <a:pos x="T0" y="T1"/>
                  </a:cxn>
                  <a:cxn ang="0">
                    <a:pos x="T2" y="T3"/>
                  </a:cxn>
                  <a:cxn ang="0">
                    <a:pos x="T4" y="T5"/>
                  </a:cxn>
                  <a:cxn ang="0">
                    <a:pos x="T6" y="T7"/>
                  </a:cxn>
                </a:cxnLst>
                <a:rect l="0" t="0" r="r" b="b"/>
                <a:pathLst>
                  <a:path w="6" h="3">
                    <a:moveTo>
                      <a:pt x="2" y="0"/>
                    </a:moveTo>
                    <a:cubicBezTo>
                      <a:pt x="1" y="0"/>
                      <a:pt x="0" y="1"/>
                      <a:pt x="1" y="3"/>
                    </a:cubicBezTo>
                    <a:cubicBezTo>
                      <a:pt x="3" y="2"/>
                      <a:pt x="6" y="2"/>
                      <a:pt x="6" y="2"/>
                    </a:cubicBezTo>
                    <a:cubicBezTo>
                      <a:pt x="6"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Freeform 314"/>
              <p:cNvSpPr/>
              <p:nvPr/>
            </p:nvSpPr>
            <p:spPr bwMode="auto">
              <a:xfrm>
                <a:off x="6993" y="4883"/>
                <a:ext cx="29" cy="21"/>
              </a:xfrm>
              <a:custGeom>
                <a:gdLst>
                  <a:gd name="T0" fmla="*/ 1 w 12"/>
                  <a:gd name="T1" fmla="*/ 0 h 9"/>
                  <a:gd name="T2" fmla="*/ 2 w 12"/>
                  <a:gd name="T3" fmla="*/ 5 h 9"/>
                  <a:gd name="T4" fmla="*/ 0 w 12"/>
                  <a:gd name="T5" fmla="*/ 6 h 9"/>
                  <a:gd name="T6" fmla="*/ 10 w 12"/>
                  <a:gd name="T7" fmla="*/ 9 h 9"/>
                  <a:gd name="T8" fmla="*/ 10 w 12"/>
                  <a:gd name="T9" fmla="*/ 6 h 9"/>
                  <a:gd name="T10" fmla="*/ 9 w 12"/>
                  <a:gd name="T11" fmla="*/ 2 h 9"/>
                  <a:gd name="T12" fmla="*/ 8 w 12"/>
                  <a:gd name="T13" fmla="*/ 2 h 9"/>
                  <a:gd name="T14" fmla="*/ 7 w 12"/>
                  <a:gd name="T15" fmla="*/ 2 h 9"/>
                  <a:gd name="T16" fmla="*/ 6 w 12"/>
                  <a:gd name="T17" fmla="*/ 2 h 9"/>
                  <a:gd name="T18" fmla="*/ 5 w 12"/>
                  <a:gd name="T19" fmla="*/ 2 h 9"/>
                  <a:gd name="T20" fmla="*/ 3 w 12"/>
                  <a:gd name="T21" fmla="*/ 1 h 9"/>
                  <a:gd name="T22" fmla="*/ 1 w 12"/>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9">
                    <a:moveTo>
                      <a:pt x="1" y="0"/>
                    </a:moveTo>
                    <a:cubicBezTo>
                      <a:pt x="0" y="0"/>
                      <a:pt x="1" y="2"/>
                      <a:pt x="2" y="5"/>
                    </a:cubicBezTo>
                    <a:cubicBezTo>
                      <a:pt x="2" y="6"/>
                      <a:pt x="0" y="6"/>
                      <a:pt x="0" y="6"/>
                    </a:cubicBezTo>
                    <a:cubicBezTo>
                      <a:pt x="1" y="8"/>
                      <a:pt x="8" y="9"/>
                      <a:pt x="10" y="9"/>
                    </a:cubicBezTo>
                    <a:cubicBezTo>
                      <a:pt x="12" y="8"/>
                      <a:pt x="12" y="7"/>
                      <a:pt x="10" y="6"/>
                    </a:cubicBezTo>
                    <a:cubicBezTo>
                      <a:pt x="11" y="5"/>
                      <a:pt x="10" y="2"/>
                      <a:pt x="9" y="2"/>
                    </a:cubicBezTo>
                    <a:cubicBezTo>
                      <a:pt x="9" y="2"/>
                      <a:pt x="8" y="2"/>
                      <a:pt x="8" y="2"/>
                    </a:cubicBezTo>
                    <a:cubicBezTo>
                      <a:pt x="8" y="2"/>
                      <a:pt x="7" y="2"/>
                      <a:pt x="7" y="2"/>
                    </a:cubicBezTo>
                    <a:cubicBezTo>
                      <a:pt x="7" y="2"/>
                      <a:pt x="6" y="2"/>
                      <a:pt x="6" y="2"/>
                    </a:cubicBezTo>
                    <a:cubicBezTo>
                      <a:pt x="6" y="2"/>
                      <a:pt x="5" y="2"/>
                      <a:pt x="5" y="2"/>
                    </a:cubicBezTo>
                    <a:cubicBezTo>
                      <a:pt x="5" y="2"/>
                      <a:pt x="4" y="1"/>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Freeform 315"/>
              <p:cNvSpPr/>
              <p:nvPr/>
            </p:nvSpPr>
            <p:spPr bwMode="auto">
              <a:xfrm>
                <a:off x="6868" y="4580"/>
                <a:ext cx="241" cy="125"/>
              </a:xfrm>
              <a:custGeom>
                <a:gdLst>
                  <a:gd name="T0" fmla="*/ 95 w 102"/>
                  <a:gd name="T1" fmla="*/ 0 h 53"/>
                  <a:gd name="T2" fmla="*/ 93 w 102"/>
                  <a:gd name="T3" fmla="*/ 1 h 53"/>
                  <a:gd name="T4" fmla="*/ 93 w 102"/>
                  <a:gd name="T5" fmla="*/ 1 h 53"/>
                  <a:gd name="T6" fmla="*/ 92 w 102"/>
                  <a:gd name="T7" fmla="*/ 0 h 53"/>
                  <a:gd name="T8" fmla="*/ 80 w 102"/>
                  <a:gd name="T9" fmla="*/ 0 h 53"/>
                  <a:gd name="T10" fmla="*/ 79 w 102"/>
                  <a:gd name="T11" fmla="*/ 18 h 53"/>
                  <a:gd name="T12" fmla="*/ 62 w 102"/>
                  <a:gd name="T13" fmla="*/ 31 h 53"/>
                  <a:gd name="T14" fmla="*/ 58 w 102"/>
                  <a:gd name="T15" fmla="*/ 34 h 53"/>
                  <a:gd name="T16" fmla="*/ 54 w 102"/>
                  <a:gd name="T17" fmla="*/ 31 h 53"/>
                  <a:gd name="T18" fmla="*/ 48 w 102"/>
                  <a:gd name="T19" fmla="*/ 34 h 53"/>
                  <a:gd name="T20" fmla="*/ 45 w 102"/>
                  <a:gd name="T21" fmla="*/ 31 h 53"/>
                  <a:gd name="T22" fmla="*/ 45 w 102"/>
                  <a:gd name="T23" fmla="*/ 21 h 53"/>
                  <a:gd name="T24" fmla="*/ 41 w 102"/>
                  <a:gd name="T25" fmla="*/ 27 h 53"/>
                  <a:gd name="T26" fmla="*/ 41 w 102"/>
                  <a:gd name="T27" fmla="*/ 31 h 53"/>
                  <a:gd name="T28" fmla="*/ 35 w 102"/>
                  <a:gd name="T29" fmla="*/ 34 h 53"/>
                  <a:gd name="T30" fmla="*/ 34 w 102"/>
                  <a:gd name="T31" fmla="*/ 33 h 53"/>
                  <a:gd name="T32" fmla="*/ 25 w 102"/>
                  <a:gd name="T33" fmla="*/ 35 h 53"/>
                  <a:gd name="T34" fmla="*/ 20 w 102"/>
                  <a:gd name="T35" fmla="*/ 33 h 53"/>
                  <a:gd name="T36" fmla="*/ 14 w 102"/>
                  <a:gd name="T37" fmla="*/ 34 h 53"/>
                  <a:gd name="T38" fmla="*/ 11 w 102"/>
                  <a:gd name="T39" fmla="*/ 32 h 53"/>
                  <a:gd name="T40" fmla="*/ 9 w 102"/>
                  <a:gd name="T41" fmla="*/ 33 h 53"/>
                  <a:gd name="T42" fmla="*/ 8 w 102"/>
                  <a:gd name="T43" fmla="*/ 33 h 53"/>
                  <a:gd name="T44" fmla="*/ 3 w 102"/>
                  <a:gd name="T45" fmla="*/ 32 h 53"/>
                  <a:gd name="T46" fmla="*/ 2 w 102"/>
                  <a:gd name="T47" fmla="*/ 39 h 53"/>
                  <a:gd name="T48" fmla="*/ 19 w 102"/>
                  <a:gd name="T49" fmla="*/ 46 h 53"/>
                  <a:gd name="T50" fmla="*/ 25 w 102"/>
                  <a:gd name="T51" fmla="*/ 47 h 53"/>
                  <a:gd name="T52" fmla="*/ 32 w 102"/>
                  <a:gd name="T53" fmla="*/ 51 h 53"/>
                  <a:gd name="T54" fmla="*/ 46 w 102"/>
                  <a:gd name="T55" fmla="*/ 52 h 53"/>
                  <a:gd name="T56" fmla="*/ 68 w 102"/>
                  <a:gd name="T57" fmla="*/ 46 h 53"/>
                  <a:gd name="T58" fmla="*/ 76 w 102"/>
                  <a:gd name="T59" fmla="*/ 41 h 53"/>
                  <a:gd name="T60" fmla="*/ 84 w 102"/>
                  <a:gd name="T61" fmla="*/ 34 h 53"/>
                  <a:gd name="T62" fmla="*/ 88 w 102"/>
                  <a:gd name="T63" fmla="*/ 35 h 53"/>
                  <a:gd name="T64" fmla="*/ 94 w 102"/>
                  <a:gd name="T65" fmla="*/ 31 h 53"/>
                  <a:gd name="T66" fmla="*/ 92 w 102"/>
                  <a:gd name="T67" fmla="*/ 20 h 53"/>
                  <a:gd name="T68" fmla="*/ 95 w 102"/>
                  <a:gd name="T69" fmla="*/ 20 h 53"/>
                  <a:gd name="T70" fmla="*/ 100 w 102"/>
                  <a:gd name="T71" fmla="*/ 17 h 53"/>
                  <a:gd name="T72" fmla="*/ 96 w 102"/>
                  <a:gd name="T73" fmla="*/ 1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52">
                    <a:moveTo>
                      <a:pt x="97" y="0"/>
                    </a:moveTo>
                    <a:cubicBezTo>
                      <a:pt x="96" y="0"/>
                      <a:pt x="95" y="0"/>
                      <a:pt x="95" y="0"/>
                    </a:cubicBezTo>
                    <a:cubicBezTo>
                      <a:pt x="94" y="1"/>
                      <a:pt x="93" y="1"/>
                      <a:pt x="93" y="1"/>
                    </a:cubicBezTo>
                    <a:cubicBezTo>
                      <a:pt x="93" y="1"/>
                      <a:pt x="93" y="1"/>
                      <a:pt x="93" y="1"/>
                    </a:cubicBezTo>
                    <a:cubicBezTo>
                      <a:pt x="93" y="1"/>
                      <a:pt x="93" y="1"/>
                      <a:pt x="93" y="1"/>
                    </a:cubicBezTo>
                    <a:cubicBezTo>
                      <a:pt x="93" y="1"/>
                      <a:pt x="93" y="1"/>
                      <a:pt x="93" y="1"/>
                    </a:cubicBezTo>
                    <a:cubicBezTo>
                      <a:pt x="92" y="1"/>
                      <a:pt x="92" y="0"/>
                      <a:pt x="92" y="0"/>
                    </a:cubicBezTo>
                    <a:cubicBezTo>
                      <a:pt x="92" y="0"/>
                      <a:pt x="92" y="0"/>
                      <a:pt x="92" y="0"/>
                    </a:cubicBezTo>
                    <a:cubicBezTo>
                      <a:pt x="91" y="1"/>
                      <a:pt x="90" y="2"/>
                      <a:pt x="88" y="3"/>
                    </a:cubicBezTo>
                    <a:cubicBezTo>
                      <a:pt x="88" y="0"/>
                      <a:pt x="82" y="1"/>
                      <a:pt x="80" y="0"/>
                    </a:cubicBezTo>
                    <a:cubicBezTo>
                      <a:pt x="81" y="6"/>
                      <a:pt x="82" y="13"/>
                      <a:pt x="83" y="19"/>
                    </a:cubicBezTo>
                    <a:cubicBezTo>
                      <a:pt x="81" y="18"/>
                      <a:pt x="80" y="18"/>
                      <a:pt x="79" y="18"/>
                    </a:cubicBezTo>
                    <a:cubicBezTo>
                      <a:pt x="72" y="18"/>
                      <a:pt x="68" y="27"/>
                      <a:pt x="63" y="32"/>
                    </a:cubicBezTo>
                    <a:cubicBezTo>
                      <a:pt x="63" y="32"/>
                      <a:pt x="63" y="31"/>
                      <a:pt x="62" y="31"/>
                    </a:cubicBezTo>
                    <a:cubicBezTo>
                      <a:pt x="62" y="31"/>
                      <a:pt x="61" y="32"/>
                      <a:pt x="60" y="33"/>
                    </a:cubicBezTo>
                    <a:cubicBezTo>
                      <a:pt x="59" y="33"/>
                      <a:pt x="59" y="34"/>
                      <a:pt x="58" y="34"/>
                    </a:cubicBezTo>
                    <a:cubicBezTo>
                      <a:pt x="58" y="34"/>
                      <a:pt x="58" y="34"/>
                      <a:pt x="57" y="34"/>
                    </a:cubicBezTo>
                    <a:cubicBezTo>
                      <a:pt x="56" y="34"/>
                      <a:pt x="56" y="31"/>
                      <a:pt x="54" y="31"/>
                    </a:cubicBezTo>
                    <a:cubicBezTo>
                      <a:pt x="54" y="31"/>
                      <a:pt x="54" y="31"/>
                      <a:pt x="54" y="31"/>
                    </a:cubicBezTo>
                    <a:cubicBezTo>
                      <a:pt x="51" y="32"/>
                      <a:pt x="50" y="34"/>
                      <a:pt x="48" y="34"/>
                    </a:cubicBezTo>
                    <a:cubicBezTo>
                      <a:pt x="48" y="34"/>
                      <a:pt x="48" y="34"/>
                      <a:pt x="48" y="34"/>
                    </a:cubicBezTo>
                    <a:cubicBezTo>
                      <a:pt x="45" y="34"/>
                      <a:pt x="46" y="33"/>
                      <a:pt x="45" y="31"/>
                    </a:cubicBezTo>
                    <a:cubicBezTo>
                      <a:pt x="43" y="28"/>
                      <a:pt x="42" y="25"/>
                      <a:pt x="45" y="24"/>
                    </a:cubicBezTo>
                    <a:cubicBezTo>
                      <a:pt x="48" y="22"/>
                      <a:pt x="46" y="21"/>
                      <a:pt x="45" y="21"/>
                    </a:cubicBezTo>
                    <a:cubicBezTo>
                      <a:pt x="44" y="21"/>
                      <a:pt x="43" y="22"/>
                      <a:pt x="43" y="24"/>
                    </a:cubicBezTo>
                    <a:cubicBezTo>
                      <a:pt x="42" y="26"/>
                      <a:pt x="42" y="26"/>
                      <a:pt x="41" y="27"/>
                    </a:cubicBezTo>
                    <a:cubicBezTo>
                      <a:pt x="41" y="28"/>
                      <a:pt x="40" y="28"/>
                      <a:pt x="40" y="28"/>
                    </a:cubicBezTo>
                    <a:cubicBezTo>
                      <a:pt x="40" y="30"/>
                      <a:pt x="42" y="30"/>
                      <a:pt x="41" y="31"/>
                    </a:cubicBezTo>
                    <a:cubicBezTo>
                      <a:pt x="41" y="34"/>
                      <a:pt x="38" y="33"/>
                      <a:pt x="37" y="33"/>
                    </a:cubicBezTo>
                    <a:cubicBezTo>
                      <a:pt x="36" y="33"/>
                      <a:pt x="36" y="34"/>
                      <a:pt x="35" y="34"/>
                    </a:cubicBezTo>
                    <a:cubicBezTo>
                      <a:pt x="35" y="34"/>
                      <a:pt x="34" y="34"/>
                      <a:pt x="34" y="33"/>
                    </a:cubicBezTo>
                    <a:cubicBezTo>
                      <a:pt x="34" y="33"/>
                      <a:pt x="34" y="33"/>
                      <a:pt x="34" y="33"/>
                    </a:cubicBezTo>
                    <a:cubicBezTo>
                      <a:pt x="33" y="33"/>
                      <a:pt x="32" y="33"/>
                      <a:pt x="31" y="33"/>
                    </a:cubicBezTo>
                    <a:cubicBezTo>
                      <a:pt x="29" y="34"/>
                      <a:pt x="28" y="35"/>
                      <a:pt x="25" y="35"/>
                    </a:cubicBezTo>
                    <a:cubicBezTo>
                      <a:pt x="25" y="35"/>
                      <a:pt x="25" y="35"/>
                      <a:pt x="25" y="35"/>
                    </a:cubicBezTo>
                    <a:cubicBezTo>
                      <a:pt x="23" y="35"/>
                      <a:pt x="22" y="34"/>
                      <a:pt x="20" y="33"/>
                    </a:cubicBezTo>
                    <a:cubicBezTo>
                      <a:pt x="19" y="33"/>
                      <a:pt x="18" y="33"/>
                      <a:pt x="18" y="33"/>
                    </a:cubicBezTo>
                    <a:cubicBezTo>
                      <a:pt x="16" y="33"/>
                      <a:pt x="16" y="33"/>
                      <a:pt x="14" y="34"/>
                    </a:cubicBezTo>
                    <a:cubicBezTo>
                      <a:pt x="14" y="34"/>
                      <a:pt x="14" y="34"/>
                      <a:pt x="13" y="34"/>
                    </a:cubicBezTo>
                    <a:cubicBezTo>
                      <a:pt x="12" y="34"/>
                      <a:pt x="12" y="33"/>
                      <a:pt x="11" y="32"/>
                    </a:cubicBezTo>
                    <a:cubicBezTo>
                      <a:pt x="11" y="32"/>
                      <a:pt x="11" y="32"/>
                      <a:pt x="11" y="32"/>
                    </a:cubicBezTo>
                    <a:cubicBezTo>
                      <a:pt x="10" y="32"/>
                      <a:pt x="10" y="33"/>
                      <a:pt x="9" y="33"/>
                    </a:cubicBezTo>
                    <a:cubicBezTo>
                      <a:pt x="9" y="33"/>
                      <a:pt x="8" y="33"/>
                      <a:pt x="8" y="33"/>
                    </a:cubicBezTo>
                    <a:cubicBezTo>
                      <a:pt x="8" y="33"/>
                      <a:pt x="8" y="33"/>
                      <a:pt x="8" y="33"/>
                    </a:cubicBezTo>
                    <a:cubicBezTo>
                      <a:pt x="6" y="33"/>
                      <a:pt x="7" y="33"/>
                      <a:pt x="5" y="32"/>
                    </a:cubicBezTo>
                    <a:cubicBezTo>
                      <a:pt x="4" y="32"/>
                      <a:pt x="4" y="32"/>
                      <a:pt x="3" y="32"/>
                    </a:cubicBezTo>
                    <a:cubicBezTo>
                      <a:pt x="3" y="32"/>
                      <a:pt x="3" y="32"/>
                      <a:pt x="2" y="32"/>
                    </a:cubicBezTo>
                    <a:cubicBezTo>
                      <a:pt x="0" y="33"/>
                      <a:pt x="1" y="38"/>
                      <a:pt x="2" y="39"/>
                    </a:cubicBezTo>
                    <a:cubicBezTo>
                      <a:pt x="5" y="41"/>
                      <a:pt x="9" y="41"/>
                      <a:pt x="12" y="43"/>
                    </a:cubicBezTo>
                    <a:cubicBezTo>
                      <a:pt x="14" y="44"/>
                      <a:pt x="16" y="45"/>
                      <a:pt x="19" y="46"/>
                    </a:cubicBezTo>
                    <a:cubicBezTo>
                      <a:pt x="19" y="47"/>
                      <a:pt x="20" y="48"/>
                      <a:pt x="19" y="49"/>
                    </a:cubicBezTo>
                    <a:cubicBezTo>
                      <a:pt x="22" y="48"/>
                      <a:pt x="23" y="47"/>
                      <a:pt x="25" y="47"/>
                    </a:cubicBezTo>
                    <a:cubicBezTo>
                      <a:pt x="27" y="47"/>
                      <a:pt x="28" y="48"/>
                      <a:pt x="30" y="49"/>
                    </a:cubicBezTo>
                    <a:cubicBezTo>
                      <a:pt x="31" y="50"/>
                      <a:pt x="31" y="51"/>
                      <a:pt x="32" y="51"/>
                    </a:cubicBezTo>
                    <a:cubicBezTo>
                      <a:pt x="33" y="53"/>
                      <a:pt x="36" y="53"/>
                      <a:pt x="38" y="53"/>
                    </a:cubicBezTo>
                    <a:cubicBezTo>
                      <a:pt x="41" y="53"/>
                      <a:pt x="44" y="53"/>
                      <a:pt x="46" y="52"/>
                    </a:cubicBezTo>
                    <a:cubicBezTo>
                      <a:pt x="52" y="51"/>
                      <a:pt x="58" y="50"/>
                      <a:pt x="63" y="47"/>
                    </a:cubicBezTo>
                    <a:cubicBezTo>
                      <a:pt x="65" y="47"/>
                      <a:pt x="67" y="46"/>
                      <a:pt x="68" y="46"/>
                    </a:cubicBezTo>
                    <a:cubicBezTo>
                      <a:pt x="68" y="46"/>
                      <a:pt x="72" y="44"/>
                      <a:pt x="72" y="43"/>
                    </a:cubicBezTo>
                    <a:cubicBezTo>
                      <a:pt x="73" y="42"/>
                      <a:pt x="75" y="42"/>
                      <a:pt x="76" y="41"/>
                    </a:cubicBezTo>
                    <a:cubicBezTo>
                      <a:pt x="78" y="39"/>
                      <a:pt x="80" y="36"/>
                      <a:pt x="82" y="35"/>
                    </a:cubicBezTo>
                    <a:cubicBezTo>
                      <a:pt x="83" y="34"/>
                      <a:pt x="83" y="34"/>
                      <a:pt x="84" y="34"/>
                    </a:cubicBezTo>
                    <a:cubicBezTo>
                      <a:pt x="84" y="34"/>
                      <a:pt x="85" y="34"/>
                      <a:pt x="86" y="34"/>
                    </a:cubicBezTo>
                    <a:cubicBezTo>
                      <a:pt x="86" y="34"/>
                      <a:pt x="87" y="35"/>
                      <a:pt x="88" y="35"/>
                    </a:cubicBezTo>
                    <a:cubicBezTo>
                      <a:pt x="88" y="35"/>
                      <a:pt x="88" y="35"/>
                      <a:pt x="88" y="35"/>
                    </a:cubicBezTo>
                    <a:cubicBezTo>
                      <a:pt x="89" y="34"/>
                      <a:pt x="93" y="32"/>
                      <a:pt x="94" y="31"/>
                    </a:cubicBezTo>
                    <a:cubicBezTo>
                      <a:pt x="97" y="27"/>
                      <a:pt x="88" y="24"/>
                      <a:pt x="91" y="20"/>
                    </a:cubicBezTo>
                    <a:cubicBezTo>
                      <a:pt x="91" y="20"/>
                      <a:pt x="91" y="20"/>
                      <a:pt x="92" y="20"/>
                    </a:cubicBezTo>
                    <a:cubicBezTo>
                      <a:pt x="92" y="20"/>
                      <a:pt x="93" y="20"/>
                      <a:pt x="94" y="20"/>
                    </a:cubicBezTo>
                    <a:cubicBezTo>
                      <a:pt x="94" y="20"/>
                      <a:pt x="95" y="20"/>
                      <a:pt x="95" y="20"/>
                    </a:cubicBezTo>
                    <a:cubicBezTo>
                      <a:pt x="95" y="20"/>
                      <a:pt x="96" y="20"/>
                      <a:pt x="96" y="20"/>
                    </a:cubicBezTo>
                    <a:cubicBezTo>
                      <a:pt x="98" y="20"/>
                      <a:pt x="99" y="18"/>
                      <a:pt x="100" y="17"/>
                    </a:cubicBezTo>
                    <a:cubicBezTo>
                      <a:pt x="102" y="12"/>
                      <a:pt x="100" y="9"/>
                      <a:pt x="102" y="4"/>
                    </a:cubicBezTo>
                    <a:cubicBezTo>
                      <a:pt x="100" y="4"/>
                      <a:pt x="93" y="4"/>
                      <a:pt x="96" y="1"/>
                    </a:cubicBez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316"/>
              <p:cNvSpPr/>
              <p:nvPr/>
            </p:nvSpPr>
            <p:spPr bwMode="auto">
              <a:xfrm>
                <a:off x="7230" y="4630"/>
                <a:ext cx="11" cy="26"/>
              </a:xfrm>
              <a:custGeom>
                <a:gdLst>
                  <a:gd name="T0" fmla="*/ 4 w 5"/>
                  <a:gd name="T1" fmla="*/ 0 h 11"/>
                  <a:gd name="T2" fmla="*/ 1 w 5"/>
                  <a:gd name="T3" fmla="*/ 2 h 11"/>
                  <a:gd name="T4" fmla="*/ 3 w 5"/>
                  <a:gd name="T5" fmla="*/ 11 h 11"/>
                  <a:gd name="T6" fmla="*/ 5 w 5"/>
                  <a:gd name="T7" fmla="*/ 6 h 11"/>
                  <a:gd name="T8" fmla="*/ 5 w 5"/>
                  <a:gd name="T9" fmla="*/ 3 h 11"/>
                  <a:gd name="T10" fmla="*/ 4 w 5"/>
                  <a:gd name="T11" fmla="*/ 0 h 11"/>
                  <a:gd name="T12" fmla="*/ 4 w 5"/>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5" h="11">
                    <a:moveTo>
                      <a:pt x="4" y="0"/>
                    </a:moveTo>
                    <a:cubicBezTo>
                      <a:pt x="3" y="0"/>
                      <a:pt x="1" y="2"/>
                      <a:pt x="1" y="2"/>
                    </a:cubicBezTo>
                    <a:cubicBezTo>
                      <a:pt x="0" y="4"/>
                      <a:pt x="3" y="9"/>
                      <a:pt x="3" y="11"/>
                    </a:cubicBezTo>
                    <a:cubicBezTo>
                      <a:pt x="4" y="10"/>
                      <a:pt x="5" y="7"/>
                      <a:pt x="5" y="6"/>
                    </a:cubicBezTo>
                    <a:cubicBezTo>
                      <a:pt x="5" y="4"/>
                      <a:pt x="5" y="4"/>
                      <a:pt x="5" y="3"/>
                    </a:cubicBezTo>
                    <a:cubicBezTo>
                      <a:pt x="4" y="2"/>
                      <a:pt x="5"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Freeform 317"/>
              <p:cNvSpPr/>
              <p:nvPr/>
            </p:nvSpPr>
            <p:spPr bwMode="auto">
              <a:xfrm>
                <a:off x="7014" y="4951"/>
                <a:ext cx="8" cy="7"/>
              </a:xfrm>
              <a:custGeom>
                <a:gdLst>
                  <a:gd name="T0" fmla="*/ 1 w 3"/>
                  <a:gd name="T1" fmla="*/ 0 h 3"/>
                  <a:gd name="T2" fmla="*/ 0 w 3"/>
                  <a:gd name="T3" fmla="*/ 1 h 3"/>
                  <a:gd name="T4" fmla="*/ 2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0" y="0"/>
                      <a:pt x="0" y="0"/>
                      <a:pt x="0" y="1"/>
                    </a:cubicBezTo>
                    <a:cubicBezTo>
                      <a:pt x="0" y="2"/>
                      <a:pt x="1" y="3"/>
                      <a:pt x="2"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318"/>
              <p:cNvSpPr/>
              <p:nvPr/>
            </p:nvSpPr>
            <p:spPr bwMode="auto">
              <a:xfrm>
                <a:off x="7241" y="4651"/>
                <a:ext cx="74" cy="87"/>
              </a:xfrm>
              <a:custGeom>
                <a:gdLst>
                  <a:gd name="T0" fmla="*/ 0 w 31"/>
                  <a:gd name="T1" fmla="*/ 0 h 37"/>
                  <a:gd name="T2" fmla="*/ 1 w 31"/>
                  <a:gd name="T3" fmla="*/ 11 h 37"/>
                  <a:gd name="T4" fmla="*/ 12 w 31"/>
                  <a:gd name="T5" fmla="*/ 28 h 37"/>
                  <a:gd name="T6" fmla="*/ 11 w 31"/>
                  <a:gd name="T7" fmla="*/ 28 h 37"/>
                  <a:gd name="T8" fmla="*/ 12 w 31"/>
                  <a:gd name="T9" fmla="*/ 30 h 37"/>
                  <a:gd name="T10" fmla="*/ 25 w 31"/>
                  <a:gd name="T11" fmla="*/ 37 h 37"/>
                  <a:gd name="T12" fmla="*/ 28 w 31"/>
                  <a:gd name="T13" fmla="*/ 34 h 37"/>
                  <a:gd name="T14" fmla="*/ 30 w 31"/>
                  <a:gd name="T15" fmla="*/ 33 h 37"/>
                  <a:gd name="T16" fmla="*/ 31 w 31"/>
                  <a:gd name="T17" fmla="*/ 34 h 37"/>
                  <a:gd name="T18" fmla="*/ 30 w 31"/>
                  <a:gd name="T19" fmla="*/ 28 h 37"/>
                  <a:gd name="T20" fmla="*/ 26 w 31"/>
                  <a:gd name="T21" fmla="*/ 23 h 37"/>
                  <a:gd name="T22" fmla="*/ 23 w 31"/>
                  <a:gd name="T23" fmla="*/ 19 h 37"/>
                  <a:gd name="T24" fmla="*/ 20 w 31"/>
                  <a:gd name="T25" fmla="*/ 18 h 37"/>
                  <a:gd name="T26" fmla="*/ 20 w 31"/>
                  <a:gd name="T27" fmla="*/ 18 h 37"/>
                  <a:gd name="T28" fmla="*/ 17 w 31"/>
                  <a:gd name="T29" fmla="*/ 17 h 37"/>
                  <a:gd name="T30" fmla="*/ 16 w 31"/>
                  <a:gd name="T31" fmla="*/ 14 h 37"/>
                  <a:gd name="T32" fmla="*/ 13 w 31"/>
                  <a:gd name="T33" fmla="*/ 12 h 37"/>
                  <a:gd name="T34" fmla="*/ 11 w 31"/>
                  <a:gd name="T35" fmla="*/ 9 h 37"/>
                  <a:gd name="T36" fmla="*/ 7 w 31"/>
                  <a:gd name="T37" fmla="*/ 4 h 37"/>
                  <a:gd name="T38" fmla="*/ 0 w 31"/>
                  <a:gd name="T39"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37">
                    <a:moveTo>
                      <a:pt x="0" y="0"/>
                    </a:moveTo>
                    <a:cubicBezTo>
                      <a:pt x="0" y="4"/>
                      <a:pt x="0" y="7"/>
                      <a:pt x="1" y="11"/>
                    </a:cubicBezTo>
                    <a:cubicBezTo>
                      <a:pt x="2" y="17"/>
                      <a:pt x="8" y="23"/>
                      <a:pt x="12" y="28"/>
                    </a:cubicBezTo>
                    <a:cubicBezTo>
                      <a:pt x="12" y="28"/>
                      <a:pt x="11" y="28"/>
                      <a:pt x="11" y="28"/>
                    </a:cubicBezTo>
                    <a:cubicBezTo>
                      <a:pt x="11" y="28"/>
                      <a:pt x="12" y="29"/>
                      <a:pt x="12" y="30"/>
                    </a:cubicBezTo>
                    <a:cubicBezTo>
                      <a:pt x="16" y="33"/>
                      <a:pt x="20" y="35"/>
                      <a:pt x="25" y="37"/>
                    </a:cubicBezTo>
                    <a:cubicBezTo>
                      <a:pt x="26" y="35"/>
                      <a:pt x="27" y="34"/>
                      <a:pt x="28" y="34"/>
                    </a:cubicBezTo>
                    <a:cubicBezTo>
                      <a:pt x="29" y="34"/>
                      <a:pt x="30" y="33"/>
                      <a:pt x="30" y="33"/>
                    </a:cubicBezTo>
                    <a:cubicBezTo>
                      <a:pt x="31" y="33"/>
                      <a:pt x="31" y="33"/>
                      <a:pt x="31" y="34"/>
                    </a:cubicBezTo>
                    <a:cubicBezTo>
                      <a:pt x="31" y="33"/>
                      <a:pt x="30" y="29"/>
                      <a:pt x="30" y="28"/>
                    </a:cubicBezTo>
                    <a:cubicBezTo>
                      <a:pt x="29" y="26"/>
                      <a:pt x="27" y="24"/>
                      <a:pt x="26" y="23"/>
                    </a:cubicBezTo>
                    <a:cubicBezTo>
                      <a:pt x="25" y="22"/>
                      <a:pt x="23" y="19"/>
                      <a:pt x="23" y="19"/>
                    </a:cubicBezTo>
                    <a:cubicBezTo>
                      <a:pt x="22" y="18"/>
                      <a:pt x="21" y="18"/>
                      <a:pt x="20" y="18"/>
                    </a:cubicBezTo>
                    <a:cubicBezTo>
                      <a:pt x="20" y="18"/>
                      <a:pt x="20" y="18"/>
                      <a:pt x="20" y="18"/>
                    </a:cubicBezTo>
                    <a:cubicBezTo>
                      <a:pt x="19" y="18"/>
                      <a:pt x="19" y="18"/>
                      <a:pt x="17" y="17"/>
                    </a:cubicBezTo>
                    <a:cubicBezTo>
                      <a:pt x="17" y="15"/>
                      <a:pt x="17" y="15"/>
                      <a:pt x="16" y="14"/>
                    </a:cubicBezTo>
                    <a:cubicBezTo>
                      <a:pt x="15" y="13"/>
                      <a:pt x="14" y="13"/>
                      <a:pt x="13" y="12"/>
                    </a:cubicBezTo>
                    <a:cubicBezTo>
                      <a:pt x="12" y="10"/>
                      <a:pt x="12" y="10"/>
                      <a:pt x="11" y="9"/>
                    </a:cubicBezTo>
                    <a:cubicBezTo>
                      <a:pt x="10" y="6"/>
                      <a:pt x="9" y="4"/>
                      <a:pt x="7" y="4"/>
                    </a:cubicBezTo>
                    <a:cubicBezTo>
                      <a:pt x="4" y="3"/>
                      <a:pt x="3"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Freeform 319"/>
              <p:cNvSpPr/>
              <p:nvPr/>
            </p:nvSpPr>
            <p:spPr bwMode="auto">
              <a:xfrm>
                <a:off x="7081" y="4495"/>
                <a:ext cx="4" cy="7"/>
              </a:xfrm>
              <a:custGeom>
                <a:gdLst>
                  <a:gd name="T0" fmla="*/ 0 w 2"/>
                  <a:gd name="T1" fmla="*/ 0 h 3"/>
                  <a:gd name="T2" fmla="*/ 0 w 2"/>
                  <a:gd name="T3" fmla="*/ 3 h 3"/>
                  <a:gd name="T4" fmla="*/ 0 w 2"/>
                  <a:gd name="T5" fmla="*/ 0 h 3"/>
                </a:gdLst>
                <a:cxnLst>
                  <a:cxn ang="0">
                    <a:pos x="T0" y="T1"/>
                  </a:cxn>
                  <a:cxn ang="0">
                    <a:pos x="T2" y="T3"/>
                  </a:cxn>
                  <a:cxn ang="0">
                    <a:pos x="T4" y="T5"/>
                  </a:cxn>
                </a:cxnLst>
                <a:rect l="0" t="0" r="r" b="b"/>
                <a:pathLst>
                  <a:path w="2" h="3">
                    <a:moveTo>
                      <a:pt x="0" y="0"/>
                    </a:moveTo>
                    <a:cubicBezTo>
                      <a:pt x="0" y="1"/>
                      <a:pt x="0" y="2"/>
                      <a:pt x="0" y="3"/>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320"/>
              <p:cNvSpPr/>
              <p:nvPr/>
            </p:nvSpPr>
            <p:spPr bwMode="auto">
              <a:xfrm>
                <a:off x="6790" y="4639"/>
                <a:ext cx="19" cy="14"/>
              </a:xfrm>
              <a:custGeom>
                <a:gdLst>
                  <a:gd name="T0" fmla="*/ 4 w 8"/>
                  <a:gd name="T1" fmla="*/ 0 h 6"/>
                  <a:gd name="T2" fmla="*/ 2 w 8"/>
                  <a:gd name="T3" fmla="*/ 1 h 6"/>
                  <a:gd name="T4" fmla="*/ 5 w 8"/>
                  <a:gd name="T5" fmla="*/ 6 h 6"/>
                  <a:gd name="T6" fmla="*/ 6 w 8"/>
                  <a:gd name="T7" fmla="*/ 1 h 6"/>
                  <a:gd name="T8" fmla="*/ 4 w 8"/>
                  <a:gd name="T9" fmla="*/ 0 h 6"/>
                </a:gdLst>
                <a:cxnLst>
                  <a:cxn ang="0">
                    <a:pos x="T0" y="T1"/>
                  </a:cxn>
                  <a:cxn ang="0">
                    <a:pos x="T2" y="T3"/>
                  </a:cxn>
                  <a:cxn ang="0">
                    <a:pos x="T4" y="T5"/>
                  </a:cxn>
                  <a:cxn ang="0">
                    <a:pos x="T6" y="T7"/>
                  </a:cxn>
                  <a:cxn ang="0">
                    <a:pos x="T8" y="T9"/>
                  </a:cxn>
                </a:cxnLst>
                <a:rect l="0" t="0" r="r" b="b"/>
                <a:pathLst>
                  <a:path w="8" h="6">
                    <a:moveTo>
                      <a:pt x="4" y="0"/>
                    </a:moveTo>
                    <a:cubicBezTo>
                      <a:pt x="4" y="0"/>
                      <a:pt x="3" y="0"/>
                      <a:pt x="2" y="1"/>
                    </a:cubicBezTo>
                    <a:cubicBezTo>
                      <a:pt x="0" y="2"/>
                      <a:pt x="4" y="6"/>
                      <a:pt x="5" y="6"/>
                    </a:cubicBezTo>
                    <a:cubicBezTo>
                      <a:pt x="8" y="6"/>
                      <a:pt x="7" y="2"/>
                      <a:pt x="6"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Freeform 321"/>
              <p:cNvSpPr/>
              <p:nvPr/>
            </p:nvSpPr>
            <p:spPr bwMode="auto">
              <a:xfrm>
                <a:off x="6837" y="4471"/>
                <a:ext cx="7" cy="3"/>
              </a:xfrm>
              <a:custGeom>
                <a:gdLst>
                  <a:gd name="T0" fmla="*/ 3 w 3"/>
                  <a:gd name="T1" fmla="*/ 0 h 1"/>
                  <a:gd name="T2" fmla="*/ 0 w 3"/>
                  <a:gd name="T3" fmla="*/ 1 h 1"/>
                  <a:gd name="T4" fmla="*/ 3 w 3"/>
                  <a:gd name="T5" fmla="*/ 0 h 1"/>
                </a:gdLst>
                <a:cxnLst>
                  <a:cxn ang="0">
                    <a:pos x="T0" y="T1"/>
                  </a:cxn>
                  <a:cxn ang="0">
                    <a:pos x="T2" y="T3"/>
                  </a:cxn>
                  <a:cxn ang="0">
                    <a:pos x="T4" y="T5"/>
                  </a:cxn>
                </a:cxnLst>
                <a:rect l="0" t="0" r="r" b="b"/>
                <a:pathLst>
                  <a:path w="3" h="1">
                    <a:moveTo>
                      <a:pt x="3" y="0"/>
                    </a:moveTo>
                    <a:cubicBezTo>
                      <a:pt x="2" y="0"/>
                      <a:pt x="1" y="0"/>
                      <a:pt x="0" y="1"/>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322"/>
              <p:cNvSpPr/>
              <p:nvPr/>
            </p:nvSpPr>
            <p:spPr bwMode="auto">
              <a:xfrm>
                <a:off x="7114" y="4514"/>
                <a:ext cx="9" cy="12"/>
              </a:xfrm>
              <a:custGeom>
                <a:gdLst>
                  <a:gd name="T0" fmla="*/ 3 w 4"/>
                  <a:gd name="T1" fmla="*/ 0 h 5"/>
                  <a:gd name="T2" fmla="*/ 3 w 4"/>
                  <a:gd name="T3" fmla="*/ 5 h 5"/>
                  <a:gd name="T4" fmla="*/ 3 w 4"/>
                  <a:gd name="T5" fmla="*/ 0 h 5"/>
                </a:gdLst>
                <a:cxnLst>
                  <a:cxn ang="0">
                    <a:pos x="T0" y="T1"/>
                  </a:cxn>
                  <a:cxn ang="0">
                    <a:pos x="T2" y="T3"/>
                  </a:cxn>
                  <a:cxn ang="0">
                    <a:pos x="T4" y="T5"/>
                  </a:cxn>
                </a:cxnLst>
                <a:rect l="0" t="0" r="r" b="b"/>
                <a:pathLst>
                  <a:path w="4" h="5">
                    <a:moveTo>
                      <a:pt x="3" y="0"/>
                    </a:moveTo>
                    <a:cubicBezTo>
                      <a:pt x="0" y="0"/>
                      <a:pt x="2" y="3"/>
                      <a:pt x="3" y="5"/>
                    </a:cubicBezTo>
                    <a:cubicBezTo>
                      <a:pt x="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Freeform 323"/>
              <p:cNvSpPr/>
              <p:nvPr/>
            </p:nvSpPr>
            <p:spPr bwMode="auto">
              <a:xfrm>
                <a:off x="6733" y="4601"/>
                <a:ext cx="7" cy="12"/>
              </a:xfrm>
              <a:custGeom>
                <a:gdLst>
                  <a:gd name="T0" fmla="*/ 1 w 3"/>
                  <a:gd name="T1" fmla="*/ 0 h 5"/>
                  <a:gd name="T2" fmla="*/ 0 w 3"/>
                  <a:gd name="T3" fmla="*/ 5 h 5"/>
                  <a:gd name="T4" fmla="*/ 1 w 3"/>
                  <a:gd name="T5" fmla="*/ 0 h 5"/>
                </a:gdLst>
                <a:cxnLst>
                  <a:cxn ang="0">
                    <a:pos x="T0" y="T1"/>
                  </a:cxn>
                  <a:cxn ang="0">
                    <a:pos x="T2" y="T3"/>
                  </a:cxn>
                  <a:cxn ang="0">
                    <a:pos x="T4" y="T5"/>
                  </a:cxn>
                </a:cxnLst>
                <a:rect l="0" t="0" r="r" b="b"/>
                <a:pathLst>
                  <a:path w="3" h="5">
                    <a:moveTo>
                      <a:pt x="1" y="0"/>
                    </a:moveTo>
                    <a:cubicBezTo>
                      <a:pt x="0" y="2"/>
                      <a:pt x="0" y="4"/>
                      <a:pt x="0" y="5"/>
                    </a:cubicBezTo>
                    <a:cubicBezTo>
                      <a:pt x="2" y="5"/>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324"/>
              <p:cNvSpPr/>
              <p:nvPr/>
            </p:nvSpPr>
            <p:spPr bwMode="auto">
              <a:xfrm>
                <a:off x="6944" y="4415"/>
                <a:ext cx="11" cy="16"/>
              </a:xfrm>
              <a:custGeom>
                <a:gdLst>
                  <a:gd name="T0" fmla="*/ 0 w 5"/>
                  <a:gd name="T1" fmla="*/ 0 h 7"/>
                  <a:gd name="T2" fmla="*/ 4 w 5"/>
                  <a:gd name="T3" fmla="*/ 7 h 7"/>
                  <a:gd name="T4" fmla="*/ 0 w 5"/>
                  <a:gd name="T5" fmla="*/ 0 h 7"/>
                </a:gdLst>
                <a:cxnLst>
                  <a:cxn ang="0">
                    <a:pos x="T0" y="T1"/>
                  </a:cxn>
                  <a:cxn ang="0">
                    <a:pos x="T2" y="T3"/>
                  </a:cxn>
                  <a:cxn ang="0">
                    <a:pos x="T4" y="T5"/>
                  </a:cxn>
                </a:cxnLst>
                <a:rect l="0" t="0" r="r" b="b"/>
                <a:pathLst>
                  <a:path w="5" h="7">
                    <a:moveTo>
                      <a:pt x="0" y="0"/>
                    </a:moveTo>
                    <a:cubicBezTo>
                      <a:pt x="1" y="3"/>
                      <a:pt x="2" y="5"/>
                      <a:pt x="4" y="7"/>
                    </a:cubicBezTo>
                    <a:cubicBezTo>
                      <a:pt x="5"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325"/>
              <p:cNvSpPr/>
              <p:nvPr/>
            </p:nvSpPr>
            <p:spPr bwMode="auto">
              <a:xfrm>
                <a:off x="6580" y="4823"/>
                <a:ext cx="16" cy="10"/>
              </a:xfrm>
              <a:custGeom>
                <a:gdLst>
                  <a:gd name="T0" fmla="*/ 3 w 7"/>
                  <a:gd name="T1" fmla="*/ 0 h 4"/>
                  <a:gd name="T2" fmla="*/ 0 w 7"/>
                  <a:gd name="T3" fmla="*/ 1 h 4"/>
                  <a:gd name="T4" fmla="*/ 6 w 7"/>
                  <a:gd name="T5" fmla="*/ 4 h 4"/>
                  <a:gd name="T6" fmla="*/ 3 w 7"/>
                  <a:gd name="T7" fmla="*/ 0 h 4"/>
                </a:gdLst>
                <a:cxnLst>
                  <a:cxn ang="0">
                    <a:pos x="T0" y="T1"/>
                  </a:cxn>
                  <a:cxn ang="0">
                    <a:pos x="T2" y="T3"/>
                  </a:cxn>
                  <a:cxn ang="0">
                    <a:pos x="T4" y="T5"/>
                  </a:cxn>
                  <a:cxn ang="0">
                    <a:pos x="T6" y="T7"/>
                  </a:cxn>
                </a:cxnLst>
                <a:rect l="0" t="0" r="r" b="b"/>
                <a:pathLst>
                  <a:path w="7" h="4">
                    <a:moveTo>
                      <a:pt x="3" y="0"/>
                    </a:moveTo>
                    <a:cubicBezTo>
                      <a:pt x="2" y="0"/>
                      <a:pt x="1" y="1"/>
                      <a:pt x="0" y="1"/>
                    </a:cubicBezTo>
                    <a:cubicBezTo>
                      <a:pt x="2" y="2"/>
                      <a:pt x="4" y="3"/>
                      <a:pt x="6" y="4"/>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326"/>
              <p:cNvSpPr/>
              <p:nvPr/>
            </p:nvSpPr>
            <p:spPr bwMode="auto">
              <a:xfrm>
                <a:off x="6840" y="4656"/>
                <a:ext cx="23" cy="21"/>
              </a:xfrm>
              <a:custGeom>
                <a:gdLst>
                  <a:gd name="T0" fmla="*/ 0 w 10"/>
                  <a:gd name="T1" fmla="*/ 0 h 9"/>
                  <a:gd name="T2" fmla="*/ 0 w 10"/>
                  <a:gd name="T3" fmla="*/ 0 h 9"/>
                  <a:gd name="T4" fmla="*/ 5 w 10"/>
                  <a:gd name="T5" fmla="*/ 9 h 9"/>
                  <a:gd name="T6" fmla="*/ 0 w 10"/>
                  <a:gd name="T7" fmla="*/ 0 h 9"/>
                </a:gdLst>
                <a:cxnLst>
                  <a:cxn ang="0">
                    <a:pos x="T0" y="T1"/>
                  </a:cxn>
                  <a:cxn ang="0">
                    <a:pos x="T2" y="T3"/>
                  </a:cxn>
                  <a:cxn ang="0">
                    <a:pos x="T4" y="T5"/>
                  </a:cxn>
                  <a:cxn ang="0">
                    <a:pos x="T6" y="T7"/>
                  </a:cxn>
                </a:cxnLst>
                <a:rect l="0" t="0" r="r" b="b"/>
                <a:pathLst>
                  <a:path w="10" h="9">
                    <a:moveTo>
                      <a:pt x="0" y="0"/>
                    </a:moveTo>
                    <a:cubicBezTo>
                      <a:pt x="0" y="0"/>
                      <a:pt x="0" y="0"/>
                      <a:pt x="0" y="0"/>
                    </a:cubicBezTo>
                    <a:cubicBezTo>
                      <a:pt x="1" y="4"/>
                      <a:pt x="3" y="7"/>
                      <a:pt x="5" y="9"/>
                    </a:cubicBezTo>
                    <a:cubicBezTo>
                      <a:pt x="10" y="6"/>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327"/>
              <p:cNvSpPr/>
              <p:nvPr/>
            </p:nvSpPr>
            <p:spPr bwMode="auto">
              <a:xfrm>
                <a:off x="7114" y="4859"/>
                <a:ext cx="30" cy="16"/>
              </a:xfrm>
              <a:custGeom>
                <a:gdLst>
                  <a:gd name="T0" fmla="*/ 4 w 13"/>
                  <a:gd name="T1" fmla="*/ 0 h 7"/>
                  <a:gd name="T2" fmla="*/ 0 w 13"/>
                  <a:gd name="T3" fmla="*/ 2 h 7"/>
                  <a:gd name="T4" fmla="*/ 8 w 13"/>
                  <a:gd name="T5" fmla="*/ 7 h 7"/>
                  <a:gd name="T6" fmla="*/ 10 w 13"/>
                  <a:gd name="T7" fmla="*/ 6 h 7"/>
                  <a:gd name="T8" fmla="*/ 11 w 13"/>
                  <a:gd name="T9" fmla="*/ 7 h 7"/>
                  <a:gd name="T10" fmla="*/ 11 w 13"/>
                  <a:gd name="T11" fmla="*/ 5 h 7"/>
                  <a:gd name="T12" fmla="*/ 12 w 13"/>
                  <a:gd name="T13" fmla="*/ 5 h 7"/>
                  <a:gd name="T14" fmla="*/ 10 w 13"/>
                  <a:gd name="T15" fmla="*/ 2 h 7"/>
                  <a:gd name="T16" fmla="*/ 8 w 13"/>
                  <a:gd name="T17" fmla="*/ 1 h 7"/>
                  <a:gd name="T18" fmla="*/ 4 w 13"/>
                  <a:gd name="T1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7">
                    <a:moveTo>
                      <a:pt x="4" y="0"/>
                    </a:moveTo>
                    <a:cubicBezTo>
                      <a:pt x="2" y="0"/>
                      <a:pt x="1" y="1"/>
                      <a:pt x="0" y="2"/>
                    </a:cubicBezTo>
                    <a:cubicBezTo>
                      <a:pt x="2" y="4"/>
                      <a:pt x="5" y="5"/>
                      <a:pt x="8" y="7"/>
                    </a:cubicBezTo>
                    <a:cubicBezTo>
                      <a:pt x="9" y="7"/>
                      <a:pt x="9" y="6"/>
                      <a:pt x="10" y="6"/>
                    </a:cubicBezTo>
                    <a:cubicBezTo>
                      <a:pt x="11" y="6"/>
                      <a:pt x="11" y="7"/>
                      <a:pt x="11" y="7"/>
                    </a:cubicBezTo>
                    <a:cubicBezTo>
                      <a:pt x="11" y="6"/>
                      <a:pt x="11" y="6"/>
                      <a:pt x="11" y="5"/>
                    </a:cubicBezTo>
                    <a:cubicBezTo>
                      <a:pt x="11" y="5"/>
                      <a:pt x="12" y="5"/>
                      <a:pt x="12" y="5"/>
                    </a:cubicBezTo>
                    <a:cubicBezTo>
                      <a:pt x="13" y="5"/>
                      <a:pt x="11" y="3"/>
                      <a:pt x="10" y="2"/>
                    </a:cubicBezTo>
                    <a:cubicBezTo>
                      <a:pt x="8" y="1"/>
                      <a:pt x="8" y="1"/>
                      <a:pt x="8" y="1"/>
                    </a:cubicBezTo>
                    <a:cubicBezTo>
                      <a:pt x="7"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328"/>
              <p:cNvSpPr/>
              <p:nvPr/>
            </p:nvSpPr>
            <p:spPr bwMode="auto">
              <a:xfrm>
                <a:off x="6759" y="4450"/>
                <a:ext cx="57" cy="17"/>
              </a:xfrm>
              <a:custGeom>
                <a:gdLst>
                  <a:gd name="T0" fmla="*/ 14 w 24"/>
                  <a:gd name="T1" fmla="*/ 0 h 7"/>
                  <a:gd name="T2" fmla="*/ 9 w 24"/>
                  <a:gd name="T3" fmla="*/ 1 h 7"/>
                  <a:gd name="T4" fmla="*/ 9 w 24"/>
                  <a:gd name="T5" fmla="*/ 1 h 7"/>
                  <a:gd name="T6" fmla="*/ 8 w 24"/>
                  <a:gd name="T7" fmla="*/ 1 h 7"/>
                  <a:gd name="T8" fmla="*/ 7 w 24"/>
                  <a:gd name="T9" fmla="*/ 1 h 7"/>
                  <a:gd name="T10" fmla="*/ 4 w 24"/>
                  <a:gd name="T11" fmla="*/ 2 h 7"/>
                  <a:gd name="T12" fmla="*/ 5 w 24"/>
                  <a:gd name="T13" fmla="*/ 4 h 7"/>
                  <a:gd name="T14" fmla="*/ 4 w 24"/>
                  <a:gd name="T15" fmla="*/ 7 h 7"/>
                  <a:gd name="T16" fmla="*/ 10 w 24"/>
                  <a:gd name="T17" fmla="*/ 5 h 7"/>
                  <a:gd name="T18" fmla="*/ 15 w 24"/>
                  <a:gd name="T19" fmla="*/ 5 h 7"/>
                  <a:gd name="T20" fmla="*/ 18 w 24"/>
                  <a:gd name="T21" fmla="*/ 6 h 7"/>
                  <a:gd name="T22" fmla="*/ 24 w 24"/>
                  <a:gd name="T23" fmla="*/ 2 h 7"/>
                  <a:gd name="T24" fmla="*/ 19 w 24"/>
                  <a:gd name="T25" fmla="*/ 1 h 7"/>
                  <a:gd name="T26" fmla="*/ 18 w 24"/>
                  <a:gd name="T27" fmla="*/ 1 h 7"/>
                  <a:gd name="T28" fmla="*/ 14 w 24"/>
                  <a:gd name="T2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7">
                    <a:moveTo>
                      <a:pt x="14" y="0"/>
                    </a:moveTo>
                    <a:cubicBezTo>
                      <a:pt x="13" y="0"/>
                      <a:pt x="10" y="1"/>
                      <a:pt x="9" y="1"/>
                    </a:cubicBezTo>
                    <a:cubicBezTo>
                      <a:pt x="9" y="1"/>
                      <a:pt x="9" y="1"/>
                      <a:pt x="9" y="1"/>
                    </a:cubicBezTo>
                    <a:cubicBezTo>
                      <a:pt x="8" y="1"/>
                      <a:pt x="8" y="1"/>
                      <a:pt x="8" y="1"/>
                    </a:cubicBezTo>
                    <a:cubicBezTo>
                      <a:pt x="7" y="1"/>
                      <a:pt x="7" y="1"/>
                      <a:pt x="7" y="1"/>
                    </a:cubicBezTo>
                    <a:cubicBezTo>
                      <a:pt x="5" y="1"/>
                      <a:pt x="4" y="1"/>
                      <a:pt x="4" y="2"/>
                    </a:cubicBezTo>
                    <a:cubicBezTo>
                      <a:pt x="4" y="2"/>
                      <a:pt x="5" y="3"/>
                      <a:pt x="5" y="4"/>
                    </a:cubicBezTo>
                    <a:cubicBezTo>
                      <a:pt x="4" y="5"/>
                      <a:pt x="0" y="4"/>
                      <a:pt x="4" y="7"/>
                    </a:cubicBezTo>
                    <a:cubicBezTo>
                      <a:pt x="6" y="5"/>
                      <a:pt x="8" y="5"/>
                      <a:pt x="10" y="5"/>
                    </a:cubicBezTo>
                    <a:cubicBezTo>
                      <a:pt x="11" y="5"/>
                      <a:pt x="13" y="5"/>
                      <a:pt x="15" y="5"/>
                    </a:cubicBezTo>
                    <a:cubicBezTo>
                      <a:pt x="16" y="6"/>
                      <a:pt x="17" y="6"/>
                      <a:pt x="18" y="6"/>
                    </a:cubicBezTo>
                    <a:cubicBezTo>
                      <a:pt x="20" y="6"/>
                      <a:pt x="22" y="5"/>
                      <a:pt x="24" y="2"/>
                    </a:cubicBezTo>
                    <a:cubicBezTo>
                      <a:pt x="23" y="2"/>
                      <a:pt x="20" y="1"/>
                      <a:pt x="19" y="1"/>
                    </a:cubicBezTo>
                    <a:cubicBezTo>
                      <a:pt x="19" y="1"/>
                      <a:pt x="18" y="1"/>
                      <a:pt x="18" y="1"/>
                    </a:cubicBezTo>
                    <a:cubicBezTo>
                      <a:pt x="17" y="1"/>
                      <a:pt x="16"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Freeform 329"/>
              <p:cNvSpPr/>
              <p:nvPr/>
            </p:nvSpPr>
            <p:spPr bwMode="auto">
              <a:xfrm>
                <a:off x="6965" y="4476"/>
                <a:ext cx="31" cy="17"/>
              </a:xfrm>
              <a:custGeom>
                <a:gdLst>
                  <a:gd name="T0" fmla="*/ 5 w 13"/>
                  <a:gd name="T1" fmla="*/ 0 h 7"/>
                  <a:gd name="T2" fmla="*/ 3 w 13"/>
                  <a:gd name="T3" fmla="*/ 1 h 7"/>
                  <a:gd name="T4" fmla="*/ 0 w 13"/>
                  <a:gd name="T5" fmla="*/ 2 h 7"/>
                  <a:gd name="T6" fmla="*/ 0 w 13"/>
                  <a:gd name="T7" fmla="*/ 2 h 7"/>
                  <a:gd name="T8" fmla="*/ 10 w 13"/>
                  <a:gd name="T9" fmla="*/ 7 h 7"/>
                  <a:gd name="T10" fmla="*/ 12 w 13"/>
                  <a:gd name="T11" fmla="*/ 2 h 7"/>
                  <a:gd name="T12" fmla="*/ 8 w 13"/>
                  <a:gd name="T13" fmla="*/ 0 h 7"/>
                  <a:gd name="T14" fmla="*/ 5 w 13"/>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5" y="0"/>
                    </a:moveTo>
                    <a:cubicBezTo>
                      <a:pt x="5" y="0"/>
                      <a:pt x="4" y="0"/>
                      <a:pt x="3" y="1"/>
                    </a:cubicBezTo>
                    <a:cubicBezTo>
                      <a:pt x="2" y="1"/>
                      <a:pt x="1" y="2"/>
                      <a:pt x="0" y="2"/>
                    </a:cubicBezTo>
                    <a:cubicBezTo>
                      <a:pt x="0" y="2"/>
                      <a:pt x="0" y="2"/>
                      <a:pt x="0" y="2"/>
                    </a:cubicBezTo>
                    <a:cubicBezTo>
                      <a:pt x="3" y="4"/>
                      <a:pt x="7" y="5"/>
                      <a:pt x="10" y="7"/>
                    </a:cubicBezTo>
                    <a:cubicBezTo>
                      <a:pt x="12" y="7"/>
                      <a:pt x="13" y="4"/>
                      <a:pt x="12" y="2"/>
                    </a:cubicBezTo>
                    <a:cubicBezTo>
                      <a:pt x="12" y="2"/>
                      <a:pt x="9" y="1"/>
                      <a:pt x="8" y="0"/>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330"/>
              <p:cNvSpPr/>
              <p:nvPr/>
            </p:nvSpPr>
            <p:spPr bwMode="auto">
              <a:xfrm>
                <a:off x="7012" y="4509"/>
                <a:ext cx="10" cy="2"/>
              </a:xfrm>
              <a:custGeom>
                <a:gdLst>
                  <a:gd name="T0" fmla="*/ 2 w 4"/>
                  <a:gd name="T1" fmla="*/ 0 h 1"/>
                  <a:gd name="T2" fmla="*/ 0 w 4"/>
                  <a:gd name="T3" fmla="*/ 1 h 1"/>
                  <a:gd name="T4" fmla="*/ 4 w 4"/>
                  <a:gd name="T5" fmla="*/ 0 h 1"/>
                  <a:gd name="T6" fmla="*/ 2 w 4"/>
                  <a:gd name="T7" fmla="*/ 0 h 1"/>
                </a:gdLst>
                <a:cxnLst>
                  <a:cxn ang="0">
                    <a:pos x="T0" y="T1"/>
                  </a:cxn>
                  <a:cxn ang="0">
                    <a:pos x="T2" y="T3"/>
                  </a:cxn>
                  <a:cxn ang="0">
                    <a:pos x="T4" y="T5"/>
                  </a:cxn>
                  <a:cxn ang="0">
                    <a:pos x="T6" y="T7"/>
                  </a:cxn>
                </a:cxnLst>
                <a:rect l="0" t="0" r="r" b="b"/>
                <a:pathLst>
                  <a:path w="4" h="1">
                    <a:moveTo>
                      <a:pt x="2" y="0"/>
                    </a:moveTo>
                    <a:cubicBezTo>
                      <a:pt x="2" y="0"/>
                      <a:pt x="1" y="0"/>
                      <a:pt x="0" y="1"/>
                    </a:cubicBezTo>
                    <a:cubicBezTo>
                      <a:pt x="1" y="1"/>
                      <a:pt x="3" y="0"/>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Freeform 331"/>
              <p:cNvSpPr/>
              <p:nvPr/>
            </p:nvSpPr>
            <p:spPr bwMode="auto">
              <a:xfrm>
                <a:off x="7024" y="4509"/>
                <a:ext cx="2" cy="0"/>
              </a:xfrm>
              <a:custGeom>
                <a:gdLst>
                  <a:gd name="T0" fmla="*/ 0 w 1"/>
                  <a:gd name="T1" fmla="*/ 1 w 1"/>
                  <a:gd name="T2" fmla="*/ 1 w 1"/>
                  <a:gd name="T3" fmla="*/ 0 w 1"/>
                </a:gd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332"/>
              <p:cNvSpPr/>
              <p:nvPr/>
            </p:nvSpPr>
            <p:spPr bwMode="auto">
              <a:xfrm>
                <a:off x="7012" y="4904"/>
                <a:ext cx="33" cy="28"/>
              </a:xfrm>
              <a:custGeom>
                <a:gdLst>
                  <a:gd name="T0" fmla="*/ 0 w 14"/>
                  <a:gd name="T1" fmla="*/ 0 h 12"/>
                  <a:gd name="T2" fmla="*/ 5 w 14"/>
                  <a:gd name="T3" fmla="*/ 9 h 12"/>
                  <a:gd name="T4" fmla="*/ 11 w 14"/>
                  <a:gd name="T5" fmla="*/ 12 h 12"/>
                  <a:gd name="T6" fmla="*/ 13 w 14"/>
                  <a:gd name="T7" fmla="*/ 5 h 12"/>
                  <a:gd name="T8" fmla="*/ 12 w 14"/>
                  <a:gd name="T9" fmla="*/ 5 h 12"/>
                  <a:gd name="T10" fmla="*/ 10 w 14"/>
                  <a:gd name="T11" fmla="*/ 7 h 12"/>
                  <a:gd name="T12" fmla="*/ 8 w 14"/>
                  <a:gd name="T13" fmla="*/ 8 h 12"/>
                  <a:gd name="T14" fmla="*/ 8 w 14"/>
                  <a:gd name="T15" fmla="*/ 8 h 12"/>
                  <a:gd name="T16" fmla="*/ 7 w 14"/>
                  <a:gd name="T17" fmla="*/ 7 h 12"/>
                  <a:gd name="T18" fmla="*/ 5 w 14"/>
                  <a:gd name="T19" fmla="*/ 5 h 12"/>
                  <a:gd name="T20" fmla="*/ 4 w 14"/>
                  <a:gd name="T21" fmla="*/ 3 h 12"/>
                  <a:gd name="T22" fmla="*/ 0 w 14"/>
                  <a:gd name="T2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0" y="0"/>
                    </a:moveTo>
                    <a:cubicBezTo>
                      <a:pt x="1" y="3"/>
                      <a:pt x="3" y="6"/>
                      <a:pt x="5" y="9"/>
                    </a:cubicBezTo>
                    <a:cubicBezTo>
                      <a:pt x="6" y="11"/>
                      <a:pt x="9" y="11"/>
                      <a:pt x="11" y="12"/>
                    </a:cubicBezTo>
                    <a:cubicBezTo>
                      <a:pt x="12" y="11"/>
                      <a:pt x="14" y="6"/>
                      <a:pt x="13" y="5"/>
                    </a:cubicBezTo>
                    <a:cubicBezTo>
                      <a:pt x="13" y="5"/>
                      <a:pt x="12" y="5"/>
                      <a:pt x="12" y="5"/>
                    </a:cubicBezTo>
                    <a:cubicBezTo>
                      <a:pt x="11" y="5"/>
                      <a:pt x="11" y="6"/>
                      <a:pt x="10" y="7"/>
                    </a:cubicBezTo>
                    <a:cubicBezTo>
                      <a:pt x="9" y="7"/>
                      <a:pt x="9" y="8"/>
                      <a:pt x="8" y="8"/>
                    </a:cubicBezTo>
                    <a:cubicBezTo>
                      <a:pt x="8" y="8"/>
                      <a:pt x="8" y="8"/>
                      <a:pt x="8" y="8"/>
                    </a:cubicBezTo>
                    <a:cubicBezTo>
                      <a:pt x="7" y="8"/>
                      <a:pt x="7" y="7"/>
                      <a:pt x="7" y="7"/>
                    </a:cubicBezTo>
                    <a:cubicBezTo>
                      <a:pt x="5" y="5"/>
                      <a:pt x="5" y="5"/>
                      <a:pt x="5" y="5"/>
                    </a:cubicBezTo>
                    <a:cubicBezTo>
                      <a:pt x="5" y="4"/>
                      <a:pt x="4" y="4"/>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333"/>
              <p:cNvSpPr/>
              <p:nvPr/>
            </p:nvSpPr>
            <p:spPr bwMode="auto">
              <a:xfrm>
                <a:off x="7022" y="4956"/>
                <a:ext cx="9" cy="5"/>
              </a:xfrm>
              <a:custGeom>
                <a:gdLst>
                  <a:gd name="T0" fmla="*/ 3 w 4"/>
                  <a:gd name="T1" fmla="*/ 0 h 2"/>
                  <a:gd name="T2" fmla="*/ 0 w 4"/>
                  <a:gd name="T3" fmla="*/ 2 h 2"/>
                  <a:gd name="T4" fmla="*/ 1 w 4"/>
                  <a:gd name="T5" fmla="*/ 2 h 2"/>
                  <a:gd name="T6" fmla="*/ 3 w 4"/>
                  <a:gd name="T7" fmla="*/ 0 h 2"/>
                </a:gdLst>
                <a:cxnLst>
                  <a:cxn ang="0">
                    <a:pos x="T0" y="T1"/>
                  </a:cxn>
                  <a:cxn ang="0">
                    <a:pos x="T2" y="T3"/>
                  </a:cxn>
                  <a:cxn ang="0">
                    <a:pos x="T4" y="T5"/>
                  </a:cxn>
                  <a:cxn ang="0">
                    <a:pos x="T6" y="T7"/>
                  </a:cxn>
                </a:cxnLst>
                <a:rect l="0" t="0" r="r" b="b"/>
                <a:pathLst>
                  <a:path w="4" h="2">
                    <a:moveTo>
                      <a:pt x="3" y="0"/>
                    </a:moveTo>
                    <a:cubicBezTo>
                      <a:pt x="2" y="1"/>
                      <a:pt x="1" y="1"/>
                      <a:pt x="0" y="2"/>
                    </a:cubicBezTo>
                    <a:cubicBezTo>
                      <a:pt x="0" y="2"/>
                      <a:pt x="1" y="2"/>
                      <a:pt x="1" y="2"/>
                    </a:cubicBezTo>
                    <a:cubicBezTo>
                      <a:pt x="2" y="2"/>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334"/>
              <p:cNvSpPr/>
              <p:nvPr/>
            </p:nvSpPr>
            <p:spPr bwMode="auto">
              <a:xfrm>
                <a:off x="4514" y="3072"/>
                <a:ext cx="10" cy="2"/>
              </a:xfrm>
              <a:custGeom>
                <a:gdLst>
                  <a:gd name="T0" fmla="*/ 4 w 4"/>
                  <a:gd name="T1" fmla="*/ 0 h 1"/>
                  <a:gd name="T2" fmla="*/ 0 w 4"/>
                  <a:gd name="T3" fmla="*/ 1 h 1"/>
                  <a:gd name="T4" fmla="*/ 1 w 4"/>
                  <a:gd name="T5" fmla="*/ 1 h 1"/>
                  <a:gd name="T6" fmla="*/ 4 w 4"/>
                  <a:gd name="T7" fmla="*/ 0 h 1"/>
                </a:gdLst>
                <a:cxnLst>
                  <a:cxn ang="0">
                    <a:pos x="T0" y="T1"/>
                  </a:cxn>
                  <a:cxn ang="0">
                    <a:pos x="T2" y="T3"/>
                  </a:cxn>
                  <a:cxn ang="0">
                    <a:pos x="T4" y="T5"/>
                  </a:cxn>
                  <a:cxn ang="0">
                    <a:pos x="T6" y="T7"/>
                  </a:cxn>
                </a:cxnLst>
                <a:rect l="0" t="0" r="r" b="b"/>
                <a:pathLst>
                  <a:path w="4" h="1">
                    <a:moveTo>
                      <a:pt x="4" y="0"/>
                    </a:moveTo>
                    <a:cubicBezTo>
                      <a:pt x="3" y="0"/>
                      <a:pt x="1" y="1"/>
                      <a:pt x="0" y="1"/>
                    </a:cubicBezTo>
                    <a:cubicBezTo>
                      <a:pt x="0" y="1"/>
                      <a:pt x="0" y="1"/>
                      <a:pt x="1" y="1"/>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7" name="Freeform 335"/>
              <p:cNvSpPr/>
              <p:nvPr/>
            </p:nvSpPr>
            <p:spPr bwMode="auto">
              <a:xfrm>
                <a:off x="4283" y="3727"/>
                <a:ext cx="14" cy="23"/>
              </a:xfrm>
              <a:custGeom>
                <a:gdLst>
                  <a:gd name="T0" fmla="*/ 4 w 6"/>
                  <a:gd name="T1" fmla="*/ 0 h 10"/>
                  <a:gd name="T2" fmla="*/ 2 w 6"/>
                  <a:gd name="T3" fmla="*/ 1 h 10"/>
                  <a:gd name="T4" fmla="*/ 0 w 6"/>
                  <a:gd name="T5" fmla="*/ 2 h 10"/>
                  <a:gd name="T6" fmla="*/ 0 w 6"/>
                  <a:gd name="T7" fmla="*/ 2 h 10"/>
                  <a:gd name="T8" fmla="*/ 3 w 6"/>
                  <a:gd name="T9" fmla="*/ 10 h 10"/>
                  <a:gd name="T10" fmla="*/ 6 w 6"/>
                  <a:gd name="T11" fmla="*/ 2 h 10"/>
                  <a:gd name="T12" fmla="*/ 4 w 6"/>
                  <a:gd name="T13" fmla="*/ 0 h 10"/>
                </a:gdLst>
                <a:cxnLst>
                  <a:cxn ang="0">
                    <a:pos x="T0" y="T1"/>
                  </a:cxn>
                  <a:cxn ang="0">
                    <a:pos x="T2" y="T3"/>
                  </a:cxn>
                  <a:cxn ang="0">
                    <a:pos x="T4" y="T5"/>
                  </a:cxn>
                  <a:cxn ang="0">
                    <a:pos x="T6" y="T7"/>
                  </a:cxn>
                  <a:cxn ang="0">
                    <a:pos x="T8" y="T9"/>
                  </a:cxn>
                  <a:cxn ang="0">
                    <a:pos x="T10" y="T11"/>
                  </a:cxn>
                  <a:cxn ang="0">
                    <a:pos x="T12" y="T13"/>
                  </a:cxn>
                </a:cxnLst>
                <a:rect l="0" t="0" r="r" b="b"/>
                <a:pathLst>
                  <a:path w="6" h="10">
                    <a:moveTo>
                      <a:pt x="4" y="0"/>
                    </a:moveTo>
                    <a:cubicBezTo>
                      <a:pt x="3" y="0"/>
                      <a:pt x="3" y="1"/>
                      <a:pt x="2" y="1"/>
                    </a:cubicBezTo>
                    <a:cubicBezTo>
                      <a:pt x="1" y="1"/>
                      <a:pt x="1" y="2"/>
                      <a:pt x="0" y="2"/>
                    </a:cubicBezTo>
                    <a:cubicBezTo>
                      <a:pt x="0" y="2"/>
                      <a:pt x="0" y="2"/>
                      <a:pt x="0" y="2"/>
                    </a:cubicBezTo>
                    <a:cubicBezTo>
                      <a:pt x="1" y="4"/>
                      <a:pt x="2" y="7"/>
                      <a:pt x="3" y="10"/>
                    </a:cubicBezTo>
                    <a:cubicBezTo>
                      <a:pt x="5" y="8"/>
                      <a:pt x="6" y="4"/>
                      <a:pt x="6" y="2"/>
                    </a:cubicBezTo>
                    <a:cubicBezTo>
                      <a:pt x="5"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336"/>
              <p:cNvSpPr>
                <a:spLocks noEditPoints="1"/>
              </p:cNvSpPr>
              <p:nvPr/>
            </p:nvSpPr>
            <p:spPr bwMode="auto">
              <a:xfrm>
                <a:off x="4368" y="3722"/>
                <a:ext cx="87" cy="54"/>
              </a:xfrm>
              <a:custGeom>
                <a:gdLst>
                  <a:gd name="T0" fmla="*/ 1 w 37"/>
                  <a:gd name="T1" fmla="*/ 0 h 23"/>
                  <a:gd name="T2" fmla="*/ 4 w 37"/>
                  <a:gd name="T3" fmla="*/ 5 h 23"/>
                  <a:gd name="T4" fmla="*/ 8 w 37"/>
                  <a:gd name="T5" fmla="*/ 8 h 23"/>
                  <a:gd name="T6" fmla="*/ 8 w 37"/>
                  <a:gd name="T7" fmla="*/ 8 h 23"/>
                  <a:gd name="T8" fmla="*/ 12 w 37"/>
                  <a:gd name="T9" fmla="*/ 12 h 23"/>
                  <a:gd name="T10" fmla="*/ 12 w 37"/>
                  <a:gd name="T11" fmla="*/ 12 h 23"/>
                  <a:gd name="T12" fmla="*/ 21 w 37"/>
                  <a:gd name="T13" fmla="*/ 19 h 23"/>
                  <a:gd name="T14" fmla="*/ 29 w 37"/>
                  <a:gd name="T15" fmla="*/ 23 h 23"/>
                  <a:gd name="T16" fmla="*/ 30 w 37"/>
                  <a:gd name="T17" fmla="*/ 23 h 23"/>
                  <a:gd name="T18" fmla="*/ 1 w 37"/>
                  <a:gd name="T19" fmla="*/ 0 h 23"/>
                  <a:gd name="T20" fmla="*/ 1 w 37"/>
                  <a:gd name="T21" fmla="*/ 0 h 23"/>
                  <a:gd name="T22" fmla="*/ 1 w 37"/>
                  <a:gd name="T23" fmla="*/ 0 h 23"/>
                  <a:gd name="T24" fmla="*/ 1 w 37"/>
                  <a:gd name="T25"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23">
                    <a:moveTo>
                      <a:pt x="1" y="0"/>
                    </a:moveTo>
                    <a:cubicBezTo>
                      <a:pt x="1" y="2"/>
                      <a:pt x="3" y="3"/>
                      <a:pt x="4" y="5"/>
                    </a:cubicBezTo>
                    <a:cubicBezTo>
                      <a:pt x="5" y="6"/>
                      <a:pt x="7" y="7"/>
                      <a:pt x="8" y="8"/>
                    </a:cubicBezTo>
                    <a:cubicBezTo>
                      <a:pt x="8" y="8"/>
                      <a:pt x="8" y="8"/>
                      <a:pt x="8" y="8"/>
                    </a:cubicBezTo>
                    <a:cubicBezTo>
                      <a:pt x="9" y="10"/>
                      <a:pt x="11" y="11"/>
                      <a:pt x="12" y="12"/>
                    </a:cubicBezTo>
                    <a:cubicBezTo>
                      <a:pt x="12" y="12"/>
                      <a:pt x="12" y="12"/>
                      <a:pt x="12" y="12"/>
                    </a:cubicBezTo>
                    <a:cubicBezTo>
                      <a:pt x="15" y="14"/>
                      <a:pt x="18" y="17"/>
                      <a:pt x="21" y="19"/>
                    </a:cubicBezTo>
                    <a:cubicBezTo>
                      <a:pt x="23" y="20"/>
                      <a:pt x="27" y="23"/>
                      <a:pt x="29" y="23"/>
                    </a:cubicBezTo>
                    <a:cubicBezTo>
                      <a:pt x="30" y="23"/>
                      <a:pt x="30" y="23"/>
                      <a:pt x="30" y="23"/>
                    </a:cubicBezTo>
                    <a:cubicBezTo>
                      <a:pt x="37" y="16"/>
                      <a:pt x="1" y="1"/>
                      <a:pt x="1" y="0"/>
                    </a:cubicBezTo>
                    <a:moveTo>
                      <a:pt x="1" y="0"/>
                    </a:moveTo>
                    <a:cubicBezTo>
                      <a:pt x="0" y="0"/>
                      <a:pt x="0"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9" name="Freeform 337"/>
              <p:cNvSpPr/>
              <p:nvPr/>
            </p:nvSpPr>
            <p:spPr bwMode="auto">
              <a:xfrm>
                <a:off x="4439" y="3826"/>
                <a:ext cx="7" cy="5"/>
              </a:xfrm>
              <a:custGeom>
                <a:gdLst>
                  <a:gd name="T0" fmla="*/ 3 w 3"/>
                  <a:gd name="T1" fmla="*/ 0 h 2"/>
                  <a:gd name="T2" fmla="*/ 1 w 3"/>
                  <a:gd name="T3" fmla="*/ 2 h 2"/>
                  <a:gd name="T4" fmla="*/ 3 w 3"/>
                  <a:gd name="T5" fmla="*/ 0 h 2"/>
                </a:gdLst>
                <a:cxnLst>
                  <a:cxn ang="0">
                    <a:pos x="T0" y="T1"/>
                  </a:cxn>
                  <a:cxn ang="0">
                    <a:pos x="T2" y="T3"/>
                  </a:cxn>
                  <a:cxn ang="0">
                    <a:pos x="T4" y="T5"/>
                  </a:cxn>
                </a:cxnLst>
                <a:rect l="0" t="0" r="r" b="b"/>
                <a:pathLst>
                  <a:path w="3" h="2">
                    <a:moveTo>
                      <a:pt x="3" y="0"/>
                    </a:moveTo>
                    <a:cubicBezTo>
                      <a:pt x="2" y="1"/>
                      <a:pt x="0" y="1"/>
                      <a:pt x="1" y="2"/>
                    </a:cubicBezTo>
                    <a:cubicBezTo>
                      <a:pt x="2"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338"/>
              <p:cNvSpPr/>
              <p:nvPr/>
            </p:nvSpPr>
            <p:spPr bwMode="auto">
              <a:xfrm>
                <a:off x="4410" y="3736"/>
                <a:ext cx="41" cy="26"/>
              </a:xfrm>
              <a:custGeom>
                <a:gdLst>
                  <a:gd name="T0" fmla="*/ 5 w 17"/>
                  <a:gd name="T1" fmla="*/ 0 h 11"/>
                  <a:gd name="T2" fmla="*/ 3 w 17"/>
                  <a:gd name="T3" fmla="*/ 1 h 11"/>
                  <a:gd name="T4" fmla="*/ 6 w 17"/>
                  <a:gd name="T5" fmla="*/ 1 h 11"/>
                  <a:gd name="T6" fmla="*/ 4 w 17"/>
                  <a:gd name="T7" fmla="*/ 1 h 11"/>
                  <a:gd name="T8" fmla="*/ 4 w 17"/>
                  <a:gd name="T9" fmla="*/ 1 h 11"/>
                  <a:gd name="T10" fmla="*/ 0 w 17"/>
                  <a:gd name="T11" fmla="*/ 0 h 11"/>
                  <a:gd name="T12" fmla="*/ 11 w 17"/>
                  <a:gd name="T13" fmla="*/ 9 h 11"/>
                  <a:gd name="T14" fmla="*/ 15 w 17"/>
                  <a:gd name="T15" fmla="*/ 11 h 11"/>
                  <a:gd name="T16" fmla="*/ 16 w 17"/>
                  <a:gd name="T17" fmla="*/ 10 h 11"/>
                  <a:gd name="T18" fmla="*/ 14 w 17"/>
                  <a:gd name="T19" fmla="*/ 8 h 11"/>
                  <a:gd name="T20" fmla="*/ 10 w 17"/>
                  <a:gd name="T21" fmla="*/ 6 h 11"/>
                  <a:gd name="T22" fmla="*/ 6 w 17"/>
                  <a:gd name="T23" fmla="*/ 1 h 11"/>
                  <a:gd name="T24" fmla="*/ 8 w 17"/>
                  <a:gd name="T25" fmla="*/ 2 h 11"/>
                  <a:gd name="T26" fmla="*/ 15 w 17"/>
                  <a:gd name="T27" fmla="*/ 8 h 11"/>
                  <a:gd name="T28" fmla="*/ 15 w 17"/>
                  <a:gd name="T29" fmla="*/ 3 h 11"/>
                  <a:gd name="T30" fmla="*/ 15 w 17"/>
                  <a:gd name="T31" fmla="*/ 3 h 11"/>
                  <a:gd name="T32" fmla="*/ 17 w 17"/>
                  <a:gd name="T33" fmla="*/ 3 h 11"/>
                  <a:gd name="T34" fmla="*/ 5 w 17"/>
                  <a:gd name="T35"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1">
                    <a:moveTo>
                      <a:pt x="5" y="0"/>
                    </a:moveTo>
                    <a:cubicBezTo>
                      <a:pt x="4" y="0"/>
                      <a:pt x="3" y="0"/>
                      <a:pt x="3" y="1"/>
                    </a:cubicBezTo>
                    <a:cubicBezTo>
                      <a:pt x="4" y="1"/>
                      <a:pt x="5" y="1"/>
                      <a:pt x="6" y="1"/>
                    </a:cubicBezTo>
                    <a:cubicBezTo>
                      <a:pt x="5" y="1"/>
                      <a:pt x="4" y="1"/>
                      <a:pt x="4" y="1"/>
                    </a:cubicBezTo>
                    <a:cubicBezTo>
                      <a:pt x="4" y="1"/>
                      <a:pt x="4" y="1"/>
                      <a:pt x="4" y="1"/>
                    </a:cubicBezTo>
                    <a:cubicBezTo>
                      <a:pt x="2" y="1"/>
                      <a:pt x="1" y="0"/>
                      <a:pt x="0" y="0"/>
                    </a:cubicBezTo>
                    <a:cubicBezTo>
                      <a:pt x="2" y="4"/>
                      <a:pt x="7" y="7"/>
                      <a:pt x="11" y="9"/>
                    </a:cubicBezTo>
                    <a:cubicBezTo>
                      <a:pt x="11" y="10"/>
                      <a:pt x="13" y="11"/>
                      <a:pt x="15" y="11"/>
                    </a:cubicBezTo>
                    <a:cubicBezTo>
                      <a:pt x="15" y="11"/>
                      <a:pt x="16" y="11"/>
                      <a:pt x="16" y="10"/>
                    </a:cubicBezTo>
                    <a:cubicBezTo>
                      <a:pt x="16" y="9"/>
                      <a:pt x="14" y="9"/>
                      <a:pt x="14" y="8"/>
                    </a:cubicBezTo>
                    <a:cubicBezTo>
                      <a:pt x="13" y="8"/>
                      <a:pt x="11" y="7"/>
                      <a:pt x="10" y="6"/>
                    </a:cubicBezTo>
                    <a:cubicBezTo>
                      <a:pt x="9" y="5"/>
                      <a:pt x="8" y="2"/>
                      <a:pt x="6" y="1"/>
                    </a:cubicBezTo>
                    <a:cubicBezTo>
                      <a:pt x="7" y="1"/>
                      <a:pt x="7" y="1"/>
                      <a:pt x="8" y="2"/>
                    </a:cubicBezTo>
                    <a:cubicBezTo>
                      <a:pt x="10" y="5"/>
                      <a:pt x="12" y="7"/>
                      <a:pt x="15" y="8"/>
                    </a:cubicBezTo>
                    <a:cubicBezTo>
                      <a:pt x="15" y="7"/>
                      <a:pt x="15" y="5"/>
                      <a:pt x="15" y="3"/>
                    </a:cubicBezTo>
                    <a:cubicBezTo>
                      <a:pt x="15" y="3"/>
                      <a:pt x="15" y="3"/>
                      <a:pt x="15" y="3"/>
                    </a:cubicBezTo>
                    <a:cubicBezTo>
                      <a:pt x="16" y="3"/>
                      <a:pt x="17" y="3"/>
                      <a:pt x="17" y="3"/>
                    </a:cubicBezTo>
                    <a:cubicBezTo>
                      <a:pt x="14" y="0"/>
                      <a:pt x="9"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339"/>
              <p:cNvSpPr/>
              <p:nvPr/>
            </p:nvSpPr>
            <p:spPr bwMode="auto">
              <a:xfrm>
                <a:off x="4488" y="3095"/>
                <a:ext cx="10" cy="8"/>
              </a:xfrm>
              <a:custGeom>
                <a:gdLst>
                  <a:gd name="T0" fmla="*/ 4 w 4"/>
                  <a:gd name="T1" fmla="*/ 0 h 3"/>
                  <a:gd name="T2" fmla="*/ 0 w 4"/>
                  <a:gd name="T3" fmla="*/ 3 h 3"/>
                  <a:gd name="T4" fmla="*/ 1 w 4"/>
                  <a:gd name="T5" fmla="*/ 3 h 3"/>
                  <a:gd name="T6" fmla="*/ 4 w 4"/>
                  <a:gd name="T7" fmla="*/ 0 h 3"/>
                </a:gdLst>
                <a:cxnLst>
                  <a:cxn ang="0">
                    <a:pos x="T0" y="T1"/>
                  </a:cxn>
                  <a:cxn ang="0">
                    <a:pos x="T2" y="T3"/>
                  </a:cxn>
                  <a:cxn ang="0">
                    <a:pos x="T4" y="T5"/>
                  </a:cxn>
                  <a:cxn ang="0">
                    <a:pos x="T6" y="T7"/>
                  </a:cxn>
                </a:cxnLst>
                <a:rect l="0" t="0" r="r" b="b"/>
                <a:pathLst>
                  <a:path w="4" h="3">
                    <a:moveTo>
                      <a:pt x="4" y="0"/>
                    </a:moveTo>
                    <a:cubicBezTo>
                      <a:pt x="3" y="1"/>
                      <a:pt x="2" y="2"/>
                      <a:pt x="0" y="3"/>
                    </a:cubicBezTo>
                    <a:cubicBezTo>
                      <a:pt x="1" y="3"/>
                      <a:pt x="1" y="3"/>
                      <a:pt x="1" y="3"/>
                    </a:cubicBezTo>
                    <a:cubicBezTo>
                      <a:pt x="3"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340"/>
              <p:cNvSpPr/>
              <p:nvPr/>
            </p:nvSpPr>
            <p:spPr bwMode="auto">
              <a:xfrm>
                <a:off x="4455" y="3720"/>
                <a:ext cx="5" cy="11"/>
              </a:xfrm>
              <a:custGeom>
                <a:gdLst>
                  <a:gd name="T0" fmla="*/ 1 w 2"/>
                  <a:gd name="T1" fmla="*/ 0 h 5"/>
                  <a:gd name="T2" fmla="*/ 0 w 2"/>
                  <a:gd name="T3" fmla="*/ 1 h 5"/>
                  <a:gd name="T4" fmla="*/ 1 w 2"/>
                  <a:gd name="T5" fmla="*/ 5 h 5"/>
                  <a:gd name="T6" fmla="*/ 1 w 2"/>
                  <a:gd name="T7" fmla="*/ 0 h 5"/>
                </a:gdLst>
                <a:cxnLst>
                  <a:cxn ang="0">
                    <a:pos x="T0" y="T1"/>
                  </a:cxn>
                  <a:cxn ang="0">
                    <a:pos x="T2" y="T3"/>
                  </a:cxn>
                  <a:cxn ang="0">
                    <a:pos x="T4" y="T5"/>
                  </a:cxn>
                  <a:cxn ang="0">
                    <a:pos x="T6" y="T7"/>
                  </a:cxn>
                </a:cxnLst>
                <a:rect l="0" t="0" r="r" b="b"/>
                <a:pathLst>
                  <a:path w="2" h="5">
                    <a:moveTo>
                      <a:pt x="1" y="0"/>
                    </a:moveTo>
                    <a:cubicBezTo>
                      <a:pt x="1" y="0"/>
                      <a:pt x="0" y="1"/>
                      <a:pt x="0" y="1"/>
                    </a:cubicBezTo>
                    <a:cubicBezTo>
                      <a:pt x="0" y="2"/>
                      <a:pt x="0" y="3"/>
                      <a:pt x="1" y="5"/>
                    </a:cubicBezTo>
                    <a:cubicBezTo>
                      <a:pt x="1"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341"/>
              <p:cNvSpPr/>
              <p:nvPr/>
            </p:nvSpPr>
            <p:spPr bwMode="auto">
              <a:xfrm>
                <a:off x="4462" y="3105"/>
                <a:ext cx="10" cy="9"/>
              </a:xfrm>
              <a:custGeom>
                <a:gdLst>
                  <a:gd name="T0" fmla="*/ 1 w 4"/>
                  <a:gd name="T1" fmla="*/ 0 h 4"/>
                  <a:gd name="T2" fmla="*/ 0 w 4"/>
                  <a:gd name="T3" fmla="*/ 0 h 4"/>
                  <a:gd name="T4" fmla="*/ 3 w 4"/>
                  <a:gd name="T5" fmla="*/ 4 h 4"/>
                  <a:gd name="T6" fmla="*/ 4 w 4"/>
                  <a:gd name="T7" fmla="*/ 2 h 4"/>
                  <a:gd name="T8" fmla="*/ 1 w 4"/>
                  <a:gd name="T9" fmla="*/ 0 h 4"/>
                </a:gdLst>
                <a:cxnLst>
                  <a:cxn ang="0">
                    <a:pos x="T0" y="T1"/>
                  </a:cxn>
                  <a:cxn ang="0">
                    <a:pos x="T2" y="T3"/>
                  </a:cxn>
                  <a:cxn ang="0">
                    <a:pos x="T4" y="T5"/>
                  </a:cxn>
                  <a:cxn ang="0">
                    <a:pos x="T6" y="T7"/>
                  </a:cxn>
                  <a:cxn ang="0">
                    <a:pos x="T8" y="T9"/>
                  </a:cxn>
                </a:cxnLst>
                <a:rect l="0" t="0" r="r" b="b"/>
                <a:pathLst>
                  <a:path w="4" h="4">
                    <a:moveTo>
                      <a:pt x="1" y="0"/>
                    </a:moveTo>
                    <a:cubicBezTo>
                      <a:pt x="1" y="0"/>
                      <a:pt x="1" y="0"/>
                      <a:pt x="0" y="0"/>
                    </a:cubicBezTo>
                    <a:cubicBezTo>
                      <a:pt x="1" y="1"/>
                      <a:pt x="2" y="3"/>
                      <a:pt x="3" y="4"/>
                    </a:cubicBezTo>
                    <a:cubicBezTo>
                      <a:pt x="3" y="2"/>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342"/>
              <p:cNvSpPr/>
              <p:nvPr/>
            </p:nvSpPr>
            <p:spPr bwMode="auto">
              <a:xfrm>
                <a:off x="5226" y="2840"/>
                <a:ext cx="113" cy="201"/>
              </a:xfrm>
              <a:custGeom>
                <a:gdLst>
                  <a:gd name="T0" fmla="*/ 39 w 48"/>
                  <a:gd name="T1" fmla="*/ 0 h 85"/>
                  <a:gd name="T2" fmla="*/ 41 w 48"/>
                  <a:gd name="T3" fmla="*/ 4 h 85"/>
                  <a:gd name="T4" fmla="*/ 34 w 48"/>
                  <a:gd name="T5" fmla="*/ 11 h 85"/>
                  <a:gd name="T6" fmla="*/ 27 w 48"/>
                  <a:gd name="T7" fmla="*/ 4 h 85"/>
                  <a:gd name="T8" fmla="*/ 28 w 48"/>
                  <a:gd name="T9" fmla="*/ 2 h 85"/>
                  <a:gd name="T10" fmla="*/ 22 w 48"/>
                  <a:gd name="T11" fmla="*/ 6 h 85"/>
                  <a:gd name="T12" fmla="*/ 20 w 48"/>
                  <a:gd name="T13" fmla="*/ 11 h 85"/>
                  <a:gd name="T14" fmla="*/ 16 w 48"/>
                  <a:gd name="T15" fmla="*/ 16 h 85"/>
                  <a:gd name="T16" fmla="*/ 3 w 48"/>
                  <a:gd name="T17" fmla="*/ 39 h 85"/>
                  <a:gd name="T18" fmla="*/ 1 w 48"/>
                  <a:gd name="T19" fmla="*/ 53 h 85"/>
                  <a:gd name="T20" fmla="*/ 4 w 48"/>
                  <a:gd name="T21" fmla="*/ 64 h 85"/>
                  <a:gd name="T22" fmla="*/ 11 w 48"/>
                  <a:gd name="T23" fmla="*/ 75 h 85"/>
                  <a:gd name="T24" fmla="*/ 19 w 48"/>
                  <a:gd name="T25" fmla="*/ 85 h 85"/>
                  <a:gd name="T26" fmla="*/ 25 w 48"/>
                  <a:gd name="T27" fmla="*/ 67 h 85"/>
                  <a:gd name="T28" fmla="*/ 35 w 48"/>
                  <a:gd name="T29" fmla="*/ 45 h 85"/>
                  <a:gd name="T30" fmla="*/ 42 w 48"/>
                  <a:gd name="T31" fmla="*/ 23 h 85"/>
                  <a:gd name="T32" fmla="*/ 44 w 48"/>
                  <a:gd name="T33" fmla="*/ 13 h 85"/>
                  <a:gd name="T34" fmla="*/ 48 w 48"/>
                  <a:gd name="T35" fmla="*/ 4 h 85"/>
                  <a:gd name="T36" fmla="*/ 39 w 48"/>
                  <a:gd name="T37" fmla="*/ 0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85">
                    <a:moveTo>
                      <a:pt x="39" y="0"/>
                    </a:moveTo>
                    <a:cubicBezTo>
                      <a:pt x="40" y="1"/>
                      <a:pt x="41" y="2"/>
                      <a:pt x="41" y="4"/>
                    </a:cubicBezTo>
                    <a:cubicBezTo>
                      <a:pt x="41" y="8"/>
                      <a:pt x="38" y="11"/>
                      <a:pt x="34" y="11"/>
                    </a:cubicBezTo>
                    <a:cubicBezTo>
                      <a:pt x="30" y="11"/>
                      <a:pt x="27" y="8"/>
                      <a:pt x="27" y="4"/>
                    </a:cubicBezTo>
                    <a:cubicBezTo>
                      <a:pt x="27" y="4"/>
                      <a:pt x="28" y="3"/>
                      <a:pt x="28" y="2"/>
                    </a:cubicBezTo>
                    <a:cubicBezTo>
                      <a:pt x="26" y="4"/>
                      <a:pt x="24" y="5"/>
                      <a:pt x="22" y="6"/>
                    </a:cubicBezTo>
                    <a:cubicBezTo>
                      <a:pt x="21" y="7"/>
                      <a:pt x="21" y="10"/>
                      <a:pt x="20" y="11"/>
                    </a:cubicBezTo>
                    <a:cubicBezTo>
                      <a:pt x="19" y="13"/>
                      <a:pt x="17" y="15"/>
                      <a:pt x="16" y="16"/>
                    </a:cubicBezTo>
                    <a:cubicBezTo>
                      <a:pt x="11" y="22"/>
                      <a:pt x="6" y="31"/>
                      <a:pt x="3" y="39"/>
                    </a:cubicBezTo>
                    <a:cubicBezTo>
                      <a:pt x="1" y="44"/>
                      <a:pt x="2" y="48"/>
                      <a:pt x="1" y="53"/>
                    </a:cubicBezTo>
                    <a:cubicBezTo>
                      <a:pt x="0" y="56"/>
                      <a:pt x="3" y="61"/>
                      <a:pt x="4" y="64"/>
                    </a:cubicBezTo>
                    <a:cubicBezTo>
                      <a:pt x="6" y="69"/>
                      <a:pt x="9" y="71"/>
                      <a:pt x="11" y="75"/>
                    </a:cubicBezTo>
                    <a:cubicBezTo>
                      <a:pt x="13" y="80"/>
                      <a:pt x="14" y="84"/>
                      <a:pt x="19" y="85"/>
                    </a:cubicBezTo>
                    <a:cubicBezTo>
                      <a:pt x="20" y="78"/>
                      <a:pt x="22" y="74"/>
                      <a:pt x="25" y="67"/>
                    </a:cubicBezTo>
                    <a:cubicBezTo>
                      <a:pt x="28" y="60"/>
                      <a:pt x="32" y="53"/>
                      <a:pt x="35" y="45"/>
                    </a:cubicBezTo>
                    <a:cubicBezTo>
                      <a:pt x="38" y="38"/>
                      <a:pt x="39" y="31"/>
                      <a:pt x="42" y="23"/>
                    </a:cubicBezTo>
                    <a:cubicBezTo>
                      <a:pt x="43" y="20"/>
                      <a:pt x="44" y="17"/>
                      <a:pt x="44" y="13"/>
                    </a:cubicBezTo>
                    <a:cubicBezTo>
                      <a:pt x="45" y="11"/>
                      <a:pt x="45" y="5"/>
                      <a:pt x="48" y="4"/>
                    </a:cubicBezTo>
                    <a:cubicBezTo>
                      <a:pt x="45" y="3"/>
                      <a:pt x="42" y="1"/>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Rectangle 343"/>
              <p:cNvSpPr>
                <a:spLocks noChangeArrowheads="1"/>
              </p:cNvSpPr>
              <p:nvPr/>
            </p:nvSpPr>
            <p:spPr bwMode="auto">
              <a:xfrm>
                <a:off x="5308" y="2833"/>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344"/>
              <p:cNvSpPr/>
              <p:nvPr/>
            </p:nvSpPr>
            <p:spPr bwMode="auto">
              <a:xfrm flipH="1">
                <a:off x="5308" y="2833"/>
                <a:ext cx="0" cy="2"/>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345"/>
              <p:cNvSpPr/>
              <p:nvPr/>
            </p:nvSpPr>
            <p:spPr bwMode="auto">
              <a:xfrm>
                <a:off x="5122" y="2880"/>
                <a:ext cx="12" cy="7"/>
              </a:xfrm>
              <a:custGeom>
                <a:gdLst>
                  <a:gd name="T0" fmla="*/ 4 w 5"/>
                  <a:gd name="T1" fmla="*/ 0 h 3"/>
                  <a:gd name="T2" fmla="*/ 1 w 5"/>
                  <a:gd name="T3" fmla="*/ 3 h 3"/>
                  <a:gd name="T4" fmla="*/ 3 w 5"/>
                  <a:gd name="T5" fmla="*/ 3 h 3"/>
                  <a:gd name="T6" fmla="*/ 4 w 5"/>
                  <a:gd name="T7" fmla="*/ 0 h 3"/>
                </a:gdLst>
                <a:cxnLst>
                  <a:cxn ang="0">
                    <a:pos x="T0" y="T1"/>
                  </a:cxn>
                  <a:cxn ang="0">
                    <a:pos x="T2" y="T3"/>
                  </a:cxn>
                  <a:cxn ang="0">
                    <a:pos x="T4" y="T5"/>
                  </a:cxn>
                  <a:cxn ang="0">
                    <a:pos x="T6" y="T7"/>
                  </a:cxn>
                </a:cxnLst>
                <a:rect l="0" t="0" r="r" b="b"/>
                <a:pathLst>
                  <a:path w="5" h="3">
                    <a:moveTo>
                      <a:pt x="4" y="0"/>
                    </a:moveTo>
                    <a:cubicBezTo>
                      <a:pt x="2" y="2"/>
                      <a:pt x="0" y="1"/>
                      <a:pt x="1" y="3"/>
                    </a:cubicBezTo>
                    <a:cubicBezTo>
                      <a:pt x="1" y="3"/>
                      <a:pt x="2" y="3"/>
                      <a:pt x="3" y="3"/>
                    </a:cubicBezTo>
                    <a:cubicBezTo>
                      <a:pt x="5" y="3"/>
                      <a:pt x="5"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346"/>
              <p:cNvSpPr/>
              <p:nvPr/>
            </p:nvSpPr>
            <p:spPr bwMode="auto">
              <a:xfrm>
                <a:off x="5195" y="2939"/>
                <a:ext cx="7" cy="3"/>
              </a:xfrm>
              <a:custGeom>
                <a:gdLst>
                  <a:gd name="T0" fmla="*/ 2 w 3"/>
                  <a:gd name="T1" fmla="*/ 0 h 1"/>
                  <a:gd name="T2" fmla="*/ 0 w 3"/>
                  <a:gd name="T3" fmla="*/ 1 h 1"/>
                  <a:gd name="T4" fmla="*/ 3 w 3"/>
                  <a:gd name="T5" fmla="*/ 0 h 1"/>
                  <a:gd name="T6" fmla="*/ 2 w 3"/>
                  <a:gd name="T7" fmla="*/ 0 h 1"/>
                </a:gdLst>
                <a:cxnLst>
                  <a:cxn ang="0">
                    <a:pos x="T0" y="T1"/>
                  </a:cxn>
                  <a:cxn ang="0">
                    <a:pos x="T2" y="T3"/>
                  </a:cxn>
                  <a:cxn ang="0">
                    <a:pos x="T4" y="T5"/>
                  </a:cxn>
                  <a:cxn ang="0">
                    <a:pos x="T6" y="T7"/>
                  </a:cxn>
                </a:cxnLst>
                <a:rect l="0" t="0" r="r" b="b"/>
                <a:pathLst>
                  <a:path w="3" h="1">
                    <a:moveTo>
                      <a:pt x="2" y="0"/>
                    </a:moveTo>
                    <a:cubicBezTo>
                      <a:pt x="1" y="0"/>
                      <a:pt x="1" y="0"/>
                      <a:pt x="0" y="1"/>
                    </a:cubicBezTo>
                    <a:cubicBezTo>
                      <a:pt x="1" y="1"/>
                      <a:pt x="2" y="0"/>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Freeform 347"/>
              <p:cNvSpPr/>
              <p:nvPr/>
            </p:nvSpPr>
            <p:spPr bwMode="auto">
              <a:xfrm>
                <a:off x="5592" y="2027"/>
                <a:ext cx="9" cy="14"/>
              </a:xfrm>
              <a:custGeom>
                <a:gdLst>
                  <a:gd name="T0" fmla="*/ 2 w 4"/>
                  <a:gd name="T1" fmla="*/ 0 h 6"/>
                  <a:gd name="T2" fmla="*/ 3 w 4"/>
                  <a:gd name="T3" fmla="*/ 6 h 6"/>
                  <a:gd name="T4" fmla="*/ 4 w 4"/>
                  <a:gd name="T5" fmla="*/ 6 h 6"/>
                  <a:gd name="T6" fmla="*/ 2 w 4"/>
                  <a:gd name="T7" fmla="*/ 0 h 6"/>
                </a:gdLst>
                <a:cxnLst>
                  <a:cxn ang="0">
                    <a:pos x="T0" y="T1"/>
                  </a:cxn>
                  <a:cxn ang="0">
                    <a:pos x="T2" y="T3"/>
                  </a:cxn>
                  <a:cxn ang="0">
                    <a:pos x="T4" y="T5"/>
                  </a:cxn>
                  <a:cxn ang="0">
                    <a:pos x="T6" y="T7"/>
                  </a:cxn>
                </a:cxnLst>
                <a:rect l="0" t="0" r="r" b="b"/>
                <a:pathLst>
                  <a:path w="4" h="6">
                    <a:moveTo>
                      <a:pt x="2" y="0"/>
                    </a:moveTo>
                    <a:cubicBezTo>
                      <a:pt x="0" y="1"/>
                      <a:pt x="0" y="6"/>
                      <a:pt x="3" y="6"/>
                    </a:cubicBezTo>
                    <a:cubicBezTo>
                      <a:pt x="3" y="6"/>
                      <a:pt x="3" y="6"/>
                      <a:pt x="4" y="6"/>
                    </a:cubicBezTo>
                    <a:cubicBezTo>
                      <a:pt x="3"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348"/>
              <p:cNvSpPr>
                <a:spLocks noEditPoints="1"/>
              </p:cNvSpPr>
              <p:nvPr/>
            </p:nvSpPr>
            <p:spPr bwMode="auto">
              <a:xfrm>
                <a:off x="4559" y="3147"/>
                <a:ext cx="140" cy="119"/>
              </a:xfrm>
              <a:custGeom>
                <a:gdLst>
                  <a:gd name="T0" fmla="*/ 17 w 59"/>
                  <a:gd name="T1" fmla="*/ 6 h 50"/>
                  <a:gd name="T2" fmla="*/ 17 w 59"/>
                  <a:gd name="T3" fmla="*/ 7 h 50"/>
                  <a:gd name="T4" fmla="*/ 17 w 59"/>
                  <a:gd name="T5" fmla="*/ 6 h 50"/>
                  <a:gd name="T6" fmla="*/ 51 w 59"/>
                  <a:gd name="T7" fmla="*/ 0 h 50"/>
                  <a:gd name="T8" fmla="*/ 48 w 59"/>
                  <a:gd name="T9" fmla="*/ 6 h 50"/>
                  <a:gd name="T10" fmla="*/ 43 w 59"/>
                  <a:gd name="T11" fmla="*/ 4 h 50"/>
                  <a:gd name="T12" fmla="*/ 39 w 59"/>
                  <a:gd name="T13" fmla="*/ 3 h 50"/>
                  <a:gd name="T14" fmla="*/ 38 w 59"/>
                  <a:gd name="T15" fmla="*/ 4 h 50"/>
                  <a:gd name="T16" fmla="*/ 34 w 59"/>
                  <a:gd name="T17" fmla="*/ 5 h 50"/>
                  <a:gd name="T18" fmla="*/ 30 w 59"/>
                  <a:gd name="T19" fmla="*/ 5 h 50"/>
                  <a:gd name="T20" fmla="*/ 30 w 59"/>
                  <a:gd name="T21" fmla="*/ 4 h 50"/>
                  <a:gd name="T22" fmla="*/ 29 w 59"/>
                  <a:gd name="T23" fmla="*/ 5 h 50"/>
                  <a:gd name="T24" fmla="*/ 29 w 59"/>
                  <a:gd name="T25" fmla="*/ 5 h 50"/>
                  <a:gd name="T26" fmla="*/ 27 w 59"/>
                  <a:gd name="T27" fmla="*/ 4 h 50"/>
                  <a:gd name="T28" fmla="*/ 27 w 59"/>
                  <a:gd name="T29" fmla="*/ 4 h 50"/>
                  <a:gd name="T30" fmla="*/ 24 w 59"/>
                  <a:gd name="T31" fmla="*/ 5 h 50"/>
                  <a:gd name="T32" fmla="*/ 21 w 59"/>
                  <a:gd name="T33" fmla="*/ 7 h 50"/>
                  <a:gd name="T34" fmla="*/ 20 w 59"/>
                  <a:gd name="T35" fmla="*/ 8 h 50"/>
                  <a:gd name="T36" fmla="*/ 19 w 59"/>
                  <a:gd name="T37" fmla="*/ 7 h 50"/>
                  <a:gd name="T38" fmla="*/ 19 w 59"/>
                  <a:gd name="T39" fmla="*/ 7 h 50"/>
                  <a:gd name="T40" fmla="*/ 17 w 59"/>
                  <a:gd name="T41" fmla="*/ 7 h 50"/>
                  <a:gd name="T42" fmla="*/ 17 w 59"/>
                  <a:gd name="T43" fmla="*/ 11 h 50"/>
                  <a:gd name="T44" fmla="*/ 8 w 59"/>
                  <a:gd name="T45" fmla="*/ 17 h 50"/>
                  <a:gd name="T46" fmla="*/ 1 w 59"/>
                  <a:gd name="T47" fmla="*/ 26 h 50"/>
                  <a:gd name="T48" fmla="*/ 1 w 59"/>
                  <a:gd name="T49" fmla="*/ 30 h 50"/>
                  <a:gd name="T50" fmla="*/ 2 w 59"/>
                  <a:gd name="T51" fmla="*/ 40 h 50"/>
                  <a:gd name="T52" fmla="*/ 2 w 59"/>
                  <a:gd name="T53" fmla="*/ 42 h 50"/>
                  <a:gd name="T54" fmla="*/ 18 w 59"/>
                  <a:gd name="T55" fmla="*/ 49 h 50"/>
                  <a:gd name="T56" fmla="*/ 24 w 59"/>
                  <a:gd name="T57" fmla="*/ 50 h 50"/>
                  <a:gd name="T58" fmla="*/ 26 w 59"/>
                  <a:gd name="T59" fmla="*/ 50 h 50"/>
                  <a:gd name="T60" fmla="*/ 28 w 59"/>
                  <a:gd name="T61" fmla="*/ 45 h 50"/>
                  <a:gd name="T62" fmla="*/ 34 w 59"/>
                  <a:gd name="T63" fmla="*/ 44 h 50"/>
                  <a:gd name="T64" fmla="*/ 37 w 59"/>
                  <a:gd name="T65" fmla="*/ 41 h 50"/>
                  <a:gd name="T66" fmla="*/ 38 w 59"/>
                  <a:gd name="T67" fmla="*/ 40 h 50"/>
                  <a:gd name="T68" fmla="*/ 43 w 59"/>
                  <a:gd name="T69" fmla="*/ 37 h 50"/>
                  <a:gd name="T70" fmla="*/ 44 w 59"/>
                  <a:gd name="T71" fmla="*/ 38 h 50"/>
                  <a:gd name="T72" fmla="*/ 46 w 59"/>
                  <a:gd name="T73" fmla="*/ 35 h 50"/>
                  <a:gd name="T74" fmla="*/ 46 w 59"/>
                  <a:gd name="T75" fmla="*/ 35 h 50"/>
                  <a:gd name="T76" fmla="*/ 46 w 59"/>
                  <a:gd name="T77" fmla="*/ 35 h 50"/>
                  <a:gd name="T78" fmla="*/ 47 w 59"/>
                  <a:gd name="T79" fmla="*/ 35 h 50"/>
                  <a:gd name="T80" fmla="*/ 47 w 59"/>
                  <a:gd name="T81" fmla="*/ 35 h 50"/>
                  <a:gd name="T82" fmla="*/ 49 w 59"/>
                  <a:gd name="T83" fmla="*/ 24 h 50"/>
                  <a:gd name="T84" fmla="*/ 55 w 59"/>
                  <a:gd name="T85" fmla="*/ 14 h 50"/>
                  <a:gd name="T86" fmla="*/ 55 w 59"/>
                  <a:gd name="T87" fmla="*/ 16 h 50"/>
                  <a:gd name="T88" fmla="*/ 59 w 59"/>
                  <a:gd name="T89" fmla="*/ 13 h 50"/>
                  <a:gd name="T90" fmla="*/ 59 w 59"/>
                  <a:gd name="T91" fmla="*/ 13 h 50"/>
                  <a:gd name="T92" fmla="*/ 58 w 59"/>
                  <a:gd name="T93" fmla="*/ 6 h 50"/>
                  <a:gd name="T94" fmla="*/ 51 w 59"/>
                  <a:gd name="T95" fmla="*/ 0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50">
                    <a:moveTo>
                      <a:pt x="17" y="6"/>
                    </a:moveTo>
                    <a:cubicBezTo>
                      <a:pt x="17" y="6"/>
                      <a:pt x="17" y="7"/>
                      <a:pt x="17" y="7"/>
                    </a:cubicBezTo>
                    <a:cubicBezTo>
                      <a:pt x="17" y="7"/>
                      <a:pt x="17" y="6"/>
                      <a:pt x="17" y="6"/>
                    </a:cubicBezTo>
                    <a:moveTo>
                      <a:pt x="51" y="0"/>
                    </a:moveTo>
                    <a:cubicBezTo>
                      <a:pt x="49" y="4"/>
                      <a:pt x="50" y="6"/>
                      <a:pt x="48" y="6"/>
                    </a:cubicBezTo>
                    <a:cubicBezTo>
                      <a:pt x="48" y="6"/>
                      <a:pt x="46" y="5"/>
                      <a:pt x="43" y="4"/>
                    </a:cubicBezTo>
                    <a:cubicBezTo>
                      <a:pt x="42" y="3"/>
                      <a:pt x="40" y="3"/>
                      <a:pt x="39" y="3"/>
                    </a:cubicBezTo>
                    <a:cubicBezTo>
                      <a:pt x="38" y="3"/>
                      <a:pt x="38" y="3"/>
                      <a:pt x="38" y="4"/>
                    </a:cubicBezTo>
                    <a:cubicBezTo>
                      <a:pt x="36" y="5"/>
                      <a:pt x="35" y="5"/>
                      <a:pt x="34" y="5"/>
                    </a:cubicBezTo>
                    <a:cubicBezTo>
                      <a:pt x="33" y="5"/>
                      <a:pt x="32" y="5"/>
                      <a:pt x="30" y="5"/>
                    </a:cubicBezTo>
                    <a:cubicBezTo>
                      <a:pt x="30" y="5"/>
                      <a:pt x="30" y="4"/>
                      <a:pt x="30" y="4"/>
                    </a:cubicBezTo>
                    <a:cubicBezTo>
                      <a:pt x="30" y="4"/>
                      <a:pt x="29" y="4"/>
                      <a:pt x="29" y="5"/>
                    </a:cubicBezTo>
                    <a:cubicBezTo>
                      <a:pt x="29" y="5"/>
                      <a:pt x="29" y="5"/>
                      <a:pt x="29" y="5"/>
                    </a:cubicBezTo>
                    <a:cubicBezTo>
                      <a:pt x="28" y="5"/>
                      <a:pt x="27" y="4"/>
                      <a:pt x="27" y="4"/>
                    </a:cubicBezTo>
                    <a:cubicBezTo>
                      <a:pt x="27" y="4"/>
                      <a:pt x="27" y="4"/>
                      <a:pt x="27" y="4"/>
                    </a:cubicBezTo>
                    <a:cubicBezTo>
                      <a:pt x="26" y="4"/>
                      <a:pt x="25" y="5"/>
                      <a:pt x="24" y="5"/>
                    </a:cubicBezTo>
                    <a:cubicBezTo>
                      <a:pt x="22" y="6"/>
                      <a:pt x="24" y="7"/>
                      <a:pt x="21" y="7"/>
                    </a:cubicBezTo>
                    <a:cubicBezTo>
                      <a:pt x="21" y="7"/>
                      <a:pt x="21" y="8"/>
                      <a:pt x="20" y="8"/>
                    </a:cubicBezTo>
                    <a:cubicBezTo>
                      <a:pt x="20" y="8"/>
                      <a:pt x="20" y="7"/>
                      <a:pt x="19" y="7"/>
                    </a:cubicBezTo>
                    <a:cubicBezTo>
                      <a:pt x="19" y="7"/>
                      <a:pt x="19" y="7"/>
                      <a:pt x="19" y="7"/>
                    </a:cubicBezTo>
                    <a:cubicBezTo>
                      <a:pt x="19" y="7"/>
                      <a:pt x="17" y="7"/>
                      <a:pt x="17" y="7"/>
                    </a:cubicBezTo>
                    <a:cubicBezTo>
                      <a:pt x="17" y="7"/>
                      <a:pt x="17" y="10"/>
                      <a:pt x="17" y="11"/>
                    </a:cubicBezTo>
                    <a:cubicBezTo>
                      <a:pt x="14" y="13"/>
                      <a:pt x="11" y="15"/>
                      <a:pt x="8" y="17"/>
                    </a:cubicBezTo>
                    <a:cubicBezTo>
                      <a:pt x="3" y="20"/>
                      <a:pt x="1" y="20"/>
                      <a:pt x="1" y="26"/>
                    </a:cubicBezTo>
                    <a:cubicBezTo>
                      <a:pt x="0" y="27"/>
                      <a:pt x="1" y="28"/>
                      <a:pt x="1" y="30"/>
                    </a:cubicBezTo>
                    <a:cubicBezTo>
                      <a:pt x="1" y="33"/>
                      <a:pt x="1" y="36"/>
                      <a:pt x="2" y="40"/>
                    </a:cubicBezTo>
                    <a:cubicBezTo>
                      <a:pt x="2" y="40"/>
                      <a:pt x="1" y="41"/>
                      <a:pt x="2" y="42"/>
                    </a:cubicBezTo>
                    <a:cubicBezTo>
                      <a:pt x="4" y="45"/>
                      <a:pt x="14" y="48"/>
                      <a:pt x="18" y="49"/>
                    </a:cubicBezTo>
                    <a:cubicBezTo>
                      <a:pt x="20" y="50"/>
                      <a:pt x="22" y="50"/>
                      <a:pt x="24" y="50"/>
                    </a:cubicBezTo>
                    <a:cubicBezTo>
                      <a:pt x="25" y="50"/>
                      <a:pt x="26" y="50"/>
                      <a:pt x="26" y="50"/>
                    </a:cubicBezTo>
                    <a:cubicBezTo>
                      <a:pt x="27" y="49"/>
                      <a:pt x="28" y="47"/>
                      <a:pt x="28" y="45"/>
                    </a:cubicBezTo>
                    <a:cubicBezTo>
                      <a:pt x="29" y="44"/>
                      <a:pt x="33" y="44"/>
                      <a:pt x="34" y="44"/>
                    </a:cubicBezTo>
                    <a:cubicBezTo>
                      <a:pt x="35" y="44"/>
                      <a:pt x="36" y="42"/>
                      <a:pt x="37" y="41"/>
                    </a:cubicBezTo>
                    <a:cubicBezTo>
                      <a:pt x="37" y="41"/>
                      <a:pt x="38" y="41"/>
                      <a:pt x="38" y="40"/>
                    </a:cubicBezTo>
                    <a:cubicBezTo>
                      <a:pt x="39" y="39"/>
                      <a:pt x="42" y="37"/>
                      <a:pt x="43" y="37"/>
                    </a:cubicBezTo>
                    <a:cubicBezTo>
                      <a:pt x="44" y="37"/>
                      <a:pt x="44" y="38"/>
                      <a:pt x="44" y="38"/>
                    </a:cubicBezTo>
                    <a:cubicBezTo>
                      <a:pt x="45" y="37"/>
                      <a:pt x="45" y="36"/>
                      <a:pt x="46" y="35"/>
                    </a:cubicBezTo>
                    <a:cubicBezTo>
                      <a:pt x="46" y="35"/>
                      <a:pt x="46" y="35"/>
                      <a:pt x="46" y="35"/>
                    </a:cubicBezTo>
                    <a:cubicBezTo>
                      <a:pt x="46" y="35"/>
                      <a:pt x="46" y="35"/>
                      <a:pt x="46" y="35"/>
                    </a:cubicBezTo>
                    <a:cubicBezTo>
                      <a:pt x="46" y="35"/>
                      <a:pt x="46" y="35"/>
                      <a:pt x="47" y="35"/>
                    </a:cubicBezTo>
                    <a:cubicBezTo>
                      <a:pt x="47" y="35"/>
                      <a:pt x="47" y="35"/>
                      <a:pt x="47" y="35"/>
                    </a:cubicBezTo>
                    <a:cubicBezTo>
                      <a:pt x="49" y="32"/>
                      <a:pt x="48" y="27"/>
                      <a:pt x="49" y="24"/>
                    </a:cubicBezTo>
                    <a:cubicBezTo>
                      <a:pt x="51" y="20"/>
                      <a:pt x="53" y="18"/>
                      <a:pt x="55" y="14"/>
                    </a:cubicBezTo>
                    <a:cubicBezTo>
                      <a:pt x="55" y="14"/>
                      <a:pt x="55" y="15"/>
                      <a:pt x="55" y="16"/>
                    </a:cubicBezTo>
                    <a:cubicBezTo>
                      <a:pt x="56" y="15"/>
                      <a:pt x="58" y="13"/>
                      <a:pt x="59" y="13"/>
                    </a:cubicBezTo>
                    <a:cubicBezTo>
                      <a:pt x="59" y="13"/>
                      <a:pt x="59" y="13"/>
                      <a:pt x="59" y="13"/>
                    </a:cubicBezTo>
                    <a:cubicBezTo>
                      <a:pt x="59" y="11"/>
                      <a:pt x="59" y="8"/>
                      <a:pt x="58" y="6"/>
                    </a:cubicBezTo>
                    <a:cubicBezTo>
                      <a:pt x="56" y="3"/>
                      <a:pt x="52" y="3"/>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349"/>
              <p:cNvSpPr/>
              <p:nvPr/>
            </p:nvSpPr>
            <p:spPr bwMode="auto">
              <a:xfrm>
                <a:off x="4654" y="3093"/>
                <a:ext cx="16" cy="7"/>
              </a:xfrm>
              <a:custGeom>
                <a:gdLst>
                  <a:gd name="T0" fmla="*/ 5 w 7"/>
                  <a:gd name="T1" fmla="*/ 0 h 3"/>
                  <a:gd name="T2" fmla="*/ 0 w 7"/>
                  <a:gd name="T3" fmla="*/ 3 h 3"/>
                  <a:gd name="T4" fmla="*/ 3 w 7"/>
                  <a:gd name="T5" fmla="*/ 1 h 3"/>
                  <a:gd name="T6" fmla="*/ 3 w 7"/>
                  <a:gd name="T7" fmla="*/ 1 h 3"/>
                  <a:gd name="T8" fmla="*/ 7 w 7"/>
                  <a:gd name="T9" fmla="*/ 3 h 3"/>
                  <a:gd name="T10" fmla="*/ 5 w 7"/>
                  <a:gd name="T11" fmla="*/ 0 h 3"/>
                </a:gdLst>
                <a:cxnLst>
                  <a:cxn ang="0">
                    <a:pos x="T0" y="T1"/>
                  </a:cxn>
                  <a:cxn ang="0">
                    <a:pos x="T2" y="T3"/>
                  </a:cxn>
                  <a:cxn ang="0">
                    <a:pos x="T4" y="T5"/>
                  </a:cxn>
                  <a:cxn ang="0">
                    <a:pos x="T6" y="T7"/>
                  </a:cxn>
                  <a:cxn ang="0">
                    <a:pos x="T8" y="T9"/>
                  </a:cxn>
                  <a:cxn ang="0">
                    <a:pos x="T10" y="T11"/>
                  </a:cxn>
                </a:cxnLst>
                <a:rect l="0" t="0" r="r" b="b"/>
                <a:pathLst>
                  <a:path w="7" h="3">
                    <a:moveTo>
                      <a:pt x="5" y="0"/>
                    </a:moveTo>
                    <a:cubicBezTo>
                      <a:pt x="4" y="1"/>
                      <a:pt x="2" y="1"/>
                      <a:pt x="0" y="3"/>
                    </a:cubicBezTo>
                    <a:cubicBezTo>
                      <a:pt x="1" y="3"/>
                      <a:pt x="2" y="1"/>
                      <a:pt x="3" y="1"/>
                    </a:cubicBezTo>
                    <a:cubicBezTo>
                      <a:pt x="3" y="1"/>
                      <a:pt x="3" y="1"/>
                      <a:pt x="3" y="1"/>
                    </a:cubicBezTo>
                    <a:cubicBezTo>
                      <a:pt x="4" y="1"/>
                      <a:pt x="6" y="3"/>
                      <a:pt x="7" y="3"/>
                    </a:cubicBezTo>
                    <a:cubicBezTo>
                      <a:pt x="7" y="2"/>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350"/>
              <p:cNvSpPr/>
              <p:nvPr/>
            </p:nvSpPr>
            <p:spPr bwMode="auto">
              <a:xfrm>
                <a:off x="5112" y="2878"/>
                <a:ext cx="7" cy="7"/>
              </a:xfrm>
              <a:custGeom>
                <a:gdLst>
                  <a:gd name="T0" fmla="*/ 0 w 3"/>
                  <a:gd name="T1" fmla="*/ 0 h 3"/>
                  <a:gd name="T2" fmla="*/ 1 w 3"/>
                  <a:gd name="T3" fmla="*/ 3 h 3"/>
                  <a:gd name="T4" fmla="*/ 0 w 3"/>
                  <a:gd name="T5" fmla="*/ 0 h 3"/>
                </a:gdLst>
                <a:cxnLst>
                  <a:cxn ang="0">
                    <a:pos x="T0" y="T1"/>
                  </a:cxn>
                  <a:cxn ang="0">
                    <a:pos x="T2" y="T3"/>
                  </a:cxn>
                  <a:cxn ang="0">
                    <a:pos x="T4" y="T5"/>
                  </a:cxn>
                </a:cxnLst>
                <a:rect l="0" t="0" r="r" b="b"/>
                <a:pathLst>
                  <a:path w="3" h="3">
                    <a:moveTo>
                      <a:pt x="0" y="0"/>
                    </a:moveTo>
                    <a:cubicBezTo>
                      <a:pt x="0" y="3"/>
                      <a:pt x="1" y="3"/>
                      <a:pt x="1" y="3"/>
                    </a:cubicBezTo>
                    <a:cubicBezTo>
                      <a:pt x="2"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351"/>
              <p:cNvSpPr/>
              <p:nvPr/>
            </p:nvSpPr>
            <p:spPr bwMode="auto">
              <a:xfrm>
                <a:off x="5204" y="2809"/>
                <a:ext cx="10" cy="15"/>
              </a:xfrm>
              <a:custGeom>
                <a:gdLst>
                  <a:gd name="T0" fmla="*/ 2 w 4"/>
                  <a:gd name="T1" fmla="*/ 0 h 6"/>
                  <a:gd name="T2" fmla="*/ 0 w 4"/>
                  <a:gd name="T3" fmla="*/ 6 h 6"/>
                  <a:gd name="T4" fmla="*/ 3 w 4"/>
                  <a:gd name="T5" fmla="*/ 5 h 6"/>
                  <a:gd name="T6" fmla="*/ 4 w 4"/>
                  <a:gd name="T7" fmla="*/ 6 h 6"/>
                  <a:gd name="T8" fmla="*/ 4 w 4"/>
                  <a:gd name="T9" fmla="*/ 3 h 6"/>
                  <a:gd name="T10" fmla="*/ 4 w 4"/>
                  <a:gd name="T11" fmla="*/ 3 h 6"/>
                  <a:gd name="T12" fmla="*/ 2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1" y="2"/>
                      <a:pt x="1" y="4"/>
                      <a:pt x="0" y="6"/>
                    </a:cubicBezTo>
                    <a:cubicBezTo>
                      <a:pt x="1" y="6"/>
                      <a:pt x="2" y="5"/>
                      <a:pt x="3" y="5"/>
                    </a:cubicBezTo>
                    <a:cubicBezTo>
                      <a:pt x="3" y="5"/>
                      <a:pt x="3" y="5"/>
                      <a:pt x="4" y="6"/>
                    </a:cubicBezTo>
                    <a:cubicBezTo>
                      <a:pt x="3" y="4"/>
                      <a:pt x="3" y="3"/>
                      <a:pt x="4" y="3"/>
                    </a:cubicBezTo>
                    <a:cubicBezTo>
                      <a:pt x="4" y="3"/>
                      <a:pt x="4" y="3"/>
                      <a:pt x="4" y="3"/>
                    </a:cubicBezTo>
                    <a:cubicBezTo>
                      <a:pt x="4" y="2"/>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352"/>
              <p:cNvSpPr/>
              <p:nvPr/>
            </p:nvSpPr>
            <p:spPr bwMode="auto">
              <a:xfrm>
                <a:off x="4666" y="3084"/>
                <a:ext cx="7" cy="4"/>
              </a:xfrm>
              <a:custGeom>
                <a:gdLst>
                  <a:gd name="T0" fmla="*/ 2 w 3"/>
                  <a:gd name="T1" fmla="*/ 0 h 2"/>
                  <a:gd name="T2" fmla="*/ 0 w 3"/>
                  <a:gd name="T3" fmla="*/ 1 h 2"/>
                  <a:gd name="T4" fmla="*/ 3 w 3"/>
                  <a:gd name="T5" fmla="*/ 2 h 2"/>
                  <a:gd name="T6" fmla="*/ 2 w 3"/>
                  <a:gd name="T7" fmla="*/ 0 h 2"/>
                  <a:gd name="T8" fmla="*/ 2 w 3"/>
                  <a:gd name="T9" fmla="*/ 0 h 2"/>
                </a:gdLst>
                <a:cxnLst>
                  <a:cxn ang="0">
                    <a:pos x="T0" y="T1"/>
                  </a:cxn>
                  <a:cxn ang="0">
                    <a:pos x="T2" y="T3"/>
                  </a:cxn>
                  <a:cxn ang="0">
                    <a:pos x="T4" y="T5"/>
                  </a:cxn>
                  <a:cxn ang="0">
                    <a:pos x="T6" y="T7"/>
                  </a:cxn>
                  <a:cxn ang="0">
                    <a:pos x="T8" y="T9"/>
                  </a:cxn>
                </a:cxnLst>
                <a:rect l="0" t="0" r="r" b="b"/>
                <a:pathLst>
                  <a:path w="3" h="2">
                    <a:moveTo>
                      <a:pt x="2" y="0"/>
                    </a:moveTo>
                    <a:cubicBezTo>
                      <a:pt x="1" y="0"/>
                      <a:pt x="0" y="1"/>
                      <a:pt x="0" y="1"/>
                    </a:cubicBezTo>
                    <a:cubicBezTo>
                      <a:pt x="0" y="2"/>
                      <a:pt x="1" y="2"/>
                      <a:pt x="3" y="2"/>
                    </a:cubicBezTo>
                    <a:cubicBezTo>
                      <a:pt x="2" y="2"/>
                      <a:pt x="2"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353"/>
              <p:cNvSpPr/>
              <p:nvPr/>
            </p:nvSpPr>
            <p:spPr bwMode="auto">
              <a:xfrm>
                <a:off x="3957" y="3861"/>
                <a:ext cx="12" cy="22"/>
              </a:xfrm>
              <a:custGeom>
                <a:gdLst>
                  <a:gd name="T0" fmla="*/ 2 w 5"/>
                  <a:gd name="T1" fmla="*/ 0 h 9"/>
                  <a:gd name="T2" fmla="*/ 0 w 5"/>
                  <a:gd name="T3" fmla="*/ 7 h 9"/>
                  <a:gd name="T4" fmla="*/ 1 w 5"/>
                  <a:gd name="T5" fmla="*/ 9 h 9"/>
                  <a:gd name="T6" fmla="*/ 1 w 5"/>
                  <a:gd name="T7" fmla="*/ 9 h 9"/>
                  <a:gd name="T8" fmla="*/ 4 w 5"/>
                  <a:gd name="T9" fmla="*/ 7 h 9"/>
                  <a:gd name="T10" fmla="*/ 2 w 5"/>
                  <a:gd name="T11" fmla="*/ 0 h 9"/>
                </a:gdLst>
                <a:cxnLst>
                  <a:cxn ang="0">
                    <a:pos x="T0" y="T1"/>
                  </a:cxn>
                  <a:cxn ang="0">
                    <a:pos x="T2" y="T3"/>
                  </a:cxn>
                  <a:cxn ang="0">
                    <a:pos x="T4" y="T5"/>
                  </a:cxn>
                  <a:cxn ang="0">
                    <a:pos x="T6" y="T7"/>
                  </a:cxn>
                  <a:cxn ang="0">
                    <a:pos x="T8" y="T9"/>
                  </a:cxn>
                  <a:cxn ang="0">
                    <a:pos x="T10" y="T11"/>
                  </a:cxn>
                </a:cxnLst>
                <a:rect l="0" t="0" r="r" b="b"/>
                <a:pathLst>
                  <a:path w="5" h="9">
                    <a:moveTo>
                      <a:pt x="2" y="0"/>
                    </a:moveTo>
                    <a:cubicBezTo>
                      <a:pt x="0" y="1"/>
                      <a:pt x="0" y="5"/>
                      <a:pt x="0" y="7"/>
                    </a:cubicBezTo>
                    <a:cubicBezTo>
                      <a:pt x="0" y="7"/>
                      <a:pt x="1" y="9"/>
                      <a:pt x="1" y="9"/>
                    </a:cubicBezTo>
                    <a:cubicBezTo>
                      <a:pt x="1" y="9"/>
                      <a:pt x="1" y="9"/>
                      <a:pt x="1" y="9"/>
                    </a:cubicBezTo>
                    <a:cubicBezTo>
                      <a:pt x="2" y="9"/>
                      <a:pt x="4" y="7"/>
                      <a:pt x="4" y="7"/>
                    </a:cubicBezTo>
                    <a:cubicBezTo>
                      <a:pt x="5" y="5"/>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354"/>
              <p:cNvSpPr/>
              <p:nvPr/>
            </p:nvSpPr>
            <p:spPr bwMode="auto">
              <a:xfrm flipH="1">
                <a:off x="3978" y="3859"/>
                <a:ext cx="0" cy="7"/>
              </a:xfrm>
              <a:custGeom>
                <a:gdLst>
                  <a:gd name="T0" fmla="*/ 0 h 3"/>
                  <a:gd name="T1" fmla="*/ 3 h 3"/>
                  <a:gd name="T2" fmla="*/ 1 h 3"/>
                  <a:gd name="T3" fmla="*/ 0 h 3"/>
                </a:gdLst>
                <a:cxnLst>
                  <a:cxn ang="0">
                    <a:pos x="0" y="T0"/>
                  </a:cxn>
                  <a:cxn ang="0">
                    <a:pos x="0" y="T1"/>
                  </a:cxn>
                  <a:cxn ang="0">
                    <a:pos x="0" y="T2"/>
                  </a:cxn>
                  <a:cxn ang="0">
                    <a:pos x="0" y="T3"/>
                  </a:cxn>
                </a:cxnLst>
                <a:rect l="0" t="0" r="r" b="b"/>
                <a:pathLst>
                  <a:path h="3">
                    <a:moveTo>
                      <a:pt x="0" y="0"/>
                    </a:moveTo>
                    <a:cubicBezTo>
                      <a:pt x="0" y="1"/>
                      <a:pt x="0" y="2"/>
                      <a:pt x="0" y="3"/>
                    </a:cubicBezTo>
                    <a:cubicBezTo>
                      <a:pt x="0" y="2"/>
                      <a:pt x="0" y="1"/>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355"/>
              <p:cNvSpPr/>
              <p:nvPr/>
            </p:nvSpPr>
            <p:spPr bwMode="auto">
              <a:xfrm>
                <a:off x="4070" y="4020"/>
                <a:ext cx="10" cy="7"/>
              </a:xfrm>
              <a:custGeom>
                <a:gdLst>
                  <a:gd name="T0" fmla="*/ 2 w 4"/>
                  <a:gd name="T1" fmla="*/ 0 h 3"/>
                  <a:gd name="T2" fmla="*/ 0 w 4"/>
                  <a:gd name="T3" fmla="*/ 2 h 3"/>
                  <a:gd name="T4" fmla="*/ 1 w 4"/>
                  <a:gd name="T5" fmla="*/ 3 h 3"/>
                  <a:gd name="T6" fmla="*/ 3 w 4"/>
                  <a:gd name="T7" fmla="*/ 0 h 3"/>
                  <a:gd name="T8" fmla="*/ 2 w 4"/>
                  <a:gd name="T9" fmla="*/ 0 h 3"/>
                </a:gdLst>
                <a:cxnLst>
                  <a:cxn ang="0">
                    <a:pos x="T0" y="T1"/>
                  </a:cxn>
                  <a:cxn ang="0">
                    <a:pos x="T2" y="T3"/>
                  </a:cxn>
                  <a:cxn ang="0">
                    <a:pos x="T4" y="T5"/>
                  </a:cxn>
                  <a:cxn ang="0">
                    <a:pos x="T6" y="T7"/>
                  </a:cxn>
                  <a:cxn ang="0">
                    <a:pos x="T8" y="T9"/>
                  </a:cxn>
                </a:cxnLst>
                <a:rect l="0" t="0" r="r" b="b"/>
                <a:pathLst>
                  <a:path w="4" h="3">
                    <a:moveTo>
                      <a:pt x="2" y="0"/>
                    </a:moveTo>
                    <a:cubicBezTo>
                      <a:pt x="1" y="0"/>
                      <a:pt x="0" y="1"/>
                      <a:pt x="0" y="2"/>
                    </a:cubicBezTo>
                    <a:cubicBezTo>
                      <a:pt x="0" y="3"/>
                      <a:pt x="1" y="3"/>
                      <a:pt x="1" y="3"/>
                    </a:cubicBezTo>
                    <a:cubicBezTo>
                      <a:pt x="3" y="3"/>
                      <a:pt x="4"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356"/>
              <p:cNvSpPr/>
              <p:nvPr/>
            </p:nvSpPr>
            <p:spPr bwMode="auto">
              <a:xfrm>
                <a:off x="4188" y="3627"/>
                <a:ext cx="12" cy="10"/>
              </a:xfrm>
              <a:custGeom>
                <a:gdLst>
                  <a:gd name="T0" fmla="*/ 0 w 5"/>
                  <a:gd name="T1" fmla="*/ 0 h 4"/>
                  <a:gd name="T2" fmla="*/ 2 w 5"/>
                  <a:gd name="T3" fmla="*/ 4 h 4"/>
                  <a:gd name="T4" fmla="*/ 5 w 5"/>
                  <a:gd name="T5" fmla="*/ 3 h 4"/>
                  <a:gd name="T6" fmla="*/ 0 w 5"/>
                  <a:gd name="T7" fmla="*/ 0 h 4"/>
                </a:gdLst>
                <a:cxnLst>
                  <a:cxn ang="0">
                    <a:pos x="T0" y="T1"/>
                  </a:cxn>
                  <a:cxn ang="0">
                    <a:pos x="T2" y="T3"/>
                  </a:cxn>
                  <a:cxn ang="0">
                    <a:pos x="T4" y="T5"/>
                  </a:cxn>
                  <a:cxn ang="0">
                    <a:pos x="T6" y="T7"/>
                  </a:cxn>
                </a:cxnLst>
                <a:rect l="0" t="0" r="r" b="b"/>
                <a:pathLst>
                  <a:path w="5" h="4">
                    <a:moveTo>
                      <a:pt x="0" y="0"/>
                    </a:moveTo>
                    <a:cubicBezTo>
                      <a:pt x="1" y="1"/>
                      <a:pt x="1" y="3"/>
                      <a:pt x="2" y="4"/>
                    </a:cubicBezTo>
                    <a:cubicBezTo>
                      <a:pt x="2" y="4"/>
                      <a:pt x="4" y="3"/>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9" name="Freeform 357"/>
              <p:cNvSpPr/>
              <p:nvPr/>
            </p:nvSpPr>
            <p:spPr bwMode="auto">
              <a:xfrm>
                <a:off x="4002" y="3892"/>
                <a:ext cx="4" cy="10"/>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1" y="1"/>
                      <a:pt x="1" y="3"/>
                      <a:pt x="2"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358"/>
              <p:cNvSpPr/>
              <p:nvPr/>
            </p:nvSpPr>
            <p:spPr bwMode="auto">
              <a:xfrm>
                <a:off x="4058" y="3764"/>
                <a:ext cx="5" cy="8"/>
              </a:xfrm>
              <a:custGeom>
                <a:gdLst>
                  <a:gd name="T0" fmla="*/ 0 w 2"/>
                  <a:gd name="T1" fmla="*/ 0 h 3"/>
                  <a:gd name="T2" fmla="*/ 0 w 2"/>
                  <a:gd name="T3" fmla="*/ 0 h 3"/>
                  <a:gd name="T4" fmla="*/ 2 w 2"/>
                  <a:gd name="T5" fmla="*/ 3 h 3"/>
                  <a:gd name="T6" fmla="*/ 0 w 2"/>
                  <a:gd name="T7" fmla="*/ 0 h 3"/>
                </a:gdLst>
                <a:cxnLst>
                  <a:cxn ang="0">
                    <a:pos x="T0" y="T1"/>
                  </a:cxn>
                  <a:cxn ang="0">
                    <a:pos x="T2" y="T3"/>
                  </a:cxn>
                  <a:cxn ang="0">
                    <a:pos x="T4" y="T5"/>
                  </a:cxn>
                  <a:cxn ang="0">
                    <a:pos x="T6" y="T7"/>
                  </a:cxn>
                </a:cxnLst>
                <a:rect l="0" t="0" r="r" b="b"/>
                <a:pathLst>
                  <a:path w="2" h="3">
                    <a:moveTo>
                      <a:pt x="0" y="0"/>
                    </a:moveTo>
                    <a:cubicBezTo>
                      <a:pt x="0" y="0"/>
                      <a:pt x="0" y="0"/>
                      <a:pt x="0" y="0"/>
                    </a:cubicBezTo>
                    <a:cubicBezTo>
                      <a:pt x="0" y="1"/>
                      <a:pt x="1" y="2"/>
                      <a:pt x="2" y="3"/>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1" name="Freeform 359"/>
              <p:cNvSpPr/>
              <p:nvPr/>
            </p:nvSpPr>
            <p:spPr bwMode="auto">
              <a:xfrm>
                <a:off x="4035" y="3946"/>
                <a:ext cx="4" cy="12"/>
              </a:xfrm>
              <a:custGeom>
                <a:gdLst>
                  <a:gd name="T0" fmla="*/ 2 w 2"/>
                  <a:gd name="T1" fmla="*/ 0 h 5"/>
                  <a:gd name="T2" fmla="*/ 1 w 2"/>
                  <a:gd name="T3" fmla="*/ 5 h 5"/>
                  <a:gd name="T4" fmla="*/ 2 w 2"/>
                  <a:gd name="T5" fmla="*/ 0 h 5"/>
                </a:gdLst>
                <a:cxnLst>
                  <a:cxn ang="0">
                    <a:pos x="T0" y="T1"/>
                  </a:cxn>
                  <a:cxn ang="0">
                    <a:pos x="T2" y="T3"/>
                  </a:cxn>
                  <a:cxn ang="0">
                    <a:pos x="T4" y="T5"/>
                  </a:cxn>
                </a:cxnLst>
                <a:rect l="0" t="0" r="r" b="b"/>
                <a:pathLst>
                  <a:path w="2" h="5">
                    <a:moveTo>
                      <a:pt x="2" y="0"/>
                    </a:moveTo>
                    <a:cubicBezTo>
                      <a:pt x="1" y="2"/>
                      <a:pt x="0" y="2"/>
                      <a:pt x="1" y="5"/>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360"/>
              <p:cNvSpPr/>
              <p:nvPr/>
            </p:nvSpPr>
            <p:spPr bwMode="auto">
              <a:xfrm flipH="1">
                <a:off x="3976" y="3871"/>
                <a:ext cx="0" cy="5"/>
              </a:xfrm>
              <a:custGeom>
                <a:gdLst>
                  <a:gd name="T0" fmla="*/ 0 h 2"/>
                  <a:gd name="T1" fmla="*/ 2 h 2"/>
                  <a:gd name="T2" fmla="*/ 0 h 2"/>
                </a:gdLst>
                <a:cxnLst>
                  <a:cxn ang="0">
                    <a:pos x="0" y="T0"/>
                  </a:cxn>
                  <a:cxn ang="0">
                    <a:pos x="0" y="T1"/>
                  </a:cxn>
                  <a:cxn ang="0">
                    <a:pos x="0" y="T2"/>
                  </a:cxn>
                </a:cxnLst>
                <a:rect l="0" t="0" r="r" b="b"/>
                <a:pathLst>
                  <a:path h="2">
                    <a:moveTo>
                      <a:pt x="0" y="0"/>
                    </a:moveTo>
                    <a:cubicBezTo>
                      <a:pt x="0" y="1"/>
                      <a:pt x="0" y="1"/>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3" name="Freeform 361"/>
              <p:cNvSpPr/>
              <p:nvPr/>
            </p:nvSpPr>
            <p:spPr bwMode="auto">
              <a:xfrm>
                <a:off x="4051" y="3776"/>
                <a:ext cx="14" cy="12"/>
              </a:xfrm>
              <a:custGeom>
                <a:gdLst>
                  <a:gd name="T0" fmla="*/ 4 w 6"/>
                  <a:gd name="T1" fmla="*/ 0 h 5"/>
                  <a:gd name="T2" fmla="*/ 2 w 6"/>
                  <a:gd name="T3" fmla="*/ 0 h 5"/>
                  <a:gd name="T4" fmla="*/ 2 w 6"/>
                  <a:gd name="T5" fmla="*/ 5 h 5"/>
                  <a:gd name="T6" fmla="*/ 5 w 6"/>
                  <a:gd name="T7" fmla="*/ 1 h 5"/>
                  <a:gd name="T8" fmla="*/ 4 w 6"/>
                  <a:gd name="T9" fmla="*/ 0 h 5"/>
                </a:gdLst>
                <a:cxnLst>
                  <a:cxn ang="0">
                    <a:pos x="T0" y="T1"/>
                  </a:cxn>
                  <a:cxn ang="0">
                    <a:pos x="T2" y="T3"/>
                  </a:cxn>
                  <a:cxn ang="0">
                    <a:pos x="T4" y="T5"/>
                  </a:cxn>
                  <a:cxn ang="0">
                    <a:pos x="T6" y="T7"/>
                  </a:cxn>
                  <a:cxn ang="0">
                    <a:pos x="T8" y="T9"/>
                  </a:cxn>
                </a:cxnLst>
                <a:rect l="0" t="0" r="r" b="b"/>
                <a:pathLst>
                  <a:path w="6" h="5">
                    <a:moveTo>
                      <a:pt x="4" y="0"/>
                    </a:moveTo>
                    <a:cubicBezTo>
                      <a:pt x="3" y="0"/>
                      <a:pt x="3" y="0"/>
                      <a:pt x="2" y="0"/>
                    </a:cubicBezTo>
                    <a:cubicBezTo>
                      <a:pt x="0" y="1"/>
                      <a:pt x="2" y="3"/>
                      <a:pt x="2" y="5"/>
                    </a:cubicBezTo>
                    <a:cubicBezTo>
                      <a:pt x="3" y="4"/>
                      <a:pt x="6" y="2"/>
                      <a:pt x="5"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362"/>
              <p:cNvSpPr/>
              <p:nvPr/>
            </p:nvSpPr>
            <p:spPr bwMode="auto">
              <a:xfrm>
                <a:off x="4205" y="3649"/>
                <a:ext cx="5" cy="11"/>
              </a:xfrm>
              <a:custGeom>
                <a:gdLst>
                  <a:gd name="T0" fmla="*/ 1 w 2"/>
                  <a:gd name="T1" fmla="*/ 0 h 5"/>
                  <a:gd name="T2" fmla="*/ 2 w 2"/>
                  <a:gd name="T3" fmla="*/ 5 h 5"/>
                  <a:gd name="T4" fmla="*/ 1 w 2"/>
                  <a:gd name="T5" fmla="*/ 0 h 5"/>
                </a:gdLst>
                <a:cxnLst>
                  <a:cxn ang="0">
                    <a:pos x="T0" y="T1"/>
                  </a:cxn>
                  <a:cxn ang="0">
                    <a:pos x="T2" y="T3"/>
                  </a:cxn>
                  <a:cxn ang="0">
                    <a:pos x="T4" y="T5"/>
                  </a:cxn>
                </a:cxnLst>
                <a:rect l="0" t="0" r="r" b="b"/>
                <a:pathLst>
                  <a:path w="2" h="5">
                    <a:moveTo>
                      <a:pt x="1" y="0"/>
                    </a:moveTo>
                    <a:cubicBezTo>
                      <a:pt x="0" y="2"/>
                      <a:pt x="0" y="4"/>
                      <a:pt x="2" y="5"/>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5" name="Freeform 363"/>
              <p:cNvSpPr/>
              <p:nvPr/>
            </p:nvSpPr>
            <p:spPr bwMode="auto">
              <a:xfrm>
                <a:off x="2877" y="3762"/>
                <a:ext cx="127" cy="229"/>
              </a:xfrm>
              <a:custGeom>
                <a:gdLst>
                  <a:gd name="T0" fmla="*/ 11 w 54"/>
                  <a:gd name="T1" fmla="*/ 0 h 97"/>
                  <a:gd name="T2" fmla="*/ 18 w 54"/>
                  <a:gd name="T3" fmla="*/ 6 h 97"/>
                  <a:gd name="T4" fmla="*/ 13 w 54"/>
                  <a:gd name="T5" fmla="*/ 2 h 97"/>
                  <a:gd name="T6" fmla="*/ 10 w 54"/>
                  <a:gd name="T7" fmla="*/ 5 h 97"/>
                  <a:gd name="T8" fmla="*/ 12 w 54"/>
                  <a:gd name="T9" fmla="*/ 5 h 97"/>
                  <a:gd name="T10" fmla="*/ 17 w 54"/>
                  <a:gd name="T11" fmla="*/ 8 h 97"/>
                  <a:gd name="T12" fmla="*/ 18 w 54"/>
                  <a:gd name="T13" fmla="*/ 9 h 97"/>
                  <a:gd name="T14" fmla="*/ 16 w 54"/>
                  <a:gd name="T15" fmla="*/ 9 h 97"/>
                  <a:gd name="T16" fmla="*/ 14 w 54"/>
                  <a:gd name="T17" fmla="*/ 9 h 97"/>
                  <a:gd name="T18" fmla="*/ 9 w 54"/>
                  <a:gd name="T19" fmla="*/ 6 h 97"/>
                  <a:gd name="T20" fmla="*/ 9 w 54"/>
                  <a:gd name="T21" fmla="*/ 6 h 97"/>
                  <a:gd name="T22" fmla="*/ 10 w 54"/>
                  <a:gd name="T23" fmla="*/ 15 h 97"/>
                  <a:gd name="T24" fmla="*/ 5 w 54"/>
                  <a:gd name="T25" fmla="*/ 22 h 97"/>
                  <a:gd name="T26" fmla="*/ 5 w 54"/>
                  <a:gd name="T27" fmla="*/ 32 h 97"/>
                  <a:gd name="T28" fmla="*/ 3 w 54"/>
                  <a:gd name="T29" fmla="*/ 41 h 97"/>
                  <a:gd name="T30" fmla="*/ 1 w 54"/>
                  <a:gd name="T31" fmla="*/ 44 h 97"/>
                  <a:gd name="T32" fmla="*/ 0 w 54"/>
                  <a:gd name="T33" fmla="*/ 44 h 97"/>
                  <a:gd name="T34" fmla="*/ 2 w 54"/>
                  <a:gd name="T35" fmla="*/ 52 h 97"/>
                  <a:gd name="T36" fmla="*/ 3 w 54"/>
                  <a:gd name="T37" fmla="*/ 63 h 97"/>
                  <a:gd name="T38" fmla="*/ 5 w 54"/>
                  <a:gd name="T39" fmla="*/ 72 h 97"/>
                  <a:gd name="T40" fmla="*/ 8 w 54"/>
                  <a:gd name="T41" fmla="*/ 84 h 97"/>
                  <a:gd name="T42" fmla="*/ 10 w 54"/>
                  <a:gd name="T43" fmla="*/ 91 h 97"/>
                  <a:gd name="T44" fmla="*/ 16 w 54"/>
                  <a:gd name="T45" fmla="*/ 95 h 97"/>
                  <a:gd name="T46" fmla="*/ 22 w 54"/>
                  <a:gd name="T47" fmla="*/ 97 h 97"/>
                  <a:gd name="T48" fmla="*/ 32 w 54"/>
                  <a:gd name="T49" fmla="*/ 92 h 97"/>
                  <a:gd name="T50" fmla="*/ 49 w 54"/>
                  <a:gd name="T51" fmla="*/ 83 h 97"/>
                  <a:gd name="T52" fmla="*/ 53 w 54"/>
                  <a:gd name="T53" fmla="*/ 73 h 97"/>
                  <a:gd name="T54" fmla="*/ 52 w 54"/>
                  <a:gd name="T55" fmla="*/ 59 h 97"/>
                  <a:gd name="T56" fmla="*/ 52 w 54"/>
                  <a:gd name="T57" fmla="*/ 59 h 97"/>
                  <a:gd name="T58" fmla="*/ 45 w 54"/>
                  <a:gd name="T59" fmla="*/ 47 h 97"/>
                  <a:gd name="T60" fmla="*/ 43 w 54"/>
                  <a:gd name="T61" fmla="*/ 40 h 97"/>
                  <a:gd name="T62" fmla="*/ 35 w 54"/>
                  <a:gd name="T63" fmla="*/ 28 h 97"/>
                  <a:gd name="T64" fmla="*/ 31 w 54"/>
                  <a:gd name="T65" fmla="*/ 22 h 97"/>
                  <a:gd name="T66" fmla="*/ 24 w 54"/>
                  <a:gd name="T67" fmla="*/ 11 h 97"/>
                  <a:gd name="T68" fmla="*/ 19 w 54"/>
                  <a:gd name="T69" fmla="*/ 6 h 97"/>
                  <a:gd name="T70" fmla="*/ 12 w 54"/>
                  <a:gd name="T71" fmla="*/ 0 h 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97">
                    <a:moveTo>
                      <a:pt x="12" y="0"/>
                    </a:moveTo>
                    <a:cubicBezTo>
                      <a:pt x="12" y="0"/>
                      <a:pt x="12" y="0"/>
                      <a:pt x="11" y="0"/>
                    </a:cubicBezTo>
                    <a:cubicBezTo>
                      <a:pt x="12" y="1"/>
                      <a:pt x="13" y="2"/>
                      <a:pt x="13" y="2"/>
                    </a:cubicBezTo>
                    <a:cubicBezTo>
                      <a:pt x="15" y="4"/>
                      <a:pt x="16" y="5"/>
                      <a:pt x="18" y="6"/>
                    </a:cubicBezTo>
                    <a:cubicBezTo>
                      <a:pt x="16" y="6"/>
                      <a:pt x="15" y="4"/>
                      <a:pt x="13" y="2"/>
                    </a:cubicBezTo>
                    <a:cubicBezTo>
                      <a:pt x="13" y="2"/>
                      <a:pt x="13" y="2"/>
                      <a:pt x="13" y="2"/>
                    </a:cubicBezTo>
                    <a:cubicBezTo>
                      <a:pt x="11" y="1"/>
                      <a:pt x="9" y="1"/>
                      <a:pt x="7" y="1"/>
                    </a:cubicBezTo>
                    <a:cubicBezTo>
                      <a:pt x="7" y="1"/>
                      <a:pt x="9" y="4"/>
                      <a:pt x="10" y="5"/>
                    </a:cubicBezTo>
                    <a:cubicBezTo>
                      <a:pt x="11" y="6"/>
                      <a:pt x="12" y="6"/>
                      <a:pt x="12" y="6"/>
                    </a:cubicBezTo>
                    <a:cubicBezTo>
                      <a:pt x="12" y="6"/>
                      <a:pt x="12" y="6"/>
                      <a:pt x="12" y="5"/>
                    </a:cubicBezTo>
                    <a:cubicBezTo>
                      <a:pt x="14" y="6"/>
                      <a:pt x="16" y="7"/>
                      <a:pt x="17" y="8"/>
                    </a:cubicBezTo>
                    <a:cubicBezTo>
                      <a:pt x="17" y="8"/>
                      <a:pt x="17" y="8"/>
                      <a:pt x="17" y="8"/>
                    </a:cubicBezTo>
                    <a:cubicBezTo>
                      <a:pt x="19" y="8"/>
                      <a:pt x="21" y="8"/>
                      <a:pt x="22" y="10"/>
                    </a:cubicBezTo>
                    <a:cubicBezTo>
                      <a:pt x="21" y="9"/>
                      <a:pt x="19" y="9"/>
                      <a:pt x="18" y="9"/>
                    </a:cubicBezTo>
                    <a:cubicBezTo>
                      <a:pt x="17" y="9"/>
                      <a:pt x="17" y="9"/>
                      <a:pt x="17" y="9"/>
                    </a:cubicBezTo>
                    <a:cubicBezTo>
                      <a:pt x="16" y="9"/>
                      <a:pt x="16" y="9"/>
                      <a:pt x="16" y="9"/>
                    </a:cubicBezTo>
                    <a:cubicBezTo>
                      <a:pt x="16" y="9"/>
                      <a:pt x="15" y="10"/>
                      <a:pt x="15" y="10"/>
                    </a:cubicBezTo>
                    <a:cubicBezTo>
                      <a:pt x="14" y="10"/>
                      <a:pt x="14" y="9"/>
                      <a:pt x="14" y="9"/>
                    </a:cubicBezTo>
                    <a:cubicBezTo>
                      <a:pt x="13" y="9"/>
                      <a:pt x="15" y="9"/>
                      <a:pt x="14" y="8"/>
                    </a:cubicBezTo>
                    <a:cubicBezTo>
                      <a:pt x="12" y="8"/>
                      <a:pt x="11" y="7"/>
                      <a:pt x="9" y="6"/>
                    </a:cubicBezTo>
                    <a:cubicBezTo>
                      <a:pt x="9" y="6"/>
                      <a:pt x="9" y="6"/>
                      <a:pt x="9" y="6"/>
                    </a:cubicBezTo>
                    <a:cubicBezTo>
                      <a:pt x="9" y="6"/>
                      <a:pt x="9" y="6"/>
                      <a:pt x="9" y="6"/>
                    </a:cubicBezTo>
                    <a:cubicBezTo>
                      <a:pt x="10" y="7"/>
                      <a:pt x="13" y="8"/>
                      <a:pt x="12" y="9"/>
                    </a:cubicBezTo>
                    <a:cubicBezTo>
                      <a:pt x="9" y="12"/>
                      <a:pt x="9" y="11"/>
                      <a:pt x="10" y="15"/>
                    </a:cubicBezTo>
                    <a:cubicBezTo>
                      <a:pt x="10" y="16"/>
                      <a:pt x="10" y="16"/>
                      <a:pt x="10" y="16"/>
                    </a:cubicBezTo>
                    <a:cubicBezTo>
                      <a:pt x="9" y="18"/>
                      <a:pt x="6" y="20"/>
                      <a:pt x="5" y="22"/>
                    </a:cubicBezTo>
                    <a:cubicBezTo>
                      <a:pt x="5" y="24"/>
                      <a:pt x="5" y="27"/>
                      <a:pt x="5" y="29"/>
                    </a:cubicBezTo>
                    <a:cubicBezTo>
                      <a:pt x="5" y="30"/>
                      <a:pt x="5" y="31"/>
                      <a:pt x="5" y="32"/>
                    </a:cubicBezTo>
                    <a:cubicBezTo>
                      <a:pt x="5" y="33"/>
                      <a:pt x="5" y="35"/>
                      <a:pt x="5" y="37"/>
                    </a:cubicBezTo>
                    <a:cubicBezTo>
                      <a:pt x="4" y="38"/>
                      <a:pt x="4" y="39"/>
                      <a:pt x="3" y="41"/>
                    </a:cubicBezTo>
                    <a:cubicBezTo>
                      <a:pt x="3" y="43"/>
                      <a:pt x="2" y="44"/>
                      <a:pt x="2" y="46"/>
                    </a:cubicBezTo>
                    <a:cubicBezTo>
                      <a:pt x="1" y="46"/>
                      <a:pt x="1" y="45"/>
                      <a:pt x="1" y="44"/>
                    </a:cubicBezTo>
                    <a:cubicBezTo>
                      <a:pt x="1" y="42"/>
                      <a:pt x="1" y="40"/>
                      <a:pt x="1" y="39"/>
                    </a:cubicBezTo>
                    <a:cubicBezTo>
                      <a:pt x="0" y="41"/>
                      <a:pt x="0" y="42"/>
                      <a:pt x="0" y="44"/>
                    </a:cubicBezTo>
                    <a:cubicBezTo>
                      <a:pt x="1" y="44"/>
                      <a:pt x="1" y="45"/>
                      <a:pt x="1" y="45"/>
                    </a:cubicBezTo>
                    <a:cubicBezTo>
                      <a:pt x="1" y="47"/>
                      <a:pt x="1" y="50"/>
                      <a:pt x="2" y="52"/>
                    </a:cubicBezTo>
                    <a:cubicBezTo>
                      <a:pt x="2" y="55"/>
                      <a:pt x="3" y="58"/>
                      <a:pt x="3" y="60"/>
                    </a:cubicBezTo>
                    <a:cubicBezTo>
                      <a:pt x="3" y="61"/>
                      <a:pt x="3" y="62"/>
                      <a:pt x="3" y="63"/>
                    </a:cubicBezTo>
                    <a:cubicBezTo>
                      <a:pt x="4" y="65"/>
                      <a:pt x="4" y="67"/>
                      <a:pt x="4" y="69"/>
                    </a:cubicBezTo>
                    <a:cubicBezTo>
                      <a:pt x="4" y="70"/>
                      <a:pt x="4" y="71"/>
                      <a:pt x="5" y="72"/>
                    </a:cubicBezTo>
                    <a:cubicBezTo>
                      <a:pt x="5" y="74"/>
                      <a:pt x="5" y="75"/>
                      <a:pt x="5" y="77"/>
                    </a:cubicBezTo>
                    <a:cubicBezTo>
                      <a:pt x="6" y="79"/>
                      <a:pt x="7" y="82"/>
                      <a:pt x="8" y="84"/>
                    </a:cubicBezTo>
                    <a:cubicBezTo>
                      <a:pt x="8" y="86"/>
                      <a:pt x="8" y="87"/>
                      <a:pt x="9" y="89"/>
                    </a:cubicBezTo>
                    <a:cubicBezTo>
                      <a:pt x="10" y="89"/>
                      <a:pt x="10" y="90"/>
                      <a:pt x="10" y="91"/>
                    </a:cubicBezTo>
                    <a:cubicBezTo>
                      <a:pt x="11" y="93"/>
                      <a:pt x="12" y="94"/>
                      <a:pt x="13" y="95"/>
                    </a:cubicBezTo>
                    <a:cubicBezTo>
                      <a:pt x="14" y="95"/>
                      <a:pt x="15" y="95"/>
                      <a:pt x="16" y="95"/>
                    </a:cubicBezTo>
                    <a:cubicBezTo>
                      <a:pt x="17" y="96"/>
                      <a:pt x="19" y="97"/>
                      <a:pt x="22" y="97"/>
                    </a:cubicBezTo>
                    <a:cubicBezTo>
                      <a:pt x="22" y="97"/>
                      <a:pt x="22" y="97"/>
                      <a:pt x="22" y="97"/>
                    </a:cubicBezTo>
                    <a:cubicBezTo>
                      <a:pt x="23" y="97"/>
                      <a:pt x="23" y="97"/>
                      <a:pt x="24" y="97"/>
                    </a:cubicBezTo>
                    <a:cubicBezTo>
                      <a:pt x="27" y="96"/>
                      <a:pt x="30" y="93"/>
                      <a:pt x="32" y="92"/>
                    </a:cubicBezTo>
                    <a:cubicBezTo>
                      <a:pt x="36" y="90"/>
                      <a:pt x="40" y="88"/>
                      <a:pt x="45" y="85"/>
                    </a:cubicBezTo>
                    <a:cubicBezTo>
                      <a:pt x="46" y="85"/>
                      <a:pt x="47" y="84"/>
                      <a:pt x="49" y="83"/>
                    </a:cubicBezTo>
                    <a:cubicBezTo>
                      <a:pt x="50" y="83"/>
                      <a:pt x="51" y="81"/>
                      <a:pt x="52" y="78"/>
                    </a:cubicBezTo>
                    <a:cubicBezTo>
                      <a:pt x="52" y="76"/>
                      <a:pt x="53" y="74"/>
                      <a:pt x="53" y="73"/>
                    </a:cubicBezTo>
                    <a:cubicBezTo>
                      <a:pt x="53" y="72"/>
                      <a:pt x="54" y="69"/>
                      <a:pt x="54" y="67"/>
                    </a:cubicBezTo>
                    <a:cubicBezTo>
                      <a:pt x="54" y="63"/>
                      <a:pt x="53" y="59"/>
                      <a:pt x="52" y="59"/>
                    </a:cubicBezTo>
                    <a:cubicBezTo>
                      <a:pt x="52" y="59"/>
                      <a:pt x="52" y="59"/>
                      <a:pt x="52" y="59"/>
                    </a:cubicBezTo>
                    <a:cubicBezTo>
                      <a:pt x="52" y="59"/>
                      <a:pt x="52" y="59"/>
                      <a:pt x="52" y="59"/>
                    </a:cubicBezTo>
                    <a:cubicBezTo>
                      <a:pt x="50" y="59"/>
                      <a:pt x="49" y="56"/>
                      <a:pt x="48" y="54"/>
                    </a:cubicBezTo>
                    <a:cubicBezTo>
                      <a:pt x="47" y="52"/>
                      <a:pt x="46" y="49"/>
                      <a:pt x="45" y="47"/>
                    </a:cubicBezTo>
                    <a:cubicBezTo>
                      <a:pt x="44" y="44"/>
                      <a:pt x="43" y="41"/>
                      <a:pt x="43" y="40"/>
                    </a:cubicBezTo>
                    <a:cubicBezTo>
                      <a:pt x="43" y="40"/>
                      <a:pt x="43" y="40"/>
                      <a:pt x="43" y="40"/>
                    </a:cubicBezTo>
                    <a:cubicBezTo>
                      <a:pt x="42" y="38"/>
                      <a:pt x="40" y="36"/>
                      <a:pt x="39" y="34"/>
                    </a:cubicBezTo>
                    <a:cubicBezTo>
                      <a:pt x="38" y="32"/>
                      <a:pt x="36" y="30"/>
                      <a:pt x="35" y="28"/>
                    </a:cubicBezTo>
                    <a:cubicBezTo>
                      <a:pt x="34" y="26"/>
                      <a:pt x="32" y="25"/>
                      <a:pt x="31" y="23"/>
                    </a:cubicBezTo>
                    <a:cubicBezTo>
                      <a:pt x="31" y="22"/>
                      <a:pt x="31" y="22"/>
                      <a:pt x="31" y="22"/>
                    </a:cubicBezTo>
                    <a:cubicBezTo>
                      <a:pt x="29" y="20"/>
                      <a:pt x="28" y="19"/>
                      <a:pt x="27" y="17"/>
                    </a:cubicBezTo>
                    <a:cubicBezTo>
                      <a:pt x="26" y="15"/>
                      <a:pt x="25" y="13"/>
                      <a:pt x="24" y="11"/>
                    </a:cubicBezTo>
                    <a:cubicBezTo>
                      <a:pt x="23" y="10"/>
                      <a:pt x="22" y="9"/>
                      <a:pt x="21" y="8"/>
                    </a:cubicBezTo>
                    <a:cubicBezTo>
                      <a:pt x="20" y="7"/>
                      <a:pt x="20" y="7"/>
                      <a:pt x="19" y="6"/>
                    </a:cubicBezTo>
                    <a:cubicBezTo>
                      <a:pt x="17" y="5"/>
                      <a:pt x="16" y="3"/>
                      <a:pt x="14" y="1"/>
                    </a:cubicBezTo>
                    <a:cubicBezTo>
                      <a:pt x="13" y="1"/>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364"/>
              <p:cNvSpPr/>
              <p:nvPr/>
            </p:nvSpPr>
            <p:spPr bwMode="auto">
              <a:xfrm>
                <a:off x="2995" y="3885"/>
                <a:ext cx="5" cy="17"/>
              </a:xfrm>
              <a:custGeom>
                <a:gdLst>
                  <a:gd name="T0" fmla="*/ 0 w 2"/>
                  <a:gd name="T1" fmla="*/ 0 h 7"/>
                  <a:gd name="T2" fmla="*/ 2 w 2"/>
                  <a:gd name="T3" fmla="*/ 7 h 7"/>
                  <a:gd name="T4" fmla="*/ 0 w 2"/>
                  <a:gd name="T5" fmla="*/ 0 h 7"/>
                </a:gdLst>
                <a:cxnLst>
                  <a:cxn ang="0">
                    <a:pos x="T0" y="T1"/>
                  </a:cxn>
                  <a:cxn ang="0">
                    <a:pos x="T2" y="T3"/>
                  </a:cxn>
                  <a:cxn ang="0">
                    <a:pos x="T4" y="T5"/>
                  </a:cxn>
                </a:cxnLst>
                <a:rect l="0" t="0" r="r" b="b"/>
                <a:pathLst>
                  <a:path w="2" h="7">
                    <a:moveTo>
                      <a:pt x="0" y="0"/>
                    </a:moveTo>
                    <a:cubicBezTo>
                      <a:pt x="1" y="2"/>
                      <a:pt x="1" y="4"/>
                      <a:pt x="2" y="7"/>
                    </a:cubicBezTo>
                    <a:cubicBezTo>
                      <a:pt x="2" y="4"/>
                      <a:pt x="1"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7" name="Freeform 365"/>
              <p:cNvSpPr/>
              <p:nvPr/>
            </p:nvSpPr>
            <p:spPr bwMode="auto">
              <a:xfrm>
                <a:off x="2879" y="3805"/>
                <a:ext cx="10" cy="9"/>
              </a:xfrm>
              <a:custGeom>
                <a:gdLst>
                  <a:gd name="T0" fmla="*/ 0 w 4"/>
                  <a:gd name="T1" fmla="*/ 0 h 4"/>
                  <a:gd name="T2" fmla="*/ 4 w 4"/>
                  <a:gd name="T3" fmla="*/ 4 h 4"/>
                  <a:gd name="T4" fmla="*/ 0 w 4"/>
                  <a:gd name="T5" fmla="*/ 0 h 4"/>
                </a:gdLst>
                <a:cxnLst>
                  <a:cxn ang="0">
                    <a:pos x="T0" y="T1"/>
                  </a:cxn>
                  <a:cxn ang="0">
                    <a:pos x="T2" y="T3"/>
                  </a:cxn>
                  <a:cxn ang="0">
                    <a:pos x="T4" y="T5"/>
                  </a:cxn>
                </a:cxnLst>
                <a:rect l="0" t="0" r="r" b="b"/>
                <a:pathLst>
                  <a:path w="4" h="4">
                    <a:moveTo>
                      <a:pt x="0" y="0"/>
                    </a:moveTo>
                    <a:cubicBezTo>
                      <a:pt x="2" y="2"/>
                      <a:pt x="3" y="3"/>
                      <a:pt x="4"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366"/>
              <p:cNvSpPr/>
              <p:nvPr/>
            </p:nvSpPr>
            <p:spPr bwMode="auto">
              <a:xfrm>
                <a:off x="6478" y="812"/>
                <a:ext cx="182" cy="650"/>
              </a:xfrm>
              <a:custGeom>
                <a:gdLst>
                  <a:gd name="T0" fmla="*/ 27 w 77"/>
                  <a:gd name="T1" fmla="*/ 0 h 275"/>
                  <a:gd name="T2" fmla="*/ 25 w 77"/>
                  <a:gd name="T3" fmla="*/ 4 h 275"/>
                  <a:gd name="T4" fmla="*/ 20 w 77"/>
                  <a:gd name="T5" fmla="*/ 4 h 275"/>
                  <a:gd name="T6" fmla="*/ 28 w 77"/>
                  <a:gd name="T7" fmla="*/ 17 h 275"/>
                  <a:gd name="T8" fmla="*/ 27 w 77"/>
                  <a:gd name="T9" fmla="*/ 26 h 275"/>
                  <a:gd name="T10" fmla="*/ 27 w 77"/>
                  <a:gd name="T11" fmla="*/ 26 h 275"/>
                  <a:gd name="T12" fmla="*/ 25 w 77"/>
                  <a:gd name="T13" fmla="*/ 25 h 275"/>
                  <a:gd name="T14" fmla="*/ 24 w 77"/>
                  <a:gd name="T15" fmla="*/ 29 h 275"/>
                  <a:gd name="T16" fmla="*/ 26 w 77"/>
                  <a:gd name="T17" fmla="*/ 30 h 275"/>
                  <a:gd name="T18" fmla="*/ 21 w 77"/>
                  <a:gd name="T19" fmla="*/ 35 h 275"/>
                  <a:gd name="T20" fmla="*/ 16 w 77"/>
                  <a:gd name="T21" fmla="*/ 33 h 275"/>
                  <a:gd name="T22" fmla="*/ 12 w 77"/>
                  <a:gd name="T23" fmla="*/ 31 h 275"/>
                  <a:gd name="T24" fmla="*/ 8 w 77"/>
                  <a:gd name="T25" fmla="*/ 49 h 275"/>
                  <a:gd name="T26" fmla="*/ 5 w 77"/>
                  <a:gd name="T27" fmla="*/ 68 h 275"/>
                  <a:gd name="T28" fmla="*/ 15 w 77"/>
                  <a:gd name="T29" fmla="*/ 107 h 275"/>
                  <a:gd name="T30" fmla="*/ 13 w 77"/>
                  <a:gd name="T31" fmla="*/ 123 h 275"/>
                  <a:gd name="T32" fmla="*/ 11 w 77"/>
                  <a:gd name="T33" fmla="*/ 164 h 275"/>
                  <a:gd name="T34" fmla="*/ 8 w 77"/>
                  <a:gd name="T35" fmla="*/ 189 h 275"/>
                  <a:gd name="T36" fmla="*/ 14 w 77"/>
                  <a:gd name="T37" fmla="*/ 212 h 275"/>
                  <a:gd name="T38" fmla="*/ 11 w 77"/>
                  <a:gd name="T39" fmla="*/ 239 h 275"/>
                  <a:gd name="T40" fmla="*/ 7 w 77"/>
                  <a:gd name="T41" fmla="*/ 262 h 275"/>
                  <a:gd name="T42" fmla="*/ 21 w 77"/>
                  <a:gd name="T43" fmla="*/ 253 h 275"/>
                  <a:gd name="T44" fmla="*/ 31 w 77"/>
                  <a:gd name="T45" fmla="*/ 253 h 275"/>
                  <a:gd name="T46" fmla="*/ 37 w 77"/>
                  <a:gd name="T47" fmla="*/ 253 h 275"/>
                  <a:gd name="T48" fmla="*/ 43 w 77"/>
                  <a:gd name="T49" fmla="*/ 254 h 275"/>
                  <a:gd name="T50" fmla="*/ 45 w 77"/>
                  <a:gd name="T51" fmla="*/ 263 h 275"/>
                  <a:gd name="T52" fmla="*/ 47 w 77"/>
                  <a:gd name="T53" fmla="*/ 266 h 275"/>
                  <a:gd name="T54" fmla="*/ 49 w 77"/>
                  <a:gd name="T55" fmla="*/ 259 h 275"/>
                  <a:gd name="T56" fmla="*/ 43 w 77"/>
                  <a:gd name="T57" fmla="*/ 245 h 275"/>
                  <a:gd name="T58" fmla="*/ 44 w 77"/>
                  <a:gd name="T59" fmla="*/ 250 h 275"/>
                  <a:gd name="T60" fmla="*/ 39 w 77"/>
                  <a:gd name="T61" fmla="*/ 249 h 275"/>
                  <a:gd name="T62" fmla="*/ 38 w 77"/>
                  <a:gd name="T63" fmla="*/ 245 h 275"/>
                  <a:gd name="T64" fmla="*/ 24 w 77"/>
                  <a:gd name="T65" fmla="*/ 210 h 275"/>
                  <a:gd name="T66" fmla="*/ 39 w 77"/>
                  <a:gd name="T67" fmla="*/ 170 h 275"/>
                  <a:gd name="T68" fmla="*/ 45 w 77"/>
                  <a:gd name="T69" fmla="*/ 165 h 275"/>
                  <a:gd name="T70" fmla="*/ 52 w 77"/>
                  <a:gd name="T71" fmla="*/ 168 h 275"/>
                  <a:gd name="T72" fmla="*/ 68 w 77"/>
                  <a:gd name="T73" fmla="*/ 176 h 275"/>
                  <a:gd name="T74" fmla="*/ 76 w 77"/>
                  <a:gd name="T75" fmla="*/ 187 h 275"/>
                  <a:gd name="T76" fmla="*/ 71 w 77"/>
                  <a:gd name="T77" fmla="*/ 178 h 275"/>
                  <a:gd name="T78" fmla="*/ 65 w 77"/>
                  <a:gd name="T79" fmla="*/ 165 h 275"/>
                  <a:gd name="T80" fmla="*/ 63 w 77"/>
                  <a:gd name="T81" fmla="*/ 157 h 275"/>
                  <a:gd name="T82" fmla="*/ 45 w 77"/>
                  <a:gd name="T83" fmla="*/ 102 h 275"/>
                  <a:gd name="T84" fmla="*/ 44 w 77"/>
                  <a:gd name="T85" fmla="*/ 92 h 275"/>
                  <a:gd name="T86" fmla="*/ 43 w 77"/>
                  <a:gd name="T87" fmla="*/ 94 h 275"/>
                  <a:gd name="T88" fmla="*/ 42 w 77"/>
                  <a:gd name="T89" fmla="*/ 96 h 275"/>
                  <a:gd name="T90" fmla="*/ 38 w 77"/>
                  <a:gd name="T91" fmla="*/ 76 h 275"/>
                  <a:gd name="T92" fmla="*/ 39 w 77"/>
                  <a:gd name="T93" fmla="*/ 67 h 275"/>
                  <a:gd name="T94" fmla="*/ 37 w 77"/>
                  <a:gd name="T95" fmla="*/ 40 h 275"/>
                  <a:gd name="T96" fmla="*/ 39 w 77"/>
                  <a:gd name="T97" fmla="*/ 35 h 275"/>
                  <a:gd name="T98" fmla="*/ 42 w 77"/>
                  <a:gd name="T99" fmla="*/ 44 h 275"/>
                  <a:gd name="T100" fmla="*/ 38 w 77"/>
                  <a:gd name="T101" fmla="*/ 31 h 275"/>
                  <a:gd name="T102" fmla="*/ 33 w 77"/>
                  <a:gd name="T103" fmla="*/ 15 h 275"/>
                  <a:gd name="T104" fmla="*/ 31 w 77"/>
                  <a:gd name="T105" fmla="*/ 4 h 2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 h="275">
                    <a:moveTo>
                      <a:pt x="28" y="0"/>
                    </a:moveTo>
                    <a:cubicBezTo>
                      <a:pt x="28" y="0"/>
                      <a:pt x="27" y="0"/>
                      <a:pt x="27" y="0"/>
                    </a:cubicBezTo>
                    <a:cubicBezTo>
                      <a:pt x="26" y="4"/>
                      <a:pt x="26" y="4"/>
                      <a:pt x="26" y="4"/>
                    </a:cubicBezTo>
                    <a:cubicBezTo>
                      <a:pt x="26" y="4"/>
                      <a:pt x="25" y="4"/>
                      <a:pt x="25" y="4"/>
                    </a:cubicBezTo>
                    <a:cubicBezTo>
                      <a:pt x="24" y="4"/>
                      <a:pt x="24" y="4"/>
                      <a:pt x="23" y="4"/>
                    </a:cubicBezTo>
                    <a:cubicBezTo>
                      <a:pt x="22" y="4"/>
                      <a:pt x="21" y="4"/>
                      <a:pt x="20" y="4"/>
                    </a:cubicBezTo>
                    <a:cubicBezTo>
                      <a:pt x="19" y="4"/>
                      <a:pt x="18" y="4"/>
                      <a:pt x="17" y="4"/>
                    </a:cubicBezTo>
                    <a:cubicBezTo>
                      <a:pt x="20" y="7"/>
                      <a:pt x="27" y="13"/>
                      <a:pt x="28" y="17"/>
                    </a:cubicBezTo>
                    <a:cubicBezTo>
                      <a:pt x="28" y="19"/>
                      <a:pt x="25" y="21"/>
                      <a:pt x="26" y="23"/>
                    </a:cubicBezTo>
                    <a:cubicBezTo>
                      <a:pt x="26" y="24"/>
                      <a:pt x="32" y="25"/>
                      <a:pt x="27" y="26"/>
                    </a:cubicBezTo>
                    <a:cubicBezTo>
                      <a:pt x="27" y="26"/>
                      <a:pt x="27" y="26"/>
                      <a:pt x="27" y="26"/>
                    </a:cubicBezTo>
                    <a:cubicBezTo>
                      <a:pt x="27" y="26"/>
                      <a:pt x="27" y="26"/>
                      <a:pt x="27" y="26"/>
                    </a:cubicBezTo>
                    <a:cubicBezTo>
                      <a:pt x="26" y="25"/>
                      <a:pt x="26" y="25"/>
                      <a:pt x="26" y="25"/>
                    </a:cubicBezTo>
                    <a:cubicBezTo>
                      <a:pt x="25" y="25"/>
                      <a:pt x="25" y="25"/>
                      <a:pt x="25" y="25"/>
                    </a:cubicBezTo>
                    <a:cubicBezTo>
                      <a:pt x="24" y="25"/>
                      <a:pt x="23" y="28"/>
                      <a:pt x="23" y="29"/>
                    </a:cubicBezTo>
                    <a:cubicBezTo>
                      <a:pt x="23" y="29"/>
                      <a:pt x="23" y="29"/>
                      <a:pt x="24" y="29"/>
                    </a:cubicBezTo>
                    <a:cubicBezTo>
                      <a:pt x="25" y="29"/>
                      <a:pt x="25" y="29"/>
                      <a:pt x="26" y="30"/>
                    </a:cubicBezTo>
                    <a:cubicBezTo>
                      <a:pt x="26" y="30"/>
                      <a:pt x="26" y="30"/>
                      <a:pt x="26" y="30"/>
                    </a:cubicBezTo>
                    <a:cubicBezTo>
                      <a:pt x="26" y="30"/>
                      <a:pt x="26" y="30"/>
                      <a:pt x="26" y="30"/>
                    </a:cubicBezTo>
                    <a:cubicBezTo>
                      <a:pt x="26" y="30"/>
                      <a:pt x="22" y="34"/>
                      <a:pt x="21" y="35"/>
                    </a:cubicBezTo>
                    <a:cubicBezTo>
                      <a:pt x="20" y="35"/>
                      <a:pt x="20" y="35"/>
                      <a:pt x="19" y="35"/>
                    </a:cubicBezTo>
                    <a:cubicBezTo>
                      <a:pt x="18" y="35"/>
                      <a:pt x="17" y="34"/>
                      <a:pt x="16" y="33"/>
                    </a:cubicBezTo>
                    <a:cubicBezTo>
                      <a:pt x="16" y="31"/>
                      <a:pt x="16" y="30"/>
                      <a:pt x="15" y="30"/>
                    </a:cubicBezTo>
                    <a:cubicBezTo>
                      <a:pt x="14" y="30"/>
                      <a:pt x="14" y="30"/>
                      <a:pt x="12" y="31"/>
                    </a:cubicBezTo>
                    <a:cubicBezTo>
                      <a:pt x="10" y="32"/>
                      <a:pt x="4" y="34"/>
                      <a:pt x="5" y="36"/>
                    </a:cubicBezTo>
                    <a:cubicBezTo>
                      <a:pt x="6" y="40"/>
                      <a:pt x="8" y="44"/>
                      <a:pt x="8" y="49"/>
                    </a:cubicBezTo>
                    <a:cubicBezTo>
                      <a:pt x="7" y="52"/>
                      <a:pt x="7" y="55"/>
                      <a:pt x="6" y="58"/>
                    </a:cubicBezTo>
                    <a:cubicBezTo>
                      <a:pt x="6" y="61"/>
                      <a:pt x="5" y="64"/>
                      <a:pt x="5" y="68"/>
                    </a:cubicBezTo>
                    <a:cubicBezTo>
                      <a:pt x="4" y="73"/>
                      <a:pt x="0" y="82"/>
                      <a:pt x="3" y="87"/>
                    </a:cubicBezTo>
                    <a:cubicBezTo>
                      <a:pt x="7" y="94"/>
                      <a:pt x="11" y="100"/>
                      <a:pt x="15" y="107"/>
                    </a:cubicBezTo>
                    <a:cubicBezTo>
                      <a:pt x="17" y="110"/>
                      <a:pt x="17" y="111"/>
                      <a:pt x="16" y="113"/>
                    </a:cubicBezTo>
                    <a:cubicBezTo>
                      <a:pt x="14" y="117"/>
                      <a:pt x="12" y="118"/>
                      <a:pt x="13" y="123"/>
                    </a:cubicBezTo>
                    <a:cubicBezTo>
                      <a:pt x="13" y="130"/>
                      <a:pt x="14" y="137"/>
                      <a:pt x="14" y="143"/>
                    </a:cubicBezTo>
                    <a:cubicBezTo>
                      <a:pt x="14" y="151"/>
                      <a:pt x="13" y="157"/>
                      <a:pt x="11" y="164"/>
                    </a:cubicBezTo>
                    <a:cubicBezTo>
                      <a:pt x="10" y="170"/>
                      <a:pt x="6" y="179"/>
                      <a:pt x="7" y="186"/>
                    </a:cubicBezTo>
                    <a:cubicBezTo>
                      <a:pt x="7" y="187"/>
                      <a:pt x="7" y="188"/>
                      <a:pt x="8" y="189"/>
                    </a:cubicBezTo>
                    <a:cubicBezTo>
                      <a:pt x="9" y="192"/>
                      <a:pt x="11" y="194"/>
                      <a:pt x="12" y="196"/>
                    </a:cubicBezTo>
                    <a:cubicBezTo>
                      <a:pt x="14" y="200"/>
                      <a:pt x="15" y="208"/>
                      <a:pt x="14" y="212"/>
                    </a:cubicBezTo>
                    <a:cubicBezTo>
                      <a:pt x="13" y="215"/>
                      <a:pt x="9" y="218"/>
                      <a:pt x="9" y="222"/>
                    </a:cubicBezTo>
                    <a:cubicBezTo>
                      <a:pt x="10" y="227"/>
                      <a:pt x="12" y="234"/>
                      <a:pt x="11" y="239"/>
                    </a:cubicBezTo>
                    <a:cubicBezTo>
                      <a:pt x="10" y="245"/>
                      <a:pt x="6" y="250"/>
                      <a:pt x="6" y="256"/>
                    </a:cubicBezTo>
                    <a:cubicBezTo>
                      <a:pt x="6" y="259"/>
                      <a:pt x="7" y="260"/>
                      <a:pt x="7" y="262"/>
                    </a:cubicBezTo>
                    <a:cubicBezTo>
                      <a:pt x="9" y="268"/>
                      <a:pt x="8" y="270"/>
                      <a:pt x="12" y="275"/>
                    </a:cubicBezTo>
                    <a:cubicBezTo>
                      <a:pt x="15" y="268"/>
                      <a:pt x="18" y="260"/>
                      <a:pt x="21" y="253"/>
                    </a:cubicBezTo>
                    <a:cubicBezTo>
                      <a:pt x="22" y="250"/>
                      <a:pt x="25" y="250"/>
                      <a:pt x="28" y="248"/>
                    </a:cubicBezTo>
                    <a:cubicBezTo>
                      <a:pt x="29" y="251"/>
                      <a:pt x="29" y="252"/>
                      <a:pt x="31" y="253"/>
                    </a:cubicBezTo>
                    <a:cubicBezTo>
                      <a:pt x="32" y="253"/>
                      <a:pt x="33" y="254"/>
                      <a:pt x="35" y="254"/>
                    </a:cubicBezTo>
                    <a:cubicBezTo>
                      <a:pt x="35" y="254"/>
                      <a:pt x="36" y="254"/>
                      <a:pt x="37" y="253"/>
                    </a:cubicBezTo>
                    <a:cubicBezTo>
                      <a:pt x="37" y="253"/>
                      <a:pt x="38" y="253"/>
                      <a:pt x="38" y="253"/>
                    </a:cubicBezTo>
                    <a:cubicBezTo>
                      <a:pt x="40" y="253"/>
                      <a:pt x="42" y="254"/>
                      <a:pt x="43" y="254"/>
                    </a:cubicBezTo>
                    <a:cubicBezTo>
                      <a:pt x="45" y="256"/>
                      <a:pt x="43" y="256"/>
                      <a:pt x="43" y="258"/>
                    </a:cubicBezTo>
                    <a:cubicBezTo>
                      <a:pt x="43" y="260"/>
                      <a:pt x="44" y="261"/>
                      <a:pt x="45" y="263"/>
                    </a:cubicBezTo>
                    <a:cubicBezTo>
                      <a:pt x="45" y="265"/>
                      <a:pt x="45" y="268"/>
                      <a:pt x="46" y="270"/>
                    </a:cubicBezTo>
                    <a:cubicBezTo>
                      <a:pt x="47" y="269"/>
                      <a:pt x="46" y="267"/>
                      <a:pt x="47" y="266"/>
                    </a:cubicBezTo>
                    <a:cubicBezTo>
                      <a:pt x="48" y="264"/>
                      <a:pt x="49" y="262"/>
                      <a:pt x="50" y="260"/>
                    </a:cubicBezTo>
                    <a:cubicBezTo>
                      <a:pt x="50" y="259"/>
                      <a:pt x="49" y="260"/>
                      <a:pt x="49" y="259"/>
                    </a:cubicBezTo>
                    <a:cubicBezTo>
                      <a:pt x="49" y="257"/>
                      <a:pt x="48" y="256"/>
                      <a:pt x="48" y="254"/>
                    </a:cubicBezTo>
                    <a:cubicBezTo>
                      <a:pt x="47" y="248"/>
                      <a:pt x="48" y="245"/>
                      <a:pt x="43" y="245"/>
                    </a:cubicBezTo>
                    <a:cubicBezTo>
                      <a:pt x="42" y="245"/>
                      <a:pt x="41" y="246"/>
                      <a:pt x="39" y="246"/>
                    </a:cubicBezTo>
                    <a:cubicBezTo>
                      <a:pt x="41" y="247"/>
                      <a:pt x="43" y="248"/>
                      <a:pt x="44" y="250"/>
                    </a:cubicBezTo>
                    <a:cubicBezTo>
                      <a:pt x="44" y="250"/>
                      <a:pt x="44" y="250"/>
                      <a:pt x="43" y="250"/>
                    </a:cubicBezTo>
                    <a:cubicBezTo>
                      <a:pt x="42" y="250"/>
                      <a:pt x="39" y="250"/>
                      <a:pt x="39" y="249"/>
                    </a:cubicBezTo>
                    <a:cubicBezTo>
                      <a:pt x="38" y="249"/>
                      <a:pt x="38" y="247"/>
                      <a:pt x="38" y="247"/>
                    </a:cubicBezTo>
                    <a:cubicBezTo>
                      <a:pt x="39" y="244"/>
                      <a:pt x="38" y="246"/>
                      <a:pt x="38" y="245"/>
                    </a:cubicBezTo>
                    <a:cubicBezTo>
                      <a:pt x="37" y="241"/>
                      <a:pt x="36" y="235"/>
                      <a:pt x="33" y="232"/>
                    </a:cubicBezTo>
                    <a:cubicBezTo>
                      <a:pt x="29" y="227"/>
                      <a:pt x="21" y="219"/>
                      <a:pt x="24" y="210"/>
                    </a:cubicBezTo>
                    <a:cubicBezTo>
                      <a:pt x="27" y="202"/>
                      <a:pt x="29" y="194"/>
                      <a:pt x="32" y="186"/>
                    </a:cubicBezTo>
                    <a:cubicBezTo>
                      <a:pt x="33" y="182"/>
                      <a:pt x="35" y="174"/>
                      <a:pt x="39" y="170"/>
                    </a:cubicBezTo>
                    <a:cubicBezTo>
                      <a:pt x="42" y="167"/>
                      <a:pt x="47" y="168"/>
                      <a:pt x="51" y="168"/>
                    </a:cubicBezTo>
                    <a:cubicBezTo>
                      <a:pt x="49" y="167"/>
                      <a:pt x="45" y="168"/>
                      <a:pt x="45" y="165"/>
                    </a:cubicBezTo>
                    <a:cubicBezTo>
                      <a:pt x="47" y="167"/>
                      <a:pt x="50" y="166"/>
                      <a:pt x="53" y="167"/>
                    </a:cubicBezTo>
                    <a:cubicBezTo>
                      <a:pt x="52" y="168"/>
                      <a:pt x="52" y="168"/>
                      <a:pt x="52" y="168"/>
                    </a:cubicBezTo>
                    <a:cubicBezTo>
                      <a:pt x="56" y="169"/>
                      <a:pt x="60" y="169"/>
                      <a:pt x="63" y="171"/>
                    </a:cubicBezTo>
                    <a:cubicBezTo>
                      <a:pt x="65" y="173"/>
                      <a:pt x="66" y="175"/>
                      <a:pt x="68" y="176"/>
                    </a:cubicBezTo>
                    <a:cubicBezTo>
                      <a:pt x="69" y="178"/>
                      <a:pt x="71" y="178"/>
                      <a:pt x="73" y="180"/>
                    </a:cubicBezTo>
                    <a:cubicBezTo>
                      <a:pt x="74" y="182"/>
                      <a:pt x="75" y="185"/>
                      <a:pt x="76" y="187"/>
                    </a:cubicBezTo>
                    <a:cubicBezTo>
                      <a:pt x="77" y="186"/>
                      <a:pt x="77" y="185"/>
                      <a:pt x="77" y="185"/>
                    </a:cubicBezTo>
                    <a:cubicBezTo>
                      <a:pt x="77" y="181"/>
                      <a:pt x="74" y="180"/>
                      <a:pt x="71" y="178"/>
                    </a:cubicBezTo>
                    <a:cubicBezTo>
                      <a:pt x="69" y="176"/>
                      <a:pt x="69" y="175"/>
                      <a:pt x="68" y="172"/>
                    </a:cubicBezTo>
                    <a:cubicBezTo>
                      <a:pt x="67" y="170"/>
                      <a:pt x="65" y="167"/>
                      <a:pt x="65" y="165"/>
                    </a:cubicBezTo>
                    <a:cubicBezTo>
                      <a:pt x="65" y="164"/>
                      <a:pt x="65" y="162"/>
                      <a:pt x="65" y="161"/>
                    </a:cubicBezTo>
                    <a:cubicBezTo>
                      <a:pt x="65" y="160"/>
                      <a:pt x="63" y="159"/>
                      <a:pt x="63" y="157"/>
                    </a:cubicBezTo>
                    <a:cubicBezTo>
                      <a:pt x="58" y="141"/>
                      <a:pt x="53" y="124"/>
                      <a:pt x="48" y="107"/>
                    </a:cubicBezTo>
                    <a:cubicBezTo>
                      <a:pt x="48" y="104"/>
                      <a:pt x="46" y="105"/>
                      <a:pt x="45" y="102"/>
                    </a:cubicBezTo>
                    <a:cubicBezTo>
                      <a:pt x="44" y="100"/>
                      <a:pt x="46" y="98"/>
                      <a:pt x="46" y="96"/>
                    </a:cubicBezTo>
                    <a:cubicBezTo>
                      <a:pt x="45" y="95"/>
                      <a:pt x="44" y="92"/>
                      <a:pt x="44" y="92"/>
                    </a:cubicBezTo>
                    <a:cubicBezTo>
                      <a:pt x="44" y="92"/>
                      <a:pt x="44" y="92"/>
                      <a:pt x="44" y="92"/>
                    </a:cubicBezTo>
                    <a:cubicBezTo>
                      <a:pt x="43" y="93"/>
                      <a:pt x="43" y="94"/>
                      <a:pt x="43" y="94"/>
                    </a:cubicBezTo>
                    <a:cubicBezTo>
                      <a:pt x="42" y="95"/>
                      <a:pt x="44" y="96"/>
                      <a:pt x="43" y="96"/>
                    </a:cubicBezTo>
                    <a:cubicBezTo>
                      <a:pt x="43" y="96"/>
                      <a:pt x="42" y="96"/>
                      <a:pt x="42" y="96"/>
                    </a:cubicBezTo>
                    <a:cubicBezTo>
                      <a:pt x="39" y="96"/>
                      <a:pt x="40" y="93"/>
                      <a:pt x="40" y="91"/>
                    </a:cubicBezTo>
                    <a:cubicBezTo>
                      <a:pt x="39" y="87"/>
                      <a:pt x="36" y="80"/>
                      <a:pt x="38" y="76"/>
                    </a:cubicBezTo>
                    <a:cubicBezTo>
                      <a:pt x="38" y="77"/>
                      <a:pt x="38" y="77"/>
                      <a:pt x="38" y="77"/>
                    </a:cubicBezTo>
                    <a:cubicBezTo>
                      <a:pt x="39" y="73"/>
                      <a:pt x="38" y="70"/>
                      <a:pt x="39" y="67"/>
                    </a:cubicBezTo>
                    <a:cubicBezTo>
                      <a:pt x="41" y="62"/>
                      <a:pt x="41" y="59"/>
                      <a:pt x="41" y="54"/>
                    </a:cubicBezTo>
                    <a:cubicBezTo>
                      <a:pt x="41" y="49"/>
                      <a:pt x="37" y="45"/>
                      <a:pt x="37" y="40"/>
                    </a:cubicBezTo>
                    <a:cubicBezTo>
                      <a:pt x="37" y="39"/>
                      <a:pt x="37" y="35"/>
                      <a:pt x="38" y="35"/>
                    </a:cubicBezTo>
                    <a:cubicBezTo>
                      <a:pt x="38" y="35"/>
                      <a:pt x="39" y="35"/>
                      <a:pt x="39" y="35"/>
                    </a:cubicBezTo>
                    <a:cubicBezTo>
                      <a:pt x="41" y="36"/>
                      <a:pt x="38" y="38"/>
                      <a:pt x="39" y="40"/>
                    </a:cubicBezTo>
                    <a:cubicBezTo>
                      <a:pt x="39" y="41"/>
                      <a:pt x="41" y="42"/>
                      <a:pt x="42" y="44"/>
                    </a:cubicBezTo>
                    <a:cubicBezTo>
                      <a:pt x="42" y="46"/>
                      <a:pt x="42" y="49"/>
                      <a:pt x="43" y="51"/>
                    </a:cubicBezTo>
                    <a:cubicBezTo>
                      <a:pt x="43" y="44"/>
                      <a:pt x="41" y="37"/>
                      <a:pt x="38" y="31"/>
                    </a:cubicBezTo>
                    <a:cubicBezTo>
                      <a:pt x="36" y="27"/>
                      <a:pt x="34" y="23"/>
                      <a:pt x="32" y="19"/>
                    </a:cubicBezTo>
                    <a:cubicBezTo>
                      <a:pt x="31" y="18"/>
                      <a:pt x="32" y="17"/>
                      <a:pt x="33" y="15"/>
                    </a:cubicBezTo>
                    <a:cubicBezTo>
                      <a:pt x="34" y="13"/>
                      <a:pt x="35" y="10"/>
                      <a:pt x="34" y="9"/>
                    </a:cubicBezTo>
                    <a:cubicBezTo>
                      <a:pt x="34" y="7"/>
                      <a:pt x="32" y="5"/>
                      <a:pt x="31" y="4"/>
                    </a:cubicBezTo>
                    <a:cubicBezTo>
                      <a:pt x="30" y="3"/>
                      <a:pt x="29"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367"/>
              <p:cNvSpPr/>
              <p:nvPr/>
            </p:nvSpPr>
            <p:spPr bwMode="auto">
              <a:xfrm>
                <a:off x="7199" y="1237"/>
                <a:ext cx="14" cy="15"/>
              </a:xfrm>
              <a:custGeom>
                <a:gdLst>
                  <a:gd name="T0" fmla="*/ 5 w 6"/>
                  <a:gd name="T1" fmla="*/ 0 h 6"/>
                  <a:gd name="T2" fmla="*/ 0 w 6"/>
                  <a:gd name="T3" fmla="*/ 6 h 6"/>
                  <a:gd name="T4" fmla="*/ 6 w 6"/>
                  <a:gd name="T5" fmla="*/ 0 h 6"/>
                  <a:gd name="T6" fmla="*/ 5 w 6"/>
                  <a:gd name="T7" fmla="*/ 0 h 6"/>
                </a:gdLst>
                <a:cxnLst>
                  <a:cxn ang="0">
                    <a:pos x="T0" y="T1"/>
                  </a:cxn>
                  <a:cxn ang="0">
                    <a:pos x="T2" y="T3"/>
                  </a:cxn>
                  <a:cxn ang="0">
                    <a:pos x="T4" y="T5"/>
                  </a:cxn>
                  <a:cxn ang="0">
                    <a:pos x="T6" y="T7"/>
                  </a:cxn>
                </a:cxnLst>
                <a:rect l="0" t="0" r="r" b="b"/>
                <a:pathLst>
                  <a:path w="6" h="6">
                    <a:moveTo>
                      <a:pt x="5" y="0"/>
                    </a:moveTo>
                    <a:cubicBezTo>
                      <a:pt x="3" y="0"/>
                      <a:pt x="2" y="4"/>
                      <a:pt x="0" y="6"/>
                    </a:cubicBezTo>
                    <a:cubicBezTo>
                      <a:pt x="2" y="4"/>
                      <a:pt x="5" y="3"/>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368"/>
              <p:cNvSpPr/>
              <p:nvPr/>
            </p:nvSpPr>
            <p:spPr bwMode="auto">
              <a:xfrm>
                <a:off x="6698" y="1561"/>
                <a:ext cx="71" cy="62"/>
              </a:xfrm>
              <a:custGeom>
                <a:gdLst>
                  <a:gd name="T0" fmla="*/ 20 w 30"/>
                  <a:gd name="T1" fmla="*/ 0 h 26"/>
                  <a:gd name="T2" fmla="*/ 5 w 30"/>
                  <a:gd name="T3" fmla="*/ 16 h 26"/>
                  <a:gd name="T4" fmla="*/ 5 w 30"/>
                  <a:gd name="T5" fmla="*/ 26 h 26"/>
                  <a:gd name="T6" fmla="*/ 5 w 30"/>
                  <a:gd name="T7" fmla="*/ 24 h 26"/>
                  <a:gd name="T8" fmla="*/ 6 w 30"/>
                  <a:gd name="T9" fmla="*/ 19 h 26"/>
                  <a:gd name="T10" fmla="*/ 9 w 30"/>
                  <a:gd name="T11" fmla="*/ 18 h 26"/>
                  <a:gd name="T12" fmla="*/ 13 w 30"/>
                  <a:gd name="T13" fmla="*/ 12 h 26"/>
                  <a:gd name="T14" fmla="*/ 30 w 30"/>
                  <a:gd name="T15" fmla="*/ 2 h 26"/>
                  <a:gd name="T16" fmla="*/ 26 w 30"/>
                  <a:gd name="T17" fmla="*/ 2 h 26"/>
                  <a:gd name="T18" fmla="*/ 20 w 30"/>
                  <a:gd name="T19"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6">
                    <a:moveTo>
                      <a:pt x="20" y="0"/>
                    </a:moveTo>
                    <a:cubicBezTo>
                      <a:pt x="15" y="5"/>
                      <a:pt x="10" y="11"/>
                      <a:pt x="5" y="16"/>
                    </a:cubicBezTo>
                    <a:cubicBezTo>
                      <a:pt x="1" y="20"/>
                      <a:pt x="0" y="23"/>
                      <a:pt x="5" y="26"/>
                    </a:cubicBezTo>
                    <a:cubicBezTo>
                      <a:pt x="5" y="25"/>
                      <a:pt x="5" y="24"/>
                      <a:pt x="5" y="24"/>
                    </a:cubicBezTo>
                    <a:cubicBezTo>
                      <a:pt x="6" y="22"/>
                      <a:pt x="5" y="21"/>
                      <a:pt x="6" y="19"/>
                    </a:cubicBezTo>
                    <a:cubicBezTo>
                      <a:pt x="7" y="18"/>
                      <a:pt x="8" y="19"/>
                      <a:pt x="9" y="18"/>
                    </a:cubicBezTo>
                    <a:cubicBezTo>
                      <a:pt x="11" y="16"/>
                      <a:pt x="12" y="14"/>
                      <a:pt x="13" y="12"/>
                    </a:cubicBezTo>
                    <a:cubicBezTo>
                      <a:pt x="18" y="7"/>
                      <a:pt x="24" y="7"/>
                      <a:pt x="30" y="2"/>
                    </a:cubicBezTo>
                    <a:cubicBezTo>
                      <a:pt x="28" y="2"/>
                      <a:pt x="27" y="2"/>
                      <a:pt x="26" y="2"/>
                    </a:cubicBezTo>
                    <a:cubicBezTo>
                      <a:pt x="24" y="2"/>
                      <a:pt x="22" y="1"/>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369"/>
              <p:cNvSpPr/>
              <p:nvPr/>
            </p:nvSpPr>
            <p:spPr bwMode="auto">
              <a:xfrm>
                <a:off x="6225" y="750"/>
                <a:ext cx="55" cy="45"/>
              </a:xfrm>
              <a:custGeom>
                <a:gdLst>
                  <a:gd name="T0" fmla="*/ 9 w 23"/>
                  <a:gd name="T1" fmla="*/ 0 h 19"/>
                  <a:gd name="T2" fmla="*/ 6 w 23"/>
                  <a:gd name="T3" fmla="*/ 2 h 19"/>
                  <a:gd name="T4" fmla="*/ 6 w 23"/>
                  <a:gd name="T5" fmla="*/ 4 h 19"/>
                  <a:gd name="T6" fmla="*/ 4 w 23"/>
                  <a:gd name="T7" fmla="*/ 6 h 19"/>
                  <a:gd name="T8" fmla="*/ 0 w 23"/>
                  <a:gd name="T9" fmla="*/ 12 h 19"/>
                  <a:gd name="T10" fmla="*/ 0 w 23"/>
                  <a:gd name="T11" fmla="*/ 13 h 19"/>
                  <a:gd name="T12" fmla="*/ 4 w 23"/>
                  <a:gd name="T13" fmla="*/ 11 h 19"/>
                  <a:gd name="T14" fmla="*/ 5 w 23"/>
                  <a:gd name="T15" fmla="*/ 11 h 19"/>
                  <a:gd name="T16" fmla="*/ 11 w 23"/>
                  <a:gd name="T17" fmla="*/ 19 h 19"/>
                  <a:gd name="T18" fmla="*/ 23 w 23"/>
                  <a:gd name="T19" fmla="*/ 4 h 19"/>
                  <a:gd name="T20" fmla="*/ 22 w 23"/>
                  <a:gd name="T21" fmla="*/ 4 h 19"/>
                  <a:gd name="T22" fmla="*/ 22 w 23"/>
                  <a:gd name="T23" fmla="*/ 4 h 19"/>
                  <a:gd name="T24" fmla="*/ 21 w 23"/>
                  <a:gd name="T25" fmla="*/ 4 h 19"/>
                  <a:gd name="T26" fmla="*/ 20 w 23"/>
                  <a:gd name="T27" fmla="*/ 4 h 19"/>
                  <a:gd name="T28" fmla="*/ 20 w 23"/>
                  <a:gd name="T29" fmla="*/ 4 h 19"/>
                  <a:gd name="T30" fmla="*/ 19 w 23"/>
                  <a:gd name="T31" fmla="*/ 4 h 19"/>
                  <a:gd name="T32" fmla="*/ 19 w 23"/>
                  <a:gd name="T33" fmla="*/ 4 h 19"/>
                  <a:gd name="T34" fmla="*/ 19 w 23"/>
                  <a:gd name="T35" fmla="*/ 3 h 19"/>
                  <a:gd name="T36" fmla="*/ 18 w 23"/>
                  <a:gd name="T37" fmla="*/ 1 h 19"/>
                  <a:gd name="T38" fmla="*/ 15 w 23"/>
                  <a:gd name="T39" fmla="*/ 1 h 19"/>
                  <a:gd name="T40" fmla="*/ 15 w 23"/>
                  <a:gd name="T41" fmla="*/ 1 h 19"/>
                  <a:gd name="T42" fmla="*/ 14 w 23"/>
                  <a:gd name="T43" fmla="*/ 1 h 19"/>
                  <a:gd name="T44" fmla="*/ 12 w 23"/>
                  <a:gd name="T45" fmla="*/ 1 h 19"/>
                  <a:gd name="T46" fmla="*/ 9 w 23"/>
                  <a:gd name="T47"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19">
                    <a:moveTo>
                      <a:pt x="9" y="0"/>
                    </a:moveTo>
                    <a:cubicBezTo>
                      <a:pt x="8" y="0"/>
                      <a:pt x="7" y="0"/>
                      <a:pt x="6" y="2"/>
                    </a:cubicBezTo>
                    <a:cubicBezTo>
                      <a:pt x="6" y="2"/>
                      <a:pt x="6" y="3"/>
                      <a:pt x="6" y="4"/>
                    </a:cubicBezTo>
                    <a:cubicBezTo>
                      <a:pt x="5" y="5"/>
                      <a:pt x="4" y="5"/>
                      <a:pt x="4" y="6"/>
                    </a:cubicBezTo>
                    <a:cubicBezTo>
                      <a:pt x="2" y="7"/>
                      <a:pt x="0" y="9"/>
                      <a:pt x="0" y="12"/>
                    </a:cubicBezTo>
                    <a:cubicBezTo>
                      <a:pt x="0" y="13"/>
                      <a:pt x="0" y="13"/>
                      <a:pt x="0" y="13"/>
                    </a:cubicBezTo>
                    <a:cubicBezTo>
                      <a:pt x="1" y="13"/>
                      <a:pt x="3" y="11"/>
                      <a:pt x="4" y="11"/>
                    </a:cubicBezTo>
                    <a:cubicBezTo>
                      <a:pt x="4" y="11"/>
                      <a:pt x="4" y="11"/>
                      <a:pt x="5" y="11"/>
                    </a:cubicBezTo>
                    <a:cubicBezTo>
                      <a:pt x="8" y="11"/>
                      <a:pt x="9" y="16"/>
                      <a:pt x="11" y="19"/>
                    </a:cubicBezTo>
                    <a:cubicBezTo>
                      <a:pt x="15" y="14"/>
                      <a:pt x="20" y="9"/>
                      <a:pt x="23" y="4"/>
                    </a:cubicBezTo>
                    <a:cubicBezTo>
                      <a:pt x="23" y="4"/>
                      <a:pt x="23" y="4"/>
                      <a:pt x="22" y="4"/>
                    </a:cubicBezTo>
                    <a:cubicBezTo>
                      <a:pt x="22" y="4"/>
                      <a:pt x="22" y="4"/>
                      <a:pt x="22" y="4"/>
                    </a:cubicBezTo>
                    <a:cubicBezTo>
                      <a:pt x="21" y="4"/>
                      <a:pt x="21" y="4"/>
                      <a:pt x="21"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3"/>
                    </a:cubicBezTo>
                    <a:cubicBezTo>
                      <a:pt x="18" y="1"/>
                      <a:pt x="18" y="1"/>
                      <a:pt x="18" y="1"/>
                    </a:cubicBezTo>
                    <a:cubicBezTo>
                      <a:pt x="17" y="1"/>
                      <a:pt x="16" y="1"/>
                      <a:pt x="15" y="1"/>
                    </a:cubicBezTo>
                    <a:cubicBezTo>
                      <a:pt x="15" y="1"/>
                      <a:pt x="15" y="1"/>
                      <a:pt x="15" y="1"/>
                    </a:cubicBezTo>
                    <a:cubicBezTo>
                      <a:pt x="14" y="1"/>
                      <a:pt x="14" y="1"/>
                      <a:pt x="14" y="1"/>
                    </a:cubicBezTo>
                    <a:cubicBezTo>
                      <a:pt x="13" y="1"/>
                      <a:pt x="12" y="1"/>
                      <a:pt x="12" y="1"/>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370"/>
              <p:cNvSpPr/>
              <p:nvPr/>
            </p:nvSpPr>
            <p:spPr bwMode="auto">
              <a:xfrm>
                <a:off x="6776" y="1488"/>
                <a:ext cx="127" cy="80"/>
              </a:xfrm>
              <a:custGeom>
                <a:gdLst>
                  <a:gd name="T0" fmla="*/ 52 w 54"/>
                  <a:gd name="T1" fmla="*/ 0 h 34"/>
                  <a:gd name="T2" fmla="*/ 35 w 54"/>
                  <a:gd name="T3" fmla="*/ 9 h 34"/>
                  <a:gd name="T4" fmla="*/ 33 w 54"/>
                  <a:gd name="T5" fmla="*/ 8 h 34"/>
                  <a:gd name="T6" fmla="*/ 30 w 54"/>
                  <a:gd name="T7" fmla="*/ 4 h 34"/>
                  <a:gd name="T8" fmla="*/ 29 w 54"/>
                  <a:gd name="T9" fmla="*/ 4 h 34"/>
                  <a:gd name="T10" fmla="*/ 29 w 54"/>
                  <a:gd name="T11" fmla="*/ 6 h 34"/>
                  <a:gd name="T12" fmla="*/ 27 w 54"/>
                  <a:gd name="T13" fmla="*/ 8 h 34"/>
                  <a:gd name="T14" fmla="*/ 20 w 54"/>
                  <a:gd name="T15" fmla="*/ 14 h 34"/>
                  <a:gd name="T16" fmla="*/ 10 w 54"/>
                  <a:gd name="T17" fmla="*/ 24 h 34"/>
                  <a:gd name="T18" fmla="*/ 4 w 54"/>
                  <a:gd name="T19" fmla="*/ 34 h 34"/>
                  <a:gd name="T20" fmla="*/ 5 w 54"/>
                  <a:gd name="T21" fmla="*/ 34 h 34"/>
                  <a:gd name="T22" fmla="*/ 8 w 54"/>
                  <a:gd name="T23" fmla="*/ 31 h 34"/>
                  <a:gd name="T24" fmla="*/ 13 w 54"/>
                  <a:gd name="T25" fmla="*/ 29 h 34"/>
                  <a:gd name="T26" fmla="*/ 17 w 54"/>
                  <a:gd name="T27" fmla="*/ 24 h 34"/>
                  <a:gd name="T28" fmla="*/ 21 w 54"/>
                  <a:gd name="T29" fmla="*/ 21 h 34"/>
                  <a:gd name="T30" fmla="*/ 24 w 54"/>
                  <a:gd name="T31" fmla="*/ 17 h 34"/>
                  <a:gd name="T32" fmla="*/ 24 w 54"/>
                  <a:gd name="T33" fmla="*/ 17 h 34"/>
                  <a:gd name="T34" fmla="*/ 26 w 54"/>
                  <a:gd name="T35" fmla="*/ 17 h 34"/>
                  <a:gd name="T36" fmla="*/ 27 w 54"/>
                  <a:gd name="T37" fmla="*/ 17 h 34"/>
                  <a:gd name="T38" fmla="*/ 27 w 54"/>
                  <a:gd name="T39" fmla="*/ 17 h 34"/>
                  <a:gd name="T40" fmla="*/ 30 w 54"/>
                  <a:gd name="T41" fmla="*/ 16 h 34"/>
                  <a:gd name="T42" fmla="*/ 33 w 54"/>
                  <a:gd name="T43" fmla="*/ 13 h 34"/>
                  <a:gd name="T44" fmla="*/ 45 w 54"/>
                  <a:gd name="T45" fmla="*/ 7 h 34"/>
                  <a:gd name="T46" fmla="*/ 50 w 54"/>
                  <a:gd name="T47" fmla="*/ 6 h 34"/>
                  <a:gd name="T48" fmla="*/ 52 w 54"/>
                  <a:gd name="T49" fmla="*/ 0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34">
                    <a:moveTo>
                      <a:pt x="52" y="0"/>
                    </a:moveTo>
                    <a:cubicBezTo>
                      <a:pt x="48" y="2"/>
                      <a:pt x="41" y="9"/>
                      <a:pt x="35" y="9"/>
                    </a:cubicBezTo>
                    <a:cubicBezTo>
                      <a:pt x="35" y="9"/>
                      <a:pt x="34" y="9"/>
                      <a:pt x="33" y="8"/>
                    </a:cubicBezTo>
                    <a:cubicBezTo>
                      <a:pt x="32" y="8"/>
                      <a:pt x="31" y="4"/>
                      <a:pt x="30" y="4"/>
                    </a:cubicBezTo>
                    <a:cubicBezTo>
                      <a:pt x="30" y="4"/>
                      <a:pt x="29" y="4"/>
                      <a:pt x="29" y="4"/>
                    </a:cubicBezTo>
                    <a:cubicBezTo>
                      <a:pt x="28" y="5"/>
                      <a:pt x="29" y="6"/>
                      <a:pt x="29" y="6"/>
                    </a:cubicBezTo>
                    <a:cubicBezTo>
                      <a:pt x="28" y="6"/>
                      <a:pt x="28" y="7"/>
                      <a:pt x="27" y="8"/>
                    </a:cubicBezTo>
                    <a:cubicBezTo>
                      <a:pt x="24" y="10"/>
                      <a:pt x="22" y="12"/>
                      <a:pt x="20" y="14"/>
                    </a:cubicBezTo>
                    <a:cubicBezTo>
                      <a:pt x="18" y="16"/>
                      <a:pt x="7" y="23"/>
                      <a:pt x="10" y="24"/>
                    </a:cubicBezTo>
                    <a:cubicBezTo>
                      <a:pt x="10" y="25"/>
                      <a:pt x="0" y="32"/>
                      <a:pt x="4" y="34"/>
                    </a:cubicBezTo>
                    <a:cubicBezTo>
                      <a:pt x="5" y="34"/>
                      <a:pt x="5" y="34"/>
                      <a:pt x="5" y="34"/>
                    </a:cubicBezTo>
                    <a:cubicBezTo>
                      <a:pt x="7" y="34"/>
                      <a:pt x="7" y="32"/>
                      <a:pt x="8" y="31"/>
                    </a:cubicBezTo>
                    <a:cubicBezTo>
                      <a:pt x="9" y="30"/>
                      <a:pt x="11" y="30"/>
                      <a:pt x="13" y="29"/>
                    </a:cubicBezTo>
                    <a:cubicBezTo>
                      <a:pt x="15" y="27"/>
                      <a:pt x="15" y="26"/>
                      <a:pt x="17" y="24"/>
                    </a:cubicBezTo>
                    <a:cubicBezTo>
                      <a:pt x="18" y="23"/>
                      <a:pt x="20" y="22"/>
                      <a:pt x="21" y="21"/>
                    </a:cubicBezTo>
                    <a:cubicBezTo>
                      <a:pt x="23" y="18"/>
                      <a:pt x="21" y="17"/>
                      <a:pt x="24" y="17"/>
                    </a:cubicBezTo>
                    <a:cubicBezTo>
                      <a:pt x="24" y="17"/>
                      <a:pt x="24" y="17"/>
                      <a:pt x="24" y="17"/>
                    </a:cubicBezTo>
                    <a:cubicBezTo>
                      <a:pt x="25" y="17"/>
                      <a:pt x="25" y="17"/>
                      <a:pt x="26" y="17"/>
                    </a:cubicBezTo>
                    <a:cubicBezTo>
                      <a:pt x="26" y="17"/>
                      <a:pt x="26" y="17"/>
                      <a:pt x="27" y="17"/>
                    </a:cubicBezTo>
                    <a:cubicBezTo>
                      <a:pt x="27" y="17"/>
                      <a:pt x="27" y="17"/>
                      <a:pt x="27" y="17"/>
                    </a:cubicBezTo>
                    <a:cubicBezTo>
                      <a:pt x="28" y="17"/>
                      <a:pt x="29" y="17"/>
                      <a:pt x="30" y="16"/>
                    </a:cubicBezTo>
                    <a:cubicBezTo>
                      <a:pt x="31" y="15"/>
                      <a:pt x="32" y="14"/>
                      <a:pt x="33" y="13"/>
                    </a:cubicBezTo>
                    <a:cubicBezTo>
                      <a:pt x="36" y="10"/>
                      <a:pt x="41" y="9"/>
                      <a:pt x="45" y="7"/>
                    </a:cubicBezTo>
                    <a:cubicBezTo>
                      <a:pt x="47" y="6"/>
                      <a:pt x="48" y="7"/>
                      <a:pt x="50" y="6"/>
                    </a:cubicBezTo>
                    <a:cubicBezTo>
                      <a:pt x="54" y="5"/>
                      <a:pt x="51" y="3"/>
                      <a:pt x="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371"/>
              <p:cNvSpPr/>
              <p:nvPr/>
            </p:nvSpPr>
            <p:spPr bwMode="auto">
              <a:xfrm>
                <a:off x="6197" y="755"/>
                <a:ext cx="24" cy="19"/>
              </a:xfrm>
              <a:custGeom>
                <a:gdLst>
                  <a:gd name="T0" fmla="*/ 10 w 10"/>
                  <a:gd name="T1" fmla="*/ 0 h 8"/>
                  <a:gd name="T2" fmla="*/ 9 w 10"/>
                  <a:gd name="T3" fmla="*/ 0 h 8"/>
                  <a:gd name="T4" fmla="*/ 9 w 10"/>
                  <a:gd name="T5" fmla="*/ 0 h 8"/>
                  <a:gd name="T6" fmla="*/ 9 w 10"/>
                  <a:gd name="T7" fmla="*/ 0 h 8"/>
                  <a:gd name="T8" fmla="*/ 7 w 10"/>
                  <a:gd name="T9" fmla="*/ 0 h 8"/>
                  <a:gd name="T10" fmla="*/ 7 w 10"/>
                  <a:gd name="T11" fmla="*/ 0 h 8"/>
                  <a:gd name="T12" fmla="*/ 0 w 10"/>
                  <a:gd name="T13" fmla="*/ 8 h 8"/>
                  <a:gd name="T14" fmla="*/ 10 w 10"/>
                  <a:gd name="T15" fmla="*/ 1 h 8"/>
                  <a:gd name="T16" fmla="*/ 10 w 10"/>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10" y="0"/>
                    </a:moveTo>
                    <a:cubicBezTo>
                      <a:pt x="10" y="0"/>
                      <a:pt x="10" y="0"/>
                      <a:pt x="9" y="0"/>
                    </a:cubicBezTo>
                    <a:cubicBezTo>
                      <a:pt x="9" y="0"/>
                      <a:pt x="9" y="0"/>
                      <a:pt x="9" y="0"/>
                    </a:cubicBezTo>
                    <a:cubicBezTo>
                      <a:pt x="9" y="0"/>
                      <a:pt x="9" y="0"/>
                      <a:pt x="9" y="0"/>
                    </a:cubicBezTo>
                    <a:cubicBezTo>
                      <a:pt x="9" y="0"/>
                      <a:pt x="8" y="0"/>
                      <a:pt x="7" y="0"/>
                    </a:cubicBezTo>
                    <a:cubicBezTo>
                      <a:pt x="7" y="0"/>
                      <a:pt x="7" y="0"/>
                      <a:pt x="7" y="0"/>
                    </a:cubicBezTo>
                    <a:cubicBezTo>
                      <a:pt x="3" y="2"/>
                      <a:pt x="0" y="3"/>
                      <a:pt x="0" y="8"/>
                    </a:cubicBezTo>
                    <a:cubicBezTo>
                      <a:pt x="5" y="7"/>
                      <a:pt x="8" y="7"/>
                      <a:pt x="10" y="1"/>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372"/>
              <p:cNvSpPr/>
              <p:nvPr/>
            </p:nvSpPr>
            <p:spPr bwMode="auto">
              <a:xfrm>
                <a:off x="7069" y="1372"/>
                <a:ext cx="28" cy="24"/>
              </a:xfrm>
              <a:custGeom>
                <a:gdLst>
                  <a:gd name="T0" fmla="*/ 12 w 12"/>
                  <a:gd name="T1" fmla="*/ 0 h 10"/>
                  <a:gd name="T2" fmla="*/ 0 w 12"/>
                  <a:gd name="T3" fmla="*/ 10 h 10"/>
                  <a:gd name="T4" fmla="*/ 1 w 12"/>
                  <a:gd name="T5" fmla="*/ 10 h 10"/>
                  <a:gd name="T6" fmla="*/ 12 w 12"/>
                  <a:gd name="T7" fmla="*/ 0 h 10"/>
                </a:gdLst>
                <a:cxnLst>
                  <a:cxn ang="0">
                    <a:pos x="T0" y="T1"/>
                  </a:cxn>
                  <a:cxn ang="0">
                    <a:pos x="T2" y="T3"/>
                  </a:cxn>
                  <a:cxn ang="0">
                    <a:pos x="T4" y="T5"/>
                  </a:cxn>
                  <a:cxn ang="0">
                    <a:pos x="T6" y="T7"/>
                  </a:cxn>
                </a:cxnLst>
                <a:rect l="0" t="0" r="r" b="b"/>
                <a:pathLst>
                  <a:path w="12" h="10">
                    <a:moveTo>
                      <a:pt x="12" y="0"/>
                    </a:moveTo>
                    <a:cubicBezTo>
                      <a:pt x="8" y="3"/>
                      <a:pt x="3" y="6"/>
                      <a:pt x="0" y="10"/>
                    </a:cubicBezTo>
                    <a:cubicBezTo>
                      <a:pt x="0" y="10"/>
                      <a:pt x="1" y="10"/>
                      <a:pt x="1" y="10"/>
                    </a:cubicBezTo>
                    <a:cubicBezTo>
                      <a:pt x="5" y="10"/>
                      <a:pt x="11"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373"/>
              <p:cNvSpPr/>
              <p:nvPr/>
            </p:nvSpPr>
            <p:spPr bwMode="auto">
              <a:xfrm>
                <a:off x="7142" y="1320"/>
                <a:ext cx="5" cy="7"/>
              </a:xfrm>
              <a:custGeom>
                <a:gdLst>
                  <a:gd name="T0" fmla="*/ 1 w 2"/>
                  <a:gd name="T1" fmla="*/ 0 h 3"/>
                  <a:gd name="T2" fmla="*/ 0 w 2"/>
                  <a:gd name="T3" fmla="*/ 3 h 3"/>
                  <a:gd name="T4" fmla="*/ 1 w 2"/>
                  <a:gd name="T5" fmla="*/ 0 h 3"/>
                </a:gdLst>
                <a:cxnLst>
                  <a:cxn ang="0">
                    <a:pos x="T0" y="T1"/>
                  </a:cxn>
                  <a:cxn ang="0">
                    <a:pos x="T2" y="T3"/>
                  </a:cxn>
                  <a:cxn ang="0">
                    <a:pos x="T4" y="T5"/>
                  </a:cxn>
                </a:cxnLst>
                <a:rect l="0" t="0" r="r" b="b"/>
                <a:pathLst>
                  <a:path w="2" h="3">
                    <a:moveTo>
                      <a:pt x="1" y="0"/>
                    </a:moveTo>
                    <a:cubicBezTo>
                      <a:pt x="1" y="0"/>
                      <a:pt x="0" y="1"/>
                      <a:pt x="0" y="3"/>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374"/>
              <p:cNvSpPr/>
              <p:nvPr/>
            </p:nvSpPr>
            <p:spPr bwMode="auto">
              <a:xfrm>
                <a:off x="7109" y="1353"/>
                <a:ext cx="7" cy="5"/>
              </a:xfrm>
              <a:custGeom>
                <a:gdLst>
                  <a:gd name="T0" fmla="*/ 2 w 3"/>
                  <a:gd name="T1" fmla="*/ 0 h 2"/>
                  <a:gd name="T2" fmla="*/ 0 w 3"/>
                  <a:gd name="T3" fmla="*/ 2 h 2"/>
                  <a:gd name="T4" fmla="*/ 2 w 3"/>
                  <a:gd name="T5" fmla="*/ 0 h 2"/>
                </a:gdLst>
                <a:cxnLst>
                  <a:cxn ang="0">
                    <a:pos x="T0" y="T1"/>
                  </a:cxn>
                  <a:cxn ang="0">
                    <a:pos x="T2" y="T3"/>
                  </a:cxn>
                  <a:cxn ang="0">
                    <a:pos x="T4" y="T5"/>
                  </a:cxn>
                </a:cxnLst>
                <a:rect l="0" t="0" r="r" b="b"/>
                <a:pathLst>
                  <a:path w="3" h="2">
                    <a:moveTo>
                      <a:pt x="2" y="0"/>
                    </a:moveTo>
                    <a:cubicBezTo>
                      <a:pt x="1" y="0"/>
                      <a:pt x="0" y="0"/>
                      <a:pt x="0" y="2"/>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7" name="Freeform 375"/>
              <p:cNvSpPr/>
              <p:nvPr/>
            </p:nvSpPr>
            <p:spPr bwMode="auto">
              <a:xfrm>
                <a:off x="7234" y="1183"/>
                <a:ext cx="19" cy="26"/>
              </a:xfrm>
              <a:custGeom>
                <a:gdLst>
                  <a:gd name="T0" fmla="*/ 6 w 8"/>
                  <a:gd name="T1" fmla="*/ 0 h 11"/>
                  <a:gd name="T2" fmla="*/ 5 w 8"/>
                  <a:gd name="T3" fmla="*/ 1 h 11"/>
                  <a:gd name="T4" fmla="*/ 0 w 8"/>
                  <a:gd name="T5" fmla="*/ 11 h 11"/>
                  <a:gd name="T6" fmla="*/ 7 w 8"/>
                  <a:gd name="T7" fmla="*/ 6 h 11"/>
                  <a:gd name="T8" fmla="*/ 6 w 8"/>
                  <a:gd name="T9" fmla="*/ 0 h 11"/>
                </a:gdLst>
                <a:cxnLst>
                  <a:cxn ang="0">
                    <a:pos x="T0" y="T1"/>
                  </a:cxn>
                  <a:cxn ang="0">
                    <a:pos x="T2" y="T3"/>
                  </a:cxn>
                  <a:cxn ang="0">
                    <a:pos x="T4" y="T5"/>
                  </a:cxn>
                  <a:cxn ang="0">
                    <a:pos x="T6" y="T7"/>
                  </a:cxn>
                  <a:cxn ang="0">
                    <a:pos x="T8" y="T9"/>
                  </a:cxn>
                </a:cxnLst>
                <a:rect l="0" t="0" r="r" b="b"/>
                <a:pathLst>
                  <a:path w="8" h="11">
                    <a:moveTo>
                      <a:pt x="6" y="0"/>
                    </a:moveTo>
                    <a:cubicBezTo>
                      <a:pt x="6" y="0"/>
                      <a:pt x="6" y="1"/>
                      <a:pt x="5" y="1"/>
                    </a:cubicBezTo>
                    <a:cubicBezTo>
                      <a:pt x="3" y="3"/>
                      <a:pt x="1" y="9"/>
                      <a:pt x="0" y="11"/>
                    </a:cubicBezTo>
                    <a:cubicBezTo>
                      <a:pt x="6" y="11"/>
                      <a:pt x="6" y="11"/>
                      <a:pt x="7" y="6"/>
                    </a:cubicBezTo>
                    <a:cubicBezTo>
                      <a:pt x="7" y="4"/>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376"/>
              <p:cNvSpPr/>
              <p:nvPr/>
            </p:nvSpPr>
            <p:spPr bwMode="auto">
              <a:xfrm>
                <a:off x="6937" y="1438"/>
                <a:ext cx="63" cy="45"/>
              </a:xfrm>
              <a:custGeom>
                <a:gdLst>
                  <a:gd name="T0" fmla="*/ 23 w 27"/>
                  <a:gd name="T1" fmla="*/ 0 h 19"/>
                  <a:gd name="T2" fmla="*/ 20 w 27"/>
                  <a:gd name="T3" fmla="*/ 1 h 19"/>
                  <a:gd name="T4" fmla="*/ 18 w 27"/>
                  <a:gd name="T5" fmla="*/ 3 h 19"/>
                  <a:gd name="T6" fmla="*/ 13 w 27"/>
                  <a:gd name="T7" fmla="*/ 5 h 19"/>
                  <a:gd name="T8" fmla="*/ 0 w 27"/>
                  <a:gd name="T9" fmla="*/ 19 h 19"/>
                  <a:gd name="T10" fmla="*/ 1 w 27"/>
                  <a:gd name="T11" fmla="*/ 19 h 19"/>
                  <a:gd name="T12" fmla="*/ 3 w 27"/>
                  <a:gd name="T13" fmla="*/ 18 h 19"/>
                  <a:gd name="T14" fmla="*/ 3 w 27"/>
                  <a:gd name="T15" fmla="*/ 18 h 19"/>
                  <a:gd name="T16" fmla="*/ 27 w 27"/>
                  <a:gd name="T17" fmla="*/ 0 h 19"/>
                  <a:gd name="T18" fmla="*/ 25 w 27"/>
                  <a:gd name="T19" fmla="*/ 0 h 19"/>
                  <a:gd name="T20" fmla="*/ 24 w 27"/>
                  <a:gd name="T21" fmla="*/ 0 h 19"/>
                  <a:gd name="T22" fmla="*/ 23 w 27"/>
                  <a:gd name="T23"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9">
                    <a:moveTo>
                      <a:pt x="23" y="0"/>
                    </a:moveTo>
                    <a:cubicBezTo>
                      <a:pt x="22" y="0"/>
                      <a:pt x="21" y="0"/>
                      <a:pt x="20" y="1"/>
                    </a:cubicBezTo>
                    <a:cubicBezTo>
                      <a:pt x="19" y="1"/>
                      <a:pt x="19" y="2"/>
                      <a:pt x="18" y="3"/>
                    </a:cubicBezTo>
                    <a:cubicBezTo>
                      <a:pt x="16" y="4"/>
                      <a:pt x="15" y="4"/>
                      <a:pt x="13" y="5"/>
                    </a:cubicBezTo>
                    <a:cubicBezTo>
                      <a:pt x="9" y="10"/>
                      <a:pt x="4" y="14"/>
                      <a:pt x="0" y="19"/>
                    </a:cubicBezTo>
                    <a:cubicBezTo>
                      <a:pt x="0" y="19"/>
                      <a:pt x="0" y="19"/>
                      <a:pt x="1" y="19"/>
                    </a:cubicBezTo>
                    <a:cubicBezTo>
                      <a:pt x="2" y="19"/>
                      <a:pt x="3" y="19"/>
                      <a:pt x="3" y="18"/>
                    </a:cubicBezTo>
                    <a:cubicBezTo>
                      <a:pt x="3" y="18"/>
                      <a:pt x="3" y="18"/>
                      <a:pt x="3" y="18"/>
                    </a:cubicBezTo>
                    <a:cubicBezTo>
                      <a:pt x="7" y="18"/>
                      <a:pt x="25" y="1"/>
                      <a:pt x="27" y="0"/>
                    </a:cubicBezTo>
                    <a:cubicBezTo>
                      <a:pt x="26" y="0"/>
                      <a:pt x="26" y="0"/>
                      <a:pt x="25" y="0"/>
                    </a:cubicBezTo>
                    <a:cubicBezTo>
                      <a:pt x="25" y="0"/>
                      <a:pt x="24" y="0"/>
                      <a:pt x="24" y="0"/>
                    </a:cubicBezTo>
                    <a:cubicBezTo>
                      <a:pt x="24" y="0"/>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9" name="Freeform 377"/>
              <p:cNvSpPr/>
              <p:nvPr/>
            </p:nvSpPr>
            <p:spPr bwMode="auto">
              <a:xfrm>
                <a:off x="6769" y="1606"/>
                <a:ext cx="16" cy="10"/>
              </a:xfrm>
              <a:custGeom>
                <a:gdLst>
                  <a:gd name="T0" fmla="*/ 7 w 7"/>
                  <a:gd name="T1" fmla="*/ 0 h 4"/>
                  <a:gd name="T2" fmla="*/ 1 w 7"/>
                  <a:gd name="T3" fmla="*/ 4 h 4"/>
                  <a:gd name="T4" fmla="*/ 7 w 7"/>
                  <a:gd name="T5" fmla="*/ 0 h 4"/>
                  <a:gd name="T6" fmla="*/ 7 w 7"/>
                  <a:gd name="T7" fmla="*/ 0 h 4"/>
                </a:gdLst>
                <a:cxnLst>
                  <a:cxn ang="0">
                    <a:pos x="T0" y="T1"/>
                  </a:cxn>
                  <a:cxn ang="0">
                    <a:pos x="T2" y="T3"/>
                  </a:cxn>
                  <a:cxn ang="0">
                    <a:pos x="T4" y="T5"/>
                  </a:cxn>
                  <a:cxn ang="0">
                    <a:pos x="T6" y="T7"/>
                  </a:cxn>
                </a:cxnLst>
                <a:rect l="0" t="0" r="r" b="b"/>
                <a:pathLst>
                  <a:path w="7" h="4">
                    <a:moveTo>
                      <a:pt x="7" y="0"/>
                    </a:moveTo>
                    <a:cubicBezTo>
                      <a:pt x="5" y="0"/>
                      <a:pt x="0" y="1"/>
                      <a:pt x="1" y="4"/>
                    </a:cubicBezTo>
                    <a:cubicBezTo>
                      <a:pt x="3" y="3"/>
                      <a:pt x="5" y="2"/>
                      <a:pt x="7"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378"/>
              <p:cNvSpPr>
                <a:spLocks noEditPoints="1"/>
              </p:cNvSpPr>
              <p:nvPr/>
            </p:nvSpPr>
            <p:spPr bwMode="auto">
              <a:xfrm>
                <a:off x="7270" y="1098"/>
                <a:ext cx="56" cy="59"/>
              </a:xfrm>
              <a:custGeom>
                <a:gdLst>
                  <a:gd name="T0" fmla="*/ 1 w 24"/>
                  <a:gd name="T1" fmla="*/ 23 h 25"/>
                  <a:gd name="T2" fmla="*/ 1 w 24"/>
                  <a:gd name="T3" fmla="*/ 23 h 25"/>
                  <a:gd name="T4" fmla="*/ 1 w 24"/>
                  <a:gd name="T5" fmla="*/ 23 h 25"/>
                  <a:gd name="T6" fmla="*/ 21 w 24"/>
                  <a:gd name="T7" fmla="*/ 0 h 25"/>
                  <a:gd name="T8" fmla="*/ 20 w 24"/>
                  <a:gd name="T9" fmla="*/ 0 h 25"/>
                  <a:gd name="T10" fmla="*/ 14 w 24"/>
                  <a:gd name="T11" fmla="*/ 10 h 25"/>
                  <a:gd name="T12" fmla="*/ 8 w 24"/>
                  <a:gd name="T13" fmla="*/ 13 h 25"/>
                  <a:gd name="T14" fmla="*/ 3 w 24"/>
                  <a:gd name="T15" fmla="*/ 15 h 25"/>
                  <a:gd name="T16" fmla="*/ 1 w 24"/>
                  <a:gd name="T17" fmla="*/ 16 h 25"/>
                  <a:gd name="T18" fmla="*/ 1 w 24"/>
                  <a:gd name="T19" fmla="*/ 16 h 25"/>
                  <a:gd name="T20" fmla="*/ 1 w 24"/>
                  <a:gd name="T21" fmla="*/ 16 h 25"/>
                  <a:gd name="T22" fmla="*/ 0 w 24"/>
                  <a:gd name="T23" fmla="*/ 17 h 25"/>
                  <a:gd name="T24" fmla="*/ 0 w 24"/>
                  <a:gd name="T25" fmla="*/ 17 h 25"/>
                  <a:gd name="T26" fmla="*/ 1 w 24"/>
                  <a:gd name="T27" fmla="*/ 19 h 25"/>
                  <a:gd name="T28" fmla="*/ 1 w 24"/>
                  <a:gd name="T29" fmla="*/ 23 h 25"/>
                  <a:gd name="T30" fmla="*/ 1 w 24"/>
                  <a:gd name="T31" fmla="*/ 23 h 25"/>
                  <a:gd name="T32" fmla="*/ 5 w 24"/>
                  <a:gd name="T33" fmla="*/ 25 h 25"/>
                  <a:gd name="T34" fmla="*/ 11 w 24"/>
                  <a:gd name="T35" fmla="*/ 19 h 25"/>
                  <a:gd name="T36" fmla="*/ 23 w 24"/>
                  <a:gd name="T37" fmla="*/ 6 h 25"/>
                  <a:gd name="T38" fmla="*/ 21 w 24"/>
                  <a:gd name="T39"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5">
                    <a:moveTo>
                      <a:pt x="1" y="23"/>
                    </a:moveTo>
                    <a:cubicBezTo>
                      <a:pt x="1" y="23"/>
                      <a:pt x="1" y="23"/>
                      <a:pt x="1" y="23"/>
                    </a:cubicBezTo>
                    <a:cubicBezTo>
                      <a:pt x="1" y="23"/>
                      <a:pt x="1" y="23"/>
                      <a:pt x="1" y="23"/>
                    </a:cubicBezTo>
                    <a:moveTo>
                      <a:pt x="21" y="0"/>
                    </a:moveTo>
                    <a:cubicBezTo>
                      <a:pt x="21" y="0"/>
                      <a:pt x="20" y="0"/>
                      <a:pt x="20" y="0"/>
                    </a:cubicBezTo>
                    <a:cubicBezTo>
                      <a:pt x="16" y="1"/>
                      <a:pt x="16" y="7"/>
                      <a:pt x="14" y="10"/>
                    </a:cubicBezTo>
                    <a:cubicBezTo>
                      <a:pt x="12" y="12"/>
                      <a:pt x="11" y="12"/>
                      <a:pt x="8" y="13"/>
                    </a:cubicBezTo>
                    <a:cubicBezTo>
                      <a:pt x="6" y="13"/>
                      <a:pt x="5" y="14"/>
                      <a:pt x="3" y="15"/>
                    </a:cubicBezTo>
                    <a:cubicBezTo>
                      <a:pt x="2" y="16"/>
                      <a:pt x="2" y="16"/>
                      <a:pt x="1" y="16"/>
                    </a:cubicBezTo>
                    <a:cubicBezTo>
                      <a:pt x="1" y="16"/>
                      <a:pt x="1" y="16"/>
                      <a:pt x="1" y="16"/>
                    </a:cubicBezTo>
                    <a:cubicBezTo>
                      <a:pt x="1" y="16"/>
                      <a:pt x="1" y="16"/>
                      <a:pt x="1" y="16"/>
                    </a:cubicBezTo>
                    <a:cubicBezTo>
                      <a:pt x="0" y="16"/>
                      <a:pt x="0" y="16"/>
                      <a:pt x="0" y="17"/>
                    </a:cubicBezTo>
                    <a:cubicBezTo>
                      <a:pt x="0" y="17"/>
                      <a:pt x="0" y="17"/>
                      <a:pt x="0" y="17"/>
                    </a:cubicBezTo>
                    <a:cubicBezTo>
                      <a:pt x="0" y="17"/>
                      <a:pt x="1" y="19"/>
                      <a:pt x="1" y="19"/>
                    </a:cubicBezTo>
                    <a:cubicBezTo>
                      <a:pt x="2" y="20"/>
                      <a:pt x="0" y="21"/>
                      <a:pt x="1" y="23"/>
                    </a:cubicBezTo>
                    <a:cubicBezTo>
                      <a:pt x="1" y="23"/>
                      <a:pt x="1" y="23"/>
                      <a:pt x="1" y="23"/>
                    </a:cubicBezTo>
                    <a:cubicBezTo>
                      <a:pt x="1" y="23"/>
                      <a:pt x="4" y="24"/>
                      <a:pt x="5" y="25"/>
                    </a:cubicBezTo>
                    <a:cubicBezTo>
                      <a:pt x="7" y="23"/>
                      <a:pt x="9" y="21"/>
                      <a:pt x="11" y="19"/>
                    </a:cubicBezTo>
                    <a:cubicBezTo>
                      <a:pt x="14" y="16"/>
                      <a:pt x="23" y="11"/>
                      <a:pt x="23" y="6"/>
                    </a:cubicBezTo>
                    <a:cubicBezTo>
                      <a:pt x="24" y="4"/>
                      <a:pt x="23"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1" name="Freeform 379"/>
              <p:cNvSpPr/>
              <p:nvPr/>
            </p:nvSpPr>
            <p:spPr bwMode="auto">
              <a:xfrm>
                <a:off x="7747" y="412"/>
                <a:ext cx="83" cy="64"/>
              </a:xfrm>
              <a:custGeom>
                <a:gdLst>
                  <a:gd name="T0" fmla="*/ 28 w 35"/>
                  <a:gd name="T1" fmla="*/ 0 h 27"/>
                  <a:gd name="T2" fmla="*/ 20 w 35"/>
                  <a:gd name="T3" fmla="*/ 4 h 27"/>
                  <a:gd name="T4" fmla="*/ 9 w 35"/>
                  <a:gd name="T5" fmla="*/ 7 h 27"/>
                  <a:gd name="T6" fmla="*/ 13 w 35"/>
                  <a:gd name="T7" fmla="*/ 8 h 27"/>
                  <a:gd name="T8" fmla="*/ 0 w 35"/>
                  <a:gd name="T9" fmla="*/ 24 h 27"/>
                  <a:gd name="T10" fmla="*/ 2 w 35"/>
                  <a:gd name="T11" fmla="*/ 27 h 27"/>
                  <a:gd name="T12" fmla="*/ 30 w 35"/>
                  <a:gd name="T13" fmla="*/ 13 h 27"/>
                  <a:gd name="T14" fmla="*/ 30 w 35"/>
                  <a:gd name="T15" fmla="*/ 1 h 27"/>
                  <a:gd name="T16" fmla="*/ 28 w 35"/>
                  <a:gd name="T17"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8" y="0"/>
                    </a:moveTo>
                    <a:cubicBezTo>
                      <a:pt x="26" y="0"/>
                      <a:pt x="22" y="4"/>
                      <a:pt x="20" y="4"/>
                    </a:cubicBezTo>
                    <a:cubicBezTo>
                      <a:pt x="16" y="6"/>
                      <a:pt x="13" y="6"/>
                      <a:pt x="9" y="7"/>
                    </a:cubicBezTo>
                    <a:cubicBezTo>
                      <a:pt x="10" y="7"/>
                      <a:pt x="11" y="8"/>
                      <a:pt x="13" y="8"/>
                    </a:cubicBezTo>
                    <a:cubicBezTo>
                      <a:pt x="6" y="12"/>
                      <a:pt x="8" y="22"/>
                      <a:pt x="0" y="24"/>
                    </a:cubicBezTo>
                    <a:cubicBezTo>
                      <a:pt x="0" y="25"/>
                      <a:pt x="1" y="26"/>
                      <a:pt x="2" y="27"/>
                    </a:cubicBezTo>
                    <a:cubicBezTo>
                      <a:pt x="10" y="22"/>
                      <a:pt x="20" y="18"/>
                      <a:pt x="30" y="13"/>
                    </a:cubicBezTo>
                    <a:cubicBezTo>
                      <a:pt x="35" y="10"/>
                      <a:pt x="31" y="4"/>
                      <a:pt x="30" y="1"/>
                    </a:cubicBezTo>
                    <a:cubicBezTo>
                      <a:pt x="29" y="0"/>
                      <a:pt x="29"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380"/>
              <p:cNvSpPr/>
              <p:nvPr/>
            </p:nvSpPr>
            <p:spPr bwMode="auto">
              <a:xfrm>
                <a:off x="7884" y="739"/>
                <a:ext cx="57" cy="49"/>
              </a:xfrm>
              <a:custGeom>
                <a:gdLst>
                  <a:gd name="T0" fmla="*/ 12 w 24"/>
                  <a:gd name="T1" fmla="*/ 0 h 21"/>
                  <a:gd name="T2" fmla="*/ 0 w 24"/>
                  <a:gd name="T3" fmla="*/ 1 h 21"/>
                  <a:gd name="T4" fmla="*/ 10 w 24"/>
                  <a:gd name="T5" fmla="*/ 11 h 21"/>
                  <a:gd name="T6" fmla="*/ 22 w 24"/>
                  <a:gd name="T7" fmla="*/ 21 h 21"/>
                  <a:gd name="T8" fmla="*/ 17 w 24"/>
                  <a:gd name="T9" fmla="*/ 12 h 21"/>
                  <a:gd name="T10" fmla="*/ 12 w 24"/>
                  <a:gd name="T11" fmla="*/ 0 h 21"/>
                </a:gdLst>
                <a:cxnLst>
                  <a:cxn ang="0">
                    <a:pos x="T0" y="T1"/>
                  </a:cxn>
                  <a:cxn ang="0">
                    <a:pos x="T2" y="T3"/>
                  </a:cxn>
                  <a:cxn ang="0">
                    <a:pos x="T4" y="T5"/>
                  </a:cxn>
                  <a:cxn ang="0">
                    <a:pos x="T6" y="T7"/>
                  </a:cxn>
                  <a:cxn ang="0">
                    <a:pos x="T8" y="T9"/>
                  </a:cxn>
                  <a:cxn ang="0">
                    <a:pos x="T10" y="T11"/>
                  </a:cxn>
                </a:cxnLst>
                <a:rect l="0" t="0" r="r" b="b"/>
                <a:pathLst>
                  <a:path w="24" h="21">
                    <a:moveTo>
                      <a:pt x="12" y="0"/>
                    </a:moveTo>
                    <a:cubicBezTo>
                      <a:pt x="8" y="0"/>
                      <a:pt x="4" y="0"/>
                      <a:pt x="0" y="1"/>
                    </a:cubicBezTo>
                    <a:cubicBezTo>
                      <a:pt x="6" y="2"/>
                      <a:pt x="7" y="7"/>
                      <a:pt x="10" y="11"/>
                    </a:cubicBezTo>
                    <a:cubicBezTo>
                      <a:pt x="14" y="16"/>
                      <a:pt x="17" y="18"/>
                      <a:pt x="22" y="21"/>
                    </a:cubicBezTo>
                    <a:cubicBezTo>
                      <a:pt x="24" y="16"/>
                      <a:pt x="20" y="15"/>
                      <a:pt x="17" y="12"/>
                    </a:cubicBezTo>
                    <a:cubicBezTo>
                      <a:pt x="13" y="8"/>
                      <a:pt x="12" y="5"/>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381"/>
              <p:cNvSpPr/>
              <p:nvPr/>
            </p:nvSpPr>
            <p:spPr bwMode="auto">
              <a:xfrm>
                <a:off x="5540" y="4812"/>
                <a:ext cx="9" cy="9"/>
              </a:xfrm>
              <a:custGeom>
                <a:gdLst>
                  <a:gd name="T0" fmla="*/ 4 w 4"/>
                  <a:gd name="T1" fmla="*/ 0 h 4"/>
                  <a:gd name="T2" fmla="*/ 1 w 4"/>
                  <a:gd name="T3" fmla="*/ 4 h 4"/>
                  <a:gd name="T4" fmla="*/ 4 w 4"/>
                  <a:gd name="T5" fmla="*/ 0 h 4"/>
                </a:gdLst>
                <a:cxnLst>
                  <a:cxn ang="0">
                    <a:pos x="T0" y="T1"/>
                  </a:cxn>
                  <a:cxn ang="0">
                    <a:pos x="T2" y="T3"/>
                  </a:cxn>
                  <a:cxn ang="0">
                    <a:pos x="T4" y="T5"/>
                  </a:cxn>
                </a:cxnLst>
                <a:rect l="0" t="0" r="r" b="b"/>
                <a:pathLst>
                  <a:path w="4" h="4">
                    <a:moveTo>
                      <a:pt x="4" y="0"/>
                    </a:moveTo>
                    <a:cubicBezTo>
                      <a:pt x="3" y="1"/>
                      <a:pt x="0" y="2"/>
                      <a:pt x="1" y="4"/>
                    </a:cubicBezTo>
                    <a:cubicBezTo>
                      <a:pt x="3" y="3"/>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382"/>
              <p:cNvSpPr/>
              <p:nvPr/>
            </p:nvSpPr>
            <p:spPr bwMode="auto">
              <a:xfrm>
                <a:off x="2180" y="2909"/>
                <a:ext cx="12" cy="16"/>
              </a:xfrm>
              <a:custGeom>
                <a:gdLst>
                  <a:gd name="T0" fmla="*/ 1 w 5"/>
                  <a:gd name="T1" fmla="*/ 0 h 7"/>
                  <a:gd name="T2" fmla="*/ 2 w 5"/>
                  <a:gd name="T3" fmla="*/ 2 h 7"/>
                  <a:gd name="T4" fmla="*/ 1 w 5"/>
                  <a:gd name="T5" fmla="*/ 1 h 7"/>
                  <a:gd name="T6" fmla="*/ 0 w 5"/>
                  <a:gd name="T7" fmla="*/ 7 h 7"/>
                  <a:gd name="T8" fmla="*/ 4 w 5"/>
                  <a:gd name="T9" fmla="*/ 3 h 7"/>
                  <a:gd name="T10" fmla="*/ 2 w 5"/>
                  <a:gd name="T11" fmla="*/ 2 h 7"/>
                  <a:gd name="T12" fmla="*/ 5 w 5"/>
                  <a:gd name="T13" fmla="*/ 2 h 7"/>
                  <a:gd name="T14" fmla="*/ 5 w 5"/>
                  <a:gd name="T15" fmla="*/ 2 h 7"/>
                  <a:gd name="T16" fmla="*/ 1 w 5"/>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1" y="0"/>
                    </a:moveTo>
                    <a:cubicBezTo>
                      <a:pt x="1" y="1"/>
                      <a:pt x="1" y="1"/>
                      <a:pt x="2" y="2"/>
                    </a:cubicBezTo>
                    <a:cubicBezTo>
                      <a:pt x="1" y="2"/>
                      <a:pt x="1" y="2"/>
                      <a:pt x="1" y="1"/>
                    </a:cubicBezTo>
                    <a:cubicBezTo>
                      <a:pt x="0" y="3"/>
                      <a:pt x="0" y="5"/>
                      <a:pt x="0" y="7"/>
                    </a:cubicBezTo>
                    <a:cubicBezTo>
                      <a:pt x="5" y="7"/>
                      <a:pt x="2" y="5"/>
                      <a:pt x="4" y="3"/>
                    </a:cubicBezTo>
                    <a:cubicBezTo>
                      <a:pt x="4" y="2"/>
                      <a:pt x="3" y="2"/>
                      <a:pt x="2" y="2"/>
                    </a:cubicBezTo>
                    <a:cubicBezTo>
                      <a:pt x="3" y="2"/>
                      <a:pt x="4" y="2"/>
                      <a:pt x="5" y="2"/>
                    </a:cubicBezTo>
                    <a:cubicBezTo>
                      <a:pt x="5" y="2"/>
                      <a:pt x="5" y="2"/>
                      <a:pt x="5" y="2"/>
                    </a:cubicBezTo>
                    <a:cubicBezTo>
                      <a:pt x="4"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383"/>
              <p:cNvSpPr/>
              <p:nvPr/>
            </p:nvSpPr>
            <p:spPr bwMode="auto">
              <a:xfrm>
                <a:off x="2166" y="2909"/>
                <a:ext cx="11" cy="11"/>
              </a:xfrm>
              <a:custGeom>
                <a:gdLst>
                  <a:gd name="T0" fmla="*/ 5 w 5"/>
                  <a:gd name="T1" fmla="*/ 0 h 5"/>
                  <a:gd name="T2" fmla="*/ 0 w 5"/>
                  <a:gd name="T3" fmla="*/ 3 h 5"/>
                  <a:gd name="T4" fmla="*/ 2 w 5"/>
                  <a:gd name="T5" fmla="*/ 5 h 5"/>
                  <a:gd name="T6" fmla="*/ 4 w 5"/>
                  <a:gd name="T7" fmla="*/ 4 h 5"/>
                  <a:gd name="T8" fmla="*/ 5 w 5"/>
                  <a:gd name="T9" fmla="*/ 0 h 5"/>
                </a:gdLst>
                <a:cxnLst>
                  <a:cxn ang="0">
                    <a:pos x="T0" y="T1"/>
                  </a:cxn>
                  <a:cxn ang="0">
                    <a:pos x="T2" y="T3"/>
                  </a:cxn>
                  <a:cxn ang="0">
                    <a:pos x="T4" y="T5"/>
                  </a:cxn>
                  <a:cxn ang="0">
                    <a:pos x="T6" y="T7"/>
                  </a:cxn>
                  <a:cxn ang="0">
                    <a:pos x="T8" y="T9"/>
                  </a:cxn>
                </a:cxnLst>
                <a:rect l="0" t="0" r="r" b="b"/>
                <a:pathLst>
                  <a:path w="5" h="5">
                    <a:moveTo>
                      <a:pt x="5" y="0"/>
                    </a:moveTo>
                    <a:cubicBezTo>
                      <a:pt x="2" y="1"/>
                      <a:pt x="0" y="0"/>
                      <a:pt x="0" y="3"/>
                    </a:cubicBezTo>
                    <a:cubicBezTo>
                      <a:pt x="0" y="4"/>
                      <a:pt x="1" y="5"/>
                      <a:pt x="2" y="5"/>
                    </a:cubicBezTo>
                    <a:cubicBezTo>
                      <a:pt x="3" y="5"/>
                      <a:pt x="3" y="4"/>
                      <a:pt x="4" y="4"/>
                    </a:cubicBezTo>
                    <a:cubicBezTo>
                      <a:pt x="5" y="2"/>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384"/>
              <p:cNvSpPr/>
              <p:nvPr/>
            </p:nvSpPr>
            <p:spPr bwMode="auto">
              <a:xfrm>
                <a:off x="2185" y="2913"/>
                <a:ext cx="14" cy="15"/>
              </a:xfrm>
              <a:custGeom>
                <a:gdLst>
                  <a:gd name="T0" fmla="*/ 5 w 6"/>
                  <a:gd name="T1" fmla="*/ 0 h 6"/>
                  <a:gd name="T2" fmla="*/ 5 w 6"/>
                  <a:gd name="T3" fmla="*/ 6 h 6"/>
                  <a:gd name="T4" fmla="*/ 5 w 6"/>
                  <a:gd name="T5" fmla="*/ 0 h 6"/>
                </a:gdLst>
                <a:cxnLst>
                  <a:cxn ang="0">
                    <a:pos x="T0" y="T1"/>
                  </a:cxn>
                  <a:cxn ang="0">
                    <a:pos x="T2" y="T3"/>
                  </a:cxn>
                  <a:cxn ang="0">
                    <a:pos x="T4" y="T5"/>
                  </a:cxn>
                </a:cxnLst>
                <a:rect l="0" t="0" r="r" b="b"/>
                <a:pathLst>
                  <a:path w="6" h="6">
                    <a:moveTo>
                      <a:pt x="5" y="0"/>
                    </a:moveTo>
                    <a:cubicBezTo>
                      <a:pt x="0" y="2"/>
                      <a:pt x="2" y="3"/>
                      <a:pt x="5" y="6"/>
                    </a:cubicBezTo>
                    <a:cubicBezTo>
                      <a:pt x="6"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385"/>
              <p:cNvSpPr/>
              <p:nvPr/>
            </p:nvSpPr>
            <p:spPr bwMode="auto">
              <a:xfrm>
                <a:off x="115" y="2169"/>
                <a:ext cx="137" cy="68"/>
              </a:xfrm>
              <a:custGeom>
                <a:gdLst>
                  <a:gd name="T0" fmla="*/ 58 w 58"/>
                  <a:gd name="T1" fmla="*/ 0 h 29"/>
                  <a:gd name="T2" fmla="*/ 35 w 58"/>
                  <a:gd name="T3" fmla="*/ 9 h 29"/>
                  <a:gd name="T4" fmla="*/ 34 w 58"/>
                  <a:gd name="T5" fmla="*/ 9 h 29"/>
                  <a:gd name="T6" fmla="*/ 30 w 58"/>
                  <a:gd name="T7" fmla="*/ 9 h 29"/>
                  <a:gd name="T8" fmla="*/ 25 w 58"/>
                  <a:gd name="T9" fmla="*/ 9 h 29"/>
                  <a:gd name="T10" fmla="*/ 17 w 58"/>
                  <a:gd name="T11" fmla="*/ 8 h 29"/>
                  <a:gd name="T12" fmla="*/ 15 w 58"/>
                  <a:gd name="T13" fmla="*/ 12 h 29"/>
                  <a:gd name="T14" fmla="*/ 7 w 58"/>
                  <a:gd name="T15" fmla="*/ 16 h 29"/>
                  <a:gd name="T16" fmla="*/ 5 w 58"/>
                  <a:gd name="T17" fmla="*/ 18 h 29"/>
                  <a:gd name="T18" fmla="*/ 5 w 58"/>
                  <a:gd name="T19" fmla="*/ 18 h 29"/>
                  <a:gd name="T20" fmla="*/ 3 w 58"/>
                  <a:gd name="T21" fmla="*/ 17 h 29"/>
                  <a:gd name="T22" fmla="*/ 1 w 58"/>
                  <a:gd name="T23" fmla="*/ 16 h 29"/>
                  <a:gd name="T24" fmla="*/ 1 w 58"/>
                  <a:gd name="T25" fmla="*/ 16 h 29"/>
                  <a:gd name="T26" fmla="*/ 4 w 58"/>
                  <a:gd name="T27" fmla="*/ 25 h 29"/>
                  <a:gd name="T28" fmla="*/ 17 w 58"/>
                  <a:gd name="T29" fmla="*/ 29 h 29"/>
                  <a:gd name="T30" fmla="*/ 18 w 58"/>
                  <a:gd name="T31" fmla="*/ 29 h 29"/>
                  <a:gd name="T32" fmla="*/ 33 w 58"/>
                  <a:gd name="T33" fmla="*/ 24 h 29"/>
                  <a:gd name="T34" fmla="*/ 37 w 58"/>
                  <a:gd name="T35" fmla="*/ 19 h 29"/>
                  <a:gd name="T36" fmla="*/ 41 w 58"/>
                  <a:gd name="T37" fmla="*/ 20 h 29"/>
                  <a:gd name="T38" fmla="*/ 41 w 58"/>
                  <a:gd name="T39" fmla="*/ 20 h 29"/>
                  <a:gd name="T40" fmla="*/ 41 w 58"/>
                  <a:gd name="T41" fmla="*/ 17 h 29"/>
                  <a:gd name="T42" fmla="*/ 43 w 58"/>
                  <a:gd name="T43" fmla="*/ 20 h 29"/>
                  <a:gd name="T44" fmla="*/ 45 w 58"/>
                  <a:gd name="T45" fmla="*/ 19 h 29"/>
                  <a:gd name="T46" fmla="*/ 46 w 58"/>
                  <a:gd name="T47" fmla="*/ 20 h 29"/>
                  <a:gd name="T48" fmla="*/ 43 w 58"/>
                  <a:gd name="T49" fmla="*/ 10 h 29"/>
                  <a:gd name="T50" fmla="*/ 45 w 58"/>
                  <a:gd name="T51" fmla="*/ 9 h 29"/>
                  <a:gd name="T52" fmla="*/ 47 w 58"/>
                  <a:gd name="T53" fmla="*/ 7 h 29"/>
                  <a:gd name="T54" fmla="*/ 51 w 58"/>
                  <a:gd name="T55" fmla="*/ 5 h 29"/>
                  <a:gd name="T56" fmla="*/ 58 w 58"/>
                  <a:gd name="T57"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28">
                    <a:moveTo>
                      <a:pt x="58" y="0"/>
                    </a:moveTo>
                    <a:cubicBezTo>
                      <a:pt x="50" y="3"/>
                      <a:pt x="43" y="6"/>
                      <a:pt x="35" y="9"/>
                    </a:cubicBezTo>
                    <a:cubicBezTo>
                      <a:pt x="35" y="9"/>
                      <a:pt x="35" y="9"/>
                      <a:pt x="34" y="9"/>
                    </a:cubicBezTo>
                    <a:cubicBezTo>
                      <a:pt x="33" y="9"/>
                      <a:pt x="32" y="9"/>
                      <a:pt x="30" y="9"/>
                    </a:cubicBezTo>
                    <a:cubicBezTo>
                      <a:pt x="29" y="9"/>
                      <a:pt x="27" y="9"/>
                      <a:pt x="25" y="9"/>
                    </a:cubicBezTo>
                    <a:cubicBezTo>
                      <a:pt x="22" y="9"/>
                      <a:pt x="19" y="9"/>
                      <a:pt x="17" y="8"/>
                    </a:cubicBezTo>
                    <a:cubicBezTo>
                      <a:pt x="17" y="11"/>
                      <a:pt x="18" y="11"/>
                      <a:pt x="15" y="12"/>
                    </a:cubicBezTo>
                    <a:cubicBezTo>
                      <a:pt x="12" y="13"/>
                      <a:pt x="9" y="13"/>
                      <a:pt x="7" y="16"/>
                    </a:cubicBezTo>
                    <a:cubicBezTo>
                      <a:pt x="6" y="16"/>
                      <a:pt x="6" y="17"/>
                      <a:pt x="5" y="18"/>
                    </a:cubicBezTo>
                    <a:cubicBezTo>
                      <a:pt x="5" y="18"/>
                      <a:pt x="5" y="18"/>
                      <a:pt x="5" y="18"/>
                    </a:cubicBezTo>
                    <a:cubicBezTo>
                      <a:pt x="4" y="18"/>
                      <a:pt x="3" y="17"/>
                      <a:pt x="3" y="17"/>
                    </a:cubicBezTo>
                    <a:cubicBezTo>
                      <a:pt x="2" y="16"/>
                      <a:pt x="1" y="16"/>
                      <a:pt x="1" y="16"/>
                    </a:cubicBezTo>
                    <a:cubicBezTo>
                      <a:pt x="1" y="16"/>
                      <a:pt x="1" y="16"/>
                      <a:pt x="1" y="16"/>
                    </a:cubicBezTo>
                    <a:cubicBezTo>
                      <a:pt x="0" y="17"/>
                      <a:pt x="4" y="25"/>
                      <a:pt x="4" y="25"/>
                    </a:cubicBezTo>
                    <a:cubicBezTo>
                      <a:pt x="8" y="29"/>
                      <a:pt x="13" y="28"/>
                      <a:pt x="17" y="29"/>
                    </a:cubicBezTo>
                    <a:cubicBezTo>
                      <a:pt x="18" y="29"/>
                      <a:pt x="18" y="29"/>
                      <a:pt x="18" y="29"/>
                    </a:cubicBezTo>
                    <a:cubicBezTo>
                      <a:pt x="23" y="29"/>
                      <a:pt x="29" y="26"/>
                      <a:pt x="33" y="24"/>
                    </a:cubicBezTo>
                    <a:cubicBezTo>
                      <a:pt x="35" y="23"/>
                      <a:pt x="35" y="21"/>
                      <a:pt x="37" y="19"/>
                    </a:cubicBezTo>
                    <a:cubicBezTo>
                      <a:pt x="38" y="20"/>
                      <a:pt x="39" y="20"/>
                      <a:pt x="41" y="20"/>
                    </a:cubicBezTo>
                    <a:cubicBezTo>
                      <a:pt x="41" y="20"/>
                      <a:pt x="41" y="20"/>
                      <a:pt x="41" y="20"/>
                    </a:cubicBezTo>
                    <a:cubicBezTo>
                      <a:pt x="42" y="20"/>
                      <a:pt x="41" y="18"/>
                      <a:pt x="41" y="17"/>
                    </a:cubicBezTo>
                    <a:cubicBezTo>
                      <a:pt x="42" y="19"/>
                      <a:pt x="42" y="20"/>
                      <a:pt x="43" y="20"/>
                    </a:cubicBezTo>
                    <a:cubicBezTo>
                      <a:pt x="43" y="20"/>
                      <a:pt x="44" y="20"/>
                      <a:pt x="45" y="19"/>
                    </a:cubicBezTo>
                    <a:cubicBezTo>
                      <a:pt x="46" y="20"/>
                      <a:pt x="46" y="20"/>
                      <a:pt x="46" y="20"/>
                    </a:cubicBezTo>
                    <a:cubicBezTo>
                      <a:pt x="44" y="17"/>
                      <a:pt x="40" y="13"/>
                      <a:pt x="43" y="10"/>
                    </a:cubicBezTo>
                    <a:cubicBezTo>
                      <a:pt x="43" y="10"/>
                      <a:pt x="45" y="10"/>
                      <a:pt x="45" y="9"/>
                    </a:cubicBezTo>
                    <a:cubicBezTo>
                      <a:pt x="46" y="9"/>
                      <a:pt x="46" y="8"/>
                      <a:pt x="47" y="7"/>
                    </a:cubicBezTo>
                    <a:cubicBezTo>
                      <a:pt x="48" y="6"/>
                      <a:pt x="50" y="6"/>
                      <a:pt x="51" y="5"/>
                    </a:cubicBezTo>
                    <a:cubicBezTo>
                      <a:pt x="53" y="4"/>
                      <a:pt x="58" y="1"/>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386"/>
              <p:cNvSpPr/>
              <p:nvPr/>
            </p:nvSpPr>
            <p:spPr bwMode="auto">
              <a:xfrm>
                <a:off x="3529" y="2987"/>
                <a:ext cx="14" cy="16"/>
              </a:xfrm>
              <a:custGeom>
                <a:gdLst>
                  <a:gd name="T0" fmla="*/ 0 w 6"/>
                  <a:gd name="T1" fmla="*/ 0 h 7"/>
                  <a:gd name="T2" fmla="*/ 2 w 6"/>
                  <a:gd name="T3" fmla="*/ 7 h 7"/>
                  <a:gd name="T4" fmla="*/ 0 w 6"/>
                  <a:gd name="T5" fmla="*/ 0 h 7"/>
                </a:gdLst>
                <a:cxnLst>
                  <a:cxn ang="0">
                    <a:pos x="T0" y="T1"/>
                  </a:cxn>
                  <a:cxn ang="0">
                    <a:pos x="T2" y="T3"/>
                  </a:cxn>
                  <a:cxn ang="0">
                    <a:pos x="T4" y="T5"/>
                  </a:cxn>
                </a:cxnLst>
                <a:rect l="0" t="0" r="r" b="b"/>
                <a:pathLst>
                  <a:path w="6" h="7">
                    <a:moveTo>
                      <a:pt x="0" y="0"/>
                    </a:moveTo>
                    <a:cubicBezTo>
                      <a:pt x="0" y="2"/>
                      <a:pt x="1" y="4"/>
                      <a:pt x="2" y="7"/>
                    </a:cubicBezTo>
                    <a:cubicBezTo>
                      <a:pt x="6" y="5"/>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387"/>
              <p:cNvSpPr/>
              <p:nvPr/>
            </p:nvSpPr>
            <p:spPr bwMode="auto">
              <a:xfrm>
                <a:off x="3680" y="3223"/>
                <a:ext cx="12" cy="12"/>
              </a:xfrm>
              <a:custGeom>
                <a:gdLst>
                  <a:gd name="T0" fmla="*/ 3 w 5"/>
                  <a:gd name="T1" fmla="*/ 0 h 5"/>
                  <a:gd name="T2" fmla="*/ 0 w 5"/>
                  <a:gd name="T3" fmla="*/ 1 h 5"/>
                  <a:gd name="T4" fmla="*/ 3 w 5"/>
                  <a:gd name="T5" fmla="*/ 5 h 5"/>
                  <a:gd name="T6" fmla="*/ 3 w 5"/>
                  <a:gd name="T7" fmla="*/ 5 h 5"/>
                  <a:gd name="T8" fmla="*/ 4 w 5"/>
                  <a:gd name="T9" fmla="*/ 5 h 5"/>
                  <a:gd name="T10" fmla="*/ 5 w 5"/>
                  <a:gd name="T11" fmla="*/ 3 h 5"/>
                  <a:gd name="T12" fmla="*/ 3 w 5"/>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5" h="5">
                    <a:moveTo>
                      <a:pt x="3" y="0"/>
                    </a:moveTo>
                    <a:cubicBezTo>
                      <a:pt x="2" y="1"/>
                      <a:pt x="1" y="1"/>
                      <a:pt x="0" y="1"/>
                    </a:cubicBezTo>
                    <a:cubicBezTo>
                      <a:pt x="0" y="2"/>
                      <a:pt x="1" y="4"/>
                      <a:pt x="3" y="5"/>
                    </a:cubicBezTo>
                    <a:cubicBezTo>
                      <a:pt x="3" y="5"/>
                      <a:pt x="3" y="5"/>
                      <a:pt x="3" y="5"/>
                    </a:cubicBezTo>
                    <a:cubicBezTo>
                      <a:pt x="4" y="5"/>
                      <a:pt x="4" y="5"/>
                      <a:pt x="4" y="5"/>
                    </a:cubicBezTo>
                    <a:cubicBezTo>
                      <a:pt x="5" y="5"/>
                      <a:pt x="5" y="5"/>
                      <a:pt x="5" y="3"/>
                    </a:cubicBezTo>
                    <a:cubicBezTo>
                      <a:pt x="5" y="2"/>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388"/>
              <p:cNvSpPr/>
              <p:nvPr/>
            </p:nvSpPr>
            <p:spPr bwMode="auto">
              <a:xfrm>
                <a:off x="4869" y="3008"/>
                <a:ext cx="5" cy="5"/>
              </a:xfrm>
              <a:custGeom>
                <a:gdLst>
                  <a:gd name="T0" fmla="*/ 2 w 2"/>
                  <a:gd name="T1" fmla="*/ 0 h 2"/>
                  <a:gd name="T2" fmla="*/ 0 w 2"/>
                  <a:gd name="T3" fmla="*/ 2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1"/>
                      <a:pt x="0" y="1"/>
                      <a:pt x="0" y="2"/>
                    </a:cubicBezTo>
                    <a:cubicBezTo>
                      <a:pt x="1" y="2"/>
                      <a:pt x="1" y="2"/>
                      <a:pt x="1" y="2"/>
                    </a:cubicBezTo>
                    <a:cubicBezTo>
                      <a:pt x="1"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Freeform 389"/>
              <p:cNvSpPr/>
              <p:nvPr/>
            </p:nvSpPr>
            <p:spPr bwMode="auto">
              <a:xfrm>
                <a:off x="4841" y="2973"/>
                <a:ext cx="4" cy="4"/>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1"/>
                      <a:pt x="1" y="2"/>
                      <a:pt x="0" y="2"/>
                    </a:cubicBezTo>
                    <a:cubicBezTo>
                      <a:pt x="1"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391"/>
              <p:cNvSpPr/>
              <p:nvPr/>
            </p:nvSpPr>
            <p:spPr bwMode="auto">
              <a:xfrm>
                <a:off x="3673" y="3857"/>
                <a:ext cx="10" cy="14"/>
              </a:xfrm>
              <a:custGeom>
                <a:gdLst>
                  <a:gd name="T0" fmla="*/ 4 w 4"/>
                  <a:gd name="T1" fmla="*/ 0 h 6"/>
                  <a:gd name="T2" fmla="*/ 2 w 4"/>
                  <a:gd name="T3" fmla="*/ 6 h 6"/>
                  <a:gd name="T4" fmla="*/ 4 w 4"/>
                  <a:gd name="T5" fmla="*/ 0 h 6"/>
                </a:gdLst>
                <a:cxnLst>
                  <a:cxn ang="0">
                    <a:pos x="T0" y="T1"/>
                  </a:cxn>
                  <a:cxn ang="0">
                    <a:pos x="T2" y="T3"/>
                  </a:cxn>
                  <a:cxn ang="0">
                    <a:pos x="T4" y="T5"/>
                  </a:cxn>
                </a:cxnLst>
                <a:rect l="0" t="0" r="r" b="b"/>
                <a:pathLst>
                  <a:path w="4" h="6">
                    <a:moveTo>
                      <a:pt x="4" y="0"/>
                    </a:moveTo>
                    <a:cubicBezTo>
                      <a:pt x="0" y="1"/>
                      <a:pt x="3" y="4"/>
                      <a:pt x="2" y="6"/>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392"/>
              <p:cNvSpPr/>
              <p:nvPr/>
            </p:nvSpPr>
            <p:spPr bwMode="auto">
              <a:xfrm>
                <a:off x="3685" y="3904"/>
                <a:ext cx="7" cy="9"/>
              </a:xfrm>
              <a:custGeom>
                <a:gdLst>
                  <a:gd name="T0" fmla="*/ 3 w 3"/>
                  <a:gd name="T1" fmla="*/ 0 h 4"/>
                  <a:gd name="T2" fmla="*/ 1 w 3"/>
                  <a:gd name="T3" fmla="*/ 4 h 4"/>
                  <a:gd name="T4" fmla="*/ 3 w 3"/>
                  <a:gd name="T5" fmla="*/ 0 h 4"/>
                </a:gdLst>
                <a:cxnLst>
                  <a:cxn ang="0">
                    <a:pos x="T0" y="T1"/>
                  </a:cxn>
                  <a:cxn ang="0">
                    <a:pos x="T2" y="T3"/>
                  </a:cxn>
                  <a:cxn ang="0">
                    <a:pos x="T4" y="T5"/>
                  </a:cxn>
                </a:cxnLst>
                <a:rect l="0" t="0" r="r" b="b"/>
                <a:pathLst>
                  <a:path w="3" h="4">
                    <a:moveTo>
                      <a:pt x="3" y="0"/>
                    </a:moveTo>
                    <a:cubicBezTo>
                      <a:pt x="1" y="1"/>
                      <a:pt x="0" y="2"/>
                      <a:pt x="1" y="4"/>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393"/>
              <p:cNvSpPr/>
              <p:nvPr/>
            </p:nvSpPr>
            <p:spPr bwMode="auto">
              <a:xfrm>
                <a:off x="3633" y="3578"/>
                <a:ext cx="2" cy="9"/>
              </a:xfrm>
              <a:custGeom>
                <a:gdLst>
                  <a:gd name="T0" fmla="*/ 1 w 1"/>
                  <a:gd name="T1" fmla="*/ 0 h 4"/>
                  <a:gd name="T2" fmla="*/ 0 w 1"/>
                  <a:gd name="T3" fmla="*/ 3 h 4"/>
                  <a:gd name="T4" fmla="*/ 0 w 1"/>
                  <a:gd name="T5" fmla="*/ 4 h 4"/>
                  <a:gd name="T6" fmla="*/ 0 w 1"/>
                  <a:gd name="T7" fmla="*/ 2 h 4"/>
                  <a:gd name="T8" fmla="*/ 1 w 1"/>
                  <a:gd name="T9" fmla="*/ 0 h 4"/>
                </a:gdLst>
                <a:cxnLst>
                  <a:cxn ang="0">
                    <a:pos x="T0" y="T1"/>
                  </a:cxn>
                  <a:cxn ang="0">
                    <a:pos x="T2" y="T3"/>
                  </a:cxn>
                  <a:cxn ang="0">
                    <a:pos x="T4" y="T5"/>
                  </a:cxn>
                  <a:cxn ang="0">
                    <a:pos x="T6" y="T7"/>
                  </a:cxn>
                  <a:cxn ang="0">
                    <a:pos x="T8" y="T9"/>
                  </a:cxn>
                </a:cxnLst>
                <a:rect l="0" t="0" r="r" b="b"/>
                <a:pathLst>
                  <a:path w="1" h="4">
                    <a:moveTo>
                      <a:pt x="1" y="0"/>
                    </a:moveTo>
                    <a:cubicBezTo>
                      <a:pt x="0" y="1"/>
                      <a:pt x="0" y="2"/>
                      <a:pt x="0" y="3"/>
                    </a:cubicBezTo>
                    <a:cubicBezTo>
                      <a:pt x="0" y="3"/>
                      <a:pt x="0" y="4"/>
                      <a:pt x="0" y="4"/>
                    </a:cubicBezTo>
                    <a:cubicBezTo>
                      <a:pt x="0" y="4"/>
                      <a:pt x="0" y="3"/>
                      <a:pt x="0" y="2"/>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394"/>
              <p:cNvSpPr/>
              <p:nvPr/>
            </p:nvSpPr>
            <p:spPr bwMode="auto">
              <a:xfrm>
                <a:off x="3657" y="3852"/>
                <a:ext cx="4" cy="5"/>
              </a:xfrm>
              <a:custGeom>
                <a:gdLst>
                  <a:gd name="T0" fmla="*/ 0 w 2"/>
                  <a:gd name="T1" fmla="*/ 0 h 2"/>
                  <a:gd name="T2" fmla="*/ 0 w 2"/>
                  <a:gd name="T3" fmla="*/ 1 h 2"/>
                  <a:gd name="T4" fmla="*/ 2 w 2"/>
                  <a:gd name="T5" fmla="*/ 2 h 2"/>
                  <a:gd name="T6" fmla="*/ 1 w 2"/>
                  <a:gd name="T7" fmla="*/ 0 h 2"/>
                  <a:gd name="T8" fmla="*/ 0 w 2"/>
                  <a:gd name="T9" fmla="*/ 0 h 2"/>
                </a:gdLst>
                <a:cxnLst>
                  <a:cxn ang="0">
                    <a:pos x="T0" y="T1"/>
                  </a:cxn>
                  <a:cxn ang="0">
                    <a:pos x="T2" y="T3"/>
                  </a:cxn>
                  <a:cxn ang="0">
                    <a:pos x="T4" y="T5"/>
                  </a:cxn>
                  <a:cxn ang="0">
                    <a:pos x="T6" y="T7"/>
                  </a:cxn>
                  <a:cxn ang="0">
                    <a:pos x="T8" y="T9"/>
                  </a:cxn>
                </a:cxnLst>
                <a:rect l="0" t="0" r="r" b="b"/>
                <a:pathLst>
                  <a:path w="2" h="2">
                    <a:moveTo>
                      <a:pt x="0" y="0"/>
                    </a:moveTo>
                    <a:cubicBezTo>
                      <a:pt x="0" y="1"/>
                      <a:pt x="0" y="1"/>
                      <a:pt x="0" y="1"/>
                    </a:cubicBezTo>
                    <a:cubicBezTo>
                      <a:pt x="1" y="1"/>
                      <a:pt x="1" y="2"/>
                      <a:pt x="2" y="2"/>
                    </a:cubicBezTo>
                    <a:cubicBezTo>
                      <a:pt x="1" y="2"/>
                      <a:pt x="1"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395"/>
              <p:cNvSpPr/>
              <p:nvPr/>
            </p:nvSpPr>
            <p:spPr bwMode="auto">
              <a:xfrm>
                <a:off x="3614" y="3701"/>
                <a:ext cx="12" cy="21"/>
              </a:xfrm>
              <a:custGeom>
                <a:gdLst>
                  <a:gd name="T0" fmla="*/ 3 w 5"/>
                  <a:gd name="T1" fmla="*/ 0 h 9"/>
                  <a:gd name="T2" fmla="*/ 0 w 5"/>
                  <a:gd name="T3" fmla="*/ 3 h 9"/>
                  <a:gd name="T4" fmla="*/ 0 w 5"/>
                  <a:gd name="T5" fmla="*/ 7 h 9"/>
                  <a:gd name="T6" fmla="*/ 0 w 5"/>
                  <a:gd name="T7" fmla="*/ 8 h 9"/>
                  <a:gd name="T8" fmla="*/ 2 w 5"/>
                  <a:gd name="T9" fmla="*/ 9 h 9"/>
                  <a:gd name="T10" fmla="*/ 5 w 5"/>
                  <a:gd name="T11" fmla="*/ 3 h 9"/>
                  <a:gd name="T12" fmla="*/ 5 w 5"/>
                  <a:gd name="T13" fmla="*/ 2 h 9"/>
                  <a:gd name="T14" fmla="*/ 3 w 5"/>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0"/>
                    </a:moveTo>
                    <a:cubicBezTo>
                      <a:pt x="1" y="0"/>
                      <a:pt x="0" y="2"/>
                      <a:pt x="0" y="3"/>
                    </a:cubicBezTo>
                    <a:cubicBezTo>
                      <a:pt x="0" y="4"/>
                      <a:pt x="0" y="6"/>
                      <a:pt x="0" y="7"/>
                    </a:cubicBezTo>
                    <a:cubicBezTo>
                      <a:pt x="0" y="7"/>
                      <a:pt x="0" y="8"/>
                      <a:pt x="0" y="8"/>
                    </a:cubicBezTo>
                    <a:cubicBezTo>
                      <a:pt x="1" y="9"/>
                      <a:pt x="1" y="9"/>
                      <a:pt x="2" y="9"/>
                    </a:cubicBezTo>
                    <a:cubicBezTo>
                      <a:pt x="4" y="9"/>
                      <a:pt x="4" y="4"/>
                      <a:pt x="5" y="3"/>
                    </a:cubicBezTo>
                    <a:cubicBezTo>
                      <a:pt x="5" y="2"/>
                      <a:pt x="5" y="2"/>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396"/>
              <p:cNvSpPr/>
              <p:nvPr/>
            </p:nvSpPr>
            <p:spPr bwMode="auto">
              <a:xfrm>
                <a:off x="3666" y="3868"/>
                <a:ext cx="10" cy="10"/>
              </a:xfrm>
              <a:custGeom>
                <a:gdLst>
                  <a:gd name="T0" fmla="*/ 3 w 4"/>
                  <a:gd name="T1" fmla="*/ 0 h 4"/>
                  <a:gd name="T2" fmla="*/ 4 w 4"/>
                  <a:gd name="T3" fmla="*/ 4 h 4"/>
                  <a:gd name="T4" fmla="*/ 4 w 4"/>
                  <a:gd name="T5" fmla="*/ 4 h 4"/>
                  <a:gd name="T6" fmla="*/ 3 w 4"/>
                  <a:gd name="T7" fmla="*/ 0 h 4"/>
                </a:gdLst>
                <a:cxnLst>
                  <a:cxn ang="0">
                    <a:pos x="T0" y="T1"/>
                  </a:cxn>
                  <a:cxn ang="0">
                    <a:pos x="T2" y="T3"/>
                  </a:cxn>
                  <a:cxn ang="0">
                    <a:pos x="T4" y="T5"/>
                  </a:cxn>
                  <a:cxn ang="0">
                    <a:pos x="T6" y="T7"/>
                  </a:cxn>
                </a:cxnLst>
                <a:rect l="0" t="0" r="r" b="b"/>
                <a:pathLst>
                  <a:path w="4" h="4">
                    <a:moveTo>
                      <a:pt x="3" y="0"/>
                    </a:moveTo>
                    <a:cubicBezTo>
                      <a:pt x="0" y="2"/>
                      <a:pt x="2" y="4"/>
                      <a:pt x="4" y="4"/>
                    </a:cubicBezTo>
                    <a:cubicBezTo>
                      <a:pt x="4" y="4"/>
                      <a:pt x="4" y="4"/>
                      <a:pt x="4" y="4"/>
                    </a:cubicBezTo>
                    <a:cubicBezTo>
                      <a:pt x="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397"/>
              <p:cNvSpPr>
                <a:spLocks noEditPoints="1"/>
              </p:cNvSpPr>
              <p:nvPr/>
            </p:nvSpPr>
            <p:spPr bwMode="auto">
              <a:xfrm>
                <a:off x="3621" y="3542"/>
                <a:ext cx="33" cy="123"/>
              </a:xfrm>
              <a:custGeom>
                <a:gdLst>
                  <a:gd name="T0" fmla="*/ 14 w 14"/>
                  <a:gd name="T1" fmla="*/ 4 h 52"/>
                  <a:gd name="T2" fmla="*/ 14 w 14"/>
                  <a:gd name="T3" fmla="*/ 4 h 52"/>
                  <a:gd name="T4" fmla="*/ 14 w 14"/>
                  <a:gd name="T5" fmla="*/ 4 h 52"/>
                  <a:gd name="T6" fmla="*/ 14 w 14"/>
                  <a:gd name="T7" fmla="*/ 0 h 52"/>
                  <a:gd name="T8" fmla="*/ 9 w 14"/>
                  <a:gd name="T9" fmla="*/ 14 h 52"/>
                  <a:gd name="T10" fmla="*/ 8 w 14"/>
                  <a:gd name="T11" fmla="*/ 17 h 52"/>
                  <a:gd name="T12" fmla="*/ 9 w 14"/>
                  <a:gd name="T13" fmla="*/ 17 h 52"/>
                  <a:gd name="T14" fmla="*/ 7 w 14"/>
                  <a:gd name="T15" fmla="*/ 25 h 52"/>
                  <a:gd name="T16" fmla="*/ 7 w 14"/>
                  <a:gd name="T17" fmla="*/ 32 h 52"/>
                  <a:gd name="T18" fmla="*/ 8 w 14"/>
                  <a:gd name="T19" fmla="*/ 32 h 52"/>
                  <a:gd name="T20" fmla="*/ 7 w 14"/>
                  <a:gd name="T21" fmla="*/ 35 h 52"/>
                  <a:gd name="T22" fmla="*/ 6 w 14"/>
                  <a:gd name="T23" fmla="*/ 35 h 52"/>
                  <a:gd name="T24" fmla="*/ 5 w 14"/>
                  <a:gd name="T25" fmla="*/ 34 h 52"/>
                  <a:gd name="T26" fmla="*/ 4 w 14"/>
                  <a:gd name="T27" fmla="*/ 36 h 52"/>
                  <a:gd name="T28" fmla="*/ 3 w 14"/>
                  <a:gd name="T29" fmla="*/ 38 h 52"/>
                  <a:gd name="T30" fmla="*/ 3 w 14"/>
                  <a:gd name="T31" fmla="*/ 42 h 52"/>
                  <a:gd name="T32" fmla="*/ 2 w 14"/>
                  <a:gd name="T33" fmla="*/ 41 h 52"/>
                  <a:gd name="T34" fmla="*/ 1 w 14"/>
                  <a:gd name="T35" fmla="*/ 42 h 52"/>
                  <a:gd name="T36" fmla="*/ 3 w 14"/>
                  <a:gd name="T37" fmla="*/ 47 h 52"/>
                  <a:gd name="T38" fmla="*/ 3 w 14"/>
                  <a:gd name="T39" fmla="*/ 48 h 52"/>
                  <a:gd name="T40" fmla="*/ 6 w 14"/>
                  <a:gd name="T41" fmla="*/ 52 h 52"/>
                  <a:gd name="T42" fmla="*/ 6 w 14"/>
                  <a:gd name="T43" fmla="*/ 45 h 52"/>
                  <a:gd name="T44" fmla="*/ 7 w 14"/>
                  <a:gd name="T45" fmla="*/ 37 h 52"/>
                  <a:gd name="T46" fmla="*/ 9 w 14"/>
                  <a:gd name="T47" fmla="*/ 33 h 52"/>
                  <a:gd name="T48" fmla="*/ 10 w 14"/>
                  <a:gd name="T49" fmla="*/ 32 h 52"/>
                  <a:gd name="T50" fmla="*/ 9 w 14"/>
                  <a:gd name="T51" fmla="*/ 31 h 52"/>
                  <a:gd name="T52" fmla="*/ 12 w 14"/>
                  <a:gd name="T53" fmla="*/ 26 h 52"/>
                  <a:gd name="T54" fmla="*/ 11 w 14"/>
                  <a:gd name="T55" fmla="*/ 21 h 52"/>
                  <a:gd name="T56" fmla="*/ 10 w 14"/>
                  <a:gd name="T57" fmla="*/ 17 h 52"/>
                  <a:gd name="T58" fmla="*/ 10 w 14"/>
                  <a:gd name="T59" fmla="*/ 17 h 52"/>
                  <a:gd name="T60" fmla="*/ 11 w 14"/>
                  <a:gd name="T61" fmla="*/ 13 h 52"/>
                  <a:gd name="T62" fmla="*/ 14 w 14"/>
                  <a:gd name="T63" fmla="*/ 11 h 52"/>
                  <a:gd name="T64" fmla="*/ 14 w 14"/>
                  <a:gd name="T65" fmla="*/ 9 h 52"/>
                  <a:gd name="T66" fmla="*/ 13 w 14"/>
                  <a:gd name="T67" fmla="*/ 7 h 52"/>
                  <a:gd name="T68" fmla="*/ 12 w 14"/>
                  <a:gd name="T69" fmla="*/ 5 h 52"/>
                  <a:gd name="T70" fmla="*/ 12 w 14"/>
                  <a:gd name="T71" fmla="*/ 6 h 52"/>
                  <a:gd name="T72" fmla="*/ 13 w 14"/>
                  <a:gd name="T73" fmla="*/ 5 h 52"/>
                  <a:gd name="T74" fmla="*/ 14 w 14"/>
                  <a:gd name="T75" fmla="*/ 4 h 52"/>
                  <a:gd name="T76" fmla="*/ 14 w 14"/>
                  <a:gd name="T77" fmla="*/ 4 h 52"/>
                  <a:gd name="T78" fmla="*/ 14 w 14"/>
                  <a:gd name="T79" fmla="*/ 0 h 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 h="52">
                    <a:moveTo>
                      <a:pt x="14" y="4"/>
                    </a:moveTo>
                    <a:cubicBezTo>
                      <a:pt x="14" y="4"/>
                      <a:pt x="14" y="4"/>
                      <a:pt x="14" y="4"/>
                    </a:cubicBezTo>
                    <a:cubicBezTo>
                      <a:pt x="14" y="4"/>
                      <a:pt x="14" y="4"/>
                      <a:pt x="14" y="4"/>
                    </a:cubicBezTo>
                    <a:moveTo>
                      <a:pt x="14" y="0"/>
                    </a:moveTo>
                    <a:cubicBezTo>
                      <a:pt x="12" y="4"/>
                      <a:pt x="10" y="9"/>
                      <a:pt x="9" y="14"/>
                    </a:cubicBezTo>
                    <a:cubicBezTo>
                      <a:pt x="9" y="15"/>
                      <a:pt x="8" y="16"/>
                      <a:pt x="8" y="17"/>
                    </a:cubicBezTo>
                    <a:cubicBezTo>
                      <a:pt x="8" y="17"/>
                      <a:pt x="9" y="17"/>
                      <a:pt x="9" y="17"/>
                    </a:cubicBezTo>
                    <a:cubicBezTo>
                      <a:pt x="8" y="18"/>
                      <a:pt x="7" y="22"/>
                      <a:pt x="7" y="25"/>
                    </a:cubicBezTo>
                    <a:cubicBezTo>
                      <a:pt x="7" y="28"/>
                      <a:pt x="7" y="30"/>
                      <a:pt x="7" y="32"/>
                    </a:cubicBezTo>
                    <a:cubicBezTo>
                      <a:pt x="8" y="32"/>
                      <a:pt x="8" y="32"/>
                      <a:pt x="8" y="32"/>
                    </a:cubicBezTo>
                    <a:cubicBezTo>
                      <a:pt x="7" y="32"/>
                      <a:pt x="7" y="34"/>
                      <a:pt x="7" y="35"/>
                    </a:cubicBezTo>
                    <a:cubicBezTo>
                      <a:pt x="6" y="35"/>
                      <a:pt x="6" y="35"/>
                      <a:pt x="6" y="35"/>
                    </a:cubicBezTo>
                    <a:cubicBezTo>
                      <a:pt x="6" y="35"/>
                      <a:pt x="6" y="34"/>
                      <a:pt x="5" y="34"/>
                    </a:cubicBezTo>
                    <a:cubicBezTo>
                      <a:pt x="4" y="34"/>
                      <a:pt x="4" y="35"/>
                      <a:pt x="4" y="36"/>
                    </a:cubicBezTo>
                    <a:cubicBezTo>
                      <a:pt x="4" y="37"/>
                      <a:pt x="4" y="38"/>
                      <a:pt x="3" y="38"/>
                    </a:cubicBezTo>
                    <a:cubicBezTo>
                      <a:pt x="3" y="40"/>
                      <a:pt x="3" y="41"/>
                      <a:pt x="3" y="42"/>
                    </a:cubicBezTo>
                    <a:cubicBezTo>
                      <a:pt x="3" y="42"/>
                      <a:pt x="2" y="41"/>
                      <a:pt x="2" y="41"/>
                    </a:cubicBezTo>
                    <a:cubicBezTo>
                      <a:pt x="2" y="41"/>
                      <a:pt x="1" y="42"/>
                      <a:pt x="1" y="42"/>
                    </a:cubicBezTo>
                    <a:cubicBezTo>
                      <a:pt x="0" y="45"/>
                      <a:pt x="3" y="46"/>
                      <a:pt x="3" y="47"/>
                    </a:cubicBezTo>
                    <a:cubicBezTo>
                      <a:pt x="3" y="47"/>
                      <a:pt x="3" y="48"/>
                      <a:pt x="3" y="48"/>
                    </a:cubicBezTo>
                    <a:cubicBezTo>
                      <a:pt x="4" y="50"/>
                      <a:pt x="4" y="51"/>
                      <a:pt x="6" y="52"/>
                    </a:cubicBezTo>
                    <a:cubicBezTo>
                      <a:pt x="6" y="50"/>
                      <a:pt x="6" y="48"/>
                      <a:pt x="6" y="45"/>
                    </a:cubicBezTo>
                    <a:cubicBezTo>
                      <a:pt x="6" y="43"/>
                      <a:pt x="6" y="40"/>
                      <a:pt x="7" y="37"/>
                    </a:cubicBezTo>
                    <a:cubicBezTo>
                      <a:pt x="7" y="36"/>
                      <a:pt x="8" y="34"/>
                      <a:pt x="9" y="33"/>
                    </a:cubicBezTo>
                    <a:cubicBezTo>
                      <a:pt x="9" y="32"/>
                      <a:pt x="9" y="32"/>
                      <a:pt x="10" y="32"/>
                    </a:cubicBezTo>
                    <a:cubicBezTo>
                      <a:pt x="9" y="31"/>
                      <a:pt x="9" y="31"/>
                      <a:pt x="9" y="31"/>
                    </a:cubicBezTo>
                    <a:cubicBezTo>
                      <a:pt x="11" y="31"/>
                      <a:pt x="12" y="28"/>
                      <a:pt x="12" y="26"/>
                    </a:cubicBezTo>
                    <a:cubicBezTo>
                      <a:pt x="12" y="25"/>
                      <a:pt x="12" y="23"/>
                      <a:pt x="11" y="21"/>
                    </a:cubicBezTo>
                    <a:cubicBezTo>
                      <a:pt x="11" y="19"/>
                      <a:pt x="10" y="18"/>
                      <a:pt x="10" y="17"/>
                    </a:cubicBezTo>
                    <a:cubicBezTo>
                      <a:pt x="10" y="17"/>
                      <a:pt x="10" y="17"/>
                      <a:pt x="10" y="17"/>
                    </a:cubicBezTo>
                    <a:cubicBezTo>
                      <a:pt x="11" y="16"/>
                      <a:pt x="10" y="14"/>
                      <a:pt x="11" y="13"/>
                    </a:cubicBezTo>
                    <a:cubicBezTo>
                      <a:pt x="12" y="12"/>
                      <a:pt x="13" y="12"/>
                      <a:pt x="14" y="11"/>
                    </a:cubicBezTo>
                    <a:cubicBezTo>
                      <a:pt x="14" y="10"/>
                      <a:pt x="14" y="9"/>
                      <a:pt x="14" y="9"/>
                    </a:cubicBezTo>
                    <a:cubicBezTo>
                      <a:pt x="14" y="8"/>
                      <a:pt x="14" y="7"/>
                      <a:pt x="13" y="7"/>
                    </a:cubicBezTo>
                    <a:cubicBezTo>
                      <a:pt x="13" y="6"/>
                      <a:pt x="12" y="7"/>
                      <a:pt x="12" y="5"/>
                    </a:cubicBezTo>
                    <a:cubicBezTo>
                      <a:pt x="12" y="5"/>
                      <a:pt x="12" y="6"/>
                      <a:pt x="12" y="6"/>
                    </a:cubicBezTo>
                    <a:cubicBezTo>
                      <a:pt x="13" y="6"/>
                      <a:pt x="13" y="5"/>
                      <a:pt x="13" y="5"/>
                    </a:cubicBezTo>
                    <a:cubicBezTo>
                      <a:pt x="14" y="4"/>
                      <a:pt x="14" y="4"/>
                      <a:pt x="14" y="4"/>
                    </a:cubicBezTo>
                    <a:cubicBezTo>
                      <a:pt x="14" y="4"/>
                      <a:pt x="14" y="4"/>
                      <a:pt x="14" y="4"/>
                    </a:cubicBezTo>
                    <a:cubicBezTo>
                      <a:pt x="14" y="3"/>
                      <a:pt x="14"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398"/>
              <p:cNvSpPr/>
              <p:nvPr/>
            </p:nvSpPr>
            <p:spPr bwMode="auto">
              <a:xfrm>
                <a:off x="3628" y="3663"/>
                <a:ext cx="7" cy="9"/>
              </a:xfrm>
              <a:custGeom>
                <a:gdLst>
                  <a:gd name="T0" fmla="*/ 1 w 3"/>
                  <a:gd name="T1" fmla="*/ 0 h 4"/>
                  <a:gd name="T2" fmla="*/ 0 w 3"/>
                  <a:gd name="T3" fmla="*/ 4 h 4"/>
                  <a:gd name="T4" fmla="*/ 1 w 3"/>
                  <a:gd name="T5" fmla="*/ 0 h 4"/>
                </a:gdLst>
                <a:cxnLst>
                  <a:cxn ang="0">
                    <a:pos x="T0" y="T1"/>
                  </a:cxn>
                  <a:cxn ang="0">
                    <a:pos x="T2" y="T3"/>
                  </a:cxn>
                  <a:cxn ang="0">
                    <a:pos x="T4" y="T5"/>
                  </a:cxn>
                </a:cxnLst>
                <a:rect l="0" t="0" r="r" b="b"/>
                <a:pathLst>
                  <a:path w="3" h="4">
                    <a:moveTo>
                      <a:pt x="1" y="0"/>
                    </a:moveTo>
                    <a:cubicBezTo>
                      <a:pt x="1" y="2"/>
                      <a:pt x="1" y="3"/>
                      <a:pt x="0" y="4"/>
                    </a:cubicBezTo>
                    <a:cubicBezTo>
                      <a:pt x="2" y="3"/>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399"/>
              <p:cNvSpPr/>
              <p:nvPr/>
            </p:nvSpPr>
            <p:spPr bwMode="auto">
              <a:xfrm>
                <a:off x="3633" y="3798"/>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0"/>
                      <a:pt x="0" y="1"/>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Freeform 400"/>
              <p:cNvSpPr/>
              <p:nvPr/>
            </p:nvSpPr>
            <p:spPr bwMode="auto">
              <a:xfrm>
                <a:off x="3687" y="3916"/>
                <a:ext cx="15" cy="28"/>
              </a:xfrm>
              <a:custGeom>
                <a:gdLst>
                  <a:gd name="T0" fmla="*/ 4 w 6"/>
                  <a:gd name="T1" fmla="*/ 0 h 12"/>
                  <a:gd name="T2" fmla="*/ 1 w 6"/>
                  <a:gd name="T3" fmla="*/ 5 h 12"/>
                  <a:gd name="T4" fmla="*/ 2 w 6"/>
                  <a:gd name="T5" fmla="*/ 7 h 12"/>
                  <a:gd name="T6" fmla="*/ 4 w 6"/>
                  <a:gd name="T7" fmla="*/ 9 h 12"/>
                  <a:gd name="T8" fmla="*/ 5 w 6"/>
                  <a:gd name="T9" fmla="*/ 12 h 12"/>
                  <a:gd name="T10" fmla="*/ 6 w 6"/>
                  <a:gd name="T11" fmla="*/ 3 h 12"/>
                  <a:gd name="T12" fmla="*/ 6 w 6"/>
                  <a:gd name="T13" fmla="*/ 1 h 12"/>
                  <a:gd name="T14" fmla="*/ 4 w 6"/>
                  <a:gd name="T15" fmla="*/ 0 h 1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4" y="0"/>
                    </a:moveTo>
                    <a:cubicBezTo>
                      <a:pt x="2" y="0"/>
                      <a:pt x="0" y="2"/>
                      <a:pt x="1" y="5"/>
                    </a:cubicBezTo>
                    <a:cubicBezTo>
                      <a:pt x="1" y="5"/>
                      <a:pt x="1" y="6"/>
                      <a:pt x="2" y="7"/>
                    </a:cubicBezTo>
                    <a:cubicBezTo>
                      <a:pt x="3" y="7"/>
                      <a:pt x="3" y="8"/>
                      <a:pt x="4" y="9"/>
                    </a:cubicBezTo>
                    <a:cubicBezTo>
                      <a:pt x="4" y="10"/>
                      <a:pt x="4" y="11"/>
                      <a:pt x="5" y="12"/>
                    </a:cubicBezTo>
                    <a:cubicBezTo>
                      <a:pt x="5" y="9"/>
                      <a:pt x="6" y="6"/>
                      <a:pt x="6" y="3"/>
                    </a:cubicBezTo>
                    <a:cubicBezTo>
                      <a:pt x="6" y="2"/>
                      <a:pt x="6" y="2"/>
                      <a:pt x="6" y="1"/>
                    </a:cubicBezTo>
                    <a:cubicBezTo>
                      <a:pt x="5"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401"/>
              <p:cNvSpPr/>
              <p:nvPr/>
            </p:nvSpPr>
            <p:spPr bwMode="auto">
              <a:xfrm>
                <a:off x="2454" y="4760"/>
                <a:ext cx="5" cy="9"/>
              </a:xfrm>
              <a:custGeom>
                <a:gdLst>
                  <a:gd name="T0" fmla="*/ 1 w 2"/>
                  <a:gd name="T1" fmla="*/ 0 h 4"/>
                  <a:gd name="T2" fmla="*/ 0 w 2"/>
                  <a:gd name="T3" fmla="*/ 4 h 4"/>
                  <a:gd name="T4" fmla="*/ 1 w 2"/>
                  <a:gd name="T5" fmla="*/ 0 h 4"/>
                </a:gdLst>
                <a:cxnLst>
                  <a:cxn ang="0">
                    <a:pos x="T0" y="T1"/>
                  </a:cxn>
                  <a:cxn ang="0">
                    <a:pos x="T2" y="T3"/>
                  </a:cxn>
                  <a:cxn ang="0">
                    <a:pos x="T4" y="T5"/>
                  </a:cxn>
                </a:cxnLst>
                <a:rect l="0" t="0" r="r" b="b"/>
                <a:pathLst>
                  <a:path w="2" h="4">
                    <a:moveTo>
                      <a:pt x="1" y="0"/>
                    </a:moveTo>
                    <a:cubicBezTo>
                      <a:pt x="0" y="1"/>
                      <a:pt x="0" y="3"/>
                      <a:pt x="0" y="4"/>
                    </a:cubicBezTo>
                    <a:cubicBezTo>
                      <a:pt x="1"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Freeform 402"/>
              <p:cNvSpPr/>
              <p:nvPr/>
            </p:nvSpPr>
            <p:spPr bwMode="auto">
              <a:xfrm>
                <a:off x="5954" y="5020"/>
                <a:ext cx="4" cy="2"/>
              </a:xfrm>
              <a:custGeom>
                <a:gdLst>
                  <a:gd name="T0" fmla="*/ 2 w 2"/>
                  <a:gd name="T1" fmla="*/ 0 h 1"/>
                  <a:gd name="T2" fmla="*/ 1 w 2"/>
                  <a:gd name="T3" fmla="*/ 0 h 1"/>
                  <a:gd name="T4" fmla="*/ 0 w 2"/>
                  <a:gd name="T5" fmla="*/ 1 h 1"/>
                  <a:gd name="T6" fmla="*/ 0 w 2"/>
                  <a:gd name="T7" fmla="*/ 1 h 1"/>
                  <a:gd name="T8" fmla="*/ 2 w 2"/>
                  <a:gd name="T9" fmla="*/ 0 h 1"/>
                </a:gdLst>
                <a:cxnLst>
                  <a:cxn ang="0">
                    <a:pos x="T0" y="T1"/>
                  </a:cxn>
                  <a:cxn ang="0">
                    <a:pos x="T2" y="T3"/>
                  </a:cxn>
                  <a:cxn ang="0">
                    <a:pos x="T4" y="T5"/>
                  </a:cxn>
                  <a:cxn ang="0">
                    <a:pos x="T6" y="T7"/>
                  </a:cxn>
                  <a:cxn ang="0">
                    <a:pos x="T8" y="T9"/>
                  </a:cxn>
                </a:cxnLst>
                <a:rect l="0" t="0" r="r" b="b"/>
                <a:pathLst>
                  <a:path w="2" h="1">
                    <a:moveTo>
                      <a:pt x="2" y="0"/>
                    </a:moveTo>
                    <a:cubicBezTo>
                      <a:pt x="1" y="0"/>
                      <a:pt x="1" y="0"/>
                      <a:pt x="1" y="0"/>
                    </a:cubicBezTo>
                    <a:cubicBezTo>
                      <a:pt x="0" y="0"/>
                      <a:pt x="0" y="1"/>
                      <a:pt x="0" y="1"/>
                    </a:cubicBezTo>
                    <a:cubicBezTo>
                      <a:pt x="0" y="1"/>
                      <a:pt x="0" y="1"/>
                      <a:pt x="0" y="1"/>
                    </a:cubicBezTo>
                    <a:cubicBezTo>
                      <a:pt x="0"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403"/>
              <p:cNvSpPr/>
              <p:nvPr/>
            </p:nvSpPr>
            <p:spPr bwMode="auto">
              <a:xfrm>
                <a:off x="1733" y="1452"/>
                <a:ext cx="26" cy="12"/>
              </a:xfrm>
              <a:custGeom>
                <a:gdLst>
                  <a:gd name="T0" fmla="*/ 8 w 11"/>
                  <a:gd name="T1" fmla="*/ 0 h 5"/>
                  <a:gd name="T2" fmla="*/ 0 w 11"/>
                  <a:gd name="T3" fmla="*/ 2 h 5"/>
                  <a:gd name="T4" fmla="*/ 5 w 11"/>
                  <a:gd name="T5" fmla="*/ 4 h 5"/>
                  <a:gd name="T6" fmla="*/ 7 w 11"/>
                  <a:gd name="T7" fmla="*/ 5 h 5"/>
                  <a:gd name="T8" fmla="*/ 11 w 11"/>
                  <a:gd name="T9" fmla="*/ 2 h 5"/>
                  <a:gd name="T10" fmla="*/ 8 w 11"/>
                  <a:gd name="T11" fmla="*/ 0 h 5"/>
                </a:gdLst>
                <a:cxnLst>
                  <a:cxn ang="0">
                    <a:pos x="T0" y="T1"/>
                  </a:cxn>
                  <a:cxn ang="0">
                    <a:pos x="T2" y="T3"/>
                  </a:cxn>
                  <a:cxn ang="0">
                    <a:pos x="T4" y="T5"/>
                  </a:cxn>
                  <a:cxn ang="0">
                    <a:pos x="T6" y="T7"/>
                  </a:cxn>
                  <a:cxn ang="0">
                    <a:pos x="T8" y="T9"/>
                  </a:cxn>
                  <a:cxn ang="0">
                    <a:pos x="T10" y="T11"/>
                  </a:cxn>
                </a:cxnLst>
                <a:rect l="0" t="0" r="r" b="b"/>
                <a:pathLst>
                  <a:path w="11" h="5">
                    <a:moveTo>
                      <a:pt x="8" y="0"/>
                    </a:moveTo>
                    <a:cubicBezTo>
                      <a:pt x="5" y="0"/>
                      <a:pt x="0" y="1"/>
                      <a:pt x="0" y="2"/>
                    </a:cubicBezTo>
                    <a:cubicBezTo>
                      <a:pt x="0" y="4"/>
                      <a:pt x="4" y="3"/>
                      <a:pt x="5" y="4"/>
                    </a:cubicBezTo>
                    <a:cubicBezTo>
                      <a:pt x="6" y="5"/>
                      <a:pt x="7" y="5"/>
                      <a:pt x="7" y="5"/>
                    </a:cubicBezTo>
                    <a:cubicBezTo>
                      <a:pt x="9" y="5"/>
                      <a:pt x="10" y="3"/>
                      <a:pt x="11" y="2"/>
                    </a:cubicBezTo>
                    <a:cubicBezTo>
                      <a:pt x="11"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5" name="Freeform 404"/>
              <p:cNvSpPr/>
              <p:nvPr/>
            </p:nvSpPr>
            <p:spPr bwMode="auto">
              <a:xfrm>
                <a:off x="5337" y="2528"/>
                <a:ext cx="23" cy="14"/>
              </a:xfrm>
              <a:custGeom>
                <a:gdLst>
                  <a:gd name="T0" fmla="*/ 0 w 10"/>
                  <a:gd name="T1" fmla="*/ 0 h 6"/>
                  <a:gd name="T2" fmla="*/ 8 w 10"/>
                  <a:gd name="T3" fmla="*/ 6 h 6"/>
                  <a:gd name="T4" fmla="*/ 0 w 10"/>
                  <a:gd name="T5" fmla="*/ 0 h 6"/>
                </a:gdLst>
                <a:cxnLst>
                  <a:cxn ang="0">
                    <a:pos x="T0" y="T1"/>
                  </a:cxn>
                  <a:cxn ang="0">
                    <a:pos x="T2" y="T3"/>
                  </a:cxn>
                  <a:cxn ang="0">
                    <a:pos x="T4" y="T5"/>
                  </a:cxn>
                </a:cxnLst>
                <a:rect l="0" t="0" r="r" b="b"/>
                <a:pathLst>
                  <a:path w="10" h="6">
                    <a:moveTo>
                      <a:pt x="0" y="0"/>
                    </a:moveTo>
                    <a:cubicBezTo>
                      <a:pt x="2" y="2"/>
                      <a:pt x="5" y="4"/>
                      <a:pt x="8" y="6"/>
                    </a:cubicBezTo>
                    <a:cubicBezTo>
                      <a:pt x="10"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405"/>
              <p:cNvSpPr/>
              <p:nvPr/>
            </p:nvSpPr>
            <p:spPr bwMode="auto">
              <a:xfrm>
                <a:off x="5341" y="2552"/>
                <a:ext cx="5" cy="4"/>
              </a:xfrm>
              <a:custGeom>
                <a:gdLst>
                  <a:gd name="T0" fmla="*/ 1 w 2"/>
                  <a:gd name="T1" fmla="*/ 0 h 2"/>
                  <a:gd name="T2" fmla="*/ 2 w 2"/>
                  <a:gd name="T3" fmla="*/ 2 h 2"/>
                  <a:gd name="T4" fmla="*/ 1 w 2"/>
                  <a:gd name="T5" fmla="*/ 0 h 2"/>
                </a:gdLst>
                <a:cxnLst>
                  <a:cxn ang="0">
                    <a:pos x="T0" y="T1"/>
                  </a:cxn>
                  <a:cxn ang="0">
                    <a:pos x="T2" y="T3"/>
                  </a:cxn>
                  <a:cxn ang="0">
                    <a:pos x="T4" y="T5"/>
                  </a:cxn>
                </a:cxnLst>
                <a:rect l="0" t="0" r="r" b="b"/>
                <a:pathLst>
                  <a:path w="2" h="2">
                    <a:moveTo>
                      <a:pt x="1" y="0"/>
                    </a:moveTo>
                    <a:cubicBezTo>
                      <a:pt x="0" y="1"/>
                      <a:pt x="1" y="1"/>
                      <a:pt x="2"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0" name="Freeform 407"/>
            <p:cNvSpPr/>
            <p:nvPr/>
          </p:nvSpPr>
          <p:spPr bwMode="auto">
            <a:xfrm>
              <a:off x="6831383" y="5524276"/>
              <a:ext cx="18804" cy="12088"/>
            </a:xfrm>
            <a:custGeom>
              <a:gdLst>
                <a:gd name="T0" fmla="*/ 6 w 6"/>
                <a:gd name="T1" fmla="*/ 0 h 4"/>
                <a:gd name="T2" fmla="*/ 0 w 6"/>
                <a:gd name="T3" fmla="*/ 0 h 4"/>
                <a:gd name="T4" fmla="*/ 4 w 6"/>
                <a:gd name="T5" fmla="*/ 3 h 4"/>
                <a:gd name="T6" fmla="*/ 5 w 6"/>
                <a:gd name="T7" fmla="*/ 4 h 4"/>
                <a:gd name="T8" fmla="*/ 6 w 6"/>
                <a:gd name="T9" fmla="*/ 0 h 4"/>
              </a:gdLst>
              <a:cxnLst>
                <a:cxn ang="0">
                  <a:pos x="T0" y="T1"/>
                </a:cxn>
                <a:cxn ang="0">
                  <a:pos x="T2" y="T3"/>
                </a:cxn>
                <a:cxn ang="0">
                  <a:pos x="T4" y="T5"/>
                </a:cxn>
                <a:cxn ang="0">
                  <a:pos x="T6" y="T7"/>
                </a:cxn>
                <a:cxn ang="0">
                  <a:pos x="T8" y="T9"/>
                </a:cxn>
              </a:cxnLst>
              <a:rect l="0" t="0" r="r" b="b"/>
              <a:pathLst>
                <a:path w="6" h="4">
                  <a:moveTo>
                    <a:pt x="6" y="0"/>
                  </a:moveTo>
                  <a:cubicBezTo>
                    <a:pt x="4" y="0"/>
                    <a:pt x="2" y="0"/>
                    <a:pt x="0" y="0"/>
                  </a:cubicBezTo>
                  <a:cubicBezTo>
                    <a:pt x="2" y="2"/>
                    <a:pt x="3" y="3"/>
                    <a:pt x="4" y="3"/>
                  </a:cubicBezTo>
                  <a:cubicBezTo>
                    <a:pt x="4" y="3"/>
                    <a:pt x="4" y="4"/>
                    <a:pt x="5" y="4"/>
                  </a:cubicBezTo>
                  <a:cubicBezTo>
                    <a:pt x="5" y="4"/>
                    <a:pt x="6"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408"/>
            <p:cNvSpPr/>
            <p:nvPr/>
          </p:nvSpPr>
          <p:spPr bwMode="auto">
            <a:xfrm>
              <a:off x="6840785" y="5571286"/>
              <a:ext cx="6716" cy="10745"/>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0" y="1"/>
                    <a:pt x="1" y="2"/>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409"/>
            <p:cNvSpPr/>
            <p:nvPr/>
          </p:nvSpPr>
          <p:spPr bwMode="auto">
            <a:xfrm>
              <a:off x="6821982" y="5582031"/>
              <a:ext cx="6716" cy="14774"/>
            </a:xfrm>
            <a:custGeom>
              <a:gdLst>
                <a:gd name="T0" fmla="*/ 0 w 2"/>
                <a:gd name="T1" fmla="*/ 0 h 5"/>
                <a:gd name="T2" fmla="*/ 2 w 2"/>
                <a:gd name="T3" fmla="*/ 5 h 5"/>
                <a:gd name="T4" fmla="*/ 0 w 2"/>
                <a:gd name="T5" fmla="*/ 0 h 5"/>
              </a:gdLst>
              <a:cxnLst>
                <a:cxn ang="0">
                  <a:pos x="T0" y="T1"/>
                </a:cxn>
                <a:cxn ang="0">
                  <a:pos x="T2" y="T3"/>
                </a:cxn>
                <a:cxn ang="0">
                  <a:pos x="T4" y="T5"/>
                </a:cxn>
              </a:cxnLst>
              <a:rect l="0" t="0" r="r" b="b"/>
              <a:pathLst>
                <a:path w="2" h="5">
                  <a:moveTo>
                    <a:pt x="0" y="0"/>
                  </a:moveTo>
                  <a:cubicBezTo>
                    <a:pt x="0" y="3"/>
                    <a:pt x="1" y="4"/>
                    <a:pt x="2" y="5"/>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410"/>
            <p:cNvSpPr/>
            <p:nvPr/>
          </p:nvSpPr>
          <p:spPr bwMode="auto">
            <a:xfrm>
              <a:off x="6796462" y="5571286"/>
              <a:ext cx="22833" cy="10745"/>
            </a:xfrm>
            <a:custGeom>
              <a:gdLst>
                <a:gd name="T0" fmla="*/ 0 w 7"/>
                <a:gd name="T1" fmla="*/ 0 h 3"/>
                <a:gd name="T2" fmla="*/ 2 w 7"/>
                <a:gd name="T3" fmla="*/ 2 h 3"/>
                <a:gd name="T4" fmla="*/ 2 w 7"/>
                <a:gd name="T5" fmla="*/ 2 h 3"/>
                <a:gd name="T6" fmla="*/ 3 w 7"/>
                <a:gd name="T7" fmla="*/ 2 h 3"/>
                <a:gd name="T8" fmla="*/ 6 w 7"/>
                <a:gd name="T9" fmla="*/ 3 h 3"/>
                <a:gd name="T10" fmla="*/ 6 w 7"/>
                <a:gd name="T11" fmla="*/ 3 h 3"/>
                <a:gd name="T12" fmla="*/ 7 w 7"/>
                <a:gd name="T13" fmla="*/ 3 h 3"/>
                <a:gd name="T14" fmla="*/ 0 w 7"/>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0" y="0"/>
                  </a:moveTo>
                  <a:cubicBezTo>
                    <a:pt x="1" y="1"/>
                    <a:pt x="1" y="1"/>
                    <a:pt x="2" y="2"/>
                  </a:cubicBezTo>
                  <a:cubicBezTo>
                    <a:pt x="2" y="2"/>
                    <a:pt x="2" y="2"/>
                    <a:pt x="2" y="2"/>
                  </a:cubicBezTo>
                  <a:cubicBezTo>
                    <a:pt x="3" y="2"/>
                    <a:pt x="3" y="2"/>
                    <a:pt x="3" y="2"/>
                  </a:cubicBezTo>
                  <a:cubicBezTo>
                    <a:pt x="4" y="2"/>
                    <a:pt x="5" y="3"/>
                    <a:pt x="6" y="3"/>
                  </a:cubicBezTo>
                  <a:cubicBezTo>
                    <a:pt x="6" y="3"/>
                    <a:pt x="6" y="3"/>
                    <a:pt x="6" y="3"/>
                  </a:cubicBezTo>
                  <a:cubicBezTo>
                    <a:pt x="7" y="3"/>
                    <a:pt x="7" y="3"/>
                    <a:pt x="7" y="3"/>
                  </a:cubicBezTo>
                  <a:cubicBezTo>
                    <a:pt x="5"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411"/>
            <p:cNvSpPr>
              <a:spLocks noEditPoints="1"/>
            </p:cNvSpPr>
            <p:nvPr/>
          </p:nvSpPr>
          <p:spPr bwMode="auto">
            <a:xfrm>
              <a:off x="6549327" y="4064298"/>
              <a:ext cx="25519" cy="18804"/>
            </a:xfrm>
            <a:custGeom>
              <a:gdLst>
                <a:gd name="T0" fmla="*/ 6 w 8"/>
                <a:gd name="T1" fmla="*/ 6 h 6"/>
                <a:gd name="T2" fmla="*/ 6 w 8"/>
                <a:gd name="T3" fmla="*/ 6 h 6"/>
                <a:gd name="T4" fmla="*/ 6 w 8"/>
                <a:gd name="T5" fmla="*/ 6 h 6"/>
                <a:gd name="T6" fmla="*/ 7 w 8"/>
                <a:gd name="T7" fmla="*/ 4 h 6"/>
                <a:gd name="T8" fmla="*/ 7 w 8"/>
                <a:gd name="T9" fmla="*/ 4 h 6"/>
                <a:gd name="T10" fmla="*/ 7 w 8"/>
                <a:gd name="T11" fmla="*/ 4 h 6"/>
                <a:gd name="T12" fmla="*/ 3 w 8"/>
                <a:gd name="T13" fmla="*/ 0 h 6"/>
                <a:gd name="T14" fmla="*/ 0 w 8"/>
                <a:gd name="T15" fmla="*/ 4 h 6"/>
                <a:gd name="T16" fmla="*/ 5 w 8"/>
                <a:gd name="T17" fmla="*/ 6 h 6"/>
                <a:gd name="T18" fmla="*/ 6 w 8"/>
                <a:gd name="T19" fmla="*/ 6 h 6"/>
                <a:gd name="T20" fmla="*/ 6 w 8"/>
                <a:gd name="T21" fmla="*/ 6 h 6"/>
                <a:gd name="T22" fmla="*/ 6 w 8"/>
                <a:gd name="T23" fmla="*/ 5 h 6"/>
                <a:gd name="T24" fmla="*/ 7 w 8"/>
                <a:gd name="T25" fmla="*/ 4 h 6"/>
                <a:gd name="T26" fmla="*/ 7 w 8"/>
                <a:gd name="T27" fmla="*/ 4 h 6"/>
                <a:gd name="T28" fmla="*/ 8 w 8"/>
                <a:gd name="T29" fmla="*/ 2 h 6"/>
                <a:gd name="T30" fmla="*/ 7 w 8"/>
                <a:gd name="T31" fmla="*/ 1 h 6"/>
                <a:gd name="T32" fmla="*/ 6 w 8"/>
                <a:gd name="T33" fmla="*/ 1 h 6"/>
                <a:gd name="T34" fmla="*/ 6 w 8"/>
                <a:gd name="T35" fmla="*/ 1 h 6"/>
                <a:gd name="T36" fmla="*/ 5 w 8"/>
                <a:gd name="T37" fmla="*/ 1 h 6"/>
                <a:gd name="T38" fmla="*/ 5 w 8"/>
                <a:gd name="T39" fmla="*/ 1 h 6"/>
                <a:gd name="T40" fmla="*/ 5 w 8"/>
                <a:gd name="T41" fmla="*/ 1 h 6"/>
                <a:gd name="T42" fmla="*/ 4 w 8"/>
                <a:gd name="T43" fmla="*/ 1 h 6"/>
                <a:gd name="T44" fmla="*/ 3 w 8"/>
                <a:gd name="T45"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6">
                  <a:moveTo>
                    <a:pt x="6" y="6"/>
                  </a:moveTo>
                  <a:cubicBezTo>
                    <a:pt x="6" y="6"/>
                    <a:pt x="6" y="6"/>
                    <a:pt x="6" y="6"/>
                  </a:cubicBezTo>
                  <a:cubicBezTo>
                    <a:pt x="6" y="6"/>
                    <a:pt x="6" y="6"/>
                    <a:pt x="6" y="6"/>
                  </a:cubicBezTo>
                  <a:moveTo>
                    <a:pt x="7" y="4"/>
                  </a:moveTo>
                  <a:cubicBezTo>
                    <a:pt x="7" y="4"/>
                    <a:pt x="7" y="4"/>
                    <a:pt x="7" y="4"/>
                  </a:cubicBezTo>
                  <a:cubicBezTo>
                    <a:pt x="7" y="4"/>
                    <a:pt x="7" y="4"/>
                    <a:pt x="7" y="4"/>
                  </a:cubicBezTo>
                  <a:moveTo>
                    <a:pt x="3" y="0"/>
                  </a:moveTo>
                  <a:cubicBezTo>
                    <a:pt x="1" y="0"/>
                    <a:pt x="0" y="2"/>
                    <a:pt x="0" y="4"/>
                  </a:cubicBezTo>
                  <a:cubicBezTo>
                    <a:pt x="1" y="4"/>
                    <a:pt x="4" y="6"/>
                    <a:pt x="5" y="6"/>
                  </a:cubicBezTo>
                  <a:cubicBezTo>
                    <a:pt x="5" y="6"/>
                    <a:pt x="6" y="6"/>
                    <a:pt x="6" y="6"/>
                  </a:cubicBezTo>
                  <a:cubicBezTo>
                    <a:pt x="6" y="6"/>
                    <a:pt x="6" y="6"/>
                    <a:pt x="6" y="6"/>
                  </a:cubicBezTo>
                  <a:cubicBezTo>
                    <a:pt x="6" y="6"/>
                    <a:pt x="6" y="5"/>
                    <a:pt x="6" y="5"/>
                  </a:cubicBezTo>
                  <a:cubicBezTo>
                    <a:pt x="7" y="4"/>
                    <a:pt x="7" y="4"/>
                    <a:pt x="7" y="4"/>
                  </a:cubicBezTo>
                  <a:cubicBezTo>
                    <a:pt x="7" y="4"/>
                    <a:pt x="7" y="4"/>
                    <a:pt x="7" y="4"/>
                  </a:cubicBezTo>
                  <a:cubicBezTo>
                    <a:pt x="8" y="3"/>
                    <a:pt x="8" y="3"/>
                    <a:pt x="8" y="2"/>
                  </a:cubicBezTo>
                  <a:cubicBezTo>
                    <a:pt x="8" y="1"/>
                    <a:pt x="8" y="1"/>
                    <a:pt x="7" y="1"/>
                  </a:cubicBezTo>
                  <a:cubicBezTo>
                    <a:pt x="7" y="1"/>
                    <a:pt x="7" y="1"/>
                    <a:pt x="6" y="1"/>
                  </a:cubicBezTo>
                  <a:cubicBezTo>
                    <a:pt x="6" y="1"/>
                    <a:pt x="6" y="1"/>
                    <a:pt x="6" y="1"/>
                  </a:cubicBezTo>
                  <a:cubicBezTo>
                    <a:pt x="6" y="1"/>
                    <a:pt x="5" y="1"/>
                    <a:pt x="5" y="1"/>
                  </a:cubicBezTo>
                  <a:cubicBezTo>
                    <a:pt x="5" y="1"/>
                    <a:pt x="5" y="1"/>
                    <a:pt x="5" y="1"/>
                  </a:cubicBezTo>
                  <a:cubicBezTo>
                    <a:pt x="5" y="1"/>
                    <a:pt x="5" y="1"/>
                    <a:pt x="5" y="1"/>
                  </a:cubicBezTo>
                  <a:cubicBezTo>
                    <a:pt x="4" y="1"/>
                    <a:pt x="4" y="1"/>
                    <a:pt x="4" y="1"/>
                  </a:cubicBezTo>
                  <a:cubicBezTo>
                    <a:pt x="3"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412"/>
            <p:cNvSpPr/>
            <p:nvPr/>
          </p:nvSpPr>
          <p:spPr bwMode="auto">
            <a:xfrm flipH="1">
              <a:off x="233950" y="3555254"/>
              <a:ext cx="0" cy="4029"/>
            </a:xfrm>
            <a:custGeom>
              <a:gdLst>
                <a:gd name="T0" fmla="*/ 0 h 3"/>
                <a:gd name="T1" fmla="*/ 3 h 3"/>
                <a:gd name="T2" fmla="*/ 0 h 3"/>
                <a:gd name="T3" fmla="*/ 0 h 3"/>
              </a:gdLst>
              <a:cxnLst>
                <a:cxn ang="0">
                  <a:pos x="0" y="T0"/>
                </a:cxn>
                <a:cxn ang="0">
                  <a:pos x="0" y="T1"/>
                </a:cxn>
                <a:cxn ang="0">
                  <a:pos x="0" y="T2"/>
                </a:cxn>
                <a:cxn ang="0">
                  <a:pos x="0" y="T3"/>
                </a:cxn>
              </a:cxnLst>
              <a:rect l="0" t="0" r="r" b="b"/>
              <a:pathLst>
                <a:path h="3">
                  <a:moveTo>
                    <a:pt x="0" y="0"/>
                  </a:moveTo>
                  <a:lnTo>
                    <a:pt x="0"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413"/>
            <p:cNvSpPr/>
            <p:nvPr/>
          </p:nvSpPr>
          <p:spPr bwMode="auto">
            <a:xfrm flipH="1">
              <a:off x="233950" y="3555254"/>
              <a:ext cx="0" cy="4029"/>
            </a:xfrm>
            <a:custGeom>
              <a:gdLst>
                <a:gd name="T0" fmla="*/ 0 h 3"/>
                <a:gd name="T1" fmla="*/ 3 h 3"/>
                <a:gd name="T2" fmla="*/ 0 h 3"/>
                <a:gd name="T3" fmla="*/ 0 h 3"/>
              </a:gdLst>
              <a:cxnLst>
                <a:cxn ang="0">
                  <a:pos x="0" y="T0"/>
                </a:cxn>
                <a:cxn ang="0">
                  <a:pos x="0" y="T1"/>
                </a:cxn>
                <a:cxn ang="0">
                  <a:pos x="0" y="T2"/>
                </a:cxn>
                <a:cxn ang="0">
                  <a:pos x="0" y="T3"/>
                </a:cxn>
              </a:cxnLst>
              <a:rect l="0" t="0" r="r" b="b"/>
              <a:pathLst>
                <a:path h="3">
                  <a:moveTo>
                    <a:pt x="0" y="0"/>
                  </a:moveTo>
                  <a:lnTo>
                    <a:pt x="0" y="3"/>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414"/>
            <p:cNvSpPr/>
            <p:nvPr/>
          </p:nvSpPr>
          <p:spPr bwMode="auto">
            <a:xfrm>
              <a:off x="1624085" y="6609522"/>
              <a:ext cx="12088" cy="4029"/>
            </a:xfrm>
            <a:custGeom>
              <a:gdLst>
                <a:gd name="T0" fmla="*/ 3 w 4"/>
                <a:gd name="T1" fmla="*/ 0 h 1"/>
                <a:gd name="T2" fmla="*/ 0 w 4"/>
                <a:gd name="T3" fmla="*/ 1 h 1"/>
                <a:gd name="T4" fmla="*/ 0 w 4"/>
                <a:gd name="T5" fmla="*/ 1 h 1"/>
                <a:gd name="T6" fmla="*/ 4 w 4"/>
                <a:gd name="T7" fmla="*/ 0 h 1"/>
                <a:gd name="T8" fmla="*/ 3 w 4"/>
                <a:gd name="T9" fmla="*/ 0 h 1"/>
              </a:gdLst>
              <a:cxnLst>
                <a:cxn ang="0">
                  <a:pos x="T0" y="T1"/>
                </a:cxn>
                <a:cxn ang="0">
                  <a:pos x="T2" y="T3"/>
                </a:cxn>
                <a:cxn ang="0">
                  <a:pos x="T4" y="T5"/>
                </a:cxn>
                <a:cxn ang="0">
                  <a:pos x="T6" y="T7"/>
                </a:cxn>
                <a:cxn ang="0">
                  <a:pos x="T8" y="T9"/>
                </a:cxn>
              </a:cxnLst>
              <a:rect l="0" t="0" r="r" b="b"/>
              <a:pathLst>
                <a:path w="4" h="1">
                  <a:moveTo>
                    <a:pt x="3" y="0"/>
                  </a:moveTo>
                  <a:cubicBezTo>
                    <a:pt x="2" y="0"/>
                    <a:pt x="1" y="1"/>
                    <a:pt x="0" y="1"/>
                  </a:cubicBezTo>
                  <a:cubicBezTo>
                    <a:pt x="0" y="1"/>
                    <a:pt x="0" y="1"/>
                    <a:pt x="0" y="1"/>
                  </a:cubicBezTo>
                  <a:cubicBezTo>
                    <a:pt x="1" y="1"/>
                    <a:pt x="3"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15"/>
            <p:cNvSpPr/>
            <p:nvPr/>
          </p:nvSpPr>
          <p:spPr bwMode="auto">
            <a:xfrm>
              <a:off x="734936" y="6451033"/>
              <a:ext cx="18804" cy="25519"/>
            </a:xfrm>
            <a:custGeom>
              <a:gdLst>
                <a:gd name="T0" fmla="*/ 6 w 6"/>
                <a:gd name="T1" fmla="*/ 0 h 8"/>
                <a:gd name="T2" fmla="*/ 0 w 6"/>
                <a:gd name="T3" fmla="*/ 8 h 8"/>
                <a:gd name="T4" fmla="*/ 6 w 6"/>
                <a:gd name="T5" fmla="*/ 0 h 8"/>
              </a:gdLst>
              <a:cxnLst>
                <a:cxn ang="0">
                  <a:pos x="T0" y="T1"/>
                </a:cxn>
                <a:cxn ang="0">
                  <a:pos x="T2" y="T3"/>
                </a:cxn>
                <a:cxn ang="0">
                  <a:pos x="T4" y="T5"/>
                </a:cxn>
              </a:cxnLst>
              <a:rect l="0" t="0" r="r" b="b"/>
              <a:pathLst>
                <a:path w="6" h="8">
                  <a:moveTo>
                    <a:pt x="6" y="0"/>
                  </a:moveTo>
                  <a:cubicBezTo>
                    <a:pt x="4" y="2"/>
                    <a:pt x="2" y="6"/>
                    <a:pt x="0" y="8"/>
                  </a:cubicBezTo>
                  <a:cubicBezTo>
                    <a:pt x="3" y="6"/>
                    <a:pt x="6"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418"/>
            <p:cNvSpPr/>
            <p:nvPr/>
          </p:nvSpPr>
          <p:spPr bwMode="auto">
            <a:xfrm>
              <a:off x="747024" y="4600206"/>
              <a:ext cx="51039" cy="25519"/>
            </a:xfrm>
            <a:custGeom>
              <a:gdLst>
                <a:gd name="T0" fmla="*/ 5 w 16"/>
                <a:gd name="T1" fmla="*/ 0 h 8"/>
                <a:gd name="T2" fmla="*/ 5 w 16"/>
                <a:gd name="T3" fmla="*/ 0 h 8"/>
                <a:gd name="T4" fmla="*/ 5 w 16"/>
                <a:gd name="T5" fmla="*/ 6 h 8"/>
                <a:gd name="T6" fmla="*/ 3 w 16"/>
                <a:gd name="T7" fmla="*/ 5 h 8"/>
                <a:gd name="T8" fmla="*/ 12 w 16"/>
                <a:gd name="T9" fmla="*/ 8 h 8"/>
                <a:gd name="T10" fmla="*/ 13 w 16"/>
                <a:gd name="T11" fmla="*/ 8 h 8"/>
                <a:gd name="T12" fmla="*/ 12 w 16"/>
                <a:gd name="T13" fmla="*/ 4 h 8"/>
                <a:gd name="T14" fmla="*/ 12 w 16"/>
                <a:gd name="T15" fmla="*/ 4 h 8"/>
                <a:gd name="T16" fmla="*/ 10 w 16"/>
                <a:gd name="T17" fmla="*/ 5 h 8"/>
                <a:gd name="T18" fmla="*/ 8 w 16"/>
                <a:gd name="T19" fmla="*/ 6 h 8"/>
                <a:gd name="T20" fmla="*/ 8 w 16"/>
                <a:gd name="T21" fmla="*/ 6 h 8"/>
                <a:gd name="T22" fmla="*/ 8 w 16"/>
                <a:gd name="T23" fmla="*/ 2 h 8"/>
                <a:gd name="T24" fmla="*/ 7 w 16"/>
                <a:gd name="T25" fmla="*/ 2 h 8"/>
                <a:gd name="T26" fmla="*/ 5 w 16"/>
                <a:gd name="T2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
                  <a:moveTo>
                    <a:pt x="5" y="0"/>
                  </a:moveTo>
                  <a:cubicBezTo>
                    <a:pt x="5" y="0"/>
                    <a:pt x="5" y="0"/>
                    <a:pt x="5" y="0"/>
                  </a:cubicBezTo>
                  <a:cubicBezTo>
                    <a:pt x="0" y="0"/>
                    <a:pt x="4" y="4"/>
                    <a:pt x="5" y="6"/>
                  </a:cubicBezTo>
                  <a:cubicBezTo>
                    <a:pt x="4" y="5"/>
                    <a:pt x="4" y="5"/>
                    <a:pt x="3" y="5"/>
                  </a:cubicBezTo>
                  <a:cubicBezTo>
                    <a:pt x="3" y="8"/>
                    <a:pt x="10" y="7"/>
                    <a:pt x="12" y="8"/>
                  </a:cubicBezTo>
                  <a:cubicBezTo>
                    <a:pt x="12" y="8"/>
                    <a:pt x="13" y="8"/>
                    <a:pt x="13" y="8"/>
                  </a:cubicBezTo>
                  <a:cubicBezTo>
                    <a:pt x="16" y="8"/>
                    <a:pt x="14" y="5"/>
                    <a:pt x="12" y="4"/>
                  </a:cubicBezTo>
                  <a:cubicBezTo>
                    <a:pt x="12" y="4"/>
                    <a:pt x="12" y="4"/>
                    <a:pt x="12" y="4"/>
                  </a:cubicBezTo>
                  <a:cubicBezTo>
                    <a:pt x="11" y="4"/>
                    <a:pt x="10" y="5"/>
                    <a:pt x="10" y="5"/>
                  </a:cubicBezTo>
                  <a:cubicBezTo>
                    <a:pt x="9" y="5"/>
                    <a:pt x="9" y="6"/>
                    <a:pt x="8" y="6"/>
                  </a:cubicBezTo>
                  <a:cubicBezTo>
                    <a:pt x="8" y="6"/>
                    <a:pt x="8" y="6"/>
                    <a:pt x="8" y="6"/>
                  </a:cubicBezTo>
                  <a:cubicBezTo>
                    <a:pt x="7" y="5"/>
                    <a:pt x="9" y="2"/>
                    <a:pt x="8" y="2"/>
                  </a:cubicBezTo>
                  <a:cubicBezTo>
                    <a:pt x="7" y="2"/>
                    <a:pt x="7" y="2"/>
                    <a:pt x="7" y="2"/>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420"/>
            <p:cNvSpPr/>
            <p:nvPr/>
          </p:nvSpPr>
          <p:spPr bwMode="auto">
            <a:xfrm>
              <a:off x="1252039" y="6588032"/>
              <a:ext cx="18804" cy="6716"/>
            </a:xfrm>
            <a:custGeom>
              <a:gdLst>
                <a:gd name="T0" fmla="*/ 6 w 6"/>
                <a:gd name="T1" fmla="*/ 0 h 2"/>
                <a:gd name="T2" fmla="*/ 0 w 6"/>
                <a:gd name="T3" fmla="*/ 2 h 2"/>
                <a:gd name="T4" fmla="*/ 6 w 6"/>
                <a:gd name="T5" fmla="*/ 0 h 2"/>
              </a:gdLst>
              <a:cxnLst>
                <a:cxn ang="0">
                  <a:pos x="T0" y="T1"/>
                </a:cxn>
                <a:cxn ang="0">
                  <a:pos x="T2" y="T3"/>
                </a:cxn>
                <a:cxn ang="0">
                  <a:pos x="T4" y="T5"/>
                </a:cxn>
              </a:cxnLst>
              <a:rect l="0" t="0" r="r" b="b"/>
              <a:pathLst>
                <a:path w="6" h="2">
                  <a:moveTo>
                    <a:pt x="6" y="0"/>
                  </a:moveTo>
                  <a:cubicBezTo>
                    <a:pt x="4" y="0"/>
                    <a:pt x="2" y="1"/>
                    <a:pt x="0" y="2"/>
                  </a:cubicBezTo>
                  <a:cubicBezTo>
                    <a:pt x="1" y="1"/>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424"/>
            <p:cNvSpPr/>
            <p:nvPr/>
          </p:nvSpPr>
          <p:spPr bwMode="auto">
            <a:xfrm>
              <a:off x="1046541" y="6813677"/>
              <a:ext cx="14774" cy="12088"/>
            </a:xfrm>
            <a:custGeom>
              <a:gdLst>
                <a:gd name="T0" fmla="*/ 0 w 5"/>
                <a:gd name="T1" fmla="*/ 0 h 4"/>
                <a:gd name="T2" fmla="*/ 0 w 5"/>
                <a:gd name="T3" fmla="*/ 0 h 4"/>
                <a:gd name="T4" fmla="*/ 5 w 5"/>
                <a:gd name="T5" fmla="*/ 4 h 4"/>
                <a:gd name="T6" fmla="*/ 0 w 5"/>
                <a:gd name="T7" fmla="*/ 0 h 4"/>
              </a:gdLst>
              <a:cxnLst>
                <a:cxn ang="0">
                  <a:pos x="T0" y="T1"/>
                </a:cxn>
                <a:cxn ang="0">
                  <a:pos x="T2" y="T3"/>
                </a:cxn>
                <a:cxn ang="0">
                  <a:pos x="T4" y="T5"/>
                </a:cxn>
                <a:cxn ang="0">
                  <a:pos x="T6" y="T7"/>
                </a:cxn>
              </a:cxnLst>
              <a:rect l="0" t="0" r="r" b="b"/>
              <a:pathLst>
                <a:path w="5" h="4">
                  <a:moveTo>
                    <a:pt x="0" y="0"/>
                  </a:moveTo>
                  <a:cubicBezTo>
                    <a:pt x="0" y="0"/>
                    <a:pt x="0" y="0"/>
                    <a:pt x="0" y="0"/>
                  </a:cubicBezTo>
                  <a:cubicBezTo>
                    <a:pt x="1" y="2"/>
                    <a:pt x="3" y="2"/>
                    <a:pt x="5" y="4"/>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426"/>
            <p:cNvSpPr/>
            <p:nvPr/>
          </p:nvSpPr>
          <p:spPr bwMode="auto">
            <a:xfrm>
              <a:off x="1801378" y="4851370"/>
              <a:ext cx="95362" cy="32235"/>
            </a:xfrm>
            <a:custGeom>
              <a:gdLst>
                <a:gd name="T0" fmla="*/ 6 w 30"/>
                <a:gd name="T1" fmla="*/ 0 h 10"/>
                <a:gd name="T2" fmla="*/ 5 w 30"/>
                <a:gd name="T3" fmla="*/ 0 h 10"/>
                <a:gd name="T4" fmla="*/ 1 w 30"/>
                <a:gd name="T5" fmla="*/ 5 h 10"/>
                <a:gd name="T6" fmla="*/ 0 w 30"/>
                <a:gd name="T7" fmla="*/ 5 h 10"/>
                <a:gd name="T8" fmla="*/ 11 w 30"/>
                <a:gd name="T9" fmla="*/ 10 h 10"/>
                <a:gd name="T10" fmla="*/ 22 w 30"/>
                <a:gd name="T11" fmla="*/ 8 h 10"/>
                <a:gd name="T12" fmla="*/ 30 w 30"/>
                <a:gd name="T13" fmla="*/ 4 h 10"/>
                <a:gd name="T14" fmla="*/ 30 w 30"/>
                <a:gd name="T15" fmla="*/ 4 h 10"/>
                <a:gd name="T16" fmla="*/ 22 w 30"/>
                <a:gd name="T17" fmla="*/ 1 h 10"/>
                <a:gd name="T18" fmla="*/ 20 w 30"/>
                <a:gd name="T19" fmla="*/ 1 h 10"/>
                <a:gd name="T20" fmla="*/ 16 w 30"/>
                <a:gd name="T21" fmla="*/ 1 h 10"/>
                <a:gd name="T22" fmla="*/ 12 w 30"/>
                <a:gd name="T23" fmla="*/ 2 h 10"/>
                <a:gd name="T24" fmla="*/ 10 w 30"/>
                <a:gd name="T25" fmla="*/ 2 h 10"/>
                <a:gd name="T26" fmla="*/ 6 w 30"/>
                <a:gd name="T2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0">
                  <a:moveTo>
                    <a:pt x="6" y="0"/>
                  </a:moveTo>
                  <a:cubicBezTo>
                    <a:pt x="5" y="0"/>
                    <a:pt x="5" y="0"/>
                    <a:pt x="5" y="0"/>
                  </a:cubicBezTo>
                  <a:cubicBezTo>
                    <a:pt x="3" y="2"/>
                    <a:pt x="3" y="5"/>
                    <a:pt x="1" y="5"/>
                  </a:cubicBezTo>
                  <a:cubicBezTo>
                    <a:pt x="0" y="5"/>
                    <a:pt x="0" y="5"/>
                    <a:pt x="0" y="5"/>
                  </a:cubicBezTo>
                  <a:cubicBezTo>
                    <a:pt x="4" y="7"/>
                    <a:pt x="7" y="9"/>
                    <a:pt x="11" y="10"/>
                  </a:cubicBezTo>
                  <a:cubicBezTo>
                    <a:pt x="15" y="10"/>
                    <a:pt x="19" y="10"/>
                    <a:pt x="22" y="8"/>
                  </a:cubicBezTo>
                  <a:cubicBezTo>
                    <a:pt x="24" y="7"/>
                    <a:pt x="28" y="4"/>
                    <a:pt x="30" y="4"/>
                  </a:cubicBezTo>
                  <a:cubicBezTo>
                    <a:pt x="30" y="4"/>
                    <a:pt x="30" y="4"/>
                    <a:pt x="30" y="4"/>
                  </a:cubicBezTo>
                  <a:cubicBezTo>
                    <a:pt x="28" y="3"/>
                    <a:pt x="24" y="2"/>
                    <a:pt x="22" y="1"/>
                  </a:cubicBezTo>
                  <a:cubicBezTo>
                    <a:pt x="21" y="1"/>
                    <a:pt x="20" y="1"/>
                    <a:pt x="20" y="1"/>
                  </a:cubicBezTo>
                  <a:cubicBezTo>
                    <a:pt x="18" y="1"/>
                    <a:pt x="17" y="1"/>
                    <a:pt x="16" y="1"/>
                  </a:cubicBezTo>
                  <a:cubicBezTo>
                    <a:pt x="15" y="2"/>
                    <a:pt x="13" y="2"/>
                    <a:pt x="12" y="2"/>
                  </a:cubicBezTo>
                  <a:cubicBezTo>
                    <a:pt x="11" y="2"/>
                    <a:pt x="11" y="2"/>
                    <a:pt x="10" y="2"/>
                  </a:cubicBezTo>
                  <a:cubicBezTo>
                    <a:pt x="9"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427"/>
            <p:cNvSpPr/>
            <p:nvPr/>
          </p:nvSpPr>
          <p:spPr bwMode="auto">
            <a:xfrm>
              <a:off x="1706016" y="4888978"/>
              <a:ext cx="18804" cy="9402"/>
            </a:xfrm>
            <a:custGeom>
              <a:gdLst>
                <a:gd name="T0" fmla="*/ 1 w 6"/>
                <a:gd name="T1" fmla="*/ 0 h 3"/>
                <a:gd name="T2" fmla="*/ 0 w 6"/>
                <a:gd name="T3" fmla="*/ 0 h 3"/>
                <a:gd name="T4" fmla="*/ 6 w 6"/>
                <a:gd name="T5" fmla="*/ 3 h 3"/>
                <a:gd name="T6" fmla="*/ 1 w 6"/>
                <a:gd name="T7" fmla="*/ 0 h 3"/>
              </a:gdLst>
              <a:cxnLst>
                <a:cxn ang="0">
                  <a:pos x="T0" y="T1"/>
                </a:cxn>
                <a:cxn ang="0">
                  <a:pos x="T2" y="T3"/>
                </a:cxn>
                <a:cxn ang="0">
                  <a:pos x="T4" y="T5"/>
                </a:cxn>
                <a:cxn ang="0">
                  <a:pos x="T6" y="T7"/>
                </a:cxn>
              </a:cxnLst>
              <a:rect l="0" t="0" r="r" b="b"/>
              <a:pathLst>
                <a:path w="6" h="3">
                  <a:moveTo>
                    <a:pt x="1" y="0"/>
                  </a:moveTo>
                  <a:cubicBezTo>
                    <a:pt x="1" y="0"/>
                    <a:pt x="0" y="0"/>
                    <a:pt x="0" y="0"/>
                  </a:cubicBezTo>
                  <a:cubicBezTo>
                    <a:pt x="2" y="1"/>
                    <a:pt x="4" y="2"/>
                    <a:pt x="6" y="3"/>
                  </a:cubicBezTo>
                  <a:cubicBezTo>
                    <a:pt x="5"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428"/>
            <p:cNvSpPr/>
            <p:nvPr/>
          </p:nvSpPr>
          <p:spPr bwMode="auto">
            <a:xfrm>
              <a:off x="208430" y="3326922"/>
              <a:ext cx="25519" cy="9402"/>
            </a:xfrm>
            <a:custGeom>
              <a:gdLst>
                <a:gd name="T0" fmla="*/ 6 w 8"/>
                <a:gd name="T1" fmla="*/ 0 h 3"/>
                <a:gd name="T2" fmla="*/ 0 w 8"/>
                <a:gd name="T3" fmla="*/ 3 h 3"/>
                <a:gd name="T4" fmla="*/ 8 w 8"/>
                <a:gd name="T5" fmla="*/ 1 h 3"/>
                <a:gd name="T6" fmla="*/ 6 w 8"/>
                <a:gd name="T7" fmla="*/ 0 h 3"/>
              </a:gdLst>
              <a:cxnLst>
                <a:cxn ang="0">
                  <a:pos x="T0" y="T1"/>
                </a:cxn>
                <a:cxn ang="0">
                  <a:pos x="T2" y="T3"/>
                </a:cxn>
                <a:cxn ang="0">
                  <a:pos x="T4" y="T5"/>
                </a:cxn>
                <a:cxn ang="0">
                  <a:pos x="T6" y="T7"/>
                </a:cxn>
              </a:cxnLst>
              <a:rect l="0" t="0" r="r" b="b"/>
              <a:pathLst>
                <a:path w="8" h="3">
                  <a:moveTo>
                    <a:pt x="6" y="0"/>
                  </a:moveTo>
                  <a:cubicBezTo>
                    <a:pt x="4" y="0"/>
                    <a:pt x="3" y="1"/>
                    <a:pt x="0" y="3"/>
                  </a:cubicBezTo>
                  <a:cubicBezTo>
                    <a:pt x="3" y="2"/>
                    <a:pt x="6" y="1"/>
                    <a:pt x="8" y="1"/>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429"/>
            <p:cNvSpPr/>
            <p:nvPr/>
          </p:nvSpPr>
          <p:spPr bwMode="auto">
            <a:xfrm>
              <a:off x="3042426" y="1015403"/>
              <a:ext cx="6716" cy="0"/>
            </a:xfrm>
            <a:custGeom>
              <a:gdLst>
                <a:gd name="T0" fmla="*/ 2 w 2"/>
                <a:gd name="T1" fmla="*/ 0 w 2"/>
                <a:gd name="T2" fmla="*/ 1 w 2"/>
                <a:gd name="T3" fmla="*/ 2 w 2"/>
                <a:gd name="T4" fmla="*/ 2 w 2"/>
              </a:gdLst>
              <a:cxnLst>
                <a:cxn ang="0">
                  <a:pos x="T0" y="0"/>
                </a:cxn>
                <a:cxn ang="0">
                  <a:pos x="T1" y="0"/>
                </a:cxn>
                <a:cxn ang="0">
                  <a:pos x="T2" y="0"/>
                </a:cxn>
                <a:cxn ang="0">
                  <a:pos x="T3" y="0"/>
                </a:cxn>
                <a:cxn ang="0">
                  <a:pos x="T4" y="0"/>
                </a:cxn>
              </a:cxnLst>
              <a:rect l="0" t="0" r="r" b="b"/>
              <a:pathLst>
                <a:path w="2">
                  <a:moveTo>
                    <a:pt x="2" y="0"/>
                  </a:moveTo>
                  <a:cubicBezTo>
                    <a:pt x="1" y="0"/>
                    <a:pt x="0" y="0"/>
                    <a:pt x="0" y="0"/>
                  </a:cubicBezTo>
                  <a:cubicBezTo>
                    <a:pt x="1" y="0"/>
                    <a:pt x="1" y="0"/>
                    <a:pt x="1"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Rectangle 430"/>
            <p:cNvSpPr>
              <a:spLocks noChangeArrowheads="1"/>
            </p:cNvSpPr>
            <p:nvPr/>
          </p:nvSpPr>
          <p:spPr bwMode="auto">
            <a:xfrm>
              <a:off x="7533838" y="2746692"/>
              <a:ext cx="1343" cy="53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431"/>
            <p:cNvSpPr/>
            <p:nvPr/>
          </p:nvSpPr>
          <p:spPr bwMode="auto">
            <a:xfrm flipH="1">
              <a:off x="7533838" y="2746692"/>
              <a:ext cx="0" cy="5373"/>
            </a:xfrm>
            <a:custGeom>
              <a:gdLst>
                <a:gd name="T0" fmla="*/ 0 h 4"/>
                <a:gd name="T1" fmla="*/ 4 h 4"/>
                <a:gd name="T2" fmla="*/ 4 h 4"/>
                <a:gd name="T3" fmla="*/ 0 h 4"/>
              </a:gdLst>
              <a:cxnLst>
                <a:cxn ang="0">
                  <a:pos x="0" y="T0"/>
                </a:cxn>
                <a:cxn ang="0">
                  <a:pos x="0" y="T1"/>
                </a:cxn>
                <a:cxn ang="0">
                  <a:pos x="0" y="T2"/>
                </a:cxn>
                <a:cxn ang="0">
                  <a:pos x="0" y="T3"/>
                </a:cxn>
              </a:cxnLst>
              <a:rect l="0" t="0" r="r" b="b"/>
              <a:pathLst>
                <a:path h="4">
                  <a:moveTo>
                    <a:pt x="0" y="0"/>
                  </a:moveTo>
                  <a:lnTo>
                    <a:pt x="0" y="4"/>
                  </a:lnTo>
                  <a:lnTo>
                    <a:pt x="0" y="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432"/>
            <p:cNvSpPr/>
            <p:nvPr/>
          </p:nvSpPr>
          <p:spPr bwMode="auto">
            <a:xfrm>
              <a:off x="1601252" y="3762095"/>
              <a:ext cx="69843" cy="127597"/>
            </a:xfrm>
            <a:custGeom>
              <a:gdLst>
                <a:gd name="T0" fmla="*/ 12 w 22"/>
                <a:gd name="T1" fmla="*/ 0 h 40"/>
                <a:gd name="T2" fmla="*/ 10 w 22"/>
                <a:gd name="T3" fmla="*/ 0 h 40"/>
                <a:gd name="T4" fmla="*/ 6 w 22"/>
                <a:gd name="T5" fmla="*/ 8 h 40"/>
                <a:gd name="T6" fmla="*/ 3 w 22"/>
                <a:gd name="T7" fmla="*/ 16 h 40"/>
                <a:gd name="T8" fmla="*/ 1 w 22"/>
                <a:gd name="T9" fmla="*/ 26 h 40"/>
                <a:gd name="T10" fmla="*/ 2 w 22"/>
                <a:gd name="T11" fmla="*/ 34 h 40"/>
                <a:gd name="T12" fmla="*/ 1 w 22"/>
                <a:gd name="T13" fmla="*/ 34 h 40"/>
                <a:gd name="T14" fmla="*/ 2 w 22"/>
                <a:gd name="T15" fmla="*/ 36 h 40"/>
                <a:gd name="T16" fmla="*/ 5 w 22"/>
                <a:gd name="T17" fmla="*/ 40 h 40"/>
                <a:gd name="T18" fmla="*/ 6 w 22"/>
                <a:gd name="T19" fmla="*/ 40 h 40"/>
                <a:gd name="T20" fmla="*/ 6 w 22"/>
                <a:gd name="T21" fmla="*/ 40 h 40"/>
                <a:gd name="T22" fmla="*/ 7 w 22"/>
                <a:gd name="T23" fmla="*/ 40 h 40"/>
                <a:gd name="T24" fmla="*/ 7 w 22"/>
                <a:gd name="T25" fmla="*/ 40 h 40"/>
                <a:gd name="T26" fmla="*/ 7 w 22"/>
                <a:gd name="T27" fmla="*/ 40 h 40"/>
                <a:gd name="T28" fmla="*/ 9 w 22"/>
                <a:gd name="T29" fmla="*/ 40 h 40"/>
                <a:gd name="T30" fmla="*/ 13 w 22"/>
                <a:gd name="T31" fmla="*/ 39 h 40"/>
                <a:gd name="T32" fmla="*/ 13 w 22"/>
                <a:gd name="T33" fmla="*/ 39 h 40"/>
                <a:gd name="T34" fmla="*/ 15 w 22"/>
                <a:gd name="T35" fmla="*/ 40 h 40"/>
                <a:gd name="T36" fmla="*/ 15 w 22"/>
                <a:gd name="T37" fmla="*/ 40 h 40"/>
                <a:gd name="T38" fmla="*/ 18 w 22"/>
                <a:gd name="T39" fmla="*/ 39 h 40"/>
                <a:gd name="T40" fmla="*/ 18 w 22"/>
                <a:gd name="T41" fmla="*/ 37 h 40"/>
                <a:gd name="T42" fmla="*/ 17 w 22"/>
                <a:gd name="T43" fmla="*/ 37 h 40"/>
                <a:gd name="T44" fmla="*/ 19 w 22"/>
                <a:gd name="T45" fmla="*/ 33 h 40"/>
                <a:gd name="T46" fmla="*/ 21 w 22"/>
                <a:gd name="T47" fmla="*/ 23 h 40"/>
                <a:gd name="T48" fmla="*/ 19 w 22"/>
                <a:gd name="T49" fmla="*/ 15 h 40"/>
                <a:gd name="T50" fmla="*/ 19 w 22"/>
                <a:gd name="T51" fmla="*/ 5 h 40"/>
                <a:gd name="T52" fmla="*/ 18 w 22"/>
                <a:gd name="T53" fmla="*/ 4 h 40"/>
                <a:gd name="T54" fmla="*/ 18 w 22"/>
                <a:gd name="T55" fmla="*/ 5 h 40"/>
                <a:gd name="T56" fmla="*/ 18 w 22"/>
                <a:gd name="T57" fmla="*/ 5 h 40"/>
                <a:gd name="T58" fmla="*/ 16 w 22"/>
                <a:gd name="T59" fmla="*/ 4 h 40"/>
                <a:gd name="T60" fmla="*/ 13 w 22"/>
                <a:gd name="T61" fmla="*/ 0 h 40"/>
                <a:gd name="T62" fmla="*/ 12 w 22"/>
                <a:gd name="T63"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 h="40">
                  <a:moveTo>
                    <a:pt x="12" y="0"/>
                  </a:moveTo>
                  <a:cubicBezTo>
                    <a:pt x="11" y="0"/>
                    <a:pt x="11" y="0"/>
                    <a:pt x="10" y="0"/>
                  </a:cubicBezTo>
                  <a:cubicBezTo>
                    <a:pt x="7" y="1"/>
                    <a:pt x="6" y="5"/>
                    <a:pt x="6" y="8"/>
                  </a:cubicBezTo>
                  <a:cubicBezTo>
                    <a:pt x="3" y="11"/>
                    <a:pt x="3" y="13"/>
                    <a:pt x="3" y="16"/>
                  </a:cubicBezTo>
                  <a:cubicBezTo>
                    <a:pt x="2" y="19"/>
                    <a:pt x="0" y="23"/>
                    <a:pt x="1" y="26"/>
                  </a:cubicBezTo>
                  <a:cubicBezTo>
                    <a:pt x="1" y="28"/>
                    <a:pt x="1" y="31"/>
                    <a:pt x="2" y="34"/>
                  </a:cubicBezTo>
                  <a:cubicBezTo>
                    <a:pt x="1" y="34"/>
                    <a:pt x="1" y="34"/>
                    <a:pt x="1" y="34"/>
                  </a:cubicBezTo>
                  <a:cubicBezTo>
                    <a:pt x="2" y="36"/>
                    <a:pt x="2" y="36"/>
                    <a:pt x="2" y="36"/>
                  </a:cubicBezTo>
                  <a:cubicBezTo>
                    <a:pt x="3" y="38"/>
                    <a:pt x="4" y="39"/>
                    <a:pt x="5" y="40"/>
                  </a:cubicBezTo>
                  <a:cubicBezTo>
                    <a:pt x="6" y="40"/>
                    <a:pt x="6" y="40"/>
                    <a:pt x="6" y="40"/>
                  </a:cubicBezTo>
                  <a:cubicBezTo>
                    <a:pt x="6" y="40"/>
                    <a:pt x="6" y="40"/>
                    <a:pt x="6" y="40"/>
                  </a:cubicBezTo>
                  <a:cubicBezTo>
                    <a:pt x="7" y="40"/>
                    <a:pt x="7" y="40"/>
                    <a:pt x="7" y="40"/>
                  </a:cubicBezTo>
                  <a:cubicBezTo>
                    <a:pt x="7" y="40"/>
                    <a:pt x="7" y="40"/>
                    <a:pt x="7" y="40"/>
                  </a:cubicBezTo>
                  <a:cubicBezTo>
                    <a:pt x="7" y="40"/>
                    <a:pt x="7" y="40"/>
                    <a:pt x="7" y="40"/>
                  </a:cubicBezTo>
                  <a:cubicBezTo>
                    <a:pt x="8" y="40"/>
                    <a:pt x="9" y="40"/>
                    <a:pt x="9" y="40"/>
                  </a:cubicBezTo>
                  <a:cubicBezTo>
                    <a:pt x="11" y="40"/>
                    <a:pt x="12" y="39"/>
                    <a:pt x="13" y="39"/>
                  </a:cubicBezTo>
                  <a:cubicBezTo>
                    <a:pt x="13" y="39"/>
                    <a:pt x="13" y="39"/>
                    <a:pt x="13" y="39"/>
                  </a:cubicBezTo>
                  <a:cubicBezTo>
                    <a:pt x="14" y="40"/>
                    <a:pt x="14" y="40"/>
                    <a:pt x="15" y="40"/>
                  </a:cubicBezTo>
                  <a:cubicBezTo>
                    <a:pt x="15" y="40"/>
                    <a:pt x="15" y="40"/>
                    <a:pt x="15" y="40"/>
                  </a:cubicBezTo>
                  <a:cubicBezTo>
                    <a:pt x="15" y="40"/>
                    <a:pt x="17" y="39"/>
                    <a:pt x="18" y="39"/>
                  </a:cubicBezTo>
                  <a:cubicBezTo>
                    <a:pt x="18" y="37"/>
                    <a:pt x="18" y="37"/>
                    <a:pt x="18" y="37"/>
                  </a:cubicBezTo>
                  <a:cubicBezTo>
                    <a:pt x="17" y="37"/>
                    <a:pt x="17" y="37"/>
                    <a:pt x="17" y="37"/>
                  </a:cubicBezTo>
                  <a:cubicBezTo>
                    <a:pt x="18" y="36"/>
                    <a:pt x="18" y="34"/>
                    <a:pt x="19" y="33"/>
                  </a:cubicBezTo>
                  <a:cubicBezTo>
                    <a:pt x="19" y="31"/>
                    <a:pt x="22" y="25"/>
                    <a:pt x="21" y="23"/>
                  </a:cubicBezTo>
                  <a:cubicBezTo>
                    <a:pt x="20" y="20"/>
                    <a:pt x="18" y="17"/>
                    <a:pt x="19" y="15"/>
                  </a:cubicBezTo>
                  <a:cubicBezTo>
                    <a:pt x="19" y="12"/>
                    <a:pt x="22" y="7"/>
                    <a:pt x="19" y="5"/>
                  </a:cubicBezTo>
                  <a:cubicBezTo>
                    <a:pt x="19" y="5"/>
                    <a:pt x="19" y="4"/>
                    <a:pt x="18" y="4"/>
                  </a:cubicBezTo>
                  <a:cubicBezTo>
                    <a:pt x="18" y="4"/>
                    <a:pt x="18" y="5"/>
                    <a:pt x="18" y="5"/>
                  </a:cubicBezTo>
                  <a:cubicBezTo>
                    <a:pt x="18" y="5"/>
                    <a:pt x="18" y="5"/>
                    <a:pt x="18" y="5"/>
                  </a:cubicBezTo>
                  <a:cubicBezTo>
                    <a:pt x="17" y="5"/>
                    <a:pt x="17" y="4"/>
                    <a:pt x="16" y="4"/>
                  </a:cubicBezTo>
                  <a:cubicBezTo>
                    <a:pt x="16" y="3"/>
                    <a:pt x="14" y="0"/>
                    <a:pt x="13"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433"/>
            <p:cNvSpPr/>
            <p:nvPr/>
          </p:nvSpPr>
          <p:spPr bwMode="auto">
            <a:xfrm>
              <a:off x="2849016" y="1082559"/>
              <a:ext cx="2686" cy="0"/>
            </a:xfrm>
            <a:custGeom>
              <a:gdLst>
                <a:gd name="T0" fmla="*/ 1 w 1"/>
                <a:gd name="T1" fmla="*/ 0 w 1"/>
                <a:gd name="T2" fmla="*/ 0 w 1"/>
                <a:gd name="T3" fmla="*/ 0 w 1"/>
                <a:gd name="T4" fmla="*/ 1 w 1"/>
                <a:gd name="T5" fmla="*/ 1 w 1"/>
              </a:gd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0" y="0"/>
                  </a:cubicBezTo>
                  <a:cubicBezTo>
                    <a:pt x="0" y="0"/>
                    <a:pt x="0" y="0"/>
                    <a:pt x="0" y="0"/>
                  </a:cubicBezTo>
                  <a:cubicBezTo>
                    <a:pt x="0" y="0"/>
                    <a:pt x="0" y="0"/>
                    <a:pt x="0" y="0"/>
                  </a:cubicBezTo>
                  <a:cubicBezTo>
                    <a:pt x="0"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Rectangle 434"/>
            <p:cNvSpPr>
              <a:spLocks noChangeArrowheads="1"/>
            </p:cNvSpPr>
            <p:nvPr/>
          </p:nvSpPr>
          <p:spPr bwMode="auto">
            <a:xfrm>
              <a:off x="795376" y="6673992"/>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435"/>
            <p:cNvSpPr/>
            <p:nvPr/>
          </p:nvSpPr>
          <p:spPr bwMode="auto">
            <a:xfrm flipH="1">
              <a:off x="795376" y="667399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436"/>
            <p:cNvSpPr/>
            <p:nvPr/>
          </p:nvSpPr>
          <p:spPr bwMode="auto">
            <a:xfrm>
              <a:off x="280959" y="6609522"/>
              <a:ext cx="2686" cy="4029"/>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1" y="0"/>
                    <a:pt x="1" y="1"/>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437"/>
            <p:cNvSpPr>
              <a:spLocks noEditPoints="1"/>
            </p:cNvSpPr>
            <p:nvPr/>
          </p:nvSpPr>
          <p:spPr bwMode="auto">
            <a:xfrm>
              <a:off x="376321" y="6759952"/>
              <a:ext cx="41637" cy="2686"/>
            </a:xfrm>
            <a:custGeom>
              <a:gdLst>
                <a:gd name="T0" fmla="*/ 13 w 13"/>
                <a:gd name="T1" fmla="*/ 1 h 1"/>
                <a:gd name="T2" fmla="*/ 13 w 13"/>
                <a:gd name="T3" fmla="*/ 1 h 1"/>
                <a:gd name="T4" fmla="*/ 13 w 13"/>
                <a:gd name="T5" fmla="*/ 1 h 1"/>
                <a:gd name="T6" fmla="*/ 13 w 13"/>
                <a:gd name="T7" fmla="*/ 1 h 1"/>
                <a:gd name="T8" fmla="*/ 13 w 13"/>
                <a:gd name="T9" fmla="*/ 1 h 1"/>
                <a:gd name="T10" fmla="*/ 13 w 13"/>
                <a:gd name="T11" fmla="*/ 1 h 1"/>
                <a:gd name="T12" fmla="*/ 13 w 13"/>
                <a:gd name="T13" fmla="*/ 1 h 1"/>
                <a:gd name="T14" fmla="*/ 13 w 13"/>
                <a:gd name="T15" fmla="*/ 1 h 1"/>
                <a:gd name="T16" fmla="*/ 13 w 13"/>
                <a:gd name="T17" fmla="*/ 1 h 1"/>
                <a:gd name="T18" fmla="*/ 0 w 13"/>
                <a:gd name="T19" fmla="*/ 0 h 1"/>
                <a:gd name="T20" fmla="*/ 10 w 13"/>
                <a:gd name="T21" fmla="*/ 1 h 1"/>
                <a:gd name="T22" fmla="*/ 13 w 13"/>
                <a:gd name="T23" fmla="*/ 1 h 1"/>
                <a:gd name="T24" fmla="*/ 10 w 13"/>
                <a:gd name="T25" fmla="*/ 1 h 1"/>
                <a:gd name="T26" fmla="*/ 0 w 13"/>
                <a:gd name="T27"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
                  <a:moveTo>
                    <a:pt x="13" y="1"/>
                  </a:moveTo>
                  <a:cubicBezTo>
                    <a:pt x="13" y="1"/>
                    <a:pt x="13" y="1"/>
                    <a:pt x="13" y="1"/>
                  </a:cubicBezTo>
                  <a:cubicBezTo>
                    <a:pt x="13" y="1"/>
                    <a:pt x="13" y="1"/>
                    <a:pt x="13" y="1"/>
                  </a:cubicBezTo>
                  <a:moveTo>
                    <a:pt x="13" y="1"/>
                  </a:moveTo>
                  <a:cubicBezTo>
                    <a:pt x="13" y="1"/>
                    <a:pt x="13" y="1"/>
                    <a:pt x="13" y="1"/>
                  </a:cubicBezTo>
                  <a:cubicBezTo>
                    <a:pt x="13" y="1"/>
                    <a:pt x="13" y="1"/>
                    <a:pt x="13" y="1"/>
                  </a:cubicBezTo>
                  <a:moveTo>
                    <a:pt x="13" y="1"/>
                  </a:moveTo>
                  <a:cubicBezTo>
                    <a:pt x="13" y="1"/>
                    <a:pt x="13" y="1"/>
                    <a:pt x="13" y="1"/>
                  </a:cubicBezTo>
                  <a:cubicBezTo>
                    <a:pt x="13" y="1"/>
                    <a:pt x="13" y="1"/>
                    <a:pt x="13" y="1"/>
                  </a:cubicBezTo>
                  <a:moveTo>
                    <a:pt x="0" y="0"/>
                  </a:moveTo>
                  <a:cubicBezTo>
                    <a:pt x="4" y="1"/>
                    <a:pt x="8" y="1"/>
                    <a:pt x="10" y="1"/>
                  </a:cubicBezTo>
                  <a:cubicBezTo>
                    <a:pt x="11" y="1"/>
                    <a:pt x="12" y="1"/>
                    <a:pt x="13" y="1"/>
                  </a:cubicBezTo>
                  <a:cubicBezTo>
                    <a:pt x="12" y="1"/>
                    <a:pt x="12" y="1"/>
                    <a:pt x="10" y="1"/>
                  </a:cubicBezTo>
                  <a:cubicBezTo>
                    <a:pt x="8" y="1"/>
                    <a:pt x="4"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438"/>
            <p:cNvSpPr/>
            <p:nvPr/>
          </p:nvSpPr>
          <p:spPr bwMode="auto">
            <a:xfrm>
              <a:off x="366919" y="6759952"/>
              <a:ext cx="9402" cy="0"/>
            </a:xfrm>
            <a:custGeom>
              <a:gdLst>
                <a:gd name="T0" fmla="*/ 0 w 3"/>
                <a:gd name="T1" fmla="*/ 0 w 3"/>
                <a:gd name="T2" fmla="*/ 3 w 3"/>
                <a:gd name="T3" fmla="*/ 0 w 3"/>
              </a:gdLst>
              <a:cxnLst>
                <a:cxn ang="0">
                  <a:pos x="T0" y="0"/>
                </a:cxn>
                <a:cxn ang="0">
                  <a:pos x="T1" y="0"/>
                </a:cxn>
                <a:cxn ang="0">
                  <a:pos x="T2" y="0"/>
                </a:cxn>
                <a:cxn ang="0">
                  <a:pos x="T3" y="0"/>
                </a:cxn>
              </a:cxnLst>
              <a:rect l="0" t="0" r="r" b="b"/>
              <a:pathLst>
                <a:path w="3">
                  <a:moveTo>
                    <a:pt x="0" y="0"/>
                  </a:moveTo>
                  <a:cubicBezTo>
                    <a:pt x="0" y="0"/>
                    <a:pt x="0" y="0"/>
                    <a:pt x="0" y="0"/>
                  </a:cubicBezTo>
                  <a:cubicBezTo>
                    <a:pt x="1" y="0"/>
                    <a:pt x="2" y="0"/>
                    <a:pt x="3" y="0"/>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439"/>
            <p:cNvSpPr/>
            <p:nvPr/>
          </p:nvSpPr>
          <p:spPr bwMode="auto">
            <a:xfrm>
              <a:off x="17707" y="5933929"/>
              <a:ext cx="2686"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440"/>
            <p:cNvSpPr/>
            <p:nvPr/>
          </p:nvSpPr>
          <p:spPr bwMode="auto">
            <a:xfrm>
              <a:off x="17707" y="5933929"/>
              <a:ext cx="2686"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441"/>
            <p:cNvSpPr/>
            <p:nvPr/>
          </p:nvSpPr>
          <p:spPr bwMode="auto">
            <a:xfrm>
              <a:off x="7317595" y="6569228"/>
              <a:ext cx="47009" cy="28206"/>
            </a:xfrm>
            <a:custGeom>
              <a:gdLst>
                <a:gd name="T0" fmla="*/ 15 w 15"/>
                <a:gd name="T1" fmla="*/ 0 h 9"/>
                <a:gd name="T2" fmla="*/ 0 w 15"/>
                <a:gd name="T3" fmla="*/ 7 h 9"/>
                <a:gd name="T4" fmla="*/ 11 w 15"/>
                <a:gd name="T5" fmla="*/ 9 h 9"/>
                <a:gd name="T6" fmla="*/ 13 w 15"/>
                <a:gd name="T7" fmla="*/ 4 h 9"/>
                <a:gd name="T8" fmla="*/ 15 w 15"/>
                <a:gd name="T9" fmla="*/ 0 h 9"/>
              </a:gdLst>
              <a:cxnLst>
                <a:cxn ang="0">
                  <a:pos x="T0" y="T1"/>
                </a:cxn>
                <a:cxn ang="0">
                  <a:pos x="T2" y="T3"/>
                </a:cxn>
                <a:cxn ang="0">
                  <a:pos x="T4" y="T5"/>
                </a:cxn>
                <a:cxn ang="0">
                  <a:pos x="T6" y="T7"/>
                </a:cxn>
                <a:cxn ang="0">
                  <a:pos x="T8" y="T9"/>
                </a:cxn>
              </a:cxnLst>
              <a:rect l="0" t="0" r="r" b="b"/>
              <a:pathLst>
                <a:path w="15" h="9">
                  <a:moveTo>
                    <a:pt x="15" y="0"/>
                  </a:moveTo>
                  <a:cubicBezTo>
                    <a:pt x="15" y="0"/>
                    <a:pt x="0" y="6"/>
                    <a:pt x="0" y="7"/>
                  </a:cubicBezTo>
                  <a:cubicBezTo>
                    <a:pt x="11" y="9"/>
                    <a:pt x="11" y="9"/>
                    <a:pt x="11" y="9"/>
                  </a:cubicBezTo>
                  <a:cubicBezTo>
                    <a:pt x="11" y="9"/>
                    <a:pt x="13" y="5"/>
                    <a:pt x="13" y="4"/>
                  </a:cubicBezTo>
                  <a:cubicBezTo>
                    <a:pt x="15" y="2"/>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442"/>
            <p:cNvSpPr/>
            <p:nvPr/>
          </p:nvSpPr>
          <p:spPr bwMode="auto">
            <a:xfrm>
              <a:off x="369605" y="3156345"/>
              <a:ext cx="318321" cy="338468"/>
            </a:xfrm>
            <a:custGeom>
              <a:gdLst>
                <a:gd name="T0" fmla="*/ 80 w 100"/>
                <a:gd name="T1" fmla="*/ 7 h 107"/>
                <a:gd name="T2" fmla="*/ 77 w 100"/>
                <a:gd name="T3" fmla="*/ 9 h 107"/>
                <a:gd name="T4" fmla="*/ 73 w 100"/>
                <a:gd name="T5" fmla="*/ 11 h 107"/>
                <a:gd name="T6" fmla="*/ 62 w 100"/>
                <a:gd name="T7" fmla="*/ 18 h 107"/>
                <a:gd name="T8" fmla="*/ 57 w 100"/>
                <a:gd name="T9" fmla="*/ 20 h 107"/>
                <a:gd name="T10" fmla="*/ 54 w 100"/>
                <a:gd name="T11" fmla="*/ 23 h 107"/>
                <a:gd name="T12" fmla="*/ 51 w 100"/>
                <a:gd name="T13" fmla="*/ 25 h 107"/>
                <a:gd name="T14" fmla="*/ 49 w 100"/>
                <a:gd name="T15" fmla="*/ 26 h 107"/>
                <a:gd name="T16" fmla="*/ 47 w 100"/>
                <a:gd name="T17" fmla="*/ 27 h 107"/>
                <a:gd name="T18" fmla="*/ 45 w 100"/>
                <a:gd name="T19" fmla="*/ 28 h 107"/>
                <a:gd name="T20" fmla="*/ 44 w 100"/>
                <a:gd name="T21" fmla="*/ 28 h 107"/>
                <a:gd name="T22" fmla="*/ 43 w 100"/>
                <a:gd name="T23" fmla="*/ 28 h 107"/>
                <a:gd name="T24" fmla="*/ 40 w 100"/>
                <a:gd name="T25" fmla="*/ 27 h 107"/>
                <a:gd name="T26" fmla="*/ 36 w 100"/>
                <a:gd name="T27" fmla="*/ 26 h 107"/>
                <a:gd name="T28" fmla="*/ 31 w 100"/>
                <a:gd name="T29" fmla="*/ 24 h 107"/>
                <a:gd name="T30" fmla="*/ 26 w 100"/>
                <a:gd name="T31" fmla="*/ 22 h 107"/>
                <a:gd name="T32" fmla="*/ 22 w 100"/>
                <a:gd name="T33" fmla="*/ 19 h 107"/>
                <a:gd name="T34" fmla="*/ 20 w 100"/>
                <a:gd name="T35" fmla="*/ 18 h 107"/>
                <a:gd name="T36" fmla="*/ 19 w 100"/>
                <a:gd name="T37" fmla="*/ 17 h 107"/>
                <a:gd name="T38" fmla="*/ 19 w 100"/>
                <a:gd name="T39" fmla="*/ 17 h 107"/>
                <a:gd name="T40" fmla="*/ 18 w 100"/>
                <a:gd name="T41" fmla="*/ 19 h 107"/>
                <a:gd name="T42" fmla="*/ 17 w 100"/>
                <a:gd name="T43" fmla="*/ 25 h 107"/>
                <a:gd name="T44" fmla="*/ 13 w 100"/>
                <a:gd name="T45" fmla="*/ 37 h 107"/>
                <a:gd name="T46" fmla="*/ 12 w 100"/>
                <a:gd name="T47" fmla="*/ 45 h 107"/>
                <a:gd name="T48" fmla="*/ 14 w 100"/>
                <a:gd name="T49" fmla="*/ 50 h 107"/>
                <a:gd name="T50" fmla="*/ 12 w 100"/>
                <a:gd name="T51" fmla="*/ 64 h 107"/>
                <a:gd name="T52" fmla="*/ 9 w 100"/>
                <a:gd name="T53" fmla="*/ 72 h 107"/>
                <a:gd name="T54" fmla="*/ 3 w 100"/>
                <a:gd name="T55" fmla="*/ 100 h 107"/>
                <a:gd name="T56" fmla="*/ 0 w 100"/>
                <a:gd name="T57" fmla="*/ 101 h 107"/>
                <a:gd name="T58" fmla="*/ 1 w 100"/>
                <a:gd name="T59" fmla="*/ 102 h 107"/>
                <a:gd name="T60" fmla="*/ 2 w 100"/>
                <a:gd name="T61" fmla="*/ 102 h 107"/>
                <a:gd name="T62" fmla="*/ 19 w 100"/>
                <a:gd name="T63" fmla="*/ 105 h 107"/>
                <a:gd name="T64" fmla="*/ 21 w 100"/>
                <a:gd name="T65" fmla="*/ 106 h 107"/>
                <a:gd name="T66" fmla="*/ 29 w 100"/>
                <a:gd name="T67" fmla="*/ 102 h 107"/>
                <a:gd name="T68" fmla="*/ 30 w 100"/>
                <a:gd name="T69" fmla="*/ 101 h 107"/>
                <a:gd name="T70" fmla="*/ 35 w 100"/>
                <a:gd name="T71" fmla="*/ 96 h 107"/>
                <a:gd name="T72" fmla="*/ 48 w 100"/>
                <a:gd name="T73" fmla="*/ 87 h 107"/>
                <a:gd name="T74" fmla="*/ 51 w 100"/>
                <a:gd name="T75" fmla="*/ 87 h 107"/>
                <a:gd name="T76" fmla="*/ 55 w 100"/>
                <a:gd name="T77" fmla="*/ 86 h 107"/>
                <a:gd name="T78" fmla="*/ 61 w 100"/>
                <a:gd name="T79" fmla="*/ 84 h 107"/>
                <a:gd name="T80" fmla="*/ 71 w 100"/>
                <a:gd name="T81" fmla="*/ 74 h 107"/>
                <a:gd name="T82" fmla="*/ 68 w 100"/>
                <a:gd name="T83" fmla="*/ 72 h 107"/>
                <a:gd name="T84" fmla="*/ 66 w 100"/>
                <a:gd name="T85" fmla="*/ 69 h 107"/>
                <a:gd name="T86" fmla="*/ 44 w 100"/>
                <a:gd name="T87" fmla="*/ 45 h 107"/>
                <a:gd name="T88" fmla="*/ 56 w 100"/>
                <a:gd name="T89" fmla="*/ 42 h 107"/>
                <a:gd name="T90" fmla="*/ 81 w 100"/>
                <a:gd name="T91" fmla="*/ 34 h 107"/>
                <a:gd name="T92" fmla="*/ 87 w 100"/>
                <a:gd name="T93" fmla="*/ 32 h 107"/>
                <a:gd name="T94" fmla="*/ 90 w 100"/>
                <a:gd name="T95" fmla="*/ 31 h 107"/>
                <a:gd name="T96" fmla="*/ 98 w 100"/>
                <a:gd name="T97" fmla="*/ 27 h 107"/>
                <a:gd name="T98" fmla="*/ 97 w 100"/>
                <a:gd name="T99" fmla="*/ 26 h 1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07">
                  <a:moveTo>
                    <a:pt x="92" y="0"/>
                  </a:moveTo>
                  <a:cubicBezTo>
                    <a:pt x="89" y="2"/>
                    <a:pt x="84" y="5"/>
                    <a:pt x="80" y="7"/>
                  </a:cubicBezTo>
                  <a:cubicBezTo>
                    <a:pt x="79" y="8"/>
                    <a:pt x="79" y="8"/>
                    <a:pt x="79" y="8"/>
                  </a:cubicBezTo>
                  <a:cubicBezTo>
                    <a:pt x="78" y="8"/>
                    <a:pt x="77" y="9"/>
                    <a:pt x="77" y="9"/>
                  </a:cubicBezTo>
                  <a:cubicBezTo>
                    <a:pt x="76" y="10"/>
                    <a:pt x="75" y="10"/>
                    <a:pt x="74" y="11"/>
                  </a:cubicBezTo>
                  <a:cubicBezTo>
                    <a:pt x="74" y="11"/>
                    <a:pt x="73" y="11"/>
                    <a:pt x="73" y="11"/>
                  </a:cubicBezTo>
                  <a:cubicBezTo>
                    <a:pt x="71" y="12"/>
                    <a:pt x="69" y="13"/>
                    <a:pt x="68" y="14"/>
                  </a:cubicBezTo>
                  <a:cubicBezTo>
                    <a:pt x="62" y="18"/>
                    <a:pt x="62" y="18"/>
                    <a:pt x="62" y="18"/>
                  </a:cubicBezTo>
                  <a:cubicBezTo>
                    <a:pt x="61" y="19"/>
                    <a:pt x="59" y="19"/>
                    <a:pt x="58" y="20"/>
                  </a:cubicBezTo>
                  <a:cubicBezTo>
                    <a:pt x="57" y="20"/>
                    <a:pt x="57" y="20"/>
                    <a:pt x="57" y="20"/>
                  </a:cubicBezTo>
                  <a:cubicBezTo>
                    <a:pt x="57" y="21"/>
                    <a:pt x="57" y="21"/>
                    <a:pt x="57" y="21"/>
                  </a:cubicBezTo>
                  <a:cubicBezTo>
                    <a:pt x="56" y="22"/>
                    <a:pt x="55" y="22"/>
                    <a:pt x="54" y="23"/>
                  </a:cubicBezTo>
                  <a:cubicBezTo>
                    <a:pt x="53" y="23"/>
                    <a:pt x="52" y="24"/>
                    <a:pt x="52" y="25"/>
                  </a:cubicBezTo>
                  <a:cubicBezTo>
                    <a:pt x="51" y="25"/>
                    <a:pt x="51" y="25"/>
                    <a:pt x="51" y="25"/>
                  </a:cubicBezTo>
                  <a:cubicBezTo>
                    <a:pt x="51" y="25"/>
                    <a:pt x="50" y="26"/>
                    <a:pt x="50" y="26"/>
                  </a:cubicBezTo>
                  <a:cubicBezTo>
                    <a:pt x="49" y="26"/>
                    <a:pt x="49" y="26"/>
                    <a:pt x="49" y="26"/>
                  </a:cubicBezTo>
                  <a:cubicBezTo>
                    <a:pt x="49" y="27"/>
                    <a:pt x="48" y="27"/>
                    <a:pt x="48" y="27"/>
                  </a:cubicBezTo>
                  <a:cubicBezTo>
                    <a:pt x="47" y="27"/>
                    <a:pt x="47" y="27"/>
                    <a:pt x="47" y="27"/>
                  </a:cubicBezTo>
                  <a:cubicBezTo>
                    <a:pt x="47" y="27"/>
                    <a:pt x="46" y="28"/>
                    <a:pt x="46" y="28"/>
                  </a:cubicBezTo>
                  <a:cubicBezTo>
                    <a:pt x="45" y="28"/>
                    <a:pt x="45" y="28"/>
                    <a:pt x="45" y="28"/>
                  </a:cubicBezTo>
                  <a:cubicBezTo>
                    <a:pt x="45" y="28"/>
                    <a:pt x="45" y="28"/>
                    <a:pt x="45" y="28"/>
                  </a:cubicBezTo>
                  <a:cubicBezTo>
                    <a:pt x="44" y="28"/>
                    <a:pt x="44" y="28"/>
                    <a:pt x="44" y="28"/>
                  </a:cubicBezTo>
                  <a:cubicBezTo>
                    <a:pt x="44" y="28"/>
                    <a:pt x="44" y="28"/>
                    <a:pt x="44" y="28"/>
                  </a:cubicBezTo>
                  <a:cubicBezTo>
                    <a:pt x="43" y="28"/>
                    <a:pt x="43" y="28"/>
                    <a:pt x="43" y="28"/>
                  </a:cubicBezTo>
                  <a:cubicBezTo>
                    <a:pt x="42" y="28"/>
                    <a:pt x="41" y="28"/>
                    <a:pt x="40" y="27"/>
                  </a:cubicBezTo>
                  <a:cubicBezTo>
                    <a:pt x="40" y="27"/>
                    <a:pt x="40" y="27"/>
                    <a:pt x="40" y="27"/>
                  </a:cubicBezTo>
                  <a:cubicBezTo>
                    <a:pt x="39" y="27"/>
                    <a:pt x="38" y="27"/>
                    <a:pt x="37" y="26"/>
                  </a:cubicBezTo>
                  <a:cubicBezTo>
                    <a:pt x="36" y="26"/>
                    <a:pt x="36" y="26"/>
                    <a:pt x="36" y="26"/>
                  </a:cubicBezTo>
                  <a:cubicBezTo>
                    <a:pt x="35" y="26"/>
                    <a:pt x="34" y="25"/>
                    <a:pt x="32" y="24"/>
                  </a:cubicBezTo>
                  <a:cubicBezTo>
                    <a:pt x="31" y="24"/>
                    <a:pt x="31" y="24"/>
                    <a:pt x="31" y="24"/>
                  </a:cubicBezTo>
                  <a:cubicBezTo>
                    <a:pt x="30" y="24"/>
                    <a:pt x="28" y="23"/>
                    <a:pt x="26" y="22"/>
                  </a:cubicBezTo>
                  <a:cubicBezTo>
                    <a:pt x="26" y="22"/>
                    <a:pt x="26" y="22"/>
                    <a:pt x="26" y="22"/>
                  </a:cubicBezTo>
                  <a:cubicBezTo>
                    <a:pt x="24" y="21"/>
                    <a:pt x="23" y="20"/>
                    <a:pt x="23" y="19"/>
                  </a:cubicBezTo>
                  <a:cubicBezTo>
                    <a:pt x="22" y="19"/>
                    <a:pt x="22" y="19"/>
                    <a:pt x="22" y="19"/>
                  </a:cubicBezTo>
                  <a:cubicBezTo>
                    <a:pt x="22" y="19"/>
                    <a:pt x="22" y="19"/>
                    <a:pt x="22" y="19"/>
                  </a:cubicBezTo>
                  <a:cubicBezTo>
                    <a:pt x="21" y="18"/>
                    <a:pt x="21" y="18"/>
                    <a:pt x="20" y="18"/>
                  </a:cubicBezTo>
                  <a:cubicBezTo>
                    <a:pt x="20" y="18"/>
                    <a:pt x="20" y="18"/>
                    <a:pt x="20" y="18"/>
                  </a:cubicBezTo>
                  <a:cubicBezTo>
                    <a:pt x="19" y="17"/>
                    <a:pt x="19" y="17"/>
                    <a:pt x="19" y="17"/>
                  </a:cubicBezTo>
                  <a:cubicBezTo>
                    <a:pt x="19" y="17"/>
                    <a:pt x="19" y="17"/>
                    <a:pt x="19" y="17"/>
                  </a:cubicBezTo>
                  <a:cubicBezTo>
                    <a:pt x="19" y="17"/>
                    <a:pt x="19" y="17"/>
                    <a:pt x="19" y="17"/>
                  </a:cubicBezTo>
                  <a:cubicBezTo>
                    <a:pt x="18" y="18"/>
                    <a:pt x="18" y="18"/>
                    <a:pt x="18" y="18"/>
                  </a:cubicBezTo>
                  <a:cubicBezTo>
                    <a:pt x="18" y="19"/>
                    <a:pt x="18" y="19"/>
                    <a:pt x="18" y="19"/>
                  </a:cubicBezTo>
                  <a:cubicBezTo>
                    <a:pt x="18" y="20"/>
                    <a:pt x="18" y="22"/>
                    <a:pt x="18" y="23"/>
                  </a:cubicBezTo>
                  <a:cubicBezTo>
                    <a:pt x="17" y="25"/>
                    <a:pt x="17" y="25"/>
                    <a:pt x="17" y="25"/>
                  </a:cubicBezTo>
                  <a:cubicBezTo>
                    <a:pt x="14" y="25"/>
                    <a:pt x="14" y="25"/>
                    <a:pt x="14" y="25"/>
                  </a:cubicBezTo>
                  <a:cubicBezTo>
                    <a:pt x="14" y="29"/>
                    <a:pt x="14" y="33"/>
                    <a:pt x="13" y="37"/>
                  </a:cubicBezTo>
                  <a:cubicBezTo>
                    <a:pt x="13" y="38"/>
                    <a:pt x="13" y="38"/>
                    <a:pt x="13" y="38"/>
                  </a:cubicBezTo>
                  <a:cubicBezTo>
                    <a:pt x="13" y="40"/>
                    <a:pt x="13" y="43"/>
                    <a:pt x="12" y="45"/>
                  </a:cubicBezTo>
                  <a:cubicBezTo>
                    <a:pt x="15" y="46"/>
                    <a:pt x="15" y="46"/>
                    <a:pt x="15" y="46"/>
                  </a:cubicBezTo>
                  <a:cubicBezTo>
                    <a:pt x="14" y="50"/>
                    <a:pt x="14" y="50"/>
                    <a:pt x="14" y="50"/>
                  </a:cubicBezTo>
                  <a:cubicBezTo>
                    <a:pt x="14" y="54"/>
                    <a:pt x="13" y="57"/>
                    <a:pt x="13" y="59"/>
                  </a:cubicBezTo>
                  <a:cubicBezTo>
                    <a:pt x="13" y="61"/>
                    <a:pt x="12" y="62"/>
                    <a:pt x="12" y="64"/>
                  </a:cubicBezTo>
                  <a:cubicBezTo>
                    <a:pt x="11" y="66"/>
                    <a:pt x="11" y="66"/>
                    <a:pt x="11" y="66"/>
                  </a:cubicBezTo>
                  <a:cubicBezTo>
                    <a:pt x="11" y="68"/>
                    <a:pt x="10" y="70"/>
                    <a:pt x="9" y="72"/>
                  </a:cubicBezTo>
                  <a:cubicBezTo>
                    <a:pt x="8" y="79"/>
                    <a:pt x="8" y="79"/>
                    <a:pt x="8" y="79"/>
                  </a:cubicBezTo>
                  <a:cubicBezTo>
                    <a:pt x="6" y="86"/>
                    <a:pt x="4" y="93"/>
                    <a:pt x="3" y="100"/>
                  </a:cubicBezTo>
                  <a:cubicBezTo>
                    <a:pt x="3" y="101"/>
                    <a:pt x="3" y="101"/>
                    <a:pt x="3" y="101"/>
                  </a:cubicBezTo>
                  <a:cubicBezTo>
                    <a:pt x="0" y="101"/>
                    <a:pt x="0" y="101"/>
                    <a:pt x="0" y="101"/>
                  </a:cubicBezTo>
                  <a:cubicBezTo>
                    <a:pt x="1" y="102"/>
                    <a:pt x="1" y="102"/>
                    <a:pt x="1" y="102"/>
                  </a:cubicBezTo>
                  <a:cubicBezTo>
                    <a:pt x="1" y="102"/>
                    <a:pt x="1" y="102"/>
                    <a:pt x="1" y="102"/>
                  </a:cubicBezTo>
                  <a:cubicBezTo>
                    <a:pt x="2" y="102"/>
                    <a:pt x="2" y="102"/>
                    <a:pt x="2" y="102"/>
                  </a:cubicBezTo>
                  <a:cubicBezTo>
                    <a:pt x="2" y="102"/>
                    <a:pt x="2" y="102"/>
                    <a:pt x="2" y="102"/>
                  </a:cubicBezTo>
                  <a:cubicBezTo>
                    <a:pt x="3" y="102"/>
                    <a:pt x="3" y="102"/>
                    <a:pt x="3" y="102"/>
                  </a:cubicBezTo>
                  <a:cubicBezTo>
                    <a:pt x="19" y="105"/>
                    <a:pt x="19" y="105"/>
                    <a:pt x="19" y="105"/>
                  </a:cubicBezTo>
                  <a:cubicBezTo>
                    <a:pt x="19" y="105"/>
                    <a:pt x="20" y="105"/>
                    <a:pt x="20" y="105"/>
                  </a:cubicBezTo>
                  <a:cubicBezTo>
                    <a:pt x="21" y="106"/>
                    <a:pt x="21" y="106"/>
                    <a:pt x="21" y="106"/>
                  </a:cubicBezTo>
                  <a:cubicBezTo>
                    <a:pt x="24" y="106"/>
                    <a:pt x="25" y="107"/>
                    <a:pt x="26" y="107"/>
                  </a:cubicBezTo>
                  <a:cubicBezTo>
                    <a:pt x="26" y="106"/>
                    <a:pt x="27" y="105"/>
                    <a:pt x="29" y="102"/>
                  </a:cubicBezTo>
                  <a:cubicBezTo>
                    <a:pt x="30" y="102"/>
                    <a:pt x="30" y="102"/>
                    <a:pt x="30" y="102"/>
                  </a:cubicBezTo>
                  <a:cubicBezTo>
                    <a:pt x="30" y="101"/>
                    <a:pt x="30" y="101"/>
                    <a:pt x="30" y="101"/>
                  </a:cubicBezTo>
                  <a:cubicBezTo>
                    <a:pt x="33" y="98"/>
                    <a:pt x="33" y="98"/>
                    <a:pt x="33" y="98"/>
                  </a:cubicBezTo>
                  <a:cubicBezTo>
                    <a:pt x="34" y="97"/>
                    <a:pt x="34" y="97"/>
                    <a:pt x="35" y="96"/>
                  </a:cubicBezTo>
                  <a:cubicBezTo>
                    <a:pt x="38" y="93"/>
                    <a:pt x="40" y="89"/>
                    <a:pt x="45" y="88"/>
                  </a:cubicBezTo>
                  <a:cubicBezTo>
                    <a:pt x="46" y="88"/>
                    <a:pt x="47" y="87"/>
                    <a:pt x="48" y="87"/>
                  </a:cubicBezTo>
                  <a:cubicBezTo>
                    <a:pt x="50" y="87"/>
                    <a:pt x="50" y="87"/>
                    <a:pt x="50" y="87"/>
                  </a:cubicBezTo>
                  <a:cubicBezTo>
                    <a:pt x="51" y="87"/>
                    <a:pt x="51" y="87"/>
                    <a:pt x="51" y="87"/>
                  </a:cubicBezTo>
                  <a:cubicBezTo>
                    <a:pt x="53" y="86"/>
                    <a:pt x="54" y="86"/>
                    <a:pt x="55" y="86"/>
                  </a:cubicBezTo>
                  <a:cubicBezTo>
                    <a:pt x="55" y="86"/>
                    <a:pt x="55" y="86"/>
                    <a:pt x="55" y="86"/>
                  </a:cubicBezTo>
                  <a:cubicBezTo>
                    <a:pt x="57" y="86"/>
                    <a:pt x="59" y="86"/>
                    <a:pt x="60" y="85"/>
                  </a:cubicBezTo>
                  <a:cubicBezTo>
                    <a:pt x="60" y="85"/>
                    <a:pt x="60" y="85"/>
                    <a:pt x="61" y="84"/>
                  </a:cubicBezTo>
                  <a:cubicBezTo>
                    <a:pt x="61" y="83"/>
                    <a:pt x="61" y="83"/>
                    <a:pt x="61" y="83"/>
                  </a:cubicBezTo>
                  <a:cubicBezTo>
                    <a:pt x="68" y="78"/>
                    <a:pt x="70" y="75"/>
                    <a:pt x="71" y="74"/>
                  </a:cubicBezTo>
                  <a:cubicBezTo>
                    <a:pt x="70" y="74"/>
                    <a:pt x="70" y="73"/>
                    <a:pt x="70" y="73"/>
                  </a:cubicBezTo>
                  <a:cubicBezTo>
                    <a:pt x="69" y="73"/>
                    <a:pt x="69" y="72"/>
                    <a:pt x="68" y="72"/>
                  </a:cubicBezTo>
                  <a:cubicBezTo>
                    <a:pt x="68" y="71"/>
                    <a:pt x="68" y="71"/>
                    <a:pt x="68" y="71"/>
                  </a:cubicBezTo>
                  <a:cubicBezTo>
                    <a:pt x="67" y="70"/>
                    <a:pt x="66" y="70"/>
                    <a:pt x="66" y="69"/>
                  </a:cubicBezTo>
                  <a:cubicBezTo>
                    <a:pt x="60" y="62"/>
                    <a:pt x="54" y="56"/>
                    <a:pt x="47" y="49"/>
                  </a:cubicBezTo>
                  <a:cubicBezTo>
                    <a:pt x="44" y="45"/>
                    <a:pt x="44" y="45"/>
                    <a:pt x="44" y="45"/>
                  </a:cubicBezTo>
                  <a:cubicBezTo>
                    <a:pt x="49" y="44"/>
                    <a:pt x="49" y="44"/>
                    <a:pt x="49" y="44"/>
                  </a:cubicBezTo>
                  <a:cubicBezTo>
                    <a:pt x="51" y="43"/>
                    <a:pt x="54" y="43"/>
                    <a:pt x="56" y="42"/>
                  </a:cubicBezTo>
                  <a:cubicBezTo>
                    <a:pt x="56" y="42"/>
                    <a:pt x="56" y="42"/>
                    <a:pt x="56" y="42"/>
                  </a:cubicBezTo>
                  <a:cubicBezTo>
                    <a:pt x="64" y="40"/>
                    <a:pt x="73" y="37"/>
                    <a:pt x="81" y="34"/>
                  </a:cubicBezTo>
                  <a:cubicBezTo>
                    <a:pt x="83" y="34"/>
                    <a:pt x="84" y="33"/>
                    <a:pt x="86" y="33"/>
                  </a:cubicBezTo>
                  <a:cubicBezTo>
                    <a:pt x="87" y="32"/>
                    <a:pt x="87" y="32"/>
                    <a:pt x="87" y="32"/>
                  </a:cubicBezTo>
                  <a:cubicBezTo>
                    <a:pt x="89" y="32"/>
                    <a:pt x="90" y="32"/>
                    <a:pt x="91" y="31"/>
                  </a:cubicBezTo>
                  <a:cubicBezTo>
                    <a:pt x="90" y="31"/>
                    <a:pt x="90" y="31"/>
                    <a:pt x="90" y="31"/>
                  </a:cubicBezTo>
                  <a:cubicBezTo>
                    <a:pt x="100" y="28"/>
                    <a:pt x="100" y="28"/>
                    <a:pt x="100" y="28"/>
                  </a:cubicBezTo>
                  <a:cubicBezTo>
                    <a:pt x="99" y="27"/>
                    <a:pt x="99" y="27"/>
                    <a:pt x="98" y="27"/>
                  </a:cubicBezTo>
                  <a:cubicBezTo>
                    <a:pt x="98" y="26"/>
                    <a:pt x="98" y="26"/>
                    <a:pt x="98" y="26"/>
                  </a:cubicBezTo>
                  <a:cubicBezTo>
                    <a:pt x="97" y="26"/>
                    <a:pt x="97" y="26"/>
                    <a:pt x="97" y="26"/>
                  </a:cubicBezTo>
                  <a:cubicBezTo>
                    <a:pt x="92" y="0"/>
                    <a:pt x="92" y="0"/>
                    <a:pt x="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443"/>
            <p:cNvSpPr/>
            <p:nvPr/>
          </p:nvSpPr>
          <p:spPr bwMode="auto">
            <a:xfrm>
              <a:off x="677181" y="2796388"/>
              <a:ext cx="752150" cy="709170"/>
            </a:xfrm>
            <a:custGeom>
              <a:gdLst>
                <a:gd name="T0" fmla="*/ 88 w 237"/>
                <a:gd name="T1" fmla="*/ 7 h 223"/>
                <a:gd name="T2" fmla="*/ 75 w 237"/>
                <a:gd name="T3" fmla="*/ 19 h 223"/>
                <a:gd name="T4" fmla="*/ 66 w 237"/>
                <a:gd name="T5" fmla="*/ 23 h 223"/>
                <a:gd name="T6" fmla="*/ 61 w 237"/>
                <a:gd name="T7" fmla="*/ 40 h 223"/>
                <a:gd name="T8" fmla="*/ 61 w 237"/>
                <a:gd name="T9" fmla="*/ 54 h 223"/>
                <a:gd name="T10" fmla="*/ 60 w 237"/>
                <a:gd name="T11" fmla="*/ 67 h 223"/>
                <a:gd name="T12" fmla="*/ 46 w 237"/>
                <a:gd name="T13" fmla="*/ 85 h 223"/>
                <a:gd name="T14" fmla="*/ 35 w 237"/>
                <a:gd name="T15" fmla="*/ 90 h 223"/>
                <a:gd name="T16" fmla="*/ 0 w 237"/>
                <a:gd name="T17" fmla="*/ 110 h 223"/>
                <a:gd name="T18" fmla="*/ 10 w 237"/>
                <a:gd name="T19" fmla="*/ 137 h 223"/>
                <a:gd name="T20" fmla="*/ 37 w 237"/>
                <a:gd name="T21" fmla="*/ 145 h 223"/>
                <a:gd name="T22" fmla="*/ 73 w 237"/>
                <a:gd name="T23" fmla="*/ 165 h 223"/>
                <a:gd name="T24" fmla="*/ 114 w 237"/>
                <a:gd name="T25" fmla="*/ 196 h 223"/>
                <a:gd name="T26" fmla="*/ 146 w 237"/>
                <a:gd name="T27" fmla="*/ 219 h 223"/>
                <a:gd name="T28" fmla="*/ 182 w 237"/>
                <a:gd name="T29" fmla="*/ 223 h 223"/>
                <a:gd name="T30" fmla="*/ 186 w 237"/>
                <a:gd name="T31" fmla="*/ 222 h 223"/>
                <a:gd name="T32" fmla="*/ 196 w 237"/>
                <a:gd name="T33" fmla="*/ 206 h 223"/>
                <a:gd name="T34" fmla="*/ 219 w 237"/>
                <a:gd name="T35" fmla="*/ 196 h 223"/>
                <a:gd name="T36" fmla="*/ 231 w 237"/>
                <a:gd name="T37" fmla="*/ 200 h 223"/>
                <a:gd name="T38" fmla="*/ 232 w 237"/>
                <a:gd name="T39" fmla="*/ 201 h 223"/>
                <a:gd name="T40" fmla="*/ 237 w 237"/>
                <a:gd name="T41" fmla="*/ 204 h 223"/>
                <a:gd name="T42" fmla="*/ 227 w 237"/>
                <a:gd name="T43" fmla="*/ 193 h 223"/>
                <a:gd name="T44" fmla="*/ 221 w 237"/>
                <a:gd name="T45" fmla="*/ 183 h 223"/>
                <a:gd name="T46" fmla="*/ 219 w 237"/>
                <a:gd name="T47" fmla="*/ 177 h 223"/>
                <a:gd name="T48" fmla="*/ 213 w 237"/>
                <a:gd name="T49" fmla="*/ 174 h 223"/>
                <a:gd name="T50" fmla="*/ 215 w 237"/>
                <a:gd name="T51" fmla="*/ 157 h 223"/>
                <a:gd name="T52" fmla="*/ 217 w 237"/>
                <a:gd name="T53" fmla="*/ 153 h 223"/>
                <a:gd name="T54" fmla="*/ 211 w 237"/>
                <a:gd name="T55" fmla="*/ 144 h 223"/>
                <a:gd name="T56" fmla="*/ 207 w 237"/>
                <a:gd name="T57" fmla="*/ 137 h 223"/>
                <a:gd name="T58" fmla="*/ 203 w 237"/>
                <a:gd name="T59" fmla="*/ 136 h 223"/>
                <a:gd name="T60" fmla="*/ 183 w 237"/>
                <a:gd name="T61" fmla="*/ 124 h 223"/>
                <a:gd name="T62" fmla="*/ 175 w 237"/>
                <a:gd name="T63" fmla="*/ 121 h 223"/>
                <a:gd name="T64" fmla="*/ 171 w 237"/>
                <a:gd name="T65" fmla="*/ 110 h 223"/>
                <a:gd name="T66" fmla="*/ 170 w 237"/>
                <a:gd name="T67" fmla="*/ 105 h 223"/>
                <a:gd name="T68" fmla="*/ 159 w 237"/>
                <a:gd name="T69" fmla="*/ 97 h 223"/>
                <a:gd name="T70" fmla="*/ 160 w 237"/>
                <a:gd name="T71" fmla="*/ 84 h 223"/>
                <a:gd name="T72" fmla="*/ 160 w 237"/>
                <a:gd name="T73" fmla="*/ 82 h 223"/>
                <a:gd name="T74" fmla="*/ 165 w 237"/>
                <a:gd name="T75" fmla="*/ 72 h 223"/>
                <a:gd name="T76" fmla="*/ 175 w 237"/>
                <a:gd name="T77" fmla="*/ 58 h 223"/>
                <a:gd name="T78" fmla="*/ 174 w 237"/>
                <a:gd name="T79" fmla="*/ 55 h 223"/>
                <a:gd name="T80" fmla="*/ 172 w 237"/>
                <a:gd name="T81" fmla="*/ 47 h 223"/>
                <a:gd name="T82" fmla="*/ 170 w 237"/>
                <a:gd name="T83" fmla="*/ 44 h 223"/>
                <a:gd name="T84" fmla="*/ 162 w 237"/>
                <a:gd name="T85" fmla="*/ 39 h 223"/>
                <a:gd name="T86" fmla="*/ 159 w 237"/>
                <a:gd name="T87" fmla="*/ 39 h 223"/>
                <a:gd name="T88" fmla="*/ 153 w 237"/>
                <a:gd name="T89" fmla="*/ 27 h 223"/>
                <a:gd name="T90" fmla="*/ 149 w 237"/>
                <a:gd name="T91" fmla="*/ 23 h 223"/>
                <a:gd name="T92" fmla="*/ 147 w 237"/>
                <a:gd name="T93" fmla="*/ 17 h 223"/>
                <a:gd name="T94" fmla="*/ 144 w 237"/>
                <a:gd name="T95" fmla="*/ 9 h 223"/>
                <a:gd name="T96" fmla="*/ 140 w 237"/>
                <a:gd name="T97" fmla="*/ 8 h 223"/>
                <a:gd name="T98" fmla="*/ 133 w 237"/>
                <a:gd name="T99" fmla="*/ 10 h 223"/>
                <a:gd name="T100" fmla="*/ 128 w 237"/>
                <a:gd name="T101" fmla="*/ 4 h 223"/>
                <a:gd name="T102" fmla="*/ 121 w 237"/>
                <a:gd name="T103" fmla="*/ 3 h 223"/>
                <a:gd name="T104" fmla="*/ 102 w 237"/>
                <a:gd name="T105" fmla="*/ 0 h 2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6" h="223">
                  <a:moveTo>
                    <a:pt x="100" y="0"/>
                  </a:moveTo>
                  <a:cubicBezTo>
                    <a:pt x="96" y="0"/>
                    <a:pt x="94" y="1"/>
                    <a:pt x="90" y="4"/>
                  </a:cubicBezTo>
                  <a:cubicBezTo>
                    <a:pt x="88" y="6"/>
                    <a:pt x="88" y="6"/>
                    <a:pt x="88" y="6"/>
                  </a:cubicBezTo>
                  <a:cubicBezTo>
                    <a:pt x="88" y="7"/>
                    <a:pt x="88" y="7"/>
                    <a:pt x="88" y="7"/>
                  </a:cubicBezTo>
                  <a:cubicBezTo>
                    <a:pt x="87" y="7"/>
                    <a:pt x="87" y="8"/>
                    <a:pt x="87" y="8"/>
                  </a:cubicBezTo>
                  <a:cubicBezTo>
                    <a:pt x="86" y="9"/>
                    <a:pt x="86" y="9"/>
                    <a:pt x="86" y="9"/>
                  </a:cubicBezTo>
                  <a:cubicBezTo>
                    <a:pt x="83" y="11"/>
                    <a:pt x="83" y="11"/>
                    <a:pt x="83" y="11"/>
                  </a:cubicBezTo>
                  <a:cubicBezTo>
                    <a:pt x="80" y="14"/>
                    <a:pt x="77" y="17"/>
                    <a:pt x="75" y="19"/>
                  </a:cubicBezTo>
                  <a:cubicBezTo>
                    <a:pt x="73" y="21"/>
                    <a:pt x="72" y="22"/>
                    <a:pt x="71" y="22"/>
                  </a:cubicBezTo>
                  <a:cubicBezTo>
                    <a:pt x="72" y="28"/>
                    <a:pt x="72" y="28"/>
                    <a:pt x="72" y="28"/>
                  </a:cubicBezTo>
                  <a:cubicBezTo>
                    <a:pt x="69" y="22"/>
                    <a:pt x="69" y="22"/>
                    <a:pt x="69" y="22"/>
                  </a:cubicBezTo>
                  <a:cubicBezTo>
                    <a:pt x="66" y="23"/>
                    <a:pt x="66" y="23"/>
                    <a:pt x="66" y="23"/>
                  </a:cubicBezTo>
                  <a:cubicBezTo>
                    <a:pt x="65" y="23"/>
                    <a:pt x="65" y="23"/>
                    <a:pt x="64" y="23"/>
                  </a:cubicBezTo>
                  <a:cubicBezTo>
                    <a:pt x="63" y="24"/>
                    <a:pt x="63" y="24"/>
                    <a:pt x="63" y="24"/>
                  </a:cubicBezTo>
                  <a:cubicBezTo>
                    <a:pt x="63" y="24"/>
                    <a:pt x="63" y="25"/>
                    <a:pt x="62" y="26"/>
                  </a:cubicBezTo>
                  <a:cubicBezTo>
                    <a:pt x="61" y="30"/>
                    <a:pt x="61" y="35"/>
                    <a:pt x="61" y="40"/>
                  </a:cubicBezTo>
                  <a:cubicBezTo>
                    <a:pt x="62" y="41"/>
                    <a:pt x="62" y="41"/>
                    <a:pt x="62" y="41"/>
                  </a:cubicBezTo>
                  <a:cubicBezTo>
                    <a:pt x="62" y="43"/>
                    <a:pt x="62" y="46"/>
                    <a:pt x="62" y="49"/>
                  </a:cubicBezTo>
                  <a:cubicBezTo>
                    <a:pt x="62" y="51"/>
                    <a:pt x="61" y="52"/>
                    <a:pt x="61" y="54"/>
                  </a:cubicBezTo>
                  <a:cubicBezTo>
                    <a:pt x="61" y="54"/>
                    <a:pt x="61" y="54"/>
                    <a:pt x="61" y="54"/>
                  </a:cubicBezTo>
                  <a:cubicBezTo>
                    <a:pt x="60" y="57"/>
                    <a:pt x="59" y="59"/>
                    <a:pt x="59" y="62"/>
                  </a:cubicBezTo>
                  <a:cubicBezTo>
                    <a:pt x="59" y="63"/>
                    <a:pt x="60" y="64"/>
                    <a:pt x="60" y="65"/>
                  </a:cubicBezTo>
                  <a:cubicBezTo>
                    <a:pt x="60" y="66"/>
                    <a:pt x="60" y="66"/>
                    <a:pt x="60" y="66"/>
                  </a:cubicBezTo>
                  <a:cubicBezTo>
                    <a:pt x="60" y="67"/>
                    <a:pt x="60" y="67"/>
                    <a:pt x="60" y="67"/>
                  </a:cubicBezTo>
                  <a:cubicBezTo>
                    <a:pt x="60" y="68"/>
                    <a:pt x="59" y="70"/>
                    <a:pt x="58" y="72"/>
                  </a:cubicBezTo>
                  <a:cubicBezTo>
                    <a:pt x="57" y="75"/>
                    <a:pt x="56" y="79"/>
                    <a:pt x="54" y="81"/>
                  </a:cubicBezTo>
                  <a:cubicBezTo>
                    <a:pt x="52" y="83"/>
                    <a:pt x="50" y="84"/>
                    <a:pt x="48" y="84"/>
                  </a:cubicBezTo>
                  <a:cubicBezTo>
                    <a:pt x="47" y="85"/>
                    <a:pt x="46" y="85"/>
                    <a:pt x="46" y="85"/>
                  </a:cubicBezTo>
                  <a:cubicBezTo>
                    <a:pt x="44" y="86"/>
                    <a:pt x="43" y="86"/>
                    <a:pt x="41" y="87"/>
                  </a:cubicBezTo>
                  <a:cubicBezTo>
                    <a:pt x="37" y="90"/>
                    <a:pt x="37" y="90"/>
                    <a:pt x="37" y="90"/>
                  </a:cubicBezTo>
                  <a:cubicBezTo>
                    <a:pt x="38" y="93"/>
                    <a:pt x="38" y="93"/>
                    <a:pt x="38" y="93"/>
                  </a:cubicBezTo>
                  <a:cubicBezTo>
                    <a:pt x="35" y="90"/>
                    <a:pt x="35" y="90"/>
                    <a:pt x="35" y="90"/>
                  </a:cubicBezTo>
                  <a:cubicBezTo>
                    <a:pt x="31" y="93"/>
                    <a:pt x="31" y="93"/>
                    <a:pt x="31" y="93"/>
                  </a:cubicBezTo>
                  <a:cubicBezTo>
                    <a:pt x="27" y="95"/>
                    <a:pt x="23" y="97"/>
                    <a:pt x="20" y="99"/>
                  </a:cubicBezTo>
                  <a:cubicBezTo>
                    <a:pt x="15" y="102"/>
                    <a:pt x="9" y="105"/>
                    <a:pt x="4" y="108"/>
                  </a:cubicBezTo>
                  <a:cubicBezTo>
                    <a:pt x="0" y="110"/>
                    <a:pt x="0" y="110"/>
                    <a:pt x="0" y="110"/>
                  </a:cubicBezTo>
                  <a:cubicBezTo>
                    <a:pt x="0" y="111"/>
                    <a:pt x="0" y="111"/>
                    <a:pt x="0" y="111"/>
                  </a:cubicBezTo>
                  <a:cubicBezTo>
                    <a:pt x="6" y="135"/>
                    <a:pt x="6" y="135"/>
                    <a:pt x="6" y="135"/>
                  </a:cubicBezTo>
                  <a:cubicBezTo>
                    <a:pt x="7" y="136"/>
                    <a:pt x="8" y="136"/>
                    <a:pt x="9" y="136"/>
                  </a:cubicBezTo>
                  <a:cubicBezTo>
                    <a:pt x="9" y="137"/>
                    <a:pt x="10" y="137"/>
                    <a:pt x="10" y="137"/>
                  </a:cubicBezTo>
                  <a:cubicBezTo>
                    <a:pt x="11" y="138"/>
                    <a:pt x="11" y="138"/>
                    <a:pt x="11" y="138"/>
                  </a:cubicBezTo>
                  <a:cubicBezTo>
                    <a:pt x="14" y="140"/>
                    <a:pt x="14" y="140"/>
                    <a:pt x="14" y="140"/>
                  </a:cubicBezTo>
                  <a:cubicBezTo>
                    <a:pt x="13" y="141"/>
                    <a:pt x="13" y="141"/>
                    <a:pt x="13" y="141"/>
                  </a:cubicBezTo>
                  <a:cubicBezTo>
                    <a:pt x="37" y="145"/>
                    <a:pt x="37" y="145"/>
                    <a:pt x="37" y="145"/>
                  </a:cubicBezTo>
                  <a:cubicBezTo>
                    <a:pt x="40" y="145"/>
                    <a:pt x="42" y="147"/>
                    <a:pt x="45" y="149"/>
                  </a:cubicBezTo>
                  <a:cubicBezTo>
                    <a:pt x="45" y="150"/>
                    <a:pt x="46" y="150"/>
                    <a:pt x="46" y="150"/>
                  </a:cubicBezTo>
                  <a:cubicBezTo>
                    <a:pt x="53" y="155"/>
                    <a:pt x="60" y="158"/>
                    <a:pt x="67" y="162"/>
                  </a:cubicBezTo>
                  <a:cubicBezTo>
                    <a:pt x="69" y="163"/>
                    <a:pt x="71" y="164"/>
                    <a:pt x="73" y="165"/>
                  </a:cubicBezTo>
                  <a:cubicBezTo>
                    <a:pt x="79" y="169"/>
                    <a:pt x="79" y="169"/>
                    <a:pt x="79" y="169"/>
                  </a:cubicBezTo>
                  <a:cubicBezTo>
                    <a:pt x="86" y="173"/>
                    <a:pt x="91" y="178"/>
                    <a:pt x="97" y="182"/>
                  </a:cubicBezTo>
                  <a:cubicBezTo>
                    <a:pt x="100" y="185"/>
                    <a:pt x="103" y="188"/>
                    <a:pt x="106" y="190"/>
                  </a:cubicBezTo>
                  <a:cubicBezTo>
                    <a:pt x="109" y="192"/>
                    <a:pt x="111" y="194"/>
                    <a:pt x="114" y="196"/>
                  </a:cubicBezTo>
                  <a:cubicBezTo>
                    <a:pt x="124" y="204"/>
                    <a:pt x="124" y="204"/>
                    <a:pt x="124" y="204"/>
                  </a:cubicBezTo>
                  <a:cubicBezTo>
                    <a:pt x="127" y="206"/>
                    <a:pt x="129" y="208"/>
                    <a:pt x="132" y="210"/>
                  </a:cubicBezTo>
                  <a:cubicBezTo>
                    <a:pt x="136" y="213"/>
                    <a:pt x="140" y="216"/>
                    <a:pt x="143" y="219"/>
                  </a:cubicBezTo>
                  <a:cubicBezTo>
                    <a:pt x="144" y="219"/>
                    <a:pt x="145" y="219"/>
                    <a:pt x="146" y="219"/>
                  </a:cubicBezTo>
                  <a:cubicBezTo>
                    <a:pt x="148" y="219"/>
                    <a:pt x="148" y="219"/>
                    <a:pt x="148" y="219"/>
                  </a:cubicBezTo>
                  <a:cubicBezTo>
                    <a:pt x="181" y="223"/>
                    <a:pt x="181" y="223"/>
                    <a:pt x="181" y="223"/>
                  </a:cubicBezTo>
                  <a:cubicBezTo>
                    <a:pt x="182" y="223"/>
                    <a:pt x="182" y="223"/>
                    <a:pt x="182" y="223"/>
                  </a:cubicBezTo>
                  <a:cubicBezTo>
                    <a:pt x="182" y="223"/>
                    <a:pt x="182" y="223"/>
                    <a:pt x="182" y="223"/>
                  </a:cubicBezTo>
                  <a:cubicBezTo>
                    <a:pt x="183" y="223"/>
                    <a:pt x="184" y="223"/>
                    <a:pt x="184" y="223"/>
                  </a:cubicBezTo>
                  <a:cubicBezTo>
                    <a:pt x="184" y="223"/>
                    <a:pt x="184" y="223"/>
                    <a:pt x="184" y="223"/>
                  </a:cubicBezTo>
                  <a:cubicBezTo>
                    <a:pt x="184" y="223"/>
                    <a:pt x="184" y="223"/>
                    <a:pt x="184" y="223"/>
                  </a:cubicBezTo>
                  <a:cubicBezTo>
                    <a:pt x="185" y="222"/>
                    <a:pt x="186" y="222"/>
                    <a:pt x="186" y="222"/>
                  </a:cubicBezTo>
                  <a:cubicBezTo>
                    <a:pt x="187" y="221"/>
                    <a:pt x="187" y="221"/>
                    <a:pt x="187" y="221"/>
                  </a:cubicBezTo>
                  <a:cubicBezTo>
                    <a:pt x="189" y="217"/>
                    <a:pt x="191" y="213"/>
                    <a:pt x="194" y="209"/>
                  </a:cubicBezTo>
                  <a:cubicBezTo>
                    <a:pt x="194" y="209"/>
                    <a:pt x="195" y="208"/>
                    <a:pt x="195" y="207"/>
                  </a:cubicBezTo>
                  <a:cubicBezTo>
                    <a:pt x="196" y="206"/>
                    <a:pt x="196" y="206"/>
                    <a:pt x="196" y="206"/>
                  </a:cubicBezTo>
                  <a:cubicBezTo>
                    <a:pt x="197" y="203"/>
                    <a:pt x="199" y="199"/>
                    <a:pt x="202" y="197"/>
                  </a:cubicBezTo>
                  <a:cubicBezTo>
                    <a:pt x="204" y="196"/>
                    <a:pt x="206" y="195"/>
                    <a:pt x="209" y="195"/>
                  </a:cubicBezTo>
                  <a:cubicBezTo>
                    <a:pt x="209" y="195"/>
                    <a:pt x="210" y="195"/>
                    <a:pt x="211" y="195"/>
                  </a:cubicBezTo>
                  <a:cubicBezTo>
                    <a:pt x="214" y="195"/>
                    <a:pt x="216" y="195"/>
                    <a:pt x="219" y="196"/>
                  </a:cubicBezTo>
                  <a:cubicBezTo>
                    <a:pt x="219" y="193"/>
                    <a:pt x="219" y="193"/>
                    <a:pt x="219" y="193"/>
                  </a:cubicBezTo>
                  <a:cubicBezTo>
                    <a:pt x="224" y="196"/>
                    <a:pt x="224" y="196"/>
                    <a:pt x="224" y="196"/>
                  </a:cubicBezTo>
                  <a:cubicBezTo>
                    <a:pt x="226" y="198"/>
                    <a:pt x="229" y="199"/>
                    <a:pt x="231" y="200"/>
                  </a:cubicBezTo>
                  <a:cubicBezTo>
                    <a:pt x="231" y="200"/>
                    <a:pt x="231" y="200"/>
                    <a:pt x="231" y="200"/>
                  </a:cubicBezTo>
                  <a:cubicBezTo>
                    <a:pt x="231" y="200"/>
                    <a:pt x="231" y="200"/>
                    <a:pt x="231" y="200"/>
                  </a:cubicBezTo>
                  <a:cubicBezTo>
                    <a:pt x="231" y="200"/>
                    <a:pt x="231" y="200"/>
                    <a:pt x="231" y="200"/>
                  </a:cubicBezTo>
                  <a:cubicBezTo>
                    <a:pt x="232" y="200"/>
                    <a:pt x="232" y="200"/>
                    <a:pt x="232" y="200"/>
                  </a:cubicBezTo>
                  <a:cubicBezTo>
                    <a:pt x="232" y="201"/>
                    <a:pt x="232" y="201"/>
                    <a:pt x="232" y="201"/>
                  </a:cubicBezTo>
                  <a:cubicBezTo>
                    <a:pt x="233" y="203"/>
                    <a:pt x="233" y="203"/>
                    <a:pt x="233" y="203"/>
                  </a:cubicBezTo>
                  <a:cubicBezTo>
                    <a:pt x="235" y="204"/>
                    <a:pt x="236" y="204"/>
                    <a:pt x="237" y="204"/>
                  </a:cubicBezTo>
                  <a:cubicBezTo>
                    <a:pt x="237" y="204"/>
                    <a:pt x="237" y="204"/>
                    <a:pt x="237" y="204"/>
                  </a:cubicBezTo>
                  <a:cubicBezTo>
                    <a:pt x="237" y="204"/>
                    <a:pt x="237" y="204"/>
                    <a:pt x="237" y="204"/>
                  </a:cubicBezTo>
                  <a:cubicBezTo>
                    <a:pt x="234" y="202"/>
                    <a:pt x="232" y="199"/>
                    <a:pt x="231" y="198"/>
                  </a:cubicBezTo>
                  <a:cubicBezTo>
                    <a:pt x="231" y="197"/>
                    <a:pt x="231" y="197"/>
                    <a:pt x="231" y="197"/>
                  </a:cubicBezTo>
                  <a:cubicBezTo>
                    <a:pt x="230" y="197"/>
                    <a:pt x="230" y="196"/>
                    <a:pt x="230" y="196"/>
                  </a:cubicBezTo>
                  <a:cubicBezTo>
                    <a:pt x="229" y="195"/>
                    <a:pt x="228" y="194"/>
                    <a:pt x="227" y="193"/>
                  </a:cubicBezTo>
                  <a:cubicBezTo>
                    <a:pt x="226" y="192"/>
                    <a:pt x="226" y="192"/>
                    <a:pt x="225" y="191"/>
                  </a:cubicBezTo>
                  <a:cubicBezTo>
                    <a:pt x="223" y="190"/>
                    <a:pt x="222" y="189"/>
                    <a:pt x="222" y="187"/>
                  </a:cubicBezTo>
                  <a:cubicBezTo>
                    <a:pt x="221" y="187"/>
                    <a:pt x="221" y="187"/>
                    <a:pt x="221" y="187"/>
                  </a:cubicBezTo>
                  <a:cubicBezTo>
                    <a:pt x="221" y="185"/>
                    <a:pt x="221" y="184"/>
                    <a:pt x="221" y="183"/>
                  </a:cubicBezTo>
                  <a:cubicBezTo>
                    <a:pt x="222" y="182"/>
                    <a:pt x="222" y="182"/>
                    <a:pt x="222" y="182"/>
                  </a:cubicBezTo>
                  <a:cubicBezTo>
                    <a:pt x="222" y="180"/>
                    <a:pt x="222" y="178"/>
                    <a:pt x="222" y="177"/>
                  </a:cubicBezTo>
                  <a:cubicBezTo>
                    <a:pt x="222" y="176"/>
                    <a:pt x="222" y="176"/>
                    <a:pt x="222" y="176"/>
                  </a:cubicBezTo>
                  <a:cubicBezTo>
                    <a:pt x="221" y="176"/>
                    <a:pt x="220" y="176"/>
                    <a:pt x="219" y="177"/>
                  </a:cubicBezTo>
                  <a:cubicBezTo>
                    <a:pt x="217" y="177"/>
                    <a:pt x="217" y="177"/>
                    <a:pt x="217" y="177"/>
                  </a:cubicBezTo>
                  <a:cubicBezTo>
                    <a:pt x="217" y="177"/>
                    <a:pt x="216" y="177"/>
                    <a:pt x="216" y="177"/>
                  </a:cubicBezTo>
                  <a:cubicBezTo>
                    <a:pt x="213" y="177"/>
                    <a:pt x="213" y="177"/>
                    <a:pt x="213" y="177"/>
                  </a:cubicBezTo>
                  <a:cubicBezTo>
                    <a:pt x="213" y="174"/>
                    <a:pt x="213" y="174"/>
                    <a:pt x="213" y="174"/>
                  </a:cubicBezTo>
                  <a:cubicBezTo>
                    <a:pt x="213" y="171"/>
                    <a:pt x="213" y="168"/>
                    <a:pt x="213" y="166"/>
                  </a:cubicBezTo>
                  <a:cubicBezTo>
                    <a:pt x="213" y="164"/>
                    <a:pt x="214" y="162"/>
                    <a:pt x="214" y="161"/>
                  </a:cubicBezTo>
                  <a:cubicBezTo>
                    <a:pt x="214" y="160"/>
                    <a:pt x="214" y="160"/>
                    <a:pt x="214" y="159"/>
                  </a:cubicBezTo>
                  <a:cubicBezTo>
                    <a:pt x="215" y="157"/>
                    <a:pt x="215" y="157"/>
                    <a:pt x="215" y="157"/>
                  </a:cubicBezTo>
                  <a:cubicBezTo>
                    <a:pt x="216" y="156"/>
                    <a:pt x="216" y="156"/>
                    <a:pt x="216" y="155"/>
                  </a:cubicBezTo>
                  <a:cubicBezTo>
                    <a:pt x="210" y="153"/>
                    <a:pt x="210" y="153"/>
                    <a:pt x="210" y="153"/>
                  </a:cubicBezTo>
                  <a:cubicBezTo>
                    <a:pt x="217" y="154"/>
                    <a:pt x="217" y="154"/>
                    <a:pt x="217" y="154"/>
                  </a:cubicBezTo>
                  <a:cubicBezTo>
                    <a:pt x="217" y="153"/>
                    <a:pt x="217" y="153"/>
                    <a:pt x="217" y="153"/>
                  </a:cubicBezTo>
                  <a:cubicBezTo>
                    <a:pt x="217" y="153"/>
                    <a:pt x="217" y="153"/>
                    <a:pt x="217" y="153"/>
                  </a:cubicBezTo>
                  <a:cubicBezTo>
                    <a:pt x="217" y="153"/>
                    <a:pt x="217" y="153"/>
                    <a:pt x="217" y="153"/>
                  </a:cubicBezTo>
                  <a:cubicBezTo>
                    <a:pt x="217" y="153"/>
                    <a:pt x="217" y="151"/>
                    <a:pt x="214" y="148"/>
                  </a:cubicBezTo>
                  <a:cubicBezTo>
                    <a:pt x="213" y="147"/>
                    <a:pt x="212" y="145"/>
                    <a:pt x="211" y="144"/>
                  </a:cubicBezTo>
                  <a:cubicBezTo>
                    <a:pt x="211" y="144"/>
                    <a:pt x="211" y="144"/>
                    <a:pt x="211" y="144"/>
                  </a:cubicBezTo>
                  <a:cubicBezTo>
                    <a:pt x="205" y="147"/>
                    <a:pt x="205" y="147"/>
                    <a:pt x="205" y="147"/>
                  </a:cubicBezTo>
                  <a:cubicBezTo>
                    <a:pt x="210" y="142"/>
                    <a:pt x="210" y="142"/>
                    <a:pt x="210" y="142"/>
                  </a:cubicBezTo>
                  <a:cubicBezTo>
                    <a:pt x="209" y="140"/>
                    <a:pt x="208" y="138"/>
                    <a:pt x="207" y="137"/>
                  </a:cubicBezTo>
                  <a:cubicBezTo>
                    <a:pt x="206" y="136"/>
                    <a:pt x="205" y="136"/>
                    <a:pt x="205" y="136"/>
                  </a:cubicBezTo>
                  <a:cubicBezTo>
                    <a:pt x="205" y="136"/>
                    <a:pt x="205" y="136"/>
                    <a:pt x="205" y="136"/>
                  </a:cubicBezTo>
                  <a:cubicBezTo>
                    <a:pt x="205" y="136"/>
                    <a:pt x="204" y="136"/>
                    <a:pt x="204" y="136"/>
                  </a:cubicBezTo>
                  <a:cubicBezTo>
                    <a:pt x="204" y="136"/>
                    <a:pt x="203" y="136"/>
                    <a:pt x="203" y="136"/>
                  </a:cubicBezTo>
                  <a:cubicBezTo>
                    <a:pt x="202" y="136"/>
                    <a:pt x="201" y="136"/>
                    <a:pt x="200" y="136"/>
                  </a:cubicBezTo>
                  <a:cubicBezTo>
                    <a:pt x="200" y="135"/>
                    <a:pt x="199" y="135"/>
                    <a:pt x="198" y="135"/>
                  </a:cubicBezTo>
                  <a:cubicBezTo>
                    <a:pt x="187" y="126"/>
                    <a:pt x="187" y="126"/>
                    <a:pt x="187" y="126"/>
                  </a:cubicBezTo>
                  <a:cubicBezTo>
                    <a:pt x="186" y="125"/>
                    <a:pt x="185" y="125"/>
                    <a:pt x="183" y="124"/>
                  </a:cubicBezTo>
                  <a:cubicBezTo>
                    <a:pt x="182" y="123"/>
                    <a:pt x="181" y="123"/>
                    <a:pt x="181" y="123"/>
                  </a:cubicBezTo>
                  <a:cubicBezTo>
                    <a:pt x="180" y="123"/>
                    <a:pt x="180" y="123"/>
                    <a:pt x="180" y="123"/>
                  </a:cubicBezTo>
                  <a:cubicBezTo>
                    <a:pt x="178" y="123"/>
                    <a:pt x="177" y="123"/>
                    <a:pt x="175" y="122"/>
                  </a:cubicBezTo>
                  <a:cubicBezTo>
                    <a:pt x="175" y="121"/>
                    <a:pt x="175" y="121"/>
                    <a:pt x="175" y="121"/>
                  </a:cubicBezTo>
                  <a:cubicBezTo>
                    <a:pt x="174" y="121"/>
                    <a:pt x="173" y="120"/>
                    <a:pt x="173" y="118"/>
                  </a:cubicBezTo>
                  <a:cubicBezTo>
                    <a:pt x="172" y="117"/>
                    <a:pt x="172" y="114"/>
                    <a:pt x="171" y="113"/>
                  </a:cubicBezTo>
                  <a:cubicBezTo>
                    <a:pt x="171" y="112"/>
                    <a:pt x="171" y="112"/>
                    <a:pt x="171" y="112"/>
                  </a:cubicBezTo>
                  <a:cubicBezTo>
                    <a:pt x="171" y="111"/>
                    <a:pt x="171" y="110"/>
                    <a:pt x="171" y="110"/>
                  </a:cubicBezTo>
                  <a:cubicBezTo>
                    <a:pt x="171" y="109"/>
                    <a:pt x="171" y="108"/>
                    <a:pt x="170" y="107"/>
                  </a:cubicBezTo>
                  <a:cubicBezTo>
                    <a:pt x="170" y="106"/>
                    <a:pt x="170" y="106"/>
                    <a:pt x="170" y="106"/>
                  </a:cubicBezTo>
                  <a:cubicBezTo>
                    <a:pt x="170" y="106"/>
                    <a:pt x="170" y="106"/>
                    <a:pt x="170" y="106"/>
                  </a:cubicBezTo>
                  <a:cubicBezTo>
                    <a:pt x="170" y="105"/>
                    <a:pt x="170" y="105"/>
                    <a:pt x="170" y="105"/>
                  </a:cubicBezTo>
                  <a:cubicBezTo>
                    <a:pt x="169" y="105"/>
                    <a:pt x="169" y="105"/>
                    <a:pt x="169" y="105"/>
                  </a:cubicBezTo>
                  <a:cubicBezTo>
                    <a:pt x="168" y="105"/>
                    <a:pt x="167" y="104"/>
                    <a:pt x="166" y="103"/>
                  </a:cubicBezTo>
                  <a:cubicBezTo>
                    <a:pt x="166" y="104"/>
                    <a:pt x="166" y="104"/>
                    <a:pt x="166" y="104"/>
                  </a:cubicBezTo>
                  <a:cubicBezTo>
                    <a:pt x="159" y="97"/>
                    <a:pt x="159" y="97"/>
                    <a:pt x="159" y="97"/>
                  </a:cubicBezTo>
                  <a:cubicBezTo>
                    <a:pt x="159" y="96"/>
                    <a:pt x="158" y="96"/>
                    <a:pt x="158" y="95"/>
                  </a:cubicBezTo>
                  <a:cubicBezTo>
                    <a:pt x="157" y="94"/>
                    <a:pt x="157" y="93"/>
                    <a:pt x="157" y="91"/>
                  </a:cubicBezTo>
                  <a:cubicBezTo>
                    <a:pt x="157" y="90"/>
                    <a:pt x="157" y="90"/>
                    <a:pt x="157" y="90"/>
                  </a:cubicBezTo>
                  <a:cubicBezTo>
                    <a:pt x="158" y="88"/>
                    <a:pt x="159" y="86"/>
                    <a:pt x="160" y="84"/>
                  </a:cubicBezTo>
                  <a:cubicBezTo>
                    <a:pt x="161" y="83"/>
                    <a:pt x="161" y="83"/>
                    <a:pt x="161" y="83"/>
                  </a:cubicBezTo>
                  <a:cubicBezTo>
                    <a:pt x="160" y="83"/>
                    <a:pt x="160" y="83"/>
                    <a:pt x="160" y="83"/>
                  </a:cubicBezTo>
                  <a:cubicBezTo>
                    <a:pt x="160" y="82"/>
                    <a:pt x="160" y="82"/>
                    <a:pt x="160" y="82"/>
                  </a:cubicBezTo>
                  <a:cubicBezTo>
                    <a:pt x="160" y="82"/>
                    <a:pt x="160" y="82"/>
                    <a:pt x="160" y="82"/>
                  </a:cubicBezTo>
                  <a:cubicBezTo>
                    <a:pt x="159" y="81"/>
                    <a:pt x="158" y="80"/>
                    <a:pt x="158" y="79"/>
                  </a:cubicBezTo>
                  <a:cubicBezTo>
                    <a:pt x="158" y="77"/>
                    <a:pt x="158" y="77"/>
                    <a:pt x="158" y="77"/>
                  </a:cubicBezTo>
                  <a:cubicBezTo>
                    <a:pt x="164" y="71"/>
                    <a:pt x="164" y="71"/>
                    <a:pt x="164" y="71"/>
                  </a:cubicBezTo>
                  <a:cubicBezTo>
                    <a:pt x="165" y="72"/>
                    <a:pt x="165" y="72"/>
                    <a:pt x="165" y="72"/>
                  </a:cubicBezTo>
                  <a:cubicBezTo>
                    <a:pt x="165" y="71"/>
                    <a:pt x="165" y="71"/>
                    <a:pt x="165" y="71"/>
                  </a:cubicBezTo>
                  <a:cubicBezTo>
                    <a:pt x="166" y="67"/>
                    <a:pt x="166" y="64"/>
                    <a:pt x="169" y="61"/>
                  </a:cubicBezTo>
                  <a:cubicBezTo>
                    <a:pt x="170" y="60"/>
                    <a:pt x="170" y="60"/>
                    <a:pt x="170" y="60"/>
                  </a:cubicBezTo>
                  <a:cubicBezTo>
                    <a:pt x="172" y="59"/>
                    <a:pt x="173" y="59"/>
                    <a:pt x="175" y="58"/>
                  </a:cubicBezTo>
                  <a:cubicBezTo>
                    <a:pt x="176" y="58"/>
                    <a:pt x="176" y="58"/>
                    <a:pt x="176" y="58"/>
                  </a:cubicBezTo>
                  <a:cubicBezTo>
                    <a:pt x="176" y="58"/>
                    <a:pt x="176" y="58"/>
                    <a:pt x="176" y="58"/>
                  </a:cubicBezTo>
                  <a:cubicBezTo>
                    <a:pt x="176" y="57"/>
                    <a:pt x="175" y="57"/>
                    <a:pt x="174" y="56"/>
                  </a:cubicBezTo>
                  <a:cubicBezTo>
                    <a:pt x="174" y="55"/>
                    <a:pt x="174" y="55"/>
                    <a:pt x="174" y="55"/>
                  </a:cubicBezTo>
                  <a:cubicBezTo>
                    <a:pt x="173" y="54"/>
                    <a:pt x="173" y="54"/>
                    <a:pt x="173" y="53"/>
                  </a:cubicBezTo>
                  <a:cubicBezTo>
                    <a:pt x="172" y="52"/>
                    <a:pt x="172" y="52"/>
                    <a:pt x="172" y="52"/>
                  </a:cubicBezTo>
                  <a:cubicBezTo>
                    <a:pt x="172" y="51"/>
                    <a:pt x="172" y="50"/>
                    <a:pt x="172" y="49"/>
                  </a:cubicBezTo>
                  <a:cubicBezTo>
                    <a:pt x="172" y="47"/>
                    <a:pt x="172" y="47"/>
                    <a:pt x="172" y="47"/>
                  </a:cubicBezTo>
                  <a:cubicBezTo>
                    <a:pt x="172" y="47"/>
                    <a:pt x="172" y="47"/>
                    <a:pt x="172" y="46"/>
                  </a:cubicBezTo>
                  <a:cubicBezTo>
                    <a:pt x="172" y="45"/>
                    <a:pt x="172" y="45"/>
                    <a:pt x="172" y="45"/>
                  </a:cubicBezTo>
                  <a:cubicBezTo>
                    <a:pt x="172" y="44"/>
                    <a:pt x="172" y="44"/>
                    <a:pt x="173" y="43"/>
                  </a:cubicBezTo>
                  <a:cubicBezTo>
                    <a:pt x="172" y="44"/>
                    <a:pt x="171" y="44"/>
                    <a:pt x="170" y="44"/>
                  </a:cubicBezTo>
                  <a:cubicBezTo>
                    <a:pt x="170" y="44"/>
                    <a:pt x="170" y="44"/>
                    <a:pt x="169" y="44"/>
                  </a:cubicBezTo>
                  <a:cubicBezTo>
                    <a:pt x="168" y="43"/>
                    <a:pt x="167" y="43"/>
                    <a:pt x="166" y="42"/>
                  </a:cubicBezTo>
                  <a:cubicBezTo>
                    <a:pt x="165" y="41"/>
                    <a:pt x="165" y="41"/>
                    <a:pt x="165" y="41"/>
                  </a:cubicBezTo>
                  <a:cubicBezTo>
                    <a:pt x="164" y="40"/>
                    <a:pt x="163" y="39"/>
                    <a:pt x="162" y="39"/>
                  </a:cubicBezTo>
                  <a:cubicBezTo>
                    <a:pt x="162" y="38"/>
                    <a:pt x="162" y="38"/>
                    <a:pt x="162" y="38"/>
                  </a:cubicBezTo>
                  <a:cubicBezTo>
                    <a:pt x="161" y="38"/>
                    <a:pt x="161" y="38"/>
                    <a:pt x="161" y="38"/>
                  </a:cubicBezTo>
                  <a:cubicBezTo>
                    <a:pt x="160" y="39"/>
                    <a:pt x="160" y="39"/>
                    <a:pt x="160" y="39"/>
                  </a:cubicBezTo>
                  <a:cubicBezTo>
                    <a:pt x="159" y="39"/>
                    <a:pt x="159" y="39"/>
                    <a:pt x="159" y="39"/>
                  </a:cubicBezTo>
                  <a:cubicBezTo>
                    <a:pt x="157" y="38"/>
                    <a:pt x="156" y="37"/>
                    <a:pt x="155" y="35"/>
                  </a:cubicBezTo>
                  <a:cubicBezTo>
                    <a:pt x="155" y="34"/>
                    <a:pt x="155" y="34"/>
                    <a:pt x="155" y="34"/>
                  </a:cubicBezTo>
                  <a:cubicBezTo>
                    <a:pt x="155" y="32"/>
                    <a:pt x="155" y="32"/>
                    <a:pt x="155" y="32"/>
                  </a:cubicBezTo>
                  <a:cubicBezTo>
                    <a:pt x="154" y="30"/>
                    <a:pt x="154" y="28"/>
                    <a:pt x="153" y="27"/>
                  </a:cubicBezTo>
                  <a:cubicBezTo>
                    <a:pt x="153" y="26"/>
                    <a:pt x="153" y="26"/>
                    <a:pt x="153" y="26"/>
                  </a:cubicBezTo>
                  <a:cubicBezTo>
                    <a:pt x="153" y="25"/>
                    <a:pt x="153" y="25"/>
                    <a:pt x="153" y="25"/>
                  </a:cubicBezTo>
                  <a:cubicBezTo>
                    <a:pt x="152" y="25"/>
                    <a:pt x="152" y="25"/>
                    <a:pt x="152" y="25"/>
                  </a:cubicBezTo>
                  <a:cubicBezTo>
                    <a:pt x="150" y="24"/>
                    <a:pt x="149" y="24"/>
                    <a:pt x="149" y="23"/>
                  </a:cubicBezTo>
                  <a:cubicBezTo>
                    <a:pt x="147" y="21"/>
                    <a:pt x="148" y="20"/>
                    <a:pt x="148" y="18"/>
                  </a:cubicBezTo>
                  <a:cubicBezTo>
                    <a:pt x="148" y="18"/>
                    <a:pt x="148" y="18"/>
                    <a:pt x="148" y="18"/>
                  </a:cubicBezTo>
                  <a:cubicBezTo>
                    <a:pt x="148" y="17"/>
                    <a:pt x="148" y="17"/>
                    <a:pt x="148" y="17"/>
                  </a:cubicBezTo>
                  <a:cubicBezTo>
                    <a:pt x="147" y="17"/>
                    <a:pt x="147" y="17"/>
                    <a:pt x="147" y="17"/>
                  </a:cubicBezTo>
                  <a:cubicBezTo>
                    <a:pt x="146" y="17"/>
                    <a:pt x="145" y="17"/>
                    <a:pt x="144" y="15"/>
                  </a:cubicBezTo>
                  <a:cubicBezTo>
                    <a:pt x="143" y="14"/>
                    <a:pt x="143" y="12"/>
                    <a:pt x="144" y="11"/>
                  </a:cubicBezTo>
                  <a:cubicBezTo>
                    <a:pt x="144" y="10"/>
                    <a:pt x="144" y="10"/>
                    <a:pt x="144" y="10"/>
                  </a:cubicBezTo>
                  <a:cubicBezTo>
                    <a:pt x="144" y="9"/>
                    <a:pt x="144" y="9"/>
                    <a:pt x="144" y="9"/>
                  </a:cubicBezTo>
                  <a:cubicBezTo>
                    <a:pt x="143" y="8"/>
                    <a:pt x="143" y="8"/>
                    <a:pt x="143" y="8"/>
                  </a:cubicBezTo>
                  <a:cubicBezTo>
                    <a:pt x="143" y="7"/>
                    <a:pt x="143" y="7"/>
                    <a:pt x="143" y="7"/>
                  </a:cubicBezTo>
                  <a:cubicBezTo>
                    <a:pt x="141" y="8"/>
                    <a:pt x="141" y="8"/>
                    <a:pt x="141" y="8"/>
                  </a:cubicBezTo>
                  <a:cubicBezTo>
                    <a:pt x="140" y="8"/>
                    <a:pt x="140" y="8"/>
                    <a:pt x="140" y="8"/>
                  </a:cubicBezTo>
                  <a:cubicBezTo>
                    <a:pt x="139" y="9"/>
                    <a:pt x="139" y="9"/>
                    <a:pt x="139" y="9"/>
                  </a:cubicBezTo>
                  <a:cubicBezTo>
                    <a:pt x="138" y="9"/>
                    <a:pt x="136" y="10"/>
                    <a:pt x="134" y="10"/>
                  </a:cubicBezTo>
                  <a:cubicBezTo>
                    <a:pt x="134" y="10"/>
                    <a:pt x="134" y="10"/>
                    <a:pt x="134" y="10"/>
                  </a:cubicBezTo>
                  <a:cubicBezTo>
                    <a:pt x="133" y="10"/>
                    <a:pt x="133" y="10"/>
                    <a:pt x="133" y="10"/>
                  </a:cubicBezTo>
                  <a:cubicBezTo>
                    <a:pt x="131" y="10"/>
                    <a:pt x="130" y="8"/>
                    <a:pt x="129" y="7"/>
                  </a:cubicBezTo>
                  <a:cubicBezTo>
                    <a:pt x="129" y="6"/>
                    <a:pt x="129" y="6"/>
                    <a:pt x="129" y="5"/>
                  </a:cubicBezTo>
                  <a:cubicBezTo>
                    <a:pt x="129" y="5"/>
                    <a:pt x="129" y="5"/>
                    <a:pt x="129" y="5"/>
                  </a:cubicBezTo>
                  <a:cubicBezTo>
                    <a:pt x="128" y="4"/>
                    <a:pt x="128" y="4"/>
                    <a:pt x="128" y="4"/>
                  </a:cubicBezTo>
                  <a:cubicBezTo>
                    <a:pt x="128" y="3"/>
                    <a:pt x="128" y="3"/>
                    <a:pt x="128" y="3"/>
                  </a:cubicBezTo>
                  <a:cubicBezTo>
                    <a:pt x="128" y="2"/>
                    <a:pt x="127" y="2"/>
                    <a:pt x="127" y="2"/>
                  </a:cubicBezTo>
                  <a:cubicBezTo>
                    <a:pt x="127" y="2"/>
                    <a:pt x="126" y="2"/>
                    <a:pt x="126" y="2"/>
                  </a:cubicBezTo>
                  <a:cubicBezTo>
                    <a:pt x="124" y="2"/>
                    <a:pt x="122" y="3"/>
                    <a:pt x="121" y="3"/>
                  </a:cubicBezTo>
                  <a:cubicBezTo>
                    <a:pt x="117" y="3"/>
                    <a:pt x="113" y="2"/>
                    <a:pt x="110" y="1"/>
                  </a:cubicBezTo>
                  <a:cubicBezTo>
                    <a:pt x="107" y="0"/>
                    <a:pt x="107" y="0"/>
                    <a:pt x="107" y="0"/>
                  </a:cubicBezTo>
                  <a:cubicBezTo>
                    <a:pt x="105" y="0"/>
                    <a:pt x="104" y="0"/>
                    <a:pt x="103" y="0"/>
                  </a:cubicBezTo>
                  <a:cubicBezTo>
                    <a:pt x="103" y="0"/>
                    <a:pt x="103" y="0"/>
                    <a:pt x="102" y="0"/>
                  </a:cubicBezTo>
                  <a:cubicBezTo>
                    <a:pt x="102" y="0"/>
                    <a:pt x="101" y="0"/>
                    <a:pt x="101" y="0"/>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444"/>
            <p:cNvSpPr/>
            <p:nvPr/>
          </p:nvSpPr>
          <p:spPr bwMode="auto">
            <a:xfrm>
              <a:off x="1289647" y="3435716"/>
              <a:ext cx="124911" cy="114166"/>
            </a:xfrm>
            <a:custGeom>
              <a:gdLst>
                <a:gd name="T0" fmla="*/ 18 w 39"/>
                <a:gd name="T1" fmla="*/ 0 h 36"/>
                <a:gd name="T2" fmla="*/ 17 w 39"/>
                <a:gd name="T3" fmla="*/ 0 h 36"/>
                <a:gd name="T4" fmla="*/ 13 w 39"/>
                <a:gd name="T5" fmla="*/ 1 h 36"/>
                <a:gd name="T6" fmla="*/ 8 w 39"/>
                <a:gd name="T7" fmla="*/ 8 h 36"/>
                <a:gd name="T8" fmla="*/ 8 w 39"/>
                <a:gd name="T9" fmla="*/ 9 h 36"/>
                <a:gd name="T10" fmla="*/ 6 w 39"/>
                <a:gd name="T11" fmla="*/ 11 h 36"/>
                <a:gd name="T12" fmla="*/ 0 w 39"/>
                <a:gd name="T13" fmla="*/ 22 h 36"/>
                <a:gd name="T14" fmla="*/ 18 w 39"/>
                <a:gd name="T15" fmla="*/ 26 h 36"/>
                <a:gd name="T16" fmla="*/ 23 w 39"/>
                <a:gd name="T17" fmla="*/ 32 h 36"/>
                <a:gd name="T18" fmla="*/ 23 w 39"/>
                <a:gd name="T19" fmla="*/ 33 h 36"/>
                <a:gd name="T20" fmla="*/ 23 w 39"/>
                <a:gd name="T21" fmla="*/ 34 h 36"/>
                <a:gd name="T22" fmla="*/ 23 w 39"/>
                <a:gd name="T23" fmla="*/ 34 h 36"/>
                <a:gd name="T24" fmla="*/ 25 w 39"/>
                <a:gd name="T25" fmla="*/ 35 h 36"/>
                <a:gd name="T26" fmla="*/ 30 w 39"/>
                <a:gd name="T27" fmla="*/ 36 h 36"/>
                <a:gd name="T28" fmla="*/ 36 w 39"/>
                <a:gd name="T29" fmla="*/ 36 h 36"/>
                <a:gd name="T30" fmla="*/ 39 w 39"/>
                <a:gd name="T31" fmla="*/ 36 h 36"/>
                <a:gd name="T32" fmla="*/ 34 w 39"/>
                <a:gd name="T33" fmla="*/ 23 h 36"/>
                <a:gd name="T34" fmla="*/ 32 w 39"/>
                <a:gd name="T35" fmla="*/ 18 h 36"/>
                <a:gd name="T36" fmla="*/ 25 w 39"/>
                <a:gd name="T37" fmla="*/ 16 h 36"/>
                <a:gd name="T38" fmla="*/ 30 w 39"/>
                <a:gd name="T39" fmla="*/ 10 h 36"/>
                <a:gd name="T40" fmla="*/ 31 w 39"/>
                <a:gd name="T41" fmla="*/ 10 h 36"/>
                <a:gd name="T42" fmla="*/ 35 w 39"/>
                <a:gd name="T43" fmla="*/ 11 h 36"/>
                <a:gd name="T44" fmla="*/ 32 w 39"/>
                <a:gd name="T45" fmla="*/ 7 h 36"/>
                <a:gd name="T46" fmla="*/ 30 w 39"/>
                <a:gd name="T47" fmla="*/ 3 h 36"/>
                <a:gd name="T48" fmla="*/ 25 w 39"/>
                <a:gd name="T49" fmla="*/ 1 h 36"/>
                <a:gd name="T50" fmla="*/ 18 w 39"/>
                <a:gd name="T51"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6">
                  <a:moveTo>
                    <a:pt x="18" y="0"/>
                  </a:moveTo>
                  <a:cubicBezTo>
                    <a:pt x="18" y="0"/>
                    <a:pt x="17" y="0"/>
                    <a:pt x="17" y="0"/>
                  </a:cubicBezTo>
                  <a:cubicBezTo>
                    <a:pt x="15" y="0"/>
                    <a:pt x="14" y="1"/>
                    <a:pt x="13" y="1"/>
                  </a:cubicBezTo>
                  <a:cubicBezTo>
                    <a:pt x="11" y="3"/>
                    <a:pt x="9" y="5"/>
                    <a:pt x="8" y="8"/>
                  </a:cubicBezTo>
                  <a:cubicBezTo>
                    <a:pt x="8" y="9"/>
                    <a:pt x="8" y="9"/>
                    <a:pt x="8" y="9"/>
                  </a:cubicBezTo>
                  <a:cubicBezTo>
                    <a:pt x="7" y="10"/>
                    <a:pt x="7" y="11"/>
                    <a:pt x="6" y="11"/>
                  </a:cubicBezTo>
                  <a:cubicBezTo>
                    <a:pt x="4" y="15"/>
                    <a:pt x="2" y="18"/>
                    <a:pt x="0" y="22"/>
                  </a:cubicBezTo>
                  <a:cubicBezTo>
                    <a:pt x="18" y="26"/>
                    <a:pt x="18" y="26"/>
                    <a:pt x="18" y="26"/>
                  </a:cubicBezTo>
                  <a:cubicBezTo>
                    <a:pt x="22" y="27"/>
                    <a:pt x="22" y="31"/>
                    <a:pt x="23" y="32"/>
                  </a:cubicBezTo>
                  <a:cubicBezTo>
                    <a:pt x="23" y="32"/>
                    <a:pt x="23" y="33"/>
                    <a:pt x="23" y="33"/>
                  </a:cubicBezTo>
                  <a:cubicBezTo>
                    <a:pt x="23" y="34"/>
                    <a:pt x="23" y="34"/>
                    <a:pt x="23" y="34"/>
                  </a:cubicBezTo>
                  <a:cubicBezTo>
                    <a:pt x="23" y="34"/>
                    <a:pt x="23" y="34"/>
                    <a:pt x="23" y="34"/>
                  </a:cubicBezTo>
                  <a:cubicBezTo>
                    <a:pt x="23" y="35"/>
                    <a:pt x="24" y="35"/>
                    <a:pt x="25" y="35"/>
                  </a:cubicBezTo>
                  <a:cubicBezTo>
                    <a:pt x="26" y="36"/>
                    <a:pt x="28" y="36"/>
                    <a:pt x="30" y="36"/>
                  </a:cubicBezTo>
                  <a:cubicBezTo>
                    <a:pt x="32" y="36"/>
                    <a:pt x="34" y="36"/>
                    <a:pt x="36" y="36"/>
                  </a:cubicBezTo>
                  <a:cubicBezTo>
                    <a:pt x="37" y="36"/>
                    <a:pt x="38" y="36"/>
                    <a:pt x="39" y="36"/>
                  </a:cubicBezTo>
                  <a:cubicBezTo>
                    <a:pt x="38" y="32"/>
                    <a:pt x="36" y="27"/>
                    <a:pt x="34" y="23"/>
                  </a:cubicBezTo>
                  <a:cubicBezTo>
                    <a:pt x="33" y="22"/>
                    <a:pt x="33" y="20"/>
                    <a:pt x="32" y="18"/>
                  </a:cubicBezTo>
                  <a:cubicBezTo>
                    <a:pt x="30" y="16"/>
                    <a:pt x="27" y="17"/>
                    <a:pt x="25" y="16"/>
                  </a:cubicBezTo>
                  <a:cubicBezTo>
                    <a:pt x="26" y="15"/>
                    <a:pt x="28" y="10"/>
                    <a:pt x="30" y="10"/>
                  </a:cubicBezTo>
                  <a:cubicBezTo>
                    <a:pt x="31" y="10"/>
                    <a:pt x="31" y="10"/>
                    <a:pt x="31" y="10"/>
                  </a:cubicBezTo>
                  <a:cubicBezTo>
                    <a:pt x="31" y="10"/>
                    <a:pt x="33" y="11"/>
                    <a:pt x="35" y="11"/>
                  </a:cubicBezTo>
                  <a:cubicBezTo>
                    <a:pt x="34" y="10"/>
                    <a:pt x="33" y="8"/>
                    <a:pt x="32" y="7"/>
                  </a:cubicBezTo>
                  <a:cubicBezTo>
                    <a:pt x="32" y="7"/>
                    <a:pt x="31" y="5"/>
                    <a:pt x="30" y="3"/>
                  </a:cubicBezTo>
                  <a:cubicBezTo>
                    <a:pt x="25" y="1"/>
                    <a:pt x="25" y="1"/>
                    <a:pt x="25" y="1"/>
                  </a:cubicBezTo>
                  <a:cubicBezTo>
                    <a:pt x="23"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445"/>
            <p:cNvSpPr/>
            <p:nvPr/>
          </p:nvSpPr>
          <p:spPr bwMode="auto">
            <a:xfrm>
              <a:off x="1391724" y="3445118"/>
              <a:ext cx="22833" cy="25519"/>
            </a:xfrm>
            <a:custGeom>
              <a:gdLst>
                <a:gd name="T0" fmla="*/ 1 w 7"/>
                <a:gd name="T1" fmla="*/ 0 h 8"/>
                <a:gd name="T2" fmla="*/ 0 w 7"/>
                <a:gd name="T3" fmla="*/ 2 h 8"/>
                <a:gd name="T4" fmla="*/ 4 w 7"/>
                <a:gd name="T5" fmla="*/ 8 h 8"/>
                <a:gd name="T6" fmla="*/ 7 w 7"/>
                <a:gd name="T7" fmla="*/ 3 h 8"/>
                <a:gd name="T8" fmla="*/ 3 w 7"/>
                <a:gd name="T9" fmla="*/ 1 h 8"/>
                <a:gd name="T10" fmla="*/ 3 w 7"/>
                <a:gd name="T11" fmla="*/ 1 h 8"/>
                <a:gd name="T12" fmla="*/ 1 w 7"/>
                <a:gd name="T13" fmla="*/ 2 h 8"/>
                <a:gd name="T14" fmla="*/ 2 w 7"/>
                <a:gd name="T15" fmla="*/ 1 h 8"/>
                <a:gd name="T16" fmla="*/ 1 w 7"/>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1" y="0"/>
                  </a:moveTo>
                  <a:cubicBezTo>
                    <a:pt x="0" y="1"/>
                    <a:pt x="0" y="2"/>
                    <a:pt x="0" y="2"/>
                  </a:cubicBezTo>
                  <a:cubicBezTo>
                    <a:pt x="0" y="4"/>
                    <a:pt x="2" y="6"/>
                    <a:pt x="4" y="8"/>
                  </a:cubicBezTo>
                  <a:cubicBezTo>
                    <a:pt x="7" y="6"/>
                    <a:pt x="7" y="5"/>
                    <a:pt x="7" y="3"/>
                  </a:cubicBezTo>
                  <a:cubicBezTo>
                    <a:pt x="3" y="1"/>
                    <a:pt x="3" y="1"/>
                    <a:pt x="3" y="1"/>
                  </a:cubicBezTo>
                  <a:cubicBezTo>
                    <a:pt x="3" y="1"/>
                    <a:pt x="3" y="1"/>
                    <a:pt x="3" y="1"/>
                  </a:cubicBezTo>
                  <a:cubicBezTo>
                    <a:pt x="1" y="2"/>
                    <a:pt x="1" y="2"/>
                    <a:pt x="1" y="2"/>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446"/>
            <p:cNvSpPr/>
            <p:nvPr/>
          </p:nvSpPr>
          <p:spPr bwMode="auto">
            <a:xfrm>
              <a:off x="427360" y="2809819"/>
              <a:ext cx="510388" cy="416369"/>
            </a:xfrm>
            <a:custGeom>
              <a:gdLst>
                <a:gd name="T0" fmla="*/ 154 w 161"/>
                <a:gd name="T1" fmla="*/ 1 h 131"/>
                <a:gd name="T2" fmla="*/ 127 w 161"/>
                <a:gd name="T3" fmla="*/ 3 h 131"/>
                <a:gd name="T4" fmla="*/ 118 w 161"/>
                <a:gd name="T5" fmla="*/ 6 h 131"/>
                <a:gd name="T6" fmla="*/ 112 w 161"/>
                <a:gd name="T7" fmla="*/ 9 h 131"/>
                <a:gd name="T8" fmla="*/ 93 w 161"/>
                <a:gd name="T9" fmla="*/ 15 h 131"/>
                <a:gd name="T10" fmla="*/ 91 w 161"/>
                <a:gd name="T11" fmla="*/ 15 h 131"/>
                <a:gd name="T12" fmla="*/ 74 w 161"/>
                <a:gd name="T13" fmla="*/ 14 h 131"/>
                <a:gd name="T14" fmla="*/ 71 w 161"/>
                <a:gd name="T15" fmla="*/ 13 h 131"/>
                <a:gd name="T16" fmla="*/ 69 w 161"/>
                <a:gd name="T17" fmla="*/ 11 h 131"/>
                <a:gd name="T18" fmla="*/ 62 w 161"/>
                <a:gd name="T19" fmla="*/ 10 h 131"/>
                <a:gd name="T20" fmla="*/ 58 w 161"/>
                <a:gd name="T21" fmla="*/ 11 h 131"/>
                <a:gd name="T22" fmla="*/ 39 w 161"/>
                <a:gd name="T23" fmla="*/ 16 h 131"/>
                <a:gd name="T24" fmla="*/ 30 w 161"/>
                <a:gd name="T25" fmla="*/ 16 h 131"/>
                <a:gd name="T26" fmla="*/ 24 w 161"/>
                <a:gd name="T27" fmla="*/ 18 h 131"/>
                <a:gd name="T28" fmla="*/ 31 w 161"/>
                <a:gd name="T29" fmla="*/ 22 h 131"/>
                <a:gd name="T30" fmla="*/ 23 w 161"/>
                <a:gd name="T31" fmla="*/ 26 h 131"/>
                <a:gd name="T32" fmla="*/ 20 w 161"/>
                <a:gd name="T33" fmla="*/ 28 h 131"/>
                <a:gd name="T34" fmla="*/ 19 w 161"/>
                <a:gd name="T35" fmla="*/ 29 h 131"/>
                <a:gd name="T36" fmla="*/ 16 w 161"/>
                <a:gd name="T37" fmla="*/ 35 h 131"/>
                <a:gd name="T38" fmla="*/ 14 w 161"/>
                <a:gd name="T39" fmla="*/ 36 h 131"/>
                <a:gd name="T40" fmla="*/ 14 w 161"/>
                <a:gd name="T41" fmla="*/ 38 h 131"/>
                <a:gd name="T42" fmla="*/ 9 w 161"/>
                <a:gd name="T43" fmla="*/ 39 h 131"/>
                <a:gd name="T44" fmla="*/ 2 w 161"/>
                <a:gd name="T45" fmla="*/ 40 h 131"/>
                <a:gd name="T46" fmla="*/ 5 w 161"/>
                <a:gd name="T47" fmla="*/ 50 h 131"/>
                <a:gd name="T48" fmla="*/ 6 w 161"/>
                <a:gd name="T49" fmla="*/ 66 h 131"/>
                <a:gd name="T50" fmla="*/ 10 w 161"/>
                <a:gd name="T51" fmla="*/ 67 h 131"/>
                <a:gd name="T52" fmla="*/ 14 w 161"/>
                <a:gd name="T53" fmla="*/ 67 h 131"/>
                <a:gd name="T54" fmla="*/ 18 w 161"/>
                <a:gd name="T55" fmla="*/ 67 h 131"/>
                <a:gd name="T56" fmla="*/ 20 w 161"/>
                <a:gd name="T57" fmla="*/ 72 h 131"/>
                <a:gd name="T58" fmla="*/ 23 w 161"/>
                <a:gd name="T59" fmla="*/ 77 h 131"/>
                <a:gd name="T60" fmla="*/ 22 w 161"/>
                <a:gd name="T61" fmla="*/ 86 h 131"/>
                <a:gd name="T62" fmla="*/ 38 w 161"/>
                <a:gd name="T63" fmla="*/ 108 h 131"/>
                <a:gd name="T64" fmla="*/ 13 w 161"/>
                <a:gd name="T65" fmla="*/ 94 h 131"/>
                <a:gd name="T66" fmla="*/ 10 w 161"/>
                <a:gd name="T67" fmla="*/ 96 h 131"/>
                <a:gd name="T68" fmla="*/ 11 w 161"/>
                <a:gd name="T69" fmla="*/ 100 h 131"/>
                <a:gd name="T70" fmla="*/ 10 w 161"/>
                <a:gd name="T71" fmla="*/ 102 h 131"/>
                <a:gd name="T72" fmla="*/ 5 w 161"/>
                <a:gd name="T73" fmla="*/ 106 h 131"/>
                <a:gd name="T74" fmla="*/ 2 w 161"/>
                <a:gd name="T75" fmla="*/ 108 h 131"/>
                <a:gd name="T76" fmla="*/ 1 w 161"/>
                <a:gd name="T77" fmla="*/ 113 h 131"/>
                <a:gd name="T78" fmla="*/ 1 w 161"/>
                <a:gd name="T79" fmla="*/ 120 h 131"/>
                <a:gd name="T80" fmla="*/ 3 w 161"/>
                <a:gd name="T81" fmla="*/ 121 h 131"/>
                <a:gd name="T82" fmla="*/ 7 w 161"/>
                <a:gd name="T83" fmla="*/ 122 h 131"/>
                <a:gd name="T84" fmla="*/ 11 w 161"/>
                <a:gd name="T85" fmla="*/ 126 h 131"/>
                <a:gd name="T86" fmla="*/ 30 w 161"/>
                <a:gd name="T87" fmla="*/ 129 h 131"/>
                <a:gd name="T88" fmla="*/ 74 w 161"/>
                <a:gd name="T89" fmla="*/ 102 h 131"/>
                <a:gd name="T90" fmla="*/ 77 w 161"/>
                <a:gd name="T91" fmla="*/ 101 h 131"/>
                <a:gd name="T92" fmla="*/ 96 w 161"/>
                <a:gd name="T93" fmla="*/ 90 h 131"/>
                <a:gd name="T94" fmla="*/ 111 w 161"/>
                <a:gd name="T95" fmla="*/ 82 h 131"/>
                <a:gd name="T96" fmla="*/ 122 w 161"/>
                <a:gd name="T97" fmla="*/ 76 h 131"/>
                <a:gd name="T98" fmla="*/ 125 w 161"/>
                <a:gd name="T99" fmla="*/ 75 h 131"/>
                <a:gd name="T100" fmla="*/ 132 w 161"/>
                <a:gd name="T101" fmla="*/ 66 h 131"/>
                <a:gd name="T102" fmla="*/ 133 w 161"/>
                <a:gd name="T103" fmla="*/ 61 h 131"/>
                <a:gd name="T104" fmla="*/ 134 w 161"/>
                <a:gd name="T105" fmla="*/ 49 h 131"/>
                <a:gd name="T106" fmla="*/ 135 w 161"/>
                <a:gd name="T107" fmla="*/ 44 h 131"/>
                <a:gd name="T108" fmla="*/ 134 w 161"/>
                <a:gd name="T109" fmla="*/ 37 h 131"/>
                <a:gd name="T110" fmla="*/ 137 w 161"/>
                <a:gd name="T111" fmla="*/ 17 h 131"/>
                <a:gd name="T112" fmla="*/ 145 w 161"/>
                <a:gd name="T113" fmla="*/ 13 h 131"/>
                <a:gd name="T114" fmla="*/ 146 w 161"/>
                <a:gd name="T115" fmla="*/ 13 h 131"/>
                <a:gd name="T116" fmla="*/ 149 w 161"/>
                <a:gd name="T117" fmla="*/ 11 h 131"/>
                <a:gd name="T118" fmla="*/ 161 w 161"/>
                <a:gd name="T119" fmla="*/ 1 h 131"/>
                <a:gd name="T120" fmla="*/ 161 w 161"/>
                <a:gd name="T121" fmla="*/ 0 h 1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31">
                  <a:moveTo>
                    <a:pt x="161" y="0"/>
                  </a:moveTo>
                  <a:cubicBezTo>
                    <a:pt x="159" y="0"/>
                    <a:pt x="156" y="1"/>
                    <a:pt x="154" y="1"/>
                  </a:cubicBezTo>
                  <a:cubicBezTo>
                    <a:pt x="147" y="3"/>
                    <a:pt x="140" y="4"/>
                    <a:pt x="132" y="4"/>
                  </a:cubicBezTo>
                  <a:cubicBezTo>
                    <a:pt x="130" y="4"/>
                    <a:pt x="129" y="3"/>
                    <a:pt x="127" y="3"/>
                  </a:cubicBezTo>
                  <a:cubicBezTo>
                    <a:pt x="127" y="3"/>
                    <a:pt x="127" y="3"/>
                    <a:pt x="127" y="3"/>
                  </a:cubicBezTo>
                  <a:cubicBezTo>
                    <a:pt x="124" y="3"/>
                    <a:pt x="121" y="5"/>
                    <a:pt x="118" y="6"/>
                  </a:cubicBezTo>
                  <a:cubicBezTo>
                    <a:pt x="117" y="7"/>
                    <a:pt x="115" y="8"/>
                    <a:pt x="114" y="8"/>
                  </a:cubicBezTo>
                  <a:cubicBezTo>
                    <a:pt x="113" y="8"/>
                    <a:pt x="113" y="9"/>
                    <a:pt x="112" y="9"/>
                  </a:cubicBezTo>
                  <a:cubicBezTo>
                    <a:pt x="107" y="11"/>
                    <a:pt x="107" y="11"/>
                    <a:pt x="107" y="11"/>
                  </a:cubicBezTo>
                  <a:cubicBezTo>
                    <a:pt x="103" y="12"/>
                    <a:pt x="98" y="14"/>
                    <a:pt x="93" y="15"/>
                  </a:cubicBezTo>
                  <a:cubicBezTo>
                    <a:pt x="92" y="15"/>
                    <a:pt x="92" y="15"/>
                    <a:pt x="91" y="15"/>
                  </a:cubicBezTo>
                  <a:cubicBezTo>
                    <a:pt x="91" y="15"/>
                    <a:pt x="91" y="15"/>
                    <a:pt x="91" y="15"/>
                  </a:cubicBezTo>
                  <a:cubicBezTo>
                    <a:pt x="90" y="15"/>
                    <a:pt x="89" y="15"/>
                    <a:pt x="88" y="15"/>
                  </a:cubicBezTo>
                  <a:cubicBezTo>
                    <a:pt x="83" y="15"/>
                    <a:pt x="79" y="14"/>
                    <a:pt x="74" y="14"/>
                  </a:cubicBezTo>
                  <a:cubicBezTo>
                    <a:pt x="73" y="13"/>
                    <a:pt x="73" y="13"/>
                    <a:pt x="73" y="13"/>
                  </a:cubicBezTo>
                  <a:cubicBezTo>
                    <a:pt x="72" y="13"/>
                    <a:pt x="71" y="13"/>
                    <a:pt x="71" y="13"/>
                  </a:cubicBezTo>
                  <a:cubicBezTo>
                    <a:pt x="70" y="12"/>
                    <a:pt x="70" y="12"/>
                    <a:pt x="70" y="12"/>
                  </a:cubicBezTo>
                  <a:cubicBezTo>
                    <a:pt x="69" y="12"/>
                    <a:pt x="69" y="11"/>
                    <a:pt x="69" y="11"/>
                  </a:cubicBezTo>
                  <a:cubicBezTo>
                    <a:pt x="64" y="10"/>
                    <a:pt x="64" y="10"/>
                    <a:pt x="64" y="10"/>
                  </a:cubicBezTo>
                  <a:cubicBezTo>
                    <a:pt x="63" y="10"/>
                    <a:pt x="62" y="10"/>
                    <a:pt x="62" y="10"/>
                  </a:cubicBezTo>
                  <a:cubicBezTo>
                    <a:pt x="61" y="10"/>
                    <a:pt x="61" y="10"/>
                    <a:pt x="60" y="10"/>
                  </a:cubicBezTo>
                  <a:cubicBezTo>
                    <a:pt x="58" y="11"/>
                    <a:pt x="58" y="11"/>
                    <a:pt x="58" y="11"/>
                  </a:cubicBezTo>
                  <a:cubicBezTo>
                    <a:pt x="51" y="14"/>
                    <a:pt x="45" y="16"/>
                    <a:pt x="40" y="16"/>
                  </a:cubicBezTo>
                  <a:cubicBezTo>
                    <a:pt x="39" y="16"/>
                    <a:pt x="39" y="16"/>
                    <a:pt x="39" y="16"/>
                  </a:cubicBezTo>
                  <a:cubicBezTo>
                    <a:pt x="38" y="17"/>
                    <a:pt x="36" y="17"/>
                    <a:pt x="35" y="17"/>
                  </a:cubicBezTo>
                  <a:cubicBezTo>
                    <a:pt x="33" y="17"/>
                    <a:pt x="32" y="17"/>
                    <a:pt x="30" y="16"/>
                  </a:cubicBezTo>
                  <a:cubicBezTo>
                    <a:pt x="25" y="13"/>
                    <a:pt x="25" y="13"/>
                    <a:pt x="25" y="13"/>
                  </a:cubicBezTo>
                  <a:cubicBezTo>
                    <a:pt x="24" y="15"/>
                    <a:pt x="24" y="17"/>
                    <a:pt x="24" y="18"/>
                  </a:cubicBezTo>
                  <a:cubicBezTo>
                    <a:pt x="24" y="20"/>
                    <a:pt x="24" y="20"/>
                    <a:pt x="24" y="20"/>
                  </a:cubicBezTo>
                  <a:cubicBezTo>
                    <a:pt x="31" y="22"/>
                    <a:pt x="31" y="22"/>
                    <a:pt x="31" y="22"/>
                  </a:cubicBezTo>
                  <a:cubicBezTo>
                    <a:pt x="25" y="26"/>
                    <a:pt x="25" y="26"/>
                    <a:pt x="25" y="26"/>
                  </a:cubicBezTo>
                  <a:cubicBezTo>
                    <a:pt x="24" y="26"/>
                    <a:pt x="23" y="26"/>
                    <a:pt x="23" y="26"/>
                  </a:cubicBezTo>
                  <a:cubicBezTo>
                    <a:pt x="22" y="27"/>
                    <a:pt x="22" y="27"/>
                    <a:pt x="22" y="27"/>
                  </a:cubicBezTo>
                  <a:cubicBezTo>
                    <a:pt x="21" y="27"/>
                    <a:pt x="21" y="27"/>
                    <a:pt x="20" y="28"/>
                  </a:cubicBezTo>
                  <a:cubicBezTo>
                    <a:pt x="20" y="28"/>
                    <a:pt x="20" y="28"/>
                    <a:pt x="20" y="28"/>
                  </a:cubicBezTo>
                  <a:cubicBezTo>
                    <a:pt x="20" y="28"/>
                    <a:pt x="20" y="29"/>
                    <a:pt x="19" y="29"/>
                  </a:cubicBezTo>
                  <a:cubicBezTo>
                    <a:pt x="19" y="30"/>
                    <a:pt x="19" y="30"/>
                    <a:pt x="19" y="30"/>
                  </a:cubicBezTo>
                  <a:cubicBezTo>
                    <a:pt x="19" y="32"/>
                    <a:pt x="17" y="34"/>
                    <a:pt x="16" y="35"/>
                  </a:cubicBezTo>
                  <a:cubicBezTo>
                    <a:pt x="15" y="35"/>
                    <a:pt x="15" y="35"/>
                    <a:pt x="15" y="35"/>
                  </a:cubicBezTo>
                  <a:cubicBezTo>
                    <a:pt x="14" y="36"/>
                    <a:pt x="14" y="36"/>
                    <a:pt x="14" y="36"/>
                  </a:cubicBezTo>
                  <a:cubicBezTo>
                    <a:pt x="14" y="37"/>
                    <a:pt x="14" y="37"/>
                    <a:pt x="14" y="37"/>
                  </a:cubicBezTo>
                  <a:cubicBezTo>
                    <a:pt x="14" y="37"/>
                    <a:pt x="14" y="38"/>
                    <a:pt x="14" y="38"/>
                  </a:cubicBezTo>
                  <a:cubicBezTo>
                    <a:pt x="12" y="41"/>
                    <a:pt x="12" y="41"/>
                    <a:pt x="12" y="41"/>
                  </a:cubicBezTo>
                  <a:cubicBezTo>
                    <a:pt x="9" y="39"/>
                    <a:pt x="9" y="39"/>
                    <a:pt x="9" y="39"/>
                  </a:cubicBezTo>
                  <a:cubicBezTo>
                    <a:pt x="8" y="39"/>
                    <a:pt x="5" y="37"/>
                    <a:pt x="2" y="37"/>
                  </a:cubicBezTo>
                  <a:cubicBezTo>
                    <a:pt x="2" y="37"/>
                    <a:pt x="2" y="38"/>
                    <a:pt x="2" y="40"/>
                  </a:cubicBezTo>
                  <a:cubicBezTo>
                    <a:pt x="2" y="41"/>
                    <a:pt x="1" y="43"/>
                    <a:pt x="0" y="43"/>
                  </a:cubicBezTo>
                  <a:cubicBezTo>
                    <a:pt x="2" y="46"/>
                    <a:pt x="5" y="47"/>
                    <a:pt x="5" y="50"/>
                  </a:cubicBezTo>
                  <a:cubicBezTo>
                    <a:pt x="5" y="53"/>
                    <a:pt x="4" y="57"/>
                    <a:pt x="5" y="60"/>
                  </a:cubicBezTo>
                  <a:cubicBezTo>
                    <a:pt x="5" y="62"/>
                    <a:pt x="5" y="65"/>
                    <a:pt x="6" y="66"/>
                  </a:cubicBezTo>
                  <a:cubicBezTo>
                    <a:pt x="6" y="67"/>
                    <a:pt x="6" y="67"/>
                    <a:pt x="6" y="67"/>
                  </a:cubicBezTo>
                  <a:cubicBezTo>
                    <a:pt x="7" y="67"/>
                    <a:pt x="9" y="67"/>
                    <a:pt x="10" y="67"/>
                  </a:cubicBezTo>
                  <a:cubicBezTo>
                    <a:pt x="11" y="67"/>
                    <a:pt x="11" y="67"/>
                    <a:pt x="12" y="67"/>
                  </a:cubicBezTo>
                  <a:cubicBezTo>
                    <a:pt x="13" y="67"/>
                    <a:pt x="13" y="67"/>
                    <a:pt x="14" y="67"/>
                  </a:cubicBezTo>
                  <a:cubicBezTo>
                    <a:pt x="15" y="67"/>
                    <a:pt x="15" y="67"/>
                    <a:pt x="15" y="67"/>
                  </a:cubicBezTo>
                  <a:cubicBezTo>
                    <a:pt x="16" y="67"/>
                    <a:pt x="17" y="67"/>
                    <a:pt x="18" y="67"/>
                  </a:cubicBezTo>
                  <a:cubicBezTo>
                    <a:pt x="24" y="67"/>
                    <a:pt x="24" y="67"/>
                    <a:pt x="24" y="67"/>
                  </a:cubicBezTo>
                  <a:cubicBezTo>
                    <a:pt x="20" y="72"/>
                    <a:pt x="20" y="72"/>
                    <a:pt x="20" y="72"/>
                  </a:cubicBezTo>
                  <a:cubicBezTo>
                    <a:pt x="21" y="73"/>
                    <a:pt x="22" y="74"/>
                    <a:pt x="23" y="76"/>
                  </a:cubicBezTo>
                  <a:cubicBezTo>
                    <a:pt x="23" y="77"/>
                    <a:pt x="23" y="77"/>
                    <a:pt x="23" y="77"/>
                  </a:cubicBezTo>
                  <a:cubicBezTo>
                    <a:pt x="24" y="78"/>
                    <a:pt x="27" y="82"/>
                    <a:pt x="24" y="85"/>
                  </a:cubicBezTo>
                  <a:cubicBezTo>
                    <a:pt x="23" y="85"/>
                    <a:pt x="23" y="85"/>
                    <a:pt x="22" y="86"/>
                  </a:cubicBezTo>
                  <a:cubicBezTo>
                    <a:pt x="20" y="88"/>
                    <a:pt x="18" y="89"/>
                    <a:pt x="18" y="90"/>
                  </a:cubicBezTo>
                  <a:cubicBezTo>
                    <a:pt x="38" y="108"/>
                    <a:pt x="38" y="108"/>
                    <a:pt x="38" y="108"/>
                  </a:cubicBezTo>
                  <a:cubicBezTo>
                    <a:pt x="14" y="95"/>
                    <a:pt x="14" y="95"/>
                    <a:pt x="14" y="95"/>
                  </a:cubicBezTo>
                  <a:cubicBezTo>
                    <a:pt x="13" y="95"/>
                    <a:pt x="13" y="94"/>
                    <a:pt x="13" y="94"/>
                  </a:cubicBezTo>
                  <a:cubicBezTo>
                    <a:pt x="12" y="94"/>
                    <a:pt x="12" y="95"/>
                    <a:pt x="11" y="95"/>
                  </a:cubicBezTo>
                  <a:cubicBezTo>
                    <a:pt x="10" y="95"/>
                    <a:pt x="10" y="96"/>
                    <a:pt x="10" y="96"/>
                  </a:cubicBezTo>
                  <a:cubicBezTo>
                    <a:pt x="10" y="96"/>
                    <a:pt x="10" y="96"/>
                    <a:pt x="10" y="96"/>
                  </a:cubicBezTo>
                  <a:cubicBezTo>
                    <a:pt x="10" y="97"/>
                    <a:pt x="11" y="98"/>
                    <a:pt x="11" y="100"/>
                  </a:cubicBezTo>
                  <a:cubicBezTo>
                    <a:pt x="11" y="101"/>
                    <a:pt x="11" y="101"/>
                    <a:pt x="11" y="101"/>
                  </a:cubicBezTo>
                  <a:cubicBezTo>
                    <a:pt x="10" y="102"/>
                    <a:pt x="10" y="102"/>
                    <a:pt x="10" y="102"/>
                  </a:cubicBezTo>
                  <a:cubicBezTo>
                    <a:pt x="9" y="102"/>
                    <a:pt x="9" y="102"/>
                    <a:pt x="9" y="102"/>
                  </a:cubicBezTo>
                  <a:cubicBezTo>
                    <a:pt x="8" y="104"/>
                    <a:pt x="7" y="105"/>
                    <a:pt x="5" y="106"/>
                  </a:cubicBezTo>
                  <a:cubicBezTo>
                    <a:pt x="4" y="107"/>
                    <a:pt x="3" y="107"/>
                    <a:pt x="3" y="108"/>
                  </a:cubicBezTo>
                  <a:cubicBezTo>
                    <a:pt x="2" y="108"/>
                    <a:pt x="2" y="108"/>
                    <a:pt x="2" y="108"/>
                  </a:cubicBezTo>
                  <a:cubicBezTo>
                    <a:pt x="2" y="108"/>
                    <a:pt x="2" y="108"/>
                    <a:pt x="2" y="108"/>
                  </a:cubicBezTo>
                  <a:cubicBezTo>
                    <a:pt x="2" y="110"/>
                    <a:pt x="2" y="112"/>
                    <a:pt x="1" y="113"/>
                  </a:cubicBezTo>
                  <a:cubicBezTo>
                    <a:pt x="1" y="114"/>
                    <a:pt x="1" y="115"/>
                    <a:pt x="1" y="116"/>
                  </a:cubicBezTo>
                  <a:cubicBezTo>
                    <a:pt x="1" y="117"/>
                    <a:pt x="1" y="118"/>
                    <a:pt x="1" y="120"/>
                  </a:cubicBezTo>
                  <a:cubicBezTo>
                    <a:pt x="2" y="120"/>
                    <a:pt x="2" y="120"/>
                    <a:pt x="2" y="120"/>
                  </a:cubicBezTo>
                  <a:cubicBezTo>
                    <a:pt x="2" y="120"/>
                    <a:pt x="3" y="121"/>
                    <a:pt x="3" y="121"/>
                  </a:cubicBezTo>
                  <a:cubicBezTo>
                    <a:pt x="4" y="121"/>
                    <a:pt x="4" y="121"/>
                    <a:pt x="4" y="121"/>
                  </a:cubicBezTo>
                  <a:cubicBezTo>
                    <a:pt x="5" y="122"/>
                    <a:pt x="6" y="122"/>
                    <a:pt x="7" y="122"/>
                  </a:cubicBezTo>
                  <a:cubicBezTo>
                    <a:pt x="8" y="123"/>
                    <a:pt x="8" y="123"/>
                    <a:pt x="8" y="123"/>
                  </a:cubicBezTo>
                  <a:cubicBezTo>
                    <a:pt x="9" y="124"/>
                    <a:pt x="10" y="125"/>
                    <a:pt x="11" y="126"/>
                  </a:cubicBezTo>
                  <a:cubicBezTo>
                    <a:pt x="20" y="129"/>
                    <a:pt x="24" y="131"/>
                    <a:pt x="26" y="131"/>
                  </a:cubicBezTo>
                  <a:cubicBezTo>
                    <a:pt x="28" y="131"/>
                    <a:pt x="28" y="130"/>
                    <a:pt x="30" y="129"/>
                  </a:cubicBezTo>
                  <a:cubicBezTo>
                    <a:pt x="31" y="128"/>
                    <a:pt x="31" y="128"/>
                    <a:pt x="32" y="127"/>
                  </a:cubicBezTo>
                  <a:cubicBezTo>
                    <a:pt x="41" y="121"/>
                    <a:pt x="65" y="108"/>
                    <a:pt x="74" y="102"/>
                  </a:cubicBezTo>
                  <a:cubicBezTo>
                    <a:pt x="76" y="101"/>
                    <a:pt x="76" y="101"/>
                    <a:pt x="76" y="101"/>
                  </a:cubicBezTo>
                  <a:cubicBezTo>
                    <a:pt x="77" y="101"/>
                    <a:pt x="77" y="101"/>
                    <a:pt x="77" y="101"/>
                  </a:cubicBezTo>
                  <a:cubicBezTo>
                    <a:pt x="80" y="99"/>
                    <a:pt x="80" y="99"/>
                    <a:pt x="80" y="99"/>
                  </a:cubicBezTo>
                  <a:cubicBezTo>
                    <a:pt x="85" y="96"/>
                    <a:pt x="91" y="93"/>
                    <a:pt x="96" y="90"/>
                  </a:cubicBezTo>
                  <a:cubicBezTo>
                    <a:pt x="111" y="82"/>
                    <a:pt x="111" y="82"/>
                    <a:pt x="111" y="82"/>
                  </a:cubicBezTo>
                  <a:cubicBezTo>
                    <a:pt x="111" y="82"/>
                    <a:pt x="111" y="82"/>
                    <a:pt x="111" y="82"/>
                  </a:cubicBezTo>
                  <a:cubicBezTo>
                    <a:pt x="117" y="78"/>
                    <a:pt x="117" y="78"/>
                    <a:pt x="117" y="78"/>
                  </a:cubicBezTo>
                  <a:cubicBezTo>
                    <a:pt x="119" y="77"/>
                    <a:pt x="121" y="76"/>
                    <a:pt x="122" y="76"/>
                  </a:cubicBezTo>
                  <a:cubicBezTo>
                    <a:pt x="123" y="75"/>
                    <a:pt x="124" y="75"/>
                    <a:pt x="124" y="75"/>
                  </a:cubicBezTo>
                  <a:cubicBezTo>
                    <a:pt x="125" y="75"/>
                    <a:pt x="125" y="75"/>
                    <a:pt x="125" y="75"/>
                  </a:cubicBezTo>
                  <a:cubicBezTo>
                    <a:pt x="126" y="74"/>
                    <a:pt x="128" y="74"/>
                    <a:pt x="128" y="73"/>
                  </a:cubicBezTo>
                  <a:cubicBezTo>
                    <a:pt x="130" y="71"/>
                    <a:pt x="131" y="69"/>
                    <a:pt x="132" y="66"/>
                  </a:cubicBezTo>
                  <a:cubicBezTo>
                    <a:pt x="132" y="65"/>
                    <a:pt x="133" y="64"/>
                    <a:pt x="133" y="62"/>
                  </a:cubicBezTo>
                  <a:cubicBezTo>
                    <a:pt x="133" y="61"/>
                    <a:pt x="133" y="61"/>
                    <a:pt x="133" y="61"/>
                  </a:cubicBezTo>
                  <a:cubicBezTo>
                    <a:pt x="132" y="60"/>
                    <a:pt x="132" y="59"/>
                    <a:pt x="132" y="58"/>
                  </a:cubicBezTo>
                  <a:cubicBezTo>
                    <a:pt x="132" y="55"/>
                    <a:pt x="133" y="52"/>
                    <a:pt x="134" y="49"/>
                  </a:cubicBezTo>
                  <a:cubicBezTo>
                    <a:pt x="134" y="48"/>
                    <a:pt x="134" y="48"/>
                    <a:pt x="134" y="48"/>
                  </a:cubicBezTo>
                  <a:cubicBezTo>
                    <a:pt x="134" y="47"/>
                    <a:pt x="135" y="45"/>
                    <a:pt x="135" y="44"/>
                  </a:cubicBezTo>
                  <a:cubicBezTo>
                    <a:pt x="135" y="42"/>
                    <a:pt x="135" y="40"/>
                    <a:pt x="135" y="38"/>
                  </a:cubicBezTo>
                  <a:cubicBezTo>
                    <a:pt x="134" y="37"/>
                    <a:pt x="134" y="37"/>
                    <a:pt x="134" y="37"/>
                  </a:cubicBezTo>
                  <a:cubicBezTo>
                    <a:pt x="134" y="31"/>
                    <a:pt x="133" y="25"/>
                    <a:pt x="136" y="20"/>
                  </a:cubicBezTo>
                  <a:cubicBezTo>
                    <a:pt x="136" y="18"/>
                    <a:pt x="137" y="18"/>
                    <a:pt x="137" y="17"/>
                  </a:cubicBezTo>
                  <a:cubicBezTo>
                    <a:pt x="138" y="15"/>
                    <a:pt x="140" y="14"/>
                    <a:pt x="144" y="13"/>
                  </a:cubicBezTo>
                  <a:cubicBezTo>
                    <a:pt x="145" y="13"/>
                    <a:pt x="145" y="13"/>
                    <a:pt x="145" y="13"/>
                  </a:cubicBezTo>
                  <a:cubicBezTo>
                    <a:pt x="145" y="10"/>
                    <a:pt x="145" y="10"/>
                    <a:pt x="145" y="10"/>
                  </a:cubicBezTo>
                  <a:cubicBezTo>
                    <a:pt x="146" y="13"/>
                    <a:pt x="146" y="13"/>
                    <a:pt x="146" y="13"/>
                  </a:cubicBezTo>
                  <a:cubicBezTo>
                    <a:pt x="147" y="12"/>
                    <a:pt x="147" y="12"/>
                    <a:pt x="147" y="12"/>
                  </a:cubicBezTo>
                  <a:cubicBezTo>
                    <a:pt x="148" y="12"/>
                    <a:pt x="149" y="12"/>
                    <a:pt x="149" y="11"/>
                  </a:cubicBezTo>
                  <a:cubicBezTo>
                    <a:pt x="152" y="8"/>
                    <a:pt x="155" y="6"/>
                    <a:pt x="158" y="3"/>
                  </a:cubicBezTo>
                  <a:cubicBezTo>
                    <a:pt x="161" y="1"/>
                    <a:pt x="161" y="1"/>
                    <a:pt x="161" y="1"/>
                  </a:cubicBezTo>
                  <a:cubicBezTo>
                    <a:pt x="161" y="0"/>
                    <a:pt x="161" y="0"/>
                    <a:pt x="161" y="0"/>
                  </a:cubicBezTo>
                  <a:cubicBezTo>
                    <a:pt x="161" y="0"/>
                    <a:pt x="161" y="0"/>
                    <a:pt x="1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447"/>
            <p:cNvSpPr/>
            <p:nvPr/>
          </p:nvSpPr>
          <p:spPr bwMode="auto">
            <a:xfrm>
              <a:off x="395125" y="3212757"/>
              <a:ext cx="13431" cy="9402"/>
            </a:xfrm>
            <a:custGeom>
              <a:gdLst>
                <a:gd name="T0" fmla="*/ 4 w 4"/>
                <a:gd name="T1" fmla="*/ 0 h 3"/>
                <a:gd name="T2" fmla="*/ 0 w 4"/>
                <a:gd name="T3" fmla="*/ 2 h 3"/>
                <a:gd name="T4" fmla="*/ 4 w 4"/>
                <a:gd name="T5" fmla="*/ 3 h 3"/>
                <a:gd name="T6" fmla="*/ 4 w 4"/>
                <a:gd name="T7" fmla="*/ 0 h 3"/>
              </a:gdLst>
              <a:cxnLst>
                <a:cxn ang="0">
                  <a:pos x="T0" y="T1"/>
                </a:cxn>
                <a:cxn ang="0">
                  <a:pos x="T2" y="T3"/>
                </a:cxn>
                <a:cxn ang="0">
                  <a:pos x="T4" y="T5"/>
                </a:cxn>
                <a:cxn ang="0">
                  <a:pos x="T6" y="T7"/>
                </a:cxn>
              </a:cxnLst>
              <a:rect l="0" t="0" r="r" b="b"/>
              <a:pathLst>
                <a:path w="4" h="3">
                  <a:moveTo>
                    <a:pt x="4" y="0"/>
                  </a:moveTo>
                  <a:cubicBezTo>
                    <a:pt x="0" y="2"/>
                    <a:pt x="0" y="2"/>
                    <a:pt x="0" y="2"/>
                  </a:cubicBezTo>
                  <a:cubicBezTo>
                    <a:pt x="1" y="2"/>
                    <a:pt x="3" y="3"/>
                    <a:pt x="4" y="3"/>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448"/>
            <p:cNvSpPr/>
            <p:nvPr/>
          </p:nvSpPr>
          <p:spPr bwMode="auto">
            <a:xfrm>
              <a:off x="315880" y="3175149"/>
              <a:ext cx="98048" cy="279370"/>
            </a:xfrm>
            <a:custGeom>
              <a:gdLst>
                <a:gd name="T0" fmla="*/ 30 w 31"/>
                <a:gd name="T1" fmla="*/ 0 h 88"/>
                <a:gd name="T2" fmla="*/ 27 w 31"/>
                <a:gd name="T3" fmla="*/ 0 h 88"/>
                <a:gd name="T4" fmla="*/ 26 w 31"/>
                <a:gd name="T5" fmla="*/ 0 h 88"/>
                <a:gd name="T6" fmla="*/ 19 w 31"/>
                <a:gd name="T7" fmla="*/ 0 h 88"/>
                <a:gd name="T8" fmla="*/ 19 w 31"/>
                <a:gd name="T9" fmla="*/ 3 h 88"/>
                <a:gd name="T10" fmla="*/ 17 w 31"/>
                <a:gd name="T11" fmla="*/ 9 h 88"/>
                <a:gd name="T12" fmla="*/ 5 w 31"/>
                <a:gd name="T13" fmla="*/ 38 h 88"/>
                <a:gd name="T14" fmla="*/ 5 w 31"/>
                <a:gd name="T15" fmla="*/ 39 h 88"/>
                <a:gd name="T16" fmla="*/ 0 w 31"/>
                <a:gd name="T17" fmla="*/ 43 h 88"/>
                <a:gd name="T18" fmla="*/ 1 w 31"/>
                <a:gd name="T19" fmla="*/ 45 h 88"/>
                <a:gd name="T20" fmla="*/ 0 w 31"/>
                <a:gd name="T21" fmla="*/ 46 h 88"/>
                <a:gd name="T22" fmla="*/ 1 w 31"/>
                <a:gd name="T23" fmla="*/ 45 h 88"/>
                <a:gd name="T24" fmla="*/ 1 w 31"/>
                <a:gd name="T25" fmla="*/ 46 h 88"/>
                <a:gd name="T26" fmla="*/ 2 w 31"/>
                <a:gd name="T27" fmla="*/ 47 h 88"/>
                <a:gd name="T28" fmla="*/ 2 w 31"/>
                <a:gd name="T29" fmla="*/ 47 h 88"/>
                <a:gd name="T30" fmla="*/ 15 w 31"/>
                <a:gd name="T31" fmla="*/ 88 h 88"/>
                <a:gd name="T32" fmla="*/ 19 w 31"/>
                <a:gd name="T33" fmla="*/ 71 h 88"/>
                <a:gd name="T34" fmla="*/ 21 w 31"/>
                <a:gd name="T35" fmla="*/ 65 h 88"/>
                <a:gd name="T36" fmla="*/ 23 w 31"/>
                <a:gd name="T37" fmla="*/ 58 h 88"/>
                <a:gd name="T38" fmla="*/ 23 w 31"/>
                <a:gd name="T39" fmla="*/ 56 h 88"/>
                <a:gd name="T40" fmla="*/ 24 w 31"/>
                <a:gd name="T41" fmla="*/ 52 h 88"/>
                <a:gd name="T42" fmla="*/ 25 w 31"/>
                <a:gd name="T43" fmla="*/ 44 h 88"/>
                <a:gd name="T44" fmla="*/ 26 w 31"/>
                <a:gd name="T45" fmla="*/ 43 h 88"/>
                <a:gd name="T46" fmla="*/ 22 w 31"/>
                <a:gd name="T47" fmla="*/ 44 h 88"/>
                <a:gd name="T48" fmla="*/ 22 w 31"/>
                <a:gd name="T49" fmla="*/ 45 h 88"/>
                <a:gd name="T50" fmla="*/ 21 w 31"/>
                <a:gd name="T51" fmla="*/ 45 h 88"/>
                <a:gd name="T52" fmla="*/ 21 w 31"/>
                <a:gd name="T53" fmla="*/ 45 h 88"/>
                <a:gd name="T54" fmla="*/ 19 w 31"/>
                <a:gd name="T55" fmla="*/ 45 h 88"/>
                <a:gd name="T56" fmla="*/ 18 w 31"/>
                <a:gd name="T57" fmla="*/ 45 h 88"/>
                <a:gd name="T58" fmla="*/ 18 w 31"/>
                <a:gd name="T59" fmla="*/ 45 h 88"/>
                <a:gd name="T60" fmla="*/ 16 w 31"/>
                <a:gd name="T61" fmla="*/ 45 h 88"/>
                <a:gd name="T62" fmla="*/ 22 w 31"/>
                <a:gd name="T63" fmla="*/ 34 h 88"/>
                <a:gd name="T64" fmla="*/ 23 w 31"/>
                <a:gd name="T65" fmla="*/ 34 h 88"/>
                <a:gd name="T66" fmla="*/ 16 w 31"/>
                <a:gd name="T67" fmla="*/ 31 h 88"/>
                <a:gd name="T68" fmla="*/ 18 w 31"/>
                <a:gd name="T69" fmla="*/ 17 h 88"/>
                <a:gd name="T70" fmla="*/ 22 w 31"/>
                <a:gd name="T71" fmla="*/ 13 h 88"/>
                <a:gd name="T72" fmla="*/ 22 w 31"/>
                <a:gd name="T73" fmla="*/ 13 h 88"/>
                <a:gd name="T74" fmla="*/ 23 w 31"/>
                <a:gd name="T75" fmla="*/ 13 h 88"/>
                <a:gd name="T76" fmla="*/ 31 w 31"/>
                <a:gd name="T77" fmla="*/ 7 h 88"/>
                <a:gd name="T78" fmla="*/ 31 w 31"/>
                <a:gd name="T79" fmla="*/ 6 h 88"/>
                <a:gd name="T80" fmla="*/ 30 w 31"/>
                <a:gd name="T81" fmla="*/ 6 h 88"/>
                <a:gd name="T82" fmla="*/ 30 w 31"/>
                <a:gd name="T83" fmla="*/ 1 h 88"/>
                <a:gd name="T84" fmla="*/ 30 w 31"/>
                <a:gd name="T85" fmla="*/ 0 h 8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 h="88">
                  <a:moveTo>
                    <a:pt x="30" y="0"/>
                  </a:moveTo>
                  <a:cubicBezTo>
                    <a:pt x="29" y="0"/>
                    <a:pt x="28" y="0"/>
                    <a:pt x="27" y="0"/>
                  </a:cubicBezTo>
                  <a:cubicBezTo>
                    <a:pt x="26" y="0"/>
                    <a:pt x="26" y="0"/>
                    <a:pt x="26" y="0"/>
                  </a:cubicBezTo>
                  <a:cubicBezTo>
                    <a:pt x="19" y="0"/>
                    <a:pt x="19" y="0"/>
                    <a:pt x="19" y="0"/>
                  </a:cubicBezTo>
                  <a:cubicBezTo>
                    <a:pt x="19" y="1"/>
                    <a:pt x="19" y="2"/>
                    <a:pt x="19" y="3"/>
                  </a:cubicBezTo>
                  <a:cubicBezTo>
                    <a:pt x="19" y="5"/>
                    <a:pt x="18" y="7"/>
                    <a:pt x="17" y="9"/>
                  </a:cubicBezTo>
                  <a:cubicBezTo>
                    <a:pt x="13" y="19"/>
                    <a:pt x="10" y="29"/>
                    <a:pt x="5" y="38"/>
                  </a:cubicBezTo>
                  <a:cubicBezTo>
                    <a:pt x="5" y="39"/>
                    <a:pt x="5" y="39"/>
                    <a:pt x="5" y="39"/>
                  </a:cubicBezTo>
                  <a:cubicBezTo>
                    <a:pt x="3" y="40"/>
                    <a:pt x="1" y="42"/>
                    <a:pt x="0" y="43"/>
                  </a:cubicBezTo>
                  <a:cubicBezTo>
                    <a:pt x="1" y="45"/>
                    <a:pt x="1" y="45"/>
                    <a:pt x="1" y="45"/>
                  </a:cubicBezTo>
                  <a:cubicBezTo>
                    <a:pt x="0" y="46"/>
                    <a:pt x="0" y="46"/>
                    <a:pt x="0" y="46"/>
                  </a:cubicBezTo>
                  <a:cubicBezTo>
                    <a:pt x="1" y="45"/>
                    <a:pt x="1" y="45"/>
                    <a:pt x="1" y="45"/>
                  </a:cubicBezTo>
                  <a:cubicBezTo>
                    <a:pt x="1" y="46"/>
                    <a:pt x="1" y="46"/>
                    <a:pt x="1" y="46"/>
                  </a:cubicBezTo>
                  <a:cubicBezTo>
                    <a:pt x="2" y="47"/>
                    <a:pt x="2" y="47"/>
                    <a:pt x="2" y="47"/>
                  </a:cubicBezTo>
                  <a:cubicBezTo>
                    <a:pt x="2" y="47"/>
                    <a:pt x="2" y="47"/>
                    <a:pt x="2" y="47"/>
                  </a:cubicBezTo>
                  <a:cubicBezTo>
                    <a:pt x="15" y="88"/>
                    <a:pt x="15" y="88"/>
                    <a:pt x="15" y="88"/>
                  </a:cubicBezTo>
                  <a:cubicBezTo>
                    <a:pt x="16" y="82"/>
                    <a:pt x="18" y="76"/>
                    <a:pt x="19" y="71"/>
                  </a:cubicBezTo>
                  <a:cubicBezTo>
                    <a:pt x="21" y="65"/>
                    <a:pt x="21" y="65"/>
                    <a:pt x="21" y="65"/>
                  </a:cubicBezTo>
                  <a:cubicBezTo>
                    <a:pt x="21" y="62"/>
                    <a:pt x="22" y="60"/>
                    <a:pt x="23" y="58"/>
                  </a:cubicBezTo>
                  <a:cubicBezTo>
                    <a:pt x="23" y="56"/>
                    <a:pt x="23" y="56"/>
                    <a:pt x="23" y="56"/>
                  </a:cubicBezTo>
                  <a:cubicBezTo>
                    <a:pt x="23" y="55"/>
                    <a:pt x="24" y="53"/>
                    <a:pt x="24" y="52"/>
                  </a:cubicBezTo>
                  <a:cubicBezTo>
                    <a:pt x="24" y="50"/>
                    <a:pt x="25" y="47"/>
                    <a:pt x="25" y="44"/>
                  </a:cubicBezTo>
                  <a:cubicBezTo>
                    <a:pt x="26" y="43"/>
                    <a:pt x="26" y="43"/>
                    <a:pt x="26" y="43"/>
                  </a:cubicBezTo>
                  <a:cubicBezTo>
                    <a:pt x="24" y="43"/>
                    <a:pt x="23" y="44"/>
                    <a:pt x="22" y="44"/>
                  </a:cubicBezTo>
                  <a:cubicBezTo>
                    <a:pt x="22" y="45"/>
                    <a:pt x="22" y="45"/>
                    <a:pt x="22" y="45"/>
                  </a:cubicBezTo>
                  <a:cubicBezTo>
                    <a:pt x="21" y="45"/>
                    <a:pt x="21" y="45"/>
                    <a:pt x="21" y="45"/>
                  </a:cubicBezTo>
                  <a:cubicBezTo>
                    <a:pt x="21" y="45"/>
                    <a:pt x="21" y="45"/>
                    <a:pt x="21" y="45"/>
                  </a:cubicBezTo>
                  <a:cubicBezTo>
                    <a:pt x="20" y="45"/>
                    <a:pt x="20" y="45"/>
                    <a:pt x="19" y="45"/>
                  </a:cubicBezTo>
                  <a:cubicBezTo>
                    <a:pt x="19" y="45"/>
                    <a:pt x="19" y="45"/>
                    <a:pt x="18" y="45"/>
                  </a:cubicBezTo>
                  <a:cubicBezTo>
                    <a:pt x="18" y="45"/>
                    <a:pt x="18" y="45"/>
                    <a:pt x="18" y="45"/>
                  </a:cubicBezTo>
                  <a:cubicBezTo>
                    <a:pt x="17" y="45"/>
                    <a:pt x="17" y="45"/>
                    <a:pt x="16" y="45"/>
                  </a:cubicBezTo>
                  <a:cubicBezTo>
                    <a:pt x="16" y="42"/>
                    <a:pt x="17" y="34"/>
                    <a:pt x="22" y="34"/>
                  </a:cubicBezTo>
                  <a:cubicBezTo>
                    <a:pt x="22" y="34"/>
                    <a:pt x="22" y="34"/>
                    <a:pt x="23" y="34"/>
                  </a:cubicBezTo>
                  <a:cubicBezTo>
                    <a:pt x="21" y="32"/>
                    <a:pt x="19" y="32"/>
                    <a:pt x="16" y="31"/>
                  </a:cubicBezTo>
                  <a:cubicBezTo>
                    <a:pt x="18" y="27"/>
                    <a:pt x="17" y="21"/>
                    <a:pt x="18" y="17"/>
                  </a:cubicBezTo>
                  <a:cubicBezTo>
                    <a:pt x="19" y="15"/>
                    <a:pt x="21" y="14"/>
                    <a:pt x="22" y="13"/>
                  </a:cubicBezTo>
                  <a:cubicBezTo>
                    <a:pt x="22" y="13"/>
                    <a:pt x="22" y="13"/>
                    <a:pt x="22" y="13"/>
                  </a:cubicBezTo>
                  <a:cubicBezTo>
                    <a:pt x="23" y="13"/>
                    <a:pt x="23" y="13"/>
                    <a:pt x="23" y="13"/>
                  </a:cubicBezTo>
                  <a:cubicBezTo>
                    <a:pt x="31" y="7"/>
                    <a:pt x="31" y="7"/>
                    <a:pt x="31" y="7"/>
                  </a:cubicBezTo>
                  <a:cubicBezTo>
                    <a:pt x="31" y="6"/>
                    <a:pt x="31" y="6"/>
                    <a:pt x="31" y="6"/>
                  </a:cubicBezTo>
                  <a:cubicBezTo>
                    <a:pt x="30" y="6"/>
                    <a:pt x="30" y="6"/>
                    <a:pt x="30" y="6"/>
                  </a:cubicBezTo>
                  <a:cubicBezTo>
                    <a:pt x="30" y="4"/>
                    <a:pt x="30" y="3"/>
                    <a:pt x="30" y="1"/>
                  </a:cubicBezTo>
                  <a:cubicBezTo>
                    <a:pt x="30" y="1"/>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449"/>
            <p:cNvSpPr/>
            <p:nvPr/>
          </p:nvSpPr>
          <p:spPr bwMode="auto">
            <a:xfrm>
              <a:off x="1128472" y="2800417"/>
              <a:ext cx="2686" cy="2686"/>
            </a:xfrm>
            <a:custGeom>
              <a:gdLst>
                <a:gd name="T0" fmla="*/ 0 w 2"/>
                <a:gd name="T1" fmla="*/ 0 h 2"/>
                <a:gd name="T2" fmla="*/ 2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2"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450"/>
            <p:cNvSpPr/>
            <p:nvPr/>
          </p:nvSpPr>
          <p:spPr bwMode="auto">
            <a:xfrm>
              <a:off x="1128472" y="2800417"/>
              <a:ext cx="2686" cy="2686"/>
            </a:xfrm>
            <a:custGeom>
              <a:gdLst>
                <a:gd name="T0" fmla="*/ 0 w 2"/>
                <a:gd name="T1" fmla="*/ 0 h 2"/>
                <a:gd name="T2" fmla="*/ 2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2" y="0"/>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451"/>
            <p:cNvSpPr/>
            <p:nvPr/>
          </p:nvSpPr>
          <p:spPr bwMode="auto">
            <a:xfrm>
              <a:off x="1589" y="2358529"/>
              <a:ext cx="1126883" cy="556054"/>
            </a:xfrm>
            <a:custGeom>
              <a:gdLst>
                <a:gd name="T0" fmla="*/ 102 w 355"/>
                <a:gd name="T1" fmla="*/ 2 h 175"/>
                <a:gd name="T2" fmla="*/ 79 w 355"/>
                <a:gd name="T3" fmla="*/ 1 h 175"/>
                <a:gd name="T4" fmla="*/ 32 w 355"/>
                <a:gd name="T5" fmla="*/ 21 h 175"/>
                <a:gd name="T6" fmla="*/ 0 w 355"/>
                <a:gd name="T7" fmla="*/ 25 h 175"/>
                <a:gd name="T8" fmla="*/ 5 w 355"/>
                <a:gd name="T9" fmla="*/ 164 h 175"/>
                <a:gd name="T10" fmla="*/ 30 w 355"/>
                <a:gd name="T11" fmla="*/ 154 h 175"/>
                <a:gd name="T12" fmla="*/ 79 w 355"/>
                <a:gd name="T13" fmla="*/ 169 h 175"/>
                <a:gd name="T14" fmla="*/ 111 w 355"/>
                <a:gd name="T15" fmla="*/ 151 h 175"/>
                <a:gd name="T16" fmla="*/ 125 w 355"/>
                <a:gd name="T17" fmla="*/ 158 h 175"/>
                <a:gd name="T18" fmla="*/ 138 w 355"/>
                <a:gd name="T19" fmla="*/ 165 h 175"/>
                <a:gd name="T20" fmla="*/ 145 w 355"/>
                <a:gd name="T21" fmla="*/ 173 h 175"/>
                <a:gd name="T22" fmla="*/ 148 w 355"/>
                <a:gd name="T23" fmla="*/ 170 h 175"/>
                <a:gd name="T24" fmla="*/ 152 w 355"/>
                <a:gd name="T25" fmla="*/ 164 h 175"/>
                <a:gd name="T26" fmla="*/ 167 w 355"/>
                <a:gd name="T27" fmla="*/ 152 h 175"/>
                <a:gd name="T28" fmla="*/ 189 w 355"/>
                <a:gd name="T29" fmla="*/ 148 h 175"/>
                <a:gd name="T30" fmla="*/ 204 w 355"/>
                <a:gd name="T31" fmla="*/ 147 h 175"/>
                <a:gd name="T32" fmla="*/ 209 w 355"/>
                <a:gd name="T33" fmla="*/ 149 h 175"/>
                <a:gd name="T34" fmla="*/ 226 w 355"/>
                <a:gd name="T35" fmla="*/ 152 h 175"/>
                <a:gd name="T36" fmla="*/ 246 w 355"/>
                <a:gd name="T37" fmla="*/ 145 h 175"/>
                <a:gd name="T38" fmla="*/ 261 w 355"/>
                <a:gd name="T39" fmla="*/ 139 h 175"/>
                <a:gd name="T40" fmla="*/ 299 w 355"/>
                <a:gd name="T41" fmla="*/ 134 h 175"/>
                <a:gd name="T42" fmla="*/ 316 w 355"/>
                <a:gd name="T43" fmla="*/ 132 h 175"/>
                <a:gd name="T44" fmla="*/ 317 w 355"/>
                <a:gd name="T45" fmla="*/ 132 h 175"/>
                <a:gd name="T46" fmla="*/ 337 w 355"/>
                <a:gd name="T47" fmla="*/ 134 h 175"/>
                <a:gd name="T48" fmla="*/ 347 w 355"/>
                <a:gd name="T49" fmla="*/ 141 h 175"/>
                <a:gd name="T50" fmla="*/ 355 w 355"/>
                <a:gd name="T51" fmla="*/ 139 h 175"/>
                <a:gd name="T52" fmla="*/ 354 w 355"/>
                <a:gd name="T53" fmla="*/ 137 h 175"/>
                <a:gd name="T54" fmla="*/ 350 w 355"/>
                <a:gd name="T55" fmla="*/ 133 h 175"/>
                <a:gd name="T56" fmla="*/ 350 w 355"/>
                <a:gd name="T57" fmla="*/ 126 h 175"/>
                <a:gd name="T58" fmla="*/ 346 w 355"/>
                <a:gd name="T59" fmla="*/ 123 h 175"/>
                <a:gd name="T60" fmla="*/ 341 w 355"/>
                <a:gd name="T61" fmla="*/ 119 h 175"/>
                <a:gd name="T62" fmla="*/ 343 w 355"/>
                <a:gd name="T63" fmla="*/ 110 h 175"/>
                <a:gd name="T64" fmla="*/ 342 w 355"/>
                <a:gd name="T65" fmla="*/ 94 h 175"/>
                <a:gd name="T66" fmla="*/ 339 w 355"/>
                <a:gd name="T67" fmla="*/ 74 h 175"/>
                <a:gd name="T68" fmla="*/ 349 w 355"/>
                <a:gd name="T69" fmla="*/ 65 h 175"/>
                <a:gd name="T70" fmla="*/ 336 w 355"/>
                <a:gd name="T71" fmla="*/ 61 h 175"/>
                <a:gd name="T72" fmla="*/ 327 w 355"/>
                <a:gd name="T73" fmla="*/ 53 h 175"/>
                <a:gd name="T74" fmla="*/ 326 w 355"/>
                <a:gd name="T75" fmla="*/ 42 h 175"/>
                <a:gd name="T76" fmla="*/ 327 w 355"/>
                <a:gd name="T77" fmla="*/ 39 h 175"/>
                <a:gd name="T78" fmla="*/ 326 w 355"/>
                <a:gd name="T79" fmla="*/ 34 h 175"/>
                <a:gd name="T80" fmla="*/ 318 w 355"/>
                <a:gd name="T81" fmla="*/ 25 h 175"/>
                <a:gd name="T82" fmla="*/ 313 w 355"/>
                <a:gd name="T83" fmla="*/ 22 h 175"/>
                <a:gd name="T84" fmla="*/ 309 w 355"/>
                <a:gd name="T85" fmla="*/ 18 h 175"/>
                <a:gd name="T86" fmla="*/ 304 w 355"/>
                <a:gd name="T87" fmla="*/ 21 h 175"/>
                <a:gd name="T88" fmla="*/ 288 w 355"/>
                <a:gd name="T89" fmla="*/ 19 h 175"/>
                <a:gd name="T90" fmla="*/ 278 w 355"/>
                <a:gd name="T91" fmla="*/ 19 h 175"/>
                <a:gd name="T92" fmla="*/ 263 w 355"/>
                <a:gd name="T93" fmla="*/ 24 h 175"/>
                <a:gd name="T94" fmla="*/ 242 w 355"/>
                <a:gd name="T95" fmla="*/ 32 h 175"/>
                <a:gd name="T96" fmla="*/ 237 w 355"/>
                <a:gd name="T97" fmla="*/ 31 h 175"/>
                <a:gd name="T98" fmla="*/ 221 w 355"/>
                <a:gd name="T99" fmla="*/ 29 h 175"/>
                <a:gd name="T100" fmla="*/ 200 w 355"/>
                <a:gd name="T101" fmla="*/ 33 h 175"/>
                <a:gd name="T102" fmla="*/ 161 w 355"/>
                <a:gd name="T103" fmla="*/ 20 h 175"/>
                <a:gd name="T104" fmla="*/ 140 w 355"/>
                <a:gd name="T105" fmla="*/ 9 h 175"/>
                <a:gd name="T106" fmla="*/ 120 w 355"/>
                <a:gd name="T107" fmla="*/ 5 h 1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175">
                  <a:moveTo>
                    <a:pt x="119" y="0"/>
                  </a:moveTo>
                  <a:cubicBezTo>
                    <a:pt x="117" y="0"/>
                    <a:pt x="115" y="0"/>
                    <a:pt x="114" y="0"/>
                  </a:cubicBezTo>
                  <a:cubicBezTo>
                    <a:pt x="111" y="2"/>
                    <a:pt x="109" y="2"/>
                    <a:pt x="106" y="2"/>
                  </a:cubicBezTo>
                  <a:cubicBezTo>
                    <a:pt x="105" y="2"/>
                    <a:pt x="103" y="2"/>
                    <a:pt x="102" y="2"/>
                  </a:cubicBezTo>
                  <a:cubicBezTo>
                    <a:pt x="101" y="2"/>
                    <a:pt x="100" y="2"/>
                    <a:pt x="99" y="2"/>
                  </a:cubicBezTo>
                  <a:cubicBezTo>
                    <a:pt x="99" y="2"/>
                    <a:pt x="99" y="2"/>
                    <a:pt x="98" y="2"/>
                  </a:cubicBezTo>
                  <a:cubicBezTo>
                    <a:pt x="98" y="2"/>
                    <a:pt x="98" y="2"/>
                    <a:pt x="98" y="2"/>
                  </a:cubicBezTo>
                  <a:cubicBezTo>
                    <a:pt x="92" y="2"/>
                    <a:pt x="85" y="2"/>
                    <a:pt x="79" y="1"/>
                  </a:cubicBezTo>
                  <a:cubicBezTo>
                    <a:pt x="79" y="1"/>
                    <a:pt x="78" y="1"/>
                    <a:pt x="77" y="1"/>
                  </a:cubicBezTo>
                  <a:cubicBezTo>
                    <a:pt x="71" y="1"/>
                    <a:pt x="65" y="4"/>
                    <a:pt x="59" y="6"/>
                  </a:cubicBezTo>
                  <a:cubicBezTo>
                    <a:pt x="52" y="7"/>
                    <a:pt x="47" y="11"/>
                    <a:pt x="41" y="15"/>
                  </a:cubicBezTo>
                  <a:cubicBezTo>
                    <a:pt x="38" y="17"/>
                    <a:pt x="35" y="18"/>
                    <a:pt x="32" y="21"/>
                  </a:cubicBezTo>
                  <a:cubicBezTo>
                    <a:pt x="30" y="23"/>
                    <a:pt x="27" y="27"/>
                    <a:pt x="24" y="27"/>
                  </a:cubicBezTo>
                  <a:cubicBezTo>
                    <a:pt x="22" y="27"/>
                    <a:pt x="19" y="28"/>
                    <a:pt x="16" y="28"/>
                  </a:cubicBezTo>
                  <a:cubicBezTo>
                    <a:pt x="12" y="28"/>
                    <a:pt x="7" y="27"/>
                    <a:pt x="3" y="25"/>
                  </a:cubicBezTo>
                  <a:cubicBezTo>
                    <a:pt x="2" y="25"/>
                    <a:pt x="1" y="25"/>
                    <a:pt x="0" y="25"/>
                  </a:cubicBezTo>
                  <a:cubicBezTo>
                    <a:pt x="0" y="166"/>
                    <a:pt x="0" y="166"/>
                    <a:pt x="0" y="166"/>
                  </a:cubicBezTo>
                  <a:cubicBezTo>
                    <a:pt x="1" y="166"/>
                    <a:pt x="2" y="167"/>
                    <a:pt x="2" y="167"/>
                  </a:cubicBezTo>
                  <a:cubicBezTo>
                    <a:pt x="2" y="167"/>
                    <a:pt x="2" y="167"/>
                    <a:pt x="2" y="167"/>
                  </a:cubicBezTo>
                  <a:cubicBezTo>
                    <a:pt x="4" y="167"/>
                    <a:pt x="5" y="167"/>
                    <a:pt x="5" y="164"/>
                  </a:cubicBezTo>
                  <a:cubicBezTo>
                    <a:pt x="6" y="161"/>
                    <a:pt x="6" y="153"/>
                    <a:pt x="8" y="150"/>
                  </a:cubicBezTo>
                  <a:cubicBezTo>
                    <a:pt x="9" y="149"/>
                    <a:pt x="10" y="149"/>
                    <a:pt x="11" y="149"/>
                  </a:cubicBezTo>
                  <a:cubicBezTo>
                    <a:pt x="11" y="149"/>
                    <a:pt x="12" y="149"/>
                    <a:pt x="13" y="149"/>
                  </a:cubicBezTo>
                  <a:cubicBezTo>
                    <a:pt x="19" y="150"/>
                    <a:pt x="24" y="151"/>
                    <a:pt x="30" y="154"/>
                  </a:cubicBezTo>
                  <a:cubicBezTo>
                    <a:pt x="36" y="156"/>
                    <a:pt x="41" y="160"/>
                    <a:pt x="47" y="164"/>
                  </a:cubicBezTo>
                  <a:cubicBezTo>
                    <a:pt x="51" y="166"/>
                    <a:pt x="54" y="171"/>
                    <a:pt x="59" y="171"/>
                  </a:cubicBezTo>
                  <a:cubicBezTo>
                    <a:pt x="59" y="171"/>
                    <a:pt x="59" y="171"/>
                    <a:pt x="59" y="171"/>
                  </a:cubicBezTo>
                  <a:cubicBezTo>
                    <a:pt x="66" y="171"/>
                    <a:pt x="72" y="169"/>
                    <a:pt x="79" y="169"/>
                  </a:cubicBezTo>
                  <a:cubicBezTo>
                    <a:pt x="79" y="169"/>
                    <a:pt x="79" y="169"/>
                    <a:pt x="79" y="169"/>
                  </a:cubicBezTo>
                  <a:cubicBezTo>
                    <a:pt x="79" y="169"/>
                    <a:pt x="80" y="169"/>
                    <a:pt x="80" y="169"/>
                  </a:cubicBezTo>
                  <a:cubicBezTo>
                    <a:pt x="86" y="169"/>
                    <a:pt x="90" y="169"/>
                    <a:pt x="94" y="164"/>
                  </a:cubicBezTo>
                  <a:cubicBezTo>
                    <a:pt x="98" y="157"/>
                    <a:pt x="104" y="154"/>
                    <a:pt x="111" y="151"/>
                  </a:cubicBezTo>
                  <a:cubicBezTo>
                    <a:pt x="111" y="151"/>
                    <a:pt x="120" y="156"/>
                    <a:pt x="120" y="156"/>
                  </a:cubicBezTo>
                  <a:cubicBezTo>
                    <a:pt x="121" y="156"/>
                    <a:pt x="122" y="157"/>
                    <a:pt x="122" y="157"/>
                  </a:cubicBezTo>
                  <a:cubicBezTo>
                    <a:pt x="123" y="157"/>
                    <a:pt x="124" y="158"/>
                    <a:pt x="125" y="158"/>
                  </a:cubicBezTo>
                  <a:cubicBezTo>
                    <a:pt x="125" y="158"/>
                    <a:pt x="125" y="158"/>
                    <a:pt x="125" y="158"/>
                  </a:cubicBezTo>
                  <a:cubicBezTo>
                    <a:pt x="127" y="158"/>
                    <a:pt x="130" y="156"/>
                    <a:pt x="132" y="154"/>
                  </a:cubicBezTo>
                  <a:cubicBezTo>
                    <a:pt x="135" y="151"/>
                    <a:pt x="137" y="149"/>
                    <a:pt x="140" y="149"/>
                  </a:cubicBezTo>
                  <a:cubicBezTo>
                    <a:pt x="140" y="149"/>
                    <a:pt x="140" y="149"/>
                    <a:pt x="140" y="149"/>
                  </a:cubicBezTo>
                  <a:cubicBezTo>
                    <a:pt x="152" y="149"/>
                    <a:pt x="141" y="160"/>
                    <a:pt x="138" y="165"/>
                  </a:cubicBezTo>
                  <a:cubicBezTo>
                    <a:pt x="135" y="168"/>
                    <a:pt x="140" y="170"/>
                    <a:pt x="140" y="173"/>
                  </a:cubicBezTo>
                  <a:cubicBezTo>
                    <a:pt x="140" y="174"/>
                    <a:pt x="140" y="174"/>
                    <a:pt x="140" y="174"/>
                  </a:cubicBezTo>
                  <a:cubicBezTo>
                    <a:pt x="141" y="174"/>
                    <a:pt x="142" y="174"/>
                    <a:pt x="143" y="175"/>
                  </a:cubicBezTo>
                  <a:cubicBezTo>
                    <a:pt x="143" y="174"/>
                    <a:pt x="144" y="173"/>
                    <a:pt x="145" y="173"/>
                  </a:cubicBezTo>
                  <a:cubicBezTo>
                    <a:pt x="145" y="172"/>
                    <a:pt x="145" y="172"/>
                    <a:pt x="145" y="172"/>
                  </a:cubicBezTo>
                  <a:cubicBezTo>
                    <a:pt x="146" y="172"/>
                    <a:pt x="146" y="172"/>
                    <a:pt x="147" y="172"/>
                  </a:cubicBezTo>
                  <a:cubicBezTo>
                    <a:pt x="147" y="171"/>
                    <a:pt x="147" y="171"/>
                    <a:pt x="147" y="171"/>
                  </a:cubicBezTo>
                  <a:cubicBezTo>
                    <a:pt x="148" y="170"/>
                    <a:pt x="148" y="170"/>
                    <a:pt x="148" y="170"/>
                  </a:cubicBezTo>
                  <a:cubicBezTo>
                    <a:pt x="148" y="169"/>
                    <a:pt x="148" y="169"/>
                    <a:pt x="148" y="168"/>
                  </a:cubicBezTo>
                  <a:cubicBezTo>
                    <a:pt x="148" y="167"/>
                    <a:pt x="149" y="167"/>
                    <a:pt x="149" y="166"/>
                  </a:cubicBezTo>
                  <a:cubicBezTo>
                    <a:pt x="149" y="166"/>
                    <a:pt x="150" y="165"/>
                    <a:pt x="150" y="165"/>
                  </a:cubicBezTo>
                  <a:cubicBezTo>
                    <a:pt x="151" y="165"/>
                    <a:pt x="152" y="164"/>
                    <a:pt x="152" y="164"/>
                  </a:cubicBezTo>
                  <a:cubicBezTo>
                    <a:pt x="152" y="163"/>
                    <a:pt x="152" y="162"/>
                    <a:pt x="152" y="160"/>
                  </a:cubicBezTo>
                  <a:cubicBezTo>
                    <a:pt x="152" y="157"/>
                    <a:pt x="153" y="153"/>
                    <a:pt x="154" y="151"/>
                  </a:cubicBezTo>
                  <a:cubicBezTo>
                    <a:pt x="155" y="146"/>
                    <a:pt x="155" y="146"/>
                    <a:pt x="155" y="146"/>
                  </a:cubicBezTo>
                  <a:cubicBezTo>
                    <a:pt x="167" y="152"/>
                    <a:pt x="167" y="152"/>
                    <a:pt x="167" y="152"/>
                  </a:cubicBezTo>
                  <a:cubicBezTo>
                    <a:pt x="168" y="153"/>
                    <a:pt x="168" y="153"/>
                    <a:pt x="169" y="153"/>
                  </a:cubicBezTo>
                  <a:cubicBezTo>
                    <a:pt x="170" y="153"/>
                    <a:pt x="171" y="153"/>
                    <a:pt x="172" y="152"/>
                  </a:cubicBezTo>
                  <a:cubicBezTo>
                    <a:pt x="174" y="152"/>
                    <a:pt x="174" y="152"/>
                    <a:pt x="174" y="152"/>
                  </a:cubicBezTo>
                  <a:cubicBezTo>
                    <a:pt x="178" y="152"/>
                    <a:pt x="183" y="150"/>
                    <a:pt x="189" y="148"/>
                  </a:cubicBezTo>
                  <a:cubicBezTo>
                    <a:pt x="191" y="147"/>
                    <a:pt x="191" y="147"/>
                    <a:pt x="191" y="147"/>
                  </a:cubicBezTo>
                  <a:cubicBezTo>
                    <a:pt x="193" y="146"/>
                    <a:pt x="194" y="146"/>
                    <a:pt x="196" y="146"/>
                  </a:cubicBezTo>
                  <a:cubicBezTo>
                    <a:pt x="197" y="146"/>
                    <a:pt x="198" y="146"/>
                    <a:pt x="199" y="146"/>
                  </a:cubicBezTo>
                  <a:cubicBezTo>
                    <a:pt x="204" y="147"/>
                    <a:pt x="204" y="147"/>
                    <a:pt x="204" y="147"/>
                  </a:cubicBezTo>
                  <a:cubicBezTo>
                    <a:pt x="206" y="148"/>
                    <a:pt x="207" y="149"/>
                    <a:pt x="207" y="149"/>
                  </a:cubicBezTo>
                  <a:cubicBezTo>
                    <a:pt x="207" y="149"/>
                    <a:pt x="207" y="149"/>
                    <a:pt x="207" y="149"/>
                  </a:cubicBezTo>
                  <a:cubicBezTo>
                    <a:pt x="207" y="149"/>
                    <a:pt x="207" y="149"/>
                    <a:pt x="207" y="149"/>
                  </a:cubicBezTo>
                  <a:cubicBezTo>
                    <a:pt x="209" y="149"/>
                    <a:pt x="209" y="149"/>
                    <a:pt x="209" y="149"/>
                  </a:cubicBezTo>
                  <a:cubicBezTo>
                    <a:pt x="213" y="150"/>
                    <a:pt x="217" y="151"/>
                    <a:pt x="222" y="151"/>
                  </a:cubicBezTo>
                  <a:cubicBezTo>
                    <a:pt x="223" y="151"/>
                    <a:pt x="224" y="151"/>
                    <a:pt x="224" y="151"/>
                  </a:cubicBezTo>
                  <a:cubicBezTo>
                    <a:pt x="225" y="151"/>
                    <a:pt x="225" y="151"/>
                    <a:pt x="225" y="151"/>
                  </a:cubicBezTo>
                  <a:cubicBezTo>
                    <a:pt x="226" y="152"/>
                    <a:pt x="226" y="152"/>
                    <a:pt x="226" y="152"/>
                  </a:cubicBezTo>
                  <a:cubicBezTo>
                    <a:pt x="226" y="151"/>
                    <a:pt x="226" y="151"/>
                    <a:pt x="226" y="151"/>
                  </a:cubicBezTo>
                  <a:cubicBezTo>
                    <a:pt x="230" y="150"/>
                    <a:pt x="235" y="148"/>
                    <a:pt x="239" y="147"/>
                  </a:cubicBezTo>
                  <a:cubicBezTo>
                    <a:pt x="244" y="145"/>
                    <a:pt x="244" y="145"/>
                    <a:pt x="244" y="145"/>
                  </a:cubicBezTo>
                  <a:cubicBezTo>
                    <a:pt x="245" y="145"/>
                    <a:pt x="245" y="145"/>
                    <a:pt x="246" y="145"/>
                  </a:cubicBezTo>
                  <a:cubicBezTo>
                    <a:pt x="247" y="144"/>
                    <a:pt x="248" y="143"/>
                    <a:pt x="249" y="143"/>
                  </a:cubicBezTo>
                  <a:cubicBezTo>
                    <a:pt x="249" y="143"/>
                    <a:pt x="249" y="143"/>
                    <a:pt x="249" y="143"/>
                  </a:cubicBezTo>
                  <a:cubicBezTo>
                    <a:pt x="253" y="141"/>
                    <a:pt x="256" y="139"/>
                    <a:pt x="260" y="139"/>
                  </a:cubicBezTo>
                  <a:cubicBezTo>
                    <a:pt x="261" y="139"/>
                    <a:pt x="261" y="139"/>
                    <a:pt x="261" y="139"/>
                  </a:cubicBezTo>
                  <a:cubicBezTo>
                    <a:pt x="263" y="139"/>
                    <a:pt x="264" y="139"/>
                    <a:pt x="265" y="139"/>
                  </a:cubicBezTo>
                  <a:cubicBezTo>
                    <a:pt x="273" y="139"/>
                    <a:pt x="280" y="139"/>
                    <a:pt x="287" y="137"/>
                  </a:cubicBezTo>
                  <a:cubicBezTo>
                    <a:pt x="290" y="137"/>
                    <a:pt x="293" y="136"/>
                    <a:pt x="296" y="135"/>
                  </a:cubicBezTo>
                  <a:cubicBezTo>
                    <a:pt x="299" y="134"/>
                    <a:pt x="299" y="134"/>
                    <a:pt x="299" y="134"/>
                  </a:cubicBezTo>
                  <a:cubicBezTo>
                    <a:pt x="299" y="137"/>
                    <a:pt x="299" y="137"/>
                    <a:pt x="299" y="137"/>
                  </a:cubicBezTo>
                  <a:cubicBezTo>
                    <a:pt x="303" y="134"/>
                    <a:pt x="307" y="132"/>
                    <a:pt x="313" y="132"/>
                  </a:cubicBezTo>
                  <a:cubicBezTo>
                    <a:pt x="315" y="132"/>
                    <a:pt x="315" y="132"/>
                    <a:pt x="315" y="132"/>
                  </a:cubicBezTo>
                  <a:cubicBezTo>
                    <a:pt x="315" y="132"/>
                    <a:pt x="315" y="132"/>
                    <a:pt x="316" y="132"/>
                  </a:cubicBezTo>
                  <a:cubicBezTo>
                    <a:pt x="316" y="132"/>
                    <a:pt x="316" y="132"/>
                    <a:pt x="316" y="132"/>
                  </a:cubicBezTo>
                  <a:cubicBezTo>
                    <a:pt x="317" y="132"/>
                    <a:pt x="317" y="132"/>
                    <a:pt x="317" y="132"/>
                  </a:cubicBezTo>
                  <a:cubicBezTo>
                    <a:pt x="317" y="133"/>
                    <a:pt x="317" y="133"/>
                    <a:pt x="317" y="133"/>
                  </a:cubicBezTo>
                  <a:cubicBezTo>
                    <a:pt x="317" y="132"/>
                    <a:pt x="317" y="132"/>
                    <a:pt x="317" y="132"/>
                  </a:cubicBezTo>
                  <a:cubicBezTo>
                    <a:pt x="318" y="132"/>
                    <a:pt x="319" y="132"/>
                    <a:pt x="320" y="132"/>
                  </a:cubicBezTo>
                  <a:cubicBezTo>
                    <a:pt x="324" y="133"/>
                    <a:pt x="324" y="133"/>
                    <a:pt x="324" y="133"/>
                  </a:cubicBezTo>
                  <a:cubicBezTo>
                    <a:pt x="327" y="134"/>
                    <a:pt x="331" y="135"/>
                    <a:pt x="334" y="135"/>
                  </a:cubicBezTo>
                  <a:cubicBezTo>
                    <a:pt x="335" y="135"/>
                    <a:pt x="336" y="134"/>
                    <a:pt x="337" y="134"/>
                  </a:cubicBezTo>
                  <a:cubicBezTo>
                    <a:pt x="338" y="134"/>
                    <a:pt x="339" y="134"/>
                    <a:pt x="340" y="134"/>
                  </a:cubicBezTo>
                  <a:cubicBezTo>
                    <a:pt x="344" y="134"/>
                    <a:pt x="346" y="137"/>
                    <a:pt x="347" y="139"/>
                  </a:cubicBezTo>
                  <a:cubicBezTo>
                    <a:pt x="347" y="140"/>
                    <a:pt x="347" y="140"/>
                    <a:pt x="347" y="140"/>
                  </a:cubicBezTo>
                  <a:cubicBezTo>
                    <a:pt x="347" y="140"/>
                    <a:pt x="347" y="140"/>
                    <a:pt x="347" y="141"/>
                  </a:cubicBezTo>
                  <a:cubicBezTo>
                    <a:pt x="348" y="141"/>
                    <a:pt x="348" y="142"/>
                    <a:pt x="348" y="142"/>
                  </a:cubicBezTo>
                  <a:cubicBezTo>
                    <a:pt x="349" y="142"/>
                    <a:pt x="349" y="142"/>
                    <a:pt x="349" y="142"/>
                  </a:cubicBezTo>
                  <a:cubicBezTo>
                    <a:pt x="350" y="141"/>
                    <a:pt x="351" y="141"/>
                    <a:pt x="352" y="140"/>
                  </a:cubicBezTo>
                  <a:cubicBezTo>
                    <a:pt x="355" y="139"/>
                    <a:pt x="355" y="139"/>
                    <a:pt x="355" y="139"/>
                  </a:cubicBezTo>
                  <a:cubicBezTo>
                    <a:pt x="355" y="139"/>
                    <a:pt x="355" y="139"/>
                    <a:pt x="355" y="139"/>
                  </a:cubicBezTo>
                  <a:cubicBezTo>
                    <a:pt x="355" y="139"/>
                    <a:pt x="355" y="138"/>
                    <a:pt x="355" y="138"/>
                  </a:cubicBezTo>
                  <a:cubicBezTo>
                    <a:pt x="354" y="137"/>
                    <a:pt x="354" y="137"/>
                    <a:pt x="354" y="137"/>
                  </a:cubicBezTo>
                  <a:cubicBezTo>
                    <a:pt x="354" y="137"/>
                    <a:pt x="354" y="137"/>
                    <a:pt x="354" y="137"/>
                  </a:cubicBezTo>
                  <a:cubicBezTo>
                    <a:pt x="354" y="137"/>
                    <a:pt x="354" y="137"/>
                    <a:pt x="354" y="137"/>
                  </a:cubicBezTo>
                  <a:cubicBezTo>
                    <a:pt x="352" y="136"/>
                    <a:pt x="352" y="136"/>
                    <a:pt x="352" y="136"/>
                  </a:cubicBezTo>
                  <a:cubicBezTo>
                    <a:pt x="352" y="135"/>
                    <a:pt x="351" y="135"/>
                    <a:pt x="351" y="135"/>
                  </a:cubicBezTo>
                  <a:cubicBezTo>
                    <a:pt x="350" y="133"/>
                    <a:pt x="350" y="133"/>
                    <a:pt x="350" y="133"/>
                  </a:cubicBezTo>
                  <a:cubicBezTo>
                    <a:pt x="349" y="131"/>
                    <a:pt x="350" y="129"/>
                    <a:pt x="350" y="128"/>
                  </a:cubicBezTo>
                  <a:cubicBezTo>
                    <a:pt x="350" y="127"/>
                    <a:pt x="350" y="127"/>
                    <a:pt x="350" y="127"/>
                  </a:cubicBezTo>
                  <a:cubicBezTo>
                    <a:pt x="350" y="127"/>
                    <a:pt x="350" y="126"/>
                    <a:pt x="350" y="126"/>
                  </a:cubicBezTo>
                  <a:cubicBezTo>
                    <a:pt x="350" y="126"/>
                    <a:pt x="350" y="126"/>
                    <a:pt x="350" y="126"/>
                  </a:cubicBezTo>
                  <a:cubicBezTo>
                    <a:pt x="350" y="126"/>
                    <a:pt x="350" y="126"/>
                    <a:pt x="350" y="126"/>
                  </a:cubicBezTo>
                  <a:cubicBezTo>
                    <a:pt x="349" y="125"/>
                    <a:pt x="348" y="125"/>
                    <a:pt x="348" y="125"/>
                  </a:cubicBezTo>
                  <a:cubicBezTo>
                    <a:pt x="347" y="124"/>
                    <a:pt x="347" y="124"/>
                    <a:pt x="347" y="124"/>
                  </a:cubicBezTo>
                  <a:cubicBezTo>
                    <a:pt x="347" y="124"/>
                    <a:pt x="346" y="124"/>
                    <a:pt x="346" y="123"/>
                  </a:cubicBezTo>
                  <a:cubicBezTo>
                    <a:pt x="346" y="123"/>
                    <a:pt x="345" y="123"/>
                    <a:pt x="345" y="123"/>
                  </a:cubicBezTo>
                  <a:cubicBezTo>
                    <a:pt x="344" y="123"/>
                    <a:pt x="344" y="123"/>
                    <a:pt x="343" y="122"/>
                  </a:cubicBezTo>
                  <a:cubicBezTo>
                    <a:pt x="342" y="122"/>
                    <a:pt x="342" y="122"/>
                    <a:pt x="342" y="122"/>
                  </a:cubicBezTo>
                  <a:cubicBezTo>
                    <a:pt x="341" y="121"/>
                    <a:pt x="341" y="120"/>
                    <a:pt x="341" y="119"/>
                  </a:cubicBezTo>
                  <a:cubicBezTo>
                    <a:pt x="341" y="118"/>
                    <a:pt x="341" y="117"/>
                    <a:pt x="341" y="116"/>
                  </a:cubicBezTo>
                  <a:cubicBezTo>
                    <a:pt x="342" y="116"/>
                    <a:pt x="342" y="115"/>
                    <a:pt x="343" y="113"/>
                  </a:cubicBezTo>
                  <a:cubicBezTo>
                    <a:pt x="343" y="113"/>
                    <a:pt x="345" y="111"/>
                    <a:pt x="346" y="109"/>
                  </a:cubicBezTo>
                  <a:cubicBezTo>
                    <a:pt x="343" y="110"/>
                    <a:pt x="343" y="110"/>
                    <a:pt x="343" y="110"/>
                  </a:cubicBezTo>
                  <a:cubicBezTo>
                    <a:pt x="343" y="106"/>
                    <a:pt x="343" y="106"/>
                    <a:pt x="343" y="106"/>
                  </a:cubicBezTo>
                  <a:cubicBezTo>
                    <a:pt x="344" y="101"/>
                    <a:pt x="343" y="96"/>
                    <a:pt x="343" y="95"/>
                  </a:cubicBezTo>
                  <a:cubicBezTo>
                    <a:pt x="342" y="95"/>
                    <a:pt x="342" y="95"/>
                    <a:pt x="342" y="95"/>
                  </a:cubicBezTo>
                  <a:cubicBezTo>
                    <a:pt x="342" y="94"/>
                    <a:pt x="342" y="94"/>
                    <a:pt x="342" y="94"/>
                  </a:cubicBezTo>
                  <a:cubicBezTo>
                    <a:pt x="341" y="92"/>
                    <a:pt x="340" y="90"/>
                    <a:pt x="339" y="87"/>
                  </a:cubicBezTo>
                  <a:cubicBezTo>
                    <a:pt x="338" y="86"/>
                    <a:pt x="338" y="85"/>
                    <a:pt x="337" y="83"/>
                  </a:cubicBezTo>
                  <a:cubicBezTo>
                    <a:pt x="336" y="78"/>
                    <a:pt x="336" y="78"/>
                    <a:pt x="336" y="78"/>
                  </a:cubicBezTo>
                  <a:cubicBezTo>
                    <a:pt x="339" y="74"/>
                    <a:pt x="339" y="74"/>
                    <a:pt x="339" y="74"/>
                  </a:cubicBezTo>
                  <a:cubicBezTo>
                    <a:pt x="340" y="74"/>
                    <a:pt x="340" y="74"/>
                    <a:pt x="340" y="74"/>
                  </a:cubicBezTo>
                  <a:cubicBezTo>
                    <a:pt x="343" y="74"/>
                    <a:pt x="345" y="74"/>
                    <a:pt x="346" y="74"/>
                  </a:cubicBezTo>
                  <a:cubicBezTo>
                    <a:pt x="346" y="73"/>
                    <a:pt x="347" y="72"/>
                    <a:pt x="346" y="71"/>
                  </a:cubicBezTo>
                  <a:cubicBezTo>
                    <a:pt x="346" y="69"/>
                    <a:pt x="346" y="66"/>
                    <a:pt x="349" y="65"/>
                  </a:cubicBezTo>
                  <a:cubicBezTo>
                    <a:pt x="346" y="62"/>
                    <a:pt x="346" y="62"/>
                    <a:pt x="342" y="62"/>
                  </a:cubicBezTo>
                  <a:cubicBezTo>
                    <a:pt x="340" y="62"/>
                    <a:pt x="339" y="62"/>
                    <a:pt x="337" y="61"/>
                  </a:cubicBezTo>
                  <a:cubicBezTo>
                    <a:pt x="337" y="61"/>
                    <a:pt x="337" y="61"/>
                    <a:pt x="337" y="61"/>
                  </a:cubicBezTo>
                  <a:cubicBezTo>
                    <a:pt x="337" y="61"/>
                    <a:pt x="337" y="61"/>
                    <a:pt x="336" y="61"/>
                  </a:cubicBezTo>
                  <a:cubicBezTo>
                    <a:pt x="334" y="61"/>
                    <a:pt x="332" y="60"/>
                    <a:pt x="330" y="59"/>
                  </a:cubicBezTo>
                  <a:cubicBezTo>
                    <a:pt x="329" y="59"/>
                    <a:pt x="329" y="59"/>
                    <a:pt x="329" y="59"/>
                  </a:cubicBezTo>
                  <a:cubicBezTo>
                    <a:pt x="328" y="58"/>
                    <a:pt x="327" y="58"/>
                    <a:pt x="327" y="57"/>
                  </a:cubicBezTo>
                  <a:cubicBezTo>
                    <a:pt x="326" y="55"/>
                    <a:pt x="327" y="54"/>
                    <a:pt x="327" y="53"/>
                  </a:cubicBezTo>
                  <a:cubicBezTo>
                    <a:pt x="327" y="53"/>
                    <a:pt x="327" y="53"/>
                    <a:pt x="327" y="53"/>
                  </a:cubicBezTo>
                  <a:cubicBezTo>
                    <a:pt x="327" y="52"/>
                    <a:pt x="327" y="52"/>
                    <a:pt x="326" y="51"/>
                  </a:cubicBezTo>
                  <a:cubicBezTo>
                    <a:pt x="324" y="47"/>
                    <a:pt x="324" y="46"/>
                    <a:pt x="324" y="45"/>
                  </a:cubicBezTo>
                  <a:cubicBezTo>
                    <a:pt x="324" y="44"/>
                    <a:pt x="326" y="42"/>
                    <a:pt x="326" y="42"/>
                  </a:cubicBezTo>
                  <a:cubicBezTo>
                    <a:pt x="327" y="41"/>
                    <a:pt x="327" y="41"/>
                    <a:pt x="327" y="41"/>
                  </a:cubicBezTo>
                  <a:cubicBezTo>
                    <a:pt x="327" y="41"/>
                    <a:pt x="327" y="41"/>
                    <a:pt x="327" y="41"/>
                  </a:cubicBezTo>
                  <a:cubicBezTo>
                    <a:pt x="327" y="41"/>
                    <a:pt x="327" y="41"/>
                    <a:pt x="327" y="41"/>
                  </a:cubicBezTo>
                  <a:cubicBezTo>
                    <a:pt x="327" y="39"/>
                    <a:pt x="327" y="39"/>
                    <a:pt x="327" y="39"/>
                  </a:cubicBezTo>
                  <a:cubicBezTo>
                    <a:pt x="327" y="38"/>
                    <a:pt x="327" y="38"/>
                    <a:pt x="327" y="37"/>
                  </a:cubicBezTo>
                  <a:cubicBezTo>
                    <a:pt x="327" y="36"/>
                    <a:pt x="327" y="36"/>
                    <a:pt x="327" y="36"/>
                  </a:cubicBezTo>
                  <a:cubicBezTo>
                    <a:pt x="327" y="36"/>
                    <a:pt x="327" y="35"/>
                    <a:pt x="327" y="35"/>
                  </a:cubicBezTo>
                  <a:cubicBezTo>
                    <a:pt x="326" y="34"/>
                    <a:pt x="326" y="34"/>
                    <a:pt x="326" y="34"/>
                  </a:cubicBezTo>
                  <a:cubicBezTo>
                    <a:pt x="326" y="34"/>
                    <a:pt x="326" y="34"/>
                    <a:pt x="326" y="34"/>
                  </a:cubicBezTo>
                  <a:cubicBezTo>
                    <a:pt x="326" y="34"/>
                    <a:pt x="326" y="34"/>
                    <a:pt x="326" y="34"/>
                  </a:cubicBezTo>
                  <a:cubicBezTo>
                    <a:pt x="326" y="33"/>
                    <a:pt x="325" y="32"/>
                    <a:pt x="325" y="32"/>
                  </a:cubicBezTo>
                  <a:cubicBezTo>
                    <a:pt x="318" y="25"/>
                    <a:pt x="318" y="25"/>
                    <a:pt x="318" y="25"/>
                  </a:cubicBezTo>
                  <a:cubicBezTo>
                    <a:pt x="318" y="25"/>
                    <a:pt x="318" y="25"/>
                    <a:pt x="318" y="25"/>
                  </a:cubicBezTo>
                  <a:cubicBezTo>
                    <a:pt x="317" y="24"/>
                    <a:pt x="315" y="23"/>
                    <a:pt x="314" y="22"/>
                  </a:cubicBezTo>
                  <a:cubicBezTo>
                    <a:pt x="313" y="22"/>
                    <a:pt x="313" y="22"/>
                    <a:pt x="313" y="22"/>
                  </a:cubicBezTo>
                  <a:cubicBezTo>
                    <a:pt x="313" y="22"/>
                    <a:pt x="313" y="22"/>
                    <a:pt x="313" y="22"/>
                  </a:cubicBezTo>
                  <a:cubicBezTo>
                    <a:pt x="313" y="21"/>
                    <a:pt x="312" y="21"/>
                    <a:pt x="312" y="20"/>
                  </a:cubicBezTo>
                  <a:cubicBezTo>
                    <a:pt x="311" y="20"/>
                    <a:pt x="311" y="20"/>
                    <a:pt x="311" y="19"/>
                  </a:cubicBezTo>
                  <a:cubicBezTo>
                    <a:pt x="310" y="19"/>
                    <a:pt x="310" y="19"/>
                    <a:pt x="310" y="19"/>
                  </a:cubicBezTo>
                  <a:cubicBezTo>
                    <a:pt x="309" y="18"/>
                    <a:pt x="309" y="18"/>
                    <a:pt x="309" y="18"/>
                  </a:cubicBezTo>
                  <a:cubicBezTo>
                    <a:pt x="308" y="17"/>
                    <a:pt x="307" y="16"/>
                    <a:pt x="306" y="16"/>
                  </a:cubicBezTo>
                  <a:cubicBezTo>
                    <a:pt x="305" y="16"/>
                    <a:pt x="305" y="16"/>
                    <a:pt x="305" y="16"/>
                  </a:cubicBezTo>
                  <a:cubicBezTo>
                    <a:pt x="305" y="16"/>
                    <a:pt x="305" y="16"/>
                    <a:pt x="304" y="18"/>
                  </a:cubicBezTo>
                  <a:cubicBezTo>
                    <a:pt x="304" y="21"/>
                    <a:pt x="304" y="21"/>
                    <a:pt x="304" y="21"/>
                  </a:cubicBezTo>
                  <a:cubicBezTo>
                    <a:pt x="301" y="20"/>
                    <a:pt x="301" y="20"/>
                    <a:pt x="301" y="20"/>
                  </a:cubicBezTo>
                  <a:cubicBezTo>
                    <a:pt x="298" y="20"/>
                    <a:pt x="295" y="19"/>
                    <a:pt x="292" y="19"/>
                  </a:cubicBezTo>
                  <a:cubicBezTo>
                    <a:pt x="289" y="19"/>
                    <a:pt x="289" y="19"/>
                    <a:pt x="289" y="19"/>
                  </a:cubicBezTo>
                  <a:cubicBezTo>
                    <a:pt x="289" y="19"/>
                    <a:pt x="289" y="19"/>
                    <a:pt x="288" y="19"/>
                  </a:cubicBezTo>
                  <a:cubicBezTo>
                    <a:pt x="287" y="19"/>
                    <a:pt x="287" y="19"/>
                    <a:pt x="286" y="19"/>
                  </a:cubicBezTo>
                  <a:cubicBezTo>
                    <a:pt x="285" y="19"/>
                    <a:pt x="285" y="19"/>
                    <a:pt x="285" y="19"/>
                  </a:cubicBezTo>
                  <a:cubicBezTo>
                    <a:pt x="284" y="19"/>
                    <a:pt x="283" y="19"/>
                    <a:pt x="282" y="19"/>
                  </a:cubicBezTo>
                  <a:cubicBezTo>
                    <a:pt x="281" y="19"/>
                    <a:pt x="280" y="19"/>
                    <a:pt x="278" y="19"/>
                  </a:cubicBezTo>
                  <a:cubicBezTo>
                    <a:pt x="280" y="23"/>
                    <a:pt x="280" y="23"/>
                    <a:pt x="280" y="23"/>
                  </a:cubicBezTo>
                  <a:cubicBezTo>
                    <a:pt x="277" y="19"/>
                    <a:pt x="277" y="19"/>
                    <a:pt x="277" y="19"/>
                  </a:cubicBezTo>
                  <a:cubicBezTo>
                    <a:pt x="267" y="22"/>
                    <a:pt x="267" y="22"/>
                    <a:pt x="267" y="22"/>
                  </a:cubicBezTo>
                  <a:cubicBezTo>
                    <a:pt x="266" y="23"/>
                    <a:pt x="264" y="24"/>
                    <a:pt x="263" y="24"/>
                  </a:cubicBezTo>
                  <a:cubicBezTo>
                    <a:pt x="261" y="25"/>
                    <a:pt x="259" y="25"/>
                    <a:pt x="258" y="26"/>
                  </a:cubicBezTo>
                  <a:cubicBezTo>
                    <a:pt x="255" y="28"/>
                    <a:pt x="251" y="30"/>
                    <a:pt x="248" y="31"/>
                  </a:cubicBezTo>
                  <a:cubicBezTo>
                    <a:pt x="246" y="32"/>
                    <a:pt x="244" y="32"/>
                    <a:pt x="242" y="32"/>
                  </a:cubicBezTo>
                  <a:cubicBezTo>
                    <a:pt x="242" y="32"/>
                    <a:pt x="242" y="32"/>
                    <a:pt x="242" y="32"/>
                  </a:cubicBezTo>
                  <a:cubicBezTo>
                    <a:pt x="241" y="32"/>
                    <a:pt x="241" y="32"/>
                    <a:pt x="240" y="32"/>
                  </a:cubicBezTo>
                  <a:cubicBezTo>
                    <a:pt x="240" y="32"/>
                    <a:pt x="239" y="31"/>
                    <a:pt x="239" y="31"/>
                  </a:cubicBezTo>
                  <a:cubicBezTo>
                    <a:pt x="239" y="31"/>
                    <a:pt x="238" y="31"/>
                    <a:pt x="238" y="31"/>
                  </a:cubicBezTo>
                  <a:cubicBezTo>
                    <a:pt x="238" y="31"/>
                    <a:pt x="237" y="31"/>
                    <a:pt x="237" y="31"/>
                  </a:cubicBezTo>
                  <a:cubicBezTo>
                    <a:pt x="234" y="31"/>
                    <a:pt x="230" y="30"/>
                    <a:pt x="227" y="28"/>
                  </a:cubicBezTo>
                  <a:cubicBezTo>
                    <a:pt x="226" y="28"/>
                    <a:pt x="226" y="28"/>
                    <a:pt x="225" y="28"/>
                  </a:cubicBezTo>
                  <a:cubicBezTo>
                    <a:pt x="225" y="28"/>
                    <a:pt x="224" y="28"/>
                    <a:pt x="222" y="28"/>
                  </a:cubicBezTo>
                  <a:cubicBezTo>
                    <a:pt x="222" y="29"/>
                    <a:pt x="221" y="29"/>
                    <a:pt x="221" y="29"/>
                  </a:cubicBezTo>
                  <a:cubicBezTo>
                    <a:pt x="221" y="29"/>
                    <a:pt x="220" y="29"/>
                    <a:pt x="220" y="29"/>
                  </a:cubicBezTo>
                  <a:cubicBezTo>
                    <a:pt x="220" y="29"/>
                    <a:pt x="219" y="29"/>
                    <a:pt x="219" y="29"/>
                  </a:cubicBezTo>
                  <a:cubicBezTo>
                    <a:pt x="218" y="29"/>
                    <a:pt x="218" y="29"/>
                    <a:pt x="217" y="29"/>
                  </a:cubicBezTo>
                  <a:cubicBezTo>
                    <a:pt x="212" y="30"/>
                    <a:pt x="206" y="33"/>
                    <a:pt x="200" y="33"/>
                  </a:cubicBezTo>
                  <a:cubicBezTo>
                    <a:pt x="200" y="33"/>
                    <a:pt x="200" y="33"/>
                    <a:pt x="200" y="33"/>
                  </a:cubicBezTo>
                  <a:cubicBezTo>
                    <a:pt x="193" y="33"/>
                    <a:pt x="187" y="29"/>
                    <a:pt x="181" y="29"/>
                  </a:cubicBezTo>
                  <a:cubicBezTo>
                    <a:pt x="172" y="27"/>
                    <a:pt x="168" y="25"/>
                    <a:pt x="161" y="20"/>
                  </a:cubicBezTo>
                  <a:cubicBezTo>
                    <a:pt x="161" y="20"/>
                    <a:pt x="161" y="20"/>
                    <a:pt x="161" y="20"/>
                  </a:cubicBezTo>
                  <a:cubicBezTo>
                    <a:pt x="159" y="20"/>
                    <a:pt x="153" y="23"/>
                    <a:pt x="152" y="23"/>
                  </a:cubicBezTo>
                  <a:cubicBezTo>
                    <a:pt x="152" y="23"/>
                    <a:pt x="152" y="23"/>
                    <a:pt x="152" y="23"/>
                  </a:cubicBezTo>
                  <a:cubicBezTo>
                    <a:pt x="149" y="23"/>
                    <a:pt x="145" y="19"/>
                    <a:pt x="145" y="17"/>
                  </a:cubicBezTo>
                  <a:cubicBezTo>
                    <a:pt x="143" y="14"/>
                    <a:pt x="144" y="9"/>
                    <a:pt x="140" y="9"/>
                  </a:cubicBezTo>
                  <a:cubicBezTo>
                    <a:pt x="140" y="9"/>
                    <a:pt x="139" y="9"/>
                    <a:pt x="138" y="10"/>
                  </a:cubicBezTo>
                  <a:cubicBezTo>
                    <a:pt x="136" y="10"/>
                    <a:pt x="133" y="12"/>
                    <a:pt x="130" y="12"/>
                  </a:cubicBezTo>
                  <a:cubicBezTo>
                    <a:pt x="130" y="12"/>
                    <a:pt x="129" y="11"/>
                    <a:pt x="128" y="11"/>
                  </a:cubicBezTo>
                  <a:cubicBezTo>
                    <a:pt x="125" y="11"/>
                    <a:pt x="122" y="8"/>
                    <a:pt x="120" y="5"/>
                  </a:cubicBezTo>
                  <a:cubicBezTo>
                    <a:pt x="119" y="4"/>
                    <a:pt x="119" y="0"/>
                    <a:pt x="121" y="0"/>
                  </a:cubicBezTo>
                  <a:cubicBezTo>
                    <a:pt x="121" y="0"/>
                    <a:pt x="121" y="0"/>
                    <a:pt x="122" y="0"/>
                  </a:cubicBezTo>
                  <a:cubicBezTo>
                    <a:pt x="121" y="0"/>
                    <a:pt x="12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452"/>
            <p:cNvSpPr/>
            <p:nvPr/>
          </p:nvSpPr>
          <p:spPr bwMode="auto">
            <a:xfrm>
              <a:off x="385723" y="3040837"/>
              <a:ext cx="102078" cy="115509"/>
            </a:xfrm>
            <a:custGeom>
              <a:gdLst>
                <a:gd name="T0" fmla="*/ 19 w 32"/>
                <a:gd name="T1" fmla="*/ 0 h 36"/>
                <a:gd name="T2" fmla="*/ 17 w 32"/>
                <a:gd name="T3" fmla="*/ 1 h 36"/>
                <a:gd name="T4" fmla="*/ 13 w 32"/>
                <a:gd name="T5" fmla="*/ 5 h 36"/>
                <a:gd name="T6" fmla="*/ 9 w 32"/>
                <a:gd name="T7" fmla="*/ 17 h 36"/>
                <a:gd name="T8" fmla="*/ 6 w 32"/>
                <a:gd name="T9" fmla="*/ 21 h 36"/>
                <a:gd name="T10" fmla="*/ 4 w 32"/>
                <a:gd name="T11" fmla="*/ 27 h 36"/>
                <a:gd name="T12" fmla="*/ 0 w 32"/>
                <a:gd name="T13" fmla="*/ 36 h 36"/>
                <a:gd name="T14" fmla="*/ 2 w 32"/>
                <a:gd name="T15" fmla="*/ 36 h 36"/>
                <a:gd name="T16" fmla="*/ 4 w 32"/>
                <a:gd name="T17" fmla="*/ 36 h 36"/>
                <a:gd name="T18" fmla="*/ 8 w 32"/>
                <a:gd name="T19" fmla="*/ 34 h 36"/>
                <a:gd name="T20" fmla="*/ 10 w 32"/>
                <a:gd name="T21" fmla="*/ 32 h 36"/>
                <a:gd name="T22" fmla="*/ 11 w 32"/>
                <a:gd name="T23" fmla="*/ 31 h 36"/>
                <a:gd name="T24" fmla="*/ 12 w 32"/>
                <a:gd name="T25" fmla="*/ 30 h 36"/>
                <a:gd name="T26" fmla="*/ 13 w 32"/>
                <a:gd name="T27" fmla="*/ 29 h 36"/>
                <a:gd name="T28" fmla="*/ 15 w 32"/>
                <a:gd name="T29" fmla="*/ 28 h 36"/>
                <a:gd name="T30" fmla="*/ 17 w 32"/>
                <a:gd name="T31" fmla="*/ 26 h 36"/>
                <a:gd name="T32" fmla="*/ 17 w 32"/>
                <a:gd name="T33" fmla="*/ 26 h 36"/>
                <a:gd name="T34" fmla="*/ 17 w 32"/>
                <a:gd name="T35" fmla="*/ 24 h 36"/>
                <a:gd name="T36" fmla="*/ 21 w 32"/>
                <a:gd name="T37" fmla="*/ 17 h 36"/>
                <a:gd name="T38" fmla="*/ 25 w 32"/>
                <a:gd name="T39" fmla="*/ 15 h 36"/>
                <a:gd name="T40" fmla="*/ 31 w 32"/>
                <a:gd name="T41" fmla="*/ 8 h 36"/>
                <a:gd name="T42" fmla="*/ 32 w 32"/>
                <a:gd name="T43" fmla="*/ 8 h 36"/>
                <a:gd name="T44" fmla="*/ 31 w 32"/>
                <a:gd name="T45" fmla="*/ 7 h 36"/>
                <a:gd name="T46" fmla="*/ 30 w 32"/>
                <a:gd name="T47" fmla="*/ 6 h 36"/>
                <a:gd name="T48" fmla="*/ 28 w 32"/>
                <a:gd name="T49" fmla="*/ 4 h 36"/>
                <a:gd name="T50" fmla="*/ 24 w 32"/>
                <a:gd name="T51" fmla="*/ 2 h 36"/>
                <a:gd name="T52" fmla="*/ 26 w 32"/>
                <a:gd name="T53" fmla="*/ 0 h 36"/>
                <a:gd name="T54" fmla="*/ 23 w 32"/>
                <a:gd name="T55" fmla="*/ 0 h 36"/>
                <a:gd name="T56" fmla="*/ 19 w 32"/>
                <a:gd name="T57"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36">
                  <a:moveTo>
                    <a:pt x="19" y="0"/>
                  </a:moveTo>
                  <a:cubicBezTo>
                    <a:pt x="18" y="0"/>
                    <a:pt x="18" y="1"/>
                    <a:pt x="17" y="1"/>
                  </a:cubicBezTo>
                  <a:cubicBezTo>
                    <a:pt x="16" y="3"/>
                    <a:pt x="14" y="4"/>
                    <a:pt x="13" y="5"/>
                  </a:cubicBezTo>
                  <a:cubicBezTo>
                    <a:pt x="11" y="9"/>
                    <a:pt x="11" y="13"/>
                    <a:pt x="9" y="17"/>
                  </a:cubicBezTo>
                  <a:cubicBezTo>
                    <a:pt x="8" y="19"/>
                    <a:pt x="7" y="19"/>
                    <a:pt x="6" y="21"/>
                  </a:cubicBezTo>
                  <a:cubicBezTo>
                    <a:pt x="6" y="23"/>
                    <a:pt x="5" y="25"/>
                    <a:pt x="4" y="27"/>
                  </a:cubicBezTo>
                  <a:cubicBezTo>
                    <a:pt x="3" y="30"/>
                    <a:pt x="1" y="33"/>
                    <a:pt x="0" y="36"/>
                  </a:cubicBezTo>
                  <a:cubicBezTo>
                    <a:pt x="2" y="36"/>
                    <a:pt x="2" y="36"/>
                    <a:pt x="2" y="36"/>
                  </a:cubicBezTo>
                  <a:cubicBezTo>
                    <a:pt x="3" y="36"/>
                    <a:pt x="4" y="36"/>
                    <a:pt x="4" y="36"/>
                  </a:cubicBezTo>
                  <a:cubicBezTo>
                    <a:pt x="6" y="36"/>
                    <a:pt x="6" y="36"/>
                    <a:pt x="8" y="34"/>
                  </a:cubicBezTo>
                  <a:cubicBezTo>
                    <a:pt x="10" y="32"/>
                    <a:pt x="10" y="32"/>
                    <a:pt x="10" y="32"/>
                  </a:cubicBezTo>
                  <a:cubicBezTo>
                    <a:pt x="10" y="32"/>
                    <a:pt x="10" y="31"/>
                    <a:pt x="11" y="31"/>
                  </a:cubicBezTo>
                  <a:cubicBezTo>
                    <a:pt x="12" y="30"/>
                    <a:pt x="12" y="30"/>
                    <a:pt x="12" y="30"/>
                  </a:cubicBezTo>
                  <a:cubicBezTo>
                    <a:pt x="13" y="29"/>
                    <a:pt x="13" y="29"/>
                    <a:pt x="13" y="29"/>
                  </a:cubicBezTo>
                  <a:cubicBezTo>
                    <a:pt x="14" y="29"/>
                    <a:pt x="14" y="29"/>
                    <a:pt x="15" y="28"/>
                  </a:cubicBezTo>
                  <a:cubicBezTo>
                    <a:pt x="16" y="27"/>
                    <a:pt x="17" y="27"/>
                    <a:pt x="17" y="26"/>
                  </a:cubicBezTo>
                  <a:cubicBezTo>
                    <a:pt x="17" y="26"/>
                    <a:pt x="17" y="26"/>
                    <a:pt x="17" y="26"/>
                  </a:cubicBezTo>
                  <a:cubicBezTo>
                    <a:pt x="17" y="25"/>
                    <a:pt x="17" y="25"/>
                    <a:pt x="17" y="24"/>
                  </a:cubicBezTo>
                  <a:cubicBezTo>
                    <a:pt x="16" y="21"/>
                    <a:pt x="18" y="18"/>
                    <a:pt x="21" y="17"/>
                  </a:cubicBezTo>
                  <a:cubicBezTo>
                    <a:pt x="22" y="16"/>
                    <a:pt x="23" y="15"/>
                    <a:pt x="25" y="15"/>
                  </a:cubicBezTo>
                  <a:cubicBezTo>
                    <a:pt x="26" y="12"/>
                    <a:pt x="29" y="10"/>
                    <a:pt x="31" y="8"/>
                  </a:cubicBezTo>
                  <a:cubicBezTo>
                    <a:pt x="32" y="8"/>
                    <a:pt x="32" y="8"/>
                    <a:pt x="32" y="8"/>
                  </a:cubicBezTo>
                  <a:cubicBezTo>
                    <a:pt x="31" y="7"/>
                    <a:pt x="31" y="7"/>
                    <a:pt x="31" y="7"/>
                  </a:cubicBezTo>
                  <a:cubicBezTo>
                    <a:pt x="31" y="7"/>
                    <a:pt x="31" y="6"/>
                    <a:pt x="30" y="6"/>
                  </a:cubicBezTo>
                  <a:cubicBezTo>
                    <a:pt x="30" y="4"/>
                    <a:pt x="30" y="4"/>
                    <a:pt x="28" y="4"/>
                  </a:cubicBezTo>
                  <a:cubicBezTo>
                    <a:pt x="24" y="2"/>
                    <a:pt x="24" y="2"/>
                    <a:pt x="24" y="2"/>
                  </a:cubicBezTo>
                  <a:cubicBezTo>
                    <a:pt x="26" y="0"/>
                    <a:pt x="26" y="0"/>
                    <a:pt x="26" y="0"/>
                  </a:cubicBezTo>
                  <a:cubicBezTo>
                    <a:pt x="24" y="0"/>
                    <a:pt x="24" y="0"/>
                    <a:pt x="23" y="0"/>
                  </a:cubicBezTo>
                  <a:cubicBezTo>
                    <a:pt x="22" y="0"/>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453"/>
            <p:cNvSpPr/>
            <p:nvPr/>
          </p:nvSpPr>
          <p:spPr bwMode="auto">
            <a:xfrm>
              <a:off x="1051913" y="2437773"/>
              <a:ext cx="209528" cy="204155"/>
            </a:xfrm>
            <a:custGeom>
              <a:gdLst>
                <a:gd name="T0" fmla="*/ 31 w 66"/>
                <a:gd name="T1" fmla="*/ 0 h 64"/>
                <a:gd name="T2" fmla="*/ 28 w 66"/>
                <a:gd name="T3" fmla="*/ 1 h 64"/>
                <a:gd name="T4" fmla="*/ 25 w 66"/>
                <a:gd name="T5" fmla="*/ 2 h 64"/>
                <a:gd name="T6" fmla="*/ 22 w 66"/>
                <a:gd name="T7" fmla="*/ 2 h 64"/>
                <a:gd name="T8" fmla="*/ 14 w 66"/>
                <a:gd name="T9" fmla="*/ 2 h 64"/>
                <a:gd name="T10" fmla="*/ 1 w 66"/>
                <a:gd name="T11" fmla="*/ 6 h 64"/>
                <a:gd name="T12" fmla="*/ 1 w 66"/>
                <a:gd name="T13" fmla="*/ 7 h 64"/>
                <a:gd name="T14" fmla="*/ 1 w 66"/>
                <a:gd name="T15" fmla="*/ 8 h 64"/>
                <a:gd name="T16" fmla="*/ 2 w 66"/>
                <a:gd name="T17" fmla="*/ 11 h 64"/>
                <a:gd name="T18" fmla="*/ 2 w 66"/>
                <a:gd name="T19" fmla="*/ 13 h 64"/>
                <a:gd name="T20" fmla="*/ 2 w 66"/>
                <a:gd name="T21" fmla="*/ 19 h 64"/>
                <a:gd name="T22" fmla="*/ 0 w 66"/>
                <a:gd name="T23" fmla="*/ 21 h 64"/>
                <a:gd name="T24" fmla="*/ 2 w 66"/>
                <a:gd name="T25" fmla="*/ 26 h 64"/>
                <a:gd name="T26" fmla="*/ 6 w 66"/>
                <a:gd name="T27" fmla="*/ 30 h 64"/>
                <a:gd name="T28" fmla="*/ 7 w 66"/>
                <a:gd name="T29" fmla="*/ 30 h 64"/>
                <a:gd name="T30" fmla="*/ 23 w 66"/>
                <a:gd name="T31" fmla="*/ 36 h 64"/>
                <a:gd name="T32" fmla="*/ 29 w 66"/>
                <a:gd name="T33" fmla="*/ 39 h 64"/>
                <a:gd name="T34" fmla="*/ 34 w 66"/>
                <a:gd name="T35" fmla="*/ 38 h 64"/>
                <a:gd name="T36" fmla="*/ 39 w 66"/>
                <a:gd name="T37" fmla="*/ 42 h 64"/>
                <a:gd name="T38" fmla="*/ 40 w 66"/>
                <a:gd name="T39" fmla="*/ 43 h 64"/>
                <a:gd name="T40" fmla="*/ 43 w 66"/>
                <a:gd name="T41" fmla="*/ 45 h 64"/>
                <a:gd name="T42" fmla="*/ 44 w 66"/>
                <a:gd name="T43" fmla="*/ 45 h 64"/>
                <a:gd name="T44" fmla="*/ 51 w 66"/>
                <a:gd name="T45" fmla="*/ 43 h 64"/>
                <a:gd name="T46" fmla="*/ 53 w 66"/>
                <a:gd name="T47" fmla="*/ 50 h 64"/>
                <a:gd name="T48" fmla="*/ 55 w 66"/>
                <a:gd name="T49" fmla="*/ 52 h 64"/>
                <a:gd name="T50" fmla="*/ 58 w 66"/>
                <a:gd name="T51" fmla="*/ 54 h 64"/>
                <a:gd name="T52" fmla="*/ 63 w 66"/>
                <a:gd name="T53" fmla="*/ 64 h 64"/>
                <a:gd name="T54" fmla="*/ 65 w 66"/>
                <a:gd name="T55" fmla="*/ 64 h 64"/>
                <a:gd name="T56" fmla="*/ 66 w 66"/>
                <a:gd name="T57" fmla="*/ 64 h 64"/>
                <a:gd name="T58" fmla="*/ 65 w 66"/>
                <a:gd name="T59" fmla="*/ 61 h 64"/>
                <a:gd name="T60" fmla="*/ 64 w 66"/>
                <a:gd name="T61" fmla="*/ 59 h 64"/>
                <a:gd name="T62" fmla="*/ 64 w 66"/>
                <a:gd name="T63" fmla="*/ 52 h 64"/>
                <a:gd name="T64" fmla="*/ 46 w 66"/>
                <a:gd name="T65" fmla="*/ 39 h 64"/>
                <a:gd name="T66" fmla="*/ 46 w 66"/>
                <a:gd name="T67" fmla="*/ 32 h 64"/>
                <a:gd name="T68" fmla="*/ 51 w 66"/>
                <a:gd name="T69" fmla="*/ 31 h 64"/>
                <a:gd name="T70" fmla="*/ 51 w 66"/>
                <a:gd name="T71" fmla="*/ 30 h 64"/>
                <a:gd name="T72" fmla="*/ 49 w 66"/>
                <a:gd name="T73" fmla="*/ 27 h 64"/>
                <a:gd name="T74" fmla="*/ 44 w 66"/>
                <a:gd name="T75" fmla="*/ 23 h 64"/>
                <a:gd name="T76" fmla="*/ 42 w 66"/>
                <a:gd name="T77" fmla="*/ 11 h 64"/>
                <a:gd name="T78" fmla="*/ 43 w 66"/>
                <a:gd name="T79" fmla="*/ 10 h 64"/>
                <a:gd name="T80" fmla="*/ 41 w 66"/>
                <a:gd name="T81" fmla="*/ 8 h 64"/>
                <a:gd name="T82" fmla="*/ 35 w 66"/>
                <a:gd name="T83" fmla="*/ 7 h 64"/>
                <a:gd name="T84" fmla="*/ 26 w 66"/>
                <a:gd name="T85" fmla="*/ 9 h 64"/>
                <a:gd name="T86" fmla="*/ 33 w 66"/>
                <a:gd name="T87" fmla="*/ 1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64">
                  <a:moveTo>
                    <a:pt x="32" y="0"/>
                  </a:moveTo>
                  <a:cubicBezTo>
                    <a:pt x="31" y="0"/>
                    <a:pt x="31" y="0"/>
                    <a:pt x="31" y="0"/>
                  </a:cubicBezTo>
                  <a:cubicBezTo>
                    <a:pt x="31" y="1"/>
                    <a:pt x="31" y="1"/>
                    <a:pt x="31" y="1"/>
                  </a:cubicBezTo>
                  <a:cubicBezTo>
                    <a:pt x="30" y="1"/>
                    <a:pt x="29" y="1"/>
                    <a:pt x="28" y="1"/>
                  </a:cubicBezTo>
                  <a:cubicBezTo>
                    <a:pt x="27" y="2"/>
                    <a:pt x="27" y="2"/>
                    <a:pt x="27" y="2"/>
                  </a:cubicBezTo>
                  <a:cubicBezTo>
                    <a:pt x="26" y="2"/>
                    <a:pt x="26" y="2"/>
                    <a:pt x="25" y="2"/>
                  </a:cubicBezTo>
                  <a:cubicBezTo>
                    <a:pt x="24" y="2"/>
                    <a:pt x="24" y="2"/>
                    <a:pt x="24" y="2"/>
                  </a:cubicBezTo>
                  <a:cubicBezTo>
                    <a:pt x="23" y="2"/>
                    <a:pt x="22" y="2"/>
                    <a:pt x="22" y="2"/>
                  </a:cubicBezTo>
                  <a:cubicBezTo>
                    <a:pt x="20" y="2"/>
                    <a:pt x="19" y="2"/>
                    <a:pt x="18" y="2"/>
                  </a:cubicBezTo>
                  <a:cubicBezTo>
                    <a:pt x="17" y="2"/>
                    <a:pt x="16" y="2"/>
                    <a:pt x="14" y="2"/>
                  </a:cubicBezTo>
                  <a:cubicBezTo>
                    <a:pt x="9" y="3"/>
                    <a:pt x="4" y="4"/>
                    <a:pt x="0" y="4"/>
                  </a:cubicBezTo>
                  <a:cubicBezTo>
                    <a:pt x="0" y="5"/>
                    <a:pt x="0" y="5"/>
                    <a:pt x="1" y="6"/>
                  </a:cubicBezTo>
                  <a:cubicBezTo>
                    <a:pt x="1" y="6"/>
                    <a:pt x="1" y="6"/>
                    <a:pt x="1" y="6"/>
                  </a:cubicBezTo>
                  <a:cubicBezTo>
                    <a:pt x="1" y="7"/>
                    <a:pt x="1" y="7"/>
                    <a:pt x="1" y="7"/>
                  </a:cubicBezTo>
                  <a:cubicBezTo>
                    <a:pt x="6" y="6"/>
                    <a:pt x="6" y="6"/>
                    <a:pt x="6" y="6"/>
                  </a:cubicBezTo>
                  <a:cubicBezTo>
                    <a:pt x="1" y="8"/>
                    <a:pt x="1" y="8"/>
                    <a:pt x="1" y="8"/>
                  </a:cubicBezTo>
                  <a:cubicBezTo>
                    <a:pt x="2" y="9"/>
                    <a:pt x="2" y="9"/>
                    <a:pt x="2" y="9"/>
                  </a:cubicBezTo>
                  <a:cubicBezTo>
                    <a:pt x="2" y="9"/>
                    <a:pt x="2" y="10"/>
                    <a:pt x="2" y="11"/>
                  </a:cubicBezTo>
                  <a:cubicBezTo>
                    <a:pt x="2" y="11"/>
                    <a:pt x="2" y="11"/>
                    <a:pt x="2" y="11"/>
                  </a:cubicBezTo>
                  <a:cubicBezTo>
                    <a:pt x="2" y="12"/>
                    <a:pt x="2" y="13"/>
                    <a:pt x="2" y="13"/>
                  </a:cubicBezTo>
                  <a:cubicBezTo>
                    <a:pt x="3" y="17"/>
                    <a:pt x="3" y="17"/>
                    <a:pt x="3" y="17"/>
                  </a:cubicBezTo>
                  <a:cubicBezTo>
                    <a:pt x="3" y="18"/>
                    <a:pt x="2" y="19"/>
                    <a:pt x="2" y="19"/>
                  </a:cubicBezTo>
                  <a:cubicBezTo>
                    <a:pt x="1" y="20"/>
                    <a:pt x="0" y="21"/>
                    <a:pt x="0" y="21"/>
                  </a:cubicBezTo>
                  <a:cubicBezTo>
                    <a:pt x="0" y="21"/>
                    <a:pt x="0" y="21"/>
                    <a:pt x="0" y="21"/>
                  </a:cubicBezTo>
                  <a:cubicBezTo>
                    <a:pt x="0" y="22"/>
                    <a:pt x="0" y="23"/>
                    <a:pt x="1" y="23"/>
                  </a:cubicBezTo>
                  <a:cubicBezTo>
                    <a:pt x="2" y="25"/>
                    <a:pt x="2" y="26"/>
                    <a:pt x="2" y="26"/>
                  </a:cubicBezTo>
                  <a:cubicBezTo>
                    <a:pt x="3" y="27"/>
                    <a:pt x="2" y="28"/>
                    <a:pt x="2" y="29"/>
                  </a:cubicBezTo>
                  <a:cubicBezTo>
                    <a:pt x="3" y="30"/>
                    <a:pt x="4" y="30"/>
                    <a:pt x="6" y="30"/>
                  </a:cubicBezTo>
                  <a:cubicBezTo>
                    <a:pt x="6" y="30"/>
                    <a:pt x="6" y="30"/>
                    <a:pt x="7" y="30"/>
                  </a:cubicBezTo>
                  <a:cubicBezTo>
                    <a:pt x="7" y="30"/>
                    <a:pt x="7" y="30"/>
                    <a:pt x="7" y="30"/>
                  </a:cubicBezTo>
                  <a:cubicBezTo>
                    <a:pt x="9" y="31"/>
                    <a:pt x="10" y="31"/>
                    <a:pt x="11" y="31"/>
                  </a:cubicBezTo>
                  <a:cubicBezTo>
                    <a:pt x="17" y="31"/>
                    <a:pt x="18" y="32"/>
                    <a:pt x="23" y="36"/>
                  </a:cubicBezTo>
                  <a:cubicBezTo>
                    <a:pt x="27" y="40"/>
                    <a:pt x="27" y="40"/>
                    <a:pt x="27" y="40"/>
                  </a:cubicBezTo>
                  <a:cubicBezTo>
                    <a:pt x="28" y="40"/>
                    <a:pt x="28" y="39"/>
                    <a:pt x="29" y="39"/>
                  </a:cubicBezTo>
                  <a:cubicBezTo>
                    <a:pt x="30" y="39"/>
                    <a:pt x="32" y="38"/>
                    <a:pt x="33" y="38"/>
                  </a:cubicBezTo>
                  <a:cubicBezTo>
                    <a:pt x="34" y="38"/>
                    <a:pt x="34" y="38"/>
                    <a:pt x="34" y="38"/>
                  </a:cubicBezTo>
                  <a:cubicBezTo>
                    <a:pt x="36" y="40"/>
                    <a:pt x="36" y="40"/>
                    <a:pt x="36" y="40"/>
                  </a:cubicBezTo>
                  <a:cubicBezTo>
                    <a:pt x="37" y="40"/>
                    <a:pt x="38" y="41"/>
                    <a:pt x="39" y="42"/>
                  </a:cubicBezTo>
                  <a:cubicBezTo>
                    <a:pt x="39" y="42"/>
                    <a:pt x="39" y="42"/>
                    <a:pt x="39" y="42"/>
                  </a:cubicBezTo>
                  <a:cubicBezTo>
                    <a:pt x="40" y="43"/>
                    <a:pt x="40" y="43"/>
                    <a:pt x="40" y="43"/>
                  </a:cubicBezTo>
                  <a:cubicBezTo>
                    <a:pt x="41" y="44"/>
                    <a:pt x="41" y="44"/>
                    <a:pt x="42" y="45"/>
                  </a:cubicBezTo>
                  <a:cubicBezTo>
                    <a:pt x="42" y="45"/>
                    <a:pt x="43" y="45"/>
                    <a:pt x="43" y="45"/>
                  </a:cubicBezTo>
                  <a:cubicBezTo>
                    <a:pt x="44" y="45"/>
                    <a:pt x="44" y="45"/>
                    <a:pt x="44" y="45"/>
                  </a:cubicBezTo>
                  <a:cubicBezTo>
                    <a:pt x="44" y="45"/>
                    <a:pt x="44" y="45"/>
                    <a:pt x="44" y="45"/>
                  </a:cubicBezTo>
                  <a:cubicBezTo>
                    <a:pt x="44" y="45"/>
                    <a:pt x="46" y="45"/>
                    <a:pt x="47" y="45"/>
                  </a:cubicBezTo>
                  <a:cubicBezTo>
                    <a:pt x="51" y="43"/>
                    <a:pt x="51" y="43"/>
                    <a:pt x="51" y="43"/>
                  </a:cubicBezTo>
                  <a:cubicBezTo>
                    <a:pt x="52" y="46"/>
                    <a:pt x="52" y="46"/>
                    <a:pt x="52" y="46"/>
                  </a:cubicBezTo>
                  <a:cubicBezTo>
                    <a:pt x="52" y="47"/>
                    <a:pt x="53" y="48"/>
                    <a:pt x="53" y="50"/>
                  </a:cubicBezTo>
                  <a:cubicBezTo>
                    <a:pt x="53" y="50"/>
                    <a:pt x="53" y="50"/>
                    <a:pt x="53" y="50"/>
                  </a:cubicBezTo>
                  <a:cubicBezTo>
                    <a:pt x="54" y="51"/>
                    <a:pt x="54" y="51"/>
                    <a:pt x="55" y="52"/>
                  </a:cubicBezTo>
                  <a:cubicBezTo>
                    <a:pt x="55" y="52"/>
                    <a:pt x="55" y="52"/>
                    <a:pt x="55" y="52"/>
                  </a:cubicBezTo>
                  <a:cubicBezTo>
                    <a:pt x="56" y="52"/>
                    <a:pt x="57" y="53"/>
                    <a:pt x="58" y="54"/>
                  </a:cubicBezTo>
                  <a:cubicBezTo>
                    <a:pt x="60" y="56"/>
                    <a:pt x="61" y="60"/>
                    <a:pt x="62" y="63"/>
                  </a:cubicBezTo>
                  <a:cubicBezTo>
                    <a:pt x="63" y="64"/>
                    <a:pt x="63" y="64"/>
                    <a:pt x="63" y="64"/>
                  </a:cubicBezTo>
                  <a:cubicBezTo>
                    <a:pt x="63" y="64"/>
                    <a:pt x="63" y="64"/>
                    <a:pt x="63" y="64"/>
                  </a:cubicBezTo>
                  <a:cubicBezTo>
                    <a:pt x="64" y="64"/>
                    <a:pt x="64" y="64"/>
                    <a:pt x="65" y="64"/>
                  </a:cubicBezTo>
                  <a:cubicBezTo>
                    <a:pt x="66" y="64"/>
                    <a:pt x="66" y="64"/>
                    <a:pt x="66" y="64"/>
                  </a:cubicBezTo>
                  <a:cubicBezTo>
                    <a:pt x="66" y="64"/>
                    <a:pt x="66" y="64"/>
                    <a:pt x="66" y="64"/>
                  </a:cubicBezTo>
                  <a:cubicBezTo>
                    <a:pt x="66" y="63"/>
                    <a:pt x="66" y="62"/>
                    <a:pt x="66" y="62"/>
                  </a:cubicBezTo>
                  <a:cubicBezTo>
                    <a:pt x="65" y="61"/>
                    <a:pt x="65" y="61"/>
                    <a:pt x="65" y="61"/>
                  </a:cubicBezTo>
                  <a:cubicBezTo>
                    <a:pt x="64" y="61"/>
                    <a:pt x="64" y="61"/>
                    <a:pt x="64" y="61"/>
                  </a:cubicBezTo>
                  <a:cubicBezTo>
                    <a:pt x="64" y="59"/>
                    <a:pt x="64" y="59"/>
                    <a:pt x="64" y="59"/>
                  </a:cubicBezTo>
                  <a:cubicBezTo>
                    <a:pt x="64" y="58"/>
                    <a:pt x="64" y="56"/>
                    <a:pt x="65" y="56"/>
                  </a:cubicBezTo>
                  <a:cubicBezTo>
                    <a:pt x="64" y="55"/>
                    <a:pt x="64" y="54"/>
                    <a:pt x="64" y="52"/>
                  </a:cubicBezTo>
                  <a:cubicBezTo>
                    <a:pt x="64" y="51"/>
                    <a:pt x="64" y="51"/>
                    <a:pt x="64" y="50"/>
                  </a:cubicBezTo>
                  <a:cubicBezTo>
                    <a:pt x="58" y="46"/>
                    <a:pt x="52" y="42"/>
                    <a:pt x="46" y="39"/>
                  </a:cubicBezTo>
                  <a:cubicBezTo>
                    <a:pt x="39" y="34"/>
                    <a:pt x="39" y="34"/>
                    <a:pt x="39" y="34"/>
                  </a:cubicBezTo>
                  <a:cubicBezTo>
                    <a:pt x="46" y="32"/>
                    <a:pt x="46" y="32"/>
                    <a:pt x="46" y="32"/>
                  </a:cubicBezTo>
                  <a:cubicBezTo>
                    <a:pt x="46" y="32"/>
                    <a:pt x="47" y="32"/>
                    <a:pt x="48" y="32"/>
                  </a:cubicBezTo>
                  <a:cubicBezTo>
                    <a:pt x="49" y="32"/>
                    <a:pt x="50" y="31"/>
                    <a:pt x="51" y="31"/>
                  </a:cubicBezTo>
                  <a:cubicBezTo>
                    <a:pt x="51" y="31"/>
                    <a:pt x="51" y="31"/>
                    <a:pt x="51" y="31"/>
                  </a:cubicBezTo>
                  <a:cubicBezTo>
                    <a:pt x="51" y="30"/>
                    <a:pt x="51" y="30"/>
                    <a:pt x="51" y="30"/>
                  </a:cubicBezTo>
                  <a:cubicBezTo>
                    <a:pt x="51" y="30"/>
                    <a:pt x="51" y="29"/>
                    <a:pt x="51" y="28"/>
                  </a:cubicBezTo>
                  <a:cubicBezTo>
                    <a:pt x="50" y="28"/>
                    <a:pt x="49" y="27"/>
                    <a:pt x="49" y="27"/>
                  </a:cubicBezTo>
                  <a:cubicBezTo>
                    <a:pt x="46" y="24"/>
                    <a:pt x="46" y="24"/>
                    <a:pt x="46" y="24"/>
                  </a:cubicBezTo>
                  <a:cubicBezTo>
                    <a:pt x="46" y="24"/>
                    <a:pt x="45" y="24"/>
                    <a:pt x="44" y="23"/>
                  </a:cubicBezTo>
                  <a:cubicBezTo>
                    <a:pt x="42" y="21"/>
                    <a:pt x="37" y="18"/>
                    <a:pt x="39" y="13"/>
                  </a:cubicBezTo>
                  <a:cubicBezTo>
                    <a:pt x="40" y="12"/>
                    <a:pt x="41" y="11"/>
                    <a:pt x="42" y="11"/>
                  </a:cubicBezTo>
                  <a:cubicBezTo>
                    <a:pt x="42" y="10"/>
                    <a:pt x="42" y="10"/>
                    <a:pt x="43" y="10"/>
                  </a:cubicBezTo>
                  <a:cubicBezTo>
                    <a:pt x="43" y="10"/>
                    <a:pt x="43" y="10"/>
                    <a:pt x="43" y="10"/>
                  </a:cubicBezTo>
                  <a:cubicBezTo>
                    <a:pt x="43" y="10"/>
                    <a:pt x="42" y="9"/>
                    <a:pt x="42" y="9"/>
                  </a:cubicBezTo>
                  <a:cubicBezTo>
                    <a:pt x="42" y="9"/>
                    <a:pt x="41" y="9"/>
                    <a:pt x="41" y="8"/>
                  </a:cubicBezTo>
                  <a:cubicBezTo>
                    <a:pt x="39" y="7"/>
                    <a:pt x="37" y="6"/>
                    <a:pt x="36" y="6"/>
                  </a:cubicBezTo>
                  <a:cubicBezTo>
                    <a:pt x="35" y="7"/>
                    <a:pt x="35" y="7"/>
                    <a:pt x="35" y="7"/>
                  </a:cubicBezTo>
                  <a:cubicBezTo>
                    <a:pt x="35" y="7"/>
                    <a:pt x="35" y="7"/>
                    <a:pt x="35" y="7"/>
                  </a:cubicBezTo>
                  <a:cubicBezTo>
                    <a:pt x="26" y="9"/>
                    <a:pt x="26" y="9"/>
                    <a:pt x="26" y="9"/>
                  </a:cubicBezTo>
                  <a:cubicBezTo>
                    <a:pt x="32" y="2"/>
                    <a:pt x="32" y="2"/>
                    <a:pt x="32" y="2"/>
                  </a:cubicBezTo>
                  <a:cubicBezTo>
                    <a:pt x="33" y="1"/>
                    <a:pt x="33" y="1"/>
                    <a:pt x="33" y="1"/>
                  </a:cubicBez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Rectangle 454"/>
            <p:cNvSpPr>
              <a:spLocks noChangeArrowheads="1"/>
            </p:cNvSpPr>
            <p:nvPr/>
          </p:nvSpPr>
          <p:spPr bwMode="auto">
            <a:xfrm>
              <a:off x="1265470" y="2631183"/>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455"/>
            <p:cNvSpPr/>
            <p:nvPr/>
          </p:nvSpPr>
          <p:spPr bwMode="auto">
            <a:xfrm flipH="1">
              <a:off x="1265470" y="263118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456"/>
            <p:cNvSpPr/>
            <p:nvPr/>
          </p:nvSpPr>
          <p:spPr bwMode="auto">
            <a:xfrm>
              <a:off x="1280245" y="2625811"/>
              <a:ext cx="4029" cy="5373"/>
            </a:xfrm>
            <a:custGeom>
              <a:gdLst>
                <a:gd name="T0" fmla="*/ 1 w 1"/>
                <a:gd name="T1" fmla="*/ 0 h 2"/>
                <a:gd name="T2" fmla="*/ 0 w 1"/>
                <a:gd name="T3" fmla="*/ 1 h 2"/>
                <a:gd name="T4" fmla="*/ 0 w 1"/>
                <a:gd name="T5" fmla="*/ 1 h 2"/>
                <a:gd name="T6" fmla="*/ 0 w 1"/>
                <a:gd name="T7" fmla="*/ 2 h 2"/>
                <a:gd name="T8" fmla="*/ 0 w 1"/>
                <a:gd name="T9" fmla="*/ 1 h 2"/>
                <a:gd name="T10" fmla="*/ 1 w 1"/>
                <a:gd name="T11" fmla="*/ 0 h 2"/>
              </a:gdLst>
              <a:cxnLst>
                <a:cxn ang="0">
                  <a:pos x="T0" y="T1"/>
                </a:cxn>
                <a:cxn ang="0">
                  <a:pos x="T2" y="T3"/>
                </a:cxn>
                <a:cxn ang="0">
                  <a:pos x="T4" y="T5"/>
                </a:cxn>
                <a:cxn ang="0">
                  <a:pos x="T6" y="T7"/>
                </a:cxn>
                <a:cxn ang="0">
                  <a:pos x="T8" y="T9"/>
                </a:cxn>
                <a:cxn ang="0">
                  <a:pos x="T10" y="T11"/>
                </a:cxn>
              </a:cxnLst>
              <a:rect l="0" t="0" r="r" b="b"/>
              <a:pathLst>
                <a:path w="1" h="2">
                  <a:moveTo>
                    <a:pt x="1" y="0"/>
                  </a:moveTo>
                  <a:cubicBezTo>
                    <a:pt x="0" y="1"/>
                    <a:pt x="0" y="1"/>
                    <a:pt x="0" y="1"/>
                  </a:cubicBezTo>
                  <a:cubicBezTo>
                    <a:pt x="0" y="1"/>
                    <a:pt x="0" y="1"/>
                    <a:pt x="0" y="1"/>
                  </a:cubicBezTo>
                  <a:cubicBezTo>
                    <a:pt x="0" y="2"/>
                    <a:pt x="0" y="2"/>
                    <a:pt x="0" y="2"/>
                  </a:cubicBezTo>
                  <a:cubicBezTo>
                    <a:pt x="0" y="1"/>
                    <a:pt x="0" y="1"/>
                    <a:pt x="0"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457"/>
            <p:cNvSpPr/>
            <p:nvPr/>
          </p:nvSpPr>
          <p:spPr bwMode="auto">
            <a:xfrm>
              <a:off x="1170108" y="2381362"/>
              <a:ext cx="402938" cy="300860"/>
            </a:xfrm>
            <a:custGeom>
              <a:gdLst>
                <a:gd name="T0" fmla="*/ 29 w 127"/>
                <a:gd name="T1" fmla="*/ 4 h 95"/>
                <a:gd name="T2" fmla="*/ 35 w 127"/>
                <a:gd name="T3" fmla="*/ 9 h 95"/>
                <a:gd name="T4" fmla="*/ 38 w 127"/>
                <a:gd name="T5" fmla="*/ 19 h 95"/>
                <a:gd name="T6" fmla="*/ 37 w 127"/>
                <a:gd name="T7" fmla="*/ 24 h 95"/>
                <a:gd name="T8" fmla="*/ 29 w 127"/>
                <a:gd name="T9" fmla="*/ 22 h 95"/>
                <a:gd name="T10" fmla="*/ 12 w 127"/>
                <a:gd name="T11" fmla="*/ 19 h 95"/>
                <a:gd name="T12" fmla="*/ 3 w 127"/>
                <a:gd name="T13" fmla="*/ 13 h 95"/>
                <a:gd name="T14" fmla="*/ 0 w 127"/>
                <a:gd name="T15" fmla="*/ 15 h 95"/>
                <a:gd name="T16" fmla="*/ 1 w 127"/>
                <a:gd name="T17" fmla="*/ 15 h 95"/>
                <a:gd name="T18" fmla="*/ 2 w 127"/>
                <a:gd name="T19" fmla="*/ 16 h 95"/>
                <a:gd name="T20" fmla="*/ 3 w 127"/>
                <a:gd name="T21" fmla="*/ 18 h 95"/>
                <a:gd name="T22" fmla="*/ 7 w 127"/>
                <a:gd name="T23" fmla="*/ 21 h 95"/>
                <a:gd name="T24" fmla="*/ 12 w 127"/>
                <a:gd name="T25" fmla="*/ 31 h 95"/>
                <a:gd name="T26" fmla="*/ 8 w 127"/>
                <a:gd name="T27" fmla="*/ 34 h 95"/>
                <a:gd name="T28" fmla="*/ 8 w 127"/>
                <a:gd name="T29" fmla="*/ 34 h 95"/>
                <a:gd name="T30" fmla="*/ 13 w 127"/>
                <a:gd name="T31" fmla="*/ 38 h 95"/>
                <a:gd name="T32" fmla="*/ 18 w 127"/>
                <a:gd name="T33" fmla="*/ 42 h 95"/>
                <a:gd name="T34" fmla="*/ 20 w 127"/>
                <a:gd name="T35" fmla="*/ 49 h 95"/>
                <a:gd name="T36" fmla="*/ 34 w 127"/>
                <a:gd name="T37" fmla="*/ 65 h 95"/>
                <a:gd name="T38" fmla="*/ 34 w 127"/>
                <a:gd name="T39" fmla="*/ 70 h 95"/>
                <a:gd name="T40" fmla="*/ 36 w 127"/>
                <a:gd name="T41" fmla="*/ 72 h 95"/>
                <a:gd name="T42" fmla="*/ 44 w 127"/>
                <a:gd name="T43" fmla="*/ 71 h 95"/>
                <a:gd name="T44" fmla="*/ 59 w 127"/>
                <a:gd name="T45" fmla="*/ 62 h 95"/>
                <a:gd name="T46" fmla="*/ 67 w 127"/>
                <a:gd name="T47" fmla="*/ 58 h 95"/>
                <a:gd name="T48" fmla="*/ 75 w 127"/>
                <a:gd name="T49" fmla="*/ 64 h 95"/>
                <a:gd name="T50" fmla="*/ 79 w 127"/>
                <a:gd name="T51" fmla="*/ 70 h 95"/>
                <a:gd name="T52" fmla="*/ 76 w 127"/>
                <a:gd name="T53" fmla="*/ 75 h 95"/>
                <a:gd name="T54" fmla="*/ 79 w 127"/>
                <a:gd name="T55" fmla="*/ 78 h 95"/>
                <a:gd name="T56" fmla="*/ 74 w 127"/>
                <a:gd name="T57" fmla="*/ 85 h 95"/>
                <a:gd name="T58" fmla="*/ 77 w 127"/>
                <a:gd name="T59" fmla="*/ 88 h 95"/>
                <a:gd name="T60" fmla="*/ 80 w 127"/>
                <a:gd name="T61" fmla="*/ 90 h 95"/>
                <a:gd name="T62" fmla="*/ 84 w 127"/>
                <a:gd name="T63" fmla="*/ 95 h 95"/>
                <a:gd name="T64" fmla="*/ 85 w 127"/>
                <a:gd name="T65" fmla="*/ 95 h 95"/>
                <a:gd name="T66" fmla="*/ 90 w 127"/>
                <a:gd name="T67" fmla="*/ 94 h 95"/>
                <a:gd name="T68" fmla="*/ 94 w 127"/>
                <a:gd name="T69" fmla="*/ 76 h 95"/>
                <a:gd name="T70" fmla="*/ 97 w 127"/>
                <a:gd name="T71" fmla="*/ 82 h 95"/>
                <a:gd name="T72" fmla="*/ 101 w 127"/>
                <a:gd name="T73" fmla="*/ 71 h 95"/>
                <a:gd name="T74" fmla="*/ 103 w 127"/>
                <a:gd name="T75" fmla="*/ 73 h 95"/>
                <a:gd name="T76" fmla="*/ 103 w 127"/>
                <a:gd name="T77" fmla="*/ 70 h 95"/>
                <a:gd name="T78" fmla="*/ 104 w 127"/>
                <a:gd name="T79" fmla="*/ 57 h 95"/>
                <a:gd name="T80" fmla="*/ 118 w 127"/>
                <a:gd name="T81" fmla="*/ 42 h 95"/>
                <a:gd name="T82" fmla="*/ 127 w 127"/>
                <a:gd name="T83" fmla="*/ 46 h 95"/>
                <a:gd name="T84" fmla="*/ 119 w 127"/>
                <a:gd name="T85" fmla="*/ 36 h 95"/>
                <a:gd name="T86" fmla="*/ 116 w 127"/>
                <a:gd name="T87" fmla="*/ 35 h 95"/>
                <a:gd name="T88" fmla="*/ 114 w 127"/>
                <a:gd name="T89" fmla="*/ 36 h 95"/>
                <a:gd name="T90" fmla="*/ 96 w 127"/>
                <a:gd name="T91" fmla="*/ 14 h 95"/>
                <a:gd name="T92" fmla="*/ 78 w 127"/>
                <a:gd name="T93" fmla="*/ 8 h 95"/>
                <a:gd name="T94" fmla="*/ 76 w 127"/>
                <a:gd name="T95" fmla="*/ 10 h 95"/>
                <a:gd name="T96" fmla="*/ 71 w 127"/>
                <a:gd name="T97" fmla="*/ 14 h 95"/>
                <a:gd name="T98" fmla="*/ 57 w 127"/>
                <a:gd name="T99" fmla="*/ 19 h 95"/>
                <a:gd name="T100" fmla="*/ 45 w 127"/>
                <a:gd name="T101" fmla="*/ 11 h 95"/>
                <a:gd name="T102" fmla="*/ 35 w 127"/>
                <a:gd name="T103" fmla="*/ 0 h 95"/>
                <a:gd name="T104" fmla="*/ 32 w 127"/>
                <a:gd name="T105" fmla="*/ 0 h 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 h="95">
                  <a:moveTo>
                    <a:pt x="32" y="0"/>
                  </a:moveTo>
                  <a:cubicBezTo>
                    <a:pt x="29" y="4"/>
                    <a:pt x="29" y="4"/>
                    <a:pt x="29" y="4"/>
                  </a:cubicBezTo>
                  <a:cubicBezTo>
                    <a:pt x="30" y="5"/>
                    <a:pt x="31" y="6"/>
                    <a:pt x="31" y="6"/>
                  </a:cubicBezTo>
                  <a:cubicBezTo>
                    <a:pt x="32" y="7"/>
                    <a:pt x="34" y="8"/>
                    <a:pt x="35" y="9"/>
                  </a:cubicBezTo>
                  <a:cubicBezTo>
                    <a:pt x="39" y="12"/>
                    <a:pt x="38" y="16"/>
                    <a:pt x="38" y="19"/>
                  </a:cubicBezTo>
                  <a:cubicBezTo>
                    <a:pt x="38" y="19"/>
                    <a:pt x="38" y="19"/>
                    <a:pt x="38" y="19"/>
                  </a:cubicBezTo>
                  <a:cubicBezTo>
                    <a:pt x="38" y="19"/>
                    <a:pt x="38" y="20"/>
                    <a:pt x="38" y="21"/>
                  </a:cubicBezTo>
                  <a:cubicBezTo>
                    <a:pt x="37" y="24"/>
                    <a:pt x="37" y="24"/>
                    <a:pt x="37" y="24"/>
                  </a:cubicBezTo>
                  <a:cubicBezTo>
                    <a:pt x="34" y="23"/>
                    <a:pt x="34" y="23"/>
                    <a:pt x="34" y="23"/>
                  </a:cubicBezTo>
                  <a:cubicBezTo>
                    <a:pt x="32" y="23"/>
                    <a:pt x="31" y="23"/>
                    <a:pt x="29" y="22"/>
                  </a:cubicBezTo>
                  <a:cubicBezTo>
                    <a:pt x="24" y="22"/>
                    <a:pt x="19" y="21"/>
                    <a:pt x="15" y="20"/>
                  </a:cubicBezTo>
                  <a:cubicBezTo>
                    <a:pt x="14" y="19"/>
                    <a:pt x="13" y="19"/>
                    <a:pt x="12" y="19"/>
                  </a:cubicBezTo>
                  <a:cubicBezTo>
                    <a:pt x="10" y="18"/>
                    <a:pt x="9" y="17"/>
                    <a:pt x="8" y="16"/>
                  </a:cubicBezTo>
                  <a:cubicBezTo>
                    <a:pt x="6" y="15"/>
                    <a:pt x="5" y="14"/>
                    <a:pt x="3" y="13"/>
                  </a:cubicBezTo>
                  <a:cubicBezTo>
                    <a:pt x="2" y="13"/>
                    <a:pt x="2" y="13"/>
                    <a:pt x="2" y="13"/>
                  </a:cubicBezTo>
                  <a:cubicBezTo>
                    <a:pt x="0" y="15"/>
                    <a:pt x="0" y="15"/>
                    <a:pt x="0" y="15"/>
                  </a:cubicBezTo>
                  <a:cubicBezTo>
                    <a:pt x="0" y="15"/>
                    <a:pt x="0" y="15"/>
                    <a:pt x="0" y="15"/>
                  </a:cubicBezTo>
                  <a:cubicBezTo>
                    <a:pt x="1" y="15"/>
                    <a:pt x="1" y="15"/>
                    <a:pt x="1" y="15"/>
                  </a:cubicBezTo>
                  <a:cubicBezTo>
                    <a:pt x="1" y="16"/>
                    <a:pt x="1" y="16"/>
                    <a:pt x="1" y="16"/>
                  </a:cubicBezTo>
                  <a:cubicBezTo>
                    <a:pt x="2" y="16"/>
                    <a:pt x="2" y="16"/>
                    <a:pt x="2" y="16"/>
                  </a:cubicBezTo>
                  <a:cubicBezTo>
                    <a:pt x="2" y="17"/>
                    <a:pt x="2" y="17"/>
                    <a:pt x="2" y="17"/>
                  </a:cubicBezTo>
                  <a:cubicBezTo>
                    <a:pt x="3" y="18"/>
                    <a:pt x="3" y="18"/>
                    <a:pt x="3" y="18"/>
                  </a:cubicBezTo>
                  <a:cubicBezTo>
                    <a:pt x="3" y="18"/>
                    <a:pt x="3" y="19"/>
                    <a:pt x="3" y="19"/>
                  </a:cubicBezTo>
                  <a:cubicBezTo>
                    <a:pt x="4" y="20"/>
                    <a:pt x="5" y="20"/>
                    <a:pt x="7" y="21"/>
                  </a:cubicBezTo>
                  <a:cubicBezTo>
                    <a:pt x="9" y="22"/>
                    <a:pt x="11" y="24"/>
                    <a:pt x="12" y="26"/>
                  </a:cubicBezTo>
                  <a:cubicBezTo>
                    <a:pt x="14" y="28"/>
                    <a:pt x="12" y="30"/>
                    <a:pt x="12" y="31"/>
                  </a:cubicBezTo>
                  <a:cubicBezTo>
                    <a:pt x="11" y="32"/>
                    <a:pt x="10" y="33"/>
                    <a:pt x="9" y="33"/>
                  </a:cubicBezTo>
                  <a:cubicBezTo>
                    <a:pt x="9" y="33"/>
                    <a:pt x="9" y="33"/>
                    <a:pt x="8" y="34"/>
                  </a:cubicBezTo>
                  <a:cubicBezTo>
                    <a:pt x="8" y="34"/>
                    <a:pt x="8" y="34"/>
                    <a:pt x="8" y="34"/>
                  </a:cubicBezTo>
                  <a:cubicBezTo>
                    <a:pt x="8" y="34"/>
                    <a:pt x="8" y="34"/>
                    <a:pt x="8" y="34"/>
                  </a:cubicBezTo>
                  <a:cubicBezTo>
                    <a:pt x="8" y="34"/>
                    <a:pt x="9" y="35"/>
                    <a:pt x="11" y="36"/>
                  </a:cubicBezTo>
                  <a:cubicBezTo>
                    <a:pt x="12" y="37"/>
                    <a:pt x="12" y="37"/>
                    <a:pt x="13" y="38"/>
                  </a:cubicBezTo>
                  <a:cubicBezTo>
                    <a:pt x="15" y="40"/>
                    <a:pt x="15" y="40"/>
                    <a:pt x="15" y="40"/>
                  </a:cubicBezTo>
                  <a:cubicBezTo>
                    <a:pt x="16" y="41"/>
                    <a:pt x="17" y="41"/>
                    <a:pt x="18" y="42"/>
                  </a:cubicBezTo>
                  <a:cubicBezTo>
                    <a:pt x="21" y="43"/>
                    <a:pt x="20" y="47"/>
                    <a:pt x="20" y="49"/>
                  </a:cubicBezTo>
                  <a:cubicBezTo>
                    <a:pt x="20" y="49"/>
                    <a:pt x="20" y="49"/>
                    <a:pt x="20" y="49"/>
                  </a:cubicBezTo>
                  <a:cubicBezTo>
                    <a:pt x="20" y="52"/>
                    <a:pt x="20" y="53"/>
                    <a:pt x="17" y="55"/>
                  </a:cubicBezTo>
                  <a:cubicBezTo>
                    <a:pt x="22" y="58"/>
                    <a:pt x="28" y="61"/>
                    <a:pt x="34" y="65"/>
                  </a:cubicBezTo>
                  <a:cubicBezTo>
                    <a:pt x="38" y="67"/>
                    <a:pt x="38" y="67"/>
                    <a:pt x="38" y="67"/>
                  </a:cubicBezTo>
                  <a:cubicBezTo>
                    <a:pt x="34" y="70"/>
                    <a:pt x="34" y="70"/>
                    <a:pt x="34" y="70"/>
                  </a:cubicBezTo>
                  <a:cubicBezTo>
                    <a:pt x="34" y="70"/>
                    <a:pt x="34" y="70"/>
                    <a:pt x="34" y="70"/>
                  </a:cubicBezTo>
                  <a:cubicBezTo>
                    <a:pt x="34" y="71"/>
                    <a:pt x="35" y="71"/>
                    <a:pt x="36" y="72"/>
                  </a:cubicBezTo>
                  <a:cubicBezTo>
                    <a:pt x="39" y="75"/>
                    <a:pt x="39" y="75"/>
                    <a:pt x="39" y="75"/>
                  </a:cubicBezTo>
                  <a:cubicBezTo>
                    <a:pt x="40" y="74"/>
                    <a:pt x="42" y="73"/>
                    <a:pt x="44" y="71"/>
                  </a:cubicBezTo>
                  <a:cubicBezTo>
                    <a:pt x="46" y="70"/>
                    <a:pt x="47" y="69"/>
                    <a:pt x="49" y="68"/>
                  </a:cubicBezTo>
                  <a:cubicBezTo>
                    <a:pt x="52" y="66"/>
                    <a:pt x="55" y="64"/>
                    <a:pt x="59" y="62"/>
                  </a:cubicBezTo>
                  <a:cubicBezTo>
                    <a:pt x="59" y="61"/>
                    <a:pt x="59" y="61"/>
                    <a:pt x="59" y="61"/>
                  </a:cubicBezTo>
                  <a:cubicBezTo>
                    <a:pt x="63" y="59"/>
                    <a:pt x="65" y="58"/>
                    <a:pt x="67" y="58"/>
                  </a:cubicBezTo>
                  <a:cubicBezTo>
                    <a:pt x="68" y="58"/>
                    <a:pt x="68" y="58"/>
                    <a:pt x="69" y="58"/>
                  </a:cubicBezTo>
                  <a:cubicBezTo>
                    <a:pt x="71" y="58"/>
                    <a:pt x="73" y="60"/>
                    <a:pt x="75" y="64"/>
                  </a:cubicBezTo>
                  <a:cubicBezTo>
                    <a:pt x="77" y="66"/>
                    <a:pt x="77" y="66"/>
                    <a:pt x="77" y="66"/>
                  </a:cubicBezTo>
                  <a:cubicBezTo>
                    <a:pt x="78" y="67"/>
                    <a:pt x="79" y="68"/>
                    <a:pt x="79" y="70"/>
                  </a:cubicBezTo>
                  <a:cubicBezTo>
                    <a:pt x="79" y="72"/>
                    <a:pt x="78" y="74"/>
                    <a:pt x="77" y="75"/>
                  </a:cubicBezTo>
                  <a:cubicBezTo>
                    <a:pt x="76" y="75"/>
                    <a:pt x="76" y="75"/>
                    <a:pt x="76" y="75"/>
                  </a:cubicBezTo>
                  <a:cubicBezTo>
                    <a:pt x="77" y="76"/>
                    <a:pt x="77" y="76"/>
                    <a:pt x="77" y="76"/>
                  </a:cubicBezTo>
                  <a:cubicBezTo>
                    <a:pt x="77" y="76"/>
                    <a:pt x="78" y="77"/>
                    <a:pt x="79" y="78"/>
                  </a:cubicBezTo>
                  <a:cubicBezTo>
                    <a:pt x="81" y="80"/>
                    <a:pt x="81" y="80"/>
                    <a:pt x="81" y="80"/>
                  </a:cubicBezTo>
                  <a:cubicBezTo>
                    <a:pt x="74" y="85"/>
                    <a:pt x="74" y="85"/>
                    <a:pt x="74" y="85"/>
                  </a:cubicBezTo>
                  <a:cubicBezTo>
                    <a:pt x="76" y="86"/>
                    <a:pt x="76" y="86"/>
                    <a:pt x="76" y="86"/>
                  </a:cubicBezTo>
                  <a:cubicBezTo>
                    <a:pt x="76" y="87"/>
                    <a:pt x="77" y="88"/>
                    <a:pt x="77" y="88"/>
                  </a:cubicBezTo>
                  <a:cubicBezTo>
                    <a:pt x="78" y="89"/>
                    <a:pt x="78" y="89"/>
                    <a:pt x="78" y="89"/>
                  </a:cubicBezTo>
                  <a:cubicBezTo>
                    <a:pt x="78" y="89"/>
                    <a:pt x="79" y="90"/>
                    <a:pt x="80" y="90"/>
                  </a:cubicBezTo>
                  <a:cubicBezTo>
                    <a:pt x="80" y="91"/>
                    <a:pt x="81" y="91"/>
                    <a:pt x="82" y="92"/>
                  </a:cubicBezTo>
                  <a:cubicBezTo>
                    <a:pt x="83" y="93"/>
                    <a:pt x="84" y="94"/>
                    <a:pt x="84" y="95"/>
                  </a:cubicBezTo>
                  <a:cubicBezTo>
                    <a:pt x="85" y="95"/>
                    <a:pt x="85" y="95"/>
                    <a:pt x="85" y="95"/>
                  </a:cubicBezTo>
                  <a:cubicBezTo>
                    <a:pt x="85" y="95"/>
                    <a:pt x="85" y="95"/>
                    <a:pt x="85" y="95"/>
                  </a:cubicBezTo>
                  <a:cubicBezTo>
                    <a:pt x="86" y="95"/>
                    <a:pt x="88" y="95"/>
                    <a:pt x="89" y="95"/>
                  </a:cubicBezTo>
                  <a:cubicBezTo>
                    <a:pt x="90" y="94"/>
                    <a:pt x="90" y="94"/>
                    <a:pt x="90" y="94"/>
                  </a:cubicBezTo>
                  <a:cubicBezTo>
                    <a:pt x="90" y="91"/>
                    <a:pt x="91" y="88"/>
                    <a:pt x="91" y="85"/>
                  </a:cubicBezTo>
                  <a:cubicBezTo>
                    <a:pt x="91" y="83"/>
                    <a:pt x="91" y="76"/>
                    <a:pt x="94" y="76"/>
                  </a:cubicBezTo>
                  <a:cubicBezTo>
                    <a:pt x="94" y="76"/>
                    <a:pt x="94" y="76"/>
                    <a:pt x="94" y="76"/>
                  </a:cubicBezTo>
                  <a:cubicBezTo>
                    <a:pt x="95" y="77"/>
                    <a:pt x="97" y="81"/>
                    <a:pt x="97" y="82"/>
                  </a:cubicBezTo>
                  <a:cubicBezTo>
                    <a:pt x="98" y="79"/>
                    <a:pt x="98" y="73"/>
                    <a:pt x="101" y="72"/>
                  </a:cubicBezTo>
                  <a:cubicBezTo>
                    <a:pt x="101" y="71"/>
                    <a:pt x="101" y="71"/>
                    <a:pt x="101" y="71"/>
                  </a:cubicBezTo>
                  <a:cubicBezTo>
                    <a:pt x="101" y="71"/>
                    <a:pt x="102" y="72"/>
                    <a:pt x="102" y="72"/>
                  </a:cubicBezTo>
                  <a:cubicBezTo>
                    <a:pt x="102" y="72"/>
                    <a:pt x="102" y="73"/>
                    <a:pt x="103" y="73"/>
                  </a:cubicBezTo>
                  <a:cubicBezTo>
                    <a:pt x="103" y="73"/>
                    <a:pt x="103" y="72"/>
                    <a:pt x="103" y="72"/>
                  </a:cubicBezTo>
                  <a:cubicBezTo>
                    <a:pt x="104" y="70"/>
                    <a:pt x="103" y="70"/>
                    <a:pt x="103" y="70"/>
                  </a:cubicBezTo>
                  <a:cubicBezTo>
                    <a:pt x="102" y="68"/>
                    <a:pt x="100" y="67"/>
                    <a:pt x="101" y="64"/>
                  </a:cubicBezTo>
                  <a:cubicBezTo>
                    <a:pt x="102" y="62"/>
                    <a:pt x="103" y="59"/>
                    <a:pt x="104" y="57"/>
                  </a:cubicBezTo>
                  <a:cubicBezTo>
                    <a:pt x="105" y="53"/>
                    <a:pt x="106" y="48"/>
                    <a:pt x="108" y="46"/>
                  </a:cubicBezTo>
                  <a:cubicBezTo>
                    <a:pt x="112" y="43"/>
                    <a:pt x="115" y="42"/>
                    <a:pt x="118" y="42"/>
                  </a:cubicBezTo>
                  <a:cubicBezTo>
                    <a:pt x="118" y="42"/>
                    <a:pt x="119" y="42"/>
                    <a:pt x="119" y="42"/>
                  </a:cubicBezTo>
                  <a:cubicBezTo>
                    <a:pt x="123" y="43"/>
                    <a:pt x="125" y="43"/>
                    <a:pt x="127" y="46"/>
                  </a:cubicBezTo>
                  <a:cubicBezTo>
                    <a:pt x="126" y="43"/>
                    <a:pt x="127" y="42"/>
                    <a:pt x="124" y="40"/>
                  </a:cubicBezTo>
                  <a:cubicBezTo>
                    <a:pt x="123" y="38"/>
                    <a:pt x="121" y="37"/>
                    <a:pt x="119" y="36"/>
                  </a:cubicBezTo>
                  <a:cubicBezTo>
                    <a:pt x="118" y="36"/>
                    <a:pt x="118" y="35"/>
                    <a:pt x="116" y="35"/>
                  </a:cubicBezTo>
                  <a:cubicBezTo>
                    <a:pt x="116" y="35"/>
                    <a:pt x="116" y="35"/>
                    <a:pt x="116" y="35"/>
                  </a:cubicBezTo>
                  <a:cubicBezTo>
                    <a:pt x="115" y="35"/>
                    <a:pt x="115" y="36"/>
                    <a:pt x="114" y="36"/>
                  </a:cubicBezTo>
                  <a:cubicBezTo>
                    <a:pt x="114" y="36"/>
                    <a:pt x="114" y="36"/>
                    <a:pt x="114" y="36"/>
                  </a:cubicBezTo>
                  <a:cubicBezTo>
                    <a:pt x="110" y="36"/>
                    <a:pt x="109" y="33"/>
                    <a:pt x="106" y="31"/>
                  </a:cubicBezTo>
                  <a:cubicBezTo>
                    <a:pt x="101" y="27"/>
                    <a:pt x="98" y="21"/>
                    <a:pt x="96" y="14"/>
                  </a:cubicBezTo>
                  <a:cubicBezTo>
                    <a:pt x="94" y="9"/>
                    <a:pt x="89" y="5"/>
                    <a:pt x="85" y="0"/>
                  </a:cubicBezTo>
                  <a:cubicBezTo>
                    <a:pt x="83" y="4"/>
                    <a:pt x="80" y="6"/>
                    <a:pt x="78" y="8"/>
                  </a:cubicBezTo>
                  <a:cubicBezTo>
                    <a:pt x="77" y="9"/>
                    <a:pt x="77" y="9"/>
                    <a:pt x="77" y="9"/>
                  </a:cubicBezTo>
                  <a:cubicBezTo>
                    <a:pt x="77" y="9"/>
                    <a:pt x="76" y="9"/>
                    <a:pt x="76" y="10"/>
                  </a:cubicBezTo>
                  <a:cubicBezTo>
                    <a:pt x="75" y="11"/>
                    <a:pt x="74" y="11"/>
                    <a:pt x="73" y="11"/>
                  </a:cubicBezTo>
                  <a:cubicBezTo>
                    <a:pt x="72" y="12"/>
                    <a:pt x="72" y="12"/>
                    <a:pt x="71" y="14"/>
                  </a:cubicBezTo>
                  <a:cubicBezTo>
                    <a:pt x="69" y="18"/>
                    <a:pt x="67" y="20"/>
                    <a:pt x="63" y="20"/>
                  </a:cubicBezTo>
                  <a:cubicBezTo>
                    <a:pt x="61" y="20"/>
                    <a:pt x="59" y="20"/>
                    <a:pt x="57" y="19"/>
                  </a:cubicBezTo>
                  <a:cubicBezTo>
                    <a:pt x="50" y="18"/>
                    <a:pt x="48" y="14"/>
                    <a:pt x="47" y="13"/>
                  </a:cubicBezTo>
                  <a:cubicBezTo>
                    <a:pt x="47" y="12"/>
                    <a:pt x="46" y="11"/>
                    <a:pt x="45" y="11"/>
                  </a:cubicBezTo>
                  <a:cubicBezTo>
                    <a:pt x="43" y="10"/>
                    <a:pt x="41" y="7"/>
                    <a:pt x="39" y="4"/>
                  </a:cubicBezTo>
                  <a:cubicBezTo>
                    <a:pt x="38" y="2"/>
                    <a:pt x="36" y="0"/>
                    <a:pt x="35" y="0"/>
                  </a:cubicBezTo>
                  <a:cubicBezTo>
                    <a:pt x="34" y="0"/>
                    <a:pt x="33" y="0"/>
                    <a:pt x="32" y="0"/>
                  </a:cubicBez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458"/>
            <p:cNvSpPr/>
            <p:nvPr/>
          </p:nvSpPr>
          <p:spPr bwMode="auto">
            <a:xfrm>
              <a:off x="1147275" y="2577458"/>
              <a:ext cx="83274" cy="64470"/>
            </a:xfrm>
            <a:custGeom>
              <a:gdLst>
                <a:gd name="T0" fmla="*/ 3 w 26"/>
                <a:gd name="T1" fmla="*/ 0 h 20"/>
                <a:gd name="T2" fmla="*/ 1 w 26"/>
                <a:gd name="T3" fmla="*/ 1 h 20"/>
                <a:gd name="T4" fmla="*/ 0 w 26"/>
                <a:gd name="T5" fmla="*/ 1 h 20"/>
                <a:gd name="T6" fmla="*/ 1 w 26"/>
                <a:gd name="T7" fmla="*/ 3 h 20"/>
                <a:gd name="T8" fmla="*/ 8 w 26"/>
                <a:gd name="T9" fmla="*/ 10 h 20"/>
                <a:gd name="T10" fmla="*/ 9 w 26"/>
                <a:gd name="T11" fmla="*/ 11 h 20"/>
                <a:gd name="T12" fmla="*/ 9 w 26"/>
                <a:gd name="T13" fmla="*/ 12 h 20"/>
                <a:gd name="T14" fmla="*/ 14 w 26"/>
                <a:gd name="T15" fmla="*/ 16 h 20"/>
                <a:gd name="T16" fmla="*/ 23 w 26"/>
                <a:gd name="T17" fmla="*/ 20 h 20"/>
                <a:gd name="T18" fmla="*/ 25 w 26"/>
                <a:gd name="T19" fmla="*/ 20 h 20"/>
                <a:gd name="T20" fmla="*/ 26 w 26"/>
                <a:gd name="T21" fmla="*/ 20 h 20"/>
                <a:gd name="T22" fmla="*/ 26 w 26"/>
                <a:gd name="T23" fmla="*/ 20 h 20"/>
                <a:gd name="T24" fmla="*/ 24 w 26"/>
                <a:gd name="T25" fmla="*/ 14 h 20"/>
                <a:gd name="T26" fmla="*/ 23 w 26"/>
                <a:gd name="T27" fmla="*/ 13 h 20"/>
                <a:gd name="T28" fmla="*/ 22 w 26"/>
                <a:gd name="T29" fmla="*/ 13 h 20"/>
                <a:gd name="T30" fmla="*/ 18 w 26"/>
                <a:gd name="T31" fmla="*/ 9 h 20"/>
                <a:gd name="T32" fmla="*/ 17 w 26"/>
                <a:gd name="T33" fmla="*/ 7 h 20"/>
                <a:gd name="T34" fmla="*/ 14 w 26"/>
                <a:gd name="T35" fmla="*/ 8 h 20"/>
                <a:gd name="T36" fmla="*/ 14 w 26"/>
                <a:gd name="T37" fmla="*/ 8 h 20"/>
                <a:gd name="T38" fmla="*/ 11 w 26"/>
                <a:gd name="T39" fmla="*/ 7 h 20"/>
                <a:gd name="T40" fmla="*/ 11 w 26"/>
                <a:gd name="T41" fmla="*/ 7 h 20"/>
                <a:gd name="T42" fmla="*/ 8 w 26"/>
                <a:gd name="T43" fmla="*/ 6 h 20"/>
                <a:gd name="T44" fmla="*/ 6 w 26"/>
                <a:gd name="T45" fmla="*/ 4 h 20"/>
                <a:gd name="T46" fmla="*/ 5 w 26"/>
                <a:gd name="T47" fmla="*/ 2 h 20"/>
                <a:gd name="T48" fmla="*/ 3 w 26"/>
                <a:gd name="T49" fmla="*/ 1 h 20"/>
                <a:gd name="T50" fmla="*/ 3 w 26"/>
                <a:gd name="T51"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0">
                  <a:moveTo>
                    <a:pt x="3" y="0"/>
                  </a:moveTo>
                  <a:cubicBezTo>
                    <a:pt x="1" y="1"/>
                    <a:pt x="1" y="1"/>
                    <a:pt x="1" y="1"/>
                  </a:cubicBezTo>
                  <a:cubicBezTo>
                    <a:pt x="0" y="1"/>
                    <a:pt x="0" y="1"/>
                    <a:pt x="0" y="1"/>
                  </a:cubicBezTo>
                  <a:cubicBezTo>
                    <a:pt x="0" y="2"/>
                    <a:pt x="1" y="2"/>
                    <a:pt x="1" y="3"/>
                  </a:cubicBezTo>
                  <a:cubicBezTo>
                    <a:pt x="1" y="3"/>
                    <a:pt x="2" y="4"/>
                    <a:pt x="8" y="10"/>
                  </a:cubicBezTo>
                  <a:cubicBezTo>
                    <a:pt x="8" y="10"/>
                    <a:pt x="8" y="11"/>
                    <a:pt x="9" y="11"/>
                  </a:cubicBezTo>
                  <a:cubicBezTo>
                    <a:pt x="9" y="12"/>
                    <a:pt x="9" y="12"/>
                    <a:pt x="9" y="12"/>
                  </a:cubicBezTo>
                  <a:cubicBezTo>
                    <a:pt x="12" y="14"/>
                    <a:pt x="13" y="15"/>
                    <a:pt x="14" y="16"/>
                  </a:cubicBezTo>
                  <a:cubicBezTo>
                    <a:pt x="15" y="17"/>
                    <a:pt x="18" y="19"/>
                    <a:pt x="23" y="20"/>
                  </a:cubicBezTo>
                  <a:cubicBezTo>
                    <a:pt x="24" y="20"/>
                    <a:pt x="24" y="20"/>
                    <a:pt x="25" y="20"/>
                  </a:cubicBezTo>
                  <a:cubicBezTo>
                    <a:pt x="25" y="20"/>
                    <a:pt x="26" y="20"/>
                    <a:pt x="26" y="20"/>
                  </a:cubicBezTo>
                  <a:cubicBezTo>
                    <a:pt x="26" y="20"/>
                    <a:pt x="26" y="20"/>
                    <a:pt x="26" y="20"/>
                  </a:cubicBezTo>
                  <a:cubicBezTo>
                    <a:pt x="26" y="18"/>
                    <a:pt x="25" y="15"/>
                    <a:pt x="24" y="14"/>
                  </a:cubicBezTo>
                  <a:cubicBezTo>
                    <a:pt x="23" y="13"/>
                    <a:pt x="23" y="13"/>
                    <a:pt x="23" y="13"/>
                  </a:cubicBezTo>
                  <a:cubicBezTo>
                    <a:pt x="22" y="13"/>
                    <a:pt x="22" y="13"/>
                    <a:pt x="22" y="13"/>
                  </a:cubicBezTo>
                  <a:cubicBezTo>
                    <a:pt x="20" y="12"/>
                    <a:pt x="19" y="11"/>
                    <a:pt x="18" y="9"/>
                  </a:cubicBezTo>
                  <a:cubicBezTo>
                    <a:pt x="18" y="8"/>
                    <a:pt x="17" y="7"/>
                    <a:pt x="17" y="7"/>
                  </a:cubicBezTo>
                  <a:cubicBezTo>
                    <a:pt x="16" y="7"/>
                    <a:pt x="15" y="7"/>
                    <a:pt x="14" y="8"/>
                  </a:cubicBezTo>
                  <a:cubicBezTo>
                    <a:pt x="14" y="8"/>
                    <a:pt x="14" y="8"/>
                    <a:pt x="14" y="8"/>
                  </a:cubicBezTo>
                  <a:cubicBezTo>
                    <a:pt x="13" y="8"/>
                    <a:pt x="12" y="7"/>
                    <a:pt x="11" y="7"/>
                  </a:cubicBezTo>
                  <a:cubicBezTo>
                    <a:pt x="11" y="7"/>
                    <a:pt x="11" y="7"/>
                    <a:pt x="11" y="7"/>
                  </a:cubicBezTo>
                  <a:cubicBezTo>
                    <a:pt x="10" y="7"/>
                    <a:pt x="9" y="6"/>
                    <a:pt x="8" y="6"/>
                  </a:cubicBezTo>
                  <a:cubicBezTo>
                    <a:pt x="7" y="5"/>
                    <a:pt x="7" y="4"/>
                    <a:pt x="6" y="4"/>
                  </a:cubicBezTo>
                  <a:cubicBezTo>
                    <a:pt x="5" y="3"/>
                    <a:pt x="5" y="3"/>
                    <a:pt x="5" y="2"/>
                  </a:cubicBezTo>
                  <a:cubicBezTo>
                    <a:pt x="4" y="2"/>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459"/>
            <p:cNvSpPr/>
            <p:nvPr/>
          </p:nvSpPr>
          <p:spPr bwMode="auto">
            <a:xfrm>
              <a:off x="8656691" y="6057497"/>
              <a:ext cx="770954" cy="635298"/>
            </a:xfrm>
            <a:custGeom>
              <a:gdLst>
                <a:gd name="T0" fmla="*/ 3 w 243"/>
                <a:gd name="T1" fmla="*/ 55 h 200"/>
                <a:gd name="T2" fmla="*/ 3 w 243"/>
                <a:gd name="T3" fmla="*/ 65 h 200"/>
                <a:gd name="T4" fmla="*/ 1 w 243"/>
                <a:gd name="T5" fmla="*/ 103 h 200"/>
                <a:gd name="T6" fmla="*/ 9 w 243"/>
                <a:gd name="T7" fmla="*/ 163 h 200"/>
                <a:gd name="T8" fmla="*/ 31 w 243"/>
                <a:gd name="T9" fmla="*/ 162 h 200"/>
                <a:gd name="T10" fmla="*/ 50 w 243"/>
                <a:gd name="T11" fmla="*/ 161 h 200"/>
                <a:gd name="T12" fmla="*/ 46 w 243"/>
                <a:gd name="T13" fmla="*/ 143 h 200"/>
                <a:gd name="T14" fmla="*/ 38 w 243"/>
                <a:gd name="T15" fmla="*/ 141 h 200"/>
                <a:gd name="T16" fmla="*/ 36 w 243"/>
                <a:gd name="T17" fmla="*/ 141 h 200"/>
                <a:gd name="T18" fmla="*/ 45 w 243"/>
                <a:gd name="T19" fmla="*/ 140 h 200"/>
                <a:gd name="T20" fmla="*/ 58 w 243"/>
                <a:gd name="T21" fmla="*/ 139 h 200"/>
                <a:gd name="T22" fmla="*/ 58 w 243"/>
                <a:gd name="T23" fmla="*/ 130 h 200"/>
                <a:gd name="T24" fmla="*/ 62 w 243"/>
                <a:gd name="T25" fmla="*/ 132 h 200"/>
                <a:gd name="T26" fmla="*/ 67 w 243"/>
                <a:gd name="T27" fmla="*/ 133 h 200"/>
                <a:gd name="T28" fmla="*/ 72 w 243"/>
                <a:gd name="T29" fmla="*/ 132 h 200"/>
                <a:gd name="T30" fmla="*/ 71 w 243"/>
                <a:gd name="T31" fmla="*/ 125 h 200"/>
                <a:gd name="T32" fmla="*/ 80 w 243"/>
                <a:gd name="T33" fmla="*/ 123 h 200"/>
                <a:gd name="T34" fmla="*/ 82 w 243"/>
                <a:gd name="T35" fmla="*/ 126 h 200"/>
                <a:gd name="T36" fmla="*/ 87 w 243"/>
                <a:gd name="T37" fmla="*/ 124 h 200"/>
                <a:gd name="T38" fmla="*/ 92 w 243"/>
                <a:gd name="T39" fmla="*/ 122 h 200"/>
                <a:gd name="T40" fmla="*/ 94 w 243"/>
                <a:gd name="T41" fmla="*/ 126 h 200"/>
                <a:gd name="T42" fmla="*/ 125 w 243"/>
                <a:gd name="T43" fmla="*/ 135 h 200"/>
                <a:gd name="T44" fmla="*/ 137 w 243"/>
                <a:gd name="T45" fmla="*/ 153 h 200"/>
                <a:gd name="T46" fmla="*/ 147 w 243"/>
                <a:gd name="T47" fmla="*/ 158 h 200"/>
                <a:gd name="T48" fmla="*/ 157 w 243"/>
                <a:gd name="T49" fmla="*/ 174 h 200"/>
                <a:gd name="T50" fmla="*/ 173 w 243"/>
                <a:gd name="T51" fmla="*/ 186 h 200"/>
                <a:gd name="T52" fmla="*/ 182 w 243"/>
                <a:gd name="T53" fmla="*/ 187 h 200"/>
                <a:gd name="T54" fmla="*/ 185 w 243"/>
                <a:gd name="T55" fmla="*/ 187 h 200"/>
                <a:gd name="T56" fmla="*/ 197 w 243"/>
                <a:gd name="T57" fmla="*/ 188 h 200"/>
                <a:gd name="T58" fmla="*/ 230 w 243"/>
                <a:gd name="T59" fmla="*/ 199 h 200"/>
                <a:gd name="T60" fmla="*/ 230 w 243"/>
                <a:gd name="T61" fmla="*/ 190 h 200"/>
                <a:gd name="T62" fmla="*/ 236 w 243"/>
                <a:gd name="T63" fmla="*/ 191 h 200"/>
                <a:gd name="T64" fmla="*/ 235 w 243"/>
                <a:gd name="T65" fmla="*/ 187 h 200"/>
                <a:gd name="T66" fmla="*/ 232 w 243"/>
                <a:gd name="T67" fmla="*/ 187 h 200"/>
                <a:gd name="T68" fmla="*/ 216 w 243"/>
                <a:gd name="T69" fmla="*/ 177 h 200"/>
                <a:gd name="T70" fmla="*/ 218 w 243"/>
                <a:gd name="T71" fmla="*/ 173 h 200"/>
                <a:gd name="T72" fmla="*/ 202 w 243"/>
                <a:gd name="T73" fmla="*/ 165 h 200"/>
                <a:gd name="T74" fmla="*/ 193 w 243"/>
                <a:gd name="T75" fmla="*/ 159 h 200"/>
                <a:gd name="T76" fmla="*/ 177 w 243"/>
                <a:gd name="T77" fmla="*/ 145 h 200"/>
                <a:gd name="T78" fmla="*/ 151 w 243"/>
                <a:gd name="T79" fmla="*/ 116 h 200"/>
                <a:gd name="T80" fmla="*/ 155 w 243"/>
                <a:gd name="T81" fmla="*/ 101 h 200"/>
                <a:gd name="T82" fmla="*/ 168 w 243"/>
                <a:gd name="T83" fmla="*/ 99 h 200"/>
                <a:gd name="T84" fmla="*/ 157 w 243"/>
                <a:gd name="T85" fmla="*/ 82 h 200"/>
                <a:gd name="T86" fmla="*/ 152 w 243"/>
                <a:gd name="T87" fmla="*/ 82 h 200"/>
                <a:gd name="T88" fmla="*/ 124 w 243"/>
                <a:gd name="T89" fmla="*/ 71 h 200"/>
                <a:gd name="T90" fmla="*/ 117 w 243"/>
                <a:gd name="T91" fmla="*/ 58 h 200"/>
                <a:gd name="T92" fmla="*/ 86 w 243"/>
                <a:gd name="T93" fmla="*/ 30 h 2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3" h="200">
                  <a:moveTo>
                    <a:pt x="2" y="0"/>
                  </a:moveTo>
                  <a:cubicBezTo>
                    <a:pt x="3" y="7"/>
                    <a:pt x="3" y="14"/>
                    <a:pt x="3" y="21"/>
                  </a:cubicBezTo>
                  <a:cubicBezTo>
                    <a:pt x="3" y="32"/>
                    <a:pt x="3" y="44"/>
                    <a:pt x="3" y="55"/>
                  </a:cubicBezTo>
                  <a:cubicBezTo>
                    <a:pt x="3" y="58"/>
                    <a:pt x="3" y="58"/>
                    <a:pt x="3" y="58"/>
                  </a:cubicBezTo>
                  <a:cubicBezTo>
                    <a:pt x="3" y="60"/>
                    <a:pt x="3" y="61"/>
                    <a:pt x="3" y="63"/>
                  </a:cubicBezTo>
                  <a:cubicBezTo>
                    <a:pt x="3" y="65"/>
                    <a:pt x="3" y="65"/>
                    <a:pt x="3" y="65"/>
                  </a:cubicBezTo>
                  <a:cubicBezTo>
                    <a:pt x="2" y="69"/>
                    <a:pt x="2" y="74"/>
                    <a:pt x="2" y="78"/>
                  </a:cubicBezTo>
                  <a:cubicBezTo>
                    <a:pt x="0" y="102"/>
                    <a:pt x="0" y="102"/>
                    <a:pt x="0" y="102"/>
                  </a:cubicBezTo>
                  <a:cubicBezTo>
                    <a:pt x="1" y="102"/>
                    <a:pt x="1" y="102"/>
                    <a:pt x="1" y="103"/>
                  </a:cubicBezTo>
                  <a:cubicBezTo>
                    <a:pt x="3" y="104"/>
                    <a:pt x="3" y="105"/>
                    <a:pt x="3" y="106"/>
                  </a:cubicBezTo>
                  <a:cubicBezTo>
                    <a:pt x="3" y="163"/>
                    <a:pt x="3" y="163"/>
                    <a:pt x="3" y="163"/>
                  </a:cubicBezTo>
                  <a:cubicBezTo>
                    <a:pt x="4" y="163"/>
                    <a:pt x="6" y="163"/>
                    <a:pt x="9" y="163"/>
                  </a:cubicBezTo>
                  <a:cubicBezTo>
                    <a:pt x="12" y="163"/>
                    <a:pt x="17" y="163"/>
                    <a:pt x="20" y="162"/>
                  </a:cubicBezTo>
                  <a:cubicBezTo>
                    <a:pt x="24" y="162"/>
                    <a:pt x="27" y="162"/>
                    <a:pt x="29" y="162"/>
                  </a:cubicBezTo>
                  <a:cubicBezTo>
                    <a:pt x="30" y="162"/>
                    <a:pt x="31" y="162"/>
                    <a:pt x="31" y="162"/>
                  </a:cubicBezTo>
                  <a:cubicBezTo>
                    <a:pt x="34" y="163"/>
                    <a:pt x="37" y="164"/>
                    <a:pt x="40" y="165"/>
                  </a:cubicBezTo>
                  <a:cubicBezTo>
                    <a:pt x="40" y="165"/>
                    <a:pt x="40" y="165"/>
                    <a:pt x="40" y="165"/>
                  </a:cubicBezTo>
                  <a:cubicBezTo>
                    <a:pt x="43" y="165"/>
                    <a:pt x="49" y="162"/>
                    <a:pt x="50" y="161"/>
                  </a:cubicBezTo>
                  <a:cubicBezTo>
                    <a:pt x="52" y="160"/>
                    <a:pt x="57" y="159"/>
                    <a:pt x="58" y="157"/>
                  </a:cubicBezTo>
                  <a:cubicBezTo>
                    <a:pt x="60" y="155"/>
                    <a:pt x="58" y="152"/>
                    <a:pt x="57" y="149"/>
                  </a:cubicBezTo>
                  <a:cubicBezTo>
                    <a:pt x="54" y="145"/>
                    <a:pt x="51" y="145"/>
                    <a:pt x="46" y="143"/>
                  </a:cubicBezTo>
                  <a:cubicBezTo>
                    <a:pt x="44" y="142"/>
                    <a:pt x="43" y="140"/>
                    <a:pt x="41" y="140"/>
                  </a:cubicBezTo>
                  <a:cubicBezTo>
                    <a:pt x="41" y="140"/>
                    <a:pt x="41" y="140"/>
                    <a:pt x="41" y="140"/>
                  </a:cubicBezTo>
                  <a:cubicBezTo>
                    <a:pt x="40" y="140"/>
                    <a:pt x="39" y="141"/>
                    <a:pt x="38" y="141"/>
                  </a:cubicBezTo>
                  <a:cubicBezTo>
                    <a:pt x="38" y="141"/>
                    <a:pt x="37" y="142"/>
                    <a:pt x="36" y="142"/>
                  </a:cubicBezTo>
                  <a:cubicBezTo>
                    <a:pt x="35" y="142"/>
                    <a:pt x="35" y="141"/>
                    <a:pt x="34" y="140"/>
                  </a:cubicBezTo>
                  <a:cubicBezTo>
                    <a:pt x="35" y="141"/>
                    <a:pt x="35" y="141"/>
                    <a:pt x="36" y="141"/>
                  </a:cubicBezTo>
                  <a:cubicBezTo>
                    <a:pt x="37" y="141"/>
                    <a:pt x="38" y="140"/>
                    <a:pt x="40" y="140"/>
                  </a:cubicBezTo>
                  <a:cubicBezTo>
                    <a:pt x="41" y="140"/>
                    <a:pt x="43" y="139"/>
                    <a:pt x="44" y="139"/>
                  </a:cubicBezTo>
                  <a:cubicBezTo>
                    <a:pt x="44" y="139"/>
                    <a:pt x="45" y="139"/>
                    <a:pt x="45" y="140"/>
                  </a:cubicBezTo>
                  <a:cubicBezTo>
                    <a:pt x="47" y="140"/>
                    <a:pt x="48" y="140"/>
                    <a:pt x="49" y="140"/>
                  </a:cubicBezTo>
                  <a:cubicBezTo>
                    <a:pt x="49" y="140"/>
                    <a:pt x="50" y="140"/>
                    <a:pt x="51" y="140"/>
                  </a:cubicBezTo>
                  <a:cubicBezTo>
                    <a:pt x="54" y="139"/>
                    <a:pt x="56" y="139"/>
                    <a:pt x="58" y="139"/>
                  </a:cubicBezTo>
                  <a:cubicBezTo>
                    <a:pt x="61" y="138"/>
                    <a:pt x="66" y="139"/>
                    <a:pt x="63" y="135"/>
                  </a:cubicBezTo>
                  <a:cubicBezTo>
                    <a:pt x="62" y="133"/>
                    <a:pt x="60" y="132"/>
                    <a:pt x="58" y="130"/>
                  </a:cubicBezTo>
                  <a:cubicBezTo>
                    <a:pt x="58" y="130"/>
                    <a:pt x="58" y="130"/>
                    <a:pt x="58" y="130"/>
                  </a:cubicBezTo>
                  <a:cubicBezTo>
                    <a:pt x="60" y="130"/>
                    <a:pt x="60" y="132"/>
                    <a:pt x="61" y="132"/>
                  </a:cubicBezTo>
                  <a:cubicBezTo>
                    <a:pt x="61" y="132"/>
                    <a:pt x="61" y="132"/>
                    <a:pt x="62" y="132"/>
                  </a:cubicBezTo>
                  <a:cubicBezTo>
                    <a:pt x="62" y="132"/>
                    <a:pt x="62" y="132"/>
                    <a:pt x="62" y="132"/>
                  </a:cubicBezTo>
                  <a:cubicBezTo>
                    <a:pt x="63" y="132"/>
                    <a:pt x="63" y="132"/>
                    <a:pt x="63" y="132"/>
                  </a:cubicBezTo>
                  <a:cubicBezTo>
                    <a:pt x="63" y="132"/>
                    <a:pt x="63" y="132"/>
                    <a:pt x="64" y="132"/>
                  </a:cubicBezTo>
                  <a:cubicBezTo>
                    <a:pt x="65" y="132"/>
                    <a:pt x="66" y="133"/>
                    <a:pt x="67" y="133"/>
                  </a:cubicBezTo>
                  <a:cubicBezTo>
                    <a:pt x="67" y="133"/>
                    <a:pt x="68" y="133"/>
                    <a:pt x="68" y="133"/>
                  </a:cubicBezTo>
                  <a:cubicBezTo>
                    <a:pt x="70" y="133"/>
                    <a:pt x="72" y="133"/>
                    <a:pt x="70" y="132"/>
                  </a:cubicBezTo>
                  <a:cubicBezTo>
                    <a:pt x="71" y="132"/>
                    <a:pt x="72" y="132"/>
                    <a:pt x="72" y="132"/>
                  </a:cubicBezTo>
                  <a:cubicBezTo>
                    <a:pt x="70" y="128"/>
                    <a:pt x="67" y="123"/>
                    <a:pt x="65" y="119"/>
                  </a:cubicBezTo>
                  <a:cubicBezTo>
                    <a:pt x="66" y="120"/>
                    <a:pt x="67" y="121"/>
                    <a:pt x="68" y="122"/>
                  </a:cubicBezTo>
                  <a:cubicBezTo>
                    <a:pt x="69" y="123"/>
                    <a:pt x="70" y="124"/>
                    <a:pt x="71" y="125"/>
                  </a:cubicBezTo>
                  <a:cubicBezTo>
                    <a:pt x="72" y="125"/>
                    <a:pt x="73" y="125"/>
                    <a:pt x="73" y="125"/>
                  </a:cubicBezTo>
                  <a:cubicBezTo>
                    <a:pt x="74" y="125"/>
                    <a:pt x="75" y="125"/>
                    <a:pt x="77" y="124"/>
                  </a:cubicBezTo>
                  <a:cubicBezTo>
                    <a:pt x="78" y="124"/>
                    <a:pt x="79" y="123"/>
                    <a:pt x="80" y="123"/>
                  </a:cubicBezTo>
                  <a:cubicBezTo>
                    <a:pt x="80" y="123"/>
                    <a:pt x="80" y="123"/>
                    <a:pt x="81" y="123"/>
                  </a:cubicBezTo>
                  <a:cubicBezTo>
                    <a:pt x="82" y="124"/>
                    <a:pt x="81" y="124"/>
                    <a:pt x="82" y="125"/>
                  </a:cubicBezTo>
                  <a:cubicBezTo>
                    <a:pt x="82" y="126"/>
                    <a:pt x="82" y="126"/>
                    <a:pt x="82" y="126"/>
                  </a:cubicBezTo>
                  <a:cubicBezTo>
                    <a:pt x="83" y="127"/>
                    <a:pt x="85" y="127"/>
                    <a:pt x="86" y="127"/>
                  </a:cubicBezTo>
                  <a:cubicBezTo>
                    <a:pt x="84" y="125"/>
                    <a:pt x="84" y="123"/>
                    <a:pt x="84" y="121"/>
                  </a:cubicBezTo>
                  <a:cubicBezTo>
                    <a:pt x="84" y="122"/>
                    <a:pt x="85" y="123"/>
                    <a:pt x="87" y="124"/>
                  </a:cubicBezTo>
                  <a:cubicBezTo>
                    <a:pt x="86" y="123"/>
                    <a:pt x="86" y="121"/>
                    <a:pt x="86" y="120"/>
                  </a:cubicBezTo>
                  <a:cubicBezTo>
                    <a:pt x="86" y="122"/>
                    <a:pt x="88" y="123"/>
                    <a:pt x="89" y="123"/>
                  </a:cubicBezTo>
                  <a:cubicBezTo>
                    <a:pt x="90" y="123"/>
                    <a:pt x="91" y="122"/>
                    <a:pt x="92" y="122"/>
                  </a:cubicBezTo>
                  <a:cubicBezTo>
                    <a:pt x="92" y="122"/>
                    <a:pt x="93" y="122"/>
                    <a:pt x="94" y="122"/>
                  </a:cubicBezTo>
                  <a:cubicBezTo>
                    <a:pt x="94" y="122"/>
                    <a:pt x="94" y="122"/>
                    <a:pt x="94" y="122"/>
                  </a:cubicBezTo>
                  <a:cubicBezTo>
                    <a:pt x="96" y="122"/>
                    <a:pt x="94" y="126"/>
                    <a:pt x="94" y="126"/>
                  </a:cubicBezTo>
                  <a:cubicBezTo>
                    <a:pt x="95" y="127"/>
                    <a:pt x="99" y="127"/>
                    <a:pt x="100" y="128"/>
                  </a:cubicBezTo>
                  <a:cubicBezTo>
                    <a:pt x="106" y="129"/>
                    <a:pt x="112" y="129"/>
                    <a:pt x="117" y="131"/>
                  </a:cubicBezTo>
                  <a:cubicBezTo>
                    <a:pt x="116" y="133"/>
                    <a:pt x="123" y="134"/>
                    <a:pt x="125" y="135"/>
                  </a:cubicBezTo>
                  <a:cubicBezTo>
                    <a:pt x="125" y="137"/>
                    <a:pt x="126" y="137"/>
                    <a:pt x="127" y="139"/>
                  </a:cubicBezTo>
                  <a:cubicBezTo>
                    <a:pt x="129" y="140"/>
                    <a:pt x="128" y="141"/>
                    <a:pt x="129" y="143"/>
                  </a:cubicBezTo>
                  <a:cubicBezTo>
                    <a:pt x="131" y="146"/>
                    <a:pt x="134" y="150"/>
                    <a:pt x="137" y="153"/>
                  </a:cubicBezTo>
                  <a:cubicBezTo>
                    <a:pt x="138" y="155"/>
                    <a:pt x="137" y="157"/>
                    <a:pt x="140" y="158"/>
                  </a:cubicBezTo>
                  <a:cubicBezTo>
                    <a:pt x="141" y="159"/>
                    <a:pt x="143" y="160"/>
                    <a:pt x="144" y="160"/>
                  </a:cubicBezTo>
                  <a:cubicBezTo>
                    <a:pt x="145" y="160"/>
                    <a:pt x="146" y="159"/>
                    <a:pt x="147" y="158"/>
                  </a:cubicBezTo>
                  <a:cubicBezTo>
                    <a:pt x="146" y="160"/>
                    <a:pt x="146" y="160"/>
                    <a:pt x="147" y="162"/>
                  </a:cubicBezTo>
                  <a:cubicBezTo>
                    <a:pt x="148" y="164"/>
                    <a:pt x="149" y="169"/>
                    <a:pt x="151" y="170"/>
                  </a:cubicBezTo>
                  <a:cubicBezTo>
                    <a:pt x="155" y="170"/>
                    <a:pt x="155" y="171"/>
                    <a:pt x="157" y="174"/>
                  </a:cubicBezTo>
                  <a:cubicBezTo>
                    <a:pt x="160" y="178"/>
                    <a:pt x="163" y="183"/>
                    <a:pt x="167" y="185"/>
                  </a:cubicBezTo>
                  <a:cubicBezTo>
                    <a:pt x="169" y="186"/>
                    <a:pt x="170" y="186"/>
                    <a:pt x="171" y="186"/>
                  </a:cubicBezTo>
                  <a:cubicBezTo>
                    <a:pt x="172" y="186"/>
                    <a:pt x="172" y="186"/>
                    <a:pt x="173" y="186"/>
                  </a:cubicBezTo>
                  <a:cubicBezTo>
                    <a:pt x="173" y="186"/>
                    <a:pt x="174" y="186"/>
                    <a:pt x="174" y="186"/>
                  </a:cubicBezTo>
                  <a:cubicBezTo>
                    <a:pt x="177" y="186"/>
                    <a:pt x="179" y="187"/>
                    <a:pt x="182" y="187"/>
                  </a:cubicBezTo>
                  <a:cubicBezTo>
                    <a:pt x="182" y="187"/>
                    <a:pt x="182" y="187"/>
                    <a:pt x="182" y="187"/>
                  </a:cubicBezTo>
                  <a:cubicBezTo>
                    <a:pt x="183" y="187"/>
                    <a:pt x="183" y="187"/>
                    <a:pt x="184" y="187"/>
                  </a:cubicBezTo>
                  <a:cubicBezTo>
                    <a:pt x="184" y="187"/>
                    <a:pt x="185" y="187"/>
                    <a:pt x="185" y="187"/>
                  </a:cubicBezTo>
                  <a:cubicBezTo>
                    <a:pt x="185" y="187"/>
                    <a:pt x="185" y="187"/>
                    <a:pt x="185" y="187"/>
                  </a:cubicBezTo>
                  <a:cubicBezTo>
                    <a:pt x="187" y="187"/>
                    <a:pt x="189" y="188"/>
                    <a:pt x="191" y="188"/>
                  </a:cubicBezTo>
                  <a:cubicBezTo>
                    <a:pt x="193" y="188"/>
                    <a:pt x="194" y="189"/>
                    <a:pt x="194" y="189"/>
                  </a:cubicBezTo>
                  <a:cubicBezTo>
                    <a:pt x="195" y="189"/>
                    <a:pt x="196" y="188"/>
                    <a:pt x="197" y="188"/>
                  </a:cubicBezTo>
                  <a:cubicBezTo>
                    <a:pt x="197" y="188"/>
                    <a:pt x="197" y="188"/>
                    <a:pt x="198" y="188"/>
                  </a:cubicBezTo>
                  <a:cubicBezTo>
                    <a:pt x="205" y="188"/>
                    <a:pt x="220" y="190"/>
                    <a:pt x="224" y="196"/>
                  </a:cubicBezTo>
                  <a:cubicBezTo>
                    <a:pt x="227" y="200"/>
                    <a:pt x="226" y="198"/>
                    <a:pt x="230" y="199"/>
                  </a:cubicBezTo>
                  <a:cubicBezTo>
                    <a:pt x="230" y="199"/>
                    <a:pt x="230" y="199"/>
                    <a:pt x="230" y="199"/>
                  </a:cubicBezTo>
                  <a:cubicBezTo>
                    <a:pt x="232" y="199"/>
                    <a:pt x="235" y="197"/>
                    <a:pt x="237" y="197"/>
                  </a:cubicBezTo>
                  <a:cubicBezTo>
                    <a:pt x="235" y="195"/>
                    <a:pt x="232" y="193"/>
                    <a:pt x="230" y="190"/>
                  </a:cubicBezTo>
                  <a:cubicBezTo>
                    <a:pt x="231" y="190"/>
                    <a:pt x="231" y="190"/>
                    <a:pt x="232" y="190"/>
                  </a:cubicBezTo>
                  <a:cubicBezTo>
                    <a:pt x="233" y="190"/>
                    <a:pt x="234" y="190"/>
                    <a:pt x="235" y="190"/>
                  </a:cubicBezTo>
                  <a:cubicBezTo>
                    <a:pt x="235" y="191"/>
                    <a:pt x="235" y="191"/>
                    <a:pt x="236" y="191"/>
                  </a:cubicBezTo>
                  <a:cubicBezTo>
                    <a:pt x="238" y="191"/>
                    <a:pt x="240" y="189"/>
                    <a:pt x="243" y="188"/>
                  </a:cubicBezTo>
                  <a:cubicBezTo>
                    <a:pt x="241" y="188"/>
                    <a:pt x="240" y="188"/>
                    <a:pt x="239" y="188"/>
                  </a:cubicBezTo>
                  <a:cubicBezTo>
                    <a:pt x="238" y="188"/>
                    <a:pt x="237" y="188"/>
                    <a:pt x="235" y="187"/>
                  </a:cubicBezTo>
                  <a:cubicBezTo>
                    <a:pt x="235" y="187"/>
                    <a:pt x="234" y="187"/>
                    <a:pt x="234" y="187"/>
                  </a:cubicBezTo>
                  <a:cubicBezTo>
                    <a:pt x="233" y="187"/>
                    <a:pt x="233" y="187"/>
                    <a:pt x="233" y="187"/>
                  </a:cubicBezTo>
                  <a:cubicBezTo>
                    <a:pt x="232" y="187"/>
                    <a:pt x="232" y="187"/>
                    <a:pt x="232" y="187"/>
                  </a:cubicBezTo>
                  <a:cubicBezTo>
                    <a:pt x="231" y="187"/>
                    <a:pt x="230" y="187"/>
                    <a:pt x="229" y="187"/>
                  </a:cubicBezTo>
                  <a:cubicBezTo>
                    <a:pt x="226" y="186"/>
                    <a:pt x="221" y="182"/>
                    <a:pt x="218" y="180"/>
                  </a:cubicBezTo>
                  <a:cubicBezTo>
                    <a:pt x="215" y="179"/>
                    <a:pt x="214" y="179"/>
                    <a:pt x="216" y="177"/>
                  </a:cubicBezTo>
                  <a:cubicBezTo>
                    <a:pt x="218" y="175"/>
                    <a:pt x="221" y="178"/>
                    <a:pt x="221" y="173"/>
                  </a:cubicBezTo>
                  <a:cubicBezTo>
                    <a:pt x="221" y="173"/>
                    <a:pt x="220" y="173"/>
                    <a:pt x="219" y="173"/>
                  </a:cubicBezTo>
                  <a:cubicBezTo>
                    <a:pt x="219" y="173"/>
                    <a:pt x="218" y="173"/>
                    <a:pt x="218" y="173"/>
                  </a:cubicBezTo>
                  <a:cubicBezTo>
                    <a:pt x="215" y="173"/>
                    <a:pt x="208" y="173"/>
                    <a:pt x="206" y="171"/>
                  </a:cubicBezTo>
                  <a:cubicBezTo>
                    <a:pt x="205" y="170"/>
                    <a:pt x="201" y="168"/>
                    <a:pt x="201" y="166"/>
                  </a:cubicBezTo>
                  <a:cubicBezTo>
                    <a:pt x="201" y="165"/>
                    <a:pt x="202" y="165"/>
                    <a:pt x="202" y="165"/>
                  </a:cubicBezTo>
                  <a:cubicBezTo>
                    <a:pt x="202" y="163"/>
                    <a:pt x="205" y="159"/>
                    <a:pt x="204" y="158"/>
                  </a:cubicBezTo>
                  <a:cubicBezTo>
                    <a:pt x="204" y="157"/>
                    <a:pt x="203" y="157"/>
                    <a:pt x="202" y="157"/>
                  </a:cubicBezTo>
                  <a:cubicBezTo>
                    <a:pt x="199" y="157"/>
                    <a:pt x="195" y="159"/>
                    <a:pt x="193" y="159"/>
                  </a:cubicBezTo>
                  <a:cubicBezTo>
                    <a:pt x="192" y="159"/>
                    <a:pt x="191" y="159"/>
                    <a:pt x="190" y="159"/>
                  </a:cubicBezTo>
                  <a:cubicBezTo>
                    <a:pt x="186" y="159"/>
                    <a:pt x="186" y="158"/>
                    <a:pt x="184" y="154"/>
                  </a:cubicBezTo>
                  <a:cubicBezTo>
                    <a:pt x="182" y="151"/>
                    <a:pt x="179" y="148"/>
                    <a:pt x="177" y="145"/>
                  </a:cubicBezTo>
                  <a:cubicBezTo>
                    <a:pt x="177" y="144"/>
                    <a:pt x="178" y="144"/>
                    <a:pt x="178" y="143"/>
                  </a:cubicBezTo>
                  <a:cubicBezTo>
                    <a:pt x="177" y="141"/>
                    <a:pt x="175" y="138"/>
                    <a:pt x="173" y="136"/>
                  </a:cubicBezTo>
                  <a:cubicBezTo>
                    <a:pt x="168" y="127"/>
                    <a:pt x="155" y="125"/>
                    <a:pt x="151" y="116"/>
                  </a:cubicBezTo>
                  <a:cubicBezTo>
                    <a:pt x="149" y="112"/>
                    <a:pt x="143" y="104"/>
                    <a:pt x="147" y="101"/>
                  </a:cubicBezTo>
                  <a:cubicBezTo>
                    <a:pt x="148" y="101"/>
                    <a:pt x="149" y="101"/>
                    <a:pt x="151" y="101"/>
                  </a:cubicBezTo>
                  <a:cubicBezTo>
                    <a:pt x="152" y="101"/>
                    <a:pt x="154" y="101"/>
                    <a:pt x="155" y="101"/>
                  </a:cubicBezTo>
                  <a:cubicBezTo>
                    <a:pt x="157" y="101"/>
                    <a:pt x="158" y="102"/>
                    <a:pt x="160" y="102"/>
                  </a:cubicBezTo>
                  <a:cubicBezTo>
                    <a:pt x="160" y="102"/>
                    <a:pt x="160" y="102"/>
                    <a:pt x="160" y="102"/>
                  </a:cubicBezTo>
                  <a:cubicBezTo>
                    <a:pt x="163" y="101"/>
                    <a:pt x="166" y="101"/>
                    <a:pt x="168" y="99"/>
                  </a:cubicBezTo>
                  <a:cubicBezTo>
                    <a:pt x="169" y="99"/>
                    <a:pt x="168" y="93"/>
                    <a:pt x="168" y="91"/>
                  </a:cubicBezTo>
                  <a:cubicBezTo>
                    <a:pt x="167" y="90"/>
                    <a:pt x="166" y="89"/>
                    <a:pt x="165" y="89"/>
                  </a:cubicBezTo>
                  <a:cubicBezTo>
                    <a:pt x="163" y="86"/>
                    <a:pt x="161" y="83"/>
                    <a:pt x="157" y="82"/>
                  </a:cubicBezTo>
                  <a:cubicBezTo>
                    <a:pt x="157" y="82"/>
                    <a:pt x="156" y="82"/>
                    <a:pt x="155" y="82"/>
                  </a:cubicBezTo>
                  <a:cubicBezTo>
                    <a:pt x="155" y="82"/>
                    <a:pt x="154" y="82"/>
                    <a:pt x="154" y="82"/>
                  </a:cubicBezTo>
                  <a:cubicBezTo>
                    <a:pt x="153" y="82"/>
                    <a:pt x="152" y="82"/>
                    <a:pt x="152" y="82"/>
                  </a:cubicBezTo>
                  <a:cubicBezTo>
                    <a:pt x="152" y="82"/>
                    <a:pt x="151" y="82"/>
                    <a:pt x="151" y="82"/>
                  </a:cubicBezTo>
                  <a:cubicBezTo>
                    <a:pt x="145" y="82"/>
                    <a:pt x="140" y="76"/>
                    <a:pt x="135" y="74"/>
                  </a:cubicBezTo>
                  <a:cubicBezTo>
                    <a:pt x="131" y="73"/>
                    <a:pt x="128" y="72"/>
                    <a:pt x="124" y="71"/>
                  </a:cubicBezTo>
                  <a:cubicBezTo>
                    <a:pt x="122" y="71"/>
                    <a:pt x="117" y="71"/>
                    <a:pt x="116" y="70"/>
                  </a:cubicBezTo>
                  <a:cubicBezTo>
                    <a:pt x="115" y="68"/>
                    <a:pt x="117" y="66"/>
                    <a:pt x="118" y="64"/>
                  </a:cubicBezTo>
                  <a:cubicBezTo>
                    <a:pt x="118" y="62"/>
                    <a:pt x="118" y="60"/>
                    <a:pt x="117" y="58"/>
                  </a:cubicBezTo>
                  <a:cubicBezTo>
                    <a:pt x="116" y="54"/>
                    <a:pt x="111" y="49"/>
                    <a:pt x="108" y="45"/>
                  </a:cubicBezTo>
                  <a:cubicBezTo>
                    <a:pt x="105" y="42"/>
                    <a:pt x="105" y="44"/>
                    <a:pt x="103" y="43"/>
                  </a:cubicBezTo>
                  <a:cubicBezTo>
                    <a:pt x="97" y="39"/>
                    <a:pt x="89" y="36"/>
                    <a:pt x="86" y="30"/>
                  </a:cubicBezTo>
                  <a:cubicBezTo>
                    <a:pt x="86" y="29"/>
                    <a:pt x="84" y="29"/>
                    <a:pt x="83" y="29"/>
                  </a:cubicBezTo>
                  <a:cubicBezTo>
                    <a:pt x="56" y="19"/>
                    <a:pt x="29" y="1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460"/>
            <p:cNvSpPr/>
            <p:nvPr/>
          </p:nvSpPr>
          <p:spPr bwMode="auto">
            <a:xfrm>
              <a:off x="7869620" y="5880204"/>
              <a:ext cx="777670" cy="679622"/>
            </a:xfrm>
            <a:custGeom>
              <a:gdLst>
                <a:gd name="T0" fmla="*/ 12 w 245"/>
                <a:gd name="T1" fmla="*/ 10 h 214"/>
                <a:gd name="T2" fmla="*/ 17 w 245"/>
                <a:gd name="T3" fmla="*/ 28 h 214"/>
                <a:gd name="T4" fmla="*/ 25 w 245"/>
                <a:gd name="T5" fmla="*/ 37 h 214"/>
                <a:gd name="T6" fmla="*/ 35 w 245"/>
                <a:gd name="T7" fmla="*/ 47 h 214"/>
                <a:gd name="T8" fmla="*/ 45 w 245"/>
                <a:gd name="T9" fmla="*/ 46 h 214"/>
                <a:gd name="T10" fmla="*/ 56 w 245"/>
                <a:gd name="T11" fmla="*/ 46 h 214"/>
                <a:gd name="T12" fmla="*/ 65 w 245"/>
                <a:gd name="T13" fmla="*/ 46 h 214"/>
                <a:gd name="T14" fmla="*/ 70 w 245"/>
                <a:gd name="T15" fmla="*/ 47 h 214"/>
                <a:gd name="T16" fmla="*/ 72 w 245"/>
                <a:gd name="T17" fmla="*/ 48 h 214"/>
                <a:gd name="T18" fmla="*/ 72 w 245"/>
                <a:gd name="T19" fmla="*/ 49 h 214"/>
                <a:gd name="T20" fmla="*/ 75 w 245"/>
                <a:gd name="T21" fmla="*/ 50 h 214"/>
                <a:gd name="T22" fmla="*/ 66 w 245"/>
                <a:gd name="T23" fmla="*/ 54 h 214"/>
                <a:gd name="T24" fmla="*/ 60 w 245"/>
                <a:gd name="T25" fmla="*/ 57 h 214"/>
                <a:gd name="T26" fmla="*/ 44 w 245"/>
                <a:gd name="T27" fmla="*/ 60 h 214"/>
                <a:gd name="T28" fmla="*/ 38 w 245"/>
                <a:gd name="T29" fmla="*/ 58 h 214"/>
                <a:gd name="T30" fmla="*/ 32 w 245"/>
                <a:gd name="T31" fmla="*/ 57 h 214"/>
                <a:gd name="T32" fmla="*/ 44 w 245"/>
                <a:gd name="T33" fmla="*/ 73 h 214"/>
                <a:gd name="T34" fmla="*/ 45 w 245"/>
                <a:gd name="T35" fmla="*/ 81 h 214"/>
                <a:gd name="T36" fmla="*/ 52 w 245"/>
                <a:gd name="T37" fmla="*/ 91 h 214"/>
                <a:gd name="T38" fmla="*/ 56 w 245"/>
                <a:gd name="T39" fmla="*/ 92 h 214"/>
                <a:gd name="T40" fmla="*/ 68 w 245"/>
                <a:gd name="T41" fmla="*/ 70 h 214"/>
                <a:gd name="T42" fmla="*/ 69 w 245"/>
                <a:gd name="T43" fmla="*/ 80 h 214"/>
                <a:gd name="T44" fmla="*/ 76 w 245"/>
                <a:gd name="T45" fmla="*/ 86 h 214"/>
                <a:gd name="T46" fmla="*/ 90 w 245"/>
                <a:gd name="T47" fmla="*/ 89 h 214"/>
                <a:gd name="T48" fmla="*/ 98 w 245"/>
                <a:gd name="T49" fmla="*/ 88 h 214"/>
                <a:gd name="T50" fmla="*/ 91 w 245"/>
                <a:gd name="T51" fmla="*/ 92 h 214"/>
                <a:gd name="T52" fmla="*/ 174 w 245"/>
                <a:gd name="T53" fmla="*/ 125 h 214"/>
                <a:gd name="T54" fmla="*/ 182 w 245"/>
                <a:gd name="T55" fmla="*/ 131 h 214"/>
                <a:gd name="T56" fmla="*/ 183 w 245"/>
                <a:gd name="T57" fmla="*/ 144 h 214"/>
                <a:gd name="T58" fmla="*/ 197 w 245"/>
                <a:gd name="T59" fmla="*/ 160 h 214"/>
                <a:gd name="T60" fmla="*/ 190 w 245"/>
                <a:gd name="T61" fmla="*/ 163 h 214"/>
                <a:gd name="T62" fmla="*/ 194 w 245"/>
                <a:gd name="T63" fmla="*/ 168 h 214"/>
                <a:gd name="T64" fmla="*/ 191 w 245"/>
                <a:gd name="T65" fmla="*/ 168 h 214"/>
                <a:gd name="T66" fmla="*/ 200 w 245"/>
                <a:gd name="T67" fmla="*/ 178 h 214"/>
                <a:gd name="T68" fmla="*/ 194 w 245"/>
                <a:gd name="T69" fmla="*/ 193 h 214"/>
                <a:gd name="T70" fmla="*/ 203 w 245"/>
                <a:gd name="T71" fmla="*/ 188 h 214"/>
                <a:gd name="T72" fmla="*/ 215 w 245"/>
                <a:gd name="T73" fmla="*/ 191 h 214"/>
                <a:gd name="T74" fmla="*/ 222 w 245"/>
                <a:gd name="T75" fmla="*/ 191 h 214"/>
                <a:gd name="T76" fmla="*/ 229 w 245"/>
                <a:gd name="T77" fmla="*/ 199 h 214"/>
                <a:gd name="T78" fmla="*/ 243 w 245"/>
                <a:gd name="T79" fmla="*/ 161 h 214"/>
                <a:gd name="T80" fmla="*/ 245 w 245"/>
                <a:gd name="T81" fmla="*/ 117 h 214"/>
                <a:gd name="T82" fmla="*/ 244 w 245"/>
                <a:gd name="T83" fmla="*/ 55 h 214"/>
                <a:gd name="T84" fmla="*/ 225 w 245"/>
                <a:gd name="T85" fmla="*/ 49 h 214"/>
                <a:gd name="T86" fmla="*/ 212 w 245"/>
                <a:gd name="T87" fmla="*/ 47 h 214"/>
                <a:gd name="T88" fmla="*/ 165 w 245"/>
                <a:gd name="T89" fmla="*/ 29 h 214"/>
                <a:gd name="T90" fmla="*/ 155 w 245"/>
                <a:gd name="T91" fmla="*/ 41 h 214"/>
                <a:gd name="T92" fmla="*/ 137 w 245"/>
                <a:gd name="T93" fmla="*/ 45 h 214"/>
                <a:gd name="T94" fmla="*/ 118 w 245"/>
                <a:gd name="T95" fmla="*/ 67 h 214"/>
                <a:gd name="T96" fmla="*/ 107 w 245"/>
                <a:gd name="T97" fmla="*/ 75 h 214"/>
                <a:gd name="T98" fmla="*/ 92 w 245"/>
                <a:gd name="T99" fmla="*/ 61 h 214"/>
                <a:gd name="T100" fmla="*/ 88 w 245"/>
                <a:gd name="T101" fmla="*/ 61 h 214"/>
                <a:gd name="T102" fmla="*/ 78 w 245"/>
                <a:gd name="T103" fmla="*/ 34 h 214"/>
                <a:gd name="T104" fmla="*/ 77 w 245"/>
                <a:gd name="T105" fmla="*/ 17 h 214"/>
                <a:gd name="T106" fmla="*/ 40 w 245"/>
                <a:gd name="T107" fmla="*/ 0 h 2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5" h="214">
                  <a:moveTo>
                    <a:pt x="38" y="0"/>
                  </a:moveTo>
                  <a:cubicBezTo>
                    <a:pt x="36" y="0"/>
                    <a:pt x="35" y="0"/>
                    <a:pt x="32" y="2"/>
                  </a:cubicBezTo>
                  <a:cubicBezTo>
                    <a:pt x="29" y="3"/>
                    <a:pt x="26" y="6"/>
                    <a:pt x="23" y="8"/>
                  </a:cubicBezTo>
                  <a:cubicBezTo>
                    <a:pt x="20" y="9"/>
                    <a:pt x="16" y="9"/>
                    <a:pt x="12" y="10"/>
                  </a:cubicBezTo>
                  <a:cubicBezTo>
                    <a:pt x="11" y="10"/>
                    <a:pt x="8" y="10"/>
                    <a:pt x="8" y="11"/>
                  </a:cubicBezTo>
                  <a:cubicBezTo>
                    <a:pt x="7" y="12"/>
                    <a:pt x="8" y="14"/>
                    <a:pt x="8" y="15"/>
                  </a:cubicBezTo>
                  <a:cubicBezTo>
                    <a:pt x="7" y="19"/>
                    <a:pt x="2" y="23"/>
                    <a:pt x="0" y="26"/>
                  </a:cubicBezTo>
                  <a:cubicBezTo>
                    <a:pt x="6" y="27"/>
                    <a:pt x="12" y="27"/>
                    <a:pt x="17" y="28"/>
                  </a:cubicBezTo>
                  <a:cubicBezTo>
                    <a:pt x="19" y="28"/>
                    <a:pt x="22" y="29"/>
                    <a:pt x="24" y="29"/>
                  </a:cubicBezTo>
                  <a:cubicBezTo>
                    <a:pt x="24" y="29"/>
                    <a:pt x="25" y="29"/>
                    <a:pt x="25" y="29"/>
                  </a:cubicBezTo>
                  <a:cubicBezTo>
                    <a:pt x="23" y="30"/>
                    <a:pt x="23" y="32"/>
                    <a:pt x="24" y="33"/>
                  </a:cubicBezTo>
                  <a:cubicBezTo>
                    <a:pt x="25" y="35"/>
                    <a:pt x="24" y="35"/>
                    <a:pt x="25" y="37"/>
                  </a:cubicBezTo>
                  <a:cubicBezTo>
                    <a:pt x="26" y="41"/>
                    <a:pt x="28" y="43"/>
                    <a:pt x="32" y="46"/>
                  </a:cubicBezTo>
                  <a:cubicBezTo>
                    <a:pt x="33" y="47"/>
                    <a:pt x="33" y="47"/>
                    <a:pt x="34" y="47"/>
                  </a:cubicBezTo>
                  <a:cubicBezTo>
                    <a:pt x="34" y="47"/>
                    <a:pt x="34" y="47"/>
                    <a:pt x="34" y="47"/>
                  </a:cubicBezTo>
                  <a:cubicBezTo>
                    <a:pt x="34" y="47"/>
                    <a:pt x="34" y="47"/>
                    <a:pt x="35" y="47"/>
                  </a:cubicBezTo>
                  <a:cubicBezTo>
                    <a:pt x="35" y="47"/>
                    <a:pt x="35" y="47"/>
                    <a:pt x="35" y="47"/>
                  </a:cubicBezTo>
                  <a:cubicBezTo>
                    <a:pt x="36" y="47"/>
                    <a:pt x="38" y="45"/>
                    <a:pt x="40" y="45"/>
                  </a:cubicBezTo>
                  <a:cubicBezTo>
                    <a:pt x="40" y="45"/>
                    <a:pt x="40" y="45"/>
                    <a:pt x="40" y="45"/>
                  </a:cubicBezTo>
                  <a:cubicBezTo>
                    <a:pt x="41" y="45"/>
                    <a:pt x="43" y="46"/>
                    <a:pt x="45" y="46"/>
                  </a:cubicBezTo>
                  <a:cubicBezTo>
                    <a:pt x="47" y="46"/>
                    <a:pt x="48" y="47"/>
                    <a:pt x="50" y="47"/>
                  </a:cubicBezTo>
                  <a:cubicBezTo>
                    <a:pt x="50" y="47"/>
                    <a:pt x="50" y="47"/>
                    <a:pt x="50" y="47"/>
                  </a:cubicBezTo>
                  <a:cubicBezTo>
                    <a:pt x="51" y="47"/>
                    <a:pt x="54" y="46"/>
                    <a:pt x="56" y="46"/>
                  </a:cubicBezTo>
                  <a:cubicBezTo>
                    <a:pt x="56" y="46"/>
                    <a:pt x="56" y="46"/>
                    <a:pt x="56" y="46"/>
                  </a:cubicBezTo>
                  <a:cubicBezTo>
                    <a:pt x="57" y="46"/>
                    <a:pt x="58" y="46"/>
                    <a:pt x="59" y="46"/>
                  </a:cubicBezTo>
                  <a:cubicBezTo>
                    <a:pt x="60" y="46"/>
                    <a:pt x="61" y="46"/>
                    <a:pt x="61" y="46"/>
                  </a:cubicBezTo>
                  <a:cubicBezTo>
                    <a:pt x="62" y="46"/>
                    <a:pt x="63" y="46"/>
                    <a:pt x="63" y="45"/>
                  </a:cubicBezTo>
                  <a:cubicBezTo>
                    <a:pt x="64" y="46"/>
                    <a:pt x="64" y="46"/>
                    <a:pt x="65" y="46"/>
                  </a:cubicBezTo>
                  <a:cubicBezTo>
                    <a:pt x="66" y="46"/>
                    <a:pt x="67" y="45"/>
                    <a:pt x="69" y="44"/>
                  </a:cubicBezTo>
                  <a:cubicBezTo>
                    <a:pt x="70" y="44"/>
                    <a:pt x="72" y="43"/>
                    <a:pt x="73" y="43"/>
                  </a:cubicBezTo>
                  <a:cubicBezTo>
                    <a:pt x="73" y="43"/>
                    <a:pt x="73" y="43"/>
                    <a:pt x="73" y="43"/>
                  </a:cubicBezTo>
                  <a:cubicBezTo>
                    <a:pt x="73" y="44"/>
                    <a:pt x="70" y="46"/>
                    <a:pt x="70" y="47"/>
                  </a:cubicBezTo>
                  <a:cubicBezTo>
                    <a:pt x="71" y="48"/>
                    <a:pt x="71" y="48"/>
                    <a:pt x="71" y="48"/>
                  </a:cubicBezTo>
                  <a:cubicBezTo>
                    <a:pt x="71" y="48"/>
                    <a:pt x="71" y="48"/>
                    <a:pt x="71" y="48"/>
                  </a:cubicBezTo>
                  <a:cubicBezTo>
                    <a:pt x="71" y="47"/>
                    <a:pt x="72" y="47"/>
                    <a:pt x="72" y="47"/>
                  </a:cubicBezTo>
                  <a:cubicBezTo>
                    <a:pt x="72" y="47"/>
                    <a:pt x="72" y="47"/>
                    <a:pt x="72" y="48"/>
                  </a:cubicBezTo>
                  <a:cubicBezTo>
                    <a:pt x="72" y="48"/>
                    <a:pt x="72" y="48"/>
                    <a:pt x="72" y="48"/>
                  </a:cubicBezTo>
                  <a:cubicBezTo>
                    <a:pt x="72" y="48"/>
                    <a:pt x="72" y="48"/>
                    <a:pt x="73" y="48"/>
                  </a:cubicBezTo>
                  <a:cubicBezTo>
                    <a:pt x="73" y="47"/>
                    <a:pt x="73" y="47"/>
                    <a:pt x="73" y="47"/>
                  </a:cubicBezTo>
                  <a:cubicBezTo>
                    <a:pt x="74" y="47"/>
                    <a:pt x="75" y="48"/>
                    <a:pt x="72" y="49"/>
                  </a:cubicBezTo>
                  <a:cubicBezTo>
                    <a:pt x="73" y="49"/>
                    <a:pt x="74" y="49"/>
                    <a:pt x="74" y="49"/>
                  </a:cubicBezTo>
                  <a:cubicBezTo>
                    <a:pt x="74" y="49"/>
                    <a:pt x="73" y="49"/>
                    <a:pt x="73" y="50"/>
                  </a:cubicBezTo>
                  <a:cubicBezTo>
                    <a:pt x="73" y="50"/>
                    <a:pt x="74" y="50"/>
                    <a:pt x="75" y="50"/>
                  </a:cubicBezTo>
                  <a:cubicBezTo>
                    <a:pt x="75" y="50"/>
                    <a:pt x="75" y="50"/>
                    <a:pt x="75" y="50"/>
                  </a:cubicBezTo>
                  <a:cubicBezTo>
                    <a:pt x="72" y="51"/>
                    <a:pt x="71" y="53"/>
                    <a:pt x="71" y="56"/>
                  </a:cubicBezTo>
                  <a:cubicBezTo>
                    <a:pt x="70" y="55"/>
                    <a:pt x="69" y="54"/>
                    <a:pt x="69" y="53"/>
                  </a:cubicBezTo>
                  <a:cubicBezTo>
                    <a:pt x="68" y="55"/>
                    <a:pt x="67" y="56"/>
                    <a:pt x="68" y="58"/>
                  </a:cubicBezTo>
                  <a:cubicBezTo>
                    <a:pt x="67" y="55"/>
                    <a:pt x="67" y="54"/>
                    <a:pt x="66" y="54"/>
                  </a:cubicBezTo>
                  <a:cubicBezTo>
                    <a:pt x="65" y="54"/>
                    <a:pt x="64" y="55"/>
                    <a:pt x="62" y="56"/>
                  </a:cubicBezTo>
                  <a:cubicBezTo>
                    <a:pt x="62" y="55"/>
                    <a:pt x="62" y="54"/>
                    <a:pt x="62" y="53"/>
                  </a:cubicBezTo>
                  <a:cubicBezTo>
                    <a:pt x="61" y="54"/>
                    <a:pt x="60" y="55"/>
                    <a:pt x="61" y="57"/>
                  </a:cubicBezTo>
                  <a:cubicBezTo>
                    <a:pt x="60" y="57"/>
                    <a:pt x="60" y="57"/>
                    <a:pt x="60" y="57"/>
                  </a:cubicBezTo>
                  <a:cubicBezTo>
                    <a:pt x="60" y="54"/>
                    <a:pt x="61" y="52"/>
                    <a:pt x="58" y="51"/>
                  </a:cubicBezTo>
                  <a:cubicBezTo>
                    <a:pt x="57" y="51"/>
                    <a:pt x="56" y="51"/>
                    <a:pt x="56" y="51"/>
                  </a:cubicBezTo>
                  <a:cubicBezTo>
                    <a:pt x="51" y="51"/>
                    <a:pt x="50" y="55"/>
                    <a:pt x="47" y="58"/>
                  </a:cubicBezTo>
                  <a:cubicBezTo>
                    <a:pt x="46" y="59"/>
                    <a:pt x="45" y="60"/>
                    <a:pt x="44" y="60"/>
                  </a:cubicBezTo>
                  <a:cubicBezTo>
                    <a:pt x="43" y="60"/>
                    <a:pt x="43" y="60"/>
                    <a:pt x="42" y="59"/>
                  </a:cubicBezTo>
                  <a:cubicBezTo>
                    <a:pt x="41" y="59"/>
                    <a:pt x="41" y="58"/>
                    <a:pt x="39" y="58"/>
                  </a:cubicBezTo>
                  <a:cubicBezTo>
                    <a:pt x="39" y="58"/>
                    <a:pt x="39" y="58"/>
                    <a:pt x="39" y="58"/>
                  </a:cubicBezTo>
                  <a:cubicBezTo>
                    <a:pt x="39" y="58"/>
                    <a:pt x="38" y="58"/>
                    <a:pt x="38" y="58"/>
                  </a:cubicBezTo>
                  <a:cubicBezTo>
                    <a:pt x="37" y="59"/>
                    <a:pt x="37" y="59"/>
                    <a:pt x="37" y="59"/>
                  </a:cubicBezTo>
                  <a:cubicBezTo>
                    <a:pt x="37" y="59"/>
                    <a:pt x="37" y="59"/>
                    <a:pt x="37" y="59"/>
                  </a:cubicBezTo>
                  <a:cubicBezTo>
                    <a:pt x="36" y="59"/>
                    <a:pt x="35" y="57"/>
                    <a:pt x="34" y="57"/>
                  </a:cubicBezTo>
                  <a:cubicBezTo>
                    <a:pt x="33" y="57"/>
                    <a:pt x="33" y="57"/>
                    <a:pt x="32" y="57"/>
                  </a:cubicBezTo>
                  <a:cubicBezTo>
                    <a:pt x="32" y="57"/>
                    <a:pt x="31" y="57"/>
                    <a:pt x="30" y="57"/>
                  </a:cubicBezTo>
                  <a:cubicBezTo>
                    <a:pt x="28" y="58"/>
                    <a:pt x="27" y="59"/>
                    <a:pt x="25" y="59"/>
                  </a:cubicBezTo>
                  <a:cubicBezTo>
                    <a:pt x="29" y="62"/>
                    <a:pt x="33" y="63"/>
                    <a:pt x="36" y="65"/>
                  </a:cubicBezTo>
                  <a:cubicBezTo>
                    <a:pt x="39" y="67"/>
                    <a:pt x="41" y="70"/>
                    <a:pt x="44" y="73"/>
                  </a:cubicBezTo>
                  <a:cubicBezTo>
                    <a:pt x="44" y="72"/>
                    <a:pt x="44" y="72"/>
                    <a:pt x="45" y="72"/>
                  </a:cubicBezTo>
                  <a:cubicBezTo>
                    <a:pt x="45" y="72"/>
                    <a:pt x="46" y="72"/>
                    <a:pt x="46" y="73"/>
                  </a:cubicBezTo>
                  <a:cubicBezTo>
                    <a:pt x="47" y="74"/>
                    <a:pt x="49" y="78"/>
                    <a:pt x="48" y="79"/>
                  </a:cubicBezTo>
                  <a:cubicBezTo>
                    <a:pt x="48" y="80"/>
                    <a:pt x="46" y="80"/>
                    <a:pt x="45" y="81"/>
                  </a:cubicBezTo>
                  <a:cubicBezTo>
                    <a:pt x="44" y="82"/>
                    <a:pt x="45" y="87"/>
                    <a:pt x="47" y="90"/>
                  </a:cubicBezTo>
                  <a:cubicBezTo>
                    <a:pt x="48" y="92"/>
                    <a:pt x="48" y="92"/>
                    <a:pt x="48" y="92"/>
                  </a:cubicBezTo>
                  <a:cubicBezTo>
                    <a:pt x="49" y="92"/>
                    <a:pt x="49" y="92"/>
                    <a:pt x="50" y="92"/>
                  </a:cubicBezTo>
                  <a:cubicBezTo>
                    <a:pt x="51" y="92"/>
                    <a:pt x="51" y="91"/>
                    <a:pt x="52" y="91"/>
                  </a:cubicBezTo>
                  <a:cubicBezTo>
                    <a:pt x="53" y="91"/>
                    <a:pt x="53" y="91"/>
                    <a:pt x="53" y="91"/>
                  </a:cubicBezTo>
                  <a:cubicBezTo>
                    <a:pt x="53" y="91"/>
                    <a:pt x="54" y="91"/>
                    <a:pt x="54" y="91"/>
                  </a:cubicBezTo>
                  <a:cubicBezTo>
                    <a:pt x="54" y="91"/>
                    <a:pt x="55" y="92"/>
                    <a:pt x="55" y="92"/>
                  </a:cubicBezTo>
                  <a:cubicBezTo>
                    <a:pt x="55" y="92"/>
                    <a:pt x="56" y="92"/>
                    <a:pt x="56" y="92"/>
                  </a:cubicBezTo>
                  <a:cubicBezTo>
                    <a:pt x="59" y="91"/>
                    <a:pt x="61" y="85"/>
                    <a:pt x="62" y="82"/>
                  </a:cubicBezTo>
                  <a:cubicBezTo>
                    <a:pt x="65" y="76"/>
                    <a:pt x="67" y="68"/>
                    <a:pt x="72" y="64"/>
                  </a:cubicBezTo>
                  <a:cubicBezTo>
                    <a:pt x="71" y="66"/>
                    <a:pt x="71" y="67"/>
                    <a:pt x="70" y="69"/>
                  </a:cubicBezTo>
                  <a:cubicBezTo>
                    <a:pt x="69" y="69"/>
                    <a:pt x="68" y="69"/>
                    <a:pt x="68" y="70"/>
                  </a:cubicBezTo>
                  <a:cubicBezTo>
                    <a:pt x="67" y="72"/>
                    <a:pt x="68" y="73"/>
                    <a:pt x="68" y="75"/>
                  </a:cubicBezTo>
                  <a:cubicBezTo>
                    <a:pt x="68" y="76"/>
                    <a:pt x="66" y="76"/>
                    <a:pt x="66" y="77"/>
                  </a:cubicBezTo>
                  <a:cubicBezTo>
                    <a:pt x="66" y="80"/>
                    <a:pt x="67" y="80"/>
                    <a:pt x="67" y="80"/>
                  </a:cubicBezTo>
                  <a:cubicBezTo>
                    <a:pt x="68" y="80"/>
                    <a:pt x="68" y="80"/>
                    <a:pt x="69" y="80"/>
                  </a:cubicBezTo>
                  <a:cubicBezTo>
                    <a:pt x="69" y="80"/>
                    <a:pt x="70" y="80"/>
                    <a:pt x="70" y="80"/>
                  </a:cubicBezTo>
                  <a:cubicBezTo>
                    <a:pt x="70" y="80"/>
                    <a:pt x="71" y="80"/>
                    <a:pt x="71" y="80"/>
                  </a:cubicBezTo>
                  <a:cubicBezTo>
                    <a:pt x="73" y="80"/>
                    <a:pt x="72" y="86"/>
                    <a:pt x="75" y="86"/>
                  </a:cubicBezTo>
                  <a:cubicBezTo>
                    <a:pt x="75" y="86"/>
                    <a:pt x="76" y="86"/>
                    <a:pt x="76" y="86"/>
                  </a:cubicBezTo>
                  <a:cubicBezTo>
                    <a:pt x="78" y="85"/>
                    <a:pt x="79" y="85"/>
                    <a:pt x="78" y="84"/>
                  </a:cubicBezTo>
                  <a:cubicBezTo>
                    <a:pt x="80" y="86"/>
                    <a:pt x="81" y="88"/>
                    <a:pt x="83" y="90"/>
                  </a:cubicBezTo>
                  <a:cubicBezTo>
                    <a:pt x="84" y="89"/>
                    <a:pt x="84" y="88"/>
                    <a:pt x="83" y="87"/>
                  </a:cubicBezTo>
                  <a:cubicBezTo>
                    <a:pt x="86" y="87"/>
                    <a:pt x="88" y="89"/>
                    <a:pt x="90" y="89"/>
                  </a:cubicBezTo>
                  <a:cubicBezTo>
                    <a:pt x="90" y="89"/>
                    <a:pt x="90" y="89"/>
                    <a:pt x="90" y="89"/>
                  </a:cubicBezTo>
                  <a:cubicBezTo>
                    <a:pt x="91" y="89"/>
                    <a:pt x="92" y="88"/>
                    <a:pt x="92" y="88"/>
                  </a:cubicBezTo>
                  <a:cubicBezTo>
                    <a:pt x="92" y="87"/>
                    <a:pt x="93" y="87"/>
                    <a:pt x="93" y="87"/>
                  </a:cubicBezTo>
                  <a:cubicBezTo>
                    <a:pt x="95" y="87"/>
                    <a:pt x="97" y="88"/>
                    <a:pt x="98" y="88"/>
                  </a:cubicBezTo>
                  <a:cubicBezTo>
                    <a:pt x="97" y="88"/>
                    <a:pt x="96" y="88"/>
                    <a:pt x="96" y="88"/>
                  </a:cubicBezTo>
                  <a:cubicBezTo>
                    <a:pt x="95" y="88"/>
                    <a:pt x="95" y="88"/>
                    <a:pt x="95" y="88"/>
                  </a:cubicBezTo>
                  <a:cubicBezTo>
                    <a:pt x="94" y="88"/>
                    <a:pt x="94" y="88"/>
                    <a:pt x="94" y="88"/>
                  </a:cubicBezTo>
                  <a:cubicBezTo>
                    <a:pt x="93" y="88"/>
                    <a:pt x="92" y="89"/>
                    <a:pt x="91" y="92"/>
                  </a:cubicBezTo>
                  <a:cubicBezTo>
                    <a:pt x="90" y="95"/>
                    <a:pt x="112" y="101"/>
                    <a:pt x="114" y="101"/>
                  </a:cubicBezTo>
                  <a:cubicBezTo>
                    <a:pt x="128" y="106"/>
                    <a:pt x="143" y="111"/>
                    <a:pt x="158" y="116"/>
                  </a:cubicBezTo>
                  <a:cubicBezTo>
                    <a:pt x="165" y="118"/>
                    <a:pt x="170" y="121"/>
                    <a:pt x="175" y="126"/>
                  </a:cubicBezTo>
                  <a:cubicBezTo>
                    <a:pt x="174" y="125"/>
                    <a:pt x="174" y="125"/>
                    <a:pt x="174" y="125"/>
                  </a:cubicBezTo>
                  <a:cubicBezTo>
                    <a:pt x="175" y="125"/>
                    <a:pt x="175" y="125"/>
                    <a:pt x="175" y="124"/>
                  </a:cubicBezTo>
                  <a:cubicBezTo>
                    <a:pt x="175" y="126"/>
                    <a:pt x="174" y="132"/>
                    <a:pt x="177" y="132"/>
                  </a:cubicBezTo>
                  <a:cubicBezTo>
                    <a:pt x="177" y="132"/>
                    <a:pt x="177" y="132"/>
                    <a:pt x="177" y="132"/>
                  </a:cubicBezTo>
                  <a:cubicBezTo>
                    <a:pt x="179" y="132"/>
                    <a:pt x="180" y="131"/>
                    <a:pt x="182" y="131"/>
                  </a:cubicBezTo>
                  <a:cubicBezTo>
                    <a:pt x="181" y="132"/>
                    <a:pt x="179" y="132"/>
                    <a:pt x="178" y="133"/>
                  </a:cubicBezTo>
                  <a:cubicBezTo>
                    <a:pt x="179" y="134"/>
                    <a:pt x="181" y="135"/>
                    <a:pt x="183" y="135"/>
                  </a:cubicBezTo>
                  <a:cubicBezTo>
                    <a:pt x="183" y="135"/>
                    <a:pt x="183" y="135"/>
                    <a:pt x="184" y="135"/>
                  </a:cubicBezTo>
                  <a:cubicBezTo>
                    <a:pt x="178" y="137"/>
                    <a:pt x="181" y="139"/>
                    <a:pt x="183" y="144"/>
                  </a:cubicBezTo>
                  <a:cubicBezTo>
                    <a:pt x="185" y="150"/>
                    <a:pt x="190" y="152"/>
                    <a:pt x="194" y="156"/>
                  </a:cubicBezTo>
                  <a:cubicBezTo>
                    <a:pt x="193" y="156"/>
                    <a:pt x="192" y="156"/>
                    <a:pt x="191" y="156"/>
                  </a:cubicBezTo>
                  <a:cubicBezTo>
                    <a:pt x="190" y="156"/>
                    <a:pt x="190" y="156"/>
                    <a:pt x="190" y="156"/>
                  </a:cubicBezTo>
                  <a:cubicBezTo>
                    <a:pt x="190" y="156"/>
                    <a:pt x="194" y="158"/>
                    <a:pt x="197" y="160"/>
                  </a:cubicBezTo>
                  <a:cubicBezTo>
                    <a:pt x="197" y="160"/>
                    <a:pt x="196" y="160"/>
                    <a:pt x="196" y="160"/>
                  </a:cubicBezTo>
                  <a:cubicBezTo>
                    <a:pt x="195" y="160"/>
                    <a:pt x="194" y="160"/>
                    <a:pt x="193" y="160"/>
                  </a:cubicBezTo>
                  <a:cubicBezTo>
                    <a:pt x="192" y="161"/>
                    <a:pt x="189" y="160"/>
                    <a:pt x="188" y="161"/>
                  </a:cubicBezTo>
                  <a:cubicBezTo>
                    <a:pt x="186" y="162"/>
                    <a:pt x="188" y="163"/>
                    <a:pt x="190" y="163"/>
                  </a:cubicBezTo>
                  <a:cubicBezTo>
                    <a:pt x="194" y="165"/>
                    <a:pt x="199" y="167"/>
                    <a:pt x="203" y="169"/>
                  </a:cubicBezTo>
                  <a:cubicBezTo>
                    <a:pt x="202" y="169"/>
                    <a:pt x="202" y="169"/>
                    <a:pt x="201" y="169"/>
                  </a:cubicBezTo>
                  <a:cubicBezTo>
                    <a:pt x="200" y="169"/>
                    <a:pt x="199" y="169"/>
                    <a:pt x="197" y="169"/>
                  </a:cubicBezTo>
                  <a:cubicBezTo>
                    <a:pt x="196" y="169"/>
                    <a:pt x="195" y="168"/>
                    <a:pt x="194" y="168"/>
                  </a:cubicBezTo>
                  <a:cubicBezTo>
                    <a:pt x="193" y="168"/>
                    <a:pt x="193" y="168"/>
                    <a:pt x="192" y="169"/>
                  </a:cubicBezTo>
                  <a:cubicBezTo>
                    <a:pt x="192" y="169"/>
                    <a:pt x="192" y="169"/>
                    <a:pt x="192" y="169"/>
                  </a:cubicBezTo>
                  <a:cubicBezTo>
                    <a:pt x="192" y="169"/>
                    <a:pt x="192" y="169"/>
                    <a:pt x="191" y="169"/>
                  </a:cubicBezTo>
                  <a:cubicBezTo>
                    <a:pt x="191" y="168"/>
                    <a:pt x="191" y="168"/>
                    <a:pt x="191" y="168"/>
                  </a:cubicBezTo>
                  <a:cubicBezTo>
                    <a:pt x="190" y="168"/>
                    <a:pt x="190" y="168"/>
                    <a:pt x="190" y="169"/>
                  </a:cubicBezTo>
                  <a:cubicBezTo>
                    <a:pt x="190" y="169"/>
                    <a:pt x="193" y="173"/>
                    <a:pt x="194" y="173"/>
                  </a:cubicBezTo>
                  <a:cubicBezTo>
                    <a:pt x="195" y="175"/>
                    <a:pt x="198" y="176"/>
                    <a:pt x="199" y="178"/>
                  </a:cubicBezTo>
                  <a:cubicBezTo>
                    <a:pt x="199" y="178"/>
                    <a:pt x="200" y="178"/>
                    <a:pt x="200" y="178"/>
                  </a:cubicBezTo>
                  <a:cubicBezTo>
                    <a:pt x="200" y="179"/>
                    <a:pt x="199" y="184"/>
                    <a:pt x="198" y="185"/>
                  </a:cubicBezTo>
                  <a:cubicBezTo>
                    <a:pt x="198" y="186"/>
                    <a:pt x="197" y="186"/>
                    <a:pt x="196" y="187"/>
                  </a:cubicBezTo>
                  <a:cubicBezTo>
                    <a:pt x="196" y="188"/>
                    <a:pt x="197" y="190"/>
                    <a:pt x="196" y="191"/>
                  </a:cubicBezTo>
                  <a:cubicBezTo>
                    <a:pt x="196" y="192"/>
                    <a:pt x="195" y="190"/>
                    <a:pt x="194" y="193"/>
                  </a:cubicBezTo>
                  <a:cubicBezTo>
                    <a:pt x="194" y="193"/>
                    <a:pt x="196" y="195"/>
                    <a:pt x="196" y="196"/>
                  </a:cubicBezTo>
                  <a:cubicBezTo>
                    <a:pt x="197" y="194"/>
                    <a:pt x="199" y="193"/>
                    <a:pt x="200" y="192"/>
                  </a:cubicBezTo>
                  <a:cubicBezTo>
                    <a:pt x="201" y="192"/>
                    <a:pt x="203" y="191"/>
                    <a:pt x="204" y="191"/>
                  </a:cubicBezTo>
                  <a:cubicBezTo>
                    <a:pt x="204" y="190"/>
                    <a:pt x="203" y="188"/>
                    <a:pt x="203" y="188"/>
                  </a:cubicBezTo>
                  <a:cubicBezTo>
                    <a:pt x="204" y="188"/>
                    <a:pt x="204" y="187"/>
                    <a:pt x="204" y="187"/>
                  </a:cubicBezTo>
                  <a:cubicBezTo>
                    <a:pt x="204" y="187"/>
                    <a:pt x="204" y="191"/>
                    <a:pt x="204" y="192"/>
                  </a:cubicBezTo>
                  <a:cubicBezTo>
                    <a:pt x="205" y="193"/>
                    <a:pt x="206" y="193"/>
                    <a:pt x="208" y="193"/>
                  </a:cubicBezTo>
                  <a:cubicBezTo>
                    <a:pt x="210" y="193"/>
                    <a:pt x="213" y="192"/>
                    <a:pt x="215" y="191"/>
                  </a:cubicBezTo>
                  <a:cubicBezTo>
                    <a:pt x="216" y="191"/>
                    <a:pt x="216" y="191"/>
                    <a:pt x="217" y="191"/>
                  </a:cubicBezTo>
                  <a:cubicBezTo>
                    <a:pt x="217" y="191"/>
                    <a:pt x="218" y="191"/>
                    <a:pt x="218" y="191"/>
                  </a:cubicBezTo>
                  <a:cubicBezTo>
                    <a:pt x="218" y="191"/>
                    <a:pt x="219" y="191"/>
                    <a:pt x="219" y="191"/>
                  </a:cubicBezTo>
                  <a:cubicBezTo>
                    <a:pt x="220" y="191"/>
                    <a:pt x="222" y="191"/>
                    <a:pt x="222" y="191"/>
                  </a:cubicBezTo>
                  <a:cubicBezTo>
                    <a:pt x="224" y="190"/>
                    <a:pt x="224" y="187"/>
                    <a:pt x="225" y="187"/>
                  </a:cubicBezTo>
                  <a:cubicBezTo>
                    <a:pt x="223" y="188"/>
                    <a:pt x="225" y="189"/>
                    <a:pt x="225" y="190"/>
                  </a:cubicBezTo>
                  <a:cubicBezTo>
                    <a:pt x="224" y="191"/>
                    <a:pt x="223" y="191"/>
                    <a:pt x="222" y="192"/>
                  </a:cubicBezTo>
                  <a:cubicBezTo>
                    <a:pt x="222" y="194"/>
                    <a:pt x="227" y="198"/>
                    <a:pt x="229" y="199"/>
                  </a:cubicBezTo>
                  <a:cubicBezTo>
                    <a:pt x="234" y="204"/>
                    <a:pt x="240" y="209"/>
                    <a:pt x="245" y="214"/>
                  </a:cubicBezTo>
                  <a:cubicBezTo>
                    <a:pt x="245" y="163"/>
                    <a:pt x="245" y="163"/>
                    <a:pt x="245" y="163"/>
                  </a:cubicBezTo>
                  <a:cubicBezTo>
                    <a:pt x="244" y="162"/>
                    <a:pt x="244" y="162"/>
                    <a:pt x="244" y="162"/>
                  </a:cubicBezTo>
                  <a:cubicBezTo>
                    <a:pt x="244" y="162"/>
                    <a:pt x="243" y="162"/>
                    <a:pt x="243" y="161"/>
                  </a:cubicBezTo>
                  <a:cubicBezTo>
                    <a:pt x="242" y="160"/>
                    <a:pt x="242" y="159"/>
                    <a:pt x="242" y="158"/>
                  </a:cubicBezTo>
                  <a:cubicBezTo>
                    <a:pt x="244" y="134"/>
                    <a:pt x="244" y="134"/>
                    <a:pt x="244" y="134"/>
                  </a:cubicBezTo>
                  <a:cubicBezTo>
                    <a:pt x="244" y="130"/>
                    <a:pt x="244" y="125"/>
                    <a:pt x="244" y="121"/>
                  </a:cubicBezTo>
                  <a:cubicBezTo>
                    <a:pt x="245" y="117"/>
                    <a:pt x="245" y="117"/>
                    <a:pt x="245" y="117"/>
                  </a:cubicBezTo>
                  <a:cubicBezTo>
                    <a:pt x="245" y="116"/>
                    <a:pt x="245" y="115"/>
                    <a:pt x="245" y="114"/>
                  </a:cubicBezTo>
                  <a:cubicBezTo>
                    <a:pt x="245" y="111"/>
                    <a:pt x="245" y="111"/>
                    <a:pt x="245" y="111"/>
                  </a:cubicBezTo>
                  <a:cubicBezTo>
                    <a:pt x="245" y="100"/>
                    <a:pt x="245" y="88"/>
                    <a:pt x="245" y="77"/>
                  </a:cubicBezTo>
                  <a:cubicBezTo>
                    <a:pt x="245" y="69"/>
                    <a:pt x="244" y="62"/>
                    <a:pt x="244" y="55"/>
                  </a:cubicBezTo>
                  <a:cubicBezTo>
                    <a:pt x="243" y="55"/>
                    <a:pt x="242" y="55"/>
                    <a:pt x="241" y="56"/>
                  </a:cubicBezTo>
                  <a:cubicBezTo>
                    <a:pt x="240" y="55"/>
                    <a:pt x="240" y="52"/>
                    <a:pt x="239" y="52"/>
                  </a:cubicBezTo>
                  <a:cubicBezTo>
                    <a:pt x="235" y="51"/>
                    <a:pt x="231" y="50"/>
                    <a:pt x="228" y="50"/>
                  </a:cubicBezTo>
                  <a:cubicBezTo>
                    <a:pt x="227" y="49"/>
                    <a:pt x="226" y="49"/>
                    <a:pt x="225" y="49"/>
                  </a:cubicBezTo>
                  <a:cubicBezTo>
                    <a:pt x="225" y="49"/>
                    <a:pt x="224" y="49"/>
                    <a:pt x="223" y="49"/>
                  </a:cubicBezTo>
                  <a:cubicBezTo>
                    <a:pt x="222" y="50"/>
                    <a:pt x="221" y="50"/>
                    <a:pt x="221" y="50"/>
                  </a:cubicBezTo>
                  <a:cubicBezTo>
                    <a:pt x="220" y="50"/>
                    <a:pt x="219" y="50"/>
                    <a:pt x="219" y="49"/>
                  </a:cubicBezTo>
                  <a:cubicBezTo>
                    <a:pt x="216" y="49"/>
                    <a:pt x="214" y="48"/>
                    <a:pt x="212" y="47"/>
                  </a:cubicBezTo>
                  <a:cubicBezTo>
                    <a:pt x="205" y="43"/>
                    <a:pt x="198" y="40"/>
                    <a:pt x="191" y="37"/>
                  </a:cubicBezTo>
                  <a:cubicBezTo>
                    <a:pt x="185" y="34"/>
                    <a:pt x="179" y="31"/>
                    <a:pt x="173" y="28"/>
                  </a:cubicBezTo>
                  <a:cubicBezTo>
                    <a:pt x="172" y="28"/>
                    <a:pt x="171" y="28"/>
                    <a:pt x="171" y="28"/>
                  </a:cubicBezTo>
                  <a:cubicBezTo>
                    <a:pt x="169" y="28"/>
                    <a:pt x="166" y="29"/>
                    <a:pt x="165" y="29"/>
                  </a:cubicBezTo>
                  <a:cubicBezTo>
                    <a:pt x="162" y="30"/>
                    <a:pt x="159" y="32"/>
                    <a:pt x="157" y="34"/>
                  </a:cubicBezTo>
                  <a:cubicBezTo>
                    <a:pt x="155" y="34"/>
                    <a:pt x="152" y="34"/>
                    <a:pt x="153" y="37"/>
                  </a:cubicBezTo>
                  <a:cubicBezTo>
                    <a:pt x="153" y="38"/>
                    <a:pt x="154" y="39"/>
                    <a:pt x="154" y="40"/>
                  </a:cubicBezTo>
                  <a:cubicBezTo>
                    <a:pt x="155" y="41"/>
                    <a:pt x="155" y="41"/>
                    <a:pt x="155" y="41"/>
                  </a:cubicBezTo>
                  <a:cubicBezTo>
                    <a:pt x="154" y="43"/>
                    <a:pt x="151" y="43"/>
                    <a:pt x="150" y="44"/>
                  </a:cubicBezTo>
                  <a:cubicBezTo>
                    <a:pt x="147" y="45"/>
                    <a:pt x="143" y="47"/>
                    <a:pt x="140" y="47"/>
                  </a:cubicBezTo>
                  <a:cubicBezTo>
                    <a:pt x="140" y="47"/>
                    <a:pt x="140" y="47"/>
                    <a:pt x="139" y="47"/>
                  </a:cubicBezTo>
                  <a:cubicBezTo>
                    <a:pt x="138" y="46"/>
                    <a:pt x="138" y="45"/>
                    <a:pt x="137" y="45"/>
                  </a:cubicBezTo>
                  <a:cubicBezTo>
                    <a:pt x="134" y="45"/>
                    <a:pt x="133" y="48"/>
                    <a:pt x="131" y="50"/>
                  </a:cubicBezTo>
                  <a:cubicBezTo>
                    <a:pt x="128" y="54"/>
                    <a:pt x="125" y="58"/>
                    <a:pt x="123" y="62"/>
                  </a:cubicBezTo>
                  <a:cubicBezTo>
                    <a:pt x="122" y="63"/>
                    <a:pt x="123" y="64"/>
                    <a:pt x="122" y="65"/>
                  </a:cubicBezTo>
                  <a:cubicBezTo>
                    <a:pt x="121" y="66"/>
                    <a:pt x="119" y="66"/>
                    <a:pt x="118" y="67"/>
                  </a:cubicBezTo>
                  <a:cubicBezTo>
                    <a:pt x="118" y="67"/>
                    <a:pt x="119" y="67"/>
                    <a:pt x="118" y="68"/>
                  </a:cubicBezTo>
                  <a:cubicBezTo>
                    <a:pt x="117" y="69"/>
                    <a:pt x="116" y="69"/>
                    <a:pt x="115" y="70"/>
                  </a:cubicBezTo>
                  <a:cubicBezTo>
                    <a:pt x="114" y="71"/>
                    <a:pt x="114" y="72"/>
                    <a:pt x="113" y="72"/>
                  </a:cubicBezTo>
                  <a:cubicBezTo>
                    <a:pt x="112" y="74"/>
                    <a:pt x="110" y="75"/>
                    <a:pt x="107" y="75"/>
                  </a:cubicBezTo>
                  <a:cubicBezTo>
                    <a:pt x="106" y="75"/>
                    <a:pt x="104" y="74"/>
                    <a:pt x="103" y="74"/>
                  </a:cubicBezTo>
                  <a:cubicBezTo>
                    <a:pt x="97" y="73"/>
                    <a:pt x="96" y="69"/>
                    <a:pt x="96" y="63"/>
                  </a:cubicBezTo>
                  <a:cubicBezTo>
                    <a:pt x="95" y="64"/>
                    <a:pt x="94" y="64"/>
                    <a:pt x="93" y="64"/>
                  </a:cubicBezTo>
                  <a:cubicBezTo>
                    <a:pt x="93" y="64"/>
                    <a:pt x="92" y="64"/>
                    <a:pt x="92" y="61"/>
                  </a:cubicBezTo>
                  <a:cubicBezTo>
                    <a:pt x="91" y="60"/>
                    <a:pt x="92" y="55"/>
                    <a:pt x="91" y="54"/>
                  </a:cubicBezTo>
                  <a:cubicBezTo>
                    <a:pt x="91" y="53"/>
                    <a:pt x="90" y="53"/>
                    <a:pt x="89" y="53"/>
                  </a:cubicBezTo>
                  <a:cubicBezTo>
                    <a:pt x="88" y="53"/>
                    <a:pt x="87" y="54"/>
                    <a:pt x="87" y="56"/>
                  </a:cubicBezTo>
                  <a:cubicBezTo>
                    <a:pt x="87" y="57"/>
                    <a:pt x="89" y="60"/>
                    <a:pt x="88" y="61"/>
                  </a:cubicBezTo>
                  <a:cubicBezTo>
                    <a:pt x="88" y="61"/>
                    <a:pt x="88" y="62"/>
                    <a:pt x="87" y="62"/>
                  </a:cubicBezTo>
                  <a:cubicBezTo>
                    <a:pt x="87" y="62"/>
                    <a:pt x="86" y="61"/>
                    <a:pt x="86" y="60"/>
                  </a:cubicBezTo>
                  <a:cubicBezTo>
                    <a:pt x="84" y="55"/>
                    <a:pt x="82" y="50"/>
                    <a:pt x="81" y="46"/>
                  </a:cubicBezTo>
                  <a:cubicBezTo>
                    <a:pt x="80" y="42"/>
                    <a:pt x="78" y="38"/>
                    <a:pt x="78" y="34"/>
                  </a:cubicBezTo>
                  <a:cubicBezTo>
                    <a:pt x="78" y="32"/>
                    <a:pt x="78" y="33"/>
                    <a:pt x="79" y="32"/>
                  </a:cubicBezTo>
                  <a:cubicBezTo>
                    <a:pt x="80" y="29"/>
                    <a:pt x="81" y="29"/>
                    <a:pt x="81" y="26"/>
                  </a:cubicBezTo>
                  <a:cubicBezTo>
                    <a:pt x="81" y="24"/>
                    <a:pt x="82" y="25"/>
                    <a:pt x="81" y="23"/>
                  </a:cubicBezTo>
                  <a:cubicBezTo>
                    <a:pt x="80" y="21"/>
                    <a:pt x="78" y="19"/>
                    <a:pt x="77" y="17"/>
                  </a:cubicBezTo>
                  <a:cubicBezTo>
                    <a:pt x="76" y="15"/>
                    <a:pt x="76" y="13"/>
                    <a:pt x="79" y="13"/>
                  </a:cubicBezTo>
                  <a:cubicBezTo>
                    <a:pt x="79" y="13"/>
                    <a:pt x="79" y="13"/>
                    <a:pt x="80" y="13"/>
                  </a:cubicBezTo>
                  <a:cubicBezTo>
                    <a:pt x="73" y="11"/>
                    <a:pt x="65" y="11"/>
                    <a:pt x="59" y="8"/>
                  </a:cubicBezTo>
                  <a:cubicBezTo>
                    <a:pt x="53" y="5"/>
                    <a:pt x="47" y="1"/>
                    <a:pt x="40" y="0"/>
                  </a:cubicBezTo>
                  <a:cubicBezTo>
                    <a:pt x="39" y="0"/>
                    <a:pt x="39"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461"/>
            <p:cNvSpPr/>
            <p:nvPr/>
          </p:nvSpPr>
          <p:spPr bwMode="auto">
            <a:xfrm>
              <a:off x="6143703" y="5517561"/>
              <a:ext cx="792444" cy="660818"/>
            </a:xfrm>
            <a:custGeom>
              <a:gdLst>
                <a:gd name="T0" fmla="*/ 175 w 250"/>
                <a:gd name="T1" fmla="*/ 1 h 208"/>
                <a:gd name="T2" fmla="*/ 162 w 250"/>
                <a:gd name="T3" fmla="*/ 33 h 208"/>
                <a:gd name="T4" fmla="*/ 157 w 250"/>
                <a:gd name="T5" fmla="*/ 38 h 208"/>
                <a:gd name="T6" fmla="*/ 160 w 250"/>
                <a:gd name="T7" fmla="*/ 41 h 208"/>
                <a:gd name="T8" fmla="*/ 152 w 250"/>
                <a:gd name="T9" fmla="*/ 49 h 208"/>
                <a:gd name="T10" fmla="*/ 150 w 250"/>
                <a:gd name="T11" fmla="*/ 52 h 208"/>
                <a:gd name="T12" fmla="*/ 147 w 250"/>
                <a:gd name="T13" fmla="*/ 62 h 208"/>
                <a:gd name="T14" fmla="*/ 138 w 250"/>
                <a:gd name="T15" fmla="*/ 73 h 208"/>
                <a:gd name="T16" fmla="*/ 136 w 250"/>
                <a:gd name="T17" fmla="*/ 73 h 208"/>
                <a:gd name="T18" fmla="*/ 130 w 250"/>
                <a:gd name="T19" fmla="*/ 73 h 208"/>
                <a:gd name="T20" fmla="*/ 118 w 250"/>
                <a:gd name="T21" fmla="*/ 77 h 208"/>
                <a:gd name="T22" fmla="*/ 96 w 250"/>
                <a:gd name="T23" fmla="*/ 71 h 208"/>
                <a:gd name="T24" fmla="*/ 85 w 250"/>
                <a:gd name="T25" fmla="*/ 72 h 208"/>
                <a:gd name="T26" fmla="*/ 71 w 250"/>
                <a:gd name="T27" fmla="*/ 83 h 208"/>
                <a:gd name="T28" fmla="*/ 55 w 250"/>
                <a:gd name="T29" fmla="*/ 83 h 208"/>
                <a:gd name="T30" fmla="*/ 41 w 250"/>
                <a:gd name="T31" fmla="*/ 87 h 208"/>
                <a:gd name="T32" fmla="*/ 34 w 250"/>
                <a:gd name="T33" fmla="*/ 82 h 208"/>
                <a:gd name="T34" fmla="*/ 16 w 250"/>
                <a:gd name="T35" fmla="*/ 56 h 208"/>
                <a:gd name="T36" fmla="*/ 2 w 250"/>
                <a:gd name="T37" fmla="*/ 76 h 208"/>
                <a:gd name="T38" fmla="*/ 7 w 250"/>
                <a:gd name="T39" fmla="*/ 101 h 208"/>
                <a:gd name="T40" fmla="*/ 9 w 250"/>
                <a:gd name="T41" fmla="*/ 111 h 208"/>
                <a:gd name="T42" fmla="*/ 12 w 250"/>
                <a:gd name="T43" fmla="*/ 127 h 208"/>
                <a:gd name="T44" fmla="*/ 28 w 250"/>
                <a:gd name="T45" fmla="*/ 148 h 208"/>
                <a:gd name="T46" fmla="*/ 31 w 250"/>
                <a:gd name="T47" fmla="*/ 156 h 208"/>
                <a:gd name="T48" fmla="*/ 42 w 250"/>
                <a:gd name="T49" fmla="*/ 180 h 208"/>
                <a:gd name="T50" fmla="*/ 47 w 250"/>
                <a:gd name="T51" fmla="*/ 180 h 208"/>
                <a:gd name="T52" fmla="*/ 53 w 250"/>
                <a:gd name="T53" fmla="*/ 181 h 208"/>
                <a:gd name="T54" fmla="*/ 64 w 250"/>
                <a:gd name="T55" fmla="*/ 178 h 208"/>
                <a:gd name="T56" fmla="*/ 71 w 250"/>
                <a:gd name="T57" fmla="*/ 173 h 208"/>
                <a:gd name="T58" fmla="*/ 103 w 250"/>
                <a:gd name="T59" fmla="*/ 177 h 208"/>
                <a:gd name="T60" fmla="*/ 117 w 250"/>
                <a:gd name="T61" fmla="*/ 183 h 208"/>
                <a:gd name="T62" fmla="*/ 130 w 250"/>
                <a:gd name="T63" fmla="*/ 184 h 208"/>
                <a:gd name="T64" fmla="*/ 138 w 250"/>
                <a:gd name="T65" fmla="*/ 191 h 208"/>
                <a:gd name="T66" fmla="*/ 143 w 250"/>
                <a:gd name="T67" fmla="*/ 208 h 208"/>
                <a:gd name="T68" fmla="*/ 156 w 250"/>
                <a:gd name="T69" fmla="*/ 202 h 208"/>
                <a:gd name="T70" fmla="*/ 182 w 250"/>
                <a:gd name="T71" fmla="*/ 182 h 208"/>
                <a:gd name="T72" fmla="*/ 183 w 250"/>
                <a:gd name="T73" fmla="*/ 167 h 208"/>
                <a:gd name="T74" fmla="*/ 182 w 250"/>
                <a:gd name="T75" fmla="*/ 149 h 208"/>
                <a:gd name="T76" fmla="*/ 197 w 250"/>
                <a:gd name="T77" fmla="*/ 136 h 208"/>
                <a:gd name="T78" fmla="*/ 216 w 250"/>
                <a:gd name="T79" fmla="*/ 124 h 208"/>
                <a:gd name="T80" fmla="*/ 213 w 250"/>
                <a:gd name="T81" fmla="*/ 105 h 208"/>
                <a:gd name="T82" fmla="*/ 224 w 250"/>
                <a:gd name="T83" fmla="*/ 85 h 208"/>
                <a:gd name="T84" fmla="*/ 223 w 250"/>
                <a:gd name="T85" fmla="*/ 77 h 208"/>
                <a:gd name="T86" fmla="*/ 250 w 250"/>
                <a:gd name="T87" fmla="*/ 79 h 208"/>
                <a:gd name="T88" fmla="*/ 221 w 250"/>
                <a:gd name="T89" fmla="*/ 53 h 208"/>
                <a:gd name="T90" fmla="*/ 216 w 250"/>
                <a:gd name="T91" fmla="*/ 35 h 208"/>
                <a:gd name="T92" fmla="*/ 212 w 250"/>
                <a:gd name="T93" fmla="*/ 28 h 208"/>
                <a:gd name="T94" fmla="*/ 208 w 250"/>
                <a:gd name="T95" fmla="*/ 25 h 208"/>
                <a:gd name="T96" fmla="*/ 209 w 250"/>
                <a:gd name="T97" fmla="*/ 24 h 208"/>
                <a:gd name="T98" fmla="*/ 209 w 250"/>
                <a:gd name="T99" fmla="*/ 20 h 208"/>
                <a:gd name="T100" fmla="*/ 204 w 250"/>
                <a:gd name="T101" fmla="*/ 17 h 208"/>
                <a:gd name="T102" fmla="*/ 210 w 250"/>
                <a:gd name="T103" fmla="*/ 16 h 208"/>
                <a:gd name="T104" fmla="*/ 217 w 250"/>
                <a:gd name="T105" fmla="*/ 10 h 208"/>
                <a:gd name="T106" fmla="*/ 209 w 250"/>
                <a:gd name="T107" fmla="*/ 4 h 2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0" h="208">
                  <a:moveTo>
                    <a:pt x="190" y="0"/>
                  </a:moveTo>
                  <a:cubicBezTo>
                    <a:pt x="190" y="0"/>
                    <a:pt x="189" y="0"/>
                    <a:pt x="188" y="0"/>
                  </a:cubicBezTo>
                  <a:cubicBezTo>
                    <a:pt x="184" y="0"/>
                    <a:pt x="180" y="1"/>
                    <a:pt x="178" y="1"/>
                  </a:cubicBezTo>
                  <a:cubicBezTo>
                    <a:pt x="177" y="1"/>
                    <a:pt x="176" y="1"/>
                    <a:pt x="175" y="1"/>
                  </a:cubicBezTo>
                  <a:cubicBezTo>
                    <a:pt x="175" y="1"/>
                    <a:pt x="174" y="1"/>
                    <a:pt x="174" y="1"/>
                  </a:cubicBezTo>
                  <a:cubicBezTo>
                    <a:pt x="170" y="4"/>
                    <a:pt x="168" y="8"/>
                    <a:pt x="169" y="10"/>
                  </a:cubicBezTo>
                  <a:cubicBezTo>
                    <a:pt x="169" y="17"/>
                    <a:pt x="170" y="22"/>
                    <a:pt x="168" y="28"/>
                  </a:cubicBezTo>
                  <a:cubicBezTo>
                    <a:pt x="167" y="30"/>
                    <a:pt x="166" y="33"/>
                    <a:pt x="162" y="33"/>
                  </a:cubicBezTo>
                  <a:cubicBezTo>
                    <a:pt x="162" y="33"/>
                    <a:pt x="161" y="33"/>
                    <a:pt x="161" y="33"/>
                  </a:cubicBezTo>
                  <a:cubicBezTo>
                    <a:pt x="161" y="33"/>
                    <a:pt x="161" y="33"/>
                    <a:pt x="161" y="33"/>
                  </a:cubicBezTo>
                  <a:cubicBezTo>
                    <a:pt x="160" y="33"/>
                    <a:pt x="159" y="34"/>
                    <a:pt x="158" y="35"/>
                  </a:cubicBezTo>
                  <a:cubicBezTo>
                    <a:pt x="157" y="36"/>
                    <a:pt x="157" y="37"/>
                    <a:pt x="157" y="38"/>
                  </a:cubicBezTo>
                  <a:cubicBezTo>
                    <a:pt x="158" y="39"/>
                    <a:pt x="158" y="39"/>
                    <a:pt x="159" y="40"/>
                  </a:cubicBezTo>
                  <a:cubicBezTo>
                    <a:pt x="162" y="39"/>
                    <a:pt x="162" y="39"/>
                    <a:pt x="162" y="39"/>
                  </a:cubicBezTo>
                  <a:cubicBezTo>
                    <a:pt x="159" y="41"/>
                    <a:pt x="159" y="41"/>
                    <a:pt x="159" y="41"/>
                  </a:cubicBezTo>
                  <a:cubicBezTo>
                    <a:pt x="160" y="41"/>
                    <a:pt x="160" y="41"/>
                    <a:pt x="160" y="41"/>
                  </a:cubicBezTo>
                  <a:cubicBezTo>
                    <a:pt x="161" y="43"/>
                    <a:pt x="161" y="43"/>
                    <a:pt x="161" y="43"/>
                  </a:cubicBezTo>
                  <a:cubicBezTo>
                    <a:pt x="159" y="45"/>
                    <a:pt x="159" y="45"/>
                    <a:pt x="159" y="45"/>
                  </a:cubicBezTo>
                  <a:cubicBezTo>
                    <a:pt x="158" y="46"/>
                    <a:pt x="156" y="47"/>
                    <a:pt x="154" y="48"/>
                  </a:cubicBezTo>
                  <a:cubicBezTo>
                    <a:pt x="154" y="49"/>
                    <a:pt x="153" y="49"/>
                    <a:pt x="152" y="49"/>
                  </a:cubicBezTo>
                  <a:cubicBezTo>
                    <a:pt x="152" y="49"/>
                    <a:pt x="152" y="50"/>
                    <a:pt x="151" y="50"/>
                  </a:cubicBezTo>
                  <a:cubicBezTo>
                    <a:pt x="151" y="50"/>
                    <a:pt x="151" y="50"/>
                    <a:pt x="151" y="50"/>
                  </a:cubicBezTo>
                  <a:cubicBezTo>
                    <a:pt x="150" y="51"/>
                    <a:pt x="150" y="51"/>
                    <a:pt x="150" y="51"/>
                  </a:cubicBezTo>
                  <a:cubicBezTo>
                    <a:pt x="150" y="51"/>
                    <a:pt x="150" y="52"/>
                    <a:pt x="150" y="52"/>
                  </a:cubicBezTo>
                  <a:cubicBezTo>
                    <a:pt x="150" y="53"/>
                    <a:pt x="151" y="53"/>
                    <a:pt x="151" y="54"/>
                  </a:cubicBezTo>
                  <a:cubicBezTo>
                    <a:pt x="151" y="55"/>
                    <a:pt x="151" y="57"/>
                    <a:pt x="151" y="59"/>
                  </a:cubicBezTo>
                  <a:cubicBezTo>
                    <a:pt x="150" y="60"/>
                    <a:pt x="149" y="61"/>
                    <a:pt x="148" y="62"/>
                  </a:cubicBezTo>
                  <a:cubicBezTo>
                    <a:pt x="147" y="62"/>
                    <a:pt x="147" y="62"/>
                    <a:pt x="147" y="62"/>
                  </a:cubicBezTo>
                  <a:cubicBezTo>
                    <a:pt x="147" y="63"/>
                    <a:pt x="147" y="63"/>
                    <a:pt x="147" y="63"/>
                  </a:cubicBezTo>
                  <a:cubicBezTo>
                    <a:pt x="146" y="63"/>
                    <a:pt x="146" y="64"/>
                    <a:pt x="146" y="64"/>
                  </a:cubicBezTo>
                  <a:cubicBezTo>
                    <a:pt x="145" y="68"/>
                    <a:pt x="145" y="68"/>
                    <a:pt x="145" y="68"/>
                  </a:cubicBezTo>
                  <a:cubicBezTo>
                    <a:pt x="144" y="71"/>
                    <a:pt x="141" y="73"/>
                    <a:pt x="138" y="73"/>
                  </a:cubicBezTo>
                  <a:cubicBezTo>
                    <a:pt x="138" y="73"/>
                    <a:pt x="138" y="73"/>
                    <a:pt x="138" y="73"/>
                  </a:cubicBezTo>
                  <a:cubicBezTo>
                    <a:pt x="137" y="73"/>
                    <a:pt x="137" y="73"/>
                    <a:pt x="136" y="73"/>
                  </a:cubicBezTo>
                  <a:cubicBezTo>
                    <a:pt x="136" y="72"/>
                    <a:pt x="136" y="72"/>
                    <a:pt x="136" y="72"/>
                  </a:cubicBezTo>
                  <a:cubicBezTo>
                    <a:pt x="136" y="73"/>
                    <a:pt x="136" y="73"/>
                    <a:pt x="136" y="73"/>
                  </a:cubicBezTo>
                  <a:cubicBezTo>
                    <a:pt x="136" y="73"/>
                    <a:pt x="135" y="73"/>
                    <a:pt x="135" y="73"/>
                  </a:cubicBezTo>
                  <a:cubicBezTo>
                    <a:pt x="134" y="73"/>
                    <a:pt x="134" y="73"/>
                    <a:pt x="134" y="73"/>
                  </a:cubicBezTo>
                  <a:cubicBezTo>
                    <a:pt x="133" y="73"/>
                    <a:pt x="133" y="73"/>
                    <a:pt x="133" y="73"/>
                  </a:cubicBezTo>
                  <a:cubicBezTo>
                    <a:pt x="130" y="73"/>
                    <a:pt x="130" y="73"/>
                    <a:pt x="130" y="73"/>
                  </a:cubicBezTo>
                  <a:cubicBezTo>
                    <a:pt x="127" y="74"/>
                    <a:pt x="125" y="74"/>
                    <a:pt x="123" y="75"/>
                  </a:cubicBezTo>
                  <a:cubicBezTo>
                    <a:pt x="123" y="76"/>
                    <a:pt x="123" y="76"/>
                    <a:pt x="123" y="76"/>
                  </a:cubicBezTo>
                  <a:cubicBezTo>
                    <a:pt x="122" y="76"/>
                    <a:pt x="121" y="77"/>
                    <a:pt x="120" y="77"/>
                  </a:cubicBezTo>
                  <a:cubicBezTo>
                    <a:pt x="119" y="77"/>
                    <a:pt x="119" y="77"/>
                    <a:pt x="118" y="77"/>
                  </a:cubicBezTo>
                  <a:cubicBezTo>
                    <a:pt x="114" y="77"/>
                    <a:pt x="111" y="76"/>
                    <a:pt x="108" y="74"/>
                  </a:cubicBezTo>
                  <a:cubicBezTo>
                    <a:pt x="107" y="74"/>
                    <a:pt x="107" y="74"/>
                    <a:pt x="107" y="74"/>
                  </a:cubicBezTo>
                  <a:cubicBezTo>
                    <a:pt x="105" y="73"/>
                    <a:pt x="103" y="72"/>
                    <a:pt x="102" y="72"/>
                  </a:cubicBezTo>
                  <a:cubicBezTo>
                    <a:pt x="96" y="71"/>
                    <a:pt x="96" y="71"/>
                    <a:pt x="96" y="71"/>
                  </a:cubicBezTo>
                  <a:cubicBezTo>
                    <a:pt x="97" y="70"/>
                    <a:pt x="97" y="70"/>
                    <a:pt x="97" y="70"/>
                  </a:cubicBezTo>
                  <a:cubicBezTo>
                    <a:pt x="95" y="70"/>
                    <a:pt x="92" y="71"/>
                    <a:pt x="88" y="72"/>
                  </a:cubicBezTo>
                  <a:cubicBezTo>
                    <a:pt x="86" y="72"/>
                    <a:pt x="86" y="72"/>
                    <a:pt x="86" y="72"/>
                  </a:cubicBezTo>
                  <a:cubicBezTo>
                    <a:pt x="86" y="72"/>
                    <a:pt x="85" y="72"/>
                    <a:pt x="85" y="72"/>
                  </a:cubicBezTo>
                  <a:cubicBezTo>
                    <a:pt x="85" y="73"/>
                    <a:pt x="85" y="73"/>
                    <a:pt x="85" y="74"/>
                  </a:cubicBezTo>
                  <a:cubicBezTo>
                    <a:pt x="84" y="74"/>
                    <a:pt x="84" y="74"/>
                    <a:pt x="84" y="74"/>
                  </a:cubicBezTo>
                  <a:cubicBezTo>
                    <a:pt x="84" y="74"/>
                    <a:pt x="84" y="76"/>
                    <a:pt x="84" y="77"/>
                  </a:cubicBezTo>
                  <a:cubicBezTo>
                    <a:pt x="82" y="80"/>
                    <a:pt x="75" y="83"/>
                    <a:pt x="71" y="83"/>
                  </a:cubicBezTo>
                  <a:cubicBezTo>
                    <a:pt x="70" y="83"/>
                    <a:pt x="70" y="83"/>
                    <a:pt x="70" y="83"/>
                  </a:cubicBezTo>
                  <a:cubicBezTo>
                    <a:pt x="68" y="83"/>
                    <a:pt x="67" y="83"/>
                    <a:pt x="66" y="83"/>
                  </a:cubicBezTo>
                  <a:cubicBezTo>
                    <a:pt x="64" y="82"/>
                    <a:pt x="62" y="82"/>
                    <a:pt x="60" y="82"/>
                  </a:cubicBezTo>
                  <a:cubicBezTo>
                    <a:pt x="59" y="82"/>
                    <a:pt x="57" y="82"/>
                    <a:pt x="55" y="83"/>
                  </a:cubicBezTo>
                  <a:cubicBezTo>
                    <a:pt x="55" y="83"/>
                    <a:pt x="54" y="84"/>
                    <a:pt x="53" y="84"/>
                  </a:cubicBezTo>
                  <a:cubicBezTo>
                    <a:pt x="53" y="84"/>
                    <a:pt x="53" y="84"/>
                    <a:pt x="53" y="84"/>
                  </a:cubicBezTo>
                  <a:cubicBezTo>
                    <a:pt x="50" y="85"/>
                    <a:pt x="46" y="87"/>
                    <a:pt x="43" y="87"/>
                  </a:cubicBezTo>
                  <a:cubicBezTo>
                    <a:pt x="42" y="87"/>
                    <a:pt x="42" y="87"/>
                    <a:pt x="41" y="87"/>
                  </a:cubicBezTo>
                  <a:cubicBezTo>
                    <a:pt x="39" y="87"/>
                    <a:pt x="37" y="85"/>
                    <a:pt x="36" y="83"/>
                  </a:cubicBezTo>
                  <a:cubicBezTo>
                    <a:pt x="35" y="83"/>
                    <a:pt x="35" y="83"/>
                    <a:pt x="35" y="83"/>
                  </a:cubicBezTo>
                  <a:cubicBezTo>
                    <a:pt x="35" y="82"/>
                    <a:pt x="35" y="82"/>
                    <a:pt x="35" y="82"/>
                  </a:cubicBezTo>
                  <a:cubicBezTo>
                    <a:pt x="34" y="82"/>
                    <a:pt x="34" y="82"/>
                    <a:pt x="34" y="82"/>
                  </a:cubicBezTo>
                  <a:cubicBezTo>
                    <a:pt x="31" y="80"/>
                    <a:pt x="29" y="77"/>
                    <a:pt x="26" y="75"/>
                  </a:cubicBezTo>
                  <a:cubicBezTo>
                    <a:pt x="25" y="74"/>
                    <a:pt x="25" y="74"/>
                    <a:pt x="25" y="74"/>
                  </a:cubicBezTo>
                  <a:cubicBezTo>
                    <a:pt x="21" y="71"/>
                    <a:pt x="16" y="66"/>
                    <a:pt x="15" y="61"/>
                  </a:cubicBezTo>
                  <a:cubicBezTo>
                    <a:pt x="14" y="59"/>
                    <a:pt x="15" y="57"/>
                    <a:pt x="16" y="56"/>
                  </a:cubicBezTo>
                  <a:cubicBezTo>
                    <a:pt x="14" y="57"/>
                    <a:pt x="12" y="58"/>
                    <a:pt x="11" y="59"/>
                  </a:cubicBezTo>
                  <a:cubicBezTo>
                    <a:pt x="7" y="65"/>
                    <a:pt x="5" y="66"/>
                    <a:pt x="7" y="73"/>
                  </a:cubicBezTo>
                  <a:cubicBezTo>
                    <a:pt x="5" y="74"/>
                    <a:pt x="4" y="76"/>
                    <a:pt x="2" y="76"/>
                  </a:cubicBezTo>
                  <a:cubicBezTo>
                    <a:pt x="2" y="76"/>
                    <a:pt x="2" y="76"/>
                    <a:pt x="2" y="76"/>
                  </a:cubicBezTo>
                  <a:cubicBezTo>
                    <a:pt x="2" y="77"/>
                    <a:pt x="4" y="80"/>
                    <a:pt x="3" y="81"/>
                  </a:cubicBezTo>
                  <a:cubicBezTo>
                    <a:pt x="0" y="84"/>
                    <a:pt x="1" y="85"/>
                    <a:pt x="1" y="89"/>
                  </a:cubicBezTo>
                  <a:cubicBezTo>
                    <a:pt x="2" y="90"/>
                    <a:pt x="1" y="97"/>
                    <a:pt x="2" y="97"/>
                  </a:cubicBezTo>
                  <a:cubicBezTo>
                    <a:pt x="4" y="99"/>
                    <a:pt x="6" y="99"/>
                    <a:pt x="7" y="101"/>
                  </a:cubicBezTo>
                  <a:cubicBezTo>
                    <a:pt x="8" y="103"/>
                    <a:pt x="9" y="104"/>
                    <a:pt x="11" y="105"/>
                  </a:cubicBezTo>
                  <a:cubicBezTo>
                    <a:pt x="9" y="105"/>
                    <a:pt x="9" y="104"/>
                    <a:pt x="8" y="104"/>
                  </a:cubicBezTo>
                  <a:cubicBezTo>
                    <a:pt x="7" y="104"/>
                    <a:pt x="8" y="105"/>
                    <a:pt x="8" y="107"/>
                  </a:cubicBezTo>
                  <a:cubicBezTo>
                    <a:pt x="8" y="108"/>
                    <a:pt x="8" y="110"/>
                    <a:pt x="9" y="111"/>
                  </a:cubicBezTo>
                  <a:cubicBezTo>
                    <a:pt x="8" y="110"/>
                    <a:pt x="7" y="110"/>
                    <a:pt x="7" y="110"/>
                  </a:cubicBezTo>
                  <a:cubicBezTo>
                    <a:pt x="4" y="110"/>
                    <a:pt x="5" y="114"/>
                    <a:pt x="6" y="117"/>
                  </a:cubicBezTo>
                  <a:cubicBezTo>
                    <a:pt x="7" y="119"/>
                    <a:pt x="9" y="122"/>
                    <a:pt x="10" y="124"/>
                  </a:cubicBezTo>
                  <a:cubicBezTo>
                    <a:pt x="11" y="126"/>
                    <a:pt x="10" y="126"/>
                    <a:pt x="12" y="127"/>
                  </a:cubicBezTo>
                  <a:cubicBezTo>
                    <a:pt x="14" y="128"/>
                    <a:pt x="17" y="129"/>
                    <a:pt x="19" y="129"/>
                  </a:cubicBezTo>
                  <a:cubicBezTo>
                    <a:pt x="20" y="129"/>
                    <a:pt x="22" y="128"/>
                    <a:pt x="22" y="127"/>
                  </a:cubicBezTo>
                  <a:cubicBezTo>
                    <a:pt x="25" y="131"/>
                    <a:pt x="30" y="136"/>
                    <a:pt x="29" y="141"/>
                  </a:cubicBezTo>
                  <a:cubicBezTo>
                    <a:pt x="29" y="143"/>
                    <a:pt x="29" y="146"/>
                    <a:pt x="28" y="148"/>
                  </a:cubicBezTo>
                  <a:cubicBezTo>
                    <a:pt x="27" y="148"/>
                    <a:pt x="27" y="148"/>
                    <a:pt x="27" y="148"/>
                  </a:cubicBezTo>
                  <a:cubicBezTo>
                    <a:pt x="27" y="149"/>
                    <a:pt x="25" y="148"/>
                    <a:pt x="26" y="150"/>
                  </a:cubicBezTo>
                  <a:cubicBezTo>
                    <a:pt x="27" y="151"/>
                    <a:pt x="29" y="151"/>
                    <a:pt x="30" y="152"/>
                  </a:cubicBezTo>
                  <a:cubicBezTo>
                    <a:pt x="31" y="153"/>
                    <a:pt x="31" y="154"/>
                    <a:pt x="31" y="156"/>
                  </a:cubicBezTo>
                  <a:cubicBezTo>
                    <a:pt x="32" y="159"/>
                    <a:pt x="34" y="162"/>
                    <a:pt x="34" y="165"/>
                  </a:cubicBezTo>
                  <a:cubicBezTo>
                    <a:pt x="35" y="168"/>
                    <a:pt x="33" y="167"/>
                    <a:pt x="32" y="169"/>
                  </a:cubicBezTo>
                  <a:cubicBezTo>
                    <a:pt x="32" y="171"/>
                    <a:pt x="34" y="175"/>
                    <a:pt x="34" y="176"/>
                  </a:cubicBezTo>
                  <a:cubicBezTo>
                    <a:pt x="35" y="181"/>
                    <a:pt x="38" y="180"/>
                    <a:pt x="42" y="180"/>
                  </a:cubicBezTo>
                  <a:cubicBezTo>
                    <a:pt x="42" y="180"/>
                    <a:pt x="44" y="181"/>
                    <a:pt x="44" y="181"/>
                  </a:cubicBezTo>
                  <a:cubicBezTo>
                    <a:pt x="44" y="181"/>
                    <a:pt x="44" y="181"/>
                    <a:pt x="44" y="181"/>
                  </a:cubicBezTo>
                  <a:cubicBezTo>
                    <a:pt x="45" y="181"/>
                    <a:pt x="46" y="180"/>
                    <a:pt x="47" y="180"/>
                  </a:cubicBezTo>
                  <a:cubicBezTo>
                    <a:pt x="47" y="180"/>
                    <a:pt x="47" y="180"/>
                    <a:pt x="47" y="180"/>
                  </a:cubicBezTo>
                  <a:cubicBezTo>
                    <a:pt x="47" y="180"/>
                    <a:pt x="47" y="180"/>
                    <a:pt x="47" y="180"/>
                  </a:cubicBezTo>
                  <a:cubicBezTo>
                    <a:pt x="48" y="180"/>
                    <a:pt x="49" y="180"/>
                    <a:pt x="50" y="180"/>
                  </a:cubicBezTo>
                  <a:cubicBezTo>
                    <a:pt x="51" y="181"/>
                    <a:pt x="51" y="181"/>
                    <a:pt x="52" y="181"/>
                  </a:cubicBezTo>
                  <a:cubicBezTo>
                    <a:pt x="52" y="181"/>
                    <a:pt x="53" y="181"/>
                    <a:pt x="53" y="181"/>
                  </a:cubicBezTo>
                  <a:cubicBezTo>
                    <a:pt x="54" y="181"/>
                    <a:pt x="56" y="180"/>
                    <a:pt x="57" y="179"/>
                  </a:cubicBezTo>
                  <a:cubicBezTo>
                    <a:pt x="58" y="179"/>
                    <a:pt x="60" y="177"/>
                    <a:pt x="62" y="177"/>
                  </a:cubicBezTo>
                  <a:cubicBezTo>
                    <a:pt x="62" y="177"/>
                    <a:pt x="62" y="177"/>
                    <a:pt x="62" y="177"/>
                  </a:cubicBezTo>
                  <a:cubicBezTo>
                    <a:pt x="62" y="177"/>
                    <a:pt x="63" y="178"/>
                    <a:pt x="64" y="178"/>
                  </a:cubicBezTo>
                  <a:cubicBezTo>
                    <a:pt x="65" y="179"/>
                    <a:pt x="66" y="179"/>
                    <a:pt x="67" y="179"/>
                  </a:cubicBezTo>
                  <a:cubicBezTo>
                    <a:pt x="67" y="179"/>
                    <a:pt x="67" y="179"/>
                    <a:pt x="67" y="179"/>
                  </a:cubicBezTo>
                  <a:cubicBezTo>
                    <a:pt x="68" y="179"/>
                    <a:pt x="68" y="179"/>
                    <a:pt x="69" y="178"/>
                  </a:cubicBezTo>
                  <a:cubicBezTo>
                    <a:pt x="70" y="178"/>
                    <a:pt x="70" y="175"/>
                    <a:pt x="71" y="173"/>
                  </a:cubicBezTo>
                  <a:cubicBezTo>
                    <a:pt x="71" y="176"/>
                    <a:pt x="73" y="178"/>
                    <a:pt x="73" y="181"/>
                  </a:cubicBezTo>
                  <a:cubicBezTo>
                    <a:pt x="74" y="184"/>
                    <a:pt x="74" y="189"/>
                    <a:pt x="74" y="193"/>
                  </a:cubicBezTo>
                  <a:cubicBezTo>
                    <a:pt x="78" y="190"/>
                    <a:pt x="81" y="187"/>
                    <a:pt x="86" y="187"/>
                  </a:cubicBezTo>
                  <a:cubicBezTo>
                    <a:pt x="95" y="186"/>
                    <a:pt x="102" y="187"/>
                    <a:pt x="103" y="177"/>
                  </a:cubicBezTo>
                  <a:cubicBezTo>
                    <a:pt x="103" y="179"/>
                    <a:pt x="104" y="180"/>
                    <a:pt x="106" y="181"/>
                  </a:cubicBezTo>
                  <a:cubicBezTo>
                    <a:pt x="108" y="182"/>
                    <a:pt x="109" y="185"/>
                    <a:pt x="112" y="185"/>
                  </a:cubicBezTo>
                  <a:cubicBezTo>
                    <a:pt x="112" y="185"/>
                    <a:pt x="112" y="185"/>
                    <a:pt x="112" y="185"/>
                  </a:cubicBezTo>
                  <a:cubicBezTo>
                    <a:pt x="113" y="185"/>
                    <a:pt x="116" y="184"/>
                    <a:pt x="117" y="183"/>
                  </a:cubicBezTo>
                  <a:cubicBezTo>
                    <a:pt x="118" y="187"/>
                    <a:pt x="117" y="191"/>
                    <a:pt x="121" y="191"/>
                  </a:cubicBezTo>
                  <a:cubicBezTo>
                    <a:pt x="121" y="191"/>
                    <a:pt x="121" y="191"/>
                    <a:pt x="121" y="191"/>
                  </a:cubicBezTo>
                  <a:cubicBezTo>
                    <a:pt x="122" y="191"/>
                    <a:pt x="123" y="190"/>
                    <a:pt x="124" y="189"/>
                  </a:cubicBezTo>
                  <a:cubicBezTo>
                    <a:pt x="127" y="188"/>
                    <a:pt x="128" y="187"/>
                    <a:pt x="130" y="184"/>
                  </a:cubicBezTo>
                  <a:cubicBezTo>
                    <a:pt x="130" y="186"/>
                    <a:pt x="131" y="187"/>
                    <a:pt x="132" y="188"/>
                  </a:cubicBezTo>
                  <a:cubicBezTo>
                    <a:pt x="133" y="187"/>
                    <a:pt x="134" y="186"/>
                    <a:pt x="136" y="185"/>
                  </a:cubicBezTo>
                  <a:cubicBezTo>
                    <a:pt x="134" y="186"/>
                    <a:pt x="134" y="188"/>
                    <a:pt x="134" y="190"/>
                  </a:cubicBezTo>
                  <a:cubicBezTo>
                    <a:pt x="134" y="190"/>
                    <a:pt x="137" y="191"/>
                    <a:pt x="138" y="191"/>
                  </a:cubicBezTo>
                  <a:cubicBezTo>
                    <a:pt x="138" y="191"/>
                    <a:pt x="138" y="191"/>
                    <a:pt x="138" y="191"/>
                  </a:cubicBezTo>
                  <a:cubicBezTo>
                    <a:pt x="139" y="191"/>
                    <a:pt x="139" y="190"/>
                    <a:pt x="139" y="188"/>
                  </a:cubicBezTo>
                  <a:cubicBezTo>
                    <a:pt x="140" y="190"/>
                    <a:pt x="140" y="195"/>
                    <a:pt x="141" y="197"/>
                  </a:cubicBezTo>
                  <a:cubicBezTo>
                    <a:pt x="141" y="199"/>
                    <a:pt x="141" y="207"/>
                    <a:pt x="143" y="208"/>
                  </a:cubicBezTo>
                  <a:cubicBezTo>
                    <a:pt x="143" y="208"/>
                    <a:pt x="143" y="208"/>
                    <a:pt x="143" y="208"/>
                  </a:cubicBezTo>
                  <a:cubicBezTo>
                    <a:pt x="144" y="208"/>
                    <a:pt x="145" y="207"/>
                    <a:pt x="146" y="207"/>
                  </a:cubicBezTo>
                  <a:cubicBezTo>
                    <a:pt x="148" y="206"/>
                    <a:pt x="149" y="205"/>
                    <a:pt x="151" y="204"/>
                  </a:cubicBezTo>
                  <a:cubicBezTo>
                    <a:pt x="153" y="203"/>
                    <a:pt x="155" y="202"/>
                    <a:pt x="156" y="202"/>
                  </a:cubicBezTo>
                  <a:cubicBezTo>
                    <a:pt x="159" y="201"/>
                    <a:pt x="161" y="200"/>
                    <a:pt x="163" y="199"/>
                  </a:cubicBezTo>
                  <a:cubicBezTo>
                    <a:pt x="166" y="198"/>
                    <a:pt x="173" y="196"/>
                    <a:pt x="175" y="194"/>
                  </a:cubicBezTo>
                  <a:cubicBezTo>
                    <a:pt x="177" y="192"/>
                    <a:pt x="177" y="187"/>
                    <a:pt x="179" y="185"/>
                  </a:cubicBezTo>
                  <a:cubicBezTo>
                    <a:pt x="180" y="183"/>
                    <a:pt x="182" y="183"/>
                    <a:pt x="182" y="182"/>
                  </a:cubicBezTo>
                  <a:cubicBezTo>
                    <a:pt x="182" y="180"/>
                    <a:pt x="181" y="177"/>
                    <a:pt x="180" y="175"/>
                  </a:cubicBezTo>
                  <a:cubicBezTo>
                    <a:pt x="180" y="176"/>
                    <a:pt x="181" y="177"/>
                    <a:pt x="182" y="177"/>
                  </a:cubicBezTo>
                  <a:cubicBezTo>
                    <a:pt x="183" y="177"/>
                    <a:pt x="184" y="176"/>
                    <a:pt x="185" y="175"/>
                  </a:cubicBezTo>
                  <a:cubicBezTo>
                    <a:pt x="186" y="174"/>
                    <a:pt x="185" y="168"/>
                    <a:pt x="183" y="167"/>
                  </a:cubicBezTo>
                  <a:cubicBezTo>
                    <a:pt x="185" y="167"/>
                    <a:pt x="186" y="166"/>
                    <a:pt x="188" y="165"/>
                  </a:cubicBezTo>
                  <a:cubicBezTo>
                    <a:pt x="193" y="160"/>
                    <a:pt x="187" y="160"/>
                    <a:pt x="183" y="158"/>
                  </a:cubicBezTo>
                  <a:cubicBezTo>
                    <a:pt x="184" y="157"/>
                    <a:pt x="186" y="157"/>
                    <a:pt x="186" y="155"/>
                  </a:cubicBezTo>
                  <a:cubicBezTo>
                    <a:pt x="187" y="148"/>
                    <a:pt x="187" y="149"/>
                    <a:pt x="182" y="149"/>
                  </a:cubicBezTo>
                  <a:cubicBezTo>
                    <a:pt x="183" y="148"/>
                    <a:pt x="184" y="147"/>
                    <a:pt x="186" y="147"/>
                  </a:cubicBezTo>
                  <a:cubicBezTo>
                    <a:pt x="187" y="146"/>
                    <a:pt x="189" y="145"/>
                    <a:pt x="190" y="144"/>
                  </a:cubicBezTo>
                  <a:cubicBezTo>
                    <a:pt x="194" y="140"/>
                    <a:pt x="195" y="138"/>
                    <a:pt x="194" y="132"/>
                  </a:cubicBezTo>
                  <a:cubicBezTo>
                    <a:pt x="195" y="134"/>
                    <a:pt x="196" y="136"/>
                    <a:pt x="197" y="136"/>
                  </a:cubicBezTo>
                  <a:cubicBezTo>
                    <a:pt x="198" y="136"/>
                    <a:pt x="198" y="136"/>
                    <a:pt x="199" y="136"/>
                  </a:cubicBezTo>
                  <a:cubicBezTo>
                    <a:pt x="203" y="134"/>
                    <a:pt x="205" y="128"/>
                    <a:pt x="208" y="125"/>
                  </a:cubicBezTo>
                  <a:cubicBezTo>
                    <a:pt x="208" y="125"/>
                    <a:pt x="209" y="126"/>
                    <a:pt x="210" y="126"/>
                  </a:cubicBezTo>
                  <a:cubicBezTo>
                    <a:pt x="212" y="126"/>
                    <a:pt x="215" y="124"/>
                    <a:pt x="216" y="124"/>
                  </a:cubicBezTo>
                  <a:cubicBezTo>
                    <a:pt x="212" y="122"/>
                    <a:pt x="218" y="117"/>
                    <a:pt x="216" y="115"/>
                  </a:cubicBezTo>
                  <a:cubicBezTo>
                    <a:pt x="216" y="115"/>
                    <a:pt x="216" y="115"/>
                    <a:pt x="216" y="115"/>
                  </a:cubicBezTo>
                  <a:cubicBezTo>
                    <a:pt x="215" y="115"/>
                    <a:pt x="212" y="117"/>
                    <a:pt x="212" y="118"/>
                  </a:cubicBezTo>
                  <a:cubicBezTo>
                    <a:pt x="212" y="113"/>
                    <a:pt x="212" y="111"/>
                    <a:pt x="213" y="105"/>
                  </a:cubicBezTo>
                  <a:cubicBezTo>
                    <a:pt x="213" y="101"/>
                    <a:pt x="214" y="96"/>
                    <a:pt x="216" y="93"/>
                  </a:cubicBezTo>
                  <a:cubicBezTo>
                    <a:pt x="217" y="91"/>
                    <a:pt x="219" y="86"/>
                    <a:pt x="221" y="85"/>
                  </a:cubicBezTo>
                  <a:cubicBezTo>
                    <a:pt x="221" y="85"/>
                    <a:pt x="222" y="85"/>
                    <a:pt x="222" y="85"/>
                  </a:cubicBezTo>
                  <a:cubicBezTo>
                    <a:pt x="223" y="85"/>
                    <a:pt x="223" y="85"/>
                    <a:pt x="224" y="85"/>
                  </a:cubicBezTo>
                  <a:cubicBezTo>
                    <a:pt x="225" y="85"/>
                    <a:pt x="225" y="85"/>
                    <a:pt x="225" y="85"/>
                  </a:cubicBezTo>
                  <a:cubicBezTo>
                    <a:pt x="226" y="85"/>
                    <a:pt x="226" y="85"/>
                    <a:pt x="226" y="85"/>
                  </a:cubicBezTo>
                  <a:cubicBezTo>
                    <a:pt x="227" y="84"/>
                    <a:pt x="225" y="84"/>
                    <a:pt x="225" y="83"/>
                  </a:cubicBezTo>
                  <a:cubicBezTo>
                    <a:pt x="225" y="81"/>
                    <a:pt x="223" y="79"/>
                    <a:pt x="223" y="77"/>
                  </a:cubicBezTo>
                  <a:cubicBezTo>
                    <a:pt x="226" y="79"/>
                    <a:pt x="226" y="82"/>
                    <a:pt x="230" y="84"/>
                  </a:cubicBezTo>
                  <a:cubicBezTo>
                    <a:pt x="233" y="84"/>
                    <a:pt x="235" y="84"/>
                    <a:pt x="237" y="85"/>
                  </a:cubicBezTo>
                  <a:cubicBezTo>
                    <a:pt x="239" y="85"/>
                    <a:pt x="241" y="85"/>
                    <a:pt x="243" y="85"/>
                  </a:cubicBezTo>
                  <a:cubicBezTo>
                    <a:pt x="246" y="85"/>
                    <a:pt x="248" y="84"/>
                    <a:pt x="250" y="79"/>
                  </a:cubicBezTo>
                  <a:cubicBezTo>
                    <a:pt x="248" y="78"/>
                    <a:pt x="246" y="77"/>
                    <a:pt x="244" y="76"/>
                  </a:cubicBezTo>
                  <a:cubicBezTo>
                    <a:pt x="236" y="69"/>
                    <a:pt x="226" y="63"/>
                    <a:pt x="219" y="55"/>
                  </a:cubicBezTo>
                  <a:cubicBezTo>
                    <a:pt x="219" y="55"/>
                    <a:pt x="220" y="55"/>
                    <a:pt x="220" y="55"/>
                  </a:cubicBezTo>
                  <a:cubicBezTo>
                    <a:pt x="221" y="55"/>
                    <a:pt x="222" y="55"/>
                    <a:pt x="221" y="53"/>
                  </a:cubicBezTo>
                  <a:cubicBezTo>
                    <a:pt x="221" y="53"/>
                    <a:pt x="222" y="54"/>
                    <a:pt x="222" y="54"/>
                  </a:cubicBezTo>
                  <a:cubicBezTo>
                    <a:pt x="223" y="54"/>
                    <a:pt x="224" y="52"/>
                    <a:pt x="225" y="51"/>
                  </a:cubicBezTo>
                  <a:cubicBezTo>
                    <a:pt x="226" y="47"/>
                    <a:pt x="224" y="44"/>
                    <a:pt x="221" y="41"/>
                  </a:cubicBezTo>
                  <a:cubicBezTo>
                    <a:pt x="220" y="40"/>
                    <a:pt x="216" y="37"/>
                    <a:pt x="216" y="35"/>
                  </a:cubicBezTo>
                  <a:cubicBezTo>
                    <a:pt x="218" y="34"/>
                    <a:pt x="218" y="34"/>
                    <a:pt x="218" y="34"/>
                  </a:cubicBezTo>
                  <a:cubicBezTo>
                    <a:pt x="217" y="34"/>
                    <a:pt x="215" y="33"/>
                    <a:pt x="214" y="33"/>
                  </a:cubicBezTo>
                  <a:cubicBezTo>
                    <a:pt x="215" y="32"/>
                    <a:pt x="215" y="31"/>
                    <a:pt x="216" y="29"/>
                  </a:cubicBezTo>
                  <a:cubicBezTo>
                    <a:pt x="214" y="29"/>
                    <a:pt x="213" y="28"/>
                    <a:pt x="212" y="28"/>
                  </a:cubicBezTo>
                  <a:cubicBezTo>
                    <a:pt x="211" y="28"/>
                    <a:pt x="207" y="26"/>
                    <a:pt x="207" y="25"/>
                  </a:cubicBezTo>
                  <a:cubicBezTo>
                    <a:pt x="207" y="25"/>
                    <a:pt x="207" y="25"/>
                    <a:pt x="207" y="25"/>
                  </a:cubicBezTo>
                  <a:cubicBezTo>
                    <a:pt x="207" y="25"/>
                    <a:pt x="208" y="25"/>
                    <a:pt x="208" y="25"/>
                  </a:cubicBezTo>
                  <a:cubicBezTo>
                    <a:pt x="208" y="25"/>
                    <a:pt x="208" y="25"/>
                    <a:pt x="208" y="25"/>
                  </a:cubicBezTo>
                  <a:cubicBezTo>
                    <a:pt x="208" y="25"/>
                    <a:pt x="208" y="25"/>
                    <a:pt x="208" y="25"/>
                  </a:cubicBezTo>
                  <a:cubicBezTo>
                    <a:pt x="208" y="25"/>
                    <a:pt x="208" y="25"/>
                    <a:pt x="208" y="25"/>
                  </a:cubicBezTo>
                  <a:cubicBezTo>
                    <a:pt x="208" y="25"/>
                    <a:pt x="209" y="25"/>
                    <a:pt x="209" y="25"/>
                  </a:cubicBezTo>
                  <a:cubicBezTo>
                    <a:pt x="209" y="25"/>
                    <a:pt x="209" y="24"/>
                    <a:pt x="209" y="24"/>
                  </a:cubicBezTo>
                  <a:cubicBezTo>
                    <a:pt x="209" y="24"/>
                    <a:pt x="209" y="24"/>
                    <a:pt x="209" y="25"/>
                  </a:cubicBezTo>
                  <a:cubicBezTo>
                    <a:pt x="210" y="24"/>
                    <a:pt x="211" y="21"/>
                    <a:pt x="211" y="20"/>
                  </a:cubicBezTo>
                  <a:cubicBezTo>
                    <a:pt x="211" y="20"/>
                    <a:pt x="211" y="20"/>
                    <a:pt x="211" y="20"/>
                  </a:cubicBezTo>
                  <a:cubicBezTo>
                    <a:pt x="210" y="20"/>
                    <a:pt x="209" y="20"/>
                    <a:pt x="209" y="20"/>
                  </a:cubicBezTo>
                  <a:cubicBezTo>
                    <a:pt x="208" y="19"/>
                    <a:pt x="208" y="19"/>
                    <a:pt x="208" y="19"/>
                  </a:cubicBezTo>
                  <a:cubicBezTo>
                    <a:pt x="207" y="18"/>
                    <a:pt x="207" y="18"/>
                    <a:pt x="207" y="18"/>
                  </a:cubicBezTo>
                  <a:cubicBezTo>
                    <a:pt x="208" y="19"/>
                    <a:pt x="208" y="19"/>
                    <a:pt x="208" y="19"/>
                  </a:cubicBezTo>
                  <a:cubicBezTo>
                    <a:pt x="206" y="17"/>
                    <a:pt x="206" y="17"/>
                    <a:pt x="204" y="17"/>
                  </a:cubicBezTo>
                  <a:cubicBezTo>
                    <a:pt x="205" y="17"/>
                    <a:pt x="205" y="16"/>
                    <a:pt x="205" y="16"/>
                  </a:cubicBezTo>
                  <a:cubicBezTo>
                    <a:pt x="205" y="16"/>
                    <a:pt x="205" y="16"/>
                    <a:pt x="206" y="16"/>
                  </a:cubicBezTo>
                  <a:cubicBezTo>
                    <a:pt x="206" y="16"/>
                    <a:pt x="207" y="16"/>
                    <a:pt x="208" y="16"/>
                  </a:cubicBezTo>
                  <a:cubicBezTo>
                    <a:pt x="208" y="16"/>
                    <a:pt x="209" y="16"/>
                    <a:pt x="210" y="16"/>
                  </a:cubicBezTo>
                  <a:cubicBezTo>
                    <a:pt x="211" y="16"/>
                    <a:pt x="212" y="16"/>
                    <a:pt x="213" y="16"/>
                  </a:cubicBezTo>
                  <a:cubicBezTo>
                    <a:pt x="214" y="16"/>
                    <a:pt x="212" y="13"/>
                    <a:pt x="212" y="12"/>
                  </a:cubicBezTo>
                  <a:cubicBezTo>
                    <a:pt x="215" y="13"/>
                    <a:pt x="218" y="13"/>
                    <a:pt x="221" y="14"/>
                  </a:cubicBezTo>
                  <a:cubicBezTo>
                    <a:pt x="219" y="13"/>
                    <a:pt x="219" y="11"/>
                    <a:pt x="217" y="10"/>
                  </a:cubicBezTo>
                  <a:cubicBezTo>
                    <a:pt x="218" y="9"/>
                    <a:pt x="214" y="6"/>
                    <a:pt x="213" y="6"/>
                  </a:cubicBezTo>
                  <a:cubicBezTo>
                    <a:pt x="212" y="6"/>
                    <a:pt x="212" y="6"/>
                    <a:pt x="212" y="6"/>
                  </a:cubicBezTo>
                  <a:cubicBezTo>
                    <a:pt x="212" y="5"/>
                    <a:pt x="212" y="5"/>
                    <a:pt x="212" y="5"/>
                  </a:cubicBezTo>
                  <a:cubicBezTo>
                    <a:pt x="211" y="4"/>
                    <a:pt x="210" y="4"/>
                    <a:pt x="209" y="4"/>
                  </a:cubicBezTo>
                  <a:cubicBezTo>
                    <a:pt x="203" y="2"/>
                    <a:pt x="196" y="0"/>
                    <a:pt x="19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462"/>
            <p:cNvSpPr>
              <a:spLocks noEditPoints="1"/>
            </p:cNvSpPr>
            <p:nvPr/>
          </p:nvSpPr>
          <p:spPr bwMode="auto">
            <a:xfrm>
              <a:off x="6644689" y="5302660"/>
              <a:ext cx="314291" cy="218929"/>
            </a:xfrm>
            <a:custGeom>
              <a:gdLst>
                <a:gd name="T0" fmla="*/ 79 w 99"/>
                <a:gd name="T1" fmla="*/ 60 h 69"/>
                <a:gd name="T2" fmla="*/ 79 w 99"/>
                <a:gd name="T3" fmla="*/ 60 h 69"/>
                <a:gd name="T4" fmla="*/ 33 w 99"/>
                <a:gd name="T5" fmla="*/ 9 h 69"/>
                <a:gd name="T6" fmla="*/ 13 w 99"/>
                <a:gd name="T7" fmla="*/ 37 h 69"/>
                <a:gd name="T8" fmla="*/ 6 w 99"/>
                <a:gd name="T9" fmla="*/ 37 h 69"/>
                <a:gd name="T10" fmla="*/ 3 w 99"/>
                <a:gd name="T11" fmla="*/ 42 h 69"/>
                <a:gd name="T12" fmla="*/ 4 w 99"/>
                <a:gd name="T13" fmla="*/ 49 h 69"/>
                <a:gd name="T14" fmla="*/ 2 w 99"/>
                <a:gd name="T15" fmla="*/ 57 h 69"/>
                <a:gd name="T16" fmla="*/ 5 w 99"/>
                <a:gd name="T17" fmla="*/ 65 h 69"/>
                <a:gd name="T18" fmla="*/ 13 w 99"/>
                <a:gd name="T19" fmla="*/ 63 h 69"/>
                <a:gd name="T20" fmla="*/ 18 w 99"/>
                <a:gd name="T21" fmla="*/ 63 h 69"/>
                <a:gd name="T22" fmla="*/ 19 w 99"/>
                <a:gd name="T23" fmla="*/ 63 h 69"/>
                <a:gd name="T24" fmla="*/ 29 w 99"/>
                <a:gd name="T25" fmla="*/ 62 h 69"/>
                <a:gd name="T26" fmla="*/ 33 w 99"/>
                <a:gd name="T27" fmla="*/ 62 h 69"/>
                <a:gd name="T28" fmla="*/ 58 w 99"/>
                <a:gd name="T29" fmla="*/ 67 h 69"/>
                <a:gd name="T30" fmla="*/ 64 w 99"/>
                <a:gd name="T31" fmla="*/ 67 h 69"/>
                <a:gd name="T32" fmla="*/ 83 w 99"/>
                <a:gd name="T33" fmla="*/ 63 h 69"/>
                <a:gd name="T34" fmla="*/ 80 w 99"/>
                <a:gd name="T35" fmla="*/ 62 h 69"/>
                <a:gd name="T36" fmla="*/ 80 w 99"/>
                <a:gd name="T37" fmla="*/ 62 h 69"/>
                <a:gd name="T38" fmla="*/ 77 w 99"/>
                <a:gd name="T39" fmla="*/ 60 h 69"/>
                <a:gd name="T40" fmla="*/ 76 w 99"/>
                <a:gd name="T41" fmla="*/ 49 h 69"/>
                <a:gd name="T42" fmla="*/ 80 w 99"/>
                <a:gd name="T43" fmla="*/ 51 h 69"/>
                <a:gd name="T44" fmla="*/ 93 w 99"/>
                <a:gd name="T45" fmla="*/ 46 h 69"/>
                <a:gd name="T46" fmla="*/ 97 w 99"/>
                <a:gd name="T47" fmla="*/ 40 h 69"/>
                <a:gd name="T48" fmla="*/ 90 w 99"/>
                <a:gd name="T49" fmla="*/ 40 h 69"/>
                <a:gd name="T50" fmla="*/ 81 w 99"/>
                <a:gd name="T51" fmla="*/ 37 h 69"/>
                <a:gd name="T52" fmla="*/ 73 w 99"/>
                <a:gd name="T53" fmla="*/ 30 h 69"/>
                <a:gd name="T54" fmla="*/ 67 w 99"/>
                <a:gd name="T55" fmla="*/ 32 h 69"/>
                <a:gd name="T56" fmla="*/ 66 w 99"/>
                <a:gd name="T57" fmla="*/ 30 h 69"/>
                <a:gd name="T58" fmla="*/ 68 w 99"/>
                <a:gd name="T59" fmla="*/ 30 h 69"/>
                <a:gd name="T60" fmla="*/ 67 w 99"/>
                <a:gd name="T61" fmla="*/ 24 h 69"/>
                <a:gd name="T62" fmla="*/ 65 w 99"/>
                <a:gd name="T63" fmla="*/ 26 h 69"/>
                <a:gd name="T64" fmla="*/ 57 w 99"/>
                <a:gd name="T65" fmla="*/ 27 h 69"/>
                <a:gd name="T66" fmla="*/ 58 w 99"/>
                <a:gd name="T67" fmla="*/ 22 h 69"/>
                <a:gd name="T68" fmla="*/ 61 w 99"/>
                <a:gd name="T69" fmla="*/ 17 h 69"/>
                <a:gd name="T70" fmla="*/ 52 w 99"/>
                <a:gd name="T71" fmla="*/ 10 h 69"/>
                <a:gd name="T72" fmla="*/ 44 w 99"/>
                <a:gd name="T73" fmla="*/ 1 h 69"/>
                <a:gd name="T74" fmla="*/ 37 w 99"/>
                <a:gd name="T75" fmla="*/ 11 h 69"/>
                <a:gd name="T76" fmla="*/ 37 w 99"/>
                <a:gd name="T77" fmla="*/ 0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69">
                  <a:moveTo>
                    <a:pt x="79" y="60"/>
                  </a:moveTo>
                  <a:cubicBezTo>
                    <a:pt x="79" y="60"/>
                    <a:pt x="79" y="60"/>
                    <a:pt x="79" y="60"/>
                  </a:cubicBezTo>
                  <a:cubicBezTo>
                    <a:pt x="79" y="60"/>
                    <a:pt x="79" y="60"/>
                    <a:pt x="79" y="60"/>
                  </a:cubicBezTo>
                  <a:cubicBezTo>
                    <a:pt x="79" y="60"/>
                    <a:pt x="79" y="60"/>
                    <a:pt x="79" y="60"/>
                  </a:cubicBezTo>
                  <a:moveTo>
                    <a:pt x="37" y="0"/>
                  </a:moveTo>
                  <a:cubicBezTo>
                    <a:pt x="36" y="2"/>
                    <a:pt x="35" y="7"/>
                    <a:pt x="33" y="9"/>
                  </a:cubicBezTo>
                  <a:cubicBezTo>
                    <a:pt x="30" y="12"/>
                    <a:pt x="27" y="16"/>
                    <a:pt x="23" y="19"/>
                  </a:cubicBezTo>
                  <a:cubicBezTo>
                    <a:pt x="19" y="24"/>
                    <a:pt x="16" y="31"/>
                    <a:pt x="13" y="37"/>
                  </a:cubicBezTo>
                  <a:cubicBezTo>
                    <a:pt x="11" y="36"/>
                    <a:pt x="10" y="35"/>
                    <a:pt x="9" y="35"/>
                  </a:cubicBezTo>
                  <a:cubicBezTo>
                    <a:pt x="8" y="35"/>
                    <a:pt x="7" y="35"/>
                    <a:pt x="6" y="37"/>
                  </a:cubicBezTo>
                  <a:cubicBezTo>
                    <a:pt x="4" y="39"/>
                    <a:pt x="2" y="40"/>
                    <a:pt x="2" y="42"/>
                  </a:cubicBezTo>
                  <a:cubicBezTo>
                    <a:pt x="3" y="42"/>
                    <a:pt x="3" y="42"/>
                    <a:pt x="3" y="42"/>
                  </a:cubicBezTo>
                  <a:cubicBezTo>
                    <a:pt x="3" y="43"/>
                    <a:pt x="4" y="43"/>
                    <a:pt x="5" y="44"/>
                  </a:cubicBezTo>
                  <a:cubicBezTo>
                    <a:pt x="5" y="45"/>
                    <a:pt x="4" y="47"/>
                    <a:pt x="4" y="49"/>
                  </a:cubicBezTo>
                  <a:cubicBezTo>
                    <a:pt x="4" y="51"/>
                    <a:pt x="2" y="51"/>
                    <a:pt x="0" y="52"/>
                  </a:cubicBezTo>
                  <a:cubicBezTo>
                    <a:pt x="1" y="54"/>
                    <a:pt x="1" y="55"/>
                    <a:pt x="2" y="57"/>
                  </a:cubicBezTo>
                  <a:cubicBezTo>
                    <a:pt x="2" y="58"/>
                    <a:pt x="2" y="58"/>
                    <a:pt x="2" y="58"/>
                  </a:cubicBezTo>
                  <a:cubicBezTo>
                    <a:pt x="3" y="60"/>
                    <a:pt x="4" y="63"/>
                    <a:pt x="5" y="65"/>
                  </a:cubicBezTo>
                  <a:cubicBezTo>
                    <a:pt x="7" y="69"/>
                    <a:pt x="7" y="69"/>
                    <a:pt x="7" y="69"/>
                  </a:cubicBezTo>
                  <a:cubicBezTo>
                    <a:pt x="9" y="67"/>
                    <a:pt x="11" y="64"/>
                    <a:pt x="13" y="63"/>
                  </a:cubicBezTo>
                  <a:cubicBezTo>
                    <a:pt x="16" y="60"/>
                    <a:pt x="16" y="60"/>
                    <a:pt x="16" y="60"/>
                  </a:cubicBezTo>
                  <a:cubicBezTo>
                    <a:pt x="18" y="63"/>
                    <a:pt x="18" y="63"/>
                    <a:pt x="18" y="63"/>
                  </a:cubicBezTo>
                  <a:cubicBezTo>
                    <a:pt x="18" y="63"/>
                    <a:pt x="18" y="63"/>
                    <a:pt x="18" y="63"/>
                  </a:cubicBezTo>
                  <a:cubicBezTo>
                    <a:pt x="18" y="63"/>
                    <a:pt x="19" y="63"/>
                    <a:pt x="19" y="63"/>
                  </a:cubicBezTo>
                  <a:cubicBezTo>
                    <a:pt x="19" y="63"/>
                    <a:pt x="19" y="63"/>
                    <a:pt x="20" y="63"/>
                  </a:cubicBezTo>
                  <a:cubicBezTo>
                    <a:pt x="21" y="63"/>
                    <a:pt x="24" y="63"/>
                    <a:pt x="29" y="62"/>
                  </a:cubicBezTo>
                  <a:cubicBezTo>
                    <a:pt x="29" y="62"/>
                    <a:pt x="29" y="62"/>
                    <a:pt x="29" y="62"/>
                  </a:cubicBezTo>
                  <a:cubicBezTo>
                    <a:pt x="30" y="62"/>
                    <a:pt x="31" y="62"/>
                    <a:pt x="33" y="62"/>
                  </a:cubicBezTo>
                  <a:cubicBezTo>
                    <a:pt x="39" y="62"/>
                    <a:pt x="47" y="64"/>
                    <a:pt x="53" y="66"/>
                  </a:cubicBezTo>
                  <a:cubicBezTo>
                    <a:pt x="55" y="67"/>
                    <a:pt x="56" y="67"/>
                    <a:pt x="58" y="67"/>
                  </a:cubicBezTo>
                  <a:cubicBezTo>
                    <a:pt x="58" y="66"/>
                    <a:pt x="58" y="65"/>
                    <a:pt x="59" y="64"/>
                  </a:cubicBezTo>
                  <a:cubicBezTo>
                    <a:pt x="60" y="66"/>
                    <a:pt x="62" y="67"/>
                    <a:pt x="64" y="67"/>
                  </a:cubicBezTo>
                  <a:cubicBezTo>
                    <a:pt x="65" y="67"/>
                    <a:pt x="67" y="67"/>
                    <a:pt x="70" y="67"/>
                  </a:cubicBezTo>
                  <a:cubicBezTo>
                    <a:pt x="76" y="67"/>
                    <a:pt x="83" y="66"/>
                    <a:pt x="83" y="63"/>
                  </a:cubicBezTo>
                  <a:cubicBezTo>
                    <a:pt x="83" y="62"/>
                    <a:pt x="82" y="62"/>
                    <a:pt x="81" y="62"/>
                  </a:cubicBezTo>
                  <a:cubicBezTo>
                    <a:pt x="81" y="62"/>
                    <a:pt x="81" y="62"/>
                    <a:pt x="80" y="62"/>
                  </a:cubicBezTo>
                  <a:cubicBezTo>
                    <a:pt x="80" y="62"/>
                    <a:pt x="80" y="62"/>
                    <a:pt x="80" y="62"/>
                  </a:cubicBezTo>
                  <a:cubicBezTo>
                    <a:pt x="80" y="62"/>
                    <a:pt x="80" y="62"/>
                    <a:pt x="80" y="62"/>
                  </a:cubicBezTo>
                  <a:cubicBezTo>
                    <a:pt x="79" y="62"/>
                    <a:pt x="79" y="60"/>
                    <a:pt x="79" y="60"/>
                  </a:cubicBezTo>
                  <a:cubicBezTo>
                    <a:pt x="79" y="60"/>
                    <a:pt x="78" y="60"/>
                    <a:pt x="77" y="60"/>
                  </a:cubicBezTo>
                  <a:cubicBezTo>
                    <a:pt x="76" y="59"/>
                    <a:pt x="74" y="58"/>
                    <a:pt x="73" y="56"/>
                  </a:cubicBezTo>
                  <a:cubicBezTo>
                    <a:pt x="71" y="52"/>
                    <a:pt x="73" y="49"/>
                    <a:pt x="76" y="49"/>
                  </a:cubicBezTo>
                  <a:cubicBezTo>
                    <a:pt x="77" y="49"/>
                    <a:pt x="78" y="50"/>
                    <a:pt x="78" y="50"/>
                  </a:cubicBezTo>
                  <a:cubicBezTo>
                    <a:pt x="80" y="50"/>
                    <a:pt x="78" y="51"/>
                    <a:pt x="80" y="51"/>
                  </a:cubicBezTo>
                  <a:cubicBezTo>
                    <a:pt x="81" y="51"/>
                    <a:pt x="81" y="51"/>
                    <a:pt x="81" y="51"/>
                  </a:cubicBezTo>
                  <a:cubicBezTo>
                    <a:pt x="84" y="51"/>
                    <a:pt x="90" y="47"/>
                    <a:pt x="93" y="46"/>
                  </a:cubicBezTo>
                  <a:cubicBezTo>
                    <a:pt x="94" y="45"/>
                    <a:pt x="98" y="44"/>
                    <a:pt x="98" y="43"/>
                  </a:cubicBezTo>
                  <a:cubicBezTo>
                    <a:pt x="99" y="42"/>
                    <a:pt x="98" y="40"/>
                    <a:pt x="97" y="40"/>
                  </a:cubicBezTo>
                  <a:cubicBezTo>
                    <a:pt x="96" y="40"/>
                    <a:pt x="94" y="40"/>
                    <a:pt x="93" y="40"/>
                  </a:cubicBezTo>
                  <a:cubicBezTo>
                    <a:pt x="92" y="40"/>
                    <a:pt x="91" y="40"/>
                    <a:pt x="90" y="40"/>
                  </a:cubicBezTo>
                  <a:cubicBezTo>
                    <a:pt x="88" y="39"/>
                    <a:pt x="85" y="34"/>
                    <a:pt x="83" y="34"/>
                  </a:cubicBezTo>
                  <a:cubicBezTo>
                    <a:pt x="82" y="34"/>
                    <a:pt x="82" y="35"/>
                    <a:pt x="81" y="37"/>
                  </a:cubicBezTo>
                  <a:cubicBezTo>
                    <a:pt x="82" y="34"/>
                    <a:pt x="77" y="30"/>
                    <a:pt x="74" y="30"/>
                  </a:cubicBezTo>
                  <a:cubicBezTo>
                    <a:pt x="73" y="30"/>
                    <a:pt x="73" y="30"/>
                    <a:pt x="73" y="30"/>
                  </a:cubicBezTo>
                  <a:cubicBezTo>
                    <a:pt x="71" y="30"/>
                    <a:pt x="72" y="31"/>
                    <a:pt x="69" y="32"/>
                  </a:cubicBezTo>
                  <a:cubicBezTo>
                    <a:pt x="69" y="32"/>
                    <a:pt x="68" y="32"/>
                    <a:pt x="67" y="32"/>
                  </a:cubicBezTo>
                  <a:cubicBezTo>
                    <a:pt x="66" y="32"/>
                    <a:pt x="64" y="32"/>
                    <a:pt x="65" y="30"/>
                  </a:cubicBezTo>
                  <a:cubicBezTo>
                    <a:pt x="65" y="30"/>
                    <a:pt x="66" y="30"/>
                    <a:pt x="66" y="30"/>
                  </a:cubicBezTo>
                  <a:cubicBezTo>
                    <a:pt x="66" y="30"/>
                    <a:pt x="67" y="30"/>
                    <a:pt x="67" y="30"/>
                  </a:cubicBezTo>
                  <a:cubicBezTo>
                    <a:pt x="67" y="30"/>
                    <a:pt x="68" y="30"/>
                    <a:pt x="68" y="30"/>
                  </a:cubicBezTo>
                  <a:cubicBezTo>
                    <a:pt x="69" y="30"/>
                    <a:pt x="70" y="30"/>
                    <a:pt x="70" y="29"/>
                  </a:cubicBezTo>
                  <a:cubicBezTo>
                    <a:pt x="71" y="27"/>
                    <a:pt x="68" y="24"/>
                    <a:pt x="67" y="24"/>
                  </a:cubicBezTo>
                  <a:cubicBezTo>
                    <a:pt x="67" y="24"/>
                    <a:pt x="67" y="24"/>
                    <a:pt x="67" y="24"/>
                  </a:cubicBezTo>
                  <a:cubicBezTo>
                    <a:pt x="66" y="24"/>
                    <a:pt x="65" y="26"/>
                    <a:pt x="65" y="26"/>
                  </a:cubicBezTo>
                  <a:cubicBezTo>
                    <a:pt x="62" y="28"/>
                    <a:pt x="59" y="28"/>
                    <a:pt x="54" y="28"/>
                  </a:cubicBezTo>
                  <a:cubicBezTo>
                    <a:pt x="55" y="28"/>
                    <a:pt x="56" y="28"/>
                    <a:pt x="57" y="27"/>
                  </a:cubicBezTo>
                  <a:cubicBezTo>
                    <a:pt x="59" y="25"/>
                    <a:pt x="58" y="27"/>
                    <a:pt x="58" y="25"/>
                  </a:cubicBezTo>
                  <a:cubicBezTo>
                    <a:pt x="58" y="23"/>
                    <a:pt x="58" y="23"/>
                    <a:pt x="58" y="22"/>
                  </a:cubicBezTo>
                  <a:cubicBezTo>
                    <a:pt x="58" y="20"/>
                    <a:pt x="58" y="21"/>
                    <a:pt x="59" y="19"/>
                  </a:cubicBezTo>
                  <a:cubicBezTo>
                    <a:pt x="60" y="18"/>
                    <a:pt x="61" y="19"/>
                    <a:pt x="61" y="17"/>
                  </a:cubicBezTo>
                  <a:cubicBezTo>
                    <a:pt x="61" y="15"/>
                    <a:pt x="58" y="13"/>
                    <a:pt x="57" y="12"/>
                  </a:cubicBezTo>
                  <a:cubicBezTo>
                    <a:pt x="55" y="9"/>
                    <a:pt x="55" y="10"/>
                    <a:pt x="52" y="10"/>
                  </a:cubicBezTo>
                  <a:cubicBezTo>
                    <a:pt x="48" y="9"/>
                    <a:pt x="48" y="1"/>
                    <a:pt x="45" y="1"/>
                  </a:cubicBezTo>
                  <a:cubicBezTo>
                    <a:pt x="45" y="1"/>
                    <a:pt x="45" y="1"/>
                    <a:pt x="44" y="1"/>
                  </a:cubicBezTo>
                  <a:cubicBezTo>
                    <a:pt x="43" y="1"/>
                    <a:pt x="44" y="3"/>
                    <a:pt x="44" y="4"/>
                  </a:cubicBezTo>
                  <a:cubicBezTo>
                    <a:pt x="43" y="7"/>
                    <a:pt x="41" y="9"/>
                    <a:pt x="37" y="11"/>
                  </a:cubicBezTo>
                  <a:cubicBezTo>
                    <a:pt x="37" y="9"/>
                    <a:pt x="38" y="8"/>
                    <a:pt x="38" y="7"/>
                  </a:cubicBezTo>
                  <a:cubicBezTo>
                    <a:pt x="39" y="4"/>
                    <a:pt x="38" y="3"/>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463"/>
            <p:cNvSpPr/>
            <p:nvPr/>
          </p:nvSpPr>
          <p:spPr bwMode="auto">
            <a:xfrm>
              <a:off x="6209516" y="5486669"/>
              <a:ext cx="456663" cy="288772"/>
            </a:xfrm>
            <a:custGeom>
              <a:gdLst>
                <a:gd name="T0" fmla="*/ 128 w 144"/>
                <a:gd name="T1" fmla="*/ 0 h 91"/>
                <a:gd name="T2" fmla="*/ 129 w 144"/>
                <a:gd name="T3" fmla="*/ 6 h 91"/>
                <a:gd name="T4" fmla="*/ 129 w 144"/>
                <a:gd name="T5" fmla="*/ 8 h 91"/>
                <a:gd name="T6" fmla="*/ 127 w 144"/>
                <a:gd name="T7" fmla="*/ 15 h 91"/>
                <a:gd name="T8" fmla="*/ 121 w 144"/>
                <a:gd name="T9" fmla="*/ 19 h 91"/>
                <a:gd name="T10" fmla="*/ 112 w 144"/>
                <a:gd name="T11" fmla="*/ 10 h 91"/>
                <a:gd name="T12" fmla="*/ 111 w 144"/>
                <a:gd name="T13" fmla="*/ 9 h 91"/>
                <a:gd name="T14" fmla="*/ 106 w 144"/>
                <a:gd name="T15" fmla="*/ 5 h 91"/>
                <a:gd name="T16" fmla="*/ 83 w 144"/>
                <a:gd name="T17" fmla="*/ 35 h 91"/>
                <a:gd name="T18" fmla="*/ 50 w 144"/>
                <a:gd name="T19" fmla="*/ 45 h 91"/>
                <a:gd name="T20" fmla="*/ 42 w 144"/>
                <a:gd name="T21" fmla="*/ 57 h 91"/>
                <a:gd name="T22" fmla="*/ 38 w 144"/>
                <a:gd name="T23" fmla="*/ 56 h 91"/>
                <a:gd name="T24" fmla="*/ 38 w 144"/>
                <a:gd name="T25" fmla="*/ 56 h 91"/>
                <a:gd name="T26" fmla="*/ 38 w 144"/>
                <a:gd name="T27" fmla="*/ 57 h 91"/>
                <a:gd name="T28" fmla="*/ 38 w 144"/>
                <a:gd name="T29" fmla="*/ 75 h 91"/>
                <a:gd name="T30" fmla="*/ 41 w 144"/>
                <a:gd name="T31" fmla="*/ 82 h 91"/>
                <a:gd name="T32" fmla="*/ 33 w 144"/>
                <a:gd name="T33" fmla="*/ 81 h 91"/>
                <a:gd name="T34" fmla="*/ 24 w 144"/>
                <a:gd name="T35" fmla="*/ 79 h 91"/>
                <a:gd name="T36" fmla="*/ 20 w 144"/>
                <a:gd name="T37" fmla="*/ 73 h 91"/>
                <a:gd name="T38" fmla="*/ 19 w 144"/>
                <a:gd name="T39" fmla="*/ 72 h 91"/>
                <a:gd name="T40" fmla="*/ 10 w 144"/>
                <a:gd name="T41" fmla="*/ 74 h 91"/>
                <a:gd name="T42" fmla="*/ 1 w 144"/>
                <a:gd name="T43" fmla="*/ 67 h 91"/>
                <a:gd name="T44" fmla="*/ 0 w 144"/>
                <a:gd name="T45" fmla="*/ 70 h 91"/>
                <a:gd name="T46" fmla="*/ 9 w 144"/>
                <a:gd name="T47" fmla="*/ 80 h 91"/>
                <a:gd name="T48" fmla="*/ 18 w 144"/>
                <a:gd name="T49" fmla="*/ 88 h 91"/>
                <a:gd name="T50" fmla="*/ 22 w 144"/>
                <a:gd name="T51" fmla="*/ 91 h 91"/>
                <a:gd name="T52" fmla="*/ 29 w 144"/>
                <a:gd name="T53" fmla="*/ 89 h 91"/>
                <a:gd name="T54" fmla="*/ 32 w 144"/>
                <a:gd name="T55" fmla="*/ 87 h 91"/>
                <a:gd name="T56" fmla="*/ 46 w 144"/>
                <a:gd name="T57" fmla="*/ 87 h 91"/>
                <a:gd name="T58" fmla="*/ 49 w 144"/>
                <a:gd name="T59" fmla="*/ 87 h 91"/>
                <a:gd name="T60" fmla="*/ 57 w 144"/>
                <a:gd name="T61" fmla="*/ 84 h 91"/>
                <a:gd name="T62" fmla="*/ 58 w 144"/>
                <a:gd name="T63" fmla="*/ 83 h 91"/>
                <a:gd name="T64" fmla="*/ 66 w 144"/>
                <a:gd name="T65" fmla="*/ 76 h 91"/>
                <a:gd name="T66" fmla="*/ 85 w 144"/>
                <a:gd name="T67" fmla="*/ 76 h 91"/>
                <a:gd name="T68" fmla="*/ 88 w 144"/>
                <a:gd name="T69" fmla="*/ 78 h 91"/>
                <a:gd name="T70" fmla="*/ 97 w 144"/>
                <a:gd name="T71" fmla="*/ 81 h 91"/>
                <a:gd name="T72" fmla="*/ 98 w 144"/>
                <a:gd name="T73" fmla="*/ 81 h 91"/>
                <a:gd name="T74" fmla="*/ 100 w 144"/>
                <a:gd name="T75" fmla="*/ 80 h 91"/>
                <a:gd name="T76" fmla="*/ 110 w 144"/>
                <a:gd name="T77" fmla="*/ 77 h 91"/>
                <a:gd name="T78" fmla="*/ 114 w 144"/>
                <a:gd name="T79" fmla="*/ 77 h 91"/>
                <a:gd name="T80" fmla="*/ 115 w 144"/>
                <a:gd name="T81" fmla="*/ 77 h 91"/>
                <a:gd name="T82" fmla="*/ 118 w 144"/>
                <a:gd name="T83" fmla="*/ 76 h 91"/>
                <a:gd name="T84" fmla="*/ 120 w 144"/>
                <a:gd name="T85" fmla="*/ 71 h 91"/>
                <a:gd name="T86" fmla="*/ 123 w 144"/>
                <a:gd name="T87" fmla="*/ 67 h 91"/>
                <a:gd name="T88" fmla="*/ 124 w 144"/>
                <a:gd name="T89" fmla="*/ 66 h 91"/>
                <a:gd name="T90" fmla="*/ 124 w 144"/>
                <a:gd name="T91" fmla="*/ 65 h 91"/>
                <a:gd name="T92" fmla="*/ 127 w 144"/>
                <a:gd name="T93" fmla="*/ 55 h 91"/>
                <a:gd name="T94" fmla="*/ 130 w 144"/>
                <a:gd name="T95" fmla="*/ 53 h 91"/>
                <a:gd name="T96" fmla="*/ 130 w 144"/>
                <a:gd name="T97" fmla="*/ 52 h 91"/>
                <a:gd name="T98" fmla="*/ 140 w 144"/>
                <a:gd name="T99" fmla="*/ 37 h 91"/>
                <a:gd name="T100" fmla="*/ 141 w 144"/>
                <a:gd name="T101" fmla="*/ 36 h 91"/>
                <a:gd name="T102" fmla="*/ 144 w 144"/>
                <a:gd name="T103" fmla="*/ 12 h 91"/>
                <a:gd name="T104" fmla="*/ 137 w 144"/>
                <a:gd name="T105" fmla="*/ 11 h 91"/>
                <a:gd name="T106" fmla="*/ 130 w 144"/>
                <a:gd name="T107" fmla="*/ 7 h 91"/>
                <a:gd name="T108" fmla="*/ 128 w 144"/>
                <a:gd name="T109" fmla="*/ 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 h="91">
                  <a:moveTo>
                    <a:pt x="128" y="0"/>
                  </a:moveTo>
                  <a:cubicBezTo>
                    <a:pt x="128" y="0"/>
                    <a:pt x="128" y="0"/>
                    <a:pt x="128" y="0"/>
                  </a:cubicBezTo>
                  <a:cubicBezTo>
                    <a:pt x="128" y="0"/>
                    <a:pt x="128" y="0"/>
                    <a:pt x="128" y="1"/>
                  </a:cubicBezTo>
                  <a:cubicBezTo>
                    <a:pt x="129" y="2"/>
                    <a:pt x="129" y="4"/>
                    <a:pt x="129" y="6"/>
                  </a:cubicBezTo>
                  <a:cubicBezTo>
                    <a:pt x="129" y="6"/>
                    <a:pt x="129" y="6"/>
                    <a:pt x="129" y="6"/>
                  </a:cubicBezTo>
                  <a:cubicBezTo>
                    <a:pt x="129" y="7"/>
                    <a:pt x="129" y="8"/>
                    <a:pt x="129" y="8"/>
                  </a:cubicBezTo>
                  <a:cubicBezTo>
                    <a:pt x="129" y="10"/>
                    <a:pt x="129" y="11"/>
                    <a:pt x="129" y="12"/>
                  </a:cubicBezTo>
                  <a:cubicBezTo>
                    <a:pt x="129" y="13"/>
                    <a:pt x="128" y="14"/>
                    <a:pt x="127" y="15"/>
                  </a:cubicBezTo>
                  <a:cubicBezTo>
                    <a:pt x="125" y="18"/>
                    <a:pt x="123" y="19"/>
                    <a:pt x="122" y="19"/>
                  </a:cubicBezTo>
                  <a:cubicBezTo>
                    <a:pt x="121" y="19"/>
                    <a:pt x="121" y="19"/>
                    <a:pt x="121" y="19"/>
                  </a:cubicBezTo>
                  <a:cubicBezTo>
                    <a:pt x="118" y="18"/>
                    <a:pt x="116" y="16"/>
                    <a:pt x="113" y="12"/>
                  </a:cubicBezTo>
                  <a:cubicBezTo>
                    <a:pt x="112" y="11"/>
                    <a:pt x="112" y="10"/>
                    <a:pt x="112" y="10"/>
                  </a:cubicBezTo>
                  <a:cubicBezTo>
                    <a:pt x="111" y="10"/>
                    <a:pt x="111" y="10"/>
                    <a:pt x="111" y="9"/>
                  </a:cubicBezTo>
                  <a:cubicBezTo>
                    <a:pt x="111" y="9"/>
                    <a:pt x="111" y="9"/>
                    <a:pt x="111" y="9"/>
                  </a:cubicBezTo>
                  <a:cubicBezTo>
                    <a:pt x="111" y="8"/>
                    <a:pt x="110" y="8"/>
                    <a:pt x="110" y="7"/>
                  </a:cubicBezTo>
                  <a:cubicBezTo>
                    <a:pt x="110" y="7"/>
                    <a:pt x="108" y="6"/>
                    <a:pt x="106" y="5"/>
                  </a:cubicBezTo>
                  <a:cubicBezTo>
                    <a:pt x="102" y="10"/>
                    <a:pt x="97" y="16"/>
                    <a:pt x="93" y="22"/>
                  </a:cubicBezTo>
                  <a:cubicBezTo>
                    <a:pt x="90" y="26"/>
                    <a:pt x="87" y="31"/>
                    <a:pt x="83" y="35"/>
                  </a:cubicBezTo>
                  <a:cubicBezTo>
                    <a:pt x="81" y="38"/>
                    <a:pt x="78" y="39"/>
                    <a:pt x="74" y="40"/>
                  </a:cubicBezTo>
                  <a:cubicBezTo>
                    <a:pt x="67" y="42"/>
                    <a:pt x="58" y="43"/>
                    <a:pt x="50" y="45"/>
                  </a:cubicBezTo>
                  <a:cubicBezTo>
                    <a:pt x="46" y="46"/>
                    <a:pt x="47" y="47"/>
                    <a:pt x="46" y="51"/>
                  </a:cubicBezTo>
                  <a:cubicBezTo>
                    <a:pt x="45" y="53"/>
                    <a:pt x="45" y="57"/>
                    <a:pt x="42" y="57"/>
                  </a:cubicBezTo>
                  <a:cubicBezTo>
                    <a:pt x="41" y="57"/>
                    <a:pt x="40"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7" y="56"/>
                    <a:pt x="38" y="56"/>
                    <a:pt x="38" y="57"/>
                  </a:cubicBezTo>
                  <a:cubicBezTo>
                    <a:pt x="38" y="59"/>
                    <a:pt x="39" y="62"/>
                    <a:pt x="40" y="63"/>
                  </a:cubicBezTo>
                  <a:cubicBezTo>
                    <a:pt x="36" y="66"/>
                    <a:pt x="31" y="74"/>
                    <a:pt x="38" y="75"/>
                  </a:cubicBezTo>
                  <a:cubicBezTo>
                    <a:pt x="35" y="75"/>
                    <a:pt x="29" y="75"/>
                    <a:pt x="33" y="79"/>
                  </a:cubicBezTo>
                  <a:cubicBezTo>
                    <a:pt x="35" y="81"/>
                    <a:pt x="39" y="81"/>
                    <a:pt x="41" y="82"/>
                  </a:cubicBezTo>
                  <a:cubicBezTo>
                    <a:pt x="40" y="82"/>
                    <a:pt x="40" y="82"/>
                    <a:pt x="39" y="82"/>
                  </a:cubicBezTo>
                  <a:cubicBezTo>
                    <a:pt x="37" y="82"/>
                    <a:pt x="35" y="82"/>
                    <a:pt x="33" y="81"/>
                  </a:cubicBezTo>
                  <a:cubicBezTo>
                    <a:pt x="30" y="80"/>
                    <a:pt x="28" y="79"/>
                    <a:pt x="26" y="79"/>
                  </a:cubicBezTo>
                  <a:cubicBezTo>
                    <a:pt x="25" y="79"/>
                    <a:pt x="25" y="79"/>
                    <a:pt x="24" y="79"/>
                  </a:cubicBezTo>
                  <a:cubicBezTo>
                    <a:pt x="26" y="78"/>
                    <a:pt x="25" y="77"/>
                    <a:pt x="23" y="76"/>
                  </a:cubicBezTo>
                  <a:cubicBezTo>
                    <a:pt x="23" y="75"/>
                    <a:pt x="20" y="73"/>
                    <a:pt x="20" y="73"/>
                  </a:cubicBezTo>
                  <a:cubicBezTo>
                    <a:pt x="20" y="73"/>
                    <a:pt x="20" y="73"/>
                    <a:pt x="20" y="73"/>
                  </a:cubicBezTo>
                  <a:cubicBezTo>
                    <a:pt x="19" y="72"/>
                    <a:pt x="19" y="72"/>
                    <a:pt x="19" y="72"/>
                  </a:cubicBezTo>
                  <a:cubicBezTo>
                    <a:pt x="16" y="72"/>
                    <a:pt x="14" y="74"/>
                    <a:pt x="12" y="74"/>
                  </a:cubicBezTo>
                  <a:cubicBezTo>
                    <a:pt x="11" y="74"/>
                    <a:pt x="11" y="74"/>
                    <a:pt x="10" y="74"/>
                  </a:cubicBezTo>
                  <a:cubicBezTo>
                    <a:pt x="9" y="74"/>
                    <a:pt x="8" y="74"/>
                    <a:pt x="7" y="73"/>
                  </a:cubicBezTo>
                  <a:cubicBezTo>
                    <a:pt x="4" y="73"/>
                    <a:pt x="2" y="70"/>
                    <a:pt x="1" y="67"/>
                  </a:cubicBezTo>
                  <a:cubicBezTo>
                    <a:pt x="0" y="67"/>
                    <a:pt x="0" y="67"/>
                    <a:pt x="0" y="67"/>
                  </a:cubicBezTo>
                  <a:cubicBezTo>
                    <a:pt x="0" y="68"/>
                    <a:pt x="0" y="69"/>
                    <a:pt x="0" y="70"/>
                  </a:cubicBezTo>
                  <a:cubicBezTo>
                    <a:pt x="0" y="73"/>
                    <a:pt x="5" y="77"/>
                    <a:pt x="8" y="79"/>
                  </a:cubicBezTo>
                  <a:cubicBezTo>
                    <a:pt x="9" y="80"/>
                    <a:pt x="9" y="80"/>
                    <a:pt x="9" y="80"/>
                  </a:cubicBezTo>
                  <a:cubicBezTo>
                    <a:pt x="11" y="82"/>
                    <a:pt x="13" y="84"/>
                    <a:pt x="15" y="86"/>
                  </a:cubicBezTo>
                  <a:cubicBezTo>
                    <a:pt x="18" y="88"/>
                    <a:pt x="18" y="88"/>
                    <a:pt x="18" y="88"/>
                  </a:cubicBezTo>
                  <a:cubicBezTo>
                    <a:pt x="18" y="88"/>
                    <a:pt x="18" y="88"/>
                    <a:pt x="19" y="89"/>
                  </a:cubicBezTo>
                  <a:cubicBezTo>
                    <a:pt x="19" y="89"/>
                    <a:pt x="21" y="91"/>
                    <a:pt x="22" y="91"/>
                  </a:cubicBezTo>
                  <a:cubicBezTo>
                    <a:pt x="22" y="91"/>
                    <a:pt x="22" y="91"/>
                    <a:pt x="22" y="91"/>
                  </a:cubicBezTo>
                  <a:cubicBezTo>
                    <a:pt x="24" y="91"/>
                    <a:pt x="27" y="90"/>
                    <a:pt x="29" y="89"/>
                  </a:cubicBezTo>
                  <a:cubicBezTo>
                    <a:pt x="30" y="88"/>
                    <a:pt x="30" y="88"/>
                    <a:pt x="30" y="88"/>
                  </a:cubicBezTo>
                  <a:cubicBezTo>
                    <a:pt x="31" y="88"/>
                    <a:pt x="31" y="88"/>
                    <a:pt x="32" y="87"/>
                  </a:cubicBezTo>
                  <a:cubicBezTo>
                    <a:pt x="35" y="86"/>
                    <a:pt x="37" y="86"/>
                    <a:pt x="39" y="86"/>
                  </a:cubicBezTo>
                  <a:cubicBezTo>
                    <a:pt x="42" y="86"/>
                    <a:pt x="44" y="86"/>
                    <a:pt x="46" y="87"/>
                  </a:cubicBezTo>
                  <a:cubicBezTo>
                    <a:pt x="47" y="87"/>
                    <a:pt x="47" y="87"/>
                    <a:pt x="47" y="87"/>
                  </a:cubicBezTo>
                  <a:cubicBezTo>
                    <a:pt x="47" y="87"/>
                    <a:pt x="48" y="87"/>
                    <a:pt x="49" y="87"/>
                  </a:cubicBezTo>
                  <a:cubicBezTo>
                    <a:pt x="49" y="87"/>
                    <a:pt x="50" y="87"/>
                    <a:pt x="50" y="87"/>
                  </a:cubicBezTo>
                  <a:cubicBezTo>
                    <a:pt x="52" y="87"/>
                    <a:pt x="56" y="85"/>
                    <a:pt x="57" y="84"/>
                  </a:cubicBezTo>
                  <a:cubicBezTo>
                    <a:pt x="57" y="84"/>
                    <a:pt x="57" y="84"/>
                    <a:pt x="57" y="84"/>
                  </a:cubicBezTo>
                  <a:cubicBezTo>
                    <a:pt x="58" y="83"/>
                    <a:pt x="58" y="83"/>
                    <a:pt x="58" y="83"/>
                  </a:cubicBezTo>
                  <a:cubicBezTo>
                    <a:pt x="59" y="78"/>
                    <a:pt x="60" y="77"/>
                    <a:pt x="64" y="76"/>
                  </a:cubicBezTo>
                  <a:cubicBezTo>
                    <a:pt x="66" y="76"/>
                    <a:pt x="66" y="76"/>
                    <a:pt x="66" y="76"/>
                  </a:cubicBezTo>
                  <a:cubicBezTo>
                    <a:pt x="72" y="74"/>
                    <a:pt x="77" y="74"/>
                    <a:pt x="79" y="74"/>
                  </a:cubicBezTo>
                  <a:cubicBezTo>
                    <a:pt x="83" y="74"/>
                    <a:pt x="84" y="75"/>
                    <a:pt x="85" y="76"/>
                  </a:cubicBezTo>
                  <a:cubicBezTo>
                    <a:pt x="85" y="76"/>
                    <a:pt x="85" y="77"/>
                    <a:pt x="85" y="77"/>
                  </a:cubicBezTo>
                  <a:cubicBezTo>
                    <a:pt x="86" y="78"/>
                    <a:pt x="87" y="78"/>
                    <a:pt x="88" y="78"/>
                  </a:cubicBezTo>
                  <a:cubicBezTo>
                    <a:pt x="89" y="79"/>
                    <a:pt x="89" y="79"/>
                    <a:pt x="89" y="79"/>
                  </a:cubicBezTo>
                  <a:cubicBezTo>
                    <a:pt x="92" y="80"/>
                    <a:pt x="95" y="81"/>
                    <a:pt x="97" y="81"/>
                  </a:cubicBezTo>
                  <a:cubicBezTo>
                    <a:pt x="97" y="81"/>
                    <a:pt x="97" y="81"/>
                    <a:pt x="98" y="81"/>
                  </a:cubicBezTo>
                  <a:cubicBezTo>
                    <a:pt x="98" y="81"/>
                    <a:pt x="98" y="81"/>
                    <a:pt x="98" y="81"/>
                  </a:cubicBezTo>
                  <a:cubicBezTo>
                    <a:pt x="98" y="81"/>
                    <a:pt x="98" y="81"/>
                    <a:pt x="98" y="81"/>
                  </a:cubicBezTo>
                  <a:cubicBezTo>
                    <a:pt x="99" y="80"/>
                    <a:pt x="99" y="80"/>
                    <a:pt x="100" y="80"/>
                  </a:cubicBezTo>
                  <a:cubicBezTo>
                    <a:pt x="102" y="79"/>
                    <a:pt x="105" y="78"/>
                    <a:pt x="108" y="77"/>
                  </a:cubicBezTo>
                  <a:cubicBezTo>
                    <a:pt x="109" y="77"/>
                    <a:pt x="109" y="77"/>
                    <a:pt x="110" y="77"/>
                  </a:cubicBezTo>
                  <a:cubicBezTo>
                    <a:pt x="115" y="76"/>
                    <a:pt x="115" y="76"/>
                    <a:pt x="115" y="76"/>
                  </a:cubicBezTo>
                  <a:cubicBezTo>
                    <a:pt x="114" y="77"/>
                    <a:pt x="114" y="77"/>
                    <a:pt x="114" y="77"/>
                  </a:cubicBezTo>
                  <a:cubicBezTo>
                    <a:pt x="115" y="77"/>
                    <a:pt x="115" y="77"/>
                    <a:pt x="115" y="77"/>
                  </a:cubicBezTo>
                  <a:cubicBezTo>
                    <a:pt x="115" y="77"/>
                    <a:pt x="115" y="77"/>
                    <a:pt x="115" y="77"/>
                  </a:cubicBezTo>
                  <a:cubicBezTo>
                    <a:pt x="116" y="77"/>
                    <a:pt x="117" y="77"/>
                    <a:pt x="117" y="77"/>
                  </a:cubicBezTo>
                  <a:cubicBezTo>
                    <a:pt x="118" y="77"/>
                    <a:pt x="118" y="77"/>
                    <a:pt x="118" y="76"/>
                  </a:cubicBezTo>
                  <a:cubicBezTo>
                    <a:pt x="119" y="73"/>
                    <a:pt x="119" y="73"/>
                    <a:pt x="119" y="73"/>
                  </a:cubicBezTo>
                  <a:cubicBezTo>
                    <a:pt x="119" y="72"/>
                    <a:pt x="120" y="71"/>
                    <a:pt x="120" y="71"/>
                  </a:cubicBezTo>
                  <a:cubicBezTo>
                    <a:pt x="120" y="70"/>
                    <a:pt x="120" y="70"/>
                    <a:pt x="121" y="69"/>
                  </a:cubicBezTo>
                  <a:cubicBezTo>
                    <a:pt x="121" y="68"/>
                    <a:pt x="122" y="68"/>
                    <a:pt x="123" y="67"/>
                  </a:cubicBezTo>
                  <a:cubicBezTo>
                    <a:pt x="123" y="67"/>
                    <a:pt x="123" y="67"/>
                    <a:pt x="123" y="67"/>
                  </a:cubicBezTo>
                  <a:cubicBezTo>
                    <a:pt x="124" y="66"/>
                    <a:pt x="124" y="66"/>
                    <a:pt x="124" y="66"/>
                  </a:cubicBezTo>
                  <a:cubicBezTo>
                    <a:pt x="124" y="66"/>
                    <a:pt x="124" y="66"/>
                    <a:pt x="124" y="66"/>
                  </a:cubicBezTo>
                  <a:cubicBezTo>
                    <a:pt x="124" y="65"/>
                    <a:pt x="124" y="65"/>
                    <a:pt x="124" y="65"/>
                  </a:cubicBezTo>
                  <a:cubicBezTo>
                    <a:pt x="123" y="63"/>
                    <a:pt x="122" y="61"/>
                    <a:pt x="123" y="58"/>
                  </a:cubicBezTo>
                  <a:cubicBezTo>
                    <a:pt x="123" y="57"/>
                    <a:pt x="124" y="57"/>
                    <a:pt x="127" y="55"/>
                  </a:cubicBezTo>
                  <a:cubicBezTo>
                    <a:pt x="128" y="54"/>
                    <a:pt x="128" y="54"/>
                    <a:pt x="128" y="54"/>
                  </a:cubicBezTo>
                  <a:cubicBezTo>
                    <a:pt x="129" y="54"/>
                    <a:pt x="129" y="53"/>
                    <a:pt x="130" y="53"/>
                  </a:cubicBezTo>
                  <a:cubicBezTo>
                    <a:pt x="131" y="53"/>
                    <a:pt x="131" y="53"/>
                    <a:pt x="131" y="53"/>
                  </a:cubicBezTo>
                  <a:cubicBezTo>
                    <a:pt x="130" y="52"/>
                    <a:pt x="130" y="52"/>
                    <a:pt x="130" y="52"/>
                  </a:cubicBezTo>
                  <a:cubicBezTo>
                    <a:pt x="129" y="48"/>
                    <a:pt x="130" y="44"/>
                    <a:pt x="132" y="41"/>
                  </a:cubicBezTo>
                  <a:cubicBezTo>
                    <a:pt x="134" y="39"/>
                    <a:pt x="137" y="37"/>
                    <a:pt x="140" y="37"/>
                  </a:cubicBezTo>
                  <a:cubicBezTo>
                    <a:pt x="140" y="37"/>
                    <a:pt x="140" y="37"/>
                    <a:pt x="141" y="37"/>
                  </a:cubicBezTo>
                  <a:cubicBezTo>
                    <a:pt x="141" y="37"/>
                    <a:pt x="141" y="37"/>
                    <a:pt x="141" y="36"/>
                  </a:cubicBezTo>
                  <a:cubicBezTo>
                    <a:pt x="143" y="31"/>
                    <a:pt x="142" y="27"/>
                    <a:pt x="142" y="21"/>
                  </a:cubicBezTo>
                  <a:cubicBezTo>
                    <a:pt x="141" y="18"/>
                    <a:pt x="142" y="15"/>
                    <a:pt x="144" y="12"/>
                  </a:cubicBezTo>
                  <a:cubicBezTo>
                    <a:pt x="139" y="11"/>
                    <a:pt x="139" y="11"/>
                    <a:pt x="139" y="11"/>
                  </a:cubicBezTo>
                  <a:cubicBezTo>
                    <a:pt x="138" y="11"/>
                    <a:pt x="137" y="11"/>
                    <a:pt x="137" y="11"/>
                  </a:cubicBezTo>
                  <a:cubicBezTo>
                    <a:pt x="136" y="11"/>
                    <a:pt x="136" y="11"/>
                    <a:pt x="136" y="11"/>
                  </a:cubicBezTo>
                  <a:cubicBezTo>
                    <a:pt x="133" y="11"/>
                    <a:pt x="131" y="9"/>
                    <a:pt x="130" y="7"/>
                  </a:cubicBezTo>
                  <a:cubicBezTo>
                    <a:pt x="130" y="6"/>
                    <a:pt x="130" y="6"/>
                    <a:pt x="130" y="6"/>
                  </a:cubicBezTo>
                  <a:cubicBezTo>
                    <a:pt x="129" y="4"/>
                    <a:pt x="129" y="2"/>
                    <a:pt x="1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464"/>
            <p:cNvSpPr/>
            <p:nvPr/>
          </p:nvSpPr>
          <p:spPr bwMode="auto">
            <a:xfrm>
              <a:off x="6539925" y="5479953"/>
              <a:ext cx="2686" cy="2686"/>
            </a:xfrm>
            <a:custGeom>
              <a:gdLst>
                <a:gd name="T0" fmla="*/ 0 w 2"/>
                <a:gd name="T1" fmla="*/ 0 h 2"/>
                <a:gd name="T2" fmla="*/ 2 w 2"/>
                <a:gd name="T3" fmla="*/ 2 h 2"/>
                <a:gd name="T4" fmla="*/ 2 w 2"/>
                <a:gd name="T5" fmla="*/ 0 h 2"/>
                <a:gd name="T6" fmla="*/ 0 w 2"/>
                <a:gd name="T7" fmla="*/ 0 h 2"/>
              </a:gdLst>
              <a:cxnLst>
                <a:cxn ang="0">
                  <a:pos x="T0" y="T1"/>
                </a:cxn>
                <a:cxn ang="0">
                  <a:pos x="T2" y="T3"/>
                </a:cxn>
                <a:cxn ang="0">
                  <a:pos x="T4" y="T5"/>
                </a:cxn>
                <a:cxn ang="0">
                  <a:pos x="T6" y="T7"/>
                </a:cxn>
              </a:cxnLst>
              <a:rect l="0" t="0" r="r" b="b"/>
              <a:pathLst>
                <a:path w="2" h="2">
                  <a:moveTo>
                    <a:pt x="0" y="0"/>
                  </a:moveTo>
                  <a:lnTo>
                    <a:pt x="2" y="2"/>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465"/>
            <p:cNvSpPr/>
            <p:nvPr/>
          </p:nvSpPr>
          <p:spPr bwMode="auto">
            <a:xfrm>
              <a:off x="6539925" y="5479953"/>
              <a:ext cx="2686" cy="2686"/>
            </a:xfrm>
            <a:custGeom>
              <a:gdLst>
                <a:gd name="T0" fmla="*/ 0 w 2"/>
                <a:gd name="T1" fmla="*/ 0 h 2"/>
                <a:gd name="T2" fmla="*/ 2 w 2"/>
                <a:gd name="T3" fmla="*/ 2 h 2"/>
                <a:gd name="T4" fmla="*/ 2 w 2"/>
                <a:gd name="T5" fmla="*/ 0 h 2"/>
                <a:gd name="T6" fmla="*/ 0 w 2"/>
                <a:gd name="T7" fmla="*/ 0 h 2"/>
              </a:gdLst>
              <a:cxnLst>
                <a:cxn ang="0">
                  <a:pos x="T0" y="T1"/>
                </a:cxn>
                <a:cxn ang="0">
                  <a:pos x="T2" y="T3"/>
                </a:cxn>
                <a:cxn ang="0">
                  <a:pos x="T4" y="T5"/>
                </a:cxn>
                <a:cxn ang="0">
                  <a:pos x="T6" y="T7"/>
                </a:cxn>
              </a:cxnLst>
              <a:rect l="0" t="0" r="r" b="b"/>
              <a:pathLst>
                <a:path w="2" h="2">
                  <a:moveTo>
                    <a:pt x="0" y="0"/>
                  </a:moveTo>
                  <a:lnTo>
                    <a:pt x="2" y="2"/>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466"/>
            <p:cNvSpPr/>
            <p:nvPr/>
          </p:nvSpPr>
          <p:spPr bwMode="auto">
            <a:xfrm>
              <a:off x="6565445" y="5461149"/>
              <a:ext cx="53725" cy="65813"/>
            </a:xfrm>
            <a:custGeom>
              <a:gdLst>
                <a:gd name="T0" fmla="*/ 17 w 17"/>
                <a:gd name="T1" fmla="*/ 0 h 21"/>
                <a:gd name="T2" fmla="*/ 8 w 17"/>
                <a:gd name="T3" fmla="*/ 6 h 21"/>
                <a:gd name="T4" fmla="*/ 0 w 17"/>
                <a:gd name="T5" fmla="*/ 9 h 21"/>
                <a:gd name="T6" fmla="*/ 3 w 17"/>
                <a:gd name="T7" fmla="*/ 12 h 21"/>
                <a:gd name="T8" fmla="*/ 4 w 17"/>
                <a:gd name="T9" fmla="*/ 14 h 21"/>
                <a:gd name="T10" fmla="*/ 4 w 17"/>
                <a:gd name="T11" fmla="*/ 14 h 21"/>
                <a:gd name="T12" fmla="*/ 6 w 17"/>
                <a:gd name="T13" fmla="*/ 16 h 21"/>
                <a:gd name="T14" fmla="*/ 10 w 17"/>
                <a:gd name="T15" fmla="*/ 21 h 21"/>
                <a:gd name="T16" fmla="*/ 10 w 17"/>
                <a:gd name="T17" fmla="*/ 20 h 21"/>
                <a:gd name="T18" fmla="*/ 11 w 17"/>
                <a:gd name="T19" fmla="*/ 19 h 21"/>
                <a:gd name="T20" fmla="*/ 11 w 17"/>
                <a:gd name="T21" fmla="*/ 19 h 21"/>
                <a:gd name="T22" fmla="*/ 11 w 17"/>
                <a:gd name="T23" fmla="*/ 17 h 21"/>
                <a:gd name="T24" fmla="*/ 11 w 17"/>
                <a:gd name="T25" fmla="*/ 15 h 21"/>
                <a:gd name="T26" fmla="*/ 10 w 17"/>
                <a:gd name="T27" fmla="*/ 10 h 21"/>
                <a:gd name="T28" fmla="*/ 10 w 17"/>
                <a:gd name="T29" fmla="*/ 9 h 21"/>
                <a:gd name="T30" fmla="*/ 10 w 17"/>
                <a:gd name="T31" fmla="*/ 6 h 21"/>
                <a:gd name="T32" fmla="*/ 11 w 17"/>
                <a:gd name="T33" fmla="*/ 4 h 21"/>
                <a:gd name="T34" fmla="*/ 11 w 17"/>
                <a:gd name="T35" fmla="*/ 4 h 21"/>
                <a:gd name="T36" fmla="*/ 12 w 17"/>
                <a:gd name="T37" fmla="*/ 3 h 21"/>
                <a:gd name="T38" fmla="*/ 14 w 17"/>
                <a:gd name="T39" fmla="*/ 2 h 21"/>
                <a:gd name="T40" fmla="*/ 15 w 17"/>
                <a:gd name="T41" fmla="*/ 2 h 21"/>
                <a:gd name="T42" fmla="*/ 16 w 17"/>
                <a:gd name="T43" fmla="*/ 1 h 21"/>
                <a:gd name="T44" fmla="*/ 17 w 17"/>
                <a:gd name="T45"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21">
                  <a:moveTo>
                    <a:pt x="17" y="0"/>
                  </a:moveTo>
                  <a:cubicBezTo>
                    <a:pt x="14" y="1"/>
                    <a:pt x="11" y="3"/>
                    <a:pt x="8" y="6"/>
                  </a:cubicBezTo>
                  <a:cubicBezTo>
                    <a:pt x="6" y="8"/>
                    <a:pt x="3" y="9"/>
                    <a:pt x="0" y="9"/>
                  </a:cubicBezTo>
                  <a:cubicBezTo>
                    <a:pt x="1" y="10"/>
                    <a:pt x="2" y="11"/>
                    <a:pt x="3" y="12"/>
                  </a:cubicBezTo>
                  <a:cubicBezTo>
                    <a:pt x="3" y="13"/>
                    <a:pt x="4" y="13"/>
                    <a:pt x="4" y="14"/>
                  </a:cubicBezTo>
                  <a:cubicBezTo>
                    <a:pt x="4" y="14"/>
                    <a:pt x="4" y="14"/>
                    <a:pt x="4" y="14"/>
                  </a:cubicBezTo>
                  <a:cubicBezTo>
                    <a:pt x="5" y="15"/>
                    <a:pt x="5" y="15"/>
                    <a:pt x="6" y="16"/>
                  </a:cubicBezTo>
                  <a:cubicBezTo>
                    <a:pt x="8" y="19"/>
                    <a:pt x="9" y="20"/>
                    <a:pt x="10" y="21"/>
                  </a:cubicBezTo>
                  <a:cubicBezTo>
                    <a:pt x="10" y="20"/>
                    <a:pt x="10" y="20"/>
                    <a:pt x="10" y="20"/>
                  </a:cubicBezTo>
                  <a:cubicBezTo>
                    <a:pt x="11" y="19"/>
                    <a:pt x="11" y="19"/>
                    <a:pt x="11" y="19"/>
                  </a:cubicBezTo>
                  <a:cubicBezTo>
                    <a:pt x="11" y="19"/>
                    <a:pt x="11" y="19"/>
                    <a:pt x="11" y="19"/>
                  </a:cubicBezTo>
                  <a:cubicBezTo>
                    <a:pt x="11" y="17"/>
                    <a:pt x="11" y="17"/>
                    <a:pt x="11" y="17"/>
                  </a:cubicBezTo>
                  <a:cubicBezTo>
                    <a:pt x="11" y="16"/>
                    <a:pt x="11" y="15"/>
                    <a:pt x="11" y="15"/>
                  </a:cubicBezTo>
                  <a:cubicBezTo>
                    <a:pt x="11" y="13"/>
                    <a:pt x="11" y="12"/>
                    <a:pt x="10" y="10"/>
                  </a:cubicBezTo>
                  <a:cubicBezTo>
                    <a:pt x="10" y="10"/>
                    <a:pt x="10" y="9"/>
                    <a:pt x="10" y="9"/>
                  </a:cubicBezTo>
                  <a:cubicBezTo>
                    <a:pt x="10" y="8"/>
                    <a:pt x="10" y="7"/>
                    <a:pt x="10" y="6"/>
                  </a:cubicBezTo>
                  <a:cubicBezTo>
                    <a:pt x="10" y="5"/>
                    <a:pt x="10" y="5"/>
                    <a:pt x="11" y="4"/>
                  </a:cubicBezTo>
                  <a:cubicBezTo>
                    <a:pt x="11" y="4"/>
                    <a:pt x="11" y="4"/>
                    <a:pt x="11" y="4"/>
                  </a:cubicBezTo>
                  <a:cubicBezTo>
                    <a:pt x="12" y="3"/>
                    <a:pt x="12" y="3"/>
                    <a:pt x="12" y="3"/>
                  </a:cubicBezTo>
                  <a:cubicBezTo>
                    <a:pt x="13" y="3"/>
                    <a:pt x="13" y="2"/>
                    <a:pt x="14" y="2"/>
                  </a:cubicBezTo>
                  <a:cubicBezTo>
                    <a:pt x="15" y="2"/>
                    <a:pt x="15" y="2"/>
                    <a:pt x="15" y="2"/>
                  </a:cubicBezTo>
                  <a:cubicBezTo>
                    <a:pt x="16" y="1"/>
                    <a:pt x="16" y="1"/>
                    <a:pt x="16" y="1"/>
                  </a:cubicBez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467"/>
            <p:cNvSpPr/>
            <p:nvPr/>
          </p:nvSpPr>
          <p:spPr bwMode="auto">
            <a:xfrm>
              <a:off x="1589" y="3298717"/>
              <a:ext cx="428457" cy="796474"/>
            </a:xfrm>
            <a:custGeom>
              <a:gdLst>
                <a:gd name="T0" fmla="*/ 16 w 135"/>
                <a:gd name="T1" fmla="*/ 0 h 251"/>
                <a:gd name="T2" fmla="*/ 0 w 135"/>
                <a:gd name="T3" fmla="*/ 9 h 251"/>
                <a:gd name="T4" fmla="*/ 0 w 135"/>
                <a:gd name="T5" fmla="*/ 9 h 251"/>
                <a:gd name="T6" fmla="*/ 24 w 135"/>
                <a:gd name="T7" fmla="*/ 249 h 251"/>
                <a:gd name="T8" fmla="*/ 29 w 135"/>
                <a:gd name="T9" fmla="*/ 245 h 251"/>
                <a:gd name="T10" fmla="*/ 34 w 135"/>
                <a:gd name="T11" fmla="*/ 251 h 251"/>
                <a:gd name="T12" fmla="*/ 63 w 135"/>
                <a:gd name="T13" fmla="*/ 250 h 251"/>
                <a:gd name="T14" fmla="*/ 68 w 135"/>
                <a:gd name="T15" fmla="*/ 250 h 251"/>
                <a:gd name="T16" fmla="*/ 92 w 135"/>
                <a:gd name="T17" fmla="*/ 251 h 251"/>
                <a:gd name="T18" fmla="*/ 94 w 135"/>
                <a:gd name="T19" fmla="*/ 247 h 251"/>
                <a:gd name="T20" fmla="*/ 104 w 135"/>
                <a:gd name="T21" fmla="*/ 244 h 251"/>
                <a:gd name="T22" fmla="*/ 109 w 135"/>
                <a:gd name="T23" fmla="*/ 239 h 251"/>
                <a:gd name="T24" fmla="*/ 114 w 135"/>
                <a:gd name="T25" fmla="*/ 229 h 251"/>
                <a:gd name="T26" fmla="*/ 123 w 135"/>
                <a:gd name="T27" fmla="*/ 226 h 251"/>
                <a:gd name="T28" fmla="*/ 129 w 135"/>
                <a:gd name="T29" fmla="*/ 222 h 251"/>
                <a:gd name="T30" fmla="*/ 131 w 135"/>
                <a:gd name="T31" fmla="*/ 221 h 251"/>
                <a:gd name="T32" fmla="*/ 129 w 135"/>
                <a:gd name="T33" fmla="*/ 210 h 251"/>
                <a:gd name="T34" fmla="*/ 129 w 135"/>
                <a:gd name="T35" fmla="*/ 202 h 251"/>
                <a:gd name="T36" fmla="*/ 134 w 135"/>
                <a:gd name="T37" fmla="*/ 203 h 251"/>
                <a:gd name="T38" fmla="*/ 129 w 135"/>
                <a:gd name="T39" fmla="*/ 198 h 251"/>
                <a:gd name="T40" fmla="*/ 118 w 135"/>
                <a:gd name="T41" fmla="*/ 184 h 251"/>
                <a:gd name="T42" fmla="*/ 92 w 135"/>
                <a:gd name="T43" fmla="*/ 133 h 251"/>
                <a:gd name="T44" fmla="*/ 91 w 135"/>
                <a:gd name="T45" fmla="*/ 128 h 251"/>
                <a:gd name="T46" fmla="*/ 81 w 135"/>
                <a:gd name="T47" fmla="*/ 100 h 251"/>
                <a:gd name="T48" fmla="*/ 71 w 135"/>
                <a:gd name="T49" fmla="*/ 89 h 251"/>
                <a:gd name="T50" fmla="*/ 59 w 135"/>
                <a:gd name="T51" fmla="*/ 67 h 251"/>
                <a:gd name="T52" fmla="*/ 53 w 135"/>
                <a:gd name="T53" fmla="*/ 48 h 251"/>
                <a:gd name="T54" fmla="*/ 55 w 135"/>
                <a:gd name="T55" fmla="*/ 44 h 251"/>
                <a:gd name="T56" fmla="*/ 60 w 135"/>
                <a:gd name="T57" fmla="*/ 57 h 251"/>
                <a:gd name="T58" fmla="*/ 71 w 135"/>
                <a:gd name="T59" fmla="*/ 70 h 251"/>
                <a:gd name="T60" fmla="*/ 78 w 135"/>
                <a:gd name="T61" fmla="*/ 87 h 251"/>
                <a:gd name="T62" fmla="*/ 98 w 135"/>
                <a:gd name="T63" fmla="*/ 102 h 251"/>
                <a:gd name="T64" fmla="*/ 97 w 135"/>
                <a:gd name="T65" fmla="*/ 8 h 251"/>
                <a:gd name="T66" fmla="*/ 96 w 135"/>
                <a:gd name="T67" fmla="*/ 7 h 251"/>
                <a:gd name="T68" fmla="*/ 82 w 135"/>
                <a:gd name="T69" fmla="*/ 13 h 251"/>
                <a:gd name="T70" fmla="*/ 67 w 135"/>
                <a:gd name="T71" fmla="*/ 14 h 251"/>
                <a:gd name="T72" fmla="*/ 64 w 135"/>
                <a:gd name="T73" fmla="*/ 14 h 251"/>
                <a:gd name="T74" fmla="*/ 57 w 135"/>
                <a:gd name="T75" fmla="*/ 14 h 251"/>
                <a:gd name="T76" fmla="*/ 46 w 135"/>
                <a:gd name="T77" fmla="*/ 14 h 251"/>
                <a:gd name="T78" fmla="*/ 40 w 135"/>
                <a:gd name="T79" fmla="*/ 1 h 251"/>
                <a:gd name="T80" fmla="*/ 33 w 135"/>
                <a:gd name="T81" fmla="*/ 3 h 251"/>
                <a:gd name="T82" fmla="*/ 23 w 135"/>
                <a:gd name="T83" fmla="*/ 0 h 2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5" h="251">
                  <a:moveTo>
                    <a:pt x="19" y="0"/>
                  </a:moveTo>
                  <a:cubicBezTo>
                    <a:pt x="18" y="0"/>
                    <a:pt x="17" y="0"/>
                    <a:pt x="16" y="0"/>
                  </a:cubicBezTo>
                  <a:cubicBezTo>
                    <a:pt x="9" y="2"/>
                    <a:pt x="5" y="3"/>
                    <a:pt x="0" y="6"/>
                  </a:cubicBezTo>
                  <a:cubicBezTo>
                    <a:pt x="0" y="9"/>
                    <a:pt x="0" y="9"/>
                    <a:pt x="0" y="9"/>
                  </a:cubicBezTo>
                  <a:cubicBezTo>
                    <a:pt x="0" y="9"/>
                    <a:pt x="0" y="9"/>
                    <a:pt x="0" y="9"/>
                  </a:cubicBezTo>
                  <a:cubicBezTo>
                    <a:pt x="0" y="9"/>
                    <a:pt x="0" y="9"/>
                    <a:pt x="0" y="9"/>
                  </a:cubicBezTo>
                  <a:cubicBezTo>
                    <a:pt x="0" y="249"/>
                    <a:pt x="0" y="249"/>
                    <a:pt x="0" y="249"/>
                  </a:cubicBezTo>
                  <a:cubicBezTo>
                    <a:pt x="24" y="249"/>
                    <a:pt x="24" y="249"/>
                    <a:pt x="24" y="249"/>
                  </a:cubicBezTo>
                  <a:cubicBezTo>
                    <a:pt x="25" y="248"/>
                    <a:pt x="25" y="248"/>
                    <a:pt x="25" y="248"/>
                  </a:cubicBezTo>
                  <a:cubicBezTo>
                    <a:pt x="26" y="247"/>
                    <a:pt x="28" y="245"/>
                    <a:pt x="29" y="245"/>
                  </a:cubicBezTo>
                  <a:cubicBezTo>
                    <a:pt x="30" y="245"/>
                    <a:pt x="30" y="245"/>
                    <a:pt x="31" y="245"/>
                  </a:cubicBezTo>
                  <a:cubicBezTo>
                    <a:pt x="33" y="246"/>
                    <a:pt x="34" y="249"/>
                    <a:pt x="34" y="251"/>
                  </a:cubicBezTo>
                  <a:cubicBezTo>
                    <a:pt x="62" y="251"/>
                    <a:pt x="62" y="251"/>
                    <a:pt x="62" y="251"/>
                  </a:cubicBezTo>
                  <a:cubicBezTo>
                    <a:pt x="62" y="251"/>
                    <a:pt x="63" y="251"/>
                    <a:pt x="63" y="250"/>
                  </a:cubicBezTo>
                  <a:cubicBezTo>
                    <a:pt x="64" y="250"/>
                    <a:pt x="64" y="250"/>
                    <a:pt x="64" y="250"/>
                  </a:cubicBezTo>
                  <a:cubicBezTo>
                    <a:pt x="65" y="250"/>
                    <a:pt x="67" y="250"/>
                    <a:pt x="68" y="250"/>
                  </a:cubicBezTo>
                  <a:cubicBezTo>
                    <a:pt x="69" y="250"/>
                    <a:pt x="70" y="250"/>
                    <a:pt x="71" y="251"/>
                  </a:cubicBezTo>
                  <a:cubicBezTo>
                    <a:pt x="92" y="251"/>
                    <a:pt x="92" y="251"/>
                    <a:pt x="92" y="251"/>
                  </a:cubicBezTo>
                  <a:cubicBezTo>
                    <a:pt x="92" y="250"/>
                    <a:pt x="93" y="250"/>
                    <a:pt x="93" y="249"/>
                  </a:cubicBezTo>
                  <a:cubicBezTo>
                    <a:pt x="93" y="248"/>
                    <a:pt x="93" y="247"/>
                    <a:pt x="94" y="247"/>
                  </a:cubicBezTo>
                  <a:cubicBezTo>
                    <a:pt x="96" y="244"/>
                    <a:pt x="100" y="244"/>
                    <a:pt x="103" y="244"/>
                  </a:cubicBezTo>
                  <a:cubicBezTo>
                    <a:pt x="104" y="244"/>
                    <a:pt x="104" y="244"/>
                    <a:pt x="104" y="244"/>
                  </a:cubicBezTo>
                  <a:cubicBezTo>
                    <a:pt x="107" y="243"/>
                    <a:pt x="107" y="243"/>
                    <a:pt x="108" y="240"/>
                  </a:cubicBezTo>
                  <a:cubicBezTo>
                    <a:pt x="109" y="240"/>
                    <a:pt x="109" y="239"/>
                    <a:pt x="109" y="239"/>
                  </a:cubicBezTo>
                  <a:cubicBezTo>
                    <a:pt x="109" y="238"/>
                    <a:pt x="109" y="238"/>
                    <a:pt x="109" y="238"/>
                  </a:cubicBezTo>
                  <a:cubicBezTo>
                    <a:pt x="110" y="235"/>
                    <a:pt x="112" y="231"/>
                    <a:pt x="114" y="229"/>
                  </a:cubicBezTo>
                  <a:cubicBezTo>
                    <a:pt x="115" y="229"/>
                    <a:pt x="117" y="228"/>
                    <a:pt x="118" y="228"/>
                  </a:cubicBezTo>
                  <a:cubicBezTo>
                    <a:pt x="119" y="227"/>
                    <a:pt x="121" y="226"/>
                    <a:pt x="123" y="226"/>
                  </a:cubicBezTo>
                  <a:cubicBezTo>
                    <a:pt x="124" y="225"/>
                    <a:pt x="125" y="224"/>
                    <a:pt x="127" y="224"/>
                  </a:cubicBezTo>
                  <a:cubicBezTo>
                    <a:pt x="127" y="223"/>
                    <a:pt x="128" y="223"/>
                    <a:pt x="129" y="222"/>
                  </a:cubicBezTo>
                  <a:cubicBezTo>
                    <a:pt x="129" y="222"/>
                    <a:pt x="130" y="222"/>
                    <a:pt x="131" y="221"/>
                  </a:cubicBezTo>
                  <a:cubicBezTo>
                    <a:pt x="131" y="221"/>
                    <a:pt x="131" y="221"/>
                    <a:pt x="131" y="221"/>
                  </a:cubicBezTo>
                  <a:cubicBezTo>
                    <a:pt x="131" y="220"/>
                    <a:pt x="131" y="220"/>
                    <a:pt x="131" y="218"/>
                  </a:cubicBezTo>
                  <a:cubicBezTo>
                    <a:pt x="130" y="216"/>
                    <a:pt x="129" y="213"/>
                    <a:pt x="129" y="210"/>
                  </a:cubicBezTo>
                  <a:cubicBezTo>
                    <a:pt x="129" y="208"/>
                    <a:pt x="127" y="204"/>
                    <a:pt x="129" y="202"/>
                  </a:cubicBezTo>
                  <a:cubicBezTo>
                    <a:pt x="129" y="202"/>
                    <a:pt x="129" y="202"/>
                    <a:pt x="129" y="202"/>
                  </a:cubicBezTo>
                  <a:cubicBezTo>
                    <a:pt x="130" y="202"/>
                    <a:pt x="131" y="203"/>
                    <a:pt x="132" y="203"/>
                  </a:cubicBezTo>
                  <a:cubicBezTo>
                    <a:pt x="132" y="203"/>
                    <a:pt x="133" y="203"/>
                    <a:pt x="134" y="203"/>
                  </a:cubicBezTo>
                  <a:cubicBezTo>
                    <a:pt x="134" y="203"/>
                    <a:pt x="135" y="203"/>
                    <a:pt x="135" y="203"/>
                  </a:cubicBezTo>
                  <a:cubicBezTo>
                    <a:pt x="134" y="202"/>
                    <a:pt x="130" y="198"/>
                    <a:pt x="129" y="198"/>
                  </a:cubicBezTo>
                  <a:cubicBezTo>
                    <a:pt x="129" y="198"/>
                    <a:pt x="129" y="198"/>
                    <a:pt x="129" y="199"/>
                  </a:cubicBezTo>
                  <a:cubicBezTo>
                    <a:pt x="125" y="194"/>
                    <a:pt x="120" y="190"/>
                    <a:pt x="118" y="184"/>
                  </a:cubicBezTo>
                  <a:cubicBezTo>
                    <a:pt x="110" y="169"/>
                    <a:pt x="103" y="153"/>
                    <a:pt x="95" y="139"/>
                  </a:cubicBezTo>
                  <a:cubicBezTo>
                    <a:pt x="94" y="137"/>
                    <a:pt x="92" y="135"/>
                    <a:pt x="92" y="133"/>
                  </a:cubicBezTo>
                  <a:cubicBezTo>
                    <a:pt x="91" y="132"/>
                    <a:pt x="91" y="133"/>
                    <a:pt x="90" y="132"/>
                  </a:cubicBezTo>
                  <a:cubicBezTo>
                    <a:pt x="90" y="130"/>
                    <a:pt x="91" y="129"/>
                    <a:pt x="91" y="128"/>
                  </a:cubicBezTo>
                  <a:cubicBezTo>
                    <a:pt x="92" y="122"/>
                    <a:pt x="87" y="114"/>
                    <a:pt x="84" y="108"/>
                  </a:cubicBezTo>
                  <a:cubicBezTo>
                    <a:pt x="84" y="106"/>
                    <a:pt x="83" y="102"/>
                    <a:pt x="81" y="100"/>
                  </a:cubicBezTo>
                  <a:cubicBezTo>
                    <a:pt x="79" y="98"/>
                    <a:pt x="77" y="96"/>
                    <a:pt x="75" y="94"/>
                  </a:cubicBezTo>
                  <a:cubicBezTo>
                    <a:pt x="73" y="93"/>
                    <a:pt x="72" y="91"/>
                    <a:pt x="71" y="89"/>
                  </a:cubicBezTo>
                  <a:cubicBezTo>
                    <a:pt x="69" y="87"/>
                    <a:pt x="66" y="84"/>
                    <a:pt x="64" y="81"/>
                  </a:cubicBezTo>
                  <a:cubicBezTo>
                    <a:pt x="62" y="77"/>
                    <a:pt x="60" y="71"/>
                    <a:pt x="59" y="67"/>
                  </a:cubicBezTo>
                  <a:cubicBezTo>
                    <a:pt x="57" y="63"/>
                    <a:pt x="51" y="58"/>
                    <a:pt x="51" y="53"/>
                  </a:cubicBezTo>
                  <a:cubicBezTo>
                    <a:pt x="51" y="51"/>
                    <a:pt x="52" y="50"/>
                    <a:pt x="53" y="48"/>
                  </a:cubicBezTo>
                  <a:cubicBezTo>
                    <a:pt x="54" y="47"/>
                    <a:pt x="53" y="45"/>
                    <a:pt x="55" y="44"/>
                  </a:cubicBezTo>
                  <a:cubicBezTo>
                    <a:pt x="55" y="44"/>
                    <a:pt x="55" y="44"/>
                    <a:pt x="55" y="44"/>
                  </a:cubicBezTo>
                  <a:cubicBezTo>
                    <a:pt x="59" y="44"/>
                    <a:pt x="60" y="56"/>
                    <a:pt x="60" y="57"/>
                  </a:cubicBezTo>
                  <a:cubicBezTo>
                    <a:pt x="60" y="57"/>
                    <a:pt x="60" y="57"/>
                    <a:pt x="60" y="57"/>
                  </a:cubicBezTo>
                  <a:cubicBezTo>
                    <a:pt x="62" y="59"/>
                    <a:pt x="63" y="62"/>
                    <a:pt x="65" y="64"/>
                  </a:cubicBezTo>
                  <a:cubicBezTo>
                    <a:pt x="67" y="66"/>
                    <a:pt x="70" y="68"/>
                    <a:pt x="71" y="70"/>
                  </a:cubicBezTo>
                  <a:cubicBezTo>
                    <a:pt x="73" y="73"/>
                    <a:pt x="72" y="78"/>
                    <a:pt x="73" y="81"/>
                  </a:cubicBezTo>
                  <a:cubicBezTo>
                    <a:pt x="74" y="83"/>
                    <a:pt x="77" y="85"/>
                    <a:pt x="78" y="87"/>
                  </a:cubicBezTo>
                  <a:cubicBezTo>
                    <a:pt x="85" y="94"/>
                    <a:pt x="89" y="100"/>
                    <a:pt x="98" y="104"/>
                  </a:cubicBezTo>
                  <a:cubicBezTo>
                    <a:pt x="98" y="103"/>
                    <a:pt x="98" y="103"/>
                    <a:pt x="98" y="102"/>
                  </a:cubicBezTo>
                  <a:cubicBezTo>
                    <a:pt x="103" y="87"/>
                    <a:pt x="109" y="73"/>
                    <a:pt x="114" y="58"/>
                  </a:cubicBezTo>
                  <a:cubicBezTo>
                    <a:pt x="97" y="8"/>
                    <a:pt x="97" y="8"/>
                    <a:pt x="97" y="8"/>
                  </a:cubicBezTo>
                  <a:cubicBezTo>
                    <a:pt x="97" y="7"/>
                    <a:pt x="97" y="7"/>
                    <a:pt x="97" y="7"/>
                  </a:cubicBezTo>
                  <a:cubicBezTo>
                    <a:pt x="97" y="7"/>
                    <a:pt x="97" y="7"/>
                    <a:pt x="96" y="7"/>
                  </a:cubicBezTo>
                  <a:cubicBezTo>
                    <a:pt x="93" y="9"/>
                    <a:pt x="89" y="10"/>
                    <a:pt x="86" y="12"/>
                  </a:cubicBezTo>
                  <a:cubicBezTo>
                    <a:pt x="84" y="12"/>
                    <a:pt x="83" y="12"/>
                    <a:pt x="82" y="13"/>
                  </a:cubicBezTo>
                  <a:cubicBezTo>
                    <a:pt x="77" y="13"/>
                    <a:pt x="73" y="14"/>
                    <a:pt x="68" y="14"/>
                  </a:cubicBezTo>
                  <a:cubicBezTo>
                    <a:pt x="68" y="14"/>
                    <a:pt x="68" y="14"/>
                    <a:pt x="67" y="14"/>
                  </a:cubicBezTo>
                  <a:cubicBezTo>
                    <a:pt x="67" y="14"/>
                    <a:pt x="67" y="14"/>
                    <a:pt x="67" y="14"/>
                  </a:cubicBezTo>
                  <a:cubicBezTo>
                    <a:pt x="66" y="14"/>
                    <a:pt x="65" y="14"/>
                    <a:pt x="64" y="14"/>
                  </a:cubicBezTo>
                  <a:cubicBezTo>
                    <a:pt x="63" y="15"/>
                    <a:pt x="62" y="15"/>
                    <a:pt x="61" y="15"/>
                  </a:cubicBezTo>
                  <a:cubicBezTo>
                    <a:pt x="60" y="15"/>
                    <a:pt x="58" y="14"/>
                    <a:pt x="57" y="14"/>
                  </a:cubicBezTo>
                  <a:cubicBezTo>
                    <a:pt x="54" y="12"/>
                    <a:pt x="51" y="8"/>
                    <a:pt x="48" y="8"/>
                  </a:cubicBezTo>
                  <a:cubicBezTo>
                    <a:pt x="52" y="10"/>
                    <a:pt x="48" y="13"/>
                    <a:pt x="46" y="14"/>
                  </a:cubicBezTo>
                  <a:cubicBezTo>
                    <a:pt x="44" y="13"/>
                    <a:pt x="38" y="10"/>
                    <a:pt x="38" y="8"/>
                  </a:cubicBezTo>
                  <a:cubicBezTo>
                    <a:pt x="37" y="8"/>
                    <a:pt x="40" y="2"/>
                    <a:pt x="40" y="1"/>
                  </a:cubicBezTo>
                  <a:cubicBezTo>
                    <a:pt x="40" y="1"/>
                    <a:pt x="40" y="1"/>
                    <a:pt x="40" y="1"/>
                  </a:cubicBezTo>
                  <a:cubicBezTo>
                    <a:pt x="38" y="1"/>
                    <a:pt x="35" y="3"/>
                    <a:pt x="33" y="3"/>
                  </a:cubicBezTo>
                  <a:cubicBezTo>
                    <a:pt x="33" y="3"/>
                    <a:pt x="32" y="3"/>
                    <a:pt x="32" y="3"/>
                  </a:cubicBezTo>
                  <a:cubicBezTo>
                    <a:pt x="29" y="3"/>
                    <a:pt x="26" y="1"/>
                    <a:pt x="23" y="0"/>
                  </a:cubicBezTo>
                  <a:cubicBezTo>
                    <a:pt x="21" y="0"/>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470"/>
            <p:cNvSpPr/>
            <p:nvPr/>
          </p:nvSpPr>
          <p:spPr bwMode="auto">
            <a:xfrm>
              <a:off x="567045" y="4718401"/>
              <a:ext cx="2686"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471"/>
            <p:cNvSpPr/>
            <p:nvPr/>
          </p:nvSpPr>
          <p:spPr bwMode="auto">
            <a:xfrm>
              <a:off x="567045" y="4718401"/>
              <a:ext cx="2686"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Rectangle 480"/>
            <p:cNvSpPr>
              <a:spLocks noChangeArrowheads="1"/>
            </p:cNvSpPr>
            <p:nvPr/>
          </p:nvSpPr>
          <p:spPr bwMode="auto">
            <a:xfrm>
              <a:off x="74118" y="1361929"/>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Rectangle 481"/>
            <p:cNvSpPr>
              <a:spLocks noChangeArrowheads="1"/>
            </p:cNvSpPr>
            <p:nvPr/>
          </p:nvSpPr>
          <p:spPr bwMode="auto">
            <a:xfrm>
              <a:off x="74118" y="1361929"/>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482"/>
            <p:cNvSpPr/>
            <p:nvPr/>
          </p:nvSpPr>
          <p:spPr bwMode="auto">
            <a:xfrm>
              <a:off x="1589" y="971080"/>
              <a:ext cx="181322" cy="458006"/>
            </a:xfrm>
            <a:custGeom>
              <a:gdLst>
                <a:gd name="T0" fmla="*/ 0 w 57"/>
                <a:gd name="T1" fmla="*/ 0 h 144"/>
                <a:gd name="T2" fmla="*/ 0 w 57"/>
                <a:gd name="T3" fmla="*/ 141 h 144"/>
                <a:gd name="T4" fmla="*/ 1 w 57"/>
                <a:gd name="T5" fmla="*/ 142 h 144"/>
                <a:gd name="T6" fmla="*/ 4 w 57"/>
                <a:gd name="T7" fmla="*/ 144 h 144"/>
                <a:gd name="T8" fmla="*/ 4 w 57"/>
                <a:gd name="T9" fmla="*/ 142 h 144"/>
                <a:gd name="T10" fmla="*/ 5 w 57"/>
                <a:gd name="T11" fmla="*/ 135 h 144"/>
                <a:gd name="T12" fmla="*/ 6 w 57"/>
                <a:gd name="T13" fmla="*/ 133 h 144"/>
                <a:gd name="T14" fmla="*/ 6 w 57"/>
                <a:gd name="T15" fmla="*/ 132 h 144"/>
                <a:gd name="T16" fmla="*/ 7 w 57"/>
                <a:gd name="T17" fmla="*/ 131 h 144"/>
                <a:gd name="T18" fmla="*/ 10 w 57"/>
                <a:gd name="T19" fmla="*/ 127 h 144"/>
                <a:gd name="T20" fmla="*/ 17 w 57"/>
                <a:gd name="T21" fmla="*/ 121 h 144"/>
                <a:gd name="T22" fmla="*/ 21 w 57"/>
                <a:gd name="T23" fmla="*/ 121 h 144"/>
                <a:gd name="T24" fmla="*/ 21 w 57"/>
                <a:gd name="T25" fmla="*/ 121 h 144"/>
                <a:gd name="T26" fmla="*/ 22 w 57"/>
                <a:gd name="T27" fmla="*/ 121 h 144"/>
                <a:gd name="T28" fmla="*/ 23 w 57"/>
                <a:gd name="T29" fmla="*/ 121 h 144"/>
                <a:gd name="T30" fmla="*/ 23 w 57"/>
                <a:gd name="T31" fmla="*/ 121 h 144"/>
                <a:gd name="T32" fmla="*/ 24 w 57"/>
                <a:gd name="T33" fmla="*/ 121 h 144"/>
                <a:gd name="T34" fmla="*/ 25 w 57"/>
                <a:gd name="T35" fmla="*/ 120 h 144"/>
                <a:gd name="T36" fmla="*/ 29 w 57"/>
                <a:gd name="T37" fmla="*/ 120 h 144"/>
                <a:gd name="T38" fmla="*/ 31 w 57"/>
                <a:gd name="T39" fmla="*/ 120 h 144"/>
                <a:gd name="T40" fmla="*/ 29 w 57"/>
                <a:gd name="T41" fmla="*/ 111 h 144"/>
                <a:gd name="T42" fmla="*/ 28 w 57"/>
                <a:gd name="T43" fmla="*/ 101 h 144"/>
                <a:gd name="T44" fmla="*/ 24 w 57"/>
                <a:gd name="T45" fmla="*/ 96 h 144"/>
                <a:gd name="T46" fmla="*/ 22 w 57"/>
                <a:gd name="T47" fmla="*/ 95 h 144"/>
                <a:gd name="T48" fmla="*/ 21 w 57"/>
                <a:gd name="T49" fmla="*/ 94 h 144"/>
                <a:gd name="T50" fmla="*/ 22 w 57"/>
                <a:gd name="T51" fmla="*/ 92 h 144"/>
                <a:gd name="T52" fmla="*/ 23 w 57"/>
                <a:gd name="T53" fmla="*/ 90 h 144"/>
                <a:gd name="T54" fmla="*/ 23 w 57"/>
                <a:gd name="T55" fmla="*/ 89 h 144"/>
                <a:gd name="T56" fmla="*/ 24 w 57"/>
                <a:gd name="T57" fmla="*/ 90 h 144"/>
                <a:gd name="T58" fmla="*/ 24 w 57"/>
                <a:gd name="T59" fmla="*/ 89 h 144"/>
                <a:gd name="T60" fmla="*/ 24 w 57"/>
                <a:gd name="T61" fmla="*/ 88 h 144"/>
                <a:gd name="T62" fmla="*/ 25 w 57"/>
                <a:gd name="T63" fmla="*/ 88 h 144"/>
                <a:gd name="T64" fmla="*/ 27 w 57"/>
                <a:gd name="T65" fmla="*/ 87 h 144"/>
                <a:gd name="T66" fmla="*/ 28 w 57"/>
                <a:gd name="T67" fmla="*/ 86 h 144"/>
                <a:gd name="T68" fmla="*/ 31 w 57"/>
                <a:gd name="T69" fmla="*/ 86 h 144"/>
                <a:gd name="T70" fmla="*/ 33 w 57"/>
                <a:gd name="T71" fmla="*/ 86 h 144"/>
                <a:gd name="T72" fmla="*/ 36 w 57"/>
                <a:gd name="T73" fmla="*/ 86 h 144"/>
                <a:gd name="T74" fmla="*/ 41 w 57"/>
                <a:gd name="T75" fmla="*/ 87 h 144"/>
                <a:gd name="T76" fmla="*/ 43 w 57"/>
                <a:gd name="T77" fmla="*/ 87 h 144"/>
                <a:gd name="T78" fmla="*/ 54 w 57"/>
                <a:gd name="T79" fmla="*/ 82 h 144"/>
                <a:gd name="T80" fmla="*/ 57 w 57"/>
                <a:gd name="T81" fmla="*/ 80 h 144"/>
                <a:gd name="T82" fmla="*/ 56 w 57"/>
                <a:gd name="T83" fmla="*/ 79 h 144"/>
                <a:gd name="T84" fmla="*/ 50 w 57"/>
                <a:gd name="T85" fmla="*/ 73 h 144"/>
                <a:gd name="T86" fmla="*/ 50 w 57"/>
                <a:gd name="T87" fmla="*/ 72 h 144"/>
                <a:gd name="T88" fmla="*/ 34 w 57"/>
                <a:gd name="T89" fmla="*/ 68 h 144"/>
                <a:gd name="T90" fmla="*/ 33 w 57"/>
                <a:gd name="T91" fmla="*/ 65 h 144"/>
                <a:gd name="T92" fmla="*/ 35 w 57"/>
                <a:gd name="T93" fmla="*/ 64 h 144"/>
                <a:gd name="T94" fmla="*/ 35 w 57"/>
                <a:gd name="T95" fmla="*/ 61 h 144"/>
                <a:gd name="T96" fmla="*/ 32 w 57"/>
                <a:gd name="T97" fmla="*/ 57 h 144"/>
                <a:gd name="T98" fmla="*/ 20 w 57"/>
                <a:gd name="T99" fmla="*/ 40 h 144"/>
                <a:gd name="T100" fmla="*/ 12 w 57"/>
                <a:gd name="T101" fmla="*/ 36 h 144"/>
                <a:gd name="T102" fmla="*/ 9 w 57"/>
                <a:gd name="T103" fmla="*/ 35 h 144"/>
                <a:gd name="T104" fmla="*/ 10 w 57"/>
                <a:gd name="T105" fmla="*/ 32 h 144"/>
                <a:gd name="T106" fmla="*/ 15 w 57"/>
                <a:gd name="T107" fmla="*/ 24 h 144"/>
                <a:gd name="T108" fmla="*/ 14 w 57"/>
                <a:gd name="T109" fmla="*/ 22 h 144"/>
                <a:gd name="T110" fmla="*/ 11 w 57"/>
                <a:gd name="T111" fmla="*/ 16 h 144"/>
                <a:gd name="T112" fmla="*/ 10 w 57"/>
                <a:gd name="T113" fmla="*/ 15 h 144"/>
                <a:gd name="T114" fmla="*/ 13 w 57"/>
                <a:gd name="T115" fmla="*/ 11 h 144"/>
                <a:gd name="T116" fmla="*/ 13 w 57"/>
                <a:gd name="T117" fmla="*/ 7 h 144"/>
                <a:gd name="T118" fmla="*/ 4 w 57"/>
                <a:gd name="T119" fmla="*/ 2 h 144"/>
                <a:gd name="T120" fmla="*/ 0 w 57"/>
                <a:gd name="T121" fmla="*/ 0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 h="144">
                  <a:moveTo>
                    <a:pt x="0" y="0"/>
                  </a:moveTo>
                  <a:cubicBezTo>
                    <a:pt x="0" y="141"/>
                    <a:pt x="0" y="141"/>
                    <a:pt x="0" y="141"/>
                  </a:cubicBezTo>
                  <a:cubicBezTo>
                    <a:pt x="0" y="141"/>
                    <a:pt x="0" y="142"/>
                    <a:pt x="1" y="142"/>
                  </a:cubicBezTo>
                  <a:cubicBezTo>
                    <a:pt x="2" y="142"/>
                    <a:pt x="3" y="143"/>
                    <a:pt x="4" y="144"/>
                  </a:cubicBezTo>
                  <a:cubicBezTo>
                    <a:pt x="4" y="144"/>
                    <a:pt x="4" y="143"/>
                    <a:pt x="4" y="142"/>
                  </a:cubicBezTo>
                  <a:cubicBezTo>
                    <a:pt x="3" y="139"/>
                    <a:pt x="4" y="137"/>
                    <a:pt x="5" y="135"/>
                  </a:cubicBezTo>
                  <a:cubicBezTo>
                    <a:pt x="5" y="134"/>
                    <a:pt x="6" y="133"/>
                    <a:pt x="6" y="133"/>
                  </a:cubicBezTo>
                  <a:cubicBezTo>
                    <a:pt x="6" y="132"/>
                    <a:pt x="6" y="132"/>
                    <a:pt x="6" y="132"/>
                  </a:cubicBezTo>
                  <a:cubicBezTo>
                    <a:pt x="7" y="132"/>
                    <a:pt x="7" y="131"/>
                    <a:pt x="7" y="131"/>
                  </a:cubicBezTo>
                  <a:cubicBezTo>
                    <a:pt x="10" y="127"/>
                    <a:pt x="10" y="127"/>
                    <a:pt x="10" y="127"/>
                  </a:cubicBezTo>
                  <a:cubicBezTo>
                    <a:pt x="12" y="124"/>
                    <a:pt x="14" y="122"/>
                    <a:pt x="17" y="121"/>
                  </a:cubicBezTo>
                  <a:cubicBezTo>
                    <a:pt x="18" y="121"/>
                    <a:pt x="19" y="121"/>
                    <a:pt x="21" y="121"/>
                  </a:cubicBezTo>
                  <a:cubicBezTo>
                    <a:pt x="21" y="121"/>
                    <a:pt x="21" y="121"/>
                    <a:pt x="21" y="121"/>
                  </a:cubicBezTo>
                  <a:cubicBezTo>
                    <a:pt x="22" y="121"/>
                    <a:pt x="22" y="121"/>
                    <a:pt x="22" y="121"/>
                  </a:cubicBezTo>
                  <a:cubicBezTo>
                    <a:pt x="22" y="121"/>
                    <a:pt x="23" y="121"/>
                    <a:pt x="23" y="121"/>
                  </a:cubicBezTo>
                  <a:cubicBezTo>
                    <a:pt x="23" y="121"/>
                    <a:pt x="23" y="121"/>
                    <a:pt x="23" y="121"/>
                  </a:cubicBezTo>
                  <a:cubicBezTo>
                    <a:pt x="24" y="121"/>
                    <a:pt x="24" y="121"/>
                    <a:pt x="24" y="121"/>
                  </a:cubicBezTo>
                  <a:cubicBezTo>
                    <a:pt x="25" y="120"/>
                    <a:pt x="25" y="120"/>
                    <a:pt x="25" y="120"/>
                  </a:cubicBezTo>
                  <a:cubicBezTo>
                    <a:pt x="26" y="120"/>
                    <a:pt x="27" y="120"/>
                    <a:pt x="29" y="120"/>
                  </a:cubicBezTo>
                  <a:cubicBezTo>
                    <a:pt x="30" y="120"/>
                    <a:pt x="31" y="120"/>
                    <a:pt x="31" y="120"/>
                  </a:cubicBezTo>
                  <a:cubicBezTo>
                    <a:pt x="30" y="118"/>
                    <a:pt x="29" y="115"/>
                    <a:pt x="29" y="111"/>
                  </a:cubicBezTo>
                  <a:cubicBezTo>
                    <a:pt x="30" y="103"/>
                    <a:pt x="29" y="101"/>
                    <a:pt x="28" y="101"/>
                  </a:cubicBezTo>
                  <a:cubicBezTo>
                    <a:pt x="27" y="100"/>
                    <a:pt x="25" y="98"/>
                    <a:pt x="24" y="96"/>
                  </a:cubicBezTo>
                  <a:cubicBezTo>
                    <a:pt x="23" y="95"/>
                    <a:pt x="23" y="95"/>
                    <a:pt x="22" y="95"/>
                  </a:cubicBezTo>
                  <a:cubicBezTo>
                    <a:pt x="21" y="94"/>
                    <a:pt x="21" y="94"/>
                    <a:pt x="21" y="94"/>
                  </a:cubicBezTo>
                  <a:cubicBezTo>
                    <a:pt x="22" y="92"/>
                    <a:pt x="22" y="92"/>
                    <a:pt x="22" y="92"/>
                  </a:cubicBezTo>
                  <a:cubicBezTo>
                    <a:pt x="22" y="91"/>
                    <a:pt x="22" y="90"/>
                    <a:pt x="23" y="90"/>
                  </a:cubicBezTo>
                  <a:cubicBezTo>
                    <a:pt x="23" y="89"/>
                    <a:pt x="23" y="89"/>
                    <a:pt x="23" y="89"/>
                  </a:cubicBezTo>
                  <a:cubicBezTo>
                    <a:pt x="24" y="90"/>
                    <a:pt x="24" y="90"/>
                    <a:pt x="24" y="90"/>
                  </a:cubicBezTo>
                  <a:cubicBezTo>
                    <a:pt x="24" y="89"/>
                    <a:pt x="24" y="89"/>
                    <a:pt x="24" y="89"/>
                  </a:cubicBezTo>
                  <a:cubicBezTo>
                    <a:pt x="24" y="88"/>
                    <a:pt x="24" y="88"/>
                    <a:pt x="24" y="88"/>
                  </a:cubicBezTo>
                  <a:cubicBezTo>
                    <a:pt x="25" y="88"/>
                    <a:pt x="25" y="88"/>
                    <a:pt x="25" y="88"/>
                  </a:cubicBezTo>
                  <a:cubicBezTo>
                    <a:pt x="25" y="87"/>
                    <a:pt x="26" y="87"/>
                    <a:pt x="27" y="87"/>
                  </a:cubicBezTo>
                  <a:cubicBezTo>
                    <a:pt x="28" y="86"/>
                    <a:pt x="28" y="86"/>
                    <a:pt x="28" y="86"/>
                  </a:cubicBezTo>
                  <a:cubicBezTo>
                    <a:pt x="29" y="86"/>
                    <a:pt x="30" y="86"/>
                    <a:pt x="31" y="86"/>
                  </a:cubicBezTo>
                  <a:cubicBezTo>
                    <a:pt x="32" y="86"/>
                    <a:pt x="32" y="86"/>
                    <a:pt x="33" y="86"/>
                  </a:cubicBezTo>
                  <a:cubicBezTo>
                    <a:pt x="34" y="86"/>
                    <a:pt x="35" y="86"/>
                    <a:pt x="36" y="86"/>
                  </a:cubicBezTo>
                  <a:cubicBezTo>
                    <a:pt x="38" y="86"/>
                    <a:pt x="40" y="87"/>
                    <a:pt x="41" y="87"/>
                  </a:cubicBezTo>
                  <a:cubicBezTo>
                    <a:pt x="42" y="87"/>
                    <a:pt x="42" y="87"/>
                    <a:pt x="43" y="87"/>
                  </a:cubicBezTo>
                  <a:cubicBezTo>
                    <a:pt x="47" y="87"/>
                    <a:pt x="51" y="84"/>
                    <a:pt x="54" y="82"/>
                  </a:cubicBezTo>
                  <a:cubicBezTo>
                    <a:pt x="56" y="81"/>
                    <a:pt x="57" y="81"/>
                    <a:pt x="57" y="80"/>
                  </a:cubicBezTo>
                  <a:cubicBezTo>
                    <a:pt x="57" y="80"/>
                    <a:pt x="56" y="79"/>
                    <a:pt x="56" y="79"/>
                  </a:cubicBezTo>
                  <a:cubicBezTo>
                    <a:pt x="52" y="77"/>
                    <a:pt x="50" y="75"/>
                    <a:pt x="50" y="73"/>
                  </a:cubicBezTo>
                  <a:cubicBezTo>
                    <a:pt x="50" y="72"/>
                    <a:pt x="50" y="72"/>
                    <a:pt x="50" y="72"/>
                  </a:cubicBezTo>
                  <a:cubicBezTo>
                    <a:pt x="41" y="71"/>
                    <a:pt x="36" y="70"/>
                    <a:pt x="34" y="68"/>
                  </a:cubicBezTo>
                  <a:cubicBezTo>
                    <a:pt x="33" y="65"/>
                    <a:pt x="33" y="65"/>
                    <a:pt x="33" y="65"/>
                  </a:cubicBezTo>
                  <a:cubicBezTo>
                    <a:pt x="35" y="64"/>
                    <a:pt x="35" y="64"/>
                    <a:pt x="35" y="64"/>
                  </a:cubicBezTo>
                  <a:cubicBezTo>
                    <a:pt x="35" y="63"/>
                    <a:pt x="36" y="62"/>
                    <a:pt x="35" y="61"/>
                  </a:cubicBezTo>
                  <a:cubicBezTo>
                    <a:pt x="35" y="59"/>
                    <a:pt x="33" y="57"/>
                    <a:pt x="32" y="57"/>
                  </a:cubicBezTo>
                  <a:cubicBezTo>
                    <a:pt x="23" y="52"/>
                    <a:pt x="19" y="44"/>
                    <a:pt x="20" y="40"/>
                  </a:cubicBezTo>
                  <a:cubicBezTo>
                    <a:pt x="19" y="39"/>
                    <a:pt x="16" y="37"/>
                    <a:pt x="12" y="36"/>
                  </a:cubicBezTo>
                  <a:cubicBezTo>
                    <a:pt x="9" y="35"/>
                    <a:pt x="9" y="35"/>
                    <a:pt x="9" y="35"/>
                  </a:cubicBezTo>
                  <a:cubicBezTo>
                    <a:pt x="10" y="32"/>
                    <a:pt x="10" y="32"/>
                    <a:pt x="10" y="32"/>
                  </a:cubicBezTo>
                  <a:cubicBezTo>
                    <a:pt x="10" y="30"/>
                    <a:pt x="13" y="26"/>
                    <a:pt x="15" y="24"/>
                  </a:cubicBezTo>
                  <a:cubicBezTo>
                    <a:pt x="15" y="23"/>
                    <a:pt x="14" y="22"/>
                    <a:pt x="14" y="22"/>
                  </a:cubicBezTo>
                  <a:cubicBezTo>
                    <a:pt x="12" y="21"/>
                    <a:pt x="11" y="19"/>
                    <a:pt x="11" y="16"/>
                  </a:cubicBezTo>
                  <a:cubicBezTo>
                    <a:pt x="10" y="15"/>
                    <a:pt x="10" y="15"/>
                    <a:pt x="10" y="15"/>
                  </a:cubicBezTo>
                  <a:cubicBezTo>
                    <a:pt x="13" y="11"/>
                    <a:pt x="13" y="11"/>
                    <a:pt x="13" y="11"/>
                  </a:cubicBezTo>
                  <a:cubicBezTo>
                    <a:pt x="13" y="7"/>
                    <a:pt x="13" y="7"/>
                    <a:pt x="13" y="7"/>
                  </a:cubicBezTo>
                  <a:cubicBezTo>
                    <a:pt x="12" y="6"/>
                    <a:pt x="9" y="4"/>
                    <a:pt x="4"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Rectangle 483"/>
            <p:cNvSpPr>
              <a:spLocks noChangeArrowheads="1"/>
            </p:cNvSpPr>
            <p:nvPr/>
          </p:nvSpPr>
          <p:spPr bwMode="auto">
            <a:xfrm>
              <a:off x="4279445" y="1596976"/>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484"/>
            <p:cNvSpPr/>
            <p:nvPr/>
          </p:nvSpPr>
          <p:spPr bwMode="auto">
            <a:xfrm flipH="1">
              <a:off x="4279445" y="159697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Rectangle 485"/>
            <p:cNvSpPr>
              <a:spLocks noChangeArrowheads="1"/>
            </p:cNvSpPr>
            <p:nvPr/>
          </p:nvSpPr>
          <p:spPr bwMode="auto">
            <a:xfrm>
              <a:off x="2944378" y="1063756"/>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486"/>
            <p:cNvSpPr/>
            <p:nvPr/>
          </p:nvSpPr>
          <p:spPr bwMode="auto">
            <a:xfrm flipH="1">
              <a:off x="2944378" y="106375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487"/>
            <p:cNvSpPr/>
            <p:nvPr/>
          </p:nvSpPr>
          <p:spPr bwMode="auto">
            <a:xfrm>
              <a:off x="1280245" y="1024805"/>
              <a:ext cx="3155002" cy="1457291"/>
            </a:xfrm>
            <a:custGeom>
              <a:gdLst>
                <a:gd name="T0" fmla="*/ 534 w 994"/>
                <a:gd name="T1" fmla="*/ 10 h 459"/>
                <a:gd name="T2" fmla="*/ 496 w 994"/>
                <a:gd name="T3" fmla="*/ 21 h 459"/>
                <a:gd name="T4" fmla="*/ 473 w 994"/>
                <a:gd name="T5" fmla="*/ 24 h 459"/>
                <a:gd name="T6" fmla="*/ 442 w 994"/>
                <a:gd name="T7" fmla="*/ 33 h 459"/>
                <a:gd name="T8" fmla="*/ 399 w 994"/>
                <a:gd name="T9" fmla="*/ 42 h 459"/>
                <a:gd name="T10" fmla="*/ 382 w 994"/>
                <a:gd name="T11" fmla="*/ 45 h 459"/>
                <a:gd name="T12" fmla="*/ 361 w 994"/>
                <a:gd name="T13" fmla="*/ 52 h 459"/>
                <a:gd name="T14" fmla="*/ 367 w 994"/>
                <a:gd name="T15" fmla="*/ 65 h 459"/>
                <a:gd name="T16" fmla="*/ 381 w 994"/>
                <a:gd name="T17" fmla="*/ 80 h 459"/>
                <a:gd name="T18" fmla="*/ 367 w 994"/>
                <a:gd name="T19" fmla="*/ 80 h 459"/>
                <a:gd name="T20" fmla="*/ 356 w 994"/>
                <a:gd name="T21" fmla="*/ 101 h 459"/>
                <a:gd name="T22" fmla="*/ 338 w 994"/>
                <a:gd name="T23" fmla="*/ 114 h 459"/>
                <a:gd name="T24" fmla="*/ 372 w 994"/>
                <a:gd name="T25" fmla="*/ 137 h 459"/>
                <a:gd name="T26" fmla="*/ 330 w 994"/>
                <a:gd name="T27" fmla="*/ 154 h 459"/>
                <a:gd name="T28" fmla="*/ 293 w 994"/>
                <a:gd name="T29" fmla="*/ 146 h 459"/>
                <a:gd name="T30" fmla="*/ 244 w 994"/>
                <a:gd name="T31" fmla="*/ 144 h 459"/>
                <a:gd name="T32" fmla="*/ 201 w 994"/>
                <a:gd name="T33" fmla="*/ 150 h 459"/>
                <a:gd name="T34" fmla="*/ 146 w 994"/>
                <a:gd name="T35" fmla="*/ 130 h 459"/>
                <a:gd name="T36" fmla="*/ 120 w 994"/>
                <a:gd name="T37" fmla="*/ 130 h 459"/>
                <a:gd name="T38" fmla="*/ 88 w 994"/>
                <a:gd name="T39" fmla="*/ 137 h 459"/>
                <a:gd name="T40" fmla="*/ 55 w 994"/>
                <a:gd name="T41" fmla="*/ 165 h 459"/>
                <a:gd name="T42" fmla="*/ 24 w 994"/>
                <a:gd name="T43" fmla="*/ 165 h 459"/>
                <a:gd name="T44" fmla="*/ 10 w 994"/>
                <a:gd name="T45" fmla="*/ 196 h 459"/>
                <a:gd name="T46" fmla="*/ 34 w 994"/>
                <a:gd name="T47" fmla="*/ 242 h 459"/>
                <a:gd name="T48" fmla="*/ 57 w 994"/>
                <a:gd name="T49" fmla="*/ 281 h 459"/>
                <a:gd name="T50" fmla="*/ 81 w 994"/>
                <a:gd name="T51" fmla="*/ 282 h 459"/>
                <a:gd name="T52" fmla="*/ 157 w 994"/>
                <a:gd name="T53" fmla="*/ 276 h 459"/>
                <a:gd name="T54" fmla="*/ 176 w 994"/>
                <a:gd name="T55" fmla="*/ 332 h 459"/>
                <a:gd name="T56" fmla="*/ 118 w 994"/>
                <a:gd name="T57" fmla="*/ 319 h 459"/>
                <a:gd name="T58" fmla="*/ 113 w 994"/>
                <a:gd name="T59" fmla="*/ 346 h 459"/>
                <a:gd name="T60" fmla="*/ 122 w 994"/>
                <a:gd name="T61" fmla="*/ 386 h 459"/>
                <a:gd name="T62" fmla="*/ 147 w 994"/>
                <a:gd name="T63" fmla="*/ 400 h 459"/>
                <a:gd name="T64" fmla="*/ 213 w 994"/>
                <a:gd name="T65" fmla="*/ 432 h 459"/>
                <a:gd name="T66" fmla="*/ 297 w 994"/>
                <a:gd name="T67" fmla="*/ 307 h 459"/>
                <a:gd name="T68" fmla="*/ 311 w 994"/>
                <a:gd name="T69" fmla="*/ 311 h 459"/>
                <a:gd name="T70" fmla="*/ 324 w 994"/>
                <a:gd name="T71" fmla="*/ 298 h 459"/>
                <a:gd name="T72" fmla="*/ 324 w 994"/>
                <a:gd name="T73" fmla="*/ 303 h 459"/>
                <a:gd name="T74" fmla="*/ 377 w 994"/>
                <a:gd name="T75" fmla="*/ 370 h 459"/>
                <a:gd name="T76" fmla="*/ 459 w 994"/>
                <a:gd name="T77" fmla="*/ 373 h 459"/>
                <a:gd name="T78" fmla="*/ 481 w 994"/>
                <a:gd name="T79" fmla="*/ 418 h 459"/>
                <a:gd name="T80" fmla="*/ 524 w 994"/>
                <a:gd name="T81" fmla="*/ 442 h 459"/>
                <a:gd name="T82" fmla="*/ 549 w 994"/>
                <a:gd name="T83" fmla="*/ 442 h 459"/>
                <a:gd name="T84" fmla="*/ 614 w 994"/>
                <a:gd name="T85" fmla="*/ 396 h 459"/>
                <a:gd name="T86" fmla="*/ 697 w 994"/>
                <a:gd name="T87" fmla="*/ 390 h 459"/>
                <a:gd name="T88" fmla="*/ 742 w 994"/>
                <a:gd name="T89" fmla="*/ 390 h 459"/>
                <a:gd name="T90" fmla="*/ 802 w 994"/>
                <a:gd name="T91" fmla="*/ 394 h 459"/>
                <a:gd name="T92" fmla="*/ 837 w 994"/>
                <a:gd name="T93" fmla="*/ 380 h 459"/>
                <a:gd name="T94" fmla="*/ 826 w 994"/>
                <a:gd name="T95" fmla="*/ 327 h 459"/>
                <a:gd name="T96" fmla="*/ 876 w 994"/>
                <a:gd name="T97" fmla="*/ 316 h 459"/>
                <a:gd name="T98" fmla="*/ 969 w 994"/>
                <a:gd name="T99" fmla="*/ 221 h 459"/>
                <a:gd name="T100" fmla="*/ 972 w 994"/>
                <a:gd name="T101" fmla="*/ 194 h 459"/>
                <a:gd name="T102" fmla="*/ 942 w 994"/>
                <a:gd name="T103" fmla="*/ 180 h 459"/>
                <a:gd name="T104" fmla="*/ 910 w 994"/>
                <a:gd name="T105" fmla="*/ 148 h 459"/>
                <a:gd name="T106" fmla="*/ 860 w 994"/>
                <a:gd name="T107" fmla="*/ 154 h 459"/>
                <a:gd name="T108" fmla="*/ 836 w 994"/>
                <a:gd name="T109" fmla="*/ 143 h 459"/>
                <a:gd name="T110" fmla="*/ 803 w 994"/>
                <a:gd name="T111" fmla="*/ 123 h 459"/>
                <a:gd name="T112" fmla="*/ 683 w 994"/>
                <a:gd name="T113" fmla="*/ 64 h 459"/>
                <a:gd name="T114" fmla="*/ 638 w 994"/>
                <a:gd name="T115" fmla="*/ 46 h 459"/>
                <a:gd name="T116" fmla="*/ 602 w 994"/>
                <a:gd name="T117" fmla="*/ 41 h 459"/>
                <a:gd name="T118" fmla="*/ 599 w 994"/>
                <a:gd name="T119" fmla="*/ 11 h 4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4" h="459">
                  <a:moveTo>
                    <a:pt x="558" y="0"/>
                  </a:moveTo>
                  <a:cubicBezTo>
                    <a:pt x="558" y="0"/>
                    <a:pt x="558" y="0"/>
                    <a:pt x="558" y="0"/>
                  </a:cubicBezTo>
                  <a:cubicBezTo>
                    <a:pt x="558" y="0"/>
                    <a:pt x="558" y="0"/>
                    <a:pt x="557" y="0"/>
                  </a:cubicBezTo>
                  <a:cubicBezTo>
                    <a:pt x="557" y="0"/>
                    <a:pt x="557" y="0"/>
                    <a:pt x="557" y="0"/>
                  </a:cubicBezTo>
                  <a:cubicBezTo>
                    <a:pt x="556" y="0"/>
                    <a:pt x="556" y="0"/>
                    <a:pt x="556" y="0"/>
                  </a:cubicBezTo>
                  <a:cubicBezTo>
                    <a:pt x="555" y="0"/>
                    <a:pt x="555" y="0"/>
                    <a:pt x="555" y="0"/>
                  </a:cubicBezTo>
                  <a:cubicBezTo>
                    <a:pt x="554" y="0"/>
                    <a:pt x="554" y="0"/>
                    <a:pt x="554" y="0"/>
                  </a:cubicBezTo>
                  <a:cubicBezTo>
                    <a:pt x="554" y="0"/>
                    <a:pt x="554" y="0"/>
                    <a:pt x="553" y="0"/>
                  </a:cubicBezTo>
                  <a:cubicBezTo>
                    <a:pt x="553" y="0"/>
                    <a:pt x="553" y="0"/>
                    <a:pt x="553" y="0"/>
                  </a:cubicBezTo>
                  <a:cubicBezTo>
                    <a:pt x="553" y="1"/>
                    <a:pt x="553" y="1"/>
                    <a:pt x="553" y="1"/>
                  </a:cubicBezTo>
                  <a:cubicBezTo>
                    <a:pt x="552" y="1"/>
                    <a:pt x="551" y="1"/>
                    <a:pt x="551" y="1"/>
                  </a:cubicBezTo>
                  <a:cubicBezTo>
                    <a:pt x="549" y="1"/>
                    <a:pt x="548" y="1"/>
                    <a:pt x="547" y="0"/>
                  </a:cubicBezTo>
                  <a:cubicBezTo>
                    <a:pt x="547" y="0"/>
                    <a:pt x="547" y="0"/>
                    <a:pt x="547" y="0"/>
                  </a:cubicBezTo>
                  <a:cubicBezTo>
                    <a:pt x="547" y="0"/>
                    <a:pt x="546" y="0"/>
                    <a:pt x="546" y="0"/>
                  </a:cubicBezTo>
                  <a:cubicBezTo>
                    <a:pt x="545" y="1"/>
                    <a:pt x="545" y="2"/>
                    <a:pt x="544" y="3"/>
                  </a:cubicBezTo>
                  <a:cubicBezTo>
                    <a:pt x="544" y="5"/>
                    <a:pt x="541" y="6"/>
                    <a:pt x="538" y="8"/>
                  </a:cubicBezTo>
                  <a:cubicBezTo>
                    <a:pt x="537" y="9"/>
                    <a:pt x="536" y="9"/>
                    <a:pt x="535" y="9"/>
                  </a:cubicBezTo>
                  <a:cubicBezTo>
                    <a:pt x="534" y="10"/>
                    <a:pt x="534" y="10"/>
                    <a:pt x="534" y="10"/>
                  </a:cubicBezTo>
                  <a:cubicBezTo>
                    <a:pt x="533" y="11"/>
                    <a:pt x="533" y="11"/>
                    <a:pt x="532" y="12"/>
                  </a:cubicBezTo>
                  <a:cubicBezTo>
                    <a:pt x="530" y="13"/>
                    <a:pt x="529" y="13"/>
                    <a:pt x="528" y="13"/>
                  </a:cubicBezTo>
                  <a:cubicBezTo>
                    <a:pt x="528" y="13"/>
                    <a:pt x="528" y="13"/>
                    <a:pt x="528" y="13"/>
                  </a:cubicBezTo>
                  <a:cubicBezTo>
                    <a:pt x="527" y="13"/>
                    <a:pt x="526" y="13"/>
                    <a:pt x="525" y="13"/>
                  </a:cubicBezTo>
                  <a:cubicBezTo>
                    <a:pt x="524" y="13"/>
                    <a:pt x="524" y="13"/>
                    <a:pt x="524" y="13"/>
                  </a:cubicBezTo>
                  <a:cubicBezTo>
                    <a:pt x="524" y="13"/>
                    <a:pt x="524" y="13"/>
                    <a:pt x="524" y="13"/>
                  </a:cubicBezTo>
                  <a:cubicBezTo>
                    <a:pt x="524" y="13"/>
                    <a:pt x="524" y="13"/>
                    <a:pt x="524" y="13"/>
                  </a:cubicBezTo>
                  <a:cubicBezTo>
                    <a:pt x="523" y="13"/>
                    <a:pt x="523" y="13"/>
                    <a:pt x="523" y="13"/>
                  </a:cubicBezTo>
                  <a:cubicBezTo>
                    <a:pt x="523" y="14"/>
                    <a:pt x="523" y="14"/>
                    <a:pt x="523" y="14"/>
                  </a:cubicBezTo>
                  <a:cubicBezTo>
                    <a:pt x="508" y="17"/>
                    <a:pt x="508" y="17"/>
                    <a:pt x="508" y="17"/>
                  </a:cubicBezTo>
                  <a:cubicBezTo>
                    <a:pt x="507" y="17"/>
                    <a:pt x="506" y="17"/>
                    <a:pt x="506" y="18"/>
                  </a:cubicBezTo>
                  <a:cubicBezTo>
                    <a:pt x="511" y="22"/>
                    <a:pt x="511" y="22"/>
                    <a:pt x="511" y="22"/>
                  </a:cubicBezTo>
                  <a:cubicBezTo>
                    <a:pt x="499" y="20"/>
                    <a:pt x="499" y="20"/>
                    <a:pt x="499" y="20"/>
                  </a:cubicBezTo>
                  <a:cubicBezTo>
                    <a:pt x="498" y="20"/>
                    <a:pt x="498" y="20"/>
                    <a:pt x="498" y="20"/>
                  </a:cubicBezTo>
                  <a:cubicBezTo>
                    <a:pt x="498" y="20"/>
                    <a:pt x="498" y="20"/>
                    <a:pt x="498" y="20"/>
                  </a:cubicBezTo>
                  <a:cubicBezTo>
                    <a:pt x="498" y="20"/>
                    <a:pt x="498" y="20"/>
                    <a:pt x="498" y="20"/>
                  </a:cubicBezTo>
                  <a:cubicBezTo>
                    <a:pt x="498" y="20"/>
                    <a:pt x="498" y="20"/>
                    <a:pt x="498" y="20"/>
                  </a:cubicBezTo>
                  <a:cubicBezTo>
                    <a:pt x="496" y="21"/>
                    <a:pt x="496" y="21"/>
                    <a:pt x="496" y="21"/>
                  </a:cubicBezTo>
                  <a:cubicBezTo>
                    <a:pt x="496" y="21"/>
                    <a:pt x="495" y="21"/>
                    <a:pt x="495" y="21"/>
                  </a:cubicBezTo>
                  <a:cubicBezTo>
                    <a:pt x="494" y="21"/>
                    <a:pt x="494" y="21"/>
                    <a:pt x="494" y="21"/>
                  </a:cubicBezTo>
                  <a:cubicBezTo>
                    <a:pt x="494" y="21"/>
                    <a:pt x="494" y="21"/>
                    <a:pt x="494" y="21"/>
                  </a:cubicBezTo>
                  <a:cubicBezTo>
                    <a:pt x="493" y="21"/>
                    <a:pt x="493" y="21"/>
                    <a:pt x="493" y="21"/>
                  </a:cubicBezTo>
                  <a:cubicBezTo>
                    <a:pt x="493" y="21"/>
                    <a:pt x="493" y="21"/>
                    <a:pt x="493" y="21"/>
                  </a:cubicBezTo>
                  <a:cubicBezTo>
                    <a:pt x="493" y="21"/>
                    <a:pt x="493" y="21"/>
                    <a:pt x="493" y="21"/>
                  </a:cubicBezTo>
                  <a:cubicBezTo>
                    <a:pt x="493" y="21"/>
                    <a:pt x="493" y="21"/>
                    <a:pt x="493" y="21"/>
                  </a:cubicBezTo>
                  <a:cubicBezTo>
                    <a:pt x="492" y="21"/>
                    <a:pt x="492" y="21"/>
                    <a:pt x="492" y="21"/>
                  </a:cubicBezTo>
                  <a:cubicBezTo>
                    <a:pt x="491" y="21"/>
                    <a:pt x="491" y="21"/>
                    <a:pt x="490" y="21"/>
                  </a:cubicBezTo>
                  <a:cubicBezTo>
                    <a:pt x="489" y="21"/>
                    <a:pt x="489" y="21"/>
                    <a:pt x="489" y="21"/>
                  </a:cubicBezTo>
                  <a:cubicBezTo>
                    <a:pt x="487" y="22"/>
                    <a:pt x="487" y="22"/>
                    <a:pt x="487" y="22"/>
                  </a:cubicBezTo>
                  <a:cubicBezTo>
                    <a:pt x="486" y="22"/>
                    <a:pt x="485" y="23"/>
                    <a:pt x="483" y="23"/>
                  </a:cubicBezTo>
                  <a:cubicBezTo>
                    <a:pt x="479" y="24"/>
                    <a:pt x="479" y="24"/>
                    <a:pt x="479" y="24"/>
                  </a:cubicBezTo>
                  <a:cubicBezTo>
                    <a:pt x="479" y="24"/>
                    <a:pt x="479" y="24"/>
                    <a:pt x="479" y="24"/>
                  </a:cubicBezTo>
                  <a:cubicBezTo>
                    <a:pt x="479" y="24"/>
                    <a:pt x="478" y="24"/>
                    <a:pt x="478" y="24"/>
                  </a:cubicBezTo>
                  <a:cubicBezTo>
                    <a:pt x="473" y="24"/>
                    <a:pt x="473" y="24"/>
                    <a:pt x="473" y="24"/>
                  </a:cubicBezTo>
                  <a:cubicBezTo>
                    <a:pt x="473" y="24"/>
                    <a:pt x="473" y="24"/>
                    <a:pt x="473" y="24"/>
                  </a:cubicBezTo>
                  <a:cubicBezTo>
                    <a:pt x="473" y="24"/>
                    <a:pt x="473" y="24"/>
                    <a:pt x="473" y="24"/>
                  </a:cubicBezTo>
                  <a:cubicBezTo>
                    <a:pt x="466" y="24"/>
                    <a:pt x="466" y="24"/>
                    <a:pt x="466" y="24"/>
                  </a:cubicBezTo>
                  <a:cubicBezTo>
                    <a:pt x="465" y="24"/>
                    <a:pt x="465" y="24"/>
                    <a:pt x="465" y="24"/>
                  </a:cubicBezTo>
                  <a:cubicBezTo>
                    <a:pt x="464" y="25"/>
                    <a:pt x="464" y="25"/>
                    <a:pt x="464" y="25"/>
                  </a:cubicBezTo>
                  <a:cubicBezTo>
                    <a:pt x="460" y="27"/>
                    <a:pt x="460" y="27"/>
                    <a:pt x="460" y="27"/>
                  </a:cubicBezTo>
                  <a:cubicBezTo>
                    <a:pt x="464" y="31"/>
                    <a:pt x="464" y="31"/>
                    <a:pt x="464" y="31"/>
                  </a:cubicBezTo>
                  <a:cubicBezTo>
                    <a:pt x="459" y="28"/>
                    <a:pt x="459" y="28"/>
                    <a:pt x="459" y="28"/>
                  </a:cubicBezTo>
                  <a:cubicBezTo>
                    <a:pt x="459" y="28"/>
                    <a:pt x="459" y="28"/>
                    <a:pt x="459" y="28"/>
                  </a:cubicBezTo>
                  <a:cubicBezTo>
                    <a:pt x="458" y="29"/>
                    <a:pt x="457" y="30"/>
                    <a:pt x="457" y="31"/>
                  </a:cubicBezTo>
                  <a:cubicBezTo>
                    <a:pt x="454" y="34"/>
                    <a:pt x="454" y="34"/>
                    <a:pt x="454" y="34"/>
                  </a:cubicBezTo>
                  <a:cubicBezTo>
                    <a:pt x="452" y="33"/>
                    <a:pt x="452" y="33"/>
                    <a:pt x="452" y="33"/>
                  </a:cubicBezTo>
                  <a:cubicBezTo>
                    <a:pt x="451" y="32"/>
                    <a:pt x="451" y="32"/>
                    <a:pt x="451" y="32"/>
                  </a:cubicBezTo>
                  <a:cubicBezTo>
                    <a:pt x="450" y="32"/>
                    <a:pt x="450" y="32"/>
                    <a:pt x="450" y="32"/>
                  </a:cubicBezTo>
                  <a:cubicBezTo>
                    <a:pt x="449" y="33"/>
                    <a:pt x="449" y="33"/>
                    <a:pt x="449" y="33"/>
                  </a:cubicBezTo>
                  <a:cubicBezTo>
                    <a:pt x="447" y="34"/>
                    <a:pt x="447" y="34"/>
                    <a:pt x="447" y="34"/>
                  </a:cubicBezTo>
                  <a:cubicBezTo>
                    <a:pt x="446" y="34"/>
                    <a:pt x="445" y="34"/>
                    <a:pt x="444" y="34"/>
                  </a:cubicBezTo>
                  <a:cubicBezTo>
                    <a:pt x="443" y="34"/>
                    <a:pt x="443" y="34"/>
                    <a:pt x="443" y="34"/>
                  </a:cubicBezTo>
                  <a:cubicBezTo>
                    <a:pt x="443" y="34"/>
                    <a:pt x="443" y="34"/>
                    <a:pt x="443" y="34"/>
                  </a:cubicBezTo>
                  <a:cubicBezTo>
                    <a:pt x="443" y="34"/>
                    <a:pt x="442" y="33"/>
                    <a:pt x="442" y="33"/>
                  </a:cubicBezTo>
                  <a:cubicBezTo>
                    <a:pt x="442" y="33"/>
                    <a:pt x="442" y="33"/>
                    <a:pt x="442" y="33"/>
                  </a:cubicBezTo>
                  <a:cubicBezTo>
                    <a:pt x="441" y="33"/>
                    <a:pt x="441" y="33"/>
                    <a:pt x="441" y="33"/>
                  </a:cubicBezTo>
                  <a:cubicBezTo>
                    <a:pt x="439" y="34"/>
                    <a:pt x="439" y="34"/>
                    <a:pt x="439" y="34"/>
                  </a:cubicBezTo>
                  <a:cubicBezTo>
                    <a:pt x="437" y="34"/>
                    <a:pt x="437" y="34"/>
                    <a:pt x="437" y="34"/>
                  </a:cubicBezTo>
                  <a:cubicBezTo>
                    <a:pt x="437" y="34"/>
                    <a:pt x="436" y="34"/>
                    <a:pt x="436" y="34"/>
                  </a:cubicBezTo>
                  <a:cubicBezTo>
                    <a:pt x="435" y="34"/>
                    <a:pt x="435" y="34"/>
                    <a:pt x="435" y="34"/>
                  </a:cubicBezTo>
                  <a:cubicBezTo>
                    <a:pt x="435" y="34"/>
                    <a:pt x="435" y="34"/>
                    <a:pt x="435" y="34"/>
                  </a:cubicBezTo>
                  <a:cubicBezTo>
                    <a:pt x="422" y="37"/>
                    <a:pt x="422" y="37"/>
                    <a:pt x="422" y="37"/>
                  </a:cubicBezTo>
                  <a:cubicBezTo>
                    <a:pt x="421" y="37"/>
                    <a:pt x="421" y="37"/>
                    <a:pt x="421" y="37"/>
                  </a:cubicBezTo>
                  <a:cubicBezTo>
                    <a:pt x="421" y="37"/>
                    <a:pt x="421" y="37"/>
                    <a:pt x="421" y="37"/>
                  </a:cubicBezTo>
                  <a:cubicBezTo>
                    <a:pt x="420" y="38"/>
                    <a:pt x="420" y="38"/>
                    <a:pt x="420" y="38"/>
                  </a:cubicBezTo>
                  <a:cubicBezTo>
                    <a:pt x="411" y="40"/>
                    <a:pt x="411" y="40"/>
                    <a:pt x="411" y="40"/>
                  </a:cubicBezTo>
                  <a:cubicBezTo>
                    <a:pt x="409" y="40"/>
                    <a:pt x="409" y="40"/>
                    <a:pt x="409" y="40"/>
                  </a:cubicBezTo>
                  <a:cubicBezTo>
                    <a:pt x="409" y="40"/>
                    <a:pt x="408" y="40"/>
                    <a:pt x="408" y="39"/>
                  </a:cubicBezTo>
                  <a:cubicBezTo>
                    <a:pt x="408" y="40"/>
                    <a:pt x="408" y="40"/>
                    <a:pt x="408" y="40"/>
                  </a:cubicBezTo>
                  <a:cubicBezTo>
                    <a:pt x="407" y="40"/>
                    <a:pt x="407" y="40"/>
                    <a:pt x="407" y="40"/>
                  </a:cubicBezTo>
                  <a:cubicBezTo>
                    <a:pt x="406" y="41"/>
                    <a:pt x="406" y="41"/>
                    <a:pt x="406" y="41"/>
                  </a:cubicBezTo>
                  <a:cubicBezTo>
                    <a:pt x="399" y="42"/>
                    <a:pt x="399" y="42"/>
                    <a:pt x="399" y="42"/>
                  </a:cubicBezTo>
                  <a:cubicBezTo>
                    <a:pt x="399" y="42"/>
                    <a:pt x="399" y="42"/>
                    <a:pt x="399" y="42"/>
                  </a:cubicBezTo>
                  <a:cubicBezTo>
                    <a:pt x="399" y="42"/>
                    <a:pt x="399" y="42"/>
                    <a:pt x="399" y="42"/>
                  </a:cubicBezTo>
                  <a:cubicBezTo>
                    <a:pt x="398" y="43"/>
                    <a:pt x="397" y="43"/>
                    <a:pt x="396" y="43"/>
                  </a:cubicBezTo>
                  <a:cubicBezTo>
                    <a:pt x="396" y="43"/>
                    <a:pt x="396" y="43"/>
                    <a:pt x="396" y="43"/>
                  </a:cubicBezTo>
                  <a:cubicBezTo>
                    <a:pt x="396" y="43"/>
                    <a:pt x="396" y="43"/>
                    <a:pt x="396" y="43"/>
                  </a:cubicBezTo>
                  <a:cubicBezTo>
                    <a:pt x="394" y="44"/>
                    <a:pt x="394" y="44"/>
                    <a:pt x="394" y="44"/>
                  </a:cubicBezTo>
                  <a:cubicBezTo>
                    <a:pt x="392" y="47"/>
                    <a:pt x="392" y="47"/>
                    <a:pt x="392" y="47"/>
                  </a:cubicBezTo>
                  <a:cubicBezTo>
                    <a:pt x="392" y="47"/>
                    <a:pt x="392" y="47"/>
                    <a:pt x="391" y="48"/>
                  </a:cubicBezTo>
                  <a:cubicBezTo>
                    <a:pt x="390" y="49"/>
                    <a:pt x="390" y="49"/>
                    <a:pt x="390" y="49"/>
                  </a:cubicBezTo>
                  <a:cubicBezTo>
                    <a:pt x="389" y="49"/>
                    <a:pt x="389" y="49"/>
                    <a:pt x="389" y="49"/>
                  </a:cubicBezTo>
                  <a:cubicBezTo>
                    <a:pt x="383" y="54"/>
                    <a:pt x="383" y="54"/>
                    <a:pt x="383" y="54"/>
                  </a:cubicBezTo>
                  <a:cubicBezTo>
                    <a:pt x="387" y="47"/>
                    <a:pt x="387" y="47"/>
                    <a:pt x="387" y="47"/>
                  </a:cubicBezTo>
                  <a:cubicBezTo>
                    <a:pt x="386" y="47"/>
                    <a:pt x="386" y="47"/>
                    <a:pt x="386" y="47"/>
                  </a:cubicBezTo>
                  <a:cubicBezTo>
                    <a:pt x="386" y="46"/>
                    <a:pt x="386" y="46"/>
                    <a:pt x="386" y="46"/>
                  </a:cubicBezTo>
                  <a:cubicBezTo>
                    <a:pt x="385" y="45"/>
                    <a:pt x="385" y="45"/>
                    <a:pt x="385" y="45"/>
                  </a:cubicBezTo>
                  <a:cubicBezTo>
                    <a:pt x="385" y="45"/>
                    <a:pt x="385" y="45"/>
                    <a:pt x="385" y="45"/>
                  </a:cubicBezTo>
                  <a:cubicBezTo>
                    <a:pt x="384" y="45"/>
                    <a:pt x="384" y="45"/>
                    <a:pt x="384" y="45"/>
                  </a:cubicBezTo>
                  <a:cubicBezTo>
                    <a:pt x="383" y="45"/>
                    <a:pt x="383" y="45"/>
                    <a:pt x="382" y="45"/>
                  </a:cubicBezTo>
                  <a:cubicBezTo>
                    <a:pt x="381" y="52"/>
                    <a:pt x="381" y="52"/>
                    <a:pt x="381" y="52"/>
                  </a:cubicBezTo>
                  <a:cubicBezTo>
                    <a:pt x="380" y="45"/>
                    <a:pt x="380" y="45"/>
                    <a:pt x="380" y="45"/>
                  </a:cubicBezTo>
                  <a:cubicBezTo>
                    <a:pt x="380" y="45"/>
                    <a:pt x="380" y="45"/>
                    <a:pt x="380" y="45"/>
                  </a:cubicBezTo>
                  <a:cubicBezTo>
                    <a:pt x="379" y="45"/>
                    <a:pt x="379" y="45"/>
                    <a:pt x="379" y="45"/>
                  </a:cubicBezTo>
                  <a:cubicBezTo>
                    <a:pt x="373" y="46"/>
                    <a:pt x="373" y="46"/>
                    <a:pt x="373" y="46"/>
                  </a:cubicBezTo>
                  <a:cubicBezTo>
                    <a:pt x="373" y="46"/>
                    <a:pt x="373" y="46"/>
                    <a:pt x="373" y="46"/>
                  </a:cubicBezTo>
                  <a:cubicBezTo>
                    <a:pt x="369" y="46"/>
                    <a:pt x="367" y="45"/>
                    <a:pt x="364" y="44"/>
                  </a:cubicBezTo>
                  <a:cubicBezTo>
                    <a:pt x="364" y="44"/>
                    <a:pt x="364" y="44"/>
                    <a:pt x="364" y="44"/>
                  </a:cubicBezTo>
                  <a:cubicBezTo>
                    <a:pt x="363" y="44"/>
                    <a:pt x="363" y="44"/>
                    <a:pt x="363" y="44"/>
                  </a:cubicBezTo>
                  <a:cubicBezTo>
                    <a:pt x="363" y="44"/>
                    <a:pt x="363" y="44"/>
                    <a:pt x="363" y="44"/>
                  </a:cubicBezTo>
                  <a:cubicBezTo>
                    <a:pt x="361" y="44"/>
                    <a:pt x="360" y="45"/>
                    <a:pt x="359" y="46"/>
                  </a:cubicBezTo>
                  <a:cubicBezTo>
                    <a:pt x="359" y="46"/>
                    <a:pt x="359" y="46"/>
                    <a:pt x="359" y="46"/>
                  </a:cubicBezTo>
                  <a:cubicBezTo>
                    <a:pt x="361" y="48"/>
                    <a:pt x="361" y="48"/>
                    <a:pt x="361" y="48"/>
                  </a:cubicBezTo>
                  <a:cubicBezTo>
                    <a:pt x="361" y="48"/>
                    <a:pt x="362" y="49"/>
                    <a:pt x="362" y="49"/>
                  </a:cubicBezTo>
                  <a:cubicBezTo>
                    <a:pt x="362" y="50"/>
                    <a:pt x="362" y="50"/>
                    <a:pt x="362" y="50"/>
                  </a:cubicBezTo>
                  <a:cubicBezTo>
                    <a:pt x="361" y="51"/>
                    <a:pt x="361" y="51"/>
                    <a:pt x="361" y="51"/>
                  </a:cubicBezTo>
                  <a:cubicBezTo>
                    <a:pt x="361" y="52"/>
                    <a:pt x="361" y="52"/>
                    <a:pt x="361" y="52"/>
                  </a:cubicBezTo>
                  <a:cubicBezTo>
                    <a:pt x="361" y="52"/>
                    <a:pt x="361" y="52"/>
                    <a:pt x="361" y="52"/>
                  </a:cubicBezTo>
                  <a:cubicBezTo>
                    <a:pt x="359" y="54"/>
                    <a:pt x="359" y="54"/>
                    <a:pt x="359" y="54"/>
                  </a:cubicBezTo>
                  <a:cubicBezTo>
                    <a:pt x="361" y="55"/>
                    <a:pt x="361" y="55"/>
                    <a:pt x="361" y="55"/>
                  </a:cubicBezTo>
                  <a:cubicBezTo>
                    <a:pt x="362" y="54"/>
                    <a:pt x="362" y="54"/>
                    <a:pt x="363" y="54"/>
                  </a:cubicBezTo>
                  <a:cubicBezTo>
                    <a:pt x="364" y="53"/>
                    <a:pt x="364" y="53"/>
                    <a:pt x="364" y="53"/>
                  </a:cubicBezTo>
                  <a:cubicBezTo>
                    <a:pt x="364" y="53"/>
                    <a:pt x="364" y="53"/>
                    <a:pt x="365" y="53"/>
                  </a:cubicBezTo>
                  <a:cubicBezTo>
                    <a:pt x="365" y="54"/>
                    <a:pt x="365" y="54"/>
                    <a:pt x="365" y="54"/>
                  </a:cubicBezTo>
                  <a:cubicBezTo>
                    <a:pt x="366" y="54"/>
                    <a:pt x="367" y="54"/>
                    <a:pt x="367" y="54"/>
                  </a:cubicBezTo>
                  <a:cubicBezTo>
                    <a:pt x="367" y="54"/>
                    <a:pt x="367" y="54"/>
                    <a:pt x="367" y="54"/>
                  </a:cubicBezTo>
                  <a:cubicBezTo>
                    <a:pt x="368" y="54"/>
                    <a:pt x="368" y="54"/>
                    <a:pt x="368" y="54"/>
                  </a:cubicBezTo>
                  <a:cubicBezTo>
                    <a:pt x="370" y="55"/>
                    <a:pt x="370" y="55"/>
                    <a:pt x="370" y="55"/>
                  </a:cubicBezTo>
                  <a:cubicBezTo>
                    <a:pt x="370" y="56"/>
                    <a:pt x="370" y="56"/>
                    <a:pt x="370" y="56"/>
                  </a:cubicBezTo>
                  <a:cubicBezTo>
                    <a:pt x="376" y="55"/>
                    <a:pt x="376" y="55"/>
                    <a:pt x="376" y="55"/>
                  </a:cubicBezTo>
                  <a:cubicBezTo>
                    <a:pt x="370" y="60"/>
                    <a:pt x="370" y="60"/>
                    <a:pt x="370" y="60"/>
                  </a:cubicBezTo>
                  <a:cubicBezTo>
                    <a:pt x="370" y="60"/>
                    <a:pt x="370" y="60"/>
                    <a:pt x="370" y="60"/>
                  </a:cubicBezTo>
                  <a:cubicBezTo>
                    <a:pt x="369" y="62"/>
                    <a:pt x="369" y="62"/>
                    <a:pt x="369" y="62"/>
                  </a:cubicBezTo>
                  <a:cubicBezTo>
                    <a:pt x="369" y="62"/>
                    <a:pt x="368" y="62"/>
                    <a:pt x="368" y="63"/>
                  </a:cubicBezTo>
                  <a:cubicBezTo>
                    <a:pt x="367" y="63"/>
                    <a:pt x="367" y="63"/>
                    <a:pt x="367" y="63"/>
                  </a:cubicBezTo>
                  <a:cubicBezTo>
                    <a:pt x="367" y="65"/>
                    <a:pt x="367" y="65"/>
                    <a:pt x="367" y="65"/>
                  </a:cubicBezTo>
                  <a:cubicBezTo>
                    <a:pt x="365" y="64"/>
                    <a:pt x="365" y="64"/>
                    <a:pt x="365" y="64"/>
                  </a:cubicBezTo>
                  <a:cubicBezTo>
                    <a:pt x="364" y="64"/>
                    <a:pt x="364" y="64"/>
                    <a:pt x="364" y="64"/>
                  </a:cubicBezTo>
                  <a:cubicBezTo>
                    <a:pt x="364" y="65"/>
                    <a:pt x="364" y="65"/>
                    <a:pt x="364" y="65"/>
                  </a:cubicBezTo>
                  <a:cubicBezTo>
                    <a:pt x="364" y="65"/>
                    <a:pt x="365" y="65"/>
                    <a:pt x="365" y="65"/>
                  </a:cubicBezTo>
                  <a:cubicBezTo>
                    <a:pt x="367" y="66"/>
                    <a:pt x="367" y="66"/>
                    <a:pt x="367" y="66"/>
                  </a:cubicBezTo>
                  <a:cubicBezTo>
                    <a:pt x="368" y="66"/>
                    <a:pt x="368" y="66"/>
                    <a:pt x="368" y="66"/>
                  </a:cubicBezTo>
                  <a:cubicBezTo>
                    <a:pt x="369" y="66"/>
                    <a:pt x="369" y="66"/>
                    <a:pt x="369" y="66"/>
                  </a:cubicBezTo>
                  <a:cubicBezTo>
                    <a:pt x="370" y="67"/>
                    <a:pt x="371" y="67"/>
                    <a:pt x="373" y="67"/>
                  </a:cubicBezTo>
                  <a:cubicBezTo>
                    <a:pt x="378" y="69"/>
                    <a:pt x="378" y="69"/>
                    <a:pt x="378" y="69"/>
                  </a:cubicBezTo>
                  <a:cubicBezTo>
                    <a:pt x="380" y="70"/>
                    <a:pt x="381" y="71"/>
                    <a:pt x="383" y="71"/>
                  </a:cubicBezTo>
                  <a:cubicBezTo>
                    <a:pt x="385" y="72"/>
                    <a:pt x="385" y="72"/>
                    <a:pt x="385" y="72"/>
                  </a:cubicBezTo>
                  <a:cubicBezTo>
                    <a:pt x="384" y="75"/>
                    <a:pt x="384" y="75"/>
                    <a:pt x="384" y="75"/>
                  </a:cubicBezTo>
                  <a:cubicBezTo>
                    <a:pt x="384" y="76"/>
                    <a:pt x="384" y="76"/>
                    <a:pt x="383" y="77"/>
                  </a:cubicBezTo>
                  <a:cubicBezTo>
                    <a:pt x="383" y="77"/>
                    <a:pt x="383" y="77"/>
                    <a:pt x="383" y="78"/>
                  </a:cubicBezTo>
                  <a:cubicBezTo>
                    <a:pt x="383" y="78"/>
                    <a:pt x="383" y="78"/>
                    <a:pt x="383" y="78"/>
                  </a:cubicBezTo>
                  <a:cubicBezTo>
                    <a:pt x="382" y="79"/>
                    <a:pt x="382" y="79"/>
                    <a:pt x="381" y="80"/>
                  </a:cubicBezTo>
                  <a:cubicBezTo>
                    <a:pt x="381" y="80"/>
                    <a:pt x="381" y="80"/>
                    <a:pt x="381" y="80"/>
                  </a:cubicBezTo>
                  <a:cubicBezTo>
                    <a:pt x="381" y="80"/>
                    <a:pt x="381" y="80"/>
                    <a:pt x="381" y="80"/>
                  </a:cubicBezTo>
                  <a:cubicBezTo>
                    <a:pt x="379" y="81"/>
                    <a:pt x="379" y="81"/>
                    <a:pt x="379" y="81"/>
                  </a:cubicBezTo>
                  <a:cubicBezTo>
                    <a:pt x="379" y="81"/>
                    <a:pt x="379" y="81"/>
                    <a:pt x="379" y="81"/>
                  </a:cubicBezTo>
                  <a:cubicBezTo>
                    <a:pt x="379" y="81"/>
                    <a:pt x="379" y="81"/>
                    <a:pt x="379" y="81"/>
                  </a:cubicBezTo>
                  <a:cubicBezTo>
                    <a:pt x="378" y="81"/>
                    <a:pt x="378" y="81"/>
                    <a:pt x="378" y="81"/>
                  </a:cubicBezTo>
                  <a:cubicBezTo>
                    <a:pt x="377" y="81"/>
                    <a:pt x="376" y="81"/>
                    <a:pt x="376" y="81"/>
                  </a:cubicBezTo>
                  <a:cubicBezTo>
                    <a:pt x="376" y="79"/>
                    <a:pt x="376" y="79"/>
                    <a:pt x="376" y="79"/>
                  </a:cubicBezTo>
                  <a:cubicBezTo>
                    <a:pt x="376" y="79"/>
                    <a:pt x="376" y="79"/>
                    <a:pt x="376" y="79"/>
                  </a:cubicBezTo>
                  <a:cubicBezTo>
                    <a:pt x="376" y="81"/>
                    <a:pt x="376" y="81"/>
                    <a:pt x="376" y="81"/>
                  </a:cubicBezTo>
                  <a:cubicBezTo>
                    <a:pt x="375" y="80"/>
                    <a:pt x="375" y="80"/>
                    <a:pt x="375" y="80"/>
                  </a:cubicBezTo>
                  <a:cubicBezTo>
                    <a:pt x="377" y="86"/>
                    <a:pt x="377" y="86"/>
                    <a:pt x="377" y="86"/>
                  </a:cubicBezTo>
                  <a:cubicBezTo>
                    <a:pt x="374" y="80"/>
                    <a:pt x="374" y="80"/>
                    <a:pt x="374" y="80"/>
                  </a:cubicBezTo>
                  <a:cubicBezTo>
                    <a:pt x="373" y="80"/>
                    <a:pt x="373" y="80"/>
                    <a:pt x="372" y="80"/>
                  </a:cubicBezTo>
                  <a:cubicBezTo>
                    <a:pt x="372" y="80"/>
                    <a:pt x="371" y="80"/>
                    <a:pt x="371" y="80"/>
                  </a:cubicBezTo>
                  <a:cubicBezTo>
                    <a:pt x="371" y="80"/>
                    <a:pt x="371" y="80"/>
                    <a:pt x="371" y="80"/>
                  </a:cubicBezTo>
                  <a:cubicBezTo>
                    <a:pt x="371" y="80"/>
                    <a:pt x="371" y="80"/>
                    <a:pt x="371" y="80"/>
                  </a:cubicBezTo>
                  <a:cubicBezTo>
                    <a:pt x="370" y="80"/>
                    <a:pt x="370" y="81"/>
                    <a:pt x="369" y="81"/>
                  </a:cubicBezTo>
                  <a:cubicBezTo>
                    <a:pt x="368" y="81"/>
                    <a:pt x="368" y="81"/>
                    <a:pt x="368" y="81"/>
                  </a:cubicBezTo>
                  <a:cubicBezTo>
                    <a:pt x="367" y="80"/>
                    <a:pt x="367" y="80"/>
                    <a:pt x="367" y="80"/>
                  </a:cubicBezTo>
                  <a:cubicBezTo>
                    <a:pt x="366" y="80"/>
                    <a:pt x="366" y="80"/>
                    <a:pt x="366" y="80"/>
                  </a:cubicBezTo>
                  <a:cubicBezTo>
                    <a:pt x="366" y="79"/>
                    <a:pt x="366" y="79"/>
                    <a:pt x="366" y="79"/>
                  </a:cubicBezTo>
                  <a:cubicBezTo>
                    <a:pt x="364" y="85"/>
                    <a:pt x="364" y="85"/>
                    <a:pt x="364" y="85"/>
                  </a:cubicBezTo>
                  <a:cubicBezTo>
                    <a:pt x="364" y="79"/>
                    <a:pt x="364" y="79"/>
                    <a:pt x="364" y="79"/>
                  </a:cubicBezTo>
                  <a:cubicBezTo>
                    <a:pt x="363" y="79"/>
                    <a:pt x="363" y="79"/>
                    <a:pt x="363" y="79"/>
                  </a:cubicBezTo>
                  <a:cubicBezTo>
                    <a:pt x="363" y="79"/>
                    <a:pt x="362" y="79"/>
                    <a:pt x="360" y="79"/>
                  </a:cubicBezTo>
                  <a:cubicBezTo>
                    <a:pt x="359" y="79"/>
                    <a:pt x="359" y="79"/>
                    <a:pt x="359" y="79"/>
                  </a:cubicBezTo>
                  <a:cubicBezTo>
                    <a:pt x="358" y="79"/>
                    <a:pt x="358" y="79"/>
                    <a:pt x="358" y="79"/>
                  </a:cubicBezTo>
                  <a:cubicBezTo>
                    <a:pt x="357" y="79"/>
                    <a:pt x="357" y="79"/>
                    <a:pt x="357" y="79"/>
                  </a:cubicBezTo>
                  <a:cubicBezTo>
                    <a:pt x="354" y="82"/>
                    <a:pt x="354" y="82"/>
                    <a:pt x="354" y="82"/>
                  </a:cubicBezTo>
                  <a:cubicBezTo>
                    <a:pt x="353" y="84"/>
                    <a:pt x="352" y="85"/>
                    <a:pt x="350" y="86"/>
                  </a:cubicBezTo>
                  <a:cubicBezTo>
                    <a:pt x="350" y="87"/>
                    <a:pt x="350" y="87"/>
                    <a:pt x="350" y="87"/>
                  </a:cubicBezTo>
                  <a:cubicBezTo>
                    <a:pt x="355" y="93"/>
                    <a:pt x="355" y="93"/>
                    <a:pt x="355" y="93"/>
                  </a:cubicBezTo>
                  <a:cubicBezTo>
                    <a:pt x="356" y="94"/>
                    <a:pt x="356" y="95"/>
                    <a:pt x="357" y="95"/>
                  </a:cubicBezTo>
                  <a:cubicBezTo>
                    <a:pt x="357" y="97"/>
                    <a:pt x="357" y="97"/>
                    <a:pt x="357" y="97"/>
                  </a:cubicBezTo>
                  <a:cubicBezTo>
                    <a:pt x="358" y="98"/>
                    <a:pt x="357" y="99"/>
                    <a:pt x="356" y="101"/>
                  </a:cubicBezTo>
                  <a:cubicBezTo>
                    <a:pt x="356" y="101"/>
                    <a:pt x="356" y="101"/>
                    <a:pt x="356" y="101"/>
                  </a:cubicBezTo>
                  <a:cubicBezTo>
                    <a:pt x="356" y="101"/>
                    <a:pt x="356" y="101"/>
                    <a:pt x="356" y="101"/>
                  </a:cubicBezTo>
                  <a:cubicBezTo>
                    <a:pt x="355" y="102"/>
                    <a:pt x="355" y="102"/>
                    <a:pt x="355" y="102"/>
                  </a:cubicBezTo>
                  <a:cubicBezTo>
                    <a:pt x="354" y="102"/>
                    <a:pt x="353" y="103"/>
                    <a:pt x="352" y="103"/>
                  </a:cubicBezTo>
                  <a:cubicBezTo>
                    <a:pt x="352" y="104"/>
                    <a:pt x="352" y="104"/>
                    <a:pt x="352" y="104"/>
                  </a:cubicBezTo>
                  <a:cubicBezTo>
                    <a:pt x="350" y="105"/>
                    <a:pt x="350" y="105"/>
                    <a:pt x="350" y="105"/>
                  </a:cubicBezTo>
                  <a:cubicBezTo>
                    <a:pt x="350" y="105"/>
                    <a:pt x="350" y="105"/>
                    <a:pt x="350" y="105"/>
                  </a:cubicBezTo>
                  <a:cubicBezTo>
                    <a:pt x="350" y="105"/>
                    <a:pt x="350" y="105"/>
                    <a:pt x="350" y="105"/>
                  </a:cubicBezTo>
                  <a:cubicBezTo>
                    <a:pt x="347" y="107"/>
                    <a:pt x="346" y="107"/>
                    <a:pt x="343" y="107"/>
                  </a:cubicBezTo>
                  <a:cubicBezTo>
                    <a:pt x="343" y="107"/>
                    <a:pt x="343" y="107"/>
                    <a:pt x="343" y="107"/>
                  </a:cubicBezTo>
                  <a:cubicBezTo>
                    <a:pt x="342" y="107"/>
                    <a:pt x="342" y="107"/>
                    <a:pt x="342" y="107"/>
                  </a:cubicBezTo>
                  <a:cubicBezTo>
                    <a:pt x="342" y="107"/>
                    <a:pt x="342" y="107"/>
                    <a:pt x="342" y="107"/>
                  </a:cubicBezTo>
                  <a:cubicBezTo>
                    <a:pt x="341" y="108"/>
                    <a:pt x="341" y="108"/>
                    <a:pt x="341" y="108"/>
                  </a:cubicBezTo>
                  <a:cubicBezTo>
                    <a:pt x="340" y="109"/>
                    <a:pt x="339" y="109"/>
                    <a:pt x="339" y="110"/>
                  </a:cubicBezTo>
                  <a:cubicBezTo>
                    <a:pt x="347" y="114"/>
                    <a:pt x="347" y="114"/>
                    <a:pt x="347" y="114"/>
                  </a:cubicBezTo>
                  <a:cubicBezTo>
                    <a:pt x="341" y="113"/>
                    <a:pt x="341" y="113"/>
                    <a:pt x="341" y="113"/>
                  </a:cubicBezTo>
                  <a:cubicBezTo>
                    <a:pt x="342" y="114"/>
                    <a:pt x="342" y="114"/>
                    <a:pt x="342" y="114"/>
                  </a:cubicBezTo>
                  <a:cubicBezTo>
                    <a:pt x="341" y="113"/>
                    <a:pt x="341" y="113"/>
                    <a:pt x="341" y="113"/>
                  </a:cubicBezTo>
                  <a:cubicBezTo>
                    <a:pt x="335" y="113"/>
                    <a:pt x="335" y="113"/>
                    <a:pt x="335" y="113"/>
                  </a:cubicBezTo>
                  <a:cubicBezTo>
                    <a:pt x="336" y="113"/>
                    <a:pt x="337" y="114"/>
                    <a:pt x="338" y="114"/>
                  </a:cubicBezTo>
                  <a:cubicBezTo>
                    <a:pt x="339" y="115"/>
                    <a:pt x="339" y="115"/>
                    <a:pt x="339" y="115"/>
                  </a:cubicBezTo>
                  <a:cubicBezTo>
                    <a:pt x="340" y="115"/>
                    <a:pt x="340" y="115"/>
                    <a:pt x="341" y="116"/>
                  </a:cubicBezTo>
                  <a:cubicBezTo>
                    <a:pt x="344" y="117"/>
                    <a:pt x="344" y="117"/>
                    <a:pt x="344" y="117"/>
                  </a:cubicBezTo>
                  <a:cubicBezTo>
                    <a:pt x="344" y="118"/>
                    <a:pt x="344" y="118"/>
                    <a:pt x="344" y="118"/>
                  </a:cubicBezTo>
                  <a:cubicBezTo>
                    <a:pt x="343" y="119"/>
                    <a:pt x="343" y="119"/>
                    <a:pt x="343" y="119"/>
                  </a:cubicBezTo>
                  <a:cubicBezTo>
                    <a:pt x="344" y="119"/>
                    <a:pt x="344" y="119"/>
                    <a:pt x="344" y="119"/>
                  </a:cubicBezTo>
                  <a:cubicBezTo>
                    <a:pt x="344" y="119"/>
                    <a:pt x="344" y="119"/>
                    <a:pt x="344" y="119"/>
                  </a:cubicBezTo>
                  <a:cubicBezTo>
                    <a:pt x="348" y="119"/>
                    <a:pt x="348" y="119"/>
                    <a:pt x="348" y="119"/>
                  </a:cubicBezTo>
                  <a:cubicBezTo>
                    <a:pt x="356" y="124"/>
                    <a:pt x="356" y="124"/>
                    <a:pt x="356" y="124"/>
                  </a:cubicBezTo>
                  <a:cubicBezTo>
                    <a:pt x="359" y="124"/>
                    <a:pt x="359" y="124"/>
                    <a:pt x="359" y="124"/>
                  </a:cubicBezTo>
                  <a:cubicBezTo>
                    <a:pt x="359" y="125"/>
                    <a:pt x="359" y="125"/>
                    <a:pt x="359" y="125"/>
                  </a:cubicBezTo>
                  <a:cubicBezTo>
                    <a:pt x="369" y="130"/>
                    <a:pt x="369" y="130"/>
                    <a:pt x="369" y="130"/>
                  </a:cubicBezTo>
                  <a:cubicBezTo>
                    <a:pt x="371" y="126"/>
                    <a:pt x="371" y="126"/>
                    <a:pt x="371" y="126"/>
                  </a:cubicBezTo>
                  <a:cubicBezTo>
                    <a:pt x="371" y="131"/>
                    <a:pt x="371" y="131"/>
                    <a:pt x="371" y="131"/>
                  </a:cubicBezTo>
                  <a:cubicBezTo>
                    <a:pt x="376" y="132"/>
                    <a:pt x="376" y="132"/>
                    <a:pt x="376" y="132"/>
                  </a:cubicBezTo>
                  <a:cubicBezTo>
                    <a:pt x="375" y="134"/>
                    <a:pt x="375" y="134"/>
                    <a:pt x="375" y="134"/>
                  </a:cubicBezTo>
                  <a:cubicBezTo>
                    <a:pt x="381" y="138"/>
                    <a:pt x="381" y="138"/>
                    <a:pt x="381" y="138"/>
                  </a:cubicBezTo>
                  <a:cubicBezTo>
                    <a:pt x="372" y="137"/>
                    <a:pt x="372" y="137"/>
                    <a:pt x="372" y="137"/>
                  </a:cubicBezTo>
                  <a:cubicBezTo>
                    <a:pt x="372" y="137"/>
                    <a:pt x="372" y="137"/>
                    <a:pt x="372" y="137"/>
                  </a:cubicBezTo>
                  <a:cubicBezTo>
                    <a:pt x="370" y="139"/>
                    <a:pt x="369" y="140"/>
                    <a:pt x="369" y="142"/>
                  </a:cubicBezTo>
                  <a:cubicBezTo>
                    <a:pt x="369" y="142"/>
                    <a:pt x="369" y="142"/>
                    <a:pt x="369" y="142"/>
                  </a:cubicBezTo>
                  <a:cubicBezTo>
                    <a:pt x="368" y="143"/>
                    <a:pt x="368" y="143"/>
                    <a:pt x="368" y="143"/>
                  </a:cubicBezTo>
                  <a:cubicBezTo>
                    <a:pt x="368" y="144"/>
                    <a:pt x="368" y="144"/>
                    <a:pt x="368" y="144"/>
                  </a:cubicBezTo>
                  <a:cubicBezTo>
                    <a:pt x="368" y="144"/>
                    <a:pt x="368" y="144"/>
                    <a:pt x="368" y="144"/>
                  </a:cubicBezTo>
                  <a:cubicBezTo>
                    <a:pt x="368" y="146"/>
                    <a:pt x="368" y="146"/>
                    <a:pt x="368" y="146"/>
                  </a:cubicBezTo>
                  <a:cubicBezTo>
                    <a:pt x="368" y="147"/>
                    <a:pt x="368" y="148"/>
                    <a:pt x="367" y="149"/>
                  </a:cubicBezTo>
                  <a:cubicBezTo>
                    <a:pt x="366" y="152"/>
                    <a:pt x="366" y="152"/>
                    <a:pt x="366" y="152"/>
                  </a:cubicBezTo>
                  <a:cubicBezTo>
                    <a:pt x="363" y="152"/>
                    <a:pt x="363" y="152"/>
                    <a:pt x="363" y="152"/>
                  </a:cubicBezTo>
                  <a:cubicBezTo>
                    <a:pt x="360" y="154"/>
                    <a:pt x="353" y="156"/>
                    <a:pt x="349" y="156"/>
                  </a:cubicBezTo>
                  <a:cubicBezTo>
                    <a:pt x="348" y="156"/>
                    <a:pt x="348" y="156"/>
                    <a:pt x="348" y="156"/>
                  </a:cubicBezTo>
                  <a:cubicBezTo>
                    <a:pt x="348" y="156"/>
                    <a:pt x="348" y="156"/>
                    <a:pt x="348" y="156"/>
                  </a:cubicBezTo>
                  <a:cubicBezTo>
                    <a:pt x="346" y="156"/>
                    <a:pt x="346" y="156"/>
                    <a:pt x="346" y="156"/>
                  </a:cubicBezTo>
                  <a:cubicBezTo>
                    <a:pt x="342" y="156"/>
                    <a:pt x="339" y="155"/>
                    <a:pt x="335" y="153"/>
                  </a:cubicBezTo>
                  <a:cubicBezTo>
                    <a:pt x="332" y="153"/>
                    <a:pt x="332" y="153"/>
                    <a:pt x="332" y="153"/>
                  </a:cubicBezTo>
                  <a:cubicBezTo>
                    <a:pt x="331" y="152"/>
                    <a:pt x="331" y="152"/>
                    <a:pt x="331" y="152"/>
                  </a:cubicBezTo>
                  <a:cubicBezTo>
                    <a:pt x="330" y="153"/>
                    <a:pt x="330" y="153"/>
                    <a:pt x="330" y="154"/>
                  </a:cubicBezTo>
                  <a:cubicBezTo>
                    <a:pt x="329" y="155"/>
                    <a:pt x="328" y="157"/>
                    <a:pt x="327" y="158"/>
                  </a:cubicBezTo>
                  <a:cubicBezTo>
                    <a:pt x="326" y="159"/>
                    <a:pt x="326" y="159"/>
                    <a:pt x="326" y="159"/>
                  </a:cubicBezTo>
                  <a:cubicBezTo>
                    <a:pt x="326" y="159"/>
                    <a:pt x="325" y="160"/>
                    <a:pt x="323" y="160"/>
                  </a:cubicBezTo>
                  <a:cubicBezTo>
                    <a:pt x="323" y="160"/>
                    <a:pt x="322" y="161"/>
                    <a:pt x="321" y="161"/>
                  </a:cubicBezTo>
                  <a:cubicBezTo>
                    <a:pt x="321" y="161"/>
                    <a:pt x="321" y="161"/>
                    <a:pt x="321" y="161"/>
                  </a:cubicBezTo>
                  <a:cubicBezTo>
                    <a:pt x="320" y="161"/>
                    <a:pt x="320" y="161"/>
                    <a:pt x="320" y="161"/>
                  </a:cubicBezTo>
                  <a:cubicBezTo>
                    <a:pt x="315" y="167"/>
                    <a:pt x="315" y="167"/>
                    <a:pt x="315" y="167"/>
                  </a:cubicBezTo>
                  <a:cubicBezTo>
                    <a:pt x="315" y="159"/>
                    <a:pt x="315" y="159"/>
                    <a:pt x="315" y="159"/>
                  </a:cubicBezTo>
                  <a:cubicBezTo>
                    <a:pt x="315" y="159"/>
                    <a:pt x="315" y="158"/>
                    <a:pt x="315" y="158"/>
                  </a:cubicBezTo>
                  <a:cubicBezTo>
                    <a:pt x="313" y="157"/>
                    <a:pt x="311" y="157"/>
                    <a:pt x="308" y="156"/>
                  </a:cubicBezTo>
                  <a:cubicBezTo>
                    <a:pt x="308" y="156"/>
                    <a:pt x="307" y="156"/>
                    <a:pt x="306" y="156"/>
                  </a:cubicBezTo>
                  <a:cubicBezTo>
                    <a:pt x="305" y="156"/>
                    <a:pt x="304" y="156"/>
                    <a:pt x="303" y="156"/>
                  </a:cubicBezTo>
                  <a:cubicBezTo>
                    <a:pt x="301" y="160"/>
                    <a:pt x="301" y="160"/>
                    <a:pt x="301" y="160"/>
                  </a:cubicBezTo>
                  <a:cubicBezTo>
                    <a:pt x="302" y="155"/>
                    <a:pt x="302" y="155"/>
                    <a:pt x="302" y="155"/>
                  </a:cubicBezTo>
                  <a:cubicBezTo>
                    <a:pt x="301" y="155"/>
                    <a:pt x="301" y="155"/>
                    <a:pt x="301" y="155"/>
                  </a:cubicBezTo>
                  <a:cubicBezTo>
                    <a:pt x="300" y="155"/>
                    <a:pt x="299" y="154"/>
                    <a:pt x="298" y="153"/>
                  </a:cubicBezTo>
                  <a:cubicBezTo>
                    <a:pt x="295" y="152"/>
                    <a:pt x="294" y="151"/>
                    <a:pt x="294" y="151"/>
                  </a:cubicBezTo>
                  <a:cubicBezTo>
                    <a:pt x="293" y="149"/>
                    <a:pt x="293" y="147"/>
                    <a:pt x="293" y="146"/>
                  </a:cubicBezTo>
                  <a:cubicBezTo>
                    <a:pt x="292" y="144"/>
                    <a:pt x="291" y="143"/>
                    <a:pt x="290" y="142"/>
                  </a:cubicBezTo>
                  <a:cubicBezTo>
                    <a:pt x="288" y="141"/>
                    <a:pt x="286" y="141"/>
                    <a:pt x="283" y="141"/>
                  </a:cubicBezTo>
                  <a:cubicBezTo>
                    <a:pt x="282" y="141"/>
                    <a:pt x="280" y="141"/>
                    <a:pt x="279" y="141"/>
                  </a:cubicBezTo>
                  <a:cubicBezTo>
                    <a:pt x="278" y="141"/>
                    <a:pt x="278" y="141"/>
                    <a:pt x="278" y="141"/>
                  </a:cubicBezTo>
                  <a:cubicBezTo>
                    <a:pt x="277" y="141"/>
                    <a:pt x="277" y="141"/>
                    <a:pt x="277" y="141"/>
                  </a:cubicBezTo>
                  <a:cubicBezTo>
                    <a:pt x="277" y="142"/>
                    <a:pt x="277" y="144"/>
                    <a:pt x="276" y="146"/>
                  </a:cubicBezTo>
                  <a:cubicBezTo>
                    <a:pt x="276" y="146"/>
                    <a:pt x="276" y="146"/>
                    <a:pt x="276" y="146"/>
                  </a:cubicBezTo>
                  <a:cubicBezTo>
                    <a:pt x="276" y="147"/>
                    <a:pt x="275" y="147"/>
                    <a:pt x="274" y="148"/>
                  </a:cubicBezTo>
                  <a:cubicBezTo>
                    <a:pt x="273" y="149"/>
                    <a:pt x="271" y="149"/>
                    <a:pt x="269" y="149"/>
                  </a:cubicBezTo>
                  <a:cubicBezTo>
                    <a:pt x="269" y="150"/>
                    <a:pt x="268" y="150"/>
                    <a:pt x="268" y="150"/>
                  </a:cubicBezTo>
                  <a:cubicBezTo>
                    <a:pt x="267" y="150"/>
                    <a:pt x="267" y="150"/>
                    <a:pt x="267" y="150"/>
                  </a:cubicBezTo>
                  <a:cubicBezTo>
                    <a:pt x="264" y="149"/>
                    <a:pt x="262" y="147"/>
                    <a:pt x="260" y="145"/>
                  </a:cubicBezTo>
                  <a:cubicBezTo>
                    <a:pt x="259" y="144"/>
                    <a:pt x="259" y="143"/>
                    <a:pt x="258" y="143"/>
                  </a:cubicBezTo>
                  <a:cubicBezTo>
                    <a:pt x="258" y="142"/>
                    <a:pt x="258" y="142"/>
                    <a:pt x="258" y="142"/>
                  </a:cubicBezTo>
                  <a:cubicBezTo>
                    <a:pt x="257" y="142"/>
                    <a:pt x="257" y="142"/>
                    <a:pt x="257" y="142"/>
                  </a:cubicBezTo>
                  <a:cubicBezTo>
                    <a:pt x="253" y="143"/>
                    <a:pt x="253" y="143"/>
                    <a:pt x="253" y="143"/>
                  </a:cubicBezTo>
                  <a:cubicBezTo>
                    <a:pt x="250" y="143"/>
                    <a:pt x="248" y="143"/>
                    <a:pt x="245" y="144"/>
                  </a:cubicBezTo>
                  <a:cubicBezTo>
                    <a:pt x="244" y="144"/>
                    <a:pt x="244" y="144"/>
                    <a:pt x="244" y="144"/>
                  </a:cubicBezTo>
                  <a:cubicBezTo>
                    <a:pt x="244" y="145"/>
                    <a:pt x="243" y="146"/>
                    <a:pt x="242" y="147"/>
                  </a:cubicBezTo>
                  <a:cubicBezTo>
                    <a:pt x="240" y="149"/>
                    <a:pt x="239" y="149"/>
                    <a:pt x="238" y="149"/>
                  </a:cubicBezTo>
                  <a:cubicBezTo>
                    <a:pt x="237" y="150"/>
                    <a:pt x="237" y="150"/>
                    <a:pt x="236" y="150"/>
                  </a:cubicBezTo>
                  <a:cubicBezTo>
                    <a:pt x="236" y="151"/>
                    <a:pt x="236" y="152"/>
                    <a:pt x="235" y="153"/>
                  </a:cubicBezTo>
                  <a:cubicBezTo>
                    <a:pt x="234" y="155"/>
                    <a:pt x="232" y="155"/>
                    <a:pt x="231" y="156"/>
                  </a:cubicBezTo>
                  <a:cubicBezTo>
                    <a:pt x="231" y="156"/>
                    <a:pt x="230" y="157"/>
                    <a:pt x="229" y="157"/>
                  </a:cubicBezTo>
                  <a:cubicBezTo>
                    <a:pt x="228" y="157"/>
                    <a:pt x="228" y="157"/>
                    <a:pt x="228" y="157"/>
                  </a:cubicBezTo>
                  <a:cubicBezTo>
                    <a:pt x="228" y="158"/>
                    <a:pt x="228" y="158"/>
                    <a:pt x="228" y="158"/>
                  </a:cubicBezTo>
                  <a:cubicBezTo>
                    <a:pt x="226" y="159"/>
                    <a:pt x="225" y="159"/>
                    <a:pt x="225" y="160"/>
                  </a:cubicBezTo>
                  <a:cubicBezTo>
                    <a:pt x="224" y="160"/>
                    <a:pt x="224" y="160"/>
                    <a:pt x="223" y="160"/>
                  </a:cubicBezTo>
                  <a:cubicBezTo>
                    <a:pt x="221" y="160"/>
                    <a:pt x="218" y="159"/>
                    <a:pt x="214" y="156"/>
                  </a:cubicBezTo>
                  <a:cubicBezTo>
                    <a:pt x="211" y="154"/>
                    <a:pt x="208" y="152"/>
                    <a:pt x="205" y="149"/>
                  </a:cubicBezTo>
                  <a:cubicBezTo>
                    <a:pt x="203" y="148"/>
                    <a:pt x="203" y="148"/>
                    <a:pt x="203" y="148"/>
                  </a:cubicBezTo>
                  <a:cubicBezTo>
                    <a:pt x="202" y="148"/>
                    <a:pt x="202" y="147"/>
                    <a:pt x="202" y="147"/>
                  </a:cubicBezTo>
                  <a:cubicBezTo>
                    <a:pt x="201" y="146"/>
                    <a:pt x="200" y="146"/>
                    <a:pt x="200" y="146"/>
                  </a:cubicBezTo>
                  <a:cubicBezTo>
                    <a:pt x="200" y="146"/>
                    <a:pt x="200" y="147"/>
                    <a:pt x="201" y="147"/>
                  </a:cubicBezTo>
                  <a:cubicBezTo>
                    <a:pt x="201" y="148"/>
                    <a:pt x="201" y="148"/>
                    <a:pt x="201" y="148"/>
                  </a:cubicBezTo>
                  <a:cubicBezTo>
                    <a:pt x="201" y="149"/>
                    <a:pt x="201" y="149"/>
                    <a:pt x="201" y="150"/>
                  </a:cubicBezTo>
                  <a:cubicBezTo>
                    <a:pt x="201" y="152"/>
                    <a:pt x="201" y="152"/>
                    <a:pt x="201" y="152"/>
                  </a:cubicBezTo>
                  <a:cubicBezTo>
                    <a:pt x="201" y="153"/>
                    <a:pt x="201" y="154"/>
                    <a:pt x="201" y="156"/>
                  </a:cubicBezTo>
                  <a:cubicBezTo>
                    <a:pt x="200" y="157"/>
                    <a:pt x="199" y="158"/>
                    <a:pt x="196" y="160"/>
                  </a:cubicBezTo>
                  <a:cubicBezTo>
                    <a:pt x="192" y="162"/>
                    <a:pt x="192" y="162"/>
                    <a:pt x="192" y="162"/>
                  </a:cubicBezTo>
                  <a:cubicBezTo>
                    <a:pt x="191" y="158"/>
                    <a:pt x="191" y="158"/>
                    <a:pt x="191" y="158"/>
                  </a:cubicBezTo>
                  <a:cubicBezTo>
                    <a:pt x="191" y="156"/>
                    <a:pt x="190" y="152"/>
                    <a:pt x="190" y="149"/>
                  </a:cubicBezTo>
                  <a:cubicBezTo>
                    <a:pt x="190" y="148"/>
                    <a:pt x="190" y="148"/>
                    <a:pt x="190" y="148"/>
                  </a:cubicBezTo>
                  <a:cubicBezTo>
                    <a:pt x="189" y="147"/>
                    <a:pt x="189" y="147"/>
                    <a:pt x="188" y="146"/>
                  </a:cubicBezTo>
                  <a:cubicBezTo>
                    <a:pt x="186" y="145"/>
                    <a:pt x="185" y="144"/>
                    <a:pt x="183" y="142"/>
                  </a:cubicBezTo>
                  <a:cubicBezTo>
                    <a:pt x="183" y="141"/>
                    <a:pt x="183" y="141"/>
                    <a:pt x="183" y="141"/>
                  </a:cubicBezTo>
                  <a:cubicBezTo>
                    <a:pt x="177" y="137"/>
                    <a:pt x="172" y="132"/>
                    <a:pt x="167" y="130"/>
                  </a:cubicBezTo>
                  <a:cubicBezTo>
                    <a:pt x="165" y="129"/>
                    <a:pt x="163" y="129"/>
                    <a:pt x="159" y="129"/>
                  </a:cubicBezTo>
                  <a:cubicBezTo>
                    <a:pt x="159" y="129"/>
                    <a:pt x="158" y="129"/>
                    <a:pt x="158" y="129"/>
                  </a:cubicBezTo>
                  <a:cubicBezTo>
                    <a:pt x="155" y="129"/>
                    <a:pt x="153" y="129"/>
                    <a:pt x="151" y="129"/>
                  </a:cubicBezTo>
                  <a:cubicBezTo>
                    <a:pt x="151" y="130"/>
                    <a:pt x="151" y="130"/>
                    <a:pt x="151" y="130"/>
                  </a:cubicBezTo>
                  <a:cubicBezTo>
                    <a:pt x="150" y="130"/>
                    <a:pt x="150" y="130"/>
                    <a:pt x="150" y="130"/>
                  </a:cubicBezTo>
                  <a:cubicBezTo>
                    <a:pt x="149" y="130"/>
                    <a:pt x="149" y="130"/>
                    <a:pt x="147" y="130"/>
                  </a:cubicBezTo>
                  <a:cubicBezTo>
                    <a:pt x="146" y="130"/>
                    <a:pt x="146" y="130"/>
                    <a:pt x="146" y="130"/>
                  </a:cubicBezTo>
                  <a:cubicBezTo>
                    <a:pt x="146" y="130"/>
                    <a:pt x="146" y="130"/>
                    <a:pt x="145" y="130"/>
                  </a:cubicBezTo>
                  <a:cubicBezTo>
                    <a:pt x="145" y="130"/>
                    <a:pt x="145" y="130"/>
                    <a:pt x="145" y="130"/>
                  </a:cubicBezTo>
                  <a:cubicBezTo>
                    <a:pt x="144" y="129"/>
                    <a:pt x="144" y="129"/>
                    <a:pt x="144" y="129"/>
                  </a:cubicBezTo>
                  <a:cubicBezTo>
                    <a:pt x="144" y="129"/>
                    <a:pt x="143" y="129"/>
                    <a:pt x="143" y="129"/>
                  </a:cubicBezTo>
                  <a:cubicBezTo>
                    <a:pt x="143" y="128"/>
                    <a:pt x="143" y="128"/>
                    <a:pt x="142" y="127"/>
                  </a:cubicBezTo>
                  <a:cubicBezTo>
                    <a:pt x="142" y="127"/>
                    <a:pt x="141" y="126"/>
                    <a:pt x="141" y="126"/>
                  </a:cubicBezTo>
                  <a:cubicBezTo>
                    <a:pt x="141" y="125"/>
                    <a:pt x="141" y="125"/>
                    <a:pt x="141" y="125"/>
                  </a:cubicBezTo>
                  <a:cubicBezTo>
                    <a:pt x="140" y="123"/>
                    <a:pt x="140" y="122"/>
                    <a:pt x="139" y="121"/>
                  </a:cubicBezTo>
                  <a:cubicBezTo>
                    <a:pt x="136" y="123"/>
                    <a:pt x="134" y="123"/>
                    <a:pt x="130" y="124"/>
                  </a:cubicBezTo>
                  <a:cubicBezTo>
                    <a:pt x="130" y="124"/>
                    <a:pt x="130" y="124"/>
                    <a:pt x="130" y="124"/>
                  </a:cubicBezTo>
                  <a:cubicBezTo>
                    <a:pt x="130" y="124"/>
                    <a:pt x="130" y="124"/>
                    <a:pt x="130" y="124"/>
                  </a:cubicBezTo>
                  <a:cubicBezTo>
                    <a:pt x="130" y="125"/>
                    <a:pt x="130" y="125"/>
                    <a:pt x="130" y="126"/>
                  </a:cubicBezTo>
                  <a:cubicBezTo>
                    <a:pt x="130" y="127"/>
                    <a:pt x="129" y="127"/>
                    <a:pt x="129" y="128"/>
                  </a:cubicBezTo>
                  <a:cubicBezTo>
                    <a:pt x="128" y="129"/>
                    <a:pt x="128" y="129"/>
                    <a:pt x="128" y="129"/>
                  </a:cubicBezTo>
                  <a:cubicBezTo>
                    <a:pt x="127" y="130"/>
                    <a:pt x="126" y="130"/>
                    <a:pt x="124" y="130"/>
                  </a:cubicBezTo>
                  <a:cubicBezTo>
                    <a:pt x="123" y="130"/>
                    <a:pt x="123" y="130"/>
                    <a:pt x="123" y="130"/>
                  </a:cubicBezTo>
                  <a:cubicBezTo>
                    <a:pt x="123" y="130"/>
                    <a:pt x="122" y="130"/>
                    <a:pt x="122" y="130"/>
                  </a:cubicBezTo>
                  <a:cubicBezTo>
                    <a:pt x="121" y="130"/>
                    <a:pt x="120" y="130"/>
                    <a:pt x="120" y="130"/>
                  </a:cubicBezTo>
                  <a:cubicBezTo>
                    <a:pt x="118" y="135"/>
                    <a:pt x="118" y="135"/>
                    <a:pt x="118" y="135"/>
                  </a:cubicBezTo>
                  <a:cubicBezTo>
                    <a:pt x="118" y="129"/>
                    <a:pt x="118" y="129"/>
                    <a:pt x="118" y="129"/>
                  </a:cubicBezTo>
                  <a:cubicBezTo>
                    <a:pt x="118" y="129"/>
                    <a:pt x="118" y="129"/>
                    <a:pt x="118" y="129"/>
                  </a:cubicBezTo>
                  <a:cubicBezTo>
                    <a:pt x="116" y="128"/>
                    <a:pt x="114" y="127"/>
                    <a:pt x="114" y="125"/>
                  </a:cubicBezTo>
                  <a:cubicBezTo>
                    <a:pt x="113" y="123"/>
                    <a:pt x="113" y="123"/>
                    <a:pt x="113" y="123"/>
                  </a:cubicBezTo>
                  <a:cubicBezTo>
                    <a:pt x="113" y="123"/>
                    <a:pt x="113" y="123"/>
                    <a:pt x="113" y="123"/>
                  </a:cubicBezTo>
                  <a:cubicBezTo>
                    <a:pt x="112" y="123"/>
                    <a:pt x="111" y="123"/>
                    <a:pt x="110" y="122"/>
                  </a:cubicBezTo>
                  <a:cubicBezTo>
                    <a:pt x="109" y="122"/>
                    <a:pt x="108" y="122"/>
                    <a:pt x="108" y="122"/>
                  </a:cubicBezTo>
                  <a:cubicBezTo>
                    <a:pt x="107" y="121"/>
                    <a:pt x="106" y="121"/>
                    <a:pt x="106" y="121"/>
                  </a:cubicBezTo>
                  <a:cubicBezTo>
                    <a:pt x="106" y="122"/>
                    <a:pt x="106" y="122"/>
                    <a:pt x="106" y="122"/>
                  </a:cubicBezTo>
                  <a:cubicBezTo>
                    <a:pt x="106" y="123"/>
                    <a:pt x="106" y="123"/>
                    <a:pt x="105" y="123"/>
                  </a:cubicBezTo>
                  <a:cubicBezTo>
                    <a:pt x="105" y="125"/>
                    <a:pt x="104" y="126"/>
                    <a:pt x="102" y="126"/>
                  </a:cubicBezTo>
                  <a:cubicBezTo>
                    <a:pt x="101" y="126"/>
                    <a:pt x="101" y="126"/>
                    <a:pt x="100" y="126"/>
                  </a:cubicBezTo>
                  <a:cubicBezTo>
                    <a:pt x="100" y="126"/>
                    <a:pt x="100" y="126"/>
                    <a:pt x="100" y="126"/>
                  </a:cubicBezTo>
                  <a:cubicBezTo>
                    <a:pt x="98" y="126"/>
                    <a:pt x="98" y="126"/>
                    <a:pt x="96" y="129"/>
                  </a:cubicBezTo>
                  <a:cubicBezTo>
                    <a:pt x="95" y="131"/>
                    <a:pt x="95" y="131"/>
                    <a:pt x="95" y="131"/>
                  </a:cubicBezTo>
                  <a:cubicBezTo>
                    <a:pt x="95" y="132"/>
                    <a:pt x="95" y="133"/>
                    <a:pt x="94" y="134"/>
                  </a:cubicBezTo>
                  <a:cubicBezTo>
                    <a:pt x="93" y="135"/>
                    <a:pt x="90" y="136"/>
                    <a:pt x="88" y="137"/>
                  </a:cubicBezTo>
                  <a:cubicBezTo>
                    <a:pt x="87" y="137"/>
                    <a:pt x="87" y="137"/>
                    <a:pt x="87" y="137"/>
                  </a:cubicBezTo>
                  <a:cubicBezTo>
                    <a:pt x="87" y="137"/>
                    <a:pt x="87" y="137"/>
                    <a:pt x="87" y="137"/>
                  </a:cubicBezTo>
                  <a:cubicBezTo>
                    <a:pt x="72" y="144"/>
                    <a:pt x="72" y="144"/>
                    <a:pt x="72" y="144"/>
                  </a:cubicBezTo>
                  <a:cubicBezTo>
                    <a:pt x="72" y="146"/>
                    <a:pt x="72" y="147"/>
                    <a:pt x="71" y="148"/>
                  </a:cubicBezTo>
                  <a:cubicBezTo>
                    <a:pt x="71" y="149"/>
                    <a:pt x="71" y="149"/>
                    <a:pt x="71" y="149"/>
                  </a:cubicBezTo>
                  <a:cubicBezTo>
                    <a:pt x="70" y="150"/>
                    <a:pt x="68" y="151"/>
                    <a:pt x="64" y="152"/>
                  </a:cubicBezTo>
                  <a:cubicBezTo>
                    <a:pt x="63" y="153"/>
                    <a:pt x="63" y="153"/>
                    <a:pt x="63" y="153"/>
                  </a:cubicBezTo>
                  <a:cubicBezTo>
                    <a:pt x="62" y="153"/>
                    <a:pt x="62" y="153"/>
                    <a:pt x="62" y="153"/>
                  </a:cubicBezTo>
                  <a:cubicBezTo>
                    <a:pt x="61" y="153"/>
                    <a:pt x="61" y="153"/>
                    <a:pt x="61" y="153"/>
                  </a:cubicBezTo>
                  <a:cubicBezTo>
                    <a:pt x="60" y="152"/>
                    <a:pt x="60" y="152"/>
                    <a:pt x="60" y="152"/>
                  </a:cubicBezTo>
                  <a:cubicBezTo>
                    <a:pt x="61" y="153"/>
                    <a:pt x="61" y="153"/>
                    <a:pt x="61" y="153"/>
                  </a:cubicBezTo>
                  <a:cubicBezTo>
                    <a:pt x="60" y="154"/>
                    <a:pt x="60" y="154"/>
                    <a:pt x="60" y="154"/>
                  </a:cubicBezTo>
                  <a:cubicBezTo>
                    <a:pt x="59" y="154"/>
                    <a:pt x="59" y="154"/>
                    <a:pt x="59" y="155"/>
                  </a:cubicBezTo>
                  <a:cubicBezTo>
                    <a:pt x="57" y="156"/>
                    <a:pt x="55" y="157"/>
                    <a:pt x="53" y="157"/>
                  </a:cubicBezTo>
                  <a:cubicBezTo>
                    <a:pt x="53" y="158"/>
                    <a:pt x="53" y="158"/>
                    <a:pt x="53" y="158"/>
                  </a:cubicBezTo>
                  <a:cubicBezTo>
                    <a:pt x="54" y="159"/>
                    <a:pt x="54" y="161"/>
                    <a:pt x="54" y="162"/>
                  </a:cubicBezTo>
                  <a:cubicBezTo>
                    <a:pt x="55" y="163"/>
                    <a:pt x="55" y="163"/>
                    <a:pt x="55" y="163"/>
                  </a:cubicBezTo>
                  <a:cubicBezTo>
                    <a:pt x="55" y="164"/>
                    <a:pt x="55" y="164"/>
                    <a:pt x="55" y="165"/>
                  </a:cubicBezTo>
                  <a:cubicBezTo>
                    <a:pt x="55" y="166"/>
                    <a:pt x="55" y="166"/>
                    <a:pt x="55" y="166"/>
                  </a:cubicBezTo>
                  <a:cubicBezTo>
                    <a:pt x="56" y="166"/>
                    <a:pt x="56" y="167"/>
                    <a:pt x="56" y="167"/>
                  </a:cubicBezTo>
                  <a:cubicBezTo>
                    <a:pt x="57" y="168"/>
                    <a:pt x="57" y="168"/>
                    <a:pt x="57" y="168"/>
                  </a:cubicBezTo>
                  <a:cubicBezTo>
                    <a:pt x="56" y="169"/>
                    <a:pt x="56" y="169"/>
                    <a:pt x="56" y="169"/>
                  </a:cubicBezTo>
                  <a:cubicBezTo>
                    <a:pt x="57" y="169"/>
                    <a:pt x="57" y="169"/>
                    <a:pt x="57" y="169"/>
                  </a:cubicBezTo>
                  <a:cubicBezTo>
                    <a:pt x="57" y="169"/>
                    <a:pt x="57" y="170"/>
                    <a:pt x="58" y="170"/>
                  </a:cubicBezTo>
                  <a:cubicBezTo>
                    <a:pt x="59" y="171"/>
                    <a:pt x="59" y="172"/>
                    <a:pt x="59" y="174"/>
                  </a:cubicBezTo>
                  <a:cubicBezTo>
                    <a:pt x="59" y="175"/>
                    <a:pt x="58" y="177"/>
                    <a:pt x="56" y="178"/>
                  </a:cubicBezTo>
                  <a:cubicBezTo>
                    <a:pt x="55" y="179"/>
                    <a:pt x="53" y="180"/>
                    <a:pt x="49" y="181"/>
                  </a:cubicBezTo>
                  <a:cubicBezTo>
                    <a:pt x="49" y="182"/>
                    <a:pt x="48" y="182"/>
                    <a:pt x="47" y="182"/>
                  </a:cubicBezTo>
                  <a:cubicBezTo>
                    <a:pt x="46" y="183"/>
                    <a:pt x="46" y="183"/>
                    <a:pt x="45" y="183"/>
                  </a:cubicBezTo>
                  <a:cubicBezTo>
                    <a:pt x="43" y="183"/>
                    <a:pt x="41" y="181"/>
                    <a:pt x="40" y="180"/>
                  </a:cubicBezTo>
                  <a:cubicBezTo>
                    <a:pt x="38" y="179"/>
                    <a:pt x="37" y="177"/>
                    <a:pt x="35" y="175"/>
                  </a:cubicBezTo>
                  <a:cubicBezTo>
                    <a:pt x="34" y="174"/>
                    <a:pt x="34" y="174"/>
                    <a:pt x="34" y="174"/>
                  </a:cubicBezTo>
                  <a:cubicBezTo>
                    <a:pt x="33" y="174"/>
                    <a:pt x="33" y="173"/>
                    <a:pt x="33" y="173"/>
                  </a:cubicBezTo>
                  <a:cubicBezTo>
                    <a:pt x="31" y="171"/>
                    <a:pt x="31" y="171"/>
                    <a:pt x="31" y="171"/>
                  </a:cubicBezTo>
                  <a:cubicBezTo>
                    <a:pt x="30" y="170"/>
                    <a:pt x="27" y="166"/>
                    <a:pt x="24" y="165"/>
                  </a:cubicBezTo>
                  <a:cubicBezTo>
                    <a:pt x="24" y="165"/>
                    <a:pt x="24" y="165"/>
                    <a:pt x="24" y="165"/>
                  </a:cubicBezTo>
                  <a:cubicBezTo>
                    <a:pt x="23" y="165"/>
                    <a:pt x="22" y="165"/>
                    <a:pt x="22" y="165"/>
                  </a:cubicBezTo>
                  <a:cubicBezTo>
                    <a:pt x="22" y="166"/>
                    <a:pt x="22" y="166"/>
                    <a:pt x="22" y="166"/>
                  </a:cubicBezTo>
                  <a:cubicBezTo>
                    <a:pt x="22" y="166"/>
                    <a:pt x="22" y="167"/>
                    <a:pt x="21" y="168"/>
                  </a:cubicBezTo>
                  <a:cubicBezTo>
                    <a:pt x="21" y="170"/>
                    <a:pt x="20" y="172"/>
                    <a:pt x="19" y="174"/>
                  </a:cubicBezTo>
                  <a:cubicBezTo>
                    <a:pt x="19" y="175"/>
                    <a:pt x="19" y="175"/>
                    <a:pt x="19" y="175"/>
                  </a:cubicBezTo>
                  <a:cubicBezTo>
                    <a:pt x="18" y="176"/>
                    <a:pt x="18" y="176"/>
                    <a:pt x="18" y="177"/>
                  </a:cubicBezTo>
                  <a:cubicBezTo>
                    <a:pt x="17" y="177"/>
                    <a:pt x="17" y="177"/>
                    <a:pt x="17" y="178"/>
                  </a:cubicBezTo>
                  <a:cubicBezTo>
                    <a:pt x="16" y="178"/>
                    <a:pt x="16" y="178"/>
                    <a:pt x="16" y="178"/>
                  </a:cubicBezTo>
                  <a:cubicBezTo>
                    <a:pt x="15" y="179"/>
                    <a:pt x="13" y="180"/>
                    <a:pt x="12" y="180"/>
                  </a:cubicBezTo>
                  <a:cubicBezTo>
                    <a:pt x="11" y="181"/>
                    <a:pt x="10" y="181"/>
                    <a:pt x="10" y="182"/>
                  </a:cubicBezTo>
                  <a:cubicBezTo>
                    <a:pt x="9" y="184"/>
                    <a:pt x="9" y="184"/>
                    <a:pt x="9" y="184"/>
                  </a:cubicBezTo>
                  <a:cubicBezTo>
                    <a:pt x="9" y="184"/>
                    <a:pt x="9" y="185"/>
                    <a:pt x="9" y="185"/>
                  </a:cubicBezTo>
                  <a:cubicBezTo>
                    <a:pt x="8" y="190"/>
                    <a:pt x="8" y="190"/>
                    <a:pt x="8" y="190"/>
                  </a:cubicBezTo>
                  <a:cubicBezTo>
                    <a:pt x="8" y="191"/>
                    <a:pt x="8" y="192"/>
                    <a:pt x="8" y="193"/>
                  </a:cubicBezTo>
                  <a:cubicBezTo>
                    <a:pt x="7" y="194"/>
                    <a:pt x="7" y="194"/>
                    <a:pt x="7" y="194"/>
                  </a:cubicBezTo>
                  <a:cubicBezTo>
                    <a:pt x="8" y="194"/>
                    <a:pt x="8" y="194"/>
                    <a:pt x="8" y="194"/>
                  </a:cubicBezTo>
                  <a:cubicBezTo>
                    <a:pt x="9" y="195"/>
                    <a:pt x="9" y="195"/>
                    <a:pt x="9" y="195"/>
                  </a:cubicBezTo>
                  <a:cubicBezTo>
                    <a:pt x="9" y="195"/>
                    <a:pt x="9" y="195"/>
                    <a:pt x="10" y="196"/>
                  </a:cubicBezTo>
                  <a:cubicBezTo>
                    <a:pt x="15" y="201"/>
                    <a:pt x="12" y="205"/>
                    <a:pt x="11" y="207"/>
                  </a:cubicBezTo>
                  <a:cubicBezTo>
                    <a:pt x="11" y="207"/>
                    <a:pt x="10" y="208"/>
                    <a:pt x="10" y="208"/>
                  </a:cubicBezTo>
                  <a:cubicBezTo>
                    <a:pt x="7" y="211"/>
                    <a:pt x="5" y="215"/>
                    <a:pt x="2" y="219"/>
                  </a:cubicBezTo>
                  <a:cubicBezTo>
                    <a:pt x="2" y="220"/>
                    <a:pt x="1" y="222"/>
                    <a:pt x="0" y="223"/>
                  </a:cubicBezTo>
                  <a:cubicBezTo>
                    <a:pt x="1" y="223"/>
                    <a:pt x="1" y="223"/>
                    <a:pt x="1" y="223"/>
                  </a:cubicBezTo>
                  <a:cubicBezTo>
                    <a:pt x="3" y="224"/>
                    <a:pt x="3" y="224"/>
                    <a:pt x="3" y="224"/>
                  </a:cubicBezTo>
                  <a:cubicBezTo>
                    <a:pt x="5" y="224"/>
                    <a:pt x="7" y="225"/>
                    <a:pt x="8" y="226"/>
                  </a:cubicBezTo>
                  <a:cubicBezTo>
                    <a:pt x="11" y="227"/>
                    <a:pt x="11" y="227"/>
                    <a:pt x="11" y="227"/>
                  </a:cubicBezTo>
                  <a:cubicBezTo>
                    <a:pt x="12" y="227"/>
                    <a:pt x="12" y="227"/>
                    <a:pt x="12" y="227"/>
                  </a:cubicBezTo>
                  <a:cubicBezTo>
                    <a:pt x="16" y="230"/>
                    <a:pt x="16" y="234"/>
                    <a:pt x="16" y="236"/>
                  </a:cubicBezTo>
                  <a:cubicBezTo>
                    <a:pt x="15" y="237"/>
                    <a:pt x="15" y="238"/>
                    <a:pt x="15" y="239"/>
                  </a:cubicBezTo>
                  <a:cubicBezTo>
                    <a:pt x="16" y="242"/>
                    <a:pt x="16" y="242"/>
                    <a:pt x="17" y="243"/>
                  </a:cubicBezTo>
                  <a:cubicBezTo>
                    <a:pt x="18" y="244"/>
                    <a:pt x="19" y="244"/>
                    <a:pt x="20" y="244"/>
                  </a:cubicBezTo>
                  <a:cubicBezTo>
                    <a:pt x="21" y="244"/>
                    <a:pt x="22" y="244"/>
                    <a:pt x="23" y="244"/>
                  </a:cubicBezTo>
                  <a:cubicBezTo>
                    <a:pt x="23" y="244"/>
                    <a:pt x="24" y="244"/>
                    <a:pt x="25" y="244"/>
                  </a:cubicBezTo>
                  <a:cubicBezTo>
                    <a:pt x="26" y="243"/>
                    <a:pt x="26" y="243"/>
                    <a:pt x="26" y="243"/>
                  </a:cubicBezTo>
                  <a:cubicBezTo>
                    <a:pt x="27" y="243"/>
                    <a:pt x="29" y="243"/>
                    <a:pt x="30" y="242"/>
                  </a:cubicBezTo>
                  <a:cubicBezTo>
                    <a:pt x="32" y="242"/>
                    <a:pt x="33" y="242"/>
                    <a:pt x="34" y="242"/>
                  </a:cubicBezTo>
                  <a:cubicBezTo>
                    <a:pt x="35" y="242"/>
                    <a:pt x="36" y="242"/>
                    <a:pt x="37" y="242"/>
                  </a:cubicBezTo>
                  <a:cubicBezTo>
                    <a:pt x="38" y="243"/>
                    <a:pt x="38" y="243"/>
                    <a:pt x="39" y="244"/>
                  </a:cubicBezTo>
                  <a:cubicBezTo>
                    <a:pt x="41" y="245"/>
                    <a:pt x="42" y="247"/>
                    <a:pt x="43" y="249"/>
                  </a:cubicBezTo>
                  <a:cubicBezTo>
                    <a:pt x="44" y="250"/>
                    <a:pt x="45" y="251"/>
                    <a:pt x="46" y="253"/>
                  </a:cubicBezTo>
                  <a:cubicBezTo>
                    <a:pt x="50" y="258"/>
                    <a:pt x="50" y="258"/>
                    <a:pt x="50" y="258"/>
                  </a:cubicBezTo>
                  <a:cubicBezTo>
                    <a:pt x="51" y="260"/>
                    <a:pt x="53" y="263"/>
                    <a:pt x="54" y="265"/>
                  </a:cubicBezTo>
                  <a:cubicBezTo>
                    <a:pt x="55" y="265"/>
                    <a:pt x="55" y="266"/>
                    <a:pt x="56" y="266"/>
                  </a:cubicBezTo>
                  <a:cubicBezTo>
                    <a:pt x="56" y="267"/>
                    <a:pt x="56" y="267"/>
                    <a:pt x="56" y="267"/>
                  </a:cubicBezTo>
                  <a:cubicBezTo>
                    <a:pt x="58" y="270"/>
                    <a:pt x="61" y="272"/>
                    <a:pt x="61" y="276"/>
                  </a:cubicBezTo>
                  <a:cubicBezTo>
                    <a:pt x="62" y="276"/>
                    <a:pt x="62" y="276"/>
                    <a:pt x="62" y="276"/>
                  </a:cubicBezTo>
                  <a:cubicBezTo>
                    <a:pt x="62" y="277"/>
                    <a:pt x="62" y="277"/>
                    <a:pt x="62" y="277"/>
                  </a:cubicBezTo>
                  <a:cubicBezTo>
                    <a:pt x="62" y="277"/>
                    <a:pt x="62" y="277"/>
                    <a:pt x="62" y="277"/>
                  </a:cubicBezTo>
                  <a:cubicBezTo>
                    <a:pt x="61" y="278"/>
                    <a:pt x="61" y="278"/>
                    <a:pt x="61" y="278"/>
                  </a:cubicBezTo>
                  <a:cubicBezTo>
                    <a:pt x="60" y="279"/>
                    <a:pt x="60" y="279"/>
                    <a:pt x="60" y="279"/>
                  </a:cubicBezTo>
                  <a:cubicBezTo>
                    <a:pt x="58" y="282"/>
                    <a:pt x="58" y="282"/>
                    <a:pt x="58" y="282"/>
                  </a:cubicBezTo>
                  <a:cubicBezTo>
                    <a:pt x="58" y="281"/>
                    <a:pt x="58" y="281"/>
                    <a:pt x="58" y="281"/>
                  </a:cubicBezTo>
                  <a:cubicBezTo>
                    <a:pt x="57" y="281"/>
                    <a:pt x="57" y="281"/>
                    <a:pt x="57" y="281"/>
                  </a:cubicBezTo>
                  <a:cubicBezTo>
                    <a:pt x="57" y="281"/>
                    <a:pt x="57" y="281"/>
                    <a:pt x="57" y="281"/>
                  </a:cubicBezTo>
                  <a:cubicBezTo>
                    <a:pt x="57" y="282"/>
                    <a:pt x="56" y="282"/>
                    <a:pt x="55" y="282"/>
                  </a:cubicBezTo>
                  <a:cubicBezTo>
                    <a:pt x="56" y="282"/>
                    <a:pt x="56" y="282"/>
                    <a:pt x="56" y="282"/>
                  </a:cubicBezTo>
                  <a:cubicBezTo>
                    <a:pt x="56" y="283"/>
                    <a:pt x="56" y="283"/>
                    <a:pt x="56" y="283"/>
                  </a:cubicBezTo>
                  <a:cubicBezTo>
                    <a:pt x="58" y="284"/>
                    <a:pt x="60" y="285"/>
                    <a:pt x="62" y="286"/>
                  </a:cubicBezTo>
                  <a:cubicBezTo>
                    <a:pt x="62" y="286"/>
                    <a:pt x="63" y="286"/>
                    <a:pt x="64" y="286"/>
                  </a:cubicBezTo>
                  <a:cubicBezTo>
                    <a:pt x="64" y="286"/>
                    <a:pt x="64" y="286"/>
                    <a:pt x="64" y="286"/>
                  </a:cubicBezTo>
                  <a:cubicBezTo>
                    <a:pt x="64" y="286"/>
                    <a:pt x="64" y="286"/>
                    <a:pt x="64" y="286"/>
                  </a:cubicBezTo>
                  <a:cubicBezTo>
                    <a:pt x="64" y="286"/>
                    <a:pt x="64" y="286"/>
                    <a:pt x="64" y="286"/>
                  </a:cubicBezTo>
                  <a:cubicBezTo>
                    <a:pt x="65" y="286"/>
                    <a:pt x="66" y="285"/>
                    <a:pt x="65" y="284"/>
                  </a:cubicBezTo>
                  <a:cubicBezTo>
                    <a:pt x="65" y="284"/>
                    <a:pt x="65" y="284"/>
                    <a:pt x="65" y="284"/>
                  </a:cubicBezTo>
                  <a:cubicBezTo>
                    <a:pt x="65" y="284"/>
                    <a:pt x="66" y="284"/>
                    <a:pt x="66" y="284"/>
                  </a:cubicBezTo>
                  <a:cubicBezTo>
                    <a:pt x="66" y="284"/>
                    <a:pt x="66" y="284"/>
                    <a:pt x="67" y="284"/>
                  </a:cubicBezTo>
                  <a:cubicBezTo>
                    <a:pt x="67" y="284"/>
                    <a:pt x="67" y="284"/>
                    <a:pt x="67" y="284"/>
                  </a:cubicBezTo>
                  <a:cubicBezTo>
                    <a:pt x="66" y="284"/>
                    <a:pt x="66" y="283"/>
                    <a:pt x="65" y="283"/>
                  </a:cubicBezTo>
                  <a:cubicBezTo>
                    <a:pt x="67" y="282"/>
                    <a:pt x="68" y="282"/>
                    <a:pt x="69" y="282"/>
                  </a:cubicBezTo>
                  <a:cubicBezTo>
                    <a:pt x="70" y="282"/>
                    <a:pt x="71" y="282"/>
                    <a:pt x="72" y="282"/>
                  </a:cubicBezTo>
                  <a:cubicBezTo>
                    <a:pt x="74" y="283"/>
                    <a:pt x="75" y="283"/>
                    <a:pt x="76" y="283"/>
                  </a:cubicBezTo>
                  <a:cubicBezTo>
                    <a:pt x="78" y="283"/>
                    <a:pt x="79" y="282"/>
                    <a:pt x="81" y="282"/>
                  </a:cubicBezTo>
                  <a:cubicBezTo>
                    <a:pt x="83" y="281"/>
                    <a:pt x="84" y="280"/>
                    <a:pt x="85" y="279"/>
                  </a:cubicBezTo>
                  <a:cubicBezTo>
                    <a:pt x="87" y="278"/>
                    <a:pt x="88" y="277"/>
                    <a:pt x="90" y="276"/>
                  </a:cubicBezTo>
                  <a:cubicBezTo>
                    <a:pt x="91" y="275"/>
                    <a:pt x="92" y="274"/>
                    <a:pt x="93" y="274"/>
                  </a:cubicBezTo>
                  <a:cubicBezTo>
                    <a:pt x="94" y="273"/>
                    <a:pt x="96" y="273"/>
                    <a:pt x="98" y="272"/>
                  </a:cubicBezTo>
                  <a:cubicBezTo>
                    <a:pt x="98" y="272"/>
                    <a:pt x="102" y="270"/>
                    <a:pt x="103" y="269"/>
                  </a:cubicBezTo>
                  <a:cubicBezTo>
                    <a:pt x="104" y="269"/>
                    <a:pt x="103" y="269"/>
                    <a:pt x="104" y="268"/>
                  </a:cubicBezTo>
                  <a:cubicBezTo>
                    <a:pt x="104" y="268"/>
                    <a:pt x="106" y="268"/>
                    <a:pt x="106" y="268"/>
                  </a:cubicBezTo>
                  <a:cubicBezTo>
                    <a:pt x="107" y="268"/>
                    <a:pt x="109" y="267"/>
                    <a:pt x="110" y="267"/>
                  </a:cubicBezTo>
                  <a:cubicBezTo>
                    <a:pt x="111" y="267"/>
                    <a:pt x="111" y="266"/>
                    <a:pt x="112" y="266"/>
                  </a:cubicBezTo>
                  <a:cubicBezTo>
                    <a:pt x="112" y="266"/>
                    <a:pt x="113" y="266"/>
                    <a:pt x="113" y="266"/>
                  </a:cubicBezTo>
                  <a:cubicBezTo>
                    <a:pt x="116" y="266"/>
                    <a:pt x="120" y="268"/>
                    <a:pt x="123" y="268"/>
                  </a:cubicBezTo>
                  <a:cubicBezTo>
                    <a:pt x="128" y="269"/>
                    <a:pt x="133" y="272"/>
                    <a:pt x="138" y="275"/>
                  </a:cubicBezTo>
                  <a:cubicBezTo>
                    <a:pt x="137" y="274"/>
                    <a:pt x="137" y="274"/>
                    <a:pt x="137" y="273"/>
                  </a:cubicBezTo>
                  <a:cubicBezTo>
                    <a:pt x="137" y="273"/>
                    <a:pt x="138" y="273"/>
                    <a:pt x="138" y="273"/>
                  </a:cubicBezTo>
                  <a:cubicBezTo>
                    <a:pt x="141" y="273"/>
                    <a:pt x="141" y="270"/>
                    <a:pt x="143" y="270"/>
                  </a:cubicBezTo>
                  <a:cubicBezTo>
                    <a:pt x="144" y="270"/>
                    <a:pt x="144" y="269"/>
                    <a:pt x="144" y="269"/>
                  </a:cubicBezTo>
                  <a:cubicBezTo>
                    <a:pt x="145" y="269"/>
                    <a:pt x="148" y="271"/>
                    <a:pt x="149" y="271"/>
                  </a:cubicBezTo>
                  <a:cubicBezTo>
                    <a:pt x="154" y="271"/>
                    <a:pt x="155" y="272"/>
                    <a:pt x="157" y="276"/>
                  </a:cubicBezTo>
                  <a:cubicBezTo>
                    <a:pt x="161" y="282"/>
                    <a:pt x="164" y="289"/>
                    <a:pt x="163" y="296"/>
                  </a:cubicBezTo>
                  <a:cubicBezTo>
                    <a:pt x="163" y="301"/>
                    <a:pt x="158" y="305"/>
                    <a:pt x="158" y="311"/>
                  </a:cubicBezTo>
                  <a:cubicBezTo>
                    <a:pt x="157" y="313"/>
                    <a:pt x="158" y="314"/>
                    <a:pt x="159" y="316"/>
                  </a:cubicBezTo>
                  <a:cubicBezTo>
                    <a:pt x="160" y="319"/>
                    <a:pt x="161" y="318"/>
                    <a:pt x="163" y="319"/>
                  </a:cubicBezTo>
                  <a:cubicBezTo>
                    <a:pt x="166" y="320"/>
                    <a:pt x="168" y="321"/>
                    <a:pt x="171" y="321"/>
                  </a:cubicBezTo>
                  <a:cubicBezTo>
                    <a:pt x="171" y="321"/>
                    <a:pt x="172" y="321"/>
                    <a:pt x="173" y="321"/>
                  </a:cubicBezTo>
                  <a:cubicBezTo>
                    <a:pt x="175" y="320"/>
                    <a:pt x="178" y="320"/>
                    <a:pt x="179" y="318"/>
                  </a:cubicBezTo>
                  <a:cubicBezTo>
                    <a:pt x="180" y="317"/>
                    <a:pt x="180" y="315"/>
                    <a:pt x="182" y="315"/>
                  </a:cubicBezTo>
                  <a:cubicBezTo>
                    <a:pt x="182" y="315"/>
                    <a:pt x="182" y="315"/>
                    <a:pt x="183" y="315"/>
                  </a:cubicBezTo>
                  <a:cubicBezTo>
                    <a:pt x="188" y="315"/>
                    <a:pt x="186" y="322"/>
                    <a:pt x="188" y="325"/>
                  </a:cubicBezTo>
                  <a:cubicBezTo>
                    <a:pt x="188" y="326"/>
                    <a:pt x="190" y="327"/>
                    <a:pt x="190" y="329"/>
                  </a:cubicBezTo>
                  <a:cubicBezTo>
                    <a:pt x="190" y="330"/>
                    <a:pt x="187" y="331"/>
                    <a:pt x="185" y="331"/>
                  </a:cubicBezTo>
                  <a:cubicBezTo>
                    <a:pt x="185" y="331"/>
                    <a:pt x="184" y="331"/>
                    <a:pt x="184" y="331"/>
                  </a:cubicBezTo>
                  <a:cubicBezTo>
                    <a:pt x="184" y="331"/>
                    <a:pt x="184" y="331"/>
                    <a:pt x="184" y="331"/>
                  </a:cubicBezTo>
                  <a:cubicBezTo>
                    <a:pt x="182" y="331"/>
                    <a:pt x="181" y="332"/>
                    <a:pt x="180" y="332"/>
                  </a:cubicBezTo>
                  <a:cubicBezTo>
                    <a:pt x="179" y="332"/>
                    <a:pt x="179" y="332"/>
                    <a:pt x="178" y="332"/>
                  </a:cubicBezTo>
                  <a:cubicBezTo>
                    <a:pt x="178" y="332"/>
                    <a:pt x="178" y="332"/>
                    <a:pt x="177" y="332"/>
                  </a:cubicBezTo>
                  <a:cubicBezTo>
                    <a:pt x="177" y="332"/>
                    <a:pt x="177" y="332"/>
                    <a:pt x="176" y="332"/>
                  </a:cubicBezTo>
                  <a:cubicBezTo>
                    <a:pt x="176" y="332"/>
                    <a:pt x="176" y="332"/>
                    <a:pt x="175" y="332"/>
                  </a:cubicBezTo>
                  <a:cubicBezTo>
                    <a:pt x="171" y="333"/>
                    <a:pt x="169" y="337"/>
                    <a:pt x="168" y="340"/>
                  </a:cubicBezTo>
                  <a:cubicBezTo>
                    <a:pt x="167" y="341"/>
                    <a:pt x="164" y="349"/>
                    <a:pt x="162" y="349"/>
                  </a:cubicBezTo>
                  <a:cubicBezTo>
                    <a:pt x="160" y="349"/>
                    <a:pt x="162" y="345"/>
                    <a:pt x="162" y="344"/>
                  </a:cubicBezTo>
                  <a:cubicBezTo>
                    <a:pt x="164" y="340"/>
                    <a:pt x="166" y="336"/>
                    <a:pt x="170" y="333"/>
                  </a:cubicBezTo>
                  <a:cubicBezTo>
                    <a:pt x="173" y="330"/>
                    <a:pt x="175" y="331"/>
                    <a:pt x="179" y="330"/>
                  </a:cubicBezTo>
                  <a:cubicBezTo>
                    <a:pt x="183" y="329"/>
                    <a:pt x="182" y="323"/>
                    <a:pt x="179" y="323"/>
                  </a:cubicBezTo>
                  <a:cubicBezTo>
                    <a:pt x="178" y="323"/>
                    <a:pt x="178" y="323"/>
                    <a:pt x="177" y="324"/>
                  </a:cubicBezTo>
                  <a:cubicBezTo>
                    <a:pt x="175" y="324"/>
                    <a:pt x="174" y="325"/>
                    <a:pt x="173" y="325"/>
                  </a:cubicBezTo>
                  <a:cubicBezTo>
                    <a:pt x="172" y="325"/>
                    <a:pt x="170" y="325"/>
                    <a:pt x="169" y="324"/>
                  </a:cubicBezTo>
                  <a:cubicBezTo>
                    <a:pt x="166" y="323"/>
                    <a:pt x="162" y="324"/>
                    <a:pt x="159" y="323"/>
                  </a:cubicBezTo>
                  <a:cubicBezTo>
                    <a:pt x="154" y="323"/>
                    <a:pt x="150" y="322"/>
                    <a:pt x="145" y="321"/>
                  </a:cubicBezTo>
                  <a:cubicBezTo>
                    <a:pt x="140" y="321"/>
                    <a:pt x="133" y="321"/>
                    <a:pt x="128" y="319"/>
                  </a:cubicBezTo>
                  <a:cubicBezTo>
                    <a:pt x="127" y="319"/>
                    <a:pt x="127" y="317"/>
                    <a:pt x="126" y="317"/>
                  </a:cubicBezTo>
                  <a:cubicBezTo>
                    <a:pt x="126" y="317"/>
                    <a:pt x="125" y="318"/>
                    <a:pt x="125" y="318"/>
                  </a:cubicBezTo>
                  <a:cubicBezTo>
                    <a:pt x="125" y="319"/>
                    <a:pt x="122" y="321"/>
                    <a:pt x="122" y="321"/>
                  </a:cubicBezTo>
                  <a:cubicBezTo>
                    <a:pt x="122" y="321"/>
                    <a:pt x="121" y="321"/>
                    <a:pt x="121" y="321"/>
                  </a:cubicBezTo>
                  <a:cubicBezTo>
                    <a:pt x="120" y="321"/>
                    <a:pt x="118" y="319"/>
                    <a:pt x="118" y="319"/>
                  </a:cubicBezTo>
                  <a:cubicBezTo>
                    <a:pt x="118" y="319"/>
                    <a:pt x="116" y="322"/>
                    <a:pt x="115" y="323"/>
                  </a:cubicBezTo>
                  <a:cubicBezTo>
                    <a:pt x="114" y="325"/>
                    <a:pt x="114" y="328"/>
                    <a:pt x="112" y="329"/>
                  </a:cubicBezTo>
                  <a:cubicBezTo>
                    <a:pt x="109" y="331"/>
                    <a:pt x="109" y="331"/>
                    <a:pt x="109" y="331"/>
                  </a:cubicBezTo>
                  <a:cubicBezTo>
                    <a:pt x="108" y="332"/>
                    <a:pt x="105" y="331"/>
                    <a:pt x="107" y="333"/>
                  </a:cubicBezTo>
                  <a:cubicBezTo>
                    <a:pt x="109" y="336"/>
                    <a:pt x="111" y="337"/>
                    <a:pt x="113" y="340"/>
                  </a:cubicBezTo>
                  <a:cubicBezTo>
                    <a:pt x="114" y="340"/>
                    <a:pt x="114" y="343"/>
                    <a:pt x="115" y="343"/>
                  </a:cubicBezTo>
                  <a:cubicBezTo>
                    <a:pt x="115" y="343"/>
                    <a:pt x="115" y="343"/>
                    <a:pt x="115" y="343"/>
                  </a:cubicBezTo>
                  <a:cubicBezTo>
                    <a:pt x="116" y="343"/>
                    <a:pt x="116" y="343"/>
                    <a:pt x="116" y="343"/>
                  </a:cubicBezTo>
                  <a:cubicBezTo>
                    <a:pt x="116" y="343"/>
                    <a:pt x="117" y="343"/>
                    <a:pt x="117" y="343"/>
                  </a:cubicBezTo>
                  <a:cubicBezTo>
                    <a:pt x="117" y="343"/>
                    <a:pt x="117" y="343"/>
                    <a:pt x="117" y="343"/>
                  </a:cubicBezTo>
                  <a:cubicBezTo>
                    <a:pt x="118" y="343"/>
                    <a:pt x="120" y="344"/>
                    <a:pt x="121" y="345"/>
                  </a:cubicBezTo>
                  <a:cubicBezTo>
                    <a:pt x="121" y="345"/>
                    <a:pt x="121" y="345"/>
                    <a:pt x="121" y="345"/>
                  </a:cubicBezTo>
                  <a:cubicBezTo>
                    <a:pt x="121" y="345"/>
                    <a:pt x="121" y="345"/>
                    <a:pt x="121" y="345"/>
                  </a:cubicBezTo>
                  <a:cubicBezTo>
                    <a:pt x="121" y="345"/>
                    <a:pt x="120" y="345"/>
                    <a:pt x="119" y="345"/>
                  </a:cubicBezTo>
                  <a:cubicBezTo>
                    <a:pt x="119" y="345"/>
                    <a:pt x="118" y="346"/>
                    <a:pt x="118" y="346"/>
                  </a:cubicBezTo>
                  <a:cubicBezTo>
                    <a:pt x="117" y="346"/>
                    <a:pt x="116" y="345"/>
                    <a:pt x="116" y="345"/>
                  </a:cubicBezTo>
                  <a:cubicBezTo>
                    <a:pt x="116" y="345"/>
                    <a:pt x="116" y="344"/>
                    <a:pt x="115" y="344"/>
                  </a:cubicBezTo>
                  <a:cubicBezTo>
                    <a:pt x="115" y="344"/>
                    <a:pt x="114" y="346"/>
                    <a:pt x="113" y="346"/>
                  </a:cubicBezTo>
                  <a:cubicBezTo>
                    <a:pt x="112" y="346"/>
                    <a:pt x="112" y="346"/>
                    <a:pt x="111" y="346"/>
                  </a:cubicBezTo>
                  <a:cubicBezTo>
                    <a:pt x="109" y="346"/>
                    <a:pt x="108" y="345"/>
                    <a:pt x="106" y="344"/>
                  </a:cubicBezTo>
                  <a:cubicBezTo>
                    <a:pt x="104" y="343"/>
                    <a:pt x="103" y="342"/>
                    <a:pt x="102" y="342"/>
                  </a:cubicBezTo>
                  <a:cubicBezTo>
                    <a:pt x="102" y="342"/>
                    <a:pt x="101" y="343"/>
                    <a:pt x="99" y="343"/>
                  </a:cubicBezTo>
                  <a:cubicBezTo>
                    <a:pt x="98" y="343"/>
                    <a:pt x="94" y="341"/>
                    <a:pt x="92" y="341"/>
                  </a:cubicBezTo>
                  <a:cubicBezTo>
                    <a:pt x="92" y="341"/>
                    <a:pt x="91" y="341"/>
                    <a:pt x="91" y="342"/>
                  </a:cubicBezTo>
                  <a:cubicBezTo>
                    <a:pt x="90" y="342"/>
                    <a:pt x="90" y="343"/>
                    <a:pt x="89" y="344"/>
                  </a:cubicBezTo>
                  <a:cubicBezTo>
                    <a:pt x="88" y="344"/>
                    <a:pt x="88" y="344"/>
                    <a:pt x="88" y="344"/>
                  </a:cubicBezTo>
                  <a:cubicBezTo>
                    <a:pt x="88" y="349"/>
                    <a:pt x="88" y="351"/>
                    <a:pt x="94" y="352"/>
                  </a:cubicBezTo>
                  <a:cubicBezTo>
                    <a:pt x="95" y="353"/>
                    <a:pt x="97" y="353"/>
                    <a:pt x="98" y="353"/>
                  </a:cubicBezTo>
                  <a:cubicBezTo>
                    <a:pt x="106" y="355"/>
                    <a:pt x="107" y="364"/>
                    <a:pt x="110" y="371"/>
                  </a:cubicBezTo>
                  <a:cubicBezTo>
                    <a:pt x="112" y="375"/>
                    <a:pt x="113" y="378"/>
                    <a:pt x="115" y="382"/>
                  </a:cubicBezTo>
                  <a:cubicBezTo>
                    <a:pt x="115" y="383"/>
                    <a:pt x="114" y="383"/>
                    <a:pt x="114" y="384"/>
                  </a:cubicBezTo>
                  <a:cubicBezTo>
                    <a:pt x="114" y="385"/>
                    <a:pt x="113" y="386"/>
                    <a:pt x="114" y="386"/>
                  </a:cubicBezTo>
                  <a:cubicBezTo>
                    <a:pt x="114" y="387"/>
                    <a:pt x="115" y="387"/>
                    <a:pt x="115" y="387"/>
                  </a:cubicBezTo>
                  <a:cubicBezTo>
                    <a:pt x="116" y="387"/>
                    <a:pt x="118" y="386"/>
                    <a:pt x="118" y="386"/>
                  </a:cubicBezTo>
                  <a:cubicBezTo>
                    <a:pt x="119" y="386"/>
                    <a:pt x="120" y="386"/>
                    <a:pt x="121" y="386"/>
                  </a:cubicBezTo>
                  <a:cubicBezTo>
                    <a:pt x="122" y="386"/>
                    <a:pt x="122" y="386"/>
                    <a:pt x="122" y="386"/>
                  </a:cubicBezTo>
                  <a:cubicBezTo>
                    <a:pt x="126" y="387"/>
                    <a:pt x="126" y="393"/>
                    <a:pt x="130" y="395"/>
                  </a:cubicBezTo>
                  <a:cubicBezTo>
                    <a:pt x="130" y="395"/>
                    <a:pt x="131" y="396"/>
                    <a:pt x="131" y="396"/>
                  </a:cubicBezTo>
                  <a:cubicBezTo>
                    <a:pt x="132" y="396"/>
                    <a:pt x="132" y="395"/>
                    <a:pt x="133" y="395"/>
                  </a:cubicBezTo>
                  <a:cubicBezTo>
                    <a:pt x="133" y="395"/>
                    <a:pt x="134" y="395"/>
                    <a:pt x="135" y="395"/>
                  </a:cubicBezTo>
                  <a:cubicBezTo>
                    <a:pt x="135" y="395"/>
                    <a:pt x="135" y="395"/>
                    <a:pt x="135" y="395"/>
                  </a:cubicBezTo>
                  <a:cubicBezTo>
                    <a:pt x="136" y="395"/>
                    <a:pt x="136" y="395"/>
                    <a:pt x="137" y="395"/>
                  </a:cubicBezTo>
                  <a:cubicBezTo>
                    <a:pt x="138" y="396"/>
                    <a:pt x="138" y="397"/>
                    <a:pt x="139" y="397"/>
                  </a:cubicBezTo>
                  <a:cubicBezTo>
                    <a:pt x="139" y="397"/>
                    <a:pt x="139" y="397"/>
                    <a:pt x="139" y="397"/>
                  </a:cubicBezTo>
                  <a:cubicBezTo>
                    <a:pt x="139" y="397"/>
                    <a:pt x="139" y="397"/>
                    <a:pt x="139" y="397"/>
                  </a:cubicBezTo>
                  <a:cubicBezTo>
                    <a:pt x="139" y="397"/>
                    <a:pt x="139" y="397"/>
                    <a:pt x="140" y="397"/>
                  </a:cubicBezTo>
                  <a:cubicBezTo>
                    <a:pt x="140" y="397"/>
                    <a:pt x="140" y="397"/>
                    <a:pt x="140" y="397"/>
                  </a:cubicBezTo>
                  <a:cubicBezTo>
                    <a:pt x="140" y="397"/>
                    <a:pt x="140" y="397"/>
                    <a:pt x="140" y="397"/>
                  </a:cubicBezTo>
                  <a:cubicBezTo>
                    <a:pt x="141" y="397"/>
                    <a:pt x="141" y="397"/>
                    <a:pt x="142" y="397"/>
                  </a:cubicBezTo>
                  <a:cubicBezTo>
                    <a:pt x="142" y="397"/>
                    <a:pt x="143" y="396"/>
                    <a:pt x="143" y="396"/>
                  </a:cubicBezTo>
                  <a:cubicBezTo>
                    <a:pt x="144" y="396"/>
                    <a:pt x="144" y="397"/>
                    <a:pt x="145" y="397"/>
                  </a:cubicBezTo>
                  <a:cubicBezTo>
                    <a:pt x="147" y="397"/>
                    <a:pt x="148" y="399"/>
                    <a:pt x="150" y="400"/>
                  </a:cubicBezTo>
                  <a:cubicBezTo>
                    <a:pt x="149" y="400"/>
                    <a:pt x="148" y="400"/>
                    <a:pt x="148" y="400"/>
                  </a:cubicBezTo>
                  <a:cubicBezTo>
                    <a:pt x="147" y="400"/>
                    <a:pt x="147" y="400"/>
                    <a:pt x="147" y="400"/>
                  </a:cubicBezTo>
                  <a:cubicBezTo>
                    <a:pt x="150" y="404"/>
                    <a:pt x="148" y="406"/>
                    <a:pt x="146" y="411"/>
                  </a:cubicBezTo>
                  <a:cubicBezTo>
                    <a:pt x="145" y="413"/>
                    <a:pt x="143" y="415"/>
                    <a:pt x="142" y="417"/>
                  </a:cubicBezTo>
                  <a:cubicBezTo>
                    <a:pt x="142" y="419"/>
                    <a:pt x="142" y="422"/>
                    <a:pt x="143" y="425"/>
                  </a:cubicBezTo>
                  <a:cubicBezTo>
                    <a:pt x="143" y="424"/>
                    <a:pt x="144" y="424"/>
                    <a:pt x="145" y="423"/>
                  </a:cubicBezTo>
                  <a:cubicBezTo>
                    <a:pt x="146" y="422"/>
                    <a:pt x="147" y="420"/>
                    <a:pt x="149" y="419"/>
                  </a:cubicBezTo>
                  <a:cubicBezTo>
                    <a:pt x="150" y="418"/>
                    <a:pt x="152" y="416"/>
                    <a:pt x="154" y="415"/>
                  </a:cubicBezTo>
                  <a:cubicBezTo>
                    <a:pt x="159" y="412"/>
                    <a:pt x="165" y="410"/>
                    <a:pt x="170" y="409"/>
                  </a:cubicBezTo>
                  <a:cubicBezTo>
                    <a:pt x="173" y="409"/>
                    <a:pt x="175" y="409"/>
                    <a:pt x="178" y="408"/>
                  </a:cubicBezTo>
                  <a:cubicBezTo>
                    <a:pt x="179" y="408"/>
                    <a:pt x="179" y="408"/>
                    <a:pt x="179" y="408"/>
                  </a:cubicBezTo>
                  <a:cubicBezTo>
                    <a:pt x="181" y="408"/>
                    <a:pt x="182" y="408"/>
                    <a:pt x="183" y="408"/>
                  </a:cubicBezTo>
                  <a:cubicBezTo>
                    <a:pt x="184" y="408"/>
                    <a:pt x="184" y="408"/>
                    <a:pt x="185" y="408"/>
                  </a:cubicBezTo>
                  <a:cubicBezTo>
                    <a:pt x="187" y="408"/>
                    <a:pt x="189" y="409"/>
                    <a:pt x="190" y="410"/>
                  </a:cubicBezTo>
                  <a:cubicBezTo>
                    <a:pt x="193" y="412"/>
                    <a:pt x="196" y="415"/>
                    <a:pt x="199" y="418"/>
                  </a:cubicBezTo>
                  <a:cubicBezTo>
                    <a:pt x="199" y="418"/>
                    <a:pt x="199" y="418"/>
                    <a:pt x="199" y="418"/>
                  </a:cubicBezTo>
                  <a:cubicBezTo>
                    <a:pt x="201" y="419"/>
                    <a:pt x="202" y="421"/>
                    <a:pt x="203" y="422"/>
                  </a:cubicBezTo>
                  <a:cubicBezTo>
                    <a:pt x="205" y="423"/>
                    <a:pt x="205" y="423"/>
                    <a:pt x="205" y="423"/>
                  </a:cubicBezTo>
                  <a:cubicBezTo>
                    <a:pt x="207" y="425"/>
                    <a:pt x="209" y="426"/>
                    <a:pt x="210" y="428"/>
                  </a:cubicBezTo>
                  <a:cubicBezTo>
                    <a:pt x="211" y="429"/>
                    <a:pt x="212" y="431"/>
                    <a:pt x="213" y="432"/>
                  </a:cubicBezTo>
                  <a:cubicBezTo>
                    <a:pt x="213" y="433"/>
                    <a:pt x="213" y="433"/>
                    <a:pt x="213" y="433"/>
                  </a:cubicBezTo>
                  <a:cubicBezTo>
                    <a:pt x="215" y="434"/>
                    <a:pt x="216" y="436"/>
                    <a:pt x="218" y="437"/>
                  </a:cubicBezTo>
                  <a:cubicBezTo>
                    <a:pt x="218" y="438"/>
                    <a:pt x="219" y="438"/>
                    <a:pt x="219" y="439"/>
                  </a:cubicBezTo>
                  <a:cubicBezTo>
                    <a:pt x="220" y="439"/>
                    <a:pt x="221" y="438"/>
                    <a:pt x="223" y="438"/>
                  </a:cubicBezTo>
                  <a:cubicBezTo>
                    <a:pt x="224" y="438"/>
                    <a:pt x="226" y="438"/>
                    <a:pt x="227" y="438"/>
                  </a:cubicBezTo>
                  <a:cubicBezTo>
                    <a:pt x="227" y="382"/>
                    <a:pt x="227" y="382"/>
                    <a:pt x="227" y="382"/>
                  </a:cubicBezTo>
                  <a:cubicBezTo>
                    <a:pt x="227" y="366"/>
                    <a:pt x="227" y="349"/>
                    <a:pt x="227" y="333"/>
                  </a:cubicBezTo>
                  <a:cubicBezTo>
                    <a:pt x="227" y="332"/>
                    <a:pt x="227" y="332"/>
                    <a:pt x="227" y="332"/>
                  </a:cubicBezTo>
                  <a:cubicBezTo>
                    <a:pt x="227" y="329"/>
                    <a:pt x="229" y="328"/>
                    <a:pt x="232" y="327"/>
                  </a:cubicBezTo>
                  <a:cubicBezTo>
                    <a:pt x="233" y="326"/>
                    <a:pt x="236" y="326"/>
                    <a:pt x="238" y="325"/>
                  </a:cubicBezTo>
                  <a:cubicBezTo>
                    <a:pt x="239" y="325"/>
                    <a:pt x="240" y="325"/>
                    <a:pt x="240" y="325"/>
                  </a:cubicBezTo>
                  <a:cubicBezTo>
                    <a:pt x="251" y="322"/>
                    <a:pt x="262" y="319"/>
                    <a:pt x="272" y="316"/>
                  </a:cubicBezTo>
                  <a:cubicBezTo>
                    <a:pt x="283" y="313"/>
                    <a:pt x="283" y="313"/>
                    <a:pt x="283" y="313"/>
                  </a:cubicBezTo>
                  <a:cubicBezTo>
                    <a:pt x="285" y="312"/>
                    <a:pt x="287" y="312"/>
                    <a:pt x="289" y="311"/>
                  </a:cubicBezTo>
                  <a:cubicBezTo>
                    <a:pt x="292" y="311"/>
                    <a:pt x="292" y="311"/>
                    <a:pt x="292" y="311"/>
                  </a:cubicBezTo>
                  <a:cubicBezTo>
                    <a:pt x="292" y="311"/>
                    <a:pt x="292" y="311"/>
                    <a:pt x="293" y="311"/>
                  </a:cubicBezTo>
                  <a:cubicBezTo>
                    <a:pt x="294" y="311"/>
                    <a:pt x="295" y="311"/>
                    <a:pt x="296" y="311"/>
                  </a:cubicBezTo>
                  <a:cubicBezTo>
                    <a:pt x="296" y="310"/>
                    <a:pt x="296" y="308"/>
                    <a:pt x="297" y="307"/>
                  </a:cubicBezTo>
                  <a:cubicBezTo>
                    <a:pt x="298" y="306"/>
                    <a:pt x="299" y="304"/>
                    <a:pt x="301" y="304"/>
                  </a:cubicBezTo>
                  <a:cubicBezTo>
                    <a:pt x="301" y="304"/>
                    <a:pt x="301" y="304"/>
                    <a:pt x="301" y="304"/>
                  </a:cubicBezTo>
                  <a:cubicBezTo>
                    <a:pt x="302" y="304"/>
                    <a:pt x="303" y="304"/>
                    <a:pt x="303" y="304"/>
                  </a:cubicBezTo>
                  <a:cubicBezTo>
                    <a:pt x="303" y="304"/>
                    <a:pt x="303" y="304"/>
                    <a:pt x="303" y="304"/>
                  </a:cubicBezTo>
                  <a:cubicBezTo>
                    <a:pt x="303" y="304"/>
                    <a:pt x="303" y="304"/>
                    <a:pt x="303" y="304"/>
                  </a:cubicBezTo>
                  <a:cubicBezTo>
                    <a:pt x="304" y="304"/>
                    <a:pt x="304" y="304"/>
                    <a:pt x="304" y="304"/>
                  </a:cubicBezTo>
                  <a:cubicBezTo>
                    <a:pt x="304" y="304"/>
                    <a:pt x="304" y="303"/>
                    <a:pt x="304" y="303"/>
                  </a:cubicBezTo>
                  <a:cubicBezTo>
                    <a:pt x="304" y="303"/>
                    <a:pt x="304" y="303"/>
                    <a:pt x="304" y="303"/>
                  </a:cubicBezTo>
                  <a:cubicBezTo>
                    <a:pt x="305" y="303"/>
                    <a:pt x="305" y="303"/>
                    <a:pt x="306" y="303"/>
                  </a:cubicBezTo>
                  <a:cubicBezTo>
                    <a:pt x="306" y="303"/>
                    <a:pt x="306" y="303"/>
                    <a:pt x="306" y="303"/>
                  </a:cubicBezTo>
                  <a:cubicBezTo>
                    <a:pt x="306" y="303"/>
                    <a:pt x="306" y="303"/>
                    <a:pt x="306" y="303"/>
                  </a:cubicBezTo>
                  <a:cubicBezTo>
                    <a:pt x="307" y="303"/>
                    <a:pt x="307" y="303"/>
                    <a:pt x="307" y="303"/>
                  </a:cubicBezTo>
                  <a:cubicBezTo>
                    <a:pt x="308" y="303"/>
                    <a:pt x="308" y="303"/>
                    <a:pt x="308" y="303"/>
                  </a:cubicBezTo>
                  <a:cubicBezTo>
                    <a:pt x="308" y="303"/>
                    <a:pt x="309" y="303"/>
                    <a:pt x="309" y="303"/>
                  </a:cubicBezTo>
                  <a:cubicBezTo>
                    <a:pt x="309" y="303"/>
                    <a:pt x="310" y="301"/>
                    <a:pt x="311" y="301"/>
                  </a:cubicBezTo>
                  <a:cubicBezTo>
                    <a:pt x="311" y="301"/>
                    <a:pt x="311" y="301"/>
                    <a:pt x="311" y="301"/>
                  </a:cubicBezTo>
                  <a:cubicBezTo>
                    <a:pt x="314" y="301"/>
                    <a:pt x="311" y="304"/>
                    <a:pt x="310" y="306"/>
                  </a:cubicBezTo>
                  <a:cubicBezTo>
                    <a:pt x="310" y="307"/>
                    <a:pt x="309" y="310"/>
                    <a:pt x="311" y="311"/>
                  </a:cubicBezTo>
                  <a:cubicBezTo>
                    <a:pt x="311" y="311"/>
                    <a:pt x="311" y="311"/>
                    <a:pt x="311" y="311"/>
                  </a:cubicBezTo>
                  <a:cubicBezTo>
                    <a:pt x="312" y="311"/>
                    <a:pt x="312" y="310"/>
                    <a:pt x="313" y="310"/>
                  </a:cubicBezTo>
                  <a:cubicBezTo>
                    <a:pt x="313" y="310"/>
                    <a:pt x="314" y="310"/>
                    <a:pt x="314" y="310"/>
                  </a:cubicBezTo>
                  <a:cubicBezTo>
                    <a:pt x="315" y="310"/>
                    <a:pt x="315" y="310"/>
                    <a:pt x="315" y="311"/>
                  </a:cubicBezTo>
                  <a:cubicBezTo>
                    <a:pt x="315" y="311"/>
                    <a:pt x="316" y="309"/>
                    <a:pt x="317" y="309"/>
                  </a:cubicBezTo>
                  <a:cubicBezTo>
                    <a:pt x="317" y="309"/>
                    <a:pt x="317" y="309"/>
                    <a:pt x="317" y="309"/>
                  </a:cubicBezTo>
                  <a:cubicBezTo>
                    <a:pt x="318" y="309"/>
                    <a:pt x="320" y="309"/>
                    <a:pt x="320" y="310"/>
                  </a:cubicBezTo>
                  <a:cubicBezTo>
                    <a:pt x="321" y="309"/>
                    <a:pt x="320" y="307"/>
                    <a:pt x="320" y="307"/>
                  </a:cubicBezTo>
                  <a:cubicBezTo>
                    <a:pt x="320" y="305"/>
                    <a:pt x="321" y="304"/>
                    <a:pt x="321" y="303"/>
                  </a:cubicBezTo>
                  <a:cubicBezTo>
                    <a:pt x="322" y="300"/>
                    <a:pt x="322" y="299"/>
                    <a:pt x="320" y="296"/>
                  </a:cubicBezTo>
                  <a:cubicBezTo>
                    <a:pt x="319" y="295"/>
                    <a:pt x="318" y="294"/>
                    <a:pt x="318" y="293"/>
                  </a:cubicBezTo>
                  <a:cubicBezTo>
                    <a:pt x="318" y="292"/>
                    <a:pt x="317" y="292"/>
                    <a:pt x="317" y="292"/>
                  </a:cubicBezTo>
                  <a:cubicBezTo>
                    <a:pt x="318" y="292"/>
                    <a:pt x="318" y="292"/>
                    <a:pt x="318" y="292"/>
                  </a:cubicBezTo>
                  <a:cubicBezTo>
                    <a:pt x="318" y="292"/>
                    <a:pt x="318" y="292"/>
                    <a:pt x="318" y="292"/>
                  </a:cubicBezTo>
                  <a:cubicBezTo>
                    <a:pt x="319" y="292"/>
                    <a:pt x="319" y="292"/>
                    <a:pt x="319" y="292"/>
                  </a:cubicBezTo>
                  <a:cubicBezTo>
                    <a:pt x="320" y="292"/>
                    <a:pt x="320" y="292"/>
                    <a:pt x="321" y="292"/>
                  </a:cubicBezTo>
                  <a:cubicBezTo>
                    <a:pt x="322" y="292"/>
                    <a:pt x="323" y="293"/>
                    <a:pt x="324" y="295"/>
                  </a:cubicBezTo>
                  <a:cubicBezTo>
                    <a:pt x="324" y="296"/>
                    <a:pt x="324" y="297"/>
                    <a:pt x="324" y="298"/>
                  </a:cubicBezTo>
                  <a:cubicBezTo>
                    <a:pt x="324" y="299"/>
                    <a:pt x="321" y="300"/>
                    <a:pt x="323" y="301"/>
                  </a:cubicBezTo>
                  <a:cubicBezTo>
                    <a:pt x="323" y="301"/>
                    <a:pt x="323" y="301"/>
                    <a:pt x="324" y="301"/>
                  </a:cubicBezTo>
                  <a:cubicBezTo>
                    <a:pt x="324" y="301"/>
                    <a:pt x="327" y="300"/>
                    <a:pt x="327" y="299"/>
                  </a:cubicBezTo>
                  <a:cubicBezTo>
                    <a:pt x="328" y="299"/>
                    <a:pt x="328" y="299"/>
                    <a:pt x="329" y="299"/>
                  </a:cubicBezTo>
                  <a:cubicBezTo>
                    <a:pt x="329" y="299"/>
                    <a:pt x="329" y="299"/>
                    <a:pt x="330" y="299"/>
                  </a:cubicBezTo>
                  <a:cubicBezTo>
                    <a:pt x="330" y="299"/>
                    <a:pt x="330" y="299"/>
                    <a:pt x="331" y="299"/>
                  </a:cubicBezTo>
                  <a:cubicBezTo>
                    <a:pt x="331" y="299"/>
                    <a:pt x="331" y="299"/>
                    <a:pt x="331" y="299"/>
                  </a:cubicBezTo>
                  <a:cubicBezTo>
                    <a:pt x="333" y="299"/>
                    <a:pt x="335" y="299"/>
                    <a:pt x="336" y="299"/>
                  </a:cubicBezTo>
                  <a:cubicBezTo>
                    <a:pt x="337" y="299"/>
                    <a:pt x="337" y="299"/>
                    <a:pt x="338" y="299"/>
                  </a:cubicBezTo>
                  <a:cubicBezTo>
                    <a:pt x="340" y="299"/>
                    <a:pt x="344" y="299"/>
                    <a:pt x="346" y="300"/>
                  </a:cubicBezTo>
                  <a:cubicBezTo>
                    <a:pt x="346" y="302"/>
                    <a:pt x="343" y="301"/>
                    <a:pt x="342" y="303"/>
                  </a:cubicBezTo>
                  <a:cubicBezTo>
                    <a:pt x="341" y="305"/>
                    <a:pt x="341" y="306"/>
                    <a:pt x="339" y="306"/>
                  </a:cubicBezTo>
                  <a:cubicBezTo>
                    <a:pt x="339" y="306"/>
                    <a:pt x="338" y="306"/>
                    <a:pt x="338" y="306"/>
                  </a:cubicBezTo>
                  <a:cubicBezTo>
                    <a:pt x="335" y="305"/>
                    <a:pt x="333" y="305"/>
                    <a:pt x="331" y="305"/>
                  </a:cubicBezTo>
                  <a:cubicBezTo>
                    <a:pt x="330" y="305"/>
                    <a:pt x="329" y="304"/>
                    <a:pt x="327" y="304"/>
                  </a:cubicBezTo>
                  <a:cubicBezTo>
                    <a:pt x="327" y="304"/>
                    <a:pt x="326" y="304"/>
                    <a:pt x="326" y="304"/>
                  </a:cubicBezTo>
                  <a:cubicBezTo>
                    <a:pt x="326" y="303"/>
                    <a:pt x="326" y="303"/>
                    <a:pt x="326" y="303"/>
                  </a:cubicBezTo>
                  <a:cubicBezTo>
                    <a:pt x="326" y="303"/>
                    <a:pt x="325" y="303"/>
                    <a:pt x="324" y="303"/>
                  </a:cubicBezTo>
                  <a:cubicBezTo>
                    <a:pt x="324" y="303"/>
                    <a:pt x="324" y="303"/>
                    <a:pt x="323" y="303"/>
                  </a:cubicBezTo>
                  <a:cubicBezTo>
                    <a:pt x="325" y="303"/>
                    <a:pt x="325" y="305"/>
                    <a:pt x="323" y="305"/>
                  </a:cubicBezTo>
                  <a:cubicBezTo>
                    <a:pt x="324" y="305"/>
                    <a:pt x="325" y="306"/>
                    <a:pt x="325" y="306"/>
                  </a:cubicBezTo>
                  <a:cubicBezTo>
                    <a:pt x="325" y="306"/>
                    <a:pt x="323" y="306"/>
                    <a:pt x="323" y="307"/>
                  </a:cubicBezTo>
                  <a:cubicBezTo>
                    <a:pt x="323" y="307"/>
                    <a:pt x="326" y="308"/>
                    <a:pt x="323" y="308"/>
                  </a:cubicBezTo>
                  <a:cubicBezTo>
                    <a:pt x="325" y="310"/>
                    <a:pt x="320" y="313"/>
                    <a:pt x="323" y="315"/>
                  </a:cubicBezTo>
                  <a:cubicBezTo>
                    <a:pt x="323" y="315"/>
                    <a:pt x="324" y="315"/>
                    <a:pt x="324" y="315"/>
                  </a:cubicBezTo>
                  <a:cubicBezTo>
                    <a:pt x="325" y="315"/>
                    <a:pt x="326" y="315"/>
                    <a:pt x="327" y="315"/>
                  </a:cubicBezTo>
                  <a:cubicBezTo>
                    <a:pt x="327" y="314"/>
                    <a:pt x="328" y="314"/>
                    <a:pt x="329" y="314"/>
                  </a:cubicBezTo>
                  <a:cubicBezTo>
                    <a:pt x="330" y="314"/>
                    <a:pt x="331" y="315"/>
                    <a:pt x="331" y="316"/>
                  </a:cubicBezTo>
                  <a:cubicBezTo>
                    <a:pt x="334" y="320"/>
                    <a:pt x="332" y="327"/>
                    <a:pt x="332" y="332"/>
                  </a:cubicBezTo>
                  <a:cubicBezTo>
                    <a:pt x="334" y="333"/>
                    <a:pt x="334" y="333"/>
                    <a:pt x="334" y="333"/>
                  </a:cubicBezTo>
                  <a:cubicBezTo>
                    <a:pt x="335" y="334"/>
                    <a:pt x="336" y="334"/>
                    <a:pt x="337" y="335"/>
                  </a:cubicBezTo>
                  <a:cubicBezTo>
                    <a:pt x="348" y="341"/>
                    <a:pt x="357" y="346"/>
                    <a:pt x="359" y="350"/>
                  </a:cubicBezTo>
                  <a:cubicBezTo>
                    <a:pt x="361" y="354"/>
                    <a:pt x="365" y="359"/>
                    <a:pt x="366" y="359"/>
                  </a:cubicBezTo>
                  <a:cubicBezTo>
                    <a:pt x="369" y="362"/>
                    <a:pt x="372" y="365"/>
                    <a:pt x="374" y="368"/>
                  </a:cubicBezTo>
                  <a:cubicBezTo>
                    <a:pt x="375" y="368"/>
                    <a:pt x="376" y="369"/>
                    <a:pt x="376" y="370"/>
                  </a:cubicBezTo>
                  <a:cubicBezTo>
                    <a:pt x="377" y="370"/>
                    <a:pt x="377" y="370"/>
                    <a:pt x="377" y="370"/>
                  </a:cubicBezTo>
                  <a:cubicBezTo>
                    <a:pt x="377" y="371"/>
                    <a:pt x="378" y="371"/>
                    <a:pt x="379" y="372"/>
                  </a:cubicBezTo>
                  <a:cubicBezTo>
                    <a:pt x="379" y="373"/>
                    <a:pt x="380" y="373"/>
                    <a:pt x="380" y="373"/>
                  </a:cubicBezTo>
                  <a:cubicBezTo>
                    <a:pt x="381" y="373"/>
                    <a:pt x="381" y="373"/>
                    <a:pt x="381" y="373"/>
                  </a:cubicBezTo>
                  <a:cubicBezTo>
                    <a:pt x="381" y="373"/>
                    <a:pt x="382" y="373"/>
                    <a:pt x="382" y="373"/>
                  </a:cubicBezTo>
                  <a:cubicBezTo>
                    <a:pt x="385" y="373"/>
                    <a:pt x="389" y="372"/>
                    <a:pt x="392" y="371"/>
                  </a:cubicBezTo>
                  <a:cubicBezTo>
                    <a:pt x="397" y="370"/>
                    <a:pt x="402" y="369"/>
                    <a:pt x="408" y="369"/>
                  </a:cubicBezTo>
                  <a:cubicBezTo>
                    <a:pt x="409" y="369"/>
                    <a:pt x="410" y="369"/>
                    <a:pt x="411" y="369"/>
                  </a:cubicBezTo>
                  <a:cubicBezTo>
                    <a:pt x="415" y="369"/>
                    <a:pt x="419" y="369"/>
                    <a:pt x="422" y="370"/>
                  </a:cubicBezTo>
                  <a:cubicBezTo>
                    <a:pt x="424" y="370"/>
                    <a:pt x="424" y="370"/>
                    <a:pt x="424" y="370"/>
                  </a:cubicBezTo>
                  <a:cubicBezTo>
                    <a:pt x="426" y="370"/>
                    <a:pt x="429" y="370"/>
                    <a:pt x="431" y="370"/>
                  </a:cubicBezTo>
                  <a:cubicBezTo>
                    <a:pt x="438" y="371"/>
                    <a:pt x="438" y="371"/>
                    <a:pt x="438" y="371"/>
                  </a:cubicBezTo>
                  <a:cubicBezTo>
                    <a:pt x="440" y="370"/>
                    <a:pt x="441" y="370"/>
                    <a:pt x="442" y="370"/>
                  </a:cubicBezTo>
                  <a:cubicBezTo>
                    <a:pt x="443" y="369"/>
                    <a:pt x="443" y="369"/>
                    <a:pt x="443" y="369"/>
                  </a:cubicBezTo>
                  <a:cubicBezTo>
                    <a:pt x="443" y="369"/>
                    <a:pt x="443" y="369"/>
                    <a:pt x="444" y="369"/>
                  </a:cubicBezTo>
                  <a:cubicBezTo>
                    <a:pt x="446" y="367"/>
                    <a:pt x="448" y="366"/>
                    <a:pt x="450" y="366"/>
                  </a:cubicBezTo>
                  <a:cubicBezTo>
                    <a:pt x="450" y="366"/>
                    <a:pt x="451" y="366"/>
                    <a:pt x="451" y="366"/>
                  </a:cubicBezTo>
                  <a:cubicBezTo>
                    <a:pt x="452" y="366"/>
                    <a:pt x="453" y="367"/>
                    <a:pt x="455" y="369"/>
                  </a:cubicBezTo>
                  <a:cubicBezTo>
                    <a:pt x="456" y="370"/>
                    <a:pt x="458" y="371"/>
                    <a:pt x="459" y="373"/>
                  </a:cubicBezTo>
                  <a:cubicBezTo>
                    <a:pt x="461" y="375"/>
                    <a:pt x="461" y="375"/>
                    <a:pt x="461" y="375"/>
                  </a:cubicBezTo>
                  <a:cubicBezTo>
                    <a:pt x="462" y="376"/>
                    <a:pt x="462" y="376"/>
                    <a:pt x="462" y="376"/>
                  </a:cubicBezTo>
                  <a:cubicBezTo>
                    <a:pt x="464" y="377"/>
                    <a:pt x="464" y="377"/>
                    <a:pt x="464" y="377"/>
                  </a:cubicBezTo>
                  <a:cubicBezTo>
                    <a:pt x="467" y="380"/>
                    <a:pt x="469" y="382"/>
                    <a:pt x="472" y="385"/>
                  </a:cubicBezTo>
                  <a:cubicBezTo>
                    <a:pt x="473" y="387"/>
                    <a:pt x="473" y="387"/>
                    <a:pt x="473" y="387"/>
                  </a:cubicBezTo>
                  <a:cubicBezTo>
                    <a:pt x="474" y="388"/>
                    <a:pt x="474" y="388"/>
                    <a:pt x="474" y="388"/>
                  </a:cubicBezTo>
                  <a:cubicBezTo>
                    <a:pt x="475" y="389"/>
                    <a:pt x="475" y="390"/>
                    <a:pt x="476" y="390"/>
                  </a:cubicBezTo>
                  <a:cubicBezTo>
                    <a:pt x="478" y="389"/>
                    <a:pt x="478" y="389"/>
                    <a:pt x="478" y="389"/>
                  </a:cubicBezTo>
                  <a:cubicBezTo>
                    <a:pt x="479" y="389"/>
                    <a:pt x="479" y="389"/>
                    <a:pt x="480" y="389"/>
                  </a:cubicBezTo>
                  <a:cubicBezTo>
                    <a:pt x="481" y="389"/>
                    <a:pt x="482" y="389"/>
                    <a:pt x="482" y="390"/>
                  </a:cubicBezTo>
                  <a:cubicBezTo>
                    <a:pt x="484" y="392"/>
                    <a:pt x="484" y="395"/>
                    <a:pt x="483" y="400"/>
                  </a:cubicBezTo>
                  <a:cubicBezTo>
                    <a:pt x="483" y="400"/>
                    <a:pt x="483" y="400"/>
                    <a:pt x="483" y="400"/>
                  </a:cubicBezTo>
                  <a:cubicBezTo>
                    <a:pt x="482" y="402"/>
                    <a:pt x="482" y="404"/>
                    <a:pt x="482" y="405"/>
                  </a:cubicBezTo>
                  <a:cubicBezTo>
                    <a:pt x="482" y="407"/>
                    <a:pt x="481" y="409"/>
                    <a:pt x="481" y="411"/>
                  </a:cubicBezTo>
                  <a:cubicBezTo>
                    <a:pt x="481" y="412"/>
                    <a:pt x="481" y="412"/>
                    <a:pt x="481" y="413"/>
                  </a:cubicBezTo>
                  <a:cubicBezTo>
                    <a:pt x="481" y="414"/>
                    <a:pt x="481" y="414"/>
                    <a:pt x="481" y="414"/>
                  </a:cubicBezTo>
                  <a:cubicBezTo>
                    <a:pt x="481" y="414"/>
                    <a:pt x="481" y="415"/>
                    <a:pt x="481" y="416"/>
                  </a:cubicBezTo>
                  <a:cubicBezTo>
                    <a:pt x="481" y="416"/>
                    <a:pt x="481" y="417"/>
                    <a:pt x="481" y="418"/>
                  </a:cubicBezTo>
                  <a:cubicBezTo>
                    <a:pt x="482" y="418"/>
                    <a:pt x="482" y="418"/>
                    <a:pt x="482" y="418"/>
                  </a:cubicBezTo>
                  <a:cubicBezTo>
                    <a:pt x="482" y="418"/>
                    <a:pt x="482" y="418"/>
                    <a:pt x="482" y="418"/>
                  </a:cubicBezTo>
                  <a:cubicBezTo>
                    <a:pt x="482" y="418"/>
                    <a:pt x="483" y="418"/>
                    <a:pt x="483" y="418"/>
                  </a:cubicBezTo>
                  <a:cubicBezTo>
                    <a:pt x="484" y="418"/>
                    <a:pt x="484" y="418"/>
                    <a:pt x="484" y="418"/>
                  </a:cubicBezTo>
                  <a:cubicBezTo>
                    <a:pt x="485" y="417"/>
                    <a:pt x="486" y="417"/>
                    <a:pt x="487" y="417"/>
                  </a:cubicBezTo>
                  <a:cubicBezTo>
                    <a:pt x="489" y="417"/>
                    <a:pt x="490" y="418"/>
                    <a:pt x="492" y="419"/>
                  </a:cubicBezTo>
                  <a:cubicBezTo>
                    <a:pt x="493" y="420"/>
                    <a:pt x="493" y="421"/>
                    <a:pt x="493" y="422"/>
                  </a:cubicBezTo>
                  <a:cubicBezTo>
                    <a:pt x="493" y="423"/>
                    <a:pt x="493" y="424"/>
                    <a:pt x="493" y="425"/>
                  </a:cubicBezTo>
                  <a:cubicBezTo>
                    <a:pt x="493" y="425"/>
                    <a:pt x="493" y="425"/>
                    <a:pt x="493" y="425"/>
                  </a:cubicBezTo>
                  <a:cubicBezTo>
                    <a:pt x="493" y="426"/>
                    <a:pt x="493" y="426"/>
                    <a:pt x="493" y="426"/>
                  </a:cubicBezTo>
                  <a:cubicBezTo>
                    <a:pt x="494" y="429"/>
                    <a:pt x="495" y="432"/>
                    <a:pt x="495" y="435"/>
                  </a:cubicBezTo>
                  <a:cubicBezTo>
                    <a:pt x="496" y="438"/>
                    <a:pt x="496" y="438"/>
                    <a:pt x="496" y="438"/>
                  </a:cubicBezTo>
                  <a:cubicBezTo>
                    <a:pt x="497" y="440"/>
                    <a:pt x="497" y="440"/>
                    <a:pt x="497" y="440"/>
                  </a:cubicBezTo>
                  <a:cubicBezTo>
                    <a:pt x="498" y="442"/>
                    <a:pt x="498" y="442"/>
                    <a:pt x="498" y="442"/>
                  </a:cubicBezTo>
                  <a:cubicBezTo>
                    <a:pt x="517" y="442"/>
                    <a:pt x="517" y="442"/>
                    <a:pt x="517" y="442"/>
                  </a:cubicBezTo>
                  <a:cubicBezTo>
                    <a:pt x="517" y="442"/>
                    <a:pt x="518" y="442"/>
                    <a:pt x="518" y="442"/>
                  </a:cubicBezTo>
                  <a:cubicBezTo>
                    <a:pt x="520" y="442"/>
                    <a:pt x="521" y="441"/>
                    <a:pt x="522" y="441"/>
                  </a:cubicBezTo>
                  <a:cubicBezTo>
                    <a:pt x="523" y="441"/>
                    <a:pt x="523" y="441"/>
                    <a:pt x="524" y="442"/>
                  </a:cubicBezTo>
                  <a:cubicBezTo>
                    <a:pt x="524" y="442"/>
                    <a:pt x="524" y="442"/>
                    <a:pt x="524" y="442"/>
                  </a:cubicBezTo>
                  <a:cubicBezTo>
                    <a:pt x="525" y="442"/>
                    <a:pt x="525" y="442"/>
                    <a:pt x="526" y="442"/>
                  </a:cubicBezTo>
                  <a:cubicBezTo>
                    <a:pt x="526" y="442"/>
                    <a:pt x="526" y="442"/>
                    <a:pt x="526" y="442"/>
                  </a:cubicBezTo>
                  <a:cubicBezTo>
                    <a:pt x="527" y="443"/>
                    <a:pt x="527" y="443"/>
                    <a:pt x="527" y="443"/>
                  </a:cubicBezTo>
                  <a:cubicBezTo>
                    <a:pt x="527" y="444"/>
                    <a:pt x="527" y="444"/>
                    <a:pt x="527" y="444"/>
                  </a:cubicBezTo>
                  <a:cubicBezTo>
                    <a:pt x="528" y="444"/>
                    <a:pt x="528" y="444"/>
                    <a:pt x="528" y="444"/>
                  </a:cubicBezTo>
                  <a:cubicBezTo>
                    <a:pt x="528" y="444"/>
                    <a:pt x="528" y="444"/>
                    <a:pt x="528" y="444"/>
                  </a:cubicBezTo>
                  <a:cubicBezTo>
                    <a:pt x="529" y="445"/>
                    <a:pt x="530" y="445"/>
                    <a:pt x="530" y="446"/>
                  </a:cubicBezTo>
                  <a:cubicBezTo>
                    <a:pt x="531" y="446"/>
                    <a:pt x="532" y="447"/>
                    <a:pt x="532" y="449"/>
                  </a:cubicBezTo>
                  <a:cubicBezTo>
                    <a:pt x="532" y="449"/>
                    <a:pt x="532" y="449"/>
                    <a:pt x="532" y="450"/>
                  </a:cubicBezTo>
                  <a:cubicBezTo>
                    <a:pt x="533" y="451"/>
                    <a:pt x="532" y="453"/>
                    <a:pt x="531" y="455"/>
                  </a:cubicBezTo>
                  <a:cubicBezTo>
                    <a:pt x="533" y="456"/>
                    <a:pt x="535" y="457"/>
                    <a:pt x="538" y="458"/>
                  </a:cubicBezTo>
                  <a:cubicBezTo>
                    <a:pt x="539" y="459"/>
                    <a:pt x="539" y="459"/>
                    <a:pt x="539" y="459"/>
                  </a:cubicBezTo>
                  <a:cubicBezTo>
                    <a:pt x="539" y="458"/>
                    <a:pt x="539" y="457"/>
                    <a:pt x="539" y="457"/>
                  </a:cubicBezTo>
                  <a:cubicBezTo>
                    <a:pt x="539" y="454"/>
                    <a:pt x="539" y="454"/>
                    <a:pt x="539" y="454"/>
                  </a:cubicBezTo>
                  <a:cubicBezTo>
                    <a:pt x="539" y="449"/>
                    <a:pt x="543" y="446"/>
                    <a:pt x="546" y="444"/>
                  </a:cubicBezTo>
                  <a:cubicBezTo>
                    <a:pt x="547" y="444"/>
                    <a:pt x="548" y="443"/>
                    <a:pt x="548" y="443"/>
                  </a:cubicBezTo>
                  <a:cubicBezTo>
                    <a:pt x="549" y="442"/>
                    <a:pt x="549" y="442"/>
                    <a:pt x="549" y="442"/>
                  </a:cubicBezTo>
                  <a:cubicBezTo>
                    <a:pt x="549" y="442"/>
                    <a:pt x="549" y="442"/>
                    <a:pt x="549" y="442"/>
                  </a:cubicBezTo>
                  <a:cubicBezTo>
                    <a:pt x="550" y="441"/>
                    <a:pt x="550" y="441"/>
                    <a:pt x="550" y="441"/>
                  </a:cubicBezTo>
                  <a:cubicBezTo>
                    <a:pt x="551" y="440"/>
                    <a:pt x="553" y="438"/>
                    <a:pt x="554" y="437"/>
                  </a:cubicBezTo>
                  <a:cubicBezTo>
                    <a:pt x="554" y="437"/>
                    <a:pt x="554" y="437"/>
                    <a:pt x="554" y="437"/>
                  </a:cubicBezTo>
                  <a:cubicBezTo>
                    <a:pt x="555" y="436"/>
                    <a:pt x="555" y="436"/>
                    <a:pt x="555" y="436"/>
                  </a:cubicBezTo>
                  <a:cubicBezTo>
                    <a:pt x="558" y="435"/>
                    <a:pt x="560" y="433"/>
                    <a:pt x="562" y="432"/>
                  </a:cubicBezTo>
                  <a:cubicBezTo>
                    <a:pt x="566" y="429"/>
                    <a:pt x="569" y="426"/>
                    <a:pt x="573" y="424"/>
                  </a:cubicBezTo>
                  <a:cubicBezTo>
                    <a:pt x="595" y="412"/>
                    <a:pt x="595" y="412"/>
                    <a:pt x="595" y="412"/>
                  </a:cubicBezTo>
                  <a:cubicBezTo>
                    <a:pt x="594" y="412"/>
                    <a:pt x="594" y="411"/>
                    <a:pt x="595" y="410"/>
                  </a:cubicBezTo>
                  <a:cubicBezTo>
                    <a:pt x="595" y="409"/>
                    <a:pt x="596" y="408"/>
                    <a:pt x="597" y="407"/>
                  </a:cubicBezTo>
                  <a:cubicBezTo>
                    <a:pt x="597" y="406"/>
                    <a:pt x="599" y="405"/>
                    <a:pt x="600" y="404"/>
                  </a:cubicBezTo>
                  <a:cubicBezTo>
                    <a:pt x="601" y="402"/>
                    <a:pt x="601" y="402"/>
                    <a:pt x="601" y="402"/>
                  </a:cubicBezTo>
                  <a:cubicBezTo>
                    <a:pt x="602" y="402"/>
                    <a:pt x="602" y="401"/>
                    <a:pt x="602" y="401"/>
                  </a:cubicBezTo>
                  <a:cubicBezTo>
                    <a:pt x="603" y="400"/>
                    <a:pt x="605" y="398"/>
                    <a:pt x="606" y="397"/>
                  </a:cubicBezTo>
                  <a:cubicBezTo>
                    <a:pt x="607" y="397"/>
                    <a:pt x="607" y="396"/>
                    <a:pt x="608" y="396"/>
                  </a:cubicBezTo>
                  <a:cubicBezTo>
                    <a:pt x="609" y="396"/>
                    <a:pt x="610" y="395"/>
                    <a:pt x="611" y="395"/>
                  </a:cubicBezTo>
                  <a:cubicBezTo>
                    <a:pt x="612" y="395"/>
                    <a:pt x="612" y="395"/>
                    <a:pt x="613" y="396"/>
                  </a:cubicBezTo>
                  <a:cubicBezTo>
                    <a:pt x="614" y="396"/>
                    <a:pt x="614" y="396"/>
                    <a:pt x="614" y="396"/>
                  </a:cubicBezTo>
                  <a:cubicBezTo>
                    <a:pt x="614" y="396"/>
                    <a:pt x="615" y="396"/>
                    <a:pt x="615" y="396"/>
                  </a:cubicBezTo>
                  <a:cubicBezTo>
                    <a:pt x="627" y="395"/>
                    <a:pt x="627" y="395"/>
                    <a:pt x="627" y="395"/>
                  </a:cubicBezTo>
                  <a:cubicBezTo>
                    <a:pt x="627" y="395"/>
                    <a:pt x="627" y="395"/>
                    <a:pt x="628" y="395"/>
                  </a:cubicBezTo>
                  <a:cubicBezTo>
                    <a:pt x="630" y="395"/>
                    <a:pt x="633" y="396"/>
                    <a:pt x="636" y="397"/>
                  </a:cubicBezTo>
                  <a:cubicBezTo>
                    <a:pt x="641" y="398"/>
                    <a:pt x="648" y="400"/>
                    <a:pt x="653" y="402"/>
                  </a:cubicBezTo>
                  <a:cubicBezTo>
                    <a:pt x="656" y="403"/>
                    <a:pt x="656" y="403"/>
                    <a:pt x="656" y="403"/>
                  </a:cubicBezTo>
                  <a:cubicBezTo>
                    <a:pt x="657" y="403"/>
                    <a:pt x="657" y="404"/>
                    <a:pt x="658" y="404"/>
                  </a:cubicBezTo>
                  <a:cubicBezTo>
                    <a:pt x="657" y="397"/>
                    <a:pt x="659" y="389"/>
                    <a:pt x="667" y="386"/>
                  </a:cubicBezTo>
                  <a:cubicBezTo>
                    <a:pt x="665" y="379"/>
                    <a:pt x="665" y="379"/>
                    <a:pt x="665" y="379"/>
                  </a:cubicBezTo>
                  <a:cubicBezTo>
                    <a:pt x="668" y="385"/>
                    <a:pt x="668" y="385"/>
                    <a:pt x="668" y="385"/>
                  </a:cubicBezTo>
                  <a:cubicBezTo>
                    <a:pt x="671" y="383"/>
                    <a:pt x="674" y="382"/>
                    <a:pt x="677" y="382"/>
                  </a:cubicBezTo>
                  <a:cubicBezTo>
                    <a:pt x="678" y="382"/>
                    <a:pt x="678" y="382"/>
                    <a:pt x="678" y="382"/>
                  </a:cubicBezTo>
                  <a:cubicBezTo>
                    <a:pt x="679" y="382"/>
                    <a:pt x="679" y="382"/>
                    <a:pt x="679" y="383"/>
                  </a:cubicBezTo>
                  <a:cubicBezTo>
                    <a:pt x="682" y="383"/>
                    <a:pt x="685" y="383"/>
                    <a:pt x="688" y="385"/>
                  </a:cubicBezTo>
                  <a:cubicBezTo>
                    <a:pt x="689" y="386"/>
                    <a:pt x="690" y="386"/>
                    <a:pt x="691" y="387"/>
                  </a:cubicBezTo>
                  <a:cubicBezTo>
                    <a:pt x="692" y="387"/>
                    <a:pt x="692" y="387"/>
                    <a:pt x="692" y="387"/>
                  </a:cubicBezTo>
                  <a:cubicBezTo>
                    <a:pt x="693" y="388"/>
                    <a:pt x="693" y="388"/>
                    <a:pt x="693" y="388"/>
                  </a:cubicBezTo>
                  <a:cubicBezTo>
                    <a:pt x="694" y="389"/>
                    <a:pt x="695" y="389"/>
                    <a:pt x="697" y="390"/>
                  </a:cubicBezTo>
                  <a:cubicBezTo>
                    <a:pt x="698" y="390"/>
                    <a:pt x="698" y="390"/>
                    <a:pt x="698" y="390"/>
                  </a:cubicBezTo>
                  <a:cubicBezTo>
                    <a:pt x="699" y="390"/>
                    <a:pt x="700" y="391"/>
                    <a:pt x="701" y="391"/>
                  </a:cubicBezTo>
                  <a:cubicBezTo>
                    <a:pt x="702" y="391"/>
                    <a:pt x="702" y="391"/>
                    <a:pt x="702" y="391"/>
                  </a:cubicBezTo>
                  <a:cubicBezTo>
                    <a:pt x="703" y="392"/>
                    <a:pt x="704" y="392"/>
                    <a:pt x="705" y="392"/>
                  </a:cubicBezTo>
                  <a:cubicBezTo>
                    <a:pt x="707" y="392"/>
                    <a:pt x="707" y="392"/>
                    <a:pt x="707" y="392"/>
                  </a:cubicBezTo>
                  <a:cubicBezTo>
                    <a:pt x="707" y="392"/>
                    <a:pt x="707" y="393"/>
                    <a:pt x="708" y="393"/>
                  </a:cubicBezTo>
                  <a:cubicBezTo>
                    <a:pt x="708" y="393"/>
                    <a:pt x="708" y="393"/>
                    <a:pt x="708" y="393"/>
                  </a:cubicBezTo>
                  <a:cubicBezTo>
                    <a:pt x="709" y="393"/>
                    <a:pt x="710" y="392"/>
                    <a:pt x="711" y="392"/>
                  </a:cubicBezTo>
                  <a:cubicBezTo>
                    <a:pt x="711" y="392"/>
                    <a:pt x="711" y="392"/>
                    <a:pt x="711" y="392"/>
                  </a:cubicBezTo>
                  <a:cubicBezTo>
                    <a:pt x="712" y="392"/>
                    <a:pt x="713" y="392"/>
                    <a:pt x="714" y="391"/>
                  </a:cubicBezTo>
                  <a:cubicBezTo>
                    <a:pt x="715" y="391"/>
                    <a:pt x="716" y="390"/>
                    <a:pt x="717" y="390"/>
                  </a:cubicBezTo>
                  <a:cubicBezTo>
                    <a:pt x="718" y="390"/>
                    <a:pt x="718" y="390"/>
                    <a:pt x="718" y="390"/>
                  </a:cubicBezTo>
                  <a:cubicBezTo>
                    <a:pt x="718" y="390"/>
                    <a:pt x="719" y="390"/>
                    <a:pt x="720" y="390"/>
                  </a:cubicBezTo>
                  <a:cubicBezTo>
                    <a:pt x="721" y="390"/>
                    <a:pt x="723" y="390"/>
                    <a:pt x="725" y="390"/>
                  </a:cubicBezTo>
                  <a:cubicBezTo>
                    <a:pt x="727" y="390"/>
                    <a:pt x="730" y="390"/>
                    <a:pt x="733" y="390"/>
                  </a:cubicBezTo>
                  <a:cubicBezTo>
                    <a:pt x="733" y="390"/>
                    <a:pt x="733" y="390"/>
                    <a:pt x="733" y="390"/>
                  </a:cubicBezTo>
                  <a:cubicBezTo>
                    <a:pt x="735" y="390"/>
                    <a:pt x="737" y="390"/>
                    <a:pt x="739" y="390"/>
                  </a:cubicBezTo>
                  <a:cubicBezTo>
                    <a:pt x="742" y="390"/>
                    <a:pt x="742" y="390"/>
                    <a:pt x="742" y="390"/>
                  </a:cubicBezTo>
                  <a:cubicBezTo>
                    <a:pt x="747" y="391"/>
                    <a:pt x="752" y="391"/>
                    <a:pt x="757" y="391"/>
                  </a:cubicBezTo>
                  <a:cubicBezTo>
                    <a:pt x="757" y="386"/>
                    <a:pt x="757" y="386"/>
                    <a:pt x="757" y="386"/>
                  </a:cubicBezTo>
                  <a:cubicBezTo>
                    <a:pt x="759" y="391"/>
                    <a:pt x="759" y="391"/>
                    <a:pt x="759" y="391"/>
                  </a:cubicBezTo>
                  <a:cubicBezTo>
                    <a:pt x="759" y="391"/>
                    <a:pt x="759" y="391"/>
                    <a:pt x="759" y="391"/>
                  </a:cubicBezTo>
                  <a:cubicBezTo>
                    <a:pt x="761" y="391"/>
                    <a:pt x="762" y="391"/>
                    <a:pt x="764" y="391"/>
                  </a:cubicBezTo>
                  <a:cubicBezTo>
                    <a:pt x="768" y="392"/>
                    <a:pt x="773" y="392"/>
                    <a:pt x="777" y="392"/>
                  </a:cubicBezTo>
                  <a:cubicBezTo>
                    <a:pt x="778" y="392"/>
                    <a:pt x="779" y="392"/>
                    <a:pt x="780" y="392"/>
                  </a:cubicBezTo>
                  <a:cubicBezTo>
                    <a:pt x="781" y="392"/>
                    <a:pt x="781" y="392"/>
                    <a:pt x="781" y="392"/>
                  </a:cubicBezTo>
                  <a:cubicBezTo>
                    <a:pt x="782" y="392"/>
                    <a:pt x="782" y="392"/>
                    <a:pt x="783" y="392"/>
                  </a:cubicBezTo>
                  <a:cubicBezTo>
                    <a:pt x="783" y="392"/>
                    <a:pt x="784" y="392"/>
                    <a:pt x="784" y="392"/>
                  </a:cubicBezTo>
                  <a:cubicBezTo>
                    <a:pt x="786" y="392"/>
                    <a:pt x="787" y="392"/>
                    <a:pt x="788" y="392"/>
                  </a:cubicBezTo>
                  <a:cubicBezTo>
                    <a:pt x="789" y="393"/>
                    <a:pt x="790" y="393"/>
                    <a:pt x="791" y="393"/>
                  </a:cubicBezTo>
                  <a:cubicBezTo>
                    <a:pt x="793" y="394"/>
                    <a:pt x="793" y="394"/>
                    <a:pt x="793" y="394"/>
                  </a:cubicBezTo>
                  <a:cubicBezTo>
                    <a:pt x="794" y="394"/>
                    <a:pt x="795" y="395"/>
                    <a:pt x="796" y="395"/>
                  </a:cubicBezTo>
                  <a:cubicBezTo>
                    <a:pt x="797" y="395"/>
                    <a:pt x="797" y="395"/>
                    <a:pt x="797" y="395"/>
                  </a:cubicBezTo>
                  <a:cubicBezTo>
                    <a:pt x="798" y="394"/>
                    <a:pt x="799" y="394"/>
                    <a:pt x="800" y="394"/>
                  </a:cubicBezTo>
                  <a:cubicBezTo>
                    <a:pt x="800" y="394"/>
                    <a:pt x="800" y="394"/>
                    <a:pt x="801" y="394"/>
                  </a:cubicBezTo>
                  <a:cubicBezTo>
                    <a:pt x="802" y="394"/>
                    <a:pt x="802" y="394"/>
                    <a:pt x="802" y="394"/>
                  </a:cubicBezTo>
                  <a:cubicBezTo>
                    <a:pt x="804" y="395"/>
                    <a:pt x="806" y="398"/>
                    <a:pt x="808" y="401"/>
                  </a:cubicBezTo>
                  <a:cubicBezTo>
                    <a:pt x="808" y="402"/>
                    <a:pt x="808" y="402"/>
                    <a:pt x="808" y="402"/>
                  </a:cubicBezTo>
                  <a:cubicBezTo>
                    <a:pt x="809" y="404"/>
                    <a:pt x="810" y="404"/>
                    <a:pt x="813" y="404"/>
                  </a:cubicBezTo>
                  <a:cubicBezTo>
                    <a:pt x="813" y="404"/>
                    <a:pt x="813" y="404"/>
                    <a:pt x="813" y="404"/>
                  </a:cubicBezTo>
                  <a:cubicBezTo>
                    <a:pt x="814" y="404"/>
                    <a:pt x="815" y="404"/>
                    <a:pt x="816" y="404"/>
                  </a:cubicBezTo>
                  <a:cubicBezTo>
                    <a:pt x="817" y="405"/>
                    <a:pt x="817" y="405"/>
                    <a:pt x="817" y="405"/>
                  </a:cubicBezTo>
                  <a:cubicBezTo>
                    <a:pt x="818" y="405"/>
                    <a:pt x="819" y="405"/>
                    <a:pt x="820" y="406"/>
                  </a:cubicBezTo>
                  <a:cubicBezTo>
                    <a:pt x="822" y="406"/>
                    <a:pt x="823" y="407"/>
                    <a:pt x="824" y="407"/>
                  </a:cubicBezTo>
                  <a:cubicBezTo>
                    <a:pt x="824" y="408"/>
                    <a:pt x="824" y="408"/>
                    <a:pt x="824" y="408"/>
                  </a:cubicBezTo>
                  <a:cubicBezTo>
                    <a:pt x="824" y="407"/>
                    <a:pt x="824" y="407"/>
                    <a:pt x="824" y="407"/>
                  </a:cubicBezTo>
                  <a:cubicBezTo>
                    <a:pt x="824" y="405"/>
                    <a:pt x="824" y="405"/>
                    <a:pt x="824" y="405"/>
                  </a:cubicBezTo>
                  <a:cubicBezTo>
                    <a:pt x="823" y="402"/>
                    <a:pt x="823" y="400"/>
                    <a:pt x="825" y="396"/>
                  </a:cubicBezTo>
                  <a:cubicBezTo>
                    <a:pt x="826" y="394"/>
                    <a:pt x="827" y="393"/>
                    <a:pt x="829" y="393"/>
                  </a:cubicBezTo>
                  <a:cubicBezTo>
                    <a:pt x="829" y="393"/>
                    <a:pt x="829" y="393"/>
                    <a:pt x="829" y="393"/>
                  </a:cubicBezTo>
                  <a:cubicBezTo>
                    <a:pt x="828" y="392"/>
                    <a:pt x="828" y="390"/>
                    <a:pt x="828" y="389"/>
                  </a:cubicBezTo>
                  <a:cubicBezTo>
                    <a:pt x="830" y="386"/>
                    <a:pt x="833" y="385"/>
                    <a:pt x="837" y="385"/>
                  </a:cubicBezTo>
                  <a:cubicBezTo>
                    <a:pt x="837" y="385"/>
                    <a:pt x="838" y="384"/>
                    <a:pt x="838" y="384"/>
                  </a:cubicBezTo>
                  <a:cubicBezTo>
                    <a:pt x="838" y="383"/>
                    <a:pt x="837" y="381"/>
                    <a:pt x="837" y="380"/>
                  </a:cubicBezTo>
                  <a:cubicBezTo>
                    <a:pt x="837" y="379"/>
                    <a:pt x="837" y="379"/>
                    <a:pt x="837" y="379"/>
                  </a:cubicBezTo>
                  <a:cubicBezTo>
                    <a:pt x="837" y="378"/>
                    <a:pt x="837" y="378"/>
                    <a:pt x="837" y="378"/>
                  </a:cubicBezTo>
                  <a:cubicBezTo>
                    <a:pt x="837" y="378"/>
                    <a:pt x="836" y="377"/>
                    <a:pt x="836" y="376"/>
                  </a:cubicBezTo>
                  <a:cubicBezTo>
                    <a:pt x="836" y="376"/>
                    <a:pt x="836" y="376"/>
                    <a:pt x="836" y="376"/>
                  </a:cubicBezTo>
                  <a:cubicBezTo>
                    <a:pt x="834" y="373"/>
                    <a:pt x="833" y="371"/>
                    <a:pt x="832" y="369"/>
                  </a:cubicBezTo>
                  <a:cubicBezTo>
                    <a:pt x="832" y="367"/>
                    <a:pt x="831" y="366"/>
                    <a:pt x="831" y="365"/>
                  </a:cubicBezTo>
                  <a:cubicBezTo>
                    <a:pt x="829" y="361"/>
                    <a:pt x="829" y="358"/>
                    <a:pt x="828" y="354"/>
                  </a:cubicBezTo>
                  <a:cubicBezTo>
                    <a:pt x="828" y="352"/>
                    <a:pt x="828" y="352"/>
                    <a:pt x="828" y="352"/>
                  </a:cubicBezTo>
                  <a:cubicBezTo>
                    <a:pt x="827" y="349"/>
                    <a:pt x="827" y="345"/>
                    <a:pt x="828" y="342"/>
                  </a:cubicBezTo>
                  <a:cubicBezTo>
                    <a:pt x="828" y="341"/>
                    <a:pt x="828" y="340"/>
                    <a:pt x="829" y="340"/>
                  </a:cubicBezTo>
                  <a:cubicBezTo>
                    <a:pt x="828" y="340"/>
                    <a:pt x="827" y="340"/>
                    <a:pt x="826" y="339"/>
                  </a:cubicBezTo>
                  <a:cubicBezTo>
                    <a:pt x="826" y="340"/>
                    <a:pt x="825" y="340"/>
                    <a:pt x="825" y="340"/>
                  </a:cubicBezTo>
                  <a:cubicBezTo>
                    <a:pt x="824" y="340"/>
                    <a:pt x="824" y="340"/>
                    <a:pt x="823" y="340"/>
                  </a:cubicBezTo>
                  <a:cubicBezTo>
                    <a:pt x="821" y="340"/>
                    <a:pt x="820" y="340"/>
                    <a:pt x="818" y="338"/>
                  </a:cubicBezTo>
                  <a:cubicBezTo>
                    <a:pt x="818" y="338"/>
                    <a:pt x="818" y="338"/>
                    <a:pt x="818" y="338"/>
                  </a:cubicBezTo>
                  <a:cubicBezTo>
                    <a:pt x="817" y="337"/>
                    <a:pt x="814" y="335"/>
                    <a:pt x="817" y="332"/>
                  </a:cubicBezTo>
                  <a:cubicBezTo>
                    <a:pt x="819" y="328"/>
                    <a:pt x="822" y="328"/>
                    <a:pt x="825" y="327"/>
                  </a:cubicBezTo>
                  <a:cubicBezTo>
                    <a:pt x="826" y="327"/>
                    <a:pt x="826" y="327"/>
                    <a:pt x="826" y="327"/>
                  </a:cubicBezTo>
                  <a:cubicBezTo>
                    <a:pt x="831" y="326"/>
                    <a:pt x="836" y="324"/>
                    <a:pt x="841" y="323"/>
                  </a:cubicBezTo>
                  <a:cubicBezTo>
                    <a:pt x="856" y="319"/>
                    <a:pt x="856" y="319"/>
                    <a:pt x="856" y="319"/>
                  </a:cubicBezTo>
                  <a:cubicBezTo>
                    <a:pt x="856" y="319"/>
                    <a:pt x="857" y="319"/>
                    <a:pt x="857" y="319"/>
                  </a:cubicBezTo>
                  <a:cubicBezTo>
                    <a:pt x="857" y="318"/>
                    <a:pt x="857" y="318"/>
                    <a:pt x="857" y="318"/>
                  </a:cubicBezTo>
                  <a:cubicBezTo>
                    <a:pt x="860" y="318"/>
                    <a:pt x="861" y="317"/>
                    <a:pt x="863" y="317"/>
                  </a:cubicBezTo>
                  <a:cubicBezTo>
                    <a:pt x="864" y="317"/>
                    <a:pt x="864" y="317"/>
                    <a:pt x="865" y="317"/>
                  </a:cubicBezTo>
                  <a:cubicBezTo>
                    <a:pt x="868" y="318"/>
                    <a:pt x="868" y="321"/>
                    <a:pt x="869" y="322"/>
                  </a:cubicBezTo>
                  <a:cubicBezTo>
                    <a:pt x="869" y="322"/>
                    <a:pt x="869" y="322"/>
                    <a:pt x="869" y="322"/>
                  </a:cubicBezTo>
                  <a:cubicBezTo>
                    <a:pt x="869" y="322"/>
                    <a:pt x="870" y="322"/>
                    <a:pt x="870" y="322"/>
                  </a:cubicBezTo>
                  <a:cubicBezTo>
                    <a:pt x="871" y="322"/>
                    <a:pt x="872" y="322"/>
                    <a:pt x="873" y="322"/>
                  </a:cubicBezTo>
                  <a:cubicBezTo>
                    <a:pt x="874" y="322"/>
                    <a:pt x="875" y="322"/>
                    <a:pt x="876" y="322"/>
                  </a:cubicBezTo>
                  <a:cubicBezTo>
                    <a:pt x="877" y="322"/>
                    <a:pt x="877" y="322"/>
                    <a:pt x="877" y="322"/>
                  </a:cubicBezTo>
                  <a:cubicBezTo>
                    <a:pt x="878" y="322"/>
                    <a:pt x="879" y="322"/>
                    <a:pt x="880" y="322"/>
                  </a:cubicBezTo>
                  <a:cubicBezTo>
                    <a:pt x="882" y="322"/>
                    <a:pt x="883" y="322"/>
                    <a:pt x="883" y="322"/>
                  </a:cubicBezTo>
                  <a:cubicBezTo>
                    <a:pt x="883" y="320"/>
                    <a:pt x="883" y="320"/>
                    <a:pt x="883" y="319"/>
                  </a:cubicBezTo>
                  <a:cubicBezTo>
                    <a:pt x="883" y="319"/>
                    <a:pt x="883" y="319"/>
                    <a:pt x="882" y="319"/>
                  </a:cubicBezTo>
                  <a:cubicBezTo>
                    <a:pt x="882" y="319"/>
                    <a:pt x="882" y="319"/>
                    <a:pt x="882" y="319"/>
                  </a:cubicBezTo>
                  <a:cubicBezTo>
                    <a:pt x="879" y="318"/>
                    <a:pt x="877" y="318"/>
                    <a:pt x="876" y="316"/>
                  </a:cubicBezTo>
                  <a:cubicBezTo>
                    <a:pt x="875" y="315"/>
                    <a:pt x="875" y="314"/>
                    <a:pt x="876" y="313"/>
                  </a:cubicBezTo>
                  <a:cubicBezTo>
                    <a:pt x="892" y="265"/>
                    <a:pt x="892" y="265"/>
                    <a:pt x="892" y="265"/>
                  </a:cubicBezTo>
                  <a:cubicBezTo>
                    <a:pt x="893" y="262"/>
                    <a:pt x="894" y="259"/>
                    <a:pt x="898" y="259"/>
                  </a:cubicBezTo>
                  <a:cubicBezTo>
                    <a:pt x="899" y="259"/>
                    <a:pt x="899" y="259"/>
                    <a:pt x="900" y="260"/>
                  </a:cubicBezTo>
                  <a:cubicBezTo>
                    <a:pt x="902" y="260"/>
                    <a:pt x="905" y="261"/>
                    <a:pt x="907" y="263"/>
                  </a:cubicBezTo>
                  <a:cubicBezTo>
                    <a:pt x="909" y="264"/>
                    <a:pt x="909" y="264"/>
                    <a:pt x="909" y="264"/>
                  </a:cubicBezTo>
                  <a:cubicBezTo>
                    <a:pt x="913" y="266"/>
                    <a:pt x="918" y="267"/>
                    <a:pt x="921" y="267"/>
                  </a:cubicBezTo>
                  <a:cubicBezTo>
                    <a:pt x="921" y="267"/>
                    <a:pt x="922" y="267"/>
                    <a:pt x="922" y="267"/>
                  </a:cubicBezTo>
                  <a:cubicBezTo>
                    <a:pt x="924" y="266"/>
                    <a:pt x="926" y="266"/>
                    <a:pt x="928" y="266"/>
                  </a:cubicBezTo>
                  <a:cubicBezTo>
                    <a:pt x="933" y="266"/>
                    <a:pt x="938" y="267"/>
                    <a:pt x="940" y="268"/>
                  </a:cubicBezTo>
                  <a:cubicBezTo>
                    <a:pt x="941" y="269"/>
                    <a:pt x="942" y="269"/>
                    <a:pt x="943" y="269"/>
                  </a:cubicBezTo>
                  <a:cubicBezTo>
                    <a:pt x="945" y="269"/>
                    <a:pt x="946" y="268"/>
                    <a:pt x="949" y="266"/>
                  </a:cubicBezTo>
                  <a:cubicBezTo>
                    <a:pt x="951" y="266"/>
                    <a:pt x="951" y="266"/>
                    <a:pt x="951" y="266"/>
                  </a:cubicBezTo>
                  <a:cubicBezTo>
                    <a:pt x="957" y="263"/>
                    <a:pt x="959" y="261"/>
                    <a:pt x="959" y="257"/>
                  </a:cubicBezTo>
                  <a:cubicBezTo>
                    <a:pt x="958" y="254"/>
                    <a:pt x="958" y="251"/>
                    <a:pt x="957" y="248"/>
                  </a:cubicBezTo>
                  <a:cubicBezTo>
                    <a:pt x="957" y="245"/>
                    <a:pt x="956" y="242"/>
                    <a:pt x="956" y="239"/>
                  </a:cubicBezTo>
                  <a:cubicBezTo>
                    <a:pt x="955" y="235"/>
                    <a:pt x="960" y="224"/>
                    <a:pt x="964" y="222"/>
                  </a:cubicBezTo>
                  <a:cubicBezTo>
                    <a:pt x="966" y="221"/>
                    <a:pt x="968" y="221"/>
                    <a:pt x="969" y="221"/>
                  </a:cubicBezTo>
                  <a:cubicBezTo>
                    <a:pt x="970" y="221"/>
                    <a:pt x="970" y="221"/>
                    <a:pt x="970" y="221"/>
                  </a:cubicBezTo>
                  <a:cubicBezTo>
                    <a:pt x="974" y="221"/>
                    <a:pt x="977" y="220"/>
                    <a:pt x="981" y="219"/>
                  </a:cubicBezTo>
                  <a:cubicBezTo>
                    <a:pt x="982" y="218"/>
                    <a:pt x="985" y="216"/>
                    <a:pt x="986" y="214"/>
                  </a:cubicBezTo>
                  <a:cubicBezTo>
                    <a:pt x="986" y="214"/>
                    <a:pt x="986" y="214"/>
                    <a:pt x="986" y="214"/>
                  </a:cubicBezTo>
                  <a:cubicBezTo>
                    <a:pt x="986" y="213"/>
                    <a:pt x="986" y="213"/>
                    <a:pt x="986" y="212"/>
                  </a:cubicBezTo>
                  <a:cubicBezTo>
                    <a:pt x="985" y="211"/>
                    <a:pt x="985" y="210"/>
                    <a:pt x="985" y="209"/>
                  </a:cubicBezTo>
                  <a:cubicBezTo>
                    <a:pt x="985" y="209"/>
                    <a:pt x="986" y="208"/>
                    <a:pt x="986" y="207"/>
                  </a:cubicBezTo>
                  <a:cubicBezTo>
                    <a:pt x="986" y="207"/>
                    <a:pt x="986" y="207"/>
                    <a:pt x="986" y="207"/>
                  </a:cubicBezTo>
                  <a:cubicBezTo>
                    <a:pt x="987" y="203"/>
                    <a:pt x="988" y="201"/>
                    <a:pt x="990" y="200"/>
                  </a:cubicBezTo>
                  <a:cubicBezTo>
                    <a:pt x="991" y="200"/>
                    <a:pt x="991" y="200"/>
                    <a:pt x="992" y="200"/>
                  </a:cubicBezTo>
                  <a:cubicBezTo>
                    <a:pt x="992" y="200"/>
                    <a:pt x="992" y="200"/>
                    <a:pt x="993" y="200"/>
                  </a:cubicBezTo>
                  <a:cubicBezTo>
                    <a:pt x="994" y="200"/>
                    <a:pt x="994" y="200"/>
                    <a:pt x="994" y="200"/>
                  </a:cubicBezTo>
                  <a:cubicBezTo>
                    <a:pt x="991" y="197"/>
                    <a:pt x="988" y="195"/>
                    <a:pt x="985" y="192"/>
                  </a:cubicBezTo>
                  <a:cubicBezTo>
                    <a:pt x="984" y="192"/>
                    <a:pt x="983" y="191"/>
                    <a:pt x="983" y="190"/>
                  </a:cubicBezTo>
                  <a:cubicBezTo>
                    <a:pt x="982" y="190"/>
                    <a:pt x="982" y="189"/>
                    <a:pt x="981" y="188"/>
                  </a:cubicBezTo>
                  <a:cubicBezTo>
                    <a:pt x="981" y="189"/>
                    <a:pt x="980" y="190"/>
                    <a:pt x="980" y="190"/>
                  </a:cubicBezTo>
                  <a:cubicBezTo>
                    <a:pt x="973" y="196"/>
                    <a:pt x="973" y="196"/>
                    <a:pt x="973" y="196"/>
                  </a:cubicBezTo>
                  <a:cubicBezTo>
                    <a:pt x="972" y="194"/>
                    <a:pt x="972" y="194"/>
                    <a:pt x="972" y="194"/>
                  </a:cubicBezTo>
                  <a:cubicBezTo>
                    <a:pt x="971" y="194"/>
                    <a:pt x="971" y="194"/>
                    <a:pt x="971" y="194"/>
                  </a:cubicBezTo>
                  <a:cubicBezTo>
                    <a:pt x="968" y="194"/>
                    <a:pt x="968" y="194"/>
                    <a:pt x="968" y="194"/>
                  </a:cubicBezTo>
                  <a:cubicBezTo>
                    <a:pt x="967" y="194"/>
                    <a:pt x="967" y="194"/>
                    <a:pt x="967" y="194"/>
                  </a:cubicBezTo>
                  <a:cubicBezTo>
                    <a:pt x="965" y="192"/>
                    <a:pt x="965" y="192"/>
                    <a:pt x="965" y="192"/>
                  </a:cubicBezTo>
                  <a:cubicBezTo>
                    <a:pt x="965" y="192"/>
                    <a:pt x="965" y="192"/>
                    <a:pt x="965" y="192"/>
                  </a:cubicBezTo>
                  <a:cubicBezTo>
                    <a:pt x="964" y="192"/>
                    <a:pt x="964" y="192"/>
                    <a:pt x="964" y="192"/>
                  </a:cubicBezTo>
                  <a:cubicBezTo>
                    <a:pt x="963" y="192"/>
                    <a:pt x="963" y="192"/>
                    <a:pt x="963" y="192"/>
                  </a:cubicBezTo>
                  <a:cubicBezTo>
                    <a:pt x="950" y="191"/>
                    <a:pt x="950" y="191"/>
                    <a:pt x="950" y="191"/>
                  </a:cubicBezTo>
                  <a:cubicBezTo>
                    <a:pt x="947" y="188"/>
                    <a:pt x="947" y="188"/>
                    <a:pt x="947" y="188"/>
                  </a:cubicBezTo>
                  <a:cubicBezTo>
                    <a:pt x="948" y="188"/>
                    <a:pt x="948" y="188"/>
                    <a:pt x="948" y="188"/>
                  </a:cubicBezTo>
                  <a:cubicBezTo>
                    <a:pt x="947" y="187"/>
                    <a:pt x="947" y="187"/>
                    <a:pt x="947" y="187"/>
                  </a:cubicBezTo>
                  <a:cubicBezTo>
                    <a:pt x="947" y="186"/>
                    <a:pt x="947" y="186"/>
                    <a:pt x="947" y="186"/>
                  </a:cubicBezTo>
                  <a:cubicBezTo>
                    <a:pt x="947" y="185"/>
                    <a:pt x="947" y="185"/>
                    <a:pt x="947" y="185"/>
                  </a:cubicBezTo>
                  <a:cubicBezTo>
                    <a:pt x="946" y="185"/>
                    <a:pt x="946" y="185"/>
                    <a:pt x="946" y="185"/>
                  </a:cubicBezTo>
                  <a:cubicBezTo>
                    <a:pt x="946" y="184"/>
                    <a:pt x="945" y="183"/>
                    <a:pt x="945" y="183"/>
                  </a:cubicBezTo>
                  <a:cubicBezTo>
                    <a:pt x="944" y="182"/>
                    <a:pt x="944" y="182"/>
                    <a:pt x="944" y="181"/>
                  </a:cubicBezTo>
                  <a:cubicBezTo>
                    <a:pt x="944" y="181"/>
                    <a:pt x="944" y="181"/>
                    <a:pt x="944" y="181"/>
                  </a:cubicBezTo>
                  <a:cubicBezTo>
                    <a:pt x="943" y="181"/>
                    <a:pt x="943" y="180"/>
                    <a:pt x="942" y="180"/>
                  </a:cubicBezTo>
                  <a:cubicBezTo>
                    <a:pt x="941" y="179"/>
                    <a:pt x="941" y="179"/>
                    <a:pt x="941" y="179"/>
                  </a:cubicBezTo>
                  <a:cubicBezTo>
                    <a:pt x="941" y="177"/>
                    <a:pt x="941" y="177"/>
                    <a:pt x="941" y="177"/>
                  </a:cubicBezTo>
                  <a:cubicBezTo>
                    <a:pt x="941" y="175"/>
                    <a:pt x="941" y="175"/>
                    <a:pt x="941" y="175"/>
                  </a:cubicBezTo>
                  <a:cubicBezTo>
                    <a:pt x="931" y="169"/>
                    <a:pt x="931" y="169"/>
                    <a:pt x="931" y="169"/>
                  </a:cubicBezTo>
                  <a:cubicBezTo>
                    <a:pt x="929" y="169"/>
                    <a:pt x="929" y="169"/>
                    <a:pt x="929" y="169"/>
                  </a:cubicBezTo>
                  <a:cubicBezTo>
                    <a:pt x="929" y="169"/>
                    <a:pt x="929" y="169"/>
                    <a:pt x="929" y="169"/>
                  </a:cubicBezTo>
                  <a:cubicBezTo>
                    <a:pt x="929" y="169"/>
                    <a:pt x="928" y="169"/>
                    <a:pt x="928" y="169"/>
                  </a:cubicBezTo>
                  <a:cubicBezTo>
                    <a:pt x="924" y="168"/>
                    <a:pt x="924" y="168"/>
                    <a:pt x="924" y="168"/>
                  </a:cubicBezTo>
                  <a:cubicBezTo>
                    <a:pt x="923" y="166"/>
                    <a:pt x="923" y="166"/>
                    <a:pt x="923" y="166"/>
                  </a:cubicBezTo>
                  <a:cubicBezTo>
                    <a:pt x="923" y="166"/>
                    <a:pt x="923" y="164"/>
                    <a:pt x="922" y="163"/>
                  </a:cubicBezTo>
                  <a:cubicBezTo>
                    <a:pt x="922" y="162"/>
                    <a:pt x="922" y="162"/>
                    <a:pt x="922" y="162"/>
                  </a:cubicBezTo>
                  <a:cubicBezTo>
                    <a:pt x="922" y="161"/>
                    <a:pt x="922" y="161"/>
                    <a:pt x="922" y="161"/>
                  </a:cubicBezTo>
                  <a:cubicBezTo>
                    <a:pt x="922" y="160"/>
                    <a:pt x="922" y="160"/>
                    <a:pt x="922" y="160"/>
                  </a:cubicBezTo>
                  <a:cubicBezTo>
                    <a:pt x="921" y="158"/>
                    <a:pt x="920" y="156"/>
                    <a:pt x="919" y="154"/>
                  </a:cubicBezTo>
                  <a:cubicBezTo>
                    <a:pt x="917" y="151"/>
                    <a:pt x="917" y="151"/>
                    <a:pt x="917" y="151"/>
                  </a:cubicBezTo>
                  <a:cubicBezTo>
                    <a:pt x="915" y="149"/>
                    <a:pt x="915" y="149"/>
                    <a:pt x="915" y="149"/>
                  </a:cubicBezTo>
                  <a:cubicBezTo>
                    <a:pt x="914" y="149"/>
                    <a:pt x="914" y="149"/>
                    <a:pt x="913" y="149"/>
                  </a:cubicBezTo>
                  <a:cubicBezTo>
                    <a:pt x="912" y="148"/>
                    <a:pt x="911" y="148"/>
                    <a:pt x="910" y="148"/>
                  </a:cubicBezTo>
                  <a:cubicBezTo>
                    <a:pt x="900" y="145"/>
                    <a:pt x="900" y="145"/>
                    <a:pt x="900" y="145"/>
                  </a:cubicBezTo>
                  <a:cubicBezTo>
                    <a:pt x="892" y="147"/>
                    <a:pt x="892" y="147"/>
                    <a:pt x="892" y="147"/>
                  </a:cubicBezTo>
                  <a:cubicBezTo>
                    <a:pt x="892" y="148"/>
                    <a:pt x="892" y="148"/>
                    <a:pt x="892" y="148"/>
                  </a:cubicBezTo>
                  <a:cubicBezTo>
                    <a:pt x="890" y="151"/>
                    <a:pt x="890" y="151"/>
                    <a:pt x="890" y="151"/>
                  </a:cubicBezTo>
                  <a:cubicBezTo>
                    <a:pt x="889" y="152"/>
                    <a:pt x="889" y="152"/>
                    <a:pt x="889" y="152"/>
                  </a:cubicBezTo>
                  <a:cubicBezTo>
                    <a:pt x="889" y="152"/>
                    <a:pt x="888" y="152"/>
                    <a:pt x="888" y="152"/>
                  </a:cubicBezTo>
                  <a:cubicBezTo>
                    <a:pt x="887" y="153"/>
                    <a:pt x="887" y="153"/>
                    <a:pt x="886" y="153"/>
                  </a:cubicBezTo>
                  <a:cubicBezTo>
                    <a:pt x="886" y="153"/>
                    <a:pt x="886" y="153"/>
                    <a:pt x="886" y="153"/>
                  </a:cubicBezTo>
                  <a:cubicBezTo>
                    <a:pt x="884" y="154"/>
                    <a:pt x="884" y="154"/>
                    <a:pt x="884" y="154"/>
                  </a:cubicBezTo>
                  <a:cubicBezTo>
                    <a:pt x="883" y="154"/>
                    <a:pt x="883" y="154"/>
                    <a:pt x="883" y="154"/>
                  </a:cubicBezTo>
                  <a:cubicBezTo>
                    <a:pt x="880" y="154"/>
                    <a:pt x="880" y="154"/>
                    <a:pt x="880" y="154"/>
                  </a:cubicBezTo>
                  <a:cubicBezTo>
                    <a:pt x="868" y="153"/>
                    <a:pt x="868" y="153"/>
                    <a:pt x="868" y="153"/>
                  </a:cubicBezTo>
                  <a:cubicBezTo>
                    <a:pt x="868" y="153"/>
                    <a:pt x="868" y="153"/>
                    <a:pt x="868" y="153"/>
                  </a:cubicBezTo>
                  <a:cubicBezTo>
                    <a:pt x="867" y="153"/>
                    <a:pt x="866" y="153"/>
                    <a:pt x="865" y="153"/>
                  </a:cubicBezTo>
                  <a:cubicBezTo>
                    <a:pt x="865" y="153"/>
                    <a:pt x="864" y="153"/>
                    <a:pt x="863" y="154"/>
                  </a:cubicBezTo>
                  <a:cubicBezTo>
                    <a:pt x="863" y="154"/>
                    <a:pt x="863" y="154"/>
                    <a:pt x="863" y="154"/>
                  </a:cubicBezTo>
                  <a:cubicBezTo>
                    <a:pt x="862" y="154"/>
                    <a:pt x="861" y="154"/>
                    <a:pt x="861" y="154"/>
                  </a:cubicBezTo>
                  <a:cubicBezTo>
                    <a:pt x="861" y="154"/>
                    <a:pt x="860" y="154"/>
                    <a:pt x="860" y="154"/>
                  </a:cubicBezTo>
                  <a:cubicBezTo>
                    <a:pt x="857" y="153"/>
                    <a:pt x="857" y="153"/>
                    <a:pt x="857" y="153"/>
                  </a:cubicBezTo>
                  <a:cubicBezTo>
                    <a:pt x="856" y="153"/>
                    <a:pt x="856" y="153"/>
                    <a:pt x="856" y="153"/>
                  </a:cubicBezTo>
                  <a:cubicBezTo>
                    <a:pt x="855" y="152"/>
                    <a:pt x="855" y="152"/>
                    <a:pt x="855" y="152"/>
                  </a:cubicBezTo>
                  <a:cubicBezTo>
                    <a:pt x="854" y="152"/>
                    <a:pt x="852" y="150"/>
                    <a:pt x="851" y="149"/>
                  </a:cubicBezTo>
                  <a:cubicBezTo>
                    <a:pt x="850" y="148"/>
                    <a:pt x="850" y="148"/>
                    <a:pt x="849" y="147"/>
                  </a:cubicBezTo>
                  <a:cubicBezTo>
                    <a:pt x="846" y="147"/>
                    <a:pt x="846" y="147"/>
                    <a:pt x="846" y="147"/>
                  </a:cubicBezTo>
                  <a:cubicBezTo>
                    <a:pt x="845" y="144"/>
                    <a:pt x="845" y="144"/>
                    <a:pt x="845" y="144"/>
                  </a:cubicBezTo>
                  <a:cubicBezTo>
                    <a:pt x="845" y="143"/>
                    <a:pt x="845" y="143"/>
                    <a:pt x="845" y="143"/>
                  </a:cubicBezTo>
                  <a:cubicBezTo>
                    <a:pt x="845" y="142"/>
                    <a:pt x="845" y="142"/>
                    <a:pt x="845" y="141"/>
                  </a:cubicBezTo>
                  <a:cubicBezTo>
                    <a:pt x="845" y="140"/>
                    <a:pt x="846" y="139"/>
                    <a:pt x="846" y="138"/>
                  </a:cubicBezTo>
                  <a:cubicBezTo>
                    <a:pt x="840" y="136"/>
                    <a:pt x="840" y="136"/>
                    <a:pt x="840" y="136"/>
                  </a:cubicBezTo>
                  <a:cubicBezTo>
                    <a:pt x="839" y="137"/>
                    <a:pt x="839" y="137"/>
                    <a:pt x="839" y="137"/>
                  </a:cubicBezTo>
                  <a:cubicBezTo>
                    <a:pt x="837" y="138"/>
                    <a:pt x="837" y="138"/>
                    <a:pt x="837" y="138"/>
                  </a:cubicBezTo>
                  <a:cubicBezTo>
                    <a:pt x="837" y="138"/>
                    <a:pt x="837" y="138"/>
                    <a:pt x="836" y="138"/>
                  </a:cubicBezTo>
                  <a:cubicBezTo>
                    <a:pt x="836" y="138"/>
                    <a:pt x="836" y="138"/>
                    <a:pt x="836" y="138"/>
                  </a:cubicBezTo>
                  <a:cubicBezTo>
                    <a:pt x="836" y="138"/>
                    <a:pt x="836" y="138"/>
                    <a:pt x="836" y="138"/>
                  </a:cubicBezTo>
                  <a:cubicBezTo>
                    <a:pt x="837" y="140"/>
                    <a:pt x="837" y="141"/>
                    <a:pt x="836" y="142"/>
                  </a:cubicBezTo>
                  <a:cubicBezTo>
                    <a:pt x="836" y="143"/>
                    <a:pt x="836" y="143"/>
                    <a:pt x="836" y="143"/>
                  </a:cubicBezTo>
                  <a:cubicBezTo>
                    <a:pt x="836" y="144"/>
                    <a:pt x="836" y="144"/>
                    <a:pt x="836" y="144"/>
                  </a:cubicBezTo>
                  <a:cubicBezTo>
                    <a:pt x="843" y="149"/>
                    <a:pt x="843" y="149"/>
                    <a:pt x="843" y="149"/>
                  </a:cubicBezTo>
                  <a:cubicBezTo>
                    <a:pt x="835" y="145"/>
                    <a:pt x="835" y="145"/>
                    <a:pt x="835" y="145"/>
                  </a:cubicBezTo>
                  <a:cubicBezTo>
                    <a:pt x="834" y="146"/>
                    <a:pt x="834" y="146"/>
                    <a:pt x="834" y="146"/>
                  </a:cubicBezTo>
                  <a:cubicBezTo>
                    <a:pt x="831" y="148"/>
                    <a:pt x="831" y="148"/>
                    <a:pt x="831" y="148"/>
                  </a:cubicBezTo>
                  <a:cubicBezTo>
                    <a:pt x="830" y="148"/>
                    <a:pt x="830" y="148"/>
                    <a:pt x="830" y="148"/>
                  </a:cubicBezTo>
                  <a:cubicBezTo>
                    <a:pt x="830" y="148"/>
                    <a:pt x="830" y="148"/>
                    <a:pt x="829" y="148"/>
                  </a:cubicBezTo>
                  <a:cubicBezTo>
                    <a:pt x="829" y="148"/>
                    <a:pt x="829" y="148"/>
                    <a:pt x="829" y="148"/>
                  </a:cubicBezTo>
                  <a:cubicBezTo>
                    <a:pt x="829" y="148"/>
                    <a:pt x="829" y="148"/>
                    <a:pt x="829" y="148"/>
                  </a:cubicBezTo>
                  <a:cubicBezTo>
                    <a:pt x="829" y="149"/>
                    <a:pt x="828" y="150"/>
                    <a:pt x="827" y="150"/>
                  </a:cubicBezTo>
                  <a:cubicBezTo>
                    <a:pt x="827" y="152"/>
                    <a:pt x="827" y="152"/>
                    <a:pt x="827" y="152"/>
                  </a:cubicBezTo>
                  <a:cubicBezTo>
                    <a:pt x="824" y="153"/>
                    <a:pt x="824" y="153"/>
                    <a:pt x="824" y="153"/>
                  </a:cubicBezTo>
                  <a:cubicBezTo>
                    <a:pt x="823" y="153"/>
                    <a:pt x="823" y="153"/>
                    <a:pt x="823" y="153"/>
                  </a:cubicBezTo>
                  <a:cubicBezTo>
                    <a:pt x="821" y="152"/>
                    <a:pt x="821" y="152"/>
                    <a:pt x="821" y="152"/>
                  </a:cubicBezTo>
                  <a:cubicBezTo>
                    <a:pt x="820" y="150"/>
                    <a:pt x="820" y="150"/>
                    <a:pt x="820" y="150"/>
                  </a:cubicBezTo>
                  <a:cubicBezTo>
                    <a:pt x="816" y="146"/>
                    <a:pt x="816" y="146"/>
                    <a:pt x="816" y="146"/>
                  </a:cubicBezTo>
                  <a:cubicBezTo>
                    <a:pt x="817" y="146"/>
                    <a:pt x="817" y="146"/>
                    <a:pt x="817" y="146"/>
                  </a:cubicBezTo>
                  <a:cubicBezTo>
                    <a:pt x="812" y="138"/>
                    <a:pt x="807" y="130"/>
                    <a:pt x="803" y="123"/>
                  </a:cubicBezTo>
                  <a:cubicBezTo>
                    <a:pt x="800" y="118"/>
                    <a:pt x="800" y="118"/>
                    <a:pt x="800" y="118"/>
                  </a:cubicBezTo>
                  <a:cubicBezTo>
                    <a:pt x="795" y="110"/>
                    <a:pt x="789" y="101"/>
                    <a:pt x="784" y="93"/>
                  </a:cubicBezTo>
                  <a:cubicBezTo>
                    <a:pt x="778" y="84"/>
                    <a:pt x="778" y="84"/>
                    <a:pt x="778" y="84"/>
                  </a:cubicBezTo>
                  <a:cubicBezTo>
                    <a:pt x="768" y="71"/>
                    <a:pt x="768" y="71"/>
                    <a:pt x="768" y="71"/>
                  </a:cubicBezTo>
                  <a:cubicBezTo>
                    <a:pt x="765" y="68"/>
                    <a:pt x="763" y="65"/>
                    <a:pt x="760" y="63"/>
                  </a:cubicBezTo>
                  <a:cubicBezTo>
                    <a:pt x="746" y="53"/>
                    <a:pt x="746" y="53"/>
                    <a:pt x="746" y="53"/>
                  </a:cubicBezTo>
                  <a:cubicBezTo>
                    <a:pt x="740" y="48"/>
                    <a:pt x="740" y="48"/>
                    <a:pt x="740" y="48"/>
                  </a:cubicBezTo>
                  <a:cubicBezTo>
                    <a:pt x="739" y="47"/>
                    <a:pt x="737" y="45"/>
                    <a:pt x="735" y="44"/>
                  </a:cubicBezTo>
                  <a:cubicBezTo>
                    <a:pt x="729" y="37"/>
                    <a:pt x="729" y="37"/>
                    <a:pt x="729" y="37"/>
                  </a:cubicBezTo>
                  <a:cubicBezTo>
                    <a:pt x="719" y="41"/>
                    <a:pt x="719" y="41"/>
                    <a:pt x="719" y="41"/>
                  </a:cubicBezTo>
                  <a:cubicBezTo>
                    <a:pt x="715" y="42"/>
                    <a:pt x="712" y="44"/>
                    <a:pt x="709" y="46"/>
                  </a:cubicBezTo>
                  <a:cubicBezTo>
                    <a:pt x="708" y="46"/>
                    <a:pt x="708" y="46"/>
                    <a:pt x="708" y="46"/>
                  </a:cubicBezTo>
                  <a:cubicBezTo>
                    <a:pt x="705" y="48"/>
                    <a:pt x="702" y="50"/>
                    <a:pt x="698" y="51"/>
                  </a:cubicBezTo>
                  <a:cubicBezTo>
                    <a:pt x="688" y="55"/>
                    <a:pt x="688" y="55"/>
                    <a:pt x="688" y="55"/>
                  </a:cubicBezTo>
                  <a:cubicBezTo>
                    <a:pt x="688" y="56"/>
                    <a:pt x="688" y="56"/>
                    <a:pt x="688" y="56"/>
                  </a:cubicBezTo>
                  <a:cubicBezTo>
                    <a:pt x="688" y="57"/>
                    <a:pt x="688" y="57"/>
                    <a:pt x="687" y="58"/>
                  </a:cubicBezTo>
                  <a:cubicBezTo>
                    <a:pt x="687" y="61"/>
                    <a:pt x="687" y="61"/>
                    <a:pt x="687" y="61"/>
                  </a:cubicBezTo>
                  <a:cubicBezTo>
                    <a:pt x="683" y="64"/>
                    <a:pt x="683" y="64"/>
                    <a:pt x="683" y="64"/>
                  </a:cubicBezTo>
                  <a:cubicBezTo>
                    <a:pt x="679" y="61"/>
                    <a:pt x="679" y="61"/>
                    <a:pt x="679" y="61"/>
                  </a:cubicBezTo>
                  <a:cubicBezTo>
                    <a:pt x="679" y="61"/>
                    <a:pt x="678" y="61"/>
                    <a:pt x="678" y="61"/>
                  </a:cubicBezTo>
                  <a:cubicBezTo>
                    <a:pt x="676" y="60"/>
                    <a:pt x="676" y="60"/>
                    <a:pt x="676" y="60"/>
                  </a:cubicBezTo>
                  <a:cubicBezTo>
                    <a:pt x="670" y="60"/>
                    <a:pt x="670" y="60"/>
                    <a:pt x="670" y="60"/>
                  </a:cubicBezTo>
                  <a:cubicBezTo>
                    <a:pt x="670" y="60"/>
                    <a:pt x="670" y="60"/>
                    <a:pt x="669" y="60"/>
                  </a:cubicBezTo>
                  <a:cubicBezTo>
                    <a:pt x="668" y="60"/>
                    <a:pt x="667" y="60"/>
                    <a:pt x="666" y="61"/>
                  </a:cubicBezTo>
                  <a:cubicBezTo>
                    <a:pt x="659" y="66"/>
                    <a:pt x="659" y="66"/>
                    <a:pt x="659" y="66"/>
                  </a:cubicBezTo>
                  <a:cubicBezTo>
                    <a:pt x="652" y="54"/>
                    <a:pt x="652" y="54"/>
                    <a:pt x="652" y="54"/>
                  </a:cubicBezTo>
                  <a:cubicBezTo>
                    <a:pt x="654" y="51"/>
                    <a:pt x="654" y="51"/>
                    <a:pt x="654" y="51"/>
                  </a:cubicBezTo>
                  <a:cubicBezTo>
                    <a:pt x="654" y="49"/>
                    <a:pt x="656" y="48"/>
                    <a:pt x="657" y="47"/>
                  </a:cubicBezTo>
                  <a:cubicBezTo>
                    <a:pt x="658" y="45"/>
                    <a:pt x="658" y="45"/>
                    <a:pt x="658" y="45"/>
                  </a:cubicBezTo>
                  <a:cubicBezTo>
                    <a:pt x="652" y="46"/>
                    <a:pt x="652" y="46"/>
                    <a:pt x="652" y="46"/>
                  </a:cubicBezTo>
                  <a:cubicBezTo>
                    <a:pt x="651" y="46"/>
                    <a:pt x="651" y="46"/>
                    <a:pt x="651" y="46"/>
                  </a:cubicBezTo>
                  <a:cubicBezTo>
                    <a:pt x="648" y="46"/>
                    <a:pt x="646" y="44"/>
                    <a:pt x="643" y="43"/>
                  </a:cubicBezTo>
                  <a:cubicBezTo>
                    <a:pt x="643" y="43"/>
                    <a:pt x="643" y="43"/>
                    <a:pt x="643" y="43"/>
                  </a:cubicBezTo>
                  <a:cubicBezTo>
                    <a:pt x="643" y="43"/>
                    <a:pt x="643" y="43"/>
                    <a:pt x="643" y="43"/>
                  </a:cubicBezTo>
                  <a:cubicBezTo>
                    <a:pt x="640" y="45"/>
                    <a:pt x="640" y="45"/>
                    <a:pt x="640" y="45"/>
                  </a:cubicBezTo>
                  <a:cubicBezTo>
                    <a:pt x="640" y="46"/>
                    <a:pt x="639" y="46"/>
                    <a:pt x="638" y="46"/>
                  </a:cubicBezTo>
                  <a:cubicBezTo>
                    <a:pt x="635" y="48"/>
                    <a:pt x="635" y="48"/>
                    <a:pt x="635" y="48"/>
                  </a:cubicBezTo>
                  <a:cubicBezTo>
                    <a:pt x="629" y="50"/>
                    <a:pt x="629" y="50"/>
                    <a:pt x="629" y="50"/>
                  </a:cubicBezTo>
                  <a:cubicBezTo>
                    <a:pt x="631" y="44"/>
                    <a:pt x="631" y="44"/>
                    <a:pt x="631" y="44"/>
                  </a:cubicBezTo>
                  <a:cubicBezTo>
                    <a:pt x="631" y="44"/>
                    <a:pt x="632" y="43"/>
                    <a:pt x="632" y="43"/>
                  </a:cubicBezTo>
                  <a:cubicBezTo>
                    <a:pt x="631" y="42"/>
                    <a:pt x="631" y="42"/>
                    <a:pt x="631" y="42"/>
                  </a:cubicBezTo>
                  <a:cubicBezTo>
                    <a:pt x="631" y="41"/>
                    <a:pt x="631" y="41"/>
                    <a:pt x="631" y="41"/>
                  </a:cubicBezTo>
                  <a:cubicBezTo>
                    <a:pt x="631" y="41"/>
                    <a:pt x="631" y="40"/>
                    <a:pt x="631" y="39"/>
                  </a:cubicBezTo>
                  <a:cubicBezTo>
                    <a:pt x="629" y="42"/>
                    <a:pt x="629" y="42"/>
                    <a:pt x="629" y="42"/>
                  </a:cubicBezTo>
                  <a:cubicBezTo>
                    <a:pt x="625" y="40"/>
                    <a:pt x="625" y="40"/>
                    <a:pt x="625" y="40"/>
                  </a:cubicBezTo>
                  <a:cubicBezTo>
                    <a:pt x="624" y="40"/>
                    <a:pt x="624" y="40"/>
                    <a:pt x="624" y="39"/>
                  </a:cubicBezTo>
                  <a:cubicBezTo>
                    <a:pt x="623" y="40"/>
                    <a:pt x="623" y="40"/>
                    <a:pt x="623" y="40"/>
                  </a:cubicBezTo>
                  <a:cubicBezTo>
                    <a:pt x="618" y="41"/>
                    <a:pt x="618" y="41"/>
                    <a:pt x="618" y="41"/>
                  </a:cubicBezTo>
                  <a:cubicBezTo>
                    <a:pt x="614" y="42"/>
                    <a:pt x="614" y="42"/>
                    <a:pt x="614" y="42"/>
                  </a:cubicBezTo>
                  <a:cubicBezTo>
                    <a:pt x="612" y="42"/>
                    <a:pt x="611" y="42"/>
                    <a:pt x="609" y="42"/>
                  </a:cubicBezTo>
                  <a:cubicBezTo>
                    <a:pt x="609" y="42"/>
                    <a:pt x="608" y="42"/>
                    <a:pt x="608" y="42"/>
                  </a:cubicBezTo>
                  <a:cubicBezTo>
                    <a:pt x="607" y="42"/>
                    <a:pt x="607" y="42"/>
                    <a:pt x="607" y="42"/>
                  </a:cubicBezTo>
                  <a:cubicBezTo>
                    <a:pt x="605" y="42"/>
                    <a:pt x="605" y="42"/>
                    <a:pt x="605" y="42"/>
                  </a:cubicBezTo>
                  <a:cubicBezTo>
                    <a:pt x="602" y="41"/>
                    <a:pt x="602" y="41"/>
                    <a:pt x="602" y="41"/>
                  </a:cubicBezTo>
                  <a:cubicBezTo>
                    <a:pt x="601" y="39"/>
                    <a:pt x="601" y="39"/>
                    <a:pt x="601" y="39"/>
                  </a:cubicBezTo>
                  <a:cubicBezTo>
                    <a:pt x="600" y="39"/>
                    <a:pt x="600" y="39"/>
                    <a:pt x="600" y="39"/>
                  </a:cubicBezTo>
                  <a:cubicBezTo>
                    <a:pt x="599" y="38"/>
                    <a:pt x="599" y="38"/>
                    <a:pt x="599" y="38"/>
                  </a:cubicBezTo>
                  <a:cubicBezTo>
                    <a:pt x="599" y="37"/>
                    <a:pt x="599" y="37"/>
                    <a:pt x="599" y="37"/>
                  </a:cubicBezTo>
                  <a:cubicBezTo>
                    <a:pt x="598" y="36"/>
                    <a:pt x="598" y="36"/>
                    <a:pt x="598" y="35"/>
                  </a:cubicBezTo>
                  <a:cubicBezTo>
                    <a:pt x="597" y="34"/>
                    <a:pt x="597" y="34"/>
                    <a:pt x="597" y="33"/>
                  </a:cubicBezTo>
                  <a:cubicBezTo>
                    <a:pt x="597" y="32"/>
                    <a:pt x="597" y="32"/>
                    <a:pt x="597" y="32"/>
                  </a:cubicBezTo>
                  <a:cubicBezTo>
                    <a:pt x="597" y="30"/>
                    <a:pt x="597" y="30"/>
                    <a:pt x="597" y="30"/>
                  </a:cubicBezTo>
                  <a:cubicBezTo>
                    <a:pt x="598" y="28"/>
                    <a:pt x="598" y="28"/>
                    <a:pt x="598" y="28"/>
                  </a:cubicBezTo>
                  <a:cubicBezTo>
                    <a:pt x="600" y="28"/>
                    <a:pt x="600" y="28"/>
                    <a:pt x="600" y="28"/>
                  </a:cubicBezTo>
                  <a:cubicBezTo>
                    <a:pt x="601" y="28"/>
                    <a:pt x="601" y="28"/>
                    <a:pt x="601" y="28"/>
                  </a:cubicBezTo>
                  <a:cubicBezTo>
                    <a:pt x="601" y="28"/>
                    <a:pt x="601" y="28"/>
                    <a:pt x="601" y="28"/>
                  </a:cubicBezTo>
                  <a:cubicBezTo>
                    <a:pt x="601" y="28"/>
                    <a:pt x="601" y="28"/>
                    <a:pt x="602" y="28"/>
                  </a:cubicBezTo>
                  <a:cubicBezTo>
                    <a:pt x="601" y="26"/>
                    <a:pt x="601" y="26"/>
                    <a:pt x="601" y="26"/>
                  </a:cubicBezTo>
                  <a:cubicBezTo>
                    <a:pt x="601" y="22"/>
                    <a:pt x="601" y="22"/>
                    <a:pt x="601" y="22"/>
                  </a:cubicBezTo>
                  <a:cubicBezTo>
                    <a:pt x="603" y="19"/>
                    <a:pt x="603" y="19"/>
                    <a:pt x="603" y="19"/>
                  </a:cubicBezTo>
                  <a:cubicBezTo>
                    <a:pt x="602" y="17"/>
                    <a:pt x="602" y="17"/>
                    <a:pt x="602" y="17"/>
                  </a:cubicBezTo>
                  <a:cubicBezTo>
                    <a:pt x="599" y="11"/>
                    <a:pt x="599" y="11"/>
                    <a:pt x="599" y="11"/>
                  </a:cubicBezTo>
                  <a:cubicBezTo>
                    <a:pt x="597" y="8"/>
                    <a:pt x="595" y="5"/>
                    <a:pt x="593" y="1"/>
                  </a:cubicBezTo>
                  <a:cubicBezTo>
                    <a:pt x="593" y="1"/>
                    <a:pt x="593" y="1"/>
                    <a:pt x="593" y="1"/>
                  </a:cubicBezTo>
                  <a:cubicBezTo>
                    <a:pt x="590" y="1"/>
                    <a:pt x="590" y="1"/>
                    <a:pt x="590" y="1"/>
                  </a:cubicBezTo>
                  <a:cubicBezTo>
                    <a:pt x="587" y="3"/>
                    <a:pt x="585" y="5"/>
                    <a:pt x="584" y="5"/>
                  </a:cubicBezTo>
                  <a:cubicBezTo>
                    <a:pt x="583" y="6"/>
                    <a:pt x="583" y="6"/>
                    <a:pt x="583" y="6"/>
                  </a:cubicBezTo>
                  <a:cubicBezTo>
                    <a:pt x="580" y="7"/>
                    <a:pt x="580" y="7"/>
                    <a:pt x="580" y="7"/>
                  </a:cubicBezTo>
                  <a:cubicBezTo>
                    <a:pt x="578" y="6"/>
                    <a:pt x="578" y="6"/>
                    <a:pt x="578" y="6"/>
                  </a:cubicBezTo>
                  <a:cubicBezTo>
                    <a:pt x="576" y="6"/>
                    <a:pt x="574" y="5"/>
                    <a:pt x="573" y="5"/>
                  </a:cubicBezTo>
                  <a:cubicBezTo>
                    <a:pt x="573" y="4"/>
                    <a:pt x="573" y="4"/>
                    <a:pt x="573" y="4"/>
                  </a:cubicBezTo>
                  <a:cubicBezTo>
                    <a:pt x="571" y="3"/>
                    <a:pt x="569" y="2"/>
                    <a:pt x="568" y="1"/>
                  </a:cubicBezTo>
                  <a:cubicBezTo>
                    <a:pt x="567" y="0"/>
                    <a:pt x="567" y="0"/>
                    <a:pt x="567" y="0"/>
                  </a:cubicBezTo>
                  <a:cubicBezTo>
                    <a:pt x="566" y="0"/>
                    <a:pt x="566" y="0"/>
                    <a:pt x="566" y="0"/>
                  </a:cubicBezTo>
                  <a:cubicBezTo>
                    <a:pt x="558" y="0"/>
                    <a:pt x="558" y="0"/>
                    <a:pt x="5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488"/>
            <p:cNvSpPr/>
            <p:nvPr/>
          </p:nvSpPr>
          <p:spPr bwMode="auto">
            <a:xfrm>
              <a:off x="3617284" y="1129569"/>
              <a:ext cx="9402" cy="6716"/>
            </a:xfrm>
            <a:custGeom>
              <a:gdLst>
                <a:gd name="T0" fmla="*/ 3 w 3"/>
                <a:gd name="T1" fmla="*/ 0 h 2"/>
                <a:gd name="T2" fmla="*/ 0 w 3"/>
                <a:gd name="T3" fmla="*/ 1 h 2"/>
                <a:gd name="T4" fmla="*/ 3 w 3"/>
                <a:gd name="T5" fmla="*/ 2 h 2"/>
                <a:gd name="T6" fmla="*/ 3 w 3"/>
                <a:gd name="T7" fmla="*/ 1 h 2"/>
                <a:gd name="T8" fmla="*/ 3 w 3"/>
                <a:gd name="T9" fmla="*/ 1 h 2"/>
                <a:gd name="T10" fmla="*/ 3 w 3"/>
                <a:gd name="T11" fmla="*/ 0 h 2"/>
              </a:gdLst>
              <a:cxnLst>
                <a:cxn ang="0">
                  <a:pos x="T0" y="T1"/>
                </a:cxn>
                <a:cxn ang="0">
                  <a:pos x="T2" y="T3"/>
                </a:cxn>
                <a:cxn ang="0">
                  <a:pos x="T4" y="T5"/>
                </a:cxn>
                <a:cxn ang="0">
                  <a:pos x="T6" y="T7"/>
                </a:cxn>
                <a:cxn ang="0">
                  <a:pos x="T8" y="T9"/>
                </a:cxn>
                <a:cxn ang="0">
                  <a:pos x="T10" y="T11"/>
                </a:cxn>
              </a:cxnLst>
              <a:rect l="0" t="0" r="r" b="b"/>
              <a:pathLst>
                <a:path w="3" h="2">
                  <a:moveTo>
                    <a:pt x="3" y="0"/>
                  </a:moveTo>
                  <a:cubicBezTo>
                    <a:pt x="0" y="1"/>
                    <a:pt x="0" y="1"/>
                    <a:pt x="0" y="1"/>
                  </a:cubicBezTo>
                  <a:cubicBezTo>
                    <a:pt x="1" y="1"/>
                    <a:pt x="2" y="1"/>
                    <a:pt x="3" y="2"/>
                  </a:cubicBezTo>
                  <a:cubicBezTo>
                    <a:pt x="3" y="1"/>
                    <a:pt x="3" y="1"/>
                    <a:pt x="3" y="1"/>
                  </a:cubicBezTo>
                  <a:cubicBezTo>
                    <a:pt x="3" y="1"/>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Rectangle 489"/>
            <p:cNvSpPr>
              <a:spLocks noChangeArrowheads="1"/>
            </p:cNvSpPr>
            <p:nvPr/>
          </p:nvSpPr>
          <p:spPr bwMode="auto">
            <a:xfrm>
              <a:off x="1614683" y="1412968"/>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490"/>
            <p:cNvSpPr/>
            <p:nvPr/>
          </p:nvSpPr>
          <p:spPr bwMode="auto">
            <a:xfrm flipH="1">
              <a:off x="1614683" y="141296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Rectangle 491"/>
            <p:cNvSpPr>
              <a:spLocks noChangeArrowheads="1"/>
            </p:cNvSpPr>
            <p:nvPr/>
          </p:nvSpPr>
          <p:spPr bwMode="auto">
            <a:xfrm>
              <a:off x="6698414" y="1806504"/>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492"/>
            <p:cNvSpPr/>
            <p:nvPr/>
          </p:nvSpPr>
          <p:spPr bwMode="auto">
            <a:xfrm flipH="1">
              <a:off x="6698414" y="1806504"/>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493"/>
            <p:cNvSpPr/>
            <p:nvPr/>
          </p:nvSpPr>
          <p:spPr bwMode="auto">
            <a:xfrm>
              <a:off x="4483600" y="1676221"/>
              <a:ext cx="9402" cy="6716"/>
            </a:xfrm>
            <a:custGeom>
              <a:gdLst>
                <a:gd name="T0" fmla="*/ 3 w 3"/>
                <a:gd name="T1" fmla="*/ 0 h 2"/>
                <a:gd name="T2" fmla="*/ 0 w 3"/>
                <a:gd name="T3" fmla="*/ 0 h 2"/>
                <a:gd name="T4" fmla="*/ 0 w 3"/>
                <a:gd name="T5" fmla="*/ 0 h 2"/>
                <a:gd name="T6" fmla="*/ 2 w 3"/>
                <a:gd name="T7" fmla="*/ 2 h 2"/>
                <a:gd name="T8" fmla="*/ 2 w 3"/>
                <a:gd name="T9" fmla="*/ 0 h 2"/>
                <a:gd name="T10" fmla="*/ 3 w 3"/>
                <a:gd name="T11" fmla="*/ 0 h 2"/>
              </a:gdLst>
              <a:cxnLst>
                <a:cxn ang="0">
                  <a:pos x="T0" y="T1"/>
                </a:cxn>
                <a:cxn ang="0">
                  <a:pos x="T2" y="T3"/>
                </a:cxn>
                <a:cxn ang="0">
                  <a:pos x="T4" y="T5"/>
                </a:cxn>
                <a:cxn ang="0">
                  <a:pos x="T6" y="T7"/>
                </a:cxn>
                <a:cxn ang="0">
                  <a:pos x="T8" y="T9"/>
                </a:cxn>
                <a:cxn ang="0">
                  <a:pos x="T10" y="T11"/>
                </a:cxn>
              </a:cxnLst>
              <a:rect l="0" t="0" r="r" b="b"/>
              <a:pathLst>
                <a:path w="3" h="2">
                  <a:moveTo>
                    <a:pt x="3" y="0"/>
                  </a:moveTo>
                  <a:cubicBezTo>
                    <a:pt x="2" y="0"/>
                    <a:pt x="1" y="0"/>
                    <a:pt x="0" y="0"/>
                  </a:cubicBezTo>
                  <a:cubicBezTo>
                    <a:pt x="0" y="0"/>
                    <a:pt x="0" y="0"/>
                    <a:pt x="0" y="0"/>
                  </a:cubicBezTo>
                  <a:cubicBezTo>
                    <a:pt x="2" y="2"/>
                    <a:pt x="2" y="2"/>
                    <a:pt x="2" y="2"/>
                  </a:cubicBezTo>
                  <a:cubicBezTo>
                    <a:pt x="2" y="1"/>
                    <a:pt x="2" y="1"/>
                    <a:pt x="2"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494"/>
            <p:cNvSpPr>
              <a:spLocks noEditPoints="1"/>
            </p:cNvSpPr>
            <p:nvPr/>
          </p:nvSpPr>
          <p:spPr bwMode="auto">
            <a:xfrm>
              <a:off x="3401040" y="1219558"/>
              <a:ext cx="4757351" cy="3031435"/>
            </a:xfrm>
            <a:custGeom>
              <a:gdLst>
                <a:gd name="T0" fmla="*/ 143 w 1499"/>
                <a:gd name="T1" fmla="*/ 576 h 955"/>
                <a:gd name="T2" fmla="*/ 1219 w 1499"/>
                <a:gd name="T3" fmla="*/ 0 h 955"/>
                <a:gd name="T4" fmla="*/ 1156 w 1499"/>
                <a:gd name="T5" fmla="*/ 27 h 955"/>
                <a:gd name="T6" fmla="*/ 1114 w 1499"/>
                <a:gd name="T7" fmla="*/ 117 h 955"/>
                <a:gd name="T8" fmla="*/ 1069 w 1499"/>
                <a:gd name="T9" fmla="*/ 182 h 955"/>
                <a:gd name="T10" fmla="*/ 1102 w 1499"/>
                <a:gd name="T11" fmla="*/ 221 h 955"/>
                <a:gd name="T12" fmla="*/ 1005 w 1499"/>
                <a:gd name="T13" fmla="*/ 263 h 955"/>
                <a:gd name="T14" fmla="*/ 928 w 1499"/>
                <a:gd name="T15" fmla="*/ 318 h 955"/>
                <a:gd name="T16" fmla="*/ 795 w 1499"/>
                <a:gd name="T17" fmla="*/ 362 h 955"/>
                <a:gd name="T18" fmla="*/ 692 w 1499"/>
                <a:gd name="T19" fmla="*/ 355 h 955"/>
                <a:gd name="T20" fmla="*/ 552 w 1499"/>
                <a:gd name="T21" fmla="*/ 335 h 955"/>
                <a:gd name="T22" fmla="*/ 424 w 1499"/>
                <a:gd name="T23" fmla="*/ 267 h 955"/>
                <a:gd name="T24" fmla="*/ 388 w 1499"/>
                <a:gd name="T25" fmla="*/ 181 h 955"/>
                <a:gd name="T26" fmla="*/ 326 w 1499"/>
                <a:gd name="T27" fmla="*/ 145 h 955"/>
                <a:gd name="T28" fmla="*/ 231 w 1499"/>
                <a:gd name="T29" fmla="*/ 204 h 955"/>
                <a:gd name="T30" fmla="*/ 170 w 1499"/>
                <a:gd name="T31" fmla="*/ 305 h 955"/>
                <a:gd name="T32" fmla="*/ 117 w 1499"/>
                <a:gd name="T33" fmla="*/ 382 h 955"/>
                <a:gd name="T34" fmla="*/ 56 w 1499"/>
                <a:gd name="T35" fmla="*/ 411 h 955"/>
                <a:gd name="T36" fmla="*/ 1 w 1499"/>
                <a:gd name="T37" fmla="*/ 436 h 955"/>
                <a:gd name="T38" fmla="*/ 32 w 1499"/>
                <a:gd name="T39" fmla="*/ 480 h 955"/>
                <a:gd name="T40" fmla="*/ 72 w 1499"/>
                <a:gd name="T41" fmla="*/ 536 h 955"/>
                <a:gd name="T42" fmla="*/ 127 w 1499"/>
                <a:gd name="T43" fmla="*/ 582 h 955"/>
                <a:gd name="T44" fmla="*/ 119 w 1499"/>
                <a:gd name="T45" fmla="*/ 630 h 955"/>
                <a:gd name="T46" fmla="*/ 179 w 1499"/>
                <a:gd name="T47" fmla="*/ 688 h 955"/>
                <a:gd name="T48" fmla="*/ 238 w 1499"/>
                <a:gd name="T49" fmla="*/ 709 h 955"/>
                <a:gd name="T50" fmla="*/ 283 w 1499"/>
                <a:gd name="T51" fmla="*/ 740 h 955"/>
                <a:gd name="T52" fmla="*/ 363 w 1499"/>
                <a:gd name="T53" fmla="*/ 746 h 955"/>
                <a:gd name="T54" fmla="*/ 413 w 1499"/>
                <a:gd name="T55" fmla="*/ 746 h 955"/>
                <a:gd name="T56" fmla="*/ 474 w 1499"/>
                <a:gd name="T57" fmla="*/ 740 h 955"/>
                <a:gd name="T58" fmla="*/ 535 w 1499"/>
                <a:gd name="T59" fmla="*/ 718 h 955"/>
                <a:gd name="T60" fmla="*/ 580 w 1499"/>
                <a:gd name="T61" fmla="*/ 741 h 955"/>
                <a:gd name="T62" fmla="*/ 615 w 1499"/>
                <a:gd name="T63" fmla="*/ 801 h 955"/>
                <a:gd name="T64" fmla="*/ 595 w 1499"/>
                <a:gd name="T65" fmla="*/ 853 h 955"/>
                <a:gd name="T66" fmla="*/ 634 w 1499"/>
                <a:gd name="T67" fmla="*/ 889 h 955"/>
                <a:gd name="T68" fmla="*/ 677 w 1499"/>
                <a:gd name="T69" fmla="*/ 918 h 955"/>
                <a:gd name="T70" fmla="*/ 703 w 1499"/>
                <a:gd name="T71" fmla="*/ 889 h 955"/>
                <a:gd name="T72" fmla="*/ 758 w 1499"/>
                <a:gd name="T73" fmla="*/ 886 h 955"/>
                <a:gd name="T74" fmla="*/ 813 w 1499"/>
                <a:gd name="T75" fmla="*/ 895 h 955"/>
                <a:gd name="T76" fmla="*/ 856 w 1499"/>
                <a:gd name="T77" fmla="*/ 917 h 955"/>
                <a:gd name="T78" fmla="*/ 887 w 1499"/>
                <a:gd name="T79" fmla="*/ 926 h 955"/>
                <a:gd name="T80" fmla="*/ 942 w 1499"/>
                <a:gd name="T81" fmla="*/ 912 h 955"/>
                <a:gd name="T82" fmla="*/ 974 w 1499"/>
                <a:gd name="T83" fmla="*/ 886 h 955"/>
                <a:gd name="T84" fmla="*/ 1003 w 1499"/>
                <a:gd name="T85" fmla="*/ 897 h 955"/>
                <a:gd name="T86" fmla="*/ 1055 w 1499"/>
                <a:gd name="T87" fmla="*/ 876 h 955"/>
                <a:gd name="T88" fmla="*/ 1101 w 1499"/>
                <a:gd name="T89" fmla="*/ 839 h 955"/>
                <a:gd name="T90" fmla="*/ 1136 w 1499"/>
                <a:gd name="T91" fmla="*/ 795 h 955"/>
                <a:gd name="T92" fmla="*/ 1166 w 1499"/>
                <a:gd name="T93" fmla="*/ 743 h 955"/>
                <a:gd name="T94" fmla="*/ 1178 w 1499"/>
                <a:gd name="T95" fmla="*/ 711 h 955"/>
                <a:gd name="T96" fmla="*/ 1149 w 1499"/>
                <a:gd name="T97" fmla="*/ 644 h 955"/>
                <a:gd name="T98" fmla="*/ 1139 w 1499"/>
                <a:gd name="T99" fmla="*/ 539 h 955"/>
                <a:gd name="T100" fmla="*/ 1203 w 1499"/>
                <a:gd name="T101" fmla="*/ 493 h 955"/>
                <a:gd name="T102" fmla="*/ 1095 w 1499"/>
                <a:gd name="T103" fmla="*/ 472 h 955"/>
                <a:gd name="T104" fmla="*/ 1178 w 1499"/>
                <a:gd name="T105" fmla="*/ 436 h 955"/>
                <a:gd name="T106" fmla="*/ 1285 w 1499"/>
                <a:gd name="T107" fmla="*/ 389 h 955"/>
                <a:gd name="T108" fmla="*/ 1352 w 1499"/>
                <a:gd name="T109" fmla="*/ 355 h 955"/>
                <a:gd name="T110" fmla="*/ 1420 w 1499"/>
                <a:gd name="T111" fmla="*/ 267 h 955"/>
                <a:gd name="T112" fmla="*/ 1476 w 1499"/>
                <a:gd name="T113" fmla="*/ 232 h 955"/>
                <a:gd name="T114" fmla="*/ 1499 w 1499"/>
                <a:gd name="T115" fmla="*/ 167 h 955"/>
                <a:gd name="T116" fmla="*/ 1401 w 1499"/>
                <a:gd name="T117" fmla="*/ 168 h 955"/>
                <a:gd name="T118" fmla="*/ 1325 w 1499"/>
                <a:gd name="T119" fmla="*/ 123 h 955"/>
                <a:gd name="T120" fmla="*/ 1285 w 1499"/>
                <a:gd name="T121" fmla="*/ 24 h 9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99" h="955">
                  <a:moveTo>
                    <a:pt x="133" y="588"/>
                  </a:moveTo>
                  <a:cubicBezTo>
                    <a:pt x="134" y="588"/>
                    <a:pt x="134" y="588"/>
                    <a:pt x="134" y="588"/>
                  </a:cubicBezTo>
                  <a:cubicBezTo>
                    <a:pt x="133" y="588"/>
                    <a:pt x="133" y="588"/>
                    <a:pt x="133" y="588"/>
                  </a:cubicBezTo>
                  <a:moveTo>
                    <a:pt x="127" y="591"/>
                  </a:moveTo>
                  <a:cubicBezTo>
                    <a:pt x="127" y="590"/>
                    <a:pt x="127" y="590"/>
                    <a:pt x="127" y="589"/>
                  </a:cubicBezTo>
                  <a:cubicBezTo>
                    <a:pt x="127" y="589"/>
                    <a:pt x="127" y="589"/>
                    <a:pt x="127" y="589"/>
                  </a:cubicBezTo>
                  <a:cubicBezTo>
                    <a:pt x="131" y="588"/>
                    <a:pt x="131" y="588"/>
                    <a:pt x="131" y="588"/>
                  </a:cubicBezTo>
                  <a:cubicBezTo>
                    <a:pt x="132" y="588"/>
                    <a:pt x="132" y="588"/>
                    <a:pt x="132" y="588"/>
                  </a:cubicBezTo>
                  <a:cubicBezTo>
                    <a:pt x="127" y="591"/>
                    <a:pt x="127" y="591"/>
                    <a:pt x="127" y="591"/>
                  </a:cubicBezTo>
                  <a:cubicBezTo>
                    <a:pt x="127" y="591"/>
                    <a:pt x="127" y="591"/>
                    <a:pt x="127" y="591"/>
                  </a:cubicBezTo>
                  <a:moveTo>
                    <a:pt x="127" y="589"/>
                  </a:moveTo>
                  <a:cubicBezTo>
                    <a:pt x="128" y="588"/>
                    <a:pt x="128" y="588"/>
                    <a:pt x="128" y="588"/>
                  </a:cubicBezTo>
                  <a:cubicBezTo>
                    <a:pt x="128" y="588"/>
                    <a:pt x="129" y="588"/>
                    <a:pt x="129" y="588"/>
                  </a:cubicBezTo>
                  <a:cubicBezTo>
                    <a:pt x="129" y="588"/>
                    <a:pt x="130" y="588"/>
                    <a:pt x="130" y="588"/>
                  </a:cubicBezTo>
                  <a:cubicBezTo>
                    <a:pt x="130" y="588"/>
                    <a:pt x="130" y="588"/>
                    <a:pt x="130" y="588"/>
                  </a:cubicBezTo>
                  <a:cubicBezTo>
                    <a:pt x="130" y="588"/>
                    <a:pt x="129" y="588"/>
                    <a:pt x="129" y="588"/>
                  </a:cubicBezTo>
                  <a:cubicBezTo>
                    <a:pt x="129" y="588"/>
                    <a:pt x="128" y="588"/>
                    <a:pt x="128" y="588"/>
                  </a:cubicBezTo>
                  <a:cubicBezTo>
                    <a:pt x="127" y="589"/>
                    <a:pt x="127" y="589"/>
                    <a:pt x="127" y="589"/>
                  </a:cubicBezTo>
                  <a:moveTo>
                    <a:pt x="142" y="584"/>
                  </a:moveTo>
                  <a:cubicBezTo>
                    <a:pt x="142" y="583"/>
                    <a:pt x="143" y="583"/>
                    <a:pt x="143" y="582"/>
                  </a:cubicBezTo>
                  <a:cubicBezTo>
                    <a:pt x="143" y="583"/>
                    <a:pt x="142" y="583"/>
                    <a:pt x="142" y="584"/>
                  </a:cubicBezTo>
                  <a:moveTo>
                    <a:pt x="144" y="577"/>
                  </a:moveTo>
                  <a:cubicBezTo>
                    <a:pt x="144" y="577"/>
                    <a:pt x="144" y="576"/>
                    <a:pt x="144" y="576"/>
                  </a:cubicBezTo>
                  <a:cubicBezTo>
                    <a:pt x="144" y="576"/>
                    <a:pt x="144" y="577"/>
                    <a:pt x="144" y="577"/>
                  </a:cubicBezTo>
                  <a:cubicBezTo>
                    <a:pt x="144" y="577"/>
                    <a:pt x="144" y="577"/>
                    <a:pt x="144" y="577"/>
                  </a:cubicBezTo>
                  <a:cubicBezTo>
                    <a:pt x="144" y="577"/>
                    <a:pt x="144" y="577"/>
                    <a:pt x="144" y="577"/>
                  </a:cubicBezTo>
                  <a:moveTo>
                    <a:pt x="143" y="576"/>
                  </a:moveTo>
                  <a:cubicBezTo>
                    <a:pt x="143" y="576"/>
                    <a:pt x="143" y="576"/>
                    <a:pt x="143" y="576"/>
                  </a:cubicBezTo>
                  <a:cubicBezTo>
                    <a:pt x="143" y="576"/>
                    <a:pt x="143" y="576"/>
                    <a:pt x="143" y="576"/>
                  </a:cubicBezTo>
                  <a:cubicBezTo>
                    <a:pt x="143" y="576"/>
                    <a:pt x="143" y="576"/>
                    <a:pt x="143" y="576"/>
                  </a:cubicBezTo>
                  <a:moveTo>
                    <a:pt x="145" y="576"/>
                  </a:moveTo>
                  <a:cubicBezTo>
                    <a:pt x="145" y="576"/>
                    <a:pt x="145" y="576"/>
                    <a:pt x="145" y="576"/>
                  </a:cubicBezTo>
                  <a:cubicBezTo>
                    <a:pt x="145" y="576"/>
                    <a:pt x="145" y="576"/>
                    <a:pt x="145" y="576"/>
                  </a:cubicBezTo>
                  <a:cubicBezTo>
                    <a:pt x="145" y="576"/>
                    <a:pt x="145" y="576"/>
                    <a:pt x="145" y="576"/>
                  </a:cubicBezTo>
                  <a:cubicBezTo>
                    <a:pt x="145" y="576"/>
                    <a:pt x="145" y="576"/>
                    <a:pt x="145" y="576"/>
                  </a:cubicBezTo>
                  <a:moveTo>
                    <a:pt x="146" y="577"/>
                  </a:moveTo>
                  <a:cubicBezTo>
                    <a:pt x="146" y="577"/>
                    <a:pt x="147" y="576"/>
                    <a:pt x="147" y="576"/>
                  </a:cubicBezTo>
                  <a:cubicBezTo>
                    <a:pt x="147" y="576"/>
                    <a:pt x="146" y="577"/>
                    <a:pt x="146" y="577"/>
                  </a:cubicBezTo>
                  <a:cubicBezTo>
                    <a:pt x="146" y="577"/>
                    <a:pt x="146" y="577"/>
                    <a:pt x="146" y="577"/>
                  </a:cubicBezTo>
                  <a:moveTo>
                    <a:pt x="147" y="576"/>
                  </a:moveTo>
                  <a:cubicBezTo>
                    <a:pt x="147" y="576"/>
                    <a:pt x="147" y="576"/>
                    <a:pt x="147" y="576"/>
                  </a:cubicBezTo>
                  <a:cubicBezTo>
                    <a:pt x="148" y="574"/>
                    <a:pt x="149" y="573"/>
                    <a:pt x="151" y="571"/>
                  </a:cubicBezTo>
                  <a:cubicBezTo>
                    <a:pt x="153" y="569"/>
                    <a:pt x="155" y="566"/>
                    <a:pt x="157" y="563"/>
                  </a:cubicBezTo>
                  <a:cubicBezTo>
                    <a:pt x="157" y="562"/>
                    <a:pt x="158" y="561"/>
                    <a:pt x="158" y="560"/>
                  </a:cubicBezTo>
                  <a:cubicBezTo>
                    <a:pt x="159" y="559"/>
                    <a:pt x="159" y="558"/>
                    <a:pt x="160" y="557"/>
                  </a:cubicBezTo>
                  <a:cubicBezTo>
                    <a:pt x="159" y="558"/>
                    <a:pt x="159" y="559"/>
                    <a:pt x="158" y="560"/>
                  </a:cubicBezTo>
                  <a:cubicBezTo>
                    <a:pt x="158" y="561"/>
                    <a:pt x="157" y="562"/>
                    <a:pt x="157" y="563"/>
                  </a:cubicBezTo>
                  <a:cubicBezTo>
                    <a:pt x="155" y="566"/>
                    <a:pt x="153" y="569"/>
                    <a:pt x="151" y="571"/>
                  </a:cubicBezTo>
                  <a:cubicBezTo>
                    <a:pt x="149" y="573"/>
                    <a:pt x="148" y="574"/>
                    <a:pt x="147" y="576"/>
                  </a:cubicBezTo>
                  <a:cubicBezTo>
                    <a:pt x="147" y="576"/>
                    <a:pt x="147" y="576"/>
                    <a:pt x="147" y="576"/>
                  </a:cubicBezTo>
                  <a:moveTo>
                    <a:pt x="160" y="557"/>
                  </a:moveTo>
                  <a:cubicBezTo>
                    <a:pt x="161" y="554"/>
                    <a:pt x="161" y="552"/>
                    <a:pt x="162" y="550"/>
                  </a:cubicBezTo>
                  <a:cubicBezTo>
                    <a:pt x="163" y="549"/>
                    <a:pt x="163" y="549"/>
                    <a:pt x="163" y="548"/>
                  </a:cubicBezTo>
                  <a:cubicBezTo>
                    <a:pt x="163" y="549"/>
                    <a:pt x="163" y="549"/>
                    <a:pt x="162" y="550"/>
                  </a:cubicBezTo>
                  <a:cubicBezTo>
                    <a:pt x="161" y="552"/>
                    <a:pt x="161" y="554"/>
                    <a:pt x="160" y="557"/>
                  </a:cubicBezTo>
                  <a:moveTo>
                    <a:pt x="132" y="534"/>
                  </a:moveTo>
                  <a:cubicBezTo>
                    <a:pt x="133" y="534"/>
                    <a:pt x="133" y="534"/>
                    <a:pt x="133" y="534"/>
                  </a:cubicBezTo>
                  <a:cubicBezTo>
                    <a:pt x="133" y="534"/>
                    <a:pt x="133" y="534"/>
                    <a:pt x="132" y="534"/>
                  </a:cubicBezTo>
                  <a:cubicBezTo>
                    <a:pt x="132" y="534"/>
                    <a:pt x="132" y="534"/>
                    <a:pt x="132" y="534"/>
                  </a:cubicBezTo>
                  <a:moveTo>
                    <a:pt x="1219" y="0"/>
                  </a:moveTo>
                  <a:cubicBezTo>
                    <a:pt x="1219" y="1"/>
                    <a:pt x="1219" y="1"/>
                    <a:pt x="1219" y="1"/>
                  </a:cubicBezTo>
                  <a:cubicBezTo>
                    <a:pt x="1218" y="1"/>
                    <a:pt x="1218" y="1"/>
                    <a:pt x="1218" y="1"/>
                  </a:cubicBezTo>
                  <a:cubicBezTo>
                    <a:pt x="1217" y="1"/>
                    <a:pt x="1216" y="1"/>
                    <a:pt x="1215" y="1"/>
                  </a:cubicBezTo>
                  <a:cubicBezTo>
                    <a:pt x="1212" y="2"/>
                    <a:pt x="1212" y="2"/>
                    <a:pt x="1212" y="2"/>
                  </a:cubicBezTo>
                  <a:cubicBezTo>
                    <a:pt x="1209" y="3"/>
                    <a:pt x="1205" y="3"/>
                    <a:pt x="1201" y="4"/>
                  </a:cubicBezTo>
                  <a:cubicBezTo>
                    <a:pt x="1189" y="5"/>
                    <a:pt x="1189" y="5"/>
                    <a:pt x="1189" y="5"/>
                  </a:cubicBezTo>
                  <a:cubicBezTo>
                    <a:pt x="1186" y="5"/>
                    <a:pt x="1186" y="5"/>
                    <a:pt x="1186" y="5"/>
                  </a:cubicBezTo>
                  <a:cubicBezTo>
                    <a:pt x="1180" y="6"/>
                    <a:pt x="1174" y="8"/>
                    <a:pt x="1168" y="8"/>
                  </a:cubicBezTo>
                  <a:cubicBezTo>
                    <a:pt x="1168" y="8"/>
                    <a:pt x="1167" y="9"/>
                    <a:pt x="1166" y="9"/>
                  </a:cubicBezTo>
                  <a:cubicBezTo>
                    <a:pt x="1165" y="9"/>
                    <a:pt x="1165" y="9"/>
                    <a:pt x="1165" y="9"/>
                  </a:cubicBezTo>
                  <a:cubicBezTo>
                    <a:pt x="1164" y="9"/>
                    <a:pt x="1164" y="9"/>
                    <a:pt x="1163" y="9"/>
                  </a:cubicBezTo>
                  <a:cubicBezTo>
                    <a:pt x="1161" y="9"/>
                    <a:pt x="1161" y="9"/>
                    <a:pt x="1161" y="9"/>
                  </a:cubicBezTo>
                  <a:cubicBezTo>
                    <a:pt x="1161" y="9"/>
                    <a:pt x="1161" y="9"/>
                    <a:pt x="1161" y="9"/>
                  </a:cubicBezTo>
                  <a:cubicBezTo>
                    <a:pt x="1159" y="11"/>
                    <a:pt x="1159" y="11"/>
                    <a:pt x="1159" y="11"/>
                  </a:cubicBezTo>
                  <a:cubicBezTo>
                    <a:pt x="1157" y="12"/>
                    <a:pt x="1155" y="14"/>
                    <a:pt x="1153" y="16"/>
                  </a:cubicBezTo>
                  <a:cubicBezTo>
                    <a:pt x="1152" y="17"/>
                    <a:pt x="1152" y="17"/>
                    <a:pt x="1152" y="17"/>
                  </a:cubicBezTo>
                  <a:cubicBezTo>
                    <a:pt x="1151" y="18"/>
                    <a:pt x="1150" y="19"/>
                    <a:pt x="1149" y="20"/>
                  </a:cubicBezTo>
                  <a:cubicBezTo>
                    <a:pt x="1149" y="20"/>
                    <a:pt x="1149" y="20"/>
                    <a:pt x="1149" y="20"/>
                  </a:cubicBezTo>
                  <a:cubicBezTo>
                    <a:pt x="1148" y="20"/>
                    <a:pt x="1148" y="21"/>
                    <a:pt x="1147" y="21"/>
                  </a:cubicBezTo>
                  <a:cubicBezTo>
                    <a:pt x="1145" y="23"/>
                    <a:pt x="1144" y="24"/>
                    <a:pt x="1142" y="25"/>
                  </a:cubicBezTo>
                  <a:cubicBezTo>
                    <a:pt x="1142" y="26"/>
                    <a:pt x="1142" y="26"/>
                    <a:pt x="1142" y="26"/>
                  </a:cubicBezTo>
                  <a:cubicBezTo>
                    <a:pt x="1142" y="26"/>
                    <a:pt x="1142" y="26"/>
                    <a:pt x="1142" y="26"/>
                  </a:cubicBezTo>
                  <a:cubicBezTo>
                    <a:pt x="1144" y="26"/>
                    <a:pt x="1145" y="26"/>
                    <a:pt x="1146" y="25"/>
                  </a:cubicBezTo>
                  <a:cubicBezTo>
                    <a:pt x="1147" y="25"/>
                    <a:pt x="1148" y="25"/>
                    <a:pt x="1149" y="25"/>
                  </a:cubicBezTo>
                  <a:cubicBezTo>
                    <a:pt x="1150" y="25"/>
                    <a:pt x="1151" y="25"/>
                    <a:pt x="1152" y="25"/>
                  </a:cubicBezTo>
                  <a:cubicBezTo>
                    <a:pt x="1152" y="26"/>
                    <a:pt x="1152" y="26"/>
                    <a:pt x="1152" y="26"/>
                  </a:cubicBezTo>
                  <a:cubicBezTo>
                    <a:pt x="1153" y="26"/>
                    <a:pt x="1153" y="26"/>
                    <a:pt x="1154" y="26"/>
                  </a:cubicBezTo>
                  <a:cubicBezTo>
                    <a:pt x="1154" y="27"/>
                    <a:pt x="1154" y="27"/>
                    <a:pt x="1154" y="27"/>
                  </a:cubicBezTo>
                  <a:cubicBezTo>
                    <a:pt x="1155" y="27"/>
                    <a:pt x="1155" y="27"/>
                    <a:pt x="1156" y="27"/>
                  </a:cubicBezTo>
                  <a:cubicBezTo>
                    <a:pt x="1156" y="27"/>
                    <a:pt x="1156" y="27"/>
                    <a:pt x="1156" y="27"/>
                  </a:cubicBezTo>
                  <a:cubicBezTo>
                    <a:pt x="1157" y="28"/>
                    <a:pt x="1157" y="28"/>
                    <a:pt x="1157" y="28"/>
                  </a:cubicBezTo>
                  <a:cubicBezTo>
                    <a:pt x="1159" y="29"/>
                    <a:pt x="1159" y="31"/>
                    <a:pt x="1159" y="33"/>
                  </a:cubicBezTo>
                  <a:cubicBezTo>
                    <a:pt x="1159" y="33"/>
                    <a:pt x="1159" y="33"/>
                    <a:pt x="1159" y="33"/>
                  </a:cubicBezTo>
                  <a:cubicBezTo>
                    <a:pt x="1158" y="38"/>
                    <a:pt x="1158" y="38"/>
                    <a:pt x="1158" y="38"/>
                  </a:cubicBezTo>
                  <a:cubicBezTo>
                    <a:pt x="1159" y="39"/>
                    <a:pt x="1159" y="39"/>
                    <a:pt x="1159" y="39"/>
                  </a:cubicBezTo>
                  <a:cubicBezTo>
                    <a:pt x="1160" y="40"/>
                    <a:pt x="1160" y="40"/>
                    <a:pt x="1160" y="40"/>
                  </a:cubicBezTo>
                  <a:cubicBezTo>
                    <a:pt x="1160" y="41"/>
                    <a:pt x="1160" y="41"/>
                    <a:pt x="1160" y="41"/>
                  </a:cubicBezTo>
                  <a:cubicBezTo>
                    <a:pt x="1160" y="41"/>
                    <a:pt x="1160" y="41"/>
                    <a:pt x="1160" y="41"/>
                  </a:cubicBezTo>
                  <a:cubicBezTo>
                    <a:pt x="1161" y="42"/>
                    <a:pt x="1161" y="42"/>
                    <a:pt x="1161" y="42"/>
                  </a:cubicBezTo>
                  <a:cubicBezTo>
                    <a:pt x="1161" y="43"/>
                    <a:pt x="1161" y="43"/>
                    <a:pt x="1161" y="43"/>
                  </a:cubicBezTo>
                  <a:cubicBezTo>
                    <a:pt x="1161" y="44"/>
                    <a:pt x="1161" y="45"/>
                    <a:pt x="1160" y="46"/>
                  </a:cubicBezTo>
                  <a:cubicBezTo>
                    <a:pt x="1158" y="49"/>
                    <a:pt x="1156" y="51"/>
                    <a:pt x="1153" y="53"/>
                  </a:cubicBezTo>
                  <a:cubicBezTo>
                    <a:pt x="1141" y="67"/>
                    <a:pt x="1141" y="67"/>
                    <a:pt x="1141" y="67"/>
                  </a:cubicBezTo>
                  <a:cubicBezTo>
                    <a:pt x="1139" y="69"/>
                    <a:pt x="1139" y="69"/>
                    <a:pt x="1139" y="69"/>
                  </a:cubicBezTo>
                  <a:cubicBezTo>
                    <a:pt x="1137" y="72"/>
                    <a:pt x="1136" y="75"/>
                    <a:pt x="1134" y="78"/>
                  </a:cubicBezTo>
                  <a:cubicBezTo>
                    <a:pt x="1130" y="85"/>
                    <a:pt x="1130" y="85"/>
                    <a:pt x="1130" y="85"/>
                  </a:cubicBezTo>
                  <a:cubicBezTo>
                    <a:pt x="1126" y="93"/>
                    <a:pt x="1126" y="93"/>
                    <a:pt x="1126" y="93"/>
                  </a:cubicBezTo>
                  <a:cubicBezTo>
                    <a:pt x="1125" y="101"/>
                    <a:pt x="1125" y="101"/>
                    <a:pt x="1125" y="101"/>
                  </a:cubicBezTo>
                  <a:cubicBezTo>
                    <a:pt x="1126" y="102"/>
                    <a:pt x="1126" y="102"/>
                    <a:pt x="1126" y="102"/>
                  </a:cubicBezTo>
                  <a:cubicBezTo>
                    <a:pt x="1126" y="103"/>
                    <a:pt x="1126" y="103"/>
                    <a:pt x="1126" y="103"/>
                  </a:cubicBezTo>
                  <a:cubicBezTo>
                    <a:pt x="1126" y="104"/>
                    <a:pt x="1125" y="104"/>
                    <a:pt x="1125" y="105"/>
                  </a:cubicBezTo>
                  <a:cubicBezTo>
                    <a:pt x="1125" y="106"/>
                    <a:pt x="1125" y="106"/>
                    <a:pt x="1125" y="106"/>
                  </a:cubicBezTo>
                  <a:cubicBezTo>
                    <a:pt x="1125" y="107"/>
                    <a:pt x="1125" y="107"/>
                    <a:pt x="1125" y="107"/>
                  </a:cubicBezTo>
                  <a:cubicBezTo>
                    <a:pt x="1125" y="107"/>
                    <a:pt x="1125" y="107"/>
                    <a:pt x="1125" y="108"/>
                  </a:cubicBezTo>
                  <a:cubicBezTo>
                    <a:pt x="1125" y="108"/>
                    <a:pt x="1125" y="109"/>
                    <a:pt x="1125" y="109"/>
                  </a:cubicBezTo>
                  <a:cubicBezTo>
                    <a:pt x="1125" y="110"/>
                    <a:pt x="1125" y="110"/>
                    <a:pt x="1125" y="111"/>
                  </a:cubicBezTo>
                  <a:cubicBezTo>
                    <a:pt x="1125" y="111"/>
                    <a:pt x="1125" y="111"/>
                    <a:pt x="1125" y="111"/>
                  </a:cubicBezTo>
                  <a:cubicBezTo>
                    <a:pt x="1124" y="112"/>
                    <a:pt x="1123" y="113"/>
                    <a:pt x="1123" y="113"/>
                  </a:cubicBezTo>
                  <a:cubicBezTo>
                    <a:pt x="1122" y="113"/>
                    <a:pt x="1122" y="113"/>
                    <a:pt x="1122" y="113"/>
                  </a:cubicBezTo>
                  <a:cubicBezTo>
                    <a:pt x="1114" y="117"/>
                    <a:pt x="1114" y="117"/>
                    <a:pt x="1114" y="117"/>
                  </a:cubicBezTo>
                  <a:cubicBezTo>
                    <a:pt x="1104" y="119"/>
                    <a:pt x="1104" y="119"/>
                    <a:pt x="1104" y="119"/>
                  </a:cubicBezTo>
                  <a:cubicBezTo>
                    <a:pt x="1102" y="119"/>
                    <a:pt x="1099" y="122"/>
                    <a:pt x="1097" y="124"/>
                  </a:cubicBezTo>
                  <a:cubicBezTo>
                    <a:pt x="1097" y="124"/>
                    <a:pt x="1097" y="124"/>
                    <a:pt x="1097" y="124"/>
                  </a:cubicBezTo>
                  <a:cubicBezTo>
                    <a:pt x="1087" y="132"/>
                    <a:pt x="1087" y="132"/>
                    <a:pt x="1087" y="132"/>
                  </a:cubicBezTo>
                  <a:cubicBezTo>
                    <a:pt x="1078" y="129"/>
                    <a:pt x="1078" y="129"/>
                    <a:pt x="1078" y="129"/>
                  </a:cubicBezTo>
                  <a:cubicBezTo>
                    <a:pt x="1077" y="131"/>
                    <a:pt x="1077" y="131"/>
                    <a:pt x="1077" y="131"/>
                  </a:cubicBezTo>
                  <a:cubicBezTo>
                    <a:pt x="1076" y="128"/>
                    <a:pt x="1076" y="128"/>
                    <a:pt x="1076" y="128"/>
                  </a:cubicBezTo>
                  <a:cubicBezTo>
                    <a:pt x="1062" y="124"/>
                    <a:pt x="1062" y="124"/>
                    <a:pt x="1062" y="124"/>
                  </a:cubicBezTo>
                  <a:cubicBezTo>
                    <a:pt x="1061" y="123"/>
                    <a:pt x="1060" y="123"/>
                    <a:pt x="1059" y="123"/>
                  </a:cubicBezTo>
                  <a:cubicBezTo>
                    <a:pt x="1053" y="133"/>
                    <a:pt x="1053" y="133"/>
                    <a:pt x="1053" y="133"/>
                  </a:cubicBezTo>
                  <a:cubicBezTo>
                    <a:pt x="1051" y="138"/>
                    <a:pt x="1048" y="143"/>
                    <a:pt x="1046" y="148"/>
                  </a:cubicBezTo>
                  <a:cubicBezTo>
                    <a:pt x="1038" y="163"/>
                    <a:pt x="1038" y="163"/>
                    <a:pt x="1038" y="163"/>
                  </a:cubicBezTo>
                  <a:cubicBezTo>
                    <a:pt x="1038" y="163"/>
                    <a:pt x="1038" y="163"/>
                    <a:pt x="1038" y="164"/>
                  </a:cubicBezTo>
                  <a:cubicBezTo>
                    <a:pt x="1039" y="165"/>
                    <a:pt x="1039" y="165"/>
                    <a:pt x="1039" y="165"/>
                  </a:cubicBezTo>
                  <a:cubicBezTo>
                    <a:pt x="1039" y="167"/>
                    <a:pt x="1039" y="170"/>
                    <a:pt x="1037" y="172"/>
                  </a:cubicBezTo>
                  <a:cubicBezTo>
                    <a:pt x="1035" y="173"/>
                    <a:pt x="1034" y="173"/>
                    <a:pt x="1033" y="174"/>
                  </a:cubicBezTo>
                  <a:cubicBezTo>
                    <a:pt x="1033" y="174"/>
                    <a:pt x="1032" y="174"/>
                    <a:pt x="1032" y="174"/>
                  </a:cubicBezTo>
                  <a:cubicBezTo>
                    <a:pt x="1032" y="175"/>
                    <a:pt x="1032" y="176"/>
                    <a:pt x="1032" y="177"/>
                  </a:cubicBezTo>
                  <a:cubicBezTo>
                    <a:pt x="1032" y="177"/>
                    <a:pt x="1032" y="177"/>
                    <a:pt x="1032" y="177"/>
                  </a:cubicBezTo>
                  <a:cubicBezTo>
                    <a:pt x="1033" y="177"/>
                    <a:pt x="1033" y="177"/>
                    <a:pt x="1033" y="177"/>
                  </a:cubicBezTo>
                  <a:cubicBezTo>
                    <a:pt x="1033" y="178"/>
                    <a:pt x="1033" y="178"/>
                    <a:pt x="1033" y="178"/>
                  </a:cubicBezTo>
                  <a:cubicBezTo>
                    <a:pt x="1033" y="179"/>
                    <a:pt x="1034" y="180"/>
                    <a:pt x="1035" y="180"/>
                  </a:cubicBezTo>
                  <a:cubicBezTo>
                    <a:pt x="1037" y="182"/>
                    <a:pt x="1038" y="183"/>
                    <a:pt x="1038" y="183"/>
                  </a:cubicBezTo>
                  <a:cubicBezTo>
                    <a:pt x="1039" y="183"/>
                    <a:pt x="1040" y="182"/>
                    <a:pt x="1041" y="181"/>
                  </a:cubicBezTo>
                  <a:cubicBezTo>
                    <a:pt x="1044" y="181"/>
                    <a:pt x="1046" y="180"/>
                    <a:pt x="1050" y="180"/>
                  </a:cubicBezTo>
                  <a:cubicBezTo>
                    <a:pt x="1061" y="179"/>
                    <a:pt x="1061" y="179"/>
                    <a:pt x="1061" y="179"/>
                  </a:cubicBezTo>
                  <a:cubicBezTo>
                    <a:pt x="1062" y="179"/>
                    <a:pt x="1062" y="179"/>
                    <a:pt x="1062" y="179"/>
                  </a:cubicBezTo>
                  <a:cubicBezTo>
                    <a:pt x="1064" y="179"/>
                    <a:pt x="1065" y="179"/>
                    <a:pt x="1067" y="180"/>
                  </a:cubicBezTo>
                  <a:cubicBezTo>
                    <a:pt x="1067" y="181"/>
                    <a:pt x="1068" y="181"/>
                    <a:pt x="1069" y="181"/>
                  </a:cubicBezTo>
                  <a:cubicBezTo>
                    <a:pt x="1069" y="182"/>
                    <a:pt x="1069" y="182"/>
                    <a:pt x="1069" y="182"/>
                  </a:cubicBezTo>
                  <a:cubicBezTo>
                    <a:pt x="1071" y="183"/>
                    <a:pt x="1072" y="184"/>
                    <a:pt x="1073" y="185"/>
                  </a:cubicBezTo>
                  <a:cubicBezTo>
                    <a:pt x="1073" y="184"/>
                    <a:pt x="1073" y="184"/>
                    <a:pt x="1073" y="184"/>
                  </a:cubicBezTo>
                  <a:cubicBezTo>
                    <a:pt x="1074" y="183"/>
                    <a:pt x="1074" y="183"/>
                    <a:pt x="1074" y="183"/>
                  </a:cubicBezTo>
                  <a:cubicBezTo>
                    <a:pt x="1074" y="183"/>
                    <a:pt x="1074" y="183"/>
                    <a:pt x="1075" y="183"/>
                  </a:cubicBezTo>
                  <a:cubicBezTo>
                    <a:pt x="1077" y="179"/>
                    <a:pt x="1080" y="177"/>
                    <a:pt x="1085" y="177"/>
                  </a:cubicBezTo>
                  <a:cubicBezTo>
                    <a:pt x="1086" y="176"/>
                    <a:pt x="1087" y="176"/>
                    <a:pt x="1088" y="176"/>
                  </a:cubicBezTo>
                  <a:cubicBezTo>
                    <a:pt x="1089" y="176"/>
                    <a:pt x="1089" y="176"/>
                    <a:pt x="1089" y="176"/>
                  </a:cubicBezTo>
                  <a:cubicBezTo>
                    <a:pt x="1091" y="176"/>
                    <a:pt x="1092" y="176"/>
                    <a:pt x="1093" y="176"/>
                  </a:cubicBezTo>
                  <a:cubicBezTo>
                    <a:pt x="1095" y="175"/>
                    <a:pt x="1098" y="175"/>
                    <a:pt x="1100" y="175"/>
                  </a:cubicBezTo>
                  <a:cubicBezTo>
                    <a:pt x="1101" y="175"/>
                    <a:pt x="1101" y="175"/>
                    <a:pt x="1102" y="175"/>
                  </a:cubicBezTo>
                  <a:cubicBezTo>
                    <a:pt x="1103" y="175"/>
                    <a:pt x="1103" y="175"/>
                    <a:pt x="1104" y="176"/>
                  </a:cubicBezTo>
                  <a:cubicBezTo>
                    <a:pt x="1105" y="176"/>
                    <a:pt x="1106" y="176"/>
                    <a:pt x="1106" y="177"/>
                  </a:cubicBezTo>
                  <a:cubicBezTo>
                    <a:pt x="1107" y="178"/>
                    <a:pt x="1108" y="179"/>
                    <a:pt x="1108" y="179"/>
                  </a:cubicBezTo>
                  <a:cubicBezTo>
                    <a:pt x="1108" y="180"/>
                    <a:pt x="1109" y="180"/>
                    <a:pt x="1109" y="180"/>
                  </a:cubicBezTo>
                  <a:cubicBezTo>
                    <a:pt x="1110" y="181"/>
                    <a:pt x="1111" y="182"/>
                    <a:pt x="1113" y="183"/>
                  </a:cubicBezTo>
                  <a:cubicBezTo>
                    <a:pt x="1115" y="184"/>
                    <a:pt x="1117" y="185"/>
                    <a:pt x="1119" y="187"/>
                  </a:cubicBezTo>
                  <a:cubicBezTo>
                    <a:pt x="1120" y="188"/>
                    <a:pt x="1120" y="188"/>
                    <a:pt x="1120" y="188"/>
                  </a:cubicBezTo>
                  <a:cubicBezTo>
                    <a:pt x="1120" y="189"/>
                    <a:pt x="1120" y="189"/>
                    <a:pt x="1120" y="189"/>
                  </a:cubicBezTo>
                  <a:cubicBezTo>
                    <a:pt x="1121" y="190"/>
                    <a:pt x="1122" y="190"/>
                    <a:pt x="1123" y="191"/>
                  </a:cubicBezTo>
                  <a:cubicBezTo>
                    <a:pt x="1124" y="192"/>
                    <a:pt x="1126" y="193"/>
                    <a:pt x="1127" y="195"/>
                  </a:cubicBezTo>
                  <a:cubicBezTo>
                    <a:pt x="1128" y="196"/>
                    <a:pt x="1129" y="197"/>
                    <a:pt x="1131" y="198"/>
                  </a:cubicBezTo>
                  <a:cubicBezTo>
                    <a:pt x="1132" y="200"/>
                    <a:pt x="1134" y="201"/>
                    <a:pt x="1135" y="203"/>
                  </a:cubicBezTo>
                  <a:cubicBezTo>
                    <a:pt x="1139" y="208"/>
                    <a:pt x="1139" y="212"/>
                    <a:pt x="1139" y="218"/>
                  </a:cubicBezTo>
                  <a:cubicBezTo>
                    <a:pt x="1139" y="218"/>
                    <a:pt x="1139" y="218"/>
                    <a:pt x="1139" y="218"/>
                  </a:cubicBezTo>
                  <a:cubicBezTo>
                    <a:pt x="1138" y="219"/>
                    <a:pt x="1138" y="219"/>
                    <a:pt x="1138" y="219"/>
                  </a:cubicBezTo>
                  <a:cubicBezTo>
                    <a:pt x="1137" y="221"/>
                    <a:pt x="1136" y="222"/>
                    <a:pt x="1134" y="222"/>
                  </a:cubicBezTo>
                  <a:cubicBezTo>
                    <a:pt x="1121" y="221"/>
                    <a:pt x="1121" y="221"/>
                    <a:pt x="1121" y="221"/>
                  </a:cubicBezTo>
                  <a:cubicBezTo>
                    <a:pt x="1119" y="221"/>
                    <a:pt x="1117" y="221"/>
                    <a:pt x="1115" y="221"/>
                  </a:cubicBezTo>
                  <a:cubicBezTo>
                    <a:pt x="1112" y="221"/>
                    <a:pt x="1110" y="220"/>
                    <a:pt x="1107" y="220"/>
                  </a:cubicBezTo>
                  <a:cubicBezTo>
                    <a:pt x="1105" y="220"/>
                    <a:pt x="1103" y="221"/>
                    <a:pt x="1102" y="221"/>
                  </a:cubicBezTo>
                  <a:cubicBezTo>
                    <a:pt x="1095" y="223"/>
                    <a:pt x="1089" y="226"/>
                    <a:pt x="1083" y="228"/>
                  </a:cubicBezTo>
                  <a:cubicBezTo>
                    <a:pt x="1076" y="230"/>
                    <a:pt x="1076" y="230"/>
                    <a:pt x="1076" y="230"/>
                  </a:cubicBezTo>
                  <a:cubicBezTo>
                    <a:pt x="1075" y="231"/>
                    <a:pt x="1074" y="231"/>
                    <a:pt x="1073" y="231"/>
                  </a:cubicBezTo>
                  <a:cubicBezTo>
                    <a:pt x="1070" y="231"/>
                    <a:pt x="1070" y="231"/>
                    <a:pt x="1070" y="231"/>
                  </a:cubicBezTo>
                  <a:cubicBezTo>
                    <a:pt x="1068" y="231"/>
                    <a:pt x="1067" y="231"/>
                    <a:pt x="1065" y="231"/>
                  </a:cubicBezTo>
                  <a:cubicBezTo>
                    <a:pt x="1060" y="231"/>
                    <a:pt x="1057" y="232"/>
                    <a:pt x="1055" y="234"/>
                  </a:cubicBezTo>
                  <a:cubicBezTo>
                    <a:pt x="1051" y="237"/>
                    <a:pt x="1049" y="241"/>
                    <a:pt x="1049" y="242"/>
                  </a:cubicBezTo>
                  <a:cubicBezTo>
                    <a:pt x="1049" y="243"/>
                    <a:pt x="1049" y="243"/>
                    <a:pt x="1049" y="243"/>
                  </a:cubicBezTo>
                  <a:cubicBezTo>
                    <a:pt x="1050" y="245"/>
                    <a:pt x="1050" y="246"/>
                    <a:pt x="1049" y="248"/>
                  </a:cubicBezTo>
                  <a:cubicBezTo>
                    <a:pt x="1048" y="249"/>
                    <a:pt x="1047" y="250"/>
                    <a:pt x="1046" y="251"/>
                  </a:cubicBezTo>
                  <a:cubicBezTo>
                    <a:pt x="1045" y="251"/>
                    <a:pt x="1044" y="252"/>
                    <a:pt x="1043" y="252"/>
                  </a:cubicBezTo>
                  <a:cubicBezTo>
                    <a:pt x="1042" y="253"/>
                    <a:pt x="1042" y="253"/>
                    <a:pt x="1042" y="253"/>
                  </a:cubicBezTo>
                  <a:cubicBezTo>
                    <a:pt x="1042" y="253"/>
                    <a:pt x="1042" y="253"/>
                    <a:pt x="1042" y="253"/>
                  </a:cubicBezTo>
                  <a:cubicBezTo>
                    <a:pt x="1040" y="254"/>
                    <a:pt x="1040" y="254"/>
                    <a:pt x="1040" y="254"/>
                  </a:cubicBezTo>
                  <a:cubicBezTo>
                    <a:pt x="1040" y="255"/>
                    <a:pt x="1039" y="255"/>
                    <a:pt x="1038" y="255"/>
                  </a:cubicBezTo>
                  <a:cubicBezTo>
                    <a:pt x="1037" y="256"/>
                    <a:pt x="1037" y="256"/>
                    <a:pt x="1037" y="256"/>
                  </a:cubicBezTo>
                  <a:cubicBezTo>
                    <a:pt x="1037" y="256"/>
                    <a:pt x="1037" y="256"/>
                    <a:pt x="1037" y="256"/>
                  </a:cubicBezTo>
                  <a:cubicBezTo>
                    <a:pt x="1036" y="257"/>
                    <a:pt x="1036" y="257"/>
                    <a:pt x="1035" y="258"/>
                  </a:cubicBezTo>
                  <a:cubicBezTo>
                    <a:pt x="1033" y="259"/>
                    <a:pt x="1032" y="259"/>
                    <a:pt x="1031" y="259"/>
                  </a:cubicBezTo>
                  <a:cubicBezTo>
                    <a:pt x="1015" y="260"/>
                    <a:pt x="1015" y="260"/>
                    <a:pt x="1015" y="260"/>
                  </a:cubicBezTo>
                  <a:cubicBezTo>
                    <a:pt x="1015" y="260"/>
                    <a:pt x="1015" y="260"/>
                    <a:pt x="1015" y="260"/>
                  </a:cubicBezTo>
                  <a:cubicBezTo>
                    <a:pt x="1014" y="260"/>
                    <a:pt x="1014" y="259"/>
                    <a:pt x="1013" y="259"/>
                  </a:cubicBezTo>
                  <a:cubicBezTo>
                    <a:pt x="1012" y="259"/>
                    <a:pt x="1012" y="259"/>
                    <a:pt x="1011" y="259"/>
                  </a:cubicBezTo>
                  <a:cubicBezTo>
                    <a:pt x="1010" y="259"/>
                    <a:pt x="1010" y="259"/>
                    <a:pt x="1009" y="259"/>
                  </a:cubicBezTo>
                  <a:cubicBezTo>
                    <a:pt x="1009" y="260"/>
                    <a:pt x="1009" y="260"/>
                    <a:pt x="1009" y="260"/>
                  </a:cubicBezTo>
                  <a:cubicBezTo>
                    <a:pt x="1008" y="261"/>
                    <a:pt x="1008" y="261"/>
                    <a:pt x="1007" y="261"/>
                  </a:cubicBezTo>
                  <a:cubicBezTo>
                    <a:pt x="1007" y="262"/>
                    <a:pt x="1007" y="262"/>
                    <a:pt x="1007" y="262"/>
                  </a:cubicBezTo>
                  <a:cubicBezTo>
                    <a:pt x="1006" y="262"/>
                    <a:pt x="1006" y="262"/>
                    <a:pt x="1006" y="262"/>
                  </a:cubicBezTo>
                  <a:cubicBezTo>
                    <a:pt x="1009" y="265"/>
                    <a:pt x="1009" y="265"/>
                    <a:pt x="1009" y="265"/>
                  </a:cubicBezTo>
                  <a:cubicBezTo>
                    <a:pt x="1005" y="263"/>
                    <a:pt x="1005" y="263"/>
                    <a:pt x="1005" y="263"/>
                  </a:cubicBezTo>
                  <a:cubicBezTo>
                    <a:pt x="1005" y="264"/>
                    <a:pt x="1005" y="264"/>
                    <a:pt x="1005" y="264"/>
                  </a:cubicBezTo>
                  <a:cubicBezTo>
                    <a:pt x="1001" y="268"/>
                    <a:pt x="996" y="272"/>
                    <a:pt x="991" y="275"/>
                  </a:cubicBezTo>
                  <a:cubicBezTo>
                    <a:pt x="990" y="275"/>
                    <a:pt x="990" y="276"/>
                    <a:pt x="989" y="277"/>
                  </a:cubicBezTo>
                  <a:cubicBezTo>
                    <a:pt x="987" y="278"/>
                    <a:pt x="987" y="278"/>
                    <a:pt x="987" y="278"/>
                  </a:cubicBezTo>
                  <a:cubicBezTo>
                    <a:pt x="985" y="279"/>
                    <a:pt x="982" y="280"/>
                    <a:pt x="979" y="280"/>
                  </a:cubicBezTo>
                  <a:cubicBezTo>
                    <a:pt x="978" y="280"/>
                    <a:pt x="977" y="280"/>
                    <a:pt x="976" y="280"/>
                  </a:cubicBezTo>
                  <a:cubicBezTo>
                    <a:pt x="975" y="280"/>
                    <a:pt x="975" y="280"/>
                    <a:pt x="974" y="280"/>
                  </a:cubicBezTo>
                  <a:cubicBezTo>
                    <a:pt x="972" y="279"/>
                    <a:pt x="970" y="279"/>
                    <a:pt x="968" y="278"/>
                  </a:cubicBezTo>
                  <a:cubicBezTo>
                    <a:pt x="967" y="277"/>
                    <a:pt x="966" y="277"/>
                    <a:pt x="964" y="276"/>
                  </a:cubicBezTo>
                  <a:cubicBezTo>
                    <a:pt x="964" y="276"/>
                    <a:pt x="964" y="276"/>
                    <a:pt x="964" y="276"/>
                  </a:cubicBezTo>
                  <a:cubicBezTo>
                    <a:pt x="960" y="274"/>
                    <a:pt x="956" y="272"/>
                    <a:pt x="953" y="271"/>
                  </a:cubicBezTo>
                  <a:cubicBezTo>
                    <a:pt x="952" y="271"/>
                    <a:pt x="952" y="271"/>
                    <a:pt x="952" y="271"/>
                  </a:cubicBezTo>
                  <a:cubicBezTo>
                    <a:pt x="951" y="271"/>
                    <a:pt x="949" y="270"/>
                    <a:pt x="947" y="270"/>
                  </a:cubicBezTo>
                  <a:cubicBezTo>
                    <a:pt x="946" y="270"/>
                    <a:pt x="944" y="270"/>
                    <a:pt x="943" y="270"/>
                  </a:cubicBezTo>
                  <a:cubicBezTo>
                    <a:pt x="942" y="270"/>
                    <a:pt x="942" y="270"/>
                    <a:pt x="942" y="270"/>
                  </a:cubicBezTo>
                  <a:cubicBezTo>
                    <a:pt x="942" y="270"/>
                    <a:pt x="942" y="270"/>
                    <a:pt x="942" y="270"/>
                  </a:cubicBezTo>
                  <a:cubicBezTo>
                    <a:pt x="941" y="271"/>
                    <a:pt x="940" y="272"/>
                    <a:pt x="940" y="272"/>
                  </a:cubicBezTo>
                  <a:cubicBezTo>
                    <a:pt x="940" y="272"/>
                    <a:pt x="940" y="272"/>
                    <a:pt x="940" y="272"/>
                  </a:cubicBezTo>
                  <a:cubicBezTo>
                    <a:pt x="938" y="274"/>
                    <a:pt x="936" y="276"/>
                    <a:pt x="936" y="277"/>
                  </a:cubicBezTo>
                  <a:cubicBezTo>
                    <a:pt x="935" y="279"/>
                    <a:pt x="934" y="282"/>
                    <a:pt x="933" y="284"/>
                  </a:cubicBezTo>
                  <a:cubicBezTo>
                    <a:pt x="931" y="288"/>
                    <a:pt x="931" y="288"/>
                    <a:pt x="931" y="288"/>
                  </a:cubicBezTo>
                  <a:cubicBezTo>
                    <a:pt x="931" y="288"/>
                    <a:pt x="931" y="288"/>
                    <a:pt x="931" y="288"/>
                  </a:cubicBezTo>
                  <a:cubicBezTo>
                    <a:pt x="931" y="289"/>
                    <a:pt x="931" y="289"/>
                    <a:pt x="931" y="289"/>
                  </a:cubicBezTo>
                  <a:cubicBezTo>
                    <a:pt x="931" y="291"/>
                    <a:pt x="933" y="293"/>
                    <a:pt x="934" y="294"/>
                  </a:cubicBezTo>
                  <a:cubicBezTo>
                    <a:pt x="935" y="295"/>
                    <a:pt x="935" y="296"/>
                    <a:pt x="936" y="296"/>
                  </a:cubicBezTo>
                  <a:cubicBezTo>
                    <a:pt x="936" y="297"/>
                    <a:pt x="937" y="297"/>
                    <a:pt x="937" y="298"/>
                  </a:cubicBezTo>
                  <a:cubicBezTo>
                    <a:pt x="939" y="299"/>
                    <a:pt x="940" y="300"/>
                    <a:pt x="942" y="302"/>
                  </a:cubicBezTo>
                  <a:cubicBezTo>
                    <a:pt x="943" y="303"/>
                    <a:pt x="943" y="303"/>
                    <a:pt x="943" y="303"/>
                  </a:cubicBezTo>
                  <a:cubicBezTo>
                    <a:pt x="944" y="307"/>
                    <a:pt x="943" y="310"/>
                    <a:pt x="939" y="312"/>
                  </a:cubicBezTo>
                  <a:cubicBezTo>
                    <a:pt x="936" y="314"/>
                    <a:pt x="933" y="316"/>
                    <a:pt x="928" y="318"/>
                  </a:cubicBezTo>
                  <a:cubicBezTo>
                    <a:pt x="927" y="319"/>
                    <a:pt x="927" y="319"/>
                    <a:pt x="927" y="319"/>
                  </a:cubicBezTo>
                  <a:cubicBezTo>
                    <a:pt x="924" y="320"/>
                    <a:pt x="921" y="322"/>
                    <a:pt x="919" y="323"/>
                  </a:cubicBezTo>
                  <a:cubicBezTo>
                    <a:pt x="916" y="325"/>
                    <a:pt x="914" y="328"/>
                    <a:pt x="912" y="331"/>
                  </a:cubicBezTo>
                  <a:cubicBezTo>
                    <a:pt x="912" y="331"/>
                    <a:pt x="912" y="331"/>
                    <a:pt x="912" y="331"/>
                  </a:cubicBezTo>
                  <a:cubicBezTo>
                    <a:pt x="911" y="332"/>
                    <a:pt x="910" y="334"/>
                    <a:pt x="908" y="335"/>
                  </a:cubicBezTo>
                  <a:cubicBezTo>
                    <a:pt x="906" y="337"/>
                    <a:pt x="904" y="339"/>
                    <a:pt x="902" y="340"/>
                  </a:cubicBezTo>
                  <a:cubicBezTo>
                    <a:pt x="900" y="341"/>
                    <a:pt x="898" y="342"/>
                    <a:pt x="895" y="343"/>
                  </a:cubicBezTo>
                  <a:cubicBezTo>
                    <a:pt x="892" y="345"/>
                    <a:pt x="892" y="345"/>
                    <a:pt x="892" y="345"/>
                  </a:cubicBezTo>
                  <a:cubicBezTo>
                    <a:pt x="889" y="346"/>
                    <a:pt x="889" y="346"/>
                    <a:pt x="889" y="346"/>
                  </a:cubicBezTo>
                  <a:cubicBezTo>
                    <a:pt x="886" y="347"/>
                    <a:pt x="884" y="347"/>
                    <a:pt x="882" y="348"/>
                  </a:cubicBezTo>
                  <a:cubicBezTo>
                    <a:pt x="878" y="350"/>
                    <a:pt x="875" y="350"/>
                    <a:pt x="871" y="350"/>
                  </a:cubicBezTo>
                  <a:cubicBezTo>
                    <a:pt x="870" y="350"/>
                    <a:pt x="869" y="350"/>
                    <a:pt x="868" y="350"/>
                  </a:cubicBezTo>
                  <a:cubicBezTo>
                    <a:pt x="867" y="350"/>
                    <a:pt x="867" y="350"/>
                    <a:pt x="867" y="350"/>
                  </a:cubicBezTo>
                  <a:cubicBezTo>
                    <a:pt x="865" y="350"/>
                    <a:pt x="864" y="350"/>
                    <a:pt x="863" y="350"/>
                  </a:cubicBezTo>
                  <a:cubicBezTo>
                    <a:pt x="862" y="350"/>
                    <a:pt x="862" y="350"/>
                    <a:pt x="862" y="350"/>
                  </a:cubicBezTo>
                  <a:cubicBezTo>
                    <a:pt x="861" y="350"/>
                    <a:pt x="860" y="350"/>
                    <a:pt x="859" y="350"/>
                  </a:cubicBezTo>
                  <a:cubicBezTo>
                    <a:pt x="854" y="350"/>
                    <a:pt x="854" y="350"/>
                    <a:pt x="854" y="350"/>
                  </a:cubicBezTo>
                  <a:cubicBezTo>
                    <a:pt x="850" y="350"/>
                    <a:pt x="847" y="350"/>
                    <a:pt x="843" y="350"/>
                  </a:cubicBezTo>
                  <a:cubicBezTo>
                    <a:pt x="838" y="351"/>
                    <a:pt x="838" y="351"/>
                    <a:pt x="838" y="351"/>
                  </a:cubicBezTo>
                  <a:cubicBezTo>
                    <a:pt x="835" y="351"/>
                    <a:pt x="833" y="352"/>
                    <a:pt x="831" y="352"/>
                  </a:cubicBezTo>
                  <a:cubicBezTo>
                    <a:pt x="829" y="352"/>
                    <a:pt x="829" y="352"/>
                    <a:pt x="829" y="352"/>
                  </a:cubicBezTo>
                  <a:cubicBezTo>
                    <a:pt x="824" y="352"/>
                    <a:pt x="818" y="353"/>
                    <a:pt x="813" y="354"/>
                  </a:cubicBezTo>
                  <a:cubicBezTo>
                    <a:pt x="812" y="354"/>
                    <a:pt x="812" y="354"/>
                    <a:pt x="812" y="354"/>
                  </a:cubicBezTo>
                  <a:cubicBezTo>
                    <a:pt x="812" y="355"/>
                    <a:pt x="812" y="355"/>
                    <a:pt x="812" y="355"/>
                  </a:cubicBezTo>
                  <a:cubicBezTo>
                    <a:pt x="814" y="358"/>
                    <a:pt x="814" y="358"/>
                    <a:pt x="814" y="358"/>
                  </a:cubicBezTo>
                  <a:cubicBezTo>
                    <a:pt x="811" y="355"/>
                    <a:pt x="811" y="355"/>
                    <a:pt x="811" y="355"/>
                  </a:cubicBezTo>
                  <a:cubicBezTo>
                    <a:pt x="810" y="355"/>
                    <a:pt x="810" y="355"/>
                    <a:pt x="810" y="355"/>
                  </a:cubicBezTo>
                  <a:cubicBezTo>
                    <a:pt x="810" y="355"/>
                    <a:pt x="810" y="355"/>
                    <a:pt x="810" y="355"/>
                  </a:cubicBezTo>
                  <a:cubicBezTo>
                    <a:pt x="806" y="357"/>
                    <a:pt x="802" y="359"/>
                    <a:pt x="798" y="360"/>
                  </a:cubicBezTo>
                  <a:cubicBezTo>
                    <a:pt x="795" y="362"/>
                    <a:pt x="795" y="362"/>
                    <a:pt x="795" y="362"/>
                  </a:cubicBezTo>
                  <a:cubicBezTo>
                    <a:pt x="793" y="363"/>
                    <a:pt x="791" y="363"/>
                    <a:pt x="789" y="364"/>
                  </a:cubicBezTo>
                  <a:cubicBezTo>
                    <a:pt x="785" y="366"/>
                    <a:pt x="781" y="367"/>
                    <a:pt x="778" y="369"/>
                  </a:cubicBezTo>
                  <a:cubicBezTo>
                    <a:pt x="777" y="369"/>
                    <a:pt x="777" y="369"/>
                    <a:pt x="777" y="369"/>
                  </a:cubicBezTo>
                  <a:cubicBezTo>
                    <a:pt x="775" y="370"/>
                    <a:pt x="773" y="372"/>
                    <a:pt x="773" y="373"/>
                  </a:cubicBezTo>
                  <a:cubicBezTo>
                    <a:pt x="772" y="373"/>
                    <a:pt x="772" y="373"/>
                    <a:pt x="772" y="373"/>
                  </a:cubicBezTo>
                  <a:cubicBezTo>
                    <a:pt x="770" y="374"/>
                    <a:pt x="769" y="375"/>
                    <a:pt x="768" y="375"/>
                  </a:cubicBezTo>
                  <a:cubicBezTo>
                    <a:pt x="767" y="374"/>
                    <a:pt x="767" y="374"/>
                    <a:pt x="767" y="374"/>
                  </a:cubicBezTo>
                  <a:cubicBezTo>
                    <a:pt x="765" y="374"/>
                    <a:pt x="763" y="374"/>
                    <a:pt x="761" y="373"/>
                  </a:cubicBezTo>
                  <a:cubicBezTo>
                    <a:pt x="760" y="373"/>
                    <a:pt x="760" y="373"/>
                    <a:pt x="759" y="373"/>
                  </a:cubicBezTo>
                  <a:cubicBezTo>
                    <a:pt x="759" y="373"/>
                    <a:pt x="758" y="373"/>
                    <a:pt x="757" y="372"/>
                  </a:cubicBezTo>
                  <a:cubicBezTo>
                    <a:pt x="757" y="372"/>
                    <a:pt x="757" y="372"/>
                    <a:pt x="757" y="372"/>
                  </a:cubicBezTo>
                  <a:cubicBezTo>
                    <a:pt x="753" y="375"/>
                    <a:pt x="753" y="375"/>
                    <a:pt x="753" y="375"/>
                  </a:cubicBezTo>
                  <a:cubicBezTo>
                    <a:pt x="755" y="371"/>
                    <a:pt x="755" y="371"/>
                    <a:pt x="755" y="371"/>
                  </a:cubicBezTo>
                  <a:cubicBezTo>
                    <a:pt x="755" y="371"/>
                    <a:pt x="755" y="370"/>
                    <a:pt x="754" y="370"/>
                  </a:cubicBezTo>
                  <a:cubicBezTo>
                    <a:pt x="754" y="369"/>
                    <a:pt x="754" y="369"/>
                    <a:pt x="754" y="369"/>
                  </a:cubicBezTo>
                  <a:cubicBezTo>
                    <a:pt x="750" y="372"/>
                    <a:pt x="750" y="372"/>
                    <a:pt x="750" y="372"/>
                  </a:cubicBezTo>
                  <a:cubicBezTo>
                    <a:pt x="753" y="368"/>
                    <a:pt x="753" y="368"/>
                    <a:pt x="753" y="368"/>
                  </a:cubicBezTo>
                  <a:cubicBezTo>
                    <a:pt x="753" y="367"/>
                    <a:pt x="753" y="367"/>
                    <a:pt x="753" y="367"/>
                  </a:cubicBezTo>
                  <a:cubicBezTo>
                    <a:pt x="752" y="367"/>
                    <a:pt x="752" y="367"/>
                    <a:pt x="752" y="367"/>
                  </a:cubicBezTo>
                  <a:cubicBezTo>
                    <a:pt x="751" y="367"/>
                    <a:pt x="749" y="368"/>
                    <a:pt x="747" y="368"/>
                  </a:cubicBezTo>
                  <a:cubicBezTo>
                    <a:pt x="747" y="368"/>
                    <a:pt x="747" y="368"/>
                    <a:pt x="747" y="368"/>
                  </a:cubicBezTo>
                  <a:cubicBezTo>
                    <a:pt x="746" y="368"/>
                    <a:pt x="745" y="368"/>
                    <a:pt x="745" y="368"/>
                  </a:cubicBezTo>
                  <a:cubicBezTo>
                    <a:pt x="743" y="369"/>
                    <a:pt x="742" y="369"/>
                    <a:pt x="741" y="369"/>
                  </a:cubicBezTo>
                  <a:cubicBezTo>
                    <a:pt x="739" y="369"/>
                    <a:pt x="738" y="369"/>
                    <a:pt x="736" y="368"/>
                  </a:cubicBezTo>
                  <a:cubicBezTo>
                    <a:pt x="732" y="368"/>
                    <a:pt x="729" y="366"/>
                    <a:pt x="726" y="365"/>
                  </a:cubicBezTo>
                  <a:cubicBezTo>
                    <a:pt x="723" y="364"/>
                    <a:pt x="720" y="362"/>
                    <a:pt x="718" y="362"/>
                  </a:cubicBezTo>
                  <a:cubicBezTo>
                    <a:pt x="714" y="361"/>
                    <a:pt x="711" y="361"/>
                    <a:pt x="706" y="359"/>
                  </a:cubicBezTo>
                  <a:cubicBezTo>
                    <a:pt x="694" y="356"/>
                    <a:pt x="694" y="356"/>
                    <a:pt x="694" y="356"/>
                  </a:cubicBezTo>
                  <a:cubicBezTo>
                    <a:pt x="694" y="356"/>
                    <a:pt x="693" y="356"/>
                    <a:pt x="693" y="356"/>
                  </a:cubicBezTo>
                  <a:cubicBezTo>
                    <a:pt x="692" y="355"/>
                    <a:pt x="692" y="355"/>
                    <a:pt x="692" y="355"/>
                  </a:cubicBezTo>
                  <a:cubicBezTo>
                    <a:pt x="692" y="355"/>
                    <a:pt x="691" y="354"/>
                    <a:pt x="691" y="353"/>
                  </a:cubicBezTo>
                  <a:cubicBezTo>
                    <a:pt x="690" y="352"/>
                    <a:pt x="690" y="351"/>
                    <a:pt x="689" y="350"/>
                  </a:cubicBezTo>
                  <a:cubicBezTo>
                    <a:pt x="688" y="350"/>
                    <a:pt x="688" y="349"/>
                    <a:pt x="688" y="349"/>
                  </a:cubicBezTo>
                  <a:cubicBezTo>
                    <a:pt x="688" y="349"/>
                    <a:pt x="686" y="349"/>
                    <a:pt x="685" y="349"/>
                  </a:cubicBezTo>
                  <a:cubicBezTo>
                    <a:pt x="684" y="349"/>
                    <a:pt x="683" y="349"/>
                    <a:pt x="682" y="349"/>
                  </a:cubicBezTo>
                  <a:cubicBezTo>
                    <a:pt x="648" y="343"/>
                    <a:pt x="648" y="343"/>
                    <a:pt x="648" y="343"/>
                  </a:cubicBezTo>
                  <a:cubicBezTo>
                    <a:pt x="648" y="343"/>
                    <a:pt x="647" y="343"/>
                    <a:pt x="647" y="343"/>
                  </a:cubicBezTo>
                  <a:cubicBezTo>
                    <a:pt x="646" y="342"/>
                    <a:pt x="646" y="342"/>
                    <a:pt x="646" y="342"/>
                  </a:cubicBezTo>
                  <a:cubicBezTo>
                    <a:pt x="645" y="342"/>
                    <a:pt x="644" y="343"/>
                    <a:pt x="642" y="343"/>
                  </a:cubicBezTo>
                  <a:cubicBezTo>
                    <a:pt x="642" y="344"/>
                    <a:pt x="642" y="344"/>
                    <a:pt x="642" y="344"/>
                  </a:cubicBezTo>
                  <a:cubicBezTo>
                    <a:pt x="641" y="344"/>
                    <a:pt x="639" y="345"/>
                    <a:pt x="638" y="345"/>
                  </a:cubicBezTo>
                  <a:cubicBezTo>
                    <a:pt x="637" y="345"/>
                    <a:pt x="637" y="345"/>
                    <a:pt x="637" y="345"/>
                  </a:cubicBezTo>
                  <a:cubicBezTo>
                    <a:pt x="637" y="345"/>
                    <a:pt x="636" y="345"/>
                    <a:pt x="636" y="345"/>
                  </a:cubicBezTo>
                  <a:cubicBezTo>
                    <a:pt x="634" y="345"/>
                    <a:pt x="634" y="345"/>
                    <a:pt x="634" y="345"/>
                  </a:cubicBezTo>
                  <a:cubicBezTo>
                    <a:pt x="624" y="345"/>
                    <a:pt x="614" y="345"/>
                    <a:pt x="604" y="344"/>
                  </a:cubicBezTo>
                  <a:cubicBezTo>
                    <a:pt x="602" y="343"/>
                    <a:pt x="601" y="343"/>
                    <a:pt x="600" y="343"/>
                  </a:cubicBezTo>
                  <a:cubicBezTo>
                    <a:pt x="595" y="342"/>
                    <a:pt x="595" y="342"/>
                    <a:pt x="595" y="342"/>
                  </a:cubicBezTo>
                  <a:cubicBezTo>
                    <a:pt x="594" y="342"/>
                    <a:pt x="593" y="342"/>
                    <a:pt x="591" y="342"/>
                  </a:cubicBezTo>
                  <a:cubicBezTo>
                    <a:pt x="586" y="341"/>
                    <a:pt x="586" y="341"/>
                    <a:pt x="586" y="341"/>
                  </a:cubicBezTo>
                  <a:cubicBezTo>
                    <a:pt x="583" y="340"/>
                    <a:pt x="579" y="340"/>
                    <a:pt x="575" y="340"/>
                  </a:cubicBezTo>
                  <a:cubicBezTo>
                    <a:pt x="574" y="340"/>
                    <a:pt x="573" y="340"/>
                    <a:pt x="572" y="340"/>
                  </a:cubicBezTo>
                  <a:cubicBezTo>
                    <a:pt x="570" y="340"/>
                    <a:pt x="567" y="340"/>
                    <a:pt x="565" y="341"/>
                  </a:cubicBezTo>
                  <a:cubicBezTo>
                    <a:pt x="553" y="342"/>
                    <a:pt x="553" y="342"/>
                    <a:pt x="553" y="342"/>
                  </a:cubicBezTo>
                  <a:cubicBezTo>
                    <a:pt x="554" y="338"/>
                    <a:pt x="554" y="338"/>
                    <a:pt x="554" y="338"/>
                  </a:cubicBezTo>
                  <a:cubicBezTo>
                    <a:pt x="554" y="338"/>
                    <a:pt x="554" y="338"/>
                    <a:pt x="554" y="338"/>
                  </a:cubicBezTo>
                  <a:cubicBezTo>
                    <a:pt x="554" y="337"/>
                    <a:pt x="554" y="337"/>
                    <a:pt x="554" y="337"/>
                  </a:cubicBezTo>
                  <a:cubicBezTo>
                    <a:pt x="553" y="337"/>
                    <a:pt x="553" y="337"/>
                    <a:pt x="553" y="337"/>
                  </a:cubicBezTo>
                  <a:cubicBezTo>
                    <a:pt x="553" y="336"/>
                    <a:pt x="553" y="336"/>
                    <a:pt x="553" y="336"/>
                  </a:cubicBezTo>
                  <a:cubicBezTo>
                    <a:pt x="552" y="335"/>
                    <a:pt x="552" y="335"/>
                    <a:pt x="552" y="335"/>
                  </a:cubicBezTo>
                  <a:cubicBezTo>
                    <a:pt x="552" y="335"/>
                    <a:pt x="552" y="335"/>
                    <a:pt x="552" y="335"/>
                  </a:cubicBezTo>
                  <a:cubicBezTo>
                    <a:pt x="552" y="334"/>
                    <a:pt x="552" y="334"/>
                    <a:pt x="552" y="334"/>
                  </a:cubicBezTo>
                  <a:cubicBezTo>
                    <a:pt x="551" y="333"/>
                    <a:pt x="550" y="333"/>
                    <a:pt x="550" y="332"/>
                  </a:cubicBezTo>
                  <a:cubicBezTo>
                    <a:pt x="549" y="331"/>
                    <a:pt x="549" y="331"/>
                    <a:pt x="549" y="331"/>
                  </a:cubicBezTo>
                  <a:cubicBezTo>
                    <a:pt x="546" y="328"/>
                    <a:pt x="543" y="325"/>
                    <a:pt x="541" y="321"/>
                  </a:cubicBezTo>
                  <a:cubicBezTo>
                    <a:pt x="536" y="308"/>
                    <a:pt x="536" y="308"/>
                    <a:pt x="536" y="308"/>
                  </a:cubicBezTo>
                  <a:cubicBezTo>
                    <a:pt x="536" y="307"/>
                    <a:pt x="536" y="307"/>
                    <a:pt x="535" y="306"/>
                  </a:cubicBezTo>
                  <a:cubicBezTo>
                    <a:pt x="534" y="304"/>
                    <a:pt x="534" y="304"/>
                    <a:pt x="534" y="304"/>
                  </a:cubicBezTo>
                  <a:cubicBezTo>
                    <a:pt x="534" y="303"/>
                    <a:pt x="534" y="303"/>
                    <a:pt x="534" y="303"/>
                  </a:cubicBezTo>
                  <a:cubicBezTo>
                    <a:pt x="534" y="303"/>
                    <a:pt x="534" y="303"/>
                    <a:pt x="534" y="303"/>
                  </a:cubicBezTo>
                  <a:cubicBezTo>
                    <a:pt x="534" y="303"/>
                    <a:pt x="534" y="303"/>
                    <a:pt x="534" y="303"/>
                  </a:cubicBezTo>
                  <a:cubicBezTo>
                    <a:pt x="533" y="303"/>
                    <a:pt x="533" y="303"/>
                    <a:pt x="533" y="303"/>
                  </a:cubicBezTo>
                  <a:cubicBezTo>
                    <a:pt x="532" y="303"/>
                    <a:pt x="532" y="303"/>
                    <a:pt x="532" y="303"/>
                  </a:cubicBezTo>
                  <a:cubicBezTo>
                    <a:pt x="532" y="303"/>
                    <a:pt x="532" y="303"/>
                    <a:pt x="532" y="303"/>
                  </a:cubicBezTo>
                  <a:cubicBezTo>
                    <a:pt x="532" y="303"/>
                    <a:pt x="532" y="302"/>
                    <a:pt x="532" y="302"/>
                  </a:cubicBezTo>
                  <a:cubicBezTo>
                    <a:pt x="530" y="302"/>
                    <a:pt x="529" y="301"/>
                    <a:pt x="529" y="299"/>
                  </a:cubicBezTo>
                  <a:cubicBezTo>
                    <a:pt x="529" y="298"/>
                    <a:pt x="529" y="298"/>
                    <a:pt x="529" y="298"/>
                  </a:cubicBezTo>
                  <a:cubicBezTo>
                    <a:pt x="528" y="297"/>
                    <a:pt x="528" y="296"/>
                    <a:pt x="529" y="295"/>
                  </a:cubicBezTo>
                  <a:cubicBezTo>
                    <a:pt x="528" y="295"/>
                    <a:pt x="527" y="295"/>
                    <a:pt x="526" y="295"/>
                  </a:cubicBezTo>
                  <a:cubicBezTo>
                    <a:pt x="524" y="295"/>
                    <a:pt x="522" y="295"/>
                    <a:pt x="521" y="294"/>
                  </a:cubicBezTo>
                  <a:cubicBezTo>
                    <a:pt x="516" y="292"/>
                    <a:pt x="511" y="289"/>
                    <a:pt x="507" y="287"/>
                  </a:cubicBezTo>
                  <a:cubicBezTo>
                    <a:pt x="506" y="286"/>
                    <a:pt x="506" y="286"/>
                    <a:pt x="506" y="286"/>
                  </a:cubicBezTo>
                  <a:cubicBezTo>
                    <a:pt x="505" y="286"/>
                    <a:pt x="504" y="285"/>
                    <a:pt x="504" y="285"/>
                  </a:cubicBezTo>
                  <a:cubicBezTo>
                    <a:pt x="487" y="275"/>
                    <a:pt x="487" y="275"/>
                    <a:pt x="487" y="275"/>
                  </a:cubicBezTo>
                  <a:cubicBezTo>
                    <a:pt x="485" y="274"/>
                    <a:pt x="484" y="274"/>
                    <a:pt x="481" y="273"/>
                  </a:cubicBezTo>
                  <a:cubicBezTo>
                    <a:pt x="480" y="273"/>
                    <a:pt x="480" y="273"/>
                    <a:pt x="480" y="273"/>
                  </a:cubicBezTo>
                  <a:cubicBezTo>
                    <a:pt x="479" y="273"/>
                    <a:pt x="479" y="273"/>
                    <a:pt x="478" y="273"/>
                  </a:cubicBezTo>
                  <a:cubicBezTo>
                    <a:pt x="469" y="272"/>
                    <a:pt x="459" y="271"/>
                    <a:pt x="450" y="270"/>
                  </a:cubicBezTo>
                  <a:cubicBezTo>
                    <a:pt x="447" y="270"/>
                    <a:pt x="447" y="270"/>
                    <a:pt x="447" y="270"/>
                  </a:cubicBezTo>
                  <a:cubicBezTo>
                    <a:pt x="443" y="270"/>
                    <a:pt x="439" y="269"/>
                    <a:pt x="435" y="269"/>
                  </a:cubicBezTo>
                  <a:cubicBezTo>
                    <a:pt x="431" y="269"/>
                    <a:pt x="427" y="268"/>
                    <a:pt x="424" y="267"/>
                  </a:cubicBezTo>
                  <a:cubicBezTo>
                    <a:pt x="423" y="267"/>
                    <a:pt x="423" y="267"/>
                    <a:pt x="423" y="267"/>
                  </a:cubicBezTo>
                  <a:cubicBezTo>
                    <a:pt x="422" y="267"/>
                    <a:pt x="422" y="267"/>
                    <a:pt x="422" y="267"/>
                  </a:cubicBezTo>
                  <a:cubicBezTo>
                    <a:pt x="420" y="266"/>
                    <a:pt x="420" y="265"/>
                    <a:pt x="419" y="264"/>
                  </a:cubicBezTo>
                  <a:cubicBezTo>
                    <a:pt x="417" y="262"/>
                    <a:pt x="416" y="260"/>
                    <a:pt x="415" y="258"/>
                  </a:cubicBezTo>
                  <a:cubicBezTo>
                    <a:pt x="413" y="254"/>
                    <a:pt x="415" y="250"/>
                    <a:pt x="417" y="247"/>
                  </a:cubicBezTo>
                  <a:cubicBezTo>
                    <a:pt x="417" y="247"/>
                    <a:pt x="417" y="247"/>
                    <a:pt x="417" y="247"/>
                  </a:cubicBezTo>
                  <a:cubicBezTo>
                    <a:pt x="417" y="247"/>
                    <a:pt x="418" y="246"/>
                    <a:pt x="418" y="246"/>
                  </a:cubicBezTo>
                  <a:cubicBezTo>
                    <a:pt x="418" y="245"/>
                    <a:pt x="418" y="245"/>
                    <a:pt x="419" y="244"/>
                  </a:cubicBezTo>
                  <a:cubicBezTo>
                    <a:pt x="419" y="243"/>
                    <a:pt x="419" y="243"/>
                    <a:pt x="419" y="243"/>
                  </a:cubicBezTo>
                  <a:cubicBezTo>
                    <a:pt x="420" y="242"/>
                    <a:pt x="420" y="241"/>
                    <a:pt x="421" y="240"/>
                  </a:cubicBezTo>
                  <a:cubicBezTo>
                    <a:pt x="421" y="239"/>
                    <a:pt x="421" y="239"/>
                    <a:pt x="421" y="239"/>
                  </a:cubicBezTo>
                  <a:cubicBezTo>
                    <a:pt x="421" y="239"/>
                    <a:pt x="422" y="239"/>
                    <a:pt x="422" y="238"/>
                  </a:cubicBezTo>
                  <a:cubicBezTo>
                    <a:pt x="422" y="238"/>
                    <a:pt x="422" y="237"/>
                    <a:pt x="422" y="237"/>
                  </a:cubicBezTo>
                  <a:cubicBezTo>
                    <a:pt x="422" y="236"/>
                    <a:pt x="422" y="236"/>
                    <a:pt x="422" y="236"/>
                  </a:cubicBezTo>
                  <a:cubicBezTo>
                    <a:pt x="422" y="235"/>
                    <a:pt x="422" y="235"/>
                    <a:pt x="422" y="235"/>
                  </a:cubicBezTo>
                  <a:cubicBezTo>
                    <a:pt x="422" y="232"/>
                    <a:pt x="421" y="228"/>
                    <a:pt x="422" y="224"/>
                  </a:cubicBezTo>
                  <a:cubicBezTo>
                    <a:pt x="422" y="222"/>
                    <a:pt x="422" y="222"/>
                    <a:pt x="422" y="222"/>
                  </a:cubicBezTo>
                  <a:cubicBezTo>
                    <a:pt x="422" y="221"/>
                    <a:pt x="423" y="219"/>
                    <a:pt x="422" y="219"/>
                  </a:cubicBezTo>
                  <a:cubicBezTo>
                    <a:pt x="421" y="217"/>
                    <a:pt x="421" y="217"/>
                    <a:pt x="421" y="217"/>
                  </a:cubicBezTo>
                  <a:cubicBezTo>
                    <a:pt x="420" y="215"/>
                    <a:pt x="418" y="213"/>
                    <a:pt x="417" y="210"/>
                  </a:cubicBezTo>
                  <a:cubicBezTo>
                    <a:pt x="413" y="204"/>
                    <a:pt x="413" y="204"/>
                    <a:pt x="413" y="204"/>
                  </a:cubicBezTo>
                  <a:cubicBezTo>
                    <a:pt x="411" y="202"/>
                    <a:pt x="410" y="200"/>
                    <a:pt x="409" y="197"/>
                  </a:cubicBezTo>
                  <a:cubicBezTo>
                    <a:pt x="409" y="197"/>
                    <a:pt x="409" y="196"/>
                    <a:pt x="408" y="196"/>
                  </a:cubicBezTo>
                  <a:cubicBezTo>
                    <a:pt x="408" y="195"/>
                    <a:pt x="408" y="195"/>
                    <a:pt x="408" y="195"/>
                  </a:cubicBezTo>
                  <a:cubicBezTo>
                    <a:pt x="408" y="194"/>
                    <a:pt x="407" y="191"/>
                    <a:pt x="406" y="190"/>
                  </a:cubicBezTo>
                  <a:cubicBezTo>
                    <a:pt x="405" y="189"/>
                    <a:pt x="405" y="189"/>
                    <a:pt x="404" y="188"/>
                  </a:cubicBezTo>
                  <a:cubicBezTo>
                    <a:pt x="402" y="186"/>
                    <a:pt x="401" y="185"/>
                    <a:pt x="400" y="185"/>
                  </a:cubicBezTo>
                  <a:cubicBezTo>
                    <a:pt x="399" y="185"/>
                    <a:pt x="399" y="185"/>
                    <a:pt x="399" y="185"/>
                  </a:cubicBezTo>
                  <a:cubicBezTo>
                    <a:pt x="399" y="185"/>
                    <a:pt x="398" y="185"/>
                    <a:pt x="398" y="185"/>
                  </a:cubicBezTo>
                  <a:cubicBezTo>
                    <a:pt x="393" y="185"/>
                    <a:pt x="391" y="184"/>
                    <a:pt x="388" y="181"/>
                  </a:cubicBezTo>
                  <a:cubicBezTo>
                    <a:pt x="387" y="180"/>
                    <a:pt x="387" y="180"/>
                    <a:pt x="387" y="180"/>
                  </a:cubicBezTo>
                  <a:cubicBezTo>
                    <a:pt x="387" y="180"/>
                    <a:pt x="386" y="180"/>
                    <a:pt x="386" y="180"/>
                  </a:cubicBezTo>
                  <a:cubicBezTo>
                    <a:pt x="385" y="180"/>
                    <a:pt x="385" y="180"/>
                    <a:pt x="384" y="180"/>
                  </a:cubicBezTo>
                  <a:cubicBezTo>
                    <a:pt x="383" y="180"/>
                    <a:pt x="382" y="180"/>
                    <a:pt x="380" y="180"/>
                  </a:cubicBezTo>
                  <a:cubicBezTo>
                    <a:pt x="379" y="180"/>
                    <a:pt x="379" y="180"/>
                    <a:pt x="379" y="180"/>
                  </a:cubicBezTo>
                  <a:cubicBezTo>
                    <a:pt x="378" y="180"/>
                    <a:pt x="377" y="180"/>
                    <a:pt x="376" y="180"/>
                  </a:cubicBezTo>
                  <a:cubicBezTo>
                    <a:pt x="376" y="180"/>
                    <a:pt x="375" y="179"/>
                    <a:pt x="374" y="179"/>
                  </a:cubicBezTo>
                  <a:cubicBezTo>
                    <a:pt x="374" y="179"/>
                    <a:pt x="373" y="178"/>
                    <a:pt x="373" y="178"/>
                  </a:cubicBezTo>
                  <a:cubicBezTo>
                    <a:pt x="372" y="178"/>
                    <a:pt x="372" y="178"/>
                    <a:pt x="372" y="178"/>
                  </a:cubicBezTo>
                  <a:cubicBezTo>
                    <a:pt x="368" y="175"/>
                    <a:pt x="366" y="174"/>
                    <a:pt x="363" y="169"/>
                  </a:cubicBezTo>
                  <a:cubicBezTo>
                    <a:pt x="362" y="167"/>
                    <a:pt x="360" y="166"/>
                    <a:pt x="358" y="165"/>
                  </a:cubicBezTo>
                  <a:cubicBezTo>
                    <a:pt x="357" y="165"/>
                    <a:pt x="356" y="164"/>
                    <a:pt x="355" y="164"/>
                  </a:cubicBezTo>
                  <a:cubicBezTo>
                    <a:pt x="353" y="164"/>
                    <a:pt x="353" y="164"/>
                    <a:pt x="353" y="164"/>
                  </a:cubicBezTo>
                  <a:cubicBezTo>
                    <a:pt x="353" y="164"/>
                    <a:pt x="352" y="163"/>
                    <a:pt x="352" y="163"/>
                  </a:cubicBezTo>
                  <a:cubicBezTo>
                    <a:pt x="351" y="163"/>
                    <a:pt x="351" y="163"/>
                    <a:pt x="351" y="163"/>
                  </a:cubicBezTo>
                  <a:cubicBezTo>
                    <a:pt x="349" y="162"/>
                    <a:pt x="348" y="161"/>
                    <a:pt x="347" y="161"/>
                  </a:cubicBezTo>
                  <a:cubicBezTo>
                    <a:pt x="347" y="159"/>
                    <a:pt x="347" y="157"/>
                    <a:pt x="348" y="156"/>
                  </a:cubicBezTo>
                  <a:cubicBezTo>
                    <a:pt x="348" y="156"/>
                    <a:pt x="348" y="156"/>
                    <a:pt x="348" y="156"/>
                  </a:cubicBezTo>
                  <a:cubicBezTo>
                    <a:pt x="347" y="156"/>
                    <a:pt x="346" y="155"/>
                    <a:pt x="345" y="154"/>
                  </a:cubicBezTo>
                  <a:cubicBezTo>
                    <a:pt x="344" y="154"/>
                    <a:pt x="343" y="153"/>
                    <a:pt x="343" y="151"/>
                  </a:cubicBezTo>
                  <a:cubicBezTo>
                    <a:pt x="342" y="150"/>
                    <a:pt x="342" y="148"/>
                    <a:pt x="342" y="147"/>
                  </a:cubicBezTo>
                  <a:cubicBezTo>
                    <a:pt x="334" y="145"/>
                    <a:pt x="334" y="145"/>
                    <a:pt x="334" y="145"/>
                  </a:cubicBezTo>
                  <a:cubicBezTo>
                    <a:pt x="334" y="145"/>
                    <a:pt x="334" y="145"/>
                    <a:pt x="334" y="145"/>
                  </a:cubicBezTo>
                  <a:cubicBezTo>
                    <a:pt x="333" y="145"/>
                    <a:pt x="333" y="145"/>
                    <a:pt x="333" y="145"/>
                  </a:cubicBezTo>
                  <a:cubicBezTo>
                    <a:pt x="333" y="145"/>
                    <a:pt x="333" y="145"/>
                    <a:pt x="333" y="145"/>
                  </a:cubicBezTo>
                  <a:cubicBezTo>
                    <a:pt x="332" y="145"/>
                    <a:pt x="332" y="145"/>
                    <a:pt x="331" y="145"/>
                  </a:cubicBezTo>
                  <a:cubicBezTo>
                    <a:pt x="330" y="145"/>
                    <a:pt x="330" y="145"/>
                    <a:pt x="330" y="145"/>
                  </a:cubicBezTo>
                  <a:cubicBezTo>
                    <a:pt x="329" y="145"/>
                    <a:pt x="329" y="145"/>
                    <a:pt x="328" y="145"/>
                  </a:cubicBezTo>
                  <a:cubicBezTo>
                    <a:pt x="328" y="145"/>
                    <a:pt x="328" y="145"/>
                    <a:pt x="328" y="145"/>
                  </a:cubicBezTo>
                  <a:cubicBezTo>
                    <a:pt x="327" y="145"/>
                    <a:pt x="327" y="145"/>
                    <a:pt x="326" y="145"/>
                  </a:cubicBezTo>
                  <a:cubicBezTo>
                    <a:pt x="326" y="145"/>
                    <a:pt x="326" y="145"/>
                    <a:pt x="326" y="145"/>
                  </a:cubicBezTo>
                  <a:cubicBezTo>
                    <a:pt x="326" y="145"/>
                    <a:pt x="325" y="145"/>
                    <a:pt x="325" y="145"/>
                  </a:cubicBezTo>
                  <a:cubicBezTo>
                    <a:pt x="325" y="145"/>
                    <a:pt x="325" y="145"/>
                    <a:pt x="325" y="145"/>
                  </a:cubicBezTo>
                  <a:cubicBezTo>
                    <a:pt x="324" y="145"/>
                    <a:pt x="324" y="146"/>
                    <a:pt x="324" y="147"/>
                  </a:cubicBezTo>
                  <a:cubicBezTo>
                    <a:pt x="324" y="148"/>
                    <a:pt x="324" y="148"/>
                    <a:pt x="324" y="149"/>
                  </a:cubicBezTo>
                  <a:cubicBezTo>
                    <a:pt x="324" y="149"/>
                    <a:pt x="324" y="150"/>
                    <a:pt x="324" y="151"/>
                  </a:cubicBezTo>
                  <a:cubicBezTo>
                    <a:pt x="324" y="154"/>
                    <a:pt x="324" y="154"/>
                    <a:pt x="324" y="154"/>
                  </a:cubicBezTo>
                  <a:cubicBezTo>
                    <a:pt x="324" y="154"/>
                    <a:pt x="324" y="154"/>
                    <a:pt x="324" y="154"/>
                  </a:cubicBezTo>
                  <a:cubicBezTo>
                    <a:pt x="323" y="154"/>
                    <a:pt x="323" y="154"/>
                    <a:pt x="323" y="154"/>
                  </a:cubicBezTo>
                  <a:cubicBezTo>
                    <a:pt x="324" y="155"/>
                    <a:pt x="324" y="155"/>
                    <a:pt x="324" y="155"/>
                  </a:cubicBezTo>
                  <a:cubicBezTo>
                    <a:pt x="323" y="155"/>
                    <a:pt x="323" y="155"/>
                    <a:pt x="323" y="155"/>
                  </a:cubicBezTo>
                  <a:cubicBezTo>
                    <a:pt x="322" y="157"/>
                    <a:pt x="319" y="162"/>
                    <a:pt x="315" y="163"/>
                  </a:cubicBezTo>
                  <a:cubicBezTo>
                    <a:pt x="311" y="165"/>
                    <a:pt x="307" y="166"/>
                    <a:pt x="303" y="166"/>
                  </a:cubicBezTo>
                  <a:cubicBezTo>
                    <a:pt x="302" y="166"/>
                    <a:pt x="302" y="166"/>
                    <a:pt x="301" y="166"/>
                  </a:cubicBezTo>
                  <a:cubicBezTo>
                    <a:pt x="301" y="166"/>
                    <a:pt x="299" y="166"/>
                    <a:pt x="299" y="167"/>
                  </a:cubicBezTo>
                  <a:cubicBezTo>
                    <a:pt x="297" y="167"/>
                    <a:pt x="293" y="175"/>
                    <a:pt x="294" y="177"/>
                  </a:cubicBezTo>
                  <a:cubicBezTo>
                    <a:pt x="294" y="180"/>
                    <a:pt x="295" y="183"/>
                    <a:pt x="295" y="185"/>
                  </a:cubicBezTo>
                  <a:cubicBezTo>
                    <a:pt x="295" y="186"/>
                    <a:pt x="295" y="186"/>
                    <a:pt x="295" y="186"/>
                  </a:cubicBezTo>
                  <a:cubicBezTo>
                    <a:pt x="296" y="189"/>
                    <a:pt x="296" y="192"/>
                    <a:pt x="297" y="196"/>
                  </a:cubicBezTo>
                  <a:cubicBezTo>
                    <a:pt x="298" y="204"/>
                    <a:pt x="291" y="208"/>
                    <a:pt x="286" y="210"/>
                  </a:cubicBezTo>
                  <a:cubicBezTo>
                    <a:pt x="284" y="211"/>
                    <a:pt x="284" y="211"/>
                    <a:pt x="284" y="211"/>
                  </a:cubicBezTo>
                  <a:cubicBezTo>
                    <a:pt x="281" y="213"/>
                    <a:pt x="278" y="214"/>
                    <a:pt x="275" y="214"/>
                  </a:cubicBezTo>
                  <a:cubicBezTo>
                    <a:pt x="273" y="214"/>
                    <a:pt x="271" y="213"/>
                    <a:pt x="269" y="213"/>
                  </a:cubicBezTo>
                  <a:cubicBezTo>
                    <a:pt x="267" y="212"/>
                    <a:pt x="263" y="211"/>
                    <a:pt x="260" y="211"/>
                  </a:cubicBezTo>
                  <a:cubicBezTo>
                    <a:pt x="259" y="211"/>
                    <a:pt x="258" y="211"/>
                    <a:pt x="257" y="212"/>
                  </a:cubicBezTo>
                  <a:cubicBezTo>
                    <a:pt x="256" y="212"/>
                    <a:pt x="254" y="212"/>
                    <a:pt x="253" y="212"/>
                  </a:cubicBezTo>
                  <a:cubicBezTo>
                    <a:pt x="246" y="212"/>
                    <a:pt x="238" y="208"/>
                    <a:pt x="238" y="208"/>
                  </a:cubicBezTo>
                  <a:cubicBezTo>
                    <a:pt x="236" y="207"/>
                    <a:pt x="236" y="207"/>
                    <a:pt x="236" y="207"/>
                  </a:cubicBezTo>
                  <a:cubicBezTo>
                    <a:pt x="235" y="206"/>
                    <a:pt x="232" y="205"/>
                    <a:pt x="231" y="204"/>
                  </a:cubicBezTo>
                  <a:cubicBezTo>
                    <a:pt x="231" y="204"/>
                    <a:pt x="231" y="204"/>
                    <a:pt x="231" y="204"/>
                  </a:cubicBezTo>
                  <a:cubicBezTo>
                    <a:pt x="231" y="205"/>
                    <a:pt x="230" y="205"/>
                    <a:pt x="230" y="205"/>
                  </a:cubicBezTo>
                  <a:cubicBezTo>
                    <a:pt x="214" y="252"/>
                    <a:pt x="214" y="252"/>
                    <a:pt x="214" y="252"/>
                  </a:cubicBezTo>
                  <a:cubicBezTo>
                    <a:pt x="215" y="252"/>
                    <a:pt x="215" y="252"/>
                    <a:pt x="215" y="252"/>
                  </a:cubicBezTo>
                  <a:cubicBezTo>
                    <a:pt x="217" y="252"/>
                    <a:pt x="219" y="253"/>
                    <a:pt x="220" y="254"/>
                  </a:cubicBezTo>
                  <a:cubicBezTo>
                    <a:pt x="222" y="256"/>
                    <a:pt x="222" y="259"/>
                    <a:pt x="221" y="262"/>
                  </a:cubicBezTo>
                  <a:cubicBezTo>
                    <a:pt x="221" y="263"/>
                    <a:pt x="221" y="263"/>
                    <a:pt x="221" y="263"/>
                  </a:cubicBezTo>
                  <a:cubicBezTo>
                    <a:pt x="221" y="266"/>
                    <a:pt x="218" y="267"/>
                    <a:pt x="213" y="267"/>
                  </a:cubicBezTo>
                  <a:cubicBezTo>
                    <a:pt x="212" y="267"/>
                    <a:pt x="210" y="267"/>
                    <a:pt x="209" y="267"/>
                  </a:cubicBezTo>
                  <a:cubicBezTo>
                    <a:pt x="208" y="267"/>
                    <a:pt x="208" y="267"/>
                    <a:pt x="208" y="267"/>
                  </a:cubicBezTo>
                  <a:cubicBezTo>
                    <a:pt x="207" y="267"/>
                    <a:pt x="206" y="267"/>
                    <a:pt x="206" y="267"/>
                  </a:cubicBezTo>
                  <a:cubicBezTo>
                    <a:pt x="205" y="267"/>
                    <a:pt x="204" y="267"/>
                    <a:pt x="203" y="267"/>
                  </a:cubicBezTo>
                  <a:cubicBezTo>
                    <a:pt x="200" y="267"/>
                    <a:pt x="197" y="267"/>
                    <a:pt x="196" y="264"/>
                  </a:cubicBezTo>
                  <a:cubicBezTo>
                    <a:pt x="195" y="264"/>
                    <a:pt x="195" y="263"/>
                    <a:pt x="195" y="262"/>
                  </a:cubicBezTo>
                  <a:cubicBezTo>
                    <a:pt x="194" y="262"/>
                    <a:pt x="193" y="263"/>
                    <a:pt x="191" y="263"/>
                  </a:cubicBezTo>
                  <a:cubicBezTo>
                    <a:pt x="191" y="263"/>
                    <a:pt x="190" y="264"/>
                    <a:pt x="189" y="264"/>
                  </a:cubicBezTo>
                  <a:cubicBezTo>
                    <a:pt x="175" y="268"/>
                    <a:pt x="175" y="268"/>
                    <a:pt x="175" y="268"/>
                  </a:cubicBezTo>
                  <a:cubicBezTo>
                    <a:pt x="169" y="269"/>
                    <a:pt x="165" y="270"/>
                    <a:pt x="159" y="272"/>
                  </a:cubicBezTo>
                  <a:cubicBezTo>
                    <a:pt x="158" y="272"/>
                    <a:pt x="158" y="272"/>
                    <a:pt x="158" y="272"/>
                  </a:cubicBezTo>
                  <a:cubicBezTo>
                    <a:pt x="157" y="272"/>
                    <a:pt x="156" y="272"/>
                    <a:pt x="155" y="273"/>
                  </a:cubicBezTo>
                  <a:cubicBezTo>
                    <a:pt x="156" y="273"/>
                    <a:pt x="156" y="273"/>
                    <a:pt x="156" y="273"/>
                  </a:cubicBezTo>
                  <a:cubicBezTo>
                    <a:pt x="156" y="273"/>
                    <a:pt x="157" y="272"/>
                    <a:pt x="158" y="272"/>
                  </a:cubicBezTo>
                  <a:cubicBezTo>
                    <a:pt x="161" y="272"/>
                    <a:pt x="165" y="274"/>
                    <a:pt x="168" y="275"/>
                  </a:cubicBezTo>
                  <a:cubicBezTo>
                    <a:pt x="171" y="277"/>
                    <a:pt x="171" y="277"/>
                    <a:pt x="171" y="277"/>
                  </a:cubicBezTo>
                  <a:cubicBezTo>
                    <a:pt x="168" y="280"/>
                    <a:pt x="168" y="280"/>
                    <a:pt x="168" y="280"/>
                  </a:cubicBezTo>
                  <a:cubicBezTo>
                    <a:pt x="167" y="281"/>
                    <a:pt x="167" y="281"/>
                    <a:pt x="166" y="282"/>
                  </a:cubicBezTo>
                  <a:cubicBezTo>
                    <a:pt x="166" y="282"/>
                    <a:pt x="166" y="282"/>
                    <a:pt x="165" y="283"/>
                  </a:cubicBezTo>
                  <a:cubicBezTo>
                    <a:pt x="165" y="285"/>
                    <a:pt x="165" y="288"/>
                    <a:pt x="166" y="290"/>
                  </a:cubicBezTo>
                  <a:cubicBezTo>
                    <a:pt x="166" y="292"/>
                    <a:pt x="166" y="292"/>
                    <a:pt x="166" y="292"/>
                  </a:cubicBezTo>
                  <a:cubicBezTo>
                    <a:pt x="167" y="296"/>
                    <a:pt x="167" y="298"/>
                    <a:pt x="168" y="301"/>
                  </a:cubicBezTo>
                  <a:cubicBezTo>
                    <a:pt x="169" y="303"/>
                    <a:pt x="170" y="304"/>
                    <a:pt x="170" y="305"/>
                  </a:cubicBezTo>
                  <a:cubicBezTo>
                    <a:pt x="170" y="306"/>
                    <a:pt x="170" y="306"/>
                    <a:pt x="170" y="306"/>
                  </a:cubicBezTo>
                  <a:cubicBezTo>
                    <a:pt x="171" y="308"/>
                    <a:pt x="172" y="310"/>
                    <a:pt x="173" y="311"/>
                  </a:cubicBezTo>
                  <a:cubicBezTo>
                    <a:pt x="174" y="313"/>
                    <a:pt x="174" y="314"/>
                    <a:pt x="175" y="316"/>
                  </a:cubicBezTo>
                  <a:cubicBezTo>
                    <a:pt x="175" y="316"/>
                    <a:pt x="175" y="316"/>
                    <a:pt x="175" y="316"/>
                  </a:cubicBezTo>
                  <a:cubicBezTo>
                    <a:pt x="175" y="316"/>
                    <a:pt x="175" y="317"/>
                    <a:pt x="175" y="317"/>
                  </a:cubicBezTo>
                  <a:cubicBezTo>
                    <a:pt x="177" y="325"/>
                    <a:pt x="177" y="326"/>
                    <a:pt x="176" y="327"/>
                  </a:cubicBezTo>
                  <a:cubicBezTo>
                    <a:pt x="175" y="329"/>
                    <a:pt x="173" y="329"/>
                    <a:pt x="170" y="330"/>
                  </a:cubicBezTo>
                  <a:cubicBezTo>
                    <a:pt x="169" y="330"/>
                    <a:pt x="169" y="330"/>
                    <a:pt x="168" y="330"/>
                  </a:cubicBezTo>
                  <a:cubicBezTo>
                    <a:pt x="169" y="331"/>
                    <a:pt x="170" y="332"/>
                    <a:pt x="170" y="334"/>
                  </a:cubicBezTo>
                  <a:cubicBezTo>
                    <a:pt x="170" y="336"/>
                    <a:pt x="167" y="337"/>
                    <a:pt x="164" y="338"/>
                  </a:cubicBezTo>
                  <a:cubicBezTo>
                    <a:pt x="163" y="338"/>
                    <a:pt x="162" y="338"/>
                    <a:pt x="162" y="338"/>
                  </a:cubicBezTo>
                  <a:cubicBezTo>
                    <a:pt x="161" y="340"/>
                    <a:pt x="161" y="341"/>
                    <a:pt x="161" y="343"/>
                  </a:cubicBezTo>
                  <a:cubicBezTo>
                    <a:pt x="162" y="345"/>
                    <a:pt x="162" y="345"/>
                    <a:pt x="162" y="345"/>
                  </a:cubicBezTo>
                  <a:cubicBezTo>
                    <a:pt x="162" y="347"/>
                    <a:pt x="163" y="350"/>
                    <a:pt x="162" y="353"/>
                  </a:cubicBezTo>
                  <a:cubicBezTo>
                    <a:pt x="162" y="354"/>
                    <a:pt x="162" y="354"/>
                    <a:pt x="162" y="354"/>
                  </a:cubicBezTo>
                  <a:cubicBezTo>
                    <a:pt x="163" y="355"/>
                    <a:pt x="163" y="355"/>
                    <a:pt x="163" y="355"/>
                  </a:cubicBezTo>
                  <a:cubicBezTo>
                    <a:pt x="163" y="356"/>
                    <a:pt x="163" y="356"/>
                    <a:pt x="163" y="356"/>
                  </a:cubicBezTo>
                  <a:cubicBezTo>
                    <a:pt x="163" y="358"/>
                    <a:pt x="163" y="359"/>
                    <a:pt x="162" y="360"/>
                  </a:cubicBezTo>
                  <a:cubicBezTo>
                    <a:pt x="162" y="364"/>
                    <a:pt x="162" y="364"/>
                    <a:pt x="162" y="364"/>
                  </a:cubicBezTo>
                  <a:cubicBezTo>
                    <a:pt x="160" y="361"/>
                    <a:pt x="160" y="361"/>
                    <a:pt x="160" y="361"/>
                  </a:cubicBezTo>
                  <a:cubicBezTo>
                    <a:pt x="159" y="362"/>
                    <a:pt x="158" y="362"/>
                    <a:pt x="157" y="363"/>
                  </a:cubicBezTo>
                  <a:cubicBezTo>
                    <a:pt x="153" y="364"/>
                    <a:pt x="153" y="364"/>
                    <a:pt x="153" y="364"/>
                  </a:cubicBezTo>
                  <a:cubicBezTo>
                    <a:pt x="148" y="366"/>
                    <a:pt x="143" y="368"/>
                    <a:pt x="138" y="370"/>
                  </a:cubicBezTo>
                  <a:cubicBezTo>
                    <a:pt x="137" y="370"/>
                    <a:pt x="136" y="371"/>
                    <a:pt x="134" y="371"/>
                  </a:cubicBezTo>
                  <a:cubicBezTo>
                    <a:pt x="134" y="371"/>
                    <a:pt x="134" y="371"/>
                    <a:pt x="134" y="371"/>
                  </a:cubicBezTo>
                  <a:cubicBezTo>
                    <a:pt x="130" y="373"/>
                    <a:pt x="127" y="374"/>
                    <a:pt x="124" y="376"/>
                  </a:cubicBezTo>
                  <a:cubicBezTo>
                    <a:pt x="123" y="376"/>
                    <a:pt x="123" y="376"/>
                    <a:pt x="123" y="376"/>
                  </a:cubicBezTo>
                  <a:cubicBezTo>
                    <a:pt x="122" y="376"/>
                    <a:pt x="120" y="378"/>
                    <a:pt x="119" y="380"/>
                  </a:cubicBezTo>
                  <a:cubicBezTo>
                    <a:pt x="118" y="380"/>
                    <a:pt x="118" y="380"/>
                    <a:pt x="118" y="380"/>
                  </a:cubicBezTo>
                  <a:cubicBezTo>
                    <a:pt x="118" y="381"/>
                    <a:pt x="118" y="381"/>
                    <a:pt x="117" y="382"/>
                  </a:cubicBezTo>
                  <a:cubicBezTo>
                    <a:pt x="116" y="383"/>
                    <a:pt x="116" y="383"/>
                    <a:pt x="116" y="383"/>
                  </a:cubicBezTo>
                  <a:cubicBezTo>
                    <a:pt x="115" y="384"/>
                    <a:pt x="115" y="384"/>
                    <a:pt x="115" y="384"/>
                  </a:cubicBezTo>
                  <a:cubicBezTo>
                    <a:pt x="115" y="384"/>
                    <a:pt x="114" y="385"/>
                    <a:pt x="114" y="385"/>
                  </a:cubicBezTo>
                  <a:cubicBezTo>
                    <a:pt x="113" y="386"/>
                    <a:pt x="112" y="387"/>
                    <a:pt x="111" y="387"/>
                  </a:cubicBezTo>
                  <a:cubicBezTo>
                    <a:pt x="111" y="387"/>
                    <a:pt x="110" y="387"/>
                    <a:pt x="109" y="388"/>
                  </a:cubicBezTo>
                  <a:cubicBezTo>
                    <a:pt x="103" y="388"/>
                    <a:pt x="103" y="388"/>
                    <a:pt x="103" y="388"/>
                  </a:cubicBezTo>
                  <a:cubicBezTo>
                    <a:pt x="101" y="389"/>
                    <a:pt x="98" y="389"/>
                    <a:pt x="96" y="389"/>
                  </a:cubicBezTo>
                  <a:cubicBezTo>
                    <a:pt x="94" y="389"/>
                    <a:pt x="94" y="389"/>
                    <a:pt x="94" y="389"/>
                  </a:cubicBezTo>
                  <a:cubicBezTo>
                    <a:pt x="93" y="389"/>
                    <a:pt x="91" y="389"/>
                    <a:pt x="89" y="390"/>
                  </a:cubicBezTo>
                  <a:cubicBezTo>
                    <a:pt x="86" y="390"/>
                    <a:pt x="83" y="390"/>
                    <a:pt x="81" y="391"/>
                  </a:cubicBezTo>
                  <a:cubicBezTo>
                    <a:pt x="80" y="391"/>
                    <a:pt x="79" y="393"/>
                    <a:pt x="78" y="394"/>
                  </a:cubicBezTo>
                  <a:cubicBezTo>
                    <a:pt x="77" y="395"/>
                    <a:pt x="77" y="395"/>
                    <a:pt x="77" y="395"/>
                  </a:cubicBezTo>
                  <a:cubicBezTo>
                    <a:pt x="77" y="395"/>
                    <a:pt x="76" y="396"/>
                    <a:pt x="76" y="396"/>
                  </a:cubicBezTo>
                  <a:cubicBezTo>
                    <a:pt x="75" y="397"/>
                    <a:pt x="75" y="397"/>
                    <a:pt x="75" y="397"/>
                  </a:cubicBezTo>
                  <a:cubicBezTo>
                    <a:pt x="74" y="397"/>
                    <a:pt x="74" y="398"/>
                    <a:pt x="74" y="398"/>
                  </a:cubicBezTo>
                  <a:cubicBezTo>
                    <a:pt x="74" y="398"/>
                    <a:pt x="74" y="398"/>
                    <a:pt x="74" y="398"/>
                  </a:cubicBezTo>
                  <a:cubicBezTo>
                    <a:pt x="74" y="399"/>
                    <a:pt x="74" y="399"/>
                    <a:pt x="74" y="399"/>
                  </a:cubicBezTo>
                  <a:cubicBezTo>
                    <a:pt x="74" y="399"/>
                    <a:pt x="74" y="400"/>
                    <a:pt x="74" y="401"/>
                  </a:cubicBezTo>
                  <a:cubicBezTo>
                    <a:pt x="73" y="403"/>
                    <a:pt x="72" y="404"/>
                    <a:pt x="71" y="406"/>
                  </a:cubicBezTo>
                  <a:cubicBezTo>
                    <a:pt x="70" y="407"/>
                    <a:pt x="69" y="408"/>
                    <a:pt x="69" y="409"/>
                  </a:cubicBezTo>
                  <a:cubicBezTo>
                    <a:pt x="68" y="409"/>
                    <a:pt x="67" y="410"/>
                    <a:pt x="66" y="410"/>
                  </a:cubicBezTo>
                  <a:cubicBezTo>
                    <a:pt x="65" y="411"/>
                    <a:pt x="65" y="411"/>
                    <a:pt x="65" y="411"/>
                  </a:cubicBezTo>
                  <a:cubicBezTo>
                    <a:pt x="64" y="411"/>
                    <a:pt x="64" y="411"/>
                    <a:pt x="64" y="411"/>
                  </a:cubicBezTo>
                  <a:cubicBezTo>
                    <a:pt x="64" y="411"/>
                    <a:pt x="64" y="411"/>
                    <a:pt x="64" y="411"/>
                  </a:cubicBezTo>
                  <a:cubicBezTo>
                    <a:pt x="63" y="411"/>
                    <a:pt x="62" y="410"/>
                    <a:pt x="62" y="410"/>
                  </a:cubicBezTo>
                  <a:cubicBezTo>
                    <a:pt x="61" y="410"/>
                    <a:pt x="61" y="410"/>
                    <a:pt x="60" y="410"/>
                  </a:cubicBezTo>
                  <a:cubicBezTo>
                    <a:pt x="60" y="410"/>
                    <a:pt x="60" y="410"/>
                    <a:pt x="60" y="410"/>
                  </a:cubicBezTo>
                  <a:cubicBezTo>
                    <a:pt x="59" y="410"/>
                    <a:pt x="59" y="410"/>
                    <a:pt x="58" y="410"/>
                  </a:cubicBezTo>
                  <a:cubicBezTo>
                    <a:pt x="58" y="410"/>
                    <a:pt x="58" y="410"/>
                    <a:pt x="58" y="410"/>
                  </a:cubicBezTo>
                  <a:cubicBezTo>
                    <a:pt x="57" y="410"/>
                    <a:pt x="57" y="410"/>
                    <a:pt x="56" y="411"/>
                  </a:cubicBezTo>
                  <a:cubicBezTo>
                    <a:pt x="56" y="410"/>
                    <a:pt x="56" y="410"/>
                    <a:pt x="56" y="410"/>
                  </a:cubicBezTo>
                  <a:cubicBezTo>
                    <a:pt x="56" y="410"/>
                    <a:pt x="56" y="410"/>
                    <a:pt x="56" y="410"/>
                  </a:cubicBezTo>
                  <a:cubicBezTo>
                    <a:pt x="56" y="410"/>
                    <a:pt x="56" y="410"/>
                    <a:pt x="56" y="410"/>
                  </a:cubicBezTo>
                  <a:cubicBezTo>
                    <a:pt x="56" y="411"/>
                    <a:pt x="56" y="411"/>
                    <a:pt x="56" y="411"/>
                  </a:cubicBezTo>
                  <a:cubicBezTo>
                    <a:pt x="55" y="412"/>
                    <a:pt x="55" y="412"/>
                    <a:pt x="55" y="412"/>
                  </a:cubicBezTo>
                  <a:cubicBezTo>
                    <a:pt x="55" y="412"/>
                    <a:pt x="54" y="412"/>
                    <a:pt x="53" y="413"/>
                  </a:cubicBezTo>
                  <a:cubicBezTo>
                    <a:pt x="52" y="413"/>
                    <a:pt x="52" y="413"/>
                    <a:pt x="51" y="413"/>
                  </a:cubicBezTo>
                  <a:cubicBezTo>
                    <a:pt x="48" y="413"/>
                    <a:pt x="46" y="411"/>
                    <a:pt x="45" y="409"/>
                  </a:cubicBezTo>
                  <a:cubicBezTo>
                    <a:pt x="44" y="408"/>
                    <a:pt x="44" y="407"/>
                    <a:pt x="44" y="406"/>
                  </a:cubicBezTo>
                  <a:cubicBezTo>
                    <a:pt x="44" y="405"/>
                    <a:pt x="44" y="405"/>
                    <a:pt x="43" y="404"/>
                  </a:cubicBezTo>
                  <a:cubicBezTo>
                    <a:pt x="42" y="405"/>
                    <a:pt x="42" y="405"/>
                    <a:pt x="42" y="405"/>
                  </a:cubicBezTo>
                  <a:cubicBezTo>
                    <a:pt x="42" y="405"/>
                    <a:pt x="42" y="405"/>
                    <a:pt x="41" y="405"/>
                  </a:cubicBezTo>
                  <a:cubicBezTo>
                    <a:pt x="39" y="407"/>
                    <a:pt x="36" y="408"/>
                    <a:pt x="34" y="408"/>
                  </a:cubicBezTo>
                  <a:cubicBezTo>
                    <a:pt x="33" y="408"/>
                    <a:pt x="32" y="408"/>
                    <a:pt x="31" y="408"/>
                  </a:cubicBezTo>
                  <a:cubicBezTo>
                    <a:pt x="31" y="409"/>
                    <a:pt x="31" y="410"/>
                    <a:pt x="30" y="410"/>
                  </a:cubicBezTo>
                  <a:cubicBezTo>
                    <a:pt x="30" y="411"/>
                    <a:pt x="29" y="412"/>
                    <a:pt x="29" y="412"/>
                  </a:cubicBezTo>
                  <a:cubicBezTo>
                    <a:pt x="26" y="413"/>
                    <a:pt x="22" y="415"/>
                    <a:pt x="18" y="416"/>
                  </a:cubicBezTo>
                  <a:cubicBezTo>
                    <a:pt x="17" y="416"/>
                    <a:pt x="17" y="416"/>
                    <a:pt x="17" y="416"/>
                  </a:cubicBezTo>
                  <a:cubicBezTo>
                    <a:pt x="16" y="416"/>
                    <a:pt x="16" y="416"/>
                    <a:pt x="16" y="416"/>
                  </a:cubicBezTo>
                  <a:cubicBezTo>
                    <a:pt x="9" y="419"/>
                    <a:pt x="9" y="419"/>
                    <a:pt x="9" y="419"/>
                  </a:cubicBezTo>
                  <a:cubicBezTo>
                    <a:pt x="9" y="419"/>
                    <a:pt x="9" y="420"/>
                    <a:pt x="9" y="421"/>
                  </a:cubicBezTo>
                  <a:cubicBezTo>
                    <a:pt x="9" y="422"/>
                    <a:pt x="8" y="422"/>
                    <a:pt x="8" y="422"/>
                  </a:cubicBezTo>
                  <a:cubicBezTo>
                    <a:pt x="8" y="424"/>
                    <a:pt x="8" y="424"/>
                    <a:pt x="8" y="424"/>
                  </a:cubicBezTo>
                  <a:cubicBezTo>
                    <a:pt x="8" y="424"/>
                    <a:pt x="8" y="424"/>
                    <a:pt x="8" y="424"/>
                  </a:cubicBezTo>
                  <a:cubicBezTo>
                    <a:pt x="7" y="429"/>
                    <a:pt x="7" y="429"/>
                    <a:pt x="7" y="429"/>
                  </a:cubicBezTo>
                  <a:cubicBezTo>
                    <a:pt x="7" y="431"/>
                    <a:pt x="7" y="432"/>
                    <a:pt x="6" y="433"/>
                  </a:cubicBezTo>
                  <a:cubicBezTo>
                    <a:pt x="5" y="433"/>
                    <a:pt x="4" y="434"/>
                    <a:pt x="4" y="434"/>
                  </a:cubicBezTo>
                  <a:cubicBezTo>
                    <a:pt x="2" y="435"/>
                    <a:pt x="2" y="435"/>
                    <a:pt x="2" y="435"/>
                  </a:cubicBezTo>
                  <a:cubicBezTo>
                    <a:pt x="2" y="435"/>
                    <a:pt x="2" y="435"/>
                    <a:pt x="1" y="435"/>
                  </a:cubicBezTo>
                  <a:cubicBezTo>
                    <a:pt x="1" y="436"/>
                    <a:pt x="1" y="436"/>
                    <a:pt x="1" y="436"/>
                  </a:cubicBezTo>
                  <a:cubicBezTo>
                    <a:pt x="0" y="436"/>
                    <a:pt x="0" y="436"/>
                    <a:pt x="0" y="436"/>
                  </a:cubicBezTo>
                  <a:cubicBezTo>
                    <a:pt x="0" y="441"/>
                    <a:pt x="0" y="441"/>
                    <a:pt x="0" y="441"/>
                  </a:cubicBezTo>
                  <a:cubicBezTo>
                    <a:pt x="0" y="442"/>
                    <a:pt x="0" y="442"/>
                    <a:pt x="0" y="442"/>
                  </a:cubicBezTo>
                  <a:cubicBezTo>
                    <a:pt x="1" y="442"/>
                    <a:pt x="1" y="442"/>
                    <a:pt x="1" y="442"/>
                  </a:cubicBezTo>
                  <a:cubicBezTo>
                    <a:pt x="1" y="442"/>
                    <a:pt x="1" y="442"/>
                    <a:pt x="1" y="442"/>
                  </a:cubicBezTo>
                  <a:cubicBezTo>
                    <a:pt x="2" y="443"/>
                    <a:pt x="2" y="443"/>
                    <a:pt x="2" y="443"/>
                  </a:cubicBezTo>
                  <a:cubicBezTo>
                    <a:pt x="1" y="443"/>
                    <a:pt x="1" y="443"/>
                    <a:pt x="1" y="443"/>
                  </a:cubicBezTo>
                  <a:cubicBezTo>
                    <a:pt x="2" y="444"/>
                    <a:pt x="2" y="444"/>
                    <a:pt x="2" y="444"/>
                  </a:cubicBezTo>
                  <a:cubicBezTo>
                    <a:pt x="2" y="444"/>
                    <a:pt x="2" y="444"/>
                    <a:pt x="2" y="444"/>
                  </a:cubicBezTo>
                  <a:cubicBezTo>
                    <a:pt x="3" y="445"/>
                    <a:pt x="3" y="445"/>
                    <a:pt x="4" y="446"/>
                  </a:cubicBezTo>
                  <a:cubicBezTo>
                    <a:pt x="4" y="447"/>
                    <a:pt x="4" y="447"/>
                    <a:pt x="4" y="447"/>
                  </a:cubicBezTo>
                  <a:cubicBezTo>
                    <a:pt x="4" y="448"/>
                    <a:pt x="5" y="449"/>
                    <a:pt x="4" y="451"/>
                  </a:cubicBezTo>
                  <a:cubicBezTo>
                    <a:pt x="3" y="452"/>
                    <a:pt x="3" y="452"/>
                    <a:pt x="3" y="452"/>
                  </a:cubicBezTo>
                  <a:cubicBezTo>
                    <a:pt x="2" y="452"/>
                    <a:pt x="2" y="452"/>
                    <a:pt x="2" y="452"/>
                  </a:cubicBezTo>
                  <a:cubicBezTo>
                    <a:pt x="2" y="452"/>
                    <a:pt x="2" y="452"/>
                    <a:pt x="2" y="452"/>
                  </a:cubicBezTo>
                  <a:cubicBezTo>
                    <a:pt x="2" y="453"/>
                    <a:pt x="2" y="453"/>
                    <a:pt x="2" y="453"/>
                  </a:cubicBezTo>
                  <a:cubicBezTo>
                    <a:pt x="3" y="454"/>
                    <a:pt x="3" y="455"/>
                    <a:pt x="3" y="455"/>
                  </a:cubicBezTo>
                  <a:cubicBezTo>
                    <a:pt x="3" y="455"/>
                    <a:pt x="4" y="455"/>
                    <a:pt x="4" y="455"/>
                  </a:cubicBezTo>
                  <a:cubicBezTo>
                    <a:pt x="5" y="455"/>
                    <a:pt x="5" y="455"/>
                    <a:pt x="5" y="455"/>
                  </a:cubicBezTo>
                  <a:cubicBezTo>
                    <a:pt x="7" y="454"/>
                    <a:pt x="9" y="454"/>
                    <a:pt x="11" y="454"/>
                  </a:cubicBezTo>
                  <a:cubicBezTo>
                    <a:pt x="11" y="454"/>
                    <a:pt x="11" y="454"/>
                    <a:pt x="11" y="454"/>
                  </a:cubicBezTo>
                  <a:cubicBezTo>
                    <a:pt x="11" y="454"/>
                    <a:pt x="11" y="454"/>
                    <a:pt x="11" y="454"/>
                  </a:cubicBezTo>
                  <a:cubicBezTo>
                    <a:pt x="13" y="454"/>
                    <a:pt x="13" y="454"/>
                    <a:pt x="14" y="454"/>
                  </a:cubicBezTo>
                  <a:cubicBezTo>
                    <a:pt x="15" y="454"/>
                    <a:pt x="17" y="455"/>
                    <a:pt x="19" y="456"/>
                  </a:cubicBezTo>
                  <a:cubicBezTo>
                    <a:pt x="20" y="456"/>
                    <a:pt x="21" y="457"/>
                    <a:pt x="22" y="458"/>
                  </a:cubicBezTo>
                  <a:cubicBezTo>
                    <a:pt x="22" y="458"/>
                    <a:pt x="22" y="458"/>
                    <a:pt x="22" y="458"/>
                  </a:cubicBezTo>
                  <a:cubicBezTo>
                    <a:pt x="23" y="459"/>
                    <a:pt x="23" y="459"/>
                    <a:pt x="24" y="459"/>
                  </a:cubicBezTo>
                  <a:cubicBezTo>
                    <a:pt x="25" y="460"/>
                    <a:pt x="25" y="460"/>
                    <a:pt x="25" y="460"/>
                  </a:cubicBezTo>
                  <a:cubicBezTo>
                    <a:pt x="28" y="462"/>
                    <a:pt x="30" y="463"/>
                    <a:pt x="30" y="467"/>
                  </a:cubicBezTo>
                  <a:cubicBezTo>
                    <a:pt x="31" y="471"/>
                    <a:pt x="32" y="476"/>
                    <a:pt x="32" y="480"/>
                  </a:cubicBezTo>
                  <a:cubicBezTo>
                    <a:pt x="32" y="482"/>
                    <a:pt x="32" y="482"/>
                    <a:pt x="32" y="482"/>
                  </a:cubicBezTo>
                  <a:cubicBezTo>
                    <a:pt x="33" y="483"/>
                    <a:pt x="33" y="484"/>
                    <a:pt x="33" y="485"/>
                  </a:cubicBezTo>
                  <a:cubicBezTo>
                    <a:pt x="33" y="487"/>
                    <a:pt x="33" y="487"/>
                    <a:pt x="33" y="487"/>
                  </a:cubicBezTo>
                  <a:cubicBezTo>
                    <a:pt x="33" y="488"/>
                    <a:pt x="35" y="489"/>
                    <a:pt x="36" y="490"/>
                  </a:cubicBezTo>
                  <a:cubicBezTo>
                    <a:pt x="39" y="492"/>
                    <a:pt x="39" y="492"/>
                    <a:pt x="39" y="492"/>
                  </a:cubicBezTo>
                  <a:cubicBezTo>
                    <a:pt x="37" y="495"/>
                    <a:pt x="37" y="495"/>
                    <a:pt x="37" y="495"/>
                  </a:cubicBezTo>
                  <a:cubicBezTo>
                    <a:pt x="36" y="496"/>
                    <a:pt x="35" y="497"/>
                    <a:pt x="34" y="498"/>
                  </a:cubicBezTo>
                  <a:cubicBezTo>
                    <a:pt x="45" y="495"/>
                    <a:pt x="45" y="495"/>
                    <a:pt x="45" y="495"/>
                  </a:cubicBezTo>
                  <a:cubicBezTo>
                    <a:pt x="31" y="502"/>
                    <a:pt x="31" y="502"/>
                    <a:pt x="31" y="502"/>
                  </a:cubicBezTo>
                  <a:cubicBezTo>
                    <a:pt x="31" y="502"/>
                    <a:pt x="31" y="502"/>
                    <a:pt x="31" y="502"/>
                  </a:cubicBezTo>
                  <a:cubicBezTo>
                    <a:pt x="34" y="502"/>
                    <a:pt x="36" y="502"/>
                    <a:pt x="39" y="503"/>
                  </a:cubicBezTo>
                  <a:cubicBezTo>
                    <a:pt x="41" y="504"/>
                    <a:pt x="43" y="505"/>
                    <a:pt x="44" y="506"/>
                  </a:cubicBezTo>
                  <a:cubicBezTo>
                    <a:pt x="45" y="507"/>
                    <a:pt x="46" y="508"/>
                    <a:pt x="47" y="508"/>
                  </a:cubicBezTo>
                  <a:cubicBezTo>
                    <a:pt x="48" y="509"/>
                    <a:pt x="48" y="509"/>
                    <a:pt x="48" y="509"/>
                  </a:cubicBezTo>
                  <a:cubicBezTo>
                    <a:pt x="49" y="509"/>
                    <a:pt x="49" y="509"/>
                    <a:pt x="49" y="509"/>
                  </a:cubicBezTo>
                  <a:cubicBezTo>
                    <a:pt x="52" y="511"/>
                    <a:pt x="55" y="513"/>
                    <a:pt x="57" y="517"/>
                  </a:cubicBezTo>
                  <a:cubicBezTo>
                    <a:pt x="57" y="518"/>
                    <a:pt x="58" y="520"/>
                    <a:pt x="58" y="521"/>
                  </a:cubicBezTo>
                  <a:cubicBezTo>
                    <a:pt x="59" y="523"/>
                    <a:pt x="59" y="524"/>
                    <a:pt x="59" y="525"/>
                  </a:cubicBezTo>
                  <a:cubicBezTo>
                    <a:pt x="59" y="527"/>
                    <a:pt x="58" y="528"/>
                    <a:pt x="58" y="529"/>
                  </a:cubicBezTo>
                  <a:cubicBezTo>
                    <a:pt x="57" y="530"/>
                    <a:pt x="57" y="530"/>
                    <a:pt x="57" y="530"/>
                  </a:cubicBezTo>
                  <a:cubicBezTo>
                    <a:pt x="58" y="530"/>
                    <a:pt x="58" y="530"/>
                    <a:pt x="58" y="530"/>
                  </a:cubicBezTo>
                  <a:cubicBezTo>
                    <a:pt x="59" y="531"/>
                    <a:pt x="59" y="532"/>
                    <a:pt x="60" y="533"/>
                  </a:cubicBezTo>
                  <a:cubicBezTo>
                    <a:pt x="60" y="534"/>
                    <a:pt x="61" y="534"/>
                    <a:pt x="61" y="534"/>
                  </a:cubicBezTo>
                  <a:cubicBezTo>
                    <a:pt x="61" y="534"/>
                    <a:pt x="61" y="534"/>
                    <a:pt x="61" y="534"/>
                  </a:cubicBezTo>
                  <a:cubicBezTo>
                    <a:pt x="61" y="534"/>
                    <a:pt x="61" y="534"/>
                    <a:pt x="61" y="534"/>
                  </a:cubicBezTo>
                  <a:cubicBezTo>
                    <a:pt x="61" y="534"/>
                    <a:pt x="61" y="534"/>
                    <a:pt x="61" y="534"/>
                  </a:cubicBezTo>
                  <a:cubicBezTo>
                    <a:pt x="64" y="534"/>
                    <a:pt x="66" y="534"/>
                    <a:pt x="66" y="533"/>
                  </a:cubicBezTo>
                  <a:cubicBezTo>
                    <a:pt x="70" y="528"/>
                    <a:pt x="70" y="528"/>
                    <a:pt x="70" y="528"/>
                  </a:cubicBezTo>
                  <a:cubicBezTo>
                    <a:pt x="72" y="535"/>
                    <a:pt x="72" y="535"/>
                    <a:pt x="72" y="535"/>
                  </a:cubicBezTo>
                  <a:cubicBezTo>
                    <a:pt x="72" y="535"/>
                    <a:pt x="72" y="535"/>
                    <a:pt x="72" y="536"/>
                  </a:cubicBezTo>
                  <a:cubicBezTo>
                    <a:pt x="72" y="536"/>
                    <a:pt x="72" y="536"/>
                    <a:pt x="72" y="536"/>
                  </a:cubicBezTo>
                  <a:cubicBezTo>
                    <a:pt x="72" y="537"/>
                    <a:pt x="72" y="537"/>
                    <a:pt x="72" y="537"/>
                  </a:cubicBezTo>
                  <a:cubicBezTo>
                    <a:pt x="72" y="537"/>
                    <a:pt x="72" y="537"/>
                    <a:pt x="72" y="537"/>
                  </a:cubicBezTo>
                  <a:cubicBezTo>
                    <a:pt x="73" y="538"/>
                    <a:pt x="74" y="539"/>
                    <a:pt x="76" y="540"/>
                  </a:cubicBezTo>
                  <a:cubicBezTo>
                    <a:pt x="80" y="542"/>
                    <a:pt x="86" y="543"/>
                    <a:pt x="92" y="543"/>
                  </a:cubicBezTo>
                  <a:cubicBezTo>
                    <a:pt x="95" y="543"/>
                    <a:pt x="97" y="543"/>
                    <a:pt x="99" y="544"/>
                  </a:cubicBezTo>
                  <a:cubicBezTo>
                    <a:pt x="100" y="544"/>
                    <a:pt x="100" y="544"/>
                    <a:pt x="100" y="544"/>
                  </a:cubicBezTo>
                  <a:cubicBezTo>
                    <a:pt x="101" y="543"/>
                    <a:pt x="101" y="543"/>
                    <a:pt x="101" y="543"/>
                  </a:cubicBezTo>
                  <a:cubicBezTo>
                    <a:pt x="103" y="543"/>
                    <a:pt x="105" y="542"/>
                    <a:pt x="106" y="541"/>
                  </a:cubicBezTo>
                  <a:cubicBezTo>
                    <a:pt x="108" y="540"/>
                    <a:pt x="108" y="540"/>
                    <a:pt x="108" y="540"/>
                  </a:cubicBezTo>
                  <a:cubicBezTo>
                    <a:pt x="108" y="543"/>
                    <a:pt x="108" y="543"/>
                    <a:pt x="108" y="543"/>
                  </a:cubicBezTo>
                  <a:cubicBezTo>
                    <a:pt x="108" y="544"/>
                    <a:pt x="108" y="544"/>
                    <a:pt x="108" y="544"/>
                  </a:cubicBezTo>
                  <a:cubicBezTo>
                    <a:pt x="106" y="545"/>
                    <a:pt x="104" y="546"/>
                    <a:pt x="102" y="546"/>
                  </a:cubicBezTo>
                  <a:cubicBezTo>
                    <a:pt x="101" y="546"/>
                    <a:pt x="101" y="546"/>
                    <a:pt x="100" y="546"/>
                  </a:cubicBezTo>
                  <a:cubicBezTo>
                    <a:pt x="100" y="547"/>
                    <a:pt x="100" y="547"/>
                    <a:pt x="100" y="547"/>
                  </a:cubicBezTo>
                  <a:cubicBezTo>
                    <a:pt x="100" y="547"/>
                    <a:pt x="100" y="547"/>
                    <a:pt x="100" y="547"/>
                  </a:cubicBezTo>
                  <a:cubicBezTo>
                    <a:pt x="100" y="547"/>
                    <a:pt x="102" y="546"/>
                    <a:pt x="104" y="546"/>
                  </a:cubicBezTo>
                  <a:cubicBezTo>
                    <a:pt x="104" y="546"/>
                    <a:pt x="105" y="546"/>
                    <a:pt x="105" y="547"/>
                  </a:cubicBezTo>
                  <a:cubicBezTo>
                    <a:pt x="105" y="547"/>
                    <a:pt x="106" y="547"/>
                    <a:pt x="106" y="547"/>
                  </a:cubicBezTo>
                  <a:cubicBezTo>
                    <a:pt x="106" y="547"/>
                    <a:pt x="106" y="548"/>
                    <a:pt x="106" y="548"/>
                  </a:cubicBezTo>
                  <a:cubicBezTo>
                    <a:pt x="106" y="549"/>
                    <a:pt x="105" y="551"/>
                    <a:pt x="105" y="552"/>
                  </a:cubicBezTo>
                  <a:cubicBezTo>
                    <a:pt x="105" y="553"/>
                    <a:pt x="105" y="554"/>
                    <a:pt x="106" y="555"/>
                  </a:cubicBezTo>
                  <a:cubicBezTo>
                    <a:pt x="107" y="557"/>
                    <a:pt x="108" y="559"/>
                    <a:pt x="108" y="560"/>
                  </a:cubicBezTo>
                  <a:cubicBezTo>
                    <a:pt x="108" y="561"/>
                    <a:pt x="109" y="561"/>
                    <a:pt x="109" y="562"/>
                  </a:cubicBezTo>
                  <a:cubicBezTo>
                    <a:pt x="110" y="564"/>
                    <a:pt x="110" y="566"/>
                    <a:pt x="111" y="568"/>
                  </a:cubicBezTo>
                  <a:cubicBezTo>
                    <a:pt x="111" y="569"/>
                    <a:pt x="111" y="569"/>
                    <a:pt x="111" y="569"/>
                  </a:cubicBezTo>
                  <a:cubicBezTo>
                    <a:pt x="112" y="571"/>
                    <a:pt x="114" y="572"/>
                    <a:pt x="116" y="574"/>
                  </a:cubicBezTo>
                  <a:cubicBezTo>
                    <a:pt x="118" y="575"/>
                    <a:pt x="121" y="576"/>
                    <a:pt x="123" y="577"/>
                  </a:cubicBezTo>
                  <a:cubicBezTo>
                    <a:pt x="125" y="577"/>
                    <a:pt x="127" y="578"/>
                    <a:pt x="128" y="579"/>
                  </a:cubicBezTo>
                  <a:cubicBezTo>
                    <a:pt x="128" y="580"/>
                    <a:pt x="128" y="581"/>
                    <a:pt x="127" y="582"/>
                  </a:cubicBezTo>
                  <a:cubicBezTo>
                    <a:pt x="123" y="585"/>
                    <a:pt x="123" y="585"/>
                    <a:pt x="123" y="585"/>
                  </a:cubicBezTo>
                  <a:cubicBezTo>
                    <a:pt x="123" y="586"/>
                    <a:pt x="123" y="586"/>
                    <a:pt x="123" y="586"/>
                  </a:cubicBezTo>
                  <a:cubicBezTo>
                    <a:pt x="123" y="587"/>
                    <a:pt x="122" y="588"/>
                    <a:pt x="123" y="589"/>
                  </a:cubicBezTo>
                  <a:cubicBezTo>
                    <a:pt x="123" y="590"/>
                    <a:pt x="123" y="591"/>
                    <a:pt x="123" y="591"/>
                  </a:cubicBezTo>
                  <a:cubicBezTo>
                    <a:pt x="124" y="592"/>
                    <a:pt x="124" y="592"/>
                    <a:pt x="124" y="592"/>
                  </a:cubicBezTo>
                  <a:cubicBezTo>
                    <a:pt x="124" y="593"/>
                    <a:pt x="124" y="593"/>
                    <a:pt x="124" y="594"/>
                  </a:cubicBezTo>
                  <a:cubicBezTo>
                    <a:pt x="127" y="592"/>
                    <a:pt x="127" y="592"/>
                    <a:pt x="127" y="592"/>
                  </a:cubicBezTo>
                  <a:cubicBezTo>
                    <a:pt x="128" y="596"/>
                    <a:pt x="128" y="596"/>
                    <a:pt x="128" y="596"/>
                  </a:cubicBezTo>
                  <a:cubicBezTo>
                    <a:pt x="128" y="596"/>
                    <a:pt x="128" y="596"/>
                    <a:pt x="128" y="596"/>
                  </a:cubicBezTo>
                  <a:cubicBezTo>
                    <a:pt x="129" y="600"/>
                    <a:pt x="129" y="600"/>
                    <a:pt x="129" y="600"/>
                  </a:cubicBezTo>
                  <a:cubicBezTo>
                    <a:pt x="130" y="602"/>
                    <a:pt x="130" y="602"/>
                    <a:pt x="130" y="602"/>
                  </a:cubicBezTo>
                  <a:cubicBezTo>
                    <a:pt x="130" y="603"/>
                    <a:pt x="130" y="603"/>
                    <a:pt x="130" y="603"/>
                  </a:cubicBezTo>
                  <a:cubicBezTo>
                    <a:pt x="131" y="604"/>
                    <a:pt x="131" y="604"/>
                    <a:pt x="131" y="604"/>
                  </a:cubicBezTo>
                  <a:cubicBezTo>
                    <a:pt x="133" y="605"/>
                    <a:pt x="134" y="607"/>
                    <a:pt x="137" y="608"/>
                  </a:cubicBezTo>
                  <a:cubicBezTo>
                    <a:pt x="137" y="608"/>
                    <a:pt x="137" y="608"/>
                    <a:pt x="137" y="608"/>
                  </a:cubicBezTo>
                  <a:cubicBezTo>
                    <a:pt x="138" y="608"/>
                    <a:pt x="140" y="608"/>
                    <a:pt x="142" y="611"/>
                  </a:cubicBezTo>
                  <a:cubicBezTo>
                    <a:pt x="142" y="612"/>
                    <a:pt x="142" y="612"/>
                    <a:pt x="142" y="614"/>
                  </a:cubicBezTo>
                  <a:cubicBezTo>
                    <a:pt x="142" y="616"/>
                    <a:pt x="142" y="616"/>
                    <a:pt x="142" y="616"/>
                  </a:cubicBezTo>
                  <a:cubicBezTo>
                    <a:pt x="142" y="617"/>
                    <a:pt x="143" y="618"/>
                    <a:pt x="143" y="619"/>
                  </a:cubicBezTo>
                  <a:cubicBezTo>
                    <a:pt x="143" y="619"/>
                    <a:pt x="143" y="619"/>
                    <a:pt x="143" y="619"/>
                  </a:cubicBezTo>
                  <a:cubicBezTo>
                    <a:pt x="143" y="620"/>
                    <a:pt x="143" y="620"/>
                    <a:pt x="143" y="620"/>
                  </a:cubicBezTo>
                  <a:cubicBezTo>
                    <a:pt x="143" y="620"/>
                    <a:pt x="143" y="620"/>
                    <a:pt x="143" y="620"/>
                  </a:cubicBezTo>
                  <a:cubicBezTo>
                    <a:pt x="146" y="622"/>
                    <a:pt x="146" y="622"/>
                    <a:pt x="146" y="622"/>
                  </a:cubicBezTo>
                  <a:cubicBezTo>
                    <a:pt x="144" y="624"/>
                    <a:pt x="144" y="624"/>
                    <a:pt x="144" y="624"/>
                  </a:cubicBezTo>
                  <a:cubicBezTo>
                    <a:pt x="140" y="630"/>
                    <a:pt x="134" y="636"/>
                    <a:pt x="129" y="636"/>
                  </a:cubicBezTo>
                  <a:cubicBezTo>
                    <a:pt x="128" y="636"/>
                    <a:pt x="128" y="636"/>
                    <a:pt x="128" y="636"/>
                  </a:cubicBezTo>
                  <a:cubicBezTo>
                    <a:pt x="127" y="636"/>
                    <a:pt x="127" y="636"/>
                    <a:pt x="127" y="636"/>
                  </a:cubicBezTo>
                  <a:cubicBezTo>
                    <a:pt x="124" y="635"/>
                    <a:pt x="122" y="632"/>
                    <a:pt x="121" y="630"/>
                  </a:cubicBezTo>
                  <a:cubicBezTo>
                    <a:pt x="120" y="630"/>
                    <a:pt x="120" y="630"/>
                    <a:pt x="120" y="630"/>
                  </a:cubicBezTo>
                  <a:cubicBezTo>
                    <a:pt x="119" y="630"/>
                    <a:pt x="119" y="630"/>
                    <a:pt x="119" y="630"/>
                  </a:cubicBezTo>
                  <a:cubicBezTo>
                    <a:pt x="119" y="631"/>
                    <a:pt x="118" y="631"/>
                    <a:pt x="118" y="631"/>
                  </a:cubicBezTo>
                  <a:cubicBezTo>
                    <a:pt x="118" y="634"/>
                    <a:pt x="119" y="636"/>
                    <a:pt x="121" y="638"/>
                  </a:cubicBezTo>
                  <a:cubicBezTo>
                    <a:pt x="122" y="639"/>
                    <a:pt x="123" y="641"/>
                    <a:pt x="124" y="643"/>
                  </a:cubicBezTo>
                  <a:cubicBezTo>
                    <a:pt x="125" y="644"/>
                    <a:pt x="126" y="645"/>
                    <a:pt x="126" y="646"/>
                  </a:cubicBezTo>
                  <a:cubicBezTo>
                    <a:pt x="126" y="647"/>
                    <a:pt x="125" y="648"/>
                    <a:pt x="125" y="649"/>
                  </a:cubicBezTo>
                  <a:cubicBezTo>
                    <a:pt x="126" y="650"/>
                    <a:pt x="125" y="653"/>
                    <a:pt x="125" y="655"/>
                  </a:cubicBezTo>
                  <a:cubicBezTo>
                    <a:pt x="125" y="656"/>
                    <a:pt x="125" y="656"/>
                    <a:pt x="125" y="656"/>
                  </a:cubicBezTo>
                  <a:cubicBezTo>
                    <a:pt x="125" y="656"/>
                    <a:pt x="125" y="656"/>
                    <a:pt x="125" y="656"/>
                  </a:cubicBezTo>
                  <a:cubicBezTo>
                    <a:pt x="125" y="657"/>
                    <a:pt x="126" y="657"/>
                    <a:pt x="126" y="658"/>
                  </a:cubicBezTo>
                  <a:cubicBezTo>
                    <a:pt x="126" y="658"/>
                    <a:pt x="126" y="658"/>
                    <a:pt x="126" y="658"/>
                  </a:cubicBezTo>
                  <a:cubicBezTo>
                    <a:pt x="128" y="657"/>
                    <a:pt x="129" y="656"/>
                    <a:pt x="131" y="656"/>
                  </a:cubicBezTo>
                  <a:cubicBezTo>
                    <a:pt x="132" y="656"/>
                    <a:pt x="132" y="656"/>
                    <a:pt x="132" y="656"/>
                  </a:cubicBezTo>
                  <a:cubicBezTo>
                    <a:pt x="134" y="657"/>
                    <a:pt x="134" y="657"/>
                    <a:pt x="135" y="658"/>
                  </a:cubicBezTo>
                  <a:cubicBezTo>
                    <a:pt x="136" y="659"/>
                    <a:pt x="136" y="659"/>
                    <a:pt x="136" y="659"/>
                  </a:cubicBezTo>
                  <a:cubicBezTo>
                    <a:pt x="142" y="657"/>
                    <a:pt x="142" y="657"/>
                    <a:pt x="142" y="657"/>
                  </a:cubicBezTo>
                  <a:cubicBezTo>
                    <a:pt x="137" y="661"/>
                    <a:pt x="137" y="661"/>
                    <a:pt x="137" y="661"/>
                  </a:cubicBezTo>
                  <a:cubicBezTo>
                    <a:pt x="138" y="662"/>
                    <a:pt x="139" y="663"/>
                    <a:pt x="139" y="664"/>
                  </a:cubicBezTo>
                  <a:cubicBezTo>
                    <a:pt x="140" y="664"/>
                    <a:pt x="140" y="664"/>
                    <a:pt x="140" y="664"/>
                  </a:cubicBezTo>
                  <a:cubicBezTo>
                    <a:pt x="140" y="665"/>
                    <a:pt x="140" y="665"/>
                    <a:pt x="141" y="666"/>
                  </a:cubicBezTo>
                  <a:cubicBezTo>
                    <a:pt x="141" y="666"/>
                    <a:pt x="141" y="667"/>
                    <a:pt x="142" y="667"/>
                  </a:cubicBezTo>
                  <a:cubicBezTo>
                    <a:pt x="142" y="667"/>
                    <a:pt x="143" y="668"/>
                    <a:pt x="143" y="668"/>
                  </a:cubicBezTo>
                  <a:cubicBezTo>
                    <a:pt x="144" y="668"/>
                    <a:pt x="145" y="668"/>
                    <a:pt x="146" y="669"/>
                  </a:cubicBezTo>
                  <a:cubicBezTo>
                    <a:pt x="149" y="670"/>
                    <a:pt x="154" y="671"/>
                    <a:pt x="158" y="673"/>
                  </a:cubicBezTo>
                  <a:cubicBezTo>
                    <a:pt x="159" y="674"/>
                    <a:pt x="161" y="674"/>
                    <a:pt x="161" y="675"/>
                  </a:cubicBezTo>
                  <a:cubicBezTo>
                    <a:pt x="162" y="674"/>
                    <a:pt x="162" y="674"/>
                    <a:pt x="162" y="674"/>
                  </a:cubicBezTo>
                  <a:cubicBezTo>
                    <a:pt x="162" y="676"/>
                    <a:pt x="162" y="676"/>
                    <a:pt x="162" y="676"/>
                  </a:cubicBezTo>
                  <a:cubicBezTo>
                    <a:pt x="162" y="676"/>
                    <a:pt x="162" y="676"/>
                    <a:pt x="163" y="677"/>
                  </a:cubicBezTo>
                  <a:cubicBezTo>
                    <a:pt x="163" y="678"/>
                    <a:pt x="163" y="679"/>
                    <a:pt x="162" y="681"/>
                  </a:cubicBezTo>
                  <a:cubicBezTo>
                    <a:pt x="178" y="689"/>
                    <a:pt x="178" y="689"/>
                    <a:pt x="178" y="689"/>
                  </a:cubicBezTo>
                  <a:cubicBezTo>
                    <a:pt x="179" y="688"/>
                    <a:pt x="179" y="688"/>
                    <a:pt x="179" y="688"/>
                  </a:cubicBezTo>
                  <a:cubicBezTo>
                    <a:pt x="183" y="692"/>
                    <a:pt x="183" y="692"/>
                    <a:pt x="183" y="692"/>
                  </a:cubicBezTo>
                  <a:cubicBezTo>
                    <a:pt x="184" y="691"/>
                    <a:pt x="184" y="689"/>
                    <a:pt x="185" y="688"/>
                  </a:cubicBezTo>
                  <a:cubicBezTo>
                    <a:pt x="186" y="688"/>
                    <a:pt x="186" y="688"/>
                    <a:pt x="186" y="688"/>
                  </a:cubicBezTo>
                  <a:cubicBezTo>
                    <a:pt x="186" y="687"/>
                    <a:pt x="186" y="687"/>
                    <a:pt x="187" y="686"/>
                  </a:cubicBezTo>
                  <a:cubicBezTo>
                    <a:pt x="187" y="686"/>
                    <a:pt x="187" y="686"/>
                    <a:pt x="188" y="685"/>
                  </a:cubicBezTo>
                  <a:cubicBezTo>
                    <a:pt x="188" y="685"/>
                    <a:pt x="188" y="685"/>
                    <a:pt x="188" y="685"/>
                  </a:cubicBezTo>
                  <a:cubicBezTo>
                    <a:pt x="189" y="684"/>
                    <a:pt x="191" y="683"/>
                    <a:pt x="193" y="683"/>
                  </a:cubicBezTo>
                  <a:cubicBezTo>
                    <a:pt x="193" y="683"/>
                    <a:pt x="194" y="683"/>
                    <a:pt x="195" y="684"/>
                  </a:cubicBezTo>
                  <a:cubicBezTo>
                    <a:pt x="198" y="684"/>
                    <a:pt x="203" y="684"/>
                    <a:pt x="205" y="686"/>
                  </a:cubicBezTo>
                  <a:cubicBezTo>
                    <a:pt x="207" y="687"/>
                    <a:pt x="208" y="690"/>
                    <a:pt x="208" y="691"/>
                  </a:cubicBezTo>
                  <a:cubicBezTo>
                    <a:pt x="209" y="692"/>
                    <a:pt x="209" y="692"/>
                    <a:pt x="209" y="693"/>
                  </a:cubicBezTo>
                  <a:cubicBezTo>
                    <a:pt x="210" y="694"/>
                    <a:pt x="211" y="694"/>
                    <a:pt x="212" y="695"/>
                  </a:cubicBezTo>
                  <a:cubicBezTo>
                    <a:pt x="212" y="695"/>
                    <a:pt x="212" y="695"/>
                    <a:pt x="212" y="695"/>
                  </a:cubicBezTo>
                  <a:cubicBezTo>
                    <a:pt x="213" y="695"/>
                    <a:pt x="214" y="695"/>
                    <a:pt x="215" y="696"/>
                  </a:cubicBezTo>
                  <a:cubicBezTo>
                    <a:pt x="216" y="696"/>
                    <a:pt x="216" y="696"/>
                    <a:pt x="216" y="696"/>
                  </a:cubicBezTo>
                  <a:cubicBezTo>
                    <a:pt x="218" y="697"/>
                    <a:pt x="219" y="698"/>
                    <a:pt x="220" y="699"/>
                  </a:cubicBezTo>
                  <a:cubicBezTo>
                    <a:pt x="221" y="699"/>
                    <a:pt x="222" y="700"/>
                    <a:pt x="223" y="701"/>
                  </a:cubicBezTo>
                  <a:cubicBezTo>
                    <a:pt x="224" y="703"/>
                    <a:pt x="224" y="703"/>
                    <a:pt x="224" y="703"/>
                  </a:cubicBezTo>
                  <a:cubicBezTo>
                    <a:pt x="225" y="704"/>
                    <a:pt x="226" y="704"/>
                    <a:pt x="228" y="704"/>
                  </a:cubicBezTo>
                  <a:cubicBezTo>
                    <a:pt x="229" y="704"/>
                    <a:pt x="229" y="704"/>
                    <a:pt x="230" y="705"/>
                  </a:cubicBezTo>
                  <a:cubicBezTo>
                    <a:pt x="230" y="704"/>
                    <a:pt x="230" y="704"/>
                    <a:pt x="230" y="704"/>
                  </a:cubicBezTo>
                  <a:cubicBezTo>
                    <a:pt x="230" y="704"/>
                    <a:pt x="230" y="705"/>
                    <a:pt x="231" y="705"/>
                  </a:cubicBezTo>
                  <a:cubicBezTo>
                    <a:pt x="232" y="705"/>
                    <a:pt x="232" y="705"/>
                    <a:pt x="232" y="705"/>
                  </a:cubicBezTo>
                  <a:cubicBezTo>
                    <a:pt x="232" y="705"/>
                    <a:pt x="233" y="705"/>
                    <a:pt x="233" y="705"/>
                  </a:cubicBezTo>
                  <a:cubicBezTo>
                    <a:pt x="234" y="705"/>
                    <a:pt x="234" y="706"/>
                    <a:pt x="234" y="706"/>
                  </a:cubicBezTo>
                  <a:cubicBezTo>
                    <a:pt x="235" y="706"/>
                    <a:pt x="235" y="706"/>
                    <a:pt x="235" y="706"/>
                  </a:cubicBezTo>
                  <a:cubicBezTo>
                    <a:pt x="235" y="706"/>
                    <a:pt x="235" y="707"/>
                    <a:pt x="236" y="707"/>
                  </a:cubicBezTo>
                  <a:cubicBezTo>
                    <a:pt x="236" y="707"/>
                    <a:pt x="237" y="708"/>
                    <a:pt x="237" y="708"/>
                  </a:cubicBezTo>
                  <a:cubicBezTo>
                    <a:pt x="240" y="706"/>
                    <a:pt x="240" y="706"/>
                    <a:pt x="240" y="706"/>
                  </a:cubicBezTo>
                  <a:cubicBezTo>
                    <a:pt x="238" y="709"/>
                    <a:pt x="238" y="709"/>
                    <a:pt x="238" y="709"/>
                  </a:cubicBezTo>
                  <a:cubicBezTo>
                    <a:pt x="238" y="709"/>
                    <a:pt x="238" y="709"/>
                    <a:pt x="238" y="709"/>
                  </a:cubicBezTo>
                  <a:cubicBezTo>
                    <a:pt x="239" y="711"/>
                    <a:pt x="241" y="712"/>
                    <a:pt x="242" y="713"/>
                  </a:cubicBezTo>
                  <a:cubicBezTo>
                    <a:pt x="242" y="714"/>
                    <a:pt x="243" y="714"/>
                    <a:pt x="243" y="715"/>
                  </a:cubicBezTo>
                  <a:cubicBezTo>
                    <a:pt x="243" y="715"/>
                    <a:pt x="243" y="715"/>
                    <a:pt x="243" y="715"/>
                  </a:cubicBezTo>
                  <a:cubicBezTo>
                    <a:pt x="245" y="717"/>
                    <a:pt x="245" y="717"/>
                    <a:pt x="245" y="717"/>
                  </a:cubicBezTo>
                  <a:cubicBezTo>
                    <a:pt x="245" y="717"/>
                    <a:pt x="245" y="717"/>
                    <a:pt x="245" y="717"/>
                  </a:cubicBezTo>
                  <a:cubicBezTo>
                    <a:pt x="245" y="717"/>
                    <a:pt x="245" y="717"/>
                    <a:pt x="245" y="717"/>
                  </a:cubicBezTo>
                  <a:cubicBezTo>
                    <a:pt x="248" y="716"/>
                    <a:pt x="250" y="715"/>
                    <a:pt x="253" y="715"/>
                  </a:cubicBezTo>
                  <a:cubicBezTo>
                    <a:pt x="253" y="715"/>
                    <a:pt x="253" y="715"/>
                    <a:pt x="254" y="715"/>
                  </a:cubicBezTo>
                  <a:cubicBezTo>
                    <a:pt x="255" y="715"/>
                    <a:pt x="257" y="715"/>
                    <a:pt x="258" y="716"/>
                  </a:cubicBezTo>
                  <a:cubicBezTo>
                    <a:pt x="259" y="717"/>
                    <a:pt x="259" y="719"/>
                    <a:pt x="259" y="720"/>
                  </a:cubicBezTo>
                  <a:cubicBezTo>
                    <a:pt x="259" y="720"/>
                    <a:pt x="259" y="720"/>
                    <a:pt x="259" y="720"/>
                  </a:cubicBezTo>
                  <a:cubicBezTo>
                    <a:pt x="260" y="721"/>
                    <a:pt x="260" y="721"/>
                    <a:pt x="260" y="721"/>
                  </a:cubicBezTo>
                  <a:cubicBezTo>
                    <a:pt x="261" y="722"/>
                    <a:pt x="261" y="723"/>
                    <a:pt x="261" y="725"/>
                  </a:cubicBezTo>
                  <a:cubicBezTo>
                    <a:pt x="261" y="726"/>
                    <a:pt x="262" y="727"/>
                    <a:pt x="263" y="727"/>
                  </a:cubicBezTo>
                  <a:cubicBezTo>
                    <a:pt x="263" y="727"/>
                    <a:pt x="263" y="727"/>
                    <a:pt x="263" y="727"/>
                  </a:cubicBezTo>
                  <a:cubicBezTo>
                    <a:pt x="264" y="728"/>
                    <a:pt x="264" y="728"/>
                    <a:pt x="265" y="728"/>
                  </a:cubicBezTo>
                  <a:cubicBezTo>
                    <a:pt x="266" y="729"/>
                    <a:pt x="266" y="729"/>
                    <a:pt x="266" y="729"/>
                  </a:cubicBezTo>
                  <a:cubicBezTo>
                    <a:pt x="266" y="729"/>
                    <a:pt x="267" y="730"/>
                    <a:pt x="267" y="730"/>
                  </a:cubicBezTo>
                  <a:cubicBezTo>
                    <a:pt x="269" y="731"/>
                    <a:pt x="269" y="731"/>
                    <a:pt x="269" y="731"/>
                  </a:cubicBezTo>
                  <a:cubicBezTo>
                    <a:pt x="270" y="731"/>
                    <a:pt x="270" y="732"/>
                    <a:pt x="271" y="732"/>
                  </a:cubicBezTo>
                  <a:cubicBezTo>
                    <a:pt x="272" y="733"/>
                    <a:pt x="273" y="733"/>
                    <a:pt x="274" y="733"/>
                  </a:cubicBezTo>
                  <a:cubicBezTo>
                    <a:pt x="274" y="733"/>
                    <a:pt x="274" y="733"/>
                    <a:pt x="275" y="733"/>
                  </a:cubicBezTo>
                  <a:cubicBezTo>
                    <a:pt x="275" y="733"/>
                    <a:pt x="276" y="733"/>
                    <a:pt x="277" y="733"/>
                  </a:cubicBezTo>
                  <a:cubicBezTo>
                    <a:pt x="278" y="733"/>
                    <a:pt x="278" y="733"/>
                    <a:pt x="278" y="733"/>
                  </a:cubicBezTo>
                  <a:cubicBezTo>
                    <a:pt x="279" y="733"/>
                    <a:pt x="280" y="733"/>
                    <a:pt x="281" y="733"/>
                  </a:cubicBezTo>
                  <a:cubicBezTo>
                    <a:pt x="281" y="733"/>
                    <a:pt x="281" y="733"/>
                    <a:pt x="282" y="733"/>
                  </a:cubicBezTo>
                  <a:cubicBezTo>
                    <a:pt x="286" y="733"/>
                    <a:pt x="286" y="733"/>
                    <a:pt x="286" y="733"/>
                  </a:cubicBezTo>
                  <a:cubicBezTo>
                    <a:pt x="283" y="738"/>
                    <a:pt x="283" y="738"/>
                    <a:pt x="283" y="738"/>
                  </a:cubicBezTo>
                  <a:cubicBezTo>
                    <a:pt x="283" y="739"/>
                    <a:pt x="283" y="739"/>
                    <a:pt x="283" y="740"/>
                  </a:cubicBezTo>
                  <a:cubicBezTo>
                    <a:pt x="283" y="740"/>
                    <a:pt x="283" y="740"/>
                    <a:pt x="283" y="740"/>
                  </a:cubicBezTo>
                  <a:cubicBezTo>
                    <a:pt x="284" y="740"/>
                    <a:pt x="284" y="740"/>
                    <a:pt x="284" y="740"/>
                  </a:cubicBezTo>
                  <a:cubicBezTo>
                    <a:pt x="284" y="740"/>
                    <a:pt x="284" y="740"/>
                    <a:pt x="284" y="740"/>
                  </a:cubicBezTo>
                  <a:cubicBezTo>
                    <a:pt x="285" y="740"/>
                    <a:pt x="286" y="740"/>
                    <a:pt x="286" y="740"/>
                  </a:cubicBezTo>
                  <a:cubicBezTo>
                    <a:pt x="288" y="740"/>
                    <a:pt x="289" y="739"/>
                    <a:pt x="290" y="739"/>
                  </a:cubicBezTo>
                  <a:cubicBezTo>
                    <a:pt x="291" y="739"/>
                    <a:pt x="291" y="739"/>
                    <a:pt x="291" y="739"/>
                  </a:cubicBezTo>
                  <a:cubicBezTo>
                    <a:pt x="293" y="740"/>
                    <a:pt x="295" y="740"/>
                    <a:pt x="297" y="741"/>
                  </a:cubicBezTo>
                  <a:cubicBezTo>
                    <a:pt x="297" y="742"/>
                    <a:pt x="298" y="743"/>
                    <a:pt x="298" y="743"/>
                  </a:cubicBezTo>
                  <a:cubicBezTo>
                    <a:pt x="299" y="745"/>
                    <a:pt x="299" y="745"/>
                    <a:pt x="299" y="745"/>
                  </a:cubicBezTo>
                  <a:cubicBezTo>
                    <a:pt x="300" y="746"/>
                    <a:pt x="301" y="747"/>
                    <a:pt x="302" y="748"/>
                  </a:cubicBezTo>
                  <a:cubicBezTo>
                    <a:pt x="302" y="747"/>
                    <a:pt x="303" y="746"/>
                    <a:pt x="304" y="745"/>
                  </a:cubicBezTo>
                  <a:cubicBezTo>
                    <a:pt x="310" y="738"/>
                    <a:pt x="310" y="738"/>
                    <a:pt x="310" y="738"/>
                  </a:cubicBezTo>
                  <a:cubicBezTo>
                    <a:pt x="309" y="747"/>
                    <a:pt x="309" y="747"/>
                    <a:pt x="309" y="747"/>
                  </a:cubicBezTo>
                  <a:cubicBezTo>
                    <a:pt x="309" y="748"/>
                    <a:pt x="309" y="748"/>
                    <a:pt x="309" y="748"/>
                  </a:cubicBezTo>
                  <a:cubicBezTo>
                    <a:pt x="309" y="748"/>
                    <a:pt x="310" y="748"/>
                    <a:pt x="311" y="749"/>
                  </a:cubicBezTo>
                  <a:cubicBezTo>
                    <a:pt x="313" y="749"/>
                    <a:pt x="313" y="749"/>
                    <a:pt x="313" y="749"/>
                  </a:cubicBezTo>
                  <a:cubicBezTo>
                    <a:pt x="313" y="749"/>
                    <a:pt x="313" y="749"/>
                    <a:pt x="313" y="749"/>
                  </a:cubicBezTo>
                  <a:cubicBezTo>
                    <a:pt x="314" y="748"/>
                    <a:pt x="315" y="747"/>
                    <a:pt x="317" y="746"/>
                  </a:cubicBezTo>
                  <a:cubicBezTo>
                    <a:pt x="317" y="746"/>
                    <a:pt x="318" y="746"/>
                    <a:pt x="319" y="746"/>
                  </a:cubicBezTo>
                  <a:cubicBezTo>
                    <a:pt x="319" y="746"/>
                    <a:pt x="319" y="746"/>
                    <a:pt x="319" y="746"/>
                  </a:cubicBezTo>
                  <a:cubicBezTo>
                    <a:pt x="320" y="746"/>
                    <a:pt x="320" y="746"/>
                    <a:pt x="320" y="746"/>
                  </a:cubicBezTo>
                  <a:cubicBezTo>
                    <a:pt x="321" y="746"/>
                    <a:pt x="321" y="746"/>
                    <a:pt x="321" y="746"/>
                  </a:cubicBezTo>
                  <a:cubicBezTo>
                    <a:pt x="322" y="747"/>
                    <a:pt x="322" y="747"/>
                    <a:pt x="323" y="748"/>
                  </a:cubicBezTo>
                  <a:cubicBezTo>
                    <a:pt x="325" y="748"/>
                    <a:pt x="327" y="749"/>
                    <a:pt x="329" y="750"/>
                  </a:cubicBezTo>
                  <a:cubicBezTo>
                    <a:pt x="332" y="751"/>
                    <a:pt x="334" y="751"/>
                    <a:pt x="337" y="752"/>
                  </a:cubicBezTo>
                  <a:cubicBezTo>
                    <a:pt x="340" y="752"/>
                    <a:pt x="342" y="752"/>
                    <a:pt x="345" y="752"/>
                  </a:cubicBezTo>
                  <a:cubicBezTo>
                    <a:pt x="348" y="752"/>
                    <a:pt x="350" y="752"/>
                    <a:pt x="353" y="752"/>
                  </a:cubicBezTo>
                  <a:cubicBezTo>
                    <a:pt x="353" y="752"/>
                    <a:pt x="353" y="752"/>
                    <a:pt x="353" y="752"/>
                  </a:cubicBezTo>
                  <a:cubicBezTo>
                    <a:pt x="356" y="750"/>
                    <a:pt x="356" y="750"/>
                    <a:pt x="356" y="750"/>
                  </a:cubicBezTo>
                  <a:cubicBezTo>
                    <a:pt x="358" y="749"/>
                    <a:pt x="360" y="747"/>
                    <a:pt x="363" y="746"/>
                  </a:cubicBezTo>
                  <a:cubicBezTo>
                    <a:pt x="363" y="746"/>
                    <a:pt x="363" y="746"/>
                    <a:pt x="363" y="746"/>
                  </a:cubicBezTo>
                  <a:cubicBezTo>
                    <a:pt x="363" y="746"/>
                    <a:pt x="364" y="746"/>
                    <a:pt x="364" y="746"/>
                  </a:cubicBezTo>
                  <a:cubicBezTo>
                    <a:pt x="365" y="746"/>
                    <a:pt x="365" y="745"/>
                    <a:pt x="366" y="745"/>
                  </a:cubicBezTo>
                  <a:cubicBezTo>
                    <a:pt x="367" y="745"/>
                    <a:pt x="368" y="746"/>
                    <a:pt x="369" y="746"/>
                  </a:cubicBezTo>
                  <a:cubicBezTo>
                    <a:pt x="370" y="747"/>
                    <a:pt x="372" y="748"/>
                    <a:pt x="374" y="749"/>
                  </a:cubicBezTo>
                  <a:cubicBezTo>
                    <a:pt x="374" y="749"/>
                    <a:pt x="374" y="749"/>
                    <a:pt x="374" y="749"/>
                  </a:cubicBezTo>
                  <a:cubicBezTo>
                    <a:pt x="374" y="750"/>
                    <a:pt x="374" y="750"/>
                    <a:pt x="374" y="750"/>
                  </a:cubicBezTo>
                  <a:cubicBezTo>
                    <a:pt x="374" y="751"/>
                    <a:pt x="374" y="751"/>
                    <a:pt x="374" y="751"/>
                  </a:cubicBezTo>
                  <a:cubicBezTo>
                    <a:pt x="374" y="751"/>
                    <a:pt x="375" y="752"/>
                    <a:pt x="375" y="753"/>
                  </a:cubicBezTo>
                  <a:cubicBezTo>
                    <a:pt x="375" y="753"/>
                    <a:pt x="375" y="753"/>
                    <a:pt x="375" y="753"/>
                  </a:cubicBezTo>
                  <a:cubicBezTo>
                    <a:pt x="375" y="754"/>
                    <a:pt x="375" y="754"/>
                    <a:pt x="375" y="755"/>
                  </a:cubicBezTo>
                  <a:cubicBezTo>
                    <a:pt x="375" y="756"/>
                    <a:pt x="375" y="756"/>
                    <a:pt x="375" y="756"/>
                  </a:cubicBezTo>
                  <a:cubicBezTo>
                    <a:pt x="375" y="756"/>
                    <a:pt x="375" y="757"/>
                    <a:pt x="375" y="758"/>
                  </a:cubicBezTo>
                  <a:cubicBezTo>
                    <a:pt x="375" y="759"/>
                    <a:pt x="374" y="759"/>
                    <a:pt x="374" y="760"/>
                  </a:cubicBezTo>
                  <a:cubicBezTo>
                    <a:pt x="374" y="761"/>
                    <a:pt x="374" y="761"/>
                    <a:pt x="374" y="761"/>
                  </a:cubicBezTo>
                  <a:cubicBezTo>
                    <a:pt x="373" y="762"/>
                    <a:pt x="373" y="762"/>
                    <a:pt x="373" y="762"/>
                  </a:cubicBezTo>
                  <a:cubicBezTo>
                    <a:pt x="373" y="763"/>
                    <a:pt x="373" y="763"/>
                    <a:pt x="373" y="763"/>
                  </a:cubicBezTo>
                  <a:cubicBezTo>
                    <a:pt x="374" y="762"/>
                    <a:pt x="374" y="762"/>
                    <a:pt x="374" y="761"/>
                  </a:cubicBezTo>
                  <a:cubicBezTo>
                    <a:pt x="375" y="760"/>
                    <a:pt x="376" y="759"/>
                    <a:pt x="377" y="757"/>
                  </a:cubicBezTo>
                  <a:cubicBezTo>
                    <a:pt x="378" y="755"/>
                    <a:pt x="381" y="752"/>
                    <a:pt x="383" y="750"/>
                  </a:cubicBezTo>
                  <a:cubicBezTo>
                    <a:pt x="384" y="749"/>
                    <a:pt x="385" y="748"/>
                    <a:pt x="385" y="748"/>
                  </a:cubicBezTo>
                  <a:cubicBezTo>
                    <a:pt x="388" y="744"/>
                    <a:pt x="393" y="742"/>
                    <a:pt x="400" y="741"/>
                  </a:cubicBezTo>
                  <a:cubicBezTo>
                    <a:pt x="402" y="740"/>
                    <a:pt x="402" y="740"/>
                    <a:pt x="402" y="740"/>
                  </a:cubicBezTo>
                  <a:cubicBezTo>
                    <a:pt x="403" y="740"/>
                    <a:pt x="403" y="740"/>
                    <a:pt x="403" y="740"/>
                  </a:cubicBezTo>
                  <a:cubicBezTo>
                    <a:pt x="404" y="740"/>
                    <a:pt x="404" y="740"/>
                    <a:pt x="404" y="740"/>
                  </a:cubicBezTo>
                  <a:cubicBezTo>
                    <a:pt x="404" y="740"/>
                    <a:pt x="404" y="740"/>
                    <a:pt x="404" y="740"/>
                  </a:cubicBezTo>
                  <a:cubicBezTo>
                    <a:pt x="408" y="740"/>
                    <a:pt x="410" y="741"/>
                    <a:pt x="411" y="743"/>
                  </a:cubicBezTo>
                  <a:cubicBezTo>
                    <a:pt x="412" y="743"/>
                    <a:pt x="412" y="743"/>
                    <a:pt x="412" y="743"/>
                  </a:cubicBezTo>
                  <a:cubicBezTo>
                    <a:pt x="412" y="744"/>
                    <a:pt x="412" y="744"/>
                    <a:pt x="412" y="744"/>
                  </a:cubicBezTo>
                  <a:cubicBezTo>
                    <a:pt x="412" y="745"/>
                    <a:pt x="413" y="746"/>
                    <a:pt x="413" y="746"/>
                  </a:cubicBezTo>
                  <a:cubicBezTo>
                    <a:pt x="413" y="746"/>
                    <a:pt x="413" y="746"/>
                    <a:pt x="413" y="746"/>
                  </a:cubicBezTo>
                  <a:cubicBezTo>
                    <a:pt x="413" y="746"/>
                    <a:pt x="414" y="746"/>
                    <a:pt x="415" y="746"/>
                  </a:cubicBezTo>
                  <a:cubicBezTo>
                    <a:pt x="417" y="746"/>
                    <a:pt x="418" y="747"/>
                    <a:pt x="420" y="747"/>
                  </a:cubicBezTo>
                  <a:cubicBezTo>
                    <a:pt x="421" y="747"/>
                    <a:pt x="421" y="747"/>
                    <a:pt x="421" y="747"/>
                  </a:cubicBezTo>
                  <a:cubicBezTo>
                    <a:pt x="422" y="748"/>
                    <a:pt x="422" y="748"/>
                    <a:pt x="422" y="748"/>
                  </a:cubicBezTo>
                  <a:cubicBezTo>
                    <a:pt x="423" y="748"/>
                    <a:pt x="423" y="748"/>
                    <a:pt x="423" y="748"/>
                  </a:cubicBezTo>
                  <a:cubicBezTo>
                    <a:pt x="423" y="748"/>
                    <a:pt x="423" y="748"/>
                    <a:pt x="424" y="748"/>
                  </a:cubicBezTo>
                  <a:cubicBezTo>
                    <a:pt x="424" y="748"/>
                    <a:pt x="424" y="748"/>
                    <a:pt x="424" y="748"/>
                  </a:cubicBezTo>
                  <a:cubicBezTo>
                    <a:pt x="424" y="748"/>
                    <a:pt x="425" y="748"/>
                    <a:pt x="425" y="748"/>
                  </a:cubicBezTo>
                  <a:cubicBezTo>
                    <a:pt x="425" y="748"/>
                    <a:pt x="425" y="748"/>
                    <a:pt x="425" y="748"/>
                  </a:cubicBezTo>
                  <a:cubicBezTo>
                    <a:pt x="427" y="747"/>
                    <a:pt x="428" y="746"/>
                    <a:pt x="430" y="746"/>
                  </a:cubicBezTo>
                  <a:cubicBezTo>
                    <a:pt x="433" y="746"/>
                    <a:pt x="436" y="747"/>
                    <a:pt x="437" y="748"/>
                  </a:cubicBezTo>
                  <a:cubicBezTo>
                    <a:pt x="439" y="748"/>
                    <a:pt x="441" y="749"/>
                    <a:pt x="442" y="750"/>
                  </a:cubicBezTo>
                  <a:cubicBezTo>
                    <a:pt x="442" y="751"/>
                    <a:pt x="443" y="751"/>
                    <a:pt x="443" y="752"/>
                  </a:cubicBezTo>
                  <a:cubicBezTo>
                    <a:pt x="444" y="753"/>
                    <a:pt x="444" y="753"/>
                    <a:pt x="444" y="753"/>
                  </a:cubicBezTo>
                  <a:cubicBezTo>
                    <a:pt x="444" y="753"/>
                    <a:pt x="444" y="754"/>
                    <a:pt x="444" y="754"/>
                  </a:cubicBezTo>
                  <a:cubicBezTo>
                    <a:pt x="445" y="754"/>
                    <a:pt x="445" y="754"/>
                    <a:pt x="445" y="754"/>
                  </a:cubicBezTo>
                  <a:cubicBezTo>
                    <a:pt x="445" y="754"/>
                    <a:pt x="445" y="754"/>
                    <a:pt x="445" y="754"/>
                  </a:cubicBezTo>
                  <a:cubicBezTo>
                    <a:pt x="446" y="754"/>
                    <a:pt x="446" y="754"/>
                    <a:pt x="447" y="754"/>
                  </a:cubicBezTo>
                  <a:cubicBezTo>
                    <a:pt x="460" y="753"/>
                    <a:pt x="460" y="753"/>
                    <a:pt x="460" y="753"/>
                  </a:cubicBezTo>
                  <a:cubicBezTo>
                    <a:pt x="460" y="753"/>
                    <a:pt x="460" y="753"/>
                    <a:pt x="460" y="753"/>
                  </a:cubicBezTo>
                  <a:cubicBezTo>
                    <a:pt x="461" y="752"/>
                    <a:pt x="463" y="751"/>
                    <a:pt x="463" y="751"/>
                  </a:cubicBezTo>
                  <a:cubicBezTo>
                    <a:pt x="463" y="750"/>
                    <a:pt x="463" y="749"/>
                    <a:pt x="463" y="749"/>
                  </a:cubicBezTo>
                  <a:cubicBezTo>
                    <a:pt x="463" y="748"/>
                    <a:pt x="463" y="747"/>
                    <a:pt x="464" y="746"/>
                  </a:cubicBezTo>
                  <a:cubicBezTo>
                    <a:pt x="464" y="745"/>
                    <a:pt x="465" y="744"/>
                    <a:pt x="466" y="744"/>
                  </a:cubicBezTo>
                  <a:cubicBezTo>
                    <a:pt x="467" y="743"/>
                    <a:pt x="469" y="742"/>
                    <a:pt x="470" y="741"/>
                  </a:cubicBezTo>
                  <a:cubicBezTo>
                    <a:pt x="471" y="741"/>
                    <a:pt x="471" y="741"/>
                    <a:pt x="471" y="741"/>
                  </a:cubicBezTo>
                  <a:cubicBezTo>
                    <a:pt x="471" y="741"/>
                    <a:pt x="472" y="741"/>
                    <a:pt x="472" y="740"/>
                  </a:cubicBezTo>
                  <a:cubicBezTo>
                    <a:pt x="470" y="737"/>
                    <a:pt x="470" y="737"/>
                    <a:pt x="470" y="737"/>
                  </a:cubicBezTo>
                  <a:cubicBezTo>
                    <a:pt x="474" y="740"/>
                    <a:pt x="474" y="740"/>
                    <a:pt x="474" y="740"/>
                  </a:cubicBezTo>
                  <a:cubicBezTo>
                    <a:pt x="474" y="739"/>
                    <a:pt x="474" y="739"/>
                    <a:pt x="474" y="739"/>
                  </a:cubicBezTo>
                  <a:cubicBezTo>
                    <a:pt x="474" y="738"/>
                    <a:pt x="474" y="738"/>
                    <a:pt x="474" y="738"/>
                  </a:cubicBezTo>
                  <a:cubicBezTo>
                    <a:pt x="475" y="737"/>
                    <a:pt x="475" y="737"/>
                    <a:pt x="475" y="737"/>
                  </a:cubicBezTo>
                  <a:cubicBezTo>
                    <a:pt x="476" y="735"/>
                    <a:pt x="477" y="733"/>
                    <a:pt x="479" y="732"/>
                  </a:cubicBezTo>
                  <a:cubicBezTo>
                    <a:pt x="480" y="731"/>
                    <a:pt x="481" y="731"/>
                    <a:pt x="482" y="731"/>
                  </a:cubicBezTo>
                  <a:cubicBezTo>
                    <a:pt x="483" y="730"/>
                    <a:pt x="483" y="730"/>
                    <a:pt x="483" y="730"/>
                  </a:cubicBezTo>
                  <a:cubicBezTo>
                    <a:pt x="486" y="730"/>
                    <a:pt x="488" y="729"/>
                    <a:pt x="490" y="729"/>
                  </a:cubicBezTo>
                  <a:cubicBezTo>
                    <a:pt x="494" y="727"/>
                    <a:pt x="494" y="727"/>
                    <a:pt x="494" y="727"/>
                  </a:cubicBezTo>
                  <a:cubicBezTo>
                    <a:pt x="496" y="727"/>
                    <a:pt x="497" y="725"/>
                    <a:pt x="499" y="724"/>
                  </a:cubicBezTo>
                  <a:cubicBezTo>
                    <a:pt x="499" y="723"/>
                    <a:pt x="499" y="723"/>
                    <a:pt x="499" y="723"/>
                  </a:cubicBezTo>
                  <a:cubicBezTo>
                    <a:pt x="500" y="723"/>
                    <a:pt x="500" y="722"/>
                    <a:pt x="500" y="722"/>
                  </a:cubicBezTo>
                  <a:cubicBezTo>
                    <a:pt x="501" y="722"/>
                    <a:pt x="501" y="722"/>
                    <a:pt x="501" y="722"/>
                  </a:cubicBezTo>
                  <a:cubicBezTo>
                    <a:pt x="503" y="720"/>
                    <a:pt x="505" y="719"/>
                    <a:pt x="507" y="717"/>
                  </a:cubicBezTo>
                  <a:cubicBezTo>
                    <a:pt x="508" y="717"/>
                    <a:pt x="509" y="716"/>
                    <a:pt x="509" y="715"/>
                  </a:cubicBezTo>
                  <a:cubicBezTo>
                    <a:pt x="510" y="715"/>
                    <a:pt x="511" y="714"/>
                    <a:pt x="512" y="714"/>
                  </a:cubicBezTo>
                  <a:cubicBezTo>
                    <a:pt x="513" y="713"/>
                    <a:pt x="513" y="713"/>
                    <a:pt x="514" y="713"/>
                  </a:cubicBezTo>
                  <a:cubicBezTo>
                    <a:pt x="515" y="713"/>
                    <a:pt x="516" y="713"/>
                    <a:pt x="517" y="714"/>
                  </a:cubicBezTo>
                  <a:cubicBezTo>
                    <a:pt x="517" y="714"/>
                    <a:pt x="517" y="714"/>
                    <a:pt x="517" y="714"/>
                  </a:cubicBezTo>
                  <a:cubicBezTo>
                    <a:pt x="518" y="714"/>
                    <a:pt x="518" y="715"/>
                    <a:pt x="518" y="715"/>
                  </a:cubicBezTo>
                  <a:cubicBezTo>
                    <a:pt x="519" y="715"/>
                    <a:pt x="519" y="715"/>
                    <a:pt x="519" y="715"/>
                  </a:cubicBezTo>
                  <a:cubicBezTo>
                    <a:pt x="519" y="716"/>
                    <a:pt x="520" y="716"/>
                    <a:pt x="520" y="716"/>
                  </a:cubicBezTo>
                  <a:cubicBezTo>
                    <a:pt x="520" y="717"/>
                    <a:pt x="520" y="717"/>
                    <a:pt x="521" y="717"/>
                  </a:cubicBezTo>
                  <a:cubicBezTo>
                    <a:pt x="521" y="717"/>
                    <a:pt x="522" y="717"/>
                    <a:pt x="522" y="717"/>
                  </a:cubicBezTo>
                  <a:cubicBezTo>
                    <a:pt x="522" y="717"/>
                    <a:pt x="522" y="717"/>
                    <a:pt x="522" y="717"/>
                  </a:cubicBezTo>
                  <a:cubicBezTo>
                    <a:pt x="523" y="717"/>
                    <a:pt x="524" y="717"/>
                    <a:pt x="524" y="717"/>
                  </a:cubicBezTo>
                  <a:cubicBezTo>
                    <a:pt x="525" y="718"/>
                    <a:pt x="525" y="718"/>
                    <a:pt x="526" y="718"/>
                  </a:cubicBezTo>
                  <a:cubicBezTo>
                    <a:pt x="526" y="718"/>
                    <a:pt x="527" y="718"/>
                    <a:pt x="528" y="719"/>
                  </a:cubicBezTo>
                  <a:cubicBezTo>
                    <a:pt x="529" y="719"/>
                    <a:pt x="530" y="720"/>
                    <a:pt x="531" y="720"/>
                  </a:cubicBezTo>
                  <a:cubicBezTo>
                    <a:pt x="532" y="720"/>
                    <a:pt x="532" y="720"/>
                    <a:pt x="532" y="720"/>
                  </a:cubicBezTo>
                  <a:cubicBezTo>
                    <a:pt x="533" y="720"/>
                    <a:pt x="534" y="719"/>
                    <a:pt x="535" y="718"/>
                  </a:cubicBezTo>
                  <a:cubicBezTo>
                    <a:pt x="542" y="712"/>
                    <a:pt x="546" y="709"/>
                    <a:pt x="549" y="709"/>
                  </a:cubicBezTo>
                  <a:cubicBezTo>
                    <a:pt x="550" y="709"/>
                    <a:pt x="550" y="710"/>
                    <a:pt x="551" y="710"/>
                  </a:cubicBezTo>
                  <a:cubicBezTo>
                    <a:pt x="552" y="710"/>
                    <a:pt x="553" y="711"/>
                    <a:pt x="554" y="712"/>
                  </a:cubicBezTo>
                  <a:cubicBezTo>
                    <a:pt x="554" y="713"/>
                    <a:pt x="554" y="713"/>
                    <a:pt x="554" y="713"/>
                  </a:cubicBezTo>
                  <a:cubicBezTo>
                    <a:pt x="554" y="713"/>
                    <a:pt x="554" y="713"/>
                    <a:pt x="555" y="713"/>
                  </a:cubicBezTo>
                  <a:cubicBezTo>
                    <a:pt x="555" y="713"/>
                    <a:pt x="555" y="713"/>
                    <a:pt x="555" y="713"/>
                  </a:cubicBezTo>
                  <a:cubicBezTo>
                    <a:pt x="557" y="714"/>
                    <a:pt x="559" y="714"/>
                    <a:pt x="560" y="717"/>
                  </a:cubicBezTo>
                  <a:cubicBezTo>
                    <a:pt x="560" y="717"/>
                    <a:pt x="560" y="717"/>
                    <a:pt x="560" y="717"/>
                  </a:cubicBezTo>
                  <a:cubicBezTo>
                    <a:pt x="560" y="718"/>
                    <a:pt x="560" y="718"/>
                    <a:pt x="560" y="718"/>
                  </a:cubicBezTo>
                  <a:cubicBezTo>
                    <a:pt x="560" y="718"/>
                    <a:pt x="560" y="719"/>
                    <a:pt x="559" y="720"/>
                  </a:cubicBezTo>
                  <a:cubicBezTo>
                    <a:pt x="559" y="720"/>
                    <a:pt x="559" y="720"/>
                    <a:pt x="559" y="720"/>
                  </a:cubicBezTo>
                  <a:cubicBezTo>
                    <a:pt x="569" y="716"/>
                    <a:pt x="569" y="716"/>
                    <a:pt x="569" y="716"/>
                  </a:cubicBezTo>
                  <a:cubicBezTo>
                    <a:pt x="563" y="724"/>
                    <a:pt x="563" y="724"/>
                    <a:pt x="563" y="724"/>
                  </a:cubicBezTo>
                  <a:cubicBezTo>
                    <a:pt x="563" y="725"/>
                    <a:pt x="563" y="725"/>
                    <a:pt x="563" y="725"/>
                  </a:cubicBezTo>
                  <a:cubicBezTo>
                    <a:pt x="563" y="725"/>
                    <a:pt x="563" y="725"/>
                    <a:pt x="563" y="725"/>
                  </a:cubicBezTo>
                  <a:cubicBezTo>
                    <a:pt x="563" y="725"/>
                    <a:pt x="563" y="725"/>
                    <a:pt x="563" y="725"/>
                  </a:cubicBezTo>
                  <a:cubicBezTo>
                    <a:pt x="564" y="726"/>
                    <a:pt x="565" y="728"/>
                    <a:pt x="566" y="730"/>
                  </a:cubicBezTo>
                  <a:cubicBezTo>
                    <a:pt x="566" y="732"/>
                    <a:pt x="565" y="734"/>
                    <a:pt x="562" y="735"/>
                  </a:cubicBezTo>
                  <a:cubicBezTo>
                    <a:pt x="562" y="735"/>
                    <a:pt x="562" y="735"/>
                    <a:pt x="562" y="735"/>
                  </a:cubicBezTo>
                  <a:cubicBezTo>
                    <a:pt x="562" y="735"/>
                    <a:pt x="562" y="735"/>
                    <a:pt x="561" y="736"/>
                  </a:cubicBezTo>
                  <a:cubicBezTo>
                    <a:pt x="561" y="736"/>
                    <a:pt x="561" y="737"/>
                    <a:pt x="560" y="737"/>
                  </a:cubicBezTo>
                  <a:cubicBezTo>
                    <a:pt x="561" y="737"/>
                    <a:pt x="561" y="737"/>
                    <a:pt x="561" y="737"/>
                  </a:cubicBezTo>
                  <a:cubicBezTo>
                    <a:pt x="562" y="737"/>
                    <a:pt x="563" y="737"/>
                    <a:pt x="564" y="737"/>
                  </a:cubicBezTo>
                  <a:cubicBezTo>
                    <a:pt x="566" y="737"/>
                    <a:pt x="566" y="737"/>
                    <a:pt x="566" y="737"/>
                  </a:cubicBezTo>
                  <a:cubicBezTo>
                    <a:pt x="567" y="737"/>
                    <a:pt x="568" y="738"/>
                    <a:pt x="570" y="738"/>
                  </a:cubicBezTo>
                  <a:cubicBezTo>
                    <a:pt x="572" y="738"/>
                    <a:pt x="572" y="738"/>
                    <a:pt x="572" y="738"/>
                  </a:cubicBezTo>
                  <a:cubicBezTo>
                    <a:pt x="573" y="738"/>
                    <a:pt x="574" y="738"/>
                    <a:pt x="574" y="739"/>
                  </a:cubicBezTo>
                  <a:cubicBezTo>
                    <a:pt x="575" y="739"/>
                    <a:pt x="575" y="739"/>
                    <a:pt x="575" y="739"/>
                  </a:cubicBezTo>
                  <a:cubicBezTo>
                    <a:pt x="577" y="739"/>
                    <a:pt x="578" y="740"/>
                    <a:pt x="579" y="741"/>
                  </a:cubicBezTo>
                  <a:cubicBezTo>
                    <a:pt x="580" y="741"/>
                    <a:pt x="580" y="741"/>
                    <a:pt x="580" y="741"/>
                  </a:cubicBezTo>
                  <a:cubicBezTo>
                    <a:pt x="581" y="739"/>
                    <a:pt x="582" y="737"/>
                    <a:pt x="583" y="736"/>
                  </a:cubicBezTo>
                  <a:cubicBezTo>
                    <a:pt x="584" y="735"/>
                    <a:pt x="585" y="734"/>
                    <a:pt x="586" y="734"/>
                  </a:cubicBezTo>
                  <a:cubicBezTo>
                    <a:pt x="587" y="734"/>
                    <a:pt x="587" y="734"/>
                    <a:pt x="588" y="734"/>
                  </a:cubicBezTo>
                  <a:cubicBezTo>
                    <a:pt x="590" y="734"/>
                    <a:pt x="591" y="734"/>
                    <a:pt x="592" y="735"/>
                  </a:cubicBezTo>
                  <a:cubicBezTo>
                    <a:pt x="592" y="736"/>
                    <a:pt x="592" y="736"/>
                    <a:pt x="592" y="736"/>
                  </a:cubicBezTo>
                  <a:cubicBezTo>
                    <a:pt x="593" y="736"/>
                    <a:pt x="593" y="737"/>
                    <a:pt x="593" y="737"/>
                  </a:cubicBezTo>
                  <a:cubicBezTo>
                    <a:pt x="594" y="738"/>
                    <a:pt x="594" y="738"/>
                    <a:pt x="594" y="738"/>
                  </a:cubicBezTo>
                  <a:cubicBezTo>
                    <a:pt x="594" y="738"/>
                    <a:pt x="595" y="738"/>
                    <a:pt x="596" y="739"/>
                  </a:cubicBezTo>
                  <a:cubicBezTo>
                    <a:pt x="597" y="739"/>
                    <a:pt x="598" y="740"/>
                    <a:pt x="598" y="741"/>
                  </a:cubicBezTo>
                  <a:cubicBezTo>
                    <a:pt x="599" y="741"/>
                    <a:pt x="599" y="742"/>
                    <a:pt x="600" y="742"/>
                  </a:cubicBezTo>
                  <a:cubicBezTo>
                    <a:pt x="601" y="743"/>
                    <a:pt x="601" y="743"/>
                    <a:pt x="601" y="743"/>
                  </a:cubicBezTo>
                  <a:cubicBezTo>
                    <a:pt x="603" y="746"/>
                    <a:pt x="604" y="749"/>
                    <a:pt x="604" y="752"/>
                  </a:cubicBezTo>
                  <a:cubicBezTo>
                    <a:pt x="605" y="754"/>
                    <a:pt x="605" y="756"/>
                    <a:pt x="606" y="757"/>
                  </a:cubicBezTo>
                  <a:cubicBezTo>
                    <a:pt x="606" y="757"/>
                    <a:pt x="606" y="757"/>
                    <a:pt x="606" y="757"/>
                  </a:cubicBezTo>
                  <a:cubicBezTo>
                    <a:pt x="606" y="757"/>
                    <a:pt x="607" y="757"/>
                    <a:pt x="607" y="757"/>
                  </a:cubicBezTo>
                  <a:cubicBezTo>
                    <a:pt x="608" y="757"/>
                    <a:pt x="608" y="757"/>
                    <a:pt x="609" y="757"/>
                  </a:cubicBezTo>
                  <a:cubicBezTo>
                    <a:pt x="610" y="757"/>
                    <a:pt x="610" y="757"/>
                    <a:pt x="611" y="758"/>
                  </a:cubicBezTo>
                  <a:cubicBezTo>
                    <a:pt x="611" y="758"/>
                    <a:pt x="611" y="758"/>
                    <a:pt x="611" y="758"/>
                  </a:cubicBezTo>
                  <a:cubicBezTo>
                    <a:pt x="612" y="756"/>
                    <a:pt x="612" y="756"/>
                    <a:pt x="612" y="756"/>
                  </a:cubicBezTo>
                  <a:cubicBezTo>
                    <a:pt x="616" y="760"/>
                    <a:pt x="616" y="760"/>
                    <a:pt x="616" y="760"/>
                  </a:cubicBezTo>
                  <a:cubicBezTo>
                    <a:pt x="617" y="761"/>
                    <a:pt x="617" y="762"/>
                    <a:pt x="617" y="762"/>
                  </a:cubicBezTo>
                  <a:cubicBezTo>
                    <a:pt x="617" y="763"/>
                    <a:pt x="617" y="763"/>
                    <a:pt x="617" y="764"/>
                  </a:cubicBezTo>
                  <a:cubicBezTo>
                    <a:pt x="618" y="767"/>
                    <a:pt x="618" y="772"/>
                    <a:pt x="618" y="776"/>
                  </a:cubicBezTo>
                  <a:cubicBezTo>
                    <a:pt x="619" y="778"/>
                    <a:pt x="619" y="778"/>
                    <a:pt x="619" y="778"/>
                  </a:cubicBezTo>
                  <a:cubicBezTo>
                    <a:pt x="619" y="779"/>
                    <a:pt x="619" y="779"/>
                    <a:pt x="619" y="780"/>
                  </a:cubicBezTo>
                  <a:cubicBezTo>
                    <a:pt x="619" y="781"/>
                    <a:pt x="619" y="781"/>
                    <a:pt x="619" y="781"/>
                  </a:cubicBezTo>
                  <a:cubicBezTo>
                    <a:pt x="619" y="785"/>
                    <a:pt x="619" y="788"/>
                    <a:pt x="618" y="791"/>
                  </a:cubicBezTo>
                  <a:cubicBezTo>
                    <a:pt x="618" y="792"/>
                    <a:pt x="618" y="793"/>
                    <a:pt x="618" y="794"/>
                  </a:cubicBezTo>
                  <a:cubicBezTo>
                    <a:pt x="617" y="795"/>
                    <a:pt x="617" y="796"/>
                    <a:pt x="616" y="797"/>
                  </a:cubicBezTo>
                  <a:cubicBezTo>
                    <a:pt x="616" y="798"/>
                    <a:pt x="616" y="799"/>
                    <a:pt x="615" y="801"/>
                  </a:cubicBezTo>
                  <a:cubicBezTo>
                    <a:pt x="615" y="802"/>
                    <a:pt x="615" y="802"/>
                    <a:pt x="615" y="802"/>
                  </a:cubicBezTo>
                  <a:cubicBezTo>
                    <a:pt x="615" y="803"/>
                    <a:pt x="615" y="803"/>
                    <a:pt x="615" y="803"/>
                  </a:cubicBezTo>
                  <a:cubicBezTo>
                    <a:pt x="615" y="804"/>
                    <a:pt x="616" y="805"/>
                    <a:pt x="616" y="805"/>
                  </a:cubicBezTo>
                  <a:cubicBezTo>
                    <a:pt x="616" y="806"/>
                    <a:pt x="617" y="808"/>
                    <a:pt x="616" y="810"/>
                  </a:cubicBezTo>
                  <a:cubicBezTo>
                    <a:pt x="615" y="811"/>
                    <a:pt x="615" y="811"/>
                    <a:pt x="615" y="811"/>
                  </a:cubicBezTo>
                  <a:cubicBezTo>
                    <a:pt x="615" y="811"/>
                    <a:pt x="614" y="812"/>
                    <a:pt x="613" y="813"/>
                  </a:cubicBezTo>
                  <a:cubicBezTo>
                    <a:pt x="613" y="813"/>
                    <a:pt x="613" y="814"/>
                    <a:pt x="612" y="814"/>
                  </a:cubicBezTo>
                  <a:cubicBezTo>
                    <a:pt x="611" y="816"/>
                    <a:pt x="608" y="818"/>
                    <a:pt x="606" y="819"/>
                  </a:cubicBezTo>
                  <a:cubicBezTo>
                    <a:pt x="606" y="819"/>
                    <a:pt x="605" y="819"/>
                    <a:pt x="604" y="819"/>
                  </a:cubicBezTo>
                  <a:cubicBezTo>
                    <a:pt x="604" y="819"/>
                    <a:pt x="603" y="819"/>
                    <a:pt x="603" y="819"/>
                  </a:cubicBezTo>
                  <a:cubicBezTo>
                    <a:pt x="603" y="820"/>
                    <a:pt x="603" y="820"/>
                    <a:pt x="603" y="820"/>
                  </a:cubicBezTo>
                  <a:cubicBezTo>
                    <a:pt x="603" y="820"/>
                    <a:pt x="602" y="821"/>
                    <a:pt x="602" y="821"/>
                  </a:cubicBezTo>
                  <a:cubicBezTo>
                    <a:pt x="602" y="824"/>
                    <a:pt x="599" y="825"/>
                    <a:pt x="597" y="825"/>
                  </a:cubicBezTo>
                  <a:cubicBezTo>
                    <a:pt x="596" y="825"/>
                    <a:pt x="596" y="825"/>
                    <a:pt x="596" y="825"/>
                  </a:cubicBezTo>
                  <a:cubicBezTo>
                    <a:pt x="595" y="826"/>
                    <a:pt x="595" y="826"/>
                    <a:pt x="595" y="828"/>
                  </a:cubicBezTo>
                  <a:cubicBezTo>
                    <a:pt x="595" y="830"/>
                    <a:pt x="595" y="831"/>
                    <a:pt x="594" y="831"/>
                  </a:cubicBezTo>
                  <a:cubicBezTo>
                    <a:pt x="594" y="832"/>
                    <a:pt x="594" y="832"/>
                    <a:pt x="594" y="832"/>
                  </a:cubicBezTo>
                  <a:cubicBezTo>
                    <a:pt x="596" y="832"/>
                    <a:pt x="596" y="832"/>
                    <a:pt x="596" y="832"/>
                  </a:cubicBezTo>
                  <a:cubicBezTo>
                    <a:pt x="594" y="835"/>
                    <a:pt x="594" y="835"/>
                    <a:pt x="594" y="835"/>
                  </a:cubicBezTo>
                  <a:cubicBezTo>
                    <a:pt x="594" y="837"/>
                    <a:pt x="592" y="838"/>
                    <a:pt x="591" y="838"/>
                  </a:cubicBezTo>
                  <a:cubicBezTo>
                    <a:pt x="591" y="838"/>
                    <a:pt x="591" y="838"/>
                    <a:pt x="591" y="838"/>
                  </a:cubicBezTo>
                  <a:cubicBezTo>
                    <a:pt x="590" y="839"/>
                    <a:pt x="590" y="839"/>
                    <a:pt x="589" y="839"/>
                  </a:cubicBezTo>
                  <a:cubicBezTo>
                    <a:pt x="589" y="840"/>
                    <a:pt x="588" y="840"/>
                    <a:pt x="588" y="842"/>
                  </a:cubicBezTo>
                  <a:cubicBezTo>
                    <a:pt x="588" y="843"/>
                    <a:pt x="588" y="843"/>
                    <a:pt x="588" y="843"/>
                  </a:cubicBezTo>
                  <a:cubicBezTo>
                    <a:pt x="590" y="843"/>
                    <a:pt x="591" y="845"/>
                    <a:pt x="592" y="846"/>
                  </a:cubicBezTo>
                  <a:cubicBezTo>
                    <a:pt x="593" y="849"/>
                    <a:pt x="593" y="852"/>
                    <a:pt x="592" y="854"/>
                  </a:cubicBezTo>
                  <a:cubicBezTo>
                    <a:pt x="592" y="854"/>
                    <a:pt x="592" y="854"/>
                    <a:pt x="592" y="854"/>
                  </a:cubicBezTo>
                  <a:cubicBezTo>
                    <a:pt x="592" y="854"/>
                    <a:pt x="591" y="854"/>
                    <a:pt x="590" y="856"/>
                  </a:cubicBezTo>
                  <a:cubicBezTo>
                    <a:pt x="590" y="856"/>
                    <a:pt x="590" y="856"/>
                    <a:pt x="590" y="856"/>
                  </a:cubicBezTo>
                  <a:cubicBezTo>
                    <a:pt x="592" y="855"/>
                    <a:pt x="594" y="854"/>
                    <a:pt x="595" y="853"/>
                  </a:cubicBezTo>
                  <a:cubicBezTo>
                    <a:pt x="595" y="853"/>
                    <a:pt x="595" y="853"/>
                    <a:pt x="595" y="853"/>
                  </a:cubicBezTo>
                  <a:cubicBezTo>
                    <a:pt x="596" y="853"/>
                    <a:pt x="597" y="852"/>
                    <a:pt x="598" y="852"/>
                  </a:cubicBezTo>
                  <a:cubicBezTo>
                    <a:pt x="599" y="851"/>
                    <a:pt x="600" y="851"/>
                    <a:pt x="600" y="851"/>
                  </a:cubicBezTo>
                  <a:cubicBezTo>
                    <a:pt x="601" y="851"/>
                    <a:pt x="601" y="851"/>
                    <a:pt x="601" y="851"/>
                  </a:cubicBezTo>
                  <a:cubicBezTo>
                    <a:pt x="601" y="850"/>
                    <a:pt x="602" y="850"/>
                    <a:pt x="603" y="850"/>
                  </a:cubicBezTo>
                  <a:cubicBezTo>
                    <a:pt x="605" y="850"/>
                    <a:pt x="606" y="851"/>
                    <a:pt x="608" y="851"/>
                  </a:cubicBezTo>
                  <a:cubicBezTo>
                    <a:pt x="608" y="851"/>
                    <a:pt x="608" y="851"/>
                    <a:pt x="608" y="851"/>
                  </a:cubicBezTo>
                  <a:cubicBezTo>
                    <a:pt x="609" y="851"/>
                    <a:pt x="609" y="851"/>
                    <a:pt x="610" y="851"/>
                  </a:cubicBezTo>
                  <a:cubicBezTo>
                    <a:pt x="612" y="851"/>
                    <a:pt x="615" y="851"/>
                    <a:pt x="618" y="850"/>
                  </a:cubicBezTo>
                  <a:cubicBezTo>
                    <a:pt x="625" y="847"/>
                    <a:pt x="625" y="847"/>
                    <a:pt x="625" y="847"/>
                  </a:cubicBezTo>
                  <a:cubicBezTo>
                    <a:pt x="617" y="861"/>
                    <a:pt x="617" y="861"/>
                    <a:pt x="617" y="861"/>
                  </a:cubicBezTo>
                  <a:cubicBezTo>
                    <a:pt x="617" y="862"/>
                    <a:pt x="617" y="862"/>
                    <a:pt x="617" y="862"/>
                  </a:cubicBezTo>
                  <a:cubicBezTo>
                    <a:pt x="617" y="862"/>
                    <a:pt x="617" y="862"/>
                    <a:pt x="617" y="862"/>
                  </a:cubicBezTo>
                  <a:cubicBezTo>
                    <a:pt x="618" y="863"/>
                    <a:pt x="618" y="863"/>
                    <a:pt x="618" y="863"/>
                  </a:cubicBezTo>
                  <a:cubicBezTo>
                    <a:pt x="618" y="864"/>
                    <a:pt x="618" y="865"/>
                    <a:pt x="619" y="866"/>
                  </a:cubicBezTo>
                  <a:cubicBezTo>
                    <a:pt x="619" y="867"/>
                    <a:pt x="619" y="867"/>
                    <a:pt x="619" y="868"/>
                  </a:cubicBezTo>
                  <a:cubicBezTo>
                    <a:pt x="620" y="869"/>
                    <a:pt x="620" y="870"/>
                    <a:pt x="621" y="871"/>
                  </a:cubicBezTo>
                  <a:cubicBezTo>
                    <a:pt x="622" y="874"/>
                    <a:pt x="622" y="874"/>
                    <a:pt x="622" y="874"/>
                  </a:cubicBezTo>
                  <a:cubicBezTo>
                    <a:pt x="622" y="875"/>
                    <a:pt x="623" y="876"/>
                    <a:pt x="625" y="877"/>
                  </a:cubicBezTo>
                  <a:cubicBezTo>
                    <a:pt x="625" y="877"/>
                    <a:pt x="626" y="877"/>
                    <a:pt x="626" y="877"/>
                  </a:cubicBezTo>
                  <a:cubicBezTo>
                    <a:pt x="627" y="877"/>
                    <a:pt x="627" y="877"/>
                    <a:pt x="627" y="877"/>
                  </a:cubicBezTo>
                  <a:cubicBezTo>
                    <a:pt x="629" y="872"/>
                    <a:pt x="629" y="872"/>
                    <a:pt x="629" y="872"/>
                  </a:cubicBezTo>
                  <a:cubicBezTo>
                    <a:pt x="628" y="877"/>
                    <a:pt x="628" y="877"/>
                    <a:pt x="628" y="877"/>
                  </a:cubicBezTo>
                  <a:cubicBezTo>
                    <a:pt x="629" y="877"/>
                    <a:pt x="629" y="877"/>
                    <a:pt x="629" y="877"/>
                  </a:cubicBezTo>
                  <a:cubicBezTo>
                    <a:pt x="630" y="877"/>
                    <a:pt x="630" y="877"/>
                    <a:pt x="631" y="877"/>
                  </a:cubicBezTo>
                  <a:cubicBezTo>
                    <a:pt x="633" y="877"/>
                    <a:pt x="636" y="878"/>
                    <a:pt x="637" y="880"/>
                  </a:cubicBezTo>
                  <a:cubicBezTo>
                    <a:pt x="637" y="881"/>
                    <a:pt x="637" y="881"/>
                    <a:pt x="637" y="881"/>
                  </a:cubicBezTo>
                  <a:cubicBezTo>
                    <a:pt x="637" y="882"/>
                    <a:pt x="638" y="882"/>
                    <a:pt x="638" y="882"/>
                  </a:cubicBezTo>
                  <a:cubicBezTo>
                    <a:pt x="638" y="884"/>
                    <a:pt x="638" y="886"/>
                    <a:pt x="635" y="888"/>
                  </a:cubicBezTo>
                  <a:cubicBezTo>
                    <a:pt x="635" y="889"/>
                    <a:pt x="634" y="889"/>
                    <a:pt x="634" y="889"/>
                  </a:cubicBezTo>
                  <a:cubicBezTo>
                    <a:pt x="633" y="890"/>
                    <a:pt x="633" y="890"/>
                    <a:pt x="633" y="890"/>
                  </a:cubicBezTo>
                  <a:cubicBezTo>
                    <a:pt x="633" y="890"/>
                    <a:pt x="633" y="890"/>
                    <a:pt x="633" y="890"/>
                  </a:cubicBezTo>
                  <a:cubicBezTo>
                    <a:pt x="633" y="891"/>
                    <a:pt x="633" y="891"/>
                    <a:pt x="633" y="891"/>
                  </a:cubicBezTo>
                  <a:cubicBezTo>
                    <a:pt x="633" y="892"/>
                    <a:pt x="633" y="892"/>
                    <a:pt x="633" y="892"/>
                  </a:cubicBezTo>
                  <a:cubicBezTo>
                    <a:pt x="632" y="893"/>
                    <a:pt x="632" y="894"/>
                    <a:pt x="632" y="895"/>
                  </a:cubicBezTo>
                  <a:cubicBezTo>
                    <a:pt x="632" y="896"/>
                    <a:pt x="631" y="897"/>
                    <a:pt x="631" y="898"/>
                  </a:cubicBezTo>
                  <a:cubicBezTo>
                    <a:pt x="631" y="898"/>
                    <a:pt x="631" y="898"/>
                    <a:pt x="631" y="898"/>
                  </a:cubicBezTo>
                  <a:cubicBezTo>
                    <a:pt x="631" y="900"/>
                    <a:pt x="630" y="901"/>
                    <a:pt x="630" y="902"/>
                  </a:cubicBezTo>
                  <a:cubicBezTo>
                    <a:pt x="644" y="904"/>
                    <a:pt x="644" y="904"/>
                    <a:pt x="644" y="904"/>
                  </a:cubicBezTo>
                  <a:cubicBezTo>
                    <a:pt x="645" y="904"/>
                    <a:pt x="645" y="904"/>
                    <a:pt x="645" y="904"/>
                  </a:cubicBezTo>
                  <a:cubicBezTo>
                    <a:pt x="646" y="904"/>
                    <a:pt x="646" y="905"/>
                    <a:pt x="647" y="905"/>
                  </a:cubicBezTo>
                  <a:cubicBezTo>
                    <a:pt x="647" y="906"/>
                    <a:pt x="647" y="906"/>
                    <a:pt x="647" y="906"/>
                  </a:cubicBezTo>
                  <a:cubicBezTo>
                    <a:pt x="648" y="906"/>
                    <a:pt x="648" y="907"/>
                    <a:pt x="648" y="907"/>
                  </a:cubicBezTo>
                  <a:cubicBezTo>
                    <a:pt x="648" y="908"/>
                    <a:pt x="648" y="910"/>
                    <a:pt x="648" y="911"/>
                  </a:cubicBezTo>
                  <a:cubicBezTo>
                    <a:pt x="648" y="912"/>
                    <a:pt x="648" y="912"/>
                    <a:pt x="648" y="912"/>
                  </a:cubicBezTo>
                  <a:cubicBezTo>
                    <a:pt x="648" y="912"/>
                    <a:pt x="648" y="912"/>
                    <a:pt x="648" y="912"/>
                  </a:cubicBezTo>
                  <a:cubicBezTo>
                    <a:pt x="648" y="913"/>
                    <a:pt x="648" y="913"/>
                    <a:pt x="648" y="913"/>
                  </a:cubicBezTo>
                  <a:cubicBezTo>
                    <a:pt x="648" y="914"/>
                    <a:pt x="649" y="914"/>
                    <a:pt x="650" y="915"/>
                  </a:cubicBezTo>
                  <a:cubicBezTo>
                    <a:pt x="650" y="916"/>
                    <a:pt x="650" y="916"/>
                    <a:pt x="650" y="916"/>
                  </a:cubicBezTo>
                  <a:cubicBezTo>
                    <a:pt x="650" y="917"/>
                    <a:pt x="651" y="917"/>
                    <a:pt x="651" y="918"/>
                  </a:cubicBezTo>
                  <a:cubicBezTo>
                    <a:pt x="651" y="918"/>
                    <a:pt x="651" y="918"/>
                    <a:pt x="651" y="918"/>
                  </a:cubicBezTo>
                  <a:cubicBezTo>
                    <a:pt x="652" y="919"/>
                    <a:pt x="652" y="919"/>
                    <a:pt x="652" y="920"/>
                  </a:cubicBezTo>
                  <a:cubicBezTo>
                    <a:pt x="660" y="917"/>
                    <a:pt x="660" y="917"/>
                    <a:pt x="660" y="917"/>
                  </a:cubicBezTo>
                  <a:cubicBezTo>
                    <a:pt x="661" y="917"/>
                    <a:pt x="663" y="916"/>
                    <a:pt x="665" y="915"/>
                  </a:cubicBezTo>
                  <a:cubicBezTo>
                    <a:pt x="666" y="915"/>
                    <a:pt x="667" y="914"/>
                    <a:pt x="667" y="914"/>
                  </a:cubicBezTo>
                  <a:cubicBezTo>
                    <a:pt x="669" y="913"/>
                    <a:pt x="669" y="913"/>
                    <a:pt x="669" y="913"/>
                  </a:cubicBezTo>
                  <a:cubicBezTo>
                    <a:pt x="670" y="913"/>
                    <a:pt x="670" y="913"/>
                    <a:pt x="671" y="912"/>
                  </a:cubicBezTo>
                  <a:cubicBezTo>
                    <a:pt x="675" y="909"/>
                    <a:pt x="675" y="909"/>
                    <a:pt x="675" y="909"/>
                  </a:cubicBezTo>
                  <a:cubicBezTo>
                    <a:pt x="676" y="914"/>
                    <a:pt x="676" y="914"/>
                    <a:pt x="676" y="914"/>
                  </a:cubicBezTo>
                  <a:cubicBezTo>
                    <a:pt x="677" y="915"/>
                    <a:pt x="677" y="917"/>
                    <a:pt x="677" y="918"/>
                  </a:cubicBezTo>
                  <a:cubicBezTo>
                    <a:pt x="677" y="919"/>
                    <a:pt x="677" y="919"/>
                    <a:pt x="677" y="919"/>
                  </a:cubicBezTo>
                  <a:cubicBezTo>
                    <a:pt x="677" y="919"/>
                    <a:pt x="677" y="919"/>
                    <a:pt x="677" y="919"/>
                  </a:cubicBezTo>
                  <a:cubicBezTo>
                    <a:pt x="677" y="920"/>
                    <a:pt x="678" y="920"/>
                    <a:pt x="678" y="921"/>
                  </a:cubicBezTo>
                  <a:cubicBezTo>
                    <a:pt x="678" y="922"/>
                    <a:pt x="678" y="924"/>
                    <a:pt x="679" y="926"/>
                  </a:cubicBezTo>
                  <a:cubicBezTo>
                    <a:pt x="681" y="925"/>
                    <a:pt x="681" y="925"/>
                    <a:pt x="681" y="925"/>
                  </a:cubicBezTo>
                  <a:cubicBezTo>
                    <a:pt x="681" y="926"/>
                    <a:pt x="681" y="926"/>
                    <a:pt x="681" y="926"/>
                  </a:cubicBezTo>
                  <a:cubicBezTo>
                    <a:pt x="682" y="926"/>
                    <a:pt x="682" y="926"/>
                    <a:pt x="682" y="926"/>
                  </a:cubicBezTo>
                  <a:cubicBezTo>
                    <a:pt x="683" y="926"/>
                    <a:pt x="684" y="926"/>
                    <a:pt x="685" y="926"/>
                  </a:cubicBezTo>
                  <a:cubicBezTo>
                    <a:pt x="686" y="927"/>
                    <a:pt x="686" y="927"/>
                    <a:pt x="686" y="927"/>
                  </a:cubicBezTo>
                  <a:cubicBezTo>
                    <a:pt x="686" y="927"/>
                    <a:pt x="686" y="927"/>
                    <a:pt x="686" y="927"/>
                  </a:cubicBezTo>
                  <a:cubicBezTo>
                    <a:pt x="685" y="925"/>
                    <a:pt x="686" y="921"/>
                    <a:pt x="686" y="918"/>
                  </a:cubicBezTo>
                  <a:cubicBezTo>
                    <a:pt x="687" y="917"/>
                    <a:pt x="687" y="917"/>
                    <a:pt x="687" y="917"/>
                  </a:cubicBezTo>
                  <a:cubicBezTo>
                    <a:pt x="687" y="914"/>
                    <a:pt x="687" y="914"/>
                    <a:pt x="685" y="911"/>
                  </a:cubicBezTo>
                  <a:cubicBezTo>
                    <a:pt x="685" y="911"/>
                    <a:pt x="685" y="910"/>
                    <a:pt x="684" y="909"/>
                  </a:cubicBezTo>
                  <a:cubicBezTo>
                    <a:pt x="684" y="909"/>
                    <a:pt x="684" y="909"/>
                    <a:pt x="684" y="909"/>
                  </a:cubicBezTo>
                  <a:cubicBezTo>
                    <a:pt x="682" y="907"/>
                    <a:pt x="681" y="904"/>
                    <a:pt x="681" y="902"/>
                  </a:cubicBezTo>
                  <a:cubicBezTo>
                    <a:pt x="681" y="901"/>
                    <a:pt x="682" y="901"/>
                    <a:pt x="682" y="900"/>
                  </a:cubicBezTo>
                  <a:cubicBezTo>
                    <a:pt x="682" y="899"/>
                    <a:pt x="682" y="899"/>
                    <a:pt x="682" y="899"/>
                  </a:cubicBezTo>
                  <a:cubicBezTo>
                    <a:pt x="682" y="899"/>
                    <a:pt x="682" y="899"/>
                    <a:pt x="682" y="899"/>
                  </a:cubicBezTo>
                  <a:cubicBezTo>
                    <a:pt x="683" y="898"/>
                    <a:pt x="684" y="897"/>
                    <a:pt x="684" y="896"/>
                  </a:cubicBezTo>
                  <a:cubicBezTo>
                    <a:pt x="685" y="896"/>
                    <a:pt x="685" y="896"/>
                    <a:pt x="685" y="896"/>
                  </a:cubicBezTo>
                  <a:cubicBezTo>
                    <a:pt x="685" y="894"/>
                    <a:pt x="685" y="894"/>
                    <a:pt x="685" y="894"/>
                  </a:cubicBezTo>
                  <a:cubicBezTo>
                    <a:pt x="686" y="894"/>
                    <a:pt x="687" y="893"/>
                    <a:pt x="687" y="893"/>
                  </a:cubicBezTo>
                  <a:cubicBezTo>
                    <a:pt x="688" y="893"/>
                    <a:pt x="689" y="893"/>
                    <a:pt x="690" y="893"/>
                  </a:cubicBezTo>
                  <a:cubicBezTo>
                    <a:pt x="692" y="893"/>
                    <a:pt x="694" y="893"/>
                    <a:pt x="696" y="894"/>
                  </a:cubicBezTo>
                  <a:cubicBezTo>
                    <a:pt x="697" y="895"/>
                    <a:pt x="697" y="895"/>
                    <a:pt x="697" y="895"/>
                  </a:cubicBezTo>
                  <a:cubicBezTo>
                    <a:pt x="697" y="895"/>
                    <a:pt x="697" y="895"/>
                    <a:pt x="698" y="895"/>
                  </a:cubicBezTo>
                  <a:cubicBezTo>
                    <a:pt x="698" y="895"/>
                    <a:pt x="698" y="895"/>
                    <a:pt x="698" y="895"/>
                  </a:cubicBezTo>
                  <a:cubicBezTo>
                    <a:pt x="700" y="893"/>
                    <a:pt x="702" y="892"/>
                    <a:pt x="703" y="889"/>
                  </a:cubicBezTo>
                  <a:cubicBezTo>
                    <a:pt x="703" y="889"/>
                    <a:pt x="703" y="889"/>
                    <a:pt x="703" y="889"/>
                  </a:cubicBezTo>
                  <a:cubicBezTo>
                    <a:pt x="704" y="888"/>
                    <a:pt x="705" y="886"/>
                    <a:pt x="708" y="886"/>
                  </a:cubicBezTo>
                  <a:cubicBezTo>
                    <a:pt x="708" y="886"/>
                    <a:pt x="708" y="886"/>
                    <a:pt x="708" y="886"/>
                  </a:cubicBezTo>
                  <a:cubicBezTo>
                    <a:pt x="709" y="886"/>
                    <a:pt x="710" y="886"/>
                    <a:pt x="711" y="887"/>
                  </a:cubicBezTo>
                  <a:cubicBezTo>
                    <a:pt x="711" y="887"/>
                    <a:pt x="712" y="887"/>
                    <a:pt x="713" y="888"/>
                  </a:cubicBezTo>
                  <a:cubicBezTo>
                    <a:pt x="715" y="889"/>
                    <a:pt x="715" y="889"/>
                    <a:pt x="715" y="889"/>
                  </a:cubicBezTo>
                  <a:cubicBezTo>
                    <a:pt x="716" y="889"/>
                    <a:pt x="717" y="890"/>
                    <a:pt x="718" y="890"/>
                  </a:cubicBezTo>
                  <a:cubicBezTo>
                    <a:pt x="719" y="891"/>
                    <a:pt x="720" y="892"/>
                    <a:pt x="720" y="893"/>
                  </a:cubicBezTo>
                  <a:cubicBezTo>
                    <a:pt x="721" y="893"/>
                    <a:pt x="721" y="893"/>
                    <a:pt x="721" y="893"/>
                  </a:cubicBezTo>
                  <a:cubicBezTo>
                    <a:pt x="721" y="892"/>
                    <a:pt x="721" y="892"/>
                    <a:pt x="721" y="891"/>
                  </a:cubicBezTo>
                  <a:cubicBezTo>
                    <a:pt x="722" y="891"/>
                    <a:pt x="722" y="891"/>
                    <a:pt x="722" y="891"/>
                  </a:cubicBezTo>
                  <a:cubicBezTo>
                    <a:pt x="722" y="890"/>
                    <a:pt x="722" y="890"/>
                    <a:pt x="722" y="890"/>
                  </a:cubicBezTo>
                  <a:cubicBezTo>
                    <a:pt x="723" y="889"/>
                    <a:pt x="723" y="889"/>
                    <a:pt x="723" y="889"/>
                  </a:cubicBezTo>
                  <a:cubicBezTo>
                    <a:pt x="725" y="888"/>
                    <a:pt x="725" y="888"/>
                    <a:pt x="725" y="888"/>
                  </a:cubicBezTo>
                  <a:cubicBezTo>
                    <a:pt x="725" y="887"/>
                    <a:pt x="726" y="886"/>
                    <a:pt x="728" y="886"/>
                  </a:cubicBezTo>
                  <a:cubicBezTo>
                    <a:pt x="728" y="885"/>
                    <a:pt x="728" y="885"/>
                    <a:pt x="728" y="885"/>
                  </a:cubicBezTo>
                  <a:cubicBezTo>
                    <a:pt x="731" y="885"/>
                    <a:pt x="731" y="885"/>
                    <a:pt x="731" y="885"/>
                  </a:cubicBezTo>
                  <a:cubicBezTo>
                    <a:pt x="731" y="886"/>
                    <a:pt x="731" y="886"/>
                    <a:pt x="731" y="886"/>
                  </a:cubicBezTo>
                  <a:cubicBezTo>
                    <a:pt x="731" y="886"/>
                    <a:pt x="732" y="887"/>
                    <a:pt x="732" y="887"/>
                  </a:cubicBezTo>
                  <a:cubicBezTo>
                    <a:pt x="733" y="888"/>
                    <a:pt x="733" y="888"/>
                    <a:pt x="733" y="888"/>
                  </a:cubicBezTo>
                  <a:cubicBezTo>
                    <a:pt x="734" y="887"/>
                    <a:pt x="734" y="887"/>
                    <a:pt x="734" y="887"/>
                  </a:cubicBezTo>
                  <a:cubicBezTo>
                    <a:pt x="736" y="883"/>
                    <a:pt x="736" y="883"/>
                    <a:pt x="736" y="883"/>
                  </a:cubicBezTo>
                  <a:cubicBezTo>
                    <a:pt x="738" y="887"/>
                    <a:pt x="738" y="887"/>
                    <a:pt x="738" y="887"/>
                  </a:cubicBezTo>
                  <a:cubicBezTo>
                    <a:pt x="739" y="887"/>
                    <a:pt x="739" y="888"/>
                    <a:pt x="740" y="888"/>
                  </a:cubicBezTo>
                  <a:cubicBezTo>
                    <a:pt x="740" y="889"/>
                    <a:pt x="741" y="889"/>
                    <a:pt x="742" y="890"/>
                  </a:cubicBezTo>
                  <a:cubicBezTo>
                    <a:pt x="742" y="890"/>
                    <a:pt x="743" y="891"/>
                    <a:pt x="743" y="891"/>
                  </a:cubicBezTo>
                  <a:cubicBezTo>
                    <a:pt x="743" y="892"/>
                    <a:pt x="743" y="892"/>
                    <a:pt x="743" y="892"/>
                  </a:cubicBezTo>
                  <a:cubicBezTo>
                    <a:pt x="751" y="882"/>
                    <a:pt x="751" y="882"/>
                    <a:pt x="751" y="882"/>
                  </a:cubicBezTo>
                  <a:cubicBezTo>
                    <a:pt x="754" y="886"/>
                    <a:pt x="754" y="886"/>
                    <a:pt x="754" y="886"/>
                  </a:cubicBezTo>
                  <a:cubicBezTo>
                    <a:pt x="754" y="886"/>
                    <a:pt x="755" y="887"/>
                    <a:pt x="755" y="887"/>
                  </a:cubicBezTo>
                  <a:cubicBezTo>
                    <a:pt x="758" y="886"/>
                    <a:pt x="758" y="886"/>
                    <a:pt x="758" y="886"/>
                  </a:cubicBezTo>
                  <a:cubicBezTo>
                    <a:pt x="760" y="885"/>
                    <a:pt x="760" y="885"/>
                    <a:pt x="761" y="884"/>
                  </a:cubicBezTo>
                  <a:cubicBezTo>
                    <a:pt x="762" y="884"/>
                    <a:pt x="762" y="884"/>
                    <a:pt x="762" y="884"/>
                  </a:cubicBezTo>
                  <a:cubicBezTo>
                    <a:pt x="762" y="884"/>
                    <a:pt x="762" y="883"/>
                    <a:pt x="763" y="882"/>
                  </a:cubicBezTo>
                  <a:cubicBezTo>
                    <a:pt x="764" y="881"/>
                    <a:pt x="764" y="880"/>
                    <a:pt x="765" y="879"/>
                  </a:cubicBezTo>
                  <a:cubicBezTo>
                    <a:pt x="767" y="876"/>
                    <a:pt x="767" y="876"/>
                    <a:pt x="767" y="876"/>
                  </a:cubicBezTo>
                  <a:cubicBezTo>
                    <a:pt x="768" y="875"/>
                    <a:pt x="768" y="875"/>
                    <a:pt x="768" y="875"/>
                  </a:cubicBezTo>
                  <a:cubicBezTo>
                    <a:pt x="768" y="875"/>
                    <a:pt x="768" y="875"/>
                    <a:pt x="768" y="875"/>
                  </a:cubicBezTo>
                  <a:cubicBezTo>
                    <a:pt x="769" y="874"/>
                    <a:pt x="769" y="874"/>
                    <a:pt x="769" y="874"/>
                  </a:cubicBezTo>
                  <a:cubicBezTo>
                    <a:pt x="772" y="872"/>
                    <a:pt x="775" y="870"/>
                    <a:pt x="777" y="870"/>
                  </a:cubicBezTo>
                  <a:cubicBezTo>
                    <a:pt x="777" y="870"/>
                    <a:pt x="778" y="870"/>
                    <a:pt x="778" y="870"/>
                  </a:cubicBezTo>
                  <a:cubicBezTo>
                    <a:pt x="779" y="870"/>
                    <a:pt x="780" y="871"/>
                    <a:pt x="780" y="872"/>
                  </a:cubicBezTo>
                  <a:cubicBezTo>
                    <a:pt x="781" y="872"/>
                    <a:pt x="781" y="873"/>
                    <a:pt x="782" y="873"/>
                  </a:cubicBezTo>
                  <a:cubicBezTo>
                    <a:pt x="783" y="874"/>
                    <a:pt x="783" y="875"/>
                    <a:pt x="784" y="875"/>
                  </a:cubicBezTo>
                  <a:cubicBezTo>
                    <a:pt x="785" y="876"/>
                    <a:pt x="785" y="876"/>
                    <a:pt x="785" y="876"/>
                  </a:cubicBezTo>
                  <a:cubicBezTo>
                    <a:pt x="786" y="878"/>
                    <a:pt x="787" y="879"/>
                    <a:pt x="788" y="880"/>
                  </a:cubicBezTo>
                  <a:cubicBezTo>
                    <a:pt x="789" y="880"/>
                    <a:pt x="789" y="880"/>
                    <a:pt x="789" y="880"/>
                  </a:cubicBezTo>
                  <a:cubicBezTo>
                    <a:pt x="793" y="882"/>
                    <a:pt x="795" y="882"/>
                    <a:pt x="799" y="882"/>
                  </a:cubicBezTo>
                  <a:cubicBezTo>
                    <a:pt x="800" y="882"/>
                    <a:pt x="800" y="882"/>
                    <a:pt x="800" y="882"/>
                  </a:cubicBezTo>
                  <a:cubicBezTo>
                    <a:pt x="801" y="882"/>
                    <a:pt x="801" y="882"/>
                    <a:pt x="802" y="882"/>
                  </a:cubicBezTo>
                  <a:cubicBezTo>
                    <a:pt x="802" y="882"/>
                    <a:pt x="803" y="882"/>
                    <a:pt x="803" y="882"/>
                  </a:cubicBezTo>
                  <a:cubicBezTo>
                    <a:pt x="804" y="882"/>
                    <a:pt x="804" y="882"/>
                    <a:pt x="805" y="882"/>
                  </a:cubicBezTo>
                  <a:cubicBezTo>
                    <a:pt x="807" y="882"/>
                    <a:pt x="809" y="883"/>
                    <a:pt x="810" y="883"/>
                  </a:cubicBezTo>
                  <a:cubicBezTo>
                    <a:pt x="812" y="878"/>
                    <a:pt x="812" y="878"/>
                    <a:pt x="812" y="878"/>
                  </a:cubicBezTo>
                  <a:cubicBezTo>
                    <a:pt x="812" y="884"/>
                    <a:pt x="812" y="884"/>
                    <a:pt x="812" y="884"/>
                  </a:cubicBezTo>
                  <a:cubicBezTo>
                    <a:pt x="812" y="884"/>
                    <a:pt x="812" y="884"/>
                    <a:pt x="812" y="884"/>
                  </a:cubicBezTo>
                  <a:cubicBezTo>
                    <a:pt x="813" y="884"/>
                    <a:pt x="813" y="884"/>
                    <a:pt x="814" y="885"/>
                  </a:cubicBezTo>
                  <a:cubicBezTo>
                    <a:pt x="815" y="885"/>
                    <a:pt x="816" y="885"/>
                    <a:pt x="816" y="886"/>
                  </a:cubicBezTo>
                  <a:cubicBezTo>
                    <a:pt x="818" y="888"/>
                    <a:pt x="818" y="888"/>
                    <a:pt x="818" y="888"/>
                  </a:cubicBezTo>
                  <a:cubicBezTo>
                    <a:pt x="817" y="889"/>
                    <a:pt x="817" y="889"/>
                    <a:pt x="817" y="889"/>
                  </a:cubicBezTo>
                  <a:cubicBezTo>
                    <a:pt x="816" y="891"/>
                    <a:pt x="814" y="893"/>
                    <a:pt x="813" y="895"/>
                  </a:cubicBezTo>
                  <a:cubicBezTo>
                    <a:pt x="812" y="896"/>
                    <a:pt x="812" y="896"/>
                    <a:pt x="812" y="896"/>
                  </a:cubicBezTo>
                  <a:cubicBezTo>
                    <a:pt x="812" y="897"/>
                    <a:pt x="811" y="898"/>
                    <a:pt x="811" y="898"/>
                  </a:cubicBezTo>
                  <a:cubicBezTo>
                    <a:pt x="811" y="898"/>
                    <a:pt x="811" y="898"/>
                    <a:pt x="811" y="898"/>
                  </a:cubicBezTo>
                  <a:cubicBezTo>
                    <a:pt x="811" y="899"/>
                    <a:pt x="811" y="899"/>
                    <a:pt x="811" y="899"/>
                  </a:cubicBezTo>
                  <a:cubicBezTo>
                    <a:pt x="812" y="900"/>
                    <a:pt x="813" y="902"/>
                    <a:pt x="813" y="903"/>
                  </a:cubicBezTo>
                  <a:cubicBezTo>
                    <a:pt x="814" y="904"/>
                    <a:pt x="814" y="905"/>
                    <a:pt x="814" y="906"/>
                  </a:cubicBezTo>
                  <a:cubicBezTo>
                    <a:pt x="814" y="907"/>
                    <a:pt x="814" y="907"/>
                    <a:pt x="814" y="907"/>
                  </a:cubicBezTo>
                  <a:cubicBezTo>
                    <a:pt x="814" y="907"/>
                    <a:pt x="814" y="907"/>
                    <a:pt x="814" y="907"/>
                  </a:cubicBezTo>
                  <a:cubicBezTo>
                    <a:pt x="815" y="907"/>
                    <a:pt x="815" y="907"/>
                    <a:pt x="815" y="907"/>
                  </a:cubicBezTo>
                  <a:cubicBezTo>
                    <a:pt x="815" y="907"/>
                    <a:pt x="815" y="907"/>
                    <a:pt x="816" y="907"/>
                  </a:cubicBezTo>
                  <a:cubicBezTo>
                    <a:pt x="817" y="907"/>
                    <a:pt x="819" y="907"/>
                    <a:pt x="820" y="908"/>
                  </a:cubicBezTo>
                  <a:cubicBezTo>
                    <a:pt x="821" y="908"/>
                    <a:pt x="823" y="909"/>
                    <a:pt x="824" y="911"/>
                  </a:cubicBezTo>
                  <a:cubicBezTo>
                    <a:pt x="825" y="912"/>
                    <a:pt x="825" y="912"/>
                    <a:pt x="825" y="912"/>
                  </a:cubicBezTo>
                  <a:cubicBezTo>
                    <a:pt x="826" y="913"/>
                    <a:pt x="826" y="913"/>
                    <a:pt x="826" y="913"/>
                  </a:cubicBezTo>
                  <a:cubicBezTo>
                    <a:pt x="827" y="914"/>
                    <a:pt x="827" y="914"/>
                    <a:pt x="827" y="914"/>
                  </a:cubicBezTo>
                  <a:cubicBezTo>
                    <a:pt x="828" y="915"/>
                    <a:pt x="828" y="915"/>
                    <a:pt x="828" y="915"/>
                  </a:cubicBezTo>
                  <a:cubicBezTo>
                    <a:pt x="829" y="915"/>
                    <a:pt x="830" y="915"/>
                    <a:pt x="831" y="915"/>
                  </a:cubicBezTo>
                  <a:cubicBezTo>
                    <a:pt x="832" y="915"/>
                    <a:pt x="832" y="915"/>
                    <a:pt x="833" y="915"/>
                  </a:cubicBezTo>
                  <a:cubicBezTo>
                    <a:pt x="835" y="915"/>
                    <a:pt x="837" y="916"/>
                    <a:pt x="840" y="917"/>
                  </a:cubicBezTo>
                  <a:cubicBezTo>
                    <a:pt x="841" y="917"/>
                    <a:pt x="842" y="917"/>
                    <a:pt x="843" y="917"/>
                  </a:cubicBezTo>
                  <a:cubicBezTo>
                    <a:pt x="844" y="918"/>
                    <a:pt x="844" y="918"/>
                    <a:pt x="844" y="918"/>
                  </a:cubicBezTo>
                  <a:cubicBezTo>
                    <a:pt x="846" y="919"/>
                    <a:pt x="846" y="919"/>
                    <a:pt x="846" y="919"/>
                  </a:cubicBezTo>
                  <a:cubicBezTo>
                    <a:pt x="846" y="919"/>
                    <a:pt x="846" y="919"/>
                    <a:pt x="846" y="919"/>
                  </a:cubicBezTo>
                  <a:cubicBezTo>
                    <a:pt x="847" y="919"/>
                    <a:pt x="848" y="918"/>
                    <a:pt x="849" y="918"/>
                  </a:cubicBezTo>
                  <a:cubicBezTo>
                    <a:pt x="849" y="919"/>
                    <a:pt x="849" y="920"/>
                    <a:pt x="848" y="922"/>
                  </a:cubicBezTo>
                  <a:cubicBezTo>
                    <a:pt x="849" y="921"/>
                    <a:pt x="850" y="920"/>
                    <a:pt x="851" y="919"/>
                  </a:cubicBezTo>
                  <a:cubicBezTo>
                    <a:pt x="850" y="919"/>
                    <a:pt x="851" y="917"/>
                    <a:pt x="851" y="916"/>
                  </a:cubicBezTo>
                  <a:cubicBezTo>
                    <a:pt x="851" y="916"/>
                    <a:pt x="855" y="918"/>
                    <a:pt x="856" y="919"/>
                  </a:cubicBezTo>
                  <a:cubicBezTo>
                    <a:pt x="856" y="918"/>
                    <a:pt x="857" y="917"/>
                    <a:pt x="857" y="917"/>
                  </a:cubicBezTo>
                  <a:cubicBezTo>
                    <a:pt x="856" y="917"/>
                    <a:pt x="856" y="917"/>
                    <a:pt x="856" y="917"/>
                  </a:cubicBezTo>
                  <a:cubicBezTo>
                    <a:pt x="855" y="917"/>
                    <a:pt x="855" y="916"/>
                    <a:pt x="855" y="915"/>
                  </a:cubicBezTo>
                  <a:cubicBezTo>
                    <a:pt x="854" y="914"/>
                    <a:pt x="854" y="910"/>
                    <a:pt x="857" y="910"/>
                  </a:cubicBezTo>
                  <a:cubicBezTo>
                    <a:pt x="857" y="910"/>
                    <a:pt x="857" y="910"/>
                    <a:pt x="857" y="910"/>
                  </a:cubicBezTo>
                  <a:cubicBezTo>
                    <a:pt x="857" y="910"/>
                    <a:pt x="857" y="910"/>
                    <a:pt x="857" y="911"/>
                  </a:cubicBezTo>
                  <a:cubicBezTo>
                    <a:pt x="857" y="911"/>
                    <a:pt x="857" y="911"/>
                    <a:pt x="857" y="911"/>
                  </a:cubicBezTo>
                  <a:cubicBezTo>
                    <a:pt x="858" y="911"/>
                    <a:pt x="858" y="911"/>
                    <a:pt x="859" y="912"/>
                  </a:cubicBezTo>
                  <a:cubicBezTo>
                    <a:pt x="858" y="912"/>
                    <a:pt x="858" y="913"/>
                    <a:pt x="857" y="913"/>
                  </a:cubicBezTo>
                  <a:cubicBezTo>
                    <a:pt x="858" y="913"/>
                    <a:pt x="858" y="913"/>
                    <a:pt x="858" y="913"/>
                  </a:cubicBezTo>
                  <a:cubicBezTo>
                    <a:pt x="859" y="913"/>
                    <a:pt x="860" y="914"/>
                    <a:pt x="859" y="915"/>
                  </a:cubicBezTo>
                  <a:cubicBezTo>
                    <a:pt x="859" y="915"/>
                    <a:pt x="859" y="915"/>
                    <a:pt x="859" y="915"/>
                  </a:cubicBezTo>
                  <a:cubicBezTo>
                    <a:pt x="859" y="915"/>
                    <a:pt x="859" y="915"/>
                    <a:pt x="860" y="915"/>
                  </a:cubicBezTo>
                  <a:cubicBezTo>
                    <a:pt x="860" y="915"/>
                    <a:pt x="861" y="915"/>
                    <a:pt x="861" y="915"/>
                  </a:cubicBezTo>
                  <a:cubicBezTo>
                    <a:pt x="861" y="915"/>
                    <a:pt x="861" y="915"/>
                    <a:pt x="861" y="915"/>
                  </a:cubicBezTo>
                  <a:cubicBezTo>
                    <a:pt x="861" y="916"/>
                    <a:pt x="862" y="918"/>
                    <a:pt x="864" y="918"/>
                  </a:cubicBezTo>
                  <a:cubicBezTo>
                    <a:pt x="864" y="918"/>
                    <a:pt x="864" y="918"/>
                    <a:pt x="864" y="918"/>
                  </a:cubicBezTo>
                  <a:cubicBezTo>
                    <a:pt x="864" y="918"/>
                    <a:pt x="865" y="915"/>
                    <a:pt x="865" y="915"/>
                  </a:cubicBezTo>
                  <a:cubicBezTo>
                    <a:pt x="865" y="917"/>
                    <a:pt x="865" y="918"/>
                    <a:pt x="866" y="919"/>
                  </a:cubicBezTo>
                  <a:cubicBezTo>
                    <a:pt x="867" y="919"/>
                    <a:pt x="869" y="919"/>
                    <a:pt x="870" y="920"/>
                  </a:cubicBezTo>
                  <a:cubicBezTo>
                    <a:pt x="871" y="921"/>
                    <a:pt x="871" y="923"/>
                    <a:pt x="871" y="924"/>
                  </a:cubicBezTo>
                  <a:cubicBezTo>
                    <a:pt x="873" y="923"/>
                    <a:pt x="878" y="924"/>
                    <a:pt x="880" y="922"/>
                  </a:cubicBezTo>
                  <a:cubicBezTo>
                    <a:pt x="882" y="921"/>
                    <a:pt x="882" y="918"/>
                    <a:pt x="879" y="918"/>
                  </a:cubicBezTo>
                  <a:cubicBezTo>
                    <a:pt x="880" y="917"/>
                    <a:pt x="881" y="916"/>
                    <a:pt x="882" y="915"/>
                  </a:cubicBezTo>
                  <a:cubicBezTo>
                    <a:pt x="882" y="915"/>
                    <a:pt x="882" y="915"/>
                    <a:pt x="882" y="915"/>
                  </a:cubicBezTo>
                  <a:cubicBezTo>
                    <a:pt x="882" y="916"/>
                    <a:pt x="881" y="916"/>
                    <a:pt x="881" y="917"/>
                  </a:cubicBezTo>
                  <a:cubicBezTo>
                    <a:pt x="882" y="918"/>
                    <a:pt x="884" y="918"/>
                    <a:pt x="884" y="919"/>
                  </a:cubicBezTo>
                  <a:cubicBezTo>
                    <a:pt x="885" y="919"/>
                    <a:pt x="885" y="921"/>
                    <a:pt x="886" y="922"/>
                  </a:cubicBezTo>
                  <a:cubicBezTo>
                    <a:pt x="886" y="921"/>
                    <a:pt x="886" y="920"/>
                    <a:pt x="886" y="919"/>
                  </a:cubicBezTo>
                  <a:cubicBezTo>
                    <a:pt x="887" y="920"/>
                    <a:pt x="888" y="922"/>
                    <a:pt x="890" y="922"/>
                  </a:cubicBezTo>
                  <a:cubicBezTo>
                    <a:pt x="890" y="922"/>
                    <a:pt x="890" y="922"/>
                    <a:pt x="891" y="922"/>
                  </a:cubicBezTo>
                  <a:cubicBezTo>
                    <a:pt x="890" y="924"/>
                    <a:pt x="889" y="926"/>
                    <a:pt x="887" y="926"/>
                  </a:cubicBezTo>
                  <a:cubicBezTo>
                    <a:pt x="887" y="926"/>
                    <a:pt x="887" y="926"/>
                    <a:pt x="886" y="925"/>
                  </a:cubicBezTo>
                  <a:cubicBezTo>
                    <a:pt x="886" y="927"/>
                    <a:pt x="887" y="929"/>
                    <a:pt x="886" y="930"/>
                  </a:cubicBezTo>
                  <a:cubicBezTo>
                    <a:pt x="885" y="930"/>
                    <a:pt x="885" y="930"/>
                    <a:pt x="885" y="930"/>
                  </a:cubicBezTo>
                  <a:cubicBezTo>
                    <a:pt x="884" y="930"/>
                    <a:pt x="885" y="933"/>
                    <a:pt x="884" y="934"/>
                  </a:cubicBezTo>
                  <a:cubicBezTo>
                    <a:pt x="884" y="939"/>
                    <a:pt x="885" y="940"/>
                    <a:pt x="888" y="945"/>
                  </a:cubicBezTo>
                  <a:cubicBezTo>
                    <a:pt x="889" y="948"/>
                    <a:pt x="889" y="953"/>
                    <a:pt x="891" y="954"/>
                  </a:cubicBezTo>
                  <a:cubicBezTo>
                    <a:pt x="891" y="954"/>
                    <a:pt x="892" y="955"/>
                    <a:pt x="894" y="955"/>
                  </a:cubicBezTo>
                  <a:cubicBezTo>
                    <a:pt x="897" y="955"/>
                    <a:pt x="901" y="953"/>
                    <a:pt x="903" y="952"/>
                  </a:cubicBezTo>
                  <a:cubicBezTo>
                    <a:pt x="906" y="949"/>
                    <a:pt x="905" y="947"/>
                    <a:pt x="902" y="945"/>
                  </a:cubicBezTo>
                  <a:cubicBezTo>
                    <a:pt x="901" y="944"/>
                    <a:pt x="900" y="944"/>
                    <a:pt x="900" y="943"/>
                  </a:cubicBezTo>
                  <a:cubicBezTo>
                    <a:pt x="900" y="943"/>
                    <a:pt x="900" y="943"/>
                    <a:pt x="900" y="943"/>
                  </a:cubicBezTo>
                  <a:cubicBezTo>
                    <a:pt x="900" y="942"/>
                    <a:pt x="900" y="941"/>
                    <a:pt x="900" y="940"/>
                  </a:cubicBezTo>
                  <a:cubicBezTo>
                    <a:pt x="900" y="941"/>
                    <a:pt x="901" y="941"/>
                    <a:pt x="902" y="942"/>
                  </a:cubicBezTo>
                  <a:cubicBezTo>
                    <a:pt x="902" y="939"/>
                    <a:pt x="901" y="938"/>
                    <a:pt x="900" y="938"/>
                  </a:cubicBezTo>
                  <a:cubicBezTo>
                    <a:pt x="899" y="938"/>
                    <a:pt x="899" y="938"/>
                    <a:pt x="899" y="938"/>
                  </a:cubicBezTo>
                  <a:cubicBezTo>
                    <a:pt x="898" y="938"/>
                    <a:pt x="898" y="939"/>
                    <a:pt x="898" y="939"/>
                  </a:cubicBezTo>
                  <a:cubicBezTo>
                    <a:pt x="897" y="939"/>
                    <a:pt x="896" y="938"/>
                    <a:pt x="896" y="937"/>
                  </a:cubicBezTo>
                  <a:cubicBezTo>
                    <a:pt x="895" y="933"/>
                    <a:pt x="901" y="931"/>
                    <a:pt x="902" y="927"/>
                  </a:cubicBezTo>
                  <a:cubicBezTo>
                    <a:pt x="902" y="926"/>
                    <a:pt x="901" y="925"/>
                    <a:pt x="901" y="923"/>
                  </a:cubicBezTo>
                  <a:cubicBezTo>
                    <a:pt x="903" y="925"/>
                    <a:pt x="902" y="927"/>
                    <a:pt x="904" y="927"/>
                  </a:cubicBezTo>
                  <a:cubicBezTo>
                    <a:pt x="904" y="927"/>
                    <a:pt x="903" y="927"/>
                    <a:pt x="903" y="928"/>
                  </a:cubicBezTo>
                  <a:cubicBezTo>
                    <a:pt x="903" y="928"/>
                    <a:pt x="903" y="929"/>
                    <a:pt x="903" y="929"/>
                  </a:cubicBezTo>
                  <a:cubicBezTo>
                    <a:pt x="908" y="927"/>
                    <a:pt x="913" y="924"/>
                    <a:pt x="919" y="922"/>
                  </a:cubicBezTo>
                  <a:cubicBezTo>
                    <a:pt x="925" y="920"/>
                    <a:pt x="930" y="920"/>
                    <a:pt x="936" y="918"/>
                  </a:cubicBezTo>
                  <a:cubicBezTo>
                    <a:pt x="936" y="917"/>
                    <a:pt x="936" y="915"/>
                    <a:pt x="934" y="914"/>
                  </a:cubicBezTo>
                  <a:cubicBezTo>
                    <a:pt x="936" y="915"/>
                    <a:pt x="937" y="916"/>
                    <a:pt x="938" y="916"/>
                  </a:cubicBezTo>
                  <a:cubicBezTo>
                    <a:pt x="939" y="916"/>
                    <a:pt x="940" y="916"/>
                    <a:pt x="941" y="915"/>
                  </a:cubicBezTo>
                  <a:cubicBezTo>
                    <a:pt x="939" y="914"/>
                    <a:pt x="939" y="913"/>
                    <a:pt x="939" y="911"/>
                  </a:cubicBezTo>
                  <a:cubicBezTo>
                    <a:pt x="940" y="912"/>
                    <a:pt x="940" y="912"/>
                    <a:pt x="941" y="912"/>
                  </a:cubicBezTo>
                  <a:cubicBezTo>
                    <a:pt x="942" y="912"/>
                    <a:pt x="942" y="912"/>
                    <a:pt x="942" y="912"/>
                  </a:cubicBezTo>
                  <a:cubicBezTo>
                    <a:pt x="942" y="912"/>
                    <a:pt x="942" y="913"/>
                    <a:pt x="942" y="913"/>
                  </a:cubicBezTo>
                  <a:cubicBezTo>
                    <a:pt x="942" y="913"/>
                    <a:pt x="942" y="913"/>
                    <a:pt x="942" y="913"/>
                  </a:cubicBezTo>
                  <a:cubicBezTo>
                    <a:pt x="942" y="913"/>
                    <a:pt x="943" y="913"/>
                    <a:pt x="944" y="913"/>
                  </a:cubicBezTo>
                  <a:cubicBezTo>
                    <a:pt x="944" y="913"/>
                    <a:pt x="945" y="913"/>
                    <a:pt x="945" y="913"/>
                  </a:cubicBezTo>
                  <a:cubicBezTo>
                    <a:pt x="946" y="913"/>
                    <a:pt x="946" y="913"/>
                    <a:pt x="946" y="913"/>
                  </a:cubicBezTo>
                  <a:cubicBezTo>
                    <a:pt x="947" y="913"/>
                    <a:pt x="948" y="916"/>
                    <a:pt x="949" y="916"/>
                  </a:cubicBezTo>
                  <a:cubicBezTo>
                    <a:pt x="949" y="913"/>
                    <a:pt x="950" y="910"/>
                    <a:pt x="951" y="908"/>
                  </a:cubicBezTo>
                  <a:cubicBezTo>
                    <a:pt x="950" y="909"/>
                    <a:pt x="951" y="910"/>
                    <a:pt x="952" y="910"/>
                  </a:cubicBezTo>
                  <a:cubicBezTo>
                    <a:pt x="953" y="910"/>
                    <a:pt x="953" y="910"/>
                    <a:pt x="954" y="910"/>
                  </a:cubicBezTo>
                  <a:cubicBezTo>
                    <a:pt x="952" y="911"/>
                    <a:pt x="952" y="911"/>
                    <a:pt x="952" y="911"/>
                  </a:cubicBezTo>
                  <a:cubicBezTo>
                    <a:pt x="952" y="912"/>
                    <a:pt x="952" y="912"/>
                    <a:pt x="953" y="912"/>
                  </a:cubicBezTo>
                  <a:cubicBezTo>
                    <a:pt x="954" y="912"/>
                    <a:pt x="956" y="911"/>
                    <a:pt x="957" y="911"/>
                  </a:cubicBezTo>
                  <a:cubicBezTo>
                    <a:pt x="959" y="910"/>
                    <a:pt x="961" y="910"/>
                    <a:pt x="962" y="910"/>
                  </a:cubicBezTo>
                  <a:cubicBezTo>
                    <a:pt x="962" y="910"/>
                    <a:pt x="962" y="910"/>
                    <a:pt x="962" y="910"/>
                  </a:cubicBezTo>
                  <a:cubicBezTo>
                    <a:pt x="964" y="910"/>
                    <a:pt x="965" y="911"/>
                    <a:pt x="965" y="911"/>
                  </a:cubicBezTo>
                  <a:cubicBezTo>
                    <a:pt x="965" y="911"/>
                    <a:pt x="966" y="911"/>
                    <a:pt x="966" y="910"/>
                  </a:cubicBezTo>
                  <a:cubicBezTo>
                    <a:pt x="966" y="908"/>
                    <a:pt x="966" y="908"/>
                    <a:pt x="966" y="908"/>
                  </a:cubicBezTo>
                  <a:cubicBezTo>
                    <a:pt x="966" y="908"/>
                    <a:pt x="967" y="907"/>
                    <a:pt x="967" y="906"/>
                  </a:cubicBezTo>
                  <a:cubicBezTo>
                    <a:pt x="968" y="905"/>
                    <a:pt x="968" y="905"/>
                    <a:pt x="968" y="905"/>
                  </a:cubicBezTo>
                  <a:cubicBezTo>
                    <a:pt x="968" y="904"/>
                    <a:pt x="969" y="904"/>
                    <a:pt x="969" y="903"/>
                  </a:cubicBezTo>
                  <a:cubicBezTo>
                    <a:pt x="970" y="905"/>
                    <a:pt x="970" y="906"/>
                    <a:pt x="971" y="906"/>
                  </a:cubicBezTo>
                  <a:cubicBezTo>
                    <a:pt x="971" y="907"/>
                    <a:pt x="971" y="907"/>
                    <a:pt x="972" y="907"/>
                  </a:cubicBezTo>
                  <a:cubicBezTo>
                    <a:pt x="972" y="907"/>
                    <a:pt x="972" y="906"/>
                    <a:pt x="973" y="906"/>
                  </a:cubicBezTo>
                  <a:cubicBezTo>
                    <a:pt x="975" y="904"/>
                    <a:pt x="975" y="905"/>
                    <a:pt x="975" y="903"/>
                  </a:cubicBezTo>
                  <a:cubicBezTo>
                    <a:pt x="975" y="902"/>
                    <a:pt x="974" y="902"/>
                    <a:pt x="974" y="901"/>
                  </a:cubicBezTo>
                  <a:cubicBezTo>
                    <a:pt x="977" y="902"/>
                    <a:pt x="977" y="902"/>
                    <a:pt x="977" y="902"/>
                  </a:cubicBezTo>
                  <a:cubicBezTo>
                    <a:pt x="979" y="902"/>
                    <a:pt x="979" y="902"/>
                    <a:pt x="979" y="902"/>
                  </a:cubicBezTo>
                  <a:cubicBezTo>
                    <a:pt x="979" y="903"/>
                    <a:pt x="979" y="903"/>
                    <a:pt x="978" y="904"/>
                  </a:cubicBezTo>
                  <a:cubicBezTo>
                    <a:pt x="979" y="903"/>
                    <a:pt x="980" y="902"/>
                    <a:pt x="979" y="901"/>
                  </a:cubicBezTo>
                  <a:cubicBezTo>
                    <a:pt x="979" y="895"/>
                    <a:pt x="978" y="889"/>
                    <a:pt x="974" y="886"/>
                  </a:cubicBezTo>
                  <a:cubicBezTo>
                    <a:pt x="974" y="886"/>
                    <a:pt x="973" y="886"/>
                    <a:pt x="973" y="886"/>
                  </a:cubicBezTo>
                  <a:cubicBezTo>
                    <a:pt x="973" y="886"/>
                    <a:pt x="970" y="886"/>
                    <a:pt x="970" y="886"/>
                  </a:cubicBezTo>
                  <a:cubicBezTo>
                    <a:pt x="973" y="885"/>
                    <a:pt x="974" y="884"/>
                    <a:pt x="976" y="882"/>
                  </a:cubicBezTo>
                  <a:cubicBezTo>
                    <a:pt x="976" y="881"/>
                    <a:pt x="979" y="880"/>
                    <a:pt x="979" y="880"/>
                  </a:cubicBezTo>
                  <a:cubicBezTo>
                    <a:pt x="979" y="880"/>
                    <a:pt x="979" y="880"/>
                    <a:pt x="979" y="880"/>
                  </a:cubicBezTo>
                  <a:cubicBezTo>
                    <a:pt x="982" y="880"/>
                    <a:pt x="984" y="880"/>
                    <a:pt x="986" y="880"/>
                  </a:cubicBezTo>
                  <a:cubicBezTo>
                    <a:pt x="984" y="880"/>
                    <a:pt x="980" y="880"/>
                    <a:pt x="979" y="883"/>
                  </a:cubicBezTo>
                  <a:cubicBezTo>
                    <a:pt x="979" y="883"/>
                    <a:pt x="979" y="883"/>
                    <a:pt x="979" y="883"/>
                  </a:cubicBezTo>
                  <a:cubicBezTo>
                    <a:pt x="980" y="883"/>
                    <a:pt x="980" y="882"/>
                    <a:pt x="980" y="882"/>
                  </a:cubicBezTo>
                  <a:cubicBezTo>
                    <a:pt x="980" y="883"/>
                    <a:pt x="980" y="883"/>
                    <a:pt x="980" y="884"/>
                  </a:cubicBezTo>
                  <a:cubicBezTo>
                    <a:pt x="980" y="883"/>
                    <a:pt x="981" y="883"/>
                    <a:pt x="981" y="882"/>
                  </a:cubicBezTo>
                  <a:cubicBezTo>
                    <a:pt x="981" y="883"/>
                    <a:pt x="981" y="884"/>
                    <a:pt x="981" y="884"/>
                  </a:cubicBezTo>
                  <a:cubicBezTo>
                    <a:pt x="981" y="884"/>
                    <a:pt x="981" y="883"/>
                    <a:pt x="981" y="883"/>
                  </a:cubicBezTo>
                  <a:cubicBezTo>
                    <a:pt x="981" y="884"/>
                    <a:pt x="981" y="885"/>
                    <a:pt x="981" y="886"/>
                  </a:cubicBezTo>
                  <a:cubicBezTo>
                    <a:pt x="981" y="886"/>
                    <a:pt x="981" y="886"/>
                    <a:pt x="981" y="886"/>
                  </a:cubicBezTo>
                  <a:cubicBezTo>
                    <a:pt x="981" y="887"/>
                    <a:pt x="981" y="887"/>
                    <a:pt x="981" y="887"/>
                  </a:cubicBezTo>
                  <a:cubicBezTo>
                    <a:pt x="981" y="886"/>
                    <a:pt x="981" y="886"/>
                    <a:pt x="981" y="886"/>
                  </a:cubicBezTo>
                  <a:cubicBezTo>
                    <a:pt x="982" y="886"/>
                    <a:pt x="982" y="887"/>
                    <a:pt x="982" y="888"/>
                  </a:cubicBezTo>
                  <a:cubicBezTo>
                    <a:pt x="982" y="889"/>
                    <a:pt x="983" y="889"/>
                    <a:pt x="983" y="889"/>
                  </a:cubicBezTo>
                  <a:cubicBezTo>
                    <a:pt x="983" y="889"/>
                    <a:pt x="983" y="889"/>
                    <a:pt x="984" y="889"/>
                  </a:cubicBezTo>
                  <a:cubicBezTo>
                    <a:pt x="984" y="889"/>
                    <a:pt x="984" y="889"/>
                    <a:pt x="984" y="889"/>
                  </a:cubicBezTo>
                  <a:cubicBezTo>
                    <a:pt x="984" y="889"/>
                    <a:pt x="984" y="889"/>
                    <a:pt x="985" y="889"/>
                  </a:cubicBezTo>
                  <a:cubicBezTo>
                    <a:pt x="985" y="890"/>
                    <a:pt x="986" y="892"/>
                    <a:pt x="986" y="893"/>
                  </a:cubicBezTo>
                  <a:cubicBezTo>
                    <a:pt x="987" y="896"/>
                    <a:pt x="987" y="896"/>
                    <a:pt x="988" y="896"/>
                  </a:cubicBezTo>
                  <a:cubicBezTo>
                    <a:pt x="989" y="896"/>
                    <a:pt x="990" y="896"/>
                    <a:pt x="991" y="895"/>
                  </a:cubicBezTo>
                  <a:cubicBezTo>
                    <a:pt x="993" y="894"/>
                    <a:pt x="994" y="893"/>
                    <a:pt x="996" y="893"/>
                  </a:cubicBezTo>
                  <a:cubicBezTo>
                    <a:pt x="997" y="894"/>
                    <a:pt x="997" y="894"/>
                    <a:pt x="997" y="894"/>
                  </a:cubicBezTo>
                  <a:cubicBezTo>
                    <a:pt x="998" y="893"/>
                    <a:pt x="998" y="893"/>
                    <a:pt x="999" y="893"/>
                  </a:cubicBezTo>
                  <a:cubicBezTo>
                    <a:pt x="1001" y="893"/>
                    <a:pt x="1002" y="895"/>
                    <a:pt x="1003" y="896"/>
                  </a:cubicBezTo>
                  <a:cubicBezTo>
                    <a:pt x="1003" y="897"/>
                    <a:pt x="1003" y="897"/>
                    <a:pt x="1003" y="897"/>
                  </a:cubicBezTo>
                  <a:cubicBezTo>
                    <a:pt x="1004" y="897"/>
                    <a:pt x="1006" y="896"/>
                    <a:pt x="1006" y="895"/>
                  </a:cubicBezTo>
                  <a:cubicBezTo>
                    <a:pt x="1006" y="894"/>
                    <a:pt x="1004" y="892"/>
                    <a:pt x="1003" y="891"/>
                  </a:cubicBezTo>
                  <a:cubicBezTo>
                    <a:pt x="1004" y="891"/>
                    <a:pt x="1008" y="888"/>
                    <a:pt x="1010" y="888"/>
                  </a:cubicBezTo>
                  <a:cubicBezTo>
                    <a:pt x="1010" y="888"/>
                    <a:pt x="1011" y="888"/>
                    <a:pt x="1011" y="889"/>
                  </a:cubicBezTo>
                  <a:cubicBezTo>
                    <a:pt x="1011" y="889"/>
                    <a:pt x="1009" y="889"/>
                    <a:pt x="1008" y="890"/>
                  </a:cubicBezTo>
                  <a:cubicBezTo>
                    <a:pt x="1008" y="891"/>
                    <a:pt x="1011" y="894"/>
                    <a:pt x="1012" y="895"/>
                  </a:cubicBezTo>
                  <a:cubicBezTo>
                    <a:pt x="1012" y="895"/>
                    <a:pt x="1012" y="895"/>
                    <a:pt x="1013" y="895"/>
                  </a:cubicBezTo>
                  <a:cubicBezTo>
                    <a:pt x="1013" y="895"/>
                    <a:pt x="1013" y="894"/>
                    <a:pt x="1013" y="894"/>
                  </a:cubicBezTo>
                  <a:cubicBezTo>
                    <a:pt x="1014" y="893"/>
                    <a:pt x="1016" y="890"/>
                    <a:pt x="1017" y="889"/>
                  </a:cubicBezTo>
                  <a:cubicBezTo>
                    <a:pt x="1019" y="888"/>
                    <a:pt x="1021" y="886"/>
                    <a:pt x="1023" y="885"/>
                  </a:cubicBezTo>
                  <a:cubicBezTo>
                    <a:pt x="1023" y="887"/>
                    <a:pt x="1023" y="887"/>
                    <a:pt x="1021" y="888"/>
                  </a:cubicBezTo>
                  <a:cubicBezTo>
                    <a:pt x="1025" y="889"/>
                    <a:pt x="1026" y="890"/>
                    <a:pt x="1029" y="892"/>
                  </a:cubicBezTo>
                  <a:cubicBezTo>
                    <a:pt x="1029" y="891"/>
                    <a:pt x="1030" y="890"/>
                    <a:pt x="1030" y="889"/>
                  </a:cubicBezTo>
                  <a:cubicBezTo>
                    <a:pt x="1029" y="890"/>
                    <a:pt x="1029" y="890"/>
                    <a:pt x="1029" y="890"/>
                  </a:cubicBezTo>
                  <a:cubicBezTo>
                    <a:pt x="1028" y="890"/>
                    <a:pt x="1028" y="888"/>
                    <a:pt x="1029" y="887"/>
                  </a:cubicBezTo>
                  <a:cubicBezTo>
                    <a:pt x="1028" y="887"/>
                    <a:pt x="1027" y="886"/>
                    <a:pt x="1027" y="885"/>
                  </a:cubicBezTo>
                  <a:cubicBezTo>
                    <a:pt x="1027" y="885"/>
                    <a:pt x="1027" y="885"/>
                    <a:pt x="1027" y="885"/>
                  </a:cubicBezTo>
                  <a:cubicBezTo>
                    <a:pt x="1028" y="885"/>
                    <a:pt x="1029" y="885"/>
                    <a:pt x="1030" y="884"/>
                  </a:cubicBezTo>
                  <a:cubicBezTo>
                    <a:pt x="1031" y="884"/>
                    <a:pt x="1031" y="884"/>
                    <a:pt x="1032" y="884"/>
                  </a:cubicBezTo>
                  <a:cubicBezTo>
                    <a:pt x="1033" y="884"/>
                    <a:pt x="1033" y="884"/>
                    <a:pt x="1033" y="884"/>
                  </a:cubicBezTo>
                  <a:cubicBezTo>
                    <a:pt x="1030" y="886"/>
                    <a:pt x="1034" y="887"/>
                    <a:pt x="1035" y="889"/>
                  </a:cubicBezTo>
                  <a:cubicBezTo>
                    <a:pt x="1036" y="889"/>
                    <a:pt x="1037" y="888"/>
                    <a:pt x="1038" y="888"/>
                  </a:cubicBezTo>
                  <a:cubicBezTo>
                    <a:pt x="1039" y="887"/>
                    <a:pt x="1039" y="886"/>
                    <a:pt x="1040" y="885"/>
                  </a:cubicBezTo>
                  <a:cubicBezTo>
                    <a:pt x="1040" y="885"/>
                    <a:pt x="1041" y="885"/>
                    <a:pt x="1041" y="885"/>
                  </a:cubicBezTo>
                  <a:cubicBezTo>
                    <a:pt x="1041" y="885"/>
                    <a:pt x="1041" y="885"/>
                    <a:pt x="1042" y="885"/>
                  </a:cubicBezTo>
                  <a:cubicBezTo>
                    <a:pt x="1042" y="885"/>
                    <a:pt x="1043" y="885"/>
                    <a:pt x="1043" y="885"/>
                  </a:cubicBezTo>
                  <a:cubicBezTo>
                    <a:pt x="1043" y="885"/>
                    <a:pt x="1043" y="885"/>
                    <a:pt x="1043" y="885"/>
                  </a:cubicBezTo>
                  <a:cubicBezTo>
                    <a:pt x="1046" y="884"/>
                    <a:pt x="1052" y="886"/>
                    <a:pt x="1053" y="882"/>
                  </a:cubicBezTo>
                  <a:cubicBezTo>
                    <a:pt x="1054" y="881"/>
                    <a:pt x="1052" y="878"/>
                    <a:pt x="1053" y="877"/>
                  </a:cubicBezTo>
                  <a:cubicBezTo>
                    <a:pt x="1054" y="876"/>
                    <a:pt x="1055" y="876"/>
                    <a:pt x="1055" y="876"/>
                  </a:cubicBezTo>
                  <a:cubicBezTo>
                    <a:pt x="1057" y="876"/>
                    <a:pt x="1058" y="876"/>
                    <a:pt x="1059" y="877"/>
                  </a:cubicBezTo>
                  <a:cubicBezTo>
                    <a:pt x="1058" y="873"/>
                    <a:pt x="1054" y="876"/>
                    <a:pt x="1053" y="872"/>
                  </a:cubicBezTo>
                  <a:cubicBezTo>
                    <a:pt x="1054" y="873"/>
                    <a:pt x="1055" y="873"/>
                    <a:pt x="1056" y="873"/>
                  </a:cubicBezTo>
                  <a:cubicBezTo>
                    <a:pt x="1056" y="873"/>
                    <a:pt x="1057" y="873"/>
                    <a:pt x="1058" y="873"/>
                  </a:cubicBezTo>
                  <a:cubicBezTo>
                    <a:pt x="1062" y="872"/>
                    <a:pt x="1061" y="868"/>
                    <a:pt x="1063" y="866"/>
                  </a:cubicBezTo>
                  <a:cubicBezTo>
                    <a:pt x="1063" y="866"/>
                    <a:pt x="1063" y="866"/>
                    <a:pt x="1063" y="866"/>
                  </a:cubicBezTo>
                  <a:cubicBezTo>
                    <a:pt x="1063" y="866"/>
                    <a:pt x="1064" y="866"/>
                    <a:pt x="1065" y="866"/>
                  </a:cubicBezTo>
                  <a:cubicBezTo>
                    <a:pt x="1066" y="866"/>
                    <a:pt x="1067" y="866"/>
                    <a:pt x="1067" y="868"/>
                  </a:cubicBezTo>
                  <a:cubicBezTo>
                    <a:pt x="1070" y="866"/>
                    <a:pt x="1079" y="863"/>
                    <a:pt x="1075" y="858"/>
                  </a:cubicBezTo>
                  <a:cubicBezTo>
                    <a:pt x="1078" y="861"/>
                    <a:pt x="1080" y="858"/>
                    <a:pt x="1079" y="864"/>
                  </a:cubicBezTo>
                  <a:cubicBezTo>
                    <a:pt x="1082" y="859"/>
                    <a:pt x="1087" y="855"/>
                    <a:pt x="1091" y="851"/>
                  </a:cubicBezTo>
                  <a:cubicBezTo>
                    <a:pt x="1092" y="850"/>
                    <a:pt x="1092" y="848"/>
                    <a:pt x="1091" y="848"/>
                  </a:cubicBezTo>
                  <a:cubicBezTo>
                    <a:pt x="1091" y="848"/>
                    <a:pt x="1090" y="848"/>
                    <a:pt x="1090" y="848"/>
                  </a:cubicBezTo>
                  <a:cubicBezTo>
                    <a:pt x="1091" y="847"/>
                    <a:pt x="1091" y="847"/>
                    <a:pt x="1090" y="847"/>
                  </a:cubicBezTo>
                  <a:cubicBezTo>
                    <a:pt x="1090" y="847"/>
                    <a:pt x="1090" y="847"/>
                    <a:pt x="1089" y="847"/>
                  </a:cubicBezTo>
                  <a:cubicBezTo>
                    <a:pt x="1089" y="847"/>
                    <a:pt x="1089" y="847"/>
                    <a:pt x="1089" y="847"/>
                  </a:cubicBezTo>
                  <a:cubicBezTo>
                    <a:pt x="1088" y="847"/>
                    <a:pt x="1088" y="847"/>
                    <a:pt x="1088" y="847"/>
                  </a:cubicBezTo>
                  <a:cubicBezTo>
                    <a:pt x="1088" y="846"/>
                    <a:pt x="1088" y="846"/>
                    <a:pt x="1087" y="846"/>
                  </a:cubicBezTo>
                  <a:cubicBezTo>
                    <a:pt x="1087" y="846"/>
                    <a:pt x="1087" y="846"/>
                    <a:pt x="1087" y="846"/>
                  </a:cubicBezTo>
                  <a:cubicBezTo>
                    <a:pt x="1087" y="846"/>
                    <a:pt x="1087" y="846"/>
                    <a:pt x="1087" y="846"/>
                  </a:cubicBezTo>
                  <a:cubicBezTo>
                    <a:pt x="1087" y="846"/>
                    <a:pt x="1086" y="846"/>
                    <a:pt x="1086" y="846"/>
                  </a:cubicBezTo>
                  <a:cubicBezTo>
                    <a:pt x="1084" y="845"/>
                    <a:pt x="1084" y="844"/>
                    <a:pt x="1085" y="844"/>
                  </a:cubicBezTo>
                  <a:cubicBezTo>
                    <a:pt x="1085" y="844"/>
                    <a:pt x="1086" y="845"/>
                    <a:pt x="1086" y="845"/>
                  </a:cubicBezTo>
                  <a:cubicBezTo>
                    <a:pt x="1087" y="845"/>
                    <a:pt x="1088" y="845"/>
                    <a:pt x="1088" y="845"/>
                  </a:cubicBezTo>
                  <a:cubicBezTo>
                    <a:pt x="1088" y="845"/>
                    <a:pt x="1088" y="845"/>
                    <a:pt x="1088" y="845"/>
                  </a:cubicBezTo>
                  <a:cubicBezTo>
                    <a:pt x="1089" y="844"/>
                    <a:pt x="1092" y="840"/>
                    <a:pt x="1094" y="840"/>
                  </a:cubicBezTo>
                  <a:cubicBezTo>
                    <a:pt x="1094" y="840"/>
                    <a:pt x="1094" y="840"/>
                    <a:pt x="1094" y="840"/>
                  </a:cubicBezTo>
                  <a:cubicBezTo>
                    <a:pt x="1095" y="840"/>
                    <a:pt x="1097" y="842"/>
                    <a:pt x="1098" y="842"/>
                  </a:cubicBezTo>
                  <a:cubicBezTo>
                    <a:pt x="1098" y="842"/>
                    <a:pt x="1098" y="842"/>
                    <a:pt x="1098" y="842"/>
                  </a:cubicBezTo>
                  <a:cubicBezTo>
                    <a:pt x="1099" y="841"/>
                    <a:pt x="1100" y="839"/>
                    <a:pt x="1101" y="839"/>
                  </a:cubicBezTo>
                  <a:cubicBezTo>
                    <a:pt x="1101" y="839"/>
                    <a:pt x="1101" y="839"/>
                    <a:pt x="1101" y="839"/>
                  </a:cubicBezTo>
                  <a:cubicBezTo>
                    <a:pt x="1102" y="839"/>
                    <a:pt x="1102" y="842"/>
                    <a:pt x="1104" y="842"/>
                  </a:cubicBezTo>
                  <a:cubicBezTo>
                    <a:pt x="1104" y="842"/>
                    <a:pt x="1105" y="842"/>
                    <a:pt x="1105" y="842"/>
                  </a:cubicBezTo>
                  <a:cubicBezTo>
                    <a:pt x="1106" y="842"/>
                    <a:pt x="1105" y="841"/>
                    <a:pt x="1106" y="841"/>
                  </a:cubicBezTo>
                  <a:cubicBezTo>
                    <a:pt x="1107" y="840"/>
                    <a:pt x="1107" y="839"/>
                    <a:pt x="1108" y="838"/>
                  </a:cubicBezTo>
                  <a:cubicBezTo>
                    <a:pt x="1107" y="837"/>
                    <a:pt x="1106" y="837"/>
                    <a:pt x="1105" y="836"/>
                  </a:cubicBezTo>
                  <a:cubicBezTo>
                    <a:pt x="1107" y="835"/>
                    <a:pt x="1109" y="834"/>
                    <a:pt x="1111" y="834"/>
                  </a:cubicBezTo>
                  <a:cubicBezTo>
                    <a:pt x="1111" y="834"/>
                    <a:pt x="1111" y="834"/>
                    <a:pt x="1111" y="834"/>
                  </a:cubicBezTo>
                  <a:cubicBezTo>
                    <a:pt x="1111" y="834"/>
                    <a:pt x="1112" y="834"/>
                    <a:pt x="1112" y="834"/>
                  </a:cubicBezTo>
                  <a:cubicBezTo>
                    <a:pt x="1112" y="834"/>
                    <a:pt x="1113" y="834"/>
                    <a:pt x="1113" y="834"/>
                  </a:cubicBezTo>
                  <a:cubicBezTo>
                    <a:pt x="1113" y="834"/>
                    <a:pt x="1113" y="834"/>
                    <a:pt x="1113" y="834"/>
                  </a:cubicBezTo>
                  <a:cubicBezTo>
                    <a:pt x="1114" y="833"/>
                    <a:pt x="1111" y="826"/>
                    <a:pt x="1111" y="825"/>
                  </a:cubicBezTo>
                  <a:cubicBezTo>
                    <a:pt x="1111" y="825"/>
                    <a:pt x="1115" y="825"/>
                    <a:pt x="1118" y="825"/>
                  </a:cubicBezTo>
                  <a:cubicBezTo>
                    <a:pt x="1121" y="825"/>
                    <a:pt x="1123" y="825"/>
                    <a:pt x="1122" y="824"/>
                  </a:cubicBezTo>
                  <a:cubicBezTo>
                    <a:pt x="1122" y="823"/>
                    <a:pt x="1121" y="823"/>
                    <a:pt x="1121" y="823"/>
                  </a:cubicBezTo>
                  <a:cubicBezTo>
                    <a:pt x="1121" y="823"/>
                    <a:pt x="1120" y="823"/>
                    <a:pt x="1120" y="823"/>
                  </a:cubicBezTo>
                  <a:cubicBezTo>
                    <a:pt x="1120" y="823"/>
                    <a:pt x="1119" y="824"/>
                    <a:pt x="1119" y="824"/>
                  </a:cubicBezTo>
                  <a:cubicBezTo>
                    <a:pt x="1119" y="824"/>
                    <a:pt x="1119" y="824"/>
                    <a:pt x="1119" y="823"/>
                  </a:cubicBezTo>
                  <a:cubicBezTo>
                    <a:pt x="1118" y="822"/>
                    <a:pt x="1121" y="815"/>
                    <a:pt x="1123" y="815"/>
                  </a:cubicBezTo>
                  <a:cubicBezTo>
                    <a:pt x="1122" y="815"/>
                    <a:pt x="1128" y="820"/>
                    <a:pt x="1129" y="821"/>
                  </a:cubicBezTo>
                  <a:cubicBezTo>
                    <a:pt x="1130" y="819"/>
                    <a:pt x="1128" y="818"/>
                    <a:pt x="1128" y="816"/>
                  </a:cubicBezTo>
                  <a:cubicBezTo>
                    <a:pt x="1128" y="816"/>
                    <a:pt x="1128" y="816"/>
                    <a:pt x="1128" y="816"/>
                  </a:cubicBezTo>
                  <a:cubicBezTo>
                    <a:pt x="1125" y="816"/>
                    <a:pt x="1131" y="805"/>
                    <a:pt x="1131" y="804"/>
                  </a:cubicBezTo>
                  <a:cubicBezTo>
                    <a:pt x="1127" y="805"/>
                    <a:pt x="1123" y="805"/>
                    <a:pt x="1120" y="805"/>
                  </a:cubicBezTo>
                  <a:cubicBezTo>
                    <a:pt x="1120" y="803"/>
                    <a:pt x="1117" y="802"/>
                    <a:pt x="1116" y="801"/>
                  </a:cubicBezTo>
                  <a:cubicBezTo>
                    <a:pt x="1118" y="802"/>
                    <a:pt x="1122" y="804"/>
                    <a:pt x="1124" y="804"/>
                  </a:cubicBezTo>
                  <a:cubicBezTo>
                    <a:pt x="1124" y="804"/>
                    <a:pt x="1124" y="804"/>
                    <a:pt x="1124" y="804"/>
                  </a:cubicBezTo>
                  <a:cubicBezTo>
                    <a:pt x="1126" y="804"/>
                    <a:pt x="1126" y="804"/>
                    <a:pt x="1127" y="801"/>
                  </a:cubicBezTo>
                  <a:cubicBezTo>
                    <a:pt x="1130" y="796"/>
                    <a:pt x="1132" y="797"/>
                    <a:pt x="1137" y="795"/>
                  </a:cubicBezTo>
                  <a:cubicBezTo>
                    <a:pt x="1137" y="795"/>
                    <a:pt x="1136" y="795"/>
                    <a:pt x="1136" y="795"/>
                  </a:cubicBezTo>
                  <a:cubicBezTo>
                    <a:pt x="1136" y="795"/>
                    <a:pt x="1135" y="794"/>
                    <a:pt x="1135" y="794"/>
                  </a:cubicBezTo>
                  <a:cubicBezTo>
                    <a:pt x="1135" y="794"/>
                    <a:pt x="1135" y="793"/>
                    <a:pt x="1134" y="793"/>
                  </a:cubicBezTo>
                  <a:cubicBezTo>
                    <a:pt x="1134" y="793"/>
                    <a:pt x="1134" y="793"/>
                    <a:pt x="1134" y="793"/>
                  </a:cubicBezTo>
                  <a:cubicBezTo>
                    <a:pt x="1133" y="793"/>
                    <a:pt x="1133" y="795"/>
                    <a:pt x="1132" y="795"/>
                  </a:cubicBezTo>
                  <a:cubicBezTo>
                    <a:pt x="1132" y="795"/>
                    <a:pt x="1132" y="796"/>
                    <a:pt x="1132" y="796"/>
                  </a:cubicBezTo>
                  <a:cubicBezTo>
                    <a:pt x="1132" y="796"/>
                    <a:pt x="1132" y="796"/>
                    <a:pt x="1131" y="796"/>
                  </a:cubicBezTo>
                  <a:cubicBezTo>
                    <a:pt x="1130" y="795"/>
                    <a:pt x="1129" y="794"/>
                    <a:pt x="1128" y="792"/>
                  </a:cubicBezTo>
                  <a:cubicBezTo>
                    <a:pt x="1128" y="792"/>
                    <a:pt x="1132" y="790"/>
                    <a:pt x="1133" y="790"/>
                  </a:cubicBezTo>
                  <a:cubicBezTo>
                    <a:pt x="1130" y="789"/>
                    <a:pt x="1128" y="789"/>
                    <a:pt x="1128" y="786"/>
                  </a:cubicBezTo>
                  <a:cubicBezTo>
                    <a:pt x="1127" y="785"/>
                    <a:pt x="1127" y="784"/>
                    <a:pt x="1128" y="784"/>
                  </a:cubicBezTo>
                  <a:cubicBezTo>
                    <a:pt x="1128" y="784"/>
                    <a:pt x="1129" y="784"/>
                    <a:pt x="1129" y="784"/>
                  </a:cubicBezTo>
                  <a:cubicBezTo>
                    <a:pt x="1130" y="782"/>
                    <a:pt x="1132" y="783"/>
                    <a:pt x="1133" y="782"/>
                  </a:cubicBezTo>
                  <a:cubicBezTo>
                    <a:pt x="1133" y="783"/>
                    <a:pt x="1133" y="783"/>
                    <a:pt x="1133" y="783"/>
                  </a:cubicBezTo>
                  <a:cubicBezTo>
                    <a:pt x="1134" y="783"/>
                    <a:pt x="1135" y="783"/>
                    <a:pt x="1133" y="784"/>
                  </a:cubicBezTo>
                  <a:cubicBezTo>
                    <a:pt x="1134" y="784"/>
                    <a:pt x="1137" y="783"/>
                    <a:pt x="1139" y="783"/>
                  </a:cubicBezTo>
                  <a:cubicBezTo>
                    <a:pt x="1140" y="783"/>
                    <a:pt x="1141" y="784"/>
                    <a:pt x="1139" y="785"/>
                  </a:cubicBezTo>
                  <a:cubicBezTo>
                    <a:pt x="1140" y="786"/>
                    <a:pt x="1141" y="786"/>
                    <a:pt x="1141" y="787"/>
                  </a:cubicBezTo>
                  <a:cubicBezTo>
                    <a:pt x="1143" y="785"/>
                    <a:pt x="1140" y="784"/>
                    <a:pt x="1141" y="782"/>
                  </a:cubicBezTo>
                  <a:cubicBezTo>
                    <a:pt x="1141" y="781"/>
                    <a:pt x="1144" y="781"/>
                    <a:pt x="1144" y="779"/>
                  </a:cubicBezTo>
                  <a:cubicBezTo>
                    <a:pt x="1144" y="776"/>
                    <a:pt x="1146" y="774"/>
                    <a:pt x="1149" y="774"/>
                  </a:cubicBezTo>
                  <a:cubicBezTo>
                    <a:pt x="1147" y="773"/>
                    <a:pt x="1148" y="773"/>
                    <a:pt x="1147" y="772"/>
                  </a:cubicBezTo>
                  <a:cubicBezTo>
                    <a:pt x="1148" y="772"/>
                    <a:pt x="1148" y="772"/>
                    <a:pt x="1148" y="772"/>
                  </a:cubicBezTo>
                  <a:cubicBezTo>
                    <a:pt x="1150" y="772"/>
                    <a:pt x="1153" y="769"/>
                    <a:pt x="1154" y="768"/>
                  </a:cubicBezTo>
                  <a:cubicBezTo>
                    <a:pt x="1155" y="765"/>
                    <a:pt x="1154" y="762"/>
                    <a:pt x="1156" y="760"/>
                  </a:cubicBezTo>
                  <a:cubicBezTo>
                    <a:pt x="1156" y="758"/>
                    <a:pt x="1159" y="754"/>
                    <a:pt x="1159" y="753"/>
                  </a:cubicBezTo>
                  <a:cubicBezTo>
                    <a:pt x="1159" y="752"/>
                    <a:pt x="1156" y="751"/>
                    <a:pt x="1155" y="750"/>
                  </a:cubicBezTo>
                  <a:cubicBezTo>
                    <a:pt x="1156" y="751"/>
                    <a:pt x="1157" y="751"/>
                    <a:pt x="1157" y="751"/>
                  </a:cubicBezTo>
                  <a:cubicBezTo>
                    <a:pt x="1159" y="751"/>
                    <a:pt x="1160" y="750"/>
                    <a:pt x="1163" y="748"/>
                  </a:cubicBezTo>
                  <a:cubicBezTo>
                    <a:pt x="1164" y="747"/>
                    <a:pt x="1165" y="746"/>
                    <a:pt x="1166" y="745"/>
                  </a:cubicBezTo>
                  <a:cubicBezTo>
                    <a:pt x="1166" y="744"/>
                    <a:pt x="1163" y="744"/>
                    <a:pt x="1166" y="743"/>
                  </a:cubicBezTo>
                  <a:cubicBezTo>
                    <a:pt x="1167" y="742"/>
                    <a:pt x="1167" y="742"/>
                    <a:pt x="1167" y="742"/>
                  </a:cubicBezTo>
                  <a:cubicBezTo>
                    <a:pt x="1170" y="742"/>
                    <a:pt x="1170" y="745"/>
                    <a:pt x="1172" y="747"/>
                  </a:cubicBezTo>
                  <a:cubicBezTo>
                    <a:pt x="1172" y="744"/>
                    <a:pt x="1176" y="744"/>
                    <a:pt x="1179" y="742"/>
                  </a:cubicBezTo>
                  <a:cubicBezTo>
                    <a:pt x="1176" y="742"/>
                    <a:pt x="1177" y="736"/>
                    <a:pt x="1175" y="734"/>
                  </a:cubicBezTo>
                  <a:cubicBezTo>
                    <a:pt x="1174" y="733"/>
                    <a:pt x="1174" y="734"/>
                    <a:pt x="1172" y="733"/>
                  </a:cubicBezTo>
                  <a:cubicBezTo>
                    <a:pt x="1171" y="732"/>
                    <a:pt x="1171" y="733"/>
                    <a:pt x="1169" y="731"/>
                  </a:cubicBezTo>
                  <a:cubicBezTo>
                    <a:pt x="1171" y="732"/>
                    <a:pt x="1172" y="732"/>
                    <a:pt x="1173" y="732"/>
                  </a:cubicBezTo>
                  <a:cubicBezTo>
                    <a:pt x="1175" y="732"/>
                    <a:pt x="1176" y="732"/>
                    <a:pt x="1178" y="730"/>
                  </a:cubicBezTo>
                  <a:cubicBezTo>
                    <a:pt x="1181" y="729"/>
                    <a:pt x="1177" y="727"/>
                    <a:pt x="1175" y="726"/>
                  </a:cubicBezTo>
                  <a:cubicBezTo>
                    <a:pt x="1176" y="726"/>
                    <a:pt x="1176" y="726"/>
                    <a:pt x="1177" y="726"/>
                  </a:cubicBezTo>
                  <a:cubicBezTo>
                    <a:pt x="1177" y="726"/>
                    <a:pt x="1178" y="726"/>
                    <a:pt x="1178" y="726"/>
                  </a:cubicBezTo>
                  <a:cubicBezTo>
                    <a:pt x="1179" y="726"/>
                    <a:pt x="1180" y="726"/>
                    <a:pt x="1180" y="726"/>
                  </a:cubicBezTo>
                  <a:cubicBezTo>
                    <a:pt x="1180" y="726"/>
                    <a:pt x="1180" y="726"/>
                    <a:pt x="1180" y="726"/>
                  </a:cubicBezTo>
                  <a:cubicBezTo>
                    <a:pt x="1180" y="725"/>
                    <a:pt x="1178" y="724"/>
                    <a:pt x="1178" y="723"/>
                  </a:cubicBezTo>
                  <a:cubicBezTo>
                    <a:pt x="1178" y="721"/>
                    <a:pt x="1176" y="721"/>
                    <a:pt x="1175" y="721"/>
                  </a:cubicBezTo>
                  <a:cubicBezTo>
                    <a:pt x="1175" y="721"/>
                    <a:pt x="1175" y="721"/>
                    <a:pt x="1175" y="721"/>
                  </a:cubicBezTo>
                  <a:cubicBezTo>
                    <a:pt x="1175" y="721"/>
                    <a:pt x="1174" y="721"/>
                    <a:pt x="1174" y="721"/>
                  </a:cubicBezTo>
                  <a:cubicBezTo>
                    <a:pt x="1174" y="721"/>
                    <a:pt x="1174" y="721"/>
                    <a:pt x="1173" y="721"/>
                  </a:cubicBezTo>
                  <a:cubicBezTo>
                    <a:pt x="1174" y="720"/>
                    <a:pt x="1176" y="716"/>
                    <a:pt x="1178" y="716"/>
                  </a:cubicBezTo>
                  <a:cubicBezTo>
                    <a:pt x="1178" y="716"/>
                    <a:pt x="1179" y="716"/>
                    <a:pt x="1179" y="716"/>
                  </a:cubicBezTo>
                  <a:cubicBezTo>
                    <a:pt x="1180" y="717"/>
                    <a:pt x="1180" y="719"/>
                    <a:pt x="1182" y="719"/>
                  </a:cubicBezTo>
                  <a:cubicBezTo>
                    <a:pt x="1182" y="718"/>
                    <a:pt x="1182" y="716"/>
                    <a:pt x="1183" y="715"/>
                  </a:cubicBezTo>
                  <a:cubicBezTo>
                    <a:pt x="1182" y="716"/>
                    <a:pt x="1184" y="716"/>
                    <a:pt x="1186" y="717"/>
                  </a:cubicBezTo>
                  <a:cubicBezTo>
                    <a:pt x="1186" y="715"/>
                    <a:pt x="1189" y="709"/>
                    <a:pt x="1186" y="708"/>
                  </a:cubicBezTo>
                  <a:cubicBezTo>
                    <a:pt x="1186" y="708"/>
                    <a:pt x="1186" y="708"/>
                    <a:pt x="1185" y="708"/>
                  </a:cubicBezTo>
                  <a:cubicBezTo>
                    <a:pt x="1184" y="708"/>
                    <a:pt x="1181" y="709"/>
                    <a:pt x="1184" y="710"/>
                  </a:cubicBezTo>
                  <a:cubicBezTo>
                    <a:pt x="1183" y="711"/>
                    <a:pt x="1183" y="712"/>
                    <a:pt x="1182" y="712"/>
                  </a:cubicBezTo>
                  <a:cubicBezTo>
                    <a:pt x="1182" y="712"/>
                    <a:pt x="1181" y="711"/>
                    <a:pt x="1180" y="711"/>
                  </a:cubicBezTo>
                  <a:cubicBezTo>
                    <a:pt x="1180" y="711"/>
                    <a:pt x="1180" y="711"/>
                    <a:pt x="1180" y="711"/>
                  </a:cubicBezTo>
                  <a:cubicBezTo>
                    <a:pt x="1179" y="711"/>
                    <a:pt x="1179" y="711"/>
                    <a:pt x="1178" y="711"/>
                  </a:cubicBezTo>
                  <a:cubicBezTo>
                    <a:pt x="1177" y="712"/>
                    <a:pt x="1176" y="712"/>
                    <a:pt x="1176" y="712"/>
                  </a:cubicBezTo>
                  <a:cubicBezTo>
                    <a:pt x="1175" y="712"/>
                    <a:pt x="1175" y="712"/>
                    <a:pt x="1174" y="712"/>
                  </a:cubicBezTo>
                  <a:cubicBezTo>
                    <a:pt x="1180" y="709"/>
                    <a:pt x="1186" y="706"/>
                    <a:pt x="1191" y="700"/>
                  </a:cubicBezTo>
                  <a:cubicBezTo>
                    <a:pt x="1190" y="701"/>
                    <a:pt x="1189" y="701"/>
                    <a:pt x="1188" y="701"/>
                  </a:cubicBezTo>
                  <a:cubicBezTo>
                    <a:pt x="1186" y="701"/>
                    <a:pt x="1182" y="700"/>
                    <a:pt x="1180" y="698"/>
                  </a:cubicBezTo>
                  <a:cubicBezTo>
                    <a:pt x="1177" y="696"/>
                    <a:pt x="1173" y="690"/>
                    <a:pt x="1168" y="690"/>
                  </a:cubicBezTo>
                  <a:cubicBezTo>
                    <a:pt x="1168" y="690"/>
                    <a:pt x="1167" y="690"/>
                    <a:pt x="1167" y="690"/>
                  </a:cubicBezTo>
                  <a:cubicBezTo>
                    <a:pt x="1165" y="690"/>
                    <a:pt x="1163" y="693"/>
                    <a:pt x="1161" y="693"/>
                  </a:cubicBezTo>
                  <a:cubicBezTo>
                    <a:pt x="1159" y="694"/>
                    <a:pt x="1157" y="694"/>
                    <a:pt x="1156" y="694"/>
                  </a:cubicBezTo>
                  <a:cubicBezTo>
                    <a:pt x="1155" y="694"/>
                    <a:pt x="1154" y="694"/>
                    <a:pt x="1154" y="693"/>
                  </a:cubicBezTo>
                  <a:cubicBezTo>
                    <a:pt x="1153" y="692"/>
                    <a:pt x="1153" y="690"/>
                    <a:pt x="1152" y="688"/>
                  </a:cubicBezTo>
                  <a:cubicBezTo>
                    <a:pt x="1153" y="688"/>
                    <a:pt x="1155" y="689"/>
                    <a:pt x="1156" y="689"/>
                  </a:cubicBezTo>
                  <a:cubicBezTo>
                    <a:pt x="1158" y="689"/>
                    <a:pt x="1159" y="688"/>
                    <a:pt x="1160" y="688"/>
                  </a:cubicBezTo>
                  <a:cubicBezTo>
                    <a:pt x="1163" y="685"/>
                    <a:pt x="1166" y="682"/>
                    <a:pt x="1169" y="680"/>
                  </a:cubicBezTo>
                  <a:cubicBezTo>
                    <a:pt x="1171" y="678"/>
                    <a:pt x="1175" y="677"/>
                    <a:pt x="1177" y="676"/>
                  </a:cubicBezTo>
                  <a:cubicBezTo>
                    <a:pt x="1178" y="676"/>
                    <a:pt x="1185" y="674"/>
                    <a:pt x="1185" y="672"/>
                  </a:cubicBezTo>
                  <a:cubicBezTo>
                    <a:pt x="1186" y="670"/>
                    <a:pt x="1183" y="667"/>
                    <a:pt x="1181" y="664"/>
                  </a:cubicBezTo>
                  <a:cubicBezTo>
                    <a:pt x="1181" y="665"/>
                    <a:pt x="1181" y="665"/>
                    <a:pt x="1181" y="665"/>
                  </a:cubicBezTo>
                  <a:cubicBezTo>
                    <a:pt x="1181" y="668"/>
                    <a:pt x="1178" y="671"/>
                    <a:pt x="1174" y="671"/>
                  </a:cubicBezTo>
                  <a:cubicBezTo>
                    <a:pt x="1171" y="671"/>
                    <a:pt x="1168" y="668"/>
                    <a:pt x="1168" y="665"/>
                  </a:cubicBezTo>
                  <a:cubicBezTo>
                    <a:pt x="1168" y="661"/>
                    <a:pt x="1170" y="659"/>
                    <a:pt x="1173" y="658"/>
                  </a:cubicBezTo>
                  <a:cubicBezTo>
                    <a:pt x="1170" y="656"/>
                    <a:pt x="1167" y="652"/>
                    <a:pt x="1164" y="651"/>
                  </a:cubicBezTo>
                  <a:cubicBezTo>
                    <a:pt x="1161" y="650"/>
                    <a:pt x="1159" y="650"/>
                    <a:pt x="1157" y="649"/>
                  </a:cubicBezTo>
                  <a:cubicBezTo>
                    <a:pt x="1156" y="648"/>
                    <a:pt x="1157" y="645"/>
                    <a:pt x="1156" y="645"/>
                  </a:cubicBezTo>
                  <a:cubicBezTo>
                    <a:pt x="1156" y="644"/>
                    <a:pt x="1155" y="644"/>
                    <a:pt x="1155" y="644"/>
                  </a:cubicBezTo>
                  <a:cubicBezTo>
                    <a:pt x="1155" y="644"/>
                    <a:pt x="1155" y="644"/>
                    <a:pt x="1155" y="644"/>
                  </a:cubicBezTo>
                  <a:cubicBezTo>
                    <a:pt x="1155" y="644"/>
                    <a:pt x="1155" y="644"/>
                    <a:pt x="1155" y="644"/>
                  </a:cubicBezTo>
                  <a:cubicBezTo>
                    <a:pt x="1155" y="644"/>
                    <a:pt x="1154" y="644"/>
                    <a:pt x="1154" y="644"/>
                  </a:cubicBezTo>
                  <a:cubicBezTo>
                    <a:pt x="1153" y="643"/>
                    <a:pt x="1153" y="643"/>
                    <a:pt x="1152" y="643"/>
                  </a:cubicBezTo>
                  <a:cubicBezTo>
                    <a:pt x="1151" y="643"/>
                    <a:pt x="1150" y="644"/>
                    <a:pt x="1149" y="644"/>
                  </a:cubicBezTo>
                  <a:cubicBezTo>
                    <a:pt x="1148" y="645"/>
                    <a:pt x="1147" y="645"/>
                    <a:pt x="1146" y="645"/>
                  </a:cubicBezTo>
                  <a:cubicBezTo>
                    <a:pt x="1146" y="645"/>
                    <a:pt x="1146" y="645"/>
                    <a:pt x="1145" y="645"/>
                  </a:cubicBezTo>
                  <a:cubicBezTo>
                    <a:pt x="1146" y="644"/>
                    <a:pt x="1146" y="644"/>
                    <a:pt x="1147" y="643"/>
                  </a:cubicBezTo>
                  <a:cubicBezTo>
                    <a:pt x="1148" y="642"/>
                    <a:pt x="1150" y="641"/>
                    <a:pt x="1152" y="641"/>
                  </a:cubicBezTo>
                  <a:cubicBezTo>
                    <a:pt x="1155" y="641"/>
                    <a:pt x="1158" y="643"/>
                    <a:pt x="1159" y="645"/>
                  </a:cubicBezTo>
                  <a:cubicBezTo>
                    <a:pt x="1161" y="646"/>
                    <a:pt x="1161" y="648"/>
                    <a:pt x="1163" y="648"/>
                  </a:cubicBezTo>
                  <a:cubicBezTo>
                    <a:pt x="1164" y="648"/>
                    <a:pt x="1164" y="648"/>
                    <a:pt x="1164" y="648"/>
                  </a:cubicBezTo>
                  <a:cubicBezTo>
                    <a:pt x="1165" y="648"/>
                    <a:pt x="1166" y="648"/>
                    <a:pt x="1167" y="648"/>
                  </a:cubicBezTo>
                  <a:cubicBezTo>
                    <a:pt x="1168" y="648"/>
                    <a:pt x="1169" y="648"/>
                    <a:pt x="1170" y="648"/>
                  </a:cubicBezTo>
                  <a:cubicBezTo>
                    <a:pt x="1170" y="648"/>
                    <a:pt x="1170" y="648"/>
                    <a:pt x="1170" y="648"/>
                  </a:cubicBezTo>
                  <a:cubicBezTo>
                    <a:pt x="1175" y="648"/>
                    <a:pt x="1180" y="650"/>
                    <a:pt x="1185" y="651"/>
                  </a:cubicBezTo>
                  <a:cubicBezTo>
                    <a:pt x="1184" y="649"/>
                    <a:pt x="1184" y="646"/>
                    <a:pt x="1182" y="644"/>
                  </a:cubicBezTo>
                  <a:cubicBezTo>
                    <a:pt x="1179" y="642"/>
                    <a:pt x="1175" y="641"/>
                    <a:pt x="1173" y="639"/>
                  </a:cubicBezTo>
                  <a:cubicBezTo>
                    <a:pt x="1171" y="637"/>
                    <a:pt x="1172" y="633"/>
                    <a:pt x="1171" y="631"/>
                  </a:cubicBezTo>
                  <a:cubicBezTo>
                    <a:pt x="1170" y="630"/>
                    <a:pt x="1168" y="630"/>
                    <a:pt x="1166" y="629"/>
                  </a:cubicBezTo>
                  <a:cubicBezTo>
                    <a:pt x="1161" y="627"/>
                    <a:pt x="1160" y="627"/>
                    <a:pt x="1160" y="621"/>
                  </a:cubicBezTo>
                  <a:cubicBezTo>
                    <a:pt x="1160" y="617"/>
                    <a:pt x="1159" y="615"/>
                    <a:pt x="1158" y="611"/>
                  </a:cubicBezTo>
                  <a:cubicBezTo>
                    <a:pt x="1155" y="604"/>
                    <a:pt x="1152" y="598"/>
                    <a:pt x="1149" y="591"/>
                  </a:cubicBezTo>
                  <a:cubicBezTo>
                    <a:pt x="1148" y="587"/>
                    <a:pt x="1147" y="582"/>
                    <a:pt x="1143" y="579"/>
                  </a:cubicBezTo>
                  <a:cubicBezTo>
                    <a:pt x="1142" y="579"/>
                    <a:pt x="1141" y="578"/>
                    <a:pt x="1140" y="577"/>
                  </a:cubicBezTo>
                  <a:cubicBezTo>
                    <a:pt x="1138" y="577"/>
                    <a:pt x="1134" y="576"/>
                    <a:pt x="1133" y="575"/>
                  </a:cubicBezTo>
                  <a:cubicBezTo>
                    <a:pt x="1132" y="574"/>
                    <a:pt x="1126" y="567"/>
                    <a:pt x="1123" y="567"/>
                  </a:cubicBezTo>
                  <a:cubicBezTo>
                    <a:pt x="1122" y="567"/>
                    <a:pt x="1122" y="567"/>
                    <a:pt x="1122" y="567"/>
                  </a:cubicBezTo>
                  <a:cubicBezTo>
                    <a:pt x="1120" y="568"/>
                    <a:pt x="1120" y="568"/>
                    <a:pt x="1119" y="568"/>
                  </a:cubicBezTo>
                  <a:cubicBezTo>
                    <a:pt x="1119" y="568"/>
                    <a:pt x="1119" y="568"/>
                    <a:pt x="1119" y="567"/>
                  </a:cubicBezTo>
                  <a:cubicBezTo>
                    <a:pt x="1118" y="564"/>
                    <a:pt x="1118" y="563"/>
                    <a:pt x="1119" y="561"/>
                  </a:cubicBezTo>
                  <a:cubicBezTo>
                    <a:pt x="1118" y="561"/>
                    <a:pt x="1118" y="561"/>
                    <a:pt x="1118" y="561"/>
                  </a:cubicBezTo>
                  <a:cubicBezTo>
                    <a:pt x="1119" y="560"/>
                    <a:pt x="1119" y="560"/>
                    <a:pt x="1120" y="560"/>
                  </a:cubicBezTo>
                  <a:cubicBezTo>
                    <a:pt x="1124" y="555"/>
                    <a:pt x="1126" y="545"/>
                    <a:pt x="1132" y="544"/>
                  </a:cubicBezTo>
                  <a:cubicBezTo>
                    <a:pt x="1136" y="543"/>
                    <a:pt x="1137" y="542"/>
                    <a:pt x="1139" y="539"/>
                  </a:cubicBezTo>
                  <a:cubicBezTo>
                    <a:pt x="1141" y="536"/>
                    <a:pt x="1143" y="535"/>
                    <a:pt x="1146" y="533"/>
                  </a:cubicBezTo>
                  <a:cubicBezTo>
                    <a:pt x="1144" y="532"/>
                    <a:pt x="1142" y="531"/>
                    <a:pt x="1141" y="529"/>
                  </a:cubicBezTo>
                  <a:cubicBezTo>
                    <a:pt x="1140" y="527"/>
                    <a:pt x="1143" y="525"/>
                    <a:pt x="1145" y="525"/>
                  </a:cubicBezTo>
                  <a:cubicBezTo>
                    <a:pt x="1146" y="525"/>
                    <a:pt x="1146" y="526"/>
                    <a:pt x="1146" y="526"/>
                  </a:cubicBezTo>
                  <a:cubicBezTo>
                    <a:pt x="1147" y="526"/>
                    <a:pt x="1147" y="528"/>
                    <a:pt x="1147" y="529"/>
                  </a:cubicBezTo>
                  <a:cubicBezTo>
                    <a:pt x="1147" y="530"/>
                    <a:pt x="1147" y="531"/>
                    <a:pt x="1148" y="531"/>
                  </a:cubicBezTo>
                  <a:cubicBezTo>
                    <a:pt x="1148" y="531"/>
                    <a:pt x="1149" y="531"/>
                    <a:pt x="1150" y="531"/>
                  </a:cubicBezTo>
                  <a:cubicBezTo>
                    <a:pt x="1153" y="530"/>
                    <a:pt x="1155" y="530"/>
                    <a:pt x="1155" y="527"/>
                  </a:cubicBezTo>
                  <a:cubicBezTo>
                    <a:pt x="1155" y="527"/>
                    <a:pt x="1155" y="526"/>
                    <a:pt x="1155" y="525"/>
                  </a:cubicBezTo>
                  <a:cubicBezTo>
                    <a:pt x="1154" y="523"/>
                    <a:pt x="1156" y="523"/>
                    <a:pt x="1159" y="521"/>
                  </a:cubicBezTo>
                  <a:cubicBezTo>
                    <a:pt x="1160" y="520"/>
                    <a:pt x="1162" y="520"/>
                    <a:pt x="1162" y="517"/>
                  </a:cubicBezTo>
                  <a:cubicBezTo>
                    <a:pt x="1162" y="517"/>
                    <a:pt x="1162" y="517"/>
                    <a:pt x="1162" y="517"/>
                  </a:cubicBezTo>
                  <a:cubicBezTo>
                    <a:pt x="1161" y="517"/>
                    <a:pt x="1161" y="517"/>
                    <a:pt x="1160" y="517"/>
                  </a:cubicBezTo>
                  <a:cubicBezTo>
                    <a:pt x="1160" y="516"/>
                    <a:pt x="1159" y="516"/>
                    <a:pt x="1158" y="516"/>
                  </a:cubicBezTo>
                  <a:cubicBezTo>
                    <a:pt x="1158" y="516"/>
                    <a:pt x="1157" y="516"/>
                    <a:pt x="1157" y="516"/>
                  </a:cubicBezTo>
                  <a:cubicBezTo>
                    <a:pt x="1158" y="515"/>
                    <a:pt x="1159" y="515"/>
                    <a:pt x="1159" y="515"/>
                  </a:cubicBezTo>
                  <a:cubicBezTo>
                    <a:pt x="1160" y="515"/>
                    <a:pt x="1161" y="515"/>
                    <a:pt x="1162" y="515"/>
                  </a:cubicBezTo>
                  <a:cubicBezTo>
                    <a:pt x="1162" y="515"/>
                    <a:pt x="1163" y="515"/>
                    <a:pt x="1164" y="515"/>
                  </a:cubicBezTo>
                  <a:cubicBezTo>
                    <a:pt x="1164" y="515"/>
                    <a:pt x="1165" y="515"/>
                    <a:pt x="1165" y="515"/>
                  </a:cubicBezTo>
                  <a:cubicBezTo>
                    <a:pt x="1168" y="514"/>
                    <a:pt x="1171" y="512"/>
                    <a:pt x="1175" y="511"/>
                  </a:cubicBezTo>
                  <a:cubicBezTo>
                    <a:pt x="1180" y="508"/>
                    <a:pt x="1186" y="506"/>
                    <a:pt x="1192" y="504"/>
                  </a:cubicBezTo>
                  <a:cubicBezTo>
                    <a:pt x="1192" y="508"/>
                    <a:pt x="1193" y="509"/>
                    <a:pt x="1195" y="509"/>
                  </a:cubicBezTo>
                  <a:cubicBezTo>
                    <a:pt x="1196" y="509"/>
                    <a:pt x="1197" y="509"/>
                    <a:pt x="1198" y="509"/>
                  </a:cubicBezTo>
                  <a:cubicBezTo>
                    <a:pt x="1201" y="507"/>
                    <a:pt x="1200" y="507"/>
                    <a:pt x="1201" y="504"/>
                  </a:cubicBezTo>
                  <a:cubicBezTo>
                    <a:pt x="1201" y="504"/>
                    <a:pt x="1201" y="504"/>
                    <a:pt x="1201" y="504"/>
                  </a:cubicBezTo>
                  <a:cubicBezTo>
                    <a:pt x="1201" y="504"/>
                    <a:pt x="1200" y="504"/>
                    <a:pt x="1199" y="504"/>
                  </a:cubicBezTo>
                  <a:cubicBezTo>
                    <a:pt x="1199" y="504"/>
                    <a:pt x="1198" y="504"/>
                    <a:pt x="1198" y="504"/>
                  </a:cubicBezTo>
                  <a:cubicBezTo>
                    <a:pt x="1198" y="504"/>
                    <a:pt x="1198" y="504"/>
                    <a:pt x="1198" y="503"/>
                  </a:cubicBezTo>
                  <a:cubicBezTo>
                    <a:pt x="1200" y="502"/>
                    <a:pt x="1207" y="495"/>
                    <a:pt x="1204" y="493"/>
                  </a:cubicBezTo>
                  <a:cubicBezTo>
                    <a:pt x="1204" y="493"/>
                    <a:pt x="1203" y="493"/>
                    <a:pt x="1203" y="493"/>
                  </a:cubicBezTo>
                  <a:cubicBezTo>
                    <a:pt x="1202" y="493"/>
                    <a:pt x="1200" y="493"/>
                    <a:pt x="1200" y="493"/>
                  </a:cubicBezTo>
                  <a:cubicBezTo>
                    <a:pt x="1200" y="493"/>
                    <a:pt x="1199" y="493"/>
                    <a:pt x="1199" y="493"/>
                  </a:cubicBezTo>
                  <a:cubicBezTo>
                    <a:pt x="1198" y="493"/>
                    <a:pt x="1198" y="493"/>
                    <a:pt x="1197" y="493"/>
                  </a:cubicBezTo>
                  <a:cubicBezTo>
                    <a:pt x="1194" y="492"/>
                    <a:pt x="1192" y="490"/>
                    <a:pt x="1189" y="489"/>
                  </a:cubicBezTo>
                  <a:cubicBezTo>
                    <a:pt x="1188" y="490"/>
                    <a:pt x="1187" y="491"/>
                    <a:pt x="1187" y="493"/>
                  </a:cubicBezTo>
                  <a:cubicBezTo>
                    <a:pt x="1186" y="492"/>
                    <a:pt x="1186" y="491"/>
                    <a:pt x="1184" y="491"/>
                  </a:cubicBezTo>
                  <a:cubicBezTo>
                    <a:pt x="1183" y="491"/>
                    <a:pt x="1182" y="492"/>
                    <a:pt x="1181" y="492"/>
                  </a:cubicBezTo>
                  <a:cubicBezTo>
                    <a:pt x="1180" y="492"/>
                    <a:pt x="1179" y="492"/>
                    <a:pt x="1178" y="492"/>
                  </a:cubicBezTo>
                  <a:cubicBezTo>
                    <a:pt x="1177" y="492"/>
                    <a:pt x="1177" y="492"/>
                    <a:pt x="1177" y="492"/>
                  </a:cubicBezTo>
                  <a:cubicBezTo>
                    <a:pt x="1174" y="492"/>
                    <a:pt x="1169" y="489"/>
                    <a:pt x="1167" y="488"/>
                  </a:cubicBezTo>
                  <a:cubicBezTo>
                    <a:pt x="1164" y="486"/>
                    <a:pt x="1161" y="484"/>
                    <a:pt x="1158" y="482"/>
                  </a:cubicBezTo>
                  <a:cubicBezTo>
                    <a:pt x="1158" y="481"/>
                    <a:pt x="1157" y="481"/>
                    <a:pt x="1157" y="481"/>
                  </a:cubicBezTo>
                  <a:cubicBezTo>
                    <a:pt x="1155" y="481"/>
                    <a:pt x="1153" y="483"/>
                    <a:pt x="1151" y="483"/>
                  </a:cubicBezTo>
                  <a:cubicBezTo>
                    <a:pt x="1147" y="484"/>
                    <a:pt x="1144" y="484"/>
                    <a:pt x="1144" y="488"/>
                  </a:cubicBezTo>
                  <a:cubicBezTo>
                    <a:pt x="1145" y="490"/>
                    <a:pt x="1140" y="493"/>
                    <a:pt x="1138" y="494"/>
                  </a:cubicBezTo>
                  <a:cubicBezTo>
                    <a:pt x="1136" y="495"/>
                    <a:pt x="1131" y="500"/>
                    <a:pt x="1128" y="501"/>
                  </a:cubicBezTo>
                  <a:cubicBezTo>
                    <a:pt x="1128" y="501"/>
                    <a:pt x="1128" y="501"/>
                    <a:pt x="1127" y="501"/>
                  </a:cubicBezTo>
                  <a:cubicBezTo>
                    <a:pt x="1125" y="501"/>
                    <a:pt x="1120" y="498"/>
                    <a:pt x="1117" y="497"/>
                  </a:cubicBezTo>
                  <a:cubicBezTo>
                    <a:pt x="1113" y="496"/>
                    <a:pt x="1113" y="496"/>
                    <a:pt x="1114" y="492"/>
                  </a:cubicBezTo>
                  <a:cubicBezTo>
                    <a:pt x="1114" y="488"/>
                    <a:pt x="1116" y="485"/>
                    <a:pt x="1116" y="481"/>
                  </a:cubicBezTo>
                  <a:cubicBezTo>
                    <a:pt x="1116" y="478"/>
                    <a:pt x="1114" y="472"/>
                    <a:pt x="1110" y="471"/>
                  </a:cubicBezTo>
                  <a:cubicBezTo>
                    <a:pt x="1109" y="471"/>
                    <a:pt x="1108" y="471"/>
                    <a:pt x="1107" y="471"/>
                  </a:cubicBezTo>
                  <a:cubicBezTo>
                    <a:pt x="1106" y="471"/>
                    <a:pt x="1105" y="471"/>
                    <a:pt x="1105" y="471"/>
                  </a:cubicBezTo>
                  <a:cubicBezTo>
                    <a:pt x="1104" y="472"/>
                    <a:pt x="1106" y="473"/>
                    <a:pt x="1105" y="474"/>
                  </a:cubicBezTo>
                  <a:cubicBezTo>
                    <a:pt x="1105" y="475"/>
                    <a:pt x="1104" y="475"/>
                    <a:pt x="1104" y="476"/>
                  </a:cubicBezTo>
                  <a:cubicBezTo>
                    <a:pt x="1102" y="474"/>
                    <a:pt x="1101" y="473"/>
                    <a:pt x="1099" y="472"/>
                  </a:cubicBezTo>
                  <a:cubicBezTo>
                    <a:pt x="1099" y="472"/>
                    <a:pt x="1099" y="472"/>
                    <a:pt x="1099" y="472"/>
                  </a:cubicBezTo>
                  <a:cubicBezTo>
                    <a:pt x="1098" y="472"/>
                    <a:pt x="1098" y="472"/>
                    <a:pt x="1098" y="472"/>
                  </a:cubicBezTo>
                  <a:cubicBezTo>
                    <a:pt x="1097" y="472"/>
                    <a:pt x="1097" y="473"/>
                    <a:pt x="1097" y="473"/>
                  </a:cubicBezTo>
                  <a:cubicBezTo>
                    <a:pt x="1096" y="473"/>
                    <a:pt x="1096" y="472"/>
                    <a:pt x="1095" y="472"/>
                  </a:cubicBezTo>
                  <a:cubicBezTo>
                    <a:pt x="1093" y="471"/>
                    <a:pt x="1090" y="470"/>
                    <a:pt x="1088" y="469"/>
                  </a:cubicBezTo>
                  <a:cubicBezTo>
                    <a:pt x="1084" y="468"/>
                    <a:pt x="1077" y="461"/>
                    <a:pt x="1078" y="458"/>
                  </a:cubicBezTo>
                  <a:cubicBezTo>
                    <a:pt x="1079" y="454"/>
                    <a:pt x="1080" y="447"/>
                    <a:pt x="1083" y="444"/>
                  </a:cubicBezTo>
                  <a:cubicBezTo>
                    <a:pt x="1084" y="443"/>
                    <a:pt x="1085" y="442"/>
                    <a:pt x="1086" y="442"/>
                  </a:cubicBezTo>
                  <a:cubicBezTo>
                    <a:pt x="1087" y="442"/>
                    <a:pt x="1087" y="442"/>
                    <a:pt x="1088" y="442"/>
                  </a:cubicBezTo>
                  <a:cubicBezTo>
                    <a:pt x="1092" y="442"/>
                    <a:pt x="1093" y="446"/>
                    <a:pt x="1097" y="446"/>
                  </a:cubicBezTo>
                  <a:cubicBezTo>
                    <a:pt x="1098" y="446"/>
                    <a:pt x="1098" y="446"/>
                    <a:pt x="1098" y="446"/>
                  </a:cubicBezTo>
                  <a:cubicBezTo>
                    <a:pt x="1100" y="446"/>
                    <a:pt x="1103" y="445"/>
                    <a:pt x="1105" y="445"/>
                  </a:cubicBezTo>
                  <a:cubicBezTo>
                    <a:pt x="1107" y="444"/>
                    <a:pt x="1111" y="445"/>
                    <a:pt x="1113" y="443"/>
                  </a:cubicBezTo>
                  <a:cubicBezTo>
                    <a:pt x="1114" y="442"/>
                    <a:pt x="1115" y="441"/>
                    <a:pt x="1115" y="440"/>
                  </a:cubicBezTo>
                  <a:cubicBezTo>
                    <a:pt x="1117" y="438"/>
                    <a:pt x="1120" y="436"/>
                    <a:pt x="1121" y="432"/>
                  </a:cubicBezTo>
                  <a:cubicBezTo>
                    <a:pt x="1122" y="427"/>
                    <a:pt x="1124" y="422"/>
                    <a:pt x="1130" y="421"/>
                  </a:cubicBezTo>
                  <a:cubicBezTo>
                    <a:pt x="1137" y="418"/>
                    <a:pt x="1143" y="415"/>
                    <a:pt x="1149" y="411"/>
                  </a:cubicBezTo>
                  <a:cubicBezTo>
                    <a:pt x="1154" y="408"/>
                    <a:pt x="1157" y="401"/>
                    <a:pt x="1162" y="397"/>
                  </a:cubicBezTo>
                  <a:cubicBezTo>
                    <a:pt x="1164" y="394"/>
                    <a:pt x="1165" y="393"/>
                    <a:pt x="1168" y="393"/>
                  </a:cubicBezTo>
                  <a:cubicBezTo>
                    <a:pt x="1169" y="393"/>
                    <a:pt x="1170" y="393"/>
                    <a:pt x="1171" y="394"/>
                  </a:cubicBezTo>
                  <a:cubicBezTo>
                    <a:pt x="1172" y="394"/>
                    <a:pt x="1174" y="394"/>
                    <a:pt x="1175" y="394"/>
                  </a:cubicBezTo>
                  <a:cubicBezTo>
                    <a:pt x="1177" y="394"/>
                    <a:pt x="1179" y="394"/>
                    <a:pt x="1181" y="393"/>
                  </a:cubicBezTo>
                  <a:cubicBezTo>
                    <a:pt x="1183" y="392"/>
                    <a:pt x="1182" y="390"/>
                    <a:pt x="1184" y="390"/>
                  </a:cubicBezTo>
                  <a:cubicBezTo>
                    <a:pt x="1184" y="393"/>
                    <a:pt x="1183" y="394"/>
                    <a:pt x="1187" y="396"/>
                  </a:cubicBezTo>
                  <a:cubicBezTo>
                    <a:pt x="1190" y="398"/>
                    <a:pt x="1192" y="398"/>
                    <a:pt x="1194" y="402"/>
                  </a:cubicBezTo>
                  <a:cubicBezTo>
                    <a:pt x="1194" y="403"/>
                    <a:pt x="1195" y="403"/>
                    <a:pt x="1195" y="403"/>
                  </a:cubicBezTo>
                  <a:cubicBezTo>
                    <a:pt x="1195" y="405"/>
                    <a:pt x="1193" y="407"/>
                    <a:pt x="1192" y="408"/>
                  </a:cubicBezTo>
                  <a:cubicBezTo>
                    <a:pt x="1190" y="411"/>
                    <a:pt x="1188" y="414"/>
                    <a:pt x="1185" y="417"/>
                  </a:cubicBezTo>
                  <a:cubicBezTo>
                    <a:pt x="1183" y="419"/>
                    <a:pt x="1183" y="420"/>
                    <a:pt x="1181" y="421"/>
                  </a:cubicBezTo>
                  <a:cubicBezTo>
                    <a:pt x="1179" y="422"/>
                    <a:pt x="1176" y="422"/>
                    <a:pt x="1175" y="424"/>
                  </a:cubicBezTo>
                  <a:cubicBezTo>
                    <a:pt x="1174" y="426"/>
                    <a:pt x="1175" y="428"/>
                    <a:pt x="1174" y="430"/>
                  </a:cubicBezTo>
                  <a:cubicBezTo>
                    <a:pt x="1173" y="430"/>
                    <a:pt x="1172" y="430"/>
                    <a:pt x="1172" y="430"/>
                  </a:cubicBezTo>
                  <a:cubicBezTo>
                    <a:pt x="1171" y="431"/>
                    <a:pt x="1170" y="431"/>
                    <a:pt x="1169" y="432"/>
                  </a:cubicBezTo>
                  <a:cubicBezTo>
                    <a:pt x="1172" y="435"/>
                    <a:pt x="1175" y="436"/>
                    <a:pt x="1178" y="436"/>
                  </a:cubicBezTo>
                  <a:cubicBezTo>
                    <a:pt x="1181" y="436"/>
                    <a:pt x="1183" y="436"/>
                    <a:pt x="1186" y="436"/>
                  </a:cubicBezTo>
                  <a:cubicBezTo>
                    <a:pt x="1185" y="436"/>
                    <a:pt x="1179" y="438"/>
                    <a:pt x="1178" y="440"/>
                  </a:cubicBezTo>
                  <a:cubicBezTo>
                    <a:pt x="1178" y="441"/>
                    <a:pt x="1179" y="442"/>
                    <a:pt x="1180" y="443"/>
                  </a:cubicBezTo>
                  <a:cubicBezTo>
                    <a:pt x="1180" y="446"/>
                    <a:pt x="1175" y="445"/>
                    <a:pt x="1173" y="446"/>
                  </a:cubicBezTo>
                  <a:cubicBezTo>
                    <a:pt x="1171" y="447"/>
                    <a:pt x="1170" y="448"/>
                    <a:pt x="1168" y="449"/>
                  </a:cubicBezTo>
                  <a:cubicBezTo>
                    <a:pt x="1168" y="449"/>
                    <a:pt x="1168" y="449"/>
                    <a:pt x="1168" y="449"/>
                  </a:cubicBezTo>
                  <a:cubicBezTo>
                    <a:pt x="1168" y="449"/>
                    <a:pt x="1168" y="449"/>
                    <a:pt x="1167" y="449"/>
                  </a:cubicBezTo>
                  <a:cubicBezTo>
                    <a:pt x="1167" y="449"/>
                    <a:pt x="1167" y="449"/>
                    <a:pt x="1167" y="449"/>
                  </a:cubicBezTo>
                  <a:cubicBezTo>
                    <a:pt x="1166" y="449"/>
                    <a:pt x="1166" y="449"/>
                    <a:pt x="1166" y="449"/>
                  </a:cubicBezTo>
                  <a:cubicBezTo>
                    <a:pt x="1165" y="450"/>
                    <a:pt x="1167" y="454"/>
                    <a:pt x="1168" y="455"/>
                  </a:cubicBezTo>
                  <a:cubicBezTo>
                    <a:pt x="1177" y="449"/>
                    <a:pt x="1186" y="443"/>
                    <a:pt x="1195" y="437"/>
                  </a:cubicBezTo>
                  <a:cubicBezTo>
                    <a:pt x="1199" y="435"/>
                    <a:pt x="1203" y="433"/>
                    <a:pt x="1207" y="430"/>
                  </a:cubicBezTo>
                  <a:cubicBezTo>
                    <a:pt x="1210" y="428"/>
                    <a:pt x="1214" y="426"/>
                    <a:pt x="1217" y="425"/>
                  </a:cubicBezTo>
                  <a:cubicBezTo>
                    <a:pt x="1219" y="424"/>
                    <a:pt x="1220" y="424"/>
                    <a:pt x="1222" y="424"/>
                  </a:cubicBezTo>
                  <a:cubicBezTo>
                    <a:pt x="1222" y="424"/>
                    <a:pt x="1223" y="424"/>
                    <a:pt x="1223" y="424"/>
                  </a:cubicBezTo>
                  <a:cubicBezTo>
                    <a:pt x="1224" y="424"/>
                    <a:pt x="1224" y="424"/>
                    <a:pt x="1225" y="424"/>
                  </a:cubicBezTo>
                  <a:cubicBezTo>
                    <a:pt x="1225" y="424"/>
                    <a:pt x="1226" y="424"/>
                    <a:pt x="1226" y="424"/>
                  </a:cubicBezTo>
                  <a:cubicBezTo>
                    <a:pt x="1230" y="424"/>
                    <a:pt x="1234" y="424"/>
                    <a:pt x="1238" y="424"/>
                  </a:cubicBezTo>
                  <a:cubicBezTo>
                    <a:pt x="1241" y="423"/>
                    <a:pt x="1242" y="421"/>
                    <a:pt x="1244" y="418"/>
                  </a:cubicBezTo>
                  <a:cubicBezTo>
                    <a:pt x="1242" y="418"/>
                    <a:pt x="1242" y="418"/>
                    <a:pt x="1242" y="418"/>
                  </a:cubicBezTo>
                  <a:cubicBezTo>
                    <a:pt x="1243" y="416"/>
                    <a:pt x="1243" y="416"/>
                    <a:pt x="1243" y="416"/>
                  </a:cubicBezTo>
                  <a:cubicBezTo>
                    <a:pt x="1244" y="415"/>
                    <a:pt x="1245" y="413"/>
                    <a:pt x="1245" y="413"/>
                  </a:cubicBezTo>
                  <a:cubicBezTo>
                    <a:pt x="1246" y="412"/>
                    <a:pt x="1246" y="412"/>
                    <a:pt x="1246" y="412"/>
                  </a:cubicBezTo>
                  <a:cubicBezTo>
                    <a:pt x="1251" y="409"/>
                    <a:pt x="1251" y="409"/>
                    <a:pt x="1251" y="409"/>
                  </a:cubicBezTo>
                  <a:cubicBezTo>
                    <a:pt x="1257" y="405"/>
                    <a:pt x="1263" y="402"/>
                    <a:pt x="1269" y="398"/>
                  </a:cubicBezTo>
                  <a:cubicBezTo>
                    <a:pt x="1270" y="397"/>
                    <a:pt x="1272" y="395"/>
                    <a:pt x="1273" y="394"/>
                  </a:cubicBezTo>
                  <a:cubicBezTo>
                    <a:pt x="1275" y="393"/>
                    <a:pt x="1275" y="393"/>
                    <a:pt x="1275" y="393"/>
                  </a:cubicBezTo>
                  <a:cubicBezTo>
                    <a:pt x="1277" y="391"/>
                    <a:pt x="1279" y="391"/>
                    <a:pt x="1281" y="390"/>
                  </a:cubicBezTo>
                  <a:cubicBezTo>
                    <a:pt x="1282" y="390"/>
                    <a:pt x="1283" y="390"/>
                    <a:pt x="1284" y="390"/>
                  </a:cubicBezTo>
                  <a:cubicBezTo>
                    <a:pt x="1285" y="389"/>
                    <a:pt x="1285" y="389"/>
                    <a:pt x="1285" y="389"/>
                  </a:cubicBezTo>
                  <a:cubicBezTo>
                    <a:pt x="1285" y="389"/>
                    <a:pt x="1285" y="389"/>
                    <a:pt x="1286" y="387"/>
                  </a:cubicBezTo>
                  <a:cubicBezTo>
                    <a:pt x="1287" y="387"/>
                    <a:pt x="1288" y="386"/>
                    <a:pt x="1288" y="385"/>
                  </a:cubicBezTo>
                  <a:cubicBezTo>
                    <a:pt x="1292" y="381"/>
                    <a:pt x="1296" y="376"/>
                    <a:pt x="1299" y="370"/>
                  </a:cubicBezTo>
                  <a:cubicBezTo>
                    <a:pt x="1299" y="369"/>
                    <a:pt x="1301" y="367"/>
                    <a:pt x="1302" y="366"/>
                  </a:cubicBezTo>
                  <a:cubicBezTo>
                    <a:pt x="1298" y="361"/>
                    <a:pt x="1298" y="361"/>
                    <a:pt x="1298" y="361"/>
                  </a:cubicBezTo>
                  <a:cubicBezTo>
                    <a:pt x="1303" y="365"/>
                    <a:pt x="1303" y="365"/>
                    <a:pt x="1303" y="365"/>
                  </a:cubicBezTo>
                  <a:cubicBezTo>
                    <a:pt x="1304" y="365"/>
                    <a:pt x="1304" y="365"/>
                    <a:pt x="1304" y="365"/>
                  </a:cubicBezTo>
                  <a:cubicBezTo>
                    <a:pt x="1305" y="364"/>
                    <a:pt x="1305" y="364"/>
                    <a:pt x="1305" y="364"/>
                  </a:cubicBezTo>
                  <a:cubicBezTo>
                    <a:pt x="1306" y="364"/>
                    <a:pt x="1307" y="363"/>
                    <a:pt x="1308" y="363"/>
                  </a:cubicBezTo>
                  <a:cubicBezTo>
                    <a:pt x="1308" y="363"/>
                    <a:pt x="1308" y="363"/>
                    <a:pt x="1308" y="363"/>
                  </a:cubicBezTo>
                  <a:cubicBezTo>
                    <a:pt x="1309" y="363"/>
                    <a:pt x="1309" y="363"/>
                    <a:pt x="1309" y="363"/>
                  </a:cubicBezTo>
                  <a:cubicBezTo>
                    <a:pt x="1309" y="364"/>
                    <a:pt x="1310" y="364"/>
                    <a:pt x="1311" y="364"/>
                  </a:cubicBezTo>
                  <a:cubicBezTo>
                    <a:pt x="1311" y="364"/>
                    <a:pt x="1311" y="364"/>
                    <a:pt x="1311" y="364"/>
                  </a:cubicBezTo>
                  <a:cubicBezTo>
                    <a:pt x="1313" y="366"/>
                    <a:pt x="1314" y="367"/>
                    <a:pt x="1316" y="369"/>
                  </a:cubicBezTo>
                  <a:cubicBezTo>
                    <a:pt x="1317" y="370"/>
                    <a:pt x="1317" y="371"/>
                    <a:pt x="1319" y="372"/>
                  </a:cubicBezTo>
                  <a:cubicBezTo>
                    <a:pt x="1319" y="373"/>
                    <a:pt x="1319" y="373"/>
                    <a:pt x="1319" y="373"/>
                  </a:cubicBezTo>
                  <a:cubicBezTo>
                    <a:pt x="1321" y="374"/>
                    <a:pt x="1326" y="374"/>
                    <a:pt x="1329" y="374"/>
                  </a:cubicBezTo>
                  <a:cubicBezTo>
                    <a:pt x="1331" y="374"/>
                    <a:pt x="1331" y="374"/>
                    <a:pt x="1331" y="374"/>
                  </a:cubicBezTo>
                  <a:cubicBezTo>
                    <a:pt x="1333" y="375"/>
                    <a:pt x="1335" y="375"/>
                    <a:pt x="1336" y="375"/>
                  </a:cubicBezTo>
                  <a:cubicBezTo>
                    <a:pt x="1337" y="375"/>
                    <a:pt x="1337" y="375"/>
                    <a:pt x="1337" y="375"/>
                  </a:cubicBezTo>
                  <a:cubicBezTo>
                    <a:pt x="1338" y="375"/>
                    <a:pt x="1338" y="375"/>
                    <a:pt x="1338" y="375"/>
                  </a:cubicBezTo>
                  <a:cubicBezTo>
                    <a:pt x="1339" y="374"/>
                    <a:pt x="1339" y="374"/>
                    <a:pt x="1339" y="374"/>
                  </a:cubicBezTo>
                  <a:cubicBezTo>
                    <a:pt x="1339" y="374"/>
                    <a:pt x="1339" y="374"/>
                    <a:pt x="1339" y="373"/>
                  </a:cubicBezTo>
                  <a:cubicBezTo>
                    <a:pt x="1340" y="373"/>
                    <a:pt x="1340" y="373"/>
                    <a:pt x="1340" y="373"/>
                  </a:cubicBezTo>
                  <a:cubicBezTo>
                    <a:pt x="1339" y="372"/>
                    <a:pt x="1339" y="372"/>
                    <a:pt x="1339" y="372"/>
                  </a:cubicBezTo>
                  <a:cubicBezTo>
                    <a:pt x="1338" y="371"/>
                    <a:pt x="1338" y="371"/>
                    <a:pt x="1338" y="371"/>
                  </a:cubicBezTo>
                  <a:cubicBezTo>
                    <a:pt x="1335" y="368"/>
                    <a:pt x="1334" y="365"/>
                    <a:pt x="1334" y="361"/>
                  </a:cubicBezTo>
                  <a:cubicBezTo>
                    <a:pt x="1333" y="358"/>
                    <a:pt x="1333" y="358"/>
                    <a:pt x="1333" y="358"/>
                  </a:cubicBezTo>
                  <a:cubicBezTo>
                    <a:pt x="1348" y="356"/>
                    <a:pt x="1348" y="356"/>
                    <a:pt x="1348" y="356"/>
                  </a:cubicBezTo>
                  <a:cubicBezTo>
                    <a:pt x="1349" y="356"/>
                    <a:pt x="1351" y="355"/>
                    <a:pt x="1352" y="355"/>
                  </a:cubicBezTo>
                  <a:cubicBezTo>
                    <a:pt x="1355" y="355"/>
                    <a:pt x="1358" y="355"/>
                    <a:pt x="1359" y="354"/>
                  </a:cubicBezTo>
                  <a:cubicBezTo>
                    <a:pt x="1359" y="354"/>
                    <a:pt x="1361" y="353"/>
                    <a:pt x="1362" y="352"/>
                  </a:cubicBezTo>
                  <a:cubicBezTo>
                    <a:pt x="1361" y="351"/>
                    <a:pt x="1361" y="351"/>
                    <a:pt x="1361" y="351"/>
                  </a:cubicBezTo>
                  <a:cubicBezTo>
                    <a:pt x="1362" y="349"/>
                    <a:pt x="1362" y="349"/>
                    <a:pt x="1362" y="349"/>
                  </a:cubicBezTo>
                  <a:cubicBezTo>
                    <a:pt x="1364" y="347"/>
                    <a:pt x="1366" y="345"/>
                    <a:pt x="1370" y="343"/>
                  </a:cubicBezTo>
                  <a:cubicBezTo>
                    <a:pt x="1370" y="343"/>
                    <a:pt x="1370" y="343"/>
                    <a:pt x="1370" y="343"/>
                  </a:cubicBezTo>
                  <a:cubicBezTo>
                    <a:pt x="1373" y="342"/>
                    <a:pt x="1374" y="342"/>
                    <a:pt x="1375" y="341"/>
                  </a:cubicBezTo>
                  <a:cubicBezTo>
                    <a:pt x="1376" y="341"/>
                    <a:pt x="1376" y="341"/>
                    <a:pt x="1376" y="341"/>
                  </a:cubicBezTo>
                  <a:cubicBezTo>
                    <a:pt x="1376" y="341"/>
                    <a:pt x="1376" y="340"/>
                    <a:pt x="1376" y="340"/>
                  </a:cubicBezTo>
                  <a:cubicBezTo>
                    <a:pt x="1376" y="339"/>
                    <a:pt x="1376" y="339"/>
                    <a:pt x="1376" y="339"/>
                  </a:cubicBezTo>
                  <a:cubicBezTo>
                    <a:pt x="1377" y="336"/>
                    <a:pt x="1377" y="332"/>
                    <a:pt x="1379" y="329"/>
                  </a:cubicBezTo>
                  <a:cubicBezTo>
                    <a:pt x="1380" y="328"/>
                    <a:pt x="1380" y="328"/>
                    <a:pt x="1380" y="328"/>
                  </a:cubicBezTo>
                  <a:cubicBezTo>
                    <a:pt x="1381" y="327"/>
                    <a:pt x="1382" y="327"/>
                    <a:pt x="1383" y="327"/>
                  </a:cubicBezTo>
                  <a:cubicBezTo>
                    <a:pt x="1384" y="327"/>
                    <a:pt x="1385" y="327"/>
                    <a:pt x="1386" y="328"/>
                  </a:cubicBezTo>
                  <a:cubicBezTo>
                    <a:pt x="1387" y="328"/>
                    <a:pt x="1391" y="329"/>
                    <a:pt x="1392" y="331"/>
                  </a:cubicBezTo>
                  <a:cubicBezTo>
                    <a:pt x="1393" y="333"/>
                    <a:pt x="1394" y="334"/>
                    <a:pt x="1394" y="336"/>
                  </a:cubicBezTo>
                  <a:cubicBezTo>
                    <a:pt x="1394" y="336"/>
                    <a:pt x="1394" y="336"/>
                    <a:pt x="1394" y="336"/>
                  </a:cubicBezTo>
                  <a:cubicBezTo>
                    <a:pt x="1398" y="333"/>
                    <a:pt x="1402" y="332"/>
                    <a:pt x="1407" y="332"/>
                  </a:cubicBezTo>
                  <a:cubicBezTo>
                    <a:pt x="1409" y="331"/>
                    <a:pt x="1410" y="331"/>
                    <a:pt x="1411" y="327"/>
                  </a:cubicBezTo>
                  <a:cubicBezTo>
                    <a:pt x="1411" y="325"/>
                    <a:pt x="1411" y="325"/>
                    <a:pt x="1411" y="325"/>
                  </a:cubicBezTo>
                  <a:cubicBezTo>
                    <a:pt x="1412" y="322"/>
                    <a:pt x="1413" y="318"/>
                    <a:pt x="1413" y="315"/>
                  </a:cubicBezTo>
                  <a:cubicBezTo>
                    <a:pt x="1413" y="314"/>
                    <a:pt x="1413" y="313"/>
                    <a:pt x="1413" y="311"/>
                  </a:cubicBezTo>
                  <a:cubicBezTo>
                    <a:pt x="1413" y="310"/>
                    <a:pt x="1413" y="310"/>
                    <a:pt x="1413" y="310"/>
                  </a:cubicBezTo>
                  <a:cubicBezTo>
                    <a:pt x="1412" y="307"/>
                    <a:pt x="1412" y="304"/>
                    <a:pt x="1412" y="300"/>
                  </a:cubicBezTo>
                  <a:cubicBezTo>
                    <a:pt x="1412" y="291"/>
                    <a:pt x="1409" y="283"/>
                    <a:pt x="1406" y="275"/>
                  </a:cubicBezTo>
                  <a:cubicBezTo>
                    <a:pt x="1405" y="272"/>
                    <a:pt x="1405" y="272"/>
                    <a:pt x="1405" y="272"/>
                  </a:cubicBezTo>
                  <a:cubicBezTo>
                    <a:pt x="1408" y="271"/>
                    <a:pt x="1408" y="271"/>
                    <a:pt x="1408" y="271"/>
                  </a:cubicBezTo>
                  <a:cubicBezTo>
                    <a:pt x="1409" y="271"/>
                    <a:pt x="1410" y="271"/>
                    <a:pt x="1412" y="270"/>
                  </a:cubicBezTo>
                  <a:cubicBezTo>
                    <a:pt x="1414" y="270"/>
                    <a:pt x="1418" y="269"/>
                    <a:pt x="1419" y="268"/>
                  </a:cubicBezTo>
                  <a:cubicBezTo>
                    <a:pt x="1420" y="267"/>
                    <a:pt x="1420" y="267"/>
                    <a:pt x="1420" y="267"/>
                  </a:cubicBezTo>
                  <a:cubicBezTo>
                    <a:pt x="1422" y="265"/>
                    <a:pt x="1424" y="264"/>
                    <a:pt x="1425" y="262"/>
                  </a:cubicBezTo>
                  <a:cubicBezTo>
                    <a:pt x="1426" y="260"/>
                    <a:pt x="1426" y="260"/>
                    <a:pt x="1426" y="260"/>
                  </a:cubicBezTo>
                  <a:cubicBezTo>
                    <a:pt x="1427" y="259"/>
                    <a:pt x="1428" y="257"/>
                    <a:pt x="1430" y="257"/>
                  </a:cubicBezTo>
                  <a:cubicBezTo>
                    <a:pt x="1431" y="257"/>
                    <a:pt x="1431" y="257"/>
                    <a:pt x="1431" y="257"/>
                  </a:cubicBezTo>
                  <a:cubicBezTo>
                    <a:pt x="1431" y="257"/>
                    <a:pt x="1431" y="257"/>
                    <a:pt x="1431" y="257"/>
                  </a:cubicBezTo>
                  <a:cubicBezTo>
                    <a:pt x="1432" y="257"/>
                    <a:pt x="1432" y="257"/>
                    <a:pt x="1433" y="257"/>
                  </a:cubicBezTo>
                  <a:cubicBezTo>
                    <a:pt x="1434" y="258"/>
                    <a:pt x="1434" y="259"/>
                    <a:pt x="1435" y="259"/>
                  </a:cubicBezTo>
                  <a:cubicBezTo>
                    <a:pt x="1436" y="260"/>
                    <a:pt x="1436" y="260"/>
                    <a:pt x="1436" y="260"/>
                  </a:cubicBezTo>
                  <a:cubicBezTo>
                    <a:pt x="1436" y="261"/>
                    <a:pt x="1441" y="262"/>
                    <a:pt x="1442" y="262"/>
                  </a:cubicBezTo>
                  <a:cubicBezTo>
                    <a:pt x="1443" y="262"/>
                    <a:pt x="1443" y="262"/>
                    <a:pt x="1443" y="262"/>
                  </a:cubicBezTo>
                  <a:cubicBezTo>
                    <a:pt x="1444" y="262"/>
                    <a:pt x="1445" y="262"/>
                    <a:pt x="1445" y="263"/>
                  </a:cubicBezTo>
                  <a:cubicBezTo>
                    <a:pt x="1446" y="263"/>
                    <a:pt x="1446" y="263"/>
                    <a:pt x="1446" y="263"/>
                  </a:cubicBezTo>
                  <a:cubicBezTo>
                    <a:pt x="1446" y="263"/>
                    <a:pt x="1447" y="263"/>
                    <a:pt x="1448" y="263"/>
                  </a:cubicBezTo>
                  <a:cubicBezTo>
                    <a:pt x="1453" y="265"/>
                    <a:pt x="1454" y="265"/>
                    <a:pt x="1454" y="265"/>
                  </a:cubicBezTo>
                  <a:cubicBezTo>
                    <a:pt x="1454" y="265"/>
                    <a:pt x="1454" y="265"/>
                    <a:pt x="1454" y="265"/>
                  </a:cubicBezTo>
                  <a:cubicBezTo>
                    <a:pt x="1455" y="265"/>
                    <a:pt x="1455" y="265"/>
                    <a:pt x="1455" y="265"/>
                  </a:cubicBezTo>
                  <a:cubicBezTo>
                    <a:pt x="1455" y="265"/>
                    <a:pt x="1455" y="265"/>
                    <a:pt x="1455" y="265"/>
                  </a:cubicBezTo>
                  <a:cubicBezTo>
                    <a:pt x="1456" y="265"/>
                    <a:pt x="1458" y="265"/>
                    <a:pt x="1458" y="264"/>
                  </a:cubicBezTo>
                  <a:cubicBezTo>
                    <a:pt x="1458" y="263"/>
                    <a:pt x="1458" y="263"/>
                    <a:pt x="1458" y="263"/>
                  </a:cubicBezTo>
                  <a:cubicBezTo>
                    <a:pt x="1458" y="261"/>
                    <a:pt x="1458" y="260"/>
                    <a:pt x="1458" y="259"/>
                  </a:cubicBezTo>
                  <a:cubicBezTo>
                    <a:pt x="1459" y="259"/>
                    <a:pt x="1459" y="259"/>
                    <a:pt x="1459" y="259"/>
                  </a:cubicBezTo>
                  <a:cubicBezTo>
                    <a:pt x="1459" y="256"/>
                    <a:pt x="1461" y="254"/>
                    <a:pt x="1462" y="253"/>
                  </a:cubicBezTo>
                  <a:cubicBezTo>
                    <a:pt x="1463" y="252"/>
                    <a:pt x="1463" y="252"/>
                    <a:pt x="1463" y="252"/>
                  </a:cubicBezTo>
                  <a:cubicBezTo>
                    <a:pt x="1465" y="251"/>
                    <a:pt x="1466" y="250"/>
                    <a:pt x="1467" y="249"/>
                  </a:cubicBezTo>
                  <a:cubicBezTo>
                    <a:pt x="1467" y="249"/>
                    <a:pt x="1467" y="249"/>
                    <a:pt x="1467" y="249"/>
                  </a:cubicBezTo>
                  <a:cubicBezTo>
                    <a:pt x="1468" y="249"/>
                    <a:pt x="1468" y="249"/>
                    <a:pt x="1468" y="249"/>
                  </a:cubicBezTo>
                  <a:cubicBezTo>
                    <a:pt x="1468" y="247"/>
                    <a:pt x="1468" y="247"/>
                    <a:pt x="1468" y="247"/>
                  </a:cubicBezTo>
                  <a:cubicBezTo>
                    <a:pt x="1468" y="245"/>
                    <a:pt x="1468" y="243"/>
                    <a:pt x="1470" y="240"/>
                  </a:cubicBezTo>
                  <a:cubicBezTo>
                    <a:pt x="1471" y="239"/>
                    <a:pt x="1472" y="238"/>
                    <a:pt x="1472" y="237"/>
                  </a:cubicBezTo>
                  <a:cubicBezTo>
                    <a:pt x="1474" y="236"/>
                    <a:pt x="1476" y="233"/>
                    <a:pt x="1476" y="232"/>
                  </a:cubicBezTo>
                  <a:cubicBezTo>
                    <a:pt x="1476" y="232"/>
                    <a:pt x="1476" y="232"/>
                    <a:pt x="1476" y="232"/>
                  </a:cubicBezTo>
                  <a:cubicBezTo>
                    <a:pt x="1477" y="230"/>
                    <a:pt x="1477" y="228"/>
                    <a:pt x="1477" y="226"/>
                  </a:cubicBezTo>
                  <a:cubicBezTo>
                    <a:pt x="1477" y="225"/>
                    <a:pt x="1477" y="225"/>
                    <a:pt x="1477" y="225"/>
                  </a:cubicBezTo>
                  <a:cubicBezTo>
                    <a:pt x="1477" y="224"/>
                    <a:pt x="1477" y="224"/>
                    <a:pt x="1478" y="223"/>
                  </a:cubicBezTo>
                  <a:cubicBezTo>
                    <a:pt x="1478" y="223"/>
                    <a:pt x="1478" y="223"/>
                    <a:pt x="1478" y="223"/>
                  </a:cubicBezTo>
                  <a:cubicBezTo>
                    <a:pt x="1478" y="222"/>
                    <a:pt x="1478" y="221"/>
                    <a:pt x="1479" y="220"/>
                  </a:cubicBezTo>
                  <a:cubicBezTo>
                    <a:pt x="1479" y="219"/>
                    <a:pt x="1479" y="219"/>
                    <a:pt x="1479" y="219"/>
                  </a:cubicBezTo>
                  <a:cubicBezTo>
                    <a:pt x="1480" y="219"/>
                    <a:pt x="1480" y="219"/>
                    <a:pt x="1480" y="219"/>
                  </a:cubicBezTo>
                  <a:cubicBezTo>
                    <a:pt x="1480" y="218"/>
                    <a:pt x="1480" y="218"/>
                    <a:pt x="1480" y="218"/>
                  </a:cubicBezTo>
                  <a:cubicBezTo>
                    <a:pt x="1481" y="218"/>
                    <a:pt x="1481" y="217"/>
                    <a:pt x="1481" y="217"/>
                  </a:cubicBezTo>
                  <a:cubicBezTo>
                    <a:pt x="1481" y="216"/>
                    <a:pt x="1482" y="215"/>
                    <a:pt x="1482" y="213"/>
                  </a:cubicBezTo>
                  <a:cubicBezTo>
                    <a:pt x="1482" y="211"/>
                    <a:pt x="1482" y="211"/>
                    <a:pt x="1482" y="211"/>
                  </a:cubicBezTo>
                  <a:cubicBezTo>
                    <a:pt x="1483" y="211"/>
                    <a:pt x="1483" y="210"/>
                    <a:pt x="1483" y="209"/>
                  </a:cubicBezTo>
                  <a:cubicBezTo>
                    <a:pt x="1483" y="209"/>
                    <a:pt x="1483" y="209"/>
                    <a:pt x="1483" y="209"/>
                  </a:cubicBezTo>
                  <a:cubicBezTo>
                    <a:pt x="1484" y="207"/>
                    <a:pt x="1484" y="206"/>
                    <a:pt x="1484" y="205"/>
                  </a:cubicBezTo>
                  <a:cubicBezTo>
                    <a:pt x="1480" y="204"/>
                    <a:pt x="1480" y="204"/>
                    <a:pt x="1480" y="204"/>
                  </a:cubicBezTo>
                  <a:cubicBezTo>
                    <a:pt x="1485" y="203"/>
                    <a:pt x="1485" y="203"/>
                    <a:pt x="1485" y="203"/>
                  </a:cubicBezTo>
                  <a:cubicBezTo>
                    <a:pt x="1485" y="203"/>
                    <a:pt x="1485" y="203"/>
                    <a:pt x="1485" y="203"/>
                  </a:cubicBezTo>
                  <a:cubicBezTo>
                    <a:pt x="1485" y="201"/>
                    <a:pt x="1485" y="201"/>
                    <a:pt x="1485" y="200"/>
                  </a:cubicBezTo>
                  <a:cubicBezTo>
                    <a:pt x="1485" y="199"/>
                    <a:pt x="1485" y="198"/>
                    <a:pt x="1486" y="196"/>
                  </a:cubicBezTo>
                  <a:cubicBezTo>
                    <a:pt x="1487" y="195"/>
                    <a:pt x="1487" y="194"/>
                    <a:pt x="1488" y="194"/>
                  </a:cubicBezTo>
                  <a:cubicBezTo>
                    <a:pt x="1489" y="193"/>
                    <a:pt x="1490" y="192"/>
                    <a:pt x="1491" y="192"/>
                  </a:cubicBezTo>
                  <a:cubicBezTo>
                    <a:pt x="1492" y="191"/>
                    <a:pt x="1492" y="191"/>
                    <a:pt x="1492" y="191"/>
                  </a:cubicBezTo>
                  <a:cubicBezTo>
                    <a:pt x="1493" y="191"/>
                    <a:pt x="1493" y="191"/>
                    <a:pt x="1493" y="191"/>
                  </a:cubicBezTo>
                  <a:cubicBezTo>
                    <a:pt x="1495" y="190"/>
                    <a:pt x="1499" y="188"/>
                    <a:pt x="1499" y="186"/>
                  </a:cubicBezTo>
                  <a:cubicBezTo>
                    <a:pt x="1499" y="185"/>
                    <a:pt x="1499" y="185"/>
                    <a:pt x="1499" y="185"/>
                  </a:cubicBezTo>
                  <a:cubicBezTo>
                    <a:pt x="1499" y="185"/>
                    <a:pt x="1498" y="184"/>
                    <a:pt x="1497" y="184"/>
                  </a:cubicBezTo>
                  <a:cubicBezTo>
                    <a:pt x="1497" y="183"/>
                    <a:pt x="1497" y="183"/>
                    <a:pt x="1497" y="183"/>
                  </a:cubicBezTo>
                  <a:cubicBezTo>
                    <a:pt x="1496" y="182"/>
                    <a:pt x="1495" y="180"/>
                    <a:pt x="1494" y="178"/>
                  </a:cubicBezTo>
                  <a:cubicBezTo>
                    <a:pt x="1494" y="174"/>
                    <a:pt x="1497" y="170"/>
                    <a:pt x="1499" y="167"/>
                  </a:cubicBezTo>
                  <a:cubicBezTo>
                    <a:pt x="1499" y="167"/>
                    <a:pt x="1499" y="167"/>
                    <a:pt x="1499" y="167"/>
                  </a:cubicBezTo>
                  <a:cubicBezTo>
                    <a:pt x="1498" y="167"/>
                    <a:pt x="1497" y="167"/>
                    <a:pt x="1496" y="168"/>
                  </a:cubicBezTo>
                  <a:cubicBezTo>
                    <a:pt x="1493" y="168"/>
                    <a:pt x="1493" y="168"/>
                    <a:pt x="1493" y="168"/>
                  </a:cubicBezTo>
                  <a:cubicBezTo>
                    <a:pt x="1493" y="168"/>
                    <a:pt x="1493" y="168"/>
                    <a:pt x="1493" y="168"/>
                  </a:cubicBezTo>
                  <a:cubicBezTo>
                    <a:pt x="1492" y="168"/>
                    <a:pt x="1491" y="168"/>
                    <a:pt x="1490" y="169"/>
                  </a:cubicBezTo>
                  <a:cubicBezTo>
                    <a:pt x="1490" y="169"/>
                    <a:pt x="1490" y="169"/>
                    <a:pt x="1490" y="169"/>
                  </a:cubicBezTo>
                  <a:cubicBezTo>
                    <a:pt x="1489" y="169"/>
                    <a:pt x="1488" y="169"/>
                    <a:pt x="1488" y="169"/>
                  </a:cubicBezTo>
                  <a:cubicBezTo>
                    <a:pt x="1484" y="170"/>
                    <a:pt x="1481" y="171"/>
                    <a:pt x="1477" y="173"/>
                  </a:cubicBezTo>
                  <a:cubicBezTo>
                    <a:pt x="1476" y="173"/>
                    <a:pt x="1476" y="173"/>
                    <a:pt x="1476" y="173"/>
                  </a:cubicBezTo>
                  <a:cubicBezTo>
                    <a:pt x="1476" y="174"/>
                    <a:pt x="1475" y="174"/>
                    <a:pt x="1474" y="174"/>
                  </a:cubicBezTo>
                  <a:cubicBezTo>
                    <a:pt x="1471" y="176"/>
                    <a:pt x="1471" y="176"/>
                    <a:pt x="1471" y="176"/>
                  </a:cubicBezTo>
                  <a:cubicBezTo>
                    <a:pt x="1468" y="177"/>
                    <a:pt x="1465" y="177"/>
                    <a:pt x="1462" y="177"/>
                  </a:cubicBezTo>
                  <a:cubicBezTo>
                    <a:pt x="1461" y="177"/>
                    <a:pt x="1458" y="178"/>
                    <a:pt x="1457" y="179"/>
                  </a:cubicBezTo>
                  <a:cubicBezTo>
                    <a:pt x="1454" y="180"/>
                    <a:pt x="1453" y="181"/>
                    <a:pt x="1452" y="182"/>
                  </a:cubicBezTo>
                  <a:cubicBezTo>
                    <a:pt x="1451" y="183"/>
                    <a:pt x="1451" y="184"/>
                    <a:pt x="1451" y="185"/>
                  </a:cubicBezTo>
                  <a:cubicBezTo>
                    <a:pt x="1450" y="187"/>
                    <a:pt x="1449" y="189"/>
                    <a:pt x="1444" y="189"/>
                  </a:cubicBezTo>
                  <a:cubicBezTo>
                    <a:pt x="1438" y="190"/>
                    <a:pt x="1433" y="190"/>
                    <a:pt x="1428" y="190"/>
                  </a:cubicBezTo>
                  <a:cubicBezTo>
                    <a:pt x="1425" y="190"/>
                    <a:pt x="1423" y="190"/>
                    <a:pt x="1421" y="190"/>
                  </a:cubicBezTo>
                  <a:cubicBezTo>
                    <a:pt x="1417" y="190"/>
                    <a:pt x="1413" y="190"/>
                    <a:pt x="1410" y="189"/>
                  </a:cubicBezTo>
                  <a:cubicBezTo>
                    <a:pt x="1408" y="189"/>
                    <a:pt x="1407" y="189"/>
                    <a:pt x="1406" y="188"/>
                  </a:cubicBezTo>
                  <a:cubicBezTo>
                    <a:pt x="1406" y="187"/>
                    <a:pt x="1406" y="187"/>
                    <a:pt x="1406" y="187"/>
                  </a:cubicBezTo>
                  <a:cubicBezTo>
                    <a:pt x="1405" y="186"/>
                    <a:pt x="1405" y="186"/>
                    <a:pt x="1405" y="186"/>
                  </a:cubicBezTo>
                  <a:cubicBezTo>
                    <a:pt x="1405" y="185"/>
                    <a:pt x="1405" y="185"/>
                    <a:pt x="1405" y="185"/>
                  </a:cubicBezTo>
                  <a:cubicBezTo>
                    <a:pt x="1405" y="184"/>
                    <a:pt x="1405" y="184"/>
                    <a:pt x="1405" y="183"/>
                  </a:cubicBezTo>
                  <a:cubicBezTo>
                    <a:pt x="1404" y="182"/>
                    <a:pt x="1404" y="182"/>
                    <a:pt x="1404" y="182"/>
                  </a:cubicBezTo>
                  <a:cubicBezTo>
                    <a:pt x="1404" y="182"/>
                    <a:pt x="1404" y="182"/>
                    <a:pt x="1403" y="181"/>
                  </a:cubicBezTo>
                  <a:cubicBezTo>
                    <a:pt x="1402" y="181"/>
                    <a:pt x="1402" y="181"/>
                    <a:pt x="1402" y="181"/>
                  </a:cubicBezTo>
                  <a:cubicBezTo>
                    <a:pt x="1402" y="180"/>
                    <a:pt x="1402" y="180"/>
                    <a:pt x="1402" y="180"/>
                  </a:cubicBezTo>
                  <a:cubicBezTo>
                    <a:pt x="1398" y="176"/>
                    <a:pt x="1398" y="174"/>
                    <a:pt x="1401" y="169"/>
                  </a:cubicBezTo>
                  <a:cubicBezTo>
                    <a:pt x="1401" y="168"/>
                    <a:pt x="1401" y="168"/>
                    <a:pt x="1401" y="168"/>
                  </a:cubicBezTo>
                  <a:cubicBezTo>
                    <a:pt x="1401" y="168"/>
                    <a:pt x="1401" y="168"/>
                    <a:pt x="1401" y="168"/>
                  </a:cubicBezTo>
                  <a:cubicBezTo>
                    <a:pt x="1402" y="167"/>
                    <a:pt x="1402" y="167"/>
                    <a:pt x="1402" y="167"/>
                  </a:cubicBezTo>
                  <a:cubicBezTo>
                    <a:pt x="1402" y="167"/>
                    <a:pt x="1402" y="167"/>
                    <a:pt x="1402" y="167"/>
                  </a:cubicBezTo>
                  <a:cubicBezTo>
                    <a:pt x="1402" y="166"/>
                    <a:pt x="1402" y="166"/>
                    <a:pt x="1402" y="166"/>
                  </a:cubicBezTo>
                  <a:cubicBezTo>
                    <a:pt x="1401" y="165"/>
                    <a:pt x="1401" y="164"/>
                    <a:pt x="1401" y="164"/>
                  </a:cubicBezTo>
                  <a:cubicBezTo>
                    <a:pt x="1400" y="163"/>
                    <a:pt x="1400" y="163"/>
                    <a:pt x="1400" y="163"/>
                  </a:cubicBezTo>
                  <a:cubicBezTo>
                    <a:pt x="1399" y="163"/>
                    <a:pt x="1397" y="162"/>
                    <a:pt x="1396" y="160"/>
                  </a:cubicBezTo>
                  <a:cubicBezTo>
                    <a:pt x="1395" y="159"/>
                    <a:pt x="1395" y="158"/>
                    <a:pt x="1395" y="157"/>
                  </a:cubicBezTo>
                  <a:cubicBezTo>
                    <a:pt x="1395" y="156"/>
                    <a:pt x="1395" y="156"/>
                    <a:pt x="1395" y="156"/>
                  </a:cubicBezTo>
                  <a:cubicBezTo>
                    <a:pt x="1395" y="156"/>
                    <a:pt x="1396" y="155"/>
                    <a:pt x="1396" y="155"/>
                  </a:cubicBezTo>
                  <a:cubicBezTo>
                    <a:pt x="1396" y="152"/>
                    <a:pt x="1396" y="152"/>
                    <a:pt x="1396" y="152"/>
                  </a:cubicBezTo>
                  <a:cubicBezTo>
                    <a:pt x="1394" y="152"/>
                    <a:pt x="1394" y="152"/>
                    <a:pt x="1394" y="152"/>
                  </a:cubicBezTo>
                  <a:cubicBezTo>
                    <a:pt x="1393" y="152"/>
                    <a:pt x="1393" y="152"/>
                    <a:pt x="1393" y="152"/>
                  </a:cubicBezTo>
                  <a:cubicBezTo>
                    <a:pt x="1392" y="153"/>
                    <a:pt x="1392" y="153"/>
                    <a:pt x="1392" y="153"/>
                  </a:cubicBezTo>
                  <a:cubicBezTo>
                    <a:pt x="1392" y="153"/>
                    <a:pt x="1392" y="153"/>
                    <a:pt x="1392" y="153"/>
                  </a:cubicBezTo>
                  <a:cubicBezTo>
                    <a:pt x="1392" y="153"/>
                    <a:pt x="1391" y="153"/>
                    <a:pt x="1391" y="153"/>
                  </a:cubicBezTo>
                  <a:cubicBezTo>
                    <a:pt x="1391" y="153"/>
                    <a:pt x="1390" y="153"/>
                    <a:pt x="1390" y="153"/>
                  </a:cubicBezTo>
                  <a:cubicBezTo>
                    <a:pt x="1388" y="152"/>
                    <a:pt x="1388" y="152"/>
                    <a:pt x="1388" y="152"/>
                  </a:cubicBezTo>
                  <a:cubicBezTo>
                    <a:pt x="1371" y="135"/>
                    <a:pt x="1371" y="135"/>
                    <a:pt x="1371" y="135"/>
                  </a:cubicBezTo>
                  <a:cubicBezTo>
                    <a:pt x="1369" y="136"/>
                    <a:pt x="1369" y="136"/>
                    <a:pt x="1369" y="136"/>
                  </a:cubicBezTo>
                  <a:cubicBezTo>
                    <a:pt x="1368" y="137"/>
                    <a:pt x="1367" y="137"/>
                    <a:pt x="1367" y="137"/>
                  </a:cubicBezTo>
                  <a:cubicBezTo>
                    <a:pt x="1366" y="137"/>
                    <a:pt x="1366" y="137"/>
                    <a:pt x="1366" y="137"/>
                  </a:cubicBezTo>
                  <a:cubicBezTo>
                    <a:pt x="1357" y="133"/>
                    <a:pt x="1357" y="133"/>
                    <a:pt x="1357" y="133"/>
                  </a:cubicBezTo>
                  <a:cubicBezTo>
                    <a:pt x="1356" y="133"/>
                    <a:pt x="1355" y="133"/>
                    <a:pt x="1354" y="132"/>
                  </a:cubicBezTo>
                  <a:cubicBezTo>
                    <a:pt x="1353" y="132"/>
                    <a:pt x="1353" y="132"/>
                    <a:pt x="1353" y="132"/>
                  </a:cubicBezTo>
                  <a:cubicBezTo>
                    <a:pt x="1351" y="131"/>
                    <a:pt x="1349" y="130"/>
                    <a:pt x="1348" y="130"/>
                  </a:cubicBezTo>
                  <a:cubicBezTo>
                    <a:pt x="1347" y="130"/>
                    <a:pt x="1347" y="130"/>
                    <a:pt x="1347" y="130"/>
                  </a:cubicBezTo>
                  <a:cubicBezTo>
                    <a:pt x="1335" y="130"/>
                    <a:pt x="1335" y="130"/>
                    <a:pt x="1335" y="130"/>
                  </a:cubicBezTo>
                  <a:cubicBezTo>
                    <a:pt x="1332" y="130"/>
                    <a:pt x="1330" y="129"/>
                    <a:pt x="1328" y="127"/>
                  </a:cubicBezTo>
                  <a:cubicBezTo>
                    <a:pt x="1325" y="123"/>
                    <a:pt x="1325" y="123"/>
                    <a:pt x="1325" y="123"/>
                  </a:cubicBezTo>
                  <a:cubicBezTo>
                    <a:pt x="1322" y="118"/>
                    <a:pt x="1322" y="118"/>
                    <a:pt x="1322" y="118"/>
                  </a:cubicBezTo>
                  <a:cubicBezTo>
                    <a:pt x="1321" y="116"/>
                    <a:pt x="1320" y="114"/>
                    <a:pt x="1321" y="112"/>
                  </a:cubicBezTo>
                  <a:cubicBezTo>
                    <a:pt x="1321" y="110"/>
                    <a:pt x="1321" y="110"/>
                    <a:pt x="1321" y="110"/>
                  </a:cubicBezTo>
                  <a:cubicBezTo>
                    <a:pt x="1322" y="110"/>
                    <a:pt x="1322" y="109"/>
                    <a:pt x="1322" y="109"/>
                  </a:cubicBezTo>
                  <a:cubicBezTo>
                    <a:pt x="1322" y="108"/>
                    <a:pt x="1322" y="108"/>
                    <a:pt x="1322" y="108"/>
                  </a:cubicBezTo>
                  <a:cubicBezTo>
                    <a:pt x="1322" y="107"/>
                    <a:pt x="1322" y="107"/>
                    <a:pt x="1322" y="107"/>
                  </a:cubicBezTo>
                  <a:cubicBezTo>
                    <a:pt x="1322" y="107"/>
                    <a:pt x="1321" y="107"/>
                    <a:pt x="1321" y="106"/>
                  </a:cubicBezTo>
                  <a:cubicBezTo>
                    <a:pt x="1320" y="105"/>
                    <a:pt x="1319" y="104"/>
                    <a:pt x="1319" y="103"/>
                  </a:cubicBezTo>
                  <a:cubicBezTo>
                    <a:pt x="1312" y="86"/>
                    <a:pt x="1312" y="86"/>
                    <a:pt x="1312" y="86"/>
                  </a:cubicBezTo>
                  <a:cubicBezTo>
                    <a:pt x="1309" y="84"/>
                    <a:pt x="1309" y="84"/>
                    <a:pt x="1309" y="84"/>
                  </a:cubicBezTo>
                  <a:cubicBezTo>
                    <a:pt x="1309" y="83"/>
                    <a:pt x="1309" y="83"/>
                    <a:pt x="1309" y="83"/>
                  </a:cubicBezTo>
                  <a:cubicBezTo>
                    <a:pt x="1308" y="75"/>
                    <a:pt x="1308" y="75"/>
                    <a:pt x="1308" y="75"/>
                  </a:cubicBezTo>
                  <a:cubicBezTo>
                    <a:pt x="1307" y="75"/>
                    <a:pt x="1307" y="75"/>
                    <a:pt x="1307" y="75"/>
                  </a:cubicBezTo>
                  <a:cubicBezTo>
                    <a:pt x="1306" y="75"/>
                    <a:pt x="1304" y="74"/>
                    <a:pt x="1303" y="72"/>
                  </a:cubicBezTo>
                  <a:cubicBezTo>
                    <a:pt x="1303" y="71"/>
                    <a:pt x="1303" y="71"/>
                    <a:pt x="1303" y="71"/>
                  </a:cubicBezTo>
                  <a:cubicBezTo>
                    <a:pt x="1303" y="71"/>
                    <a:pt x="1303" y="71"/>
                    <a:pt x="1303" y="71"/>
                  </a:cubicBezTo>
                  <a:cubicBezTo>
                    <a:pt x="1302" y="68"/>
                    <a:pt x="1302" y="68"/>
                    <a:pt x="1302" y="68"/>
                  </a:cubicBezTo>
                  <a:cubicBezTo>
                    <a:pt x="1299" y="62"/>
                    <a:pt x="1297" y="58"/>
                    <a:pt x="1296" y="53"/>
                  </a:cubicBezTo>
                  <a:cubicBezTo>
                    <a:pt x="1295" y="52"/>
                    <a:pt x="1295" y="52"/>
                    <a:pt x="1295" y="52"/>
                  </a:cubicBezTo>
                  <a:cubicBezTo>
                    <a:pt x="1294" y="50"/>
                    <a:pt x="1294" y="48"/>
                    <a:pt x="1295" y="47"/>
                  </a:cubicBezTo>
                  <a:cubicBezTo>
                    <a:pt x="1295" y="46"/>
                    <a:pt x="1295" y="46"/>
                    <a:pt x="1295" y="46"/>
                  </a:cubicBezTo>
                  <a:cubicBezTo>
                    <a:pt x="1295" y="46"/>
                    <a:pt x="1295" y="46"/>
                    <a:pt x="1295" y="46"/>
                  </a:cubicBezTo>
                  <a:cubicBezTo>
                    <a:pt x="1295" y="45"/>
                    <a:pt x="1295" y="45"/>
                    <a:pt x="1295" y="45"/>
                  </a:cubicBezTo>
                  <a:cubicBezTo>
                    <a:pt x="1295" y="45"/>
                    <a:pt x="1295" y="45"/>
                    <a:pt x="1295" y="45"/>
                  </a:cubicBezTo>
                  <a:cubicBezTo>
                    <a:pt x="1294" y="42"/>
                    <a:pt x="1290" y="38"/>
                    <a:pt x="1288" y="36"/>
                  </a:cubicBezTo>
                  <a:cubicBezTo>
                    <a:pt x="1288" y="35"/>
                    <a:pt x="1288" y="35"/>
                    <a:pt x="1288" y="35"/>
                  </a:cubicBezTo>
                  <a:cubicBezTo>
                    <a:pt x="1287" y="35"/>
                    <a:pt x="1286" y="34"/>
                    <a:pt x="1286" y="33"/>
                  </a:cubicBezTo>
                  <a:cubicBezTo>
                    <a:pt x="1284" y="31"/>
                    <a:pt x="1284" y="31"/>
                    <a:pt x="1284" y="31"/>
                  </a:cubicBezTo>
                  <a:cubicBezTo>
                    <a:pt x="1282" y="29"/>
                    <a:pt x="1282" y="27"/>
                    <a:pt x="1284" y="24"/>
                  </a:cubicBezTo>
                  <a:cubicBezTo>
                    <a:pt x="1285" y="24"/>
                    <a:pt x="1285" y="24"/>
                    <a:pt x="1285" y="24"/>
                  </a:cubicBezTo>
                  <a:cubicBezTo>
                    <a:pt x="1284" y="24"/>
                    <a:pt x="1284" y="24"/>
                    <a:pt x="1284" y="24"/>
                  </a:cubicBezTo>
                  <a:cubicBezTo>
                    <a:pt x="1284" y="24"/>
                    <a:pt x="1283" y="23"/>
                    <a:pt x="1282" y="22"/>
                  </a:cubicBezTo>
                  <a:cubicBezTo>
                    <a:pt x="1281" y="22"/>
                    <a:pt x="1281" y="22"/>
                    <a:pt x="1281" y="22"/>
                  </a:cubicBezTo>
                  <a:cubicBezTo>
                    <a:pt x="1275" y="17"/>
                    <a:pt x="1275" y="17"/>
                    <a:pt x="1275" y="17"/>
                  </a:cubicBezTo>
                  <a:cubicBezTo>
                    <a:pt x="1275" y="17"/>
                    <a:pt x="1275" y="17"/>
                    <a:pt x="1275" y="17"/>
                  </a:cubicBezTo>
                  <a:cubicBezTo>
                    <a:pt x="1274" y="16"/>
                    <a:pt x="1274" y="16"/>
                    <a:pt x="1274" y="16"/>
                  </a:cubicBezTo>
                  <a:cubicBezTo>
                    <a:pt x="1270" y="15"/>
                    <a:pt x="1270" y="15"/>
                    <a:pt x="1270" y="15"/>
                  </a:cubicBezTo>
                  <a:cubicBezTo>
                    <a:pt x="1270" y="15"/>
                    <a:pt x="1270" y="14"/>
                    <a:pt x="1269" y="14"/>
                  </a:cubicBezTo>
                  <a:cubicBezTo>
                    <a:pt x="1269" y="14"/>
                    <a:pt x="1269" y="14"/>
                    <a:pt x="1269" y="14"/>
                  </a:cubicBezTo>
                  <a:cubicBezTo>
                    <a:pt x="1268" y="14"/>
                    <a:pt x="1268" y="14"/>
                    <a:pt x="1268" y="14"/>
                  </a:cubicBezTo>
                  <a:cubicBezTo>
                    <a:pt x="1267" y="13"/>
                    <a:pt x="1267" y="13"/>
                    <a:pt x="1267" y="13"/>
                  </a:cubicBezTo>
                  <a:cubicBezTo>
                    <a:pt x="1266" y="13"/>
                    <a:pt x="1266" y="13"/>
                    <a:pt x="1266" y="13"/>
                  </a:cubicBezTo>
                  <a:cubicBezTo>
                    <a:pt x="1266" y="12"/>
                    <a:pt x="1265" y="12"/>
                    <a:pt x="1264" y="12"/>
                  </a:cubicBezTo>
                  <a:cubicBezTo>
                    <a:pt x="1264" y="12"/>
                    <a:pt x="1264" y="12"/>
                    <a:pt x="1264" y="12"/>
                  </a:cubicBezTo>
                  <a:cubicBezTo>
                    <a:pt x="1264" y="12"/>
                    <a:pt x="1262" y="12"/>
                    <a:pt x="1261" y="12"/>
                  </a:cubicBezTo>
                  <a:cubicBezTo>
                    <a:pt x="1261" y="13"/>
                    <a:pt x="1261" y="13"/>
                    <a:pt x="1261" y="13"/>
                  </a:cubicBezTo>
                  <a:cubicBezTo>
                    <a:pt x="1260" y="13"/>
                    <a:pt x="1260" y="13"/>
                    <a:pt x="1260" y="13"/>
                  </a:cubicBezTo>
                  <a:cubicBezTo>
                    <a:pt x="1259" y="13"/>
                    <a:pt x="1259" y="13"/>
                    <a:pt x="1258" y="13"/>
                  </a:cubicBezTo>
                  <a:cubicBezTo>
                    <a:pt x="1253" y="12"/>
                    <a:pt x="1253" y="12"/>
                    <a:pt x="1253" y="12"/>
                  </a:cubicBezTo>
                  <a:cubicBezTo>
                    <a:pt x="1252" y="12"/>
                    <a:pt x="1252" y="12"/>
                    <a:pt x="1251" y="12"/>
                  </a:cubicBezTo>
                  <a:cubicBezTo>
                    <a:pt x="1251" y="12"/>
                    <a:pt x="1251" y="12"/>
                    <a:pt x="1251" y="12"/>
                  </a:cubicBezTo>
                  <a:cubicBezTo>
                    <a:pt x="1238" y="6"/>
                    <a:pt x="1238" y="6"/>
                    <a:pt x="1238" y="6"/>
                  </a:cubicBezTo>
                  <a:cubicBezTo>
                    <a:pt x="1235" y="4"/>
                    <a:pt x="1232" y="2"/>
                    <a:pt x="1229" y="1"/>
                  </a:cubicBezTo>
                  <a:cubicBezTo>
                    <a:pt x="1226" y="0"/>
                    <a:pt x="1226" y="0"/>
                    <a:pt x="1226" y="0"/>
                  </a:cubicBezTo>
                  <a:cubicBezTo>
                    <a:pt x="1225" y="0"/>
                    <a:pt x="1225" y="0"/>
                    <a:pt x="1225" y="0"/>
                  </a:cubicBezTo>
                  <a:cubicBezTo>
                    <a:pt x="1223" y="0"/>
                    <a:pt x="1223" y="0"/>
                    <a:pt x="1223" y="0"/>
                  </a:cubicBezTo>
                  <a:cubicBezTo>
                    <a:pt x="1219" y="0"/>
                    <a:pt x="1219" y="0"/>
                    <a:pt x="1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Rectangle 495"/>
            <p:cNvSpPr>
              <a:spLocks noChangeArrowheads="1"/>
            </p:cNvSpPr>
            <p:nvPr/>
          </p:nvSpPr>
          <p:spPr bwMode="auto">
            <a:xfrm>
              <a:off x="4581648" y="3739262"/>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496"/>
            <p:cNvSpPr/>
            <p:nvPr/>
          </p:nvSpPr>
          <p:spPr bwMode="auto">
            <a:xfrm flipH="1">
              <a:off x="4581648" y="373926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497"/>
            <p:cNvSpPr/>
            <p:nvPr/>
          </p:nvSpPr>
          <p:spPr bwMode="auto">
            <a:xfrm>
              <a:off x="4521207" y="3492127"/>
              <a:ext cx="714543" cy="607093"/>
            </a:xfrm>
            <a:custGeom>
              <a:gdLst>
                <a:gd name="T0" fmla="*/ 176 w 225"/>
                <a:gd name="T1" fmla="*/ 10 h 191"/>
                <a:gd name="T2" fmla="*/ 166 w 225"/>
                <a:gd name="T3" fmla="*/ 7 h 191"/>
                <a:gd name="T4" fmla="*/ 152 w 225"/>
                <a:gd name="T5" fmla="*/ 10 h 191"/>
                <a:gd name="T6" fmla="*/ 130 w 225"/>
                <a:gd name="T7" fmla="*/ 21 h 191"/>
                <a:gd name="T8" fmla="*/ 125 w 225"/>
                <a:gd name="T9" fmla="*/ 28 h 191"/>
                <a:gd name="T10" fmla="*/ 119 w 225"/>
                <a:gd name="T11" fmla="*/ 31 h 191"/>
                <a:gd name="T12" fmla="*/ 116 w 225"/>
                <a:gd name="T13" fmla="*/ 38 h 191"/>
                <a:gd name="T14" fmla="*/ 92 w 225"/>
                <a:gd name="T15" fmla="*/ 44 h 191"/>
                <a:gd name="T16" fmla="*/ 90 w 225"/>
                <a:gd name="T17" fmla="*/ 46 h 191"/>
                <a:gd name="T18" fmla="*/ 99 w 225"/>
                <a:gd name="T19" fmla="*/ 58 h 191"/>
                <a:gd name="T20" fmla="*/ 94 w 225"/>
                <a:gd name="T21" fmla="*/ 70 h 191"/>
                <a:gd name="T22" fmla="*/ 91 w 225"/>
                <a:gd name="T23" fmla="*/ 69 h 191"/>
                <a:gd name="T24" fmla="*/ 76 w 225"/>
                <a:gd name="T25" fmla="*/ 70 h 191"/>
                <a:gd name="T26" fmla="*/ 64 w 225"/>
                <a:gd name="T27" fmla="*/ 70 h 191"/>
                <a:gd name="T28" fmla="*/ 52 w 225"/>
                <a:gd name="T29" fmla="*/ 69 h 191"/>
                <a:gd name="T30" fmla="*/ 36 w 225"/>
                <a:gd name="T31" fmla="*/ 71 h 191"/>
                <a:gd name="T32" fmla="*/ 25 w 225"/>
                <a:gd name="T33" fmla="*/ 69 h 191"/>
                <a:gd name="T34" fmla="*/ 11 w 225"/>
                <a:gd name="T35" fmla="*/ 59 h 191"/>
                <a:gd name="T36" fmla="*/ 15 w 225"/>
                <a:gd name="T37" fmla="*/ 52 h 191"/>
                <a:gd name="T38" fmla="*/ 16 w 225"/>
                <a:gd name="T39" fmla="*/ 40 h 191"/>
                <a:gd name="T40" fmla="*/ 13 w 225"/>
                <a:gd name="T41" fmla="*/ 36 h 191"/>
                <a:gd name="T42" fmla="*/ 1 w 225"/>
                <a:gd name="T43" fmla="*/ 59 h 191"/>
                <a:gd name="T44" fmla="*/ 5 w 225"/>
                <a:gd name="T45" fmla="*/ 67 h 191"/>
                <a:gd name="T46" fmla="*/ 14 w 225"/>
                <a:gd name="T47" fmla="*/ 75 h 191"/>
                <a:gd name="T48" fmla="*/ 25 w 225"/>
                <a:gd name="T49" fmla="*/ 75 h 191"/>
                <a:gd name="T50" fmla="*/ 33 w 225"/>
                <a:gd name="T51" fmla="*/ 85 h 191"/>
                <a:gd name="T52" fmla="*/ 43 w 225"/>
                <a:gd name="T53" fmla="*/ 85 h 191"/>
                <a:gd name="T54" fmla="*/ 45 w 225"/>
                <a:gd name="T55" fmla="*/ 104 h 191"/>
                <a:gd name="T56" fmla="*/ 56 w 225"/>
                <a:gd name="T57" fmla="*/ 107 h 191"/>
                <a:gd name="T58" fmla="*/ 64 w 225"/>
                <a:gd name="T59" fmla="*/ 107 h 191"/>
                <a:gd name="T60" fmla="*/ 75 w 225"/>
                <a:gd name="T61" fmla="*/ 106 h 191"/>
                <a:gd name="T62" fmla="*/ 96 w 225"/>
                <a:gd name="T63" fmla="*/ 107 h 191"/>
                <a:gd name="T64" fmla="*/ 110 w 225"/>
                <a:gd name="T65" fmla="*/ 115 h 191"/>
                <a:gd name="T66" fmla="*/ 101 w 225"/>
                <a:gd name="T67" fmla="*/ 130 h 191"/>
                <a:gd name="T68" fmla="*/ 97 w 225"/>
                <a:gd name="T69" fmla="*/ 133 h 191"/>
                <a:gd name="T70" fmla="*/ 89 w 225"/>
                <a:gd name="T71" fmla="*/ 139 h 191"/>
                <a:gd name="T72" fmla="*/ 79 w 225"/>
                <a:gd name="T73" fmla="*/ 149 h 191"/>
                <a:gd name="T74" fmla="*/ 84 w 225"/>
                <a:gd name="T75" fmla="*/ 158 h 191"/>
                <a:gd name="T76" fmla="*/ 90 w 225"/>
                <a:gd name="T77" fmla="*/ 157 h 191"/>
                <a:gd name="T78" fmla="*/ 102 w 225"/>
                <a:gd name="T79" fmla="*/ 145 h 191"/>
                <a:gd name="T80" fmla="*/ 115 w 225"/>
                <a:gd name="T81" fmla="*/ 163 h 191"/>
                <a:gd name="T82" fmla="*/ 114 w 225"/>
                <a:gd name="T83" fmla="*/ 191 h 191"/>
                <a:gd name="T84" fmla="*/ 121 w 225"/>
                <a:gd name="T85" fmla="*/ 165 h 191"/>
                <a:gd name="T86" fmla="*/ 129 w 225"/>
                <a:gd name="T87" fmla="*/ 137 h 191"/>
                <a:gd name="T88" fmla="*/ 168 w 225"/>
                <a:gd name="T89" fmla="*/ 93 h 191"/>
                <a:gd name="T90" fmla="*/ 183 w 225"/>
                <a:gd name="T91" fmla="*/ 63 h 191"/>
                <a:gd name="T92" fmla="*/ 214 w 225"/>
                <a:gd name="T93" fmla="*/ 49 h 191"/>
                <a:gd name="T94" fmla="*/ 224 w 225"/>
                <a:gd name="T95" fmla="*/ 31 h 191"/>
                <a:gd name="T96" fmla="*/ 216 w 225"/>
                <a:gd name="T97" fmla="*/ 28 h 191"/>
                <a:gd name="T98" fmla="*/ 207 w 225"/>
                <a:gd name="T99" fmla="*/ 28 h 191"/>
                <a:gd name="T100" fmla="*/ 200 w 225"/>
                <a:gd name="T101" fmla="*/ 21 h 191"/>
                <a:gd name="T102" fmla="*/ 206 w 225"/>
                <a:gd name="T103" fmla="*/ 14 h 191"/>
                <a:gd name="T104" fmla="*/ 196 w 225"/>
                <a:gd name="T105" fmla="*/ 17 h 191"/>
                <a:gd name="T106" fmla="*/ 198 w 225"/>
                <a:gd name="T107" fmla="*/ 3 h 1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 h="191">
                  <a:moveTo>
                    <a:pt x="196" y="0"/>
                  </a:moveTo>
                  <a:cubicBezTo>
                    <a:pt x="195" y="0"/>
                    <a:pt x="192" y="2"/>
                    <a:pt x="186" y="7"/>
                  </a:cubicBezTo>
                  <a:cubicBezTo>
                    <a:pt x="184" y="8"/>
                    <a:pt x="184" y="8"/>
                    <a:pt x="184" y="8"/>
                  </a:cubicBezTo>
                  <a:cubicBezTo>
                    <a:pt x="184" y="9"/>
                    <a:pt x="183" y="9"/>
                    <a:pt x="183" y="9"/>
                  </a:cubicBezTo>
                  <a:cubicBezTo>
                    <a:pt x="181" y="10"/>
                    <a:pt x="180" y="10"/>
                    <a:pt x="179" y="10"/>
                  </a:cubicBezTo>
                  <a:cubicBezTo>
                    <a:pt x="178" y="10"/>
                    <a:pt x="176" y="10"/>
                    <a:pt x="176" y="10"/>
                  </a:cubicBezTo>
                  <a:cubicBezTo>
                    <a:pt x="175" y="9"/>
                    <a:pt x="174" y="9"/>
                    <a:pt x="173" y="9"/>
                  </a:cubicBezTo>
                  <a:cubicBezTo>
                    <a:pt x="173" y="8"/>
                    <a:pt x="173" y="8"/>
                    <a:pt x="173" y="8"/>
                  </a:cubicBezTo>
                  <a:cubicBezTo>
                    <a:pt x="172" y="8"/>
                    <a:pt x="171" y="8"/>
                    <a:pt x="171" y="8"/>
                  </a:cubicBezTo>
                  <a:cubicBezTo>
                    <a:pt x="170" y="7"/>
                    <a:pt x="170" y="7"/>
                    <a:pt x="170" y="7"/>
                  </a:cubicBezTo>
                  <a:cubicBezTo>
                    <a:pt x="169" y="7"/>
                    <a:pt x="169" y="7"/>
                    <a:pt x="169" y="7"/>
                  </a:cubicBezTo>
                  <a:cubicBezTo>
                    <a:pt x="168" y="7"/>
                    <a:pt x="167" y="7"/>
                    <a:pt x="166" y="7"/>
                  </a:cubicBezTo>
                  <a:cubicBezTo>
                    <a:pt x="164" y="6"/>
                    <a:pt x="163" y="5"/>
                    <a:pt x="162" y="4"/>
                  </a:cubicBezTo>
                  <a:cubicBezTo>
                    <a:pt x="162" y="4"/>
                    <a:pt x="162" y="4"/>
                    <a:pt x="162" y="4"/>
                  </a:cubicBezTo>
                  <a:cubicBezTo>
                    <a:pt x="161" y="3"/>
                    <a:pt x="161" y="3"/>
                    <a:pt x="161" y="3"/>
                  </a:cubicBezTo>
                  <a:cubicBezTo>
                    <a:pt x="161" y="4"/>
                    <a:pt x="161" y="4"/>
                    <a:pt x="160" y="4"/>
                  </a:cubicBezTo>
                  <a:cubicBezTo>
                    <a:pt x="159" y="5"/>
                    <a:pt x="158" y="6"/>
                    <a:pt x="157" y="6"/>
                  </a:cubicBezTo>
                  <a:cubicBezTo>
                    <a:pt x="155" y="7"/>
                    <a:pt x="153" y="9"/>
                    <a:pt x="152" y="10"/>
                  </a:cubicBezTo>
                  <a:cubicBezTo>
                    <a:pt x="151" y="11"/>
                    <a:pt x="151" y="11"/>
                    <a:pt x="151" y="11"/>
                  </a:cubicBezTo>
                  <a:cubicBezTo>
                    <a:pt x="151" y="11"/>
                    <a:pt x="151" y="11"/>
                    <a:pt x="150" y="12"/>
                  </a:cubicBezTo>
                  <a:cubicBezTo>
                    <a:pt x="148" y="14"/>
                    <a:pt x="146" y="16"/>
                    <a:pt x="143" y="17"/>
                  </a:cubicBezTo>
                  <a:cubicBezTo>
                    <a:pt x="139" y="18"/>
                    <a:pt x="139" y="18"/>
                    <a:pt x="139" y="18"/>
                  </a:cubicBezTo>
                  <a:cubicBezTo>
                    <a:pt x="137" y="19"/>
                    <a:pt x="134" y="20"/>
                    <a:pt x="132" y="20"/>
                  </a:cubicBezTo>
                  <a:cubicBezTo>
                    <a:pt x="131" y="20"/>
                    <a:pt x="131" y="21"/>
                    <a:pt x="130" y="21"/>
                  </a:cubicBezTo>
                  <a:cubicBezTo>
                    <a:pt x="129" y="21"/>
                    <a:pt x="129" y="21"/>
                    <a:pt x="129" y="21"/>
                  </a:cubicBezTo>
                  <a:cubicBezTo>
                    <a:pt x="129" y="21"/>
                    <a:pt x="128" y="21"/>
                    <a:pt x="128" y="23"/>
                  </a:cubicBezTo>
                  <a:cubicBezTo>
                    <a:pt x="127" y="25"/>
                    <a:pt x="127" y="25"/>
                    <a:pt x="127" y="25"/>
                  </a:cubicBezTo>
                  <a:cubicBezTo>
                    <a:pt x="127" y="25"/>
                    <a:pt x="126" y="26"/>
                    <a:pt x="126" y="27"/>
                  </a:cubicBezTo>
                  <a:cubicBezTo>
                    <a:pt x="125" y="27"/>
                    <a:pt x="125" y="28"/>
                    <a:pt x="125" y="28"/>
                  </a:cubicBezTo>
                  <a:cubicBezTo>
                    <a:pt x="125" y="28"/>
                    <a:pt x="125" y="28"/>
                    <a:pt x="125" y="28"/>
                  </a:cubicBezTo>
                  <a:cubicBezTo>
                    <a:pt x="124" y="29"/>
                    <a:pt x="124" y="29"/>
                    <a:pt x="124" y="29"/>
                  </a:cubicBezTo>
                  <a:cubicBezTo>
                    <a:pt x="124" y="29"/>
                    <a:pt x="124" y="29"/>
                    <a:pt x="124" y="29"/>
                  </a:cubicBezTo>
                  <a:cubicBezTo>
                    <a:pt x="123" y="29"/>
                    <a:pt x="123" y="29"/>
                    <a:pt x="123" y="29"/>
                  </a:cubicBezTo>
                  <a:cubicBezTo>
                    <a:pt x="123" y="29"/>
                    <a:pt x="123" y="29"/>
                    <a:pt x="123" y="29"/>
                  </a:cubicBezTo>
                  <a:cubicBezTo>
                    <a:pt x="122" y="30"/>
                    <a:pt x="121" y="30"/>
                    <a:pt x="120" y="31"/>
                  </a:cubicBezTo>
                  <a:cubicBezTo>
                    <a:pt x="119" y="31"/>
                    <a:pt x="119" y="31"/>
                    <a:pt x="119" y="31"/>
                  </a:cubicBezTo>
                  <a:cubicBezTo>
                    <a:pt x="118" y="31"/>
                    <a:pt x="118" y="32"/>
                    <a:pt x="117" y="32"/>
                  </a:cubicBezTo>
                  <a:cubicBezTo>
                    <a:pt x="116" y="33"/>
                    <a:pt x="116" y="33"/>
                    <a:pt x="116" y="33"/>
                  </a:cubicBezTo>
                  <a:cubicBezTo>
                    <a:pt x="116" y="34"/>
                    <a:pt x="116" y="34"/>
                    <a:pt x="116" y="34"/>
                  </a:cubicBezTo>
                  <a:cubicBezTo>
                    <a:pt x="117" y="35"/>
                    <a:pt x="117" y="35"/>
                    <a:pt x="117" y="35"/>
                  </a:cubicBezTo>
                  <a:cubicBezTo>
                    <a:pt x="116" y="36"/>
                    <a:pt x="116" y="36"/>
                    <a:pt x="116" y="36"/>
                  </a:cubicBezTo>
                  <a:cubicBezTo>
                    <a:pt x="116" y="37"/>
                    <a:pt x="116" y="37"/>
                    <a:pt x="116" y="38"/>
                  </a:cubicBezTo>
                  <a:cubicBezTo>
                    <a:pt x="116" y="38"/>
                    <a:pt x="116" y="38"/>
                    <a:pt x="116" y="38"/>
                  </a:cubicBezTo>
                  <a:cubicBezTo>
                    <a:pt x="115" y="39"/>
                    <a:pt x="113" y="41"/>
                    <a:pt x="110" y="42"/>
                  </a:cubicBezTo>
                  <a:cubicBezTo>
                    <a:pt x="110" y="42"/>
                    <a:pt x="110" y="42"/>
                    <a:pt x="110" y="42"/>
                  </a:cubicBezTo>
                  <a:cubicBezTo>
                    <a:pt x="109" y="42"/>
                    <a:pt x="108" y="43"/>
                    <a:pt x="107" y="43"/>
                  </a:cubicBezTo>
                  <a:cubicBezTo>
                    <a:pt x="94" y="44"/>
                    <a:pt x="94" y="44"/>
                    <a:pt x="94" y="44"/>
                  </a:cubicBezTo>
                  <a:cubicBezTo>
                    <a:pt x="94" y="44"/>
                    <a:pt x="93" y="44"/>
                    <a:pt x="92" y="44"/>
                  </a:cubicBezTo>
                  <a:cubicBezTo>
                    <a:pt x="92" y="44"/>
                    <a:pt x="90" y="44"/>
                    <a:pt x="90" y="44"/>
                  </a:cubicBezTo>
                  <a:cubicBezTo>
                    <a:pt x="90" y="44"/>
                    <a:pt x="90" y="44"/>
                    <a:pt x="90" y="44"/>
                  </a:cubicBezTo>
                  <a:cubicBezTo>
                    <a:pt x="89" y="45"/>
                    <a:pt x="89" y="45"/>
                    <a:pt x="89" y="45"/>
                  </a:cubicBezTo>
                  <a:cubicBezTo>
                    <a:pt x="89" y="45"/>
                    <a:pt x="89" y="45"/>
                    <a:pt x="89" y="45"/>
                  </a:cubicBezTo>
                  <a:cubicBezTo>
                    <a:pt x="89" y="46"/>
                    <a:pt x="89" y="46"/>
                    <a:pt x="89" y="46"/>
                  </a:cubicBezTo>
                  <a:cubicBezTo>
                    <a:pt x="90" y="46"/>
                    <a:pt x="90" y="46"/>
                    <a:pt x="90" y="46"/>
                  </a:cubicBezTo>
                  <a:cubicBezTo>
                    <a:pt x="90" y="47"/>
                    <a:pt x="91" y="47"/>
                    <a:pt x="91" y="47"/>
                  </a:cubicBezTo>
                  <a:cubicBezTo>
                    <a:pt x="92" y="47"/>
                    <a:pt x="93" y="47"/>
                    <a:pt x="94" y="48"/>
                  </a:cubicBezTo>
                  <a:cubicBezTo>
                    <a:pt x="96" y="48"/>
                    <a:pt x="97" y="49"/>
                    <a:pt x="99" y="49"/>
                  </a:cubicBezTo>
                  <a:cubicBezTo>
                    <a:pt x="100" y="50"/>
                    <a:pt x="100" y="51"/>
                    <a:pt x="101" y="53"/>
                  </a:cubicBezTo>
                  <a:cubicBezTo>
                    <a:pt x="102" y="55"/>
                    <a:pt x="100" y="57"/>
                    <a:pt x="100" y="58"/>
                  </a:cubicBezTo>
                  <a:cubicBezTo>
                    <a:pt x="99" y="58"/>
                    <a:pt x="99" y="58"/>
                    <a:pt x="99" y="58"/>
                  </a:cubicBezTo>
                  <a:cubicBezTo>
                    <a:pt x="99" y="59"/>
                    <a:pt x="100" y="59"/>
                    <a:pt x="100" y="60"/>
                  </a:cubicBezTo>
                  <a:cubicBezTo>
                    <a:pt x="100" y="60"/>
                    <a:pt x="100" y="60"/>
                    <a:pt x="100" y="60"/>
                  </a:cubicBezTo>
                  <a:cubicBezTo>
                    <a:pt x="102" y="62"/>
                    <a:pt x="102" y="65"/>
                    <a:pt x="100" y="68"/>
                  </a:cubicBezTo>
                  <a:cubicBezTo>
                    <a:pt x="98" y="69"/>
                    <a:pt x="97" y="69"/>
                    <a:pt x="96" y="69"/>
                  </a:cubicBezTo>
                  <a:cubicBezTo>
                    <a:pt x="95" y="70"/>
                    <a:pt x="95" y="70"/>
                    <a:pt x="95" y="70"/>
                  </a:cubicBezTo>
                  <a:cubicBezTo>
                    <a:pt x="94" y="70"/>
                    <a:pt x="94" y="70"/>
                    <a:pt x="94" y="70"/>
                  </a:cubicBezTo>
                  <a:cubicBezTo>
                    <a:pt x="93" y="70"/>
                    <a:pt x="93" y="70"/>
                    <a:pt x="93" y="70"/>
                  </a:cubicBezTo>
                  <a:cubicBezTo>
                    <a:pt x="93" y="70"/>
                    <a:pt x="92" y="70"/>
                    <a:pt x="92" y="70"/>
                  </a:cubicBezTo>
                  <a:cubicBezTo>
                    <a:pt x="91" y="69"/>
                    <a:pt x="91" y="69"/>
                    <a:pt x="91" y="69"/>
                  </a:cubicBezTo>
                  <a:cubicBezTo>
                    <a:pt x="91" y="69"/>
                    <a:pt x="91" y="69"/>
                    <a:pt x="91" y="69"/>
                  </a:cubicBezTo>
                  <a:cubicBezTo>
                    <a:pt x="91" y="69"/>
                    <a:pt x="91" y="69"/>
                    <a:pt x="91" y="69"/>
                  </a:cubicBezTo>
                  <a:cubicBezTo>
                    <a:pt x="91" y="69"/>
                    <a:pt x="91" y="69"/>
                    <a:pt x="91" y="69"/>
                  </a:cubicBezTo>
                  <a:cubicBezTo>
                    <a:pt x="89" y="69"/>
                    <a:pt x="88" y="70"/>
                    <a:pt x="87" y="70"/>
                  </a:cubicBezTo>
                  <a:cubicBezTo>
                    <a:pt x="86" y="70"/>
                    <a:pt x="86" y="70"/>
                    <a:pt x="85" y="70"/>
                  </a:cubicBezTo>
                  <a:cubicBezTo>
                    <a:pt x="84" y="70"/>
                    <a:pt x="84" y="70"/>
                    <a:pt x="84" y="70"/>
                  </a:cubicBezTo>
                  <a:cubicBezTo>
                    <a:pt x="84" y="70"/>
                    <a:pt x="83" y="70"/>
                    <a:pt x="83" y="70"/>
                  </a:cubicBezTo>
                  <a:cubicBezTo>
                    <a:pt x="81" y="70"/>
                    <a:pt x="81" y="70"/>
                    <a:pt x="81" y="70"/>
                  </a:cubicBezTo>
                  <a:cubicBezTo>
                    <a:pt x="79" y="70"/>
                    <a:pt x="77" y="70"/>
                    <a:pt x="76" y="70"/>
                  </a:cubicBezTo>
                  <a:cubicBezTo>
                    <a:pt x="75" y="70"/>
                    <a:pt x="75" y="70"/>
                    <a:pt x="75" y="70"/>
                  </a:cubicBezTo>
                  <a:cubicBezTo>
                    <a:pt x="73" y="70"/>
                    <a:pt x="71" y="71"/>
                    <a:pt x="69" y="71"/>
                  </a:cubicBezTo>
                  <a:cubicBezTo>
                    <a:pt x="68" y="71"/>
                    <a:pt x="68" y="71"/>
                    <a:pt x="68" y="71"/>
                  </a:cubicBezTo>
                  <a:cubicBezTo>
                    <a:pt x="67" y="71"/>
                    <a:pt x="67" y="71"/>
                    <a:pt x="66" y="70"/>
                  </a:cubicBezTo>
                  <a:cubicBezTo>
                    <a:pt x="65" y="70"/>
                    <a:pt x="65" y="70"/>
                    <a:pt x="65" y="70"/>
                  </a:cubicBezTo>
                  <a:cubicBezTo>
                    <a:pt x="65" y="70"/>
                    <a:pt x="64" y="70"/>
                    <a:pt x="64" y="70"/>
                  </a:cubicBezTo>
                  <a:cubicBezTo>
                    <a:pt x="62" y="70"/>
                    <a:pt x="61" y="70"/>
                    <a:pt x="60" y="69"/>
                  </a:cubicBezTo>
                  <a:cubicBezTo>
                    <a:pt x="59" y="69"/>
                    <a:pt x="59" y="69"/>
                    <a:pt x="58" y="69"/>
                  </a:cubicBezTo>
                  <a:cubicBezTo>
                    <a:pt x="57" y="69"/>
                    <a:pt x="56" y="68"/>
                    <a:pt x="56" y="68"/>
                  </a:cubicBezTo>
                  <a:cubicBezTo>
                    <a:pt x="56" y="68"/>
                    <a:pt x="56" y="68"/>
                    <a:pt x="56" y="68"/>
                  </a:cubicBezTo>
                  <a:cubicBezTo>
                    <a:pt x="55" y="68"/>
                    <a:pt x="55" y="68"/>
                    <a:pt x="54" y="69"/>
                  </a:cubicBezTo>
                  <a:cubicBezTo>
                    <a:pt x="52" y="69"/>
                    <a:pt x="52" y="69"/>
                    <a:pt x="52" y="69"/>
                  </a:cubicBezTo>
                  <a:cubicBezTo>
                    <a:pt x="49" y="71"/>
                    <a:pt x="46" y="73"/>
                    <a:pt x="43" y="73"/>
                  </a:cubicBezTo>
                  <a:cubicBezTo>
                    <a:pt x="42" y="72"/>
                    <a:pt x="42" y="72"/>
                    <a:pt x="42" y="72"/>
                  </a:cubicBezTo>
                  <a:cubicBezTo>
                    <a:pt x="41" y="72"/>
                    <a:pt x="40" y="72"/>
                    <a:pt x="38" y="72"/>
                  </a:cubicBezTo>
                  <a:cubicBezTo>
                    <a:pt x="37" y="71"/>
                    <a:pt x="37" y="71"/>
                    <a:pt x="37" y="71"/>
                  </a:cubicBezTo>
                  <a:cubicBezTo>
                    <a:pt x="37" y="71"/>
                    <a:pt x="37" y="71"/>
                    <a:pt x="37" y="71"/>
                  </a:cubicBezTo>
                  <a:cubicBezTo>
                    <a:pt x="36" y="71"/>
                    <a:pt x="36" y="71"/>
                    <a:pt x="36" y="71"/>
                  </a:cubicBezTo>
                  <a:cubicBezTo>
                    <a:pt x="35" y="70"/>
                    <a:pt x="34" y="70"/>
                    <a:pt x="33" y="69"/>
                  </a:cubicBezTo>
                  <a:cubicBezTo>
                    <a:pt x="32" y="69"/>
                    <a:pt x="32" y="69"/>
                    <a:pt x="32" y="69"/>
                  </a:cubicBezTo>
                  <a:cubicBezTo>
                    <a:pt x="31" y="69"/>
                    <a:pt x="31" y="69"/>
                    <a:pt x="30" y="69"/>
                  </a:cubicBezTo>
                  <a:cubicBezTo>
                    <a:pt x="30" y="69"/>
                    <a:pt x="30" y="69"/>
                    <a:pt x="29" y="69"/>
                  </a:cubicBezTo>
                  <a:cubicBezTo>
                    <a:pt x="28" y="69"/>
                    <a:pt x="28" y="69"/>
                    <a:pt x="28" y="69"/>
                  </a:cubicBezTo>
                  <a:cubicBezTo>
                    <a:pt x="27" y="69"/>
                    <a:pt x="26" y="69"/>
                    <a:pt x="25" y="69"/>
                  </a:cubicBezTo>
                  <a:cubicBezTo>
                    <a:pt x="24" y="68"/>
                    <a:pt x="23" y="68"/>
                    <a:pt x="22" y="67"/>
                  </a:cubicBezTo>
                  <a:cubicBezTo>
                    <a:pt x="20" y="67"/>
                    <a:pt x="20" y="66"/>
                    <a:pt x="19" y="65"/>
                  </a:cubicBezTo>
                  <a:cubicBezTo>
                    <a:pt x="18" y="64"/>
                    <a:pt x="18" y="64"/>
                    <a:pt x="18" y="64"/>
                  </a:cubicBezTo>
                  <a:cubicBezTo>
                    <a:pt x="17" y="63"/>
                    <a:pt x="17" y="62"/>
                    <a:pt x="16" y="61"/>
                  </a:cubicBezTo>
                  <a:cubicBezTo>
                    <a:pt x="16" y="61"/>
                    <a:pt x="15" y="61"/>
                    <a:pt x="15" y="61"/>
                  </a:cubicBezTo>
                  <a:cubicBezTo>
                    <a:pt x="11" y="59"/>
                    <a:pt x="11" y="59"/>
                    <a:pt x="11" y="59"/>
                  </a:cubicBezTo>
                  <a:cubicBezTo>
                    <a:pt x="14" y="56"/>
                    <a:pt x="14" y="56"/>
                    <a:pt x="14" y="56"/>
                  </a:cubicBezTo>
                  <a:cubicBezTo>
                    <a:pt x="15" y="55"/>
                    <a:pt x="15" y="54"/>
                    <a:pt x="16" y="54"/>
                  </a:cubicBezTo>
                  <a:cubicBezTo>
                    <a:pt x="16" y="53"/>
                    <a:pt x="16" y="53"/>
                    <a:pt x="16" y="53"/>
                  </a:cubicBezTo>
                  <a:cubicBezTo>
                    <a:pt x="16" y="53"/>
                    <a:pt x="16" y="53"/>
                    <a:pt x="16" y="53"/>
                  </a:cubicBezTo>
                  <a:cubicBezTo>
                    <a:pt x="16" y="53"/>
                    <a:pt x="16" y="53"/>
                    <a:pt x="16" y="53"/>
                  </a:cubicBezTo>
                  <a:cubicBezTo>
                    <a:pt x="15" y="52"/>
                    <a:pt x="15" y="52"/>
                    <a:pt x="15" y="52"/>
                  </a:cubicBezTo>
                  <a:cubicBezTo>
                    <a:pt x="15" y="51"/>
                    <a:pt x="14" y="50"/>
                    <a:pt x="14" y="50"/>
                  </a:cubicBezTo>
                  <a:cubicBezTo>
                    <a:pt x="14" y="49"/>
                    <a:pt x="14" y="49"/>
                    <a:pt x="14" y="49"/>
                  </a:cubicBezTo>
                  <a:cubicBezTo>
                    <a:pt x="14" y="47"/>
                    <a:pt x="14" y="45"/>
                    <a:pt x="15" y="44"/>
                  </a:cubicBezTo>
                  <a:cubicBezTo>
                    <a:pt x="15" y="42"/>
                    <a:pt x="15" y="42"/>
                    <a:pt x="15" y="42"/>
                  </a:cubicBezTo>
                  <a:cubicBezTo>
                    <a:pt x="16" y="42"/>
                    <a:pt x="16" y="41"/>
                    <a:pt x="16" y="41"/>
                  </a:cubicBezTo>
                  <a:cubicBezTo>
                    <a:pt x="16" y="40"/>
                    <a:pt x="16" y="40"/>
                    <a:pt x="16" y="40"/>
                  </a:cubicBezTo>
                  <a:cubicBezTo>
                    <a:pt x="10" y="39"/>
                    <a:pt x="10" y="39"/>
                    <a:pt x="10" y="39"/>
                  </a:cubicBezTo>
                  <a:cubicBezTo>
                    <a:pt x="16" y="38"/>
                    <a:pt x="16" y="38"/>
                    <a:pt x="16" y="38"/>
                  </a:cubicBezTo>
                  <a:cubicBezTo>
                    <a:pt x="16" y="38"/>
                    <a:pt x="16" y="37"/>
                    <a:pt x="16" y="37"/>
                  </a:cubicBezTo>
                  <a:cubicBezTo>
                    <a:pt x="15" y="37"/>
                    <a:pt x="15" y="37"/>
                    <a:pt x="15" y="37"/>
                  </a:cubicBezTo>
                  <a:cubicBezTo>
                    <a:pt x="15" y="36"/>
                    <a:pt x="15" y="36"/>
                    <a:pt x="14" y="36"/>
                  </a:cubicBezTo>
                  <a:cubicBezTo>
                    <a:pt x="13" y="36"/>
                    <a:pt x="13" y="36"/>
                    <a:pt x="13" y="36"/>
                  </a:cubicBezTo>
                  <a:cubicBezTo>
                    <a:pt x="12" y="36"/>
                    <a:pt x="12" y="36"/>
                    <a:pt x="12" y="36"/>
                  </a:cubicBezTo>
                  <a:cubicBezTo>
                    <a:pt x="10" y="37"/>
                    <a:pt x="8" y="38"/>
                    <a:pt x="6" y="39"/>
                  </a:cubicBezTo>
                  <a:cubicBezTo>
                    <a:pt x="5" y="40"/>
                    <a:pt x="4" y="41"/>
                    <a:pt x="3" y="41"/>
                  </a:cubicBezTo>
                  <a:cubicBezTo>
                    <a:pt x="3" y="45"/>
                    <a:pt x="3" y="45"/>
                    <a:pt x="3" y="45"/>
                  </a:cubicBezTo>
                  <a:cubicBezTo>
                    <a:pt x="2" y="48"/>
                    <a:pt x="1" y="51"/>
                    <a:pt x="1" y="53"/>
                  </a:cubicBezTo>
                  <a:cubicBezTo>
                    <a:pt x="0" y="56"/>
                    <a:pt x="0" y="57"/>
                    <a:pt x="1" y="59"/>
                  </a:cubicBezTo>
                  <a:cubicBezTo>
                    <a:pt x="1" y="60"/>
                    <a:pt x="1" y="60"/>
                    <a:pt x="1" y="60"/>
                  </a:cubicBezTo>
                  <a:cubicBezTo>
                    <a:pt x="2" y="61"/>
                    <a:pt x="2" y="61"/>
                    <a:pt x="2" y="61"/>
                  </a:cubicBezTo>
                  <a:cubicBezTo>
                    <a:pt x="2" y="61"/>
                    <a:pt x="2" y="62"/>
                    <a:pt x="3" y="63"/>
                  </a:cubicBezTo>
                  <a:cubicBezTo>
                    <a:pt x="3" y="64"/>
                    <a:pt x="3" y="64"/>
                    <a:pt x="3" y="64"/>
                  </a:cubicBezTo>
                  <a:cubicBezTo>
                    <a:pt x="4" y="64"/>
                    <a:pt x="4" y="65"/>
                    <a:pt x="4" y="65"/>
                  </a:cubicBezTo>
                  <a:cubicBezTo>
                    <a:pt x="5" y="66"/>
                    <a:pt x="5" y="67"/>
                    <a:pt x="5" y="67"/>
                  </a:cubicBezTo>
                  <a:cubicBezTo>
                    <a:pt x="5" y="68"/>
                    <a:pt x="5" y="69"/>
                    <a:pt x="5" y="70"/>
                  </a:cubicBezTo>
                  <a:cubicBezTo>
                    <a:pt x="5" y="71"/>
                    <a:pt x="4" y="71"/>
                    <a:pt x="4" y="72"/>
                  </a:cubicBezTo>
                  <a:cubicBezTo>
                    <a:pt x="5" y="72"/>
                    <a:pt x="5" y="72"/>
                    <a:pt x="5" y="72"/>
                  </a:cubicBezTo>
                  <a:cubicBezTo>
                    <a:pt x="5" y="71"/>
                    <a:pt x="7" y="70"/>
                    <a:pt x="8" y="70"/>
                  </a:cubicBezTo>
                  <a:cubicBezTo>
                    <a:pt x="8" y="70"/>
                    <a:pt x="8" y="70"/>
                    <a:pt x="8" y="70"/>
                  </a:cubicBezTo>
                  <a:cubicBezTo>
                    <a:pt x="10" y="71"/>
                    <a:pt x="12" y="72"/>
                    <a:pt x="14" y="75"/>
                  </a:cubicBezTo>
                  <a:cubicBezTo>
                    <a:pt x="15" y="75"/>
                    <a:pt x="15" y="76"/>
                    <a:pt x="16" y="76"/>
                  </a:cubicBezTo>
                  <a:cubicBezTo>
                    <a:pt x="16" y="77"/>
                    <a:pt x="16" y="77"/>
                    <a:pt x="16" y="77"/>
                  </a:cubicBezTo>
                  <a:cubicBezTo>
                    <a:pt x="17" y="77"/>
                    <a:pt x="17" y="77"/>
                    <a:pt x="17" y="77"/>
                  </a:cubicBezTo>
                  <a:cubicBezTo>
                    <a:pt x="18" y="74"/>
                    <a:pt x="18" y="74"/>
                    <a:pt x="18" y="74"/>
                  </a:cubicBezTo>
                  <a:cubicBezTo>
                    <a:pt x="18" y="69"/>
                    <a:pt x="18" y="69"/>
                    <a:pt x="18" y="69"/>
                  </a:cubicBezTo>
                  <a:cubicBezTo>
                    <a:pt x="25" y="75"/>
                    <a:pt x="25" y="75"/>
                    <a:pt x="25" y="75"/>
                  </a:cubicBezTo>
                  <a:cubicBezTo>
                    <a:pt x="25" y="76"/>
                    <a:pt x="26" y="76"/>
                    <a:pt x="27" y="78"/>
                  </a:cubicBezTo>
                  <a:cubicBezTo>
                    <a:pt x="27" y="78"/>
                    <a:pt x="28" y="79"/>
                    <a:pt x="28" y="80"/>
                  </a:cubicBezTo>
                  <a:cubicBezTo>
                    <a:pt x="29" y="81"/>
                    <a:pt x="29" y="81"/>
                    <a:pt x="29" y="81"/>
                  </a:cubicBezTo>
                  <a:cubicBezTo>
                    <a:pt x="30" y="84"/>
                    <a:pt x="31" y="85"/>
                    <a:pt x="31" y="85"/>
                  </a:cubicBezTo>
                  <a:cubicBezTo>
                    <a:pt x="32" y="85"/>
                    <a:pt x="32" y="85"/>
                    <a:pt x="32" y="85"/>
                  </a:cubicBezTo>
                  <a:cubicBezTo>
                    <a:pt x="32" y="85"/>
                    <a:pt x="32" y="85"/>
                    <a:pt x="33" y="85"/>
                  </a:cubicBezTo>
                  <a:cubicBezTo>
                    <a:pt x="33" y="85"/>
                    <a:pt x="34" y="85"/>
                    <a:pt x="35" y="84"/>
                  </a:cubicBezTo>
                  <a:cubicBezTo>
                    <a:pt x="35" y="84"/>
                    <a:pt x="35" y="84"/>
                    <a:pt x="35" y="84"/>
                  </a:cubicBezTo>
                  <a:cubicBezTo>
                    <a:pt x="36" y="83"/>
                    <a:pt x="36" y="83"/>
                    <a:pt x="36" y="82"/>
                  </a:cubicBezTo>
                  <a:cubicBezTo>
                    <a:pt x="38" y="76"/>
                    <a:pt x="38" y="76"/>
                    <a:pt x="38" y="76"/>
                  </a:cubicBezTo>
                  <a:cubicBezTo>
                    <a:pt x="42" y="82"/>
                    <a:pt x="42" y="82"/>
                    <a:pt x="42" y="82"/>
                  </a:cubicBezTo>
                  <a:cubicBezTo>
                    <a:pt x="42" y="83"/>
                    <a:pt x="43" y="84"/>
                    <a:pt x="43" y="85"/>
                  </a:cubicBezTo>
                  <a:cubicBezTo>
                    <a:pt x="44" y="88"/>
                    <a:pt x="45" y="91"/>
                    <a:pt x="45" y="94"/>
                  </a:cubicBezTo>
                  <a:cubicBezTo>
                    <a:pt x="45" y="96"/>
                    <a:pt x="45" y="97"/>
                    <a:pt x="45" y="98"/>
                  </a:cubicBezTo>
                  <a:cubicBezTo>
                    <a:pt x="45" y="99"/>
                    <a:pt x="45" y="99"/>
                    <a:pt x="45" y="99"/>
                  </a:cubicBezTo>
                  <a:cubicBezTo>
                    <a:pt x="45" y="100"/>
                    <a:pt x="45" y="102"/>
                    <a:pt x="45" y="103"/>
                  </a:cubicBezTo>
                  <a:cubicBezTo>
                    <a:pt x="45" y="103"/>
                    <a:pt x="45" y="103"/>
                    <a:pt x="45" y="103"/>
                  </a:cubicBezTo>
                  <a:cubicBezTo>
                    <a:pt x="45" y="104"/>
                    <a:pt x="45" y="104"/>
                    <a:pt x="45" y="104"/>
                  </a:cubicBezTo>
                  <a:cubicBezTo>
                    <a:pt x="46" y="104"/>
                    <a:pt x="46" y="104"/>
                    <a:pt x="46" y="104"/>
                  </a:cubicBezTo>
                  <a:cubicBezTo>
                    <a:pt x="46" y="104"/>
                    <a:pt x="47" y="104"/>
                    <a:pt x="48" y="104"/>
                  </a:cubicBezTo>
                  <a:cubicBezTo>
                    <a:pt x="48" y="105"/>
                    <a:pt x="48" y="105"/>
                    <a:pt x="48" y="105"/>
                  </a:cubicBezTo>
                  <a:cubicBezTo>
                    <a:pt x="50" y="105"/>
                    <a:pt x="51" y="106"/>
                    <a:pt x="53" y="106"/>
                  </a:cubicBezTo>
                  <a:cubicBezTo>
                    <a:pt x="54" y="106"/>
                    <a:pt x="54" y="107"/>
                    <a:pt x="55" y="107"/>
                  </a:cubicBezTo>
                  <a:cubicBezTo>
                    <a:pt x="56" y="107"/>
                    <a:pt x="56" y="107"/>
                    <a:pt x="56" y="107"/>
                  </a:cubicBezTo>
                  <a:cubicBezTo>
                    <a:pt x="57" y="107"/>
                    <a:pt x="57" y="108"/>
                    <a:pt x="57" y="108"/>
                  </a:cubicBezTo>
                  <a:cubicBezTo>
                    <a:pt x="58" y="108"/>
                    <a:pt x="58" y="108"/>
                    <a:pt x="58" y="108"/>
                  </a:cubicBezTo>
                  <a:cubicBezTo>
                    <a:pt x="58" y="108"/>
                    <a:pt x="59" y="108"/>
                    <a:pt x="60" y="108"/>
                  </a:cubicBezTo>
                  <a:cubicBezTo>
                    <a:pt x="60" y="107"/>
                    <a:pt x="60" y="107"/>
                    <a:pt x="60" y="107"/>
                  </a:cubicBezTo>
                  <a:cubicBezTo>
                    <a:pt x="61" y="107"/>
                    <a:pt x="62" y="107"/>
                    <a:pt x="63" y="107"/>
                  </a:cubicBezTo>
                  <a:cubicBezTo>
                    <a:pt x="63" y="107"/>
                    <a:pt x="64" y="107"/>
                    <a:pt x="64" y="107"/>
                  </a:cubicBezTo>
                  <a:cubicBezTo>
                    <a:pt x="65" y="107"/>
                    <a:pt x="65" y="107"/>
                    <a:pt x="65" y="107"/>
                  </a:cubicBezTo>
                  <a:cubicBezTo>
                    <a:pt x="65" y="107"/>
                    <a:pt x="66" y="107"/>
                    <a:pt x="66" y="107"/>
                  </a:cubicBezTo>
                  <a:cubicBezTo>
                    <a:pt x="67" y="107"/>
                    <a:pt x="68" y="107"/>
                    <a:pt x="68" y="107"/>
                  </a:cubicBezTo>
                  <a:cubicBezTo>
                    <a:pt x="69" y="107"/>
                    <a:pt x="69" y="107"/>
                    <a:pt x="69" y="107"/>
                  </a:cubicBezTo>
                  <a:cubicBezTo>
                    <a:pt x="70" y="107"/>
                    <a:pt x="72" y="106"/>
                    <a:pt x="73" y="106"/>
                  </a:cubicBezTo>
                  <a:cubicBezTo>
                    <a:pt x="74" y="106"/>
                    <a:pt x="75" y="106"/>
                    <a:pt x="75" y="106"/>
                  </a:cubicBezTo>
                  <a:cubicBezTo>
                    <a:pt x="76" y="107"/>
                    <a:pt x="76" y="107"/>
                    <a:pt x="76" y="107"/>
                  </a:cubicBezTo>
                  <a:cubicBezTo>
                    <a:pt x="80" y="107"/>
                    <a:pt x="84" y="108"/>
                    <a:pt x="88" y="108"/>
                  </a:cubicBezTo>
                  <a:cubicBezTo>
                    <a:pt x="89" y="108"/>
                    <a:pt x="89" y="108"/>
                    <a:pt x="89" y="108"/>
                  </a:cubicBezTo>
                  <a:cubicBezTo>
                    <a:pt x="90" y="108"/>
                    <a:pt x="91" y="108"/>
                    <a:pt x="92" y="108"/>
                  </a:cubicBezTo>
                  <a:cubicBezTo>
                    <a:pt x="93" y="107"/>
                    <a:pt x="93" y="107"/>
                    <a:pt x="93" y="107"/>
                  </a:cubicBezTo>
                  <a:cubicBezTo>
                    <a:pt x="94" y="107"/>
                    <a:pt x="95" y="107"/>
                    <a:pt x="96" y="107"/>
                  </a:cubicBezTo>
                  <a:cubicBezTo>
                    <a:pt x="97" y="107"/>
                    <a:pt x="99" y="107"/>
                    <a:pt x="101" y="108"/>
                  </a:cubicBezTo>
                  <a:cubicBezTo>
                    <a:pt x="102" y="108"/>
                    <a:pt x="103" y="109"/>
                    <a:pt x="104" y="109"/>
                  </a:cubicBezTo>
                  <a:cubicBezTo>
                    <a:pt x="105" y="110"/>
                    <a:pt x="105" y="110"/>
                    <a:pt x="105" y="110"/>
                  </a:cubicBezTo>
                  <a:cubicBezTo>
                    <a:pt x="105" y="110"/>
                    <a:pt x="106" y="110"/>
                    <a:pt x="106" y="111"/>
                  </a:cubicBezTo>
                  <a:cubicBezTo>
                    <a:pt x="108" y="111"/>
                    <a:pt x="109" y="113"/>
                    <a:pt x="109" y="114"/>
                  </a:cubicBezTo>
                  <a:cubicBezTo>
                    <a:pt x="110" y="114"/>
                    <a:pt x="110" y="115"/>
                    <a:pt x="110" y="115"/>
                  </a:cubicBezTo>
                  <a:cubicBezTo>
                    <a:pt x="115" y="119"/>
                    <a:pt x="115" y="119"/>
                    <a:pt x="115" y="119"/>
                  </a:cubicBezTo>
                  <a:cubicBezTo>
                    <a:pt x="107" y="120"/>
                    <a:pt x="107" y="120"/>
                    <a:pt x="107" y="120"/>
                  </a:cubicBezTo>
                  <a:cubicBezTo>
                    <a:pt x="104" y="122"/>
                    <a:pt x="104" y="122"/>
                    <a:pt x="104" y="122"/>
                  </a:cubicBezTo>
                  <a:cubicBezTo>
                    <a:pt x="104" y="124"/>
                    <a:pt x="104" y="126"/>
                    <a:pt x="103" y="128"/>
                  </a:cubicBezTo>
                  <a:cubicBezTo>
                    <a:pt x="102" y="129"/>
                    <a:pt x="102" y="129"/>
                    <a:pt x="102" y="129"/>
                  </a:cubicBezTo>
                  <a:cubicBezTo>
                    <a:pt x="102" y="129"/>
                    <a:pt x="102" y="129"/>
                    <a:pt x="101" y="130"/>
                  </a:cubicBezTo>
                  <a:cubicBezTo>
                    <a:pt x="101" y="130"/>
                    <a:pt x="100" y="131"/>
                    <a:pt x="99" y="132"/>
                  </a:cubicBezTo>
                  <a:cubicBezTo>
                    <a:pt x="98" y="132"/>
                    <a:pt x="98" y="132"/>
                    <a:pt x="98" y="132"/>
                  </a:cubicBezTo>
                  <a:cubicBezTo>
                    <a:pt x="98" y="133"/>
                    <a:pt x="98" y="133"/>
                    <a:pt x="98" y="133"/>
                  </a:cubicBezTo>
                  <a:cubicBezTo>
                    <a:pt x="98" y="133"/>
                    <a:pt x="98" y="133"/>
                    <a:pt x="98" y="133"/>
                  </a:cubicBezTo>
                  <a:cubicBezTo>
                    <a:pt x="98" y="133"/>
                    <a:pt x="98" y="133"/>
                    <a:pt x="98" y="133"/>
                  </a:cubicBezTo>
                  <a:cubicBezTo>
                    <a:pt x="97" y="133"/>
                    <a:pt x="97" y="133"/>
                    <a:pt x="97" y="133"/>
                  </a:cubicBezTo>
                  <a:cubicBezTo>
                    <a:pt x="97" y="134"/>
                    <a:pt x="97" y="134"/>
                    <a:pt x="97" y="134"/>
                  </a:cubicBezTo>
                  <a:cubicBezTo>
                    <a:pt x="96" y="134"/>
                    <a:pt x="96" y="135"/>
                    <a:pt x="96" y="136"/>
                  </a:cubicBezTo>
                  <a:cubicBezTo>
                    <a:pt x="96" y="136"/>
                    <a:pt x="96" y="137"/>
                    <a:pt x="96" y="138"/>
                  </a:cubicBezTo>
                  <a:cubicBezTo>
                    <a:pt x="95" y="141"/>
                    <a:pt x="95" y="141"/>
                    <a:pt x="95" y="141"/>
                  </a:cubicBezTo>
                  <a:cubicBezTo>
                    <a:pt x="92" y="139"/>
                    <a:pt x="92" y="139"/>
                    <a:pt x="92" y="139"/>
                  </a:cubicBezTo>
                  <a:cubicBezTo>
                    <a:pt x="90" y="139"/>
                    <a:pt x="89" y="139"/>
                    <a:pt x="89" y="139"/>
                  </a:cubicBezTo>
                  <a:cubicBezTo>
                    <a:pt x="89" y="139"/>
                    <a:pt x="89" y="139"/>
                    <a:pt x="89" y="139"/>
                  </a:cubicBezTo>
                  <a:cubicBezTo>
                    <a:pt x="89" y="140"/>
                    <a:pt x="89" y="140"/>
                    <a:pt x="89" y="140"/>
                  </a:cubicBezTo>
                  <a:cubicBezTo>
                    <a:pt x="88" y="139"/>
                    <a:pt x="88" y="139"/>
                    <a:pt x="88" y="139"/>
                  </a:cubicBezTo>
                  <a:cubicBezTo>
                    <a:pt x="80" y="147"/>
                    <a:pt x="80" y="147"/>
                    <a:pt x="80" y="147"/>
                  </a:cubicBezTo>
                  <a:cubicBezTo>
                    <a:pt x="80" y="148"/>
                    <a:pt x="79" y="148"/>
                    <a:pt x="79" y="149"/>
                  </a:cubicBezTo>
                  <a:cubicBezTo>
                    <a:pt x="79" y="149"/>
                    <a:pt x="79" y="149"/>
                    <a:pt x="79" y="149"/>
                  </a:cubicBezTo>
                  <a:cubicBezTo>
                    <a:pt x="79" y="150"/>
                    <a:pt x="79" y="150"/>
                    <a:pt x="79" y="150"/>
                  </a:cubicBezTo>
                  <a:cubicBezTo>
                    <a:pt x="79" y="151"/>
                    <a:pt x="79" y="151"/>
                    <a:pt x="79" y="151"/>
                  </a:cubicBezTo>
                  <a:cubicBezTo>
                    <a:pt x="80" y="152"/>
                    <a:pt x="80" y="153"/>
                    <a:pt x="80" y="153"/>
                  </a:cubicBezTo>
                  <a:cubicBezTo>
                    <a:pt x="80" y="154"/>
                    <a:pt x="80" y="154"/>
                    <a:pt x="80" y="154"/>
                  </a:cubicBezTo>
                  <a:cubicBezTo>
                    <a:pt x="81" y="154"/>
                    <a:pt x="81" y="155"/>
                    <a:pt x="81" y="155"/>
                  </a:cubicBezTo>
                  <a:cubicBezTo>
                    <a:pt x="84" y="158"/>
                    <a:pt x="84" y="158"/>
                    <a:pt x="84" y="158"/>
                  </a:cubicBezTo>
                  <a:cubicBezTo>
                    <a:pt x="86" y="159"/>
                    <a:pt x="86" y="161"/>
                    <a:pt x="87" y="163"/>
                  </a:cubicBezTo>
                  <a:cubicBezTo>
                    <a:pt x="87" y="163"/>
                    <a:pt x="87" y="164"/>
                    <a:pt x="87" y="165"/>
                  </a:cubicBezTo>
                  <a:cubicBezTo>
                    <a:pt x="87" y="164"/>
                    <a:pt x="87" y="164"/>
                    <a:pt x="88" y="164"/>
                  </a:cubicBezTo>
                  <a:cubicBezTo>
                    <a:pt x="88" y="162"/>
                    <a:pt x="89" y="160"/>
                    <a:pt x="89" y="159"/>
                  </a:cubicBezTo>
                  <a:cubicBezTo>
                    <a:pt x="89" y="158"/>
                    <a:pt x="90" y="158"/>
                    <a:pt x="90" y="157"/>
                  </a:cubicBezTo>
                  <a:cubicBezTo>
                    <a:pt x="90" y="157"/>
                    <a:pt x="90" y="157"/>
                    <a:pt x="90" y="157"/>
                  </a:cubicBezTo>
                  <a:cubicBezTo>
                    <a:pt x="91" y="155"/>
                    <a:pt x="91" y="153"/>
                    <a:pt x="91" y="151"/>
                  </a:cubicBezTo>
                  <a:cubicBezTo>
                    <a:pt x="92" y="150"/>
                    <a:pt x="92" y="149"/>
                    <a:pt x="92" y="147"/>
                  </a:cubicBezTo>
                  <a:cubicBezTo>
                    <a:pt x="94" y="141"/>
                    <a:pt x="94" y="141"/>
                    <a:pt x="94" y="141"/>
                  </a:cubicBezTo>
                  <a:cubicBezTo>
                    <a:pt x="97" y="146"/>
                    <a:pt x="97" y="146"/>
                    <a:pt x="97" y="146"/>
                  </a:cubicBezTo>
                  <a:cubicBezTo>
                    <a:pt x="99" y="145"/>
                    <a:pt x="100" y="145"/>
                    <a:pt x="101" y="145"/>
                  </a:cubicBezTo>
                  <a:cubicBezTo>
                    <a:pt x="102" y="145"/>
                    <a:pt x="102" y="145"/>
                    <a:pt x="102" y="145"/>
                  </a:cubicBezTo>
                  <a:cubicBezTo>
                    <a:pt x="103" y="145"/>
                    <a:pt x="103" y="145"/>
                    <a:pt x="103" y="145"/>
                  </a:cubicBezTo>
                  <a:cubicBezTo>
                    <a:pt x="104" y="145"/>
                    <a:pt x="104" y="145"/>
                    <a:pt x="104" y="145"/>
                  </a:cubicBezTo>
                  <a:cubicBezTo>
                    <a:pt x="105" y="146"/>
                    <a:pt x="105" y="147"/>
                    <a:pt x="106" y="149"/>
                  </a:cubicBezTo>
                  <a:cubicBezTo>
                    <a:pt x="107" y="151"/>
                    <a:pt x="107" y="154"/>
                    <a:pt x="107" y="156"/>
                  </a:cubicBezTo>
                  <a:cubicBezTo>
                    <a:pt x="108" y="158"/>
                    <a:pt x="108" y="161"/>
                    <a:pt x="108" y="164"/>
                  </a:cubicBezTo>
                  <a:cubicBezTo>
                    <a:pt x="115" y="163"/>
                    <a:pt x="115" y="163"/>
                    <a:pt x="115" y="163"/>
                  </a:cubicBezTo>
                  <a:cubicBezTo>
                    <a:pt x="108" y="165"/>
                    <a:pt x="108" y="165"/>
                    <a:pt x="108" y="165"/>
                  </a:cubicBezTo>
                  <a:cubicBezTo>
                    <a:pt x="108" y="165"/>
                    <a:pt x="108" y="165"/>
                    <a:pt x="108" y="165"/>
                  </a:cubicBezTo>
                  <a:cubicBezTo>
                    <a:pt x="108" y="167"/>
                    <a:pt x="109" y="168"/>
                    <a:pt x="110" y="171"/>
                  </a:cubicBezTo>
                  <a:cubicBezTo>
                    <a:pt x="110" y="171"/>
                    <a:pt x="110" y="171"/>
                    <a:pt x="110" y="171"/>
                  </a:cubicBezTo>
                  <a:cubicBezTo>
                    <a:pt x="111" y="175"/>
                    <a:pt x="112" y="178"/>
                    <a:pt x="112" y="180"/>
                  </a:cubicBezTo>
                  <a:cubicBezTo>
                    <a:pt x="114" y="191"/>
                    <a:pt x="114" y="191"/>
                    <a:pt x="114" y="191"/>
                  </a:cubicBezTo>
                  <a:cubicBezTo>
                    <a:pt x="117" y="187"/>
                    <a:pt x="117" y="187"/>
                    <a:pt x="117" y="187"/>
                  </a:cubicBezTo>
                  <a:cubicBezTo>
                    <a:pt x="120" y="188"/>
                    <a:pt x="120" y="188"/>
                    <a:pt x="120" y="188"/>
                  </a:cubicBezTo>
                  <a:cubicBezTo>
                    <a:pt x="121" y="186"/>
                    <a:pt x="121" y="186"/>
                    <a:pt x="121" y="186"/>
                  </a:cubicBezTo>
                  <a:cubicBezTo>
                    <a:pt x="120" y="177"/>
                    <a:pt x="120" y="177"/>
                    <a:pt x="120" y="177"/>
                  </a:cubicBezTo>
                  <a:cubicBezTo>
                    <a:pt x="120" y="172"/>
                    <a:pt x="120" y="172"/>
                    <a:pt x="120" y="172"/>
                  </a:cubicBezTo>
                  <a:cubicBezTo>
                    <a:pt x="121" y="165"/>
                    <a:pt x="121" y="165"/>
                    <a:pt x="121" y="165"/>
                  </a:cubicBezTo>
                  <a:cubicBezTo>
                    <a:pt x="126" y="162"/>
                    <a:pt x="126" y="162"/>
                    <a:pt x="126" y="162"/>
                  </a:cubicBezTo>
                  <a:cubicBezTo>
                    <a:pt x="127" y="162"/>
                    <a:pt x="127" y="162"/>
                    <a:pt x="127" y="162"/>
                  </a:cubicBezTo>
                  <a:cubicBezTo>
                    <a:pt x="128" y="154"/>
                    <a:pt x="128" y="149"/>
                    <a:pt x="128" y="147"/>
                  </a:cubicBezTo>
                  <a:cubicBezTo>
                    <a:pt x="126" y="143"/>
                    <a:pt x="126" y="140"/>
                    <a:pt x="126" y="140"/>
                  </a:cubicBezTo>
                  <a:cubicBezTo>
                    <a:pt x="125" y="136"/>
                    <a:pt x="125" y="136"/>
                    <a:pt x="125" y="136"/>
                  </a:cubicBezTo>
                  <a:cubicBezTo>
                    <a:pt x="129" y="137"/>
                    <a:pt x="129" y="137"/>
                    <a:pt x="129" y="137"/>
                  </a:cubicBezTo>
                  <a:cubicBezTo>
                    <a:pt x="129" y="137"/>
                    <a:pt x="138" y="138"/>
                    <a:pt x="145" y="140"/>
                  </a:cubicBezTo>
                  <a:cubicBezTo>
                    <a:pt x="147" y="138"/>
                    <a:pt x="148" y="137"/>
                    <a:pt x="149" y="136"/>
                  </a:cubicBezTo>
                  <a:cubicBezTo>
                    <a:pt x="150" y="134"/>
                    <a:pt x="152" y="128"/>
                    <a:pt x="155" y="124"/>
                  </a:cubicBezTo>
                  <a:cubicBezTo>
                    <a:pt x="158" y="120"/>
                    <a:pt x="161" y="114"/>
                    <a:pt x="159" y="109"/>
                  </a:cubicBezTo>
                  <a:cubicBezTo>
                    <a:pt x="157" y="104"/>
                    <a:pt x="158" y="101"/>
                    <a:pt x="165" y="96"/>
                  </a:cubicBezTo>
                  <a:cubicBezTo>
                    <a:pt x="167" y="95"/>
                    <a:pt x="168" y="94"/>
                    <a:pt x="168" y="93"/>
                  </a:cubicBezTo>
                  <a:cubicBezTo>
                    <a:pt x="168" y="91"/>
                    <a:pt x="169" y="90"/>
                    <a:pt x="170" y="88"/>
                  </a:cubicBezTo>
                  <a:cubicBezTo>
                    <a:pt x="171" y="87"/>
                    <a:pt x="171" y="87"/>
                    <a:pt x="171" y="87"/>
                  </a:cubicBezTo>
                  <a:cubicBezTo>
                    <a:pt x="171" y="86"/>
                    <a:pt x="170" y="83"/>
                    <a:pt x="170" y="82"/>
                  </a:cubicBezTo>
                  <a:cubicBezTo>
                    <a:pt x="170" y="80"/>
                    <a:pt x="169" y="78"/>
                    <a:pt x="169" y="76"/>
                  </a:cubicBezTo>
                  <a:cubicBezTo>
                    <a:pt x="169" y="70"/>
                    <a:pt x="173" y="69"/>
                    <a:pt x="178" y="67"/>
                  </a:cubicBezTo>
                  <a:cubicBezTo>
                    <a:pt x="180" y="66"/>
                    <a:pt x="181" y="65"/>
                    <a:pt x="183" y="63"/>
                  </a:cubicBezTo>
                  <a:cubicBezTo>
                    <a:pt x="185" y="61"/>
                    <a:pt x="188" y="59"/>
                    <a:pt x="191" y="58"/>
                  </a:cubicBezTo>
                  <a:cubicBezTo>
                    <a:pt x="192" y="57"/>
                    <a:pt x="194" y="56"/>
                    <a:pt x="196" y="55"/>
                  </a:cubicBezTo>
                  <a:cubicBezTo>
                    <a:pt x="197" y="55"/>
                    <a:pt x="197" y="55"/>
                    <a:pt x="197" y="55"/>
                  </a:cubicBezTo>
                  <a:cubicBezTo>
                    <a:pt x="201" y="52"/>
                    <a:pt x="206" y="49"/>
                    <a:pt x="211" y="49"/>
                  </a:cubicBezTo>
                  <a:cubicBezTo>
                    <a:pt x="212" y="49"/>
                    <a:pt x="214" y="49"/>
                    <a:pt x="215" y="50"/>
                  </a:cubicBezTo>
                  <a:cubicBezTo>
                    <a:pt x="214" y="49"/>
                    <a:pt x="214" y="49"/>
                    <a:pt x="214" y="49"/>
                  </a:cubicBezTo>
                  <a:cubicBezTo>
                    <a:pt x="213" y="47"/>
                    <a:pt x="213" y="43"/>
                    <a:pt x="219" y="39"/>
                  </a:cubicBezTo>
                  <a:cubicBezTo>
                    <a:pt x="220" y="38"/>
                    <a:pt x="221" y="38"/>
                    <a:pt x="222" y="37"/>
                  </a:cubicBezTo>
                  <a:cubicBezTo>
                    <a:pt x="222" y="37"/>
                    <a:pt x="222" y="37"/>
                    <a:pt x="222" y="37"/>
                  </a:cubicBezTo>
                  <a:cubicBezTo>
                    <a:pt x="223" y="36"/>
                    <a:pt x="225" y="35"/>
                    <a:pt x="225" y="35"/>
                  </a:cubicBezTo>
                  <a:cubicBezTo>
                    <a:pt x="225" y="31"/>
                    <a:pt x="225" y="31"/>
                    <a:pt x="225" y="31"/>
                  </a:cubicBezTo>
                  <a:cubicBezTo>
                    <a:pt x="224" y="31"/>
                    <a:pt x="224" y="31"/>
                    <a:pt x="224" y="31"/>
                  </a:cubicBezTo>
                  <a:cubicBezTo>
                    <a:pt x="224" y="31"/>
                    <a:pt x="224" y="31"/>
                    <a:pt x="224" y="31"/>
                  </a:cubicBezTo>
                  <a:cubicBezTo>
                    <a:pt x="224" y="30"/>
                    <a:pt x="223" y="30"/>
                    <a:pt x="223" y="30"/>
                  </a:cubicBezTo>
                  <a:cubicBezTo>
                    <a:pt x="222" y="29"/>
                    <a:pt x="221" y="29"/>
                    <a:pt x="220" y="28"/>
                  </a:cubicBezTo>
                  <a:cubicBezTo>
                    <a:pt x="220" y="28"/>
                    <a:pt x="220" y="28"/>
                    <a:pt x="220" y="28"/>
                  </a:cubicBezTo>
                  <a:cubicBezTo>
                    <a:pt x="219" y="28"/>
                    <a:pt x="219" y="28"/>
                    <a:pt x="218" y="28"/>
                  </a:cubicBezTo>
                  <a:cubicBezTo>
                    <a:pt x="216" y="28"/>
                    <a:pt x="216" y="28"/>
                    <a:pt x="216" y="28"/>
                  </a:cubicBezTo>
                  <a:cubicBezTo>
                    <a:pt x="215" y="28"/>
                    <a:pt x="213" y="28"/>
                    <a:pt x="212" y="27"/>
                  </a:cubicBezTo>
                  <a:cubicBezTo>
                    <a:pt x="210" y="27"/>
                    <a:pt x="210" y="27"/>
                    <a:pt x="210" y="27"/>
                  </a:cubicBezTo>
                  <a:cubicBezTo>
                    <a:pt x="209" y="27"/>
                    <a:pt x="209" y="27"/>
                    <a:pt x="208" y="27"/>
                  </a:cubicBezTo>
                  <a:cubicBezTo>
                    <a:pt x="208" y="27"/>
                    <a:pt x="208" y="27"/>
                    <a:pt x="208" y="27"/>
                  </a:cubicBezTo>
                  <a:cubicBezTo>
                    <a:pt x="207" y="28"/>
                    <a:pt x="207" y="28"/>
                    <a:pt x="207" y="28"/>
                  </a:cubicBezTo>
                  <a:cubicBezTo>
                    <a:pt x="207" y="28"/>
                    <a:pt x="207" y="28"/>
                    <a:pt x="207" y="28"/>
                  </a:cubicBezTo>
                  <a:cubicBezTo>
                    <a:pt x="206" y="29"/>
                    <a:pt x="205" y="29"/>
                    <a:pt x="204" y="29"/>
                  </a:cubicBezTo>
                  <a:cubicBezTo>
                    <a:pt x="204" y="29"/>
                    <a:pt x="204" y="29"/>
                    <a:pt x="203" y="29"/>
                  </a:cubicBezTo>
                  <a:cubicBezTo>
                    <a:pt x="201" y="28"/>
                    <a:pt x="199" y="27"/>
                    <a:pt x="199" y="24"/>
                  </a:cubicBezTo>
                  <a:cubicBezTo>
                    <a:pt x="199" y="23"/>
                    <a:pt x="199" y="23"/>
                    <a:pt x="199" y="23"/>
                  </a:cubicBezTo>
                  <a:cubicBezTo>
                    <a:pt x="200" y="23"/>
                    <a:pt x="200" y="22"/>
                    <a:pt x="200" y="22"/>
                  </a:cubicBezTo>
                  <a:cubicBezTo>
                    <a:pt x="200" y="21"/>
                    <a:pt x="200" y="21"/>
                    <a:pt x="200" y="21"/>
                  </a:cubicBezTo>
                  <a:cubicBezTo>
                    <a:pt x="200" y="20"/>
                    <a:pt x="200" y="20"/>
                    <a:pt x="200" y="20"/>
                  </a:cubicBezTo>
                  <a:cubicBezTo>
                    <a:pt x="201" y="19"/>
                    <a:pt x="202" y="18"/>
                    <a:pt x="202" y="18"/>
                  </a:cubicBezTo>
                  <a:cubicBezTo>
                    <a:pt x="202" y="18"/>
                    <a:pt x="202" y="18"/>
                    <a:pt x="202" y="18"/>
                  </a:cubicBezTo>
                  <a:cubicBezTo>
                    <a:pt x="202" y="17"/>
                    <a:pt x="202" y="17"/>
                    <a:pt x="202" y="17"/>
                  </a:cubicBezTo>
                  <a:cubicBezTo>
                    <a:pt x="204" y="15"/>
                    <a:pt x="204" y="15"/>
                    <a:pt x="204" y="15"/>
                  </a:cubicBezTo>
                  <a:cubicBezTo>
                    <a:pt x="205" y="14"/>
                    <a:pt x="206" y="14"/>
                    <a:pt x="206" y="14"/>
                  </a:cubicBezTo>
                  <a:cubicBezTo>
                    <a:pt x="206" y="14"/>
                    <a:pt x="206" y="14"/>
                    <a:pt x="206" y="14"/>
                  </a:cubicBezTo>
                  <a:cubicBezTo>
                    <a:pt x="206" y="13"/>
                    <a:pt x="206" y="13"/>
                    <a:pt x="206" y="13"/>
                  </a:cubicBezTo>
                  <a:cubicBezTo>
                    <a:pt x="205" y="13"/>
                    <a:pt x="205" y="12"/>
                    <a:pt x="205" y="12"/>
                  </a:cubicBezTo>
                  <a:cubicBezTo>
                    <a:pt x="204" y="11"/>
                    <a:pt x="204" y="11"/>
                    <a:pt x="204" y="11"/>
                  </a:cubicBezTo>
                  <a:cubicBezTo>
                    <a:pt x="203" y="12"/>
                    <a:pt x="202" y="13"/>
                    <a:pt x="201" y="14"/>
                  </a:cubicBezTo>
                  <a:cubicBezTo>
                    <a:pt x="196" y="17"/>
                    <a:pt x="196" y="17"/>
                    <a:pt x="196" y="17"/>
                  </a:cubicBezTo>
                  <a:cubicBezTo>
                    <a:pt x="196" y="11"/>
                    <a:pt x="196" y="11"/>
                    <a:pt x="196" y="11"/>
                  </a:cubicBezTo>
                  <a:cubicBezTo>
                    <a:pt x="196" y="9"/>
                    <a:pt x="196" y="9"/>
                    <a:pt x="196" y="9"/>
                  </a:cubicBezTo>
                  <a:cubicBezTo>
                    <a:pt x="190" y="4"/>
                    <a:pt x="190" y="4"/>
                    <a:pt x="190" y="4"/>
                  </a:cubicBezTo>
                  <a:cubicBezTo>
                    <a:pt x="197" y="3"/>
                    <a:pt x="197" y="3"/>
                    <a:pt x="197" y="3"/>
                  </a:cubicBezTo>
                  <a:cubicBezTo>
                    <a:pt x="197" y="3"/>
                    <a:pt x="197" y="3"/>
                    <a:pt x="197" y="3"/>
                  </a:cubicBezTo>
                  <a:cubicBezTo>
                    <a:pt x="198" y="3"/>
                    <a:pt x="198" y="3"/>
                    <a:pt x="198" y="3"/>
                  </a:cubicBezTo>
                  <a:cubicBezTo>
                    <a:pt x="198" y="3"/>
                    <a:pt x="199" y="3"/>
                    <a:pt x="199" y="2"/>
                  </a:cubicBezTo>
                  <a:cubicBezTo>
                    <a:pt x="198" y="2"/>
                    <a:pt x="197" y="1"/>
                    <a:pt x="197" y="1"/>
                  </a:cubicBezTo>
                  <a:cubicBezTo>
                    <a:pt x="196" y="0"/>
                    <a:pt x="196" y="0"/>
                    <a:pt x="196" y="0"/>
                  </a:cubicBezTo>
                  <a:cubicBezTo>
                    <a:pt x="196" y="0"/>
                    <a:pt x="196" y="0"/>
                    <a:pt x="1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498"/>
            <p:cNvSpPr>
              <a:spLocks noEditPoints="1"/>
            </p:cNvSpPr>
            <p:nvPr/>
          </p:nvSpPr>
          <p:spPr bwMode="auto">
            <a:xfrm>
              <a:off x="2963181" y="2965622"/>
              <a:ext cx="1637270" cy="2253765"/>
            </a:xfrm>
            <a:custGeom>
              <a:gdLst>
                <a:gd name="T0" fmla="*/ 206 w 516"/>
                <a:gd name="T1" fmla="*/ 21 h 710"/>
                <a:gd name="T2" fmla="*/ 175 w 516"/>
                <a:gd name="T3" fmla="*/ 24 h 710"/>
                <a:gd name="T4" fmla="*/ 143 w 516"/>
                <a:gd name="T5" fmla="*/ 27 h 710"/>
                <a:gd name="T6" fmla="*/ 149 w 516"/>
                <a:gd name="T7" fmla="*/ 48 h 710"/>
                <a:gd name="T8" fmla="*/ 163 w 516"/>
                <a:gd name="T9" fmla="*/ 75 h 710"/>
                <a:gd name="T10" fmla="*/ 168 w 516"/>
                <a:gd name="T11" fmla="*/ 96 h 710"/>
                <a:gd name="T12" fmla="*/ 161 w 516"/>
                <a:gd name="T13" fmla="*/ 115 h 710"/>
                <a:gd name="T14" fmla="*/ 147 w 516"/>
                <a:gd name="T15" fmla="*/ 143 h 710"/>
                <a:gd name="T16" fmla="*/ 114 w 516"/>
                <a:gd name="T17" fmla="*/ 179 h 710"/>
                <a:gd name="T18" fmla="*/ 76 w 516"/>
                <a:gd name="T19" fmla="*/ 209 h 710"/>
                <a:gd name="T20" fmla="*/ 56 w 516"/>
                <a:gd name="T21" fmla="*/ 204 h 710"/>
                <a:gd name="T22" fmla="*/ 40 w 516"/>
                <a:gd name="T23" fmla="*/ 235 h 710"/>
                <a:gd name="T24" fmla="*/ 57 w 516"/>
                <a:gd name="T25" fmla="*/ 260 h 710"/>
                <a:gd name="T26" fmla="*/ 73 w 516"/>
                <a:gd name="T27" fmla="*/ 285 h 710"/>
                <a:gd name="T28" fmla="*/ 69 w 516"/>
                <a:gd name="T29" fmla="*/ 302 h 710"/>
                <a:gd name="T30" fmla="*/ 44 w 516"/>
                <a:gd name="T31" fmla="*/ 305 h 710"/>
                <a:gd name="T32" fmla="*/ 10 w 516"/>
                <a:gd name="T33" fmla="*/ 310 h 710"/>
                <a:gd name="T34" fmla="*/ 10 w 516"/>
                <a:gd name="T35" fmla="*/ 325 h 710"/>
                <a:gd name="T36" fmla="*/ 55 w 516"/>
                <a:gd name="T37" fmla="*/ 334 h 710"/>
                <a:gd name="T38" fmla="*/ 25 w 516"/>
                <a:gd name="T39" fmla="*/ 358 h 710"/>
                <a:gd name="T40" fmla="*/ 69 w 516"/>
                <a:gd name="T41" fmla="*/ 391 h 710"/>
                <a:gd name="T42" fmla="*/ 96 w 516"/>
                <a:gd name="T43" fmla="*/ 359 h 710"/>
                <a:gd name="T44" fmla="*/ 107 w 516"/>
                <a:gd name="T45" fmla="*/ 362 h 710"/>
                <a:gd name="T46" fmla="*/ 114 w 516"/>
                <a:gd name="T47" fmla="*/ 383 h 710"/>
                <a:gd name="T48" fmla="*/ 115 w 516"/>
                <a:gd name="T49" fmla="*/ 430 h 710"/>
                <a:gd name="T50" fmla="*/ 118 w 516"/>
                <a:gd name="T51" fmla="*/ 454 h 710"/>
                <a:gd name="T52" fmla="*/ 137 w 516"/>
                <a:gd name="T53" fmla="*/ 519 h 710"/>
                <a:gd name="T54" fmla="*/ 149 w 516"/>
                <a:gd name="T55" fmla="*/ 540 h 710"/>
                <a:gd name="T56" fmla="*/ 165 w 516"/>
                <a:gd name="T57" fmla="*/ 590 h 710"/>
                <a:gd name="T58" fmla="*/ 193 w 516"/>
                <a:gd name="T59" fmla="*/ 648 h 710"/>
                <a:gd name="T60" fmla="*/ 209 w 516"/>
                <a:gd name="T61" fmla="*/ 687 h 710"/>
                <a:gd name="T62" fmla="*/ 253 w 516"/>
                <a:gd name="T63" fmla="*/ 684 h 710"/>
                <a:gd name="T64" fmla="*/ 265 w 516"/>
                <a:gd name="T65" fmla="*/ 674 h 710"/>
                <a:gd name="T66" fmla="*/ 288 w 516"/>
                <a:gd name="T67" fmla="*/ 639 h 710"/>
                <a:gd name="T68" fmla="*/ 295 w 516"/>
                <a:gd name="T69" fmla="*/ 575 h 710"/>
                <a:gd name="T70" fmla="*/ 299 w 516"/>
                <a:gd name="T71" fmla="*/ 519 h 710"/>
                <a:gd name="T72" fmla="*/ 329 w 516"/>
                <a:gd name="T73" fmla="*/ 503 h 710"/>
                <a:gd name="T74" fmla="*/ 389 w 516"/>
                <a:gd name="T75" fmla="*/ 456 h 710"/>
                <a:gd name="T76" fmla="*/ 424 w 516"/>
                <a:gd name="T77" fmla="*/ 415 h 710"/>
                <a:gd name="T78" fmla="*/ 461 w 516"/>
                <a:gd name="T79" fmla="*/ 380 h 710"/>
                <a:gd name="T80" fmla="*/ 494 w 516"/>
                <a:gd name="T81" fmla="*/ 369 h 710"/>
                <a:gd name="T82" fmla="*/ 505 w 516"/>
                <a:gd name="T83" fmla="*/ 353 h 710"/>
                <a:gd name="T84" fmla="*/ 514 w 516"/>
                <a:gd name="T85" fmla="*/ 366 h 710"/>
                <a:gd name="T86" fmla="*/ 508 w 516"/>
                <a:gd name="T87" fmla="*/ 329 h 710"/>
                <a:gd name="T88" fmla="*/ 502 w 516"/>
                <a:gd name="T89" fmla="*/ 301 h 710"/>
                <a:gd name="T90" fmla="*/ 495 w 516"/>
                <a:gd name="T91" fmla="*/ 280 h 710"/>
                <a:gd name="T92" fmla="*/ 489 w 516"/>
                <a:gd name="T93" fmla="*/ 259 h 710"/>
                <a:gd name="T94" fmla="*/ 486 w 516"/>
                <a:gd name="T95" fmla="*/ 247 h 710"/>
                <a:gd name="T96" fmla="*/ 458 w 516"/>
                <a:gd name="T97" fmla="*/ 245 h 710"/>
                <a:gd name="T98" fmla="*/ 441 w 516"/>
                <a:gd name="T99" fmla="*/ 242 h 710"/>
                <a:gd name="T100" fmla="*/ 419 w 516"/>
                <a:gd name="T101" fmla="*/ 235 h 710"/>
                <a:gd name="T102" fmla="*/ 397 w 516"/>
                <a:gd name="T103" fmla="*/ 219 h 710"/>
                <a:gd name="T104" fmla="*/ 379 w 516"/>
                <a:gd name="T105" fmla="*/ 219 h 710"/>
                <a:gd name="T106" fmla="*/ 358 w 516"/>
                <a:gd name="T107" fmla="*/ 216 h 710"/>
                <a:gd name="T108" fmla="*/ 337 w 516"/>
                <a:gd name="T109" fmla="*/ 208 h 710"/>
                <a:gd name="T110" fmla="*/ 295 w 516"/>
                <a:gd name="T111" fmla="*/ 185 h 710"/>
                <a:gd name="T112" fmla="*/ 312 w 516"/>
                <a:gd name="T113" fmla="*/ 143 h 710"/>
                <a:gd name="T114" fmla="*/ 272 w 516"/>
                <a:gd name="T115" fmla="*/ 117 h 710"/>
                <a:gd name="T116" fmla="*/ 260 w 516"/>
                <a:gd name="T117" fmla="*/ 113 h 710"/>
                <a:gd name="T118" fmla="*/ 250 w 516"/>
                <a:gd name="T119" fmla="*/ 77 h 710"/>
                <a:gd name="T120" fmla="*/ 275 w 516"/>
                <a:gd name="T121" fmla="*/ 70 h 710"/>
                <a:gd name="T122" fmla="*/ 254 w 516"/>
                <a:gd name="T123" fmla="*/ 51 h 710"/>
                <a:gd name="T124" fmla="*/ 246 w 516"/>
                <a:gd name="T125" fmla="*/ 19 h 7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6" h="710">
                  <a:moveTo>
                    <a:pt x="317" y="517"/>
                  </a:moveTo>
                  <a:cubicBezTo>
                    <a:pt x="317" y="517"/>
                    <a:pt x="317" y="517"/>
                    <a:pt x="317" y="517"/>
                  </a:cubicBezTo>
                  <a:cubicBezTo>
                    <a:pt x="317" y="517"/>
                    <a:pt x="317" y="517"/>
                    <a:pt x="317" y="517"/>
                  </a:cubicBezTo>
                  <a:moveTo>
                    <a:pt x="240" y="0"/>
                  </a:moveTo>
                  <a:cubicBezTo>
                    <a:pt x="240" y="0"/>
                    <a:pt x="239" y="0"/>
                    <a:pt x="239" y="0"/>
                  </a:cubicBezTo>
                  <a:cubicBezTo>
                    <a:pt x="237" y="1"/>
                    <a:pt x="236" y="1"/>
                    <a:pt x="234" y="2"/>
                  </a:cubicBezTo>
                  <a:cubicBezTo>
                    <a:pt x="232" y="3"/>
                    <a:pt x="231" y="4"/>
                    <a:pt x="229" y="5"/>
                  </a:cubicBezTo>
                  <a:cubicBezTo>
                    <a:pt x="228" y="6"/>
                    <a:pt x="227" y="7"/>
                    <a:pt x="226" y="7"/>
                  </a:cubicBezTo>
                  <a:cubicBezTo>
                    <a:pt x="220" y="10"/>
                    <a:pt x="220" y="10"/>
                    <a:pt x="220" y="10"/>
                  </a:cubicBezTo>
                  <a:cubicBezTo>
                    <a:pt x="219" y="11"/>
                    <a:pt x="218" y="13"/>
                    <a:pt x="217" y="14"/>
                  </a:cubicBezTo>
                  <a:cubicBezTo>
                    <a:pt x="215" y="16"/>
                    <a:pt x="215" y="16"/>
                    <a:pt x="215" y="16"/>
                  </a:cubicBezTo>
                  <a:cubicBezTo>
                    <a:pt x="213" y="18"/>
                    <a:pt x="212" y="20"/>
                    <a:pt x="208" y="21"/>
                  </a:cubicBezTo>
                  <a:cubicBezTo>
                    <a:pt x="206" y="21"/>
                    <a:pt x="206" y="21"/>
                    <a:pt x="206" y="21"/>
                  </a:cubicBezTo>
                  <a:cubicBezTo>
                    <a:pt x="206" y="21"/>
                    <a:pt x="206" y="21"/>
                    <a:pt x="205" y="21"/>
                  </a:cubicBezTo>
                  <a:cubicBezTo>
                    <a:pt x="204" y="22"/>
                    <a:pt x="204" y="22"/>
                    <a:pt x="204" y="22"/>
                  </a:cubicBezTo>
                  <a:cubicBezTo>
                    <a:pt x="204" y="22"/>
                    <a:pt x="203" y="22"/>
                    <a:pt x="202" y="22"/>
                  </a:cubicBezTo>
                  <a:cubicBezTo>
                    <a:pt x="201" y="22"/>
                    <a:pt x="201" y="22"/>
                    <a:pt x="201" y="22"/>
                  </a:cubicBezTo>
                  <a:cubicBezTo>
                    <a:pt x="200" y="22"/>
                    <a:pt x="200" y="23"/>
                    <a:pt x="199" y="23"/>
                  </a:cubicBezTo>
                  <a:cubicBezTo>
                    <a:pt x="199" y="23"/>
                    <a:pt x="199" y="23"/>
                    <a:pt x="199" y="23"/>
                  </a:cubicBezTo>
                  <a:cubicBezTo>
                    <a:pt x="198" y="23"/>
                    <a:pt x="197" y="24"/>
                    <a:pt x="196" y="24"/>
                  </a:cubicBezTo>
                  <a:cubicBezTo>
                    <a:pt x="192" y="26"/>
                    <a:pt x="189" y="27"/>
                    <a:pt x="185" y="27"/>
                  </a:cubicBezTo>
                  <a:cubicBezTo>
                    <a:pt x="184" y="27"/>
                    <a:pt x="184" y="27"/>
                    <a:pt x="183" y="27"/>
                  </a:cubicBezTo>
                  <a:cubicBezTo>
                    <a:pt x="181" y="27"/>
                    <a:pt x="181" y="27"/>
                    <a:pt x="181" y="27"/>
                  </a:cubicBezTo>
                  <a:cubicBezTo>
                    <a:pt x="179" y="26"/>
                    <a:pt x="178" y="26"/>
                    <a:pt x="177" y="25"/>
                  </a:cubicBezTo>
                  <a:cubicBezTo>
                    <a:pt x="177" y="25"/>
                    <a:pt x="176" y="25"/>
                    <a:pt x="176" y="25"/>
                  </a:cubicBezTo>
                  <a:cubicBezTo>
                    <a:pt x="175" y="24"/>
                    <a:pt x="175" y="24"/>
                    <a:pt x="175" y="24"/>
                  </a:cubicBezTo>
                  <a:cubicBezTo>
                    <a:pt x="174" y="24"/>
                    <a:pt x="174" y="23"/>
                    <a:pt x="173" y="23"/>
                  </a:cubicBezTo>
                  <a:cubicBezTo>
                    <a:pt x="170" y="23"/>
                    <a:pt x="170" y="23"/>
                    <a:pt x="170" y="23"/>
                  </a:cubicBezTo>
                  <a:cubicBezTo>
                    <a:pt x="168" y="23"/>
                    <a:pt x="167" y="23"/>
                    <a:pt x="166" y="22"/>
                  </a:cubicBezTo>
                  <a:cubicBezTo>
                    <a:pt x="164" y="22"/>
                    <a:pt x="162" y="21"/>
                    <a:pt x="160" y="21"/>
                  </a:cubicBezTo>
                  <a:cubicBezTo>
                    <a:pt x="159" y="21"/>
                    <a:pt x="159" y="22"/>
                    <a:pt x="159" y="22"/>
                  </a:cubicBezTo>
                  <a:cubicBezTo>
                    <a:pt x="158" y="22"/>
                    <a:pt x="156" y="22"/>
                    <a:pt x="155" y="22"/>
                  </a:cubicBezTo>
                  <a:cubicBezTo>
                    <a:pt x="154" y="22"/>
                    <a:pt x="154" y="22"/>
                    <a:pt x="154" y="22"/>
                  </a:cubicBezTo>
                  <a:cubicBezTo>
                    <a:pt x="151" y="22"/>
                    <a:pt x="148" y="22"/>
                    <a:pt x="146" y="23"/>
                  </a:cubicBezTo>
                  <a:cubicBezTo>
                    <a:pt x="145" y="23"/>
                    <a:pt x="145" y="23"/>
                    <a:pt x="145" y="23"/>
                  </a:cubicBezTo>
                  <a:cubicBezTo>
                    <a:pt x="144" y="24"/>
                    <a:pt x="144" y="24"/>
                    <a:pt x="144" y="24"/>
                  </a:cubicBezTo>
                  <a:cubicBezTo>
                    <a:pt x="144" y="24"/>
                    <a:pt x="143" y="26"/>
                    <a:pt x="142" y="27"/>
                  </a:cubicBezTo>
                  <a:cubicBezTo>
                    <a:pt x="142" y="27"/>
                    <a:pt x="142" y="27"/>
                    <a:pt x="142" y="27"/>
                  </a:cubicBezTo>
                  <a:cubicBezTo>
                    <a:pt x="143" y="27"/>
                    <a:pt x="143" y="27"/>
                    <a:pt x="143" y="27"/>
                  </a:cubicBezTo>
                  <a:cubicBezTo>
                    <a:pt x="143" y="27"/>
                    <a:pt x="143" y="27"/>
                    <a:pt x="143" y="27"/>
                  </a:cubicBezTo>
                  <a:cubicBezTo>
                    <a:pt x="144" y="27"/>
                    <a:pt x="144" y="27"/>
                    <a:pt x="144" y="27"/>
                  </a:cubicBezTo>
                  <a:cubicBezTo>
                    <a:pt x="146" y="29"/>
                    <a:pt x="146" y="29"/>
                    <a:pt x="146" y="29"/>
                  </a:cubicBezTo>
                  <a:cubicBezTo>
                    <a:pt x="147" y="31"/>
                    <a:pt x="146" y="33"/>
                    <a:pt x="146" y="35"/>
                  </a:cubicBezTo>
                  <a:cubicBezTo>
                    <a:pt x="150" y="35"/>
                    <a:pt x="152" y="36"/>
                    <a:pt x="153" y="38"/>
                  </a:cubicBezTo>
                  <a:cubicBezTo>
                    <a:pt x="154" y="40"/>
                    <a:pt x="154" y="42"/>
                    <a:pt x="152" y="44"/>
                  </a:cubicBezTo>
                  <a:cubicBezTo>
                    <a:pt x="151" y="44"/>
                    <a:pt x="151" y="44"/>
                    <a:pt x="151" y="44"/>
                  </a:cubicBezTo>
                  <a:cubicBezTo>
                    <a:pt x="150" y="45"/>
                    <a:pt x="150" y="45"/>
                    <a:pt x="150" y="45"/>
                  </a:cubicBezTo>
                  <a:cubicBezTo>
                    <a:pt x="149" y="45"/>
                    <a:pt x="149" y="45"/>
                    <a:pt x="149" y="45"/>
                  </a:cubicBezTo>
                  <a:cubicBezTo>
                    <a:pt x="148" y="46"/>
                    <a:pt x="148" y="46"/>
                    <a:pt x="148" y="46"/>
                  </a:cubicBezTo>
                  <a:cubicBezTo>
                    <a:pt x="148" y="46"/>
                    <a:pt x="148" y="46"/>
                    <a:pt x="148" y="46"/>
                  </a:cubicBezTo>
                  <a:cubicBezTo>
                    <a:pt x="148" y="46"/>
                    <a:pt x="148" y="47"/>
                    <a:pt x="148" y="47"/>
                  </a:cubicBezTo>
                  <a:cubicBezTo>
                    <a:pt x="149" y="48"/>
                    <a:pt x="149" y="48"/>
                    <a:pt x="149" y="48"/>
                  </a:cubicBezTo>
                  <a:cubicBezTo>
                    <a:pt x="152" y="52"/>
                    <a:pt x="150" y="56"/>
                    <a:pt x="149" y="58"/>
                  </a:cubicBezTo>
                  <a:cubicBezTo>
                    <a:pt x="149" y="59"/>
                    <a:pt x="148" y="60"/>
                    <a:pt x="148" y="60"/>
                  </a:cubicBezTo>
                  <a:cubicBezTo>
                    <a:pt x="148" y="61"/>
                    <a:pt x="148" y="61"/>
                    <a:pt x="148" y="61"/>
                  </a:cubicBezTo>
                  <a:cubicBezTo>
                    <a:pt x="149" y="62"/>
                    <a:pt x="150" y="64"/>
                    <a:pt x="151" y="65"/>
                  </a:cubicBezTo>
                  <a:cubicBezTo>
                    <a:pt x="154" y="68"/>
                    <a:pt x="154" y="68"/>
                    <a:pt x="154" y="68"/>
                  </a:cubicBezTo>
                  <a:cubicBezTo>
                    <a:pt x="154" y="69"/>
                    <a:pt x="154" y="69"/>
                    <a:pt x="154" y="69"/>
                  </a:cubicBezTo>
                  <a:cubicBezTo>
                    <a:pt x="154" y="70"/>
                    <a:pt x="154" y="70"/>
                    <a:pt x="155" y="70"/>
                  </a:cubicBezTo>
                  <a:cubicBezTo>
                    <a:pt x="155" y="70"/>
                    <a:pt x="156" y="69"/>
                    <a:pt x="157" y="69"/>
                  </a:cubicBezTo>
                  <a:cubicBezTo>
                    <a:pt x="158" y="68"/>
                    <a:pt x="160" y="68"/>
                    <a:pt x="161" y="68"/>
                  </a:cubicBezTo>
                  <a:cubicBezTo>
                    <a:pt x="166" y="67"/>
                    <a:pt x="166" y="67"/>
                    <a:pt x="166" y="67"/>
                  </a:cubicBezTo>
                  <a:cubicBezTo>
                    <a:pt x="163" y="73"/>
                    <a:pt x="163" y="73"/>
                    <a:pt x="163" y="73"/>
                  </a:cubicBezTo>
                  <a:cubicBezTo>
                    <a:pt x="163" y="74"/>
                    <a:pt x="163" y="74"/>
                    <a:pt x="163" y="74"/>
                  </a:cubicBezTo>
                  <a:cubicBezTo>
                    <a:pt x="163" y="75"/>
                    <a:pt x="163" y="75"/>
                    <a:pt x="163" y="75"/>
                  </a:cubicBezTo>
                  <a:cubicBezTo>
                    <a:pt x="163" y="75"/>
                    <a:pt x="163" y="75"/>
                    <a:pt x="163" y="75"/>
                  </a:cubicBezTo>
                  <a:cubicBezTo>
                    <a:pt x="163" y="76"/>
                    <a:pt x="163" y="77"/>
                    <a:pt x="164" y="77"/>
                  </a:cubicBezTo>
                  <a:cubicBezTo>
                    <a:pt x="164" y="77"/>
                    <a:pt x="164" y="77"/>
                    <a:pt x="164" y="77"/>
                  </a:cubicBezTo>
                  <a:cubicBezTo>
                    <a:pt x="164" y="77"/>
                    <a:pt x="164" y="78"/>
                    <a:pt x="166" y="78"/>
                  </a:cubicBezTo>
                  <a:cubicBezTo>
                    <a:pt x="168" y="78"/>
                    <a:pt x="168" y="78"/>
                    <a:pt x="168" y="78"/>
                  </a:cubicBezTo>
                  <a:cubicBezTo>
                    <a:pt x="170" y="79"/>
                    <a:pt x="171" y="79"/>
                    <a:pt x="172" y="79"/>
                  </a:cubicBezTo>
                  <a:cubicBezTo>
                    <a:pt x="173" y="79"/>
                    <a:pt x="173" y="79"/>
                    <a:pt x="174" y="79"/>
                  </a:cubicBezTo>
                  <a:cubicBezTo>
                    <a:pt x="175" y="80"/>
                    <a:pt x="175" y="80"/>
                    <a:pt x="175" y="80"/>
                  </a:cubicBezTo>
                  <a:cubicBezTo>
                    <a:pt x="176" y="80"/>
                    <a:pt x="177" y="81"/>
                    <a:pt x="177" y="81"/>
                  </a:cubicBezTo>
                  <a:cubicBezTo>
                    <a:pt x="179" y="83"/>
                    <a:pt x="180" y="86"/>
                    <a:pt x="179" y="89"/>
                  </a:cubicBezTo>
                  <a:cubicBezTo>
                    <a:pt x="177" y="92"/>
                    <a:pt x="174" y="94"/>
                    <a:pt x="172" y="95"/>
                  </a:cubicBezTo>
                  <a:cubicBezTo>
                    <a:pt x="171" y="95"/>
                    <a:pt x="171" y="95"/>
                    <a:pt x="171" y="95"/>
                  </a:cubicBezTo>
                  <a:cubicBezTo>
                    <a:pt x="170" y="95"/>
                    <a:pt x="169" y="96"/>
                    <a:pt x="168" y="96"/>
                  </a:cubicBezTo>
                  <a:cubicBezTo>
                    <a:pt x="167" y="96"/>
                    <a:pt x="167" y="96"/>
                    <a:pt x="167" y="96"/>
                  </a:cubicBezTo>
                  <a:cubicBezTo>
                    <a:pt x="167" y="97"/>
                    <a:pt x="166" y="97"/>
                    <a:pt x="165" y="97"/>
                  </a:cubicBezTo>
                  <a:cubicBezTo>
                    <a:pt x="165" y="97"/>
                    <a:pt x="165" y="97"/>
                    <a:pt x="164" y="98"/>
                  </a:cubicBezTo>
                  <a:cubicBezTo>
                    <a:pt x="163" y="98"/>
                    <a:pt x="163" y="98"/>
                    <a:pt x="163" y="98"/>
                  </a:cubicBezTo>
                  <a:cubicBezTo>
                    <a:pt x="162" y="98"/>
                    <a:pt x="162" y="98"/>
                    <a:pt x="162" y="98"/>
                  </a:cubicBezTo>
                  <a:cubicBezTo>
                    <a:pt x="162" y="99"/>
                    <a:pt x="162" y="99"/>
                    <a:pt x="162" y="99"/>
                  </a:cubicBezTo>
                  <a:cubicBezTo>
                    <a:pt x="160" y="100"/>
                    <a:pt x="160" y="100"/>
                    <a:pt x="160" y="101"/>
                  </a:cubicBezTo>
                  <a:cubicBezTo>
                    <a:pt x="159" y="101"/>
                    <a:pt x="159" y="101"/>
                    <a:pt x="159" y="101"/>
                  </a:cubicBezTo>
                  <a:cubicBezTo>
                    <a:pt x="160" y="104"/>
                    <a:pt x="160" y="104"/>
                    <a:pt x="160" y="104"/>
                  </a:cubicBezTo>
                  <a:cubicBezTo>
                    <a:pt x="160" y="106"/>
                    <a:pt x="160" y="108"/>
                    <a:pt x="161" y="110"/>
                  </a:cubicBezTo>
                  <a:cubicBezTo>
                    <a:pt x="161" y="110"/>
                    <a:pt x="161" y="110"/>
                    <a:pt x="161" y="110"/>
                  </a:cubicBezTo>
                  <a:cubicBezTo>
                    <a:pt x="161" y="111"/>
                    <a:pt x="161" y="112"/>
                    <a:pt x="161" y="112"/>
                  </a:cubicBezTo>
                  <a:cubicBezTo>
                    <a:pt x="161" y="115"/>
                    <a:pt x="161" y="115"/>
                    <a:pt x="161" y="115"/>
                  </a:cubicBezTo>
                  <a:cubicBezTo>
                    <a:pt x="162" y="116"/>
                    <a:pt x="162" y="117"/>
                    <a:pt x="162" y="119"/>
                  </a:cubicBezTo>
                  <a:cubicBezTo>
                    <a:pt x="163" y="121"/>
                    <a:pt x="160" y="124"/>
                    <a:pt x="158" y="125"/>
                  </a:cubicBezTo>
                  <a:cubicBezTo>
                    <a:pt x="156" y="127"/>
                    <a:pt x="154" y="129"/>
                    <a:pt x="152" y="130"/>
                  </a:cubicBezTo>
                  <a:cubicBezTo>
                    <a:pt x="152" y="130"/>
                    <a:pt x="152" y="130"/>
                    <a:pt x="152" y="130"/>
                  </a:cubicBezTo>
                  <a:cubicBezTo>
                    <a:pt x="151" y="131"/>
                    <a:pt x="149" y="132"/>
                    <a:pt x="149" y="132"/>
                  </a:cubicBezTo>
                  <a:cubicBezTo>
                    <a:pt x="148" y="133"/>
                    <a:pt x="148" y="133"/>
                    <a:pt x="148" y="133"/>
                  </a:cubicBezTo>
                  <a:cubicBezTo>
                    <a:pt x="147" y="134"/>
                    <a:pt x="146" y="135"/>
                    <a:pt x="145" y="136"/>
                  </a:cubicBezTo>
                  <a:cubicBezTo>
                    <a:pt x="145" y="137"/>
                    <a:pt x="145" y="137"/>
                    <a:pt x="145" y="137"/>
                  </a:cubicBezTo>
                  <a:cubicBezTo>
                    <a:pt x="144" y="137"/>
                    <a:pt x="144" y="138"/>
                    <a:pt x="144" y="138"/>
                  </a:cubicBezTo>
                  <a:cubicBezTo>
                    <a:pt x="144" y="139"/>
                    <a:pt x="144" y="139"/>
                    <a:pt x="145" y="140"/>
                  </a:cubicBezTo>
                  <a:cubicBezTo>
                    <a:pt x="145" y="140"/>
                    <a:pt x="145" y="140"/>
                    <a:pt x="145" y="140"/>
                  </a:cubicBezTo>
                  <a:cubicBezTo>
                    <a:pt x="145" y="141"/>
                    <a:pt x="145" y="141"/>
                    <a:pt x="145" y="141"/>
                  </a:cubicBezTo>
                  <a:cubicBezTo>
                    <a:pt x="147" y="143"/>
                    <a:pt x="147" y="143"/>
                    <a:pt x="147" y="143"/>
                  </a:cubicBezTo>
                  <a:cubicBezTo>
                    <a:pt x="145" y="145"/>
                    <a:pt x="145" y="145"/>
                    <a:pt x="145" y="145"/>
                  </a:cubicBezTo>
                  <a:cubicBezTo>
                    <a:pt x="143" y="146"/>
                    <a:pt x="141" y="147"/>
                    <a:pt x="140" y="147"/>
                  </a:cubicBezTo>
                  <a:cubicBezTo>
                    <a:pt x="139" y="148"/>
                    <a:pt x="139" y="148"/>
                    <a:pt x="139" y="148"/>
                  </a:cubicBezTo>
                  <a:cubicBezTo>
                    <a:pt x="137" y="149"/>
                    <a:pt x="135" y="150"/>
                    <a:pt x="133" y="151"/>
                  </a:cubicBezTo>
                  <a:cubicBezTo>
                    <a:pt x="132" y="151"/>
                    <a:pt x="131" y="151"/>
                    <a:pt x="131" y="152"/>
                  </a:cubicBezTo>
                  <a:cubicBezTo>
                    <a:pt x="130" y="153"/>
                    <a:pt x="130" y="155"/>
                    <a:pt x="129" y="157"/>
                  </a:cubicBezTo>
                  <a:cubicBezTo>
                    <a:pt x="129" y="157"/>
                    <a:pt x="129" y="158"/>
                    <a:pt x="129" y="158"/>
                  </a:cubicBezTo>
                  <a:cubicBezTo>
                    <a:pt x="129" y="160"/>
                    <a:pt x="129" y="160"/>
                    <a:pt x="129" y="160"/>
                  </a:cubicBezTo>
                  <a:cubicBezTo>
                    <a:pt x="128" y="160"/>
                    <a:pt x="128" y="161"/>
                    <a:pt x="128" y="162"/>
                  </a:cubicBezTo>
                  <a:cubicBezTo>
                    <a:pt x="127" y="164"/>
                    <a:pt x="126" y="165"/>
                    <a:pt x="125" y="167"/>
                  </a:cubicBezTo>
                  <a:cubicBezTo>
                    <a:pt x="125" y="167"/>
                    <a:pt x="125" y="167"/>
                    <a:pt x="125" y="167"/>
                  </a:cubicBezTo>
                  <a:cubicBezTo>
                    <a:pt x="124" y="169"/>
                    <a:pt x="123" y="170"/>
                    <a:pt x="123" y="171"/>
                  </a:cubicBezTo>
                  <a:cubicBezTo>
                    <a:pt x="120" y="175"/>
                    <a:pt x="118" y="177"/>
                    <a:pt x="114" y="179"/>
                  </a:cubicBezTo>
                  <a:cubicBezTo>
                    <a:pt x="114" y="179"/>
                    <a:pt x="114" y="179"/>
                    <a:pt x="114" y="179"/>
                  </a:cubicBezTo>
                  <a:cubicBezTo>
                    <a:pt x="113" y="180"/>
                    <a:pt x="112" y="180"/>
                    <a:pt x="111" y="180"/>
                  </a:cubicBezTo>
                  <a:cubicBezTo>
                    <a:pt x="109" y="181"/>
                    <a:pt x="108" y="182"/>
                    <a:pt x="107" y="184"/>
                  </a:cubicBezTo>
                  <a:cubicBezTo>
                    <a:pt x="109" y="186"/>
                    <a:pt x="109" y="186"/>
                    <a:pt x="109" y="186"/>
                  </a:cubicBezTo>
                  <a:cubicBezTo>
                    <a:pt x="106" y="185"/>
                    <a:pt x="106" y="185"/>
                    <a:pt x="106" y="185"/>
                  </a:cubicBezTo>
                  <a:cubicBezTo>
                    <a:pt x="90" y="206"/>
                    <a:pt x="90" y="206"/>
                    <a:pt x="90" y="206"/>
                  </a:cubicBezTo>
                  <a:cubicBezTo>
                    <a:pt x="89" y="207"/>
                    <a:pt x="88" y="207"/>
                    <a:pt x="87" y="207"/>
                  </a:cubicBezTo>
                  <a:cubicBezTo>
                    <a:pt x="86" y="208"/>
                    <a:pt x="84" y="208"/>
                    <a:pt x="81" y="208"/>
                  </a:cubicBezTo>
                  <a:cubicBezTo>
                    <a:pt x="80" y="208"/>
                    <a:pt x="80" y="208"/>
                    <a:pt x="80" y="208"/>
                  </a:cubicBezTo>
                  <a:cubicBezTo>
                    <a:pt x="80" y="208"/>
                    <a:pt x="79" y="208"/>
                    <a:pt x="79" y="208"/>
                  </a:cubicBezTo>
                  <a:cubicBezTo>
                    <a:pt x="78" y="208"/>
                    <a:pt x="78" y="209"/>
                    <a:pt x="77" y="209"/>
                  </a:cubicBezTo>
                  <a:cubicBezTo>
                    <a:pt x="76" y="209"/>
                    <a:pt x="76" y="209"/>
                    <a:pt x="76" y="209"/>
                  </a:cubicBezTo>
                  <a:cubicBezTo>
                    <a:pt x="76" y="209"/>
                    <a:pt x="76" y="209"/>
                    <a:pt x="76" y="209"/>
                  </a:cubicBezTo>
                  <a:cubicBezTo>
                    <a:pt x="74" y="209"/>
                    <a:pt x="72" y="210"/>
                    <a:pt x="71" y="211"/>
                  </a:cubicBezTo>
                  <a:cubicBezTo>
                    <a:pt x="70" y="211"/>
                    <a:pt x="70" y="211"/>
                    <a:pt x="70" y="211"/>
                  </a:cubicBezTo>
                  <a:cubicBezTo>
                    <a:pt x="69" y="212"/>
                    <a:pt x="68" y="212"/>
                    <a:pt x="67" y="212"/>
                  </a:cubicBezTo>
                  <a:cubicBezTo>
                    <a:pt x="65" y="212"/>
                    <a:pt x="64" y="211"/>
                    <a:pt x="63" y="211"/>
                  </a:cubicBezTo>
                  <a:cubicBezTo>
                    <a:pt x="62" y="210"/>
                    <a:pt x="62" y="210"/>
                    <a:pt x="62" y="210"/>
                  </a:cubicBezTo>
                  <a:cubicBezTo>
                    <a:pt x="62" y="210"/>
                    <a:pt x="62" y="210"/>
                    <a:pt x="61" y="209"/>
                  </a:cubicBezTo>
                  <a:cubicBezTo>
                    <a:pt x="61" y="208"/>
                    <a:pt x="60" y="207"/>
                    <a:pt x="60" y="206"/>
                  </a:cubicBezTo>
                  <a:cubicBezTo>
                    <a:pt x="59" y="206"/>
                    <a:pt x="59" y="205"/>
                    <a:pt x="58" y="204"/>
                  </a:cubicBezTo>
                  <a:cubicBezTo>
                    <a:pt x="58" y="204"/>
                    <a:pt x="58" y="204"/>
                    <a:pt x="58" y="204"/>
                  </a:cubicBezTo>
                  <a:cubicBezTo>
                    <a:pt x="58" y="204"/>
                    <a:pt x="58" y="204"/>
                    <a:pt x="58" y="204"/>
                  </a:cubicBezTo>
                  <a:cubicBezTo>
                    <a:pt x="57" y="204"/>
                    <a:pt x="57" y="204"/>
                    <a:pt x="57" y="204"/>
                  </a:cubicBezTo>
                  <a:cubicBezTo>
                    <a:pt x="57" y="204"/>
                    <a:pt x="57" y="204"/>
                    <a:pt x="57" y="204"/>
                  </a:cubicBezTo>
                  <a:cubicBezTo>
                    <a:pt x="56" y="204"/>
                    <a:pt x="56" y="204"/>
                    <a:pt x="56" y="204"/>
                  </a:cubicBezTo>
                  <a:cubicBezTo>
                    <a:pt x="56" y="204"/>
                    <a:pt x="56" y="204"/>
                    <a:pt x="55" y="204"/>
                  </a:cubicBezTo>
                  <a:cubicBezTo>
                    <a:pt x="55" y="205"/>
                    <a:pt x="55" y="205"/>
                    <a:pt x="55" y="205"/>
                  </a:cubicBezTo>
                  <a:cubicBezTo>
                    <a:pt x="54" y="205"/>
                    <a:pt x="54" y="205"/>
                    <a:pt x="54" y="205"/>
                  </a:cubicBezTo>
                  <a:cubicBezTo>
                    <a:pt x="53" y="206"/>
                    <a:pt x="53" y="206"/>
                    <a:pt x="53" y="206"/>
                  </a:cubicBezTo>
                  <a:cubicBezTo>
                    <a:pt x="51" y="208"/>
                    <a:pt x="51" y="208"/>
                    <a:pt x="51" y="208"/>
                  </a:cubicBezTo>
                  <a:cubicBezTo>
                    <a:pt x="51" y="209"/>
                    <a:pt x="51" y="209"/>
                    <a:pt x="51" y="209"/>
                  </a:cubicBezTo>
                  <a:cubicBezTo>
                    <a:pt x="50" y="209"/>
                    <a:pt x="50" y="209"/>
                    <a:pt x="50" y="209"/>
                  </a:cubicBezTo>
                  <a:cubicBezTo>
                    <a:pt x="50" y="210"/>
                    <a:pt x="49" y="211"/>
                    <a:pt x="49" y="211"/>
                  </a:cubicBezTo>
                  <a:cubicBezTo>
                    <a:pt x="48" y="213"/>
                    <a:pt x="46" y="214"/>
                    <a:pt x="45" y="216"/>
                  </a:cubicBezTo>
                  <a:cubicBezTo>
                    <a:pt x="43" y="219"/>
                    <a:pt x="40" y="222"/>
                    <a:pt x="38" y="225"/>
                  </a:cubicBezTo>
                  <a:cubicBezTo>
                    <a:pt x="36" y="228"/>
                    <a:pt x="35" y="231"/>
                    <a:pt x="35" y="232"/>
                  </a:cubicBezTo>
                  <a:cubicBezTo>
                    <a:pt x="36" y="233"/>
                    <a:pt x="36" y="233"/>
                    <a:pt x="36" y="233"/>
                  </a:cubicBezTo>
                  <a:cubicBezTo>
                    <a:pt x="37" y="234"/>
                    <a:pt x="38" y="234"/>
                    <a:pt x="40" y="235"/>
                  </a:cubicBezTo>
                  <a:cubicBezTo>
                    <a:pt x="41" y="235"/>
                    <a:pt x="41" y="235"/>
                    <a:pt x="41" y="235"/>
                  </a:cubicBezTo>
                  <a:cubicBezTo>
                    <a:pt x="42" y="235"/>
                    <a:pt x="44" y="236"/>
                    <a:pt x="45" y="236"/>
                  </a:cubicBezTo>
                  <a:cubicBezTo>
                    <a:pt x="46" y="236"/>
                    <a:pt x="46" y="236"/>
                    <a:pt x="47" y="236"/>
                  </a:cubicBezTo>
                  <a:cubicBezTo>
                    <a:pt x="48" y="236"/>
                    <a:pt x="49" y="236"/>
                    <a:pt x="50" y="237"/>
                  </a:cubicBezTo>
                  <a:cubicBezTo>
                    <a:pt x="51" y="238"/>
                    <a:pt x="52" y="239"/>
                    <a:pt x="53" y="241"/>
                  </a:cubicBezTo>
                  <a:cubicBezTo>
                    <a:pt x="53" y="243"/>
                    <a:pt x="53" y="245"/>
                    <a:pt x="52" y="247"/>
                  </a:cubicBezTo>
                  <a:cubicBezTo>
                    <a:pt x="52" y="249"/>
                    <a:pt x="52" y="251"/>
                    <a:pt x="52" y="252"/>
                  </a:cubicBezTo>
                  <a:cubicBezTo>
                    <a:pt x="52" y="252"/>
                    <a:pt x="52" y="253"/>
                    <a:pt x="52" y="254"/>
                  </a:cubicBezTo>
                  <a:cubicBezTo>
                    <a:pt x="53" y="254"/>
                    <a:pt x="53" y="254"/>
                    <a:pt x="53" y="254"/>
                  </a:cubicBezTo>
                  <a:cubicBezTo>
                    <a:pt x="53" y="256"/>
                    <a:pt x="54" y="258"/>
                    <a:pt x="54" y="259"/>
                  </a:cubicBezTo>
                  <a:cubicBezTo>
                    <a:pt x="55" y="259"/>
                    <a:pt x="55" y="259"/>
                    <a:pt x="55" y="259"/>
                  </a:cubicBezTo>
                  <a:cubicBezTo>
                    <a:pt x="56" y="260"/>
                    <a:pt x="56" y="260"/>
                    <a:pt x="56" y="260"/>
                  </a:cubicBezTo>
                  <a:cubicBezTo>
                    <a:pt x="57" y="260"/>
                    <a:pt x="57" y="260"/>
                    <a:pt x="57" y="260"/>
                  </a:cubicBezTo>
                  <a:cubicBezTo>
                    <a:pt x="57" y="260"/>
                    <a:pt x="57" y="260"/>
                    <a:pt x="57" y="260"/>
                  </a:cubicBezTo>
                  <a:cubicBezTo>
                    <a:pt x="57" y="259"/>
                    <a:pt x="57" y="259"/>
                    <a:pt x="57" y="259"/>
                  </a:cubicBezTo>
                  <a:cubicBezTo>
                    <a:pt x="58" y="259"/>
                    <a:pt x="58" y="259"/>
                    <a:pt x="58" y="259"/>
                  </a:cubicBezTo>
                  <a:cubicBezTo>
                    <a:pt x="58" y="259"/>
                    <a:pt x="59" y="259"/>
                    <a:pt x="59" y="259"/>
                  </a:cubicBezTo>
                  <a:cubicBezTo>
                    <a:pt x="59" y="259"/>
                    <a:pt x="60" y="259"/>
                    <a:pt x="60" y="259"/>
                  </a:cubicBezTo>
                  <a:cubicBezTo>
                    <a:pt x="60" y="259"/>
                    <a:pt x="61" y="259"/>
                    <a:pt x="61" y="259"/>
                  </a:cubicBezTo>
                  <a:cubicBezTo>
                    <a:pt x="63" y="259"/>
                    <a:pt x="64" y="261"/>
                    <a:pt x="65" y="263"/>
                  </a:cubicBezTo>
                  <a:cubicBezTo>
                    <a:pt x="65" y="264"/>
                    <a:pt x="65" y="265"/>
                    <a:pt x="66" y="266"/>
                  </a:cubicBezTo>
                  <a:cubicBezTo>
                    <a:pt x="66" y="267"/>
                    <a:pt x="66" y="269"/>
                    <a:pt x="67" y="270"/>
                  </a:cubicBezTo>
                  <a:cubicBezTo>
                    <a:pt x="67" y="271"/>
                    <a:pt x="67" y="272"/>
                    <a:pt x="67" y="272"/>
                  </a:cubicBezTo>
                  <a:cubicBezTo>
                    <a:pt x="68" y="273"/>
                    <a:pt x="68" y="273"/>
                    <a:pt x="68" y="273"/>
                  </a:cubicBezTo>
                  <a:cubicBezTo>
                    <a:pt x="68" y="273"/>
                    <a:pt x="68" y="273"/>
                    <a:pt x="68" y="273"/>
                  </a:cubicBezTo>
                  <a:cubicBezTo>
                    <a:pt x="73" y="285"/>
                    <a:pt x="73" y="285"/>
                    <a:pt x="73" y="285"/>
                  </a:cubicBezTo>
                  <a:cubicBezTo>
                    <a:pt x="74" y="286"/>
                    <a:pt x="74" y="287"/>
                    <a:pt x="74" y="289"/>
                  </a:cubicBezTo>
                  <a:cubicBezTo>
                    <a:pt x="74" y="290"/>
                    <a:pt x="74" y="291"/>
                    <a:pt x="73" y="292"/>
                  </a:cubicBezTo>
                  <a:cubicBezTo>
                    <a:pt x="73" y="292"/>
                    <a:pt x="73" y="292"/>
                    <a:pt x="73" y="292"/>
                  </a:cubicBezTo>
                  <a:cubicBezTo>
                    <a:pt x="74" y="293"/>
                    <a:pt x="74" y="293"/>
                    <a:pt x="74" y="293"/>
                  </a:cubicBezTo>
                  <a:cubicBezTo>
                    <a:pt x="74" y="293"/>
                    <a:pt x="74" y="293"/>
                    <a:pt x="74" y="293"/>
                  </a:cubicBezTo>
                  <a:cubicBezTo>
                    <a:pt x="75" y="295"/>
                    <a:pt x="75" y="295"/>
                    <a:pt x="75" y="295"/>
                  </a:cubicBezTo>
                  <a:cubicBezTo>
                    <a:pt x="75" y="295"/>
                    <a:pt x="75" y="295"/>
                    <a:pt x="75" y="295"/>
                  </a:cubicBezTo>
                  <a:cubicBezTo>
                    <a:pt x="75" y="297"/>
                    <a:pt x="74" y="298"/>
                    <a:pt x="73" y="299"/>
                  </a:cubicBezTo>
                  <a:cubicBezTo>
                    <a:pt x="72" y="299"/>
                    <a:pt x="72" y="300"/>
                    <a:pt x="71" y="300"/>
                  </a:cubicBezTo>
                  <a:cubicBezTo>
                    <a:pt x="70" y="300"/>
                    <a:pt x="70" y="300"/>
                    <a:pt x="69" y="300"/>
                  </a:cubicBezTo>
                  <a:cubicBezTo>
                    <a:pt x="69" y="300"/>
                    <a:pt x="69" y="300"/>
                    <a:pt x="69" y="300"/>
                  </a:cubicBezTo>
                  <a:cubicBezTo>
                    <a:pt x="69" y="301"/>
                    <a:pt x="69" y="301"/>
                    <a:pt x="69" y="301"/>
                  </a:cubicBezTo>
                  <a:cubicBezTo>
                    <a:pt x="69" y="302"/>
                    <a:pt x="69" y="302"/>
                    <a:pt x="69" y="302"/>
                  </a:cubicBezTo>
                  <a:cubicBezTo>
                    <a:pt x="68" y="302"/>
                    <a:pt x="68" y="302"/>
                    <a:pt x="68" y="302"/>
                  </a:cubicBezTo>
                  <a:cubicBezTo>
                    <a:pt x="67" y="303"/>
                    <a:pt x="66" y="303"/>
                    <a:pt x="65" y="303"/>
                  </a:cubicBezTo>
                  <a:cubicBezTo>
                    <a:pt x="64" y="303"/>
                    <a:pt x="64" y="303"/>
                    <a:pt x="63" y="303"/>
                  </a:cubicBezTo>
                  <a:cubicBezTo>
                    <a:pt x="62" y="302"/>
                    <a:pt x="60" y="302"/>
                    <a:pt x="59" y="301"/>
                  </a:cubicBezTo>
                  <a:cubicBezTo>
                    <a:pt x="58" y="300"/>
                    <a:pt x="58" y="300"/>
                    <a:pt x="58" y="300"/>
                  </a:cubicBezTo>
                  <a:cubicBezTo>
                    <a:pt x="57" y="299"/>
                    <a:pt x="57" y="299"/>
                    <a:pt x="57" y="299"/>
                  </a:cubicBezTo>
                  <a:cubicBezTo>
                    <a:pt x="57" y="299"/>
                    <a:pt x="57" y="299"/>
                    <a:pt x="57" y="299"/>
                  </a:cubicBezTo>
                  <a:cubicBezTo>
                    <a:pt x="55" y="300"/>
                    <a:pt x="55" y="300"/>
                    <a:pt x="55" y="300"/>
                  </a:cubicBezTo>
                  <a:cubicBezTo>
                    <a:pt x="54" y="300"/>
                    <a:pt x="51" y="301"/>
                    <a:pt x="50" y="301"/>
                  </a:cubicBezTo>
                  <a:cubicBezTo>
                    <a:pt x="50" y="302"/>
                    <a:pt x="50" y="302"/>
                    <a:pt x="50" y="302"/>
                  </a:cubicBezTo>
                  <a:cubicBezTo>
                    <a:pt x="49" y="304"/>
                    <a:pt x="49" y="304"/>
                    <a:pt x="49" y="304"/>
                  </a:cubicBezTo>
                  <a:cubicBezTo>
                    <a:pt x="48" y="304"/>
                    <a:pt x="48" y="304"/>
                    <a:pt x="48" y="304"/>
                  </a:cubicBezTo>
                  <a:cubicBezTo>
                    <a:pt x="47" y="305"/>
                    <a:pt x="45" y="305"/>
                    <a:pt x="44" y="305"/>
                  </a:cubicBezTo>
                  <a:cubicBezTo>
                    <a:pt x="43" y="305"/>
                    <a:pt x="43" y="305"/>
                    <a:pt x="42" y="305"/>
                  </a:cubicBezTo>
                  <a:cubicBezTo>
                    <a:pt x="41" y="305"/>
                    <a:pt x="40" y="305"/>
                    <a:pt x="39" y="304"/>
                  </a:cubicBezTo>
                  <a:cubicBezTo>
                    <a:pt x="38" y="304"/>
                    <a:pt x="38" y="304"/>
                    <a:pt x="37" y="304"/>
                  </a:cubicBezTo>
                  <a:cubicBezTo>
                    <a:pt x="29" y="303"/>
                    <a:pt x="29" y="303"/>
                    <a:pt x="29" y="303"/>
                  </a:cubicBezTo>
                  <a:cubicBezTo>
                    <a:pt x="26" y="303"/>
                    <a:pt x="22" y="302"/>
                    <a:pt x="18" y="302"/>
                  </a:cubicBezTo>
                  <a:cubicBezTo>
                    <a:pt x="18" y="303"/>
                    <a:pt x="18" y="305"/>
                    <a:pt x="17" y="306"/>
                  </a:cubicBezTo>
                  <a:cubicBezTo>
                    <a:pt x="17" y="306"/>
                    <a:pt x="17" y="306"/>
                    <a:pt x="17" y="306"/>
                  </a:cubicBezTo>
                  <a:cubicBezTo>
                    <a:pt x="17" y="307"/>
                    <a:pt x="17" y="307"/>
                    <a:pt x="17" y="308"/>
                  </a:cubicBezTo>
                  <a:cubicBezTo>
                    <a:pt x="16" y="309"/>
                    <a:pt x="16" y="309"/>
                    <a:pt x="16" y="309"/>
                  </a:cubicBezTo>
                  <a:cubicBezTo>
                    <a:pt x="16" y="310"/>
                    <a:pt x="15" y="310"/>
                    <a:pt x="14" y="310"/>
                  </a:cubicBezTo>
                  <a:cubicBezTo>
                    <a:pt x="13" y="310"/>
                    <a:pt x="13" y="310"/>
                    <a:pt x="12" y="310"/>
                  </a:cubicBezTo>
                  <a:cubicBezTo>
                    <a:pt x="12" y="310"/>
                    <a:pt x="12" y="310"/>
                    <a:pt x="12" y="310"/>
                  </a:cubicBezTo>
                  <a:cubicBezTo>
                    <a:pt x="11" y="310"/>
                    <a:pt x="11" y="310"/>
                    <a:pt x="10" y="310"/>
                  </a:cubicBezTo>
                  <a:cubicBezTo>
                    <a:pt x="10" y="310"/>
                    <a:pt x="10" y="310"/>
                    <a:pt x="10" y="310"/>
                  </a:cubicBezTo>
                  <a:cubicBezTo>
                    <a:pt x="0" y="317"/>
                    <a:pt x="0" y="317"/>
                    <a:pt x="0" y="317"/>
                  </a:cubicBezTo>
                  <a:cubicBezTo>
                    <a:pt x="1" y="317"/>
                    <a:pt x="1" y="317"/>
                    <a:pt x="2" y="317"/>
                  </a:cubicBezTo>
                  <a:cubicBezTo>
                    <a:pt x="3" y="317"/>
                    <a:pt x="4" y="317"/>
                    <a:pt x="5" y="316"/>
                  </a:cubicBezTo>
                  <a:cubicBezTo>
                    <a:pt x="8" y="314"/>
                    <a:pt x="11" y="312"/>
                    <a:pt x="15" y="310"/>
                  </a:cubicBezTo>
                  <a:cubicBezTo>
                    <a:pt x="15" y="310"/>
                    <a:pt x="15" y="310"/>
                    <a:pt x="15" y="310"/>
                  </a:cubicBezTo>
                  <a:cubicBezTo>
                    <a:pt x="15" y="311"/>
                    <a:pt x="15" y="311"/>
                    <a:pt x="15" y="311"/>
                  </a:cubicBezTo>
                  <a:cubicBezTo>
                    <a:pt x="14" y="312"/>
                    <a:pt x="12" y="312"/>
                    <a:pt x="11" y="313"/>
                  </a:cubicBezTo>
                  <a:cubicBezTo>
                    <a:pt x="9" y="315"/>
                    <a:pt x="8" y="316"/>
                    <a:pt x="7" y="316"/>
                  </a:cubicBezTo>
                  <a:cubicBezTo>
                    <a:pt x="7" y="316"/>
                    <a:pt x="7" y="316"/>
                    <a:pt x="7" y="316"/>
                  </a:cubicBezTo>
                  <a:cubicBezTo>
                    <a:pt x="7" y="317"/>
                    <a:pt x="7" y="317"/>
                    <a:pt x="7" y="317"/>
                  </a:cubicBezTo>
                  <a:cubicBezTo>
                    <a:pt x="7" y="317"/>
                    <a:pt x="7" y="318"/>
                    <a:pt x="7" y="318"/>
                  </a:cubicBezTo>
                  <a:cubicBezTo>
                    <a:pt x="8" y="321"/>
                    <a:pt x="9" y="323"/>
                    <a:pt x="10" y="325"/>
                  </a:cubicBezTo>
                  <a:cubicBezTo>
                    <a:pt x="11" y="327"/>
                    <a:pt x="13" y="329"/>
                    <a:pt x="15" y="330"/>
                  </a:cubicBezTo>
                  <a:cubicBezTo>
                    <a:pt x="15" y="331"/>
                    <a:pt x="16" y="331"/>
                    <a:pt x="17" y="332"/>
                  </a:cubicBezTo>
                  <a:cubicBezTo>
                    <a:pt x="18" y="333"/>
                    <a:pt x="19" y="333"/>
                    <a:pt x="20" y="334"/>
                  </a:cubicBezTo>
                  <a:cubicBezTo>
                    <a:pt x="23" y="335"/>
                    <a:pt x="25" y="336"/>
                    <a:pt x="27" y="337"/>
                  </a:cubicBezTo>
                  <a:cubicBezTo>
                    <a:pt x="28" y="337"/>
                    <a:pt x="28" y="337"/>
                    <a:pt x="29" y="338"/>
                  </a:cubicBezTo>
                  <a:cubicBezTo>
                    <a:pt x="30" y="338"/>
                    <a:pt x="32" y="339"/>
                    <a:pt x="34" y="339"/>
                  </a:cubicBezTo>
                  <a:cubicBezTo>
                    <a:pt x="35" y="339"/>
                    <a:pt x="36" y="339"/>
                    <a:pt x="37" y="339"/>
                  </a:cubicBezTo>
                  <a:cubicBezTo>
                    <a:pt x="37" y="339"/>
                    <a:pt x="38" y="339"/>
                    <a:pt x="38" y="339"/>
                  </a:cubicBezTo>
                  <a:cubicBezTo>
                    <a:pt x="40" y="339"/>
                    <a:pt x="41" y="337"/>
                    <a:pt x="43" y="336"/>
                  </a:cubicBezTo>
                  <a:cubicBezTo>
                    <a:pt x="45" y="336"/>
                    <a:pt x="49" y="335"/>
                    <a:pt x="48" y="334"/>
                  </a:cubicBezTo>
                  <a:cubicBezTo>
                    <a:pt x="49" y="334"/>
                    <a:pt x="49" y="334"/>
                    <a:pt x="49" y="334"/>
                  </a:cubicBezTo>
                  <a:cubicBezTo>
                    <a:pt x="50" y="334"/>
                    <a:pt x="52" y="335"/>
                    <a:pt x="53" y="335"/>
                  </a:cubicBezTo>
                  <a:cubicBezTo>
                    <a:pt x="54" y="335"/>
                    <a:pt x="54" y="335"/>
                    <a:pt x="55" y="334"/>
                  </a:cubicBezTo>
                  <a:cubicBezTo>
                    <a:pt x="56" y="334"/>
                    <a:pt x="56" y="331"/>
                    <a:pt x="57" y="330"/>
                  </a:cubicBezTo>
                  <a:cubicBezTo>
                    <a:pt x="56" y="332"/>
                    <a:pt x="54" y="337"/>
                    <a:pt x="52" y="340"/>
                  </a:cubicBezTo>
                  <a:cubicBezTo>
                    <a:pt x="51" y="342"/>
                    <a:pt x="50" y="344"/>
                    <a:pt x="49" y="345"/>
                  </a:cubicBezTo>
                  <a:cubicBezTo>
                    <a:pt x="48" y="345"/>
                    <a:pt x="47" y="345"/>
                    <a:pt x="47" y="345"/>
                  </a:cubicBezTo>
                  <a:cubicBezTo>
                    <a:pt x="43" y="347"/>
                    <a:pt x="38" y="348"/>
                    <a:pt x="34" y="349"/>
                  </a:cubicBezTo>
                  <a:cubicBezTo>
                    <a:pt x="34" y="349"/>
                    <a:pt x="34" y="349"/>
                    <a:pt x="33" y="350"/>
                  </a:cubicBezTo>
                  <a:cubicBezTo>
                    <a:pt x="32" y="350"/>
                    <a:pt x="28" y="351"/>
                    <a:pt x="26" y="351"/>
                  </a:cubicBezTo>
                  <a:cubicBezTo>
                    <a:pt x="24" y="351"/>
                    <a:pt x="24" y="350"/>
                    <a:pt x="26" y="348"/>
                  </a:cubicBezTo>
                  <a:cubicBezTo>
                    <a:pt x="25" y="348"/>
                    <a:pt x="25" y="348"/>
                    <a:pt x="25" y="348"/>
                  </a:cubicBezTo>
                  <a:cubicBezTo>
                    <a:pt x="24" y="348"/>
                    <a:pt x="23" y="348"/>
                    <a:pt x="22" y="348"/>
                  </a:cubicBezTo>
                  <a:cubicBezTo>
                    <a:pt x="19" y="348"/>
                    <a:pt x="19" y="350"/>
                    <a:pt x="20" y="353"/>
                  </a:cubicBezTo>
                  <a:cubicBezTo>
                    <a:pt x="21" y="353"/>
                    <a:pt x="21" y="354"/>
                    <a:pt x="22" y="355"/>
                  </a:cubicBezTo>
                  <a:cubicBezTo>
                    <a:pt x="23" y="356"/>
                    <a:pt x="24" y="357"/>
                    <a:pt x="25" y="358"/>
                  </a:cubicBezTo>
                  <a:cubicBezTo>
                    <a:pt x="26" y="359"/>
                    <a:pt x="27" y="360"/>
                    <a:pt x="28" y="361"/>
                  </a:cubicBezTo>
                  <a:cubicBezTo>
                    <a:pt x="29" y="362"/>
                    <a:pt x="29" y="362"/>
                    <a:pt x="30" y="363"/>
                  </a:cubicBezTo>
                  <a:cubicBezTo>
                    <a:pt x="31" y="364"/>
                    <a:pt x="33" y="366"/>
                    <a:pt x="35" y="367"/>
                  </a:cubicBezTo>
                  <a:cubicBezTo>
                    <a:pt x="36" y="369"/>
                    <a:pt x="38" y="370"/>
                    <a:pt x="39" y="372"/>
                  </a:cubicBezTo>
                  <a:cubicBezTo>
                    <a:pt x="41" y="373"/>
                    <a:pt x="42" y="375"/>
                    <a:pt x="44" y="376"/>
                  </a:cubicBezTo>
                  <a:cubicBezTo>
                    <a:pt x="44" y="377"/>
                    <a:pt x="44" y="377"/>
                    <a:pt x="44" y="377"/>
                  </a:cubicBezTo>
                  <a:cubicBezTo>
                    <a:pt x="46" y="378"/>
                    <a:pt x="47" y="380"/>
                    <a:pt x="49" y="382"/>
                  </a:cubicBezTo>
                  <a:cubicBezTo>
                    <a:pt x="50" y="384"/>
                    <a:pt x="52" y="385"/>
                    <a:pt x="54" y="387"/>
                  </a:cubicBezTo>
                  <a:cubicBezTo>
                    <a:pt x="55" y="388"/>
                    <a:pt x="57" y="389"/>
                    <a:pt x="59" y="389"/>
                  </a:cubicBezTo>
                  <a:cubicBezTo>
                    <a:pt x="59" y="389"/>
                    <a:pt x="59" y="390"/>
                    <a:pt x="60" y="390"/>
                  </a:cubicBezTo>
                  <a:cubicBezTo>
                    <a:pt x="62" y="390"/>
                    <a:pt x="66" y="391"/>
                    <a:pt x="68" y="392"/>
                  </a:cubicBezTo>
                  <a:cubicBezTo>
                    <a:pt x="68" y="392"/>
                    <a:pt x="68" y="392"/>
                    <a:pt x="69" y="392"/>
                  </a:cubicBezTo>
                  <a:cubicBezTo>
                    <a:pt x="69" y="392"/>
                    <a:pt x="69" y="392"/>
                    <a:pt x="69" y="391"/>
                  </a:cubicBezTo>
                  <a:cubicBezTo>
                    <a:pt x="73" y="390"/>
                    <a:pt x="77" y="388"/>
                    <a:pt x="81" y="387"/>
                  </a:cubicBezTo>
                  <a:cubicBezTo>
                    <a:pt x="81" y="387"/>
                    <a:pt x="82" y="386"/>
                    <a:pt x="83" y="386"/>
                  </a:cubicBezTo>
                  <a:cubicBezTo>
                    <a:pt x="88" y="384"/>
                    <a:pt x="94" y="382"/>
                    <a:pt x="97" y="379"/>
                  </a:cubicBezTo>
                  <a:cubicBezTo>
                    <a:pt x="99" y="377"/>
                    <a:pt x="100" y="373"/>
                    <a:pt x="101" y="371"/>
                  </a:cubicBezTo>
                  <a:cubicBezTo>
                    <a:pt x="102" y="368"/>
                    <a:pt x="102" y="368"/>
                    <a:pt x="101" y="368"/>
                  </a:cubicBezTo>
                  <a:cubicBezTo>
                    <a:pt x="101" y="367"/>
                    <a:pt x="101" y="367"/>
                    <a:pt x="101" y="367"/>
                  </a:cubicBezTo>
                  <a:cubicBezTo>
                    <a:pt x="99" y="364"/>
                    <a:pt x="98" y="365"/>
                    <a:pt x="96" y="364"/>
                  </a:cubicBezTo>
                  <a:cubicBezTo>
                    <a:pt x="95" y="363"/>
                    <a:pt x="95" y="363"/>
                    <a:pt x="95" y="362"/>
                  </a:cubicBezTo>
                  <a:cubicBezTo>
                    <a:pt x="95" y="362"/>
                    <a:pt x="96" y="362"/>
                    <a:pt x="96" y="362"/>
                  </a:cubicBezTo>
                  <a:cubicBezTo>
                    <a:pt x="97" y="362"/>
                    <a:pt x="97" y="362"/>
                    <a:pt x="98" y="362"/>
                  </a:cubicBezTo>
                  <a:cubicBezTo>
                    <a:pt x="98" y="362"/>
                    <a:pt x="98" y="362"/>
                    <a:pt x="98" y="362"/>
                  </a:cubicBezTo>
                  <a:cubicBezTo>
                    <a:pt x="98" y="362"/>
                    <a:pt x="98" y="362"/>
                    <a:pt x="98" y="361"/>
                  </a:cubicBezTo>
                  <a:cubicBezTo>
                    <a:pt x="98" y="361"/>
                    <a:pt x="97" y="360"/>
                    <a:pt x="96" y="359"/>
                  </a:cubicBezTo>
                  <a:cubicBezTo>
                    <a:pt x="98" y="358"/>
                    <a:pt x="103" y="357"/>
                    <a:pt x="102" y="354"/>
                  </a:cubicBezTo>
                  <a:cubicBezTo>
                    <a:pt x="102" y="352"/>
                    <a:pt x="100" y="352"/>
                    <a:pt x="98" y="351"/>
                  </a:cubicBezTo>
                  <a:cubicBezTo>
                    <a:pt x="98" y="351"/>
                    <a:pt x="98" y="351"/>
                    <a:pt x="98" y="351"/>
                  </a:cubicBezTo>
                  <a:cubicBezTo>
                    <a:pt x="98" y="351"/>
                    <a:pt x="98" y="351"/>
                    <a:pt x="98" y="351"/>
                  </a:cubicBezTo>
                  <a:cubicBezTo>
                    <a:pt x="99" y="351"/>
                    <a:pt x="100" y="351"/>
                    <a:pt x="100" y="351"/>
                  </a:cubicBezTo>
                  <a:cubicBezTo>
                    <a:pt x="103" y="351"/>
                    <a:pt x="106" y="351"/>
                    <a:pt x="108" y="351"/>
                  </a:cubicBezTo>
                  <a:cubicBezTo>
                    <a:pt x="111" y="351"/>
                    <a:pt x="114" y="351"/>
                    <a:pt x="117" y="352"/>
                  </a:cubicBezTo>
                  <a:cubicBezTo>
                    <a:pt x="117" y="352"/>
                    <a:pt x="117" y="352"/>
                    <a:pt x="117" y="352"/>
                  </a:cubicBezTo>
                  <a:cubicBezTo>
                    <a:pt x="118" y="352"/>
                    <a:pt x="117" y="352"/>
                    <a:pt x="116" y="353"/>
                  </a:cubicBezTo>
                  <a:cubicBezTo>
                    <a:pt x="116" y="353"/>
                    <a:pt x="116" y="353"/>
                    <a:pt x="115" y="353"/>
                  </a:cubicBezTo>
                  <a:cubicBezTo>
                    <a:pt x="115" y="353"/>
                    <a:pt x="115" y="353"/>
                    <a:pt x="115" y="352"/>
                  </a:cubicBezTo>
                  <a:cubicBezTo>
                    <a:pt x="113" y="353"/>
                    <a:pt x="108" y="354"/>
                    <a:pt x="107" y="357"/>
                  </a:cubicBezTo>
                  <a:cubicBezTo>
                    <a:pt x="107" y="357"/>
                    <a:pt x="107" y="360"/>
                    <a:pt x="107" y="362"/>
                  </a:cubicBezTo>
                  <a:cubicBezTo>
                    <a:pt x="107" y="364"/>
                    <a:pt x="107" y="366"/>
                    <a:pt x="108" y="366"/>
                  </a:cubicBezTo>
                  <a:cubicBezTo>
                    <a:pt x="108" y="367"/>
                    <a:pt x="110" y="367"/>
                    <a:pt x="111" y="367"/>
                  </a:cubicBezTo>
                  <a:cubicBezTo>
                    <a:pt x="111" y="367"/>
                    <a:pt x="111" y="367"/>
                    <a:pt x="111" y="367"/>
                  </a:cubicBezTo>
                  <a:cubicBezTo>
                    <a:pt x="115" y="367"/>
                    <a:pt x="120" y="366"/>
                    <a:pt x="122" y="365"/>
                  </a:cubicBezTo>
                  <a:cubicBezTo>
                    <a:pt x="117" y="368"/>
                    <a:pt x="112" y="368"/>
                    <a:pt x="109" y="374"/>
                  </a:cubicBezTo>
                  <a:cubicBezTo>
                    <a:pt x="110" y="373"/>
                    <a:pt x="111" y="373"/>
                    <a:pt x="112" y="372"/>
                  </a:cubicBezTo>
                  <a:cubicBezTo>
                    <a:pt x="109" y="375"/>
                    <a:pt x="108" y="376"/>
                    <a:pt x="109" y="379"/>
                  </a:cubicBezTo>
                  <a:cubicBezTo>
                    <a:pt x="109" y="380"/>
                    <a:pt x="109" y="380"/>
                    <a:pt x="110" y="382"/>
                  </a:cubicBezTo>
                  <a:cubicBezTo>
                    <a:pt x="110" y="382"/>
                    <a:pt x="110" y="382"/>
                    <a:pt x="110" y="382"/>
                  </a:cubicBezTo>
                  <a:cubicBezTo>
                    <a:pt x="110" y="382"/>
                    <a:pt x="111" y="381"/>
                    <a:pt x="111" y="381"/>
                  </a:cubicBezTo>
                  <a:cubicBezTo>
                    <a:pt x="111" y="382"/>
                    <a:pt x="112" y="382"/>
                    <a:pt x="112" y="382"/>
                  </a:cubicBezTo>
                  <a:cubicBezTo>
                    <a:pt x="112" y="382"/>
                    <a:pt x="112" y="382"/>
                    <a:pt x="112" y="382"/>
                  </a:cubicBezTo>
                  <a:cubicBezTo>
                    <a:pt x="113" y="382"/>
                    <a:pt x="113" y="383"/>
                    <a:pt x="114" y="383"/>
                  </a:cubicBezTo>
                  <a:cubicBezTo>
                    <a:pt x="115" y="384"/>
                    <a:pt x="116" y="385"/>
                    <a:pt x="116" y="386"/>
                  </a:cubicBezTo>
                  <a:cubicBezTo>
                    <a:pt x="116" y="387"/>
                    <a:pt x="116" y="389"/>
                    <a:pt x="116" y="391"/>
                  </a:cubicBezTo>
                  <a:cubicBezTo>
                    <a:pt x="115" y="393"/>
                    <a:pt x="115" y="395"/>
                    <a:pt x="115" y="398"/>
                  </a:cubicBezTo>
                  <a:cubicBezTo>
                    <a:pt x="115" y="400"/>
                    <a:pt x="114" y="402"/>
                    <a:pt x="113" y="404"/>
                  </a:cubicBezTo>
                  <a:cubicBezTo>
                    <a:pt x="113" y="404"/>
                    <a:pt x="113" y="405"/>
                    <a:pt x="112" y="406"/>
                  </a:cubicBezTo>
                  <a:cubicBezTo>
                    <a:pt x="112" y="408"/>
                    <a:pt x="111" y="411"/>
                    <a:pt x="111" y="413"/>
                  </a:cubicBezTo>
                  <a:cubicBezTo>
                    <a:pt x="111" y="414"/>
                    <a:pt x="111" y="414"/>
                    <a:pt x="111" y="415"/>
                  </a:cubicBezTo>
                  <a:cubicBezTo>
                    <a:pt x="111" y="416"/>
                    <a:pt x="111" y="417"/>
                    <a:pt x="112" y="419"/>
                  </a:cubicBezTo>
                  <a:cubicBezTo>
                    <a:pt x="112" y="421"/>
                    <a:pt x="112" y="422"/>
                    <a:pt x="114" y="422"/>
                  </a:cubicBezTo>
                  <a:cubicBezTo>
                    <a:pt x="114" y="422"/>
                    <a:pt x="115" y="422"/>
                    <a:pt x="116" y="422"/>
                  </a:cubicBezTo>
                  <a:cubicBezTo>
                    <a:pt x="113" y="423"/>
                    <a:pt x="111" y="426"/>
                    <a:pt x="115" y="427"/>
                  </a:cubicBezTo>
                  <a:cubicBezTo>
                    <a:pt x="114" y="427"/>
                    <a:pt x="113" y="428"/>
                    <a:pt x="114" y="430"/>
                  </a:cubicBezTo>
                  <a:cubicBezTo>
                    <a:pt x="114" y="430"/>
                    <a:pt x="114" y="430"/>
                    <a:pt x="115" y="430"/>
                  </a:cubicBezTo>
                  <a:cubicBezTo>
                    <a:pt x="115" y="430"/>
                    <a:pt x="115" y="430"/>
                    <a:pt x="115" y="430"/>
                  </a:cubicBezTo>
                  <a:cubicBezTo>
                    <a:pt x="118" y="430"/>
                    <a:pt x="120" y="432"/>
                    <a:pt x="121" y="434"/>
                  </a:cubicBezTo>
                  <a:cubicBezTo>
                    <a:pt x="121" y="435"/>
                    <a:pt x="122" y="435"/>
                    <a:pt x="122" y="436"/>
                  </a:cubicBezTo>
                  <a:cubicBezTo>
                    <a:pt x="122" y="440"/>
                    <a:pt x="119" y="442"/>
                    <a:pt x="116" y="443"/>
                  </a:cubicBezTo>
                  <a:cubicBezTo>
                    <a:pt x="116" y="444"/>
                    <a:pt x="117" y="445"/>
                    <a:pt x="118" y="446"/>
                  </a:cubicBezTo>
                  <a:cubicBezTo>
                    <a:pt x="118" y="447"/>
                    <a:pt x="119" y="448"/>
                    <a:pt x="119" y="449"/>
                  </a:cubicBezTo>
                  <a:cubicBezTo>
                    <a:pt x="118" y="448"/>
                    <a:pt x="118" y="448"/>
                    <a:pt x="117" y="448"/>
                  </a:cubicBezTo>
                  <a:cubicBezTo>
                    <a:pt x="117" y="448"/>
                    <a:pt x="117" y="448"/>
                    <a:pt x="117" y="448"/>
                  </a:cubicBezTo>
                  <a:cubicBezTo>
                    <a:pt x="116" y="450"/>
                    <a:pt x="119" y="452"/>
                    <a:pt x="119" y="453"/>
                  </a:cubicBezTo>
                  <a:cubicBezTo>
                    <a:pt x="120" y="453"/>
                    <a:pt x="120" y="454"/>
                    <a:pt x="120" y="454"/>
                  </a:cubicBezTo>
                  <a:cubicBezTo>
                    <a:pt x="120" y="455"/>
                    <a:pt x="120" y="455"/>
                    <a:pt x="120" y="455"/>
                  </a:cubicBezTo>
                  <a:cubicBezTo>
                    <a:pt x="120" y="455"/>
                    <a:pt x="119" y="455"/>
                    <a:pt x="119" y="455"/>
                  </a:cubicBezTo>
                  <a:cubicBezTo>
                    <a:pt x="119" y="455"/>
                    <a:pt x="118" y="454"/>
                    <a:pt x="118" y="454"/>
                  </a:cubicBezTo>
                  <a:cubicBezTo>
                    <a:pt x="118" y="455"/>
                    <a:pt x="118" y="455"/>
                    <a:pt x="118" y="456"/>
                  </a:cubicBezTo>
                  <a:cubicBezTo>
                    <a:pt x="118" y="459"/>
                    <a:pt x="119" y="461"/>
                    <a:pt x="120" y="464"/>
                  </a:cubicBezTo>
                  <a:cubicBezTo>
                    <a:pt x="120" y="466"/>
                    <a:pt x="121" y="469"/>
                    <a:pt x="121" y="471"/>
                  </a:cubicBezTo>
                  <a:cubicBezTo>
                    <a:pt x="122" y="472"/>
                    <a:pt x="122" y="472"/>
                    <a:pt x="122" y="472"/>
                  </a:cubicBezTo>
                  <a:cubicBezTo>
                    <a:pt x="122" y="474"/>
                    <a:pt x="123" y="477"/>
                    <a:pt x="123" y="479"/>
                  </a:cubicBezTo>
                  <a:cubicBezTo>
                    <a:pt x="124" y="482"/>
                    <a:pt x="124" y="484"/>
                    <a:pt x="125" y="487"/>
                  </a:cubicBezTo>
                  <a:cubicBezTo>
                    <a:pt x="126" y="490"/>
                    <a:pt x="126" y="492"/>
                    <a:pt x="127" y="495"/>
                  </a:cubicBezTo>
                  <a:cubicBezTo>
                    <a:pt x="127" y="495"/>
                    <a:pt x="127" y="495"/>
                    <a:pt x="127" y="495"/>
                  </a:cubicBezTo>
                  <a:cubicBezTo>
                    <a:pt x="127" y="497"/>
                    <a:pt x="127" y="500"/>
                    <a:pt x="128" y="503"/>
                  </a:cubicBezTo>
                  <a:cubicBezTo>
                    <a:pt x="128" y="506"/>
                    <a:pt x="129" y="508"/>
                    <a:pt x="130" y="510"/>
                  </a:cubicBezTo>
                  <a:cubicBezTo>
                    <a:pt x="131" y="511"/>
                    <a:pt x="131" y="511"/>
                    <a:pt x="131" y="511"/>
                  </a:cubicBezTo>
                  <a:cubicBezTo>
                    <a:pt x="132" y="513"/>
                    <a:pt x="133" y="514"/>
                    <a:pt x="134" y="516"/>
                  </a:cubicBezTo>
                  <a:cubicBezTo>
                    <a:pt x="135" y="517"/>
                    <a:pt x="136" y="518"/>
                    <a:pt x="137" y="519"/>
                  </a:cubicBezTo>
                  <a:cubicBezTo>
                    <a:pt x="137" y="520"/>
                    <a:pt x="138" y="521"/>
                    <a:pt x="138" y="522"/>
                  </a:cubicBezTo>
                  <a:cubicBezTo>
                    <a:pt x="140" y="523"/>
                    <a:pt x="141" y="525"/>
                    <a:pt x="142" y="527"/>
                  </a:cubicBezTo>
                  <a:cubicBezTo>
                    <a:pt x="143" y="528"/>
                    <a:pt x="143" y="528"/>
                    <a:pt x="143" y="528"/>
                  </a:cubicBezTo>
                  <a:cubicBezTo>
                    <a:pt x="142" y="528"/>
                    <a:pt x="142" y="528"/>
                    <a:pt x="142" y="528"/>
                  </a:cubicBezTo>
                  <a:cubicBezTo>
                    <a:pt x="141" y="527"/>
                    <a:pt x="140" y="527"/>
                    <a:pt x="139" y="527"/>
                  </a:cubicBezTo>
                  <a:cubicBezTo>
                    <a:pt x="139" y="528"/>
                    <a:pt x="140" y="529"/>
                    <a:pt x="140" y="529"/>
                  </a:cubicBezTo>
                  <a:cubicBezTo>
                    <a:pt x="141" y="531"/>
                    <a:pt x="142" y="533"/>
                    <a:pt x="143" y="535"/>
                  </a:cubicBezTo>
                  <a:cubicBezTo>
                    <a:pt x="144" y="536"/>
                    <a:pt x="144" y="536"/>
                    <a:pt x="144" y="536"/>
                  </a:cubicBezTo>
                  <a:cubicBezTo>
                    <a:pt x="144" y="537"/>
                    <a:pt x="145" y="540"/>
                    <a:pt x="146" y="540"/>
                  </a:cubicBezTo>
                  <a:cubicBezTo>
                    <a:pt x="146" y="540"/>
                    <a:pt x="146" y="540"/>
                    <a:pt x="146" y="540"/>
                  </a:cubicBezTo>
                  <a:cubicBezTo>
                    <a:pt x="147" y="540"/>
                    <a:pt x="147" y="540"/>
                    <a:pt x="147" y="540"/>
                  </a:cubicBezTo>
                  <a:cubicBezTo>
                    <a:pt x="148" y="540"/>
                    <a:pt x="148" y="540"/>
                    <a:pt x="149" y="540"/>
                  </a:cubicBezTo>
                  <a:cubicBezTo>
                    <a:pt x="149" y="540"/>
                    <a:pt x="149" y="540"/>
                    <a:pt x="149" y="540"/>
                  </a:cubicBezTo>
                  <a:cubicBezTo>
                    <a:pt x="149" y="540"/>
                    <a:pt x="148" y="540"/>
                    <a:pt x="148" y="541"/>
                  </a:cubicBezTo>
                  <a:cubicBezTo>
                    <a:pt x="147" y="541"/>
                    <a:pt x="146" y="542"/>
                    <a:pt x="146" y="542"/>
                  </a:cubicBezTo>
                  <a:cubicBezTo>
                    <a:pt x="146" y="542"/>
                    <a:pt x="146" y="542"/>
                    <a:pt x="146" y="542"/>
                  </a:cubicBezTo>
                  <a:cubicBezTo>
                    <a:pt x="148" y="544"/>
                    <a:pt x="150" y="545"/>
                    <a:pt x="152" y="546"/>
                  </a:cubicBezTo>
                  <a:cubicBezTo>
                    <a:pt x="152" y="547"/>
                    <a:pt x="153" y="548"/>
                    <a:pt x="153" y="549"/>
                  </a:cubicBezTo>
                  <a:cubicBezTo>
                    <a:pt x="154" y="550"/>
                    <a:pt x="154" y="551"/>
                    <a:pt x="155" y="553"/>
                  </a:cubicBezTo>
                  <a:cubicBezTo>
                    <a:pt x="155" y="556"/>
                    <a:pt x="156" y="558"/>
                    <a:pt x="156" y="561"/>
                  </a:cubicBezTo>
                  <a:cubicBezTo>
                    <a:pt x="157" y="562"/>
                    <a:pt x="157" y="563"/>
                    <a:pt x="157" y="564"/>
                  </a:cubicBezTo>
                  <a:cubicBezTo>
                    <a:pt x="158" y="565"/>
                    <a:pt x="158" y="567"/>
                    <a:pt x="159" y="568"/>
                  </a:cubicBezTo>
                  <a:cubicBezTo>
                    <a:pt x="160" y="570"/>
                    <a:pt x="161" y="572"/>
                    <a:pt x="161" y="575"/>
                  </a:cubicBezTo>
                  <a:cubicBezTo>
                    <a:pt x="162" y="577"/>
                    <a:pt x="163" y="580"/>
                    <a:pt x="164" y="582"/>
                  </a:cubicBezTo>
                  <a:cubicBezTo>
                    <a:pt x="164" y="583"/>
                    <a:pt x="165" y="585"/>
                    <a:pt x="165" y="586"/>
                  </a:cubicBezTo>
                  <a:cubicBezTo>
                    <a:pt x="165" y="587"/>
                    <a:pt x="165" y="589"/>
                    <a:pt x="165" y="590"/>
                  </a:cubicBezTo>
                  <a:cubicBezTo>
                    <a:pt x="165" y="592"/>
                    <a:pt x="164" y="593"/>
                    <a:pt x="165" y="593"/>
                  </a:cubicBezTo>
                  <a:cubicBezTo>
                    <a:pt x="166" y="595"/>
                    <a:pt x="166" y="596"/>
                    <a:pt x="167" y="598"/>
                  </a:cubicBezTo>
                  <a:cubicBezTo>
                    <a:pt x="168" y="600"/>
                    <a:pt x="169" y="601"/>
                    <a:pt x="169" y="603"/>
                  </a:cubicBezTo>
                  <a:cubicBezTo>
                    <a:pt x="170" y="603"/>
                    <a:pt x="170" y="604"/>
                    <a:pt x="170" y="604"/>
                  </a:cubicBezTo>
                  <a:cubicBezTo>
                    <a:pt x="171" y="606"/>
                    <a:pt x="173" y="608"/>
                    <a:pt x="174" y="610"/>
                  </a:cubicBezTo>
                  <a:cubicBezTo>
                    <a:pt x="175" y="612"/>
                    <a:pt x="177" y="614"/>
                    <a:pt x="178" y="616"/>
                  </a:cubicBezTo>
                  <a:cubicBezTo>
                    <a:pt x="179" y="617"/>
                    <a:pt x="180" y="619"/>
                    <a:pt x="182" y="621"/>
                  </a:cubicBezTo>
                  <a:cubicBezTo>
                    <a:pt x="182" y="621"/>
                    <a:pt x="182" y="621"/>
                    <a:pt x="182" y="621"/>
                  </a:cubicBezTo>
                  <a:cubicBezTo>
                    <a:pt x="183" y="623"/>
                    <a:pt x="185" y="625"/>
                    <a:pt x="186" y="627"/>
                  </a:cubicBezTo>
                  <a:cubicBezTo>
                    <a:pt x="187" y="629"/>
                    <a:pt x="188" y="632"/>
                    <a:pt x="188" y="634"/>
                  </a:cubicBezTo>
                  <a:cubicBezTo>
                    <a:pt x="189" y="635"/>
                    <a:pt x="189" y="637"/>
                    <a:pt x="190" y="638"/>
                  </a:cubicBezTo>
                  <a:cubicBezTo>
                    <a:pt x="190" y="639"/>
                    <a:pt x="190" y="640"/>
                    <a:pt x="191" y="641"/>
                  </a:cubicBezTo>
                  <a:cubicBezTo>
                    <a:pt x="192" y="643"/>
                    <a:pt x="192" y="646"/>
                    <a:pt x="193" y="648"/>
                  </a:cubicBezTo>
                  <a:cubicBezTo>
                    <a:pt x="194" y="650"/>
                    <a:pt x="195" y="652"/>
                    <a:pt x="196" y="654"/>
                  </a:cubicBezTo>
                  <a:cubicBezTo>
                    <a:pt x="197" y="655"/>
                    <a:pt x="197" y="656"/>
                    <a:pt x="197" y="656"/>
                  </a:cubicBezTo>
                  <a:cubicBezTo>
                    <a:pt x="198" y="657"/>
                    <a:pt x="199" y="659"/>
                    <a:pt x="200" y="661"/>
                  </a:cubicBezTo>
                  <a:cubicBezTo>
                    <a:pt x="201" y="663"/>
                    <a:pt x="202" y="665"/>
                    <a:pt x="203" y="667"/>
                  </a:cubicBezTo>
                  <a:cubicBezTo>
                    <a:pt x="204" y="671"/>
                    <a:pt x="205" y="674"/>
                    <a:pt x="203" y="674"/>
                  </a:cubicBezTo>
                  <a:cubicBezTo>
                    <a:pt x="202" y="672"/>
                    <a:pt x="202" y="671"/>
                    <a:pt x="201" y="669"/>
                  </a:cubicBezTo>
                  <a:cubicBezTo>
                    <a:pt x="200" y="668"/>
                    <a:pt x="200" y="666"/>
                    <a:pt x="200" y="665"/>
                  </a:cubicBezTo>
                  <a:cubicBezTo>
                    <a:pt x="200" y="666"/>
                    <a:pt x="200" y="668"/>
                    <a:pt x="200" y="670"/>
                  </a:cubicBezTo>
                  <a:cubicBezTo>
                    <a:pt x="201" y="672"/>
                    <a:pt x="202" y="675"/>
                    <a:pt x="203" y="677"/>
                  </a:cubicBezTo>
                  <a:cubicBezTo>
                    <a:pt x="203" y="678"/>
                    <a:pt x="203" y="679"/>
                    <a:pt x="203" y="680"/>
                  </a:cubicBezTo>
                  <a:cubicBezTo>
                    <a:pt x="204" y="681"/>
                    <a:pt x="205" y="682"/>
                    <a:pt x="206" y="683"/>
                  </a:cubicBezTo>
                  <a:cubicBezTo>
                    <a:pt x="206" y="684"/>
                    <a:pt x="207" y="684"/>
                    <a:pt x="207" y="685"/>
                  </a:cubicBezTo>
                  <a:cubicBezTo>
                    <a:pt x="208" y="685"/>
                    <a:pt x="210" y="686"/>
                    <a:pt x="209" y="687"/>
                  </a:cubicBezTo>
                  <a:cubicBezTo>
                    <a:pt x="208" y="689"/>
                    <a:pt x="208" y="689"/>
                    <a:pt x="208" y="689"/>
                  </a:cubicBezTo>
                  <a:cubicBezTo>
                    <a:pt x="209" y="690"/>
                    <a:pt x="209" y="690"/>
                    <a:pt x="209" y="690"/>
                  </a:cubicBezTo>
                  <a:cubicBezTo>
                    <a:pt x="210" y="692"/>
                    <a:pt x="211" y="694"/>
                    <a:pt x="213" y="695"/>
                  </a:cubicBezTo>
                  <a:cubicBezTo>
                    <a:pt x="214" y="697"/>
                    <a:pt x="216" y="699"/>
                    <a:pt x="217" y="701"/>
                  </a:cubicBezTo>
                  <a:cubicBezTo>
                    <a:pt x="218" y="702"/>
                    <a:pt x="219" y="702"/>
                    <a:pt x="219" y="703"/>
                  </a:cubicBezTo>
                  <a:cubicBezTo>
                    <a:pt x="220" y="704"/>
                    <a:pt x="221" y="705"/>
                    <a:pt x="222" y="706"/>
                  </a:cubicBezTo>
                  <a:cubicBezTo>
                    <a:pt x="224" y="707"/>
                    <a:pt x="226" y="708"/>
                    <a:pt x="228" y="709"/>
                  </a:cubicBezTo>
                  <a:cubicBezTo>
                    <a:pt x="229" y="709"/>
                    <a:pt x="230" y="710"/>
                    <a:pt x="231" y="710"/>
                  </a:cubicBezTo>
                  <a:cubicBezTo>
                    <a:pt x="232" y="707"/>
                    <a:pt x="237" y="705"/>
                    <a:pt x="239" y="704"/>
                  </a:cubicBezTo>
                  <a:cubicBezTo>
                    <a:pt x="243" y="701"/>
                    <a:pt x="245" y="701"/>
                    <a:pt x="246" y="697"/>
                  </a:cubicBezTo>
                  <a:cubicBezTo>
                    <a:pt x="246" y="695"/>
                    <a:pt x="246" y="692"/>
                    <a:pt x="247" y="690"/>
                  </a:cubicBezTo>
                  <a:cubicBezTo>
                    <a:pt x="248" y="687"/>
                    <a:pt x="250" y="685"/>
                    <a:pt x="252" y="684"/>
                  </a:cubicBezTo>
                  <a:cubicBezTo>
                    <a:pt x="253" y="684"/>
                    <a:pt x="253" y="684"/>
                    <a:pt x="253" y="684"/>
                  </a:cubicBezTo>
                  <a:cubicBezTo>
                    <a:pt x="256" y="683"/>
                    <a:pt x="260" y="681"/>
                    <a:pt x="263" y="681"/>
                  </a:cubicBezTo>
                  <a:cubicBezTo>
                    <a:pt x="263" y="681"/>
                    <a:pt x="264" y="681"/>
                    <a:pt x="264" y="681"/>
                  </a:cubicBezTo>
                  <a:cubicBezTo>
                    <a:pt x="264" y="681"/>
                    <a:pt x="265" y="681"/>
                    <a:pt x="265" y="681"/>
                  </a:cubicBezTo>
                  <a:cubicBezTo>
                    <a:pt x="268" y="681"/>
                    <a:pt x="271" y="682"/>
                    <a:pt x="274" y="682"/>
                  </a:cubicBezTo>
                  <a:cubicBezTo>
                    <a:pt x="275" y="683"/>
                    <a:pt x="277" y="683"/>
                    <a:pt x="278" y="683"/>
                  </a:cubicBezTo>
                  <a:cubicBezTo>
                    <a:pt x="277" y="682"/>
                    <a:pt x="276" y="681"/>
                    <a:pt x="275" y="681"/>
                  </a:cubicBezTo>
                  <a:cubicBezTo>
                    <a:pt x="274" y="680"/>
                    <a:pt x="274" y="680"/>
                    <a:pt x="272" y="680"/>
                  </a:cubicBezTo>
                  <a:cubicBezTo>
                    <a:pt x="272" y="680"/>
                    <a:pt x="271" y="680"/>
                    <a:pt x="271" y="680"/>
                  </a:cubicBezTo>
                  <a:cubicBezTo>
                    <a:pt x="271" y="680"/>
                    <a:pt x="271" y="680"/>
                    <a:pt x="271" y="680"/>
                  </a:cubicBezTo>
                  <a:cubicBezTo>
                    <a:pt x="271" y="680"/>
                    <a:pt x="271" y="680"/>
                    <a:pt x="271" y="680"/>
                  </a:cubicBezTo>
                  <a:cubicBezTo>
                    <a:pt x="270" y="680"/>
                    <a:pt x="269" y="680"/>
                    <a:pt x="268" y="679"/>
                  </a:cubicBezTo>
                  <a:cubicBezTo>
                    <a:pt x="268" y="679"/>
                    <a:pt x="268" y="679"/>
                    <a:pt x="267" y="679"/>
                  </a:cubicBezTo>
                  <a:cubicBezTo>
                    <a:pt x="266" y="678"/>
                    <a:pt x="265" y="676"/>
                    <a:pt x="265" y="674"/>
                  </a:cubicBezTo>
                  <a:cubicBezTo>
                    <a:pt x="266" y="673"/>
                    <a:pt x="267" y="671"/>
                    <a:pt x="268" y="669"/>
                  </a:cubicBezTo>
                  <a:cubicBezTo>
                    <a:pt x="269" y="667"/>
                    <a:pt x="270" y="666"/>
                    <a:pt x="271" y="665"/>
                  </a:cubicBezTo>
                  <a:cubicBezTo>
                    <a:pt x="271" y="663"/>
                    <a:pt x="272" y="658"/>
                    <a:pt x="273" y="657"/>
                  </a:cubicBezTo>
                  <a:cubicBezTo>
                    <a:pt x="275" y="656"/>
                    <a:pt x="279" y="654"/>
                    <a:pt x="281" y="654"/>
                  </a:cubicBezTo>
                  <a:cubicBezTo>
                    <a:pt x="281" y="654"/>
                    <a:pt x="281" y="654"/>
                    <a:pt x="281" y="654"/>
                  </a:cubicBezTo>
                  <a:cubicBezTo>
                    <a:pt x="281" y="654"/>
                    <a:pt x="282" y="654"/>
                    <a:pt x="282" y="654"/>
                  </a:cubicBezTo>
                  <a:cubicBezTo>
                    <a:pt x="283" y="654"/>
                    <a:pt x="283" y="654"/>
                    <a:pt x="283" y="654"/>
                  </a:cubicBezTo>
                  <a:cubicBezTo>
                    <a:pt x="283" y="654"/>
                    <a:pt x="283" y="654"/>
                    <a:pt x="283" y="654"/>
                  </a:cubicBezTo>
                  <a:cubicBezTo>
                    <a:pt x="283" y="654"/>
                    <a:pt x="284" y="655"/>
                    <a:pt x="285" y="655"/>
                  </a:cubicBezTo>
                  <a:cubicBezTo>
                    <a:pt x="286" y="655"/>
                    <a:pt x="286" y="655"/>
                    <a:pt x="287" y="655"/>
                  </a:cubicBezTo>
                  <a:cubicBezTo>
                    <a:pt x="287" y="655"/>
                    <a:pt x="288" y="655"/>
                    <a:pt x="288" y="654"/>
                  </a:cubicBezTo>
                  <a:cubicBezTo>
                    <a:pt x="288" y="653"/>
                    <a:pt x="288" y="651"/>
                    <a:pt x="288" y="649"/>
                  </a:cubicBezTo>
                  <a:cubicBezTo>
                    <a:pt x="288" y="646"/>
                    <a:pt x="288" y="643"/>
                    <a:pt x="288" y="639"/>
                  </a:cubicBezTo>
                  <a:cubicBezTo>
                    <a:pt x="287" y="637"/>
                    <a:pt x="287" y="635"/>
                    <a:pt x="285" y="632"/>
                  </a:cubicBezTo>
                  <a:cubicBezTo>
                    <a:pt x="285" y="631"/>
                    <a:pt x="284" y="631"/>
                    <a:pt x="284" y="630"/>
                  </a:cubicBezTo>
                  <a:cubicBezTo>
                    <a:pt x="287" y="628"/>
                    <a:pt x="286" y="628"/>
                    <a:pt x="286" y="624"/>
                  </a:cubicBezTo>
                  <a:cubicBezTo>
                    <a:pt x="286" y="624"/>
                    <a:pt x="286" y="623"/>
                    <a:pt x="286" y="623"/>
                  </a:cubicBezTo>
                  <a:cubicBezTo>
                    <a:pt x="286" y="620"/>
                    <a:pt x="286" y="617"/>
                    <a:pt x="287" y="615"/>
                  </a:cubicBezTo>
                  <a:cubicBezTo>
                    <a:pt x="288" y="614"/>
                    <a:pt x="288" y="613"/>
                    <a:pt x="289" y="612"/>
                  </a:cubicBezTo>
                  <a:cubicBezTo>
                    <a:pt x="289" y="611"/>
                    <a:pt x="290" y="610"/>
                    <a:pt x="290" y="609"/>
                  </a:cubicBezTo>
                  <a:cubicBezTo>
                    <a:pt x="292" y="605"/>
                    <a:pt x="295" y="601"/>
                    <a:pt x="297" y="596"/>
                  </a:cubicBezTo>
                  <a:cubicBezTo>
                    <a:pt x="297" y="595"/>
                    <a:pt x="298" y="593"/>
                    <a:pt x="298" y="591"/>
                  </a:cubicBezTo>
                  <a:cubicBezTo>
                    <a:pt x="298" y="590"/>
                    <a:pt x="298" y="588"/>
                    <a:pt x="298" y="587"/>
                  </a:cubicBezTo>
                  <a:cubicBezTo>
                    <a:pt x="298" y="586"/>
                    <a:pt x="298" y="584"/>
                    <a:pt x="298" y="581"/>
                  </a:cubicBezTo>
                  <a:cubicBezTo>
                    <a:pt x="298" y="579"/>
                    <a:pt x="298" y="576"/>
                    <a:pt x="297" y="575"/>
                  </a:cubicBezTo>
                  <a:cubicBezTo>
                    <a:pt x="296" y="575"/>
                    <a:pt x="296" y="575"/>
                    <a:pt x="295" y="575"/>
                  </a:cubicBezTo>
                  <a:cubicBezTo>
                    <a:pt x="293" y="573"/>
                    <a:pt x="292" y="571"/>
                    <a:pt x="295" y="569"/>
                  </a:cubicBezTo>
                  <a:cubicBezTo>
                    <a:pt x="296" y="570"/>
                    <a:pt x="297" y="571"/>
                    <a:pt x="297" y="573"/>
                  </a:cubicBezTo>
                  <a:cubicBezTo>
                    <a:pt x="298" y="573"/>
                    <a:pt x="298" y="574"/>
                    <a:pt x="298" y="574"/>
                  </a:cubicBezTo>
                  <a:cubicBezTo>
                    <a:pt x="298" y="574"/>
                    <a:pt x="298" y="573"/>
                    <a:pt x="298" y="572"/>
                  </a:cubicBezTo>
                  <a:cubicBezTo>
                    <a:pt x="297" y="570"/>
                    <a:pt x="297" y="567"/>
                    <a:pt x="296" y="565"/>
                  </a:cubicBezTo>
                  <a:cubicBezTo>
                    <a:pt x="295" y="563"/>
                    <a:pt x="294" y="562"/>
                    <a:pt x="294" y="560"/>
                  </a:cubicBezTo>
                  <a:cubicBezTo>
                    <a:pt x="293" y="559"/>
                    <a:pt x="293" y="558"/>
                    <a:pt x="293" y="558"/>
                  </a:cubicBezTo>
                  <a:cubicBezTo>
                    <a:pt x="293" y="557"/>
                    <a:pt x="293" y="557"/>
                    <a:pt x="293" y="556"/>
                  </a:cubicBezTo>
                  <a:cubicBezTo>
                    <a:pt x="293" y="554"/>
                    <a:pt x="293" y="551"/>
                    <a:pt x="293" y="548"/>
                  </a:cubicBezTo>
                  <a:cubicBezTo>
                    <a:pt x="293" y="545"/>
                    <a:pt x="293" y="542"/>
                    <a:pt x="293" y="539"/>
                  </a:cubicBezTo>
                  <a:cubicBezTo>
                    <a:pt x="293" y="536"/>
                    <a:pt x="293" y="533"/>
                    <a:pt x="294" y="530"/>
                  </a:cubicBezTo>
                  <a:cubicBezTo>
                    <a:pt x="295" y="529"/>
                    <a:pt x="295" y="528"/>
                    <a:pt x="295" y="527"/>
                  </a:cubicBezTo>
                  <a:cubicBezTo>
                    <a:pt x="296" y="524"/>
                    <a:pt x="297" y="522"/>
                    <a:pt x="299" y="519"/>
                  </a:cubicBezTo>
                  <a:cubicBezTo>
                    <a:pt x="299" y="519"/>
                    <a:pt x="300" y="518"/>
                    <a:pt x="300" y="518"/>
                  </a:cubicBezTo>
                  <a:cubicBezTo>
                    <a:pt x="303" y="516"/>
                    <a:pt x="305" y="515"/>
                    <a:pt x="308" y="515"/>
                  </a:cubicBezTo>
                  <a:cubicBezTo>
                    <a:pt x="308" y="515"/>
                    <a:pt x="308" y="515"/>
                    <a:pt x="308" y="515"/>
                  </a:cubicBezTo>
                  <a:cubicBezTo>
                    <a:pt x="310" y="515"/>
                    <a:pt x="311" y="516"/>
                    <a:pt x="312" y="519"/>
                  </a:cubicBezTo>
                  <a:cubicBezTo>
                    <a:pt x="312" y="516"/>
                    <a:pt x="314" y="514"/>
                    <a:pt x="313" y="511"/>
                  </a:cubicBezTo>
                  <a:cubicBezTo>
                    <a:pt x="314" y="513"/>
                    <a:pt x="315" y="514"/>
                    <a:pt x="316" y="516"/>
                  </a:cubicBezTo>
                  <a:cubicBezTo>
                    <a:pt x="316" y="516"/>
                    <a:pt x="316" y="517"/>
                    <a:pt x="317" y="517"/>
                  </a:cubicBezTo>
                  <a:cubicBezTo>
                    <a:pt x="315" y="515"/>
                    <a:pt x="318" y="515"/>
                    <a:pt x="319" y="513"/>
                  </a:cubicBezTo>
                  <a:cubicBezTo>
                    <a:pt x="319" y="512"/>
                    <a:pt x="319" y="512"/>
                    <a:pt x="319" y="512"/>
                  </a:cubicBezTo>
                  <a:cubicBezTo>
                    <a:pt x="320" y="511"/>
                    <a:pt x="320" y="510"/>
                    <a:pt x="321" y="509"/>
                  </a:cubicBezTo>
                  <a:cubicBezTo>
                    <a:pt x="322" y="505"/>
                    <a:pt x="324" y="503"/>
                    <a:pt x="327" y="502"/>
                  </a:cubicBezTo>
                  <a:cubicBezTo>
                    <a:pt x="327" y="502"/>
                    <a:pt x="327" y="502"/>
                    <a:pt x="327" y="502"/>
                  </a:cubicBezTo>
                  <a:cubicBezTo>
                    <a:pt x="327" y="502"/>
                    <a:pt x="328" y="503"/>
                    <a:pt x="329" y="503"/>
                  </a:cubicBezTo>
                  <a:cubicBezTo>
                    <a:pt x="330" y="503"/>
                    <a:pt x="331" y="503"/>
                    <a:pt x="332" y="503"/>
                  </a:cubicBezTo>
                  <a:cubicBezTo>
                    <a:pt x="332" y="503"/>
                    <a:pt x="333" y="503"/>
                    <a:pt x="333" y="503"/>
                  </a:cubicBezTo>
                  <a:cubicBezTo>
                    <a:pt x="336" y="503"/>
                    <a:pt x="338" y="502"/>
                    <a:pt x="341" y="501"/>
                  </a:cubicBezTo>
                  <a:cubicBezTo>
                    <a:pt x="342" y="500"/>
                    <a:pt x="343" y="500"/>
                    <a:pt x="344" y="499"/>
                  </a:cubicBezTo>
                  <a:cubicBezTo>
                    <a:pt x="348" y="497"/>
                    <a:pt x="348" y="496"/>
                    <a:pt x="349" y="492"/>
                  </a:cubicBezTo>
                  <a:cubicBezTo>
                    <a:pt x="350" y="492"/>
                    <a:pt x="350" y="492"/>
                    <a:pt x="350" y="492"/>
                  </a:cubicBezTo>
                  <a:cubicBezTo>
                    <a:pt x="350" y="490"/>
                    <a:pt x="347" y="489"/>
                    <a:pt x="348" y="487"/>
                  </a:cubicBezTo>
                  <a:cubicBezTo>
                    <a:pt x="348" y="486"/>
                    <a:pt x="348" y="486"/>
                    <a:pt x="348" y="485"/>
                  </a:cubicBezTo>
                  <a:cubicBezTo>
                    <a:pt x="353" y="478"/>
                    <a:pt x="363" y="477"/>
                    <a:pt x="369" y="472"/>
                  </a:cubicBezTo>
                  <a:cubicBezTo>
                    <a:pt x="371" y="471"/>
                    <a:pt x="372" y="470"/>
                    <a:pt x="373" y="469"/>
                  </a:cubicBezTo>
                  <a:cubicBezTo>
                    <a:pt x="374" y="468"/>
                    <a:pt x="375" y="467"/>
                    <a:pt x="376" y="466"/>
                  </a:cubicBezTo>
                  <a:cubicBezTo>
                    <a:pt x="377" y="464"/>
                    <a:pt x="379" y="462"/>
                    <a:pt x="381" y="461"/>
                  </a:cubicBezTo>
                  <a:cubicBezTo>
                    <a:pt x="383" y="459"/>
                    <a:pt x="385" y="457"/>
                    <a:pt x="389" y="456"/>
                  </a:cubicBezTo>
                  <a:cubicBezTo>
                    <a:pt x="393" y="453"/>
                    <a:pt x="395" y="451"/>
                    <a:pt x="398" y="447"/>
                  </a:cubicBezTo>
                  <a:cubicBezTo>
                    <a:pt x="398" y="448"/>
                    <a:pt x="398" y="448"/>
                    <a:pt x="397" y="448"/>
                  </a:cubicBezTo>
                  <a:cubicBezTo>
                    <a:pt x="399" y="446"/>
                    <a:pt x="401" y="444"/>
                    <a:pt x="402" y="442"/>
                  </a:cubicBezTo>
                  <a:cubicBezTo>
                    <a:pt x="404" y="439"/>
                    <a:pt x="406" y="435"/>
                    <a:pt x="409" y="433"/>
                  </a:cubicBezTo>
                  <a:cubicBezTo>
                    <a:pt x="416" y="428"/>
                    <a:pt x="422" y="423"/>
                    <a:pt x="429" y="418"/>
                  </a:cubicBezTo>
                  <a:cubicBezTo>
                    <a:pt x="427" y="419"/>
                    <a:pt x="425" y="420"/>
                    <a:pt x="424" y="420"/>
                  </a:cubicBezTo>
                  <a:cubicBezTo>
                    <a:pt x="425" y="419"/>
                    <a:pt x="425" y="418"/>
                    <a:pt x="424" y="418"/>
                  </a:cubicBezTo>
                  <a:cubicBezTo>
                    <a:pt x="424" y="418"/>
                    <a:pt x="424" y="418"/>
                    <a:pt x="423" y="419"/>
                  </a:cubicBezTo>
                  <a:cubicBezTo>
                    <a:pt x="422" y="419"/>
                    <a:pt x="422" y="419"/>
                    <a:pt x="422" y="419"/>
                  </a:cubicBezTo>
                  <a:cubicBezTo>
                    <a:pt x="421" y="420"/>
                    <a:pt x="421" y="420"/>
                    <a:pt x="421" y="420"/>
                  </a:cubicBezTo>
                  <a:cubicBezTo>
                    <a:pt x="420" y="421"/>
                    <a:pt x="420" y="422"/>
                    <a:pt x="419" y="423"/>
                  </a:cubicBezTo>
                  <a:cubicBezTo>
                    <a:pt x="420" y="422"/>
                    <a:pt x="420" y="422"/>
                    <a:pt x="420" y="422"/>
                  </a:cubicBezTo>
                  <a:cubicBezTo>
                    <a:pt x="420" y="418"/>
                    <a:pt x="420" y="416"/>
                    <a:pt x="424" y="415"/>
                  </a:cubicBezTo>
                  <a:cubicBezTo>
                    <a:pt x="425" y="414"/>
                    <a:pt x="427" y="414"/>
                    <a:pt x="428" y="414"/>
                  </a:cubicBezTo>
                  <a:cubicBezTo>
                    <a:pt x="428" y="414"/>
                    <a:pt x="428" y="414"/>
                    <a:pt x="428" y="414"/>
                  </a:cubicBezTo>
                  <a:cubicBezTo>
                    <a:pt x="428" y="414"/>
                    <a:pt x="429" y="414"/>
                    <a:pt x="429" y="414"/>
                  </a:cubicBezTo>
                  <a:cubicBezTo>
                    <a:pt x="430" y="416"/>
                    <a:pt x="427" y="418"/>
                    <a:pt x="426" y="419"/>
                  </a:cubicBezTo>
                  <a:cubicBezTo>
                    <a:pt x="429" y="418"/>
                    <a:pt x="431" y="417"/>
                    <a:pt x="434" y="416"/>
                  </a:cubicBezTo>
                  <a:cubicBezTo>
                    <a:pt x="434" y="416"/>
                    <a:pt x="435" y="416"/>
                    <a:pt x="435" y="416"/>
                  </a:cubicBezTo>
                  <a:cubicBezTo>
                    <a:pt x="440" y="414"/>
                    <a:pt x="445" y="413"/>
                    <a:pt x="448" y="411"/>
                  </a:cubicBezTo>
                  <a:cubicBezTo>
                    <a:pt x="447" y="411"/>
                    <a:pt x="444" y="409"/>
                    <a:pt x="444" y="408"/>
                  </a:cubicBezTo>
                  <a:cubicBezTo>
                    <a:pt x="446" y="408"/>
                    <a:pt x="447" y="409"/>
                    <a:pt x="448" y="409"/>
                  </a:cubicBezTo>
                  <a:cubicBezTo>
                    <a:pt x="450" y="409"/>
                    <a:pt x="452" y="407"/>
                    <a:pt x="454" y="404"/>
                  </a:cubicBezTo>
                  <a:cubicBezTo>
                    <a:pt x="458" y="400"/>
                    <a:pt x="461" y="396"/>
                    <a:pt x="464" y="393"/>
                  </a:cubicBezTo>
                  <a:cubicBezTo>
                    <a:pt x="464" y="393"/>
                    <a:pt x="463" y="391"/>
                    <a:pt x="462" y="388"/>
                  </a:cubicBezTo>
                  <a:cubicBezTo>
                    <a:pt x="462" y="386"/>
                    <a:pt x="461" y="383"/>
                    <a:pt x="461" y="380"/>
                  </a:cubicBezTo>
                  <a:cubicBezTo>
                    <a:pt x="461" y="378"/>
                    <a:pt x="461" y="377"/>
                    <a:pt x="462" y="376"/>
                  </a:cubicBezTo>
                  <a:cubicBezTo>
                    <a:pt x="463" y="372"/>
                    <a:pt x="468" y="371"/>
                    <a:pt x="472" y="370"/>
                  </a:cubicBezTo>
                  <a:cubicBezTo>
                    <a:pt x="473" y="369"/>
                    <a:pt x="475" y="369"/>
                    <a:pt x="477" y="368"/>
                  </a:cubicBezTo>
                  <a:cubicBezTo>
                    <a:pt x="482" y="367"/>
                    <a:pt x="484" y="366"/>
                    <a:pt x="488" y="362"/>
                  </a:cubicBezTo>
                  <a:cubicBezTo>
                    <a:pt x="489" y="360"/>
                    <a:pt x="494" y="357"/>
                    <a:pt x="492" y="354"/>
                  </a:cubicBezTo>
                  <a:cubicBezTo>
                    <a:pt x="491" y="353"/>
                    <a:pt x="489" y="354"/>
                    <a:pt x="488" y="353"/>
                  </a:cubicBezTo>
                  <a:cubicBezTo>
                    <a:pt x="488" y="353"/>
                    <a:pt x="488" y="353"/>
                    <a:pt x="488" y="353"/>
                  </a:cubicBezTo>
                  <a:cubicBezTo>
                    <a:pt x="487" y="352"/>
                    <a:pt x="486" y="349"/>
                    <a:pt x="486" y="348"/>
                  </a:cubicBezTo>
                  <a:cubicBezTo>
                    <a:pt x="488" y="349"/>
                    <a:pt x="488" y="351"/>
                    <a:pt x="489" y="352"/>
                  </a:cubicBezTo>
                  <a:cubicBezTo>
                    <a:pt x="489" y="353"/>
                    <a:pt x="490" y="353"/>
                    <a:pt x="491" y="353"/>
                  </a:cubicBezTo>
                  <a:cubicBezTo>
                    <a:pt x="493" y="354"/>
                    <a:pt x="494" y="355"/>
                    <a:pt x="494" y="357"/>
                  </a:cubicBezTo>
                  <a:cubicBezTo>
                    <a:pt x="494" y="360"/>
                    <a:pt x="493" y="364"/>
                    <a:pt x="493" y="367"/>
                  </a:cubicBezTo>
                  <a:cubicBezTo>
                    <a:pt x="493" y="368"/>
                    <a:pt x="493" y="368"/>
                    <a:pt x="494" y="369"/>
                  </a:cubicBezTo>
                  <a:cubicBezTo>
                    <a:pt x="494" y="369"/>
                    <a:pt x="495" y="370"/>
                    <a:pt x="495" y="370"/>
                  </a:cubicBezTo>
                  <a:cubicBezTo>
                    <a:pt x="496" y="370"/>
                    <a:pt x="496" y="370"/>
                    <a:pt x="496" y="369"/>
                  </a:cubicBezTo>
                  <a:cubicBezTo>
                    <a:pt x="496" y="369"/>
                    <a:pt x="496" y="369"/>
                    <a:pt x="497" y="369"/>
                  </a:cubicBezTo>
                  <a:cubicBezTo>
                    <a:pt x="501" y="369"/>
                    <a:pt x="499" y="365"/>
                    <a:pt x="501" y="361"/>
                  </a:cubicBezTo>
                  <a:cubicBezTo>
                    <a:pt x="501" y="362"/>
                    <a:pt x="501" y="366"/>
                    <a:pt x="501" y="369"/>
                  </a:cubicBezTo>
                  <a:cubicBezTo>
                    <a:pt x="501" y="370"/>
                    <a:pt x="501" y="371"/>
                    <a:pt x="502" y="371"/>
                  </a:cubicBezTo>
                  <a:cubicBezTo>
                    <a:pt x="502" y="371"/>
                    <a:pt x="502" y="371"/>
                    <a:pt x="502" y="371"/>
                  </a:cubicBezTo>
                  <a:cubicBezTo>
                    <a:pt x="502" y="371"/>
                    <a:pt x="504" y="367"/>
                    <a:pt x="504" y="366"/>
                  </a:cubicBezTo>
                  <a:cubicBezTo>
                    <a:pt x="504" y="366"/>
                    <a:pt x="504" y="366"/>
                    <a:pt x="504" y="366"/>
                  </a:cubicBezTo>
                  <a:cubicBezTo>
                    <a:pt x="504" y="364"/>
                    <a:pt x="502" y="365"/>
                    <a:pt x="502" y="363"/>
                  </a:cubicBezTo>
                  <a:cubicBezTo>
                    <a:pt x="502" y="362"/>
                    <a:pt x="503" y="361"/>
                    <a:pt x="503" y="361"/>
                  </a:cubicBezTo>
                  <a:cubicBezTo>
                    <a:pt x="503" y="359"/>
                    <a:pt x="504" y="358"/>
                    <a:pt x="504" y="357"/>
                  </a:cubicBezTo>
                  <a:cubicBezTo>
                    <a:pt x="504" y="356"/>
                    <a:pt x="505" y="355"/>
                    <a:pt x="505" y="353"/>
                  </a:cubicBezTo>
                  <a:cubicBezTo>
                    <a:pt x="505" y="354"/>
                    <a:pt x="505" y="355"/>
                    <a:pt x="505" y="356"/>
                  </a:cubicBezTo>
                  <a:cubicBezTo>
                    <a:pt x="504" y="357"/>
                    <a:pt x="505" y="358"/>
                    <a:pt x="505" y="360"/>
                  </a:cubicBezTo>
                  <a:cubicBezTo>
                    <a:pt x="506" y="359"/>
                    <a:pt x="506" y="358"/>
                    <a:pt x="507" y="357"/>
                  </a:cubicBezTo>
                  <a:cubicBezTo>
                    <a:pt x="508" y="359"/>
                    <a:pt x="506" y="361"/>
                    <a:pt x="506" y="362"/>
                  </a:cubicBezTo>
                  <a:cubicBezTo>
                    <a:pt x="506" y="363"/>
                    <a:pt x="506" y="364"/>
                    <a:pt x="506" y="364"/>
                  </a:cubicBezTo>
                  <a:cubicBezTo>
                    <a:pt x="506" y="365"/>
                    <a:pt x="506" y="366"/>
                    <a:pt x="506" y="366"/>
                  </a:cubicBezTo>
                  <a:cubicBezTo>
                    <a:pt x="506" y="368"/>
                    <a:pt x="507" y="370"/>
                    <a:pt x="508" y="370"/>
                  </a:cubicBezTo>
                  <a:cubicBezTo>
                    <a:pt x="508" y="370"/>
                    <a:pt x="508" y="369"/>
                    <a:pt x="508" y="369"/>
                  </a:cubicBezTo>
                  <a:cubicBezTo>
                    <a:pt x="508" y="369"/>
                    <a:pt x="508" y="369"/>
                    <a:pt x="508" y="369"/>
                  </a:cubicBezTo>
                  <a:cubicBezTo>
                    <a:pt x="508" y="369"/>
                    <a:pt x="510" y="369"/>
                    <a:pt x="511" y="369"/>
                  </a:cubicBezTo>
                  <a:cubicBezTo>
                    <a:pt x="511" y="369"/>
                    <a:pt x="512" y="369"/>
                    <a:pt x="513" y="369"/>
                  </a:cubicBezTo>
                  <a:cubicBezTo>
                    <a:pt x="514" y="369"/>
                    <a:pt x="515" y="369"/>
                    <a:pt x="515" y="368"/>
                  </a:cubicBezTo>
                  <a:cubicBezTo>
                    <a:pt x="516" y="367"/>
                    <a:pt x="515" y="367"/>
                    <a:pt x="514" y="366"/>
                  </a:cubicBezTo>
                  <a:cubicBezTo>
                    <a:pt x="514" y="365"/>
                    <a:pt x="514" y="365"/>
                    <a:pt x="514" y="365"/>
                  </a:cubicBezTo>
                  <a:cubicBezTo>
                    <a:pt x="514" y="364"/>
                    <a:pt x="513" y="362"/>
                    <a:pt x="513" y="361"/>
                  </a:cubicBezTo>
                  <a:cubicBezTo>
                    <a:pt x="512" y="361"/>
                    <a:pt x="512" y="361"/>
                    <a:pt x="512" y="361"/>
                  </a:cubicBezTo>
                  <a:cubicBezTo>
                    <a:pt x="512" y="359"/>
                    <a:pt x="512" y="359"/>
                    <a:pt x="512" y="359"/>
                  </a:cubicBezTo>
                  <a:cubicBezTo>
                    <a:pt x="512" y="357"/>
                    <a:pt x="512" y="356"/>
                    <a:pt x="512" y="356"/>
                  </a:cubicBezTo>
                  <a:cubicBezTo>
                    <a:pt x="511" y="354"/>
                    <a:pt x="511" y="352"/>
                    <a:pt x="511" y="351"/>
                  </a:cubicBezTo>
                  <a:cubicBezTo>
                    <a:pt x="509" y="341"/>
                    <a:pt x="509" y="341"/>
                    <a:pt x="509" y="341"/>
                  </a:cubicBezTo>
                  <a:cubicBezTo>
                    <a:pt x="509" y="340"/>
                    <a:pt x="509" y="340"/>
                    <a:pt x="509" y="339"/>
                  </a:cubicBezTo>
                  <a:cubicBezTo>
                    <a:pt x="509" y="338"/>
                    <a:pt x="509" y="337"/>
                    <a:pt x="509" y="337"/>
                  </a:cubicBezTo>
                  <a:cubicBezTo>
                    <a:pt x="508" y="335"/>
                    <a:pt x="508" y="333"/>
                    <a:pt x="508" y="330"/>
                  </a:cubicBezTo>
                  <a:cubicBezTo>
                    <a:pt x="509" y="329"/>
                    <a:pt x="509" y="329"/>
                    <a:pt x="509" y="329"/>
                  </a:cubicBezTo>
                  <a:cubicBezTo>
                    <a:pt x="509" y="329"/>
                    <a:pt x="509" y="329"/>
                    <a:pt x="509" y="329"/>
                  </a:cubicBezTo>
                  <a:cubicBezTo>
                    <a:pt x="508" y="329"/>
                    <a:pt x="508" y="329"/>
                    <a:pt x="508" y="329"/>
                  </a:cubicBezTo>
                  <a:cubicBezTo>
                    <a:pt x="508" y="328"/>
                    <a:pt x="506" y="328"/>
                    <a:pt x="506" y="326"/>
                  </a:cubicBezTo>
                  <a:cubicBezTo>
                    <a:pt x="505" y="326"/>
                    <a:pt x="505" y="326"/>
                    <a:pt x="505" y="326"/>
                  </a:cubicBezTo>
                  <a:cubicBezTo>
                    <a:pt x="504" y="324"/>
                    <a:pt x="505" y="323"/>
                    <a:pt x="505" y="321"/>
                  </a:cubicBezTo>
                  <a:cubicBezTo>
                    <a:pt x="505" y="321"/>
                    <a:pt x="505" y="321"/>
                    <a:pt x="505" y="321"/>
                  </a:cubicBezTo>
                  <a:cubicBezTo>
                    <a:pt x="501" y="318"/>
                    <a:pt x="501" y="316"/>
                    <a:pt x="501" y="312"/>
                  </a:cubicBezTo>
                  <a:cubicBezTo>
                    <a:pt x="501" y="311"/>
                    <a:pt x="501" y="311"/>
                    <a:pt x="501" y="311"/>
                  </a:cubicBezTo>
                  <a:cubicBezTo>
                    <a:pt x="501" y="309"/>
                    <a:pt x="503" y="307"/>
                    <a:pt x="503" y="307"/>
                  </a:cubicBezTo>
                  <a:cubicBezTo>
                    <a:pt x="504" y="306"/>
                    <a:pt x="504" y="306"/>
                    <a:pt x="504" y="306"/>
                  </a:cubicBezTo>
                  <a:cubicBezTo>
                    <a:pt x="504" y="306"/>
                    <a:pt x="504" y="304"/>
                    <a:pt x="504" y="302"/>
                  </a:cubicBezTo>
                  <a:cubicBezTo>
                    <a:pt x="503" y="301"/>
                    <a:pt x="503" y="301"/>
                    <a:pt x="503" y="301"/>
                  </a:cubicBezTo>
                  <a:cubicBezTo>
                    <a:pt x="504" y="301"/>
                    <a:pt x="504" y="301"/>
                    <a:pt x="504" y="301"/>
                  </a:cubicBezTo>
                  <a:cubicBezTo>
                    <a:pt x="503" y="301"/>
                    <a:pt x="503" y="301"/>
                    <a:pt x="502" y="301"/>
                  </a:cubicBezTo>
                  <a:cubicBezTo>
                    <a:pt x="502" y="301"/>
                    <a:pt x="502" y="301"/>
                    <a:pt x="502" y="301"/>
                  </a:cubicBezTo>
                  <a:cubicBezTo>
                    <a:pt x="501" y="301"/>
                    <a:pt x="500" y="301"/>
                    <a:pt x="500" y="301"/>
                  </a:cubicBezTo>
                  <a:cubicBezTo>
                    <a:pt x="499" y="301"/>
                    <a:pt x="499" y="300"/>
                    <a:pt x="498" y="300"/>
                  </a:cubicBezTo>
                  <a:cubicBezTo>
                    <a:pt x="497" y="300"/>
                    <a:pt x="497" y="299"/>
                    <a:pt x="496" y="299"/>
                  </a:cubicBezTo>
                  <a:cubicBezTo>
                    <a:pt x="495" y="298"/>
                    <a:pt x="494" y="298"/>
                    <a:pt x="493" y="297"/>
                  </a:cubicBezTo>
                  <a:cubicBezTo>
                    <a:pt x="493" y="297"/>
                    <a:pt x="493" y="297"/>
                    <a:pt x="493" y="297"/>
                  </a:cubicBezTo>
                  <a:cubicBezTo>
                    <a:pt x="492" y="297"/>
                    <a:pt x="491" y="296"/>
                    <a:pt x="491" y="296"/>
                  </a:cubicBezTo>
                  <a:cubicBezTo>
                    <a:pt x="490" y="295"/>
                    <a:pt x="489" y="295"/>
                    <a:pt x="489" y="294"/>
                  </a:cubicBezTo>
                  <a:cubicBezTo>
                    <a:pt x="489" y="293"/>
                    <a:pt x="488" y="293"/>
                    <a:pt x="488" y="292"/>
                  </a:cubicBezTo>
                  <a:cubicBezTo>
                    <a:pt x="488" y="290"/>
                    <a:pt x="489" y="288"/>
                    <a:pt x="489" y="286"/>
                  </a:cubicBezTo>
                  <a:cubicBezTo>
                    <a:pt x="489" y="285"/>
                    <a:pt x="489" y="285"/>
                    <a:pt x="489" y="285"/>
                  </a:cubicBezTo>
                  <a:cubicBezTo>
                    <a:pt x="490" y="283"/>
                    <a:pt x="492" y="281"/>
                    <a:pt x="493" y="281"/>
                  </a:cubicBezTo>
                  <a:cubicBezTo>
                    <a:pt x="494" y="281"/>
                    <a:pt x="494" y="281"/>
                    <a:pt x="494" y="280"/>
                  </a:cubicBezTo>
                  <a:cubicBezTo>
                    <a:pt x="495" y="280"/>
                    <a:pt x="495" y="280"/>
                    <a:pt x="495" y="280"/>
                  </a:cubicBezTo>
                  <a:cubicBezTo>
                    <a:pt x="496" y="280"/>
                    <a:pt x="496" y="280"/>
                    <a:pt x="496" y="280"/>
                  </a:cubicBezTo>
                  <a:cubicBezTo>
                    <a:pt x="497" y="274"/>
                    <a:pt x="503" y="273"/>
                    <a:pt x="506" y="273"/>
                  </a:cubicBezTo>
                  <a:cubicBezTo>
                    <a:pt x="506" y="273"/>
                    <a:pt x="507" y="273"/>
                    <a:pt x="507" y="273"/>
                  </a:cubicBezTo>
                  <a:cubicBezTo>
                    <a:pt x="506" y="272"/>
                    <a:pt x="506" y="271"/>
                    <a:pt x="506" y="270"/>
                  </a:cubicBezTo>
                  <a:cubicBezTo>
                    <a:pt x="506" y="270"/>
                    <a:pt x="506" y="270"/>
                    <a:pt x="506" y="270"/>
                  </a:cubicBezTo>
                  <a:cubicBezTo>
                    <a:pt x="506" y="270"/>
                    <a:pt x="506" y="270"/>
                    <a:pt x="506" y="270"/>
                  </a:cubicBezTo>
                  <a:cubicBezTo>
                    <a:pt x="505" y="270"/>
                    <a:pt x="505" y="270"/>
                    <a:pt x="505" y="270"/>
                  </a:cubicBezTo>
                  <a:cubicBezTo>
                    <a:pt x="504" y="270"/>
                    <a:pt x="504" y="270"/>
                    <a:pt x="504" y="270"/>
                  </a:cubicBezTo>
                  <a:cubicBezTo>
                    <a:pt x="502" y="270"/>
                    <a:pt x="499" y="268"/>
                    <a:pt x="498" y="267"/>
                  </a:cubicBezTo>
                  <a:cubicBezTo>
                    <a:pt x="497" y="265"/>
                    <a:pt x="497" y="265"/>
                    <a:pt x="497" y="265"/>
                  </a:cubicBezTo>
                  <a:cubicBezTo>
                    <a:pt x="496" y="264"/>
                    <a:pt x="495" y="263"/>
                    <a:pt x="494" y="262"/>
                  </a:cubicBezTo>
                  <a:cubicBezTo>
                    <a:pt x="493" y="262"/>
                    <a:pt x="493" y="262"/>
                    <a:pt x="493" y="262"/>
                  </a:cubicBezTo>
                  <a:cubicBezTo>
                    <a:pt x="492" y="262"/>
                    <a:pt x="490" y="262"/>
                    <a:pt x="489" y="259"/>
                  </a:cubicBezTo>
                  <a:cubicBezTo>
                    <a:pt x="488" y="256"/>
                    <a:pt x="489" y="254"/>
                    <a:pt x="490" y="252"/>
                  </a:cubicBezTo>
                  <a:cubicBezTo>
                    <a:pt x="490" y="252"/>
                    <a:pt x="490" y="252"/>
                    <a:pt x="490" y="252"/>
                  </a:cubicBezTo>
                  <a:cubicBezTo>
                    <a:pt x="491" y="251"/>
                    <a:pt x="491" y="251"/>
                    <a:pt x="491" y="251"/>
                  </a:cubicBezTo>
                  <a:cubicBezTo>
                    <a:pt x="492" y="248"/>
                    <a:pt x="494" y="246"/>
                    <a:pt x="496" y="244"/>
                  </a:cubicBezTo>
                  <a:cubicBezTo>
                    <a:pt x="495" y="244"/>
                    <a:pt x="495" y="244"/>
                    <a:pt x="495" y="244"/>
                  </a:cubicBezTo>
                  <a:cubicBezTo>
                    <a:pt x="495" y="244"/>
                    <a:pt x="495" y="244"/>
                    <a:pt x="495" y="244"/>
                  </a:cubicBezTo>
                  <a:cubicBezTo>
                    <a:pt x="495" y="243"/>
                    <a:pt x="494" y="243"/>
                    <a:pt x="494" y="242"/>
                  </a:cubicBezTo>
                  <a:cubicBezTo>
                    <a:pt x="494" y="241"/>
                    <a:pt x="494" y="241"/>
                    <a:pt x="494" y="241"/>
                  </a:cubicBezTo>
                  <a:cubicBezTo>
                    <a:pt x="494" y="241"/>
                    <a:pt x="494" y="241"/>
                    <a:pt x="494" y="241"/>
                  </a:cubicBezTo>
                  <a:cubicBezTo>
                    <a:pt x="494" y="242"/>
                    <a:pt x="494" y="242"/>
                    <a:pt x="494" y="242"/>
                  </a:cubicBezTo>
                  <a:cubicBezTo>
                    <a:pt x="493" y="243"/>
                    <a:pt x="493" y="243"/>
                    <a:pt x="493" y="243"/>
                  </a:cubicBezTo>
                  <a:cubicBezTo>
                    <a:pt x="492" y="245"/>
                    <a:pt x="491" y="246"/>
                    <a:pt x="489" y="247"/>
                  </a:cubicBezTo>
                  <a:cubicBezTo>
                    <a:pt x="488" y="247"/>
                    <a:pt x="487" y="247"/>
                    <a:pt x="486" y="247"/>
                  </a:cubicBezTo>
                  <a:cubicBezTo>
                    <a:pt x="486" y="247"/>
                    <a:pt x="486" y="247"/>
                    <a:pt x="486" y="247"/>
                  </a:cubicBezTo>
                  <a:cubicBezTo>
                    <a:pt x="485" y="247"/>
                    <a:pt x="484" y="247"/>
                    <a:pt x="482" y="247"/>
                  </a:cubicBezTo>
                  <a:cubicBezTo>
                    <a:pt x="481" y="247"/>
                    <a:pt x="481" y="247"/>
                    <a:pt x="480" y="247"/>
                  </a:cubicBezTo>
                  <a:cubicBezTo>
                    <a:pt x="476" y="247"/>
                    <a:pt x="476" y="247"/>
                    <a:pt x="476" y="247"/>
                  </a:cubicBezTo>
                  <a:cubicBezTo>
                    <a:pt x="476" y="247"/>
                    <a:pt x="476" y="247"/>
                    <a:pt x="475" y="247"/>
                  </a:cubicBezTo>
                  <a:cubicBezTo>
                    <a:pt x="475" y="247"/>
                    <a:pt x="474" y="247"/>
                    <a:pt x="473" y="247"/>
                  </a:cubicBezTo>
                  <a:cubicBezTo>
                    <a:pt x="471" y="247"/>
                    <a:pt x="469" y="246"/>
                    <a:pt x="467" y="246"/>
                  </a:cubicBezTo>
                  <a:cubicBezTo>
                    <a:pt x="465" y="245"/>
                    <a:pt x="464" y="244"/>
                    <a:pt x="464" y="243"/>
                  </a:cubicBezTo>
                  <a:cubicBezTo>
                    <a:pt x="463" y="243"/>
                    <a:pt x="463" y="243"/>
                    <a:pt x="463" y="243"/>
                  </a:cubicBezTo>
                  <a:cubicBezTo>
                    <a:pt x="462" y="244"/>
                    <a:pt x="461" y="245"/>
                    <a:pt x="460" y="245"/>
                  </a:cubicBezTo>
                  <a:cubicBezTo>
                    <a:pt x="459" y="245"/>
                    <a:pt x="459" y="245"/>
                    <a:pt x="459" y="245"/>
                  </a:cubicBezTo>
                  <a:cubicBezTo>
                    <a:pt x="459" y="245"/>
                    <a:pt x="459" y="245"/>
                    <a:pt x="459" y="245"/>
                  </a:cubicBezTo>
                  <a:cubicBezTo>
                    <a:pt x="458" y="245"/>
                    <a:pt x="458" y="245"/>
                    <a:pt x="458" y="245"/>
                  </a:cubicBezTo>
                  <a:cubicBezTo>
                    <a:pt x="458" y="245"/>
                    <a:pt x="458" y="246"/>
                    <a:pt x="457" y="246"/>
                  </a:cubicBezTo>
                  <a:cubicBezTo>
                    <a:pt x="457" y="246"/>
                    <a:pt x="457" y="246"/>
                    <a:pt x="457" y="246"/>
                  </a:cubicBezTo>
                  <a:cubicBezTo>
                    <a:pt x="456" y="245"/>
                    <a:pt x="455" y="245"/>
                    <a:pt x="455" y="245"/>
                  </a:cubicBezTo>
                  <a:cubicBezTo>
                    <a:pt x="455" y="245"/>
                    <a:pt x="455" y="245"/>
                    <a:pt x="455" y="245"/>
                  </a:cubicBezTo>
                  <a:cubicBezTo>
                    <a:pt x="454" y="245"/>
                    <a:pt x="454" y="245"/>
                    <a:pt x="453" y="244"/>
                  </a:cubicBezTo>
                  <a:cubicBezTo>
                    <a:pt x="450" y="243"/>
                    <a:pt x="450" y="243"/>
                    <a:pt x="450" y="243"/>
                  </a:cubicBezTo>
                  <a:cubicBezTo>
                    <a:pt x="450" y="243"/>
                    <a:pt x="449" y="242"/>
                    <a:pt x="448" y="242"/>
                  </a:cubicBezTo>
                  <a:cubicBezTo>
                    <a:pt x="447" y="242"/>
                    <a:pt x="447" y="242"/>
                    <a:pt x="446" y="242"/>
                  </a:cubicBezTo>
                  <a:cubicBezTo>
                    <a:pt x="445" y="241"/>
                    <a:pt x="445" y="241"/>
                    <a:pt x="445" y="241"/>
                  </a:cubicBezTo>
                  <a:cubicBezTo>
                    <a:pt x="444" y="241"/>
                    <a:pt x="444" y="241"/>
                    <a:pt x="443" y="241"/>
                  </a:cubicBezTo>
                  <a:cubicBezTo>
                    <a:pt x="443" y="241"/>
                    <a:pt x="443" y="241"/>
                    <a:pt x="443" y="241"/>
                  </a:cubicBezTo>
                  <a:cubicBezTo>
                    <a:pt x="443" y="241"/>
                    <a:pt x="442" y="241"/>
                    <a:pt x="442" y="242"/>
                  </a:cubicBezTo>
                  <a:cubicBezTo>
                    <a:pt x="441" y="242"/>
                    <a:pt x="441" y="242"/>
                    <a:pt x="441" y="242"/>
                  </a:cubicBezTo>
                  <a:cubicBezTo>
                    <a:pt x="440" y="242"/>
                    <a:pt x="439" y="242"/>
                    <a:pt x="438" y="242"/>
                  </a:cubicBezTo>
                  <a:cubicBezTo>
                    <a:pt x="437" y="242"/>
                    <a:pt x="437" y="242"/>
                    <a:pt x="436" y="242"/>
                  </a:cubicBezTo>
                  <a:cubicBezTo>
                    <a:pt x="436" y="242"/>
                    <a:pt x="435" y="242"/>
                    <a:pt x="434" y="241"/>
                  </a:cubicBezTo>
                  <a:cubicBezTo>
                    <a:pt x="434" y="241"/>
                    <a:pt x="433" y="240"/>
                    <a:pt x="433" y="240"/>
                  </a:cubicBezTo>
                  <a:cubicBezTo>
                    <a:pt x="432" y="239"/>
                    <a:pt x="431" y="238"/>
                    <a:pt x="431" y="237"/>
                  </a:cubicBezTo>
                  <a:cubicBezTo>
                    <a:pt x="431" y="237"/>
                    <a:pt x="430" y="236"/>
                    <a:pt x="430" y="236"/>
                  </a:cubicBezTo>
                  <a:cubicBezTo>
                    <a:pt x="430" y="235"/>
                    <a:pt x="430" y="235"/>
                    <a:pt x="430" y="235"/>
                  </a:cubicBezTo>
                  <a:cubicBezTo>
                    <a:pt x="429" y="236"/>
                    <a:pt x="428" y="236"/>
                    <a:pt x="427" y="236"/>
                  </a:cubicBezTo>
                  <a:cubicBezTo>
                    <a:pt x="426" y="237"/>
                    <a:pt x="426" y="237"/>
                    <a:pt x="426" y="237"/>
                  </a:cubicBezTo>
                  <a:cubicBezTo>
                    <a:pt x="425" y="237"/>
                    <a:pt x="424" y="237"/>
                    <a:pt x="423" y="237"/>
                  </a:cubicBezTo>
                  <a:cubicBezTo>
                    <a:pt x="423" y="237"/>
                    <a:pt x="423" y="237"/>
                    <a:pt x="423" y="237"/>
                  </a:cubicBezTo>
                  <a:cubicBezTo>
                    <a:pt x="422" y="237"/>
                    <a:pt x="421" y="237"/>
                    <a:pt x="420" y="236"/>
                  </a:cubicBezTo>
                  <a:cubicBezTo>
                    <a:pt x="419" y="236"/>
                    <a:pt x="419" y="236"/>
                    <a:pt x="419" y="235"/>
                  </a:cubicBezTo>
                  <a:cubicBezTo>
                    <a:pt x="418" y="235"/>
                    <a:pt x="418" y="235"/>
                    <a:pt x="418" y="235"/>
                  </a:cubicBezTo>
                  <a:cubicBezTo>
                    <a:pt x="418" y="235"/>
                    <a:pt x="418" y="234"/>
                    <a:pt x="417" y="234"/>
                  </a:cubicBezTo>
                  <a:cubicBezTo>
                    <a:pt x="416" y="234"/>
                    <a:pt x="416" y="234"/>
                    <a:pt x="416" y="234"/>
                  </a:cubicBezTo>
                  <a:cubicBezTo>
                    <a:pt x="415" y="233"/>
                    <a:pt x="413" y="232"/>
                    <a:pt x="411" y="231"/>
                  </a:cubicBezTo>
                  <a:cubicBezTo>
                    <a:pt x="410" y="231"/>
                    <a:pt x="410" y="231"/>
                    <a:pt x="410" y="231"/>
                  </a:cubicBezTo>
                  <a:cubicBezTo>
                    <a:pt x="409" y="231"/>
                    <a:pt x="408" y="231"/>
                    <a:pt x="407" y="230"/>
                  </a:cubicBezTo>
                  <a:cubicBezTo>
                    <a:pt x="405" y="229"/>
                    <a:pt x="404" y="228"/>
                    <a:pt x="403" y="227"/>
                  </a:cubicBezTo>
                  <a:cubicBezTo>
                    <a:pt x="403" y="226"/>
                    <a:pt x="403" y="225"/>
                    <a:pt x="403" y="224"/>
                  </a:cubicBezTo>
                  <a:cubicBezTo>
                    <a:pt x="402" y="224"/>
                    <a:pt x="402" y="223"/>
                    <a:pt x="402" y="222"/>
                  </a:cubicBezTo>
                  <a:cubicBezTo>
                    <a:pt x="402" y="222"/>
                    <a:pt x="402" y="222"/>
                    <a:pt x="402" y="222"/>
                  </a:cubicBezTo>
                  <a:cubicBezTo>
                    <a:pt x="402" y="221"/>
                    <a:pt x="402" y="221"/>
                    <a:pt x="402" y="221"/>
                  </a:cubicBezTo>
                  <a:cubicBezTo>
                    <a:pt x="402" y="221"/>
                    <a:pt x="402" y="221"/>
                    <a:pt x="402" y="221"/>
                  </a:cubicBezTo>
                  <a:cubicBezTo>
                    <a:pt x="401" y="220"/>
                    <a:pt x="398" y="219"/>
                    <a:pt x="397" y="219"/>
                  </a:cubicBezTo>
                  <a:cubicBezTo>
                    <a:pt x="396" y="218"/>
                    <a:pt x="396" y="218"/>
                    <a:pt x="396" y="218"/>
                  </a:cubicBezTo>
                  <a:cubicBezTo>
                    <a:pt x="395" y="218"/>
                    <a:pt x="395" y="218"/>
                    <a:pt x="394" y="218"/>
                  </a:cubicBezTo>
                  <a:cubicBezTo>
                    <a:pt x="394" y="218"/>
                    <a:pt x="394" y="217"/>
                    <a:pt x="393" y="217"/>
                  </a:cubicBezTo>
                  <a:cubicBezTo>
                    <a:pt x="393" y="217"/>
                    <a:pt x="393" y="217"/>
                    <a:pt x="393" y="218"/>
                  </a:cubicBezTo>
                  <a:cubicBezTo>
                    <a:pt x="393" y="218"/>
                    <a:pt x="392" y="218"/>
                    <a:pt x="391" y="218"/>
                  </a:cubicBezTo>
                  <a:cubicBezTo>
                    <a:pt x="392" y="224"/>
                    <a:pt x="392" y="224"/>
                    <a:pt x="392" y="224"/>
                  </a:cubicBezTo>
                  <a:cubicBezTo>
                    <a:pt x="390" y="219"/>
                    <a:pt x="390" y="219"/>
                    <a:pt x="390" y="219"/>
                  </a:cubicBezTo>
                  <a:cubicBezTo>
                    <a:pt x="389" y="220"/>
                    <a:pt x="389" y="220"/>
                    <a:pt x="389" y="220"/>
                  </a:cubicBezTo>
                  <a:cubicBezTo>
                    <a:pt x="388" y="221"/>
                    <a:pt x="388" y="221"/>
                    <a:pt x="388" y="221"/>
                  </a:cubicBezTo>
                  <a:cubicBezTo>
                    <a:pt x="387" y="220"/>
                    <a:pt x="387" y="220"/>
                    <a:pt x="387" y="220"/>
                  </a:cubicBezTo>
                  <a:cubicBezTo>
                    <a:pt x="386" y="222"/>
                    <a:pt x="386" y="222"/>
                    <a:pt x="386" y="222"/>
                  </a:cubicBezTo>
                  <a:cubicBezTo>
                    <a:pt x="385" y="221"/>
                    <a:pt x="385" y="221"/>
                    <a:pt x="385" y="221"/>
                  </a:cubicBezTo>
                  <a:cubicBezTo>
                    <a:pt x="379" y="219"/>
                    <a:pt x="379" y="219"/>
                    <a:pt x="379" y="219"/>
                  </a:cubicBezTo>
                  <a:cubicBezTo>
                    <a:pt x="378" y="219"/>
                    <a:pt x="378" y="219"/>
                    <a:pt x="378" y="219"/>
                  </a:cubicBezTo>
                  <a:cubicBezTo>
                    <a:pt x="377" y="220"/>
                    <a:pt x="377" y="220"/>
                    <a:pt x="377" y="220"/>
                  </a:cubicBezTo>
                  <a:cubicBezTo>
                    <a:pt x="376" y="221"/>
                    <a:pt x="376" y="221"/>
                    <a:pt x="376" y="221"/>
                  </a:cubicBezTo>
                  <a:cubicBezTo>
                    <a:pt x="376" y="221"/>
                    <a:pt x="376" y="221"/>
                    <a:pt x="375" y="221"/>
                  </a:cubicBezTo>
                  <a:cubicBezTo>
                    <a:pt x="375" y="221"/>
                    <a:pt x="375" y="221"/>
                    <a:pt x="375" y="221"/>
                  </a:cubicBezTo>
                  <a:cubicBezTo>
                    <a:pt x="374" y="222"/>
                    <a:pt x="374" y="222"/>
                    <a:pt x="374" y="222"/>
                  </a:cubicBezTo>
                  <a:cubicBezTo>
                    <a:pt x="373" y="222"/>
                    <a:pt x="373" y="222"/>
                    <a:pt x="373" y="222"/>
                  </a:cubicBezTo>
                  <a:cubicBezTo>
                    <a:pt x="373" y="222"/>
                    <a:pt x="373" y="222"/>
                    <a:pt x="372" y="222"/>
                  </a:cubicBezTo>
                  <a:cubicBezTo>
                    <a:pt x="372" y="222"/>
                    <a:pt x="371" y="221"/>
                    <a:pt x="371" y="221"/>
                  </a:cubicBezTo>
                  <a:cubicBezTo>
                    <a:pt x="370" y="220"/>
                    <a:pt x="368" y="219"/>
                    <a:pt x="367" y="219"/>
                  </a:cubicBezTo>
                  <a:cubicBezTo>
                    <a:pt x="366" y="219"/>
                    <a:pt x="365" y="219"/>
                    <a:pt x="364" y="218"/>
                  </a:cubicBezTo>
                  <a:cubicBezTo>
                    <a:pt x="360" y="218"/>
                    <a:pt x="360" y="218"/>
                    <a:pt x="360" y="218"/>
                  </a:cubicBezTo>
                  <a:cubicBezTo>
                    <a:pt x="359" y="218"/>
                    <a:pt x="358" y="217"/>
                    <a:pt x="358" y="216"/>
                  </a:cubicBezTo>
                  <a:cubicBezTo>
                    <a:pt x="357" y="215"/>
                    <a:pt x="356" y="214"/>
                    <a:pt x="356" y="213"/>
                  </a:cubicBezTo>
                  <a:cubicBezTo>
                    <a:pt x="355" y="212"/>
                    <a:pt x="355" y="212"/>
                    <a:pt x="355" y="212"/>
                  </a:cubicBezTo>
                  <a:cubicBezTo>
                    <a:pt x="355" y="212"/>
                    <a:pt x="355" y="212"/>
                    <a:pt x="355" y="212"/>
                  </a:cubicBezTo>
                  <a:cubicBezTo>
                    <a:pt x="349" y="210"/>
                    <a:pt x="349" y="210"/>
                    <a:pt x="349" y="210"/>
                  </a:cubicBezTo>
                  <a:cubicBezTo>
                    <a:pt x="347" y="214"/>
                    <a:pt x="347" y="214"/>
                    <a:pt x="347" y="214"/>
                  </a:cubicBezTo>
                  <a:cubicBezTo>
                    <a:pt x="347" y="209"/>
                    <a:pt x="347" y="209"/>
                    <a:pt x="347" y="209"/>
                  </a:cubicBezTo>
                  <a:cubicBezTo>
                    <a:pt x="347" y="209"/>
                    <a:pt x="347" y="209"/>
                    <a:pt x="347" y="209"/>
                  </a:cubicBezTo>
                  <a:cubicBezTo>
                    <a:pt x="345" y="208"/>
                    <a:pt x="344" y="208"/>
                    <a:pt x="342" y="207"/>
                  </a:cubicBezTo>
                  <a:cubicBezTo>
                    <a:pt x="341" y="207"/>
                    <a:pt x="341" y="207"/>
                    <a:pt x="341" y="207"/>
                  </a:cubicBezTo>
                  <a:cubicBezTo>
                    <a:pt x="340" y="207"/>
                    <a:pt x="340" y="208"/>
                    <a:pt x="339" y="208"/>
                  </a:cubicBezTo>
                  <a:cubicBezTo>
                    <a:pt x="338" y="208"/>
                    <a:pt x="338" y="208"/>
                    <a:pt x="338" y="208"/>
                  </a:cubicBezTo>
                  <a:cubicBezTo>
                    <a:pt x="338" y="208"/>
                    <a:pt x="338" y="208"/>
                    <a:pt x="338" y="208"/>
                  </a:cubicBezTo>
                  <a:cubicBezTo>
                    <a:pt x="338" y="208"/>
                    <a:pt x="337" y="208"/>
                    <a:pt x="337" y="208"/>
                  </a:cubicBezTo>
                  <a:cubicBezTo>
                    <a:pt x="335" y="208"/>
                    <a:pt x="334" y="207"/>
                    <a:pt x="331" y="205"/>
                  </a:cubicBezTo>
                  <a:cubicBezTo>
                    <a:pt x="330" y="204"/>
                    <a:pt x="330" y="204"/>
                    <a:pt x="330" y="204"/>
                  </a:cubicBezTo>
                  <a:cubicBezTo>
                    <a:pt x="329" y="204"/>
                    <a:pt x="329" y="203"/>
                    <a:pt x="328" y="203"/>
                  </a:cubicBezTo>
                  <a:cubicBezTo>
                    <a:pt x="327" y="202"/>
                    <a:pt x="327" y="202"/>
                    <a:pt x="326" y="201"/>
                  </a:cubicBezTo>
                  <a:cubicBezTo>
                    <a:pt x="326" y="201"/>
                    <a:pt x="326" y="201"/>
                    <a:pt x="326" y="201"/>
                  </a:cubicBezTo>
                  <a:cubicBezTo>
                    <a:pt x="324" y="199"/>
                    <a:pt x="322" y="198"/>
                    <a:pt x="321" y="196"/>
                  </a:cubicBezTo>
                  <a:cubicBezTo>
                    <a:pt x="320" y="196"/>
                    <a:pt x="320" y="196"/>
                    <a:pt x="320" y="196"/>
                  </a:cubicBezTo>
                  <a:cubicBezTo>
                    <a:pt x="319" y="194"/>
                    <a:pt x="317" y="193"/>
                    <a:pt x="315" y="192"/>
                  </a:cubicBezTo>
                  <a:cubicBezTo>
                    <a:pt x="314" y="191"/>
                    <a:pt x="312" y="190"/>
                    <a:pt x="310" y="189"/>
                  </a:cubicBezTo>
                  <a:cubicBezTo>
                    <a:pt x="307" y="188"/>
                    <a:pt x="307" y="188"/>
                    <a:pt x="307" y="188"/>
                  </a:cubicBezTo>
                  <a:cubicBezTo>
                    <a:pt x="306" y="190"/>
                    <a:pt x="306" y="190"/>
                    <a:pt x="306" y="190"/>
                  </a:cubicBezTo>
                  <a:cubicBezTo>
                    <a:pt x="303" y="189"/>
                    <a:pt x="303" y="189"/>
                    <a:pt x="303" y="189"/>
                  </a:cubicBezTo>
                  <a:cubicBezTo>
                    <a:pt x="300" y="188"/>
                    <a:pt x="297" y="186"/>
                    <a:pt x="295" y="185"/>
                  </a:cubicBezTo>
                  <a:cubicBezTo>
                    <a:pt x="291" y="182"/>
                    <a:pt x="290" y="179"/>
                    <a:pt x="291" y="176"/>
                  </a:cubicBezTo>
                  <a:cubicBezTo>
                    <a:pt x="291" y="175"/>
                    <a:pt x="291" y="174"/>
                    <a:pt x="292" y="173"/>
                  </a:cubicBezTo>
                  <a:cubicBezTo>
                    <a:pt x="292" y="172"/>
                    <a:pt x="293" y="170"/>
                    <a:pt x="294" y="168"/>
                  </a:cubicBezTo>
                  <a:cubicBezTo>
                    <a:pt x="295" y="167"/>
                    <a:pt x="295" y="167"/>
                    <a:pt x="295" y="167"/>
                  </a:cubicBezTo>
                  <a:cubicBezTo>
                    <a:pt x="295" y="167"/>
                    <a:pt x="296" y="166"/>
                    <a:pt x="296" y="166"/>
                  </a:cubicBezTo>
                  <a:cubicBezTo>
                    <a:pt x="295" y="165"/>
                    <a:pt x="295" y="165"/>
                    <a:pt x="295" y="164"/>
                  </a:cubicBezTo>
                  <a:cubicBezTo>
                    <a:pt x="295" y="163"/>
                    <a:pt x="295" y="163"/>
                    <a:pt x="295" y="162"/>
                  </a:cubicBezTo>
                  <a:cubicBezTo>
                    <a:pt x="295" y="161"/>
                    <a:pt x="296" y="160"/>
                    <a:pt x="296" y="159"/>
                  </a:cubicBezTo>
                  <a:cubicBezTo>
                    <a:pt x="298" y="157"/>
                    <a:pt x="298" y="157"/>
                    <a:pt x="298" y="157"/>
                  </a:cubicBezTo>
                  <a:cubicBezTo>
                    <a:pt x="299" y="157"/>
                    <a:pt x="299" y="157"/>
                    <a:pt x="299" y="157"/>
                  </a:cubicBezTo>
                  <a:cubicBezTo>
                    <a:pt x="299" y="157"/>
                    <a:pt x="299" y="157"/>
                    <a:pt x="299" y="157"/>
                  </a:cubicBezTo>
                  <a:cubicBezTo>
                    <a:pt x="299" y="156"/>
                    <a:pt x="299" y="156"/>
                    <a:pt x="299" y="156"/>
                  </a:cubicBezTo>
                  <a:cubicBezTo>
                    <a:pt x="312" y="143"/>
                    <a:pt x="312" y="143"/>
                    <a:pt x="312" y="143"/>
                  </a:cubicBezTo>
                  <a:cubicBezTo>
                    <a:pt x="296" y="135"/>
                    <a:pt x="296" y="135"/>
                    <a:pt x="296" y="135"/>
                  </a:cubicBezTo>
                  <a:cubicBezTo>
                    <a:pt x="294" y="134"/>
                    <a:pt x="294" y="133"/>
                    <a:pt x="294" y="133"/>
                  </a:cubicBezTo>
                  <a:cubicBezTo>
                    <a:pt x="293" y="132"/>
                    <a:pt x="293" y="132"/>
                    <a:pt x="293" y="132"/>
                  </a:cubicBezTo>
                  <a:cubicBezTo>
                    <a:pt x="294" y="130"/>
                    <a:pt x="294" y="130"/>
                    <a:pt x="294" y="130"/>
                  </a:cubicBezTo>
                  <a:cubicBezTo>
                    <a:pt x="294" y="129"/>
                    <a:pt x="294" y="129"/>
                    <a:pt x="294" y="129"/>
                  </a:cubicBezTo>
                  <a:cubicBezTo>
                    <a:pt x="294" y="129"/>
                    <a:pt x="294" y="129"/>
                    <a:pt x="293" y="128"/>
                  </a:cubicBezTo>
                  <a:cubicBezTo>
                    <a:pt x="290" y="127"/>
                    <a:pt x="286" y="125"/>
                    <a:pt x="282" y="125"/>
                  </a:cubicBezTo>
                  <a:cubicBezTo>
                    <a:pt x="281" y="124"/>
                    <a:pt x="281" y="124"/>
                    <a:pt x="281" y="124"/>
                  </a:cubicBezTo>
                  <a:cubicBezTo>
                    <a:pt x="281" y="124"/>
                    <a:pt x="280" y="124"/>
                    <a:pt x="280" y="124"/>
                  </a:cubicBezTo>
                  <a:cubicBezTo>
                    <a:pt x="278" y="123"/>
                    <a:pt x="276" y="122"/>
                    <a:pt x="275" y="121"/>
                  </a:cubicBezTo>
                  <a:cubicBezTo>
                    <a:pt x="274" y="120"/>
                    <a:pt x="274" y="120"/>
                    <a:pt x="274" y="120"/>
                  </a:cubicBezTo>
                  <a:cubicBezTo>
                    <a:pt x="274" y="119"/>
                    <a:pt x="273" y="118"/>
                    <a:pt x="272" y="117"/>
                  </a:cubicBezTo>
                  <a:cubicBezTo>
                    <a:pt x="272" y="117"/>
                    <a:pt x="272" y="117"/>
                    <a:pt x="272" y="117"/>
                  </a:cubicBezTo>
                  <a:cubicBezTo>
                    <a:pt x="271" y="116"/>
                    <a:pt x="271" y="115"/>
                    <a:pt x="270" y="114"/>
                  </a:cubicBezTo>
                  <a:cubicBezTo>
                    <a:pt x="270" y="114"/>
                    <a:pt x="270" y="114"/>
                    <a:pt x="270" y="114"/>
                  </a:cubicBezTo>
                  <a:cubicBezTo>
                    <a:pt x="270" y="114"/>
                    <a:pt x="270" y="114"/>
                    <a:pt x="270" y="114"/>
                  </a:cubicBezTo>
                  <a:cubicBezTo>
                    <a:pt x="269" y="113"/>
                    <a:pt x="269" y="113"/>
                    <a:pt x="269" y="113"/>
                  </a:cubicBezTo>
                  <a:cubicBezTo>
                    <a:pt x="269" y="113"/>
                    <a:pt x="269" y="113"/>
                    <a:pt x="269" y="113"/>
                  </a:cubicBezTo>
                  <a:cubicBezTo>
                    <a:pt x="269" y="113"/>
                    <a:pt x="269" y="113"/>
                    <a:pt x="269" y="113"/>
                  </a:cubicBezTo>
                  <a:cubicBezTo>
                    <a:pt x="269" y="112"/>
                    <a:pt x="269" y="112"/>
                    <a:pt x="269" y="112"/>
                  </a:cubicBezTo>
                  <a:cubicBezTo>
                    <a:pt x="268" y="113"/>
                    <a:pt x="268" y="114"/>
                    <a:pt x="267" y="114"/>
                  </a:cubicBezTo>
                  <a:cubicBezTo>
                    <a:pt x="267" y="115"/>
                    <a:pt x="267" y="115"/>
                    <a:pt x="267" y="115"/>
                  </a:cubicBezTo>
                  <a:cubicBezTo>
                    <a:pt x="266" y="115"/>
                    <a:pt x="266" y="115"/>
                    <a:pt x="266" y="115"/>
                  </a:cubicBezTo>
                  <a:cubicBezTo>
                    <a:pt x="263" y="117"/>
                    <a:pt x="263" y="117"/>
                    <a:pt x="263" y="117"/>
                  </a:cubicBezTo>
                  <a:cubicBezTo>
                    <a:pt x="261" y="115"/>
                    <a:pt x="261" y="115"/>
                    <a:pt x="261" y="115"/>
                  </a:cubicBezTo>
                  <a:cubicBezTo>
                    <a:pt x="261" y="114"/>
                    <a:pt x="261" y="114"/>
                    <a:pt x="260" y="113"/>
                  </a:cubicBezTo>
                  <a:cubicBezTo>
                    <a:pt x="260" y="113"/>
                    <a:pt x="259" y="112"/>
                    <a:pt x="259" y="112"/>
                  </a:cubicBezTo>
                  <a:cubicBezTo>
                    <a:pt x="258" y="110"/>
                    <a:pt x="258" y="109"/>
                    <a:pt x="257" y="108"/>
                  </a:cubicBezTo>
                  <a:cubicBezTo>
                    <a:pt x="257" y="108"/>
                    <a:pt x="257" y="108"/>
                    <a:pt x="257" y="108"/>
                  </a:cubicBezTo>
                  <a:cubicBezTo>
                    <a:pt x="257" y="107"/>
                    <a:pt x="257" y="107"/>
                    <a:pt x="257" y="106"/>
                  </a:cubicBezTo>
                  <a:cubicBezTo>
                    <a:pt x="257" y="104"/>
                    <a:pt x="257" y="104"/>
                    <a:pt x="257" y="104"/>
                  </a:cubicBezTo>
                  <a:cubicBezTo>
                    <a:pt x="257" y="102"/>
                    <a:pt x="257" y="100"/>
                    <a:pt x="257" y="99"/>
                  </a:cubicBezTo>
                  <a:cubicBezTo>
                    <a:pt x="257" y="97"/>
                    <a:pt x="257" y="97"/>
                    <a:pt x="257" y="97"/>
                  </a:cubicBezTo>
                  <a:cubicBezTo>
                    <a:pt x="257" y="96"/>
                    <a:pt x="257" y="96"/>
                    <a:pt x="257" y="96"/>
                  </a:cubicBezTo>
                  <a:cubicBezTo>
                    <a:pt x="257" y="96"/>
                    <a:pt x="257" y="96"/>
                    <a:pt x="257" y="96"/>
                  </a:cubicBezTo>
                  <a:cubicBezTo>
                    <a:pt x="256" y="95"/>
                    <a:pt x="255" y="93"/>
                    <a:pt x="254" y="92"/>
                  </a:cubicBezTo>
                  <a:cubicBezTo>
                    <a:pt x="254" y="91"/>
                    <a:pt x="254" y="91"/>
                    <a:pt x="254" y="91"/>
                  </a:cubicBezTo>
                  <a:cubicBezTo>
                    <a:pt x="252" y="88"/>
                    <a:pt x="250" y="85"/>
                    <a:pt x="249" y="81"/>
                  </a:cubicBezTo>
                  <a:cubicBezTo>
                    <a:pt x="249" y="81"/>
                    <a:pt x="249" y="79"/>
                    <a:pt x="250" y="77"/>
                  </a:cubicBezTo>
                  <a:cubicBezTo>
                    <a:pt x="251" y="75"/>
                    <a:pt x="253" y="75"/>
                    <a:pt x="254" y="75"/>
                  </a:cubicBezTo>
                  <a:cubicBezTo>
                    <a:pt x="255" y="75"/>
                    <a:pt x="255" y="75"/>
                    <a:pt x="255" y="75"/>
                  </a:cubicBezTo>
                  <a:cubicBezTo>
                    <a:pt x="256" y="74"/>
                    <a:pt x="256" y="74"/>
                    <a:pt x="256" y="74"/>
                  </a:cubicBezTo>
                  <a:cubicBezTo>
                    <a:pt x="256" y="74"/>
                    <a:pt x="257" y="74"/>
                    <a:pt x="258" y="74"/>
                  </a:cubicBezTo>
                  <a:cubicBezTo>
                    <a:pt x="267" y="72"/>
                    <a:pt x="267" y="72"/>
                    <a:pt x="267" y="72"/>
                  </a:cubicBezTo>
                  <a:cubicBezTo>
                    <a:pt x="264" y="77"/>
                    <a:pt x="264" y="77"/>
                    <a:pt x="264" y="77"/>
                  </a:cubicBezTo>
                  <a:cubicBezTo>
                    <a:pt x="264" y="77"/>
                    <a:pt x="264" y="77"/>
                    <a:pt x="264" y="77"/>
                  </a:cubicBezTo>
                  <a:cubicBezTo>
                    <a:pt x="264" y="78"/>
                    <a:pt x="264" y="78"/>
                    <a:pt x="264" y="78"/>
                  </a:cubicBezTo>
                  <a:cubicBezTo>
                    <a:pt x="266" y="79"/>
                    <a:pt x="267" y="80"/>
                    <a:pt x="267" y="80"/>
                  </a:cubicBezTo>
                  <a:cubicBezTo>
                    <a:pt x="267" y="80"/>
                    <a:pt x="267" y="80"/>
                    <a:pt x="267" y="80"/>
                  </a:cubicBezTo>
                  <a:cubicBezTo>
                    <a:pt x="269" y="80"/>
                    <a:pt x="272" y="78"/>
                    <a:pt x="276" y="73"/>
                  </a:cubicBezTo>
                  <a:cubicBezTo>
                    <a:pt x="276" y="72"/>
                    <a:pt x="275" y="72"/>
                    <a:pt x="275" y="71"/>
                  </a:cubicBezTo>
                  <a:cubicBezTo>
                    <a:pt x="275" y="71"/>
                    <a:pt x="275" y="71"/>
                    <a:pt x="275" y="70"/>
                  </a:cubicBezTo>
                  <a:cubicBezTo>
                    <a:pt x="275" y="69"/>
                    <a:pt x="274" y="68"/>
                    <a:pt x="274" y="67"/>
                  </a:cubicBezTo>
                  <a:cubicBezTo>
                    <a:pt x="274" y="65"/>
                    <a:pt x="274" y="65"/>
                    <a:pt x="274" y="65"/>
                  </a:cubicBezTo>
                  <a:cubicBezTo>
                    <a:pt x="274" y="64"/>
                    <a:pt x="274" y="64"/>
                    <a:pt x="274" y="64"/>
                  </a:cubicBezTo>
                  <a:cubicBezTo>
                    <a:pt x="274" y="64"/>
                    <a:pt x="274" y="64"/>
                    <a:pt x="274" y="64"/>
                  </a:cubicBezTo>
                  <a:cubicBezTo>
                    <a:pt x="273" y="63"/>
                    <a:pt x="273" y="63"/>
                    <a:pt x="273" y="63"/>
                  </a:cubicBezTo>
                  <a:cubicBezTo>
                    <a:pt x="269" y="62"/>
                    <a:pt x="267" y="60"/>
                    <a:pt x="265" y="59"/>
                  </a:cubicBezTo>
                  <a:cubicBezTo>
                    <a:pt x="264" y="58"/>
                    <a:pt x="264" y="58"/>
                    <a:pt x="264" y="58"/>
                  </a:cubicBezTo>
                  <a:cubicBezTo>
                    <a:pt x="263" y="57"/>
                    <a:pt x="263" y="57"/>
                    <a:pt x="263" y="56"/>
                  </a:cubicBezTo>
                  <a:cubicBezTo>
                    <a:pt x="262" y="55"/>
                    <a:pt x="262" y="55"/>
                    <a:pt x="262" y="55"/>
                  </a:cubicBezTo>
                  <a:cubicBezTo>
                    <a:pt x="262" y="54"/>
                    <a:pt x="262" y="54"/>
                    <a:pt x="262" y="54"/>
                  </a:cubicBezTo>
                  <a:cubicBezTo>
                    <a:pt x="262" y="53"/>
                    <a:pt x="262" y="53"/>
                    <a:pt x="262" y="53"/>
                  </a:cubicBezTo>
                  <a:cubicBezTo>
                    <a:pt x="260" y="49"/>
                    <a:pt x="260" y="49"/>
                    <a:pt x="260" y="49"/>
                  </a:cubicBezTo>
                  <a:cubicBezTo>
                    <a:pt x="254" y="51"/>
                    <a:pt x="254" y="51"/>
                    <a:pt x="254" y="51"/>
                  </a:cubicBezTo>
                  <a:cubicBezTo>
                    <a:pt x="260" y="47"/>
                    <a:pt x="260" y="47"/>
                    <a:pt x="260" y="47"/>
                  </a:cubicBezTo>
                  <a:cubicBezTo>
                    <a:pt x="258" y="42"/>
                    <a:pt x="258" y="42"/>
                    <a:pt x="258" y="42"/>
                  </a:cubicBezTo>
                  <a:cubicBezTo>
                    <a:pt x="258" y="41"/>
                    <a:pt x="258" y="41"/>
                    <a:pt x="258" y="41"/>
                  </a:cubicBezTo>
                  <a:cubicBezTo>
                    <a:pt x="258" y="41"/>
                    <a:pt x="258" y="41"/>
                    <a:pt x="258" y="41"/>
                  </a:cubicBezTo>
                  <a:cubicBezTo>
                    <a:pt x="258" y="40"/>
                    <a:pt x="258" y="40"/>
                    <a:pt x="258" y="40"/>
                  </a:cubicBezTo>
                  <a:cubicBezTo>
                    <a:pt x="257" y="37"/>
                    <a:pt x="258" y="35"/>
                    <a:pt x="259" y="34"/>
                  </a:cubicBezTo>
                  <a:cubicBezTo>
                    <a:pt x="259" y="33"/>
                    <a:pt x="259" y="33"/>
                    <a:pt x="259" y="33"/>
                  </a:cubicBezTo>
                  <a:cubicBezTo>
                    <a:pt x="262" y="30"/>
                    <a:pt x="262" y="30"/>
                    <a:pt x="262" y="30"/>
                  </a:cubicBezTo>
                  <a:cubicBezTo>
                    <a:pt x="262" y="30"/>
                    <a:pt x="261" y="30"/>
                    <a:pt x="261" y="30"/>
                  </a:cubicBezTo>
                  <a:cubicBezTo>
                    <a:pt x="260" y="29"/>
                    <a:pt x="260" y="29"/>
                    <a:pt x="260" y="29"/>
                  </a:cubicBezTo>
                  <a:cubicBezTo>
                    <a:pt x="257" y="29"/>
                    <a:pt x="255" y="28"/>
                    <a:pt x="253" y="26"/>
                  </a:cubicBezTo>
                  <a:cubicBezTo>
                    <a:pt x="250" y="25"/>
                    <a:pt x="248" y="23"/>
                    <a:pt x="247" y="20"/>
                  </a:cubicBezTo>
                  <a:cubicBezTo>
                    <a:pt x="246" y="20"/>
                    <a:pt x="246" y="19"/>
                    <a:pt x="246" y="19"/>
                  </a:cubicBezTo>
                  <a:cubicBezTo>
                    <a:pt x="243" y="11"/>
                    <a:pt x="243" y="11"/>
                    <a:pt x="243" y="11"/>
                  </a:cubicBezTo>
                  <a:cubicBezTo>
                    <a:pt x="243" y="10"/>
                    <a:pt x="243" y="9"/>
                    <a:pt x="242" y="8"/>
                  </a:cubicBezTo>
                  <a:cubicBezTo>
                    <a:pt x="242" y="8"/>
                    <a:pt x="241" y="7"/>
                    <a:pt x="241" y="7"/>
                  </a:cubicBezTo>
                  <a:cubicBezTo>
                    <a:pt x="241" y="6"/>
                    <a:pt x="240" y="4"/>
                    <a:pt x="240" y="3"/>
                  </a:cubicBezTo>
                  <a:cubicBezTo>
                    <a:pt x="240" y="1"/>
                    <a:pt x="240" y="1"/>
                    <a:pt x="2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Rectangle 499"/>
            <p:cNvSpPr>
              <a:spLocks noChangeArrowheads="1"/>
            </p:cNvSpPr>
            <p:nvPr/>
          </p:nvSpPr>
          <p:spPr bwMode="auto">
            <a:xfrm>
              <a:off x="2963181" y="3971623"/>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500"/>
            <p:cNvSpPr/>
            <p:nvPr/>
          </p:nvSpPr>
          <p:spPr bwMode="auto">
            <a:xfrm flipH="1">
              <a:off x="2963181" y="397162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Rectangle 501"/>
            <p:cNvSpPr>
              <a:spLocks noChangeArrowheads="1"/>
            </p:cNvSpPr>
            <p:nvPr/>
          </p:nvSpPr>
          <p:spPr bwMode="auto">
            <a:xfrm>
              <a:off x="3014220" y="3298717"/>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502"/>
            <p:cNvSpPr/>
            <p:nvPr/>
          </p:nvSpPr>
          <p:spPr bwMode="auto">
            <a:xfrm flipH="1">
              <a:off x="3014220" y="329871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503"/>
            <p:cNvSpPr>
              <a:spLocks noEditPoints="1"/>
            </p:cNvSpPr>
            <p:nvPr/>
          </p:nvSpPr>
          <p:spPr bwMode="auto">
            <a:xfrm>
              <a:off x="2416529" y="2825937"/>
              <a:ext cx="1259852" cy="1136284"/>
            </a:xfrm>
            <a:custGeom>
              <a:gdLst>
                <a:gd name="T0" fmla="*/ 320 w 397"/>
                <a:gd name="T1" fmla="*/ 6 h 358"/>
                <a:gd name="T2" fmla="*/ 299 w 397"/>
                <a:gd name="T3" fmla="*/ 5 h 358"/>
                <a:gd name="T4" fmla="*/ 262 w 397"/>
                <a:gd name="T5" fmla="*/ 18 h 358"/>
                <a:gd name="T6" fmla="*/ 257 w 397"/>
                <a:gd name="T7" fmla="*/ 35 h 358"/>
                <a:gd name="T8" fmla="*/ 261 w 397"/>
                <a:gd name="T9" fmla="*/ 49 h 358"/>
                <a:gd name="T10" fmla="*/ 247 w 397"/>
                <a:gd name="T11" fmla="*/ 66 h 358"/>
                <a:gd name="T12" fmla="*/ 247 w 397"/>
                <a:gd name="T13" fmla="*/ 78 h 358"/>
                <a:gd name="T14" fmla="*/ 218 w 397"/>
                <a:gd name="T15" fmla="*/ 85 h 358"/>
                <a:gd name="T16" fmla="*/ 217 w 397"/>
                <a:gd name="T17" fmla="*/ 110 h 358"/>
                <a:gd name="T18" fmla="*/ 211 w 397"/>
                <a:gd name="T19" fmla="*/ 111 h 358"/>
                <a:gd name="T20" fmla="*/ 206 w 397"/>
                <a:gd name="T21" fmla="*/ 121 h 358"/>
                <a:gd name="T22" fmla="*/ 193 w 397"/>
                <a:gd name="T23" fmla="*/ 150 h 358"/>
                <a:gd name="T24" fmla="*/ 184 w 397"/>
                <a:gd name="T25" fmla="*/ 148 h 358"/>
                <a:gd name="T26" fmla="*/ 174 w 397"/>
                <a:gd name="T27" fmla="*/ 147 h 358"/>
                <a:gd name="T28" fmla="*/ 155 w 397"/>
                <a:gd name="T29" fmla="*/ 161 h 358"/>
                <a:gd name="T30" fmla="*/ 139 w 397"/>
                <a:gd name="T31" fmla="*/ 161 h 358"/>
                <a:gd name="T32" fmla="*/ 130 w 397"/>
                <a:gd name="T33" fmla="*/ 180 h 358"/>
                <a:gd name="T34" fmla="*/ 121 w 397"/>
                <a:gd name="T35" fmla="*/ 200 h 358"/>
                <a:gd name="T36" fmla="*/ 77 w 397"/>
                <a:gd name="T37" fmla="*/ 209 h 358"/>
                <a:gd name="T38" fmla="*/ 68 w 397"/>
                <a:gd name="T39" fmla="*/ 210 h 358"/>
                <a:gd name="T40" fmla="*/ 47 w 397"/>
                <a:gd name="T41" fmla="*/ 210 h 358"/>
                <a:gd name="T42" fmla="*/ 2 w 397"/>
                <a:gd name="T43" fmla="*/ 204 h 358"/>
                <a:gd name="T44" fmla="*/ 30 w 397"/>
                <a:gd name="T45" fmla="*/ 233 h 358"/>
                <a:gd name="T46" fmla="*/ 42 w 397"/>
                <a:gd name="T47" fmla="*/ 249 h 358"/>
                <a:gd name="T48" fmla="*/ 56 w 397"/>
                <a:gd name="T49" fmla="*/ 264 h 358"/>
                <a:gd name="T50" fmla="*/ 31 w 397"/>
                <a:gd name="T51" fmla="*/ 287 h 358"/>
                <a:gd name="T52" fmla="*/ 15 w 397"/>
                <a:gd name="T53" fmla="*/ 313 h 358"/>
                <a:gd name="T54" fmla="*/ 28 w 397"/>
                <a:gd name="T55" fmla="*/ 322 h 358"/>
                <a:gd name="T56" fmla="*/ 72 w 397"/>
                <a:gd name="T57" fmla="*/ 313 h 358"/>
                <a:gd name="T58" fmla="*/ 121 w 397"/>
                <a:gd name="T59" fmla="*/ 314 h 358"/>
                <a:gd name="T60" fmla="*/ 128 w 397"/>
                <a:gd name="T61" fmla="*/ 311 h 358"/>
                <a:gd name="T62" fmla="*/ 144 w 397"/>
                <a:gd name="T63" fmla="*/ 327 h 358"/>
                <a:gd name="T64" fmla="*/ 171 w 397"/>
                <a:gd name="T65" fmla="*/ 356 h 358"/>
                <a:gd name="T66" fmla="*/ 183 w 397"/>
                <a:gd name="T67" fmla="*/ 348 h 358"/>
                <a:gd name="T68" fmla="*/ 210 w 397"/>
                <a:gd name="T69" fmla="*/ 342 h 358"/>
                <a:gd name="T70" fmla="*/ 226 w 397"/>
                <a:gd name="T71" fmla="*/ 338 h 358"/>
                <a:gd name="T72" fmla="*/ 237 w 397"/>
                <a:gd name="T73" fmla="*/ 340 h 358"/>
                <a:gd name="T74" fmla="*/ 231 w 397"/>
                <a:gd name="T75" fmla="*/ 322 h 358"/>
                <a:gd name="T76" fmla="*/ 226 w 397"/>
                <a:gd name="T77" fmla="*/ 310 h 358"/>
                <a:gd name="T78" fmla="*/ 218 w 397"/>
                <a:gd name="T79" fmla="*/ 298 h 358"/>
                <a:gd name="T80" fmla="*/ 212 w 397"/>
                <a:gd name="T81" fmla="*/ 290 h 358"/>
                <a:gd name="T82" fmla="*/ 216 w 397"/>
                <a:gd name="T83" fmla="*/ 252 h 358"/>
                <a:gd name="T84" fmla="*/ 223 w 397"/>
                <a:gd name="T85" fmla="*/ 244 h 358"/>
                <a:gd name="T86" fmla="*/ 232 w 397"/>
                <a:gd name="T87" fmla="*/ 242 h 358"/>
                <a:gd name="T88" fmla="*/ 240 w 397"/>
                <a:gd name="T89" fmla="*/ 249 h 358"/>
                <a:gd name="T90" fmla="*/ 258 w 397"/>
                <a:gd name="T91" fmla="*/ 245 h 358"/>
                <a:gd name="T92" fmla="*/ 292 w 397"/>
                <a:gd name="T93" fmla="*/ 208 h 358"/>
                <a:gd name="T94" fmla="*/ 311 w 397"/>
                <a:gd name="T95" fmla="*/ 185 h 358"/>
                <a:gd name="T96" fmla="*/ 326 w 397"/>
                <a:gd name="T97" fmla="*/ 165 h 358"/>
                <a:gd name="T98" fmla="*/ 325 w 397"/>
                <a:gd name="T99" fmla="*/ 145 h 358"/>
                <a:gd name="T100" fmla="*/ 340 w 397"/>
                <a:gd name="T101" fmla="*/ 134 h 358"/>
                <a:gd name="T102" fmla="*/ 339 w 397"/>
                <a:gd name="T103" fmla="*/ 128 h 358"/>
                <a:gd name="T104" fmla="*/ 319 w 397"/>
                <a:gd name="T105" fmla="*/ 114 h 358"/>
                <a:gd name="T106" fmla="*/ 316 w 397"/>
                <a:gd name="T107" fmla="*/ 96 h 358"/>
                <a:gd name="T108" fmla="*/ 317 w 397"/>
                <a:gd name="T109" fmla="*/ 85 h 358"/>
                <a:gd name="T110" fmla="*/ 312 w 397"/>
                <a:gd name="T111" fmla="*/ 77 h 358"/>
                <a:gd name="T112" fmla="*/ 326 w 397"/>
                <a:gd name="T113" fmla="*/ 60 h 358"/>
                <a:gd name="T114" fmla="*/ 351 w 397"/>
                <a:gd name="T115" fmla="*/ 63 h 358"/>
                <a:gd name="T116" fmla="*/ 373 w 397"/>
                <a:gd name="T117" fmla="*/ 60 h 358"/>
                <a:gd name="T118" fmla="*/ 394 w 397"/>
                <a:gd name="T119" fmla="*/ 46 h 358"/>
                <a:gd name="T120" fmla="*/ 372 w 397"/>
                <a:gd name="T121" fmla="*/ 35 h 358"/>
                <a:gd name="T122" fmla="*/ 362 w 397"/>
                <a:gd name="T123" fmla="*/ 20 h 358"/>
                <a:gd name="T124" fmla="*/ 341 w 397"/>
                <a:gd name="T125" fmla="*/ 2 h 3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358">
                  <a:moveTo>
                    <a:pt x="131" y="314"/>
                  </a:moveTo>
                  <a:cubicBezTo>
                    <a:pt x="131" y="314"/>
                    <a:pt x="131" y="314"/>
                    <a:pt x="131" y="314"/>
                  </a:cubicBezTo>
                  <a:cubicBezTo>
                    <a:pt x="131" y="314"/>
                    <a:pt x="131" y="314"/>
                    <a:pt x="131" y="314"/>
                  </a:cubicBezTo>
                  <a:moveTo>
                    <a:pt x="332" y="0"/>
                  </a:moveTo>
                  <a:cubicBezTo>
                    <a:pt x="331" y="0"/>
                    <a:pt x="331" y="1"/>
                    <a:pt x="330" y="1"/>
                  </a:cubicBezTo>
                  <a:cubicBezTo>
                    <a:pt x="330" y="1"/>
                    <a:pt x="328" y="2"/>
                    <a:pt x="327" y="2"/>
                  </a:cubicBezTo>
                  <a:cubicBezTo>
                    <a:pt x="327" y="3"/>
                    <a:pt x="327" y="3"/>
                    <a:pt x="327" y="3"/>
                  </a:cubicBezTo>
                  <a:cubicBezTo>
                    <a:pt x="324" y="4"/>
                    <a:pt x="322" y="5"/>
                    <a:pt x="320" y="6"/>
                  </a:cubicBezTo>
                  <a:cubicBezTo>
                    <a:pt x="319" y="6"/>
                    <a:pt x="319" y="6"/>
                    <a:pt x="319" y="6"/>
                  </a:cubicBezTo>
                  <a:cubicBezTo>
                    <a:pt x="318" y="6"/>
                    <a:pt x="317" y="6"/>
                    <a:pt x="317" y="6"/>
                  </a:cubicBezTo>
                  <a:cubicBezTo>
                    <a:pt x="315" y="6"/>
                    <a:pt x="313" y="6"/>
                    <a:pt x="311" y="5"/>
                  </a:cubicBezTo>
                  <a:cubicBezTo>
                    <a:pt x="311" y="5"/>
                    <a:pt x="311" y="5"/>
                    <a:pt x="311" y="5"/>
                  </a:cubicBezTo>
                  <a:cubicBezTo>
                    <a:pt x="310" y="5"/>
                    <a:pt x="310" y="5"/>
                    <a:pt x="310" y="5"/>
                  </a:cubicBezTo>
                  <a:cubicBezTo>
                    <a:pt x="309" y="5"/>
                    <a:pt x="308" y="4"/>
                    <a:pt x="308" y="4"/>
                  </a:cubicBezTo>
                  <a:cubicBezTo>
                    <a:pt x="306" y="5"/>
                    <a:pt x="304" y="5"/>
                    <a:pt x="303" y="5"/>
                  </a:cubicBezTo>
                  <a:cubicBezTo>
                    <a:pt x="299" y="5"/>
                    <a:pt x="299" y="5"/>
                    <a:pt x="299" y="5"/>
                  </a:cubicBezTo>
                  <a:cubicBezTo>
                    <a:pt x="296" y="5"/>
                    <a:pt x="293" y="5"/>
                    <a:pt x="291" y="6"/>
                  </a:cubicBezTo>
                  <a:cubicBezTo>
                    <a:pt x="286" y="6"/>
                    <a:pt x="286" y="6"/>
                    <a:pt x="286" y="6"/>
                  </a:cubicBezTo>
                  <a:cubicBezTo>
                    <a:pt x="284" y="6"/>
                    <a:pt x="282" y="7"/>
                    <a:pt x="280" y="8"/>
                  </a:cubicBezTo>
                  <a:cubicBezTo>
                    <a:pt x="277" y="9"/>
                    <a:pt x="275" y="11"/>
                    <a:pt x="272" y="12"/>
                  </a:cubicBezTo>
                  <a:cubicBezTo>
                    <a:pt x="271" y="13"/>
                    <a:pt x="271" y="13"/>
                    <a:pt x="271" y="13"/>
                  </a:cubicBezTo>
                  <a:cubicBezTo>
                    <a:pt x="269" y="14"/>
                    <a:pt x="267" y="16"/>
                    <a:pt x="265" y="17"/>
                  </a:cubicBezTo>
                  <a:cubicBezTo>
                    <a:pt x="264" y="17"/>
                    <a:pt x="263" y="18"/>
                    <a:pt x="263" y="18"/>
                  </a:cubicBezTo>
                  <a:cubicBezTo>
                    <a:pt x="262" y="18"/>
                    <a:pt x="262" y="18"/>
                    <a:pt x="262" y="18"/>
                  </a:cubicBezTo>
                  <a:cubicBezTo>
                    <a:pt x="261" y="18"/>
                    <a:pt x="260" y="17"/>
                    <a:pt x="259" y="17"/>
                  </a:cubicBezTo>
                  <a:cubicBezTo>
                    <a:pt x="259" y="17"/>
                    <a:pt x="259" y="17"/>
                    <a:pt x="259" y="17"/>
                  </a:cubicBezTo>
                  <a:cubicBezTo>
                    <a:pt x="256" y="20"/>
                    <a:pt x="253" y="22"/>
                    <a:pt x="251" y="25"/>
                  </a:cubicBezTo>
                  <a:cubicBezTo>
                    <a:pt x="252" y="27"/>
                    <a:pt x="253" y="29"/>
                    <a:pt x="254" y="30"/>
                  </a:cubicBezTo>
                  <a:cubicBezTo>
                    <a:pt x="254" y="31"/>
                    <a:pt x="255" y="31"/>
                    <a:pt x="255" y="32"/>
                  </a:cubicBezTo>
                  <a:cubicBezTo>
                    <a:pt x="255" y="32"/>
                    <a:pt x="255" y="32"/>
                    <a:pt x="256" y="33"/>
                  </a:cubicBezTo>
                  <a:cubicBezTo>
                    <a:pt x="256" y="34"/>
                    <a:pt x="257" y="34"/>
                    <a:pt x="257" y="35"/>
                  </a:cubicBezTo>
                  <a:cubicBezTo>
                    <a:pt x="257" y="35"/>
                    <a:pt x="257" y="35"/>
                    <a:pt x="257" y="35"/>
                  </a:cubicBezTo>
                  <a:cubicBezTo>
                    <a:pt x="261" y="33"/>
                    <a:pt x="261" y="33"/>
                    <a:pt x="261" y="33"/>
                  </a:cubicBezTo>
                  <a:cubicBezTo>
                    <a:pt x="258" y="37"/>
                    <a:pt x="258" y="37"/>
                    <a:pt x="258" y="37"/>
                  </a:cubicBezTo>
                  <a:cubicBezTo>
                    <a:pt x="259" y="38"/>
                    <a:pt x="259" y="38"/>
                    <a:pt x="259" y="38"/>
                  </a:cubicBezTo>
                  <a:cubicBezTo>
                    <a:pt x="260" y="40"/>
                    <a:pt x="259" y="42"/>
                    <a:pt x="259" y="44"/>
                  </a:cubicBezTo>
                  <a:cubicBezTo>
                    <a:pt x="259" y="45"/>
                    <a:pt x="259" y="45"/>
                    <a:pt x="259" y="46"/>
                  </a:cubicBezTo>
                  <a:cubicBezTo>
                    <a:pt x="260" y="46"/>
                    <a:pt x="260" y="46"/>
                    <a:pt x="260" y="46"/>
                  </a:cubicBezTo>
                  <a:cubicBezTo>
                    <a:pt x="260" y="47"/>
                    <a:pt x="260" y="47"/>
                    <a:pt x="260" y="47"/>
                  </a:cubicBezTo>
                  <a:cubicBezTo>
                    <a:pt x="260" y="48"/>
                    <a:pt x="261" y="49"/>
                    <a:pt x="261" y="49"/>
                  </a:cubicBezTo>
                  <a:cubicBezTo>
                    <a:pt x="260" y="50"/>
                    <a:pt x="260" y="50"/>
                    <a:pt x="260" y="50"/>
                  </a:cubicBezTo>
                  <a:cubicBezTo>
                    <a:pt x="260" y="51"/>
                    <a:pt x="260" y="51"/>
                    <a:pt x="259" y="52"/>
                  </a:cubicBezTo>
                  <a:cubicBezTo>
                    <a:pt x="259" y="53"/>
                    <a:pt x="259" y="53"/>
                    <a:pt x="259" y="53"/>
                  </a:cubicBezTo>
                  <a:cubicBezTo>
                    <a:pt x="258" y="54"/>
                    <a:pt x="258" y="54"/>
                    <a:pt x="258" y="54"/>
                  </a:cubicBezTo>
                  <a:cubicBezTo>
                    <a:pt x="257" y="58"/>
                    <a:pt x="255" y="59"/>
                    <a:pt x="253" y="59"/>
                  </a:cubicBezTo>
                  <a:cubicBezTo>
                    <a:pt x="252" y="60"/>
                    <a:pt x="252" y="60"/>
                    <a:pt x="251" y="60"/>
                  </a:cubicBezTo>
                  <a:cubicBezTo>
                    <a:pt x="251" y="61"/>
                    <a:pt x="251" y="61"/>
                    <a:pt x="250" y="62"/>
                  </a:cubicBezTo>
                  <a:cubicBezTo>
                    <a:pt x="250" y="63"/>
                    <a:pt x="249" y="64"/>
                    <a:pt x="247" y="66"/>
                  </a:cubicBezTo>
                  <a:cubicBezTo>
                    <a:pt x="246" y="66"/>
                    <a:pt x="246" y="67"/>
                    <a:pt x="245" y="67"/>
                  </a:cubicBezTo>
                  <a:cubicBezTo>
                    <a:pt x="245" y="68"/>
                    <a:pt x="245" y="68"/>
                    <a:pt x="245" y="69"/>
                  </a:cubicBezTo>
                  <a:cubicBezTo>
                    <a:pt x="245" y="70"/>
                    <a:pt x="246" y="70"/>
                    <a:pt x="246" y="70"/>
                  </a:cubicBezTo>
                  <a:cubicBezTo>
                    <a:pt x="247" y="71"/>
                    <a:pt x="247" y="71"/>
                    <a:pt x="247" y="71"/>
                  </a:cubicBezTo>
                  <a:cubicBezTo>
                    <a:pt x="247" y="71"/>
                    <a:pt x="247" y="71"/>
                    <a:pt x="248" y="72"/>
                  </a:cubicBezTo>
                  <a:cubicBezTo>
                    <a:pt x="248" y="74"/>
                    <a:pt x="248" y="74"/>
                    <a:pt x="248" y="75"/>
                  </a:cubicBezTo>
                  <a:cubicBezTo>
                    <a:pt x="248" y="76"/>
                    <a:pt x="248" y="77"/>
                    <a:pt x="248" y="78"/>
                  </a:cubicBezTo>
                  <a:cubicBezTo>
                    <a:pt x="247" y="78"/>
                    <a:pt x="247" y="78"/>
                    <a:pt x="247" y="78"/>
                  </a:cubicBezTo>
                  <a:cubicBezTo>
                    <a:pt x="247" y="79"/>
                    <a:pt x="247" y="79"/>
                    <a:pt x="247" y="79"/>
                  </a:cubicBezTo>
                  <a:cubicBezTo>
                    <a:pt x="247" y="79"/>
                    <a:pt x="247" y="80"/>
                    <a:pt x="246" y="80"/>
                  </a:cubicBezTo>
                  <a:cubicBezTo>
                    <a:pt x="245" y="82"/>
                    <a:pt x="244" y="83"/>
                    <a:pt x="243" y="84"/>
                  </a:cubicBezTo>
                  <a:cubicBezTo>
                    <a:pt x="240" y="86"/>
                    <a:pt x="235" y="87"/>
                    <a:pt x="232" y="87"/>
                  </a:cubicBezTo>
                  <a:cubicBezTo>
                    <a:pt x="230" y="87"/>
                    <a:pt x="229" y="87"/>
                    <a:pt x="228" y="87"/>
                  </a:cubicBezTo>
                  <a:cubicBezTo>
                    <a:pt x="228" y="87"/>
                    <a:pt x="228" y="87"/>
                    <a:pt x="227" y="87"/>
                  </a:cubicBezTo>
                  <a:cubicBezTo>
                    <a:pt x="227" y="87"/>
                    <a:pt x="226" y="86"/>
                    <a:pt x="224" y="86"/>
                  </a:cubicBezTo>
                  <a:cubicBezTo>
                    <a:pt x="222" y="85"/>
                    <a:pt x="219" y="85"/>
                    <a:pt x="218" y="85"/>
                  </a:cubicBezTo>
                  <a:cubicBezTo>
                    <a:pt x="219" y="87"/>
                    <a:pt x="219" y="87"/>
                    <a:pt x="219" y="87"/>
                  </a:cubicBezTo>
                  <a:cubicBezTo>
                    <a:pt x="220" y="87"/>
                    <a:pt x="221" y="88"/>
                    <a:pt x="221" y="89"/>
                  </a:cubicBezTo>
                  <a:cubicBezTo>
                    <a:pt x="223" y="92"/>
                    <a:pt x="223" y="92"/>
                    <a:pt x="223" y="92"/>
                  </a:cubicBezTo>
                  <a:cubicBezTo>
                    <a:pt x="228" y="98"/>
                    <a:pt x="230" y="101"/>
                    <a:pt x="227" y="103"/>
                  </a:cubicBezTo>
                  <a:cubicBezTo>
                    <a:pt x="226" y="104"/>
                    <a:pt x="226" y="104"/>
                    <a:pt x="226" y="104"/>
                  </a:cubicBezTo>
                  <a:cubicBezTo>
                    <a:pt x="226" y="104"/>
                    <a:pt x="226" y="104"/>
                    <a:pt x="226" y="104"/>
                  </a:cubicBezTo>
                  <a:cubicBezTo>
                    <a:pt x="225" y="105"/>
                    <a:pt x="225" y="105"/>
                    <a:pt x="225" y="105"/>
                  </a:cubicBezTo>
                  <a:cubicBezTo>
                    <a:pt x="224" y="106"/>
                    <a:pt x="220" y="109"/>
                    <a:pt x="217" y="110"/>
                  </a:cubicBezTo>
                  <a:cubicBezTo>
                    <a:pt x="218" y="115"/>
                    <a:pt x="218" y="115"/>
                    <a:pt x="218" y="115"/>
                  </a:cubicBezTo>
                  <a:cubicBezTo>
                    <a:pt x="215" y="110"/>
                    <a:pt x="215" y="110"/>
                    <a:pt x="215" y="110"/>
                  </a:cubicBezTo>
                  <a:cubicBezTo>
                    <a:pt x="215" y="110"/>
                    <a:pt x="215" y="110"/>
                    <a:pt x="215" y="110"/>
                  </a:cubicBezTo>
                  <a:cubicBezTo>
                    <a:pt x="214" y="111"/>
                    <a:pt x="213" y="111"/>
                    <a:pt x="213" y="111"/>
                  </a:cubicBezTo>
                  <a:cubicBezTo>
                    <a:pt x="212" y="111"/>
                    <a:pt x="212" y="111"/>
                    <a:pt x="212" y="111"/>
                  </a:cubicBezTo>
                  <a:cubicBezTo>
                    <a:pt x="212" y="111"/>
                    <a:pt x="212" y="111"/>
                    <a:pt x="212" y="111"/>
                  </a:cubicBezTo>
                  <a:cubicBezTo>
                    <a:pt x="211" y="111"/>
                    <a:pt x="211" y="111"/>
                    <a:pt x="211" y="111"/>
                  </a:cubicBezTo>
                  <a:cubicBezTo>
                    <a:pt x="211" y="111"/>
                    <a:pt x="211" y="111"/>
                    <a:pt x="211" y="111"/>
                  </a:cubicBezTo>
                  <a:cubicBezTo>
                    <a:pt x="210" y="111"/>
                    <a:pt x="210" y="111"/>
                    <a:pt x="210" y="111"/>
                  </a:cubicBezTo>
                  <a:cubicBezTo>
                    <a:pt x="209" y="110"/>
                    <a:pt x="209" y="110"/>
                    <a:pt x="209" y="110"/>
                  </a:cubicBezTo>
                  <a:cubicBezTo>
                    <a:pt x="209" y="111"/>
                    <a:pt x="209" y="111"/>
                    <a:pt x="209" y="111"/>
                  </a:cubicBezTo>
                  <a:cubicBezTo>
                    <a:pt x="208" y="111"/>
                    <a:pt x="208" y="111"/>
                    <a:pt x="208" y="111"/>
                  </a:cubicBezTo>
                  <a:cubicBezTo>
                    <a:pt x="208" y="112"/>
                    <a:pt x="207" y="114"/>
                    <a:pt x="207" y="116"/>
                  </a:cubicBezTo>
                  <a:cubicBezTo>
                    <a:pt x="207" y="117"/>
                    <a:pt x="207" y="118"/>
                    <a:pt x="206" y="119"/>
                  </a:cubicBezTo>
                  <a:cubicBezTo>
                    <a:pt x="206" y="119"/>
                    <a:pt x="206" y="119"/>
                    <a:pt x="206" y="119"/>
                  </a:cubicBezTo>
                  <a:cubicBezTo>
                    <a:pt x="206" y="120"/>
                    <a:pt x="206" y="120"/>
                    <a:pt x="206" y="121"/>
                  </a:cubicBezTo>
                  <a:cubicBezTo>
                    <a:pt x="206" y="123"/>
                    <a:pt x="204" y="124"/>
                    <a:pt x="203" y="125"/>
                  </a:cubicBezTo>
                  <a:cubicBezTo>
                    <a:pt x="202" y="125"/>
                    <a:pt x="202" y="125"/>
                    <a:pt x="202" y="125"/>
                  </a:cubicBezTo>
                  <a:cubicBezTo>
                    <a:pt x="203" y="133"/>
                    <a:pt x="203" y="133"/>
                    <a:pt x="203" y="133"/>
                  </a:cubicBezTo>
                  <a:cubicBezTo>
                    <a:pt x="203" y="133"/>
                    <a:pt x="203" y="133"/>
                    <a:pt x="203" y="133"/>
                  </a:cubicBezTo>
                  <a:cubicBezTo>
                    <a:pt x="203" y="137"/>
                    <a:pt x="203" y="137"/>
                    <a:pt x="203" y="137"/>
                  </a:cubicBezTo>
                  <a:cubicBezTo>
                    <a:pt x="204" y="140"/>
                    <a:pt x="202" y="141"/>
                    <a:pt x="201" y="142"/>
                  </a:cubicBezTo>
                  <a:cubicBezTo>
                    <a:pt x="198" y="145"/>
                    <a:pt x="196" y="147"/>
                    <a:pt x="193" y="149"/>
                  </a:cubicBezTo>
                  <a:cubicBezTo>
                    <a:pt x="193" y="150"/>
                    <a:pt x="193" y="150"/>
                    <a:pt x="193" y="150"/>
                  </a:cubicBezTo>
                  <a:cubicBezTo>
                    <a:pt x="192" y="150"/>
                    <a:pt x="191" y="150"/>
                    <a:pt x="190" y="150"/>
                  </a:cubicBezTo>
                  <a:cubicBezTo>
                    <a:pt x="190" y="150"/>
                    <a:pt x="190" y="150"/>
                    <a:pt x="190" y="150"/>
                  </a:cubicBezTo>
                  <a:cubicBezTo>
                    <a:pt x="190" y="150"/>
                    <a:pt x="190" y="150"/>
                    <a:pt x="190" y="150"/>
                  </a:cubicBezTo>
                  <a:cubicBezTo>
                    <a:pt x="189" y="150"/>
                    <a:pt x="189" y="150"/>
                    <a:pt x="188" y="150"/>
                  </a:cubicBezTo>
                  <a:cubicBezTo>
                    <a:pt x="188" y="150"/>
                    <a:pt x="188" y="150"/>
                    <a:pt x="188" y="150"/>
                  </a:cubicBezTo>
                  <a:cubicBezTo>
                    <a:pt x="187" y="149"/>
                    <a:pt x="187" y="149"/>
                    <a:pt x="187" y="149"/>
                  </a:cubicBezTo>
                  <a:cubicBezTo>
                    <a:pt x="186" y="149"/>
                    <a:pt x="186" y="149"/>
                    <a:pt x="185" y="148"/>
                  </a:cubicBezTo>
                  <a:cubicBezTo>
                    <a:pt x="184" y="148"/>
                    <a:pt x="184" y="148"/>
                    <a:pt x="184" y="148"/>
                  </a:cubicBezTo>
                  <a:cubicBezTo>
                    <a:pt x="183" y="147"/>
                    <a:pt x="183" y="147"/>
                    <a:pt x="182" y="146"/>
                  </a:cubicBezTo>
                  <a:cubicBezTo>
                    <a:pt x="181" y="146"/>
                    <a:pt x="181" y="146"/>
                    <a:pt x="181" y="146"/>
                  </a:cubicBezTo>
                  <a:cubicBezTo>
                    <a:pt x="181" y="145"/>
                    <a:pt x="181" y="145"/>
                    <a:pt x="180" y="145"/>
                  </a:cubicBezTo>
                  <a:cubicBezTo>
                    <a:pt x="180" y="145"/>
                    <a:pt x="180" y="145"/>
                    <a:pt x="180" y="145"/>
                  </a:cubicBezTo>
                  <a:cubicBezTo>
                    <a:pt x="179" y="145"/>
                    <a:pt x="178" y="146"/>
                    <a:pt x="177" y="146"/>
                  </a:cubicBezTo>
                  <a:cubicBezTo>
                    <a:pt x="177" y="146"/>
                    <a:pt x="177" y="146"/>
                    <a:pt x="177" y="146"/>
                  </a:cubicBezTo>
                  <a:cubicBezTo>
                    <a:pt x="176" y="146"/>
                    <a:pt x="175" y="146"/>
                    <a:pt x="175" y="146"/>
                  </a:cubicBezTo>
                  <a:cubicBezTo>
                    <a:pt x="174" y="147"/>
                    <a:pt x="174" y="147"/>
                    <a:pt x="174" y="147"/>
                  </a:cubicBezTo>
                  <a:cubicBezTo>
                    <a:pt x="173" y="147"/>
                    <a:pt x="173" y="147"/>
                    <a:pt x="172" y="147"/>
                  </a:cubicBezTo>
                  <a:cubicBezTo>
                    <a:pt x="171" y="148"/>
                    <a:pt x="171" y="148"/>
                    <a:pt x="170" y="148"/>
                  </a:cubicBezTo>
                  <a:cubicBezTo>
                    <a:pt x="169" y="149"/>
                    <a:pt x="169" y="149"/>
                    <a:pt x="169" y="149"/>
                  </a:cubicBezTo>
                  <a:cubicBezTo>
                    <a:pt x="167" y="150"/>
                    <a:pt x="166" y="151"/>
                    <a:pt x="164" y="152"/>
                  </a:cubicBezTo>
                  <a:cubicBezTo>
                    <a:pt x="169" y="156"/>
                    <a:pt x="169" y="156"/>
                    <a:pt x="169" y="156"/>
                  </a:cubicBezTo>
                  <a:cubicBezTo>
                    <a:pt x="164" y="157"/>
                    <a:pt x="164" y="157"/>
                    <a:pt x="164" y="157"/>
                  </a:cubicBezTo>
                  <a:cubicBezTo>
                    <a:pt x="163" y="158"/>
                    <a:pt x="162" y="158"/>
                    <a:pt x="162" y="159"/>
                  </a:cubicBezTo>
                  <a:cubicBezTo>
                    <a:pt x="159" y="160"/>
                    <a:pt x="157" y="161"/>
                    <a:pt x="155" y="161"/>
                  </a:cubicBezTo>
                  <a:cubicBezTo>
                    <a:pt x="154" y="161"/>
                    <a:pt x="154" y="161"/>
                    <a:pt x="154" y="161"/>
                  </a:cubicBezTo>
                  <a:cubicBezTo>
                    <a:pt x="154" y="162"/>
                    <a:pt x="153" y="162"/>
                    <a:pt x="152" y="162"/>
                  </a:cubicBezTo>
                  <a:cubicBezTo>
                    <a:pt x="150" y="162"/>
                    <a:pt x="148" y="161"/>
                    <a:pt x="145" y="160"/>
                  </a:cubicBezTo>
                  <a:cubicBezTo>
                    <a:pt x="143" y="160"/>
                    <a:pt x="143" y="160"/>
                    <a:pt x="143" y="160"/>
                  </a:cubicBezTo>
                  <a:cubicBezTo>
                    <a:pt x="143" y="160"/>
                    <a:pt x="143" y="160"/>
                    <a:pt x="143" y="160"/>
                  </a:cubicBezTo>
                  <a:cubicBezTo>
                    <a:pt x="143" y="160"/>
                    <a:pt x="142" y="160"/>
                    <a:pt x="142" y="160"/>
                  </a:cubicBezTo>
                  <a:cubicBezTo>
                    <a:pt x="141" y="160"/>
                    <a:pt x="141" y="160"/>
                    <a:pt x="141" y="160"/>
                  </a:cubicBezTo>
                  <a:cubicBezTo>
                    <a:pt x="140" y="161"/>
                    <a:pt x="140" y="161"/>
                    <a:pt x="139" y="161"/>
                  </a:cubicBezTo>
                  <a:cubicBezTo>
                    <a:pt x="139" y="162"/>
                    <a:pt x="139" y="162"/>
                    <a:pt x="139" y="162"/>
                  </a:cubicBezTo>
                  <a:cubicBezTo>
                    <a:pt x="138" y="162"/>
                    <a:pt x="137" y="163"/>
                    <a:pt x="136" y="164"/>
                  </a:cubicBezTo>
                  <a:cubicBezTo>
                    <a:pt x="135" y="165"/>
                    <a:pt x="133" y="167"/>
                    <a:pt x="132" y="167"/>
                  </a:cubicBezTo>
                  <a:cubicBezTo>
                    <a:pt x="132" y="168"/>
                    <a:pt x="132" y="168"/>
                    <a:pt x="132" y="168"/>
                  </a:cubicBezTo>
                  <a:cubicBezTo>
                    <a:pt x="132" y="168"/>
                    <a:pt x="131" y="169"/>
                    <a:pt x="131" y="169"/>
                  </a:cubicBezTo>
                  <a:cubicBezTo>
                    <a:pt x="131" y="170"/>
                    <a:pt x="131" y="170"/>
                    <a:pt x="131" y="170"/>
                  </a:cubicBezTo>
                  <a:cubicBezTo>
                    <a:pt x="131" y="172"/>
                    <a:pt x="131" y="172"/>
                    <a:pt x="131" y="172"/>
                  </a:cubicBezTo>
                  <a:cubicBezTo>
                    <a:pt x="130" y="175"/>
                    <a:pt x="129" y="177"/>
                    <a:pt x="130" y="180"/>
                  </a:cubicBezTo>
                  <a:cubicBezTo>
                    <a:pt x="130" y="181"/>
                    <a:pt x="129" y="182"/>
                    <a:pt x="129" y="184"/>
                  </a:cubicBezTo>
                  <a:cubicBezTo>
                    <a:pt x="129" y="184"/>
                    <a:pt x="129" y="186"/>
                    <a:pt x="128" y="188"/>
                  </a:cubicBezTo>
                  <a:cubicBezTo>
                    <a:pt x="128" y="188"/>
                    <a:pt x="128" y="188"/>
                    <a:pt x="128" y="188"/>
                  </a:cubicBezTo>
                  <a:cubicBezTo>
                    <a:pt x="128" y="188"/>
                    <a:pt x="128" y="188"/>
                    <a:pt x="128" y="188"/>
                  </a:cubicBezTo>
                  <a:cubicBezTo>
                    <a:pt x="129" y="189"/>
                    <a:pt x="129" y="190"/>
                    <a:pt x="129" y="192"/>
                  </a:cubicBezTo>
                  <a:cubicBezTo>
                    <a:pt x="130" y="193"/>
                    <a:pt x="129" y="195"/>
                    <a:pt x="128" y="197"/>
                  </a:cubicBezTo>
                  <a:cubicBezTo>
                    <a:pt x="127" y="199"/>
                    <a:pt x="125" y="199"/>
                    <a:pt x="123" y="199"/>
                  </a:cubicBezTo>
                  <a:cubicBezTo>
                    <a:pt x="121" y="200"/>
                    <a:pt x="121" y="200"/>
                    <a:pt x="121" y="200"/>
                  </a:cubicBezTo>
                  <a:cubicBezTo>
                    <a:pt x="119" y="201"/>
                    <a:pt x="116" y="201"/>
                    <a:pt x="114" y="202"/>
                  </a:cubicBezTo>
                  <a:cubicBezTo>
                    <a:pt x="111" y="203"/>
                    <a:pt x="109" y="204"/>
                    <a:pt x="106" y="204"/>
                  </a:cubicBezTo>
                  <a:cubicBezTo>
                    <a:pt x="99" y="204"/>
                    <a:pt x="99" y="204"/>
                    <a:pt x="99" y="204"/>
                  </a:cubicBezTo>
                  <a:cubicBezTo>
                    <a:pt x="97" y="204"/>
                    <a:pt x="94" y="205"/>
                    <a:pt x="92" y="205"/>
                  </a:cubicBezTo>
                  <a:cubicBezTo>
                    <a:pt x="89" y="205"/>
                    <a:pt x="86" y="205"/>
                    <a:pt x="83" y="206"/>
                  </a:cubicBezTo>
                  <a:cubicBezTo>
                    <a:pt x="82" y="206"/>
                    <a:pt x="81" y="206"/>
                    <a:pt x="81" y="207"/>
                  </a:cubicBezTo>
                  <a:cubicBezTo>
                    <a:pt x="80" y="207"/>
                    <a:pt x="79" y="208"/>
                    <a:pt x="79" y="208"/>
                  </a:cubicBezTo>
                  <a:cubicBezTo>
                    <a:pt x="77" y="209"/>
                    <a:pt x="77" y="209"/>
                    <a:pt x="77" y="209"/>
                  </a:cubicBezTo>
                  <a:cubicBezTo>
                    <a:pt x="76" y="209"/>
                    <a:pt x="76" y="209"/>
                    <a:pt x="76" y="209"/>
                  </a:cubicBezTo>
                  <a:cubicBezTo>
                    <a:pt x="76" y="210"/>
                    <a:pt x="75" y="210"/>
                    <a:pt x="75" y="210"/>
                  </a:cubicBezTo>
                  <a:cubicBezTo>
                    <a:pt x="75" y="210"/>
                    <a:pt x="74" y="210"/>
                    <a:pt x="74" y="210"/>
                  </a:cubicBezTo>
                  <a:cubicBezTo>
                    <a:pt x="73" y="210"/>
                    <a:pt x="73" y="210"/>
                    <a:pt x="72" y="211"/>
                  </a:cubicBezTo>
                  <a:cubicBezTo>
                    <a:pt x="72" y="211"/>
                    <a:pt x="72" y="211"/>
                    <a:pt x="71" y="211"/>
                  </a:cubicBezTo>
                  <a:cubicBezTo>
                    <a:pt x="71" y="211"/>
                    <a:pt x="71" y="211"/>
                    <a:pt x="71" y="211"/>
                  </a:cubicBezTo>
                  <a:cubicBezTo>
                    <a:pt x="70" y="211"/>
                    <a:pt x="70" y="211"/>
                    <a:pt x="69" y="210"/>
                  </a:cubicBezTo>
                  <a:cubicBezTo>
                    <a:pt x="69" y="210"/>
                    <a:pt x="68" y="210"/>
                    <a:pt x="68" y="210"/>
                  </a:cubicBezTo>
                  <a:cubicBezTo>
                    <a:pt x="65" y="210"/>
                    <a:pt x="65" y="210"/>
                    <a:pt x="65" y="210"/>
                  </a:cubicBezTo>
                  <a:cubicBezTo>
                    <a:pt x="64" y="209"/>
                    <a:pt x="63" y="209"/>
                    <a:pt x="62" y="209"/>
                  </a:cubicBezTo>
                  <a:cubicBezTo>
                    <a:pt x="61" y="209"/>
                    <a:pt x="61" y="209"/>
                    <a:pt x="61" y="209"/>
                  </a:cubicBezTo>
                  <a:cubicBezTo>
                    <a:pt x="61" y="209"/>
                    <a:pt x="60" y="209"/>
                    <a:pt x="59" y="209"/>
                  </a:cubicBezTo>
                  <a:cubicBezTo>
                    <a:pt x="59" y="209"/>
                    <a:pt x="59" y="209"/>
                    <a:pt x="59" y="209"/>
                  </a:cubicBezTo>
                  <a:cubicBezTo>
                    <a:pt x="49" y="209"/>
                    <a:pt x="49" y="209"/>
                    <a:pt x="49" y="209"/>
                  </a:cubicBezTo>
                  <a:cubicBezTo>
                    <a:pt x="49" y="215"/>
                    <a:pt x="49" y="215"/>
                    <a:pt x="49" y="215"/>
                  </a:cubicBezTo>
                  <a:cubicBezTo>
                    <a:pt x="47" y="210"/>
                    <a:pt x="47" y="210"/>
                    <a:pt x="47" y="210"/>
                  </a:cubicBezTo>
                  <a:cubicBezTo>
                    <a:pt x="43" y="210"/>
                    <a:pt x="43" y="210"/>
                    <a:pt x="43" y="210"/>
                  </a:cubicBezTo>
                  <a:cubicBezTo>
                    <a:pt x="43" y="210"/>
                    <a:pt x="42" y="210"/>
                    <a:pt x="41" y="210"/>
                  </a:cubicBezTo>
                  <a:cubicBezTo>
                    <a:pt x="41" y="210"/>
                    <a:pt x="41" y="210"/>
                    <a:pt x="41" y="210"/>
                  </a:cubicBezTo>
                  <a:cubicBezTo>
                    <a:pt x="40" y="210"/>
                    <a:pt x="39" y="210"/>
                    <a:pt x="38" y="210"/>
                  </a:cubicBezTo>
                  <a:cubicBezTo>
                    <a:pt x="38" y="211"/>
                    <a:pt x="37" y="211"/>
                    <a:pt x="37" y="211"/>
                  </a:cubicBezTo>
                  <a:cubicBezTo>
                    <a:pt x="36" y="211"/>
                    <a:pt x="35" y="210"/>
                    <a:pt x="34" y="210"/>
                  </a:cubicBezTo>
                  <a:cubicBezTo>
                    <a:pt x="0" y="201"/>
                    <a:pt x="0" y="201"/>
                    <a:pt x="0" y="201"/>
                  </a:cubicBezTo>
                  <a:cubicBezTo>
                    <a:pt x="0" y="202"/>
                    <a:pt x="1" y="203"/>
                    <a:pt x="2" y="204"/>
                  </a:cubicBezTo>
                  <a:cubicBezTo>
                    <a:pt x="2" y="204"/>
                    <a:pt x="3" y="205"/>
                    <a:pt x="3" y="205"/>
                  </a:cubicBezTo>
                  <a:cubicBezTo>
                    <a:pt x="3" y="206"/>
                    <a:pt x="4" y="206"/>
                    <a:pt x="4" y="207"/>
                  </a:cubicBezTo>
                  <a:cubicBezTo>
                    <a:pt x="7" y="210"/>
                    <a:pt x="9" y="213"/>
                    <a:pt x="11" y="217"/>
                  </a:cubicBezTo>
                  <a:cubicBezTo>
                    <a:pt x="14" y="220"/>
                    <a:pt x="17" y="224"/>
                    <a:pt x="19" y="227"/>
                  </a:cubicBezTo>
                  <a:cubicBezTo>
                    <a:pt x="20" y="229"/>
                    <a:pt x="23" y="230"/>
                    <a:pt x="25" y="231"/>
                  </a:cubicBezTo>
                  <a:cubicBezTo>
                    <a:pt x="25" y="231"/>
                    <a:pt x="26" y="231"/>
                    <a:pt x="27" y="232"/>
                  </a:cubicBezTo>
                  <a:cubicBezTo>
                    <a:pt x="28" y="232"/>
                    <a:pt x="28" y="232"/>
                    <a:pt x="28" y="232"/>
                  </a:cubicBezTo>
                  <a:cubicBezTo>
                    <a:pt x="29" y="232"/>
                    <a:pt x="29" y="232"/>
                    <a:pt x="30" y="233"/>
                  </a:cubicBezTo>
                  <a:cubicBezTo>
                    <a:pt x="31" y="233"/>
                    <a:pt x="31" y="233"/>
                    <a:pt x="31" y="233"/>
                  </a:cubicBezTo>
                  <a:cubicBezTo>
                    <a:pt x="31" y="233"/>
                    <a:pt x="32" y="234"/>
                    <a:pt x="33" y="234"/>
                  </a:cubicBezTo>
                  <a:cubicBezTo>
                    <a:pt x="34" y="234"/>
                    <a:pt x="36" y="235"/>
                    <a:pt x="37" y="236"/>
                  </a:cubicBezTo>
                  <a:cubicBezTo>
                    <a:pt x="40" y="237"/>
                    <a:pt x="41" y="237"/>
                    <a:pt x="42" y="239"/>
                  </a:cubicBezTo>
                  <a:cubicBezTo>
                    <a:pt x="43" y="240"/>
                    <a:pt x="43" y="243"/>
                    <a:pt x="43" y="246"/>
                  </a:cubicBezTo>
                  <a:cubicBezTo>
                    <a:pt x="43" y="247"/>
                    <a:pt x="43" y="247"/>
                    <a:pt x="43" y="247"/>
                  </a:cubicBezTo>
                  <a:cubicBezTo>
                    <a:pt x="47" y="247"/>
                    <a:pt x="47" y="247"/>
                    <a:pt x="47" y="247"/>
                  </a:cubicBezTo>
                  <a:cubicBezTo>
                    <a:pt x="42" y="249"/>
                    <a:pt x="42" y="249"/>
                    <a:pt x="42" y="249"/>
                  </a:cubicBezTo>
                  <a:cubicBezTo>
                    <a:pt x="42" y="257"/>
                    <a:pt x="42" y="257"/>
                    <a:pt x="42" y="257"/>
                  </a:cubicBezTo>
                  <a:cubicBezTo>
                    <a:pt x="42" y="258"/>
                    <a:pt x="42" y="258"/>
                    <a:pt x="42" y="259"/>
                  </a:cubicBezTo>
                  <a:cubicBezTo>
                    <a:pt x="42" y="260"/>
                    <a:pt x="42" y="262"/>
                    <a:pt x="42" y="263"/>
                  </a:cubicBezTo>
                  <a:cubicBezTo>
                    <a:pt x="43" y="263"/>
                    <a:pt x="43" y="263"/>
                    <a:pt x="43" y="263"/>
                  </a:cubicBezTo>
                  <a:cubicBezTo>
                    <a:pt x="43" y="263"/>
                    <a:pt x="43" y="263"/>
                    <a:pt x="44" y="263"/>
                  </a:cubicBezTo>
                  <a:cubicBezTo>
                    <a:pt x="46" y="263"/>
                    <a:pt x="46" y="263"/>
                    <a:pt x="46" y="263"/>
                  </a:cubicBezTo>
                  <a:cubicBezTo>
                    <a:pt x="48" y="263"/>
                    <a:pt x="50" y="263"/>
                    <a:pt x="53" y="263"/>
                  </a:cubicBezTo>
                  <a:cubicBezTo>
                    <a:pt x="56" y="264"/>
                    <a:pt x="56" y="264"/>
                    <a:pt x="56" y="264"/>
                  </a:cubicBezTo>
                  <a:cubicBezTo>
                    <a:pt x="55" y="267"/>
                    <a:pt x="55" y="267"/>
                    <a:pt x="55" y="267"/>
                  </a:cubicBezTo>
                  <a:cubicBezTo>
                    <a:pt x="54" y="271"/>
                    <a:pt x="53" y="275"/>
                    <a:pt x="52" y="278"/>
                  </a:cubicBezTo>
                  <a:cubicBezTo>
                    <a:pt x="52" y="281"/>
                    <a:pt x="52" y="281"/>
                    <a:pt x="52" y="281"/>
                  </a:cubicBezTo>
                  <a:cubicBezTo>
                    <a:pt x="51" y="282"/>
                    <a:pt x="51" y="283"/>
                    <a:pt x="49" y="284"/>
                  </a:cubicBezTo>
                  <a:cubicBezTo>
                    <a:pt x="48" y="285"/>
                    <a:pt x="45" y="285"/>
                    <a:pt x="43" y="286"/>
                  </a:cubicBezTo>
                  <a:cubicBezTo>
                    <a:pt x="43" y="286"/>
                    <a:pt x="43" y="286"/>
                    <a:pt x="43" y="286"/>
                  </a:cubicBezTo>
                  <a:cubicBezTo>
                    <a:pt x="42" y="286"/>
                    <a:pt x="42" y="286"/>
                    <a:pt x="41" y="286"/>
                  </a:cubicBezTo>
                  <a:cubicBezTo>
                    <a:pt x="31" y="287"/>
                    <a:pt x="31" y="287"/>
                    <a:pt x="31" y="287"/>
                  </a:cubicBezTo>
                  <a:cubicBezTo>
                    <a:pt x="30" y="287"/>
                    <a:pt x="29" y="288"/>
                    <a:pt x="28" y="288"/>
                  </a:cubicBezTo>
                  <a:cubicBezTo>
                    <a:pt x="27" y="289"/>
                    <a:pt x="26" y="290"/>
                    <a:pt x="25" y="291"/>
                  </a:cubicBezTo>
                  <a:cubicBezTo>
                    <a:pt x="25" y="291"/>
                    <a:pt x="25" y="291"/>
                    <a:pt x="25" y="291"/>
                  </a:cubicBezTo>
                  <a:cubicBezTo>
                    <a:pt x="24" y="292"/>
                    <a:pt x="23" y="293"/>
                    <a:pt x="22" y="293"/>
                  </a:cubicBezTo>
                  <a:cubicBezTo>
                    <a:pt x="21" y="294"/>
                    <a:pt x="21" y="294"/>
                    <a:pt x="21" y="294"/>
                  </a:cubicBezTo>
                  <a:cubicBezTo>
                    <a:pt x="19" y="295"/>
                    <a:pt x="19" y="295"/>
                    <a:pt x="19" y="297"/>
                  </a:cubicBezTo>
                  <a:cubicBezTo>
                    <a:pt x="18" y="302"/>
                    <a:pt x="17" y="307"/>
                    <a:pt x="16" y="311"/>
                  </a:cubicBezTo>
                  <a:cubicBezTo>
                    <a:pt x="15" y="313"/>
                    <a:pt x="15" y="313"/>
                    <a:pt x="15" y="313"/>
                  </a:cubicBezTo>
                  <a:cubicBezTo>
                    <a:pt x="15" y="313"/>
                    <a:pt x="15" y="314"/>
                    <a:pt x="15" y="315"/>
                  </a:cubicBezTo>
                  <a:cubicBezTo>
                    <a:pt x="15" y="316"/>
                    <a:pt x="15" y="318"/>
                    <a:pt x="14" y="319"/>
                  </a:cubicBezTo>
                  <a:cubicBezTo>
                    <a:pt x="14" y="320"/>
                    <a:pt x="14" y="320"/>
                    <a:pt x="14" y="320"/>
                  </a:cubicBezTo>
                  <a:cubicBezTo>
                    <a:pt x="15" y="320"/>
                    <a:pt x="14" y="321"/>
                    <a:pt x="15" y="324"/>
                  </a:cubicBezTo>
                  <a:cubicBezTo>
                    <a:pt x="15" y="324"/>
                    <a:pt x="15" y="324"/>
                    <a:pt x="15" y="324"/>
                  </a:cubicBezTo>
                  <a:cubicBezTo>
                    <a:pt x="17" y="324"/>
                    <a:pt x="18" y="322"/>
                    <a:pt x="21" y="322"/>
                  </a:cubicBezTo>
                  <a:cubicBezTo>
                    <a:pt x="23" y="322"/>
                    <a:pt x="25" y="319"/>
                    <a:pt x="26" y="319"/>
                  </a:cubicBezTo>
                  <a:cubicBezTo>
                    <a:pt x="27" y="319"/>
                    <a:pt x="28" y="320"/>
                    <a:pt x="28" y="322"/>
                  </a:cubicBezTo>
                  <a:cubicBezTo>
                    <a:pt x="32" y="319"/>
                    <a:pt x="34" y="318"/>
                    <a:pt x="38" y="318"/>
                  </a:cubicBezTo>
                  <a:cubicBezTo>
                    <a:pt x="39" y="318"/>
                    <a:pt x="40" y="318"/>
                    <a:pt x="40" y="318"/>
                  </a:cubicBezTo>
                  <a:cubicBezTo>
                    <a:pt x="44" y="318"/>
                    <a:pt x="48" y="319"/>
                    <a:pt x="52" y="319"/>
                  </a:cubicBezTo>
                  <a:cubicBezTo>
                    <a:pt x="53" y="319"/>
                    <a:pt x="55" y="319"/>
                    <a:pt x="56" y="319"/>
                  </a:cubicBezTo>
                  <a:cubicBezTo>
                    <a:pt x="57" y="319"/>
                    <a:pt x="58" y="319"/>
                    <a:pt x="57" y="318"/>
                  </a:cubicBezTo>
                  <a:cubicBezTo>
                    <a:pt x="61" y="316"/>
                    <a:pt x="65" y="316"/>
                    <a:pt x="69" y="316"/>
                  </a:cubicBezTo>
                  <a:cubicBezTo>
                    <a:pt x="70" y="316"/>
                    <a:pt x="71" y="316"/>
                    <a:pt x="71" y="316"/>
                  </a:cubicBezTo>
                  <a:cubicBezTo>
                    <a:pt x="70" y="314"/>
                    <a:pt x="71" y="313"/>
                    <a:pt x="72" y="313"/>
                  </a:cubicBezTo>
                  <a:cubicBezTo>
                    <a:pt x="72" y="313"/>
                    <a:pt x="73" y="313"/>
                    <a:pt x="73" y="313"/>
                  </a:cubicBezTo>
                  <a:cubicBezTo>
                    <a:pt x="72" y="313"/>
                    <a:pt x="71" y="314"/>
                    <a:pt x="72" y="315"/>
                  </a:cubicBezTo>
                  <a:cubicBezTo>
                    <a:pt x="72" y="316"/>
                    <a:pt x="74" y="316"/>
                    <a:pt x="76" y="317"/>
                  </a:cubicBezTo>
                  <a:cubicBezTo>
                    <a:pt x="78" y="317"/>
                    <a:pt x="80" y="317"/>
                    <a:pt x="82" y="317"/>
                  </a:cubicBezTo>
                  <a:cubicBezTo>
                    <a:pt x="83" y="318"/>
                    <a:pt x="85" y="320"/>
                    <a:pt x="86" y="320"/>
                  </a:cubicBezTo>
                  <a:cubicBezTo>
                    <a:pt x="86" y="320"/>
                    <a:pt x="87" y="320"/>
                    <a:pt x="87" y="320"/>
                  </a:cubicBezTo>
                  <a:cubicBezTo>
                    <a:pt x="86" y="319"/>
                    <a:pt x="86" y="319"/>
                    <a:pt x="86" y="319"/>
                  </a:cubicBezTo>
                  <a:cubicBezTo>
                    <a:pt x="98" y="315"/>
                    <a:pt x="108" y="315"/>
                    <a:pt x="121" y="314"/>
                  </a:cubicBezTo>
                  <a:cubicBezTo>
                    <a:pt x="121" y="314"/>
                    <a:pt x="121" y="314"/>
                    <a:pt x="121" y="314"/>
                  </a:cubicBezTo>
                  <a:cubicBezTo>
                    <a:pt x="122" y="314"/>
                    <a:pt x="123" y="314"/>
                    <a:pt x="124" y="314"/>
                  </a:cubicBezTo>
                  <a:cubicBezTo>
                    <a:pt x="125" y="314"/>
                    <a:pt x="126" y="315"/>
                    <a:pt x="127" y="315"/>
                  </a:cubicBezTo>
                  <a:cubicBezTo>
                    <a:pt x="129" y="315"/>
                    <a:pt x="131" y="314"/>
                    <a:pt x="131" y="314"/>
                  </a:cubicBezTo>
                  <a:cubicBezTo>
                    <a:pt x="131" y="314"/>
                    <a:pt x="131" y="314"/>
                    <a:pt x="131" y="314"/>
                  </a:cubicBezTo>
                  <a:cubicBezTo>
                    <a:pt x="131" y="314"/>
                    <a:pt x="131" y="312"/>
                    <a:pt x="131" y="312"/>
                  </a:cubicBezTo>
                  <a:cubicBezTo>
                    <a:pt x="130" y="312"/>
                    <a:pt x="130" y="312"/>
                    <a:pt x="130" y="312"/>
                  </a:cubicBezTo>
                  <a:cubicBezTo>
                    <a:pt x="129" y="312"/>
                    <a:pt x="129" y="311"/>
                    <a:pt x="128" y="311"/>
                  </a:cubicBezTo>
                  <a:cubicBezTo>
                    <a:pt x="128" y="310"/>
                    <a:pt x="129" y="309"/>
                    <a:pt x="130" y="309"/>
                  </a:cubicBezTo>
                  <a:cubicBezTo>
                    <a:pt x="130" y="309"/>
                    <a:pt x="130" y="309"/>
                    <a:pt x="130" y="309"/>
                  </a:cubicBezTo>
                  <a:cubicBezTo>
                    <a:pt x="130" y="309"/>
                    <a:pt x="132" y="311"/>
                    <a:pt x="132" y="312"/>
                  </a:cubicBezTo>
                  <a:cubicBezTo>
                    <a:pt x="134" y="314"/>
                    <a:pt x="132" y="314"/>
                    <a:pt x="134" y="316"/>
                  </a:cubicBezTo>
                  <a:cubicBezTo>
                    <a:pt x="136" y="319"/>
                    <a:pt x="136" y="318"/>
                    <a:pt x="136" y="321"/>
                  </a:cubicBezTo>
                  <a:cubicBezTo>
                    <a:pt x="136" y="323"/>
                    <a:pt x="135" y="327"/>
                    <a:pt x="136" y="327"/>
                  </a:cubicBezTo>
                  <a:cubicBezTo>
                    <a:pt x="137" y="328"/>
                    <a:pt x="137" y="328"/>
                    <a:pt x="138" y="328"/>
                  </a:cubicBezTo>
                  <a:cubicBezTo>
                    <a:pt x="144" y="327"/>
                    <a:pt x="144" y="327"/>
                    <a:pt x="144" y="327"/>
                  </a:cubicBezTo>
                  <a:cubicBezTo>
                    <a:pt x="146" y="331"/>
                    <a:pt x="146" y="331"/>
                    <a:pt x="146" y="331"/>
                  </a:cubicBezTo>
                  <a:cubicBezTo>
                    <a:pt x="148" y="333"/>
                    <a:pt x="148" y="333"/>
                    <a:pt x="148" y="333"/>
                  </a:cubicBezTo>
                  <a:cubicBezTo>
                    <a:pt x="149" y="336"/>
                    <a:pt x="149" y="339"/>
                    <a:pt x="150" y="340"/>
                  </a:cubicBezTo>
                  <a:cubicBezTo>
                    <a:pt x="151" y="345"/>
                    <a:pt x="151" y="349"/>
                    <a:pt x="155" y="349"/>
                  </a:cubicBezTo>
                  <a:cubicBezTo>
                    <a:pt x="156" y="349"/>
                    <a:pt x="157" y="349"/>
                    <a:pt x="157" y="349"/>
                  </a:cubicBezTo>
                  <a:cubicBezTo>
                    <a:pt x="159" y="349"/>
                    <a:pt x="160" y="348"/>
                    <a:pt x="161" y="348"/>
                  </a:cubicBezTo>
                  <a:cubicBezTo>
                    <a:pt x="166" y="348"/>
                    <a:pt x="171" y="351"/>
                    <a:pt x="169" y="358"/>
                  </a:cubicBezTo>
                  <a:cubicBezTo>
                    <a:pt x="170" y="357"/>
                    <a:pt x="170" y="357"/>
                    <a:pt x="171" y="356"/>
                  </a:cubicBezTo>
                  <a:cubicBezTo>
                    <a:pt x="170" y="355"/>
                    <a:pt x="170" y="355"/>
                    <a:pt x="170" y="355"/>
                  </a:cubicBezTo>
                  <a:cubicBezTo>
                    <a:pt x="171" y="354"/>
                    <a:pt x="171" y="354"/>
                    <a:pt x="171" y="354"/>
                  </a:cubicBezTo>
                  <a:cubicBezTo>
                    <a:pt x="172" y="354"/>
                    <a:pt x="172" y="354"/>
                    <a:pt x="172" y="354"/>
                  </a:cubicBezTo>
                  <a:cubicBezTo>
                    <a:pt x="172" y="354"/>
                    <a:pt x="172" y="354"/>
                    <a:pt x="172" y="354"/>
                  </a:cubicBezTo>
                  <a:cubicBezTo>
                    <a:pt x="180" y="348"/>
                    <a:pt x="180" y="348"/>
                    <a:pt x="180" y="348"/>
                  </a:cubicBezTo>
                  <a:cubicBezTo>
                    <a:pt x="181" y="348"/>
                    <a:pt x="181" y="348"/>
                    <a:pt x="181" y="348"/>
                  </a:cubicBezTo>
                  <a:cubicBezTo>
                    <a:pt x="181" y="348"/>
                    <a:pt x="182" y="348"/>
                    <a:pt x="182" y="348"/>
                  </a:cubicBezTo>
                  <a:cubicBezTo>
                    <a:pt x="183" y="348"/>
                    <a:pt x="183" y="348"/>
                    <a:pt x="183" y="348"/>
                  </a:cubicBezTo>
                  <a:cubicBezTo>
                    <a:pt x="184" y="348"/>
                    <a:pt x="184" y="346"/>
                    <a:pt x="184" y="345"/>
                  </a:cubicBezTo>
                  <a:cubicBezTo>
                    <a:pt x="184" y="344"/>
                    <a:pt x="184" y="343"/>
                    <a:pt x="184" y="342"/>
                  </a:cubicBezTo>
                  <a:cubicBezTo>
                    <a:pt x="184" y="339"/>
                    <a:pt x="184" y="339"/>
                    <a:pt x="184" y="339"/>
                  </a:cubicBezTo>
                  <a:cubicBezTo>
                    <a:pt x="187" y="339"/>
                    <a:pt x="187" y="339"/>
                    <a:pt x="187" y="339"/>
                  </a:cubicBezTo>
                  <a:cubicBezTo>
                    <a:pt x="192" y="340"/>
                    <a:pt x="197" y="340"/>
                    <a:pt x="201" y="341"/>
                  </a:cubicBezTo>
                  <a:cubicBezTo>
                    <a:pt x="202" y="337"/>
                    <a:pt x="202" y="337"/>
                    <a:pt x="202" y="337"/>
                  </a:cubicBezTo>
                  <a:cubicBezTo>
                    <a:pt x="203" y="341"/>
                    <a:pt x="203" y="341"/>
                    <a:pt x="203" y="341"/>
                  </a:cubicBezTo>
                  <a:cubicBezTo>
                    <a:pt x="210" y="342"/>
                    <a:pt x="210" y="342"/>
                    <a:pt x="210" y="342"/>
                  </a:cubicBezTo>
                  <a:cubicBezTo>
                    <a:pt x="210" y="342"/>
                    <a:pt x="211" y="342"/>
                    <a:pt x="212" y="343"/>
                  </a:cubicBezTo>
                  <a:cubicBezTo>
                    <a:pt x="213" y="343"/>
                    <a:pt x="214" y="343"/>
                    <a:pt x="215" y="343"/>
                  </a:cubicBezTo>
                  <a:cubicBezTo>
                    <a:pt x="215" y="343"/>
                    <a:pt x="216" y="343"/>
                    <a:pt x="216" y="343"/>
                  </a:cubicBezTo>
                  <a:cubicBezTo>
                    <a:pt x="216" y="343"/>
                    <a:pt x="216" y="343"/>
                    <a:pt x="217" y="343"/>
                  </a:cubicBezTo>
                  <a:cubicBezTo>
                    <a:pt x="217" y="343"/>
                    <a:pt x="217" y="343"/>
                    <a:pt x="217" y="343"/>
                  </a:cubicBezTo>
                  <a:cubicBezTo>
                    <a:pt x="217" y="342"/>
                    <a:pt x="217" y="342"/>
                    <a:pt x="218" y="341"/>
                  </a:cubicBezTo>
                  <a:cubicBezTo>
                    <a:pt x="220" y="339"/>
                    <a:pt x="223" y="339"/>
                    <a:pt x="226" y="338"/>
                  </a:cubicBezTo>
                  <a:cubicBezTo>
                    <a:pt x="226" y="338"/>
                    <a:pt x="226" y="338"/>
                    <a:pt x="226" y="338"/>
                  </a:cubicBezTo>
                  <a:cubicBezTo>
                    <a:pt x="227" y="338"/>
                    <a:pt x="227" y="337"/>
                    <a:pt x="228" y="337"/>
                  </a:cubicBezTo>
                  <a:cubicBezTo>
                    <a:pt x="229" y="337"/>
                    <a:pt x="229" y="337"/>
                    <a:pt x="229" y="337"/>
                  </a:cubicBezTo>
                  <a:cubicBezTo>
                    <a:pt x="229" y="337"/>
                    <a:pt x="231" y="336"/>
                    <a:pt x="232" y="336"/>
                  </a:cubicBezTo>
                  <a:cubicBezTo>
                    <a:pt x="233" y="336"/>
                    <a:pt x="234" y="337"/>
                    <a:pt x="234" y="338"/>
                  </a:cubicBezTo>
                  <a:cubicBezTo>
                    <a:pt x="235" y="338"/>
                    <a:pt x="235" y="339"/>
                    <a:pt x="235" y="340"/>
                  </a:cubicBezTo>
                  <a:cubicBezTo>
                    <a:pt x="235" y="340"/>
                    <a:pt x="236" y="340"/>
                    <a:pt x="236" y="341"/>
                  </a:cubicBezTo>
                  <a:cubicBezTo>
                    <a:pt x="237" y="340"/>
                    <a:pt x="237" y="340"/>
                    <a:pt x="237" y="340"/>
                  </a:cubicBezTo>
                  <a:cubicBezTo>
                    <a:pt x="237" y="340"/>
                    <a:pt x="237" y="340"/>
                    <a:pt x="237" y="340"/>
                  </a:cubicBezTo>
                  <a:cubicBezTo>
                    <a:pt x="238" y="339"/>
                    <a:pt x="238" y="339"/>
                    <a:pt x="239" y="339"/>
                  </a:cubicBezTo>
                  <a:cubicBezTo>
                    <a:pt x="238" y="338"/>
                    <a:pt x="238" y="337"/>
                    <a:pt x="239" y="336"/>
                  </a:cubicBezTo>
                  <a:cubicBezTo>
                    <a:pt x="239" y="335"/>
                    <a:pt x="239" y="335"/>
                    <a:pt x="239" y="334"/>
                  </a:cubicBezTo>
                  <a:cubicBezTo>
                    <a:pt x="239" y="333"/>
                    <a:pt x="240" y="333"/>
                    <a:pt x="240" y="332"/>
                  </a:cubicBezTo>
                  <a:cubicBezTo>
                    <a:pt x="240" y="332"/>
                    <a:pt x="240" y="332"/>
                    <a:pt x="240" y="331"/>
                  </a:cubicBezTo>
                  <a:cubicBezTo>
                    <a:pt x="236" y="323"/>
                    <a:pt x="236" y="323"/>
                    <a:pt x="236" y="323"/>
                  </a:cubicBezTo>
                  <a:cubicBezTo>
                    <a:pt x="235" y="322"/>
                    <a:pt x="235" y="321"/>
                    <a:pt x="235" y="320"/>
                  </a:cubicBezTo>
                  <a:cubicBezTo>
                    <a:pt x="231" y="322"/>
                    <a:pt x="231" y="322"/>
                    <a:pt x="231" y="322"/>
                  </a:cubicBezTo>
                  <a:cubicBezTo>
                    <a:pt x="234" y="319"/>
                    <a:pt x="234" y="319"/>
                    <a:pt x="234" y="319"/>
                  </a:cubicBezTo>
                  <a:cubicBezTo>
                    <a:pt x="234" y="319"/>
                    <a:pt x="234" y="319"/>
                    <a:pt x="234" y="319"/>
                  </a:cubicBezTo>
                  <a:cubicBezTo>
                    <a:pt x="234" y="318"/>
                    <a:pt x="233" y="317"/>
                    <a:pt x="233" y="316"/>
                  </a:cubicBezTo>
                  <a:cubicBezTo>
                    <a:pt x="232" y="314"/>
                    <a:pt x="232" y="313"/>
                    <a:pt x="232" y="311"/>
                  </a:cubicBezTo>
                  <a:cubicBezTo>
                    <a:pt x="231" y="310"/>
                    <a:pt x="231" y="310"/>
                    <a:pt x="231" y="309"/>
                  </a:cubicBezTo>
                  <a:cubicBezTo>
                    <a:pt x="231" y="309"/>
                    <a:pt x="230" y="310"/>
                    <a:pt x="230" y="310"/>
                  </a:cubicBezTo>
                  <a:cubicBezTo>
                    <a:pt x="229" y="310"/>
                    <a:pt x="229" y="310"/>
                    <a:pt x="229" y="310"/>
                  </a:cubicBezTo>
                  <a:cubicBezTo>
                    <a:pt x="228" y="310"/>
                    <a:pt x="227" y="310"/>
                    <a:pt x="226" y="310"/>
                  </a:cubicBezTo>
                  <a:cubicBezTo>
                    <a:pt x="226" y="309"/>
                    <a:pt x="226" y="309"/>
                    <a:pt x="226" y="309"/>
                  </a:cubicBezTo>
                  <a:cubicBezTo>
                    <a:pt x="225" y="309"/>
                    <a:pt x="225" y="309"/>
                    <a:pt x="224" y="309"/>
                  </a:cubicBezTo>
                  <a:cubicBezTo>
                    <a:pt x="224" y="309"/>
                    <a:pt x="224" y="309"/>
                    <a:pt x="224" y="309"/>
                  </a:cubicBezTo>
                  <a:cubicBezTo>
                    <a:pt x="224" y="308"/>
                    <a:pt x="224" y="308"/>
                    <a:pt x="224" y="308"/>
                  </a:cubicBezTo>
                  <a:cubicBezTo>
                    <a:pt x="223" y="308"/>
                    <a:pt x="223" y="308"/>
                    <a:pt x="223" y="308"/>
                  </a:cubicBezTo>
                  <a:cubicBezTo>
                    <a:pt x="223" y="308"/>
                    <a:pt x="222" y="308"/>
                    <a:pt x="222" y="307"/>
                  </a:cubicBezTo>
                  <a:cubicBezTo>
                    <a:pt x="220" y="305"/>
                    <a:pt x="219" y="303"/>
                    <a:pt x="219" y="300"/>
                  </a:cubicBezTo>
                  <a:cubicBezTo>
                    <a:pt x="219" y="299"/>
                    <a:pt x="218" y="298"/>
                    <a:pt x="218" y="298"/>
                  </a:cubicBezTo>
                  <a:cubicBezTo>
                    <a:pt x="217" y="295"/>
                    <a:pt x="218" y="292"/>
                    <a:pt x="218" y="290"/>
                  </a:cubicBezTo>
                  <a:cubicBezTo>
                    <a:pt x="218" y="289"/>
                    <a:pt x="218" y="289"/>
                    <a:pt x="218" y="289"/>
                  </a:cubicBezTo>
                  <a:cubicBezTo>
                    <a:pt x="218" y="288"/>
                    <a:pt x="219" y="287"/>
                    <a:pt x="219" y="286"/>
                  </a:cubicBezTo>
                  <a:cubicBezTo>
                    <a:pt x="218" y="286"/>
                    <a:pt x="218" y="286"/>
                    <a:pt x="218" y="286"/>
                  </a:cubicBezTo>
                  <a:cubicBezTo>
                    <a:pt x="218" y="286"/>
                    <a:pt x="218" y="286"/>
                    <a:pt x="218" y="286"/>
                  </a:cubicBezTo>
                  <a:cubicBezTo>
                    <a:pt x="217" y="286"/>
                    <a:pt x="217" y="286"/>
                    <a:pt x="217" y="286"/>
                  </a:cubicBezTo>
                  <a:cubicBezTo>
                    <a:pt x="216" y="286"/>
                    <a:pt x="214" y="285"/>
                    <a:pt x="213" y="285"/>
                  </a:cubicBezTo>
                  <a:cubicBezTo>
                    <a:pt x="212" y="290"/>
                    <a:pt x="212" y="290"/>
                    <a:pt x="212" y="290"/>
                  </a:cubicBezTo>
                  <a:cubicBezTo>
                    <a:pt x="211" y="285"/>
                    <a:pt x="211" y="285"/>
                    <a:pt x="211" y="285"/>
                  </a:cubicBezTo>
                  <a:cubicBezTo>
                    <a:pt x="211" y="285"/>
                    <a:pt x="211" y="285"/>
                    <a:pt x="211" y="285"/>
                  </a:cubicBezTo>
                  <a:cubicBezTo>
                    <a:pt x="207" y="284"/>
                    <a:pt x="205" y="283"/>
                    <a:pt x="203" y="281"/>
                  </a:cubicBezTo>
                  <a:cubicBezTo>
                    <a:pt x="202" y="280"/>
                    <a:pt x="202" y="279"/>
                    <a:pt x="202" y="278"/>
                  </a:cubicBezTo>
                  <a:cubicBezTo>
                    <a:pt x="201" y="274"/>
                    <a:pt x="202" y="270"/>
                    <a:pt x="205" y="266"/>
                  </a:cubicBezTo>
                  <a:cubicBezTo>
                    <a:pt x="207" y="262"/>
                    <a:pt x="210" y="259"/>
                    <a:pt x="212" y="256"/>
                  </a:cubicBezTo>
                  <a:cubicBezTo>
                    <a:pt x="213" y="255"/>
                    <a:pt x="213" y="255"/>
                    <a:pt x="213" y="255"/>
                  </a:cubicBezTo>
                  <a:cubicBezTo>
                    <a:pt x="214" y="254"/>
                    <a:pt x="215" y="253"/>
                    <a:pt x="216" y="252"/>
                  </a:cubicBezTo>
                  <a:cubicBezTo>
                    <a:pt x="216" y="251"/>
                    <a:pt x="217" y="250"/>
                    <a:pt x="218" y="250"/>
                  </a:cubicBezTo>
                  <a:cubicBezTo>
                    <a:pt x="218" y="249"/>
                    <a:pt x="218" y="249"/>
                    <a:pt x="218" y="249"/>
                  </a:cubicBezTo>
                  <a:cubicBezTo>
                    <a:pt x="218" y="249"/>
                    <a:pt x="219" y="248"/>
                    <a:pt x="219" y="248"/>
                  </a:cubicBezTo>
                  <a:cubicBezTo>
                    <a:pt x="221" y="246"/>
                    <a:pt x="221" y="246"/>
                    <a:pt x="221" y="246"/>
                  </a:cubicBezTo>
                  <a:cubicBezTo>
                    <a:pt x="222" y="245"/>
                    <a:pt x="222" y="245"/>
                    <a:pt x="222" y="245"/>
                  </a:cubicBezTo>
                  <a:cubicBezTo>
                    <a:pt x="222" y="245"/>
                    <a:pt x="222" y="245"/>
                    <a:pt x="222" y="245"/>
                  </a:cubicBezTo>
                  <a:cubicBezTo>
                    <a:pt x="219" y="241"/>
                    <a:pt x="219" y="241"/>
                    <a:pt x="219" y="241"/>
                  </a:cubicBezTo>
                  <a:cubicBezTo>
                    <a:pt x="223" y="244"/>
                    <a:pt x="223" y="244"/>
                    <a:pt x="223" y="244"/>
                  </a:cubicBezTo>
                  <a:cubicBezTo>
                    <a:pt x="223" y="244"/>
                    <a:pt x="223" y="244"/>
                    <a:pt x="223" y="244"/>
                  </a:cubicBezTo>
                  <a:cubicBezTo>
                    <a:pt x="224" y="243"/>
                    <a:pt x="225" y="243"/>
                    <a:pt x="226" y="242"/>
                  </a:cubicBezTo>
                  <a:cubicBezTo>
                    <a:pt x="226" y="242"/>
                    <a:pt x="226" y="242"/>
                    <a:pt x="226" y="242"/>
                  </a:cubicBezTo>
                  <a:cubicBezTo>
                    <a:pt x="227" y="242"/>
                    <a:pt x="228" y="242"/>
                    <a:pt x="228" y="241"/>
                  </a:cubicBezTo>
                  <a:cubicBezTo>
                    <a:pt x="229" y="239"/>
                    <a:pt x="229" y="239"/>
                    <a:pt x="229" y="239"/>
                  </a:cubicBezTo>
                  <a:cubicBezTo>
                    <a:pt x="230" y="242"/>
                    <a:pt x="230" y="242"/>
                    <a:pt x="230" y="242"/>
                  </a:cubicBezTo>
                  <a:cubicBezTo>
                    <a:pt x="230" y="242"/>
                    <a:pt x="230" y="242"/>
                    <a:pt x="231" y="242"/>
                  </a:cubicBezTo>
                  <a:cubicBezTo>
                    <a:pt x="231" y="242"/>
                    <a:pt x="231" y="242"/>
                    <a:pt x="232" y="242"/>
                  </a:cubicBezTo>
                  <a:cubicBezTo>
                    <a:pt x="233" y="242"/>
                    <a:pt x="233" y="243"/>
                    <a:pt x="233" y="243"/>
                  </a:cubicBezTo>
                  <a:cubicBezTo>
                    <a:pt x="234" y="243"/>
                    <a:pt x="234" y="244"/>
                    <a:pt x="235" y="244"/>
                  </a:cubicBezTo>
                  <a:cubicBezTo>
                    <a:pt x="236" y="245"/>
                    <a:pt x="236" y="246"/>
                    <a:pt x="237" y="247"/>
                  </a:cubicBezTo>
                  <a:cubicBezTo>
                    <a:pt x="237" y="248"/>
                    <a:pt x="237" y="248"/>
                    <a:pt x="237" y="248"/>
                  </a:cubicBezTo>
                  <a:cubicBezTo>
                    <a:pt x="237" y="248"/>
                    <a:pt x="238" y="249"/>
                    <a:pt x="238" y="249"/>
                  </a:cubicBezTo>
                  <a:cubicBezTo>
                    <a:pt x="238" y="249"/>
                    <a:pt x="238" y="250"/>
                    <a:pt x="239" y="250"/>
                  </a:cubicBezTo>
                  <a:cubicBezTo>
                    <a:pt x="239" y="250"/>
                    <a:pt x="239" y="250"/>
                    <a:pt x="240" y="249"/>
                  </a:cubicBezTo>
                  <a:cubicBezTo>
                    <a:pt x="240" y="249"/>
                    <a:pt x="240" y="249"/>
                    <a:pt x="240" y="249"/>
                  </a:cubicBezTo>
                  <a:cubicBezTo>
                    <a:pt x="242" y="248"/>
                    <a:pt x="244" y="248"/>
                    <a:pt x="247" y="247"/>
                  </a:cubicBezTo>
                  <a:cubicBezTo>
                    <a:pt x="247" y="247"/>
                    <a:pt x="247" y="247"/>
                    <a:pt x="247" y="247"/>
                  </a:cubicBezTo>
                  <a:cubicBezTo>
                    <a:pt x="247" y="242"/>
                    <a:pt x="247" y="242"/>
                    <a:pt x="247" y="242"/>
                  </a:cubicBezTo>
                  <a:cubicBezTo>
                    <a:pt x="249" y="247"/>
                    <a:pt x="249" y="247"/>
                    <a:pt x="249" y="247"/>
                  </a:cubicBezTo>
                  <a:cubicBezTo>
                    <a:pt x="250" y="246"/>
                    <a:pt x="250" y="246"/>
                    <a:pt x="250" y="246"/>
                  </a:cubicBezTo>
                  <a:cubicBezTo>
                    <a:pt x="250" y="246"/>
                    <a:pt x="251" y="246"/>
                    <a:pt x="252" y="246"/>
                  </a:cubicBezTo>
                  <a:cubicBezTo>
                    <a:pt x="252" y="246"/>
                    <a:pt x="252" y="246"/>
                    <a:pt x="252" y="246"/>
                  </a:cubicBezTo>
                  <a:cubicBezTo>
                    <a:pt x="254" y="246"/>
                    <a:pt x="256" y="246"/>
                    <a:pt x="258" y="245"/>
                  </a:cubicBezTo>
                  <a:cubicBezTo>
                    <a:pt x="259" y="245"/>
                    <a:pt x="259" y="245"/>
                    <a:pt x="259" y="245"/>
                  </a:cubicBezTo>
                  <a:cubicBezTo>
                    <a:pt x="273" y="225"/>
                    <a:pt x="273" y="225"/>
                    <a:pt x="273" y="225"/>
                  </a:cubicBezTo>
                  <a:cubicBezTo>
                    <a:pt x="273" y="225"/>
                    <a:pt x="274" y="225"/>
                    <a:pt x="274" y="225"/>
                  </a:cubicBezTo>
                  <a:cubicBezTo>
                    <a:pt x="276" y="222"/>
                    <a:pt x="277" y="221"/>
                    <a:pt x="280" y="219"/>
                  </a:cubicBezTo>
                  <a:cubicBezTo>
                    <a:pt x="281" y="219"/>
                    <a:pt x="282" y="218"/>
                    <a:pt x="283" y="218"/>
                  </a:cubicBezTo>
                  <a:cubicBezTo>
                    <a:pt x="287" y="216"/>
                    <a:pt x="287" y="215"/>
                    <a:pt x="290" y="212"/>
                  </a:cubicBezTo>
                  <a:cubicBezTo>
                    <a:pt x="290" y="211"/>
                    <a:pt x="291" y="210"/>
                    <a:pt x="292" y="209"/>
                  </a:cubicBezTo>
                  <a:cubicBezTo>
                    <a:pt x="292" y="208"/>
                    <a:pt x="292" y="208"/>
                    <a:pt x="292" y="208"/>
                  </a:cubicBezTo>
                  <a:cubicBezTo>
                    <a:pt x="293" y="206"/>
                    <a:pt x="294" y="205"/>
                    <a:pt x="294" y="204"/>
                  </a:cubicBezTo>
                  <a:cubicBezTo>
                    <a:pt x="295" y="203"/>
                    <a:pt x="295" y="202"/>
                    <a:pt x="295" y="202"/>
                  </a:cubicBezTo>
                  <a:cubicBezTo>
                    <a:pt x="295" y="201"/>
                    <a:pt x="295" y="201"/>
                    <a:pt x="295" y="201"/>
                  </a:cubicBezTo>
                  <a:cubicBezTo>
                    <a:pt x="295" y="201"/>
                    <a:pt x="295" y="200"/>
                    <a:pt x="296" y="199"/>
                  </a:cubicBezTo>
                  <a:cubicBezTo>
                    <a:pt x="296" y="197"/>
                    <a:pt x="297" y="194"/>
                    <a:pt x="299" y="192"/>
                  </a:cubicBezTo>
                  <a:cubicBezTo>
                    <a:pt x="299" y="191"/>
                    <a:pt x="301" y="190"/>
                    <a:pt x="302" y="189"/>
                  </a:cubicBezTo>
                  <a:cubicBezTo>
                    <a:pt x="304" y="188"/>
                    <a:pt x="306" y="187"/>
                    <a:pt x="308" y="186"/>
                  </a:cubicBezTo>
                  <a:cubicBezTo>
                    <a:pt x="309" y="186"/>
                    <a:pt x="310" y="186"/>
                    <a:pt x="311" y="185"/>
                  </a:cubicBezTo>
                  <a:cubicBezTo>
                    <a:pt x="310" y="185"/>
                    <a:pt x="310" y="185"/>
                    <a:pt x="310" y="185"/>
                  </a:cubicBezTo>
                  <a:cubicBezTo>
                    <a:pt x="309" y="182"/>
                    <a:pt x="310" y="180"/>
                    <a:pt x="310" y="179"/>
                  </a:cubicBezTo>
                  <a:cubicBezTo>
                    <a:pt x="311" y="179"/>
                    <a:pt x="311" y="179"/>
                    <a:pt x="311" y="179"/>
                  </a:cubicBezTo>
                  <a:cubicBezTo>
                    <a:pt x="311" y="178"/>
                    <a:pt x="312" y="177"/>
                    <a:pt x="312" y="177"/>
                  </a:cubicBezTo>
                  <a:cubicBezTo>
                    <a:pt x="314" y="175"/>
                    <a:pt x="315" y="174"/>
                    <a:pt x="316" y="172"/>
                  </a:cubicBezTo>
                  <a:cubicBezTo>
                    <a:pt x="317" y="171"/>
                    <a:pt x="318" y="171"/>
                    <a:pt x="320" y="169"/>
                  </a:cubicBezTo>
                  <a:cubicBezTo>
                    <a:pt x="321" y="168"/>
                    <a:pt x="321" y="168"/>
                    <a:pt x="321" y="168"/>
                  </a:cubicBezTo>
                  <a:cubicBezTo>
                    <a:pt x="323" y="167"/>
                    <a:pt x="325" y="166"/>
                    <a:pt x="326" y="165"/>
                  </a:cubicBezTo>
                  <a:cubicBezTo>
                    <a:pt x="327" y="164"/>
                    <a:pt x="328" y="163"/>
                    <a:pt x="328" y="163"/>
                  </a:cubicBezTo>
                  <a:cubicBezTo>
                    <a:pt x="328" y="162"/>
                    <a:pt x="328" y="161"/>
                    <a:pt x="328" y="160"/>
                  </a:cubicBezTo>
                  <a:cubicBezTo>
                    <a:pt x="327" y="155"/>
                    <a:pt x="327" y="155"/>
                    <a:pt x="327" y="155"/>
                  </a:cubicBezTo>
                  <a:cubicBezTo>
                    <a:pt x="326" y="153"/>
                    <a:pt x="326" y="152"/>
                    <a:pt x="326" y="151"/>
                  </a:cubicBezTo>
                  <a:cubicBezTo>
                    <a:pt x="326" y="148"/>
                    <a:pt x="326" y="148"/>
                    <a:pt x="326" y="148"/>
                  </a:cubicBezTo>
                  <a:cubicBezTo>
                    <a:pt x="322" y="148"/>
                    <a:pt x="322" y="148"/>
                    <a:pt x="322" y="148"/>
                  </a:cubicBezTo>
                  <a:cubicBezTo>
                    <a:pt x="325" y="146"/>
                    <a:pt x="325" y="146"/>
                    <a:pt x="325" y="146"/>
                  </a:cubicBezTo>
                  <a:cubicBezTo>
                    <a:pt x="325" y="145"/>
                    <a:pt x="325" y="145"/>
                    <a:pt x="325" y="145"/>
                  </a:cubicBezTo>
                  <a:cubicBezTo>
                    <a:pt x="325" y="145"/>
                    <a:pt x="325" y="144"/>
                    <a:pt x="326" y="143"/>
                  </a:cubicBezTo>
                  <a:cubicBezTo>
                    <a:pt x="326" y="141"/>
                    <a:pt x="328" y="139"/>
                    <a:pt x="330" y="138"/>
                  </a:cubicBezTo>
                  <a:cubicBezTo>
                    <a:pt x="331" y="137"/>
                    <a:pt x="332" y="136"/>
                    <a:pt x="333" y="136"/>
                  </a:cubicBezTo>
                  <a:cubicBezTo>
                    <a:pt x="333" y="136"/>
                    <a:pt x="333" y="136"/>
                    <a:pt x="333" y="136"/>
                  </a:cubicBezTo>
                  <a:cubicBezTo>
                    <a:pt x="334" y="136"/>
                    <a:pt x="334" y="136"/>
                    <a:pt x="334" y="136"/>
                  </a:cubicBezTo>
                  <a:cubicBezTo>
                    <a:pt x="334" y="136"/>
                    <a:pt x="335" y="136"/>
                    <a:pt x="335" y="135"/>
                  </a:cubicBezTo>
                  <a:cubicBezTo>
                    <a:pt x="336" y="135"/>
                    <a:pt x="337" y="135"/>
                    <a:pt x="338" y="134"/>
                  </a:cubicBezTo>
                  <a:cubicBezTo>
                    <a:pt x="339" y="134"/>
                    <a:pt x="339" y="134"/>
                    <a:pt x="340" y="134"/>
                  </a:cubicBezTo>
                  <a:cubicBezTo>
                    <a:pt x="342" y="133"/>
                    <a:pt x="342" y="133"/>
                    <a:pt x="342" y="133"/>
                  </a:cubicBezTo>
                  <a:cubicBezTo>
                    <a:pt x="343" y="133"/>
                    <a:pt x="345" y="132"/>
                    <a:pt x="345" y="131"/>
                  </a:cubicBezTo>
                  <a:cubicBezTo>
                    <a:pt x="345" y="130"/>
                    <a:pt x="345" y="130"/>
                    <a:pt x="345" y="130"/>
                  </a:cubicBezTo>
                  <a:cubicBezTo>
                    <a:pt x="344" y="129"/>
                    <a:pt x="344" y="129"/>
                    <a:pt x="344" y="129"/>
                  </a:cubicBezTo>
                  <a:cubicBezTo>
                    <a:pt x="344" y="129"/>
                    <a:pt x="344" y="129"/>
                    <a:pt x="344" y="129"/>
                  </a:cubicBezTo>
                  <a:cubicBezTo>
                    <a:pt x="344" y="129"/>
                    <a:pt x="343" y="129"/>
                    <a:pt x="343" y="129"/>
                  </a:cubicBezTo>
                  <a:cubicBezTo>
                    <a:pt x="342" y="129"/>
                    <a:pt x="341" y="129"/>
                    <a:pt x="340" y="128"/>
                  </a:cubicBezTo>
                  <a:cubicBezTo>
                    <a:pt x="339" y="128"/>
                    <a:pt x="339" y="128"/>
                    <a:pt x="339" y="128"/>
                  </a:cubicBezTo>
                  <a:cubicBezTo>
                    <a:pt x="339" y="128"/>
                    <a:pt x="338" y="128"/>
                    <a:pt x="338" y="128"/>
                  </a:cubicBezTo>
                  <a:cubicBezTo>
                    <a:pt x="334" y="128"/>
                    <a:pt x="332" y="127"/>
                    <a:pt x="331" y="125"/>
                  </a:cubicBezTo>
                  <a:cubicBezTo>
                    <a:pt x="331" y="125"/>
                    <a:pt x="331" y="125"/>
                    <a:pt x="330" y="124"/>
                  </a:cubicBezTo>
                  <a:cubicBezTo>
                    <a:pt x="330" y="123"/>
                    <a:pt x="329" y="121"/>
                    <a:pt x="329" y="119"/>
                  </a:cubicBezTo>
                  <a:cubicBezTo>
                    <a:pt x="329" y="120"/>
                    <a:pt x="328" y="120"/>
                    <a:pt x="327" y="120"/>
                  </a:cubicBezTo>
                  <a:cubicBezTo>
                    <a:pt x="325" y="120"/>
                    <a:pt x="323" y="119"/>
                    <a:pt x="321" y="117"/>
                  </a:cubicBezTo>
                  <a:cubicBezTo>
                    <a:pt x="321" y="116"/>
                    <a:pt x="321" y="116"/>
                    <a:pt x="321" y="116"/>
                  </a:cubicBezTo>
                  <a:cubicBezTo>
                    <a:pt x="320" y="115"/>
                    <a:pt x="319" y="114"/>
                    <a:pt x="319" y="114"/>
                  </a:cubicBezTo>
                  <a:cubicBezTo>
                    <a:pt x="318" y="112"/>
                    <a:pt x="318" y="112"/>
                    <a:pt x="318" y="112"/>
                  </a:cubicBezTo>
                  <a:cubicBezTo>
                    <a:pt x="317" y="111"/>
                    <a:pt x="315" y="109"/>
                    <a:pt x="314" y="107"/>
                  </a:cubicBezTo>
                  <a:cubicBezTo>
                    <a:pt x="308" y="108"/>
                    <a:pt x="308" y="108"/>
                    <a:pt x="308" y="108"/>
                  </a:cubicBezTo>
                  <a:cubicBezTo>
                    <a:pt x="314" y="106"/>
                    <a:pt x="314" y="106"/>
                    <a:pt x="314" y="106"/>
                  </a:cubicBezTo>
                  <a:cubicBezTo>
                    <a:pt x="314" y="105"/>
                    <a:pt x="314" y="105"/>
                    <a:pt x="314" y="105"/>
                  </a:cubicBezTo>
                  <a:cubicBezTo>
                    <a:pt x="314" y="104"/>
                    <a:pt x="314" y="103"/>
                    <a:pt x="314" y="102"/>
                  </a:cubicBezTo>
                  <a:cubicBezTo>
                    <a:pt x="315" y="102"/>
                    <a:pt x="315" y="101"/>
                    <a:pt x="316" y="100"/>
                  </a:cubicBezTo>
                  <a:cubicBezTo>
                    <a:pt x="317" y="97"/>
                    <a:pt x="317" y="97"/>
                    <a:pt x="316" y="96"/>
                  </a:cubicBezTo>
                  <a:cubicBezTo>
                    <a:pt x="316" y="95"/>
                    <a:pt x="316" y="95"/>
                    <a:pt x="316" y="95"/>
                  </a:cubicBezTo>
                  <a:cubicBezTo>
                    <a:pt x="315" y="94"/>
                    <a:pt x="315" y="93"/>
                    <a:pt x="314" y="93"/>
                  </a:cubicBezTo>
                  <a:cubicBezTo>
                    <a:pt x="314" y="92"/>
                    <a:pt x="313" y="91"/>
                    <a:pt x="313" y="90"/>
                  </a:cubicBezTo>
                  <a:cubicBezTo>
                    <a:pt x="313" y="90"/>
                    <a:pt x="313" y="90"/>
                    <a:pt x="313" y="90"/>
                  </a:cubicBezTo>
                  <a:cubicBezTo>
                    <a:pt x="313" y="90"/>
                    <a:pt x="313" y="90"/>
                    <a:pt x="313" y="90"/>
                  </a:cubicBezTo>
                  <a:cubicBezTo>
                    <a:pt x="313" y="89"/>
                    <a:pt x="313" y="88"/>
                    <a:pt x="313" y="88"/>
                  </a:cubicBezTo>
                  <a:cubicBezTo>
                    <a:pt x="314" y="87"/>
                    <a:pt x="314" y="87"/>
                    <a:pt x="314" y="87"/>
                  </a:cubicBezTo>
                  <a:cubicBezTo>
                    <a:pt x="314" y="87"/>
                    <a:pt x="315" y="86"/>
                    <a:pt x="317" y="85"/>
                  </a:cubicBezTo>
                  <a:cubicBezTo>
                    <a:pt x="316" y="84"/>
                    <a:pt x="316" y="84"/>
                    <a:pt x="316" y="84"/>
                  </a:cubicBezTo>
                  <a:cubicBezTo>
                    <a:pt x="315" y="84"/>
                    <a:pt x="315" y="84"/>
                    <a:pt x="315" y="84"/>
                  </a:cubicBezTo>
                  <a:cubicBezTo>
                    <a:pt x="314" y="84"/>
                    <a:pt x="314" y="84"/>
                    <a:pt x="313" y="84"/>
                  </a:cubicBezTo>
                  <a:cubicBezTo>
                    <a:pt x="310" y="83"/>
                    <a:pt x="310" y="83"/>
                    <a:pt x="310" y="83"/>
                  </a:cubicBezTo>
                  <a:cubicBezTo>
                    <a:pt x="311" y="80"/>
                    <a:pt x="311" y="80"/>
                    <a:pt x="311" y="80"/>
                  </a:cubicBezTo>
                  <a:cubicBezTo>
                    <a:pt x="311" y="80"/>
                    <a:pt x="311" y="79"/>
                    <a:pt x="311" y="79"/>
                  </a:cubicBezTo>
                  <a:cubicBezTo>
                    <a:pt x="311" y="78"/>
                    <a:pt x="311" y="78"/>
                    <a:pt x="311" y="78"/>
                  </a:cubicBezTo>
                  <a:cubicBezTo>
                    <a:pt x="312" y="78"/>
                    <a:pt x="312" y="77"/>
                    <a:pt x="312" y="77"/>
                  </a:cubicBezTo>
                  <a:cubicBezTo>
                    <a:pt x="311" y="77"/>
                    <a:pt x="311" y="77"/>
                    <a:pt x="310" y="76"/>
                  </a:cubicBezTo>
                  <a:cubicBezTo>
                    <a:pt x="310" y="76"/>
                    <a:pt x="310" y="76"/>
                    <a:pt x="310" y="76"/>
                  </a:cubicBezTo>
                  <a:cubicBezTo>
                    <a:pt x="309" y="75"/>
                    <a:pt x="308" y="74"/>
                    <a:pt x="308" y="72"/>
                  </a:cubicBezTo>
                  <a:cubicBezTo>
                    <a:pt x="308" y="71"/>
                    <a:pt x="308" y="70"/>
                    <a:pt x="309" y="69"/>
                  </a:cubicBezTo>
                  <a:cubicBezTo>
                    <a:pt x="309" y="67"/>
                    <a:pt x="311" y="65"/>
                    <a:pt x="311" y="64"/>
                  </a:cubicBezTo>
                  <a:cubicBezTo>
                    <a:pt x="311" y="64"/>
                    <a:pt x="311" y="63"/>
                    <a:pt x="312" y="63"/>
                  </a:cubicBezTo>
                  <a:cubicBezTo>
                    <a:pt x="313" y="62"/>
                    <a:pt x="315" y="61"/>
                    <a:pt x="316" y="61"/>
                  </a:cubicBezTo>
                  <a:cubicBezTo>
                    <a:pt x="319" y="60"/>
                    <a:pt x="322" y="60"/>
                    <a:pt x="326" y="60"/>
                  </a:cubicBezTo>
                  <a:cubicBezTo>
                    <a:pt x="327" y="60"/>
                    <a:pt x="327" y="60"/>
                    <a:pt x="327" y="60"/>
                  </a:cubicBezTo>
                  <a:cubicBezTo>
                    <a:pt x="328" y="60"/>
                    <a:pt x="329" y="60"/>
                    <a:pt x="330" y="60"/>
                  </a:cubicBezTo>
                  <a:cubicBezTo>
                    <a:pt x="330" y="59"/>
                    <a:pt x="331" y="59"/>
                    <a:pt x="332" y="59"/>
                  </a:cubicBezTo>
                  <a:cubicBezTo>
                    <a:pt x="334" y="59"/>
                    <a:pt x="337" y="60"/>
                    <a:pt x="339" y="60"/>
                  </a:cubicBezTo>
                  <a:cubicBezTo>
                    <a:pt x="340" y="61"/>
                    <a:pt x="340" y="61"/>
                    <a:pt x="340" y="61"/>
                  </a:cubicBezTo>
                  <a:cubicBezTo>
                    <a:pt x="341" y="61"/>
                    <a:pt x="341" y="61"/>
                    <a:pt x="342" y="61"/>
                  </a:cubicBezTo>
                  <a:cubicBezTo>
                    <a:pt x="346" y="61"/>
                    <a:pt x="346" y="61"/>
                    <a:pt x="346" y="61"/>
                  </a:cubicBezTo>
                  <a:cubicBezTo>
                    <a:pt x="348" y="62"/>
                    <a:pt x="349" y="63"/>
                    <a:pt x="351" y="63"/>
                  </a:cubicBezTo>
                  <a:cubicBezTo>
                    <a:pt x="351" y="63"/>
                    <a:pt x="351" y="64"/>
                    <a:pt x="352" y="64"/>
                  </a:cubicBezTo>
                  <a:cubicBezTo>
                    <a:pt x="352" y="64"/>
                    <a:pt x="353" y="64"/>
                    <a:pt x="354" y="65"/>
                  </a:cubicBezTo>
                  <a:cubicBezTo>
                    <a:pt x="355" y="65"/>
                    <a:pt x="355" y="65"/>
                    <a:pt x="355" y="65"/>
                  </a:cubicBezTo>
                  <a:cubicBezTo>
                    <a:pt x="356" y="65"/>
                    <a:pt x="357" y="65"/>
                    <a:pt x="358" y="65"/>
                  </a:cubicBezTo>
                  <a:cubicBezTo>
                    <a:pt x="360" y="65"/>
                    <a:pt x="362" y="64"/>
                    <a:pt x="366" y="63"/>
                  </a:cubicBezTo>
                  <a:cubicBezTo>
                    <a:pt x="367" y="62"/>
                    <a:pt x="367" y="62"/>
                    <a:pt x="368" y="62"/>
                  </a:cubicBezTo>
                  <a:cubicBezTo>
                    <a:pt x="369" y="61"/>
                    <a:pt x="369" y="61"/>
                    <a:pt x="370" y="61"/>
                  </a:cubicBezTo>
                  <a:cubicBezTo>
                    <a:pt x="371" y="60"/>
                    <a:pt x="372" y="60"/>
                    <a:pt x="373" y="60"/>
                  </a:cubicBezTo>
                  <a:cubicBezTo>
                    <a:pt x="374" y="60"/>
                    <a:pt x="375" y="60"/>
                    <a:pt x="376" y="59"/>
                  </a:cubicBezTo>
                  <a:cubicBezTo>
                    <a:pt x="376" y="59"/>
                    <a:pt x="376" y="59"/>
                    <a:pt x="376" y="59"/>
                  </a:cubicBezTo>
                  <a:cubicBezTo>
                    <a:pt x="377" y="59"/>
                    <a:pt x="377" y="59"/>
                    <a:pt x="378" y="59"/>
                  </a:cubicBezTo>
                  <a:cubicBezTo>
                    <a:pt x="379" y="59"/>
                    <a:pt x="379" y="59"/>
                    <a:pt x="379" y="59"/>
                  </a:cubicBezTo>
                  <a:cubicBezTo>
                    <a:pt x="380" y="59"/>
                    <a:pt x="381" y="58"/>
                    <a:pt x="383" y="56"/>
                  </a:cubicBezTo>
                  <a:cubicBezTo>
                    <a:pt x="384" y="55"/>
                    <a:pt x="384" y="55"/>
                    <a:pt x="384" y="55"/>
                  </a:cubicBezTo>
                  <a:cubicBezTo>
                    <a:pt x="385" y="53"/>
                    <a:pt x="387" y="51"/>
                    <a:pt x="389" y="49"/>
                  </a:cubicBezTo>
                  <a:cubicBezTo>
                    <a:pt x="394" y="46"/>
                    <a:pt x="394" y="46"/>
                    <a:pt x="394" y="46"/>
                  </a:cubicBezTo>
                  <a:cubicBezTo>
                    <a:pt x="395" y="46"/>
                    <a:pt x="396" y="45"/>
                    <a:pt x="397" y="45"/>
                  </a:cubicBezTo>
                  <a:cubicBezTo>
                    <a:pt x="389" y="45"/>
                    <a:pt x="389" y="45"/>
                    <a:pt x="389" y="45"/>
                  </a:cubicBezTo>
                  <a:cubicBezTo>
                    <a:pt x="396" y="43"/>
                    <a:pt x="396" y="43"/>
                    <a:pt x="396" y="43"/>
                  </a:cubicBezTo>
                  <a:cubicBezTo>
                    <a:pt x="391" y="42"/>
                    <a:pt x="387" y="41"/>
                    <a:pt x="383" y="39"/>
                  </a:cubicBezTo>
                  <a:cubicBezTo>
                    <a:pt x="381" y="38"/>
                    <a:pt x="379" y="37"/>
                    <a:pt x="378" y="36"/>
                  </a:cubicBezTo>
                  <a:cubicBezTo>
                    <a:pt x="378" y="35"/>
                    <a:pt x="377" y="35"/>
                    <a:pt x="377" y="34"/>
                  </a:cubicBezTo>
                  <a:cubicBezTo>
                    <a:pt x="375" y="34"/>
                    <a:pt x="373" y="34"/>
                    <a:pt x="372" y="34"/>
                  </a:cubicBezTo>
                  <a:cubicBezTo>
                    <a:pt x="372" y="35"/>
                    <a:pt x="372" y="35"/>
                    <a:pt x="372" y="35"/>
                  </a:cubicBezTo>
                  <a:cubicBezTo>
                    <a:pt x="371" y="34"/>
                    <a:pt x="371" y="34"/>
                    <a:pt x="371" y="34"/>
                  </a:cubicBezTo>
                  <a:cubicBezTo>
                    <a:pt x="369" y="34"/>
                    <a:pt x="368" y="34"/>
                    <a:pt x="367" y="33"/>
                  </a:cubicBezTo>
                  <a:cubicBezTo>
                    <a:pt x="366" y="33"/>
                    <a:pt x="366" y="32"/>
                    <a:pt x="366" y="32"/>
                  </a:cubicBezTo>
                  <a:cubicBezTo>
                    <a:pt x="365" y="31"/>
                    <a:pt x="365" y="31"/>
                    <a:pt x="365" y="31"/>
                  </a:cubicBezTo>
                  <a:cubicBezTo>
                    <a:pt x="365" y="31"/>
                    <a:pt x="365" y="31"/>
                    <a:pt x="365" y="31"/>
                  </a:cubicBezTo>
                  <a:cubicBezTo>
                    <a:pt x="365" y="30"/>
                    <a:pt x="364" y="30"/>
                    <a:pt x="364" y="29"/>
                  </a:cubicBezTo>
                  <a:cubicBezTo>
                    <a:pt x="361" y="27"/>
                    <a:pt x="361" y="27"/>
                    <a:pt x="361" y="27"/>
                  </a:cubicBezTo>
                  <a:cubicBezTo>
                    <a:pt x="359" y="25"/>
                    <a:pt x="361" y="22"/>
                    <a:pt x="362" y="20"/>
                  </a:cubicBezTo>
                  <a:cubicBezTo>
                    <a:pt x="362" y="20"/>
                    <a:pt x="363" y="19"/>
                    <a:pt x="363" y="19"/>
                  </a:cubicBezTo>
                  <a:cubicBezTo>
                    <a:pt x="363" y="18"/>
                    <a:pt x="363" y="17"/>
                    <a:pt x="362" y="16"/>
                  </a:cubicBezTo>
                  <a:cubicBezTo>
                    <a:pt x="362" y="15"/>
                    <a:pt x="362" y="15"/>
                    <a:pt x="361" y="14"/>
                  </a:cubicBezTo>
                  <a:cubicBezTo>
                    <a:pt x="360" y="11"/>
                    <a:pt x="358" y="10"/>
                    <a:pt x="357" y="9"/>
                  </a:cubicBezTo>
                  <a:cubicBezTo>
                    <a:pt x="356" y="8"/>
                    <a:pt x="355" y="8"/>
                    <a:pt x="355" y="8"/>
                  </a:cubicBezTo>
                  <a:cubicBezTo>
                    <a:pt x="353" y="7"/>
                    <a:pt x="352" y="6"/>
                    <a:pt x="351" y="5"/>
                  </a:cubicBezTo>
                  <a:cubicBezTo>
                    <a:pt x="349" y="4"/>
                    <a:pt x="348" y="3"/>
                    <a:pt x="347" y="3"/>
                  </a:cubicBezTo>
                  <a:cubicBezTo>
                    <a:pt x="345" y="2"/>
                    <a:pt x="343" y="2"/>
                    <a:pt x="341" y="2"/>
                  </a:cubicBezTo>
                  <a:cubicBezTo>
                    <a:pt x="340" y="2"/>
                    <a:pt x="340" y="2"/>
                    <a:pt x="340" y="2"/>
                  </a:cubicBezTo>
                  <a:cubicBezTo>
                    <a:pt x="340" y="2"/>
                    <a:pt x="339" y="2"/>
                    <a:pt x="338" y="2"/>
                  </a:cubicBezTo>
                  <a:cubicBezTo>
                    <a:pt x="338" y="2"/>
                    <a:pt x="338" y="2"/>
                    <a:pt x="337" y="2"/>
                  </a:cubicBezTo>
                  <a:cubicBezTo>
                    <a:pt x="336" y="2"/>
                    <a:pt x="334" y="1"/>
                    <a:pt x="333" y="1"/>
                  </a:cubicBezTo>
                  <a:cubicBezTo>
                    <a:pt x="333" y="0"/>
                    <a:pt x="333" y="0"/>
                    <a:pt x="333" y="0"/>
                  </a:cubicBezTo>
                  <a:cubicBezTo>
                    <a:pt x="333" y="0"/>
                    <a:pt x="333" y="0"/>
                    <a:pt x="333" y="0"/>
                  </a:cubicBezTo>
                  <a:cubicBezTo>
                    <a:pt x="332" y="0"/>
                    <a:pt x="332" y="0"/>
                    <a:pt x="3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504"/>
            <p:cNvSpPr/>
            <p:nvPr/>
          </p:nvSpPr>
          <p:spPr bwMode="auto">
            <a:xfrm>
              <a:off x="3317766" y="2786986"/>
              <a:ext cx="136999" cy="38951"/>
            </a:xfrm>
            <a:custGeom>
              <a:gdLst>
                <a:gd name="T0" fmla="*/ 17 w 43"/>
                <a:gd name="T1" fmla="*/ 0 h 12"/>
                <a:gd name="T2" fmla="*/ 15 w 43"/>
                <a:gd name="T3" fmla="*/ 1 h 12"/>
                <a:gd name="T4" fmla="*/ 13 w 43"/>
                <a:gd name="T5" fmla="*/ 2 h 12"/>
                <a:gd name="T6" fmla="*/ 2 w 43"/>
                <a:gd name="T7" fmla="*/ 11 h 12"/>
                <a:gd name="T8" fmla="*/ 0 w 43"/>
                <a:gd name="T9" fmla="*/ 12 h 12"/>
                <a:gd name="T10" fmla="*/ 1 w 43"/>
                <a:gd name="T11" fmla="*/ 12 h 12"/>
                <a:gd name="T12" fmla="*/ 6 w 43"/>
                <a:gd name="T13" fmla="*/ 12 h 12"/>
                <a:gd name="T14" fmla="*/ 17 w 43"/>
                <a:gd name="T15" fmla="*/ 11 h 12"/>
                <a:gd name="T16" fmla="*/ 18 w 43"/>
                <a:gd name="T17" fmla="*/ 11 h 12"/>
                <a:gd name="T18" fmla="*/ 23 w 43"/>
                <a:gd name="T19" fmla="*/ 10 h 12"/>
                <a:gd name="T20" fmla="*/ 24 w 43"/>
                <a:gd name="T21" fmla="*/ 10 h 12"/>
                <a:gd name="T22" fmla="*/ 26 w 43"/>
                <a:gd name="T23" fmla="*/ 11 h 12"/>
                <a:gd name="T24" fmla="*/ 27 w 43"/>
                <a:gd name="T25" fmla="*/ 11 h 12"/>
                <a:gd name="T26" fmla="*/ 28 w 43"/>
                <a:gd name="T27" fmla="*/ 11 h 12"/>
                <a:gd name="T28" fmla="*/ 29 w 43"/>
                <a:gd name="T29" fmla="*/ 12 h 12"/>
                <a:gd name="T30" fmla="*/ 33 w 43"/>
                <a:gd name="T31" fmla="*/ 12 h 12"/>
                <a:gd name="T32" fmla="*/ 33 w 43"/>
                <a:gd name="T33" fmla="*/ 12 h 12"/>
                <a:gd name="T34" fmla="*/ 34 w 43"/>
                <a:gd name="T35" fmla="*/ 12 h 12"/>
                <a:gd name="T36" fmla="*/ 40 w 43"/>
                <a:gd name="T37" fmla="*/ 9 h 12"/>
                <a:gd name="T38" fmla="*/ 38 w 43"/>
                <a:gd name="T39" fmla="*/ 6 h 12"/>
                <a:gd name="T40" fmla="*/ 40 w 43"/>
                <a:gd name="T41" fmla="*/ 3 h 12"/>
                <a:gd name="T42" fmla="*/ 42 w 43"/>
                <a:gd name="T43" fmla="*/ 2 h 12"/>
                <a:gd name="T44" fmla="*/ 43 w 43"/>
                <a:gd name="T45" fmla="*/ 2 h 12"/>
                <a:gd name="T46" fmla="*/ 41 w 43"/>
                <a:gd name="T47" fmla="*/ 2 h 12"/>
                <a:gd name="T48" fmla="*/ 40 w 43"/>
                <a:gd name="T49" fmla="*/ 2 h 12"/>
                <a:gd name="T50" fmla="*/ 40 w 43"/>
                <a:gd name="T51" fmla="*/ 2 h 12"/>
                <a:gd name="T52" fmla="*/ 38 w 43"/>
                <a:gd name="T53" fmla="*/ 3 h 12"/>
                <a:gd name="T54" fmla="*/ 37 w 43"/>
                <a:gd name="T55" fmla="*/ 4 h 12"/>
                <a:gd name="T56" fmla="*/ 36 w 43"/>
                <a:gd name="T57" fmla="*/ 4 h 12"/>
                <a:gd name="T58" fmla="*/ 36 w 43"/>
                <a:gd name="T59" fmla="*/ 4 h 12"/>
                <a:gd name="T60" fmla="*/ 30 w 43"/>
                <a:gd name="T61" fmla="*/ 6 h 12"/>
                <a:gd name="T62" fmla="*/ 28 w 43"/>
                <a:gd name="T63" fmla="*/ 6 h 12"/>
                <a:gd name="T64" fmla="*/ 24 w 43"/>
                <a:gd name="T65" fmla="*/ 7 h 12"/>
                <a:gd name="T66" fmla="*/ 23 w 43"/>
                <a:gd name="T67" fmla="*/ 7 h 12"/>
                <a:gd name="T68" fmla="*/ 22 w 43"/>
                <a:gd name="T69" fmla="*/ 6 h 12"/>
                <a:gd name="T70" fmla="*/ 21 w 43"/>
                <a:gd name="T71" fmla="*/ 6 h 12"/>
                <a:gd name="T72" fmla="*/ 20 w 43"/>
                <a:gd name="T73" fmla="*/ 2 h 12"/>
                <a:gd name="T74" fmla="*/ 20 w 43"/>
                <a:gd name="T75" fmla="*/ 1 h 12"/>
                <a:gd name="T76" fmla="*/ 17 w 43"/>
                <a:gd name="T77"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12">
                  <a:moveTo>
                    <a:pt x="17" y="0"/>
                  </a:moveTo>
                  <a:cubicBezTo>
                    <a:pt x="16" y="0"/>
                    <a:pt x="15" y="1"/>
                    <a:pt x="15" y="1"/>
                  </a:cubicBezTo>
                  <a:cubicBezTo>
                    <a:pt x="14" y="1"/>
                    <a:pt x="13" y="1"/>
                    <a:pt x="13" y="2"/>
                  </a:cubicBezTo>
                  <a:cubicBezTo>
                    <a:pt x="9" y="4"/>
                    <a:pt x="6" y="7"/>
                    <a:pt x="2" y="11"/>
                  </a:cubicBezTo>
                  <a:cubicBezTo>
                    <a:pt x="2" y="11"/>
                    <a:pt x="1" y="12"/>
                    <a:pt x="0" y="12"/>
                  </a:cubicBezTo>
                  <a:cubicBezTo>
                    <a:pt x="1" y="12"/>
                    <a:pt x="1" y="12"/>
                    <a:pt x="1" y="12"/>
                  </a:cubicBezTo>
                  <a:cubicBezTo>
                    <a:pt x="6" y="12"/>
                    <a:pt x="6" y="12"/>
                    <a:pt x="6" y="12"/>
                  </a:cubicBezTo>
                  <a:cubicBezTo>
                    <a:pt x="10" y="11"/>
                    <a:pt x="13" y="11"/>
                    <a:pt x="17" y="11"/>
                  </a:cubicBezTo>
                  <a:cubicBezTo>
                    <a:pt x="18" y="11"/>
                    <a:pt x="18" y="11"/>
                    <a:pt x="18" y="11"/>
                  </a:cubicBezTo>
                  <a:cubicBezTo>
                    <a:pt x="20" y="11"/>
                    <a:pt x="22" y="10"/>
                    <a:pt x="23" y="10"/>
                  </a:cubicBezTo>
                  <a:cubicBezTo>
                    <a:pt x="24" y="10"/>
                    <a:pt x="24" y="10"/>
                    <a:pt x="24" y="10"/>
                  </a:cubicBezTo>
                  <a:cubicBezTo>
                    <a:pt x="24" y="10"/>
                    <a:pt x="25" y="10"/>
                    <a:pt x="26" y="11"/>
                  </a:cubicBezTo>
                  <a:cubicBezTo>
                    <a:pt x="26" y="11"/>
                    <a:pt x="27" y="11"/>
                    <a:pt x="27" y="11"/>
                  </a:cubicBezTo>
                  <a:cubicBezTo>
                    <a:pt x="28" y="11"/>
                    <a:pt x="28" y="11"/>
                    <a:pt x="28" y="11"/>
                  </a:cubicBezTo>
                  <a:cubicBezTo>
                    <a:pt x="29" y="12"/>
                    <a:pt x="29" y="12"/>
                    <a:pt x="29" y="12"/>
                  </a:cubicBezTo>
                  <a:cubicBezTo>
                    <a:pt x="31" y="12"/>
                    <a:pt x="32" y="12"/>
                    <a:pt x="33" y="12"/>
                  </a:cubicBezTo>
                  <a:cubicBezTo>
                    <a:pt x="33" y="12"/>
                    <a:pt x="33" y="12"/>
                    <a:pt x="33" y="12"/>
                  </a:cubicBezTo>
                  <a:cubicBezTo>
                    <a:pt x="34" y="12"/>
                    <a:pt x="34" y="12"/>
                    <a:pt x="34" y="12"/>
                  </a:cubicBezTo>
                  <a:cubicBezTo>
                    <a:pt x="36" y="11"/>
                    <a:pt x="38" y="10"/>
                    <a:pt x="40" y="9"/>
                  </a:cubicBezTo>
                  <a:cubicBezTo>
                    <a:pt x="39" y="8"/>
                    <a:pt x="38" y="8"/>
                    <a:pt x="38" y="6"/>
                  </a:cubicBezTo>
                  <a:cubicBezTo>
                    <a:pt x="38" y="5"/>
                    <a:pt x="39" y="4"/>
                    <a:pt x="40" y="3"/>
                  </a:cubicBezTo>
                  <a:cubicBezTo>
                    <a:pt x="41" y="3"/>
                    <a:pt x="42" y="2"/>
                    <a:pt x="42" y="2"/>
                  </a:cubicBezTo>
                  <a:cubicBezTo>
                    <a:pt x="43" y="2"/>
                    <a:pt x="43" y="2"/>
                    <a:pt x="43" y="2"/>
                  </a:cubicBezTo>
                  <a:cubicBezTo>
                    <a:pt x="42" y="2"/>
                    <a:pt x="41" y="2"/>
                    <a:pt x="41" y="2"/>
                  </a:cubicBezTo>
                  <a:cubicBezTo>
                    <a:pt x="40" y="2"/>
                    <a:pt x="40" y="2"/>
                    <a:pt x="40" y="2"/>
                  </a:cubicBezTo>
                  <a:cubicBezTo>
                    <a:pt x="40" y="2"/>
                    <a:pt x="40" y="2"/>
                    <a:pt x="40" y="2"/>
                  </a:cubicBezTo>
                  <a:cubicBezTo>
                    <a:pt x="39" y="3"/>
                    <a:pt x="39" y="3"/>
                    <a:pt x="38" y="3"/>
                  </a:cubicBezTo>
                  <a:cubicBezTo>
                    <a:pt x="37" y="4"/>
                    <a:pt x="37" y="4"/>
                    <a:pt x="37" y="4"/>
                  </a:cubicBezTo>
                  <a:cubicBezTo>
                    <a:pt x="37" y="4"/>
                    <a:pt x="37" y="4"/>
                    <a:pt x="36" y="4"/>
                  </a:cubicBezTo>
                  <a:cubicBezTo>
                    <a:pt x="36" y="4"/>
                    <a:pt x="36" y="4"/>
                    <a:pt x="36" y="4"/>
                  </a:cubicBezTo>
                  <a:cubicBezTo>
                    <a:pt x="35" y="4"/>
                    <a:pt x="33" y="5"/>
                    <a:pt x="30" y="6"/>
                  </a:cubicBezTo>
                  <a:cubicBezTo>
                    <a:pt x="30" y="6"/>
                    <a:pt x="29" y="6"/>
                    <a:pt x="28" y="6"/>
                  </a:cubicBezTo>
                  <a:cubicBezTo>
                    <a:pt x="26" y="7"/>
                    <a:pt x="25" y="7"/>
                    <a:pt x="24" y="7"/>
                  </a:cubicBezTo>
                  <a:cubicBezTo>
                    <a:pt x="24" y="7"/>
                    <a:pt x="23" y="7"/>
                    <a:pt x="23" y="7"/>
                  </a:cubicBezTo>
                  <a:cubicBezTo>
                    <a:pt x="22" y="6"/>
                    <a:pt x="22" y="6"/>
                    <a:pt x="22" y="6"/>
                  </a:cubicBezTo>
                  <a:cubicBezTo>
                    <a:pt x="21" y="6"/>
                    <a:pt x="21" y="6"/>
                    <a:pt x="21" y="6"/>
                  </a:cubicBezTo>
                  <a:cubicBezTo>
                    <a:pt x="20" y="4"/>
                    <a:pt x="19" y="3"/>
                    <a:pt x="20" y="2"/>
                  </a:cubicBezTo>
                  <a:cubicBezTo>
                    <a:pt x="20" y="2"/>
                    <a:pt x="20" y="2"/>
                    <a:pt x="20" y="1"/>
                  </a:cubicBezTo>
                  <a:cubicBezTo>
                    <a:pt x="19" y="1"/>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505"/>
            <p:cNvSpPr/>
            <p:nvPr/>
          </p:nvSpPr>
          <p:spPr bwMode="auto">
            <a:xfrm>
              <a:off x="2372206" y="2698340"/>
              <a:ext cx="910639" cy="777670"/>
            </a:xfrm>
            <a:custGeom>
              <a:gdLst>
                <a:gd name="T0" fmla="*/ 242 w 287"/>
                <a:gd name="T1" fmla="*/ 11 h 245"/>
                <a:gd name="T2" fmla="*/ 240 w 287"/>
                <a:gd name="T3" fmla="*/ 23 h 245"/>
                <a:gd name="T4" fmla="*/ 233 w 287"/>
                <a:gd name="T5" fmla="*/ 26 h 245"/>
                <a:gd name="T6" fmla="*/ 221 w 287"/>
                <a:gd name="T7" fmla="*/ 28 h 245"/>
                <a:gd name="T8" fmla="*/ 218 w 287"/>
                <a:gd name="T9" fmla="*/ 37 h 245"/>
                <a:gd name="T10" fmla="*/ 205 w 287"/>
                <a:gd name="T11" fmla="*/ 33 h 245"/>
                <a:gd name="T12" fmla="*/ 193 w 287"/>
                <a:gd name="T13" fmla="*/ 37 h 245"/>
                <a:gd name="T14" fmla="*/ 183 w 287"/>
                <a:gd name="T15" fmla="*/ 43 h 245"/>
                <a:gd name="T16" fmla="*/ 174 w 287"/>
                <a:gd name="T17" fmla="*/ 36 h 245"/>
                <a:gd name="T18" fmla="*/ 164 w 287"/>
                <a:gd name="T19" fmla="*/ 36 h 245"/>
                <a:gd name="T20" fmla="*/ 149 w 287"/>
                <a:gd name="T21" fmla="*/ 32 h 245"/>
                <a:gd name="T22" fmla="*/ 144 w 287"/>
                <a:gd name="T23" fmla="*/ 32 h 245"/>
                <a:gd name="T24" fmla="*/ 132 w 287"/>
                <a:gd name="T25" fmla="*/ 29 h 245"/>
                <a:gd name="T26" fmla="*/ 116 w 287"/>
                <a:gd name="T27" fmla="*/ 35 h 245"/>
                <a:gd name="T28" fmla="*/ 98 w 287"/>
                <a:gd name="T29" fmla="*/ 60 h 245"/>
                <a:gd name="T30" fmla="*/ 67 w 287"/>
                <a:gd name="T31" fmla="*/ 74 h 245"/>
                <a:gd name="T32" fmla="*/ 57 w 287"/>
                <a:gd name="T33" fmla="*/ 88 h 245"/>
                <a:gd name="T34" fmla="*/ 43 w 287"/>
                <a:gd name="T35" fmla="*/ 93 h 245"/>
                <a:gd name="T36" fmla="*/ 34 w 287"/>
                <a:gd name="T37" fmla="*/ 87 h 245"/>
                <a:gd name="T38" fmla="*/ 22 w 287"/>
                <a:gd name="T39" fmla="*/ 83 h 245"/>
                <a:gd name="T40" fmla="*/ 14 w 287"/>
                <a:gd name="T41" fmla="*/ 99 h 245"/>
                <a:gd name="T42" fmla="*/ 10 w 287"/>
                <a:gd name="T43" fmla="*/ 112 h 245"/>
                <a:gd name="T44" fmla="*/ 3 w 287"/>
                <a:gd name="T45" fmla="*/ 132 h 245"/>
                <a:gd name="T46" fmla="*/ 10 w 287"/>
                <a:gd name="T47" fmla="*/ 138 h 245"/>
                <a:gd name="T48" fmla="*/ 8 w 287"/>
                <a:gd name="T49" fmla="*/ 167 h 245"/>
                <a:gd name="T50" fmla="*/ 8 w 287"/>
                <a:gd name="T51" fmla="*/ 182 h 245"/>
                <a:gd name="T52" fmla="*/ 10 w 287"/>
                <a:gd name="T53" fmla="*/ 189 h 245"/>
                <a:gd name="T54" fmla="*/ 31 w 287"/>
                <a:gd name="T55" fmla="*/ 211 h 245"/>
                <a:gd name="T56" fmla="*/ 50 w 287"/>
                <a:gd name="T57" fmla="*/ 244 h 245"/>
                <a:gd name="T58" fmla="*/ 61 w 287"/>
                <a:gd name="T59" fmla="*/ 243 h 245"/>
                <a:gd name="T60" fmla="*/ 76 w 287"/>
                <a:gd name="T61" fmla="*/ 243 h 245"/>
                <a:gd name="T62" fmla="*/ 85 w 287"/>
                <a:gd name="T63" fmla="*/ 245 h 245"/>
                <a:gd name="T64" fmla="*/ 118 w 287"/>
                <a:gd name="T65" fmla="*/ 238 h 245"/>
                <a:gd name="T66" fmla="*/ 137 w 287"/>
                <a:gd name="T67" fmla="*/ 232 h 245"/>
                <a:gd name="T68" fmla="*/ 139 w 287"/>
                <a:gd name="T69" fmla="*/ 208 h 245"/>
                <a:gd name="T70" fmla="*/ 150 w 287"/>
                <a:gd name="T71" fmla="*/ 196 h 245"/>
                <a:gd name="T72" fmla="*/ 157 w 287"/>
                <a:gd name="T73" fmla="*/ 194 h 245"/>
                <a:gd name="T74" fmla="*/ 166 w 287"/>
                <a:gd name="T75" fmla="*/ 196 h 245"/>
                <a:gd name="T76" fmla="*/ 179 w 287"/>
                <a:gd name="T77" fmla="*/ 184 h 245"/>
                <a:gd name="T78" fmla="*/ 189 w 287"/>
                <a:gd name="T79" fmla="*/ 180 h 245"/>
                <a:gd name="T80" fmla="*/ 198 w 287"/>
                <a:gd name="T81" fmla="*/ 181 h 245"/>
                <a:gd name="T82" fmla="*/ 206 w 287"/>
                <a:gd name="T83" fmla="*/ 183 h 245"/>
                <a:gd name="T84" fmla="*/ 211 w 287"/>
                <a:gd name="T85" fmla="*/ 162 h 245"/>
                <a:gd name="T86" fmla="*/ 215 w 287"/>
                <a:gd name="T87" fmla="*/ 155 h 245"/>
                <a:gd name="T88" fmla="*/ 225 w 287"/>
                <a:gd name="T89" fmla="*/ 145 h 245"/>
                <a:gd name="T90" fmla="*/ 230 w 287"/>
                <a:gd name="T91" fmla="*/ 132 h 245"/>
                <a:gd name="T92" fmla="*/ 227 w 287"/>
                <a:gd name="T93" fmla="*/ 119 h 245"/>
                <a:gd name="T94" fmla="*/ 245 w 287"/>
                <a:gd name="T95" fmla="*/ 121 h 245"/>
                <a:gd name="T96" fmla="*/ 256 w 287"/>
                <a:gd name="T97" fmla="*/ 115 h 245"/>
                <a:gd name="T98" fmla="*/ 261 w 287"/>
                <a:gd name="T99" fmla="*/ 96 h 245"/>
                <a:gd name="T100" fmla="*/ 267 w 287"/>
                <a:gd name="T101" fmla="*/ 87 h 245"/>
                <a:gd name="T102" fmla="*/ 265 w 287"/>
                <a:gd name="T103" fmla="*/ 77 h 245"/>
                <a:gd name="T104" fmla="*/ 259 w 287"/>
                <a:gd name="T105" fmla="*/ 68 h 245"/>
                <a:gd name="T106" fmla="*/ 272 w 287"/>
                <a:gd name="T107" fmla="*/ 51 h 245"/>
                <a:gd name="T108" fmla="*/ 287 w 287"/>
                <a:gd name="T109" fmla="*/ 45 h 245"/>
                <a:gd name="T110" fmla="*/ 270 w 287"/>
                <a:gd name="T111" fmla="*/ 50 h 245"/>
                <a:gd name="T112" fmla="*/ 265 w 287"/>
                <a:gd name="T113" fmla="*/ 32 h 245"/>
                <a:gd name="T114" fmla="*/ 262 w 287"/>
                <a:gd name="T115" fmla="*/ 13 h 245"/>
                <a:gd name="T116" fmla="*/ 259 w 287"/>
                <a:gd name="T117" fmla="*/ 4 h 2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7" h="245">
                  <a:moveTo>
                    <a:pt x="255" y="0"/>
                  </a:moveTo>
                  <a:cubicBezTo>
                    <a:pt x="255" y="0"/>
                    <a:pt x="255" y="0"/>
                    <a:pt x="255" y="0"/>
                  </a:cubicBezTo>
                  <a:cubicBezTo>
                    <a:pt x="253" y="0"/>
                    <a:pt x="252" y="0"/>
                    <a:pt x="251" y="1"/>
                  </a:cubicBezTo>
                  <a:cubicBezTo>
                    <a:pt x="249" y="2"/>
                    <a:pt x="248" y="4"/>
                    <a:pt x="246" y="6"/>
                  </a:cubicBezTo>
                  <a:cubicBezTo>
                    <a:pt x="245" y="8"/>
                    <a:pt x="244" y="9"/>
                    <a:pt x="243" y="10"/>
                  </a:cubicBezTo>
                  <a:cubicBezTo>
                    <a:pt x="242" y="11"/>
                    <a:pt x="242" y="11"/>
                    <a:pt x="242" y="11"/>
                  </a:cubicBezTo>
                  <a:cubicBezTo>
                    <a:pt x="241" y="12"/>
                    <a:pt x="239" y="13"/>
                    <a:pt x="238" y="14"/>
                  </a:cubicBezTo>
                  <a:cubicBezTo>
                    <a:pt x="239" y="14"/>
                    <a:pt x="239" y="14"/>
                    <a:pt x="239" y="14"/>
                  </a:cubicBezTo>
                  <a:cubicBezTo>
                    <a:pt x="239" y="14"/>
                    <a:pt x="239" y="14"/>
                    <a:pt x="239" y="14"/>
                  </a:cubicBezTo>
                  <a:cubicBezTo>
                    <a:pt x="240" y="15"/>
                    <a:pt x="240" y="16"/>
                    <a:pt x="241" y="17"/>
                  </a:cubicBezTo>
                  <a:cubicBezTo>
                    <a:pt x="241" y="18"/>
                    <a:pt x="241" y="19"/>
                    <a:pt x="241" y="19"/>
                  </a:cubicBezTo>
                  <a:cubicBezTo>
                    <a:pt x="241" y="21"/>
                    <a:pt x="240" y="22"/>
                    <a:pt x="240" y="23"/>
                  </a:cubicBezTo>
                  <a:cubicBezTo>
                    <a:pt x="239" y="24"/>
                    <a:pt x="238" y="25"/>
                    <a:pt x="237" y="25"/>
                  </a:cubicBezTo>
                  <a:cubicBezTo>
                    <a:pt x="237" y="25"/>
                    <a:pt x="237" y="25"/>
                    <a:pt x="237" y="25"/>
                  </a:cubicBezTo>
                  <a:cubicBezTo>
                    <a:pt x="238" y="31"/>
                    <a:pt x="238" y="31"/>
                    <a:pt x="238" y="31"/>
                  </a:cubicBezTo>
                  <a:cubicBezTo>
                    <a:pt x="235" y="26"/>
                    <a:pt x="235" y="26"/>
                    <a:pt x="235" y="26"/>
                  </a:cubicBezTo>
                  <a:cubicBezTo>
                    <a:pt x="235" y="26"/>
                    <a:pt x="235" y="26"/>
                    <a:pt x="235" y="26"/>
                  </a:cubicBezTo>
                  <a:cubicBezTo>
                    <a:pt x="235" y="26"/>
                    <a:pt x="234" y="26"/>
                    <a:pt x="233" y="26"/>
                  </a:cubicBezTo>
                  <a:cubicBezTo>
                    <a:pt x="233" y="26"/>
                    <a:pt x="233" y="26"/>
                    <a:pt x="233" y="26"/>
                  </a:cubicBezTo>
                  <a:cubicBezTo>
                    <a:pt x="232" y="26"/>
                    <a:pt x="230" y="26"/>
                    <a:pt x="229" y="26"/>
                  </a:cubicBezTo>
                  <a:cubicBezTo>
                    <a:pt x="228" y="25"/>
                    <a:pt x="227" y="25"/>
                    <a:pt x="227" y="25"/>
                  </a:cubicBezTo>
                  <a:cubicBezTo>
                    <a:pt x="226" y="25"/>
                    <a:pt x="223" y="25"/>
                    <a:pt x="222" y="25"/>
                  </a:cubicBezTo>
                  <a:cubicBezTo>
                    <a:pt x="222" y="25"/>
                    <a:pt x="222" y="25"/>
                    <a:pt x="222" y="25"/>
                  </a:cubicBezTo>
                  <a:cubicBezTo>
                    <a:pt x="221" y="26"/>
                    <a:pt x="221" y="26"/>
                    <a:pt x="221" y="28"/>
                  </a:cubicBezTo>
                  <a:cubicBezTo>
                    <a:pt x="220" y="30"/>
                    <a:pt x="220" y="30"/>
                    <a:pt x="220" y="30"/>
                  </a:cubicBezTo>
                  <a:cubicBezTo>
                    <a:pt x="220" y="31"/>
                    <a:pt x="220" y="31"/>
                    <a:pt x="220" y="32"/>
                  </a:cubicBezTo>
                  <a:cubicBezTo>
                    <a:pt x="220" y="32"/>
                    <a:pt x="220" y="33"/>
                    <a:pt x="220" y="33"/>
                  </a:cubicBezTo>
                  <a:cubicBezTo>
                    <a:pt x="219" y="34"/>
                    <a:pt x="219" y="35"/>
                    <a:pt x="218" y="36"/>
                  </a:cubicBezTo>
                  <a:cubicBezTo>
                    <a:pt x="223" y="39"/>
                    <a:pt x="223" y="39"/>
                    <a:pt x="223" y="39"/>
                  </a:cubicBezTo>
                  <a:cubicBezTo>
                    <a:pt x="218" y="37"/>
                    <a:pt x="218" y="37"/>
                    <a:pt x="218" y="37"/>
                  </a:cubicBezTo>
                  <a:cubicBezTo>
                    <a:pt x="217" y="37"/>
                    <a:pt x="216" y="38"/>
                    <a:pt x="215" y="38"/>
                  </a:cubicBezTo>
                  <a:cubicBezTo>
                    <a:pt x="215" y="38"/>
                    <a:pt x="214" y="38"/>
                    <a:pt x="214" y="38"/>
                  </a:cubicBezTo>
                  <a:cubicBezTo>
                    <a:pt x="213" y="38"/>
                    <a:pt x="212" y="38"/>
                    <a:pt x="212" y="38"/>
                  </a:cubicBezTo>
                  <a:cubicBezTo>
                    <a:pt x="210" y="37"/>
                    <a:pt x="209" y="36"/>
                    <a:pt x="208" y="35"/>
                  </a:cubicBezTo>
                  <a:cubicBezTo>
                    <a:pt x="205" y="33"/>
                    <a:pt x="205" y="33"/>
                    <a:pt x="205" y="33"/>
                  </a:cubicBezTo>
                  <a:cubicBezTo>
                    <a:pt x="205" y="33"/>
                    <a:pt x="205" y="33"/>
                    <a:pt x="205" y="33"/>
                  </a:cubicBezTo>
                  <a:cubicBezTo>
                    <a:pt x="205" y="33"/>
                    <a:pt x="204" y="33"/>
                    <a:pt x="204" y="33"/>
                  </a:cubicBezTo>
                  <a:cubicBezTo>
                    <a:pt x="203" y="33"/>
                    <a:pt x="203" y="33"/>
                    <a:pt x="203" y="33"/>
                  </a:cubicBezTo>
                  <a:cubicBezTo>
                    <a:pt x="202" y="34"/>
                    <a:pt x="202" y="34"/>
                    <a:pt x="202" y="34"/>
                  </a:cubicBezTo>
                  <a:cubicBezTo>
                    <a:pt x="202" y="34"/>
                    <a:pt x="201" y="34"/>
                    <a:pt x="200" y="35"/>
                  </a:cubicBezTo>
                  <a:cubicBezTo>
                    <a:pt x="198" y="36"/>
                    <a:pt x="196" y="36"/>
                    <a:pt x="193" y="37"/>
                  </a:cubicBezTo>
                  <a:cubicBezTo>
                    <a:pt x="193" y="37"/>
                    <a:pt x="193" y="37"/>
                    <a:pt x="193" y="37"/>
                  </a:cubicBezTo>
                  <a:cubicBezTo>
                    <a:pt x="193" y="37"/>
                    <a:pt x="192" y="38"/>
                    <a:pt x="192" y="38"/>
                  </a:cubicBezTo>
                  <a:cubicBezTo>
                    <a:pt x="190" y="39"/>
                    <a:pt x="189" y="40"/>
                    <a:pt x="188" y="41"/>
                  </a:cubicBezTo>
                  <a:cubicBezTo>
                    <a:pt x="188" y="41"/>
                    <a:pt x="188" y="41"/>
                    <a:pt x="188" y="41"/>
                  </a:cubicBezTo>
                  <a:cubicBezTo>
                    <a:pt x="189" y="42"/>
                    <a:pt x="189" y="42"/>
                    <a:pt x="189" y="42"/>
                  </a:cubicBezTo>
                  <a:cubicBezTo>
                    <a:pt x="187" y="41"/>
                    <a:pt x="187" y="41"/>
                    <a:pt x="187" y="41"/>
                  </a:cubicBezTo>
                  <a:cubicBezTo>
                    <a:pt x="186" y="42"/>
                    <a:pt x="185" y="43"/>
                    <a:pt x="183" y="43"/>
                  </a:cubicBezTo>
                  <a:cubicBezTo>
                    <a:pt x="182" y="43"/>
                    <a:pt x="182" y="43"/>
                    <a:pt x="182" y="43"/>
                  </a:cubicBezTo>
                  <a:cubicBezTo>
                    <a:pt x="181" y="43"/>
                    <a:pt x="180" y="42"/>
                    <a:pt x="179" y="41"/>
                  </a:cubicBezTo>
                  <a:cubicBezTo>
                    <a:pt x="175" y="39"/>
                    <a:pt x="175" y="39"/>
                    <a:pt x="175" y="39"/>
                  </a:cubicBezTo>
                  <a:cubicBezTo>
                    <a:pt x="175" y="38"/>
                    <a:pt x="174" y="37"/>
                    <a:pt x="174" y="37"/>
                  </a:cubicBezTo>
                  <a:cubicBezTo>
                    <a:pt x="174" y="36"/>
                    <a:pt x="174" y="36"/>
                    <a:pt x="174" y="36"/>
                  </a:cubicBezTo>
                  <a:cubicBezTo>
                    <a:pt x="174" y="36"/>
                    <a:pt x="174" y="36"/>
                    <a:pt x="174" y="36"/>
                  </a:cubicBezTo>
                  <a:cubicBezTo>
                    <a:pt x="173" y="36"/>
                    <a:pt x="173" y="36"/>
                    <a:pt x="173" y="36"/>
                  </a:cubicBezTo>
                  <a:cubicBezTo>
                    <a:pt x="173" y="36"/>
                    <a:pt x="172" y="36"/>
                    <a:pt x="171" y="36"/>
                  </a:cubicBezTo>
                  <a:cubicBezTo>
                    <a:pt x="170" y="36"/>
                    <a:pt x="169" y="36"/>
                    <a:pt x="168" y="36"/>
                  </a:cubicBezTo>
                  <a:cubicBezTo>
                    <a:pt x="168" y="36"/>
                    <a:pt x="168" y="36"/>
                    <a:pt x="168" y="36"/>
                  </a:cubicBezTo>
                  <a:cubicBezTo>
                    <a:pt x="167" y="36"/>
                    <a:pt x="166" y="36"/>
                    <a:pt x="165" y="36"/>
                  </a:cubicBezTo>
                  <a:cubicBezTo>
                    <a:pt x="164" y="36"/>
                    <a:pt x="164" y="36"/>
                    <a:pt x="164" y="36"/>
                  </a:cubicBezTo>
                  <a:cubicBezTo>
                    <a:pt x="162" y="36"/>
                    <a:pt x="161" y="35"/>
                    <a:pt x="160" y="34"/>
                  </a:cubicBezTo>
                  <a:cubicBezTo>
                    <a:pt x="160" y="34"/>
                    <a:pt x="159" y="33"/>
                    <a:pt x="159" y="33"/>
                  </a:cubicBezTo>
                  <a:cubicBezTo>
                    <a:pt x="158" y="32"/>
                    <a:pt x="157" y="32"/>
                    <a:pt x="156" y="31"/>
                  </a:cubicBezTo>
                  <a:cubicBezTo>
                    <a:pt x="155" y="31"/>
                    <a:pt x="154" y="31"/>
                    <a:pt x="153" y="31"/>
                  </a:cubicBezTo>
                  <a:cubicBezTo>
                    <a:pt x="149" y="31"/>
                    <a:pt x="149" y="31"/>
                    <a:pt x="149" y="31"/>
                  </a:cubicBezTo>
                  <a:cubicBezTo>
                    <a:pt x="149" y="32"/>
                    <a:pt x="149" y="32"/>
                    <a:pt x="149" y="32"/>
                  </a:cubicBezTo>
                  <a:cubicBezTo>
                    <a:pt x="147" y="31"/>
                    <a:pt x="147" y="31"/>
                    <a:pt x="147" y="31"/>
                  </a:cubicBezTo>
                  <a:cubicBezTo>
                    <a:pt x="146" y="31"/>
                    <a:pt x="146" y="31"/>
                    <a:pt x="146" y="31"/>
                  </a:cubicBezTo>
                  <a:cubicBezTo>
                    <a:pt x="146" y="32"/>
                    <a:pt x="146" y="32"/>
                    <a:pt x="146" y="32"/>
                  </a:cubicBezTo>
                  <a:cubicBezTo>
                    <a:pt x="145" y="32"/>
                    <a:pt x="145" y="32"/>
                    <a:pt x="145" y="32"/>
                  </a:cubicBezTo>
                  <a:cubicBezTo>
                    <a:pt x="144" y="32"/>
                    <a:pt x="144" y="32"/>
                    <a:pt x="144" y="32"/>
                  </a:cubicBezTo>
                  <a:cubicBezTo>
                    <a:pt x="144" y="32"/>
                    <a:pt x="144" y="32"/>
                    <a:pt x="144" y="32"/>
                  </a:cubicBezTo>
                  <a:cubicBezTo>
                    <a:pt x="143" y="32"/>
                    <a:pt x="142" y="32"/>
                    <a:pt x="141" y="32"/>
                  </a:cubicBezTo>
                  <a:cubicBezTo>
                    <a:pt x="141" y="32"/>
                    <a:pt x="141" y="32"/>
                    <a:pt x="140" y="32"/>
                  </a:cubicBezTo>
                  <a:cubicBezTo>
                    <a:pt x="139" y="32"/>
                    <a:pt x="138" y="31"/>
                    <a:pt x="137" y="31"/>
                  </a:cubicBezTo>
                  <a:cubicBezTo>
                    <a:pt x="136" y="31"/>
                    <a:pt x="136" y="31"/>
                    <a:pt x="136" y="31"/>
                  </a:cubicBezTo>
                  <a:cubicBezTo>
                    <a:pt x="136" y="30"/>
                    <a:pt x="135" y="30"/>
                    <a:pt x="134" y="29"/>
                  </a:cubicBezTo>
                  <a:cubicBezTo>
                    <a:pt x="132" y="29"/>
                    <a:pt x="132" y="29"/>
                    <a:pt x="132" y="29"/>
                  </a:cubicBezTo>
                  <a:cubicBezTo>
                    <a:pt x="131" y="28"/>
                    <a:pt x="131" y="28"/>
                    <a:pt x="130" y="28"/>
                  </a:cubicBezTo>
                  <a:cubicBezTo>
                    <a:pt x="128" y="27"/>
                    <a:pt x="128" y="27"/>
                    <a:pt x="128" y="27"/>
                  </a:cubicBezTo>
                  <a:cubicBezTo>
                    <a:pt x="128" y="27"/>
                    <a:pt x="128" y="27"/>
                    <a:pt x="128" y="27"/>
                  </a:cubicBezTo>
                  <a:cubicBezTo>
                    <a:pt x="126" y="30"/>
                    <a:pt x="124" y="33"/>
                    <a:pt x="122" y="34"/>
                  </a:cubicBezTo>
                  <a:cubicBezTo>
                    <a:pt x="121" y="35"/>
                    <a:pt x="120" y="35"/>
                    <a:pt x="118" y="35"/>
                  </a:cubicBezTo>
                  <a:cubicBezTo>
                    <a:pt x="118" y="35"/>
                    <a:pt x="117" y="35"/>
                    <a:pt x="116" y="35"/>
                  </a:cubicBezTo>
                  <a:cubicBezTo>
                    <a:pt x="116" y="35"/>
                    <a:pt x="116" y="35"/>
                    <a:pt x="116" y="35"/>
                  </a:cubicBezTo>
                  <a:cubicBezTo>
                    <a:pt x="102" y="49"/>
                    <a:pt x="102" y="49"/>
                    <a:pt x="102" y="49"/>
                  </a:cubicBezTo>
                  <a:cubicBezTo>
                    <a:pt x="102" y="49"/>
                    <a:pt x="102" y="49"/>
                    <a:pt x="102" y="49"/>
                  </a:cubicBezTo>
                  <a:cubicBezTo>
                    <a:pt x="102" y="50"/>
                    <a:pt x="102" y="50"/>
                    <a:pt x="102" y="51"/>
                  </a:cubicBezTo>
                  <a:cubicBezTo>
                    <a:pt x="102" y="54"/>
                    <a:pt x="101" y="57"/>
                    <a:pt x="98" y="60"/>
                  </a:cubicBezTo>
                  <a:cubicBezTo>
                    <a:pt x="98" y="60"/>
                    <a:pt x="98" y="60"/>
                    <a:pt x="98" y="60"/>
                  </a:cubicBezTo>
                  <a:cubicBezTo>
                    <a:pt x="95" y="63"/>
                    <a:pt x="92" y="65"/>
                    <a:pt x="89" y="66"/>
                  </a:cubicBezTo>
                  <a:cubicBezTo>
                    <a:pt x="87" y="67"/>
                    <a:pt x="84" y="68"/>
                    <a:pt x="82" y="69"/>
                  </a:cubicBezTo>
                  <a:cubicBezTo>
                    <a:pt x="79" y="70"/>
                    <a:pt x="79" y="70"/>
                    <a:pt x="79" y="70"/>
                  </a:cubicBezTo>
                  <a:cubicBezTo>
                    <a:pt x="77" y="71"/>
                    <a:pt x="75" y="71"/>
                    <a:pt x="73" y="72"/>
                  </a:cubicBezTo>
                  <a:cubicBezTo>
                    <a:pt x="71" y="73"/>
                    <a:pt x="70" y="73"/>
                    <a:pt x="68" y="73"/>
                  </a:cubicBezTo>
                  <a:cubicBezTo>
                    <a:pt x="67" y="74"/>
                    <a:pt x="67" y="74"/>
                    <a:pt x="67" y="74"/>
                  </a:cubicBezTo>
                  <a:cubicBezTo>
                    <a:pt x="67" y="74"/>
                    <a:pt x="67" y="74"/>
                    <a:pt x="67" y="74"/>
                  </a:cubicBezTo>
                  <a:cubicBezTo>
                    <a:pt x="68" y="77"/>
                    <a:pt x="66" y="79"/>
                    <a:pt x="64" y="81"/>
                  </a:cubicBezTo>
                  <a:cubicBezTo>
                    <a:pt x="64" y="82"/>
                    <a:pt x="64" y="82"/>
                    <a:pt x="64" y="82"/>
                  </a:cubicBezTo>
                  <a:cubicBezTo>
                    <a:pt x="63" y="83"/>
                    <a:pt x="60" y="86"/>
                    <a:pt x="58" y="88"/>
                  </a:cubicBezTo>
                  <a:cubicBezTo>
                    <a:pt x="58" y="88"/>
                    <a:pt x="58" y="88"/>
                    <a:pt x="58" y="88"/>
                  </a:cubicBezTo>
                  <a:cubicBezTo>
                    <a:pt x="57" y="88"/>
                    <a:pt x="57" y="88"/>
                    <a:pt x="57" y="88"/>
                  </a:cubicBezTo>
                  <a:cubicBezTo>
                    <a:pt x="56" y="88"/>
                    <a:pt x="56" y="89"/>
                    <a:pt x="55" y="89"/>
                  </a:cubicBezTo>
                  <a:cubicBezTo>
                    <a:pt x="54" y="89"/>
                    <a:pt x="53" y="89"/>
                    <a:pt x="52" y="89"/>
                  </a:cubicBezTo>
                  <a:cubicBezTo>
                    <a:pt x="50" y="89"/>
                    <a:pt x="50" y="89"/>
                    <a:pt x="50" y="89"/>
                  </a:cubicBezTo>
                  <a:cubicBezTo>
                    <a:pt x="49" y="89"/>
                    <a:pt x="47" y="90"/>
                    <a:pt x="46" y="91"/>
                  </a:cubicBezTo>
                  <a:cubicBezTo>
                    <a:pt x="46" y="91"/>
                    <a:pt x="46" y="91"/>
                    <a:pt x="46" y="91"/>
                  </a:cubicBezTo>
                  <a:cubicBezTo>
                    <a:pt x="45" y="92"/>
                    <a:pt x="44" y="93"/>
                    <a:pt x="43" y="93"/>
                  </a:cubicBezTo>
                  <a:cubicBezTo>
                    <a:pt x="42" y="93"/>
                    <a:pt x="42" y="93"/>
                    <a:pt x="42" y="93"/>
                  </a:cubicBezTo>
                  <a:cubicBezTo>
                    <a:pt x="41" y="93"/>
                    <a:pt x="39" y="93"/>
                    <a:pt x="37" y="90"/>
                  </a:cubicBezTo>
                  <a:cubicBezTo>
                    <a:pt x="37" y="90"/>
                    <a:pt x="36" y="90"/>
                    <a:pt x="36" y="89"/>
                  </a:cubicBezTo>
                  <a:cubicBezTo>
                    <a:pt x="35" y="89"/>
                    <a:pt x="35" y="88"/>
                    <a:pt x="35" y="88"/>
                  </a:cubicBezTo>
                  <a:cubicBezTo>
                    <a:pt x="34" y="87"/>
                    <a:pt x="34" y="87"/>
                    <a:pt x="34" y="87"/>
                  </a:cubicBezTo>
                  <a:cubicBezTo>
                    <a:pt x="34" y="87"/>
                    <a:pt x="34" y="87"/>
                    <a:pt x="34" y="87"/>
                  </a:cubicBezTo>
                  <a:cubicBezTo>
                    <a:pt x="33" y="86"/>
                    <a:pt x="33" y="86"/>
                    <a:pt x="33" y="86"/>
                  </a:cubicBezTo>
                  <a:cubicBezTo>
                    <a:pt x="32" y="85"/>
                    <a:pt x="31" y="85"/>
                    <a:pt x="29" y="84"/>
                  </a:cubicBezTo>
                  <a:cubicBezTo>
                    <a:pt x="29" y="84"/>
                    <a:pt x="29" y="84"/>
                    <a:pt x="29" y="84"/>
                  </a:cubicBezTo>
                  <a:cubicBezTo>
                    <a:pt x="29" y="84"/>
                    <a:pt x="28" y="84"/>
                    <a:pt x="27" y="84"/>
                  </a:cubicBezTo>
                  <a:cubicBezTo>
                    <a:pt x="26" y="84"/>
                    <a:pt x="24" y="83"/>
                    <a:pt x="23" y="83"/>
                  </a:cubicBezTo>
                  <a:cubicBezTo>
                    <a:pt x="22" y="83"/>
                    <a:pt x="22" y="83"/>
                    <a:pt x="22" y="83"/>
                  </a:cubicBezTo>
                  <a:cubicBezTo>
                    <a:pt x="21" y="83"/>
                    <a:pt x="21" y="83"/>
                    <a:pt x="21" y="83"/>
                  </a:cubicBezTo>
                  <a:cubicBezTo>
                    <a:pt x="17" y="86"/>
                    <a:pt x="17" y="86"/>
                    <a:pt x="17" y="86"/>
                  </a:cubicBezTo>
                  <a:cubicBezTo>
                    <a:pt x="16" y="93"/>
                    <a:pt x="16" y="93"/>
                    <a:pt x="16" y="93"/>
                  </a:cubicBezTo>
                  <a:cubicBezTo>
                    <a:pt x="15" y="93"/>
                    <a:pt x="15" y="94"/>
                    <a:pt x="15" y="96"/>
                  </a:cubicBezTo>
                  <a:cubicBezTo>
                    <a:pt x="15" y="98"/>
                    <a:pt x="15" y="98"/>
                    <a:pt x="15" y="98"/>
                  </a:cubicBezTo>
                  <a:cubicBezTo>
                    <a:pt x="14" y="99"/>
                    <a:pt x="14" y="99"/>
                    <a:pt x="14" y="99"/>
                  </a:cubicBezTo>
                  <a:cubicBezTo>
                    <a:pt x="14" y="99"/>
                    <a:pt x="14" y="99"/>
                    <a:pt x="14" y="99"/>
                  </a:cubicBezTo>
                  <a:cubicBezTo>
                    <a:pt x="13" y="102"/>
                    <a:pt x="13" y="103"/>
                    <a:pt x="10" y="105"/>
                  </a:cubicBezTo>
                  <a:cubicBezTo>
                    <a:pt x="9" y="106"/>
                    <a:pt x="9" y="106"/>
                    <a:pt x="9" y="106"/>
                  </a:cubicBezTo>
                  <a:cubicBezTo>
                    <a:pt x="8" y="107"/>
                    <a:pt x="8" y="108"/>
                    <a:pt x="7" y="108"/>
                  </a:cubicBezTo>
                  <a:cubicBezTo>
                    <a:pt x="8" y="109"/>
                    <a:pt x="8" y="109"/>
                    <a:pt x="9" y="110"/>
                  </a:cubicBezTo>
                  <a:cubicBezTo>
                    <a:pt x="10" y="112"/>
                    <a:pt x="10" y="112"/>
                    <a:pt x="10" y="112"/>
                  </a:cubicBezTo>
                  <a:cubicBezTo>
                    <a:pt x="1" y="122"/>
                    <a:pt x="1" y="122"/>
                    <a:pt x="1" y="122"/>
                  </a:cubicBezTo>
                  <a:cubicBezTo>
                    <a:pt x="0" y="123"/>
                    <a:pt x="0" y="124"/>
                    <a:pt x="0" y="126"/>
                  </a:cubicBezTo>
                  <a:cubicBezTo>
                    <a:pt x="0" y="127"/>
                    <a:pt x="0" y="128"/>
                    <a:pt x="1" y="129"/>
                  </a:cubicBezTo>
                  <a:cubicBezTo>
                    <a:pt x="1" y="130"/>
                    <a:pt x="1" y="130"/>
                    <a:pt x="1" y="130"/>
                  </a:cubicBezTo>
                  <a:cubicBezTo>
                    <a:pt x="1" y="131"/>
                    <a:pt x="1" y="131"/>
                    <a:pt x="1" y="131"/>
                  </a:cubicBezTo>
                  <a:cubicBezTo>
                    <a:pt x="1" y="131"/>
                    <a:pt x="1" y="131"/>
                    <a:pt x="3" y="132"/>
                  </a:cubicBezTo>
                  <a:cubicBezTo>
                    <a:pt x="3" y="132"/>
                    <a:pt x="3" y="132"/>
                    <a:pt x="3" y="132"/>
                  </a:cubicBezTo>
                  <a:cubicBezTo>
                    <a:pt x="4" y="132"/>
                    <a:pt x="5" y="132"/>
                    <a:pt x="6" y="132"/>
                  </a:cubicBezTo>
                  <a:cubicBezTo>
                    <a:pt x="6" y="132"/>
                    <a:pt x="6" y="132"/>
                    <a:pt x="6" y="132"/>
                  </a:cubicBezTo>
                  <a:cubicBezTo>
                    <a:pt x="7" y="133"/>
                    <a:pt x="8" y="133"/>
                    <a:pt x="9" y="133"/>
                  </a:cubicBezTo>
                  <a:cubicBezTo>
                    <a:pt x="14" y="134"/>
                    <a:pt x="14" y="134"/>
                    <a:pt x="14" y="134"/>
                  </a:cubicBezTo>
                  <a:cubicBezTo>
                    <a:pt x="10" y="138"/>
                    <a:pt x="10" y="138"/>
                    <a:pt x="10" y="138"/>
                  </a:cubicBezTo>
                  <a:cubicBezTo>
                    <a:pt x="10" y="139"/>
                    <a:pt x="9" y="139"/>
                    <a:pt x="8" y="140"/>
                  </a:cubicBezTo>
                  <a:cubicBezTo>
                    <a:pt x="8" y="141"/>
                    <a:pt x="8" y="141"/>
                    <a:pt x="8" y="141"/>
                  </a:cubicBezTo>
                  <a:cubicBezTo>
                    <a:pt x="5" y="144"/>
                    <a:pt x="3" y="146"/>
                    <a:pt x="3" y="146"/>
                  </a:cubicBezTo>
                  <a:cubicBezTo>
                    <a:pt x="7" y="163"/>
                    <a:pt x="7" y="163"/>
                    <a:pt x="7" y="163"/>
                  </a:cubicBezTo>
                  <a:cubicBezTo>
                    <a:pt x="7" y="163"/>
                    <a:pt x="7" y="164"/>
                    <a:pt x="7" y="164"/>
                  </a:cubicBezTo>
                  <a:cubicBezTo>
                    <a:pt x="8" y="167"/>
                    <a:pt x="8" y="167"/>
                    <a:pt x="8" y="167"/>
                  </a:cubicBezTo>
                  <a:cubicBezTo>
                    <a:pt x="8" y="168"/>
                    <a:pt x="9" y="169"/>
                    <a:pt x="9" y="169"/>
                  </a:cubicBezTo>
                  <a:cubicBezTo>
                    <a:pt x="9" y="172"/>
                    <a:pt x="9" y="174"/>
                    <a:pt x="8" y="175"/>
                  </a:cubicBezTo>
                  <a:cubicBezTo>
                    <a:pt x="8" y="177"/>
                    <a:pt x="8" y="178"/>
                    <a:pt x="8" y="179"/>
                  </a:cubicBezTo>
                  <a:cubicBezTo>
                    <a:pt x="8" y="180"/>
                    <a:pt x="8" y="180"/>
                    <a:pt x="8" y="180"/>
                  </a:cubicBezTo>
                  <a:cubicBezTo>
                    <a:pt x="8" y="181"/>
                    <a:pt x="8" y="181"/>
                    <a:pt x="8" y="182"/>
                  </a:cubicBezTo>
                  <a:cubicBezTo>
                    <a:pt x="8" y="182"/>
                    <a:pt x="8" y="182"/>
                    <a:pt x="8" y="182"/>
                  </a:cubicBezTo>
                  <a:cubicBezTo>
                    <a:pt x="13" y="182"/>
                    <a:pt x="13" y="182"/>
                    <a:pt x="13" y="182"/>
                  </a:cubicBezTo>
                  <a:cubicBezTo>
                    <a:pt x="8" y="184"/>
                    <a:pt x="8" y="184"/>
                    <a:pt x="8" y="184"/>
                  </a:cubicBezTo>
                  <a:cubicBezTo>
                    <a:pt x="8" y="184"/>
                    <a:pt x="8" y="184"/>
                    <a:pt x="8" y="184"/>
                  </a:cubicBezTo>
                  <a:cubicBezTo>
                    <a:pt x="8" y="185"/>
                    <a:pt x="8" y="186"/>
                    <a:pt x="8" y="187"/>
                  </a:cubicBezTo>
                  <a:cubicBezTo>
                    <a:pt x="8" y="188"/>
                    <a:pt x="8" y="188"/>
                    <a:pt x="8" y="189"/>
                  </a:cubicBezTo>
                  <a:cubicBezTo>
                    <a:pt x="9" y="189"/>
                    <a:pt x="9" y="189"/>
                    <a:pt x="10" y="189"/>
                  </a:cubicBezTo>
                  <a:cubicBezTo>
                    <a:pt x="23" y="191"/>
                    <a:pt x="23" y="191"/>
                    <a:pt x="23" y="191"/>
                  </a:cubicBezTo>
                  <a:cubicBezTo>
                    <a:pt x="25" y="191"/>
                    <a:pt x="27" y="192"/>
                    <a:pt x="28" y="193"/>
                  </a:cubicBezTo>
                  <a:cubicBezTo>
                    <a:pt x="30" y="197"/>
                    <a:pt x="30" y="197"/>
                    <a:pt x="30" y="197"/>
                  </a:cubicBezTo>
                  <a:cubicBezTo>
                    <a:pt x="31" y="198"/>
                    <a:pt x="31" y="198"/>
                    <a:pt x="31" y="199"/>
                  </a:cubicBezTo>
                  <a:cubicBezTo>
                    <a:pt x="32" y="200"/>
                    <a:pt x="33" y="201"/>
                    <a:pt x="33" y="202"/>
                  </a:cubicBezTo>
                  <a:cubicBezTo>
                    <a:pt x="33" y="205"/>
                    <a:pt x="33" y="208"/>
                    <a:pt x="31" y="211"/>
                  </a:cubicBezTo>
                  <a:cubicBezTo>
                    <a:pt x="29" y="214"/>
                    <a:pt x="27" y="216"/>
                    <a:pt x="26" y="217"/>
                  </a:cubicBezTo>
                  <a:cubicBezTo>
                    <a:pt x="25" y="218"/>
                    <a:pt x="24" y="219"/>
                    <a:pt x="24" y="220"/>
                  </a:cubicBezTo>
                  <a:cubicBezTo>
                    <a:pt x="21" y="223"/>
                    <a:pt x="21" y="223"/>
                    <a:pt x="21" y="223"/>
                  </a:cubicBezTo>
                  <a:cubicBezTo>
                    <a:pt x="20" y="224"/>
                    <a:pt x="18" y="226"/>
                    <a:pt x="17" y="228"/>
                  </a:cubicBezTo>
                  <a:cubicBezTo>
                    <a:pt x="12" y="234"/>
                    <a:pt x="12" y="234"/>
                    <a:pt x="12" y="234"/>
                  </a:cubicBezTo>
                  <a:cubicBezTo>
                    <a:pt x="50" y="244"/>
                    <a:pt x="50" y="244"/>
                    <a:pt x="50" y="244"/>
                  </a:cubicBezTo>
                  <a:cubicBezTo>
                    <a:pt x="50" y="244"/>
                    <a:pt x="50" y="244"/>
                    <a:pt x="51" y="245"/>
                  </a:cubicBezTo>
                  <a:cubicBezTo>
                    <a:pt x="51" y="244"/>
                    <a:pt x="51" y="244"/>
                    <a:pt x="51" y="244"/>
                  </a:cubicBezTo>
                  <a:cubicBezTo>
                    <a:pt x="52" y="244"/>
                    <a:pt x="53" y="244"/>
                    <a:pt x="54" y="244"/>
                  </a:cubicBezTo>
                  <a:cubicBezTo>
                    <a:pt x="54" y="244"/>
                    <a:pt x="54" y="244"/>
                    <a:pt x="54" y="244"/>
                  </a:cubicBezTo>
                  <a:cubicBezTo>
                    <a:pt x="55" y="244"/>
                    <a:pt x="56" y="244"/>
                    <a:pt x="57" y="244"/>
                  </a:cubicBezTo>
                  <a:cubicBezTo>
                    <a:pt x="61" y="243"/>
                    <a:pt x="61" y="243"/>
                    <a:pt x="61" y="243"/>
                  </a:cubicBezTo>
                  <a:cubicBezTo>
                    <a:pt x="61" y="243"/>
                    <a:pt x="61" y="243"/>
                    <a:pt x="61" y="243"/>
                  </a:cubicBezTo>
                  <a:cubicBezTo>
                    <a:pt x="72" y="243"/>
                    <a:pt x="72" y="243"/>
                    <a:pt x="72" y="243"/>
                  </a:cubicBezTo>
                  <a:cubicBezTo>
                    <a:pt x="73" y="243"/>
                    <a:pt x="73" y="243"/>
                    <a:pt x="73" y="243"/>
                  </a:cubicBezTo>
                  <a:cubicBezTo>
                    <a:pt x="74" y="243"/>
                    <a:pt x="75" y="243"/>
                    <a:pt x="75" y="243"/>
                  </a:cubicBezTo>
                  <a:cubicBezTo>
                    <a:pt x="76" y="243"/>
                    <a:pt x="76" y="243"/>
                    <a:pt x="76" y="243"/>
                  </a:cubicBezTo>
                  <a:cubicBezTo>
                    <a:pt x="76" y="243"/>
                    <a:pt x="76" y="243"/>
                    <a:pt x="76" y="243"/>
                  </a:cubicBezTo>
                  <a:cubicBezTo>
                    <a:pt x="77" y="243"/>
                    <a:pt x="77" y="243"/>
                    <a:pt x="77" y="243"/>
                  </a:cubicBezTo>
                  <a:cubicBezTo>
                    <a:pt x="78" y="243"/>
                    <a:pt x="79" y="244"/>
                    <a:pt x="80" y="244"/>
                  </a:cubicBezTo>
                  <a:cubicBezTo>
                    <a:pt x="81" y="244"/>
                    <a:pt x="81" y="244"/>
                    <a:pt x="82" y="244"/>
                  </a:cubicBezTo>
                  <a:cubicBezTo>
                    <a:pt x="83" y="244"/>
                    <a:pt x="83" y="244"/>
                    <a:pt x="83" y="244"/>
                  </a:cubicBezTo>
                  <a:cubicBezTo>
                    <a:pt x="83" y="244"/>
                    <a:pt x="84" y="244"/>
                    <a:pt x="85" y="245"/>
                  </a:cubicBezTo>
                  <a:cubicBezTo>
                    <a:pt x="85" y="245"/>
                    <a:pt x="85" y="245"/>
                    <a:pt x="85" y="245"/>
                  </a:cubicBezTo>
                  <a:cubicBezTo>
                    <a:pt x="86" y="245"/>
                    <a:pt x="88" y="244"/>
                    <a:pt x="90" y="243"/>
                  </a:cubicBezTo>
                  <a:cubicBezTo>
                    <a:pt x="90" y="242"/>
                    <a:pt x="91" y="242"/>
                    <a:pt x="92" y="241"/>
                  </a:cubicBezTo>
                  <a:cubicBezTo>
                    <a:pt x="93" y="241"/>
                    <a:pt x="94" y="240"/>
                    <a:pt x="95" y="240"/>
                  </a:cubicBezTo>
                  <a:cubicBezTo>
                    <a:pt x="99" y="239"/>
                    <a:pt x="102" y="239"/>
                    <a:pt x="105" y="239"/>
                  </a:cubicBezTo>
                  <a:cubicBezTo>
                    <a:pt x="108" y="238"/>
                    <a:pt x="110" y="238"/>
                    <a:pt x="113" y="238"/>
                  </a:cubicBezTo>
                  <a:cubicBezTo>
                    <a:pt x="118" y="238"/>
                    <a:pt x="118" y="238"/>
                    <a:pt x="118" y="238"/>
                  </a:cubicBezTo>
                  <a:cubicBezTo>
                    <a:pt x="118" y="238"/>
                    <a:pt x="119" y="238"/>
                    <a:pt x="119" y="238"/>
                  </a:cubicBezTo>
                  <a:cubicBezTo>
                    <a:pt x="122" y="238"/>
                    <a:pt x="124" y="237"/>
                    <a:pt x="126" y="236"/>
                  </a:cubicBezTo>
                  <a:cubicBezTo>
                    <a:pt x="129" y="236"/>
                    <a:pt x="131" y="235"/>
                    <a:pt x="133" y="234"/>
                  </a:cubicBezTo>
                  <a:cubicBezTo>
                    <a:pt x="136" y="233"/>
                    <a:pt x="136" y="233"/>
                    <a:pt x="136" y="233"/>
                  </a:cubicBezTo>
                  <a:cubicBezTo>
                    <a:pt x="136" y="233"/>
                    <a:pt x="137" y="233"/>
                    <a:pt x="137" y="233"/>
                  </a:cubicBezTo>
                  <a:cubicBezTo>
                    <a:pt x="137" y="232"/>
                    <a:pt x="137" y="232"/>
                    <a:pt x="137" y="232"/>
                  </a:cubicBezTo>
                  <a:cubicBezTo>
                    <a:pt x="135" y="231"/>
                    <a:pt x="136" y="228"/>
                    <a:pt x="136" y="227"/>
                  </a:cubicBezTo>
                  <a:cubicBezTo>
                    <a:pt x="137" y="226"/>
                    <a:pt x="137" y="226"/>
                    <a:pt x="137" y="226"/>
                  </a:cubicBezTo>
                  <a:cubicBezTo>
                    <a:pt x="137" y="225"/>
                    <a:pt x="137" y="224"/>
                    <a:pt x="137" y="223"/>
                  </a:cubicBezTo>
                  <a:cubicBezTo>
                    <a:pt x="137" y="221"/>
                    <a:pt x="137" y="221"/>
                    <a:pt x="137" y="220"/>
                  </a:cubicBezTo>
                  <a:cubicBezTo>
                    <a:pt x="137" y="217"/>
                    <a:pt x="138" y="214"/>
                    <a:pt x="139" y="211"/>
                  </a:cubicBezTo>
                  <a:cubicBezTo>
                    <a:pt x="139" y="208"/>
                    <a:pt x="139" y="208"/>
                    <a:pt x="139" y="208"/>
                  </a:cubicBezTo>
                  <a:cubicBezTo>
                    <a:pt x="139" y="208"/>
                    <a:pt x="139" y="207"/>
                    <a:pt x="140" y="207"/>
                  </a:cubicBezTo>
                  <a:cubicBezTo>
                    <a:pt x="140" y="205"/>
                    <a:pt x="141" y="204"/>
                    <a:pt x="142" y="204"/>
                  </a:cubicBezTo>
                  <a:cubicBezTo>
                    <a:pt x="142" y="203"/>
                    <a:pt x="142" y="203"/>
                    <a:pt x="142" y="203"/>
                  </a:cubicBezTo>
                  <a:cubicBezTo>
                    <a:pt x="143" y="202"/>
                    <a:pt x="144" y="201"/>
                    <a:pt x="146" y="199"/>
                  </a:cubicBezTo>
                  <a:cubicBezTo>
                    <a:pt x="147" y="198"/>
                    <a:pt x="148" y="198"/>
                    <a:pt x="149" y="197"/>
                  </a:cubicBezTo>
                  <a:cubicBezTo>
                    <a:pt x="150" y="196"/>
                    <a:pt x="150" y="196"/>
                    <a:pt x="150" y="196"/>
                  </a:cubicBezTo>
                  <a:cubicBezTo>
                    <a:pt x="150" y="196"/>
                    <a:pt x="151" y="196"/>
                    <a:pt x="151" y="196"/>
                  </a:cubicBezTo>
                  <a:cubicBezTo>
                    <a:pt x="147" y="193"/>
                    <a:pt x="147" y="193"/>
                    <a:pt x="147" y="193"/>
                  </a:cubicBezTo>
                  <a:cubicBezTo>
                    <a:pt x="152" y="195"/>
                    <a:pt x="152" y="195"/>
                    <a:pt x="152" y="195"/>
                  </a:cubicBezTo>
                  <a:cubicBezTo>
                    <a:pt x="152" y="195"/>
                    <a:pt x="152" y="195"/>
                    <a:pt x="152" y="195"/>
                  </a:cubicBezTo>
                  <a:cubicBezTo>
                    <a:pt x="154" y="194"/>
                    <a:pt x="155" y="194"/>
                    <a:pt x="157" y="194"/>
                  </a:cubicBezTo>
                  <a:cubicBezTo>
                    <a:pt x="157" y="194"/>
                    <a:pt x="157" y="194"/>
                    <a:pt x="157" y="194"/>
                  </a:cubicBezTo>
                  <a:cubicBezTo>
                    <a:pt x="158" y="194"/>
                    <a:pt x="158" y="194"/>
                    <a:pt x="159" y="194"/>
                  </a:cubicBezTo>
                  <a:cubicBezTo>
                    <a:pt x="161" y="194"/>
                    <a:pt x="161" y="194"/>
                    <a:pt x="161" y="194"/>
                  </a:cubicBezTo>
                  <a:cubicBezTo>
                    <a:pt x="161" y="194"/>
                    <a:pt x="162" y="195"/>
                    <a:pt x="163" y="195"/>
                  </a:cubicBezTo>
                  <a:cubicBezTo>
                    <a:pt x="163" y="195"/>
                    <a:pt x="163" y="195"/>
                    <a:pt x="163" y="195"/>
                  </a:cubicBezTo>
                  <a:cubicBezTo>
                    <a:pt x="164" y="195"/>
                    <a:pt x="164" y="195"/>
                    <a:pt x="164" y="195"/>
                  </a:cubicBezTo>
                  <a:cubicBezTo>
                    <a:pt x="165" y="196"/>
                    <a:pt x="165" y="196"/>
                    <a:pt x="166" y="196"/>
                  </a:cubicBezTo>
                  <a:cubicBezTo>
                    <a:pt x="167" y="196"/>
                    <a:pt x="167" y="196"/>
                    <a:pt x="167" y="196"/>
                  </a:cubicBezTo>
                  <a:cubicBezTo>
                    <a:pt x="168" y="195"/>
                    <a:pt x="168" y="195"/>
                    <a:pt x="168" y="195"/>
                  </a:cubicBezTo>
                  <a:cubicBezTo>
                    <a:pt x="169" y="195"/>
                    <a:pt x="170" y="195"/>
                    <a:pt x="171" y="194"/>
                  </a:cubicBezTo>
                  <a:cubicBezTo>
                    <a:pt x="164" y="188"/>
                    <a:pt x="164" y="188"/>
                    <a:pt x="164" y="188"/>
                  </a:cubicBezTo>
                  <a:cubicBezTo>
                    <a:pt x="171" y="187"/>
                    <a:pt x="171" y="187"/>
                    <a:pt x="171" y="187"/>
                  </a:cubicBezTo>
                  <a:cubicBezTo>
                    <a:pt x="175" y="187"/>
                    <a:pt x="176" y="186"/>
                    <a:pt x="179" y="184"/>
                  </a:cubicBezTo>
                  <a:cubicBezTo>
                    <a:pt x="180" y="184"/>
                    <a:pt x="180" y="184"/>
                    <a:pt x="180" y="184"/>
                  </a:cubicBezTo>
                  <a:cubicBezTo>
                    <a:pt x="180" y="184"/>
                    <a:pt x="180" y="183"/>
                    <a:pt x="181" y="183"/>
                  </a:cubicBezTo>
                  <a:cubicBezTo>
                    <a:pt x="182" y="183"/>
                    <a:pt x="183" y="182"/>
                    <a:pt x="184" y="182"/>
                  </a:cubicBezTo>
                  <a:cubicBezTo>
                    <a:pt x="184" y="182"/>
                    <a:pt x="185" y="181"/>
                    <a:pt x="185" y="181"/>
                  </a:cubicBezTo>
                  <a:cubicBezTo>
                    <a:pt x="186" y="181"/>
                    <a:pt x="187" y="181"/>
                    <a:pt x="188" y="181"/>
                  </a:cubicBezTo>
                  <a:cubicBezTo>
                    <a:pt x="188" y="180"/>
                    <a:pt x="189" y="180"/>
                    <a:pt x="189" y="180"/>
                  </a:cubicBezTo>
                  <a:cubicBezTo>
                    <a:pt x="190" y="180"/>
                    <a:pt x="190" y="180"/>
                    <a:pt x="190" y="180"/>
                  </a:cubicBezTo>
                  <a:cubicBezTo>
                    <a:pt x="191" y="180"/>
                    <a:pt x="192" y="180"/>
                    <a:pt x="193" y="179"/>
                  </a:cubicBezTo>
                  <a:cubicBezTo>
                    <a:pt x="193" y="179"/>
                    <a:pt x="194" y="179"/>
                    <a:pt x="194" y="179"/>
                  </a:cubicBezTo>
                  <a:cubicBezTo>
                    <a:pt x="195" y="179"/>
                    <a:pt x="195" y="179"/>
                    <a:pt x="196" y="180"/>
                  </a:cubicBezTo>
                  <a:cubicBezTo>
                    <a:pt x="196" y="180"/>
                    <a:pt x="196" y="180"/>
                    <a:pt x="196" y="180"/>
                  </a:cubicBezTo>
                  <a:cubicBezTo>
                    <a:pt x="197" y="180"/>
                    <a:pt x="198" y="180"/>
                    <a:pt x="198" y="181"/>
                  </a:cubicBezTo>
                  <a:cubicBezTo>
                    <a:pt x="199" y="181"/>
                    <a:pt x="199" y="181"/>
                    <a:pt x="199" y="181"/>
                  </a:cubicBezTo>
                  <a:cubicBezTo>
                    <a:pt x="200" y="181"/>
                    <a:pt x="201" y="182"/>
                    <a:pt x="202" y="183"/>
                  </a:cubicBezTo>
                  <a:cubicBezTo>
                    <a:pt x="202" y="183"/>
                    <a:pt x="202" y="183"/>
                    <a:pt x="202" y="183"/>
                  </a:cubicBezTo>
                  <a:cubicBezTo>
                    <a:pt x="203" y="184"/>
                    <a:pt x="203" y="184"/>
                    <a:pt x="204" y="184"/>
                  </a:cubicBezTo>
                  <a:cubicBezTo>
                    <a:pt x="204" y="184"/>
                    <a:pt x="204" y="184"/>
                    <a:pt x="204" y="184"/>
                  </a:cubicBezTo>
                  <a:cubicBezTo>
                    <a:pt x="206" y="183"/>
                    <a:pt x="206" y="183"/>
                    <a:pt x="206" y="183"/>
                  </a:cubicBezTo>
                  <a:cubicBezTo>
                    <a:pt x="207" y="181"/>
                    <a:pt x="209" y="180"/>
                    <a:pt x="211" y="178"/>
                  </a:cubicBezTo>
                  <a:cubicBezTo>
                    <a:pt x="211" y="178"/>
                    <a:pt x="211" y="178"/>
                    <a:pt x="211" y="178"/>
                  </a:cubicBezTo>
                  <a:cubicBezTo>
                    <a:pt x="210" y="170"/>
                    <a:pt x="210" y="170"/>
                    <a:pt x="210" y="170"/>
                  </a:cubicBezTo>
                  <a:cubicBezTo>
                    <a:pt x="210" y="170"/>
                    <a:pt x="210" y="170"/>
                    <a:pt x="210" y="170"/>
                  </a:cubicBezTo>
                  <a:cubicBezTo>
                    <a:pt x="210" y="165"/>
                    <a:pt x="210" y="165"/>
                    <a:pt x="210" y="165"/>
                  </a:cubicBezTo>
                  <a:cubicBezTo>
                    <a:pt x="210" y="164"/>
                    <a:pt x="210" y="163"/>
                    <a:pt x="211" y="162"/>
                  </a:cubicBezTo>
                  <a:cubicBezTo>
                    <a:pt x="211" y="161"/>
                    <a:pt x="211" y="161"/>
                    <a:pt x="211" y="161"/>
                  </a:cubicBezTo>
                  <a:cubicBezTo>
                    <a:pt x="212" y="161"/>
                    <a:pt x="213" y="160"/>
                    <a:pt x="213" y="160"/>
                  </a:cubicBezTo>
                  <a:cubicBezTo>
                    <a:pt x="214" y="159"/>
                    <a:pt x="214" y="159"/>
                    <a:pt x="214" y="159"/>
                  </a:cubicBezTo>
                  <a:cubicBezTo>
                    <a:pt x="214" y="159"/>
                    <a:pt x="214" y="158"/>
                    <a:pt x="214" y="158"/>
                  </a:cubicBezTo>
                  <a:cubicBezTo>
                    <a:pt x="214" y="157"/>
                    <a:pt x="214" y="157"/>
                    <a:pt x="214" y="157"/>
                  </a:cubicBezTo>
                  <a:cubicBezTo>
                    <a:pt x="215" y="156"/>
                    <a:pt x="215" y="156"/>
                    <a:pt x="215" y="155"/>
                  </a:cubicBezTo>
                  <a:cubicBezTo>
                    <a:pt x="216" y="152"/>
                    <a:pt x="216" y="149"/>
                    <a:pt x="218" y="147"/>
                  </a:cubicBezTo>
                  <a:cubicBezTo>
                    <a:pt x="219" y="146"/>
                    <a:pt x="219" y="146"/>
                    <a:pt x="219" y="146"/>
                  </a:cubicBezTo>
                  <a:cubicBezTo>
                    <a:pt x="220" y="145"/>
                    <a:pt x="220" y="145"/>
                    <a:pt x="221" y="145"/>
                  </a:cubicBezTo>
                  <a:cubicBezTo>
                    <a:pt x="222" y="145"/>
                    <a:pt x="222" y="145"/>
                    <a:pt x="222" y="145"/>
                  </a:cubicBezTo>
                  <a:cubicBezTo>
                    <a:pt x="222" y="145"/>
                    <a:pt x="223" y="145"/>
                    <a:pt x="224" y="145"/>
                  </a:cubicBezTo>
                  <a:cubicBezTo>
                    <a:pt x="225" y="145"/>
                    <a:pt x="225" y="145"/>
                    <a:pt x="225" y="145"/>
                  </a:cubicBezTo>
                  <a:cubicBezTo>
                    <a:pt x="226" y="145"/>
                    <a:pt x="227" y="145"/>
                    <a:pt x="228" y="145"/>
                  </a:cubicBezTo>
                  <a:cubicBezTo>
                    <a:pt x="228" y="144"/>
                    <a:pt x="228" y="144"/>
                    <a:pt x="228" y="144"/>
                  </a:cubicBezTo>
                  <a:cubicBezTo>
                    <a:pt x="230" y="144"/>
                    <a:pt x="234" y="142"/>
                    <a:pt x="235" y="140"/>
                  </a:cubicBezTo>
                  <a:cubicBezTo>
                    <a:pt x="235" y="140"/>
                    <a:pt x="235" y="140"/>
                    <a:pt x="235" y="140"/>
                  </a:cubicBezTo>
                  <a:cubicBezTo>
                    <a:pt x="235" y="139"/>
                    <a:pt x="234" y="138"/>
                    <a:pt x="232" y="135"/>
                  </a:cubicBezTo>
                  <a:cubicBezTo>
                    <a:pt x="230" y="132"/>
                    <a:pt x="230" y="132"/>
                    <a:pt x="230" y="132"/>
                  </a:cubicBezTo>
                  <a:cubicBezTo>
                    <a:pt x="230" y="132"/>
                    <a:pt x="230" y="132"/>
                    <a:pt x="230" y="132"/>
                  </a:cubicBezTo>
                  <a:cubicBezTo>
                    <a:pt x="229" y="131"/>
                    <a:pt x="229" y="131"/>
                    <a:pt x="229" y="131"/>
                  </a:cubicBezTo>
                  <a:cubicBezTo>
                    <a:pt x="229" y="130"/>
                    <a:pt x="229" y="130"/>
                    <a:pt x="229" y="130"/>
                  </a:cubicBezTo>
                  <a:cubicBezTo>
                    <a:pt x="226" y="127"/>
                    <a:pt x="226" y="127"/>
                    <a:pt x="226" y="127"/>
                  </a:cubicBezTo>
                  <a:cubicBezTo>
                    <a:pt x="225" y="123"/>
                    <a:pt x="226" y="121"/>
                    <a:pt x="227" y="120"/>
                  </a:cubicBezTo>
                  <a:cubicBezTo>
                    <a:pt x="227" y="119"/>
                    <a:pt x="227" y="119"/>
                    <a:pt x="227" y="119"/>
                  </a:cubicBezTo>
                  <a:cubicBezTo>
                    <a:pt x="229" y="119"/>
                    <a:pt x="230" y="119"/>
                    <a:pt x="231" y="119"/>
                  </a:cubicBezTo>
                  <a:cubicBezTo>
                    <a:pt x="234" y="119"/>
                    <a:pt x="236" y="119"/>
                    <a:pt x="240" y="120"/>
                  </a:cubicBezTo>
                  <a:cubicBezTo>
                    <a:pt x="241" y="120"/>
                    <a:pt x="241" y="120"/>
                    <a:pt x="241" y="120"/>
                  </a:cubicBezTo>
                  <a:cubicBezTo>
                    <a:pt x="241" y="120"/>
                    <a:pt x="242" y="121"/>
                    <a:pt x="242" y="121"/>
                  </a:cubicBezTo>
                  <a:cubicBezTo>
                    <a:pt x="244" y="121"/>
                    <a:pt x="244" y="121"/>
                    <a:pt x="244" y="121"/>
                  </a:cubicBezTo>
                  <a:cubicBezTo>
                    <a:pt x="244" y="121"/>
                    <a:pt x="245" y="121"/>
                    <a:pt x="245" y="121"/>
                  </a:cubicBezTo>
                  <a:cubicBezTo>
                    <a:pt x="246" y="121"/>
                    <a:pt x="246" y="121"/>
                    <a:pt x="247" y="121"/>
                  </a:cubicBezTo>
                  <a:cubicBezTo>
                    <a:pt x="249" y="121"/>
                    <a:pt x="252" y="120"/>
                    <a:pt x="253" y="119"/>
                  </a:cubicBezTo>
                  <a:cubicBezTo>
                    <a:pt x="254" y="118"/>
                    <a:pt x="255" y="118"/>
                    <a:pt x="255" y="117"/>
                  </a:cubicBezTo>
                  <a:cubicBezTo>
                    <a:pt x="256" y="117"/>
                    <a:pt x="256" y="116"/>
                    <a:pt x="256" y="116"/>
                  </a:cubicBezTo>
                  <a:cubicBezTo>
                    <a:pt x="256" y="116"/>
                    <a:pt x="256" y="116"/>
                    <a:pt x="256" y="116"/>
                  </a:cubicBezTo>
                  <a:cubicBezTo>
                    <a:pt x="256" y="115"/>
                    <a:pt x="256" y="115"/>
                    <a:pt x="256" y="115"/>
                  </a:cubicBezTo>
                  <a:cubicBezTo>
                    <a:pt x="256" y="115"/>
                    <a:pt x="256" y="115"/>
                    <a:pt x="256" y="115"/>
                  </a:cubicBezTo>
                  <a:cubicBezTo>
                    <a:pt x="255" y="114"/>
                    <a:pt x="254" y="113"/>
                    <a:pt x="254" y="112"/>
                  </a:cubicBezTo>
                  <a:cubicBezTo>
                    <a:pt x="252" y="109"/>
                    <a:pt x="253" y="106"/>
                    <a:pt x="255" y="103"/>
                  </a:cubicBezTo>
                  <a:cubicBezTo>
                    <a:pt x="255" y="102"/>
                    <a:pt x="256" y="102"/>
                    <a:pt x="258" y="101"/>
                  </a:cubicBezTo>
                  <a:cubicBezTo>
                    <a:pt x="258" y="100"/>
                    <a:pt x="258" y="100"/>
                    <a:pt x="259" y="99"/>
                  </a:cubicBezTo>
                  <a:cubicBezTo>
                    <a:pt x="259" y="98"/>
                    <a:pt x="260" y="97"/>
                    <a:pt x="261" y="96"/>
                  </a:cubicBezTo>
                  <a:cubicBezTo>
                    <a:pt x="263" y="95"/>
                    <a:pt x="264" y="94"/>
                    <a:pt x="265" y="94"/>
                  </a:cubicBezTo>
                  <a:cubicBezTo>
                    <a:pt x="266" y="93"/>
                    <a:pt x="266" y="93"/>
                    <a:pt x="266" y="93"/>
                  </a:cubicBezTo>
                  <a:cubicBezTo>
                    <a:pt x="266" y="93"/>
                    <a:pt x="266" y="93"/>
                    <a:pt x="266" y="92"/>
                  </a:cubicBezTo>
                  <a:cubicBezTo>
                    <a:pt x="266" y="91"/>
                    <a:pt x="267" y="90"/>
                    <a:pt x="268" y="89"/>
                  </a:cubicBezTo>
                  <a:cubicBezTo>
                    <a:pt x="268" y="89"/>
                    <a:pt x="267" y="88"/>
                    <a:pt x="267" y="87"/>
                  </a:cubicBezTo>
                  <a:cubicBezTo>
                    <a:pt x="267" y="87"/>
                    <a:pt x="267" y="87"/>
                    <a:pt x="267" y="87"/>
                  </a:cubicBezTo>
                  <a:cubicBezTo>
                    <a:pt x="267" y="86"/>
                    <a:pt x="267" y="85"/>
                    <a:pt x="267" y="84"/>
                  </a:cubicBezTo>
                  <a:cubicBezTo>
                    <a:pt x="267" y="83"/>
                    <a:pt x="267" y="81"/>
                    <a:pt x="267" y="81"/>
                  </a:cubicBezTo>
                  <a:cubicBezTo>
                    <a:pt x="266" y="79"/>
                    <a:pt x="266" y="79"/>
                    <a:pt x="266" y="79"/>
                  </a:cubicBezTo>
                  <a:cubicBezTo>
                    <a:pt x="266" y="79"/>
                    <a:pt x="266" y="79"/>
                    <a:pt x="266" y="79"/>
                  </a:cubicBezTo>
                  <a:cubicBezTo>
                    <a:pt x="266" y="78"/>
                    <a:pt x="266" y="78"/>
                    <a:pt x="266" y="78"/>
                  </a:cubicBezTo>
                  <a:cubicBezTo>
                    <a:pt x="265" y="77"/>
                    <a:pt x="265" y="77"/>
                    <a:pt x="265" y="77"/>
                  </a:cubicBezTo>
                  <a:cubicBezTo>
                    <a:pt x="264" y="76"/>
                    <a:pt x="264" y="75"/>
                    <a:pt x="264" y="75"/>
                  </a:cubicBezTo>
                  <a:cubicBezTo>
                    <a:pt x="264" y="75"/>
                    <a:pt x="263" y="74"/>
                    <a:pt x="263" y="74"/>
                  </a:cubicBezTo>
                  <a:cubicBezTo>
                    <a:pt x="263" y="74"/>
                    <a:pt x="263" y="74"/>
                    <a:pt x="263" y="74"/>
                  </a:cubicBezTo>
                  <a:cubicBezTo>
                    <a:pt x="262" y="72"/>
                    <a:pt x="261" y="70"/>
                    <a:pt x="260" y="69"/>
                  </a:cubicBezTo>
                  <a:cubicBezTo>
                    <a:pt x="259" y="69"/>
                    <a:pt x="259" y="69"/>
                    <a:pt x="259" y="69"/>
                  </a:cubicBezTo>
                  <a:cubicBezTo>
                    <a:pt x="259" y="68"/>
                    <a:pt x="259" y="68"/>
                    <a:pt x="259" y="68"/>
                  </a:cubicBezTo>
                  <a:cubicBezTo>
                    <a:pt x="256" y="67"/>
                    <a:pt x="256" y="67"/>
                    <a:pt x="256" y="67"/>
                  </a:cubicBezTo>
                  <a:cubicBezTo>
                    <a:pt x="258" y="64"/>
                    <a:pt x="258" y="64"/>
                    <a:pt x="258" y="64"/>
                  </a:cubicBezTo>
                  <a:cubicBezTo>
                    <a:pt x="262" y="59"/>
                    <a:pt x="266" y="55"/>
                    <a:pt x="269" y="52"/>
                  </a:cubicBezTo>
                  <a:cubicBezTo>
                    <a:pt x="270" y="51"/>
                    <a:pt x="270" y="51"/>
                    <a:pt x="270" y="51"/>
                  </a:cubicBezTo>
                  <a:cubicBezTo>
                    <a:pt x="272" y="51"/>
                    <a:pt x="272" y="51"/>
                    <a:pt x="272" y="51"/>
                  </a:cubicBezTo>
                  <a:cubicBezTo>
                    <a:pt x="272" y="51"/>
                    <a:pt x="272" y="51"/>
                    <a:pt x="272" y="51"/>
                  </a:cubicBezTo>
                  <a:cubicBezTo>
                    <a:pt x="273" y="51"/>
                    <a:pt x="273" y="51"/>
                    <a:pt x="274" y="51"/>
                  </a:cubicBezTo>
                  <a:cubicBezTo>
                    <a:pt x="275" y="51"/>
                    <a:pt x="275" y="51"/>
                    <a:pt x="275" y="51"/>
                  </a:cubicBezTo>
                  <a:cubicBezTo>
                    <a:pt x="276" y="52"/>
                    <a:pt x="276" y="52"/>
                    <a:pt x="276" y="52"/>
                  </a:cubicBezTo>
                  <a:cubicBezTo>
                    <a:pt x="277" y="51"/>
                    <a:pt x="279" y="50"/>
                    <a:pt x="280" y="49"/>
                  </a:cubicBezTo>
                  <a:cubicBezTo>
                    <a:pt x="283" y="47"/>
                    <a:pt x="283" y="47"/>
                    <a:pt x="283" y="47"/>
                  </a:cubicBezTo>
                  <a:cubicBezTo>
                    <a:pt x="285" y="46"/>
                    <a:pt x="286" y="45"/>
                    <a:pt x="287" y="45"/>
                  </a:cubicBezTo>
                  <a:cubicBezTo>
                    <a:pt x="286" y="45"/>
                    <a:pt x="286" y="45"/>
                    <a:pt x="286" y="45"/>
                  </a:cubicBezTo>
                  <a:cubicBezTo>
                    <a:pt x="283" y="46"/>
                    <a:pt x="280" y="47"/>
                    <a:pt x="277" y="49"/>
                  </a:cubicBezTo>
                  <a:cubicBezTo>
                    <a:pt x="274" y="50"/>
                    <a:pt x="274" y="50"/>
                    <a:pt x="274" y="50"/>
                  </a:cubicBezTo>
                  <a:cubicBezTo>
                    <a:pt x="274" y="50"/>
                    <a:pt x="273" y="50"/>
                    <a:pt x="273" y="50"/>
                  </a:cubicBezTo>
                  <a:cubicBezTo>
                    <a:pt x="272" y="50"/>
                    <a:pt x="272" y="50"/>
                    <a:pt x="272" y="50"/>
                  </a:cubicBezTo>
                  <a:cubicBezTo>
                    <a:pt x="272" y="50"/>
                    <a:pt x="271" y="50"/>
                    <a:pt x="270" y="50"/>
                  </a:cubicBezTo>
                  <a:cubicBezTo>
                    <a:pt x="268" y="48"/>
                    <a:pt x="267" y="46"/>
                    <a:pt x="266" y="44"/>
                  </a:cubicBezTo>
                  <a:cubicBezTo>
                    <a:pt x="266" y="44"/>
                    <a:pt x="266" y="43"/>
                    <a:pt x="266" y="43"/>
                  </a:cubicBezTo>
                  <a:cubicBezTo>
                    <a:pt x="265" y="42"/>
                    <a:pt x="265" y="42"/>
                    <a:pt x="265" y="42"/>
                  </a:cubicBezTo>
                  <a:cubicBezTo>
                    <a:pt x="264" y="41"/>
                    <a:pt x="264" y="39"/>
                    <a:pt x="264" y="37"/>
                  </a:cubicBezTo>
                  <a:cubicBezTo>
                    <a:pt x="264" y="36"/>
                    <a:pt x="264" y="35"/>
                    <a:pt x="264" y="34"/>
                  </a:cubicBezTo>
                  <a:cubicBezTo>
                    <a:pt x="264" y="33"/>
                    <a:pt x="264" y="32"/>
                    <a:pt x="265" y="32"/>
                  </a:cubicBezTo>
                  <a:cubicBezTo>
                    <a:pt x="265" y="31"/>
                    <a:pt x="265" y="31"/>
                    <a:pt x="265" y="31"/>
                  </a:cubicBezTo>
                  <a:cubicBezTo>
                    <a:pt x="265" y="28"/>
                    <a:pt x="266" y="25"/>
                    <a:pt x="266" y="21"/>
                  </a:cubicBezTo>
                  <a:cubicBezTo>
                    <a:pt x="266" y="18"/>
                    <a:pt x="267" y="16"/>
                    <a:pt x="267" y="14"/>
                  </a:cubicBezTo>
                  <a:cubicBezTo>
                    <a:pt x="266" y="14"/>
                    <a:pt x="265" y="14"/>
                    <a:pt x="264" y="14"/>
                  </a:cubicBezTo>
                  <a:cubicBezTo>
                    <a:pt x="264" y="14"/>
                    <a:pt x="264" y="14"/>
                    <a:pt x="264" y="14"/>
                  </a:cubicBezTo>
                  <a:cubicBezTo>
                    <a:pt x="263" y="13"/>
                    <a:pt x="262" y="13"/>
                    <a:pt x="262" y="13"/>
                  </a:cubicBezTo>
                  <a:cubicBezTo>
                    <a:pt x="258" y="13"/>
                    <a:pt x="258" y="13"/>
                    <a:pt x="258" y="13"/>
                  </a:cubicBezTo>
                  <a:cubicBezTo>
                    <a:pt x="260" y="8"/>
                    <a:pt x="260" y="8"/>
                    <a:pt x="260" y="8"/>
                  </a:cubicBezTo>
                  <a:cubicBezTo>
                    <a:pt x="260" y="7"/>
                    <a:pt x="261" y="7"/>
                    <a:pt x="261" y="7"/>
                  </a:cubicBezTo>
                  <a:cubicBezTo>
                    <a:pt x="260" y="6"/>
                    <a:pt x="260" y="6"/>
                    <a:pt x="260" y="6"/>
                  </a:cubicBezTo>
                  <a:cubicBezTo>
                    <a:pt x="260" y="6"/>
                    <a:pt x="260" y="5"/>
                    <a:pt x="259" y="5"/>
                  </a:cubicBezTo>
                  <a:cubicBezTo>
                    <a:pt x="259" y="4"/>
                    <a:pt x="259" y="4"/>
                    <a:pt x="259" y="4"/>
                  </a:cubicBezTo>
                  <a:cubicBezTo>
                    <a:pt x="254" y="9"/>
                    <a:pt x="254" y="9"/>
                    <a:pt x="254" y="9"/>
                  </a:cubicBezTo>
                  <a:cubicBezTo>
                    <a:pt x="258" y="3"/>
                    <a:pt x="258" y="3"/>
                    <a:pt x="258" y="3"/>
                  </a:cubicBezTo>
                  <a:cubicBezTo>
                    <a:pt x="257" y="2"/>
                    <a:pt x="257" y="1"/>
                    <a:pt x="256" y="1"/>
                  </a:cubicBezTo>
                  <a:cubicBezTo>
                    <a:pt x="256" y="1"/>
                    <a:pt x="255" y="0"/>
                    <a:pt x="25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506"/>
            <p:cNvSpPr>
              <a:spLocks noEditPoints="1"/>
            </p:cNvSpPr>
            <p:nvPr/>
          </p:nvSpPr>
          <p:spPr bwMode="auto">
            <a:xfrm>
              <a:off x="1090864" y="2581488"/>
              <a:ext cx="1478781" cy="1262538"/>
            </a:xfrm>
            <a:custGeom>
              <a:gdLst>
                <a:gd name="T0" fmla="*/ 118 w 466"/>
                <a:gd name="T1" fmla="*/ 258 h 398"/>
                <a:gd name="T2" fmla="*/ 7 w 466"/>
                <a:gd name="T3" fmla="*/ 33 h 398"/>
                <a:gd name="T4" fmla="*/ 12 w 466"/>
                <a:gd name="T5" fmla="*/ 53 h 398"/>
                <a:gd name="T6" fmla="*/ 17 w 466"/>
                <a:gd name="T7" fmla="*/ 71 h 398"/>
                <a:gd name="T8" fmla="*/ 22 w 466"/>
                <a:gd name="T9" fmla="*/ 80 h 398"/>
                <a:gd name="T10" fmla="*/ 28 w 466"/>
                <a:gd name="T11" fmla="*/ 91 h 398"/>
                <a:gd name="T12" fmla="*/ 41 w 466"/>
                <a:gd name="T13" fmla="*/ 106 h 398"/>
                <a:gd name="T14" fmla="*/ 54 w 466"/>
                <a:gd name="T15" fmla="*/ 112 h 398"/>
                <a:gd name="T16" fmla="*/ 52 w 466"/>
                <a:gd name="T17" fmla="*/ 126 h 398"/>
                <a:gd name="T18" fmla="*/ 40 w 466"/>
                <a:gd name="T19" fmla="*/ 145 h 398"/>
                <a:gd name="T20" fmla="*/ 33 w 466"/>
                <a:gd name="T21" fmla="*/ 160 h 398"/>
                <a:gd name="T22" fmla="*/ 41 w 466"/>
                <a:gd name="T23" fmla="*/ 168 h 398"/>
                <a:gd name="T24" fmla="*/ 50 w 466"/>
                <a:gd name="T25" fmla="*/ 185 h 398"/>
                <a:gd name="T26" fmla="*/ 81 w 466"/>
                <a:gd name="T27" fmla="*/ 201 h 398"/>
                <a:gd name="T28" fmla="*/ 92 w 466"/>
                <a:gd name="T29" fmla="*/ 224 h 398"/>
                <a:gd name="T30" fmla="*/ 96 w 466"/>
                <a:gd name="T31" fmla="*/ 240 h 398"/>
                <a:gd name="T32" fmla="*/ 106 w 466"/>
                <a:gd name="T33" fmla="*/ 263 h 398"/>
                <a:gd name="T34" fmla="*/ 123 w 466"/>
                <a:gd name="T35" fmla="*/ 261 h 398"/>
                <a:gd name="T36" fmla="*/ 143 w 466"/>
                <a:gd name="T37" fmla="*/ 265 h 398"/>
                <a:gd name="T38" fmla="*/ 166 w 466"/>
                <a:gd name="T39" fmla="*/ 298 h 398"/>
                <a:gd name="T40" fmla="*/ 187 w 466"/>
                <a:gd name="T41" fmla="*/ 326 h 398"/>
                <a:gd name="T42" fmla="*/ 210 w 466"/>
                <a:gd name="T43" fmla="*/ 340 h 398"/>
                <a:gd name="T44" fmla="*/ 240 w 466"/>
                <a:gd name="T45" fmla="*/ 358 h 398"/>
                <a:gd name="T46" fmla="*/ 289 w 466"/>
                <a:gd name="T47" fmla="*/ 346 h 398"/>
                <a:gd name="T48" fmla="*/ 318 w 466"/>
                <a:gd name="T49" fmla="*/ 367 h 398"/>
                <a:gd name="T50" fmla="*/ 358 w 466"/>
                <a:gd name="T51" fmla="*/ 387 h 398"/>
                <a:gd name="T52" fmla="*/ 389 w 466"/>
                <a:gd name="T53" fmla="*/ 390 h 398"/>
                <a:gd name="T54" fmla="*/ 420 w 466"/>
                <a:gd name="T55" fmla="*/ 398 h 398"/>
                <a:gd name="T56" fmla="*/ 431 w 466"/>
                <a:gd name="T57" fmla="*/ 373 h 398"/>
                <a:gd name="T58" fmla="*/ 464 w 466"/>
                <a:gd name="T59" fmla="*/ 356 h 398"/>
                <a:gd name="T60" fmla="*/ 454 w 466"/>
                <a:gd name="T61" fmla="*/ 341 h 398"/>
                <a:gd name="T62" fmla="*/ 446 w 466"/>
                <a:gd name="T63" fmla="*/ 315 h 398"/>
                <a:gd name="T64" fmla="*/ 403 w 466"/>
                <a:gd name="T65" fmla="*/ 274 h 398"/>
                <a:gd name="T66" fmla="*/ 425 w 466"/>
                <a:gd name="T67" fmla="*/ 250 h 398"/>
                <a:gd name="T68" fmla="*/ 407 w 466"/>
                <a:gd name="T69" fmla="*/ 228 h 398"/>
                <a:gd name="T70" fmla="*/ 406 w 466"/>
                <a:gd name="T71" fmla="*/ 203 h 398"/>
                <a:gd name="T72" fmla="*/ 399 w 466"/>
                <a:gd name="T73" fmla="*/ 167 h 398"/>
                <a:gd name="T74" fmla="*/ 408 w 466"/>
                <a:gd name="T75" fmla="*/ 139 h 398"/>
                <a:gd name="T76" fmla="*/ 419 w 466"/>
                <a:gd name="T77" fmla="*/ 117 h 398"/>
                <a:gd name="T78" fmla="*/ 415 w 466"/>
                <a:gd name="T79" fmla="*/ 95 h 398"/>
                <a:gd name="T80" fmla="*/ 401 w 466"/>
                <a:gd name="T81" fmla="*/ 88 h 398"/>
                <a:gd name="T82" fmla="*/ 387 w 466"/>
                <a:gd name="T83" fmla="*/ 77 h 398"/>
                <a:gd name="T84" fmla="*/ 372 w 466"/>
                <a:gd name="T85" fmla="*/ 64 h 398"/>
                <a:gd name="T86" fmla="*/ 349 w 466"/>
                <a:gd name="T87" fmla="*/ 60 h 398"/>
                <a:gd name="T88" fmla="*/ 326 w 466"/>
                <a:gd name="T89" fmla="*/ 52 h 398"/>
                <a:gd name="T90" fmla="*/ 310 w 466"/>
                <a:gd name="T91" fmla="*/ 42 h 398"/>
                <a:gd name="T92" fmla="*/ 294 w 466"/>
                <a:gd name="T93" fmla="*/ 53 h 398"/>
                <a:gd name="T94" fmla="*/ 232 w 466"/>
                <a:gd name="T95" fmla="*/ 79 h 398"/>
                <a:gd name="T96" fmla="*/ 186 w 466"/>
                <a:gd name="T97" fmla="*/ 86 h 398"/>
                <a:gd name="T98" fmla="*/ 148 w 466"/>
                <a:gd name="T99" fmla="*/ 67 h 398"/>
                <a:gd name="T100" fmla="*/ 115 w 466"/>
                <a:gd name="T101" fmla="*/ 37 h 398"/>
                <a:gd name="T102" fmla="*/ 108 w 466"/>
                <a:gd name="T103" fmla="*/ 38 h 398"/>
                <a:gd name="T104" fmla="*/ 89 w 466"/>
                <a:gd name="T105" fmla="*/ 22 h 398"/>
                <a:gd name="T106" fmla="*/ 87 w 466"/>
                <a:gd name="T107" fmla="*/ 4 h 398"/>
                <a:gd name="T108" fmla="*/ 60 w 466"/>
                <a:gd name="T109" fmla="*/ 24 h 398"/>
                <a:gd name="T110" fmla="*/ 52 w 466"/>
                <a:gd name="T111" fmla="*/ 25 h 398"/>
                <a:gd name="T112" fmla="*/ 13 w 466"/>
                <a:gd name="T113" fmla="*/ 3 h 39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6" h="398">
                  <a:moveTo>
                    <a:pt x="118" y="258"/>
                  </a:moveTo>
                  <a:cubicBezTo>
                    <a:pt x="119" y="257"/>
                    <a:pt x="119" y="256"/>
                    <a:pt x="117" y="255"/>
                  </a:cubicBezTo>
                  <a:cubicBezTo>
                    <a:pt x="118" y="255"/>
                    <a:pt x="119" y="255"/>
                    <a:pt x="120" y="255"/>
                  </a:cubicBezTo>
                  <a:cubicBezTo>
                    <a:pt x="121" y="255"/>
                    <a:pt x="122" y="255"/>
                    <a:pt x="122" y="255"/>
                  </a:cubicBezTo>
                  <a:cubicBezTo>
                    <a:pt x="124" y="255"/>
                    <a:pt x="125" y="256"/>
                    <a:pt x="125" y="257"/>
                  </a:cubicBezTo>
                  <a:cubicBezTo>
                    <a:pt x="124" y="258"/>
                    <a:pt x="124" y="259"/>
                    <a:pt x="123" y="259"/>
                  </a:cubicBezTo>
                  <a:cubicBezTo>
                    <a:pt x="122" y="259"/>
                    <a:pt x="120" y="258"/>
                    <a:pt x="119" y="258"/>
                  </a:cubicBezTo>
                  <a:cubicBezTo>
                    <a:pt x="119" y="258"/>
                    <a:pt x="119" y="258"/>
                    <a:pt x="118" y="258"/>
                  </a:cubicBezTo>
                  <a:cubicBezTo>
                    <a:pt x="118" y="258"/>
                    <a:pt x="118" y="258"/>
                    <a:pt x="118" y="258"/>
                  </a:cubicBezTo>
                  <a:moveTo>
                    <a:pt x="10" y="0"/>
                  </a:moveTo>
                  <a:cubicBezTo>
                    <a:pt x="9" y="0"/>
                    <a:pt x="9" y="0"/>
                    <a:pt x="9" y="0"/>
                  </a:cubicBezTo>
                  <a:cubicBezTo>
                    <a:pt x="10" y="0"/>
                    <a:pt x="10" y="0"/>
                    <a:pt x="10" y="0"/>
                  </a:cubicBezTo>
                  <a:cubicBezTo>
                    <a:pt x="10" y="6"/>
                    <a:pt x="7" y="8"/>
                    <a:pt x="5" y="9"/>
                  </a:cubicBezTo>
                  <a:cubicBezTo>
                    <a:pt x="4" y="10"/>
                    <a:pt x="2" y="10"/>
                    <a:pt x="0" y="10"/>
                  </a:cubicBezTo>
                  <a:cubicBezTo>
                    <a:pt x="0" y="12"/>
                    <a:pt x="0" y="12"/>
                    <a:pt x="0" y="12"/>
                  </a:cubicBezTo>
                  <a:cubicBezTo>
                    <a:pt x="0" y="13"/>
                    <a:pt x="1" y="14"/>
                    <a:pt x="1" y="15"/>
                  </a:cubicBezTo>
                  <a:cubicBezTo>
                    <a:pt x="2" y="17"/>
                    <a:pt x="3" y="19"/>
                    <a:pt x="4" y="21"/>
                  </a:cubicBezTo>
                  <a:cubicBezTo>
                    <a:pt x="6" y="23"/>
                    <a:pt x="7" y="28"/>
                    <a:pt x="7" y="33"/>
                  </a:cubicBezTo>
                  <a:cubicBezTo>
                    <a:pt x="8" y="33"/>
                    <a:pt x="8" y="34"/>
                    <a:pt x="9" y="35"/>
                  </a:cubicBezTo>
                  <a:cubicBezTo>
                    <a:pt x="11" y="38"/>
                    <a:pt x="9" y="42"/>
                    <a:pt x="8" y="43"/>
                  </a:cubicBezTo>
                  <a:cubicBezTo>
                    <a:pt x="7" y="44"/>
                    <a:pt x="5" y="47"/>
                    <a:pt x="5" y="47"/>
                  </a:cubicBezTo>
                  <a:cubicBezTo>
                    <a:pt x="5" y="47"/>
                    <a:pt x="5" y="47"/>
                    <a:pt x="5" y="47"/>
                  </a:cubicBezTo>
                  <a:cubicBezTo>
                    <a:pt x="4" y="47"/>
                    <a:pt x="4" y="47"/>
                    <a:pt x="4" y="47"/>
                  </a:cubicBezTo>
                  <a:cubicBezTo>
                    <a:pt x="5" y="48"/>
                    <a:pt x="6" y="48"/>
                    <a:pt x="7" y="49"/>
                  </a:cubicBezTo>
                  <a:cubicBezTo>
                    <a:pt x="8" y="50"/>
                    <a:pt x="10" y="50"/>
                    <a:pt x="11" y="51"/>
                  </a:cubicBezTo>
                  <a:cubicBezTo>
                    <a:pt x="11" y="51"/>
                    <a:pt x="11" y="52"/>
                    <a:pt x="12" y="52"/>
                  </a:cubicBezTo>
                  <a:cubicBezTo>
                    <a:pt x="12" y="53"/>
                    <a:pt x="12" y="53"/>
                    <a:pt x="12" y="53"/>
                  </a:cubicBezTo>
                  <a:cubicBezTo>
                    <a:pt x="13" y="54"/>
                    <a:pt x="13" y="55"/>
                    <a:pt x="13" y="56"/>
                  </a:cubicBezTo>
                  <a:cubicBezTo>
                    <a:pt x="13" y="57"/>
                    <a:pt x="13" y="58"/>
                    <a:pt x="13" y="58"/>
                  </a:cubicBezTo>
                  <a:cubicBezTo>
                    <a:pt x="13" y="59"/>
                    <a:pt x="13" y="59"/>
                    <a:pt x="13" y="59"/>
                  </a:cubicBezTo>
                  <a:cubicBezTo>
                    <a:pt x="13" y="59"/>
                    <a:pt x="13" y="60"/>
                    <a:pt x="12" y="61"/>
                  </a:cubicBezTo>
                  <a:cubicBezTo>
                    <a:pt x="13" y="61"/>
                    <a:pt x="13" y="61"/>
                    <a:pt x="14" y="62"/>
                  </a:cubicBezTo>
                  <a:cubicBezTo>
                    <a:pt x="15" y="62"/>
                    <a:pt x="17" y="63"/>
                    <a:pt x="18" y="65"/>
                  </a:cubicBezTo>
                  <a:cubicBezTo>
                    <a:pt x="18" y="66"/>
                    <a:pt x="18" y="66"/>
                    <a:pt x="18" y="66"/>
                  </a:cubicBezTo>
                  <a:cubicBezTo>
                    <a:pt x="18" y="68"/>
                    <a:pt x="18" y="69"/>
                    <a:pt x="18" y="71"/>
                  </a:cubicBezTo>
                  <a:cubicBezTo>
                    <a:pt x="17" y="71"/>
                    <a:pt x="17" y="71"/>
                    <a:pt x="17" y="71"/>
                  </a:cubicBezTo>
                  <a:cubicBezTo>
                    <a:pt x="18" y="72"/>
                    <a:pt x="18" y="72"/>
                    <a:pt x="19" y="73"/>
                  </a:cubicBezTo>
                  <a:cubicBezTo>
                    <a:pt x="20" y="76"/>
                    <a:pt x="20" y="76"/>
                    <a:pt x="20" y="77"/>
                  </a:cubicBezTo>
                  <a:cubicBezTo>
                    <a:pt x="20" y="78"/>
                    <a:pt x="20" y="78"/>
                    <a:pt x="20" y="79"/>
                  </a:cubicBezTo>
                  <a:cubicBezTo>
                    <a:pt x="20" y="79"/>
                    <a:pt x="20" y="79"/>
                    <a:pt x="20" y="79"/>
                  </a:cubicBezTo>
                  <a:cubicBezTo>
                    <a:pt x="20" y="79"/>
                    <a:pt x="20" y="79"/>
                    <a:pt x="20" y="79"/>
                  </a:cubicBezTo>
                  <a:cubicBezTo>
                    <a:pt x="21" y="78"/>
                    <a:pt x="21" y="78"/>
                    <a:pt x="21" y="78"/>
                  </a:cubicBezTo>
                  <a:cubicBezTo>
                    <a:pt x="21" y="80"/>
                    <a:pt x="21" y="80"/>
                    <a:pt x="21" y="80"/>
                  </a:cubicBezTo>
                  <a:cubicBezTo>
                    <a:pt x="21" y="80"/>
                    <a:pt x="21" y="80"/>
                    <a:pt x="21" y="80"/>
                  </a:cubicBezTo>
                  <a:cubicBezTo>
                    <a:pt x="22" y="80"/>
                    <a:pt x="22" y="80"/>
                    <a:pt x="22" y="80"/>
                  </a:cubicBezTo>
                  <a:cubicBezTo>
                    <a:pt x="24" y="82"/>
                    <a:pt x="24" y="83"/>
                    <a:pt x="24" y="85"/>
                  </a:cubicBezTo>
                  <a:cubicBezTo>
                    <a:pt x="24" y="85"/>
                    <a:pt x="24" y="86"/>
                    <a:pt x="24" y="87"/>
                  </a:cubicBezTo>
                  <a:cubicBezTo>
                    <a:pt x="24" y="87"/>
                    <a:pt x="24" y="87"/>
                    <a:pt x="24" y="87"/>
                  </a:cubicBezTo>
                  <a:cubicBezTo>
                    <a:pt x="24" y="87"/>
                    <a:pt x="24" y="87"/>
                    <a:pt x="24" y="87"/>
                  </a:cubicBezTo>
                  <a:cubicBezTo>
                    <a:pt x="24" y="88"/>
                    <a:pt x="24" y="88"/>
                    <a:pt x="24" y="88"/>
                  </a:cubicBezTo>
                  <a:cubicBezTo>
                    <a:pt x="25" y="88"/>
                    <a:pt x="27" y="88"/>
                    <a:pt x="28" y="90"/>
                  </a:cubicBezTo>
                  <a:cubicBezTo>
                    <a:pt x="33" y="88"/>
                    <a:pt x="33" y="88"/>
                    <a:pt x="33" y="88"/>
                  </a:cubicBezTo>
                  <a:cubicBezTo>
                    <a:pt x="28" y="91"/>
                    <a:pt x="28" y="91"/>
                    <a:pt x="28" y="91"/>
                  </a:cubicBezTo>
                  <a:cubicBezTo>
                    <a:pt x="28" y="91"/>
                    <a:pt x="28" y="91"/>
                    <a:pt x="28" y="91"/>
                  </a:cubicBezTo>
                  <a:cubicBezTo>
                    <a:pt x="29" y="92"/>
                    <a:pt x="29" y="92"/>
                    <a:pt x="29" y="92"/>
                  </a:cubicBezTo>
                  <a:cubicBezTo>
                    <a:pt x="30" y="94"/>
                    <a:pt x="30" y="97"/>
                    <a:pt x="31" y="99"/>
                  </a:cubicBezTo>
                  <a:cubicBezTo>
                    <a:pt x="31" y="100"/>
                    <a:pt x="31" y="100"/>
                    <a:pt x="31" y="100"/>
                  </a:cubicBezTo>
                  <a:cubicBezTo>
                    <a:pt x="31" y="100"/>
                    <a:pt x="31" y="100"/>
                    <a:pt x="32" y="100"/>
                  </a:cubicBezTo>
                  <a:cubicBezTo>
                    <a:pt x="32" y="100"/>
                    <a:pt x="33" y="100"/>
                    <a:pt x="33" y="100"/>
                  </a:cubicBezTo>
                  <a:cubicBezTo>
                    <a:pt x="34" y="101"/>
                    <a:pt x="35" y="102"/>
                    <a:pt x="36" y="102"/>
                  </a:cubicBezTo>
                  <a:cubicBezTo>
                    <a:pt x="37" y="103"/>
                    <a:pt x="38" y="104"/>
                    <a:pt x="39" y="105"/>
                  </a:cubicBezTo>
                  <a:cubicBezTo>
                    <a:pt x="40" y="105"/>
                    <a:pt x="40" y="105"/>
                    <a:pt x="40" y="105"/>
                  </a:cubicBezTo>
                  <a:cubicBezTo>
                    <a:pt x="40" y="106"/>
                    <a:pt x="40" y="106"/>
                    <a:pt x="41" y="106"/>
                  </a:cubicBezTo>
                  <a:cubicBezTo>
                    <a:pt x="41" y="106"/>
                    <a:pt x="42" y="105"/>
                    <a:pt x="43" y="105"/>
                  </a:cubicBezTo>
                  <a:cubicBezTo>
                    <a:pt x="44" y="105"/>
                    <a:pt x="44" y="105"/>
                    <a:pt x="44" y="105"/>
                  </a:cubicBezTo>
                  <a:cubicBezTo>
                    <a:pt x="45" y="105"/>
                    <a:pt x="45" y="105"/>
                    <a:pt x="45" y="105"/>
                  </a:cubicBezTo>
                  <a:cubicBezTo>
                    <a:pt x="45" y="105"/>
                    <a:pt x="45" y="105"/>
                    <a:pt x="45" y="105"/>
                  </a:cubicBezTo>
                  <a:cubicBezTo>
                    <a:pt x="46" y="105"/>
                    <a:pt x="46" y="105"/>
                    <a:pt x="47" y="105"/>
                  </a:cubicBezTo>
                  <a:cubicBezTo>
                    <a:pt x="48" y="105"/>
                    <a:pt x="49" y="105"/>
                    <a:pt x="50" y="105"/>
                  </a:cubicBezTo>
                  <a:cubicBezTo>
                    <a:pt x="51" y="106"/>
                    <a:pt x="51" y="106"/>
                    <a:pt x="52" y="106"/>
                  </a:cubicBezTo>
                  <a:cubicBezTo>
                    <a:pt x="61" y="109"/>
                    <a:pt x="61" y="109"/>
                    <a:pt x="61" y="109"/>
                  </a:cubicBezTo>
                  <a:cubicBezTo>
                    <a:pt x="54" y="112"/>
                    <a:pt x="54" y="112"/>
                    <a:pt x="54" y="112"/>
                  </a:cubicBezTo>
                  <a:cubicBezTo>
                    <a:pt x="53" y="113"/>
                    <a:pt x="52" y="113"/>
                    <a:pt x="51" y="113"/>
                  </a:cubicBezTo>
                  <a:cubicBezTo>
                    <a:pt x="49" y="114"/>
                    <a:pt x="48" y="114"/>
                    <a:pt x="48" y="114"/>
                  </a:cubicBezTo>
                  <a:cubicBezTo>
                    <a:pt x="48" y="115"/>
                    <a:pt x="48" y="115"/>
                    <a:pt x="48" y="115"/>
                  </a:cubicBezTo>
                  <a:cubicBezTo>
                    <a:pt x="48" y="115"/>
                    <a:pt x="48" y="116"/>
                    <a:pt x="48" y="116"/>
                  </a:cubicBezTo>
                  <a:cubicBezTo>
                    <a:pt x="48" y="117"/>
                    <a:pt x="48" y="117"/>
                    <a:pt x="48" y="117"/>
                  </a:cubicBezTo>
                  <a:cubicBezTo>
                    <a:pt x="48" y="117"/>
                    <a:pt x="48" y="118"/>
                    <a:pt x="48" y="118"/>
                  </a:cubicBezTo>
                  <a:cubicBezTo>
                    <a:pt x="48" y="119"/>
                    <a:pt x="48" y="119"/>
                    <a:pt x="49" y="119"/>
                  </a:cubicBezTo>
                  <a:cubicBezTo>
                    <a:pt x="49" y="120"/>
                    <a:pt x="49" y="120"/>
                    <a:pt x="49" y="120"/>
                  </a:cubicBezTo>
                  <a:cubicBezTo>
                    <a:pt x="50" y="121"/>
                    <a:pt x="52" y="123"/>
                    <a:pt x="52" y="126"/>
                  </a:cubicBezTo>
                  <a:cubicBezTo>
                    <a:pt x="52" y="127"/>
                    <a:pt x="52" y="127"/>
                    <a:pt x="52" y="128"/>
                  </a:cubicBezTo>
                  <a:cubicBezTo>
                    <a:pt x="51" y="129"/>
                    <a:pt x="51" y="129"/>
                    <a:pt x="51" y="129"/>
                  </a:cubicBezTo>
                  <a:cubicBezTo>
                    <a:pt x="51" y="131"/>
                    <a:pt x="51" y="131"/>
                    <a:pt x="51" y="131"/>
                  </a:cubicBezTo>
                  <a:cubicBezTo>
                    <a:pt x="49" y="131"/>
                    <a:pt x="49" y="131"/>
                    <a:pt x="49" y="131"/>
                  </a:cubicBezTo>
                  <a:cubicBezTo>
                    <a:pt x="48" y="132"/>
                    <a:pt x="48" y="132"/>
                    <a:pt x="47" y="132"/>
                  </a:cubicBezTo>
                  <a:cubicBezTo>
                    <a:pt x="45" y="132"/>
                    <a:pt x="44" y="133"/>
                    <a:pt x="44" y="133"/>
                  </a:cubicBezTo>
                  <a:cubicBezTo>
                    <a:pt x="42" y="135"/>
                    <a:pt x="42" y="137"/>
                    <a:pt x="41" y="139"/>
                  </a:cubicBezTo>
                  <a:cubicBezTo>
                    <a:pt x="41" y="142"/>
                    <a:pt x="41" y="142"/>
                    <a:pt x="41" y="142"/>
                  </a:cubicBezTo>
                  <a:cubicBezTo>
                    <a:pt x="41" y="143"/>
                    <a:pt x="40" y="144"/>
                    <a:pt x="40" y="145"/>
                  </a:cubicBezTo>
                  <a:cubicBezTo>
                    <a:pt x="40" y="145"/>
                    <a:pt x="39" y="147"/>
                    <a:pt x="36" y="147"/>
                  </a:cubicBezTo>
                  <a:cubicBezTo>
                    <a:pt x="36" y="147"/>
                    <a:pt x="36" y="147"/>
                    <a:pt x="35" y="147"/>
                  </a:cubicBezTo>
                  <a:cubicBezTo>
                    <a:pt x="35" y="147"/>
                    <a:pt x="35" y="147"/>
                    <a:pt x="35" y="147"/>
                  </a:cubicBezTo>
                  <a:cubicBezTo>
                    <a:pt x="35" y="147"/>
                    <a:pt x="35" y="147"/>
                    <a:pt x="35" y="147"/>
                  </a:cubicBezTo>
                  <a:cubicBezTo>
                    <a:pt x="35" y="147"/>
                    <a:pt x="36" y="148"/>
                    <a:pt x="36" y="148"/>
                  </a:cubicBezTo>
                  <a:cubicBezTo>
                    <a:pt x="37" y="150"/>
                    <a:pt x="37" y="151"/>
                    <a:pt x="37" y="153"/>
                  </a:cubicBezTo>
                  <a:cubicBezTo>
                    <a:pt x="36" y="153"/>
                    <a:pt x="36" y="153"/>
                    <a:pt x="36" y="154"/>
                  </a:cubicBezTo>
                  <a:cubicBezTo>
                    <a:pt x="35" y="155"/>
                    <a:pt x="35" y="155"/>
                    <a:pt x="35" y="155"/>
                  </a:cubicBezTo>
                  <a:cubicBezTo>
                    <a:pt x="35" y="156"/>
                    <a:pt x="34" y="158"/>
                    <a:pt x="33" y="160"/>
                  </a:cubicBezTo>
                  <a:cubicBezTo>
                    <a:pt x="33" y="160"/>
                    <a:pt x="33" y="160"/>
                    <a:pt x="33" y="160"/>
                  </a:cubicBezTo>
                  <a:cubicBezTo>
                    <a:pt x="41" y="160"/>
                    <a:pt x="41" y="160"/>
                    <a:pt x="41" y="160"/>
                  </a:cubicBezTo>
                  <a:cubicBezTo>
                    <a:pt x="37" y="164"/>
                    <a:pt x="37" y="164"/>
                    <a:pt x="37" y="164"/>
                  </a:cubicBezTo>
                  <a:cubicBezTo>
                    <a:pt x="38" y="166"/>
                    <a:pt x="38" y="166"/>
                    <a:pt x="38" y="166"/>
                  </a:cubicBezTo>
                  <a:cubicBezTo>
                    <a:pt x="43" y="161"/>
                    <a:pt x="43" y="161"/>
                    <a:pt x="43" y="161"/>
                  </a:cubicBezTo>
                  <a:cubicBezTo>
                    <a:pt x="39" y="167"/>
                    <a:pt x="39" y="167"/>
                    <a:pt x="39" y="167"/>
                  </a:cubicBezTo>
                  <a:cubicBezTo>
                    <a:pt x="40" y="167"/>
                    <a:pt x="40" y="167"/>
                    <a:pt x="40" y="167"/>
                  </a:cubicBezTo>
                  <a:cubicBezTo>
                    <a:pt x="40" y="167"/>
                    <a:pt x="40" y="167"/>
                    <a:pt x="41" y="168"/>
                  </a:cubicBezTo>
                  <a:cubicBezTo>
                    <a:pt x="41" y="168"/>
                    <a:pt x="41" y="168"/>
                    <a:pt x="41" y="168"/>
                  </a:cubicBezTo>
                  <a:cubicBezTo>
                    <a:pt x="42" y="168"/>
                    <a:pt x="44" y="168"/>
                    <a:pt x="45" y="170"/>
                  </a:cubicBezTo>
                  <a:cubicBezTo>
                    <a:pt x="46" y="170"/>
                    <a:pt x="46" y="171"/>
                    <a:pt x="46" y="171"/>
                  </a:cubicBezTo>
                  <a:cubicBezTo>
                    <a:pt x="46" y="172"/>
                    <a:pt x="46" y="173"/>
                    <a:pt x="46" y="174"/>
                  </a:cubicBezTo>
                  <a:cubicBezTo>
                    <a:pt x="47" y="175"/>
                    <a:pt x="47" y="176"/>
                    <a:pt x="47" y="176"/>
                  </a:cubicBezTo>
                  <a:cubicBezTo>
                    <a:pt x="47" y="177"/>
                    <a:pt x="47" y="178"/>
                    <a:pt x="47" y="179"/>
                  </a:cubicBezTo>
                  <a:cubicBezTo>
                    <a:pt x="47" y="180"/>
                    <a:pt x="47" y="180"/>
                    <a:pt x="47" y="180"/>
                  </a:cubicBezTo>
                  <a:cubicBezTo>
                    <a:pt x="48" y="181"/>
                    <a:pt x="48" y="183"/>
                    <a:pt x="48" y="184"/>
                  </a:cubicBezTo>
                  <a:cubicBezTo>
                    <a:pt x="49" y="185"/>
                    <a:pt x="49" y="185"/>
                    <a:pt x="49" y="185"/>
                  </a:cubicBezTo>
                  <a:cubicBezTo>
                    <a:pt x="50" y="185"/>
                    <a:pt x="50" y="185"/>
                    <a:pt x="50" y="185"/>
                  </a:cubicBezTo>
                  <a:cubicBezTo>
                    <a:pt x="50" y="185"/>
                    <a:pt x="51" y="185"/>
                    <a:pt x="52" y="185"/>
                  </a:cubicBezTo>
                  <a:cubicBezTo>
                    <a:pt x="53" y="185"/>
                    <a:pt x="54" y="186"/>
                    <a:pt x="56" y="186"/>
                  </a:cubicBezTo>
                  <a:cubicBezTo>
                    <a:pt x="58" y="187"/>
                    <a:pt x="60" y="188"/>
                    <a:pt x="61" y="189"/>
                  </a:cubicBezTo>
                  <a:cubicBezTo>
                    <a:pt x="72" y="198"/>
                    <a:pt x="72" y="198"/>
                    <a:pt x="72" y="198"/>
                  </a:cubicBezTo>
                  <a:cubicBezTo>
                    <a:pt x="73" y="198"/>
                    <a:pt x="73" y="198"/>
                    <a:pt x="73" y="198"/>
                  </a:cubicBezTo>
                  <a:cubicBezTo>
                    <a:pt x="73" y="198"/>
                    <a:pt x="73" y="198"/>
                    <a:pt x="73" y="198"/>
                  </a:cubicBezTo>
                  <a:cubicBezTo>
                    <a:pt x="73" y="198"/>
                    <a:pt x="74" y="198"/>
                    <a:pt x="75" y="198"/>
                  </a:cubicBezTo>
                  <a:cubicBezTo>
                    <a:pt x="75" y="198"/>
                    <a:pt x="76" y="198"/>
                    <a:pt x="77" y="198"/>
                  </a:cubicBezTo>
                  <a:cubicBezTo>
                    <a:pt x="78" y="198"/>
                    <a:pt x="80" y="199"/>
                    <a:pt x="81" y="201"/>
                  </a:cubicBezTo>
                  <a:cubicBezTo>
                    <a:pt x="83" y="203"/>
                    <a:pt x="84" y="205"/>
                    <a:pt x="85" y="207"/>
                  </a:cubicBezTo>
                  <a:cubicBezTo>
                    <a:pt x="86" y="209"/>
                    <a:pt x="86" y="209"/>
                    <a:pt x="86" y="209"/>
                  </a:cubicBezTo>
                  <a:cubicBezTo>
                    <a:pt x="87" y="210"/>
                    <a:pt x="88" y="211"/>
                    <a:pt x="89" y="213"/>
                  </a:cubicBezTo>
                  <a:cubicBezTo>
                    <a:pt x="92" y="216"/>
                    <a:pt x="93" y="218"/>
                    <a:pt x="93" y="220"/>
                  </a:cubicBezTo>
                  <a:cubicBezTo>
                    <a:pt x="93" y="221"/>
                    <a:pt x="93" y="221"/>
                    <a:pt x="93" y="221"/>
                  </a:cubicBezTo>
                  <a:cubicBezTo>
                    <a:pt x="93" y="221"/>
                    <a:pt x="93" y="221"/>
                    <a:pt x="93" y="221"/>
                  </a:cubicBezTo>
                  <a:cubicBezTo>
                    <a:pt x="93" y="221"/>
                    <a:pt x="93" y="222"/>
                    <a:pt x="93" y="223"/>
                  </a:cubicBezTo>
                  <a:cubicBezTo>
                    <a:pt x="93" y="223"/>
                    <a:pt x="93" y="223"/>
                    <a:pt x="93" y="223"/>
                  </a:cubicBezTo>
                  <a:cubicBezTo>
                    <a:pt x="92" y="224"/>
                    <a:pt x="92" y="224"/>
                    <a:pt x="92" y="224"/>
                  </a:cubicBezTo>
                  <a:cubicBezTo>
                    <a:pt x="92" y="226"/>
                    <a:pt x="91" y="227"/>
                    <a:pt x="90" y="228"/>
                  </a:cubicBezTo>
                  <a:cubicBezTo>
                    <a:pt x="90" y="228"/>
                    <a:pt x="90" y="228"/>
                    <a:pt x="90" y="228"/>
                  </a:cubicBezTo>
                  <a:cubicBezTo>
                    <a:pt x="90" y="229"/>
                    <a:pt x="90" y="229"/>
                    <a:pt x="90" y="229"/>
                  </a:cubicBezTo>
                  <a:cubicBezTo>
                    <a:pt x="90" y="231"/>
                    <a:pt x="89" y="232"/>
                    <a:pt x="89" y="234"/>
                  </a:cubicBezTo>
                  <a:cubicBezTo>
                    <a:pt x="89" y="235"/>
                    <a:pt x="89" y="237"/>
                    <a:pt x="89" y="238"/>
                  </a:cubicBezTo>
                  <a:cubicBezTo>
                    <a:pt x="90" y="238"/>
                    <a:pt x="91" y="238"/>
                    <a:pt x="91" y="238"/>
                  </a:cubicBezTo>
                  <a:cubicBezTo>
                    <a:pt x="93" y="238"/>
                    <a:pt x="94" y="239"/>
                    <a:pt x="95" y="239"/>
                  </a:cubicBezTo>
                  <a:cubicBezTo>
                    <a:pt x="95" y="239"/>
                    <a:pt x="95" y="239"/>
                    <a:pt x="95" y="239"/>
                  </a:cubicBezTo>
                  <a:cubicBezTo>
                    <a:pt x="96" y="240"/>
                    <a:pt x="96" y="240"/>
                    <a:pt x="96" y="240"/>
                  </a:cubicBezTo>
                  <a:cubicBezTo>
                    <a:pt x="97" y="241"/>
                    <a:pt x="97" y="242"/>
                    <a:pt x="97" y="242"/>
                  </a:cubicBezTo>
                  <a:cubicBezTo>
                    <a:pt x="97" y="243"/>
                    <a:pt x="98" y="243"/>
                    <a:pt x="98" y="244"/>
                  </a:cubicBezTo>
                  <a:cubicBezTo>
                    <a:pt x="98" y="246"/>
                    <a:pt x="98" y="249"/>
                    <a:pt x="98" y="251"/>
                  </a:cubicBezTo>
                  <a:cubicBezTo>
                    <a:pt x="97" y="252"/>
                    <a:pt x="97" y="253"/>
                    <a:pt x="97" y="254"/>
                  </a:cubicBezTo>
                  <a:cubicBezTo>
                    <a:pt x="97" y="254"/>
                    <a:pt x="98" y="254"/>
                    <a:pt x="98" y="254"/>
                  </a:cubicBezTo>
                  <a:cubicBezTo>
                    <a:pt x="99" y="255"/>
                    <a:pt x="100" y="256"/>
                    <a:pt x="101" y="257"/>
                  </a:cubicBezTo>
                  <a:cubicBezTo>
                    <a:pt x="103" y="258"/>
                    <a:pt x="104" y="259"/>
                    <a:pt x="105" y="260"/>
                  </a:cubicBezTo>
                  <a:cubicBezTo>
                    <a:pt x="105" y="261"/>
                    <a:pt x="106" y="261"/>
                    <a:pt x="106" y="262"/>
                  </a:cubicBezTo>
                  <a:cubicBezTo>
                    <a:pt x="106" y="263"/>
                    <a:pt x="106" y="263"/>
                    <a:pt x="106" y="263"/>
                  </a:cubicBezTo>
                  <a:cubicBezTo>
                    <a:pt x="107" y="263"/>
                    <a:pt x="108" y="265"/>
                    <a:pt x="111" y="267"/>
                  </a:cubicBezTo>
                  <a:cubicBezTo>
                    <a:pt x="113" y="269"/>
                    <a:pt x="113" y="269"/>
                    <a:pt x="113" y="269"/>
                  </a:cubicBezTo>
                  <a:cubicBezTo>
                    <a:pt x="115" y="268"/>
                    <a:pt x="116" y="268"/>
                    <a:pt x="116" y="267"/>
                  </a:cubicBezTo>
                  <a:cubicBezTo>
                    <a:pt x="117" y="267"/>
                    <a:pt x="117" y="264"/>
                    <a:pt x="117" y="264"/>
                  </a:cubicBezTo>
                  <a:cubicBezTo>
                    <a:pt x="116" y="263"/>
                    <a:pt x="116" y="262"/>
                    <a:pt x="116" y="262"/>
                  </a:cubicBezTo>
                  <a:cubicBezTo>
                    <a:pt x="115" y="261"/>
                    <a:pt x="115" y="260"/>
                    <a:pt x="115" y="260"/>
                  </a:cubicBezTo>
                  <a:cubicBezTo>
                    <a:pt x="116" y="259"/>
                    <a:pt x="117" y="259"/>
                    <a:pt x="118" y="259"/>
                  </a:cubicBezTo>
                  <a:cubicBezTo>
                    <a:pt x="118" y="259"/>
                    <a:pt x="118" y="259"/>
                    <a:pt x="118" y="259"/>
                  </a:cubicBezTo>
                  <a:cubicBezTo>
                    <a:pt x="120" y="259"/>
                    <a:pt x="121" y="260"/>
                    <a:pt x="123" y="261"/>
                  </a:cubicBezTo>
                  <a:cubicBezTo>
                    <a:pt x="124" y="262"/>
                    <a:pt x="124" y="262"/>
                    <a:pt x="125" y="262"/>
                  </a:cubicBezTo>
                  <a:cubicBezTo>
                    <a:pt x="127" y="263"/>
                    <a:pt x="129" y="264"/>
                    <a:pt x="130" y="266"/>
                  </a:cubicBezTo>
                  <a:cubicBezTo>
                    <a:pt x="131" y="266"/>
                    <a:pt x="131" y="267"/>
                    <a:pt x="131" y="267"/>
                  </a:cubicBezTo>
                  <a:cubicBezTo>
                    <a:pt x="132" y="268"/>
                    <a:pt x="132" y="268"/>
                    <a:pt x="132" y="268"/>
                  </a:cubicBezTo>
                  <a:cubicBezTo>
                    <a:pt x="132" y="268"/>
                    <a:pt x="132" y="268"/>
                    <a:pt x="133" y="268"/>
                  </a:cubicBezTo>
                  <a:cubicBezTo>
                    <a:pt x="134" y="268"/>
                    <a:pt x="135" y="267"/>
                    <a:pt x="136" y="266"/>
                  </a:cubicBezTo>
                  <a:cubicBezTo>
                    <a:pt x="138" y="266"/>
                    <a:pt x="140" y="265"/>
                    <a:pt x="141" y="265"/>
                  </a:cubicBezTo>
                  <a:cubicBezTo>
                    <a:pt x="142" y="265"/>
                    <a:pt x="142" y="265"/>
                    <a:pt x="143" y="265"/>
                  </a:cubicBezTo>
                  <a:cubicBezTo>
                    <a:pt x="143" y="265"/>
                    <a:pt x="143" y="265"/>
                    <a:pt x="143" y="265"/>
                  </a:cubicBezTo>
                  <a:cubicBezTo>
                    <a:pt x="145" y="265"/>
                    <a:pt x="146" y="266"/>
                    <a:pt x="147" y="268"/>
                  </a:cubicBezTo>
                  <a:cubicBezTo>
                    <a:pt x="148" y="270"/>
                    <a:pt x="148" y="271"/>
                    <a:pt x="149" y="272"/>
                  </a:cubicBezTo>
                  <a:cubicBezTo>
                    <a:pt x="149" y="273"/>
                    <a:pt x="150" y="274"/>
                    <a:pt x="151" y="275"/>
                  </a:cubicBezTo>
                  <a:cubicBezTo>
                    <a:pt x="152" y="276"/>
                    <a:pt x="154" y="278"/>
                    <a:pt x="155" y="279"/>
                  </a:cubicBezTo>
                  <a:cubicBezTo>
                    <a:pt x="157" y="281"/>
                    <a:pt x="159" y="283"/>
                    <a:pt x="159" y="285"/>
                  </a:cubicBezTo>
                  <a:cubicBezTo>
                    <a:pt x="160" y="287"/>
                    <a:pt x="160" y="289"/>
                    <a:pt x="158" y="291"/>
                  </a:cubicBezTo>
                  <a:cubicBezTo>
                    <a:pt x="160" y="291"/>
                    <a:pt x="161" y="292"/>
                    <a:pt x="162" y="292"/>
                  </a:cubicBezTo>
                  <a:cubicBezTo>
                    <a:pt x="164" y="293"/>
                    <a:pt x="165" y="294"/>
                    <a:pt x="166" y="297"/>
                  </a:cubicBezTo>
                  <a:cubicBezTo>
                    <a:pt x="166" y="298"/>
                    <a:pt x="166" y="298"/>
                    <a:pt x="166" y="298"/>
                  </a:cubicBezTo>
                  <a:cubicBezTo>
                    <a:pt x="166" y="300"/>
                    <a:pt x="167" y="303"/>
                    <a:pt x="168" y="305"/>
                  </a:cubicBezTo>
                  <a:cubicBezTo>
                    <a:pt x="169" y="307"/>
                    <a:pt x="170" y="310"/>
                    <a:pt x="171" y="312"/>
                  </a:cubicBezTo>
                  <a:cubicBezTo>
                    <a:pt x="172" y="314"/>
                    <a:pt x="173" y="316"/>
                    <a:pt x="174" y="318"/>
                  </a:cubicBezTo>
                  <a:cubicBezTo>
                    <a:pt x="174" y="318"/>
                    <a:pt x="174" y="318"/>
                    <a:pt x="174" y="318"/>
                  </a:cubicBezTo>
                  <a:cubicBezTo>
                    <a:pt x="175" y="320"/>
                    <a:pt x="176" y="322"/>
                    <a:pt x="178" y="324"/>
                  </a:cubicBezTo>
                  <a:cubicBezTo>
                    <a:pt x="179" y="325"/>
                    <a:pt x="180" y="325"/>
                    <a:pt x="182" y="326"/>
                  </a:cubicBezTo>
                  <a:cubicBezTo>
                    <a:pt x="183" y="326"/>
                    <a:pt x="184" y="326"/>
                    <a:pt x="185" y="326"/>
                  </a:cubicBezTo>
                  <a:cubicBezTo>
                    <a:pt x="185" y="326"/>
                    <a:pt x="186" y="326"/>
                    <a:pt x="186" y="326"/>
                  </a:cubicBezTo>
                  <a:cubicBezTo>
                    <a:pt x="186" y="326"/>
                    <a:pt x="187" y="326"/>
                    <a:pt x="187" y="326"/>
                  </a:cubicBezTo>
                  <a:cubicBezTo>
                    <a:pt x="187" y="326"/>
                    <a:pt x="187" y="326"/>
                    <a:pt x="188" y="326"/>
                  </a:cubicBezTo>
                  <a:cubicBezTo>
                    <a:pt x="189" y="326"/>
                    <a:pt x="191" y="326"/>
                    <a:pt x="192" y="327"/>
                  </a:cubicBezTo>
                  <a:cubicBezTo>
                    <a:pt x="192" y="327"/>
                    <a:pt x="193" y="327"/>
                    <a:pt x="193" y="328"/>
                  </a:cubicBezTo>
                  <a:cubicBezTo>
                    <a:pt x="195" y="328"/>
                    <a:pt x="198" y="329"/>
                    <a:pt x="200" y="330"/>
                  </a:cubicBezTo>
                  <a:cubicBezTo>
                    <a:pt x="200" y="331"/>
                    <a:pt x="201" y="331"/>
                    <a:pt x="201" y="331"/>
                  </a:cubicBezTo>
                  <a:cubicBezTo>
                    <a:pt x="202" y="331"/>
                    <a:pt x="202" y="331"/>
                    <a:pt x="202" y="331"/>
                  </a:cubicBezTo>
                  <a:cubicBezTo>
                    <a:pt x="203" y="332"/>
                    <a:pt x="203" y="332"/>
                    <a:pt x="204" y="333"/>
                  </a:cubicBezTo>
                  <a:cubicBezTo>
                    <a:pt x="204" y="333"/>
                    <a:pt x="205" y="334"/>
                    <a:pt x="205" y="334"/>
                  </a:cubicBezTo>
                  <a:cubicBezTo>
                    <a:pt x="207" y="336"/>
                    <a:pt x="208" y="338"/>
                    <a:pt x="210" y="340"/>
                  </a:cubicBezTo>
                  <a:cubicBezTo>
                    <a:pt x="211" y="341"/>
                    <a:pt x="213" y="343"/>
                    <a:pt x="215" y="344"/>
                  </a:cubicBezTo>
                  <a:cubicBezTo>
                    <a:pt x="215" y="344"/>
                    <a:pt x="215" y="344"/>
                    <a:pt x="215" y="344"/>
                  </a:cubicBezTo>
                  <a:cubicBezTo>
                    <a:pt x="217" y="345"/>
                    <a:pt x="219" y="346"/>
                    <a:pt x="221" y="347"/>
                  </a:cubicBezTo>
                  <a:cubicBezTo>
                    <a:pt x="222" y="348"/>
                    <a:pt x="222" y="348"/>
                    <a:pt x="222" y="348"/>
                  </a:cubicBezTo>
                  <a:cubicBezTo>
                    <a:pt x="224" y="349"/>
                    <a:pt x="226" y="349"/>
                    <a:pt x="228" y="351"/>
                  </a:cubicBezTo>
                  <a:cubicBezTo>
                    <a:pt x="228" y="351"/>
                    <a:pt x="228" y="351"/>
                    <a:pt x="228" y="351"/>
                  </a:cubicBezTo>
                  <a:cubicBezTo>
                    <a:pt x="230" y="353"/>
                    <a:pt x="230" y="354"/>
                    <a:pt x="232" y="355"/>
                  </a:cubicBezTo>
                  <a:cubicBezTo>
                    <a:pt x="233" y="356"/>
                    <a:pt x="233" y="356"/>
                    <a:pt x="233" y="356"/>
                  </a:cubicBezTo>
                  <a:cubicBezTo>
                    <a:pt x="235" y="357"/>
                    <a:pt x="237" y="357"/>
                    <a:pt x="240" y="358"/>
                  </a:cubicBezTo>
                  <a:cubicBezTo>
                    <a:pt x="242" y="358"/>
                    <a:pt x="245" y="358"/>
                    <a:pt x="248" y="359"/>
                  </a:cubicBezTo>
                  <a:cubicBezTo>
                    <a:pt x="249" y="359"/>
                    <a:pt x="249" y="359"/>
                    <a:pt x="250" y="359"/>
                  </a:cubicBezTo>
                  <a:cubicBezTo>
                    <a:pt x="252" y="360"/>
                    <a:pt x="254" y="359"/>
                    <a:pt x="256" y="361"/>
                  </a:cubicBezTo>
                  <a:cubicBezTo>
                    <a:pt x="256" y="361"/>
                    <a:pt x="256" y="361"/>
                    <a:pt x="256" y="362"/>
                  </a:cubicBezTo>
                  <a:cubicBezTo>
                    <a:pt x="260" y="361"/>
                    <a:pt x="264" y="360"/>
                    <a:pt x="267" y="359"/>
                  </a:cubicBezTo>
                  <a:cubicBezTo>
                    <a:pt x="268" y="358"/>
                    <a:pt x="269" y="358"/>
                    <a:pt x="270" y="358"/>
                  </a:cubicBezTo>
                  <a:cubicBezTo>
                    <a:pt x="273" y="357"/>
                    <a:pt x="275" y="356"/>
                    <a:pt x="278" y="355"/>
                  </a:cubicBezTo>
                  <a:cubicBezTo>
                    <a:pt x="279" y="355"/>
                    <a:pt x="279" y="352"/>
                    <a:pt x="280" y="351"/>
                  </a:cubicBezTo>
                  <a:cubicBezTo>
                    <a:pt x="282" y="349"/>
                    <a:pt x="285" y="347"/>
                    <a:pt x="289" y="346"/>
                  </a:cubicBezTo>
                  <a:cubicBezTo>
                    <a:pt x="292" y="345"/>
                    <a:pt x="296" y="345"/>
                    <a:pt x="298" y="345"/>
                  </a:cubicBezTo>
                  <a:cubicBezTo>
                    <a:pt x="299" y="345"/>
                    <a:pt x="299" y="345"/>
                    <a:pt x="300" y="345"/>
                  </a:cubicBezTo>
                  <a:cubicBezTo>
                    <a:pt x="300" y="345"/>
                    <a:pt x="300" y="345"/>
                    <a:pt x="300" y="345"/>
                  </a:cubicBezTo>
                  <a:cubicBezTo>
                    <a:pt x="303" y="345"/>
                    <a:pt x="306" y="345"/>
                    <a:pt x="309" y="346"/>
                  </a:cubicBezTo>
                  <a:cubicBezTo>
                    <a:pt x="311" y="346"/>
                    <a:pt x="313" y="347"/>
                    <a:pt x="314" y="349"/>
                  </a:cubicBezTo>
                  <a:cubicBezTo>
                    <a:pt x="314" y="350"/>
                    <a:pt x="314" y="350"/>
                    <a:pt x="314" y="350"/>
                  </a:cubicBezTo>
                  <a:cubicBezTo>
                    <a:pt x="315" y="352"/>
                    <a:pt x="316" y="354"/>
                    <a:pt x="316" y="357"/>
                  </a:cubicBezTo>
                  <a:cubicBezTo>
                    <a:pt x="317" y="360"/>
                    <a:pt x="317" y="363"/>
                    <a:pt x="318" y="365"/>
                  </a:cubicBezTo>
                  <a:cubicBezTo>
                    <a:pt x="318" y="366"/>
                    <a:pt x="318" y="367"/>
                    <a:pt x="318" y="367"/>
                  </a:cubicBezTo>
                  <a:cubicBezTo>
                    <a:pt x="319" y="369"/>
                    <a:pt x="319" y="371"/>
                    <a:pt x="320" y="373"/>
                  </a:cubicBezTo>
                  <a:cubicBezTo>
                    <a:pt x="320" y="375"/>
                    <a:pt x="321" y="378"/>
                    <a:pt x="322" y="380"/>
                  </a:cubicBezTo>
                  <a:cubicBezTo>
                    <a:pt x="322" y="380"/>
                    <a:pt x="322" y="380"/>
                    <a:pt x="322" y="380"/>
                  </a:cubicBezTo>
                  <a:cubicBezTo>
                    <a:pt x="324" y="382"/>
                    <a:pt x="326" y="382"/>
                    <a:pt x="329" y="382"/>
                  </a:cubicBezTo>
                  <a:cubicBezTo>
                    <a:pt x="330" y="382"/>
                    <a:pt x="330" y="382"/>
                    <a:pt x="330" y="382"/>
                  </a:cubicBezTo>
                  <a:cubicBezTo>
                    <a:pt x="333" y="383"/>
                    <a:pt x="335" y="383"/>
                    <a:pt x="338" y="384"/>
                  </a:cubicBezTo>
                  <a:cubicBezTo>
                    <a:pt x="341" y="384"/>
                    <a:pt x="343" y="384"/>
                    <a:pt x="346" y="385"/>
                  </a:cubicBezTo>
                  <a:cubicBezTo>
                    <a:pt x="349" y="385"/>
                    <a:pt x="352" y="386"/>
                    <a:pt x="354" y="386"/>
                  </a:cubicBezTo>
                  <a:cubicBezTo>
                    <a:pt x="355" y="386"/>
                    <a:pt x="357" y="386"/>
                    <a:pt x="358" y="387"/>
                  </a:cubicBezTo>
                  <a:cubicBezTo>
                    <a:pt x="359" y="387"/>
                    <a:pt x="360" y="387"/>
                    <a:pt x="361" y="388"/>
                  </a:cubicBezTo>
                  <a:cubicBezTo>
                    <a:pt x="362" y="388"/>
                    <a:pt x="362" y="388"/>
                    <a:pt x="362" y="388"/>
                  </a:cubicBezTo>
                  <a:cubicBezTo>
                    <a:pt x="364" y="390"/>
                    <a:pt x="365" y="391"/>
                    <a:pt x="367" y="391"/>
                  </a:cubicBezTo>
                  <a:cubicBezTo>
                    <a:pt x="368" y="391"/>
                    <a:pt x="368" y="391"/>
                    <a:pt x="369" y="390"/>
                  </a:cubicBezTo>
                  <a:cubicBezTo>
                    <a:pt x="369" y="390"/>
                    <a:pt x="370" y="390"/>
                    <a:pt x="370" y="390"/>
                  </a:cubicBezTo>
                  <a:cubicBezTo>
                    <a:pt x="373" y="390"/>
                    <a:pt x="375" y="389"/>
                    <a:pt x="377" y="389"/>
                  </a:cubicBezTo>
                  <a:cubicBezTo>
                    <a:pt x="378" y="389"/>
                    <a:pt x="379" y="389"/>
                    <a:pt x="380" y="389"/>
                  </a:cubicBezTo>
                  <a:cubicBezTo>
                    <a:pt x="381" y="389"/>
                    <a:pt x="383" y="390"/>
                    <a:pt x="385" y="390"/>
                  </a:cubicBezTo>
                  <a:cubicBezTo>
                    <a:pt x="386" y="390"/>
                    <a:pt x="387" y="390"/>
                    <a:pt x="389" y="390"/>
                  </a:cubicBezTo>
                  <a:cubicBezTo>
                    <a:pt x="392" y="390"/>
                    <a:pt x="395" y="390"/>
                    <a:pt x="398" y="390"/>
                  </a:cubicBezTo>
                  <a:cubicBezTo>
                    <a:pt x="399" y="390"/>
                    <a:pt x="400" y="390"/>
                    <a:pt x="400" y="390"/>
                  </a:cubicBezTo>
                  <a:cubicBezTo>
                    <a:pt x="401" y="390"/>
                    <a:pt x="401" y="390"/>
                    <a:pt x="401" y="390"/>
                  </a:cubicBezTo>
                  <a:cubicBezTo>
                    <a:pt x="403" y="391"/>
                    <a:pt x="403" y="392"/>
                    <a:pt x="404" y="393"/>
                  </a:cubicBezTo>
                  <a:cubicBezTo>
                    <a:pt x="404" y="394"/>
                    <a:pt x="404" y="394"/>
                    <a:pt x="404" y="394"/>
                  </a:cubicBezTo>
                  <a:cubicBezTo>
                    <a:pt x="405" y="395"/>
                    <a:pt x="408" y="396"/>
                    <a:pt x="411" y="396"/>
                  </a:cubicBezTo>
                  <a:cubicBezTo>
                    <a:pt x="413" y="397"/>
                    <a:pt x="416" y="398"/>
                    <a:pt x="418" y="398"/>
                  </a:cubicBezTo>
                  <a:cubicBezTo>
                    <a:pt x="419" y="398"/>
                    <a:pt x="419" y="398"/>
                    <a:pt x="419" y="398"/>
                  </a:cubicBezTo>
                  <a:cubicBezTo>
                    <a:pt x="419" y="398"/>
                    <a:pt x="419" y="398"/>
                    <a:pt x="420" y="398"/>
                  </a:cubicBezTo>
                  <a:cubicBezTo>
                    <a:pt x="422" y="398"/>
                    <a:pt x="424" y="398"/>
                    <a:pt x="426" y="397"/>
                  </a:cubicBezTo>
                  <a:cubicBezTo>
                    <a:pt x="426" y="396"/>
                    <a:pt x="426" y="396"/>
                    <a:pt x="426" y="395"/>
                  </a:cubicBezTo>
                  <a:cubicBezTo>
                    <a:pt x="426" y="395"/>
                    <a:pt x="426" y="395"/>
                    <a:pt x="426" y="394"/>
                  </a:cubicBezTo>
                  <a:cubicBezTo>
                    <a:pt x="426" y="394"/>
                    <a:pt x="426" y="394"/>
                    <a:pt x="426" y="394"/>
                  </a:cubicBezTo>
                  <a:cubicBezTo>
                    <a:pt x="427" y="393"/>
                    <a:pt x="427" y="392"/>
                    <a:pt x="427" y="391"/>
                  </a:cubicBezTo>
                  <a:cubicBezTo>
                    <a:pt x="427" y="390"/>
                    <a:pt x="427" y="390"/>
                    <a:pt x="427" y="390"/>
                  </a:cubicBezTo>
                  <a:cubicBezTo>
                    <a:pt x="427" y="390"/>
                    <a:pt x="427" y="389"/>
                    <a:pt x="427" y="388"/>
                  </a:cubicBezTo>
                  <a:cubicBezTo>
                    <a:pt x="428" y="387"/>
                    <a:pt x="428" y="387"/>
                    <a:pt x="428" y="387"/>
                  </a:cubicBezTo>
                  <a:cubicBezTo>
                    <a:pt x="429" y="382"/>
                    <a:pt x="430" y="378"/>
                    <a:pt x="431" y="373"/>
                  </a:cubicBezTo>
                  <a:cubicBezTo>
                    <a:pt x="432" y="368"/>
                    <a:pt x="432" y="367"/>
                    <a:pt x="436" y="365"/>
                  </a:cubicBezTo>
                  <a:cubicBezTo>
                    <a:pt x="437" y="365"/>
                    <a:pt x="437" y="365"/>
                    <a:pt x="437" y="365"/>
                  </a:cubicBezTo>
                  <a:cubicBezTo>
                    <a:pt x="438" y="365"/>
                    <a:pt x="438" y="364"/>
                    <a:pt x="439" y="363"/>
                  </a:cubicBezTo>
                  <a:cubicBezTo>
                    <a:pt x="440" y="363"/>
                    <a:pt x="440" y="363"/>
                    <a:pt x="440" y="363"/>
                  </a:cubicBezTo>
                  <a:cubicBezTo>
                    <a:pt x="441" y="362"/>
                    <a:pt x="442" y="361"/>
                    <a:pt x="443" y="360"/>
                  </a:cubicBezTo>
                  <a:cubicBezTo>
                    <a:pt x="444" y="359"/>
                    <a:pt x="446" y="359"/>
                    <a:pt x="448" y="358"/>
                  </a:cubicBezTo>
                  <a:cubicBezTo>
                    <a:pt x="458" y="357"/>
                    <a:pt x="458" y="357"/>
                    <a:pt x="458" y="357"/>
                  </a:cubicBezTo>
                  <a:cubicBezTo>
                    <a:pt x="459" y="357"/>
                    <a:pt x="460" y="356"/>
                    <a:pt x="461" y="356"/>
                  </a:cubicBezTo>
                  <a:cubicBezTo>
                    <a:pt x="462" y="356"/>
                    <a:pt x="463" y="356"/>
                    <a:pt x="464" y="356"/>
                  </a:cubicBezTo>
                  <a:cubicBezTo>
                    <a:pt x="465" y="350"/>
                    <a:pt x="465" y="350"/>
                    <a:pt x="465" y="350"/>
                  </a:cubicBezTo>
                  <a:cubicBezTo>
                    <a:pt x="466" y="349"/>
                    <a:pt x="466" y="347"/>
                    <a:pt x="466" y="346"/>
                  </a:cubicBezTo>
                  <a:cubicBezTo>
                    <a:pt x="466" y="346"/>
                    <a:pt x="466" y="346"/>
                    <a:pt x="465" y="346"/>
                  </a:cubicBezTo>
                  <a:cubicBezTo>
                    <a:pt x="465" y="346"/>
                    <a:pt x="465" y="346"/>
                    <a:pt x="465" y="346"/>
                  </a:cubicBezTo>
                  <a:cubicBezTo>
                    <a:pt x="464" y="346"/>
                    <a:pt x="464" y="346"/>
                    <a:pt x="463" y="346"/>
                  </a:cubicBezTo>
                  <a:cubicBezTo>
                    <a:pt x="462" y="346"/>
                    <a:pt x="462" y="346"/>
                    <a:pt x="462" y="346"/>
                  </a:cubicBezTo>
                  <a:cubicBezTo>
                    <a:pt x="461" y="346"/>
                    <a:pt x="461" y="346"/>
                    <a:pt x="461" y="346"/>
                  </a:cubicBezTo>
                  <a:cubicBezTo>
                    <a:pt x="460" y="346"/>
                    <a:pt x="460" y="346"/>
                    <a:pt x="460" y="346"/>
                  </a:cubicBezTo>
                  <a:cubicBezTo>
                    <a:pt x="457" y="346"/>
                    <a:pt x="455" y="344"/>
                    <a:pt x="454" y="341"/>
                  </a:cubicBezTo>
                  <a:cubicBezTo>
                    <a:pt x="454" y="339"/>
                    <a:pt x="454" y="337"/>
                    <a:pt x="454" y="336"/>
                  </a:cubicBezTo>
                  <a:cubicBezTo>
                    <a:pt x="454" y="335"/>
                    <a:pt x="454" y="335"/>
                    <a:pt x="454" y="334"/>
                  </a:cubicBezTo>
                  <a:cubicBezTo>
                    <a:pt x="454" y="325"/>
                    <a:pt x="454" y="325"/>
                    <a:pt x="454" y="325"/>
                  </a:cubicBezTo>
                  <a:cubicBezTo>
                    <a:pt x="454" y="324"/>
                    <a:pt x="455" y="324"/>
                    <a:pt x="455" y="323"/>
                  </a:cubicBezTo>
                  <a:cubicBezTo>
                    <a:pt x="455" y="321"/>
                    <a:pt x="455" y="320"/>
                    <a:pt x="455" y="319"/>
                  </a:cubicBezTo>
                  <a:cubicBezTo>
                    <a:pt x="454" y="319"/>
                    <a:pt x="454" y="319"/>
                    <a:pt x="453" y="318"/>
                  </a:cubicBezTo>
                  <a:cubicBezTo>
                    <a:pt x="453" y="318"/>
                    <a:pt x="453" y="318"/>
                    <a:pt x="453" y="318"/>
                  </a:cubicBezTo>
                  <a:cubicBezTo>
                    <a:pt x="452" y="317"/>
                    <a:pt x="450" y="317"/>
                    <a:pt x="449" y="317"/>
                  </a:cubicBezTo>
                  <a:cubicBezTo>
                    <a:pt x="448" y="316"/>
                    <a:pt x="447" y="316"/>
                    <a:pt x="446" y="315"/>
                  </a:cubicBezTo>
                  <a:cubicBezTo>
                    <a:pt x="445" y="315"/>
                    <a:pt x="445" y="315"/>
                    <a:pt x="444" y="315"/>
                  </a:cubicBezTo>
                  <a:cubicBezTo>
                    <a:pt x="443" y="314"/>
                    <a:pt x="443" y="314"/>
                    <a:pt x="443" y="314"/>
                  </a:cubicBezTo>
                  <a:cubicBezTo>
                    <a:pt x="442" y="314"/>
                    <a:pt x="441" y="314"/>
                    <a:pt x="440" y="313"/>
                  </a:cubicBezTo>
                  <a:cubicBezTo>
                    <a:pt x="438" y="312"/>
                    <a:pt x="434" y="311"/>
                    <a:pt x="433" y="308"/>
                  </a:cubicBezTo>
                  <a:cubicBezTo>
                    <a:pt x="430" y="305"/>
                    <a:pt x="428" y="301"/>
                    <a:pt x="425" y="298"/>
                  </a:cubicBezTo>
                  <a:cubicBezTo>
                    <a:pt x="425" y="297"/>
                    <a:pt x="425" y="297"/>
                    <a:pt x="425" y="297"/>
                  </a:cubicBezTo>
                  <a:cubicBezTo>
                    <a:pt x="420" y="291"/>
                    <a:pt x="414" y="283"/>
                    <a:pt x="409" y="275"/>
                  </a:cubicBezTo>
                  <a:cubicBezTo>
                    <a:pt x="408" y="275"/>
                    <a:pt x="408" y="275"/>
                    <a:pt x="408" y="275"/>
                  </a:cubicBezTo>
                  <a:cubicBezTo>
                    <a:pt x="403" y="274"/>
                    <a:pt x="403" y="274"/>
                    <a:pt x="403" y="274"/>
                  </a:cubicBezTo>
                  <a:cubicBezTo>
                    <a:pt x="408" y="271"/>
                    <a:pt x="408" y="271"/>
                    <a:pt x="408" y="271"/>
                  </a:cubicBezTo>
                  <a:cubicBezTo>
                    <a:pt x="408" y="271"/>
                    <a:pt x="408" y="271"/>
                    <a:pt x="408" y="271"/>
                  </a:cubicBezTo>
                  <a:cubicBezTo>
                    <a:pt x="409" y="270"/>
                    <a:pt x="409" y="270"/>
                    <a:pt x="409" y="270"/>
                  </a:cubicBezTo>
                  <a:cubicBezTo>
                    <a:pt x="410" y="268"/>
                    <a:pt x="411" y="267"/>
                    <a:pt x="412" y="266"/>
                  </a:cubicBezTo>
                  <a:cubicBezTo>
                    <a:pt x="417" y="259"/>
                    <a:pt x="417" y="259"/>
                    <a:pt x="417" y="259"/>
                  </a:cubicBezTo>
                  <a:cubicBezTo>
                    <a:pt x="418" y="258"/>
                    <a:pt x="419" y="257"/>
                    <a:pt x="421" y="256"/>
                  </a:cubicBezTo>
                  <a:cubicBezTo>
                    <a:pt x="422" y="255"/>
                    <a:pt x="422" y="255"/>
                    <a:pt x="422" y="255"/>
                  </a:cubicBezTo>
                  <a:cubicBezTo>
                    <a:pt x="422" y="254"/>
                    <a:pt x="423" y="254"/>
                    <a:pt x="423" y="253"/>
                  </a:cubicBezTo>
                  <a:cubicBezTo>
                    <a:pt x="424" y="252"/>
                    <a:pt x="424" y="251"/>
                    <a:pt x="425" y="250"/>
                  </a:cubicBezTo>
                  <a:cubicBezTo>
                    <a:pt x="427" y="249"/>
                    <a:pt x="429" y="247"/>
                    <a:pt x="430" y="245"/>
                  </a:cubicBezTo>
                  <a:cubicBezTo>
                    <a:pt x="431" y="243"/>
                    <a:pt x="431" y="242"/>
                    <a:pt x="431" y="240"/>
                  </a:cubicBezTo>
                  <a:cubicBezTo>
                    <a:pt x="431" y="240"/>
                    <a:pt x="431" y="239"/>
                    <a:pt x="430" y="239"/>
                  </a:cubicBezTo>
                  <a:cubicBezTo>
                    <a:pt x="430" y="238"/>
                    <a:pt x="430" y="238"/>
                    <a:pt x="429" y="237"/>
                  </a:cubicBezTo>
                  <a:cubicBezTo>
                    <a:pt x="427" y="234"/>
                    <a:pt x="427" y="234"/>
                    <a:pt x="427" y="234"/>
                  </a:cubicBezTo>
                  <a:cubicBezTo>
                    <a:pt x="427" y="234"/>
                    <a:pt x="427" y="234"/>
                    <a:pt x="426" y="234"/>
                  </a:cubicBezTo>
                  <a:cubicBezTo>
                    <a:pt x="413" y="232"/>
                    <a:pt x="413" y="232"/>
                    <a:pt x="413" y="232"/>
                  </a:cubicBezTo>
                  <a:cubicBezTo>
                    <a:pt x="412" y="232"/>
                    <a:pt x="412" y="232"/>
                    <a:pt x="412" y="232"/>
                  </a:cubicBezTo>
                  <a:cubicBezTo>
                    <a:pt x="411" y="232"/>
                    <a:pt x="408" y="231"/>
                    <a:pt x="407" y="228"/>
                  </a:cubicBezTo>
                  <a:cubicBezTo>
                    <a:pt x="407" y="228"/>
                    <a:pt x="407" y="227"/>
                    <a:pt x="406" y="226"/>
                  </a:cubicBezTo>
                  <a:cubicBezTo>
                    <a:pt x="406" y="226"/>
                    <a:pt x="406" y="225"/>
                    <a:pt x="406" y="224"/>
                  </a:cubicBezTo>
                  <a:cubicBezTo>
                    <a:pt x="406" y="223"/>
                    <a:pt x="406" y="223"/>
                    <a:pt x="406" y="223"/>
                  </a:cubicBezTo>
                  <a:cubicBezTo>
                    <a:pt x="406" y="223"/>
                    <a:pt x="406" y="222"/>
                    <a:pt x="406" y="222"/>
                  </a:cubicBezTo>
                  <a:cubicBezTo>
                    <a:pt x="406" y="217"/>
                    <a:pt x="406" y="217"/>
                    <a:pt x="406" y="217"/>
                  </a:cubicBezTo>
                  <a:cubicBezTo>
                    <a:pt x="406" y="215"/>
                    <a:pt x="406" y="213"/>
                    <a:pt x="406" y="211"/>
                  </a:cubicBezTo>
                  <a:cubicBezTo>
                    <a:pt x="407" y="210"/>
                    <a:pt x="407" y="209"/>
                    <a:pt x="407" y="207"/>
                  </a:cubicBezTo>
                  <a:cubicBezTo>
                    <a:pt x="407" y="206"/>
                    <a:pt x="406" y="206"/>
                    <a:pt x="406" y="205"/>
                  </a:cubicBezTo>
                  <a:cubicBezTo>
                    <a:pt x="406" y="203"/>
                    <a:pt x="406" y="203"/>
                    <a:pt x="406" y="203"/>
                  </a:cubicBezTo>
                  <a:cubicBezTo>
                    <a:pt x="405" y="202"/>
                    <a:pt x="405" y="202"/>
                    <a:pt x="405" y="201"/>
                  </a:cubicBezTo>
                  <a:cubicBezTo>
                    <a:pt x="403" y="192"/>
                    <a:pt x="403" y="192"/>
                    <a:pt x="403" y="192"/>
                  </a:cubicBezTo>
                  <a:cubicBezTo>
                    <a:pt x="402" y="192"/>
                    <a:pt x="402" y="191"/>
                    <a:pt x="402" y="191"/>
                  </a:cubicBezTo>
                  <a:cubicBezTo>
                    <a:pt x="401" y="184"/>
                    <a:pt x="401" y="184"/>
                    <a:pt x="401" y="184"/>
                  </a:cubicBezTo>
                  <a:cubicBezTo>
                    <a:pt x="401" y="181"/>
                    <a:pt x="403" y="178"/>
                    <a:pt x="406" y="175"/>
                  </a:cubicBezTo>
                  <a:cubicBezTo>
                    <a:pt x="406" y="175"/>
                    <a:pt x="406" y="175"/>
                    <a:pt x="406" y="175"/>
                  </a:cubicBezTo>
                  <a:cubicBezTo>
                    <a:pt x="404" y="174"/>
                    <a:pt x="402" y="173"/>
                    <a:pt x="400" y="172"/>
                  </a:cubicBezTo>
                  <a:cubicBezTo>
                    <a:pt x="400" y="171"/>
                    <a:pt x="399" y="169"/>
                    <a:pt x="399" y="168"/>
                  </a:cubicBezTo>
                  <a:cubicBezTo>
                    <a:pt x="399" y="167"/>
                    <a:pt x="399" y="167"/>
                    <a:pt x="399" y="167"/>
                  </a:cubicBezTo>
                  <a:cubicBezTo>
                    <a:pt x="398" y="166"/>
                    <a:pt x="398" y="164"/>
                    <a:pt x="398" y="163"/>
                  </a:cubicBezTo>
                  <a:cubicBezTo>
                    <a:pt x="398" y="160"/>
                    <a:pt x="399" y="158"/>
                    <a:pt x="399" y="157"/>
                  </a:cubicBezTo>
                  <a:cubicBezTo>
                    <a:pt x="399" y="156"/>
                    <a:pt x="399" y="156"/>
                    <a:pt x="399" y="156"/>
                  </a:cubicBezTo>
                  <a:cubicBezTo>
                    <a:pt x="397" y="157"/>
                    <a:pt x="397" y="157"/>
                    <a:pt x="397" y="157"/>
                  </a:cubicBezTo>
                  <a:cubicBezTo>
                    <a:pt x="406" y="149"/>
                    <a:pt x="406" y="149"/>
                    <a:pt x="406" y="149"/>
                  </a:cubicBezTo>
                  <a:cubicBezTo>
                    <a:pt x="406" y="148"/>
                    <a:pt x="405" y="148"/>
                    <a:pt x="405" y="147"/>
                  </a:cubicBezTo>
                  <a:cubicBezTo>
                    <a:pt x="403" y="145"/>
                    <a:pt x="403" y="145"/>
                    <a:pt x="403" y="145"/>
                  </a:cubicBezTo>
                  <a:cubicBezTo>
                    <a:pt x="405" y="143"/>
                    <a:pt x="405" y="143"/>
                    <a:pt x="405" y="143"/>
                  </a:cubicBezTo>
                  <a:cubicBezTo>
                    <a:pt x="406" y="142"/>
                    <a:pt x="407" y="140"/>
                    <a:pt x="408" y="139"/>
                  </a:cubicBezTo>
                  <a:cubicBezTo>
                    <a:pt x="410" y="138"/>
                    <a:pt x="410" y="138"/>
                    <a:pt x="410" y="138"/>
                  </a:cubicBezTo>
                  <a:cubicBezTo>
                    <a:pt x="412" y="136"/>
                    <a:pt x="412" y="136"/>
                    <a:pt x="412" y="135"/>
                  </a:cubicBezTo>
                  <a:cubicBezTo>
                    <a:pt x="412" y="133"/>
                    <a:pt x="412" y="133"/>
                    <a:pt x="412" y="133"/>
                  </a:cubicBezTo>
                  <a:cubicBezTo>
                    <a:pt x="413" y="132"/>
                    <a:pt x="413" y="132"/>
                    <a:pt x="413" y="132"/>
                  </a:cubicBezTo>
                  <a:cubicBezTo>
                    <a:pt x="413" y="131"/>
                    <a:pt x="413" y="131"/>
                    <a:pt x="413" y="131"/>
                  </a:cubicBezTo>
                  <a:cubicBezTo>
                    <a:pt x="413" y="130"/>
                    <a:pt x="413" y="129"/>
                    <a:pt x="414" y="128"/>
                  </a:cubicBezTo>
                  <a:cubicBezTo>
                    <a:pt x="416" y="120"/>
                    <a:pt x="416" y="120"/>
                    <a:pt x="416" y="120"/>
                  </a:cubicBezTo>
                  <a:cubicBezTo>
                    <a:pt x="419" y="117"/>
                    <a:pt x="419" y="117"/>
                    <a:pt x="419" y="117"/>
                  </a:cubicBezTo>
                  <a:cubicBezTo>
                    <a:pt x="419" y="117"/>
                    <a:pt x="419" y="117"/>
                    <a:pt x="419" y="117"/>
                  </a:cubicBezTo>
                  <a:cubicBezTo>
                    <a:pt x="418" y="116"/>
                    <a:pt x="418" y="115"/>
                    <a:pt x="418" y="115"/>
                  </a:cubicBezTo>
                  <a:cubicBezTo>
                    <a:pt x="417" y="114"/>
                    <a:pt x="417" y="114"/>
                    <a:pt x="417" y="114"/>
                  </a:cubicBezTo>
                  <a:cubicBezTo>
                    <a:pt x="417" y="113"/>
                    <a:pt x="417" y="112"/>
                    <a:pt x="417" y="111"/>
                  </a:cubicBezTo>
                  <a:cubicBezTo>
                    <a:pt x="417" y="111"/>
                    <a:pt x="417" y="110"/>
                    <a:pt x="416" y="110"/>
                  </a:cubicBezTo>
                  <a:cubicBezTo>
                    <a:pt x="416" y="108"/>
                    <a:pt x="416" y="108"/>
                    <a:pt x="416" y="108"/>
                  </a:cubicBezTo>
                  <a:cubicBezTo>
                    <a:pt x="415" y="104"/>
                    <a:pt x="415" y="102"/>
                    <a:pt x="415" y="99"/>
                  </a:cubicBezTo>
                  <a:cubicBezTo>
                    <a:pt x="415" y="98"/>
                    <a:pt x="415" y="98"/>
                    <a:pt x="415" y="98"/>
                  </a:cubicBezTo>
                  <a:cubicBezTo>
                    <a:pt x="415" y="97"/>
                    <a:pt x="415" y="96"/>
                    <a:pt x="415" y="96"/>
                  </a:cubicBezTo>
                  <a:cubicBezTo>
                    <a:pt x="415" y="95"/>
                    <a:pt x="415" y="95"/>
                    <a:pt x="415" y="95"/>
                  </a:cubicBezTo>
                  <a:cubicBezTo>
                    <a:pt x="415" y="93"/>
                    <a:pt x="415" y="90"/>
                    <a:pt x="415" y="88"/>
                  </a:cubicBezTo>
                  <a:cubicBezTo>
                    <a:pt x="415" y="88"/>
                    <a:pt x="415" y="88"/>
                    <a:pt x="415" y="88"/>
                  </a:cubicBezTo>
                  <a:cubicBezTo>
                    <a:pt x="414" y="88"/>
                    <a:pt x="412" y="88"/>
                    <a:pt x="411" y="88"/>
                  </a:cubicBezTo>
                  <a:cubicBezTo>
                    <a:pt x="411" y="88"/>
                    <a:pt x="410" y="88"/>
                    <a:pt x="409" y="88"/>
                  </a:cubicBezTo>
                  <a:cubicBezTo>
                    <a:pt x="406" y="88"/>
                    <a:pt x="406" y="88"/>
                    <a:pt x="406" y="88"/>
                  </a:cubicBezTo>
                  <a:cubicBezTo>
                    <a:pt x="405" y="88"/>
                    <a:pt x="404" y="88"/>
                    <a:pt x="403" y="88"/>
                  </a:cubicBezTo>
                  <a:cubicBezTo>
                    <a:pt x="403" y="92"/>
                    <a:pt x="403" y="92"/>
                    <a:pt x="403" y="92"/>
                  </a:cubicBezTo>
                  <a:cubicBezTo>
                    <a:pt x="401" y="88"/>
                    <a:pt x="401" y="88"/>
                    <a:pt x="401" y="88"/>
                  </a:cubicBezTo>
                  <a:cubicBezTo>
                    <a:pt x="401" y="88"/>
                    <a:pt x="401" y="88"/>
                    <a:pt x="401" y="88"/>
                  </a:cubicBezTo>
                  <a:cubicBezTo>
                    <a:pt x="399" y="88"/>
                    <a:pt x="398" y="88"/>
                    <a:pt x="397" y="88"/>
                  </a:cubicBezTo>
                  <a:cubicBezTo>
                    <a:pt x="396" y="87"/>
                    <a:pt x="395" y="87"/>
                    <a:pt x="395" y="87"/>
                  </a:cubicBezTo>
                  <a:cubicBezTo>
                    <a:pt x="394" y="86"/>
                    <a:pt x="394" y="86"/>
                    <a:pt x="394" y="86"/>
                  </a:cubicBezTo>
                  <a:cubicBezTo>
                    <a:pt x="394" y="85"/>
                    <a:pt x="393" y="84"/>
                    <a:pt x="392" y="83"/>
                  </a:cubicBezTo>
                  <a:cubicBezTo>
                    <a:pt x="391" y="82"/>
                    <a:pt x="391" y="82"/>
                    <a:pt x="391" y="82"/>
                  </a:cubicBezTo>
                  <a:cubicBezTo>
                    <a:pt x="390" y="81"/>
                    <a:pt x="390" y="80"/>
                    <a:pt x="389" y="79"/>
                  </a:cubicBezTo>
                  <a:cubicBezTo>
                    <a:pt x="389" y="79"/>
                    <a:pt x="389" y="79"/>
                    <a:pt x="389" y="79"/>
                  </a:cubicBezTo>
                  <a:cubicBezTo>
                    <a:pt x="389" y="78"/>
                    <a:pt x="388" y="78"/>
                    <a:pt x="388" y="77"/>
                  </a:cubicBezTo>
                  <a:cubicBezTo>
                    <a:pt x="387" y="77"/>
                    <a:pt x="387" y="77"/>
                    <a:pt x="387" y="77"/>
                  </a:cubicBezTo>
                  <a:cubicBezTo>
                    <a:pt x="386" y="76"/>
                    <a:pt x="384" y="76"/>
                    <a:pt x="382" y="75"/>
                  </a:cubicBezTo>
                  <a:cubicBezTo>
                    <a:pt x="382" y="75"/>
                    <a:pt x="382" y="75"/>
                    <a:pt x="382" y="75"/>
                  </a:cubicBezTo>
                  <a:cubicBezTo>
                    <a:pt x="381" y="75"/>
                    <a:pt x="380" y="75"/>
                    <a:pt x="379" y="75"/>
                  </a:cubicBezTo>
                  <a:cubicBezTo>
                    <a:pt x="379" y="74"/>
                    <a:pt x="379" y="74"/>
                    <a:pt x="379" y="74"/>
                  </a:cubicBezTo>
                  <a:cubicBezTo>
                    <a:pt x="377" y="74"/>
                    <a:pt x="377" y="74"/>
                    <a:pt x="377" y="74"/>
                  </a:cubicBezTo>
                  <a:cubicBezTo>
                    <a:pt x="377" y="73"/>
                    <a:pt x="377" y="73"/>
                    <a:pt x="377" y="73"/>
                  </a:cubicBezTo>
                  <a:cubicBezTo>
                    <a:pt x="376" y="72"/>
                    <a:pt x="376" y="72"/>
                    <a:pt x="376" y="71"/>
                  </a:cubicBezTo>
                  <a:cubicBezTo>
                    <a:pt x="374" y="69"/>
                    <a:pt x="374" y="69"/>
                    <a:pt x="374" y="69"/>
                  </a:cubicBezTo>
                  <a:cubicBezTo>
                    <a:pt x="374" y="67"/>
                    <a:pt x="373" y="66"/>
                    <a:pt x="372" y="64"/>
                  </a:cubicBezTo>
                  <a:cubicBezTo>
                    <a:pt x="371" y="64"/>
                    <a:pt x="371" y="64"/>
                    <a:pt x="371" y="64"/>
                  </a:cubicBezTo>
                  <a:cubicBezTo>
                    <a:pt x="370" y="62"/>
                    <a:pt x="367" y="61"/>
                    <a:pt x="363" y="60"/>
                  </a:cubicBezTo>
                  <a:cubicBezTo>
                    <a:pt x="362" y="60"/>
                    <a:pt x="362" y="60"/>
                    <a:pt x="362" y="60"/>
                  </a:cubicBezTo>
                  <a:cubicBezTo>
                    <a:pt x="361" y="60"/>
                    <a:pt x="360" y="60"/>
                    <a:pt x="359" y="60"/>
                  </a:cubicBezTo>
                  <a:cubicBezTo>
                    <a:pt x="353" y="60"/>
                    <a:pt x="353" y="60"/>
                    <a:pt x="353" y="60"/>
                  </a:cubicBezTo>
                  <a:cubicBezTo>
                    <a:pt x="352" y="60"/>
                    <a:pt x="352" y="60"/>
                    <a:pt x="352" y="60"/>
                  </a:cubicBezTo>
                  <a:cubicBezTo>
                    <a:pt x="352" y="60"/>
                    <a:pt x="352" y="60"/>
                    <a:pt x="351" y="60"/>
                  </a:cubicBezTo>
                  <a:cubicBezTo>
                    <a:pt x="349" y="60"/>
                    <a:pt x="349" y="60"/>
                    <a:pt x="349" y="60"/>
                  </a:cubicBezTo>
                  <a:cubicBezTo>
                    <a:pt x="349" y="60"/>
                    <a:pt x="349" y="60"/>
                    <a:pt x="349" y="60"/>
                  </a:cubicBezTo>
                  <a:cubicBezTo>
                    <a:pt x="349" y="60"/>
                    <a:pt x="348" y="60"/>
                    <a:pt x="348" y="60"/>
                  </a:cubicBezTo>
                  <a:cubicBezTo>
                    <a:pt x="347" y="60"/>
                    <a:pt x="346" y="60"/>
                    <a:pt x="345" y="59"/>
                  </a:cubicBezTo>
                  <a:cubicBezTo>
                    <a:pt x="344" y="59"/>
                    <a:pt x="344" y="59"/>
                    <a:pt x="344" y="59"/>
                  </a:cubicBezTo>
                  <a:cubicBezTo>
                    <a:pt x="340" y="56"/>
                    <a:pt x="340" y="56"/>
                    <a:pt x="340" y="56"/>
                  </a:cubicBezTo>
                  <a:cubicBezTo>
                    <a:pt x="339" y="55"/>
                    <a:pt x="338" y="54"/>
                    <a:pt x="337" y="54"/>
                  </a:cubicBezTo>
                  <a:cubicBezTo>
                    <a:pt x="335" y="53"/>
                    <a:pt x="335" y="53"/>
                    <a:pt x="335" y="53"/>
                  </a:cubicBezTo>
                  <a:cubicBezTo>
                    <a:pt x="334" y="53"/>
                    <a:pt x="333" y="53"/>
                    <a:pt x="333" y="53"/>
                  </a:cubicBezTo>
                  <a:cubicBezTo>
                    <a:pt x="331" y="52"/>
                    <a:pt x="329" y="52"/>
                    <a:pt x="327" y="52"/>
                  </a:cubicBezTo>
                  <a:cubicBezTo>
                    <a:pt x="326" y="52"/>
                    <a:pt x="326" y="52"/>
                    <a:pt x="326" y="52"/>
                  </a:cubicBezTo>
                  <a:cubicBezTo>
                    <a:pt x="324" y="51"/>
                    <a:pt x="322" y="50"/>
                    <a:pt x="321" y="48"/>
                  </a:cubicBezTo>
                  <a:cubicBezTo>
                    <a:pt x="321" y="47"/>
                    <a:pt x="321" y="47"/>
                    <a:pt x="321" y="47"/>
                  </a:cubicBezTo>
                  <a:cubicBezTo>
                    <a:pt x="315" y="50"/>
                    <a:pt x="315" y="50"/>
                    <a:pt x="315" y="50"/>
                  </a:cubicBezTo>
                  <a:cubicBezTo>
                    <a:pt x="320" y="46"/>
                    <a:pt x="320" y="46"/>
                    <a:pt x="320" y="46"/>
                  </a:cubicBezTo>
                  <a:cubicBezTo>
                    <a:pt x="320" y="45"/>
                    <a:pt x="320" y="45"/>
                    <a:pt x="320" y="45"/>
                  </a:cubicBezTo>
                  <a:cubicBezTo>
                    <a:pt x="319" y="43"/>
                    <a:pt x="319" y="43"/>
                    <a:pt x="318" y="43"/>
                  </a:cubicBezTo>
                  <a:cubicBezTo>
                    <a:pt x="317" y="43"/>
                    <a:pt x="316" y="43"/>
                    <a:pt x="315" y="42"/>
                  </a:cubicBezTo>
                  <a:cubicBezTo>
                    <a:pt x="314" y="42"/>
                    <a:pt x="314" y="42"/>
                    <a:pt x="314" y="42"/>
                  </a:cubicBezTo>
                  <a:cubicBezTo>
                    <a:pt x="313" y="42"/>
                    <a:pt x="311" y="42"/>
                    <a:pt x="310" y="42"/>
                  </a:cubicBezTo>
                  <a:cubicBezTo>
                    <a:pt x="310" y="42"/>
                    <a:pt x="310" y="42"/>
                    <a:pt x="310" y="42"/>
                  </a:cubicBezTo>
                  <a:cubicBezTo>
                    <a:pt x="309" y="42"/>
                    <a:pt x="309" y="42"/>
                    <a:pt x="308" y="42"/>
                  </a:cubicBezTo>
                  <a:cubicBezTo>
                    <a:pt x="307" y="42"/>
                    <a:pt x="305" y="42"/>
                    <a:pt x="304" y="42"/>
                  </a:cubicBezTo>
                  <a:cubicBezTo>
                    <a:pt x="303" y="43"/>
                    <a:pt x="303" y="43"/>
                    <a:pt x="303" y="43"/>
                  </a:cubicBezTo>
                  <a:cubicBezTo>
                    <a:pt x="303" y="43"/>
                    <a:pt x="303" y="43"/>
                    <a:pt x="303" y="43"/>
                  </a:cubicBezTo>
                  <a:cubicBezTo>
                    <a:pt x="303" y="43"/>
                    <a:pt x="303" y="43"/>
                    <a:pt x="303" y="43"/>
                  </a:cubicBezTo>
                  <a:cubicBezTo>
                    <a:pt x="300" y="46"/>
                    <a:pt x="298" y="48"/>
                    <a:pt x="295" y="48"/>
                  </a:cubicBezTo>
                  <a:cubicBezTo>
                    <a:pt x="294" y="48"/>
                    <a:pt x="294" y="48"/>
                    <a:pt x="294" y="48"/>
                  </a:cubicBezTo>
                  <a:cubicBezTo>
                    <a:pt x="294" y="53"/>
                    <a:pt x="294" y="53"/>
                    <a:pt x="294" y="53"/>
                  </a:cubicBezTo>
                  <a:cubicBezTo>
                    <a:pt x="293" y="48"/>
                    <a:pt x="293" y="48"/>
                    <a:pt x="293" y="48"/>
                  </a:cubicBezTo>
                  <a:cubicBezTo>
                    <a:pt x="291" y="47"/>
                    <a:pt x="289" y="47"/>
                    <a:pt x="288" y="47"/>
                  </a:cubicBezTo>
                  <a:cubicBezTo>
                    <a:pt x="287" y="47"/>
                    <a:pt x="286" y="47"/>
                    <a:pt x="286" y="47"/>
                  </a:cubicBezTo>
                  <a:cubicBezTo>
                    <a:pt x="281" y="48"/>
                    <a:pt x="278" y="48"/>
                    <a:pt x="274" y="50"/>
                  </a:cubicBezTo>
                  <a:cubicBezTo>
                    <a:pt x="243" y="81"/>
                    <a:pt x="243" y="81"/>
                    <a:pt x="243" y="81"/>
                  </a:cubicBezTo>
                  <a:cubicBezTo>
                    <a:pt x="242" y="80"/>
                    <a:pt x="242" y="80"/>
                    <a:pt x="242" y="80"/>
                  </a:cubicBezTo>
                  <a:cubicBezTo>
                    <a:pt x="241" y="80"/>
                    <a:pt x="240" y="81"/>
                    <a:pt x="239" y="81"/>
                  </a:cubicBezTo>
                  <a:cubicBezTo>
                    <a:pt x="239" y="81"/>
                    <a:pt x="239" y="81"/>
                    <a:pt x="238" y="81"/>
                  </a:cubicBezTo>
                  <a:cubicBezTo>
                    <a:pt x="236" y="81"/>
                    <a:pt x="234" y="80"/>
                    <a:pt x="232" y="79"/>
                  </a:cubicBezTo>
                  <a:cubicBezTo>
                    <a:pt x="232" y="79"/>
                    <a:pt x="233" y="79"/>
                    <a:pt x="233" y="79"/>
                  </a:cubicBezTo>
                  <a:cubicBezTo>
                    <a:pt x="235" y="79"/>
                    <a:pt x="236" y="79"/>
                    <a:pt x="238" y="78"/>
                  </a:cubicBezTo>
                  <a:cubicBezTo>
                    <a:pt x="236" y="78"/>
                    <a:pt x="234" y="78"/>
                    <a:pt x="232" y="79"/>
                  </a:cubicBezTo>
                  <a:cubicBezTo>
                    <a:pt x="228" y="79"/>
                    <a:pt x="224" y="80"/>
                    <a:pt x="221" y="80"/>
                  </a:cubicBezTo>
                  <a:cubicBezTo>
                    <a:pt x="217" y="81"/>
                    <a:pt x="213" y="82"/>
                    <a:pt x="209" y="83"/>
                  </a:cubicBezTo>
                  <a:cubicBezTo>
                    <a:pt x="207" y="83"/>
                    <a:pt x="205" y="84"/>
                    <a:pt x="203" y="84"/>
                  </a:cubicBezTo>
                  <a:cubicBezTo>
                    <a:pt x="200" y="85"/>
                    <a:pt x="198" y="85"/>
                    <a:pt x="196" y="86"/>
                  </a:cubicBezTo>
                  <a:cubicBezTo>
                    <a:pt x="194" y="86"/>
                    <a:pt x="192" y="87"/>
                    <a:pt x="190" y="87"/>
                  </a:cubicBezTo>
                  <a:cubicBezTo>
                    <a:pt x="189" y="87"/>
                    <a:pt x="187" y="86"/>
                    <a:pt x="186" y="86"/>
                  </a:cubicBezTo>
                  <a:cubicBezTo>
                    <a:pt x="185" y="86"/>
                    <a:pt x="184" y="86"/>
                    <a:pt x="183" y="86"/>
                  </a:cubicBezTo>
                  <a:cubicBezTo>
                    <a:pt x="181" y="85"/>
                    <a:pt x="180" y="85"/>
                    <a:pt x="178" y="85"/>
                  </a:cubicBezTo>
                  <a:cubicBezTo>
                    <a:pt x="176" y="84"/>
                    <a:pt x="173" y="83"/>
                    <a:pt x="171" y="82"/>
                  </a:cubicBezTo>
                  <a:cubicBezTo>
                    <a:pt x="169" y="81"/>
                    <a:pt x="166" y="81"/>
                    <a:pt x="164" y="80"/>
                  </a:cubicBezTo>
                  <a:cubicBezTo>
                    <a:pt x="164" y="80"/>
                    <a:pt x="164" y="80"/>
                    <a:pt x="164" y="80"/>
                  </a:cubicBezTo>
                  <a:cubicBezTo>
                    <a:pt x="162" y="79"/>
                    <a:pt x="160" y="78"/>
                    <a:pt x="158" y="77"/>
                  </a:cubicBezTo>
                  <a:cubicBezTo>
                    <a:pt x="156" y="75"/>
                    <a:pt x="154" y="74"/>
                    <a:pt x="152" y="72"/>
                  </a:cubicBezTo>
                  <a:cubicBezTo>
                    <a:pt x="151" y="71"/>
                    <a:pt x="150" y="70"/>
                    <a:pt x="149" y="69"/>
                  </a:cubicBezTo>
                  <a:cubicBezTo>
                    <a:pt x="149" y="68"/>
                    <a:pt x="149" y="68"/>
                    <a:pt x="148" y="67"/>
                  </a:cubicBezTo>
                  <a:cubicBezTo>
                    <a:pt x="146" y="66"/>
                    <a:pt x="144" y="65"/>
                    <a:pt x="142" y="64"/>
                  </a:cubicBezTo>
                  <a:cubicBezTo>
                    <a:pt x="139" y="63"/>
                    <a:pt x="136" y="63"/>
                    <a:pt x="134" y="62"/>
                  </a:cubicBezTo>
                  <a:cubicBezTo>
                    <a:pt x="134" y="62"/>
                    <a:pt x="134" y="62"/>
                    <a:pt x="134" y="62"/>
                  </a:cubicBezTo>
                  <a:cubicBezTo>
                    <a:pt x="131" y="61"/>
                    <a:pt x="129" y="61"/>
                    <a:pt x="126" y="60"/>
                  </a:cubicBezTo>
                  <a:cubicBezTo>
                    <a:pt x="124" y="59"/>
                    <a:pt x="122" y="58"/>
                    <a:pt x="120" y="56"/>
                  </a:cubicBezTo>
                  <a:cubicBezTo>
                    <a:pt x="120" y="56"/>
                    <a:pt x="119" y="55"/>
                    <a:pt x="119" y="54"/>
                  </a:cubicBezTo>
                  <a:cubicBezTo>
                    <a:pt x="119" y="52"/>
                    <a:pt x="118" y="51"/>
                    <a:pt x="118" y="49"/>
                  </a:cubicBezTo>
                  <a:cubicBezTo>
                    <a:pt x="117" y="47"/>
                    <a:pt x="116" y="44"/>
                    <a:pt x="116" y="42"/>
                  </a:cubicBezTo>
                  <a:cubicBezTo>
                    <a:pt x="116" y="40"/>
                    <a:pt x="116" y="39"/>
                    <a:pt x="115" y="37"/>
                  </a:cubicBezTo>
                  <a:cubicBezTo>
                    <a:pt x="114" y="38"/>
                    <a:pt x="114" y="38"/>
                    <a:pt x="114" y="38"/>
                  </a:cubicBezTo>
                  <a:cubicBezTo>
                    <a:pt x="114" y="38"/>
                    <a:pt x="113" y="38"/>
                    <a:pt x="113" y="38"/>
                  </a:cubicBezTo>
                  <a:cubicBezTo>
                    <a:pt x="112" y="38"/>
                    <a:pt x="112" y="38"/>
                    <a:pt x="112" y="38"/>
                  </a:cubicBezTo>
                  <a:cubicBezTo>
                    <a:pt x="111" y="38"/>
                    <a:pt x="111" y="38"/>
                    <a:pt x="110" y="38"/>
                  </a:cubicBezTo>
                  <a:cubicBezTo>
                    <a:pt x="110" y="38"/>
                    <a:pt x="110" y="38"/>
                    <a:pt x="110" y="38"/>
                  </a:cubicBezTo>
                  <a:cubicBezTo>
                    <a:pt x="110" y="38"/>
                    <a:pt x="110" y="38"/>
                    <a:pt x="110" y="38"/>
                  </a:cubicBezTo>
                  <a:cubicBezTo>
                    <a:pt x="109" y="38"/>
                    <a:pt x="109" y="38"/>
                    <a:pt x="109" y="38"/>
                  </a:cubicBezTo>
                  <a:cubicBezTo>
                    <a:pt x="109" y="38"/>
                    <a:pt x="109" y="38"/>
                    <a:pt x="108" y="38"/>
                  </a:cubicBezTo>
                  <a:cubicBezTo>
                    <a:pt x="108" y="38"/>
                    <a:pt x="108" y="38"/>
                    <a:pt x="108" y="38"/>
                  </a:cubicBezTo>
                  <a:cubicBezTo>
                    <a:pt x="108" y="38"/>
                    <a:pt x="107" y="38"/>
                    <a:pt x="107" y="38"/>
                  </a:cubicBezTo>
                  <a:cubicBezTo>
                    <a:pt x="105" y="37"/>
                    <a:pt x="105" y="36"/>
                    <a:pt x="104" y="34"/>
                  </a:cubicBezTo>
                  <a:cubicBezTo>
                    <a:pt x="104" y="34"/>
                    <a:pt x="104" y="34"/>
                    <a:pt x="103" y="33"/>
                  </a:cubicBezTo>
                  <a:cubicBezTo>
                    <a:pt x="103" y="33"/>
                    <a:pt x="103" y="33"/>
                    <a:pt x="102" y="33"/>
                  </a:cubicBezTo>
                  <a:cubicBezTo>
                    <a:pt x="101" y="32"/>
                    <a:pt x="100" y="31"/>
                    <a:pt x="99" y="31"/>
                  </a:cubicBezTo>
                  <a:cubicBezTo>
                    <a:pt x="98" y="30"/>
                    <a:pt x="98" y="30"/>
                    <a:pt x="98" y="29"/>
                  </a:cubicBezTo>
                  <a:cubicBezTo>
                    <a:pt x="97" y="29"/>
                    <a:pt x="97" y="29"/>
                    <a:pt x="97" y="29"/>
                  </a:cubicBezTo>
                  <a:cubicBezTo>
                    <a:pt x="97" y="28"/>
                    <a:pt x="97" y="28"/>
                    <a:pt x="97" y="28"/>
                  </a:cubicBezTo>
                  <a:cubicBezTo>
                    <a:pt x="89" y="22"/>
                    <a:pt x="89" y="22"/>
                    <a:pt x="89" y="22"/>
                  </a:cubicBezTo>
                  <a:cubicBezTo>
                    <a:pt x="97" y="16"/>
                    <a:pt x="97" y="16"/>
                    <a:pt x="97" y="16"/>
                  </a:cubicBezTo>
                  <a:cubicBezTo>
                    <a:pt x="95" y="15"/>
                    <a:pt x="94" y="13"/>
                    <a:pt x="95" y="11"/>
                  </a:cubicBezTo>
                  <a:cubicBezTo>
                    <a:pt x="96" y="10"/>
                    <a:pt x="96" y="9"/>
                    <a:pt x="97" y="8"/>
                  </a:cubicBezTo>
                  <a:cubicBezTo>
                    <a:pt x="97" y="7"/>
                    <a:pt x="97" y="7"/>
                    <a:pt x="97" y="7"/>
                  </a:cubicBezTo>
                  <a:cubicBezTo>
                    <a:pt x="97" y="7"/>
                    <a:pt x="97" y="7"/>
                    <a:pt x="97" y="7"/>
                  </a:cubicBezTo>
                  <a:cubicBezTo>
                    <a:pt x="96" y="5"/>
                    <a:pt x="96" y="5"/>
                    <a:pt x="96" y="5"/>
                  </a:cubicBezTo>
                  <a:cubicBezTo>
                    <a:pt x="94" y="2"/>
                    <a:pt x="93" y="1"/>
                    <a:pt x="92" y="1"/>
                  </a:cubicBezTo>
                  <a:cubicBezTo>
                    <a:pt x="92" y="1"/>
                    <a:pt x="91" y="1"/>
                    <a:pt x="88" y="3"/>
                  </a:cubicBezTo>
                  <a:cubicBezTo>
                    <a:pt x="87" y="4"/>
                    <a:pt x="87" y="4"/>
                    <a:pt x="87" y="4"/>
                  </a:cubicBezTo>
                  <a:cubicBezTo>
                    <a:pt x="83" y="6"/>
                    <a:pt x="81" y="8"/>
                    <a:pt x="78" y="10"/>
                  </a:cubicBezTo>
                  <a:cubicBezTo>
                    <a:pt x="75" y="11"/>
                    <a:pt x="75" y="11"/>
                    <a:pt x="75" y="11"/>
                  </a:cubicBezTo>
                  <a:cubicBezTo>
                    <a:pt x="74" y="12"/>
                    <a:pt x="73" y="13"/>
                    <a:pt x="72" y="13"/>
                  </a:cubicBezTo>
                  <a:cubicBezTo>
                    <a:pt x="70" y="15"/>
                    <a:pt x="68" y="16"/>
                    <a:pt x="67" y="17"/>
                  </a:cubicBezTo>
                  <a:cubicBezTo>
                    <a:pt x="66" y="18"/>
                    <a:pt x="66" y="18"/>
                    <a:pt x="65" y="19"/>
                  </a:cubicBezTo>
                  <a:cubicBezTo>
                    <a:pt x="64" y="20"/>
                    <a:pt x="64" y="20"/>
                    <a:pt x="64" y="20"/>
                  </a:cubicBezTo>
                  <a:cubicBezTo>
                    <a:pt x="63" y="21"/>
                    <a:pt x="63" y="21"/>
                    <a:pt x="63" y="21"/>
                  </a:cubicBezTo>
                  <a:cubicBezTo>
                    <a:pt x="62" y="22"/>
                    <a:pt x="61" y="23"/>
                    <a:pt x="60" y="24"/>
                  </a:cubicBezTo>
                  <a:cubicBezTo>
                    <a:pt x="60" y="24"/>
                    <a:pt x="60" y="24"/>
                    <a:pt x="60" y="24"/>
                  </a:cubicBezTo>
                  <a:cubicBezTo>
                    <a:pt x="56" y="30"/>
                    <a:pt x="56" y="30"/>
                    <a:pt x="56" y="30"/>
                  </a:cubicBezTo>
                  <a:cubicBezTo>
                    <a:pt x="56" y="28"/>
                    <a:pt x="56" y="28"/>
                    <a:pt x="56" y="28"/>
                  </a:cubicBezTo>
                  <a:cubicBezTo>
                    <a:pt x="56" y="28"/>
                    <a:pt x="56" y="28"/>
                    <a:pt x="56" y="28"/>
                  </a:cubicBezTo>
                  <a:cubicBezTo>
                    <a:pt x="55" y="25"/>
                    <a:pt x="55" y="25"/>
                    <a:pt x="55" y="25"/>
                  </a:cubicBezTo>
                  <a:cubicBezTo>
                    <a:pt x="55" y="25"/>
                    <a:pt x="55" y="25"/>
                    <a:pt x="55" y="25"/>
                  </a:cubicBezTo>
                  <a:cubicBezTo>
                    <a:pt x="55" y="25"/>
                    <a:pt x="55" y="25"/>
                    <a:pt x="55" y="25"/>
                  </a:cubicBezTo>
                  <a:cubicBezTo>
                    <a:pt x="55" y="25"/>
                    <a:pt x="55" y="25"/>
                    <a:pt x="55" y="25"/>
                  </a:cubicBezTo>
                  <a:cubicBezTo>
                    <a:pt x="54" y="25"/>
                    <a:pt x="53" y="25"/>
                    <a:pt x="53" y="25"/>
                  </a:cubicBezTo>
                  <a:cubicBezTo>
                    <a:pt x="52" y="25"/>
                    <a:pt x="52" y="25"/>
                    <a:pt x="52" y="25"/>
                  </a:cubicBezTo>
                  <a:cubicBezTo>
                    <a:pt x="52" y="26"/>
                    <a:pt x="52" y="26"/>
                    <a:pt x="52" y="26"/>
                  </a:cubicBezTo>
                  <a:cubicBezTo>
                    <a:pt x="49" y="26"/>
                    <a:pt x="49" y="26"/>
                    <a:pt x="49" y="26"/>
                  </a:cubicBezTo>
                  <a:cubicBezTo>
                    <a:pt x="49" y="26"/>
                    <a:pt x="45" y="25"/>
                    <a:pt x="42" y="25"/>
                  </a:cubicBezTo>
                  <a:cubicBezTo>
                    <a:pt x="37" y="24"/>
                    <a:pt x="29" y="22"/>
                    <a:pt x="27" y="19"/>
                  </a:cubicBezTo>
                  <a:cubicBezTo>
                    <a:pt x="27" y="18"/>
                    <a:pt x="25" y="17"/>
                    <a:pt x="24" y="15"/>
                  </a:cubicBezTo>
                  <a:cubicBezTo>
                    <a:pt x="23" y="15"/>
                    <a:pt x="23" y="15"/>
                    <a:pt x="23" y="15"/>
                  </a:cubicBezTo>
                  <a:cubicBezTo>
                    <a:pt x="23" y="14"/>
                    <a:pt x="22" y="14"/>
                    <a:pt x="22" y="13"/>
                  </a:cubicBezTo>
                  <a:cubicBezTo>
                    <a:pt x="17" y="9"/>
                    <a:pt x="14" y="6"/>
                    <a:pt x="14" y="4"/>
                  </a:cubicBezTo>
                  <a:cubicBezTo>
                    <a:pt x="13" y="4"/>
                    <a:pt x="13" y="4"/>
                    <a:pt x="13" y="3"/>
                  </a:cubicBezTo>
                  <a:cubicBezTo>
                    <a:pt x="12" y="4"/>
                    <a:pt x="12" y="4"/>
                    <a:pt x="12" y="4"/>
                  </a:cubicBezTo>
                  <a:cubicBezTo>
                    <a:pt x="12" y="3"/>
                    <a:pt x="12" y="3"/>
                    <a:pt x="12" y="3"/>
                  </a:cubicBezTo>
                  <a:cubicBezTo>
                    <a:pt x="12" y="2"/>
                    <a:pt x="12" y="2"/>
                    <a:pt x="12" y="2"/>
                  </a:cubicBezTo>
                  <a:cubicBezTo>
                    <a:pt x="12" y="2"/>
                    <a:pt x="12" y="2"/>
                    <a:pt x="12" y="2"/>
                  </a:cubicBezTo>
                  <a:cubicBezTo>
                    <a:pt x="11" y="1"/>
                    <a:pt x="11" y="1"/>
                    <a:pt x="11" y="1"/>
                  </a:cubicBezTo>
                  <a:cubicBezTo>
                    <a:pt x="10" y="0"/>
                    <a:pt x="10" y="0"/>
                    <a:pt x="10"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507"/>
            <p:cNvSpPr/>
            <p:nvPr/>
          </p:nvSpPr>
          <p:spPr bwMode="auto">
            <a:xfrm>
              <a:off x="1738251" y="2358529"/>
              <a:ext cx="44323" cy="92676"/>
            </a:xfrm>
            <a:custGeom>
              <a:gdLst>
                <a:gd name="T0" fmla="*/ 14 w 14"/>
                <a:gd name="T1" fmla="*/ 0 h 29"/>
                <a:gd name="T2" fmla="*/ 13 w 14"/>
                <a:gd name="T3" fmla="*/ 0 h 29"/>
                <a:gd name="T4" fmla="*/ 9 w 14"/>
                <a:gd name="T5" fmla="*/ 3 h 29"/>
                <a:gd name="T6" fmla="*/ 5 w 14"/>
                <a:gd name="T7" fmla="*/ 7 h 29"/>
                <a:gd name="T8" fmla="*/ 1 w 14"/>
                <a:gd name="T9" fmla="*/ 10 h 29"/>
                <a:gd name="T10" fmla="*/ 0 w 14"/>
                <a:gd name="T11" fmla="*/ 11 h 29"/>
                <a:gd name="T12" fmla="*/ 10 w 14"/>
                <a:gd name="T13" fmla="*/ 29 h 29"/>
                <a:gd name="T14" fmla="*/ 8 w 14"/>
                <a:gd name="T15" fmla="*/ 20 h 29"/>
                <a:gd name="T16" fmla="*/ 10 w 14"/>
                <a:gd name="T17" fmla="*/ 13 h 29"/>
                <a:gd name="T18" fmla="*/ 9 w 14"/>
                <a:gd name="T19" fmla="*/ 10 h 29"/>
                <a:gd name="T20" fmla="*/ 8 w 14"/>
                <a:gd name="T21" fmla="*/ 10 h 29"/>
                <a:gd name="T22" fmla="*/ 7 w 14"/>
                <a:gd name="T23" fmla="*/ 11 h 29"/>
                <a:gd name="T24" fmla="*/ 9 w 14"/>
                <a:gd name="T25" fmla="*/ 7 h 29"/>
                <a:gd name="T26" fmla="*/ 13 w 14"/>
                <a:gd name="T27" fmla="*/ 1 h 29"/>
                <a:gd name="T28" fmla="*/ 14 w 14"/>
                <a:gd name="T29"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8">
                  <a:moveTo>
                    <a:pt x="14" y="0"/>
                  </a:moveTo>
                  <a:cubicBezTo>
                    <a:pt x="13" y="0"/>
                    <a:pt x="13" y="0"/>
                    <a:pt x="13" y="0"/>
                  </a:cubicBezTo>
                  <a:cubicBezTo>
                    <a:pt x="12" y="1"/>
                    <a:pt x="10" y="2"/>
                    <a:pt x="9" y="3"/>
                  </a:cubicBezTo>
                  <a:cubicBezTo>
                    <a:pt x="7" y="5"/>
                    <a:pt x="6" y="6"/>
                    <a:pt x="5" y="7"/>
                  </a:cubicBezTo>
                  <a:cubicBezTo>
                    <a:pt x="2" y="10"/>
                    <a:pt x="1" y="10"/>
                    <a:pt x="1" y="10"/>
                  </a:cubicBezTo>
                  <a:cubicBezTo>
                    <a:pt x="1" y="10"/>
                    <a:pt x="1" y="11"/>
                    <a:pt x="0" y="11"/>
                  </a:cubicBezTo>
                  <a:cubicBezTo>
                    <a:pt x="3" y="17"/>
                    <a:pt x="7" y="23"/>
                    <a:pt x="10" y="29"/>
                  </a:cubicBezTo>
                  <a:cubicBezTo>
                    <a:pt x="10" y="26"/>
                    <a:pt x="8" y="23"/>
                    <a:pt x="8" y="20"/>
                  </a:cubicBezTo>
                  <a:cubicBezTo>
                    <a:pt x="8" y="18"/>
                    <a:pt x="10" y="15"/>
                    <a:pt x="10" y="13"/>
                  </a:cubicBezTo>
                  <a:cubicBezTo>
                    <a:pt x="10" y="11"/>
                    <a:pt x="11" y="10"/>
                    <a:pt x="9" y="10"/>
                  </a:cubicBezTo>
                  <a:cubicBezTo>
                    <a:pt x="9" y="10"/>
                    <a:pt x="9" y="10"/>
                    <a:pt x="8" y="10"/>
                  </a:cubicBezTo>
                  <a:cubicBezTo>
                    <a:pt x="8" y="10"/>
                    <a:pt x="8" y="11"/>
                    <a:pt x="7" y="11"/>
                  </a:cubicBezTo>
                  <a:cubicBezTo>
                    <a:pt x="6" y="11"/>
                    <a:pt x="8" y="7"/>
                    <a:pt x="9" y="7"/>
                  </a:cubicBezTo>
                  <a:cubicBezTo>
                    <a:pt x="10" y="4"/>
                    <a:pt x="11" y="2"/>
                    <a:pt x="13" y="1"/>
                  </a:cubicBezTo>
                  <a:cubicBezTo>
                    <a:pt x="13"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508"/>
            <p:cNvSpPr/>
            <p:nvPr/>
          </p:nvSpPr>
          <p:spPr bwMode="auto">
            <a:xfrm>
              <a:off x="1753025" y="2302118"/>
              <a:ext cx="1082559" cy="668877"/>
            </a:xfrm>
            <a:custGeom>
              <a:gdLst>
                <a:gd name="T0" fmla="*/ 142 w 341"/>
                <a:gd name="T1" fmla="*/ 12 h 211"/>
                <a:gd name="T2" fmla="*/ 133 w 341"/>
                <a:gd name="T3" fmla="*/ 7 h 211"/>
                <a:gd name="T4" fmla="*/ 113 w 341"/>
                <a:gd name="T5" fmla="*/ 20 h 211"/>
                <a:gd name="T6" fmla="*/ 109 w 341"/>
                <a:gd name="T7" fmla="*/ 31 h 211"/>
                <a:gd name="T8" fmla="*/ 93 w 341"/>
                <a:gd name="T9" fmla="*/ 42 h 211"/>
                <a:gd name="T10" fmla="*/ 75 w 341"/>
                <a:gd name="T11" fmla="*/ 42 h 211"/>
                <a:gd name="T12" fmla="*/ 65 w 341"/>
                <a:gd name="T13" fmla="*/ 40 h 211"/>
                <a:gd name="T14" fmla="*/ 46 w 341"/>
                <a:gd name="T15" fmla="*/ 20 h 211"/>
                <a:gd name="T16" fmla="*/ 31 w 341"/>
                <a:gd name="T17" fmla="*/ 12 h 211"/>
                <a:gd name="T18" fmla="*/ 26 w 341"/>
                <a:gd name="T19" fmla="*/ 15 h 211"/>
                <a:gd name="T20" fmla="*/ 46 w 341"/>
                <a:gd name="T21" fmla="*/ 52 h 211"/>
                <a:gd name="T22" fmla="*/ 41 w 341"/>
                <a:gd name="T23" fmla="*/ 57 h 211"/>
                <a:gd name="T24" fmla="*/ 27 w 341"/>
                <a:gd name="T25" fmla="*/ 60 h 211"/>
                <a:gd name="T26" fmla="*/ 19 w 341"/>
                <a:gd name="T27" fmla="*/ 56 h 211"/>
                <a:gd name="T28" fmla="*/ 6 w 341"/>
                <a:gd name="T29" fmla="*/ 77 h 211"/>
                <a:gd name="T30" fmla="*/ 15 w 341"/>
                <a:gd name="T31" fmla="*/ 78 h 211"/>
                <a:gd name="T32" fmla="*/ 18 w 341"/>
                <a:gd name="T33" fmla="*/ 78 h 211"/>
                <a:gd name="T34" fmla="*/ 15 w 341"/>
                <a:gd name="T35" fmla="*/ 91 h 211"/>
                <a:gd name="T36" fmla="*/ 12 w 341"/>
                <a:gd name="T37" fmla="*/ 96 h 211"/>
                <a:gd name="T38" fmla="*/ 31 w 341"/>
                <a:gd name="T39" fmla="*/ 159 h 211"/>
                <a:gd name="T40" fmla="*/ 85 w 341"/>
                <a:gd name="T41" fmla="*/ 130 h 211"/>
                <a:gd name="T42" fmla="*/ 93 w 341"/>
                <a:gd name="T43" fmla="*/ 125 h 211"/>
                <a:gd name="T44" fmla="*/ 110 w 341"/>
                <a:gd name="T45" fmla="*/ 125 h 211"/>
                <a:gd name="T46" fmla="*/ 129 w 341"/>
                <a:gd name="T47" fmla="*/ 136 h 211"/>
                <a:gd name="T48" fmla="*/ 138 w 341"/>
                <a:gd name="T49" fmla="*/ 142 h 211"/>
                <a:gd name="T50" fmla="*/ 144 w 341"/>
                <a:gd name="T51" fmla="*/ 142 h 211"/>
                <a:gd name="T52" fmla="*/ 163 w 341"/>
                <a:gd name="T53" fmla="*/ 145 h 211"/>
                <a:gd name="T54" fmla="*/ 174 w 341"/>
                <a:gd name="T55" fmla="*/ 157 h 211"/>
                <a:gd name="T56" fmla="*/ 190 w 341"/>
                <a:gd name="T57" fmla="*/ 170 h 211"/>
                <a:gd name="T58" fmla="*/ 200 w 341"/>
                <a:gd name="T59" fmla="*/ 170 h 211"/>
                <a:gd name="T60" fmla="*/ 212 w 341"/>
                <a:gd name="T61" fmla="*/ 175 h 211"/>
                <a:gd name="T62" fmla="*/ 214 w 341"/>
                <a:gd name="T63" fmla="*/ 200 h 211"/>
                <a:gd name="T64" fmla="*/ 223 w 341"/>
                <a:gd name="T65" fmla="*/ 203 h 211"/>
                <a:gd name="T66" fmla="*/ 237 w 341"/>
                <a:gd name="T67" fmla="*/ 211 h 211"/>
                <a:gd name="T68" fmla="*/ 254 w 341"/>
                <a:gd name="T69" fmla="*/ 203 h 211"/>
                <a:gd name="T70" fmla="*/ 266 w 341"/>
                <a:gd name="T71" fmla="*/ 191 h 211"/>
                <a:gd name="T72" fmla="*/ 290 w 341"/>
                <a:gd name="T73" fmla="*/ 176 h 211"/>
                <a:gd name="T74" fmla="*/ 310 w 341"/>
                <a:gd name="T75" fmla="*/ 154 h 211"/>
                <a:gd name="T76" fmla="*/ 321 w 341"/>
                <a:gd name="T77" fmla="*/ 146 h 211"/>
                <a:gd name="T78" fmla="*/ 328 w 341"/>
                <a:gd name="T79" fmla="*/ 147 h 211"/>
                <a:gd name="T80" fmla="*/ 335 w 341"/>
                <a:gd name="T81" fmla="*/ 150 h 211"/>
                <a:gd name="T82" fmla="*/ 339 w 341"/>
                <a:gd name="T83" fmla="*/ 147 h 211"/>
                <a:gd name="T84" fmla="*/ 337 w 341"/>
                <a:gd name="T85" fmla="*/ 136 h 211"/>
                <a:gd name="T86" fmla="*/ 321 w 341"/>
                <a:gd name="T87" fmla="*/ 131 h 211"/>
                <a:gd name="T88" fmla="*/ 298 w 341"/>
                <a:gd name="T89" fmla="*/ 118 h 211"/>
                <a:gd name="T90" fmla="*/ 255 w 341"/>
                <a:gd name="T91" fmla="*/ 91 h 211"/>
                <a:gd name="T92" fmla="*/ 239 w 341"/>
                <a:gd name="T93" fmla="*/ 79 h 211"/>
                <a:gd name="T94" fmla="*/ 234 w 341"/>
                <a:gd name="T95" fmla="*/ 67 h 211"/>
                <a:gd name="T96" fmla="*/ 210 w 341"/>
                <a:gd name="T97" fmla="*/ 46 h 211"/>
                <a:gd name="T98" fmla="*/ 192 w 341"/>
                <a:gd name="T99" fmla="*/ 44 h 211"/>
                <a:gd name="T100" fmla="*/ 179 w 341"/>
                <a:gd name="T101" fmla="*/ 33 h 211"/>
                <a:gd name="T102" fmla="*/ 177 w 341"/>
                <a:gd name="T103" fmla="*/ 23 h 211"/>
                <a:gd name="T104" fmla="*/ 172 w 341"/>
                <a:gd name="T105" fmla="*/ 13 h 211"/>
                <a:gd name="T106" fmla="*/ 159 w 341"/>
                <a:gd name="T107" fmla="*/ 8 h 211"/>
                <a:gd name="T108" fmla="*/ 156 w 341"/>
                <a:gd name="T109" fmla="*/ 6 h 2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1" h="211">
                  <a:moveTo>
                    <a:pt x="146" y="0"/>
                  </a:moveTo>
                  <a:cubicBezTo>
                    <a:pt x="146" y="0"/>
                    <a:pt x="146" y="0"/>
                    <a:pt x="146" y="0"/>
                  </a:cubicBezTo>
                  <a:cubicBezTo>
                    <a:pt x="143" y="3"/>
                    <a:pt x="143" y="3"/>
                    <a:pt x="143" y="4"/>
                  </a:cubicBezTo>
                  <a:cubicBezTo>
                    <a:pt x="144" y="5"/>
                    <a:pt x="145" y="6"/>
                    <a:pt x="145" y="7"/>
                  </a:cubicBezTo>
                  <a:cubicBezTo>
                    <a:pt x="158" y="22"/>
                    <a:pt x="158" y="22"/>
                    <a:pt x="158" y="22"/>
                  </a:cubicBezTo>
                  <a:cubicBezTo>
                    <a:pt x="142" y="12"/>
                    <a:pt x="142" y="12"/>
                    <a:pt x="142" y="12"/>
                  </a:cubicBezTo>
                  <a:cubicBezTo>
                    <a:pt x="141" y="12"/>
                    <a:pt x="140" y="11"/>
                    <a:pt x="139" y="10"/>
                  </a:cubicBezTo>
                  <a:cubicBezTo>
                    <a:pt x="139" y="10"/>
                    <a:pt x="139" y="10"/>
                    <a:pt x="139" y="9"/>
                  </a:cubicBezTo>
                  <a:cubicBezTo>
                    <a:pt x="138" y="9"/>
                    <a:pt x="137" y="8"/>
                    <a:pt x="136" y="8"/>
                  </a:cubicBezTo>
                  <a:cubicBezTo>
                    <a:pt x="135" y="8"/>
                    <a:pt x="135" y="8"/>
                    <a:pt x="135" y="8"/>
                  </a:cubicBezTo>
                  <a:cubicBezTo>
                    <a:pt x="134" y="7"/>
                    <a:pt x="134" y="7"/>
                    <a:pt x="134" y="7"/>
                  </a:cubicBezTo>
                  <a:cubicBezTo>
                    <a:pt x="133" y="7"/>
                    <a:pt x="133" y="7"/>
                    <a:pt x="133" y="7"/>
                  </a:cubicBezTo>
                  <a:cubicBezTo>
                    <a:pt x="133" y="8"/>
                    <a:pt x="133" y="9"/>
                    <a:pt x="132" y="9"/>
                  </a:cubicBezTo>
                  <a:cubicBezTo>
                    <a:pt x="132" y="10"/>
                    <a:pt x="132" y="11"/>
                    <a:pt x="131" y="12"/>
                  </a:cubicBezTo>
                  <a:cubicBezTo>
                    <a:pt x="130" y="16"/>
                    <a:pt x="127" y="16"/>
                    <a:pt x="124" y="17"/>
                  </a:cubicBezTo>
                  <a:cubicBezTo>
                    <a:pt x="123" y="18"/>
                    <a:pt x="121" y="18"/>
                    <a:pt x="120" y="18"/>
                  </a:cubicBezTo>
                  <a:cubicBezTo>
                    <a:pt x="118" y="19"/>
                    <a:pt x="115" y="19"/>
                    <a:pt x="114" y="19"/>
                  </a:cubicBezTo>
                  <a:cubicBezTo>
                    <a:pt x="114" y="20"/>
                    <a:pt x="113" y="20"/>
                    <a:pt x="113" y="20"/>
                  </a:cubicBezTo>
                  <a:cubicBezTo>
                    <a:pt x="113" y="20"/>
                    <a:pt x="113" y="20"/>
                    <a:pt x="113" y="20"/>
                  </a:cubicBezTo>
                  <a:cubicBezTo>
                    <a:pt x="112" y="21"/>
                    <a:pt x="111" y="24"/>
                    <a:pt x="111" y="25"/>
                  </a:cubicBezTo>
                  <a:cubicBezTo>
                    <a:pt x="110" y="26"/>
                    <a:pt x="110" y="28"/>
                    <a:pt x="109" y="28"/>
                  </a:cubicBezTo>
                  <a:cubicBezTo>
                    <a:pt x="109" y="29"/>
                    <a:pt x="109" y="29"/>
                    <a:pt x="109" y="29"/>
                  </a:cubicBezTo>
                  <a:cubicBezTo>
                    <a:pt x="109" y="30"/>
                    <a:pt x="109" y="30"/>
                    <a:pt x="109" y="30"/>
                  </a:cubicBezTo>
                  <a:cubicBezTo>
                    <a:pt x="109" y="31"/>
                    <a:pt x="109" y="31"/>
                    <a:pt x="109" y="31"/>
                  </a:cubicBezTo>
                  <a:cubicBezTo>
                    <a:pt x="109" y="31"/>
                    <a:pt x="110" y="32"/>
                    <a:pt x="110" y="33"/>
                  </a:cubicBezTo>
                  <a:cubicBezTo>
                    <a:pt x="110" y="34"/>
                    <a:pt x="110" y="34"/>
                    <a:pt x="111" y="34"/>
                  </a:cubicBezTo>
                  <a:cubicBezTo>
                    <a:pt x="111" y="34"/>
                    <a:pt x="111" y="34"/>
                    <a:pt x="111" y="34"/>
                  </a:cubicBezTo>
                  <a:cubicBezTo>
                    <a:pt x="128" y="36"/>
                    <a:pt x="128" y="36"/>
                    <a:pt x="128" y="36"/>
                  </a:cubicBezTo>
                  <a:cubicBezTo>
                    <a:pt x="111" y="40"/>
                    <a:pt x="111" y="40"/>
                    <a:pt x="111" y="40"/>
                  </a:cubicBezTo>
                  <a:cubicBezTo>
                    <a:pt x="105" y="42"/>
                    <a:pt x="99" y="42"/>
                    <a:pt x="93" y="42"/>
                  </a:cubicBezTo>
                  <a:cubicBezTo>
                    <a:pt x="89" y="42"/>
                    <a:pt x="85" y="42"/>
                    <a:pt x="82" y="42"/>
                  </a:cubicBezTo>
                  <a:cubicBezTo>
                    <a:pt x="81" y="42"/>
                    <a:pt x="81" y="42"/>
                    <a:pt x="81" y="42"/>
                  </a:cubicBezTo>
                  <a:cubicBezTo>
                    <a:pt x="81" y="42"/>
                    <a:pt x="80" y="42"/>
                    <a:pt x="80" y="42"/>
                  </a:cubicBezTo>
                  <a:cubicBezTo>
                    <a:pt x="79" y="42"/>
                    <a:pt x="79" y="42"/>
                    <a:pt x="79" y="42"/>
                  </a:cubicBezTo>
                  <a:cubicBezTo>
                    <a:pt x="78" y="42"/>
                    <a:pt x="78" y="42"/>
                    <a:pt x="78" y="42"/>
                  </a:cubicBezTo>
                  <a:cubicBezTo>
                    <a:pt x="77" y="42"/>
                    <a:pt x="76" y="42"/>
                    <a:pt x="75" y="42"/>
                  </a:cubicBezTo>
                  <a:cubicBezTo>
                    <a:pt x="73" y="42"/>
                    <a:pt x="71" y="43"/>
                    <a:pt x="69" y="43"/>
                  </a:cubicBezTo>
                  <a:cubicBezTo>
                    <a:pt x="69" y="43"/>
                    <a:pt x="69" y="43"/>
                    <a:pt x="69" y="43"/>
                  </a:cubicBezTo>
                  <a:cubicBezTo>
                    <a:pt x="68" y="43"/>
                    <a:pt x="68" y="43"/>
                    <a:pt x="68" y="43"/>
                  </a:cubicBezTo>
                  <a:cubicBezTo>
                    <a:pt x="67" y="43"/>
                    <a:pt x="67" y="42"/>
                    <a:pt x="66" y="42"/>
                  </a:cubicBezTo>
                  <a:cubicBezTo>
                    <a:pt x="66" y="42"/>
                    <a:pt x="66" y="42"/>
                    <a:pt x="66" y="42"/>
                  </a:cubicBezTo>
                  <a:cubicBezTo>
                    <a:pt x="65" y="41"/>
                    <a:pt x="65" y="40"/>
                    <a:pt x="65" y="40"/>
                  </a:cubicBezTo>
                  <a:cubicBezTo>
                    <a:pt x="62" y="38"/>
                    <a:pt x="61" y="36"/>
                    <a:pt x="59" y="34"/>
                  </a:cubicBezTo>
                  <a:cubicBezTo>
                    <a:pt x="59" y="33"/>
                    <a:pt x="59" y="33"/>
                    <a:pt x="59" y="33"/>
                  </a:cubicBezTo>
                  <a:cubicBezTo>
                    <a:pt x="58" y="32"/>
                    <a:pt x="57" y="31"/>
                    <a:pt x="57" y="30"/>
                  </a:cubicBezTo>
                  <a:cubicBezTo>
                    <a:pt x="55" y="28"/>
                    <a:pt x="54" y="27"/>
                    <a:pt x="52" y="26"/>
                  </a:cubicBezTo>
                  <a:cubicBezTo>
                    <a:pt x="50" y="24"/>
                    <a:pt x="50" y="24"/>
                    <a:pt x="50" y="24"/>
                  </a:cubicBezTo>
                  <a:cubicBezTo>
                    <a:pt x="49" y="23"/>
                    <a:pt x="47" y="22"/>
                    <a:pt x="46" y="20"/>
                  </a:cubicBezTo>
                  <a:cubicBezTo>
                    <a:pt x="43" y="18"/>
                    <a:pt x="40" y="15"/>
                    <a:pt x="37" y="13"/>
                  </a:cubicBezTo>
                  <a:cubicBezTo>
                    <a:pt x="37" y="13"/>
                    <a:pt x="37" y="13"/>
                    <a:pt x="37" y="13"/>
                  </a:cubicBezTo>
                  <a:cubicBezTo>
                    <a:pt x="36" y="13"/>
                    <a:pt x="36" y="12"/>
                    <a:pt x="35" y="12"/>
                  </a:cubicBezTo>
                  <a:cubicBezTo>
                    <a:pt x="35" y="12"/>
                    <a:pt x="35" y="12"/>
                    <a:pt x="34" y="12"/>
                  </a:cubicBezTo>
                  <a:cubicBezTo>
                    <a:pt x="34" y="12"/>
                    <a:pt x="34" y="12"/>
                    <a:pt x="33" y="12"/>
                  </a:cubicBezTo>
                  <a:cubicBezTo>
                    <a:pt x="33" y="12"/>
                    <a:pt x="32" y="12"/>
                    <a:pt x="31" y="12"/>
                  </a:cubicBezTo>
                  <a:cubicBezTo>
                    <a:pt x="30" y="12"/>
                    <a:pt x="30" y="12"/>
                    <a:pt x="30" y="12"/>
                  </a:cubicBezTo>
                  <a:cubicBezTo>
                    <a:pt x="28" y="13"/>
                    <a:pt x="25" y="13"/>
                    <a:pt x="22" y="13"/>
                  </a:cubicBezTo>
                  <a:cubicBezTo>
                    <a:pt x="18" y="14"/>
                    <a:pt x="14" y="15"/>
                    <a:pt x="11" y="17"/>
                  </a:cubicBezTo>
                  <a:cubicBezTo>
                    <a:pt x="13" y="16"/>
                    <a:pt x="14" y="16"/>
                    <a:pt x="16" y="16"/>
                  </a:cubicBezTo>
                  <a:cubicBezTo>
                    <a:pt x="19" y="15"/>
                    <a:pt x="21" y="15"/>
                    <a:pt x="24" y="15"/>
                  </a:cubicBezTo>
                  <a:cubicBezTo>
                    <a:pt x="25" y="15"/>
                    <a:pt x="25" y="15"/>
                    <a:pt x="26" y="15"/>
                  </a:cubicBezTo>
                  <a:cubicBezTo>
                    <a:pt x="32" y="16"/>
                    <a:pt x="29" y="18"/>
                    <a:pt x="30" y="22"/>
                  </a:cubicBezTo>
                  <a:cubicBezTo>
                    <a:pt x="30" y="24"/>
                    <a:pt x="32" y="26"/>
                    <a:pt x="33" y="28"/>
                  </a:cubicBezTo>
                  <a:cubicBezTo>
                    <a:pt x="33" y="31"/>
                    <a:pt x="33" y="33"/>
                    <a:pt x="35" y="35"/>
                  </a:cubicBezTo>
                  <a:cubicBezTo>
                    <a:pt x="38" y="38"/>
                    <a:pt x="44" y="40"/>
                    <a:pt x="48" y="43"/>
                  </a:cubicBezTo>
                  <a:cubicBezTo>
                    <a:pt x="49" y="45"/>
                    <a:pt x="52" y="48"/>
                    <a:pt x="51" y="50"/>
                  </a:cubicBezTo>
                  <a:cubicBezTo>
                    <a:pt x="50" y="52"/>
                    <a:pt x="48" y="52"/>
                    <a:pt x="46" y="52"/>
                  </a:cubicBezTo>
                  <a:cubicBezTo>
                    <a:pt x="46" y="52"/>
                    <a:pt x="45" y="52"/>
                    <a:pt x="44" y="52"/>
                  </a:cubicBezTo>
                  <a:cubicBezTo>
                    <a:pt x="43" y="52"/>
                    <a:pt x="43" y="52"/>
                    <a:pt x="42" y="52"/>
                  </a:cubicBezTo>
                  <a:cubicBezTo>
                    <a:pt x="40" y="52"/>
                    <a:pt x="39" y="52"/>
                    <a:pt x="39" y="54"/>
                  </a:cubicBezTo>
                  <a:cubicBezTo>
                    <a:pt x="39" y="56"/>
                    <a:pt x="40" y="57"/>
                    <a:pt x="42" y="57"/>
                  </a:cubicBezTo>
                  <a:cubicBezTo>
                    <a:pt x="42" y="57"/>
                    <a:pt x="42" y="57"/>
                    <a:pt x="42" y="57"/>
                  </a:cubicBezTo>
                  <a:cubicBezTo>
                    <a:pt x="41" y="57"/>
                    <a:pt x="41" y="57"/>
                    <a:pt x="41" y="57"/>
                  </a:cubicBezTo>
                  <a:cubicBezTo>
                    <a:pt x="42" y="58"/>
                    <a:pt x="42" y="58"/>
                    <a:pt x="42" y="58"/>
                  </a:cubicBezTo>
                  <a:cubicBezTo>
                    <a:pt x="41" y="58"/>
                    <a:pt x="39" y="58"/>
                    <a:pt x="38" y="58"/>
                  </a:cubicBezTo>
                  <a:cubicBezTo>
                    <a:pt x="37" y="58"/>
                    <a:pt x="37" y="58"/>
                    <a:pt x="36" y="58"/>
                  </a:cubicBezTo>
                  <a:cubicBezTo>
                    <a:pt x="36" y="58"/>
                    <a:pt x="36" y="58"/>
                    <a:pt x="35" y="58"/>
                  </a:cubicBezTo>
                  <a:cubicBezTo>
                    <a:pt x="33" y="58"/>
                    <a:pt x="32" y="58"/>
                    <a:pt x="30" y="58"/>
                  </a:cubicBezTo>
                  <a:cubicBezTo>
                    <a:pt x="29" y="58"/>
                    <a:pt x="28" y="60"/>
                    <a:pt x="27" y="60"/>
                  </a:cubicBezTo>
                  <a:cubicBezTo>
                    <a:pt x="27" y="60"/>
                    <a:pt x="26" y="60"/>
                    <a:pt x="26" y="59"/>
                  </a:cubicBezTo>
                  <a:cubicBezTo>
                    <a:pt x="24" y="58"/>
                    <a:pt x="25" y="55"/>
                    <a:pt x="24" y="53"/>
                  </a:cubicBezTo>
                  <a:cubicBezTo>
                    <a:pt x="23" y="53"/>
                    <a:pt x="23" y="52"/>
                    <a:pt x="23" y="52"/>
                  </a:cubicBezTo>
                  <a:cubicBezTo>
                    <a:pt x="23" y="52"/>
                    <a:pt x="23" y="54"/>
                    <a:pt x="21" y="55"/>
                  </a:cubicBezTo>
                  <a:cubicBezTo>
                    <a:pt x="20" y="56"/>
                    <a:pt x="20" y="56"/>
                    <a:pt x="19" y="56"/>
                  </a:cubicBezTo>
                  <a:cubicBezTo>
                    <a:pt x="19" y="56"/>
                    <a:pt x="19" y="56"/>
                    <a:pt x="19" y="56"/>
                  </a:cubicBezTo>
                  <a:cubicBezTo>
                    <a:pt x="17" y="56"/>
                    <a:pt x="13" y="56"/>
                    <a:pt x="12" y="55"/>
                  </a:cubicBezTo>
                  <a:cubicBezTo>
                    <a:pt x="9" y="54"/>
                    <a:pt x="7" y="50"/>
                    <a:pt x="6" y="47"/>
                  </a:cubicBezTo>
                  <a:cubicBezTo>
                    <a:pt x="5" y="52"/>
                    <a:pt x="4" y="57"/>
                    <a:pt x="2" y="61"/>
                  </a:cubicBezTo>
                  <a:cubicBezTo>
                    <a:pt x="1" y="63"/>
                    <a:pt x="0" y="66"/>
                    <a:pt x="0" y="68"/>
                  </a:cubicBezTo>
                  <a:cubicBezTo>
                    <a:pt x="0" y="70"/>
                    <a:pt x="1" y="72"/>
                    <a:pt x="2" y="73"/>
                  </a:cubicBezTo>
                  <a:cubicBezTo>
                    <a:pt x="2" y="78"/>
                    <a:pt x="1" y="77"/>
                    <a:pt x="6" y="77"/>
                  </a:cubicBezTo>
                  <a:cubicBezTo>
                    <a:pt x="7" y="77"/>
                    <a:pt x="7" y="77"/>
                    <a:pt x="8" y="77"/>
                  </a:cubicBezTo>
                  <a:cubicBezTo>
                    <a:pt x="8" y="77"/>
                    <a:pt x="9" y="77"/>
                    <a:pt x="9" y="77"/>
                  </a:cubicBezTo>
                  <a:cubicBezTo>
                    <a:pt x="10" y="77"/>
                    <a:pt x="10" y="77"/>
                    <a:pt x="10" y="77"/>
                  </a:cubicBezTo>
                  <a:cubicBezTo>
                    <a:pt x="11" y="77"/>
                    <a:pt x="11" y="77"/>
                    <a:pt x="11" y="77"/>
                  </a:cubicBezTo>
                  <a:cubicBezTo>
                    <a:pt x="12" y="78"/>
                    <a:pt x="13" y="78"/>
                    <a:pt x="14" y="78"/>
                  </a:cubicBezTo>
                  <a:cubicBezTo>
                    <a:pt x="14" y="78"/>
                    <a:pt x="15" y="78"/>
                    <a:pt x="15" y="78"/>
                  </a:cubicBezTo>
                  <a:cubicBezTo>
                    <a:pt x="15" y="78"/>
                    <a:pt x="15" y="78"/>
                    <a:pt x="16" y="78"/>
                  </a:cubicBezTo>
                  <a:cubicBezTo>
                    <a:pt x="16" y="78"/>
                    <a:pt x="16" y="78"/>
                    <a:pt x="16" y="78"/>
                  </a:cubicBezTo>
                  <a:cubicBezTo>
                    <a:pt x="16" y="78"/>
                    <a:pt x="16" y="78"/>
                    <a:pt x="16" y="78"/>
                  </a:cubicBezTo>
                  <a:cubicBezTo>
                    <a:pt x="16" y="78"/>
                    <a:pt x="17" y="78"/>
                    <a:pt x="17" y="78"/>
                  </a:cubicBezTo>
                  <a:cubicBezTo>
                    <a:pt x="17" y="78"/>
                    <a:pt x="17" y="78"/>
                    <a:pt x="17" y="78"/>
                  </a:cubicBezTo>
                  <a:cubicBezTo>
                    <a:pt x="17" y="78"/>
                    <a:pt x="18" y="78"/>
                    <a:pt x="18" y="78"/>
                  </a:cubicBezTo>
                  <a:cubicBezTo>
                    <a:pt x="18" y="78"/>
                    <a:pt x="18" y="78"/>
                    <a:pt x="18" y="78"/>
                  </a:cubicBezTo>
                  <a:cubicBezTo>
                    <a:pt x="19" y="79"/>
                    <a:pt x="18" y="82"/>
                    <a:pt x="18" y="83"/>
                  </a:cubicBezTo>
                  <a:cubicBezTo>
                    <a:pt x="18" y="87"/>
                    <a:pt x="22" y="88"/>
                    <a:pt x="25" y="90"/>
                  </a:cubicBezTo>
                  <a:cubicBezTo>
                    <a:pt x="23" y="91"/>
                    <a:pt x="22" y="91"/>
                    <a:pt x="20" y="92"/>
                  </a:cubicBezTo>
                  <a:cubicBezTo>
                    <a:pt x="20" y="90"/>
                    <a:pt x="20" y="89"/>
                    <a:pt x="20" y="88"/>
                  </a:cubicBezTo>
                  <a:cubicBezTo>
                    <a:pt x="19" y="89"/>
                    <a:pt x="16" y="91"/>
                    <a:pt x="15" y="91"/>
                  </a:cubicBezTo>
                  <a:cubicBezTo>
                    <a:pt x="14" y="91"/>
                    <a:pt x="14" y="91"/>
                    <a:pt x="14" y="90"/>
                  </a:cubicBezTo>
                  <a:cubicBezTo>
                    <a:pt x="13" y="90"/>
                    <a:pt x="15" y="87"/>
                    <a:pt x="15" y="86"/>
                  </a:cubicBezTo>
                  <a:cubicBezTo>
                    <a:pt x="14" y="86"/>
                    <a:pt x="11" y="91"/>
                    <a:pt x="11" y="93"/>
                  </a:cubicBezTo>
                  <a:cubicBezTo>
                    <a:pt x="10" y="95"/>
                    <a:pt x="11" y="97"/>
                    <a:pt x="12" y="100"/>
                  </a:cubicBezTo>
                  <a:cubicBezTo>
                    <a:pt x="12" y="99"/>
                    <a:pt x="13" y="97"/>
                    <a:pt x="12" y="96"/>
                  </a:cubicBezTo>
                  <a:cubicBezTo>
                    <a:pt x="12" y="96"/>
                    <a:pt x="12" y="96"/>
                    <a:pt x="12" y="96"/>
                  </a:cubicBezTo>
                  <a:cubicBezTo>
                    <a:pt x="19" y="96"/>
                    <a:pt x="23" y="101"/>
                    <a:pt x="28" y="105"/>
                  </a:cubicBezTo>
                  <a:cubicBezTo>
                    <a:pt x="31" y="108"/>
                    <a:pt x="31" y="107"/>
                    <a:pt x="30" y="111"/>
                  </a:cubicBezTo>
                  <a:cubicBezTo>
                    <a:pt x="30" y="113"/>
                    <a:pt x="29" y="115"/>
                    <a:pt x="28" y="118"/>
                  </a:cubicBezTo>
                  <a:cubicBezTo>
                    <a:pt x="27" y="126"/>
                    <a:pt x="27" y="135"/>
                    <a:pt x="28" y="143"/>
                  </a:cubicBezTo>
                  <a:cubicBezTo>
                    <a:pt x="29" y="145"/>
                    <a:pt x="29" y="153"/>
                    <a:pt x="30" y="154"/>
                  </a:cubicBezTo>
                  <a:cubicBezTo>
                    <a:pt x="30" y="155"/>
                    <a:pt x="31" y="157"/>
                    <a:pt x="31" y="159"/>
                  </a:cubicBezTo>
                  <a:cubicBezTo>
                    <a:pt x="31" y="160"/>
                    <a:pt x="32" y="162"/>
                    <a:pt x="32" y="163"/>
                  </a:cubicBezTo>
                  <a:cubicBezTo>
                    <a:pt x="62" y="133"/>
                    <a:pt x="62" y="133"/>
                    <a:pt x="62" y="133"/>
                  </a:cubicBezTo>
                  <a:cubicBezTo>
                    <a:pt x="66" y="131"/>
                    <a:pt x="71" y="130"/>
                    <a:pt x="76" y="129"/>
                  </a:cubicBezTo>
                  <a:cubicBezTo>
                    <a:pt x="77" y="129"/>
                    <a:pt x="78" y="129"/>
                    <a:pt x="79" y="129"/>
                  </a:cubicBezTo>
                  <a:cubicBezTo>
                    <a:pt x="80" y="129"/>
                    <a:pt x="82" y="129"/>
                    <a:pt x="84" y="130"/>
                  </a:cubicBezTo>
                  <a:cubicBezTo>
                    <a:pt x="85" y="130"/>
                    <a:pt x="85" y="130"/>
                    <a:pt x="85" y="130"/>
                  </a:cubicBezTo>
                  <a:cubicBezTo>
                    <a:pt x="85" y="130"/>
                    <a:pt x="85" y="130"/>
                    <a:pt x="85" y="130"/>
                  </a:cubicBezTo>
                  <a:cubicBezTo>
                    <a:pt x="87" y="130"/>
                    <a:pt x="87" y="130"/>
                    <a:pt x="89" y="127"/>
                  </a:cubicBezTo>
                  <a:cubicBezTo>
                    <a:pt x="90" y="126"/>
                    <a:pt x="90" y="126"/>
                    <a:pt x="90" y="126"/>
                  </a:cubicBezTo>
                  <a:cubicBezTo>
                    <a:pt x="91" y="126"/>
                    <a:pt x="91" y="126"/>
                    <a:pt x="91" y="126"/>
                  </a:cubicBezTo>
                  <a:cubicBezTo>
                    <a:pt x="91" y="125"/>
                    <a:pt x="92" y="125"/>
                    <a:pt x="93" y="125"/>
                  </a:cubicBezTo>
                  <a:cubicBezTo>
                    <a:pt x="93" y="125"/>
                    <a:pt x="93" y="125"/>
                    <a:pt x="93" y="125"/>
                  </a:cubicBezTo>
                  <a:cubicBezTo>
                    <a:pt x="95" y="124"/>
                    <a:pt x="97" y="124"/>
                    <a:pt x="99" y="124"/>
                  </a:cubicBezTo>
                  <a:cubicBezTo>
                    <a:pt x="99" y="124"/>
                    <a:pt x="99" y="124"/>
                    <a:pt x="100" y="124"/>
                  </a:cubicBezTo>
                  <a:cubicBezTo>
                    <a:pt x="101" y="124"/>
                    <a:pt x="101" y="124"/>
                    <a:pt x="101" y="124"/>
                  </a:cubicBezTo>
                  <a:cubicBezTo>
                    <a:pt x="103" y="124"/>
                    <a:pt x="104" y="124"/>
                    <a:pt x="106" y="124"/>
                  </a:cubicBezTo>
                  <a:cubicBezTo>
                    <a:pt x="107" y="124"/>
                    <a:pt x="107" y="124"/>
                    <a:pt x="107" y="124"/>
                  </a:cubicBezTo>
                  <a:cubicBezTo>
                    <a:pt x="108" y="125"/>
                    <a:pt x="109" y="125"/>
                    <a:pt x="110" y="125"/>
                  </a:cubicBezTo>
                  <a:cubicBezTo>
                    <a:pt x="114" y="125"/>
                    <a:pt x="116" y="129"/>
                    <a:pt x="117" y="131"/>
                  </a:cubicBezTo>
                  <a:cubicBezTo>
                    <a:pt x="117" y="132"/>
                    <a:pt x="117" y="132"/>
                    <a:pt x="117" y="132"/>
                  </a:cubicBezTo>
                  <a:cubicBezTo>
                    <a:pt x="118" y="133"/>
                    <a:pt x="118" y="134"/>
                    <a:pt x="119" y="134"/>
                  </a:cubicBezTo>
                  <a:cubicBezTo>
                    <a:pt x="121" y="134"/>
                    <a:pt x="123" y="134"/>
                    <a:pt x="125" y="135"/>
                  </a:cubicBezTo>
                  <a:cubicBezTo>
                    <a:pt x="125" y="135"/>
                    <a:pt x="127" y="135"/>
                    <a:pt x="128" y="135"/>
                  </a:cubicBezTo>
                  <a:cubicBezTo>
                    <a:pt x="129" y="136"/>
                    <a:pt x="129" y="136"/>
                    <a:pt x="129" y="136"/>
                  </a:cubicBezTo>
                  <a:cubicBezTo>
                    <a:pt x="129" y="136"/>
                    <a:pt x="130" y="136"/>
                    <a:pt x="130" y="136"/>
                  </a:cubicBezTo>
                  <a:cubicBezTo>
                    <a:pt x="132" y="137"/>
                    <a:pt x="133" y="138"/>
                    <a:pt x="134" y="139"/>
                  </a:cubicBezTo>
                  <a:cubicBezTo>
                    <a:pt x="135" y="140"/>
                    <a:pt x="135" y="140"/>
                    <a:pt x="135" y="140"/>
                  </a:cubicBezTo>
                  <a:cubicBezTo>
                    <a:pt x="136" y="140"/>
                    <a:pt x="136" y="140"/>
                    <a:pt x="137" y="141"/>
                  </a:cubicBezTo>
                  <a:cubicBezTo>
                    <a:pt x="138" y="142"/>
                    <a:pt x="138" y="142"/>
                    <a:pt x="138" y="142"/>
                  </a:cubicBezTo>
                  <a:cubicBezTo>
                    <a:pt x="138" y="142"/>
                    <a:pt x="138" y="142"/>
                    <a:pt x="138" y="142"/>
                  </a:cubicBezTo>
                  <a:cubicBezTo>
                    <a:pt x="139" y="142"/>
                    <a:pt x="139" y="142"/>
                    <a:pt x="139" y="142"/>
                  </a:cubicBezTo>
                  <a:cubicBezTo>
                    <a:pt x="140" y="142"/>
                    <a:pt x="140" y="142"/>
                    <a:pt x="140" y="142"/>
                  </a:cubicBezTo>
                  <a:cubicBezTo>
                    <a:pt x="141" y="142"/>
                    <a:pt x="141" y="142"/>
                    <a:pt x="142" y="142"/>
                  </a:cubicBezTo>
                  <a:cubicBezTo>
                    <a:pt x="142" y="142"/>
                    <a:pt x="142" y="142"/>
                    <a:pt x="142" y="142"/>
                  </a:cubicBezTo>
                  <a:cubicBezTo>
                    <a:pt x="142" y="142"/>
                    <a:pt x="143" y="142"/>
                    <a:pt x="143" y="142"/>
                  </a:cubicBezTo>
                  <a:cubicBezTo>
                    <a:pt x="143" y="142"/>
                    <a:pt x="144" y="142"/>
                    <a:pt x="144" y="142"/>
                  </a:cubicBezTo>
                  <a:cubicBezTo>
                    <a:pt x="149" y="142"/>
                    <a:pt x="149" y="142"/>
                    <a:pt x="149" y="142"/>
                  </a:cubicBezTo>
                  <a:cubicBezTo>
                    <a:pt x="150" y="142"/>
                    <a:pt x="151" y="142"/>
                    <a:pt x="152" y="142"/>
                  </a:cubicBezTo>
                  <a:cubicBezTo>
                    <a:pt x="155" y="142"/>
                    <a:pt x="158" y="142"/>
                    <a:pt x="161" y="144"/>
                  </a:cubicBezTo>
                  <a:cubicBezTo>
                    <a:pt x="161" y="144"/>
                    <a:pt x="162" y="144"/>
                    <a:pt x="162" y="144"/>
                  </a:cubicBezTo>
                  <a:cubicBezTo>
                    <a:pt x="162" y="144"/>
                    <a:pt x="162" y="144"/>
                    <a:pt x="162" y="144"/>
                  </a:cubicBezTo>
                  <a:cubicBezTo>
                    <a:pt x="163" y="144"/>
                    <a:pt x="163" y="144"/>
                    <a:pt x="163" y="145"/>
                  </a:cubicBezTo>
                  <a:cubicBezTo>
                    <a:pt x="165" y="146"/>
                    <a:pt x="166" y="147"/>
                    <a:pt x="167" y="148"/>
                  </a:cubicBezTo>
                  <a:cubicBezTo>
                    <a:pt x="168" y="149"/>
                    <a:pt x="168" y="149"/>
                    <a:pt x="168" y="149"/>
                  </a:cubicBezTo>
                  <a:cubicBezTo>
                    <a:pt x="169" y="150"/>
                    <a:pt x="170" y="152"/>
                    <a:pt x="171" y="154"/>
                  </a:cubicBezTo>
                  <a:cubicBezTo>
                    <a:pt x="171" y="155"/>
                    <a:pt x="171" y="155"/>
                    <a:pt x="171" y="155"/>
                  </a:cubicBezTo>
                  <a:cubicBezTo>
                    <a:pt x="172" y="156"/>
                    <a:pt x="172" y="156"/>
                    <a:pt x="172" y="157"/>
                  </a:cubicBezTo>
                  <a:cubicBezTo>
                    <a:pt x="174" y="157"/>
                    <a:pt x="174" y="157"/>
                    <a:pt x="174" y="157"/>
                  </a:cubicBezTo>
                  <a:cubicBezTo>
                    <a:pt x="177" y="158"/>
                    <a:pt x="179" y="158"/>
                    <a:pt x="181" y="160"/>
                  </a:cubicBezTo>
                  <a:cubicBezTo>
                    <a:pt x="183" y="160"/>
                    <a:pt x="184" y="161"/>
                    <a:pt x="184" y="162"/>
                  </a:cubicBezTo>
                  <a:cubicBezTo>
                    <a:pt x="185" y="163"/>
                    <a:pt x="185" y="163"/>
                    <a:pt x="185" y="163"/>
                  </a:cubicBezTo>
                  <a:cubicBezTo>
                    <a:pt x="186" y="164"/>
                    <a:pt x="186" y="165"/>
                    <a:pt x="187" y="166"/>
                  </a:cubicBezTo>
                  <a:cubicBezTo>
                    <a:pt x="188" y="168"/>
                    <a:pt x="188" y="168"/>
                    <a:pt x="188" y="168"/>
                  </a:cubicBezTo>
                  <a:cubicBezTo>
                    <a:pt x="189" y="169"/>
                    <a:pt x="189" y="169"/>
                    <a:pt x="190" y="170"/>
                  </a:cubicBezTo>
                  <a:cubicBezTo>
                    <a:pt x="190" y="170"/>
                    <a:pt x="190" y="170"/>
                    <a:pt x="190" y="170"/>
                  </a:cubicBezTo>
                  <a:cubicBezTo>
                    <a:pt x="190" y="170"/>
                    <a:pt x="191" y="170"/>
                    <a:pt x="192" y="170"/>
                  </a:cubicBezTo>
                  <a:cubicBezTo>
                    <a:pt x="193" y="170"/>
                    <a:pt x="193" y="170"/>
                    <a:pt x="193" y="170"/>
                  </a:cubicBezTo>
                  <a:cubicBezTo>
                    <a:pt x="194" y="170"/>
                    <a:pt x="195" y="170"/>
                    <a:pt x="197" y="170"/>
                  </a:cubicBezTo>
                  <a:cubicBezTo>
                    <a:pt x="198" y="170"/>
                    <a:pt x="198" y="170"/>
                    <a:pt x="198" y="170"/>
                  </a:cubicBezTo>
                  <a:cubicBezTo>
                    <a:pt x="198" y="170"/>
                    <a:pt x="199" y="170"/>
                    <a:pt x="200" y="170"/>
                  </a:cubicBezTo>
                  <a:cubicBezTo>
                    <a:pt x="201" y="170"/>
                    <a:pt x="202" y="170"/>
                    <a:pt x="202" y="170"/>
                  </a:cubicBezTo>
                  <a:cubicBezTo>
                    <a:pt x="204" y="170"/>
                    <a:pt x="205" y="170"/>
                    <a:pt x="207" y="170"/>
                  </a:cubicBezTo>
                  <a:cubicBezTo>
                    <a:pt x="207" y="170"/>
                    <a:pt x="207" y="170"/>
                    <a:pt x="208" y="170"/>
                  </a:cubicBezTo>
                  <a:cubicBezTo>
                    <a:pt x="208" y="170"/>
                    <a:pt x="209" y="170"/>
                    <a:pt x="210" y="171"/>
                  </a:cubicBezTo>
                  <a:cubicBezTo>
                    <a:pt x="211" y="172"/>
                    <a:pt x="211" y="173"/>
                    <a:pt x="211" y="174"/>
                  </a:cubicBezTo>
                  <a:cubicBezTo>
                    <a:pt x="212" y="175"/>
                    <a:pt x="212" y="175"/>
                    <a:pt x="212" y="175"/>
                  </a:cubicBezTo>
                  <a:cubicBezTo>
                    <a:pt x="212" y="177"/>
                    <a:pt x="212" y="180"/>
                    <a:pt x="212" y="183"/>
                  </a:cubicBezTo>
                  <a:cubicBezTo>
                    <a:pt x="212" y="184"/>
                    <a:pt x="212" y="185"/>
                    <a:pt x="212" y="186"/>
                  </a:cubicBezTo>
                  <a:cubicBezTo>
                    <a:pt x="212" y="187"/>
                    <a:pt x="212" y="187"/>
                    <a:pt x="212" y="187"/>
                  </a:cubicBezTo>
                  <a:cubicBezTo>
                    <a:pt x="212" y="189"/>
                    <a:pt x="212" y="192"/>
                    <a:pt x="213" y="194"/>
                  </a:cubicBezTo>
                  <a:cubicBezTo>
                    <a:pt x="214" y="198"/>
                    <a:pt x="214" y="198"/>
                    <a:pt x="214" y="198"/>
                  </a:cubicBezTo>
                  <a:cubicBezTo>
                    <a:pt x="214" y="199"/>
                    <a:pt x="214" y="199"/>
                    <a:pt x="214" y="200"/>
                  </a:cubicBezTo>
                  <a:cubicBezTo>
                    <a:pt x="215" y="201"/>
                    <a:pt x="215" y="201"/>
                    <a:pt x="215" y="201"/>
                  </a:cubicBezTo>
                  <a:cubicBezTo>
                    <a:pt x="215" y="201"/>
                    <a:pt x="215" y="201"/>
                    <a:pt x="215" y="201"/>
                  </a:cubicBezTo>
                  <a:cubicBezTo>
                    <a:pt x="218" y="201"/>
                    <a:pt x="218" y="201"/>
                    <a:pt x="218" y="201"/>
                  </a:cubicBezTo>
                  <a:cubicBezTo>
                    <a:pt x="218" y="202"/>
                    <a:pt x="218" y="202"/>
                    <a:pt x="218" y="202"/>
                  </a:cubicBezTo>
                  <a:cubicBezTo>
                    <a:pt x="220" y="202"/>
                    <a:pt x="221" y="203"/>
                    <a:pt x="223" y="203"/>
                  </a:cubicBezTo>
                  <a:cubicBezTo>
                    <a:pt x="223" y="203"/>
                    <a:pt x="223" y="203"/>
                    <a:pt x="223" y="203"/>
                  </a:cubicBezTo>
                  <a:cubicBezTo>
                    <a:pt x="224" y="203"/>
                    <a:pt x="225" y="203"/>
                    <a:pt x="226" y="203"/>
                  </a:cubicBezTo>
                  <a:cubicBezTo>
                    <a:pt x="228" y="204"/>
                    <a:pt x="230" y="205"/>
                    <a:pt x="231" y="206"/>
                  </a:cubicBezTo>
                  <a:cubicBezTo>
                    <a:pt x="232" y="207"/>
                    <a:pt x="233" y="207"/>
                    <a:pt x="233" y="207"/>
                  </a:cubicBezTo>
                  <a:cubicBezTo>
                    <a:pt x="235" y="209"/>
                    <a:pt x="235" y="209"/>
                    <a:pt x="235" y="209"/>
                  </a:cubicBezTo>
                  <a:cubicBezTo>
                    <a:pt x="235" y="210"/>
                    <a:pt x="236" y="211"/>
                    <a:pt x="236" y="211"/>
                  </a:cubicBezTo>
                  <a:cubicBezTo>
                    <a:pt x="237" y="211"/>
                    <a:pt x="237" y="211"/>
                    <a:pt x="237" y="211"/>
                  </a:cubicBezTo>
                  <a:cubicBezTo>
                    <a:pt x="237" y="211"/>
                    <a:pt x="237" y="211"/>
                    <a:pt x="237" y="211"/>
                  </a:cubicBezTo>
                  <a:cubicBezTo>
                    <a:pt x="240" y="209"/>
                    <a:pt x="243" y="208"/>
                    <a:pt x="245" y="208"/>
                  </a:cubicBezTo>
                  <a:cubicBezTo>
                    <a:pt x="247" y="208"/>
                    <a:pt x="247" y="208"/>
                    <a:pt x="247" y="208"/>
                  </a:cubicBezTo>
                  <a:cubicBezTo>
                    <a:pt x="248" y="208"/>
                    <a:pt x="248" y="208"/>
                    <a:pt x="248" y="208"/>
                  </a:cubicBezTo>
                  <a:cubicBezTo>
                    <a:pt x="249" y="208"/>
                    <a:pt x="249" y="208"/>
                    <a:pt x="249" y="208"/>
                  </a:cubicBezTo>
                  <a:cubicBezTo>
                    <a:pt x="250" y="208"/>
                    <a:pt x="252" y="206"/>
                    <a:pt x="254" y="203"/>
                  </a:cubicBezTo>
                  <a:cubicBezTo>
                    <a:pt x="255" y="202"/>
                    <a:pt x="255" y="202"/>
                    <a:pt x="255" y="202"/>
                  </a:cubicBezTo>
                  <a:cubicBezTo>
                    <a:pt x="255" y="202"/>
                    <a:pt x="256" y="201"/>
                    <a:pt x="256" y="200"/>
                  </a:cubicBezTo>
                  <a:cubicBezTo>
                    <a:pt x="255" y="198"/>
                    <a:pt x="255" y="198"/>
                    <a:pt x="255" y="198"/>
                  </a:cubicBezTo>
                  <a:cubicBezTo>
                    <a:pt x="260" y="192"/>
                    <a:pt x="260" y="192"/>
                    <a:pt x="260" y="192"/>
                  </a:cubicBezTo>
                  <a:cubicBezTo>
                    <a:pt x="262" y="192"/>
                    <a:pt x="262" y="192"/>
                    <a:pt x="262" y="192"/>
                  </a:cubicBezTo>
                  <a:cubicBezTo>
                    <a:pt x="263" y="192"/>
                    <a:pt x="264" y="192"/>
                    <a:pt x="266" y="191"/>
                  </a:cubicBezTo>
                  <a:cubicBezTo>
                    <a:pt x="267" y="191"/>
                    <a:pt x="268" y="191"/>
                    <a:pt x="269" y="190"/>
                  </a:cubicBezTo>
                  <a:cubicBezTo>
                    <a:pt x="274" y="188"/>
                    <a:pt x="274" y="188"/>
                    <a:pt x="274" y="188"/>
                  </a:cubicBezTo>
                  <a:cubicBezTo>
                    <a:pt x="277" y="187"/>
                    <a:pt x="279" y="186"/>
                    <a:pt x="281" y="185"/>
                  </a:cubicBezTo>
                  <a:cubicBezTo>
                    <a:pt x="284" y="184"/>
                    <a:pt x="286" y="183"/>
                    <a:pt x="289" y="181"/>
                  </a:cubicBezTo>
                  <a:cubicBezTo>
                    <a:pt x="289" y="180"/>
                    <a:pt x="289" y="180"/>
                    <a:pt x="289" y="180"/>
                  </a:cubicBezTo>
                  <a:cubicBezTo>
                    <a:pt x="290" y="179"/>
                    <a:pt x="290" y="178"/>
                    <a:pt x="290" y="176"/>
                  </a:cubicBezTo>
                  <a:cubicBezTo>
                    <a:pt x="291" y="175"/>
                    <a:pt x="291" y="174"/>
                    <a:pt x="291" y="174"/>
                  </a:cubicBezTo>
                  <a:cubicBezTo>
                    <a:pt x="291" y="173"/>
                    <a:pt x="291" y="173"/>
                    <a:pt x="291" y="173"/>
                  </a:cubicBezTo>
                  <a:cubicBezTo>
                    <a:pt x="291" y="172"/>
                    <a:pt x="291" y="172"/>
                    <a:pt x="291" y="171"/>
                  </a:cubicBezTo>
                  <a:cubicBezTo>
                    <a:pt x="292" y="170"/>
                    <a:pt x="292" y="170"/>
                    <a:pt x="292" y="170"/>
                  </a:cubicBezTo>
                  <a:cubicBezTo>
                    <a:pt x="308" y="154"/>
                    <a:pt x="308" y="154"/>
                    <a:pt x="308" y="154"/>
                  </a:cubicBezTo>
                  <a:cubicBezTo>
                    <a:pt x="310" y="154"/>
                    <a:pt x="310" y="154"/>
                    <a:pt x="310" y="154"/>
                  </a:cubicBezTo>
                  <a:cubicBezTo>
                    <a:pt x="310" y="154"/>
                    <a:pt x="311" y="154"/>
                    <a:pt x="312" y="154"/>
                  </a:cubicBezTo>
                  <a:cubicBezTo>
                    <a:pt x="312" y="154"/>
                    <a:pt x="312" y="154"/>
                    <a:pt x="312" y="154"/>
                  </a:cubicBezTo>
                  <a:cubicBezTo>
                    <a:pt x="313" y="154"/>
                    <a:pt x="314" y="154"/>
                    <a:pt x="314" y="154"/>
                  </a:cubicBezTo>
                  <a:cubicBezTo>
                    <a:pt x="315" y="153"/>
                    <a:pt x="317" y="151"/>
                    <a:pt x="318" y="149"/>
                  </a:cubicBezTo>
                  <a:cubicBezTo>
                    <a:pt x="319" y="148"/>
                    <a:pt x="319" y="148"/>
                    <a:pt x="319" y="148"/>
                  </a:cubicBezTo>
                  <a:cubicBezTo>
                    <a:pt x="319" y="147"/>
                    <a:pt x="320" y="146"/>
                    <a:pt x="321" y="146"/>
                  </a:cubicBezTo>
                  <a:cubicBezTo>
                    <a:pt x="321" y="146"/>
                    <a:pt x="321" y="146"/>
                    <a:pt x="321" y="146"/>
                  </a:cubicBezTo>
                  <a:cubicBezTo>
                    <a:pt x="322" y="146"/>
                    <a:pt x="322" y="146"/>
                    <a:pt x="322" y="146"/>
                  </a:cubicBezTo>
                  <a:cubicBezTo>
                    <a:pt x="322" y="145"/>
                    <a:pt x="322" y="145"/>
                    <a:pt x="322" y="145"/>
                  </a:cubicBezTo>
                  <a:cubicBezTo>
                    <a:pt x="324" y="146"/>
                    <a:pt x="324" y="146"/>
                    <a:pt x="324" y="146"/>
                  </a:cubicBezTo>
                  <a:cubicBezTo>
                    <a:pt x="325" y="146"/>
                    <a:pt x="326" y="147"/>
                    <a:pt x="327" y="147"/>
                  </a:cubicBezTo>
                  <a:cubicBezTo>
                    <a:pt x="328" y="147"/>
                    <a:pt x="328" y="147"/>
                    <a:pt x="328" y="147"/>
                  </a:cubicBezTo>
                  <a:cubicBezTo>
                    <a:pt x="328" y="148"/>
                    <a:pt x="329" y="148"/>
                    <a:pt x="329" y="148"/>
                  </a:cubicBezTo>
                  <a:cubicBezTo>
                    <a:pt x="330" y="148"/>
                    <a:pt x="330" y="149"/>
                    <a:pt x="331" y="149"/>
                  </a:cubicBezTo>
                  <a:cubicBezTo>
                    <a:pt x="332" y="149"/>
                    <a:pt x="332" y="149"/>
                    <a:pt x="332" y="149"/>
                  </a:cubicBezTo>
                  <a:cubicBezTo>
                    <a:pt x="333" y="150"/>
                    <a:pt x="333" y="150"/>
                    <a:pt x="334" y="150"/>
                  </a:cubicBezTo>
                  <a:cubicBezTo>
                    <a:pt x="334" y="150"/>
                    <a:pt x="334" y="150"/>
                    <a:pt x="335" y="150"/>
                  </a:cubicBezTo>
                  <a:cubicBezTo>
                    <a:pt x="335" y="150"/>
                    <a:pt x="335" y="150"/>
                    <a:pt x="335" y="150"/>
                  </a:cubicBezTo>
                  <a:cubicBezTo>
                    <a:pt x="336" y="150"/>
                    <a:pt x="336" y="150"/>
                    <a:pt x="336" y="150"/>
                  </a:cubicBezTo>
                  <a:cubicBezTo>
                    <a:pt x="338" y="151"/>
                    <a:pt x="338" y="151"/>
                    <a:pt x="338" y="151"/>
                  </a:cubicBezTo>
                  <a:cubicBezTo>
                    <a:pt x="338" y="150"/>
                    <a:pt x="338" y="150"/>
                    <a:pt x="338" y="150"/>
                  </a:cubicBezTo>
                  <a:cubicBezTo>
                    <a:pt x="339" y="150"/>
                    <a:pt x="339" y="150"/>
                    <a:pt x="339" y="150"/>
                  </a:cubicBezTo>
                  <a:cubicBezTo>
                    <a:pt x="339" y="150"/>
                    <a:pt x="339" y="149"/>
                    <a:pt x="339" y="148"/>
                  </a:cubicBezTo>
                  <a:cubicBezTo>
                    <a:pt x="339" y="147"/>
                    <a:pt x="339" y="147"/>
                    <a:pt x="339" y="147"/>
                  </a:cubicBezTo>
                  <a:cubicBezTo>
                    <a:pt x="339" y="147"/>
                    <a:pt x="339" y="146"/>
                    <a:pt x="339" y="146"/>
                  </a:cubicBezTo>
                  <a:cubicBezTo>
                    <a:pt x="340" y="143"/>
                    <a:pt x="340" y="143"/>
                    <a:pt x="340" y="143"/>
                  </a:cubicBezTo>
                  <a:cubicBezTo>
                    <a:pt x="340" y="142"/>
                    <a:pt x="340" y="141"/>
                    <a:pt x="341" y="140"/>
                  </a:cubicBezTo>
                  <a:cubicBezTo>
                    <a:pt x="341" y="139"/>
                    <a:pt x="341" y="139"/>
                    <a:pt x="341" y="139"/>
                  </a:cubicBezTo>
                  <a:cubicBezTo>
                    <a:pt x="341" y="139"/>
                    <a:pt x="341" y="138"/>
                    <a:pt x="341" y="137"/>
                  </a:cubicBezTo>
                  <a:cubicBezTo>
                    <a:pt x="337" y="136"/>
                    <a:pt x="337" y="136"/>
                    <a:pt x="337" y="136"/>
                  </a:cubicBezTo>
                  <a:cubicBezTo>
                    <a:pt x="335" y="135"/>
                    <a:pt x="334" y="134"/>
                    <a:pt x="332" y="133"/>
                  </a:cubicBezTo>
                  <a:cubicBezTo>
                    <a:pt x="331" y="132"/>
                    <a:pt x="331" y="132"/>
                    <a:pt x="331" y="132"/>
                  </a:cubicBezTo>
                  <a:cubicBezTo>
                    <a:pt x="327" y="130"/>
                    <a:pt x="326" y="130"/>
                    <a:pt x="326" y="130"/>
                  </a:cubicBezTo>
                  <a:cubicBezTo>
                    <a:pt x="325" y="130"/>
                    <a:pt x="325" y="130"/>
                    <a:pt x="325" y="130"/>
                  </a:cubicBezTo>
                  <a:cubicBezTo>
                    <a:pt x="324" y="131"/>
                    <a:pt x="323" y="131"/>
                    <a:pt x="323" y="131"/>
                  </a:cubicBezTo>
                  <a:cubicBezTo>
                    <a:pt x="322" y="131"/>
                    <a:pt x="321" y="131"/>
                    <a:pt x="321" y="131"/>
                  </a:cubicBezTo>
                  <a:cubicBezTo>
                    <a:pt x="318" y="131"/>
                    <a:pt x="315" y="130"/>
                    <a:pt x="313" y="128"/>
                  </a:cubicBezTo>
                  <a:cubicBezTo>
                    <a:pt x="312" y="128"/>
                    <a:pt x="312" y="128"/>
                    <a:pt x="312" y="128"/>
                  </a:cubicBezTo>
                  <a:cubicBezTo>
                    <a:pt x="311" y="127"/>
                    <a:pt x="310" y="126"/>
                    <a:pt x="309" y="125"/>
                  </a:cubicBezTo>
                  <a:cubicBezTo>
                    <a:pt x="308" y="124"/>
                    <a:pt x="305" y="123"/>
                    <a:pt x="303" y="121"/>
                  </a:cubicBezTo>
                  <a:cubicBezTo>
                    <a:pt x="303" y="121"/>
                    <a:pt x="302" y="120"/>
                    <a:pt x="301" y="120"/>
                  </a:cubicBezTo>
                  <a:cubicBezTo>
                    <a:pt x="300" y="119"/>
                    <a:pt x="299" y="119"/>
                    <a:pt x="298" y="118"/>
                  </a:cubicBezTo>
                  <a:cubicBezTo>
                    <a:pt x="294" y="116"/>
                    <a:pt x="291" y="115"/>
                    <a:pt x="288" y="112"/>
                  </a:cubicBezTo>
                  <a:cubicBezTo>
                    <a:pt x="284" y="108"/>
                    <a:pt x="279" y="106"/>
                    <a:pt x="274" y="104"/>
                  </a:cubicBezTo>
                  <a:cubicBezTo>
                    <a:pt x="271" y="102"/>
                    <a:pt x="271" y="102"/>
                    <a:pt x="271" y="102"/>
                  </a:cubicBezTo>
                  <a:cubicBezTo>
                    <a:pt x="270" y="102"/>
                    <a:pt x="269" y="101"/>
                    <a:pt x="268" y="101"/>
                  </a:cubicBezTo>
                  <a:cubicBezTo>
                    <a:pt x="264" y="98"/>
                    <a:pt x="260" y="95"/>
                    <a:pt x="256" y="92"/>
                  </a:cubicBezTo>
                  <a:cubicBezTo>
                    <a:pt x="255" y="91"/>
                    <a:pt x="255" y="91"/>
                    <a:pt x="255" y="91"/>
                  </a:cubicBezTo>
                  <a:cubicBezTo>
                    <a:pt x="254" y="91"/>
                    <a:pt x="253" y="90"/>
                    <a:pt x="252" y="89"/>
                  </a:cubicBezTo>
                  <a:cubicBezTo>
                    <a:pt x="248" y="86"/>
                    <a:pt x="248" y="86"/>
                    <a:pt x="248" y="86"/>
                  </a:cubicBezTo>
                  <a:cubicBezTo>
                    <a:pt x="247" y="86"/>
                    <a:pt x="246" y="85"/>
                    <a:pt x="246" y="85"/>
                  </a:cubicBezTo>
                  <a:cubicBezTo>
                    <a:pt x="245" y="85"/>
                    <a:pt x="245" y="85"/>
                    <a:pt x="245" y="85"/>
                  </a:cubicBezTo>
                  <a:cubicBezTo>
                    <a:pt x="243" y="84"/>
                    <a:pt x="241" y="82"/>
                    <a:pt x="240" y="80"/>
                  </a:cubicBezTo>
                  <a:cubicBezTo>
                    <a:pt x="239" y="80"/>
                    <a:pt x="239" y="80"/>
                    <a:pt x="239" y="79"/>
                  </a:cubicBezTo>
                  <a:cubicBezTo>
                    <a:pt x="239" y="79"/>
                    <a:pt x="239" y="79"/>
                    <a:pt x="239" y="79"/>
                  </a:cubicBezTo>
                  <a:cubicBezTo>
                    <a:pt x="239" y="78"/>
                    <a:pt x="239" y="78"/>
                    <a:pt x="239" y="78"/>
                  </a:cubicBezTo>
                  <a:cubicBezTo>
                    <a:pt x="238" y="77"/>
                    <a:pt x="237" y="75"/>
                    <a:pt x="237" y="73"/>
                  </a:cubicBezTo>
                  <a:cubicBezTo>
                    <a:pt x="237" y="72"/>
                    <a:pt x="236" y="72"/>
                    <a:pt x="236" y="71"/>
                  </a:cubicBezTo>
                  <a:cubicBezTo>
                    <a:pt x="236" y="70"/>
                    <a:pt x="236" y="70"/>
                    <a:pt x="236" y="70"/>
                  </a:cubicBezTo>
                  <a:cubicBezTo>
                    <a:pt x="236" y="69"/>
                    <a:pt x="235" y="68"/>
                    <a:pt x="234" y="67"/>
                  </a:cubicBezTo>
                  <a:cubicBezTo>
                    <a:pt x="233" y="66"/>
                    <a:pt x="231" y="65"/>
                    <a:pt x="231" y="63"/>
                  </a:cubicBezTo>
                  <a:cubicBezTo>
                    <a:pt x="230" y="62"/>
                    <a:pt x="229" y="60"/>
                    <a:pt x="229" y="58"/>
                  </a:cubicBezTo>
                  <a:cubicBezTo>
                    <a:pt x="227" y="53"/>
                    <a:pt x="224" y="48"/>
                    <a:pt x="221" y="45"/>
                  </a:cubicBezTo>
                  <a:cubicBezTo>
                    <a:pt x="219" y="43"/>
                    <a:pt x="218" y="42"/>
                    <a:pt x="217" y="42"/>
                  </a:cubicBezTo>
                  <a:cubicBezTo>
                    <a:pt x="217" y="43"/>
                    <a:pt x="217" y="43"/>
                    <a:pt x="216" y="44"/>
                  </a:cubicBezTo>
                  <a:cubicBezTo>
                    <a:pt x="215" y="45"/>
                    <a:pt x="213" y="46"/>
                    <a:pt x="210" y="46"/>
                  </a:cubicBezTo>
                  <a:cubicBezTo>
                    <a:pt x="208" y="46"/>
                    <a:pt x="208" y="46"/>
                    <a:pt x="208" y="46"/>
                  </a:cubicBezTo>
                  <a:cubicBezTo>
                    <a:pt x="206" y="46"/>
                    <a:pt x="205" y="45"/>
                    <a:pt x="204" y="45"/>
                  </a:cubicBezTo>
                  <a:cubicBezTo>
                    <a:pt x="202" y="44"/>
                    <a:pt x="199" y="44"/>
                    <a:pt x="197" y="44"/>
                  </a:cubicBezTo>
                  <a:cubicBezTo>
                    <a:pt x="197" y="44"/>
                    <a:pt x="196" y="44"/>
                    <a:pt x="196" y="44"/>
                  </a:cubicBezTo>
                  <a:cubicBezTo>
                    <a:pt x="195" y="44"/>
                    <a:pt x="195" y="44"/>
                    <a:pt x="194" y="44"/>
                  </a:cubicBezTo>
                  <a:cubicBezTo>
                    <a:pt x="194" y="44"/>
                    <a:pt x="193" y="44"/>
                    <a:pt x="192" y="44"/>
                  </a:cubicBezTo>
                  <a:cubicBezTo>
                    <a:pt x="191" y="44"/>
                    <a:pt x="189" y="44"/>
                    <a:pt x="186" y="42"/>
                  </a:cubicBezTo>
                  <a:cubicBezTo>
                    <a:pt x="186" y="42"/>
                    <a:pt x="186" y="42"/>
                    <a:pt x="186" y="42"/>
                  </a:cubicBezTo>
                  <a:cubicBezTo>
                    <a:pt x="185" y="41"/>
                    <a:pt x="184" y="41"/>
                    <a:pt x="184" y="41"/>
                  </a:cubicBezTo>
                  <a:cubicBezTo>
                    <a:pt x="183" y="40"/>
                    <a:pt x="183" y="40"/>
                    <a:pt x="183" y="40"/>
                  </a:cubicBezTo>
                  <a:cubicBezTo>
                    <a:pt x="182" y="39"/>
                    <a:pt x="182" y="39"/>
                    <a:pt x="182" y="39"/>
                  </a:cubicBezTo>
                  <a:cubicBezTo>
                    <a:pt x="181" y="38"/>
                    <a:pt x="178" y="36"/>
                    <a:pt x="179" y="33"/>
                  </a:cubicBezTo>
                  <a:cubicBezTo>
                    <a:pt x="180" y="31"/>
                    <a:pt x="180" y="31"/>
                    <a:pt x="180" y="31"/>
                  </a:cubicBezTo>
                  <a:cubicBezTo>
                    <a:pt x="180" y="30"/>
                    <a:pt x="180" y="30"/>
                    <a:pt x="180" y="30"/>
                  </a:cubicBezTo>
                  <a:cubicBezTo>
                    <a:pt x="180" y="30"/>
                    <a:pt x="180" y="30"/>
                    <a:pt x="180" y="29"/>
                  </a:cubicBezTo>
                  <a:cubicBezTo>
                    <a:pt x="177" y="26"/>
                    <a:pt x="177" y="26"/>
                    <a:pt x="177" y="26"/>
                  </a:cubicBezTo>
                  <a:cubicBezTo>
                    <a:pt x="181" y="24"/>
                    <a:pt x="181" y="24"/>
                    <a:pt x="181" y="24"/>
                  </a:cubicBezTo>
                  <a:cubicBezTo>
                    <a:pt x="180" y="24"/>
                    <a:pt x="178" y="23"/>
                    <a:pt x="177" y="23"/>
                  </a:cubicBezTo>
                  <a:cubicBezTo>
                    <a:pt x="170" y="20"/>
                    <a:pt x="170" y="20"/>
                    <a:pt x="170" y="20"/>
                  </a:cubicBezTo>
                  <a:cubicBezTo>
                    <a:pt x="177" y="17"/>
                    <a:pt x="177" y="17"/>
                    <a:pt x="177" y="17"/>
                  </a:cubicBezTo>
                  <a:cubicBezTo>
                    <a:pt x="177" y="17"/>
                    <a:pt x="177" y="17"/>
                    <a:pt x="177" y="17"/>
                  </a:cubicBezTo>
                  <a:cubicBezTo>
                    <a:pt x="177" y="17"/>
                    <a:pt x="177" y="17"/>
                    <a:pt x="177" y="17"/>
                  </a:cubicBezTo>
                  <a:cubicBezTo>
                    <a:pt x="177" y="16"/>
                    <a:pt x="177" y="15"/>
                    <a:pt x="177" y="15"/>
                  </a:cubicBezTo>
                  <a:cubicBezTo>
                    <a:pt x="175" y="14"/>
                    <a:pt x="173" y="13"/>
                    <a:pt x="172" y="13"/>
                  </a:cubicBezTo>
                  <a:cubicBezTo>
                    <a:pt x="171" y="13"/>
                    <a:pt x="171" y="13"/>
                    <a:pt x="171" y="13"/>
                  </a:cubicBezTo>
                  <a:cubicBezTo>
                    <a:pt x="170" y="12"/>
                    <a:pt x="167" y="13"/>
                    <a:pt x="164" y="12"/>
                  </a:cubicBezTo>
                  <a:cubicBezTo>
                    <a:pt x="164" y="12"/>
                    <a:pt x="164" y="12"/>
                    <a:pt x="164" y="12"/>
                  </a:cubicBezTo>
                  <a:cubicBezTo>
                    <a:pt x="163" y="12"/>
                    <a:pt x="163" y="12"/>
                    <a:pt x="163" y="12"/>
                  </a:cubicBezTo>
                  <a:cubicBezTo>
                    <a:pt x="162" y="12"/>
                    <a:pt x="161" y="11"/>
                    <a:pt x="160" y="10"/>
                  </a:cubicBezTo>
                  <a:cubicBezTo>
                    <a:pt x="160" y="10"/>
                    <a:pt x="159" y="9"/>
                    <a:pt x="159" y="8"/>
                  </a:cubicBezTo>
                  <a:cubicBezTo>
                    <a:pt x="158" y="8"/>
                    <a:pt x="158" y="8"/>
                    <a:pt x="158" y="8"/>
                  </a:cubicBezTo>
                  <a:cubicBezTo>
                    <a:pt x="158" y="7"/>
                    <a:pt x="158" y="7"/>
                    <a:pt x="157" y="7"/>
                  </a:cubicBezTo>
                  <a:cubicBezTo>
                    <a:pt x="157" y="6"/>
                    <a:pt x="157" y="6"/>
                    <a:pt x="157" y="6"/>
                  </a:cubicBezTo>
                  <a:cubicBezTo>
                    <a:pt x="157" y="6"/>
                    <a:pt x="157" y="6"/>
                    <a:pt x="157" y="6"/>
                  </a:cubicBezTo>
                  <a:cubicBezTo>
                    <a:pt x="156" y="6"/>
                    <a:pt x="156" y="6"/>
                    <a:pt x="156" y="6"/>
                  </a:cubicBezTo>
                  <a:cubicBezTo>
                    <a:pt x="156" y="6"/>
                    <a:pt x="156" y="6"/>
                    <a:pt x="156" y="6"/>
                  </a:cubicBezTo>
                  <a:cubicBezTo>
                    <a:pt x="155" y="6"/>
                    <a:pt x="155" y="6"/>
                    <a:pt x="155" y="6"/>
                  </a:cubicBezTo>
                  <a:cubicBezTo>
                    <a:pt x="154" y="6"/>
                    <a:pt x="154" y="6"/>
                    <a:pt x="153" y="6"/>
                  </a:cubicBezTo>
                  <a:cubicBezTo>
                    <a:pt x="153" y="5"/>
                    <a:pt x="152" y="5"/>
                    <a:pt x="151" y="5"/>
                  </a:cubicBezTo>
                  <a:cubicBezTo>
                    <a:pt x="150" y="3"/>
                    <a:pt x="148" y="1"/>
                    <a:pt x="146" y="0"/>
                  </a:cubicBezTo>
                  <a:cubicBezTo>
                    <a:pt x="146" y="0"/>
                    <a:pt x="146" y="0"/>
                    <a:pt x="1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509"/>
            <p:cNvSpPr/>
            <p:nvPr/>
          </p:nvSpPr>
          <p:spPr bwMode="auto">
            <a:xfrm>
              <a:off x="2912143" y="2537165"/>
              <a:ext cx="584260" cy="300860"/>
            </a:xfrm>
            <a:custGeom>
              <a:gdLst>
                <a:gd name="T0" fmla="*/ 38 w 184"/>
                <a:gd name="T1" fmla="*/ 4 h 95"/>
                <a:gd name="T2" fmla="*/ 36 w 184"/>
                <a:gd name="T3" fmla="*/ 5 h 95"/>
                <a:gd name="T4" fmla="*/ 35 w 184"/>
                <a:gd name="T5" fmla="*/ 21 h 95"/>
                <a:gd name="T6" fmla="*/ 30 w 184"/>
                <a:gd name="T7" fmla="*/ 10 h 95"/>
                <a:gd name="T8" fmla="*/ 23 w 184"/>
                <a:gd name="T9" fmla="*/ 20 h 95"/>
                <a:gd name="T10" fmla="*/ 16 w 184"/>
                <a:gd name="T11" fmla="*/ 19 h 95"/>
                <a:gd name="T12" fmla="*/ 5 w 184"/>
                <a:gd name="T13" fmla="*/ 18 h 95"/>
                <a:gd name="T14" fmla="*/ 3 w 184"/>
                <a:gd name="T15" fmla="*/ 19 h 95"/>
                <a:gd name="T16" fmla="*/ 0 w 184"/>
                <a:gd name="T17" fmla="*/ 24 h 95"/>
                <a:gd name="T18" fmla="*/ 4 w 184"/>
                <a:gd name="T19" fmla="*/ 27 h 95"/>
                <a:gd name="T20" fmla="*/ 19 w 184"/>
                <a:gd name="T21" fmla="*/ 34 h 95"/>
                <a:gd name="T22" fmla="*/ 18 w 184"/>
                <a:gd name="T23" fmla="*/ 46 h 95"/>
                <a:gd name="T24" fmla="*/ 21 w 184"/>
                <a:gd name="T25" fmla="*/ 50 h 95"/>
                <a:gd name="T26" fmla="*/ 15 w 184"/>
                <a:gd name="T27" fmla="*/ 72 h 95"/>
                <a:gd name="T28" fmla="*/ 11 w 184"/>
                <a:gd name="T29" fmla="*/ 80 h 95"/>
                <a:gd name="T30" fmla="*/ 13 w 184"/>
                <a:gd name="T31" fmla="*/ 87 h 95"/>
                <a:gd name="T32" fmla="*/ 19 w 184"/>
                <a:gd name="T33" fmla="*/ 84 h 95"/>
                <a:gd name="T34" fmla="*/ 29 w 184"/>
                <a:gd name="T35" fmla="*/ 79 h 95"/>
                <a:gd name="T36" fmla="*/ 31 w 184"/>
                <a:gd name="T37" fmla="*/ 78 h 95"/>
                <a:gd name="T38" fmla="*/ 40 w 184"/>
                <a:gd name="T39" fmla="*/ 80 h 95"/>
                <a:gd name="T40" fmla="*/ 44 w 184"/>
                <a:gd name="T41" fmla="*/ 83 h 95"/>
                <a:gd name="T42" fmla="*/ 44 w 184"/>
                <a:gd name="T43" fmla="*/ 79 h 95"/>
                <a:gd name="T44" fmla="*/ 47 w 184"/>
                <a:gd name="T45" fmla="*/ 73 h 95"/>
                <a:gd name="T46" fmla="*/ 60 w 184"/>
                <a:gd name="T47" fmla="*/ 71 h 95"/>
                <a:gd name="T48" fmla="*/ 64 w 184"/>
                <a:gd name="T49" fmla="*/ 71 h 95"/>
                <a:gd name="T50" fmla="*/ 64 w 184"/>
                <a:gd name="T51" fmla="*/ 69 h 95"/>
                <a:gd name="T52" fmla="*/ 64 w 184"/>
                <a:gd name="T53" fmla="*/ 60 h 95"/>
                <a:gd name="T54" fmla="*/ 72 w 184"/>
                <a:gd name="T55" fmla="*/ 54 h 95"/>
                <a:gd name="T56" fmla="*/ 84 w 184"/>
                <a:gd name="T57" fmla="*/ 45 h 95"/>
                <a:gd name="T58" fmla="*/ 90 w 184"/>
                <a:gd name="T59" fmla="*/ 48 h 95"/>
                <a:gd name="T60" fmla="*/ 95 w 184"/>
                <a:gd name="T61" fmla="*/ 47 h 95"/>
                <a:gd name="T62" fmla="*/ 94 w 184"/>
                <a:gd name="T63" fmla="*/ 52 h 95"/>
                <a:gd name="T64" fmla="*/ 100 w 184"/>
                <a:gd name="T65" fmla="*/ 60 h 95"/>
                <a:gd name="T66" fmla="*/ 101 w 184"/>
                <a:gd name="T67" fmla="*/ 82 h 95"/>
                <a:gd name="T68" fmla="*/ 100 w 184"/>
                <a:gd name="T69" fmla="*/ 84 h 95"/>
                <a:gd name="T70" fmla="*/ 101 w 184"/>
                <a:gd name="T71" fmla="*/ 91 h 95"/>
                <a:gd name="T72" fmla="*/ 103 w 184"/>
                <a:gd name="T73" fmla="*/ 95 h 95"/>
                <a:gd name="T74" fmla="*/ 118 w 184"/>
                <a:gd name="T75" fmla="*/ 89 h 95"/>
                <a:gd name="T76" fmla="*/ 141 w 184"/>
                <a:gd name="T77" fmla="*/ 74 h 95"/>
                <a:gd name="T78" fmla="*/ 155 w 184"/>
                <a:gd name="T79" fmla="*/ 78 h 95"/>
                <a:gd name="T80" fmla="*/ 163 w 184"/>
                <a:gd name="T81" fmla="*/ 77 h 95"/>
                <a:gd name="T82" fmla="*/ 168 w 184"/>
                <a:gd name="T83" fmla="*/ 75 h 95"/>
                <a:gd name="T84" fmla="*/ 182 w 184"/>
                <a:gd name="T85" fmla="*/ 79 h 95"/>
                <a:gd name="T86" fmla="*/ 181 w 184"/>
                <a:gd name="T87" fmla="*/ 71 h 95"/>
                <a:gd name="T88" fmla="*/ 178 w 184"/>
                <a:gd name="T89" fmla="*/ 53 h 95"/>
                <a:gd name="T90" fmla="*/ 172 w 184"/>
                <a:gd name="T91" fmla="*/ 48 h 95"/>
                <a:gd name="T92" fmla="*/ 167 w 184"/>
                <a:gd name="T93" fmla="*/ 45 h 95"/>
                <a:gd name="T94" fmla="*/ 161 w 184"/>
                <a:gd name="T95" fmla="*/ 46 h 95"/>
                <a:gd name="T96" fmla="*/ 156 w 184"/>
                <a:gd name="T97" fmla="*/ 46 h 95"/>
                <a:gd name="T98" fmla="*/ 150 w 184"/>
                <a:gd name="T99" fmla="*/ 33 h 95"/>
                <a:gd name="T100" fmla="*/ 145 w 184"/>
                <a:gd name="T101" fmla="*/ 35 h 95"/>
                <a:gd name="T102" fmla="*/ 147 w 184"/>
                <a:gd name="T103" fmla="*/ 26 h 95"/>
                <a:gd name="T104" fmla="*/ 142 w 184"/>
                <a:gd name="T105" fmla="*/ 24 h 95"/>
                <a:gd name="T106" fmla="*/ 125 w 184"/>
                <a:gd name="T107" fmla="*/ 25 h 95"/>
                <a:gd name="T108" fmla="*/ 115 w 184"/>
                <a:gd name="T109" fmla="*/ 29 h 95"/>
                <a:gd name="T110" fmla="*/ 104 w 184"/>
                <a:gd name="T111" fmla="*/ 27 h 95"/>
                <a:gd name="T112" fmla="*/ 101 w 184"/>
                <a:gd name="T113" fmla="*/ 22 h 95"/>
                <a:gd name="T114" fmla="*/ 99 w 184"/>
                <a:gd name="T115" fmla="*/ 22 h 95"/>
                <a:gd name="T116" fmla="*/ 87 w 184"/>
                <a:gd name="T117" fmla="*/ 23 h 95"/>
                <a:gd name="T118" fmla="*/ 86 w 184"/>
                <a:gd name="T119" fmla="*/ 23 h 95"/>
                <a:gd name="T120" fmla="*/ 72 w 184"/>
                <a:gd name="T121" fmla="*/ 20 h 95"/>
                <a:gd name="T122" fmla="*/ 41 w 184"/>
                <a:gd name="T123" fmla="*/ 20 h 95"/>
                <a:gd name="T124" fmla="*/ 42 w 184"/>
                <a:gd name="T125" fmla="*/ 1 h 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 h="95">
                  <a:moveTo>
                    <a:pt x="40" y="0"/>
                  </a:moveTo>
                  <a:cubicBezTo>
                    <a:pt x="40" y="1"/>
                    <a:pt x="39" y="3"/>
                    <a:pt x="39" y="3"/>
                  </a:cubicBezTo>
                  <a:cubicBezTo>
                    <a:pt x="38" y="4"/>
                    <a:pt x="38" y="4"/>
                    <a:pt x="38" y="4"/>
                  </a:cubicBezTo>
                  <a:cubicBezTo>
                    <a:pt x="37" y="4"/>
                    <a:pt x="37" y="4"/>
                    <a:pt x="37" y="4"/>
                  </a:cubicBezTo>
                  <a:cubicBezTo>
                    <a:pt x="36" y="5"/>
                    <a:pt x="36" y="5"/>
                    <a:pt x="36" y="5"/>
                  </a:cubicBezTo>
                  <a:cubicBezTo>
                    <a:pt x="36" y="5"/>
                    <a:pt x="36" y="5"/>
                    <a:pt x="36" y="5"/>
                  </a:cubicBezTo>
                  <a:cubicBezTo>
                    <a:pt x="36" y="5"/>
                    <a:pt x="36" y="5"/>
                    <a:pt x="36" y="5"/>
                  </a:cubicBezTo>
                  <a:cubicBezTo>
                    <a:pt x="36" y="6"/>
                    <a:pt x="36" y="7"/>
                    <a:pt x="36" y="7"/>
                  </a:cubicBezTo>
                  <a:cubicBezTo>
                    <a:pt x="35" y="21"/>
                    <a:pt x="35" y="21"/>
                    <a:pt x="35" y="21"/>
                  </a:cubicBezTo>
                  <a:cubicBezTo>
                    <a:pt x="31" y="9"/>
                    <a:pt x="31" y="9"/>
                    <a:pt x="31" y="9"/>
                  </a:cubicBezTo>
                  <a:cubicBezTo>
                    <a:pt x="30" y="10"/>
                    <a:pt x="30" y="10"/>
                    <a:pt x="30" y="10"/>
                  </a:cubicBezTo>
                  <a:cubicBezTo>
                    <a:pt x="30" y="10"/>
                    <a:pt x="30" y="10"/>
                    <a:pt x="30" y="10"/>
                  </a:cubicBezTo>
                  <a:cubicBezTo>
                    <a:pt x="29" y="16"/>
                    <a:pt x="28" y="19"/>
                    <a:pt x="26" y="19"/>
                  </a:cubicBezTo>
                  <a:cubicBezTo>
                    <a:pt x="26" y="19"/>
                    <a:pt x="25" y="19"/>
                    <a:pt x="25" y="20"/>
                  </a:cubicBezTo>
                  <a:cubicBezTo>
                    <a:pt x="24" y="20"/>
                    <a:pt x="24" y="20"/>
                    <a:pt x="23" y="20"/>
                  </a:cubicBezTo>
                  <a:cubicBezTo>
                    <a:pt x="23" y="20"/>
                    <a:pt x="22" y="20"/>
                    <a:pt x="22" y="20"/>
                  </a:cubicBezTo>
                  <a:cubicBezTo>
                    <a:pt x="21" y="20"/>
                    <a:pt x="21" y="20"/>
                    <a:pt x="21" y="20"/>
                  </a:cubicBezTo>
                  <a:cubicBezTo>
                    <a:pt x="19" y="20"/>
                    <a:pt x="18" y="19"/>
                    <a:pt x="16" y="19"/>
                  </a:cubicBezTo>
                  <a:cubicBezTo>
                    <a:pt x="14" y="19"/>
                    <a:pt x="11" y="18"/>
                    <a:pt x="7" y="18"/>
                  </a:cubicBezTo>
                  <a:cubicBezTo>
                    <a:pt x="7" y="18"/>
                    <a:pt x="6" y="18"/>
                    <a:pt x="6" y="18"/>
                  </a:cubicBezTo>
                  <a:cubicBezTo>
                    <a:pt x="6" y="18"/>
                    <a:pt x="6" y="18"/>
                    <a:pt x="5" y="18"/>
                  </a:cubicBezTo>
                  <a:cubicBezTo>
                    <a:pt x="5" y="18"/>
                    <a:pt x="5" y="18"/>
                    <a:pt x="5" y="18"/>
                  </a:cubicBezTo>
                  <a:cubicBezTo>
                    <a:pt x="5" y="18"/>
                    <a:pt x="5" y="18"/>
                    <a:pt x="5" y="18"/>
                  </a:cubicBezTo>
                  <a:cubicBezTo>
                    <a:pt x="4" y="18"/>
                    <a:pt x="4" y="18"/>
                    <a:pt x="3" y="19"/>
                  </a:cubicBezTo>
                  <a:cubicBezTo>
                    <a:pt x="3" y="19"/>
                    <a:pt x="3" y="19"/>
                    <a:pt x="3" y="19"/>
                  </a:cubicBezTo>
                  <a:cubicBezTo>
                    <a:pt x="1" y="20"/>
                    <a:pt x="1" y="21"/>
                    <a:pt x="0" y="23"/>
                  </a:cubicBezTo>
                  <a:cubicBezTo>
                    <a:pt x="0" y="24"/>
                    <a:pt x="0" y="24"/>
                    <a:pt x="0" y="24"/>
                  </a:cubicBezTo>
                  <a:cubicBezTo>
                    <a:pt x="1" y="24"/>
                    <a:pt x="1" y="25"/>
                    <a:pt x="2" y="25"/>
                  </a:cubicBezTo>
                  <a:cubicBezTo>
                    <a:pt x="2" y="26"/>
                    <a:pt x="2" y="26"/>
                    <a:pt x="2" y="26"/>
                  </a:cubicBezTo>
                  <a:cubicBezTo>
                    <a:pt x="3" y="26"/>
                    <a:pt x="3" y="27"/>
                    <a:pt x="4" y="27"/>
                  </a:cubicBezTo>
                  <a:cubicBezTo>
                    <a:pt x="6" y="29"/>
                    <a:pt x="6" y="29"/>
                    <a:pt x="9" y="29"/>
                  </a:cubicBezTo>
                  <a:cubicBezTo>
                    <a:pt x="10" y="29"/>
                    <a:pt x="11" y="29"/>
                    <a:pt x="12" y="30"/>
                  </a:cubicBezTo>
                  <a:cubicBezTo>
                    <a:pt x="15" y="30"/>
                    <a:pt x="18" y="31"/>
                    <a:pt x="19" y="34"/>
                  </a:cubicBezTo>
                  <a:cubicBezTo>
                    <a:pt x="19" y="34"/>
                    <a:pt x="20" y="35"/>
                    <a:pt x="20" y="36"/>
                  </a:cubicBezTo>
                  <a:cubicBezTo>
                    <a:pt x="20" y="38"/>
                    <a:pt x="19" y="40"/>
                    <a:pt x="19" y="43"/>
                  </a:cubicBezTo>
                  <a:cubicBezTo>
                    <a:pt x="18" y="46"/>
                    <a:pt x="18" y="46"/>
                    <a:pt x="18" y="46"/>
                  </a:cubicBezTo>
                  <a:cubicBezTo>
                    <a:pt x="18" y="47"/>
                    <a:pt x="18" y="47"/>
                    <a:pt x="19" y="48"/>
                  </a:cubicBezTo>
                  <a:cubicBezTo>
                    <a:pt x="19" y="48"/>
                    <a:pt x="19" y="48"/>
                    <a:pt x="19" y="48"/>
                  </a:cubicBezTo>
                  <a:cubicBezTo>
                    <a:pt x="21" y="50"/>
                    <a:pt x="21" y="50"/>
                    <a:pt x="21" y="50"/>
                  </a:cubicBezTo>
                  <a:cubicBezTo>
                    <a:pt x="22" y="50"/>
                    <a:pt x="22" y="51"/>
                    <a:pt x="23" y="52"/>
                  </a:cubicBezTo>
                  <a:cubicBezTo>
                    <a:pt x="27" y="57"/>
                    <a:pt x="21" y="64"/>
                    <a:pt x="16" y="70"/>
                  </a:cubicBezTo>
                  <a:cubicBezTo>
                    <a:pt x="16" y="70"/>
                    <a:pt x="15" y="71"/>
                    <a:pt x="15" y="72"/>
                  </a:cubicBezTo>
                  <a:cubicBezTo>
                    <a:pt x="14" y="73"/>
                    <a:pt x="14" y="73"/>
                    <a:pt x="14" y="73"/>
                  </a:cubicBezTo>
                  <a:cubicBezTo>
                    <a:pt x="13" y="75"/>
                    <a:pt x="12" y="76"/>
                    <a:pt x="11" y="77"/>
                  </a:cubicBezTo>
                  <a:cubicBezTo>
                    <a:pt x="11" y="78"/>
                    <a:pt x="11" y="79"/>
                    <a:pt x="11" y="80"/>
                  </a:cubicBezTo>
                  <a:cubicBezTo>
                    <a:pt x="11" y="81"/>
                    <a:pt x="10" y="83"/>
                    <a:pt x="10" y="84"/>
                  </a:cubicBezTo>
                  <a:cubicBezTo>
                    <a:pt x="10" y="85"/>
                    <a:pt x="10" y="85"/>
                    <a:pt x="10" y="85"/>
                  </a:cubicBezTo>
                  <a:cubicBezTo>
                    <a:pt x="13" y="87"/>
                    <a:pt x="13" y="87"/>
                    <a:pt x="13" y="87"/>
                  </a:cubicBezTo>
                  <a:cubicBezTo>
                    <a:pt x="13" y="88"/>
                    <a:pt x="13" y="88"/>
                    <a:pt x="13" y="88"/>
                  </a:cubicBezTo>
                  <a:cubicBezTo>
                    <a:pt x="13" y="88"/>
                    <a:pt x="14" y="87"/>
                    <a:pt x="14" y="87"/>
                  </a:cubicBezTo>
                  <a:cubicBezTo>
                    <a:pt x="16" y="85"/>
                    <a:pt x="18" y="84"/>
                    <a:pt x="19" y="84"/>
                  </a:cubicBezTo>
                  <a:cubicBezTo>
                    <a:pt x="19" y="83"/>
                    <a:pt x="20" y="83"/>
                    <a:pt x="21" y="83"/>
                  </a:cubicBezTo>
                  <a:cubicBezTo>
                    <a:pt x="24" y="82"/>
                    <a:pt x="26" y="81"/>
                    <a:pt x="28" y="80"/>
                  </a:cubicBezTo>
                  <a:cubicBezTo>
                    <a:pt x="28" y="80"/>
                    <a:pt x="29" y="80"/>
                    <a:pt x="29" y="79"/>
                  </a:cubicBezTo>
                  <a:cubicBezTo>
                    <a:pt x="30" y="80"/>
                    <a:pt x="30" y="80"/>
                    <a:pt x="30" y="80"/>
                  </a:cubicBezTo>
                  <a:cubicBezTo>
                    <a:pt x="30" y="79"/>
                    <a:pt x="30" y="79"/>
                    <a:pt x="30" y="79"/>
                  </a:cubicBezTo>
                  <a:cubicBezTo>
                    <a:pt x="30" y="79"/>
                    <a:pt x="31" y="79"/>
                    <a:pt x="31" y="78"/>
                  </a:cubicBezTo>
                  <a:cubicBezTo>
                    <a:pt x="33" y="78"/>
                    <a:pt x="34" y="78"/>
                    <a:pt x="35" y="78"/>
                  </a:cubicBezTo>
                  <a:cubicBezTo>
                    <a:pt x="36" y="78"/>
                    <a:pt x="37" y="78"/>
                    <a:pt x="38" y="79"/>
                  </a:cubicBezTo>
                  <a:cubicBezTo>
                    <a:pt x="39" y="79"/>
                    <a:pt x="39" y="80"/>
                    <a:pt x="40" y="80"/>
                  </a:cubicBezTo>
                  <a:cubicBezTo>
                    <a:pt x="42" y="82"/>
                    <a:pt x="42" y="82"/>
                    <a:pt x="42" y="82"/>
                  </a:cubicBezTo>
                  <a:cubicBezTo>
                    <a:pt x="42" y="82"/>
                    <a:pt x="43" y="83"/>
                    <a:pt x="44" y="83"/>
                  </a:cubicBezTo>
                  <a:cubicBezTo>
                    <a:pt x="44" y="83"/>
                    <a:pt x="44" y="83"/>
                    <a:pt x="44" y="83"/>
                  </a:cubicBezTo>
                  <a:cubicBezTo>
                    <a:pt x="44" y="82"/>
                    <a:pt x="44" y="82"/>
                    <a:pt x="44" y="82"/>
                  </a:cubicBezTo>
                  <a:cubicBezTo>
                    <a:pt x="44" y="82"/>
                    <a:pt x="44" y="82"/>
                    <a:pt x="44" y="82"/>
                  </a:cubicBezTo>
                  <a:cubicBezTo>
                    <a:pt x="44" y="81"/>
                    <a:pt x="44" y="80"/>
                    <a:pt x="44" y="79"/>
                  </a:cubicBezTo>
                  <a:cubicBezTo>
                    <a:pt x="45" y="78"/>
                    <a:pt x="45" y="78"/>
                    <a:pt x="45" y="78"/>
                  </a:cubicBezTo>
                  <a:cubicBezTo>
                    <a:pt x="45" y="77"/>
                    <a:pt x="45" y="75"/>
                    <a:pt x="47" y="73"/>
                  </a:cubicBezTo>
                  <a:cubicBezTo>
                    <a:pt x="47" y="73"/>
                    <a:pt x="47" y="73"/>
                    <a:pt x="47" y="73"/>
                  </a:cubicBezTo>
                  <a:cubicBezTo>
                    <a:pt x="47" y="71"/>
                    <a:pt x="49" y="70"/>
                    <a:pt x="53" y="70"/>
                  </a:cubicBezTo>
                  <a:cubicBezTo>
                    <a:pt x="55" y="70"/>
                    <a:pt x="57" y="70"/>
                    <a:pt x="58" y="70"/>
                  </a:cubicBezTo>
                  <a:cubicBezTo>
                    <a:pt x="59" y="70"/>
                    <a:pt x="59" y="70"/>
                    <a:pt x="60" y="71"/>
                  </a:cubicBezTo>
                  <a:cubicBezTo>
                    <a:pt x="61" y="71"/>
                    <a:pt x="62" y="71"/>
                    <a:pt x="63" y="71"/>
                  </a:cubicBezTo>
                  <a:cubicBezTo>
                    <a:pt x="64" y="71"/>
                    <a:pt x="64" y="71"/>
                    <a:pt x="64" y="71"/>
                  </a:cubicBezTo>
                  <a:cubicBezTo>
                    <a:pt x="64" y="71"/>
                    <a:pt x="64" y="71"/>
                    <a:pt x="64" y="71"/>
                  </a:cubicBezTo>
                  <a:cubicBezTo>
                    <a:pt x="64" y="71"/>
                    <a:pt x="65" y="71"/>
                    <a:pt x="65" y="70"/>
                  </a:cubicBezTo>
                  <a:cubicBezTo>
                    <a:pt x="65" y="70"/>
                    <a:pt x="65" y="70"/>
                    <a:pt x="65" y="70"/>
                  </a:cubicBezTo>
                  <a:cubicBezTo>
                    <a:pt x="64" y="69"/>
                    <a:pt x="64" y="69"/>
                    <a:pt x="64" y="69"/>
                  </a:cubicBezTo>
                  <a:cubicBezTo>
                    <a:pt x="64" y="69"/>
                    <a:pt x="64" y="69"/>
                    <a:pt x="64" y="69"/>
                  </a:cubicBezTo>
                  <a:cubicBezTo>
                    <a:pt x="63" y="67"/>
                    <a:pt x="62" y="66"/>
                    <a:pt x="62" y="65"/>
                  </a:cubicBezTo>
                  <a:cubicBezTo>
                    <a:pt x="62" y="64"/>
                    <a:pt x="62" y="62"/>
                    <a:pt x="64" y="60"/>
                  </a:cubicBezTo>
                  <a:cubicBezTo>
                    <a:pt x="65" y="59"/>
                    <a:pt x="67" y="58"/>
                    <a:pt x="69" y="57"/>
                  </a:cubicBezTo>
                  <a:cubicBezTo>
                    <a:pt x="69" y="56"/>
                    <a:pt x="70" y="55"/>
                    <a:pt x="71" y="54"/>
                  </a:cubicBezTo>
                  <a:cubicBezTo>
                    <a:pt x="72" y="54"/>
                    <a:pt x="72" y="54"/>
                    <a:pt x="72" y="54"/>
                  </a:cubicBezTo>
                  <a:cubicBezTo>
                    <a:pt x="72" y="53"/>
                    <a:pt x="72" y="53"/>
                    <a:pt x="72" y="53"/>
                  </a:cubicBezTo>
                  <a:cubicBezTo>
                    <a:pt x="73" y="51"/>
                    <a:pt x="75" y="48"/>
                    <a:pt x="78" y="47"/>
                  </a:cubicBezTo>
                  <a:cubicBezTo>
                    <a:pt x="80" y="45"/>
                    <a:pt x="82" y="45"/>
                    <a:pt x="84" y="45"/>
                  </a:cubicBezTo>
                  <a:cubicBezTo>
                    <a:pt x="85" y="45"/>
                    <a:pt x="85" y="45"/>
                    <a:pt x="85" y="45"/>
                  </a:cubicBezTo>
                  <a:cubicBezTo>
                    <a:pt x="87" y="45"/>
                    <a:pt x="87" y="45"/>
                    <a:pt x="87" y="45"/>
                  </a:cubicBezTo>
                  <a:cubicBezTo>
                    <a:pt x="88" y="46"/>
                    <a:pt x="89" y="47"/>
                    <a:pt x="90" y="48"/>
                  </a:cubicBezTo>
                  <a:cubicBezTo>
                    <a:pt x="91" y="48"/>
                    <a:pt x="91" y="48"/>
                    <a:pt x="92" y="49"/>
                  </a:cubicBezTo>
                  <a:cubicBezTo>
                    <a:pt x="96" y="45"/>
                    <a:pt x="96" y="45"/>
                    <a:pt x="96" y="45"/>
                  </a:cubicBezTo>
                  <a:cubicBezTo>
                    <a:pt x="95" y="47"/>
                    <a:pt x="95" y="47"/>
                    <a:pt x="95" y="47"/>
                  </a:cubicBezTo>
                  <a:cubicBezTo>
                    <a:pt x="96" y="46"/>
                    <a:pt x="96" y="46"/>
                    <a:pt x="96" y="46"/>
                  </a:cubicBezTo>
                  <a:cubicBezTo>
                    <a:pt x="93" y="51"/>
                    <a:pt x="93" y="51"/>
                    <a:pt x="93" y="51"/>
                  </a:cubicBezTo>
                  <a:cubicBezTo>
                    <a:pt x="94" y="52"/>
                    <a:pt x="94" y="52"/>
                    <a:pt x="94" y="52"/>
                  </a:cubicBezTo>
                  <a:cubicBezTo>
                    <a:pt x="95" y="53"/>
                    <a:pt x="95" y="53"/>
                    <a:pt x="96" y="54"/>
                  </a:cubicBezTo>
                  <a:cubicBezTo>
                    <a:pt x="96" y="55"/>
                    <a:pt x="97" y="57"/>
                    <a:pt x="97" y="59"/>
                  </a:cubicBezTo>
                  <a:cubicBezTo>
                    <a:pt x="98" y="59"/>
                    <a:pt x="99" y="59"/>
                    <a:pt x="100" y="60"/>
                  </a:cubicBezTo>
                  <a:cubicBezTo>
                    <a:pt x="102" y="61"/>
                    <a:pt x="103" y="63"/>
                    <a:pt x="103" y="64"/>
                  </a:cubicBezTo>
                  <a:cubicBezTo>
                    <a:pt x="103" y="67"/>
                    <a:pt x="102" y="69"/>
                    <a:pt x="102" y="72"/>
                  </a:cubicBezTo>
                  <a:cubicBezTo>
                    <a:pt x="102" y="76"/>
                    <a:pt x="101" y="79"/>
                    <a:pt x="101" y="82"/>
                  </a:cubicBezTo>
                  <a:cubicBezTo>
                    <a:pt x="107" y="84"/>
                    <a:pt x="107" y="84"/>
                    <a:pt x="107" y="84"/>
                  </a:cubicBezTo>
                  <a:cubicBezTo>
                    <a:pt x="100" y="84"/>
                    <a:pt x="100" y="84"/>
                    <a:pt x="100" y="84"/>
                  </a:cubicBezTo>
                  <a:cubicBezTo>
                    <a:pt x="100" y="84"/>
                    <a:pt x="100" y="84"/>
                    <a:pt x="100" y="84"/>
                  </a:cubicBezTo>
                  <a:cubicBezTo>
                    <a:pt x="100" y="85"/>
                    <a:pt x="100" y="86"/>
                    <a:pt x="100" y="86"/>
                  </a:cubicBezTo>
                  <a:cubicBezTo>
                    <a:pt x="100" y="87"/>
                    <a:pt x="100" y="87"/>
                    <a:pt x="100" y="88"/>
                  </a:cubicBezTo>
                  <a:cubicBezTo>
                    <a:pt x="100" y="89"/>
                    <a:pt x="100" y="90"/>
                    <a:pt x="101" y="91"/>
                  </a:cubicBezTo>
                  <a:cubicBezTo>
                    <a:pt x="101" y="91"/>
                    <a:pt x="101" y="92"/>
                    <a:pt x="102" y="93"/>
                  </a:cubicBezTo>
                  <a:cubicBezTo>
                    <a:pt x="102" y="93"/>
                    <a:pt x="102" y="93"/>
                    <a:pt x="102" y="93"/>
                  </a:cubicBezTo>
                  <a:cubicBezTo>
                    <a:pt x="102" y="93"/>
                    <a:pt x="102" y="94"/>
                    <a:pt x="103" y="95"/>
                  </a:cubicBezTo>
                  <a:cubicBezTo>
                    <a:pt x="114" y="90"/>
                    <a:pt x="114" y="90"/>
                    <a:pt x="114" y="90"/>
                  </a:cubicBezTo>
                  <a:cubicBezTo>
                    <a:pt x="115" y="90"/>
                    <a:pt x="115" y="90"/>
                    <a:pt x="115" y="90"/>
                  </a:cubicBezTo>
                  <a:cubicBezTo>
                    <a:pt x="118" y="89"/>
                    <a:pt x="118" y="89"/>
                    <a:pt x="118" y="89"/>
                  </a:cubicBezTo>
                  <a:cubicBezTo>
                    <a:pt x="121" y="88"/>
                    <a:pt x="124" y="87"/>
                    <a:pt x="126" y="85"/>
                  </a:cubicBezTo>
                  <a:cubicBezTo>
                    <a:pt x="129" y="82"/>
                    <a:pt x="133" y="78"/>
                    <a:pt x="138" y="75"/>
                  </a:cubicBezTo>
                  <a:cubicBezTo>
                    <a:pt x="139" y="75"/>
                    <a:pt x="140" y="74"/>
                    <a:pt x="141" y="74"/>
                  </a:cubicBezTo>
                  <a:cubicBezTo>
                    <a:pt x="142" y="74"/>
                    <a:pt x="143" y="73"/>
                    <a:pt x="145" y="73"/>
                  </a:cubicBezTo>
                  <a:cubicBezTo>
                    <a:pt x="147" y="73"/>
                    <a:pt x="149" y="74"/>
                    <a:pt x="152" y="76"/>
                  </a:cubicBezTo>
                  <a:cubicBezTo>
                    <a:pt x="153" y="76"/>
                    <a:pt x="154" y="77"/>
                    <a:pt x="155" y="78"/>
                  </a:cubicBezTo>
                  <a:cubicBezTo>
                    <a:pt x="156" y="79"/>
                    <a:pt x="156" y="79"/>
                    <a:pt x="156" y="79"/>
                  </a:cubicBezTo>
                  <a:cubicBezTo>
                    <a:pt x="159" y="78"/>
                    <a:pt x="161" y="77"/>
                    <a:pt x="162" y="77"/>
                  </a:cubicBezTo>
                  <a:cubicBezTo>
                    <a:pt x="163" y="77"/>
                    <a:pt x="163" y="77"/>
                    <a:pt x="163" y="77"/>
                  </a:cubicBezTo>
                  <a:cubicBezTo>
                    <a:pt x="163" y="76"/>
                    <a:pt x="164" y="75"/>
                    <a:pt x="165" y="75"/>
                  </a:cubicBezTo>
                  <a:cubicBezTo>
                    <a:pt x="165" y="75"/>
                    <a:pt x="166" y="75"/>
                    <a:pt x="168" y="75"/>
                  </a:cubicBezTo>
                  <a:cubicBezTo>
                    <a:pt x="168" y="75"/>
                    <a:pt x="168" y="75"/>
                    <a:pt x="168" y="75"/>
                  </a:cubicBezTo>
                  <a:cubicBezTo>
                    <a:pt x="169" y="75"/>
                    <a:pt x="169" y="75"/>
                    <a:pt x="170" y="75"/>
                  </a:cubicBezTo>
                  <a:cubicBezTo>
                    <a:pt x="172" y="75"/>
                    <a:pt x="175" y="76"/>
                    <a:pt x="178" y="77"/>
                  </a:cubicBezTo>
                  <a:cubicBezTo>
                    <a:pt x="182" y="79"/>
                    <a:pt x="182" y="79"/>
                    <a:pt x="182" y="79"/>
                  </a:cubicBezTo>
                  <a:cubicBezTo>
                    <a:pt x="182" y="79"/>
                    <a:pt x="183" y="78"/>
                    <a:pt x="184" y="78"/>
                  </a:cubicBezTo>
                  <a:cubicBezTo>
                    <a:pt x="183" y="77"/>
                    <a:pt x="182" y="75"/>
                    <a:pt x="181" y="73"/>
                  </a:cubicBezTo>
                  <a:cubicBezTo>
                    <a:pt x="181" y="71"/>
                    <a:pt x="181" y="71"/>
                    <a:pt x="181" y="71"/>
                  </a:cubicBezTo>
                  <a:cubicBezTo>
                    <a:pt x="181" y="70"/>
                    <a:pt x="181" y="69"/>
                    <a:pt x="180" y="67"/>
                  </a:cubicBezTo>
                  <a:cubicBezTo>
                    <a:pt x="180" y="65"/>
                    <a:pt x="180" y="65"/>
                    <a:pt x="180" y="65"/>
                  </a:cubicBezTo>
                  <a:cubicBezTo>
                    <a:pt x="180" y="61"/>
                    <a:pt x="179" y="57"/>
                    <a:pt x="178" y="53"/>
                  </a:cubicBezTo>
                  <a:cubicBezTo>
                    <a:pt x="178" y="51"/>
                    <a:pt x="178" y="51"/>
                    <a:pt x="176" y="50"/>
                  </a:cubicBezTo>
                  <a:cubicBezTo>
                    <a:pt x="175" y="49"/>
                    <a:pt x="175" y="49"/>
                    <a:pt x="175" y="49"/>
                  </a:cubicBezTo>
                  <a:cubicBezTo>
                    <a:pt x="174" y="49"/>
                    <a:pt x="173" y="48"/>
                    <a:pt x="172" y="48"/>
                  </a:cubicBezTo>
                  <a:cubicBezTo>
                    <a:pt x="172" y="47"/>
                    <a:pt x="172" y="47"/>
                    <a:pt x="172" y="47"/>
                  </a:cubicBezTo>
                  <a:cubicBezTo>
                    <a:pt x="171" y="47"/>
                    <a:pt x="170" y="46"/>
                    <a:pt x="170" y="46"/>
                  </a:cubicBezTo>
                  <a:cubicBezTo>
                    <a:pt x="168" y="45"/>
                    <a:pt x="167" y="45"/>
                    <a:pt x="167" y="45"/>
                  </a:cubicBezTo>
                  <a:cubicBezTo>
                    <a:pt x="167" y="45"/>
                    <a:pt x="166" y="45"/>
                    <a:pt x="166" y="45"/>
                  </a:cubicBezTo>
                  <a:cubicBezTo>
                    <a:pt x="165" y="45"/>
                    <a:pt x="165" y="45"/>
                    <a:pt x="165" y="45"/>
                  </a:cubicBezTo>
                  <a:cubicBezTo>
                    <a:pt x="164" y="45"/>
                    <a:pt x="163" y="45"/>
                    <a:pt x="161" y="46"/>
                  </a:cubicBezTo>
                  <a:cubicBezTo>
                    <a:pt x="160" y="46"/>
                    <a:pt x="160" y="46"/>
                    <a:pt x="160" y="46"/>
                  </a:cubicBezTo>
                  <a:cubicBezTo>
                    <a:pt x="159" y="46"/>
                    <a:pt x="158" y="46"/>
                    <a:pt x="157" y="46"/>
                  </a:cubicBezTo>
                  <a:cubicBezTo>
                    <a:pt x="157" y="46"/>
                    <a:pt x="156" y="46"/>
                    <a:pt x="156" y="46"/>
                  </a:cubicBezTo>
                  <a:cubicBezTo>
                    <a:pt x="154" y="46"/>
                    <a:pt x="153" y="45"/>
                    <a:pt x="152" y="44"/>
                  </a:cubicBezTo>
                  <a:cubicBezTo>
                    <a:pt x="152" y="43"/>
                    <a:pt x="151" y="42"/>
                    <a:pt x="151" y="40"/>
                  </a:cubicBezTo>
                  <a:cubicBezTo>
                    <a:pt x="150" y="38"/>
                    <a:pt x="149" y="36"/>
                    <a:pt x="150" y="33"/>
                  </a:cubicBezTo>
                  <a:cubicBezTo>
                    <a:pt x="151" y="33"/>
                    <a:pt x="151" y="33"/>
                    <a:pt x="151" y="32"/>
                  </a:cubicBezTo>
                  <a:cubicBezTo>
                    <a:pt x="151" y="32"/>
                    <a:pt x="151" y="32"/>
                    <a:pt x="151" y="32"/>
                  </a:cubicBezTo>
                  <a:cubicBezTo>
                    <a:pt x="145" y="35"/>
                    <a:pt x="145" y="35"/>
                    <a:pt x="145" y="35"/>
                  </a:cubicBezTo>
                  <a:cubicBezTo>
                    <a:pt x="150" y="30"/>
                    <a:pt x="150" y="30"/>
                    <a:pt x="150" y="30"/>
                  </a:cubicBezTo>
                  <a:cubicBezTo>
                    <a:pt x="149" y="29"/>
                    <a:pt x="148" y="28"/>
                    <a:pt x="148" y="27"/>
                  </a:cubicBezTo>
                  <a:cubicBezTo>
                    <a:pt x="147" y="26"/>
                    <a:pt x="147" y="26"/>
                    <a:pt x="147" y="26"/>
                  </a:cubicBezTo>
                  <a:cubicBezTo>
                    <a:pt x="148" y="23"/>
                    <a:pt x="148" y="23"/>
                    <a:pt x="148" y="23"/>
                  </a:cubicBezTo>
                  <a:cubicBezTo>
                    <a:pt x="147" y="23"/>
                    <a:pt x="146" y="23"/>
                    <a:pt x="145" y="23"/>
                  </a:cubicBezTo>
                  <a:cubicBezTo>
                    <a:pt x="142" y="24"/>
                    <a:pt x="142" y="24"/>
                    <a:pt x="142" y="24"/>
                  </a:cubicBezTo>
                  <a:cubicBezTo>
                    <a:pt x="141" y="24"/>
                    <a:pt x="140" y="24"/>
                    <a:pt x="138" y="24"/>
                  </a:cubicBezTo>
                  <a:cubicBezTo>
                    <a:pt x="136" y="25"/>
                    <a:pt x="133" y="25"/>
                    <a:pt x="131" y="25"/>
                  </a:cubicBezTo>
                  <a:cubicBezTo>
                    <a:pt x="125" y="25"/>
                    <a:pt x="125" y="25"/>
                    <a:pt x="125" y="25"/>
                  </a:cubicBezTo>
                  <a:cubicBezTo>
                    <a:pt x="123" y="25"/>
                    <a:pt x="122" y="25"/>
                    <a:pt x="120" y="28"/>
                  </a:cubicBezTo>
                  <a:cubicBezTo>
                    <a:pt x="117" y="31"/>
                    <a:pt x="117" y="31"/>
                    <a:pt x="117" y="31"/>
                  </a:cubicBezTo>
                  <a:cubicBezTo>
                    <a:pt x="115" y="29"/>
                    <a:pt x="115" y="29"/>
                    <a:pt x="115" y="29"/>
                  </a:cubicBezTo>
                  <a:cubicBezTo>
                    <a:pt x="114" y="28"/>
                    <a:pt x="110" y="28"/>
                    <a:pt x="109" y="27"/>
                  </a:cubicBezTo>
                  <a:cubicBezTo>
                    <a:pt x="108" y="27"/>
                    <a:pt x="108" y="27"/>
                    <a:pt x="108" y="27"/>
                  </a:cubicBezTo>
                  <a:cubicBezTo>
                    <a:pt x="104" y="27"/>
                    <a:pt x="104" y="27"/>
                    <a:pt x="104" y="27"/>
                  </a:cubicBezTo>
                  <a:cubicBezTo>
                    <a:pt x="104" y="27"/>
                    <a:pt x="104" y="27"/>
                    <a:pt x="104" y="27"/>
                  </a:cubicBezTo>
                  <a:cubicBezTo>
                    <a:pt x="102" y="25"/>
                    <a:pt x="102" y="23"/>
                    <a:pt x="102" y="22"/>
                  </a:cubicBezTo>
                  <a:cubicBezTo>
                    <a:pt x="101" y="22"/>
                    <a:pt x="101" y="22"/>
                    <a:pt x="101" y="22"/>
                  </a:cubicBezTo>
                  <a:cubicBezTo>
                    <a:pt x="101" y="22"/>
                    <a:pt x="101" y="22"/>
                    <a:pt x="101" y="22"/>
                  </a:cubicBezTo>
                  <a:cubicBezTo>
                    <a:pt x="100" y="22"/>
                    <a:pt x="100" y="22"/>
                    <a:pt x="100" y="22"/>
                  </a:cubicBezTo>
                  <a:cubicBezTo>
                    <a:pt x="99" y="22"/>
                    <a:pt x="99" y="22"/>
                    <a:pt x="99" y="22"/>
                  </a:cubicBezTo>
                  <a:cubicBezTo>
                    <a:pt x="98" y="21"/>
                    <a:pt x="97" y="21"/>
                    <a:pt x="97" y="20"/>
                  </a:cubicBezTo>
                  <a:cubicBezTo>
                    <a:pt x="96" y="20"/>
                    <a:pt x="96" y="20"/>
                    <a:pt x="96" y="20"/>
                  </a:cubicBezTo>
                  <a:cubicBezTo>
                    <a:pt x="93" y="22"/>
                    <a:pt x="90" y="23"/>
                    <a:pt x="87" y="23"/>
                  </a:cubicBezTo>
                  <a:cubicBezTo>
                    <a:pt x="87" y="23"/>
                    <a:pt x="87" y="23"/>
                    <a:pt x="86" y="23"/>
                  </a:cubicBezTo>
                  <a:cubicBezTo>
                    <a:pt x="86" y="23"/>
                    <a:pt x="86" y="23"/>
                    <a:pt x="86" y="23"/>
                  </a:cubicBezTo>
                  <a:cubicBezTo>
                    <a:pt x="86" y="23"/>
                    <a:pt x="86" y="23"/>
                    <a:pt x="86" y="23"/>
                  </a:cubicBezTo>
                  <a:cubicBezTo>
                    <a:pt x="86" y="23"/>
                    <a:pt x="86" y="23"/>
                    <a:pt x="86" y="23"/>
                  </a:cubicBezTo>
                  <a:cubicBezTo>
                    <a:pt x="85" y="23"/>
                    <a:pt x="85" y="23"/>
                    <a:pt x="85" y="23"/>
                  </a:cubicBezTo>
                  <a:cubicBezTo>
                    <a:pt x="81" y="22"/>
                    <a:pt x="77" y="21"/>
                    <a:pt x="72" y="20"/>
                  </a:cubicBezTo>
                  <a:cubicBezTo>
                    <a:pt x="69" y="20"/>
                    <a:pt x="65" y="19"/>
                    <a:pt x="61" y="19"/>
                  </a:cubicBezTo>
                  <a:cubicBezTo>
                    <a:pt x="56" y="19"/>
                    <a:pt x="51" y="20"/>
                    <a:pt x="45" y="20"/>
                  </a:cubicBezTo>
                  <a:cubicBezTo>
                    <a:pt x="41" y="20"/>
                    <a:pt x="41" y="20"/>
                    <a:pt x="41" y="20"/>
                  </a:cubicBezTo>
                  <a:cubicBezTo>
                    <a:pt x="41" y="17"/>
                    <a:pt x="41" y="17"/>
                    <a:pt x="41" y="17"/>
                  </a:cubicBezTo>
                  <a:cubicBezTo>
                    <a:pt x="41" y="14"/>
                    <a:pt x="41" y="11"/>
                    <a:pt x="41" y="8"/>
                  </a:cubicBezTo>
                  <a:cubicBezTo>
                    <a:pt x="42" y="1"/>
                    <a:pt x="42" y="1"/>
                    <a:pt x="42" y="1"/>
                  </a:cubicBezTo>
                  <a:cubicBezTo>
                    <a:pt x="41" y="1"/>
                    <a:pt x="41" y="1"/>
                    <a:pt x="41" y="1"/>
                  </a:cubicBezTo>
                  <a:cubicBezTo>
                    <a:pt x="41" y="1"/>
                    <a:pt x="40" y="1"/>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510"/>
            <p:cNvSpPr/>
            <p:nvPr/>
          </p:nvSpPr>
          <p:spPr bwMode="auto">
            <a:xfrm>
              <a:off x="3906056" y="3406167"/>
              <a:ext cx="612465" cy="323693"/>
            </a:xfrm>
            <a:custGeom>
              <a:gdLst>
                <a:gd name="T0" fmla="*/ 32 w 193"/>
                <a:gd name="T1" fmla="*/ 1 h 102"/>
                <a:gd name="T2" fmla="*/ 28 w 193"/>
                <a:gd name="T3" fmla="*/ 9 h 102"/>
                <a:gd name="T4" fmla="*/ 19 w 193"/>
                <a:gd name="T5" fmla="*/ 9 h 102"/>
                <a:gd name="T6" fmla="*/ 5 w 193"/>
                <a:gd name="T7" fmla="*/ 23 h 102"/>
                <a:gd name="T8" fmla="*/ 5 w 193"/>
                <a:gd name="T9" fmla="*/ 28 h 102"/>
                <a:gd name="T10" fmla="*/ 0 w 193"/>
                <a:gd name="T11" fmla="*/ 39 h 102"/>
                <a:gd name="T12" fmla="*/ 9 w 193"/>
                <a:gd name="T13" fmla="*/ 42 h 102"/>
                <a:gd name="T14" fmla="*/ 26 w 193"/>
                <a:gd name="T15" fmla="*/ 52 h 102"/>
                <a:gd name="T16" fmla="*/ 32 w 193"/>
                <a:gd name="T17" fmla="*/ 57 h 102"/>
                <a:gd name="T18" fmla="*/ 38 w 193"/>
                <a:gd name="T19" fmla="*/ 61 h 102"/>
                <a:gd name="T20" fmla="*/ 44 w 193"/>
                <a:gd name="T21" fmla="*/ 62 h 102"/>
                <a:gd name="T22" fmla="*/ 52 w 193"/>
                <a:gd name="T23" fmla="*/ 64 h 102"/>
                <a:gd name="T24" fmla="*/ 64 w 193"/>
                <a:gd name="T25" fmla="*/ 70 h 102"/>
                <a:gd name="T26" fmla="*/ 71 w 193"/>
                <a:gd name="T27" fmla="*/ 74 h 102"/>
                <a:gd name="T28" fmla="*/ 80 w 193"/>
                <a:gd name="T29" fmla="*/ 74 h 102"/>
                <a:gd name="T30" fmla="*/ 82 w 193"/>
                <a:gd name="T31" fmla="*/ 73 h 102"/>
                <a:gd name="T32" fmla="*/ 91 w 193"/>
                <a:gd name="T33" fmla="*/ 74 h 102"/>
                <a:gd name="T34" fmla="*/ 100 w 193"/>
                <a:gd name="T35" fmla="*/ 73 h 102"/>
                <a:gd name="T36" fmla="*/ 108 w 193"/>
                <a:gd name="T37" fmla="*/ 77 h 102"/>
                <a:gd name="T38" fmla="*/ 112 w 193"/>
                <a:gd name="T39" fmla="*/ 85 h 102"/>
                <a:gd name="T40" fmla="*/ 122 w 193"/>
                <a:gd name="T41" fmla="*/ 89 h 102"/>
                <a:gd name="T42" fmla="*/ 125 w 193"/>
                <a:gd name="T43" fmla="*/ 91 h 102"/>
                <a:gd name="T44" fmla="*/ 127 w 193"/>
                <a:gd name="T45" fmla="*/ 92 h 102"/>
                <a:gd name="T46" fmla="*/ 133 w 193"/>
                <a:gd name="T47" fmla="*/ 90 h 102"/>
                <a:gd name="T48" fmla="*/ 137 w 193"/>
                <a:gd name="T49" fmla="*/ 92 h 102"/>
                <a:gd name="T50" fmla="*/ 140 w 193"/>
                <a:gd name="T51" fmla="*/ 97 h 102"/>
                <a:gd name="T52" fmla="*/ 145 w 193"/>
                <a:gd name="T53" fmla="*/ 96 h 102"/>
                <a:gd name="T54" fmla="*/ 153 w 193"/>
                <a:gd name="T55" fmla="*/ 97 h 102"/>
                <a:gd name="T56" fmla="*/ 164 w 193"/>
                <a:gd name="T57" fmla="*/ 99 h 102"/>
                <a:gd name="T58" fmla="*/ 170 w 193"/>
                <a:gd name="T59" fmla="*/ 98 h 102"/>
                <a:gd name="T60" fmla="*/ 172 w 193"/>
                <a:gd name="T61" fmla="*/ 101 h 102"/>
                <a:gd name="T62" fmla="*/ 182 w 193"/>
                <a:gd name="T63" fmla="*/ 102 h 102"/>
                <a:gd name="T64" fmla="*/ 188 w 193"/>
                <a:gd name="T65" fmla="*/ 102 h 102"/>
                <a:gd name="T66" fmla="*/ 190 w 193"/>
                <a:gd name="T67" fmla="*/ 102 h 102"/>
                <a:gd name="T68" fmla="*/ 193 w 193"/>
                <a:gd name="T69" fmla="*/ 95 h 102"/>
                <a:gd name="T70" fmla="*/ 189 w 193"/>
                <a:gd name="T71" fmla="*/ 87 h 102"/>
                <a:gd name="T72" fmla="*/ 186 w 193"/>
                <a:gd name="T73" fmla="*/ 69 h 102"/>
                <a:gd name="T74" fmla="*/ 160 w 193"/>
                <a:gd name="T75" fmla="*/ 63 h 102"/>
                <a:gd name="T76" fmla="*/ 153 w 193"/>
                <a:gd name="T77" fmla="*/ 66 h 102"/>
                <a:gd name="T78" fmla="*/ 144 w 193"/>
                <a:gd name="T79" fmla="*/ 71 h 102"/>
                <a:gd name="T80" fmla="*/ 134 w 193"/>
                <a:gd name="T81" fmla="*/ 58 h 102"/>
                <a:gd name="T82" fmla="*/ 128 w 193"/>
                <a:gd name="T83" fmla="*/ 57 h 102"/>
                <a:gd name="T84" fmla="*/ 122 w 193"/>
                <a:gd name="T85" fmla="*/ 57 h 102"/>
                <a:gd name="T86" fmla="*/ 114 w 193"/>
                <a:gd name="T87" fmla="*/ 50 h 102"/>
                <a:gd name="T88" fmla="*/ 104 w 193"/>
                <a:gd name="T89" fmla="*/ 46 h 102"/>
                <a:gd name="T90" fmla="*/ 96 w 193"/>
                <a:gd name="T91" fmla="*/ 36 h 102"/>
                <a:gd name="T92" fmla="*/ 88 w 193"/>
                <a:gd name="T93" fmla="*/ 33 h 102"/>
                <a:gd name="T94" fmla="*/ 79 w 193"/>
                <a:gd name="T95" fmla="*/ 30 h 102"/>
                <a:gd name="T96" fmla="*/ 75 w 193"/>
                <a:gd name="T97" fmla="*/ 25 h 102"/>
                <a:gd name="T98" fmla="*/ 72 w 193"/>
                <a:gd name="T99" fmla="*/ 22 h 102"/>
                <a:gd name="T100" fmla="*/ 69 w 193"/>
                <a:gd name="T101" fmla="*/ 21 h 102"/>
                <a:gd name="T102" fmla="*/ 57 w 193"/>
                <a:gd name="T103" fmla="*/ 14 h 102"/>
                <a:gd name="T104" fmla="*/ 46 w 193"/>
                <a:gd name="T105" fmla="*/ 8 h 102"/>
                <a:gd name="T106" fmla="*/ 35 w 193"/>
                <a:gd name="T107" fmla="*/ 1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3" h="102">
                  <a:moveTo>
                    <a:pt x="34" y="0"/>
                  </a:moveTo>
                  <a:cubicBezTo>
                    <a:pt x="33" y="0"/>
                    <a:pt x="33" y="1"/>
                    <a:pt x="33" y="1"/>
                  </a:cubicBezTo>
                  <a:cubicBezTo>
                    <a:pt x="32" y="1"/>
                    <a:pt x="32" y="1"/>
                    <a:pt x="32" y="1"/>
                  </a:cubicBezTo>
                  <a:cubicBezTo>
                    <a:pt x="32" y="1"/>
                    <a:pt x="32" y="1"/>
                    <a:pt x="32" y="1"/>
                  </a:cubicBezTo>
                  <a:cubicBezTo>
                    <a:pt x="32" y="1"/>
                    <a:pt x="32" y="1"/>
                    <a:pt x="32" y="1"/>
                  </a:cubicBezTo>
                  <a:cubicBezTo>
                    <a:pt x="32" y="2"/>
                    <a:pt x="32" y="2"/>
                    <a:pt x="32" y="2"/>
                  </a:cubicBezTo>
                  <a:cubicBezTo>
                    <a:pt x="30" y="4"/>
                    <a:pt x="30" y="5"/>
                    <a:pt x="29" y="7"/>
                  </a:cubicBezTo>
                  <a:cubicBezTo>
                    <a:pt x="28" y="9"/>
                    <a:pt x="28" y="9"/>
                    <a:pt x="28" y="9"/>
                  </a:cubicBezTo>
                  <a:cubicBezTo>
                    <a:pt x="27" y="10"/>
                    <a:pt x="27" y="10"/>
                    <a:pt x="27" y="10"/>
                  </a:cubicBezTo>
                  <a:cubicBezTo>
                    <a:pt x="25" y="10"/>
                    <a:pt x="24" y="10"/>
                    <a:pt x="23" y="10"/>
                  </a:cubicBezTo>
                  <a:cubicBezTo>
                    <a:pt x="22" y="10"/>
                    <a:pt x="21" y="10"/>
                    <a:pt x="20" y="10"/>
                  </a:cubicBezTo>
                  <a:cubicBezTo>
                    <a:pt x="19" y="9"/>
                    <a:pt x="19" y="9"/>
                    <a:pt x="19" y="9"/>
                  </a:cubicBezTo>
                  <a:cubicBezTo>
                    <a:pt x="19" y="9"/>
                    <a:pt x="19" y="9"/>
                    <a:pt x="19" y="9"/>
                  </a:cubicBezTo>
                  <a:cubicBezTo>
                    <a:pt x="7" y="20"/>
                    <a:pt x="7" y="20"/>
                    <a:pt x="7" y="20"/>
                  </a:cubicBezTo>
                  <a:cubicBezTo>
                    <a:pt x="7" y="21"/>
                    <a:pt x="7" y="21"/>
                    <a:pt x="7" y="21"/>
                  </a:cubicBezTo>
                  <a:cubicBezTo>
                    <a:pt x="6" y="22"/>
                    <a:pt x="6" y="22"/>
                    <a:pt x="5" y="23"/>
                  </a:cubicBezTo>
                  <a:cubicBezTo>
                    <a:pt x="4" y="24"/>
                    <a:pt x="4" y="24"/>
                    <a:pt x="4" y="24"/>
                  </a:cubicBezTo>
                  <a:cubicBezTo>
                    <a:pt x="4" y="24"/>
                    <a:pt x="4" y="24"/>
                    <a:pt x="4" y="24"/>
                  </a:cubicBezTo>
                  <a:cubicBezTo>
                    <a:pt x="4" y="24"/>
                    <a:pt x="4" y="24"/>
                    <a:pt x="4" y="24"/>
                  </a:cubicBezTo>
                  <a:cubicBezTo>
                    <a:pt x="5" y="25"/>
                    <a:pt x="5" y="26"/>
                    <a:pt x="5" y="28"/>
                  </a:cubicBezTo>
                  <a:cubicBezTo>
                    <a:pt x="5" y="29"/>
                    <a:pt x="4" y="30"/>
                    <a:pt x="3" y="32"/>
                  </a:cubicBezTo>
                  <a:cubicBezTo>
                    <a:pt x="2" y="33"/>
                    <a:pt x="2" y="33"/>
                    <a:pt x="2" y="33"/>
                  </a:cubicBezTo>
                  <a:cubicBezTo>
                    <a:pt x="1" y="34"/>
                    <a:pt x="1" y="35"/>
                    <a:pt x="0" y="36"/>
                  </a:cubicBezTo>
                  <a:cubicBezTo>
                    <a:pt x="0" y="37"/>
                    <a:pt x="0" y="38"/>
                    <a:pt x="0" y="39"/>
                  </a:cubicBezTo>
                  <a:cubicBezTo>
                    <a:pt x="0" y="39"/>
                    <a:pt x="0" y="40"/>
                    <a:pt x="1" y="41"/>
                  </a:cubicBezTo>
                  <a:cubicBezTo>
                    <a:pt x="2" y="41"/>
                    <a:pt x="3" y="42"/>
                    <a:pt x="5" y="43"/>
                  </a:cubicBezTo>
                  <a:cubicBezTo>
                    <a:pt x="5" y="38"/>
                    <a:pt x="5" y="38"/>
                    <a:pt x="5" y="38"/>
                  </a:cubicBezTo>
                  <a:cubicBezTo>
                    <a:pt x="9" y="42"/>
                    <a:pt x="9" y="42"/>
                    <a:pt x="9" y="42"/>
                  </a:cubicBezTo>
                  <a:cubicBezTo>
                    <a:pt x="11" y="42"/>
                    <a:pt x="13" y="43"/>
                    <a:pt x="14" y="44"/>
                  </a:cubicBezTo>
                  <a:cubicBezTo>
                    <a:pt x="15" y="45"/>
                    <a:pt x="15" y="45"/>
                    <a:pt x="15" y="45"/>
                  </a:cubicBezTo>
                  <a:cubicBezTo>
                    <a:pt x="17" y="46"/>
                    <a:pt x="20" y="47"/>
                    <a:pt x="22" y="48"/>
                  </a:cubicBezTo>
                  <a:cubicBezTo>
                    <a:pt x="23" y="49"/>
                    <a:pt x="25" y="50"/>
                    <a:pt x="26" y="52"/>
                  </a:cubicBezTo>
                  <a:cubicBezTo>
                    <a:pt x="29" y="49"/>
                    <a:pt x="29" y="49"/>
                    <a:pt x="29" y="49"/>
                  </a:cubicBezTo>
                  <a:cubicBezTo>
                    <a:pt x="27" y="52"/>
                    <a:pt x="27" y="52"/>
                    <a:pt x="27" y="52"/>
                  </a:cubicBezTo>
                  <a:cubicBezTo>
                    <a:pt x="28" y="53"/>
                    <a:pt x="28" y="53"/>
                    <a:pt x="28" y="53"/>
                  </a:cubicBezTo>
                  <a:cubicBezTo>
                    <a:pt x="29" y="54"/>
                    <a:pt x="31" y="56"/>
                    <a:pt x="32" y="57"/>
                  </a:cubicBezTo>
                  <a:cubicBezTo>
                    <a:pt x="33" y="58"/>
                    <a:pt x="33" y="58"/>
                    <a:pt x="33" y="58"/>
                  </a:cubicBezTo>
                  <a:cubicBezTo>
                    <a:pt x="33" y="58"/>
                    <a:pt x="34" y="58"/>
                    <a:pt x="34" y="59"/>
                  </a:cubicBezTo>
                  <a:cubicBezTo>
                    <a:pt x="35" y="59"/>
                    <a:pt x="35" y="59"/>
                    <a:pt x="36" y="60"/>
                  </a:cubicBezTo>
                  <a:cubicBezTo>
                    <a:pt x="38" y="61"/>
                    <a:pt x="38" y="61"/>
                    <a:pt x="38" y="61"/>
                  </a:cubicBezTo>
                  <a:cubicBezTo>
                    <a:pt x="39" y="62"/>
                    <a:pt x="40" y="63"/>
                    <a:pt x="41" y="63"/>
                  </a:cubicBezTo>
                  <a:cubicBezTo>
                    <a:pt x="41" y="63"/>
                    <a:pt x="41" y="63"/>
                    <a:pt x="41" y="63"/>
                  </a:cubicBezTo>
                  <a:cubicBezTo>
                    <a:pt x="41" y="63"/>
                    <a:pt x="41" y="63"/>
                    <a:pt x="41" y="63"/>
                  </a:cubicBezTo>
                  <a:cubicBezTo>
                    <a:pt x="42" y="62"/>
                    <a:pt x="43" y="62"/>
                    <a:pt x="44" y="62"/>
                  </a:cubicBezTo>
                  <a:cubicBezTo>
                    <a:pt x="45" y="62"/>
                    <a:pt x="45" y="62"/>
                    <a:pt x="45" y="62"/>
                  </a:cubicBezTo>
                  <a:cubicBezTo>
                    <a:pt x="45" y="62"/>
                    <a:pt x="45" y="62"/>
                    <a:pt x="45" y="62"/>
                  </a:cubicBezTo>
                  <a:cubicBezTo>
                    <a:pt x="46" y="62"/>
                    <a:pt x="46" y="62"/>
                    <a:pt x="47" y="62"/>
                  </a:cubicBezTo>
                  <a:cubicBezTo>
                    <a:pt x="49" y="63"/>
                    <a:pt x="50" y="64"/>
                    <a:pt x="52" y="64"/>
                  </a:cubicBezTo>
                  <a:cubicBezTo>
                    <a:pt x="62" y="68"/>
                    <a:pt x="62" y="68"/>
                    <a:pt x="62" y="68"/>
                  </a:cubicBezTo>
                  <a:cubicBezTo>
                    <a:pt x="63" y="68"/>
                    <a:pt x="63" y="68"/>
                    <a:pt x="63" y="68"/>
                  </a:cubicBezTo>
                  <a:cubicBezTo>
                    <a:pt x="63" y="69"/>
                    <a:pt x="63" y="69"/>
                    <a:pt x="63" y="69"/>
                  </a:cubicBezTo>
                  <a:cubicBezTo>
                    <a:pt x="64" y="70"/>
                    <a:pt x="64" y="70"/>
                    <a:pt x="64" y="70"/>
                  </a:cubicBezTo>
                  <a:cubicBezTo>
                    <a:pt x="64" y="70"/>
                    <a:pt x="64" y="71"/>
                    <a:pt x="65" y="72"/>
                  </a:cubicBezTo>
                  <a:cubicBezTo>
                    <a:pt x="65" y="73"/>
                    <a:pt x="65" y="73"/>
                    <a:pt x="65" y="73"/>
                  </a:cubicBezTo>
                  <a:cubicBezTo>
                    <a:pt x="66" y="73"/>
                    <a:pt x="66" y="73"/>
                    <a:pt x="67" y="73"/>
                  </a:cubicBezTo>
                  <a:cubicBezTo>
                    <a:pt x="68" y="74"/>
                    <a:pt x="70" y="74"/>
                    <a:pt x="71" y="74"/>
                  </a:cubicBezTo>
                  <a:cubicBezTo>
                    <a:pt x="73" y="75"/>
                    <a:pt x="75" y="75"/>
                    <a:pt x="76" y="76"/>
                  </a:cubicBezTo>
                  <a:cubicBezTo>
                    <a:pt x="78" y="75"/>
                    <a:pt x="78" y="75"/>
                    <a:pt x="78" y="75"/>
                  </a:cubicBezTo>
                  <a:cubicBezTo>
                    <a:pt x="79" y="75"/>
                    <a:pt x="79" y="74"/>
                    <a:pt x="79" y="74"/>
                  </a:cubicBezTo>
                  <a:cubicBezTo>
                    <a:pt x="80" y="74"/>
                    <a:pt x="80" y="74"/>
                    <a:pt x="80" y="74"/>
                  </a:cubicBezTo>
                  <a:cubicBezTo>
                    <a:pt x="81" y="73"/>
                    <a:pt x="81" y="73"/>
                    <a:pt x="81" y="73"/>
                  </a:cubicBezTo>
                  <a:cubicBezTo>
                    <a:pt x="81" y="73"/>
                    <a:pt x="81" y="73"/>
                    <a:pt x="82" y="73"/>
                  </a:cubicBezTo>
                  <a:cubicBezTo>
                    <a:pt x="82" y="73"/>
                    <a:pt x="82" y="73"/>
                    <a:pt x="82" y="73"/>
                  </a:cubicBezTo>
                  <a:cubicBezTo>
                    <a:pt x="82" y="73"/>
                    <a:pt x="82" y="73"/>
                    <a:pt x="82" y="73"/>
                  </a:cubicBezTo>
                  <a:cubicBezTo>
                    <a:pt x="83" y="74"/>
                    <a:pt x="83" y="74"/>
                    <a:pt x="83" y="74"/>
                  </a:cubicBezTo>
                  <a:cubicBezTo>
                    <a:pt x="88" y="76"/>
                    <a:pt x="88" y="76"/>
                    <a:pt x="88" y="76"/>
                  </a:cubicBezTo>
                  <a:cubicBezTo>
                    <a:pt x="89" y="75"/>
                    <a:pt x="89" y="75"/>
                    <a:pt x="89" y="75"/>
                  </a:cubicBezTo>
                  <a:cubicBezTo>
                    <a:pt x="89" y="75"/>
                    <a:pt x="90" y="74"/>
                    <a:pt x="91" y="74"/>
                  </a:cubicBezTo>
                  <a:cubicBezTo>
                    <a:pt x="90" y="69"/>
                    <a:pt x="90" y="69"/>
                    <a:pt x="90" y="69"/>
                  </a:cubicBezTo>
                  <a:cubicBezTo>
                    <a:pt x="92" y="73"/>
                    <a:pt x="92" y="73"/>
                    <a:pt x="92" y="73"/>
                  </a:cubicBezTo>
                  <a:cubicBezTo>
                    <a:pt x="94" y="73"/>
                    <a:pt x="95" y="72"/>
                    <a:pt x="96" y="72"/>
                  </a:cubicBezTo>
                  <a:cubicBezTo>
                    <a:pt x="97" y="72"/>
                    <a:pt x="99" y="73"/>
                    <a:pt x="100" y="73"/>
                  </a:cubicBezTo>
                  <a:cubicBezTo>
                    <a:pt x="100" y="73"/>
                    <a:pt x="100" y="73"/>
                    <a:pt x="100" y="73"/>
                  </a:cubicBezTo>
                  <a:cubicBezTo>
                    <a:pt x="101" y="73"/>
                    <a:pt x="101" y="73"/>
                    <a:pt x="101" y="73"/>
                  </a:cubicBezTo>
                  <a:cubicBezTo>
                    <a:pt x="102" y="74"/>
                    <a:pt x="102" y="74"/>
                    <a:pt x="102" y="74"/>
                  </a:cubicBezTo>
                  <a:cubicBezTo>
                    <a:pt x="104" y="75"/>
                    <a:pt x="106" y="75"/>
                    <a:pt x="108" y="77"/>
                  </a:cubicBezTo>
                  <a:cubicBezTo>
                    <a:pt x="109" y="77"/>
                    <a:pt x="111" y="78"/>
                    <a:pt x="111" y="81"/>
                  </a:cubicBezTo>
                  <a:cubicBezTo>
                    <a:pt x="111" y="81"/>
                    <a:pt x="111" y="82"/>
                    <a:pt x="111" y="82"/>
                  </a:cubicBezTo>
                  <a:cubicBezTo>
                    <a:pt x="111" y="83"/>
                    <a:pt x="111" y="84"/>
                    <a:pt x="112" y="84"/>
                  </a:cubicBezTo>
                  <a:cubicBezTo>
                    <a:pt x="112" y="85"/>
                    <a:pt x="112" y="85"/>
                    <a:pt x="112" y="85"/>
                  </a:cubicBezTo>
                  <a:cubicBezTo>
                    <a:pt x="112" y="85"/>
                    <a:pt x="112" y="85"/>
                    <a:pt x="113" y="86"/>
                  </a:cubicBezTo>
                  <a:cubicBezTo>
                    <a:pt x="113" y="86"/>
                    <a:pt x="114" y="86"/>
                    <a:pt x="115" y="86"/>
                  </a:cubicBezTo>
                  <a:cubicBezTo>
                    <a:pt x="116" y="87"/>
                    <a:pt x="116" y="87"/>
                    <a:pt x="116" y="87"/>
                  </a:cubicBezTo>
                  <a:cubicBezTo>
                    <a:pt x="118" y="87"/>
                    <a:pt x="120" y="88"/>
                    <a:pt x="122" y="89"/>
                  </a:cubicBezTo>
                  <a:cubicBezTo>
                    <a:pt x="126" y="83"/>
                    <a:pt x="126" y="83"/>
                    <a:pt x="126" y="83"/>
                  </a:cubicBezTo>
                  <a:cubicBezTo>
                    <a:pt x="123" y="90"/>
                    <a:pt x="123" y="90"/>
                    <a:pt x="123" y="90"/>
                  </a:cubicBezTo>
                  <a:cubicBezTo>
                    <a:pt x="123" y="90"/>
                    <a:pt x="123" y="90"/>
                    <a:pt x="123" y="90"/>
                  </a:cubicBezTo>
                  <a:cubicBezTo>
                    <a:pt x="124" y="91"/>
                    <a:pt x="125" y="91"/>
                    <a:pt x="125" y="91"/>
                  </a:cubicBezTo>
                  <a:cubicBezTo>
                    <a:pt x="126" y="92"/>
                    <a:pt x="126" y="92"/>
                    <a:pt x="126" y="92"/>
                  </a:cubicBezTo>
                  <a:cubicBezTo>
                    <a:pt x="126" y="92"/>
                    <a:pt x="126" y="92"/>
                    <a:pt x="126" y="92"/>
                  </a:cubicBezTo>
                  <a:cubicBezTo>
                    <a:pt x="126" y="92"/>
                    <a:pt x="126" y="92"/>
                    <a:pt x="126" y="92"/>
                  </a:cubicBezTo>
                  <a:cubicBezTo>
                    <a:pt x="126" y="92"/>
                    <a:pt x="127" y="92"/>
                    <a:pt x="127" y="92"/>
                  </a:cubicBezTo>
                  <a:cubicBezTo>
                    <a:pt x="128" y="92"/>
                    <a:pt x="128" y="92"/>
                    <a:pt x="128" y="92"/>
                  </a:cubicBezTo>
                  <a:cubicBezTo>
                    <a:pt x="129" y="91"/>
                    <a:pt x="130" y="91"/>
                    <a:pt x="131" y="91"/>
                  </a:cubicBezTo>
                  <a:cubicBezTo>
                    <a:pt x="132" y="90"/>
                    <a:pt x="132" y="90"/>
                    <a:pt x="132" y="90"/>
                  </a:cubicBezTo>
                  <a:cubicBezTo>
                    <a:pt x="132" y="90"/>
                    <a:pt x="133" y="90"/>
                    <a:pt x="133" y="90"/>
                  </a:cubicBezTo>
                  <a:cubicBezTo>
                    <a:pt x="134" y="90"/>
                    <a:pt x="134" y="90"/>
                    <a:pt x="134" y="90"/>
                  </a:cubicBezTo>
                  <a:cubicBezTo>
                    <a:pt x="135" y="90"/>
                    <a:pt x="135" y="90"/>
                    <a:pt x="135" y="90"/>
                  </a:cubicBezTo>
                  <a:cubicBezTo>
                    <a:pt x="136" y="91"/>
                    <a:pt x="136" y="91"/>
                    <a:pt x="136" y="91"/>
                  </a:cubicBezTo>
                  <a:cubicBezTo>
                    <a:pt x="137" y="92"/>
                    <a:pt x="137" y="92"/>
                    <a:pt x="137" y="92"/>
                  </a:cubicBezTo>
                  <a:cubicBezTo>
                    <a:pt x="137" y="92"/>
                    <a:pt x="137" y="92"/>
                    <a:pt x="137" y="92"/>
                  </a:cubicBezTo>
                  <a:cubicBezTo>
                    <a:pt x="137" y="93"/>
                    <a:pt x="137" y="93"/>
                    <a:pt x="137" y="93"/>
                  </a:cubicBezTo>
                  <a:cubicBezTo>
                    <a:pt x="138" y="94"/>
                    <a:pt x="139" y="94"/>
                    <a:pt x="139" y="95"/>
                  </a:cubicBezTo>
                  <a:cubicBezTo>
                    <a:pt x="140" y="96"/>
                    <a:pt x="140" y="96"/>
                    <a:pt x="140" y="97"/>
                  </a:cubicBezTo>
                  <a:cubicBezTo>
                    <a:pt x="140" y="97"/>
                    <a:pt x="141" y="97"/>
                    <a:pt x="141" y="97"/>
                  </a:cubicBezTo>
                  <a:cubicBezTo>
                    <a:pt x="142" y="97"/>
                    <a:pt x="142" y="97"/>
                    <a:pt x="142" y="97"/>
                  </a:cubicBezTo>
                  <a:cubicBezTo>
                    <a:pt x="144" y="97"/>
                    <a:pt x="144" y="97"/>
                    <a:pt x="144" y="97"/>
                  </a:cubicBezTo>
                  <a:cubicBezTo>
                    <a:pt x="144" y="96"/>
                    <a:pt x="145" y="96"/>
                    <a:pt x="145" y="96"/>
                  </a:cubicBezTo>
                  <a:cubicBezTo>
                    <a:pt x="146" y="96"/>
                    <a:pt x="146" y="96"/>
                    <a:pt x="146" y="96"/>
                  </a:cubicBezTo>
                  <a:cubicBezTo>
                    <a:pt x="147" y="96"/>
                    <a:pt x="148" y="96"/>
                    <a:pt x="149" y="97"/>
                  </a:cubicBezTo>
                  <a:cubicBezTo>
                    <a:pt x="150" y="97"/>
                    <a:pt x="150" y="97"/>
                    <a:pt x="150" y="97"/>
                  </a:cubicBezTo>
                  <a:cubicBezTo>
                    <a:pt x="151" y="97"/>
                    <a:pt x="152" y="97"/>
                    <a:pt x="153" y="97"/>
                  </a:cubicBezTo>
                  <a:cubicBezTo>
                    <a:pt x="154" y="98"/>
                    <a:pt x="155" y="98"/>
                    <a:pt x="156" y="99"/>
                  </a:cubicBezTo>
                  <a:cubicBezTo>
                    <a:pt x="160" y="100"/>
                    <a:pt x="160" y="100"/>
                    <a:pt x="160" y="100"/>
                  </a:cubicBezTo>
                  <a:cubicBezTo>
                    <a:pt x="161" y="100"/>
                    <a:pt x="162" y="100"/>
                    <a:pt x="163" y="99"/>
                  </a:cubicBezTo>
                  <a:cubicBezTo>
                    <a:pt x="164" y="99"/>
                    <a:pt x="164" y="99"/>
                    <a:pt x="164" y="99"/>
                  </a:cubicBezTo>
                  <a:cubicBezTo>
                    <a:pt x="165" y="98"/>
                    <a:pt x="166" y="98"/>
                    <a:pt x="167" y="97"/>
                  </a:cubicBezTo>
                  <a:cubicBezTo>
                    <a:pt x="167" y="97"/>
                    <a:pt x="168" y="97"/>
                    <a:pt x="168" y="97"/>
                  </a:cubicBezTo>
                  <a:cubicBezTo>
                    <a:pt x="168" y="97"/>
                    <a:pt x="168" y="97"/>
                    <a:pt x="168" y="97"/>
                  </a:cubicBezTo>
                  <a:cubicBezTo>
                    <a:pt x="169" y="97"/>
                    <a:pt x="169" y="97"/>
                    <a:pt x="170" y="98"/>
                  </a:cubicBezTo>
                  <a:cubicBezTo>
                    <a:pt x="170" y="98"/>
                    <a:pt x="170" y="98"/>
                    <a:pt x="170" y="98"/>
                  </a:cubicBezTo>
                  <a:cubicBezTo>
                    <a:pt x="170" y="98"/>
                    <a:pt x="170" y="98"/>
                    <a:pt x="170" y="98"/>
                  </a:cubicBezTo>
                  <a:cubicBezTo>
                    <a:pt x="171" y="99"/>
                    <a:pt x="171" y="99"/>
                    <a:pt x="172" y="100"/>
                  </a:cubicBezTo>
                  <a:cubicBezTo>
                    <a:pt x="172" y="100"/>
                    <a:pt x="172" y="100"/>
                    <a:pt x="172" y="101"/>
                  </a:cubicBezTo>
                  <a:cubicBezTo>
                    <a:pt x="172" y="101"/>
                    <a:pt x="172" y="101"/>
                    <a:pt x="172" y="101"/>
                  </a:cubicBezTo>
                  <a:cubicBezTo>
                    <a:pt x="172" y="101"/>
                    <a:pt x="172" y="101"/>
                    <a:pt x="172" y="101"/>
                  </a:cubicBezTo>
                  <a:cubicBezTo>
                    <a:pt x="173" y="101"/>
                    <a:pt x="174" y="102"/>
                    <a:pt x="177" y="102"/>
                  </a:cubicBezTo>
                  <a:cubicBezTo>
                    <a:pt x="182" y="102"/>
                    <a:pt x="182" y="102"/>
                    <a:pt x="182" y="102"/>
                  </a:cubicBezTo>
                  <a:cubicBezTo>
                    <a:pt x="183" y="102"/>
                    <a:pt x="183" y="102"/>
                    <a:pt x="183" y="102"/>
                  </a:cubicBezTo>
                  <a:cubicBezTo>
                    <a:pt x="183" y="102"/>
                    <a:pt x="183" y="102"/>
                    <a:pt x="183" y="102"/>
                  </a:cubicBezTo>
                  <a:cubicBezTo>
                    <a:pt x="184" y="102"/>
                    <a:pt x="185" y="102"/>
                    <a:pt x="186" y="102"/>
                  </a:cubicBezTo>
                  <a:cubicBezTo>
                    <a:pt x="187" y="102"/>
                    <a:pt x="187" y="102"/>
                    <a:pt x="188" y="102"/>
                  </a:cubicBezTo>
                  <a:cubicBezTo>
                    <a:pt x="189" y="102"/>
                    <a:pt x="189" y="102"/>
                    <a:pt x="189" y="102"/>
                  </a:cubicBezTo>
                  <a:cubicBezTo>
                    <a:pt x="189" y="102"/>
                    <a:pt x="189" y="102"/>
                    <a:pt x="189" y="102"/>
                  </a:cubicBezTo>
                  <a:cubicBezTo>
                    <a:pt x="190" y="102"/>
                    <a:pt x="190" y="102"/>
                    <a:pt x="190" y="102"/>
                  </a:cubicBezTo>
                  <a:cubicBezTo>
                    <a:pt x="190" y="102"/>
                    <a:pt x="190" y="102"/>
                    <a:pt x="190" y="102"/>
                  </a:cubicBezTo>
                  <a:cubicBezTo>
                    <a:pt x="191" y="101"/>
                    <a:pt x="191" y="101"/>
                    <a:pt x="191" y="101"/>
                  </a:cubicBezTo>
                  <a:cubicBezTo>
                    <a:pt x="191" y="100"/>
                    <a:pt x="191" y="100"/>
                    <a:pt x="191" y="100"/>
                  </a:cubicBezTo>
                  <a:cubicBezTo>
                    <a:pt x="192" y="99"/>
                    <a:pt x="193" y="97"/>
                    <a:pt x="193" y="95"/>
                  </a:cubicBezTo>
                  <a:cubicBezTo>
                    <a:pt x="193" y="95"/>
                    <a:pt x="193" y="95"/>
                    <a:pt x="193" y="95"/>
                  </a:cubicBezTo>
                  <a:cubicBezTo>
                    <a:pt x="192" y="94"/>
                    <a:pt x="192" y="94"/>
                    <a:pt x="192" y="93"/>
                  </a:cubicBezTo>
                  <a:cubicBezTo>
                    <a:pt x="191" y="92"/>
                    <a:pt x="191" y="91"/>
                    <a:pt x="190" y="90"/>
                  </a:cubicBezTo>
                  <a:cubicBezTo>
                    <a:pt x="190" y="90"/>
                    <a:pt x="190" y="90"/>
                    <a:pt x="190" y="90"/>
                  </a:cubicBezTo>
                  <a:cubicBezTo>
                    <a:pt x="189" y="89"/>
                    <a:pt x="189" y="88"/>
                    <a:pt x="189" y="87"/>
                  </a:cubicBezTo>
                  <a:cubicBezTo>
                    <a:pt x="188" y="85"/>
                    <a:pt x="188" y="82"/>
                    <a:pt x="189" y="80"/>
                  </a:cubicBezTo>
                  <a:cubicBezTo>
                    <a:pt x="189" y="77"/>
                    <a:pt x="190" y="73"/>
                    <a:pt x="191" y="71"/>
                  </a:cubicBezTo>
                  <a:cubicBezTo>
                    <a:pt x="191" y="69"/>
                    <a:pt x="191" y="69"/>
                    <a:pt x="191" y="69"/>
                  </a:cubicBezTo>
                  <a:cubicBezTo>
                    <a:pt x="189" y="69"/>
                    <a:pt x="188" y="69"/>
                    <a:pt x="186" y="69"/>
                  </a:cubicBezTo>
                  <a:cubicBezTo>
                    <a:pt x="183" y="69"/>
                    <a:pt x="180" y="69"/>
                    <a:pt x="177" y="69"/>
                  </a:cubicBezTo>
                  <a:cubicBezTo>
                    <a:pt x="174" y="68"/>
                    <a:pt x="171" y="68"/>
                    <a:pt x="169" y="67"/>
                  </a:cubicBezTo>
                  <a:cubicBezTo>
                    <a:pt x="166" y="66"/>
                    <a:pt x="164" y="65"/>
                    <a:pt x="161" y="64"/>
                  </a:cubicBezTo>
                  <a:cubicBezTo>
                    <a:pt x="160" y="63"/>
                    <a:pt x="160" y="63"/>
                    <a:pt x="160" y="63"/>
                  </a:cubicBezTo>
                  <a:cubicBezTo>
                    <a:pt x="159" y="63"/>
                    <a:pt x="159" y="63"/>
                    <a:pt x="159" y="63"/>
                  </a:cubicBezTo>
                  <a:cubicBezTo>
                    <a:pt x="159" y="64"/>
                    <a:pt x="159" y="64"/>
                    <a:pt x="159" y="64"/>
                  </a:cubicBezTo>
                  <a:cubicBezTo>
                    <a:pt x="158" y="64"/>
                    <a:pt x="157" y="66"/>
                    <a:pt x="154" y="66"/>
                  </a:cubicBezTo>
                  <a:cubicBezTo>
                    <a:pt x="154" y="66"/>
                    <a:pt x="153" y="66"/>
                    <a:pt x="153" y="66"/>
                  </a:cubicBezTo>
                  <a:cubicBezTo>
                    <a:pt x="151" y="66"/>
                    <a:pt x="151" y="66"/>
                    <a:pt x="151" y="66"/>
                  </a:cubicBezTo>
                  <a:cubicBezTo>
                    <a:pt x="150" y="65"/>
                    <a:pt x="149" y="65"/>
                    <a:pt x="147" y="64"/>
                  </a:cubicBezTo>
                  <a:cubicBezTo>
                    <a:pt x="147" y="64"/>
                    <a:pt x="147" y="64"/>
                    <a:pt x="147" y="64"/>
                  </a:cubicBezTo>
                  <a:cubicBezTo>
                    <a:pt x="144" y="71"/>
                    <a:pt x="144" y="71"/>
                    <a:pt x="144" y="71"/>
                  </a:cubicBezTo>
                  <a:cubicBezTo>
                    <a:pt x="140" y="65"/>
                    <a:pt x="140" y="65"/>
                    <a:pt x="140" y="65"/>
                  </a:cubicBezTo>
                  <a:cubicBezTo>
                    <a:pt x="138" y="63"/>
                    <a:pt x="137" y="61"/>
                    <a:pt x="135" y="59"/>
                  </a:cubicBezTo>
                  <a:cubicBezTo>
                    <a:pt x="135" y="58"/>
                    <a:pt x="135" y="58"/>
                    <a:pt x="135" y="58"/>
                  </a:cubicBezTo>
                  <a:cubicBezTo>
                    <a:pt x="134" y="58"/>
                    <a:pt x="134" y="58"/>
                    <a:pt x="134" y="58"/>
                  </a:cubicBezTo>
                  <a:cubicBezTo>
                    <a:pt x="134" y="57"/>
                    <a:pt x="134" y="57"/>
                    <a:pt x="134" y="57"/>
                  </a:cubicBezTo>
                  <a:cubicBezTo>
                    <a:pt x="133" y="57"/>
                    <a:pt x="133" y="57"/>
                    <a:pt x="132" y="57"/>
                  </a:cubicBezTo>
                  <a:cubicBezTo>
                    <a:pt x="131" y="57"/>
                    <a:pt x="131" y="57"/>
                    <a:pt x="131" y="57"/>
                  </a:cubicBezTo>
                  <a:cubicBezTo>
                    <a:pt x="130" y="57"/>
                    <a:pt x="129" y="57"/>
                    <a:pt x="128" y="57"/>
                  </a:cubicBezTo>
                  <a:cubicBezTo>
                    <a:pt x="128" y="57"/>
                    <a:pt x="128" y="57"/>
                    <a:pt x="128" y="57"/>
                  </a:cubicBezTo>
                  <a:cubicBezTo>
                    <a:pt x="127" y="57"/>
                    <a:pt x="126" y="57"/>
                    <a:pt x="126" y="57"/>
                  </a:cubicBezTo>
                  <a:cubicBezTo>
                    <a:pt x="125" y="57"/>
                    <a:pt x="124" y="57"/>
                    <a:pt x="123" y="57"/>
                  </a:cubicBezTo>
                  <a:cubicBezTo>
                    <a:pt x="123" y="57"/>
                    <a:pt x="122" y="57"/>
                    <a:pt x="122" y="57"/>
                  </a:cubicBezTo>
                  <a:cubicBezTo>
                    <a:pt x="120" y="57"/>
                    <a:pt x="119" y="56"/>
                    <a:pt x="118" y="55"/>
                  </a:cubicBezTo>
                  <a:cubicBezTo>
                    <a:pt x="117" y="53"/>
                    <a:pt x="117" y="52"/>
                    <a:pt x="118" y="50"/>
                  </a:cubicBezTo>
                  <a:cubicBezTo>
                    <a:pt x="117" y="50"/>
                    <a:pt x="116" y="51"/>
                    <a:pt x="116" y="51"/>
                  </a:cubicBezTo>
                  <a:cubicBezTo>
                    <a:pt x="115" y="51"/>
                    <a:pt x="115" y="50"/>
                    <a:pt x="114" y="50"/>
                  </a:cubicBezTo>
                  <a:cubicBezTo>
                    <a:pt x="112" y="50"/>
                    <a:pt x="111" y="49"/>
                    <a:pt x="110" y="49"/>
                  </a:cubicBezTo>
                  <a:cubicBezTo>
                    <a:pt x="108" y="48"/>
                    <a:pt x="107" y="48"/>
                    <a:pt x="106" y="47"/>
                  </a:cubicBezTo>
                  <a:cubicBezTo>
                    <a:pt x="106" y="47"/>
                    <a:pt x="106" y="47"/>
                    <a:pt x="106" y="47"/>
                  </a:cubicBezTo>
                  <a:cubicBezTo>
                    <a:pt x="105" y="46"/>
                    <a:pt x="105" y="46"/>
                    <a:pt x="104" y="46"/>
                  </a:cubicBezTo>
                  <a:cubicBezTo>
                    <a:pt x="103" y="45"/>
                    <a:pt x="103" y="45"/>
                    <a:pt x="103" y="45"/>
                  </a:cubicBezTo>
                  <a:cubicBezTo>
                    <a:pt x="102" y="44"/>
                    <a:pt x="101" y="44"/>
                    <a:pt x="101" y="43"/>
                  </a:cubicBezTo>
                  <a:cubicBezTo>
                    <a:pt x="100" y="43"/>
                    <a:pt x="100" y="43"/>
                    <a:pt x="100" y="43"/>
                  </a:cubicBezTo>
                  <a:cubicBezTo>
                    <a:pt x="99" y="42"/>
                    <a:pt x="96" y="40"/>
                    <a:pt x="96" y="36"/>
                  </a:cubicBezTo>
                  <a:cubicBezTo>
                    <a:pt x="95" y="35"/>
                    <a:pt x="95" y="35"/>
                    <a:pt x="95" y="35"/>
                  </a:cubicBezTo>
                  <a:cubicBezTo>
                    <a:pt x="95" y="34"/>
                    <a:pt x="94" y="33"/>
                    <a:pt x="94" y="32"/>
                  </a:cubicBezTo>
                  <a:cubicBezTo>
                    <a:pt x="94" y="32"/>
                    <a:pt x="94" y="32"/>
                    <a:pt x="94" y="32"/>
                  </a:cubicBezTo>
                  <a:cubicBezTo>
                    <a:pt x="92" y="32"/>
                    <a:pt x="90" y="33"/>
                    <a:pt x="88" y="33"/>
                  </a:cubicBezTo>
                  <a:cubicBezTo>
                    <a:pt x="87" y="34"/>
                    <a:pt x="87" y="34"/>
                    <a:pt x="87" y="34"/>
                  </a:cubicBezTo>
                  <a:cubicBezTo>
                    <a:pt x="86" y="34"/>
                    <a:pt x="86" y="34"/>
                    <a:pt x="86" y="34"/>
                  </a:cubicBezTo>
                  <a:cubicBezTo>
                    <a:pt x="82" y="34"/>
                    <a:pt x="81" y="32"/>
                    <a:pt x="79" y="30"/>
                  </a:cubicBezTo>
                  <a:cubicBezTo>
                    <a:pt x="79" y="30"/>
                    <a:pt x="79" y="30"/>
                    <a:pt x="79" y="30"/>
                  </a:cubicBezTo>
                  <a:cubicBezTo>
                    <a:pt x="78" y="29"/>
                    <a:pt x="78" y="29"/>
                    <a:pt x="78" y="29"/>
                  </a:cubicBezTo>
                  <a:cubicBezTo>
                    <a:pt x="78" y="28"/>
                    <a:pt x="78" y="28"/>
                    <a:pt x="78" y="28"/>
                  </a:cubicBezTo>
                  <a:cubicBezTo>
                    <a:pt x="77" y="27"/>
                    <a:pt x="76" y="26"/>
                    <a:pt x="75" y="25"/>
                  </a:cubicBezTo>
                  <a:cubicBezTo>
                    <a:pt x="75" y="25"/>
                    <a:pt x="75" y="25"/>
                    <a:pt x="75" y="25"/>
                  </a:cubicBezTo>
                  <a:cubicBezTo>
                    <a:pt x="75" y="25"/>
                    <a:pt x="75" y="25"/>
                    <a:pt x="75" y="25"/>
                  </a:cubicBezTo>
                  <a:cubicBezTo>
                    <a:pt x="74" y="24"/>
                    <a:pt x="74" y="24"/>
                    <a:pt x="74" y="24"/>
                  </a:cubicBezTo>
                  <a:cubicBezTo>
                    <a:pt x="74" y="23"/>
                    <a:pt x="73" y="23"/>
                    <a:pt x="73" y="23"/>
                  </a:cubicBezTo>
                  <a:cubicBezTo>
                    <a:pt x="72" y="22"/>
                    <a:pt x="72" y="22"/>
                    <a:pt x="72" y="22"/>
                  </a:cubicBezTo>
                  <a:cubicBezTo>
                    <a:pt x="71" y="28"/>
                    <a:pt x="71" y="28"/>
                    <a:pt x="71" y="28"/>
                  </a:cubicBezTo>
                  <a:cubicBezTo>
                    <a:pt x="71" y="22"/>
                    <a:pt x="71" y="22"/>
                    <a:pt x="71" y="22"/>
                  </a:cubicBezTo>
                  <a:cubicBezTo>
                    <a:pt x="70" y="21"/>
                    <a:pt x="70" y="21"/>
                    <a:pt x="70" y="21"/>
                  </a:cubicBezTo>
                  <a:cubicBezTo>
                    <a:pt x="69" y="21"/>
                    <a:pt x="69" y="21"/>
                    <a:pt x="69" y="21"/>
                  </a:cubicBezTo>
                  <a:cubicBezTo>
                    <a:pt x="68" y="21"/>
                    <a:pt x="68" y="21"/>
                    <a:pt x="68" y="21"/>
                  </a:cubicBezTo>
                  <a:cubicBezTo>
                    <a:pt x="66" y="21"/>
                    <a:pt x="64" y="20"/>
                    <a:pt x="62" y="19"/>
                  </a:cubicBezTo>
                  <a:cubicBezTo>
                    <a:pt x="60" y="17"/>
                    <a:pt x="60" y="17"/>
                    <a:pt x="60" y="17"/>
                  </a:cubicBezTo>
                  <a:cubicBezTo>
                    <a:pt x="59" y="16"/>
                    <a:pt x="58" y="15"/>
                    <a:pt x="57" y="14"/>
                  </a:cubicBezTo>
                  <a:cubicBezTo>
                    <a:pt x="56" y="13"/>
                    <a:pt x="56" y="13"/>
                    <a:pt x="55" y="13"/>
                  </a:cubicBezTo>
                  <a:cubicBezTo>
                    <a:pt x="53" y="12"/>
                    <a:pt x="53" y="12"/>
                    <a:pt x="53" y="12"/>
                  </a:cubicBezTo>
                  <a:cubicBezTo>
                    <a:pt x="52" y="12"/>
                    <a:pt x="52" y="11"/>
                    <a:pt x="51" y="11"/>
                  </a:cubicBezTo>
                  <a:cubicBezTo>
                    <a:pt x="49" y="10"/>
                    <a:pt x="47" y="9"/>
                    <a:pt x="46" y="8"/>
                  </a:cubicBezTo>
                  <a:cubicBezTo>
                    <a:pt x="46" y="8"/>
                    <a:pt x="46" y="8"/>
                    <a:pt x="46" y="8"/>
                  </a:cubicBezTo>
                  <a:cubicBezTo>
                    <a:pt x="45" y="6"/>
                    <a:pt x="44" y="5"/>
                    <a:pt x="44" y="4"/>
                  </a:cubicBezTo>
                  <a:cubicBezTo>
                    <a:pt x="43" y="3"/>
                    <a:pt x="43" y="2"/>
                    <a:pt x="43" y="2"/>
                  </a:cubicBezTo>
                  <a:cubicBezTo>
                    <a:pt x="42" y="2"/>
                    <a:pt x="39" y="1"/>
                    <a:pt x="35" y="1"/>
                  </a:cubicBezTo>
                  <a:cubicBezTo>
                    <a:pt x="35" y="1"/>
                    <a:pt x="35" y="1"/>
                    <a:pt x="35" y="1"/>
                  </a:cubicBezTo>
                  <a:cubicBezTo>
                    <a:pt x="34" y="1"/>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Rectangle 511"/>
            <p:cNvSpPr>
              <a:spLocks noChangeArrowheads="1"/>
            </p:cNvSpPr>
            <p:nvPr/>
          </p:nvSpPr>
          <p:spPr bwMode="auto">
            <a:xfrm>
              <a:off x="4004104" y="3406167"/>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512"/>
            <p:cNvSpPr/>
            <p:nvPr/>
          </p:nvSpPr>
          <p:spPr bwMode="auto">
            <a:xfrm flipH="1">
              <a:off x="4004104" y="340616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513"/>
            <p:cNvSpPr/>
            <p:nvPr/>
          </p:nvSpPr>
          <p:spPr bwMode="auto">
            <a:xfrm>
              <a:off x="4788489" y="3971623"/>
              <a:ext cx="79244" cy="202812"/>
            </a:xfrm>
            <a:custGeom>
              <a:gdLst>
                <a:gd name="T0" fmla="*/ 16 w 25"/>
                <a:gd name="T1" fmla="*/ 0 h 64"/>
                <a:gd name="T2" fmla="*/ 16 w 25"/>
                <a:gd name="T3" fmla="*/ 1 h 64"/>
                <a:gd name="T4" fmla="*/ 13 w 25"/>
                <a:gd name="T5" fmla="*/ 2 h 64"/>
                <a:gd name="T6" fmla="*/ 13 w 25"/>
                <a:gd name="T7" fmla="*/ 2 h 64"/>
                <a:gd name="T8" fmla="*/ 11 w 25"/>
                <a:gd name="T9" fmla="*/ 8 h 64"/>
                <a:gd name="T10" fmla="*/ 11 w 25"/>
                <a:gd name="T11" fmla="*/ 10 h 64"/>
                <a:gd name="T12" fmla="*/ 9 w 25"/>
                <a:gd name="T13" fmla="*/ 15 h 64"/>
                <a:gd name="T14" fmla="*/ 7 w 25"/>
                <a:gd name="T15" fmla="*/ 18 h 64"/>
                <a:gd name="T16" fmla="*/ 3 w 25"/>
                <a:gd name="T17" fmla="*/ 20 h 64"/>
                <a:gd name="T18" fmla="*/ 0 w 25"/>
                <a:gd name="T19" fmla="*/ 19 h 64"/>
                <a:gd name="T20" fmla="*/ 0 w 25"/>
                <a:gd name="T21" fmla="*/ 19 h 64"/>
                <a:gd name="T22" fmla="*/ 0 w 25"/>
                <a:gd name="T23" fmla="*/ 19 h 64"/>
                <a:gd name="T24" fmla="*/ 7 w 25"/>
                <a:gd name="T25" fmla="*/ 36 h 64"/>
                <a:gd name="T26" fmla="*/ 9 w 25"/>
                <a:gd name="T27" fmla="*/ 31 h 64"/>
                <a:gd name="T28" fmla="*/ 8 w 25"/>
                <a:gd name="T29" fmla="*/ 37 h 64"/>
                <a:gd name="T30" fmla="*/ 9 w 25"/>
                <a:gd name="T31" fmla="*/ 43 h 64"/>
                <a:gd name="T32" fmla="*/ 10 w 25"/>
                <a:gd name="T33" fmla="*/ 48 h 64"/>
                <a:gd name="T34" fmla="*/ 9 w 25"/>
                <a:gd name="T35" fmla="*/ 55 h 64"/>
                <a:gd name="T36" fmla="*/ 10 w 25"/>
                <a:gd name="T37" fmla="*/ 48 h 64"/>
                <a:gd name="T38" fmla="*/ 12 w 25"/>
                <a:gd name="T39" fmla="*/ 51 h 64"/>
                <a:gd name="T40" fmla="*/ 11 w 25"/>
                <a:gd name="T41" fmla="*/ 57 h 64"/>
                <a:gd name="T42" fmla="*/ 14 w 25"/>
                <a:gd name="T43" fmla="*/ 64 h 64"/>
                <a:gd name="T44" fmla="*/ 14 w 25"/>
                <a:gd name="T45" fmla="*/ 63 h 64"/>
                <a:gd name="T46" fmla="*/ 14 w 25"/>
                <a:gd name="T47" fmla="*/ 62 h 64"/>
                <a:gd name="T48" fmla="*/ 14 w 25"/>
                <a:gd name="T49" fmla="*/ 62 h 64"/>
                <a:gd name="T50" fmla="*/ 14 w 25"/>
                <a:gd name="T51" fmla="*/ 62 h 64"/>
                <a:gd name="T52" fmla="*/ 18 w 25"/>
                <a:gd name="T53" fmla="*/ 55 h 64"/>
                <a:gd name="T54" fmla="*/ 18 w 25"/>
                <a:gd name="T55" fmla="*/ 54 h 64"/>
                <a:gd name="T56" fmla="*/ 22 w 25"/>
                <a:gd name="T57" fmla="*/ 48 h 64"/>
                <a:gd name="T58" fmla="*/ 24 w 25"/>
                <a:gd name="T59" fmla="*/ 54 h 64"/>
                <a:gd name="T60" fmla="*/ 25 w 25"/>
                <a:gd name="T61" fmla="*/ 55 h 64"/>
                <a:gd name="T62" fmla="*/ 24 w 25"/>
                <a:gd name="T63" fmla="*/ 45 h 64"/>
                <a:gd name="T64" fmla="*/ 24 w 25"/>
                <a:gd name="T65" fmla="*/ 43 h 64"/>
                <a:gd name="T66" fmla="*/ 22 w 25"/>
                <a:gd name="T67" fmla="*/ 30 h 64"/>
                <a:gd name="T68" fmla="*/ 21 w 25"/>
                <a:gd name="T69" fmla="*/ 23 h 64"/>
                <a:gd name="T70" fmla="*/ 20 w 25"/>
                <a:gd name="T71" fmla="*/ 22 h 64"/>
                <a:gd name="T72" fmla="*/ 18 w 25"/>
                <a:gd name="T73" fmla="*/ 15 h 64"/>
                <a:gd name="T74" fmla="*/ 18 w 25"/>
                <a:gd name="T75" fmla="*/ 15 h 64"/>
                <a:gd name="T76" fmla="*/ 18 w 25"/>
                <a:gd name="T77" fmla="*/ 14 h 64"/>
                <a:gd name="T78" fmla="*/ 18 w 25"/>
                <a:gd name="T79" fmla="*/ 6 h 64"/>
                <a:gd name="T80" fmla="*/ 16 w 25"/>
                <a:gd name="T81" fmla="*/ 0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64">
                  <a:moveTo>
                    <a:pt x="16" y="0"/>
                  </a:moveTo>
                  <a:cubicBezTo>
                    <a:pt x="16" y="1"/>
                    <a:pt x="16" y="1"/>
                    <a:pt x="16" y="1"/>
                  </a:cubicBezTo>
                  <a:cubicBezTo>
                    <a:pt x="15" y="1"/>
                    <a:pt x="14" y="2"/>
                    <a:pt x="13" y="2"/>
                  </a:cubicBezTo>
                  <a:cubicBezTo>
                    <a:pt x="13" y="2"/>
                    <a:pt x="13" y="2"/>
                    <a:pt x="13" y="2"/>
                  </a:cubicBezTo>
                  <a:cubicBezTo>
                    <a:pt x="13" y="4"/>
                    <a:pt x="13" y="6"/>
                    <a:pt x="11" y="8"/>
                  </a:cubicBezTo>
                  <a:cubicBezTo>
                    <a:pt x="11" y="9"/>
                    <a:pt x="11" y="9"/>
                    <a:pt x="11" y="10"/>
                  </a:cubicBezTo>
                  <a:cubicBezTo>
                    <a:pt x="10" y="12"/>
                    <a:pt x="10" y="13"/>
                    <a:pt x="9" y="15"/>
                  </a:cubicBezTo>
                  <a:cubicBezTo>
                    <a:pt x="9" y="16"/>
                    <a:pt x="8" y="18"/>
                    <a:pt x="7" y="18"/>
                  </a:cubicBezTo>
                  <a:cubicBezTo>
                    <a:pt x="6" y="20"/>
                    <a:pt x="5" y="20"/>
                    <a:pt x="3" y="20"/>
                  </a:cubicBezTo>
                  <a:cubicBezTo>
                    <a:pt x="2" y="20"/>
                    <a:pt x="1" y="20"/>
                    <a:pt x="0" y="19"/>
                  </a:cubicBezTo>
                  <a:cubicBezTo>
                    <a:pt x="0" y="19"/>
                    <a:pt x="0" y="19"/>
                    <a:pt x="0" y="19"/>
                  </a:cubicBezTo>
                  <a:cubicBezTo>
                    <a:pt x="0" y="19"/>
                    <a:pt x="0" y="19"/>
                    <a:pt x="0" y="19"/>
                  </a:cubicBezTo>
                  <a:cubicBezTo>
                    <a:pt x="1" y="25"/>
                    <a:pt x="4" y="30"/>
                    <a:pt x="7" y="36"/>
                  </a:cubicBezTo>
                  <a:cubicBezTo>
                    <a:pt x="7" y="34"/>
                    <a:pt x="8" y="34"/>
                    <a:pt x="9" y="31"/>
                  </a:cubicBezTo>
                  <a:cubicBezTo>
                    <a:pt x="9" y="33"/>
                    <a:pt x="8" y="34"/>
                    <a:pt x="8" y="37"/>
                  </a:cubicBezTo>
                  <a:cubicBezTo>
                    <a:pt x="8" y="39"/>
                    <a:pt x="9" y="41"/>
                    <a:pt x="9" y="43"/>
                  </a:cubicBezTo>
                  <a:cubicBezTo>
                    <a:pt x="10" y="45"/>
                    <a:pt x="10" y="46"/>
                    <a:pt x="10" y="48"/>
                  </a:cubicBezTo>
                  <a:cubicBezTo>
                    <a:pt x="10" y="50"/>
                    <a:pt x="10" y="53"/>
                    <a:pt x="9" y="55"/>
                  </a:cubicBezTo>
                  <a:cubicBezTo>
                    <a:pt x="14" y="53"/>
                    <a:pt x="10" y="51"/>
                    <a:pt x="10" y="48"/>
                  </a:cubicBezTo>
                  <a:cubicBezTo>
                    <a:pt x="11" y="49"/>
                    <a:pt x="12" y="50"/>
                    <a:pt x="12" y="51"/>
                  </a:cubicBezTo>
                  <a:cubicBezTo>
                    <a:pt x="12" y="53"/>
                    <a:pt x="10" y="55"/>
                    <a:pt x="11" y="57"/>
                  </a:cubicBezTo>
                  <a:cubicBezTo>
                    <a:pt x="13" y="59"/>
                    <a:pt x="13" y="61"/>
                    <a:pt x="14" y="64"/>
                  </a:cubicBezTo>
                  <a:cubicBezTo>
                    <a:pt x="14" y="63"/>
                    <a:pt x="14" y="63"/>
                    <a:pt x="14" y="63"/>
                  </a:cubicBezTo>
                  <a:cubicBezTo>
                    <a:pt x="14" y="62"/>
                    <a:pt x="14" y="62"/>
                    <a:pt x="14" y="62"/>
                  </a:cubicBezTo>
                  <a:cubicBezTo>
                    <a:pt x="14" y="62"/>
                    <a:pt x="14" y="62"/>
                    <a:pt x="14" y="62"/>
                  </a:cubicBezTo>
                  <a:cubicBezTo>
                    <a:pt x="14" y="62"/>
                    <a:pt x="14" y="62"/>
                    <a:pt x="14" y="62"/>
                  </a:cubicBezTo>
                  <a:cubicBezTo>
                    <a:pt x="15" y="60"/>
                    <a:pt x="16" y="58"/>
                    <a:pt x="18" y="55"/>
                  </a:cubicBezTo>
                  <a:cubicBezTo>
                    <a:pt x="18" y="55"/>
                    <a:pt x="18" y="54"/>
                    <a:pt x="18" y="54"/>
                  </a:cubicBezTo>
                  <a:cubicBezTo>
                    <a:pt x="22" y="48"/>
                    <a:pt x="22" y="48"/>
                    <a:pt x="22" y="48"/>
                  </a:cubicBezTo>
                  <a:cubicBezTo>
                    <a:pt x="24" y="54"/>
                    <a:pt x="24" y="54"/>
                    <a:pt x="24" y="54"/>
                  </a:cubicBezTo>
                  <a:cubicBezTo>
                    <a:pt x="24" y="55"/>
                    <a:pt x="24" y="55"/>
                    <a:pt x="25" y="55"/>
                  </a:cubicBezTo>
                  <a:cubicBezTo>
                    <a:pt x="24" y="45"/>
                    <a:pt x="24" y="45"/>
                    <a:pt x="24" y="45"/>
                  </a:cubicBezTo>
                  <a:cubicBezTo>
                    <a:pt x="24" y="43"/>
                    <a:pt x="24" y="43"/>
                    <a:pt x="24" y="43"/>
                  </a:cubicBezTo>
                  <a:cubicBezTo>
                    <a:pt x="22" y="30"/>
                    <a:pt x="22" y="30"/>
                    <a:pt x="22" y="30"/>
                  </a:cubicBezTo>
                  <a:cubicBezTo>
                    <a:pt x="22" y="28"/>
                    <a:pt x="21" y="25"/>
                    <a:pt x="21" y="23"/>
                  </a:cubicBezTo>
                  <a:cubicBezTo>
                    <a:pt x="20" y="22"/>
                    <a:pt x="20" y="22"/>
                    <a:pt x="20" y="22"/>
                  </a:cubicBezTo>
                  <a:cubicBezTo>
                    <a:pt x="19" y="20"/>
                    <a:pt x="19" y="18"/>
                    <a:pt x="18" y="15"/>
                  </a:cubicBezTo>
                  <a:cubicBezTo>
                    <a:pt x="18" y="15"/>
                    <a:pt x="18" y="15"/>
                    <a:pt x="18" y="15"/>
                  </a:cubicBezTo>
                  <a:cubicBezTo>
                    <a:pt x="18" y="14"/>
                    <a:pt x="18" y="14"/>
                    <a:pt x="18" y="14"/>
                  </a:cubicBezTo>
                  <a:cubicBezTo>
                    <a:pt x="18" y="11"/>
                    <a:pt x="18" y="9"/>
                    <a:pt x="18" y="6"/>
                  </a:cubicBezTo>
                  <a:cubicBezTo>
                    <a:pt x="17" y="4"/>
                    <a:pt x="17" y="3"/>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514"/>
            <p:cNvSpPr/>
            <p:nvPr/>
          </p:nvSpPr>
          <p:spPr bwMode="auto">
            <a:xfrm>
              <a:off x="4530609" y="3752693"/>
              <a:ext cx="316978" cy="381448"/>
            </a:xfrm>
            <a:custGeom>
              <a:gdLst>
                <a:gd name="T0" fmla="*/ 1 w 100"/>
                <a:gd name="T1" fmla="*/ 7 h 120"/>
                <a:gd name="T2" fmla="*/ 3 w 100"/>
                <a:gd name="T3" fmla="*/ 9 h 120"/>
                <a:gd name="T4" fmla="*/ 10 w 100"/>
                <a:gd name="T5" fmla="*/ 16 h 120"/>
                <a:gd name="T6" fmla="*/ 18 w 100"/>
                <a:gd name="T7" fmla="*/ 21 h 120"/>
                <a:gd name="T8" fmla="*/ 21 w 100"/>
                <a:gd name="T9" fmla="*/ 28 h 120"/>
                <a:gd name="T10" fmla="*/ 14 w 100"/>
                <a:gd name="T11" fmla="*/ 31 h 120"/>
                <a:gd name="T12" fmla="*/ 1 w 100"/>
                <a:gd name="T13" fmla="*/ 39 h 120"/>
                <a:gd name="T14" fmla="*/ 2 w 100"/>
                <a:gd name="T15" fmla="*/ 44 h 120"/>
                <a:gd name="T16" fmla="*/ 7 w 100"/>
                <a:gd name="T17" fmla="*/ 47 h 120"/>
                <a:gd name="T18" fmla="*/ 9 w 100"/>
                <a:gd name="T19" fmla="*/ 47 h 120"/>
                <a:gd name="T20" fmla="*/ 15 w 100"/>
                <a:gd name="T21" fmla="*/ 61 h 120"/>
                <a:gd name="T22" fmla="*/ 14 w 100"/>
                <a:gd name="T23" fmla="*/ 68 h 120"/>
                <a:gd name="T24" fmla="*/ 17 w 100"/>
                <a:gd name="T25" fmla="*/ 73 h 120"/>
                <a:gd name="T26" fmla="*/ 17 w 100"/>
                <a:gd name="T27" fmla="*/ 75 h 120"/>
                <a:gd name="T28" fmla="*/ 21 w 100"/>
                <a:gd name="T29" fmla="*/ 81 h 120"/>
                <a:gd name="T30" fmla="*/ 20 w 100"/>
                <a:gd name="T31" fmla="*/ 87 h 120"/>
                <a:gd name="T32" fmla="*/ 21 w 100"/>
                <a:gd name="T33" fmla="*/ 92 h 120"/>
                <a:gd name="T34" fmla="*/ 24 w 100"/>
                <a:gd name="T35" fmla="*/ 110 h 120"/>
                <a:gd name="T36" fmla="*/ 26 w 100"/>
                <a:gd name="T37" fmla="*/ 120 h 120"/>
                <a:gd name="T38" fmla="*/ 33 w 100"/>
                <a:gd name="T39" fmla="*/ 111 h 120"/>
                <a:gd name="T40" fmla="*/ 38 w 100"/>
                <a:gd name="T41" fmla="*/ 114 h 120"/>
                <a:gd name="T42" fmla="*/ 45 w 100"/>
                <a:gd name="T43" fmla="*/ 106 h 120"/>
                <a:gd name="T44" fmla="*/ 49 w 100"/>
                <a:gd name="T45" fmla="*/ 115 h 120"/>
                <a:gd name="T46" fmla="*/ 58 w 100"/>
                <a:gd name="T47" fmla="*/ 101 h 120"/>
                <a:gd name="T48" fmla="*/ 57 w 100"/>
                <a:gd name="T49" fmla="*/ 87 h 120"/>
                <a:gd name="T50" fmla="*/ 55 w 100"/>
                <a:gd name="T51" fmla="*/ 74 h 120"/>
                <a:gd name="T52" fmla="*/ 59 w 100"/>
                <a:gd name="T53" fmla="*/ 71 h 120"/>
                <a:gd name="T54" fmla="*/ 66 w 100"/>
                <a:gd name="T55" fmla="*/ 88 h 120"/>
                <a:gd name="T56" fmla="*/ 77 w 100"/>
                <a:gd name="T57" fmla="*/ 86 h 120"/>
                <a:gd name="T58" fmla="*/ 72 w 100"/>
                <a:gd name="T59" fmla="*/ 74 h 120"/>
                <a:gd name="T60" fmla="*/ 70 w 100"/>
                <a:gd name="T61" fmla="*/ 69 h 120"/>
                <a:gd name="T62" fmla="*/ 73 w 100"/>
                <a:gd name="T63" fmla="*/ 60 h 120"/>
                <a:gd name="T64" fmla="*/ 83 w 100"/>
                <a:gd name="T65" fmla="*/ 51 h 120"/>
                <a:gd name="T66" fmla="*/ 90 w 100"/>
                <a:gd name="T67" fmla="*/ 47 h 120"/>
                <a:gd name="T68" fmla="*/ 94 w 100"/>
                <a:gd name="T69" fmla="*/ 43 h 120"/>
                <a:gd name="T70" fmla="*/ 96 w 100"/>
                <a:gd name="T71" fmla="*/ 38 h 120"/>
                <a:gd name="T72" fmla="*/ 95 w 100"/>
                <a:gd name="T73" fmla="*/ 32 h 120"/>
                <a:gd name="T74" fmla="*/ 86 w 100"/>
                <a:gd name="T75" fmla="*/ 32 h 120"/>
                <a:gd name="T76" fmla="*/ 70 w 100"/>
                <a:gd name="T77" fmla="*/ 30 h 120"/>
                <a:gd name="T78" fmla="*/ 62 w 100"/>
                <a:gd name="T79" fmla="*/ 31 h 120"/>
                <a:gd name="T80" fmla="*/ 58 w 100"/>
                <a:gd name="T81" fmla="*/ 31 h 120"/>
                <a:gd name="T82" fmla="*/ 51 w 100"/>
                <a:gd name="T83" fmla="*/ 31 h 120"/>
                <a:gd name="T84" fmla="*/ 43 w 100"/>
                <a:gd name="T85" fmla="*/ 28 h 120"/>
                <a:gd name="T86" fmla="*/ 33 w 100"/>
                <a:gd name="T87" fmla="*/ 24 h 120"/>
                <a:gd name="T88" fmla="*/ 36 w 100"/>
                <a:gd name="T89" fmla="*/ 15 h 120"/>
                <a:gd name="T90" fmla="*/ 26 w 100"/>
                <a:gd name="T91" fmla="*/ 8 h 120"/>
                <a:gd name="T92" fmla="*/ 14 w 100"/>
                <a:gd name="T93" fmla="*/ 2 h 120"/>
                <a:gd name="T94" fmla="*/ 7 w 100"/>
                <a:gd name="T95" fmla="*/ 0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20">
                  <a:moveTo>
                    <a:pt x="7" y="0"/>
                  </a:moveTo>
                  <a:cubicBezTo>
                    <a:pt x="7" y="0"/>
                    <a:pt x="5" y="1"/>
                    <a:pt x="2" y="6"/>
                  </a:cubicBezTo>
                  <a:cubicBezTo>
                    <a:pt x="2" y="7"/>
                    <a:pt x="2" y="7"/>
                    <a:pt x="2" y="7"/>
                  </a:cubicBezTo>
                  <a:cubicBezTo>
                    <a:pt x="1" y="7"/>
                    <a:pt x="1" y="7"/>
                    <a:pt x="1" y="7"/>
                  </a:cubicBezTo>
                  <a:cubicBezTo>
                    <a:pt x="1" y="8"/>
                    <a:pt x="1" y="8"/>
                    <a:pt x="1" y="8"/>
                  </a:cubicBezTo>
                  <a:cubicBezTo>
                    <a:pt x="1" y="8"/>
                    <a:pt x="1" y="8"/>
                    <a:pt x="1" y="8"/>
                  </a:cubicBezTo>
                  <a:cubicBezTo>
                    <a:pt x="1" y="8"/>
                    <a:pt x="2" y="8"/>
                    <a:pt x="3" y="9"/>
                  </a:cubicBezTo>
                  <a:cubicBezTo>
                    <a:pt x="3" y="9"/>
                    <a:pt x="3" y="9"/>
                    <a:pt x="3" y="9"/>
                  </a:cubicBezTo>
                  <a:cubicBezTo>
                    <a:pt x="5" y="10"/>
                    <a:pt x="6" y="12"/>
                    <a:pt x="7" y="13"/>
                  </a:cubicBezTo>
                  <a:cubicBezTo>
                    <a:pt x="8" y="14"/>
                    <a:pt x="8" y="14"/>
                    <a:pt x="8" y="14"/>
                  </a:cubicBezTo>
                  <a:cubicBezTo>
                    <a:pt x="9" y="15"/>
                    <a:pt x="9" y="15"/>
                    <a:pt x="9" y="15"/>
                  </a:cubicBezTo>
                  <a:cubicBezTo>
                    <a:pt x="9" y="15"/>
                    <a:pt x="10" y="16"/>
                    <a:pt x="10" y="16"/>
                  </a:cubicBezTo>
                  <a:cubicBezTo>
                    <a:pt x="11" y="16"/>
                    <a:pt x="11" y="16"/>
                    <a:pt x="11" y="16"/>
                  </a:cubicBezTo>
                  <a:cubicBezTo>
                    <a:pt x="12" y="16"/>
                    <a:pt x="12" y="16"/>
                    <a:pt x="13" y="16"/>
                  </a:cubicBezTo>
                  <a:cubicBezTo>
                    <a:pt x="13" y="16"/>
                    <a:pt x="13" y="16"/>
                    <a:pt x="14" y="16"/>
                  </a:cubicBezTo>
                  <a:cubicBezTo>
                    <a:pt x="17" y="17"/>
                    <a:pt x="17" y="19"/>
                    <a:pt x="18" y="21"/>
                  </a:cubicBezTo>
                  <a:cubicBezTo>
                    <a:pt x="18" y="21"/>
                    <a:pt x="18" y="21"/>
                    <a:pt x="19" y="22"/>
                  </a:cubicBezTo>
                  <a:cubicBezTo>
                    <a:pt x="19" y="22"/>
                    <a:pt x="20" y="22"/>
                    <a:pt x="20" y="22"/>
                  </a:cubicBezTo>
                  <a:cubicBezTo>
                    <a:pt x="25" y="24"/>
                    <a:pt x="25" y="24"/>
                    <a:pt x="25" y="24"/>
                  </a:cubicBezTo>
                  <a:cubicBezTo>
                    <a:pt x="21" y="28"/>
                    <a:pt x="21" y="28"/>
                    <a:pt x="21" y="28"/>
                  </a:cubicBezTo>
                  <a:cubicBezTo>
                    <a:pt x="21" y="28"/>
                    <a:pt x="21" y="28"/>
                    <a:pt x="21" y="28"/>
                  </a:cubicBezTo>
                  <a:cubicBezTo>
                    <a:pt x="21" y="32"/>
                    <a:pt x="21" y="32"/>
                    <a:pt x="21" y="32"/>
                  </a:cubicBezTo>
                  <a:cubicBezTo>
                    <a:pt x="17" y="31"/>
                    <a:pt x="17" y="31"/>
                    <a:pt x="17" y="31"/>
                  </a:cubicBezTo>
                  <a:cubicBezTo>
                    <a:pt x="16" y="31"/>
                    <a:pt x="15" y="31"/>
                    <a:pt x="14" y="31"/>
                  </a:cubicBezTo>
                  <a:cubicBezTo>
                    <a:pt x="13" y="31"/>
                    <a:pt x="13" y="31"/>
                    <a:pt x="12" y="31"/>
                  </a:cubicBezTo>
                  <a:cubicBezTo>
                    <a:pt x="9" y="31"/>
                    <a:pt x="8" y="32"/>
                    <a:pt x="8" y="34"/>
                  </a:cubicBezTo>
                  <a:cubicBezTo>
                    <a:pt x="7" y="36"/>
                    <a:pt x="4" y="37"/>
                    <a:pt x="4" y="37"/>
                  </a:cubicBezTo>
                  <a:cubicBezTo>
                    <a:pt x="3" y="38"/>
                    <a:pt x="2" y="38"/>
                    <a:pt x="1" y="39"/>
                  </a:cubicBezTo>
                  <a:cubicBezTo>
                    <a:pt x="1" y="39"/>
                    <a:pt x="1" y="39"/>
                    <a:pt x="1" y="39"/>
                  </a:cubicBezTo>
                  <a:cubicBezTo>
                    <a:pt x="1" y="40"/>
                    <a:pt x="1" y="40"/>
                    <a:pt x="1" y="40"/>
                  </a:cubicBezTo>
                  <a:cubicBezTo>
                    <a:pt x="1" y="40"/>
                    <a:pt x="0" y="42"/>
                    <a:pt x="0" y="43"/>
                  </a:cubicBezTo>
                  <a:cubicBezTo>
                    <a:pt x="1" y="43"/>
                    <a:pt x="2" y="44"/>
                    <a:pt x="2" y="44"/>
                  </a:cubicBezTo>
                  <a:cubicBezTo>
                    <a:pt x="3" y="44"/>
                    <a:pt x="3" y="44"/>
                    <a:pt x="3" y="44"/>
                  </a:cubicBezTo>
                  <a:cubicBezTo>
                    <a:pt x="3" y="45"/>
                    <a:pt x="4" y="45"/>
                    <a:pt x="5" y="46"/>
                  </a:cubicBezTo>
                  <a:cubicBezTo>
                    <a:pt x="5" y="46"/>
                    <a:pt x="6" y="46"/>
                    <a:pt x="6" y="46"/>
                  </a:cubicBezTo>
                  <a:cubicBezTo>
                    <a:pt x="7" y="47"/>
                    <a:pt x="7" y="47"/>
                    <a:pt x="7" y="47"/>
                  </a:cubicBezTo>
                  <a:cubicBezTo>
                    <a:pt x="8" y="47"/>
                    <a:pt x="8" y="47"/>
                    <a:pt x="8" y="47"/>
                  </a:cubicBezTo>
                  <a:cubicBezTo>
                    <a:pt x="8" y="42"/>
                    <a:pt x="8" y="42"/>
                    <a:pt x="8" y="42"/>
                  </a:cubicBezTo>
                  <a:cubicBezTo>
                    <a:pt x="9" y="47"/>
                    <a:pt x="9" y="47"/>
                    <a:pt x="9" y="47"/>
                  </a:cubicBezTo>
                  <a:cubicBezTo>
                    <a:pt x="9" y="47"/>
                    <a:pt x="9" y="47"/>
                    <a:pt x="9" y="47"/>
                  </a:cubicBezTo>
                  <a:cubicBezTo>
                    <a:pt x="10" y="47"/>
                    <a:pt x="11" y="47"/>
                    <a:pt x="12" y="48"/>
                  </a:cubicBezTo>
                  <a:cubicBezTo>
                    <a:pt x="14" y="48"/>
                    <a:pt x="15" y="50"/>
                    <a:pt x="16" y="51"/>
                  </a:cubicBezTo>
                  <a:cubicBezTo>
                    <a:pt x="16" y="52"/>
                    <a:pt x="16" y="53"/>
                    <a:pt x="16" y="54"/>
                  </a:cubicBezTo>
                  <a:cubicBezTo>
                    <a:pt x="16" y="59"/>
                    <a:pt x="16" y="60"/>
                    <a:pt x="15" y="61"/>
                  </a:cubicBezTo>
                  <a:cubicBezTo>
                    <a:pt x="15" y="62"/>
                    <a:pt x="14" y="63"/>
                    <a:pt x="14" y="63"/>
                  </a:cubicBezTo>
                  <a:cubicBezTo>
                    <a:pt x="13" y="63"/>
                    <a:pt x="13" y="63"/>
                    <a:pt x="13" y="63"/>
                  </a:cubicBezTo>
                  <a:cubicBezTo>
                    <a:pt x="13" y="65"/>
                    <a:pt x="13" y="65"/>
                    <a:pt x="13" y="65"/>
                  </a:cubicBezTo>
                  <a:cubicBezTo>
                    <a:pt x="13" y="67"/>
                    <a:pt x="13" y="67"/>
                    <a:pt x="14" y="68"/>
                  </a:cubicBezTo>
                  <a:cubicBezTo>
                    <a:pt x="15" y="69"/>
                    <a:pt x="15" y="69"/>
                    <a:pt x="16" y="70"/>
                  </a:cubicBezTo>
                  <a:cubicBezTo>
                    <a:pt x="17" y="71"/>
                    <a:pt x="17" y="71"/>
                    <a:pt x="17" y="71"/>
                  </a:cubicBezTo>
                  <a:cubicBezTo>
                    <a:pt x="17" y="72"/>
                    <a:pt x="17" y="72"/>
                    <a:pt x="17" y="72"/>
                  </a:cubicBezTo>
                  <a:cubicBezTo>
                    <a:pt x="17" y="73"/>
                    <a:pt x="17" y="73"/>
                    <a:pt x="17" y="73"/>
                  </a:cubicBezTo>
                  <a:cubicBezTo>
                    <a:pt x="17" y="74"/>
                    <a:pt x="17" y="74"/>
                    <a:pt x="17" y="74"/>
                  </a:cubicBezTo>
                  <a:cubicBezTo>
                    <a:pt x="16" y="74"/>
                    <a:pt x="16" y="74"/>
                    <a:pt x="16" y="74"/>
                  </a:cubicBezTo>
                  <a:cubicBezTo>
                    <a:pt x="17" y="74"/>
                    <a:pt x="17" y="74"/>
                    <a:pt x="17" y="74"/>
                  </a:cubicBezTo>
                  <a:cubicBezTo>
                    <a:pt x="17" y="75"/>
                    <a:pt x="17" y="75"/>
                    <a:pt x="17" y="75"/>
                  </a:cubicBezTo>
                  <a:cubicBezTo>
                    <a:pt x="17" y="75"/>
                    <a:pt x="17" y="75"/>
                    <a:pt x="17" y="75"/>
                  </a:cubicBezTo>
                  <a:cubicBezTo>
                    <a:pt x="18" y="76"/>
                    <a:pt x="19" y="76"/>
                    <a:pt x="20" y="77"/>
                  </a:cubicBezTo>
                  <a:cubicBezTo>
                    <a:pt x="20" y="78"/>
                    <a:pt x="20" y="78"/>
                    <a:pt x="21" y="79"/>
                  </a:cubicBezTo>
                  <a:cubicBezTo>
                    <a:pt x="21" y="80"/>
                    <a:pt x="21" y="80"/>
                    <a:pt x="21" y="81"/>
                  </a:cubicBezTo>
                  <a:cubicBezTo>
                    <a:pt x="21" y="82"/>
                    <a:pt x="21" y="82"/>
                    <a:pt x="21" y="82"/>
                  </a:cubicBezTo>
                  <a:cubicBezTo>
                    <a:pt x="21" y="83"/>
                    <a:pt x="21" y="83"/>
                    <a:pt x="21" y="83"/>
                  </a:cubicBezTo>
                  <a:cubicBezTo>
                    <a:pt x="20" y="83"/>
                    <a:pt x="20" y="84"/>
                    <a:pt x="20" y="84"/>
                  </a:cubicBezTo>
                  <a:cubicBezTo>
                    <a:pt x="20" y="85"/>
                    <a:pt x="20" y="86"/>
                    <a:pt x="20" y="87"/>
                  </a:cubicBezTo>
                  <a:cubicBezTo>
                    <a:pt x="21" y="88"/>
                    <a:pt x="21" y="89"/>
                    <a:pt x="21" y="91"/>
                  </a:cubicBezTo>
                  <a:cubicBezTo>
                    <a:pt x="21" y="91"/>
                    <a:pt x="21" y="91"/>
                    <a:pt x="21" y="91"/>
                  </a:cubicBezTo>
                  <a:cubicBezTo>
                    <a:pt x="21" y="91"/>
                    <a:pt x="21" y="91"/>
                    <a:pt x="21" y="91"/>
                  </a:cubicBezTo>
                  <a:cubicBezTo>
                    <a:pt x="21" y="92"/>
                    <a:pt x="21" y="92"/>
                    <a:pt x="21" y="92"/>
                  </a:cubicBezTo>
                  <a:cubicBezTo>
                    <a:pt x="21" y="93"/>
                    <a:pt x="21" y="93"/>
                    <a:pt x="21" y="93"/>
                  </a:cubicBezTo>
                  <a:cubicBezTo>
                    <a:pt x="22" y="101"/>
                    <a:pt x="22" y="101"/>
                    <a:pt x="22" y="101"/>
                  </a:cubicBezTo>
                  <a:cubicBezTo>
                    <a:pt x="23" y="103"/>
                    <a:pt x="23" y="105"/>
                    <a:pt x="24" y="107"/>
                  </a:cubicBezTo>
                  <a:cubicBezTo>
                    <a:pt x="24" y="108"/>
                    <a:pt x="24" y="109"/>
                    <a:pt x="24" y="110"/>
                  </a:cubicBezTo>
                  <a:cubicBezTo>
                    <a:pt x="24" y="114"/>
                    <a:pt x="24" y="114"/>
                    <a:pt x="24" y="114"/>
                  </a:cubicBezTo>
                  <a:cubicBezTo>
                    <a:pt x="22" y="113"/>
                    <a:pt x="22" y="113"/>
                    <a:pt x="22" y="113"/>
                  </a:cubicBezTo>
                  <a:cubicBezTo>
                    <a:pt x="23" y="117"/>
                    <a:pt x="24" y="120"/>
                    <a:pt x="25" y="120"/>
                  </a:cubicBezTo>
                  <a:cubicBezTo>
                    <a:pt x="25" y="120"/>
                    <a:pt x="25" y="120"/>
                    <a:pt x="26" y="120"/>
                  </a:cubicBezTo>
                  <a:cubicBezTo>
                    <a:pt x="26" y="120"/>
                    <a:pt x="27" y="113"/>
                    <a:pt x="28" y="112"/>
                  </a:cubicBezTo>
                  <a:cubicBezTo>
                    <a:pt x="28" y="114"/>
                    <a:pt x="28" y="116"/>
                    <a:pt x="29" y="118"/>
                  </a:cubicBezTo>
                  <a:cubicBezTo>
                    <a:pt x="33" y="116"/>
                    <a:pt x="32" y="107"/>
                    <a:pt x="31" y="103"/>
                  </a:cubicBezTo>
                  <a:cubicBezTo>
                    <a:pt x="32" y="106"/>
                    <a:pt x="32" y="108"/>
                    <a:pt x="33" y="111"/>
                  </a:cubicBezTo>
                  <a:cubicBezTo>
                    <a:pt x="33" y="107"/>
                    <a:pt x="33" y="105"/>
                    <a:pt x="34" y="102"/>
                  </a:cubicBezTo>
                  <a:cubicBezTo>
                    <a:pt x="34" y="106"/>
                    <a:pt x="31" y="113"/>
                    <a:pt x="34" y="117"/>
                  </a:cubicBezTo>
                  <a:cubicBezTo>
                    <a:pt x="34" y="115"/>
                    <a:pt x="35" y="114"/>
                    <a:pt x="35" y="113"/>
                  </a:cubicBezTo>
                  <a:cubicBezTo>
                    <a:pt x="36" y="114"/>
                    <a:pt x="37" y="114"/>
                    <a:pt x="38" y="114"/>
                  </a:cubicBezTo>
                  <a:cubicBezTo>
                    <a:pt x="40" y="114"/>
                    <a:pt x="41" y="113"/>
                    <a:pt x="41" y="111"/>
                  </a:cubicBezTo>
                  <a:cubicBezTo>
                    <a:pt x="41" y="106"/>
                    <a:pt x="40" y="103"/>
                    <a:pt x="43" y="98"/>
                  </a:cubicBezTo>
                  <a:cubicBezTo>
                    <a:pt x="40" y="102"/>
                    <a:pt x="41" y="107"/>
                    <a:pt x="43" y="111"/>
                  </a:cubicBezTo>
                  <a:cubicBezTo>
                    <a:pt x="43" y="109"/>
                    <a:pt x="44" y="108"/>
                    <a:pt x="45" y="106"/>
                  </a:cubicBezTo>
                  <a:cubicBezTo>
                    <a:pt x="45" y="108"/>
                    <a:pt x="45" y="109"/>
                    <a:pt x="45" y="111"/>
                  </a:cubicBezTo>
                  <a:cubicBezTo>
                    <a:pt x="46" y="109"/>
                    <a:pt x="48" y="107"/>
                    <a:pt x="50" y="106"/>
                  </a:cubicBezTo>
                  <a:cubicBezTo>
                    <a:pt x="49" y="108"/>
                    <a:pt x="46" y="111"/>
                    <a:pt x="48" y="114"/>
                  </a:cubicBezTo>
                  <a:cubicBezTo>
                    <a:pt x="48" y="115"/>
                    <a:pt x="49" y="115"/>
                    <a:pt x="49" y="115"/>
                  </a:cubicBezTo>
                  <a:cubicBezTo>
                    <a:pt x="49" y="115"/>
                    <a:pt x="50" y="115"/>
                    <a:pt x="50" y="114"/>
                  </a:cubicBezTo>
                  <a:cubicBezTo>
                    <a:pt x="53" y="113"/>
                    <a:pt x="53" y="106"/>
                    <a:pt x="54" y="103"/>
                  </a:cubicBezTo>
                  <a:cubicBezTo>
                    <a:pt x="55" y="105"/>
                    <a:pt x="56" y="106"/>
                    <a:pt x="57" y="106"/>
                  </a:cubicBezTo>
                  <a:cubicBezTo>
                    <a:pt x="58" y="106"/>
                    <a:pt x="58" y="104"/>
                    <a:pt x="58" y="101"/>
                  </a:cubicBezTo>
                  <a:cubicBezTo>
                    <a:pt x="58" y="98"/>
                    <a:pt x="57" y="96"/>
                    <a:pt x="56" y="96"/>
                  </a:cubicBezTo>
                  <a:cubicBezTo>
                    <a:pt x="56" y="96"/>
                    <a:pt x="56" y="96"/>
                    <a:pt x="55" y="96"/>
                  </a:cubicBezTo>
                  <a:cubicBezTo>
                    <a:pt x="56" y="94"/>
                    <a:pt x="56" y="94"/>
                    <a:pt x="53" y="91"/>
                  </a:cubicBezTo>
                  <a:cubicBezTo>
                    <a:pt x="54" y="91"/>
                    <a:pt x="57" y="88"/>
                    <a:pt x="57" y="87"/>
                  </a:cubicBezTo>
                  <a:cubicBezTo>
                    <a:pt x="55" y="84"/>
                    <a:pt x="54" y="84"/>
                    <a:pt x="57" y="81"/>
                  </a:cubicBezTo>
                  <a:cubicBezTo>
                    <a:pt x="60" y="79"/>
                    <a:pt x="51" y="74"/>
                    <a:pt x="50" y="73"/>
                  </a:cubicBezTo>
                  <a:cubicBezTo>
                    <a:pt x="50" y="73"/>
                    <a:pt x="50" y="73"/>
                    <a:pt x="50" y="73"/>
                  </a:cubicBezTo>
                  <a:cubicBezTo>
                    <a:pt x="52" y="73"/>
                    <a:pt x="53" y="74"/>
                    <a:pt x="55" y="74"/>
                  </a:cubicBezTo>
                  <a:cubicBezTo>
                    <a:pt x="55" y="74"/>
                    <a:pt x="55" y="73"/>
                    <a:pt x="55" y="72"/>
                  </a:cubicBezTo>
                  <a:cubicBezTo>
                    <a:pt x="56" y="70"/>
                    <a:pt x="56" y="70"/>
                    <a:pt x="56" y="70"/>
                  </a:cubicBezTo>
                  <a:cubicBezTo>
                    <a:pt x="59" y="70"/>
                    <a:pt x="59" y="70"/>
                    <a:pt x="59" y="70"/>
                  </a:cubicBezTo>
                  <a:cubicBezTo>
                    <a:pt x="59" y="70"/>
                    <a:pt x="59" y="71"/>
                    <a:pt x="59" y="71"/>
                  </a:cubicBezTo>
                  <a:cubicBezTo>
                    <a:pt x="59" y="71"/>
                    <a:pt x="61" y="71"/>
                    <a:pt x="61" y="70"/>
                  </a:cubicBezTo>
                  <a:cubicBezTo>
                    <a:pt x="61" y="72"/>
                    <a:pt x="60" y="74"/>
                    <a:pt x="59" y="76"/>
                  </a:cubicBezTo>
                  <a:cubicBezTo>
                    <a:pt x="61" y="77"/>
                    <a:pt x="59" y="81"/>
                    <a:pt x="60" y="84"/>
                  </a:cubicBezTo>
                  <a:cubicBezTo>
                    <a:pt x="60" y="87"/>
                    <a:pt x="63" y="88"/>
                    <a:pt x="66" y="88"/>
                  </a:cubicBezTo>
                  <a:cubicBezTo>
                    <a:pt x="68" y="88"/>
                    <a:pt x="72" y="90"/>
                    <a:pt x="76" y="90"/>
                  </a:cubicBezTo>
                  <a:cubicBezTo>
                    <a:pt x="78" y="90"/>
                    <a:pt x="80" y="89"/>
                    <a:pt x="80" y="87"/>
                  </a:cubicBezTo>
                  <a:cubicBezTo>
                    <a:pt x="79" y="87"/>
                    <a:pt x="79" y="87"/>
                    <a:pt x="79" y="87"/>
                  </a:cubicBezTo>
                  <a:cubicBezTo>
                    <a:pt x="77" y="86"/>
                    <a:pt x="77" y="86"/>
                    <a:pt x="77" y="86"/>
                  </a:cubicBezTo>
                  <a:cubicBezTo>
                    <a:pt x="76" y="85"/>
                    <a:pt x="74" y="84"/>
                    <a:pt x="73" y="81"/>
                  </a:cubicBezTo>
                  <a:cubicBezTo>
                    <a:pt x="73" y="80"/>
                    <a:pt x="73" y="79"/>
                    <a:pt x="73" y="78"/>
                  </a:cubicBezTo>
                  <a:cubicBezTo>
                    <a:pt x="73" y="77"/>
                    <a:pt x="72" y="75"/>
                    <a:pt x="72" y="75"/>
                  </a:cubicBezTo>
                  <a:cubicBezTo>
                    <a:pt x="72" y="74"/>
                    <a:pt x="72" y="74"/>
                    <a:pt x="72" y="74"/>
                  </a:cubicBezTo>
                  <a:cubicBezTo>
                    <a:pt x="71" y="74"/>
                    <a:pt x="71" y="73"/>
                    <a:pt x="71" y="72"/>
                  </a:cubicBezTo>
                  <a:cubicBezTo>
                    <a:pt x="71" y="72"/>
                    <a:pt x="71" y="72"/>
                    <a:pt x="71" y="72"/>
                  </a:cubicBezTo>
                  <a:cubicBezTo>
                    <a:pt x="70" y="71"/>
                    <a:pt x="70" y="71"/>
                    <a:pt x="70" y="70"/>
                  </a:cubicBezTo>
                  <a:cubicBezTo>
                    <a:pt x="70" y="69"/>
                    <a:pt x="70" y="69"/>
                    <a:pt x="70" y="69"/>
                  </a:cubicBezTo>
                  <a:cubicBezTo>
                    <a:pt x="69" y="67"/>
                    <a:pt x="70" y="65"/>
                    <a:pt x="71" y="64"/>
                  </a:cubicBezTo>
                  <a:cubicBezTo>
                    <a:pt x="71" y="63"/>
                    <a:pt x="71" y="63"/>
                    <a:pt x="71" y="63"/>
                  </a:cubicBezTo>
                  <a:cubicBezTo>
                    <a:pt x="71" y="59"/>
                    <a:pt x="71" y="59"/>
                    <a:pt x="71" y="59"/>
                  </a:cubicBezTo>
                  <a:cubicBezTo>
                    <a:pt x="73" y="60"/>
                    <a:pt x="73" y="60"/>
                    <a:pt x="73" y="60"/>
                  </a:cubicBezTo>
                  <a:cubicBezTo>
                    <a:pt x="81" y="52"/>
                    <a:pt x="81" y="52"/>
                    <a:pt x="81" y="52"/>
                  </a:cubicBezTo>
                  <a:cubicBezTo>
                    <a:pt x="81" y="51"/>
                    <a:pt x="81" y="51"/>
                    <a:pt x="81" y="51"/>
                  </a:cubicBezTo>
                  <a:cubicBezTo>
                    <a:pt x="82" y="51"/>
                    <a:pt x="82" y="51"/>
                    <a:pt x="82" y="51"/>
                  </a:cubicBezTo>
                  <a:cubicBezTo>
                    <a:pt x="83" y="51"/>
                    <a:pt x="83" y="51"/>
                    <a:pt x="83" y="51"/>
                  </a:cubicBezTo>
                  <a:cubicBezTo>
                    <a:pt x="83" y="51"/>
                    <a:pt x="83" y="51"/>
                    <a:pt x="83" y="51"/>
                  </a:cubicBezTo>
                  <a:cubicBezTo>
                    <a:pt x="84" y="51"/>
                    <a:pt x="85" y="51"/>
                    <a:pt x="86" y="51"/>
                  </a:cubicBezTo>
                  <a:cubicBezTo>
                    <a:pt x="88" y="50"/>
                    <a:pt x="88" y="50"/>
                    <a:pt x="88" y="50"/>
                  </a:cubicBezTo>
                  <a:cubicBezTo>
                    <a:pt x="88" y="49"/>
                    <a:pt x="89" y="48"/>
                    <a:pt x="90" y="47"/>
                  </a:cubicBezTo>
                  <a:cubicBezTo>
                    <a:pt x="87" y="42"/>
                    <a:pt x="87" y="42"/>
                    <a:pt x="87" y="42"/>
                  </a:cubicBezTo>
                  <a:cubicBezTo>
                    <a:pt x="91" y="46"/>
                    <a:pt x="91" y="46"/>
                    <a:pt x="91" y="46"/>
                  </a:cubicBezTo>
                  <a:cubicBezTo>
                    <a:pt x="91" y="46"/>
                    <a:pt x="92" y="45"/>
                    <a:pt x="92" y="45"/>
                  </a:cubicBezTo>
                  <a:cubicBezTo>
                    <a:pt x="93" y="45"/>
                    <a:pt x="94" y="44"/>
                    <a:pt x="94" y="43"/>
                  </a:cubicBezTo>
                  <a:cubicBezTo>
                    <a:pt x="94" y="43"/>
                    <a:pt x="94" y="43"/>
                    <a:pt x="94" y="43"/>
                  </a:cubicBezTo>
                  <a:cubicBezTo>
                    <a:pt x="95" y="43"/>
                    <a:pt x="95" y="43"/>
                    <a:pt x="95" y="43"/>
                  </a:cubicBezTo>
                  <a:cubicBezTo>
                    <a:pt x="95" y="42"/>
                    <a:pt x="95" y="40"/>
                    <a:pt x="95" y="39"/>
                  </a:cubicBezTo>
                  <a:cubicBezTo>
                    <a:pt x="96" y="38"/>
                    <a:pt x="96" y="38"/>
                    <a:pt x="96" y="38"/>
                  </a:cubicBezTo>
                  <a:cubicBezTo>
                    <a:pt x="100" y="34"/>
                    <a:pt x="100" y="34"/>
                    <a:pt x="100" y="34"/>
                  </a:cubicBezTo>
                  <a:cubicBezTo>
                    <a:pt x="99" y="33"/>
                    <a:pt x="99" y="33"/>
                    <a:pt x="98" y="33"/>
                  </a:cubicBezTo>
                  <a:cubicBezTo>
                    <a:pt x="98" y="33"/>
                    <a:pt x="98" y="33"/>
                    <a:pt x="98" y="33"/>
                  </a:cubicBezTo>
                  <a:cubicBezTo>
                    <a:pt x="97" y="32"/>
                    <a:pt x="96" y="32"/>
                    <a:pt x="95" y="32"/>
                  </a:cubicBezTo>
                  <a:cubicBezTo>
                    <a:pt x="95" y="31"/>
                    <a:pt x="94" y="31"/>
                    <a:pt x="93" y="31"/>
                  </a:cubicBezTo>
                  <a:cubicBezTo>
                    <a:pt x="92" y="31"/>
                    <a:pt x="92" y="31"/>
                    <a:pt x="91" y="31"/>
                  </a:cubicBezTo>
                  <a:cubicBezTo>
                    <a:pt x="90" y="31"/>
                    <a:pt x="90" y="31"/>
                    <a:pt x="90" y="31"/>
                  </a:cubicBezTo>
                  <a:cubicBezTo>
                    <a:pt x="89" y="32"/>
                    <a:pt x="87" y="32"/>
                    <a:pt x="86" y="32"/>
                  </a:cubicBezTo>
                  <a:cubicBezTo>
                    <a:pt x="86" y="32"/>
                    <a:pt x="85" y="32"/>
                    <a:pt x="85" y="32"/>
                  </a:cubicBezTo>
                  <a:cubicBezTo>
                    <a:pt x="81" y="32"/>
                    <a:pt x="77" y="31"/>
                    <a:pt x="73" y="31"/>
                  </a:cubicBezTo>
                  <a:cubicBezTo>
                    <a:pt x="71" y="30"/>
                    <a:pt x="71" y="30"/>
                    <a:pt x="71" y="30"/>
                  </a:cubicBezTo>
                  <a:cubicBezTo>
                    <a:pt x="71" y="30"/>
                    <a:pt x="71" y="30"/>
                    <a:pt x="70" y="30"/>
                  </a:cubicBezTo>
                  <a:cubicBezTo>
                    <a:pt x="69" y="30"/>
                    <a:pt x="67" y="31"/>
                    <a:pt x="66" y="31"/>
                  </a:cubicBezTo>
                  <a:cubicBezTo>
                    <a:pt x="65" y="31"/>
                    <a:pt x="65" y="31"/>
                    <a:pt x="65" y="31"/>
                  </a:cubicBezTo>
                  <a:cubicBezTo>
                    <a:pt x="65" y="31"/>
                    <a:pt x="64" y="31"/>
                    <a:pt x="64" y="31"/>
                  </a:cubicBezTo>
                  <a:cubicBezTo>
                    <a:pt x="63" y="31"/>
                    <a:pt x="62" y="31"/>
                    <a:pt x="62" y="31"/>
                  </a:cubicBezTo>
                  <a:cubicBezTo>
                    <a:pt x="61" y="31"/>
                    <a:pt x="61" y="31"/>
                    <a:pt x="61" y="31"/>
                  </a:cubicBezTo>
                  <a:cubicBezTo>
                    <a:pt x="61" y="31"/>
                    <a:pt x="61" y="31"/>
                    <a:pt x="61" y="31"/>
                  </a:cubicBezTo>
                  <a:cubicBezTo>
                    <a:pt x="60" y="31"/>
                    <a:pt x="59" y="31"/>
                    <a:pt x="59" y="31"/>
                  </a:cubicBezTo>
                  <a:cubicBezTo>
                    <a:pt x="58" y="31"/>
                    <a:pt x="58" y="31"/>
                    <a:pt x="58" y="31"/>
                  </a:cubicBezTo>
                  <a:cubicBezTo>
                    <a:pt x="57" y="32"/>
                    <a:pt x="56" y="32"/>
                    <a:pt x="55" y="32"/>
                  </a:cubicBezTo>
                  <a:cubicBezTo>
                    <a:pt x="55" y="32"/>
                    <a:pt x="54" y="32"/>
                    <a:pt x="54" y="32"/>
                  </a:cubicBezTo>
                  <a:cubicBezTo>
                    <a:pt x="53" y="32"/>
                    <a:pt x="53" y="32"/>
                    <a:pt x="53" y="32"/>
                  </a:cubicBezTo>
                  <a:cubicBezTo>
                    <a:pt x="53" y="31"/>
                    <a:pt x="52" y="31"/>
                    <a:pt x="51" y="31"/>
                  </a:cubicBezTo>
                  <a:cubicBezTo>
                    <a:pt x="50" y="31"/>
                    <a:pt x="50" y="31"/>
                    <a:pt x="50" y="31"/>
                  </a:cubicBezTo>
                  <a:cubicBezTo>
                    <a:pt x="50" y="30"/>
                    <a:pt x="49" y="30"/>
                    <a:pt x="49" y="30"/>
                  </a:cubicBezTo>
                  <a:cubicBezTo>
                    <a:pt x="46" y="30"/>
                    <a:pt x="45" y="29"/>
                    <a:pt x="43" y="28"/>
                  </a:cubicBezTo>
                  <a:cubicBezTo>
                    <a:pt x="43" y="28"/>
                    <a:pt x="43" y="28"/>
                    <a:pt x="43" y="28"/>
                  </a:cubicBezTo>
                  <a:cubicBezTo>
                    <a:pt x="42" y="28"/>
                    <a:pt x="42" y="28"/>
                    <a:pt x="42" y="28"/>
                  </a:cubicBezTo>
                  <a:cubicBezTo>
                    <a:pt x="41" y="28"/>
                    <a:pt x="40" y="28"/>
                    <a:pt x="39" y="27"/>
                  </a:cubicBezTo>
                  <a:cubicBezTo>
                    <a:pt x="39" y="27"/>
                    <a:pt x="37" y="26"/>
                    <a:pt x="37" y="24"/>
                  </a:cubicBezTo>
                  <a:cubicBezTo>
                    <a:pt x="33" y="24"/>
                    <a:pt x="33" y="24"/>
                    <a:pt x="33" y="24"/>
                  </a:cubicBezTo>
                  <a:cubicBezTo>
                    <a:pt x="36" y="23"/>
                    <a:pt x="36" y="23"/>
                    <a:pt x="36" y="23"/>
                  </a:cubicBezTo>
                  <a:cubicBezTo>
                    <a:pt x="36" y="22"/>
                    <a:pt x="36" y="22"/>
                    <a:pt x="36" y="22"/>
                  </a:cubicBezTo>
                  <a:cubicBezTo>
                    <a:pt x="36" y="20"/>
                    <a:pt x="36" y="18"/>
                    <a:pt x="36" y="16"/>
                  </a:cubicBezTo>
                  <a:cubicBezTo>
                    <a:pt x="36" y="15"/>
                    <a:pt x="36" y="15"/>
                    <a:pt x="36" y="15"/>
                  </a:cubicBezTo>
                  <a:cubicBezTo>
                    <a:pt x="36" y="14"/>
                    <a:pt x="36" y="13"/>
                    <a:pt x="36" y="13"/>
                  </a:cubicBezTo>
                  <a:cubicBezTo>
                    <a:pt x="36" y="11"/>
                    <a:pt x="36" y="9"/>
                    <a:pt x="35" y="7"/>
                  </a:cubicBezTo>
                  <a:cubicBezTo>
                    <a:pt x="34" y="9"/>
                    <a:pt x="32" y="9"/>
                    <a:pt x="30" y="9"/>
                  </a:cubicBezTo>
                  <a:cubicBezTo>
                    <a:pt x="28" y="9"/>
                    <a:pt x="27" y="9"/>
                    <a:pt x="26" y="8"/>
                  </a:cubicBezTo>
                  <a:cubicBezTo>
                    <a:pt x="25" y="8"/>
                    <a:pt x="25" y="8"/>
                    <a:pt x="25" y="8"/>
                  </a:cubicBezTo>
                  <a:cubicBezTo>
                    <a:pt x="23" y="7"/>
                    <a:pt x="22" y="5"/>
                    <a:pt x="21" y="3"/>
                  </a:cubicBezTo>
                  <a:cubicBezTo>
                    <a:pt x="20" y="3"/>
                    <a:pt x="20" y="3"/>
                    <a:pt x="20" y="3"/>
                  </a:cubicBezTo>
                  <a:cubicBezTo>
                    <a:pt x="17" y="3"/>
                    <a:pt x="16" y="3"/>
                    <a:pt x="14" y="2"/>
                  </a:cubicBezTo>
                  <a:cubicBezTo>
                    <a:pt x="13" y="1"/>
                    <a:pt x="13" y="1"/>
                    <a:pt x="13" y="1"/>
                  </a:cubicBezTo>
                  <a:cubicBezTo>
                    <a:pt x="13" y="1"/>
                    <a:pt x="13" y="1"/>
                    <a:pt x="13" y="1"/>
                  </a:cubicBezTo>
                  <a:cubicBezTo>
                    <a:pt x="11" y="1"/>
                    <a:pt x="10" y="1"/>
                    <a:pt x="9"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515"/>
            <p:cNvSpPr/>
            <p:nvPr/>
          </p:nvSpPr>
          <p:spPr bwMode="auto">
            <a:xfrm>
              <a:off x="4832812" y="4174435"/>
              <a:ext cx="2686" cy="6716"/>
            </a:xfrm>
            <a:custGeom>
              <a:gdLst>
                <a:gd name="T0" fmla="*/ 0 w 1"/>
                <a:gd name="T1" fmla="*/ 0 h 2"/>
                <a:gd name="T2" fmla="*/ 0 w 1"/>
                <a:gd name="T3" fmla="*/ 0 h 2"/>
                <a:gd name="T4" fmla="*/ 0 w 1"/>
                <a:gd name="T5" fmla="*/ 0 h 2"/>
                <a:gd name="T6" fmla="*/ 0 w 1"/>
                <a:gd name="T7" fmla="*/ 1 h 2"/>
                <a:gd name="T8" fmla="*/ 0 w 1"/>
                <a:gd name="T9" fmla="*/ 1 h 2"/>
                <a:gd name="T10" fmla="*/ 1 w 1"/>
                <a:gd name="T11" fmla="*/ 2 h 2"/>
                <a:gd name="T12" fmla="*/ 0 w 1"/>
                <a:gd name="T13" fmla="*/ 1 h 2"/>
                <a:gd name="T14" fmla="*/ 0 w 1"/>
                <a:gd name="T15" fmla="*/ 0 h 2"/>
                <a:gd name="T16" fmla="*/ 0 w 1"/>
                <a:gd name="T17"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0" y="0"/>
                  </a:moveTo>
                  <a:cubicBezTo>
                    <a:pt x="0" y="0"/>
                    <a:pt x="0" y="0"/>
                    <a:pt x="0" y="0"/>
                  </a:cubicBezTo>
                  <a:cubicBezTo>
                    <a:pt x="0" y="0"/>
                    <a:pt x="0" y="0"/>
                    <a:pt x="0" y="0"/>
                  </a:cubicBezTo>
                  <a:cubicBezTo>
                    <a:pt x="0" y="1"/>
                    <a:pt x="0" y="1"/>
                    <a:pt x="0" y="1"/>
                  </a:cubicBezTo>
                  <a:cubicBezTo>
                    <a:pt x="0" y="1"/>
                    <a:pt x="0" y="1"/>
                    <a:pt x="0" y="1"/>
                  </a:cubicBezTo>
                  <a:cubicBezTo>
                    <a:pt x="1" y="2"/>
                    <a:pt x="1" y="2"/>
                    <a:pt x="1" y="2"/>
                  </a:cubicBezTo>
                  <a:cubicBezTo>
                    <a:pt x="0" y="1"/>
                    <a:pt x="0" y="1"/>
                    <a:pt x="0" y="1"/>
                  </a:cubicBezTo>
                  <a:cubicBezTo>
                    <a:pt x="0" y="1"/>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516"/>
            <p:cNvSpPr/>
            <p:nvPr/>
          </p:nvSpPr>
          <p:spPr bwMode="auto">
            <a:xfrm>
              <a:off x="4838185" y="4183837"/>
              <a:ext cx="13431" cy="22833"/>
            </a:xfrm>
            <a:custGeom>
              <a:gdLst>
                <a:gd name="T0" fmla="*/ 1 w 4"/>
                <a:gd name="T1" fmla="*/ 0 h 7"/>
                <a:gd name="T2" fmla="*/ 0 w 4"/>
                <a:gd name="T3" fmla="*/ 1 h 7"/>
                <a:gd name="T4" fmla="*/ 4 w 4"/>
                <a:gd name="T5" fmla="*/ 7 h 7"/>
                <a:gd name="T6" fmla="*/ 3 w 4"/>
                <a:gd name="T7" fmla="*/ 4 h 7"/>
                <a:gd name="T8" fmla="*/ 2 w 4"/>
                <a:gd name="T9" fmla="*/ 2 h 7"/>
                <a:gd name="T10" fmla="*/ 2 w 4"/>
                <a:gd name="T11" fmla="*/ 2 h 7"/>
                <a:gd name="T12" fmla="*/ 1 w 4"/>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4" h="7">
                  <a:moveTo>
                    <a:pt x="1" y="0"/>
                  </a:moveTo>
                  <a:cubicBezTo>
                    <a:pt x="0" y="1"/>
                    <a:pt x="0" y="1"/>
                    <a:pt x="0" y="1"/>
                  </a:cubicBezTo>
                  <a:cubicBezTo>
                    <a:pt x="1" y="3"/>
                    <a:pt x="3" y="5"/>
                    <a:pt x="4" y="7"/>
                  </a:cubicBezTo>
                  <a:cubicBezTo>
                    <a:pt x="4" y="6"/>
                    <a:pt x="3" y="5"/>
                    <a:pt x="3" y="4"/>
                  </a:cubicBezTo>
                  <a:cubicBezTo>
                    <a:pt x="3" y="3"/>
                    <a:pt x="3" y="3"/>
                    <a:pt x="2" y="2"/>
                  </a:cubicBezTo>
                  <a:cubicBezTo>
                    <a:pt x="2" y="2"/>
                    <a:pt x="2" y="2"/>
                    <a:pt x="2" y="2"/>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517"/>
            <p:cNvSpPr/>
            <p:nvPr/>
          </p:nvSpPr>
          <p:spPr bwMode="auto">
            <a:xfrm>
              <a:off x="4847587" y="3568685"/>
              <a:ext cx="667534" cy="1485497"/>
            </a:xfrm>
            <a:custGeom>
              <a:gdLst>
                <a:gd name="T0" fmla="*/ 122 w 210"/>
                <a:gd name="T1" fmla="*/ 18 h 468"/>
                <a:gd name="T2" fmla="*/ 97 w 210"/>
                <a:gd name="T3" fmla="*/ 36 h 468"/>
                <a:gd name="T4" fmla="*/ 74 w 210"/>
                <a:gd name="T5" fmla="*/ 64 h 468"/>
                <a:gd name="T6" fmla="*/ 51 w 210"/>
                <a:gd name="T7" fmla="*/ 115 h 468"/>
                <a:gd name="T8" fmla="*/ 26 w 210"/>
                <a:gd name="T9" fmla="*/ 145 h 468"/>
                <a:gd name="T10" fmla="*/ 12 w 210"/>
                <a:gd name="T11" fmla="*/ 174 h 468"/>
                <a:gd name="T12" fmla="*/ 1 w 210"/>
                <a:gd name="T13" fmla="*/ 190 h 468"/>
                <a:gd name="T14" fmla="*/ 2 w 210"/>
                <a:gd name="T15" fmla="*/ 199 h 468"/>
                <a:gd name="T16" fmla="*/ 13 w 210"/>
                <a:gd name="T17" fmla="*/ 213 h 468"/>
                <a:gd name="T18" fmla="*/ 17 w 210"/>
                <a:gd name="T19" fmla="*/ 219 h 468"/>
                <a:gd name="T20" fmla="*/ 36 w 210"/>
                <a:gd name="T21" fmla="*/ 223 h 468"/>
                <a:gd name="T22" fmla="*/ 42 w 210"/>
                <a:gd name="T23" fmla="*/ 236 h 468"/>
                <a:gd name="T24" fmla="*/ 34 w 210"/>
                <a:gd name="T25" fmla="*/ 243 h 468"/>
                <a:gd name="T26" fmla="*/ 43 w 210"/>
                <a:gd name="T27" fmla="*/ 237 h 468"/>
                <a:gd name="T28" fmla="*/ 54 w 210"/>
                <a:gd name="T29" fmla="*/ 272 h 468"/>
                <a:gd name="T30" fmla="*/ 55 w 210"/>
                <a:gd name="T31" fmla="*/ 317 h 468"/>
                <a:gd name="T32" fmla="*/ 58 w 210"/>
                <a:gd name="T33" fmla="*/ 323 h 468"/>
                <a:gd name="T34" fmla="*/ 64 w 210"/>
                <a:gd name="T35" fmla="*/ 318 h 468"/>
                <a:gd name="T36" fmla="*/ 71 w 210"/>
                <a:gd name="T37" fmla="*/ 320 h 468"/>
                <a:gd name="T38" fmla="*/ 84 w 210"/>
                <a:gd name="T39" fmla="*/ 317 h 468"/>
                <a:gd name="T40" fmla="*/ 98 w 210"/>
                <a:gd name="T41" fmla="*/ 308 h 468"/>
                <a:gd name="T42" fmla="*/ 113 w 210"/>
                <a:gd name="T43" fmla="*/ 288 h 468"/>
                <a:gd name="T44" fmla="*/ 132 w 210"/>
                <a:gd name="T45" fmla="*/ 308 h 468"/>
                <a:gd name="T46" fmla="*/ 135 w 210"/>
                <a:gd name="T47" fmla="*/ 333 h 468"/>
                <a:gd name="T48" fmla="*/ 141 w 210"/>
                <a:gd name="T49" fmla="*/ 356 h 468"/>
                <a:gd name="T50" fmla="*/ 145 w 210"/>
                <a:gd name="T51" fmla="*/ 371 h 468"/>
                <a:gd name="T52" fmla="*/ 156 w 210"/>
                <a:gd name="T53" fmla="*/ 413 h 468"/>
                <a:gd name="T54" fmla="*/ 152 w 210"/>
                <a:gd name="T55" fmla="*/ 420 h 468"/>
                <a:gd name="T56" fmla="*/ 156 w 210"/>
                <a:gd name="T57" fmla="*/ 429 h 468"/>
                <a:gd name="T58" fmla="*/ 153 w 210"/>
                <a:gd name="T59" fmla="*/ 454 h 468"/>
                <a:gd name="T60" fmla="*/ 175 w 210"/>
                <a:gd name="T61" fmla="*/ 433 h 468"/>
                <a:gd name="T62" fmla="*/ 173 w 210"/>
                <a:gd name="T63" fmla="*/ 410 h 468"/>
                <a:gd name="T64" fmla="*/ 167 w 210"/>
                <a:gd name="T65" fmla="*/ 389 h 468"/>
                <a:gd name="T66" fmla="*/ 159 w 210"/>
                <a:gd name="T67" fmla="*/ 371 h 468"/>
                <a:gd name="T68" fmla="*/ 152 w 210"/>
                <a:gd name="T69" fmla="*/ 336 h 468"/>
                <a:gd name="T70" fmla="*/ 153 w 210"/>
                <a:gd name="T71" fmla="*/ 308 h 468"/>
                <a:gd name="T72" fmla="*/ 146 w 210"/>
                <a:gd name="T73" fmla="*/ 296 h 468"/>
                <a:gd name="T74" fmla="*/ 130 w 210"/>
                <a:gd name="T75" fmla="*/ 267 h 468"/>
                <a:gd name="T76" fmla="*/ 132 w 210"/>
                <a:gd name="T77" fmla="*/ 254 h 468"/>
                <a:gd name="T78" fmla="*/ 140 w 210"/>
                <a:gd name="T79" fmla="*/ 223 h 468"/>
                <a:gd name="T80" fmla="*/ 154 w 210"/>
                <a:gd name="T81" fmla="*/ 218 h 468"/>
                <a:gd name="T82" fmla="*/ 165 w 210"/>
                <a:gd name="T83" fmla="*/ 222 h 468"/>
                <a:gd name="T84" fmla="*/ 178 w 210"/>
                <a:gd name="T85" fmla="*/ 208 h 468"/>
                <a:gd name="T86" fmla="*/ 182 w 210"/>
                <a:gd name="T87" fmla="*/ 191 h 468"/>
                <a:gd name="T88" fmla="*/ 203 w 210"/>
                <a:gd name="T89" fmla="*/ 188 h 468"/>
                <a:gd name="T90" fmla="*/ 190 w 210"/>
                <a:gd name="T91" fmla="*/ 180 h 468"/>
                <a:gd name="T92" fmla="*/ 186 w 210"/>
                <a:gd name="T93" fmla="*/ 170 h 468"/>
                <a:gd name="T94" fmla="*/ 171 w 210"/>
                <a:gd name="T95" fmla="*/ 149 h 468"/>
                <a:gd name="T96" fmla="*/ 175 w 210"/>
                <a:gd name="T97" fmla="*/ 143 h 468"/>
                <a:gd name="T98" fmla="*/ 157 w 210"/>
                <a:gd name="T99" fmla="*/ 129 h 468"/>
                <a:gd name="T100" fmla="*/ 155 w 210"/>
                <a:gd name="T101" fmla="*/ 121 h 468"/>
                <a:gd name="T102" fmla="*/ 146 w 210"/>
                <a:gd name="T103" fmla="*/ 117 h 468"/>
                <a:gd name="T104" fmla="*/ 127 w 210"/>
                <a:gd name="T105" fmla="*/ 117 h 468"/>
                <a:gd name="T106" fmla="*/ 126 w 210"/>
                <a:gd name="T107" fmla="*/ 104 h 468"/>
                <a:gd name="T108" fmla="*/ 132 w 210"/>
                <a:gd name="T109" fmla="*/ 91 h 468"/>
                <a:gd name="T110" fmla="*/ 141 w 210"/>
                <a:gd name="T111" fmla="*/ 79 h 468"/>
                <a:gd name="T112" fmla="*/ 149 w 210"/>
                <a:gd name="T113" fmla="*/ 73 h 468"/>
                <a:gd name="T114" fmla="*/ 153 w 210"/>
                <a:gd name="T115" fmla="*/ 59 h 468"/>
                <a:gd name="T116" fmla="*/ 156 w 210"/>
                <a:gd name="T117" fmla="*/ 36 h 468"/>
                <a:gd name="T118" fmla="*/ 140 w 210"/>
                <a:gd name="T119" fmla="*/ 7 h 468"/>
                <a:gd name="T120" fmla="*/ 131 w 210"/>
                <a:gd name="T121" fmla="*/ 0 h 4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 h="468">
                  <a:moveTo>
                    <a:pt x="131" y="0"/>
                  </a:moveTo>
                  <a:cubicBezTo>
                    <a:pt x="130" y="2"/>
                    <a:pt x="129" y="4"/>
                    <a:pt x="128" y="5"/>
                  </a:cubicBezTo>
                  <a:cubicBezTo>
                    <a:pt x="128" y="5"/>
                    <a:pt x="128" y="6"/>
                    <a:pt x="128" y="6"/>
                  </a:cubicBezTo>
                  <a:cubicBezTo>
                    <a:pt x="128" y="7"/>
                    <a:pt x="128" y="7"/>
                    <a:pt x="128" y="7"/>
                  </a:cubicBezTo>
                  <a:cubicBezTo>
                    <a:pt x="128" y="7"/>
                    <a:pt x="128" y="7"/>
                    <a:pt x="128" y="7"/>
                  </a:cubicBezTo>
                  <a:cubicBezTo>
                    <a:pt x="128" y="9"/>
                    <a:pt x="128" y="9"/>
                    <a:pt x="128" y="9"/>
                  </a:cubicBezTo>
                  <a:cubicBezTo>
                    <a:pt x="129" y="14"/>
                    <a:pt x="126" y="16"/>
                    <a:pt x="123" y="18"/>
                  </a:cubicBezTo>
                  <a:cubicBezTo>
                    <a:pt x="122" y="18"/>
                    <a:pt x="122" y="18"/>
                    <a:pt x="122" y="18"/>
                  </a:cubicBezTo>
                  <a:cubicBezTo>
                    <a:pt x="122" y="19"/>
                    <a:pt x="121" y="19"/>
                    <a:pt x="120" y="20"/>
                  </a:cubicBezTo>
                  <a:cubicBezTo>
                    <a:pt x="118" y="21"/>
                    <a:pt x="117" y="23"/>
                    <a:pt x="117" y="23"/>
                  </a:cubicBezTo>
                  <a:cubicBezTo>
                    <a:pt x="117" y="24"/>
                    <a:pt x="119" y="26"/>
                    <a:pt x="119" y="26"/>
                  </a:cubicBezTo>
                  <a:cubicBezTo>
                    <a:pt x="119" y="28"/>
                    <a:pt x="119" y="28"/>
                    <a:pt x="119" y="28"/>
                  </a:cubicBezTo>
                  <a:cubicBezTo>
                    <a:pt x="111" y="40"/>
                    <a:pt x="111" y="40"/>
                    <a:pt x="111" y="40"/>
                  </a:cubicBezTo>
                  <a:cubicBezTo>
                    <a:pt x="110" y="32"/>
                    <a:pt x="110" y="32"/>
                    <a:pt x="110" y="32"/>
                  </a:cubicBezTo>
                  <a:cubicBezTo>
                    <a:pt x="109" y="32"/>
                    <a:pt x="109" y="31"/>
                    <a:pt x="108" y="31"/>
                  </a:cubicBezTo>
                  <a:cubicBezTo>
                    <a:pt x="105" y="31"/>
                    <a:pt x="101" y="34"/>
                    <a:pt x="97" y="36"/>
                  </a:cubicBezTo>
                  <a:cubicBezTo>
                    <a:pt x="94" y="37"/>
                    <a:pt x="92" y="39"/>
                    <a:pt x="90" y="39"/>
                  </a:cubicBezTo>
                  <a:cubicBezTo>
                    <a:pt x="88" y="40"/>
                    <a:pt x="86" y="42"/>
                    <a:pt x="84" y="44"/>
                  </a:cubicBezTo>
                  <a:cubicBezTo>
                    <a:pt x="82" y="45"/>
                    <a:pt x="80" y="47"/>
                    <a:pt x="77" y="48"/>
                  </a:cubicBezTo>
                  <a:cubicBezTo>
                    <a:pt x="77" y="48"/>
                    <a:pt x="77" y="48"/>
                    <a:pt x="77" y="48"/>
                  </a:cubicBezTo>
                  <a:cubicBezTo>
                    <a:pt x="72" y="50"/>
                    <a:pt x="72" y="51"/>
                    <a:pt x="72" y="52"/>
                  </a:cubicBezTo>
                  <a:cubicBezTo>
                    <a:pt x="72" y="53"/>
                    <a:pt x="73" y="54"/>
                    <a:pt x="73" y="56"/>
                  </a:cubicBezTo>
                  <a:cubicBezTo>
                    <a:pt x="73" y="56"/>
                    <a:pt x="73" y="56"/>
                    <a:pt x="73" y="56"/>
                  </a:cubicBezTo>
                  <a:cubicBezTo>
                    <a:pt x="74" y="59"/>
                    <a:pt x="74" y="62"/>
                    <a:pt x="74" y="64"/>
                  </a:cubicBezTo>
                  <a:cubicBezTo>
                    <a:pt x="74" y="65"/>
                    <a:pt x="73" y="66"/>
                    <a:pt x="73" y="66"/>
                  </a:cubicBezTo>
                  <a:cubicBezTo>
                    <a:pt x="72" y="67"/>
                    <a:pt x="72" y="67"/>
                    <a:pt x="72" y="67"/>
                  </a:cubicBezTo>
                  <a:cubicBezTo>
                    <a:pt x="71" y="68"/>
                    <a:pt x="71" y="69"/>
                    <a:pt x="71" y="69"/>
                  </a:cubicBezTo>
                  <a:cubicBezTo>
                    <a:pt x="71" y="71"/>
                    <a:pt x="69" y="75"/>
                    <a:pt x="66" y="77"/>
                  </a:cubicBezTo>
                  <a:cubicBezTo>
                    <a:pt x="61" y="81"/>
                    <a:pt x="61" y="81"/>
                    <a:pt x="62" y="83"/>
                  </a:cubicBezTo>
                  <a:cubicBezTo>
                    <a:pt x="64" y="89"/>
                    <a:pt x="62" y="96"/>
                    <a:pt x="57" y="104"/>
                  </a:cubicBezTo>
                  <a:cubicBezTo>
                    <a:pt x="53" y="108"/>
                    <a:pt x="52" y="114"/>
                    <a:pt x="52" y="115"/>
                  </a:cubicBezTo>
                  <a:cubicBezTo>
                    <a:pt x="51" y="115"/>
                    <a:pt x="51" y="115"/>
                    <a:pt x="51" y="115"/>
                  </a:cubicBezTo>
                  <a:cubicBezTo>
                    <a:pt x="51" y="116"/>
                    <a:pt x="51" y="116"/>
                    <a:pt x="51" y="116"/>
                  </a:cubicBezTo>
                  <a:cubicBezTo>
                    <a:pt x="51" y="116"/>
                    <a:pt x="49" y="118"/>
                    <a:pt x="45" y="122"/>
                  </a:cubicBezTo>
                  <a:cubicBezTo>
                    <a:pt x="43" y="123"/>
                    <a:pt x="43" y="123"/>
                    <a:pt x="43" y="123"/>
                  </a:cubicBezTo>
                  <a:cubicBezTo>
                    <a:pt x="42" y="122"/>
                    <a:pt x="42" y="122"/>
                    <a:pt x="42" y="122"/>
                  </a:cubicBezTo>
                  <a:cubicBezTo>
                    <a:pt x="38" y="121"/>
                    <a:pt x="33" y="120"/>
                    <a:pt x="30" y="119"/>
                  </a:cubicBezTo>
                  <a:cubicBezTo>
                    <a:pt x="30" y="120"/>
                    <a:pt x="30" y="120"/>
                    <a:pt x="30" y="121"/>
                  </a:cubicBezTo>
                  <a:cubicBezTo>
                    <a:pt x="32" y="125"/>
                    <a:pt x="31" y="133"/>
                    <a:pt x="30" y="140"/>
                  </a:cubicBezTo>
                  <a:cubicBezTo>
                    <a:pt x="29" y="143"/>
                    <a:pt x="27" y="144"/>
                    <a:pt x="26" y="145"/>
                  </a:cubicBezTo>
                  <a:cubicBezTo>
                    <a:pt x="26" y="145"/>
                    <a:pt x="25" y="145"/>
                    <a:pt x="25" y="145"/>
                  </a:cubicBezTo>
                  <a:cubicBezTo>
                    <a:pt x="24" y="145"/>
                    <a:pt x="24" y="145"/>
                    <a:pt x="24" y="145"/>
                  </a:cubicBezTo>
                  <a:cubicBezTo>
                    <a:pt x="23" y="149"/>
                    <a:pt x="23" y="149"/>
                    <a:pt x="23" y="149"/>
                  </a:cubicBezTo>
                  <a:cubicBezTo>
                    <a:pt x="23" y="153"/>
                    <a:pt x="23" y="153"/>
                    <a:pt x="23" y="153"/>
                  </a:cubicBezTo>
                  <a:cubicBezTo>
                    <a:pt x="25" y="165"/>
                    <a:pt x="25" y="165"/>
                    <a:pt x="25" y="165"/>
                  </a:cubicBezTo>
                  <a:cubicBezTo>
                    <a:pt x="18" y="171"/>
                    <a:pt x="18" y="171"/>
                    <a:pt x="18" y="171"/>
                  </a:cubicBezTo>
                  <a:cubicBezTo>
                    <a:pt x="15" y="170"/>
                    <a:pt x="15" y="170"/>
                    <a:pt x="15" y="170"/>
                  </a:cubicBezTo>
                  <a:cubicBezTo>
                    <a:pt x="12" y="174"/>
                    <a:pt x="12" y="174"/>
                    <a:pt x="12" y="174"/>
                  </a:cubicBezTo>
                  <a:cubicBezTo>
                    <a:pt x="12" y="182"/>
                    <a:pt x="12" y="182"/>
                    <a:pt x="12" y="182"/>
                  </a:cubicBezTo>
                  <a:cubicBezTo>
                    <a:pt x="13" y="183"/>
                    <a:pt x="12" y="185"/>
                    <a:pt x="12" y="186"/>
                  </a:cubicBezTo>
                  <a:cubicBezTo>
                    <a:pt x="12" y="186"/>
                    <a:pt x="12" y="186"/>
                    <a:pt x="12" y="187"/>
                  </a:cubicBezTo>
                  <a:cubicBezTo>
                    <a:pt x="13" y="193"/>
                    <a:pt x="13" y="193"/>
                    <a:pt x="13" y="193"/>
                  </a:cubicBezTo>
                  <a:cubicBezTo>
                    <a:pt x="8" y="189"/>
                    <a:pt x="8" y="189"/>
                    <a:pt x="8" y="189"/>
                  </a:cubicBezTo>
                  <a:cubicBezTo>
                    <a:pt x="7" y="189"/>
                    <a:pt x="6" y="189"/>
                    <a:pt x="5" y="188"/>
                  </a:cubicBezTo>
                  <a:cubicBezTo>
                    <a:pt x="5" y="188"/>
                    <a:pt x="4" y="188"/>
                    <a:pt x="3" y="187"/>
                  </a:cubicBezTo>
                  <a:cubicBezTo>
                    <a:pt x="2" y="188"/>
                    <a:pt x="2" y="189"/>
                    <a:pt x="1" y="190"/>
                  </a:cubicBezTo>
                  <a:cubicBezTo>
                    <a:pt x="1" y="190"/>
                    <a:pt x="1" y="190"/>
                    <a:pt x="1" y="190"/>
                  </a:cubicBezTo>
                  <a:cubicBezTo>
                    <a:pt x="2" y="191"/>
                    <a:pt x="2" y="191"/>
                    <a:pt x="2" y="191"/>
                  </a:cubicBezTo>
                  <a:cubicBezTo>
                    <a:pt x="2" y="192"/>
                    <a:pt x="2" y="192"/>
                    <a:pt x="2" y="192"/>
                  </a:cubicBezTo>
                  <a:cubicBezTo>
                    <a:pt x="2" y="192"/>
                    <a:pt x="2" y="192"/>
                    <a:pt x="2" y="192"/>
                  </a:cubicBezTo>
                  <a:cubicBezTo>
                    <a:pt x="2" y="193"/>
                    <a:pt x="2" y="193"/>
                    <a:pt x="2" y="193"/>
                  </a:cubicBezTo>
                  <a:cubicBezTo>
                    <a:pt x="0" y="195"/>
                    <a:pt x="0" y="195"/>
                    <a:pt x="0" y="195"/>
                  </a:cubicBezTo>
                  <a:cubicBezTo>
                    <a:pt x="1" y="196"/>
                    <a:pt x="2" y="197"/>
                    <a:pt x="2" y="198"/>
                  </a:cubicBezTo>
                  <a:cubicBezTo>
                    <a:pt x="2" y="199"/>
                    <a:pt x="2" y="199"/>
                    <a:pt x="2" y="199"/>
                  </a:cubicBezTo>
                  <a:cubicBezTo>
                    <a:pt x="4" y="200"/>
                    <a:pt x="5" y="203"/>
                    <a:pt x="6" y="205"/>
                  </a:cubicBezTo>
                  <a:cubicBezTo>
                    <a:pt x="7" y="207"/>
                    <a:pt x="8" y="209"/>
                    <a:pt x="9" y="210"/>
                  </a:cubicBezTo>
                  <a:cubicBezTo>
                    <a:pt x="10" y="211"/>
                    <a:pt x="10" y="212"/>
                    <a:pt x="11" y="213"/>
                  </a:cubicBezTo>
                  <a:cubicBezTo>
                    <a:pt x="11" y="212"/>
                    <a:pt x="11" y="211"/>
                    <a:pt x="11" y="209"/>
                  </a:cubicBezTo>
                  <a:cubicBezTo>
                    <a:pt x="10" y="207"/>
                    <a:pt x="10" y="206"/>
                    <a:pt x="10" y="204"/>
                  </a:cubicBezTo>
                  <a:cubicBezTo>
                    <a:pt x="11" y="205"/>
                    <a:pt x="12" y="206"/>
                    <a:pt x="12" y="208"/>
                  </a:cubicBezTo>
                  <a:cubicBezTo>
                    <a:pt x="13" y="209"/>
                    <a:pt x="13" y="210"/>
                    <a:pt x="14" y="211"/>
                  </a:cubicBezTo>
                  <a:cubicBezTo>
                    <a:pt x="15" y="212"/>
                    <a:pt x="13" y="213"/>
                    <a:pt x="13" y="213"/>
                  </a:cubicBezTo>
                  <a:cubicBezTo>
                    <a:pt x="13" y="214"/>
                    <a:pt x="14" y="214"/>
                    <a:pt x="15" y="215"/>
                  </a:cubicBezTo>
                  <a:cubicBezTo>
                    <a:pt x="15" y="216"/>
                    <a:pt x="15" y="216"/>
                    <a:pt x="15" y="216"/>
                  </a:cubicBezTo>
                  <a:cubicBezTo>
                    <a:pt x="16" y="215"/>
                    <a:pt x="16" y="214"/>
                    <a:pt x="17" y="213"/>
                  </a:cubicBezTo>
                  <a:cubicBezTo>
                    <a:pt x="17" y="211"/>
                    <a:pt x="18" y="209"/>
                    <a:pt x="19" y="207"/>
                  </a:cubicBezTo>
                  <a:cubicBezTo>
                    <a:pt x="19" y="208"/>
                    <a:pt x="19" y="209"/>
                    <a:pt x="19" y="211"/>
                  </a:cubicBezTo>
                  <a:cubicBezTo>
                    <a:pt x="19" y="211"/>
                    <a:pt x="19" y="211"/>
                    <a:pt x="19" y="211"/>
                  </a:cubicBezTo>
                  <a:cubicBezTo>
                    <a:pt x="19" y="210"/>
                    <a:pt x="19" y="210"/>
                    <a:pt x="20" y="210"/>
                  </a:cubicBezTo>
                  <a:cubicBezTo>
                    <a:pt x="19" y="212"/>
                    <a:pt x="17" y="216"/>
                    <a:pt x="17" y="219"/>
                  </a:cubicBezTo>
                  <a:cubicBezTo>
                    <a:pt x="17" y="219"/>
                    <a:pt x="18" y="220"/>
                    <a:pt x="19" y="220"/>
                  </a:cubicBezTo>
                  <a:cubicBezTo>
                    <a:pt x="19" y="220"/>
                    <a:pt x="19" y="220"/>
                    <a:pt x="19" y="220"/>
                  </a:cubicBezTo>
                  <a:cubicBezTo>
                    <a:pt x="19" y="222"/>
                    <a:pt x="20" y="223"/>
                    <a:pt x="21" y="224"/>
                  </a:cubicBezTo>
                  <a:cubicBezTo>
                    <a:pt x="20" y="221"/>
                    <a:pt x="20" y="219"/>
                    <a:pt x="23" y="219"/>
                  </a:cubicBezTo>
                  <a:cubicBezTo>
                    <a:pt x="24" y="219"/>
                    <a:pt x="25" y="219"/>
                    <a:pt x="26" y="219"/>
                  </a:cubicBezTo>
                  <a:cubicBezTo>
                    <a:pt x="27" y="219"/>
                    <a:pt x="28" y="220"/>
                    <a:pt x="29" y="220"/>
                  </a:cubicBezTo>
                  <a:cubicBezTo>
                    <a:pt x="31" y="220"/>
                    <a:pt x="35" y="221"/>
                    <a:pt x="35" y="222"/>
                  </a:cubicBezTo>
                  <a:cubicBezTo>
                    <a:pt x="36" y="223"/>
                    <a:pt x="36" y="223"/>
                    <a:pt x="36" y="223"/>
                  </a:cubicBezTo>
                  <a:cubicBezTo>
                    <a:pt x="35" y="223"/>
                    <a:pt x="35" y="223"/>
                    <a:pt x="35" y="223"/>
                  </a:cubicBezTo>
                  <a:cubicBezTo>
                    <a:pt x="34" y="223"/>
                    <a:pt x="34" y="223"/>
                    <a:pt x="34" y="224"/>
                  </a:cubicBezTo>
                  <a:cubicBezTo>
                    <a:pt x="33" y="224"/>
                    <a:pt x="33" y="224"/>
                    <a:pt x="33" y="225"/>
                  </a:cubicBezTo>
                  <a:cubicBezTo>
                    <a:pt x="32" y="227"/>
                    <a:pt x="35" y="227"/>
                    <a:pt x="38" y="227"/>
                  </a:cubicBezTo>
                  <a:cubicBezTo>
                    <a:pt x="36" y="229"/>
                    <a:pt x="36" y="230"/>
                    <a:pt x="37" y="231"/>
                  </a:cubicBezTo>
                  <a:cubicBezTo>
                    <a:pt x="37" y="231"/>
                    <a:pt x="38" y="231"/>
                    <a:pt x="38" y="232"/>
                  </a:cubicBezTo>
                  <a:cubicBezTo>
                    <a:pt x="39" y="232"/>
                    <a:pt x="41" y="234"/>
                    <a:pt x="41" y="236"/>
                  </a:cubicBezTo>
                  <a:cubicBezTo>
                    <a:pt x="42" y="236"/>
                    <a:pt x="42" y="236"/>
                    <a:pt x="42" y="236"/>
                  </a:cubicBezTo>
                  <a:cubicBezTo>
                    <a:pt x="40" y="237"/>
                    <a:pt x="39" y="239"/>
                    <a:pt x="39" y="240"/>
                  </a:cubicBezTo>
                  <a:cubicBezTo>
                    <a:pt x="39" y="240"/>
                    <a:pt x="38" y="239"/>
                    <a:pt x="38" y="239"/>
                  </a:cubicBezTo>
                  <a:cubicBezTo>
                    <a:pt x="37" y="239"/>
                    <a:pt x="36" y="239"/>
                    <a:pt x="35" y="238"/>
                  </a:cubicBezTo>
                  <a:cubicBezTo>
                    <a:pt x="34" y="238"/>
                    <a:pt x="34" y="237"/>
                    <a:pt x="33" y="236"/>
                  </a:cubicBezTo>
                  <a:cubicBezTo>
                    <a:pt x="33" y="236"/>
                    <a:pt x="33" y="236"/>
                    <a:pt x="32" y="235"/>
                  </a:cubicBezTo>
                  <a:cubicBezTo>
                    <a:pt x="31" y="235"/>
                    <a:pt x="31" y="235"/>
                    <a:pt x="31" y="235"/>
                  </a:cubicBezTo>
                  <a:cubicBezTo>
                    <a:pt x="30" y="235"/>
                    <a:pt x="30" y="236"/>
                    <a:pt x="31" y="237"/>
                  </a:cubicBezTo>
                  <a:cubicBezTo>
                    <a:pt x="31" y="239"/>
                    <a:pt x="33" y="242"/>
                    <a:pt x="34" y="243"/>
                  </a:cubicBezTo>
                  <a:cubicBezTo>
                    <a:pt x="34" y="243"/>
                    <a:pt x="34" y="243"/>
                    <a:pt x="34" y="243"/>
                  </a:cubicBezTo>
                  <a:cubicBezTo>
                    <a:pt x="36" y="245"/>
                    <a:pt x="37" y="247"/>
                    <a:pt x="39" y="248"/>
                  </a:cubicBezTo>
                  <a:cubicBezTo>
                    <a:pt x="39" y="248"/>
                    <a:pt x="40" y="249"/>
                    <a:pt x="40" y="249"/>
                  </a:cubicBezTo>
                  <a:cubicBezTo>
                    <a:pt x="41" y="248"/>
                    <a:pt x="40" y="247"/>
                    <a:pt x="40" y="246"/>
                  </a:cubicBezTo>
                  <a:cubicBezTo>
                    <a:pt x="40" y="245"/>
                    <a:pt x="40" y="243"/>
                    <a:pt x="40" y="242"/>
                  </a:cubicBezTo>
                  <a:cubicBezTo>
                    <a:pt x="40" y="241"/>
                    <a:pt x="40" y="240"/>
                    <a:pt x="40" y="240"/>
                  </a:cubicBezTo>
                  <a:cubicBezTo>
                    <a:pt x="40" y="241"/>
                    <a:pt x="40" y="241"/>
                    <a:pt x="40" y="241"/>
                  </a:cubicBezTo>
                  <a:cubicBezTo>
                    <a:pt x="41" y="239"/>
                    <a:pt x="42" y="238"/>
                    <a:pt x="43" y="237"/>
                  </a:cubicBezTo>
                  <a:cubicBezTo>
                    <a:pt x="44" y="238"/>
                    <a:pt x="44" y="241"/>
                    <a:pt x="44" y="243"/>
                  </a:cubicBezTo>
                  <a:cubicBezTo>
                    <a:pt x="43" y="245"/>
                    <a:pt x="43" y="246"/>
                    <a:pt x="43" y="248"/>
                  </a:cubicBezTo>
                  <a:cubicBezTo>
                    <a:pt x="43" y="250"/>
                    <a:pt x="44" y="249"/>
                    <a:pt x="45" y="251"/>
                  </a:cubicBezTo>
                  <a:cubicBezTo>
                    <a:pt x="45" y="251"/>
                    <a:pt x="45" y="251"/>
                    <a:pt x="45" y="251"/>
                  </a:cubicBezTo>
                  <a:cubicBezTo>
                    <a:pt x="46" y="253"/>
                    <a:pt x="48" y="255"/>
                    <a:pt x="49" y="257"/>
                  </a:cubicBezTo>
                  <a:cubicBezTo>
                    <a:pt x="50" y="259"/>
                    <a:pt x="51" y="261"/>
                    <a:pt x="52" y="264"/>
                  </a:cubicBezTo>
                  <a:cubicBezTo>
                    <a:pt x="52" y="266"/>
                    <a:pt x="53" y="269"/>
                    <a:pt x="54" y="271"/>
                  </a:cubicBezTo>
                  <a:cubicBezTo>
                    <a:pt x="54" y="272"/>
                    <a:pt x="54" y="272"/>
                    <a:pt x="54" y="272"/>
                  </a:cubicBezTo>
                  <a:cubicBezTo>
                    <a:pt x="54" y="273"/>
                    <a:pt x="55" y="276"/>
                    <a:pt x="56" y="279"/>
                  </a:cubicBezTo>
                  <a:cubicBezTo>
                    <a:pt x="56" y="281"/>
                    <a:pt x="57" y="284"/>
                    <a:pt x="56" y="285"/>
                  </a:cubicBezTo>
                  <a:cubicBezTo>
                    <a:pt x="55" y="287"/>
                    <a:pt x="55" y="288"/>
                    <a:pt x="55" y="289"/>
                  </a:cubicBezTo>
                  <a:cubicBezTo>
                    <a:pt x="54" y="292"/>
                    <a:pt x="53" y="295"/>
                    <a:pt x="53" y="298"/>
                  </a:cubicBezTo>
                  <a:cubicBezTo>
                    <a:pt x="52" y="299"/>
                    <a:pt x="52" y="300"/>
                    <a:pt x="52" y="301"/>
                  </a:cubicBezTo>
                  <a:cubicBezTo>
                    <a:pt x="52" y="305"/>
                    <a:pt x="51" y="309"/>
                    <a:pt x="50" y="313"/>
                  </a:cubicBezTo>
                  <a:cubicBezTo>
                    <a:pt x="50" y="316"/>
                    <a:pt x="49" y="320"/>
                    <a:pt x="48" y="323"/>
                  </a:cubicBezTo>
                  <a:cubicBezTo>
                    <a:pt x="51" y="321"/>
                    <a:pt x="53" y="319"/>
                    <a:pt x="55" y="317"/>
                  </a:cubicBezTo>
                  <a:cubicBezTo>
                    <a:pt x="57" y="316"/>
                    <a:pt x="57" y="316"/>
                    <a:pt x="57" y="316"/>
                  </a:cubicBezTo>
                  <a:cubicBezTo>
                    <a:pt x="57" y="316"/>
                    <a:pt x="57" y="315"/>
                    <a:pt x="57" y="315"/>
                  </a:cubicBezTo>
                  <a:cubicBezTo>
                    <a:pt x="59" y="313"/>
                    <a:pt x="59" y="311"/>
                    <a:pt x="59" y="309"/>
                  </a:cubicBezTo>
                  <a:cubicBezTo>
                    <a:pt x="59" y="310"/>
                    <a:pt x="59" y="312"/>
                    <a:pt x="59" y="313"/>
                  </a:cubicBezTo>
                  <a:cubicBezTo>
                    <a:pt x="59" y="314"/>
                    <a:pt x="59" y="315"/>
                    <a:pt x="59" y="316"/>
                  </a:cubicBezTo>
                  <a:cubicBezTo>
                    <a:pt x="59" y="318"/>
                    <a:pt x="56" y="321"/>
                    <a:pt x="56" y="323"/>
                  </a:cubicBezTo>
                  <a:cubicBezTo>
                    <a:pt x="57" y="323"/>
                    <a:pt x="57" y="323"/>
                    <a:pt x="57" y="323"/>
                  </a:cubicBezTo>
                  <a:cubicBezTo>
                    <a:pt x="57" y="323"/>
                    <a:pt x="57" y="323"/>
                    <a:pt x="58" y="323"/>
                  </a:cubicBezTo>
                  <a:cubicBezTo>
                    <a:pt x="60" y="322"/>
                    <a:pt x="60" y="319"/>
                    <a:pt x="62" y="318"/>
                  </a:cubicBezTo>
                  <a:cubicBezTo>
                    <a:pt x="61" y="319"/>
                    <a:pt x="61" y="320"/>
                    <a:pt x="61" y="322"/>
                  </a:cubicBezTo>
                  <a:cubicBezTo>
                    <a:pt x="60" y="323"/>
                    <a:pt x="60" y="324"/>
                    <a:pt x="60" y="326"/>
                  </a:cubicBezTo>
                  <a:cubicBezTo>
                    <a:pt x="60" y="325"/>
                    <a:pt x="62" y="323"/>
                    <a:pt x="62" y="322"/>
                  </a:cubicBezTo>
                  <a:cubicBezTo>
                    <a:pt x="62" y="322"/>
                    <a:pt x="63" y="321"/>
                    <a:pt x="63" y="321"/>
                  </a:cubicBezTo>
                  <a:cubicBezTo>
                    <a:pt x="64" y="320"/>
                    <a:pt x="63" y="320"/>
                    <a:pt x="63" y="319"/>
                  </a:cubicBezTo>
                  <a:cubicBezTo>
                    <a:pt x="64" y="318"/>
                    <a:pt x="64" y="318"/>
                    <a:pt x="64" y="318"/>
                  </a:cubicBezTo>
                  <a:cubicBezTo>
                    <a:pt x="64" y="318"/>
                    <a:pt x="64" y="318"/>
                    <a:pt x="64" y="318"/>
                  </a:cubicBezTo>
                  <a:cubicBezTo>
                    <a:pt x="65" y="321"/>
                    <a:pt x="65" y="323"/>
                    <a:pt x="66" y="326"/>
                  </a:cubicBezTo>
                  <a:cubicBezTo>
                    <a:pt x="66" y="327"/>
                    <a:pt x="66" y="327"/>
                    <a:pt x="66" y="328"/>
                  </a:cubicBezTo>
                  <a:cubicBezTo>
                    <a:pt x="68" y="327"/>
                    <a:pt x="68" y="326"/>
                    <a:pt x="68" y="324"/>
                  </a:cubicBezTo>
                  <a:cubicBezTo>
                    <a:pt x="69" y="324"/>
                    <a:pt x="69" y="323"/>
                    <a:pt x="69" y="323"/>
                  </a:cubicBezTo>
                  <a:cubicBezTo>
                    <a:pt x="69" y="322"/>
                    <a:pt x="69" y="322"/>
                    <a:pt x="69" y="322"/>
                  </a:cubicBezTo>
                  <a:cubicBezTo>
                    <a:pt x="69" y="321"/>
                    <a:pt x="71" y="318"/>
                    <a:pt x="71" y="318"/>
                  </a:cubicBezTo>
                  <a:cubicBezTo>
                    <a:pt x="71" y="318"/>
                    <a:pt x="71" y="319"/>
                    <a:pt x="71" y="320"/>
                  </a:cubicBezTo>
                  <a:cubicBezTo>
                    <a:pt x="71" y="320"/>
                    <a:pt x="71" y="320"/>
                    <a:pt x="71" y="320"/>
                  </a:cubicBezTo>
                  <a:cubicBezTo>
                    <a:pt x="71" y="323"/>
                    <a:pt x="69" y="327"/>
                    <a:pt x="72" y="327"/>
                  </a:cubicBezTo>
                  <a:cubicBezTo>
                    <a:pt x="72" y="327"/>
                    <a:pt x="72" y="327"/>
                    <a:pt x="72" y="327"/>
                  </a:cubicBezTo>
                  <a:cubicBezTo>
                    <a:pt x="73" y="325"/>
                    <a:pt x="73" y="325"/>
                    <a:pt x="73" y="325"/>
                  </a:cubicBezTo>
                  <a:cubicBezTo>
                    <a:pt x="75" y="323"/>
                    <a:pt x="76" y="322"/>
                    <a:pt x="76" y="319"/>
                  </a:cubicBezTo>
                  <a:cubicBezTo>
                    <a:pt x="76" y="321"/>
                    <a:pt x="75" y="324"/>
                    <a:pt x="75" y="327"/>
                  </a:cubicBezTo>
                  <a:cubicBezTo>
                    <a:pt x="74" y="328"/>
                    <a:pt x="75" y="329"/>
                    <a:pt x="75" y="329"/>
                  </a:cubicBezTo>
                  <a:cubicBezTo>
                    <a:pt x="76" y="329"/>
                    <a:pt x="76" y="329"/>
                    <a:pt x="77" y="329"/>
                  </a:cubicBezTo>
                  <a:cubicBezTo>
                    <a:pt x="80" y="326"/>
                    <a:pt x="82" y="321"/>
                    <a:pt x="84" y="317"/>
                  </a:cubicBezTo>
                  <a:cubicBezTo>
                    <a:pt x="85" y="316"/>
                    <a:pt x="85" y="316"/>
                    <a:pt x="86" y="316"/>
                  </a:cubicBezTo>
                  <a:cubicBezTo>
                    <a:pt x="87" y="316"/>
                    <a:pt x="87" y="316"/>
                    <a:pt x="88" y="316"/>
                  </a:cubicBezTo>
                  <a:cubicBezTo>
                    <a:pt x="88" y="316"/>
                    <a:pt x="89" y="316"/>
                    <a:pt x="89" y="316"/>
                  </a:cubicBezTo>
                  <a:cubicBezTo>
                    <a:pt x="90" y="316"/>
                    <a:pt x="90" y="316"/>
                    <a:pt x="91" y="316"/>
                  </a:cubicBezTo>
                  <a:cubicBezTo>
                    <a:pt x="93" y="315"/>
                    <a:pt x="94" y="314"/>
                    <a:pt x="92" y="312"/>
                  </a:cubicBezTo>
                  <a:cubicBezTo>
                    <a:pt x="93" y="312"/>
                    <a:pt x="99" y="312"/>
                    <a:pt x="100" y="311"/>
                  </a:cubicBezTo>
                  <a:cubicBezTo>
                    <a:pt x="100" y="310"/>
                    <a:pt x="99" y="310"/>
                    <a:pt x="99" y="310"/>
                  </a:cubicBezTo>
                  <a:cubicBezTo>
                    <a:pt x="99" y="309"/>
                    <a:pt x="98" y="309"/>
                    <a:pt x="98" y="308"/>
                  </a:cubicBezTo>
                  <a:cubicBezTo>
                    <a:pt x="99" y="307"/>
                    <a:pt x="99" y="307"/>
                    <a:pt x="99" y="307"/>
                  </a:cubicBezTo>
                  <a:cubicBezTo>
                    <a:pt x="100" y="308"/>
                    <a:pt x="101" y="309"/>
                    <a:pt x="102" y="309"/>
                  </a:cubicBezTo>
                  <a:cubicBezTo>
                    <a:pt x="102" y="309"/>
                    <a:pt x="102" y="309"/>
                    <a:pt x="103" y="309"/>
                  </a:cubicBezTo>
                  <a:cubicBezTo>
                    <a:pt x="103" y="309"/>
                    <a:pt x="104" y="309"/>
                    <a:pt x="104" y="309"/>
                  </a:cubicBezTo>
                  <a:cubicBezTo>
                    <a:pt x="107" y="308"/>
                    <a:pt x="108" y="306"/>
                    <a:pt x="110" y="304"/>
                  </a:cubicBezTo>
                  <a:cubicBezTo>
                    <a:pt x="112" y="302"/>
                    <a:pt x="111" y="302"/>
                    <a:pt x="112" y="299"/>
                  </a:cubicBezTo>
                  <a:cubicBezTo>
                    <a:pt x="112" y="299"/>
                    <a:pt x="112" y="299"/>
                    <a:pt x="112" y="299"/>
                  </a:cubicBezTo>
                  <a:cubicBezTo>
                    <a:pt x="112" y="295"/>
                    <a:pt x="113" y="292"/>
                    <a:pt x="113" y="288"/>
                  </a:cubicBezTo>
                  <a:cubicBezTo>
                    <a:pt x="113" y="287"/>
                    <a:pt x="113" y="286"/>
                    <a:pt x="113" y="285"/>
                  </a:cubicBezTo>
                  <a:cubicBezTo>
                    <a:pt x="114" y="286"/>
                    <a:pt x="114" y="286"/>
                    <a:pt x="115" y="287"/>
                  </a:cubicBezTo>
                  <a:cubicBezTo>
                    <a:pt x="116" y="288"/>
                    <a:pt x="118" y="290"/>
                    <a:pt x="119" y="292"/>
                  </a:cubicBezTo>
                  <a:cubicBezTo>
                    <a:pt x="120" y="293"/>
                    <a:pt x="121" y="295"/>
                    <a:pt x="121" y="297"/>
                  </a:cubicBezTo>
                  <a:cubicBezTo>
                    <a:pt x="121" y="298"/>
                    <a:pt x="122" y="298"/>
                    <a:pt x="122" y="299"/>
                  </a:cubicBezTo>
                  <a:cubicBezTo>
                    <a:pt x="122" y="301"/>
                    <a:pt x="123" y="304"/>
                    <a:pt x="124" y="306"/>
                  </a:cubicBezTo>
                  <a:cubicBezTo>
                    <a:pt x="124" y="307"/>
                    <a:pt x="125" y="308"/>
                    <a:pt x="125" y="309"/>
                  </a:cubicBezTo>
                  <a:cubicBezTo>
                    <a:pt x="126" y="308"/>
                    <a:pt x="130" y="308"/>
                    <a:pt x="132" y="308"/>
                  </a:cubicBezTo>
                  <a:cubicBezTo>
                    <a:pt x="132" y="308"/>
                    <a:pt x="133" y="307"/>
                    <a:pt x="133" y="307"/>
                  </a:cubicBezTo>
                  <a:cubicBezTo>
                    <a:pt x="134" y="307"/>
                    <a:pt x="134" y="308"/>
                    <a:pt x="134" y="308"/>
                  </a:cubicBezTo>
                  <a:cubicBezTo>
                    <a:pt x="131" y="308"/>
                    <a:pt x="131" y="315"/>
                    <a:pt x="131" y="318"/>
                  </a:cubicBezTo>
                  <a:cubicBezTo>
                    <a:pt x="131" y="318"/>
                    <a:pt x="131" y="319"/>
                    <a:pt x="131" y="319"/>
                  </a:cubicBezTo>
                  <a:cubicBezTo>
                    <a:pt x="131" y="321"/>
                    <a:pt x="132" y="324"/>
                    <a:pt x="133" y="326"/>
                  </a:cubicBezTo>
                  <a:cubicBezTo>
                    <a:pt x="133" y="327"/>
                    <a:pt x="134" y="328"/>
                    <a:pt x="134" y="329"/>
                  </a:cubicBezTo>
                  <a:cubicBezTo>
                    <a:pt x="134" y="330"/>
                    <a:pt x="134" y="331"/>
                    <a:pt x="134" y="332"/>
                  </a:cubicBezTo>
                  <a:cubicBezTo>
                    <a:pt x="134" y="332"/>
                    <a:pt x="135" y="333"/>
                    <a:pt x="135" y="333"/>
                  </a:cubicBezTo>
                  <a:cubicBezTo>
                    <a:pt x="135" y="336"/>
                    <a:pt x="135" y="339"/>
                    <a:pt x="135" y="342"/>
                  </a:cubicBezTo>
                  <a:cubicBezTo>
                    <a:pt x="135" y="344"/>
                    <a:pt x="135" y="346"/>
                    <a:pt x="136" y="348"/>
                  </a:cubicBezTo>
                  <a:cubicBezTo>
                    <a:pt x="136" y="349"/>
                    <a:pt x="136" y="350"/>
                    <a:pt x="136" y="351"/>
                  </a:cubicBezTo>
                  <a:cubicBezTo>
                    <a:pt x="138" y="353"/>
                    <a:pt x="140" y="354"/>
                    <a:pt x="141" y="356"/>
                  </a:cubicBezTo>
                  <a:cubicBezTo>
                    <a:pt x="141" y="356"/>
                    <a:pt x="141" y="356"/>
                    <a:pt x="141" y="356"/>
                  </a:cubicBezTo>
                  <a:cubicBezTo>
                    <a:pt x="141" y="356"/>
                    <a:pt x="141" y="356"/>
                    <a:pt x="141" y="356"/>
                  </a:cubicBezTo>
                  <a:cubicBezTo>
                    <a:pt x="141" y="356"/>
                    <a:pt x="141" y="356"/>
                    <a:pt x="141" y="356"/>
                  </a:cubicBezTo>
                  <a:cubicBezTo>
                    <a:pt x="141" y="356"/>
                    <a:pt x="141" y="356"/>
                    <a:pt x="141" y="356"/>
                  </a:cubicBezTo>
                  <a:cubicBezTo>
                    <a:pt x="141" y="359"/>
                    <a:pt x="141" y="362"/>
                    <a:pt x="141" y="365"/>
                  </a:cubicBezTo>
                  <a:cubicBezTo>
                    <a:pt x="142" y="368"/>
                    <a:pt x="142" y="371"/>
                    <a:pt x="142" y="373"/>
                  </a:cubicBezTo>
                  <a:cubicBezTo>
                    <a:pt x="143" y="376"/>
                    <a:pt x="143" y="379"/>
                    <a:pt x="144" y="381"/>
                  </a:cubicBezTo>
                  <a:cubicBezTo>
                    <a:pt x="144" y="382"/>
                    <a:pt x="144" y="383"/>
                    <a:pt x="144" y="384"/>
                  </a:cubicBezTo>
                  <a:cubicBezTo>
                    <a:pt x="145" y="384"/>
                    <a:pt x="145" y="384"/>
                    <a:pt x="145" y="384"/>
                  </a:cubicBezTo>
                  <a:cubicBezTo>
                    <a:pt x="145" y="383"/>
                    <a:pt x="145" y="381"/>
                    <a:pt x="145" y="380"/>
                  </a:cubicBezTo>
                  <a:cubicBezTo>
                    <a:pt x="145" y="380"/>
                    <a:pt x="145" y="380"/>
                    <a:pt x="145" y="380"/>
                  </a:cubicBezTo>
                  <a:cubicBezTo>
                    <a:pt x="146" y="377"/>
                    <a:pt x="145" y="374"/>
                    <a:pt x="145" y="371"/>
                  </a:cubicBezTo>
                  <a:cubicBezTo>
                    <a:pt x="146" y="372"/>
                    <a:pt x="148" y="374"/>
                    <a:pt x="149" y="377"/>
                  </a:cubicBezTo>
                  <a:cubicBezTo>
                    <a:pt x="150" y="379"/>
                    <a:pt x="150" y="382"/>
                    <a:pt x="151" y="384"/>
                  </a:cubicBezTo>
                  <a:cubicBezTo>
                    <a:pt x="152" y="386"/>
                    <a:pt x="152" y="388"/>
                    <a:pt x="153" y="389"/>
                  </a:cubicBezTo>
                  <a:cubicBezTo>
                    <a:pt x="153" y="390"/>
                    <a:pt x="153" y="390"/>
                    <a:pt x="153" y="391"/>
                  </a:cubicBezTo>
                  <a:cubicBezTo>
                    <a:pt x="154" y="393"/>
                    <a:pt x="155" y="395"/>
                    <a:pt x="156" y="398"/>
                  </a:cubicBezTo>
                  <a:cubicBezTo>
                    <a:pt x="157" y="400"/>
                    <a:pt x="158" y="402"/>
                    <a:pt x="158" y="404"/>
                  </a:cubicBezTo>
                  <a:cubicBezTo>
                    <a:pt x="158" y="405"/>
                    <a:pt x="158" y="405"/>
                    <a:pt x="158" y="406"/>
                  </a:cubicBezTo>
                  <a:cubicBezTo>
                    <a:pt x="157" y="408"/>
                    <a:pt x="155" y="410"/>
                    <a:pt x="156" y="413"/>
                  </a:cubicBezTo>
                  <a:cubicBezTo>
                    <a:pt x="156" y="414"/>
                    <a:pt x="155" y="415"/>
                    <a:pt x="154" y="416"/>
                  </a:cubicBezTo>
                  <a:cubicBezTo>
                    <a:pt x="155" y="416"/>
                    <a:pt x="156" y="416"/>
                    <a:pt x="157" y="416"/>
                  </a:cubicBezTo>
                  <a:cubicBezTo>
                    <a:pt x="157" y="416"/>
                    <a:pt x="158" y="416"/>
                    <a:pt x="158" y="417"/>
                  </a:cubicBezTo>
                  <a:cubicBezTo>
                    <a:pt x="158" y="417"/>
                    <a:pt x="158" y="417"/>
                    <a:pt x="158" y="417"/>
                  </a:cubicBezTo>
                  <a:cubicBezTo>
                    <a:pt x="158" y="417"/>
                    <a:pt x="157" y="420"/>
                    <a:pt x="157" y="421"/>
                  </a:cubicBezTo>
                  <a:cubicBezTo>
                    <a:pt x="157" y="422"/>
                    <a:pt x="157" y="423"/>
                    <a:pt x="157" y="424"/>
                  </a:cubicBezTo>
                  <a:cubicBezTo>
                    <a:pt x="156" y="422"/>
                    <a:pt x="154" y="422"/>
                    <a:pt x="153" y="421"/>
                  </a:cubicBezTo>
                  <a:cubicBezTo>
                    <a:pt x="152" y="420"/>
                    <a:pt x="152" y="420"/>
                    <a:pt x="152" y="420"/>
                  </a:cubicBezTo>
                  <a:cubicBezTo>
                    <a:pt x="152" y="421"/>
                    <a:pt x="152" y="421"/>
                    <a:pt x="152" y="421"/>
                  </a:cubicBezTo>
                  <a:cubicBezTo>
                    <a:pt x="152" y="422"/>
                    <a:pt x="152" y="422"/>
                    <a:pt x="152" y="422"/>
                  </a:cubicBezTo>
                  <a:cubicBezTo>
                    <a:pt x="152" y="424"/>
                    <a:pt x="152" y="425"/>
                    <a:pt x="153" y="425"/>
                  </a:cubicBezTo>
                  <a:cubicBezTo>
                    <a:pt x="154" y="425"/>
                    <a:pt x="155" y="424"/>
                    <a:pt x="157" y="424"/>
                  </a:cubicBezTo>
                  <a:cubicBezTo>
                    <a:pt x="157" y="424"/>
                    <a:pt x="157" y="424"/>
                    <a:pt x="157" y="424"/>
                  </a:cubicBezTo>
                  <a:cubicBezTo>
                    <a:pt x="155" y="425"/>
                    <a:pt x="155" y="425"/>
                    <a:pt x="155" y="425"/>
                  </a:cubicBezTo>
                  <a:cubicBezTo>
                    <a:pt x="155" y="425"/>
                    <a:pt x="155" y="426"/>
                    <a:pt x="155" y="428"/>
                  </a:cubicBezTo>
                  <a:cubicBezTo>
                    <a:pt x="155" y="428"/>
                    <a:pt x="155" y="429"/>
                    <a:pt x="156" y="429"/>
                  </a:cubicBezTo>
                  <a:cubicBezTo>
                    <a:pt x="156" y="430"/>
                    <a:pt x="157" y="430"/>
                    <a:pt x="157" y="430"/>
                  </a:cubicBezTo>
                  <a:cubicBezTo>
                    <a:pt x="159" y="430"/>
                    <a:pt x="160" y="428"/>
                    <a:pt x="161" y="426"/>
                  </a:cubicBezTo>
                  <a:cubicBezTo>
                    <a:pt x="163" y="430"/>
                    <a:pt x="161" y="428"/>
                    <a:pt x="160" y="430"/>
                  </a:cubicBezTo>
                  <a:cubicBezTo>
                    <a:pt x="160" y="431"/>
                    <a:pt x="159" y="431"/>
                    <a:pt x="159" y="433"/>
                  </a:cubicBezTo>
                  <a:cubicBezTo>
                    <a:pt x="159" y="434"/>
                    <a:pt x="159" y="434"/>
                    <a:pt x="159" y="434"/>
                  </a:cubicBezTo>
                  <a:cubicBezTo>
                    <a:pt x="159" y="437"/>
                    <a:pt x="159" y="440"/>
                    <a:pt x="159" y="443"/>
                  </a:cubicBezTo>
                  <a:cubicBezTo>
                    <a:pt x="159" y="444"/>
                    <a:pt x="159" y="445"/>
                    <a:pt x="158" y="446"/>
                  </a:cubicBezTo>
                  <a:cubicBezTo>
                    <a:pt x="158" y="450"/>
                    <a:pt x="156" y="452"/>
                    <a:pt x="153" y="454"/>
                  </a:cubicBezTo>
                  <a:cubicBezTo>
                    <a:pt x="152" y="454"/>
                    <a:pt x="152" y="456"/>
                    <a:pt x="153" y="459"/>
                  </a:cubicBezTo>
                  <a:cubicBezTo>
                    <a:pt x="153" y="460"/>
                    <a:pt x="154" y="462"/>
                    <a:pt x="154" y="463"/>
                  </a:cubicBezTo>
                  <a:cubicBezTo>
                    <a:pt x="154" y="465"/>
                    <a:pt x="153" y="466"/>
                    <a:pt x="153" y="467"/>
                  </a:cubicBezTo>
                  <a:cubicBezTo>
                    <a:pt x="153" y="468"/>
                    <a:pt x="153" y="468"/>
                    <a:pt x="153" y="468"/>
                  </a:cubicBezTo>
                  <a:cubicBezTo>
                    <a:pt x="158" y="457"/>
                    <a:pt x="158" y="457"/>
                    <a:pt x="158" y="457"/>
                  </a:cubicBezTo>
                  <a:cubicBezTo>
                    <a:pt x="160" y="453"/>
                    <a:pt x="161" y="450"/>
                    <a:pt x="165" y="446"/>
                  </a:cubicBezTo>
                  <a:cubicBezTo>
                    <a:pt x="166" y="445"/>
                    <a:pt x="168" y="443"/>
                    <a:pt x="170" y="440"/>
                  </a:cubicBezTo>
                  <a:cubicBezTo>
                    <a:pt x="171" y="438"/>
                    <a:pt x="173" y="435"/>
                    <a:pt x="175" y="433"/>
                  </a:cubicBezTo>
                  <a:cubicBezTo>
                    <a:pt x="176" y="431"/>
                    <a:pt x="177" y="429"/>
                    <a:pt x="178" y="427"/>
                  </a:cubicBezTo>
                  <a:cubicBezTo>
                    <a:pt x="177" y="425"/>
                    <a:pt x="177" y="424"/>
                    <a:pt x="177" y="422"/>
                  </a:cubicBezTo>
                  <a:cubicBezTo>
                    <a:pt x="177" y="422"/>
                    <a:pt x="177" y="422"/>
                    <a:pt x="177" y="422"/>
                  </a:cubicBezTo>
                  <a:cubicBezTo>
                    <a:pt x="176" y="423"/>
                    <a:pt x="176" y="423"/>
                    <a:pt x="176" y="423"/>
                  </a:cubicBezTo>
                  <a:cubicBezTo>
                    <a:pt x="175" y="420"/>
                    <a:pt x="175" y="420"/>
                    <a:pt x="175" y="420"/>
                  </a:cubicBezTo>
                  <a:cubicBezTo>
                    <a:pt x="174" y="417"/>
                    <a:pt x="174" y="415"/>
                    <a:pt x="174" y="413"/>
                  </a:cubicBezTo>
                  <a:cubicBezTo>
                    <a:pt x="174" y="412"/>
                    <a:pt x="174" y="412"/>
                    <a:pt x="174" y="412"/>
                  </a:cubicBezTo>
                  <a:cubicBezTo>
                    <a:pt x="173" y="411"/>
                    <a:pt x="173" y="411"/>
                    <a:pt x="173" y="410"/>
                  </a:cubicBezTo>
                  <a:cubicBezTo>
                    <a:pt x="173" y="408"/>
                    <a:pt x="171" y="406"/>
                    <a:pt x="170" y="404"/>
                  </a:cubicBezTo>
                  <a:cubicBezTo>
                    <a:pt x="169" y="403"/>
                    <a:pt x="169" y="402"/>
                    <a:pt x="168" y="401"/>
                  </a:cubicBezTo>
                  <a:cubicBezTo>
                    <a:pt x="168" y="401"/>
                    <a:pt x="168" y="401"/>
                    <a:pt x="168" y="401"/>
                  </a:cubicBezTo>
                  <a:cubicBezTo>
                    <a:pt x="167" y="399"/>
                    <a:pt x="165" y="397"/>
                    <a:pt x="165" y="395"/>
                  </a:cubicBezTo>
                  <a:cubicBezTo>
                    <a:pt x="165" y="393"/>
                    <a:pt x="166" y="392"/>
                    <a:pt x="167" y="391"/>
                  </a:cubicBezTo>
                  <a:cubicBezTo>
                    <a:pt x="167" y="391"/>
                    <a:pt x="167" y="391"/>
                    <a:pt x="167" y="391"/>
                  </a:cubicBezTo>
                  <a:cubicBezTo>
                    <a:pt x="167" y="391"/>
                    <a:pt x="167" y="390"/>
                    <a:pt x="167" y="390"/>
                  </a:cubicBezTo>
                  <a:cubicBezTo>
                    <a:pt x="167" y="389"/>
                    <a:pt x="167" y="389"/>
                    <a:pt x="167" y="389"/>
                  </a:cubicBezTo>
                  <a:cubicBezTo>
                    <a:pt x="167" y="388"/>
                    <a:pt x="167" y="387"/>
                    <a:pt x="167" y="386"/>
                  </a:cubicBezTo>
                  <a:cubicBezTo>
                    <a:pt x="167" y="383"/>
                    <a:pt x="167" y="381"/>
                    <a:pt x="167" y="381"/>
                  </a:cubicBezTo>
                  <a:cubicBezTo>
                    <a:pt x="167" y="380"/>
                    <a:pt x="167" y="380"/>
                    <a:pt x="167" y="380"/>
                  </a:cubicBezTo>
                  <a:cubicBezTo>
                    <a:pt x="166" y="379"/>
                    <a:pt x="166" y="379"/>
                    <a:pt x="166" y="378"/>
                  </a:cubicBezTo>
                  <a:cubicBezTo>
                    <a:pt x="165" y="378"/>
                    <a:pt x="165" y="378"/>
                    <a:pt x="164" y="377"/>
                  </a:cubicBezTo>
                  <a:cubicBezTo>
                    <a:pt x="164" y="377"/>
                    <a:pt x="164" y="377"/>
                    <a:pt x="164" y="377"/>
                  </a:cubicBezTo>
                  <a:cubicBezTo>
                    <a:pt x="163" y="376"/>
                    <a:pt x="163" y="376"/>
                    <a:pt x="163" y="375"/>
                  </a:cubicBezTo>
                  <a:cubicBezTo>
                    <a:pt x="159" y="371"/>
                    <a:pt x="159" y="371"/>
                    <a:pt x="159" y="371"/>
                  </a:cubicBezTo>
                  <a:cubicBezTo>
                    <a:pt x="159" y="371"/>
                    <a:pt x="158" y="370"/>
                    <a:pt x="157" y="369"/>
                  </a:cubicBezTo>
                  <a:cubicBezTo>
                    <a:pt x="156" y="368"/>
                    <a:pt x="156" y="368"/>
                    <a:pt x="156" y="368"/>
                  </a:cubicBezTo>
                  <a:cubicBezTo>
                    <a:pt x="152" y="363"/>
                    <a:pt x="148" y="359"/>
                    <a:pt x="146" y="353"/>
                  </a:cubicBezTo>
                  <a:cubicBezTo>
                    <a:pt x="144" y="349"/>
                    <a:pt x="143" y="347"/>
                    <a:pt x="143" y="344"/>
                  </a:cubicBezTo>
                  <a:cubicBezTo>
                    <a:pt x="143" y="339"/>
                    <a:pt x="146" y="338"/>
                    <a:pt x="149" y="337"/>
                  </a:cubicBezTo>
                  <a:cubicBezTo>
                    <a:pt x="150" y="337"/>
                    <a:pt x="150" y="337"/>
                    <a:pt x="150" y="337"/>
                  </a:cubicBezTo>
                  <a:cubicBezTo>
                    <a:pt x="151" y="337"/>
                    <a:pt x="152" y="337"/>
                    <a:pt x="152" y="336"/>
                  </a:cubicBezTo>
                  <a:cubicBezTo>
                    <a:pt x="152" y="336"/>
                    <a:pt x="152" y="336"/>
                    <a:pt x="152" y="336"/>
                  </a:cubicBezTo>
                  <a:cubicBezTo>
                    <a:pt x="152" y="336"/>
                    <a:pt x="152" y="336"/>
                    <a:pt x="152" y="335"/>
                  </a:cubicBezTo>
                  <a:cubicBezTo>
                    <a:pt x="152" y="334"/>
                    <a:pt x="152" y="333"/>
                    <a:pt x="152" y="332"/>
                  </a:cubicBezTo>
                  <a:cubicBezTo>
                    <a:pt x="152" y="328"/>
                    <a:pt x="152" y="328"/>
                    <a:pt x="152" y="328"/>
                  </a:cubicBezTo>
                  <a:cubicBezTo>
                    <a:pt x="152" y="326"/>
                    <a:pt x="152" y="324"/>
                    <a:pt x="152" y="322"/>
                  </a:cubicBezTo>
                  <a:cubicBezTo>
                    <a:pt x="152" y="318"/>
                    <a:pt x="154" y="317"/>
                    <a:pt x="156" y="317"/>
                  </a:cubicBezTo>
                  <a:cubicBezTo>
                    <a:pt x="156" y="316"/>
                    <a:pt x="156" y="316"/>
                    <a:pt x="156" y="316"/>
                  </a:cubicBezTo>
                  <a:cubicBezTo>
                    <a:pt x="155" y="314"/>
                    <a:pt x="155" y="313"/>
                    <a:pt x="154" y="312"/>
                  </a:cubicBezTo>
                  <a:cubicBezTo>
                    <a:pt x="154" y="310"/>
                    <a:pt x="154" y="309"/>
                    <a:pt x="153" y="308"/>
                  </a:cubicBezTo>
                  <a:cubicBezTo>
                    <a:pt x="153" y="307"/>
                    <a:pt x="153" y="305"/>
                    <a:pt x="152" y="304"/>
                  </a:cubicBezTo>
                  <a:cubicBezTo>
                    <a:pt x="152" y="303"/>
                    <a:pt x="152" y="302"/>
                    <a:pt x="151" y="301"/>
                  </a:cubicBezTo>
                  <a:cubicBezTo>
                    <a:pt x="151" y="300"/>
                    <a:pt x="151" y="300"/>
                    <a:pt x="151" y="300"/>
                  </a:cubicBezTo>
                  <a:cubicBezTo>
                    <a:pt x="150" y="299"/>
                    <a:pt x="150" y="299"/>
                    <a:pt x="150" y="299"/>
                  </a:cubicBezTo>
                  <a:cubicBezTo>
                    <a:pt x="150" y="299"/>
                    <a:pt x="150" y="299"/>
                    <a:pt x="150" y="299"/>
                  </a:cubicBezTo>
                  <a:cubicBezTo>
                    <a:pt x="150" y="298"/>
                    <a:pt x="150" y="298"/>
                    <a:pt x="150" y="298"/>
                  </a:cubicBezTo>
                  <a:cubicBezTo>
                    <a:pt x="149" y="298"/>
                    <a:pt x="149" y="298"/>
                    <a:pt x="149" y="298"/>
                  </a:cubicBezTo>
                  <a:cubicBezTo>
                    <a:pt x="148" y="297"/>
                    <a:pt x="147" y="297"/>
                    <a:pt x="146" y="296"/>
                  </a:cubicBezTo>
                  <a:cubicBezTo>
                    <a:pt x="144" y="294"/>
                    <a:pt x="144" y="294"/>
                    <a:pt x="144" y="294"/>
                  </a:cubicBezTo>
                  <a:cubicBezTo>
                    <a:pt x="143" y="292"/>
                    <a:pt x="141" y="290"/>
                    <a:pt x="140" y="288"/>
                  </a:cubicBezTo>
                  <a:cubicBezTo>
                    <a:pt x="137" y="285"/>
                    <a:pt x="134" y="281"/>
                    <a:pt x="131" y="278"/>
                  </a:cubicBezTo>
                  <a:cubicBezTo>
                    <a:pt x="130" y="276"/>
                    <a:pt x="130" y="274"/>
                    <a:pt x="131" y="272"/>
                  </a:cubicBezTo>
                  <a:cubicBezTo>
                    <a:pt x="131" y="272"/>
                    <a:pt x="131" y="272"/>
                    <a:pt x="131" y="272"/>
                  </a:cubicBezTo>
                  <a:cubicBezTo>
                    <a:pt x="131" y="271"/>
                    <a:pt x="131" y="271"/>
                    <a:pt x="131" y="271"/>
                  </a:cubicBezTo>
                  <a:cubicBezTo>
                    <a:pt x="130" y="269"/>
                    <a:pt x="130" y="269"/>
                    <a:pt x="130" y="269"/>
                  </a:cubicBezTo>
                  <a:cubicBezTo>
                    <a:pt x="130" y="268"/>
                    <a:pt x="130" y="268"/>
                    <a:pt x="130" y="267"/>
                  </a:cubicBezTo>
                  <a:cubicBezTo>
                    <a:pt x="129" y="267"/>
                    <a:pt x="129" y="267"/>
                    <a:pt x="129" y="267"/>
                  </a:cubicBezTo>
                  <a:cubicBezTo>
                    <a:pt x="128" y="267"/>
                    <a:pt x="128" y="267"/>
                    <a:pt x="128" y="267"/>
                  </a:cubicBezTo>
                  <a:cubicBezTo>
                    <a:pt x="125" y="265"/>
                    <a:pt x="124" y="262"/>
                    <a:pt x="123" y="259"/>
                  </a:cubicBezTo>
                  <a:cubicBezTo>
                    <a:pt x="121" y="254"/>
                    <a:pt x="121" y="254"/>
                    <a:pt x="121" y="254"/>
                  </a:cubicBezTo>
                  <a:cubicBezTo>
                    <a:pt x="125" y="254"/>
                    <a:pt x="125" y="254"/>
                    <a:pt x="125" y="254"/>
                  </a:cubicBezTo>
                  <a:cubicBezTo>
                    <a:pt x="126" y="254"/>
                    <a:pt x="127" y="254"/>
                    <a:pt x="128" y="254"/>
                  </a:cubicBezTo>
                  <a:cubicBezTo>
                    <a:pt x="129" y="254"/>
                    <a:pt x="130" y="254"/>
                    <a:pt x="131" y="254"/>
                  </a:cubicBezTo>
                  <a:cubicBezTo>
                    <a:pt x="131" y="254"/>
                    <a:pt x="132" y="254"/>
                    <a:pt x="132" y="254"/>
                  </a:cubicBezTo>
                  <a:cubicBezTo>
                    <a:pt x="132" y="254"/>
                    <a:pt x="132" y="254"/>
                    <a:pt x="132" y="254"/>
                  </a:cubicBezTo>
                  <a:cubicBezTo>
                    <a:pt x="132" y="253"/>
                    <a:pt x="132" y="253"/>
                    <a:pt x="132" y="253"/>
                  </a:cubicBezTo>
                  <a:cubicBezTo>
                    <a:pt x="132" y="252"/>
                    <a:pt x="132" y="252"/>
                    <a:pt x="132" y="252"/>
                  </a:cubicBezTo>
                  <a:cubicBezTo>
                    <a:pt x="132" y="250"/>
                    <a:pt x="131" y="249"/>
                    <a:pt x="132" y="247"/>
                  </a:cubicBezTo>
                  <a:cubicBezTo>
                    <a:pt x="132" y="247"/>
                    <a:pt x="132" y="246"/>
                    <a:pt x="132" y="245"/>
                  </a:cubicBezTo>
                  <a:cubicBezTo>
                    <a:pt x="133" y="242"/>
                    <a:pt x="134" y="240"/>
                    <a:pt x="134" y="237"/>
                  </a:cubicBezTo>
                  <a:cubicBezTo>
                    <a:pt x="134" y="231"/>
                    <a:pt x="135" y="230"/>
                    <a:pt x="138" y="225"/>
                  </a:cubicBezTo>
                  <a:cubicBezTo>
                    <a:pt x="139" y="224"/>
                    <a:pt x="139" y="224"/>
                    <a:pt x="140" y="223"/>
                  </a:cubicBezTo>
                  <a:cubicBezTo>
                    <a:pt x="141" y="223"/>
                    <a:pt x="142" y="222"/>
                    <a:pt x="143" y="222"/>
                  </a:cubicBezTo>
                  <a:cubicBezTo>
                    <a:pt x="144" y="222"/>
                    <a:pt x="144" y="223"/>
                    <a:pt x="145" y="223"/>
                  </a:cubicBezTo>
                  <a:cubicBezTo>
                    <a:pt x="147" y="224"/>
                    <a:pt x="147" y="224"/>
                    <a:pt x="147" y="224"/>
                  </a:cubicBezTo>
                  <a:cubicBezTo>
                    <a:pt x="148" y="224"/>
                    <a:pt x="150" y="224"/>
                    <a:pt x="151" y="224"/>
                  </a:cubicBezTo>
                  <a:cubicBezTo>
                    <a:pt x="152" y="224"/>
                    <a:pt x="152" y="224"/>
                    <a:pt x="152" y="224"/>
                  </a:cubicBezTo>
                  <a:cubicBezTo>
                    <a:pt x="153" y="224"/>
                    <a:pt x="153" y="224"/>
                    <a:pt x="153" y="224"/>
                  </a:cubicBezTo>
                  <a:cubicBezTo>
                    <a:pt x="154" y="224"/>
                    <a:pt x="154" y="224"/>
                    <a:pt x="155" y="224"/>
                  </a:cubicBezTo>
                  <a:cubicBezTo>
                    <a:pt x="154" y="218"/>
                    <a:pt x="154" y="218"/>
                    <a:pt x="154" y="218"/>
                  </a:cubicBezTo>
                  <a:cubicBezTo>
                    <a:pt x="156" y="224"/>
                    <a:pt x="156" y="224"/>
                    <a:pt x="156" y="224"/>
                  </a:cubicBezTo>
                  <a:cubicBezTo>
                    <a:pt x="157" y="224"/>
                    <a:pt x="157" y="224"/>
                    <a:pt x="157" y="224"/>
                  </a:cubicBezTo>
                  <a:cubicBezTo>
                    <a:pt x="158" y="224"/>
                    <a:pt x="158" y="224"/>
                    <a:pt x="159" y="224"/>
                  </a:cubicBezTo>
                  <a:cubicBezTo>
                    <a:pt x="160" y="223"/>
                    <a:pt x="160" y="223"/>
                    <a:pt x="160" y="223"/>
                  </a:cubicBezTo>
                  <a:cubicBezTo>
                    <a:pt x="161" y="223"/>
                    <a:pt x="162" y="223"/>
                    <a:pt x="163" y="223"/>
                  </a:cubicBezTo>
                  <a:cubicBezTo>
                    <a:pt x="163" y="223"/>
                    <a:pt x="163" y="223"/>
                    <a:pt x="163" y="223"/>
                  </a:cubicBezTo>
                  <a:cubicBezTo>
                    <a:pt x="163" y="222"/>
                    <a:pt x="163" y="222"/>
                    <a:pt x="163" y="222"/>
                  </a:cubicBezTo>
                  <a:cubicBezTo>
                    <a:pt x="165" y="222"/>
                    <a:pt x="165" y="222"/>
                    <a:pt x="165" y="222"/>
                  </a:cubicBezTo>
                  <a:cubicBezTo>
                    <a:pt x="164" y="222"/>
                    <a:pt x="164" y="222"/>
                    <a:pt x="164" y="222"/>
                  </a:cubicBezTo>
                  <a:cubicBezTo>
                    <a:pt x="164" y="221"/>
                    <a:pt x="164" y="221"/>
                    <a:pt x="165" y="220"/>
                  </a:cubicBezTo>
                  <a:cubicBezTo>
                    <a:pt x="165" y="218"/>
                    <a:pt x="165" y="217"/>
                    <a:pt x="166" y="216"/>
                  </a:cubicBezTo>
                  <a:cubicBezTo>
                    <a:pt x="167" y="215"/>
                    <a:pt x="169" y="214"/>
                    <a:pt x="172" y="213"/>
                  </a:cubicBezTo>
                  <a:cubicBezTo>
                    <a:pt x="173" y="213"/>
                    <a:pt x="173" y="213"/>
                    <a:pt x="174" y="213"/>
                  </a:cubicBezTo>
                  <a:cubicBezTo>
                    <a:pt x="174" y="212"/>
                    <a:pt x="174" y="211"/>
                    <a:pt x="173" y="210"/>
                  </a:cubicBezTo>
                  <a:cubicBezTo>
                    <a:pt x="173" y="204"/>
                    <a:pt x="173" y="204"/>
                    <a:pt x="173" y="204"/>
                  </a:cubicBezTo>
                  <a:cubicBezTo>
                    <a:pt x="178" y="208"/>
                    <a:pt x="178" y="208"/>
                    <a:pt x="178" y="208"/>
                  </a:cubicBezTo>
                  <a:cubicBezTo>
                    <a:pt x="179" y="208"/>
                    <a:pt x="179" y="208"/>
                    <a:pt x="179" y="208"/>
                  </a:cubicBezTo>
                  <a:cubicBezTo>
                    <a:pt x="180" y="208"/>
                    <a:pt x="180" y="208"/>
                    <a:pt x="180" y="208"/>
                  </a:cubicBezTo>
                  <a:cubicBezTo>
                    <a:pt x="180" y="208"/>
                    <a:pt x="181" y="209"/>
                    <a:pt x="181" y="209"/>
                  </a:cubicBezTo>
                  <a:cubicBezTo>
                    <a:pt x="182" y="208"/>
                    <a:pt x="182" y="208"/>
                    <a:pt x="182" y="208"/>
                  </a:cubicBezTo>
                  <a:cubicBezTo>
                    <a:pt x="183" y="208"/>
                    <a:pt x="183" y="208"/>
                    <a:pt x="183" y="208"/>
                  </a:cubicBezTo>
                  <a:cubicBezTo>
                    <a:pt x="184" y="207"/>
                    <a:pt x="185" y="207"/>
                    <a:pt x="186" y="206"/>
                  </a:cubicBezTo>
                  <a:cubicBezTo>
                    <a:pt x="187" y="206"/>
                    <a:pt x="187" y="206"/>
                    <a:pt x="188" y="206"/>
                  </a:cubicBezTo>
                  <a:cubicBezTo>
                    <a:pt x="182" y="191"/>
                    <a:pt x="182" y="191"/>
                    <a:pt x="182" y="191"/>
                  </a:cubicBezTo>
                  <a:cubicBezTo>
                    <a:pt x="191" y="204"/>
                    <a:pt x="191" y="204"/>
                    <a:pt x="191" y="204"/>
                  </a:cubicBezTo>
                  <a:cubicBezTo>
                    <a:pt x="192" y="202"/>
                    <a:pt x="193" y="199"/>
                    <a:pt x="196" y="198"/>
                  </a:cubicBezTo>
                  <a:cubicBezTo>
                    <a:pt x="196" y="197"/>
                    <a:pt x="196" y="197"/>
                    <a:pt x="196" y="197"/>
                  </a:cubicBezTo>
                  <a:cubicBezTo>
                    <a:pt x="198" y="196"/>
                    <a:pt x="200" y="196"/>
                    <a:pt x="201" y="196"/>
                  </a:cubicBezTo>
                  <a:cubicBezTo>
                    <a:pt x="201" y="195"/>
                    <a:pt x="201" y="194"/>
                    <a:pt x="201" y="193"/>
                  </a:cubicBezTo>
                  <a:cubicBezTo>
                    <a:pt x="201" y="192"/>
                    <a:pt x="201" y="192"/>
                    <a:pt x="201" y="192"/>
                  </a:cubicBezTo>
                  <a:cubicBezTo>
                    <a:pt x="202" y="192"/>
                    <a:pt x="202" y="191"/>
                    <a:pt x="202" y="191"/>
                  </a:cubicBezTo>
                  <a:cubicBezTo>
                    <a:pt x="203" y="188"/>
                    <a:pt x="203" y="188"/>
                    <a:pt x="203" y="188"/>
                  </a:cubicBezTo>
                  <a:cubicBezTo>
                    <a:pt x="205" y="186"/>
                    <a:pt x="205" y="185"/>
                    <a:pt x="207" y="183"/>
                  </a:cubicBezTo>
                  <a:cubicBezTo>
                    <a:pt x="208" y="183"/>
                    <a:pt x="209" y="182"/>
                    <a:pt x="210" y="181"/>
                  </a:cubicBezTo>
                  <a:cubicBezTo>
                    <a:pt x="208" y="182"/>
                    <a:pt x="207" y="182"/>
                    <a:pt x="206" y="183"/>
                  </a:cubicBezTo>
                  <a:cubicBezTo>
                    <a:pt x="197" y="186"/>
                    <a:pt x="197" y="186"/>
                    <a:pt x="197" y="186"/>
                  </a:cubicBezTo>
                  <a:cubicBezTo>
                    <a:pt x="196" y="186"/>
                    <a:pt x="196" y="186"/>
                    <a:pt x="196" y="186"/>
                  </a:cubicBezTo>
                  <a:cubicBezTo>
                    <a:pt x="194" y="186"/>
                    <a:pt x="193" y="185"/>
                    <a:pt x="192" y="184"/>
                  </a:cubicBezTo>
                  <a:cubicBezTo>
                    <a:pt x="191" y="183"/>
                    <a:pt x="191" y="182"/>
                    <a:pt x="190" y="182"/>
                  </a:cubicBezTo>
                  <a:cubicBezTo>
                    <a:pt x="190" y="180"/>
                    <a:pt x="190" y="180"/>
                    <a:pt x="190" y="180"/>
                  </a:cubicBezTo>
                  <a:cubicBezTo>
                    <a:pt x="189" y="180"/>
                    <a:pt x="189" y="180"/>
                    <a:pt x="189" y="180"/>
                  </a:cubicBezTo>
                  <a:cubicBezTo>
                    <a:pt x="188" y="178"/>
                    <a:pt x="188" y="178"/>
                    <a:pt x="188" y="178"/>
                  </a:cubicBezTo>
                  <a:cubicBezTo>
                    <a:pt x="188" y="177"/>
                    <a:pt x="187" y="176"/>
                    <a:pt x="187" y="175"/>
                  </a:cubicBezTo>
                  <a:cubicBezTo>
                    <a:pt x="186" y="174"/>
                    <a:pt x="186" y="174"/>
                    <a:pt x="186" y="174"/>
                  </a:cubicBezTo>
                  <a:cubicBezTo>
                    <a:pt x="186" y="174"/>
                    <a:pt x="186" y="174"/>
                    <a:pt x="186" y="173"/>
                  </a:cubicBezTo>
                  <a:cubicBezTo>
                    <a:pt x="186" y="172"/>
                    <a:pt x="186" y="172"/>
                    <a:pt x="186" y="171"/>
                  </a:cubicBezTo>
                  <a:cubicBezTo>
                    <a:pt x="186" y="170"/>
                    <a:pt x="186" y="170"/>
                    <a:pt x="186" y="170"/>
                  </a:cubicBezTo>
                  <a:cubicBezTo>
                    <a:pt x="186" y="170"/>
                    <a:pt x="186" y="170"/>
                    <a:pt x="186" y="170"/>
                  </a:cubicBezTo>
                  <a:cubicBezTo>
                    <a:pt x="165" y="167"/>
                    <a:pt x="165" y="167"/>
                    <a:pt x="165" y="167"/>
                  </a:cubicBezTo>
                  <a:cubicBezTo>
                    <a:pt x="167" y="163"/>
                    <a:pt x="167" y="163"/>
                    <a:pt x="167" y="163"/>
                  </a:cubicBezTo>
                  <a:cubicBezTo>
                    <a:pt x="168" y="161"/>
                    <a:pt x="169" y="159"/>
                    <a:pt x="169" y="157"/>
                  </a:cubicBezTo>
                  <a:cubicBezTo>
                    <a:pt x="169" y="156"/>
                    <a:pt x="169" y="156"/>
                    <a:pt x="169" y="156"/>
                  </a:cubicBezTo>
                  <a:cubicBezTo>
                    <a:pt x="170" y="156"/>
                    <a:pt x="170" y="155"/>
                    <a:pt x="170" y="154"/>
                  </a:cubicBezTo>
                  <a:cubicBezTo>
                    <a:pt x="170" y="154"/>
                    <a:pt x="170" y="154"/>
                    <a:pt x="170" y="154"/>
                  </a:cubicBezTo>
                  <a:cubicBezTo>
                    <a:pt x="170" y="153"/>
                    <a:pt x="170" y="152"/>
                    <a:pt x="171" y="150"/>
                  </a:cubicBezTo>
                  <a:cubicBezTo>
                    <a:pt x="171" y="150"/>
                    <a:pt x="171" y="149"/>
                    <a:pt x="171" y="149"/>
                  </a:cubicBezTo>
                  <a:cubicBezTo>
                    <a:pt x="172" y="148"/>
                    <a:pt x="172" y="148"/>
                    <a:pt x="172" y="148"/>
                  </a:cubicBezTo>
                  <a:cubicBezTo>
                    <a:pt x="172" y="147"/>
                    <a:pt x="172" y="147"/>
                    <a:pt x="172" y="146"/>
                  </a:cubicBezTo>
                  <a:cubicBezTo>
                    <a:pt x="173" y="146"/>
                    <a:pt x="173" y="145"/>
                    <a:pt x="174" y="145"/>
                  </a:cubicBezTo>
                  <a:cubicBezTo>
                    <a:pt x="174" y="144"/>
                    <a:pt x="174" y="144"/>
                    <a:pt x="174" y="144"/>
                  </a:cubicBezTo>
                  <a:cubicBezTo>
                    <a:pt x="175" y="144"/>
                    <a:pt x="175" y="144"/>
                    <a:pt x="175" y="144"/>
                  </a:cubicBezTo>
                  <a:cubicBezTo>
                    <a:pt x="176" y="143"/>
                    <a:pt x="176" y="143"/>
                    <a:pt x="176" y="143"/>
                  </a:cubicBezTo>
                  <a:cubicBezTo>
                    <a:pt x="176" y="143"/>
                    <a:pt x="176" y="143"/>
                    <a:pt x="176" y="143"/>
                  </a:cubicBezTo>
                  <a:cubicBezTo>
                    <a:pt x="175" y="143"/>
                    <a:pt x="175" y="143"/>
                    <a:pt x="175" y="143"/>
                  </a:cubicBezTo>
                  <a:cubicBezTo>
                    <a:pt x="174" y="143"/>
                    <a:pt x="173" y="143"/>
                    <a:pt x="173" y="143"/>
                  </a:cubicBezTo>
                  <a:cubicBezTo>
                    <a:pt x="170" y="143"/>
                    <a:pt x="170" y="143"/>
                    <a:pt x="170" y="143"/>
                  </a:cubicBezTo>
                  <a:cubicBezTo>
                    <a:pt x="170" y="143"/>
                    <a:pt x="170" y="143"/>
                    <a:pt x="170" y="143"/>
                  </a:cubicBezTo>
                  <a:cubicBezTo>
                    <a:pt x="169" y="143"/>
                    <a:pt x="168" y="143"/>
                    <a:pt x="167" y="142"/>
                  </a:cubicBezTo>
                  <a:cubicBezTo>
                    <a:pt x="164" y="141"/>
                    <a:pt x="161" y="139"/>
                    <a:pt x="160" y="136"/>
                  </a:cubicBezTo>
                  <a:cubicBezTo>
                    <a:pt x="159" y="134"/>
                    <a:pt x="159" y="134"/>
                    <a:pt x="159" y="134"/>
                  </a:cubicBezTo>
                  <a:cubicBezTo>
                    <a:pt x="159" y="132"/>
                    <a:pt x="158" y="131"/>
                    <a:pt x="158" y="130"/>
                  </a:cubicBezTo>
                  <a:cubicBezTo>
                    <a:pt x="158" y="129"/>
                    <a:pt x="157" y="129"/>
                    <a:pt x="157" y="129"/>
                  </a:cubicBezTo>
                  <a:cubicBezTo>
                    <a:pt x="157" y="128"/>
                    <a:pt x="157" y="128"/>
                    <a:pt x="157" y="128"/>
                  </a:cubicBezTo>
                  <a:cubicBezTo>
                    <a:pt x="157" y="127"/>
                    <a:pt x="156" y="127"/>
                    <a:pt x="156" y="126"/>
                  </a:cubicBezTo>
                  <a:cubicBezTo>
                    <a:pt x="155" y="127"/>
                    <a:pt x="155" y="127"/>
                    <a:pt x="155" y="127"/>
                  </a:cubicBezTo>
                  <a:cubicBezTo>
                    <a:pt x="156" y="125"/>
                    <a:pt x="156" y="125"/>
                    <a:pt x="156" y="125"/>
                  </a:cubicBezTo>
                  <a:cubicBezTo>
                    <a:pt x="156" y="125"/>
                    <a:pt x="156" y="125"/>
                    <a:pt x="156" y="125"/>
                  </a:cubicBezTo>
                  <a:cubicBezTo>
                    <a:pt x="156" y="125"/>
                    <a:pt x="156" y="124"/>
                    <a:pt x="155" y="124"/>
                  </a:cubicBezTo>
                  <a:cubicBezTo>
                    <a:pt x="155" y="123"/>
                    <a:pt x="155" y="123"/>
                    <a:pt x="155" y="123"/>
                  </a:cubicBezTo>
                  <a:cubicBezTo>
                    <a:pt x="155" y="122"/>
                    <a:pt x="155" y="121"/>
                    <a:pt x="155" y="121"/>
                  </a:cubicBezTo>
                  <a:cubicBezTo>
                    <a:pt x="155" y="120"/>
                    <a:pt x="155" y="119"/>
                    <a:pt x="156" y="119"/>
                  </a:cubicBezTo>
                  <a:cubicBezTo>
                    <a:pt x="157" y="117"/>
                    <a:pt x="157" y="117"/>
                    <a:pt x="157" y="117"/>
                  </a:cubicBezTo>
                  <a:cubicBezTo>
                    <a:pt x="156" y="117"/>
                    <a:pt x="154" y="117"/>
                    <a:pt x="153" y="117"/>
                  </a:cubicBezTo>
                  <a:cubicBezTo>
                    <a:pt x="153" y="117"/>
                    <a:pt x="153" y="117"/>
                    <a:pt x="153" y="117"/>
                  </a:cubicBezTo>
                  <a:cubicBezTo>
                    <a:pt x="152" y="117"/>
                    <a:pt x="152" y="117"/>
                    <a:pt x="151" y="117"/>
                  </a:cubicBezTo>
                  <a:cubicBezTo>
                    <a:pt x="151" y="117"/>
                    <a:pt x="151" y="117"/>
                    <a:pt x="151" y="117"/>
                  </a:cubicBezTo>
                  <a:cubicBezTo>
                    <a:pt x="149" y="117"/>
                    <a:pt x="148" y="116"/>
                    <a:pt x="147" y="116"/>
                  </a:cubicBezTo>
                  <a:cubicBezTo>
                    <a:pt x="146" y="116"/>
                    <a:pt x="146" y="117"/>
                    <a:pt x="146" y="117"/>
                  </a:cubicBezTo>
                  <a:cubicBezTo>
                    <a:pt x="146" y="117"/>
                    <a:pt x="146" y="117"/>
                    <a:pt x="146" y="117"/>
                  </a:cubicBezTo>
                  <a:cubicBezTo>
                    <a:pt x="145" y="117"/>
                    <a:pt x="145" y="117"/>
                    <a:pt x="145" y="117"/>
                  </a:cubicBezTo>
                  <a:cubicBezTo>
                    <a:pt x="144" y="117"/>
                    <a:pt x="143" y="118"/>
                    <a:pt x="143" y="118"/>
                  </a:cubicBezTo>
                  <a:cubicBezTo>
                    <a:pt x="138" y="121"/>
                    <a:pt x="135" y="123"/>
                    <a:pt x="132" y="123"/>
                  </a:cubicBezTo>
                  <a:cubicBezTo>
                    <a:pt x="131" y="123"/>
                    <a:pt x="131" y="123"/>
                    <a:pt x="131" y="123"/>
                  </a:cubicBezTo>
                  <a:cubicBezTo>
                    <a:pt x="130" y="123"/>
                    <a:pt x="130" y="123"/>
                    <a:pt x="130" y="123"/>
                  </a:cubicBezTo>
                  <a:cubicBezTo>
                    <a:pt x="129" y="122"/>
                    <a:pt x="129" y="122"/>
                    <a:pt x="129" y="122"/>
                  </a:cubicBezTo>
                  <a:cubicBezTo>
                    <a:pt x="128" y="121"/>
                    <a:pt x="126" y="119"/>
                    <a:pt x="127" y="117"/>
                  </a:cubicBezTo>
                  <a:cubicBezTo>
                    <a:pt x="127" y="116"/>
                    <a:pt x="127" y="116"/>
                    <a:pt x="127" y="116"/>
                  </a:cubicBezTo>
                  <a:cubicBezTo>
                    <a:pt x="128" y="115"/>
                    <a:pt x="128" y="114"/>
                    <a:pt x="128" y="114"/>
                  </a:cubicBezTo>
                  <a:cubicBezTo>
                    <a:pt x="130" y="111"/>
                    <a:pt x="130" y="111"/>
                    <a:pt x="130" y="111"/>
                  </a:cubicBezTo>
                  <a:cubicBezTo>
                    <a:pt x="131" y="110"/>
                    <a:pt x="131" y="110"/>
                    <a:pt x="130" y="109"/>
                  </a:cubicBezTo>
                  <a:cubicBezTo>
                    <a:pt x="130" y="108"/>
                    <a:pt x="130" y="108"/>
                    <a:pt x="130" y="108"/>
                  </a:cubicBezTo>
                  <a:cubicBezTo>
                    <a:pt x="129" y="108"/>
                    <a:pt x="129" y="108"/>
                    <a:pt x="129" y="108"/>
                  </a:cubicBezTo>
                  <a:cubicBezTo>
                    <a:pt x="128" y="108"/>
                    <a:pt x="127" y="107"/>
                    <a:pt x="126" y="105"/>
                  </a:cubicBezTo>
                  <a:cubicBezTo>
                    <a:pt x="126" y="104"/>
                    <a:pt x="126" y="104"/>
                    <a:pt x="126" y="104"/>
                  </a:cubicBezTo>
                  <a:cubicBezTo>
                    <a:pt x="126" y="103"/>
                    <a:pt x="126" y="103"/>
                    <a:pt x="126" y="102"/>
                  </a:cubicBezTo>
                  <a:cubicBezTo>
                    <a:pt x="126" y="100"/>
                    <a:pt x="126" y="96"/>
                    <a:pt x="130" y="94"/>
                  </a:cubicBezTo>
                  <a:cubicBezTo>
                    <a:pt x="131" y="94"/>
                    <a:pt x="131" y="94"/>
                    <a:pt x="131" y="93"/>
                  </a:cubicBezTo>
                  <a:cubicBezTo>
                    <a:pt x="132" y="93"/>
                    <a:pt x="132" y="93"/>
                    <a:pt x="132" y="93"/>
                  </a:cubicBezTo>
                  <a:cubicBezTo>
                    <a:pt x="132" y="93"/>
                    <a:pt x="132" y="93"/>
                    <a:pt x="132" y="93"/>
                  </a:cubicBezTo>
                  <a:cubicBezTo>
                    <a:pt x="132" y="93"/>
                    <a:pt x="132" y="93"/>
                    <a:pt x="132" y="93"/>
                  </a:cubicBezTo>
                  <a:cubicBezTo>
                    <a:pt x="132" y="93"/>
                    <a:pt x="132" y="93"/>
                    <a:pt x="132" y="93"/>
                  </a:cubicBezTo>
                  <a:cubicBezTo>
                    <a:pt x="132" y="91"/>
                    <a:pt x="132" y="91"/>
                    <a:pt x="132" y="91"/>
                  </a:cubicBezTo>
                  <a:cubicBezTo>
                    <a:pt x="132" y="90"/>
                    <a:pt x="133" y="89"/>
                    <a:pt x="133" y="87"/>
                  </a:cubicBezTo>
                  <a:cubicBezTo>
                    <a:pt x="133" y="84"/>
                    <a:pt x="134" y="83"/>
                    <a:pt x="136" y="81"/>
                  </a:cubicBezTo>
                  <a:cubicBezTo>
                    <a:pt x="137" y="80"/>
                    <a:pt x="137" y="80"/>
                    <a:pt x="137" y="80"/>
                  </a:cubicBezTo>
                  <a:cubicBezTo>
                    <a:pt x="137" y="80"/>
                    <a:pt x="137" y="80"/>
                    <a:pt x="137" y="80"/>
                  </a:cubicBezTo>
                  <a:cubicBezTo>
                    <a:pt x="138" y="80"/>
                    <a:pt x="138" y="80"/>
                    <a:pt x="138" y="80"/>
                  </a:cubicBezTo>
                  <a:cubicBezTo>
                    <a:pt x="138" y="80"/>
                    <a:pt x="138" y="80"/>
                    <a:pt x="139" y="80"/>
                  </a:cubicBezTo>
                  <a:cubicBezTo>
                    <a:pt x="139" y="79"/>
                    <a:pt x="139" y="79"/>
                    <a:pt x="139" y="79"/>
                  </a:cubicBezTo>
                  <a:cubicBezTo>
                    <a:pt x="140" y="79"/>
                    <a:pt x="140" y="79"/>
                    <a:pt x="141" y="79"/>
                  </a:cubicBezTo>
                  <a:cubicBezTo>
                    <a:pt x="141" y="78"/>
                    <a:pt x="141" y="78"/>
                    <a:pt x="141" y="78"/>
                  </a:cubicBezTo>
                  <a:cubicBezTo>
                    <a:pt x="141" y="77"/>
                    <a:pt x="141" y="77"/>
                    <a:pt x="141" y="77"/>
                  </a:cubicBezTo>
                  <a:cubicBezTo>
                    <a:pt x="141" y="76"/>
                    <a:pt x="141" y="76"/>
                    <a:pt x="141" y="76"/>
                  </a:cubicBezTo>
                  <a:cubicBezTo>
                    <a:pt x="141" y="75"/>
                    <a:pt x="142" y="74"/>
                    <a:pt x="144" y="73"/>
                  </a:cubicBezTo>
                  <a:cubicBezTo>
                    <a:pt x="144" y="72"/>
                    <a:pt x="145" y="72"/>
                    <a:pt x="146" y="72"/>
                  </a:cubicBezTo>
                  <a:cubicBezTo>
                    <a:pt x="146" y="72"/>
                    <a:pt x="147" y="72"/>
                    <a:pt x="148" y="73"/>
                  </a:cubicBezTo>
                  <a:cubicBezTo>
                    <a:pt x="148" y="73"/>
                    <a:pt x="148" y="73"/>
                    <a:pt x="148" y="73"/>
                  </a:cubicBezTo>
                  <a:cubicBezTo>
                    <a:pt x="148" y="73"/>
                    <a:pt x="148" y="73"/>
                    <a:pt x="149" y="73"/>
                  </a:cubicBezTo>
                  <a:cubicBezTo>
                    <a:pt x="149" y="73"/>
                    <a:pt x="151" y="71"/>
                    <a:pt x="152" y="70"/>
                  </a:cubicBezTo>
                  <a:cubicBezTo>
                    <a:pt x="152" y="69"/>
                    <a:pt x="153" y="69"/>
                    <a:pt x="153" y="68"/>
                  </a:cubicBezTo>
                  <a:cubicBezTo>
                    <a:pt x="154" y="68"/>
                    <a:pt x="154" y="68"/>
                    <a:pt x="154" y="68"/>
                  </a:cubicBezTo>
                  <a:cubicBezTo>
                    <a:pt x="154" y="67"/>
                    <a:pt x="154" y="67"/>
                    <a:pt x="154" y="67"/>
                  </a:cubicBezTo>
                  <a:cubicBezTo>
                    <a:pt x="154" y="67"/>
                    <a:pt x="154" y="66"/>
                    <a:pt x="153" y="65"/>
                  </a:cubicBezTo>
                  <a:cubicBezTo>
                    <a:pt x="153" y="65"/>
                    <a:pt x="153" y="65"/>
                    <a:pt x="153" y="65"/>
                  </a:cubicBezTo>
                  <a:cubicBezTo>
                    <a:pt x="153" y="63"/>
                    <a:pt x="152" y="62"/>
                    <a:pt x="153" y="60"/>
                  </a:cubicBezTo>
                  <a:cubicBezTo>
                    <a:pt x="153" y="59"/>
                    <a:pt x="153" y="59"/>
                    <a:pt x="153" y="59"/>
                  </a:cubicBezTo>
                  <a:cubicBezTo>
                    <a:pt x="154" y="58"/>
                    <a:pt x="154" y="58"/>
                    <a:pt x="154" y="58"/>
                  </a:cubicBezTo>
                  <a:cubicBezTo>
                    <a:pt x="154" y="57"/>
                    <a:pt x="154" y="56"/>
                    <a:pt x="155" y="55"/>
                  </a:cubicBezTo>
                  <a:cubicBezTo>
                    <a:pt x="155" y="54"/>
                    <a:pt x="155" y="54"/>
                    <a:pt x="155" y="54"/>
                  </a:cubicBezTo>
                  <a:cubicBezTo>
                    <a:pt x="155" y="53"/>
                    <a:pt x="156" y="53"/>
                    <a:pt x="156" y="52"/>
                  </a:cubicBezTo>
                  <a:cubicBezTo>
                    <a:pt x="156" y="51"/>
                    <a:pt x="156" y="51"/>
                    <a:pt x="156" y="50"/>
                  </a:cubicBezTo>
                  <a:cubicBezTo>
                    <a:pt x="157" y="48"/>
                    <a:pt x="157" y="45"/>
                    <a:pt x="157" y="41"/>
                  </a:cubicBezTo>
                  <a:cubicBezTo>
                    <a:pt x="157" y="40"/>
                    <a:pt x="157" y="39"/>
                    <a:pt x="156" y="39"/>
                  </a:cubicBezTo>
                  <a:cubicBezTo>
                    <a:pt x="156" y="36"/>
                    <a:pt x="156" y="36"/>
                    <a:pt x="156" y="36"/>
                  </a:cubicBezTo>
                  <a:cubicBezTo>
                    <a:pt x="156" y="33"/>
                    <a:pt x="156" y="28"/>
                    <a:pt x="156" y="25"/>
                  </a:cubicBezTo>
                  <a:cubicBezTo>
                    <a:pt x="156" y="25"/>
                    <a:pt x="155" y="24"/>
                    <a:pt x="155" y="24"/>
                  </a:cubicBezTo>
                  <a:cubicBezTo>
                    <a:pt x="155" y="24"/>
                    <a:pt x="155" y="24"/>
                    <a:pt x="155" y="24"/>
                  </a:cubicBezTo>
                  <a:cubicBezTo>
                    <a:pt x="155" y="25"/>
                    <a:pt x="155" y="25"/>
                    <a:pt x="155" y="25"/>
                  </a:cubicBezTo>
                  <a:cubicBezTo>
                    <a:pt x="150" y="24"/>
                    <a:pt x="150" y="24"/>
                    <a:pt x="150" y="24"/>
                  </a:cubicBezTo>
                  <a:cubicBezTo>
                    <a:pt x="148" y="23"/>
                    <a:pt x="146" y="22"/>
                    <a:pt x="145" y="20"/>
                  </a:cubicBezTo>
                  <a:cubicBezTo>
                    <a:pt x="143" y="18"/>
                    <a:pt x="143" y="15"/>
                    <a:pt x="142" y="13"/>
                  </a:cubicBezTo>
                  <a:cubicBezTo>
                    <a:pt x="142" y="11"/>
                    <a:pt x="142" y="9"/>
                    <a:pt x="140" y="7"/>
                  </a:cubicBezTo>
                  <a:cubicBezTo>
                    <a:pt x="140" y="7"/>
                    <a:pt x="140" y="7"/>
                    <a:pt x="140" y="7"/>
                  </a:cubicBezTo>
                  <a:cubicBezTo>
                    <a:pt x="139" y="6"/>
                    <a:pt x="139" y="6"/>
                    <a:pt x="138" y="5"/>
                  </a:cubicBezTo>
                  <a:cubicBezTo>
                    <a:pt x="137" y="4"/>
                    <a:pt x="137" y="4"/>
                    <a:pt x="137" y="4"/>
                  </a:cubicBezTo>
                  <a:cubicBezTo>
                    <a:pt x="137" y="4"/>
                    <a:pt x="136" y="4"/>
                    <a:pt x="136" y="4"/>
                  </a:cubicBezTo>
                  <a:cubicBezTo>
                    <a:pt x="135" y="3"/>
                    <a:pt x="135" y="3"/>
                    <a:pt x="135" y="3"/>
                  </a:cubicBezTo>
                  <a:cubicBezTo>
                    <a:pt x="134" y="3"/>
                    <a:pt x="133" y="2"/>
                    <a:pt x="132" y="2"/>
                  </a:cubicBezTo>
                  <a:cubicBezTo>
                    <a:pt x="132" y="1"/>
                    <a:pt x="132" y="1"/>
                    <a:pt x="132" y="1"/>
                  </a:cubicBezTo>
                  <a:cubicBezTo>
                    <a:pt x="131" y="0"/>
                    <a:pt x="131" y="0"/>
                    <a:pt x="1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518"/>
            <p:cNvSpPr/>
            <p:nvPr/>
          </p:nvSpPr>
          <p:spPr bwMode="auto">
            <a:xfrm>
              <a:off x="5473483" y="4248307"/>
              <a:ext cx="12088" cy="21490"/>
            </a:xfrm>
            <a:custGeom>
              <a:gdLst>
                <a:gd name="T0" fmla="*/ 1 w 4"/>
                <a:gd name="T1" fmla="*/ 0 h 7"/>
                <a:gd name="T2" fmla="*/ 1 w 4"/>
                <a:gd name="T3" fmla="*/ 0 h 7"/>
                <a:gd name="T4" fmla="*/ 0 w 4"/>
                <a:gd name="T5" fmla="*/ 1 h 7"/>
                <a:gd name="T6" fmla="*/ 3 w 4"/>
                <a:gd name="T7" fmla="*/ 7 h 7"/>
                <a:gd name="T8" fmla="*/ 4 w 4"/>
                <a:gd name="T9" fmla="*/ 4 h 7"/>
                <a:gd name="T10" fmla="*/ 4 w 4"/>
                <a:gd name="T11" fmla="*/ 3 h 7"/>
                <a:gd name="T12" fmla="*/ 2 w 4"/>
                <a:gd name="T13" fmla="*/ 2 h 7"/>
                <a:gd name="T14" fmla="*/ 2 w 4"/>
                <a:gd name="T15" fmla="*/ 1 h 7"/>
                <a:gd name="T16" fmla="*/ 1 w 4"/>
                <a:gd name="T17" fmla="*/ 0 h 7"/>
                <a:gd name="T18" fmla="*/ 1 w 4"/>
                <a:gd name="T19" fmla="*/ 0 h 7"/>
                <a:gd name="T20" fmla="*/ 1 w 4"/>
                <a:gd name="T2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7">
                  <a:moveTo>
                    <a:pt x="1" y="0"/>
                  </a:moveTo>
                  <a:cubicBezTo>
                    <a:pt x="1" y="0"/>
                    <a:pt x="1" y="0"/>
                    <a:pt x="1" y="0"/>
                  </a:cubicBezTo>
                  <a:cubicBezTo>
                    <a:pt x="0" y="1"/>
                    <a:pt x="0" y="1"/>
                    <a:pt x="0" y="1"/>
                  </a:cubicBezTo>
                  <a:cubicBezTo>
                    <a:pt x="3" y="7"/>
                    <a:pt x="3" y="7"/>
                    <a:pt x="3" y="7"/>
                  </a:cubicBezTo>
                  <a:cubicBezTo>
                    <a:pt x="3" y="6"/>
                    <a:pt x="4" y="5"/>
                    <a:pt x="4" y="4"/>
                  </a:cubicBezTo>
                  <a:cubicBezTo>
                    <a:pt x="4" y="4"/>
                    <a:pt x="4" y="3"/>
                    <a:pt x="4" y="3"/>
                  </a:cubicBezTo>
                  <a:cubicBezTo>
                    <a:pt x="3" y="2"/>
                    <a:pt x="3" y="2"/>
                    <a:pt x="2" y="2"/>
                  </a:cubicBezTo>
                  <a:cubicBezTo>
                    <a:pt x="2" y="1"/>
                    <a:pt x="2" y="1"/>
                    <a:pt x="2" y="1"/>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Rectangle 519"/>
            <p:cNvSpPr>
              <a:spLocks noChangeArrowheads="1"/>
            </p:cNvSpPr>
            <p:nvPr/>
          </p:nvSpPr>
          <p:spPr bwMode="auto">
            <a:xfrm>
              <a:off x="5540640" y="4476638"/>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520"/>
            <p:cNvSpPr/>
            <p:nvPr/>
          </p:nvSpPr>
          <p:spPr bwMode="auto">
            <a:xfrm flipH="1">
              <a:off x="5540640" y="447663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521"/>
            <p:cNvSpPr/>
            <p:nvPr/>
          </p:nvSpPr>
          <p:spPr bwMode="auto">
            <a:xfrm>
              <a:off x="5261269" y="4241591"/>
              <a:ext cx="617838" cy="1155088"/>
            </a:xfrm>
            <a:custGeom>
              <a:gdLst>
                <a:gd name="T0" fmla="*/ 51 w 195"/>
                <a:gd name="T1" fmla="*/ 3 h 364"/>
                <a:gd name="T2" fmla="*/ 42 w 195"/>
                <a:gd name="T3" fmla="*/ 7 h 364"/>
                <a:gd name="T4" fmla="*/ 37 w 195"/>
                <a:gd name="T5" fmla="*/ 15 h 364"/>
                <a:gd name="T6" fmla="*/ 29 w 195"/>
                <a:gd name="T7" fmla="*/ 24 h 364"/>
                <a:gd name="T8" fmla="*/ 15 w 195"/>
                <a:gd name="T9" fmla="*/ 17 h 364"/>
                <a:gd name="T10" fmla="*/ 8 w 195"/>
                <a:gd name="T11" fmla="*/ 36 h 364"/>
                <a:gd name="T12" fmla="*/ 8 w 195"/>
                <a:gd name="T13" fmla="*/ 43 h 364"/>
                <a:gd name="T14" fmla="*/ 1 w 195"/>
                <a:gd name="T15" fmla="*/ 49 h 364"/>
                <a:gd name="T16" fmla="*/ 6 w 195"/>
                <a:gd name="T17" fmla="*/ 55 h 364"/>
                <a:gd name="T18" fmla="*/ 20 w 195"/>
                <a:gd name="T19" fmla="*/ 80 h 364"/>
                <a:gd name="T20" fmla="*/ 26 w 195"/>
                <a:gd name="T21" fmla="*/ 85 h 364"/>
                <a:gd name="T22" fmla="*/ 32 w 195"/>
                <a:gd name="T23" fmla="*/ 92 h 364"/>
                <a:gd name="T24" fmla="*/ 34 w 195"/>
                <a:gd name="T25" fmla="*/ 108 h 364"/>
                <a:gd name="T26" fmla="*/ 28 w 195"/>
                <a:gd name="T27" fmla="*/ 123 h 364"/>
                <a:gd name="T28" fmla="*/ 31 w 195"/>
                <a:gd name="T29" fmla="*/ 152 h 364"/>
                <a:gd name="T30" fmla="*/ 40 w 195"/>
                <a:gd name="T31" fmla="*/ 162 h 364"/>
                <a:gd name="T32" fmla="*/ 42 w 195"/>
                <a:gd name="T33" fmla="*/ 182 h 364"/>
                <a:gd name="T34" fmla="*/ 45 w 195"/>
                <a:gd name="T35" fmla="*/ 188 h 364"/>
                <a:gd name="T36" fmla="*/ 53 w 195"/>
                <a:gd name="T37" fmla="*/ 212 h 364"/>
                <a:gd name="T38" fmla="*/ 34 w 195"/>
                <a:gd name="T39" fmla="*/ 247 h 364"/>
                <a:gd name="T40" fmla="*/ 17 w 195"/>
                <a:gd name="T41" fmla="*/ 281 h 364"/>
                <a:gd name="T42" fmla="*/ 17 w 195"/>
                <a:gd name="T43" fmla="*/ 303 h 364"/>
                <a:gd name="T44" fmla="*/ 37 w 195"/>
                <a:gd name="T45" fmla="*/ 312 h 364"/>
                <a:gd name="T46" fmla="*/ 49 w 195"/>
                <a:gd name="T47" fmla="*/ 325 h 364"/>
                <a:gd name="T48" fmla="*/ 62 w 195"/>
                <a:gd name="T49" fmla="*/ 342 h 364"/>
                <a:gd name="T50" fmla="*/ 81 w 195"/>
                <a:gd name="T51" fmla="*/ 345 h 364"/>
                <a:gd name="T52" fmla="*/ 91 w 195"/>
                <a:gd name="T53" fmla="*/ 357 h 364"/>
                <a:gd name="T54" fmla="*/ 97 w 195"/>
                <a:gd name="T55" fmla="*/ 359 h 364"/>
                <a:gd name="T56" fmla="*/ 107 w 195"/>
                <a:gd name="T57" fmla="*/ 349 h 364"/>
                <a:gd name="T58" fmla="*/ 87 w 195"/>
                <a:gd name="T59" fmla="*/ 338 h 364"/>
                <a:gd name="T60" fmla="*/ 69 w 195"/>
                <a:gd name="T61" fmla="*/ 327 h 364"/>
                <a:gd name="T62" fmla="*/ 59 w 195"/>
                <a:gd name="T63" fmla="*/ 289 h 364"/>
                <a:gd name="T64" fmla="*/ 43 w 195"/>
                <a:gd name="T65" fmla="*/ 275 h 364"/>
                <a:gd name="T66" fmla="*/ 59 w 195"/>
                <a:gd name="T67" fmla="*/ 208 h 364"/>
                <a:gd name="T68" fmla="*/ 71 w 195"/>
                <a:gd name="T69" fmla="*/ 173 h 364"/>
                <a:gd name="T70" fmla="*/ 81 w 195"/>
                <a:gd name="T71" fmla="*/ 191 h 364"/>
                <a:gd name="T72" fmla="*/ 116 w 195"/>
                <a:gd name="T73" fmla="*/ 202 h 364"/>
                <a:gd name="T74" fmla="*/ 126 w 195"/>
                <a:gd name="T75" fmla="*/ 203 h 364"/>
                <a:gd name="T76" fmla="*/ 120 w 195"/>
                <a:gd name="T77" fmla="*/ 195 h 364"/>
                <a:gd name="T78" fmla="*/ 118 w 195"/>
                <a:gd name="T79" fmla="*/ 169 h 364"/>
                <a:gd name="T80" fmla="*/ 146 w 195"/>
                <a:gd name="T81" fmla="*/ 147 h 364"/>
                <a:gd name="T82" fmla="*/ 172 w 195"/>
                <a:gd name="T83" fmla="*/ 148 h 364"/>
                <a:gd name="T84" fmla="*/ 186 w 195"/>
                <a:gd name="T85" fmla="*/ 149 h 364"/>
                <a:gd name="T86" fmla="*/ 192 w 195"/>
                <a:gd name="T87" fmla="*/ 129 h 364"/>
                <a:gd name="T88" fmla="*/ 195 w 195"/>
                <a:gd name="T89" fmla="*/ 120 h 364"/>
                <a:gd name="T90" fmla="*/ 179 w 195"/>
                <a:gd name="T91" fmla="*/ 104 h 364"/>
                <a:gd name="T92" fmla="*/ 174 w 195"/>
                <a:gd name="T93" fmla="*/ 94 h 364"/>
                <a:gd name="T94" fmla="*/ 175 w 195"/>
                <a:gd name="T95" fmla="*/ 79 h 364"/>
                <a:gd name="T96" fmla="*/ 161 w 195"/>
                <a:gd name="T97" fmla="*/ 61 h 364"/>
                <a:gd name="T98" fmla="*/ 147 w 195"/>
                <a:gd name="T99" fmla="*/ 52 h 364"/>
                <a:gd name="T100" fmla="*/ 139 w 195"/>
                <a:gd name="T101" fmla="*/ 57 h 364"/>
                <a:gd name="T102" fmla="*/ 129 w 195"/>
                <a:gd name="T103" fmla="*/ 64 h 364"/>
                <a:gd name="T104" fmla="*/ 112 w 195"/>
                <a:gd name="T105" fmla="*/ 58 h 364"/>
                <a:gd name="T106" fmla="*/ 89 w 195"/>
                <a:gd name="T107" fmla="*/ 76 h 364"/>
                <a:gd name="T108" fmla="*/ 83 w 195"/>
                <a:gd name="T109" fmla="*/ 73 h 364"/>
                <a:gd name="T110" fmla="*/ 83 w 195"/>
                <a:gd name="T111" fmla="*/ 61 h 364"/>
                <a:gd name="T112" fmla="*/ 84 w 195"/>
                <a:gd name="T113" fmla="*/ 49 h 364"/>
                <a:gd name="T114" fmla="*/ 89 w 195"/>
                <a:gd name="T115" fmla="*/ 33 h 364"/>
                <a:gd name="T116" fmla="*/ 87 w 195"/>
                <a:gd name="T117" fmla="*/ 23 h 364"/>
                <a:gd name="T118" fmla="*/ 74 w 195"/>
                <a:gd name="T119" fmla="*/ 24 h 364"/>
                <a:gd name="T120" fmla="*/ 68 w 195"/>
                <a:gd name="T121" fmla="*/ 13 h 364"/>
                <a:gd name="T122" fmla="*/ 59 w 195"/>
                <a:gd name="T123" fmla="*/ 1 h 3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 h="364">
                  <a:moveTo>
                    <a:pt x="59" y="0"/>
                  </a:moveTo>
                  <a:cubicBezTo>
                    <a:pt x="57" y="1"/>
                    <a:pt x="56" y="1"/>
                    <a:pt x="55" y="1"/>
                  </a:cubicBezTo>
                  <a:cubicBezTo>
                    <a:pt x="54" y="2"/>
                    <a:pt x="53" y="2"/>
                    <a:pt x="53" y="3"/>
                  </a:cubicBezTo>
                  <a:cubicBezTo>
                    <a:pt x="52" y="3"/>
                    <a:pt x="52" y="3"/>
                    <a:pt x="52" y="3"/>
                  </a:cubicBezTo>
                  <a:cubicBezTo>
                    <a:pt x="51" y="3"/>
                    <a:pt x="51" y="3"/>
                    <a:pt x="51" y="3"/>
                  </a:cubicBezTo>
                  <a:cubicBezTo>
                    <a:pt x="51" y="3"/>
                    <a:pt x="51" y="3"/>
                    <a:pt x="51" y="3"/>
                  </a:cubicBezTo>
                  <a:cubicBezTo>
                    <a:pt x="52" y="7"/>
                    <a:pt x="52" y="7"/>
                    <a:pt x="52" y="7"/>
                  </a:cubicBezTo>
                  <a:cubicBezTo>
                    <a:pt x="48" y="7"/>
                    <a:pt x="48" y="7"/>
                    <a:pt x="48" y="7"/>
                  </a:cubicBezTo>
                  <a:cubicBezTo>
                    <a:pt x="48" y="7"/>
                    <a:pt x="48" y="7"/>
                    <a:pt x="47" y="7"/>
                  </a:cubicBezTo>
                  <a:cubicBezTo>
                    <a:pt x="45" y="7"/>
                    <a:pt x="45" y="7"/>
                    <a:pt x="45" y="7"/>
                  </a:cubicBezTo>
                  <a:cubicBezTo>
                    <a:pt x="45" y="7"/>
                    <a:pt x="45" y="7"/>
                    <a:pt x="44" y="7"/>
                  </a:cubicBezTo>
                  <a:cubicBezTo>
                    <a:pt x="44" y="7"/>
                    <a:pt x="43" y="7"/>
                    <a:pt x="42" y="7"/>
                  </a:cubicBezTo>
                  <a:cubicBezTo>
                    <a:pt x="42" y="7"/>
                    <a:pt x="41" y="8"/>
                    <a:pt x="41" y="8"/>
                  </a:cubicBezTo>
                  <a:cubicBezTo>
                    <a:pt x="41" y="8"/>
                    <a:pt x="41" y="8"/>
                    <a:pt x="41" y="8"/>
                  </a:cubicBezTo>
                  <a:cubicBezTo>
                    <a:pt x="41" y="8"/>
                    <a:pt x="40" y="9"/>
                    <a:pt x="40" y="10"/>
                  </a:cubicBezTo>
                  <a:cubicBezTo>
                    <a:pt x="40" y="11"/>
                    <a:pt x="39" y="12"/>
                    <a:pt x="39" y="13"/>
                  </a:cubicBezTo>
                  <a:cubicBezTo>
                    <a:pt x="39" y="13"/>
                    <a:pt x="39" y="13"/>
                    <a:pt x="38" y="14"/>
                  </a:cubicBezTo>
                  <a:cubicBezTo>
                    <a:pt x="38" y="14"/>
                    <a:pt x="38" y="15"/>
                    <a:pt x="37" y="15"/>
                  </a:cubicBezTo>
                  <a:cubicBezTo>
                    <a:pt x="37" y="15"/>
                    <a:pt x="37" y="15"/>
                    <a:pt x="37" y="15"/>
                  </a:cubicBezTo>
                  <a:cubicBezTo>
                    <a:pt x="36" y="16"/>
                    <a:pt x="36" y="16"/>
                    <a:pt x="35" y="17"/>
                  </a:cubicBezTo>
                  <a:cubicBezTo>
                    <a:pt x="34" y="17"/>
                    <a:pt x="33" y="17"/>
                    <a:pt x="32" y="17"/>
                  </a:cubicBezTo>
                  <a:cubicBezTo>
                    <a:pt x="30" y="18"/>
                    <a:pt x="30" y="18"/>
                    <a:pt x="30" y="18"/>
                  </a:cubicBezTo>
                  <a:cubicBezTo>
                    <a:pt x="29" y="18"/>
                    <a:pt x="29" y="18"/>
                    <a:pt x="28" y="18"/>
                  </a:cubicBezTo>
                  <a:cubicBezTo>
                    <a:pt x="29" y="24"/>
                    <a:pt x="29" y="24"/>
                    <a:pt x="29" y="24"/>
                  </a:cubicBezTo>
                  <a:cubicBezTo>
                    <a:pt x="27" y="18"/>
                    <a:pt x="27" y="18"/>
                    <a:pt x="27" y="18"/>
                  </a:cubicBezTo>
                  <a:cubicBezTo>
                    <a:pt x="27" y="18"/>
                    <a:pt x="27" y="18"/>
                    <a:pt x="27" y="18"/>
                  </a:cubicBezTo>
                  <a:cubicBezTo>
                    <a:pt x="26" y="18"/>
                    <a:pt x="25" y="18"/>
                    <a:pt x="24" y="18"/>
                  </a:cubicBezTo>
                  <a:cubicBezTo>
                    <a:pt x="23" y="18"/>
                    <a:pt x="23" y="18"/>
                    <a:pt x="22" y="18"/>
                  </a:cubicBezTo>
                  <a:cubicBezTo>
                    <a:pt x="22" y="18"/>
                    <a:pt x="21" y="18"/>
                    <a:pt x="21" y="18"/>
                  </a:cubicBezTo>
                  <a:cubicBezTo>
                    <a:pt x="19" y="18"/>
                    <a:pt x="17" y="18"/>
                    <a:pt x="15" y="17"/>
                  </a:cubicBezTo>
                  <a:cubicBezTo>
                    <a:pt x="14" y="21"/>
                    <a:pt x="14" y="21"/>
                    <a:pt x="14" y="21"/>
                  </a:cubicBezTo>
                  <a:cubicBezTo>
                    <a:pt x="14" y="17"/>
                    <a:pt x="14" y="17"/>
                    <a:pt x="14" y="17"/>
                  </a:cubicBezTo>
                  <a:cubicBezTo>
                    <a:pt x="14" y="17"/>
                    <a:pt x="13" y="17"/>
                    <a:pt x="13" y="17"/>
                  </a:cubicBezTo>
                  <a:cubicBezTo>
                    <a:pt x="10" y="20"/>
                    <a:pt x="10" y="21"/>
                    <a:pt x="10" y="26"/>
                  </a:cubicBezTo>
                  <a:cubicBezTo>
                    <a:pt x="10" y="29"/>
                    <a:pt x="9" y="32"/>
                    <a:pt x="8" y="35"/>
                  </a:cubicBezTo>
                  <a:cubicBezTo>
                    <a:pt x="8" y="36"/>
                    <a:pt x="8" y="36"/>
                    <a:pt x="8" y="36"/>
                  </a:cubicBezTo>
                  <a:cubicBezTo>
                    <a:pt x="8" y="37"/>
                    <a:pt x="8" y="37"/>
                    <a:pt x="8" y="38"/>
                  </a:cubicBezTo>
                  <a:cubicBezTo>
                    <a:pt x="8" y="39"/>
                    <a:pt x="8" y="39"/>
                    <a:pt x="8" y="39"/>
                  </a:cubicBezTo>
                  <a:cubicBezTo>
                    <a:pt x="8" y="40"/>
                    <a:pt x="8" y="40"/>
                    <a:pt x="8" y="40"/>
                  </a:cubicBezTo>
                  <a:cubicBezTo>
                    <a:pt x="8" y="41"/>
                    <a:pt x="8" y="41"/>
                    <a:pt x="8" y="42"/>
                  </a:cubicBezTo>
                  <a:cubicBezTo>
                    <a:pt x="8" y="43"/>
                    <a:pt x="8" y="43"/>
                    <a:pt x="8" y="43"/>
                  </a:cubicBezTo>
                  <a:cubicBezTo>
                    <a:pt x="8" y="43"/>
                    <a:pt x="8" y="43"/>
                    <a:pt x="8" y="43"/>
                  </a:cubicBezTo>
                  <a:cubicBezTo>
                    <a:pt x="8" y="43"/>
                    <a:pt x="8" y="43"/>
                    <a:pt x="8" y="43"/>
                  </a:cubicBezTo>
                  <a:cubicBezTo>
                    <a:pt x="8" y="46"/>
                    <a:pt x="7" y="47"/>
                    <a:pt x="5" y="47"/>
                  </a:cubicBezTo>
                  <a:cubicBezTo>
                    <a:pt x="5" y="47"/>
                    <a:pt x="5" y="47"/>
                    <a:pt x="5" y="47"/>
                  </a:cubicBezTo>
                  <a:cubicBezTo>
                    <a:pt x="4" y="48"/>
                    <a:pt x="2" y="48"/>
                    <a:pt x="1" y="48"/>
                  </a:cubicBezTo>
                  <a:cubicBezTo>
                    <a:pt x="1" y="48"/>
                    <a:pt x="0" y="48"/>
                    <a:pt x="0" y="48"/>
                  </a:cubicBezTo>
                  <a:cubicBezTo>
                    <a:pt x="0" y="48"/>
                    <a:pt x="0" y="49"/>
                    <a:pt x="1" y="49"/>
                  </a:cubicBezTo>
                  <a:cubicBezTo>
                    <a:pt x="1" y="49"/>
                    <a:pt x="1" y="49"/>
                    <a:pt x="2" y="49"/>
                  </a:cubicBezTo>
                  <a:cubicBezTo>
                    <a:pt x="2" y="49"/>
                    <a:pt x="2" y="49"/>
                    <a:pt x="3" y="49"/>
                  </a:cubicBezTo>
                  <a:cubicBezTo>
                    <a:pt x="4" y="50"/>
                    <a:pt x="4" y="51"/>
                    <a:pt x="5" y="52"/>
                  </a:cubicBezTo>
                  <a:cubicBezTo>
                    <a:pt x="5" y="52"/>
                    <a:pt x="5" y="53"/>
                    <a:pt x="5" y="53"/>
                  </a:cubicBezTo>
                  <a:cubicBezTo>
                    <a:pt x="6" y="54"/>
                    <a:pt x="6" y="54"/>
                    <a:pt x="6" y="54"/>
                  </a:cubicBezTo>
                  <a:cubicBezTo>
                    <a:pt x="6" y="54"/>
                    <a:pt x="6" y="54"/>
                    <a:pt x="6" y="55"/>
                  </a:cubicBezTo>
                  <a:cubicBezTo>
                    <a:pt x="7" y="57"/>
                    <a:pt x="7" y="57"/>
                    <a:pt x="7" y="57"/>
                  </a:cubicBezTo>
                  <a:cubicBezTo>
                    <a:pt x="7" y="57"/>
                    <a:pt x="8" y="58"/>
                    <a:pt x="8" y="60"/>
                  </a:cubicBezTo>
                  <a:cubicBezTo>
                    <a:pt x="8" y="61"/>
                    <a:pt x="7" y="62"/>
                    <a:pt x="7" y="63"/>
                  </a:cubicBezTo>
                  <a:cubicBezTo>
                    <a:pt x="7" y="63"/>
                    <a:pt x="7" y="63"/>
                    <a:pt x="7" y="63"/>
                  </a:cubicBezTo>
                  <a:cubicBezTo>
                    <a:pt x="10" y="66"/>
                    <a:pt x="12" y="69"/>
                    <a:pt x="15" y="72"/>
                  </a:cubicBezTo>
                  <a:cubicBezTo>
                    <a:pt x="16" y="75"/>
                    <a:pt x="18" y="77"/>
                    <a:pt x="20" y="80"/>
                  </a:cubicBezTo>
                  <a:cubicBezTo>
                    <a:pt x="21" y="80"/>
                    <a:pt x="21" y="80"/>
                    <a:pt x="21" y="80"/>
                  </a:cubicBezTo>
                  <a:cubicBezTo>
                    <a:pt x="22" y="80"/>
                    <a:pt x="23" y="81"/>
                    <a:pt x="23" y="81"/>
                  </a:cubicBezTo>
                  <a:cubicBezTo>
                    <a:pt x="24" y="82"/>
                    <a:pt x="25" y="82"/>
                    <a:pt x="25" y="83"/>
                  </a:cubicBezTo>
                  <a:cubicBezTo>
                    <a:pt x="25" y="83"/>
                    <a:pt x="25" y="83"/>
                    <a:pt x="25" y="83"/>
                  </a:cubicBezTo>
                  <a:cubicBezTo>
                    <a:pt x="26" y="84"/>
                    <a:pt x="26" y="84"/>
                    <a:pt x="26" y="84"/>
                  </a:cubicBezTo>
                  <a:cubicBezTo>
                    <a:pt x="26" y="85"/>
                    <a:pt x="26" y="85"/>
                    <a:pt x="26" y="85"/>
                  </a:cubicBezTo>
                  <a:cubicBezTo>
                    <a:pt x="26" y="85"/>
                    <a:pt x="26" y="85"/>
                    <a:pt x="26" y="86"/>
                  </a:cubicBezTo>
                  <a:cubicBezTo>
                    <a:pt x="27" y="87"/>
                    <a:pt x="28" y="89"/>
                    <a:pt x="28" y="90"/>
                  </a:cubicBezTo>
                  <a:cubicBezTo>
                    <a:pt x="29" y="92"/>
                    <a:pt x="29" y="93"/>
                    <a:pt x="29" y="94"/>
                  </a:cubicBezTo>
                  <a:cubicBezTo>
                    <a:pt x="29" y="95"/>
                    <a:pt x="29" y="95"/>
                    <a:pt x="29" y="95"/>
                  </a:cubicBezTo>
                  <a:cubicBezTo>
                    <a:pt x="30" y="96"/>
                    <a:pt x="30" y="96"/>
                    <a:pt x="30" y="96"/>
                  </a:cubicBezTo>
                  <a:cubicBezTo>
                    <a:pt x="32" y="92"/>
                    <a:pt x="32" y="92"/>
                    <a:pt x="32" y="92"/>
                  </a:cubicBezTo>
                  <a:cubicBezTo>
                    <a:pt x="34" y="96"/>
                    <a:pt x="34" y="96"/>
                    <a:pt x="34" y="96"/>
                  </a:cubicBezTo>
                  <a:cubicBezTo>
                    <a:pt x="35" y="97"/>
                    <a:pt x="36" y="99"/>
                    <a:pt x="36" y="101"/>
                  </a:cubicBezTo>
                  <a:cubicBezTo>
                    <a:pt x="36" y="101"/>
                    <a:pt x="36" y="103"/>
                    <a:pt x="36" y="103"/>
                  </a:cubicBezTo>
                  <a:cubicBezTo>
                    <a:pt x="36" y="105"/>
                    <a:pt x="35" y="106"/>
                    <a:pt x="35" y="107"/>
                  </a:cubicBezTo>
                  <a:cubicBezTo>
                    <a:pt x="34" y="107"/>
                    <a:pt x="34" y="107"/>
                    <a:pt x="34" y="107"/>
                  </a:cubicBezTo>
                  <a:cubicBezTo>
                    <a:pt x="34" y="108"/>
                    <a:pt x="34" y="108"/>
                    <a:pt x="34" y="108"/>
                  </a:cubicBezTo>
                  <a:cubicBezTo>
                    <a:pt x="33" y="108"/>
                    <a:pt x="33" y="108"/>
                    <a:pt x="33" y="108"/>
                  </a:cubicBezTo>
                  <a:cubicBezTo>
                    <a:pt x="32" y="110"/>
                    <a:pt x="30" y="110"/>
                    <a:pt x="28" y="110"/>
                  </a:cubicBezTo>
                  <a:cubicBezTo>
                    <a:pt x="28" y="111"/>
                    <a:pt x="28" y="111"/>
                    <a:pt x="28" y="111"/>
                  </a:cubicBezTo>
                  <a:cubicBezTo>
                    <a:pt x="28" y="113"/>
                    <a:pt x="28" y="114"/>
                    <a:pt x="28" y="116"/>
                  </a:cubicBezTo>
                  <a:cubicBezTo>
                    <a:pt x="28" y="119"/>
                    <a:pt x="28" y="119"/>
                    <a:pt x="28" y="119"/>
                  </a:cubicBezTo>
                  <a:cubicBezTo>
                    <a:pt x="29" y="121"/>
                    <a:pt x="29" y="122"/>
                    <a:pt x="28" y="123"/>
                  </a:cubicBezTo>
                  <a:cubicBezTo>
                    <a:pt x="28" y="126"/>
                    <a:pt x="28" y="127"/>
                    <a:pt x="26" y="129"/>
                  </a:cubicBezTo>
                  <a:cubicBezTo>
                    <a:pt x="24" y="130"/>
                    <a:pt x="23" y="131"/>
                    <a:pt x="21" y="131"/>
                  </a:cubicBezTo>
                  <a:cubicBezTo>
                    <a:pt x="20" y="131"/>
                    <a:pt x="19" y="131"/>
                    <a:pt x="19" y="131"/>
                  </a:cubicBezTo>
                  <a:cubicBezTo>
                    <a:pt x="19" y="132"/>
                    <a:pt x="19" y="132"/>
                    <a:pt x="19" y="132"/>
                  </a:cubicBezTo>
                  <a:cubicBezTo>
                    <a:pt x="19" y="134"/>
                    <a:pt x="20" y="135"/>
                    <a:pt x="21" y="138"/>
                  </a:cubicBezTo>
                  <a:cubicBezTo>
                    <a:pt x="23" y="143"/>
                    <a:pt x="27" y="147"/>
                    <a:pt x="31" y="152"/>
                  </a:cubicBezTo>
                  <a:cubicBezTo>
                    <a:pt x="32" y="153"/>
                    <a:pt x="32" y="153"/>
                    <a:pt x="32" y="153"/>
                  </a:cubicBezTo>
                  <a:cubicBezTo>
                    <a:pt x="33" y="154"/>
                    <a:pt x="33" y="155"/>
                    <a:pt x="34" y="155"/>
                  </a:cubicBezTo>
                  <a:cubicBezTo>
                    <a:pt x="37" y="159"/>
                    <a:pt x="37" y="159"/>
                    <a:pt x="37" y="159"/>
                  </a:cubicBezTo>
                  <a:cubicBezTo>
                    <a:pt x="38" y="160"/>
                    <a:pt x="38" y="160"/>
                    <a:pt x="38" y="160"/>
                  </a:cubicBezTo>
                  <a:cubicBezTo>
                    <a:pt x="38" y="160"/>
                    <a:pt x="38" y="160"/>
                    <a:pt x="38" y="160"/>
                  </a:cubicBezTo>
                  <a:cubicBezTo>
                    <a:pt x="39" y="161"/>
                    <a:pt x="40" y="162"/>
                    <a:pt x="40" y="162"/>
                  </a:cubicBezTo>
                  <a:cubicBezTo>
                    <a:pt x="41" y="164"/>
                    <a:pt x="42" y="165"/>
                    <a:pt x="42" y="166"/>
                  </a:cubicBezTo>
                  <a:cubicBezTo>
                    <a:pt x="43" y="167"/>
                    <a:pt x="43" y="170"/>
                    <a:pt x="43" y="174"/>
                  </a:cubicBezTo>
                  <a:cubicBezTo>
                    <a:pt x="43" y="175"/>
                    <a:pt x="43" y="175"/>
                    <a:pt x="43" y="175"/>
                  </a:cubicBezTo>
                  <a:cubicBezTo>
                    <a:pt x="43" y="175"/>
                    <a:pt x="43" y="176"/>
                    <a:pt x="43" y="176"/>
                  </a:cubicBezTo>
                  <a:cubicBezTo>
                    <a:pt x="43" y="177"/>
                    <a:pt x="43" y="177"/>
                    <a:pt x="43" y="177"/>
                  </a:cubicBezTo>
                  <a:cubicBezTo>
                    <a:pt x="43" y="179"/>
                    <a:pt x="44" y="181"/>
                    <a:pt x="42" y="182"/>
                  </a:cubicBezTo>
                  <a:cubicBezTo>
                    <a:pt x="42" y="183"/>
                    <a:pt x="42" y="183"/>
                    <a:pt x="42" y="183"/>
                  </a:cubicBezTo>
                  <a:cubicBezTo>
                    <a:pt x="41" y="183"/>
                    <a:pt x="41" y="183"/>
                    <a:pt x="41" y="183"/>
                  </a:cubicBezTo>
                  <a:cubicBezTo>
                    <a:pt x="42" y="184"/>
                    <a:pt x="42" y="184"/>
                    <a:pt x="42" y="185"/>
                  </a:cubicBezTo>
                  <a:cubicBezTo>
                    <a:pt x="43" y="185"/>
                    <a:pt x="43" y="185"/>
                    <a:pt x="43" y="185"/>
                  </a:cubicBezTo>
                  <a:cubicBezTo>
                    <a:pt x="43" y="186"/>
                    <a:pt x="43" y="186"/>
                    <a:pt x="43" y="186"/>
                  </a:cubicBezTo>
                  <a:cubicBezTo>
                    <a:pt x="44" y="187"/>
                    <a:pt x="44" y="187"/>
                    <a:pt x="45" y="188"/>
                  </a:cubicBezTo>
                  <a:cubicBezTo>
                    <a:pt x="47" y="191"/>
                    <a:pt x="49" y="194"/>
                    <a:pt x="49" y="197"/>
                  </a:cubicBezTo>
                  <a:cubicBezTo>
                    <a:pt x="49" y="198"/>
                    <a:pt x="50" y="199"/>
                    <a:pt x="50" y="200"/>
                  </a:cubicBezTo>
                  <a:cubicBezTo>
                    <a:pt x="50" y="200"/>
                    <a:pt x="50" y="200"/>
                    <a:pt x="50" y="200"/>
                  </a:cubicBezTo>
                  <a:cubicBezTo>
                    <a:pt x="50" y="202"/>
                    <a:pt x="50" y="203"/>
                    <a:pt x="50" y="204"/>
                  </a:cubicBezTo>
                  <a:cubicBezTo>
                    <a:pt x="52" y="205"/>
                    <a:pt x="53" y="208"/>
                    <a:pt x="53" y="210"/>
                  </a:cubicBezTo>
                  <a:cubicBezTo>
                    <a:pt x="53" y="210"/>
                    <a:pt x="53" y="211"/>
                    <a:pt x="53" y="212"/>
                  </a:cubicBezTo>
                  <a:cubicBezTo>
                    <a:pt x="56" y="213"/>
                    <a:pt x="56" y="213"/>
                    <a:pt x="56" y="213"/>
                  </a:cubicBezTo>
                  <a:cubicBezTo>
                    <a:pt x="54" y="216"/>
                    <a:pt x="54" y="216"/>
                    <a:pt x="54" y="216"/>
                  </a:cubicBezTo>
                  <a:cubicBezTo>
                    <a:pt x="53" y="218"/>
                    <a:pt x="52" y="221"/>
                    <a:pt x="50" y="224"/>
                  </a:cubicBezTo>
                  <a:cubicBezTo>
                    <a:pt x="48" y="226"/>
                    <a:pt x="46" y="229"/>
                    <a:pt x="45" y="232"/>
                  </a:cubicBezTo>
                  <a:cubicBezTo>
                    <a:pt x="43" y="235"/>
                    <a:pt x="41" y="237"/>
                    <a:pt x="39" y="239"/>
                  </a:cubicBezTo>
                  <a:cubicBezTo>
                    <a:pt x="37" y="241"/>
                    <a:pt x="35" y="244"/>
                    <a:pt x="34" y="247"/>
                  </a:cubicBezTo>
                  <a:cubicBezTo>
                    <a:pt x="27" y="263"/>
                    <a:pt x="27" y="263"/>
                    <a:pt x="27" y="263"/>
                  </a:cubicBezTo>
                  <a:cubicBezTo>
                    <a:pt x="25" y="262"/>
                    <a:pt x="25" y="262"/>
                    <a:pt x="25" y="262"/>
                  </a:cubicBezTo>
                  <a:cubicBezTo>
                    <a:pt x="25" y="263"/>
                    <a:pt x="25" y="263"/>
                    <a:pt x="25" y="263"/>
                  </a:cubicBezTo>
                  <a:cubicBezTo>
                    <a:pt x="23" y="268"/>
                    <a:pt x="20" y="274"/>
                    <a:pt x="19" y="280"/>
                  </a:cubicBezTo>
                  <a:cubicBezTo>
                    <a:pt x="19" y="281"/>
                    <a:pt x="18" y="282"/>
                    <a:pt x="18" y="283"/>
                  </a:cubicBezTo>
                  <a:cubicBezTo>
                    <a:pt x="18" y="282"/>
                    <a:pt x="18" y="282"/>
                    <a:pt x="17" y="281"/>
                  </a:cubicBezTo>
                  <a:cubicBezTo>
                    <a:pt x="17" y="281"/>
                    <a:pt x="17" y="281"/>
                    <a:pt x="17" y="281"/>
                  </a:cubicBezTo>
                  <a:cubicBezTo>
                    <a:pt x="18" y="282"/>
                    <a:pt x="18" y="282"/>
                    <a:pt x="18" y="283"/>
                  </a:cubicBezTo>
                  <a:cubicBezTo>
                    <a:pt x="18" y="285"/>
                    <a:pt x="18" y="286"/>
                    <a:pt x="17" y="288"/>
                  </a:cubicBezTo>
                  <a:cubicBezTo>
                    <a:pt x="16" y="291"/>
                    <a:pt x="16" y="294"/>
                    <a:pt x="16" y="296"/>
                  </a:cubicBezTo>
                  <a:cubicBezTo>
                    <a:pt x="16" y="295"/>
                    <a:pt x="16" y="295"/>
                    <a:pt x="16" y="295"/>
                  </a:cubicBezTo>
                  <a:cubicBezTo>
                    <a:pt x="15" y="297"/>
                    <a:pt x="16" y="301"/>
                    <a:pt x="17" y="303"/>
                  </a:cubicBezTo>
                  <a:cubicBezTo>
                    <a:pt x="18" y="305"/>
                    <a:pt x="20" y="306"/>
                    <a:pt x="21" y="306"/>
                  </a:cubicBezTo>
                  <a:cubicBezTo>
                    <a:pt x="22" y="306"/>
                    <a:pt x="22" y="305"/>
                    <a:pt x="21" y="302"/>
                  </a:cubicBezTo>
                  <a:cubicBezTo>
                    <a:pt x="23" y="301"/>
                    <a:pt x="24" y="301"/>
                    <a:pt x="25" y="301"/>
                  </a:cubicBezTo>
                  <a:cubicBezTo>
                    <a:pt x="27" y="301"/>
                    <a:pt x="28" y="302"/>
                    <a:pt x="30" y="305"/>
                  </a:cubicBezTo>
                  <a:cubicBezTo>
                    <a:pt x="31" y="306"/>
                    <a:pt x="35" y="312"/>
                    <a:pt x="37" y="312"/>
                  </a:cubicBezTo>
                  <a:cubicBezTo>
                    <a:pt x="37" y="312"/>
                    <a:pt x="37" y="312"/>
                    <a:pt x="37" y="312"/>
                  </a:cubicBezTo>
                  <a:cubicBezTo>
                    <a:pt x="37" y="313"/>
                    <a:pt x="36" y="317"/>
                    <a:pt x="36" y="317"/>
                  </a:cubicBezTo>
                  <a:cubicBezTo>
                    <a:pt x="38" y="317"/>
                    <a:pt x="41" y="317"/>
                    <a:pt x="42" y="319"/>
                  </a:cubicBezTo>
                  <a:cubicBezTo>
                    <a:pt x="42" y="320"/>
                    <a:pt x="43" y="324"/>
                    <a:pt x="44" y="325"/>
                  </a:cubicBezTo>
                  <a:cubicBezTo>
                    <a:pt x="44" y="326"/>
                    <a:pt x="45" y="326"/>
                    <a:pt x="45" y="326"/>
                  </a:cubicBezTo>
                  <a:cubicBezTo>
                    <a:pt x="46" y="326"/>
                    <a:pt x="46" y="326"/>
                    <a:pt x="47" y="326"/>
                  </a:cubicBezTo>
                  <a:cubicBezTo>
                    <a:pt x="48" y="325"/>
                    <a:pt x="48" y="325"/>
                    <a:pt x="49" y="325"/>
                  </a:cubicBezTo>
                  <a:cubicBezTo>
                    <a:pt x="49" y="325"/>
                    <a:pt x="50" y="325"/>
                    <a:pt x="50" y="325"/>
                  </a:cubicBezTo>
                  <a:cubicBezTo>
                    <a:pt x="48" y="329"/>
                    <a:pt x="49" y="331"/>
                    <a:pt x="53" y="331"/>
                  </a:cubicBezTo>
                  <a:cubicBezTo>
                    <a:pt x="53" y="333"/>
                    <a:pt x="52" y="335"/>
                    <a:pt x="52" y="337"/>
                  </a:cubicBezTo>
                  <a:cubicBezTo>
                    <a:pt x="53" y="340"/>
                    <a:pt x="57" y="343"/>
                    <a:pt x="61" y="346"/>
                  </a:cubicBezTo>
                  <a:cubicBezTo>
                    <a:pt x="61" y="345"/>
                    <a:pt x="61" y="345"/>
                    <a:pt x="61" y="345"/>
                  </a:cubicBezTo>
                  <a:cubicBezTo>
                    <a:pt x="61" y="344"/>
                    <a:pt x="61" y="343"/>
                    <a:pt x="62" y="342"/>
                  </a:cubicBezTo>
                  <a:cubicBezTo>
                    <a:pt x="63" y="336"/>
                    <a:pt x="63" y="336"/>
                    <a:pt x="63" y="336"/>
                  </a:cubicBezTo>
                  <a:cubicBezTo>
                    <a:pt x="67" y="339"/>
                    <a:pt x="67" y="339"/>
                    <a:pt x="67" y="339"/>
                  </a:cubicBezTo>
                  <a:cubicBezTo>
                    <a:pt x="70" y="342"/>
                    <a:pt x="71" y="343"/>
                    <a:pt x="73" y="343"/>
                  </a:cubicBezTo>
                  <a:cubicBezTo>
                    <a:pt x="75" y="343"/>
                    <a:pt x="77" y="343"/>
                    <a:pt x="79" y="344"/>
                  </a:cubicBezTo>
                  <a:cubicBezTo>
                    <a:pt x="79" y="344"/>
                    <a:pt x="79" y="344"/>
                    <a:pt x="79" y="344"/>
                  </a:cubicBezTo>
                  <a:cubicBezTo>
                    <a:pt x="80" y="344"/>
                    <a:pt x="81" y="345"/>
                    <a:pt x="81" y="345"/>
                  </a:cubicBezTo>
                  <a:cubicBezTo>
                    <a:pt x="82" y="346"/>
                    <a:pt x="82" y="346"/>
                    <a:pt x="82" y="346"/>
                  </a:cubicBezTo>
                  <a:cubicBezTo>
                    <a:pt x="83" y="347"/>
                    <a:pt x="84" y="349"/>
                    <a:pt x="84" y="350"/>
                  </a:cubicBezTo>
                  <a:cubicBezTo>
                    <a:pt x="84" y="350"/>
                    <a:pt x="84" y="350"/>
                    <a:pt x="84" y="350"/>
                  </a:cubicBezTo>
                  <a:cubicBezTo>
                    <a:pt x="84" y="350"/>
                    <a:pt x="85" y="350"/>
                    <a:pt x="86" y="350"/>
                  </a:cubicBezTo>
                  <a:cubicBezTo>
                    <a:pt x="87" y="350"/>
                    <a:pt x="89" y="350"/>
                    <a:pt x="90" y="351"/>
                  </a:cubicBezTo>
                  <a:cubicBezTo>
                    <a:pt x="91" y="353"/>
                    <a:pt x="91" y="355"/>
                    <a:pt x="91" y="357"/>
                  </a:cubicBezTo>
                  <a:cubicBezTo>
                    <a:pt x="90" y="359"/>
                    <a:pt x="90" y="360"/>
                    <a:pt x="89" y="361"/>
                  </a:cubicBezTo>
                  <a:cubicBezTo>
                    <a:pt x="88" y="362"/>
                    <a:pt x="88" y="363"/>
                    <a:pt x="88" y="364"/>
                  </a:cubicBezTo>
                  <a:cubicBezTo>
                    <a:pt x="89" y="364"/>
                    <a:pt x="89" y="364"/>
                    <a:pt x="89" y="364"/>
                  </a:cubicBezTo>
                  <a:cubicBezTo>
                    <a:pt x="89" y="364"/>
                    <a:pt x="89" y="364"/>
                    <a:pt x="90" y="363"/>
                  </a:cubicBezTo>
                  <a:cubicBezTo>
                    <a:pt x="91" y="362"/>
                    <a:pt x="91" y="362"/>
                    <a:pt x="91" y="362"/>
                  </a:cubicBezTo>
                  <a:cubicBezTo>
                    <a:pt x="92" y="361"/>
                    <a:pt x="94" y="359"/>
                    <a:pt x="97" y="359"/>
                  </a:cubicBezTo>
                  <a:cubicBezTo>
                    <a:pt x="99" y="359"/>
                    <a:pt x="101" y="360"/>
                    <a:pt x="102" y="361"/>
                  </a:cubicBezTo>
                  <a:cubicBezTo>
                    <a:pt x="102" y="362"/>
                    <a:pt x="102" y="362"/>
                    <a:pt x="102" y="362"/>
                  </a:cubicBezTo>
                  <a:cubicBezTo>
                    <a:pt x="105" y="361"/>
                    <a:pt x="106" y="360"/>
                    <a:pt x="107" y="358"/>
                  </a:cubicBezTo>
                  <a:cubicBezTo>
                    <a:pt x="107" y="356"/>
                    <a:pt x="108" y="354"/>
                    <a:pt x="109" y="352"/>
                  </a:cubicBezTo>
                  <a:cubicBezTo>
                    <a:pt x="109" y="351"/>
                    <a:pt x="109" y="351"/>
                    <a:pt x="109" y="351"/>
                  </a:cubicBezTo>
                  <a:cubicBezTo>
                    <a:pt x="109" y="351"/>
                    <a:pt x="108" y="350"/>
                    <a:pt x="107" y="349"/>
                  </a:cubicBezTo>
                  <a:cubicBezTo>
                    <a:pt x="105" y="347"/>
                    <a:pt x="103" y="346"/>
                    <a:pt x="101" y="343"/>
                  </a:cubicBezTo>
                  <a:cubicBezTo>
                    <a:pt x="99" y="340"/>
                    <a:pt x="96" y="336"/>
                    <a:pt x="91" y="336"/>
                  </a:cubicBezTo>
                  <a:cubicBezTo>
                    <a:pt x="92" y="336"/>
                    <a:pt x="93" y="337"/>
                    <a:pt x="93" y="337"/>
                  </a:cubicBezTo>
                  <a:cubicBezTo>
                    <a:pt x="93" y="337"/>
                    <a:pt x="93" y="337"/>
                    <a:pt x="92" y="337"/>
                  </a:cubicBezTo>
                  <a:cubicBezTo>
                    <a:pt x="91" y="337"/>
                    <a:pt x="91" y="337"/>
                    <a:pt x="90" y="338"/>
                  </a:cubicBezTo>
                  <a:cubicBezTo>
                    <a:pt x="89" y="338"/>
                    <a:pt x="88" y="338"/>
                    <a:pt x="87" y="338"/>
                  </a:cubicBezTo>
                  <a:cubicBezTo>
                    <a:pt x="87" y="338"/>
                    <a:pt x="87" y="338"/>
                    <a:pt x="86" y="338"/>
                  </a:cubicBezTo>
                  <a:cubicBezTo>
                    <a:pt x="84" y="337"/>
                    <a:pt x="77" y="329"/>
                    <a:pt x="75" y="329"/>
                  </a:cubicBezTo>
                  <a:cubicBezTo>
                    <a:pt x="75" y="329"/>
                    <a:pt x="74" y="329"/>
                    <a:pt x="74" y="329"/>
                  </a:cubicBezTo>
                  <a:cubicBezTo>
                    <a:pt x="74" y="330"/>
                    <a:pt x="73" y="330"/>
                    <a:pt x="72" y="330"/>
                  </a:cubicBezTo>
                  <a:cubicBezTo>
                    <a:pt x="71" y="330"/>
                    <a:pt x="71" y="330"/>
                    <a:pt x="70" y="330"/>
                  </a:cubicBezTo>
                  <a:cubicBezTo>
                    <a:pt x="69" y="329"/>
                    <a:pt x="70" y="327"/>
                    <a:pt x="69" y="327"/>
                  </a:cubicBezTo>
                  <a:cubicBezTo>
                    <a:pt x="68" y="325"/>
                    <a:pt x="67" y="324"/>
                    <a:pt x="65" y="323"/>
                  </a:cubicBezTo>
                  <a:cubicBezTo>
                    <a:pt x="63" y="320"/>
                    <a:pt x="64" y="318"/>
                    <a:pt x="65" y="315"/>
                  </a:cubicBezTo>
                  <a:cubicBezTo>
                    <a:pt x="68" y="320"/>
                    <a:pt x="71" y="325"/>
                    <a:pt x="74" y="329"/>
                  </a:cubicBezTo>
                  <a:cubicBezTo>
                    <a:pt x="74" y="328"/>
                    <a:pt x="73" y="328"/>
                    <a:pt x="73" y="327"/>
                  </a:cubicBezTo>
                  <a:cubicBezTo>
                    <a:pt x="70" y="322"/>
                    <a:pt x="70" y="317"/>
                    <a:pt x="68" y="311"/>
                  </a:cubicBezTo>
                  <a:cubicBezTo>
                    <a:pt x="66" y="304"/>
                    <a:pt x="62" y="297"/>
                    <a:pt x="59" y="289"/>
                  </a:cubicBezTo>
                  <a:cubicBezTo>
                    <a:pt x="58" y="286"/>
                    <a:pt x="56" y="282"/>
                    <a:pt x="55" y="278"/>
                  </a:cubicBezTo>
                  <a:cubicBezTo>
                    <a:pt x="54" y="277"/>
                    <a:pt x="54" y="277"/>
                    <a:pt x="53" y="277"/>
                  </a:cubicBezTo>
                  <a:cubicBezTo>
                    <a:pt x="51" y="277"/>
                    <a:pt x="48" y="278"/>
                    <a:pt x="47" y="278"/>
                  </a:cubicBezTo>
                  <a:cubicBezTo>
                    <a:pt x="46" y="278"/>
                    <a:pt x="44" y="279"/>
                    <a:pt x="43" y="279"/>
                  </a:cubicBezTo>
                  <a:cubicBezTo>
                    <a:pt x="42" y="279"/>
                    <a:pt x="41" y="279"/>
                    <a:pt x="41" y="277"/>
                  </a:cubicBezTo>
                  <a:cubicBezTo>
                    <a:pt x="41" y="276"/>
                    <a:pt x="42" y="275"/>
                    <a:pt x="43" y="275"/>
                  </a:cubicBezTo>
                  <a:cubicBezTo>
                    <a:pt x="42" y="274"/>
                    <a:pt x="41" y="272"/>
                    <a:pt x="41" y="271"/>
                  </a:cubicBezTo>
                  <a:cubicBezTo>
                    <a:pt x="40" y="269"/>
                    <a:pt x="39" y="267"/>
                    <a:pt x="39" y="264"/>
                  </a:cubicBezTo>
                  <a:cubicBezTo>
                    <a:pt x="40" y="259"/>
                    <a:pt x="42" y="256"/>
                    <a:pt x="39" y="251"/>
                  </a:cubicBezTo>
                  <a:cubicBezTo>
                    <a:pt x="41" y="251"/>
                    <a:pt x="42" y="246"/>
                    <a:pt x="43" y="245"/>
                  </a:cubicBezTo>
                  <a:cubicBezTo>
                    <a:pt x="45" y="240"/>
                    <a:pt x="47" y="236"/>
                    <a:pt x="49" y="232"/>
                  </a:cubicBezTo>
                  <a:cubicBezTo>
                    <a:pt x="53" y="224"/>
                    <a:pt x="56" y="216"/>
                    <a:pt x="59" y="208"/>
                  </a:cubicBezTo>
                  <a:cubicBezTo>
                    <a:pt x="60" y="205"/>
                    <a:pt x="60" y="206"/>
                    <a:pt x="60" y="204"/>
                  </a:cubicBezTo>
                  <a:cubicBezTo>
                    <a:pt x="60" y="201"/>
                    <a:pt x="59" y="197"/>
                    <a:pt x="59" y="194"/>
                  </a:cubicBezTo>
                  <a:cubicBezTo>
                    <a:pt x="59" y="190"/>
                    <a:pt x="63" y="187"/>
                    <a:pt x="62" y="183"/>
                  </a:cubicBezTo>
                  <a:cubicBezTo>
                    <a:pt x="62" y="181"/>
                    <a:pt x="58" y="178"/>
                    <a:pt x="60" y="177"/>
                  </a:cubicBezTo>
                  <a:cubicBezTo>
                    <a:pt x="63" y="174"/>
                    <a:pt x="65" y="174"/>
                    <a:pt x="69" y="173"/>
                  </a:cubicBezTo>
                  <a:cubicBezTo>
                    <a:pt x="70" y="173"/>
                    <a:pt x="70" y="173"/>
                    <a:pt x="71" y="173"/>
                  </a:cubicBezTo>
                  <a:cubicBezTo>
                    <a:pt x="68" y="172"/>
                    <a:pt x="67" y="169"/>
                    <a:pt x="67" y="167"/>
                  </a:cubicBezTo>
                  <a:cubicBezTo>
                    <a:pt x="67" y="163"/>
                    <a:pt x="70" y="160"/>
                    <a:pt x="73" y="160"/>
                  </a:cubicBezTo>
                  <a:cubicBezTo>
                    <a:pt x="77" y="160"/>
                    <a:pt x="80" y="163"/>
                    <a:pt x="80" y="167"/>
                  </a:cubicBezTo>
                  <a:cubicBezTo>
                    <a:pt x="80" y="169"/>
                    <a:pt x="79" y="171"/>
                    <a:pt x="77" y="172"/>
                  </a:cubicBezTo>
                  <a:cubicBezTo>
                    <a:pt x="79" y="173"/>
                    <a:pt x="82" y="173"/>
                    <a:pt x="84" y="174"/>
                  </a:cubicBezTo>
                  <a:cubicBezTo>
                    <a:pt x="83" y="179"/>
                    <a:pt x="82" y="185"/>
                    <a:pt x="81" y="191"/>
                  </a:cubicBezTo>
                  <a:cubicBezTo>
                    <a:pt x="81" y="194"/>
                    <a:pt x="82" y="194"/>
                    <a:pt x="83" y="194"/>
                  </a:cubicBezTo>
                  <a:cubicBezTo>
                    <a:pt x="84" y="194"/>
                    <a:pt x="85" y="194"/>
                    <a:pt x="86" y="194"/>
                  </a:cubicBezTo>
                  <a:cubicBezTo>
                    <a:pt x="90" y="194"/>
                    <a:pt x="94" y="193"/>
                    <a:pt x="98" y="193"/>
                  </a:cubicBezTo>
                  <a:cubicBezTo>
                    <a:pt x="100" y="193"/>
                    <a:pt x="101" y="193"/>
                    <a:pt x="102" y="193"/>
                  </a:cubicBezTo>
                  <a:cubicBezTo>
                    <a:pt x="103" y="193"/>
                    <a:pt x="104" y="193"/>
                    <a:pt x="105" y="194"/>
                  </a:cubicBezTo>
                  <a:cubicBezTo>
                    <a:pt x="107" y="195"/>
                    <a:pt x="112" y="202"/>
                    <a:pt x="116" y="202"/>
                  </a:cubicBezTo>
                  <a:cubicBezTo>
                    <a:pt x="117" y="202"/>
                    <a:pt x="117" y="202"/>
                    <a:pt x="118" y="201"/>
                  </a:cubicBezTo>
                  <a:cubicBezTo>
                    <a:pt x="116" y="206"/>
                    <a:pt x="116" y="205"/>
                    <a:pt x="119" y="206"/>
                  </a:cubicBezTo>
                  <a:cubicBezTo>
                    <a:pt x="121" y="207"/>
                    <a:pt x="122" y="208"/>
                    <a:pt x="123" y="209"/>
                  </a:cubicBezTo>
                  <a:cubicBezTo>
                    <a:pt x="124" y="209"/>
                    <a:pt x="124" y="209"/>
                    <a:pt x="125" y="209"/>
                  </a:cubicBezTo>
                  <a:cubicBezTo>
                    <a:pt x="125" y="209"/>
                    <a:pt x="126" y="209"/>
                    <a:pt x="126" y="209"/>
                  </a:cubicBezTo>
                  <a:cubicBezTo>
                    <a:pt x="126" y="207"/>
                    <a:pt x="125" y="205"/>
                    <a:pt x="126" y="203"/>
                  </a:cubicBezTo>
                  <a:cubicBezTo>
                    <a:pt x="126" y="202"/>
                    <a:pt x="125" y="202"/>
                    <a:pt x="125" y="201"/>
                  </a:cubicBezTo>
                  <a:cubicBezTo>
                    <a:pt x="125" y="201"/>
                    <a:pt x="125" y="201"/>
                    <a:pt x="125" y="201"/>
                  </a:cubicBezTo>
                  <a:cubicBezTo>
                    <a:pt x="125" y="200"/>
                    <a:pt x="125" y="200"/>
                    <a:pt x="125" y="200"/>
                  </a:cubicBezTo>
                  <a:cubicBezTo>
                    <a:pt x="125" y="200"/>
                    <a:pt x="124" y="199"/>
                    <a:pt x="124" y="199"/>
                  </a:cubicBezTo>
                  <a:cubicBezTo>
                    <a:pt x="121" y="197"/>
                    <a:pt x="121" y="197"/>
                    <a:pt x="121" y="197"/>
                  </a:cubicBezTo>
                  <a:cubicBezTo>
                    <a:pt x="121" y="196"/>
                    <a:pt x="120" y="196"/>
                    <a:pt x="120" y="195"/>
                  </a:cubicBezTo>
                  <a:cubicBezTo>
                    <a:pt x="119" y="193"/>
                    <a:pt x="119" y="191"/>
                    <a:pt x="119" y="189"/>
                  </a:cubicBezTo>
                  <a:cubicBezTo>
                    <a:pt x="119" y="188"/>
                    <a:pt x="119" y="188"/>
                    <a:pt x="119" y="188"/>
                  </a:cubicBezTo>
                  <a:cubicBezTo>
                    <a:pt x="119" y="187"/>
                    <a:pt x="119" y="186"/>
                    <a:pt x="118" y="184"/>
                  </a:cubicBezTo>
                  <a:cubicBezTo>
                    <a:pt x="117" y="183"/>
                    <a:pt x="117" y="183"/>
                    <a:pt x="117" y="183"/>
                  </a:cubicBezTo>
                  <a:cubicBezTo>
                    <a:pt x="115" y="180"/>
                    <a:pt x="112" y="174"/>
                    <a:pt x="116" y="170"/>
                  </a:cubicBezTo>
                  <a:cubicBezTo>
                    <a:pt x="118" y="169"/>
                    <a:pt x="118" y="169"/>
                    <a:pt x="118" y="169"/>
                  </a:cubicBezTo>
                  <a:cubicBezTo>
                    <a:pt x="118" y="169"/>
                    <a:pt x="119" y="168"/>
                    <a:pt x="120" y="168"/>
                  </a:cubicBezTo>
                  <a:cubicBezTo>
                    <a:pt x="123" y="165"/>
                    <a:pt x="125" y="162"/>
                    <a:pt x="127" y="159"/>
                  </a:cubicBezTo>
                  <a:cubicBezTo>
                    <a:pt x="128" y="157"/>
                    <a:pt x="129" y="155"/>
                    <a:pt x="130" y="154"/>
                  </a:cubicBezTo>
                  <a:cubicBezTo>
                    <a:pt x="131" y="153"/>
                    <a:pt x="131" y="153"/>
                    <a:pt x="132" y="152"/>
                  </a:cubicBezTo>
                  <a:cubicBezTo>
                    <a:pt x="134" y="150"/>
                    <a:pt x="138" y="148"/>
                    <a:pt x="143" y="148"/>
                  </a:cubicBezTo>
                  <a:cubicBezTo>
                    <a:pt x="144" y="147"/>
                    <a:pt x="145" y="147"/>
                    <a:pt x="146" y="147"/>
                  </a:cubicBezTo>
                  <a:cubicBezTo>
                    <a:pt x="147" y="147"/>
                    <a:pt x="148" y="147"/>
                    <a:pt x="149" y="147"/>
                  </a:cubicBezTo>
                  <a:cubicBezTo>
                    <a:pt x="151" y="147"/>
                    <a:pt x="154" y="147"/>
                    <a:pt x="157" y="148"/>
                  </a:cubicBezTo>
                  <a:cubicBezTo>
                    <a:pt x="157" y="148"/>
                    <a:pt x="157" y="148"/>
                    <a:pt x="157" y="148"/>
                  </a:cubicBezTo>
                  <a:cubicBezTo>
                    <a:pt x="160" y="148"/>
                    <a:pt x="162" y="148"/>
                    <a:pt x="164" y="148"/>
                  </a:cubicBezTo>
                  <a:cubicBezTo>
                    <a:pt x="164" y="148"/>
                    <a:pt x="164" y="148"/>
                    <a:pt x="165" y="148"/>
                  </a:cubicBezTo>
                  <a:cubicBezTo>
                    <a:pt x="167" y="148"/>
                    <a:pt x="169" y="148"/>
                    <a:pt x="172" y="148"/>
                  </a:cubicBezTo>
                  <a:cubicBezTo>
                    <a:pt x="173" y="147"/>
                    <a:pt x="173" y="147"/>
                    <a:pt x="173" y="147"/>
                  </a:cubicBezTo>
                  <a:cubicBezTo>
                    <a:pt x="175" y="147"/>
                    <a:pt x="177" y="147"/>
                    <a:pt x="179" y="147"/>
                  </a:cubicBezTo>
                  <a:cubicBezTo>
                    <a:pt x="179" y="147"/>
                    <a:pt x="180" y="147"/>
                    <a:pt x="180" y="147"/>
                  </a:cubicBezTo>
                  <a:cubicBezTo>
                    <a:pt x="180" y="147"/>
                    <a:pt x="180" y="147"/>
                    <a:pt x="180" y="147"/>
                  </a:cubicBezTo>
                  <a:cubicBezTo>
                    <a:pt x="182" y="147"/>
                    <a:pt x="183" y="147"/>
                    <a:pt x="185" y="148"/>
                  </a:cubicBezTo>
                  <a:cubicBezTo>
                    <a:pt x="185" y="148"/>
                    <a:pt x="186" y="149"/>
                    <a:pt x="186" y="149"/>
                  </a:cubicBezTo>
                  <a:cubicBezTo>
                    <a:pt x="189" y="148"/>
                    <a:pt x="189" y="148"/>
                    <a:pt x="189" y="148"/>
                  </a:cubicBezTo>
                  <a:cubicBezTo>
                    <a:pt x="189" y="148"/>
                    <a:pt x="189" y="148"/>
                    <a:pt x="189" y="148"/>
                  </a:cubicBezTo>
                  <a:cubicBezTo>
                    <a:pt x="190" y="147"/>
                    <a:pt x="191" y="147"/>
                    <a:pt x="192" y="146"/>
                  </a:cubicBezTo>
                  <a:cubicBezTo>
                    <a:pt x="193" y="146"/>
                    <a:pt x="193" y="146"/>
                    <a:pt x="193" y="146"/>
                  </a:cubicBezTo>
                  <a:cubicBezTo>
                    <a:pt x="194" y="144"/>
                    <a:pt x="193" y="141"/>
                    <a:pt x="192" y="138"/>
                  </a:cubicBezTo>
                  <a:cubicBezTo>
                    <a:pt x="192" y="135"/>
                    <a:pt x="191" y="132"/>
                    <a:pt x="192" y="129"/>
                  </a:cubicBezTo>
                  <a:cubicBezTo>
                    <a:pt x="191" y="127"/>
                    <a:pt x="192" y="126"/>
                    <a:pt x="192" y="125"/>
                  </a:cubicBezTo>
                  <a:cubicBezTo>
                    <a:pt x="193" y="123"/>
                    <a:pt x="194" y="123"/>
                    <a:pt x="195" y="122"/>
                  </a:cubicBezTo>
                  <a:cubicBezTo>
                    <a:pt x="195" y="122"/>
                    <a:pt x="195" y="122"/>
                    <a:pt x="195" y="121"/>
                  </a:cubicBezTo>
                  <a:cubicBezTo>
                    <a:pt x="195" y="121"/>
                    <a:pt x="195" y="120"/>
                    <a:pt x="195" y="120"/>
                  </a:cubicBezTo>
                  <a:cubicBezTo>
                    <a:pt x="195" y="120"/>
                    <a:pt x="195" y="120"/>
                    <a:pt x="195" y="120"/>
                  </a:cubicBezTo>
                  <a:cubicBezTo>
                    <a:pt x="195" y="120"/>
                    <a:pt x="195" y="120"/>
                    <a:pt x="195" y="120"/>
                  </a:cubicBezTo>
                  <a:cubicBezTo>
                    <a:pt x="194" y="119"/>
                    <a:pt x="192" y="119"/>
                    <a:pt x="191" y="117"/>
                  </a:cubicBezTo>
                  <a:cubicBezTo>
                    <a:pt x="190" y="116"/>
                    <a:pt x="189" y="114"/>
                    <a:pt x="189" y="113"/>
                  </a:cubicBezTo>
                  <a:cubicBezTo>
                    <a:pt x="189" y="112"/>
                    <a:pt x="189" y="112"/>
                    <a:pt x="189" y="112"/>
                  </a:cubicBezTo>
                  <a:cubicBezTo>
                    <a:pt x="187" y="111"/>
                    <a:pt x="185" y="111"/>
                    <a:pt x="184" y="110"/>
                  </a:cubicBezTo>
                  <a:cubicBezTo>
                    <a:pt x="182" y="109"/>
                    <a:pt x="182" y="107"/>
                    <a:pt x="181" y="106"/>
                  </a:cubicBezTo>
                  <a:cubicBezTo>
                    <a:pt x="181" y="105"/>
                    <a:pt x="180" y="105"/>
                    <a:pt x="179" y="104"/>
                  </a:cubicBezTo>
                  <a:cubicBezTo>
                    <a:pt x="179" y="103"/>
                    <a:pt x="179" y="103"/>
                    <a:pt x="179" y="103"/>
                  </a:cubicBezTo>
                  <a:cubicBezTo>
                    <a:pt x="178" y="102"/>
                    <a:pt x="177" y="102"/>
                    <a:pt x="177" y="101"/>
                  </a:cubicBezTo>
                  <a:cubicBezTo>
                    <a:pt x="175" y="99"/>
                    <a:pt x="175" y="99"/>
                    <a:pt x="175" y="99"/>
                  </a:cubicBezTo>
                  <a:cubicBezTo>
                    <a:pt x="175" y="99"/>
                    <a:pt x="175" y="99"/>
                    <a:pt x="175" y="99"/>
                  </a:cubicBezTo>
                  <a:cubicBezTo>
                    <a:pt x="175" y="98"/>
                    <a:pt x="174" y="97"/>
                    <a:pt x="174" y="96"/>
                  </a:cubicBezTo>
                  <a:cubicBezTo>
                    <a:pt x="174" y="95"/>
                    <a:pt x="174" y="94"/>
                    <a:pt x="174" y="94"/>
                  </a:cubicBezTo>
                  <a:cubicBezTo>
                    <a:pt x="174" y="93"/>
                    <a:pt x="174" y="93"/>
                    <a:pt x="174" y="93"/>
                  </a:cubicBezTo>
                  <a:cubicBezTo>
                    <a:pt x="173" y="90"/>
                    <a:pt x="173" y="86"/>
                    <a:pt x="174" y="84"/>
                  </a:cubicBezTo>
                  <a:cubicBezTo>
                    <a:pt x="175" y="82"/>
                    <a:pt x="175" y="82"/>
                    <a:pt x="175" y="82"/>
                  </a:cubicBezTo>
                  <a:cubicBezTo>
                    <a:pt x="175" y="82"/>
                    <a:pt x="175" y="81"/>
                    <a:pt x="175" y="80"/>
                  </a:cubicBezTo>
                  <a:cubicBezTo>
                    <a:pt x="175" y="80"/>
                    <a:pt x="175" y="80"/>
                    <a:pt x="175" y="80"/>
                  </a:cubicBezTo>
                  <a:cubicBezTo>
                    <a:pt x="175" y="79"/>
                    <a:pt x="175" y="79"/>
                    <a:pt x="175" y="79"/>
                  </a:cubicBezTo>
                  <a:cubicBezTo>
                    <a:pt x="176" y="78"/>
                    <a:pt x="176" y="78"/>
                    <a:pt x="176" y="78"/>
                  </a:cubicBezTo>
                  <a:cubicBezTo>
                    <a:pt x="175" y="78"/>
                    <a:pt x="175" y="78"/>
                    <a:pt x="175" y="78"/>
                  </a:cubicBezTo>
                  <a:cubicBezTo>
                    <a:pt x="175" y="77"/>
                    <a:pt x="175" y="76"/>
                    <a:pt x="175" y="76"/>
                  </a:cubicBezTo>
                  <a:cubicBezTo>
                    <a:pt x="174" y="75"/>
                    <a:pt x="173" y="74"/>
                    <a:pt x="172" y="73"/>
                  </a:cubicBezTo>
                  <a:cubicBezTo>
                    <a:pt x="171" y="72"/>
                    <a:pt x="171" y="72"/>
                    <a:pt x="171" y="72"/>
                  </a:cubicBezTo>
                  <a:cubicBezTo>
                    <a:pt x="167" y="69"/>
                    <a:pt x="163" y="66"/>
                    <a:pt x="161" y="61"/>
                  </a:cubicBezTo>
                  <a:cubicBezTo>
                    <a:pt x="161" y="61"/>
                    <a:pt x="160" y="60"/>
                    <a:pt x="160" y="59"/>
                  </a:cubicBezTo>
                  <a:cubicBezTo>
                    <a:pt x="159" y="58"/>
                    <a:pt x="159" y="58"/>
                    <a:pt x="159" y="58"/>
                  </a:cubicBezTo>
                  <a:cubicBezTo>
                    <a:pt x="159" y="57"/>
                    <a:pt x="158" y="57"/>
                    <a:pt x="158" y="56"/>
                  </a:cubicBezTo>
                  <a:cubicBezTo>
                    <a:pt x="156" y="54"/>
                    <a:pt x="156" y="54"/>
                    <a:pt x="152" y="53"/>
                  </a:cubicBezTo>
                  <a:cubicBezTo>
                    <a:pt x="151" y="53"/>
                    <a:pt x="150" y="52"/>
                    <a:pt x="148" y="52"/>
                  </a:cubicBezTo>
                  <a:cubicBezTo>
                    <a:pt x="148" y="52"/>
                    <a:pt x="147" y="52"/>
                    <a:pt x="147" y="52"/>
                  </a:cubicBezTo>
                  <a:cubicBezTo>
                    <a:pt x="147" y="52"/>
                    <a:pt x="147" y="52"/>
                    <a:pt x="147" y="52"/>
                  </a:cubicBezTo>
                  <a:cubicBezTo>
                    <a:pt x="146" y="51"/>
                    <a:pt x="146" y="51"/>
                    <a:pt x="145" y="51"/>
                  </a:cubicBezTo>
                  <a:cubicBezTo>
                    <a:pt x="145" y="51"/>
                    <a:pt x="145" y="51"/>
                    <a:pt x="145" y="52"/>
                  </a:cubicBezTo>
                  <a:cubicBezTo>
                    <a:pt x="144" y="52"/>
                    <a:pt x="144" y="52"/>
                    <a:pt x="144" y="52"/>
                  </a:cubicBezTo>
                  <a:cubicBezTo>
                    <a:pt x="144" y="53"/>
                    <a:pt x="144" y="53"/>
                    <a:pt x="144" y="53"/>
                  </a:cubicBezTo>
                  <a:cubicBezTo>
                    <a:pt x="139" y="57"/>
                    <a:pt x="139" y="57"/>
                    <a:pt x="139" y="57"/>
                  </a:cubicBezTo>
                  <a:cubicBezTo>
                    <a:pt x="139" y="58"/>
                    <a:pt x="139" y="58"/>
                    <a:pt x="138" y="59"/>
                  </a:cubicBezTo>
                  <a:cubicBezTo>
                    <a:pt x="138" y="60"/>
                    <a:pt x="138" y="60"/>
                    <a:pt x="138" y="61"/>
                  </a:cubicBezTo>
                  <a:cubicBezTo>
                    <a:pt x="136" y="63"/>
                    <a:pt x="134" y="63"/>
                    <a:pt x="132" y="63"/>
                  </a:cubicBezTo>
                  <a:cubicBezTo>
                    <a:pt x="132" y="63"/>
                    <a:pt x="132" y="63"/>
                    <a:pt x="132" y="63"/>
                  </a:cubicBezTo>
                  <a:cubicBezTo>
                    <a:pt x="132" y="63"/>
                    <a:pt x="131" y="63"/>
                    <a:pt x="131" y="63"/>
                  </a:cubicBezTo>
                  <a:cubicBezTo>
                    <a:pt x="131" y="63"/>
                    <a:pt x="130" y="64"/>
                    <a:pt x="129" y="64"/>
                  </a:cubicBezTo>
                  <a:cubicBezTo>
                    <a:pt x="129" y="64"/>
                    <a:pt x="129" y="64"/>
                    <a:pt x="129" y="64"/>
                  </a:cubicBezTo>
                  <a:cubicBezTo>
                    <a:pt x="133" y="73"/>
                    <a:pt x="133" y="73"/>
                    <a:pt x="133" y="73"/>
                  </a:cubicBezTo>
                  <a:cubicBezTo>
                    <a:pt x="124" y="67"/>
                    <a:pt x="124" y="67"/>
                    <a:pt x="124" y="67"/>
                  </a:cubicBezTo>
                  <a:cubicBezTo>
                    <a:pt x="121" y="64"/>
                    <a:pt x="117" y="61"/>
                    <a:pt x="114" y="59"/>
                  </a:cubicBezTo>
                  <a:cubicBezTo>
                    <a:pt x="112" y="58"/>
                    <a:pt x="112" y="58"/>
                    <a:pt x="112" y="58"/>
                  </a:cubicBezTo>
                  <a:cubicBezTo>
                    <a:pt x="112" y="58"/>
                    <a:pt x="112" y="58"/>
                    <a:pt x="112" y="58"/>
                  </a:cubicBezTo>
                  <a:cubicBezTo>
                    <a:pt x="110" y="59"/>
                    <a:pt x="108" y="60"/>
                    <a:pt x="106" y="61"/>
                  </a:cubicBezTo>
                  <a:cubicBezTo>
                    <a:pt x="105" y="63"/>
                    <a:pt x="105" y="63"/>
                    <a:pt x="105" y="63"/>
                  </a:cubicBezTo>
                  <a:cubicBezTo>
                    <a:pt x="104" y="64"/>
                    <a:pt x="103" y="64"/>
                    <a:pt x="102" y="65"/>
                  </a:cubicBezTo>
                  <a:cubicBezTo>
                    <a:pt x="99" y="67"/>
                    <a:pt x="96" y="70"/>
                    <a:pt x="93" y="72"/>
                  </a:cubicBezTo>
                  <a:cubicBezTo>
                    <a:pt x="92" y="74"/>
                    <a:pt x="91" y="75"/>
                    <a:pt x="89" y="76"/>
                  </a:cubicBezTo>
                  <a:cubicBezTo>
                    <a:pt x="89" y="76"/>
                    <a:pt x="89" y="76"/>
                    <a:pt x="89" y="76"/>
                  </a:cubicBezTo>
                  <a:cubicBezTo>
                    <a:pt x="88" y="76"/>
                    <a:pt x="88" y="76"/>
                    <a:pt x="87" y="75"/>
                  </a:cubicBezTo>
                  <a:cubicBezTo>
                    <a:pt x="87" y="74"/>
                    <a:pt x="87" y="74"/>
                    <a:pt x="87" y="74"/>
                  </a:cubicBezTo>
                  <a:cubicBezTo>
                    <a:pt x="87" y="75"/>
                    <a:pt x="87" y="75"/>
                    <a:pt x="87" y="75"/>
                  </a:cubicBezTo>
                  <a:cubicBezTo>
                    <a:pt x="86" y="75"/>
                    <a:pt x="86" y="75"/>
                    <a:pt x="85" y="75"/>
                  </a:cubicBezTo>
                  <a:cubicBezTo>
                    <a:pt x="84" y="74"/>
                    <a:pt x="84" y="74"/>
                    <a:pt x="83" y="74"/>
                  </a:cubicBezTo>
                  <a:cubicBezTo>
                    <a:pt x="83" y="73"/>
                    <a:pt x="83" y="73"/>
                    <a:pt x="83" y="73"/>
                  </a:cubicBezTo>
                  <a:cubicBezTo>
                    <a:pt x="82" y="73"/>
                    <a:pt x="82" y="73"/>
                    <a:pt x="82" y="73"/>
                  </a:cubicBezTo>
                  <a:cubicBezTo>
                    <a:pt x="81" y="72"/>
                    <a:pt x="81" y="72"/>
                    <a:pt x="81" y="72"/>
                  </a:cubicBezTo>
                  <a:cubicBezTo>
                    <a:pt x="80" y="71"/>
                    <a:pt x="80" y="71"/>
                    <a:pt x="80" y="71"/>
                  </a:cubicBezTo>
                  <a:cubicBezTo>
                    <a:pt x="80" y="69"/>
                    <a:pt x="80" y="69"/>
                    <a:pt x="80" y="69"/>
                  </a:cubicBezTo>
                  <a:cubicBezTo>
                    <a:pt x="80" y="67"/>
                    <a:pt x="81" y="64"/>
                    <a:pt x="83" y="61"/>
                  </a:cubicBezTo>
                  <a:cubicBezTo>
                    <a:pt x="83" y="61"/>
                    <a:pt x="83" y="61"/>
                    <a:pt x="83" y="61"/>
                  </a:cubicBezTo>
                  <a:cubicBezTo>
                    <a:pt x="84" y="61"/>
                    <a:pt x="84" y="60"/>
                    <a:pt x="84" y="60"/>
                  </a:cubicBezTo>
                  <a:cubicBezTo>
                    <a:pt x="84" y="60"/>
                    <a:pt x="84" y="60"/>
                    <a:pt x="84" y="60"/>
                  </a:cubicBezTo>
                  <a:cubicBezTo>
                    <a:pt x="85" y="58"/>
                    <a:pt x="85" y="58"/>
                    <a:pt x="85" y="58"/>
                  </a:cubicBezTo>
                  <a:cubicBezTo>
                    <a:pt x="86" y="57"/>
                    <a:pt x="86" y="57"/>
                    <a:pt x="86" y="57"/>
                  </a:cubicBezTo>
                  <a:cubicBezTo>
                    <a:pt x="86" y="57"/>
                    <a:pt x="85" y="56"/>
                    <a:pt x="85" y="55"/>
                  </a:cubicBezTo>
                  <a:cubicBezTo>
                    <a:pt x="84" y="53"/>
                    <a:pt x="84" y="51"/>
                    <a:pt x="84" y="49"/>
                  </a:cubicBezTo>
                  <a:cubicBezTo>
                    <a:pt x="84" y="46"/>
                    <a:pt x="85" y="45"/>
                    <a:pt x="86" y="44"/>
                  </a:cubicBezTo>
                  <a:cubicBezTo>
                    <a:pt x="87" y="42"/>
                    <a:pt x="87" y="42"/>
                    <a:pt x="87" y="42"/>
                  </a:cubicBezTo>
                  <a:cubicBezTo>
                    <a:pt x="88" y="41"/>
                    <a:pt x="88" y="41"/>
                    <a:pt x="88" y="40"/>
                  </a:cubicBezTo>
                  <a:cubicBezTo>
                    <a:pt x="88" y="39"/>
                    <a:pt x="88" y="39"/>
                    <a:pt x="88" y="38"/>
                  </a:cubicBezTo>
                  <a:cubicBezTo>
                    <a:pt x="88" y="37"/>
                    <a:pt x="88" y="36"/>
                    <a:pt x="88" y="35"/>
                  </a:cubicBezTo>
                  <a:cubicBezTo>
                    <a:pt x="89" y="33"/>
                    <a:pt x="89" y="33"/>
                    <a:pt x="89" y="33"/>
                  </a:cubicBezTo>
                  <a:cubicBezTo>
                    <a:pt x="89" y="33"/>
                    <a:pt x="90" y="32"/>
                    <a:pt x="90" y="32"/>
                  </a:cubicBezTo>
                  <a:cubicBezTo>
                    <a:pt x="89" y="31"/>
                    <a:pt x="89" y="31"/>
                    <a:pt x="89" y="31"/>
                  </a:cubicBezTo>
                  <a:cubicBezTo>
                    <a:pt x="89" y="31"/>
                    <a:pt x="89" y="31"/>
                    <a:pt x="89" y="31"/>
                  </a:cubicBezTo>
                  <a:cubicBezTo>
                    <a:pt x="89" y="30"/>
                    <a:pt x="88" y="29"/>
                    <a:pt x="88" y="29"/>
                  </a:cubicBezTo>
                  <a:cubicBezTo>
                    <a:pt x="88" y="28"/>
                    <a:pt x="88" y="28"/>
                    <a:pt x="88" y="28"/>
                  </a:cubicBezTo>
                  <a:cubicBezTo>
                    <a:pt x="87" y="26"/>
                    <a:pt x="87" y="25"/>
                    <a:pt x="87" y="23"/>
                  </a:cubicBezTo>
                  <a:cubicBezTo>
                    <a:pt x="86" y="23"/>
                    <a:pt x="86" y="23"/>
                    <a:pt x="86" y="23"/>
                  </a:cubicBezTo>
                  <a:cubicBezTo>
                    <a:pt x="85" y="23"/>
                    <a:pt x="83" y="24"/>
                    <a:pt x="82" y="24"/>
                  </a:cubicBezTo>
                  <a:cubicBezTo>
                    <a:pt x="80" y="24"/>
                    <a:pt x="78" y="24"/>
                    <a:pt x="77" y="24"/>
                  </a:cubicBezTo>
                  <a:cubicBezTo>
                    <a:pt x="76" y="24"/>
                    <a:pt x="75" y="24"/>
                    <a:pt x="74" y="24"/>
                  </a:cubicBezTo>
                  <a:cubicBezTo>
                    <a:pt x="74" y="23"/>
                    <a:pt x="74" y="23"/>
                    <a:pt x="74" y="23"/>
                  </a:cubicBezTo>
                  <a:cubicBezTo>
                    <a:pt x="74" y="24"/>
                    <a:pt x="74" y="24"/>
                    <a:pt x="74" y="24"/>
                  </a:cubicBezTo>
                  <a:cubicBezTo>
                    <a:pt x="73" y="23"/>
                    <a:pt x="72" y="23"/>
                    <a:pt x="71" y="22"/>
                  </a:cubicBezTo>
                  <a:cubicBezTo>
                    <a:pt x="71" y="21"/>
                    <a:pt x="71" y="21"/>
                    <a:pt x="70" y="20"/>
                  </a:cubicBezTo>
                  <a:cubicBezTo>
                    <a:pt x="70" y="20"/>
                    <a:pt x="70" y="20"/>
                    <a:pt x="70" y="20"/>
                  </a:cubicBezTo>
                  <a:cubicBezTo>
                    <a:pt x="69" y="19"/>
                    <a:pt x="69" y="18"/>
                    <a:pt x="68" y="17"/>
                  </a:cubicBezTo>
                  <a:cubicBezTo>
                    <a:pt x="68" y="17"/>
                    <a:pt x="68" y="17"/>
                    <a:pt x="68" y="17"/>
                  </a:cubicBezTo>
                  <a:cubicBezTo>
                    <a:pt x="67" y="15"/>
                    <a:pt x="67" y="14"/>
                    <a:pt x="68" y="13"/>
                  </a:cubicBezTo>
                  <a:cubicBezTo>
                    <a:pt x="63" y="5"/>
                    <a:pt x="63" y="5"/>
                    <a:pt x="63" y="5"/>
                  </a:cubicBezTo>
                  <a:cubicBezTo>
                    <a:pt x="62" y="5"/>
                    <a:pt x="62" y="5"/>
                    <a:pt x="62" y="5"/>
                  </a:cubicBezTo>
                  <a:cubicBezTo>
                    <a:pt x="62" y="4"/>
                    <a:pt x="61" y="3"/>
                    <a:pt x="61" y="2"/>
                  </a:cubicBezTo>
                  <a:cubicBezTo>
                    <a:pt x="60" y="2"/>
                    <a:pt x="60" y="2"/>
                    <a:pt x="60" y="2"/>
                  </a:cubicBezTo>
                  <a:cubicBezTo>
                    <a:pt x="60" y="1"/>
                    <a:pt x="60" y="1"/>
                    <a:pt x="60" y="1"/>
                  </a:cubicBezTo>
                  <a:cubicBezTo>
                    <a:pt x="59" y="1"/>
                    <a:pt x="59" y="1"/>
                    <a:pt x="59" y="1"/>
                  </a:cubicBezTo>
                  <a:cubicBezTo>
                    <a:pt x="59" y="0"/>
                    <a:pt x="59" y="0"/>
                    <a:pt x="59" y="0"/>
                  </a:cubicBezTo>
                  <a:cubicBezTo>
                    <a:pt x="59"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Rectangle 522"/>
            <p:cNvSpPr>
              <a:spLocks noChangeArrowheads="1"/>
            </p:cNvSpPr>
            <p:nvPr/>
          </p:nvSpPr>
          <p:spPr bwMode="auto">
            <a:xfrm>
              <a:off x="5676295" y="4130112"/>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523"/>
            <p:cNvSpPr/>
            <p:nvPr/>
          </p:nvSpPr>
          <p:spPr bwMode="auto">
            <a:xfrm flipH="1">
              <a:off x="5676295" y="413011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524"/>
            <p:cNvSpPr/>
            <p:nvPr/>
          </p:nvSpPr>
          <p:spPr bwMode="auto">
            <a:xfrm>
              <a:off x="5473483" y="4073700"/>
              <a:ext cx="568142" cy="672906"/>
            </a:xfrm>
            <a:custGeom>
              <a:gdLst>
                <a:gd name="T0" fmla="*/ 36 w 179"/>
                <a:gd name="T1" fmla="*/ 6 h 212"/>
                <a:gd name="T2" fmla="*/ 39 w 179"/>
                <a:gd name="T3" fmla="*/ 26 h 212"/>
                <a:gd name="T4" fmla="*/ 30 w 179"/>
                <a:gd name="T5" fmla="*/ 33 h 212"/>
                <a:gd name="T6" fmla="*/ 24 w 179"/>
                <a:gd name="T7" fmla="*/ 34 h 212"/>
                <a:gd name="T8" fmla="*/ 10 w 179"/>
                <a:gd name="T9" fmla="*/ 37 h 212"/>
                <a:gd name="T10" fmla="*/ 3 w 179"/>
                <a:gd name="T11" fmla="*/ 43 h 212"/>
                <a:gd name="T12" fmla="*/ 7 w 179"/>
                <a:gd name="T13" fmla="*/ 53 h 212"/>
                <a:gd name="T14" fmla="*/ 7 w 179"/>
                <a:gd name="T15" fmla="*/ 67 h 212"/>
                <a:gd name="T16" fmla="*/ 19 w 179"/>
                <a:gd name="T17" fmla="*/ 70 h 212"/>
                <a:gd name="T18" fmla="*/ 26 w 179"/>
                <a:gd name="T19" fmla="*/ 76 h 212"/>
                <a:gd name="T20" fmla="*/ 28 w 179"/>
                <a:gd name="T21" fmla="*/ 89 h 212"/>
                <a:gd name="T22" fmla="*/ 24 w 179"/>
                <a:gd name="T23" fmla="*/ 99 h 212"/>
                <a:gd name="T24" fmla="*/ 27 w 179"/>
                <a:gd name="T25" fmla="*/ 116 h 212"/>
                <a:gd name="T26" fmla="*/ 32 w 179"/>
                <a:gd name="T27" fmla="*/ 113 h 212"/>
                <a:gd name="T28" fmla="*/ 47 w 179"/>
                <a:gd name="T29" fmla="*/ 105 h 212"/>
                <a:gd name="T30" fmla="*/ 65 w 179"/>
                <a:gd name="T31" fmla="*/ 110 h 212"/>
                <a:gd name="T32" fmla="*/ 78 w 179"/>
                <a:gd name="T33" fmla="*/ 98 h 212"/>
                <a:gd name="T34" fmla="*/ 96 w 179"/>
                <a:gd name="T35" fmla="*/ 106 h 212"/>
                <a:gd name="T36" fmla="*/ 113 w 179"/>
                <a:gd name="T37" fmla="*/ 125 h 212"/>
                <a:gd name="T38" fmla="*/ 114 w 179"/>
                <a:gd name="T39" fmla="*/ 134 h 212"/>
                <a:gd name="T40" fmla="*/ 113 w 179"/>
                <a:gd name="T41" fmla="*/ 148 h 212"/>
                <a:gd name="T42" fmla="*/ 121 w 179"/>
                <a:gd name="T43" fmla="*/ 158 h 212"/>
                <a:gd name="T44" fmla="*/ 128 w 179"/>
                <a:gd name="T45" fmla="*/ 165 h 212"/>
                <a:gd name="T46" fmla="*/ 134 w 179"/>
                <a:gd name="T47" fmla="*/ 175 h 212"/>
                <a:gd name="T48" fmla="*/ 131 w 179"/>
                <a:gd name="T49" fmla="*/ 202 h 212"/>
                <a:gd name="T50" fmla="*/ 130 w 179"/>
                <a:gd name="T51" fmla="*/ 207 h 212"/>
                <a:gd name="T52" fmla="*/ 140 w 179"/>
                <a:gd name="T53" fmla="*/ 211 h 212"/>
                <a:gd name="T54" fmla="*/ 142 w 179"/>
                <a:gd name="T55" fmla="*/ 212 h 212"/>
                <a:gd name="T56" fmla="*/ 145 w 179"/>
                <a:gd name="T57" fmla="*/ 199 h 212"/>
                <a:gd name="T58" fmla="*/ 155 w 179"/>
                <a:gd name="T59" fmla="*/ 195 h 212"/>
                <a:gd name="T60" fmla="*/ 165 w 179"/>
                <a:gd name="T61" fmla="*/ 201 h 212"/>
                <a:gd name="T62" fmla="*/ 175 w 179"/>
                <a:gd name="T63" fmla="*/ 192 h 212"/>
                <a:gd name="T64" fmla="*/ 176 w 179"/>
                <a:gd name="T65" fmla="*/ 178 h 212"/>
                <a:gd name="T66" fmla="*/ 172 w 179"/>
                <a:gd name="T67" fmla="*/ 163 h 212"/>
                <a:gd name="T68" fmla="*/ 166 w 179"/>
                <a:gd name="T69" fmla="*/ 158 h 212"/>
                <a:gd name="T70" fmla="*/ 161 w 179"/>
                <a:gd name="T71" fmla="*/ 153 h 212"/>
                <a:gd name="T72" fmla="*/ 154 w 179"/>
                <a:gd name="T73" fmla="*/ 152 h 212"/>
                <a:gd name="T74" fmla="*/ 152 w 179"/>
                <a:gd name="T75" fmla="*/ 145 h 212"/>
                <a:gd name="T76" fmla="*/ 148 w 179"/>
                <a:gd name="T77" fmla="*/ 137 h 212"/>
                <a:gd name="T78" fmla="*/ 141 w 179"/>
                <a:gd name="T79" fmla="*/ 129 h 212"/>
                <a:gd name="T80" fmla="*/ 127 w 179"/>
                <a:gd name="T81" fmla="*/ 113 h 212"/>
                <a:gd name="T82" fmla="*/ 117 w 179"/>
                <a:gd name="T83" fmla="*/ 98 h 212"/>
                <a:gd name="T84" fmla="*/ 89 w 179"/>
                <a:gd name="T85" fmla="*/ 75 h 212"/>
                <a:gd name="T86" fmla="*/ 91 w 179"/>
                <a:gd name="T87" fmla="*/ 66 h 212"/>
                <a:gd name="T88" fmla="*/ 99 w 179"/>
                <a:gd name="T89" fmla="*/ 66 h 212"/>
                <a:gd name="T90" fmla="*/ 106 w 179"/>
                <a:gd name="T91" fmla="*/ 66 h 212"/>
                <a:gd name="T92" fmla="*/ 109 w 179"/>
                <a:gd name="T93" fmla="*/ 56 h 212"/>
                <a:gd name="T94" fmla="*/ 100 w 179"/>
                <a:gd name="T95" fmla="*/ 47 h 212"/>
                <a:gd name="T96" fmla="*/ 98 w 179"/>
                <a:gd name="T97" fmla="*/ 47 h 212"/>
                <a:gd name="T98" fmla="*/ 97 w 179"/>
                <a:gd name="T99" fmla="*/ 41 h 212"/>
                <a:gd name="T100" fmla="*/ 89 w 179"/>
                <a:gd name="T101" fmla="*/ 43 h 212"/>
                <a:gd name="T102" fmla="*/ 84 w 179"/>
                <a:gd name="T103" fmla="*/ 47 h 212"/>
                <a:gd name="T104" fmla="*/ 78 w 179"/>
                <a:gd name="T105" fmla="*/ 45 h 212"/>
                <a:gd name="T106" fmla="*/ 63 w 179"/>
                <a:gd name="T107" fmla="*/ 32 h 212"/>
                <a:gd name="T108" fmla="*/ 62 w 179"/>
                <a:gd name="T109" fmla="*/ 27 h 212"/>
                <a:gd name="T110" fmla="*/ 63 w 179"/>
                <a:gd name="T111" fmla="*/ 21 h 212"/>
                <a:gd name="T112" fmla="*/ 56 w 179"/>
                <a:gd name="T113" fmla="*/ 17 h 212"/>
                <a:gd name="T114" fmla="*/ 44 w 179"/>
                <a:gd name="T115" fmla="*/ 2 h 2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 h="211">
                  <a:moveTo>
                    <a:pt x="37" y="0"/>
                  </a:moveTo>
                  <a:cubicBezTo>
                    <a:pt x="36" y="0"/>
                    <a:pt x="36" y="0"/>
                    <a:pt x="36" y="0"/>
                  </a:cubicBezTo>
                  <a:cubicBezTo>
                    <a:pt x="36" y="1"/>
                    <a:pt x="36" y="1"/>
                    <a:pt x="36" y="2"/>
                  </a:cubicBezTo>
                  <a:cubicBezTo>
                    <a:pt x="35" y="2"/>
                    <a:pt x="35" y="3"/>
                    <a:pt x="34" y="3"/>
                  </a:cubicBezTo>
                  <a:cubicBezTo>
                    <a:pt x="34" y="4"/>
                    <a:pt x="34" y="4"/>
                    <a:pt x="34" y="4"/>
                  </a:cubicBezTo>
                  <a:cubicBezTo>
                    <a:pt x="34" y="4"/>
                    <a:pt x="35" y="6"/>
                    <a:pt x="36" y="6"/>
                  </a:cubicBezTo>
                  <a:cubicBezTo>
                    <a:pt x="36" y="7"/>
                    <a:pt x="36" y="7"/>
                    <a:pt x="36" y="7"/>
                  </a:cubicBezTo>
                  <a:cubicBezTo>
                    <a:pt x="37" y="8"/>
                    <a:pt x="37" y="9"/>
                    <a:pt x="38" y="9"/>
                  </a:cubicBezTo>
                  <a:cubicBezTo>
                    <a:pt x="39" y="13"/>
                    <a:pt x="40" y="15"/>
                    <a:pt x="40" y="19"/>
                  </a:cubicBezTo>
                  <a:cubicBezTo>
                    <a:pt x="39" y="20"/>
                    <a:pt x="39" y="20"/>
                    <a:pt x="39" y="20"/>
                  </a:cubicBezTo>
                  <a:cubicBezTo>
                    <a:pt x="39" y="24"/>
                    <a:pt x="39" y="25"/>
                    <a:pt x="39" y="26"/>
                  </a:cubicBezTo>
                  <a:cubicBezTo>
                    <a:pt x="39" y="26"/>
                    <a:pt x="39" y="26"/>
                    <a:pt x="39" y="26"/>
                  </a:cubicBezTo>
                  <a:cubicBezTo>
                    <a:pt x="40" y="26"/>
                    <a:pt x="40" y="26"/>
                    <a:pt x="40" y="26"/>
                  </a:cubicBezTo>
                  <a:cubicBezTo>
                    <a:pt x="44" y="28"/>
                    <a:pt x="44" y="28"/>
                    <a:pt x="44" y="28"/>
                  </a:cubicBezTo>
                  <a:cubicBezTo>
                    <a:pt x="40" y="31"/>
                    <a:pt x="40" y="31"/>
                    <a:pt x="40" y="31"/>
                  </a:cubicBezTo>
                  <a:cubicBezTo>
                    <a:pt x="38" y="33"/>
                    <a:pt x="37" y="34"/>
                    <a:pt x="35" y="34"/>
                  </a:cubicBezTo>
                  <a:cubicBezTo>
                    <a:pt x="34" y="34"/>
                    <a:pt x="33" y="34"/>
                    <a:pt x="31" y="34"/>
                  </a:cubicBezTo>
                  <a:cubicBezTo>
                    <a:pt x="30" y="33"/>
                    <a:pt x="30" y="33"/>
                    <a:pt x="30" y="33"/>
                  </a:cubicBezTo>
                  <a:cubicBezTo>
                    <a:pt x="30" y="33"/>
                    <a:pt x="29" y="33"/>
                    <a:pt x="28" y="33"/>
                  </a:cubicBezTo>
                  <a:cubicBezTo>
                    <a:pt x="28" y="33"/>
                    <a:pt x="28" y="33"/>
                    <a:pt x="28" y="33"/>
                  </a:cubicBezTo>
                  <a:cubicBezTo>
                    <a:pt x="27" y="33"/>
                    <a:pt x="27" y="33"/>
                    <a:pt x="27" y="33"/>
                  </a:cubicBezTo>
                  <a:cubicBezTo>
                    <a:pt x="27" y="33"/>
                    <a:pt x="27" y="33"/>
                    <a:pt x="26" y="34"/>
                  </a:cubicBezTo>
                  <a:cubicBezTo>
                    <a:pt x="26" y="34"/>
                    <a:pt x="26" y="34"/>
                    <a:pt x="26" y="34"/>
                  </a:cubicBezTo>
                  <a:cubicBezTo>
                    <a:pt x="24" y="34"/>
                    <a:pt x="24" y="34"/>
                    <a:pt x="24" y="34"/>
                  </a:cubicBezTo>
                  <a:cubicBezTo>
                    <a:pt x="22" y="33"/>
                    <a:pt x="20" y="30"/>
                    <a:pt x="19" y="25"/>
                  </a:cubicBezTo>
                  <a:cubicBezTo>
                    <a:pt x="19" y="26"/>
                    <a:pt x="19" y="26"/>
                    <a:pt x="19" y="26"/>
                  </a:cubicBezTo>
                  <a:cubicBezTo>
                    <a:pt x="17" y="27"/>
                    <a:pt x="15" y="28"/>
                    <a:pt x="14" y="29"/>
                  </a:cubicBezTo>
                  <a:cubicBezTo>
                    <a:pt x="13" y="30"/>
                    <a:pt x="13" y="30"/>
                    <a:pt x="12" y="32"/>
                  </a:cubicBezTo>
                  <a:cubicBezTo>
                    <a:pt x="10" y="35"/>
                    <a:pt x="10" y="35"/>
                    <a:pt x="10" y="35"/>
                  </a:cubicBezTo>
                  <a:cubicBezTo>
                    <a:pt x="10" y="36"/>
                    <a:pt x="10" y="36"/>
                    <a:pt x="10" y="37"/>
                  </a:cubicBezTo>
                  <a:cubicBezTo>
                    <a:pt x="10" y="37"/>
                    <a:pt x="10" y="37"/>
                    <a:pt x="10" y="37"/>
                  </a:cubicBezTo>
                  <a:cubicBezTo>
                    <a:pt x="11" y="38"/>
                    <a:pt x="11" y="38"/>
                    <a:pt x="11" y="38"/>
                  </a:cubicBezTo>
                  <a:cubicBezTo>
                    <a:pt x="13" y="42"/>
                    <a:pt x="13" y="42"/>
                    <a:pt x="13" y="42"/>
                  </a:cubicBezTo>
                  <a:cubicBezTo>
                    <a:pt x="9" y="42"/>
                    <a:pt x="9" y="42"/>
                    <a:pt x="9" y="42"/>
                  </a:cubicBezTo>
                  <a:cubicBezTo>
                    <a:pt x="8" y="43"/>
                    <a:pt x="7" y="43"/>
                    <a:pt x="6" y="43"/>
                  </a:cubicBezTo>
                  <a:cubicBezTo>
                    <a:pt x="4" y="43"/>
                    <a:pt x="3" y="43"/>
                    <a:pt x="3" y="43"/>
                  </a:cubicBezTo>
                  <a:cubicBezTo>
                    <a:pt x="2" y="44"/>
                    <a:pt x="2" y="44"/>
                    <a:pt x="2" y="44"/>
                  </a:cubicBezTo>
                  <a:cubicBezTo>
                    <a:pt x="1" y="45"/>
                    <a:pt x="0" y="47"/>
                    <a:pt x="0" y="49"/>
                  </a:cubicBezTo>
                  <a:cubicBezTo>
                    <a:pt x="0" y="49"/>
                    <a:pt x="0" y="49"/>
                    <a:pt x="0" y="49"/>
                  </a:cubicBezTo>
                  <a:cubicBezTo>
                    <a:pt x="0" y="49"/>
                    <a:pt x="0" y="49"/>
                    <a:pt x="0" y="49"/>
                  </a:cubicBezTo>
                  <a:cubicBezTo>
                    <a:pt x="3" y="49"/>
                    <a:pt x="5" y="50"/>
                    <a:pt x="6" y="51"/>
                  </a:cubicBezTo>
                  <a:cubicBezTo>
                    <a:pt x="7" y="53"/>
                    <a:pt x="7" y="53"/>
                    <a:pt x="7" y="53"/>
                  </a:cubicBezTo>
                  <a:cubicBezTo>
                    <a:pt x="8" y="53"/>
                    <a:pt x="8" y="54"/>
                    <a:pt x="8" y="54"/>
                  </a:cubicBezTo>
                  <a:cubicBezTo>
                    <a:pt x="10" y="55"/>
                    <a:pt x="10" y="57"/>
                    <a:pt x="10" y="61"/>
                  </a:cubicBezTo>
                  <a:cubicBezTo>
                    <a:pt x="9" y="62"/>
                    <a:pt x="9" y="64"/>
                    <a:pt x="8" y="65"/>
                  </a:cubicBezTo>
                  <a:cubicBezTo>
                    <a:pt x="8" y="66"/>
                    <a:pt x="8" y="66"/>
                    <a:pt x="8" y="66"/>
                  </a:cubicBezTo>
                  <a:cubicBezTo>
                    <a:pt x="8" y="66"/>
                    <a:pt x="8" y="66"/>
                    <a:pt x="8" y="66"/>
                  </a:cubicBezTo>
                  <a:cubicBezTo>
                    <a:pt x="8" y="66"/>
                    <a:pt x="7" y="67"/>
                    <a:pt x="7" y="67"/>
                  </a:cubicBezTo>
                  <a:cubicBezTo>
                    <a:pt x="7" y="67"/>
                    <a:pt x="7" y="67"/>
                    <a:pt x="7" y="67"/>
                  </a:cubicBezTo>
                  <a:cubicBezTo>
                    <a:pt x="7" y="68"/>
                    <a:pt x="7" y="68"/>
                    <a:pt x="7" y="68"/>
                  </a:cubicBezTo>
                  <a:cubicBezTo>
                    <a:pt x="7" y="68"/>
                    <a:pt x="7" y="69"/>
                    <a:pt x="8" y="69"/>
                  </a:cubicBezTo>
                  <a:cubicBezTo>
                    <a:pt x="8" y="70"/>
                    <a:pt x="9" y="70"/>
                    <a:pt x="9" y="71"/>
                  </a:cubicBezTo>
                  <a:cubicBezTo>
                    <a:pt x="9" y="71"/>
                    <a:pt x="10" y="71"/>
                    <a:pt x="10" y="71"/>
                  </a:cubicBezTo>
                  <a:cubicBezTo>
                    <a:pt x="13" y="71"/>
                    <a:pt x="16" y="70"/>
                    <a:pt x="19" y="70"/>
                  </a:cubicBezTo>
                  <a:cubicBezTo>
                    <a:pt x="21" y="70"/>
                    <a:pt x="23" y="69"/>
                    <a:pt x="24" y="69"/>
                  </a:cubicBezTo>
                  <a:cubicBezTo>
                    <a:pt x="27" y="69"/>
                    <a:pt x="27" y="69"/>
                    <a:pt x="27" y="69"/>
                  </a:cubicBezTo>
                  <a:cubicBezTo>
                    <a:pt x="27" y="72"/>
                    <a:pt x="27" y="72"/>
                    <a:pt x="27" y="72"/>
                  </a:cubicBezTo>
                  <a:cubicBezTo>
                    <a:pt x="28" y="72"/>
                    <a:pt x="28" y="73"/>
                    <a:pt x="27" y="73"/>
                  </a:cubicBezTo>
                  <a:cubicBezTo>
                    <a:pt x="27" y="75"/>
                    <a:pt x="27" y="75"/>
                    <a:pt x="27" y="76"/>
                  </a:cubicBezTo>
                  <a:cubicBezTo>
                    <a:pt x="26" y="76"/>
                    <a:pt x="26" y="76"/>
                    <a:pt x="26" y="76"/>
                  </a:cubicBezTo>
                  <a:cubicBezTo>
                    <a:pt x="26" y="76"/>
                    <a:pt x="26" y="76"/>
                    <a:pt x="26" y="76"/>
                  </a:cubicBezTo>
                  <a:cubicBezTo>
                    <a:pt x="26" y="77"/>
                    <a:pt x="26" y="78"/>
                    <a:pt x="26" y="79"/>
                  </a:cubicBezTo>
                  <a:cubicBezTo>
                    <a:pt x="27" y="80"/>
                    <a:pt x="27" y="80"/>
                    <a:pt x="27" y="80"/>
                  </a:cubicBezTo>
                  <a:cubicBezTo>
                    <a:pt x="27" y="80"/>
                    <a:pt x="27" y="80"/>
                    <a:pt x="27" y="81"/>
                  </a:cubicBezTo>
                  <a:cubicBezTo>
                    <a:pt x="28" y="83"/>
                    <a:pt x="29" y="84"/>
                    <a:pt x="29" y="87"/>
                  </a:cubicBezTo>
                  <a:cubicBezTo>
                    <a:pt x="29" y="88"/>
                    <a:pt x="28" y="89"/>
                    <a:pt x="28" y="89"/>
                  </a:cubicBezTo>
                  <a:cubicBezTo>
                    <a:pt x="27" y="90"/>
                    <a:pt x="27" y="90"/>
                    <a:pt x="27" y="90"/>
                  </a:cubicBezTo>
                  <a:cubicBezTo>
                    <a:pt x="27" y="91"/>
                    <a:pt x="27" y="91"/>
                    <a:pt x="27" y="91"/>
                  </a:cubicBezTo>
                  <a:cubicBezTo>
                    <a:pt x="27" y="92"/>
                    <a:pt x="27" y="92"/>
                    <a:pt x="27" y="92"/>
                  </a:cubicBezTo>
                  <a:cubicBezTo>
                    <a:pt x="27" y="93"/>
                    <a:pt x="27" y="93"/>
                    <a:pt x="27" y="93"/>
                  </a:cubicBezTo>
                  <a:cubicBezTo>
                    <a:pt x="27" y="94"/>
                    <a:pt x="27" y="96"/>
                    <a:pt x="25" y="98"/>
                  </a:cubicBezTo>
                  <a:cubicBezTo>
                    <a:pt x="25" y="98"/>
                    <a:pt x="25" y="99"/>
                    <a:pt x="24" y="99"/>
                  </a:cubicBezTo>
                  <a:cubicBezTo>
                    <a:pt x="24" y="101"/>
                    <a:pt x="24" y="101"/>
                    <a:pt x="24" y="101"/>
                  </a:cubicBezTo>
                  <a:cubicBezTo>
                    <a:pt x="23" y="101"/>
                    <a:pt x="23" y="102"/>
                    <a:pt x="23" y="102"/>
                  </a:cubicBezTo>
                  <a:cubicBezTo>
                    <a:pt x="23" y="103"/>
                    <a:pt x="23" y="104"/>
                    <a:pt x="24" y="106"/>
                  </a:cubicBezTo>
                  <a:cubicBezTo>
                    <a:pt x="24" y="107"/>
                    <a:pt x="25" y="109"/>
                    <a:pt x="24" y="111"/>
                  </a:cubicBezTo>
                  <a:cubicBezTo>
                    <a:pt x="24" y="112"/>
                    <a:pt x="24" y="113"/>
                    <a:pt x="23" y="114"/>
                  </a:cubicBezTo>
                  <a:cubicBezTo>
                    <a:pt x="27" y="116"/>
                    <a:pt x="27" y="116"/>
                    <a:pt x="27" y="116"/>
                  </a:cubicBezTo>
                  <a:cubicBezTo>
                    <a:pt x="23" y="115"/>
                    <a:pt x="23" y="115"/>
                    <a:pt x="23" y="115"/>
                  </a:cubicBezTo>
                  <a:cubicBezTo>
                    <a:pt x="21" y="117"/>
                    <a:pt x="21" y="117"/>
                    <a:pt x="21" y="117"/>
                  </a:cubicBezTo>
                  <a:cubicBezTo>
                    <a:pt x="20" y="119"/>
                    <a:pt x="19" y="121"/>
                    <a:pt x="19" y="121"/>
                  </a:cubicBezTo>
                  <a:cubicBezTo>
                    <a:pt x="20" y="122"/>
                    <a:pt x="20" y="122"/>
                    <a:pt x="21" y="122"/>
                  </a:cubicBezTo>
                  <a:cubicBezTo>
                    <a:pt x="22" y="121"/>
                    <a:pt x="22" y="121"/>
                    <a:pt x="22" y="121"/>
                  </a:cubicBezTo>
                  <a:cubicBezTo>
                    <a:pt x="25" y="118"/>
                    <a:pt x="28" y="115"/>
                    <a:pt x="32" y="113"/>
                  </a:cubicBezTo>
                  <a:cubicBezTo>
                    <a:pt x="32" y="113"/>
                    <a:pt x="33" y="112"/>
                    <a:pt x="33" y="111"/>
                  </a:cubicBezTo>
                  <a:cubicBezTo>
                    <a:pt x="36" y="109"/>
                    <a:pt x="36" y="109"/>
                    <a:pt x="36" y="109"/>
                  </a:cubicBezTo>
                  <a:cubicBezTo>
                    <a:pt x="38" y="108"/>
                    <a:pt x="40" y="107"/>
                    <a:pt x="42" y="105"/>
                  </a:cubicBezTo>
                  <a:cubicBezTo>
                    <a:pt x="43" y="105"/>
                    <a:pt x="43" y="105"/>
                    <a:pt x="44" y="104"/>
                  </a:cubicBezTo>
                  <a:cubicBezTo>
                    <a:pt x="45" y="104"/>
                    <a:pt x="45" y="104"/>
                    <a:pt x="45" y="104"/>
                  </a:cubicBezTo>
                  <a:cubicBezTo>
                    <a:pt x="46" y="104"/>
                    <a:pt x="47" y="105"/>
                    <a:pt x="47" y="105"/>
                  </a:cubicBezTo>
                  <a:cubicBezTo>
                    <a:pt x="48" y="105"/>
                    <a:pt x="48" y="105"/>
                    <a:pt x="48" y="105"/>
                  </a:cubicBezTo>
                  <a:cubicBezTo>
                    <a:pt x="50" y="107"/>
                    <a:pt x="50" y="107"/>
                    <a:pt x="50" y="107"/>
                  </a:cubicBezTo>
                  <a:cubicBezTo>
                    <a:pt x="53" y="109"/>
                    <a:pt x="55" y="111"/>
                    <a:pt x="58" y="113"/>
                  </a:cubicBezTo>
                  <a:cubicBezTo>
                    <a:pt x="59" y="112"/>
                    <a:pt x="59" y="112"/>
                    <a:pt x="59" y="112"/>
                  </a:cubicBezTo>
                  <a:cubicBezTo>
                    <a:pt x="60" y="112"/>
                    <a:pt x="61" y="111"/>
                    <a:pt x="62" y="110"/>
                  </a:cubicBezTo>
                  <a:cubicBezTo>
                    <a:pt x="63" y="110"/>
                    <a:pt x="64" y="110"/>
                    <a:pt x="65" y="110"/>
                  </a:cubicBezTo>
                  <a:cubicBezTo>
                    <a:pt x="66" y="110"/>
                    <a:pt x="66" y="110"/>
                    <a:pt x="66" y="110"/>
                  </a:cubicBezTo>
                  <a:cubicBezTo>
                    <a:pt x="66" y="109"/>
                    <a:pt x="66" y="109"/>
                    <a:pt x="66" y="109"/>
                  </a:cubicBezTo>
                  <a:cubicBezTo>
                    <a:pt x="66" y="109"/>
                    <a:pt x="66" y="107"/>
                    <a:pt x="68" y="106"/>
                  </a:cubicBezTo>
                  <a:cubicBezTo>
                    <a:pt x="69" y="104"/>
                    <a:pt x="70" y="103"/>
                    <a:pt x="72" y="102"/>
                  </a:cubicBezTo>
                  <a:cubicBezTo>
                    <a:pt x="72" y="101"/>
                    <a:pt x="72" y="101"/>
                    <a:pt x="72" y="101"/>
                  </a:cubicBezTo>
                  <a:cubicBezTo>
                    <a:pt x="74" y="100"/>
                    <a:pt x="76" y="98"/>
                    <a:pt x="78" y="98"/>
                  </a:cubicBezTo>
                  <a:cubicBezTo>
                    <a:pt x="78" y="98"/>
                    <a:pt x="78" y="98"/>
                    <a:pt x="78" y="98"/>
                  </a:cubicBezTo>
                  <a:cubicBezTo>
                    <a:pt x="79" y="98"/>
                    <a:pt x="80" y="98"/>
                    <a:pt x="81" y="99"/>
                  </a:cubicBezTo>
                  <a:cubicBezTo>
                    <a:pt x="83" y="99"/>
                    <a:pt x="83" y="99"/>
                    <a:pt x="83" y="99"/>
                  </a:cubicBezTo>
                  <a:cubicBezTo>
                    <a:pt x="84" y="100"/>
                    <a:pt x="86" y="100"/>
                    <a:pt x="86" y="100"/>
                  </a:cubicBezTo>
                  <a:cubicBezTo>
                    <a:pt x="90" y="101"/>
                    <a:pt x="93" y="101"/>
                    <a:pt x="96" y="106"/>
                  </a:cubicBezTo>
                  <a:cubicBezTo>
                    <a:pt x="96" y="106"/>
                    <a:pt x="96" y="106"/>
                    <a:pt x="96" y="106"/>
                  </a:cubicBezTo>
                  <a:cubicBezTo>
                    <a:pt x="100" y="104"/>
                    <a:pt x="100" y="104"/>
                    <a:pt x="100" y="104"/>
                  </a:cubicBezTo>
                  <a:cubicBezTo>
                    <a:pt x="97" y="108"/>
                    <a:pt x="97" y="108"/>
                    <a:pt x="97" y="108"/>
                  </a:cubicBezTo>
                  <a:cubicBezTo>
                    <a:pt x="98" y="110"/>
                    <a:pt x="98" y="110"/>
                    <a:pt x="98" y="110"/>
                  </a:cubicBezTo>
                  <a:cubicBezTo>
                    <a:pt x="99" y="110"/>
                    <a:pt x="99" y="111"/>
                    <a:pt x="100" y="112"/>
                  </a:cubicBezTo>
                  <a:cubicBezTo>
                    <a:pt x="101" y="115"/>
                    <a:pt x="105" y="118"/>
                    <a:pt x="108" y="121"/>
                  </a:cubicBezTo>
                  <a:cubicBezTo>
                    <a:pt x="110" y="122"/>
                    <a:pt x="111" y="124"/>
                    <a:pt x="113" y="125"/>
                  </a:cubicBezTo>
                  <a:cubicBezTo>
                    <a:pt x="113" y="126"/>
                    <a:pt x="114" y="128"/>
                    <a:pt x="114" y="129"/>
                  </a:cubicBezTo>
                  <a:cubicBezTo>
                    <a:pt x="119" y="128"/>
                    <a:pt x="119" y="128"/>
                    <a:pt x="119" y="128"/>
                  </a:cubicBezTo>
                  <a:cubicBezTo>
                    <a:pt x="115" y="130"/>
                    <a:pt x="115" y="130"/>
                    <a:pt x="115" y="130"/>
                  </a:cubicBezTo>
                  <a:cubicBezTo>
                    <a:pt x="115" y="131"/>
                    <a:pt x="115" y="131"/>
                    <a:pt x="115" y="131"/>
                  </a:cubicBezTo>
                  <a:cubicBezTo>
                    <a:pt x="114" y="132"/>
                    <a:pt x="114" y="132"/>
                    <a:pt x="114" y="132"/>
                  </a:cubicBezTo>
                  <a:cubicBezTo>
                    <a:pt x="114" y="133"/>
                    <a:pt x="114" y="133"/>
                    <a:pt x="114" y="134"/>
                  </a:cubicBezTo>
                  <a:cubicBezTo>
                    <a:pt x="114" y="135"/>
                    <a:pt x="114" y="135"/>
                    <a:pt x="114" y="135"/>
                  </a:cubicBezTo>
                  <a:cubicBezTo>
                    <a:pt x="114" y="135"/>
                    <a:pt x="114" y="136"/>
                    <a:pt x="113" y="137"/>
                  </a:cubicBezTo>
                  <a:cubicBezTo>
                    <a:pt x="113" y="138"/>
                    <a:pt x="113" y="138"/>
                    <a:pt x="113" y="138"/>
                  </a:cubicBezTo>
                  <a:cubicBezTo>
                    <a:pt x="113" y="140"/>
                    <a:pt x="112" y="143"/>
                    <a:pt x="113" y="146"/>
                  </a:cubicBezTo>
                  <a:cubicBezTo>
                    <a:pt x="113" y="147"/>
                    <a:pt x="113" y="147"/>
                    <a:pt x="113" y="147"/>
                  </a:cubicBezTo>
                  <a:cubicBezTo>
                    <a:pt x="113" y="147"/>
                    <a:pt x="113" y="147"/>
                    <a:pt x="113" y="148"/>
                  </a:cubicBezTo>
                  <a:cubicBezTo>
                    <a:pt x="113" y="148"/>
                    <a:pt x="113" y="148"/>
                    <a:pt x="114" y="149"/>
                  </a:cubicBezTo>
                  <a:cubicBezTo>
                    <a:pt x="114" y="150"/>
                    <a:pt x="114" y="150"/>
                    <a:pt x="114" y="150"/>
                  </a:cubicBezTo>
                  <a:cubicBezTo>
                    <a:pt x="115" y="151"/>
                    <a:pt x="116" y="152"/>
                    <a:pt x="116" y="152"/>
                  </a:cubicBezTo>
                  <a:cubicBezTo>
                    <a:pt x="118" y="154"/>
                    <a:pt x="118" y="155"/>
                    <a:pt x="119" y="156"/>
                  </a:cubicBezTo>
                  <a:cubicBezTo>
                    <a:pt x="120" y="156"/>
                    <a:pt x="120" y="156"/>
                    <a:pt x="120" y="156"/>
                  </a:cubicBezTo>
                  <a:cubicBezTo>
                    <a:pt x="120" y="157"/>
                    <a:pt x="120" y="158"/>
                    <a:pt x="121" y="158"/>
                  </a:cubicBezTo>
                  <a:cubicBezTo>
                    <a:pt x="121" y="159"/>
                    <a:pt x="123" y="159"/>
                    <a:pt x="124" y="159"/>
                  </a:cubicBezTo>
                  <a:cubicBezTo>
                    <a:pt x="125" y="159"/>
                    <a:pt x="125" y="159"/>
                    <a:pt x="125" y="159"/>
                  </a:cubicBezTo>
                  <a:cubicBezTo>
                    <a:pt x="126" y="159"/>
                    <a:pt x="127" y="160"/>
                    <a:pt x="127" y="160"/>
                  </a:cubicBezTo>
                  <a:cubicBezTo>
                    <a:pt x="134" y="162"/>
                    <a:pt x="134" y="162"/>
                    <a:pt x="134" y="162"/>
                  </a:cubicBezTo>
                  <a:cubicBezTo>
                    <a:pt x="128" y="165"/>
                    <a:pt x="128" y="165"/>
                    <a:pt x="128" y="165"/>
                  </a:cubicBezTo>
                  <a:cubicBezTo>
                    <a:pt x="128" y="165"/>
                    <a:pt x="128" y="165"/>
                    <a:pt x="128" y="165"/>
                  </a:cubicBezTo>
                  <a:cubicBezTo>
                    <a:pt x="129" y="166"/>
                    <a:pt x="129" y="166"/>
                    <a:pt x="129" y="166"/>
                  </a:cubicBezTo>
                  <a:cubicBezTo>
                    <a:pt x="129" y="167"/>
                    <a:pt x="130" y="167"/>
                    <a:pt x="130" y="167"/>
                  </a:cubicBezTo>
                  <a:cubicBezTo>
                    <a:pt x="131" y="168"/>
                    <a:pt x="131" y="168"/>
                    <a:pt x="131" y="168"/>
                  </a:cubicBezTo>
                  <a:cubicBezTo>
                    <a:pt x="131" y="168"/>
                    <a:pt x="132" y="168"/>
                    <a:pt x="133" y="169"/>
                  </a:cubicBezTo>
                  <a:cubicBezTo>
                    <a:pt x="133" y="170"/>
                    <a:pt x="134" y="170"/>
                    <a:pt x="134" y="171"/>
                  </a:cubicBezTo>
                  <a:cubicBezTo>
                    <a:pt x="134" y="172"/>
                    <a:pt x="134" y="173"/>
                    <a:pt x="134" y="175"/>
                  </a:cubicBezTo>
                  <a:cubicBezTo>
                    <a:pt x="134" y="178"/>
                    <a:pt x="132" y="179"/>
                    <a:pt x="131" y="180"/>
                  </a:cubicBezTo>
                  <a:cubicBezTo>
                    <a:pt x="131" y="180"/>
                    <a:pt x="131" y="180"/>
                    <a:pt x="131" y="181"/>
                  </a:cubicBezTo>
                  <a:cubicBezTo>
                    <a:pt x="131" y="181"/>
                    <a:pt x="131" y="181"/>
                    <a:pt x="131" y="183"/>
                  </a:cubicBezTo>
                  <a:cubicBezTo>
                    <a:pt x="130" y="185"/>
                    <a:pt x="131" y="187"/>
                    <a:pt x="131" y="189"/>
                  </a:cubicBezTo>
                  <a:cubicBezTo>
                    <a:pt x="132" y="193"/>
                    <a:pt x="133" y="197"/>
                    <a:pt x="132" y="201"/>
                  </a:cubicBezTo>
                  <a:cubicBezTo>
                    <a:pt x="132" y="201"/>
                    <a:pt x="131" y="201"/>
                    <a:pt x="131" y="202"/>
                  </a:cubicBezTo>
                  <a:cubicBezTo>
                    <a:pt x="130" y="203"/>
                    <a:pt x="130" y="203"/>
                    <a:pt x="129" y="204"/>
                  </a:cubicBezTo>
                  <a:cubicBezTo>
                    <a:pt x="128" y="205"/>
                    <a:pt x="127" y="205"/>
                    <a:pt x="127" y="205"/>
                  </a:cubicBezTo>
                  <a:cubicBezTo>
                    <a:pt x="126" y="206"/>
                    <a:pt x="126" y="206"/>
                    <a:pt x="126" y="206"/>
                  </a:cubicBezTo>
                  <a:cubicBezTo>
                    <a:pt x="127" y="206"/>
                    <a:pt x="127" y="207"/>
                    <a:pt x="128" y="208"/>
                  </a:cubicBezTo>
                  <a:cubicBezTo>
                    <a:pt x="128" y="208"/>
                    <a:pt x="128" y="208"/>
                    <a:pt x="128" y="208"/>
                  </a:cubicBezTo>
                  <a:cubicBezTo>
                    <a:pt x="128" y="208"/>
                    <a:pt x="129" y="207"/>
                    <a:pt x="130" y="207"/>
                  </a:cubicBezTo>
                  <a:cubicBezTo>
                    <a:pt x="130" y="207"/>
                    <a:pt x="131" y="207"/>
                    <a:pt x="132" y="207"/>
                  </a:cubicBezTo>
                  <a:cubicBezTo>
                    <a:pt x="132" y="207"/>
                    <a:pt x="132" y="207"/>
                    <a:pt x="132" y="207"/>
                  </a:cubicBezTo>
                  <a:cubicBezTo>
                    <a:pt x="133" y="207"/>
                    <a:pt x="133" y="207"/>
                    <a:pt x="133" y="207"/>
                  </a:cubicBezTo>
                  <a:cubicBezTo>
                    <a:pt x="136" y="207"/>
                    <a:pt x="137" y="208"/>
                    <a:pt x="138" y="210"/>
                  </a:cubicBezTo>
                  <a:cubicBezTo>
                    <a:pt x="139" y="210"/>
                    <a:pt x="139" y="210"/>
                    <a:pt x="139" y="210"/>
                  </a:cubicBezTo>
                  <a:cubicBezTo>
                    <a:pt x="139" y="211"/>
                    <a:pt x="139" y="211"/>
                    <a:pt x="140" y="211"/>
                  </a:cubicBezTo>
                  <a:cubicBezTo>
                    <a:pt x="140" y="212"/>
                    <a:pt x="140" y="212"/>
                    <a:pt x="140" y="212"/>
                  </a:cubicBezTo>
                  <a:cubicBezTo>
                    <a:pt x="140" y="212"/>
                    <a:pt x="140" y="212"/>
                    <a:pt x="140" y="212"/>
                  </a:cubicBezTo>
                  <a:cubicBezTo>
                    <a:pt x="141" y="212"/>
                    <a:pt x="141" y="212"/>
                    <a:pt x="141" y="212"/>
                  </a:cubicBezTo>
                  <a:cubicBezTo>
                    <a:pt x="141" y="212"/>
                    <a:pt x="141" y="212"/>
                    <a:pt x="141" y="212"/>
                  </a:cubicBezTo>
                  <a:cubicBezTo>
                    <a:pt x="142" y="212"/>
                    <a:pt x="142" y="212"/>
                    <a:pt x="142" y="212"/>
                  </a:cubicBezTo>
                  <a:cubicBezTo>
                    <a:pt x="142" y="212"/>
                    <a:pt x="142" y="212"/>
                    <a:pt x="142" y="212"/>
                  </a:cubicBezTo>
                  <a:cubicBezTo>
                    <a:pt x="142" y="211"/>
                    <a:pt x="141" y="210"/>
                    <a:pt x="140" y="208"/>
                  </a:cubicBezTo>
                  <a:cubicBezTo>
                    <a:pt x="139" y="207"/>
                    <a:pt x="138" y="206"/>
                    <a:pt x="138" y="205"/>
                  </a:cubicBezTo>
                  <a:cubicBezTo>
                    <a:pt x="134" y="197"/>
                    <a:pt x="134" y="197"/>
                    <a:pt x="134" y="197"/>
                  </a:cubicBezTo>
                  <a:cubicBezTo>
                    <a:pt x="142" y="201"/>
                    <a:pt x="142" y="201"/>
                    <a:pt x="142" y="201"/>
                  </a:cubicBezTo>
                  <a:cubicBezTo>
                    <a:pt x="142" y="201"/>
                    <a:pt x="142" y="201"/>
                    <a:pt x="142" y="201"/>
                  </a:cubicBezTo>
                  <a:cubicBezTo>
                    <a:pt x="142" y="201"/>
                    <a:pt x="143" y="201"/>
                    <a:pt x="145" y="199"/>
                  </a:cubicBezTo>
                  <a:cubicBezTo>
                    <a:pt x="145" y="199"/>
                    <a:pt x="145" y="199"/>
                    <a:pt x="145" y="199"/>
                  </a:cubicBezTo>
                  <a:cubicBezTo>
                    <a:pt x="147" y="198"/>
                    <a:pt x="149" y="197"/>
                    <a:pt x="151" y="196"/>
                  </a:cubicBezTo>
                  <a:cubicBezTo>
                    <a:pt x="151" y="196"/>
                    <a:pt x="152" y="195"/>
                    <a:pt x="152" y="195"/>
                  </a:cubicBezTo>
                  <a:cubicBezTo>
                    <a:pt x="153" y="195"/>
                    <a:pt x="153" y="195"/>
                    <a:pt x="153" y="195"/>
                  </a:cubicBezTo>
                  <a:cubicBezTo>
                    <a:pt x="153" y="195"/>
                    <a:pt x="153" y="195"/>
                    <a:pt x="154" y="195"/>
                  </a:cubicBezTo>
                  <a:cubicBezTo>
                    <a:pt x="155" y="195"/>
                    <a:pt x="155" y="195"/>
                    <a:pt x="155" y="195"/>
                  </a:cubicBezTo>
                  <a:cubicBezTo>
                    <a:pt x="157" y="196"/>
                    <a:pt x="157" y="197"/>
                    <a:pt x="158" y="198"/>
                  </a:cubicBezTo>
                  <a:cubicBezTo>
                    <a:pt x="158" y="198"/>
                    <a:pt x="158" y="198"/>
                    <a:pt x="158" y="199"/>
                  </a:cubicBezTo>
                  <a:cubicBezTo>
                    <a:pt x="163" y="201"/>
                    <a:pt x="163" y="201"/>
                    <a:pt x="163" y="201"/>
                  </a:cubicBezTo>
                  <a:cubicBezTo>
                    <a:pt x="164" y="201"/>
                    <a:pt x="164" y="201"/>
                    <a:pt x="164" y="201"/>
                  </a:cubicBezTo>
                  <a:cubicBezTo>
                    <a:pt x="165" y="201"/>
                    <a:pt x="165" y="201"/>
                    <a:pt x="165" y="201"/>
                  </a:cubicBezTo>
                  <a:cubicBezTo>
                    <a:pt x="165" y="201"/>
                    <a:pt x="165" y="201"/>
                    <a:pt x="165" y="201"/>
                  </a:cubicBezTo>
                  <a:cubicBezTo>
                    <a:pt x="167" y="200"/>
                    <a:pt x="169" y="198"/>
                    <a:pt x="171" y="197"/>
                  </a:cubicBezTo>
                  <a:cubicBezTo>
                    <a:pt x="173" y="195"/>
                    <a:pt x="173" y="195"/>
                    <a:pt x="173" y="195"/>
                  </a:cubicBezTo>
                  <a:cubicBezTo>
                    <a:pt x="174" y="195"/>
                    <a:pt x="174" y="194"/>
                    <a:pt x="175" y="194"/>
                  </a:cubicBezTo>
                  <a:cubicBezTo>
                    <a:pt x="175" y="194"/>
                    <a:pt x="175" y="194"/>
                    <a:pt x="175" y="194"/>
                  </a:cubicBezTo>
                  <a:cubicBezTo>
                    <a:pt x="175" y="193"/>
                    <a:pt x="175" y="193"/>
                    <a:pt x="175" y="193"/>
                  </a:cubicBezTo>
                  <a:cubicBezTo>
                    <a:pt x="175" y="192"/>
                    <a:pt x="175" y="192"/>
                    <a:pt x="175" y="192"/>
                  </a:cubicBezTo>
                  <a:cubicBezTo>
                    <a:pt x="175" y="191"/>
                    <a:pt x="175" y="191"/>
                    <a:pt x="175" y="191"/>
                  </a:cubicBezTo>
                  <a:cubicBezTo>
                    <a:pt x="175" y="191"/>
                    <a:pt x="174" y="190"/>
                    <a:pt x="174" y="190"/>
                  </a:cubicBezTo>
                  <a:cubicBezTo>
                    <a:pt x="174" y="186"/>
                    <a:pt x="176" y="184"/>
                    <a:pt x="177" y="183"/>
                  </a:cubicBezTo>
                  <a:cubicBezTo>
                    <a:pt x="179" y="182"/>
                    <a:pt x="179" y="182"/>
                    <a:pt x="179" y="182"/>
                  </a:cubicBezTo>
                  <a:cubicBezTo>
                    <a:pt x="178" y="180"/>
                    <a:pt x="177" y="179"/>
                    <a:pt x="176" y="178"/>
                  </a:cubicBezTo>
                  <a:cubicBezTo>
                    <a:pt x="176" y="178"/>
                    <a:pt x="176" y="178"/>
                    <a:pt x="176" y="178"/>
                  </a:cubicBezTo>
                  <a:cubicBezTo>
                    <a:pt x="173" y="176"/>
                    <a:pt x="170" y="173"/>
                    <a:pt x="168" y="171"/>
                  </a:cubicBezTo>
                  <a:cubicBezTo>
                    <a:pt x="167" y="170"/>
                    <a:pt x="167" y="169"/>
                    <a:pt x="167" y="167"/>
                  </a:cubicBezTo>
                  <a:cubicBezTo>
                    <a:pt x="167" y="165"/>
                    <a:pt x="168" y="164"/>
                    <a:pt x="170" y="163"/>
                  </a:cubicBezTo>
                  <a:cubicBezTo>
                    <a:pt x="170" y="163"/>
                    <a:pt x="170" y="163"/>
                    <a:pt x="171" y="163"/>
                  </a:cubicBezTo>
                  <a:cubicBezTo>
                    <a:pt x="172" y="163"/>
                    <a:pt x="172" y="163"/>
                    <a:pt x="172" y="163"/>
                  </a:cubicBezTo>
                  <a:cubicBezTo>
                    <a:pt x="172" y="163"/>
                    <a:pt x="172" y="163"/>
                    <a:pt x="172" y="163"/>
                  </a:cubicBezTo>
                  <a:cubicBezTo>
                    <a:pt x="173" y="162"/>
                    <a:pt x="173" y="162"/>
                    <a:pt x="173" y="162"/>
                  </a:cubicBezTo>
                  <a:cubicBezTo>
                    <a:pt x="172" y="162"/>
                    <a:pt x="171" y="161"/>
                    <a:pt x="170" y="161"/>
                  </a:cubicBezTo>
                  <a:cubicBezTo>
                    <a:pt x="170" y="161"/>
                    <a:pt x="169" y="160"/>
                    <a:pt x="168" y="160"/>
                  </a:cubicBezTo>
                  <a:cubicBezTo>
                    <a:pt x="168" y="160"/>
                    <a:pt x="167" y="159"/>
                    <a:pt x="167" y="159"/>
                  </a:cubicBezTo>
                  <a:cubicBezTo>
                    <a:pt x="166" y="158"/>
                    <a:pt x="166" y="158"/>
                    <a:pt x="166" y="158"/>
                  </a:cubicBezTo>
                  <a:cubicBezTo>
                    <a:pt x="166" y="158"/>
                    <a:pt x="166" y="158"/>
                    <a:pt x="166" y="158"/>
                  </a:cubicBezTo>
                  <a:cubicBezTo>
                    <a:pt x="165" y="158"/>
                    <a:pt x="165" y="158"/>
                    <a:pt x="164" y="158"/>
                  </a:cubicBezTo>
                  <a:cubicBezTo>
                    <a:pt x="164" y="158"/>
                    <a:pt x="164" y="158"/>
                    <a:pt x="164" y="158"/>
                  </a:cubicBezTo>
                  <a:cubicBezTo>
                    <a:pt x="163" y="157"/>
                    <a:pt x="163" y="157"/>
                    <a:pt x="163" y="157"/>
                  </a:cubicBezTo>
                  <a:cubicBezTo>
                    <a:pt x="163" y="157"/>
                    <a:pt x="162" y="156"/>
                    <a:pt x="162" y="155"/>
                  </a:cubicBezTo>
                  <a:cubicBezTo>
                    <a:pt x="161" y="155"/>
                    <a:pt x="161" y="155"/>
                    <a:pt x="161" y="155"/>
                  </a:cubicBezTo>
                  <a:cubicBezTo>
                    <a:pt x="161" y="154"/>
                    <a:pt x="161" y="154"/>
                    <a:pt x="161" y="153"/>
                  </a:cubicBezTo>
                  <a:cubicBezTo>
                    <a:pt x="161" y="153"/>
                    <a:pt x="161" y="153"/>
                    <a:pt x="161" y="153"/>
                  </a:cubicBezTo>
                  <a:cubicBezTo>
                    <a:pt x="160" y="153"/>
                    <a:pt x="160" y="154"/>
                    <a:pt x="159" y="154"/>
                  </a:cubicBezTo>
                  <a:cubicBezTo>
                    <a:pt x="158" y="154"/>
                    <a:pt x="158" y="154"/>
                    <a:pt x="158" y="154"/>
                  </a:cubicBezTo>
                  <a:cubicBezTo>
                    <a:pt x="158" y="154"/>
                    <a:pt x="158" y="154"/>
                    <a:pt x="158" y="154"/>
                  </a:cubicBezTo>
                  <a:cubicBezTo>
                    <a:pt x="156" y="154"/>
                    <a:pt x="155" y="153"/>
                    <a:pt x="154" y="152"/>
                  </a:cubicBezTo>
                  <a:cubicBezTo>
                    <a:pt x="154" y="152"/>
                    <a:pt x="154" y="152"/>
                    <a:pt x="154" y="152"/>
                  </a:cubicBezTo>
                  <a:cubicBezTo>
                    <a:pt x="153" y="151"/>
                    <a:pt x="153" y="151"/>
                    <a:pt x="153" y="151"/>
                  </a:cubicBezTo>
                  <a:cubicBezTo>
                    <a:pt x="153" y="151"/>
                    <a:pt x="153" y="150"/>
                    <a:pt x="152" y="149"/>
                  </a:cubicBezTo>
                  <a:cubicBezTo>
                    <a:pt x="153" y="148"/>
                    <a:pt x="153" y="148"/>
                    <a:pt x="153" y="148"/>
                  </a:cubicBezTo>
                  <a:cubicBezTo>
                    <a:pt x="153" y="148"/>
                    <a:pt x="153" y="148"/>
                    <a:pt x="153" y="148"/>
                  </a:cubicBezTo>
                  <a:cubicBezTo>
                    <a:pt x="152" y="148"/>
                    <a:pt x="152" y="148"/>
                    <a:pt x="152" y="148"/>
                  </a:cubicBezTo>
                  <a:cubicBezTo>
                    <a:pt x="152" y="147"/>
                    <a:pt x="152" y="146"/>
                    <a:pt x="152" y="145"/>
                  </a:cubicBezTo>
                  <a:cubicBezTo>
                    <a:pt x="151" y="145"/>
                    <a:pt x="151" y="144"/>
                    <a:pt x="151" y="143"/>
                  </a:cubicBezTo>
                  <a:cubicBezTo>
                    <a:pt x="151" y="143"/>
                    <a:pt x="151" y="143"/>
                    <a:pt x="151" y="143"/>
                  </a:cubicBezTo>
                  <a:cubicBezTo>
                    <a:pt x="151" y="142"/>
                    <a:pt x="151" y="141"/>
                    <a:pt x="151" y="141"/>
                  </a:cubicBezTo>
                  <a:cubicBezTo>
                    <a:pt x="151" y="140"/>
                    <a:pt x="149" y="140"/>
                    <a:pt x="149" y="138"/>
                  </a:cubicBezTo>
                  <a:cubicBezTo>
                    <a:pt x="148" y="138"/>
                    <a:pt x="148" y="138"/>
                    <a:pt x="148" y="138"/>
                  </a:cubicBezTo>
                  <a:cubicBezTo>
                    <a:pt x="148" y="137"/>
                    <a:pt x="148" y="137"/>
                    <a:pt x="148" y="137"/>
                  </a:cubicBezTo>
                  <a:cubicBezTo>
                    <a:pt x="148" y="137"/>
                    <a:pt x="148" y="137"/>
                    <a:pt x="148" y="136"/>
                  </a:cubicBezTo>
                  <a:cubicBezTo>
                    <a:pt x="147" y="134"/>
                    <a:pt x="147" y="134"/>
                    <a:pt x="147" y="134"/>
                  </a:cubicBezTo>
                  <a:cubicBezTo>
                    <a:pt x="147" y="134"/>
                    <a:pt x="146" y="133"/>
                    <a:pt x="146" y="133"/>
                  </a:cubicBezTo>
                  <a:cubicBezTo>
                    <a:pt x="146" y="132"/>
                    <a:pt x="145" y="132"/>
                    <a:pt x="144" y="131"/>
                  </a:cubicBezTo>
                  <a:cubicBezTo>
                    <a:pt x="143" y="130"/>
                    <a:pt x="143" y="130"/>
                    <a:pt x="143" y="130"/>
                  </a:cubicBezTo>
                  <a:cubicBezTo>
                    <a:pt x="142" y="129"/>
                    <a:pt x="141" y="129"/>
                    <a:pt x="141" y="129"/>
                  </a:cubicBezTo>
                  <a:cubicBezTo>
                    <a:pt x="140" y="128"/>
                    <a:pt x="140" y="128"/>
                    <a:pt x="140" y="128"/>
                  </a:cubicBezTo>
                  <a:cubicBezTo>
                    <a:pt x="138" y="127"/>
                    <a:pt x="136" y="125"/>
                    <a:pt x="134" y="123"/>
                  </a:cubicBezTo>
                  <a:cubicBezTo>
                    <a:pt x="133" y="123"/>
                    <a:pt x="133" y="123"/>
                    <a:pt x="133" y="123"/>
                  </a:cubicBezTo>
                  <a:cubicBezTo>
                    <a:pt x="133" y="122"/>
                    <a:pt x="132" y="121"/>
                    <a:pt x="131" y="120"/>
                  </a:cubicBezTo>
                  <a:cubicBezTo>
                    <a:pt x="131" y="119"/>
                    <a:pt x="131" y="119"/>
                    <a:pt x="131" y="119"/>
                  </a:cubicBezTo>
                  <a:cubicBezTo>
                    <a:pt x="130" y="116"/>
                    <a:pt x="129" y="115"/>
                    <a:pt x="127" y="113"/>
                  </a:cubicBezTo>
                  <a:cubicBezTo>
                    <a:pt x="127" y="113"/>
                    <a:pt x="127" y="113"/>
                    <a:pt x="127" y="113"/>
                  </a:cubicBezTo>
                  <a:cubicBezTo>
                    <a:pt x="124" y="111"/>
                    <a:pt x="119" y="108"/>
                    <a:pt x="117" y="104"/>
                  </a:cubicBezTo>
                  <a:cubicBezTo>
                    <a:pt x="117" y="103"/>
                    <a:pt x="116" y="102"/>
                    <a:pt x="116" y="101"/>
                  </a:cubicBezTo>
                  <a:cubicBezTo>
                    <a:pt x="116" y="101"/>
                    <a:pt x="116" y="101"/>
                    <a:pt x="116" y="100"/>
                  </a:cubicBezTo>
                  <a:cubicBezTo>
                    <a:pt x="116" y="99"/>
                    <a:pt x="116" y="98"/>
                    <a:pt x="117" y="98"/>
                  </a:cubicBezTo>
                  <a:cubicBezTo>
                    <a:pt x="117" y="98"/>
                    <a:pt x="117" y="98"/>
                    <a:pt x="117" y="98"/>
                  </a:cubicBezTo>
                  <a:cubicBezTo>
                    <a:pt x="115" y="97"/>
                    <a:pt x="113" y="96"/>
                    <a:pt x="112" y="95"/>
                  </a:cubicBezTo>
                  <a:cubicBezTo>
                    <a:pt x="110" y="94"/>
                    <a:pt x="110" y="94"/>
                    <a:pt x="110" y="94"/>
                  </a:cubicBezTo>
                  <a:cubicBezTo>
                    <a:pt x="103" y="91"/>
                    <a:pt x="94" y="86"/>
                    <a:pt x="87" y="81"/>
                  </a:cubicBezTo>
                  <a:cubicBezTo>
                    <a:pt x="82" y="78"/>
                    <a:pt x="82" y="78"/>
                    <a:pt x="82" y="78"/>
                  </a:cubicBezTo>
                  <a:cubicBezTo>
                    <a:pt x="87" y="76"/>
                    <a:pt x="87" y="76"/>
                    <a:pt x="87" y="76"/>
                  </a:cubicBezTo>
                  <a:cubicBezTo>
                    <a:pt x="88" y="76"/>
                    <a:pt x="88" y="75"/>
                    <a:pt x="89" y="75"/>
                  </a:cubicBezTo>
                  <a:cubicBezTo>
                    <a:pt x="89" y="74"/>
                    <a:pt x="89" y="74"/>
                    <a:pt x="89" y="74"/>
                  </a:cubicBezTo>
                  <a:cubicBezTo>
                    <a:pt x="89" y="73"/>
                    <a:pt x="89" y="73"/>
                    <a:pt x="89" y="73"/>
                  </a:cubicBezTo>
                  <a:cubicBezTo>
                    <a:pt x="89" y="73"/>
                    <a:pt x="89" y="73"/>
                    <a:pt x="89" y="72"/>
                  </a:cubicBezTo>
                  <a:cubicBezTo>
                    <a:pt x="89" y="72"/>
                    <a:pt x="89" y="71"/>
                    <a:pt x="89" y="71"/>
                  </a:cubicBezTo>
                  <a:cubicBezTo>
                    <a:pt x="89" y="70"/>
                    <a:pt x="89" y="68"/>
                    <a:pt x="90" y="67"/>
                  </a:cubicBezTo>
                  <a:cubicBezTo>
                    <a:pt x="91" y="66"/>
                    <a:pt x="91" y="66"/>
                    <a:pt x="91" y="66"/>
                  </a:cubicBezTo>
                  <a:cubicBezTo>
                    <a:pt x="92" y="66"/>
                    <a:pt x="92" y="66"/>
                    <a:pt x="92" y="66"/>
                  </a:cubicBezTo>
                  <a:cubicBezTo>
                    <a:pt x="93" y="66"/>
                    <a:pt x="93" y="66"/>
                    <a:pt x="93" y="66"/>
                  </a:cubicBezTo>
                  <a:cubicBezTo>
                    <a:pt x="94" y="66"/>
                    <a:pt x="94" y="66"/>
                    <a:pt x="95" y="66"/>
                  </a:cubicBezTo>
                  <a:cubicBezTo>
                    <a:pt x="95" y="66"/>
                    <a:pt x="95" y="66"/>
                    <a:pt x="96" y="66"/>
                  </a:cubicBezTo>
                  <a:cubicBezTo>
                    <a:pt x="96" y="66"/>
                    <a:pt x="97" y="66"/>
                    <a:pt x="98" y="66"/>
                  </a:cubicBezTo>
                  <a:cubicBezTo>
                    <a:pt x="99" y="66"/>
                    <a:pt x="99" y="66"/>
                    <a:pt x="99" y="66"/>
                  </a:cubicBezTo>
                  <a:cubicBezTo>
                    <a:pt x="100" y="67"/>
                    <a:pt x="101" y="67"/>
                    <a:pt x="102" y="67"/>
                  </a:cubicBezTo>
                  <a:cubicBezTo>
                    <a:pt x="103" y="67"/>
                    <a:pt x="103" y="67"/>
                    <a:pt x="103" y="67"/>
                  </a:cubicBezTo>
                  <a:cubicBezTo>
                    <a:pt x="104" y="68"/>
                    <a:pt x="105" y="68"/>
                    <a:pt x="105" y="68"/>
                  </a:cubicBezTo>
                  <a:cubicBezTo>
                    <a:pt x="106" y="67"/>
                    <a:pt x="106" y="67"/>
                    <a:pt x="106" y="67"/>
                  </a:cubicBezTo>
                  <a:cubicBezTo>
                    <a:pt x="106" y="67"/>
                    <a:pt x="106" y="67"/>
                    <a:pt x="106" y="67"/>
                  </a:cubicBezTo>
                  <a:cubicBezTo>
                    <a:pt x="106" y="66"/>
                    <a:pt x="106" y="66"/>
                    <a:pt x="106" y="66"/>
                  </a:cubicBezTo>
                  <a:cubicBezTo>
                    <a:pt x="107" y="65"/>
                    <a:pt x="108" y="65"/>
                    <a:pt x="109" y="64"/>
                  </a:cubicBezTo>
                  <a:cubicBezTo>
                    <a:pt x="109" y="64"/>
                    <a:pt x="109" y="64"/>
                    <a:pt x="109" y="64"/>
                  </a:cubicBezTo>
                  <a:cubicBezTo>
                    <a:pt x="110" y="63"/>
                    <a:pt x="111" y="63"/>
                    <a:pt x="111" y="62"/>
                  </a:cubicBezTo>
                  <a:cubicBezTo>
                    <a:pt x="111" y="62"/>
                    <a:pt x="112" y="61"/>
                    <a:pt x="112" y="58"/>
                  </a:cubicBezTo>
                  <a:cubicBezTo>
                    <a:pt x="112" y="58"/>
                    <a:pt x="110" y="57"/>
                    <a:pt x="110" y="56"/>
                  </a:cubicBezTo>
                  <a:cubicBezTo>
                    <a:pt x="109" y="56"/>
                    <a:pt x="109" y="56"/>
                    <a:pt x="109" y="56"/>
                  </a:cubicBezTo>
                  <a:cubicBezTo>
                    <a:pt x="109" y="56"/>
                    <a:pt x="108" y="55"/>
                    <a:pt x="108" y="55"/>
                  </a:cubicBezTo>
                  <a:cubicBezTo>
                    <a:pt x="106" y="54"/>
                    <a:pt x="105" y="53"/>
                    <a:pt x="103" y="53"/>
                  </a:cubicBezTo>
                  <a:cubicBezTo>
                    <a:pt x="102" y="53"/>
                    <a:pt x="101" y="53"/>
                    <a:pt x="100" y="52"/>
                  </a:cubicBezTo>
                  <a:cubicBezTo>
                    <a:pt x="95" y="51"/>
                    <a:pt x="95" y="51"/>
                    <a:pt x="95" y="51"/>
                  </a:cubicBezTo>
                  <a:cubicBezTo>
                    <a:pt x="99" y="48"/>
                    <a:pt x="99" y="48"/>
                    <a:pt x="99" y="48"/>
                  </a:cubicBezTo>
                  <a:cubicBezTo>
                    <a:pt x="99" y="47"/>
                    <a:pt x="99" y="47"/>
                    <a:pt x="100" y="47"/>
                  </a:cubicBezTo>
                  <a:cubicBezTo>
                    <a:pt x="101" y="45"/>
                    <a:pt x="102" y="45"/>
                    <a:pt x="103" y="45"/>
                  </a:cubicBezTo>
                  <a:cubicBezTo>
                    <a:pt x="103" y="45"/>
                    <a:pt x="103" y="45"/>
                    <a:pt x="103" y="45"/>
                  </a:cubicBezTo>
                  <a:cubicBezTo>
                    <a:pt x="102" y="45"/>
                    <a:pt x="102" y="45"/>
                    <a:pt x="102" y="45"/>
                  </a:cubicBezTo>
                  <a:cubicBezTo>
                    <a:pt x="102" y="44"/>
                    <a:pt x="102" y="44"/>
                    <a:pt x="102" y="44"/>
                  </a:cubicBezTo>
                  <a:cubicBezTo>
                    <a:pt x="101" y="44"/>
                    <a:pt x="101" y="44"/>
                    <a:pt x="100" y="44"/>
                  </a:cubicBezTo>
                  <a:cubicBezTo>
                    <a:pt x="98" y="47"/>
                    <a:pt x="98" y="47"/>
                    <a:pt x="98" y="47"/>
                  </a:cubicBezTo>
                  <a:cubicBezTo>
                    <a:pt x="99" y="44"/>
                    <a:pt x="99" y="44"/>
                    <a:pt x="99" y="44"/>
                  </a:cubicBezTo>
                  <a:cubicBezTo>
                    <a:pt x="97" y="46"/>
                    <a:pt x="97" y="46"/>
                    <a:pt x="97" y="46"/>
                  </a:cubicBezTo>
                  <a:cubicBezTo>
                    <a:pt x="98" y="42"/>
                    <a:pt x="98" y="42"/>
                    <a:pt x="98" y="42"/>
                  </a:cubicBezTo>
                  <a:cubicBezTo>
                    <a:pt x="98" y="42"/>
                    <a:pt x="98" y="42"/>
                    <a:pt x="98" y="42"/>
                  </a:cubicBezTo>
                  <a:cubicBezTo>
                    <a:pt x="98" y="42"/>
                    <a:pt x="97" y="41"/>
                    <a:pt x="97" y="41"/>
                  </a:cubicBezTo>
                  <a:cubicBezTo>
                    <a:pt x="97" y="41"/>
                    <a:pt x="97" y="41"/>
                    <a:pt x="97" y="41"/>
                  </a:cubicBezTo>
                  <a:cubicBezTo>
                    <a:pt x="96" y="40"/>
                    <a:pt x="96" y="40"/>
                    <a:pt x="96" y="40"/>
                  </a:cubicBezTo>
                  <a:cubicBezTo>
                    <a:pt x="95" y="40"/>
                    <a:pt x="95" y="40"/>
                    <a:pt x="94" y="40"/>
                  </a:cubicBezTo>
                  <a:cubicBezTo>
                    <a:pt x="94" y="40"/>
                    <a:pt x="94" y="40"/>
                    <a:pt x="94" y="40"/>
                  </a:cubicBezTo>
                  <a:cubicBezTo>
                    <a:pt x="92" y="41"/>
                    <a:pt x="92" y="41"/>
                    <a:pt x="92" y="41"/>
                  </a:cubicBezTo>
                  <a:cubicBezTo>
                    <a:pt x="91" y="41"/>
                    <a:pt x="90" y="42"/>
                    <a:pt x="89" y="42"/>
                  </a:cubicBezTo>
                  <a:cubicBezTo>
                    <a:pt x="89" y="43"/>
                    <a:pt x="89" y="43"/>
                    <a:pt x="89" y="43"/>
                  </a:cubicBezTo>
                  <a:cubicBezTo>
                    <a:pt x="88" y="46"/>
                    <a:pt x="88" y="46"/>
                    <a:pt x="88" y="46"/>
                  </a:cubicBezTo>
                  <a:cubicBezTo>
                    <a:pt x="87" y="45"/>
                    <a:pt x="87" y="45"/>
                    <a:pt x="87" y="45"/>
                  </a:cubicBezTo>
                  <a:cubicBezTo>
                    <a:pt x="87" y="46"/>
                    <a:pt x="87" y="46"/>
                    <a:pt x="87" y="46"/>
                  </a:cubicBezTo>
                  <a:cubicBezTo>
                    <a:pt x="87" y="46"/>
                    <a:pt x="87" y="46"/>
                    <a:pt x="87" y="46"/>
                  </a:cubicBezTo>
                  <a:cubicBezTo>
                    <a:pt x="86" y="47"/>
                    <a:pt x="86" y="47"/>
                    <a:pt x="85" y="47"/>
                  </a:cubicBezTo>
                  <a:cubicBezTo>
                    <a:pt x="84" y="47"/>
                    <a:pt x="84" y="47"/>
                    <a:pt x="84" y="47"/>
                  </a:cubicBezTo>
                  <a:cubicBezTo>
                    <a:pt x="83" y="47"/>
                    <a:pt x="83" y="47"/>
                    <a:pt x="83" y="47"/>
                  </a:cubicBezTo>
                  <a:cubicBezTo>
                    <a:pt x="83" y="47"/>
                    <a:pt x="83" y="47"/>
                    <a:pt x="82" y="47"/>
                  </a:cubicBezTo>
                  <a:cubicBezTo>
                    <a:pt x="81" y="47"/>
                    <a:pt x="81" y="47"/>
                    <a:pt x="81" y="47"/>
                  </a:cubicBezTo>
                  <a:cubicBezTo>
                    <a:pt x="81" y="47"/>
                    <a:pt x="81" y="46"/>
                    <a:pt x="80" y="46"/>
                  </a:cubicBezTo>
                  <a:cubicBezTo>
                    <a:pt x="80" y="46"/>
                    <a:pt x="79" y="46"/>
                    <a:pt x="79" y="46"/>
                  </a:cubicBezTo>
                  <a:cubicBezTo>
                    <a:pt x="79" y="45"/>
                    <a:pt x="78" y="45"/>
                    <a:pt x="78" y="45"/>
                  </a:cubicBezTo>
                  <a:cubicBezTo>
                    <a:pt x="78" y="45"/>
                    <a:pt x="77" y="45"/>
                    <a:pt x="76" y="44"/>
                  </a:cubicBezTo>
                  <a:cubicBezTo>
                    <a:pt x="76" y="44"/>
                    <a:pt x="76" y="44"/>
                    <a:pt x="76" y="44"/>
                  </a:cubicBezTo>
                  <a:cubicBezTo>
                    <a:pt x="75" y="44"/>
                    <a:pt x="75" y="43"/>
                    <a:pt x="75" y="43"/>
                  </a:cubicBezTo>
                  <a:cubicBezTo>
                    <a:pt x="75" y="43"/>
                    <a:pt x="74" y="43"/>
                    <a:pt x="74" y="43"/>
                  </a:cubicBezTo>
                  <a:cubicBezTo>
                    <a:pt x="73" y="43"/>
                    <a:pt x="72" y="43"/>
                    <a:pt x="71" y="42"/>
                  </a:cubicBezTo>
                  <a:cubicBezTo>
                    <a:pt x="67" y="40"/>
                    <a:pt x="64" y="37"/>
                    <a:pt x="63" y="32"/>
                  </a:cubicBezTo>
                  <a:cubicBezTo>
                    <a:pt x="63" y="32"/>
                    <a:pt x="63" y="32"/>
                    <a:pt x="63" y="32"/>
                  </a:cubicBezTo>
                  <a:cubicBezTo>
                    <a:pt x="59" y="33"/>
                    <a:pt x="59" y="33"/>
                    <a:pt x="59" y="33"/>
                  </a:cubicBezTo>
                  <a:cubicBezTo>
                    <a:pt x="62" y="31"/>
                    <a:pt x="62" y="31"/>
                    <a:pt x="62" y="31"/>
                  </a:cubicBezTo>
                  <a:cubicBezTo>
                    <a:pt x="62" y="30"/>
                    <a:pt x="62" y="30"/>
                    <a:pt x="62" y="30"/>
                  </a:cubicBezTo>
                  <a:cubicBezTo>
                    <a:pt x="62" y="29"/>
                    <a:pt x="62" y="28"/>
                    <a:pt x="62" y="27"/>
                  </a:cubicBezTo>
                  <a:cubicBezTo>
                    <a:pt x="62" y="27"/>
                    <a:pt x="62" y="27"/>
                    <a:pt x="62" y="27"/>
                  </a:cubicBezTo>
                  <a:cubicBezTo>
                    <a:pt x="62" y="26"/>
                    <a:pt x="61" y="26"/>
                    <a:pt x="62" y="25"/>
                  </a:cubicBezTo>
                  <a:cubicBezTo>
                    <a:pt x="62" y="24"/>
                    <a:pt x="62" y="24"/>
                    <a:pt x="62" y="24"/>
                  </a:cubicBezTo>
                  <a:cubicBezTo>
                    <a:pt x="62" y="23"/>
                    <a:pt x="62" y="22"/>
                    <a:pt x="62" y="22"/>
                  </a:cubicBezTo>
                  <a:cubicBezTo>
                    <a:pt x="63" y="21"/>
                    <a:pt x="63" y="21"/>
                    <a:pt x="63" y="21"/>
                  </a:cubicBezTo>
                  <a:cubicBezTo>
                    <a:pt x="63" y="21"/>
                    <a:pt x="63" y="21"/>
                    <a:pt x="63" y="21"/>
                  </a:cubicBezTo>
                  <a:cubicBezTo>
                    <a:pt x="63" y="21"/>
                    <a:pt x="63" y="21"/>
                    <a:pt x="63" y="21"/>
                  </a:cubicBezTo>
                  <a:cubicBezTo>
                    <a:pt x="62" y="21"/>
                    <a:pt x="62" y="21"/>
                    <a:pt x="61" y="21"/>
                  </a:cubicBezTo>
                  <a:cubicBezTo>
                    <a:pt x="61" y="21"/>
                    <a:pt x="61" y="21"/>
                    <a:pt x="61" y="21"/>
                  </a:cubicBezTo>
                  <a:cubicBezTo>
                    <a:pt x="60" y="21"/>
                    <a:pt x="59" y="21"/>
                    <a:pt x="59" y="21"/>
                  </a:cubicBezTo>
                  <a:cubicBezTo>
                    <a:pt x="57" y="21"/>
                    <a:pt x="57" y="21"/>
                    <a:pt x="57" y="21"/>
                  </a:cubicBezTo>
                  <a:cubicBezTo>
                    <a:pt x="56" y="19"/>
                    <a:pt x="56" y="19"/>
                    <a:pt x="56" y="19"/>
                  </a:cubicBezTo>
                  <a:cubicBezTo>
                    <a:pt x="56" y="19"/>
                    <a:pt x="56" y="18"/>
                    <a:pt x="56" y="17"/>
                  </a:cubicBezTo>
                  <a:cubicBezTo>
                    <a:pt x="55" y="17"/>
                    <a:pt x="55" y="17"/>
                    <a:pt x="55" y="17"/>
                  </a:cubicBezTo>
                  <a:cubicBezTo>
                    <a:pt x="55" y="14"/>
                    <a:pt x="54" y="13"/>
                    <a:pt x="53" y="11"/>
                  </a:cubicBezTo>
                  <a:cubicBezTo>
                    <a:pt x="52" y="11"/>
                    <a:pt x="52" y="10"/>
                    <a:pt x="52" y="10"/>
                  </a:cubicBezTo>
                  <a:cubicBezTo>
                    <a:pt x="51" y="10"/>
                    <a:pt x="51" y="10"/>
                    <a:pt x="51" y="10"/>
                  </a:cubicBezTo>
                  <a:cubicBezTo>
                    <a:pt x="50" y="8"/>
                    <a:pt x="48" y="6"/>
                    <a:pt x="47" y="5"/>
                  </a:cubicBezTo>
                  <a:cubicBezTo>
                    <a:pt x="44" y="2"/>
                    <a:pt x="44" y="2"/>
                    <a:pt x="44" y="2"/>
                  </a:cubicBezTo>
                  <a:cubicBezTo>
                    <a:pt x="44" y="2"/>
                    <a:pt x="43" y="2"/>
                    <a:pt x="43" y="2"/>
                  </a:cubicBezTo>
                  <a:cubicBezTo>
                    <a:pt x="43" y="2"/>
                    <a:pt x="42" y="1"/>
                    <a:pt x="41" y="1"/>
                  </a:cubicBezTo>
                  <a:cubicBezTo>
                    <a:pt x="40" y="1"/>
                    <a:pt x="38"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Rectangle 525"/>
            <p:cNvSpPr>
              <a:spLocks noChangeArrowheads="1"/>
            </p:cNvSpPr>
            <p:nvPr/>
          </p:nvSpPr>
          <p:spPr bwMode="auto">
            <a:xfrm>
              <a:off x="5958352" y="4504844"/>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526"/>
            <p:cNvSpPr/>
            <p:nvPr/>
          </p:nvSpPr>
          <p:spPr bwMode="auto">
            <a:xfrm flipH="1">
              <a:off x="5958352" y="4504844"/>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527"/>
            <p:cNvSpPr/>
            <p:nvPr/>
          </p:nvSpPr>
          <p:spPr bwMode="auto">
            <a:xfrm>
              <a:off x="5683011" y="4155631"/>
              <a:ext cx="2686"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528"/>
            <p:cNvSpPr/>
            <p:nvPr/>
          </p:nvSpPr>
          <p:spPr bwMode="auto">
            <a:xfrm>
              <a:off x="5683011" y="4155631"/>
              <a:ext cx="2686"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529"/>
            <p:cNvSpPr/>
            <p:nvPr/>
          </p:nvSpPr>
          <p:spPr bwMode="auto">
            <a:xfrm>
              <a:off x="5631972" y="4003858"/>
              <a:ext cx="558740" cy="1040922"/>
            </a:xfrm>
            <a:custGeom>
              <a:gdLst>
                <a:gd name="T0" fmla="*/ 63 w 176"/>
                <a:gd name="T1" fmla="*/ 11 h 328"/>
                <a:gd name="T2" fmla="*/ 48 w 176"/>
                <a:gd name="T3" fmla="*/ 15 h 328"/>
                <a:gd name="T4" fmla="*/ 34 w 176"/>
                <a:gd name="T5" fmla="*/ 17 h 328"/>
                <a:gd name="T6" fmla="*/ 26 w 176"/>
                <a:gd name="T7" fmla="*/ 16 h 328"/>
                <a:gd name="T8" fmla="*/ 18 w 176"/>
                <a:gd name="T9" fmla="*/ 23 h 328"/>
                <a:gd name="T10" fmla="*/ 6 w 176"/>
                <a:gd name="T11" fmla="*/ 15 h 328"/>
                <a:gd name="T12" fmla="*/ 11 w 176"/>
                <a:gd name="T13" fmla="*/ 37 h 328"/>
                <a:gd name="T14" fmla="*/ 17 w 176"/>
                <a:gd name="T15" fmla="*/ 36 h 328"/>
                <a:gd name="T16" fmla="*/ 18 w 176"/>
                <a:gd name="T17" fmla="*/ 48 h 328"/>
                <a:gd name="T18" fmla="*/ 24 w 176"/>
                <a:gd name="T19" fmla="*/ 59 h 328"/>
                <a:gd name="T20" fmla="*/ 32 w 176"/>
                <a:gd name="T21" fmla="*/ 62 h 328"/>
                <a:gd name="T22" fmla="*/ 39 w 176"/>
                <a:gd name="T23" fmla="*/ 57 h 328"/>
                <a:gd name="T24" fmla="*/ 48 w 176"/>
                <a:gd name="T25" fmla="*/ 56 h 328"/>
                <a:gd name="T26" fmla="*/ 54 w 176"/>
                <a:gd name="T27" fmla="*/ 61 h 328"/>
                <a:gd name="T28" fmla="*/ 60 w 176"/>
                <a:gd name="T29" fmla="*/ 67 h 328"/>
                <a:gd name="T30" fmla="*/ 63 w 176"/>
                <a:gd name="T31" fmla="*/ 73 h 328"/>
                <a:gd name="T32" fmla="*/ 61 w 176"/>
                <a:gd name="T33" fmla="*/ 92 h 328"/>
                <a:gd name="T34" fmla="*/ 54 w 176"/>
                <a:gd name="T35" fmla="*/ 96 h 328"/>
                <a:gd name="T36" fmla="*/ 45 w 176"/>
                <a:gd name="T37" fmla="*/ 99 h 328"/>
                <a:gd name="T38" fmla="*/ 76 w 176"/>
                <a:gd name="T39" fmla="*/ 117 h 328"/>
                <a:gd name="T40" fmla="*/ 81 w 176"/>
                <a:gd name="T41" fmla="*/ 131 h 328"/>
                <a:gd name="T42" fmla="*/ 97 w 176"/>
                <a:gd name="T43" fmla="*/ 148 h 328"/>
                <a:gd name="T44" fmla="*/ 107 w 176"/>
                <a:gd name="T45" fmla="*/ 161 h 328"/>
                <a:gd name="T46" fmla="*/ 108 w 176"/>
                <a:gd name="T47" fmla="*/ 169 h 328"/>
                <a:gd name="T48" fmla="*/ 114 w 176"/>
                <a:gd name="T49" fmla="*/ 169 h 328"/>
                <a:gd name="T50" fmla="*/ 119 w 176"/>
                <a:gd name="T51" fmla="*/ 175 h 328"/>
                <a:gd name="T52" fmla="*/ 128 w 176"/>
                <a:gd name="T53" fmla="*/ 181 h 328"/>
                <a:gd name="T54" fmla="*/ 129 w 176"/>
                <a:gd name="T55" fmla="*/ 195 h 328"/>
                <a:gd name="T56" fmla="*/ 130 w 176"/>
                <a:gd name="T57" fmla="*/ 211 h 328"/>
                <a:gd name="T58" fmla="*/ 131 w 176"/>
                <a:gd name="T59" fmla="*/ 219 h 328"/>
                <a:gd name="T60" fmla="*/ 130 w 176"/>
                <a:gd name="T61" fmla="*/ 238 h 328"/>
                <a:gd name="T62" fmla="*/ 131 w 176"/>
                <a:gd name="T63" fmla="*/ 261 h 328"/>
                <a:gd name="T64" fmla="*/ 133 w 176"/>
                <a:gd name="T65" fmla="*/ 274 h 328"/>
                <a:gd name="T66" fmla="*/ 121 w 176"/>
                <a:gd name="T67" fmla="*/ 281 h 328"/>
                <a:gd name="T68" fmla="*/ 105 w 176"/>
                <a:gd name="T69" fmla="*/ 291 h 328"/>
                <a:gd name="T70" fmla="*/ 90 w 176"/>
                <a:gd name="T71" fmla="*/ 297 h 328"/>
                <a:gd name="T72" fmla="*/ 99 w 176"/>
                <a:gd name="T73" fmla="*/ 315 h 328"/>
                <a:gd name="T74" fmla="*/ 84 w 176"/>
                <a:gd name="T75" fmla="*/ 313 h 328"/>
                <a:gd name="T76" fmla="*/ 93 w 176"/>
                <a:gd name="T77" fmla="*/ 328 h 328"/>
                <a:gd name="T78" fmla="*/ 108 w 176"/>
                <a:gd name="T79" fmla="*/ 323 h 328"/>
                <a:gd name="T80" fmla="*/ 114 w 176"/>
                <a:gd name="T81" fmla="*/ 316 h 328"/>
                <a:gd name="T82" fmla="*/ 118 w 176"/>
                <a:gd name="T83" fmla="*/ 327 h 328"/>
                <a:gd name="T84" fmla="*/ 172 w 176"/>
                <a:gd name="T85" fmla="*/ 288 h 328"/>
                <a:gd name="T86" fmla="*/ 173 w 176"/>
                <a:gd name="T87" fmla="*/ 275 h 328"/>
                <a:gd name="T88" fmla="*/ 174 w 176"/>
                <a:gd name="T89" fmla="*/ 266 h 328"/>
                <a:gd name="T90" fmla="*/ 171 w 176"/>
                <a:gd name="T91" fmla="*/ 235 h 328"/>
                <a:gd name="T92" fmla="*/ 148 w 176"/>
                <a:gd name="T93" fmla="*/ 184 h 328"/>
                <a:gd name="T94" fmla="*/ 145 w 176"/>
                <a:gd name="T95" fmla="*/ 179 h 328"/>
                <a:gd name="T96" fmla="*/ 98 w 176"/>
                <a:gd name="T97" fmla="*/ 140 h 328"/>
                <a:gd name="T98" fmla="*/ 81 w 176"/>
                <a:gd name="T99" fmla="*/ 109 h 328"/>
                <a:gd name="T100" fmla="*/ 105 w 176"/>
                <a:gd name="T101" fmla="*/ 76 h 328"/>
                <a:gd name="T102" fmla="*/ 114 w 176"/>
                <a:gd name="T103" fmla="*/ 60 h 328"/>
                <a:gd name="T104" fmla="*/ 120 w 176"/>
                <a:gd name="T105" fmla="*/ 59 h 328"/>
                <a:gd name="T106" fmla="*/ 130 w 176"/>
                <a:gd name="T107" fmla="*/ 52 h 328"/>
                <a:gd name="T108" fmla="*/ 128 w 176"/>
                <a:gd name="T109" fmla="*/ 44 h 328"/>
                <a:gd name="T110" fmla="*/ 114 w 176"/>
                <a:gd name="T111" fmla="*/ 36 h 328"/>
                <a:gd name="T112" fmla="*/ 104 w 176"/>
                <a:gd name="T113" fmla="*/ 32 h 328"/>
                <a:gd name="T114" fmla="*/ 103 w 176"/>
                <a:gd name="T115" fmla="*/ 25 h 328"/>
                <a:gd name="T116" fmla="*/ 106 w 176"/>
                <a:gd name="T117" fmla="*/ 12 h 328"/>
                <a:gd name="T118" fmla="*/ 83 w 176"/>
                <a:gd name="T119" fmla="*/ 8 h 328"/>
                <a:gd name="T120" fmla="*/ 74 w 176"/>
                <a:gd name="T121" fmla="*/ 0 h 3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328">
                  <a:moveTo>
                    <a:pt x="73" y="0"/>
                  </a:moveTo>
                  <a:cubicBezTo>
                    <a:pt x="72" y="0"/>
                    <a:pt x="70" y="1"/>
                    <a:pt x="70" y="2"/>
                  </a:cubicBezTo>
                  <a:cubicBezTo>
                    <a:pt x="68" y="3"/>
                    <a:pt x="68" y="3"/>
                    <a:pt x="68" y="3"/>
                  </a:cubicBezTo>
                  <a:cubicBezTo>
                    <a:pt x="68" y="3"/>
                    <a:pt x="68" y="4"/>
                    <a:pt x="68" y="4"/>
                  </a:cubicBezTo>
                  <a:cubicBezTo>
                    <a:pt x="67" y="6"/>
                    <a:pt x="66" y="8"/>
                    <a:pt x="65" y="9"/>
                  </a:cubicBezTo>
                  <a:cubicBezTo>
                    <a:pt x="64" y="10"/>
                    <a:pt x="63" y="11"/>
                    <a:pt x="63" y="11"/>
                  </a:cubicBezTo>
                  <a:cubicBezTo>
                    <a:pt x="62" y="12"/>
                    <a:pt x="62" y="12"/>
                    <a:pt x="62" y="12"/>
                  </a:cubicBezTo>
                  <a:cubicBezTo>
                    <a:pt x="60" y="13"/>
                    <a:pt x="59" y="14"/>
                    <a:pt x="58" y="14"/>
                  </a:cubicBezTo>
                  <a:cubicBezTo>
                    <a:pt x="57" y="14"/>
                    <a:pt x="57" y="14"/>
                    <a:pt x="57" y="14"/>
                  </a:cubicBezTo>
                  <a:cubicBezTo>
                    <a:pt x="53" y="16"/>
                    <a:pt x="53" y="16"/>
                    <a:pt x="53" y="16"/>
                  </a:cubicBezTo>
                  <a:cubicBezTo>
                    <a:pt x="53" y="16"/>
                    <a:pt x="52" y="16"/>
                    <a:pt x="52" y="16"/>
                  </a:cubicBezTo>
                  <a:cubicBezTo>
                    <a:pt x="50" y="16"/>
                    <a:pt x="49" y="16"/>
                    <a:pt x="48" y="15"/>
                  </a:cubicBezTo>
                  <a:cubicBezTo>
                    <a:pt x="44" y="19"/>
                    <a:pt x="44" y="19"/>
                    <a:pt x="44" y="19"/>
                  </a:cubicBezTo>
                  <a:cubicBezTo>
                    <a:pt x="43" y="21"/>
                    <a:pt x="42" y="21"/>
                    <a:pt x="40" y="21"/>
                  </a:cubicBezTo>
                  <a:cubicBezTo>
                    <a:pt x="38" y="21"/>
                    <a:pt x="37" y="20"/>
                    <a:pt x="36" y="18"/>
                  </a:cubicBezTo>
                  <a:cubicBezTo>
                    <a:pt x="35" y="18"/>
                    <a:pt x="35" y="18"/>
                    <a:pt x="35" y="18"/>
                  </a:cubicBezTo>
                  <a:cubicBezTo>
                    <a:pt x="35" y="17"/>
                    <a:pt x="35" y="17"/>
                    <a:pt x="35" y="17"/>
                  </a:cubicBezTo>
                  <a:cubicBezTo>
                    <a:pt x="34" y="17"/>
                    <a:pt x="34" y="17"/>
                    <a:pt x="34" y="17"/>
                  </a:cubicBezTo>
                  <a:cubicBezTo>
                    <a:pt x="34" y="16"/>
                    <a:pt x="34" y="16"/>
                    <a:pt x="34" y="16"/>
                  </a:cubicBezTo>
                  <a:cubicBezTo>
                    <a:pt x="33" y="17"/>
                    <a:pt x="33" y="18"/>
                    <a:pt x="32" y="19"/>
                  </a:cubicBezTo>
                  <a:cubicBezTo>
                    <a:pt x="29" y="21"/>
                    <a:pt x="29" y="21"/>
                    <a:pt x="29" y="21"/>
                  </a:cubicBezTo>
                  <a:cubicBezTo>
                    <a:pt x="27" y="18"/>
                    <a:pt x="27" y="18"/>
                    <a:pt x="27" y="18"/>
                  </a:cubicBezTo>
                  <a:cubicBezTo>
                    <a:pt x="27" y="18"/>
                    <a:pt x="27" y="18"/>
                    <a:pt x="26" y="17"/>
                  </a:cubicBezTo>
                  <a:cubicBezTo>
                    <a:pt x="26" y="16"/>
                    <a:pt x="26" y="16"/>
                    <a:pt x="26" y="16"/>
                  </a:cubicBezTo>
                  <a:cubicBezTo>
                    <a:pt x="26" y="16"/>
                    <a:pt x="26" y="16"/>
                    <a:pt x="26" y="16"/>
                  </a:cubicBezTo>
                  <a:cubicBezTo>
                    <a:pt x="23" y="18"/>
                    <a:pt x="23" y="18"/>
                    <a:pt x="23" y="18"/>
                  </a:cubicBezTo>
                  <a:cubicBezTo>
                    <a:pt x="23" y="19"/>
                    <a:pt x="23" y="20"/>
                    <a:pt x="22" y="20"/>
                  </a:cubicBezTo>
                  <a:cubicBezTo>
                    <a:pt x="21" y="23"/>
                    <a:pt x="21" y="23"/>
                    <a:pt x="21" y="23"/>
                  </a:cubicBezTo>
                  <a:cubicBezTo>
                    <a:pt x="19" y="23"/>
                    <a:pt x="19" y="23"/>
                    <a:pt x="19" y="23"/>
                  </a:cubicBezTo>
                  <a:cubicBezTo>
                    <a:pt x="19" y="23"/>
                    <a:pt x="18" y="23"/>
                    <a:pt x="18" y="23"/>
                  </a:cubicBezTo>
                  <a:cubicBezTo>
                    <a:pt x="16" y="23"/>
                    <a:pt x="15" y="22"/>
                    <a:pt x="14" y="21"/>
                  </a:cubicBezTo>
                  <a:cubicBezTo>
                    <a:pt x="13" y="20"/>
                    <a:pt x="13" y="20"/>
                    <a:pt x="13" y="20"/>
                  </a:cubicBezTo>
                  <a:cubicBezTo>
                    <a:pt x="12" y="19"/>
                    <a:pt x="12" y="19"/>
                    <a:pt x="12" y="18"/>
                  </a:cubicBezTo>
                  <a:cubicBezTo>
                    <a:pt x="11" y="18"/>
                    <a:pt x="10" y="18"/>
                    <a:pt x="10" y="17"/>
                  </a:cubicBezTo>
                  <a:cubicBezTo>
                    <a:pt x="8" y="16"/>
                    <a:pt x="8" y="16"/>
                    <a:pt x="8" y="16"/>
                  </a:cubicBezTo>
                  <a:cubicBezTo>
                    <a:pt x="7" y="16"/>
                    <a:pt x="6" y="16"/>
                    <a:pt x="6" y="15"/>
                  </a:cubicBezTo>
                  <a:cubicBezTo>
                    <a:pt x="5" y="16"/>
                    <a:pt x="5" y="16"/>
                    <a:pt x="5" y="16"/>
                  </a:cubicBezTo>
                  <a:cubicBezTo>
                    <a:pt x="4" y="18"/>
                    <a:pt x="2" y="20"/>
                    <a:pt x="0" y="22"/>
                  </a:cubicBezTo>
                  <a:cubicBezTo>
                    <a:pt x="1" y="22"/>
                    <a:pt x="1" y="22"/>
                    <a:pt x="1" y="22"/>
                  </a:cubicBezTo>
                  <a:cubicBezTo>
                    <a:pt x="3" y="24"/>
                    <a:pt x="4" y="26"/>
                    <a:pt x="6" y="28"/>
                  </a:cubicBezTo>
                  <a:cubicBezTo>
                    <a:pt x="6" y="28"/>
                    <a:pt x="7" y="29"/>
                    <a:pt x="7" y="29"/>
                  </a:cubicBezTo>
                  <a:cubicBezTo>
                    <a:pt x="9" y="32"/>
                    <a:pt x="10" y="34"/>
                    <a:pt x="11" y="37"/>
                  </a:cubicBezTo>
                  <a:cubicBezTo>
                    <a:pt x="12" y="36"/>
                    <a:pt x="12" y="36"/>
                    <a:pt x="12" y="36"/>
                  </a:cubicBezTo>
                  <a:cubicBezTo>
                    <a:pt x="13" y="35"/>
                    <a:pt x="13" y="35"/>
                    <a:pt x="13" y="35"/>
                  </a:cubicBezTo>
                  <a:cubicBezTo>
                    <a:pt x="13" y="35"/>
                    <a:pt x="13" y="35"/>
                    <a:pt x="13" y="35"/>
                  </a:cubicBezTo>
                  <a:cubicBezTo>
                    <a:pt x="14" y="35"/>
                    <a:pt x="14" y="35"/>
                    <a:pt x="14" y="35"/>
                  </a:cubicBezTo>
                  <a:cubicBezTo>
                    <a:pt x="15" y="35"/>
                    <a:pt x="16" y="36"/>
                    <a:pt x="17" y="36"/>
                  </a:cubicBezTo>
                  <a:cubicBezTo>
                    <a:pt x="17" y="36"/>
                    <a:pt x="17" y="36"/>
                    <a:pt x="17" y="36"/>
                  </a:cubicBezTo>
                  <a:cubicBezTo>
                    <a:pt x="18" y="37"/>
                    <a:pt x="19" y="38"/>
                    <a:pt x="19" y="38"/>
                  </a:cubicBezTo>
                  <a:cubicBezTo>
                    <a:pt x="20" y="41"/>
                    <a:pt x="19" y="42"/>
                    <a:pt x="19" y="43"/>
                  </a:cubicBezTo>
                  <a:cubicBezTo>
                    <a:pt x="18" y="46"/>
                    <a:pt x="18" y="46"/>
                    <a:pt x="18" y="46"/>
                  </a:cubicBezTo>
                  <a:cubicBezTo>
                    <a:pt x="18" y="46"/>
                    <a:pt x="18" y="47"/>
                    <a:pt x="18" y="47"/>
                  </a:cubicBezTo>
                  <a:cubicBezTo>
                    <a:pt x="18" y="48"/>
                    <a:pt x="18" y="48"/>
                    <a:pt x="18" y="48"/>
                  </a:cubicBezTo>
                  <a:cubicBezTo>
                    <a:pt x="18" y="48"/>
                    <a:pt x="18" y="48"/>
                    <a:pt x="18" y="48"/>
                  </a:cubicBezTo>
                  <a:cubicBezTo>
                    <a:pt x="18" y="49"/>
                    <a:pt x="18" y="49"/>
                    <a:pt x="18" y="49"/>
                  </a:cubicBezTo>
                  <a:cubicBezTo>
                    <a:pt x="18" y="50"/>
                    <a:pt x="18" y="50"/>
                    <a:pt x="18" y="51"/>
                  </a:cubicBezTo>
                  <a:cubicBezTo>
                    <a:pt x="18" y="51"/>
                    <a:pt x="18" y="51"/>
                    <a:pt x="18" y="51"/>
                  </a:cubicBezTo>
                  <a:cubicBezTo>
                    <a:pt x="18" y="52"/>
                    <a:pt x="18" y="52"/>
                    <a:pt x="18" y="52"/>
                  </a:cubicBezTo>
                  <a:cubicBezTo>
                    <a:pt x="20" y="55"/>
                    <a:pt x="21" y="58"/>
                    <a:pt x="24" y="59"/>
                  </a:cubicBezTo>
                  <a:cubicBezTo>
                    <a:pt x="24" y="59"/>
                    <a:pt x="24" y="59"/>
                    <a:pt x="24" y="59"/>
                  </a:cubicBezTo>
                  <a:cubicBezTo>
                    <a:pt x="25" y="59"/>
                    <a:pt x="25" y="59"/>
                    <a:pt x="25" y="59"/>
                  </a:cubicBezTo>
                  <a:cubicBezTo>
                    <a:pt x="26" y="59"/>
                    <a:pt x="26" y="59"/>
                    <a:pt x="27" y="60"/>
                  </a:cubicBezTo>
                  <a:cubicBezTo>
                    <a:pt x="28" y="60"/>
                    <a:pt x="28" y="60"/>
                    <a:pt x="29" y="61"/>
                  </a:cubicBezTo>
                  <a:cubicBezTo>
                    <a:pt x="30" y="61"/>
                    <a:pt x="30" y="61"/>
                    <a:pt x="30" y="61"/>
                  </a:cubicBezTo>
                  <a:cubicBezTo>
                    <a:pt x="30" y="62"/>
                    <a:pt x="30" y="62"/>
                    <a:pt x="30" y="62"/>
                  </a:cubicBezTo>
                  <a:cubicBezTo>
                    <a:pt x="31" y="62"/>
                    <a:pt x="32" y="62"/>
                    <a:pt x="32" y="62"/>
                  </a:cubicBezTo>
                  <a:cubicBezTo>
                    <a:pt x="32" y="62"/>
                    <a:pt x="32" y="62"/>
                    <a:pt x="32" y="62"/>
                  </a:cubicBezTo>
                  <a:cubicBezTo>
                    <a:pt x="33" y="63"/>
                    <a:pt x="33" y="63"/>
                    <a:pt x="33" y="63"/>
                  </a:cubicBezTo>
                  <a:cubicBezTo>
                    <a:pt x="33" y="63"/>
                    <a:pt x="33" y="63"/>
                    <a:pt x="33" y="63"/>
                  </a:cubicBezTo>
                  <a:cubicBezTo>
                    <a:pt x="33" y="62"/>
                    <a:pt x="33" y="62"/>
                    <a:pt x="33" y="62"/>
                  </a:cubicBezTo>
                  <a:cubicBezTo>
                    <a:pt x="34" y="61"/>
                    <a:pt x="34" y="61"/>
                    <a:pt x="34" y="61"/>
                  </a:cubicBezTo>
                  <a:cubicBezTo>
                    <a:pt x="35" y="59"/>
                    <a:pt x="38" y="58"/>
                    <a:pt x="39" y="57"/>
                  </a:cubicBezTo>
                  <a:cubicBezTo>
                    <a:pt x="40" y="57"/>
                    <a:pt x="40" y="57"/>
                    <a:pt x="40" y="57"/>
                  </a:cubicBezTo>
                  <a:cubicBezTo>
                    <a:pt x="41" y="56"/>
                    <a:pt x="41" y="56"/>
                    <a:pt x="41" y="56"/>
                  </a:cubicBezTo>
                  <a:cubicBezTo>
                    <a:pt x="42" y="56"/>
                    <a:pt x="42" y="56"/>
                    <a:pt x="42" y="56"/>
                  </a:cubicBezTo>
                  <a:cubicBezTo>
                    <a:pt x="43" y="56"/>
                    <a:pt x="44" y="56"/>
                    <a:pt x="45" y="56"/>
                  </a:cubicBezTo>
                  <a:cubicBezTo>
                    <a:pt x="45" y="56"/>
                    <a:pt x="46" y="56"/>
                    <a:pt x="47" y="56"/>
                  </a:cubicBezTo>
                  <a:cubicBezTo>
                    <a:pt x="48" y="56"/>
                    <a:pt x="48" y="56"/>
                    <a:pt x="48" y="56"/>
                  </a:cubicBezTo>
                  <a:cubicBezTo>
                    <a:pt x="49" y="57"/>
                    <a:pt x="50" y="58"/>
                    <a:pt x="51" y="58"/>
                  </a:cubicBezTo>
                  <a:cubicBezTo>
                    <a:pt x="51" y="59"/>
                    <a:pt x="51" y="59"/>
                    <a:pt x="51" y="59"/>
                  </a:cubicBezTo>
                  <a:cubicBezTo>
                    <a:pt x="51" y="59"/>
                    <a:pt x="51" y="59"/>
                    <a:pt x="51" y="59"/>
                  </a:cubicBezTo>
                  <a:cubicBezTo>
                    <a:pt x="53" y="60"/>
                    <a:pt x="53" y="60"/>
                    <a:pt x="53" y="60"/>
                  </a:cubicBezTo>
                  <a:cubicBezTo>
                    <a:pt x="53" y="60"/>
                    <a:pt x="53" y="60"/>
                    <a:pt x="53" y="60"/>
                  </a:cubicBezTo>
                  <a:cubicBezTo>
                    <a:pt x="54" y="61"/>
                    <a:pt x="54" y="61"/>
                    <a:pt x="54" y="61"/>
                  </a:cubicBezTo>
                  <a:cubicBezTo>
                    <a:pt x="54" y="61"/>
                    <a:pt x="55" y="61"/>
                    <a:pt x="56" y="62"/>
                  </a:cubicBezTo>
                  <a:cubicBezTo>
                    <a:pt x="57" y="62"/>
                    <a:pt x="57" y="62"/>
                    <a:pt x="57" y="62"/>
                  </a:cubicBezTo>
                  <a:cubicBezTo>
                    <a:pt x="58" y="63"/>
                    <a:pt x="58" y="63"/>
                    <a:pt x="58" y="63"/>
                  </a:cubicBezTo>
                  <a:cubicBezTo>
                    <a:pt x="58" y="63"/>
                    <a:pt x="58" y="63"/>
                    <a:pt x="58" y="63"/>
                  </a:cubicBezTo>
                  <a:cubicBezTo>
                    <a:pt x="59" y="64"/>
                    <a:pt x="59" y="65"/>
                    <a:pt x="60" y="65"/>
                  </a:cubicBezTo>
                  <a:cubicBezTo>
                    <a:pt x="60" y="66"/>
                    <a:pt x="60" y="66"/>
                    <a:pt x="60" y="67"/>
                  </a:cubicBezTo>
                  <a:cubicBezTo>
                    <a:pt x="60" y="68"/>
                    <a:pt x="60" y="69"/>
                    <a:pt x="59" y="69"/>
                  </a:cubicBezTo>
                  <a:cubicBezTo>
                    <a:pt x="59" y="70"/>
                    <a:pt x="59" y="70"/>
                    <a:pt x="59" y="70"/>
                  </a:cubicBezTo>
                  <a:cubicBezTo>
                    <a:pt x="58" y="70"/>
                    <a:pt x="58" y="70"/>
                    <a:pt x="58" y="70"/>
                  </a:cubicBezTo>
                  <a:cubicBezTo>
                    <a:pt x="59" y="71"/>
                    <a:pt x="60" y="71"/>
                    <a:pt x="62" y="72"/>
                  </a:cubicBezTo>
                  <a:cubicBezTo>
                    <a:pt x="62" y="73"/>
                    <a:pt x="62" y="73"/>
                    <a:pt x="62" y="73"/>
                  </a:cubicBezTo>
                  <a:cubicBezTo>
                    <a:pt x="63" y="73"/>
                    <a:pt x="63" y="73"/>
                    <a:pt x="63" y="73"/>
                  </a:cubicBezTo>
                  <a:cubicBezTo>
                    <a:pt x="65" y="75"/>
                    <a:pt x="67" y="76"/>
                    <a:pt x="68" y="79"/>
                  </a:cubicBezTo>
                  <a:cubicBezTo>
                    <a:pt x="68" y="80"/>
                    <a:pt x="68" y="80"/>
                    <a:pt x="68" y="80"/>
                  </a:cubicBezTo>
                  <a:cubicBezTo>
                    <a:pt x="68" y="83"/>
                    <a:pt x="68" y="86"/>
                    <a:pt x="66" y="88"/>
                  </a:cubicBezTo>
                  <a:cubicBezTo>
                    <a:pt x="65" y="89"/>
                    <a:pt x="64" y="90"/>
                    <a:pt x="62" y="91"/>
                  </a:cubicBezTo>
                  <a:cubicBezTo>
                    <a:pt x="62" y="91"/>
                    <a:pt x="61" y="92"/>
                    <a:pt x="61" y="92"/>
                  </a:cubicBezTo>
                  <a:cubicBezTo>
                    <a:pt x="61" y="92"/>
                    <a:pt x="61" y="92"/>
                    <a:pt x="61" y="92"/>
                  </a:cubicBezTo>
                  <a:cubicBezTo>
                    <a:pt x="61" y="93"/>
                    <a:pt x="60" y="94"/>
                    <a:pt x="59" y="95"/>
                  </a:cubicBezTo>
                  <a:cubicBezTo>
                    <a:pt x="59" y="95"/>
                    <a:pt x="58" y="95"/>
                    <a:pt x="57" y="96"/>
                  </a:cubicBezTo>
                  <a:cubicBezTo>
                    <a:pt x="57" y="96"/>
                    <a:pt x="57" y="96"/>
                    <a:pt x="57" y="96"/>
                  </a:cubicBezTo>
                  <a:cubicBezTo>
                    <a:pt x="56" y="96"/>
                    <a:pt x="56" y="96"/>
                    <a:pt x="56" y="96"/>
                  </a:cubicBezTo>
                  <a:cubicBezTo>
                    <a:pt x="54" y="96"/>
                    <a:pt x="54" y="96"/>
                    <a:pt x="54" y="96"/>
                  </a:cubicBezTo>
                  <a:cubicBezTo>
                    <a:pt x="54" y="96"/>
                    <a:pt x="54" y="96"/>
                    <a:pt x="54" y="96"/>
                  </a:cubicBezTo>
                  <a:cubicBezTo>
                    <a:pt x="53" y="96"/>
                    <a:pt x="53" y="96"/>
                    <a:pt x="52" y="95"/>
                  </a:cubicBezTo>
                  <a:cubicBezTo>
                    <a:pt x="52" y="95"/>
                    <a:pt x="52" y="95"/>
                    <a:pt x="52" y="95"/>
                  </a:cubicBezTo>
                  <a:cubicBezTo>
                    <a:pt x="50" y="95"/>
                    <a:pt x="50" y="95"/>
                    <a:pt x="50" y="95"/>
                  </a:cubicBezTo>
                  <a:cubicBezTo>
                    <a:pt x="49" y="95"/>
                    <a:pt x="47" y="94"/>
                    <a:pt x="45" y="94"/>
                  </a:cubicBezTo>
                  <a:cubicBezTo>
                    <a:pt x="45" y="94"/>
                    <a:pt x="45" y="94"/>
                    <a:pt x="45" y="94"/>
                  </a:cubicBezTo>
                  <a:cubicBezTo>
                    <a:pt x="45" y="95"/>
                    <a:pt x="45" y="97"/>
                    <a:pt x="45" y="99"/>
                  </a:cubicBezTo>
                  <a:cubicBezTo>
                    <a:pt x="44" y="100"/>
                    <a:pt x="44" y="100"/>
                    <a:pt x="44" y="100"/>
                  </a:cubicBezTo>
                  <a:cubicBezTo>
                    <a:pt x="43" y="100"/>
                    <a:pt x="43" y="100"/>
                    <a:pt x="43" y="100"/>
                  </a:cubicBezTo>
                  <a:cubicBezTo>
                    <a:pt x="50" y="105"/>
                    <a:pt x="57" y="108"/>
                    <a:pt x="63" y="111"/>
                  </a:cubicBezTo>
                  <a:cubicBezTo>
                    <a:pt x="65" y="112"/>
                    <a:pt x="65" y="112"/>
                    <a:pt x="65" y="112"/>
                  </a:cubicBezTo>
                  <a:cubicBezTo>
                    <a:pt x="67" y="113"/>
                    <a:pt x="70" y="114"/>
                    <a:pt x="72" y="116"/>
                  </a:cubicBezTo>
                  <a:cubicBezTo>
                    <a:pt x="76" y="117"/>
                    <a:pt x="76" y="117"/>
                    <a:pt x="76" y="117"/>
                  </a:cubicBezTo>
                  <a:cubicBezTo>
                    <a:pt x="73" y="120"/>
                    <a:pt x="73" y="120"/>
                    <a:pt x="73" y="120"/>
                  </a:cubicBezTo>
                  <a:cubicBezTo>
                    <a:pt x="73" y="121"/>
                    <a:pt x="73" y="121"/>
                    <a:pt x="72" y="121"/>
                  </a:cubicBezTo>
                  <a:cubicBezTo>
                    <a:pt x="72" y="122"/>
                    <a:pt x="72" y="122"/>
                    <a:pt x="72" y="122"/>
                  </a:cubicBezTo>
                  <a:cubicBezTo>
                    <a:pt x="72" y="123"/>
                    <a:pt x="72" y="123"/>
                    <a:pt x="72" y="123"/>
                  </a:cubicBezTo>
                  <a:cubicBezTo>
                    <a:pt x="74" y="126"/>
                    <a:pt x="78" y="128"/>
                    <a:pt x="81" y="130"/>
                  </a:cubicBezTo>
                  <a:cubicBezTo>
                    <a:pt x="81" y="131"/>
                    <a:pt x="81" y="131"/>
                    <a:pt x="81" y="131"/>
                  </a:cubicBezTo>
                  <a:cubicBezTo>
                    <a:pt x="84" y="133"/>
                    <a:pt x="85" y="136"/>
                    <a:pt x="87" y="139"/>
                  </a:cubicBezTo>
                  <a:cubicBezTo>
                    <a:pt x="87" y="140"/>
                    <a:pt x="87" y="140"/>
                    <a:pt x="87" y="140"/>
                  </a:cubicBezTo>
                  <a:cubicBezTo>
                    <a:pt x="87" y="140"/>
                    <a:pt x="87" y="140"/>
                    <a:pt x="88" y="141"/>
                  </a:cubicBezTo>
                  <a:cubicBezTo>
                    <a:pt x="88" y="141"/>
                    <a:pt x="88" y="141"/>
                    <a:pt x="88" y="141"/>
                  </a:cubicBezTo>
                  <a:cubicBezTo>
                    <a:pt x="90" y="143"/>
                    <a:pt x="92" y="144"/>
                    <a:pt x="93" y="145"/>
                  </a:cubicBezTo>
                  <a:cubicBezTo>
                    <a:pt x="97" y="148"/>
                    <a:pt x="97" y="148"/>
                    <a:pt x="97" y="148"/>
                  </a:cubicBezTo>
                  <a:cubicBezTo>
                    <a:pt x="98" y="149"/>
                    <a:pt x="100" y="150"/>
                    <a:pt x="101" y="152"/>
                  </a:cubicBezTo>
                  <a:cubicBezTo>
                    <a:pt x="102" y="152"/>
                    <a:pt x="102" y="153"/>
                    <a:pt x="102" y="153"/>
                  </a:cubicBezTo>
                  <a:cubicBezTo>
                    <a:pt x="103" y="155"/>
                    <a:pt x="103" y="155"/>
                    <a:pt x="103" y="155"/>
                  </a:cubicBezTo>
                  <a:cubicBezTo>
                    <a:pt x="103" y="156"/>
                    <a:pt x="103" y="156"/>
                    <a:pt x="104" y="157"/>
                  </a:cubicBezTo>
                  <a:cubicBezTo>
                    <a:pt x="104" y="157"/>
                    <a:pt x="104" y="157"/>
                    <a:pt x="104" y="157"/>
                  </a:cubicBezTo>
                  <a:cubicBezTo>
                    <a:pt x="107" y="158"/>
                    <a:pt x="107" y="160"/>
                    <a:pt x="107" y="161"/>
                  </a:cubicBezTo>
                  <a:cubicBezTo>
                    <a:pt x="107" y="162"/>
                    <a:pt x="107" y="162"/>
                    <a:pt x="107" y="162"/>
                  </a:cubicBezTo>
                  <a:cubicBezTo>
                    <a:pt x="107" y="163"/>
                    <a:pt x="107" y="164"/>
                    <a:pt x="107" y="164"/>
                  </a:cubicBezTo>
                  <a:cubicBezTo>
                    <a:pt x="107" y="165"/>
                    <a:pt x="107" y="165"/>
                    <a:pt x="107" y="166"/>
                  </a:cubicBezTo>
                  <a:cubicBezTo>
                    <a:pt x="107" y="166"/>
                    <a:pt x="107" y="166"/>
                    <a:pt x="107" y="166"/>
                  </a:cubicBezTo>
                  <a:cubicBezTo>
                    <a:pt x="108" y="167"/>
                    <a:pt x="108" y="168"/>
                    <a:pt x="108" y="168"/>
                  </a:cubicBezTo>
                  <a:cubicBezTo>
                    <a:pt x="108" y="169"/>
                    <a:pt x="108" y="169"/>
                    <a:pt x="108" y="169"/>
                  </a:cubicBezTo>
                  <a:cubicBezTo>
                    <a:pt x="108" y="169"/>
                    <a:pt x="108" y="169"/>
                    <a:pt x="108" y="169"/>
                  </a:cubicBezTo>
                  <a:cubicBezTo>
                    <a:pt x="108" y="170"/>
                    <a:pt x="108" y="170"/>
                    <a:pt x="108" y="170"/>
                  </a:cubicBezTo>
                  <a:cubicBezTo>
                    <a:pt x="109" y="169"/>
                    <a:pt x="109" y="169"/>
                    <a:pt x="109" y="169"/>
                  </a:cubicBezTo>
                  <a:cubicBezTo>
                    <a:pt x="111" y="168"/>
                    <a:pt x="111" y="168"/>
                    <a:pt x="111" y="168"/>
                  </a:cubicBezTo>
                  <a:cubicBezTo>
                    <a:pt x="113" y="168"/>
                    <a:pt x="113" y="168"/>
                    <a:pt x="113" y="168"/>
                  </a:cubicBezTo>
                  <a:cubicBezTo>
                    <a:pt x="114" y="169"/>
                    <a:pt x="114" y="169"/>
                    <a:pt x="114" y="169"/>
                  </a:cubicBezTo>
                  <a:cubicBezTo>
                    <a:pt x="115" y="170"/>
                    <a:pt x="115" y="170"/>
                    <a:pt x="115" y="170"/>
                  </a:cubicBezTo>
                  <a:cubicBezTo>
                    <a:pt x="116" y="171"/>
                    <a:pt x="116" y="172"/>
                    <a:pt x="116" y="173"/>
                  </a:cubicBezTo>
                  <a:cubicBezTo>
                    <a:pt x="117" y="173"/>
                    <a:pt x="117" y="174"/>
                    <a:pt x="117" y="174"/>
                  </a:cubicBezTo>
                  <a:cubicBezTo>
                    <a:pt x="117" y="174"/>
                    <a:pt x="117" y="174"/>
                    <a:pt x="117" y="174"/>
                  </a:cubicBezTo>
                  <a:cubicBezTo>
                    <a:pt x="118" y="174"/>
                    <a:pt x="118" y="174"/>
                    <a:pt x="118" y="174"/>
                  </a:cubicBezTo>
                  <a:cubicBezTo>
                    <a:pt x="119" y="175"/>
                    <a:pt x="119" y="175"/>
                    <a:pt x="119" y="175"/>
                  </a:cubicBezTo>
                  <a:cubicBezTo>
                    <a:pt x="119" y="175"/>
                    <a:pt x="120" y="175"/>
                    <a:pt x="120" y="176"/>
                  </a:cubicBezTo>
                  <a:cubicBezTo>
                    <a:pt x="121" y="176"/>
                    <a:pt x="121" y="176"/>
                    <a:pt x="121" y="176"/>
                  </a:cubicBezTo>
                  <a:cubicBezTo>
                    <a:pt x="121" y="176"/>
                    <a:pt x="121" y="177"/>
                    <a:pt x="121" y="177"/>
                  </a:cubicBezTo>
                  <a:cubicBezTo>
                    <a:pt x="122" y="177"/>
                    <a:pt x="122" y="177"/>
                    <a:pt x="123" y="178"/>
                  </a:cubicBezTo>
                  <a:cubicBezTo>
                    <a:pt x="123" y="178"/>
                    <a:pt x="123" y="178"/>
                    <a:pt x="123" y="178"/>
                  </a:cubicBezTo>
                  <a:cubicBezTo>
                    <a:pt x="125" y="179"/>
                    <a:pt x="127" y="180"/>
                    <a:pt x="128" y="181"/>
                  </a:cubicBezTo>
                  <a:cubicBezTo>
                    <a:pt x="130" y="183"/>
                    <a:pt x="129" y="185"/>
                    <a:pt x="129" y="186"/>
                  </a:cubicBezTo>
                  <a:cubicBezTo>
                    <a:pt x="129" y="187"/>
                    <a:pt x="128" y="187"/>
                    <a:pt x="128" y="188"/>
                  </a:cubicBezTo>
                  <a:cubicBezTo>
                    <a:pt x="127" y="188"/>
                    <a:pt x="127" y="189"/>
                    <a:pt x="126" y="190"/>
                  </a:cubicBezTo>
                  <a:cubicBezTo>
                    <a:pt x="125" y="190"/>
                    <a:pt x="125" y="190"/>
                    <a:pt x="125" y="190"/>
                  </a:cubicBezTo>
                  <a:cubicBezTo>
                    <a:pt x="124" y="190"/>
                    <a:pt x="124" y="190"/>
                    <a:pt x="124" y="190"/>
                  </a:cubicBezTo>
                  <a:cubicBezTo>
                    <a:pt x="126" y="192"/>
                    <a:pt x="128" y="194"/>
                    <a:pt x="129" y="195"/>
                  </a:cubicBezTo>
                  <a:cubicBezTo>
                    <a:pt x="130" y="195"/>
                    <a:pt x="130" y="195"/>
                    <a:pt x="130" y="195"/>
                  </a:cubicBezTo>
                  <a:cubicBezTo>
                    <a:pt x="132" y="197"/>
                    <a:pt x="133" y="199"/>
                    <a:pt x="134" y="202"/>
                  </a:cubicBezTo>
                  <a:cubicBezTo>
                    <a:pt x="135" y="203"/>
                    <a:pt x="135" y="203"/>
                    <a:pt x="135" y="203"/>
                  </a:cubicBezTo>
                  <a:cubicBezTo>
                    <a:pt x="135" y="205"/>
                    <a:pt x="134" y="206"/>
                    <a:pt x="133" y="208"/>
                  </a:cubicBezTo>
                  <a:cubicBezTo>
                    <a:pt x="132" y="209"/>
                    <a:pt x="132" y="209"/>
                    <a:pt x="132" y="209"/>
                  </a:cubicBezTo>
                  <a:cubicBezTo>
                    <a:pt x="130" y="211"/>
                    <a:pt x="130" y="211"/>
                    <a:pt x="130" y="211"/>
                  </a:cubicBezTo>
                  <a:cubicBezTo>
                    <a:pt x="130" y="211"/>
                    <a:pt x="131" y="211"/>
                    <a:pt x="131" y="212"/>
                  </a:cubicBezTo>
                  <a:cubicBezTo>
                    <a:pt x="131" y="212"/>
                    <a:pt x="131" y="212"/>
                    <a:pt x="131" y="212"/>
                  </a:cubicBezTo>
                  <a:cubicBezTo>
                    <a:pt x="131" y="213"/>
                    <a:pt x="131" y="213"/>
                    <a:pt x="131" y="213"/>
                  </a:cubicBezTo>
                  <a:cubicBezTo>
                    <a:pt x="132" y="216"/>
                    <a:pt x="132" y="216"/>
                    <a:pt x="132" y="216"/>
                  </a:cubicBezTo>
                  <a:cubicBezTo>
                    <a:pt x="133" y="218"/>
                    <a:pt x="133" y="218"/>
                    <a:pt x="133" y="218"/>
                  </a:cubicBezTo>
                  <a:cubicBezTo>
                    <a:pt x="131" y="219"/>
                    <a:pt x="131" y="219"/>
                    <a:pt x="131" y="219"/>
                  </a:cubicBezTo>
                  <a:cubicBezTo>
                    <a:pt x="131" y="220"/>
                    <a:pt x="131" y="220"/>
                    <a:pt x="131" y="220"/>
                  </a:cubicBezTo>
                  <a:cubicBezTo>
                    <a:pt x="130" y="223"/>
                    <a:pt x="129" y="226"/>
                    <a:pt x="128" y="229"/>
                  </a:cubicBezTo>
                  <a:cubicBezTo>
                    <a:pt x="127" y="232"/>
                    <a:pt x="127" y="232"/>
                    <a:pt x="127" y="232"/>
                  </a:cubicBezTo>
                  <a:cubicBezTo>
                    <a:pt x="127" y="233"/>
                    <a:pt x="128" y="233"/>
                    <a:pt x="129" y="234"/>
                  </a:cubicBezTo>
                  <a:cubicBezTo>
                    <a:pt x="129" y="235"/>
                    <a:pt x="129" y="235"/>
                    <a:pt x="129" y="235"/>
                  </a:cubicBezTo>
                  <a:cubicBezTo>
                    <a:pt x="130" y="236"/>
                    <a:pt x="130" y="237"/>
                    <a:pt x="130" y="238"/>
                  </a:cubicBezTo>
                  <a:cubicBezTo>
                    <a:pt x="130" y="239"/>
                    <a:pt x="130" y="240"/>
                    <a:pt x="130" y="241"/>
                  </a:cubicBezTo>
                  <a:cubicBezTo>
                    <a:pt x="131" y="243"/>
                    <a:pt x="131" y="243"/>
                    <a:pt x="131" y="243"/>
                  </a:cubicBezTo>
                  <a:cubicBezTo>
                    <a:pt x="133" y="245"/>
                    <a:pt x="135" y="248"/>
                    <a:pt x="134" y="251"/>
                  </a:cubicBezTo>
                  <a:cubicBezTo>
                    <a:pt x="133" y="252"/>
                    <a:pt x="133" y="252"/>
                    <a:pt x="133" y="252"/>
                  </a:cubicBezTo>
                  <a:cubicBezTo>
                    <a:pt x="133" y="255"/>
                    <a:pt x="132" y="257"/>
                    <a:pt x="132" y="259"/>
                  </a:cubicBezTo>
                  <a:cubicBezTo>
                    <a:pt x="131" y="261"/>
                    <a:pt x="131" y="261"/>
                    <a:pt x="131" y="261"/>
                  </a:cubicBezTo>
                  <a:cubicBezTo>
                    <a:pt x="131" y="261"/>
                    <a:pt x="132" y="264"/>
                    <a:pt x="132" y="265"/>
                  </a:cubicBezTo>
                  <a:cubicBezTo>
                    <a:pt x="132" y="266"/>
                    <a:pt x="132" y="266"/>
                    <a:pt x="132" y="266"/>
                  </a:cubicBezTo>
                  <a:cubicBezTo>
                    <a:pt x="132" y="268"/>
                    <a:pt x="133" y="270"/>
                    <a:pt x="133" y="272"/>
                  </a:cubicBezTo>
                  <a:cubicBezTo>
                    <a:pt x="133" y="272"/>
                    <a:pt x="133" y="272"/>
                    <a:pt x="133" y="272"/>
                  </a:cubicBezTo>
                  <a:cubicBezTo>
                    <a:pt x="139" y="273"/>
                    <a:pt x="139" y="273"/>
                    <a:pt x="139" y="273"/>
                  </a:cubicBezTo>
                  <a:cubicBezTo>
                    <a:pt x="133" y="274"/>
                    <a:pt x="133" y="274"/>
                    <a:pt x="133" y="274"/>
                  </a:cubicBezTo>
                  <a:cubicBezTo>
                    <a:pt x="133" y="274"/>
                    <a:pt x="133" y="275"/>
                    <a:pt x="132" y="275"/>
                  </a:cubicBezTo>
                  <a:cubicBezTo>
                    <a:pt x="132" y="279"/>
                    <a:pt x="129" y="281"/>
                    <a:pt x="127" y="282"/>
                  </a:cubicBezTo>
                  <a:cubicBezTo>
                    <a:pt x="127" y="282"/>
                    <a:pt x="126" y="282"/>
                    <a:pt x="126" y="282"/>
                  </a:cubicBezTo>
                  <a:cubicBezTo>
                    <a:pt x="125" y="282"/>
                    <a:pt x="124" y="281"/>
                    <a:pt x="123" y="281"/>
                  </a:cubicBezTo>
                  <a:cubicBezTo>
                    <a:pt x="122" y="281"/>
                    <a:pt x="122" y="281"/>
                    <a:pt x="121" y="281"/>
                  </a:cubicBezTo>
                  <a:cubicBezTo>
                    <a:pt x="121" y="281"/>
                    <a:pt x="121" y="281"/>
                    <a:pt x="121" y="281"/>
                  </a:cubicBezTo>
                  <a:cubicBezTo>
                    <a:pt x="121" y="281"/>
                    <a:pt x="120" y="282"/>
                    <a:pt x="120" y="282"/>
                  </a:cubicBezTo>
                  <a:cubicBezTo>
                    <a:pt x="119" y="283"/>
                    <a:pt x="119" y="283"/>
                    <a:pt x="119" y="283"/>
                  </a:cubicBezTo>
                  <a:cubicBezTo>
                    <a:pt x="117" y="285"/>
                    <a:pt x="115" y="286"/>
                    <a:pt x="112" y="286"/>
                  </a:cubicBezTo>
                  <a:cubicBezTo>
                    <a:pt x="112" y="286"/>
                    <a:pt x="112" y="286"/>
                    <a:pt x="112" y="286"/>
                  </a:cubicBezTo>
                  <a:cubicBezTo>
                    <a:pt x="109" y="287"/>
                    <a:pt x="107" y="287"/>
                    <a:pt x="104" y="288"/>
                  </a:cubicBezTo>
                  <a:cubicBezTo>
                    <a:pt x="104" y="289"/>
                    <a:pt x="104" y="290"/>
                    <a:pt x="105" y="291"/>
                  </a:cubicBezTo>
                  <a:cubicBezTo>
                    <a:pt x="105" y="292"/>
                    <a:pt x="105" y="292"/>
                    <a:pt x="105" y="292"/>
                  </a:cubicBezTo>
                  <a:cubicBezTo>
                    <a:pt x="105" y="292"/>
                    <a:pt x="105" y="293"/>
                    <a:pt x="105" y="293"/>
                  </a:cubicBezTo>
                  <a:cubicBezTo>
                    <a:pt x="105" y="297"/>
                    <a:pt x="105" y="297"/>
                    <a:pt x="105" y="297"/>
                  </a:cubicBezTo>
                  <a:cubicBezTo>
                    <a:pt x="92" y="294"/>
                    <a:pt x="92" y="294"/>
                    <a:pt x="92" y="294"/>
                  </a:cubicBezTo>
                  <a:cubicBezTo>
                    <a:pt x="91" y="295"/>
                    <a:pt x="90" y="295"/>
                    <a:pt x="89" y="296"/>
                  </a:cubicBezTo>
                  <a:cubicBezTo>
                    <a:pt x="90" y="297"/>
                    <a:pt x="90" y="297"/>
                    <a:pt x="90" y="297"/>
                  </a:cubicBezTo>
                  <a:cubicBezTo>
                    <a:pt x="90" y="300"/>
                    <a:pt x="90" y="301"/>
                    <a:pt x="91" y="303"/>
                  </a:cubicBezTo>
                  <a:cubicBezTo>
                    <a:pt x="92" y="304"/>
                    <a:pt x="93" y="305"/>
                    <a:pt x="95" y="306"/>
                  </a:cubicBezTo>
                  <a:cubicBezTo>
                    <a:pt x="96" y="307"/>
                    <a:pt x="97" y="308"/>
                    <a:pt x="98" y="309"/>
                  </a:cubicBezTo>
                  <a:cubicBezTo>
                    <a:pt x="105" y="315"/>
                    <a:pt x="105" y="315"/>
                    <a:pt x="105" y="315"/>
                  </a:cubicBezTo>
                  <a:cubicBezTo>
                    <a:pt x="98" y="314"/>
                    <a:pt x="98" y="314"/>
                    <a:pt x="98" y="314"/>
                  </a:cubicBezTo>
                  <a:cubicBezTo>
                    <a:pt x="99" y="315"/>
                    <a:pt x="99" y="315"/>
                    <a:pt x="99" y="315"/>
                  </a:cubicBezTo>
                  <a:cubicBezTo>
                    <a:pt x="100" y="320"/>
                    <a:pt x="100" y="320"/>
                    <a:pt x="100" y="320"/>
                  </a:cubicBezTo>
                  <a:cubicBezTo>
                    <a:pt x="95" y="319"/>
                    <a:pt x="95" y="319"/>
                    <a:pt x="95" y="319"/>
                  </a:cubicBezTo>
                  <a:cubicBezTo>
                    <a:pt x="91" y="318"/>
                    <a:pt x="89" y="316"/>
                    <a:pt x="86" y="314"/>
                  </a:cubicBezTo>
                  <a:cubicBezTo>
                    <a:pt x="85" y="314"/>
                    <a:pt x="85" y="314"/>
                    <a:pt x="85" y="314"/>
                  </a:cubicBezTo>
                  <a:cubicBezTo>
                    <a:pt x="85" y="314"/>
                    <a:pt x="85" y="314"/>
                    <a:pt x="85" y="314"/>
                  </a:cubicBezTo>
                  <a:cubicBezTo>
                    <a:pt x="85" y="314"/>
                    <a:pt x="85" y="313"/>
                    <a:pt x="84" y="313"/>
                  </a:cubicBezTo>
                  <a:cubicBezTo>
                    <a:pt x="84" y="313"/>
                    <a:pt x="83" y="314"/>
                    <a:pt x="83" y="314"/>
                  </a:cubicBezTo>
                  <a:cubicBezTo>
                    <a:pt x="81" y="314"/>
                    <a:pt x="79" y="314"/>
                    <a:pt x="78" y="314"/>
                  </a:cubicBezTo>
                  <a:cubicBezTo>
                    <a:pt x="77" y="314"/>
                    <a:pt x="77" y="314"/>
                    <a:pt x="77" y="314"/>
                  </a:cubicBezTo>
                  <a:cubicBezTo>
                    <a:pt x="76" y="315"/>
                    <a:pt x="75" y="315"/>
                    <a:pt x="74" y="315"/>
                  </a:cubicBezTo>
                  <a:cubicBezTo>
                    <a:pt x="77" y="319"/>
                    <a:pt x="81" y="322"/>
                    <a:pt x="85" y="326"/>
                  </a:cubicBezTo>
                  <a:cubicBezTo>
                    <a:pt x="87" y="327"/>
                    <a:pt x="90" y="328"/>
                    <a:pt x="93" y="328"/>
                  </a:cubicBezTo>
                  <a:cubicBezTo>
                    <a:pt x="95" y="328"/>
                    <a:pt x="97" y="328"/>
                    <a:pt x="98" y="327"/>
                  </a:cubicBezTo>
                  <a:cubicBezTo>
                    <a:pt x="99" y="327"/>
                    <a:pt x="99" y="327"/>
                    <a:pt x="100" y="327"/>
                  </a:cubicBezTo>
                  <a:cubicBezTo>
                    <a:pt x="102" y="327"/>
                    <a:pt x="104" y="328"/>
                    <a:pt x="106" y="328"/>
                  </a:cubicBezTo>
                  <a:cubicBezTo>
                    <a:pt x="106" y="328"/>
                    <a:pt x="107" y="328"/>
                    <a:pt x="107" y="328"/>
                  </a:cubicBezTo>
                  <a:cubicBezTo>
                    <a:pt x="113" y="328"/>
                    <a:pt x="110" y="326"/>
                    <a:pt x="106" y="324"/>
                  </a:cubicBezTo>
                  <a:cubicBezTo>
                    <a:pt x="106" y="324"/>
                    <a:pt x="107" y="323"/>
                    <a:pt x="108" y="323"/>
                  </a:cubicBezTo>
                  <a:cubicBezTo>
                    <a:pt x="107" y="323"/>
                    <a:pt x="107" y="323"/>
                    <a:pt x="107" y="323"/>
                  </a:cubicBezTo>
                  <a:cubicBezTo>
                    <a:pt x="105" y="322"/>
                    <a:pt x="105" y="322"/>
                    <a:pt x="105" y="322"/>
                  </a:cubicBezTo>
                  <a:cubicBezTo>
                    <a:pt x="107" y="319"/>
                    <a:pt x="107" y="319"/>
                    <a:pt x="107" y="319"/>
                  </a:cubicBezTo>
                  <a:cubicBezTo>
                    <a:pt x="110" y="316"/>
                    <a:pt x="110" y="316"/>
                    <a:pt x="110" y="316"/>
                  </a:cubicBezTo>
                  <a:cubicBezTo>
                    <a:pt x="111" y="318"/>
                    <a:pt x="111" y="318"/>
                    <a:pt x="111" y="318"/>
                  </a:cubicBezTo>
                  <a:cubicBezTo>
                    <a:pt x="114" y="316"/>
                    <a:pt x="114" y="316"/>
                    <a:pt x="114" y="316"/>
                  </a:cubicBezTo>
                  <a:cubicBezTo>
                    <a:pt x="114" y="318"/>
                    <a:pt x="113" y="319"/>
                    <a:pt x="113" y="320"/>
                  </a:cubicBezTo>
                  <a:cubicBezTo>
                    <a:pt x="114" y="321"/>
                    <a:pt x="115" y="322"/>
                    <a:pt x="116" y="323"/>
                  </a:cubicBezTo>
                  <a:cubicBezTo>
                    <a:pt x="116" y="322"/>
                    <a:pt x="116" y="320"/>
                    <a:pt x="116" y="319"/>
                  </a:cubicBezTo>
                  <a:cubicBezTo>
                    <a:pt x="117" y="323"/>
                    <a:pt x="115" y="324"/>
                    <a:pt x="119" y="325"/>
                  </a:cubicBezTo>
                  <a:cubicBezTo>
                    <a:pt x="119" y="325"/>
                    <a:pt x="116" y="326"/>
                    <a:pt x="117" y="326"/>
                  </a:cubicBezTo>
                  <a:cubicBezTo>
                    <a:pt x="118" y="327"/>
                    <a:pt x="118" y="327"/>
                    <a:pt x="118" y="327"/>
                  </a:cubicBezTo>
                  <a:cubicBezTo>
                    <a:pt x="121" y="327"/>
                    <a:pt x="125" y="323"/>
                    <a:pt x="127" y="323"/>
                  </a:cubicBezTo>
                  <a:cubicBezTo>
                    <a:pt x="133" y="319"/>
                    <a:pt x="139" y="315"/>
                    <a:pt x="145" y="312"/>
                  </a:cubicBezTo>
                  <a:cubicBezTo>
                    <a:pt x="152" y="308"/>
                    <a:pt x="161" y="305"/>
                    <a:pt x="164" y="298"/>
                  </a:cubicBezTo>
                  <a:cubicBezTo>
                    <a:pt x="165" y="297"/>
                    <a:pt x="172" y="292"/>
                    <a:pt x="169" y="290"/>
                  </a:cubicBezTo>
                  <a:cubicBezTo>
                    <a:pt x="167" y="289"/>
                    <a:pt x="168" y="285"/>
                    <a:pt x="169" y="282"/>
                  </a:cubicBezTo>
                  <a:cubicBezTo>
                    <a:pt x="169" y="284"/>
                    <a:pt x="170" y="287"/>
                    <a:pt x="172" y="288"/>
                  </a:cubicBezTo>
                  <a:cubicBezTo>
                    <a:pt x="172" y="286"/>
                    <a:pt x="171" y="286"/>
                    <a:pt x="171" y="285"/>
                  </a:cubicBezTo>
                  <a:cubicBezTo>
                    <a:pt x="171" y="283"/>
                    <a:pt x="171" y="281"/>
                    <a:pt x="171" y="278"/>
                  </a:cubicBezTo>
                  <a:cubicBezTo>
                    <a:pt x="170" y="277"/>
                    <a:pt x="169" y="276"/>
                    <a:pt x="168" y="274"/>
                  </a:cubicBezTo>
                  <a:cubicBezTo>
                    <a:pt x="168" y="274"/>
                    <a:pt x="168" y="274"/>
                    <a:pt x="169" y="274"/>
                  </a:cubicBezTo>
                  <a:cubicBezTo>
                    <a:pt x="169" y="274"/>
                    <a:pt x="170" y="274"/>
                    <a:pt x="171" y="275"/>
                  </a:cubicBezTo>
                  <a:cubicBezTo>
                    <a:pt x="172" y="275"/>
                    <a:pt x="173" y="275"/>
                    <a:pt x="173" y="275"/>
                  </a:cubicBezTo>
                  <a:cubicBezTo>
                    <a:pt x="173" y="275"/>
                    <a:pt x="173" y="275"/>
                    <a:pt x="173" y="275"/>
                  </a:cubicBezTo>
                  <a:cubicBezTo>
                    <a:pt x="173" y="275"/>
                    <a:pt x="172" y="275"/>
                    <a:pt x="172" y="274"/>
                  </a:cubicBezTo>
                  <a:cubicBezTo>
                    <a:pt x="172" y="269"/>
                    <a:pt x="169" y="269"/>
                    <a:pt x="173" y="265"/>
                  </a:cubicBezTo>
                  <a:cubicBezTo>
                    <a:pt x="174" y="267"/>
                    <a:pt x="175" y="269"/>
                    <a:pt x="176" y="271"/>
                  </a:cubicBezTo>
                  <a:cubicBezTo>
                    <a:pt x="176" y="269"/>
                    <a:pt x="175" y="269"/>
                    <a:pt x="175" y="268"/>
                  </a:cubicBezTo>
                  <a:cubicBezTo>
                    <a:pt x="175" y="267"/>
                    <a:pt x="174" y="267"/>
                    <a:pt x="174" y="266"/>
                  </a:cubicBezTo>
                  <a:cubicBezTo>
                    <a:pt x="174" y="265"/>
                    <a:pt x="174" y="265"/>
                    <a:pt x="175" y="264"/>
                  </a:cubicBezTo>
                  <a:cubicBezTo>
                    <a:pt x="176" y="263"/>
                    <a:pt x="176" y="263"/>
                    <a:pt x="176" y="263"/>
                  </a:cubicBezTo>
                  <a:cubicBezTo>
                    <a:pt x="175" y="260"/>
                    <a:pt x="174" y="257"/>
                    <a:pt x="173" y="254"/>
                  </a:cubicBezTo>
                  <a:cubicBezTo>
                    <a:pt x="172" y="250"/>
                    <a:pt x="171" y="246"/>
                    <a:pt x="170" y="243"/>
                  </a:cubicBezTo>
                  <a:cubicBezTo>
                    <a:pt x="170" y="242"/>
                    <a:pt x="172" y="240"/>
                    <a:pt x="172" y="239"/>
                  </a:cubicBezTo>
                  <a:cubicBezTo>
                    <a:pt x="172" y="238"/>
                    <a:pt x="171" y="236"/>
                    <a:pt x="171" y="235"/>
                  </a:cubicBezTo>
                  <a:cubicBezTo>
                    <a:pt x="170" y="229"/>
                    <a:pt x="168" y="222"/>
                    <a:pt x="166" y="216"/>
                  </a:cubicBezTo>
                  <a:cubicBezTo>
                    <a:pt x="164" y="212"/>
                    <a:pt x="163" y="210"/>
                    <a:pt x="163" y="205"/>
                  </a:cubicBezTo>
                  <a:cubicBezTo>
                    <a:pt x="163" y="204"/>
                    <a:pt x="163" y="204"/>
                    <a:pt x="162" y="203"/>
                  </a:cubicBezTo>
                  <a:cubicBezTo>
                    <a:pt x="156" y="198"/>
                    <a:pt x="152" y="192"/>
                    <a:pt x="148" y="186"/>
                  </a:cubicBezTo>
                  <a:cubicBezTo>
                    <a:pt x="148" y="186"/>
                    <a:pt x="148" y="186"/>
                    <a:pt x="148" y="186"/>
                  </a:cubicBezTo>
                  <a:cubicBezTo>
                    <a:pt x="148" y="184"/>
                    <a:pt x="148" y="184"/>
                    <a:pt x="148" y="184"/>
                  </a:cubicBezTo>
                  <a:cubicBezTo>
                    <a:pt x="148" y="184"/>
                    <a:pt x="148" y="184"/>
                    <a:pt x="148" y="184"/>
                  </a:cubicBezTo>
                  <a:cubicBezTo>
                    <a:pt x="148" y="183"/>
                    <a:pt x="149" y="182"/>
                    <a:pt x="148" y="181"/>
                  </a:cubicBezTo>
                  <a:cubicBezTo>
                    <a:pt x="148" y="181"/>
                    <a:pt x="148" y="181"/>
                    <a:pt x="147" y="181"/>
                  </a:cubicBezTo>
                  <a:cubicBezTo>
                    <a:pt x="146" y="181"/>
                    <a:pt x="145" y="182"/>
                    <a:pt x="145" y="183"/>
                  </a:cubicBezTo>
                  <a:cubicBezTo>
                    <a:pt x="145" y="183"/>
                    <a:pt x="145" y="183"/>
                    <a:pt x="145" y="183"/>
                  </a:cubicBezTo>
                  <a:cubicBezTo>
                    <a:pt x="144" y="182"/>
                    <a:pt x="144" y="180"/>
                    <a:pt x="145" y="179"/>
                  </a:cubicBezTo>
                  <a:cubicBezTo>
                    <a:pt x="141" y="177"/>
                    <a:pt x="134" y="175"/>
                    <a:pt x="131" y="172"/>
                  </a:cubicBezTo>
                  <a:cubicBezTo>
                    <a:pt x="129" y="170"/>
                    <a:pt x="127" y="167"/>
                    <a:pt x="125" y="166"/>
                  </a:cubicBezTo>
                  <a:cubicBezTo>
                    <a:pt x="123" y="165"/>
                    <a:pt x="121" y="164"/>
                    <a:pt x="119" y="162"/>
                  </a:cubicBezTo>
                  <a:cubicBezTo>
                    <a:pt x="117" y="160"/>
                    <a:pt x="117" y="157"/>
                    <a:pt x="115" y="155"/>
                  </a:cubicBezTo>
                  <a:cubicBezTo>
                    <a:pt x="113" y="154"/>
                    <a:pt x="111" y="152"/>
                    <a:pt x="109" y="150"/>
                  </a:cubicBezTo>
                  <a:cubicBezTo>
                    <a:pt x="105" y="147"/>
                    <a:pt x="101" y="143"/>
                    <a:pt x="98" y="140"/>
                  </a:cubicBezTo>
                  <a:cubicBezTo>
                    <a:pt x="98" y="140"/>
                    <a:pt x="98" y="140"/>
                    <a:pt x="98" y="140"/>
                  </a:cubicBezTo>
                  <a:cubicBezTo>
                    <a:pt x="100" y="140"/>
                    <a:pt x="101" y="141"/>
                    <a:pt x="103" y="142"/>
                  </a:cubicBezTo>
                  <a:cubicBezTo>
                    <a:pt x="102" y="139"/>
                    <a:pt x="101" y="137"/>
                    <a:pt x="103" y="136"/>
                  </a:cubicBezTo>
                  <a:cubicBezTo>
                    <a:pt x="104" y="135"/>
                    <a:pt x="90" y="123"/>
                    <a:pt x="89" y="121"/>
                  </a:cubicBezTo>
                  <a:cubicBezTo>
                    <a:pt x="85" y="117"/>
                    <a:pt x="83" y="114"/>
                    <a:pt x="81" y="109"/>
                  </a:cubicBezTo>
                  <a:cubicBezTo>
                    <a:pt x="81" y="109"/>
                    <a:pt x="81" y="109"/>
                    <a:pt x="81" y="109"/>
                  </a:cubicBezTo>
                  <a:cubicBezTo>
                    <a:pt x="82" y="106"/>
                    <a:pt x="84" y="104"/>
                    <a:pt x="86" y="102"/>
                  </a:cubicBezTo>
                  <a:cubicBezTo>
                    <a:pt x="87" y="100"/>
                    <a:pt x="85" y="96"/>
                    <a:pt x="86" y="93"/>
                  </a:cubicBezTo>
                  <a:cubicBezTo>
                    <a:pt x="86" y="92"/>
                    <a:pt x="88" y="89"/>
                    <a:pt x="89" y="88"/>
                  </a:cubicBezTo>
                  <a:cubicBezTo>
                    <a:pt x="91" y="84"/>
                    <a:pt x="93" y="83"/>
                    <a:pt x="96" y="80"/>
                  </a:cubicBezTo>
                  <a:cubicBezTo>
                    <a:pt x="98" y="79"/>
                    <a:pt x="101" y="75"/>
                    <a:pt x="104" y="75"/>
                  </a:cubicBezTo>
                  <a:cubicBezTo>
                    <a:pt x="104" y="75"/>
                    <a:pt x="104" y="76"/>
                    <a:pt x="105" y="76"/>
                  </a:cubicBezTo>
                  <a:cubicBezTo>
                    <a:pt x="105" y="73"/>
                    <a:pt x="105" y="70"/>
                    <a:pt x="105" y="67"/>
                  </a:cubicBezTo>
                  <a:cubicBezTo>
                    <a:pt x="105" y="66"/>
                    <a:pt x="110" y="66"/>
                    <a:pt x="111" y="66"/>
                  </a:cubicBezTo>
                  <a:cubicBezTo>
                    <a:pt x="109" y="64"/>
                    <a:pt x="109" y="64"/>
                    <a:pt x="109" y="64"/>
                  </a:cubicBezTo>
                  <a:cubicBezTo>
                    <a:pt x="109" y="60"/>
                    <a:pt x="110" y="60"/>
                    <a:pt x="107" y="57"/>
                  </a:cubicBezTo>
                  <a:cubicBezTo>
                    <a:pt x="109" y="58"/>
                    <a:pt x="110" y="60"/>
                    <a:pt x="112" y="60"/>
                  </a:cubicBezTo>
                  <a:cubicBezTo>
                    <a:pt x="113" y="60"/>
                    <a:pt x="113" y="60"/>
                    <a:pt x="114" y="60"/>
                  </a:cubicBezTo>
                  <a:cubicBezTo>
                    <a:pt x="113" y="59"/>
                    <a:pt x="113" y="59"/>
                    <a:pt x="113" y="59"/>
                  </a:cubicBezTo>
                  <a:cubicBezTo>
                    <a:pt x="114" y="59"/>
                    <a:pt x="115" y="59"/>
                    <a:pt x="116" y="58"/>
                  </a:cubicBezTo>
                  <a:cubicBezTo>
                    <a:pt x="117" y="58"/>
                    <a:pt x="117" y="58"/>
                    <a:pt x="117" y="58"/>
                  </a:cubicBezTo>
                  <a:cubicBezTo>
                    <a:pt x="118" y="58"/>
                    <a:pt x="118" y="58"/>
                    <a:pt x="118" y="58"/>
                  </a:cubicBezTo>
                  <a:cubicBezTo>
                    <a:pt x="119" y="59"/>
                    <a:pt x="119" y="59"/>
                    <a:pt x="120" y="59"/>
                  </a:cubicBezTo>
                  <a:cubicBezTo>
                    <a:pt x="120" y="59"/>
                    <a:pt x="120" y="59"/>
                    <a:pt x="120" y="59"/>
                  </a:cubicBezTo>
                  <a:cubicBezTo>
                    <a:pt x="121" y="59"/>
                    <a:pt x="123" y="58"/>
                    <a:pt x="124" y="57"/>
                  </a:cubicBezTo>
                  <a:cubicBezTo>
                    <a:pt x="125" y="56"/>
                    <a:pt x="124" y="56"/>
                    <a:pt x="124" y="56"/>
                  </a:cubicBezTo>
                  <a:cubicBezTo>
                    <a:pt x="125" y="54"/>
                    <a:pt x="125" y="54"/>
                    <a:pt x="124" y="53"/>
                  </a:cubicBezTo>
                  <a:cubicBezTo>
                    <a:pt x="125" y="52"/>
                    <a:pt x="126" y="52"/>
                    <a:pt x="127" y="51"/>
                  </a:cubicBezTo>
                  <a:cubicBezTo>
                    <a:pt x="126" y="52"/>
                    <a:pt x="125" y="54"/>
                    <a:pt x="125" y="56"/>
                  </a:cubicBezTo>
                  <a:cubicBezTo>
                    <a:pt x="127" y="55"/>
                    <a:pt x="129" y="54"/>
                    <a:pt x="130" y="52"/>
                  </a:cubicBezTo>
                  <a:cubicBezTo>
                    <a:pt x="129" y="52"/>
                    <a:pt x="129" y="51"/>
                    <a:pt x="128" y="51"/>
                  </a:cubicBezTo>
                  <a:cubicBezTo>
                    <a:pt x="130" y="49"/>
                    <a:pt x="133" y="47"/>
                    <a:pt x="136" y="46"/>
                  </a:cubicBezTo>
                  <a:cubicBezTo>
                    <a:pt x="136" y="45"/>
                    <a:pt x="136" y="45"/>
                    <a:pt x="136" y="45"/>
                  </a:cubicBezTo>
                  <a:cubicBezTo>
                    <a:pt x="135" y="45"/>
                    <a:pt x="135" y="45"/>
                    <a:pt x="135" y="45"/>
                  </a:cubicBezTo>
                  <a:cubicBezTo>
                    <a:pt x="133" y="45"/>
                    <a:pt x="131" y="44"/>
                    <a:pt x="129" y="44"/>
                  </a:cubicBezTo>
                  <a:cubicBezTo>
                    <a:pt x="128" y="44"/>
                    <a:pt x="128" y="44"/>
                    <a:pt x="128" y="44"/>
                  </a:cubicBezTo>
                  <a:cubicBezTo>
                    <a:pt x="127" y="44"/>
                    <a:pt x="127" y="44"/>
                    <a:pt x="127" y="44"/>
                  </a:cubicBezTo>
                  <a:cubicBezTo>
                    <a:pt x="126" y="44"/>
                    <a:pt x="125" y="44"/>
                    <a:pt x="125" y="44"/>
                  </a:cubicBezTo>
                  <a:cubicBezTo>
                    <a:pt x="122" y="44"/>
                    <a:pt x="120" y="42"/>
                    <a:pt x="119" y="41"/>
                  </a:cubicBezTo>
                  <a:cubicBezTo>
                    <a:pt x="119" y="40"/>
                    <a:pt x="118" y="40"/>
                    <a:pt x="118" y="40"/>
                  </a:cubicBezTo>
                  <a:cubicBezTo>
                    <a:pt x="116" y="38"/>
                    <a:pt x="116" y="38"/>
                    <a:pt x="116" y="38"/>
                  </a:cubicBezTo>
                  <a:cubicBezTo>
                    <a:pt x="115" y="36"/>
                    <a:pt x="114" y="36"/>
                    <a:pt x="114" y="36"/>
                  </a:cubicBezTo>
                  <a:cubicBezTo>
                    <a:pt x="114" y="36"/>
                    <a:pt x="113" y="36"/>
                    <a:pt x="113" y="36"/>
                  </a:cubicBezTo>
                  <a:cubicBezTo>
                    <a:pt x="112" y="36"/>
                    <a:pt x="112" y="36"/>
                    <a:pt x="112" y="36"/>
                  </a:cubicBezTo>
                  <a:cubicBezTo>
                    <a:pt x="110" y="36"/>
                    <a:pt x="108" y="36"/>
                    <a:pt x="107" y="35"/>
                  </a:cubicBezTo>
                  <a:cubicBezTo>
                    <a:pt x="106" y="35"/>
                    <a:pt x="106" y="35"/>
                    <a:pt x="106" y="35"/>
                  </a:cubicBezTo>
                  <a:cubicBezTo>
                    <a:pt x="105" y="34"/>
                    <a:pt x="105" y="34"/>
                    <a:pt x="105" y="34"/>
                  </a:cubicBezTo>
                  <a:cubicBezTo>
                    <a:pt x="104" y="32"/>
                    <a:pt x="104" y="32"/>
                    <a:pt x="104" y="32"/>
                  </a:cubicBezTo>
                  <a:cubicBezTo>
                    <a:pt x="105" y="32"/>
                    <a:pt x="105" y="32"/>
                    <a:pt x="105" y="32"/>
                  </a:cubicBezTo>
                  <a:cubicBezTo>
                    <a:pt x="104" y="32"/>
                    <a:pt x="104" y="32"/>
                    <a:pt x="104" y="32"/>
                  </a:cubicBezTo>
                  <a:cubicBezTo>
                    <a:pt x="105" y="30"/>
                    <a:pt x="105" y="30"/>
                    <a:pt x="105" y="30"/>
                  </a:cubicBezTo>
                  <a:cubicBezTo>
                    <a:pt x="105" y="29"/>
                    <a:pt x="105" y="29"/>
                    <a:pt x="105" y="29"/>
                  </a:cubicBezTo>
                  <a:cubicBezTo>
                    <a:pt x="105" y="29"/>
                    <a:pt x="105" y="29"/>
                    <a:pt x="104" y="28"/>
                  </a:cubicBezTo>
                  <a:cubicBezTo>
                    <a:pt x="104" y="27"/>
                    <a:pt x="103" y="26"/>
                    <a:pt x="103" y="25"/>
                  </a:cubicBezTo>
                  <a:cubicBezTo>
                    <a:pt x="102" y="24"/>
                    <a:pt x="102" y="24"/>
                    <a:pt x="102" y="24"/>
                  </a:cubicBezTo>
                  <a:cubicBezTo>
                    <a:pt x="101" y="20"/>
                    <a:pt x="102" y="18"/>
                    <a:pt x="104" y="16"/>
                  </a:cubicBezTo>
                  <a:cubicBezTo>
                    <a:pt x="105" y="14"/>
                    <a:pt x="105" y="14"/>
                    <a:pt x="105" y="14"/>
                  </a:cubicBezTo>
                  <a:cubicBezTo>
                    <a:pt x="106" y="14"/>
                    <a:pt x="106" y="13"/>
                    <a:pt x="106" y="12"/>
                  </a:cubicBezTo>
                  <a:cubicBezTo>
                    <a:pt x="106" y="12"/>
                    <a:pt x="106" y="12"/>
                    <a:pt x="106" y="12"/>
                  </a:cubicBezTo>
                  <a:cubicBezTo>
                    <a:pt x="106" y="12"/>
                    <a:pt x="106" y="12"/>
                    <a:pt x="106" y="12"/>
                  </a:cubicBezTo>
                  <a:cubicBezTo>
                    <a:pt x="105" y="12"/>
                    <a:pt x="103" y="11"/>
                    <a:pt x="102" y="11"/>
                  </a:cubicBezTo>
                  <a:cubicBezTo>
                    <a:pt x="101" y="11"/>
                    <a:pt x="101" y="12"/>
                    <a:pt x="100" y="12"/>
                  </a:cubicBezTo>
                  <a:cubicBezTo>
                    <a:pt x="100" y="12"/>
                    <a:pt x="99" y="12"/>
                    <a:pt x="98" y="12"/>
                  </a:cubicBezTo>
                  <a:cubicBezTo>
                    <a:pt x="98" y="12"/>
                    <a:pt x="98" y="12"/>
                    <a:pt x="97" y="11"/>
                  </a:cubicBezTo>
                  <a:cubicBezTo>
                    <a:pt x="96" y="11"/>
                    <a:pt x="96" y="11"/>
                    <a:pt x="96" y="11"/>
                  </a:cubicBezTo>
                  <a:cubicBezTo>
                    <a:pt x="92" y="11"/>
                    <a:pt x="88" y="11"/>
                    <a:pt x="83" y="8"/>
                  </a:cubicBezTo>
                  <a:cubicBezTo>
                    <a:pt x="82" y="8"/>
                    <a:pt x="82" y="8"/>
                    <a:pt x="82" y="8"/>
                  </a:cubicBezTo>
                  <a:cubicBezTo>
                    <a:pt x="80" y="6"/>
                    <a:pt x="78" y="5"/>
                    <a:pt x="77" y="3"/>
                  </a:cubicBezTo>
                  <a:cubicBezTo>
                    <a:pt x="76" y="2"/>
                    <a:pt x="76" y="2"/>
                    <a:pt x="76" y="2"/>
                  </a:cubicBezTo>
                  <a:cubicBezTo>
                    <a:pt x="76" y="1"/>
                    <a:pt x="75" y="1"/>
                    <a:pt x="75" y="1"/>
                  </a:cubicBezTo>
                  <a:cubicBezTo>
                    <a:pt x="75" y="1"/>
                    <a:pt x="75" y="1"/>
                    <a:pt x="75" y="1"/>
                  </a:cubicBezTo>
                  <a:cubicBezTo>
                    <a:pt x="74" y="0"/>
                    <a:pt x="74" y="0"/>
                    <a:pt x="74" y="0"/>
                  </a:cubicBezTo>
                  <a:cubicBezTo>
                    <a:pt x="73" y="0"/>
                    <a:pt x="73" y="0"/>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530"/>
            <p:cNvSpPr/>
            <p:nvPr/>
          </p:nvSpPr>
          <p:spPr bwMode="auto">
            <a:xfrm>
              <a:off x="5803892" y="5003143"/>
              <a:ext cx="130283" cy="174606"/>
            </a:xfrm>
            <a:custGeom>
              <a:gdLst>
                <a:gd name="T0" fmla="*/ 18 w 41"/>
                <a:gd name="T1" fmla="*/ 0 h 55"/>
                <a:gd name="T2" fmla="*/ 16 w 41"/>
                <a:gd name="T3" fmla="*/ 0 h 55"/>
                <a:gd name="T4" fmla="*/ 16 w 41"/>
                <a:gd name="T5" fmla="*/ 0 h 55"/>
                <a:gd name="T6" fmla="*/ 16 w 41"/>
                <a:gd name="T7" fmla="*/ 1 h 55"/>
                <a:gd name="T8" fmla="*/ 6 w 41"/>
                <a:gd name="T9" fmla="*/ 10 h 55"/>
                <a:gd name="T10" fmla="*/ 0 w 41"/>
                <a:gd name="T11" fmla="*/ 12 h 55"/>
                <a:gd name="T12" fmla="*/ 3 w 41"/>
                <a:gd name="T13" fmla="*/ 16 h 55"/>
                <a:gd name="T14" fmla="*/ 15 w 41"/>
                <a:gd name="T15" fmla="*/ 23 h 55"/>
                <a:gd name="T16" fmla="*/ 14 w 41"/>
                <a:gd name="T17" fmla="*/ 22 h 55"/>
                <a:gd name="T18" fmla="*/ 9 w 41"/>
                <a:gd name="T19" fmla="*/ 25 h 55"/>
                <a:gd name="T20" fmla="*/ 8 w 41"/>
                <a:gd name="T21" fmla="*/ 40 h 55"/>
                <a:gd name="T22" fmla="*/ 10 w 41"/>
                <a:gd name="T23" fmla="*/ 52 h 55"/>
                <a:gd name="T24" fmla="*/ 11 w 41"/>
                <a:gd name="T25" fmla="*/ 52 h 55"/>
                <a:gd name="T26" fmla="*/ 5 w 41"/>
                <a:gd name="T27" fmla="*/ 55 h 55"/>
                <a:gd name="T28" fmla="*/ 17 w 41"/>
                <a:gd name="T29" fmla="*/ 52 h 55"/>
                <a:gd name="T30" fmla="*/ 22 w 41"/>
                <a:gd name="T31" fmla="*/ 47 h 55"/>
                <a:gd name="T32" fmla="*/ 36 w 41"/>
                <a:gd name="T33" fmla="*/ 37 h 55"/>
                <a:gd name="T34" fmla="*/ 39 w 41"/>
                <a:gd name="T35" fmla="*/ 32 h 55"/>
                <a:gd name="T36" fmla="*/ 34 w 41"/>
                <a:gd name="T37" fmla="*/ 22 h 55"/>
                <a:gd name="T38" fmla="*/ 32 w 41"/>
                <a:gd name="T39" fmla="*/ 19 h 55"/>
                <a:gd name="T40" fmla="*/ 32 w 41"/>
                <a:gd name="T41" fmla="*/ 19 h 55"/>
                <a:gd name="T42" fmla="*/ 28 w 41"/>
                <a:gd name="T43" fmla="*/ 15 h 55"/>
                <a:gd name="T44" fmla="*/ 28 w 41"/>
                <a:gd name="T45" fmla="*/ 15 h 55"/>
                <a:gd name="T46" fmla="*/ 22 w 41"/>
                <a:gd name="T47" fmla="*/ 10 h 55"/>
                <a:gd name="T48" fmla="*/ 18 w 41"/>
                <a:gd name="T49" fmla="*/ 6 h 55"/>
                <a:gd name="T50" fmla="*/ 20 w 41"/>
                <a:gd name="T51" fmla="*/ 6 h 55"/>
                <a:gd name="T52" fmla="*/ 20 w 41"/>
                <a:gd name="T53" fmla="*/ 6 h 55"/>
                <a:gd name="T54" fmla="*/ 18 w 41"/>
                <a:gd name="T55" fmla="*/ 0 h 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55">
                  <a:moveTo>
                    <a:pt x="18" y="0"/>
                  </a:moveTo>
                  <a:cubicBezTo>
                    <a:pt x="18" y="0"/>
                    <a:pt x="17" y="0"/>
                    <a:pt x="16" y="0"/>
                  </a:cubicBezTo>
                  <a:cubicBezTo>
                    <a:pt x="16" y="0"/>
                    <a:pt x="16" y="0"/>
                    <a:pt x="16" y="0"/>
                  </a:cubicBezTo>
                  <a:cubicBezTo>
                    <a:pt x="16" y="1"/>
                    <a:pt x="16" y="1"/>
                    <a:pt x="16" y="1"/>
                  </a:cubicBezTo>
                  <a:cubicBezTo>
                    <a:pt x="16" y="5"/>
                    <a:pt x="11" y="9"/>
                    <a:pt x="6" y="10"/>
                  </a:cubicBezTo>
                  <a:cubicBezTo>
                    <a:pt x="3" y="10"/>
                    <a:pt x="1" y="12"/>
                    <a:pt x="0" y="12"/>
                  </a:cubicBezTo>
                  <a:cubicBezTo>
                    <a:pt x="1" y="14"/>
                    <a:pt x="2" y="16"/>
                    <a:pt x="3" y="16"/>
                  </a:cubicBezTo>
                  <a:cubicBezTo>
                    <a:pt x="6" y="18"/>
                    <a:pt x="15" y="18"/>
                    <a:pt x="15" y="23"/>
                  </a:cubicBezTo>
                  <a:cubicBezTo>
                    <a:pt x="15" y="22"/>
                    <a:pt x="14" y="22"/>
                    <a:pt x="14" y="22"/>
                  </a:cubicBezTo>
                  <a:cubicBezTo>
                    <a:pt x="12" y="22"/>
                    <a:pt x="10" y="24"/>
                    <a:pt x="9" y="25"/>
                  </a:cubicBezTo>
                  <a:cubicBezTo>
                    <a:pt x="7" y="29"/>
                    <a:pt x="8" y="36"/>
                    <a:pt x="8" y="40"/>
                  </a:cubicBezTo>
                  <a:cubicBezTo>
                    <a:pt x="7" y="43"/>
                    <a:pt x="6" y="52"/>
                    <a:pt x="10" y="52"/>
                  </a:cubicBezTo>
                  <a:cubicBezTo>
                    <a:pt x="10" y="52"/>
                    <a:pt x="11" y="52"/>
                    <a:pt x="11" y="52"/>
                  </a:cubicBezTo>
                  <a:cubicBezTo>
                    <a:pt x="9" y="53"/>
                    <a:pt x="8" y="54"/>
                    <a:pt x="5" y="55"/>
                  </a:cubicBezTo>
                  <a:cubicBezTo>
                    <a:pt x="11" y="54"/>
                    <a:pt x="13" y="55"/>
                    <a:pt x="17" y="52"/>
                  </a:cubicBezTo>
                  <a:cubicBezTo>
                    <a:pt x="20" y="50"/>
                    <a:pt x="20" y="50"/>
                    <a:pt x="22" y="47"/>
                  </a:cubicBezTo>
                  <a:cubicBezTo>
                    <a:pt x="24" y="41"/>
                    <a:pt x="31" y="40"/>
                    <a:pt x="36" y="37"/>
                  </a:cubicBezTo>
                  <a:cubicBezTo>
                    <a:pt x="40" y="35"/>
                    <a:pt x="41" y="36"/>
                    <a:pt x="39" y="32"/>
                  </a:cubicBezTo>
                  <a:cubicBezTo>
                    <a:pt x="38" y="29"/>
                    <a:pt x="36" y="25"/>
                    <a:pt x="34" y="22"/>
                  </a:cubicBezTo>
                  <a:cubicBezTo>
                    <a:pt x="34" y="21"/>
                    <a:pt x="33" y="20"/>
                    <a:pt x="32" y="19"/>
                  </a:cubicBezTo>
                  <a:cubicBezTo>
                    <a:pt x="32" y="19"/>
                    <a:pt x="32" y="19"/>
                    <a:pt x="32" y="19"/>
                  </a:cubicBezTo>
                  <a:cubicBezTo>
                    <a:pt x="31" y="18"/>
                    <a:pt x="29" y="17"/>
                    <a:pt x="28" y="15"/>
                  </a:cubicBezTo>
                  <a:cubicBezTo>
                    <a:pt x="28" y="15"/>
                    <a:pt x="28" y="15"/>
                    <a:pt x="28" y="15"/>
                  </a:cubicBezTo>
                  <a:cubicBezTo>
                    <a:pt x="26" y="13"/>
                    <a:pt x="23" y="12"/>
                    <a:pt x="22" y="10"/>
                  </a:cubicBezTo>
                  <a:cubicBezTo>
                    <a:pt x="21" y="8"/>
                    <a:pt x="19" y="7"/>
                    <a:pt x="18" y="6"/>
                  </a:cubicBezTo>
                  <a:cubicBezTo>
                    <a:pt x="19" y="6"/>
                    <a:pt x="19" y="6"/>
                    <a:pt x="20" y="6"/>
                  </a:cubicBezTo>
                  <a:cubicBezTo>
                    <a:pt x="20" y="6"/>
                    <a:pt x="20" y="6"/>
                    <a:pt x="20" y="6"/>
                  </a:cubicBezTo>
                  <a:cubicBezTo>
                    <a:pt x="22" y="6"/>
                    <a:pt x="20" y="3"/>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531"/>
            <p:cNvSpPr/>
            <p:nvPr/>
          </p:nvSpPr>
          <p:spPr bwMode="auto">
            <a:xfrm>
              <a:off x="5676295" y="4927928"/>
              <a:ext cx="4029" cy="9402"/>
            </a:xfrm>
            <a:custGeom>
              <a:gdLst>
                <a:gd name="T0" fmla="*/ 0 w 1"/>
                <a:gd name="T1" fmla="*/ 0 h 3"/>
                <a:gd name="T2" fmla="*/ 0 w 1"/>
                <a:gd name="T3" fmla="*/ 0 h 3"/>
                <a:gd name="T4" fmla="*/ 0 w 1"/>
                <a:gd name="T5" fmla="*/ 0 h 3"/>
                <a:gd name="T6" fmla="*/ 1 w 1"/>
                <a:gd name="T7" fmla="*/ 3 h 3"/>
                <a:gd name="T8" fmla="*/ 0 w 1"/>
                <a:gd name="T9" fmla="*/ 0 h 3"/>
              </a:gd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0" y="0"/>
                    <a:pt x="0" y="0"/>
                    <a:pt x="0" y="0"/>
                  </a:cubicBezTo>
                  <a:cubicBezTo>
                    <a:pt x="0" y="2"/>
                    <a:pt x="0" y="3"/>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532"/>
            <p:cNvSpPr>
              <a:spLocks noEditPoints="1"/>
            </p:cNvSpPr>
            <p:nvPr/>
          </p:nvSpPr>
          <p:spPr bwMode="auto">
            <a:xfrm>
              <a:off x="5641374" y="4714371"/>
              <a:ext cx="397565" cy="314291"/>
            </a:xfrm>
            <a:custGeom>
              <a:gdLst>
                <a:gd name="T0" fmla="*/ 14 w 125"/>
                <a:gd name="T1" fmla="*/ 72 h 99"/>
                <a:gd name="T2" fmla="*/ 96 w 125"/>
                <a:gd name="T3" fmla="*/ 2 h 99"/>
                <a:gd name="T4" fmla="*/ 95 w 125"/>
                <a:gd name="T5" fmla="*/ 10 h 99"/>
                <a:gd name="T6" fmla="*/ 89 w 125"/>
                <a:gd name="T7" fmla="*/ 19 h 99"/>
                <a:gd name="T8" fmla="*/ 86 w 125"/>
                <a:gd name="T9" fmla="*/ 16 h 99"/>
                <a:gd name="T10" fmla="*/ 83 w 125"/>
                <a:gd name="T11" fmla="*/ 14 h 99"/>
                <a:gd name="T12" fmla="*/ 80 w 125"/>
                <a:gd name="T13" fmla="*/ 11 h 99"/>
                <a:gd name="T14" fmla="*/ 78 w 125"/>
                <a:gd name="T15" fmla="*/ 11 h 99"/>
                <a:gd name="T16" fmla="*/ 74 w 125"/>
                <a:gd name="T17" fmla="*/ 12 h 99"/>
                <a:gd name="T18" fmla="*/ 68 w 125"/>
                <a:gd name="T19" fmla="*/ 7 h 99"/>
                <a:gd name="T20" fmla="*/ 61 w 125"/>
                <a:gd name="T21" fmla="*/ 5 h 99"/>
                <a:gd name="T22" fmla="*/ 60 w 125"/>
                <a:gd name="T23" fmla="*/ 4 h 99"/>
                <a:gd name="T24" fmla="*/ 52 w 125"/>
                <a:gd name="T25" fmla="*/ 5 h 99"/>
                <a:gd name="T26" fmla="*/ 38 w 125"/>
                <a:gd name="T27" fmla="*/ 5 h 99"/>
                <a:gd name="T28" fmla="*/ 26 w 125"/>
                <a:gd name="T29" fmla="*/ 4 h 99"/>
                <a:gd name="T30" fmla="*/ 14 w 125"/>
                <a:gd name="T31" fmla="*/ 9 h 99"/>
                <a:gd name="T32" fmla="*/ 2 w 125"/>
                <a:gd name="T33" fmla="*/ 24 h 99"/>
                <a:gd name="T34" fmla="*/ 3 w 125"/>
                <a:gd name="T35" fmla="*/ 33 h 99"/>
                <a:gd name="T36" fmla="*/ 5 w 125"/>
                <a:gd name="T37" fmla="*/ 43 h 99"/>
                <a:gd name="T38" fmla="*/ 10 w 125"/>
                <a:gd name="T39" fmla="*/ 48 h 99"/>
                <a:gd name="T40" fmla="*/ 11 w 125"/>
                <a:gd name="T41" fmla="*/ 51 h 99"/>
                <a:gd name="T42" fmla="*/ 13 w 125"/>
                <a:gd name="T43" fmla="*/ 65 h 99"/>
                <a:gd name="T44" fmla="*/ 14 w 125"/>
                <a:gd name="T45" fmla="*/ 72 h 99"/>
                <a:gd name="T46" fmla="*/ 18 w 125"/>
                <a:gd name="T47" fmla="*/ 89 h 99"/>
                <a:gd name="T48" fmla="*/ 27 w 125"/>
                <a:gd name="T49" fmla="*/ 82 h 99"/>
                <a:gd name="T50" fmla="*/ 28 w 125"/>
                <a:gd name="T51" fmla="*/ 97 h 99"/>
                <a:gd name="T52" fmla="*/ 47 w 125"/>
                <a:gd name="T53" fmla="*/ 99 h 99"/>
                <a:gd name="T54" fmla="*/ 61 w 125"/>
                <a:gd name="T55" fmla="*/ 92 h 99"/>
                <a:gd name="T56" fmla="*/ 65 w 125"/>
                <a:gd name="T57" fmla="*/ 85 h 99"/>
                <a:gd name="T58" fmla="*/ 73 w 125"/>
                <a:gd name="T59" fmla="*/ 84 h 99"/>
                <a:gd name="T60" fmla="*/ 81 w 125"/>
                <a:gd name="T61" fmla="*/ 83 h 99"/>
                <a:gd name="T62" fmla="*/ 81 w 125"/>
                <a:gd name="T63" fmla="*/ 74 h 99"/>
                <a:gd name="T64" fmla="*/ 86 w 125"/>
                <a:gd name="T65" fmla="*/ 65 h 99"/>
                <a:gd name="T66" fmla="*/ 95 w 125"/>
                <a:gd name="T67" fmla="*/ 65 h 99"/>
                <a:gd name="T68" fmla="*/ 109 w 125"/>
                <a:gd name="T69" fmla="*/ 56 h 99"/>
                <a:gd name="T70" fmla="*/ 115 w 125"/>
                <a:gd name="T71" fmla="*/ 52 h 99"/>
                <a:gd name="T72" fmla="*/ 122 w 125"/>
                <a:gd name="T73" fmla="*/ 51 h 99"/>
                <a:gd name="T74" fmla="*/ 124 w 125"/>
                <a:gd name="T75" fmla="*/ 50 h 99"/>
                <a:gd name="T76" fmla="*/ 124 w 125"/>
                <a:gd name="T77" fmla="*/ 48 h 99"/>
                <a:gd name="T78" fmla="*/ 123 w 125"/>
                <a:gd name="T79" fmla="*/ 34 h 99"/>
                <a:gd name="T80" fmla="*/ 123 w 125"/>
                <a:gd name="T81" fmla="*/ 22 h 99"/>
                <a:gd name="T82" fmla="*/ 121 w 125"/>
                <a:gd name="T83" fmla="*/ 14 h 99"/>
                <a:gd name="T84" fmla="*/ 119 w 125"/>
                <a:gd name="T85" fmla="*/ 3 h 99"/>
                <a:gd name="T86" fmla="*/ 115 w 125"/>
                <a:gd name="T87" fmla="*/ 4 h 99"/>
                <a:gd name="T88" fmla="*/ 108 w 125"/>
                <a:gd name="T89" fmla="*/ 4 h 99"/>
                <a:gd name="T90" fmla="*/ 100 w 125"/>
                <a:gd name="T91" fmla="*/ 0 h 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 h="99">
                  <a:moveTo>
                    <a:pt x="14" y="72"/>
                  </a:moveTo>
                  <a:cubicBezTo>
                    <a:pt x="14" y="72"/>
                    <a:pt x="14" y="73"/>
                    <a:pt x="14" y="73"/>
                  </a:cubicBezTo>
                  <a:cubicBezTo>
                    <a:pt x="14" y="73"/>
                    <a:pt x="14" y="72"/>
                    <a:pt x="14" y="72"/>
                  </a:cubicBezTo>
                  <a:moveTo>
                    <a:pt x="100" y="0"/>
                  </a:moveTo>
                  <a:cubicBezTo>
                    <a:pt x="98" y="0"/>
                    <a:pt x="97" y="1"/>
                    <a:pt x="96" y="2"/>
                  </a:cubicBezTo>
                  <a:cubicBezTo>
                    <a:pt x="96" y="2"/>
                    <a:pt x="96" y="2"/>
                    <a:pt x="96" y="2"/>
                  </a:cubicBezTo>
                  <a:cubicBezTo>
                    <a:pt x="95" y="3"/>
                    <a:pt x="94" y="3"/>
                    <a:pt x="94" y="4"/>
                  </a:cubicBezTo>
                  <a:cubicBezTo>
                    <a:pt x="93" y="4"/>
                    <a:pt x="93" y="4"/>
                    <a:pt x="93" y="4"/>
                  </a:cubicBezTo>
                  <a:cubicBezTo>
                    <a:pt x="94" y="6"/>
                    <a:pt x="95" y="8"/>
                    <a:pt x="95" y="10"/>
                  </a:cubicBezTo>
                  <a:cubicBezTo>
                    <a:pt x="95" y="11"/>
                    <a:pt x="95" y="12"/>
                    <a:pt x="94" y="13"/>
                  </a:cubicBezTo>
                  <a:cubicBezTo>
                    <a:pt x="93" y="15"/>
                    <a:pt x="91" y="16"/>
                    <a:pt x="89" y="16"/>
                  </a:cubicBezTo>
                  <a:cubicBezTo>
                    <a:pt x="89" y="19"/>
                    <a:pt x="89" y="19"/>
                    <a:pt x="89" y="19"/>
                  </a:cubicBezTo>
                  <a:cubicBezTo>
                    <a:pt x="88" y="16"/>
                    <a:pt x="88" y="16"/>
                    <a:pt x="88" y="16"/>
                  </a:cubicBezTo>
                  <a:cubicBezTo>
                    <a:pt x="87" y="16"/>
                    <a:pt x="87" y="16"/>
                    <a:pt x="86" y="16"/>
                  </a:cubicBezTo>
                  <a:cubicBezTo>
                    <a:pt x="86" y="16"/>
                    <a:pt x="86" y="16"/>
                    <a:pt x="86" y="16"/>
                  </a:cubicBezTo>
                  <a:cubicBezTo>
                    <a:pt x="85" y="16"/>
                    <a:pt x="85" y="15"/>
                    <a:pt x="85" y="15"/>
                  </a:cubicBezTo>
                  <a:cubicBezTo>
                    <a:pt x="84" y="15"/>
                    <a:pt x="84" y="15"/>
                    <a:pt x="84" y="15"/>
                  </a:cubicBezTo>
                  <a:cubicBezTo>
                    <a:pt x="84" y="15"/>
                    <a:pt x="83" y="15"/>
                    <a:pt x="83" y="14"/>
                  </a:cubicBezTo>
                  <a:cubicBezTo>
                    <a:pt x="82" y="14"/>
                    <a:pt x="82" y="13"/>
                    <a:pt x="81" y="13"/>
                  </a:cubicBezTo>
                  <a:cubicBezTo>
                    <a:pt x="80" y="12"/>
                    <a:pt x="80" y="12"/>
                    <a:pt x="80" y="12"/>
                  </a:cubicBezTo>
                  <a:cubicBezTo>
                    <a:pt x="80" y="11"/>
                    <a:pt x="80" y="11"/>
                    <a:pt x="80" y="11"/>
                  </a:cubicBezTo>
                  <a:cubicBezTo>
                    <a:pt x="80" y="11"/>
                    <a:pt x="80" y="11"/>
                    <a:pt x="80" y="11"/>
                  </a:cubicBezTo>
                  <a:cubicBezTo>
                    <a:pt x="79" y="11"/>
                    <a:pt x="79" y="11"/>
                    <a:pt x="79" y="11"/>
                  </a:cubicBezTo>
                  <a:cubicBezTo>
                    <a:pt x="79" y="11"/>
                    <a:pt x="78" y="11"/>
                    <a:pt x="78" y="11"/>
                  </a:cubicBezTo>
                  <a:cubicBezTo>
                    <a:pt x="77" y="11"/>
                    <a:pt x="77" y="11"/>
                    <a:pt x="77" y="11"/>
                  </a:cubicBezTo>
                  <a:cubicBezTo>
                    <a:pt x="77" y="12"/>
                    <a:pt x="76" y="12"/>
                    <a:pt x="75" y="12"/>
                  </a:cubicBezTo>
                  <a:cubicBezTo>
                    <a:pt x="74" y="12"/>
                    <a:pt x="74" y="12"/>
                    <a:pt x="74" y="12"/>
                  </a:cubicBezTo>
                  <a:cubicBezTo>
                    <a:pt x="74" y="12"/>
                    <a:pt x="73" y="11"/>
                    <a:pt x="73" y="11"/>
                  </a:cubicBezTo>
                  <a:cubicBezTo>
                    <a:pt x="73" y="11"/>
                    <a:pt x="71" y="11"/>
                    <a:pt x="70" y="10"/>
                  </a:cubicBezTo>
                  <a:cubicBezTo>
                    <a:pt x="70" y="9"/>
                    <a:pt x="69" y="8"/>
                    <a:pt x="68" y="7"/>
                  </a:cubicBezTo>
                  <a:cubicBezTo>
                    <a:pt x="68" y="8"/>
                    <a:pt x="67" y="8"/>
                    <a:pt x="66" y="8"/>
                  </a:cubicBezTo>
                  <a:cubicBezTo>
                    <a:pt x="64" y="8"/>
                    <a:pt x="63" y="7"/>
                    <a:pt x="62" y="7"/>
                  </a:cubicBezTo>
                  <a:cubicBezTo>
                    <a:pt x="62" y="6"/>
                    <a:pt x="61" y="6"/>
                    <a:pt x="61" y="5"/>
                  </a:cubicBezTo>
                  <a:cubicBezTo>
                    <a:pt x="61" y="4"/>
                    <a:pt x="61" y="4"/>
                    <a:pt x="61" y="4"/>
                  </a:cubicBezTo>
                  <a:cubicBezTo>
                    <a:pt x="61" y="4"/>
                    <a:pt x="61" y="4"/>
                    <a:pt x="61" y="4"/>
                  </a:cubicBezTo>
                  <a:cubicBezTo>
                    <a:pt x="60" y="4"/>
                    <a:pt x="60" y="4"/>
                    <a:pt x="60" y="4"/>
                  </a:cubicBezTo>
                  <a:cubicBezTo>
                    <a:pt x="60" y="4"/>
                    <a:pt x="60" y="4"/>
                    <a:pt x="60" y="4"/>
                  </a:cubicBezTo>
                  <a:cubicBezTo>
                    <a:pt x="58" y="4"/>
                    <a:pt x="56" y="4"/>
                    <a:pt x="54" y="4"/>
                  </a:cubicBezTo>
                  <a:cubicBezTo>
                    <a:pt x="54" y="4"/>
                    <a:pt x="53" y="5"/>
                    <a:pt x="52" y="5"/>
                  </a:cubicBezTo>
                  <a:cubicBezTo>
                    <a:pt x="50" y="5"/>
                    <a:pt x="47" y="5"/>
                    <a:pt x="45" y="5"/>
                  </a:cubicBezTo>
                  <a:cubicBezTo>
                    <a:pt x="44" y="5"/>
                    <a:pt x="44" y="5"/>
                    <a:pt x="43" y="5"/>
                  </a:cubicBezTo>
                  <a:cubicBezTo>
                    <a:pt x="42" y="5"/>
                    <a:pt x="40" y="5"/>
                    <a:pt x="38" y="5"/>
                  </a:cubicBezTo>
                  <a:cubicBezTo>
                    <a:pt x="37" y="5"/>
                    <a:pt x="37" y="5"/>
                    <a:pt x="37" y="5"/>
                  </a:cubicBezTo>
                  <a:cubicBezTo>
                    <a:pt x="34" y="5"/>
                    <a:pt x="31" y="4"/>
                    <a:pt x="28" y="4"/>
                  </a:cubicBezTo>
                  <a:cubicBezTo>
                    <a:pt x="28" y="4"/>
                    <a:pt x="27" y="4"/>
                    <a:pt x="26" y="4"/>
                  </a:cubicBezTo>
                  <a:cubicBezTo>
                    <a:pt x="26" y="4"/>
                    <a:pt x="25" y="4"/>
                    <a:pt x="24" y="5"/>
                  </a:cubicBezTo>
                  <a:cubicBezTo>
                    <a:pt x="20" y="5"/>
                    <a:pt x="17" y="6"/>
                    <a:pt x="16" y="8"/>
                  </a:cubicBezTo>
                  <a:cubicBezTo>
                    <a:pt x="15" y="9"/>
                    <a:pt x="15" y="9"/>
                    <a:pt x="14" y="9"/>
                  </a:cubicBezTo>
                  <a:cubicBezTo>
                    <a:pt x="14" y="10"/>
                    <a:pt x="13" y="11"/>
                    <a:pt x="12" y="13"/>
                  </a:cubicBezTo>
                  <a:cubicBezTo>
                    <a:pt x="10" y="17"/>
                    <a:pt x="7" y="20"/>
                    <a:pt x="4" y="23"/>
                  </a:cubicBezTo>
                  <a:cubicBezTo>
                    <a:pt x="3" y="24"/>
                    <a:pt x="3" y="24"/>
                    <a:pt x="2" y="24"/>
                  </a:cubicBezTo>
                  <a:cubicBezTo>
                    <a:pt x="1" y="26"/>
                    <a:pt x="1" y="26"/>
                    <a:pt x="1" y="26"/>
                  </a:cubicBezTo>
                  <a:cubicBezTo>
                    <a:pt x="0" y="26"/>
                    <a:pt x="1" y="28"/>
                    <a:pt x="3" y="32"/>
                  </a:cubicBezTo>
                  <a:cubicBezTo>
                    <a:pt x="3" y="33"/>
                    <a:pt x="3" y="33"/>
                    <a:pt x="3" y="33"/>
                  </a:cubicBezTo>
                  <a:cubicBezTo>
                    <a:pt x="4" y="35"/>
                    <a:pt x="5" y="37"/>
                    <a:pt x="5" y="39"/>
                  </a:cubicBezTo>
                  <a:cubicBezTo>
                    <a:pt x="5" y="40"/>
                    <a:pt x="5" y="40"/>
                    <a:pt x="5" y="40"/>
                  </a:cubicBezTo>
                  <a:cubicBezTo>
                    <a:pt x="5" y="41"/>
                    <a:pt x="5" y="43"/>
                    <a:pt x="5" y="43"/>
                  </a:cubicBezTo>
                  <a:cubicBezTo>
                    <a:pt x="5" y="43"/>
                    <a:pt x="5" y="43"/>
                    <a:pt x="5" y="43"/>
                  </a:cubicBezTo>
                  <a:cubicBezTo>
                    <a:pt x="7" y="45"/>
                    <a:pt x="7" y="45"/>
                    <a:pt x="7" y="45"/>
                  </a:cubicBezTo>
                  <a:cubicBezTo>
                    <a:pt x="9" y="46"/>
                    <a:pt x="10" y="47"/>
                    <a:pt x="10" y="48"/>
                  </a:cubicBezTo>
                  <a:cubicBezTo>
                    <a:pt x="11" y="49"/>
                    <a:pt x="11" y="49"/>
                    <a:pt x="11" y="49"/>
                  </a:cubicBezTo>
                  <a:cubicBezTo>
                    <a:pt x="11" y="49"/>
                    <a:pt x="11" y="50"/>
                    <a:pt x="11" y="50"/>
                  </a:cubicBezTo>
                  <a:cubicBezTo>
                    <a:pt x="11" y="51"/>
                    <a:pt x="11" y="51"/>
                    <a:pt x="11" y="51"/>
                  </a:cubicBezTo>
                  <a:cubicBezTo>
                    <a:pt x="11" y="51"/>
                    <a:pt x="11" y="51"/>
                    <a:pt x="12" y="52"/>
                  </a:cubicBezTo>
                  <a:cubicBezTo>
                    <a:pt x="12" y="52"/>
                    <a:pt x="12" y="53"/>
                    <a:pt x="12" y="54"/>
                  </a:cubicBezTo>
                  <a:cubicBezTo>
                    <a:pt x="12" y="57"/>
                    <a:pt x="12" y="62"/>
                    <a:pt x="13" y="65"/>
                  </a:cubicBezTo>
                  <a:cubicBezTo>
                    <a:pt x="13" y="67"/>
                    <a:pt x="13" y="67"/>
                    <a:pt x="13" y="67"/>
                  </a:cubicBezTo>
                  <a:cubicBezTo>
                    <a:pt x="13" y="67"/>
                    <a:pt x="13" y="67"/>
                    <a:pt x="13" y="67"/>
                  </a:cubicBezTo>
                  <a:cubicBezTo>
                    <a:pt x="14" y="69"/>
                    <a:pt x="15" y="71"/>
                    <a:pt x="14" y="72"/>
                  </a:cubicBezTo>
                  <a:cubicBezTo>
                    <a:pt x="14" y="72"/>
                    <a:pt x="15" y="72"/>
                    <a:pt x="15" y="72"/>
                  </a:cubicBezTo>
                  <a:cubicBezTo>
                    <a:pt x="17" y="72"/>
                    <a:pt x="19" y="78"/>
                    <a:pt x="17" y="79"/>
                  </a:cubicBezTo>
                  <a:cubicBezTo>
                    <a:pt x="14" y="81"/>
                    <a:pt x="17" y="86"/>
                    <a:pt x="18" y="89"/>
                  </a:cubicBezTo>
                  <a:cubicBezTo>
                    <a:pt x="18" y="89"/>
                    <a:pt x="19" y="89"/>
                    <a:pt x="19" y="89"/>
                  </a:cubicBezTo>
                  <a:cubicBezTo>
                    <a:pt x="21" y="89"/>
                    <a:pt x="24" y="89"/>
                    <a:pt x="24" y="88"/>
                  </a:cubicBezTo>
                  <a:cubicBezTo>
                    <a:pt x="25" y="87"/>
                    <a:pt x="27" y="84"/>
                    <a:pt x="27" y="82"/>
                  </a:cubicBezTo>
                  <a:cubicBezTo>
                    <a:pt x="28" y="85"/>
                    <a:pt x="29" y="89"/>
                    <a:pt x="30" y="92"/>
                  </a:cubicBezTo>
                  <a:cubicBezTo>
                    <a:pt x="31" y="93"/>
                    <a:pt x="29" y="93"/>
                    <a:pt x="28" y="93"/>
                  </a:cubicBezTo>
                  <a:cubicBezTo>
                    <a:pt x="27" y="94"/>
                    <a:pt x="28" y="96"/>
                    <a:pt x="28" y="97"/>
                  </a:cubicBezTo>
                  <a:cubicBezTo>
                    <a:pt x="31" y="97"/>
                    <a:pt x="33" y="96"/>
                    <a:pt x="36" y="96"/>
                  </a:cubicBezTo>
                  <a:cubicBezTo>
                    <a:pt x="40" y="96"/>
                    <a:pt x="43" y="97"/>
                    <a:pt x="47" y="99"/>
                  </a:cubicBezTo>
                  <a:cubicBezTo>
                    <a:pt x="47" y="99"/>
                    <a:pt x="47" y="99"/>
                    <a:pt x="47" y="99"/>
                  </a:cubicBezTo>
                  <a:cubicBezTo>
                    <a:pt x="48" y="98"/>
                    <a:pt x="48" y="98"/>
                    <a:pt x="48" y="98"/>
                  </a:cubicBezTo>
                  <a:cubicBezTo>
                    <a:pt x="49" y="97"/>
                    <a:pt x="52" y="96"/>
                    <a:pt x="55" y="95"/>
                  </a:cubicBezTo>
                  <a:cubicBezTo>
                    <a:pt x="58" y="94"/>
                    <a:pt x="60" y="92"/>
                    <a:pt x="61" y="92"/>
                  </a:cubicBezTo>
                  <a:cubicBezTo>
                    <a:pt x="60" y="90"/>
                    <a:pt x="61" y="87"/>
                    <a:pt x="62" y="86"/>
                  </a:cubicBezTo>
                  <a:cubicBezTo>
                    <a:pt x="63" y="86"/>
                    <a:pt x="63" y="85"/>
                    <a:pt x="64" y="85"/>
                  </a:cubicBezTo>
                  <a:cubicBezTo>
                    <a:pt x="65" y="85"/>
                    <a:pt x="65" y="85"/>
                    <a:pt x="65" y="85"/>
                  </a:cubicBezTo>
                  <a:cubicBezTo>
                    <a:pt x="66" y="85"/>
                    <a:pt x="66" y="85"/>
                    <a:pt x="67" y="85"/>
                  </a:cubicBezTo>
                  <a:cubicBezTo>
                    <a:pt x="67" y="85"/>
                    <a:pt x="67" y="85"/>
                    <a:pt x="68" y="85"/>
                  </a:cubicBezTo>
                  <a:cubicBezTo>
                    <a:pt x="70" y="85"/>
                    <a:pt x="72" y="85"/>
                    <a:pt x="73" y="84"/>
                  </a:cubicBezTo>
                  <a:cubicBezTo>
                    <a:pt x="74" y="84"/>
                    <a:pt x="74" y="84"/>
                    <a:pt x="74" y="84"/>
                  </a:cubicBezTo>
                  <a:cubicBezTo>
                    <a:pt x="76" y="84"/>
                    <a:pt x="81" y="83"/>
                    <a:pt x="81" y="83"/>
                  </a:cubicBezTo>
                  <a:cubicBezTo>
                    <a:pt x="81" y="83"/>
                    <a:pt x="81" y="83"/>
                    <a:pt x="81" y="83"/>
                  </a:cubicBezTo>
                  <a:cubicBezTo>
                    <a:pt x="82" y="83"/>
                    <a:pt x="84" y="84"/>
                    <a:pt x="85" y="84"/>
                  </a:cubicBezTo>
                  <a:cubicBezTo>
                    <a:pt x="85" y="84"/>
                    <a:pt x="84" y="83"/>
                    <a:pt x="84" y="83"/>
                  </a:cubicBezTo>
                  <a:cubicBezTo>
                    <a:pt x="81" y="80"/>
                    <a:pt x="81" y="77"/>
                    <a:pt x="81" y="74"/>
                  </a:cubicBezTo>
                  <a:cubicBezTo>
                    <a:pt x="81" y="74"/>
                    <a:pt x="81" y="74"/>
                    <a:pt x="81" y="74"/>
                  </a:cubicBezTo>
                  <a:cubicBezTo>
                    <a:pt x="80" y="73"/>
                    <a:pt x="80" y="73"/>
                    <a:pt x="80" y="72"/>
                  </a:cubicBezTo>
                  <a:cubicBezTo>
                    <a:pt x="80" y="69"/>
                    <a:pt x="84" y="66"/>
                    <a:pt x="86" y="65"/>
                  </a:cubicBezTo>
                  <a:cubicBezTo>
                    <a:pt x="87" y="64"/>
                    <a:pt x="88" y="64"/>
                    <a:pt x="88" y="64"/>
                  </a:cubicBezTo>
                  <a:cubicBezTo>
                    <a:pt x="89" y="64"/>
                    <a:pt x="89" y="64"/>
                    <a:pt x="89" y="64"/>
                  </a:cubicBezTo>
                  <a:cubicBezTo>
                    <a:pt x="95" y="65"/>
                    <a:pt x="95" y="65"/>
                    <a:pt x="95" y="65"/>
                  </a:cubicBezTo>
                  <a:cubicBezTo>
                    <a:pt x="95" y="63"/>
                    <a:pt x="95" y="60"/>
                    <a:pt x="98" y="59"/>
                  </a:cubicBezTo>
                  <a:cubicBezTo>
                    <a:pt x="101" y="58"/>
                    <a:pt x="104" y="57"/>
                    <a:pt x="108" y="56"/>
                  </a:cubicBezTo>
                  <a:cubicBezTo>
                    <a:pt x="109" y="56"/>
                    <a:pt x="109" y="56"/>
                    <a:pt x="109" y="56"/>
                  </a:cubicBezTo>
                  <a:cubicBezTo>
                    <a:pt x="110" y="56"/>
                    <a:pt x="111" y="56"/>
                    <a:pt x="111" y="55"/>
                  </a:cubicBezTo>
                  <a:cubicBezTo>
                    <a:pt x="112" y="55"/>
                    <a:pt x="112" y="55"/>
                    <a:pt x="112" y="55"/>
                  </a:cubicBezTo>
                  <a:cubicBezTo>
                    <a:pt x="113" y="54"/>
                    <a:pt x="114" y="53"/>
                    <a:pt x="115" y="52"/>
                  </a:cubicBezTo>
                  <a:cubicBezTo>
                    <a:pt x="116" y="51"/>
                    <a:pt x="116" y="51"/>
                    <a:pt x="116" y="51"/>
                  </a:cubicBezTo>
                  <a:cubicBezTo>
                    <a:pt x="117" y="51"/>
                    <a:pt x="118" y="51"/>
                    <a:pt x="119" y="51"/>
                  </a:cubicBezTo>
                  <a:cubicBezTo>
                    <a:pt x="120" y="51"/>
                    <a:pt x="121" y="51"/>
                    <a:pt x="122" y="51"/>
                  </a:cubicBezTo>
                  <a:cubicBezTo>
                    <a:pt x="122" y="52"/>
                    <a:pt x="123" y="52"/>
                    <a:pt x="123" y="52"/>
                  </a:cubicBezTo>
                  <a:cubicBezTo>
                    <a:pt x="123" y="52"/>
                    <a:pt x="123" y="52"/>
                    <a:pt x="123" y="52"/>
                  </a:cubicBezTo>
                  <a:cubicBezTo>
                    <a:pt x="123" y="52"/>
                    <a:pt x="123" y="52"/>
                    <a:pt x="124" y="50"/>
                  </a:cubicBezTo>
                  <a:cubicBezTo>
                    <a:pt x="124" y="49"/>
                    <a:pt x="124" y="49"/>
                    <a:pt x="124" y="49"/>
                  </a:cubicBezTo>
                  <a:cubicBezTo>
                    <a:pt x="124" y="49"/>
                    <a:pt x="124" y="49"/>
                    <a:pt x="124" y="49"/>
                  </a:cubicBezTo>
                  <a:cubicBezTo>
                    <a:pt x="124" y="48"/>
                    <a:pt x="124" y="48"/>
                    <a:pt x="124" y="48"/>
                  </a:cubicBezTo>
                  <a:cubicBezTo>
                    <a:pt x="124" y="46"/>
                    <a:pt x="123" y="44"/>
                    <a:pt x="123" y="42"/>
                  </a:cubicBezTo>
                  <a:cubicBezTo>
                    <a:pt x="123" y="40"/>
                    <a:pt x="122" y="37"/>
                    <a:pt x="122" y="36"/>
                  </a:cubicBezTo>
                  <a:cubicBezTo>
                    <a:pt x="123" y="34"/>
                    <a:pt x="123" y="34"/>
                    <a:pt x="123" y="34"/>
                  </a:cubicBezTo>
                  <a:cubicBezTo>
                    <a:pt x="124" y="32"/>
                    <a:pt x="124" y="29"/>
                    <a:pt x="124" y="27"/>
                  </a:cubicBezTo>
                  <a:cubicBezTo>
                    <a:pt x="125" y="25"/>
                    <a:pt x="125" y="25"/>
                    <a:pt x="125" y="25"/>
                  </a:cubicBezTo>
                  <a:cubicBezTo>
                    <a:pt x="125" y="25"/>
                    <a:pt x="124" y="23"/>
                    <a:pt x="123" y="22"/>
                  </a:cubicBezTo>
                  <a:cubicBezTo>
                    <a:pt x="123" y="21"/>
                    <a:pt x="122" y="21"/>
                    <a:pt x="122" y="20"/>
                  </a:cubicBezTo>
                  <a:cubicBezTo>
                    <a:pt x="121" y="18"/>
                    <a:pt x="121" y="17"/>
                    <a:pt x="121" y="15"/>
                  </a:cubicBezTo>
                  <a:cubicBezTo>
                    <a:pt x="121" y="14"/>
                    <a:pt x="121" y="14"/>
                    <a:pt x="121" y="14"/>
                  </a:cubicBezTo>
                  <a:cubicBezTo>
                    <a:pt x="121" y="14"/>
                    <a:pt x="121" y="14"/>
                    <a:pt x="121" y="14"/>
                  </a:cubicBezTo>
                  <a:cubicBezTo>
                    <a:pt x="119" y="11"/>
                    <a:pt x="117" y="9"/>
                    <a:pt x="118" y="7"/>
                  </a:cubicBezTo>
                  <a:cubicBezTo>
                    <a:pt x="119" y="3"/>
                    <a:pt x="119" y="3"/>
                    <a:pt x="119" y="3"/>
                  </a:cubicBezTo>
                  <a:cubicBezTo>
                    <a:pt x="120" y="2"/>
                    <a:pt x="120" y="2"/>
                    <a:pt x="120" y="1"/>
                  </a:cubicBezTo>
                  <a:cubicBezTo>
                    <a:pt x="120" y="1"/>
                    <a:pt x="119" y="1"/>
                    <a:pt x="119" y="2"/>
                  </a:cubicBezTo>
                  <a:cubicBezTo>
                    <a:pt x="117" y="3"/>
                    <a:pt x="116" y="3"/>
                    <a:pt x="115" y="4"/>
                  </a:cubicBezTo>
                  <a:cubicBezTo>
                    <a:pt x="114" y="4"/>
                    <a:pt x="114" y="4"/>
                    <a:pt x="114" y="4"/>
                  </a:cubicBezTo>
                  <a:cubicBezTo>
                    <a:pt x="113" y="5"/>
                    <a:pt x="112" y="5"/>
                    <a:pt x="111" y="5"/>
                  </a:cubicBezTo>
                  <a:cubicBezTo>
                    <a:pt x="110" y="5"/>
                    <a:pt x="109" y="5"/>
                    <a:pt x="108" y="4"/>
                  </a:cubicBezTo>
                  <a:cubicBezTo>
                    <a:pt x="101" y="2"/>
                    <a:pt x="101" y="2"/>
                    <a:pt x="101" y="2"/>
                  </a:cubicBezTo>
                  <a:cubicBezTo>
                    <a:pt x="101" y="1"/>
                    <a:pt x="100" y="1"/>
                    <a:pt x="100" y="0"/>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533"/>
            <p:cNvSpPr/>
            <p:nvPr/>
          </p:nvSpPr>
          <p:spPr bwMode="auto">
            <a:xfrm>
              <a:off x="4588363" y="3587489"/>
              <a:ext cx="235047" cy="114166"/>
            </a:xfrm>
            <a:custGeom>
              <a:gdLst>
                <a:gd name="T0" fmla="*/ 27 w 74"/>
                <a:gd name="T1" fmla="*/ 0 h 36"/>
                <a:gd name="T2" fmla="*/ 14 w 74"/>
                <a:gd name="T3" fmla="*/ 8 h 36"/>
                <a:gd name="T4" fmla="*/ 8 w 74"/>
                <a:gd name="T5" fmla="*/ 15 h 36"/>
                <a:gd name="T6" fmla="*/ 2 w 74"/>
                <a:gd name="T7" fmla="*/ 23 h 36"/>
                <a:gd name="T8" fmla="*/ 2 w 74"/>
                <a:gd name="T9" fmla="*/ 26 h 36"/>
                <a:gd name="T10" fmla="*/ 0 w 74"/>
                <a:gd name="T11" fmla="*/ 28 h 36"/>
                <a:gd name="T12" fmla="*/ 2 w 74"/>
                <a:gd name="T13" fmla="*/ 31 h 36"/>
                <a:gd name="T14" fmla="*/ 6 w 74"/>
                <a:gd name="T15" fmla="*/ 33 h 36"/>
                <a:gd name="T16" fmla="*/ 7 w 74"/>
                <a:gd name="T17" fmla="*/ 33 h 36"/>
                <a:gd name="T18" fmla="*/ 9 w 74"/>
                <a:gd name="T19" fmla="*/ 33 h 36"/>
                <a:gd name="T20" fmla="*/ 11 w 74"/>
                <a:gd name="T21" fmla="*/ 33 h 36"/>
                <a:gd name="T22" fmla="*/ 14 w 74"/>
                <a:gd name="T23" fmla="*/ 34 h 36"/>
                <a:gd name="T24" fmla="*/ 18 w 74"/>
                <a:gd name="T25" fmla="*/ 35 h 36"/>
                <a:gd name="T26" fmla="*/ 19 w 74"/>
                <a:gd name="T27" fmla="*/ 36 h 36"/>
                <a:gd name="T28" fmla="*/ 22 w 74"/>
                <a:gd name="T29" fmla="*/ 36 h 36"/>
                <a:gd name="T30" fmla="*/ 28 w 74"/>
                <a:gd name="T31" fmla="*/ 34 h 36"/>
                <a:gd name="T32" fmla="*/ 31 w 74"/>
                <a:gd name="T33" fmla="*/ 33 h 36"/>
                <a:gd name="T34" fmla="*/ 35 w 74"/>
                <a:gd name="T35" fmla="*/ 32 h 36"/>
                <a:gd name="T36" fmla="*/ 40 w 74"/>
                <a:gd name="T37" fmla="*/ 33 h 36"/>
                <a:gd name="T38" fmla="*/ 44 w 74"/>
                <a:gd name="T39" fmla="*/ 34 h 36"/>
                <a:gd name="T40" fmla="*/ 45 w 74"/>
                <a:gd name="T41" fmla="*/ 34 h 36"/>
                <a:gd name="T42" fmla="*/ 48 w 74"/>
                <a:gd name="T43" fmla="*/ 35 h 36"/>
                <a:gd name="T44" fmla="*/ 54 w 74"/>
                <a:gd name="T45" fmla="*/ 34 h 36"/>
                <a:gd name="T46" fmla="*/ 63 w 74"/>
                <a:gd name="T47" fmla="*/ 34 h 36"/>
                <a:gd name="T48" fmla="*/ 65 w 74"/>
                <a:gd name="T49" fmla="*/ 34 h 36"/>
                <a:gd name="T50" fmla="*/ 71 w 74"/>
                <a:gd name="T51" fmla="*/ 33 h 36"/>
                <a:gd name="T52" fmla="*/ 72 w 74"/>
                <a:gd name="T53" fmla="*/ 33 h 36"/>
                <a:gd name="T54" fmla="*/ 73 w 74"/>
                <a:gd name="T55" fmla="*/ 33 h 36"/>
                <a:gd name="T56" fmla="*/ 74 w 74"/>
                <a:gd name="T57" fmla="*/ 33 h 36"/>
                <a:gd name="T58" fmla="*/ 72 w 74"/>
                <a:gd name="T59" fmla="*/ 27 h 36"/>
                <a:gd name="T60" fmla="*/ 72 w 74"/>
                <a:gd name="T61" fmla="*/ 24 h 36"/>
                <a:gd name="T62" fmla="*/ 65 w 74"/>
                <a:gd name="T63" fmla="*/ 21 h 36"/>
                <a:gd name="T64" fmla="*/ 63 w 74"/>
                <a:gd name="T65" fmla="*/ 19 h 36"/>
                <a:gd name="T66" fmla="*/ 62 w 74"/>
                <a:gd name="T67" fmla="*/ 17 h 36"/>
                <a:gd name="T68" fmla="*/ 62 w 74"/>
                <a:gd name="T69" fmla="*/ 14 h 36"/>
                <a:gd name="T70" fmla="*/ 63 w 74"/>
                <a:gd name="T71" fmla="*/ 12 h 36"/>
                <a:gd name="T72" fmla="*/ 63 w 74"/>
                <a:gd name="T73" fmla="*/ 12 h 36"/>
                <a:gd name="T74" fmla="*/ 64 w 74"/>
                <a:gd name="T75" fmla="*/ 11 h 36"/>
                <a:gd name="T76" fmla="*/ 64 w 74"/>
                <a:gd name="T77" fmla="*/ 9 h 36"/>
                <a:gd name="T78" fmla="*/ 61 w 74"/>
                <a:gd name="T79" fmla="*/ 8 h 36"/>
                <a:gd name="T80" fmla="*/ 54 w 74"/>
                <a:gd name="T81" fmla="*/ 7 h 36"/>
                <a:gd name="T82" fmla="*/ 50 w 74"/>
                <a:gd name="T83" fmla="*/ 8 h 36"/>
                <a:gd name="T84" fmla="*/ 46 w 74"/>
                <a:gd name="T85" fmla="*/ 8 h 36"/>
                <a:gd name="T86" fmla="*/ 45 w 74"/>
                <a:gd name="T87" fmla="*/ 7 h 36"/>
                <a:gd name="T88" fmla="*/ 39 w 74"/>
                <a:gd name="T89" fmla="*/ 6 h 36"/>
                <a:gd name="T90" fmla="*/ 37 w 74"/>
                <a:gd name="T91" fmla="*/ 6 h 36"/>
                <a:gd name="T92" fmla="*/ 33 w 74"/>
                <a:gd name="T93" fmla="*/ 1 h 36"/>
                <a:gd name="T94" fmla="*/ 30 w 74"/>
                <a:gd name="T95" fmla="*/ 0 h 36"/>
                <a:gd name="T96" fmla="*/ 28 w 74"/>
                <a:gd name="T97"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4" h="36">
                  <a:moveTo>
                    <a:pt x="28" y="0"/>
                  </a:moveTo>
                  <a:cubicBezTo>
                    <a:pt x="27" y="0"/>
                    <a:pt x="27" y="0"/>
                    <a:pt x="27" y="0"/>
                  </a:cubicBezTo>
                  <a:cubicBezTo>
                    <a:pt x="22" y="2"/>
                    <a:pt x="18" y="3"/>
                    <a:pt x="16" y="6"/>
                  </a:cubicBezTo>
                  <a:cubicBezTo>
                    <a:pt x="15" y="6"/>
                    <a:pt x="14" y="7"/>
                    <a:pt x="14" y="8"/>
                  </a:cubicBezTo>
                  <a:cubicBezTo>
                    <a:pt x="13" y="8"/>
                    <a:pt x="13" y="8"/>
                    <a:pt x="13" y="8"/>
                  </a:cubicBezTo>
                  <a:cubicBezTo>
                    <a:pt x="12" y="10"/>
                    <a:pt x="9" y="13"/>
                    <a:pt x="8" y="15"/>
                  </a:cubicBezTo>
                  <a:cubicBezTo>
                    <a:pt x="7" y="16"/>
                    <a:pt x="6" y="17"/>
                    <a:pt x="5" y="19"/>
                  </a:cubicBezTo>
                  <a:cubicBezTo>
                    <a:pt x="4" y="20"/>
                    <a:pt x="3" y="22"/>
                    <a:pt x="2" y="23"/>
                  </a:cubicBezTo>
                  <a:cubicBezTo>
                    <a:pt x="2" y="25"/>
                    <a:pt x="2" y="25"/>
                    <a:pt x="2" y="25"/>
                  </a:cubicBezTo>
                  <a:cubicBezTo>
                    <a:pt x="2" y="26"/>
                    <a:pt x="2" y="26"/>
                    <a:pt x="2" y="26"/>
                  </a:cubicBezTo>
                  <a:cubicBezTo>
                    <a:pt x="0" y="27"/>
                    <a:pt x="0" y="27"/>
                    <a:pt x="0" y="27"/>
                  </a:cubicBezTo>
                  <a:cubicBezTo>
                    <a:pt x="0" y="28"/>
                    <a:pt x="0" y="28"/>
                    <a:pt x="0" y="28"/>
                  </a:cubicBezTo>
                  <a:cubicBezTo>
                    <a:pt x="1" y="29"/>
                    <a:pt x="1" y="30"/>
                    <a:pt x="2" y="31"/>
                  </a:cubicBezTo>
                  <a:cubicBezTo>
                    <a:pt x="2" y="31"/>
                    <a:pt x="2" y="31"/>
                    <a:pt x="2" y="31"/>
                  </a:cubicBezTo>
                  <a:cubicBezTo>
                    <a:pt x="3" y="31"/>
                    <a:pt x="3" y="32"/>
                    <a:pt x="4" y="32"/>
                  </a:cubicBezTo>
                  <a:cubicBezTo>
                    <a:pt x="4" y="32"/>
                    <a:pt x="5" y="33"/>
                    <a:pt x="6" y="33"/>
                  </a:cubicBezTo>
                  <a:cubicBezTo>
                    <a:pt x="6" y="33"/>
                    <a:pt x="6" y="33"/>
                    <a:pt x="6" y="33"/>
                  </a:cubicBezTo>
                  <a:cubicBezTo>
                    <a:pt x="7" y="33"/>
                    <a:pt x="7" y="33"/>
                    <a:pt x="7" y="33"/>
                  </a:cubicBezTo>
                  <a:cubicBezTo>
                    <a:pt x="8" y="33"/>
                    <a:pt x="8" y="33"/>
                    <a:pt x="8" y="33"/>
                  </a:cubicBezTo>
                  <a:cubicBezTo>
                    <a:pt x="9" y="33"/>
                    <a:pt x="9" y="33"/>
                    <a:pt x="9" y="33"/>
                  </a:cubicBezTo>
                  <a:cubicBezTo>
                    <a:pt x="9" y="33"/>
                    <a:pt x="9" y="33"/>
                    <a:pt x="9" y="33"/>
                  </a:cubicBezTo>
                  <a:cubicBezTo>
                    <a:pt x="10" y="33"/>
                    <a:pt x="11" y="33"/>
                    <a:pt x="11" y="33"/>
                  </a:cubicBezTo>
                  <a:cubicBezTo>
                    <a:pt x="11" y="33"/>
                    <a:pt x="11" y="33"/>
                    <a:pt x="11" y="33"/>
                  </a:cubicBezTo>
                  <a:cubicBezTo>
                    <a:pt x="12" y="33"/>
                    <a:pt x="13" y="33"/>
                    <a:pt x="14" y="34"/>
                  </a:cubicBezTo>
                  <a:cubicBezTo>
                    <a:pt x="15" y="34"/>
                    <a:pt x="16" y="35"/>
                    <a:pt x="18" y="35"/>
                  </a:cubicBezTo>
                  <a:cubicBezTo>
                    <a:pt x="18" y="35"/>
                    <a:pt x="18" y="35"/>
                    <a:pt x="18" y="35"/>
                  </a:cubicBezTo>
                  <a:cubicBezTo>
                    <a:pt x="20" y="29"/>
                    <a:pt x="20" y="29"/>
                    <a:pt x="20" y="29"/>
                  </a:cubicBezTo>
                  <a:cubicBezTo>
                    <a:pt x="19" y="36"/>
                    <a:pt x="19" y="36"/>
                    <a:pt x="19" y="36"/>
                  </a:cubicBezTo>
                  <a:cubicBezTo>
                    <a:pt x="19" y="36"/>
                    <a:pt x="19" y="36"/>
                    <a:pt x="19" y="36"/>
                  </a:cubicBezTo>
                  <a:cubicBezTo>
                    <a:pt x="20" y="36"/>
                    <a:pt x="21" y="36"/>
                    <a:pt x="22" y="36"/>
                  </a:cubicBezTo>
                  <a:cubicBezTo>
                    <a:pt x="22" y="36"/>
                    <a:pt x="22" y="36"/>
                    <a:pt x="22" y="36"/>
                  </a:cubicBezTo>
                  <a:cubicBezTo>
                    <a:pt x="24" y="36"/>
                    <a:pt x="27" y="35"/>
                    <a:pt x="28" y="34"/>
                  </a:cubicBezTo>
                  <a:cubicBezTo>
                    <a:pt x="30" y="33"/>
                    <a:pt x="30" y="33"/>
                    <a:pt x="30" y="33"/>
                  </a:cubicBezTo>
                  <a:cubicBezTo>
                    <a:pt x="31" y="33"/>
                    <a:pt x="31" y="33"/>
                    <a:pt x="31" y="33"/>
                  </a:cubicBezTo>
                  <a:cubicBezTo>
                    <a:pt x="31" y="33"/>
                    <a:pt x="32" y="32"/>
                    <a:pt x="33" y="32"/>
                  </a:cubicBezTo>
                  <a:cubicBezTo>
                    <a:pt x="34" y="32"/>
                    <a:pt x="34" y="32"/>
                    <a:pt x="35" y="32"/>
                  </a:cubicBezTo>
                  <a:cubicBezTo>
                    <a:pt x="36" y="32"/>
                    <a:pt x="37" y="32"/>
                    <a:pt x="38" y="32"/>
                  </a:cubicBezTo>
                  <a:cubicBezTo>
                    <a:pt x="38" y="33"/>
                    <a:pt x="39" y="33"/>
                    <a:pt x="40" y="33"/>
                  </a:cubicBezTo>
                  <a:cubicBezTo>
                    <a:pt x="40" y="34"/>
                    <a:pt x="40" y="34"/>
                    <a:pt x="40" y="34"/>
                  </a:cubicBezTo>
                  <a:cubicBezTo>
                    <a:pt x="41" y="34"/>
                    <a:pt x="42" y="34"/>
                    <a:pt x="44" y="34"/>
                  </a:cubicBezTo>
                  <a:cubicBezTo>
                    <a:pt x="44" y="34"/>
                    <a:pt x="44" y="34"/>
                    <a:pt x="44" y="34"/>
                  </a:cubicBezTo>
                  <a:cubicBezTo>
                    <a:pt x="45" y="34"/>
                    <a:pt x="45" y="34"/>
                    <a:pt x="45" y="34"/>
                  </a:cubicBezTo>
                  <a:cubicBezTo>
                    <a:pt x="46" y="34"/>
                    <a:pt x="46" y="35"/>
                    <a:pt x="47" y="35"/>
                  </a:cubicBezTo>
                  <a:cubicBezTo>
                    <a:pt x="47" y="35"/>
                    <a:pt x="48" y="35"/>
                    <a:pt x="48" y="35"/>
                  </a:cubicBezTo>
                  <a:cubicBezTo>
                    <a:pt x="50" y="34"/>
                    <a:pt x="51" y="34"/>
                    <a:pt x="53" y="34"/>
                  </a:cubicBezTo>
                  <a:cubicBezTo>
                    <a:pt x="54" y="34"/>
                    <a:pt x="54" y="34"/>
                    <a:pt x="54" y="34"/>
                  </a:cubicBezTo>
                  <a:cubicBezTo>
                    <a:pt x="56" y="34"/>
                    <a:pt x="58" y="34"/>
                    <a:pt x="60" y="34"/>
                  </a:cubicBezTo>
                  <a:cubicBezTo>
                    <a:pt x="61" y="34"/>
                    <a:pt x="62" y="34"/>
                    <a:pt x="63" y="34"/>
                  </a:cubicBezTo>
                  <a:cubicBezTo>
                    <a:pt x="65" y="34"/>
                    <a:pt x="65" y="34"/>
                    <a:pt x="65" y="34"/>
                  </a:cubicBezTo>
                  <a:cubicBezTo>
                    <a:pt x="65" y="34"/>
                    <a:pt x="65" y="34"/>
                    <a:pt x="65" y="34"/>
                  </a:cubicBezTo>
                  <a:cubicBezTo>
                    <a:pt x="67" y="33"/>
                    <a:pt x="68" y="33"/>
                    <a:pt x="70" y="33"/>
                  </a:cubicBezTo>
                  <a:cubicBezTo>
                    <a:pt x="70" y="33"/>
                    <a:pt x="71" y="33"/>
                    <a:pt x="71" y="33"/>
                  </a:cubicBezTo>
                  <a:cubicBezTo>
                    <a:pt x="71" y="33"/>
                    <a:pt x="71" y="33"/>
                    <a:pt x="71" y="33"/>
                  </a:cubicBezTo>
                  <a:cubicBezTo>
                    <a:pt x="72" y="33"/>
                    <a:pt x="72" y="33"/>
                    <a:pt x="72" y="33"/>
                  </a:cubicBezTo>
                  <a:cubicBezTo>
                    <a:pt x="72" y="33"/>
                    <a:pt x="72" y="33"/>
                    <a:pt x="72" y="33"/>
                  </a:cubicBezTo>
                  <a:cubicBezTo>
                    <a:pt x="72" y="33"/>
                    <a:pt x="72" y="33"/>
                    <a:pt x="73" y="33"/>
                  </a:cubicBezTo>
                  <a:cubicBezTo>
                    <a:pt x="73" y="34"/>
                    <a:pt x="73" y="34"/>
                    <a:pt x="73" y="34"/>
                  </a:cubicBezTo>
                  <a:cubicBezTo>
                    <a:pt x="74" y="33"/>
                    <a:pt x="74" y="33"/>
                    <a:pt x="74" y="33"/>
                  </a:cubicBezTo>
                  <a:cubicBezTo>
                    <a:pt x="74" y="32"/>
                    <a:pt x="73" y="31"/>
                    <a:pt x="72" y="30"/>
                  </a:cubicBezTo>
                  <a:cubicBezTo>
                    <a:pt x="72" y="29"/>
                    <a:pt x="72" y="28"/>
                    <a:pt x="72" y="27"/>
                  </a:cubicBezTo>
                  <a:cubicBezTo>
                    <a:pt x="73" y="26"/>
                    <a:pt x="73" y="25"/>
                    <a:pt x="74" y="24"/>
                  </a:cubicBezTo>
                  <a:cubicBezTo>
                    <a:pt x="73" y="24"/>
                    <a:pt x="73" y="24"/>
                    <a:pt x="72" y="24"/>
                  </a:cubicBezTo>
                  <a:cubicBezTo>
                    <a:pt x="71" y="23"/>
                    <a:pt x="70" y="23"/>
                    <a:pt x="68" y="23"/>
                  </a:cubicBezTo>
                  <a:cubicBezTo>
                    <a:pt x="67" y="22"/>
                    <a:pt x="66" y="22"/>
                    <a:pt x="65" y="21"/>
                  </a:cubicBezTo>
                  <a:cubicBezTo>
                    <a:pt x="65" y="21"/>
                    <a:pt x="64" y="20"/>
                    <a:pt x="64" y="20"/>
                  </a:cubicBezTo>
                  <a:cubicBezTo>
                    <a:pt x="63" y="19"/>
                    <a:pt x="63" y="19"/>
                    <a:pt x="63" y="19"/>
                  </a:cubicBezTo>
                  <a:cubicBezTo>
                    <a:pt x="63" y="18"/>
                    <a:pt x="63" y="18"/>
                    <a:pt x="63" y="17"/>
                  </a:cubicBezTo>
                  <a:cubicBezTo>
                    <a:pt x="62" y="17"/>
                    <a:pt x="62" y="17"/>
                    <a:pt x="62" y="17"/>
                  </a:cubicBezTo>
                  <a:cubicBezTo>
                    <a:pt x="62" y="16"/>
                    <a:pt x="62" y="15"/>
                    <a:pt x="62" y="14"/>
                  </a:cubicBezTo>
                  <a:cubicBezTo>
                    <a:pt x="62" y="14"/>
                    <a:pt x="62" y="14"/>
                    <a:pt x="62" y="14"/>
                  </a:cubicBezTo>
                  <a:cubicBezTo>
                    <a:pt x="62" y="13"/>
                    <a:pt x="63" y="13"/>
                    <a:pt x="63" y="13"/>
                  </a:cubicBezTo>
                  <a:cubicBezTo>
                    <a:pt x="63" y="12"/>
                    <a:pt x="63" y="12"/>
                    <a:pt x="63" y="12"/>
                  </a:cubicBezTo>
                  <a:cubicBezTo>
                    <a:pt x="64" y="12"/>
                    <a:pt x="64" y="12"/>
                    <a:pt x="64" y="12"/>
                  </a:cubicBezTo>
                  <a:cubicBezTo>
                    <a:pt x="63" y="12"/>
                    <a:pt x="63" y="12"/>
                    <a:pt x="63" y="12"/>
                  </a:cubicBezTo>
                  <a:cubicBezTo>
                    <a:pt x="63" y="11"/>
                    <a:pt x="63" y="11"/>
                    <a:pt x="63" y="11"/>
                  </a:cubicBezTo>
                  <a:cubicBezTo>
                    <a:pt x="64" y="11"/>
                    <a:pt x="64" y="11"/>
                    <a:pt x="64" y="11"/>
                  </a:cubicBezTo>
                  <a:cubicBezTo>
                    <a:pt x="64" y="10"/>
                    <a:pt x="64" y="10"/>
                    <a:pt x="64" y="10"/>
                  </a:cubicBezTo>
                  <a:cubicBezTo>
                    <a:pt x="64" y="10"/>
                    <a:pt x="64" y="9"/>
                    <a:pt x="64" y="9"/>
                  </a:cubicBezTo>
                  <a:cubicBezTo>
                    <a:pt x="64" y="9"/>
                    <a:pt x="64" y="9"/>
                    <a:pt x="64" y="9"/>
                  </a:cubicBezTo>
                  <a:cubicBezTo>
                    <a:pt x="64" y="9"/>
                    <a:pt x="63" y="8"/>
                    <a:pt x="61" y="8"/>
                  </a:cubicBezTo>
                  <a:cubicBezTo>
                    <a:pt x="58" y="7"/>
                    <a:pt x="57" y="6"/>
                    <a:pt x="56" y="6"/>
                  </a:cubicBezTo>
                  <a:cubicBezTo>
                    <a:pt x="56" y="6"/>
                    <a:pt x="55" y="7"/>
                    <a:pt x="54" y="7"/>
                  </a:cubicBezTo>
                  <a:cubicBezTo>
                    <a:pt x="53" y="8"/>
                    <a:pt x="53" y="8"/>
                    <a:pt x="53" y="8"/>
                  </a:cubicBezTo>
                  <a:cubicBezTo>
                    <a:pt x="52" y="8"/>
                    <a:pt x="51" y="8"/>
                    <a:pt x="50" y="8"/>
                  </a:cubicBezTo>
                  <a:cubicBezTo>
                    <a:pt x="50" y="8"/>
                    <a:pt x="49" y="8"/>
                    <a:pt x="48" y="8"/>
                  </a:cubicBezTo>
                  <a:cubicBezTo>
                    <a:pt x="46" y="8"/>
                    <a:pt x="46" y="8"/>
                    <a:pt x="46" y="8"/>
                  </a:cubicBezTo>
                  <a:cubicBezTo>
                    <a:pt x="46" y="7"/>
                    <a:pt x="45" y="7"/>
                    <a:pt x="45" y="7"/>
                  </a:cubicBezTo>
                  <a:cubicBezTo>
                    <a:pt x="45" y="7"/>
                    <a:pt x="45" y="7"/>
                    <a:pt x="45" y="7"/>
                  </a:cubicBezTo>
                  <a:cubicBezTo>
                    <a:pt x="43" y="7"/>
                    <a:pt x="42" y="7"/>
                    <a:pt x="41" y="6"/>
                  </a:cubicBezTo>
                  <a:cubicBezTo>
                    <a:pt x="40" y="6"/>
                    <a:pt x="40" y="6"/>
                    <a:pt x="39" y="6"/>
                  </a:cubicBezTo>
                  <a:cubicBezTo>
                    <a:pt x="39" y="6"/>
                    <a:pt x="39" y="6"/>
                    <a:pt x="39" y="6"/>
                  </a:cubicBezTo>
                  <a:cubicBezTo>
                    <a:pt x="38" y="6"/>
                    <a:pt x="37" y="6"/>
                    <a:pt x="37" y="6"/>
                  </a:cubicBezTo>
                  <a:cubicBezTo>
                    <a:pt x="35" y="6"/>
                    <a:pt x="35" y="6"/>
                    <a:pt x="35" y="6"/>
                  </a:cubicBezTo>
                  <a:cubicBezTo>
                    <a:pt x="33" y="4"/>
                    <a:pt x="33" y="2"/>
                    <a:pt x="33" y="1"/>
                  </a:cubicBezTo>
                  <a:cubicBezTo>
                    <a:pt x="33" y="1"/>
                    <a:pt x="33" y="1"/>
                    <a:pt x="33" y="1"/>
                  </a:cubicBezTo>
                  <a:cubicBezTo>
                    <a:pt x="32" y="0"/>
                    <a:pt x="31" y="0"/>
                    <a:pt x="30" y="0"/>
                  </a:cubicBezTo>
                  <a:cubicBezTo>
                    <a:pt x="29" y="0"/>
                    <a:pt x="29" y="0"/>
                    <a:pt x="29" y="0"/>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534"/>
            <p:cNvSpPr/>
            <p:nvPr/>
          </p:nvSpPr>
          <p:spPr bwMode="auto">
            <a:xfrm>
              <a:off x="3061229" y="2257794"/>
              <a:ext cx="835424" cy="351899"/>
            </a:xfrm>
            <a:custGeom>
              <a:gdLst>
                <a:gd name="T0" fmla="*/ 108 w 263"/>
                <a:gd name="T1" fmla="*/ 3 h 111"/>
                <a:gd name="T2" fmla="*/ 100 w 263"/>
                <a:gd name="T3" fmla="*/ 23 h 111"/>
                <a:gd name="T4" fmla="*/ 68 w 263"/>
                <a:gd name="T5" fmla="*/ 14 h 111"/>
                <a:gd name="T6" fmla="*/ 50 w 263"/>
                <a:gd name="T7" fmla="*/ 14 h 111"/>
                <a:gd name="T8" fmla="*/ 45 w 263"/>
                <a:gd name="T9" fmla="*/ 16 h 111"/>
                <a:gd name="T10" fmla="*/ 41 w 263"/>
                <a:gd name="T11" fmla="*/ 23 h 111"/>
                <a:gd name="T12" fmla="*/ 44 w 263"/>
                <a:gd name="T13" fmla="*/ 32 h 111"/>
                <a:gd name="T14" fmla="*/ 27 w 263"/>
                <a:gd name="T15" fmla="*/ 47 h 111"/>
                <a:gd name="T16" fmla="*/ 37 w 263"/>
                <a:gd name="T17" fmla="*/ 53 h 111"/>
                <a:gd name="T18" fmla="*/ 51 w 263"/>
                <a:gd name="T19" fmla="*/ 44 h 111"/>
                <a:gd name="T20" fmla="*/ 67 w 263"/>
                <a:gd name="T21" fmla="*/ 53 h 111"/>
                <a:gd name="T22" fmla="*/ 74 w 263"/>
                <a:gd name="T23" fmla="*/ 59 h 111"/>
                <a:gd name="T24" fmla="*/ 92 w 263"/>
                <a:gd name="T25" fmla="*/ 64 h 111"/>
                <a:gd name="T26" fmla="*/ 90 w 263"/>
                <a:gd name="T27" fmla="*/ 72 h 111"/>
                <a:gd name="T28" fmla="*/ 85 w 263"/>
                <a:gd name="T29" fmla="*/ 75 h 111"/>
                <a:gd name="T30" fmla="*/ 77 w 263"/>
                <a:gd name="T31" fmla="*/ 80 h 111"/>
                <a:gd name="T32" fmla="*/ 68 w 263"/>
                <a:gd name="T33" fmla="*/ 83 h 111"/>
                <a:gd name="T34" fmla="*/ 50 w 263"/>
                <a:gd name="T35" fmla="*/ 87 h 111"/>
                <a:gd name="T36" fmla="*/ 46 w 263"/>
                <a:gd name="T37" fmla="*/ 86 h 111"/>
                <a:gd name="T38" fmla="*/ 39 w 263"/>
                <a:gd name="T39" fmla="*/ 87 h 111"/>
                <a:gd name="T40" fmla="*/ 33 w 263"/>
                <a:gd name="T41" fmla="*/ 92 h 111"/>
                <a:gd name="T42" fmla="*/ 30 w 263"/>
                <a:gd name="T43" fmla="*/ 95 h 111"/>
                <a:gd name="T44" fmla="*/ 26 w 263"/>
                <a:gd name="T45" fmla="*/ 96 h 111"/>
                <a:gd name="T46" fmla="*/ 8 w 263"/>
                <a:gd name="T47" fmla="*/ 90 h 111"/>
                <a:gd name="T48" fmla="*/ 2 w 263"/>
                <a:gd name="T49" fmla="*/ 95 h 111"/>
                <a:gd name="T50" fmla="*/ 39 w 263"/>
                <a:gd name="T51" fmla="*/ 105 h 111"/>
                <a:gd name="T52" fmla="*/ 50 w 263"/>
                <a:gd name="T53" fmla="*/ 100 h 111"/>
                <a:gd name="T54" fmla="*/ 61 w 263"/>
                <a:gd name="T55" fmla="*/ 109 h 111"/>
                <a:gd name="T56" fmla="*/ 84 w 263"/>
                <a:gd name="T57" fmla="*/ 107 h 111"/>
                <a:gd name="T58" fmla="*/ 102 w 263"/>
                <a:gd name="T59" fmla="*/ 104 h 111"/>
                <a:gd name="T60" fmla="*/ 108 w 263"/>
                <a:gd name="T61" fmla="*/ 101 h 111"/>
                <a:gd name="T62" fmla="*/ 110 w 263"/>
                <a:gd name="T63" fmla="*/ 93 h 111"/>
                <a:gd name="T64" fmla="*/ 131 w 263"/>
                <a:gd name="T65" fmla="*/ 80 h 111"/>
                <a:gd name="T66" fmla="*/ 135 w 263"/>
                <a:gd name="T67" fmla="*/ 74 h 111"/>
                <a:gd name="T68" fmla="*/ 145 w 263"/>
                <a:gd name="T69" fmla="*/ 73 h 111"/>
                <a:gd name="T70" fmla="*/ 153 w 263"/>
                <a:gd name="T71" fmla="*/ 70 h 111"/>
                <a:gd name="T72" fmla="*/ 157 w 263"/>
                <a:gd name="T73" fmla="*/ 79 h 111"/>
                <a:gd name="T74" fmla="*/ 164 w 263"/>
                <a:gd name="T75" fmla="*/ 77 h 111"/>
                <a:gd name="T76" fmla="*/ 171 w 263"/>
                <a:gd name="T77" fmla="*/ 77 h 111"/>
                <a:gd name="T78" fmla="*/ 176 w 263"/>
                <a:gd name="T79" fmla="*/ 68 h 111"/>
                <a:gd name="T80" fmla="*/ 200 w 263"/>
                <a:gd name="T81" fmla="*/ 56 h 111"/>
                <a:gd name="T82" fmla="*/ 218 w 263"/>
                <a:gd name="T83" fmla="*/ 53 h 111"/>
                <a:gd name="T84" fmla="*/ 228 w 263"/>
                <a:gd name="T85" fmla="*/ 43 h 111"/>
                <a:gd name="T86" fmla="*/ 262 w 263"/>
                <a:gd name="T87" fmla="*/ 30 h 111"/>
                <a:gd name="T88" fmla="*/ 263 w 263"/>
                <a:gd name="T89" fmla="*/ 28 h 111"/>
                <a:gd name="T90" fmla="*/ 252 w 263"/>
                <a:gd name="T91" fmla="*/ 22 h 111"/>
                <a:gd name="T92" fmla="*/ 239 w 263"/>
                <a:gd name="T93" fmla="*/ 12 h 111"/>
                <a:gd name="T94" fmla="*/ 225 w 263"/>
                <a:gd name="T95" fmla="*/ 10 h 111"/>
                <a:gd name="T96" fmla="*/ 216 w 263"/>
                <a:gd name="T97" fmla="*/ 10 h 111"/>
                <a:gd name="T98" fmla="*/ 197 w 263"/>
                <a:gd name="T99" fmla="*/ 9 h 111"/>
                <a:gd name="T100" fmla="*/ 172 w 263"/>
                <a:gd name="T101" fmla="*/ 8 h 111"/>
                <a:gd name="T102" fmla="*/ 147 w 263"/>
                <a:gd name="T103" fmla="*/ 11 h 111"/>
                <a:gd name="T104" fmla="*/ 135 w 263"/>
                <a:gd name="T105" fmla="*/ 8 h 111"/>
                <a:gd name="T106" fmla="*/ 124 w 263"/>
                <a:gd name="T107" fmla="*/ 2 h 1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3" h="110">
                  <a:moveTo>
                    <a:pt x="115" y="0"/>
                  </a:moveTo>
                  <a:cubicBezTo>
                    <a:pt x="114" y="0"/>
                    <a:pt x="112" y="1"/>
                    <a:pt x="110" y="2"/>
                  </a:cubicBezTo>
                  <a:cubicBezTo>
                    <a:pt x="110" y="2"/>
                    <a:pt x="110" y="2"/>
                    <a:pt x="110" y="2"/>
                  </a:cubicBezTo>
                  <a:cubicBezTo>
                    <a:pt x="108" y="3"/>
                    <a:pt x="108" y="3"/>
                    <a:pt x="108" y="3"/>
                  </a:cubicBezTo>
                  <a:cubicBezTo>
                    <a:pt x="108" y="3"/>
                    <a:pt x="108" y="3"/>
                    <a:pt x="108" y="3"/>
                  </a:cubicBezTo>
                  <a:cubicBezTo>
                    <a:pt x="103" y="5"/>
                    <a:pt x="102" y="11"/>
                    <a:pt x="103" y="15"/>
                  </a:cubicBezTo>
                  <a:cubicBezTo>
                    <a:pt x="103" y="16"/>
                    <a:pt x="103" y="16"/>
                    <a:pt x="103" y="16"/>
                  </a:cubicBezTo>
                  <a:cubicBezTo>
                    <a:pt x="103" y="17"/>
                    <a:pt x="103" y="18"/>
                    <a:pt x="104" y="19"/>
                  </a:cubicBezTo>
                  <a:cubicBezTo>
                    <a:pt x="108" y="26"/>
                    <a:pt x="108" y="26"/>
                    <a:pt x="108" y="26"/>
                  </a:cubicBezTo>
                  <a:cubicBezTo>
                    <a:pt x="100" y="23"/>
                    <a:pt x="100" y="23"/>
                    <a:pt x="100" y="23"/>
                  </a:cubicBezTo>
                  <a:cubicBezTo>
                    <a:pt x="97" y="22"/>
                    <a:pt x="93" y="21"/>
                    <a:pt x="90" y="20"/>
                  </a:cubicBezTo>
                  <a:cubicBezTo>
                    <a:pt x="84" y="18"/>
                    <a:pt x="79" y="16"/>
                    <a:pt x="73" y="15"/>
                  </a:cubicBezTo>
                  <a:cubicBezTo>
                    <a:pt x="72" y="14"/>
                    <a:pt x="71" y="14"/>
                    <a:pt x="70" y="14"/>
                  </a:cubicBezTo>
                  <a:cubicBezTo>
                    <a:pt x="69" y="14"/>
                    <a:pt x="69" y="14"/>
                    <a:pt x="69" y="14"/>
                  </a:cubicBezTo>
                  <a:cubicBezTo>
                    <a:pt x="68" y="14"/>
                    <a:pt x="68" y="14"/>
                    <a:pt x="68" y="14"/>
                  </a:cubicBezTo>
                  <a:cubicBezTo>
                    <a:pt x="68" y="14"/>
                    <a:pt x="67" y="13"/>
                    <a:pt x="66" y="13"/>
                  </a:cubicBezTo>
                  <a:cubicBezTo>
                    <a:pt x="54" y="14"/>
                    <a:pt x="54" y="14"/>
                    <a:pt x="54" y="14"/>
                  </a:cubicBezTo>
                  <a:cubicBezTo>
                    <a:pt x="54" y="14"/>
                    <a:pt x="54" y="14"/>
                    <a:pt x="54" y="14"/>
                  </a:cubicBezTo>
                  <a:cubicBezTo>
                    <a:pt x="54" y="14"/>
                    <a:pt x="53" y="14"/>
                    <a:pt x="52" y="14"/>
                  </a:cubicBezTo>
                  <a:cubicBezTo>
                    <a:pt x="52" y="14"/>
                    <a:pt x="51" y="14"/>
                    <a:pt x="50" y="14"/>
                  </a:cubicBezTo>
                  <a:cubicBezTo>
                    <a:pt x="50" y="14"/>
                    <a:pt x="49" y="14"/>
                    <a:pt x="49" y="14"/>
                  </a:cubicBezTo>
                  <a:cubicBezTo>
                    <a:pt x="49" y="13"/>
                    <a:pt x="49" y="13"/>
                    <a:pt x="49" y="13"/>
                  </a:cubicBezTo>
                  <a:cubicBezTo>
                    <a:pt x="49" y="14"/>
                    <a:pt x="49" y="14"/>
                    <a:pt x="49" y="14"/>
                  </a:cubicBezTo>
                  <a:cubicBezTo>
                    <a:pt x="48" y="14"/>
                    <a:pt x="47" y="16"/>
                    <a:pt x="46" y="16"/>
                  </a:cubicBezTo>
                  <a:cubicBezTo>
                    <a:pt x="45" y="16"/>
                    <a:pt x="45" y="16"/>
                    <a:pt x="45" y="16"/>
                  </a:cubicBezTo>
                  <a:cubicBezTo>
                    <a:pt x="46" y="17"/>
                    <a:pt x="46" y="17"/>
                    <a:pt x="46" y="17"/>
                  </a:cubicBezTo>
                  <a:cubicBezTo>
                    <a:pt x="46" y="17"/>
                    <a:pt x="45" y="18"/>
                    <a:pt x="45" y="18"/>
                  </a:cubicBezTo>
                  <a:cubicBezTo>
                    <a:pt x="43" y="20"/>
                    <a:pt x="43" y="20"/>
                    <a:pt x="43" y="20"/>
                  </a:cubicBezTo>
                  <a:cubicBezTo>
                    <a:pt x="42" y="21"/>
                    <a:pt x="41" y="22"/>
                    <a:pt x="41" y="23"/>
                  </a:cubicBezTo>
                  <a:cubicBezTo>
                    <a:pt x="41" y="23"/>
                    <a:pt x="41" y="23"/>
                    <a:pt x="41" y="23"/>
                  </a:cubicBezTo>
                  <a:cubicBezTo>
                    <a:pt x="41" y="23"/>
                    <a:pt x="41" y="23"/>
                    <a:pt x="41" y="23"/>
                  </a:cubicBezTo>
                  <a:cubicBezTo>
                    <a:pt x="42" y="23"/>
                    <a:pt x="43" y="23"/>
                    <a:pt x="44" y="23"/>
                  </a:cubicBezTo>
                  <a:cubicBezTo>
                    <a:pt x="45" y="24"/>
                    <a:pt x="46" y="24"/>
                    <a:pt x="46" y="24"/>
                  </a:cubicBezTo>
                  <a:cubicBezTo>
                    <a:pt x="53" y="25"/>
                    <a:pt x="53" y="25"/>
                    <a:pt x="53" y="25"/>
                  </a:cubicBezTo>
                  <a:cubicBezTo>
                    <a:pt x="44" y="32"/>
                    <a:pt x="44" y="32"/>
                    <a:pt x="44" y="32"/>
                  </a:cubicBezTo>
                  <a:cubicBezTo>
                    <a:pt x="40" y="34"/>
                    <a:pt x="29" y="41"/>
                    <a:pt x="24" y="45"/>
                  </a:cubicBezTo>
                  <a:cubicBezTo>
                    <a:pt x="24" y="45"/>
                    <a:pt x="24" y="45"/>
                    <a:pt x="24" y="45"/>
                  </a:cubicBezTo>
                  <a:cubicBezTo>
                    <a:pt x="24" y="45"/>
                    <a:pt x="25" y="45"/>
                    <a:pt x="25" y="45"/>
                  </a:cubicBezTo>
                  <a:cubicBezTo>
                    <a:pt x="26" y="46"/>
                    <a:pt x="26" y="46"/>
                    <a:pt x="26" y="46"/>
                  </a:cubicBezTo>
                  <a:cubicBezTo>
                    <a:pt x="26" y="46"/>
                    <a:pt x="27" y="46"/>
                    <a:pt x="27" y="47"/>
                  </a:cubicBezTo>
                  <a:cubicBezTo>
                    <a:pt x="33" y="44"/>
                    <a:pt x="33" y="44"/>
                    <a:pt x="33" y="44"/>
                  </a:cubicBezTo>
                  <a:cubicBezTo>
                    <a:pt x="34" y="47"/>
                    <a:pt x="34" y="47"/>
                    <a:pt x="34" y="47"/>
                  </a:cubicBezTo>
                  <a:cubicBezTo>
                    <a:pt x="34" y="48"/>
                    <a:pt x="35" y="49"/>
                    <a:pt x="35" y="49"/>
                  </a:cubicBezTo>
                  <a:cubicBezTo>
                    <a:pt x="35" y="51"/>
                    <a:pt x="36" y="52"/>
                    <a:pt x="36" y="52"/>
                  </a:cubicBezTo>
                  <a:cubicBezTo>
                    <a:pt x="37" y="53"/>
                    <a:pt x="37" y="53"/>
                    <a:pt x="37" y="53"/>
                  </a:cubicBezTo>
                  <a:cubicBezTo>
                    <a:pt x="40" y="54"/>
                    <a:pt x="43" y="54"/>
                    <a:pt x="47" y="55"/>
                  </a:cubicBezTo>
                  <a:cubicBezTo>
                    <a:pt x="47" y="54"/>
                    <a:pt x="47" y="53"/>
                    <a:pt x="47" y="51"/>
                  </a:cubicBezTo>
                  <a:cubicBezTo>
                    <a:pt x="48" y="48"/>
                    <a:pt x="48" y="48"/>
                    <a:pt x="48" y="48"/>
                  </a:cubicBezTo>
                  <a:cubicBezTo>
                    <a:pt x="51" y="49"/>
                    <a:pt x="51" y="49"/>
                    <a:pt x="51" y="49"/>
                  </a:cubicBezTo>
                  <a:cubicBezTo>
                    <a:pt x="51" y="44"/>
                    <a:pt x="51" y="44"/>
                    <a:pt x="51" y="44"/>
                  </a:cubicBezTo>
                  <a:cubicBezTo>
                    <a:pt x="55" y="45"/>
                    <a:pt x="55" y="45"/>
                    <a:pt x="55" y="45"/>
                  </a:cubicBezTo>
                  <a:cubicBezTo>
                    <a:pt x="60" y="46"/>
                    <a:pt x="62" y="49"/>
                    <a:pt x="64" y="53"/>
                  </a:cubicBezTo>
                  <a:cubicBezTo>
                    <a:pt x="64" y="53"/>
                    <a:pt x="64" y="53"/>
                    <a:pt x="64" y="53"/>
                  </a:cubicBezTo>
                  <a:cubicBezTo>
                    <a:pt x="65" y="53"/>
                    <a:pt x="65" y="53"/>
                    <a:pt x="65" y="53"/>
                  </a:cubicBezTo>
                  <a:cubicBezTo>
                    <a:pt x="65" y="53"/>
                    <a:pt x="66" y="53"/>
                    <a:pt x="67" y="53"/>
                  </a:cubicBezTo>
                  <a:cubicBezTo>
                    <a:pt x="68" y="53"/>
                    <a:pt x="69" y="53"/>
                    <a:pt x="70" y="54"/>
                  </a:cubicBezTo>
                  <a:cubicBezTo>
                    <a:pt x="71" y="55"/>
                    <a:pt x="71" y="57"/>
                    <a:pt x="71" y="58"/>
                  </a:cubicBezTo>
                  <a:cubicBezTo>
                    <a:pt x="72" y="59"/>
                    <a:pt x="72" y="59"/>
                    <a:pt x="72" y="59"/>
                  </a:cubicBezTo>
                  <a:cubicBezTo>
                    <a:pt x="74" y="53"/>
                    <a:pt x="74" y="53"/>
                    <a:pt x="74" y="53"/>
                  </a:cubicBezTo>
                  <a:cubicBezTo>
                    <a:pt x="74" y="59"/>
                    <a:pt x="74" y="59"/>
                    <a:pt x="74" y="59"/>
                  </a:cubicBezTo>
                  <a:cubicBezTo>
                    <a:pt x="76" y="60"/>
                    <a:pt x="76" y="60"/>
                    <a:pt x="76" y="60"/>
                  </a:cubicBezTo>
                  <a:cubicBezTo>
                    <a:pt x="77" y="60"/>
                    <a:pt x="78" y="60"/>
                    <a:pt x="79" y="61"/>
                  </a:cubicBezTo>
                  <a:cubicBezTo>
                    <a:pt x="80" y="61"/>
                    <a:pt x="80" y="62"/>
                    <a:pt x="81" y="63"/>
                  </a:cubicBezTo>
                  <a:cubicBezTo>
                    <a:pt x="82" y="64"/>
                    <a:pt x="86" y="64"/>
                    <a:pt x="88" y="64"/>
                  </a:cubicBezTo>
                  <a:cubicBezTo>
                    <a:pt x="90" y="64"/>
                    <a:pt x="91" y="64"/>
                    <a:pt x="92" y="64"/>
                  </a:cubicBezTo>
                  <a:cubicBezTo>
                    <a:pt x="96" y="64"/>
                    <a:pt x="96" y="64"/>
                    <a:pt x="96" y="64"/>
                  </a:cubicBezTo>
                  <a:cubicBezTo>
                    <a:pt x="95" y="68"/>
                    <a:pt x="95" y="68"/>
                    <a:pt x="95" y="68"/>
                  </a:cubicBezTo>
                  <a:cubicBezTo>
                    <a:pt x="94" y="69"/>
                    <a:pt x="94" y="70"/>
                    <a:pt x="93" y="71"/>
                  </a:cubicBezTo>
                  <a:cubicBezTo>
                    <a:pt x="92" y="71"/>
                    <a:pt x="92" y="71"/>
                    <a:pt x="92" y="71"/>
                  </a:cubicBezTo>
                  <a:cubicBezTo>
                    <a:pt x="91" y="72"/>
                    <a:pt x="91" y="72"/>
                    <a:pt x="90" y="72"/>
                  </a:cubicBezTo>
                  <a:cubicBezTo>
                    <a:pt x="89" y="73"/>
                    <a:pt x="88" y="73"/>
                    <a:pt x="87" y="74"/>
                  </a:cubicBezTo>
                  <a:cubicBezTo>
                    <a:pt x="86" y="74"/>
                    <a:pt x="86" y="74"/>
                    <a:pt x="86" y="74"/>
                  </a:cubicBezTo>
                  <a:cubicBezTo>
                    <a:pt x="86" y="74"/>
                    <a:pt x="86" y="74"/>
                    <a:pt x="86" y="74"/>
                  </a:cubicBezTo>
                  <a:cubicBezTo>
                    <a:pt x="85" y="75"/>
                    <a:pt x="85" y="75"/>
                    <a:pt x="85" y="75"/>
                  </a:cubicBezTo>
                  <a:cubicBezTo>
                    <a:pt x="85" y="75"/>
                    <a:pt x="85" y="75"/>
                    <a:pt x="85" y="75"/>
                  </a:cubicBezTo>
                  <a:cubicBezTo>
                    <a:pt x="84" y="77"/>
                    <a:pt x="83" y="79"/>
                    <a:pt x="80" y="79"/>
                  </a:cubicBezTo>
                  <a:cubicBezTo>
                    <a:pt x="80" y="79"/>
                    <a:pt x="80" y="79"/>
                    <a:pt x="80" y="79"/>
                  </a:cubicBezTo>
                  <a:cubicBezTo>
                    <a:pt x="80" y="79"/>
                    <a:pt x="79" y="79"/>
                    <a:pt x="79" y="79"/>
                  </a:cubicBezTo>
                  <a:cubicBezTo>
                    <a:pt x="78" y="79"/>
                    <a:pt x="77" y="79"/>
                    <a:pt x="77" y="79"/>
                  </a:cubicBezTo>
                  <a:cubicBezTo>
                    <a:pt x="77" y="80"/>
                    <a:pt x="77" y="80"/>
                    <a:pt x="77" y="80"/>
                  </a:cubicBezTo>
                  <a:cubicBezTo>
                    <a:pt x="78" y="85"/>
                    <a:pt x="78" y="85"/>
                    <a:pt x="78" y="85"/>
                  </a:cubicBezTo>
                  <a:cubicBezTo>
                    <a:pt x="72" y="83"/>
                    <a:pt x="72" y="83"/>
                    <a:pt x="72" y="83"/>
                  </a:cubicBezTo>
                  <a:cubicBezTo>
                    <a:pt x="71" y="82"/>
                    <a:pt x="69" y="82"/>
                    <a:pt x="68" y="82"/>
                  </a:cubicBezTo>
                  <a:cubicBezTo>
                    <a:pt x="68" y="82"/>
                    <a:pt x="68" y="82"/>
                    <a:pt x="68" y="82"/>
                  </a:cubicBezTo>
                  <a:cubicBezTo>
                    <a:pt x="68" y="83"/>
                    <a:pt x="68" y="83"/>
                    <a:pt x="68" y="83"/>
                  </a:cubicBezTo>
                  <a:cubicBezTo>
                    <a:pt x="67" y="84"/>
                    <a:pt x="66" y="86"/>
                    <a:pt x="64" y="87"/>
                  </a:cubicBezTo>
                  <a:cubicBezTo>
                    <a:pt x="63" y="88"/>
                    <a:pt x="63" y="88"/>
                    <a:pt x="63" y="88"/>
                  </a:cubicBezTo>
                  <a:cubicBezTo>
                    <a:pt x="61" y="89"/>
                    <a:pt x="59" y="89"/>
                    <a:pt x="57" y="89"/>
                  </a:cubicBezTo>
                  <a:cubicBezTo>
                    <a:pt x="56" y="89"/>
                    <a:pt x="54" y="89"/>
                    <a:pt x="52" y="88"/>
                  </a:cubicBezTo>
                  <a:cubicBezTo>
                    <a:pt x="51" y="88"/>
                    <a:pt x="51" y="87"/>
                    <a:pt x="50" y="87"/>
                  </a:cubicBezTo>
                  <a:cubicBezTo>
                    <a:pt x="49" y="86"/>
                    <a:pt x="49" y="86"/>
                    <a:pt x="49" y="86"/>
                  </a:cubicBezTo>
                  <a:cubicBezTo>
                    <a:pt x="48" y="86"/>
                    <a:pt x="48" y="86"/>
                    <a:pt x="48" y="86"/>
                  </a:cubicBezTo>
                  <a:cubicBezTo>
                    <a:pt x="48" y="86"/>
                    <a:pt x="48" y="86"/>
                    <a:pt x="48" y="86"/>
                  </a:cubicBezTo>
                  <a:cubicBezTo>
                    <a:pt x="47" y="86"/>
                    <a:pt x="47" y="86"/>
                    <a:pt x="46" y="86"/>
                  </a:cubicBezTo>
                  <a:cubicBezTo>
                    <a:pt x="46" y="86"/>
                    <a:pt x="46" y="86"/>
                    <a:pt x="46" y="86"/>
                  </a:cubicBezTo>
                  <a:cubicBezTo>
                    <a:pt x="45" y="86"/>
                    <a:pt x="45" y="86"/>
                    <a:pt x="44" y="86"/>
                  </a:cubicBezTo>
                  <a:cubicBezTo>
                    <a:pt x="43" y="86"/>
                    <a:pt x="42" y="86"/>
                    <a:pt x="42" y="86"/>
                  </a:cubicBezTo>
                  <a:cubicBezTo>
                    <a:pt x="41" y="86"/>
                    <a:pt x="41" y="86"/>
                    <a:pt x="41" y="86"/>
                  </a:cubicBezTo>
                  <a:cubicBezTo>
                    <a:pt x="41" y="87"/>
                    <a:pt x="40" y="87"/>
                    <a:pt x="40" y="87"/>
                  </a:cubicBezTo>
                  <a:cubicBezTo>
                    <a:pt x="39" y="87"/>
                    <a:pt x="39" y="87"/>
                    <a:pt x="39" y="87"/>
                  </a:cubicBezTo>
                  <a:cubicBezTo>
                    <a:pt x="37" y="89"/>
                    <a:pt x="37" y="89"/>
                    <a:pt x="37" y="89"/>
                  </a:cubicBezTo>
                  <a:cubicBezTo>
                    <a:pt x="36" y="90"/>
                    <a:pt x="36" y="90"/>
                    <a:pt x="36" y="90"/>
                  </a:cubicBezTo>
                  <a:cubicBezTo>
                    <a:pt x="36" y="90"/>
                    <a:pt x="36" y="90"/>
                    <a:pt x="36" y="90"/>
                  </a:cubicBezTo>
                  <a:cubicBezTo>
                    <a:pt x="35" y="91"/>
                    <a:pt x="35" y="91"/>
                    <a:pt x="34" y="91"/>
                  </a:cubicBezTo>
                  <a:cubicBezTo>
                    <a:pt x="33" y="92"/>
                    <a:pt x="33" y="92"/>
                    <a:pt x="33" y="92"/>
                  </a:cubicBezTo>
                  <a:cubicBezTo>
                    <a:pt x="33" y="92"/>
                    <a:pt x="33" y="92"/>
                    <a:pt x="33" y="92"/>
                  </a:cubicBezTo>
                  <a:cubicBezTo>
                    <a:pt x="32" y="93"/>
                    <a:pt x="32" y="93"/>
                    <a:pt x="32" y="93"/>
                  </a:cubicBezTo>
                  <a:cubicBezTo>
                    <a:pt x="31" y="94"/>
                    <a:pt x="31" y="94"/>
                    <a:pt x="31" y="94"/>
                  </a:cubicBezTo>
                  <a:cubicBezTo>
                    <a:pt x="30" y="94"/>
                    <a:pt x="30" y="94"/>
                    <a:pt x="30" y="94"/>
                  </a:cubicBezTo>
                  <a:cubicBezTo>
                    <a:pt x="30" y="95"/>
                    <a:pt x="30" y="95"/>
                    <a:pt x="30" y="95"/>
                  </a:cubicBezTo>
                  <a:cubicBezTo>
                    <a:pt x="29" y="95"/>
                    <a:pt x="29" y="95"/>
                    <a:pt x="29" y="95"/>
                  </a:cubicBezTo>
                  <a:cubicBezTo>
                    <a:pt x="29" y="95"/>
                    <a:pt x="29" y="95"/>
                    <a:pt x="29" y="95"/>
                  </a:cubicBezTo>
                  <a:cubicBezTo>
                    <a:pt x="29" y="95"/>
                    <a:pt x="29" y="95"/>
                    <a:pt x="29" y="95"/>
                  </a:cubicBezTo>
                  <a:cubicBezTo>
                    <a:pt x="28" y="96"/>
                    <a:pt x="28" y="96"/>
                    <a:pt x="28" y="96"/>
                  </a:cubicBezTo>
                  <a:cubicBezTo>
                    <a:pt x="27" y="96"/>
                    <a:pt x="26" y="96"/>
                    <a:pt x="26" y="96"/>
                  </a:cubicBezTo>
                  <a:cubicBezTo>
                    <a:pt x="24" y="96"/>
                    <a:pt x="24" y="96"/>
                    <a:pt x="24" y="96"/>
                  </a:cubicBezTo>
                  <a:cubicBezTo>
                    <a:pt x="23" y="94"/>
                    <a:pt x="23" y="94"/>
                    <a:pt x="23" y="94"/>
                  </a:cubicBezTo>
                  <a:cubicBezTo>
                    <a:pt x="23" y="93"/>
                    <a:pt x="23" y="92"/>
                    <a:pt x="23" y="92"/>
                  </a:cubicBezTo>
                  <a:cubicBezTo>
                    <a:pt x="20" y="90"/>
                    <a:pt x="15" y="89"/>
                    <a:pt x="13" y="88"/>
                  </a:cubicBezTo>
                  <a:cubicBezTo>
                    <a:pt x="12" y="88"/>
                    <a:pt x="10" y="89"/>
                    <a:pt x="8" y="90"/>
                  </a:cubicBezTo>
                  <a:cubicBezTo>
                    <a:pt x="7" y="90"/>
                    <a:pt x="7" y="90"/>
                    <a:pt x="7" y="90"/>
                  </a:cubicBezTo>
                  <a:cubicBezTo>
                    <a:pt x="6" y="90"/>
                    <a:pt x="6" y="91"/>
                    <a:pt x="5" y="91"/>
                  </a:cubicBezTo>
                  <a:cubicBezTo>
                    <a:pt x="5" y="91"/>
                    <a:pt x="5" y="91"/>
                    <a:pt x="5" y="91"/>
                  </a:cubicBezTo>
                  <a:cubicBezTo>
                    <a:pt x="5" y="91"/>
                    <a:pt x="4" y="91"/>
                    <a:pt x="3" y="93"/>
                  </a:cubicBezTo>
                  <a:cubicBezTo>
                    <a:pt x="3" y="94"/>
                    <a:pt x="2" y="95"/>
                    <a:pt x="2" y="95"/>
                  </a:cubicBezTo>
                  <a:cubicBezTo>
                    <a:pt x="1" y="97"/>
                    <a:pt x="1" y="97"/>
                    <a:pt x="1" y="97"/>
                  </a:cubicBezTo>
                  <a:cubicBezTo>
                    <a:pt x="0" y="102"/>
                    <a:pt x="0" y="102"/>
                    <a:pt x="0" y="102"/>
                  </a:cubicBezTo>
                  <a:cubicBezTo>
                    <a:pt x="5" y="102"/>
                    <a:pt x="9" y="101"/>
                    <a:pt x="13" y="101"/>
                  </a:cubicBezTo>
                  <a:cubicBezTo>
                    <a:pt x="18" y="101"/>
                    <a:pt x="22" y="102"/>
                    <a:pt x="26" y="102"/>
                  </a:cubicBezTo>
                  <a:cubicBezTo>
                    <a:pt x="31" y="103"/>
                    <a:pt x="35" y="104"/>
                    <a:pt x="39" y="105"/>
                  </a:cubicBezTo>
                  <a:cubicBezTo>
                    <a:pt x="40" y="100"/>
                    <a:pt x="40" y="100"/>
                    <a:pt x="40" y="100"/>
                  </a:cubicBezTo>
                  <a:cubicBezTo>
                    <a:pt x="40" y="105"/>
                    <a:pt x="40" y="105"/>
                    <a:pt x="40" y="105"/>
                  </a:cubicBezTo>
                  <a:cubicBezTo>
                    <a:pt x="42" y="105"/>
                    <a:pt x="45" y="103"/>
                    <a:pt x="47" y="102"/>
                  </a:cubicBezTo>
                  <a:cubicBezTo>
                    <a:pt x="47" y="102"/>
                    <a:pt x="47" y="102"/>
                    <a:pt x="47" y="102"/>
                  </a:cubicBezTo>
                  <a:cubicBezTo>
                    <a:pt x="49" y="101"/>
                    <a:pt x="50" y="101"/>
                    <a:pt x="50" y="100"/>
                  </a:cubicBezTo>
                  <a:cubicBezTo>
                    <a:pt x="54" y="99"/>
                    <a:pt x="54" y="99"/>
                    <a:pt x="54" y="99"/>
                  </a:cubicBezTo>
                  <a:cubicBezTo>
                    <a:pt x="55" y="104"/>
                    <a:pt x="55" y="104"/>
                    <a:pt x="55" y="104"/>
                  </a:cubicBezTo>
                  <a:cubicBezTo>
                    <a:pt x="55" y="104"/>
                    <a:pt x="55" y="104"/>
                    <a:pt x="55" y="104"/>
                  </a:cubicBezTo>
                  <a:cubicBezTo>
                    <a:pt x="60" y="104"/>
                    <a:pt x="60" y="108"/>
                    <a:pt x="61" y="109"/>
                  </a:cubicBezTo>
                  <a:cubicBezTo>
                    <a:pt x="61" y="109"/>
                    <a:pt x="61" y="109"/>
                    <a:pt x="61" y="109"/>
                  </a:cubicBezTo>
                  <a:cubicBezTo>
                    <a:pt x="63" y="109"/>
                    <a:pt x="63" y="109"/>
                    <a:pt x="63" y="109"/>
                  </a:cubicBezTo>
                  <a:cubicBezTo>
                    <a:pt x="65" y="110"/>
                    <a:pt x="67" y="110"/>
                    <a:pt x="69" y="111"/>
                  </a:cubicBezTo>
                  <a:cubicBezTo>
                    <a:pt x="71" y="109"/>
                    <a:pt x="73" y="106"/>
                    <a:pt x="78" y="106"/>
                  </a:cubicBezTo>
                  <a:cubicBezTo>
                    <a:pt x="79" y="106"/>
                    <a:pt x="79" y="106"/>
                    <a:pt x="79" y="106"/>
                  </a:cubicBezTo>
                  <a:cubicBezTo>
                    <a:pt x="84" y="107"/>
                    <a:pt x="84" y="107"/>
                    <a:pt x="84" y="107"/>
                  </a:cubicBezTo>
                  <a:cubicBezTo>
                    <a:pt x="86" y="107"/>
                    <a:pt x="88" y="106"/>
                    <a:pt x="90" y="106"/>
                  </a:cubicBezTo>
                  <a:cubicBezTo>
                    <a:pt x="92" y="106"/>
                    <a:pt x="93" y="106"/>
                    <a:pt x="94" y="106"/>
                  </a:cubicBezTo>
                  <a:cubicBezTo>
                    <a:pt x="97" y="105"/>
                    <a:pt x="97" y="105"/>
                    <a:pt x="97" y="105"/>
                  </a:cubicBezTo>
                  <a:cubicBezTo>
                    <a:pt x="99" y="105"/>
                    <a:pt x="100" y="105"/>
                    <a:pt x="102" y="105"/>
                  </a:cubicBezTo>
                  <a:cubicBezTo>
                    <a:pt x="102" y="104"/>
                    <a:pt x="102" y="104"/>
                    <a:pt x="102" y="104"/>
                  </a:cubicBezTo>
                  <a:cubicBezTo>
                    <a:pt x="103" y="104"/>
                    <a:pt x="103" y="104"/>
                    <a:pt x="103" y="104"/>
                  </a:cubicBezTo>
                  <a:cubicBezTo>
                    <a:pt x="105" y="103"/>
                    <a:pt x="105" y="103"/>
                    <a:pt x="105" y="103"/>
                  </a:cubicBezTo>
                  <a:cubicBezTo>
                    <a:pt x="106" y="103"/>
                    <a:pt x="106" y="103"/>
                    <a:pt x="107" y="102"/>
                  </a:cubicBezTo>
                  <a:cubicBezTo>
                    <a:pt x="108" y="102"/>
                    <a:pt x="108" y="102"/>
                    <a:pt x="108" y="102"/>
                  </a:cubicBezTo>
                  <a:cubicBezTo>
                    <a:pt x="108" y="101"/>
                    <a:pt x="108" y="101"/>
                    <a:pt x="108" y="101"/>
                  </a:cubicBezTo>
                  <a:cubicBezTo>
                    <a:pt x="108" y="100"/>
                    <a:pt x="108" y="99"/>
                    <a:pt x="109" y="98"/>
                  </a:cubicBezTo>
                  <a:cubicBezTo>
                    <a:pt x="109" y="97"/>
                    <a:pt x="109" y="97"/>
                    <a:pt x="109" y="97"/>
                  </a:cubicBezTo>
                  <a:cubicBezTo>
                    <a:pt x="109" y="96"/>
                    <a:pt x="109" y="96"/>
                    <a:pt x="109" y="95"/>
                  </a:cubicBezTo>
                  <a:cubicBezTo>
                    <a:pt x="109" y="94"/>
                    <a:pt x="109" y="94"/>
                    <a:pt x="109" y="94"/>
                  </a:cubicBezTo>
                  <a:cubicBezTo>
                    <a:pt x="110" y="94"/>
                    <a:pt x="110" y="93"/>
                    <a:pt x="110" y="93"/>
                  </a:cubicBezTo>
                  <a:cubicBezTo>
                    <a:pt x="110" y="91"/>
                    <a:pt x="111" y="87"/>
                    <a:pt x="113" y="86"/>
                  </a:cubicBezTo>
                  <a:cubicBezTo>
                    <a:pt x="121" y="84"/>
                    <a:pt x="121" y="84"/>
                    <a:pt x="121" y="84"/>
                  </a:cubicBezTo>
                  <a:cubicBezTo>
                    <a:pt x="121" y="84"/>
                    <a:pt x="122" y="83"/>
                    <a:pt x="122" y="83"/>
                  </a:cubicBezTo>
                  <a:cubicBezTo>
                    <a:pt x="123" y="83"/>
                    <a:pt x="123" y="83"/>
                    <a:pt x="123" y="83"/>
                  </a:cubicBezTo>
                  <a:cubicBezTo>
                    <a:pt x="125" y="82"/>
                    <a:pt x="129" y="81"/>
                    <a:pt x="131" y="80"/>
                  </a:cubicBezTo>
                  <a:cubicBezTo>
                    <a:pt x="131" y="80"/>
                    <a:pt x="131" y="80"/>
                    <a:pt x="131" y="80"/>
                  </a:cubicBezTo>
                  <a:cubicBezTo>
                    <a:pt x="131" y="80"/>
                    <a:pt x="131" y="80"/>
                    <a:pt x="131" y="80"/>
                  </a:cubicBezTo>
                  <a:cubicBezTo>
                    <a:pt x="131" y="78"/>
                    <a:pt x="130" y="77"/>
                    <a:pt x="130" y="77"/>
                  </a:cubicBezTo>
                  <a:cubicBezTo>
                    <a:pt x="130" y="73"/>
                    <a:pt x="130" y="73"/>
                    <a:pt x="130" y="73"/>
                  </a:cubicBezTo>
                  <a:cubicBezTo>
                    <a:pt x="135" y="74"/>
                    <a:pt x="135" y="74"/>
                    <a:pt x="135" y="74"/>
                  </a:cubicBezTo>
                  <a:cubicBezTo>
                    <a:pt x="135" y="74"/>
                    <a:pt x="136" y="74"/>
                    <a:pt x="137" y="74"/>
                  </a:cubicBezTo>
                  <a:cubicBezTo>
                    <a:pt x="137" y="74"/>
                    <a:pt x="138" y="74"/>
                    <a:pt x="138" y="75"/>
                  </a:cubicBezTo>
                  <a:cubicBezTo>
                    <a:pt x="139" y="75"/>
                    <a:pt x="140" y="75"/>
                    <a:pt x="141" y="75"/>
                  </a:cubicBezTo>
                  <a:cubicBezTo>
                    <a:pt x="142" y="75"/>
                    <a:pt x="143" y="75"/>
                    <a:pt x="145" y="73"/>
                  </a:cubicBezTo>
                  <a:cubicBezTo>
                    <a:pt x="145" y="73"/>
                    <a:pt x="145" y="73"/>
                    <a:pt x="145" y="73"/>
                  </a:cubicBezTo>
                  <a:cubicBezTo>
                    <a:pt x="146" y="73"/>
                    <a:pt x="146" y="73"/>
                    <a:pt x="146" y="73"/>
                  </a:cubicBezTo>
                  <a:cubicBezTo>
                    <a:pt x="147" y="72"/>
                    <a:pt x="149" y="70"/>
                    <a:pt x="151" y="70"/>
                  </a:cubicBezTo>
                  <a:cubicBezTo>
                    <a:pt x="151" y="70"/>
                    <a:pt x="151" y="70"/>
                    <a:pt x="151" y="70"/>
                  </a:cubicBezTo>
                  <a:cubicBezTo>
                    <a:pt x="152" y="70"/>
                    <a:pt x="152" y="70"/>
                    <a:pt x="152" y="70"/>
                  </a:cubicBezTo>
                  <a:cubicBezTo>
                    <a:pt x="152" y="70"/>
                    <a:pt x="152" y="70"/>
                    <a:pt x="153" y="70"/>
                  </a:cubicBezTo>
                  <a:cubicBezTo>
                    <a:pt x="153" y="70"/>
                    <a:pt x="153" y="70"/>
                    <a:pt x="153" y="70"/>
                  </a:cubicBezTo>
                  <a:cubicBezTo>
                    <a:pt x="154" y="71"/>
                    <a:pt x="154" y="71"/>
                    <a:pt x="154" y="71"/>
                  </a:cubicBezTo>
                  <a:cubicBezTo>
                    <a:pt x="156" y="72"/>
                    <a:pt x="156" y="73"/>
                    <a:pt x="156" y="74"/>
                  </a:cubicBezTo>
                  <a:cubicBezTo>
                    <a:pt x="156" y="75"/>
                    <a:pt x="157" y="77"/>
                    <a:pt x="157" y="78"/>
                  </a:cubicBezTo>
                  <a:cubicBezTo>
                    <a:pt x="157" y="78"/>
                    <a:pt x="157" y="79"/>
                    <a:pt x="157" y="79"/>
                  </a:cubicBezTo>
                  <a:cubicBezTo>
                    <a:pt x="157" y="80"/>
                    <a:pt x="158" y="80"/>
                    <a:pt x="158" y="80"/>
                  </a:cubicBezTo>
                  <a:cubicBezTo>
                    <a:pt x="158" y="80"/>
                    <a:pt x="158" y="80"/>
                    <a:pt x="158" y="80"/>
                  </a:cubicBezTo>
                  <a:cubicBezTo>
                    <a:pt x="159" y="80"/>
                    <a:pt x="159" y="80"/>
                    <a:pt x="159" y="80"/>
                  </a:cubicBezTo>
                  <a:cubicBezTo>
                    <a:pt x="159" y="79"/>
                    <a:pt x="160" y="78"/>
                    <a:pt x="161" y="78"/>
                  </a:cubicBezTo>
                  <a:cubicBezTo>
                    <a:pt x="162" y="78"/>
                    <a:pt x="163" y="77"/>
                    <a:pt x="164" y="77"/>
                  </a:cubicBezTo>
                  <a:cubicBezTo>
                    <a:pt x="165" y="77"/>
                    <a:pt x="166" y="77"/>
                    <a:pt x="167" y="77"/>
                  </a:cubicBezTo>
                  <a:cubicBezTo>
                    <a:pt x="167" y="77"/>
                    <a:pt x="167" y="77"/>
                    <a:pt x="168" y="77"/>
                  </a:cubicBezTo>
                  <a:cubicBezTo>
                    <a:pt x="169" y="77"/>
                    <a:pt x="170" y="77"/>
                    <a:pt x="170" y="77"/>
                  </a:cubicBezTo>
                  <a:cubicBezTo>
                    <a:pt x="171" y="78"/>
                    <a:pt x="171" y="78"/>
                    <a:pt x="171" y="78"/>
                  </a:cubicBezTo>
                  <a:cubicBezTo>
                    <a:pt x="171" y="77"/>
                    <a:pt x="171" y="77"/>
                    <a:pt x="171" y="77"/>
                  </a:cubicBezTo>
                  <a:cubicBezTo>
                    <a:pt x="172" y="77"/>
                    <a:pt x="172" y="76"/>
                    <a:pt x="173" y="75"/>
                  </a:cubicBezTo>
                  <a:cubicBezTo>
                    <a:pt x="174" y="74"/>
                    <a:pt x="174" y="73"/>
                    <a:pt x="175" y="72"/>
                  </a:cubicBezTo>
                  <a:cubicBezTo>
                    <a:pt x="175" y="72"/>
                    <a:pt x="175" y="72"/>
                    <a:pt x="175" y="72"/>
                  </a:cubicBezTo>
                  <a:cubicBezTo>
                    <a:pt x="175" y="71"/>
                    <a:pt x="175" y="70"/>
                    <a:pt x="175" y="69"/>
                  </a:cubicBezTo>
                  <a:cubicBezTo>
                    <a:pt x="176" y="68"/>
                    <a:pt x="176" y="68"/>
                    <a:pt x="176" y="68"/>
                  </a:cubicBezTo>
                  <a:cubicBezTo>
                    <a:pt x="177" y="66"/>
                    <a:pt x="178" y="66"/>
                    <a:pt x="178" y="65"/>
                  </a:cubicBezTo>
                  <a:cubicBezTo>
                    <a:pt x="179" y="65"/>
                    <a:pt x="179" y="64"/>
                    <a:pt x="180" y="64"/>
                  </a:cubicBezTo>
                  <a:cubicBezTo>
                    <a:pt x="182" y="61"/>
                    <a:pt x="183" y="59"/>
                    <a:pt x="186" y="58"/>
                  </a:cubicBezTo>
                  <a:cubicBezTo>
                    <a:pt x="189" y="57"/>
                    <a:pt x="193" y="57"/>
                    <a:pt x="196" y="57"/>
                  </a:cubicBezTo>
                  <a:cubicBezTo>
                    <a:pt x="197" y="56"/>
                    <a:pt x="199" y="56"/>
                    <a:pt x="200" y="56"/>
                  </a:cubicBezTo>
                  <a:cubicBezTo>
                    <a:pt x="202" y="56"/>
                    <a:pt x="202" y="56"/>
                    <a:pt x="202" y="56"/>
                  </a:cubicBezTo>
                  <a:cubicBezTo>
                    <a:pt x="205" y="56"/>
                    <a:pt x="207" y="56"/>
                    <a:pt x="209" y="55"/>
                  </a:cubicBezTo>
                  <a:cubicBezTo>
                    <a:pt x="216" y="54"/>
                    <a:pt x="216" y="54"/>
                    <a:pt x="216" y="54"/>
                  </a:cubicBezTo>
                  <a:cubicBezTo>
                    <a:pt x="216" y="54"/>
                    <a:pt x="216" y="54"/>
                    <a:pt x="216" y="54"/>
                  </a:cubicBezTo>
                  <a:cubicBezTo>
                    <a:pt x="217" y="54"/>
                    <a:pt x="217" y="53"/>
                    <a:pt x="218" y="53"/>
                  </a:cubicBezTo>
                  <a:cubicBezTo>
                    <a:pt x="219" y="52"/>
                    <a:pt x="219" y="52"/>
                    <a:pt x="219" y="52"/>
                  </a:cubicBezTo>
                  <a:cubicBezTo>
                    <a:pt x="219" y="51"/>
                    <a:pt x="219" y="51"/>
                    <a:pt x="220" y="50"/>
                  </a:cubicBezTo>
                  <a:cubicBezTo>
                    <a:pt x="220" y="50"/>
                    <a:pt x="221" y="49"/>
                    <a:pt x="221" y="49"/>
                  </a:cubicBezTo>
                  <a:cubicBezTo>
                    <a:pt x="223" y="47"/>
                    <a:pt x="225" y="44"/>
                    <a:pt x="228" y="43"/>
                  </a:cubicBezTo>
                  <a:cubicBezTo>
                    <a:pt x="228" y="43"/>
                    <a:pt x="228" y="43"/>
                    <a:pt x="228" y="43"/>
                  </a:cubicBezTo>
                  <a:cubicBezTo>
                    <a:pt x="231" y="41"/>
                    <a:pt x="235" y="40"/>
                    <a:pt x="238" y="39"/>
                  </a:cubicBezTo>
                  <a:cubicBezTo>
                    <a:pt x="239" y="38"/>
                    <a:pt x="239" y="38"/>
                    <a:pt x="239" y="38"/>
                  </a:cubicBezTo>
                  <a:cubicBezTo>
                    <a:pt x="241" y="38"/>
                    <a:pt x="242" y="37"/>
                    <a:pt x="243" y="37"/>
                  </a:cubicBezTo>
                  <a:cubicBezTo>
                    <a:pt x="248" y="35"/>
                    <a:pt x="253" y="33"/>
                    <a:pt x="258" y="31"/>
                  </a:cubicBezTo>
                  <a:cubicBezTo>
                    <a:pt x="262" y="30"/>
                    <a:pt x="262" y="30"/>
                    <a:pt x="262" y="30"/>
                  </a:cubicBezTo>
                  <a:cubicBezTo>
                    <a:pt x="263" y="30"/>
                    <a:pt x="263" y="30"/>
                    <a:pt x="263" y="30"/>
                  </a:cubicBezTo>
                  <a:cubicBezTo>
                    <a:pt x="263" y="29"/>
                    <a:pt x="263" y="29"/>
                    <a:pt x="263" y="29"/>
                  </a:cubicBezTo>
                  <a:cubicBezTo>
                    <a:pt x="263" y="28"/>
                    <a:pt x="263" y="28"/>
                    <a:pt x="263" y="28"/>
                  </a:cubicBezTo>
                  <a:cubicBezTo>
                    <a:pt x="263" y="28"/>
                    <a:pt x="263" y="28"/>
                    <a:pt x="263" y="28"/>
                  </a:cubicBezTo>
                  <a:cubicBezTo>
                    <a:pt x="263" y="28"/>
                    <a:pt x="263" y="28"/>
                    <a:pt x="263" y="28"/>
                  </a:cubicBezTo>
                  <a:cubicBezTo>
                    <a:pt x="262" y="27"/>
                    <a:pt x="262" y="27"/>
                    <a:pt x="261" y="26"/>
                  </a:cubicBezTo>
                  <a:cubicBezTo>
                    <a:pt x="260" y="25"/>
                    <a:pt x="260" y="25"/>
                    <a:pt x="259" y="24"/>
                  </a:cubicBezTo>
                  <a:cubicBezTo>
                    <a:pt x="258" y="24"/>
                    <a:pt x="258" y="23"/>
                    <a:pt x="257" y="23"/>
                  </a:cubicBezTo>
                  <a:cubicBezTo>
                    <a:pt x="257" y="23"/>
                    <a:pt x="256" y="23"/>
                    <a:pt x="255" y="23"/>
                  </a:cubicBezTo>
                  <a:cubicBezTo>
                    <a:pt x="254" y="22"/>
                    <a:pt x="253" y="22"/>
                    <a:pt x="252" y="22"/>
                  </a:cubicBezTo>
                  <a:cubicBezTo>
                    <a:pt x="248" y="22"/>
                    <a:pt x="245" y="22"/>
                    <a:pt x="242" y="17"/>
                  </a:cubicBezTo>
                  <a:cubicBezTo>
                    <a:pt x="241" y="16"/>
                    <a:pt x="241" y="16"/>
                    <a:pt x="241" y="16"/>
                  </a:cubicBezTo>
                  <a:cubicBezTo>
                    <a:pt x="241" y="16"/>
                    <a:pt x="240" y="14"/>
                    <a:pt x="240" y="13"/>
                  </a:cubicBezTo>
                  <a:cubicBezTo>
                    <a:pt x="239" y="12"/>
                    <a:pt x="239" y="12"/>
                    <a:pt x="239" y="12"/>
                  </a:cubicBezTo>
                  <a:cubicBezTo>
                    <a:pt x="239" y="12"/>
                    <a:pt x="239" y="12"/>
                    <a:pt x="239" y="12"/>
                  </a:cubicBezTo>
                  <a:cubicBezTo>
                    <a:pt x="238" y="12"/>
                    <a:pt x="238" y="12"/>
                    <a:pt x="238" y="12"/>
                  </a:cubicBezTo>
                  <a:cubicBezTo>
                    <a:pt x="237" y="13"/>
                    <a:pt x="236" y="13"/>
                    <a:pt x="235" y="13"/>
                  </a:cubicBezTo>
                  <a:cubicBezTo>
                    <a:pt x="234" y="13"/>
                    <a:pt x="232" y="12"/>
                    <a:pt x="230" y="12"/>
                  </a:cubicBezTo>
                  <a:cubicBezTo>
                    <a:pt x="227" y="11"/>
                    <a:pt x="227" y="11"/>
                    <a:pt x="227" y="11"/>
                  </a:cubicBezTo>
                  <a:cubicBezTo>
                    <a:pt x="227" y="11"/>
                    <a:pt x="226" y="10"/>
                    <a:pt x="225" y="10"/>
                  </a:cubicBezTo>
                  <a:cubicBezTo>
                    <a:pt x="224" y="10"/>
                    <a:pt x="224" y="10"/>
                    <a:pt x="223" y="10"/>
                  </a:cubicBezTo>
                  <a:cubicBezTo>
                    <a:pt x="222" y="10"/>
                    <a:pt x="222" y="10"/>
                    <a:pt x="222" y="10"/>
                  </a:cubicBezTo>
                  <a:cubicBezTo>
                    <a:pt x="221" y="10"/>
                    <a:pt x="221" y="10"/>
                    <a:pt x="220" y="10"/>
                  </a:cubicBezTo>
                  <a:cubicBezTo>
                    <a:pt x="219" y="10"/>
                    <a:pt x="219" y="10"/>
                    <a:pt x="219" y="10"/>
                  </a:cubicBezTo>
                  <a:cubicBezTo>
                    <a:pt x="218" y="10"/>
                    <a:pt x="217" y="10"/>
                    <a:pt x="216" y="10"/>
                  </a:cubicBezTo>
                  <a:cubicBezTo>
                    <a:pt x="211" y="10"/>
                    <a:pt x="207" y="10"/>
                    <a:pt x="203" y="9"/>
                  </a:cubicBezTo>
                  <a:cubicBezTo>
                    <a:pt x="201" y="9"/>
                    <a:pt x="201" y="9"/>
                    <a:pt x="201" y="9"/>
                  </a:cubicBezTo>
                  <a:cubicBezTo>
                    <a:pt x="200" y="9"/>
                    <a:pt x="200" y="9"/>
                    <a:pt x="199" y="9"/>
                  </a:cubicBezTo>
                  <a:cubicBezTo>
                    <a:pt x="199" y="13"/>
                    <a:pt x="199" y="13"/>
                    <a:pt x="199" y="13"/>
                  </a:cubicBezTo>
                  <a:cubicBezTo>
                    <a:pt x="197" y="9"/>
                    <a:pt x="197" y="9"/>
                    <a:pt x="197" y="9"/>
                  </a:cubicBezTo>
                  <a:cubicBezTo>
                    <a:pt x="197" y="9"/>
                    <a:pt x="197" y="9"/>
                    <a:pt x="197" y="9"/>
                  </a:cubicBezTo>
                  <a:cubicBezTo>
                    <a:pt x="191" y="9"/>
                    <a:pt x="185" y="9"/>
                    <a:pt x="180" y="8"/>
                  </a:cubicBezTo>
                  <a:cubicBezTo>
                    <a:pt x="178" y="8"/>
                    <a:pt x="178" y="8"/>
                    <a:pt x="178" y="8"/>
                  </a:cubicBezTo>
                  <a:cubicBezTo>
                    <a:pt x="176" y="8"/>
                    <a:pt x="174" y="8"/>
                    <a:pt x="172" y="8"/>
                  </a:cubicBezTo>
                  <a:cubicBezTo>
                    <a:pt x="172" y="8"/>
                    <a:pt x="172" y="8"/>
                    <a:pt x="172" y="8"/>
                  </a:cubicBezTo>
                  <a:cubicBezTo>
                    <a:pt x="169" y="8"/>
                    <a:pt x="166" y="8"/>
                    <a:pt x="163" y="8"/>
                  </a:cubicBezTo>
                  <a:cubicBezTo>
                    <a:pt x="161" y="8"/>
                    <a:pt x="160" y="8"/>
                    <a:pt x="158" y="8"/>
                  </a:cubicBezTo>
                  <a:cubicBezTo>
                    <a:pt x="158" y="8"/>
                    <a:pt x="158" y="8"/>
                    <a:pt x="158" y="8"/>
                  </a:cubicBezTo>
                  <a:cubicBezTo>
                    <a:pt x="157" y="8"/>
                    <a:pt x="156" y="8"/>
                    <a:pt x="155" y="9"/>
                  </a:cubicBezTo>
                  <a:cubicBezTo>
                    <a:pt x="152" y="10"/>
                    <a:pt x="150" y="11"/>
                    <a:pt x="147" y="11"/>
                  </a:cubicBezTo>
                  <a:cubicBezTo>
                    <a:pt x="146" y="11"/>
                    <a:pt x="145" y="11"/>
                    <a:pt x="145" y="10"/>
                  </a:cubicBezTo>
                  <a:cubicBezTo>
                    <a:pt x="143" y="10"/>
                    <a:pt x="143" y="10"/>
                    <a:pt x="143" y="10"/>
                  </a:cubicBezTo>
                  <a:cubicBezTo>
                    <a:pt x="142" y="10"/>
                    <a:pt x="141" y="10"/>
                    <a:pt x="141" y="10"/>
                  </a:cubicBezTo>
                  <a:cubicBezTo>
                    <a:pt x="138" y="9"/>
                    <a:pt x="138" y="9"/>
                    <a:pt x="138" y="9"/>
                  </a:cubicBezTo>
                  <a:cubicBezTo>
                    <a:pt x="137" y="9"/>
                    <a:pt x="136" y="8"/>
                    <a:pt x="135" y="8"/>
                  </a:cubicBezTo>
                  <a:cubicBezTo>
                    <a:pt x="134" y="7"/>
                    <a:pt x="134" y="7"/>
                    <a:pt x="134" y="7"/>
                  </a:cubicBezTo>
                  <a:cubicBezTo>
                    <a:pt x="132" y="7"/>
                    <a:pt x="131" y="6"/>
                    <a:pt x="129" y="5"/>
                  </a:cubicBezTo>
                  <a:cubicBezTo>
                    <a:pt x="128" y="5"/>
                    <a:pt x="128" y="5"/>
                    <a:pt x="128" y="5"/>
                  </a:cubicBezTo>
                  <a:cubicBezTo>
                    <a:pt x="127" y="4"/>
                    <a:pt x="127" y="4"/>
                    <a:pt x="127" y="4"/>
                  </a:cubicBezTo>
                  <a:cubicBezTo>
                    <a:pt x="126" y="3"/>
                    <a:pt x="125" y="3"/>
                    <a:pt x="124" y="2"/>
                  </a:cubicBezTo>
                  <a:cubicBezTo>
                    <a:pt x="122" y="1"/>
                    <a:pt x="120" y="1"/>
                    <a:pt x="118" y="1"/>
                  </a:cubicBezTo>
                  <a:cubicBezTo>
                    <a:pt x="117" y="0"/>
                    <a:pt x="116"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Rectangle 535"/>
            <p:cNvSpPr>
              <a:spLocks noChangeArrowheads="1"/>
            </p:cNvSpPr>
            <p:nvPr/>
          </p:nvSpPr>
          <p:spPr bwMode="auto">
            <a:xfrm>
              <a:off x="3217032" y="2295402"/>
              <a:ext cx="1343" cy="26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Rectangle 536"/>
            <p:cNvSpPr>
              <a:spLocks noChangeArrowheads="1"/>
            </p:cNvSpPr>
            <p:nvPr/>
          </p:nvSpPr>
          <p:spPr bwMode="auto">
            <a:xfrm>
              <a:off x="3217032" y="2295402"/>
              <a:ext cx="1343" cy="26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537"/>
            <p:cNvSpPr>
              <a:spLocks noEditPoints="1"/>
            </p:cNvSpPr>
            <p:nvPr/>
          </p:nvSpPr>
          <p:spPr bwMode="auto">
            <a:xfrm>
              <a:off x="2020307" y="1997228"/>
              <a:ext cx="1301489" cy="796474"/>
            </a:xfrm>
            <a:custGeom>
              <a:gdLst>
                <a:gd name="T0" fmla="*/ 79 w 410"/>
                <a:gd name="T1" fmla="*/ 12 h 251"/>
                <a:gd name="T2" fmla="*/ 71 w 410"/>
                <a:gd name="T3" fmla="*/ 2 h 251"/>
                <a:gd name="T4" fmla="*/ 66 w 410"/>
                <a:gd name="T5" fmla="*/ 10 h 251"/>
                <a:gd name="T6" fmla="*/ 64 w 410"/>
                <a:gd name="T7" fmla="*/ 26 h 251"/>
                <a:gd name="T8" fmla="*/ 64 w 410"/>
                <a:gd name="T9" fmla="*/ 34 h 251"/>
                <a:gd name="T10" fmla="*/ 55 w 410"/>
                <a:gd name="T11" fmla="*/ 43 h 251"/>
                <a:gd name="T12" fmla="*/ 61 w 410"/>
                <a:gd name="T13" fmla="*/ 11 h 251"/>
                <a:gd name="T14" fmla="*/ 1 w 410"/>
                <a:gd name="T15" fmla="*/ 27 h 251"/>
                <a:gd name="T16" fmla="*/ 10 w 410"/>
                <a:gd name="T17" fmla="*/ 132 h 251"/>
                <a:gd name="T18" fmla="*/ 20 w 410"/>
                <a:gd name="T19" fmla="*/ 131 h 251"/>
                <a:gd name="T20" fmla="*/ 36 w 410"/>
                <a:gd name="T21" fmla="*/ 108 h 251"/>
                <a:gd name="T22" fmla="*/ 53 w 410"/>
                <a:gd name="T23" fmla="*/ 98 h 251"/>
                <a:gd name="T24" fmla="*/ 71 w 410"/>
                <a:gd name="T25" fmla="*/ 96 h 251"/>
                <a:gd name="T26" fmla="*/ 88 w 410"/>
                <a:gd name="T27" fmla="*/ 103 h 251"/>
                <a:gd name="T28" fmla="*/ 104 w 410"/>
                <a:gd name="T29" fmla="*/ 124 h 251"/>
                <a:gd name="T30" fmla="*/ 104 w 410"/>
                <a:gd name="T31" fmla="*/ 132 h 251"/>
                <a:gd name="T32" fmla="*/ 126 w 410"/>
                <a:gd name="T33" fmla="*/ 136 h 251"/>
                <a:gd name="T34" fmla="*/ 152 w 410"/>
                <a:gd name="T35" fmla="*/ 157 h 251"/>
                <a:gd name="T36" fmla="*/ 165 w 410"/>
                <a:gd name="T37" fmla="*/ 176 h 251"/>
                <a:gd name="T38" fmla="*/ 217 w 410"/>
                <a:gd name="T39" fmla="*/ 209 h 251"/>
                <a:gd name="T40" fmla="*/ 237 w 410"/>
                <a:gd name="T41" fmla="*/ 221 h 251"/>
                <a:gd name="T42" fmla="*/ 263 w 410"/>
                <a:gd name="T43" fmla="*/ 233 h 251"/>
                <a:gd name="T44" fmla="*/ 268 w 410"/>
                <a:gd name="T45" fmla="*/ 246 h 251"/>
                <a:gd name="T46" fmla="*/ 281 w 410"/>
                <a:gd name="T47" fmla="*/ 251 h 251"/>
                <a:gd name="T48" fmla="*/ 286 w 410"/>
                <a:gd name="T49" fmla="*/ 245 h 251"/>
                <a:gd name="T50" fmla="*/ 298 w 410"/>
                <a:gd name="T51" fmla="*/ 224 h 251"/>
                <a:gd name="T52" fmla="*/ 290 w 410"/>
                <a:gd name="T53" fmla="*/ 205 h 251"/>
                <a:gd name="T54" fmla="*/ 281 w 410"/>
                <a:gd name="T55" fmla="*/ 184 h 251"/>
                <a:gd name="T56" fmla="*/ 303 w 410"/>
                <a:gd name="T57" fmla="*/ 184 h 251"/>
                <a:gd name="T58" fmla="*/ 318 w 410"/>
                <a:gd name="T59" fmla="*/ 164 h 251"/>
                <a:gd name="T60" fmla="*/ 326 w 410"/>
                <a:gd name="T61" fmla="*/ 148 h 251"/>
                <a:gd name="T62" fmla="*/ 334 w 410"/>
                <a:gd name="T63" fmla="*/ 151 h 251"/>
                <a:gd name="T64" fmla="*/ 345 w 410"/>
                <a:gd name="T65" fmla="*/ 146 h 251"/>
                <a:gd name="T66" fmla="*/ 364 w 410"/>
                <a:gd name="T67" fmla="*/ 155 h 251"/>
                <a:gd name="T68" fmla="*/ 368 w 410"/>
                <a:gd name="T69" fmla="*/ 162 h 251"/>
                <a:gd name="T70" fmla="*/ 388 w 410"/>
                <a:gd name="T71" fmla="*/ 164 h 251"/>
                <a:gd name="T72" fmla="*/ 395 w 410"/>
                <a:gd name="T73" fmla="*/ 158 h 251"/>
                <a:gd name="T74" fmla="*/ 400 w 410"/>
                <a:gd name="T75" fmla="*/ 153 h 251"/>
                <a:gd name="T76" fmla="*/ 408 w 410"/>
                <a:gd name="T77" fmla="*/ 154 h 251"/>
                <a:gd name="T78" fmla="*/ 402 w 410"/>
                <a:gd name="T79" fmla="*/ 148 h 251"/>
                <a:gd name="T80" fmla="*/ 394 w 410"/>
                <a:gd name="T81" fmla="*/ 148 h 251"/>
                <a:gd name="T82" fmla="*/ 387 w 410"/>
                <a:gd name="T83" fmla="*/ 138 h 251"/>
                <a:gd name="T84" fmla="*/ 381 w 410"/>
                <a:gd name="T85" fmla="*/ 140 h 251"/>
                <a:gd name="T86" fmla="*/ 358 w 410"/>
                <a:gd name="T87" fmla="*/ 135 h 251"/>
                <a:gd name="T88" fmla="*/ 349 w 410"/>
                <a:gd name="T89" fmla="*/ 132 h 251"/>
                <a:gd name="T90" fmla="*/ 332 w 410"/>
                <a:gd name="T91" fmla="*/ 131 h 251"/>
                <a:gd name="T92" fmla="*/ 312 w 410"/>
                <a:gd name="T93" fmla="*/ 148 h 251"/>
                <a:gd name="T94" fmla="*/ 306 w 410"/>
                <a:gd name="T95" fmla="*/ 159 h 251"/>
                <a:gd name="T96" fmla="*/ 289 w 410"/>
                <a:gd name="T97" fmla="*/ 150 h 251"/>
                <a:gd name="T98" fmla="*/ 289 w 410"/>
                <a:gd name="T99" fmla="*/ 141 h 251"/>
                <a:gd name="T100" fmla="*/ 258 w 410"/>
                <a:gd name="T101" fmla="*/ 135 h 251"/>
                <a:gd name="T102" fmla="*/ 251 w 410"/>
                <a:gd name="T103" fmla="*/ 118 h 251"/>
                <a:gd name="T104" fmla="*/ 242 w 410"/>
                <a:gd name="T105" fmla="*/ 105 h 251"/>
                <a:gd name="T106" fmla="*/ 236 w 410"/>
                <a:gd name="T107" fmla="*/ 85 h 251"/>
                <a:gd name="T108" fmla="*/ 217 w 410"/>
                <a:gd name="T109" fmla="*/ 66 h 251"/>
                <a:gd name="T110" fmla="*/ 198 w 410"/>
                <a:gd name="T111" fmla="*/ 70 h 251"/>
                <a:gd name="T112" fmla="*/ 145 w 410"/>
                <a:gd name="T113" fmla="*/ 73 h 251"/>
                <a:gd name="T114" fmla="*/ 101 w 410"/>
                <a:gd name="T115" fmla="*/ 34 h 251"/>
                <a:gd name="T116" fmla="*/ 90 w 410"/>
                <a:gd name="T117" fmla="*/ 52 h 251"/>
                <a:gd name="T118" fmla="*/ 83 w 410"/>
                <a:gd name="T119" fmla="*/ 20 h 251"/>
                <a:gd name="T120" fmla="*/ 82 w 410"/>
                <a:gd name="T121" fmla="*/ 17 h 2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0" h="251">
                  <a:moveTo>
                    <a:pt x="79" y="12"/>
                  </a:moveTo>
                  <a:cubicBezTo>
                    <a:pt x="79" y="12"/>
                    <a:pt x="79" y="12"/>
                    <a:pt x="79" y="12"/>
                  </a:cubicBezTo>
                  <a:cubicBezTo>
                    <a:pt x="79" y="12"/>
                    <a:pt x="79" y="12"/>
                    <a:pt x="79" y="12"/>
                  </a:cubicBezTo>
                  <a:cubicBezTo>
                    <a:pt x="79" y="12"/>
                    <a:pt x="79" y="12"/>
                    <a:pt x="79" y="12"/>
                  </a:cubicBezTo>
                  <a:moveTo>
                    <a:pt x="79" y="14"/>
                  </a:moveTo>
                  <a:cubicBezTo>
                    <a:pt x="79" y="14"/>
                    <a:pt x="79" y="14"/>
                    <a:pt x="79" y="14"/>
                  </a:cubicBezTo>
                  <a:cubicBezTo>
                    <a:pt x="79" y="13"/>
                    <a:pt x="79" y="11"/>
                    <a:pt x="79" y="9"/>
                  </a:cubicBezTo>
                  <a:cubicBezTo>
                    <a:pt x="81" y="10"/>
                    <a:pt x="79" y="10"/>
                    <a:pt x="79" y="12"/>
                  </a:cubicBezTo>
                  <a:cubicBezTo>
                    <a:pt x="79" y="12"/>
                    <a:pt x="79" y="12"/>
                    <a:pt x="79" y="13"/>
                  </a:cubicBezTo>
                  <a:cubicBezTo>
                    <a:pt x="79" y="14"/>
                    <a:pt x="79" y="14"/>
                    <a:pt x="79" y="14"/>
                  </a:cubicBezTo>
                  <a:moveTo>
                    <a:pt x="74" y="0"/>
                  </a:moveTo>
                  <a:cubicBezTo>
                    <a:pt x="73" y="0"/>
                    <a:pt x="73" y="2"/>
                    <a:pt x="73" y="3"/>
                  </a:cubicBezTo>
                  <a:cubicBezTo>
                    <a:pt x="73" y="4"/>
                    <a:pt x="73" y="5"/>
                    <a:pt x="72" y="5"/>
                  </a:cubicBezTo>
                  <a:cubicBezTo>
                    <a:pt x="72" y="5"/>
                    <a:pt x="72" y="5"/>
                    <a:pt x="72" y="5"/>
                  </a:cubicBezTo>
                  <a:cubicBezTo>
                    <a:pt x="71" y="4"/>
                    <a:pt x="73" y="2"/>
                    <a:pt x="72" y="2"/>
                  </a:cubicBezTo>
                  <a:cubicBezTo>
                    <a:pt x="72" y="2"/>
                    <a:pt x="71" y="2"/>
                    <a:pt x="71" y="2"/>
                  </a:cubicBezTo>
                  <a:cubicBezTo>
                    <a:pt x="70" y="2"/>
                    <a:pt x="70" y="4"/>
                    <a:pt x="70" y="5"/>
                  </a:cubicBezTo>
                  <a:cubicBezTo>
                    <a:pt x="71" y="7"/>
                    <a:pt x="69" y="8"/>
                    <a:pt x="67" y="9"/>
                  </a:cubicBezTo>
                  <a:cubicBezTo>
                    <a:pt x="67" y="9"/>
                    <a:pt x="67" y="9"/>
                    <a:pt x="67" y="9"/>
                  </a:cubicBezTo>
                  <a:cubicBezTo>
                    <a:pt x="66" y="10"/>
                    <a:pt x="66" y="10"/>
                    <a:pt x="66" y="10"/>
                  </a:cubicBezTo>
                  <a:cubicBezTo>
                    <a:pt x="66" y="10"/>
                    <a:pt x="66" y="10"/>
                    <a:pt x="66" y="10"/>
                  </a:cubicBezTo>
                  <a:cubicBezTo>
                    <a:pt x="66" y="10"/>
                    <a:pt x="66" y="10"/>
                    <a:pt x="66" y="10"/>
                  </a:cubicBezTo>
                  <a:cubicBezTo>
                    <a:pt x="66" y="10"/>
                    <a:pt x="66" y="10"/>
                    <a:pt x="66" y="10"/>
                  </a:cubicBezTo>
                  <a:cubicBezTo>
                    <a:pt x="66" y="10"/>
                    <a:pt x="66" y="10"/>
                    <a:pt x="66" y="10"/>
                  </a:cubicBezTo>
                  <a:cubicBezTo>
                    <a:pt x="66" y="10"/>
                    <a:pt x="66" y="10"/>
                    <a:pt x="66" y="10"/>
                  </a:cubicBezTo>
                  <a:cubicBezTo>
                    <a:pt x="64" y="12"/>
                    <a:pt x="64" y="12"/>
                    <a:pt x="64" y="12"/>
                  </a:cubicBezTo>
                  <a:cubicBezTo>
                    <a:pt x="65" y="12"/>
                    <a:pt x="65" y="12"/>
                    <a:pt x="65" y="12"/>
                  </a:cubicBezTo>
                  <a:cubicBezTo>
                    <a:pt x="63" y="14"/>
                    <a:pt x="63" y="15"/>
                    <a:pt x="64" y="17"/>
                  </a:cubicBezTo>
                  <a:cubicBezTo>
                    <a:pt x="64" y="18"/>
                    <a:pt x="66" y="20"/>
                    <a:pt x="66" y="20"/>
                  </a:cubicBezTo>
                  <a:cubicBezTo>
                    <a:pt x="66" y="21"/>
                    <a:pt x="63" y="23"/>
                    <a:pt x="63" y="24"/>
                  </a:cubicBezTo>
                  <a:cubicBezTo>
                    <a:pt x="62" y="25"/>
                    <a:pt x="62" y="27"/>
                    <a:pt x="63" y="27"/>
                  </a:cubicBezTo>
                  <a:cubicBezTo>
                    <a:pt x="63" y="27"/>
                    <a:pt x="63" y="27"/>
                    <a:pt x="64" y="26"/>
                  </a:cubicBezTo>
                  <a:cubicBezTo>
                    <a:pt x="65" y="26"/>
                    <a:pt x="66" y="25"/>
                    <a:pt x="66" y="25"/>
                  </a:cubicBezTo>
                  <a:cubicBezTo>
                    <a:pt x="67" y="25"/>
                    <a:pt x="66" y="25"/>
                    <a:pt x="66" y="25"/>
                  </a:cubicBezTo>
                  <a:cubicBezTo>
                    <a:pt x="67" y="27"/>
                    <a:pt x="65" y="27"/>
                    <a:pt x="65" y="28"/>
                  </a:cubicBezTo>
                  <a:cubicBezTo>
                    <a:pt x="65" y="28"/>
                    <a:pt x="65" y="29"/>
                    <a:pt x="65" y="30"/>
                  </a:cubicBezTo>
                  <a:cubicBezTo>
                    <a:pt x="65" y="33"/>
                    <a:pt x="67" y="32"/>
                    <a:pt x="67" y="34"/>
                  </a:cubicBezTo>
                  <a:cubicBezTo>
                    <a:pt x="66" y="34"/>
                    <a:pt x="66" y="34"/>
                    <a:pt x="66" y="34"/>
                  </a:cubicBezTo>
                  <a:cubicBezTo>
                    <a:pt x="66" y="34"/>
                    <a:pt x="66" y="34"/>
                    <a:pt x="65" y="34"/>
                  </a:cubicBezTo>
                  <a:cubicBezTo>
                    <a:pt x="65" y="34"/>
                    <a:pt x="65" y="34"/>
                    <a:pt x="64" y="34"/>
                  </a:cubicBezTo>
                  <a:cubicBezTo>
                    <a:pt x="64" y="34"/>
                    <a:pt x="64" y="34"/>
                    <a:pt x="64" y="34"/>
                  </a:cubicBezTo>
                  <a:cubicBezTo>
                    <a:pt x="64" y="34"/>
                    <a:pt x="63" y="33"/>
                    <a:pt x="62" y="33"/>
                  </a:cubicBezTo>
                  <a:cubicBezTo>
                    <a:pt x="62" y="33"/>
                    <a:pt x="62" y="33"/>
                    <a:pt x="61" y="34"/>
                  </a:cubicBezTo>
                  <a:cubicBezTo>
                    <a:pt x="61" y="35"/>
                    <a:pt x="61" y="36"/>
                    <a:pt x="62" y="36"/>
                  </a:cubicBezTo>
                  <a:cubicBezTo>
                    <a:pt x="62" y="36"/>
                    <a:pt x="62" y="36"/>
                    <a:pt x="62" y="36"/>
                  </a:cubicBezTo>
                  <a:cubicBezTo>
                    <a:pt x="62" y="35"/>
                    <a:pt x="62" y="35"/>
                    <a:pt x="63" y="35"/>
                  </a:cubicBezTo>
                  <a:cubicBezTo>
                    <a:pt x="63" y="35"/>
                    <a:pt x="63" y="36"/>
                    <a:pt x="63" y="38"/>
                  </a:cubicBezTo>
                  <a:cubicBezTo>
                    <a:pt x="62" y="41"/>
                    <a:pt x="58" y="43"/>
                    <a:pt x="55" y="43"/>
                  </a:cubicBezTo>
                  <a:cubicBezTo>
                    <a:pt x="53" y="43"/>
                    <a:pt x="52" y="42"/>
                    <a:pt x="52" y="39"/>
                  </a:cubicBezTo>
                  <a:cubicBezTo>
                    <a:pt x="53" y="38"/>
                    <a:pt x="54" y="38"/>
                    <a:pt x="54" y="36"/>
                  </a:cubicBezTo>
                  <a:cubicBezTo>
                    <a:pt x="54" y="35"/>
                    <a:pt x="53" y="34"/>
                    <a:pt x="52" y="33"/>
                  </a:cubicBezTo>
                  <a:cubicBezTo>
                    <a:pt x="51" y="29"/>
                    <a:pt x="53" y="28"/>
                    <a:pt x="54" y="26"/>
                  </a:cubicBezTo>
                  <a:cubicBezTo>
                    <a:pt x="54" y="24"/>
                    <a:pt x="55" y="20"/>
                    <a:pt x="56" y="19"/>
                  </a:cubicBezTo>
                  <a:cubicBezTo>
                    <a:pt x="57" y="18"/>
                    <a:pt x="57" y="17"/>
                    <a:pt x="57" y="16"/>
                  </a:cubicBezTo>
                  <a:cubicBezTo>
                    <a:pt x="58" y="15"/>
                    <a:pt x="59" y="14"/>
                    <a:pt x="60" y="13"/>
                  </a:cubicBezTo>
                  <a:cubicBezTo>
                    <a:pt x="60" y="12"/>
                    <a:pt x="60" y="12"/>
                    <a:pt x="61" y="11"/>
                  </a:cubicBezTo>
                  <a:cubicBezTo>
                    <a:pt x="60" y="11"/>
                    <a:pt x="60" y="11"/>
                    <a:pt x="60" y="11"/>
                  </a:cubicBezTo>
                  <a:cubicBezTo>
                    <a:pt x="58" y="11"/>
                    <a:pt x="58" y="11"/>
                    <a:pt x="58" y="11"/>
                  </a:cubicBezTo>
                  <a:cubicBezTo>
                    <a:pt x="56" y="12"/>
                    <a:pt x="54" y="12"/>
                    <a:pt x="52" y="13"/>
                  </a:cubicBezTo>
                  <a:cubicBezTo>
                    <a:pt x="50" y="13"/>
                    <a:pt x="50" y="13"/>
                    <a:pt x="50" y="13"/>
                  </a:cubicBezTo>
                  <a:cubicBezTo>
                    <a:pt x="43" y="15"/>
                    <a:pt x="43" y="15"/>
                    <a:pt x="43" y="15"/>
                  </a:cubicBezTo>
                  <a:cubicBezTo>
                    <a:pt x="32" y="18"/>
                    <a:pt x="20" y="21"/>
                    <a:pt x="9" y="25"/>
                  </a:cubicBezTo>
                  <a:cubicBezTo>
                    <a:pt x="8" y="25"/>
                    <a:pt x="7" y="25"/>
                    <a:pt x="6" y="25"/>
                  </a:cubicBezTo>
                  <a:cubicBezTo>
                    <a:pt x="4" y="26"/>
                    <a:pt x="2" y="26"/>
                    <a:pt x="1" y="27"/>
                  </a:cubicBezTo>
                  <a:cubicBezTo>
                    <a:pt x="0" y="27"/>
                    <a:pt x="0" y="27"/>
                    <a:pt x="0" y="27"/>
                  </a:cubicBezTo>
                  <a:cubicBezTo>
                    <a:pt x="0" y="27"/>
                    <a:pt x="0" y="27"/>
                    <a:pt x="0" y="27"/>
                  </a:cubicBezTo>
                  <a:cubicBezTo>
                    <a:pt x="0" y="44"/>
                    <a:pt x="0" y="60"/>
                    <a:pt x="0" y="76"/>
                  </a:cubicBezTo>
                  <a:cubicBezTo>
                    <a:pt x="0" y="131"/>
                    <a:pt x="0" y="131"/>
                    <a:pt x="0" y="131"/>
                  </a:cubicBezTo>
                  <a:cubicBezTo>
                    <a:pt x="7" y="131"/>
                    <a:pt x="7" y="131"/>
                    <a:pt x="7" y="131"/>
                  </a:cubicBezTo>
                  <a:cubicBezTo>
                    <a:pt x="6" y="132"/>
                    <a:pt x="6" y="132"/>
                    <a:pt x="6" y="132"/>
                  </a:cubicBezTo>
                  <a:cubicBezTo>
                    <a:pt x="6" y="132"/>
                    <a:pt x="6" y="132"/>
                    <a:pt x="6" y="132"/>
                  </a:cubicBezTo>
                  <a:cubicBezTo>
                    <a:pt x="7" y="132"/>
                    <a:pt x="9" y="132"/>
                    <a:pt x="10" y="132"/>
                  </a:cubicBezTo>
                  <a:cubicBezTo>
                    <a:pt x="10" y="132"/>
                    <a:pt x="10" y="132"/>
                    <a:pt x="10" y="132"/>
                  </a:cubicBezTo>
                  <a:cubicBezTo>
                    <a:pt x="11" y="132"/>
                    <a:pt x="11" y="132"/>
                    <a:pt x="11" y="132"/>
                  </a:cubicBezTo>
                  <a:cubicBezTo>
                    <a:pt x="11" y="132"/>
                    <a:pt x="11" y="132"/>
                    <a:pt x="11" y="132"/>
                  </a:cubicBezTo>
                  <a:cubicBezTo>
                    <a:pt x="11" y="132"/>
                    <a:pt x="11" y="132"/>
                    <a:pt x="12" y="132"/>
                  </a:cubicBezTo>
                  <a:cubicBezTo>
                    <a:pt x="13" y="132"/>
                    <a:pt x="14" y="132"/>
                    <a:pt x="15" y="132"/>
                  </a:cubicBezTo>
                  <a:cubicBezTo>
                    <a:pt x="17" y="132"/>
                    <a:pt x="17" y="132"/>
                    <a:pt x="17" y="132"/>
                  </a:cubicBezTo>
                  <a:cubicBezTo>
                    <a:pt x="18" y="132"/>
                    <a:pt x="19" y="132"/>
                    <a:pt x="21" y="131"/>
                  </a:cubicBezTo>
                  <a:cubicBezTo>
                    <a:pt x="20" y="131"/>
                    <a:pt x="20" y="131"/>
                    <a:pt x="20" y="131"/>
                  </a:cubicBezTo>
                  <a:cubicBezTo>
                    <a:pt x="20" y="130"/>
                    <a:pt x="20" y="129"/>
                    <a:pt x="19" y="127"/>
                  </a:cubicBezTo>
                  <a:cubicBezTo>
                    <a:pt x="19" y="125"/>
                    <a:pt x="19" y="124"/>
                    <a:pt x="20" y="122"/>
                  </a:cubicBezTo>
                  <a:cubicBezTo>
                    <a:pt x="20" y="121"/>
                    <a:pt x="20" y="120"/>
                    <a:pt x="21" y="119"/>
                  </a:cubicBezTo>
                  <a:cubicBezTo>
                    <a:pt x="22" y="116"/>
                    <a:pt x="23" y="113"/>
                    <a:pt x="25" y="111"/>
                  </a:cubicBezTo>
                  <a:cubicBezTo>
                    <a:pt x="26" y="111"/>
                    <a:pt x="26" y="111"/>
                    <a:pt x="26" y="111"/>
                  </a:cubicBezTo>
                  <a:cubicBezTo>
                    <a:pt x="27" y="110"/>
                    <a:pt x="27" y="110"/>
                    <a:pt x="28" y="110"/>
                  </a:cubicBezTo>
                  <a:cubicBezTo>
                    <a:pt x="30" y="109"/>
                    <a:pt x="33" y="109"/>
                    <a:pt x="35" y="108"/>
                  </a:cubicBezTo>
                  <a:cubicBezTo>
                    <a:pt x="36" y="108"/>
                    <a:pt x="36" y="108"/>
                    <a:pt x="36" y="108"/>
                  </a:cubicBezTo>
                  <a:cubicBezTo>
                    <a:pt x="37" y="108"/>
                    <a:pt x="37" y="108"/>
                    <a:pt x="38" y="108"/>
                  </a:cubicBezTo>
                  <a:cubicBezTo>
                    <a:pt x="41" y="107"/>
                    <a:pt x="41" y="107"/>
                    <a:pt x="42" y="105"/>
                  </a:cubicBezTo>
                  <a:cubicBezTo>
                    <a:pt x="42" y="105"/>
                    <a:pt x="42" y="104"/>
                    <a:pt x="43" y="103"/>
                  </a:cubicBezTo>
                  <a:cubicBezTo>
                    <a:pt x="43" y="101"/>
                    <a:pt x="45" y="98"/>
                    <a:pt x="48" y="97"/>
                  </a:cubicBezTo>
                  <a:cubicBezTo>
                    <a:pt x="48" y="97"/>
                    <a:pt x="48" y="97"/>
                    <a:pt x="49" y="97"/>
                  </a:cubicBezTo>
                  <a:cubicBezTo>
                    <a:pt x="50" y="97"/>
                    <a:pt x="50" y="97"/>
                    <a:pt x="51" y="97"/>
                  </a:cubicBezTo>
                  <a:cubicBezTo>
                    <a:pt x="51" y="97"/>
                    <a:pt x="52" y="98"/>
                    <a:pt x="53" y="98"/>
                  </a:cubicBezTo>
                  <a:cubicBezTo>
                    <a:pt x="53" y="98"/>
                    <a:pt x="53" y="98"/>
                    <a:pt x="53" y="98"/>
                  </a:cubicBezTo>
                  <a:cubicBezTo>
                    <a:pt x="54" y="95"/>
                    <a:pt x="56" y="93"/>
                    <a:pt x="58" y="92"/>
                  </a:cubicBezTo>
                  <a:cubicBezTo>
                    <a:pt x="58" y="91"/>
                    <a:pt x="59" y="90"/>
                    <a:pt x="60" y="89"/>
                  </a:cubicBezTo>
                  <a:cubicBezTo>
                    <a:pt x="62" y="87"/>
                    <a:pt x="62" y="87"/>
                    <a:pt x="62" y="87"/>
                  </a:cubicBezTo>
                  <a:cubicBezTo>
                    <a:pt x="64" y="89"/>
                    <a:pt x="64" y="89"/>
                    <a:pt x="64" y="89"/>
                  </a:cubicBezTo>
                  <a:cubicBezTo>
                    <a:pt x="64" y="89"/>
                    <a:pt x="65" y="90"/>
                    <a:pt x="66" y="91"/>
                  </a:cubicBezTo>
                  <a:cubicBezTo>
                    <a:pt x="67" y="92"/>
                    <a:pt x="67" y="92"/>
                    <a:pt x="67" y="92"/>
                  </a:cubicBezTo>
                  <a:cubicBezTo>
                    <a:pt x="68" y="93"/>
                    <a:pt x="70" y="95"/>
                    <a:pt x="71" y="96"/>
                  </a:cubicBezTo>
                  <a:cubicBezTo>
                    <a:pt x="71" y="96"/>
                    <a:pt x="71" y="96"/>
                    <a:pt x="71" y="96"/>
                  </a:cubicBezTo>
                  <a:cubicBezTo>
                    <a:pt x="72" y="96"/>
                    <a:pt x="72" y="96"/>
                    <a:pt x="72" y="96"/>
                  </a:cubicBezTo>
                  <a:cubicBezTo>
                    <a:pt x="73" y="96"/>
                    <a:pt x="73" y="96"/>
                    <a:pt x="74" y="96"/>
                  </a:cubicBezTo>
                  <a:cubicBezTo>
                    <a:pt x="75" y="96"/>
                    <a:pt x="77" y="97"/>
                    <a:pt x="78" y="98"/>
                  </a:cubicBezTo>
                  <a:cubicBezTo>
                    <a:pt x="80" y="101"/>
                    <a:pt x="80" y="101"/>
                    <a:pt x="80" y="101"/>
                  </a:cubicBezTo>
                  <a:cubicBezTo>
                    <a:pt x="80" y="101"/>
                    <a:pt x="80" y="102"/>
                    <a:pt x="81" y="102"/>
                  </a:cubicBezTo>
                  <a:cubicBezTo>
                    <a:pt x="81" y="102"/>
                    <a:pt x="81" y="102"/>
                    <a:pt x="81" y="102"/>
                  </a:cubicBezTo>
                  <a:cubicBezTo>
                    <a:pt x="81" y="102"/>
                    <a:pt x="81" y="102"/>
                    <a:pt x="81" y="102"/>
                  </a:cubicBezTo>
                  <a:cubicBezTo>
                    <a:pt x="83" y="103"/>
                    <a:pt x="86" y="102"/>
                    <a:pt x="88" y="103"/>
                  </a:cubicBezTo>
                  <a:cubicBezTo>
                    <a:pt x="89" y="103"/>
                    <a:pt x="89" y="103"/>
                    <a:pt x="89" y="103"/>
                  </a:cubicBezTo>
                  <a:cubicBezTo>
                    <a:pt x="92" y="103"/>
                    <a:pt x="96" y="105"/>
                    <a:pt x="99" y="107"/>
                  </a:cubicBezTo>
                  <a:cubicBezTo>
                    <a:pt x="104" y="109"/>
                    <a:pt x="104" y="109"/>
                    <a:pt x="104" y="109"/>
                  </a:cubicBezTo>
                  <a:cubicBezTo>
                    <a:pt x="99" y="112"/>
                    <a:pt x="99" y="112"/>
                    <a:pt x="99" y="112"/>
                  </a:cubicBezTo>
                  <a:cubicBezTo>
                    <a:pt x="99" y="113"/>
                    <a:pt x="99" y="114"/>
                    <a:pt x="99" y="115"/>
                  </a:cubicBezTo>
                  <a:cubicBezTo>
                    <a:pt x="101" y="116"/>
                    <a:pt x="103" y="117"/>
                    <a:pt x="105" y="119"/>
                  </a:cubicBezTo>
                  <a:cubicBezTo>
                    <a:pt x="108" y="122"/>
                    <a:pt x="108" y="122"/>
                    <a:pt x="108" y="122"/>
                  </a:cubicBezTo>
                  <a:cubicBezTo>
                    <a:pt x="104" y="124"/>
                    <a:pt x="104" y="124"/>
                    <a:pt x="104" y="124"/>
                  </a:cubicBezTo>
                  <a:cubicBezTo>
                    <a:pt x="104" y="124"/>
                    <a:pt x="103" y="124"/>
                    <a:pt x="102" y="125"/>
                  </a:cubicBezTo>
                  <a:cubicBezTo>
                    <a:pt x="103" y="126"/>
                    <a:pt x="103" y="126"/>
                    <a:pt x="103" y="127"/>
                  </a:cubicBezTo>
                  <a:cubicBezTo>
                    <a:pt x="102" y="128"/>
                    <a:pt x="102" y="128"/>
                    <a:pt x="102" y="128"/>
                  </a:cubicBezTo>
                  <a:cubicBezTo>
                    <a:pt x="102" y="128"/>
                    <a:pt x="102" y="129"/>
                    <a:pt x="102" y="129"/>
                  </a:cubicBezTo>
                  <a:cubicBezTo>
                    <a:pt x="102" y="130"/>
                    <a:pt x="102" y="130"/>
                    <a:pt x="102" y="130"/>
                  </a:cubicBezTo>
                  <a:cubicBezTo>
                    <a:pt x="101" y="130"/>
                    <a:pt x="101" y="130"/>
                    <a:pt x="101" y="130"/>
                  </a:cubicBezTo>
                  <a:cubicBezTo>
                    <a:pt x="103" y="132"/>
                    <a:pt x="103" y="132"/>
                    <a:pt x="103" y="132"/>
                  </a:cubicBezTo>
                  <a:cubicBezTo>
                    <a:pt x="103" y="132"/>
                    <a:pt x="104" y="132"/>
                    <a:pt x="104" y="132"/>
                  </a:cubicBezTo>
                  <a:cubicBezTo>
                    <a:pt x="105" y="133"/>
                    <a:pt x="105" y="133"/>
                    <a:pt x="105" y="133"/>
                  </a:cubicBezTo>
                  <a:cubicBezTo>
                    <a:pt x="107" y="134"/>
                    <a:pt x="107" y="134"/>
                    <a:pt x="108" y="134"/>
                  </a:cubicBezTo>
                  <a:cubicBezTo>
                    <a:pt x="109" y="134"/>
                    <a:pt x="109" y="134"/>
                    <a:pt x="110" y="134"/>
                  </a:cubicBezTo>
                  <a:cubicBezTo>
                    <a:pt x="111" y="134"/>
                    <a:pt x="111" y="134"/>
                    <a:pt x="112" y="134"/>
                  </a:cubicBezTo>
                  <a:cubicBezTo>
                    <a:pt x="113" y="134"/>
                    <a:pt x="113" y="134"/>
                    <a:pt x="113" y="134"/>
                  </a:cubicBezTo>
                  <a:cubicBezTo>
                    <a:pt x="116" y="134"/>
                    <a:pt x="119" y="135"/>
                    <a:pt x="122" y="135"/>
                  </a:cubicBezTo>
                  <a:cubicBezTo>
                    <a:pt x="123" y="135"/>
                    <a:pt x="124" y="136"/>
                    <a:pt x="125" y="136"/>
                  </a:cubicBezTo>
                  <a:cubicBezTo>
                    <a:pt x="126" y="136"/>
                    <a:pt x="126" y="136"/>
                    <a:pt x="126" y="136"/>
                  </a:cubicBezTo>
                  <a:cubicBezTo>
                    <a:pt x="127" y="136"/>
                    <a:pt x="127" y="136"/>
                    <a:pt x="128" y="136"/>
                  </a:cubicBezTo>
                  <a:cubicBezTo>
                    <a:pt x="128" y="135"/>
                    <a:pt x="128" y="134"/>
                    <a:pt x="129" y="134"/>
                  </a:cubicBezTo>
                  <a:cubicBezTo>
                    <a:pt x="129" y="133"/>
                    <a:pt x="130" y="133"/>
                    <a:pt x="131" y="133"/>
                  </a:cubicBezTo>
                  <a:cubicBezTo>
                    <a:pt x="132" y="132"/>
                    <a:pt x="132" y="132"/>
                    <a:pt x="133" y="132"/>
                  </a:cubicBezTo>
                  <a:cubicBezTo>
                    <a:pt x="136" y="132"/>
                    <a:pt x="138" y="134"/>
                    <a:pt x="141" y="137"/>
                  </a:cubicBezTo>
                  <a:cubicBezTo>
                    <a:pt x="145" y="140"/>
                    <a:pt x="148" y="147"/>
                    <a:pt x="150" y="152"/>
                  </a:cubicBezTo>
                  <a:cubicBezTo>
                    <a:pt x="151" y="153"/>
                    <a:pt x="151" y="153"/>
                    <a:pt x="151" y="153"/>
                  </a:cubicBezTo>
                  <a:cubicBezTo>
                    <a:pt x="151" y="154"/>
                    <a:pt x="152" y="156"/>
                    <a:pt x="152" y="157"/>
                  </a:cubicBezTo>
                  <a:cubicBezTo>
                    <a:pt x="152" y="157"/>
                    <a:pt x="153" y="158"/>
                    <a:pt x="154" y="159"/>
                  </a:cubicBezTo>
                  <a:cubicBezTo>
                    <a:pt x="155" y="160"/>
                    <a:pt x="157" y="162"/>
                    <a:pt x="158" y="164"/>
                  </a:cubicBezTo>
                  <a:cubicBezTo>
                    <a:pt x="158" y="165"/>
                    <a:pt x="158" y="165"/>
                    <a:pt x="158" y="165"/>
                  </a:cubicBezTo>
                  <a:cubicBezTo>
                    <a:pt x="158" y="166"/>
                    <a:pt x="158" y="167"/>
                    <a:pt x="159" y="168"/>
                  </a:cubicBezTo>
                  <a:cubicBezTo>
                    <a:pt x="159" y="168"/>
                    <a:pt x="159" y="168"/>
                    <a:pt x="159" y="168"/>
                  </a:cubicBezTo>
                  <a:cubicBezTo>
                    <a:pt x="159" y="169"/>
                    <a:pt x="160" y="171"/>
                    <a:pt x="160" y="172"/>
                  </a:cubicBezTo>
                  <a:cubicBezTo>
                    <a:pt x="161" y="173"/>
                    <a:pt x="161" y="173"/>
                    <a:pt x="161" y="173"/>
                  </a:cubicBezTo>
                  <a:cubicBezTo>
                    <a:pt x="161" y="174"/>
                    <a:pt x="163" y="175"/>
                    <a:pt x="165" y="176"/>
                  </a:cubicBezTo>
                  <a:cubicBezTo>
                    <a:pt x="166" y="176"/>
                    <a:pt x="166" y="177"/>
                    <a:pt x="167" y="177"/>
                  </a:cubicBezTo>
                  <a:cubicBezTo>
                    <a:pt x="171" y="180"/>
                    <a:pt x="171" y="180"/>
                    <a:pt x="171" y="180"/>
                  </a:cubicBezTo>
                  <a:cubicBezTo>
                    <a:pt x="173" y="181"/>
                    <a:pt x="174" y="182"/>
                    <a:pt x="176" y="183"/>
                  </a:cubicBezTo>
                  <a:cubicBezTo>
                    <a:pt x="179" y="186"/>
                    <a:pt x="183" y="189"/>
                    <a:pt x="187" y="191"/>
                  </a:cubicBezTo>
                  <a:cubicBezTo>
                    <a:pt x="188" y="192"/>
                    <a:pt x="190" y="192"/>
                    <a:pt x="191" y="193"/>
                  </a:cubicBezTo>
                  <a:cubicBezTo>
                    <a:pt x="193" y="194"/>
                    <a:pt x="193" y="194"/>
                    <a:pt x="193" y="194"/>
                  </a:cubicBezTo>
                  <a:cubicBezTo>
                    <a:pt x="198" y="197"/>
                    <a:pt x="204" y="199"/>
                    <a:pt x="208" y="203"/>
                  </a:cubicBezTo>
                  <a:cubicBezTo>
                    <a:pt x="210" y="206"/>
                    <a:pt x="213" y="207"/>
                    <a:pt x="217" y="209"/>
                  </a:cubicBezTo>
                  <a:cubicBezTo>
                    <a:pt x="220" y="211"/>
                    <a:pt x="220" y="211"/>
                    <a:pt x="220" y="211"/>
                  </a:cubicBezTo>
                  <a:cubicBezTo>
                    <a:pt x="221" y="211"/>
                    <a:pt x="222" y="212"/>
                    <a:pt x="223" y="212"/>
                  </a:cubicBezTo>
                  <a:cubicBezTo>
                    <a:pt x="225" y="214"/>
                    <a:pt x="227" y="215"/>
                    <a:pt x="229" y="216"/>
                  </a:cubicBezTo>
                  <a:cubicBezTo>
                    <a:pt x="230" y="217"/>
                    <a:pt x="230" y="217"/>
                    <a:pt x="230" y="217"/>
                  </a:cubicBezTo>
                  <a:cubicBezTo>
                    <a:pt x="230" y="218"/>
                    <a:pt x="231" y="218"/>
                    <a:pt x="232" y="219"/>
                  </a:cubicBezTo>
                  <a:cubicBezTo>
                    <a:pt x="233" y="219"/>
                    <a:pt x="233" y="219"/>
                    <a:pt x="233" y="219"/>
                  </a:cubicBezTo>
                  <a:cubicBezTo>
                    <a:pt x="235" y="221"/>
                    <a:pt x="236" y="221"/>
                    <a:pt x="237" y="221"/>
                  </a:cubicBezTo>
                  <a:cubicBezTo>
                    <a:pt x="237" y="221"/>
                    <a:pt x="237" y="221"/>
                    <a:pt x="237" y="221"/>
                  </a:cubicBezTo>
                  <a:cubicBezTo>
                    <a:pt x="238" y="221"/>
                    <a:pt x="238" y="221"/>
                    <a:pt x="238" y="221"/>
                  </a:cubicBezTo>
                  <a:cubicBezTo>
                    <a:pt x="239" y="220"/>
                    <a:pt x="239" y="220"/>
                    <a:pt x="239" y="220"/>
                  </a:cubicBezTo>
                  <a:cubicBezTo>
                    <a:pt x="240" y="220"/>
                    <a:pt x="241" y="220"/>
                    <a:pt x="242" y="220"/>
                  </a:cubicBezTo>
                  <a:cubicBezTo>
                    <a:pt x="244" y="220"/>
                    <a:pt x="247" y="222"/>
                    <a:pt x="250" y="223"/>
                  </a:cubicBezTo>
                  <a:cubicBezTo>
                    <a:pt x="251" y="224"/>
                    <a:pt x="251" y="224"/>
                    <a:pt x="251" y="224"/>
                  </a:cubicBezTo>
                  <a:cubicBezTo>
                    <a:pt x="252" y="224"/>
                    <a:pt x="254" y="225"/>
                    <a:pt x="255" y="226"/>
                  </a:cubicBezTo>
                  <a:cubicBezTo>
                    <a:pt x="261" y="229"/>
                    <a:pt x="261" y="229"/>
                    <a:pt x="261" y="229"/>
                  </a:cubicBezTo>
                  <a:cubicBezTo>
                    <a:pt x="263" y="230"/>
                    <a:pt x="263" y="232"/>
                    <a:pt x="263" y="233"/>
                  </a:cubicBezTo>
                  <a:cubicBezTo>
                    <a:pt x="263" y="233"/>
                    <a:pt x="263" y="234"/>
                    <a:pt x="263" y="234"/>
                  </a:cubicBezTo>
                  <a:cubicBezTo>
                    <a:pt x="263" y="235"/>
                    <a:pt x="263" y="236"/>
                    <a:pt x="263" y="236"/>
                  </a:cubicBezTo>
                  <a:cubicBezTo>
                    <a:pt x="262" y="237"/>
                    <a:pt x="262" y="237"/>
                    <a:pt x="262" y="237"/>
                  </a:cubicBezTo>
                  <a:cubicBezTo>
                    <a:pt x="262" y="238"/>
                    <a:pt x="262" y="239"/>
                    <a:pt x="262" y="240"/>
                  </a:cubicBezTo>
                  <a:cubicBezTo>
                    <a:pt x="261" y="245"/>
                    <a:pt x="261" y="245"/>
                    <a:pt x="261" y="245"/>
                  </a:cubicBezTo>
                  <a:cubicBezTo>
                    <a:pt x="261" y="245"/>
                    <a:pt x="261" y="246"/>
                    <a:pt x="261" y="246"/>
                  </a:cubicBezTo>
                  <a:cubicBezTo>
                    <a:pt x="264" y="246"/>
                    <a:pt x="264" y="246"/>
                    <a:pt x="264" y="246"/>
                  </a:cubicBezTo>
                  <a:cubicBezTo>
                    <a:pt x="266" y="246"/>
                    <a:pt x="267" y="246"/>
                    <a:pt x="268" y="246"/>
                  </a:cubicBezTo>
                  <a:cubicBezTo>
                    <a:pt x="270" y="247"/>
                    <a:pt x="272" y="248"/>
                    <a:pt x="275" y="250"/>
                  </a:cubicBezTo>
                  <a:cubicBezTo>
                    <a:pt x="275" y="250"/>
                    <a:pt x="275" y="250"/>
                    <a:pt x="275" y="250"/>
                  </a:cubicBezTo>
                  <a:cubicBezTo>
                    <a:pt x="276" y="251"/>
                    <a:pt x="276" y="251"/>
                    <a:pt x="276" y="251"/>
                  </a:cubicBezTo>
                  <a:cubicBezTo>
                    <a:pt x="276" y="251"/>
                    <a:pt x="276" y="251"/>
                    <a:pt x="276" y="251"/>
                  </a:cubicBezTo>
                  <a:cubicBezTo>
                    <a:pt x="276" y="251"/>
                    <a:pt x="276" y="251"/>
                    <a:pt x="276" y="251"/>
                  </a:cubicBezTo>
                  <a:cubicBezTo>
                    <a:pt x="277" y="251"/>
                    <a:pt x="277" y="251"/>
                    <a:pt x="277" y="251"/>
                  </a:cubicBezTo>
                  <a:cubicBezTo>
                    <a:pt x="278" y="251"/>
                    <a:pt x="278" y="251"/>
                    <a:pt x="279" y="251"/>
                  </a:cubicBezTo>
                  <a:cubicBezTo>
                    <a:pt x="280" y="251"/>
                    <a:pt x="281" y="251"/>
                    <a:pt x="281" y="251"/>
                  </a:cubicBezTo>
                  <a:cubicBezTo>
                    <a:pt x="283" y="251"/>
                    <a:pt x="284" y="251"/>
                    <a:pt x="285" y="251"/>
                  </a:cubicBezTo>
                  <a:cubicBezTo>
                    <a:pt x="285" y="249"/>
                    <a:pt x="285" y="249"/>
                    <a:pt x="285" y="249"/>
                  </a:cubicBezTo>
                  <a:cubicBezTo>
                    <a:pt x="286" y="250"/>
                    <a:pt x="286" y="250"/>
                    <a:pt x="286" y="250"/>
                  </a:cubicBezTo>
                  <a:cubicBezTo>
                    <a:pt x="286" y="250"/>
                    <a:pt x="286" y="249"/>
                    <a:pt x="286" y="249"/>
                  </a:cubicBezTo>
                  <a:cubicBezTo>
                    <a:pt x="286" y="248"/>
                    <a:pt x="286" y="248"/>
                    <a:pt x="286" y="248"/>
                  </a:cubicBezTo>
                  <a:cubicBezTo>
                    <a:pt x="286" y="248"/>
                    <a:pt x="286" y="248"/>
                    <a:pt x="286" y="247"/>
                  </a:cubicBezTo>
                  <a:cubicBezTo>
                    <a:pt x="286" y="246"/>
                    <a:pt x="286" y="246"/>
                    <a:pt x="286" y="246"/>
                  </a:cubicBezTo>
                  <a:cubicBezTo>
                    <a:pt x="286" y="245"/>
                    <a:pt x="286" y="245"/>
                    <a:pt x="286" y="245"/>
                  </a:cubicBezTo>
                  <a:cubicBezTo>
                    <a:pt x="286" y="245"/>
                    <a:pt x="287" y="244"/>
                    <a:pt x="287" y="244"/>
                  </a:cubicBezTo>
                  <a:cubicBezTo>
                    <a:pt x="288" y="243"/>
                    <a:pt x="289" y="241"/>
                    <a:pt x="290" y="240"/>
                  </a:cubicBezTo>
                  <a:cubicBezTo>
                    <a:pt x="291" y="238"/>
                    <a:pt x="291" y="238"/>
                    <a:pt x="291" y="238"/>
                  </a:cubicBezTo>
                  <a:cubicBezTo>
                    <a:pt x="291" y="238"/>
                    <a:pt x="291" y="237"/>
                    <a:pt x="292" y="237"/>
                  </a:cubicBezTo>
                  <a:cubicBezTo>
                    <a:pt x="293" y="236"/>
                    <a:pt x="293" y="236"/>
                    <a:pt x="293" y="236"/>
                  </a:cubicBezTo>
                  <a:cubicBezTo>
                    <a:pt x="298" y="229"/>
                    <a:pt x="299" y="226"/>
                    <a:pt x="299" y="226"/>
                  </a:cubicBezTo>
                  <a:cubicBezTo>
                    <a:pt x="299" y="225"/>
                    <a:pt x="299" y="225"/>
                    <a:pt x="299" y="225"/>
                  </a:cubicBezTo>
                  <a:cubicBezTo>
                    <a:pt x="299" y="225"/>
                    <a:pt x="298" y="224"/>
                    <a:pt x="298" y="224"/>
                  </a:cubicBezTo>
                  <a:cubicBezTo>
                    <a:pt x="297" y="224"/>
                    <a:pt x="297" y="223"/>
                    <a:pt x="296" y="223"/>
                  </a:cubicBezTo>
                  <a:cubicBezTo>
                    <a:pt x="296" y="222"/>
                    <a:pt x="296" y="222"/>
                    <a:pt x="296" y="222"/>
                  </a:cubicBezTo>
                  <a:cubicBezTo>
                    <a:pt x="296" y="222"/>
                    <a:pt x="295" y="222"/>
                    <a:pt x="295" y="221"/>
                  </a:cubicBezTo>
                  <a:cubicBezTo>
                    <a:pt x="294" y="220"/>
                    <a:pt x="293" y="219"/>
                    <a:pt x="293" y="217"/>
                  </a:cubicBezTo>
                  <a:cubicBezTo>
                    <a:pt x="293" y="217"/>
                    <a:pt x="293" y="216"/>
                    <a:pt x="293" y="216"/>
                  </a:cubicBezTo>
                  <a:cubicBezTo>
                    <a:pt x="294" y="212"/>
                    <a:pt x="294" y="212"/>
                    <a:pt x="294" y="212"/>
                  </a:cubicBezTo>
                  <a:cubicBezTo>
                    <a:pt x="295" y="208"/>
                    <a:pt x="295" y="207"/>
                    <a:pt x="295" y="206"/>
                  </a:cubicBezTo>
                  <a:cubicBezTo>
                    <a:pt x="294" y="206"/>
                    <a:pt x="292" y="205"/>
                    <a:pt x="290" y="205"/>
                  </a:cubicBezTo>
                  <a:cubicBezTo>
                    <a:pt x="285" y="205"/>
                    <a:pt x="284" y="205"/>
                    <a:pt x="280" y="201"/>
                  </a:cubicBezTo>
                  <a:cubicBezTo>
                    <a:pt x="280" y="201"/>
                    <a:pt x="280" y="201"/>
                    <a:pt x="280" y="201"/>
                  </a:cubicBezTo>
                  <a:cubicBezTo>
                    <a:pt x="279" y="200"/>
                    <a:pt x="279" y="200"/>
                    <a:pt x="279" y="200"/>
                  </a:cubicBezTo>
                  <a:cubicBezTo>
                    <a:pt x="278" y="199"/>
                    <a:pt x="277" y="198"/>
                    <a:pt x="277" y="198"/>
                  </a:cubicBezTo>
                  <a:cubicBezTo>
                    <a:pt x="276" y="197"/>
                    <a:pt x="275" y="195"/>
                    <a:pt x="275" y="192"/>
                  </a:cubicBezTo>
                  <a:cubicBezTo>
                    <a:pt x="275" y="192"/>
                    <a:pt x="275" y="192"/>
                    <a:pt x="275" y="192"/>
                  </a:cubicBezTo>
                  <a:cubicBezTo>
                    <a:pt x="276" y="189"/>
                    <a:pt x="277" y="186"/>
                    <a:pt x="280" y="184"/>
                  </a:cubicBezTo>
                  <a:cubicBezTo>
                    <a:pt x="281" y="184"/>
                    <a:pt x="281" y="184"/>
                    <a:pt x="281" y="184"/>
                  </a:cubicBezTo>
                  <a:cubicBezTo>
                    <a:pt x="282" y="183"/>
                    <a:pt x="283" y="182"/>
                    <a:pt x="284" y="182"/>
                  </a:cubicBezTo>
                  <a:cubicBezTo>
                    <a:pt x="285" y="182"/>
                    <a:pt x="285" y="182"/>
                    <a:pt x="285" y="182"/>
                  </a:cubicBezTo>
                  <a:cubicBezTo>
                    <a:pt x="286" y="182"/>
                    <a:pt x="286" y="182"/>
                    <a:pt x="287" y="181"/>
                  </a:cubicBezTo>
                  <a:cubicBezTo>
                    <a:pt x="288" y="181"/>
                    <a:pt x="289" y="182"/>
                    <a:pt x="290" y="182"/>
                  </a:cubicBezTo>
                  <a:cubicBezTo>
                    <a:pt x="293" y="182"/>
                    <a:pt x="295" y="183"/>
                    <a:pt x="298" y="183"/>
                  </a:cubicBezTo>
                  <a:cubicBezTo>
                    <a:pt x="300" y="183"/>
                    <a:pt x="301" y="183"/>
                    <a:pt x="302" y="183"/>
                  </a:cubicBezTo>
                  <a:cubicBezTo>
                    <a:pt x="302" y="183"/>
                    <a:pt x="302" y="183"/>
                    <a:pt x="303" y="184"/>
                  </a:cubicBezTo>
                  <a:cubicBezTo>
                    <a:pt x="303" y="184"/>
                    <a:pt x="303" y="184"/>
                    <a:pt x="303" y="184"/>
                  </a:cubicBezTo>
                  <a:cubicBezTo>
                    <a:pt x="304" y="184"/>
                    <a:pt x="304" y="184"/>
                    <a:pt x="304" y="184"/>
                  </a:cubicBezTo>
                  <a:cubicBezTo>
                    <a:pt x="304" y="183"/>
                    <a:pt x="305" y="181"/>
                    <a:pt x="305" y="179"/>
                  </a:cubicBezTo>
                  <a:cubicBezTo>
                    <a:pt x="305" y="178"/>
                    <a:pt x="305" y="178"/>
                    <a:pt x="305" y="178"/>
                  </a:cubicBezTo>
                  <a:cubicBezTo>
                    <a:pt x="306" y="176"/>
                    <a:pt x="307" y="175"/>
                    <a:pt x="308" y="174"/>
                  </a:cubicBezTo>
                  <a:cubicBezTo>
                    <a:pt x="309" y="173"/>
                    <a:pt x="309" y="173"/>
                    <a:pt x="310" y="172"/>
                  </a:cubicBezTo>
                  <a:cubicBezTo>
                    <a:pt x="308" y="172"/>
                    <a:pt x="307" y="171"/>
                    <a:pt x="306" y="169"/>
                  </a:cubicBezTo>
                  <a:cubicBezTo>
                    <a:pt x="305" y="166"/>
                    <a:pt x="305" y="166"/>
                    <a:pt x="305" y="166"/>
                  </a:cubicBezTo>
                  <a:cubicBezTo>
                    <a:pt x="318" y="164"/>
                    <a:pt x="318" y="164"/>
                    <a:pt x="318" y="164"/>
                  </a:cubicBezTo>
                  <a:cubicBezTo>
                    <a:pt x="318" y="164"/>
                    <a:pt x="318" y="164"/>
                    <a:pt x="319" y="164"/>
                  </a:cubicBezTo>
                  <a:cubicBezTo>
                    <a:pt x="319" y="164"/>
                    <a:pt x="320" y="164"/>
                    <a:pt x="321" y="164"/>
                  </a:cubicBezTo>
                  <a:cubicBezTo>
                    <a:pt x="320" y="161"/>
                    <a:pt x="320" y="159"/>
                    <a:pt x="320" y="156"/>
                  </a:cubicBezTo>
                  <a:cubicBezTo>
                    <a:pt x="321" y="154"/>
                    <a:pt x="321" y="153"/>
                    <a:pt x="322" y="152"/>
                  </a:cubicBezTo>
                  <a:cubicBezTo>
                    <a:pt x="323" y="151"/>
                    <a:pt x="323" y="151"/>
                    <a:pt x="323" y="151"/>
                  </a:cubicBezTo>
                  <a:cubicBezTo>
                    <a:pt x="324" y="150"/>
                    <a:pt x="324" y="150"/>
                    <a:pt x="324" y="150"/>
                  </a:cubicBezTo>
                  <a:cubicBezTo>
                    <a:pt x="324" y="148"/>
                    <a:pt x="324" y="148"/>
                    <a:pt x="324" y="148"/>
                  </a:cubicBezTo>
                  <a:cubicBezTo>
                    <a:pt x="326" y="148"/>
                    <a:pt x="326" y="148"/>
                    <a:pt x="326" y="148"/>
                  </a:cubicBezTo>
                  <a:cubicBezTo>
                    <a:pt x="326" y="148"/>
                    <a:pt x="326" y="148"/>
                    <a:pt x="326" y="148"/>
                  </a:cubicBezTo>
                  <a:cubicBezTo>
                    <a:pt x="327" y="148"/>
                    <a:pt x="327" y="148"/>
                    <a:pt x="327" y="148"/>
                  </a:cubicBezTo>
                  <a:cubicBezTo>
                    <a:pt x="328" y="148"/>
                    <a:pt x="328" y="148"/>
                    <a:pt x="328" y="148"/>
                  </a:cubicBezTo>
                  <a:cubicBezTo>
                    <a:pt x="329" y="149"/>
                    <a:pt x="329" y="149"/>
                    <a:pt x="330" y="149"/>
                  </a:cubicBezTo>
                  <a:cubicBezTo>
                    <a:pt x="330" y="149"/>
                    <a:pt x="330" y="149"/>
                    <a:pt x="330" y="149"/>
                  </a:cubicBezTo>
                  <a:cubicBezTo>
                    <a:pt x="331" y="150"/>
                    <a:pt x="331" y="150"/>
                    <a:pt x="331" y="150"/>
                  </a:cubicBezTo>
                  <a:cubicBezTo>
                    <a:pt x="332" y="150"/>
                    <a:pt x="332" y="150"/>
                    <a:pt x="333" y="151"/>
                  </a:cubicBezTo>
                  <a:cubicBezTo>
                    <a:pt x="334" y="151"/>
                    <a:pt x="334" y="151"/>
                    <a:pt x="334" y="151"/>
                  </a:cubicBezTo>
                  <a:cubicBezTo>
                    <a:pt x="334" y="151"/>
                    <a:pt x="335" y="151"/>
                    <a:pt x="335" y="151"/>
                  </a:cubicBezTo>
                  <a:cubicBezTo>
                    <a:pt x="335" y="151"/>
                    <a:pt x="335" y="151"/>
                    <a:pt x="335" y="151"/>
                  </a:cubicBezTo>
                  <a:cubicBezTo>
                    <a:pt x="335" y="151"/>
                    <a:pt x="335" y="151"/>
                    <a:pt x="335" y="151"/>
                  </a:cubicBezTo>
                  <a:cubicBezTo>
                    <a:pt x="336" y="151"/>
                    <a:pt x="336" y="151"/>
                    <a:pt x="337" y="150"/>
                  </a:cubicBezTo>
                  <a:cubicBezTo>
                    <a:pt x="338" y="150"/>
                    <a:pt x="339" y="149"/>
                    <a:pt x="341" y="149"/>
                  </a:cubicBezTo>
                  <a:cubicBezTo>
                    <a:pt x="341" y="149"/>
                    <a:pt x="341" y="149"/>
                    <a:pt x="341" y="149"/>
                  </a:cubicBezTo>
                  <a:cubicBezTo>
                    <a:pt x="342" y="148"/>
                    <a:pt x="342" y="148"/>
                    <a:pt x="342" y="148"/>
                  </a:cubicBezTo>
                  <a:cubicBezTo>
                    <a:pt x="343" y="148"/>
                    <a:pt x="344" y="146"/>
                    <a:pt x="345" y="146"/>
                  </a:cubicBezTo>
                  <a:cubicBezTo>
                    <a:pt x="346" y="145"/>
                    <a:pt x="346" y="145"/>
                    <a:pt x="346" y="145"/>
                  </a:cubicBezTo>
                  <a:cubicBezTo>
                    <a:pt x="347" y="145"/>
                    <a:pt x="347" y="144"/>
                    <a:pt x="348" y="144"/>
                  </a:cubicBezTo>
                  <a:cubicBezTo>
                    <a:pt x="348" y="143"/>
                    <a:pt x="349" y="143"/>
                    <a:pt x="349" y="143"/>
                  </a:cubicBezTo>
                  <a:cubicBezTo>
                    <a:pt x="350" y="142"/>
                    <a:pt x="351" y="141"/>
                    <a:pt x="352" y="141"/>
                  </a:cubicBezTo>
                  <a:cubicBezTo>
                    <a:pt x="352" y="141"/>
                    <a:pt x="352" y="141"/>
                    <a:pt x="352" y="141"/>
                  </a:cubicBezTo>
                  <a:cubicBezTo>
                    <a:pt x="354" y="139"/>
                    <a:pt x="354" y="139"/>
                    <a:pt x="354" y="139"/>
                  </a:cubicBezTo>
                  <a:cubicBezTo>
                    <a:pt x="366" y="153"/>
                    <a:pt x="366" y="153"/>
                    <a:pt x="366" y="153"/>
                  </a:cubicBezTo>
                  <a:cubicBezTo>
                    <a:pt x="364" y="155"/>
                    <a:pt x="364" y="155"/>
                    <a:pt x="364" y="155"/>
                  </a:cubicBezTo>
                  <a:cubicBezTo>
                    <a:pt x="361" y="157"/>
                    <a:pt x="359" y="159"/>
                    <a:pt x="356" y="161"/>
                  </a:cubicBezTo>
                  <a:cubicBezTo>
                    <a:pt x="358" y="162"/>
                    <a:pt x="359" y="163"/>
                    <a:pt x="360" y="163"/>
                  </a:cubicBezTo>
                  <a:cubicBezTo>
                    <a:pt x="360" y="163"/>
                    <a:pt x="361" y="164"/>
                    <a:pt x="363" y="164"/>
                  </a:cubicBezTo>
                  <a:cubicBezTo>
                    <a:pt x="363" y="164"/>
                    <a:pt x="363" y="164"/>
                    <a:pt x="363" y="164"/>
                  </a:cubicBezTo>
                  <a:cubicBezTo>
                    <a:pt x="364" y="164"/>
                    <a:pt x="364" y="164"/>
                    <a:pt x="365" y="164"/>
                  </a:cubicBezTo>
                  <a:cubicBezTo>
                    <a:pt x="366" y="162"/>
                    <a:pt x="366" y="162"/>
                    <a:pt x="366" y="162"/>
                  </a:cubicBezTo>
                  <a:cubicBezTo>
                    <a:pt x="367" y="163"/>
                    <a:pt x="367" y="163"/>
                    <a:pt x="367" y="163"/>
                  </a:cubicBezTo>
                  <a:cubicBezTo>
                    <a:pt x="367" y="163"/>
                    <a:pt x="368" y="163"/>
                    <a:pt x="368" y="162"/>
                  </a:cubicBezTo>
                  <a:cubicBezTo>
                    <a:pt x="369" y="162"/>
                    <a:pt x="369" y="162"/>
                    <a:pt x="369" y="162"/>
                  </a:cubicBezTo>
                  <a:cubicBezTo>
                    <a:pt x="371" y="162"/>
                    <a:pt x="372" y="162"/>
                    <a:pt x="374" y="162"/>
                  </a:cubicBezTo>
                  <a:cubicBezTo>
                    <a:pt x="375" y="162"/>
                    <a:pt x="375" y="162"/>
                    <a:pt x="375" y="162"/>
                  </a:cubicBezTo>
                  <a:cubicBezTo>
                    <a:pt x="376" y="162"/>
                    <a:pt x="377" y="162"/>
                    <a:pt x="377" y="162"/>
                  </a:cubicBezTo>
                  <a:cubicBezTo>
                    <a:pt x="378" y="162"/>
                    <a:pt x="379" y="163"/>
                    <a:pt x="380" y="163"/>
                  </a:cubicBezTo>
                  <a:cubicBezTo>
                    <a:pt x="381" y="164"/>
                    <a:pt x="382" y="164"/>
                    <a:pt x="383" y="165"/>
                  </a:cubicBezTo>
                  <a:cubicBezTo>
                    <a:pt x="384" y="165"/>
                    <a:pt x="385" y="165"/>
                    <a:pt x="385" y="165"/>
                  </a:cubicBezTo>
                  <a:cubicBezTo>
                    <a:pt x="386" y="165"/>
                    <a:pt x="387" y="165"/>
                    <a:pt x="388" y="164"/>
                  </a:cubicBezTo>
                  <a:cubicBezTo>
                    <a:pt x="388" y="164"/>
                    <a:pt x="388" y="164"/>
                    <a:pt x="388" y="164"/>
                  </a:cubicBezTo>
                  <a:cubicBezTo>
                    <a:pt x="389" y="164"/>
                    <a:pt x="389" y="164"/>
                    <a:pt x="389" y="164"/>
                  </a:cubicBezTo>
                  <a:cubicBezTo>
                    <a:pt x="390" y="163"/>
                    <a:pt x="390" y="163"/>
                    <a:pt x="390" y="163"/>
                  </a:cubicBezTo>
                  <a:cubicBezTo>
                    <a:pt x="390" y="163"/>
                    <a:pt x="390" y="162"/>
                    <a:pt x="391" y="161"/>
                  </a:cubicBezTo>
                  <a:cubicBezTo>
                    <a:pt x="391" y="160"/>
                    <a:pt x="392" y="159"/>
                    <a:pt x="393" y="159"/>
                  </a:cubicBezTo>
                  <a:cubicBezTo>
                    <a:pt x="393" y="158"/>
                    <a:pt x="394" y="158"/>
                    <a:pt x="394" y="158"/>
                  </a:cubicBezTo>
                  <a:cubicBezTo>
                    <a:pt x="395" y="158"/>
                    <a:pt x="395" y="158"/>
                    <a:pt x="395" y="158"/>
                  </a:cubicBezTo>
                  <a:cubicBezTo>
                    <a:pt x="395" y="158"/>
                    <a:pt x="395" y="158"/>
                    <a:pt x="395" y="158"/>
                  </a:cubicBezTo>
                  <a:cubicBezTo>
                    <a:pt x="395" y="159"/>
                    <a:pt x="395" y="159"/>
                    <a:pt x="395" y="159"/>
                  </a:cubicBezTo>
                  <a:cubicBezTo>
                    <a:pt x="395" y="158"/>
                    <a:pt x="395" y="158"/>
                    <a:pt x="395" y="158"/>
                  </a:cubicBezTo>
                  <a:cubicBezTo>
                    <a:pt x="396" y="158"/>
                    <a:pt x="396" y="158"/>
                    <a:pt x="396" y="158"/>
                  </a:cubicBezTo>
                  <a:cubicBezTo>
                    <a:pt x="397" y="158"/>
                    <a:pt x="397" y="158"/>
                    <a:pt x="397" y="158"/>
                  </a:cubicBezTo>
                  <a:cubicBezTo>
                    <a:pt x="397" y="158"/>
                    <a:pt x="397" y="158"/>
                    <a:pt x="398" y="158"/>
                  </a:cubicBezTo>
                  <a:cubicBezTo>
                    <a:pt x="398" y="157"/>
                    <a:pt x="398" y="157"/>
                    <a:pt x="398" y="157"/>
                  </a:cubicBezTo>
                  <a:cubicBezTo>
                    <a:pt x="398" y="156"/>
                    <a:pt x="398" y="156"/>
                    <a:pt x="398" y="156"/>
                  </a:cubicBezTo>
                  <a:cubicBezTo>
                    <a:pt x="398" y="155"/>
                    <a:pt x="399" y="154"/>
                    <a:pt x="400" y="153"/>
                  </a:cubicBezTo>
                  <a:cubicBezTo>
                    <a:pt x="401" y="153"/>
                    <a:pt x="401" y="153"/>
                    <a:pt x="401" y="153"/>
                  </a:cubicBezTo>
                  <a:cubicBezTo>
                    <a:pt x="401" y="153"/>
                    <a:pt x="401" y="153"/>
                    <a:pt x="401" y="153"/>
                  </a:cubicBezTo>
                  <a:cubicBezTo>
                    <a:pt x="402" y="153"/>
                    <a:pt x="403" y="153"/>
                    <a:pt x="404" y="153"/>
                  </a:cubicBezTo>
                  <a:cubicBezTo>
                    <a:pt x="404" y="153"/>
                    <a:pt x="404" y="153"/>
                    <a:pt x="404" y="153"/>
                  </a:cubicBezTo>
                  <a:cubicBezTo>
                    <a:pt x="405" y="154"/>
                    <a:pt x="405" y="154"/>
                    <a:pt x="406" y="154"/>
                  </a:cubicBezTo>
                  <a:cubicBezTo>
                    <a:pt x="406" y="155"/>
                    <a:pt x="407" y="155"/>
                    <a:pt x="407" y="155"/>
                  </a:cubicBezTo>
                  <a:cubicBezTo>
                    <a:pt x="407" y="155"/>
                    <a:pt x="407" y="155"/>
                    <a:pt x="407" y="155"/>
                  </a:cubicBezTo>
                  <a:cubicBezTo>
                    <a:pt x="408" y="154"/>
                    <a:pt x="408" y="154"/>
                    <a:pt x="408" y="154"/>
                  </a:cubicBezTo>
                  <a:cubicBezTo>
                    <a:pt x="408" y="153"/>
                    <a:pt x="408" y="153"/>
                    <a:pt x="409" y="153"/>
                  </a:cubicBezTo>
                  <a:cubicBezTo>
                    <a:pt x="410" y="151"/>
                    <a:pt x="410" y="151"/>
                    <a:pt x="410" y="151"/>
                  </a:cubicBezTo>
                  <a:cubicBezTo>
                    <a:pt x="410" y="151"/>
                    <a:pt x="410" y="151"/>
                    <a:pt x="410" y="151"/>
                  </a:cubicBezTo>
                  <a:cubicBezTo>
                    <a:pt x="408" y="151"/>
                    <a:pt x="407" y="151"/>
                    <a:pt x="405" y="150"/>
                  </a:cubicBezTo>
                  <a:cubicBezTo>
                    <a:pt x="405" y="150"/>
                    <a:pt x="405" y="150"/>
                    <a:pt x="405" y="150"/>
                  </a:cubicBezTo>
                  <a:cubicBezTo>
                    <a:pt x="404" y="149"/>
                    <a:pt x="404" y="149"/>
                    <a:pt x="404" y="149"/>
                  </a:cubicBezTo>
                  <a:cubicBezTo>
                    <a:pt x="404" y="148"/>
                    <a:pt x="404" y="148"/>
                    <a:pt x="403" y="148"/>
                  </a:cubicBezTo>
                  <a:cubicBezTo>
                    <a:pt x="403" y="148"/>
                    <a:pt x="403" y="148"/>
                    <a:pt x="402" y="148"/>
                  </a:cubicBezTo>
                  <a:cubicBezTo>
                    <a:pt x="401" y="147"/>
                    <a:pt x="401" y="147"/>
                    <a:pt x="401" y="147"/>
                  </a:cubicBezTo>
                  <a:cubicBezTo>
                    <a:pt x="400" y="151"/>
                    <a:pt x="400" y="151"/>
                    <a:pt x="400" y="151"/>
                  </a:cubicBezTo>
                  <a:cubicBezTo>
                    <a:pt x="400" y="147"/>
                    <a:pt x="400" y="147"/>
                    <a:pt x="400" y="147"/>
                  </a:cubicBezTo>
                  <a:cubicBezTo>
                    <a:pt x="400" y="147"/>
                    <a:pt x="400" y="147"/>
                    <a:pt x="400" y="147"/>
                  </a:cubicBezTo>
                  <a:cubicBezTo>
                    <a:pt x="400" y="147"/>
                    <a:pt x="399" y="147"/>
                    <a:pt x="399" y="147"/>
                  </a:cubicBezTo>
                  <a:cubicBezTo>
                    <a:pt x="399" y="147"/>
                    <a:pt x="399" y="147"/>
                    <a:pt x="399" y="147"/>
                  </a:cubicBezTo>
                  <a:cubicBezTo>
                    <a:pt x="398" y="147"/>
                    <a:pt x="398" y="147"/>
                    <a:pt x="397" y="147"/>
                  </a:cubicBezTo>
                  <a:cubicBezTo>
                    <a:pt x="394" y="148"/>
                    <a:pt x="394" y="148"/>
                    <a:pt x="394" y="148"/>
                  </a:cubicBezTo>
                  <a:cubicBezTo>
                    <a:pt x="393" y="144"/>
                    <a:pt x="393" y="144"/>
                    <a:pt x="393" y="144"/>
                  </a:cubicBezTo>
                  <a:cubicBezTo>
                    <a:pt x="393" y="144"/>
                    <a:pt x="393" y="144"/>
                    <a:pt x="393" y="143"/>
                  </a:cubicBezTo>
                  <a:cubicBezTo>
                    <a:pt x="393" y="142"/>
                    <a:pt x="393" y="142"/>
                    <a:pt x="393" y="141"/>
                  </a:cubicBezTo>
                  <a:cubicBezTo>
                    <a:pt x="392" y="142"/>
                    <a:pt x="392" y="142"/>
                    <a:pt x="392" y="142"/>
                  </a:cubicBezTo>
                  <a:cubicBezTo>
                    <a:pt x="392" y="142"/>
                    <a:pt x="392" y="142"/>
                    <a:pt x="392" y="142"/>
                  </a:cubicBezTo>
                  <a:cubicBezTo>
                    <a:pt x="391" y="142"/>
                    <a:pt x="391" y="142"/>
                    <a:pt x="391" y="142"/>
                  </a:cubicBezTo>
                  <a:cubicBezTo>
                    <a:pt x="390" y="141"/>
                    <a:pt x="389" y="141"/>
                    <a:pt x="388" y="140"/>
                  </a:cubicBezTo>
                  <a:cubicBezTo>
                    <a:pt x="388" y="139"/>
                    <a:pt x="387" y="138"/>
                    <a:pt x="387" y="138"/>
                  </a:cubicBezTo>
                  <a:cubicBezTo>
                    <a:pt x="386" y="137"/>
                    <a:pt x="386" y="136"/>
                    <a:pt x="385" y="135"/>
                  </a:cubicBezTo>
                  <a:cubicBezTo>
                    <a:pt x="385" y="138"/>
                    <a:pt x="385" y="138"/>
                    <a:pt x="385" y="138"/>
                  </a:cubicBezTo>
                  <a:cubicBezTo>
                    <a:pt x="382" y="138"/>
                    <a:pt x="382" y="138"/>
                    <a:pt x="382" y="138"/>
                  </a:cubicBezTo>
                  <a:cubicBezTo>
                    <a:pt x="382" y="138"/>
                    <a:pt x="382" y="138"/>
                    <a:pt x="381" y="138"/>
                  </a:cubicBezTo>
                  <a:cubicBezTo>
                    <a:pt x="381" y="138"/>
                    <a:pt x="381" y="138"/>
                    <a:pt x="381" y="138"/>
                  </a:cubicBezTo>
                  <a:cubicBezTo>
                    <a:pt x="381" y="138"/>
                    <a:pt x="381" y="138"/>
                    <a:pt x="381" y="138"/>
                  </a:cubicBezTo>
                  <a:cubicBezTo>
                    <a:pt x="381" y="139"/>
                    <a:pt x="381" y="139"/>
                    <a:pt x="381" y="139"/>
                  </a:cubicBezTo>
                  <a:cubicBezTo>
                    <a:pt x="381" y="139"/>
                    <a:pt x="381" y="140"/>
                    <a:pt x="381" y="140"/>
                  </a:cubicBezTo>
                  <a:cubicBezTo>
                    <a:pt x="381" y="144"/>
                    <a:pt x="381" y="144"/>
                    <a:pt x="381" y="144"/>
                  </a:cubicBezTo>
                  <a:cubicBezTo>
                    <a:pt x="377" y="143"/>
                    <a:pt x="377" y="143"/>
                    <a:pt x="377" y="143"/>
                  </a:cubicBezTo>
                  <a:cubicBezTo>
                    <a:pt x="377" y="143"/>
                    <a:pt x="376" y="143"/>
                    <a:pt x="376" y="143"/>
                  </a:cubicBezTo>
                  <a:cubicBezTo>
                    <a:pt x="375" y="143"/>
                    <a:pt x="375" y="143"/>
                    <a:pt x="374" y="143"/>
                  </a:cubicBezTo>
                  <a:cubicBezTo>
                    <a:pt x="373" y="143"/>
                    <a:pt x="373" y="143"/>
                    <a:pt x="373" y="143"/>
                  </a:cubicBezTo>
                  <a:cubicBezTo>
                    <a:pt x="373" y="143"/>
                    <a:pt x="372" y="143"/>
                    <a:pt x="371" y="143"/>
                  </a:cubicBezTo>
                  <a:cubicBezTo>
                    <a:pt x="368" y="142"/>
                    <a:pt x="365" y="141"/>
                    <a:pt x="362" y="140"/>
                  </a:cubicBezTo>
                  <a:cubicBezTo>
                    <a:pt x="359" y="139"/>
                    <a:pt x="358" y="137"/>
                    <a:pt x="358" y="135"/>
                  </a:cubicBezTo>
                  <a:cubicBezTo>
                    <a:pt x="357" y="134"/>
                    <a:pt x="357" y="134"/>
                    <a:pt x="357" y="134"/>
                  </a:cubicBezTo>
                  <a:cubicBezTo>
                    <a:pt x="356" y="135"/>
                    <a:pt x="356" y="135"/>
                    <a:pt x="356" y="135"/>
                  </a:cubicBezTo>
                  <a:cubicBezTo>
                    <a:pt x="355" y="135"/>
                    <a:pt x="355" y="135"/>
                    <a:pt x="354" y="135"/>
                  </a:cubicBezTo>
                  <a:cubicBezTo>
                    <a:pt x="353" y="135"/>
                    <a:pt x="352" y="135"/>
                    <a:pt x="351" y="133"/>
                  </a:cubicBezTo>
                  <a:cubicBezTo>
                    <a:pt x="351" y="133"/>
                    <a:pt x="351" y="133"/>
                    <a:pt x="351" y="133"/>
                  </a:cubicBezTo>
                  <a:cubicBezTo>
                    <a:pt x="349" y="132"/>
                    <a:pt x="349" y="132"/>
                    <a:pt x="349" y="132"/>
                  </a:cubicBezTo>
                  <a:cubicBezTo>
                    <a:pt x="349" y="132"/>
                    <a:pt x="349" y="132"/>
                    <a:pt x="349" y="132"/>
                  </a:cubicBezTo>
                  <a:cubicBezTo>
                    <a:pt x="349" y="132"/>
                    <a:pt x="349" y="132"/>
                    <a:pt x="349" y="132"/>
                  </a:cubicBezTo>
                  <a:cubicBezTo>
                    <a:pt x="348" y="132"/>
                    <a:pt x="347" y="132"/>
                    <a:pt x="346" y="132"/>
                  </a:cubicBezTo>
                  <a:cubicBezTo>
                    <a:pt x="346" y="132"/>
                    <a:pt x="346" y="132"/>
                    <a:pt x="346" y="132"/>
                  </a:cubicBezTo>
                  <a:cubicBezTo>
                    <a:pt x="345" y="131"/>
                    <a:pt x="345" y="131"/>
                    <a:pt x="344" y="130"/>
                  </a:cubicBezTo>
                  <a:cubicBezTo>
                    <a:pt x="343" y="127"/>
                    <a:pt x="345" y="125"/>
                    <a:pt x="347" y="123"/>
                  </a:cubicBezTo>
                  <a:cubicBezTo>
                    <a:pt x="350" y="121"/>
                    <a:pt x="353" y="118"/>
                    <a:pt x="357" y="116"/>
                  </a:cubicBezTo>
                  <a:cubicBezTo>
                    <a:pt x="343" y="124"/>
                    <a:pt x="343" y="124"/>
                    <a:pt x="343" y="124"/>
                  </a:cubicBezTo>
                  <a:cubicBezTo>
                    <a:pt x="339" y="126"/>
                    <a:pt x="336" y="128"/>
                    <a:pt x="333" y="130"/>
                  </a:cubicBezTo>
                  <a:cubicBezTo>
                    <a:pt x="332" y="131"/>
                    <a:pt x="332" y="131"/>
                    <a:pt x="332" y="131"/>
                  </a:cubicBezTo>
                  <a:cubicBezTo>
                    <a:pt x="330" y="132"/>
                    <a:pt x="329" y="133"/>
                    <a:pt x="327" y="135"/>
                  </a:cubicBezTo>
                  <a:cubicBezTo>
                    <a:pt x="330" y="140"/>
                    <a:pt x="330" y="140"/>
                    <a:pt x="330" y="140"/>
                  </a:cubicBezTo>
                  <a:cubicBezTo>
                    <a:pt x="325" y="136"/>
                    <a:pt x="325" y="136"/>
                    <a:pt x="325" y="136"/>
                  </a:cubicBezTo>
                  <a:cubicBezTo>
                    <a:pt x="325" y="136"/>
                    <a:pt x="325" y="136"/>
                    <a:pt x="325" y="136"/>
                  </a:cubicBezTo>
                  <a:cubicBezTo>
                    <a:pt x="324" y="137"/>
                    <a:pt x="323" y="138"/>
                    <a:pt x="322" y="139"/>
                  </a:cubicBezTo>
                  <a:cubicBezTo>
                    <a:pt x="321" y="140"/>
                    <a:pt x="321" y="141"/>
                    <a:pt x="319" y="141"/>
                  </a:cubicBezTo>
                  <a:cubicBezTo>
                    <a:pt x="317" y="143"/>
                    <a:pt x="317" y="143"/>
                    <a:pt x="317" y="143"/>
                  </a:cubicBezTo>
                  <a:cubicBezTo>
                    <a:pt x="313" y="145"/>
                    <a:pt x="312" y="147"/>
                    <a:pt x="312" y="148"/>
                  </a:cubicBezTo>
                  <a:cubicBezTo>
                    <a:pt x="312" y="149"/>
                    <a:pt x="312" y="149"/>
                    <a:pt x="312" y="149"/>
                  </a:cubicBezTo>
                  <a:cubicBezTo>
                    <a:pt x="312" y="150"/>
                    <a:pt x="312" y="150"/>
                    <a:pt x="312" y="150"/>
                  </a:cubicBezTo>
                  <a:cubicBezTo>
                    <a:pt x="312" y="153"/>
                    <a:pt x="312" y="156"/>
                    <a:pt x="310" y="158"/>
                  </a:cubicBezTo>
                  <a:cubicBezTo>
                    <a:pt x="309" y="158"/>
                    <a:pt x="309" y="158"/>
                    <a:pt x="308" y="159"/>
                  </a:cubicBezTo>
                  <a:cubicBezTo>
                    <a:pt x="308" y="159"/>
                    <a:pt x="308" y="159"/>
                    <a:pt x="308" y="159"/>
                  </a:cubicBezTo>
                  <a:cubicBezTo>
                    <a:pt x="307" y="157"/>
                    <a:pt x="307" y="157"/>
                    <a:pt x="307" y="157"/>
                  </a:cubicBezTo>
                  <a:cubicBezTo>
                    <a:pt x="307" y="159"/>
                    <a:pt x="307" y="159"/>
                    <a:pt x="307" y="159"/>
                  </a:cubicBezTo>
                  <a:cubicBezTo>
                    <a:pt x="306" y="159"/>
                    <a:pt x="306" y="159"/>
                    <a:pt x="306" y="159"/>
                  </a:cubicBezTo>
                  <a:cubicBezTo>
                    <a:pt x="306" y="159"/>
                    <a:pt x="306" y="159"/>
                    <a:pt x="306" y="159"/>
                  </a:cubicBezTo>
                  <a:cubicBezTo>
                    <a:pt x="305" y="159"/>
                    <a:pt x="305" y="159"/>
                    <a:pt x="305" y="159"/>
                  </a:cubicBezTo>
                  <a:cubicBezTo>
                    <a:pt x="305" y="157"/>
                    <a:pt x="305" y="157"/>
                    <a:pt x="305" y="157"/>
                  </a:cubicBezTo>
                  <a:cubicBezTo>
                    <a:pt x="305" y="157"/>
                    <a:pt x="305" y="157"/>
                    <a:pt x="305" y="157"/>
                  </a:cubicBezTo>
                  <a:cubicBezTo>
                    <a:pt x="305" y="159"/>
                    <a:pt x="305" y="159"/>
                    <a:pt x="305" y="159"/>
                  </a:cubicBezTo>
                  <a:cubicBezTo>
                    <a:pt x="304" y="158"/>
                    <a:pt x="304" y="158"/>
                    <a:pt x="303" y="158"/>
                  </a:cubicBezTo>
                  <a:cubicBezTo>
                    <a:pt x="299" y="157"/>
                    <a:pt x="296" y="155"/>
                    <a:pt x="292" y="152"/>
                  </a:cubicBezTo>
                  <a:cubicBezTo>
                    <a:pt x="289" y="150"/>
                    <a:pt x="289" y="150"/>
                    <a:pt x="289" y="150"/>
                  </a:cubicBezTo>
                  <a:cubicBezTo>
                    <a:pt x="291" y="147"/>
                    <a:pt x="291" y="147"/>
                    <a:pt x="291" y="147"/>
                  </a:cubicBezTo>
                  <a:cubicBezTo>
                    <a:pt x="292" y="147"/>
                    <a:pt x="293" y="146"/>
                    <a:pt x="293" y="145"/>
                  </a:cubicBezTo>
                  <a:cubicBezTo>
                    <a:pt x="293" y="144"/>
                    <a:pt x="293" y="144"/>
                    <a:pt x="293" y="144"/>
                  </a:cubicBezTo>
                  <a:cubicBezTo>
                    <a:pt x="292" y="144"/>
                    <a:pt x="292" y="144"/>
                    <a:pt x="292" y="144"/>
                  </a:cubicBezTo>
                  <a:cubicBezTo>
                    <a:pt x="292" y="144"/>
                    <a:pt x="292" y="144"/>
                    <a:pt x="292" y="144"/>
                  </a:cubicBezTo>
                  <a:cubicBezTo>
                    <a:pt x="292" y="143"/>
                    <a:pt x="291" y="143"/>
                    <a:pt x="291" y="143"/>
                  </a:cubicBezTo>
                  <a:cubicBezTo>
                    <a:pt x="290" y="142"/>
                    <a:pt x="290" y="142"/>
                    <a:pt x="290" y="142"/>
                  </a:cubicBezTo>
                  <a:cubicBezTo>
                    <a:pt x="289" y="142"/>
                    <a:pt x="289" y="141"/>
                    <a:pt x="289" y="141"/>
                  </a:cubicBezTo>
                  <a:cubicBezTo>
                    <a:pt x="288" y="141"/>
                    <a:pt x="287" y="142"/>
                    <a:pt x="286" y="142"/>
                  </a:cubicBezTo>
                  <a:cubicBezTo>
                    <a:pt x="285" y="142"/>
                    <a:pt x="285" y="142"/>
                    <a:pt x="285" y="142"/>
                  </a:cubicBezTo>
                  <a:cubicBezTo>
                    <a:pt x="285" y="142"/>
                    <a:pt x="284" y="142"/>
                    <a:pt x="284" y="142"/>
                  </a:cubicBezTo>
                  <a:cubicBezTo>
                    <a:pt x="263" y="142"/>
                    <a:pt x="263" y="142"/>
                    <a:pt x="263" y="142"/>
                  </a:cubicBezTo>
                  <a:cubicBezTo>
                    <a:pt x="263" y="142"/>
                    <a:pt x="263" y="142"/>
                    <a:pt x="263" y="142"/>
                  </a:cubicBezTo>
                  <a:cubicBezTo>
                    <a:pt x="261" y="142"/>
                    <a:pt x="260" y="141"/>
                    <a:pt x="259" y="140"/>
                  </a:cubicBezTo>
                  <a:cubicBezTo>
                    <a:pt x="259" y="139"/>
                    <a:pt x="259" y="137"/>
                    <a:pt x="258" y="136"/>
                  </a:cubicBezTo>
                  <a:cubicBezTo>
                    <a:pt x="258" y="135"/>
                    <a:pt x="258" y="135"/>
                    <a:pt x="258" y="135"/>
                  </a:cubicBezTo>
                  <a:cubicBezTo>
                    <a:pt x="258" y="134"/>
                    <a:pt x="258" y="134"/>
                    <a:pt x="258" y="134"/>
                  </a:cubicBezTo>
                  <a:cubicBezTo>
                    <a:pt x="257" y="130"/>
                    <a:pt x="257" y="130"/>
                    <a:pt x="257" y="130"/>
                  </a:cubicBezTo>
                  <a:cubicBezTo>
                    <a:pt x="256" y="127"/>
                    <a:pt x="255" y="124"/>
                    <a:pt x="254" y="121"/>
                  </a:cubicBezTo>
                  <a:cubicBezTo>
                    <a:pt x="254" y="120"/>
                    <a:pt x="254" y="120"/>
                    <a:pt x="254" y="119"/>
                  </a:cubicBezTo>
                  <a:cubicBezTo>
                    <a:pt x="254" y="119"/>
                    <a:pt x="254" y="119"/>
                    <a:pt x="254" y="119"/>
                  </a:cubicBezTo>
                  <a:cubicBezTo>
                    <a:pt x="254" y="118"/>
                    <a:pt x="254" y="118"/>
                    <a:pt x="254" y="117"/>
                  </a:cubicBezTo>
                  <a:cubicBezTo>
                    <a:pt x="253" y="117"/>
                    <a:pt x="253" y="117"/>
                    <a:pt x="253" y="117"/>
                  </a:cubicBezTo>
                  <a:cubicBezTo>
                    <a:pt x="253" y="118"/>
                    <a:pt x="252" y="118"/>
                    <a:pt x="251" y="118"/>
                  </a:cubicBezTo>
                  <a:cubicBezTo>
                    <a:pt x="250" y="118"/>
                    <a:pt x="250" y="118"/>
                    <a:pt x="249" y="118"/>
                  </a:cubicBezTo>
                  <a:cubicBezTo>
                    <a:pt x="249" y="118"/>
                    <a:pt x="248" y="118"/>
                    <a:pt x="248" y="118"/>
                  </a:cubicBezTo>
                  <a:cubicBezTo>
                    <a:pt x="248" y="118"/>
                    <a:pt x="248" y="118"/>
                    <a:pt x="248" y="118"/>
                  </a:cubicBezTo>
                  <a:cubicBezTo>
                    <a:pt x="247" y="118"/>
                    <a:pt x="247" y="118"/>
                    <a:pt x="247" y="118"/>
                  </a:cubicBezTo>
                  <a:cubicBezTo>
                    <a:pt x="244" y="118"/>
                    <a:pt x="243" y="117"/>
                    <a:pt x="242" y="115"/>
                  </a:cubicBezTo>
                  <a:cubicBezTo>
                    <a:pt x="242" y="113"/>
                    <a:pt x="242" y="112"/>
                    <a:pt x="242" y="109"/>
                  </a:cubicBezTo>
                  <a:cubicBezTo>
                    <a:pt x="242" y="108"/>
                    <a:pt x="242" y="107"/>
                    <a:pt x="242" y="106"/>
                  </a:cubicBezTo>
                  <a:cubicBezTo>
                    <a:pt x="242" y="106"/>
                    <a:pt x="242" y="105"/>
                    <a:pt x="242" y="105"/>
                  </a:cubicBezTo>
                  <a:cubicBezTo>
                    <a:pt x="242" y="103"/>
                    <a:pt x="243" y="101"/>
                    <a:pt x="243" y="99"/>
                  </a:cubicBezTo>
                  <a:cubicBezTo>
                    <a:pt x="243" y="97"/>
                    <a:pt x="243" y="95"/>
                    <a:pt x="243" y="94"/>
                  </a:cubicBezTo>
                  <a:cubicBezTo>
                    <a:pt x="244" y="93"/>
                    <a:pt x="244" y="93"/>
                    <a:pt x="244" y="93"/>
                  </a:cubicBezTo>
                  <a:cubicBezTo>
                    <a:pt x="244" y="92"/>
                    <a:pt x="244" y="91"/>
                    <a:pt x="244" y="90"/>
                  </a:cubicBezTo>
                  <a:cubicBezTo>
                    <a:pt x="244" y="90"/>
                    <a:pt x="243" y="90"/>
                    <a:pt x="243" y="90"/>
                  </a:cubicBezTo>
                  <a:cubicBezTo>
                    <a:pt x="240" y="90"/>
                    <a:pt x="238" y="87"/>
                    <a:pt x="237" y="86"/>
                  </a:cubicBezTo>
                  <a:cubicBezTo>
                    <a:pt x="236" y="86"/>
                    <a:pt x="236" y="86"/>
                    <a:pt x="236" y="86"/>
                  </a:cubicBezTo>
                  <a:cubicBezTo>
                    <a:pt x="236" y="85"/>
                    <a:pt x="236" y="85"/>
                    <a:pt x="236" y="85"/>
                  </a:cubicBezTo>
                  <a:cubicBezTo>
                    <a:pt x="235" y="85"/>
                    <a:pt x="235" y="85"/>
                    <a:pt x="235" y="85"/>
                  </a:cubicBezTo>
                  <a:cubicBezTo>
                    <a:pt x="234" y="83"/>
                    <a:pt x="234" y="83"/>
                    <a:pt x="234" y="83"/>
                  </a:cubicBezTo>
                  <a:cubicBezTo>
                    <a:pt x="232" y="80"/>
                    <a:pt x="230" y="78"/>
                    <a:pt x="227" y="76"/>
                  </a:cubicBezTo>
                  <a:cubicBezTo>
                    <a:pt x="225" y="75"/>
                    <a:pt x="225" y="75"/>
                    <a:pt x="225" y="75"/>
                  </a:cubicBezTo>
                  <a:cubicBezTo>
                    <a:pt x="225" y="74"/>
                    <a:pt x="224" y="74"/>
                    <a:pt x="224" y="73"/>
                  </a:cubicBezTo>
                  <a:cubicBezTo>
                    <a:pt x="221" y="71"/>
                    <a:pt x="221" y="71"/>
                    <a:pt x="221" y="71"/>
                  </a:cubicBezTo>
                  <a:cubicBezTo>
                    <a:pt x="220" y="70"/>
                    <a:pt x="219" y="68"/>
                    <a:pt x="218" y="68"/>
                  </a:cubicBezTo>
                  <a:cubicBezTo>
                    <a:pt x="217" y="67"/>
                    <a:pt x="217" y="67"/>
                    <a:pt x="217" y="66"/>
                  </a:cubicBezTo>
                  <a:cubicBezTo>
                    <a:pt x="216" y="67"/>
                    <a:pt x="214" y="68"/>
                    <a:pt x="214" y="68"/>
                  </a:cubicBezTo>
                  <a:cubicBezTo>
                    <a:pt x="214" y="68"/>
                    <a:pt x="214" y="68"/>
                    <a:pt x="214" y="68"/>
                  </a:cubicBezTo>
                  <a:cubicBezTo>
                    <a:pt x="216" y="73"/>
                    <a:pt x="216" y="73"/>
                    <a:pt x="216" y="73"/>
                  </a:cubicBezTo>
                  <a:cubicBezTo>
                    <a:pt x="212" y="69"/>
                    <a:pt x="212" y="69"/>
                    <a:pt x="212" y="69"/>
                  </a:cubicBezTo>
                  <a:cubicBezTo>
                    <a:pt x="212" y="69"/>
                    <a:pt x="212" y="69"/>
                    <a:pt x="212" y="69"/>
                  </a:cubicBezTo>
                  <a:cubicBezTo>
                    <a:pt x="210" y="70"/>
                    <a:pt x="208" y="70"/>
                    <a:pt x="205" y="71"/>
                  </a:cubicBezTo>
                  <a:cubicBezTo>
                    <a:pt x="205" y="71"/>
                    <a:pt x="205" y="71"/>
                    <a:pt x="205" y="71"/>
                  </a:cubicBezTo>
                  <a:cubicBezTo>
                    <a:pt x="198" y="70"/>
                    <a:pt x="198" y="70"/>
                    <a:pt x="198" y="70"/>
                  </a:cubicBezTo>
                  <a:cubicBezTo>
                    <a:pt x="195" y="70"/>
                    <a:pt x="193" y="70"/>
                    <a:pt x="190" y="70"/>
                  </a:cubicBezTo>
                  <a:cubicBezTo>
                    <a:pt x="186" y="69"/>
                    <a:pt x="182" y="69"/>
                    <a:pt x="178" y="69"/>
                  </a:cubicBezTo>
                  <a:cubicBezTo>
                    <a:pt x="177" y="69"/>
                    <a:pt x="176" y="69"/>
                    <a:pt x="175" y="69"/>
                  </a:cubicBezTo>
                  <a:cubicBezTo>
                    <a:pt x="170" y="69"/>
                    <a:pt x="166" y="70"/>
                    <a:pt x="160" y="71"/>
                  </a:cubicBezTo>
                  <a:cubicBezTo>
                    <a:pt x="157" y="72"/>
                    <a:pt x="153" y="73"/>
                    <a:pt x="149" y="73"/>
                  </a:cubicBezTo>
                  <a:cubicBezTo>
                    <a:pt x="149" y="73"/>
                    <a:pt x="149" y="73"/>
                    <a:pt x="148" y="73"/>
                  </a:cubicBezTo>
                  <a:cubicBezTo>
                    <a:pt x="147" y="73"/>
                    <a:pt x="146" y="73"/>
                    <a:pt x="145" y="73"/>
                  </a:cubicBezTo>
                  <a:cubicBezTo>
                    <a:pt x="145" y="73"/>
                    <a:pt x="145" y="73"/>
                    <a:pt x="145" y="73"/>
                  </a:cubicBezTo>
                  <a:cubicBezTo>
                    <a:pt x="144" y="72"/>
                    <a:pt x="143" y="72"/>
                    <a:pt x="142" y="71"/>
                  </a:cubicBezTo>
                  <a:cubicBezTo>
                    <a:pt x="141" y="70"/>
                    <a:pt x="141" y="70"/>
                    <a:pt x="141" y="70"/>
                  </a:cubicBezTo>
                  <a:cubicBezTo>
                    <a:pt x="141" y="70"/>
                    <a:pt x="140" y="69"/>
                    <a:pt x="139" y="69"/>
                  </a:cubicBezTo>
                  <a:cubicBezTo>
                    <a:pt x="138" y="67"/>
                    <a:pt x="138" y="67"/>
                    <a:pt x="138" y="67"/>
                  </a:cubicBezTo>
                  <a:cubicBezTo>
                    <a:pt x="138" y="67"/>
                    <a:pt x="138" y="67"/>
                    <a:pt x="137" y="66"/>
                  </a:cubicBezTo>
                  <a:cubicBezTo>
                    <a:pt x="134" y="63"/>
                    <a:pt x="131" y="60"/>
                    <a:pt x="128" y="57"/>
                  </a:cubicBezTo>
                  <a:cubicBezTo>
                    <a:pt x="128" y="57"/>
                    <a:pt x="123" y="52"/>
                    <a:pt x="121" y="47"/>
                  </a:cubicBezTo>
                  <a:cubicBezTo>
                    <a:pt x="119" y="45"/>
                    <a:pt x="106" y="37"/>
                    <a:pt x="101" y="34"/>
                  </a:cubicBezTo>
                  <a:cubicBezTo>
                    <a:pt x="99" y="33"/>
                    <a:pt x="99" y="33"/>
                    <a:pt x="99" y="33"/>
                  </a:cubicBezTo>
                  <a:cubicBezTo>
                    <a:pt x="99" y="37"/>
                    <a:pt x="99" y="41"/>
                    <a:pt x="99" y="44"/>
                  </a:cubicBezTo>
                  <a:cubicBezTo>
                    <a:pt x="98" y="46"/>
                    <a:pt x="98" y="47"/>
                    <a:pt x="97" y="48"/>
                  </a:cubicBezTo>
                  <a:cubicBezTo>
                    <a:pt x="96" y="49"/>
                    <a:pt x="93" y="50"/>
                    <a:pt x="93" y="50"/>
                  </a:cubicBezTo>
                  <a:cubicBezTo>
                    <a:pt x="92" y="51"/>
                    <a:pt x="94" y="54"/>
                    <a:pt x="93" y="54"/>
                  </a:cubicBezTo>
                  <a:cubicBezTo>
                    <a:pt x="93" y="54"/>
                    <a:pt x="93" y="54"/>
                    <a:pt x="93" y="54"/>
                  </a:cubicBezTo>
                  <a:cubicBezTo>
                    <a:pt x="92" y="54"/>
                    <a:pt x="92" y="52"/>
                    <a:pt x="91" y="52"/>
                  </a:cubicBezTo>
                  <a:cubicBezTo>
                    <a:pt x="91" y="52"/>
                    <a:pt x="91" y="52"/>
                    <a:pt x="90" y="52"/>
                  </a:cubicBezTo>
                  <a:cubicBezTo>
                    <a:pt x="90" y="52"/>
                    <a:pt x="89" y="52"/>
                    <a:pt x="89" y="53"/>
                  </a:cubicBezTo>
                  <a:cubicBezTo>
                    <a:pt x="88" y="53"/>
                    <a:pt x="87" y="53"/>
                    <a:pt x="86" y="53"/>
                  </a:cubicBezTo>
                  <a:cubicBezTo>
                    <a:pt x="86" y="53"/>
                    <a:pt x="86" y="53"/>
                    <a:pt x="86" y="53"/>
                  </a:cubicBezTo>
                  <a:cubicBezTo>
                    <a:pt x="83" y="53"/>
                    <a:pt x="84" y="50"/>
                    <a:pt x="83" y="49"/>
                  </a:cubicBezTo>
                  <a:cubicBezTo>
                    <a:pt x="79" y="46"/>
                    <a:pt x="77" y="42"/>
                    <a:pt x="76" y="38"/>
                  </a:cubicBezTo>
                  <a:cubicBezTo>
                    <a:pt x="75" y="32"/>
                    <a:pt x="79" y="27"/>
                    <a:pt x="82" y="22"/>
                  </a:cubicBezTo>
                  <a:cubicBezTo>
                    <a:pt x="82" y="22"/>
                    <a:pt x="82" y="22"/>
                    <a:pt x="82" y="22"/>
                  </a:cubicBezTo>
                  <a:cubicBezTo>
                    <a:pt x="83" y="20"/>
                    <a:pt x="83" y="20"/>
                    <a:pt x="83" y="20"/>
                  </a:cubicBezTo>
                  <a:cubicBezTo>
                    <a:pt x="83" y="20"/>
                    <a:pt x="83" y="20"/>
                    <a:pt x="83" y="20"/>
                  </a:cubicBezTo>
                  <a:cubicBezTo>
                    <a:pt x="87" y="23"/>
                    <a:pt x="92" y="25"/>
                    <a:pt x="96" y="28"/>
                  </a:cubicBezTo>
                  <a:cubicBezTo>
                    <a:pt x="92" y="25"/>
                    <a:pt x="87" y="23"/>
                    <a:pt x="83" y="20"/>
                  </a:cubicBezTo>
                  <a:cubicBezTo>
                    <a:pt x="83" y="20"/>
                    <a:pt x="83" y="19"/>
                    <a:pt x="83" y="19"/>
                  </a:cubicBezTo>
                  <a:cubicBezTo>
                    <a:pt x="83" y="18"/>
                    <a:pt x="83" y="18"/>
                    <a:pt x="83" y="18"/>
                  </a:cubicBezTo>
                  <a:cubicBezTo>
                    <a:pt x="83" y="18"/>
                    <a:pt x="83" y="18"/>
                    <a:pt x="83" y="18"/>
                  </a:cubicBezTo>
                  <a:cubicBezTo>
                    <a:pt x="83" y="18"/>
                    <a:pt x="83" y="17"/>
                    <a:pt x="83" y="16"/>
                  </a:cubicBezTo>
                  <a:cubicBezTo>
                    <a:pt x="82" y="17"/>
                    <a:pt x="82" y="17"/>
                    <a:pt x="82" y="17"/>
                  </a:cubicBezTo>
                  <a:cubicBezTo>
                    <a:pt x="81" y="16"/>
                    <a:pt x="81" y="14"/>
                    <a:pt x="81" y="12"/>
                  </a:cubicBezTo>
                  <a:cubicBezTo>
                    <a:pt x="81" y="10"/>
                    <a:pt x="81" y="8"/>
                    <a:pt x="81" y="8"/>
                  </a:cubicBezTo>
                  <a:cubicBezTo>
                    <a:pt x="80" y="8"/>
                    <a:pt x="80" y="8"/>
                    <a:pt x="79" y="9"/>
                  </a:cubicBezTo>
                  <a:cubicBezTo>
                    <a:pt x="79" y="8"/>
                    <a:pt x="79" y="7"/>
                    <a:pt x="79" y="6"/>
                  </a:cubicBezTo>
                  <a:cubicBezTo>
                    <a:pt x="78" y="5"/>
                    <a:pt x="77" y="6"/>
                    <a:pt x="77" y="5"/>
                  </a:cubicBezTo>
                  <a:cubicBezTo>
                    <a:pt x="76" y="4"/>
                    <a:pt x="76" y="2"/>
                    <a:pt x="75" y="1"/>
                  </a:cubicBezTo>
                  <a:cubicBezTo>
                    <a:pt x="75" y="0"/>
                    <a:pt x="74" y="0"/>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538"/>
            <p:cNvSpPr/>
            <p:nvPr/>
          </p:nvSpPr>
          <p:spPr bwMode="auto">
            <a:xfrm>
              <a:off x="4505090" y="1371331"/>
              <a:ext cx="2491498" cy="1015403"/>
            </a:xfrm>
            <a:custGeom>
              <a:gdLst>
                <a:gd name="T0" fmla="*/ 259 w 785"/>
                <a:gd name="T1" fmla="*/ 12 h 320"/>
                <a:gd name="T2" fmla="*/ 250 w 785"/>
                <a:gd name="T3" fmla="*/ 28 h 320"/>
                <a:gd name="T4" fmla="*/ 258 w 785"/>
                <a:gd name="T5" fmla="*/ 56 h 320"/>
                <a:gd name="T6" fmla="*/ 241 w 785"/>
                <a:gd name="T7" fmla="*/ 71 h 320"/>
                <a:gd name="T8" fmla="*/ 212 w 785"/>
                <a:gd name="T9" fmla="*/ 71 h 320"/>
                <a:gd name="T10" fmla="*/ 190 w 785"/>
                <a:gd name="T11" fmla="*/ 70 h 320"/>
                <a:gd name="T12" fmla="*/ 158 w 785"/>
                <a:gd name="T13" fmla="*/ 56 h 320"/>
                <a:gd name="T14" fmla="*/ 129 w 785"/>
                <a:gd name="T15" fmla="*/ 46 h 320"/>
                <a:gd name="T16" fmla="*/ 111 w 785"/>
                <a:gd name="T17" fmla="*/ 41 h 320"/>
                <a:gd name="T18" fmla="*/ 91 w 785"/>
                <a:gd name="T19" fmla="*/ 49 h 320"/>
                <a:gd name="T20" fmla="*/ 48 w 785"/>
                <a:gd name="T21" fmla="*/ 75 h 320"/>
                <a:gd name="T22" fmla="*/ 11 w 785"/>
                <a:gd name="T23" fmla="*/ 85 h 320"/>
                <a:gd name="T24" fmla="*/ 9 w 785"/>
                <a:gd name="T25" fmla="*/ 91 h 320"/>
                <a:gd name="T26" fmla="*/ 2 w 785"/>
                <a:gd name="T27" fmla="*/ 102 h 320"/>
                <a:gd name="T28" fmla="*/ 20 w 785"/>
                <a:gd name="T29" fmla="*/ 118 h 320"/>
                <a:gd name="T30" fmla="*/ 43 w 785"/>
                <a:gd name="T31" fmla="*/ 127 h 320"/>
                <a:gd name="T32" fmla="*/ 66 w 785"/>
                <a:gd name="T33" fmla="*/ 146 h 320"/>
                <a:gd name="T34" fmla="*/ 80 w 785"/>
                <a:gd name="T35" fmla="*/ 189 h 320"/>
                <a:gd name="T36" fmla="*/ 77 w 785"/>
                <a:gd name="T37" fmla="*/ 213 h 320"/>
                <a:gd name="T38" fmla="*/ 162 w 785"/>
                <a:gd name="T39" fmla="*/ 234 h 320"/>
                <a:gd name="T40" fmla="*/ 188 w 785"/>
                <a:gd name="T41" fmla="*/ 245 h 320"/>
                <a:gd name="T42" fmla="*/ 208 w 785"/>
                <a:gd name="T43" fmla="*/ 282 h 320"/>
                <a:gd name="T44" fmla="*/ 227 w 785"/>
                <a:gd name="T45" fmla="*/ 286 h 320"/>
                <a:gd name="T46" fmla="*/ 288 w 785"/>
                <a:gd name="T47" fmla="*/ 291 h 320"/>
                <a:gd name="T48" fmla="*/ 343 w 785"/>
                <a:gd name="T49" fmla="*/ 296 h 320"/>
                <a:gd name="T50" fmla="*/ 389 w 785"/>
                <a:gd name="T51" fmla="*/ 314 h 320"/>
                <a:gd name="T52" fmla="*/ 410 w 785"/>
                <a:gd name="T53" fmla="*/ 316 h 320"/>
                <a:gd name="T54" fmla="*/ 420 w 785"/>
                <a:gd name="T55" fmla="*/ 320 h 320"/>
                <a:gd name="T56" fmla="*/ 462 w 785"/>
                <a:gd name="T57" fmla="*/ 301 h 320"/>
                <a:gd name="T58" fmla="*/ 515 w 785"/>
                <a:gd name="T59" fmla="*/ 296 h 320"/>
                <a:gd name="T60" fmla="*/ 556 w 785"/>
                <a:gd name="T61" fmla="*/ 283 h 320"/>
                <a:gd name="T62" fmla="*/ 589 w 785"/>
                <a:gd name="T63" fmla="*/ 258 h 320"/>
                <a:gd name="T64" fmla="*/ 582 w 785"/>
                <a:gd name="T65" fmla="*/ 227 h 320"/>
                <a:gd name="T66" fmla="*/ 627 w 785"/>
                <a:gd name="T67" fmla="*/ 226 h 320"/>
                <a:gd name="T68" fmla="*/ 649 w 785"/>
                <a:gd name="T69" fmla="*/ 209 h 320"/>
                <a:gd name="T70" fmla="*/ 663 w 785"/>
                <a:gd name="T71" fmla="*/ 205 h 320"/>
                <a:gd name="T72" fmla="*/ 690 w 785"/>
                <a:gd name="T73" fmla="*/ 201 h 320"/>
                <a:gd name="T74" fmla="*/ 717 w 785"/>
                <a:gd name="T75" fmla="*/ 177 h 320"/>
                <a:gd name="T76" fmla="*/ 773 w 785"/>
                <a:gd name="T77" fmla="*/ 167 h 320"/>
                <a:gd name="T78" fmla="*/ 766 w 785"/>
                <a:gd name="T79" fmla="*/ 142 h 320"/>
                <a:gd name="T80" fmla="*/ 752 w 785"/>
                <a:gd name="T81" fmla="*/ 133 h 320"/>
                <a:gd name="T82" fmla="*/ 726 w 785"/>
                <a:gd name="T83" fmla="*/ 143 h 320"/>
                <a:gd name="T84" fmla="*/ 691 w 785"/>
                <a:gd name="T85" fmla="*/ 142 h 320"/>
                <a:gd name="T86" fmla="*/ 683 w 785"/>
                <a:gd name="T87" fmla="*/ 120 h 320"/>
                <a:gd name="T88" fmla="*/ 704 w 785"/>
                <a:gd name="T89" fmla="*/ 71 h 320"/>
                <a:gd name="T90" fmla="*/ 677 w 785"/>
                <a:gd name="T91" fmla="*/ 70 h 320"/>
                <a:gd name="T92" fmla="*/ 640 w 785"/>
                <a:gd name="T93" fmla="*/ 64 h 320"/>
                <a:gd name="T94" fmla="*/ 563 w 785"/>
                <a:gd name="T95" fmla="*/ 95 h 320"/>
                <a:gd name="T96" fmla="*/ 508 w 785"/>
                <a:gd name="T97" fmla="*/ 90 h 320"/>
                <a:gd name="T98" fmla="*/ 485 w 785"/>
                <a:gd name="T99" fmla="*/ 69 h 320"/>
                <a:gd name="T100" fmla="*/ 450 w 785"/>
                <a:gd name="T101" fmla="*/ 58 h 320"/>
                <a:gd name="T102" fmla="*/ 409 w 785"/>
                <a:gd name="T103" fmla="*/ 58 h 320"/>
                <a:gd name="T104" fmla="*/ 357 w 785"/>
                <a:gd name="T105" fmla="*/ 52 h 320"/>
                <a:gd name="T106" fmla="*/ 349 w 785"/>
                <a:gd name="T107" fmla="*/ 31 h 320"/>
                <a:gd name="T108" fmla="*/ 313 w 785"/>
                <a:gd name="T109" fmla="*/ 13 h 320"/>
                <a:gd name="T110" fmla="*/ 274 w 785"/>
                <a:gd name="T111" fmla="*/ 0 h 3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5" h="320">
                  <a:moveTo>
                    <a:pt x="272" y="0"/>
                  </a:moveTo>
                  <a:cubicBezTo>
                    <a:pt x="268" y="4"/>
                    <a:pt x="268" y="4"/>
                    <a:pt x="268" y="4"/>
                  </a:cubicBezTo>
                  <a:cubicBezTo>
                    <a:pt x="266" y="6"/>
                    <a:pt x="264" y="8"/>
                    <a:pt x="262" y="10"/>
                  </a:cubicBezTo>
                  <a:cubicBezTo>
                    <a:pt x="261" y="10"/>
                    <a:pt x="261" y="10"/>
                    <a:pt x="261" y="10"/>
                  </a:cubicBezTo>
                  <a:cubicBezTo>
                    <a:pt x="261" y="10"/>
                    <a:pt x="260" y="11"/>
                    <a:pt x="260" y="11"/>
                  </a:cubicBezTo>
                  <a:cubicBezTo>
                    <a:pt x="260" y="11"/>
                    <a:pt x="260" y="11"/>
                    <a:pt x="260" y="11"/>
                  </a:cubicBezTo>
                  <a:cubicBezTo>
                    <a:pt x="260" y="12"/>
                    <a:pt x="260" y="12"/>
                    <a:pt x="260" y="12"/>
                  </a:cubicBezTo>
                  <a:cubicBezTo>
                    <a:pt x="259" y="12"/>
                    <a:pt x="259" y="12"/>
                    <a:pt x="259" y="12"/>
                  </a:cubicBezTo>
                  <a:cubicBezTo>
                    <a:pt x="259" y="12"/>
                    <a:pt x="259" y="12"/>
                    <a:pt x="259" y="12"/>
                  </a:cubicBezTo>
                  <a:cubicBezTo>
                    <a:pt x="259" y="13"/>
                    <a:pt x="259" y="13"/>
                    <a:pt x="259" y="13"/>
                  </a:cubicBezTo>
                  <a:cubicBezTo>
                    <a:pt x="259" y="13"/>
                    <a:pt x="258" y="14"/>
                    <a:pt x="258" y="15"/>
                  </a:cubicBezTo>
                  <a:cubicBezTo>
                    <a:pt x="258" y="17"/>
                    <a:pt x="257" y="20"/>
                    <a:pt x="253" y="21"/>
                  </a:cubicBezTo>
                  <a:cubicBezTo>
                    <a:pt x="252" y="21"/>
                    <a:pt x="252" y="21"/>
                    <a:pt x="252" y="21"/>
                  </a:cubicBezTo>
                  <a:cubicBezTo>
                    <a:pt x="252" y="22"/>
                    <a:pt x="251" y="24"/>
                    <a:pt x="251" y="26"/>
                  </a:cubicBezTo>
                  <a:cubicBezTo>
                    <a:pt x="250" y="26"/>
                    <a:pt x="250" y="26"/>
                    <a:pt x="250" y="26"/>
                  </a:cubicBezTo>
                  <a:cubicBezTo>
                    <a:pt x="250" y="27"/>
                    <a:pt x="250" y="27"/>
                    <a:pt x="250" y="28"/>
                  </a:cubicBezTo>
                  <a:cubicBezTo>
                    <a:pt x="250" y="28"/>
                    <a:pt x="250" y="29"/>
                    <a:pt x="250" y="30"/>
                  </a:cubicBezTo>
                  <a:cubicBezTo>
                    <a:pt x="249" y="30"/>
                    <a:pt x="249" y="31"/>
                    <a:pt x="249" y="32"/>
                  </a:cubicBezTo>
                  <a:cubicBezTo>
                    <a:pt x="249" y="32"/>
                    <a:pt x="249" y="32"/>
                    <a:pt x="249" y="32"/>
                  </a:cubicBezTo>
                  <a:cubicBezTo>
                    <a:pt x="249" y="34"/>
                    <a:pt x="250" y="37"/>
                    <a:pt x="251" y="39"/>
                  </a:cubicBezTo>
                  <a:cubicBezTo>
                    <a:pt x="251" y="41"/>
                    <a:pt x="252" y="42"/>
                    <a:pt x="253" y="43"/>
                  </a:cubicBezTo>
                  <a:cubicBezTo>
                    <a:pt x="254" y="44"/>
                    <a:pt x="255" y="44"/>
                    <a:pt x="255" y="45"/>
                  </a:cubicBezTo>
                  <a:cubicBezTo>
                    <a:pt x="258" y="46"/>
                    <a:pt x="260" y="47"/>
                    <a:pt x="259" y="53"/>
                  </a:cubicBezTo>
                  <a:cubicBezTo>
                    <a:pt x="258" y="54"/>
                    <a:pt x="258" y="55"/>
                    <a:pt x="258" y="56"/>
                  </a:cubicBezTo>
                  <a:cubicBezTo>
                    <a:pt x="256" y="62"/>
                    <a:pt x="256" y="62"/>
                    <a:pt x="256" y="62"/>
                  </a:cubicBezTo>
                  <a:cubicBezTo>
                    <a:pt x="256" y="62"/>
                    <a:pt x="256" y="63"/>
                    <a:pt x="255" y="63"/>
                  </a:cubicBezTo>
                  <a:cubicBezTo>
                    <a:pt x="253" y="67"/>
                    <a:pt x="249" y="68"/>
                    <a:pt x="246" y="69"/>
                  </a:cubicBezTo>
                  <a:cubicBezTo>
                    <a:pt x="245" y="69"/>
                    <a:pt x="244" y="69"/>
                    <a:pt x="244" y="70"/>
                  </a:cubicBezTo>
                  <a:cubicBezTo>
                    <a:pt x="243" y="70"/>
                    <a:pt x="243" y="70"/>
                    <a:pt x="242" y="70"/>
                  </a:cubicBezTo>
                  <a:cubicBezTo>
                    <a:pt x="242" y="70"/>
                    <a:pt x="242" y="70"/>
                    <a:pt x="242" y="70"/>
                  </a:cubicBezTo>
                  <a:cubicBezTo>
                    <a:pt x="242" y="70"/>
                    <a:pt x="242" y="70"/>
                    <a:pt x="242" y="70"/>
                  </a:cubicBezTo>
                  <a:cubicBezTo>
                    <a:pt x="241" y="71"/>
                    <a:pt x="241" y="71"/>
                    <a:pt x="241" y="71"/>
                  </a:cubicBezTo>
                  <a:cubicBezTo>
                    <a:pt x="241" y="71"/>
                    <a:pt x="240" y="71"/>
                    <a:pt x="240" y="72"/>
                  </a:cubicBezTo>
                  <a:cubicBezTo>
                    <a:pt x="239" y="73"/>
                    <a:pt x="238" y="75"/>
                    <a:pt x="236" y="76"/>
                  </a:cubicBezTo>
                  <a:cubicBezTo>
                    <a:pt x="234" y="76"/>
                    <a:pt x="233" y="77"/>
                    <a:pt x="232" y="77"/>
                  </a:cubicBezTo>
                  <a:cubicBezTo>
                    <a:pt x="230" y="77"/>
                    <a:pt x="228" y="76"/>
                    <a:pt x="226" y="75"/>
                  </a:cubicBezTo>
                  <a:cubicBezTo>
                    <a:pt x="225" y="74"/>
                    <a:pt x="224" y="74"/>
                    <a:pt x="223" y="74"/>
                  </a:cubicBezTo>
                  <a:cubicBezTo>
                    <a:pt x="221" y="73"/>
                    <a:pt x="220" y="73"/>
                    <a:pt x="218" y="73"/>
                  </a:cubicBezTo>
                  <a:cubicBezTo>
                    <a:pt x="213" y="72"/>
                    <a:pt x="213" y="72"/>
                    <a:pt x="213" y="72"/>
                  </a:cubicBezTo>
                  <a:cubicBezTo>
                    <a:pt x="212" y="71"/>
                    <a:pt x="212" y="71"/>
                    <a:pt x="212" y="71"/>
                  </a:cubicBezTo>
                  <a:cubicBezTo>
                    <a:pt x="211" y="71"/>
                    <a:pt x="211" y="71"/>
                    <a:pt x="211" y="71"/>
                  </a:cubicBezTo>
                  <a:cubicBezTo>
                    <a:pt x="210" y="71"/>
                    <a:pt x="208" y="70"/>
                    <a:pt x="207" y="70"/>
                  </a:cubicBezTo>
                  <a:cubicBezTo>
                    <a:pt x="206" y="70"/>
                    <a:pt x="206" y="70"/>
                    <a:pt x="206" y="70"/>
                  </a:cubicBezTo>
                  <a:cubicBezTo>
                    <a:pt x="205" y="69"/>
                    <a:pt x="203" y="69"/>
                    <a:pt x="202" y="69"/>
                  </a:cubicBezTo>
                  <a:cubicBezTo>
                    <a:pt x="201" y="68"/>
                    <a:pt x="200" y="68"/>
                    <a:pt x="199" y="68"/>
                  </a:cubicBezTo>
                  <a:cubicBezTo>
                    <a:pt x="199" y="68"/>
                    <a:pt x="198" y="68"/>
                    <a:pt x="197" y="68"/>
                  </a:cubicBezTo>
                  <a:cubicBezTo>
                    <a:pt x="196" y="68"/>
                    <a:pt x="194" y="69"/>
                    <a:pt x="192" y="70"/>
                  </a:cubicBezTo>
                  <a:cubicBezTo>
                    <a:pt x="190" y="70"/>
                    <a:pt x="190" y="70"/>
                    <a:pt x="190" y="70"/>
                  </a:cubicBezTo>
                  <a:cubicBezTo>
                    <a:pt x="190" y="71"/>
                    <a:pt x="189" y="71"/>
                    <a:pt x="189" y="71"/>
                  </a:cubicBezTo>
                  <a:cubicBezTo>
                    <a:pt x="188" y="71"/>
                    <a:pt x="187" y="71"/>
                    <a:pt x="186" y="71"/>
                  </a:cubicBezTo>
                  <a:cubicBezTo>
                    <a:pt x="186" y="71"/>
                    <a:pt x="185" y="71"/>
                    <a:pt x="185" y="71"/>
                  </a:cubicBezTo>
                  <a:cubicBezTo>
                    <a:pt x="184" y="71"/>
                    <a:pt x="184" y="71"/>
                    <a:pt x="183" y="71"/>
                  </a:cubicBezTo>
                  <a:cubicBezTo>
                    <a:pt x="169" y="68"/>
                    <a:pt x="169" y="68"/>
                    <a:pt x="169" y="68"/>
                  </a:cubicBezTo>
                  <a:cubicBezTo>
                    <a:pt x="164" y="67"/>
                    <a:pt x="163" y="66"/>
                    <a:pt x="160" y="62"/>
                  </a:cubicBezTo>
                  <a:cubicBezTo>
                    <a:pt x="160" y="61"/>
                    <a:pt x="160" y="61"/>
                    <a:pt x="160" y="61"/>
                  </a:cubicBezTo>
                  <a:cubicBezTo>
                    <a:pt x="159" y="60"/>
                    <a:pt x="158" y="58"/>
                    <a:pt x="158" y="56"/>
                  </a:cubicBezTo>
                  <a:cubicBezTo>
                    <a:pt x="158" y="56"/>
                    <a:pt x="158" y="56"/>
                    <a:pt x="158" y="56"/>
                  </a:cubicBezTo>
                  <a:cubicBezTo>
                    <a:pt x="157" y="54"/>
                    <a:pt x="156" y="52"/>
                    <a:pt x="155" y="50"/>
                  </a:cubicBezTo>
                  <a:cubicBezTo>
                    <a:pt x="155" y="50"/>
                    <a:pt x="155" y="50"/>
                    <a:pt x="155" y="50"/>
                  </a:cubicBezTo>
                  <a:cubicBezTo>
                    <a:pt x="155" y="50"/>
                    <a:pt x="154" y="50"/>
                    <a:pt x="154" y="50"/>
                  </a:cubicBezTo>
                  <a:cubicBezTo>
                    <a:pt x="143" y="49"/>
                    <a:pt x="143" y="49"/>
                    <a:pt x="143" y="49"/>
                  </a:cubicBezTo>
                  <a:cubicBezTo>
                    <a:pt x="140" y="49"/>
                    <a:pt x="137" y="48"/>
                    <a:pt x="134" y="48"/>
                  </a:cubicBezTo>
                  <a:cubicBezTo>
                    <a:pt x="134" y="48"/>
                    <a:pt x="133" y="47"/>
                    <a:pt x="132" y="47"/>
                  </a:cubicBezTo>
                  <a:cubicBezTo>
                    <a:pt x="131" y="47"/>
                    <a:pt x="130" y="47"/>
                    <a:pt x="129" y="46"/>
                  </a:cubicBezTo>
                  <a:cubicBezTo>
                    <a:pt x="128" y="46"/>
                    <a:pt x="127" y="45"/>
                    <a:pt x="126" y="44"/>
                  </a:cubicBezTo>
                  <a:cubicBezTo>
                    <a:pt x="125" y="44"/>
                    <a:pt x="124" y="43"/>
                    <a:pt x="124" y="43"/>
                  </a:cubicBezTo>
                  <a:cubicBezTo>
                    <a:pt x="123" y="43"/>
                    <a:pt x="123" y="43"/>
                    <a:pt x="123" y="43"/>
                  </a:cubicBezTo>
                  <a:cubicBezTo>
                    <a:pt x="120" y="43"/>
                    <a:pt x="120" y="43"/>
                    <a:pt x="120" y="43"/>
                  </a:cubicBezTo>
                  <a:cubicBezTo>
                    <a:pt x="119" y="43"/>
                    <a:pt x="118" y="42"/>
                    <a:pt x="116" y="42"/>
                  </a:cubicBezTo>
                  <a:cubicBezTo>
                    <a:pt x="116" y="42"/>
                    <a:pt x="116" y="42"/>
                    <a:pt x="116" y="42"/>
                  </a:cubicBezTo>
                  <a:cubicBezTo>
                    <a:pt x="115" y="42"/>
                    <a:pt x="114" y="42"/>
                    <a:pt x="114" y="42"/>
                  </a:cubicBezTo>
                  <a:cubicBezTo>
                    <a:pt x="113" y="42"/>
                    <a:pt x="112" y="42"/>
                    <a:pt x="111" y="41"/>
                  </a:cubicBezTo>
                  <a:cubicBezTo>
                    <a:pt x="111" y="42"/>
                    <a:pt x="111" y="42"/>
                    <a:pt x="111" y="42"/>
                  </a:cubicBezTo>
                  <a:cubicBezTo>
                    <a:pt x="111" y="43"/>
                    <a:pt x="110" y="44"/>
                    <a:pt x="109" y="45"/>
                  </a:cubicBezTo>
                  <a:cubicBezTo>
                    <a:pt x="108" y="45"/>
                    <a:pt x="108" y="45"/>
                    <a:pt x="108" y="45"/>
                  </a:cubicBezTo>
                  <a:cubicBezTo>
                    <a:pt x="107" y="46"/>
                    <a:pt x="106" y="46"/>
                    <a:pt x="105" y="46"/>
                  </a:cubicBezTo>
                  <a:cubicBezTo>
                    <a:pt x="103" y="46"/>
                    <a:pt x="102" y="46"/>
                    <a:pt x="101" y="47"/>
                  </a:cubicBezTo>
                  <a:cubicBezTo>
                    <a:pt x="99" y="47"/>
                    <a:pt x="99" y="47"/>
                    <a:pt x="99" y="47"/>
                  </a:cubicBezTo>
                  <a:cubicBezTo>
                    <a:pt x="97" y="47"/>
                    <a:pt x="95" y="47"/>
                    <a:pt x="94" y="47"/>
                  </a:cubicBezTo>
                  <a:cubicBezTo>
                    <a:pt x="91" y="49"/>
                    <a:pt x="91" y="49"/>
                    <a:pt x="91" y="49"/>
                  </a:cubicBezTo>
                  <a:cubicBezTo>
                    <a:pt x="88" y="50"/>
                    <a:pt x="86" y="51"/>
                    <a:pt x="84" y="52"/>
                  </a:cubicBezTo>
                  <a:cubicBezTo>
                    <a:pt x="75" y="57"/>
                    <a:pt x="75" y="57"/>
                    <a:pt x="75" y="57"/>
                  </a:cubicBezTo>
                  <a:cubicBezTo>
                    <a:pt x="71" y="59"/>
                    <a:pt x="66" y="61"/>
                    <a:pt x="62" y="63"/>
                  </a:cubicBezTo>
                  <a:cubicBezTo>
                    <a:pt x="61" y="64"/>
                    <a:pt x="61" y="64"/>
                    <a:pt x="60" y="65"/>
                  </a:cubicBezTo>
                  <a:cubicBezTo>
                    <a:pt x="57" y="66"/>
                    <a:pt x="57" y="66"/>
                    <a:pt x="57" y="66"/>
                  </a:cubicBezTo>
                  <a:cubicBezTo>
                    <a:pt x="56" y="67"/>
                    <a:pt x="55" y="67"/>
                    <a:pt x="54" y="68"/>
                  </a:cubicBezTo>
                  <a:cubicBezTo>
                    <a:pt x="47" y="72"/>
                    <a:pt x="47" y="72"/>
                    <a:pt x="47" y="72"/>
                  </a:cubicBezTo>
                  <a:cubicBezTo>
                    <a:pt x="48" y="73"/>
                    <a:pt x="48" y="74"/>
                    <a:pt x="48" y="75"/>
                  </a:cubicBezTo>
                  <a:cubicBezTo>
                    <a:pt x="47" y="77"/>
                    <a:pt x="45" y="78"/>
                    <a:pt x="43" y="79"/>
                  </a:cubicBezTo>
                  <a:cubicBezTo>
                    <a:pt x="37" y="82"/>
                    <a:pt x="32" y="83"/>
                    <a:pt x="27" y="84"/>
                  </a:cubicBezTo>
                  <a:cubicBezTo>
                    <a:pt x="21" y="84"/>
                    <a:pt x="21" y="84"/>
                    <a:pt x="21" y="84"/>
                  </a:cubicBezTo>
                  <a:cubicBezTo>
                    <a:pt x="20" y="85"/>
                    <a:pt x="19" y="85"/>
                    <a:pt x="18" y="85"/>
                  </a:cubicBezTo>
                  <a:cubicBezTo>
                    <a:pt x="17" y="85"/>
                    <a:pt x="16" y="85"/>
                    <a:pt x="15" y="86"/>
                  </a:cubicBezTo>
                  <a:cubicBezTo>
                    <a:pt x="14" y="86"/>
                    <a:pt x="14" y="86"/>
                    <a:pt x="14" y="86"/>
                  </a:cubicBezTo>
                  <a:cubicBezTo>
                    <a:pt x="14" y="86"/>
                    <a:pt x="13" y="85"/>
                    <a:pt x="12" y="85"/>
                  </a:cubicBezTo>
                  <a:cubicBezTo>
                    <a:pt x="11" y="85"/>
                    <a:pt x="11" y="85"/>
                    <a:pt x="11" y="85"/>
                  </a:cubicBezTo>
                  <a:cubicBezTo>
                    <a:pt x="11" y="85"/>
                    <a:pt x="11" y="85"/>
                    <a:pt x="11" y="85"/>
                  </a:cubicBezTo>
                  <a:cubicBezTo>
                    <a:pt x="11" y="85"/>
                    <a:pt x="11" y="85"/>
                    <a:pt x="11" y="85"/>
                  </a:cubicBezTo>
                  <a:cubicBezTo>
                    <a:pt x="10" y="86"/>
                    <a:pt x="10" y="86"/>
                    <a:pt x="10" y="86"/>
                  </a:cubicBezTo>
                  <a:cubicBezTo>
                    <a:pt x="10" y="87"/>
                    <a:pt x="10" y="87"/>
                    <a:pt x="10" y="87"/>
                  </a:cubicBezTo>
                  <a:cubicBezTo>
                    <a:pt x="11" y="91"/>
                    <a:pt x="11" y="91"/>
                    <a:pt x="11" y="91"/>
                  </a:cubicBezTo>
                  <a:cubicBezTo>
                    <a:pt x="10" y="89"/>
                    <a:pt x="10" y="89"/>
                    <a:pt x="10" y="89"/>
                  </a:cubicBezTo>
                  <a:cubicBezTo>
                    <a:pt x="10" y="89"/>
                    <a:pt x="10" y="89"/>
                    <a:pt x="10" y="89"/>
                  </a:cubicBezTo>
                  <a:cubicBezTo>
                    <a:pt x="9" y="91"/>
                    <a:pt x="9" y="91"/>
                    <a:pt x="9" y="91"/>
                  </a:cubicBezTo>
                  <a:cubicBezTo>
                    <a:pt x="6" y="92"/>
                    <a:pt x="6" y="92"/>
                    <a:pt x="6" y="92"/>
                  </a:cubicBezTo>
                  <a:cubicBezTo>
                    <a:pt x="3" y="94"/>
                    <a:pt x="3" y="94"/>
                    <a:pt x="3" y="94"/>
                  </a:cubicBezTo>
                  <a:cubicBezTo>
                    <a:pt x="3" y="95"/>
                    <a:pt x="3" y="95"/>
                    <a:pt x="3" y="95"/>
                  </a:cubicBezTo>
                  <a:cubicBezTo>
                    <a:pt x="2" y="95"/>
                    <a:pt x="2" y="95"/>
                    <a:pt x="2" y="95"/>
                  </a:cubicBezTo>
                  <a:cubicBezTo>
                    <a:pt x="2" y="97"/>
                    <a:pt x="1" y="98"/>
                    <a:pt x="1" y="99"/>
                  </a:cubicBezTo>
                  <a:cubicBezTo>
                    <a:pt x="0" y="100"/>
                    <a:pt x="0" y="101"/>
                    <a:pt x="0" y="101"/>
                  </a:cubicBezTo>
                  <a:cubicBezTo>
                    <a:pt x="1" y="102"/>
                    <a:pt x="1" y="102"/>
                    <a:pt x="1" y="102"/>
                  </a:cubicBezTo>
                  <a:cubicBezTo>
                    <a:pt x="1" y="102"/>
                    <a:pt x="1" y="102"/>
                    <a:pt x="2" y="102"/>
                  </a:cubicBezTo>
                  <a:cubicBezTo>
                    <a:pt x="4" y="103"/>
                    <a:pt x="7" y="104"/>
                    <a:pt x="8" y="107"/>
                  </a:cubicBezTo>
                  <a:cubicBezTo>
                    <a:pt x="8" y="108"/>
                    <a:pt x="7" y="109"/>
                    <a:pt x="7" y="110"/>
                  </a:cubicBezTo>
                  <a:cubicBezTo>
                    <a:pt x="7" y="110"/>
                    <a:pt x="7" y="110"/>
                    <a:pt x="7" y="110"/>
                  </a:cubicBezTo>
                  <a:cubicBezTo>
                    <a:pt x="8" y="110"/>
                    <a:pt x="8" y="110"/>
                    <a:pt x="8" y="110"/>
                  </a:cubicBezTo>
                  <a:cubicBezTo>
                    <a:pt x="8" y="112"/>
                    <a:pt x="8" y="112"/>
                    <a:pt x="8" y="112"/>
                  </a:cubicBezTo>
                  <a:cubicBezTo>
                    <a:pt x="8" y="110"/>
                    <a:pt x="8" y="110"/>
                    <a:pt x="8" y="110"/>
                  </a:cubicBezTo>
                  <a:cubicBezTo>
                    <a:pt x="10" y="111"/>
                    <a:pt x="11" y="111"/>
                    <a:pt x="12" y="112"/>
                  </a:cubicBezTo>
                  <a:cubicBezTo>
                    <a:pt x="15" y="113"/>
                    <a:pt x="18" y="115"/>
                    <a:pt x="20" y="118"/>
                  </a:cubicBezTo>
                  <a:cubicBezTo>
                    <a:pt x="22" y="121"/>
                    <a:pt x="24" y="122"/>
                    <a:pt x="27" y="124"/>
                  </a:cubicBezTo>
                  <a:cubicBezTo>
                    <a:pt x="28" y="125"/>
                    <a:pt x="28" y="125"/>
                    <a:pt x="28" y="125"/>
                  </a:cubicBezTo>
                  <a:cubicBezTo>
                    <a:pt x="29" y="125"/>
                    <a:pt x="29" y="125"/>
                    <a:pt x="29" y="125"/>
                  </a:cubicBezTo>
                  <a:cubicBezTo>
                    <a:pt x="29" y="126"/>
                    <a:pt x="30" y="126"/>
                    <a:pt x="30" y="126"/>
                  </a:cubicBezTo>
                  <a:cubicBezTo>
                    <a:pt x="31" y="126"/>
                    <a:pt x="31" y="126"/>
                    <a:pt x="32" y="126"/>
                  </a:cubicBezTo>
                  <a:cubicBezTo>
                    <a:pt x="33" y="126"/>
                    <a:pt x="34" y="126"/>
                    <a:pt x="35" y="126"/>
                  </a:cubicBezTo>
                  <a:cubicBezTo>
                    <a:pt x="36" y="126"/>
                    <a:pt x="37" y="125"/>
                    <a:pt x="38" y="125"/>
                  </a:cubicBezTo>
                  <a:cubicBezTo>
                    <a:pt x="40" y="125"/>
                    <a:pt x="42" y="126"/>
                    <a:pt x="43" y="127"/>
                  </a:cubicBezTo>
                  <a:cubicBezTo>
                    <a:pt x="44" y="128"/>
                    <a:pt x="44" y="128"/>
                    <a:pt x="44" y="128"/>
                  </a:cubicBezTo>
                  <a:cubicBezTo>
                    <a:pt x="47" y="131"/>
                    <a:pt x="48" y="131"/>
                    <a:pt x="50" y="131"/>
                  </a:cubicBezTo>
                  <a:cubicBezTo>
                    <a:pt x="50" y="131"/>
                    <a:pt x="51" y="131"/>
                    <a:pt x="51" y="131"/>
                  </a:cubicBezTo>
                  <a:cubicBezTo>
                    <a:pt x="52" y="131"/>
                    <a:pt x="52" y="131"/>
                    <a:pt x="52" y="131"/>
                  </a:cubicBezTo>
                  <a:cubicBezTo>
                    <a:pt x="56" y="131"/>
                    <a:pt x="58" y="134"/>
                    <a:pt x="60" y="136"/>
                  </a:cubicBezTo>
                  <a:cubicBezTo>
                    <a:pt x="61" y="136"/>
                    <a:pt x="61" y="136"/>
                    <a:pt x="61" y="136"/>
                  </a:cubicBezTo>
                  <a:cubicBezTo>
                    <a:pt x="61" y="137"/>
                    <a:pt x="62" y="137"/>
                    <a:pt x="62" y="138"/>
                  </a:cubicBezTo>
                  <a:cubicBezTo>
                    <a:pt x="64" y="140"/>
                    <a:pt x="65" y="143"/>
                    <a:pt x="66" y="146"/>
                  </a:cubicBezTo>
                  <a:cubicBezTo>
                    <a:pt x="67" y="147"/>
                    <a:pt x="67" y="147"/>
                    <a:pt x="67" y="147"/>
                  </a:cubicBezTo>
                  <a:cubicBezTo>
                    <a:pt x="67" y="149"/>
                    <a:pt x="68" y="151"/>
                    <a:pt x="70" y="153"/>
                  </a:cubicBezTo>
                  <a:cubicBezTo>
                    <a:pt x="79" y="167"/>
                    <a:pt x="79" y="167"/>
                    <a:pt x="79" y="167"/>
                  </a:cubicBezTo>
                  <a:cubicBezTo>
                    <a:pt x="81" y="170"/>
                    <a:pt x="80" y="173"/>
                    <a:pt x="80" y="175"/>
                  </a:cubicBezTo>
                  <a:cubicBezTo>
                    <a:pt x="80" y="176"/>
                    <a:pt x="80" y="176"/>
                    <a:pt x="80" y="176"/>
                  </a:cubicBezTo>
                  <a:cubicBezTo>
                    <a:pt x="80" y="180"/>
                    <a:pt x="80" y="184"/>
                    <a:pt x="80" y="187"/>
                  </a:cubicBezTo>
                  <a:cubicBezTo>
                    <a:pt x="80" y="188"/>
                    <a:pt x="80" y="188"/>
                    <a:pt x="80" y="188"/>
                  </a:cubicBezTo>
                  <a:cubicBezTo>
                    <a:pt x="80" y="188"/>
                    <a:pt x="80" y="189"/>
                    <a:pt x="80" y="189"/>
                  </a:cubicBezTo>
                  <a:cubicBezTo>
                    <a:pt x="80" y="190"/>
                    <a:pt x="80" y="191"/>
                    <a:pt x="80" y="192"/>
                  </a:cubicBezTo>
                  <a:cubicBezTo>
                    <a:pt x="79" y="192"/>
                    <a:pt x="79" y="193"/>
                    <a:pt x="79" y="194"/>
                  </a:cubicBezTo>
                  <a:cubicBezTo>
                    <a:pt x="78" y="196"/>
                    <a:pt x="77" y="197"/>
                    <a:pt x="76" y="198"/>
                  </a:cubicBezTo>
                  <a:cubicBezTo>
                    <a:pt x="75" y="200"/>
                    <a:pt x="75" y="200"/>
                    <a:pt x="75" y="200"/>
                  </a:cubicBezTo>
                  <a:cubicBezTo>
                    <a:pt x="75" y="201"/>
                    <a:pt x="74" y="202"/>
                    <a:pt x="74" y="203"/>
                  </a:cubicBezTo>
                  <a:cubicBezTo>
                    <a:pt x="72" y="205"/>
                    <a:pt x="72" y="206"/>
                    <a:pt x="72" y="207"/>
                  </a:cubicBezTo>
                  <a:cubicBezTo>
                    <a:pt x="73" y="209"/>
                    <a:pt x="74" y="211"/>
                    <a:pt x="76" y="212"/>
                  </a:cubicBezTo>
                  <a:cubicBezTo>
                    <a:pt x="77" y="213"/>
                    <a:pt x="77" y="213"/>
                    <a:pt x="77" y="213"/>
                  </a:cubicBezTo>
                  <a:cubicBezTo>
                    <a:pt x="77" y="213"/>
                    <a:pt x="77" y="213"/>
                    <a:pt x="77" y="213"/>
                  </a:cubicBezTo>
                  <a:cubicBezTo>
                    <a:pt x="80" y="214"/>
                    <a:pt x="84" y="215"/>
                    <a:pt x="87" y="215"/>
                  </a:cubicBezTo>
                  <a:cubicBezTo>
                    <a:pt x="92" y="215"/>
                    <a:pt x="97" y="216"/>
                    <a:pt x="102" y="216"/>
                  </a:cubicBezTo>
                  <a:cubicBezTo>
                    <a:pt x="111" y="217"/>
                    <a:pt x="121" y="218"/>
                    <a:pt x="130" y="219"/>
                  </a:cubicBezTo>
                  <a:cubicBezTo>
                    <a:pt x="134" y="219"/>
                    <a:pt x="134" y="219"/>
                    <a:pt x="134" y="219"/>
                  </a:cubicBezTo>
                  <a:cubicBezTo>
                    <a:pt x="136" y="219"/>
                    <a:pt x="139" y="220"/>
                    <a:pt x="142" y="221"/>
                  </a:cubicBezTo>
                  <a:cubicBezTo>
                    <a:pt x="159" y="231"/>
                    <a:pt x="159" y="231"/>
                    <a:pt x="159" y="231"/>
                  </a:cubicBezTo>
                  <a:cubicBezTo>
                    <a:pt x="160" y="232"/>
                    <a:pt x="161" y="233"/>
                    <a:pt x="162" y="234"/>
                  </a:cubicBezTo>
                  <a:cubicBezTo>
                    <a:pt x="166" y="236"/>
                    <a:pt x="170" y="239"/>
                    <a:pt x="175" y="240"/>
                  </a:cubicBezTo>
                  <a:cubicBezTo>
                    <a:pt x="176" y="241"/>
                    <a:pt x="177" y="241"/>
                    <a:pt x="178" y="241"/>
                  </a:cubicBezTo>
                  <a:cubicBezTo>
                    <a:pt x="179" y="241"/>
                    <a:pt x="181" y="241"/>
                    <a:pt x="182" y="241"/>
                  </a:cubicBezTo>
                  <a:cubicBezTo>
                    <a:pt x="189" y="240"/>
                    <a:pt x="189" y="240"/>
                    <a:pt x="189" y="240"/>
                  </a:cubicBezTo>
                  <a:cubicBezTo>
                    <a:pt x="188" y="244"/>
                    <a:pt x="188" y="244"/>
                    <a:pt x="188" y="244"/>
                  </a:cubicBezTo>
                  <a:cubicBezTo>
                    <a:pt x="188" y="245"/>
                    <a:pt x="187" y="246"/>
                    <a:pt x="187" y="247"/>
                  </a:cubicBezTo>
                  <a:cubicBezTo>
                    <a:pt x="187" y="248"/>
                    <a:pt x="186" y="248"/>
                    <a:pt x="186" y="249"/>
                  </a:cubicBezTo>
                  <a:cubicBezTo>
                    <a:pt x="188" y="245"/>
                    <a:pt x="188" y="245"/>
                    <a:pt x="188" y="245"/>
                  </a:cubicBezTo>
                  <a:cubicBezTo>
                    <a:pt x="188" y="250"/>
                    <a:pt x="188" y="250"/>
                    <a:pt x="188" y="250"/>
                  </a:cubicBezTo>
                  <a:cubicBezTo>
                    <a:pt x="188" y="250"/>
                    <a:pt x="188" y="250"/>
                    <a:pt x="188" y="250"/>
                  </a:cubicBezTo>
                  <a:cubicBezTo>
                    <a:pt x="190" y="250"/>
                    <a:pt x="191" y="252"/>
                    <a:pt x="192" y="253"/>
                  </a:cubicBezTo>
                  <a:cubicBezTo>
                    <a:pt x="193" y="256"/>
                    <a:pt x="193" y="256"/>
                    <a:pt x="193" y="256"/>
                  </a:cubicBezTo>
                  <a:cubicBezTo>
                    <a:pt x="193" y="257"/>
                    <a:pt x="193" y="257"/>
                    <a:pt x="194" y="258"/>
                  </a:cubicBezTo>
                  <a:cubicBezTo>
                    <a:pt x="199" y="271"/>
                    <a:pt x="199" y="271"/>
                    <a:pt x="199" y="271"/>
                  </a:cubicBezTo>
                  <a:cubicBezTo>
                    <a:pt x="200" y="274"/>
                    <a:pt x="203" y="277"/>
                    <a:pt x="205" y="279"/>
                  </a:cubicBezTo>
                  <a:cubicBezTo>
                    <a:pt x="206" y="280"/>
                    <a:pt x="207" y="281"/>
                    <a:pt x="208" y="282"/>
                  </a:cubicBezTo>
                  <a:cubicBezTo>
                    <a:pt x="209" y="283"/>
                    <a:pt x="209" y="283"/>
                    <a:pt x="209" y="283"/>
                  </a:cubicBezTo>
                  <a:cubicBezTo>
                    <a:pt x="209" y="283"/>
                    <a:pt x="209" y="283"/>
                    <a:pt x="209" y="283"/>
                  </a:cubicBezTo>
                  <a:cubicBezTo>
                    <a:pt x="209" y="283"/>
                    <a:pt x="210" y="284"/>
                    <a:pt x="210" y="284"/>
                  </a:cubicBezTo>
                  <a:cubicBezTo>
                    <a:pt x="211" y="285"/>
                    <a:pt x="211" y="286"/>
                    <a:pt x="211" y="287"/>
                  </a:cubicBezTo>
                  <a:cubicBezTo>
                    <a:pt x="211" y="287"/>
                    <a:pt x="211" y="287"/>
                    <a:pt x="211" y="287"/>
                  </a:cubicBezTo>
                  <a:cubicBezTo>
                    <a:pt x="216" y="286"/>
                    <a:pt x="216" y="286"/>
                    <a:pt x="216" y="286"/>
                  </a:cubicBezTo>
                  <a:cubicBezTo>
                    <a:pt x="219" y="286"/>
                    <a:pt x="221" y="286"/>
                    <a:pt x="224" y="286"/>
                  </a:cubicBezTo>
                  <a:cubicBezTo>
                    <a:pt x="225" y="286"/>
                    <a:pt x="226" y="286"/>
                    <a:pt x="227" y="286"/>
                  </a:cubicBezTo>
                  <a:cubicBezTo>
                    <a:pt x="232" y="286"/>
                    <a:pt x="236" y="286"/>
                    <a:pt x="240" y="287"/>
                  </a:cubicBezTo>
                  <a:cubicBezTo>
                    <a:pt x="244" y="288"/>
                    <a:pt x="244" y="288"/>
                    <a:pt x="244" y="288"/>
                  </a:cubicBezTo>
                  <a:cubicBezTo>
                    <a:pt x="246" y="288"/>
                    <a:pt x="247" y="288"/>
                    <a:pt x="248" y="288"/>
                  </a:cubicBezTo>
                  <a:cubicBezTo>
                    <a:pt x="251" y="289"/>
                    <a:pt x="251" y="289"/>
                    <a:pt x="251" y="289"/>
                  </a:cubicBezTo>
                  <a:cubicBezTo>
                    <a:pt x="253" y="289"/>
                    <a:pt x="255" y="289"/>
                    <a:pt x="256" y="290"/>
                  </a:cubicBezTo>
                  <a:cubicBezTo>
                    <a:pt x="266" y="291"/>
                    <a:pt x="277" y="291"/>
                    <a:pt x="287" y="291"/>
                  </a:cubicBezTo>
                  <a:cubicBezTo>
                    <a:pt x="288" y="291"/>
                    <a:pt x="288" y="291"/>
                    <a:pt x="288" y="291"/>
                  </a:cubicBezTo>
                  <a:cubicBezTo>
                    <a:pt x="288" y="291"/>
                    <a:pt x="288" y="291"/>
                    <a:pt x="288" y="291"/>
                  </a:cubicBezTo>
                  <a:cubicBezTo>
                    <a:pt x="289" y="291"/>
                    <a:pt x="290" y="290"/>
                    <a:pt x="291" y="290"/>
                  </a:cubicBezTo>
                  <a:cubicBezTo>
                    <a:pt x="293" y="289"/>
                    <a:pt x="295" y="288"/>
                    <a:pt x="298" y="288"/>
                  </a:cubicBezTo>
                  <a:cubicBezTo>
                    <a:pt x="298" y="288"/>
                    <a:pt x="298" y="288"/>
                    <a:pt x="299" y="288"/>
                  </a:cubicBezTo>
                  <a:cubicBezTo>
                    <a:pt x="299" y="289"/>
                    <a:pt x="299" y="289"/>
                    <a:pt x="299" y="289"/>
                  </a:cubicBezTo>
                  <a:cubicBezTo>
                    <a:pt x="300" y="289"/>
                    <a:pt x="301" y="289"/>
                    <a:pt x="302" y="289"/>
                  </a:cubicBezTo>
                  <a:cubicBezTo>
                    <a:pt x="335" y="295"/>
                    <a:pt x="335" y="295"/>
                    <a:pt x="335" y="295"/>
                  </a:cubicBezTo>
                  <a:cubicBezTo>
                    <a:pt x="336" y="295"/>
                    <a:pt x="336" y="295"/>
                    <a:pt x="337" y="295"/>
                  </a:cubicBezTo>
                  <a:cubicBezTo>
                    <a:pt x="339" y="295"/>
                    <a:pt x="342" y="295"/>
                    <a:pt x="343" y="296"/>
                  </a:cubicBezTo>
                  <a:cubicBezTo>
                    <a:pt x="344" y="297"/>
                    <a:pt x="345" y="298"/>
                    <a:pt x="345" y="298"/>
                  </a:cubicBezTo>
                  <a:cubicBezTo>
                    <a:pt x="346" y="299"/>
                    <a:pt x="347" y="301"/>
                    <a:pt x="348" y="302"/>
                  </a:cubicBezTo>
                  <a:cubicBezTo>
                    <a:pt x="348" y="302"/>
                    <a:pt x="348" y="302"/>
                    <a:pt x="348" y="302"/>
                  </a:cubicBezTo>
                  <a:cubicBezTo>
                    <a:pt x="349" y="303"/>
                    <a:pt x="349" y="303"/>
                    <a:pt x="349" y="303"/>
                  </a:cubicBezTo>
                  <a:cubicBezTo>
                    <a:pt x="360" y="306"/>
                    <a:pt x="360" y="306"/>
                    <a:pt x="360" y="306"/>
                  </a:cubicBezTo>
                  <a:cubicBezTo>
                    <a:pt x="364" y="307"/>
                    <a:pt x="368" y="307"/>
                    <a:pt x="371" y="308"/>
                  </a:cubicBezTo>
                  <a:cubicBezTo>
                    <a:pt x="374" y="309"/>
                    <a:pt x="378" y="310"/>
                    <a:pt x="381" y="311"/>
                  </a:cubicBezTo>
                  <a:cubicBezTo>
                    <a:pt x="384" y="313"/>
                    <a:pt x="386" y="314"/>
                    <a:pt x="389" y="314"/>
                  </a:cubicBezTo>
                  <a:cubicBezTo>
                    <a:pt x="390" y="315"/>
                    <a:pt x="392" y="315"/>
                    <a:pt x="393" y="315"/>
                  </a:cubicBezTo>
                  <a:cubicBezTo>
                    <a:pt x="394" y="315"/>
                    <a:pt x="395" y="315"/>
                    <a:pt x="396" y="314"/>
                  </a:cubicBezTo>
                  <a:cubicBezTo>
                    <a:pt x="396" y="314"/>
                    <a:pt x="397" y="314"/>
                    <a:pt x="397" y="314"/>
                  </a:cubicBezTo>
                  <a:cubicBezTo>
                    <a:pt x="398" y="314"/>
                    <a:pt x="398" y="314"/>
                    <a:pt x="398" y="314"/>
                  </a:cubicBezTo>
                  <a:cubicBezTo>
                    <a:pt x="399" y="314"/>
                    <a:pt x="402" y="313"/>
                    <a:pt x="404" y="313"/>
                  </a:cubicBezTo>
                  <a:cubicBezTo>
                    <a:pt x="408" y="313"/>
                    <a:pt x="409" y="314"/>
                    <a:pt x="410" y="316"/>
                  </a:cubicBezTo>
                  <a:cubicBezTo>
                    <a:pt x="410" y="316"/>
                    <a:pt x="410" y="316"/>
                    <a:pt x="410" y="316"/>
                  </a:cubicBezTo>
                  <a:cubicBezTo>
                    <a:pt x="410" y="316"/>
                    <a:pt x="410" y="316"/>
                    <a:pt x="410" y="316"/>
                  </a:cubicBezTo>
                  <a:cubicBezTo>
                    <a:pt x="411" y="318"/>
                    <a:pt x="411" y="318"/>
                    <a:pt x="411" y="318"/>
                  </a:cubicBezTo>
                  <a:cubicBezTo>
                    <a:pt x="412" y="319"/>
                    <a:pt x="412" y="319"/>
                    <a:pt x="412" y="319"/>
                  </a:cubicBezTo>
                  <a:cubicBezTo>
                    <a:pt x="412" y="319"/>
                    <a:pt x="412" y="319"/>
                    <a:pt x="412" y="319"/>
                  </a:cubicBezTo>
                  <a:cubicBezTo>
                    <a:pt x="413" y="319"/>
                    <a:pt x="413" y="319"/>
                    <a:pt x="413" y="319"/>
                  </a:cubicBezTo>
                  <a:cubicBezTo>
                    <a:pt x="414" y="319"/>
                    <a:pt x="414" y="319"/>
                    <a:pt x="414" y="319"/>
                  </a:cubicBezTo>
                  <a:cubicBezTo>
                    <a:pt x="415" y="320"/>
                    <a:pt x="418" y="320"/>
                    <a:pt x="420" y="320"/>
                  </a:cubicBezTo>
                  <a:cubicBezTo>
                    <a:pt x="420" y="320"/>
                    <a:pt x="420" y="320"/>
                    <a:pt x="420" y="320"/>
                  </a:cubicBezTo>
                  <a:cubicBezTo>
                    <a:pt x="420" y="320"/>
                    <a:pt x="420" y="320"/>
                    <a:pt x="420" y="320"/>
                  </a:cubicBezTo>
                  <a:cubicBezTo>
                    <a:pt x="422" y="318"/>
                    <a:pt x="425" y="317"/>
                    <a:pt x="427" y="316"/>
                  </a:cubicBezTo>
                  <a:cubicBezTo>
                    <a:pt x="430" y="314"/>
                    <a:pt x="435" y="312"/>
                    <a:pt x="439" y="311"/>
                  </a:cubicBezTo>
                  <a:cubicBezTo>
                    <a:pt x="441" y="310"/>
                    <a:pt x="443" y="309"/>
                    <a:pt x="444" y="308"/>
                  </a:cubicBezTo>
                  <a:cubicBezTo>
                    <a:pt x="447" y="307"/>
                    <a:pt x="447" y="307"/>
                    <a:pt x="447" y="307"/>
                  </a:cubicBezTo>
                  <a:cubicBezTo>
                    <a:pt x="451" y="305"/>
                    <a:pt x="455" y="303"/>
                    <a:pt x="459" y="302"/>
                  </a:cubicBezTo>
                  <a:cubicBezTo>
                    <a:pt x="458" y="298"/>
                    <a:pt x="458" y="298"/>
                    <a:pt x="458" y="298"/>
                  </a:cubicBezTo>
                  <a:cubicBezTo>
                    <a:pt x="461" y="301"/>
                    <a:pt x="461" y="301"/>
                    <a:pt x="461" y="301"/>
                  </a:cubicBezTo>
                  <a:cubicBezTo>
                    <a:pt x="462" y="301"/>
                    <a:pt x="462" y="301"/>
                    <a:pt x="462" y="301"/>
                  </a:cubicBezTo>
                  <a:cubicBezTo>
                    <a:pt x="463" y="301"/>
                    <a:pt x="463" y="300"/>
                    <a:pt x="464" y="300"/>
                  </a:cubicBezTo>
                  <a:cubicBezTo>
                    <a:pt x="469" y="299"/>
                    <a:pt x="475" y="298"/>
                    <a:pt x="481" y="298"/>
                  </a:cubicBezTo>
                  <a:cubicBezTo>
                    <a:pt x="483" y="298"/>
                    <a:pt x="486" y="297"/>
                    <a:pt x="489" y="297"/>
                  </a:cubicBezTo>
                  <a:cubicBezTo>
                    <a:pt x="494" y="296"/>
                    <a:pt x="494" y="296"/>
                    <a:pt x="494" y="296"/>
                  </a:cubicBezTo>
                  <a:cubicBezTo>
                    <a:pt x="498" y="296"/>
                    <a:pt x="502" y="296"/>
                    <a:pt x="506" y="296"/>
                  </a:cubicBezTo>
                  <a:cubicBezTo>
                    <a:pt x="511" y="296"/>
                    <a:pt x="511" y="296"/>
                    <a:pt x="511" y="296"/>
                  </a:cubicBezTo>
                  <a:cubicBezTo>
                    <a:pt x="512" y="296"/>
                    <a:pt x="513" y="296"/>
                    <a:pt x="514" y="296"/>
                  </a:cubicBezTo>
                  <a:cubicBezTo>
                    <a:pt x="515" y="296"/>
                    <a:pt x="515" y="296"/>
                    <a:pt x="515" y="296"/>
                  </a:cubicBezTo>
                  <a:cubicBezTo>
                    <a:pt x="516" y="296"/>
                    <a:pt x="518" y="296"/>
                    <a:pt x="519" y="296"/>
                  </a:cubicBezTo>
                  <a:cubicBezTo>
                    <a:pt x="520" y="296"/>
                    <a:pt x="522" y="296"/>
                    <a:pt x="523" y="296"/>
                  </a:cubicBezTo>
                  <a:cubicBezTo>
                    <a:pt x="526" y="296"/>
                    <a:pt x="529" y="296"/>
                    <a:pt x="532" y="295"/>
                  </a:cubicBezTo>
                  <a:cubicBezTo>
                    <a:pt x="534" y="294"/>
                    <a:pt x="536" y="293"/>
                    <a:pt x="539" y="292"/>
                  </a:cubicBezTo>
                  <a:cubicBezTo>
                    <a:pt x="541" y="291"/>
                    <a:pt x="541" y="291"/>
                    <a:pt x="541" y="291"/>
                  </a:cubicBezTo>
                  <a:cubicBezTo>
                    <a:pt x="545" y="289"/>
                    <a:pt x="545" y="289"/>
                    <a:pt x="545" y="289"/>
                  </a:cubicBezTo>
                  <a:cubicBezTo>
                    <a:pt x="547" y="288"/>
                    <a:pt x="549" y="287"/>
                    <a:pt x="552" y="286"/>
                  </a:cubicBezTo>
                  <a:cubicBezTo>
                    <a:pt x="553" y="286"/>
                    <a:pt x="555" y="285"/>
                    <a:pt x="556" y="283"/>
                  </a:cubicBezTo>
                  <a:cubicBezTo>
                    <a:pt x="557" y="282"/>
                    <a:pt x="558" y="281"/>
                    <a:pt x="559" y="280"/>
                  </a:cubicBezTo>
                  <a:cubicBezTo>
                    <a:pt x="559" y="279"/>
                    <a:pt x="559" y="279"/>
                    <a:pt x="559" y="279"/>
                  </a:cubicBezTo>
                  <a:cubicBezTo>
                    <a:pt x="561" y="276"/>
                    <a:pt x="563" y="273"/>
                    <a:pt x="567" y="271"/>
                  </a:cubicBezTo>
                  <a:cubicBezTo>
                    <a:pt x="569" y="268"/>
                    <a:pt x="573" y="267"/>
                    <a:pt x="576" y="266"/>
                  </a:cubicBezTo>
                  <a:cubicBezTo>
                    <a:pt x="578" y="265"/>
                    <a:pt x="578" y="265"/>
                    <a:pt x="578" y="265"/>
                  </a:cubicBezTo>
                  <a:cubicBezTo>
                    <a:pt x="582" y="263"/>
                    <a:pt x="585" y="261"/>
                    <a:pt x="588" y="259"/>
                  </a:cubicBezTo>
                  <a:cubicBezTo>
                    <a:pt x="589" y="258"/>
                    <a:pt x="589" y="258"/>
                    <a:pt x="589" y="258"/>
                  </a:cubicBezTo>
                  <a:cubicBezTo>
                    <a:pt x="589" y="258"/>
                    <a:pt x="589" y="258"/>
                    <a:pt x="589" y="258"/>
                  </a:cubicBezTo>
                  <a:cubicBezTo>
                    <a:pt x="589" y="257"/>
                    <a:pt x="589" y="257"/>
                    <a:pt x="589" y="257"/>
                  </a:cubicBezTo>
                  <a:cubicBezTo>
                    <a:pt x="588" y="256"/>
                    <a:pt x="587" y="255"/>
                    <a:pt x="586" y="255"/>
                  </a:cubicBezTo>
                  <a:cubicBezTo>
                    <a:pt x="585" y="254"/>
                    <a:pt x="584" y="254"/>
                    <a:pt x="584" y="253"/>
                  </a:cubicBezTo>
                  <a:cubicBezTo>
                    <a:pt x="582" y="252"/>
                    <a:pt x="581" y="251"/>
                    <a:pt x="581" y="249"/>
                  </a:cubicBezTo>
                  <a:cubicBezTo>
                    <a:pt x="580" y="248"/>
                    <a:pt x="578" y="245"/>
                    <a:pt x="577" y="242"/>
                  </a:cubicBezTo>
                  <a:cubicBezTo>
                    <a:pt x="576" y="239"/>
                    <a:pt x="577" y="238"/>
                    <a:pt x="578" y="236"/>
                  </a:cubicBezTo>
                  <a:cubicBezTo>
                    <a:pt x="578" y="235"/>
                    <a:pt x="578" y="235"/>
                    <a:pt x="578" y="235"/>
                  </a:cubicBezTo>
                  <a:cubicBezTo>
                    <a:pt x="580" y="233"/>
                    <a:pt x="581" y="230"/>
                    <a:pt x="582" y="227"/>
                  </a:cubicBezTo>
                  <a:cubicBezTo>
                    <a:pt x="583" y="224"/>
                    <a:pt x="585" y="222"/>
                    <a:pt x="588" y="220"/>
                  </a:cubicBezTo>
                  <a:cubicBezTo>
                    <a:pt x="589" y="219"/>
                    <a:pt x="590" y="218"/>
                    <a:pt x="591" y="217"/>
                  </a:cubicBezTo>
                  <a:cubicBezTo>
                    <a:pt x="592" y="216"/>
                    <a:pt x="594" y="216"/>
                    <a:pt x="595" y="216"/>
                  </a:cubicBezTo>
                  <a:cubicBezTo>
                    <a:pt x="597" y="216"/>
                    <a:pt x="598" y="216"/>
                    <a:pt x="600" y="216"/>
                  </a:cubicBezTo>
                  <a:cubicBezTo>
                    <a:pt x="602" y="216"/>
                    <a:pt x="604" y="217"/>
                    <a:pt x="607" y="218"/>
                  </a:cubicBezTo>
                  <a:cubicBezTo>
                    <a:pt x="611" y="219"/>
                    <a:pt x="615" y="221"/>
                    <a:pt x="619" y="223"/>
                  </a:cubicBezTo>
                  <a:cubicBezTo>
                    <a:pt x="620" y="223"/>
                    <a:pt x="621" y="224"/>
                    <a:pt x="622" y="224"/>
                  </a:cubicBezTo>
                  <a:cubicBezTo>
                    <a:pt x="624" y="225"/>
                    <a:pt x="626" y="225"/>
                    <a:pt x="627" y="226"/>
                  </a:cubicBezTo>
                  <a:cubicBezTo>
                    <a:pt x="628" y="226"/>
                    <a:pt x="628" y="226"/>
                    <a:pt x="629" y="226"/>
                  </a:cubicBezTo>
                  <a:cubicBezTo>
                    <a:pt x="629" y="226"/>
                    <a:pt x="629" y="226"/>
                    <a:pt x="629" y="226"/>
                  </a:cubicBezTo>
                  <a:cubicBezTo>
                    <a:pt x="630" y="226"/>
                    <a:pt x="631" y="226"/>
                    <a:pt x="631" y="226"/>
                  </a:cubicBezTo>
                  <a:cubicBezTo>
                    <a:pt x="633" y="226"/>
                    <a:pt x="635" y="225"/>
                    <a:pt x="636" y="224"/>
                  </a:cubicBezTo>
                  <a:cubicBezTo>
                    <a:pt x="637" y="224"/>
                    <a:pt x="637" y="224"/>
                    <a:pt x="637" y="224"/>
                  </a:cubicBezTo>
                  <a:cubicBezTo>
                    <a:pt x="638" y="223"/>
                    <a:pt x="639" y="222"/>
                    <a:pt x="640" y="222"/>
                  </a:cubicBezTo>
                  <a:cubicBezTo>
                    <a:pt x="644" y="219"/>
                    <a:pt x="648" y="215"/>
                    <a:pt x="652" y="212"/>
                  </a:cubicBezTo>
                  <a:cubicBezTo>
                    <a:pt x="649" y="209"/>
                    <a:pt x="649" y="209"/>
                    <a:pt x="649" y="209"/>
                  </a:cubicBezTo>
                  <a:cubicBezTo>
                    <a:pt x="653" y="211"/>
                    <a:pt x="653" y="211"/>
                    <a:pt x="653" y="211"/>
                  </a:cubicBezTo>
                  <a:cubicBezTo>
                    <a:pt x="653" y="211"/>
                    <a:pt x="653" y="211"/>
                    <a:pt x="653" y="211"/>
                  </a:cubicBezTo>
                  <a:cubicBezTo>
                    <a:pt x="653" y="211"/>
                    <a:pt x="653" y="211"/>
                    <a:pt x="653" y="211"/>
                  </a:cubicBezTo>
                  <a:cubicBezTo>
                    <a:pt x="654" y="210"/>
                    <a:pt x="654" y="210"/>
                    <a:pt x="654" y="210"/>
                  </a:cubicBezTo>
                  <a:cubicBezTo>
                    <a:pt x="655" y="210"/>
                    <a:pt x="655" y="210"/>
                    <a:pt x="655" y="210"/>
                  </a:cubicBezTo>
                  <a:cubicBezTo>
                    <a:pt x="655" y="209"/>
                    <a:pt x="656" y="208"/>
                    <a:pt x="657" y="207"/>
                  </a:cubicBezTo>
                  <a:cubicBezTo>
                    <a:pt x="657" y="207"/>
                    <a:pt x="657" y="207"/>
                    <a:pt x="657" y="207"/>
                  </a:cubicBezTo>
                  <a:cubicBezTo>
                    <a:pt x="659" y="206"/>
                    <a:pt x="660" y="205"/>
                    <a:pt x="663" y="205"/>
                  </a:cubicBezTo>
                  <a:cubicBezTo>
                    <a:pt x="664" y="205"/>
                    <a:pt x="665" y="205"/>
                    <a:pt x="665" y="205"/>
                  </a:cubicBezTo>
                  <a:cubicBezTo>
                    <a:pt x="666" y="205"/>
                    <a:pt x="666" y="205"/>
                    <a:pt x="666" y="205"/>
                  </a:cubicBezTo>
                  <a:cubicBezTo>
                    <a:pt x="667" y="205"/>
                    <a:pt x="667" y="205"/>
                    <a:pt x="667" y="205"/>
                  </a:cubicBezTo>
                  <a:cubicBezTo>
                    <a:pt x="682" y="205"/>
                    <a:pt x="682" y="205"/>
                    <a:pt x="682" y="205"/>
                  </a:cubicBezTo>
                  <a:cubicBezTo>
                    <a:pt x="683" y="205"/>
                    <a:pt x="683" y="205"/>
                    <a:pt x="684" y="204"/>
                  </a:cubicBezTo>
                  <a:cubicBezTo>
                    <a:pt x="684" y="204"/>
                    <a:pt x="685" y="204"/>
                    <a:pt x="685" y="204"/>
                  </a:cubicBezTo>
                  <a:cubicBezTo>
                    <a:pt x="686" y="203"/>
                    <a:pt x="687" y="202"/>
                    <a:pt x="687" y="202"/>
                  </a:cubicBezTo>
                  <a:cubicBezTo>
                    <a:pt x="688" y="202"/>
                    <a:pt x="689" y="201"/>
                    <a:pt x="690" y="201"/>
                  </a:cubicBezTo>
                  <a:cubicBezTo>
                    <a:pt x="690" y="200"/>
                    <a:pt x="691" y="200"/>
                    <a:pt x="691" y="200"/>
                  </a:cubicBezTo>
                  <a:cubicBezTo>
                    <a:pt x="692" y="199"/>
                    <a:pt x="692" y="199"/>
                    <a:pt x="692" y="199"/>
                  </a:cubicBezTo>
                  <a:cubicBezTo>
                    <a:pt x="693" y="199"/>
                    <a:pt x="694" y="198"/>
                    <a:pt x="695" y="198"/>
                  </a:cubicBezTo>
                  <a:cubicBezTo>
                    <a:pt x="695" y="197"/>
                    <a:pt x="695" y="197"/>
                    <a:pt x="695" y="197"/>
                  </a:cubicBezTo>
                  <a:cubicBezTo>
                    <a:pt x="695" y="197"/>
                    <a:pt x="695" y="196"/>
                    <a:pt x="695" y="195"/>
                  </a:cubicBezTo>
                  <a:cubicBezTo>
                    <a:pt x="695" y="195"/>
                    <a:pt x="695" y="195"/>
                    <a:pt x="695" y="194"/>
                  </a:cubicBezTo>
                  <a:cubicBezTo>
                    <a:pt x="695" y="189"/>
                    <a:pt x="702" y="182"/>
                    <a:pt x="703" y="181"/>
                  </a:cubicBezTo>
                  <a:cubicBezTo>
                    <a:pt x="707" y="177"/>
                    <a:pt x="713" y="177"/>
                    <a:pt x="717" y="177"/>
                  </a:cubicBezTo>
                  <a:cubicBezTo>
                    <a:pt x="719" y="177"/>
                    <a:pt x="721" y="177"/>
                    <a:pt x="723" y="177"/>
                  </a:cubicBezTo>
                  <a:cubicBezTo>
                    <a:pt x="725" y="177"/>
                    <a:pt x="725" y="177"/>
                    <a:pt x="725" y="177"/>
                  </a:cubicBezTo>
                  <a:cubicBezTo>
                    <a:pt x="725" y="177"/>
                    <a:pt x="726" y="177"/>
                    <a:pt x="726" y="177"/>
                  </a:cubicBezTo>
                  <a:cubicBezTo>
                    <a:pt x="735" y="174"/>
                    <a:pt x="743" y="171"/>
                    <a:pt x="751" y="167"/>
                  </a:cubicBezTo>
                  <a:cubicBezTo>
                    <a:pt x="754" y="167"/>
                    <a:pt x="756" y="166"/>
                    <a:pt x="759" y="166"/>
                  </a:cubicBezTo>
                  <a:cubicBezTo>
                    <a:pt x="762" y="166"/>
                    <a:pt x="764" y="167"/>
                    <a:pt x="766" y="167"/>
                  </a:cubicBezTo>
                  <a:cubicBezTo>
                    <a:pt x="767" y="167"/>
                    <a:pt x="767" y="167"/>
                    <a:pt x="767" y="167"/>
                  </a:cubicBezTo>
                  <a:cubicBezTo>
                    <a:pt x="769" y="167"/>
                    <a:pt x="771" y="167"/>
                    <a:pt x="773" y="167"/>
                  </a:cubicBezTo>
                  <a:cubicBezTo>
                    <a:pt x="785" y="167"/>
                    <a:pt x="785" y="167"/>
                    <a:pt x="785" y="167"/>
                  </a:cubicBezTo>
                  <a:cubicBezTo>
                    <a:pt x="785" y="164"/>
                    <a:pt x="785" y="162"/>
                    <a:pt x="782" y="158"/>
                  </a:cubicBezTo>
                  <a:cubicBezTo>
                    <a:pt x="781" y="157"/>
                    <a:pt x="780" y="156"/>
                    <a:pt x="779" y="155"/>
                  </a:cubicBezTo>
                  <a:cubicBezTo>
                    <a:pt x="779" y="155"/>
                    <a:pt x="779" y="155"/>
                    <a:pt x="779" y="155"/>
                  </a:cubicBezTo>
                  <a:cubicBezTo>
                    <a:pt x="777" y="154"/>
                    <a:pt x="776" y="153"/>
                    <a:pt x="774" y="151"/>
                  </a:cubicBezTo>
                  <a:cubicBezTo>
                    <a:pt x="774" y="150"/>
                    <a:pt x="773" y="149"/>
                    <a:pt x="771" y="148"/>
                  </a:cubicBezTo>
                  <a:cubicBezTo>
                    <a:pt x="770" y="147"/>
                    <a:pt x="769" y="146"/>
                    <a:pt x="768" y="145"/>
                  </a:cubicBezTo>
                  <a:cubicBezTo>
                    <a:pt x="767" y="144"/>
                    <a:pt x="766" y="143"/>
                    <a:pt x="766" y="142"/>
                  </a:cubicBezTo>
                  <a:cubicBezTo>
                    <a:pt x="765" y="142"/>
                    <a:pt x="764" y="141"/>
                    <a:pt x="762" y="140"/>
                  </a:cubicBezTo>
                  <a:cubicBezTo>
                    <a:pt x="760" y="139"/>
                    <a:pt x="758" y="138"/>
                    <a:pt x="757" y="137"/>
                  </a:cubicBezTo>
                  <a:cubicBezTo>
                    <a:pt x="756" y="136"/>
                    <a:pt x="756" y="135"/>
                    <a:pt x="755" y="135"/>
                  </a:cubicBezTo>
                  <a:cubicBezTo>
                    <a:pt x="755" y="135"/>
                    <a:pt x="755" y="135"/>
                    <a:pt x="755" y="135"/>
                  </a:cubicBezTo>
                  <a:cubicBezTo>
                    <a:pt x="755" y="134"/>
                    <a:pt x="754" y="134"/>
                    <a:pt x="754" y="134"/>
                  </a:cubicBezTo>
                  <a:cubicBezTo>
                    <a:pt x="754" y="133"/>
                    <a:pt x="754" y="133"/>
                    <a:pt x="754" y="133"/>
                  </a:cubicBezTo>
                  <a:cubicBezTo>
                    <a:pt x="753" y="133"/>
                    <a:pt x="753" y="133"/>
                    <a:pt x="753" y="133"/>
                  </a:cubicBezTo>
                  <a:cubicBezTo>
                    <a:pt x="753" y="133"/>
                    <a:pt x="752" y="133"/>
                    <a:pt x="752" y="133"/>
                  </a:cubicBezTo>
                  <a:cubicBezTo>
                    <a:pt x="750" y="133"/>
                    <a:pt x="748" y="133"/>
                    <a:pt x="746" y="134"/>
                  </a:cubicBezTo>
                  <a:cubicBezTo>
                    <a:pt x="745" y="134"/>
                    <a:pt x="743" y="134"/>
                    <a:pt x="742" y="134"/>
                  </a:cubicBezTo>
                  <a:cubicBezTo>
                    <a:pt x="740" y="134"/>
                    <a:pt x="739" y="134"/>
                    <a:pt x="737" y="135"/>
                  </a:cubicBezTo>
                  <a:cubicBezTo>
                    <a:pt x="735" y="135"/>
                    <a:pt x="733" y="136"/>
                    <a:pt x="731" y="139"/>
                  </a:cubicBezTo>
                  <a:cubicBezTo>
                    <a:pt x="731" y="139"/>
                    <a:pt x="731" y="139"/>
                    <a:pt x="731" y="139"/>
                  </a:cubicBezTo>
                  <a:cubicBezTo>
                    <a:pt x="730" y="141"/>
                    <a:pt x="729" y="142"/>
                    <a:pt x="727" y="143"/>
                  </a:cubicBezTo>
                  <a:cubicBezTo>
                    <a:pt x="726" y="143"/>
                    <a:pt x="726" y="143"/>
                    <a:pt x="726" y="143"/>
                  </a:cubicBezTo>
                  <a:cubicBezTo>
                    <a:pt x="726" y="143"/>
                    <a:pt x="726" y="143"/>
                    <a:pt x="726" y="143"/>
                  </a:cubicBezTo>
                  <a:cubicBezTo>
                    <a:pt x="723" y="143"/>
                    <a:pt x="721" y="141"/>
                    <a:pt x="717" y="138"/>
                  </a:cubicBezTo>
                  <a:cubicBezTo>
                    <a:pt x="717" y="138"/>
                    <a:pt x="716" y="138"/>
                    <a:pt x="716" y="137"/>
                  </a:cubicBezTo>
                  <a:cubicBezTo>
                    <a:pt x="715" y="137"/>
                    <a:pt x="714" y="137"/>
                    <a:pt x="714" y="137"/>
                  </a:cubicBezTo>
                  <a:cubicBezTo>
                    <a:pt x="713" y="137"/>
                    <a:pt x="713" y="137"/>
                    <a:pt x="713" y="137"/>
                  </a:cubicBezTo>
                  <a:cubicBezTo>
                    <a:pt x="702" y="138"/>
                    <a:pt x="702" y="138"/>
                    <a:pt x="702" y="138"/>
                  </a:cubicBezTo>
                  <a:cubicBezTo>
                    <a:pt x="699" y="138"/>
                    <a:pt x="697" y="139"/>
                    <a:pt x="695" y="139"/>
                  </a:cubicBezTo>
                  <a:cubicBezTo>
                    <a:pt x="695" y="139"/>
                    <a:pt x="695" y="139"/>
                    <a:pt x="695" y="139"/>
                  </a:cubicBezTo>
                  <a:cubicBezTo>
                    <a:pt x="694" y="140"/>
                    <a:pt x="693" y="142"/>
                    <a:pt x="691" y="142"/>
                  </a:cubicBezTo>
                  <a:cubicBezTo>
                    <a:pt x="691" y="142"/>
                    <a:pt x="691" y="142"/>
                    <a:pt x="691" y="142"/>
                  </a:cubicBezTo>
                  <a:cubicBezTo>
                    <a:pt x="688" y="142"/>
                    <a:pt x="686" y="140"/>
                    <a:pt x="683" y="137"/>
                  </a:cubicBezTo>
                  <a:cubicBezTo>
                    <a:pt x="682" y="136"/>
                    <a:pt x="680" y="134"/>
                    <a:pt x="680" y="133"/>
                  </a:cubicBezTo>
                  <a:cubicBezTo>
                    <a:pt x="679" y="132"/>
                    <a:pt x="679" y="131"/>
                    <a:pt x="679" y="131"/>
                  </a:cubicBezTo>
                  <a:cubicBezTo>
                    <a:pt x="679" y="130"/>
                    <a:pt x="679" y="130"/>
                    <a:pt x="679" y="130"/>
                  </a:cubicBezTo>
                  <a:cubicBezTo>
                    <a:pt x="679" y="130"/>
                    <a:pt x="679" y="130"/>
                    <a:pt x="679" y="130"/>
                  </a:cubicBezTo>
                  <a:cubicBezTo>
                    <a:pt x="678" y="129"/>
                    <a:pt x="678" y="128"/>
                    <a:pt x="678" y="127"/>
                  </a:cubicBezTo>
                  <a:cubicBezTo>
                    <a:pt x="677" y="123"/>
                    <a:pt x="681" y="121"/>
                    <a:pt x="683" y="120"/>
                  </a:cubicBezTo>
                  <a:cubicBezTo>
                    <a:pt x="684" y="120"/>
                    <a:pt x="684" y="120"/>
                    <a:pt x="685" y="119"/>
                  </a:cubicBezTo>
                  <a:cubicBezTo>
                    <a:pt x="685" y="119"/>
                    <a:pt x="685" y="119"/>
                    <a:pt x="685" y="118"/>
                  </a:cubicBezTo>
                  <a:cubicBezTo>
                    <a:pt x="684" y="116"/>
                    <a:pt x="684" y="114"/>
                    <a:pt x="685" y="112"/>
                  </a:cubicBezTo>
                  <a:cubicBezTo>
                    <a:pt x="694" y="94"/>
                    <a:pt x="694" y="94"/>
                    <a:pt x="694" y="94"/>
                  </a:cubicBezTo>
                  <a:cubicBezTo>
                    <a:pt x="696" y="90"/>
                    <a:pt x="698" y="86"/>
                    <a:pt x="700" y="83"/>
                  </a:cubicBezTo>
                  <a:cubicBezTo>
                    <a:pt x="705" y="72"/>
                    <a:pt x="705" y="72"/>
                    <a:pt x="705" y="72"/>
                  </a:cubicBezTo>
                  <a:cubicBezTo>
                    <a:pt x="705" y="72"/>
                    <a:pt x="705" y="72"/>
                    <a:pt x="704" y="72"/>
                  </a:cubicBezTo>
                  <a:cubicBezTo>
                    <a:pt x="704" y="71"/>
                    <a:pt x="704" y="71"/>
                    <a:pt x="704" y="71"/>
                  </a:cubicBezTo>
                  <a:cubicBezTo>
                    <a:pt x="699" y="68"/>
                    <a:pt x="698" y="68"/>
                    <a:pt x="698" y="68"/>
                  </a:cubicBezTo>
                  <a:cubicBezTo>
                    <a:pt x="698" y="68"/>
                    <a:pt x="698" y="68"/>
                    <a:pt x="698" y="68"/>
                  </a:cubicBezTo>
                  <a:cubicBezTo>
                    <a:pt x="682" y="71"/>
                    <a:pt x="682" y="71"/>
                    <a:pt x="682" y="71"/>
                  </a:cubicBezTo>
                  <a:cubicBezTo>
                    <a:pt x="682" y="72"/>
                    <a:pt x="682" y="72"/>
                    <a:pt x="681" y="72"/>
                  </a:cubicBezTo>
                  <a:cubicBezTo>
                    <a:pt x="681" y="72"/>
                    <a:pt x="680" y="72"/>
                    <a:pt x="680" y="71"/>
                  </a:cubicBezTo>
                  <a:cubicBezTo>
                    <a:pt x="680" y="71"/>
                    <a:pt x="680" y="71"/>
                    <a:pt x="680" y="71"/>
                  </a:cubicBezTo>
                  <a:cubicBezTo>
                    <a:pt x="679" y="71"/>
                    <a:pt x="679" y="71"/>
                    <a:pt x="679" y="71"/>
                  </a:cubicBezTo>
                  <a:cubicBezTo>
                    <a:pt x="678" y="71"/>
                    <a:pt x="678" y="71"/>
                    <a:pt x="677" y="70"/>
                  </a:cubicBezTo>
                  <a:cubicBezTo>
                    <a:pt x="662" y="61"/>
                    <a:pt x="662" y="61"/>
                    <a:pt x="662" y="61"/>
                  </a:cubicBezTo>
                  <a:cubicBezTo>
                    <a:pt x="660" y="61"/>
                    <a:pt x="660" y="61"/>
                    <a:pt x="660" y="61"/>
                  </a:cubicBezTo>
                  <a:cubicBezTo>
                    <a:pt x="658" y="61"/>
                    <a:pt x="657" y="61"/>
                    <a:pt x="656" y="61"/>
                  </a:cubicBezTo>
                  <a:cubicBezTo>
                    <a:pt x="654" y="61"/>
                    <a:pt x="653" y="61"/>
                    <a:pt x="651" y="61"/>
                  </a:cubicBezTo>
                  <a:cubicBezTo>
                    <a:pt x="650" y="61"/>
                    <a:pt x="648" y="61"/>
                    <a:pt x="647" y="61"/>
                  </a:cubicBezTo>
                  <a:cubicBezTo>
                    <a:pt x="647" y="61"/>
                    <a:pt x="647" y="61"/>
                    <a:pt x="647" y="61"/>
                  </a:cubicBezTo>
                  <a:cubicBezTo>
                    <a:pt x="645" y="61"/>
                    <a:pt x="642" y="63"/>
                    <a:pt x="641" y="64"/>
                  </a:cubicBezTo>
                  <a:cubicBezTo>
                    <a:pt x="640" y="64"/>
                    <a:pt x="640" y="64"/>
                    <a:pt x="640" y="64"/>
                  </a:cubicBezTo>
                  <a:cubicBezTo>
                    <a:pt x="639" y="65"/>
                    <a:pt x="638" y="66"/>
                    <a:pt x="637" y="66"/>
                  </a:cubicBezTo>
                  <a:cubicBezTo>
                    <a:pt x="634" y="68"/>
                    <a:pt x="634" y="68"/>
                    <a:pt x="634" y="68"/>
                  </a:cubicBezTo>
                  <a:cubicBezTo>
                    <a:pt x="629" y="71"/>
                    <a:pt x="629" y="71"/>
                    <a:pt x="629" y="71"/>
                  </a:cubicBezTo>
                  <a:cubicBezTo>
                    <a:pt x="617" y="83"/>
                    <a:pt x="617" y="83"/>
                    <a:pt x="617" y="83"/>
                  </a:cubicBezTo>
                  <a:cubicBezTo>
                    <a:pt x="616" y="83"/>
                    <a:pt x="615" y="83"/>
                    <a:pt x="615" y="84"/>
                  </a:cubicBezTo>
                  <a:cubicBezTo>
                    <a:pt x="597" y="87"/>
                    <a:pt x="597" y="87"/>
                    <a:pt x="597" y="87"/>
                  </a:cubicBezTo>
                  <a:cubicBezTo>
                    <a:pt x="568" y="95"/>
                    <a:pt x="568" y="95"/>
                    <a:pt x="568" y="95"/>
                  </a:cubicBezTo>
                  <a:cubicBezTo>
                    <a:pt x="566" y="95"/>
                    <a:pt x="565" y="95"/>
                    <a:pt x="563" y="95"/>
                  </a:cubicBezTo>
                  <a:cubicBezTo>
                    <a:pt x="551" y="93"/>
                    <a:pt x="551" y="93"/>
                    <a:pt x="551" y="93"/>
                  </a:cubicBezTo>
                  <a:cubicBezTo>
                    <a:pt x="529" y="90"/>
                    <a:pt x="529" y="90"/>
                    <a:pt x="529" y="90"/>
                  </a:cubicBezTo>
                  <a:cubicBezTo>
                    <a:pt x="528" y="90"/>
                    <a:pt x="528" y="90"/>
                    <a:pt x="527" y="90"/>
                  </a:cubicBezTo>
                  <a:cubicBezTo>
                    <a:pt x="524" y="89"/>
                    <a:pt x="524" y="89"/>
                    <a:pt x="524" y="89"/>
                  </a:cubicBezTo>
                  <a:cubicBezTo>
                    <a:pt x="508" y="90"/>
                    <a:pt x="508" y="90"/>
                    <a:pt x="508" y="90"/>
                  </a:cubicBezTo>
                  <a:cubicBezTo>
                    <a:pt x="508" y="90"/>
                    <a:pt x="508" y="90"/>
                    <a:pt x="508" y="90"/>
                  </a:cubicBezTo>
                  <a:cubicBezTo>
                    <a:pt x="508" y="88"/>
                    <a:pt x="508" y="88"/>
                    <a:pt x="508" y="88"/>
                  </a:cubicBezTo>
                  <a:cubicBezTo>
                    <a:pt x="508" y="90"/>
                    <a:pt x="508" y="90"/>
                    <a:pt x="508" y="90"/>
                  </a:cubicBezTo>
                  <a:cubicBezTo>
                    <a:pt x="507" y="89"/>
                    <a:pt x="507" y="89"/>
                    <a:pt x="506" y="89"/>
                  </a:cubicBezTo>
                  <a:cubicBezTo>
                    <a:pt x="495" y="81"/>
                    <a:pt x="495" y="81"/>
                    <a:pt x="495" y="81"/>
                  </a:cubicBezTo>
                  <a:cubicBezTo>
                    <a:pt x="494" y="80"/>
                    <a:pt x="494" y="80"/>
                    <a:pt x="493" y="79"/>
                  </a:cubicBezTo>
                  <a:cubicBezTo>
                    <a:pt x="493" y="78"/>
                    <a:pt x="493" y="78"/>
                    <a:pt x="493" y="78"/>
                  </a:cubicBezTo>
                  <a:cubicBezTo>
                    <a:pt x="492" y="70"/>
                    <a:pt x="492" y="70"/>
                    <a:pt x="492" y="70"/>
                  </a:cubicBezTo>
                  <a:cubicBezTo>
                    <a:pt x="491" y="70"/>
                    <a:pt x="491" y="70"/>
                    <a:pt x="491" y="70"/>
                  </a:cubicBezTo>
                  <a:cubicBezTo>
                    <a:pt x="490" y="69"/>
                    <a:pt x="490" y="69"/>
                    <a:pt x="489" y="69"/>
                  </a:cubicBezTo>
                  <a:cubicBezTo>
                    <a:pt x="487" y="69"/>
                    <a:pt x="486" y="69"/>
                    <a:pt x="485" y="69"/>
                  </a:cubicBezTo>
                  <a:cubicBezTo>
                    <a:pt x="482" y="69"/>
                    <a:pt x="482" y="69"/>
                    <a:pt x="482" y="69"/>
                  </a:cubicBezTo>
                  <a:cubicBezTo>
                    <a:pt x="477" y="68"/>
                    <a:pt x="474" y="65"/>
                    <a:pt x="470" y="63"/>
                  </a:cubicBezTo>
                  <a:cubicBezTo>
                    <a:pt x="468" y="61"/>
                    <a:pt x="466" y="59"/>
                    <a:pt x="464" y="58"/>
                  </a:cubicBezTo>
                  <a:cubicBezTo>
                    <a:pt x="464" y="58"/>
                    <a:pt x="463" y="58"/>
                    <a:pt x="462" y="58"/>
                  </a:cubicBezTo>
                  <a:cubicBezTo>
                    <a:pt x="461" y="58"/>
                    <a:pt x="461" y="58"/>
                    <a:pt x="460" y="58"/>
                  </a:cubicBezTo>
                  <a:cubicBezTo>
                    <a:pt x="459" y="58"/>
                    <a:pt x="459" y="58"/>
                    <a:pt x="459" y="58"/>
                  </a:cubicBezTo>
                  <a:cubicBezTo>
                    <a:pt x="457" y="58"/>
                    <a:pt x="457" y="58"/>
                    <a:pt x="457" y="58"/>
                  </a:cubicBezTo>
                  <a:cubicBezTo>
                    <a:pt x="450" y="58"/>
                    <a:pt x="450" y="58"/>
                    <a:pt x="450" y="58"/>
                  </a:cubicBezTo>
                  <a:cubicBezTo>
                    <a:pt x="448" y="58"/>
                    <a:pt x="447" y="57"/>
                    <a:pt x="446" y="56"/>
                  </a:cubicBezTo>
                  <a:cubicBezTo>
                    <a:pt x="445" y="56"/>
                    <a:pt x="445" y="56"/>
                    <a:pt x="445" y="56"/>
                  </a:cubicBezTo>
                  <a:cubicBezTo>
                    <a:pt x="443" y="55"/>
                    <a:pt x="439" y="54"/>
                    <a:pt x="438" y="54"/>
                  </a:cubicBezTo>
                  <a:cubicBezTo>
                    <a:pt x="435" y="54"/>
                    <a:pt x="433" y="54"/>
                    <a:pt x="431" y="53"/>
                  </a:cubicBezTo>
                  <a:cubicBezTo>
                    <a:pt x="430" y="53"/>
                    <a:pt x="430" y="53"/>
                    <a:pt x="430" y="53"/>
                  </a:cubicBezTo>
                  <a:cubicBezTo>
                    <a:pt x="427" y="53"/>
                    <a:pt x="424" y="54"/>
                    <a:pt x="421" y="55"/>
                  </a:cubicBezTo>
                  <a:cubicBezTo>
                    <a:pt x="420" y="55"/>
                    <a:pt x="420" y="55"/>
                    <a:pt x="420" y="55"/>
                  </a:cubicBezTo>
                  <a:cubicBezTo>
                    <a:pt x="416" y="56"/>
                    <a:pt x="412" y="57"/>
                    <a:pt x="409" y="58"/>
                  </a:cubicBezTo>
                  <a:cubicBezTo>
                    <a:pt x="408" y="59"/>
                    <a:pt x="408" y="59"/>
                    <a:pt x="407" y="59"/>
                  </a:cubicBezTo>
                  <a:cubicBezTo>
                    <a:pt x="407" y="60"/>
                    <a:pt x="407" y="60"/>
                    <a:pt x="407" y="60"/>
                  </a:cubicBezTo>
                  <a:cubicBezTo>
                    <a:pt x="406" y="60"/>
                    <a:pt x="406" y="60"/>
                    <a:pt x="405" y="60"/>
                  </a:cubicBezTo>
                  <a:cubicBezTo>
                    <a:pt x="404" y="61"/>
                    <a:pt x="404" y="61"/>
                    <a:pt x="404" y="61"/>
                  </a:cubicBezTo>
                  <a:cubicBezTo>
                    <a:pt x="402" y="62"/>
                    <a:pt x="400" y="63"/>
                    <a:pt x="397" y="63"/>
                  </a:cubicBezTo>
                  <a:cubicBezTo>
                    <a:pt x="396" y="63"/>
                    <a:pt x="395" y="63"/>
                    <a:pt x="394" y="63"/>
                  </a:cubicBezTo>
                  <a:cubicBezTo>
                    <a:pt x="366" y="56"/>
                    <a:pt x="366" y="56"/>
                    <a:pt x="366" y="56"/>
                  </a:cubicBezTo>
                  <a:cubicBezTo>
                    <a:pt x="363" y="55"/>
                    <a:pt x="360" y="54"/>
                    <a:pt x="357" y="52"/>
                  </a:cubicBezTo>
                  <a:cubicBezTo>
                    <a:pt x="356" y="51"/>
                    <a:pt x="355" y="50"/>
                    <a:pt x="354" y="49"/>
                  </a:cubicBezTo>
                  <a:cubicBezTo>
                    <a:pt x="353" y="48"/>
                    <a:pt x="353" y="48"/>
                    <a:pt x="353" y="48"/>
                  </a:cubicBezTo>
                  <a:cubicBezTo>
                    <a:pt x="352" y="47"/>
                    <a:pt x="351" y="45"/>
                    <a:pt x="351" y="44"/>
                  </a:cubicBezTo>
                  <a:cubicBezTo>
                    <a:pt x="351" y="43"/>
                    <a:pt x="351" y="42"/>
                    <a:pt x="350" y="40"/>
                  </a:cubicBezTo>
                  <a:cubicBezTo>
                    <a:pt x="350" y="39"/>
                    <a:pt x="350" y="39"/>
                    <a:pt x="350" y="39"/>
                  </a:cubicBezTo>
                  <a:cubicBezTo>
                    <a:pt x="350" y="37"/>
                    <a:pt x="350" y="37"/>
                    <a:pt x="350" y="37"/>
                  </a:cubicBezTo>
                  <a:cubicBezTo>
                    <a:pt x="350" y="36"/>
                    <a:pt x="349" y="35"/>
                    <a:pt x="349" y="35"/>
                  </a:cubicBezTo>
                  <a:cubicBezTo>
                    <a:pt x="349" y="33"/>
                    <a:pt x="349" y="32"/>
                    <a:pt x="349" y="31"/>
                  </a:cubicBezTo>
                  <a:cubicBezTo>
                    <a:pt x="349" y="29"/>
                    <a:pt x="349" y="28"/>
                    <a:pt x="348" y="27"/>
                  </a:cubicBezTo>
                  <a:cubicBezTo>
                    <a:pt x="348" y="26"/>
                    <a:pt x="348" y="25"/>
                    <a:pt x="349" y="24"/>
                  </a:cubicBezTo>
                  <a:cubicBezTo>
                    <a:pt x="347" y="24"/>
                    <a:pt x="346" y="24"/>
                    <a:pt x="345" y="23"/>
                  </a:cubicBezTo>
                  <a:cubicBezTo>
                    <a:pt x="344" y="23"/>
                    <a:pt x="344" y="23"/>
                    <a:pt x="344" y="23"/>
                  </a:cubicBezTo>
                  <a:cubicBezTo>
                    <a:pt x="341" y="23"/>
                    <a:pt x="339" y="22"/>
                    <a:pt x="337" y="21"/>
                  </a:cubicBezTo>
                  <a:cubicBezTo>
                    <a:pt x="330" y="19"/>
                    <a:pt x="330" y="19"/>
                    <a:pt x="330" y="19"/>
                  </a:cubicBezTo>
                  <a:cubicBezTo>
                    <a:pt x="327" y="19"/>
                    <a:pt x="325" y="18"/>
                    <a:pt x="322" y="16"/>
                  </a:cubicBezTo>
                  <a:cubicBezTo>
                    <a:pt x="319" y="15"/>
                    <a:pt x="316" y="14"/>
                    <a:pt x="313" y="13"/>
                  </a:cubicBezTo>
                  <a:cubicBezTo>
                    <a:pt x="312" y="13"/>
                    <a:pt x="312" y="13"/>
                    <a:pt x="311" y="13"/>
                  </a:cubicBezTo>
                  <a:cubicBezTo>
                    <a:pt x="310" y="13"/>
                    <a:pt x="310" y="13"/>
                    <a:pt x="310" y="13"/>
                  </a:cubicBezTo>
                  <a:cubicBezTo>
                    <a:pt x="310" y="13"/>
                    <a:pt x="309" y="13"/>
                    <a:pt x="309" y="13"/>
                  </a:cubicBezTo>
                  <a:cubicBezTo>
                    <a:pt x="309" y="13"/>
                    <a:pt x="309" y="13"/>
                    <a:pt x="309" y="13"/>
                  </a:cubicBezTo>
                  <a:cubicBezTo>
                    <a:pt x="308" y="13"/>
                    <a:pt x="308" y="13"/>
                    <a:pt x="308" y="13"/>
                  </a:cubicBezTo>
                  <a:cubicBezTo>
                    <a:pt x="300" y="12"/>
                    <a:pt x="295" y="11"/>
                    <a:pt x="287" y="7"/>
                  </a:cubicBezTo>
                  <a:cubicBezTo>
                    <a:pt x="274" y="0"/>
                    <a:pt x="274" y="0"/>
                    <a:pt x="274" y="0"/>
                  </a:cubicBezTo>
                  <a:cubicBezTo>
                    <a:pt x="274" y="0"/>
                    <a:pt x="274" y="0"/>
                    <a:pt x="274" y="0"/>
                  </a:cubicBezTo>
                  <a:cubicBezTo>
                    <a:pt x="272" y="0"/>
                    <a:pt x="272" y="0"/>
                    <a:pt x="2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539"/>
            <p:cNvSpPr/>
            <p:nvPr/>
          </p:nvSpPr>
          <p:spPr bwMode="auto">
            <a:xfrm>
              <a:off x="7352516" y="2276598"/>
              <a:ext cx="482182" cy="482182"/>
            </a:xfrm>
            <a:custGeom>
              <a:gdLst>
                <a:gd name="T0" fmla="*/ 139 w 152"/>
                <a:gd name="T1" fmla="*/ 0 h 152"/>
                <a:gd name="T2" fmla="*/ 137 w 152"/>
                <a:gd name="T3" fmla="*/ 8 h 152"/>
                <a:gd name="T4" fmla="*/ 134 w 152"/>
                <a:gd name="T5" fmla="*/ 13 h 152"/>
                <a:gd name="T6" fmla="*/ 123 w 152"/>
                <a:gd name="T7" fmla="*/ 18 h 152"/>
                <a:gd name="T8" fmla="*/ 117 w 152"/>
                <a:gd name="T9" fmla="*/ 27 h 152"/>
                <a:gd name="T10" fmla="*/ 104 w 152"/>
                <a:gd name="T11" fmla="*/ 29 h 152"/>
                <a:gd name="T12" fmla="*/ 98 w 152"/>
                <a:gd name="T13" fmla="*/ 34 h 152"/>
                <a:gd name="T14" fmla="*/ 100 w 152"/>
                <a:gd name="T15" fmla="*/ 41 h 152"/>
                <a:gd name="T16" fmla="*/ 93 w 152"/>
                <a:gd name="T17" fmla="*/ 48 h 152"/>
                <a:gd name="T18" fmla="*/ 85 w 152"/>
                <a:gd name="T19" fmla="*/ 47 h 152"/>
                <a:gd name="T20" fmla="*/ 71 w 152"/>
                <a:gd name="T21" fmla="*/ 45 h 152"/>
                <a:gd name="T22" fmla="*/ 66 w 152"/>
                <a:gd name="T23" fmla="*/ 39 h 152"/>
                <a:gd name="T24" fmla="*/ 63 w 152"/>
                <a:gd name="T25" fmla="*/ 36 h 152"/>
                <a:gd name="T26" fmla="*/ 61 w 152"/>
                <a:gd name="T27" fmla="*/ 37 h 152"/>
                <a:gd name="T28" fmla="*/ 59 w 152"/>
                <a:gd name="T29" fmla="*/ 40 h 152"/>
                <a:gd name="T30" fmla="*/ 46 w 152"/>
                <a:gd name="T31" fmla="*/ 58 h 152"/>
                <a:gd name="T32" fmla="*/ 41 w 152"/>
                <a:gd name="T33" fmla="*/ 62 h 152"/>
                <a:gd name="T34" fmla="*/ 34 w 152"/>
                <a:gd name="T35" fmla="*/ 65 h 152"/>
                <a:gd name="T36" fmla="*/ 27 w 152"/>
                <a:gd name="T37" fmla="*/ 70 h 152"/>
                <a:gd name="T38" fmla="*/ 3 w 152"/>
                <a:gd name="T39" fmla="*/ 86 h 152"/>
                <a:gd name="T40" fmla="*/ 1 w 152"/>
                <a:gd name="T41" fmla="*/ 87 h 152"/>
                <a:gd name="T42" fmla="*/ 0 w 152"/>
                <a:gd name="T43" fmla="*/ 88 h 152"/>
                <a:gd name="T44" fmla="*/ 10 w 152"/>
                <a:gd name="T45" fmla="*/ 92 h 152"/>
                <a:gd name="T46" fmla="*/ 24 w 152"/>
                <a:gd name="T47" fmla="*/ 98 h 152"/>
                <a:gd name="T48" fmla="*/ 24 w 152"/>
                <a:gd name="T49" fmla="*/ 109 h 152"/>
                <a:gd name="T50" fmla="*/ 33 w 152"/>
                <a:gd name="T51" fmla="*/ 125 h 152"/>
                <a:gd name="T52" fmla="*/ 27 w 152"/>
                <a:gd name="T53" fmla="*/ 123 h 152"/>
                <a:gd name="T54" fmla="*/ 19 w 152"/>
                <a:gd name="T55" fmla="*/ 125 h 152"/>
                <a:gd name="T56" fmla="*/ 15 w 152"/>
                <a:gd name="T57" fmla="*/ 137 h 152"/>
                <a:gd name="T58" fmla="*/ 8 w 152"/>
                <a:gd name="T59" fmla="*/ 139 h 152"/>
                <a:gd name="T60" fmla="*/ 18 w 152"/>
                <a:gd name="T61" fmla="*/ 144 h 152"/>
                <a:gd name="T62" fmla="*/ 23 w 152"/>
                <a:gd name="T63" fmla="*/ 148 h 152"/>
                <a:gd name="T64" fmla="*/ 23 w 152"/>
                <a:gd name="T65" fmla="*/ 148 h 152"/>
                <a:gd name="T66" fmla="*/ 27 w 152"/>
                <a:gd name="T67" fmla="*/ 147 h 152"/>
                <a:gd name="T68" fmla="*/ 26 w 152"/>
                <a:gd name="T69" fmla="*/ 149 h 152"/>
                <a:gd name="T70" fmla="*/ 25 w 152"/>
                <a:gd name="T71" fmla="*/ 152 h 152"/>
                <a:gd name="T72" fmla="*/ 34 w 152"/>
                <a:gd name="T73" fmla="*/ 145 h 152"/>
                <a:gd name="T74" fmla="*/ 41 w 152"/>
                <a:gd name="T75" fmla="*/ 148 h 152"/>
                <a:gd name="T76" fmla="*/ 47 w 152"/>
                <a:gd name="T77" fmla="*/ 149 h 152"/>
                <a:gd name="T78" fmla="*/ 55 w 152"/>
                <a:gd name="T79" fmla="*/ 147 h 152"/>
                <a:gd name="T80" fmla="*/ 56 w 152"/>
                <a:gd name="T81" fmla="*/ 146 h 152"/>
                <a:gd name="T82" fmla="*/ 61 w 152"/>
                <a:gd name="T83" fmla="*/ 139 h 152"/>
                <a:gd name="T84" fmla="*/ 66 w 152"/>
                <a:gd name="T85" fmla="*/ 134 h 152"/>
                <a:gd name="T86" fmla="*/ 75 w 152"/>
                <a:gd name="T87" fmla="*/ 133 h 152"/>
                <a:gd name="T88" fmla="*/ 91 w 152"/>
                <a:gd name="T89" fmla="*/ 131 h 152"/>
                <a:gd name="T90" fmla="*/ 93 w 152"/>
                <a:gd name="T91" fmla="*/ 129 h 152"/>
                <a:gd name="T92" fmla="*/ 96 w 152"/>
                <a:gd name="T93" fmla="*/ 125 h 152"/>
                <a:gd name="T94" fmla="*/ 98 w 152"/>
                <a:gd name="T95" fmla="*/ 123 h 152"/>
                <a:gd name="T96" fmla="*/ 91 w 152"/>
                <a:gd name="T97" fmla="*/ 117 h 152"/>
                <a:gd name="T98" fmla="*/ 77 w 152"/>
                <a:gd name="T99" fmla="*/ 109 h 152"/>
                <a:gd name="T100" fmla="*/ 79 w 152"/>
                <a:gd name="T101" fmla="*/ 106 h 152"/>
                <a:gd name="T102" fmla="*/ 80 w 152"/>
                <a:gd name="T103" fmla="*/ 98 h 152"/>
                <a:gd name="T104" fmla="*/ 98 w 152"/>
                <a:gd name="T105" fmla="*/ 85 h 152"/>
                <a:gd name="T106" fmla="*/ 134 w 152"/>
                <a:gd name="T107" fmla="*/ 59 h 152"/>
                <a:gd name="T108" fmla="*/ 133 w 152"/>
                <a:gd name="T109" fmla="*/ 51 h 152"/>
                <a:gd name="T110" fmla="*/ 134 w 152"/>
                <a:gd name="T111" fmla="*/ 45 h 152"/>
                <a:gd name="T112" fmla="*/ 150 w 152"/>
                <a:gd name="T113" fmla="*/ 18 h 152"/>
                <a:gd name="T114" fmla="*/ 152 w 152"/>
                <a:gd name="T115" fmla="*/ 17 h 152"/>
                <a:gd name="T116" fmla="*/ 150 w 152"/>
                <a:gd name="T117" fmla="*/ 14 h 152"/>
                <a:gd name="T118" fmla="*/ 142 w 152"/>
                <a:gd name="T119" fmla="*/ 8 h 152"/>
                <a:gd name="T120" fmla="*/ 143 w 152"/>
                <a:gd name="T121" fmla="*/ 4 h 152"/>
                <a:gd name="T122" fmla="*/ 139 w 152"/>
                <a:gd name="T123" fmla="*/ 0 h 1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152">
                  <a:moveTo>
                    <a:pt x="139" y="0"/>
                  </a:moveTo>
                  <a:cubicBezTo>
                    <a:pt x="139" y="0"/>
                    <a:pt x="139" y="0"/>
                    <a:pt x="139" y="0"/>
                  </a:cubicBezTo>
                  <a:cubicBezTo>
                    <a:pt x="138" y="1"/>
                    <a:pt x="138" y="3"/>
                    <a:pt x="137" y="6"/>
                  </a:cubicBezTo>
                  <a:cubicBezTo>
                    <a:pt x="137" y="7"/>
                    <a:pt x="137" y="7"/>
                    <a:pt x="137" y="8"/>
                  </a:cubicBezTo>
                  <a:cubicBezTo>
                    <a:pt x="137" y="9"/>
                    <a:pt x="136" y="10"/>
                    <a:pt x="136" y="11"/>
                  </a:cubicBezTo>
                  <a:cubicBezTo>
                    <a:pt x="135" y="12"/>
                    <a:pt x="135" y="13"/>
                    <a:pt x="134" y="13"/>
                  </a:cubicBezTo>
                  <a:cubicBezTo>
                    <a:pt x="132" y="14"/>
                    <a:pt x="130" y="15"/>
                    <a:pt x="127" y="16"/>
                  </a:cubicBezTo>
                  <a:cubicBezTo>
                    <a:pt x="125" y="17"/>
                    <a:pt x="124" y="17"/>
                    <a:pt x="123" y="18"/>
                  </a:cubicBezTo>
                  <a:cubicBezTo>
                    <a:pt x="123" y="19"/>
                    <a:pt x="123" y="19"/>
                    <a:pt x="123" y="19"/>
                  </a:cubicBezTo>
                  <a:cubicBezTo>
                    <a:pt x="123" y="22"/>
                    <a:pt x="118" y="26"/>
                    <a:pt x="117" y="27"/>
                  </a:cubicBezTo>
                  <a:cubicBezTo>
                    <a:pt x="114" y="28"/>
                    <a:pt x="110" y="28"/>
                    <a:pt x="107" y="28"/>
                  </a:cubicBezTo>
                  <a:cubicBezTo>
                    <a:pt x="106" y="28"/>
                    <a:pt x="105" y="29"/>
                    <a:pt x="104" y="29"/>
                  </a:cubicBezTo>
                  <a:cubicBezTo>
                    <a:pt x="95" y="30"/>
                    <a:pt x="95" y="30"/>
                    <a:pt x="95" y="30"/>
                  </a:cubicBezTo>
                  <a:cubicBezTo>
                    <a:pt x="96" y="31"/>
                    <a:pt x="97" y="33"/>
                    <a:pt x="98" y="34"/>
                  </a:cubicBezTo>
                  <a:cubicBezTo>
                    <a:pt x="98" y="35"/>
                    <a:pt x="98" y="35"/>
                    <a:pt x="98" y="35"/>
                  </a:cubicBezTo>
                  <a:cubicBezTo>
                    <a:pt x="99" y="36"/>
                    <a:pt x="101" y="37"/>
                    <a:pt x="100" y="41"/>
                  </a:cubicBezTo>
                  <a:cubicBezTo>
                    <a:pt x="100" y="44"/>
                    <a:pt x="99" y="45"/>
                    <a:pt x="97" y="46"/>
                  </a:cubicBezTo>
                  <a:cubicBezTo>
                    <a:pt x="96" y="48"/>
                    <a:pt x="94" y="48"/>
                    <a:pt x="93" y="48"/>
                  </a:cubicBezTo>
                  <a:cubicBezTo>
                    <a:pt x="92" y="48"/>
                    <a:pt x="92" y="48"/>
                    <a:pt x="92" y="48"/>
                  </a:cubicBezTo>
                  <a:cubicBezTo>
                    <a:pt x="89" y="48"/>
                    <a:pt x="87" y="48"/>
                    <a:pt x="85" y="47"/>
                  </a:cubicBezTo>
                  <a:cubicBezTo>
                    <a:pt x="84" y="47"/>
                    <a:pt x="84" y="47"/>
                    <a:pt x="84" y="47"/>
                  </a:cubicBezTo>
                  <a:cubicBezTo>
                    <a:pt x="79" y="47"/>
                    <a:pt x="74" y="47"/>
                    <a:pt x="71" y="45"/>
                  </a:cubicBezTo>
                  <a:cubicBezTo>
                    <a:pt x="70" y="44"/>
                    <a:pt x="70" y="44"/>
                    <a:pt x="70" y="44"/>
                  </a:cubicBezTo>
                  <a:cubicBezTo>
                    <a:pt x="68" y="43"/>
                    <a:pt x="67" y="41"/>
                    <a:pt x="66" y="39"/>
                  </a:cubicBezTo>
                  <a:cubicBezTo>
                    <a:pt x="65" y="38"/>
                    <a:pt x="64" y="37"/>
                    <a:pt x="63" y="36"/>
                  </a:cubicBezTo>
                  <a:cubicBezTo>
                    <a:pt x="63" y="36"/>
                    <a:pt x="63" y="36"/>
                    <a:pt x="63" y="36"/>
                  </a:cubicBezTo>
                  <a:cubicBezTo>
                    <a:pt x="62" y="37"/>
                    <a:pt x="62" y="37"/>
                    <a:pt x="62" y="37"/>
                  </a:cubicBezTo>
                  <a:cubicBezTo>
                    <a:pt x="61" y="37"/>
                    <a:pt x="61" y="37"/>
                    <a:pt x="61" y="37"/>
                  </a:cubicBezTo>
                  <a:cubicBezTo>
                    <a:pt x="61" y="37"/>
                    <a:pt x="61" y="37"/>
                    <a:pt x="61" y="37"/>
                  </a:cubicBezTo>
                  <a:cubicBezTo>
                    <a:pt x="60" y="38"/>
                    <a:pt x="60" y="39"/>
                    <a:pt x="59" y="40"/>
                  </a:cubicBezTo>
                  <a:cubicBezTo>
                    <a:pt x="56" y="46"/>
                    <a:pt x="52" y="52"/>
                    <a:pt x="48" y="56"/>
                  </a:cubicBezTo>
                  <a:cubicBezTo>
                    <a:pt x="47" y="57"/>
                    <a:pt x="47" y="57"/>
                    <a:pt x="46" y="58"/>
                  </a:cubicBezTo>
                  <a:cubicBezTo>
                    <a:pt x="45" y="60"/>
                    <a:pt x="44" y="62"/>
                    <a:pt x="41" y="62"/>
                  </a:cubicBezTo>
                  <a:cubicBezTo>
                    <a:pt x="41" y="62"/>
                    <a:pt x="41" y="62"/>
                    <a:pt x="41" y="62"/>
                  </a:cubicBezTo>
                  <a:cubicBezTo>
                    <a:pt x="40" y="63"/>
                    <a:pt x="38" y="63"/>
                    <a:pt x="37" y="63"/>
                  </a:cubicBezTo>
                  <a:cubicBezTo>
                    <a:pt x="36" y="64"/>
                    <a:pt x="35" y="64"/>
                    <a:pt x="34" y="65"/>
                  </a:cubicBezTo>
                  <a:cubicBezTo>
                    <a:pt x="32" y="66"/>
                    <a:pt x="32" y="66"/>
                    <a:pt x="32" y="66"/>
                  </a:cubicBezTo>
                  <a:cubicBezTo>
                    <a:pt x="31" y="67"/>
                    <a:pt x="29" y="69"/>
                    <a:pt x="27" y="70"/>
                  </a:cubicBezTo>
                  <a:cubicBezTo>
                    <a:pt x="19" y="75"/>
                    <a:pt x="12" y="79"/>
                    <a:pt x="5" y="84"/>
                  </a:cubicBezTo>
                  <a:cubicBezTo>
                    <a:pt x="4" y="85"/>
                    <a:pt x="3" y="86"/>
                    <a:pt x="3" y="86"/>
                  </a:cubicBezTo>
                  <a:cubicBezTo>
                    <a:pt x="3" y="87"/>
                    <a:pt x="3" y="87"/>
                    <a:pt x="3" y="87"/>
                  </a:cubicBezTo>
                  <a:cubicBezTo>
                    <a:pt x="1" y="87"/>
                    <a:pt x="1" y="87"/>
                    <a:pt x="1" y="87"/>
                  </a:cubicBezTo>
                  <a:cubicBezTo>
                    <a:pt x="1" y="87"/>
                    <a:pt x="1" y="87"/>
                    <a:pt x="1" y="87"/>
                  </a:cubicBezTo>
                  <a:cubicBezTo>
                    <a:pt x="1" y="87"/>
                    <a:pt x="0" y="88"/>
                    <a:pt x="0" y="88"/>
                  </a:cubicBezTo>
                  <a:cubicBezTo>
                    <a:pt x="1" y="92"/>
                    <a:pt x="9" y="92"/>
                    <a:pt x="7" y="97"/>
                  </a:cubicBezTo>
                  <a:cubicBezTo>
                    <a:pt x="9" y="96"/>
                    <a:pt x="11" y="94"/>
                    <a:pt x="10" y="92"/>
                  </a:cubicBezTo>
                  <a:cubicBezTo>
                    <a:pt x="13" y="93"/>
                    <a:pt x="15" y="96"/>
                    <a:pt x="18" y="97"/>
                  </a:cubicBezTo>
                  <a:cubicBezTo>
                    <a:pt x="20" y="98"/>
                    <a:pt x="22" y="98"/>
                    <a:pt x="24" y="98"/>
                  </a:cubicBezTo>
                  <a:cubicBezTo>
                    <a:pt x="25" y="98"/>
                    <a:pt x="26" y="98"/>
                    <a:pt x="28" y="98"/>
                  </a:cubicBezTo>
                  <a:cubicBezTo>
                    <a:pt x="26" y="102"/>
                    <a:pt x="25" y="106"/>
                    <a:pt x="24" y="109"/>
                  </a:cubicBezTo>
                  <a:cubicBezTo>
                    <a:pt x="23" y="112"/>
                    <a:pt x="21" y="115"/>
                    <a:pt x="21" y="117"/>
                  </a:cubicBezTo>
                  <a:cubicBezTo>
                    <a:pt x="21" y="123"/>
                    <a:pt x="30" y="121"/>
                    <a:pt x="33" y="125"/>
                  </a:cubicBezTo>
                  <a:cubicBezTo>
                    <a:pt x="30" y="124"/>
                    <a:pt x="29" y="123"/>
                    <a:pt x="27" y="123"/>
                  </a:cubicBezTo>
                  <a:cubicBezTo>
                    <a:pt x="27" y="123"/>
                    <a:pt x="27" y="123"/>
                    <a:pt x="27" y="123"/>
                  </a:cubicBezTo>
                  <a:cubicBezTo>
                    <a:pt x="25" y="123"/>
                    <a:pt x="23" y="124"/>
                    <a:pt x="22" y="124"/>
                  </a:cubicBezTo>
                  <a:cubicBezTo>
                    <a:pt x="20" y="125"/>
                    <a:pt x="21" y="124"/>
                    <a:pt x="19" y="125"/>
                  </a:cubicBezTo>
                  <a:cubicBezTo>
                    <a:pt x="18" y="127"/>
                    <a:pt x="17" y="131"/>
                    <a:pt x="16" y="133"/>
                  </a:cubicBezTo>
                  <a:cubicBezTo>
                    <a:pt x="15" y="134"/>
                    <a:pt x="14" y="137"/>
                    <a:pt x="15" y="137"/>
                  </a:cubicBezTo>
                  <a:cubicBezTo>
                    <a:pt x="15" y="137"/>
                    <a:pt x="16" y="137"/>
                    <a:pt x="16" y="137"/>
                  </a:cubicBezTo>
                  <a:cubicBezTo>
                    <a:pt x="14" y="138"/>
                    <a:pt x="11" y="138"/>
                    <a:pt x="8" y="139"/>
                  </a:cubicBezTo>
                  <a:cubicBezTo>
                    <a:pt x="12" y="141"/>
                    <a:pt x="16" y="142"/>
                    <a:pt x="20" y="144"/>
                  </a:cubicBezTo>
                  <a:cubicBezTo>
                    <a:pt x="20" y="144"/>
                    <a:pt x="19" y="144"/>
                    <a:pt x="18" y="144"/>
                  </a:cubicBezTo>
                  <a:cubicBezTo>
                    <a:pt x="17" y="144"/>
                    <a:pt x="16" y="144"/>
                    <a:pt x="17" y="145"/>
                  </a:cubicBezTo>
                  <a:cubicBezTo>
                    <a:pt x="17" y="147"/>
                    <a:pt x="22" y="147"/>
                    <a:pt x="23" y="148"/>
                  </a:cubicBezTo>
                  <a:cubicBezTo>
                    <a:pt x="22" y="148"/>
                    <a:pt x="22" y="148"/>
                    <a:pt x="22" y="148"/>
                  </a:cubicBezTo>
                  <a:cubicBezTo>
                    <a:pt x="23" y="148"/>
                    <a:pt x="23" y="148"/>
                    <a:pt x="23" y="148"/>
                  </a:cubicBezTo>
                  <a:cubicBezTo>
                    <a:pt x="24" y="148"/>
                    <a:pt x="24" y="148"/>
                    <a:pt x="25" y="147"/>
                  </a:cubicBezTo>
                  <a:cubicBezTo>
                    <a:pt x="26" y="147"/>
                    <a:pt x="27" y="147"/>
                    <a:pt x="27" y="147"/>
                  </a:cubicBezTo>
                  <a:cubicBezTo>
                    <a:pt x="28" y="147"/>
                    <a:pt x="29" y="147"/>
                    <a:pt x="29" y="148"/>
                  </a:cubicBezTo>
                  <a:cubicBezTo>
                    <a:pt x="29" y="149"/>
                    <a:pt x="27" y="149"/>
                    <a:pt x="26" y="149"/>
                  </a:cubicBezTo>
                  <a:cubicBezTo>
                    <a:pt x="27" y="150"/>
                    <a:pt x="27" y="150"/>
                    <a:pt x="27" y="150"/>
                  </a:cubicBezTo>
                  <a:cubicBezTo>
                    <a:pt x="26" y="150"/>
                    <a:pt x="25" y="151"/>
                    <a:pt x="25" y="152"/>
                  </a:cubicBezTo>
                  <a:cubicBezTo>
                    <a:pt x="28" y="151"/>
                    <a:pt x="31" y="149"/>
                    <a:pt x="32" y="147"/>
                  </a:cubicBezTo>
                  <a:cubicBezTo>
                    <a:pt x="33" y="146"/>
                    <a:pt x="31" y="145"/>
                    <a:pt x="34" y="145"/>
                  </a:cubicBezTo>
                  <a:cubicBezTo>
                    <a:pt x="33" y="144"/>
                    <a:pt x="31" y="144"/>
                    <a:pt x="31" y="142"/>
                  </a:cubicBezTo>
                  <a:cubicBezTo>
                    <a:pt x="34" y="144"/>
                    <a:pt x="38" y="146"/>
                    <a:pt x="41" y="148"/>
                  </a:cubicBezTo>
                  <a:cubicBezTo>
                    <a:pt x="43" y="149"/>
                    <a:pt x="44" y="150"/>
                    <a:pt x="45" y="150"/>
                  </a:cubicBezTo>
                  <a:cubicBezTo>
                    <a:pt x="45" y="150"/>
                    <a:pt x="46" y="150"/>
                    <a:pt x="47" y="149"/>
                  </a:cubicBezTo>
                  <a:cubicBezTo>
                    <a:pt x="50" y="147"/>
                    <a:pt x="51" y="147"/>
                    <a:pt x="52" y="147"/>
                  </a:cubicBezTo>
                  <a:cubicBezTo>
                    <a:pt x="53" y="147"/>
                    <a:pt x="54" y="147"/>
                    <a:pt x="55" y="147"/>
                  </a:cubicBezTo>
                  <a:cubicBezTo>
                    <a:pt x="55" y="147"/>
                    <a:pt x="55" y="147"/>
                    <a:pt x="55" y="147"/>
                  </a:cubicBezTo>
                  <a:cubicBezTo>
                    <a:pt x="56" y="146"/>
                    <a:pt x="56" y="146"/>
                    <a:pt x="56" y="146"/>
                  </a:cubicBezTo>
                  <a:cubicBezTo>
                    <a:pt x="56" y="144"/>
                    <a:pt x="58" y="142"/>
                    <a:pt x="59" y="141"/>
                  </a:cubicBezTo>
                  <a:cubicBezTo>
                    <a:pt x="60" y="140"/>
                    <a:pt x="60" y="139"/>
                    <a:pt x="61" y="139"/>
                  </a:cubicBezTo>
                  <a:cubicBezTo>
                    <a:pt x="61" y="138"/>
                    <a:pt x="61" y="138"/>
                    <a:pt x="61" y="138"/>
                  </a:cubicBezTo>
                  <a:cubicBezTo>
                    <a:pt x="62" y="136"/>
                    <a:pt x="64" y="135"/>
                    <a:pt x="66" y="134"/>
                  </a:cubicBezTo>
                  <a:cubicBezTo>
                    <a:pt x="68" y="133"/>
                    <a:pt x="70" y="133"/>
                    <a:pt x="72" y="133"/>
                  </a:cubicBezTo>
                  <a:cubicBezTo>
                    <a:pt x="73" y="133"/>
                    <a:pt x="74" y="133"/>
                    <a:pt x="75" y="133"/>
                  </a:cubicBezTo>
                  <a:cubicBezTo>
                    <a:pt x="90" y="131"/>
                    <a:pt x="90" y="131"/>
                    <a:pt x="90" y="131"/>
                  </a:cubicBezTo>
                  <a:cubicBezTo>
                    <a:pt x="91" y="131"/>
                    <a:pt x="91" y="131"/>
                    <a:pt x="91" y="131"/>
                  </a:cubicBezTo>
                  <a:cubicBezTo>
                    <a:pt x="91" y="131"/>
                    <a:pt x="92" y="131"/>
                    <a:pt x="92" y="130"/>
                  </a:cubicBezTo>
                  <a:cubicBezTo>
                    <a:pt x="92" y="130"/>
                    <a:pt x="93" y="130"/>
                    <a:pt x="93" y="129"/>
                  </a:cubicBezTo>
                  <a:cubicBezTo>
                    <a:pt x="96" y="126"/>
                    <a:pt x="96" y="126"/>
                    <a:pt x="96" y="126"/>
                  </a:cubicBezTo>
                  <a:cubicBezTo>
                    <a:pt x="96" y="125"/>
                    <a:pt x="96" y="125"/>
                    <a:pt x="96" y="125"/>
                  </a:cubicBezTo>
                  <a:cubicBezTo>
                    <a:pt x="97" y="123"/>
                    <a:pt x="97" y="123"/>
                    <a:pt x="97" y="123"/>
                  </a:cubicBezTo>
                  <a:cubicBezTo>
                    <a:pt x="98" y="123"/>
                    <a:pt x="98" y="123"/>
                    <a:pt x="98" y="123"/>
                  </a:cubicBezTo>
                  <a:cubicBezTo>
                    <a:pt x="97" y="122"/>
                    <a:pt x="97" y="122"/>
                    <a:pt x="97" y="122"/>
                  </a:cubicBezTo>
                  <a:cubicBezTo>
                    <a:pt x="95" y="121"/>
                    <a:pt x="92" y="119"/>
                    <a:pt x="91" y="117"/>
                  </a:cubicBezTo>
                  <a:cubicBezTo>
                    <a:pt x="89" y="115"/>
                    <a:pt x="87" y="113"/>
                    <a:pt x="85" y="111"/>
                  </a:cubicBezTo>
                  <a:cubicBezTo>
                    <a:pt x="83" y="110"/>
                    <a:pt x="79" y="110"/>
                    <a:pt x="77" y="109"/>
                  </a:cubicBezTo>
                  <a:cubicBezTo>
                    <a:pt x="74" y="108"/>
                    <a:pt x="76" y="105"/>
                    <a:pt x="77" y="103"/>
                  </a:cubicBezTo>
                  <a:cubicBezTo>
                    <a:pt x="78" y="103"/>
                    <a:pt x="79" y="105"/>
                    <a:pt x="79" y="106"/>
                  </a:cubicBezTo>
                  <a:cubicBezTo>
                    <a:pt x="79" y="104"/>
                    <a:pt x="79" y="102"/>
                    <a:pt x="79" y="101"/>
                  </a:cubicBezTo>
                  <a:cubicBezTo>
                    <a:pt x="79" y="100"/>
                    <a:pt x="80" y="98"/>
                    <a:pt x="80" y="98"/>
                  </a:cubicBezTo>
                  <a:cubicBezTo>
                    <a:pt x="80" y="96"/>
                    <a:pt x="78" y="96"/>
                    <a:pt x="78" y="94"/>
                  </a:cubicBezTo>
                  <a:cubicBezTo>
                    <a:pt x="79" y="90"/>
                    <a:pt x="94" y="86"/>
                    <a:pt x="98" y="85"/>
                  </a:cubicBezTo>
                  <a:cubicBezTo>
                    <a:pt x="107" y="81"/>
                    <a:pt x="112" y="74"/>
                    <a:pt x="119" y="69"/>
                  </a:cubicBezTo>
                  <a:cubicBezTo>
                    <a:pt x="123" y="67"/>
                    <a:pt x="133" y="63"/>
                    <a:pt x="134" y="59"/>
                  </a:cubicBezTo>
                  <a:cubicBezTo>
                    <a:pt x="134" y="58"/>
                    <a:pt x="133" y="56"/>
                    <a:pt x="133" y="55"/>
                  </a:cubicBezTo>
                  <a:cubicBezTo>
                    <a:pt x="133" y="54"/>
                    <a:pt x="133" y="52"/>
                    <a:pt x="133" y="51"/>
                  </a:cubicBezTo>
                  <a:cubicBezTo>
                    <a:pt x="133" y="50"/>
                    <a:pt x="134" y="48"/>
                    <a:pt x="134" y="47"/>
                  </a:cubicBezTo>
                  <a:cubicBezTo>
                    <a:pt x="135" y="46"/>
                    <a:pt x="134" y="45"/>
                    <a:pt x="134" y="45"/>
                  </a:cubicBezTo>
                  <a:cubicBezTo>
                    <a:pt x="135" y="35"/>
                    <a:pt x="138" y="28"/>
                    <a:pt x="145" y="22"/>
                  </a:cubicBezTo>
                  <a:cubicBezTo>
                    <a:pt x="147" y="20"/>
                    <a:pt x="149" y="18"/>
                    <a:pt x="150" y="18"/>
                  </a:cubicBezTo>
                  <a:cubicBezTo>
                    <a:pt x="151" y="17"/>
                    <a:pt x="151" y="17"/>
                    <a:pt x="151" y="17"/>
                  </a:cubicBezTo>
                  <a:cubicBezTo>
                    <a:pt x="152" y="17"/>
                    <a:pt x="152" y="17"/>
                    <a:pt x="152" y="17"/>
                  </a:cubicBezTo>
                  <a:cubicBezTo>
                    <a:pt x="152" y="16"/>
                    <a:pt x="151" y="15"/>
                    <a:pt x="150" y="15"/>
                  </a:cubicBezTo>
                  <a:cubicBezTo>
                    <a:pt x="150" y="14"/>
                    <a:pt x="150" y="14"/>
                    <a:pt x="150" y="14"/>
                  </a:cubicBezTo>
                  <a:cubicBezTo>
                    <a:pt x="148" y="13"/>
                    <a:pt x="146" y="11"/>
                    <a:pt x="144" y="8"/>
                  </a:cubicBezTo>
                  <a:cubicBezTo>
                    <a:pt x="142" y="8"/>
                    <a:pt x="142" y="8"/>
                    <a:pt x="142" y="8"/>
                  </a:cubicBezTo>
                  <a:cubicBezTo>
                    <a:pt x="144" y="6"/>
                    <a:pt x="144" y="6"/>
                    <a:pt x="144" y="6"/>
                  </a:cubicBezTo>
                  <a:cubicBezTo>
                    <a:pt x="143" y="5"/>
                    <a:pt x="143" y="5"/>
                    <a:pt x="143" y="4"/>
                  </a:cubicBezTo>
                  <a:cubicBezTo>
                    <a:pt x="143" y="3"/>
                    <a:pt x="143" y="2"/>
                    <a:pt x="142" y="2"/>
                  </a:cubicBezTo>
                  <a:cubicBezTo>
                    <a:pt x="142" y="2"/>
                    <a:pt x="141" y="1"/>
                    <a:pt x="139" y="0"/>
                  </a:cubicBezTo>
                  <a:cubicBezTo>
                    <a:pt x="139" y="0"/>
                    <a:pt x="139" y="0"/>
                    <a:pt x="1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540"/>
            <p:cNvSpPr>
              <a:spLocks noEditPoints="1"/>
            </p:cNvSpPr>
            <p:nvPr/>
          </p:nvSpPr>
          <p:spPr bwMode="auto">
            <a:xfrm>
              <a:off x="7494888" y="2686251"/>
              <a:ext cx="267282" cy="377418"/>
            </a:xfrm>
            <a:custGeom>
              <a:gdLst>
                <a:gd name="T0" fmla="*/ 57 w 84"/>
                <a:gd name="T1" fmla="*/ 102 h 119"/>
                <a:gd name="T2" fmla="*/ 56 w 84"/>
                <a:gd name="T3" fmla="*/ 0 h 119"/>
                <a:gd name="T4" fmla="*/ 55 w 84"/>
                <a:gd name="T5" fmla="*/ 2 h 119"/>
                <a:gd name="T6" fmla="*/ 52 w 84"/>
                <a:gd name="T7" fmla="*/ 5 h 119"/>
                <a:gd name="T8" fmla="*/ 46 w 84"/>
                <a:gd name="T9" fmla="*/ 8 h 119"/>
                <a:gd name="T10" fmla="*/ 28 w 84"/>
                <a:gd name="T11" fmla="*/ 10 h 119"/>
                <a:gd name="T12" fmla="*/ 22 w 84"/>
                <a:gd name="T13" fmla="*/ 12 h 119"/>
                <a:gd name="T14" fmla="*/ 19 w 84"/>
                <a:gd name="T15" fmla="*/ 15 h 119"/>
                <a:gd name="T16" fmla="*/ 16 w 84"/>
                <a:gd name="T17" fmla="*/ 19 h 119"/>
                <a:gd name="T18" fmla="*/ 15 w 84"/>
                <a:gd name="T19" fmla="*/ 21 h 119"/>
                <a:gd name="T20" fmla="*/ 14 w 84"/>
                <a:gd name="T21" fmla="*/ 25 h 119"/>
                <a:gd name="T22" fmla="*/ 11 w 84"/>
                <a:gd name="T23" fmla="*/ 22 h 119"/>
                <a:gd name="T24" fmla="*/ 10 w 84"/>
                <a:gd name="T25" fmla="*/ 21 h 119"/>
                <a:gd name="T26" fmla="*/ 12 w 84"/>
                <a:gd name="T27" fmla="*/ 26 h 119"/>
                <a:gd name="T28" fmla="*/ 17 w 84"/>
                <a:gd name="T29" fmla="*/ 35 h 119"/>
                <a:gd name="T30" fmla="*/ 13 w 84"/>
                <a:gd name="T31" fmla="*/ 39 h 119"/>
                <a:gd name="T32" fmla="*/ 14 w 84"/>
                <a:gd name="T33" fmla="*/ 38 h 119"/>
                <a:gd name="T34" fmla="*/ 17 w 84"/>
                <a:gd name="T35" fmla="*/ 38 h 119"/>
                <a:gd name="T36" fmla="*/ 17 w 84"/>
                <a:gd name="T37" fmla="*/ 42 h 119"/>
                <a:gd name="T38" fmla="*/ 17 w 84"/>
                <a:gd name="T39" fmla="*/ 49 h 119"/>
                <a:gd name="T40" fmla="*/ 16 w 84"/>
                <a:gd name="T41" fmla="*/ 46 h 119"/>
                <a:gd name="T42" fmla="*/ 14 w 84"/>
                <a:gd name="T43" fmla="*/ 44 h 119"/>
                <a:gd name="T44" fmla="*/ 12 w 84"/>
                <a:gd name="T45" fmla="*/ 45 h 119"/>
                <a:gd name="T46" fmla="*/ 9 w 84"/>
                <a:gd name="T47" fmla="*/ 41 h 119"/>
                <a:gd name="T48" fmla="*/ 6 w 84"/>
                <a:gd name="T49" fmla="*/ 42 h 119"/>
                <a:gd name="T50" fmla="*/ 3 w 84"/>
                <a:gd name="T51" fmla="*/ 48 h 119"/>
                <a:gd name="T52" fmla="*/ 0 w 84"/>
                <a:gd name="T53" fmla="*/ 48 h 119"/>
                <a:gd name="T54" fmla="*/ 0 w 84"/>
                <a:gd name="T55" fmla="*/ 49 h 119"/>
                <a:gd name="T56" fmla="*/ 8 w 84"/>
                <a:gd name="T57" fmla="*/ 50 h 119"/>
                <a:gd name="T58" fmla="*/ 9 w 84"/>
                <a:gd name="T59" fmla="*/ 59 h 119"/>
                <a:gd name="T60" fmla="*/ 18 w 84"/>
                <a:gd name="T61" fmla="*/ 69 h 119"/>
                <a:gd name="T62" fmla="*/ 12 w 84"/>
                <a:gd name="T63" fmla="*/ 74 h 119"/>
                <a:gd name="T64" fmla="*/ 12 w 84"/>
                <a:gd name="T65" fmla="*/ 74 h 119"/>
                <a:gd name="T66" fmla="*/ 15 w 84"/>
                <a:gd name="T67" fmla="*/ 77 h 119"/>
                <a:gd name="T68" fmla="*/ 8 w 84"/>
                <a:gd name="T69" fmla="*/ 82 h 119"/>
                <a:gd name="T70" fmla="*/ 4 w 84"/>
                <a:gd name="T71" fmla="*/ 91 h 119"/>
                <a:gd name="T72" fmla="*/ 2 w 84"/>
                <a:gd name="T73" fmla="*/ 96 h 119"/>
                <a:gd name="T74" fmla="*/ 7 w 84"/>
                <a:gd name="T75" fmla="*/ 104 h 119"/>
                <a:gd name="T76" fmla="*/ 9 w 84"/>
                <a:gd name="T77" fmla="*/ 104 h 119"/>
                <a:gd name="T78" fmla="*/ 12 w 84"/>
                <a:gd name="T79" fmla="*/ 104 h 119"/>
                <a:gd name="T80" fmla="*/ 5 w 84"/>
                <a:gd name="T81" fmla="*/ 106 h 119"/>
                <a:gd name="T82" fmla="*/ 11 w 84"/>
                <a:gd name="T83" fmla="*/ 109 h 119"/>
                <a:gd name="T84" fmla="*/ 9 w 84"/>
                <a:gd name="T85" fmla="*/ 109 h 119"/>
                <a:gd name="T86" fmla="*/ 3 w 84"/>
                <a:gd name="T87" fmla="*/ 108 h 119"/>
                <a:gd name="T88" fmla="*/ 5 w 84"/>
                <a:gd name="T89" fmla="*/ 111 h 119"/>
                <a:gd name="T90" fmla="*/ 20 w 84"/>
                <a:gd name="T91" fmla="*/ 109 h 119"/>
                <a:gd name="T92" fmla="*/ 29 w 84"/>
                <a:gd name="T93" fmla="*/ 106 h 119"/>
                <a:gd name="T94" fmla="*/ 30 w 84"/>
                <a:gd name="T95" fmla="*/ 113 h 119"/>
                <a:gd name="T96" fmla="*/ 33 w 84"/>
                <a:gd name="T97" fmla="*/ 110 h 119"/>
                <a:gd name="T98" fmla="*/ 34 w 84"/>
                <a:gd name="T99" fmla="*/ 102 h 119"/>
                <a:gd name="T100" fmla="*/ 40 w 84"/>
                <a:gd name="T101" fmla="*/ 104 h 119"/>
                <a:gd name="T102" fmla="*/ 47 w 84"/>
                <a:gd name="T103" fmla="*/ 97 h 119"/>
                <a:gd name="T104" fmla="*/ 56 w 84"/>
                <a:gd name="T105" fmla="*/ 103 h 119"/>
                <a:gd name="T106" fmla="*/ 57 w 84"/>
                <a:gd name="T107" fmla="*/ 102 h 119"/>
                <a:gd name="T108" fmla="*/ 61 w 84"/>
                <a:gd name="T109" fmla="*/ 97 h 119"/>
                <a:gd name="T110" fmla="*/ 69 w 84"/>
                <a:gd name="T111" fmla="*/ 95 h 119"/>
                <a:gd name="T112" fmla="*/ 71 w 84"/>
                <a:gd name="T113" fmla="*/ 96 h 119"/>
                <a:gd name="T114" fmla="*/ 84 w 84"/>
                <a:gd name="T115" fmla="*/ 69 h 119"/>
                <a:gd name="T116" fmla="*/ 80 w 84"/>
                <a:gd name="T117" fmla="*/ 69 h 119"/>
                <a:gd name="T118" fmla="*/ 76 w 84"/>
                <a:gd name="T119" fmla="*/ 33 h 119"/>
                <a:gd name="T120" fmla="*/ 56 w 84"/>
                <a:gd name="T121" fmla="*/ 0 h 1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19">
                  <a:moveTo>
                    <a:pt x="57" y="102"/>
                  </a:moveTo>
                  <a:cubicBezTo>
                    <a:pt x="57" y="102"/>
                    <a:pt x="57" y="102"/>
                    <a:pt x="57" y="102"/>
                  </a:cubicBezTo>
                  <a:cubicBezTo>
                    <a:pt x="57" y="102"/>
                    <a:pt x="57" y="102"/>
                    <a:pt x="57" y="102"/>
                  </a:cubicBezTo>
                  <a:moveTo>
                    <a:pt x="56" y="0"/>
                  </a:moveTo>
                  <a:cubicBezTo>
                    <a:pt x="56" y="0"/>
                    <a:pt x="56" y="0"/>
                    <a:pt x="56" y="0"/>
                  </a:cubicBezTo>
                  <a:cubicBezTo>
                    <a:pt x="56" y="1"/>
                    <a:pt x="55" y="1"/>
                    <a:pt x="55" y="2"/>
                  </a:cubicBezTo>
                  <a:cubicBezTo>
                    <a:pt x="53" y="4"/>
                    <a:pt x="53" y="4"/>
                    <a:pt x="53" y="4"/>
                  </a:cubicBezTo>
                  <a:cubicBezTo>
                    <a:pt x="52" y="5"/>
                    <a:pt x="52" y="5"/>
                    <a:pt x="52" y="5"/>
                  </a:cubicBezTo>
                  <a:cubicBezTo>
                    <a:pt x="51" y="6"/>
                    <a:pt x="50" y="7"/>
                    <a:pt x="49" y="7"/>
                  </a:cubicBezTo>
                  <a:cubicBezTo>
                    <a:pt x="48" y="8"/>
                    <a:pt x="47" y="8"/>
                    <a:pt x="46" y="8"/>
                  </a:cubicBezTo>
                  <a:cubicBezTo>
                    <a:pt x="30" y="10"/>
                    <a:pt x="30" y="10"/>
                    <a:pt x="30" y="10"/>
                  </a:cubicBezTo>
                  <a:cubicBezTo>
                    <a:pt x="30" y="10"/>
                    <a:pt x="29" y="10"/>
                    <a:pt x="28" y="10"/>
                  </a:cubicBezTo>
                  <a:cubicBezTo>
                    <a:pt x="26" y="10"/>
                    <a:pt x="24" y="10"/>
                    <a:pt x="23" y="10"/>
                  </a:cubicBezTo>
                  <a:cubicBezTo>
                    <a:pt x="23" y="10"/>
                    <a:pt x="22" y="11"/>
                    <a:pt x="22" y="12"/>
                  </a:cubicBezTo>
                  <a:cubicBezTo>
                    <a:pt x="21" y="13"/>
                    <a:pt x="21" y="13"/>
                    <a:pt x="21" y="14"/>
                  </a:cubicBezTo>
                  <a:cubicBezTo>
                    <a:pt x="20" y="14"/>
                    <a:pt x="20" y="15"/>
                    <a:pt x="19" y="15"/>
                  </a:cubicBezTo>
                  <a:cubicBezTo>
                    <a:pt x="19" y="16"/>
                    <a:pt x="19" y="16"/>
                    <a:pt x="19" y="16"/>
                  </a:cubicBezTo>
                  <a:cubicBezTo>
                    <a:pt x="18" y="17"/>
                    <a:pt x="17" y="18"/>
                    <a:pt x="16" y="19"/>
                  </a:cubicBezTo>
                  <a:cubicBezTo>
                    <a:pt x="16" y="20"/>
                    <a:pt x="16" y="20"/>
                    <a:pt x="16" y="20"/>
                  </a:cubicBezTo>
                  <a:cubicBezTo>
                    <a:pt x="15" y="21"/>
                    <a:pt x="15" y="21"/>
                    <a:pt x="15" y="21"/>
                  </a:cubicBezTo>
                  <a:cubicBezTo>
                    <a:pt x="15" y="21"/>
                    <a:pt x="14" y="22"/>
                    <a:pt x="14" y="22"/>
                  </a:cubicBezTo>
                  <a:cubicBezTo>
                    <a:pt x="14" y="23"/>
                    <a:pt x="14" y="24"/>
                    <a:pt x="14" y="25"/>
                  </a:cubicBezTo>
                  <a:cubicBezTo>
                    <a:pt x="13" y="24"/>
                    <a:pt x="13" y="23"/>
                    <a:pt x="12" y="22"/>
                  </a:cubicBezTo>
                  <a:cubicBezTo>
                    <a:pt x="11" y="22"/>
                    <a:pt x="11" y="22"/>
                    <a:pt x="11" y="22"/>
                  </a:cubicBezTo>
                  <a:cubicBezTo>
                    <a:pt x="11" y="22"/>
                    <a:pt x="11" y="22"/>
                    <a:pt x="11" y="22"/>
                  </a:cubicBezTo>
                  <a:cubicBezTo>
                    <a:pt x="11" y="21"/>
                    <a:pt x="10" y="21"/>
                    <a:pt x="10" y="21"/>
                  </a:cubicBezTo>
                  <a:cubicBezTo>
                    <a:pt x="10" y="21"/>
                    <a:pt x="10" y="22"/>
                    <a:pt x="9" y="22"/>
                  </a:cubicBezTo>
                  <a:cubicBezTo>
                    <a:pt x="9" y="24"/>
                    <a:pt x="11" y="25"/>
                    <a:pt x="12" y="26"/>
                  </a:cubicBezTo>
                  <a:cubicBezTo>
                    <a:pt x="13" y="27"/>
                    <a:pt x="13" y="30"/>
                    <a:pt x="14" y="32"/>
                  </a:cubicBezTo>
                  <a:cubicBezTo>
                    <a:pt x="15" y="33"/>
                    <a:pt x="17" y="34"/>
                    <a:pt x="17" y="35"/>
                  </a:cubicBezTo>
                  <a:cubicBezTo>
                    <a:pt x="17" y="35"/>
                    <a:pt x="17" y="35"/>
                    <a:pt x="17" y="35"/>
                  </a:cubicBezTo>
                  <a:cubicBezTo>
                    <a:pt x="16" y="35"/>
                    <a:pt x="13" y="38"/>
                    <a:pt x="13" y="39"/>
                  </a:cubicBezTo>
                  <a:cubicBezTo>
                    <a:pt x="13" y="39"/>
                    <a:pt x="13" y="39"/>
                    <a:pt x="13" y="39"/>
                  </a:cubicBezTo>
                  <a:cubicBezTo>
                    <a:pt x="13" y="39"/>
                    <a:pt x="14" y="39"/>
                    <a:pt x="14" y="38"/>
                  </a:cubicBezTo>
                  <a:cubicBezTo>
                    <a:pt x="15" y="38"/>
                    <a:pt x="16" y="38"/>
                    <a:pt x="16" y="38"/>
                  </a:cubicBezTo>
                  <a:cubicBezTo>
                    <a:pt x="17" y="38"/>
                    <a:pt x="17" y="38"/>
                    <a:pt x="17" y="38"/>
                  </a:cubicBezTo>
                  <a:cubicBezTo>
                    <a:pt x="17" y="39"/>
                    <a:pt x="16" y="40"/>
                    <a:pt x="15" y="41"/>
                  </a:cubicBezTo>
                  <a:cubicBezTo>
                    <a:pt x="16" y="41"/>
                    <a:pt x="16" y="42"/>
                    <a:pt x="17" y="42"/>
                  </a:cubicBezTo>
                  <a:cubicBezTo>
                    <a:pt x="15" y="44"/>
                    <a:pt x="19" y="44"/>
                    <a:pt x="21" y="44"/>
                  </a:cubicBezTo>
                  <a:cubicBezTo>
                    <a:pt x="18" y="46"/>
                    <a:pt x="17" y="46"/>
                    <a:pt x="17" y="49"/>
                  </a:cubicBezTo>
                  <a:cubicBezTo>
                    <a:pt x="17" y="48"/>
                    <a:pt x="17" y="45"/>
                    <a:pt x="16" y="45"/>
                  </a:cubicBezTo>
                  <a:cubicBezTo>
                    <a:pt x="16" y="45"/>
                    <a:pt x="16" y="45"/>
                    <a:pt x="16" y="46"/>
                  </a:cubicBezTo>
                  <a:cubicBezTo>
                    <a:pt x="16" y="44"/>
                    <a:pt x="16" y="44"/>
                    <a:pt x="15" y="44"/>
                  </a:cubicBezTo>
                  <a:cubicBezTo>
                    <a:pt x="15" y="44"/>
                    <a:pt x="14" y="44"/>
                    <a:pt x="14" y="44"/>
                  </a:cubicBezTo>
                  <a:cubicBezTo>
                    <a:pt x="14" y="44"/>
                    <a:pt x="14" y="43"/>
                    <a:pt x="13" y="43"/>
                  </a:cubicBezTo>
                  <a:cubicBezTo>
                    <a:pt x="13" y="44"/>
                    <a:pt x="12" y="44"/>
                    <a:pt x="12" y="45"/>
                  </a:cubicBezTo>
                  <a:cubicBezTo>
                    <a:pt x="12" y="44"/>
                    <a:pt x="11" y="43"/>
                    <a:pt x="10" y="42"/>
                  </a:cubicBezTo>
                  <a:cubicBezTo>
                    <a:pt x="10" y="42"/>
                    <a:pt x="9" y="41"/>
                    <a:pt x="9" y="41"/>
                  </a:cubicBezTo>
                  <a:cubicBezTo>
                    <a:pt x="8" y="41"/>
                    <a:pt x="8" y="44"/>
                    <a:pt x="8" y="46"/>
                  </a:cubicBezTo>
                  <a:cubicBezTo>
                    <a:pt x="8" y="45"/>
                    <a:pt x="7" y="42"/>
                    <a:pt x="6" y="42"/>
                  </a:cubicBezTo>
                  <a:cubicBezTo>
                    <a:pt x="6" y="42"/>
                    <a:pt x="6" y="42"/>
                    <a:pt x="6" y="42"/>
                  </a:cubicBezTo>
                  <a:cubicBezTo>
                    <a:pt x="3" y="42"/>
                    <a:pt x="5" y="47"/>
                    <a:pt x="3" y="48"/>
                  </a:cubicBezTo>
                  <a:cubicBezTo>
                    <a:pt x="3" y="47"/>
                    <a:pt x="4" y="45"/>
                    <a:pt x="3" y="44"/>
                  </a:cubicBezTo>
                  <a:cubicBezTo>
                    <a:pt x="3" y="48"/>
                    <a:pt x="1" y="44"/>
                    <a:pt x="0" y="48"/>
                  </a:cubicBezTo>
                  <a:cubicBezTo>
                    <a:pt x="0" y="47"/>
                    <a:pt x="0" y="47"/>
                    <a:pt x="0" y="47"/>
                  </a:cubicBezTo>
                  <a:cubicBezTo>
                    <a:pt x="0" y="48"/>
                    <a:pt x="0" y="48"/>
                    <a:pt x="0" y="49"/>
                  </a:cubicBezTo>
                  <a:cubicBezTo>
                    <a:pt x="2" y="50"/>
                    <a:pt x="5" y="49"/>
                    <a:pt x="7" y="51"/>
                  </a:cubicBezTo>
                  <a:cubicBezTo>
                    <a:pt x="7" y="50"/>
                    <a:pt x="7" y="50"/>
                    <a:pt x="8" y="50"/>
                  </a:cubicBezTo>
                  <a:cubicBezTo>
                    <a:pt x="8" y="50"/>
                    <a:pt x="8" y="51"/>
                    <a:pt x="8" y="53"/>
                  </a:cubicBezTo>
                  <a:cubicBezTo>
                    <a:pt x="8" y="55"/>
                    <a:pt x="8" y="57"/>
                    <a:pt x="9" y="59"/>
                  </a:cubicBezTo>
                  <a:cubicBezTo>
                    <a:pt x="9" y="61"/>
                    <a:pt x="11" y="66"/>
                    <a:pt x="8" y="67"/>
                  </a:cubicBezTo>
                  <a:cubicBezTo>
                    <a:pt x="11" y="68"/>
                    <a:pt x="15" y="68"/>
                    <a:pt x="18" y="69"/>
                  </a:cubicBezTo>
                  <a:cubicBezTo>
                    <a:pt x="17" y="70"/>
                    <a:pt x="12" y="72"/>
                    <a:pt x="11" y="73"/>
                  </a:cubicBezTo>
                  <a:cubicBezTo>
                    <a:pt x="11" y="74"/>
                    <a:pt x="11" y="74"/>
                    <a:pt x="12" y="74"/>
                  </a:cubicBezTo>
                  <a:cubicBezTo>
                    <a:pt x="12" y="74"/>
                    <a:pt x="12" y="74"/>
                    <a:pt x="12" y="74"/>
                  </a:cubicBezTo>
                  <a:cubicBezTo>
                    <a:pt x="12" y="74"/>
                    <a:pt x="12" y="74"/>
                    <a:pt x="12" y="74"/>
                  </a:cubicBezTo>
                  <a:cubicBezTo>
                    <a:pt x="12" y="74"/>
                    <a:pt x="12" y="74"/>
                    <a:pt x="12" y="74"/>
                  </a:cubicBezTo>
                  <a:cubicBezTo>
                    <a:pt x="12" y="74"/>
                    <a:pt x="15" y="77"/>
                    <a:pt x="15" y="77"/>
                  </a:cubicBezTo>
                  <a:cubicBezTo>
                    <a:pt x="15" y="77"/>
                    <a:pt x="15" y="77"/>
                    <a:pt x="15" y="77"/>
                  </a:cubicBezTo>
                  <a:cubicBezTo>
                    <a:pt x="13" y="77"/>
                    <a:pt x="7" y="81"/>
                    <a:pt x="8" y="82"/>
                  </a:cubicBezTo>
                  <a:cubicBezTo>
                    <a:pt x="8" y="83"/>
                    <a:pt x="11" y="82"/>
                    <a:pt x="13" y="83"/>
                  </a:cubicBezTo>
                  <a:cubicBezTo>
                    <a:pt x="9" y="85"/>
                    <a:pt x="5" y="88"/>
                    <a:pt x="4" y="91"/>
                  </a:cubicBezTo>
                  <a:cubicBezTo>
                    <a:pt x="4" y="94"/>
                    <a:pt x="6" y="96"/>
                    <a:pt x="7" y="98"/>
                  </a:cubicBezTo>
                  <a:cubicBezTo>
                    <a:pt x="6" y="97"/>
                    <a:pt x="4" y="96"/>
                    <a:pt x="2" y="96"/>
                  </a:cubicBezTo>
                  <a:cubicBezTo>
                    <a:pt x="3" y="98"/>
                    <a:pt x="4" y="100"/>
                    <a:pt x="4" y="102"/>
                  </a:cubicBezTo>
                  <a:cubicBezTo>
                    <a:pt x="5" y="105"/>
                    <a:pt x="5" y="104"/>
                    <a:pt x="7" y="104"/>
                  </a:cubicBezTo>
                  <a:cubicBezTo>
                    <a:pt x="7" y="104"/>
                    <a:pt x="7" y="104"/>
                    <a:pt x="8" y="104"/>
                  </a:cubicBezTo>
                  <a:cubicBezTo>
                    <a:pt x="8" y="104"/>
                    <a:pt x="9" y="104"/>
                    <a:pt x="9" y="104"/>
                  </a:cubicBezTo>
                  <a:cubicBezTo>
                    <a:pt x="10" y="104"/>
                    <a:pt x="10" y="104"/>
                    <a:pt x="11" y="104"/>
                  </a:cubicBezTo>
                  <a:cubicBezTo>
                    <a:pt x="11" y="104"/>
                    <a:pt x="12" y="104"/>
                    <a:pt x="12" y="104"/>
                  </a:cubicBezTo>
                  <a:cubicBezTo>
                    <a:pt x="11" y="105"/>
                    <a:pt x="10" y="104"/>
                    <a:pt x="10" y="105"/>
                  </a:cubicBezTo>
                  <a:cubicBezTo>
                    <a:pt x="9" y="106"/>
                    <a:pt x="7" y="106"/>
                    <a:pt x="5" y="106"/>
                  </a:cubicBezTo>
                  <a:cubicBezTo>
                    <a:pt x="6" y="106"/>
                    <a:pt x="6" y="106"/>
                    <a:pt x="6" y="106"/>
                  </a:cubicBezTo>
                  <a:cubicBezTo>
                    <a:pt x="8" y="106"/>
                    <a:pt x="10" y="108"/>
                    <a:pt x="11" y="109"/>
                  </a:cubicBezTo>
                  <a:cubicBezTo>
                    <a:pt x="11" y="109"/>
                    <a:pt x="10" y="109"/>
                    <a:pt x="10" y="109"/>
                  </a:cubicBezTo>
                  <a:cubicBezTo>
                    <a:pt x="10" y="109"/>
                    <a:pt x="9" y="109"/>
                    <a:pt x="9" y="109"/>
                  </a:cubicBezTo>
                  <a:cubicBezTo>
                    <a:pt x="7" y="110"/>
                    <a:pt x="7" y="110"/>
                    <a:pt x="7" y="110"/>
                  </a:cubicBezTo>
                  <a:cubicBezTo>
                    <a:pt x="6" y="110"/>
                    <a:pt x="5" y="108"/>
                    <a:pt x="3" y="108"/>
                  </a:cubicBezTo>
                  <a:cubicBezTo>
                    <a:pt x="3" y="108"/>
                    <a:pt x="3" y="108"/>
                    <a:pt x="3" y="108"/>
                  </a:cubicBezTo>
                  <a:cubicBezTo>
                    <a:pt x="3" y="111"/>
                    <a:pt x="4" y="110"/>
                    <a:pt x="5" y="111"/>
                  </a:cubicBezTo>
                  <a:cubicBezTo>
                    <a:pt x="7" y="113"/>
                    <a:pt x="8" y="116"/>
                    <a:pt x="9" y="119"/>
                  </a:cubicBezTo>
                  <a:cubicBezTo>
                    <a:pt x="13" y="114"/>
                    <a:pt x="14" y="111"/>
                    <a:pt x="20" y="109"/>
                  </a:cubicBezTo>
                  <a:cubicBezTo>
                    <a:pt x="20" y="108"/>
                    <a:pt x="26" y="106"/>
                    <a:pt x="28" y="106"/>
                  </a:cubicBezTo>
                  <a:cubicBezTo>
                    <a:pt x="29" y="106"/>
                    <a:pt x="29" y="106"/>
                    <a:pt x="29" y="106"/>
                  </a:cubicBezTo>
                  <a:cubicBezTo>
                    <a:pt x="29" y="107"/>
                    <a:pt x="24" y="110"/>
                    <a:pt x="24" y="111"/>
                  </a:cubicBezTo>
                  <a:cubicBezTo>
                    <a:pt x="24" y="111"/>
                    <a:pt x="29" y="113"/>
                    <a:pt x="30" y="113"/>
                  </a:cubicBezTo>
                  <a:cubicBezTo>
                    <a:pt x="30" y="113"/>
                    <a:pt x="30" y="113"/>
                    <a:pt x="30" y="113"/>
                  </a:cubicBezTo>
                  <a:cubicBezTo>
                    <a:pt x="31" y="113"/>
                    <a:pt x="33" y="110"/>
                    <a:pt x="33" y="110"/>
                  </a:cubicBezTo>
                  <a:cubicBezTo>
                    <a:pt x="33" y="109"/>
                    <a:pt x="32" y="109"/>
                    <a:pt x="32" y="108"/>
                  </a:cubicBezTo>
                  <a:cubicBezTo>
                    <a:pt x="31" y="106"/>
                    <a:pt x="32" y="104"/>
                    <a:pt x="34" y="102"/>
                  </a:cubicBezTo>
                  <a:cubicBezTo>
                    <a:pt x="34" y="104"/>
                    <a:pt x="35" y="108"/>
                    <a:pt x="37" y="109"/>
                  </a:cubicBezTo>
                  <a:cubicBezTo>
                    <a:pt x="37" y="107"/>
                    <a:pt x="39" y="106"/>
                    <a:pt x="40" y="104"/>
                  </a:cubicBezTo>
                  <a:cubicBezTo>
                    <a:pt x="40" y="103"/>
                    <a:pt x="39" y="102"/>
                    <a:pt x="40" y="100"/>
                  </a:cubicBezTo>
                  <a:cubicBezTo>
                    <a:pt x="40" y="99"/>
                    <a:pt x="45" y="97"/>
                    <a:pt x="47" y="97"/>
                  </a:cubicBezTo>
                  <a:cubicBezTo>
                    <a:pt x="46" y="99"/>
                    <a:pt x="50" y="100"/>
                    <a:pt x="52" y="101"/>
                  </a:cubicBezTo>
                  <a:cubicBezTo>
                    <a:pt x="53" y="101"/>
                    <a:pt x="54" y="103"/>
                    <a:pt x="56" y="103"/>
                  </a:cubicBezTo>
                  <a:cubicBezTo>
                    <a:pt x="56" y="103"/>
                    <a:pt x="56" y="103"/>
                    <a:pt x="57" y="102"/>
                  </a:cubicBezTo>
                  <a:cubicBezTo>
                    <a:pt x="57" y="102"/>
                    <a:pt x="57" y="102"/>
                    <a:pt x="57" y="102"/>
                  </a:cubicBezTo>
                  <a:cubicBezTo>
                    <a:pt x="56" y="102"/>
                    <a:pt x="56" y="100"/>
                    <a:pt x="56" y="100"/>
                  </a:cubicBezTo>
                  <a:cubicBezTo>
                    <a:pt x="57" y="99"/>
                    <a:pt x="60" y="98"/>
                    <a:pt x="61" y="97"/>
                  </a:cubicBezTo>
                  <a:cubicBezTo>
                    <a:pt x="60" y="96"/>
                    <a:pt x="60" y="94"/>
                    <a:pt x="60" y="93"/>
                  </a:cubicBezTo>
                  <a:cubicBezTo>
                    <a:pt x="62" y="94"/>
                    <a:pt x="67" y="94"/>
                    <a:pt x="69" y="95"/>
                  </a:cubicBezTo>
                  <a:cubicBezTo>
                    <a:pt x="70" y="95"/>
                    <a:pt x="70" y="97"/>
                    <a:pt x="71" y="97"/>
                  </a:cubicBezTo>
                  <a:cubicBezTo>
                    <a:pt x="71" y="97"/>
                    <a:pt x="71" y="97"/>
                    <a:pt x="71" y="96"/>
                  </a:cubicBezTo>
                  <a:cubicBezTo>
                    <a:pt x="72" y="96"/>
                    <a:pt x="75" y="94"/>
                    <a:pt x="76" y="93"/>
                  </a:cubicBezTo>
                  <a:cubicBezTo>
                    <a:pt x="80" y="85"/>
                    <a:pt x="82" y="78"/>
                    <a:pt x="84" y="69"/>
                  </a:cubicBezTo>
                  <a:cubicBezTo>
                    <a:pt x="83" y="69"/>
                    <a:pt x="81" y="69"/>
                    <a:pt x="80" y="69"/>
                  </a:cubicBezTo>
                  <a:cubicBezTo>
                    <a:pt x="80" y="69"/>
                    <a:pt x="80" y="69"/>
                    <a:pt x="80" y="69"/>
                  </a:cubicBezTo>
                  <a:cubicBezTo>
                    <a:pt x="81" y="60"/>
                    <a:pt x="80" y="49"/>
                    <a:pt x="79" y="39"/>
                  </a:cubicBezTo>
                  <a:cubicBezTo>
                    <a:pt x="79" y="37"/>
                    <a:pt x="77" y="35"/>
                    <a:pt x="76" y="33"/>
                  </a:cubicBezTo>
                  <a:cubicBezTo>
                    <a:pt x="73" y="28"/>
                    <a:pt x="70" y="24"/>
                    <a:pt x="68" y="19"/>
                  </a:cubicBezTo>
                  <a:cubicBezTo>
                    <a:pt x="64" y="13"/>
                    <a:pt x="60" y="6"/>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541"/>
            <p:cNvSpPr/>
            <p:nvPr/>
          </p:nvSpPr>
          <p:spPr bwMode="auto">
            <a:xfrm>
              <a:off x="7406241" y="6504758"/>
              <a:ext cx="177293" cy="85960"/>
            </a:xfrm>
            <a:custGeom>
              <a:gdLst>
                <a:gd name="T0" fmla="*/ 54 w 56"/>
                <a:gd name="T1" fmla="*/ 0 h 27"/>
                <a:gd name="T2" fmla="*/ 18 w 56"/>
                <a:gd name="T3" fmla="*/ 5 h 27"/>
                <a:gd name="T4" fmla="*/ 7 w 56"/>
                <a:gd name="T5" fmla="*/ 6 h 27"/>
                <a:gd name="T6" fmla="*/ 0 w 56"/>
                <a:gd name="T7" fmla="*/ 12 h 27"/>
                <a:gd name="T8" fmla="*/ 0 w 56"/>
                <a:gd name="T9" fmla="*/ 13 h 27"/>
                <a:gd name="T10" fmla="*/ 1 w 56"/>
                <a:gd name="T11" fmla="*/ 13 h 27"/>
                <a:gd name="T12" fmla="*/ 4 w 56"/>
                <a:gd name="T13" fmla="*/ 14 h 27"/>
                <a:gd name="T14" fmla="*/ 4 w 56"/>
                <a:gd name="T15" fmla="*/ 14 h 27"/>
                <a:gd name="T16" fmla="*/ 5 w 56"/>
                <a:gd name="T17" fmla="*/ 14 h 27"/>
                <a:gd name="T18" fmla="*/ 6 w 56"/>
                <a:gd name="T19" fmla="*/ 16 h 27"/>
                <a:gd name="T20" fmla="*/ 6 w 56"/>
                <a:gd name="T21" fmla="*/ 16 h 27"/>
                <a:gd name="T22" fmla="*/ 6 w 56"/>
                <a:gd name="T23" fmla="*/ 17 h 27"/>
                <a:gd name="T24" fmla="*/ 7 w 56"/>
                <a:gd name="T25" fmla="*/ 19 h 27"/>
                <a:gd name="T26" fmla="*/ 6 w 56"/>
                <a:gd name="T27" fmla="*/ 20 h 27"/>
                <a:gd name="T28" fmla="*/ 6 w 56"/>
                <a:gd name="T29" fmla="*/ 22 h 27"/>
                <a:gd name="T30" fmla="*/ 6 w 56"/>
                <a:gd name="T31" fmla="*/ 22 h 27"/>
                <a:gd name="T32" fmla="*/ 5 w 56"/>
                <a:gd name="T33" fmla="*/ 25 h 27"/>
                <a:gd name="T34" fmla="*/ 4 w 56"/>
                <a:gd name="T35" fmla="*/ 27 h 27"/>
                <a:gd name="T36" fmla="*/ 34 w 56"/>
                <a:gd name="T37" fmla="*/ 15 h 27"/>
                <a:gd name="T38" fmla="*/ 48 w 56"/>
                <a:gd name="T39" fmla="*/ 9 h 27"/>
                <a:gd name="T40" fmla="*/ 55 w 56"/>
                <a:gd name="T41" fmla="*/ 3 h 27"/>
                <a:gd name="T42" fmla="*/ 54 w 56"/>
                <a:gd name="T43"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27">
                  <a:moveTo>
                    <a:pt x="54" y="0"/>
                  </a:moveTo>
                  <a:cubicBezTo>
                    <a:pt x="42" y="1"/>
                    <a:pt x="30" y="3"/>
                    <a:pt x="18" y="5"/>
                  </a:cubicBezTo>
                  <a:cubicBezTo>
                    <a:pt x="14" y="5"/>
                    <a:pt x="11" y="5"/>
                    <a:pt x="7" y="6"/>
                  </a:cubicBezTo>
                  <a:cubicBezTo>
                    <a:pt x="3" y="7"/>
                    <a:pt x="2" y="9"/>
                    <a:pt x="0" y="12"/>
                  </a:cubicBezTo>
                  <a:cubicBezTo>
                    <a:pt x="0" y="13"/>
                    <a:pt x="0" y="13"/>
                    <a:pt x="0" y="13"/>
                  </a:cubicBezTo>
                  <a:cubicBezTo>
                    <a:pt x="1" y="13"/>
                    <a:pt x="1" y="13"/>
                    <a:pt x="1" y="13"/>
                  </a:cubicBezTo>
                  <a:cubicBezTo>
                    <a:pt x="2" y="13"/>
                    <a:pt x="3" y="13"/>
                    <a:pt x="4" y="14"/>
                  </a:cubicBezTo>
                  <a:cubicBezTo>
                    <a:pt x="4" y="14"/>
                    <a:pt x="4" y="14"/>
                    <a:pt x="4" y="14"/>
                  </a:cubicBezTo>
                  <a:cubicBezTo>
                    <a:pt x="5" y="14"/>
                    <a:pt x="5" y="14"/>
                    <a:pt x="5" y="14"/>
                  </a:cubicBezTo>
                  <a:cubicBezTo>
                    <a:pt x="5" y="14"/>
                    <a:pt x="6" y="15"/>
                    <a:pt x="6" y="16"/>
                  </a:cubicBezTo>
                  <a:cubicBezTo>
                    <a:pt x="6" y="16"/>
                    <a:pt x="6" y="16"/>
                    <a:pt x="6" y="16"/>
                  </a:cubicBezTo>
                  <a:cubicBezTo>
                    <a:pt x="6" y="17"/>
                    <a:pt x="6" y="17"/>
                    <a:pt x="6" y="17"/>
                  </a:cubicBezTo>
                  <a:cubicBezTo>
                    <a:pt x="6" y="18"/>
                    <a:pt x="7" y="18"/>
                    <a:pt x="7" y="19"/>
                  </a:cubicBezTo>
                  <a:cubicBezTo>
                    <a:pt x="6" y="20"/>
                    <a:pt x="6" y="20"/>
                    <a:pt x="6" y="20"/>
                  </a:cubicBezTo>
                  <a:cubicBezTo>
                    <a:pt x="6" y="20"/>
                    <a:pt x="6" y="21"/>
                    <a:pt x="6" y="22"/>
                  </a:cubicBezTo>
                  <a:cubicBezTo>
                    <a:pt x="6" y="22"/>
                    <a:pt x="6" y="22"/>
                    <a:pt x="6" y="22"/>
                  </a:cubicBezTo>
                  <a:cubicBezTo>
                    <a:pt x="5" y="23"/>
                    <a:pt x="5" y="24"/>
                    <a:pt x="5" y="25"/>
                  </a:cubicBezTo>
                  <a:cubicBezTo>
                    <a:pt x="4" y="27"/>
                    <a:pt x="4" y="27"/>
                    <a:pt x="4" y="27"/>
                  </a:cubicBezTo>
                  <a:cubicBezTo>
                    <a:pt x="14" y="23"/>
                    <a:pt x="24" y="18"/>
                    <a:pt x="34" y="15"/>
                  </a:cubicBezTo>
                  <a:cubicBezTo>
                    <a:pt x="39" y="14"/>
                    <a:pt x="43" y="11"/>
                    <a:pt x="48" y="9"/>
                  </a:cubicBezTo>
                  <a:cubicBezTo>
                    <a:pt x="50" y="8"/>
                    <a:pt x="54" y="5"/>
                    <a:pt x="55" y="3"/>
                  </a:cubicBezTo>
                  <a:cubicBezTo>
                    <a:pt x="56" y="2"/>
                    <a:pt x="56" y="2"/>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542"/>
            <p:cNvSpPr/>
            <p:nvPr/>
          </p:nvSpPr>
          <p:spPr bwMode="auto">
            <a:xfrm>
              <a:off x="7285360" y="6555797"/>
              <a:ext cx="123568" cy="108793"/>
            </a:xfrm>
            <a:custGeom>
              <a:gdLst>
                <a:gd name="T0" fmla="*/ 35 w 39"/>
                <a:gd name="T1" fmla="*/ 0 h 34"/>
                <a:gd name="T2" fmla="*/ 28 w 39"/>
                <a:gd name="T3" fmla="*/ 3 h 34"/>
                <a:gd name="T4" fmla="*/ 28 w 39"/>
                <a:gd name="T5" fmla="*/ 3 h 34"/>
                <a:gd name="T6" fmla="*/ 28 w 39"/>
                <a:gd name="T7" fmla="*/ 4 h 34"/>
                <a:gd name="T8" fmla="*/ 25 w 39"/>
                <a:gd name="T9" fmla="*/ 10 h 34"/>
                <a:gd name="T10" fmla="*/ 23 w 39"/>
                <a:gd name="T11" fmla="*/ 14 h 34"/>
                <a:gd name="T12" fmla="*/ 22 w 39"/>
                <a:gd name="T13" fmla="*/ 16 h 34"/>
                <a:gd name="T14" fmla="*/ 8 w 39"/>
                <a:gd name="T15" fmla="*/ 14 h 34"/>
                <a:gd name="T16" fmla="*/ 8 w 39"/>
                <a:gd name="T17" fmla="*/ 13 h 34"/>
                <a:gd name="T18" fmla="*/ 5 w 39"/>
                <a:gd name="T19" fmla="*/ 16 h 34"/>
                <a:gd name="T20" fmla="*/ 5 w 39"/>
                <a:gd name="T21" fmla="*/ 22 h 34"/>
                <a:gd name="T22" fmla="*/ 6 w 39"/>
                <a:gd name="T23" fmla="*/ 26 h 34"/>
                <a:gd name="T24" fmla="*/ 7 w 39"/>
                <a:gd name="T25" fmla="*/ 27 h 34"/>
                <a:gd name="T26" fmla="*/ 0 w 39"/>
                <a:gd name="T27" fmla="*/ 34 h 34"/>
                <a:gd name="T28" fmla="*/ 15 w 39"/>
                <a:gd name="T29" fmla="*/ 30 h 34"/>
                <a:gd name="T30" fmla="*/ 24 w 39"/>
                <a:gd name="T31" fmla="*/ 29 h 34"/>
                <a:gd name="T32" fmla="*/ 39 w 39"/>
                <a:gd name="T33" fmla="*/ 13 h 34"/>
                <a:gd name="T34" fmla="*/ 37 w 39"/>
                <a:gd name="T35" fmla="*/ 13 h 34"/>
                <a:gd name="T36" fmla="*/ 37 w 39"/>
                <a:gd name="T37" fmla="*/ 12 h 34"/>
                <a:gd name="T38" fmla="*/ 37 w 39"/>
                <a:gd name="T39" fmla="*/ 11 h 34"/>
                <a:gd name="T40" fmla="*/ 37 w 39"/>
                <a:gd name="T41" fmla="*/ 9 h 34"/>
                <a:gd name="T42" fmla="*/ 38 w 39"/>
                <a:gd name="T43" fmla="*/ 4 h 34"/>
                <a:gd name="T44" fmla="*/ 39 w 39"/>
                <a:gd name="T45" fmla="*/ 3 h 34"/>
                <a:gd name="T46" fmla="*/ 39 w 39"/>
                <a:gd name="T47" fmla="*/ 3 h 34"/>
                <a:gd name="T48" fmla="*/ 39 w 39"/>
                <a:gd name="T49" fmla="*/ 2 h 34"/>
                <a:gd name="T50" fmla="*/ 39 w 39"/>
                <a:gd name="T51" fmla="*/ 2 h 34"/>
                <a:gd name="T52" fmla="*/ 38 w 39"/>
                <a:gd name="T53" fmla="*/ 2 h 34"/>
                <a:gd name="T54" fmla="*/ 37 w 39"/>
                <a:gd name="T55" fmla="*/ 2 h 34"/>
                <a:gd name="T56" fmla="*/ 36 w 39"/>
                <a:gd name="T57" fmla="*/ 1 h 34"/>
                <a:gd name="T58" fmla="*/ 35 w 39"/>
                <a:gd name="T59" fmla="*/ 1 h 34"/>
                <a:gd name="T60" fmla="*/ 35 w 39"/>
                <a:gd name="T61" fmla="*/ 0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 h="34">
                  <a:moveTo>
                    <a:pt x="35" y="0"/>
                  </a:moveTo>
                  <a:cubicBezTo>
                    <a:pt x="32" y="1"/>
                    <a:pt x="30" y="2"/>
                    <a:pt x="28" y="3"/>
                  </a:cubicBezTo>
                  <a:cubicBezTo>
                    <a:pt x="28" y="3"/>
                    <a:pt x="28" y="3"/>
                    <a:pt x="28" y="3"/>
                  </a:cubicBezTo>
                  <a:cubicBezTo>
                    <a:pt x="28" y="4"/>
                    <a:pt x="28" y="4"/>
                    <a:pt x="28" y="4"/>
                  </a:cubicBezTo>
                  <a:cubicBezTo>
                    <a:pt x="28" y="5"/>
                    <a:pt x="27" y="7"/>
                    <a:pt x="25" y="10"/>
                  </a:cubicBezTo>
                  <a:cubicBezTo>
                    <a:pt x="25" y="11"/>
                    <a:pt x="23" y="14"/>
                    <a:pt x="23" y="14"/>
                  </a:cubicBezTo>
                  <a:cubicBezTo>
                    <a:pt x="22" y="16"/>
                    <a:pt x="22" y="16"/>
                    <a:pt x="22" y="16"/>
                  </a:cubicBezTo>
                  <a:cubicBezTo>
                    <a:pt x="8" y="14"/>
                    <a:pt x="8" y="14"/>
                    <a:pt x="8" y="14"/>
                  </a:cubicBezTo>
                  <a:cubicBezTo>
                    <a:pt x="8" y="13"/>
                    <a:pt x="8" y="13"/>
                    <a:pt x="8" y="13"/>
                  </a:cubicBezTo>
                  <a:cubicBezTo>
                    <a:pt x="7" y="14"/>
                    <a:pt x="6" y="15"/>
                    <a:pt x="5" y="16"/>
                  </a:cubicBezTo>
                  <a:cubicBezTo>
                    <a:pt x="4" y="17"/>
                    <a:pt x="5" y="20"/>
                    <a:pt x="5" y="22"/>
                  </a:cubicBezTo>
                  <a:cubicBezTo>
                    <a:pt x="5" y="24"/>
                    <a:pt x="6" y="25"/>
                    <a:pt x="6" y="26"/>
                  </a:cubicBezTo>
                  <a:cubicBezTo>
                    <a:pt x="6" y="27"/>
                    <a:pt x="8" y="26"/>
                    <a:pt x="7" y="27"/>
                  </a:cubicBezTo>
                  <a:cubicBezTo>
                    <a:pt x="5" y="30"/>
                    <a:pt x="2" y="32"/>
                    <a:pt x="0" y="34"/>
                  </a:cubicBezTo>
                  <a:cubicBezTo>
                    <a:pt x="5" y="33"/>
                    <a:pt x="10" y="32"/>
                    <a:pt x="15" y="30"/>
                  </a:cubicBezTo>
                  <a:cubicBezTo>
                    <a:pt x="17" y="30"/>
                    <a:pt x="22" y="30"/>
                    <a:pt x="24" y="29"/>
                  </a:cubicBezTo>
                  <a:cubicBezTo>
                    <a:pt x="28" y="25"/>
                    <a:pt x="36" y="19"/>
                    <a:pt x="39" y="13"/>
                  </a:cubicBezTo>
                  <a:cubicBezTo>
                    <a:pt x="37" y="13"/>
                    <a:pt x="37" y="13"/>
                    <a:pt x="37" y="13"/>
                  </a:cubicBezTo>
                  <a:cubicBezTo>
                    <a:pt x="37" y="12"/>
                    <a:pt x="37" y="12"/>
                    <a:pt x="37" y="12"/>
                  </a:cubicBezTo>
                  <a:cubicBezTo>
                    <a:pt x="37" y="11"/>
                    <a:pt x="37" y="11"/>
                    <a:pt x="37" y="11"/>
                  </a:cubicBezTo>
                  <a:cubicBezTo>
                    <a:pt x="37" y="9"/>
                    <a:pt x="37" y="9"/>
                    <a:pt x="37" y="9"/>
                  </a:cubicBezTo>
                  <a:cubicBezTo>
                    <a:pt x="37" y="7"/>
                    <a:pt x="38" y="6"/>
                    <a:pt x="38" y="4"/>
                  </a:cubicBezTo>
                  <a:cubicBezTo>
                    <a:pt x="39" y="3"/>
                    <a:pt x="39" y="3"/>
                    <a:pt x="39" y="3"/>
                  </a:cubicBezTo>
                  <a:cubicBezTo>
                    <a:pt x="39" y="3"/>
                    <a:pt x="39" y="3"/>
                    <a:pt x="39" y="3"/>
                  </a:cubicBezTo>
                  <a:cubicBezTo>
                    <a:pt x="39" y="2"/>
                    <a:pt x="39" y="2"/>
                    <a:pt x="39" y="2"/>
                  </a:cubicBezTo>
                  <a:cubicBezTo>
                    <a:pt x="39" y="2"/>
                    <a:pt x="39" y="2"/>
                    <a:pt x="39" y="2"/>
                  </a:cubicBezTo>
                  <a:cubicBezTo>
                    <a:pt x="39" y="2"/>
                    <a:pt x="39" y="2"/>
                    <a:pt x="38" y="2"/>
                  </a:cubicBezTo>
                  <a:cubicBezTo>
                    <a:pt x="37" y="2"/>
                    <a:pt x="37" y="2"/>
                    <a:pt x="37" y="2"/>
                  </a:cubicBezTo>
                  <a:cubicBezTo>
                    <a:pt x="37" y="2"/>
                    <a:pt x="36" y="1"/>
                    <a:pt x="36" y="1"/>
                  </a:cubicBezTo>
                  <a:cubicBezTo>
                    <a:pt x="35" y="1"/>
                    <a:pt x="35" y="1"/>
                    <a:pt x="35" y="1"/>
                  </a:cubicBezTo>
                  <a:cubicBezTo>
                    <a:pt x="35" y="0"/>
                    <a:pt x="35"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543"/>
            <p:cNvSpPr>
              <a:spLocks noEditPoints="1"/>
            </p:cNvSpPr>
            <p:nvPr/>
          </p:nvSpPr>
          <p:spPr bwMode="auto">
            <a:xfrm>
              <a:off x="1712731" y="3866859"/>
              <a:ext cx="599034" cy="670220"/>
            </a:xfrm>
            <a:custGeom>
              <a:gdLst>
                <a:gd name="T0" fmla="*/ 140 w 189"/>
                <a:gd name="T1" fmla="*/ 151 h 211"/>
                <a:gd name="T2" fmla="*/ 105 w 189"/>
                <a:gd name="T3" fmla="*/ 0 h 211"/>
                <a:gd name="T4" fmla="*/ 99 w 189"/>
                <a:gd name="T5" fmla="*/ 5 h 211"/>
                <a:gd name="T6" fmla="*/ 94 w 189"/>
                <a:gd name="T7" fmla="*/ 6 h 211"/>
                <a:gd name="T8" fmla="*/ 92 w 189"/>
                <a:gd name="T9" fmla="*/ 15 h 211"/>
                <a:gd name="T10" fmla="*/ 93 w 189"/>
                <a:gd name="T11" fmla="*/ 15 h 211"/>
                <a:gd name="T12" fmla="*/ 100 w 189"/>
                <a:gd name="T13" fmla="*/ 23 h 211"/>
                <a:gd name="T14" fmla="*/ 89 w 189"/>
                <a:gd name="T15" fmla="*/ 25 h 211"/>
                <a:gd name="T16" fmla="*/ 89 w 189"/>
                <a:gd name="T17" fmla="*/ 30 h 211"/>
                <a:gd name="T18" fmla="*/ 86 w 189"/>
                <a:gd name="T19" fmla="*/ 25 h 211"/>
                <a:gd name="T20" fmla="*/ 83 w 189"/>
                <a:gd name="T21" fmla="*/ 31 h 211"/>
                <a:gd name="T22" fmla="*/ 81 w 189"/>
                <a:gd name="T23" fmla="*/ 43 h 211"/>
                <a:gd name="T24" fmla="*/ 79 w 189"/>
                <a:gd name="T25" fmla="*/ 52 h 211"/>
                <a:gd name="T26" fmla="*/ 78 w 189"/>
                <a:gd name="T27" fmla="*/ 56 h 211"/>
                <a:gd name="T28" fmla="*/ 80 w 189"/>
                <a:gd name="T29" fmla="*/ 60 h 211"/>
                <a:gd name="T30" fmla="*/ 84 w 189"/>
                <a:gd name="T31" fmla="*/ 66 h 211"/>
                <a:gd name="T32" fmla="*/ 86 w 189"/>
                <a:gd name="T33" fmla="*/ 71 h 211"/>
                <a:gd name="T34" fmla="*/ 87 w 189"/>
                <a:gd name="T35" fmla="*/ 82 h 211"/>
                <a:gd name="T36" fmla="*/ 81 w 189"/>
                <a:gd name="T37" fmla="*/ 101 h 211"/>
                <a:gd name="T38" fmla="*/ 78 w 189"/>
                <a:gd name="T39" fmla="*/ 111 h 211"/>
                <a:gd name="T40" fmla="*/ 77 w 189"/>
                <a:gd name="T41" fmla="*/ 113 h 211"/>
                <a:gd name="T42" fmla="*/ 76 w 189"/>
                <a:gd name="T43" fmla="*/ 117 h 211"/>
                <a:gd name="T44" fmla="*/ 75 w 189"/>
                <a:gd name="T45" fmla="*/ 119 h 211"/>
                <a:gd name="T46" fmla="*/ 71 w 189"/>
                <a:gd name="T47" fmla="*/ 129 h 211"/>
                <a:gd name="T48" fmla="*/ 70 w 189"/>
                <a:gd name="T49" fmla="*/ 129 h 211"/>
                <a:gd name="T50" fmla="*/ 43 w 189"/>
                <a:gd name="T51" fmla="*/ 139 h 211"/>
                <a:gd name="T52" fmla="*/ 0 w 189"/>
                <a:gd name="T53" fmla="*/ 153 h 211"/>
                <a:gd name="T54" fmla="*/ 26 w 189"/>
                <a:gd name="T55" fmla="*/ 211 h 211"/>
                <a:gd name="T56" fmla="*/ 55 w 189"/>
                <a:gd name="T57" fmla="*/ 202 h 211"/>
                <a:gd name="T58" fmla="*/ 61 w 189"/>
                <a:gd name="T59" fmla="*/ 202 h 211"/>
                <a:gd name="T60" fmla="*/ 70 w 189"/>
                <a:gd name="T61" fmla="*/ 202 h 211"/>
                <a:gd name="T62" fmla="*/ 83 w 189"/>
                <a:gd name="T63" fmla="*/ 180 h 211"/>
                <a:gd name="T64" fmla="*/ 98 w 189"/>
                <a:gd name="T65" fmla="*/ 179 h 211"/>
                <a:gd name="T66" fmla="*/ 108 w 189"/>
                <a:gd name="T67" fmla="*/ 172 h 211"/>
                <a:gd name="T68" fmla="*/ 114 w 189"/>
                <a:gd name="T69" fmla="*/ 158 h 211"/>
                <a:gd name="T70" fmla="*/ 140 w 189"/>
                <a:gd name="T71" fmla="*/ 151 h 211"/>
                <a:gd name="T72" fmla="*/ 139 w 189"/>
                <a:gd name="T73" fmla="*/ 149 h 211"/>
                <a:gd name="T74" fmla="*/ 139 w 189"/>
                <a:gd name="T75" fmla="*/ 147 h 211"/>
                <a:gd name="T76" fmla="*/ 138 w 189"/>
                <a:gd name="T77" fmla="*/ 141 h 211"/>
                <a:gd name="T78" fmla="*/ 139 w 189"/>
                <a:gd name="T79" fmla="*/ 126 h 211"/>
                <a:gd name="T80" fmla="*/ 149 w 189"/>
                <a:gd name="T81" fmla="*/ 111 h 211"/>
                <a:gd name="T82" fmla="*/ 151 w 189"/>
                <a:gd name="T83" fmla="*/ 116 h 211"/>
                <a:gd name="T84" fmla="*/ 157 w 189"/>
                <a:gd name="T85" fmla="*/ 113 h 211"/>
                <a:gd name="T86" fmla="*/ 170 w 189"/>
                <a:gd name="T87" fmla="*/ 94 h 211"/>
                <a:gd name="T88" fmla="*/ 185 w 189"/>
                <a:gd name="T89" fmla="*/ 75 h 211"/>
                <a:gd name="T90" fmla="*/ 185 w 189"/>
                <a:gd name="T91" fmla="*/ 60 h 211"/>
                <a:gd name="T92" fmla="*/ 175 w 189"/>
                <a:gd name="T93" fmla="*/ 53 h 211"/>
                <a:gd name="T94" fmla="*/ 163 w 189"/>
                <a:gd name="T95" fmla="*/ 38 h 211"/>
                <a:gd name="T96" fmla="*/ 157 w 189"/>
                <a:gd name="T97" fmla="*/ 32 h 211"/>
                <a:gd name="T98" fmla="*/ 154 w 189"/>
                <a:gd name="T99" fmla="*/ 33 h 211"/>
                <a:gd name="T100" fmla="*/ 139 w 189"/>
                <a:gd name="T101" fmla="*/ 29 h 211"/>
                <a:gd name="T102" fmla="*/ 115 w 189"/>
                <a:gd name="T103" fmla="*/ 16 h 211"/>
                <a:gd name="T104" fmla="*/ 107 w 189"/>
                <a:gd name="T105" fmla="*/ 5 h 211"/>
                <a:gd name="T106" fmla="*/ 105 w 189"/>
                <a:gd name="T107" fmla="*/ 0 h 2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11">
                  <a:moveTo>
                    <a:pt x="140" y="151"/>
                  </a:moveTo>
                  <a:cubicBezTo>
                    <a:pt x="140" y="151"/>
                    <a:pt x="140" y="151"/>
                    <a:pt x="140" y="151"/>
                  </a:cubicBezTo>
                  <a:cubicBezTo>
                    <a:pt x="140" y="151"/>
                    <a:pt x="140" y="151"/>
                    <a:pt x="140" y="151"/>
                  </a:cubicBezTo>
                  <a:moveTo>
                    <a:pt x="105" y="0"/>
                  </a:moveTo>
                  <a:cubicBezTo>
                    <a:pt x="104" y="3"/>
                    <a:pt x="103" y="3"/>
                    <a:pt x="102" y="3"/>
                  </a:cubicBezTo>
                  <a:cubicBezTo>
                    <a:pt x="101" y="4"/>
                    <a:pt x="100" y="4"/>
                    <a:pt x="99" y="5"/>
                  </a:cubicBezTo>
                  <a:cubicBezTo>
                    <a:pt x="94" y="9"/>
                    <a:pt x="94" y="9"/>
                    <a:pt x="94" y="9"/>
                  </a:cubicBezTo>
                  <a:cubicBezTo>
                    <a:pt x="94" y="6"/>
                    <a:pt x="94" y="6"/>
                    <a:pt x="94" y="6"/>
                  </a:cubicBezTo>
                  <a:cubicBezTo>
                    <a:pt x="94" y="6"/>
                    <a:pt x="94" y="6"/>
                    <a:pt x="94" y="6"/>
                  </a:cubicBezTo>
                  <a:cubicBezTo>
                    <a:pt x="93" y="9"/>
                    <a:pt x="92" y="11"/>
                    <a:pt x="92" y="15"/>
                  </a:cubicBezTo>
                  <a:cubicBezTo>
                    <a:pt x="93" y="15"/>
                    <a:pt x="93" y="15"/>
                    <a:pt x="93" y="15"/>
                  </a:cubicBezTo>
                  <a:cubicBezTo>
                    <a:pt x="93" y="15"/>
                    <a:pt x="93" y="15"/>
                    <a:pt x="93" y="15"/>
                  </a:cubicBezTo>
                  <a:cubicBezTo>
                    <a:pt x="96" y="17"/>
                    <a:pt x="97" y="18"/>
                    <a:pt x="97" y="19"/>
                  </a:cubicBezTo>
                  <a:cubicBezTo>
                    <a:pt x="100" y="23"/>
                    <a:pt x="100" y="23"/>
                    <a:pt x="100" y="23"/>
                  </a:cubicBezTo>
                  <a:cubicBezTo>
                    <a:pt x="94" y="24"/>
                    <a:pt x="94" y="24"/>
                    <a:pt x="94" y="24"/>
                  </a:cubicBezTo>
                  <a:cubicBezTo>
                    <a:pt x="92" y="25"/>
                    <a:pt x="90" y="25"/>
                    <a:pt x="89" y="25"/>
                  </a:cubicBezTo>
                  <a:cubicBezTo>
                    <a:pt x="88" y="25"/>
                    <a:pt x="88" y="25"/>
                    <a:pt x="88" y="25"/>
                  </a:cubicBezTo>
                  <a:cubicBezTo>
                    <a:pt x="89" y="30"/>
                    <a:pt x="89" y="30"/>
                    <a:pt x="89" y="30"/>
                  </a:cubicBezTo>
                  <a:cubicBezTo>
                    <a:pt x="86" y="25"/>
                    <a:pt x="86" y="25"/>
                    <a:pt x="86" y="25"/>
                  </a:cubicBezTo>
                  <a:cubicBezTo>
                    <a:pt x="86" y="25"/>
                    <a:pt x="86" y="25"/>
                    <a:pt x="86" y="25"/>
                  </a:cubicBezTo>
                  <a:cubicBezTo>
                    <a:pt x="84" y="26"/>
                    <a:pt x="84" y="27"/>
                    <a:pt x="83" y="29"/>
                  </a:cubicBezTo>
                  <a:cubicBezTo>
                    <a:pt x="83" y="31"/>
                    <a:pt x="83" y="31"/>
                    <a:pt x="83" y="31"/>
                  </a:cubicBezTo>
                  <a:cubicBezTo>
                    <a:pt x="83" y="32"/>
                    <a:pt x="83" y="33"/>
                    <a:pt x="83" y="33"/>
                  </a:cubicBezTo>
                  <a:cubicBezTo>
                    <a:pt x="82" y="37"/>
                    <a:pt x="82" y="40"/>
                    <a:pt x="81" y="43"/>
                  </a:cubicBezTo>
                  <a:cubicBezTo>
                    <a:pt x="79" y="50"/>
                    <a:pt x="79" y="50"/>
                    <a:pt x="79" y="50"/>
                  </a:cubicBezTo>
                  <a:cubicBezTo>
                    <a:pt x="79" y="51"/>
                    <a:pt x="79" y="51"/>
                    <a:pt x="79" y="52"/>
                  </a:cubicBezTo>
                  <a:cubicBezTo>
                    <a:pt x="79" y="53"/>
                    <a:pt x="79" y="53"/>
                    <a:pt x="79" y="53"/>
                  </a:cubicBezTo>
                  <a:cubicBezTo>
                    <a:pt x="79" y="54"/>
                    <a:pt x="78" y="55"/>
                    <a:pt x="78" y="56"/>
                  </a:cubicBezTo>
                  <a:cubicBezTo>
                    <a:pt x="79" y="57"/>
                    <a:pt x="80" y="58"/>
                    <a:pt x="80" y="59"/>
                  </a:cubicBezTo>
                  <a:cubicBezTo>
                    <a:pt x="80" y="60"/>
                    <a:pt x="80" y="60"/>
                    <a:pt x="80" y="60"/>
                  </a:cubicBezTo>
                  <a:cubicBezTo>
                    <a:pt x="81" y="61"/>
                    <a:pt x="82" y="63"/>
                    <a:pt x="83" y="65"/>
                  </a:cubicBezTo>
                  <a:cubicBezTo>
                    <a:pt x="84" y="66"/>
                    <a:pt x="84" y="66"/>
                    <a:pt x="84" y="66"/>
                  </a:cubicBezTo>
                  <a:cubicBezTo>
                    <a:pt x="84" y="67"/>
                    <a:pt x="85" y="69"/>
                    <a:pt x="85" y="70"/>
                  </a:cubicBezTo>
                  <a:cubicBezTo>
                    <a:pt x="86" y="70"/>
                    <a:pt x="86" y="70"/>
                    <a:pt x="86" y="71"/>
                  </a:cubicBezTo>
                  <a:cubicBezTo>
                    <a:pt x="87" y="73"/>
                    <a:pt x="87" y="75"/>
                    <a:pt x="87" y="77"/>
                  </a:cubicBezTo>
                  <a:cubicBezTo>
                    <a:pt x="87" y="78"/>
                    <a:pt x="87" y="80"/>
                    <a:pt x="87" y="82"/>
                  </a:cubicBezTo>
                  <a:cubicBezTo>
                    <a:pt x="86" y="85"/>
                    <a:pt x="85" y="88"/>
                    <a:pt x="84" y="91"/>
                  </a:cubicBezTo>
                  <a:cubicBezTo>
                    <a:pt x="81" y="101"/>
                    <a:pt x="81" y="101"/>
                    <a:pt x="81" y="101"/>
                  </a:cubicBezTo>
                  <a:cubicBezTo>
                    <a:pt x="80" y="104"/>
                    <a:pt x="79" y="107"/>
                    <a:pt x="78" y="110"/>
                  </a:cubicBezTo>
                  <a:cubicBezTo>
                    <a:pt x="78" y="111"/>
                    <a:pt x="78" y="111"/>
                    <a:pt x="78" y="111"/>
                  </a:cubicBezTo>
                  <a:cubicBezTo>
                    <a:pt x="78" y="111"/>
                    <a:pt x="78" y="112"/>
                    <a:pt x="77" y="112"/>
                  </a:cubicBezTo>
                  <a:cubicBezTo>
                    <a:pt x="77" y="113"/>
                    <a:pt x="77" y="113"/>
                    <a:pt x="77" y="113"/>
                  </a:cubicBezTo>
                  <a:cubicBezTo>
                    <a:pt x="77" y="115"/>
                    <a:pt x="77" y="115"/>
                    <a:pt x="77" y="115"/>
                  </a:cubicBezTo>
                  <a:cubicBezTo>
                    <a:pt x="76" y="116"/>
                    <a:pt x="76" y="116"/>
                    <a:pt x="76" y="117"/>
                  </a:cubicBezTo>
                  <a:cubicBezTo>
                    <a:pt x="76" y="118"/>
                    <a:pt x="76" y="118"/>
                    <a:pt x="76" y="118"/>
                  </a:cubicBezTo>
                  <a:cubicBezTo>
                    <a:pt x="75" y="119"/>
                    <a:pt x="75" y="119"/>
                    <a:pt x="75" y="119"/>
                  </a:cubicBezTo>
                  <a:cubicBezTo>
                    <a:pt x="75" y="121"/>
                    <a:pt x="74" y="124"/>
                    <a:pt x="73" y="126"/>
                  </a:cubicBezTo>
                  <a:cubicBezTo>
                    <a:pt x="73" y="127"/>
                    <a:pt x="72" y="128"/>
                    <a:pt x="71" y="129"/>
                  </a:cubicBezTo>
                  <a:cubicBezTo>
                    <a:pt x="72" y="132"/>
                    <a:pt x="72" y="132"/>
                    <a:pt x="72" y="132"/>
                  </a:cubicBezTo>
                  <a:cubicBezTo>
                    <a:pt x="70" y="129"/>
                    <a:pt x="70" y="129"/>
                    <a:pt x="70" y="129"/>
                  </a:cubicBezTo>
                  <a:cubicBezTo>
                    <a:pt x="66" y="131"/>
                    <a:pt x="66" y="131"/>
                    <a:pt x="66" y="131"/>
                  </a:cubicBezTo>
                  <a:cubicBezTo>
                    <a:pt x="58" y="133"/>
                    <a:pt x="50" y="136"/>
                    <a:pt x="43" y="139"/>
                  </a:cubicBezTo>
                  <a:cubicBezTo>
                    <a:pt x="3" y="152"/>
                    <a:pt x="3" y="152"/>
                    <a:pt x="3" y="152"/>
                  </a:cubicBezTo>
                  <a:cubicBezTo>
                    <a:pt x="2" y="153"/>
                    <a:pt x="1" y="153"/>
                    <a:pt x="0" y="153"/>
                  </a:cubicBezTo>
                  <a:cubicBezTo>
                    <a:pt x="8" y="170"/>
                    <a:pt x="8" y="170"/>
                    <a:pt x="8" y="170"/>
                  </a:cubicBezTo>
                  <a:cubicBezTo>
                    <a:pt x="14" y="184"/>
                    <a:pt x="20" y="198"/>
                    <a:pt x="26" y="211"/>
                  </a:cubicBezTo>
                  <a:cubicBezTo>
                    <a:pt x="30" y="210"/>
                    <a:pt x="35" y="207"/>
                    <a:pt x="37" y="206"/>
                  </a:cubicBezTo>
                  <a:cubicBezTo>
                    <a:pt x="43" y="204"/>
                    <a:pt x="48" y="202"/>
                    <a:pt x="55" y="202"/>
                  </a:cubicBezTo>
                  <a:cubicBezTo>
                    <a:pt x="55" y="202"/>
                    <a:pt x="55" y="202"/>
                    <a:pt x="55" y="202"/>
                  </a:cubicBezTo>
                  <a:cubicBezTo>
                    <a:pt x="57" y="202"/>
                    <a:pt x="59" y="202"/>
                    <a:pt x="61" y="202"/>
                  </a:cubicBezTo>
                  <a:cubicBezTo>
                    <a:pt x="63" y="203"/>
                    <a:pt x="65" y="203"/>
                    <a:pt x="67" y="203"/>
                  </a:cubicBezTo>
                  <a:cubicBezTo>
                    <a:pt x="68" y="203"/>
                    <a:pt x="69" y="203"/>
                    <a:pt x="70" y="202"/>
                  </a:cubicBezTo>
                  <a:cubicBezTo>
                    <a:pt x="70" y="202"/>
                    <a:pt x="70" y="202"/>
                    <a:pt x="71" y="202"/>
                  </a:cubicBezTo>
                  <a:cubicBezTo>
                    <a:pt x="79" y="197"/>
                    <a:pt x="73" y="184"/>
                    <a:pt x="83" y="180"/>
                  </a:cubicBezTo>
                  <a:cubicBezTo>
                    <a:pt x="85" y="180"/>
                    <a:pt x="88" y="180"/>
                    <a:pt x="90" y="180"/>
                  </a:cubicBezTo>
                  <a:cubicBezTo>
                    <a:pt x="93" y="179"/>
                    <a:pt x="96" y="180"/>
                    <a:pt x="98" y="179"/>
                  </a:cubicBezTo>
                  <a:cubicBezTo>
                    <a:pt x="100" y="177"/>
                    <a:pt x="105" y="176"/>
                    <a:pt x="107" y="174"/>
                  </a:cubicBezTo>
                  <a:cubicBezTo>
                    <a:pt x="109" y="173"/>
                    <a:pt x="108" y="173"/>
                    <a:pt x="108" y="172"/>
                  </a:cubicBezTo>
                  <a:cubicBezTo>
                    <a:pt x="109" y="171"/>
                    <a:pt x="109" y="169"/>
                    <a:pt x="110" y="168"/>
                  </a:cubicBezTo>
                  <a:cubicBezTo>
                    <a:pt x="111" y="165"/>
                    <a:pt x="113" y="161"/>
                    <a:pt x="114" y="158"/>
                  </a:cubicBezTo>
                  <a:cubicBezTo>
                    <a:pt x="115" y="157"/>
                    <a:pt x="121" y="156"/>
                    <a:pt x="122" y="156"/>
                  </a:cubicBezTo>
                  <a:cubicBezTo>
                    <a:pt x="126" y="155"/>
                    <a:pt x="138" y="153"/>
                    <a:pt x="140" y="151"/>
                  </a:cubicBezTo>
                  <a:cubicBezTo>
                    <a:pt x="140" y="151"/>
                    <a:pt x="140" y="151"/>
                    <a:pt x="140" y="151"/>
                  </a:cubicBezTo>
                  <a:cubicBezTo>
                    <a:pt x="140" y="151"/>
                    <a:pt x="139" y="150"/>
                    <a:pt x="139" y="149"/>
                  </a:cubicBezTo>
                  <a:cubicBezTo>
                    <a:pt x="139" y="148"/>
                    <a:pt x="139" y="147"/>
                    <a:pt x="139" y="147"/>
                  </a:cubicBezTo>
                  <a:cubicBezTo>
                    <a:pt x="139" y="147"/>
                    <a:pt x="139" y="147"/>
                    <a:pt x="139" y="147"/>
                  </a:cubicBezTo>
                  <a:cubicBezTo>
                    <a:pt x="139" y="147"/>
                    <a:pt x="138" y="146"/>
                    <a:pt x="137" y="145"/>
                  </a:cubicBezTo>
                  <a:cubicBezTo>
                    <a:pt x="137" y="143"/>
                    <a:pt x="138" y="142"/>
                    <a:pt x="138" y="141"/>
                  </a:cubicBezTo>
                  <a:cubicBezTo>
                    <a:pt x="138" y="139"/>
                    <a:pt x="136" y="137"/>
                    <a:pt x="136" y="134"/>
                  </a:cubicBezTo>
                  <a:cubicBezTo>
                    <a:pt x="137" y="132"/>
                    <a:pt x="138" y="129"/>
                    <a:pt x="139" y="126"/>
                  </a:cubicBezTo>
                  <a:cubicBezTo>
                    <a:pt x="141" y="122"/>
                    <a:pt x="143" y="112"/>
                    <a:pt x="148" y="111"/>
                  </a:cubicBezTo>
                  <a:cubicBezTo>
                    <a:pt x="148" y="111"/>
                    <a:pt x="149" y="111"/>
                    <a:pt x="149" y="111"/>
                  </a:cubicBezTo>
                  <a:cubicBezTo>
                    <a:pt x="150" y="111"/>
                    <a:pt x="151" y="111"/>
                    <a:pt x="149" y="113"/>
                  </a:cubicBezTo>
                  <a:cubicBezTo>
                    <a:pt x="147" y="116"/>
                    <a:pt x="149" y="116"/>
                    <a:pt x="151" y="116"/>
                  </a:cubicBezTo>
                  <a:cubicBezTo>
                    <a:pt x="152" y="116"/>
                    <a:pt x="153" y="116"/>
                    <a:pt x="153" y="116"/>
                  </a:cubicBezTo>
                  <a:cubicBezTo>
                    <a:pt x="157" y="115"/>
                    <a:pt x="156" y="115"/>
                    <a:pt x="157" y="113"/>
                  </a:cubicBezTo>
                  <a:cubicBezTo>
                    <a:pt x="158" y="111"/>
                    <a:pt x="160" y="109"/>
                    <a:pt x="161" y="107"/>
                  </a:cubicBezTo>
                  <a:cubicBezTo>
                    <a:pt x="165" y="102"/>
                    <a:pt x="165" y="97"/>
                    <a:pt x="170" y="94"/>
                  </a:cubicBezTo>
                  <a:cubicBezTo>
                    <a:pt x="174" y="91"/>
                    <a:pt x="177" y="89"/>
                    <a:pt x="179" y="85"/>
                  </a:cubicBezTo>
                  <a:cubicBezTo>
                    <a:pt x="181" y="82"/>
                    <a:pt x="185" y="78"/>
                    <a:pt x="185" y="75"/>
                  </a:cubicBezTo>
                  <a:cubicBezTo>
                    <a:pt x="186" y="71"/>
                    <a:pt x="189" y="69"/>
                    <a:pt x="189" y="65"/>
                  </a:cubicBezTo>
                  <a:cubicBezTo>
                    <a:pt x="189" y="61"/>
                    <a:pt x="188" y="61"/>
                    <a:pt x="185" y="60"/>
                  </a:cubicBezTo>
                  <a:cubicBezTo>
                    <a:pt x="182" y="60"/>
                    <a:pt x="181" y="60"/>
                    <a:pt x="179" y="58"/>
                  </a:cubicBezTo>
                  <a:cubicBezTo>
                    <a:pt x="177" y="56"/>
                    <a:pt x="176" y="55"/>
                    <a:pt x="175" y="53"/>
                  </a:cubicBezTo>
                  <a:cubicBezTo>
                    <a:pt x="174" y="51"/>
                    <a:pt x="172" y="49"/>
                    <a:pt x="170" y="47"/>
                  </a:cubicBezTo>
                  <a:cubicBezTo>
                    <a:pt x="168" y="44"/>
                    <a:pt x="166" y="41"/>
                    <a:pt x="163" y="38"/>
                  </a:cubicBezTo>
                  <a:cubicBezTo>
                    <a:pt x="162" y="37"/>
                    <a:pt x="160" y="33"/>
                    <a:pt x="158" y="32"/>
                  </a:cubicBezTo>
                  <a:cubicBezTo>
                    <a:pt x="158" y="32"/>
                    <a:pt x="157" y="32"/>
                    <a:pt x="157" y="32"/>
                  </a:cubicBezTo>
                  <a:cubicBezTo>
                    <a:pt x="156" y="32"/>
                    <a:pt x="156" y="32"/>
                    <a:pt x="155" y="33"/>
                  </a:cubicBezTo>
                  <a:cubicBezTo>
                    <a:pt x="154" y="33"/>
                    <a:pt x="154" y="33"/>
                    <a:pt x="154" y="33"/>
                  </a:cubicBezTo>
                  <a:cubicBezTo>
                    <a:pt x="152" y="33"/>
                    <a:pt x="151" y="32"/>
                    <a:pt x="149" y="31"/>
                  </a:cubicBezTo>
                  <a:cubicBezTo>
                    <a:pt x="145" y="30"/>
                    <a:pt x="142" y="30"/>
                    <a:pt x="139" y="29"/>
                  </a:cubicBezTo>
                  <a:cubicBezTo>
                    <a:pt x="133" y="26"/>
                    <a:pt x="125" y="26"/>
                    <a:pt x="120" y="22"/>
                  </a:cubicBezTo>
                  <a:cubicBezTo>
                    <a:pt x="117" y="20"/>
                    <a:pt x="116" y="18"/>
                    <a:pt x="115" y="16"/>
                  </a:cubicBezTo>
                  <a:cubicBezTo>
                    <a:pt x="113" y="14"/>
                    <a:pt x="111" y="12"/>
                    <a:pt x="109" y="10"/>
                  </a:cubicBezTo>
                  <a:cubicBezTo>
                    <a:pt x="108" y="8"/>
                    <a:pt x="108" y="6"/>
                    <a:pt x="107" y="5"/>
                  </a:cubicBezTo>
                  <a:cubicBezTo>
                    <a:pt x="106" y="4"/>
                    <a:pt x="106" y="3"/>
                    <a:pt x="106" y="1"/>
                  </a:cubicBezTo>
                  <a:cubicBezTo>
                    <a:pt x="105" y="0"/>
                    <a:pt x="105" y="0"/>
                    <a:pt x="1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544"/>
            <p:cNvSpPr/>
            <p:nvPr/>
          </p:nvSpPr>
          <p:spPr bwMode="auto">
            <a:xfrm>
              <a:off x="965953" y="4358443"/>
              <a:ext cx="809905" cy="499643"/>
            </a:xfrm>
            <a:custGeom>
              <a:gdLst>
                <a:gd name="T0" fmla="*/ 218 w 255"/>
                <a:gd name="T1" fmla="*/ 2 h 157"/>
                <a:gd name="T2" fmla="*/ 182 w 255"/>
                <a:gd name="T3" fmla="*/ 7 h 157"/>
                <a:gd name="T4" fmla="*/ 151 w 255"/>
                <a:gd name="T5" fmla="*/ 14 h 157"/>
                <a:gd name="T6" fmla="*/ 139 w 255"/>
                <a:gd name="T7" fmla="*/ 20 h 157"/>
                <a:gd name="T8" fmla="*/ 117 w 255"/>
                <a:gd name="T9" fmla="*/ 49 h 157"/>
                <a:gd name="T10" fmla="*/ 112 w 255"/>
                <a:gd name="T11" fmla="*/ 51 h 157"/>
                <a:gd name="T12" fmla="*/ 109 w 255"/>
                <a:gd name="T13" fmla="*/ 51 h 157"/>
                <a:gd name="T14" fmla="*/ 104 w 255"/>
                <a:gd name="T15" fmla="*/ 48 h 157"/>
                <a:gd name="T16" fmla="*/ 100 w 255"/>
                <a:gd name="T17" fmla="*/ 43 h 157"/>
                <a:gd name="T18" fmla="*/ 98 w 255"/>
                <a:gd name="T19" fmla="*/ 43 h 157"/>
                <a:gd name="T20" fmla="*/ 85 w 255"/>
                <a:gd name="T21" fmla="*/ 42 h 157"/>
                <a:gd name="T22" fmla="*/ 58 w 255"/>
                <a:gd name="T23" fmla="*/ 40 h 157"/>
                <a:gd name="T24" fmla="*/ 45 w 255"/>
                <a:gd name="T25" fmla="*/ 41 h 157"/>
                <a:gd name="T26" fmla="*/ 41 w 255"/>
                <a:gd name="T27" fmla="*/ 42 h 157"/>
                <a:gd name="T28" fmla="*/ 35 w 255"/>
                <a:gd name="T29" fmla="*/ 43 h 157"/>
                <a:gd name="T30" fmla="*/ 30 w 255"/>
                <a:gd name="T31" fmla="*/ 42 h 157"/>
                <a:gd name="T32" fmla="*/ 24 w 255"/>
                <a:gd name="T33" fmla="*/ 38 h 157"/>
                <a:gd name="T34" fmla="*/ 20 w 255"/>
                <a:gd name="T35" fmla="*/ 38 h 157"/>
                <a:gd name="T36" fmla="*/ 19 w 255"/>
                <a:gd name="T37" fmla="*/ 38 h 157"/>
                <a:gd name="T38" fmla="*/ 16 w 255"/>
                <a:gd name="T39" fmla="*/ 46 h 157"/>
                <a:gd name="T40" fmla="*/ 16 w 255"/>
                <a:gd name="T41" fmla="*/ 47 h 157"/>
                <a:gd name="T42" fmla="*/ 15 w 255"/>
                <a:gd name="T43" fmla="*/ 49 h 157"/>
                <a:gd name="T44" fmla="*/ 16 w 255"/>
                <a:gd name="T45" fmla="*/ 51 h 157"/>
                <a:gd name="T46" fmla="*/ 13 w 255"/>
                <a:gd name="T47" fmla="*/ 60 h 157"/>
                <a:gd name="T48" fmla="*/ 8 w 255"/>
                <a:gd name="T49" fmla="*/ 64 h 157"/>
                <a:gd name="T50" fmla="*/ 5 w 255"/>
                <a:gd name="T51" fmla="*/ 67 h 157"/>
                <a:gd name="T52" fmla="*/ 5 w 255"/>
                <a:gd name="T53" fmla="*/ 75 h 157"/>
                <a:gd name="T54" fmla="*/ 4 w 255"/>
                <a:gd name="T55" fmla="*/ 85 h 157"/>
                <a:gd name="T56" fmla="*/ 3 w 255"/>
                <a:gd name="T57" fmla="*/ 91 h 157"/>
                <a:gd name="T58" fmla="*/ 1 w 255"/>
                <a:gd name="T59" fmla="*/ 93 h 157"/>
                <a:gd name="T60" fmla="*/ 2 w 255"/>
                <a:gd name="T61" fmla="*/ 93 h 157"/>
                <a:gd name="T62" fmla="*/ 4 w 255"/>
                <a:gd name="T63" fmla="*/ 94 h 157"/>
                <a:gd name="T64" fmla="*/ 9 w 255"/>
                <a:gd name="T65" fmla="*/ 113 h 157"/>
                <a:gd name="T66" fmla="*/ 15 w 255"/>
                <a:gd name="T67" fmla="*/ 139 h 157"/>
                <a:gd name="T68" fmla="*/ 21 w 255"/>
                <a:gd name="T69" fmla="*/ 156 h 157"/>
                <a:gd name="T70" fmla="*/ 37 w 255"/>
                <a:gd name="T71" fmla="*/ 156 h 157"/>
                <a:gd name="T72" fmla="*/ 43 w 255"/>
                <a:gd name="T73" fmla="*/ 156 h 157"/>
                <a:gd name="T74" fmla="*/ 47 w 255"/>
                <a:gd name="T75" fmla="*/ 155 h 157"/>
                <a:gd name="T76" fmla="*/ 52 w 255"/>
                <a:gd name="T77" fmla="*/ 154 h 157"/>
                <a:gd name="T78" fmla="*/ 60 w 255"/>
                <a:gd name="T79" fmla="*/ 154 h 157"/>
                <a:gd name="T80" fmla="*/ 82 w 255"/>
                <a:gd name="T81" fmla="*/ 138 h 157"/>
                <a:gd name="T82" fmla="*/ 128 w 255"/>
                <a:gd name="T83" fmla="*/ 125 h 157"/>
                <a:gd name="T84" fmla="*/ 139 w 255"/>
                <a:gd name="T85" fmla="*/ 123 h 157"/>
                <a:gd name="T86" fmla="*/ 149 w 255"/>
                <a:gd name="T87" fmla="*/ 122 h 157"/>
                <a:gd name="T88" fmla="*/ 167 w 255"/>
                <a:gd name="T89" fmla="*/ 107 h 157"/>
                <a:gd name="T90" fmla="*/ 198 w 255"/>
                <a:gd name="T91" fmla="*/ 97 h 157"/>
                <a:gd name="T92" fmla="*/ 229 w 255"/>
                <a:gd name="T93" fmla="*/ 86 h 157"/>
                <a:gd name="T94" fmla="*/ 236 w 255"/>
                <a:gd name="T95" fmla="*/ 79 h 157"/>
                <a:gd name="T96" fmla="*/ 235 w 255"/>
                <a:gd name="T97" fmla="*/ 76 h 157"/>
                <a:gd name="T98" fmla="*/ 248 w 255"/>
                <a:gd name="T99" fmla="*/ 60 h 157"/>
                <a:gd name="T100" fmla="*/ 237 w 255"/>
                <a:gd name="T101" fmla="*/ 16 h 1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5" h="157">
                  <a:moveTo>
                    <a:pt x="229" y="0"/>
                  </a:moveTo>
                  <a:cubicBezTo>
                    <a:pt x="225" y="1"/>
                    <a:pt x="222" y="1"/>
                    <a:pt x="218" y="2"/>
                  </a:cubicBezTo>
                  <a:cubicBezTo>
                    <a:pt x="207" y="4"/>
                    <a:pt x="196" y="5"/>
                    <a:pt x="187" y="7"/>
                  </a:cubicBezTo>
                  <a:cubicBezTo>
                    <a:pt x="182" y="7"/>
                    <a:pt x="182" y="7"/>
                    <a:pt x="182" y="7"/>
                  </a:cubicBezTo>
                  <a:cubicBezTo>
                    <a:pt x="173" y="7"/>
                    <a:pt x="164" y="8"/>
                    <a:pt x="156" y="12"/>
                  </a:cubicBezTo>
                  <a:cubicBezTo>
                    <a:pt x="155" y="13"/>
                    <a:pt x="153" y="13"/>
                    <a:pt x="151" y="14"/>
                  </a:cubicBezTo>
                  <a:cubicBezTo>
                    <a:pt x="147" y="16"/>
                    <a:pt x="142" y="17"/>
                    <a:pt x="140" y="20"/>
                  </a:cubicBezTo>
                  <a:cubicBezTo>
                    <a:pt x="139" y="20"/>
                    <a:pt x="139" y="20"/>
                    <a:pt x="139" y="20"/>
                  </a:cubicBezTo>
                  <a:cubicBezTo>
                    <a:pt x="123" y="44"/>
                    <a:pt x="123" y="44"/>
                    <a:pt x="123" y="44"/>
                  </a:cubicBezTo>
                  <a:cubicBezTo>
                    <a:pt x="122" y="46"/>
                    <a:pt x="119" y="48"/>
                    <a:pt x="117" y="49"/>
                  </a:cubicBezTo>
                  <a:cubicBezTo>
                    <a:pt x="115" y="50"/>
                    <a:pt x="114" y="50"/>
                    <a:pt x="113" y="51"/>
                  </a:cubicBezTo>
                  <a:cubicBezTo>
                    <a:pt x="112" y="51"/>
                    <a:pt x="112" y="51"/>
                    <a:pt x="112" y="51"/>
                  </a:cubicBezTo>
                  <a:cubicBezTo>
                    <a:pt x="111" y="51"/>
                    <a:pt x="111" y="51"/>
                    <a:pt x="110" y="51"/>
                  </a:cubicBezTo>
                  <a:cubicBezTo>
                    <a:pt x="109" y="51"/>
                    <a:pt x="109" y="51"/>
                    <a:pt x="109" y="51"/>
                  </a:cubicBezTo>
                  <a:cubicBezTo>
                    <a:pt x="109" y="51"/>
                    <a:pt x="109" y="51"/>
                    <a:pt x="109" y="51"/>
                  </a:cubicBezTo>
                  <a:cubicBezTo>
                    <a:pt x="107" y="51"/>
                    <a:pt x="105" y="50"/>
                    <a:pt x="104" y="48"/>
                  </a:cubicBezTo>
                  <a:cubicBezTo>
                    <a:pt x="103" y="48"/>
                    <a:pt x="103" y="47"/>
                    <a:pt x="102" y="46"/>
                  </a:cubicBezTo>
                  <a:cubicBezTo>
                    <a:pt x="101" y="44"/>
                    <a:pt x="100" y="43"/>
                    <a:pt x="100" y="43"/>
                  </a:cubicBezTo>
                  <a:cubicBezTo>
                    <a:pt x="100" y="43"/>
                    <a:pt x="100" y="43"/>
                    <a:pt x="99" y="43"/>
                  </a:cubicBezTo>
                  <a:cubicBezTo>
                    <a:pt x="98" y="43"/>
                    <a:pt x="98" y="43"/>
                    <a:pt x="98" y="43"/>
                  </a:cubicBezTo>
                  <a:cubicBezTo>
                    <a:pt x="94" y="43"/>
                    <a:pt x="90" y="42"/>
                    <a:pt x="86" y="42"/>
                  </a:cubicBezTo>
                  <a:cubicBezTo>
                    <a:pt x="85" y="42"/>
                    <a:pt x="85" y="42"/>
                    <a:pt x="85" y="42"/>
                  </a:cubicBezTo>
                  <a:cubicBezTo>
                    <a:pt x="77" y="41"/>
                    <a:pt x="70" y="40"/>
                    <a:pt x="62" y="40"/>
                  </a:cubicBezTo>
                  <a:cubicBezTo>
                    <a:pt x="61" y="40"/>
                    <a:pt x="59" y="40"/>
                    <a:pt x="58" y="40"/>
                  </a:cubicBezTo>
                  <a:cubicBezTo>
                    <a:pt x="54" y="40"/>
                    <a:pt x="51" y="40"/>
                    <a:pt x="47" y="41"/>
                  </a:cubicBezTo>
                  <a:cubicBezTo>
                    <a:pt x="45" y="41"/>
                    <a:pt x="45" y="41"/>
                    <a:pt x="45" y="41"/>
                  </a:cubicBezTo>
                  <a:cubicBezTo>
                    <a:pt x="44" y="41"/>
                    <a:pt x="43" y="41"/>
                    <a:pt x="42" y="42"/>
                  </a:cubicBezTo>
                  <a:cubicBezTo>
                    <a:pt x="42" y="42"/>
                    <a:pt x="41" y="42"/>
                    <a:pt x="41" y="42"/>
                  </a:cubicBezTo>
                  <a:cubicBezTo>
                    <a:pt x="39" y="42"/>
                    <a:pt x="39" y="42"/>
                    <a:pt x="39" y="42"/>
                  </a:cubicBezTo>
                  <a:cubicBezTo>
                    <a:pt x="38" y="42"/>
                    <a:pt x="36" y="43"/>
                    <a:pt x="35" y="43"/>
                  </a:cubicBezTo>
                  <a:cubicBezTo>
                    <a:pt x="33" y="43"/>
                    <a:pt x="32" y="42"/>
                    <a:pt x="31" y="42"/>
                  </a:cubicBezTo>
                  <a:cubicBezTo>
                    <a:pt x="30" y="42"/>
                    <a:pt x="30" y="42"/>
                    <a:pt x="30" y="42"/>
                  </a:cubicBezTo>
                  <a:cubicBezTo>
                    <a:pt x="27" y="41"/>
                    <a:pt x="25" y="40"/>
                    <a:pt x="24" y="39"/>
                  </a:cubicBezTo>
                  <a:cubicBezTo>
                    <a:pt x="24" y="38"/>
                    <a:pt x="24" y="38"/>
                    <a:pt x="24" y="38"/>
                  </a:cubicBezTo>
                  <a:cubicBezTo>
                    <a:pt x="23" y="38"/>
                    <a:pt x="23" y="38"/>
                    <a:pt x="22" y="38"/>
                  </a:cubicBezTo>
                  <a:cubicBezTo>
                    <a:pt x="21" y="38"/>
                    <a:pt x="21" y="38"/>
                    <a:pt x="20" y="38"/>
                  </a:cubicBezTo>
                  <a:cubicBezTo>
                    <a:pt x="20" y="38"/>
                    <a:pt x="20" y="38"/>
                    <a:pt x="20" y="38"/>
                  </a:cubicBezTo>
                  <a:cubicBezTo>
                    <a:pt x="19" y="38"/>
                    <a:pt x="19" y="38"/>
                    <a:pt x="19" y="38"/>
                  </a:cubicBezTo>
                  <a:cubicBezTo>
                    <a:pt x="18" y="39"/>
                    <a:pt x="18" y="41"/>
                    <a:pt x="17" y="44"/>
                  </a:cubicBezTo>
                  <a:cubicBezTo>
                    <a:pt x="16" y="45"/>
                    <a:pt x="16" y="45"/>
                    <a:pt x="16" y="46"/>
                  </a:cubicBezTo>
                  <a:cubicBezTo>
                    <a:pt x="16" y="46"/>
                    <a:pt x="16" y="46"/>
                    <a:pt x="16" y="47"/>
                  </a:cubicBezTo>
                  <a:cubicBezTo>
                    <a:pt x="16" y="47"/>
                    <a:pt x="16" y="47"/>
                    <a:pt x="16" y="47"/>
                  </a:cubicBezTo>
                  <a:cubicBezTo>
                    <a:pt x="16" y="47"/>
                    <a:pt x="16" y="47"/>
                    <a:pt x="16" y="47"/>
                  </a:cubicBezTo>
                  <a:cubicBezTo>
                    <a:pt x="15" y="49"/>
                    <a:pt x="15" y="49"/>
                    <a:pt x="15" y="49"/>
                  </a:cubicBezTo>
                  <a:cubicBezTo>
                    <a:pt x="16" y="49"/>
                    <a:pt x="16" y="50"/>
                    <a:pt x="16" y="50"/>
                  </a:cubicBezTo>
                  <a:cubicBezTo>
                    <a:pt x="16" y="51"/>
                    <a:pt x="16" y="51"/>
                    <a:pt x="16" y="51"/>
                  </a:cubicBezTo>
                  <a:cubicBezTo>
                    <a:pt x="17" y="54"/>
                    <a:pt x="18" y="57"/>
                    <a:pt x="15" y="59"/>
                  </a:cubicBezTo>
                  <a:cubicBezTo>
                    <a:pt x="15" y="59"/>
                    <a:pt x="14" y="60"/>
                    <a:pt x="13" y="60"/>
                  </a:cubicBezTo>
                  <a:cubicBezTo>
                    <a:pt x="13" y="60"/>
                    <a:pt x="13" y="60"/>
                    <a:pt x="13" y="60"/>
                  </a:cubicBezTo>
                  <a:cubicBezTo>
                    <a:pt x="9" y="63"/>
                    <a:pt x="8" y="64"/>
                    <a:pt x="8" y="64"/>
                  </a:cubicBezTo>
                  <a:cubicBezTo>
                    <a:pt x="8" y="64"/>
                    <a:pt x="8" y="64"/>
                    <a:pt x="8" y="64"/>
                  </a:cubicBezTo>
                  <a:cubicBezTo>
                    <a:pt x="5" y="67"/>
                    <a:pt x="5" y="67"/>
                    <a:pt x="5" y="67"/>
                  </a:cubicBezTo>
                  <a:cubicBezTo>
                    <a:pt x="4" y="66"/>
                    <a:pt x="4" y="66"/>
                    <a:pt x="4" y="66"/>
                  </a:cubicBezTo>
                  <a:cubicBezTo>
                    <a:pt x="5" y="69"/>
                    <a:pt x="5" y="72"/>
                    <a:pt x="5" y="75"/>
                  </a:cubicBezTo>
                  <a:cubicBezTo>
                    <a:pt x="5" y="76"/>
                    <a:pt x="4" y="77"/>
                    <a:pt x="4" y="78"/>
                  </a:cubicBezTo>
                  <a:cubicBezTo>
                    <a:pt x="4" y="80"/>
                    <a:pt x="4" y="83"/>
                    <a:pt x="4" y="85"/>
                  </a:cubicBezTo>
                  <a:cubicBezTo>
                    <a:pt x="4" y="87"/>
                    <a:pt x="5" y="90"/>
                    <a:pt x="4" y="93"/>
                  </a:cubicBezTo>
                  <a:cubicBezTo>
                    <a:pt x="4" y="93"/>
                    <a:pt x="4" y="91"/>
                    <a:pt x="3" y="91"/>
                  </a:cubicBezTo>
                  <a:cubicBezTo>
                    <a:pt x="3" y="91"/>
                    <a:pt x="3" y="91"/>
                    <a:pt x="3" y="91"/>
                  </a:cubicBezTo>
                  <a:cubicBezTo>
                    <a:pt x="0" y="92"/>
                    <a:pt x="0" y="92"/>
                    <a:pt x="1" y="93"/>
                  </a:cubicBezTo>
                  <a:cubicBezTo>
                    <a:pt x="1" y="93"/>
                    <a:pt x="1" y="93"/>
                    <a:pt x="1" y="93"/>
                  </a:cubicBezTo>
                  <a:cubicBezTo>
                    <a:pt x="2" y="93"/>
                    <a:pt x="2" y="93"/>
                    <a:pt x="2" y="93"/>
                  </a:cubicBezTo>
                  <a:cubicBezTo>
                    <a:pt x="2" y="93"/>
                    <a:pt x="2" y="93"/>
                    <a:pt x="3" y="93"/>
                  </a:cubicBezTo>
                  <a:cubicBezTo>
                    <a:pt x="3" y="93"/>
                    <a:pt x="4" y="93"/>
                    <a:pt x="4" y="94"/>
                  </a:cubicBezTo>
                  <a:cubicBezTo>
                    <a:pt x="6" y="95"/>
                    <a:pt x="6" y="102"/>
                    <a:pt x="7" y="104"/>
                  </a:cubicBezTo>
                  <a:cubicBezTo>
                    <a:pt x="8" y="107"/>
                    <a:pt x="8" y="110"/>
                    <a:pt x="9" y="113"/>
                  </a:cubicBezTo>
                  <a:cubicBezTo>
                    <a:pt x="10" y="119"/>
                    <a:pt x="12" y="123"/>
                    <a:pt x="14" y="128"/>
                  </a:cubicBezTo>
                  <a:cubicBezTo>
                    <a:pt x="17" y="132"/>
                    <a:pt x="16" y="134"/>
                    <a:pt x="15" y="139"/>
                  </a:cubicBezTo>
                  <a:cubicBezTo>
                    <a:pt x="15" y="140"/>
                    <a:pt x="15" y="141"/>
                    <a:pt x="15" y="142"/>
                  </a:cubicBezTo>
                  <a:cubicBezTo>
                    <a:pt x="16" y="147"/>
                    <a:pt x="19" y="152"/>
                    <a:pt x="21" y="156"/>
                  </a:cubicBezTo>
                  <a:cubicBezTo>
                    <a:pt x="21" y="156"/>
                    <a:pt x="24" y="157"/>
                    <a:pt x="28" y="157"/>
                  </a:cubicBezTo>
                  <a:cubicBezTo>
                    <a:pt x="31" y="157"/>
                    <a:pt x="34" y="157"/>
                    <a:pt x="37" y="156"/>
                  </a:cubicBezTo>
                  <a:cubicBezTo>
                    <a:pt x="40" y="156"/>
                    <a:pt x="42" y="156"/>
                    <a:pt x="43" y="156"/>
                  </a:cubicBezTo>
                  <a:cubicBezTo>
                    <a:pt x="43" y="156"/>
                    <a:pt x="43" y="156"/>
                    <a:pt x="43" y="156"/>
                  </a:cubicBezTo>
                  <a:cubicBezTo>
                    <a:pt x="43" y="156"/>
                    <a:pt x="43" y="156"/>
                    <a:pt x="43" y="156"/>
                  </a:cubicBezTo>
                  <a:cubicBezTo>
                    <a:pt x="45" y="156"/>
                    <a:pt x="46" y="156"/>
                    <a:pt x="47" y="155"/>
                  </a:cubicBezTo>
                  <a:cubicBezTo>
                    <a:pt x="49" y="154"/>
                    <a:pt x="50" y="154"/>
                    <a:pt x="51" y="154"/>
                  </a:cubicBezTo>
                  <a:cubicBezTo>
                    <a:pt x="51" y="154"/>
                    <a:pt x="52" y="154"/>
                    <a:pt x="52" y="154"/>
                  </a:cubicBezTo>
                  <a:cubicBezTo>
                    <a:pt x="54" y="154"/>
                    <a:pt x="56" y="154"/>
                    <a:pt x="59" y="154"/>
                  </a:cubicBezTo>
                  <a:cubicBezTo>
                    <a:pt x="59" y="154"/>
                    <a:pt x="60" y="154"/>
                    <a:pt x="60" y="154"/>
                  </a:cubicBezTo>
                  <a:cubicBezTo>
                    <a:pt x="59" y="148"/>
                    <a:pt x="68" y="146"/>
                    <a:pt x="72" y="142"/>
                  </a:cubicBezTo>
                  <a:cubicBezTo>
                    <a:pt x="75" y="139"/>
                    <a:pt x="77" y="139"/>
                    <a:pt x="82" y="138"/>
                  </a:cubicBezTo>
                  <a:cubicBezTo>
                    <a:pt x="91" y="137"/>
                    <a:pt x="101" y="135"/>
                    <a:pt x="111" y="133"/>
                  </a:cubicBezTo>
                  <a:cubicBezTo>
                    <a:pt x="118" y="132"/>
                    <a:pt x="122" y="128"/>
                    <a:pt x="128" y="125"/>
                  </a:cubicBezTo>
                  <a:cubicBezTo>
                    <a:pt x="131" y="123"/>
                    <a:pt x="132" y="122"/>
                    <a:pt x="134" y="122"/>
                  </a:cubicBezTo>
                  <a:cubicBezTo>
                    <a:pt x="135" y="122"/>
                    <a:pt x="137" y="123"/>
                    <a:pt x="139" y="123"/>
                  </a:cubicBezTo>
                  <a:cubicBezTo>
                    <a:pt x="140" y="123"/>
                    <a:pt x="141" y="123"/>
                    <a:pt x="142" y="123"/>
                  </a:cubicBezTo>
                  <a:cubicBezTo>
                    <a:pt x="145" y="123"/>
                    <a:pt x="148" y="123"/>
                    <a:pt x="149" y="122"/>
                  </a:cubicBezTo>
                  <a:cubicBezTo>
                    <a:pt x="152" y="119"/>
                    <a:pt x="154" y="116"/>
                    <a:pt x="157" y="113"/>
                  </a:cubicBezTo>
                  <a:cubicBezTo>
                    <a:pt x="160" y="110"/>
                    <a:pt x="163" y="108"/>
                    <a:pt x="167" y="107"/>
                  </a:cubicBezTo>
                  <a:cubicBezTo>
                    <a:pt x="171" y="105"/>
                    <a:pt x="174" y="104"/>
                    <a:pt x="177" y="103"/>
                  </a:cubicBezTo>
                  <a:cubicBezTo>
                    <a:pt x="184" y="101"/>
                    <a:pt x="191" y="100"/>
                    <a:pt x="198" y="97"/>
                  </a:cubicBezTo>
                  <a:cubicBezTo>
                    <a:pt x="204" y="95"/>
                    <a:pt x="210" y="94"/>
                    <a:pt x="215" y="92"/>
                  </a:cubicBezTo>
                  <a:cubicBezTo>
                    <a:pt x="220" y="90"/>
                    <a:pt x="224" y="88"/>
                    <a:pt x="229" y="86"/>
                  </a:cubicBezTo>
                  <a:cubicBezTo>
                    <a:pt x="230" y="85"/>
                    <a:pt x="236" y="84"/>
                    <a:pt x="237" y="82"/>
                  </a:cubicBezTo>
                  <a:cubicBezTo>
                    <a:pt x="237" y="81"/>
                    <a:pt x="236" y="80"/>
                    <a:pt x="236" y="79"/>
                  </a:cubicBezTo>
                  <a:cubicBezTo>
                    <a:pt x="236" y="78"/>
                    <a:pt x="237" y="78"/>
                    <a:pt x="236" y="77"/>
                  </a:cubicBezTo>
                  <a:cubicBezTo>
                    <a:pt x="236" y="77"/>
                    <a:pt x="235" y="76"/>
                    <a:pt x="235" y="76"/>
                  </a:cubicBezTo>
                  <a:cubicBezTo>
                    <a:pt x="235" y="72"/>
                    <a:pt x="239" y="69"/>
                    <a:pt x="241" y="66"/>
                  </a:cubicBezTo>
                  <a:cubicBezTo>
                    <a:pt x="243" y="62"/>
                    <a:pt x="244" y="62"/>
                    <a:pt x="248" y="60"/>
                  </a:cubicBezTo>
                  <a:cubicBezTo>
                    <a:pt x="250" y="59"/>
                    <a:pt x="253" y="58"/>
                    <a:pt x="255" y="58"/>
                  </a:cubicBezTo>
                  <a:cubicBezTo>
                    <a:pt x="250" y="45"/>
                    <a:pt x="243" y="30"/>
                    <a:pt x="237" y="16"/>
                  </a:cubicBezTo>
                  <a:cubicBezTo>
                    <a:pt x="229" y="0"/>
                    <a:pt x="229" y="0"/>
                    <a:pt x="2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545"/>
            <p:cNvSpPr/>
            <p:nvPr/>
          </p:nvSpPr>
          <p:spPr bwMode="auto">
            <a:xfrm>
              <a:off x="1687212" y="3778213"/>
              <a:ext cx="355928" cy="256537"/>
            </a:xfrm>
            <a:custGeom>
              <a:gdLst>
                <a:gd name="T0" fmla="*/ 102 w 112"/>
                <a:gd name="T1" fmla="*/ 0 h 81"/>
                <a:gd name="T2" fmla="*/ 97 w 112"/>
                <a:gd name="T3" fmla="*/ 7 h 81"/>
                <a:gd name="T4" fmla="*/ 90 w 112"/>
                <a:gd name="T5" fmla="*/ 13 h 81"/>
                <a:gd name="T6" fmla="*/ 73 w 112"/>
                <a:gd name="T7" fmla="*/ 29 h 81"/>
                <a:gd name="T8" fmla="*/ 68 w 112"/>
                <a:gd name="T9" fmla="*/ 35 h 81"/>
                <a:gd name="T10" fmla="*/ 63 w 112"/>
                <a:gd name="T11" fmla="*/ 44 h 81"/>
                <a:gd name="T12" fmla="*/ 60 w 112"/>
                <a:gd name="T13" fmla="*/ 45 h 81"/>
                <a:gd name="T14" fmla="*/ 55 w 112"/>
                <a:gd name="T15" fmla="*/ 43 h 81"/>
                <a:gd name="T16" fmla="*/ 48 w 112"/>
                <a:gd name="T17" fmla="*/ 49 h 81"/>
                <a:gd name="T18" fmla="*/ 46 w 112"/>
                <a:gd name="T19" fmla="*/ 49 h 81"/>
                <a:gd name="T20" fmla="*/ 41 w 112"/>
                <a:gd name="T21" fmla="*/ 48 h 81"/>
                <a:gd name="T22" fmla="*/ 32 w 112"/>
                <a:gd name="T23" fmla="*/ 47 h 81"/>
                <a:gd name="T24" fmla="*/ 22 w 112"/>
                <a:gd name="T25" fmla="*/ 48 h 81"/>
                <a:gd name="T26" fmla="*/ 5 w 112"/>
                <a:gd name="T27" fmla="*/ 52 h 81"/>
                <a:gd name="T28" fmla="*/ 0 w 112"/>
                <a:gd name="T29" fmla="*/ 51 h 81"/>
                <a:gd name="T30" fmla="*/ 3 w 112"/>
                <a:gd name="T31" fmla="*/ 54 h 81"/>
                <a:gd name="T32" fmla="*/ 4 w 112"/>
                <a:gd name="T33" fmla="*/ 56 h 81"/>
                <a:gd name="T34" fmla="*/ 8 w 112"/>
                <a:gd name="T35" fmla="*/ 60 h 81"/>
                <a:gd name="T36" fmla="*/ 11 w 112"/>
                <a:gd name="T37" fmla="*/ 64 h 81"/>
                <a:gd name="T38" fmla="*/ 20 w 112"/>
                <a:gd name="T39" fmla="*/ 75 h 81"/>
                <a:gd name="T40" fmla="*/ 80 w 112"/>
                <a:gd name="T41" fmla="*/ 81 h 81"/>
                <a:gd name="T42" fmla="*/ 81 w 112"/>
                <a:gd name="T43" fmla="*/ 78 h 81"/>
                <a:gd name="T44" fmla="*/ 81 w 112"/>
                <a:gd name="T45" fmla="*/ 77 h 81"/>
                <a:gd name="T46" fmla="*/ 83 w 112"/>
                <a:gd name="T47" fmla="*/ 71 h 81"/>
                <a:gd name="T48" fmla="*/ 85 w 112"/>
                <a:gd name="T49" fmla="*/ 60 h 81"/>
                <a:gd name="T50" fmla="*/ 85 w 112"/>
                <a:gd name="T51" fmla="*/ 58 h 81"/>
                <a:gd name="T52" fmla="*/ 85 w 112"/>
                <a:gd name="T53" fmla="*/ 57 h 81"/>
                <a:gd name="T54" fmla="*/ 86 w 112"/>
                <a:gd name="T55" fmla="*/ 56 h 81"/>
                <a:gd name="T56" fmla="*/ 92 w 112"/>
                <a:gd name="T57" fmla="*/ 47 h 81"/>
                <a:gd name="T58" fmla="*/ 93 w 112"/>
                <a:gd name="T59" fmla="*/ 47 h 81"/>
                <a:gd name="T60" fmla="*/ 94 w 112"/>
                <a:gd name="T61" fmla="*/ 47 h 81"/>
                <a:gd name="T62" fmla="*/ 95 w 112"/>
                <a:gd name="T63" fmla="*/ 47 h 81"/>
                <a:gd name="T64" fmla="*/ 95 w 112"/>
                <a:gd name="T65" fmla="*/ 47 h 81"/>
                <a:gd name="T66" fmla="*/ 96 w 112"/>
                <a:gd name="T67" fmla="*/ 47 h 81"/>
                <a:gd name="T68" fmla="*/ 94 w 112"/>
                <a:gd name="T69" fmla="*/ 44 h 81"/>
                <a:gd name="T70" fmla="*/ 97 w 112"/>
                <a:gd name="T71" fmla="*/ 30 h 81"/>
                <a:gd name="T72" fmla="*/ 97 w 112"/>
                <a:gd name="T73" fmla="*/ 28 h 81"/>
                <a:gd name="T74" fmla="*/ 104 w 112"/>
                <a:gd name="T75" fmla="*/ 28 h 81"/>
                <a:gd name="T76" fmla="*/ 108 w 112"/>
                <a:gd name="T77" fmla="*/ 26 h 81"/>
                <a:gd name="T78" fmla="*/ 109 w 112"/>
                <a:gd name="T79" fmla="*/ 23 h 81"/>
                <a:gd name="T80" fmla="*/ 110 w 112"/>
                <a:gd name="T81" fmla="*/ 22 h 81"/>
                <a:gd name="T82" fmla="*/ 111 w 112"/>
                <a:gd name="T83" fmla="*/ 22 h 81"/>
                <a:gd name="T84" fmla="*/ 111 w 112"/>
                <a:gd name="T85" fmla="*/ 21 h 81"/>
                <a:gd name="T86" fmla="*/ 112 w 112"/>
                <a:gd name="T87" fmla="*/ 21 h 81"/>
                <a:gd name="T88" fmla="*/ 112 w 112"/>
                <a:gd name="T89" fmla="*/ 16 h 81"/>
                <a:gd name="T90" fmla="*/ 110 w 112"/>
                <a:gd name="T91" fmla="*/ 11 h 81"/>
                <a:gd name="T92" fmla="*/ 108 w 112"/>
                <a:gd name="T93" fmla="*/ 11 h 81"/>
                <a:gd name="T94" fmla="*/ 106 w 112"/>
                <a:gd name="T95" fmla="*/ 10 h 81"/>
                <a:gd name="T96" fmla="*/ 102 w 112"/>
                <a:gd name="T97" fmla="*/ 0 h 81"/>
                <a:gd name="T98" fmla="*/ 102 w 112"/>
                <a:gd name="T99"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2" h="81">
                  <a:moveTo>
                    <a:pt x="102" y="0"/>
                  </a:moveTo>
                  <a:cubicBezTo>
                    <a:pt x="100" y="2"/>
                    <a:pt x="98" y="4"/>
                    <a:pt x="97" y="7"/>
                  </a:cubicBezTo>
                  <a:cubicBezTo>
                    <a:pt x="95" y="9"/>
                    <a:pt x="92" y="11"/>
                    <a:pt x="90" y="13"/>
                  </a:cubicBezTo>
                  <a:cubicBezTo>
                    <a:pt x="84" y="19"/>
                    <a:pt x="79" y="24"/>
                    <a:pt x="73" y="29"/>
                  </a:cubicBezTo>
                  <a:cubicBezTo>
                    <a:pt x="70" y="31"/>
                    <a:pt x="69" y="32"/>
                    <a:pt x="68" y="35"/>
                  </a:cubicBezTo>
                  <a:cubicBezTo>
                    <a:pt x="66" y="38"/>
                    <a:pt x="65" y="42"/>
                    <a:pt x="63" y="44"/>
                  </a:cubicBezTo>
                  <a:cubicBezTo>
                    <a:pt x="62" y="45"/>
                    <a:pt x="61" y="45"/>
                    <a:pt x="60" y="45"/>
                  </a:cubicBezTo>
                  <a:cubicBezTo>
                    <a:pt x="59" y="45"/>
                    <a:pt x="57" y="43"/>
                    <a:pt x="55" y="43"/>
                  </a:cubicBezTo>
                  <a:cubicBezTo>
                    <a:pt x="59" y="46"/>
                    <a:pt x="50" y="49"/>
                    <a:pt x="48" y="49"/>
                  </a:cubicBezTo>
                  <a:cubicBezTo>
                    <a:pt x="47" y="49"/>
                    <a:pt x="47" y="49"/>
                    <a:pt x="46" y="49"/>
                  </a:cubicBezTo>
                  <a:cubicBezTo>
                    <a:pt x="44" y="49"/>
                    <a:pt x="43" y="49"/>
                    <a:pt x="41" y="48"/>
                  </a:cubicBezTo>
                  <a:cubicBezTo>
                    <a:pt x="38" y="48"/>
                    <a:pt x="35" y="47"/>
                    <a:pt x="32" y="47"/>
                  </a:cubicBezTo>
                  <a:cubicBezTo>
                    <a:pt x="29" y="47"/>
                    <a:pt x="25" y="48"/>
                    <a:pt x="22" y="48"/>
                  </a:cubicBezTo>
                  <a:cubicBezTo>
                    <a:pt x="19" y="49"/>
                    <a:pt x="11" y="52"/>
                    <a:pt x="5" y="52"/>
                  </a:cubicBezTo>
                  <a:cubicBezTo>
                    <a:pt x="3" y="52"/>
                    <a:pt x="1" y="52"/>
                    <a:pt x="0" y="51"/>
                  </a:cubicBezTo>
                  <a:cubicBezTo>
                    <a:pt x="1" y="52"/>
                    <a:pt x="2" y="53"/>
                    <a:pt x="3" y="54"/>
                  </a:cubicBezTo>
                  <a:cubicBezTo>
                    <a:pt x="4" y="56"/>
                    <a:pt x="4" y="56"/>
                    <a:pt x="4" y="56"/>
                  </a:cubicBezTo>
                  <a:cubicBezTo>
                    <a:pt x="5" y="57"/>
                    <a:pt x="8" y="60"/>
                    <a:pt x="8" y="60"/>
                  </a:cubicBezTo>
                  <a:cubicBezTo>
                    <a:pt x="11" y="64"/>
                    <a:pt x="11" y="64"/>
                    <a:pt x="11" y="64"/>
                  </a:cubicBezTo>
                  <a:cubicBezTo>
                    <a:pt x="14" y="68"/>
                    <a:pt x="17" y="72"/>
                    <a:pt x="20" y="75"/>
                  </a:cubicBezTo>
                  <a:cubicBezTo>
                    <a:pt x="80" y="81"/>
                    <a:pt x="80" y="81"/>
                    <a:pt x="80" y="81"/>
                  </a:cubicBezTo>
                  <a:cubicBezTo>
                    <a:pt x="81" y="80"/>
                    <a:pt x="81" y="79"/>
                    <a:pt x="81" y="78"/>
                  </a:cubicBezTo>
                  <a:cubicBezTo>
                    <a:pt x="81" y="78"/>
                    <a:pt x="81" y="77"/>
                    <a:pt x="81" y="77"/>
                  </a:cubicBezTo>
                  <a:cubicBezTo>
                    <a:pt x="83" y="71"/>
                    <a:pt x="83" y="71"/>
                    <a:pt x="83" y="71"/>
                  </a:cubicBezTo>
                  <a:cubicBezTo>
                    <a:pt x="83" y="67"/>
                    <a:pt x="84" y="64"/>
                    <a:pt x="85" y="60"/>
                  </a:cubicBezTo>
                  <a:cubicBezTo>
                    <a:pt x="85" y="59"/>
                    <a:pt x="85" y="59"/>
                    <a:pt x="85" y="58"/>
                  </a:cubicBezTo>
                  <a:cubicBezTo>
                    <a:pt x="85" y="57"/>
                    <a:pt x="85" y="57"/>
                    <a:pt x="85" y="57"/>
                  </a:cubicBezTo>
                  <a:cubicBezTo>
                    <a:pt x="85" y="57"/>
                    <a:pt x="85" y="56"/>
                    <a:pt x="86" y="56"/>
                  </a:cubicBezTo>
                  <a:cubicBezTo>
                    <a:pt x="86" y="53"/>
                    <a:pt x="87" y="50"/>
                    <a:pt x="92" y="47"/>
                  </a:cubicBezTo>
                  <a:cubicBezTo>
                    <a:pt x="92" y="47"/>
                    <a:pt x="93" y="47"/>
                    <a:pt x="93" y="47"/>
                  </a:cubicBezTo>
                  <a:cubicBezTo>
                    <a:pt x="94" y="47"/>
                    <a:pt x="94" y="47"/>
                    <a:pt x="94" y="47"/>
                  </a:cubicBezTo>
                  <a:cubicBezTo>
                    <a:pt x="95" y="47"/>
                    <a:pt x="95" y="47"/>
                    <a:pt x="95" y="47"/>
                  </a:cubicBezTo>
                  <a:cubicBezTo>
                    <a:pt x="95" y="47"/>
                    <a:pt x="95" y="47"/>
                    <a:pt x="95" y="47"/>
                  </a:cubicBezTo>
                  <a:cubicBezTo>
                    <a:pt x="96" y="47"/>
                    <a:pt x="96" y="47"/>
                    <a:pt x="96" y="47"/>
                  </a:cubicBezTo>
                  <a:cubicBezTo>
                    <a:pt x="95" y="46"/>
                    <a:pt x="94" y="45"/>
                    <a:pt x="94" y="44"/>
                  </a:cubicBezTo>
                  <a:cubicBezTo>
                    <a:pt x="94" y="39"/>
                    <a:pt x="95" y="34"/>
                    <a:pt x="97" y="30"/>
                  </a:cubicBezTo>
                  <a:cubicBezTo>
                    <a:pt x="97" y="28"/>
                    <a:pt x="97" y="28"/>
                    <a:pt x="97" y="28"/>
                  </a:cubicBezTo>
                  <a:cubicBezTo>
                    <a:pt x="104" y="28"/>
                    <a:pt x="104" y="28"/>
                    <a:pt x="104" y="28"/>
                  </a:cubicBezTo>
                  <a:cubicBezTo>
                    <a:pt x="106" y="27"/>
                    <a:pt x="107" y="26"/>
                    <a:pt x="108" y="26"/>
                  </a:cubicBezTo>
                  <a:cubicBezTo>
                    <a:pt x="108" y="25"/>
                    <a:pt x="109" y="24"/>
                    <a:pt x="109" y="23"/>
                  </a:cubicBezTo>
                  <a:cubicBezTo>
                    <a:pt x="110" y="22"/>
                    <a:pt x="110" y="22"/>
                    <a:pt x="110" y="22"/>
                  </a:cubicBezTo>
                  <a:cubicBezTo>
                    <a:pt x="111" y="22"/>
                    <a:pt x="111" y="22"/>
                    <a:pt x="111" y="22"/>
                  </a:cubicBezTo>
                  <a:cubicBezTo>
                    <a:pt x="111" y="21"/>
                    <a:pt x="111" y="21"/>
                    <a:pt x="111" y="21"/>
                  </a:cubicBezTo>
                  <a:cubicBezTo>
                    <a:pt x="112" y="21"/>
                    <a:pt x="112" y="21"/>
                    <a:pt x="112" y="21"/>
                  </a:cubicBezTo>
                  <a:cubicBezTo>
                    <a:pt x="112" y="19"/>
                    <a:pt x="112" y="16"/>
                    <a:pt x="112" y="16"/>
                  </a:cubicBezTo>
                  <a:cubicBezTo>
                    <a:pt x="111" y="14"/>
                    <a:pt x="111" y="12"/>
                    <a:pt x="110" y="11"/>
                  </a:cubicBezTo>
                  <a:cubicBezTo>
                    <a:pt x="109" y="11"/>
                    <a:pt x="109" y="11"/>
                    <a:pt x="108" y="11"/>
                  </a:cubicBezTo>
                  <a:cubicBezTo>
                    <a:pt x="107" y="11"/>
                    <a:pt x="106" y="11"/>
                    <a:pt x="106" y="10"/>
                  </a:cubicBezTo>
                  <a:cubicBezTo>
                    <a:pt x="103" y="9"/>
                    <a:pt x="102" y="4"/>
                    <a:pt x="102" y="0"/>
                  </a:cubicBezTo>
                  <a:cubicBezTo>
                    <a:pt x="102" y="0"/>
                    <a:pt x="102" y="0"/>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546"/>
            <p:cNvSpPr/>
            <p:nvPr/>
          </p:nvSpPr>
          <p:spPr bwMode="auto">
            <a:xfrm>
              <a:off x="331998" y="3261109"/>
              <a:ext cx="1637270" cy="1288058"/>
            </a:xfrm>
            <a:custGeom>
              <a:gdLst>
                <a:gd name="T0" fmla="*/ 100 w 516"/>
                <a:gd name="T1" fmla="*/ 5 h 406"/>
                <a:gd name="T2" fmla="*/ 83 w 516"/>
                <a:gd name="T3" fmla="*/ 32 h 406"/>
                <a:gd name="T4" fmla="*/ 87 w 516"/>
                <a:gd name="T5" fmla="*/ 37 h 406"/>
                <a:gd name="T6" fmla="*/ 68 w 516"/>
                <a:gd name="T7" fmla="*/ 59 h 406"/>
                <a:gd name="T8" fmla="*/ 61 w 516"/>
                <a:gd name="T9" fmla="*/ 60 h 406"/>
                <a:gd name="T10" fmla="*/ 46 w 516"/>
                <a:gd name="T11" fmla="*/ 73 h 406"/>
                <a:gd name="T12" fmla="*/ 31 w 516"/>
                <a:gd name="T13" fmla="*/ 78 h 406"/>
                <a:gd name="T14" fmla="*/ 12 w 516"/>
                <a:gd name="T15" fmla="*/ 75 h 406"/>
                <a:gd name="T16" fmla="*/ 3 w 516"/>
                <a:gd name="T17" fmla="*/ 108 h 406"/>
                <a:gd name="T18" fmla="*/ 6 w 516"/>
                <a:gd name="T19" fmla="*/ 106 h 406"/>
                <a:gd name="T20" fmla="*/ 11 w 516"/>
                <a:gd name="T21" fmla="*/ 106 h 406"/>
                <a:gd name="T22" fmla="*/ 34 w 516"/>
                <a:gd name="T23" fmla="*/ 135 h 406"/>
                <a:gd name="T24" fmla="*/ 68 w 516"/>
                <a:gd name="T25" fmla="*/ 185 h 406"/>
                <a:gd name="T26" fmla="*/ 95 w 516"/>
                <a:gd name="T27" fmla="*/ 217 h 406"/>
                <a:gd name="T28" fmla="*/ 114 w 516"/>
                <a:gd name="T29" fmla="*/ 256 h 406"/>
                <a:gd name="T30" fmla="*/ 121 w 516"/>
                <a:gd name="T31" fmla="*/ 297 h 406"/>
                <a:gd name="T32" fmla="*/ 144 w 516"/>
                <a:gd name="T33" fmla="*/ 315 h 406"/>
                <a:gd name="T34" fmla="*/ 189 w 516"/>
                <a:gd name="T35" fmla="*/ 379 h 406"/>
                <a:gd name="T36" fmla="*/ 210 w 516"/>
                <a:gd name="T37" fmla="*/ 401 h 406"/>
                <a:gd name="T38" fmla="*/ 210 w 516"/>
                <a:gd name="T39" fmla="*/ 393 h 406"/>
                <a:gd name="T40" fmla="*/ 219 w 516"/>
                <a:gd name="T41" fmla="*/ 378 h 406"/>
                <a:gd name="T42" fmla="*/ 231 w 516"/>
                <a:gd name="T43" fmla="*/ 382 h 406"/>
                <a:gd name="T44" fmla="*/ 238 w 516"/>
                <a:gd name="T45" fmla="*/ 382 h 406"/>
                <a:gd name="T46" fmla="*/ 258 w 516"/>
                <a:gd name="T47" fmla="*/ 380 h 406"/>
                <a:gd name="T48" fmla="*/ 300 w 516"/>
                <a:gd name="T49" fmla="*/ 383 h 406"/>
                <a:gd name="T50" fmla="*/ 308 w 516"/>
                <a:gd name="T51" fmla="*/ 390 h 406"/>
                <a:gd name="T52" fmla="*/ 311 w 516"/>
                <a:gd name="T53" fmla="*/ 391 h 406"/>
                <a:gd name="T54" fmla="*/ 336 w 516"/>
                <a:gd name="T55" fmla="*/ 361 h 406"/>
                <a:gd name="T56" fmla="*/ 382 w 516"/>
                <a:gd name="T57" fmla="*/ 347 h 406"/>
                <a:gd name="T58" fmla="*/ 431 w 516"/>
                <a:gd name="T59" fmla="*/ 339 h 406"/>
                <a:gd name="T60" fmla="*/ 503 w 516"/>
                <a:gd name="T61" fmla="*/ 315 h 406"/>
                <a:gd name="T62" fmla="*/ 505 w 516"/>
                <a:gd name="T63" fmla="*/ 306 h 406"/>
                <a:gd name="T64" fmla="*/ 513 w 516"/>
                <a:gd name="T65" fmla="*/ 280 h 406"/>
                <a:gd name="T66" fmla="*/ 515 w 516"/>
                <a:gd name="T67" fmla="*/ 264 h 406"/>
                <a:gd name="T68" fmla="*/ 510 w 516"/>
                <a:gd name="T69" fmla="*/ 254 h 406"/>
                <a:gd name="T70" fmla="*/ 444 w 516"/>
                <a:gd name="T71" fmla="*/ 244 h 406"/>
                <a:gd name="T72" fmla="*/ 425 w 516"/>
                <a:gd name="T73" fmla="*/ 221 h 406"/>
                <a:gd name="T74" fmla="*/ 414 w 516"/>
                <a:gd name="T75" fmla="*/ 203 h 406"/>
                <a:gd name="T76" fmla="*/ 418 w 516"/>
                <a:gd name="T77" fmla="*/ 197 h 406"/>
                <a:gd name="T78" fmla="*/ 413 w 516"/>
                <a:gd name="T79" fmla="*/ 198 h 406"/>
                <a:gd name="T80" fmla="*/ 407 w 516"/>
                <a:gd name="T81" fmla="*/ 198 h 406"/>
                <a:gd name="T82" fmla="*/ 402 w 516"/>
                <a:gd name="T83" fmla="*/ 194 h 406"/>
                <a:gd name="T84" fmla="*/ 382 w 516"/>
                <a:gd name="T85" fmla="*/ 161 h 406"/>
                <a:gd name="T86" fmla="*/ 387 w 516"/>
                <a:gd name="T87" fmla="*/ 151 h 406"/>
                <a:gd name="T88" fmla="*/ 380 w 516"/>
                <a:gd name="T89" fmla="*/ 139 h 406"/>
                <a:gd name="T90" fmla="*/ 370 w 516"/>
                <a:gd name="T91" fmla="*/ 131 h 406"/>
                <a:gd name="T92" fmla="*/ 361 w 516"/>
                <a:gd name="T93" fmla="*/ 121 h 406"/>
                <a:gd name="T94" fmla="*/ 352 w 516"/>
                <a:gd name="T95" fmla="*/ 117 h 406"/>
                <a:gd name="T96" fmla="*/ 343 w 516"/>
                <a:gd name="T97" fmla="*/ 97 h 406"/>
                <a:gd name="T98" fmla="*/ 338 w 516"/>
                <a:gd name="T99" fmla="*/ 97 h 406"/>
                <a:gd name="T100" fmla="*/ 319 w 516"/>
                <a:gd name="T101" fmla="*/ 91 h 406"/>
                <a:gd name="T102" fmla="*/ 319 w 516"/>
                <a:gd name="T103" fmla="*/ 89 h 406"/>
                <a:gd name="T104" fmla="*/ 318 w 516"/>
                <a:gd name="T105" fmla="*/ 87 h 406"/>
                <a:gd name="T106" fmla="*/ 296 w 516"/>
                <a:gd name="T107" fmla="*/ 82 h 406"/>
                <a:gd name="T108" fmla="*/ 290 w 516"/>
                <a:gd name="T109" fmla="*/ 83 h 406"/>
                <a:gd name="T110" fmla="*/ 237 w 516"/>
                <a:gd name="T111" fmla="*/ 69 h 406"/>
                <a:gd name="T112" fmla="*/ 185 w 516"/>
                <a:gd name="T113" fmla="*/ 28 h 406"/>
                <a:gd name="T114" fmla="*/ 150 w 516"/>
                <a:gd name="T115" fmla="*/ 8 h 40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 h="406">
                  <a:moveTo>
                    <a:pt x="115" y="0"/>
                  </a:moveTo>
                  <a:cubicBezTo>
                    <a:pt x="114" y="0"/>
                    <a:pt x="114" y="0"/>
                    <a:pt x="114" y="0"/>
                  </a:cubicBezTo>
                  <a:cubicBezTo>
                    <a:pt x="110" y="2"/>
                    <a:pt x="106" y="4"/>
                    <a:pt x="101" y="5"/>
                  </a:cubicBezTo>
                  <a:cubicBezTo>
                    <a:pt x="100" y="5"/>
                    <a:pt x="100" y="5"/>
                    <a:pt x="100" y="5"/>
                  </a:cubicBezTo>
                  <a:cubicBezTo>
                    <a:pt x="98" y="6"/>
                    <a:pt x="97" y="7"/>
                    <a:pt x="95" y="7"/>
                  </a:cubicBezTo>
                  <a:cubicBezTo>
                    <a:pt x="87" y="10"/>
                    <a:pt x="78" y="13"/>
                    <a:pt x="70" y="15"/>
                  </a:cubicBezTo>
                  <a:cubicBezTo>
                    <a:pt x="67" y="16"/>
                    <a:pt x="67" y="16"/>
                    <a:pt x="67" y="16"/>
                  </a:cubicBezTo>
                  <a:cubicBezTo>
                    <a:pt x="72" y="21"/>
                    <a:pt x="77" y="26"/>
                    <a:pt x="83" y="32"/>
                  </a:cubicBezTo>
                  <a:cubicBezTo>
                    <a:pt x="83" y="33"/>
                    <a:pt x="83" y="33"/>
                    <a:pt x="84" y="34"/>
                  </a:cubicBezTo>
                  <a:cubicBezTo>
                    <a:pt x="85" y="34"/>
                    <a:pt x="85" y="34"/>
                    <a:pt x="85" y="34"/>
                  </a:cubicBezTo>
                  <a:cubicBezTo>
                    <a:pt x="85" y="35"/>
                    <a:pt x="86" y="35"/>
                    <a:pt x="86" y="36"/>
                  </a:cubicBezTo>
                  <a:cubicBezTo>
                    <a:pt x="86" y="36"/>
                    <a:pt x="87" y="37"/>
                    <a:pt x="87" y="37"/>
                  </a:cubicBezTo>
                  <a:cubicBezTo>
                    <a:pt x="88" y="39"/>
                    <a:pt x="89" y="40"/>
                    <a:pt x="89" y="41"/>
                  </a:cubicBezTo>
                  <a:cubicBezTo>
                    <a:pt x="89" y="42"/>
                    <a:pt x="89" y="45"/>
                    <a:pt x="78" y="55"/>
                  </a:cubicBezTo>
                  <a:cubicBezTo>
                    <a:pt x="77" y="56"/>
                    <a:pt x="76" y="57"/>
                    <a:pt x="76" y="57"/>
                  </a:cubicBezTo>
                  <a:cubicBezTo>
                    <a:pt x="73" y="59"/>
                    <a:pt x="71" y="59"/>
                    <a:pt x="68" y="59"/>
                  </a:cubicBezTo>
                  <a:cubicBezTo>
                    <a:pt x="67" y="59"/>
                    <a:pt x="67" y="59"/>
                    <a:pt x="67" y="59"/>
                  </a:cubicBezTo>
                  <a:cubicBezTo>
                    <a:pt x="66" y="59"/>
                    <a:pt x="65" y="59"/>
                    <a:pt x="65" y="60"/>
                  </a:cubicBezTo>
                  <a:cubicBezTo>
                    <a:pt x="64" y="60"/>
                    <a:pt x="63" y="60"/>
                    <a:pt x="63" y="60"/>
                  </a:cubicBezTo>
                  <a:cubicBezTo>
                    <a:pt x="61" y="60"/>
                    <a:pt x="61" y="60"/>
                    <a:pt x="61" y="60"/>
                  </a:cubicBezTo>
                  <a:cubicBezTo>
                    <a:pt x="60" y="60"/>
                    <a:pt x="59" y="61"/>
                    <a:pt x="59" y="61"/>
                  </a:cubicBezTo>
                  <a:cubicBezTo>
                    <a:pt x="56" y="62"/>
                    <a:pt x="54" y="64"/>
                    <a:pt x="52" y="67"/>
                  </a:cubicBezTo>
                  <a:cubicBezTo>
                    <a:pt x="51" y="67"/>
                    <a:pt x="50" y="68"/>
                    <a:pt x="50" y="69"/>
                  </a:cubicBezTo>
                  <a:cubicBezTo>
                    <a:pt x="46" y="73"/>
                    <a:pt x="46" y="73"/>
                    <a:pt x="46" y="73"/>
                  </a:cubicBezTo>
                  <a:cubicBezTo>
                    <a:pt x="44" y="76"/>
                    <a:pt x="42" y="78"/>
                    <a:pt x="40" y="79"/>
                  </a:cubicBezTo>
                  <a:cubicBezTo>
                    <a:pt x="40" y="79"/>
                    <a:pt x="39" y="80"/>
                    <a:pt x="38" y="80"/>
                  </a:cubicBezTo>
                  <a:cubicBezTo>
                    <a:pt x="37" y="80"/>
                    <a:pt x="34" y="79"/>
                    <a:pt x="31" y="78"/>
                  </a:cubicBezTo>
                  <a:cubicBezTo>
                    <a:pt x="31" y="78"/>
                    <a:pt x="31" y="78"/>
                    <a:pt x="31" y="78"/>
                  </a:cubicBezTo>
                  <a:cubicBezTo>
                    <a:pt x="30" y="78"/>
                    <a:pt x="30" y="78"/>
                    <a:pt x="30" y="78"/>
                  </a:cubicBezTo>
                  <a:cubicBezTo>
                    <a:pt x="14" y="75"/>
                    <a:pt x="14" y="75"/>
                    <a:pt x="14" y="75"/>
                  </a:cubicBezTo>
                  <a:cubicBezTo>
                    <a:pt x="14" y="75"/>
                    <a:pt x="14" y="75"/>
                    <a:pt x="13" y="75"/>
                  </a:cubicBezTo>
                  <a:cubicBezTo>
                    <a:pt x="13" y="75"/>
                    <a:pt x="12" y="75"/>
                    <a:pt x="12" y="75"/>
                  </a:cubicBezTo>
                  <a:cubicBezTo>
                    <a:pt x="11" y="77"/>
                    <a:pt x="11" y="77"/>
                    <a:pt x="11" y="77"/>
                  </a:cubicBezTo>
                  <a:cubicBezTo>
                    <a:pt x="10" y="76"/>
                    <a:pt x="10" y="76"/>
                    <a:pt x="10" y="76"/>
                  </a:cubicBezTo>
                  <a:cubicBezTo>
                    <a:pt x="9" y="83"/>
                    <a:pt x="7" y="90"/>
                    <a:pt x="5" y="97"/>
                  </a:cubicBezTo>
                  <a:cubicBezTo>
                    <a:pt x="4" y="98"/>
                    <a:pt x="0" y="107"/>
                    <a:pt x="3" y="108"/>
                  </a:cubicBezTo>
                  <a:cubicBezTo>
                    <a:pt x="3" y="108"/>
                    <a:pt x="3" y="108"/>
                    <a:pt x="3" y="108"/>
                  </a:cubicBezTo>
                  <a:cubicBezTo>
                    <a:pt x="4" y="108"/>
                    <a:pt x="4" y="106"/>
                    <a:pt x="4" y="106"/>
                  </a:cubicBezTo>
                  <a:cubicBezTo>
                    <a:pt x="4" y="105"/>
                    <a:pt x="5" y="105"/>
                    <a:pt x="5" y="105"/>
                  </a:cubicBezTo>
                  <a:cubicBezTo>
                    <a:pt x="5" y="105"/>
                    <a:pt x="6" y="105"/>
                    <a:pt x="6" y="106"/>
                  </a:cubicBezTo>
                  <a:cubicBezTo>
                    <a:pt x="6" y="106"/>
                    <a:pt x="7" y="106"/>
                    <a:pt x="7" y="106"/>
                  </a:cubicBezTo>
                  <a:cubicBezTo>
                    <a:pt x="7" y="106"/>
                    <a:pt x="8" y="106"/>
                    <a:pt x="8" y="106"/>
                  </a:cubicBezTo>
                  <a:cubicBezTo>
                    <a:pt x="8" y="106"/>
                    <a:pt x="9" y="106"/>
                    <a:pt x="9" y="106"/>
                  </a:cubicBezTo>
                  <a:cubicBezTo>
                    <a:pt x="10" y="106"/>
                    <a:pt x="10" y="106"/>
                    <a:pt x="11" y="106"/>
                  </a:cubicBezTo>
                  <a:cubicBezTo>
                    <a:pt x="11" y="106"/>
                    <a:pt x="12" y="105"/>
                    <a:pt x="12" y="105"/>
                  </a:cubicBezTo>
                  <a:cubicBezTo>
                    <a:pt x="12" y="105"/>
                    <a:pt x="12" y="105"/>
                    <a:pt x="12" y="105"/>
                  </a:cubicBezTo>
                  <a:cubicBezTo>
                    <a:pt x="14" y="105"/>
                    <a:pt x="16" y="107"/>
                    <a:pt x="18" y="109"/>
                  </a:cubicBezTo>
                  <a:cubicBezTo>
                    <a:pt x="24" y="117"/>
                    <a:pt x="28" y="126"/>
                    <a:pt x="34" y="135"/>
                  </a:cubicBezTo>
                  <a:cubicBezTo>
                    <a:pt x="41" y="143"/>
                    <a:pt x="45" y="155"/>
                    <a:pt x="54" y="161"/>
                  </a:cubicBezTo>
                  <a:cubicBezTo>
                    <a:pt x="55" y="161"/>
                    <a:pt x="54" y="163"/>
                    <a:pt x="54" y="164"/>
                  </a:cubicBezTo>
                  <a:cubicBezTo>
                    <a:pt x="54" y="168"/>
                    <a:pt x="56" y="169"/>
                    <a:pt x="58" y="172"/>
                  </a:cubicBezTo>
                  <a:cubicBezTo>
                    <a:pt x="61" y="175"/>
                    <a:pt x="66" y="180"/>
                    <a:pt x="68" y="185"/>
                  </a:cubicBezTo>
                  <a:cubicBezTo>
                    <a:pt x="69" y="188"/>
                    <a:pt x="69" y="192"/>
                    <a:pt x="70" y="195"/>
                  </a:cubicBezTo>
                  <a:cubicBezTo>
                    <a:pt x="71" y="199"/>
                    <a:pt x="72" y="201"/>
                    <a:pt x="75" y="205"/>
                  </a:cubicBezTo>
                  <a:cubicBezTo>
                    <a:pt x="77" y="208"/>
                    <a:pt x="79" y="207"/>
                    <a:pt x="83" y="208"/>
                  </a:cubicBezTo>
                  <a:cubicBezTo>
                    <a:pt x="87" y="208"/>
                    <a:pt x="92" y="214"/>
                    <a:pt x="95" y="217"/>
                  </a:cubicBezTo>
                  <a:cubicBezTo>
                    <a:pt x="96" y="218"/>
                    <a:pt x="97" y="219"/>
                    <a:pt x="98" y="221"/>
                  </a:cubicBezTo>
                  <a:cubicBezTo>
                    <a:pt x="101" y="226"/>
                    <a:pt x="104" y="231"/>
                    <a:pt x="106" y="237"/>
                  </a:cubicBezTo>
                  <a:cubicBezTo>
                    <a:pt x="108" y="242"/>
                    <a:pt x="111" y="246"/>
                    <a:pt x="113" y="251"/>
                  </a:cubicBezTo>
                  <a:cubicBezTo>
                    <a:pt x="113" y="253"/>
                    <a:pt x="114" y="254"/>
                    <a:pt x="114" y="256"/>
                  </a:cubicBezTo>
                  <a:cubicBezTo>
                    <a:pt x="114" y="256"/>
                    <a:pt x="113" y="258"/>
                    <a:pt x="113" y="259"/>
                  </a:cubicBezTo>
                  <a:cubicBezTo>
                    <a:pt x="111" y="262"/>
                    <a:pt x="113" y="266"/>
                    <a:pt x="113" y="270"/>
                  </a:cubicBezTo>
                  <a:cubicBezTo>
                    <a:pt x="114" y="277"/>
                    <a:pt x="113" y="285"/>
                    <a:pt x="116" y="290"/>
                  </a:cubicBezTo>
                  <a:cubicBezTo>
                    <a:pt x="118" y="293"/>
                    <a:pt x="120" y="295"/>
                    <a:pt x="121" y="297"/>
                  </a:cubicBezTo>
                  <a:cubicBezTo>
                    <a:pt x="124" y="303"/>
                    <a:pt x="128" y="307"/>
                    <a:pt x="133" y="310"/>
                  </a:cubicBezTo>
                  <a:cubicBezTo>
                    <a:pt x="133" y="309"/>
                    <a:pt x="133" y="309"/>
                    <a:pt x="133" y="309"/>
                  </a:cubicBezTo>
                  <a:cubicBezTo>
                    <a:pt x="135" y="310"/>
                    <a:pt x="136" y="310"/>
                    <a:pt x="138" y="310"/>
                  </a:cubicBezTo>
                  <a:cubicBezTo>
                    <a:pt x="140" y="311"/>
                    <a:pt x="143" y="314"/>
                    <a:pt x="144" y="315"/>
                  </a:cubicBezTo>
                  <a:cubicBezTo>
                    <a:pt x="146" y="317"/>
                    <a:pt x="147" y="317"/>
                    <a:pt x="148" y="320"/>
                  </a:cubicBezTo>
                  <a:cubicBezTo>
                    <a:pt x="153" y="328"/>
                    <a:pt x="158" y="336"/>
                    <a:pt x="162" y="344"/>
                  </a:cubicBezTo>
                  <a:cubicBezTo>
                    <a:pt x="166" y="351"/>
                    <a:pt x="171" y="358"/>
                    <a:pt x="174" y="364"/>
                  </a:cubicBezTo>
                  <a:cubicBezTo>
                    <a:pt x="178" y="370"/>
                    <a:pt x="185" y="374"/>
                    <a:pt x="189" y="379"/>
                  </a:cubicBezTo>
                  <a:cubicBezTo>
                    <a:pt x="194" y="384"/>
                    <a:pt x="192" y="386"/>
                    <a:pt x="194" y="393"/>
                  </a:cubicBezTo>
                  <a:cubicBezTo>
                    <a:pt x="194" y="392"/>
                    <a:pt x="194" y="392"/>
                    <a:pt x="194" y="392"/>
                  </a:cubicBezTo>
                  <a:cubicBezTo>
                    <a:pt x="200" y="393"/>
                    <a:pt x="202" y="400"/>
                    <a:pt x="203" y="406"/>
                  </a:cubicBezTo>
                  <a:cubicBezTo>
                    <a:pt x="204" y="404"/>
                    <a:pt x="206" y="403"/>
                    <a:pt x="210" y="401"/>
                  </a:cubicBezTo>
                  <a:cubicBezTo>
                    <a:pt x="210" y="401"/>
                    <a:pt x="211" y="401"/>
                    <a:pt x="211" y="401"/>
                  </a:cubicBezTo>
                  <a:cubicBezTo>
                    <a:pt x="211" y="400"/>
                    <a:pt x="211" y="400"/>
                    <a:pt x="211" y="399"/>
                  </a:cubicBezTo>
                  <a:cubicBezTo>
                    <a:pt x="210" y="398"/>
                    <a:pt x="210" y="397"/>
                    <a:pt x="209" y="396"/>
                  </a:cubicBezTo>
                  <a:cubicBezTo>
                    <a:pt x="209" y="395"/>
                    <a:pt x="209" y="394"/>
                    <a:pt x="210" y="393"/>
                  </a:cubicBezTo>
                  <a:cubicBezTo>
                    <a:pt x="210" y="392"/>
                    <a:pt x="210" y="391"/>
                    <a:pt x="210" y="391"/>
                  </a:cubicBezTo>
                  <a:cubicBezTo>
                    <a:pt x="210" y="389"/>
                    <a:pt x="211" y="388"/>
                    <a:pt x="211" y="387"/>
                  </a:cubicBezTo>
                  <a:cubicBezTo>
                    <a:pt x="214" y="380"/>
                    <a:pt x="216" y="378"/>
                    <a:pt x="218" y="378"/>
                  </a:cubicBezTo>
                  <a:cubicBezTo>
                    <a:pt x="219" y="378"/>
                    <a:pt x="219" y="378"/>
                    <a:pt x="219" y="378"/>
                  </a:cubicBezTo>
                  <a:cubicBezTo>
                    <a:pt x="220" y="378"/>
                    <a:pt x="221" y="378"/>
                    <a:pt x="222" y="378"/>
                  </a:cubicBezTo>
                  <a:cubicBezTo>
                    <a:pt x="224" y="378"/>
                    <a:pt x="225" y="378"/>
                    <a:pt x="226" y="379"/>
                  </a:cubicBezTo>
                  <a:cubicBezTo>
                    <a:pt x="227" y="379"/>
                    <a:pt x="228" y="380"/>
                    <a:pt x="228" y="380"/>
                  </a:cubicBezTo>
                  <a:cubicBezTo>
                    <a:pt x="229" y="381"/>
                    <a:pt x="230" y="382"/>
                    <a:pt x="231" y="382"/>
                  </a:cubicBezTo>
                  <a:cubicBezTo>
                    <a:pt x="231" y="382"/>
                    <a:pt x="231" y="382"/>
                    <a:pt x="231" y="382"/>
                  </a:cubicBezTo>
                  <a:cubicBezTo>
                    <a:pt x="231" y="382"/>
                    <a:pt x="232" y="382"/>
                    <a:pt x="233" y="382"/>
                  </a:cubicBezTo>
                  <a:cubicBezTo>
                    <a:pt x="233" y="383"/>
                    <a:pt x="234" y="383"/>
                    <a:pt x="235" y="383"/>
                  </a:cubicBezTo>
                  <a:cubicBezTo>
                    <a:pt x="236" y="383"/>
                    <a:pt x="237" y="382"/>
                    <a:pt x="238" y="382"/>
                  </a:cubicBezTo>
                  <a:cubicBezTo>
                    <a:pt x="239" y="382"/>
                    <a:pt x="239" y="382"/>
                    <a:pt x="239" y="382"/>
                  </a:cubicBezTo>
                  <a:cubicBezTo>
                    <a:pt x="240" y="382"/>
                    <a:pt x="241" y="382"/>
                    <a:pt x="242" y="382"/>
                  </a:cubicBezTo>
                  <a:cubicBezTo>
                    <a:pt x="243" y="381"/>
                    <a:pt x="245" y="381"/>
                    <a:pt x="246" y="381"/>
                  </a:cubicBezTo>
                  <a:cubicBezTo>
                    <a:pt x="250" y="380"/>
                    <a:pt x="254" y="380"/>
                    <a:pt x="258" y="380"/>
                  </a:cubicBezTo>
                  <a:cubicBezTo>
                    <a:pt x="259" y="380"/>
                    <a:pt x="261" y="380"/>
                    <a:pt x="262" y="380"/>
                  </a:cubicBezTo>
                  <a:cubicBezTo>
                    <a:pt x="270" y="380"/>
                    <a:pt x="278" y="381"/>
                    <a:pt x="286" y="382"/>
                  </a:cubicBezTo>
                  <a:cubicBezTo>
                    <a:pt x="291" y="382"/>
                    <a:pt x="295" y="383"/>
                    <a:pt x="299" y="383"/>
                  </a:cubicBezTo>
                  <a:cubicBezTo>
                    <a:pt x="300" y="383"/>
                    <a:pt x="300" y="383"/>
                    <a:pt x="300" y="383"/>
                  </a:cubicBezTo>
                  <a:cubicBezTo>
                    <a:pt x="300" y="383"/>
                    <a:pt x="300" y="383"/>
                    <a:pt x="301" y="383"/>
                  </a:cubicBezTo>
                  <a:cubicBezTo>
                    <a:pt x="301" y="383"/>
                    <a:pt x="301" y="383"/>
                    <a:pt x="301" y="383"/>
                  </a:cubicBezTo>
                  <a:cubicBezTo>
                    <a:pt x="304" y="384"/>
                    <a:pt x="306" y="387"/>
                    <a:pt x="308" y="389"/>
                  </a:cubicBezTo>
                  <a:cubicBezTo>
                    <a:pt x="308" y="390"/>
                    <a:pt x="308" y="390"/>
                    <a:pt x="308" y="390"/>
                  </a:cubicBezTo>
                  <a:cubicBezTo>
                    <a:pt x="308" y="390"/>
                    <a:pt x="308" y="390"/>
                    <a:pt x="309" y="391"/>
                  </a:cubicBezTo>
                  <a:cubicBezTo>
                    <a:pt x="309" y="391"/>
                    <a:pt x="309" y="391"/>
                    <a:pt x="309" y="391"/>
                  </a:cubicBezTo>
                  <a:cubicBezTo>
                    <a:pt x="310" y="391"/>
                    <a:pt x="310" y="391"/>
                    <a:pt x="310" y="391"/>
                  </a:cubicBezTo>
                  <a:cubicBezTo>
                    <a:pt x="311" y="391"/>
                    <a:pt x="311" y="391"/>
                    <a:pt x="311" y="391"/>
                  </a:cubicBezTo>
                  <a:cubicBezTo>
                    <a:pt x="312" y="390"/>
                    <a:pt x="313" y="390"/>
                    <a:pt x="314" y="390"/>
                  </a:cubicBezTo>
                  <a:cubicBezTo>
                    <a:pt x="316" y="389"/>
                    <a:pt x="317" y="388"/>
                    <a:pt x="318" y="386"/>
                  </a:cubicBezTo>
                  <a:cubicBezTo>
                    <a:pt x="334" y="363"/>
                    <a:pt x="334" y="363"/>
                    <a:pt x="334" y="363"/>
                  </a:cubicBezTo>
                  <a:cubicBezTo>
                    <a:pt x="335" y="362"/>
                    <a:pt x="335" y="362"/>
                    <a:pt x="336" y="361"/>
                  </a:cubicBezTo>
                  <a:cubicBezTo>
                    <a:pt x="339" y="358"/>
                    <a:pt x="344" y="356"/>
                    <a:pt x="348" y="355"/>
                  </a:cubicBezTo>
                  <a:cubicBezTo>
                    <a:pt x="349" y="354"/>
                    <a:pt x="349" y="354"/>
                    <a:pt x="349" y="354"/>
                  </a:cubicBezTo>
                  <a:cubicBezTo>
                    <a:pt x="351" y="354"/>
                    <a:pt x="352" y="353"/>
                    <a:pt x="353" y="352"/>
                  </a:cubicBezTo>
                  <a:cubicBezTo>
                    <a:pt x="362" y="348"/>
                    <a:pt x="372" y="347"/>
                    <a:pt x="382" y="347"/>
                  </a:cubicBezTo>
                  <a:cubicBezTo>
                    <a:pt x="386" y="346"/>
                    <a:pt x="386" y="346"/>
                    <a:pt x="386" y="346"/>
                  </a:cubicBezTo>
                  <a:cubicBezTo>
                    <a:pt x="395" y="345"/>
                    <a:pt x="406" y="344"/>
                    <a:pt x="417" y="342"/>
                  </a:cubicBezTo>
                  <a:cubicBezTo>
                    <a:pt x="421" y="341"/>
                    <a:pt x="425" y="340"/>
                    <a:pt x="430" y="339"/>
                  </a:cubicBezTo>
                  <a:cubicBezTo>
                    <a:pt x="431" y="339"/>
                    <a:pt x="431" y="339"/>
                    <a:pt x="431" y="339"/>
                  </a:cubicBezTo>
                  <a:cubicBezTo>
                    <a:pt x="433" y="338"/>
                    <a:pt x="435" y="338"/>
                    <a:pt x="436" y="338"/>
                  </a:cubicBezTo>
                  <a:cubicBezTo>
                    <a:pt x="474" y="325"/>
                    <a:pt x="474" y="325"/>
                    <a:pt x="474" y="325"/>
                  </a:cubicBezTo>
                  <a:cubicBezTo>
                    <a:pt x="482" y="322"/>
                    <a:pt x="491" y="319"/>
                    <a:pt x="499" y="316"/>
                  </a:cubicBezTo>
                  <a:cubicBezTo>
                    <a:pt x="503" y="315"/>
                    <a:pt x="503" y="315"/>
                    <a:pt x="503" y="315"/>
                  </a:cubicBezTo>
                  <a:cubicBezTo>
                    <a:pt x="503" y="314"/>
                    <a:pt x="503" y="314"/>
                    <a:pt x="503" y="314"/>
                  </a:cubicBezTo>
                  <a:cubicBezTo>
                    <a:pt x="503" y="313"/>
                    <a:pt x="504" y="311"/>
                    <a:pt x="504" y="310"/>
                  </a:cubicBezTo>
                  <a:cubicBezTo>
                    <a:pt x="504" y="309"/>
                    <a:pt x="504" y="309"/>
                    <a:pt x="504" y="309"/>
                  </a:cubicBezTo>
                  <a:cubicBezTo>
                    <a:pt x="505" y="308"/>
                    <a:pt x="505" y="307"/>
                    <a:pt x="505" y="306"/>
                  </a:cubicBezTo>
                  <a:cubicBezTo>
                    <a:pt x="506" y="305"/>
                    <a:pt x="506" y="304"/>
                    <a:pt x="507" y="302"/>
                  </a:cubicBezTo>
                  <a:cubicBezTo>
                    <a:pt x="507" y="302"/>
                    <a:pt x="507" y="301"/>
                    <a:pt x="507" y="300"/>
                  </a:cubicBezTo>
                  <a:cubicBezTo>
                    <a:pt x="508" y="298"/>
                    <a:pt x="508" y="296"/>
                    <a:pt x="509" y="294"/>
                  </a:cubicBezTo>
                  <a:cubicBezTo>
                    <a:pt x="513" y="280"/>
                    <a:pt x="513" y="280"/>
                    <a:pt x="513" y="280"/>
                  </a:cubicBezTo>
                  <a:cubicBezTo>
                    <a:pt x="514" y="278"/>
                    <a:pt x="515" y="275"/>
                    <a:pt x="516" y="272"/>
                  </a:cubicBezTo>
                  <a:cubicBezTo>
                    <a:pt x="516" y="271"/>
                    <a:pt x="516" y="269"/>
                    <a:pt x="516" y="268"/>
                  </a:cubicBezTo>
                  <a:cubicBezTo>
                    <a:pt x="516" y="267"/>
                    <a:pt x="516" y="265"/>
                    <a:pt x="515" y="264"/>
                  </a:cubicBezTo>
                  <a:cubicBezTo>
                    <a:pt x="515" y="264"/>
                    <a:pt x="515" y="264"/>
                    <a:pt x="515" y="264"/>
                  </a:cubicBezTo>
                  <a:cubicBezTo>
                    <a:pt x="515" y="263"/>
                    <a:pt x="515" y="263"/>
                    <a:pt x="515" y="263"/>
                  </a:cubicBezTo>
                  <a:cubicBezTo>
                    <a:pt x="514" y="262"/>
                    <a:pt x="514" y="261"/>
                    <a:pt x="513" y="260"/>
                  </a:cubicBezTo>
                  <a:cubicBezTo>
                    <a:pt x="513" y="258"/>
                    <a:pt x="513" y="258"/>
                    <a:pt x="513" y="258"/>
                  </a:cubicBezTo>
                  <a:cubicBezTo>
                    <a:pt x="512" y="257"/>
                    <a:pt x="511" y="255"/>
                    <a:pt x="510" y="254"/>
                  </a:cubicBezTo>
                  <a:cubicBezTo>
                    <a:pt x="510" y="254"/>
                    <a:pt x="510" y="254"/>
                    <a:pt x="510" y="254"/>
                  </a:cubicBezTo>
                  <a:cubicBezTo>
                    <a:pt x="509" y="252"/>
                    <a:pt x="509" y="251"/>
                    <a:pt x="508" y="250"/>
                  </a:cubicBezTo>
                  <a:cubicBezTo>
                    <a:pt x="507" y="250"/>
                    <a:pt x="507" y="250"/>
                    <a:pt x="507" y="250"/>
                  </a:cubicBezTo>
                  <a:cubicBezTo>
                    <a:pt x="444" y="244"/>
                    <a:pt x="444" y="244"/>
                    <a:pt x="444" y="244"/>
                  </a:cubicBezTo>
                  <a:cubicBezTo>
                    <a:pt x="444" y="244"/>
                    <a:pt x="443" y="243"/>
                    <a:pt x="442" y="242"/>
                  </a:cubicBezTo>
                  <a:cubicBezTo>
                    <a:pt x="439" y="238"/>
                    <a:pt x="436" y="234"/>
                    <a:pt x="433" y="230"/>
                  </a:cubicBezTo>
                  <a:cubicBezTo>
                    <a:pt x="427" y="223"/>
                    <a:pt x="427" y="223"/>
                    <a:pt x="427" y="223"/>
                  </a:cubicBezTo>
                  <a:cubicBezTo>
                    <a:pt x="425" y="221"/>
                    <a:pt x="425" y="221"/>
                    <a:pt x="425" y="221"/>
                  </a:cubicBezTo>
                  <a:cubicBezTo>
                    <a:pt x="422" y="218"/>
                    <a:pt x="419" y="214"/>
                    <a:pt x="418" y="210"/>
                  </a:cubicBezTo>
                  <a:cubicBezTo>
                    <a:pt x="417" y="206"/>
                    <a:pt x="417" y="206"/>
                    <a:pt x="417" y="206"/>
                  </a:cubicBezTo>
                  <a:cubicBezTo>
                    <a:pt x="416" y="206"/>
                    <a:pt x="415" y="206"/>
                    <a:pt x="414" y="206"/>
                  </a:cubicBezTo>
                  <a:cubicBezTo>
                    <a:pt x="413" y="205"/>
                    <a:pt x="414" y="203"/>
                    <a:pt x="414" y="203"/>
                  </a:cubicBezTo>
                  <a:cubicBezTo>
                    <a:pt x="415" y="201"/>
                    <a:pt x="417" y="201"/>
                    <a:pt x="417" y="199"/>
                  </a:cubicBezTo>
                  <a:cubicBezTo>
                    <a:pt x="418" y="199"/>
                    <a:pt x="418" y="199"/>
                    <a:pt x="418" y="199"/>
                  </a:cubicBezTo>
                  <a:cubicBezTo>
                    <a:pt x="418" y="197"/>
                    <a:pt x="418" y="197"/>
                    <a:pt x="418" y="197"/>
                  </a:cubicBezTo>
                  <a:cubicBezTo>
                    <a:pt x="418" y="197"/>
                    <a:pt x="418" y="197"/>
                    <a:pt x="418" y="197"/>
                  </a:cubicBezTo>
                  <a:cubicBezTo>
                    <a:pt x="417" y="197"/>
                    <a:pt x="415" y="198"/>
                    <a:pt x="415" y="198"/>
                  </a:cubicBezTo>
                  <a:cubicBezTo>
                    <a:pt x="415" y="198"/>
                    <a:pt x="415" y="198"/>
                    <a:pt x="415" y="198"/>
                  </a:cubicBezTo>
                  <a:cubicBezTo>
                    <a:pt x="414" y="198"/>
                    <a:pt x="414" y="198"/>
                    <a:pt x="413" y="198"/>
                  </a:cubicBezTo>
                  <a:cubicBezTo>
                    <a:pt x="413" y="198"/>
                    <a:pt x="413" y="198"/>
                    <a:pt x="413" y="198"/>
                  </a:cubicBezTo>
                  <a:cubicBezTo>
                    <a:pt x="412" y="198"/>
                    <a:pt x="411" y="198"/>
                    <a:pt x="409" y="198"/>
                  </a:cubicBezTo>
                  <a:cubicBezTo>
                    <a:pt x="409" y="198"/>
                    <a:pt x="408" y="198"/>
                    <a:pt x="407" y="198"/>
                  </a:cubicBezTo>
                  <a:cubicBezTo>
                    <a:pt x="407" y="198"/>
                    <a:pt x="407" y="198"/>
                    <a:pt x="407" y="198"/>
                  </a:cubicBezTo>
                  <a:cubicBezTo>
                    <a:pt x="407" y="198"/>
                    <a:pt x="407" y="198"/>
                    <a:pt x="407" y="198"/>
                  </a:cubicBezTo>
                  <a:cubicBezTo>
                    <a:pt x="406" y="198"/>
                    <a:pt x="406" y="198"/>
                    <a:pt x="406" y="198"/>
                  </a:cubicBezTo>
                  <a:cubicBezTo>
                    <a:pt x="406" y="198"/>
                    <a:pt x="406" y="198"/>
                    <a:pt x="406" y="198"/>
                  </a:cubicBezTo>
                  <a:cubicBezTo>
                    <a:pt x="405" y="198"/>
                    <a:pt x="405" y="198"/>
                    <a:pt x="405" y="198"/>
                  </a:cubicBezTo>
                  <a:cubicBezTo>
                    <a:pt x="404" y="197"/>
                    <a:pt x="403" y="196"/>
                    <a:pt x="402" y="194"/>
                  </a:cubicBezTo>
                  <a:cubicBezTo>
                    <a:pt x="401" y="192"/>
                    <a:pt x="401" y="192"/>
                    <a:pt x="401" y="192"/>
                  </a:cubicBezTo>
                  <a:cubicBezTo>
                    <a:pt x="401" y="193"/>
                    <a:pt x="401" y="193"/>
                    <a:pt x="401" y="193"/>
                  </a:cubicBezTo>
                  <a:cubicBezTo>
                    <a:pt x="398" y="187"/>
                    <a:pt x="395" y="182"/>
                    <a:pt x="391" y="177"/>
                  </a:cubicBezTo>
                  <a:cubicBezTo>
                    <a:pt x="388" y="172"/>
                    <a:pt x="383" y="166"/>
                    <a:pt x="382" y="161"/>
                  </a:cubicBezTo>
                  <a:cubicBezTo>
                    <a:pt x="381" y="160"/>
                    <a:pt x="381" y="158"/>
                    <a:pt x="382" y="157"/>
                  </a:cubicBezTo>
                  <a:cubicBezTo>
                    <a:pt x="382" y="157"/>
                    <a:pt x="382" y="157"/>
                    <a:pt x="382" y="157"/>
                  </a:cubicBezTo>
                  <a:cubicBezTo>
                    <a:pt x="384" y="157"/>
                    <a:pt x="384" y="159"/>
                    <a:pt x="385" y="160"/>
                  </a:cubicBezTo>
                  <a:cubicBezTo>
                    <a:pt x="386" y="158"/>
                    <a:pt x="387" y="153"/>
                    <a:pt x="387" y="151"/>
                  </a:cubicBezTo>
                  <a:cubicBezTo>
                    <a:pt x="385" y="147"/>
                    <a:pt x="380" y="147"/>
                    <a:pt x="382" y="142"/>
                  </a:cubicBezTo>
                  <a:cubicBezTo>
                    <a:pt x="382" y="143"/>
                    <a:pt x="383" y="144"/>
                    <a:pt x="385" y="144"/>
                  </a:cubicBezTo>
                  <a:cubicBezTo>
                    <a:pt x="385" y="144"/>
                    <a:pt x="385" y="144"/>
                    <a:pt x="385" y="144"/>
                  </a:cubicBezTo>
                  <a:cubicBezTo>
                    <a:pt x="383" y="142"/>
                    <a:pt x="382" y="140"/>
                    <a:pt x="380" y="139"/>
                  </a:cubicBezTo>
                  <a:cubicBezTo>
                    <a:pt x="379" y="138"/>
                    <a:pt x="377" y="138"/>
                    <a:pt x="376" y="137"/>
                  </a:cubicBezTo>
                  <a:cubicBezTo>
                    <a:pt x="374" y="135"/>
                    <a:pt x="373" y="130"/>
                    <a:pt x="370" y="130"/>
                  </a:cubicBezTo>
                  <a:cubicBezTo>
                    <a:pt x="370" y="130"/>
                    <a:pt x="370" y="130"/>
                    <a:pt x="369" y="130"/>
                  </a:cubicBezTo>
                  <a:cubicBezTo>
                    <a:pt x="370" y="130"/>
                    <a:pt x="370" y="131"/>
                    <a:pt x="370" y="131"/>
                  </a:cubicBezTo>
                  <a:cubicBezTo>
                    <a:pt x="366" y="131"/>
                    <a:pt x="364" y="125"/>
                    <a:pt x="360" y="123"/>
                  </a:cubicBezTo>
                  <a:cubicBezTo>
                    <a:pt x="362" y="123"/>
                    <a:pt x="363" y="123"/>
                    <a:pt x="364" y="122"/>
                  </a:cubicBezTo>
                  <a:cubicBezTo>
                    <a:pt x="364" y="121"/>
                    <a:pt x="363" y="120"/>
                    <a:pt x="362" y="120"/>
                  </a:cubicBezTo>
                  <a:cubicBezTo>
                    <a:pt x="362" y="120"/>
                    <a:pt x="361" y="120"/>
                    <a:pt x="361" y="121"/>
                  </a:cubicBezTo>
                  <a:cubicBezTo>
                    <a:pt x="361" y="121"/>
                    <a:pt x="361" y="121"/>
                    <a:pt x="361" y="121"/>
                  </a:cubicBezTo>
                  <a:cubicBezTo>
                    <a:pt x="360" y="121"/>
                    <a:pt x="360" y="120"/>
                    <a:pt x="359" y="120"/>
                  </a:cubicBezTo>
                  <a:cubicBezTo>
                    <a:pt x="358" y="120"/>
                    <a:pt x="358" y="119"/>
                    <a:pt x="357" y="119"/>
                  </a:cubicBezTo>
                  <a:cubicBezTo>
                    <a:pt x="354" y="118"/>
                    <a:pt x="354" y="119"/>
                    <a:pt x="352" y="117"/>
                  </a:cubicBezTo>
                  <a:cubicBezTo>
                    <a:pt x="351" y="115"/>
                    <a:pt x="350" y="110"/>
                    <a:pt x="349" y="108"/>
                  </a:cubicBezTo>
                  <a:cubicBezTo>
                    <a:pt x="347" y="104"/>
                    <a:pt x="346" y="100"/>
                    <a:pt x="344" y="97"/>
                  </a:cubicBezTo>
                  <a:cubicBezTo>
                    <a:pt x="344" y="98"/>
                    <a:pt x="344" y="98"/>
                    <a:pt x="344" y="98"/>
                  </a:cubicBezTo>
                  <a:cubicBezTo>
                    <a:pt x="343" y="97"/>
                    <a:pt x="343" y="97"/>
                    <a:pt x="343" y="97"/>
                  </a:cubicBezTo>
                  <a:cubicBezTo>
                    <a:pt x="342" y="97"/>
                    <a:pt x="342" y="97"/>
                    <a:pt x="342" y="97"/>
                  </a:cubicBezTo>
                  <a:cubicBezTo>
                    <a:pt x="341" y="97"/>
                    <a:pt x="341" y="97"/>
                    <a:pt x="341" y="97"/>
                  </a:cubicBezTo>
                  <a:cubicBezTo>
                    <a:pt x="340" y="97"/>
                    <a:pt x="339" y="97"/>
                    <a:pt x="339" y="97"/>
                  </a:cubicBezTo>
                  <a:cubicBezTo>
                    <a:pt x="338" y="97"/>
                    <a:pt x="338" y="97"/>
                    <a:pt x="338" y="97"/>
                  </a:cubicBezTo>
                  <a:cubicBezTo>
                    <a:pt x="336" y="97"/>
                    <a:pt x="334" y="97"/>
                    <a:pt x="332" y="97"/>
                  </a:cubicBezTo>
                  <a:cubicBezTo>
                    <a:pt x="329" y="97"/>
                    <a:pt x="326" y="97"/>
                    <a:pt x="324" y="96"/>
                  </a:cubicBezTo>
                  <a:cubicBezTo>
                    <a:pt x="323" y="95"/>
                    <a:pt x="321" y="94"/>
                    <a:pt x="320" y="92"/>
                  </a:cubicBezTo>
                  <a:cubicBezTo>
                    <a:pt x="320" y="92"/>
                    <a:pt x="319" y="91"/>
                    <a:pt x="319" y="91"/>
                  </a:cubicBezTo>
                  <a:cubicBezTo>
                    <a:pt x="319" y="90"/>
                    <a:pt x="319" y="90"/>
                    <a:pt x="319" y="90"/>
                  </a:cubicBezTo>
                  <a:cubicBezTo>
                    <a:pt x="319" y="90"/>
                    <a:pt x="319" y="90"/>
                    <a:pt x="319" y="90"/>
                  </a:cubicBezTo>
                  <a:cubicBezTo>
                    <a:pt x="319" y="89"/>
                    <a:pt x="319" y="89"/>
                    <a:pt x="319" y="89"/>
                  </a:cubicBezTo>
                  <a:cubicBezTo>
                    <a:pt x="319" y="89"/>
                    <a:pt x="319" y="89"/>
                    <a:pt x="319" y="89"/>
                  </a:cubicBezTo>
                  <a:cubicBezTo>
                    <a:pt x="319" y="88"/>
                    <a:pt x="319" y="88"/>
                    <a:pt x="319" y="88"/>
                  </a:cubicBezTo>
                  <a:cubicBezTo>
                    <a:pt x="319" y="88"/>
                    <a:pt x="319" y="88"/>
                    <a:pt x="319" y="88"/>
                  </a:cubicBezTo>
                  <a:cubicBezTo>
                    <a:pt x="319" y="87"/>
                    <a:pt x="318" y="87"/>
                    <a:pt x="318" y="87"/>
                  </a:cubicBezTo>
                  <a:cubicBezTo>
                    <a:pt x="318" y="87"/>
                    <a:pt x="318" y="87"/>
                    <a:pt x="318" y="87"/>
                  </a:cubicBezTo>
                  <a:cubicBezTo>
                    <a:pt x="298" y="82"/>
                    <a:pt x="298" y="82"/>
                    <a:pt x="298" y="82"/>
                  </a:cubicBezTo>
                  <a:cubicBezTo>
                    <a:pt x="297" y="82"/>
                    <a:pt x="297" y="82"/>
                    <a:pt x="297" y="82"/>
                  </a:cubicBezTo>
                  <a:cubicBezTo>
                    <a:pt x="297" y="82"/>
                    <a:pt x="297" y="82"/>
                    <a:pt x="297" y="82"/>
                  </a:cubicBezTo>
                  <a:cubicBezTo>
                    <a:pt x="296" y="82"/>
                    <a:pt x="296" y="82"/>
                    <a:pt x="296" y="82"/>
                  </a:cubicBezTo>
                  <a:cubicBezTo>
                    <a:pt x="295" y="83"/>
                    <a:pt x="295" y="83"/>
                    <a:pt x="294" y="83"/>
                  </a:cubicBezTo>
                  <a:cubicBezTo>
                    <a:pt x="294" y="83"/>
                    <a:pt x="293" y="83"/>
                    <a:pt x="293" y="83"/>
                  </a:cubicBezTo>
                  <a:cubicBezTo>
                    <a:pt x="292" y="83"/>
                    <a:pt x="291" y="83"/>
                    <a:pt x="290" y="83"/>
                  </a:cubicBezTo>
                  <a:cubicBezTo>
                    <a:pt x="290" y="83"/>
                    <a:pt x="290" y="83"/>
                    <a:pt x="290" y="83"/>
                  </a:cubicBezTo>
                  <a:cubicBezTo>
                    <a:pt x="289" y="83"/>
                    <a:pt x="289" y="83"/>
                    <a:pt x="289" y="83"/>
                  </a:cubicBezTo>
                  <a:cubicBezTo>
                    <a:pt x="255" y="79"/>
                    <a:pt x="255" y="79"/>
                    <a:pt x="255" y="79"/>
                  </a:cubicBezTo>
                  <a:cubicBezTo>
                    <a:pt x="253" y="79"/>
                    <a:pt x="251" y="79"/>
                    <a:pt x="249" y="78"/>
                  </a:cubicBezTo>
                  <a:cubicBezTo>
                    <a:pt x="245" y="75"/>
                    <a:pt x="241" y="72"/>
                    <a:pt x="237" y="69"/>
                  </a:cubicBezTo>
                  <a:cubicBezTo>
                    <a:pt x="234" y="66"/>
                    <a:pt x="231" y="64"/>
                    <a:pt x="228" y="62"/>
                  </a:cubicBezTo>
                  <a:cubicBezTo>
                    <a:pt x="212" y="49"/>
                    <a:pt x="212" y="49"/>
                    <a:pt x="212" y="49"/>
                  </a:cubicBezTo>
                  <a:cubicBezTo>
                    <a:pt x="208" y="46"/>
                    <a:pt x="205" y="43"/>
                    <a:pt x="202" y="41"/>
                  </a:cubicBezTo>
                  <a:cubicBezTo>
                    <a:pt x="196" y="36"/>
                    <a:pt x="191" y="31"/>
                    <a:pt x="185" y="28"/>
                  </a:cubicBezTo>
                  <a:cubicBezTo>
                    <a:pt x="179" y="25"/>
                    <a:pt x="179" y="25"/>
                    <a:pt x="179" y="25"/>
                  </a:cubicBezTo>
                  <a:cubicBezTo>
                    <a:pt x="177" y="24"/>
                    <a:pt x="175" y="22"/>
                    <a:pt x="173" y="21"/>
                  </a:cubicBezTo>
                  <a:cubicBezTo>
                    <a:pt x="167" y="18"/>
                    <a:pt x="159" y="14"/>
                    <a:pt x="152" y="10"/>
                  </a:cubicBezTo>
                  <a:cubicBezTo>
                    <a:pt x="151" y="9"/>
                    <a:pt x="151" y="9"/>
                    <a:pt x="150" y="8"/>
                  </a:cubicBezTo>
                  <a:cubicBezTo>
                    <a:pt x="149" y="7"/>
                    <a:pt x="146" y="5"/>
                    <a:pt x="145" y="5"/>
                  </a:cubicBezTo>
                  <a:cubicBezTo>
                    <a:pt x="115" y="0"/>
                    <a:pt x="115"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547"/>
            <p:cNvSpPr>
              <a:spLocks noEditPoints="1"/>
            </p:cNvSpPr>
            <p:nvPr/>
          </p:nvSpPr>
          <p:spPr bwMode="auto">
            <a:xfrm>
              <a:off x="5464081" y="5342954"/>
              <a:ext cx="330409" cy="409653"/>
            </a:xfrm>
            <a:custGeom>
              <a:gdLst>
                <a:gd name="T0" fmla="*/ 33 w 104"/>
                <a:gd name="T1" fmla="*/ 18 h 129"/>
                <a:gd name="T2" fmla="*/ 3 w 104"/>
                <a:gd name="T3" fmla="*/ 0 h 129"/>
                <a:gd name="T4" fmla="*/ 0 w 104"/>
                <a:gd name="T5" fmla="*/ 4 h 129"/>
                <a:gd name="T6" fmla="*/ 5 w 104"/>
                <a:gd name="T7" fmla="*/ 13 h 129"/>
                <a:gd name="T8" fmla="*/ 6 w 104"/>
                <a:gd name="T9" fmla="*/ 33 h 129"/>
                <a:gd name="T10" fmla="*/ 10 w 104"/>
                <a:gd name="T11" fmla="*/ 52 h 129"/>
                <a:gd name="T12" fmla="*/ 13 w 104"/>
                <a:gd name="T13" fmla="*/ 64 h 129"/>
                <a:gd name="T14" fmla="*/ 23 w 104"/>
                <a:gd name="T15" fmla="*/ 74 h 129"/>
                <a:gd name="T16" fmla="*/ 30 w 104"/>
                <a:gd name="T17" fmla="*/ 90 h 129"/>
                <a:gd name="T18" fmla="*/ 47 w 104"/>
                <a:gd name="T19" fmla="*/ 103 h 129"/>
                <a:gd name="T20" fmla="*/ 73 w 104"/>
                <a:gd name="T21" fmla="*/ 119 h 129"/>
                <a:gd name="T22" fmla="*/ 89 w 104"/>
                <a:gd name="T23" fmla="*/ 124 h 129"/>
                <a:gd name="T24" fmla="*/ 92 w 104"/>
                <a:gd name="T25" fmla="*/ 124 h 129"/>
                <a:gd name="T26" fmla="*/ 94 w 104"/>
                <a:gd name="T27" fmla="*/ 121 h 129"/>
                <a:gd name="T28" fmla="*/ 98 w 104"/>
                <a:gd name="T29" fmla="*/ 127 h 129"/>
                <a:gd name="T30" fmla="*/ 97 w 104"/>
                <a:gd name="T31" fmla="*/ 113 h 129"/>
                <a:gd name="T32" fmla="*/ 80 w 104"/>
                <a:gd name="T33" fmla="*/ 87 h 129"/>
                <a:gd name="T34" fmla="*/ 81 w 104"/>
                <a:gd name="T35" fmla="*/ 55 h 129"/>
                <a:gd name="T36" fmla="*/ 62 w 104"/>
                <a:gd name="T37" fmla="*/ 19 h 129"/>
                <a:gd name="T38" fmla="*/ 50 w 104"/>
                <a:gd name="T39" fmla="*/ 8 h 129"/>
                <a:gd name="T40" fmla="*/ 49 w 104"/>
                <a:gd name="T41" fmla="*/ 10 h 129"/>
                <a:gd name="T42" fmla="*/ 48 w 104"/>
                <a:gd name="T43" fmla="*/ 13 h 129"/>
                <a:gd name="T44" fmla="*/ 38 w 104"/>
                <a:gd name="T45" fmla="*/ 21 h 129"/>
                <a:gd name="T46" fmla="*/ 33 w 104"/>
                <a:gd name="T47" fmla="*/ 18 h 129"/>
                <a:gd name="T48" fmla="*/ 30 w 104"/>
                <a:gd name="T49" fmla="*/ 21 h 129"/>
                <a:gd name="T50" fmla="*/ 28 w 104"/>
                <a:gd name="T51" fmla="*/ 22 h 129"/>
                <a:gd name="T52" fmla="*/ 26 w 104"/>
                <a:gd name="T53" fmla="*/ 23 h 129"/>
                <a:gd name="T54" fmla="*/ 23 w 104"/>
                <a:gd name="T55" fmla="*/ 23 h 129"/>
                <a:gd name="T56" fmla="*/ 20 w 104"/>
                <a:gd name="T57" fmla="*/ 12 h 129"/>
                <a:gd name="T58" fmla="*/ 19 w 104"/>
                <a:gd name="T59" fmla="*/ 9 h 129"/>
                <a:gd name="T60" fmla="*/ 14 w 104"/>
                <a:gd name="T61" fmla="*/ 6 h 129"/>
                <a:gd name="T62" fmla="*/ 13 w 104"/>
                <a:gd name="T63" fmla="*/ 3 h 129"/>
                <a:gd name="T64" fmla="*/ 12 w 104"/>
                <a:gd name="T65" fmla="*/ 2 h 129"/>
                <a:gd name="T66" fmla="*/ 8 w 104"/>
                <a:gd name="T67" fmla="*/ 2 h 1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129">
                  <a:moveTo>
                    <a:pt x="33" y="18"/>
                  </a:moveTo>
                  <a:cubicBezTo>
                    <a:pt x="33" y="18"/>
                    <a:pt x="33" y="18"/>
                    <a:pt x="33" y="18"/>
                  </a:cubicBezTo>
                  <a:cubicBezTo>
                    <a:pt x="33" y="18"/>
                    <a:pt x="33" y="18"/>
                    <a:pt x="33" y="18"/>
                  </a:cubicBezTo>
                  <a:moveTo>
                    <a:pt x="3" y="0"/>
                  </a:moveTo>
                  <a:cubicBezTo>
                    <a:pt x="2" y="4"/>
                    <a:pt x="2" y="4"/>
                    <a:pt x="2" y="4"/>
                  </a:cubicBezTo>
                  <a:cubicBezTo>
                    <a:pt x="0" y="4"/>
                    <a:pt x="0" y="4"/>
                    <a:pt x="0" y="4"/>
                  </a:cubicBezTo>
                  <a:cubicBezTo>
                    <a:pt x="0" y="5"/>
                    <a:pt x="0" y="5"/>
                    <a:pt x="0" y="5"/>
                  </a:cubicBezTo>
                  <a:cubicBezTo>
                    <a:pt x="1" y="8"/>
                    <a:pt x="4" y="10"/>
                    <a:pt x="5" y="13"/>
                  </a:cubicBezTo>
                  <a:cubicBezTo>
                    <a:pt x="5" y="16"/>
                    <a:pt x="5" y="19"/>
                    <a:pt x="5" y="22"/>
                  </a:cubicBezTo>
                  <a:cubicBezTo>
                    <a:pt x="4" y="26"/>
                    <a:pt x="5" y="30"/>
                    <a:pt x="6" y="33"/>
                  </a:cubicBezTo>
                  <a:cubicBezTo>
                    <a:pt x="6" y="36"/>
                    <a:pt x="8" y="39"/>
                    <a:pt x="9" y="42"/>
                  </a:cubicBezTo>
                  <a:cubicBezTo>
                    <a:pt x="11" y="47"/>
                    <a:pt x="11" y="47"/>
                    <a:pt x="10" y="52"/>
                  </a:cubicBezTo>
                  <a:cubicBezTo>
                    <a:pt x="10" y="56"/>
                    <a:pt x="13" y="58"/>
                    <a:pt x="16" y="61"/>
                  </a:cubicBezTo>
                  <a:cubicBezTo>
                    <a:pt x="15" y="61"/>
                    <a:pt x="12" y="62"/>
                    <a:pt x="13" y="64"/>
                  </a:cubicBezTo>
                  <a:cubicBezTo>
                    <a:pt x="14" y="65"/>
                    <a:pt x="17" y="65"/>
                    <a:pt x="18" y="67"/>
                  </a:cubicBezTo>
                  <a:cubicBezTo>
                    <a:pt x="19" y="69"/>
                    <a:pt x="21" y="71"/>
                    <a:pt x="23" y="74"/>
                  </a:cubicBezTo>
                  <a:cubicBezTo>
                    <a:pt x="25" y="77"/>
                    <a:pt x="28" y="80"/>
                    <a:pt x="28" y="85"/>
                  </a:cubicBezTo>
                  <a:cubicBezTo>
                    <a:pt x="28" y="88"/>
                    <a:pt x="27" y="88"/>
                    <a:pt x="30" y="90"/>
                  </a:cubicBezTo>
                  <a:cubicBezTo>
                    <a:pt x="32" y="92"/>
                    <a:pt x="34" y="94"/>
                    <a:pt x="36" y="95"/>
                  </a:cubicBezTo>
                  <a:cubicBezTo>
                    <a:pt x="39" y="98"/>
                    <a:pt x="43" y="100"/>
                    <a:pt x="47" y="103"/>
                  </a:cubicBezTo>
                  <a:cubicBezTo>
                    <a:pt x="51" y="106"/>
                    <a:pt x="56" y="107"/>
                    <a:pt x="59" y="110"/>
                  </a:cubicBezTo>
                  <a:cubicBezTo>
                    <a:pt x="64" y="114"/>
                    <a:pt x="68" y="116"/>
                    <a:pt x="73" y="119"/>
                  </a:cubicBezTo>
                  <a:cubicBezTo>
                    <a:pt x="77" y="122"/>
                    <a:pt x="79" y="125"/>
                    <a:pt x="83" y="129"/>
                  </a:cubicBezTo>
                  <a:cubicBezTo>
                    <a:pt x="83" y="127"/>
                    <a:pt x="86" y="125"/>
                    <a:pt x="89" y="124"/>
                  </a:cubicBezTo>
                  <a:cubicBezTo>
                    <a:pt x="89" y="124"/>
                    <a:pt x="89" y="124"/>
                    <a:pt x="90" y="124"/>
                  </a:cubicBezTo>
                  <a:cubicBezTo>
                    <a:pt x="90" y="124"/>
                    <a:pt x="91" y="124"/>
                    <a:pt x="92" y="124"/>
                  </a:cubicBezTo>
                  <a:cubicBezTo>
                    <a:pt x="92" y="125"/>
                    <a:pt x="93" y="125"/>
                    <a:pt x="93" y="125"/>
                  </a:cubicBezTo>
                  <a:cubicBezTo>
                    <a:pt x="94" y="125"/>
                    <a:pt x="95" y="124"/>
                    <a:pt x="94" y="121"/>
                  </a:cubicBezTo>
                  <a:cubicBezTo>
                    <a:pt x="99" y="123"/>
                    <a:pt x="97" y="122"/>
                    <a:pt x="97" y="126"/>
                  </a:cubicBezTo>
                  <a:cubicBezTo>
                    <a:pt x="98" y="127"/>
                    <a:pt x="98" y="127"/>
                    <a:pt x="98" y="127"/>
                  </a:cubicBezTo>
                  <a:cubicBezTo>
                    <a:pt x="99" y="127"/>
                    <a:pt x="101" y="126"/>
                    <a:pt x="101" y="125"/>
                  </a:cubicBezTo>
                  <a:cubicBezTo>
                    <a:pt x="104" y="122"/>
                    <a:pt x="98" y="116"/>
                    <a:pt x="97" y="113"/>
                  </a:cubicBezTo>
                  <a:cubicBezTo>
                    <a:pt x="95" y="106"/>
                    <a:pt x="90" y="100"/>
                    <a:pt x="86" y="94"/>
                  </a:cubicBezTo>
                  <a:cubicBezTo>
                    <a:pt x="84" y="92"/>
                    <a:pt x="81" y="89"/>
                    <a:pt x="80" y="87"/>
                  </a:cubicBezTo>
                  <a:cubicBezTo>
                    <a:pt x="80" y="82"/>
                    <a:pt x="80" y="78"/>
                    <a:pt x="80" y="74"/>
                  </a:cubicBezTo>
                  <a:cubicBezTo>
                    <a:pt x="79" y="67"/>
                    <a:pt x="81" y="61"/>
                    <a:pt x="81" y="55"/>
                  </a:cubicBezTo>
                  <a:cubicBezTo>
                    <a:pt x="81" y="46"/>
                    <a:pt x="80" y="41"/>
                    <a:pt x="76" y="33"/>
                  </a:cubicBezTo>
                  <a:cubicBezTo>
                    <a:pt x="73" y="27"/>
                    <a:pt x="68" y="23"/>
                    <a:pt x="62" y="19"/>
                  </a:cubicBezTo>
                  <a:cubicBezTo>
                    <a:pt x="59" y="17"/>
                    <a:pt x="57" y="14"/>
                    <a:pt x="56" y="11"/>
                  </a:cubicBezTo>
                  <a:cubicBezTo>
                    <a:pt x="55" y="10"/>
                    <a:pt x="53" y="9"/>
                    <a:pt x="50" y="8"/>
                  </a:cubicBezTo>
                  <a:cubicBezTo>
                    <a:pt x="50" y="8"/>
                    <a:pt x="50" y="8"/>
                    <a:pt x="50" y="8"/>
                  </a:cubicBezTo>
                  <a:cubicBezTo>
                    <a:pt x="50" y="9"/>
                    <a:pt x="50" y="9"/>
                    <a:pt x="49" y="10"/>
                  </a:cubicBezTo>
                  <a:cubicBezTo>
                    <a:pt x="49" y="10"/>
                    <a:pt x="49" y="10"/>
                    <a:pt x="49" y="10"/>
                  </a:cubicBezTo>
                  <a:cubicBezTo>
                    <a:pt x="49" y="11"/>
                    <a:pt x="49" y="12"/>
                    <a:pt x="48" y="13"/>
                  </a:cubicBezTo>
                  <a:cubicBezTo>
                    <a:pt x="47" y="16"/>
                    <a:pt x="45" y="19"/>
                    <a:pt x="40" y="21"/>
                  </a:cubicBezTo>
                  <a:cubicBezTo>
                    <a:pt x="39" y="21"/>
                    <a:pt x="39" y="21"/>
                    <a:pt x="38" y="21"/>
                  </a:cubicBezTo>
                  <a:cubicBezTo>
                    <a:pt x="36" y="21"/>
                    <a:pt x="35" y="20"/>
                    <a:pt x="34" y="19"/>
                  </a:cubicBezTo>
                  <a:cubicBezTo>
                    <a:pt x="33" y="18"/>
                    <a:pt x="33" y="18"/>
                    <a:pt x="33" y="18"/>
                  </a:cubicBezTo>
                  <a:cubicBezTo>
                    <a:pt x="33" y="18"/>
                    <a:pt x="32" y="18"/>
                    <a:pt x="32" y="19"/>
                  </a:cubicBezTo>
                  <a:cubicBezTo>
                    <a:pt x="30" y="21"/>
                    <a:pt x="30" y="21"/>
                    <a:pt x="30" y="21"/>
                  </a:cubicBezTo>
                  <a:cubicBezTo>
                    <a:pt x="29" y="21"/>
                    <a:pt x="29" y="21"/>
                    <a:pt x="29" y="21"/>
                  </a:cubicBezTo>
                  <a:cubicBezTo>
                    <a:pt x="28" y="22"/>
                    <a:pt x="28" y="22"/>
                    <a:pt x="28" y="22"/>
                  </a:cubicBezTo>
                  <a:cubicBezTo>
                    <a:pt x="28" y="22"/>
                    <a:pt x="27" y="23"/>
                    <a:pt x="27" y="23"/>
                  </a:cubicBezTo>
                  <a:cubicBezTo>
                    <a:pt x="26" y="23"/>
                    <a:pt x="26" y="23"/>
                    <a:pt x="26" y="23"/>
                  </a:cubicBezTo>
                  <a:cubicBezTo>
                    <a:pt x="26" y="24"/>
                    <a:pt x="25" y="24"/>
                    <a:pt x="24" y="24"/>
                  </a:cubicBezTo>
                  <a:cubicBezTo>
                    <a:pt x="23" y="23"/>
                    <a:pt x="23" y="23"/>
                    <a:pt x="23" y="23"/>
                  </a:cubicBezTo>
                  <a:cubicBezTo>
                    <a:pt x="22" y="23"/>
                    <a:pt x="21" y="22"/>
                    <a:pt x="19" y="21"/>
                  </a:cubicBezTo>
                  <a:cubicBezTo>
                    <a:pt x="16" y="18"/>
                    <a:pt x="18" y="14"/>
                    <a:pt x="20" y="12"/>
                  </a:cubicBezTo>
                  <a:cubicBezTo>
                    <a:pt x="20" y="11"/>
                    <a:pt x="20" y="10"/>
                    <a:pt x="21" y="9"/>
                  </a:cubicBezTo>
                  <a:cubicBezTo>
                    <a:pt x="20" y="9"/>
                    <a:pt x="20" y="9"/>
                    <a:pt x="19" y="9"/>
                  </a:cubicBezTo>
                  <a:cubicBezTo>
                    <a:pt x="19" y="9"/>
                    <a:pt x="19" y="9"/>
                    <a:pt x="19" y="9"/>
                  </a:cubicBezTo>
                  <a:cubicBezTo>
                    <a:pt x="15" y="9"/>
                    <a:pt x="14" y="7"/>
                    <a:pt x="14" y="6"/>
                  </a:cubicBezTo>
                  <a:cubicBezTo>
                    <a:pt x="14" y="6"/>
                    <a:pt x="14" y="5"/>
                    <a:pt x="14" y="4"/>
                  </a:cubicBezTo>
                  <a:cubicBezTo>
                    <a:pt x="14" y="3"/>
                    <a:pt x="14" y="3"/>
                    <a:pt x="13" y="3"/>
                  </a:cubicBezTo>
                  <a:cubicBezTo>
                    <a:pt x="13" y="3"/>
                    <a:pt x="13" y="3"/>
                    <a:pt x="13" y="3"/>
                  </a:cubicBezTo>
                  <a:cubicBezTo>
                    <a:pt x="12" y="2"/>
                    <a:pt x="12" y="2"/>
                    <a:pt x="12" y="2"/>
                  </a:cubicBezTo>
                  <a:cubicBezTo>
                    <a:pt x="12" y="2"/>
                    <a:pt x="10" y="2"/>
                    <a:pt x="9" y="2"/>
                  </a:cubicBezTo>
                  <a:cubicBezTo>
                    <a:pt x="8" y="2"/>
                    <a:pt x="8" y="2"/>
                    <a:pt x="8" y="2"/>
                  </a:cubicBezTo>
                  <a:cubicBezTo>
                    <a:pt x="6" y="2"/>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548"/>
            <p:cNvSpPr/>
            <p:nvPr/>
          </p:nvSpPr>
          <p:spPr bwMode="auto">
            <a:xfrm>
              <a:off x="2022993" y="3743291"/>
              <a:ext cx="29549" cy="53725"/>
            </a:xfrm>
            <a:custGeom>
              <a:gdLst>
                <a:gd name="T0" fmla="*/ 6 w 9"/>
                <a:gd name="T1" fmla="*/ 0 h 17"/>
                <a:gd name="T2" fmla="*/ 0 w 9"/>
                <a:gd name="T3" fmla="*/ 5 h 17"/>
                <a:gd name="T4" fmla="*/ 2 w 9"/>
                <a:gd name="T5" fmla="*/ 5 h 17"/>
                <a:gd name="T6" fmla="*/ 2 w 9"/>
                <a:gd name="T7" fmla="*/ 6 h 17"/>
                <a:gd name="T8" fmla="*/ 2 w 9"/>
                <a:gd name="T9" fmla="*/ 8 h 17"/>
                <a:gd name="T10" fmla="*/ 2 w 9"/>
                <a:gd name="T11" fmla="*/ 11 h 17"/>
                <a:gd name="T12" fmla="*/ 3 w 9"/>
                <a:gd name="T13" fmla="*/ 15 h 17"/>
                <a:gd name="T14" fmla="*/ 3 w 9"/>
                <a:gd name="T15" fmla="*/ 15 h 17"/>
                <a:gd name="T16" fmla="*/ 4 w 9"/>
                <a:gd name="T17" fmla="*/ 17 h 17"/>
                <a:gd name="T18" fmla="*/ 8 w 9"/>
                <a:gd name="T19" fmla="*/ 7 h 17"/>
                <a:gd name="T20" fmla="*/ 5 w 9"/>
                <a:gd name="T21" fmla="*/ 5 h 17"/>
                <a:gd name="T22" fmla="*/ 9 w 9"/>
                <a:gd name="T23" fmla="*/ 1 h 17"/>
                <a:gd name="T24" fmla="*/ 6 w 9"/>
                <a:gd name="T25"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7">
                  <a:moveTo>
                    <a:pt x="6" y="0"/>
                  </a:moveTo>
                  <a:cubicBezTo>
                    <a:pt x="3" y="0"/>
                    <a:pt x="2" y="2"/>
                    <a:pt x="0" y="5"/>
                  </a:cubicBezTo>
                  <a:cubicBezTo>
                    <a:pt x="2" y="5"/>
                    <a:pt x="2" y="5"/>
                    <a:pt x="2" y="5"/>
                  </a:cubicBezTo>
                  <a:cubicBezTo>
                    <a:pt x="2" y="6"/>
                    <a:pt x="2" y="6"/>
                    <a:pt x="2" y="6"/>
                  </a:cubicBezTo>
                  <a:cubicBezTo>
                    <a:pt x="2" y="6"/>
                    <a:pt x="2" y="7"/>
                    <a:pt x="2" y="8"/>
                  </a:cubicBezTo>
                  <a:cubicBezTo>
                    <a:pt x="2" y="11"/>
                    <a:pt x="2" y="11"/>
                    <a:pt x="2" y="11"/>
                  </a:cubicBezTo>
                  <a:cubicBezTo>
                    <a:pt x="2" y="13"/>
                    <a:pt x="2" y="15"/>
                    <a:pt x="3" y="15"/>
                  </a:cubicBezTo>
                  <a:cubicBezTo>
                    <a:pt x="3" y="15"/>
                    <a:pt x="3" y="15"/>
                    <a:pt x="3" y="15"/>
                  </a:cubicBezTo>
                  <a:cubicBezTo>
                    <a:pt x="4" y="17"/>
                    <a:pt x="4" y="17"/>
                    <a:pt x="4" y="17"/>
                  </a:cubicBezTo>
                  <a:cubicBezTo>
                    <a:pt x="6" y="14"/>
                    <a:pt x="7" y="9"/>
                    <a:pt x="8" y="7"/>
                  </a:cubicBezTo>
                  <a:cubicBezTo>
                    <a:pt x="7" y="7"/>
                    <a:pt x="5" y="6"/>
                    <a:pt x="5" y="5"/>
                  </a:cubicBezTo>
                  <a:cubicBezTo>
                    <a:pt x="6" y="3"/>
                    <a:pt x="8" y="2"/>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549"/>
            <p:cNvSpPr>
              <a:spLocks noEditPoints="1"/>
            </p:cNvSpPr>
            <p:nvPr/>
          </p:nvSpPr>
          <p:spPr bwMode="auto">
            <a:xfrm>
              <a:off x="1589" y="0"/>
              <a:ext cx="88646" cy="247135"/>
            </a:xfrm>
            <a:custGeom>
              <a:gdLst>
                <a:gd name="T0" fmla="*/ 0 w 28"/>
                <a:gd name="T1" fmla="*/ 21 h 78"/>
                <a:gd name="T2" fmla="*/ 0 w 28"/>
                <a:gd name="T3" fmla="*/ 78 h 78"/>
                <a:gd name="T4" fmla="*/ 13 w 28"/>
                <a:gd name="T5" fmla="*/ 66 h 78"/>
                <a:gd name="T6" fmla="*/ 16 w 28"/>
                <a:gd name="T7" fmla="*/ 64 h 78"/>
                <a:gd name="T8" fmla="*/ 22 w 28"/>
                <a:gd name="T9" fmla="*/ 58 h 78"/>
                <a:gd name="T10" fmla="*/ 25 w 28"/>
                <a:gd name="T11" fmla="*/ 53 h 78"/>
                <a:gd name="T12" fmla="*/ 25 w 28"/>
                <a:gd name="T13" fmla="*/ 52 h 78"/>
                <a:gd name="T14" fmla="*/ 27 w 28"/>
                <a:gd name="T15" fmla="*/ 46 h 78"/>
                <a:gd name="T16" fmla="*/ 27 w 28"/>
                <a:gd name="T17" fmla="*/ 43 h 78"/>
                <a:gd name="T18" fmla="*/ 25 w 28"/>
                <a:gd name="T19" fmla="*/ 41 h 78"/>
                <a:gd name="T20" fmla="*/ 1 w 28"/>
                <a:gd name="T21" fmla="*/ 21 h 78"/>
                <a:gd name="T22" fmla="*/ 0 w 28"/>
                <a:gd name="T23" fmla="*/ 21 h 78"/>
                <a:gd name="T24" fmla="*/ 0 w 28"/>
                <a:gd name="T25" fmla="*/ 21 h 78"/>
                <a:gd name="T26" fmla="*/ 4 w 28"/>
                <a:gd name="T27" fmla="*/ 0 h 78"/>
                <a:gd name="T28" fmla="*/ 0 w 28"/>
                <a:gd name="T29" fmla="*/ 0 h 78"/>
                <a:gd name="T30" fmla="*/ 0 w 28"/>
                <a:gd name="T31" fmla="*/ 4 h 78"/>
                <a:gd name="T32" fmla="*/ 2 w 28"/>
                <a:gd name="T33" fmla="*/ 2 h 78"/>
                <a:gd name="T34" fmla="*/ 4 w 28"/>
                <a:gd name="T35" fmla="*/ 1 h 78"/>
                <a:gd name="T36" fmla="*/ 4 w 28"/>
                <a:gd name="T37" fmla="*/ 0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78">
                  <a:moveTo>
                    <a:pt x="0" y="21"/>
                  </a:moveTo>
                  <a:cubicBezTo>
                    <a:pt x="0" y="78"/>
                    <a:pt x="0" y="78"/>
                    <a:pt x="0" y="78"/>
                  </a:cubicBezTo>
                  <a:cubicBezTo>
                    <a:pt x="4" y="74"/>
                    <a:pt x="8" y="70"/>
                    <a:pt x="13" y="66"/>
                  </a:cubicBezTo>
                  <a:cubicBezTo>
                    <a:pt x="14" y="65"/>
                    <a:pt x="15" y="64"/>
                    <a:pt x="16" y="64"/>
                  </a:cubicBezTo>
                  <a:cubicBezTo>
                    <a:pt x="18" y="62"/>
                    <a:pt x="21" y="60"/>
                    <a:pt x="22" y="58"/>
                  </a:cubicBezTo>
                  <a:cubicBezTo>
                    <a:pt x="23" y="56"/>
                    <a:pt x="24" y="54"/>
                    <a:pt x="25" y="53"/>
                  </a:cubicBezTo>
                  <a:cubicBezTo>
                    <a:pt x="25" y="52"/>
                    <a:pt x="25" y="52"/>
                    <a:pt x="25" y="52"/>
                  </a:cubicBezTo>
                  <a:cubicBezTo>
                    <a:pt x="25" y="50"/>
                    <a:pt x="26" y="48"/>
                    <a:pt x="27" y="46"/>
                  </a:cubicBezTo>
                  <a:cubicBezTo>
                    <a:pt x="28" y="45"/>
                    <a:pt x="28" y="45"/>
                    <a:pt x="27" y="43"/>
                  </a:cubicBezTo>
                  <a:cubicBezTo>
                    <a:pt x="27" y="43"/>
                    <a:pt x="26" y="42"/>
                    <a:pt x="25" y="41"/>
                  </a:cubicBezTo>
                  <a:cubicBezTo>
                    <a:pt x="19" y="33"/>
                    <a:pt x="10" y="27"/>
                    <a:pt x="1" y="21"/>
                  </a:cubicBezTo>
                  <a:cubicBezTo>
                    <a:pt x="0" y="21"/>
                    <a:pt x="0" y="21"/>
                    <a:pt x="0" y="21"/>
                  </a:cubicBezTo>
                  <a:cubicBezTo>
                    <a:pt x="0" y="21"/>
                    <a:pt x="0" y="21"/>
                    <a:pt x="0" y="21"/>
                  </a:cubicBezTo>
                  <a:moveTo>
                    <a:pt x="4" y="0"/>
                  </a:moveTo>
                  <a:cubicBezTo>
                    <a:pt x="0" y="0"/>
                    <a:pt x="0" y="0"/>
                    <a:pt x="0" y="0"/>
                  </a:cubicBezTo>
                  <a:cubicBezTo>
                    <a:pt x="0" y="4"/>
                    <a:pt x="0" y="4"/>
                    <a:pt x="0" y="4"/>
                  </a:cubicBezTo>
                  <a:cubicBezTo>
                    <a:pt x="1" y="4"/>
                    <a:pt x="1" y="3"/>
                    <a:pt x="2" y="2"/>
                  </a:cubicBezTo>
                  <a:cubicBezTo>
                    <a:pt x="4" y="1"/>
                    <a:pt x="4" y="1"/>
                    <a:pt x="4" y="1"/>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550"/>
            <p:cNvSpPr/>
            <p:nvPr/>
          </p:nvSpPr>
          <p:spPr bwMode="auto">
            <a:xfrm>
              <a:off x="769857" y="2222873"/>
              <a:ext cx="500986" cy="212214"/>
            </a:xfrm>
            <a:custGeom>
              <a:gdLst>
                <a:gd name="T0" fmla="*/ 0 w 158"/>
                <a:gd name="T1" fmla="*/ 4 h 67"/>
                <a:gd name="T2" fmla="*/ 11 w 158"/>
                <a:gd name="T3" fmla="*/ 10 h 67"/>
                <a:gd name="T4" fmla="*/ 35 w 158"/>
                <a:gd name="T5" fmla="*/ 28 h 67"/>
                <a:gd name="T6" fmla="*/ 41 w 158"/>
                <a:gd name="T7" fmla="*/ 48 h 67"/>
                <a:gd name="T8" fmla="*/ 37 w 158"/>
                <a:gd name="T9" fmla="*/ 55 h 67"/>
                <a:gd name="T10" fmla="*/ 43 w 158"/>
                <a:gd name="T11" fmla="*/ 56 h 67"/>
                <a:gd name="T12" fmla="*/ 48 w 158"/>
                <a:gd name="T13" fmla="*/ 56 h 67"/>
                <a:gd name="T14" fmla="*/ 57 w 158"/>
                <a:gd name="T15" fmla="*/ 57 h 67"/>
                <a:gd name="T16" fmla="*/ 64 w 158"/>
                <a:gd name="T17" fmla="*/ 53 h 67"/>
                <a:gd name="T18" fmla="*/ 71 w 158"/>
                <a:gd name="T19" fmla="*/ 58 h 67"/>
                <a:gd name="T20" fmla="*/ 73 w 158"/>
                <a:gd name="T21" fmla="*/ 58 h 67"/>
                <a:gd name="T22" fmla="*/ 75 w 158"/>
                <a:gd name="T23" fmla="*/ 60 h 67"/>
                <a:gd name="T24" fmla="*/ 80 w 158"/>
                <a:gd name="T25" fmla="*/ 63 h 67"/>
                <a:gd name="T26" fmla="*/ 83 w 158"/>
                <a:gd name="T27" fmla="*/ 66 h 67"/>
                <a:gd name="T28" fmla="*/ 84 w 158"/>
                <a:gd name="T29" fmla="*/ 67 h 67"/>
                <a:gd name="T30" fmla="*/ 87 w 158"/>
                <a:gd name="T31" fmla="*/ 66 h 67"/>
                <a:gd name="T32" fmla="*/ 107 w 158"/>
                <a:gd name="T33" fmla="*/ 64 h 67"/>
                <a:gd name="T34" fmla="*/ 111 w 158"/>
                <a:gd name="T35" fmla="*/ 64 h 67"/>
                <a:gd name="T36" fmla="*/ 114 w 158"/>
                <a:gd name="T37" fmla="*/ 64 h 67"/>
                <a:gd name="T38" fmla="*/ 115 w 158"/>
                <a:gd name="T39" fmla="*/ 63 h 67"/>
                <a:gd name="T40" fmla="*/ 123 w 158"/>
                <a:gd name="T41" fmla="*/ 60 h 67"/>
                <a:gd name="T42" fmla="*/ 129 w 158"/>
                <a:gd name="T43" fmla="*/ 57 h 67"/>
                <a:gd name="T44" fmla="*/ 137 w 158"/>
                <a:gd name="T45" fmla="*/ 61 h 67"/>
                <a:gd name="T46" fmla="*/ 141 w 158"/>
                <a:gd name="T47" fmla="*/ 63 h 67"/>
                <a:gd name="T48" fmla="*/ 155 w 158"/>
                <a:gd name="T49" fmla="*/ 66 h 67"/>
                <a:gd name="T50" fmla="*/ 158 w 158"/>
                <a:gd name="T51" fmla="*/ 64 h 67"/>
                <a:gd name="T52" fmla="*/ 149 w 158"/>
                <a:gd name="T53" fmla="*/ 58 h 67"/>
                <a:gd name="T54" fmla="*/ 152 w 158"/>
                <a:gd name="T55" fmla="*/ 48 h 67"/>
                <a:gd name="T56" fmla="*/ 136 w 158"/>
                <a:gd name="T57" fmla="*/ 41 h 67"/>
                <a:gd name="T58" fmla="*/ 135 w 158"/>
                <a:gd name="T59" fmla="*/ 32 h 67"/>
                <a:gd name="T60" fmla="*/ 119 w 158"/>
                <a:gd name="T61" fmla="*/ 25 h 67"/>
                <a:gd name="T62" fmla="*/ 117 w 158"/>
                <a:gd name="T63" fmla="*/ 34 h 67"/>
                <a:gd name="T64" fmla="*/ 111 w 158"/>
                <a:gd name="T65" fmla="*/ 25 h 67"/>
                <a:gd name="T66" fmla="*/ 104 w 158"/>
                <a:gd name="T67" fmla="*/ 27 h 67"/>
                <a:gd name="T68" fmla="*/ 93 w 158"/>
                <a:gd name="T69" fmla="*/ 29 h 67"/>
                <a:gd name="T70" fmla="*/ 86 w 158"/>
                <a:gd name="T71" fmla="*/ 24 h 67"/>
                <a:gd name="T72" fmla="*/ 87 w 158"/>
                <a:gd name="T73" fmla="*/ 23 h 67"/>
                <a:gd name="T74" fmla="*/ 58 w 158"/>
                <a:gd name="T75" fmla="*/ 10 h 67"/>
                <a:gd name="T76" fmla="*/ 49 w 158"/>
                <a:gd name="T77" fmla="*/ 11 h 67"/>
                <a:gd name="T78" fmla="*/ 13 w 158"/>
                <a:gd name="T79" fmla="*/ 1 h 67"/>
                <a:gd name="T80" fmla="*/ 10 w 158"/>
                <a:gd name="T81" fmla="*/ 2 h 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8" h="67">
                  <a:moveTo>
                    <a:pt x="2" y="0"/>
                  </a:moveTo>
                  <a:cubicBezTo>
                    <a:pt x="1" y="1"/>
                    <a:pt x="1" y="2"/>
                    <a:pt x="0" y="4"/>
                  </a:cubicBezTo>
                  <a:cubicBezTo>
                    <a:pt x="0" y="5"/>
                    <a:pt x="0" y="5"/>
                    <a:pt x="0" y="5"/>
                  </a:cubicBezTo>
                  <a:cubicBezTo>
                    <a:pt x="4" y="7"/>
                    <a:pt x="7" y="9"/>
                    <a:pt x="11" y="10"/>
                  </a:cubicBezTo>
                  <a:cubicBezTo>
                    <a:pt x="16" y="12"/>
                    <a:pt x="22" y="13"/>
                    <a:pt x="24" y="18"/>
                  </a:cubicBezTo>
                  <a:cubicBezTo>
                    <a:pt x="27" y="23"/>
                    <a:pt x="34" y="22"/>
                    <a:pt x="35" y="28"/>
                  </a:cubicBezTo>
                  <a:cubicBezTo>
                    <a:pt x="35" y="31"/>
                    <a:pt x="37" y="40"/>
                    <a:pt x="41" y="40"/>
                  </a:cubicBezTo>
                  <a:cubicBezTo>
                    <a:pt x="38" y="43"/>
                    <a:pt x="42" y="45"/>
                    <a:pt x="41" y="48"/>
                  </a:cubicBezTo>
                  <a:cubicBezTo>
                    <a:pt x="40" y="51"/>
                    <a:pt x="39" y="53"/>
                    <a:pt x="37" y="55"/>
                  </a:cubicBezTo>
                  <a:cubicBezTo>
                    <a:pt x="37" y="55"/>
                    <a:pt x="37" y="55"/>
                    <a:pt x="37" y="55"/>
                  </a:cubicBezTo>
                  <a:cubicBezTo>
                    <a:pt x="38" y="56"/>
                    <a:pt x="39" y="56"/>
                    <a:pt x="40" y="56"/>
                  </a:cubicBezTo>
                  <a:cubicBezTo>
                    <a:pt x="41" y="56"/>
                    <a:pt x="42" y="56"/>
                    <a:pt x="43" y="56"/>
                  </a:cubicBezTo>
                  <a:cubicBezTo>
                    <a:pt x="44" y="56"/>
                    <a:pt x="45" y="56"/>
                    <a:pt x="46" y="56"/>
                  </a:cubicBezTo>
                  <a:cubicBezTo>
                    <a:pt x="47" y="56"/>
                    <a:pt x="47" y="56"/>
                    <a:pt x="48" y="56"/>
                  </a:cubicBezTo>
                  <a:cubicBezTo>
                    <a:pt x="50" y="56"/>
                    <a:pt x="50" y="56"/>
                    <a:pt x="50" y="56"/>
                  </a:cubicBezTo>
                  <a:cubicBezTo>
                    <a:pt x="52" y="56"/>
                    <a:pt x="55" y="56"/>
                    <a:pt x="57" y="57"/>
                  </a:cubicBezTo>
                  <a:cubicBezTo>
                    <a:pt x="58" y="55"/>
                    <a:pt x="60" y="54"/>
                    <a:pt x="62" y="53"/>
                  </a:cubicBezTo>
                  <a:cubicBezTo>
                    <a:pt x="62" y="53"/>
                    <a:pt x="63" y="53"/>
                    <a:pt x="64" y="53"/>
                  </a:cubicBezTo>
                  <a:cubicBezTo>
                    <a:pt x="67" y="53"/>
                    <a:pt x="70" y="55"/>
                    <a:pt x="72" y="57"/>
                  </a:cubicBezTo>
                  <a:cubicBezTo>
                    <a:pt x="71" y="58"/>
                    <a:pt x="71" y="58"/>
                    <a:pt x="71" y="58"/>
                  </a:cubicBezTo>
                  <a:cubicBezTo>
                    <a:pt x="72" y="57"/>
                    <a:pt x="72" y="57"/>
                    <a:pt x="72" y="57"/>
                  </a:cubicBezTo>
                  <a:cubicBezTo>
                    <a:pt x="73" y="58"/>
                    <a:pt x="73" y="58"/>
                    <a:pt x="73" y="58"/>
                  </a:cubicBezTo>
                  <a:cubicBezTo>
                    <a:pt x="73" y="58"/>
                    <a:pt x="73" y="59"/>
                    <a:pt x="74" y="59"/>
                  </a:cubicBezTo>
                  <a:cubicBezTo>
                    <a:pt x="75" y="60"/>
                    <a:pt x="75" y="60"/>
                    <a:pt x="75" y="60"/>
                  </a:cubicBezTo>
                  <a:cubicBezTo>
                    <a:pt x="75" y="60"/>
                    <a:pt x="75" y="60"/>
                    <a:pt x="76" y="60"/>
                  </a:cubicBezTo>
                  <a:cubicBezTo>
                    <a:pt x="77" y="61"/>
                    <a:pt x="78" y="62"/>
                    <a:pt x="80" y="63"/>
                  </a:cubicBezTo>
                  <a:cubicBezTo>
                    <a:pt x="81" y="64"/>
                    <a:pt x="81" y="64"/>
                    <a:pt x="81" y="64"/>
                  </a:cubicBezTo>
                  <a:cubicBezTo>
                    <a:pt x="82" y="64"/>
                    <a:pt x="82" y="65"/>
                    <a:pt x="83" y="66"/>
                  </a:cubicBezTo>
                  <a:cubicBezTo>
                    <a:pt x="84" y="67"/>
                    <a:pt x="84" y="67"/>
                    <a:pt x="84" y="67"/>
                  </a:cubicBezTo>
                  <a:cubicBezTo>
                    <a:pt x="84" y="67"/>
                    <a:pt x="84" y="67"/>
                    <a:pt x="84" y="67"/>
                  </a:cubicBezTo>
                  <a:cubicBezTo>
                    <a:pt x="85" y="67"/>
                    <a:pt x="85" y="67"/>
                    <a:pt x="85" y="67"/>
                  </a:cubicBezTo>
                  <a:cubicBezTo>
                    <a:pt x="87" y="66"/>
                    <a:pt x="87" y="66"/>
                    <a:pt x="87" y="66"/>
                  </a:cubicBezTo>
                  <a:cubicBezTo>
                    <a:pt x="92" y="66"/>
                    <a:pt x="97" y="65"/>
                    <a:pt x="102" y="64"/>
                  </a:cubicBezTo>
                  <a:cubicBezTo>
                    <a:pt x="104" y="64"/>
                    <a:pt x="105" y="64"/>
                    <a:pt x="107" y="64"/>
                  </a:cubicBezTo>
                  <a:cubicBezTo>
                    <a:pt x="109" y="64"/>
                    <a:pt x="109" y="64"/>
                    <a:pt x="110" y="64"/>
                  </a:cubicBezTo>
                  <a:cubicBezTo>
                    <a:pt x="111" y="64"/>
                    <a:pt x="111" y="64"/>
                    <a:pt x="111" y="64"/>
                  </a:cubicBezTo>
                  <a:cubicBezTo>
                    <a:pt x="112" y="64"/>
                    <a:pt x="113" y="64"/>
                    <a:pt x="114" y="64"/>
                  </a:cubicBezTo>
                  <a:cubicBezTo>
                    <a:pt x="114" y="64"/>
                    <a:pt x="114" y="64"/>
                    <a:pt x="114" y="64"/>
                  </a:cubicBezTo>
                  <a:cubicBezTo>
                    <a:pt x="115" y="64"/>
                    <a:pt x="115" y="64"/>
                    <a:pt x="115" y="64"/>
                  </a:cubicBezTo>
                  <a:cubicBezTo>
                    <a:pt x="115" y="63"/>
                    <a:pt x="115" y="63"/>
                    <a:pt x="115" y="63"/>
                  </a:cubicBezTo>
                  <a:cubicBezTo>
                    <a:pt x="120" y="62"/>
                    <a:pt x="120" y="62"/>
                    <a:pt x="120" y="62"/>
                  </a:cubicBezTo>
                  <a:cubicBezTo>
                    <a:pt x="121" y="61"/>
                    <a:pt x="122" y="60"/>
                    <a:pt x="123" y="60"/>
                  </a:cubicBezTo>
                  <a:cubicBezTo>
                    <a:pt x="125" y="58"/>
                    <a:pt x="125" y="58"/>
                    <a:pt x="125" y="58"/>
                  </a:cubicBezTo>
                  <a:cubicBezTo>
                    <a:pt x="126" y="57"/>
                    <a:pt x="128" y="57"/>
                    <a:pt x="129" y="57"/>
                  </a:cubicBezTo>
                  <a:cubicBezTo>
                    <a:pt x="129" y="57"/>
                    <a:pt x="130" y="57"/>
                    <a:pt x="130" y="57"/>
                  </a:cubicBezTo>
                  <a:cubicBezTo>
                    <a:pt x="133" y="58"/>
                    <a:pt x="135" y="60"/>
                    <a:pt x="137" y="61"/>
                  </a:cubicBezTo>
                  <a:cubicBezTo>
                    <a:pt x="138" y="61"/>
                    <a:pt x="138" y="61"/>
                    <a:pt x="138" y="61"/>
                  </a:cubicBezTo>
                  <a:cubicBezTo>
                    <a:pt x="139" y="62"/>
                    <a:pt x="140" y="63"/>
                    <a:pt x="141" y="63"/>
                  </a:cubicBezTo>
                  <a:cubicBezTo>
                    <a:pt x="141" y="63"/>
                    <a:pt x="142" y="64"/>
                    <a:pt x="143" y="64"/>
                  </a:cubicBezTo>
                  <a:cubicBezTo>
                    <a:pt x="146" y="65"/>
                    <a:pt x="151" y="66"/>
                    <a:pt x="155" y="66"/>
                  </a:cubicBezTo>
                  <a:cubicBezTo>
                    <a:pt x="156" y="67"/>
                    <a:pt x="157" y="67"/>
                    <a:pt x="158" y="67"/>
                  </a:cubicBezTo>
                  <a:cubicBezTo>
                    <a:pt x="158" y="65"/>
                    <a:pt x="158" y="65"/>
                    <a:pt x="158" y="64"/>
                  </a:cubicBezTo>
                  <a:cubicBezTo>
                    <a:pt x="156" y="63"/>
                    <a:pt x="154" y="62"/>
                    <a:pt x="153" y="61"/>
                  </a:cubicBezTo>
                  <a:cubicBezTo>
                    <a:pt x="152" y="59"/>
                    <a:pt x="150" y="58"/>
                    <a:pt x="149" y="58"/>
                  </a:cubicBezTo>
                  <a:cubicBezTo>
                    <a:pt x="146" y="56"/>
                    <a:pt x="146" y="56"/>
                    <a:pt x="146" y="56"/>
                  </a:cubicBezTo>
                  <a:cubicBezTo>
                    <a:pt x="152" y="48"/>
                    <a:pt x="152" y="48"/>
                    <a:pt x="152" y="48"/>
                  </a:cubicBezTo>
                  <a:cubicBezTo>
                    <a:pt x="151" y="48"/>
                    <a:pt x="150" y="47"/>
                    <a:pt x="150" y="47"/>
                  </a:cubicBezTo>
                  <a:cubicBezTo>
                    <a:pt x="145" y="47"/>
                    <a:pt x="136" y="41"/>
                    <a:pt x="136" y="41"/>
                  </a:cubicBezTo>
                  <a:cubicBezTo>
                    <a:pt x="135" y="41"/>
                    <a:pt x="134" y="39"/>
                    <a:pt x="134" y="38"/>
                  </a:cubicBezTo>
                  <a:cubicBezTo>
                    <a:pt x="134" y="36"/>
                    <a:pt x="134" y="34"/>
                    <a:pt x="135" y="32"/>
                  </a:cubicBezTo>
                  <a:cubicBezTo>
                    <a:pt x="130" y="30"/>
                    <a:pt x="123" y="28"/>
                    <a:pt x="120" y="26"/>
                  </a:cubicBezTo>
                  <a:cubicBezTo>
                    <a:pt x="119" y="25"/>
                    <a:pt x="119" y="25"/>
                    <a:pt x="119" y="25"/>
                  </a:cubicBezTo>
                  <a:cubicBezTo>
                    <a:pt x="119" y="25"/>
                    <a:pt x="119" y="26"/>
                    <a:pt x="119" y="27"/>
                  </a:cubicBezTo>
                  <a:cubicBezTo>
                    <a:pt x="117" y="34"/>
                    <a:pt x="117" y="34"/>
                    <a:pt x="117" y="34"/>
                  </a:cubicBezTo>
                  <a:cubicBezTo>
                    <a:pt x="113" y="27"/>
                    <a:pt x="113" y="27"/>
                    <a:pt x="113" y="27"/>
                  </a:cubicBezTo>
                  <a:cubicBezTo>
                    <a:pt x="112" y="26"/>
                    <a:pt x="112" y="25"/>
                    <a:pt x="111" y="25"/>
                  </a:cubicBezTo>
                  <a:cubicBezTo>
                    <a:pt x="110" y="25"/>
                    <a:pt x="110" y="25"/>
                    <a:pt x="110" y="25"/>
                  </a:cubicBezTo>
                  <a:cubicBezTo>
                    <a:pt x="108" y="25"/>
                    <a:pt x="106" y="26"/>
                    <a:pt x="104" y="27"/>
                  </a:cubicBezTo>
                  <a:cubicBezTo>
                    <a:pt x="101" y="29"/>
                    <a:pt x="98" y="30"/>
                    <a:pt x="96" y="30"/>
                  </a:cubicBezTo>
                  <a:cubicBezTo>
                    <a:pt x="95" y="30"/>
                    <a:pt x="94" y="30"/>
                    <a:pt x="93" y="29"/>
                  </a:cubicBezTo>
                  <a:cubicBezTo>
                    <a:pt x="93" y="29"/>
                    <a:pt x="88" y="28"/>
                    <a:pt x="87" y="26"/>
                  </a:cubicBezTo>
                  <a:cubicBezTo>
                    <a:pt x="86" y="24"/>
                    <a:pt x="86" y="24"/>
                    <a:pt x="86" y="24"/>
                  </a:cubicBezTo>
                  <a:cubicBezTo>
                    <a:pt x="87" y="23"/>
                    <a:pt x="87" y="23"/>
                    <a:pt x="87" y="23"/>
                  </a:cubicBezTo>
                  <a:cubicBezTo>
                    <a:pt x="87" y="23"/>
                    <a:pt x="87" y="23"/>
                    <a:pt x="87" y="23"/>
                  </a:cubicBezTo>
                  <a:cubicBezTo>
                    <a:pt x="81" y="22"/>
                    <a:pt x="70" y="16"/>
                    <a:pt x="68" y="14"/>
                  </a:cubicBezTo>
                  <a:cubicBezTo>
                    <a:pt x="67" y="12"/>
                    <a:pt x="63" y="10"/>
                    <a:pt x="58" y="10"/>
                  </a:cubicBezTo>
                  <a:cubicBezTo>
                    <a:pt x="56" y="10"/>
                    <a:pt x="55" y="10"/>
                    <a:pt x="54" y="11"/>
                  </a:cubicBezTo>
                  <a:cubicBezTo>
                    <a:pt x="52" y="11"/>
                    <a:pt x="51" y="11"/>
                    <a:pt x="49" y="11"/>
                  </a:cubicBezTo>
                  <a:cubicBezTo>
                    <a:pt x="39" y="11"/>
                    <a:pt x="22" y="6"/>
                    <a:pt x="19" y="4"/>
                  </a:cubicBezTo>
                  <a:cubicBezTo>
                    <a:pt x="17" y="2"/>
                    <a:pt x="14" y="1"/>
                    <a:pt x="13" y="1"/>
                  </a:cubicBezTo>
                  <a:cubicBezTo>
                    <a:pt x="12" y="1"/>
                    <a:pt x="12" y="1"/>
                    <a:pt x="12" y="1"/>
                  </a:cubicBezTo>
                  <a:cubicBezTo>
                    <a:pt x="12" y="2"/>
                    <a:pt x="11" y="2"/>
                    <a:pt x="10" y="2"/>
                  </a:cubicBezTo>
                  <a:cubicBezTo>
                    <a:pt x="7" y="2"/>
                    <a:pt x="4"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551"/>
            <p:cNvSpPr/>
            <p:nvPr/>
          </p:nvSpPr>
          <p:spPr bwMode="auto">
            <a:xfrm>
              <a:off x="2448764" y="1254479"/>
              <a:ext cx="16118" cy="5373"/>
            </a:xfrm>
            <a:custGeom>
              <a:gdLst>
                <a:gd name="T0" fmla="*/ 0 w 5"/>
                <a:gd name="T1" fmla="*/ 0 h 2"/>
                <a:gd name="T2" fmla="*/ 0 w 5"/>
                <a:gd name="T3" fmla="*/ 2 h 2"/>
                <a:gd name="T4" fmla="*/ 1 w 5"/>
                <a:gd name="T5" fmla="*/ 2 h 2"/>
                <a:gd name="T6" fmla="*/ 2 w 5"/>
                <a:gd name="T7" fmla="*/ 2 h 2"/>
                <a:gd name="T8" fmla="*/ 3 w 5"/>
                <a:gd name="T9" fmla="*/ 2 h 2"/>
                <a:gd name="T10" fmla="*/ 4 w 5"/>
                <a:gd name="T11" fmla="*/ 2 h 2"/>
                <a:gd name="T12" fmla="*/ 4 w 5"/>
                <a:gd name="T13" fmla="*/ 2 h 2"/>
                <a:gd name="T14" fmla="*/ 5 w 5"/>
                <a:gd name="T15" fmla="*/ 2 h 2"/>
                <a:gd name="T16" fmla="*/ 3 w 5"/>
                <a:gd name="T17" fmla="*/ 1 h 2"/>
                <a:gd name="T18" fmla="*/ 0 w 5"/>
                <a:gd name="T19"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cubicBezTo>
                    <a:pt x="0" y="2"/>
                    <a:pt x="0" y="2"/>
                    <a:pt x="0" y="2"/>
                  </a:cubicBezTo>
                  <a:cubicBezTo>
                    <a:pt x="1" y="2"/>
                    <a:pt x="1" y="2"/>
                    <a:pt x="1" y="2"/>
                  </a:cubicBezTo>
                  <a:cubicBezTo>
                    <a:pt x="2" y="2"/>
                    <a:pt x="2" y="2"/>
                    <a:pt x="2" y="2"/>
                  </a:cubicBezTo>
                  <a:cubicBezTo>
                    <a:pt x="2" y="2"/>
                    <a:pt x="3" y="2"/>
                    <a:pt x="3" y="2"/>
                  </a:cubicBezTo>
                  <a:cubicBezTo>
                    <a:pt x="3" y="2"/>
                    <a:pt x="4" y="2"/>
                    <a:pt x="4" y="2"/>
                  </a:cubicBezTo>
                  <a:cubicBezTo>
                    <a:pt x="4" y="2"/>
                    <a:pt x="4" y="2"/>
                    <a:pt x="4" y="2"/>
                  </a:cubicBezTo>
                  <a:cubicBezTo>
                    <a:pt x="5" y="2"/>
                    <a:pt x="5" y="2"/>
                    <a:pt x="5" y="2"/>
                  </a:cubicBezTo>
                  <a:cubicBezTo>
                    <a:pt x="3" y="1"/>
                    <a:pt x="3" y="1"/>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Rectangle 552"/>
            <p:cNvSpPr>
              <a:spLocks noChangeArrowheads="1"/>
            </p:cNvSpPr>
            <p:nvPr/>
          </p:nvSpPr>
          <p:spPr bwMode="auto">
            <a:xfrm>
              <a:off x="2775144" y="1085246"/>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Rectangle 553"/>
            <p:cNvSpPr>
              <a:spLocks noChangeArrowheads="1"/>
            </p:cNvSpPr>
            <p:nvPr/>
          </p:nvSpPr>
          <p:spPr bwMode="auto">
            <a:xfrm>
              <a:off x="2775144" y="1085246"/>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554"/>
            <p:cNvSpPr/>
            <p:nvPr/>
          </p:nvSpPr>
          <p:spPr bwMode="auto">
            <a:xfrm>
              <a:off x="1484400" y="1952905"/>
              <a:ext cx="5373"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cubicBezTo>
                    <a:pt x="0" y="0"/>
                    <a:pt x="0" y="0"/>
                    <a:pt x="0" y="0"/>
                  </a:cubicBezTo>
                  <a:cubicBezTo>
                    <a:pt x="0" y="0"/>
                    <a:pt x="1" y="0"/>
                    <a:pt x="2"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Rectangle 555"/>
            <p:cNvSpPr>
              <a:spLocks noChangeArrowheads="1"/>
            </p:cNvSpPr>
            <p:nvPr/>
          </p:nvSpPr>
          <p:spPr bwMode="auto">
            <a:xfrm>
              <a:off x="1458880" y="1904552"/>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556"/>
            <p:cNvSpPr/>
            <p:nvPr/>
          </p:nvSpPr>
          <p:spPr bwMode="auto">
            <a:xfrm flipH="1">
              <a:off x="1458880" y="190455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557"/>
            <p:cNvSpPr>
              <a:spLocks noEditPoints="1"/>
            </p:cNvSpPr>
            <p:nvPr/>
          </p:nvSpPr>
          <p:spPr bwMode="auto">
            <a:xfrm>
              <a:off x="1589" y="0"/>
              <a:ext cx="11673106" cy="2425685"/>
            </a:xfrm>
            <a:custGeom>
              <a:gdLst>
                <a:gd name="T0" fmla="*/ 1938 w 3678"/>
                <a:gd name="T1" fmla="*/ 388 h 764"/>
                <a:gd name="T2" fmla="*/ 112 w 3678"/>
                <a:gd name="T3" fmla="*/ 57 h 764"/>
                <a:gd name="T4" fmla="*/ 90 w 3678"/>
                <a:gd name="T5" fmla="*/ 61 h 764"/>
                <a:gd name="T6" fmla="*/ 174 w 3678"/>
                <a:gd name="T7" fmla="*/ 10 h 764"/>
                <a:gd name="T8" fmla="*/ 57 w 3678"/>
                <a:gd name="T9" fmla="*/ 144 h 764"/>
                <a:gd name="T10" fmla="*/ 56 w 3678"/>
                <a:gd name="T11" fmla="*/ 378 h 764"/>
                <a:gd name="T12" fmla="*/ 44 w 3678"/>
                <a:gd name="T13" fmla="*/ 428 h 764"/>
                <a:gd name="T14" fmla="*/ 142 w 3678"/>
                <a:gd name="T15" fmla="*/ 481 h 764"/>
                <a:gd name="T16" fmla="*/ 230 w 3678"/>
                <a:gd name="T17" fmla="*/ 569 h 764"/>
                <a:gd name="T18" fmla="*/ 192 w 3678"/>
                <a:gd name="T19" fmla="*/ 629 h 764"/>
                <a:gd name="T20" fmla="*/ 264 w 3678"/>
                <a:gd name="T21" fmla="*/ 699 h 764"/>
                <a:gd name="T22" fmla="*/ 431 w 3678"/>
                <a:gd name="T23" fmla="*/ 764 h 764"/>
                <a:gd name="T24" fmla="*/ 443 w 3678"/>
                <a:gd name="T25" fmla="*/ 631 h 764"/>
                <a:gd name="T26" fmla="*/ 457 w 3678"/>
                <a:gd name="T27" fmla="*/ 598 h 764"/>
                <a:gd name="T28" fmla="*/ 408 w 3678"/>
                <a:gd name="T29" fmla="*/ 527 h 764"/>
                <a:gd name="T30" fmla="*/ 450 w 3678"/>
                <a:gd name="T31" fmla="*/ 499 h 764"/>
                <a:gd name="T32" fmla="*/ 494 w 3678"/>
                <a:gd name="T33" fmla="*/ 449 h 764"/>
                <a:gd name="T34" fmla="*/ 553 w 3678"/>
                <a:gd name="T35" fmla="*/ 447 h 764"/>
                <a:gd name="T36" fmla="*/ 659 w 3678"/>
                <a:gd name="T37" fmla="*/ 459 h 764"/>
                <a:gd name="T38" fmla="*/ 729 w 3678"/>
                <a:gd name="T39" fmla="*/ 469 h 764"/>
                <a:gd name="T40" fmla="*/ 740 w 3678"/>
                <a:gd name="T41" fmla="*/ 426 h 764"/>
                <a:gd name="T42" fmla="*/ 763 w 3678"/>
                <a:gd name="T43" fmla="*/ 393 h 764"/>
                <a:gd name="T44" fmla="*/ 769 w 3678"/>
                <a:gd name="T45" fmla="*/ 361 h 764"/>
                <a:gd name="T46" fmla="*/ 832 w 3678"/>
                <a:gd name="T47" fmla="*/ 351 h 764"/>
                <a:gd name="T48" fmla="*/ 882 w 3678"/>
                <a:gd name="T49" fmla="*/ 341 h 764"/>
                <a:gd name="T50" fmla="*/ 956 w 3678"/>
                <a:gd name="T51" fmla="*/ 316 h 764"/>
                <a:gd name="T52" fmla="*/ 1012 w 3678"/>
                <a:gd name="T53" fmla="*/ 359 h 764"/>
                <a:gd name="T54" fmla="*/ 1073 w 3678"/>
                <a:gd name="T55" fmla="*/ 377 h 764"/>
                <a:gd name="T56" fmla="*/ 1234 w 3678"/>
                <a:gd name="T57" fmla="*/ 464 h 764"/>
                <a:gd name="T58" fmla="*/ 1271 w 3678"/>
                <a:gd name="T59" fmla="*/ 470 h 764"/>
                <a:gd name="T60" fmla="*/ 1351 w 3678"/>
                <a:gd name="T61" fmla="*/ 499 h 764"/>
                <a:gd name="T62" fmla="*/ 1423 w 3678"/>
                <a:gd name="T63" fmla="*/ 517 h 764"/>
                <a:gd name="T64" fmla="*/ 1475 w 3678"/>
                <a:gd name="T65" fmla="*/ 492 h 764"/>
                <a:gd name="T66" fmla="*/ 1583 w 3678"/>
                <a:gd name="T67" fmla="*/ 486 h 764"/>
                <a:gd name="T68" fmla="*/ 1670 w 3678"/>
                <a:gd name="T69" fmla="*/ 488 h 764"/>
                <a:gd name="T70" fmla="*/ 1731 w 3678"/>
                <a:gd name="T71" fmla="*/ 439 h 764"/>
                <a:gd name="T72" fmla="*/ 1867 w 3678"/>
                <a:gd name="T73" fmla="*/ 483 h 764"/>
                <a:gd name="T74" fmla="*/ 2054 w 3678"/>
                <a:gd name="T75" fmla="*/ 493 h 764"/>
                <a:gd name="T76" fmla="*/ 2190 w 3678"/>
                <a:gd name="T77" fmla="*/ 488 h 764"/>
                <a:gd name="T78" fmla="*/ 2232 w 3678"/>
                <a:gd name="T79" fmla="*/ 387 h 764"/>
                <a:gd name="T80" fmla="*/ 2348 w 3678"/>
                <a:gd name="T81" fmla="*/ 395 h 764"/>
                <a:gd name="T82" fmla="*/ 2396 w 3678"/>
                <a:gd name="T83" fmla="*/ 487 h 764"/>
                <a:gd name="T84" fmla="*/ 2478 w 3678"/>
                <a:gd name="T85" fmla="*/ 561 h 764"/>
                <a:gd name="T86" fmla="*/ 2576 w 3678"/>
                <a:gd name="T87" fmla="*/ 570 h 764"/>
                <a:gd name="T88" fmla="*/ 2535 w 3678"/>
                <a:gd name="T89" fmla="*/ 644 h 764"/>
                <a:gd name="T90" fmla="*/ 2476 w 3678"/>
                <a:gd name="T91" fmla="*/ 724 h 764"/>
                <a:gd name="T92" fmla="*/ 2606 w 3678"/>
                <a:gd name="T93" fmla="*/ 670 h 764"/>
                <a:gd name="T94" fmla="*/ 2732 w 3678"/>
                <a:gd name="T95" fmla="*/ 400 h 764"/>
                <a:gd name="T96" fmla="*/ 2635 w 3678"/>
                <a:gd name="T97" fmla="*/ 366 h 764"/>
                <a:gd name="T98" fmla="*/ 2720 w 3678"/>
                <a:gd name="T99" fmla="*/ 218 h 764"/>
                <a:gd name="T100" fmla="*/ 2906 w 3678"/>
                <a:gd name="T101" fmla="*/ 176 h 764"/>
                <a:gd name="T102" fmla="*/ 3006 w 3678"/>
                <a:gd name="T103" fmla="*/ 190 h 764"/>
                <a:gd name="T104" fmla="*/ 3055 w 3678"/>
                <a:gd name="T105" fmla="*/ 159 h 764"/>
                <a:gd name="T106" fmla="*/ 3195 w 3678"/>
                <a:gd name="T107" fmla="*/ 100 h 764"/>
                <a:gd name="T108" fmla="*/ 3308 w 3678"/>
                <a:gd name="T109" fmla="*/ 55 h 764"/>
                <a:gd name="T110" fmla="*/ 3151 w 3678"/>
                <a:gd name="T111" fmla="*/ 226 h 764"/>
                <a:gd name="T112" fmla="*/ 3157 w 3678"/>
                <a:gd name="T113" fmla="*/ 413 h 764"/>
                <a:gd name="T114" fmla="*/ 3242 w 3678"/>
                <a:gd name="T115" fmla="*/ 300 h 764"/>
                <a:gd name="T116" fmla="*/ 3272 w 3678"/>
                <a:gd name="T117" fmla="*/ 185 h 764"/>
                <a:gd name="T118" fmla="*/ 3419 w 3678"/>
                <a:gd name="T119" fmla="*/ 132 h 764"/>
                <a:gd name="T120" fmla="*/ 3514 w 3678"/>
                <a:gd name="T121" fmla="*/ 101 h 764"/>
                <a:gd name="T122" fmla="*/ 3677 w 3678"/>
                <a:gd name="T123" fmla="*/ 52 h 7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78" h="764">
                  <a:moveTo>
                    <a:pt x="158" y="643"/>
                  </a:moveTo>
                  <a:cubicBezTo>
                    <a:pt x="157" y="643"/>
                    <a:pt x="157" y="644"/>
                    <a:pt x="157" y="644"/>
                  </a:cubicBezTo>
                  <a:cubicBezTo>
                    <a:pt x="157" y="644"/>
                    <a:pt x="157" y="643"/>
                    <a:pt x="158" y="643"/>
                  </a:cubicBezTo>
                  <a:moveTo>
                    <a:pt x="671" y="467"/>
                  </a:moveTo>
                  <a:cubicBezTo>
                    <a:pt x="671" y="467"/>
                    <a:pt x="671" y="467"/>
                    <a:pt x="671" y="467"/>
                  </a:cubicBezTo>
                  <a:cubicBezTo>
                    <a:pt x="671" y="467"/>
                    <a:pt x="671" y="467"/>
                    <a:pt x="671" y="467"/>
                  </a:cubicBezTo>
                  <a:moveTo>
                    <a:pt x="3456" y="141"/>
                  </a:moveTo>
                  <a:cubicBezTo>
                    <a:pt x="3456" y="141"/>
                    <a:pt x="3456" y="141"/>
                    <a:pt x="3456" y="141"/>
                  </a:cubicBezTo>
                  <a:cubicBezTo>
                    <a:pt x="3456" y="141"/>
                    <a:pt x="3456" y="141"/>
                    <a:pt x="3456" y="141"/>
                  </a:cubicBezTo>
                  <a:moveTo>
                    <a:pt x="1959" y="306"/>
                  </a:moveTo>
                  <a:cubicBezTo>
                    <a:pt x="1957" y="305"/>
                    <a:pt x="1956" y="305"/>
                    <a:pt x="1954" y="305"/>
                  </a:cubicBezTo>
                  <a:cubicBezTo>
                    <a:pt x="1954" y="305"/>
                    <a:pt x="1954" y="305"/>
                    <a:pt x="1955" y="305"/>
                  </a:cubicBezTo>
                  <a:cubicBezTo>
                    <a:pt x="1958" y="305"/>
                    <a:pt x="1961" y="306"/>
                    <a:pt x="1962" y="309"/>
                  </a:cubicBezTo>
                  <a:cubicBezTo>
                    <a:pt x="1961" y="311"/>
                    <a:pt x="1960" y="311"/>
                    <a:pt x="1960" y="313"/>
                  </a:cubicBezTo>
                  <a:cubicBezTo>
                    <a:pt x="1960" y="314"/>
                    <a:pt x="1961" y="315"/>
                    <a:pt x="1961" y="316"/>
                  </a:cubicBezTo>
                  <a:cubicBezTo>
                    <a:pt x="1960" y="316"/>
                    <a:pt x="1960" y="316"/>
                    <a:pt x="1960" y="316"/>
                  </a:cubicBezTo>
                  <a:cubicBezTo>
                    <a:pt x="1959" y="317"/>
                    <a:pt x="1959" y="318"/>
                    <a:pt x="1959" y="319"/>
                  </a:cubicBezTo>
                  <a:cubicBezTo>
                    <a:pt x="1958" y="321"/>
                    <a:pt x="1959" y="322"/>
                    <a:pt x="1958" y="324"/>
                  </a:cubicBezTo>
                  <a:cubicBezTo>
                    <a:pt x="1958" y="325"/>
                    <a:pt x="1957" y="325"/>
                    <a:pt x="1957" y="326"/>
                  </a:cubicBezTo>
                  <a:cubicBezTo>
                    <a:pt x="1957" y="327"/>
                    <a:pt x="1958" y="329"/>
                    <a:pt x="1958" y="330"/>
                  </a:cubicBezTo>
                  <a:cubicBezTo>
                    <a:pt x="1957" y="331"/>
                    <a:pt x="1957" y="333"/>
                    <a:pt x="1956" y="334"/>
                  </a:cubicBezTo>
                  <a:cubicBezTo>
                    <a:pt x="1956" y="336"/>
                    <a:pt x="1955" y="337"/>
                    <a:pt x="1954" y="338"/>
                  </a:cubicBezTo>
                  <a:cubicBezTo>
                    <a:pt x="1954" y="341"/>
                    <a:pt x="1954" y="341"/>
                    <a:pt x="1953" y="343"/>
                  </a:cubicBezTo>
                  <a:cubicBezTo>
                    <a:pt x="1952" y="345"/>
                    <a:pt x="1952" y="345"/>
                    <a:pt x="1951" y="347"/>
                  </a:cubicBezTo>
                  <a:cubicBezTo>
                    <a:pt x="1951" y="349"/>
                    <a:pt x="1951" y="351"/>
                    <a:pt x="1951" y="354"/>
                  </a:cubicBezTo>
                  <a:cubicBezTo>
                    <a:pt x="1951" y="358"/>
                    <a:pt x="1952" y="361"/>
                    <a:pt x="1950" y="366"/>
                  </a:cubicBezTo>
                  <a:cubicBezTo>
                    <a:pt x="1948" y="368"/>
                    <a:pt x="1945" y="378"/>
                    <a:pt x="1941" y="379"/>
                  </a:cubicBezTo>
                  <a:cubicBezTo>
                    <a:pt x="1941" y="379"/>
                    <a:pt x="1940" y="379"/>
                    <a:pt x="1940" y="379"/>
                  </a:cubicBezTo>
                  <a:cubicBezTo>
                    <a:pt x="1938" y="379"/>
                    <a:pt x="1941" y="376"/>
                    <a:pt x="1940" y="374"/>
                  </a:cubicBezTo>
                  <a:cubicBezTo>
                    <a:pt x="1939" y="373"/>
                    <a:pt x="1938" y="373"/>
                    <a:pt x="1937" y="373"/>
                  </a:cubicBezTo>
                  <a:cubicBezTo>
                    <a:pt x="1933" y="373"/>
                    <a:pt x="1928" y="380"/>
                    <a:pt x="1927" y="383"/>
                  </a:cubicBezTo>
                  <a:cubicBezTo>
                    <a:pt x="1929" y="382"/>
                    <a:pt x="1932" y="379"/>
                    <a:pt x="1935" y="379"/>
                  </a:cubicBezTo>
                  <a:cubicBezTo>
                    <a:pt x="1935" y="379"/>
                    <a:pt x="1936" y="379"/>
                    <a:pt x="1936" y="380"/>
                  </a:cubicBezTo>
                  <a:cubicBezTo>
                    <a:pt x="1938" y="381"/>
                    <a:pt x="1939" y="386"/>
                    <a:pt x="1938" y="388"/>
                  </a:cubicBezTo>
                  <a:cubicBezTo>
                    <a:pt x="1937" y="389"/>
                    <a:pt x="1934" y="390"/>
                    <a:pt x="1932" y="390"/>
                  </a:cubicBezTo>
                  <a:cubicBezTo>
                    <a:pt x="1930" y="391"/>
                    <a:pt x="1927" y="392"/>
                    <a:pt x="1925" y="393"/>
                  </a:cubicBezTo>
                  <a:cubicBezTo>
                    <a:pt x="1922" y="396"/>
                    <a:pt x="1919" y="400"/>
                    <a:pt x="1917" y="403"/>
                  </a:cubicBezTo>
                  <a:cubicBezTo>
                    <a:pt x="1913" y="407"/>
                    <a:pt x="1910" y="409"/>
                    <a:pt x="1905" y="409"/>
                  </a:cubicBezTo>
                  <a:cubicBezTo>
                    <a:pt x="1898" y="410"/>
                    <a:pt x="1892" y="417"/>
                    <a:pt x="1886" y="421"/>
                  </a:cubicBezTo>
                  <a:cubicBezTo>
                    <a:pt x="1885" y="422"/>
                    <a:pt x="1884" y="422"/>
                    <a:pt x="1882" y="422"/>
                  </a:cubicBezTo>
                  <a:cubicBezTo>
                    <a:pt x="1882" y="422"/>
                    <a:pt x="1881" y="422"/>
                    <a:pt x="1880" y="422"/>
                  </a:cubicBezTo>
                  <a:cubicBezTo>
                    <a:pt x="1879" y="421"/>
                    <a:pt x="1878" y="421"/>
                    <a:pt x="1877" y="421"/>
                  </a:cubicBezTo>
                  <a:cubicBezTo>
                    <a:pt x="1876" y="421"/>
                    <a:pt x="1876" y="421"/>
                    <a:pt x="1875" y="422"/>
                  </a:cubicBezTo>
                  <a:cubicBezTo>
                    <a:pt x="1872" y="422"/>
                    <a:pt x="1871" y="423"/>
                    <a:pt x="1871" y="425"/>
                  </a:cubicBezTo>
                  <a:cubicBezTo>
                    <a:pt x="1871" y="428"/>
                    <a:pt x="1872" y="427"/>
                    <a:pt x="1870" y="430"/>
                  </a:cubicBezTo>
                  <a:cubicBezTo>
                    <a:pt x="1869" y="432"/>
                    <a:pt x="1868" y="433"/>
                    <a:pt x="1867" y="435"/>
                  </a:cubicBezTo>
                  <a:cubicBezTo>
                    <a:pt x="1864" y="440"/>
                    <a:pt x="1863" y="441"/>
                    <a:pt x="1859" y="442"/>
                  </a:cubicBezTo>
                  <a:cubicBezTo>
                    <a:pt x="1849" y="445"/>
                    <a:pt x="1839" y="449"/>
                    <a:pt x="1828" y="449"/>
                  </a:cubicBezTo>
                  <a:cubicBezTo>
                    <a:pt x="1826" y="449"/>
                    <a:pt x="1824" y="449"/>
                    <a:pt x="1822" y="449"/>
                  </a:cubicBezTo>
                  <a:cubicBezTo>
                    <a:pt x="1819" y="448"/>
                    <a:pt x="1817" y="447"/>
                    <a:pt x="1814" y="446"/>
                  </a:cubicBezTo>
                  <a:cubicBezTo>
                    <a:pt x="1813" y="445"/>
                    <a:pt x="1810" y="445"/>
                    <a:pt x="1809" y="444"/>
                  </a:cubicBezTo>
                  <a:cubicBezTo>
                    <a:pt x="1807" y="441"/>
                    <a:pt x="1815" y="441"/>
                    <a:pt x="1818" y="440"/>
                  </a:cubicBezTo>
                  <a:cubicBezTo>
                    <a:pt x="1831" y="438"/>
                    <a:pt x="1847" y="437"/>
                    <a:pt x="1857" y="426"/>
                  </a:cubicBezTo>
                  <a:cubicBezTo>
                    <a:pt x="1861" y="420"/>
                    <a:pt x="1865" y="415"/>
                    <a:pt x="1872" y="412"/>
                  </a:cubicBezTo>
                  <a:cubicBezTo>
                    <a:pt x="1875" y="412"/>
                    <a:pt x="1876" y="411"/>
                    <a:pt x="1878" y="409"/>
                  </a:cubicBezTo>
                  <a:cubicBezTo>
                    <a:pt x="1880" y="408"/>
                    <a:pt x="1887" y="402"/>
                    <a:pt x="1883" y="399"/>
                  </a:cubicBezTo>
                  <a:cubicBezTo>
                    <a:pt x="1896" y="388"/>
                    <a:pt x="1912" y="380"/>
                    <a:pt x="1921" y="365"/>
                  </a:cubicBezTo>
                  <a:cubicBezTo>
                    <a:pt x="1928" y="352"/>
                    <a:pt x="1936" y="339"/>
                    <a:pt x="1941" y="325"/>
                  </a:cubicBezTo>
                  <a:cubicBezTo>
                    <a:pt x="1942" y="319"/>
                    <a:pt x="1943" y="314"/>
                    <a:pt x="1947" y="310"/>
                  </a:cubicBezTo>
                  <a:cubicBezTo>
                    <a:pt x="1950" y="308"/>
                    <a:pt x="1951" y="305"/>
                    <a:pt x="1954" y="305"/>
                  </a:cubicBezTo>
                  <a:cubicBezTo>
                    <a:pt x="1954" y="305"/>
                    <a:pt x="1955" y="305"/>
                    <a:pt x="1955" y="305"/>
                  </a:cubicBezTo>
                  <a:cubicBezTo>
                    <a:pt x="1956" y="306"/>
                    <a:pt x="1957" y="306"/>
                    <a:pt x="1959" y="306"/>
                  </a:cubicBezTo>
                  <a:moveTo>
                    <a:pt x="117" y="63"/>
                  </a:moveTo>
                  <a:cubicBezTo>
                    <a:pt x="116" y="62"/>
                    <a:pt x="115" y="61"/>
                    <a:pt x="115" y="59"/>
                  </a:cubicBezTo>
                  <a:cubicBezTo>
                    <a:pt x="115" y="59"/>
                    <a:pt x="115" y="59"/>
                    <a:pt x="115" y="59"/>
                  </a:cubicBezTo>
                  <a:cubicBezTo>
                    <a:pt x="115" y="60"/>
                    <a:pt x="116" y="62"/>
                    <a:pt x="117" y="63"/>
                  </a:cubicBezTo>
                  <a:moveTo>
                    <a:pt x="115" y="59"/>
                  </a:moveTo>
                  <a:cubicBezTo>
                    <a:pt x="114" y="59"/>
                    <a:pt x="113" y="58"/>
                    <a:pt x="112" y="57"/>
                  </a:cubicBezTo>
                  <a:cubicBezTo>
                    <a:pt x="110" y="56"/>
                    <a:pt x="109" y="55"/>
                    <a:pt x="108" y="53"/>
                  </a:cubicBezTo>
                  <a:cubicBezTo>
                    <a:pt x="106" y="51"/>
                    <a:pt x="106" y="50"/>
                    <a:pt x="105" y="48"/>
                  </a:cubicBezTo>
                  <a:cubicBezTo>
                    <a:pt x="105" y="48"/>
                    <a:pt x="102" y="47"/>
                    <a:pt x="103" y="46"/>
                  </a:cubicBezTo>
                  <a:cubicBezTo>
                    <a:pt x="103" y="45"/>
                    <a:pt x="103" y="45"/>
                    <a:pt x="104" y="45"/>
                  </a:cubicBezTo>
                  <a:cubicBezTo>
                    <a:pt x="105" y="45"/>
                    <a:pt x="108" y="47"/>
                    <a:pt x="109" y="48"/>
                  </a:cubicBezTo>
                  <a:cubicBezTo>
                    <a:pt x="117" y="52"/>
                    <a:pt x="125" y="56"/>
                    <a:pt x="134" y="60"/>
                  </a:cubicBezTo>
                  <a:cubicBezTo>
                    <a:pt x="136" y="62"/>
                    <a:pt x="137" y="70"/>
                    <a:pt x="135" y="73"/>
                  </a:cubicBezTo>
                  <a:cubicBezTo>
                    <a:pt x="135" y="75"/>
                    <a:pt x="131" y="77"/>
                    <a:pt x="133" y="79"/>
                  </a:cubicBezTo>
                  <a:cubicBezTo>
                    <a:pt x="139" y="86"/>
                    <a:pt x="144" y="94"/>
                    <a:pt x="150" y="101"/>
                  </a:cubicBezTo>
                  <a:cubicBezTo>
                    <a:pt x="153" y="104"/>
                    <a:pt x="149" y="104"/>
                    <a:pt x="150" y="109"/>
                  </a:cubicBezTo>
                  <a:cubicBezTo>
                    <a:pt x="150" y="110"/>
                    <a:pt x="151" y="111"/>
                    <a:pt x="152" y="111"/>
                  </a:cubicBezTo>
                  <a:cubicBezTo>
                    <a:pt x="148" y="115"/>
                    <a:pt x="143" y="118"/>
                    <a:pt x="138" y="121"/>
                  </a:cubicBezTo>
                  <a:cubicBezTo>
                    <a:pt x="140" y="121"/>
                    <a:pt x="140" y="122"/>
                    <a:pt x="138" y="122"/>
                  </a:cubicBezTo>
                  <a:cubicBezTo>
                    <a:pt x="138" y="122"/>
                    <a:pt x="138" y="122"/>
                    <a:pt x="137" y="122"/>
                  </a:cubicBezTo>
                  <a:cubicBezTo>
                    <a:pt x="135" y="122"/>
                    <a:pt x="129" y="121"/>
                    <a:pt x="129" y="120"/>
                  </a:cubicBezTo>
                  <a:cubicBezTo>
                    <a:pt x="129" y="119"/>
                    <a:pt x="129" y="118"/>
                    <a:pt x="128" y="117"/>
                  </a:cubicBezTo>
                  <a:cubicBezTo>
                    <a:pt x="129" y="117"/>
                    <a:pt x="129" y="117"/>
                    <a:pt x="129" y="117"/>
                  </a:cubicBezTo>
                  <a:cubicBezTo>
                    <a:pt x="130" y="117"/>
                    <a:pt x="130" y="117"/>
                    <a:pt x="131" y="116"/>
                  </a:cubicBezTo>
                  <a:cubicBezTo>
                    <a:pt x="133" y="114"/>
                    <a:pt x="133" y="112"/>
                    <a:pt x="130" y="110"/>
                  </a:cubicBezTo>
                  <a:cubicBezTo>
                    <a:pt x="127" y="107"/>
                    <a:pt x="123" y="104"/>
                    <a:pt x="119" y="101"/>
                  </a:cubicBezTo>
                  <a:cubicBezTo>
                    <a:pt x="116" y="98"/>
                    <a:pt x="113" y="98"/>
                    <a:pt x="110" y="96"/>
                  </a:cubicBezTo>
                  <a:cubicBezTo>
                    <a:pt x="106" y="94"/>
                    <a:pt x="104" y="90"/>
                    <a:pt x="100" y="87"/>
                  </a:cubicBezTo>
                  <a:cubicBezTo>
                    <a:pt x="101" y="87"/>
                    <a:pt x="102" y="87"/>
                    <a:pt x="102" y="87"/>
                  </a:cubicBezTo>
                  <a:cubicBezTo>
                    <a:pt x="103" y="87"/>
                    <a:pt x="105" y="88"/>
                    <a:pt x="105" y="89"/>
                  </a:cubicBezTo>
                  <a:cubicBezTo>
                    <a:pt x="106" y="86"/>
                    <a:pt x="105" y="82"/>
                    <a:pt x="104" y="79"/>
                  </a:cubicBezTo>
                  <a:cubicBezTo>
                    <a:pt x="104" y="78"/>
                    <a:pt x="101" y="78"/>
                    <a:pt x="100" y="76"/>
                  </a:cubicBezTo>
                  <a:cubicBezTo>
                    <a:pt x="97" y="74"/>
                    <a:pt x="99" y="73"/>
                    <a:pt x="98" y="70"/>
                  </a:cubicBezTo>
                  <a:cubicBezTo>
                    <a:pt x="98" y="69"/>
                    <a:pt x="94" y="65"/>
                    <a:pt x="94" y="65"/>
                  </a:cubicBezTo>
                  <a:cubicBezTo>
                    <a:pt x="94" y="65"/>
                    <a:pt x="93" y="65"/>
                    <a:pt x="93" y="65"/>
                  </a:cubicBezTo>
                  <a:cubicBezTo>
                    <a:pt x="93" y="65"/>
                    <a:pt x="92" y="65"/>
                    <a:pt x="92" y="65"/>
                  </a:cubicBezTo>
                  <a:cubicBezTo>
                    <a:pt x="92" y="65"/>
                    <a:pt x="92" y="65"/>
                    <a:pt x="92" y="65"/>
                  </a:cubicBezTo>
                  <a:cubicBezTo>
                    <a:pt x="91" y="65"/>
                    <a:pt x="91" y="65"/>
                    <a:pt x="91" y="65"/>
                  </a:cubicBezTo>
                  <a:cubicBezTo>
                    <a:pt x="90" y="65"/>
                    <a:pt x="90" y="63"/>
                    <a:pt x="90" y="62"/>
                  </a:cubicBezTo>
                  <a:cubicBezTo>
                    <a:pt x="90" y="61"/>
                    <a:pt x="90" y="61"/>
                    <a:pt x="90" y="61"/>
                  </a:cubicBezTo>
                  <a:cubicBezTo>
                    <a:pt x="93" y="63"/>
                    <a:pt x="95" y="66"/>
                    <a:pt x="98" y="68"/>
                  </a:cubicBezTo>
                  <a:cubicBezTo>
                    <a:pt x="99" y="69"/>
                    <a:pt x="100" y="69"/>
                    <a:pt x="101" y="70"/>
                  </a:cubicBezTo>
                  <a:cubicBezTo>
                    <a:pt x="101" y="71"/>
                    <a:pt x="99" y="71"/>
                    <a:pt x="99" y="72"/>
                  </a:cubicBezTo>
                  <a:cubicBezTo>
                    <a:pt x="100" y="76"/>
                    <a:pt x="106" y="77"/>
                    <a:pt x="109" y="79"/>
                  </a:cubicBezTo>
                  <a:cubicBezTo>
                    <a:pt x="108" y="77"/>
                    <a:pt x="107" y="74"/>
                    <a:pt x="106" y="72"/>
                  </a:cubicBezTo>
                  <a:cubicBezTo>
                    <a:pt x="107" y="73"/>
                    <a:pt x="108" y="73"/>
                    <a:pt x="109" y="74"/>
                  </a:cubicBezTo>
                  <a:cubicBezTo>
                    <a:pt x="109" y="71"/>
                    <a:pt x="106" y="66"/>
                    <a:pt x="103" y="64"/>
                  </a:cubicBezTo>
                  <a:cubicBezTo>
                    <a:pt x="106" y="66"/>
                    <a:pt x="108" y="69"/>
                    <a:pt x="111" y="70"/>
                  </a:cubicBezTo>
                  <a:cubicBezTo>
                    <a:pt x="110" y="66"/>
                    <a:pt x="104" y="63"/>
                    <a:pt x="103" y="59"/>
                  </a:cubicBezTo>
                  <a:cubicBezTo>
                    <a:pt x="107" y="60"/>
                    <a:pt x="111" y="65"/>
                    <a:pt x="112" y="69"/>
                  </a:cubicBezTo>
                  <a:cubicBezTo>
                    <a:pt x="113" y="71"/>
                    <a:pt x="113" y="73"/>
                    <a:pt x="115" y="75"/>
                  </a:cubicBezTo>
                  <a:cubicBezTo>
                    <a:pt x="115" y="76"/>
                    <a:pt x="118" y="79"/>
                    <a:pt x="119" y="79"/>
                  </a:cubicBezTo>
                  <a:cubicBezTo>
                    <a:pt x="120" y="79"/>
                    <a:pt x="120" y="79"/>
                    <a:pt x="120" y="79"/>
                  </a:cubicBezTo>
                  <a:cubicBezTo>
                    <a:pt x="122" y="77"/>
                    <a:pt x="117" y="73"/>
                    <a:pt x="117" y="71"/>
                  </a:cubicBezTo>
                  <a:cubicBezTo>
                    <a:pt x="119" y="72"/>
                    <a:pt x="120" y="73"/>
                    <a:pt x="122" y="74"/>
                  </a:cubicBezTo>
                  <a:cubicBezTo>
                    <a:pt x="123" y="74"/>
                    <a:pt x="124" y="74"/>
                    <a:pt x="125" y="75"/>
                  </a:cubicBezTo>
                  <a:cubicBezTo>
                    <a:pt x="127" y="72"/>
                    <a:pt x="130" y="66"/>
                    <a:pt x="127" y="62"/>
                  </a:cubicBezTo>
                  <a:cubicBezTo>
                    <a:pt x="127" y="61"/>
                    <a:pt x="126" y="60"/>
                    <a:pt x="125" y="60"/>
                  </a:cubicBezTo>
                  <a:cubicBezTo>
                    <a:pt x="125" y="59"/>
                    <a:pt x="125" y="59"/>
                    <a:pt x="124" y="58"/>
                  </a:cubicBezTo>
                  <a:cubicBezTo>
                    <a:pt x="124" y="58"/>
                    <a:pt x="124" y="58"/>
                    <a:pt x="124" y="58"/>
                  </a:cubicBezTo>
                  <a:cubicBezTo>
                    <a:pt x="124" y="58"/>
                    <a:pt x="123" y="59"/>
                    <a:pt x="122" y="60"/>
                  </a:cubicBezTo>
                  <a:cubicBezTo>
                    <a:pt x="122" y="60"/>
                    <a:pt x="122" y="60"/>
                    <a:pt x="122" y="60"/>
                  </a:cubicBezTo>
                  <a:cubicBezTo>
                    <a:pt x="120" y="60"/>
                    <a:pt x="119" y="58"/>
                    <a:pt x="118" y="57"/>
                  </a:cubicBezTo>
                  <a:cubicBezTo>
                    <a:pt x="117" y="56"/>
                    <a:pt x="116" y="55"/>
                    <a:pt x="115" y="55"/>
                  </a:cubicBezTo>
                  <a:cubicBezTo>
                    <a:pt x="115" y="55"/>
                    <a:pt x="115" y="55"/>
                    <a:pt x="115" y="55"/>
                  </a:cubicBezTo>
                  <a:cubicBezTo>
                    <a:pt x="113" y="55"/>
                    <a:pt x="114" y="57"/>
                    <a:pt x="115" y="59"/>
                  </a:cubicBezTo>
                  <a:moveTo>
                    <a:pt x="3651" y="0"/>
                  </a:moveTo>
                  <a:cubicBezTo>
                    <a:pt x="192" y="0"/>
                    <a:pt x="192" y="0"/>
                    <a:pt x="192" y="0"/>
                  </a:cubicBezTo>
                  <a:cubicBezTo>
                    <a:pt x="192" y="0"/>
                    <a:pt x="192" y="1"/>
                    <a:pt x="192" y="1"/>
                  </a:cubicBezTo>
                  <a:cubicBezTo>
                    <a:pt x="191" y="3"/>
                    <a:pt x="188" y="5"/>
                    <a:pt x="186" y="6"/>
                  </a:cubicBezTo>
                  <a:cubicBezTo>
                    <a:pt x="184" y="6"/>
                    <a:pt x="183" y="6"/>
                    <a:pt x="181" y="6"/>
                  </a:cubicBezTo>
                  <a:cubicBezTo>
                    <a:pt x="180" y="7"/>
                    <a:pt x="181" y="7"/>
                    <a:pt x="180" y="8"/>
                  </a:cubicBezTo>
                  <a:cubicBezTo>
                    <a:pt x="178" y="9"/>
                    <a:pt x="178" y="10"/>
                    <a:pt x="176" y="10"/>
                  </a:cubicBezTo>
                  <a:cubicBezTo>
                    <a:pt x="176" y="10"/>
                    <a:pt x="175" y="10"/>
                    <a:pt x="174" y="10"/>
                  </a:cubicBezTo>
                  <a:cubicBezTo>
                    <a:pt x="170" y="9"/>
                    <a:pt x="165" y="7"/>
                    <a:pt x="160" y="6"/>
                  </a:cubicBezTo>
                  <a:cubicBezTo>
                    <a:pt x="155" y="4"/>
                    <a:pt x="153" y="3"/>
                    <a:pt x="150" y="0"/>
                  </a:cubicBezTo>
                  <a:cubicBezTo>
                    <a:pt x="11" y="0"/>
                    <a:pt x="11" y="0"/>
                    <a:pt x="11" y="0"/>
                  </a:cubicBezTo>
                  <a:cubicBezTo>
                    <a:pt x="10" y="2"/>
                    <a:pt x="9" y="4"/>
                    <a:pt x="8" y="5"/>
                  </a:cubicBezTo>
                  <a:cubicBezTo>
                    <a:pt x="6" y="6"/>
                    <a:pt x="6" y="6"/>
                    <a:pt x="6" y="6"/>
                  </a:cubicBezTo>
                  <a:cubicBezTo>
                    <a:pt x="4" y="9"/>
                    <a:pt x="2" y="10"/>
                    <a:pt x="0" y="12"/>
                  </a:cubicBezTo>
                  <a:cubicBezTo>
                    <a:pt x="0" y="13"/>
                    <a:pt x="0" y="13"/>
                    <a:pt x="0" y="13"/>
                  </a:cubicBezTo>
                  <a:cubicBezTo>
                    <a:pt x="1" y="14"/>
                    <a:pt x="3" y="15"/>
                    <a:pt x="4" y="16"/>
                  </a:cubicBezTo>
                  <a:cubicBezTo>
                    <a:pt x="14" y="22"/>
                    <a:pt x="24" y="28"/>
                    <a:pt x="30" y="37"/>
                  </a:cubicBezTo>
                  <a:cubicBezTo>
                    <a:pt x="31" y="38"/>
                    <a:pt x="31" y="39"/>
                    <a:pt x="32" y="39"/>
                  </a:cubicBezTo>
                  <a:cubicBezTo>
                    <a:pt x="32" y="39"/>
                    <a:pt x="32" y="39"/>
                    <a:pt x="32" y="39"/>
                  </a:cubicBezTo>
                  <a:cubicBezTo>
                    <a:pt x="34" y="42"/>
                    <a:pt x="36" y="44"/>
                    <a:pt x="33" y="49"/>
                  </a:cubicBezTo>
                  <a:cubicBezTo>
                    <a:pt x="32" y="51"/>
                    <a:pt x="31" y="53"/>
                    <a:pt x="30" y="54"/>
                  </a:cubicBezTo>
                  <a:cubicBezTo>
                    <a:pt x="30" y="57"/>
                    <a:pt x="29" y="59"/>
                    <a:pt x="27" y="61"/>
                  </a:cubicBezTo>
                  <a:cubicBezTo>
                    <a:pt x="25" y="64"/>
                    <a:pt x="22" y="66"/>
                    <a:pt x="20" y="68"/>
                  </a:cubicBezTo>
                  <a:cubicBezTo>
                    <a:pt x="19" y="69"/>
                    <a:pt x="18" y="70"/>
                    <a:pt x="17" y="71"/>
                  </a:cubicBezTo>
                  <a:cubicBezTo>
                    <a:pt x="12" y="75"/>
                    <a:pt x="7" y="79"/>
                    <a:pt x="3" y="83"/>
                  </a:cubicBezTo>
                  <a:cubicBezTo>
                    <a:pt x="2" y="84"/>
                    <a:pt x="1" y="86"/>
                    <a:pt x="0" y="87"/>
                  </a:cubicBezTo>
                  <a:cubicBezTo>
                    <a:pt x="0" y="98"/>
                    <a:pt x="0" y="98"/>
                    <a:pt x="0" y="98"/>
                  </a:cubicBezTo>
                  <a:cubicBezTo>
                    <a:pt x="1" y="98"/>
                    <a:pt x="3" y="98"/>
                    <a:pt x="4" y="98"/>
                  </a:cubicBezTo>
                  <a:cubicBezTo>
                    <a:pt x="5" y="98"/>
                    <a:pt x="5" y="98"/>
                    <a:pt x="5" y="98"/>
                  </a:cubicBezTo>
                  <a:cubicBezTo>
                    <a:pt x="6" y="98"/>
                    <a:pt x="6" y="98"/>
                    <a:pt x="6" y="98"/>
                  </a:cubicBezTo>
                  <a:cubicBezTo>
                    <a:pt x="7" y="98"/>
                    <a:pt x="7" y="98"/>
                    <a:pt x="7" y="98"/>
                  </a:cubicBezTo>
                  <a:cubicBezTo>
                    <a:pt x="9" y="98"/>
                    <a:pt x="12" y="91"/>
                    <a:pt x="13" y="89"/>
                  </a:cubicBezTo>
                  <a:cubicBezTo>
                    <a:pt x="13" y="89"/>
                    <a:pt x="14" y="89"/>
                    <a:pt x="14" y="89"/>
                  </a:cubicBezTo>
                  <a:cubicBezTo>
                    <a:pt x="15" y="89"/>
                    <a:pt x="17" y="91"/>
                    <a:pt x="18" y="91"/>
                  </a:cubicBezTo>
                  <a:cubicBezTo>
                    <a:pt x="26" y="96"/>
                    <a:pt x="35" y="101"/>
                    <a:pt x="43" y="107"/>
                  </a:cubicBezTo>
                  <a:cubicBezTo>
                    <a:pt x="49" y="110"/>
                    <a:pt x="51" y="113"/>
                    <a:pt x="56" y="118"/>
                  </a:cubicBezTo>
                  <a:cubicBezTo>
                    <a:pt x="58" y="122"/>
                    <a:pt x="61" y="125"/>
                    <a:pt x="64" y="129"/>
                  </a:cubicBezTo>
                  <a:cubicBezTo>
                    <a:pt x="65" y="130"/>
                    <a:pt x="63" y="135"/>
                    <a:pt x="62" y="137"/>
                  </a:cubicBezTo>
                  <a:cubicBezTo>
                    <a:pt x="61" y="136"/>
                    <a:pt x="60" y="136"/>
                    <a:pt x="59" y="136"/>
                  </a:cubicBezTo>
                  <a:cubicBezTo>
                    <a:pt x="58" y="136"/>
                    <a:pt x="58" y="136"/>
                    <a:pt x="59" y="138"/>
                  </a:cubicBezTo>
                  <a:cubicBezTo>
                    <a:pt x="59" y="140"/>
                    <a:pt x="59" y="140"/>
                    <a:pt x="58" y="142"/>
                  </a:cubicBezTo>
                  <a:cubicBezTo>
                    <a:pt x="58" y="143"/>
                    <a:pt x="58" y="143"/>
                    <a:pt x="57" y="144"/>
                  </a:cubicBezTo>
                  <a:cubicBezTo>
                    <a:pt x="57" y="144"/>
                    <a:pt x="58" y="145"/>
                    <a:pt x="58" y="146"/>
                  </a:cubicBezTo>
                  <a:cubicBezTo>
                    <a:pt x="57" y="148"/>
                    <a:pt x="56" y="148"/>
                    <a:pt x="55" y="148"/>
                  </a:cubicBezTo>
                  <a:cubicBezTo>
                    <a:pt x="54" y="148"/>
                    <a:pt x="54" y="148"/>
                    <a:pt x="54" y="148"/>
                  </a:cubicBezTo>
                  <a:cubicBezTo>
                    <a:pt x="49" y="148"/>
                    <a:pt x="45" y="147"/>
                    <a:pt x="41" y="146"/>
                  </a:cubicBezTo>
                  <a:cubicBezTo>
                    <a:pt x="40" y="146"/>
                    <a:pt x="38" y="146"/>
                    <a:pt x="37" y="146"/>
                  </a:cubicBezTo>
                  <a:cubicBezTo>
                    <a:pt x="37" y="146"/>
                    <a:pt x="36" y="146"/>
                    <a:pt x="36" y="146"/>
                  </a:cubicBezTo>
                  <a:cubicBezTo>
                    <a:pt x="34" y="147"/>
                    <a:pt x="33" y="153"/>
                    <a:pt x="32" y="155"/>
                  </a:cubicBezTo>
                  <a:cubicBezTo>
                    <a:pt x="32" y="155"/>
                    <a:pt x="32" y="155"/>
                    <a:pt x="32" y="155"/>
                  </a:cubicBezTo>
                  <a:cubicBezTo>
                    <a:pt x="32" y="155"/>
                    <a:pt x="31" y="158"/>
                    <a:pt x="29" y="158"/>
                  </a:cubicBezTo>
                  <a:cubicBezTo>
                    <a:pt x="29" y="159"/>
                    <a:pt x="28" y="159"/>
                    <a:pt x="27" y="159"/>
                  </a:cubicBezTo>
                  <a:cubicBezTo>
                    <a:pt x="24" y="159"/>
                    <a:pt x="22" y="158"/>
                    <a:pt x="19" y="157"/>
                  </a:cubicBezTo>
                  <a:cubicBezTo>
                    <a:pt x="20" y="157"/>
                    <a:pt x="20" y="156"/>
                    <a:pt x="21" y="155"/>
                  </a:cubicBezTo>
                  <a:cubicBezTo>
                    <a:pt x="18" y="148"/>
                    <a:pt x="14" y="142"/>
                    <a:pt x="11" y="135"/>
                  </a:cubicBezTo>
                  <a:cubicBezTo>
                    <a:pt x="9" y="131"/>
                    <a:pt x="7" y="126"/>
                    <a:pt x="4" y="122"/>
                  </a:cubicBezTo>
                  <a:cubicBezTo>
                    <a:pt x="3" y="121"/>
                    <a:pt x="2" y="120"/>
                    <a:pt x="0" y="119"/>
                  </a:cubicBezTo>
                  <a:cubicBezTo>
                    <a:pt x="0" y="300"/>
                    <a:pt x="0" y="300"/>
                    <a:pt x="0" y="300"/>
                  </a:cubicBezTo>
                  <a:cubicBezTo>
                    <a:pt x="0" y="300"/>
                    <a:pt x="0" y="300"/>
                    <a:pt x="0" y="300"/>
                  </a:cubicBezTo>
                  <a:cubicBezTo>
                    <a:pt x="1" y="300"/>
                    <a:pt x="1" y="300"/>
                    <a:pt x="1" y="300"/>
                  </a:cubicBezTo>
                  <a:cubicBezTo>
                    <a:pt x="3" y="301"/>
                    <a:pt x="4" y="301"/>
                    <a:pt x="6" y="302"/>
                  </a:cubicBezTo>
                  <a:cubicBezTo>
                    <a:pt x="15" y="306"/>
                    <a:pt x="17" y="308"/>
                    <a:pt x="18" y="309"/>
                  </a:cubicBezTo>
                  <a:cubicBezTo>
                    <a:pt x="19" y="310"/>
                    <a:pt x="19" y="310"/>
                    <a:pt x="19" y="310"/>
                  </a:cubicBezTo>
                  <a:cubicBezTo>
                    <a:pt x="19" y="320"/>
                    <a:pt x="19" y="320"/>
                    <a:pt x="19" y="320"/>
                  </a:cubicBezTo>
                  <a:cubicBezTo>
                    <a:pt x="17" y="322"/>
                    <a:pt x="17" y="322"/>
                    <a:pt x="17" y="322"/>
                  </a:cubicBezTo>
                  <a:cubicBezTo>
                    <a:pt x="17" y="323"/>
                    <a:pt x="17" y="323"/>
                    <a:pt x="17" y="323"/>
                  </a:cubicBezTo>
                  <a:cubicBezTo>
                    <a:pt x="18" y="324"/>
                    <a:pt x="23" y="329"/>
                    <a:pt x="21" y="332"/>
                  </a:cubicBezTo>
                  <a:cubicBezTo>
                    <a:pt x="21" y="333"/>
                    <a:pt x="21" y="333"/>
                    <a:pt x="21" y="333"/>
                  </a:cubicBezTo>
                  <a:cubicBezTo>
                    <a:pt x="20" y="333"/>
                    <a:pt x="18" y="335"/>
                    <a:pt x="17" y="337"/>
                  </a:cubicBezTo>
                  <a:cubicBezTo>
                    <a:pt x="21" y="339"/>
                    <a:pt x="26" y="342"/>
                    <a:pt x="26" y="346"/>
                  </a:cubicBezTo>
                  <a:cubicBezTo>
                    <a:pt x="26" y="348"/>
                    <a:pt x="27" y="354"/>
                    <a:pt x="34" y="357"/>
                  </a:cubicBezTo>
                  <a:cubicBezTo>
                    <a:pt x="39" y="360"/>
                    <a:pt x="41" y="363"/>
                    <a:pt x="41" y="366"/>
                  </a:cubicBezTo>
                  <a:cubicBezTo>
                    <a:pt x="42" y="367"/>
                    <a:pt x="41" y="369"/>
                    <a:pt x="41" y="370"/>
                  </a:cubicBezTo>
                  <a:cubicBezTo>
                    <a:pt x="43" y="371"/>
                    <a:pt x="47" y="372"/>
                    <a:pt x="55" y="373"/>
                  </a:cubicBezTo>
                  <a:cubicBezTo>
                    <a:pt x="62" y="373"/>
                    <a:pt x="62" y="373"/>
                    <a:pt x="62" y="373"/>
                  </a:cubicBezTo>
                  <a:cubicBezTo>
                    <a:pt x="56" y="378"/>
                    <a:pt x="56" y="378"/>
                    <a:pt x="56" y="378"/>
                  </a:cubicBezTo>
                  <a:cubicBezTo>
                    <a:pt x="56" y="378"/>
                    <a:pt x="56" y="378"/>
                    <a:pt x="56" y="378"/>
                  </a:cubicBezTo>
                  <a:cubicBezTo>
                    <a:pt x="56" y="378"/>
                    <a:pt x="57" y="379"/>
                    <a:pt x="58" y="380"/>
                  </a:cubicBezTo>
                  <a:cubicBezTo>
                    <a:pt x="59" y="380"/>
                    <a:pt x="60" y="381"/>
                    <a:pt x="61" y="381"/>
                  </a:cubicBezTo>
                  <a:cubicBezTo>
                    <a:pt x="63" y="383"/>
                    <a:pt x="64" y="385"/>
                    <a:pt x="64" y="387"/>
                  </a:cubicBezTo>
                  <a:cubicBezTo>
                    <a:pt x="64" y="388"/>
                    <a:pt x="64" y="389"/>
                    <a:pt x="63" y="390"/>
                  </a:cubicBezTo>
                  <a:cubicBezTo>
                    <a:pt x="62" y="390"/>
                    <a:pt x="62" y="391"/>
                    <a:pt x="61" y="391"/>
                  </a:cubicBezTo>
                  <a:cubicBezTo>
                    <a:pt x="60" y="392"/>
                    <a:pt x="59" y="392"/>
                    <a:pt x="58" y="393"/>
                  </a:cubicBezTo>
                  <a:cubicBezTo>
                    <a:pt x="57" y="394"/>
                    <a:pt x="57" y="394"/>
                    <a:pt x="56" y="394"/>
                  </a:cubicBezTo>
                  <a:cubicBezTo>
                    <a:pt x="56" y="395"/>
                    <a:pt x="56" y="395"/>
                    <a:pt x="56" y="395"/>
                  </a:cubicBezTo>
                  <a:cubicBezTo>
                    <a:pt x="54" y="395"/>
                    <a:pt x="54" y="395"/>
                    <a:pt x="54" y="395"/>
                  </a:cubicBezTo>
                  <a:cubicBezTo>
                    <a:pt x="54" y="396"/>
                    <a:pt x="54" y="396"/>
                    <a:pt x="54" y="396"/>
                  </a:cubicBezTo>
                  <a:cubicBezTo>
                    <a:pt x="51" y="397"/>
                    <a:pt x="51" y="397"/>
                    <a:pt x="51" y="397"/>
                  </a:cubicBezTo>
                  <a:cubicBezTo>
                    <a:pt x="50" y="398"/>
                    <a:pt x="50" y="398"/>
                    <a:pt x="50" y="398"/>
                  </a:cubicBezTo>
                  <a:cubicBezTo>
                    <a:pt x="49" y="398"/>
                    <a:pt x="49" y="398"/>
                    <a:pt x="49" y="398"/>
                  </a:cubicBezTo>
                  <a:cubicBezTo>
                    <a:pt x="49" y="398"/>
                    <a:pt x="49" y="398"/>
                    <a:pt x="48" y="398"/>
                  </a:cubicBezTo>
                  <a:cubicBezTo>
                    <a:pt x="48" y="398"/>
                    <a:pt x="48" y="398"/>
                    <a:pt x="48" y="398"/>
                  </a:cubicBezTo>
                  <a:cubicBezTo>
                    <a:pt x="46" y="399"/>
                    <a:pt x="44" y="399"/>
                    <a:pt x="43" y="399"/>
                  </a:cubicBezTo>
                  <a:cubicBezTo>
                    <a:pt x="42" y="399"/>
                    <a:pt x="41" y="399"/>
                    <a:pt x="40" y="399"/>
                  </a:cubicBezTo>
                  <a:cubicBezTo>
                    <a:pt x="39" y="399"/>
                    <a:pt x="37" y="398"/>
                    <a:pt x="35" y="398"/>
                  </a:cubicBezTo>
                  <a:cubicBezTo>
                    <a:pt x="35" y="398"/>
                    <a:pt x="35" y="398"/>
                    <a:pt x="35" y="398"/>
                  </a:cubicBezTo>
                  <a:cubicBezTo>
                    <a:pt x="34" y="398"/>
                    <a:pt x="33" y="398"/>
                    <a:pt x="32" y="398"/>
                  </a:cubicBezTo>
                  <a:cubicBezTo>
                    <a:pt x="31" y="398"/>
                    <a:pt x="31" y="398"/>
                    <a:pt x="31" y="398"/>
                  </a:cubicBezTo>
                  <a:cubicBezTo>
                    <a:pt x="30" y="398"/>
                    <a:pt x="30" y="398"/>
                    <a:pt x="29" y="398"/>
                  </a:cubicBezTo>
                  <a:cubicBezTo>
                    <a:pt x="29" y="398"/>
                    <a:pt x="29" y="398"/>
                    <a:pt x="29" y="398"/>
                  </a:cubicBezTo>
                  <a:cubicBezTo>
                    <a:pt x="29" y="398"/>
                    <a:pt x="29" y="398"/>
                    <a:pt x="29" y="398"/>
                  </a:cubicBezTo>
                  <a:cubicBezTo>
                    <a:pt x="30" y="400"/>
                    <a:pt x="31" y="402"/>
                    <a:pt x="32" y="402"/>
                  </a:cubicBezTo>
                  <a:cubicBezTo>
                    <a:pt x="34" y="403"/>
                    <a:pt x="36" y="407"/>
                    <a:pt x="35" y="418"/>
                  </a:cubicBezTo>
                  <a:cubicBezTo>
                    <a:pt x="35" y="421"/>
                    <a:pt x="36" y="422"/>
                    <a:pt x="37" y="423"/>
                  </a:cubicBezTo>
                  <a:cubicBezTo>
                    <a:pt x="37" y="423"/>
                    <a:pt x="37" y="423"/>
                    <a:pt x="37" y="423"/>
                  </a:cubicBezTo>
                  <a:cubicBezTo>
                    <a:pt x="38" y="424"/>
                    <a:pt x="38" y="424"/>
                    <a:pt x="38" y="424"/>
                  </a:cubicBezTo>
                  <a:cubicBezTo>
                    <a:pt x="38" y="424"/>
                    <a:pt x="38" y="424"/>
                    <a:pt x="38" y="424"/>
                  </a:cubicBezTo>
                  <a:cubicBezTo>
                    <a:pt x="39" y="425"/>
                    <a:pt x="39" y="425"/>
                    <a:pt x="39" y="425"/>
                  </a:cubicBezTo>
                  <a:cubicBezTo>
                    <a:pt x="40" y="427"/>
                    <a:pt x="40" y="427"/>
                    <a:pt x="40" y="427"/>
                  </a:cubicBezTo>
                  <a:cubicBezTo>
                    <a:pt x="41" y="428"/>
                    <a:pt x="43" y="428"/>
                    <a:pt x="44" y="428"/>
                  </a:cubicBezTo>
                  <a:cubicBezTo>
                    <a:pt x="45" y="428"/>
                    <a:pt x="46" y="428"/>
                    <a:pt x="47" y="427"/>
                  </a:cubicBezTo>
                  <a:cubicBezTo>
                    <a:pt x="47" y="426"/>
                    <a:pt x="47" y="426"/>
                    <a:pt x="47" y="426"/>
                  </a:cubicBezTo>
                  <a:cubicBezTo>
                    <a:pt x="49" y="423"/>
                    <a:pt x="52" y="419"/>
                    <a:pt x="57" y="419"/>
                  </a:cubicBezTo>
                  <a:cubicBezTo>
                    <a:pt x="58" y="419"/>
                    <a:pt x="59" y="419"/>
                    <a:pt x="60" y="419"/>
                  </a:cubicBezTo>
                  <a:cubicBezTo>
                    <a:pt x="61" y="419"/>
                    <a:pt x="63" y="420"/>
                    <a:pt x="65" y="420"/>
                  </a:cubicBezTo>
                  <a:cubicBezTo>
                    <a:pt x="68" y="420"/>
                    <a:pt x="71" y="419"/>
                    <a:pt x="75" y="418"/>
                  </a:cubicBezTo>
                  <a:cubicBezTo>
                    <a:pt x="78" y="417"/>
                    <a:pt x="81" y="417"/>
                    <a:pt x="83" y="417"/>
                  </a:cubicBezTo>
                  <a:cubicBezTo>
                    <a:pt x="86" y="417"/>
                    <a:pt x="88" y="417"/>
                    <a:pt x="89" y="419"/>
                  </a:cubicBezTo>
                  <a:cubicBezTo>
                    <a:pt x="90" y="419"/>
                    <a:pt x="90" y="419"/>
                    <a:pt x="90" y="419"/>
                  </a:cubicBezTo>
                  <a:cubicBezTo>
                    <a:pt x="96" y="424"/>
                    <a:pt x="98" y="427"/>
                    <a:pt x="97" y="430"/>
                  </a:cubicBezTo>
                  <a:cubicBezTo>
                    <a:pt x="97" y="431"/>
                    <a:pt x="97" y="431"/>
                    <a:pt x="97" y="431"/>
                  </a:cubicBezTo>
                  <a:cubicBezTo>
                    <a:pt x="97" y="432"/>
                    <a:pt x="98" y="432"/>
                    <a:pt x="98" y="433"/>
                  </a:cubicBezTo>
                  <a:cubicBezTo>
                    <a:pt x="100" y="433"/>
                    <a:pt x="103" y="435"/>
                    <a:pt x="104" y="437"/>
                  </a:cubicBezTo>
                  <a:cubicBezTo>
                    <a:pt x="105" y="438"/>
                    <a:pt x="105" y="439"/>
                    <a:pt x="105" y="440"/>
                  </a:cubicBezTo>
                  <a:cubicBezTo>
                    <a:pt x="106" y="443"/>
                    <a:pt x="106" y="443"/>
                    <a:pt x="106" y="443"/>
                  </a:cubicBezTo>
                  <a:cubicBezTo>
                    <a:pt x="103" y="443"/>
                    <a:pt x="103" y="443"/>
                    <a:pt x="103" y="443"/>
                  </a:cubicBezTo>
                  <a:cubicBezTo>
                    <a:pt x="101" y="444"/>
                    <a:pt x="100" y="444"/>
                    <a:pt x="99" y="444"/>
                  </a:cubicBezTo>
                  <a:cubicBezTo>
                    <a:pt x="100" y="447"/>
                    <a:pt x="101" y="450"/>
                    <a:pt x="100" y="452"/>
                  </a:cubicBezTo>
                  <a:cubicBezTo>
                    <a:pt x="100" y="453"/>
                    <a:pt x="100" y="454"/>
                    <a:pt x="100" y="455"/>
                  </a:cubicBezTo>
                  <a:cubicBezTo>
                    <a:pt x="101" y="454"/>
                    <a:pt x="102" y="454"/>
                    <a:pt x="103" y="454"/>
                  </a:cubicBezTo>
                  <a:cubicBezTo>
                    <a:pt x="104" y="454"/>
                    <a:pt x="106" y="455"/>
                    <a:pt x="108" y="456"/>
                  </a:cubicBezTo>
                  <a:cubicBezTo>
                    <a:pt x="109" y="456"/>
                    <a:pt x="109" y="457"/>
                    <a:pt x="110" y="457"/>
                  </a:cubicBezTo>
                  <a:cubicBezTo>
                    <a:pt x="111" y="457"/>
                    <a:pt x="112" y="456"/>
                    <a:pt x="112" y="456"/>
                  </a:cubicBezTo>
                  <a:cubicBezTo>
                    <a:pt x="113" y="456"/>
                    <a:pt x="114" y="456"/>
                    <a:pt x="115" y="456"/>
                  </a:cubicBezTo>
                  <a:cubicBezTo>
                    <a:pt x="117" y="456"/>
                    <a:pt x="119" y="457"/>
                    <a:pt x="122" y="458"/>
                  </a:cubicBezTo>
                  <a:cubicBezTo>
                    <a:pt x="124" y="460"/>
                    <a:pt x="127" y="461"/>
                    <a:pt x="127" y="461"/>
                  </a:cubicBezTo>
                  <a:cubicBezTo>
                    <a:pt x="130" y="463"/>
                    <a:pt x="130" y="463"/>
                    <a:pt x="130" y="463"/>
                  </a:cubicBezTo>
                  <a:cubicBezTo>
                    <a:pt x="128" y="466"/>
                    <a:pt x="128" y="466"/>
                    <a:pt x="128" y="466"/>
                  </a:cubicBezTo>
                  <a:cubicBezTo>
                    <a:pt x="128" y="466"/>
                    <a:pt x="127" y="467"/>
                    <a:pt x="127" y="469"/>
                  </a:cubicBezTo>
                  <a:cubicBezTo>
                    <a:pt x="130" y="472"/>
                    <a:pt x="131" y="477"/>
                    <a:pt x="131" y="480"/>
                  </a:cubicBezTo>
                  <a:cubicBezTo>
                    <a:pt x="131" y="480"/>
                    <a:pt x="131" y="481"/>
                    <a:pt x="132" y="482"/>
                  </a:cubicBezTo>
                  <a:cubicBezTo>
                    <a:pt x="133" y="482"/>
                    <a:pt x="133" y="483"/>
                    <a:pt x="135" y="483"/>
                  </a:cubicBezTo>
                  <a:cubicBezTo>
                    <a:pt x="135" y="483"/>
                    <a:pt x="136" y="483"/>
                    <a:pt x="137" y="482"/>
                  </a:cubicBezTo>
                  <a:cubicBezTo>
                    <a:pt x="138" y="482"/>
                    <a:pt x="140" y="481"/>
                    <a:pt x="142" y="481"/>
                  </a:cubicBezTo>
                  <a:cubicBezTo>
                    <a:pt x="145" y="481"/>
                    <a:pt x="148" y="482"/>
                    <a:pt x="150" y="484"/>
                  </a:cubicBezTo>
                  <a:cubicBezTo>
                    <a:pt x="152" y="485"/>
                    <a:pt x="154" y="485"/>
                    <a:pt x="157" y="485"/>
                  </a:cubicBezTo>
                  <a:cubicBezTo>
                    <a:pt x="159" y="485"/>
                    <a:pt x="161" y="485"/>
                    <a:pt x="163" y="485"/>
                  </a:cubicBezTo>
                  <a:cubicBezTo>
                    <a:pt x="168" y="483"/>
                    <a:pt x="175" y="481"/>
                    <a:pt x="175" y="481"/>
                  </a:cubicBezTo>
                  <a:cubicBezTo>
                    <a:pt x="176" y="481"/>
                    <a:pt x="176" y="481"/>
                    <a:pt x="176" y="481"/>
                  </a:cubicBezTo>
                  <a:cubicBezTo>
                    <a:pt x="177" y="481"/>
                    <a:pt x="180" y="481"/>
                    <a:pt x="184" y="486"/>
                  </a:cubicBezTo>
                  <a:cubicBezTo>
                    <a:pt x="186" y="488"/>
                    <a:pt x="189" y="493"/>
                    <a:pt x="191" y="496"/>
                  </a:cubicBezTo>
                  <a:cubicBezTo>
                    <a:pt x="193" y="494"/>
                    <a:pt x="195" y="493"/>
                    <a:pt x="197" y="492"/>
                  </a:cubicBezTo>
                  <a:cubicBezTo>
                    <a:pt x="197" y="492"/>
                    <a:pt x="197" y="492"/>
                    <a:pt x="197" y="492"/>
                  </a:cubicBezTo>
                  <a:cubicBezTo>
                    <a:pt x="199" y="492"/>
                    <a:pt x="200" y="493"/>
                    <a:pt x="201" y="493"/>
                  </a:cubicBezTo>
                  <a:cubicBezTo>
                    <a:pt x="202" y="493"/>
                    <a:pt x="203" y="494"/>
                    <a:pt x="204" y="494"/>
                  </a:cubicBezTo>
                  <a:cubicBezTo>
                    <a:pt x="209" y="494"/>
                    <a:pt x="212" y="498"/>
                    <a:pt x="213" y="500"/>
                  </a:cubicBezTo>
                  <a:cubicBezTo>
                    <a:pt x="213" y="500"/>
                    <a:pt x="214" y="501"/>
                    <a:pt x="214" y="501"/>
                  </a:cubicBezTo>
                  <a:cubicBezTo>
                    <a:pt x="214" y="500"/>
                    <a:pt x="214" y="500"/>
                    <a:pt x="214" y="500"/>
                  </a:cubicBezTo>
                  <a:cubicBezTo>
                    <a:pt x="215" y="500"/>
                    <a:pt x="217" y="499"/>
                    <a:pt x="219" y="499"/>
                  </a:cubicBezTo>
                  <a:cubicBezTo>
                    <a:pt x="222" y="499"/>
                    <a:pt x="225" y="500"/>
                    <a:pt x="228" y="503"/>
                  </a:cubicBezTo>
                  <a:cubicBezTo>
                    <a:pt x="228" y="503"/>
                    <a:pt x="229" y="504"/>
                    <a:pt x="229" y="505"/>
                  </a:cubicBezTo>
                  <a:cubicBezTo>
                    <a:pt x="231" y="507"/>
                    <a:pt x="233" y="509"/>
                    <a:pt x="236" y="509"/>
                  </a:cubicBezTo>
                  <a:cubicBezTo>
                    <a:pt x="238" y="509"/>
                    <a:pt x="239" y="509"/>
                    <a:pt x="241" y="508"/>
                  </a:cubicBezTo>
                  <a:cubicBezTo>
                    <a:pt x="244" y="506"/>
                    <a:pt x="244" y="506"/>
                    <a:pt x="244" y="506"/>
                  </a:cubicBezTo>
                  <a:cubicBezTo>
                    <a:pt x="245" y="510"/>
                    <a:pt x="245" y="510"/>
                    <a:pt x="245" y="510"/>
                  </a:cubicBezTo>
                  <a:cubicBezTo>
                    <a:pt x="247" y="516"/>
                    <a:pt x="246" y="520"/>
                    <a:pt x="245" y="522"/>
                  </a:cubicBezTo>
                  <a:cubicBezTo>
                    <a:pt x="245" y="522"/>
                    <a:pt x="245" y="522"/>
                    <a:pt x="245" y="522"/>
                  </a:cubicBezTo>
                  <a:cubicBezTo>
                    <a:pt x="244" y="525"/>
                    <a:pt x="240" y="528"/>
                    <a:pt x="237" y="531"/>
                  </a:cubicBezTo>
                  <a:cubicBezTo>
                    <a:pt x="239" y="531"/>
                    <a:pt x="242" y="532"/>
                    <a:pt x="242" y="532"/>
                  </a:cubicBezTo>
                  <a:cubicBezTo>
                    <a:pt x="259" y="535"/>
                    <a:pt x="259" y="535"/>
                    <a:pt x="259" y="535"/>
                  </a:cubicBezTo>
                  <a:cubicBezTo>
                    <a:pt x="241" y="538"/>
                    <a:pt x="241" y="538"/>
                    <a:pt x="241" y="538"/>
                  </a:cubicBezTo>
                  <a:cubicBezTo>
                    <a:pt x="238" y="538"/>
                    <a:pt x="236" y="539"/>
                    <a:pt x="235" y="540"/>
                  </a:cubicBezTo>
                  <a:cubicBezTo>
                    <a:pt x="238" y="542"/>
                    <a:pt x="239" y="544"/>
                    <a:pt x="239" y="545"/>
                  </a:cubicBezTo>
                  <a:cubicBezTo>
                    <a:pt x="240" y="547"/>
                    <a:pt x="242" y="550"/>
                    <a:pt x="242" y="553"/>
                  </a:cubicBezTo>
                  <a:cubicBezTo>
                    <a:pt x="241" y="554"/>
                    <a:pt x="241" y="555"/>
                    <a:pt x="241" y="556"/>
                  </a:cubicBezTo>
                  <a:cubicBezTo>
                    <a:pt x="240" y="557"/>
                    <a:pt x="238" y="561"/>
                    <a:pt x="237" y="564"/>
                  </a:cubicBezTo>
                  <a:cubicBezTo>
                    <a:pt x="237" y="566"/>
                    <a:pt x="236" y="567"/>
                    <a:pt x="235" y="568"/>
                  </a:cubicBezTo>
                  <a:cubicBezTo>
                    <a:pt x="234" y="569"/>
                    <a:pt x="232" y="569"/>
                    <a:pt x="230" y="569"/>
                  </a:cubicBezTo>
                  <a:cubicBezTo>
                    <a:pt x="229" y="569"/>
                    <a:pt x="228" y="569"/>
                    <a:pt x="227" y="569"/>
                  </a:cubicBezTo>
                  <a:cubicBezTo>
                    <a:pt x="225" y="569"/>
                    <a:pt x="221" y="568"/>
                    <a:pt x="218" y="568"/>
                  </a:cubicBezTo>
                  <a:cubicBezTo>
                    <a:pt x="217" y="568"/>
                    <a:pt x="216" y="568"/>
                    <a:pt x="216" y="569"/>
                  </a:cubicBezTo>
                  <a:cubicBezTo>
                    <a:pt x="214" y="571"/>
                    <a:pt x="210" y="573"/>
                    <a:pt x="206" y="574"/>
                  </a:cubicBezTo>
                  <a:cubicBezTo>
                    <a:pt x="203" y="574"/>
                    <a:pt x="200" y="576"/>
                    <a:pt x="200" y="580"/>
                  </a:cubicBezTo>
                  <a:cubicBezTo>
                    <a:pt x="199" y="581"/>
                    <a:pt x="199" y="582"/>
                    <a:pt x="199" y="583"/>
                  </a:cubicBezTo>
                  <a:cubicBezTo>
                    <a:pt x="199" y="585"/>
                    <a:pt x="199" y="585"/>
                    <a:pt x="199" y="585"/>
                  </a:cubicBezTo>
                  <a:cubicBezTo>
                    <a:pt x="199" y="586"/>
                    <a:pt x="199" y="587"/>
                    <a:pt x="199" y="588"/>
                  </a:cubicBezTo>
                  <a:cubicBezTo>
                    <a:pt x="201" y="587"/>
                    <a:pt x="202" y="587"/>
                    <a:pt x="204" y="586"/>
                  </a:cubicBezTo>
                  <a:cubicBezTo>
                    <a:pt x="203" y="587"/>
                    <a:pt x="202" y="587"/>
                    <a:pt x="202" y="588"/>
                  </a:cubicBezTo>
                  <a:cubicBezTo>
                    <a:pt x="205" y="588"/>
                    <a:pt x="209" y="588"/>
                    <a:pt x="212" y="587"/>
                  </a:cubicBezTo>
                  <a:cubicBezTo>
                    <a:pt x="213" y="586"/>
                    <a:pt x="213" y="585"/>
                    <a:pt x="214" y="585"/>
                  </a:cubicBezTo>
                  <a:cubicBezTo>
                    <a:pt x="215" y="585"/>
                    <a:pt x="215" y="585"/>
                    <a:pt x="215" y="585"/>
                  </a:cubicBezTo>
                  <a:cubicBezTo>
                    <a:pt x="217" y="585"/>
                    <a:pt x="219" y="585"/>
                    <a:pt x="222" y="585"/>
                  </a:cubicBezTo>
                  <a:cubicBezTo>
                    <a:pt x="221" y="587"/>
                    <a:pt x="221" y="589"/>
                    <a:pt x="222" y="589"/>
                  </a:cubicBezTo>
                  <a:cubicBezTo>
                    <a:pt x="223" y="589"/>
                    <a:pt x="223" y="589"/>
                    <a:pt x="224" y="589"/>
                  </a:cubicBezTo>
                  <a:cubicBezTo>
                    <a:pt x="220" y="591"/>
                    <a:pt x="211" y="596"/>
                    <a:pt x="205" y="597"/>
                  </a:cubicBezTo>
                  <a:cubicBezTo>
                    <a:pt x="205" y="597"/>
                    <a:pt x="205" y="597"/>
                    <a:pt x="205" y="597"/>
                  </a:cubicBezTo>
                  <a:cubicBezTo>
                    <a:pt x="204" y="597"/>
                    <a:pt x="204" y="597"/>
                    <a:pt x="204" y="597"/>
                  </a:cubicBezTo>
                  <a:cubicBezTo>
                    <a:pt x="203" y="597"/>
                    <a:pt x="203" y="597"/>
                    <a:pt x="203" y="597"/>
                  </a:cubicBezTo>
                  <a:cubicBezTo>
                    <a:pt x="202" y="597"/>
                    <a:pt x="201" y="597"/>
                    <a:pt x="201" y="598"/>
                  </a:cubicBezTo>
                  <a:cubicBezTo>
                    <a:pt x="201" y="598"/>
                    <a:pt x="205" y="601"/>
                    <a:pt x="205" y="602"/>
                  </a:cubicBezTo>
                  <a:cubicBezTo>
                    <a:pt x="204" y="604"/>
                    <a:pt x="192" y="604"/>
                    <a:pt x="190" y="604"/>
                  </a:cubicBezTo>
                  <a:cubicBezTo>
                    <a:pt x="190" y="604"/>
                    <a:pt x="190" y="604"/>
                    <a:pt x="190" y="604"/>
                  </a:cubicBezTo>
                  <a:cubicBezTo>
                    <a:pt x="189" y="604"/>
                    <a:pt x="188" y="604"/>
                    <a:pt x="187" y="603"/>
                  </a:cubicBezTo>
                  <a:cubicBezTo>
                    <a:pt x="186" y="603"/>
                    <a:pt x="185" y="603"/>
                    <a:pt x="185" y="603"/>
                  </a:cubicBezTo>
                  <a:cubicBezTo>
                    <a:pt x="185" y="603"/>
                    <a:pt x="184" y="603"/>
                    <a:pt x="184" y="603"/>
                  </a:cubicBezTo>
                  <a:cubicBezTo>
                    <a:pt x="184" y="603"/>
                    <a:pt x="184" y="606"/>
                    <a:pt x="185" y="607"/>
                  </a:cubicBezTo>
                  <a:cubicBezTo>
                    <a:pt x="186" y="609"/>
                    <a:pt x="187" y="610"/>
                    <a:pt x="189" y="611"/>
                  </a:cubicBezTo>
                  <a:cubicBezTo>
                    <a:pt x="193" y="613"/>
                    <a:pt x="205" y="618"/>
                    <a:pt x="204" y="622"/>
                  </a:cubicBezTo>
                  <a:cubicBezTo>
                    <a:pt x="202" y="622"/>
                    <a:pt x="200" y="621"/>
                    <a:pt x="198" y="621"/>
                  </a:cubicBezTo>
                  <a:cubicBezTo>
                    <a:pt x="198" y="620"/>
                    <a:pt x="197" y="620"/>
                    <a:pt x="197" y="619"/>
                  </a:cubicBezTo>
                  <a:cubicBezTo>
                    <a:pt x="197" y="619"/>
                    <a:pt x="197" y="619"/>
                    <a:pt x="197" y="619"/>
                  </a:cubicBezTo>
                  <a:cubicBezTo>
                    <a:pt x="194" y="619"/>
                    <a:pt x="192" y="626"/>
                    <a:pt x="192" y="629"/>
                  </a:cubicBezTo>
                  <a:cubicBezTo>
                    <a:pt x="192" y="627"/>
                    <a:pt x="192" y="623"/>
                    <a:pt x="191" y="622"/>
                  </a:cubicBezTo>
                  <a:cubicBezTo>
                    <a:pt x="192" y="622"/>
                    <a:pt x="192" y="622"/>
                    <a:pt x="192" y="622"/>
                  </a:cubicBezTo>
                  <a:cubicBezTo>
                    <a:pt x="192" y="622"/>
                    <a:pt x="192" y="622"/>
                    <a:pt x="192" y="622"/>
                  </a:cubicBezTo>
                  <a:cubicBezTo>
                    <a:pt x="191" y="622"/>
                    <a:pt x="190" y="622"/>
                    <a:pt x="189" y="623"/>
                  </a:cubicBezTo>
                  <a:cubicBezTo>
                    <a:pt x="188" y="624"/>
                    <a:pt x="183" y="634"/>
                    <a:pt x="181" y="634"/>
                  </a:cubicBezTo>
                  <a:cubicBezTo>
                    <a:pt x="181" y="634"/>
                    <a:pt x="181" y="634"/>
                    <a:pt x="181" y="634"/>
                  </a:cubicBezTo>
                  <a:cubicBezTo>
                    <a:pt x="180" y="635"/>
                    <a:pt x="188" y="644"/>
                    <a:pt x="181" y="644"/>
                  </a:cubicBezTo>
                  <a:cubicBezTo>
                    <a:pt x="181" y="644"/>
                    <a:pt x="181" y="644"/>
                    <a:pt x="181" y="644"/>
                  </a:cubicBezTo>
                  <a:cubicBezTo>
                    <a:pt x="176" y="644"/>
                    <a:pt x="172" y="643"/>
                    <a:pt x="166" y="642"/>
                  </a:cubicBezTo>
                  <a:cubicBezTo>
                    <a:pt x="165" y="641"/>
                    <a:pt x="164" y="641"/>
                    <a:pt x="163" y="641"/>
                  </a:cubicBezTo>
                  <a:cubicBezTo>
                    <a:pt x="161" y="641"/>
                    <a:pt x="160" y="642"/>
                    <a:pt x="158" y="643"/>
                  </a:cubicBezTo>
                  <a:cubicBezTo>
                    <a:pt x="159" y="643"/>
                    <a:pt x="159" y="642"/>
                    <a:pt x="160" y="642"/>
                  </a:cubicBezTo>
                  <a:cubicBezTo>
                    <a:pt x="161" y="642"/>
                    <a:pt x="161" y="643"/>
                    <a:pt x="162" y="643"/>
                  </a:cubicBezTo>
                  <a:cubicBezTo>
                    <a:pt x="162" y="644"/>
                    <a:pt x="163" y="644"/>
                    <a:pt x="164" y="644"/>
                  </a:cubicBezTo>
                  <a:cubicBezTo>
                    <a:pt x="164" y="644"/>
                    <a:pt x="164" y="644"/>
                    <a:pt x="165" y="644"/>
                  </a:cubicBezTo>
                  <a:cubicBezTo>
                    <a:pt x="162" y="648"/>
                    <a:pt x="159" y="647"/>
                    <a:pt x="155" y="648"/>
                  </a:cubicBezTo>
                  <a:cubicBezTo>
                    <a:pt x="159" y="650"/>
                    <a:pt x="162" y="651"/>
                    <a:pt x="166" y="653"/>
                  </a:cubicBezTo>
                  <a:cubicBezTo>
                    <a:pt x="170" y="654"/>
                    <a:pt x="174" y="660"/>
                    <a:pt x="177" y="663"/>
                  </a:cubicBezTo>
                  <a:cubicBezTo>
                    <a:pt x="177" y="664"/>
                    <a:pt x="178" y="664"/>
                    <a:pt x="179" y="664"/>
                  </a:cubicBezTo>
                  <a:cubicBezTo>
                    <a:pt x="181" y="664"/>
                    <a:pt x="183" y="663"/>
                    <a:pt x="184" y="663"/>
                  </a:cubicBezTo>
                  <a:cubicBezTo>
                    <a:pt x="184" y="663"/>
                    <a:pt x="185" y="663"/>
                    <a:pt x="185" y="663"/>
                  </a:cubicBezTo>
                  <a:cubicBezTo>
                    <a:pt x="187" y="663"/>
                    <a:pt x="188" y="664"/>
                    <a:pt x="190" y="666"/>
                  </a:cubicBezTo>
                  <a:cubicBezTo>
                    <a:pt x="191" y="668"/>
                    <a:pt x="193" y="671"/>
                    <a:pt x="194" y="672"/>
                  </a:cubicBezTo>
                  <a:cubicBezTo>
                    <a:pt x="197" y="674"/>
                    <a:pt x="201" y="674"/>
                    <a:pt x="204" y="674"/>
                  </a:cubicBezTo>
                  <a:cubicBezTo>
                    <a:pt x="209" y="675"/>
                    <a:pt x="213" y="680"/>
                    <a:pt x="217" y="683"/>
                  </a:cubicBezTo>
                  <a:cubicBezTo>
                    <a:pt x="224" y="688"/>
                    <a:pt x="230" y="695"/>
                    <a:pt x="237" y="701"/>
                  </a:cubicBezTo>
                  <a:cubicBezTo>
                    <a:pt x="238" y="696"/>
                    <a:pt x="240" y="695"/>
                    <a:pt x="241" y="694"/>
                  </a:cubicBezTo>
                  <a:cubicBezTo>
                    <a:pt x="242" y="694"/>
                    <a:pt x="242" y="694"/>
                    <a:pt x="243" y="694"/>
                  </a:cubicBezTo>
                  <a:cubicBezTo>
                    <a:pt x="244" y="694"/>
                    <a:pt x="244" y="694"/>
                    <a:pt x="244" y="694"/>
                  </a:cubicBezTo>
                  <a:cubicBezTo>
                    <a:pt x="245" y="694"/>
                    <a:pt x="245" y="694"/>
                    <a:pt x="245" y="694"/>
                  </a:cubicBezTo>
                  <a:cubicBezTo>
                    <a:pt x="248" y="695"/>
                    <a:pt x="251" y="696"/>
                    <a:pt x="252" y="696"/>
                  </a:cubicBezTo>
                  <a:cubicBezTo>
                    <a:pt x="252" y="696"/>
                    <a:pt x="252" y="696"/>
                    <a:pt x="253" y="696"/>
                  </a:cubicBezTo>
                  <a:cubicBezTo>
                    <a:pt x="253" y="695"/>
                    <a:pt x="254" y="695"/>
                    <a:pt x="255" y="695"/>
                  </a:cubicBezTo>
                  <a:cubicBezTo>
                    <a:pt x="258" y="695"/>
                    <a:pt x="262" y="697"/>
                    <a:pt x="264" y="699"/>
                  </a:cubicBezTo>
                  <a:cubicBezTo>
                    <a:pt x="265" y="699"/>
                    <a:pt x="265" y="699"/>
                    <a:pt x="267" y="700"/>
                  </a:cubicBezTo>
                  <a:cubicBezTo>
                    <a:pt x="273" y="702"/>
                    <a:pt x="284" y="705"/>
                    <a:pt x="291" y="705"/>
                  </a:cubicBezTo>
                  <a:cubicBezTo>
                    <a:pt x="292" y="705"/>
                    <a:pt x="293" y="705"/>
                    <a:pt x="294" y="705"/>
                  </a:cubicBezTo>
                  <a:cubicBezTo>
                    <a:pt x="296" y="704"/>
                    <a:pt x="298" y="704"/>
                    <a:pt x="300" y="704"/>
                  </a:cubicBezTo>
                  <a:cubicBezTo>
                    <a:pt x="306" y="704"/>
                    <a:pt x="312" y="707"/>
                    <a:pt x="315" y="709"/>
                  </a:cubicBezTo>
                  <a:cubicBezTo>
                    <a:pt x="317" y="712"/>
                    <a:pt x="328" y="717"/>
                    <a:pt x="330" y="717"/>
                  </a:cubicBezTo>
                  <a:cubicBezTo>
                    <a:pt x="332" y="717"/>
                    <a:pt x="333" y="718"/>
                    <a:pt x="334" y="719"/>
                  </a:cubicBezTo>
                  <a:cubicBezTo>
                    <a:pt x="335" y="720"/>
                    <a:pt x="335" y="722"/>
                    <a:pt x="335" y="723"/>
                  </a:cubicBezTo>
                  <a:cubicBezTo>
                    <a:pt x="335" y="723"/>
                    <a:pt x="336" y="723"/>
                    <a:pt x="336" y="724"/>
                  </a:cubicBezTo>
                  <a:cubicBezTo>
                    <a:pt x="337" y="724"/>
                    <a:pt x="337" y="724"/>
                    <a:pt x="338" y="724"/>
                  </a:cubicBezTo>
                  <a:cubicBezTo>
                    <a:pt x="339" y="724"/>
                    <a:pt x="341" y="723"/>
                    <a:pt x="343" y="722"/>
                  </a:cubicBezTo>
                  <a:cubicBezTo>
                    <a:pt x="346" y="720"/>
                    <a:pt x="349" y="719"/>
                    <a:pt x="352" y="719"/>
                  </a:cubicBezTo>
                  <a:cubicBezTo>
                    <a:pt x="352" y="719"/>
                    <a:pt x="353" y="719"/>
                    <a:pt x="354" y="719"/>
                  </a:cubicBezTo>
                  <a:cubicBezTo>
                    <a:pt x="355" y="719"/>
                    <a:pt x="356" y="720"/>
                    <a:pt x="357" y="721"/>
                  </a:cubicBezTo>
                  <a:cubicBezTo>
                    <a:pt x="358" y="720"/>
                    <a:pt x="358" y="719"/>
                    <a:pt x="359" y="719"/>
                  </a:cubicBezTo>
                  <a:cubicBezTo>
                    <a:pt x="360" y="719"/>
                    <a:pt x="360" y="719"/>
                    <a:pt x="361" y="719"/>
                  </a:cubicBezTo>
                  <a:cubicBezTo>
                    <a:pt x="362" y="719"/>
                    <a:pt x="364" y="719"/>
                    <a:pt x="366" y="721"/>
                  </a:cubicBezTo>
                  <a:cubicBezTo>
                    <a:pt x="369" y="723"/>
                    <a:pt x="379" y="727"/>
                    <a:pt x="381" y="727"/>
                  </a:cubicBezTo>
                  <a:cubicBezTo>
                    <a:pt x="387" y="727"/>
                    <a:pt x="387" y="727"/>
                    <a:pt x="387" y="727"/>
                  </a:cubicBezTo>
                  <a:cubicBezTo>
                    <a:pt x="384" y="731"/>
                    <a:pt x="384" y="731"/>
                    <a:pt x="384" y="731"/>
                  </a:cubicBezTo>
                  <a:cubicBezTo>
                    <a:pt x="382" y="734"/>
                    <a:pt x="382" y="736"/>
                    <a:pt x="382" y="736"/>
                  </a:cubicBezTo>
                  <a:cubicBezTo>
                    <a:pt x="385" y="738"/>
                    <a:pt x="391" y="741"/>
                    <a:pt x="393" y="741"/>
                  </a:cubicBezTo>
                  <a:cubicBezTo>
                    <a:pt x="394" y="741"/>
                    <a:pt x="394" y="741"/>
                    <a:pt x="394" y="741"/>
                  </a:cubicBezTo>
                  <a:cubicBezTo>
                    <a:pt x="395" y="741"/>
                    <a:pt x="395" y="741"/>
                    <a:pt x="395" y="741"/>
                  </a:cubicBezTo>
                  <a:cubicBezTo>
                    <a:pt x="395" y="742"/>
                    <a:pt x="396" y="743"/>
                    <a:pt x="397" y="743"/>
                  </a:cubicBezTo>
                  <a:cubicBezTo>
                    <a:pt x="398" y="743"/>
                    <a:pt x="398" y="743"/>
                    <a:pt x="398" y="743"/>
                  </a:cubicBezTo>
                  <a:cubicBezTo>
                    <a:pt x="399" y="743"/>
                    <a:pt x="399" y="743"/>
                    <a:pt x="399" y="743"/>
                  </a:cubicBezTo>
                  <a:cubicBezTo>
                    <a:pt x="400" y="743"/>
                    <a:pt x="401" y="744"/>
                    <a:pt x="402" y="744"/>
                  </a:cubicBezTo>
                  <a:cubicBezTo>
                    <a:pt x="403" y="744"/>
                    <a:pt x="403" y="744"/>
                    <a:pt x="404" y="744"/>
                  </a:cubicBezTo>
                  <a:cubicBezTo>
                    <a:pt x="408" y="744"/>
                    <a:pt x="411" y="748"/>
                    <a:pt x="413" y="751"/>
                  </a:cubicBezTo>
                  <a:cubicBezTo>
                    <a:pt x="414" y="753"/>
                    <a:pt x="415" y="755"/>
                    <a:pt x="416" y="755"/>
                  </a:cubicBezTo>
                  <a:cubicBezTo>
                    <a:pt x="418" y="756"/>
                    <a:pt x="421" y="760"/>
                    <a:pt x="421" y="760"/>
                  </a:cubicBezTo>
                  <a:cubicBezTo>
                    <a:pt x="421" y="761"/>
                    <a:pt x="422" y="763"/>
                    <a:pt x="427" y="763"/>
                  </a:cubicBezTo>
                  <a:cubicBezTo>
                    <a:pt x="429" y="764"/>
                    <a:pt x="430" y="764"/>
                    <a:pt x="431" y="764"/>
                  </a:cubicBezTo>
                  <a:cubicBezTo>
                    <a:pt x="432" y="764"/>
                    <a:pt x="433" y="764"/>
                    <a:pt x="433" y="762"/>
                  </a:cubicBezTo>
                  <a:cubicBezTo>
                    <a:pt x="435" y="758"/>
                    <a:pt x="437" y="757"/>
                    <a:pt x="438" y="756"/>
                  </a:cubicBezTo>
                  <a:cubicBezTo>
                    <a:pt x="439" y="756"/>
                    <a:pt x="439" y="756"/>
                    <a:pt x="440" y="755"/>
                  </a:cubicBezTo>
                  <a:cubicBezTo>
                    <a:pt x="440" y="755"/>
                    <a:pt x="441" y="754"/>
                    <a:pt x="442" y="754"/>
                  </a:cubicBezTo>
                  <a:cubicBezTo>
                    <a:pt x="444" y="752"/>
                    <a:pt x="448" y="749"/>
                    <a:pt x="448" y="747"/>
                  </a:cubicBezTo>
                  <a:cubicBezTo>
                    <a:pt x="448" y="746"/>
                    <a:pt x="448" y="746"/>
                    <a:pt x="448" y="746"/>
                  </a:cubicBezTo>
                  <a:cubicBezTo>
                    <a:pt x="448" y="746"/>
                    <a:pt x="448" y="746"/>
                    <a:pt x="448" y="746"/>
                  </a:cubicBezTo>
                  <a:cubicBezTo>
                    <a:pt x="443" y="742"/>
                    <a:pt x="440" y="735"/>
                    <a:pt x="436" y="730"/>
                  </a:cubicBezTo>
                  <a:cubicBezTo>
                    <a:pt x="433" y="728"/>
                    <a:pt x="432" y="726"/>
                    <a:pt x="430" y="722"/>
                  </a:cubicBezTo>
                  <a:cubicBezTo>
                    <a:pt x="429" y="721"/>
                    <a:pt x="429" y="719"/>
                    <a:pt x="428" y="718"/>
                  </a:cubicBezTo>
                  <a:cubicBezTo>
                    <a:pt x="427" y="717"/>
                    <a:pt x="425" y="716"/>
                    <a:pt x="425" y="715"/>
                  </a:cubicBezTo>
                  <a:cubicBezTo>
                    <a:pt x="426" y="708"/>
                    <a:pt x="427" y="700"/>
                    <a:pt x="428" y="693"/>
                  </a:cubicBezTo>
                  <a:cubicBezTo>
                    <a:pt x="428" y="691"/>
                    <a:pt x="428" y="689"/>
                    <a:pt x="429" y="688"/>
                  </a:cubicBezTo>
                  <a:cubicBezTo>
                    <a:pt x="428" y="688"/>
                    <a:pt x="428" y="688"/>
                    <a:pt x="428" y="688"/>
                  </a:cubicBezTo>
                  <a:cubicBezTo>
                    <a:pt x="424" y="688"/>
                    <a:pt x="424" y="694"/>
                    <a:pt x="423" y="698"/>
                  </a:cubicBezTo>
                  <a:cubicBezTo>
                    <a:pt x="422" y="698"/>
                    <a:pt x="421" y="697"/>
                    <a:pt x="421" y="696"/>
                  </a:cubicBezTo>
                  <a:cubicBezTo>
                    <a:pt x="422" y="695"/>
                    <a:pt x="424" y="692"/>
                    <a:pt x="424" y="691"/>
                  </a:cubicBezTo>
                  <a:cubicBezTo>
                    <a:pt x="424" y="690"/>
                    <a:pt x="423" y="688"/>
                    <a:pt x="422" y="686"/>
                  </a:cubicBezTo>
                  <a:cubicBezTo>
                    <a:pt x="420" y="681"/>
                    <a:pt x="418" y="677"/>
                    <a:pt x="413" y="675"/>
                  </a:cubicBezTo>
                  <a:cubicBezTo>
                    <a:pt x="411" y="673"/>
                    <a:pt x="408" y="673"/>
                    <a:pt x="406" y="672"/>
                  </a:cubicBezTo>
                  <a:cubicBezTo>
                    <a:pt x="402" y="669"/>
                    <a:pt x="408" y="663"/>
                    <a:pt x="410" y="660"/>
                  </a:cubicBezTo>
                  <a:cubicBezTo>
                    <a:pt x="415" y="656"/>
                    <a:pt x="417" y="654"/>
                    <a:pt x="420" y="648"/>
                  </a:cubicBezTo>
                  <a:cubicBezTo>
                    <a:pt x="421" y="644"/>
                    <a:pt x="422" y="641"/>
                    <a:pt x="423" y="637"/>
                  </a:cubicBezTo>
                  <a:cubicBezTo>
                    <a:pt x="424" y="637"/>
                    <a:pt x="424" y="636"/>
                    <a:pt x="423" y="636"/>
                  </a:cubicBezTo>
                  <a:cubicBezTo>
                    <a:pt x="424" y="636"/>
                    <a:pt x="424" y="636"/>
                    <a:pt x="424" y="636"/>
                  </a:cubicBezTo>
                  <a:cubicBezTo>
                    <a:pt x="423" y="636"/>
                    <a:pt x="423" y="636"/>
                    <a:pt x="423" y="636"/>
                  </a:cubicBezTo>
                  <a:cubicBezTo>
                    <a:pt x="424" y="634"/>
                    <a:pt x="424" y="634"/>
                    <a:pt x="424" y="634"/>
                  </a:cubicBezTo>
                  <a:cubicBezTo>
                    <a:pt x="425" y="635"/>
                    <a:pt x="427" y="636"/>
                    <a:pt x="428" y="637"/>
                  </a:cubicBezTo>
                  <a:cubicBezTo>
                    <a:pt x="428" y="635"/>
                    <a:pt x="427" y="633"/>
                    <a:pt x="427" y="631"/>
                  </a:cubicBezTo>
                  <a:cubicBezTo>
                    <a:pt x="428" y="632"/>
                    <a:pt x="430" y="634"/>
                    <a:pt x="432" y="635"/>
                  </a:cubicBezTo>
                  <a:cubicBezTo>
                    <a:pt x="434" y="632"/>
                    <a:pt x="434" y="632"/>
                    <a:pt x="436" y="632"/>
                  </a:cubicBezTo>
                  <a:cubicBezTo>
                    <a:pt x="437" y="632"/>
                    <a:pt x="438" y="632"/>
                    <a:pt x="439" y="632"/>
                  </a:cubicBezTo>
                  <a:cubicBezTo>
                    <a:pt x="439" y="632"/>
                    <a:pt x="440" y="632"/>
                    <a:pt x="440" y="632"/>
                  </a:cubicBezTo>
                  <a:cubicBezTo>
                    <a:pt x="442" y="632"/>
                    <a:pt x="442" y="632"/>
                    <a:pt x="443" y="631"/>
                  </a:cubicBezTo>
                  <a:cubicBezTo>
                    <a:pt x="446" y="628"/>
                    <a:pt x="448" y="627"/>
                    <a:pt x="451" y="625"/>
                  </a:cubicBezTo>
                  <a:cubicBezTo>
                    <a:pt x="451" y="625"/>
                    <a:pt x="451" y="625"/>
                    <a:pt x="451" y="625"/>
                  </a:cubicBezTo>
                  <a:cubicBezTo>
                    <a:pt x="451" y="625"/>
                    <a:pt x="455" y="628"/>
                    <a:pt x="456" y="628"/>
                  </a:cubicBezTo>
                  <a:cubicBezTo>
                    <a:pt x="455" y="627"/>
                    <a:pt x="454" y="623"/>
                    <a:pt x="454" y="621"/>
                  </a:cubicBezTo>
                  <a:cubicBezTo>
                    <a:pt x="454" y="619"/>
                    <a:pt x="455" y="619"/>
                    <a:pt x="457" y="619"/>
                  </a:cubicBezTo>
                  <a:cubicBezTo>
                    <a:pt x="457" y="619"/>
                    <a:pt x="458" y="619"/>
                    <a:pt x="459" y="619"/>
                  </a:cubicBezTo>
                  <a:cubicBezTo>
                    <a:pt x="459" y="619"/>
                    <a:pt x="460" y="619"/>
                    <a:pt x="461" y="619"/>
                  </a:cubicBezTo>
                  <a:cubicBezTo>
                    <a:pt x="462" y="619"/>
                    <a:pt x="463" y="619"/>
                    <a:pt x="463" y="619"/>
                  </a:cubicBezTo>
                  <a:cubicBezTo>
                    <a:pt x="464" y="618"/>
                    <a:pt x="464" y="616"/>
                    <a:pt x="464" y="615"/>
                  </a:cubicBezTo>
                  <a:cubicBezTo>
                    <a:pt x="464" y="615"/>
                    <a:pt x="463" y="614"/>
                    <a:pt x="462" y="614"/>
                  </a:cubicBezTo>
                  <a:cubicBezTo>
                    <a:pt x="461" y="613"/>
                    <a:pt x="459" y="612"/>
                    <a:pt x="458" y="612"/>
                  </a:cubicBezTo>
                  <a:cubicBezTo>
                    <a:pt x="456" y="616"/>
                    <a:pt x="456" y="616"/>
                    <a:pt x="456" y="616"/>
                  </a:cubicBezTo>
                  <a:cubicBezTo>
                    <a:pt x="457" y="611"/>
                    <a:pt x="457" y="611"/>
                    <a:pt x="457" y="611"/>
                  </a:cubicBezTo>
                  <a:cubicBezTo>
                    <a:pt x="456" y="611"/>
                    <a:pt x="456" y="611"/>
                    <a:pt x="456" y="611"/>
                  </a:cubicBezTo>
                  <a:cubicBezTo>
                    <a:pt x="455" y="610"/>
                    <a:pt x="454" y="610"/>
                    <a:pt x="453" y="609"/>
                  </a:cubicBezTo>
                  <a:cubicBezTo>
                    <a:pt x="452" y="609"/>
                    <a:pt x="452" y="609"/>
                    <a:pt x="452" y="609"/>
                  </a:cubicBezTo>
                  <a:cubicBezTo>
                    <a:pt x="452" y="609"/>
                    <a:pt x="452" y="609"/>
                    <a:pt x="452" y="609"/>
                  </a:cubicBezTo>
                  <a:cubicBezTo>
                    <a:pt x="451" y="609"/>
                    <a:pt x="451" y="609"/>
                    <a:pt x="451" y="609"/>
                  </a:cubicBezTo>
                  <a:cubicBezTo>
                    <a:pt x="450" y="609"/>
                    <a:pt x="450" y="609"/>
                    <a:pt x="450" y="609"/>
                  </a:cubicBezTo>
                  <a:cubicBezTo>
                    <a:pt x="449" y="609"/>
                    <a:pt x="449" y="609"/>
                    <a:pt x="449" y="609"/>
                  </a:cubicBezTo>
                  <a:cubicBezTo>
                    <a:pt x="448" y="608"/>
                    <a:pt x="447" y="607"/>
                    <a:pt x="447" y="606"/>
                  </a:cubicBezTo>
                  <a:cubicBezTo>
                    <a:pt x="447" y="605"/>
                    <a:pt x="447" y="605"/>
                    <a:pt x="447" y="605"/>
                  </a:cubicBezTo>
                  <a:cubicBezTo>
                    <a:pt x="445" y="604"/>
                    <a:pt x="445" y="604"/>
                    <a:pt x="445" y="604"/>
                  </a:cubicBezTo>
                  <a:cubicBezTo>
                    <a:pt x="446" y="601"/>
                    <a:pt x="446" y="601"/>
                    <a:pt x="446" y="601"/>
                  </a:cubicBezTo>
                  <a:cubicBezTo>
                    <a:pt x="446" y="601"/>
                    <a:pt x="447" y="600"/>
                    <a:pt x="447" y="599"/>
                  </a:cubicBezTo>
                  <a:cubicBezTo>
                    <a:pt x="448" y="598"/>
                    <a:pt x="448" y="598"/>
                    <a:pt x="449" y="597"/>
                  </a:cubicBezTo>
                  <a:cubicBezTo>
                    <a:pt x="450" y="597"/>
                    <a:pt x="451" y="597"/>
                    <a:pt x="452" y="597"/>
                  </a:cubicBezTo>
                  <a:cubicBezTo>
                    <a:pt x="453" y="597"/>
                    <a:pt x="455" y="597"/>
                    <a:pt x="456" y="598"/>
                  </a:cubicBezTo>
                  <a:cubicBezTo>
                    <a:pt x="456" y="598"/>
                    <a:pt x="456" y="598"/>
                    <a:pt x="457" y="599"/>
                  </a:cubicBezTo>
                  <a:cubicBezTo>
                    <a:pt x="458" y="599"/>
                    <a:pt x="458" y="599"/>
                    <a:pt x="458" y="599"/>
                  </a:cubicBezTo>
                  <a:cubicBezTo>
                    <a:pt x="458" y="599"/>
                    <a:pt x="458" y="599"/>
                    <a:pt x="458" y="599"/>
                  </a:cubicBezTo>
                  <a:cubicBezTo>
                    <a:pt x="458" y="599"/>
                    <a:pt x="458" y="599"/>
                    <a:pt x="458" y="599"/>
                  </a:cubicBezTo>
                  <a:cubicBezTo>
                    <a:pt x="458" y="598"/>
                    <a:pt x="458" y="598"/>
                    <a:pt x="458" y="598"/>
                  </a:cubicBezTo>
                  <a:cubicBezTo>
                    <a:pt x="457" y="598"/>
                    <a:pt x="457" y="598"/>
                    <a:pt x="457" y="598"/>
                  </a:cubicBezTo>
                  <a:cubicBezTo>
                    <a:pt x="457" y="597"/>
                    <a:pt x="457" y="597"/>
                    <a:pt x="457" y="597"/>
                  </a:cubicBezTo>
                  <a:cubicBezTo>
                    <a:pt x="457" y="597"/>
                    <a:pt x="457" y="597"/>
                    <a:pt x="457" y="597"/>
                  </a:cubicBezTo>
                  <a:cubicBezTo>
                    <a:pt x="457" y="596"/>
                    <a:pt x="456" y="596"/>
                    <a:pt x="456" y="596"/>
                  </a:cubicBezTo>
                  <a:cubicBezTo>
                    <a:pt x="456" y="595"/>
                    <a:pt x="456" y="595"/>
                    <a:pt x="456" y="595"/>
                  </a:cubicBezTo>
                  <a:cubicBezTo>
                    <a:pt x="455" y="595"/>
                    <a:pt x="455" y="594"/>
                    <a:pt x="455" y="594"/>
                  </a:cubicBezTo>
                  <a:cubicBezTo>
                    <a:pt x="454" y="593"/>
                    <a:pt x="453" y="592"/>
                    <a:pt x="452" y="591"/>
                  </a:cubicBezTo>
                  <a:cubicBezTo>
                    <a:pt x="451" y="589"/>
                    <a:pt x="449" y="587"/>
                    <a:pt x="448" y="585"/>
                  </a:cubicBezTo>
                  <a:cubicBezTo>
                    <a:pt x="444" y="579"/>
                    <a:pt x="444" y="579"/>
                    <a:pt x="444" y="579"/>
                  </a:cubicBezTo>
                  <a:cubicBezTo>
                    <a:pt x="443" y="578"/>
                    <a:pt x="442" y="576"/>
                    <a:pt x="441" y="575"/>
                  </a:cubicBezTo>
                  <a:cubicBezTo>
                    <a:pt x="440" y="574"/>
                    <a:pt x="439" y="572"/>
                    <a:pt x="439" y="572"/>
                  </a:cubicBezTo>
                  <a:cubicBezTo>
                    <a:pt x="438" y="571"/>
                    <a:pt x="438" y="571"/>
                    <a:pt x="438" y="571"/>
                  </a:cubicBezTo>
                  <a:cubicBezTo>
                    <a:pt x="438" y="571"/>
                    <a:pt x="438" y="571"/>
                    <a:pt x="438" y="571"/>
                  </a:cubicBezTo>
                  <a:cubicBezTo>
                    <a:pt x="438" y="571"/>
                    <a:pt x="437" y="571"/>
                    <a:pt x="437" y="571"/>
                  </a:cubicBezTo>
                  <a:cubicBezTo>
                    <a:pt x="436" y="571"/>
                    <a:pt x="436" y="571"/>
                    <a:pt x="435" y="571"/>
                  </a:cubicBezTo>
                  <a:cubicBezTo>
                    <a:pt x="433" y="572"/>
                    <a:pt x="431" y="572"/>
                    <a:pt x="430" y="572"/>
                  </a:cubicBezTo>
                  <a:cubicBezTo>
                    <a:pt x="429" y="573"/>
                    <a:pt x="428" y="573"/>
                    <a:pt x="427" y="573"/>
                  </a:cubicBezTo>
                  <a:cubicBezTo>
                    <a:pt x="426" y="573"/>
                    <a:pt x="425" y="573"/>
                    <a:pt x="424" y="573"/>
                  </a:cubicBezTo>
                  <a:cubicBezTo>
                    <a:pt x="421" y="573"/>
                    <a:pt x="419" y="573"/>
                    <a:pt x="417" y="571"/>
                  </a:cubicBezTo>
                  <a:cubicBezTo>
                    <a:pt x="413" y="569"/>
                    <a:pt x="413" y="566"/>
                    <a:pt x="412" y="562"/>
                  </a:cubicBezTo>
                  <a:cubicBezTo>
                    <a:pt x="412" y="561"/>
                    <a:pt x="412" y="560"/>
                    <a:pt x="412" y="559"/>
                  </a:cubicBezTo>
                  <a:cubicBezTo>
                    <a:pt x="413" y="558"/>
                    <a:pt x="413" y="556"/>
                    <a:pt x="412" y="556"/>
                  </a:cubicBezTo>
                  <a:cubicBezTo>
                    <a:pt x="412" y="555"/>
                    <a:pt x="412" y="555"/>
                    <a:pt x="412" y="555"/>
                  </a:cubicBezTo>
                  <a:cubicBezTo>
                    <a:pt x="411" y="555"/>
                    <a:pt x="411" y="555"/>
                    <a:pt x="410" y="555"/>
                  </a:cubicBezTo>
                  <a:cubicBezTo>
                    <a:pt x="409" y="554"/>
                    <a:pt x="409" y="554"/>
                    <a:pt x="409" y="554"/>
                  </a:cubicBezTo>
                  <a:cubicBezTo>
                    <a:pt x="408" y="554"/>
                    <a:pt x="406" y="553"/>
                    <a:pt x="404" y="553"/>
                  </a:cubicBezTo>
                  <a:cubicBezTo>
                    <a:pt x="402" y="552"/>
                    <a:pt x="402" y="552"/>
                    <a:pt x="402" y="552"/>
                  </a:cubicBezTo>
                  <a:cubicBezTo>
                    <a:pt x="401" y="552"/>
                    <a:pt x="401" y="552"/>
                    <a:pt x="401" y="552"/>
                  </a:cubicBezTo>
                  <a:cubicBezTo>
                    <a:pt x="401" y="552"/>
                    <a:pt x="401" y="552"/>
                    <a:pt x="401" y="552"/>
                  </a:cubicBezTo>
                  <a:cubicBezTo>
                    <a:pt x="399" y="551"/>
                    <a:pt x="397" y="549"/>
                    <a:pt x="397" y="547"/>
                  </a:cubicBezTo>
                  <a:cubicBezTo>
                    <a:pt x="397" y="547"/>
                    <a:pt x="397" y="547"/>
                    <a:pt x="397" y="547"/>
                  </a:cubicBezTo>
                  <a:cubicBezTo>
                    <a:pt x="397" y="546"/>
                    <a:pt x="397" y="546"/>
                    <a:pt x="397" y="546"/>
                  </a:cubicBezTo>
                  <a:cubicBezTo>
                    <a:pt x="398" y="543"/>
                    <a:pt x="399" y="540"/>
                    <a:pt x="400" y="538"/>
                  </a:cubicBezTo>
                  <a:cubicBezTo>
                    <a:pt x="401" y="538"/>
                    <a:pt x="401" y="538"/>
                    <a:pt x="401" y="538"/>
                  </a:cubicBezTo>
                  <a:cubicBezTo>
                    <a:pt x="403" y="534"/>
                    <a:pt x="405" y="531"/>
                    <a:pt x="408" y="527"/>
                  </a:cubicBezTo>
                  <a:cubicBezTo>
                    <a:pt x="409" y="527"/>
                    <a:pt x="409" y="527"/>
                    <a:pt x="409" y="527"/>
                  </a:cubicBezTo>
                  <a:cubicBezTo>
                    <a:pt x="409" y="526"/>
                    <a:pt x="409" y="526"/>
                    <a:pt x="409" y="526"/>
                  </a:cubicBezTo>
                  <a:cubicBezTo>
                    <a:pt x="410" y="525"/>
                    <a:pt x="410" y="524"/>
                    <a:pt x="409" y="523"/>
                  </a:cubicBezTo>
                  <a:cubicBezTo>
                    <a:pt x="408" y="523"/>
                    <a:pt x="408" y="523"/>
                    <a:pt x="408" y="523"/>
                  </a:cubicBezTo>
                  <a:cubicBezTo>
                    <a:pt x="406" y="521"/>
                    <a:pt x="406" y="521"/>
                    <a:pt x="406" y="521"/>
                  </a:cubicBezTo>
                  <a:cubicBezTo>
                    <a:pt x="406" y="521"/>
                    <a:pt x="405" y="520"/>
                    <a:pt x="405" y="520"/>
                  </a:cubicBezTo>
                  <a:cubicBezTo>
                    <a:pt x="404" y="519"/>
                    <a:pt x="404" y="518"/>
                    <a:pt x="404" y="517"/>
                  </a:cubicBezTo>
                  <a:cubicBezTo>
                    <a:pt x="404" y="516"/>
                    <a:pt x="404" y="515"/>
                    <a:pt x="405" y="515"/>
                  </a:cubicBezTo>
                  <a:cubicBezTo>
                    <a:pt x="405" y="514"/>
                    <a:pt x="405" y="513"/>
                    <a:pt x="405" y="512"/>
                  </a:cubicBezTo>
                  <a:cubicBezTo>
                    <a:pt x="406" y="507"/>
                    <a:pt x="406" y="507"/>
                    <a:pt x="406" y="507"/>
                  </a:cubicBezTo>
                  <a:cubicBezTo>
                    <a:pt x="406" y="507"/>
                    <a:pt x="406" y="506"/>
                    <a:pt x="406" y="506"/>
                  </a:cubicBezTo>
                  <a:cubicBezTo>
                    <a:pt x="407" y="504"/>
                    <a:pt x="407" y="504"/>
                    <a:pt x="407" y="504"/>
                  </a:cubicBezTo>
                  <a:cubicBezTo>
                    <a:pt x="407" y="503"/>
                    <a:pt x="407" y="503"/>
                    <a:pt x="407" y="502"/>
                  </a:cubicBezTo>
                  <a:cubicBezTo>
                    <a:pt x="409" y="499"/>
                    <a:pt x="411" y="498"/>
                    <a:pt x="413" y="498"/>
                  </a:cubicBezTo>
                  <a:cubicBezTo>
                    <a:pt x="414" y="497"/>
                    <a:pt x="414" y="497"/>
                    <a:pt x="415" y="497"/>
                  </a:cubicBezTo>
                  <a:cubicBezTo>
                    <a:pt x="415" y="496"/>
                    <a:pt x="415" y="496"/>
                    <a:pt x="415" y="496"/>
                  </a:cubicBezTo>
                  <a:cubicBezTo>
                    <a:pt x="416" y="496"/>
                    <a:pt x="416" y="496"/>
                    <a:pt x="416" y="496"/>
                  </a:cubicBezTo>
                  <a:cubicBezTo>
                    <a:pt x="417" y="495"/>
                    <a:pt x="417" y="495"/>
                    <a:pt x="417" y="495"/>
                  </a:cubicBezTo>
                  <a:cubicBezTo>
                    <a:pt x="417" y="493"/>
                    <a:pt x="418" y="491"/>
                    <a:pt x="418" y="489"/>
                  </a:cubicBezTo>
                  <a:cubicBezTo>
                    <a:pt x="419" y="488"/>
                    <a:pt x="419" y="488"/>
                    <a:pt x="419" y="488"/>
                  </a:cubicBezTo>
                  <a:cubicBezTo>
                    <a:pt x="419" y="488"/>
                    <a:pt x="419" y="487"/>
                    <a:pt x="419" y="487"/>
                  </a:cubicBezTo>
                  <a:cubicBezTo>
                    <a:pt x="419" y="486"/>
                    <a:pt x="420" y="486"/>
                    <a:pt x="420" y="485"/>
                  </a:cubicBezTo>
                  <a:cubicBezTo>
                    <a:pt x="421" y="483"/>
                    <a:pt x="424" y="482"/>
                    <a:pt x="427" y="482"/>
                  </a:cubicBezTo>
                  <a:cubicBezTo>
                    <a:pt x="427" y="482"/>
                    <a:pt x="427" y="482"/>
                    <a:pt x="427" y="482"/>
                  </a:cubicBezTo>
                  <a:cubicBezTo>
                    <a:pt x="428" y="482"/>
                    <a:pt x="428" y="482"/>
                    <a:pt x="429" y="482"/>
                  </a:cubicBezTo>
                  <a:cubicBezTo>
                    <a:pt x="430" y="482"/>
                    <a:pt x="430" y="482"/>
                    <a:pt x="430" y="482"/>
                  </a:cubicBezTo>
                  <a:cubicBezTo>
                    <a:pt x="433" y="484"/>
                    <a:pt x="437" y="488"/>
                    <a:pt x="439" y="490"/>
                  </a:cubicBezTo>
                  <a:cubicBezTo>
                    <a:pt x="440" y="491"/>
                    <a:pt x="440" y="491"/>
                    <a:pt x="440" y="491"/>
                  </a:cubicBezTo>
                  <a:cubicBezTo>
                    <a:pt x="440" y="492"/>
                    <a:pt x="441" y="493"/>
                    <a:pt x="442" y="493"/>
                  </a:cubicBezTo>
                  <a:cubicBezTo>
                    <a:pt x="443" y="494"/>
                    <a:pt x="443" y="494"/>
                    <a:pt x="443" y="494"/>
                  </a:cubicBezTo>
                  <a:cubicBezTo>
                    <a:pt x="444" y="496"/>
                    <a:pt x="446" y="498"/>
                    <a:pt x="447" y="499"/>
                  </a:cubicBezTo>
                  <a:cubicBezTo>
                    <a:pt x="447" y="499"/>
                    <a:pt x="448" y="500"/>
                    <a:pt x="448" y="500"/>
                  </a:cubicBezTo>
                  <a:cubicBezTo>
                    <a:pt x="448" y="500"/>
                    <a:pt x="448" y="500"/>
                    <a:pt x="448" y="500"/>
                  </a:cubicBezTo>
                  <a:cubicBezTo>
                    <a:pt x="449" y="500"/>
                    <a:pt x="449" y="499"/>
                    <a:pt x="450" y="499"/>
                  </a:cubicBezTo>
                  <a:cubicBezTo>
                    <a:pt x="450" y="499"/>
                    <a:pt x="450" y="499"/>
                    <a:pt x="450" y="499"/>
                  </a:cubicBezTo>
                  <a:cubicBezTo>
                    <a:pt x="451" y="498"/>
                    <a:pt x="454" y="497"/>
                    <a:pt x="455" y="497"/>
                  </a:cubicBezTo>
                  <a:cubicBezTo>
                    <a:pt x="455" y="496"/>
                    <a:pt x="455" y="496"/>
                    <a:pt x="455" y="496"/>
                  </a:cubicBezTo>
                  <a:cubicBezTo>
                    <a:pt x="454" y="496"/>
                    <a:pt x="454" y="496"/>
                    <a:pt x="454" y="496"/>
                  </a:cubicBezTo>
                  <a:cubicBezTo>
                    <a:pt x="454" y="495"/>
                    <a:pt x="454" y="495"/>
                    <a:pt x="454" y="495"/>
                  </a:cubicBezTo>
                  <a:cubicBezTo>
                    <a:pt x="453" y="494"/>
                    <a:pt x="453" y="493"/>
                    <a:pt x="453" y="492"/>
                  </a:cubicBezTo>
                  <a:cubicBezTo>
                    <a:pt x="453" y="492"/>
                    <a:pt x="453" y="492"/>
                    <a:pt x="453" y="492"/>
                  </a:cubicBezTo>
                  <a:cubicBezTo>
                    <a:pt x="453" y="492"/>
                    <a:pt x="453" y="492"/>
                    <a:pt x="453" y="492"/>
                  </a:cubicBezTo>
                  <a:cubicBezTo>
                    <a:pt x="453" y="491"/>
                    <a:pt x="452" y="490"/>
                    <a:pt x="452" y="490"/>
                  </a:cubicBezTo>
                  <a:cubicBezTo>
                    <a:pt x="452" y="489"/>
                    <a:pt x="452" y="488"/>
                    <a:pt x="451" y="487"/>
                  </a:cubicBezTo>
                  <a:cubicBezTo>
                    <a:pt x="451" y="485"/>
                    <a:pt x="451" y="484"/>
                    <a:pt x="451" y="483"/>
                  </a:cubicBezTo>
                  <a:cubicBezTo>
                    <a:pt x="450" y="483"/>
                    <a:pt x="450" y="482"/>
                    <a:pt x="450" y="482"/>
                  </a:cubicBezTo>
                  <a:cubicBezTo>
                    <a:pt x="449" y="480"/>
                    <a:pt x="449" y="479"/>
                    <a:pt x="449" y="477"/>
                  </a:cubicBezTo>
                  <a:cubicBezTo>
                    <a:pt x="448" y="472"/>
                    <a:pt x="448" y="472"/>
                    <a:pt x="448" y="472"/>
                  </a:cubicBezTo>
                  <a:cubicBezTo>
                    <a:pt x="450" y="472"/>
                    <a:pt x="450" y="472"/>
                    <a:pt x="450" y="472"/>
                  </a:cubicBezTo>
                  <a:cubicBezTo>
                    <a:pt x="453" y="474"/>
                    <a:pt x="453" y="474"/>
                    <a:pt x="453" y="474"/>
                  </a:cubicBezTo>
                  <a:cubicBezTo>
                    <a:pt x="454" y="474"/>
                    <a:pt x="454" y="474"/>
                    <a:pt x="454" y="474"/>
                  </a:cubicBezTo>
                  <a:cubicBezTo>
                    <a:pt x="455" y="474"/>
                    <a:pt x="457" y="474"/>
                    <a:pt x="459" y="472"/>
                  </a:cubicBezTo>
                  <a:cubicBezTo>
                    <a:pt x="459" y="472"/>
                    <a:pt x="460" y="472"/>
                    <a:pt x="461" y="471"/>
                  </a:cubicBezTo>
                  <a:cubicBezTo>
                    <a:pt x="462" y="471"/>
                    <a:pt x="462" y="471"/>
                    <a:pt x="462" y="471"/>
                  </a:cubicBezTo>
                  <a:cubicBezTo>
                    <a:pt x="463" y="470"/>
                    <a:pt x="463" y="470"/>
                    <a:pt x="463" y="470"/>
                  </a:cubicBezTo>
                  <a:cubicBezTo>
                    <a:pt x="463" y="470"/>
                    <a:pt x="464" y="470"/>
                    <a:pt x="465" y="470"/>
                  </a:cubicBezTo>
                  <a:cubicBezTo>
                    <a:pt x="465" y="469"/>
                    <a:pt x="465" y="469"/>
                    <a:pt x="465" y="469"/>
                  </a:cubicBezTo>
                  <a:cubicBezTo>
                    <a:pt x="466" y="469"/>
                    <a:pt x="467" y="469"/>
                    <a:pt x="468" y="468"/>
                  </a:cubicBezTo>
                  <a:cubicBezTo>
                    <a:pt x="468" y="468"/>
                    <a:pt x="468" y="468"/>
                    <a:pt x="468" y="468"/>
                  </a:cubicBezTo>
                  <a:cubicBezTo>
                    <a:pt x="466" y="464"/>
                    <a:pt x="466" y="464"/>
                    <a:pt x="466" y="464"/>
                  </a:cubicBezTo>
                  <a:cubicBezTo>
                    <a:pt x="487" y="455"/>
                    <a:pt x="487" y="455"/>
                    <a:pt x="487" y="455"/>
                  </a:cubicBezTo>
                  <a:cubicBezTo>
                    <a:pt x="488" y="455"/>
                    <a:pt x="488" y="455"/>
                    <a:pt x="489" y="454"/>
                  </a:cubicBezTo>
                  <a:cubicBezTo>
                    <a:pt x="489" y="454"/>
                    <a:pt x="489" y="454"/>
                    <a:pt x="489" y="454"/>
                  </a:cubicBezTo>
                  <a:cubicBezTo>
                    <a:pt x="491" y="454"/>
                    <a:pt x="491" y="453"/>
                    <a:pt x="492" y="453"/>
                  </a:cubicBezTo>
                  <a:cubicBezTo>
                    <a:pt x="492" y="453"/>
                    <a:pt x="492" y="453"/>
                    <a:pt x="492" y="453"/>
                  </a:cubicBezTo>
                  <a:cubicBezTo>
                    <a:pt x="493" y="451"/>
                    <a:pt x="493" y="451"/>
                    <a:pt x="493" y="451"/>
                  </a:cubicBezTo>
                  <a:cubicBezTo>
                    <a:pt x="493" y="450"/>
                    <a:pt x="493" y="450"/>
                    <a:pt x="493" y="450"/>
                  </a:cubicBezTo>
                  <a:cubicBezTo>
                    <a:pt x="494" y="449"/>
                    <a:pt x="494" y="449"/>
                    <a:pt x="494" y="449"/>
                  </a:cubicBezTo>
                  <a:cubicBezTo>
                    <a:pt x="496" y="445"/>
                    <a:pt x="498" y="444"/>
                    <a:pt x="502" y="443"/>
                  </a:cubicBezTo>
                  <a:cubicBezTo>
                    <a:pt x="503" y="443"/>
                    <a:pt x="503" y="443"/>
                    <a:pt x="503" y="443"/>
                  </a:cubicBezTo>
                  <a:cubicBezTo>
                    <a:pt x="503" y="443"/>
                    <a:pt x="503" y="443"/>
                    <a:pt x="503" y="443"/>
                  </a:cubicBezTo>
                  <a:cubicBezTo>
                    <a:pt x="503" y="443"/>
                    <a:pt x="503" y="442"/>
                    <a:pt x="503" y="441"/>
                  </a:cubicBezTo>
                  <a:cubicBezTo>
                    <a:pt x="501" y="436"/>
                    <a:pt x="501" y="436"/>
                    <a:pt x="501" y="436"/>
                  </a:cubicBezTo>
                  <a:cubicBezTo>
                    <a:pt x="507" y="438"/>
                    <a:pt x="507" y="438"/>
                    <a:pt x="507" y="438"/>
                  </a:cubicBezTo>
                  <a:cubicBezTo>
                    <a:pt x="508" y="438"/>
                    <a:pt x="510" y="438"/>
                    <a:pt x="512" y="439"/>
                  </a:cubicBezTo>
                  <a:cubicBezTo>
                    <a:pt x="513" y="439"/>
                    <a:pt x="514" y="439"/>
                    <a:pt x="514" y="439"/>
                  </a:cubicBezTo>
                  <a:cubicBezTo>
                    <a:pt x="516" y="440"/>
                    <a:pt x="517" y="440"/>
                    <a:pt x="519" y="441"/>
                  </a:cubicBezTo>
                  <a:cubicBezTo>
                    <a:pt x="520" y="441"/>
                    <a:pt x="522" y="443"/>
                    <a:pt x="523" y="445"/>
                  </a:cubicBezTo>
                  <a:cubicBezTo>
                    <a:pt x="524" y="442"/>
                    <a:pt x="524" y="442"/>
                    <a:pt x="524" y="442"/>
                  </a:cubicBezTo>
                  <a:cubicBezTo>
                    <a:pt x="524" y="447"/>
                    <a:pt x="524" y="447"/>
                    <a:pt x="524" y="447"/>
                  </a:cubicBezTo>
                  <a:cubicBezTo>
                    <a:pt x="524" y="447"/>
                    <a:pt x="524" y="447"/>
                    <a:pt x="524" y="447"/>
                  </a:cubicBezTo>
                  <a:cubicBezTo>
                    <a:pt x="524" y="447"/>
                    <a:pt x="525" y="447"/>
                    <a:pt x="526" y="447"/>
                  </a:cubicBezTo>
                  <a:cubicBezTo>
                    <a:pt x="526" y="447"/>
                    <a:pt x="526" y="447"/>
                    <a:pt x="526" y="447"/>
                  </a:cubicBezTo>
                  <a:cubicBezTo>
                    <a:pt x="527" y="447"/>
                    <a:pt x="527" y="447"/>
                    <a:pt x="527" y="447"/>
                  </a:cubicBezTo>
                  <a:cubicBezTo>
                    <a:pt x="527" y="447"/>
                    <a:pt x="527" y="447"/>
                    <a:pt x="527" y="447"/>
                  </a:cubicBezTo>
                  <a:cubicBezTo>
                    <a:pt x="527" y="447"/>
                    <a:pt x="527" y="446"/>
                    <a:pt x="527" y="446"/>
                  </a:cubicBezTo>
                  <a:cubicBezTo>
                    <a:pt x="527" y="445"/>
                    <a:pt x="527" y="445"/>
                    <a:pt x="527" y="445"/>
                  </a:cubicBezTo>
                  <a:cubicBezTo>
                    <a:pt x="527" y="444"/>
                    <a:pt x="528" y="441"/>
                    <a:pt x="532" y="441"/>
                  </a:cubicBezTo>
                  <a:cubicBezTo>
                    <a:pt x="537" y="440"/>
                    <a:pt x="538" y="440"/>
                    <a:pt x="542" y="437"/>
                  </a:cubicBezTo>
                  <a:cubicBezTo>
                    <a:pt x="545" y="435"/>
                    <a:pt x="545" y="435"/>
                    <a:pt x="545" y="435"/>
                  </a:cubicBezTo>
                  <a:cubicBezTo>
                    <a:pt x="546" y="438"/>
                    <a:pt x="546" y="438"/>
                    <a:pt x="546" y="438"/>
                  </a:cubicBezTo>
                  <a:cubicBezTo>
                    <a:pt x="547" y="439"/>
                    <a:pt x="547" y="440"/>
                    <a:pt x="547" y="441"/>
                  </a:cubicBezTo>
                  <a:cubicBezTo>
                    <a:pt x="548" y="442"/>
                    <a:pt x="548" y="444"/>
                    <a:pt x="549" y="445"/>
                  </a:cubicBezTo>
                  <a:cubicBezTo>
                    <a:pt x="549" y="446"/>
                    <a:pt x="549" y="446"/>
                    <a:pt x="549" y="446"/>
                  </a:cubicBezTo>
                  <a:cubicBezTo>
                    <a:pt x="550" y="446"/>
                    <a:pt x="550" y="446"/>
                    <a:pt x="550" y="447"/>
                  </a:cubicBezTo>
                  <a:cubicBezTo>
                    <a:pt x="550" y="447"/>
                    <a:pt x="550" y="447"/>
                    <a:pt x="550" y="447"/>
                  </a:cubicBezTo>
                  <a:cubicBezTo>
                    <a:pt x="550" y="447"/>
                    <a:pt x="550" y="447"/>
                    <a:pt x="550" y="447"/>
                  </a:cubicBezTo>
                  <a:cubicBezTo>
                    <a:pt x="550" y="447"/>
                    <a:pt x="550" y="447"/>
                    <a:pt x="550" y="447"/>
                  </a:cubicBezTo>
                  <a:cubicBezTo>
                    <a:pt x="551" y="447"/>
                    <a:pt x="551" y="447"/>
                    <a:pt x="551" y="447"/>
                  </a:cubicBezTo>
                  <a:cubicBezTo>
                    <a:pt x="551" y="447"/>
                    <a:pt x="551" y="447"/>
                    <a:pt x="551" y="447"/>
                  </a:cubicBezTo>
                  <a:cubicBezTo>
                    <a:pt x="550" y="441"/>
                    <a:pt x="550" y="441"/>
                    <a:pt x="550" y="441"/>
                  </a:cubicBezTo>
                  <a:cubicBezTo>
                    <a:pt x="553" y="447"/>
                    <a:pt x="553" y="447"/>
                    <a:pt x="553" y="447"/>
                  </a:cubicBezTo>
                  <a:cubicBezTo>
                    <a:pt x="553" y="446"/>
                    <a:pt x="553" y="446"/>
                    <a:pt x="553" y="446"/>
                  </a:cubicBezTo>
                  <a:cubicBezTo>
                    <a:pt x="555" y="446"/>
                    <a:pt x="558" y="446"/>
                    <a:pt x="561" y="446"/>
                  </a:cubicBezTo>
                  <a:cubicBezTo>
                    <a:pt x="561" y="446"/>
                    <a:pt x="562" y="446"/>
                    <a:pt x="562" y="446"/>
                  </a:cubicBezTo>
                  <a:cubicBezTo>
                    <a:pt x="565" y="446"/>
                    <a:pt x="569" y="446"/>
                    <a:pt x="572" y="447"/>
                  </a:cubicBezTo>
                  <a:cubicBezTo>
                    <a:pt x="578" y="450"/>
                    <a:pt x="584" y="455"/>
                    <a:pt x="590" y="460"/>
                  </a:cubicBezTo>
                  <a:cubicBezTo>
                    <a:pt x="590" y="461"/>
                    <a:pt x="590" y="461"/>
                    <a:pt x="590" y="461"/>
                  </a:cubicBezTo>
                  <a:cubicBezTo>
                    <a:pt x="592" y="462"/>
                    <a:pt x="593" y="463"/>
                    <a:pt x="595" y="464"/>
                  </a:cubicBezTo>
                  <a:cubicBezTo>
                    <a:pt x="595" y="465"/>
                    <a:pt x="595" y="465"/>
                    <a:pt x="595" y="465"/>
                  </a:cubicBezTo>
                  <a:cubicBezTo>
                    <a:pt x="595" y="463"/>
                    <a:pt x="595" y="463"/>
                    <a:pt x="595" y="463"/>
                  </a:cubicBezTo>
                  <a:cubicBezTo>
                    <a:pt x="597" y="462"/>
                    <a:pt x="597" y="462"/>
                    <a:pt x="597" y="462"/>
                  </a:cubicBezTo>
                  <a:cubicBezTo>
                    <a:pt x="598" y="462"/>
                    <a:pt x="599" y="461"/>
                    <a:pt x="600" y="461"/>
                  </a:cubicBezTo>
                  <a:cubicBezTo>
                    <a:pt x="600" y="461"/>
                    <a:pt x="600" y="461"/>
                    <a:pt x="600" y="461"/>
                  </a:cubicBezTo>
                  <a:cubicBezTo>
                    <a:pt x="601" y="461"/>
                    <a:pt x="601" y="461"/>
                    <a:pt x="602" y="461"/>
                  </a:cubicBezTo>
                  <a:cubicBezTo>
                    <a:pt x="603" y="462"/>
                    <a:pt x="603" y="462"/>
                    <a:pt x="603" y="462"/>
                  </a:cubicBezTo>
                  <a:cubicBezTo>
                    <a:pt x="603" y="462"/>
                    <a:pt x="603" y="462"/>
                    <a:pt x="603" y="462"/>
                  </a:cubicBezTo>
                  <a:cubicBezTo>
                    <a:pt x="604" y="462"/>
                    <a:pt x="604" y="462"/>
                    <a:pt x="604" y="462"/>
                  </a:cubicBezTo>
                  <a:cubicBezTo>
                    <a:pt x="605" y="463"/>
                    <a:pt x="607" y="464"/>
                    <a:pt x="608" y="465"/>
                  </a:cubicBezTo>
                  <a:cubicBezTo>
                    <a:pt x="611" y="467"/>
                    <a:pt x="611" y="467"/>
                    <a:pt x="611" y="467"/>
                  </a:cubicBezTo>
                  <a:cubicBezTo>
                    <a:pt x="614" y="470"/>
                    <a:pt x="617" y="472"/>
                    <a:pt x="621" y="474"/>
                  </a:cubicBezTo>
                  <a:cubicBezTo>
                    <a:pt x="624" y="476"/>
                    <a:pt x="626" y="477"/>
                    <a:pt x="626" y="477"/>
                  </a:cubicBezTo>
                  <a:cubicBezTo>
                    <a:pt x="627" y="476"/>
                    <a:pt x="627" y="476"/>
                    <a:pt x="627" y="476"/>
                  </a:cubicBezTo>
                  <a:cubicBezTo>
                    <a:pt x="628" y="476"/>
                    <a:pt x="628" y="476"/>
                    <a:pt x="628" y="476"/>
                  </a:cubicBezTo>
                  <a:cubicBezTo>
                    <a:pt x="628" y="475"/>
                    <a:pt x="629" y="475"/>
                    <a:pt x="629" y="475"/>
                  </a:cubicBezTo>
                  <a:cubicBezTo>
                    <a:pt x="630" y="474"/>
                    <a:pt x="631" y="474"/>
                    <a:pt x="631" y="474"/>
                  </a:cubicBezTo>
                  <a:cubicBezTo>
                    <a:pt x="632" y="473"/>
                    <a:pt x="632" y="473"/>
                    <a:pt x="633" y="473"/>
                  </a:cubicBezTo>
                  <a:cubicBezTo>
                    <a:pt x="633" y="472"/>
                    <a:pt x="633" y="472"/>
                    <a:pt x="633" y="472"/>
                  </a:cubicBezTo>
                  <a:cubicBezTo>
                    <a:pt x="633" y="472"/>
                    <a:pt x="633" y="472"/>
                    <a:pt x="633" y="472"/>
                  </a:cubicBezTo>
                  <a:cubicBezTo>
                    <a:pt x="634" y="471"/>
                    <a:pt x="634" y="471"/>
                    <a:pt x="634" y="471"/>
                  </a:cubicBezTo>
                  <a:cubicBezTo>
                    <a:pt x="634" y="470"/>
                    <a:pt x="634" y="470"/>
                    <a:pt x="634" y="470"/>
                  </a:cubicBezTo>
                  <a:cubicBezTo>
                    <a:pt x="636" y="467"/>
                    <a:pt x="638" y="467"/>
                    <a:pt x="639" y="467"/>
                  </a:cubicBezTo>
                  <a:cubicBezTo>
                    <a:pt x="640" y="466"/>
                    <a:pt x="640" y="466"/>
                    <a:pt x="640" y="466"/>
                  </a:cubicBezTo>
                  <a:cubicBezTo>
                    <a:pt x="641" y="465"/>
                    <a:pt x="641" y="465"/>
                    <a:pt x="641" y="465"/>
                  </a:cubicBezTo>
                  <a:cubicBezTo>
                    <a:pt x="642" y="462"/>
                    <a:pt x="644" y="461"/>
                    <a:pt x="647" y="461"/>
                  </a:cubicBezTo>
                  <a:cubicBezTo>
                    <a:pt x="651" y="460"/>
                    <a:pt x="655" y="460"/>
                    <a:pt x="659" y="459"/>
                  </a:cubicBezTo>
                  <a:cubicBezTo>
                    <a:pt x="660" y="459"/>
                    <a:pt x="660" y="459"/>
                    <a:pt x="661" y="459"/>
                  </a:cubicBezTo>
                  <a:cubicBezTo>
                    <a:pt x="663" y="459"/>
                    <a:pt x="665" y="460"/>
                    <a:pt x="666" y="462"/>
                  </a:cubicBezTo>
                  <a:cubicBezTo>
                    <a:pt x="666" y="462"/>
                    <a:pt x="667" y="463"/>
                    <a:pt x="667" y="463"/>
                  </a:cubicBezTo>
                  <a:cubicBezTo>
                    <a:pt x="668" y="464"/>
                    <a:pt x="668" y="464"/>
                    <a:pt x="668" y="464"/>
                  </a:cubicBezTo>
                  <a:cubicBezTo>
                    <a:pt x="669" y="465"/>
                    <a:pt x="670" y="466"/>
                    <a:pt x="671" y="467"/>
                  </a:cubicBezTo>
                  <a:cubicBezTo>
                    <a:pt x="671" y="467"/>
                    <a:pt x="671" y="467"/>
                    <a:pt x="672" y="466"/>
                  </a:cubicBezTo>
                  <a:cubicBezTo>
                    <a:pt x="673" y="466"/>
                    <a:pt x="673" y="466"/>
                    <a:pt x="674" y="466"/>
                  </a:cubicBezTo>
                  <a:cubicBezTo>
                    <a:pt x="674" y="466"/>
                    <a:pt x="674" y="466"/>
                    <a:pt x="674" y="466"/>
                  </a:cubicBezTo>
                  <a:cubicBezTo>
                    <a:pt x="674" y="465"/>
                    <a:pt x="674" y="465"/>
                    <a:pt x="674" y="465"/>
                  </a:cubicBezTo>
                  <a:cubicBezTo>
                    <a:pt x="674" y="464"/>
                    <a:pt x="674" y="464"/>
                    <a:pt x="674" y="464"/>
                  </a:cubicBezTo>
                  <a:cubicBezTo>
                    <a:pt x="674" y="460"/>
                    <a:pt x="676" y="458"/>
                    <a:pt x="681" y="458"/>
                  </a:cubicBezTo>
                  <a:cubicBezTo>
                    <a:pt x="682" y="458"/>
                    <a:pt x="682" y="458"/>
                    <a:pt x="682" y="458"/>
                  </a:cubicBezTo>
                  <a:cubicBezTo>
                    <a:pt x="683" y="458"/>
                    <a:pt x="684" y="458"/>
                    <a:pt x="686" y="458"/>
                  </a:cubicBezTo>
                  <a:cubicBezTo>
                    <a:pt x="692" y="458"/>
                    <a:pt x="700" y="459"/>
                    <a:pt x="702" y="468"/>
                  </a:cubicBezTo>
                  <a:cubicBezTo>
                    <a:pt x="702" y="468"/>
                    <a:pt x="702" y="468"/>
                    <a:pt x="702" y="468"/>
                  </a:cubicBezTo>
                  <a:cubicBezTo>
                    <a:pt x="702" y="469"/>
                    <a:pt x="702" y="470"/>
                    <a:pt x="702" y="470"/>
                  </a:cubicBezTo>
                  <a:cubicBezTo>
                    <a:pt x="702" y="470"/>
                    <a:pt x="703" y="470"/>
                    <a:pt x="704" y="471"/>
                  </a:cubicBezTo>
                  <a:cubicBezTo>
                    <a:pt x="705" y="472"/>
                    <a:pt x="706" y="472"/>
                    <a:pt x="706" y="472"/>
                  </a:cubicBezTo>
                  <a:cubicBezTo>
                    <a:pt x="706" y="472"/>
                    <a:pt x="706" y="472"/>
                    <a:pt x="706" y="472"/>
                  </a:cubicBezTo>
                  <a:cubicBezTo>
                    <a:pt x="706" y="472"/>
                    <a:pt x="706" y="472"/>
                    <a:pt x="706" y="472"/>
                  </a:cubicBezTo>
                  <a:cubicBezTo>
                    <a:pt x="707" y="473"/>
                    <a:pt x="707" y="473"/>
                    <a:pt x="707" y="473"/>
                  </a:cubicBezTo>
                  <a:cubicBezTo>
                    <a:pt x="708" y="473"/>
                    <a:pt x="709" y="473"/>
                    <a:pt x="710" y="473"/>
                  </a:cubicBezTo>
                  <a:cubicBezTo>
                    <a:pt x="710" y="473"/>
                    <a:pt x="710" y="473"/>
                    <a:pt x="710" y="473"/>
                  </a:cubicBezTo>
                  <a:cubicBezTo>
                    <a:pt x="711" y="473"/>
                    <a:pt x="712" y="473"/>
                    <a:pt x="712" y="473"/>
                  </a:cubicBezTo>
                  <a:cubicBezTo>
                    <a:pt x="716" y="474"/>
                    <a:pt x="718" y="475"/>
                    <a:pt x="721" y="475"/>
                  </a:cubicBezTo>
                  <a:cubicBezTo>
                    <a:pt x="722" y="476"/>
                    <a:pt x="723" y="476"/>
                    <a:pt x="724" y="477"/>
                  </a:cubicBezTo>
                  <a:cubicBezTo>
                    <a:pt x="724" y="478"/>
                    <a:pt x="724" y="478"/>
                    <a:pt x="724" y="478"/>
                  </a:cubicBezTo>
                  <a:cubicBezTo>
                    <a:pt x="724" y="477"/>
                    <a:pt x="724" y="477"/>
                    <a:pt x="724" y="477"/>
                  </a:cubicBezTo>
                  <a:cubicBezTo>
                    <a:pt x="725" y="477"/>
                    <a:pt x="725" y="477"/>
                    <a:pt x="725" y="477"/>
                  </a:cubicBezTo>
                  <a:cubicBezTo>
                    <a:pt x="726" y="476"/>
                    <a:pt x="726" y="476"/>
                    <a:pt x="726" y="476"/>
                  </a:cubicBezTo>
                  <a:cubicBezTo>
                    <a:pt x="727" y="476"/>
                    <a:pt x="727" y="475"/>
                    <a:pt x="727" y="474"/>
                  </a:cubicBezTo>
                  <a:cubicBezTo>
                    <a:pt x="728" y="473"/>
                    <a:pt x="729" y="472"/>
                    <a:pt x="729" y="470"/>
                  </a:cubicBezTo>
                  <a:cubicBezTo>
                    <a:pt x="729" y="469"/>
                    <a:pt x="729" y="469"/>
                    <a:pt x="729" y="469"/>
                  </a:cubicBezTo>
                  <a:cubicBezTo>
                    <a:pt x="729" y="469"/>
                    <a:pt x="729" y="469"/>
                    <a:pt x="729" y="469"/>
                  </a:cubicBezTo>
                  <a:cubicBezTo>
                    <a:pt x="731" y="466"/>
                    <a:pt x="731" y="466"/>
                    <a:pt x="731" y="466"/>
                  </a:cubicBezTo>
                  <a:cubicBezTo>
                    <a:pt x="738" y="470"/>
                    <a:pt x="738" y="470"/>
                    <a:pt x="738" y="470"/>
                  </a:cubicBezTo>
                  <a:cubicBezTo>
                    <a:pt x="740" y="471"/>
                    <a:pt x="740" y="471"/>
                    <a:pt x="740" y="471"/>
                  </a:cubicBezTo>
                  <a:cubicBezTo>
                    <a:pt x="743" y="472"/>
                    <a:pt x="746" y="473"/>
                    <a:pt x="749" y="473"/>
                  </a:cubicBezTo>
                  <a:cubicBezTo>
                    <a:pt x="751" y="473"/>
                    <a:pt x="751" y="473"/>
                    <a:pt x="751" y="473"/>
                  </a:cubicBezTo>
                  <a:cubicBezTo>
                    <a:pt x="751" y="473"/>
                    <a:pt x="751" y="473"/>
                    <a:pt x="751" y="473"/>
                  </a:cubicBezTo>
                  <a:cubicBezTo>
                    <a:pt x="752" y="473"/>
                    <a:pt x="753" y="473"/>
                    <a:pt x="754" y="473"/>
                  </a:cubicBezTo>
                  <a:cubicBezTo>
                    <a:pt x="757" y="472"/>
                    <a:pt x="761" y="471"/>
                    <a:pt x="764" y="470"/>
                  </a:cubicBezTo>
                  <a:cubicBezTo>
                    <a:pt x="765" y="469"/>
                    <a:pt x="765" y="469"/>
                    <a:pt x="765" y="469"/>
                  </a:cubicBezTo>
                  <a:cubicBezTo>
                    <a:pt x="765" y="469"/>
                    <a:pt x="765" y="469"/>
                    <a:pt x="765" y="469"/>
                  </a:cubicBezTo>
                  <a:cubicBezTo>
                    <a:pt x="765" y="469"/>
                    <a:pt x="765" y="469"/>
                    <a:pt x="765" y="468"/>
                  </a:cubicBezTo>
                  <a:cubicBezTo>
                    <a:pt x="765" y="467"/>
                    <a:pt x="765" y="467"/>
                    <a:pt x="765" y="467"/>
                  </a:cubicBezTo>
                  <a:cubicBezTo>
                    <a:pt x="765" y="466"/>
                    <a:pt x="765" y="465"/>
                    <a:pt x="766" y="465"/>
                  </a:cubicBezTo>
                  <a:cubicBezTo>
                    <a:pt x="766" y="464"/>
                    <a:pt x="766" y="464"/>
                    <a:pt x="766" y="464"/>
                  </a:cubicBezTo>
                  <a:cubicBezTo>
                    <a:pt x="767" y="461"/>
                    <a:pt x="768" y="459"/>
                    <a:pt x="769" y="458"/>
                  </a:cubicBezTo>
                  <a:cubicBezTo>
                    <a:pt x="756" y="452"/>
                    <a:pt x="756" y="452"/>
                    <a:pt x="756" y="452"/>
                  </a:cubicBezTo>
                  <a:cubicBezTo>
                    <a:pt x="748" y="448"/>
                    <a:pt x="748" y="448"/>
                    <a:pt x="748" y="448"/>
                  </a:cubicBezTo>
                  <a:cubicBezTo>
                    <a:pt x="744" y="447"/>
                    <a:pt x="744" y="447"/>
                    <a:pt x="744" y="447"/>
                  </a:cubicBezTo>
                  <a:cubicBezTo>
                    <a:pt x="743" y="447"/>
                    <a:pt x="743" y="447"/>
                    <a:pt x="742" y="446"/>
                  </a:cubicBezTo>
                  <a:cubicBezTo>
                    <a:pt x="739" y="445"/>
                    <a:pt x="739" y="445"/>
                    <a:pt x="739" y="445"/>
                  </a:cubicBezTo>
                  <a:cubicBezTo>
                    <a:pt x="737" y="443"/>
                    <a:pt x="737" y="443"/>
                    <a:pt x="737" y="443"/>
                  </a:cubicBezTo>
                  <a:cubicBezTo>
                    <a:pt x="737" y="442"/>
                    <a:pt x="737" y="442"/>
                    <a:pt x="737" y="442"/>
                  </a:cubicBezTo>
                  <a:cubicBezTo>
                    <a:pt x="736" y="442"/>
                    <a:pt x="735" y="441"/>
                    <a:pt x="734" y="440"/>
                  </a:cubicBezTo>
                  <a:cubicBezTo>
                    <a:pt x="733" y="439"/>
                    <a:pt x="733" y="439"/>
                    <a:pt x="733" y="439"/>
                  </a:cubicBezTo>
                  <a:cubicBezTo>
                    <a:pt x="731" y="437"/>
                    <a:pt x="731" y="437"/>
                    <a:pt x="731" y="437"/>
                  </a:cubicBezTo>
                  <a:cubicBezTo>
                    <a:pt x="731" y="437"/>
                    <a:pt x="731" y="436"/>
                    <a:pt x="730" y="436"/>
                  </a:cubicBezTo>
                  <a:cubicBezTo>
                    <a:pt x="729" y="434"/>
                    <a:pt x="729" y="434"/>
                    <a:pt x="729" y="434"/>
                  </a:cubicBezTo>
                  <a:cubicBezTo>
                    <a:pt x="730" y="431"/>
                    <a:pt x="730" y="431"/>
                    <a:pt x="730" y="431"/>
                  </a:cubicBezTo>
                  <a:cubicBezTo>
                    <a:pt x="730" y="429"/>
                    <a:pt x="730" y="429"/>
                    <a:pt x="730" y="429"/>
                  </a:cubicBezTo>
                  <a:cubicBezTo>
                    <a:pt x="733" y="429"/>
                    <a:pt x="733" y="429"/>
                    <a:pt x="733" y="429"/>
                  </a:cubicBezTo>
                  <a:cubicBezTo>
                    <a:pt x="736" y="429"/>
                    <a:pt x="736" y="429"/>
                    <a:pt x="736" y="429"/>
                  </a:cubicBezTo>
                  <a:cubicBezTo>
                    <a:pt x="736" y="429"/>
                    <a:pt x="736" y="429"/>
                    <a:pt x="736" y="429"/>
                  </a:cubicBezTo>
                  <a:cubicBezTo>
                    <a:pt x="737" y="429"/>
                    <a:pt x="737" y="429"/>
                    <a:pt x="737" y="429"/>
                  </a:cubicBezTo>
                  <a:cubicBezTo>
                    <a:pt x="738" y="428"/>
                    <a:pt x="739" y="427"/>
                    <a:pt x="740" y="426"/>
                  </a:cubicBezTo>
                  <a:cubicBezTo>
                    <a:pt x="742" y="425"/>
                    <a:pt x="742" y="425"/>
                    <a:pt x="742" y="425"/>
                  </a:cubicBezTo>
                  <a:cubicBezTo>
                    <a:pt x="743" y="424"/>
                    <a:pt x="744" y="424"/>
                    <a:pt x="745" y="424"/>
                  </a:cubicBezTo>
                  <a:cubicBezTo>
                    <a:pt x="745" y="424"/>
                    <a:pt x="746" y="424"/>
                    <a:pt x="746" y="424"/>
                  </a:cubicBezTo>
                  <a:cubicBezTo>
                    <a:pt x="748" y="424"/>
                    <a:pt x="748" y="424"/>
                    <a:pt x="749" y="424"/>
                  </a:cubicBezTo>
                  <a:cubicBezTo>
                    <a:pt x="749" y="423"/>
                    <a:pt x="749" y="423"/>
                    <a:pt x="750" y="423"/>
                  </a:cubicBezTo>
                  <a:cubicBezTo>
                    <a:pt x="750" y="422"/>
                    <a:pt x="750" y="422"/>
                    <a:pt x="751" y="422"/>
                  </a:cubicBezTo>
                  <a:cubicBezTo>
                    <a:pt x="752" y="422"/>
                    <a:pt x="753" y="421"/>
                    <a:pt x="754" y="420"/>
                  </a:cubicBezTo>
                  <a:cubicBezTo>
                    <a:pt x="753" y="420"/>
                    <a:pt x="753" y="420"/>
                    <a:pt x="753" y="420"/>
                  </a:cubicBezTo>
                  <a:cubicBezTo>
                    <a:pt x="747" y="412"/>
                    <a:pt x="747" y="412"/>
                    <a:pt x="747" y="412"/>
                  </a:cubicBezTo>
                  <a:cubicBezTo>
                    <a:pt x="727" y="408"/>
                    <a:pt x="727" y="408"/>
                    <a:pt x="727" y="408"/>
                  </a:cubicBezTo>
                  <a:cubicBezTo>
                    <a:pt x="747" y="407"/>
                    <a:pt x="747" y="407"/>
                    <a:pt x="747" y="407"/>
                  </a:cubicBezTo>
                  <a:cubicBezTo>
                    <a:pt x="747" y="406"/>
                    <a:pt x="747" y="406"/>
                    <a:pt x="747" y="406"/>
                  </a:cubicBezTo>
                  <a:cubicBezTo>
                    <a:pt x="748" y="406"/>
                    <a:pt x="748" y="406"/>
                    <a:pt x="748" y="406"/>
                  </a:cubicBezTo>
                  <a:cubicBezTo>
                    <a:pt x="749" y="405"/>
                    <a:pt x="749" y="405"/>
                    <a:pt x="749" y="405"/>
                  </a:cubicBezTo>
                  <a:cubicBezTo>
                    <a:pt x="751" y="403"/>
                    <a:pt x="752" y="402"/>
                    <a:pt x="753" y="401"/>
                  </a:cubicBezTo>
                  <a:cubicBezTo>
                    <a:pt x="754" y="400"/>
                    <a:pt x="754" y="400"/>
                    <a:pt x="754" y="400"/>
                  </a:cubicBezTo>
                  <a:cubicBezTo>
                    <a:pt x="754" y="399"/>
                    <a:pt x="754" y="399"/>
                    <a:pt x="754" y="399"/>
                  </a:cubicBezTo>
                  <a:cubicBezTo>
                    <a:pt x="756" y="397"/>
                    <a:pt x="756" y="397"/>
                    <a:pt x="756" y="397"/>
                  </a:cubicBezTo>
                  <a:cubicBezTo>
                    <a:pt x="757" y="397"/>
                    <a:pt x="757" y="397"/>
                    <a:pt x="757" y="397"/>
                  </a:cubicBezTo>
                  <a:cubicBezTo>
                    <a:pt x="758" y="397"/>
                    <a:pt x="759" y="396"/>
                    <a:pt x="760" y="396"/>
                  </a:cubicBezTo>
                  <a:cubicBezTo>
                    <a:pt x="760" y="396"/>
                    <a:pt x="760" y="396"/>
                    <a:pt x="760" y="396"/>
                  </a:cubicBezTo>
                  <a:cubicBezTo>
                    <a:pt x="760" y="396"/>
                    <a:pt x="761" y="396"/>
                    <a:pt x="762" y="396"/>
                  </a:cubicBezTo>
                  <a:cubicBezTo>
                    <a:pt x="763" y="396"/>
                    <a:pt x="763" y="396"/>
                    <a:pt x="764" y="396"/>
                  </a:cubicBezTo>
                  <a:cubicBezTo>
                    <a:pt x="765" y="396"/>
                    <a:pt x="765" y="396"/>
                    <a:pt x="765" y="396"/>
                  </a:cubicBezTo>
                  <a:cubicBezTo>
                    <a:pt x="766" y="396"/>
                    <a:pt x="767" y="395"/>
                    <a:pt x="768" y="395"/>
                  </a:cubicBezTo>
                  <a:cubicBezTo>
                    <a:pt x="768" y="395"/>
                    <a:pt x="768" y="395"/>
                    <a:pt x="768" y="395"/>
                  </a:cubicBezTo>
                  <a:cubicBezTo>
                    <a:pt x="770" y="396"/>
                    <a:pt x="770" y="396"/>
                    <a:pt x="770" y="396"/>
                  </a:cubicBezTo>
                  <a:cubicBezTo>
                    <a:pt x="770" y="396"/>
                    <a:pt x="770" y="396"/>
                    <a:pt x="770" y="396"/>
                  </a:cubicBezTo>
                  <a:cubicBezTo>
                    <a:pt x="770" y="395"/>
                    <a:pt x="770" y="395"/>
                    <a:pt x="770" y="395"/>
                  </a:cubicBezTo>
                  <a:cubicBezTo>
                    <a:pt x="770" y="395"/>
                    <a:pt x="770" y="395"/>
                    <a:pt x="770" y="395"/>
                  </a:cubicBezTo>
                  <a:cubicBezTo>
                    <a:pt x="769" y="395"/>
                    <a:pt x="768" y="395"/>
                    <a:pt x="768" y="395"/>
                  </a:cubicBezTo>
                  <a:cubicBezTo>
                    <a:pt x="766" y="394"/>
                    <a:pt x="766" y="394"/>
                    <a:pt x="766" y="394"/>
                  </a:cubicBezTo>
                  <a:cubicBezTo>
                    <a:pt x="765" y="394"/>
                    <a:pt x="765" y="393"/>
                    <a:pt x="764" y="393"/>
                  </a:cubicBezTo>
                  <a:cubicBezTo>
                    <a:pt x="764" y="393"/>
                    <a:pt x="763" y="393"/>
                    <a:pt x="763" y="393"/>
                  </a:cubicBezTo>
                  <a:cubicBezTo>
                    <a:pt x="762" y="393"/>
                    <a:pt x="762" y="393"/>
                    <a:pt x="762" y="393"/>
                  </a:cubicBezTo>
                  <a:cubicBezTo>
                    <a:pt x="760" y="392"/>
                    <a:pt x="760" y="392"/>
                    <a:pt x="760" y="392"/>
                  </a:cubicBezTo>
                  <a:cubicBezTo>
                    <a:pt x="760" y="391"/>
                    <a:pt x="760" y="391"/>
                    <a:pt x="760" y="391"/>
                  </a:cubicBezTo>
                  <a:cubicBezTo>
                    <a:pt x="754" y="394"/>
                    <a:pt x="754" y="394"/>
                    <a:pt x="754" y="394"/>
                  </a:cubicBezTo>
                  <a:cubicBezTo>
                    <a:pt x="756" y="391"/>
                    <a:pt x="756" y="391"/>
                    <a:pt x="756" y="391"/>
                  </a:cubicBezTo>
                  <a:cubicBezTo>
                    <a:pt x="752" y="393"/>
                    <a:pt x="752" y="393"/>
                    <a:pt x="752" y="393"/>
                  </a:cubicBezTo>
                  <a:cubicBezTo>
                    <a:pt x="758" y="388"/>
                    <a:pt x="758" y="388"/>
                    <a:pt x="758" y="388"/>
                  </a:cubicBezTo>
                  <a:cubicBezTo>
                    <a:pt x="757" y="387"/>
                    <a:pt x="757" y="387"/>
                    <a:pt x="757" y="387"/>
                  </a:cubicBezTo>
                  <a:cubicBezTo>
                    <a:pt x="758" y="384"/>
                    <a:pt x="758" y="384"/>
                    <a:pt x="758" y="384"/>
                  </a:cubicBezTo>
                  <a:cubicBezTo>
                    <a:pt x="759" y="384"/>
                    <a:pt x="759" y="384"/>
                    <a:pt x="759" y="384"/>
                  </a:cubicBezTo>
                  <a:cubicBezTo>
                    <a:pt x="759" y="383"/>
                    <a:pt x="759" y="383"/>
                    <a:pt x="759" y="383"/>
                  </a:cubicBezTo>
                  <a:cubicBezTo>
                    <a:pt x="759" y="383"/>
                    <a:pt x="759" y="383"/>
                    <a:pt x="759" y="383"/>
                  </a:cubicBezTo>
                  <a:cubicBezTo>
                    <a:pt x="758" y="382"/>
                    <a:pt x="758" y="382"/>
                    <a:pt x="758" y="382"/>
                  </a:cubicBezTo>
                  <a:cubicBezTo>
                    <a:pt x="757" y="382"/>
                    <a:pt x="756" y="382"/>
                    <a:pt x="755" y="382"/>
                  </a:cubicBezTo>
                  <a:cubicBezTo>
                    <a:pt x="753" y="381"/>
                    <a:pt x="753" y="381"/>
                    <a:pt x="753" y="381"/>
                  </a:cubicBezTo>
                  <a:cubicBezTo>
                    <a:pt x="752" y="380"/>
                    <a:pt x="752" y="380"/>
                    <a:pt x="752" y="380"/>
                  </a:cubicBezTo>
                  <a:cubicBezTo>
                    <a:pt x="751" y="377"/>
                    <a:pt x="751" y="377"/>
                    <a:pt x="751" y="377"/>
                  </a:cubicBezTo>
                  <a:cubicBezTo>
                    <a:pt x="753" y="375"/>
                    <a:pt x="753" y="375"/>
                    <a:pt x="753" y="375"/>
                  </a:cubicBezTo>
                  <a:cubicBezTo>
                    <a:pt x="753" y="374"/>
                    <a:pt x="753" y="374"/>
                    <a:pt x="753" y="374"/>
                  </a:cubicBezTo>
                  <a:cubicBezTo>
                    <a:pt x="754" y="374"/>
                    <a:pt x="755" y="374"/>
                    <a:pt x="755" y="374"/>
                  </a:cubicBezTo>
                  <a:cubicBezTo>
                    <a:pt x="755" y="374"/>
                    <a:pt x="756" y="374"/>
                    <a:pt x="756" y="374"/>
                  </a:cubicBezTo>
                  <a:cubicBezTo>
                    <a:pt x="756" y="374"/>
                    <a:pt x="756" y="374"/>
                    <a:pt x="756" y="374"/>
                  </a:cubicBezTo>
                  <a:cubicBezTo>
                    <a:pt x="758" y="373"/>
                    <a:pt x="758" y="373"/>
                    <a:pt x="758" y="373"/>
                  </a:cubicBezTo>
                  <a:cubicBezTo>
                    <a:pt x="750" y="368"/>
                    <a:pt x="750" y="368"/>
                    <a:pt x="750" y="368"/>
                  </a:cubicBezTo>
                  <a:cubicBezTo>
                    <a:pt x="755" y="366"/>
                    <a:pt x="755" y="366"/>
                    <a:pt x="755" y="366"/>
                  </a:cubicBezTo>
                  <a:cubicBezTo>
                    <a:pt x="756" y="365"/>
                    <a:pt x="756" y="365"/>
                    <a:pt x="756" y="365"/>
                  </a:cubicBezTo>
                  <a:cubicBezTo>
                    <a:pt x="756" y="364"/>
                    <a:pt x="757" y="364"/>
                    <a:pt x="758" y="364"/>
                  </a:cubicBezTo>
                  <a:cubicBezTo>
                    <a:pt x="759" y="364"/>
                    <a:pt x="759" y="364"/>
                    <a:pt x="759" y="364"/>
                  </a:cubicBezTo>
                  <a:cubicBezTo>
                    <a:pt x="760" y="363"/>
                    <a:pt x="762" y="361"/>
                    <a:pt x="764" y="361"/>
                  </a:cubicBezTo>
                  <a:cubicBezTo>
                    <a:pt x="765" y="361"/>
                    <a:pt x="765" y="361"/>
                    <a:pt x="766" y="361"/>
                  </a:cubicBezTo>
                  <a:cubicBezTo>
                    <a:pt x="766" y="361"/>
                    <a:pt x="766" y="361"/>
                    <a:pt x="766" y="361"/>
                  </a:cubicBezTo>
                  <a:cubicBezTo>
                    <a:pt x="767" y="361"/>
                    <a:pt x="767" y="361"/>
                    <a:pt x="767" y="361"/>
                  </a:cubicBezTo>
                  <a:cubicBezTo>
                    <a:pt x="767" y="360"/>
                    <a:pt x="767" y="360"/>
                    <a:pt x="767" y="360"/>
                  </a:cubicBezTo>
                  <a:cubicBezTo>
                    <a:pt x="769" y="361"/>
                    <a:pt x="769" y="361"/>
                    <a:pt x="769" y="361"/>
                  </a:cubicBezTo>
                  <a:cubicBezTo>
                    <a:pt x="772" y="362"/>
                    <a:pt x="773" y="363"/>
                    <a:pt x="776" y="363"/>
                  </a:cubicBezTo>
                  <a:cubicBezTo>
                    <a:pt x="776" y="363"/>
                    <a:pt x="776" y="363"/>
                    <a:pt x="776" y="363"/>
                  </a:cubicBezTo>
                  <a:cubicBezTo>
                    <a:pt x="777" y="362"/>
                    <a:pt x="777" y="362"/>
                    <a:pt x="777" y="362"/>
                  </a:cubicBezTo>
                  <a:cubicBezTo>
                    <a:pt x="777" y="363"/>
                    <a:pt x="777" y="363"/>
                    <a:pt x="777" y="363"/>
                  </a:cubicBezTo>
                  <a:cubicBezTo>
                    <a:pt x="784" y="362"/>
                    <a:pt x="784" y="362"/>
                    <a:pt x="784" y="362"/>
                  </a:cubicBezTo>
                  <a:cubicBezTo>
                    <a:pt x="784" y="358"/>
                    <a:pt x="784" y="358"/>
                    <a:pt x="784" y="358"/>
                  </a:cubicBezTo>
                  <a:cubicBezTo>
                    <a:pt x="785" y="362"/>
                    <a:pt x="785" y="362"/>
                    <a:pt x="785" y="362"/>
                  </a:cubicBezTo>
                  <a:cubicBezTo>
                    <a:pt x="785" y="362"/>
                    <a:pt x="785" y="362"/>
                    <a:pt x="785" y="362"/>
                  </a:cubicBezTo>
                  <a:cubicBezTo>
                    <a:pt x="786" y="362"/>
                    <a:pt x="787" y="362"/>
                    <a:pt x="788" y="362"/>
                  </a:cubicBezTo>
                  <a:cubicBezTo>
                    <a:pt x="789" y="362"/>
                    <a:pt x="789" y="362"/>
                    <a:pt x="789" y="362"/>
                  </a:cubicBezTo>
                  <a:cubicBezTo>
                    <a:pt x="789" y="362"/>
                    <a:pt x="789" y="362"/>
                    <a:pt x="789" y="362"/>
                  </a:cubicBezTo>
                  <a:cubicBezTo>
                    <a:pt x="790" y="362"/>
                    <a:pt x="790" y="362"/>
                    <a:pt x="791" y="362"/>
                  </a:cubicBezTo>
                  <a:cubicBezTo>
                    <a:pt x="792" y="362"/>
                    <a:pt x="792" y="362"/>
                    <a:pt x="792" y="362"/>
                  </a:cubicBezTo>
                  <a:cubicBezTo>
                    <a:pt x="794" y="361"/>
                    <a:pt x="794" y="361"/>
                    <a:pt x="794" y="361"/>
                  </a:cubicBezTo>
                  <a:cubicBezTo>
                    <a:pt x="794" y="360"/>
                    <a:pt x="794" y="360"/>
                    <a:pt x="794" y="360"/>
                  </a:cubicBezTo>
                  <a:cubicBezTo>
                    <a:pt x="796" y="361"/>
                    <a:pt x="796" y="361"/>
                    <a:pt x="796" y="361"/>
                  </a:cubicBezTo>
                  <a:cubicBezTo>
                    <a:pt x="796" y="360"/>
                    <a:pt x="796" y="360"/>
                    <a:pt x="796" y="360"/>
                  </a:cubicBezTo>
                  <a:cubicBezTo>
                    <a:pt x="797" y="360"/>
                    <a:pt x="797" y="360"/>
                    <a:pt x="798" y="360"/>
                  </a:cubicBezTo>
                  <a:cubicBezTo>
                    <a:pt x="799" y="360"/>
                    <a:pt x="799" y="360"/>
                    <a:pt x="799" y="360"/>
                  </a:cubicBezTo>
                  <a:cubicBezTo>
                    <a:pt x="799" y="360"/>
                    <a:pt x="799" y="360"/>
                    <a:pt x="799" y="360"/>
                  </a:cubicBezTo>
                  <a:cubicBezTo>
                    <a:pt x="799" y="360"/>
                    <a:pt x="800" y="360"/>
                    <a:pt x="800" y="360"/>
                  </a:cubicBezTo>
                  <a:cubicBezTo>
                    <a:pt x="801" y="359"/>
                    <a:pt x="801" y="359"/>
                    <a:pt x="801" y="359"/>
                  </a:cubicBezTo>
                  <a:cubicBezTo>
                    <a:pt x="796" y="359"/>
                    <a:pt x="796" y="359"/>
                    <a:pt x="796" y="359"/>
                  </a:cubicBezTo>
                  <a:cubicBezTo>
                    <a:pt x="809" y="356"/>
                    <a:pt x="809" y="356"/>
                    <a:pt x="809" y="356"/>
                  </a:cubicBezTo>
                  <a:cubicBezTo>
                    <a:pt x="809" y="350"/>
                    <a:pt x="809" y="350"/>
                    <a:pt x="809" y="350"/>
                  </a:cubicBezTo>
                  <a:cubicBezTo>
                    <a:pt x="811" y="356"/>
                    <a:pt x="811" y="356"/>
                    <a:pt x="811" y="356"/>
                  </a:cubicBezTo>
                  <a:cubicBezTo>
                    <a:pt x="822" y="354"/>
                    <a:pt x="822" y="354"/>
                    <a:pt x="822" y="354"/>
                  </a:cubicBezTo>
                  <a:cubicBezTo>
                    <a:pt x="822" y="354"/>
                    <a:pt x="823" y="354"/>
                    <a:pt x="823" y="354"/>
                  </a:cubicBezTo>
                  <a:cubicBezTo>
                    <a:pt x="825" y="353"/>
                    <a:pt x="825" y="353"/>
                    <a:pt x="825" y="353"/>
                  </a:cubicBezTo>
                  <a:cubicBezTo>
                    <a:pt x="826" y="354"/>
                    <a:pt x="826" y="354"/>
                    <a:pt x="826" y="354"/>
                  </a:cubicBezTo>
                  <a:cubicBezTo>
                    <a:pt x="828" y="353"/>
                    <a:pt x="828" y="353"/>
                    <a:pt x="828" y="353"/>
                  </a:cubicBezTo>
                  <a:cubicBezTo>
                    <a:pt x="829" y="352"/>
                    <a:pt x="829" y="352"/>
                    <a:pt x="829" y="352"/>
                  </a:cubicBezTo>
                  <a:cubicBezTo>
                    <a:pt x="830" y="352"/>
                    <a:pt x="830" y="352"/>
                    <a:pt x="830" y="352"/>
                  </a:cubicBezTo>
                  <a:cubicBezTo>
                    <a:pt x="832" y="351"/>
                    <a:pt x="832" y="351"/>
                    <a:pt x="832" y="351"/>
                  </a:cubicBezTo>
                  <a:cubicBezTo>
                    <a:pt x="832" y="352"/>
                    <a:pt x="832" y="352"/>
                    <a:pt x="832" y="352"/>
                  </a:cubicBezTo>
                  <a:cubicBezTo>
                    <a:pt x="834" y="351"/>
                    <a:pt x="834" y="351"/>
                    <a:pt x="834" y="351"/>
                  </a:cubicBezTo>
                  <a:cubicBezTo>
                    <a:pt x="835" y="352"/>
                    <a:pt x="835" y="352"/>
                    <a:pt x="835" y="352"/>
                  </a:cubicBezTo>
                  <a:cubicBezTo>
                    <a:pt x="838" y="351"/>
                    <a:pt x="838" y="351"/>
                    <a:pt x="838" y="351"/>
                  </a:cubicBezTo>
                  <a:cubicBezTo>
                    <a:pt x="839" y="351"/>
                    <a:pt x="839" y="351"/>
                    <a:pt x="839" y="351"/>
                  </a:cubicBezTo>
                  <a:cubicBezTo>
                    <a:pt x="839" y="351"/>
                    <a:pt x="839" y="351"/>
                    <a:pt x="840" y="351"/>
                  </a:cubicBezTo>
                  <a:cubicBezTo>
                    <a:pt x="840" y="351"/>
                    <a:pt x="840" y="351"/>
                    <a:pt x="840" y="351"/>
                  </a:cubicBezTo>
                  <a:cubicBezTo>
                    <a:pt x="841" y="351"/>
                    <a:pt x="841" y="350"/>
                    <a:pt x="842" y="350"/>
                  </a:cubicBezTo>
                  <a:cubicBezTo>
                    <a:pt x="842" y="350"/>
                    <a:pt x="842" y="350"/>
                    <a:pt x="842" y="350"/>
                  </a:cubicBezTo>
                  <a:cubicBezTo>
                    <a:pt x="843" y="350"/>
                    <a:pt x="843" y="350"/>
                    <a:pt x="844" y="350"/>
                  </a:cubicBezTo>
                  <a:cubicBezTo>
                    <a:pt x="844" y="350"/>
                    <a:pt x="844" y="350"/>
                    <a:pt x="845" y="350"/>
                  </a:cubicBezTo>
                  <a:cubicBezTo>
                    <a:pt x="845" y="350"/>
                    <a:pt x="845" y="350"/>
                    <a:pt x="845" y="350"/>
                  </a:cubicBezTo>
                  <a:cubicBezTo>
                    <a:pt x="846" y="350"/>
                    <a:pt x="846" y="350"/>
                    <a:pt x="846" y="350"/>
                  </a:cubicBezTo>
                  <a:cubicBezTo>
                    <a:pt x="846" y="350"/>
                    <a:pt x="847" y="350"/>
                    <a:pt x="847" y="350"/>
                  </a:cubicBezTo>
                  <a:cubicBezTo>
                    <a:pt x="848" y="351"/>
                    <a:pt x="848" y="351"/>
                    <a:pt x="848" y="351"/>
                  </a:cubicBezTo>
                  <a:cubicBezTo>
                    <a:pt x="849" y="351"/>
                    <a:pt x="849" y="351"/>
                    <a:pt x="849" y="351"/>
                  </a:cubicBezTo>
                  <a:cubicBezTo>
                    <a:pt x="850" y="350"/>
                    <a:pt x="850" y="350"/>
                    <a:pt x="850" y="350"/>
                  </a:cubicBezTo>
                  <a:cubicBezTo>
                    <a:pt x="850" y="350"/>
                    <a:pt x="852" y="349"/>
                    <a:pt x="854" y="349"/>
                  </a:cubicBezTo>
                  <a:cubicBezTo>
                    <a:pt x="854" y="349"/>
                    <a:pt x="855" y="349"/>
                    <a:pt x="856" y="349"/>
                  </a:cubicBezTo>
                  <a:cubicBezTo>
                    <a:pt x="856" y="349"/>
                    <a:pt x="856" y="349"/>
                    <a:pt x="857" y="348"/>
                  </a:cubicBezTo>
                  <a:cubicBezTo>
                    <a:pt x="857" y="348"/>
                    <a:pt x="857" y="348"/>
                    <a:pt x="857" y="348"/>
                  </a:cubicBezTo>
                  <a:cubicBezTo>
                    <a:pt x="858" y="347"/>
                    <a:pt x="858" y="347"/>
                    <a:pt x="858" y="347"/>
                  </a:cubicBezTo>
                  <a:cubicBezTo>
                    <a:pt x="858" y="347"/>
                    <a:pt x="858" y="347"/>
                    <a:pt x="858" y="347"/>
                  </a:cubicBezTo>
                  <a:cubicBezTo>
                    <a:pt x="859" y="345"/>
                    <a:pt x="859" y="345"/>
                    <a:pt x="859" y="345"/>
                  </a:cubicBezTo>
                  <a:cubicBezTo>
                    <a:pt x="851" y="344"/>
                    <a:pt x="851" y="344"/>
                    <a:pt x="851" y="344"/>
                  </a:cubicBezTo>
                  <a:cubicBezTo>
                    <a:pt x="867" y="341"/>
                    <a:pt x="867" y="341"/>
                    <a:pt x="867" y="341"/>
                  </a:cubicBezTo>
                  <a:cubicBezTo>
                    <a:pt x="869" y="341"/>
                    <a:pt x="869" y="341"/>
                    <a:pt x="869" y="341"/>
                  </a:cubicBezTo>
                  <a:cubicBezTo>
                    <a:pt x="873" y="341"/>
                    <a:pt x="873" y="341"/>
                    <a:pt x="873" y="341"/>
                  </a:cubicBezTo>
                  <a:cubicBezTo>
                    <a:pt x="876" y="340"/>
                    <a:pt x="876" y="340"/>
                    <a:pt x="876" y="340"/>
                  </a:cubicBezTo>
                  <a:cubicBezTo>
                    <a:pt x="876" y="339"/>
                    <a:pt x="877" y="339"/>
                    <a:pt x="878" y="339"/>
                  </a:cubicBezTo>
                  <a:cubicBezTo>
                    <a:pt x="878" y="339"/>
                    <a:pt x="878" y="339"/>
                    <a:pt x="879" y="339"/>
                  </a:cubicBezTo>
                  <a:cubicBezTo>
                    <a:pt x="879" y="339"/>
                    <a:pt x="879" y="339"/>
                    <a:pt x="879" y="339"/>
                  </a:cubicBezTo>
                  <a:cubicBezTo>
                    <a:pt x="879" y="339"/>
                    <a:pt x="880" y="339"/>
                    <a:pt x="880" y="339"/>
                  </a:cubicBezTo>
                  <a:cubicBezTo>
                    <a:pt x="881" y="340"/>
                    <a:pt x="882" y="340"/>
                    <a:pt x="882" y="341"/>
                  </a:cubicBezTo>
                  <a:cubicBezTo>
                    <a:pt x="885" y="340"/>
                    <a:pt x="885" y="340"/>
                    <a:pt x="885" y="340"/>
                  </a:cubicBezTo>
                  <a:cubicBezTo>
                    <a:pt x="886" y="340"/>
                    <a:pt x="887" y="339"/>
                    <a:pt x="889" y="339"/>
                  </a:cubicBezTo>
                  <a:cubicBezTo>
                    <a:pt x="890" y="339"/>
                    <a:pt x="890" y="339"/>
                    <a:pt x="890" y="339"/>
                  </a:cubicBezTo>
                  <a:cubicBezTo>
                    <a:pt x="892" y="338"/>
                    <a:pt x="893" y="338"/>
                    <a:pt x="895" y="338"/>
                  </a:cubicBezTo>
                  <a:cubicBezTo>
                    <a:pt x="893" y="337"/>
                    <a:pt x="893" y="337"/>
                    <a:pt x="893" y="337"/>
                  </a:cubicBezTo>
                  <a:cubicBezTo>
                    <a:pt x="902" y="336"/>
                    <a:pt x="902" y="336"/>
                    <a:pt x="902" y="336"/>
                  </a:cubicBezTo>
                  <a:cubicBezTo>
                    <a:pt x="904" y="336"/>
                    <a:pt x="904" y="336"/>
                    <a:pt x="904" y="336"/>
                  </a:cubicBezTo>
                  <a:cubicBezTo>
                    <a:pt x="906" y="335"/>
                    <a:pt x="907" y="335"/>
                    <a:pt x="908" y="334"/>
                  </a:cubicBezTo>
                  <a:cubicBezTo>
                    <a:pt x="910" y="334"/>
                    <a:pt x="910" y="334"/>
                    <a:pt x="910" y="334"/>
                  </a:cubicBezTo>
                  <a:cubicBezTo>
                    <a:pt x="912" y="333"/>
                    <a:pt x="912" y="333"/>
                    <a:pt x="912" y="333"/>
                  </a:cubicBezTo>
                  <a:cubicBezTo>
                    <a:pt x="913" y="333"/>
                    <a:pt x="913" y="333"/>
                    <a:pt x="913" y="333"/>
                  </a:cubicBezTo>
                  <a:cubicBezTo>
                    <a:pt x="922" y="332"/>
                    <a:pt x="922" y="332"/>
                    <a:pt x="922" y="332"/>
                  </a:cubicBezTo>
                  <a:cubicBezTo>
                    <a:pt x="923" y="331"/>
                    <a:pt x="923" y="331"/>
                    <a:pt x="923" y="331"/>
                  </a:cubicBezTo>
                  <a:cubicBezTo>
                    <a:pt x="923" y="330"/>
                    <a:pt x="923" y="330"/>
                    <a:pt x="923" y="330"/>
                  </a:cubicBezTo>
                  <a:cubicBezTo>
                    <a:pt x="924" y="330"/>
                    <a:pt x="925" y="330"/>
                    <a:pt x="926" y="330"/>
                  </a:cubicBezTo>
                  <a:cubicBezTo>
                    <a:pt x="926" y="329"/>
                    <a:pt x="927" y="329"/>
                    <a:pt x="927" y="329"/>
                  </a:cubicBezTo>
                  <a:cubicBezTo>
                    <a:pt x="928" y="329"/>
                    <a:pt x="929" y="330"/>
                    <a:pt x="929" y="330"/>
                  </a:cubicBezTo>
                  <a:cubicBezTo>
                    <a:pt x="930" y="330"/>
                    <a:pt x="930" y="330"/>
                    <a:pt x="930" y="330"/>
                  </a:cubicBezTo>
                  <a:cubicBezTo>
                    <a:pt x="930" y="330"/>
                    <a:pt x="930" y="330"/>
                    <a:pt x="930" y="330"/>
                  </a:cubicBezTo>
                  <a:cubicBezTo>
                    <a:pt x="931" y="330"/>
                    <a:pt x="931" y="330"/>
                    <a:pt x="932" y="330"/>
                  </a:cubicBezTo>
                  <a:cubicBezTo>
                    <a:pt x="934" y="328"/>
                    <a:pt x="934" y="328"/>
                    <a:pt x="934" y="328"/>
                  </a:cubicBezTo>
                  <a:cubicBezTo>
                    <a:pt x="934" y="328"/>
                    <a:pt x="934" y="328"/>
                    <a:pt x="934" y="328"/>
                  </a:cubicBezTo>
                  <a:cubicBezTo>
                    <a:pt x="935" y="327"/>
                    <a:pt x="935" y="327"/>
                    <a:pt x="935" y="327"/>
                  </a:cubicBezTo>
                  <a:cubicBezTo>
                    <a:pt x="936" y="327"/>
                    <a:pt x="937" y="326"/>
                    <a:pt x="938" y="326"/>
                  </a:cubicBezTo>
                  <a:cubicBezTo>
                    <a:pt x="939" y="325"/>
                    <a:pt x="942" y="324"/>
                    <a:pt x="942" y="323"/>
                  </a:cubicBezTo>
                  <a:cubicBezTo>
                    <a:pt x="943" y="322"/>
                    <a:pt x="943" y="321"/>
                    <a:pt x="943" y="320"/>
                  </a:cubicBezTo>
                  <a:cubicBezTo>
                    <a:pt x="944" y="318"/>
                    <a:pt x="944" y="318"/>
                    <a:pt x="944" y="318"/>
                  </a:cubicBezTo>
                  <a:cubicBezTo>
                    <a:pt x="945" y="317"/>
                    <a:pt x="946" y="317"/>
                    <a:pt x="948" y="317"/>
                  </a:cubicBezTo>
                  <a:cubicBezTo>
                    <a:pt x="948" y="317"/>
                    <a:pt x="948" y="317"/>
                    <a:pt x="949" y="317"/>
                  </a:cubicBezTo>
                  <a:cubicBezTo>
                    <a:pt x="949" y="317"/>
                    <a:pt x="949" y="317"/>
                    <a:pt x="949" y="317"/>
                  </a:cubicBezTo>
                  <a:cubicBezTo>
                    <a:pt x="949" y="316"/>
                    <a:pt x="949" y="316"/>
                    <a:pt x="949" y="316"/>
                  </a:cubicBezTo>
                  <a:cubicBezTo>
                    <a:pt x="955" y="317"/>
                    <a:pt x="955" y="317"/>
                    <a:pt x="955" y="317"/>
                  </a:cubicBezTo>
                  <a:cubicBezTo>
                    <a:pt x="956" y="317"/>
                    <a:pt x="956" y="317"/>
                    <a:pt x="956" y="317"/>
                  </a:cubicBezTo>
                  <a:cubicBezTo>
                    <a:pt x="956" y="316"/>
                    <a:pt x="956" y="316"/>
                    <a:pt x="956" y="316"/>
                  </a:cubicBezTo>
                  <a:cubicBezTo>
                    <a:pt x="959" y="317"/>
                    <a:pt x="959" y="317"/>
                    <a:pt x="959" y="317"/>
                  </a:cubicBezTo>
                  <a:cubicBezTo>
                    <a:pt x="959" y="316"/>
                    <a:pt x="959" y="316"/>
                    <a:pt x="959" y="316"/>
                  </a:cubicBezTo>
                  <a:cubicBezTo>
                    <a:pt x="960" y="317"/>
                    <a:pt x="960" y="317"/>
                    <a:pt x="960" y="317"/>
                  </a:cubicBezTo>
                  <a:cubicBezTo>
                    <a:pt x="961" y="317"/>
                    <a:pt x="961" y="317"/>
                    <a:pt x="961" y="317"/>
                  </a:cubicBezTo>
                  <a:cubicBezTo>
                    <a:pt x="970" y="317"/>
                    <a:pt x="970" y="317"/>
                    <a:pt x="970" y="317"/>
                  </a:cubicBezTo>
                  <a:cubicBezTo>
                    <a:pt x="971" y="317"/>
                    <a:pt x="972" y="317"/>
                    <a:pt x="973" y="318"/>
                  </a:cubicBezTo>
                  <a:cubicBezTo>
                    <a:pt x="975" y="319"/>
                    <a:pt x="975" y="319"/>
                    <a:pt x="975" y="319"/>
                  </a:cubicBezTo>
                  <a:cubicBezTo>
                    <a:pt x="976" y="320"/>
                    <a:pt x="977" y="321"/>
                    <a:pt x="978" y="322"/>
                  </a:cubicBezTo>
                  <a:cubicBezTo>
                    <a:pt x="979" y="322"/>
                    <a:pt x="979" y="322"/>
                    <a:pt x="979" y="322"/>
                  </a:cubicBezTo>
                  <a:cubicBezTo>
                    <a:pt x="979" y="322"/>
                    <a:pt x="979" y="322"/>
                    <a:pt x="979" y="322"/>
                  </a:cubicBezTo>
                  <a:cubicBezTo>
                    <a:pt x="980" y="322"/>
                    <a:pt x="981" y="323"/>
                    <a:pt x="983" y="323"/>
                  </a:cubicBezTo>
                  <a:cubicBezTo>
                    <a:pt x="983" y="323"/>
                    <a:pt x="983" y="323"/>
                    <a:pt x="983" y="323"/>
                  </a:cubicBezTo>
                  <a:cubicBezTo>
                    <a:pt x="985" y="322"/>
                    <a:pt x="988" y="320"/>
                    <a:pt x="991" y="319"/>
                  </a:cubicBezTo>
                  <a:cubicBezTo>
                    <a:pt x="991" y="318"/>
                    <a:pt x="991" y="318"/>
                    <a:pt x="991" y="318"/>
                  </a:cubicBezTo>
                  <a:cubicBezTo>
                    <a:pt x="997" y="318"/>
                    <a:pt x="997" y="318"/>
                    <a:pt x="997" y="318"/>
                  </a:cubicBezTo>
                  <a:cubicBezTo>
                    <a:pt x="998" y="318"/>
                    <a:pt x="998" y="318"/>
                    <a:pt x="998" y="318"/>
                  </a:cubicBezTo>
                  <a:cubicBezTo>
                    <a:pt x="1000" y="319"/>
                    <a:pt x="1001" y="320"/>
                    <a:pt x="1002" y="321"/>
                  </a:cubicBezTo>
                  <a:cubicBezTo>
                    <a:pt x="1003" y="325"/>
                    <a:pt x="1005" y="328"/>
                    <a:pt x="1007" y="331"/>
                  </a:cubicBezTo>
                  <a:cubicBezTo>
                    <a:pt x="1012" y="341"/>
                    <a:pt x="1012" y="341"/>
                    <a:pt x="1012" y="341"/>
                  </a:cubicBezTo>
                  <a:cubicBezTo>
                    <a:pt x="1012" y="342"/>
                    <a:pt x="1012" y="343"/>
                    <a:pt x="1012" y="344"/>
                  </a:cubicBezTo>
                  <a:cubicBezTo>
                    <a:pt x="1011" y="345"/>
                    <a:pt x="1011" y="345"/>
                    <a:pt x="1011" y="345"/>
                  </a:cubicBezTo>
                  <a:cubicBezTo>
                    <a:pt x="1010" y="347"/>
                    <a:pt x="1010" y="347"/>
                    <a:pt x="1010" y="347"/>
                  </a:cubicBezTo>
                  <a:cubicBezTo>
                    <a:pt x="1010" y="348"/>
                    <a:pt x="1010" y="348"/>
                    <a:pt x="1010" y="348"/>
                  </a:cubicBezTo>
                  <a:cubicBezTo>
                    <a:pt x="1010" y="349"/>
                    <a:pt x="1010" y="349"/>
                    <a:pt x="1010" y="349"/>
                  </a:cubicBezTo>
                  <a:cubicBezTo>
                    <a:pt x="1010" y="349"/>
                    <a:pt x="1010" y="349"/>
                    <a:pt x="1010" y="349"/>
                  </a:cubicBezTo>
                  <a:cubicBezTo>
                    <a:pt x="1011" y="350"/>
                    <a:pt x="1011" y="350"/>
                    <a:pt x="1011" y="350"/>
                  </a:cubicBezTo>
                  <a:cubicBezTo>
                    <a:pt x="1011" y="350"/>
                    <a:pt x="1011" y="350"/>
                    <a:pt x="1011" y="350"/>
                  </a:cubicBezTo>
                  <a:cubicBezTo>
                    <a:pt x="1011" y="352"/>
                    <a:pt x="1011" y="352"/>
                    <a:pt x="1011" y="352"/>
                  </a:cubicBezTo>
                  <a:cubicBezTo>
                    <a:pt x="1011" y="354"/>
                    <a:pt x="1010" y="356"/>
                    <a:pt x="1009" y="357"/>
                  </a:cubicBezTo>
                  <a:cubicBezTo>
                    <a:pt x="1009" y="357"/>
                    <a:pt x="1008" y="358"/>
                    <a:pt x="1008" y="358"/>
                  </a:cubicBezTo>
                  <a:cubicBezTo>
                    <a:pt x="1009" y="359"/>
                    <a:pt x="1009" y="359"/>
                    <a:pt x="1009" y="359"/>
                  </a:cubicBezTo>
                  <a:cubicBezTo>
                    <a:pt x="1011" y="359"/>
                    <a:pt x="1011" y="359"/>
                    <a:pt x="1011" y="359"/>
                  </a:cubicBezTo>
                  <a:cubicBezTo>
                    <a:pt x="1011" y="359"/>
                    <a:pt x="1011" y="359"/>
                    <a:pt x="1011" y="359"/>
                  </a:cubicBezTo>
                  <a:cubicBezTo>
                    <a:pt x="1011" y="359"/>
                    <a:pt x="1012" y="359"/>
                    <a:pt x="1012" y="359"/>
                  </a:cubicBezTo>
                  <a:cubicBezTo>
                    <a:pt x="1013" y="359"/>
                    <a:pt x="1015" y="359"/>
                    <a:pt x="1016" y="359"/>
                  </a:cubicBezTo>
                  <a:cubicBezTo>
                    <a:pt x="1020" y="358"/>
                    <a:pt x="1020" y="358"/>
                    <a:pt x="1020" y="358"/>
                  </a:cubicBezTo>
                  <a:cubicBezTo>
                    <a:pt x="1026" y="356"/>
                    <a:pt x="1026" y="356"/>
                    <a:pt x="1026" y="356"/>
                  </a:cubicBezTo>
                  <a:cubicBezTo>
                    <a:pt x="1027" y="356"/>
                    <a:pt x="1027" y="356"/>
                    <a:pt x="1027" y="356"/>
                  </a:cubicBezTo>
                  <a:cubicBezTo>
                    <a:pt x="1027" y="355"/>
                    <a:pt x="1026" y="355"/>
                    <a:pt x="1026" y="354"/>
                  </a:cubicBezTo>
                  <a:cubicBezTo>
                    <a:pt x="1026" y="351"/>
                    <a:pt x="1026" y="351"/>
                    <a:pt x="1026" y="351"/>
                  </a:cubicBezTo>
                  <a:cubicBezTo>
                    <a:pt x="1031" y="350"/>
                    <a:pt x="1031" y="350"/>
                    <a:pt x="1031" y="350"/>
                  </a:cubicBezTo>
                  <a:cubicBezTo>
                    <a:pt x="1033" y="350"/>
                    <a:pt x="1033" y="350"/>
                    <a:pt x="1033" y="350"/>
                  </a:cubicBezTo>
                  <a:cubicBezTo>
                    <a:pt x="1034" y="351"/>
                    <a:pt x="1034" y="351"/>
                    <a:pt x="1034" y="351"/>
                  </a:cubicBezTo>
                  <a:cubicBezTo>
                    <a:pt x="1038" y="355"/>
                    <a:pt x="1038" y="355"/>
                    <a:pt x="1038" y="355"/>
                  </a:cubicBezTo>
                  <a:cubicBezTo>
                    <a:pt x="1039" y="357"/>
                    <a:pt x="1039" y="358"/>
                    <a:pt x="1040" y="359"/>
                  </a:cubicBezTo>
                  <a:cubicBezTo>
                    <a:pt x="1040" y="359"/>
                    <a:pt x="1040" y="359"/>
                    <a:pt x="1040" y="359"/>
                  </a:cubicBezTo>
                  <a:cubicBezTo>
                    <a:pt x="1041" y="359"/>
                    <a:pt x="1041" y="359"/>
                    <a:pt x="1041" y="359"/>
                  </a:cubicBezTo>
                  <a:cubicBezTo>
                    <a:pt x="1041" y="358"/>
                    <a:pt x="1042" y="358"/>
                    <a:pt x="1043" y="358"/>
                  </a:cubicBezTo>
                  <a:cubicBezTo>
                    <a:pt x="1043" y="358"/>
                    <a:pt x="1044" y="358"/>
                    <a:pt x="1044" y="358"/>
                  </a:cubicBezTo>
                  <a:cubicBezTo>
                    <a:pt x="1045" y="359"/>
                    <a:pt x="1045" y="359"/>
                    <a:pt x="1046" y="359"/>
                  </a:cubicBezTo>
                  <a:cubicBezTo>
                    <a:pt x="1046" y="359"/>
                    <a:pt x="1046" y="359"/>
                    <a:pt x="1046" y="359"/>
                  </a:cubicBezTo>
                  <a:cubicBezTo>
                    <a:pt x="1047" y="359"/>
                    <a:pt x="1048" y="360"/>
                    <a:pt x="1049" y="360"/>
                  </a:cubicBezTo>
                  <a:cubicBezTo>
                    <a:pt x="1049" y="361"/>
                    <a:pt x="1049" y="361"/>
                    <a:pt x="1049" y="361"/>
                  </a:cubicBezTo>
                  <a:cubicBezTo>
                    <a:pt x="1051" y="362"/>
                    <a:pt x="1054" y="363"/>
                    <a:pt x="1055" y="363"/>
                  </a:cubicBezTo>
                  <a:cubicBezTo>
                    <a:pt x="1055" y="363"/>
                    <a:pt x="1055" y="363"/>
                    <a:pt x="1055" y="363"/>
                  </a:cubicBezTo>
                  <a:cubicBezTo>
                    <a:pt x="1076" y="360"/>
                    <a:pt x="1076" y="360"/>
                    <a:pt x="1076" y="360"/>
                  </a:cubicBezTo>
                  <a:cubicBezTo>
                    <a:pt x="1073" y="365"/>
                    <a:pt x="1073" y="365"/>
                    <a:pt x="1073" y="365"/>
                  </a:cubicBezTo>
                  <a:cubicBezTo>
                    <a:pt x="1073" y="366"/>
                    <a:pt x="1073" y="366"/>
                    <a:pt x="1072" y="367"/>
                  </a:cubicBezTo>
                  <a:cubicBezTo>
                    <a:pt x="1070" y="369"/>
                    <a:pt x="1070" y="369"/>
                    <a:pt x="1070" y="369"/>
                  </a:cubicBezTo>
                  <a:cubicBezTo>
                    <a:pt x="1069" y="370"/>
                    <a:pt x="1068" y="371"/>
                    <a:pt x="1067" y="372"/>
                  </a:cubicBezTo>
                  <a:cubicBezTo>
                    <a:pt x="1065" y="373"/>
                    <a:pt x="1065" y="373"/>
                    <a:pt x="1065" y="373"/>
                  </a:cubicBezTo>
                  <a:cubicBezTo>
                    <a:pt x="1064" y="374"/>
                    <a:pt x="1064" y="374"/>
                    <a:pt x="1064" y="374"/>
                  </a:cubicBezTo>
                  <a:cubicBezTo>
                    <a:pt x="1063" y="375"/>
                    <a:pt x="1062" y="376"/>
                    <a:pt x="1062" y="377"/>
                  </a:cubicBezTo>
                  <a:cubicBezTo>
                    <a:pt x="1062" y="378"/>
                    <a:pt x="1062" y="378"/>
                    <a:pt x="1062" y="378"/>
                  </a:cubicBezTo>
                  <a:cubicBezTo>
                    <a:pt x="1064" y="380"/>
                    <a:pt x="1064" y="380"/>
                    <a:pt x="1064" y="380"/>
                  </a:cubicBezTo>
                  <a:cubicBezTo>
                    <a:pt x="1066" y="379"/>
                    <a:pt x="1066" y="379"/>
                    <a:pt x="1066" y="379"/>
                  </a:cubicBezTo>
                  <a:cubicBezTo>
                    <a:pt x="1068" y="377"/>
                    <a:pt x="1070" y="377"/>
                    <a:pt x="1073" y="377"/>
                  </a:cubicBezTo>
                  <a:cubicBezTo>
                    <a:pt x="1073" y="377"/>
                    <a:pt x="1073" y="377"/>
                    <a:pt x="1073" y="377"/>
                  </a:cubicBezTo>
                  <a:cubicBezTo>
                    <a:pt x="1080" y="377"/>
                    <a:pt x="1080" y="377"/>
                    <a:pt x="1080" y="377"/>
                  </a:cubicBezTo>
                  <a:cubicBezTo>
                    <a:pt x="1083" y="378"/>
                    <a:pt x="1083" y="378"/>
                    <a:pt x="1083" y="378"/>
                  </a:cubicBezTo>
                  <a:cubicBezTo>
                    <a:pt x="1083" y="378"/>
                    <a:pt x="1084" y="378"/>
                    <a:pt x="1085" y="379"/>
                  </a:cubicBezTo>
                  <a:cubicBezTo>
                    <a:pt x="1085" y="378"/>
                    <a:pt x="1085" y="378"/>
                    <a:pt x="1085" y="378"/>
                  </a:cubicBezTo>
                  <a:cubicBezTo>
                    <a:pt x="1085" y="377"/>
                    <a:pt x="1085" y="377"/>
                    <a:pt x="1085" y="377"/>
                  </a:cubicBezTo>
                  <a:cubicBezTo>
                    <a:pt x="1085" y="375"/>
                    <a:pt x="1086" y="374"/>
                    <a:pt x="1087" y="374"/>
                  </a:cubicBezTo>
                  <a:cubicBezTo>
                    <a:pt x="1088" y="373"/>
                    <a:pt x="1088" y="373"/>
                    <a:pt x="1088" y="373"/>
                  </a:cubicBezTo>
                  <a:cubicBezTo>
                    <a:pt x="1099" y="369"/>
                    <a:pt x="1099" y="369"/>
                    <a:pt x="1099" y="369"/>
                  </a:cubicBezTo>
                  <a:cubicBezTo>
                    <a:pt x="1102" y="367"/>
                    <a:pt x="1106" y="365"/>
                    <a:pt x="1109" y="363"/>
                  </a:cubicBezTo>
                  <a:cubicBezTo>
                    <a:pt x="1112" y="362"/>
                    <a:pt x="1116" y="360"/>
                    <a:pt x="1119" y="358"/>
                  </a:cubicBezTo>
                  <a:cubicBezTo>
                    <a:pt x="1166" y="339"/>
                    <a:pt x="1166" y="339"/>
                    <a:pt x="1166" y="339"/>
                  </a:cubicBezTo>
                  <a:cubicBezTo>
                    <a:pt x="1148" y="354"/>
                    <a:pt x="1148" y="354"/>
                    <a:pt x="1148" y="354"/>
                  </a:cubicBezTo>
                  <a:cubicBezTo>
                    <a:pt x="1148" y="357"/>
                    <a:pt x="1148" y="357"/>
                    <a:pt x="1148" y="357"/>
                  </a:cubicBezTo>
                  <a:cubicBezTo>
                    <a:pt x="1148" y="358"/>
                    <a:pt x="1148" y="359"/>
                    <a:pt x="1148" y="361"/>
                  </a:cubicBezTo>
                  <a:cubicBezTo>
                    <a:pt x="1147" y="361"/>
                    <a:pt x="1147" y="361"/>
                    <a:pt x="1147" y="361"/>
                  </a:cubicBezTo>
                  <a:cubicBezTo>
                    <a:pt x="1147" y="362"/>
                    <a:pt x="1147" y="362"/>
                    <a:pt x="1147" y="362"/>
                  </a:cubicBezTo>
                  <a:cubicBezTo>
                    <a:pt x="1146" y="362"/>
                    <a:pt x="1146" y="362"/>
                    <a:pt x="1146" y="362"/>
                  </a:cubicBezTo>
                  <a:cubicBezTo>
                    <a:pt x="1146" y="363"/>
                    <a:pt x="1146" y="363"/>
                    <a:pt x="1146" y="363"/>
                  </a:cubicBezTo>
                  <a:cubicBezTo>
                    <a:pt x="1146" y="363"/>
                    <a:pt x="1145" y="363"/>
                    <a:pt x="1145" y="364"/>
                  </a:cubicBezTo>
                  <a:cubicBezTo>
                    <a:pt x="1144" y="364"/>
                    <a:pt x="1144" y="364"/>
                    <a:pt x="1144" y="364"/>
                  </a:cubicBezTo>
                  <a:cubicBezTo>
                    <a:pt x="1145" y="365"/>
                    <a:pt x="1146" y="366"/>
                    <a:pt x="1147" y="367"/>
                  </a:cubicBezTo>
                  <a:cubicBezTo>
                    <a:pt x="1153" y="371"/>
                    <a:pt x="1153" y="371"/>
                    <a:pt x="1153" y="371"/>
                  </a:cubicBezTo>
                  <a:cubicBezTo>
                    <a:pt x="1166" y="381"/>
                    <a:pt x="1166" y="381"/>
                    <a:pt x="1166" y="381"/>
                  </a:cubicBezTo>
                  <a:cubicBezTo>
                    <a:pt x="1170" y="384"/>
                    <a:pt x="1174" y="388"/>
                    <a:pt x="1176" y="391"/>
                  </a:cubicBezTo>
                  <a:cubicBezTo>
                    <a:pt x="1187" y="406"/>
                    <a:pt x="1187" y="406"/>
                    <a:pt x="1187" y="406"/>
                  </a:cubicBezTo>
                  <a:cubicBezTo>
                    <a:pt x="1192" y="412"/>
                    <a:pt x="1192" y="412"/>
                    <a:pt x="1192" y="412"/>
                  </a:cubicBezTo>
                  <a:cubicBezTo>
                    <a:pt x="1198" y="422"/>
                    <a:pt x="1204" y="432"/>
                    <a:pt x="1210" y="440"/>
                  </a:cubicBezTo>
                  <a:cubicBezTo>
                    <a:pt x="1215" y="449"/>
                    <a:pt x="1220" y="458"/>
                    <a:pt x="1226" y="466"/>
                  </a:cubicBezTo>
                  <a:cubicBezTo>
                    <a:pt x="1227" y="468"/>
                    <a:pt x="1227" y="468"/>
                    <a:pt x="1227" y="468"/>
                  </a:cubicBezTo>
                  <a:cubicBezTo>
                    <a:pt x="1227" y="467"/>
                    <a:pt x="1228" y="467"/>
                    <a:pt x="1229" y="466"/>
                  </a:cubicBezTo>
                  <a:cubicBezTo>
                    <a:pt x="1229" y="466"/>
                    <a:pt x="1229" y="466"/>
                    <a:pt x="1229" y="466"/>
                  </a:cubicBezTo>
                  <a:cubicBezTo>
                    <a:pt x="1230" y="465"/>
                    <a:pt x="1231" y="465"/>
                    <a:pt x="1232" y="465"/>
                  </a:cubicBezTo>
                  <a:cubicBezTo>
                    <a:pt x="1233" y="465"/>
                    <a:pt x="1233" y="465"/>
                    <a:pt x="1233" y="465"/>
                  </a:cubicBezTo>
                  <a:cubicBezTo>
                    <a:pt x="1234" y="464"/>
                    <a:pt x="1234" y="464"/>
                    <a:pt x="1234" y="464"/>
                  </a:cubicBezTo>
                  <a:cubicBezTo>
                    <a:pt x="1233" y="464"/>
                    <a:pt x="1233" y="464"/>
                    <a:pt x="1233" y="464"/>
                  </a:cubicBezTo>
                  <a:cubicBezTo>
                    <a:pt x="1233" y="463"/>
                    <a:pt x="1233" y="463"/>
                    <a:pt x="1233" y="463"/>
                  </a:cubicBezTo>
                  <a:cubicBezTo>
                    <a:pt x="1232" y="463"/>
                    <a:pt x="1232" y="462"/>
                    <a:pt x="1232" y="461"/>
                  </a:cubicBezTo>
                  <a:cubicBezTo>
                    <a:pt x="1232" y="461"/>
                    <a:pt x="1232" y="461"/>
                    <a:pt x="1232" y="461"/>
                  </a:cubicBezTo>
                  <a:cubicBezTo>
                    <a:pt x="1232" y="460"/>
                    <a:pt x="1232" y="460"/>
                    <a:pt x="1232" y="460"/>
                  </a:cubicBezTo>
                  <a:cubicBezTo>
                    <a:pt x="1232" y="460"/>
                    <a:pt x="1232" y="460"/>
                    <a:pt x="1232" y="460"/>
                  </a:cubicBezTo>
                  <a:cubicBezTo>
                    <a:pt x="1232" y="459"/>
                    <a:pt x="1232" y="459"/>
                    <a:pt x="1232" y="459"/>
                  </a:cubicBezTo>
                  <a:cubicBezTo>
                    <a:pt x="1233" y="458"/>
                    <a:pt x="1233" y="458"/>
                    <a:pt x="1233" y="458"/>
                  </a:cubicBezTo>
                  <a:cubicBezTo>
                    <a:pt x="1233" y="457"/>
                    <a:pt x="1233" y="456"/>
                    <a:pt x="1234" y="456"/>
                  </a:cubicBezTo>
                  <a:cubicBezTo>
                    <a:pt x="1235" y="456"/>
                    <a:pt x="1236" y="455"/>
                    <a:pt x="1237" y="455"/>
                  </a:cubicBezTo>
                  <a:cubicBezTo>
                    <a:pt x="1237" y="455"/>
                    <a:pt x="1237" y="455"/>
                    <a:pt x="1237" y="455"/>
                  </a:cubicBezTo>
                  <a:cubicBezTo>
                    <a:pt x="1237" y="455"/>
                    <a:pt x="1237" y="455"/>
                    <a:pt x="1237" y="455"/>
                  </a:cubicBezTo>
                  <a:cubicBezTo>
                    <a:pt x="1238" y="455"/>
                    <a:pt x="1238" y="455"/>
                    <a:pt x="1238" y="455"/>
                  </a:cubicBezTo>
                  <a:cubicBezTo>
                    <a:pt x="1238" y="455"/>
                    <a:pt x="1238" y="455"/>
                    <a:pt x="1238" y="455"/>
                  </a:cubicBezTo>
                  <a:cubicBezTo>
                    <a:pt x="1239" y="454"/>
                    <a:pt x="1240" y="452"/>
                    <a:pt x="1242" y="452"/>
                  </a:cubicBezTo>
                  <a:cubicBezTo>
                    <a:pt x="1242" y="452"/>
                    <a:pt x="1243" y="452"/>
                    <a:pt x="1243" y="452"/>
                  </a:cubicBezTo>
                  <a:cubicBezTo>
                    <a:pt x="1252" y="455"/>
                    <a:pt x="1252" y="455"/>
                    <a:pt x="1252" y="455"/>
                  </a:cubicBezTo>
                  <a:cubicBezTo>
                    <a:pt x="1255" y="456"/>
                    <a:pt x="1256" y="459"/>
                    <a:pt x="1256" y="460"/>
                  </a:cubicBezTo>
                  <a:cubicBezTo>
                    <a:pt x="1255" y="461"/>
                    <a:pt x="1255" y="461"/>
                    <a:pt x="1255" y="461"/>
                  </a:cubicBezTo>
                  <a:cubicBezTo>
                    <a:pt x="1255" y="462"/>
                    <a:pt x="1255" y="462"/>
                    <a:pt x="1255" y="463"/>
                  </a:cubicBezTo>
                  <a:cubicBezTo>
                    <a:pt x="1255" y="463"/>
                    <a:pt x="1254" y="464"/>
                    <a:pt x="1254" y="464"/>
                  </a:cubicBezTo>
                  <a:cubicBezTo>
                    <a:pt x="1254" y="464"/>
                    <a:pt x="1254" y="464"/>
                    <a:pt x="1254" y="464"/>
                  </a:cubicBezTo>
                  <a:cubicBezTo>
                    <a:pt x="1255" y="465"/>
                    <a:pt x="1255" y="465"/>
                    <a:pt x="1255" y="465"/>
                  </a:cubicBezTo>
                  <a:cubicBezTo>
                    <a:pt x="1256" y="465"/>
                    <a:pt x="1257" y="466"/>
                    <a:pt x="1258" y="467"/>
                  </a:cubicBezTo>
                  <a:cubicBezTo>
                    <a:pt x="1258" y="467"/>
                    <a:pt x="1258" y="467"/>
                    <a:pt x="1258" y="467"/>
                  </a:cubicBezTo>
                  <a:cubicBezTo>
                    <a:pt x="1259" y="469"/>
                    <a:pt x="1260" y="470"/>
                    <a:pt x="1261" y="470"/>
                  </a:cubicBezTo>
                  <a:cubicBezTo>
                    <a:pt x="1262" y="471"/>
                    <a:pt x="1262" y="471"/>
                    <a:pt x="1262" y="471"/>
                  </a:cubicBezTo>
                  <a:cubicBezTo>
                    <a:pt x="1263" y="471"/>
                    <a:pt x="1263" y="471"/>
                    <a:pt x="1263" y="471"/>
                  </a:cubicBezTo>
                  <a:cubicBezTo>
                    <a:pt x="1263" y="471"/>
                    <a:pt x="1264" y="471"/>
                    <a:pt x="1264" y="471"/>
                  </a:cubicBezTo>
                  <a:cubicBezTo>
                    <a:pt x="1264" y="471"/>
                    <a:pt x="1264" y="471"/>
                    <a:pt x="1264" y="471"/>
                  </a:cubicBezTo>
                  <a:cubicBezTo>
                    <a:pt x="1265" y="471"/>
                    <a:pt x="1265" y="471"/>
                    <a:pt x="1265" y="471"/>
                  </a:cubicBezTo>
                  <a:cubicBezTo>
                    <a:pt x="1265" y="471"/>
                    <a:pt x="1266" y="470"/>
                    <a:pt x="1266" y="470"/>
                  </a:cubicBezTo>
                  <a:cubicBezTo>
                    <a:pt x="1267" y="470"/>
                    <a:pt x="1267" y="470"/>
                    <a:pt x="1267" y="470"/>
                  </a:cubicBezTo>
                  <a:cubicBezTo>
                    <a:pt x="1268" y="470"/>
                    <a:pt x="1269" y="470"/>
                    <a:pt x="1271" y="470"/>
                  </a:cubicBezTo>
                  <a:cubicBezTo>
                    <a:pt x="1271" y="470"/>
                    <a:pt x="1272" y="470"/>
                    <a:pt x="1272" y="470"/>
                  </a:cubicBezTo>
                  <a:cubicBezTo>
                    <a:pt x="1286" y="471"/>
                    <a:pt x="1286" y="471"/>
                    <a:pt x="1286" y="471"/>
                  </a:cubicBezTo>
                  <a:cubicBezTo>
                    <a:pt x="1286" y="471"/>
                    <a:pt x="1286" y="471"/>
                    <a:pt x="1286" y="471"/>
                  </a:cubicBezTo>
                  <a:cubicBezTo>
                    <a:pt x="1287" y="470"/>
                    <a:pt x="1287" y="470"/>
                    <a:pt x="1288" y="470"/>
                  </a:cubicBezTo>
                  <a:cubicBezTo>
                    <a:pt x="1289" y="470"/>
                    <a:pt x="1289" y="470"/>
                    <a:pt x="1289" y="470"/>
                  </a:cubicBezTo>
                  <a:cubicBezTo>
                    <a:pt x="1289" y="469"/>
                    <a:pt x="1289" y="469"/>
                    <a:pt x="1289" y="469"/>
                  </a:cubicBezTo>
                  <a:cubicBezTo>
                    <a:pt x="1289" y="469"/>
                    <a:pt x="1289" y="469"/>
                    <a:pt x="1289" y="469"/>
                  </a:cubicBezTo>
                  <a:cubicBezTo>
                    <a:pt x="1290" y="467"/>
                    <a:pt x="1291" y="466"/>
                    <a:pt x="1292" y="465"/>
                  </a:cubicBezTo>
                  <a:cubicBezTo>
                    <a:pt x="1293" y="465"/>
                    <a:pt x="1293" y="465"/>
                    <a:pt x="1293" y="465"/>
                  </a:cubicBezTo>
                  <a:cubicBezTo>
                    <a:pt x="1301" y="462"/>
                    <a:pt x="1301" y="462"/>
                    <a:pt x="1301" y="462"/>
                  </a:cubicBezTo>
                  <a:cubicBezTo>
                    <a:pt x="1301" y="462"/>
                    <a:pt x="1302" y="462"/>
                    <a:pt x="1302" y="462"/>
                  </a:cubicBezTo>
                  <a:cubicBezTo>
                    <a:pt x="1302" y="462"/>
                    <a:pt x="1303" y="462"/>
                    <a:pt x="1303" y="462"/>
                  </a:cubicBezTo>
                  <a:cubicBezTo>
                    <a:pt x="1304" y="462"/>
                    <a:pt x="1304" y="462"/>
                    <a:pt x="1304" y="462"/>
                  </a:cubicBezTo>
                  <a:cubicBezTo>
                    <a:pt x="1315" y="465"/>
                    <a:pt x="1315" y="465"/>
                    <a:pt x="1315" y="465"/>
                  </a:cubicBezTo>
                  <a:cubicBezTo>
                    <a:pt x="1316" y="465"/>
                    <a:pt x="1317" y="465"/>
                    <a:pt x="1318" y="466"/>
                  </a:cubicBezTo>
                  <a:cubicBezTo>
                    <a:pt x="1319" y="466"/>
                    <a:pt x="1320" y="466"/>
                    <a:pt x="1321" y="467"/>
                  </a:cubicBezTo>
                  <a:cubicBezTo>
                    <a:pt x="1321" y="467"/>
                    <a:pt x="1321" y="467"/>
                    <a:pt x="1321" y="467"/>
                  </a:cubicBezTo>
                  <a:cubicBezTo>
                    <a:pt x="1323" y="468"/>
                    <a:pt x="1323" y="468"/>
                    <a:pt x="1323" y="468"/>
                  </a:cubicBezTo>
                  <a:cubicBezTo>
                    <a:pt x="1325" y="470"/>
                    <a:pt x="1325" y="470"/>
                    <a:pt x="1325" y="470"/>
                  </a:cubicBezTo>
                  <a:cubicBezTo>
                    <a:pt x="1327" y="474"/>
                    <a:pt x="1327" y="474"/>
                    <a:pt x="1327" y="474"/>
                  </a:cubicBezTo>
                  <a:cubicBezTo>
                    <a:pt x="1329" y="476"/>
                    <a:pt x="1329" y="478"/>
                    <a:pt x="1330" y="480"/>
                  </a:cubicBezTo>
                  <a:cubicBezTo>
                    <a:pt x="1331" y="482"/>
                    <a:pt x="1331" y="482"/>
                    <a:pt x="1331" y="482"/>
                  </a:cubicBezTo>
                  <a:cubicBezTo>
                    <a:pt x="1331" y="482"/>
                    <a:pt x="1331" y="483"/>
                    <a:pt x="1331" y="484"/>
                  </a:cubicBezTo>
                  <a:cubicBezTo>
                    <a:pt x="1332" y="485"/>
                    <a:pt x="1332" y="485"/>
                    <a:pt x="1332" y="485"/>
                  </a:cubicBezTo>
                  <a:cubicBezTo>
                    <a:pt x="1332" y="486"/>
                    <a:pt x="1332" y="486"/>
                    <a:pt x="1332" y="486"/>
                  </a:cubicBezTo>
                  <a:cubicBezTo>
                    <a:pt x="1332" y="486"/>
                    <a:pt x="1332" y="486"/>
                    <a:pt x="1332" y="486"/>
                  </a:cubicBezTo>
                  <a:cubicBezTo>
                    <a:pt x="1335" y="486"/>
                    <a:pt x="1335" y="486"/>
                    <a:pt x="1335" y="486"/>
                  </a:cubicBezTo>
                  <a:cubicBezTo>
                    <a:pt x="1335" y="486"/>
                    <a:pt x="1336" y="486"/>
                    <a:pt x="1336" y="487"/>
                  </a:cubicBezTo>
                  <a:cubicBezTo>
                    <a:pt x="1351" y="495"/>
                    <a:pt x="1351" y="495"/>
                    <a:pt x="1351" y="495"/>
                  </a:cubicBezTo>
                  <a:cubicBezTo>
                    <a:pt x="1352" y="496"/>
                    <a:pt x="1352" y="496"/>
                    <a:pt x="1352" y="496"/>
                  </a:cubicBezTo>
                  <a:cubicBezTo>
                    <a:pt x="1352" y="497"/>
                    <a:pt x="1352" y="497"/>
                    <a:pt x="1352" y="497"/>
                  </a:cubicBezTo>
                  <a:cubicBezTo>
                    <a:pt x="1356" y="497"/>
                    <a:pt x="1356" y="497"/>
                    <a:pt x="1356" y="497"/>
                  </a:cubicBezTo>
                  <a:cubicBezTo>
                    <a:pt x="1352" y="498"/>
                    <a:pt x="1352" y="498"/>
                    <a:pt x="1352" y="498"/>
                  </a:cubicBezTo>
                  <a:cubicBezTo>
                    <a:pt x="1351" y="499"/>
                    <a:pt x="1351" y="499"/>
                    <a:pt x="1351" y="499"/>
                  </a:cubicBezTo>
                  <a:cubicBezTo>
                    <a:pt x="1351" y="499"/>
                    <a:pt x="1351" y="499"/>
                    <a:pt x="1351" y="499"/>
                  </a:cubicBezTo>
                  <a:cubicBezTo>
                    <a:pt x="1352" y="500"/>
                    <a:pt x="1352" y="500"/>
                    <a:pt x="1352" y="500"/>
                  </a:cubicBezTo>
                  <a:cubicBezTo>
                    <a:pt x="1353" y="501"/>
                    <a:pt x="1353" y="501"/>
                    <a:pt x="1353" y="501"/>
                  </a:cubicBezTo>
                  <a:cubicBezTo>
                    <a:pt x="1353" y="502"/>
                    <a:pt x="1353" y="502"/>
                    <a:pt x="1353" y="502"/>
                  </a:cubicBezTo>
                  <a:cubicBezTo>
                    <a:pt x="1354" y="503"/>
                    <a:pt x="1354" y="503"/>
                    <a:pt x="1354" y="503"/>
                  </a:cubicBezTo>
                  <a:cubicBezTo>
                    <a:pt x="1353" y="503"/>
                    <a:pt x="1353" y="503"/>
                    <a:pt x="1353" y="503"/>
                  </a:cubicBezTo>
                  <a:cubicBezTo>
                    <a:pt x="1354" y="504"/>
                    <a:pt x="1354" y="504"/>
                    <a:pt x="1354" y="504"/>
                  </a:cubicBezTo>
                  <a:cubicBezTo>
                    <a:pt x="1354" y="504"/>
                    <a:pt x="1355" y="505"/>
                    <a:pt x="1356" y="506"/>
                  </a:cubicBezTo>
                  <a:cubicBezTo>
                    <a:pt x="1356" y="507"/>
                    <a:pt x="1356" y="507"/>
                    <a:pt x="1356" y="507"/>
                  </a:cubicBezTo>
                  <a:cubicBezTo>
                    <a:pt x="1356" y="507"/>
                    <a:pt x="1356" y="507"/>
                    <a:pt x="1356" y="507"/>
                  </a:cubicBezTo>
                  <a:cubicBezTo>
                    <a:pt x="1360" y="506"/>
                    <a:pt x="1360" y="506"/>
                    <a:pt x="1360" y="506"/>
                  </a:cubicBezTo>
                  <a:cubicBezTo>
                    <a:pt x="1357" y="508"/>
                    <a:pt x="1357" y="508"/>
                    <a:pt x="1357" y="508"/>
                  </a:cubicBezTo>
                  <a:cubicBezTo>
                    <a:pt x="1369" y="509"/>
                    <a:pt x="1369" y="509"/>
                    <a:pt x="1369" y="509"/>
                  </a:cubicBezTo>
                  <a:cubicBezTo>
                    <a:pt x="1370" y="509"/>
                    <a:pt x="1370" y="509"/>
                    <a:pt x="1370" y="509"/>
                  </a:cubicBezTo>
                  <a:cubicBezTo>
                    <a:pt x="1375" y="509"/>
                    <a:pt x="1375" y="509"/>
                    <a:pt x="1375" y="509"/>
                  </a:cubicBezTo>
                  <a:cubicBezTo>
                    <a:pt x="1375" y="511"/>
                    <a:pt x="1375" y="511"/>
                    <a:pt x="1375" y="511"/>
                  </a:cubicBezTo>
                  <a:cubicBezTo>
                    <a:pt x="1375" y="511"/>
                    <a:pt x="1376" y="511"/>
                    <a:pt x="1376" y="511"/>
                  </a:cubicBezTo>
                  <a:cubicBezTo>
                    <a:pt x="1379" y="509"/>
                    <a:pt x="1379" y="509"/>
                    <a:pt x="1379" y="509"/>
                  </a:cubicBezTo>
                  <a:cubicBezTo>
                    <a:pt x="1380" y="507"/>
                    <a:pt x="1382" y="506"/>
                    <a:pt x="1383" y="504"/>
                  </a:cubicBezTo>
                  <a:cubicBezTo>
                    <a:pt x="1390" y="497"/>
                    <a:pt x="1390" y="497"/>
                    <a:pt x="1390" y="497"/>
                  </a:cubicBezTo>
                  <a:cubicBezTo>
                    <a:pt x="1391" y="504"/>
                    <a:pt x="1391" y="504"/>
                    <a:pt x="1391" y="504"/>
                  </a:cubicBezTo>
                  <a:cubicBezTo>
                    <a:pt x="1391" y="505"/>
                    <a:pt x="1391" y="506"/>
                    <a:pt x="1391" y="507"/>
                  </a:cubicBezTo>
                  <a:cubicBezTo>
                    <a:pt x="1391" y="508"/>
                    <a:pt x="1390" y="509"/>
                    <a:pt x="1391" y="509"/>
                  </a:cubicBezTo>
                  <a:cubicBezTo>
                    <a:pt x="1391" y="510"/>
                    <a:pt x="1391" y="510"/>
                    <a:pt x="1391" y="510"/>
                  </a:cubicBezTo>
                  <a:cubicBezTo>
                    <a:pt x="1392" y="511"/>
                    <a:pt x="1392" y="511"/>
                    <a:pt x="1392" y="511"/>
                  </a:cubicBezTo>
                  <a:cubicBezTo>
                    <a:pt x="1396" y="514"/>
                    <a:pt x="1400" y="518"/>
                    <a:pt x="1404" y="521"/>
                  </a:cubicBezTo>
                  <a:cubicBezTo>
                    <a:pt x="1405" y="523"/>
                    <a:pt x="1405" y="523"/>
                    <a:pt x="1405" y="523"/>
                  </a:cubicBezTo>
                  <a:cubicBezTo>
                    <a:pt x="1406" y="523"/>
                    <a:pt x="1406" y="523"/>
                    <a:pt x="1407" y="523"/>
                  </a:cubicBezTo>
                  <a:cubicBezTo>
                    <a:pt x="1408" y="523"/>
                    <a:pt x="1409" y="523"/>
                    <a:pt x="1410" y="522"/>
                  </a:cubicBezTo>
                  <a:cubicBezTo>
                    <a:pt x="1411" y="522"/>
                    <a:pt x="1412" y="522"/>
                    <a:pt x="1413" y="522"/>
                  </a:cubicBezTo>
                  <a:cubicBezTo>
                    <a:pt x="1413" y="522"/>
                    <a:pt x="1413" y="522"/>
                    <a:pt x="1413" y="522"/>
                  </a:cubicBezTo>
                  <a:cubicBezTo>
                    <a:pt x="1417" y="521"/>
                    <a:pt x="1417" y="521"/>
                    <a:pt x="1417" y="521"/>
                  </a:cubicBezTo>
                  <a:cubicBezTo>
                    <a:pt x="1423" y="518"/>
                    <a:pt x="1423" y="518"/>
                    <a:pt x="1423" y="518"/>
                  </a:cubicBezTo>
                  <a:cubicBezTo>
                    <a:pt x="1423" y="518"/>
                    <a:pt x="1423" y="518"/>
                    <a:pt x="1423" y="517"/>
                  </a:cubicBezTo>
                  <a:cubicBezTo>
                    <a:pt x="1424" y="515"/>
                    <a:pt x="1424" y="515"/>
                    <a:pt x="1424" y="515"/>
                  </a:cubicBezTo>
                  <a:cubicBezTo>
                    <a:pt x="1424" y="514"/>
                    <a:pt x="1425" y="513"/>
                    <a:pt x="1425" y="512"/>
                  </a:cubicBezTo>
                  <a:cubicBezTo>
                    <a:pt x="1426" y="512"/>
                    <a:pt x="1426" y="512"/>
                    <a:pt x="1426" y="512"/>
                  </a:cubicBezTo>
                  <a:cubicBezTo>
                    <a:pt x="1426" y="512"/>
                    <a:pt x="1426" y="512"/>
                    <a:pt x="1426" y="512"/>
                  </a:cubicBezTo>
                  <a:cubicBezTo>
                    <a:pt x="1428" y="512"/>
                    <a:pt x="1428" y="512"/>
                    <a:pt x="1428" y="512"/>
                  </a:cubicBezTo>
                  <a:cubicBezTo>
                    <a:pt x="1428" y="512"/>
                    <a:pt x="1428" y="512"/>
                    <a:pt x="1428" y="512"/>
                  </a:cubicBezTo>
                  <a:cubicBezTo>
                    <a:pt x="1428" y="512"/>
                    <a:pt x="1428" y="512"/>
                    <a:pt x="1428" y="512"/>
                  </a:cubicBezTo>
                  <a:cubicBezTo>
                    <a:pt x="1429" y="511"/>
                    <a:pt x="1429" y="511"/>
                    <a:pt x="1430" y="511"/>
                  </a:cubicBezTo>
                  <a:cubicBezTo>
                    <a:pt x="1430" y="511"/>
                    <a:pt x="1430" y="511"/>
                    <a:pt x="1430" y="511"/>
                  </a:cubicBezTo>
                  <a:cubicBezTo>
                    <a:pt x="1431" y="511"/>
                    <a:pt x="1431" y="511"/>
                    <a:pt x="1431" y="511"/>
                  </a:cubicBezTo>
                  <a:cubicBezTo>
                    <a:pt x="1431" y="511"/>
                    <a:pt x="1431" y="511"/>
                    <a:pt x="1431" y="511"/>
                  </a:cubicBezTo>
                  <a:cubicBezTo>
                    <a:pt x="1432" y="511"/>
                    <a:pt x="1432" y="511"/>
                    <a:pt x="1432" y="511"/>
                  </a:cubicBezTo>
                  <a:cubicBezTo>
                    <a:pt x="1432" y="511"/>
                    <a:pt x="1433" y="512"/>
                    <a:pt x="1433" y="512"/>
                  </a:cubicBezTo>
                  <a:cubicBezTo>
                    <a:pt x="1433" y="512"/>
                    <a:pt x="1433" y="512"/>
                    <a:pt x="1433" y="512"/>
                  </a:cubicBezTo>
                  <a:cubicBezTo>
                    <a:pt x="1434" y="511"/>
                    <a:pt x="1435" y="511"/>
                    <a:pt x="1436" y="511"/>
                  </a:cubicBezTo>
                  <a:cubicBezTo>
                    <a:pt x="1437" y="511"/>
                    <a:pt x="1438" y="511"/>
                    <a:pt x="1439" y="510"/>
                  </a:cubicBezTo>
                  <a:cubicBezTo>
                    <a:pt x="1445" y="510"/>
                    <a:pt x="1445" y="510"/>
                    <a:pt x="1445" y="510"/>
                  </a:cubicBezTo>
                  <a:cubicBezTo>
                    <a:pt x="1450" y="509"/>
                    <a:pt x="1454" y="508"/>
                    <a:pt x="1459" y="505"/>
                  </a:cubicBezTo>
                  <a:cubicBezTo>
                    <a:pt x="1460" y="506"/>
                    <a:pt x="1460" y="506"/>
                    <a:pt x="1460" y="506"/>
                  </a:cubicBezTo>
                  <a:cubicBezTo>
                    <a:pt x="1460" y="506"/>
                    <a:pt x="1460" y="506"/>
                    <a:pt x="1460" y="506"/>
                  </a:cubicBezTo>
                  <a:cubicBezTo>
                    <a:pt x="1460" y="505"/>
                    <a:pt x="1460" y="505"/>
                    <a:pt x="1460" y="505"/>
                  </a:cubicBezTo>
                  <a:cubicBezTo>
                    <a:pt x="1460" y="505"/>
                    <a:pt x="1460" y="505"/>
                    <a:pt x="1460" y="505"/>
                  </a:cubicBezTo>
                  <a:cubicBezTo>
                    <a:pt x="1460" y="505"/>
                    <a:pt x="1460" y="505"/>
                    <a:pt x="1460" y="505"/>
                  </a:cubicBezTo>
                  <a:cubicBezTo>
                    <a:pt x="1459" y="501"/>
                    <a:pt x="1459" y="501"/>
                    <a:pt x="1459" y="501"/>
                  </a:cubicBezTo>
                  <a:cubicBezTo>
                    <a:pt x="1455" y="492"/>
                    <a:pt x="1455" y="492"/>
                    <a:pt x="1455" y="492"/>
                  </a:cubicBezTo>
                  <a:cubicBezTo>
                    <a:pt x="1463" y="497"/>
                    <a:pt x="1463" y="497"/>
                    <a:pt x="1463" y="497"/>
                  </a:cubicBezTo>
                  <a:cubicBezTo>
                    <a:pt x="1464" y="496"/>
                    <a:pt x="1466" y="496"/>
                    <a:pt x="1468" y="496"/>
                  </a:cubicBezTo>
                  <a:cubicBezTo>
                    <a:pt x="1468" y="496"/>
                    <a:pt x="1469" y="495"/>
                    <a:pt x="1470" y="495"/>
                  </a:cubicBezTo>
                  <a:cubicBezTo>
                    <a:pt x="1470" y="495"/>
                    <a:pt x="1471" y="494"/>
                    <a:pt x="1471" y="494"/>
                  </a:cubicBezTo>
                  <a:cubicBezTo>
                    <a:pt x="1472" y="494"/>
                    <a:pt x="1472" y="494"/>
                    <a:pt x="1472" y="494"/>
                  </a:cubicBezTo>
                  <a:cubicBezTo>
                    <a:pt x="1471" y="493"/>
                    <a:pt x="1471" y="493"/>
                    <a:pt x="1471" y="493"/>
                  </a:cubicBezTo>
                  <a:cubicBezTo>
                    <a:pt x="1473" y="492"/>
                    <a:pt x="1473" y="492"/>
                    <a:pt x="1473" y="492"/>
                  </a:cubicBezTo>
                  <a:cubicBezTo>
                    <a:pt x="1474" y="493"/>
                    <a:pt x="1474" y="493"/>
                    <a:pt x="1474" y="493"/>
                  </a:cubicBezTo>
                  <a:cubicBezTo>
                    <a:pt x="1475" y="492"/>
                    <a:pt x="1475" y="492"/>
                    <a:pt x="1475" y="492"/>
                  </a:cubicBezTo>
                  <a:cubicBezTo>
                    <a:pt x="1476" y="491"/>
                    <a:pt x="1477" y="491"/>
                    <a:pt x="1478" y="490"/>
                  </a:cubicBezTo>
                  <a:cubicBezTo>
                    <a:pt x="1482" y="487"/>
                    <a:pt x="1487" y="485"/>
                    <a:pt x="1492" y="483"/>
                  </a:cubicBezTo>
                  <a:cubicBezTo>
                    <a:pt x="1500" y="479"/>
                    <a:pt x="1500" y="479"/>
                    <a:pt x="1500" y="479"/>
                  </a:cubicBezTo>
                  <a:cubicBezTo>
                    <a:pt x="1502" y="478"/>
                    <a:pt x="1505" y="477"/>
                    <a:pt x="1507" y="475"/>
                  </a:cubicBezTo>
                  <a:cubicBezTo>
                    <a:pt x="1510" y="474"/>
                    <a:pt x="1510" y="474"/>
                    <a:pt x="1510" y="474"/>
                  </a:cubicBezTo>
                  <a:cubicBezTo>
                    <a:pt x="1513" y="473"/>
                    <a:pt x="1516" y="473"/>
                    <a:pt x="1518" y="473"/>
                  </a:cubicBezTo>
                  <a:cubicBezTo>
                    <a:pt x="1519" y="473"/>
                    <a:pt x="1519" y="473"/>
                    <a:pt x="1519" y="473"/>
                  </a:cubicBezTo>
                  <a:cubicBezTo>
                    <a:pt x="1520" y="472"/>
                    <a:pt x="1521" y="472"/>
                    <a:pt x="1522" y="472"/>
                  </a:cubicBezTo>
                  <a:cubicBezTo>
                    <a:pt x="1523" y="472"/>
                    <a:pt x="1524" y="472"/>
                    <a:pt x="1524" y="472"/>
                  </a:cubicBezTo>
                  <a:cubicBezTo>
                    <a:pt x="1524" y="472"/>
                    <a:pt x="1525" y="471"/>
                    <a:pt x="1525" y="471"/>
                  </a:cubicBezTo>
                  <a:cubicBezTo>
                    <a:pt x="1525" y="470"/>
                    <a:pt x="1526" y="469"/>
                    <a:pt x="1526" y="468"/>
                  </a:cubicBezTo>
                  <a:cubicBezTo>
                    <a:pt x="1527" y="467"/>
                    <a:pt x="1529" y="467"/>
                    <a:pt x="1530" y="466"/>
                  </a:cubicBezTo>
                  <a:cubicBezTo>
                    <a:pt x="1530" y="466"/>
                    <a:pt x="1530" y="466"/>
                    <a:pt x="1530" y="466"/>
                  </a:cubicBezTo>
                  <a:cubicBezTo>
                    <a:pt x="1531" y="466"/>
                    <a:pt x="1532" y="467"/>
                    <a:pt x="1533" y="468"/>
                  </a:cubicBezTo>
                  <a:cubicBezTo>
                    <a:pt x="1533" y="468"/>
                    <a:pt x="1534" y="468"/>
                    <a:pt x="1534" y="468"/>
                  </a:cubicBezTo>
                  <a:cubicBezTo>
                    <a:pt x="1534" y="468"/>
                    <a:pt x="1534" y="468"/>
                    <a:pt x="1534" y="468"/>
                  </a:cubicBezTo>
                  <a:cubicBezTo>
                    <a:pt x="1534" y="468"/>
                    <a:pt x="1535" y="468"/>
                    <a:pt x="1535" y="468"/>
                  </a:cubicBezTo>
                  <a:cubicBezTo>
                    <a:pt x="1536" y="468"/>
                    <a:pt x="1536" y="468"/>
                    <a:pt x="1536" y="468"/>
                  </a:cubicBezTo>
                  <a:cubicBezTo>
                    <a:pt x="1537" y="468"/>
                    <a:pt x="1538" y="469"/>
                    <a:pt x="1539" y="469"/>
                  </a:cubicBezTo>
                  <a:cubicBezTo>
                    <a:pt x="1540" y="469"/>
                    <a:pt x="1540" y="469"/>
                    <a:pt x="1540" y="469"/>
                  </a:cubicBezTo>
                  <a:cubicBezTo>
                    <a:pt x="1541" y="469"/>
                    <a:pt x="1541" y="469"/>
                    <a:pt x="1542" y="469"/>
                  </a:cubicBezTo>
                  <a:cubicBezTo>
                    <a:pt x="1543" y="469"/>
                    <a:pt x="1543" y="469"/>
                    <a:pt x="1543" y="469"/>
                  </a:cubicBezTo>
                  <a:cubicBezTo>
                    <a:pt x="1544" y="469"/>
                    <a:pt x="1545" y="469"/>
                    <a:pt x="1546" y="470"/>
                  </a:cubicBezTo>
                  <a:cubicBezTo>
                    <a:pt x="1546" y="470"/>
                    <a:pt x="1547" y="471"/>
                    <a:pt x="1548" y="471"/>
                  </a:cubicBezTo>
                  <a:cubicBezTo>
                    <a:pt x="1549" y="472"/>
                    <a:pt x="1550" y="472"/>
                    <a:pt x="1551" y="473"/>
                  </a:cubicBezTo>
                  <a:cubicBezTo>
                    <a:pt x="1551" y="473"/>
                    <a:pt x="1552" y="473"/>
                    <a:pt x="1553" y="473"/>
                  </a:cubicBezTo>
                  <a:cubicBezTo>
                    <a:pt x="1553" y="474"/>
                    <a:pt x="1553" y="474"/>
                    <a:pt x="1553" y="474"/>
                  </a:cubicBezTo>
                  <a:cubicBezTo>
                    <a:pt x="1554" y="474"/>
                    <a:pt x="1554" y="474"/>
                    <a:pt x="1555" y="474"/>
                  </a:cubicBezTo>
                  <a:cubicBezTo>
                    <a:pt x="1557" y="474"/>
                    <a:pt x="1560" y="475"/>
                    <a:pt x="1563" y="475"/>
                  </a:cubicBezTo>
                  <a:cubicBezTo>
                    <a:pt x="1573" y="476"/>
                    <a:pt x="1573" y="476"/>
                    <a:pt x="1573" y="476"/>
                  </a:cubicBezTo>
                  <a:cubicBezTo>
                    <a:pt x="1574" y="476"/>
                    <a:pt x="1575" y="476"/>
                    <a:pt x="1576" y="477"/>
                  </a:cubicBezTo>
                  <a:cubicBezTo>
                    <a:pt x="1578" y="477"/>
                    <a:pt x="1579" y="478"/>
                    <a:pt x="1580" y="479"/>
                  </a:cubicBezTo>
                  <a:cubicBezTo>
                    <a:pt x="1581" y="481"/>
                    <a:pt x="1582" y="483"/>
                    <a:pt x="1582" y="486"/>
                  </a:cubicBezTo>
                  <a:cubicBezTo>
                    <a:pt x="1583" y="486"/>
                    <a:pt x="1583" y="486"/>
                    <a:pt x="1583" y="486"/>
                  </a:cubicBezTo>
                  <a:cubicBezTo>
                    <a:pt x="1583" y="488"/>
                    <a:pt x="1584" y="489"/>
                    <a:pt x="1584" y="490"/>
                  </a:cubicBezTo>
                  <a:cubicBezTo>
                    <a:pt x="1584" y="491"/>
                    <a:pt x="1584" y="491"/>
                    <a:pt x="1584" y="491"/>
                  </a:cubicBezTo>
                  <a:cubicBezTo>
                    <a:pt x="1586" y="493"/>
                    <a:pt x="1586" y="493"/>
                    <a:pt x="1589" y="494"/>
                  </a:cubicBezTo>
                  <a:cubicBezTo>
                    <a:pt x="1603" y="497"/>
                    <a:pt x="1603" y="497"/>
                    <a:pt x="1603" y="497"/>
                  </a:cubicBezTo>
                  <a:cubicBezTo>
                    <a:pt x="1604" y="497"/>
                    <a:pt x="1605" y="497"/>
                    <a:pt x="1605" y="497"/>
                  </a:cubicBezTo>
                  <a:cubicBezTo>
                    <a:pt x="1606" y="497"/>
                    <a:pt x="1606" y="497"/>
                    <a:pt x="1606" y="497"/>
                  </a:cubicBezTo>
                  <a:cubicBezTo>
                    <a:pt x="1607" y="497"/>
                    <a:pt x="1607" y="497"/>
                    <a:pt x="1607" y="497"/>
                  </a:cubicBezTo>
                  <a:cubicBezTo>
                    <a:pt x="1607" y="497"/>
                    <a:pt x="1607" y="497"/>
                    <a:pt x="1607" y="497"/>
                  </a:cubicBezTo>
                  <a:cubicBezTo>
                    <a:pt x="1609" y="496"/>
                    <a:pt x="1609" y="496"/>
                    <a:pt x="1609" y="496"/>
                  </a:cubicBezTo>
                  <a:cubicBezTo>
                    <a:pt x="1611" y="495"/>
                    <a:pt x="1613" y="494"/>
                    <a:pt x="1616" y="494"/>
                  </a:cubicBezTo>
                  <a:cubicBezTo>
                    <a:pt x="1617" y="494"/>
                    <a:pt x="1617" y="494"/>
                    <a:pt x="1617" y="494"/>
                  </a:cubicBezTo>
                  <a:cubicBezTo>
                    <a:pt x="1617" y="494"/>
                    <a:pt x="1617" y="494"/>
                    <a:pt x="1617" y="494"/>
                  </a:cubicBezTo>
                  <a:cubicBezTo>
                    <a:pt x="1618" y="494"/>
                    <a:pt x="1619" y="494"/>
                    <a:pt x="1619" y="494"/>
                  </a:cubicBezTo>
                  <a:cubicBezTo>
                    <a:pt x="1620" y="494"/>
                    <a:pt x="1621" y="494"/>
                    <a:pt x="1622" y="495"/>
                  </a:cubicBezTo>
                  <a:cubicBezTo>
                    <a:pt x="1624" y="495"/>
                    <a:pt x="1625" y="495"/>
                    <a:pt x="1627" y="496"/>
                  </a:cubicBezTo>
                  <a:cubicBezTo>
                    <a:pt x="1627" y="496"/>
                    <a:pt x="1627" y="496"/>
                    <a:pt x="1627" y="496"/>
                  </a:cubicBezTo>
                  <a:cubicBezTo>
                    <a:pt x="1629" y="496"/>
                    <a:pt x="1630" y="497"/>
                    <a:pt x="1632" y="497"/>
                  </a:cubicBezTo>
                  <a:cubicBezTo>
                    <a:pt x="1632" y="497"/>
                    <a:pt x="1633" y="497"/>
                    <a:pt x="1633" y="498"/>
                  </a:cubicBezTo>
                  <a:cubicBezTo>
                    <a:pt x="1637" y="498"/>
                    <a:pt x="1637" y="498"/>
                    <a:pt x="1637" y="498"/>
                  </a:cubicBezTo>
                  <a:cubicBezTo>
                    <a:pt x="1639" y="499"/>
                    <a:pt x="1641" y="499"/>
                    <a:pt x="1643" y="500"/>
                  </a:cubicBezTo>
                  <a:cubicBezTo>
                    <a:pt x="1645" y="500"/>
                    <a:pt x="1646" y="501"/>
                    <a:pt x="1647" y="501"/>
                  </a:cubicBezTo>
                  <a:cubicBezTo>
                    <a:pt x="1647" y="501"/>
                    <a:pt x="1647" y="501"/>
                    <a:pt x="1647" y="501"/>
                  </a:cubicBezTo>
                  <a:cubicBezTo>
                    <a:pt x="1649" y="502"/>
                    <a:pt x="1650" y="502"/>
                    <a:pt x="1651" y="502"/>
                  </a:cubicBezTo>
                  <a:cubicBezTo>
                    <a:pt x="1652" y="502"/>
                    <a:pt x="1652" y="502"/>
                    <a:pt x="1652" y="502"/>
                  </a:cubicBezTo>
                  <a:cubicBezTo>
                    <a:pt x="1653" y="502"/>
                    <a:pt x="1654" y="501"/>
                    <a:pt x="1654" y="500"/>
                  </a:cubicBezTo>
                  <a:cubicBezTo>
                    <a:pt x="1655" y="500"/>
                    <a:pt x="1655" y="499"/>
                    <a:pt x="1655" y="499"/>
                  </a:cubicBezTo>
                  <a:cubicBezTo>
                    <a:pt x="1656" y="499"/>
                    <a:pt x="1656" y="498"/>
                    <a:pt x="1657" y="498"/>
                  </a:cubicBezTo>
                  <a:cubicBezTo>
                    <a:pt x="1658" y="497"/>
                    <a:pt x="1658" y="497"/>
                    <a:pt x="1658" y="497"/>
                  </a:cubicBezTo>
                  <a:cubicBezTo>
                    <a:pt x="1658" y="497"/>
                    <a:pt x="1658" y="497"/>
                    <a:pt x="1659" y="496"/>
                  </a:cubicBezTo>
                  <a:cubicBezTo>
                    <a:pt x="1659" y="496"/>
                    <a:pt x="1659" y="496"/>
                    <a:pt x="1659" y="496"/>
                  </a:cubicBezTo>
                  <a:cubicBezTo>
                    <a:pt x="1660" y="496"/>
                    <a:pt x="1660" y="496"/>
                    <a:pt x="1661" y="496"/>
                  </a:cubicBezTo>
                  <a:cubicBezTo>
                    <a:pt x="1662" y="495"/>
                    <a:pt x="1662" y="495"/>
                    <a:pt x="1663" y="495"/>
                  </a:cubicBezTo>
                  <a:cubicBezTo>
                    <a:pt x="1666" y="494"/>
                    <a:pt x="1668" y="494"/>
                    <a:pt x="1669" y="492"/>
                  </a:cubicBezTo>
                  <a:cubicBezTo>
                    <a:pt x="1670" y="488"/>
                    <a:pt x="1670" y="488"/>
                    <a:pt x="1670" y="488"/>
                  </a:cubicBezTo>
                  <a:cubicBezTo>
                    <a:pt x="1671" y="487"/>
                    <a:pt x="1671" y="486"/>
                    <a:pt x="1671" y="485"/>
                  </a:cubicBezTo>
                  <a:cubicBezTo>
                    <a:pt x="1672" y="483"/>
                    <a:pt x="1672" y="483"/>
                    <a:pt x="1672" y="483"/>
                  </a:cubicBezTo>
                  <a:cubicBezTo>
                    <a:pt x="1672" y="482"/>
                    <a:pt x="1672" y="482"/>
                    <a:pt x="1672" y="482"/>
                  </a:cubicBezTo>
                  <a:cubicBezTo>
                    <a:pt x="1672" y="482"/>
                    <a:pt x="1672" y="482"/>
                    <a:pt x="1672" y="482"/>
                  </a:cubicBezTo>
                  <a:cubicBezTo>
                    <a:pt x="1671" y="482"/>
                    <a:pt x="1669" y="481"/>
                    <a:pt x="1668" y="480"/>
                  </a:cubicBezTo>
                  <a:cubicBezTo>
                    <a:pt x="1666" y="478"/>
                    <a:pt x="1665" y="476"/>
                    <a:pt x="1664" y="474"/>
                  </a:cubicBezTo>
                  <a:cubicBezTo>
                    <a:pt x="1663" y="470"/>
                    <a:pt x="1662" y="467"/>
                    <a:pt x="1662" y="464"/>
                  </a:cubicBezTo>
                  <a:cubicBezTo>
                    <a:pt x="1662" y="463"/>
                    <a:pt x="1662" y="463"/>
                    <a:pt x="1662" y="463"/>
                  </a:cubicBezTo>
                  <a:cubicBezTo>
                    <a:pt x="1662" y="462"/>
                    <a:pt x="1662" y="461"/>
                    <a:pt x="1663" y="461"/>
                  </a:cubicBezTo>
                  <a:cubicBezTo>
                    <a:pt x="1663" y="460"/>
                    <a:pt x="1663" y="459"/>
                    <a:pt x="1663" y="458"/>
                  </a:cubicBezTo>
                  <a:cubicBezTo>
                    <a:pt x="1664" y="457"/>
                    <a:pt x="1664" y="457"/>
                    <a:pt x="1664" y="457"/>
                  </a:cubicBezTo>
                  <a:cubicBezTo>
                    <a:pt x="1664" y="456"/>
                    <a:pt x="1664" y="456"/>
                    <a:pt x="1664" y="456"/>
                  </a:cubicBezTo>
                  <a:cubicBezTo>
                    <a:pt x="1664" y="454"/>
                    <a:pt x="1665" y="452"/>
                    <a:pt x="1666" y="450"/>
                  </a:cubicBezTo>
                  <a:cubicBezTo>
                    <a:pt x="1666" y="449"/>
                    <a:pt x="1667" y="449"/>
                    <a:pt x="1667" y="448"/>
                  </a:cubicBezTo>
                  <a:cubicBezTo>
                    <a:pt x="1668" y="447"/>
                    <a:pt x="1669" y="447"/>
                    <a:pt x="1671" y="447"/>
                  </a:cubicBezTo>
                  <a:cubicBezTo>
                    <a:pt x="1671" y="446"/>
                    <a:pt x="1671" y="446"/>
                    <a:pt x="1671" y="446"/>
                  </a:cubicBezTo>
                  <a:cubicBezTo>
                    <a:pt x="1671" y="446"/>
                    <a:pt x="1671" y="446"/>
                    <a:pt x="1671" y="446"/>
                  </a:cubicBezTo>
                  <a:cubicBezTo>
                    <a:pt x="1672" y="445"/>
                    <a:pt x="1672" y="444"/>
                    <a:pt x="1672" y="442"/>
                  </a:cubicBezTo>
                  <a:cubicBezTo>
                    <a:pt x="1673" y="441"/>
                    <a:pt x="1673" y="441"/>
                    <a:pt x="1673" y="441"/>
                  </a:cubicBezTo>
                  <a:cubicBezTo>
                    <a:pt x="1673" y="441"/>
                    <a:pt x="1673" y="440"/>
                    <a:pt x="1674" y="440"/>
                  </a:cubicBezTo>
                  <a:cubicBezTo>
                    <a:pt x="1674" y="440"/>
                    <a:pt x="1674" y="440"/>
                    <a:pt x="1674" y="440"/>
                  </a:cubicBezTo>
                  <a:cubicBezTo>
                    <a:pt x="1674" y="439"/>
                    <a:pt x="1674" y="439"/>
                    <a:pt x="1674" y="439"/>
                  </a:cubicBezTo>
                  <a:cubicBezTo>
                    <a:pt x="1675" y="439"/>
                    <a:pt x="1675" y="438"/>
                    <a:pt x="1676" y="438"/>
                  </a:cubicBezTo>
                  <a:cubicBezTo>
                    <a:pt x="1677" y="437"/>
                    <a:pt x="1677" y="437"/>
                    <a:pt x="1677" y="437"/>
                  </a:cubicBezTo>
                  <a:cubicBezTo>
                    <a:pt x="1679" y="435"/>
                    <a:pt x="1681" y="433"/>
                    <a:pt x="1683" y="431"/>
                  </a:cubicBezTo>
                  <a:cubicBezTo>
                    <a:pt x="1690" y="424"/>
                    <a:pt x="1690" y="424"/>
                    <a:pt x="1690" y="424"/>
                  </a:cubicBezTo>
                  <a:cubicBezTo>
                    <a:pt x="1694" y="426"/>
                    <a:pt x="1694" y="426"/>
                    <a:pt x="1694" y="426"/>
                  </a:cubicBezTo>
                  <a:cubicBezTo>
                    <a:pt x="1696" y="422"/>
                    <a:pt x="1696" y="422"/>
                    <a:pt x="1696" y="422"/>
                  </a:cubicBezTo>
                  <a:cubicBezTo>
                    <a:pt x="1695" y="427"/>
                    <a:pt x="1695" y="427"/>
                    <a:pt x="1695" y="427"/>
                  </a:cubicBezTo>
                  <a:cubicBezTo>
                    <a:pt x="1709" y="434"/>
                    <a:pt x="1709" y="434"/>
                    <a:pt x="1709" y="434"/>
                  </a:cubicBezTo>
                  <a:cubicBezTo>
                    <a:pt x="1716" y="437"/>
                    <a:pt x="1720" y="438"/>
                    <a:pt x="1728" y="439"/>
                  </a:cubicBezTo>
                  <a:cubicBezTo>
                    <a:pt x="1729" y="439"/>
                    <a:pt x="1729" y="439"/>
                    <a:pt x="1729" y="439"/>
                  </a:cubicBezTo>
                  <a:cubicBezTo>
                    <a:pt x="1729" y="439"/>
                    <a:pt x="1729" y="439"/>
                    <a:pt x="1729" y="439"/>
                  </a:cubicBezTo>
                  <a:cubicBezTo>
                    <a:pt x="1731" y="439"/>
                    <a:pt x="1731" y="439"/>
                    <a:pt x="1731" y="439"/>
                  </a:cubicBezTo>
                  <a:cubicBezTo>
                    <a:pt x="1731" y="439"/>
                    <a:pt x="1732" y="439"/>
                    <a:pt x="1733" y="439"/>
                  </a:cubicBezTo>
                  <a:cubicBezTo>
                    <a:pt x="1737" y="440"/>
                    <a:pt x="1740" y="441"/>
                    <a:pt x="1744" y="443"/>
                  </a:cubicBezTo>
                  <a:cubicBezTo>
                    <a:pt x="1746" y="444"/>
                    <a:pt x="1748" y="445"/>
                    <a:pt x="1751" y="446"/>
                  </a:cubicBezTo>
                  <a:cubicBezTo>
                    <a:pt x="1764" y="449"/>
                    <a:pt x="1764" y="449"/>
                    <a:pt x="1764" y="449"/>
                  </a:cubicBezTo>
                  <a:cubicBezTo>
                    <a:pt x="1764" y="449"/>
                    <a:pt x="1765" y="449"/>
                    <a:pt x="1765" y="450"/>
                  </a:cubicBezTo>
                  <a:cubicBezTo>
                    <a:pt x="1771" y="451"/>
                    <a:pt x="1773" y="452"/>
                    <a:pt x="1774" y="453"/>
                  </a:cubicBezTo>
                  <a:cubicBezTo>
                    <a:pt x="1775" y="454"/>
                    <a:pt x="1775" y="454"/>
                    <a:pt x="1775" y="454"/>
                  </a:cubicBezTo>
                  <a:cubicBezTo>
                    <a:pt x="1775" y="456"/>
                    <a:pt x="1774" y="457"/>
                    <a:pt x="1774" y="458"/>
                  </a:cubicBezTo>
                  <a:cubicBezTo>
                    <a:pt x="1773" y="458"/>
                    <a:pt x="1773" y="458"/>
                    <a:pt x="1773" y="458"/>
                  </a:cubicBezTo>
                  <a:cubicBezTo>
                    <a:pt x="1774" y="459"/>
                    <a:pt x="1774" y="461"/>
                    <a:pt x="1774" y="462"/>
                  </a:cubicBezTo>
                  <a:cubicBezTo>
                    <a:pt x="1774" y="463"/>
                    <a:pt x="1774" y="464"/>
                    <a:pt x="1774" y="466"/>
                  </a:cubicBezTo>
                  <a:cubicBezTo>
                    <a:pt x="1774" y="466"/>
                    <a:pt x="1775" y="467"/>
                    <a:pt x="1775" y="469"/>
                  </a:cubicBezTo>
                  <a:cubicBezTo>
                    <a:pt x="1775" y="471"/>
                    <a:pt x="1775" y="471"/>
                    <a:pt x="1775" y="471"/>
                  </a:cubicBezTo>
                  <a:cubicBezTo>
                    <a:pt x="1776" y="472"/>
                    <a:pt x="1776" y="474"/>
                    <a:pt x="1776" y="475"/>
                  </a:cubicBezTo>
                  <a:cubicBezTo>
                    <a:pt x="1776" y="475"/>
                    <a:pt x="1776" y="476"/>
                    <a:pt x="1777" y="477"/>
                  </a:cubicBezTo>
                  <a:cubicBezTo>
                    <a:pt x="1778" y="477"/>
                    <a:pt x="1778" y="477"/>
                    <a:pt x="1778" y="477"/>
                  </a:cubicBezTo>
                  <a:cubicBezTo>
                    <a:pt x="1778" y="478"/>
                    <a:pt x="1779" y="479"/>
                    <a:pt x="1780" y="480"/>
                  </a:cubicBezTo>
                  <a:cubicBezTo>
                    <a:pt x="1782" y="481"/>
                    <a:pt x="1784" y="482"/>
                    <a:pt x="1786" y="482"/>
                  </a:cubicBezTo>
                  <a:cubicBezTo>
                    <a:pt x="1814" y="489"/>
                    <a:pt x="1814" y="489"/>
                    <a:pt x="1814" y="489"/>
                  </a:cubicBezTo>
                  <a:cubicBezTo>
                    <a:pt x="1815" y="489"/>
                    <a:pt x="1815" y="489"/>
                    <a:pt x="1816" y="489"/>
                  </a:cubicBezTo>
                  <a:cubicBezTo>
                    <a:pt x="1816" y="489"/>
                    <a:pt x="1816" y="489"/>
                    <a:pt x="1816" y="489"/>
                  </a:cubicBezTo>
                  <a:cubicBezTo>
                    <a:pt x="1817" y="489"/>
                    <a:pt x="1817" y="489"/>
                    <a:pt x="1817" y="489"/>
                  </a:cubicBezTo>
                  <a:cubicBezTo>
                    <a:pt x="1818" y="489"/>
                    <a:pt x="1818" y="489"/>
                    <a:pt x="1818" y="489"/>
                  </a:cubicBezTo>
                  <a:cubicBezTo>
                    <a:pt x="1818" y="489"/>
                    <a:pt x="1818" y="489"/>
                    <a:pt x="1818" y="489"/>
                  </a:cubicBezTo>
                  <a:cubicBezTo>
                    <a:pt x="1819" y="488"/>
                    <a:pt x="1820" y="488"/>
                    <a:pt x="1820" y="488"/>
                  </a:cubicBezTo>
                  <a:cubicBezTo>
                    <a:pt x="1821" y="487"/>
                    <a:pt x="1821" y="487"/>
                    <a:pt x="1821" y="487"/>
                  </a:cubicBezTo>
                  <a:cubicBezTo>
                    <a:pt x="1822" y="487"/>
                    <a:pt x="1822" y="486"/>
                    <a:pt x="1823" y="486"/>
                  </a:cubicBezTo>
                  <a:cubicBezTo>
                    <a:pt x="1824" y="486"/>
                    <a:pt x="1824" y="486"/>
                    <a:pt x="1824" y="486"/>
                  </a:cubicBezTo>
                  <a:cubicBezTo>
                    <a:pt x="1825" y="485"/>
                    <a:pt x="1825" y="485"/>
                    <a:pt x="1825" y="485"/>
                  </a:cubicBezTo>
                  <a:cubicBezTo>
                    <a:pt x="1829" y="483"/>
                    <a:pt x="1833" y="482"/>
                    <a:pt x="1838" y="481"/>
                  </a:cubicBezTo>
                  <a:cubicBezTo>
                    <a:pt x="1841" y="480"/>
                    <a:pt x="1845" y="479"/>
                    <a:pt x="1849" y="479"/>
                  </a:cubicBezTo>
                  <a:cubicBezTo>
                    <a:pt x="1849" y="479"/>
                    <a:pt x="1850" y="479"/>
                    <a:pt x="1850" y="479"/>
                  </a:cubicBezTo>
                  <a:cubicBezTo>
                    <a:pt x="1852" y="480"/>
                    <a:pt x="1855" y="480"/>
                    <a:pt x="1857" y="480"/>
                  </a:cubicBezTo>
                  <a:cubicBezTo>
                    <a:pt x="1860" y="480"/>
                    <a:pt x="1865" y="481"/>
                    <a:pt x="1867" y="483"/>
                  </a:cubicBezTo>
                  <a:cubicBezTo>
                    <a:pt x="1868" y="483"/>
                    <a:pt x="1869" y="483"/>
                    <a:pt x="1869" y="484"/>
                  </a:cubicBezTo>
                  <a:cubicBezTo>
                    <a:pt x="1877" y="484"/>
                    <a:pt x="1877" y="484"/>
                    <a:pt x="1877" y="484"/>
                  </a:cubicBezTo>
                  <a:cubicBezTo>
                    <a:pt x="1877" y="484"/>
                    <a:pt x="1877" y="484"/>
                    <a:pt x="1877" y="484"/>
                  </a:cubicBezTo>
                  <a:cubicBezTo>
                    <a:pt x="1878" y="484"/>
                    <a:pt x="1878" y="484"/>
                    <a:pt x="1878" y="484"/>
                  </a:cubicBezTo>
                  <a:cubicBezTo>
                    <a:pt x="1880" y="484"/>
                    <a:pt x="1880" y="484"/>
                    <a:pt x="1880" y="484"/>
                  </a:cubicBezTo>
                  <a:cubicBezTo>
                    <a:pt x="1880" y="484"/>
                    <a:pt x="1880" y="484"/>
                    <a:pt x="1880" y="484"/>
                  </a:cubicBezTo>
                  <a:cubicBezTo>
                    <a:pt x="1882" y="484"/>
                    <a:pt x="1882" y="484"/>
                    <a:pt x="1882" y="484"/>
                  </a:cubicBezTo>
                  <a:cubicBezTo>
                    <a:pt x="1883" y="484"/>
                    <a:pt x="1884" y="484"/>
                    <a:pt x="1885" y="485"/>
                  </a:cubicBezTo>
                  <a:cubicBezTo>
                    <a:pt x="1888" y="486"/>
                    <a:pt x="1891" y="488"/>
                    <a:pt x="1893" y="490"/>
                  </a:cubicBezTo>
                  <a:cubicBezTo>
                    <a:pt x="1896" y="492"/>
                    <a:pt x="1899" y="495"/>
                    <a:pt x="1902" y="495"/>
                  </a:cubicBezTo>
                  <a:cubicBezTo>
                    <a:pt x="1904" y="495"/>
                    <a:pt x="1904" y="495"/>
                    <a:pt x="1904" y="495"/>
                  </a:cubicBezTo>
                  <a:cubicBezTo>
                    <a:pt x="1904" y="495"/>
                    <a:pt x="1905" y="495"/>
                    <a:pt x="1906" y="495"/>
                  </a:cubicBezTo>
                  <a:cubicBezTo>
                    <a:pt x="1906" y="494"/>
                    <a:pt x="1906" y="494"/>
                    <a:pt x="1906" y="494"/>
                  </a:cubicBezTo>
                  <a:cubicBezTo>
                    <a:pt x="1912" y="496"/>
                    <a:pt x="1912" y="496"/>
                    <a:pt x="1912" y="496"/>
                  </a:cubicBezTo>
                  <a:cubicBezTo>
                    <a:pt x="1912" y="496"/>
                    <a:pt x="1912" y="496"/>
                    <a:pt x="1912" y="496"/>
                  </a:cubicBezTo>
                  <a:cubicBezTo>
                    <a:pt x="1912" y="496"/>
                    <a:pt x="1913" y="496"/>
                    <a:pt x="1913" y="496"/>
                  </a:cubicBezTo>
                  <a:cubicBezTo>
                    <a:pt x="1913" y="496"/>
                    <a:pt x="1913" y="496"/>
                    <a:pt x="1913" y="496"/>
                  </a:cubicBezTo>
                  <a:cubicBezTo>
                    <a:pt x="1915" y="497"/>
                    <a:pt x="1915" y="497"/>
                    <a:pt x="1915" y="497"/>
                  </a:cubicBezTo>
                  <a:cubicBezTo>
                    <a:pt x="1916" y="499"/>
                    <a:pt x="1916" y="499"/>
                    <a:pt x="1916" y="499"/>
                  </a:cubicBezTo>
                  <a:cubicBezTo>
                    <a:pt x="1917" y="502"/>
                    <a:pt x="1917" y="502"/>
                    <a:pt x="1917" y="502"/>
                  </a:cubicBezTo>
                  <a:cubicBezTo>
                    <a:pt x="1918" y="508"/>
                    <a:pt x="1918" y="508"/>
                    <a:pt x="1918" y="508"/>
                  </a:cubicBezTo>
                  <a:cubicBezTo>
                    <a:pt x="1928" y="516"/>
                    <a:pt x="1928" y="516"/>
                    <a:pt x="1928" y="516"/>
                  </a:cubicBezTo>
                  <a:cubicBezTo>
                    <a:pt x="1944" y="515"/>
                    <a:pt x="1944" y="515"/>
                    <a:pt x="1944" y="515"/>
                  </a:cubicBezTo>
                  <a:cubicBezTo>
                    <a:pt x="1948" y="516"/>
                    <a:pt x="1948" y="516"/>
                    <a:pt x="1948" y="516"/>
                  </a:cubicBezTo>
                  <a:cubicBezTo>
                    <a:pt x="1949" y="516"/>
                    <a:pt x="1949" y="516"/>
                    <a:pt x="1949" y="516"/>
                  </a:cubicBezTo>
                  <a:cubicBezTo>
                    <a:pt x="1950" y="517"/>
                    <a:pt x="1950" y="517"/>
                    <a:pt x="1950" y="517"/>
                  </a:cubicBezTo>
                  <a:cubicBezTo>
                    <a:pt x="1983" y="521"/>
                    <a:pt x="1983" y="521"/>
                    <a:pt x="1983" y="521"/>
                  </a:cubicBezTo>
                  <a:cubicBezTo>
                    <a:pt x="1984" y="521"/>
                    <a:pt x="1984" y="521"/>
                    <a:pt x="1985" y="521"/>
                  </a:cubicBezTo>
                  <a:cubicBezTo>
                    <a:pt x="2015" y="513"/>
                    <a:pt x="2015" y="513"/>
                    <a:pt x="2015" y="513"/>
                  </a:cubicBezTo>
                  <a:cubicBezTo>
                    <a:pt x="2032" y="510"/>
                    <a:pt x="2032" y="510"/>
                    <a:pt x="2032" y="510"/>
                  </a:cubicBezTo>
                  <a:cubicBezTo>
                    <a:pt x="2033" y="509"/>
                    <a:pt x="2033" y="509"/>
                    <a:pt x="2033" y="509"/>
                  </a:cubicBezTo>
                  <a:cubicBezTo>
                    <a:pt x="2044" y="499"/>
                    <a:pt x="2044" y="499"/>
                    <a:pt x="2044" y="499"/>
                  </a:cubicBezTo>
                  <a:cubicBezTo>
                    <a:pt x="2050" y="495"/>
                    <a:pt x="2050" y="495"/>
                    <a:pt x="2050" y="495"/>
                  </a:cubicBezTo>
                  <a:cubicBezTo>
                    <a:pt x="2054" y="493"/>
                    <a:pt x="2054" y="493"/>
                    <a:pt x="2054" y="493"/>
                  </a:cubicBezTo>
                  <a:cubicBezTo>
                    <a:pt x="2054" y="492"/>
                    <a:pt x="2055" y="492"/>
                    <a:pt x="2056" y="491"/>
                  </a:cubicBezTo>
                  <a:cubicBezTo>
                    <a:pt x="2056" y="491"/>
                    <a:pt x="2056" y="491"/>
                    <a:pt x="2056" y="491"/>
                  </a:cubicBezTo>
                  <a:cubicBezTo>
                    <a:pt x="2057" y="491"/>
                    <a:pt x="2058" y="490"/>
                    <a:pt x="2058" y="490"/>
                  </a:cubicBezTo>
                  <a:cubicBezTo>
                    <a:pt x="2060" y="489"/>
                    <a:pt x="2062" y="487"/>
                    <a:pt x="2065" y="487"/>
                  </a:cubicBezTo>
                  <a:cubicBezTo>
                    <a:pt x="2065" y="487"/>
                    <a:pt x="2065" y="487"/>
                    <a:pt x="2065" y="487"/>
                  </a:cubicBezTo>
                  <a:cubicBezTo>
                    <a:pt x="2067" y="487"/>
                    <a:pt x="2068" y="487"/>
                    <a:pt x="2069" y="487"/>
                  </a:cubicBezTo>
                  <a:cubicBezTo>
                    <a:pt x="2070" y="487"/>
                    <a:pt x="2070" y="487"/>
                    <a:pt x="2070" y="487"/>
                  </a:cubicBezTo>
                  <a:cubicBezTo>
                    <a:pt x="2072" y="487"/>
                    <a:pt x="2073" y="487"/>
                    <a:pt x="2075" y="487"/>
                  </a:cubicBezTo>
                  <a:cubicBezTo>
                    <a:pt x="2076" y="487"/>
                    <a:pt x="2078" y="487"/>
                    <a:pt x="2079" y="487"/>
                  </a:cubicBezTo>
                  <a:cubicBezTo>
                    <a:pt x="2083" y="487"/>
                    <a:pt x="2083" y="487"/>
                    <a:pt x="2083" y="487"/>
                  </a:cubicBezTo>
                  <a:cubicBezTo>
                    <a:pt x="2099" y="497"/>
                    <a:pt x="2099" y="497"/>
                    <a:pt x="2099" y="497"/>
                  </a:cubicBezTo>
                  <a:cubicBezTo>
                    <a:pt x="2100" y="497"/>
                    <a:pt x="2100" y="497"/>
                    <a:pt x="2100" y="497"/>
                  </a:cubicBezTo>
                  <a:cubicBezTo>
                    <a:pt x="2100" y="498"/>
                    <a:pt x="2100" y="498"/>
                    <a:pt x="2100" y="498"/>
                  </a:cubicBezTo>
                  <a:cubicBezTo>
                    <a:pt x="2100" y="498"/>
                    <a:pt x="2100" y="498"/>
                    <a:pt x="2100" y="498"/>
                  </a:cubicBezTo>
                  <a:cubicBezTo>
                    <a:pt x="2100" y="498"/>
                    <a:pt x="2100" y="498"/>
                    <a:pt x="2100" y="498"/>
                  </a:cubicBezTo>
                  <a:cubicBezTo>
                    <a:pt x="2117" y="493"/>
                    <a:pt x="2117" y="493"/>
                    <a:pt x="2117" y="493"/>
                  </a:cubicBezTo>
                  <a:cubicBezTo>
                    <a:pt x="2118" y="494"/>
                    <a:pt x="2118" y="494"/>
                    <a:pt x="2118" y="494"/>
                  </a:cubicBezTo>
                  <a:cubicBezTo>
                    <a:pt x="2120" y="494"/>
                    <a:pt x="2122" y="496"/>
                    <a:pt x="2126" y="498"/>
                  </a:cubicBezTo>
                  <a:cubicBezTo>
                    <a:pt x="2126" y="498"/>
                    <a:pt x="2126" y="498"/>
                    <a:pt x="2126" y="498"/>
                  </a:cubicBezTo>
                  <a:cubicBezTo>
                    <a:pt x="2127" y="499"/>
                    <a:pt x="2128" y="499"/>
                    <a:pt x="2128" y="499"/>
                  </a:cubicBezTo>
                  <a:cubicBezTo>
                    <a:pt x="2128" y="500"/>
                    <a:pt x="2128" y="500"/>
                    <a:pt x="2128" y="500"/>
                  </a:cubicBezTo>
                  <a:cubicBezTo>
                    <a:pt x="2129" y="500"/>
                    <a:pt x="2129" y="500"/>
                    <a:pt x="2130" y="501"/>
                  </a:cubicBezTo>
                  <a:cubicBezTo>
                    <a:pt x="2131" y="501"/>
                    <a:pt x="2134" y="501"/>
                    <a:pt x="2135" y="502"/>
                  </a:cubicBezTo>
                  <a:cubicBezTo>
                    <a:pt x="2148" y="506"/>
                    <a:pt x="2148" y="506"/>
                    <a:pt x="2148" y="506"/>
                  </a:cubicBezTo>
                  <a:cubicBezTo>
                    <a:pt x="2148" y="506"/>
                    <a:pt x="2148" y="506"/>
                    <a:pt x="2148" y="506"/>
                  </a:cubicBezTo>
                  <a:cubicBezTo>
                    <a:pt x="2157" y="509"/>
                    <a:pt x="2157" y="509"/>
                    <a:pt x="2157" y="509"/>
                  </a:cubicBezTo>
                  <a:cubicBezTo>
                    <a:pt x="2164" y="504"/>
                    <a:pt x="2164" y="504"/>
                    <a:pt x="2164" y="504"/>
                  </a:cubicBezTo>
                  <a:cubicBezTo>
                    <a:pt x="2166" y="501"/>
                    <a:pt x="2169" y="498"/>
                    <a:pt x="2173" y="497"/>
                  </a:cubicBezTo>
                  <a:cubicBezTo>
                    <a:pt x="2174" y="497"/>
                    <a:pt x="2174" y="497"/>
                    <a:pt x="2174" y="497"/>
                  </a:cubicBezTo>
                  <a:cubicBezTo>
                    <a:pt x="2184" y="495"/>
                    <a:pt x="2184" y="495"/>
                    <a:pt x="2184" y="495"/>
                  </a:cubicBezTo>
                  <a:cubicBezTo>
                    <a:pt x="2190" y="492"/>
                    <a:pt x="2190" y="492"/>
                    <a:pt x="2190" y="492"/>
                  </a:cubicBezTo>
                  <a:cubicBezTo>
                    <a:pt x="2190" y="491"/>
                    <a:pt x="2190" y="491"/>
                    <a:pt x="2190" y="491"/>
                  </a:cubicBezTo>
                  <a:cubicBezTo>
                    <a:pt x="2190" y="490"/>
                    <a:pt x="2190" y="490"/>
                    <a:pt x="2190" y="489"/>
                  </a:cubicBezTo>
                  <a:cubicBezTo>
                    <a:pt x="2190" y="488"/>
                    <a:pt x="2190" y="488"/>
                    <a:pt x="2190" y="488"/>
                  </a:cubicBezTo>
                  <a:cubicBezTo>
                    <a:pt x="2190" y="485"/>
                    <a:pt x="2190" y="485"/>
                    <a:pt x="2190" y="485"/>
                  </a:cubicBezTo>
                  <a:cubicBezTo>
                    <a:pt x="2192" y="475"/>
                    <a:pt x="2192" y="475"/>
                    <a:pt x="2192" y="475"/>
                  </a:cubicBezTo>
                  <a:cubicBezTo>
                    <a:pt x="2196" y="466"/>
                    <a:pt x="2196" y="466"/>
                    <a:pt x="2196" y="466"/>
                  </a:cubicBezTo>
                  <a:cubicBezTo>
                    <a:pt x="2200" y="459"/>
                    <a:pt x="2200" y="459"/>
                    <a:pt x="2200" y="459"/>
                  </a:cubicBezTo>
                  <a:cubicBezTo>
                    <a:pt x="2202" y="456"/>
                    <a:pt x="2203" y="453"/>
                    <a:pt x="2205" y="450"/>
                  </a:cubicBezTo>
                  <a:cubicBezTo>
                    <a:pt x="2207" y="447"/>
                    <a:pt x="2207" y="447"/>
                    <a:pt x="2207" y="447"/>
                  </a:cubicBezTo>
                  <a:cubicBezTo>
                    <a:pt x="2220" y="433"/>
                    <a:pt x="2220" y="433"/>
                    <a:pt x="2220" y="433"/>
                  </a:cubicBezTo>
                  <a:cubicBezTo>
                    <a:pt x="2222" y="431"/>
                    <a:pt x="2224" y="429"/>
                    <a:pt x="2225" y="427"/>
                  </a:cubicBezTo>
                  <a:cubicBezTo>
                    <a:pt x="2225" y="426"/>
                    <a:pt x="2225" y="426"/>
                    <a:pt x="2225" y="426"/>
                  </a:cubicBezTo>
                  <a:cubicBezTo>
                    <a:pt x="2224" y="426"/>
                    <a:pt x="2224" y="426"/>
                    <a:pt x="2224" y="426"/>
                  </a:cubicBezTo>
                  <a:cubicBezTo>
                    <a:pt x="2223" y="425"/>
                    <a:pt x="2223" y="425"/>
                    <a:pt x="2223" y="425"/>
                  </a:cubicBezTo>
                  <a:cubicBezTo>
                    <a:pt x="2223" y="423"/>
                    <a:pt x="2223" y="423"/>
                    <a:pt x="2223" y="423"/>
                  </a:cubicBezTo>
                  <a:cubicBezTo>
                    <a:pt x="2223" y="420"/>
                    <a:pt x="2223" y="420"/>
                    <a:pt x="2223" y="420"/>
                  </a:cubicBezTo>
                  <a:cubicBezTo>
                    <a:pt x="2224" y="417"/>
                    <a:pt x="2224" y="417"/>
                    <a:pt x="2224" y="417"/>
                  </a:cubicBezTo>
                  <a:cubicBezTo>
                    <a:pt x="2223" y="416"/>
                    <a:pt x="2223" y="416"/>
                    <a:pt x="2222" y="416"/>
                  </a:cubicBezTo>
                  <a:cubicBezTo>
                    <a:pt x="2222" y="416"/>
                    <a:pt x="2222" y="416"/>
                    <a:pt x="2222" y="416"/>
                  </a:cubicBezTo>
                  <a:cubicBezTo>
                    <a:pt x="2221" y="415"/>
                    <a:pt x="2221" y="415"/>
                    <a:pt x="2221" y="415"/>
                  </a:cubicBezTo>
                  <a:cubicBezTo>
                    <a:pt x="2220" y="415"/>
                    <a:pt x="2220" y="415"/>
                    <a:pt x="2220" y="415"/>
                  </a:cubicBezTo>
                  <a:cubicBezTo>
                    <a:pt x="2220" y="415"/>
                    <a:pt x="2219" y="415"/>
                    <a:pt x="2218" y="415"/>
                  </a:cubicBezTo>
                  <a:cubicBezTo>
                    <a:pt x="2218" y="415"/>
                    <a:pt x="2218" y="415"/>
                    <a:pt x="2218" y="415"/>
                  </a:cubicBezTo>
                  <a:cubicBezTo>
                    <a:pt x="2216" y="416"/>
                    <a:pt x="2215" y="416"/>
                    <a:pt x="2214" y="416"/>
                  </a:cubicBezTo>
                  <a:cubicBezTo>
                    <a:pt x="2209" y="417"/>
                    <a:pt x="2209" y="417"/>
                    <a:pt x="2209" y="417"/>
                  </a:cubicBezTo>
                  <a:cubicBezTo>
                    <a:pt x="2209" y="414"/>
                    <a:pt x="2209" y="414"/>
                    <a:pt x="2209" y="414"/>
                  </a:cubicBezTo>
                  <a:cubicBezTo>
                    <a:pt x="2208" y="413"/>
                    <a:pt x="2207" y="411"/>
                    <a:pt x="2207" y="408"/>
                  </a:cubicBezTo>
                  <a:cubicBezTo>
                    <a:pt x="2207" y="405"/>
                    <a:pt x="2207" y="405"/>
                    <a:pt x="2207" y="405"/>
                  </a:cubicBezTo>
                  <a:cubicBezTo>
                    <a:pt x="2210" y="404"/>
                    <a:pt x="2210" y="404"/>
                    <a:pt x="2210" y="404"/>
                  </a:cubicBezTo>
                  <a:cubicBezTo>
                    <a:pt x="2211" y="403"/>
                    <a:pt x="2213" y="402"/>
                    <a:pt x="2214" y="401"/>
                  </a:cubicBezTo>
                  <a:cubicBezTo>
                    <a:pt x="2215" y="400"/>
                    <a:pt x="2215" y="400"/>
                    <a:pt x="2216" y="399"/>
                  </a:cubicBezTo>
                  <a:cubicBezTo>
                    <a:pt x="2221" y="395"/>
                    <a:pt x="2221" y="395"/>
                    <a:pt x="2221" y="395"/>
                  </a:cubicBezTo>
                  <a:cubicBezTo>
                    <a:pt x="2223" y="393"/>
                    <a:pt x="2224" y="392"/>
                    <a:pt x="2226" y="390"/>
                  </a:cubicBezTo>
                  <a:cubicBezTo>
                    <a:pt x="2228" y="389"/>
                    <a:pt x="2228" y="389"/>
                    <a:pt x="2228" y="389"/>
                  </a:cubicBezTo>
                  <a:cubicBezTo>
                    <a:pt x="2229" y="388"/>
                    <a:pt x="2229" y="388"/>
                    <a:pt x="2229" y="388"/>
                  </a:cubicBezTo>
                  <a:cubicBezTo>
                    <a:pt x="2230" y="387"/>
                    <a:pt x="2230" y="387"/>
                    <a:pt x="2230" y="387"/>
                  </a:cubicBezTo>
                  <a:cubicBezTo>
                    <a:pt x="2232" y="387"/>
                    <a:pt x="2232" y="387"/>
                    <a:pt x="2232" y="387"/>
                  </a:cubicBezTo>
                  <a:cubicBezTo>
                    <a:pt x="2233" y="387"/>
                    <a:pt x="2233" y="387"/>
                    <a:pt x="2233" y="387"/>
                  </a:cubicBezTo>
                  <a:cubicBezTo>
                    <a:pt x="2234" y="387"/>
                    <a:pt x="2235" y="387"/>
                    <a:pt x="2237" y="386"/>
                  </a:cubicBezTo>
                  <a:cubicBezTo>
                    <a:pt x="2237" y="386"/>
                    <a:pt x="2238" y="386"/>
                    <a:pt x="2239" y="386"/>
                  </a:cubicBezTo>
                  <a:cubicBezTo>
                    <a:pt x="2244" y="386"/>
                    <a:pt x="2249" y="385"/>
                    <a:pt x="2255" y="383"/>
                  </a:cubicBezTo>
                  <a:cubicBezTo>
                    <a:pt x="2259" y="383"/>
                    <a:pt x="2259" y="383"/>
                    <a:pt x="2259" y="383"/>
                  </a:cubicBezTo>
                  <a:cubicBezTo>
                    <a:pt x="2271" y="382"/>
                    <a:pt x="2271" y="382"/>
                    <a:pt x="2271" y="382"/>
                  </a:cubicBezTo>
                  <a:cubicBezTo>
                    <a:pt x="2276" y="381"/>
                    <a:pt x="2279" y="381"/>
                    <a:pt x="2282" y="380"/>
                  </a:cubicBezTo>
                  <a:cubicBezTo>
                    <a:pt x="2284" y="380"/>
                    <a:pt x="2284" y="380"/>
                    <a:pt x="2284" y="380"/>
                  </a:cubicBezTo>
                  <a:cubicBezTo>
                    <a:pt x="2285" y="379"/>
                    <a:pt x="2286" y="379"/>
                    <a:pt x="2287" y="379"/>
                  </a:cubicBezTo>
                  <a:cubicBezTo>
                    <a:pt x="2288" y="378"/>
                    <a:pt x="2289" y="378"/>
                    <a:pt x="2290" y="378"/>
                  </a:cubicBezTo>
                  <a:cubicBezTo>
                    <a:pt x="2290" y="378"/>
                    <a:pt x="2291" y="378"/>
                    <a:pt x="2291" y="378"/>
                  </a:cubicBezTo>
                  <a:cubicBezTo>
                    <a:pt x="2294" y="378"/>
                    <a:pt x="2294" y="378"/>
                    <a:pt x="2294" y="378"/>
                  </a:cubicBezTo>
                  <a:cubicBezTo>
                    <a:pt x="2296" y="378"/>
                    <a:pt x="2296" y="378"/>
                    <a:pt x="2296" y="378"/>
                  </a:cubicBezTo>
                  <a:cubicBezTo>
                    <a:pt x="2300" y="378"/>
                    <a:pt x="2300" y="378"/>
                    <a:pt x="2300" y="378"/>
                  </a:cubicBezTo>
                  <a:cubicBezTo>
                    <a:pt x="2302" y="379"/>
                    <a:pt x="2302" y="379"/>
                    <a:pt x="2302" y="379"/>
                  </a:cubicBezTo>
                  <a:cubicBezTo>
                    <a:pt x="2305" y="381"/>
                    <a:pt x="2309" y="382"/>
                    <a:pt x="2312" y="384"/>
                  </a:cubicBezTo>
                  <a:cubicBezTo>
                    <a:pt x="2324" y="390"/>
                    <a:pt x="2324" y="390"/>
                    <a:pt x="2324" y="390"/>
                  </a:cubicBezTo>
                  <a:cubicBezTo>
                    <a:pt x="2329" y="391"/>
                    <a:pt x="2329" y="391"/>
                    <a:pt x="2329" y="391"/>
                  </a:cubicBezTo>
                  <a:cubicBezTo>
                    <a:pt x="2330" y="391"/>
                    <a:pt x="2330" y="391"/>
                    <a:pt x="2330" y="391"/>
                  </a:cubicBezTo>
                  <a:cubicBezTo>
                    <a:pt x="2330" y="390"/>
                    <a:pt x="2330" y="390"/>
                    <a:pt x="2330" y="390"/>
                  </a:cubicBezTo>
                  <a:cubicBezTo>
                    <a:pt x="2332" y="390"/>
                    <a:pt x="2334" y="390"/>
                    <a:pt x="2335" y="390"/>
                  </a:cubicBezTo>
                  <a:cubicBezTo>
                    <a:pt x="2336" y="390"/>
                    <a:pt x="2336" y="390"/>
                    <a:pt x="2337" y="390"/>
                  </a:cubicBezTo>
                  <a:cubicBezTo>
                    <a:pt x="2337" y="390"/>
                    <a:pt x="2337" y="390"/>
                    <a:pt x="2337" y="390"/>
                  </a:cubicBezTo>
                  <a:cubicBezTo>
                    <a:pt x="2339" y="391"/>
                    <a:pt x="2339" y="391"/>
                    <a:pt x="2339" y="391"/>
                  </a:cubicBezTo>
                  <a:cubicBezTo>
                    <a:pt x="2339" y="391"/>
                    <a:pt x="2339" y="391"/>
                    <a:pt x="2339" y="391"/>
                  </a:cubicBezTo>
                  <a:cubicBezTo>
                    <a:pt x="2340" y="391"/>
                    <a:pt x="2340" y="391"/>
                    <a:pt x="2340" y="391"/>
                  </a:cubicBezTo>
                  <a:cubicBezTo>
                    <a:pt x="2340" y="391"/>
                    <a:pt x="2340" y="391"/>
                    <a:pt x="2340" y="391"/>
                  </a:cubicBezTo>
                  <a:cubicBezTo>
                    <a:pt x="2341" y="392"/>
                    <a:pt x="2341" y="392"/>
                    <a:pt x="2341" y="392"/>
                  </a:cubicBezTo>
                  <a:cubicBezTo>
                    <a:pt x="2343" y="393"/>
                    <a:pt x="2343" y="393"/>
                    <a:pt x="2343" y="393"/>
                  </a:cubicBezTo>
                  <a:cubicBezTo>
                    <a:pt x="2343" y="393"/>
                    <a:pt x="2344" y="393"/>
                    <a:pt x="2344" y="393"/>
                  </a:cubicBezTo>
                  <a:cubicBezTo>
                    <a:pt x="2345" y="394"/>
                    <a:pt x="2345" y="394"/>
                    <a:pt x="2345" y="394"/>
                  </a:cubicBezTo>
                  <a:cubicBezTo>
                    <a:pt x="2346" y="394"/>
                    <a:pt x="2346" y="394"/>
                    <a:pt x="2346" y="394"/>
                  </a:cubicBezTo>
                  <a:cubicBezTo>
                    <a:pt x="2347" y="394"/>
                    <a:pt x="2347" y="394"/>
                    <a:pt x="2347" y="394"/>
                  </a:cubicBezTo>
                  <a:cubicBezTo>
                    <a:pt x="2348" y="395"/>
                    <a:pt x="2348" y="395"/>
                    <a:pt x="2348" y="395"/>
                  </a:cubicBezTo>
                  <a:cubicBezTo>
                    <a:pt x="2349" y="395"/>
                    <a:pt x="2349" y="395"/>
                    <a:pt x="2349" y="395"/>
                  </a:cubicBezTo>
                  <a:cubicBezTo>
                    <a:pt x="2356" y="401"/>
                    <a:pt x="2356" y="401"/>
                    <a:pt x="2356" y="401"/>
                  </a:cubicBezTo>
                  <a:cubicBezTo>
                    <a:pt x="2359" y="397"/>
                    <a:pt x="2359" y="397"/>
                    <a:pt x="2359" y="397"/>
                  </a:cubicBezTo>
                  <a:cubicBezTo>
                    <a:pt x="2357" y="402"/>
                    <a:pt x="2357" y="402"/>
                    <a:pt x="2357" y="402"/>
                  </a:cubicBezTo>
                  <a:cubicBezTo>
                    <a:pt x="2357" y="402"/>
                    <a:pt x="2357" y="402"/>
                    <a:pt x="2357" y="402"/>
                  </a:cubicBezTo>
                  <a:cubicBezTo>
                    <a:pt x="2357" y="402"/>
                    <a:pt x="2358" y="403"/>
                    <a:pt x="2359" y="403"/>
                  </a:cubicBezTo>
                  <a:cubicBezTo>
                    <a:pt x="2359" y="403"/>
                    <a:pt x="2359" y="403"/>
                    <a:pt x="2359" y="403"/>
                  </a:cubicBezTo>
                  <a:cubicBezTo>
                    <a:pt x="2360" y="404"/>
                    <a:pt x="2360" y="404"/>
                    <a:pt x="2360" y="404"/>
                  </a:cubicBezTo>
                  <a:cubicBezTo>
                    <a:pt x="2362" y="405"/>
                    <a:pt x="2362" y="405"/>
                    <a:pt x="2362" y="405"/>
                  </a:cubicBezTo>
                  <a:cubicBezTo>
                    <a:pt x="2362" y="407"/>
                    <a:pt x="2362" y="407"/>
                    <a:pt x="2362" y="407"/>
                  </a:cubicBezTo>
                  <a:cubicBezTo>
                    <a:pt x="2362" y="409"/>
                    <a:pt x="2362" y="409"/>
                    <a:pt x="2362" y="409"/>
                  </a:cubicBezTo>
                  <a:cubicBezTo>
                    <a:pt x="2362" y="410"/>
                    <a:pt x="2361" y="411"/>
                    <a:pt x="2361" y="412"/>
                  </a:cubicBezTo>
                  <a:cubicBezTo>
                    <a:pt x="2360" y="412"/>
                    <a:pt x="2360" y="412"/>
                    <a:pt x="2360" y="412"/>
                  </a:cubicBezTo>
                  <a:cubicBezTo>
                    <a:pt x="2361" y="413"/>
                    <a:pt x="2361" y="413"/>
                    <a:pt x="2361" y="413"/>
                  </a:cubicBezTo>
                  <a:cubicBezTo>
                    <a:pt x="2362" y="414"/>
                    <a:pt x="2362" y="415"/>
                    <a:pt x="2363" y="415"/>
                  </a:cubicBezTo>
                  <a:cubicBezTo>
                    <a:pt x="2366" y="418"/>
                    <a:pt x="2370" y="422"/>
                    <a:pt x="2371" y="426"/>
                  </a:cubicBezTo>
                  <a:cubicBezTo>
                    <a:pt x="2373" y="427"/>
                    <a:pt x="2373" y="427"/>
                    <a:pt x="2373" y="427"/>
                  </a:cubicBezTo>
                  <a:cubicBezTo>
                    <a:pt x="2372" y="430"/>
                    <a:pt x="2372" y="430"/>
                    <a:pt x="2372" y="430"/>
                  </a:cubicBezTo>
                  <a:cubicBezTo>
                    <a:pt x="2372" y="432"/>
                    <a:pt x="2372" y="432"/>
                    <a:pt x="2372" y="432"/>
                  </a:cubicBezTo>
                  <a:cubicBezTo>
                    <a:pt x="2371" y="433"/>
                    <a:pt x="2371" y="433"/>
                    <a:pt x="2371" y="433"/>
                  </a:cubicBezTo>
                  <a:cubicBezTo>
                    <a:pt x="2372" y="433"/>
                    <a:pt x="2372" y="433"/>
                    <a:pt x="2372" y="433"/>
                  </a:cubicBezTo>
                  <a:cubicBezTo>
                    <a:pt x="2372" y="435"/>
                    <a:pt x="2372" y="435"/>
                    <a:pt x="2372" y="435"/>
                  </a:cubicBezTo>
                  <a:cubicBezTo>
                    <a:pt x="2374" y="440"/>
                    <a:pt x="2377" y="445"/>
                    <a:pt x="2378" y="449"/>
                  </a:cubicBezTo>
                  <a:cubicBezTo>
                    <a:pt x="2380" y="453"/>
                    <a:pt x="2380" y="453"/>
                    <a:pt x="2380" y="453"/>
                  </a:cubicBezTo>
                  <a:cubicBezTo>
                    <a:pt x="2381" y="453"/>
                    <a:pt x="2381" y="453"/>
                    <a:pt x="2381" y="453"/>
                  </a:cubicBezTo>
                  <a:cubicBezTo>
                    <a:pt x="2384" y="452"/>
                    <a:pt x="2384" y="452"/>
                    <a:pt x="2384" y="452"/>
                  </a:cubicBezTo>
                  <a:cubicBezTo>
                    <a:pt x="2386" y="465"/>
                    <a:pt x="2386" y="465"/>
                    <a:pt x="2386" y="465"/>
                  </a:cubicBezTo>
                  <a:cubicBezTo>
                    <a:pt x="2386" y="466"/>
                    <a:pt x="2386" y="466"/>
                    <a:pt x="2386" y="466"/>
                  </a:cubicBezTo>
                  <a:cubicBezTo>
                    <a:pt x="2387" y="466"/>
                    <a:pt x="2387" y="466"/>
                    <a:pt x="2387" y="466"/>
                  </a:cubicBezTo>
                  <a:cubicBezTo>
                    <a:pt x="2387" y="466"/>
                    <a:pt x="2387" y="466"/>
                    <a:pt x="2387" y="466"/>
                  </a:cubicBezTo>
                  <a:cubicBezTo>
                    <a:pt x="2388" y="467"/>
                    <a:pt x="2388" y="467"/>
                    <a:pt x="2388" y="467"/>
                  </a:cubicBezTo>
                  <a:cubicBezTo>
                    <a:pt x="2395" y="484"/>
                    <a:pt x="2395" y="484"/>
                    <a:pt x="2395" y="484"/>
                  </a:cubicBezTo>
                  <a:cubicBezTo>
                    <a:pt x="2396" y="485"/>
                    <a:pt x="2396" y="486"/>
                    <a:pt x="2397" y="486"/>
                  </a:cubicBezTo>
                  <a:cubicBezTo>
                    <a:pt x="2396" y="487"/>
                    <a:pt x="2396" y="487"/>
                    <a:pt x="2396" y="487"/>
                  </a:cubicBezTo>
                  <a:cubicBezTo>
                    <a:pt x="2397" y="487"/>
                    <a:pt x="2397" y="487"/>
                    <a:pt x="2397" y="487"/>
                  </a:cubicBezTo>
                  <a:cubicBezTo>
                    <a:pt x="2397" y="487"/>
                    <a:pt x="2398" y="488"/>
                    <a:pt x="2398" y="488"/>
                  </a:cubicBezTo>
                  <a:cubicBezTo>
                    <a:pt x="2398" y="489"/>
                    <a:pt x="2398" y="489"/>
                    <a:pt x="2398" y="489"/>
                  </a:cubicBezTo>
                  <a:cubicBezTo>
                    <a:pt x="2399" y="491"/>
                    <a:pt x="2399" y="491"/>
                    <a:pt x="2399" y="491"/>
                  </a:cubicBezTo>
                  <a:cubicBezTo>
                    <a:pt x="2399" y="494"/>
                    <a:pt x="2399" y="494"/>
                    <a:pt x="2399" y="494"/>
                  </a:cubicBezTo>
                  <a:cubicBezTo>
                    <a:pt x="2399" y="494"/>
                    <a:pt x="2398" y="495"/>
                    <a:pt x="2398" y="496"/>
                  </a:cubicBezTo>
                  <a:cubicBezTo>
                    <a:pt x="2398" y="497"/>
                    <a:pt x="2398" y="497"/>
                    <a:pt x="2398" y="497"/>
                  </a:cubicBezTo>
                  <a:cubicBezTo>
                    <a:pt x="2398" y="498"/>
                    <a:pt x="2398" y="499"/>
                    <a:pt x="2398" y="500"/>
                  </a:cubicBezTo>
                  <a:cubicBezTo>
                    <a:pt x="2403" y="507"/>
                    <a:pt x="2403" y="507"/>
                    <a:pt x="2403" y="507"/>
                  </a:cubicBezTo>
                  <a:cubicBezTo>
                    <a:pt x="2403" y="508"/>
                    <a:pt x="2404" y="508"/>
                    <a:pt x="2406" y="508"/>
                  </a:cubicBezTo>
                  <a:cubicBezTo>
                    <a:pt x="2419" y="508"/>
                    <a:pt x="2419" y="508"/>
                    <a:pt x="2419" y="508"/>
                  </a:cubicBezTo>
                  <a:cubicBezTo>
                    <a:pt x="2422" y="508"/>
                    <a:pt x="2424" y="509"/>
                    <a:pt x="2427" y="510"/>
                  </a:cubicBezTo>
                  <a:cubicBezTo>
                    <a:pt x="2428" y="511"/>
                    <a:pt x="2428" y="511"/>
                    <a:pt x="2428" y="511"/>
                  </a:cubicBezTo>
                  <a:cubicBezTo>
                    <a:pt x="2428" y="511"/>
                    <a:pt x="2429" y="511"/>
                    <a:pt x="2430" y="512"/>
                  </a:cubicBezTo>
                  <a:cubicBezTo>
                    <a:pt x="2437" y="514"/>
                    <a:pt x="2437" y="514"/>
                    <a:pt x="2437" y="514"/>
                  </a:cubicBezTo>
                  <a:cubicBezTo>
                    <a:pt x="2441" y="513"/>
                    <a:pt x="2441" y="513"/>
                    <a:pt x="2441" y="513"/>
                  </a:cubicBezTo>
                  <a:cubicBezTo>
                    <a:pt x="2445" y="514"/>
                    <a:pt x="2445" y="514"/>
                    <a:pt x="2445" y="514"/>
                  </a:cubicBezTo>
                  <a:cubicBezTo>
                    <a:pt x="2462" y="531"/>
                    <a:pt x="2462" y="531"/>
                    <a:pt x="2462" y="531"/>
                  </a:cubicBezTo>
                  <a:cubicBezTo>
                    <a:pt x="2463" y="530"/>
                    <a:pt x="2463" y="530"/>
                    <a:pt x="2463" y="530"/>
                  </a:cubicBezTo>
                  <a:cubicBezTo>
                    <a:pt x="2464" y="530"/>
                    <a:pt x="2464" y="530"/>
                    <a:pt x="2464" y="530"/>
                  </a:cubicBezTo>
                  <a:cubicBezTo>
                    <a:pt x="2466" y="530"/>
                    <a:pt x="2466" y="530"/>
                    <a:pt x="2466" y="530"/>
                  </a:cubicBezTo>
                  <a:cubicBezTo>
                    <a:pt x="2475" y="531"/>
                    <a:pt x="2475" y="531"/>
                    <a:pt x="2475" y="531"/>
                  </a:cubicBezTo>
                  <a:cubicBezTo>
                    <a:pt x="2473" y="540"/>
                    <a:pt x="2473" y="540"/>
                    <a:pt x="2473" y="540"/>
                  </a:cubicBezTo>
                  <a:cubicBezTo>
                    <a:pt x="2472" y="541"/>
                    <a:pt x="2472" y="541"/>
                    <a:pt x="2472" y="541"/>
                  </a:cubicBezTo>
                  <a:cubicBezTo>
                    <a:pt x="2473" y="541"/>
                    <a:pt x="2473" y="542"/>
                    <a:pt x="2474" y="542"/>
                  </a:cubicBezTo>
                  <a:cubicBezTo>
                    <a:pt x="2475" y="542"/>
                    <a:pt x="2475" y="543"/>
                    <a:pt x="2476" y="543"/>
                  </a:cubicBezTo>
                  <a:cubicBezTo>
                    <a:pt x="2476" y="543"/>
                    <a:pt x="2477" y="544"/>
                    <a:pt x="2477" y="545"/>
                  </a:cubicBezTo>
                  <a:cubicBezTo>
                    <a:pt x="2478" y="546"/>
                    <a:pt x="2478" y="547"/>
                    <a:pt x="2478" y="548"/>
                  </a:cubicBezTo>
                  <a:cubicBezTo>
                    <a:pt x="2479" y="549"/>
                    <a:pt x="2479" y="549"/>
                    <a:pt x="2479" y="550"/>
                  </a:cubicBezTo>
                  <a:cubicBezTo>
                    <a:pt x="2479" y="551"/>
                    <a:pt x="2479" y="553"/>
                    <a:pt x="2477" y="555"/>
                  </a:cubicBezTo>
                  <a:cubicBezTo>
                    <a:pt x="2477" y="556"/>
                    <a:pt x="2477" y="556"/>
                    <a:pt x="2477" y="557"/>
                  </a:cubicBezTo>
                  <a:cubicBezTo>
                    <a:pt x="2476" y="557"/>
                    <a:pt x="2476" y="558"/>
                    <a:pt x="2476" y="558"/>
                  </a:cubicBezTo>
                  <a:cubicBezTo>
                    <a:pt x="2476" y="559"/>
                    <a:pt x="2477" y="559"/>
                    <a:pt x="2477" y="560"/>
                  </a:cubicBezTo>
                  <a:cubicBezTo>
                    <a:pt x="2477" y="560"/>
                    <a:pt x="2478" y="560"/>
                    <a:pt x="2478" y="561"/>
                  </a:cubicBezTo>
                  <a:cubicBezTo>
                    <a:pt x="2478" y="561"/>
                    <a:pt x="2478" y="561"/>
                    <a:pt x="2478" y="561"/>
                  </a:cubicBezTo>
                  <a:cubicBezTo>
                    <a:pt x="2479" y="561"/>
                    <a:pt x="2479" y="562"/>
                    <a:pt x="2480" y="563"/>
                  </a:cubicBezTo>
                  <a:cubicBezTo>
                    <a:pt x="2480" y="563"/>
                    <a:pt x="2480" y="563"/>
                    <a:pt x="2480" y="563"/>
                  </a:cubicBezTo>
                  <a:cubicBezTo>
                    <a:pt x="2481" y="564"/>
                    <a:pt x="2481" y="564"/>
                    <a:pt x="2481" y="564"/>
                  </a:cubicBezTo>
                  <a:cubicBezTo>
                    <a:pt x="2481" y="565"/>
                    <a:pt x="2481" y="565"/>
                    <a:pt x="2482" y="566"/>
                  </a:cubicBezTo>
                  <a:cubicBezTo>
                    <a:pt x="2482" y="566"/>
                    <a:pt x="2482" y="567"/>
                    <a:pt x="2482" y="567"/>
                  </a:cubicBezTo>
                  <a:cubicBezTo>
                    <a:pt x="2482" y="567"/>
                    <a:pt x="2482" y="567"/>
                    <a:pt x="2482" y="567"/>
                  </a:cubicBezTo>
                  <a:cubicBezTo>
                    <a:pt x="2485" y="568"/>
                    <a:pt x="2489" y="568"/>
                    <a:pt x="2492" y="568"/>
                  </a:cubicBezTo>
                  <a:cubicBezTo>
                    <a:pt x="2494" y="568"/>
                    <a:pt x="2496" y="568"/>
                    <a:pt x="2499" y="568"/>
                  </a:cubicBezTo>
                  <a:cubicBezTo>
                    <a:pt x="2504" y="568"/>
                    <a:pt x="2509" y="568"/>
                    <a:pt x="2515" y="567"/>
                  </a:cubicBezTo>
                  <a:cubicBezTo>
                    <a:pt x="2516" y="567"/>
                    <a:pt x="2516" y="567"/>
                    <a:pt x="2516" y="566"/>
                  </a:cubicBezTo>
                  <a:cubicBezTo>
                    <a:pt x="2517" y="565"/>
                    <a:pt x="2517" y="564"/>
                    <a:pt x="2518" y="563"/>
                  </a:cubicBezTo>
                  <a:cubicBezTo>
                    <a:pt x="2520" y="560"/>
                    <a:pt x="2523" y="559"/>
                    <a:pt x="2525" y="558"/>
                  </a:cubicBezTo>
                  <a:cubicBezTo>
                    <a:pt x="2527" y="557"/>
                    <a:pt x="2530" y="555"/>
                    <a:pt x="2533" y="555"/>
                  </a:cubicBezTo>
                  <a:cubicBezTo>
                    <a:pt x="2536" y="555"/>
                    <a:pt x="2537" y="555"/>
                    <a:pt x="2540" y="554"/>
                  </a:cubicBezTo>
                  <a:cubicBezTo>
                    <a:pt x="2546" y="551"/>
                    <a:pt x="2546" y="551"/>
                    <a:pt x="2546" y="551"/>
                  </a:cubicBezTo>
                  <a:cubicBezTo>
                    <a:pt x="2549" y="550"/>
                    <a:pt x="2552" y="549"/>
                    <a:pt x="2556" y="548"/>
                  </a:cubicBezTo>
                  <a:cubicBezTo>
                    <a:pt x="2554" y="547"/>
                    <a:pt x="2554" y="547"/>
                    <a:pt x="2554" y="547"/>
                  </a:cubicBezTo>
                  <a:cubicBezTo>
                    <a:pt x="2566" y="546"/>
                    <a:pt x="2566" y="546"/>
                    <a:pt x="2566" y="546"/>
                  </a:cubicBezTo>
                  <a:cubicBezTo>
                    <a:pt x="2570" y="545"/>
                    <a:pt x="2573" y="545"/>
                    <a:pt x="2576" y="545"/>
                  </a:cubicBezTo>
                  <a:cubicBezTo>
                    <a:pt x="2577" y="545"/>
                    <a:pt x="2577" y="545"/>
                    <a:pt x="2577" y="545"/>
                  </a:cubicBezTo>
                  <a:cubicBezTo>
                    <a:pt x="2578" y="545"/>
                    <a:pt x="2578" y="545"/>
                    <a:pt x="2578" y="545"/>
                  </a:cubicBezTo>
                  <a:cubicBezTo>
                    <a:pt x="2579" y="545"/>
                    <a:pt x="2579" y="545"/>
                    <a:pt x="2579" y="545"/>
                  </a:cubicBezTo>
                  <a:cubicBezTo>
                    <a:pt x="2587" y="545"/>
                    <a:pt x="2587" y="545"/>
                    <a:pt x="2587" y="545"/>
                  </a:cubicBezTo>
                  <a:cubicBezTo>
                    <a:pt x="2581" y="550"/>
                    <a:pt x="2581" y="550"/>
                    <a:pt x="2581" y="550"/>
                  </a:cubicBezTo>
                  <a:cubicBezTo>
                    <a:pt x="2580" y="550"/>
                    <a:pt x="2580" y="551"/>
                    <a:pt x="2579" y="551"/>
                  </a:cubicBezTo>
                  <a:cubicBezTo>
                    <a:pt x="2577" y="553"/>
                    <a:pt x="2576" y="554"/>
                    <a:pt x="2574" y="555"/>
                  </a:cubicBezTo>
                  <a:cubicBezTo>
                    <a:pt x="2574" y="555"/>
                    <a:pt x="2574" y="555"/>
                    <a:pt x="2574" y="555"/>
                  </a:cubicBezTo>
                  <a:cubicBezTo>
                    <a:pt x="2573" y="557"/>
                    <a:pt x="2571" y="560"/>
                    <a:pt x="2571" y="561"/>
                  </a:cubicBezTo>
                  <a:cubicBezTo>
                    <a:pt x="2571" y="562"/>
                    <a:pt x="2572" y="563"/>
                    <a:pt x="2573" y="564"/>
                  </a:cubicBezTo>
                  <a:cubicBezTo>
                    <a:pt x="2574" y="565"/>
                    <a:pt x="2575" y="566"/>
                    <a:pt x="2575" y="567"/>
                  </a:cubicBezTo>
                  <a:cubicBezTo>
                    <a:pt x="2576" y="568"/>
                    <a:pt x="2576" y="568"/>
                    <a:pt x="2576" y="568"/>
                  </a:cubicBezTo>
                  <a:cubicBezTo>
                    <a:pt x="2576" y="569"/>
                    <a:pt x="2576" y="569"/>
                    <a:pt x="2576" y="569"/>
                  </a:cubicBezTo>
                  <a:cubicBezTo>
                    <a:pt x="2576" y="569"/>
                    <a:pt x="2576" y="570"/>
                    <a:pt x="2576" y="570"/>
                  </a:cubicBezTo>
                  <a:cubicBezTo>
                    <a:pt x="2576" y="575"/>
                    <a:pt x="2570" y="578"/>
                    <a:pt x="2567" y="580"/>
                  </a:cubicBezTo>
                  <a:cubicBezTo>
                    <a:pt x="2566" y="580"/>
                    <a:pt x="2566" y="580"/>
                    <a:pt x="2566" y="580"/>
                  </a:cubicBezTo>
                  <a:cubicBezTo>
                    <a:pt x="2566" y="581"/>
                    <a:pt x="2565" y="581"/>
                    <a:pt x="2565" y="581"/>
                  </a:cubicBezTo>
                  <a:cubicBezTo>
                    <a:pt x="2564" y="581"/>
                    <a:pt x="2564" y="582"/>
                    <a:pt x="2563" y="582"/>
                  </a:cubicBezTo>
                  <a:cubicBezTo>
                    <a:pt x="2563" y="583"/>
                    <a:pt x="2563" y="583"/>
                    <a:pt x="2563" y="583"/>
                  </a:cubicBezTo>
                  <a:cubicBezTo>
                    <a:pt x="2562" y="583"/>
                    <a:pt x="2562" y="584"/>
                    <a:pt x="2562" y="585"/>
                  </a:cubicBezTo>
                  <a:cubicBezTo>
                    <a:pt x="2562" y="585"/>
                    <a:pt x="2562" y="587"/>
                    <a:pt x="2562" y="588"/>
                  </a:cubicBezTo>
                  <a:cubicBezTo>
                    <a:pt x="2562" y="588"/>
                    <a:pt x="2562" y="588"/>
                    <a:pt x="2562" y="588"/>
                  </a:cubicBezTo>
                  <a:cubicBezTo>
                    <a:pt x="2561" y="590"/>
                    <a:pt x="2561" y="592"/>
                    <a:pt x="2560" y="594"/>
                  </a:cubicBezTo>
                  <a:cubicBezTo>
                    <a:pt x="2560" y="595"/>
                    <a:pt x="2560" y="595"/>
                    <a:pt x="2560" y="595"/>
                  </a:cubicBezTo>
                  <a:cubicBezTo>
                    <a:pt x="2560" y="595"/>
                    <a:pt x="2559" y="596"/>
                    <a:pt x="2559" y="597"/>
                  </a:cubicBezTo>
                  <a:cubicBezTo>
                    <a:pt x="2559" y="599"/>
                    <a:pt x="2559" y="599"/>
                    <a:pt x="2559" y="599"/>
                  </a:cubicBezTo>
                  <a:cubicBezTo>
                    <a:pt x="2558" y="600"/>
                    <a:pt x="2558" y="601"/>
                    <a:pt x="2558" y="602"/>
                  </a:cubicBezTo>
                  <a:cubicBezTo>
                    <a:pt x="2558" y="603"/>
                    <a:pt x="2557" y="604"/>
                    <a:pt x="2557" y="604"/>
                  </a:cubicBezTo>
                  <a:cubicBezTo>
                    <a:pt x="2557" y="606"/>
                    <a:pt x="2556" y="607"/>
                    <a:pt x="2555" y="607"/>
                  </a:cubicBezTo>
                  <a:cubicBezTo>
                    <a:pt x="2555" y="608"/>
                    <a:pt x="2555" y="608"/>
                    <a:pt x="2555" y="608"/>
                  </a:cubicBezTo>
                  <a:cubicBezTo>
                    <a:pt x="2555" y="608"/>
                    <a:pt x="2555" y="608"/>
                    <a:pt x="2555" y="608"/>
                  </a:cubicBezTo>
                  <a:cubicBezTo>
                    <a:pt x="2554" y="609"/>
                    <a:pt x="2554" y="609"/>
                    <a:pt x="2554" y="610"/>
                  </a:cubicBezTo>
                  <a:cubicBezTo>
                    <a:pt x="2554" y="610"/>
                    <a:pt x="2554" y="610"/>
                    <a:pt x="2554" y="610"/>
                  </a:cubicBezTo>
                  <a:cubicBezTo>
                    <a:pt x="2554" y="613"/>
                    <a:pt x="2554" y="616"/>
                    <a:pt x="2553" y="618"/>
                  </a:cubicBezTo>
                  <a:cubicBezTo>
                    <a:pt x="2552" y="621"/>
                    <a:pt x="2550" y="623"/>
                    <a:pt x="2548" y="626"/>
                  </a:cubicBezTo>
                  <a:cubicBezTo>
                    <a:pt x="2547" y="626"/>
                    <a:pt x="2547" y="627"/>
                    <a:pt x="2546" y="628"/>
                  </a:cubicBezTo>
                  <a:cubicBezTo>
                    <a:pt x="2545" y="629"/>
                    <a:pt x="2545" y="630"/>
                    <a:pt x="2545" y="632"/>
                  </a:cubicBezTo>
                  <a:cubicBezTo>
                    <a:pt x="2545" y="632"/>
                    <a:pt x="2545" y="632"/>
                    <a:pt x="2545" y="632"/>
                  </a:cubicBezTo>
                  <a:cubicBezTo>
                    <a:pt x="2550" y="633"/>
                    <a:pt x="2550" y="633"/>
                    <a:pt x="2550" y="633"/>
                  </a:cubicBezTo>
                  <a:cubicBezTo>
                    <a:pt x="2545" y="634"/>
                    <a:pt x="2545" y="634"/>
                    <a:pt x="2545" y="634"/>
                  </a:cubicBezTo>
                  <a:cubicBezTo>
                    <a:pt x="2544" y="634"/>
                    <a:pt x="2544" y="634"/>
                    <a:pt x="2544" y="634"/>
                  </a:cubicBezTo>
                  <a:cubicBezTo>
                    <a:pt x="2544" y="635"/>
                    <a:pt x="2544" y="635"/>
                    <a:pt x="2544" y="635"/>
                  </a:cubicBezTo>
                  <a:cubicBezTo>
                    <a:pt x="2544" y="635"/>
                    <a:pt x="2544" y="635"/>
                    <a:pt x="2544" y="635"/>
                  </a:cubicBezTo>
                  <a:cubicBezTo>
                    <a:pt x="2543" y="636"/>
                    <a:pt x="2543" y="636"/>
                    <a:pt x="2543" y="636"/>
                  </a:cubicBezTo>
                  <a:cubicBezTo>
                    <a:pt x="2543" y="637"/>
                    <a:pt x="2543" y="637"/>
                    <a:pt x="2543" y="637"/>
                  </a:cubicBezTo>
                  <a:cubicBezTo>
                    <a:pt x="2541" y="639"/>
                    <a:pt x="2539" y="640"/>
                    <a:pt x="2538" y="641"/>
                  </a:cubicBezTo>
                  <a:cubicBezTo>
                    <a:pt x="2537" y="642"/>
                    <a:pt x="2537" y="642"/>
                    <a:pt x="2537" y="642"/>
                  </a:cubicBezTo>
                  <a:cubicBezTo>
                    <a:pt x="2536" y="643"/>
                    <a:pt x="2536" y="643"/>
                    <a:pt x="2535" y="644"/>
                  </a:cubicBezTo>
                  <a:cubicBezTo>
                    <a:pt x="2535" y="645"/>
                    <a:pt x="2535" y="645"/>
                    <a:pt x="2535" y="646"/>
                  </a:cubicBezTo>
                  <a:cubicBezTo>
                    <a:pt x="2535" y="649"/>
                    <a:pt x="2535" y="649"/>
                    <a:pt x="2535" y="649"/>
                  </a:cubicBezTo>
                  <a:cubicBezTo>
                    <a:pt x="2536" y="649"/>
                    <a:pt x="2535" y="651"/>
                    <a:pt x="2534" y="652"/>
                  </a:cubicBezTo>
                  <a:cubicBezTo>
                    <a:pt x="2532" y="654"/>
                    <a:pt x="2529" y="655"/>
                    <a:pt x="2526" y="655"/>
                  </a:cubicBezTo>
                  <a:cubicBezTo>
                    <a:pt x="2526" y="655"/>
                    <a:pt x="2526" y="655"/>
                    <a:pt x="2525" y="655"/>
                  </a:cubicBezTo>
                  <a:cubicBezTo>
                    <a:pt x="2525" y="655"/>
                    <a:pt x="2525" y="655"/>
                    <a:pt x="2525" y="655"/>
                  </a:cubicBezTo>
                  <a:cubicBezTo>
                    <a:pt x="2523" y="655"/>
                    <a:pt x="2520" y="654"/>
                    <a:pt x="2517" y="653"/>
                  </a:cubicBezTo>
                  <a:cubicBezTo>
                    <a:pt x="2517" y="653"/>
                    <a:pt x="2517" y="653"/>
                    <a:pt x="2517" y="653"/>
                  </a:cubicBezTo>
                  <a:cubicBezTo>
                    <a:pt x="2516" y="653"/>
                    <a:pt x="2516" y="653"/>
                    <a:pt x="2515" y="652"/>
                  </a:cubicBezTo>
                  <a:cubicBezTo>
                    <a:pt x="2514" y="652"/>
                    <a:pt x="2513" y="652"/>
                    <a:pt x="2512" y="652"/>
                  </a:cubicBezTo>
                  <a:cubicBezTo>
                    <a:pt x="2509" y="651"/>
                    <a:pt x="2505" y="651"/>
                    <a:pt x="2502" y="648"/>
                  </a:cubicBezTo>
                  <a:cubicBezTo>
                    <a:pt x="2502" y="648"/>
                    <a:pt x="2502" y="648"/>
                    <a:pt x="2502" y="648"/>
                  </a:cubicBezTo>
                  <a:cubicBezTo>
                    <a:pt x="2502" y="649"/>
                    <a:pt x="2502" y="649"/>
                    <a:pt x="2502" y="649"/>
                  </a:cubicBezTo>
                  <a:cubicBezTo>
                    <a:pt x="2506" y="653"/>
                    <a:pt x="2506" y="653"/>
                    <a:pt x="2506" y="653"/>
                  </a:cubicBezTo>
                  <a:cubicBezTo>
                    <a:pt x="2501" y="650"/>
                    <a:pt x="2501" y="650"/>
                    <a:pt x="2501" y="650"/>
                  </a:cubicBezTo>
                  <a:cubicBezTo>
                    <a:pt x="2499" y="652"/>
                    <a:pt x="2497" y="654"/>
                    <a:pt x="2495" y="655"/>
                  </a:cubicBezTo>
                  <a:cubicBezTo>
                    <a:pt x="2495" y="656"/>
                    <a:pt x="2495" y="656"/>
                    <a:pt x="2495" y="656"/>
                  </a:cubicBezTo>
                  <a:cubicBezTo>
                    <a:pt x="2492" y="658"/>
                    <a:pt x="2488" y="659"/>
                    <a:pt x="2484" y="660"/>
                  </a:cubicBezTo>
                  <a:cubicBezTo>
                    <a:pt x="2484" y="660"/>
                    <a:pt x="2484" y="660"/>
                    <a:pt x="2484" y="660"/>
                  </a:cubicBezTo>
                  <a:cubicBezTo>
                    <a:pt x="2487" y="667"/>
                    <a:pt x="2489" y="675"/>
                    <a:pt x="2489" y="684"/>
                  </a:cubicBezTo>
                  <a:cubicBezTo>
                    <a:pt x="2489" y="687"/>
                    <a:pt x="2489" y="691"/>
                    <a:pt x="2490" y="694"/>
                  </a:cubicBezTo>
                  <a:cubicBezTo>
                    <a:pt x="2490" y="695"/>
                    <a:pt x="2490" y="697"/>
                    <a:pt x="2490" y="699"/>
                  </a:cubicBezTo>
                  <a:cubicBezTo>
                    <a:pt x="2491" y="703"/>
                    <a:pt x="2489" y="707"/>
                    <a:pt x="2488" y="711"/>
                  </a:cubicBezTo>
                  <a:cubicBezTo>
                    <a:pt x="2488" y="713"/>
                    <a:pt x="2488" y="713"/>
                    <a:pt x="2488" y="713"/>
                  </a:cubicBezTo>
                  <a:cubicBezTo>
                    <a:pt x="2486" y="718"/>
                    <a:pt x="2484" y="721"/>
                    <a:pt x="2478" y="722"/>
                  </a:cubicBezTo>
                  <a:cubicBezTo>
                    <a:pt x="2476" y="722"/>
                    <a:pt x="2474" y="722"/>
                    <a:pt x="2472" y="723"/>
                  </a:cubicBezTo>
                  <a:cubicBezTo>
                    <a:pt x="2473" y="724"/>
                    <a:pt x="2474" y="725"/>
                    <a:pt x="2474" y="726"/>
                  </a:cubicBezTo>
                  <a:cubicBezTo>
                    <a:pt x="2474" y="728"/>
                    <a:pt x="2474" y="728"/>
                    <a:pt x="2474" y="728"/>
                  </a:cubicBezTo>
                  <a:cubicBezTo>
                    <a:pt x="2471" y="728"/>
                    <a:pt x="2471" y="728"/>
                    <a:pt x="2471" y="728"/>
                  </a:cubicBezTo>
                  <a:cubicBezTo>
                    <a:pt x="2472" y="729"/>
                    <a:pt x="2473" y="731"/>
                    <a:pt x="2474" y="733"/>
                  </a:cubicBezTo>
                  <a:cubicBezTo>
                    <a:pt x="2476" y="731"/>
                    <a:pt x="2477" y="729"/>
                    <a:pt x="2477" y="728"/>
                  </a:cubicBezTo>
                  <a:cubicBezTo>
                    <a:pt x="2476" y="727"/>
                    <a:pt x="2474" y="725"/>
                    <a:pt x="2473" y="724"/>
                  </a:cubicBezTo>
                  <a:cubicBezTo>
                    <a:pt x="2474" y="724"/>
                    <a:pt x="2474" y="723"/>
                    <a:pt x="2474" y="723"/>
                  </a:cubicBezTo>
                  <a:cubicBezTo>
                    <a:pt x="2475" y="723"/>
                    <a:pt x="2475" y="724"/>
                    <a:pt x="2476" y="724"/>
                  </a:cubicBezTo>
                  <a:cubicBezTo>
                    <a:pt x="2475" y="725"/>
                    <a:pt x="2475" y="725"/>
                    <a:pt x="2475" y="725"/>
                  </a:cubicBezTo>
                  <a:cubicBezTo>
                    <a:pt x="2476" y="725"/>
                    <a:pt x="2478" y="725"/>
                    <a:pt x="2479" y="725"/>
                  </a:cubicBezTo>
                  <a:cubicBezTo>
                    <a:pt x="2478" y="725"/>
                    <a:pt x="2478" y="725"/>
                    <a:pt x="2477" y="725"/>
                  </a:cubicBezTo>
                  <a:cubicBezTo>
                    <a:pt x="2477" y="725"/>
                    <a:pt x="2476" y="725"/>
                    <a:pt x="2476" y="725"/>
                  </a:cubicBezTo>
                  <a:cubicBezTo>
                    <a:pt x="2477" y="726"/>
                    <a:pt x="2477" y="726"/>
                    <a:pt x="2477" y="726"/>
                  </a:cubicBezTo>
                  <a:cubicBezTo>
                    <a:pt x="2478" y="726"/>
                    <a:pt x="2479" y="725"/>
                    <a:pt x="2480" y="725"/>
                  </a:cubicBezTo>
                  <a:cubicBezTo>
                    <a:pt x="2481" y="725"/>
                    <a:pt x="2482" y="725"/>
                    <a:pt x="2482" y="725"/>
                  </a:cubicBezTo>
                  <a:cubicBezTo>
                    <a:pt x="2484" y="725"/>
                    <a:pt x="2484" y="726"/>
                    <a:pt x="2486" y="727"/>
                  </a:cubicBezTo>
                  <a:cubicBezTo>
                    <a:pt x="2485" y="724"/>
                    <a:pt x="2491" y="720"/>
                    <a:pt x="2492" y="717"/>
                  </a:cubicBezTo>
                  <a:cubicBezTo>
                    <a:pt x="2494" y="715"/>
                    <a:pt x="2495" y="713"/>
                    <a:pt x="2496" y="711"/>
                  </a:cubicBezTo>
                  <a:cubicBezTo>
                    <a:pt x="2496" y="710"/>
                    <a:pt x="2496" y="710"/>
                    <a:pt x="2496" y="710"/>
                  </a:cubicBezTo>
                  <a:cubicBezTo>
                    <a:pt x="2496" y="707"/>
                    <a:pt x="2499" y="704"/>
                    <a:pt x="2502" y="704"/>
                  </a:cubicBezTo>
                  <a:cubicBezTo>
                    <a:pt x="2504" y="704"/>
                    <a:pt x="2505" y="704"/>
                    <a:pt x="2506" y="705"/>
                  </a:cubicBezTo>
                  <a:cubicBezTo>
                    <a:pt x="2506" y="705"/>
                    <a:pt x="2506" y="705"/>
                    <a:pt x="2506" y="705"/>
                  </a:cubicBezTo>
                  <a:cubicBezTo>
                    <a:pt x="2507" y="706"/>
                    <a:pt x="2508" y="707"/>
                    <a:pt x="2509" y="709"/>
                  </a:cubicBezTo>
                  <a:cubicBezTo>
                    <a:pt x="2511" y="707"/>
                    <a:pt x="2512" y="705"/>
                    <a:pt x="2512" y="705"/>
                  </a:cubicBezTo>
                  <a:cubicBezTo>
                    <a:pt x="2512" y="707"/>
                    <a:pt x="2511" y="717"/>
                    <a:pt x="2513" y="719"/>
                  </a:cubicBezTo>
                  <a:cubicBezTo>
                    <a:pt x="2513" y="719"/>
                    <a:pt x="2513" y="719"/>
                    <a:pt x="2513" y="719"/>
                  </a:cubicBezTo>
                  <a:cubicBezTo>
                    <a:pt x="2514" y="719"/>
                    <a:pt x="2513" y="717"/>
                    <a:pt x="2514" y="717"/>
                  </a:cubicBezTo>
                  <a:cubicBezTo>
                    <a:pt x="2514" y="717"/>
                    <a:pt x="2514" y="717"/>
                    <a:pt x="2514" y="717"/>
                  </a:cubicBezTo>
                  <a:cubicBezTo>
                    <a:pt x="2515" y="717"/>
                    <a:pt x="2516" y="718"/>
                    <a:pt x="2517" y="718"/>
                  </a:cubicBezTo>
                  <a:cubicBezTo>
                    <a:pt x="2517" y="718"/>
                    <a:pt x="2518" y="718"/>
                    <a:pt x="2518" y="718"/>
                  </a:cubicBezTo>
                  <a:cubicBezTo>
                    <a:pt x="2520" y="718"/>
                    <a:pt x="2522" y="717"/>
                    <a:pt x="2523" y="717"/>
                  </a:cubicBezTo>
                  <a:cubicBezTo>
                    <a:pt x="2523" y="717"/>
                    <a:pt x="2523" y="717"/>
                    <a:pt x="2523" y="717"/>
                  </a:cubicBezTo>
                  <a:cubicBezTo>
                    <a:pt x="2524" y="717"/>
                    <a:pt x="2526" y="719"/>
                    <a:pt x="2527" y="720"/>
                  </a:cubicBezTo>
                  <a:cubicBezTo>
                    <a:pt x="2529" y="722"/>
                    <a:pt x="2531" y="724"/>
                    <a:pt x="2532" y="724"/>
                  </a:cubicBezTo>
                  <a:cubicBezTo>
                    <a:pt x="2532" y="724"/>
                    <a:pt x="2532" y="724"/>
                    <a:pt x="2533" y="724"/>
                  </a:cubicBezTo>
                  <a:cubicBezTo>
                    <a:pt x="2534" y="723"/>
                    <a:pt x="2535" y="722"/>
                    <a:pt x="2537" y="721"/>
                  </a:cubicBezTo>
                  <a:cubicBezTo>
                    <a:pt x="2541" y="720"/>
                    <a:pt x="2545" y="719"/>
                    <a:pt x="2549" y="719"/>
                  </a:cubicBezTo>
                  <a:cubicBezTo>
                    <a:pt x="2555" y="717"/>
                    <a:pt x="2561" y="712"/>
                    <a:pt x="2566" y="708"/>
                  </a:cubicBezTo>
                  <a:cubicBezTo>
                    <a:pt x="2571" y="705"/>
                    <a:pt x="2578" y="703"/>
                    <a:pt x="2582" y="699"/>
                  </a:cubicBezTo>
                  <a:cubicBezTo>
                    <a:pt x="2586" y="696"/>
                    <a:pt x="2590" y="691"/>
                    <a:pt x="2592" y="686"/>
                  </a:cubicBezTo>
                  <a:cubicBezTo>
                    <a:pt x="2593" y="685"/>
                    <a:pt x="2595" y="679"/>
                    <a:pt x="2596" y="678"/>
                  </a:cubicBezTo>
                  <a:cubicBezTo>
                    <a:pt x="2599" y="675"/>
                    <a:pt x="2603" y="672"/>
                    <a:pt x="2606" y="670"/>
                  </a:cubicBezTo>
                  <a:cubicBezTo>
                    <a:pt x="2611" y="665"/>
                    <a:pt x="2615" y="659"/>
                    <a:pt x="2619" y="654"/>
                  </a:cubicBezTo>
                  <a:cubicBezTo>
                    <a:pt x="2624" y="648"/>
                    <a:pt x="2631" y="643"/>
                    <a:pt x="2636" y="637"/>
                  </a:cubicBezTo>
                  <a:cubicBezTo>
                    <a:pt x="2641" y="633"/>
                    <a:pt x="2645" y="629"/>
                    <a:pt x="2649" y="624"/>
                  </a:cubicBezTo>
                  <a:cubicBezTo>
                    <a:pt x="2653" y="618"/>
                    <a:pt x="2659" y="612"/>
                    <a:pt x="2662" y="605"/>
                  </a:cubicBezTo>
                  <a:cubicBezTo>
                    <a:pt x="2664" y="600"/>
                    <a:pt x="2665" y="594"/>
                    <a:pt x="2668" y="590"/>
                  </a:cubicBezTo>
                  <a:cubicBezTo>
                    <a:pt x="2672" y="585"/>
                    <a:pt x="2677" y="582"/>
                    <a:pt x="2680" y="576"/>
                  </a:cubicBezTo>
                  <a:cubicBezTo>
                    <a:pt x="2682" y="571"/>
                    <a:pt x="2684" y="567"/>
                    <a:pt x="2688" y="564"/>
                  </a:cubicBezTo>
                  <a:cubicBezTo>
                    <a:pt x="2692" y="559"/>
                    <a:pt x="2698" y="556"/>
                    <a:pt x="2702" y="551"/>
                  </a:cubicBezTo>
                  <a:cubicBezTo>
                    <a:pt x="2705" y="546"/>
                    <a:pt x="2707" y="539"/>
                    <a:pt x="2710" y="534"/>
                  </a:cubicBezTo>
                  <a:cubicBezTo>
                    <a:pt x="2711" y="532"/>
                    <a:pt x="2712" y="529"/>
                    <a:pt x="2710" y="529"/>
                  </a:cubicBezTo>
                  <a:cubicBezTo>
                    <a:pt x="2709" y="529"/>
                    <a:pt x="2709" y="529"/>
                    <a:pt x="2708" y="529"/>
                  </a:cubicBezTo>
                  <a:cubicBezTo>
                    <a:pt x="2710" y="524"/>
                    <a:pt x="2715" y="517"/>
                    <a:pt x="2716" y="511"/>
                  </a:cubicBezTo>
                  <a:cubicBezTo>
                    <a:pt x="2716" y="510"/>
                    <a:pt x="2715" y="508"/>
                    <a:pt x="2715" y="506"/>
                  </a:cubicBezTo>
                  <a:cubicBezTo>
                    <a:pt x="2715" y="503"/>
                    <a:pt x="2712" y="503"/>
                    <a:pt x="2713" y="500"/>
                  </a:cubicBezTo>
                  <a:cubicBezTo>
                    <a:pt x="2714" y="497"/>
                    <a:pt x="2717" y="497"/>
                    <a:pt x="2719" y="495"/>
                  </a:cubicBezTo>
                  <a:cubicBezTo>
                    <a:pt x="2718" y="495"/>
                    <a:pt x="2718" y="495"/>
                    <a:pt x="2718" y="495"/>
                  </a:cubicBezTo>
                  <a:cubicBezTo>
                    <a:pt x="2716" y="495"/>
                    <a:pt x="2715" y="494"/>
                    <a:pt x="2715" y="490"/>
                  </a:cubicBezTo>
                  <a:cubicBezTo>
                    <a:pt x="2715" y="487"/>
                    <a:pt x="2715" y="485"/>
                    <a:pt x="2714" y="483"/>
                  </a:cubicBezTo>
                  <a:cubicBezTo>
                    <a:pt x="2714" y="477"/>
                    <a:pt x="2713" y="474"/>
                    <a:pt x="2716" y="469"/>
                  </a:cubicBezTo>
                  <a:cubicBezTo>
                    <a:pt x="2719" y="465"/>
                    <a:pt x="2718" y="460"/>
                    <a:pt x="2719" y="455"/>
                  </a:cubicBezTo>
                  <a:cubicBezTo>
                    <a:pt x="2719" y="454"/>
                    <a:pt x="2721" y="453"/>
                    <a:pt x="2722" y="453"/>
                  </a:cubicBezTo>
                  <a:cubicBezTo>
                    <a:pt x="2725" y="451"/>
                    <a:pt x="2722" y="451"/>
                    <a:pt x="2722" y="450"/>
                  </a:cubicBezTo>
                  <a:cubicBezTo>
                    <a:pt x="2723" y="444"/>
                    <a:pt x="2733" y="438"/>
                    <a:pt x="2737" y="434"/>
                  </a:cubicBezTo>
                  <a:cubicBezTo>
                    <a:pt x="2732" y="430"/>
                    <a:pt x="2736" y="429"/>
                    <a:pt x="2740" y="425"/>
                  </a:cubicBezTo>
                  <a:cubicBezTo>
                    <a:pt x="2739" y="425"/>
                    <a:pt x="2739" y="426"/>
                    <a:pt x="2738" y="426"/>
                  </a:cubicBezTo>
                  <a:cubicBezTo>
                    <a:pt x="2735" y="426"/>
                    <a:pt x="2732" y="420"/>
                    <a:pt x="2730" y="418"/>
                  </a:cubicBezTo>
                  <a:cubicBezTo>
                    <a:pt x="2729" y="417"/>
                    <a:pt x="2731" y="417"/>
                    <a:pt x="2732" y="416"/>
                  </a:cubicBezTo>
                  <a:cubicBezTo>
                    <a:pt x="2733" y="413"/>
                    <a:pt x="2733" y="408"/>
                    <a:pt x="2733" y="404"/>
                  </a:cubicBezTo>
                  <a:cubicBezTo>
                    <a:pt x="2732" y="404"/>
                    <a:pt x="2732" y="404"/>
                    <a:pt x="2732" y="404"/>
                  </a:cubicBezTo>
                  <a:cubicBezTo>
                    <a:pt x="2730" y="404"/>
                    <a:pt x="2729" y="403"/>
                    <a:pt x="2727" y="402"/>
                  </a:cubicBezTo>
                  <a:cubicBezTo>
                    <a:pt x="2726" y="401"/>
                    <a:pt x="2726" y="399"/>
                    <a:pt x="2724" y="398"/>
                  </a:cubicBezTo>
                  <a:cubicBezTo>
                    <a:pt x="2723" y="397"/>
                    <a:pt x="2721" y="397"/>
                    <a:pt x="2720" y="395"/>
                  </a:cubicBezTo>
                  <a:cubicBezTo>
                    <a:pt x="2723" y="397"/>
                    <a:pt x="2727" y="398"/>
                    <a:pt x="2731" y="399"/>
                  </a:cubicBezTo>
                  <a:cubicBezTo>
                    <a:pt x="2731" y="400"/>
                    <a:pt x="2731" y="400"/>
                    <a:pt x="2732" y="400"/>
                  </a:cubicBezTo>
                  <a:cubicBezTo>
                    <a:pt x="2732" y="400"/>
                    <a:pt x="2732" y="399"/>
                    <a:pt x="2732" y="398"/>
                  </a:cubicBezTo>
                  <a:cubicBezTo>
                    <a:pt x="2736" y="397"/>
                    <a:pt x="2737" y="395"/>
                    <a:pt x="2737" y="392"/>
                  </a:cubicBezTo>
                  <a:cubicBezTo>
                    <a:pt x="2737" y="387"/>
                    <a:pt x="2728" y="385"/>
                    <a:pt x="2724" y="382"/>
                  </a:cubicBezTo>
                  <a:cubicBezTo>
                    <a:pt x="2720" y="380"/>
                    <a:pt x="2717" y="378"/>
                    <a:pt x="2713" y="375"/>
                  </a:cubicBezTo>
                  <a:cubicBezTo>
                    <a:pt x="2708" y="370"/>
                    <a:pt x="2703" y="364"/>
                    <a:pt x="2699" y="357"/>
                  </a:cubicBezTo>
                  <a:cubicBezTo>
                    <a:pt x="2698" y="357"/>
                    <a:pt x="2696" y="356"/>
                    <a:pt x="2694" y="356"/>
                  </a:cubicBezTo>
                  <a:cubicBezTo>
                    <a:pt x="2693" y="356"/>
                    <a:pt x="2691" y="356"/>
                    <a:pt x="2690" y="357"/>
                  </a:cubicBezTo>
                  <a:cubicBezTo>
                    <a:pt x="2689" y="357"/>
                    <a:pt x="2688" y="357"/>
                    <a:pt x="2687" y="357"/>
                  </a:cubicBezTo>
                  <a:cubicBezTo>
                    <a:pt x="2686" y="357"/>
                    <a:pt x="2686" y="357"/>
                    <a:pt x="2686" y="357"/>
                  </a:cubicBezTo>
                  <a:cubicBezTo>
                    <a:pt x="2680" y="356"/>
                    <a:pt x="2675" y="356"/>
                    <a:pt x="2669" y="356"/>
                  </a:cubicBezTo>
                  <a:cubicBezTo>
                    <a:pt x="2673" y="357"/>
                    <a:pt x="2670" y="361"/>
                    <a:pt x="2669" y="363"/>
                  </a:cubicBezTo>
                  <a:cubicBezTo>
                    <a:pt x="2670" y="363"/>
                    <a:pt x="2671" y="363"/>
                    <a:pt x="2671" y="363"/>
                  </a:cubicBezTo>
                  <a:cubicBezTo>
                    <a:pt x="2673" y="363"/>
                    <a:pt x="2670" y="369"/>
                    <a:pt x="2670" y="370"/>
                  </a:cubicBezTo>
                  <a:cubicBezTo>
                    <a:pt x="2669" y="371"/>
                    <a:pt x="2670" y="371"/>
                    <a:pt x="2670" y="372"/>
                  </a:cubicBezTo>
                  <a:cubicBezTo>
                    <a:pt x="2669" y="374"/>
                    <a:pt x="2667" y="377"/>
                    <a:pt x="2666" y="379"/>
                  </a:cubicBezTo>
                  <a:cubicBezTo>
                    <a:pt x="2663" y="383"/>
                    <a:pt x="2662" y="382"/>
                    <a:pt x="2658" y="383"/>
                  </a:cubicBezTo>
                  <a:cubicBezTo>
                    <a:pt x="2659" y="381"/>
                    <a:pt x="2660" y="379"/>
                    <a:pt x="2661" y="378"/>
                  </a:cubicBezTo>
                  <a:cubicBezTo>
                    <a:pt x="2663" y="376"/>
                    <a:pt x="2664" y="375"/>
                    <a:pt x="2666" y="373"/>
                  </a:cubicBezTo>
                  <a:cubicBezTo>
                    <a:pt x="2667" y="372"/>
                    <a:pt x="2669" y="367"/>
                    <a:pt x="2666" y="367"/>
                  </a:cubicBezTo>
                  <a:cubicBezTo>
                    <a:pt x="2666" y="367"/>
                    <a:pt x="2666" y="367"/>
                    <a:pt x="2665" y="367"/>
                  </a:cubicBezTo>
                  <a:cubicBezTo>
                    <a:pt x="2663" y="367"/>
                    <a:pt x="2656" y="375"/>
                    <a:pt x="2655" y="376"/>
                  </a:cubicBezTo>
                  <a:cubicBezTo>
                    <a:pt x="2652" y="379"/>
                    <a:pt x="2649" y="381"/>
                    <a:pt x="2645" y="381"/>
                  </a:cubicBezTo>
                  <a:cubicBezTo>
                    <a:pt x="2644" y="381"/>
                    <a:pt x="2643" y="381"/>
                    <a:pt x="2641" y="381"/>
                  </a:cubicBezTo>
                  <a:cubicBezTo>
                    <a:pt x="2638" y="381"/>
                    <a:pt x="2633" y="381"/>
                    <a:pt x="2634" y="379"/>
                  </a:cubicBezTo>
                  <a:cubicBezTo>
                    <a:pt x="2634" y="377"/>
                    <a:pt x="2639" y="377"/>
                    <a:pt x="2640" y="376"/>
                  </a:cubicBezTo>
                  <a:cubicBezTo>
                    <a:pt x="2642" y="375"/>
                    <a:pt x="2642" y="373"/>
                    <a:pt x="2643" y="371"/>
                  </a:cubicBezTo>
                  <a:cubicBezTo>
                    <a:pt x="2644" y="371"/>
                    <a:pt x="2649" y="368"/>
                    <a:pt x="2647" y="368"/>
                  </a:cubicBezTo>
                  <a:cubicBezTo>
                    <a:pt x="2644" y="368"/>
                    <a:pt x="2643" y="367"/>
                    <a:pt x="2640" y="366"/>
                  </a:cubicBezTo>
                  <a:cubicBezTo>
                    <a:pt x="2637" y="364"/>
                    <a:pt x="2633" y="363"/>
                    <a:pt x="2639" y="363"/>
                  </a:cubicBezTo>
                  <a:cubicBezTo>
                    <a:pt x="2640" y="363"/>
                    <a:pt x="2642" y="360"/>
                    <a:pt x="2641" y="359"/>
                  </a:cubicBezTo>
                  <a:cubicBezTo>
                    <a:pt x="2640" y="357"/>
                    <a:pt x="2639" y="356"/>
                    <a:pt x="2638" y="356"/>
                  </a:cubicBezTo>
                  <a:cubicBezTo>
                    <a:pt x="2636" y="356"/>
                    <a:pt x="2635" y="357"/>
                    <a:pt x="2633" y="358"/>
                  </a:cubicBezTo>
                  <a:cubicBezTo>
                    <a:pt x="2630" y="360"/>
                    <a:pt x="2629" y="361"/>
                    <a:pt x="2631" y="363"/>
                  </a:cubicBezTo>
                  <a:cubicBezTo>
                    <a:pt x="2633" y="365"/>
                    <a:pt x="2635" y="364"/>
                    <a:pt x="2635" y="366"/>
                  </a:cubicBezTo>
                  <a:cubicBezTo>
                    <a:pt x="2634" y="368"/>
                    <a:pt x="2625" y="373"/>
                    <a:pt x="2622" y="373"/>
                  </a:cubicBezTo>
                  <a:cubicBezTo>
                    <a:pt x="2622" y="373"/>
                    <a:pt x="2621" y="373"/>
                    <a:pt x="2621" y="373"/>
                  </a:cubicBezTo>
                  <a:cubicBezTo>
                    <a:pt x="2617" y="370"/>
                    <a:pt x="2621" y="366"/>
                    <a:pt x="2622" y="364"/>
                  </a:cubicBezTo>
                  <a:cubicBezTo>
                    <a:pt x="2624" y="362"/>
                    <a:pt x="2623" y="360"/>
                    <a:pt x="2622" y="358"/>
                  </a:cubicBezTo>
                  <a:cubicBezTo>
                    <a:pt x="2623" y="357"/>
                    <a:pt x="2623" y="357"/>
                    <a:pt x="2623" y="357"/>
                  </a:cubicBezTo>
                  <a:cubicBezTo>
                    <a:pt x="2623" y="357"/>
                    <a:pt x="2622" y="357"/>
                    <a:pt x="2622" y="356"/>
                  </a:cubicBezTo>
                  <a:cubicBezTo>
                    <a:pt x="2622" y="356"/>
                    <a:pt x="2623" y="356"/>
                    <a:pt x="2623" y="356"/>
                  </a:cubicBezTo>
                  <a:cubicBezTo>
                    <a:pt x="2623" y="355"/>
                    <a:pt x="2623" y="355"/>
                    <a:pt x="2623" y="355"/>
                  </a:cubicBezTo>
                  <a:cubicBezTo>
                    <a:pt x="2623" y="354"/>
                    <a:pt x="2622" y="353"/>
                    <a:pt x="2622" y="352"/>
                  </a:cubicBezTo>
                  <a:cubicBezTo>
                    <a:pt x="2622" y="352"/>
                    <a:pt x="2622" y="352"/>
                    <a:pt x="2622" y="352"/>
                  </a:cubicBezTo>
                  <a:cubicBezTo>
                    <a:pt x="2622" y="352"/>
                    <a:pt x="2623" y="352"/>
                    <a:pt x="2623" y="352"/>
                  </a:cubicBezTo>
                  <a:cubicBezTo>
                    <a:pt x="2623" y="352"/>
                    <a:pt x="2623" y="352"/>
                    <a:pt x="2623" y="352"/>
                  </a:cubicBezTo>
                  <a:cubicBezTo>
                    <a:pt x="2623" y="352"/>
                    <a:pt x="2623" y="352"/>
                    <a:pt x="2624" y="352"/>
                  </a:cubicBezTo>
                  <a:cubicBezTo>
                    <a:pt x="2624" y="350"/>
                    <a:pt x="2624" y="350"/>
                    <a:pt x="2624" y="350"/>
                  </a:cubicBezTo>
                  <a:cubicBezTo>
                    <a:pt x="2624" y="349"/>
                    <a:pt x="2624" y="346"/>
                    <a:pt x="2622" y="345"/>
                  </a:cubicBezTo>
                  <a:cubicBezTo>
                    <a:pt x="2620" y="343"/>
                    <a:pt x="2617" y="343"/>
                    <a:pt x="2614" y="343"/>
                  </a:cubicBezTo>
                  <a:cubicBezTo>
                    <a:pt x="2613" y="343"/>
                    <a:pt x="2612" y="343"/>
                    <a:pt x="2611" y="343"/>
                  </a:cubicBezTo>
                  <a:cubicBezTo>
                    <a:pt x="2609" y="343"/>
                    <a:pt x="2608" y="343"/>
                    <a:pt x="2607" y="343"/>
                  </a:cubicBezTo>
                  <a:cubicBezTo>
                    <a:pt x="2607" y="343"/>
                    <a:pt x="2607" y="343"/>
                    <a:pt x="2606" y="343"/>
                  </a:cubicBezTo>
                  <a:cubicBezTo>
                    <a:pt x="2599" y="343"/>
                    <a:pt x="2592" y="343"/>
                    <a:pt x="2585" y="342"/>
                  </a:cubicBezTo>
                  <a:cubicBezTo>
                    <a:pt x="2586" y="340"/>
                    <a:pt x="2583" y="339"/>
                    <a:pt x="2583" y="337"/>
                  </a:cubicBezTo>
                  <a:cubicBezTo>
                    <a:pt x="2583" y="335"/>
                    <a:pt x="2586" y="333"/>
                    <a:pt x="2587" y="332"/>
                  </a:cubicBezTo>
                  <a:cubicBezTo>
                    <a:pt x="2591" y="329"/>
                    <a:pt x="2595" y="328"/>
                    <a:pt x="2598" y="325"/>
                  </a:cubicBezTo>
                  <a:cubicBezTo>
                    <a:pt x="2603" y="323"/>
                    <a:pt x="2607" y="321"/>
                    <a:pt x="2611" y="317"/>
                  </a:cubicBezTo>
                  <a:cubicBezTo>
                    <a:pt x="2615" y="312"/>
                    <a:pt x="2624" y="308"/>
                    <a:pt x="2630" y="305"/>
                  </a:cubicBezTo>
                  <a:cubicBezTo>
                    <a:pt x="2636" y="301"/>
                    <a:pt x="2641" y="298"/>
                    <a:pt x="2646" y="293"/>
                  </a:cubicBezTo>
                  <a:cubicBezTo>
                    <a:pt x="2648" y="292"/>
                    <a:pt x="2659" y="284"/>
                    <a:pt x="2659" y="281"/>
                  </a:cubicBezTo>
                  <a:cubicBezTo>
                    <a:pt x="2659" y="281"/>
                    <a:pt x="2656" y="281"/>
                    <a:pt x="2656" y="280"/>
                  </a:cubicBezTo>
                  <a:cubicBezTo>
                    <a:pt x="2656" y="278"/>
                    <a:pt x="2660" y="274"/>
                    <a:pt x="2661" y="273"/>
                  </a:cubicBezTo>
                  <a:cubicBezTo>
                    <a:pt x="2665" y="267"/>
                    <a:pt x="2668" y="263"/>
                    <a:pt x="2674" y="259"/>
                  </a:cubicBezTo>
                  <a:cubicBezTo>
                    <a:pt x="2682" y="253"/>
                    <a:pt x="2690" y="247"/>
                    <a:pt x="2697" y="241"/>
                  </a:cubicBezTo>
                  <a:cubicBezTo>
                    <a:pt x="2702" y="238"/>
                    <a:pt x="2707" y="236"/>
                    <a:pt x="2713" y="234"/>
                  </a:cubicBezTo>
                  <a:cubicBezTo>
                    <a:pt x="2715" y="233"/>
                    <a:pt x="2715" y="231"/>
                    <a:pt x="2715" y="229"/>
                  </a:cubicBezTo>
                  <a:cubicBezTo>
                    <a:pt x="2716" y="225"/>
                    <a:pt x="2718" y="222"/>
                    <a:pt x="2720" y="218"/>
                  </a:cubicBezTo>
                  <a:cubicBezTo>
                    <a:pt x="2722" y="215"/>
                    <a:pt x="2724" y="214"/>
                    <a:pt x="2727" y="212"/>
                  </a:cubicBezTo>
                  <a:cubicBezTo>
                    <a:pt x="2734" y="206"/>
                    <a:pt x="2742" y="200"/>
                    <a:pt x="2749" y="194"/>
                  </a:cubicBezTo>
                  <a:cubicBezTo>
                    <a:pt x="2753" y="190"/>
                    <a:pt x="2758" y="187"/>
                    <a:pt x="2763" y="184"/>
                  </a:cubicBezTo>
                  <a:cubicBezTo>
                    <a:pt x="2768" y="181"/>
                    <a:pt x="2776" y="177"/>
                    <a:pt x="2782" y="177"/>
                  </a:cubicBezTo>
                  <a:cubicBezTo>
                    <a:pt x="2782" y="177"/>
                    <a:pt x="2782" y="177"/>
                    <a:pt x="2782" y="177"/>
                  </a:cubicBezTo>
                  <a:cubicBezTo>
                    <a:pt x="2784" y="177"/>
                    <a:pt x="2785" y="179"/>
                    <a:pt x="2787" y="179"/>
                  </a:cubicBezTo>
                  <a:cubicBezTo>
                    <a:pt x="2788" y="179"/>
                    <a:pt x="2788" y="179"/>
                    <a:pt x="2788" y="179"/>
                  </a:cubicBezTo>
                  <a:cubicBezTo>
                    <a:pt x="2791" y="179"/>
                    <a:pt x="2795" y="176"/>
                    <a:pt x="2798" y="176"/>
                  </a:cubicBezTo>
                  <a:cubicBezTo>
                    <a:pt x="2799" y="176"/>
                    <a:pt x="2800" y="176"/>
                    <a:pt x="2801" y="176"/>
                  </a:cubicBezTo>
                  <a:cubicBezTo>
                    <a:pt x="2804" y="176"/>
                    <a:pt x="2807" y="176"/>
                    <a:pt x="2810" y="177"/>
                  </a:cubicBezTo>
                  <a:cubicBezTo>
                    <a:pt x="2810" y="177"/>
                    <a:pt x="2811" y="177"/>
                    <a:pt x="2812" y="177"/>
                  </a:cubicBezTo>
                  <a:cubicBezTo>
                    <a:pt x="2813" y="177"/>
                    <a:pt x="2816" y="177"/>
                    <a:pt x="2817" y="177"/>
                  </a:cubicBezTo>
                  <a:cubicBezTo>
                    <a:pt x="2817" y="177"/>
                    <a:pt x="2817" y="177"/>
                    <a:pt x="2817" y="177"/>
                  </a:cubicBezTo>
                  <a:cubicBezTo>
                    <a:pt x="2818" y="177"/>
                    <a:pt x="2819" y="177"/>
                    <a:pt x="2820" y="177"/>
                  </a:cubicBezTo>
                  <a:cubicBezTo>
                    <a:pt x="2821" y="177"/>
                    <a:pt x="2821" y="177"/>
                    <a:pt x="2822" y="177"/>
                  </a:cubicBezTo>
                  <a:cubicBezTo>
                    <a:pt x="2823" y="177"/>
                    <a:pt x="2823" y="177"/>
                    <a:pt x="2823" y="177"/>
                  </a:cubicBezTo>
                  <a:cubicBezTo>
                    <a:pt x="2826" y="177"/>
                    <a:pt x="2829" y="176"/>
                    <a:pt x="2832" y="176"/>
                  </a:cubicBezTo>
                  <a:cubicBezTo>
                    <a:pt x="2832" y="176"/>
                    <a:pt x="2832" y="176"/>
                    <a:pt x="2832" y="176"/>
                  </a:cubicBezTo>
                  <a:cubicBezTo>
                    <a:pt x="2833" y="176"/>
                    <a:pt x="2834" y="176"/>
                    <a:pt x="2835" y="176"/>
                  </a:cubicBezTo>
                  <a:cubicBezTo>
                    <a:pt x="2835" y="176"/>
                    <a:pt x="2835" y="176"/>
                    <a:pt x="2835" y="176"/>
                  </a:cubicBezTo>
                  <a:cubicBezTo>
                    <a:pt x="2837" y="176"/>
                    <a:pt x="2838" y="176"/>
                    <a:pt x="2839" y="176"/>
                  </a:cubicBezTo>
                  <a:cubicBezTo>
                    <a:pt x="2840" y="176"/>
                    <a:pt x="2841" y="176"/>
                    <a:pt x="2843" y="176"/>
                  </a:cubicBezTo>
                  <a:cubicBezTo>
                    <a:pt x="2845" y="176"/>
                    <a:pt x="2847" y="176"/>
                    <a:pt x="2848" y="176"/>
                  </a:cubicBezTo>
                  <a:cubicBezTo>
                    <a:pt x="2849" y="178"/>
                    <a:pt x="2844" y="180"/>
                    <a:pt x="2845" y="182"/>
                  </a:cubicBezTo>
                  <a:cubicBezTo>
                    <a:pt x="2846" y="183"/>
                    <a:pt x="2852" y="184"/>
                    <a:pt x="2856" y="184"/>
                  </a:cubicBezTo>
                  <a:cubicBezTo>
                    <a:pt x="2857" y="184"/>
                    <a:pt x="2858" y="184"/>
                    <a:pt x="2858" y="184"/>
                  </a:cubicBezTo>
                  <a:cubicBezTo>
                    <a:pt x="2859" y="183"/>
                    <a:pt x="2857" y="182"/>
                    <a:pt x="2858" y="182"/>
                  </a:cubicBezTo>
                  <a:cubicBezTo>
                    <a:pt x="2858" y="179"/>
                    <a:pt x="2859" y="178"/>
                    <a:pt x="2860" y="176"/>
                  </a:cubicBezTo>
                  <a:cubicBezTo>
                    <a:pt x="2861" y="175"/>
                    <a:pt x="2862" y="174"/>
                    <a:pt x="2863" y="174"/>
                  </a:cubicBezTo>
                  <a:cubicBezTo>
                    <a:pt x="2866" y="174"/>
                    <a:pt x="2869" y="176"/>
                    <a:pt x="2872" y="178"/>
                  </a:cubicBezTo>
                  <a:cubicBezTo>
                    <a:pt x="2877" y="179"/>
                    <a:pt x="2883" y="182"/>
                    <a:pt x="2888" y="182"/>
                  </a:cubicBezTo>
                  <a:cubicBezTo>
                    <a:pt x="2890" y="182"/>
                    <a:pt x="2892" y="182"/>
                    <a:pt x="2894" y="181"/>
                  </a:cubicBezTo>
                  <a:cubicBezTo>
                    <a:pt x="2898" y="179"/>
                    <a:pt x="2901" y="177"/>
                    <a:pt x="2905" y="176"/>
                  </a:cubicBezTo>
                  <a:cubicBezTo>
                    <a:pt x="2905" y="176"/>
                    <a:pt x="2906" y="176"/>
                    <a:pt x="2906" y="176"/>
                  </a:cubicBezTo>
                  <a:cubicBezTo>
                    <a:pt x="2908" y="176"/>
                    <a:pt x="2912" y="179"/>
                    <a:pt x="2914" y="179"/>
                  </a:cubicBezTo>
                  <a:cubicBezTo>
                    <a:pt x="2915" y="180"/>
                    <a:pt x="2918" y="182"/>
                    <a:pt x="2920" y="182"/>
                  </a:cubicBezTo>
                  <a:cubicBezTo>
                    <a:pt x="2920" y="182"/>
                    <a:pt x="2920" y="182"/>
                    <a:pt x="2920" y="182"/>
                  </a:cubicBezTo>
                  <a:cubicBezTo>
                    <a:pt x="2920" y="182"/>
                    <a:pt x="2921" y="182"/>
                    <a:pt x="2921" y="182"/>
                  </a:cubicBezTo>
                  <a:cubicBezTo>
                    <a:pt x="2921" y="182"/>
                    <a:pt x="2921" y="182"/>
                    <a:pt x="2921" y="182"/>
                  </a:cubicBezTo>
                  <a:cubicBezTo>
                    <a:pt x="2921" y="182"/>
                    <a:pt x="2922" y="182"/>
                    <a:pt x="2922" y="182"/>
                  </a:cubicBezTo>
                  <a:cubicBezTo>
                    <a:pt x="2922" y="182"/>
                    <a:pt x="2922" y="182"/>
                    <a:pt x="2922" y="180"/>
                  </a:cubicBezTo>
                  <a:cubicBezTo>
                    <a:pt x="2922" y="178"/>
                    <a:pt x="2921" y="178"/>
                    <a:pt x="2919" y="178"/>
                  </a:cubicBezTo>
                  <a:cubicBezTo>
                    <a:pt x="2917" y="177"/>
                    <a:pt x="2915" y="177"/>
                    <a:pt x="2917" y="175"/>
                  </a:cubicBezTo>
                  <a:cubicBezTo>
                    <a:pt x="2918" y="173"/>
                    <a:pt x="2920" y="172"/>
                    <a:pt x="2921" y="172"/>
                  </a:cubicBezTo>
                  <a:cubicBezTo>
                    <a:pt x="2924" y="172"/>
                    <a:pt x="2926" y="173"/>
                    <a:pt x="2929" y="174"/>
                  </a:cubicBezTo>
                  <a:cubicBezTo>
                    <a:pt x="2929" y="171"/>
                    <a:pt x="2926" y="172"/>
                    <a:pt x="2926" y="170"/>
                  </a:cubicBezTo>
                  <a:cubicBezTo>
                    <a:pt x="2925" y="166"/>
                    <a:pt x="2932" y="163"/>
                    <a:pt x="2935" y="163"/>
                  </a:cubicBezTo>
                  <a:cubicBezTo>
                    <a:pt x="2936" y="163"/>
                    <a:pt x="2937" y="163"/>
                    <a:pt x="2937" y="163"/>
                  </a:cubicBezTo>
                  <a:cubicBezTo>
                    <a:pt x="2940" y="163"/>
                    <a:pt x="2942" y="164"/>
                    <a:pt x="2945" y="165"/>
                  </a:cubicBezTo>
                  <a:cubicBezTo>
                    <a:pt x="2948" y="165"/>
                    <a:pt x="2950" y="166"/>
                    <a:pt x="2953" y="167"/>
                  </a:cubicBezTo>
                  <a:cubicBezTo>
                    <a:pt x="2955" y="168"/>
                    <a:pt x="2959" y="169"/>
                    <a:pt x="2961" y="170"/>
                  </a:cubicBezTo>
                  <a:cubicBezTo>
                    <a:pt x="2961" y="170"/>
                    <a:pt x="2963" y="173"/>
                    <a:pt x="2964" y="174"/>
                  </a:cubicBezTo>
                  <a:cubicBezTo>
                    <a:pt x="2965" y="174"/>
                    <a:pt x="2966" y="175"/>
                    <a:pt x="2967" y="175"/>
                  </a:cubicBezTo>
                  <a:cubicBezTo>
                    <a:pt x="2969" y="175"/>
                    <a:pt x="2972" y="174"/>
                    <a:pt x="2974" y="170"/>
                  </a:cubicBezTo>
                  <a:cubicBezTo>
                    <a:pt x="2975" y="170"/>
                    <a:pt x="2976" y="171"/>
                    <a:pt x="2978" y="171"/>
                  </a:cubicBezTo>
                  <a:cubicBezTo>
                    <a:pt x="2981" y="172"/>
                    <a:pt x="2984" y="174"/>
                    <a:pt x="2987" y="175"/>
                  </a:cubicBezTo>
                  <a:cubicBezTo>
                    <a:pt x="2988" y="176"/>
                    <a:pt x="2989" y="176"/>
                    <a:pt x="2990" y="178"/>
                  </a:cubicBezTo>
                  <a:cubicBezTo>
                    <a:pt x="2991" y="179"/>
                    <a:pt x="2989" y="179"/>
                    <a:pt x="2990" y="180"/>
                  </a:cubicBezTo>
                  <a:cubicBezTo>
                    <a:pt x="2993" y="182"/>
                    <a:pt x="3001" y="182"/>
                    <a:pt x="3004" y="183"/>
                  </a:cubicBezTo>
                  <a:cubicBezTo>
                    <a:pt x="3001" y="185"/>
                    <a:pt x="2996" y="186"/>
                    <a:pt x="2992" y="186"/>
                  </a:cubicBezTo>
                  <a:cubicBezTo>
                    <a:pt x="2992" y="186"/>
                    <a:pt x="2991" y="186"/>
                    <a:pt x="2991" y="186"/>
                  </a:cubicBezTo>
                  <a:cubicBezTo>
                    <a:pt x="2990" y="186"/>
                    <a:pt x="2989" y="186"/>
                    <a:pt x="2988" y="185"/>
                  </a:cubicBezTo>
                  <a:cubicBezTo>
                    <a:pt x="2987" y="185"/>
                    <a:pt x="2986" y="185"/>
                    <a:pt x="2985" y="185"/>
                  </a:cubicBezTo>
                  <a:cubicBezTo>
                    <a:pt x="2984" y="185"/>
                    <a:pt x="2983" y="185"/>
                    <a:pt x="2982" y="186"/>
                  </a:cubicBezTo>
                  <a:cubicBezTo>
                    <a:pt x="2980" y="186"/>
                    <a:pt x="2978" y="188"/>
                    <a:pt x="2975" y="188"/>
                  </a:cubicBezTo>
                  <a:cubicBezTo>
                    <a:pt x="2975" y="188"/>
                    <a:pt x="2975" y="188"/>
                    <a:pt x="2975" y="188"/>
                  </a:cubicBezTo>
                  <a:cubicBezTo>
                    <a:pt x="2976" y="191"/>
                    <a:pt x="2981" y="193"/>
                    <a:pt x="2980" y="197"/>
                  </a:cubicBezTo>
                  <a:cubicBezTo>
                    <a:pt x="2989" y="195"/>
                    <a:pt x="2998" y="192"/>
                    <a:pt x="3006" y="190"/>
                  </a:cubicBezTo>
                  <a:cubicBezTo>
                    <a:pt x="3006" y="189"/>
                    <a:pt x="3006" y="189"/>
                    <a:pt x="3006" y="189"/>
                  </a:cubicBezTo>
                  <a:cubicBezTo>
                    <a:pt x="3008" y="190"/>
                    <a:pt x="3014" y="195"/>
                    <a:pt x="3017" y="195"/>
                  </a:cubicBezTo>
                  <a:cubicBezTo>
                    <a:pt x="3018" y="195"/>
                    <a:pt x="3019" y="195"/>
                    <a:pt x="3019" y="194"/>
                  </a:cubicBezTo>
                  <a:cubicBezTo>
                    <a:pt x="3020" y="193"/>
                    <a:pt x="3020" y="190"/>
                    <a:pt x="3021" y="189"/>
                  </a:cubicBezTo>
                  <a:cubicBezTo>
                    <a:pt x="3023" y="187"/>
                    <a:pt x="3027" y="188"/>
                    <a:pt x="3030" y="186"/>
                  </a:cubicBezTo>
                  <a:cubicBezTo>
                    <a:pt x="3029" y="185"/>
                    <a:pt x="3030" y="183"/>
                    <a:pt x="3032" y="183"/>
                  </a:cubicBezTo>
                  <a:cubicBezTo>
                    <a:pt x="3032" y="183"/>
                    <a:pt x="3032" y="183"/>
                    <a:pt x="3033" y="183"/>
                  </a:cubicBezTo>
                  <a:cubicBezTo>
                    <a:pt x="3035" y="184"/>
                    <a:pt x="3038" y="185"/>
                    <a:pt x="3041" y="186"/>
                  </a:cubicBezTo>
                  <a:cubicBezTo>
                    <a:pt x="3043" y="187"/>
                    <a:pt x="3044" y="188"/>
                    <a:pt x="3046" y="189"/>
                  </a:cubicBezTo>
                  <a:cubicBezTo>
                    <a:pt x="3046" y="189"/>
                    <a:pt x="3046" y="189"/>
                    <a:pt x="3047" y="189"/>
                  </a:cubicBezTo>
                  <a:cubicBezTo>
                    <a:pt x="3050" y="189"/>
                    <a:pt x="3053" y="184"/>
                    <a:pt x="3057" y="183"/>
                  </a:cubicBezTo>
                  <a:cubicBezTo>
                    <a:pt x="3057" y="183"/>
                    <a:pt x="3058" y="183"/>
                    <a:pt x="3058" y="183"/>
                  </a:cubicBezTo>
                  <a:cubicBezTo>
                    <a:pt x="3064" y="183"/>
                    <a:pt x="3070" y="184"/>
                    <a:pt x="3076" y="185"/>
                  </a:cubicBezTo>
                  <a:cubicBezTo>
                    <a:pt x="3076" y="184"/>
                    <a:pt x="3076" y="179"/>
                    <a:pt x="3076" y="178"/>
                  </a:cubicBezTo>
                  <a:cubicBezTo>
                    <a:pt x="3074" y="176"/>
                    <a:pt x="3071" y="174"/>
                    <a:pt x="3069" y="174"/>
                  </a:cubicBezTo>
                  <a:cubicBezTo>
                    <a:pt x="3069" y="174"/>
                    <a:pt x="3069" y="174"/>
                    <a:pt x="3069" y="174"/>
                  </a:cubicBezTo>
                  <a:cubicBezTo>
                    <a:pt x="3068" y="174"/>
                    <a:pt x="3068" y="174"/>
                    <a:pt x="3068" y="174"/>
                  </a:cubicBezTo>
                  <a:cubicBezTo>
                    <a:pt x="3068" y="174"/>
                    <a:pt x="3068" y="174"/>
                    <a:pt x="3068" y="174"/>
                  </a:cubicBezTo>
                  <a:cubicBezTo>
                    <a:pt x="3067" y="174"/>
                    <a:pt x="3067" y="174"/>
                    <a:pt x="3066" y="174"/>
                  </a:cubicBezTo>
                  <a:cubicBezTo>
                    <a:pt x="3065" y="173"/>
                    <a:pt x="3064" y="172"/>
                    <a:pt x="3063" y="172"/>
                  </a:cubicBezTo>
                  <a:cubicBezTo>
                    <a:pt x="3063" y="172"/>
                    <a:pt x="3061" y="171"/>
                    <a:pt x="3060" y="171"/>
                  </a:cubicBezTo>
                  <a:cubicBezTo>
                    <a:pt x="3059" y="171"/>
                    <a:pt x="3057" y="172"/>
                    <a:pt x="3057" y="172"/>
                  </a:cubicBezTo>
                  <a:cubicBezTo>
                    <a:pt x="3057" y="173"/>
                    <a:pt x="3058" y="175"/>
                    <a:pt x="3058" y="175"/>
                  </a:cubicBezTo>
                  <a:cubicBezTo>
                    <a:pt x="3058" y="175"/>
                    <a:pt x="3058" y="175"/>
                    <a:pt x="3057" y="175"/>
                  </a:cubicBezTo>
                  <a:cubicBezTo>
                    <a:pt x="3057" y="175"/>
                    <a:pt x="3056" y="174"/>
                    <a:pt x="3055" y="173"/>
                  </a:cubicBezTo>
                  <a:cubicBezTo>
                    <a:pt x="3055" y="174"/>
                    <a:pt x="3053" y="175"/>
                    <a:pt x="3052" y="175"/>
                  </a:cubicBezTo>
                  <a:cubicBezTo>
                    <a:pt x="3052" y="175"/>
                    <a:pt x="3051" y="175"/>
                    <a:pt x="3051" y="175"/>
                  </a:cubicBezTo>
                  <a:cubicBezTo>
                    <a:pt x="3048" y="173"/>
                    <a:pt x="3052" y="170"/>
                    <a:pt x="3055" y="170"/>
                  </a:cubicBezTo>
                  <a:cubicBezTo>
                    <a:pt x="3055" y="170"/>
                    <a:pt x="3055" y="170"/>
                    <a:pt x="3055" y="170"/>
                  </a:cubicBezTo>
                  <a:cubicBezTo>
                    <a:pt x="3055" y="167"/>
                    <a:pt x="3052" y="166"/>
                    <a:pt x="3052" y="163"/>
                  </a:cubicBezTo>
                  <a:cubicBezTo>
                    <a:pt x="3052" y="162"/>
                    <a:pt x="3052" y="160"/>
                    <a:pt x="3053" y="159"/>
                  </a:cubicBezTo>
                  <a:cubicBezTo>
                    <a:pt x="3053" y="159"/>
                    <a:pt x="3054" y="159"/>
                    <a:pt x="3054" y="159"/>
                  </a:cubicBezTo>
                  <a:cubicBezTo>
                    <a:pt x="3055" y="159"/>
                    <a:pt x="3055" y="159"/>
                    <a:pt x="3055" y="159"/>
                  </a:cubicBezTo>
                  <a:cubicBezTo>
                    <a:pt x="3055" y="159"/>
                    <a:pt x="3055" y="159"/>
                    <a:pt x="3055" y="159"/>
                  </a:cubicBezTo>
                  <a:cubicBezTo>
                    <a:pt x="3056" y="159"/>
                    <a:pt x="3056" y="159"/>
                    <a:pt x="3057" y="159"/>
                  </a:cubicBezTo>
                  <a:cubicBezTo>
                    <a:pt x="3057" y="159"/>
                    <a:pt x="3059" y="156"/>
                    <a:pt x="3060" y="154"/>
                  </a:cubicBezTo>
                  <a:cubicBezTo>
                    <a:pt x="3060" y="154"/>
                    <a:pt x="3061" y="153"/>
                    <a:pt x="3061" y="153"/>
                  </a:cubicBezTo>
                  <a:cubicBezTo>
                    <a:pt x="3068" y="147"/>
                    <a:pt x="3075" y="141"/>
                    <a:pt x="3082" y="135"/>
                  </a:cubicBezTo>
                  <a:cubicBezTo>
                    <a:pt x="3085" y="133"/>
                    <a:pt x="3087" y="131"/>
                    <a:pt x="3090" y="129"/>
                  </a:cubicBezTo>
                  <a:cubicBezTo>
                    <a:pt x="3091" y="129"/>
                    <a:pt x="3093" y="128"/>
                    <a:pt x="3093" y="127"/>
                  </a:cubicBezTo>
                  <a:cubicBezTo>
                    <a:pt x="3095" y="125"/>
                    <a:pt x="3096" y="121"/>
                    <a:pt x="3098" y="118"/>
                  </a:cubicBezTo>
                  <a:cubicBezTo>
                    <a:pt x="3099" y="115"/>
                    <a:pt x="3104" y="114"/>
                    <a:pt x="3107" y="112"/>
                  </a:cubicBezTo>
                  <a:cubicBezTo>
                    <a:pt x="3109" y="111"/>
                    <a:pt x="3112" y="110"/>
                    <a:pt x="3112" y="106"/>
                  </a:cubicBezTo>
                  <a:cubicBezTo>
                    <a:pt x="3112" y="105"/>
                    <a:pt x="3111" y="103"/>
                    <a:pt x="3112" y="102"/>
                  </a:cubicBezTo>
                  <a:cubicBezTo>
                    <a:pt x="3112" y="98"/>
                    <a:pt x="3115" y="97"/>
                    <a:pt x="3118" y="95"/>
                  </a:cubicBezTo>
                  <a:cubicBezTo>
                    <a:pt x="3130" y="90"/>
                    <a:pt x="3144" y="86"/>
                    <a:pt x="3157" y="86"/>
                  </a:cubicBezTo>
                  <a:cubicBezTo>
                    <a:pt x="3157" y="86"/>
                    <a:pt x="3157" y="86"/>
                    <a:pt x="3157" y="86"/>
                  </a:cubicBezTo>
                  <a:cubicBezTo>
                    <a:pt x="3158" y="86"/>
                    <a:pt x="3159" y="86"/>
                    <a:pt x="3159" y="86"/>
                  </a:cubicBezTo>
                  <a:cubicBezTo>
                    <a:pt x="3160" y="86"/>
                    <a:pt x="3161" y="86"/>
                    <a:pt x="3161" y="86"/>
                  </a:cubicBezTo>
                  <a:cubicBezTo>
                    <a:pt x="3163" y="86"/>
                    <a:pt x="3164" y="86"/>
                    <a:pt x="3165" y="86"/>
                  </a:cubicBezTo>
                  <a:cubicBezTo>
                    <a:pt x="3166" y="85"/>
                    <a:pt x="3167" y="84"/>
                    <a:pt x="3168" y="84"/>
                  </a:cubicBezTo>
                  <a:cubicBezTo>
                    <a:pt x="3170" y="83"/>
                    <a:pt x="3171" y="83"/>
                    <a:pt x="3172" y="83"/>
                  </a:cubicBezTo>
                  <a:cubicBezTo>
                    <a:pt x="3174" y="83"/>
                    <a:pt x="3176" y="84"/>
                    <a:pt x="3178" y="85"/>
                  </a:cubicBezTo>
                  <a:cubicBezTo>
                    <a:pt x="3178" y="86"/>
                    <a:pt x="3181" y="87"/>
                    <a:pt x="3181" y="88"/>
                  </a:cubicBezTo>
                  <a:cubicBezTo>
                    <a:pt x="3182" y="89"/>
                    <a:pt x="3182" y="89"/>
                    <a:pt x="3182" y="90"/>
                  </a:cubicBezTo>
                  <a:cubicBezTo>
                    <a:pt x="3182" y="90"/>
                    <a:pt x="3182" y="91"/>
                    <a:pt x="3182" y="91"/>
                  </a:cubicBezTo>
                  <a:cubicBezTo>
                    <a:pt x="3182" y="92"/>
                    <a:pt x="3183" y="92"/>
                    <a:pt x="3184" y="92"/>
                  </a:cubicBezTo>
                  <a:cubicBezTo>
                    <a:pt x="3187" y="92"/>
                    <a:pt x="3191" y="88"/>
                    <a:pt x="3193" y="87"/>
                  </a:cubicBezTo>
                  <a:cubicBezTo>
                    <a:pt x="3195" y="85"/>
                    <a:pt x="3198" y="84"/>
                    <a:pt x="3200" y="83"/>
                  </a:cubicBezTo>
                  <a:cubicBezTo>
                    <a:pt x="3201" y="83"/>
                    <a:pt x="3202" y="82"/>
                    <a:pt x="3202" y="82"/>
                  </a:cubicBezTo>
                  <a:cubicBezTo>
                    <a:pt x="3202" y="82"/>
                    <a:pt x="3203" y="83"/>
                    <a:pt x="3203" y="84"/>
                  </a:cubicBezTo>
                  <a:cubicBezTo>
                    <a:pt x="3203" y="85"/>
                    <a:pt x="3204" y="88"/>
                    <a:pt x="3204" y="88"/>
                  </a:cubicBezTo>
                  <a:cubicBezTo>
                    <a:pt x="3203" y="89"/>
                    <a:pt x="3202" y="90"/>
                    <a:pt x="3201" y="91"/>
                  </a:cubicBezTo>
                  <a:cubicBezTo>
                    <a:pt x="3200" y="91"/>
                    <a:pt x="3201" y="92"/>
                    <a:pt x="3201" y="92"/>
                  </a:cubicBezTo>
                  <a:cubicBezTo>
                    <a:pt x="3200" y="93"/>
                    <a:pt x="3200" y="93"/>
                    <a:pt x="3200" y="93"/>
                  </a:cubicBezTo>
                  <a:cubicBezTo>
                    <a:pt x="3200" y="94"/>
                    <a:pt x="3200" y="96"/>
                    <a:pt x="3200" y="96"/>
                  </a:cubicBezTo>
                  <a:cubicBezTo>
                    <a:pt x="3199" y="98"/>
                    <a:pt x="3197" y="97"/>
                    <a:pt x="3196" y="98"/>
                  </a:cubicBezTo>
                  <a:cubicBezTo>
                    <a:pt x="3196" y="99"/>
                    <a:pt x="3195" y="100"/>
                    <a:pt x="3195" y="100"/>
                  </a:cubicBezTo>
                  <a:cubicBezTo>
                    <a:pt x="3199" y="102"/>
                    <a:pt x="3189" y="105"/>
                    <a:pt x="3194" y="106"/>
                  </a:cubicBezTo>
                  <a:cubicBezTo>
                    <a:pt x="3192" y="107"/>
                    <a:pt x="3190" y="106"/>
                    <a:pt x="3188" y="108"/>
                  </a:cubicBezTo>
                  <a:cubicBezTo>
                    <a:pt x="3192" y="109"/>
                    <a:pt x="3194" y="111"/>
                    <a:pt x="3192" y="115"/>
                  </a:cubicBezTo>
                  <a:cubicBezTo>
                    <a:pt x="3191" y="118"/>
                    <a:pt x="3187" y="120"/>
                    <a:pt x="3193" y="120"/>
                  </a:cubicBezTo>
                  <a:cubicBezTo>
                    <a:pt x="3193" y="120"/>
                    <a:pt x="3194" y="120"/>
                    <a:pt x="3194" y="120"/>
                  </a:cubicBezTo>
                  <a:cubicBezTo>
                    <a:pt x="3196" y="120"/>
                    <a:pt x="3198" y="120"/>
                    <a:pt x="3200" y="120"/>
                  </a:cubicBezTo>
                  <a:cubicBezTo>
                    <a:pt x="3200" y="120"/>
                    <a:pt x="3201" y="120"/>
                    <a:pt x="3201" y="120"/>
                  </a:cubicBezTo>
                  <a:cubicBezTo>
                    <a:pt x="3203" y="120"/>
                    <a:pt x="3202" y="120"/>
                    <a:pt x="3202" y="121"/>
                  </a:cubicBezTo>
                  <a:cubicBezTo>
                    <a:pt x="3202" y="122"/>
                    <a:pt x="3199" y="123"/>
                    <a:pt x="3199" y="124"/>
                  </a:cubicBezTo>
                  <a:cubicBezTo>
                    <a:pt x="3199" y="124"/>
                    <a:pt x="3200" y="125"/>
                    <a:pt x="3200" y="126"/>
                  </a:cubicBezTo>
                  <a:cubicBezTo>
                    <a:pt x="3200" y="127"/>
                    <a:pt x="3199" y="127"/>
                    <a:pt x="3199" y="128"/>
                  </a:cubicBezTo>
                  <a:cubicBezTo>
                    <a:pt x="3198" y="130"/>
                    <a:pt x="3198" y="130"/>
                    <a:pt x="3198" y="132"/>
                  </a:cubicBezTo>
                  <a:cubicBezTo>
                    <a:pt x="3201" y="132"/>
                    <a:pt x="3203" y="131"/>
                    <a:pt x="3206" y="130"/>
                  </a:cubicBezTo>
                  <a:cubicBezTo>
                    <a:pt x="3208" y="129"/>
                    <a:pt x="3212" y="128"/>
                    <a:pt x="3213" y="127"/>
                  </a:cubicBezTo>
                  <a:cubicBezTo>
                    <a:pt x="3215" y="126"/>
                    <a:pt x="3215" y="123"/>
                    <a:pt x="3217" y="121"/>
                  </a:cubicBezTo>
                  <a:cubicBezTo>
                    <a:pt x="3218" y="119"/>
                    <a:pt x="3220" y="118"/>
                    <a:pt x="3221" y="117"/>
                  </a:cubicBezTo>
                  <a:cubicBezTo>
                    <a:pt x="3229" y="112"/>
                    <a:pt x="3236" y="107"/>
                    <a:pt x="3243" y="102"/>
                  </a:cubicBezTo>
                  <a:cubicBezTo>
                    <a:pt x="3246" y="100"/>
                    <a:pt x="3254" y="96"/>
                    <a:pt x="3256" y="92"/>
                  </a:cubicBezTo>
                  <a:cubicBezTo>
                    <a:pt x="3256" y="92"/>
                    <a:pt x="3256" y="92"/>
                    <a:pt x="3256" y="92"/>
                  </a:cubicBezTo>
                  <a:cubicBezTo>
                    <a:pt x="3261" y="94"/>
                    <a:pt x="3261" y="94"/>
                    <a:pt x="3261" y="94"/>
                  </a:cubicBezTo>
                  <a:cubicBezTo>
                    <a:pt x="3263" y="94"/>
                    <a:pt x="3264" y="91"/>
                    <a:pt x="3265" y="91"/>
                  </a:cubicBezTo>
                  <a:cubicBezTo>
                    <a:pt x="3265" y="91"/>
                    <a:pt x="3266" y="91"/>
                    <a:pt x="3266" y="91"/>
                  </a:cubicBezTo>
                  <a:cubicBezTo>
                    <a:pt x="3267" y="92"/>
                    <a:pt x="3267" y="96"/>
                    <a:pt x="3268" y="97"/>
                  </a:cubicBezTo>
                  <a:cubicBezTo>
                    <a:pt x="3268" y="97"/>
                    <a:pt x="3269" y="97"/>
                    <a:pt x="3269" y="97"/>
                  </a:cubicBezTo>
                  <a:cubicBezTo>
                    <a:pt x="3271" y="97"/>
                    <a:pt x="3276" y="92"/>
                    <a:pt x="3276" y="90"/>
                  </a:cubicBezTo>
                  <a:cubicBezTo>
                    <a:pt x="3275" y="88"/>
                    <a:pt x="3269" y="90"/>
                    <a:pt x="3268" y="88"/>
                  </a:cubicBezTo>
                  <a:cubicBezTo>
                    <a:pt x="3267" y="87"/>
                    <a:pt x="3269" y="83"/>
                    <a:pt x="3270" y="82"/>
                  </a:cubicBezTo>
                  <a:cubicBezTo>
                    <a:pt x="3271" y="79"/>
                    <a:pt x="3271" y="77"/>
                    <a:pt x="3272" y="75"/>
                  </a:cubicBezTo>
                  <a:cubicBezTo>
                    <a:pt x="3273" y="73"/>
                    <a:pt x="3276" y="70"/>
                    <a:pt x="3276" y="67"/>
                  </a:cubicBezTo>
                  <a:cubicBezTo>
                    <a:pt x="3277" y="65"/>
                    <a:pt x="3275" y="64"/>
                    <a:pt x="3275" y="62"/>
                  </a:cubicBezTo>
                  <a:cubicBezTo>
                    <a:pt x="3275" y="57"/>
                    <a:pt x="3279" y="58"/>
                    <a:pt x="3282" y="57"/>
                  </a:cubicBezTo>
                  <a:cubicBezTo>
                    <a:pt x="3286" y="56"/>
                    <a:pt x="3290" y="55"/>
                    <a:pt x="3295" y="54"/>
                  </a:cubicBezTo>
                  <a:cubicBezTo>
                    <a:pt x="3298" y="54"/>
                    <a:pt x="3300" y="53"/>
                    <a:pt x="3303" y="53"/>
                  </a:cubicBezTo>
                  <a:cubicBezTo>
                    <a:pt x="3305" y="53"/>
                    <a:pt x="3307" y="53"/>
                    <a:pt x="3308" y="55"/>
                  </a:cubicBezTo>
                  <a:cubicBezTo>
                    <a:pt x="3310" y="56"/>
                    <a:pt x="3310" y="57"/>
                    <a:pt x="3313" y="58"/>
                  </a:cubicBezTo>
                  <a:cubicBezTo>
                    <a:pt x="3314" y="59"/>
                    <a:pt x="3316" y="59"/>
                    <a:pt x="3318" y="60"/>
                  </a:cubicBezTo>
                  <a:cubicBezTo>
                    <a:pt x="3323" y="61"/>
                    <a:pt x="3328" y="60"/>
                    <a:pt x="3333" y="63"/>
                  </a:cubicBezTo>
                  <a:cubicBezTo>
                    <a:pt x="3333" y="63"/>
                    <a:pt x="3333" y="63"/>
                    <a:pt x="3332" y="63"/>
                  </a:cubicBezTo>
                  <a:cubicBezTo>
                    <a:pt x="3331" y="63"/>
                    <a:pt x="3329" y="62"/>
                    <a:pt x="3328" y="62"/>
                  </a:cubicBezTo>
                  <a:cubicBezTo>
                    <a:pt x="3326" y="62"/>
                    <a:pt x="3325" y="61"/>
                    <a:pt x="3323" y="61"/>
                  </a:cubicBezTo>
                  <a:cubicBezTo>
                    <a:pt x="3322" y="61"/>
                    <a:pt x="3321" y="62"/>
                    <a:pt x="3320" y="62"/>
                  </a:cubicBezTo>
                  <a:cubicBezTo>
                    <a:pt x="3321" y="64"/>
                    <a:pt x="3324" y="65"/>
                    <a:pt x="3325" y="67"/>
                  </a:cubicBezTo>
                  <a:cubicBezTo>
                    <a:pt x="3322" y="65"/>
                    <a:pt x="3321" y="64"/>
                    <a:pt x="3317" y="64"/>
                  </a:cubicBezTo>
                  <a:cubicBezTo>
                    <a:pt x="3315" y="63"/>
                    <a:pt x="3312" y="62"/>
                    <a:pt x="3309" y="62"/>
                  </a:cubicBezTo>
                  <a:cubicBezTo>
                    <a:pt x="3309" y="62"/>
                    <a:pt x="3309" y="62"/>
                    <a:pt x="3309" y="62"/>
                  </a:cubicBezTo>
                  <a:cubicBezTo>
                    <a:pt x="3306" y="62"/>
                    <a:pt x="3305" y="64"/>
                    <a:pt x="3302" y="66"/>
                  </a:cubicBezTo>
                  <a:cubicBezTo>
                    <a:pt x="3300" y="67"/>
                    <a:pt x="3297" y="67"/>
                    <a:pt x="3295" y="70"/>
                  </a:cubicBezTo>
                  <a:cubicBezTo>
                    <a:pt x="3295" y="72"/>
                    <a:pt x="3295" y="75"/>
                    <a:pt x="3295" y="76"/>
                  </a:cubicBezTo>
                  <a:cubicBezTo>
                    <a:pt x="3295" y="78"/>
                    <a:pt x="3295" y="80"/>
                    <a:pt x="3295" y="82"/>
                  </a:cubicBezTo>
                  <a:cubicBezTo>
                    <a:pt x="3294" y="85"/>
                    <a:pt x="3295" y="87"/>
                    <a:pt x="3294" y="89"/>
                  </a:cubicBezTo>
                  <a:cubicBezTo>
                    <a:pt x="3294" y="92"/>
                    <a:pt x="3291" y="91"/>
                    <a:pt x="3289" y="93"/>
                  </a:cubicBezTo>
                  <a:cubicBezTo>
                    <a:pt x="3288" y="95"/>
                    <a:pt x="3289" y="98"/>
                    <a:pt x="3290" y="99"/>
                  </a:cubicBezTo>
                  <a:cubicBezTo>
                    <a:pt x="3293" y="102"/>
                    <a:pt x="3293" y="103"/>
                    <a:pt x="3293" y="106"/>
                  </a:cubicBezTo>
                  <a:cubicBezTo>
                    <a:pt x="3291" y="110"/>
                    <a:pt x="3285" y="110"/>
                    <a:pt x="3283" y="114"/>
                  </a:cubicBezTo>
                  <a:cubicBezTo>
                    <a:pt x="3282" y="115"/>
                    <a:pt x="3285" y="122"/>
                    <a:pt x="3284" y="122"/>
                  </a:cubicBezTo>
                  <a:cubicBezTo>
                    <a:pt x="3278" y="125"/>
                    <a:pt x="3271" y="127"/>
                    <a:pt x="3265" y="130"/>
                  </a:cubicBezTo>
                  <a:cubicBezTo>
                    <a:pt x="3258" y="133"/>
                    <a:pt x="3250" y="135"/>
                    <a:pt x="3243" y="138"/>
                  </a:cubicBezTo>
                  <a:cubicBezTo>
                    <a:pt x="3241" y="139"/>
                    <a:pt x="3242" y="141"/>
                    <a:pt x="3241" y="143"/>
                  </a:cubicBezTo>
                  <a:cubicBezTo>
                    <a:pt x="3242" y="143"/>
                    <a:pt x="3242" y="143"/>
                    <a:pt x="3242" y="143"/>
                  </a:cubicBezTo>
                  <a:cubicBezTo>
                    <a:pt x="3235" y="151"/>
                    <a:pt x="3226" y="157"/>
                    <a:pt x="3218" y="164"/>
                  </a:cubicBezTo>
                  <a:cubicBezTo>
                    <a:pt x="3210" y="171"/>
                    <a:pt x="3199" y="178"/>
                    <a:pt x="3192" y="187"/>
                  </a:cubicBezTo>
                  <a:cubicBezTo>
                    <a:pt x="3188" y="193"/>
                    <a:pt x="3183" y="199"/>
                    <a:pt x="3179" y="206"/>
                  </a:cubicBezTo>
                  <a:cubicBezTo>
                    <a:pt x="3178" y="207"/>
                    <a:pt x="3177" y="210"/>
                    <a:pt x="3176" y="210"/>
                  </a:cubicBezTo>
                  <a:cubicBezTo>
                    <a:pt x="3176" y="210"/>
                    <a:pt x="3176" y="211"/>
                    <a:pt x="3175" y="211"/>
                  </a:cubicBezTo>
                  <a:cubicBezTo>
                    <a:pt x="3175" y="211"/>
                    <a:pt x="3175" y="210"/>
                    <a:pt x="3175" y="210"/>
                  </a:cubicBezTo>
                  <a:cubicBezTo>
                    <a:pt x="3175" y="210"/>
                    <a:pt x="3174" y="210"/>
                    <a:pt x="3174" y="210"/>
                  </a:cubicBezTo>
                  <a:cubicBezTo>
                    <a:pt x="3173" y="210"/>
                    <a:pt x="3173" y="210"/>
                    <a:pt x="3172" y="211"/>
                  </a:cubicBezTo>
                  <a:cubicBezTo>
                    <a:pt x="3166" y="216"/>
                    <a:pt x="3158" y="220"/>
                    <a:pt x="3151" y="226"/>
                  </a:cubicBezTo>
                  <a:cubicBezTo>
                    <a:pt x="3152" y="226"/>
                    <a:pt x="3153" y="227"/>
                    <a:pt x="3153" y="229"/>
                  </a:cubicBezTo>
                  <a:cubicBezTo>
                    <a:pt x="3152" y="227"/>
                    <a:pt x="3151" y="226"/>
                    <a:pt x="3150" y="226"/>
                  </a:cubicBezTo>
                  <a:cubicBezTo>
                    <a:pt x="3149" y="226"/>
                    <a:pt x="3148" y="227"/>
                    <a:pt x="3146" y="227"/>
                  </a:cubicBezTo>
                  <a:cubicBezTo>
                    <a:pt x="3145" y="227"/>
                    <a:pt x="3144" y="228"/>
                    <a:pt x="3143" y="228"/>
                  </a:cubicBezTo>
                  <a:cubicBezTo>
                    <a:pt x="3143" y="228"/>
                    <a:pt x="3143" y="228"/>
                    <a:pt x="3143" y="228"/>
                  </a:cubicBezTo>
                  <a:cubicBezTo>
                    <a:pt x="3141" y="228"/>
                    <a:pt x="3140" y="227"/>
                    <a:pt x="3138" y="227"/>
                  </a:cubicBezTo>
                  <a:cubicBezTo>
                    <a:pt x="3138" y="227"/>
                    <a:pt x="3138" y="227"/>
                    <a:pt x="3138" y="227"/>
                  </a:cubicBezTo>
                  <a:cubicBezTo>
                    <a:pt x="3135" y="227"/>
                    <a:pt x="3135" y="232"/>
                    <a:pt x="3133" y="233"/>
                  </a:cubicBezTo>
                  <a:cubicBezTo>
                    <a:pt x="3131" y="235"/>
                    <a:pt x="3126" y="234"/>
                    <a:pt x="3124" y="235"/>
                  </a:cubicBezTo>
                  <a:cubicBezTo>
                    <a:pt x="3121" y="235"/>
                    <a:pt x="3118" y="236"/>
                    <a:pt x="3115" y="236"/>
                  </a:cubicBezTo>
                  <a:cubicBezTo>
                    <a:pt x="3116" y="240"/>
                    <a:pt x="3118" y="244"/>
                    <a:pt x="3119" y="248"/>
                  </a:cubicBezTo>
                  <a:cubicBezTo>
                    <a:pt x="3120" y="249"/>
                    <a:pt x="3118" y="251"/>
                    <a:pt x="3117" y="252"/>
                  </a:cubicBezTo>
                  <a:cubicBezTo>
                    <a:pt x="3116" y="255"/>
                    <a:pt x="3115" y="258"/>
                    <a:pt x="3113" y="261"/>
                  </a:cubicBezTo>
                  <a:cubicBezTo>
                    <a:pt x="3112" y="260"/>
                    <a:pt x="3112" y="259"/>
                    <a:pt x="3111" y="259"/>
                  </a:cubicBezTo>
                  <a:cubicBezTo>
                    <a:pt x="3110" y="259"/>
                    <a:pt x="3108" y="263"/>
                    <a:pt x="3107" y="264"/>
                  </a:cubicBezTo>
                  <a:cubicBezTo>
                    <a:pt x="3106" y="265"/>
                    <a:pt x="3104" y="265"/>
                    <a:pt x="3103" y="266"/>
                  </a:cubicBezTo>
                  <a:cubicBezTo>
                    <a:pt x="3102" y="268"/>
                    <a:pt x="3100" y="269"/>
                    <a:pt x="3099" y="271"/>
                  </a:cubicBezTo>
                  <a:cubicBezTo>
                    <a:pt x="3094" y="275"/>
                    <a:pt x="3093" y="281"/>
                    <a:pt x="3091" y="287"/>
                  </a:cubicBezTo>
                  <a:cubicBezTo>
                    <a:pt x="3086" y="307"/>
                    <a:pt x="3085" y="328"/>
                    <a:pt x="3088" y="348"/>
                  </a:cubicBezTo>
                  <a:cubicBezTo>
                    <a:pt x="3091" y="360"/>
                    <a:pt x="3094" y="373"/>
                    <a:pt x="3096" y="385"/>
                  </a:cubicBezTo>
                  <a:cubicBezTo>
                    <a:pt x="3097" y="393"/>
                    <a:pt x="3097" y="403"/>
                    <a:pt x="3101" y="410"/>
                  </a:cubicBezTo>
                  <a:cubicBezTo>
                    <a:pt x="3102" y="412"/>
                    <a:pt x="3102" y="413"/>
                    <a:pt x="3104" y="414"/>
                  </a:cubicBezTo>
                  <a:cubicBezTo>
                    <a:pt x="3105" y="416"/>
                    <a:pt x="3106" y="415"/>
                    <a:pt x="3107" y="417"/>
                  </a:cubicBezTo>
                  <a:cubicBezTo>
                    <a:pt x="3107" y="417"/>
                    <a:pt x="3107" y="417"/>
                    <a:pt x="3106" y="417"/>
                  </a:cubicBezTo>
                  <a:cubicBezTo>
                    <a:pt x="3106" y="417"/>
                    <a:pt x="3105" y="417"/>
                    <a:pt x="3105" y="417"/>
                  </a:cubicBezTo>
                  <a:cubicBezTo>
                    <a:pt x="3106" y="425"/>
                    <a:pt x="3108" y="433"/>
                    <a:pt x="3108" y="442"/>
                  </a:cubicBezTo>
                  <a:cubicBezTo>
                    <a:pt x="3108" y="446"/>
                    <a:pt x="3108" y="452"/>
                    <a:pt x="3109" y="456"/>
                  </a:cubicBezTo>
                  <a:cubicBezTo>
                    <a:pt x="3110" y="458"/>
                    <a:pt x="3112" y="459"/>
                    <a:pt x="3113" y="461"/>
                  </a:cubicBezTo>
                  <a:cubicBezTo>
                    <a:pt x="3115" y="464"/>
                    <a:pt x="3113" y="466"/>
                    <a:pt x="3112" y="469"/>
                  </a:cubicBezTo>
                  <a:cubicBezTo>
                    <a:pt x="3118" y="464"/>
                    <a:pt x="3125" y="459"/>
                    <a:pt x="3131" y="454"/>
                  </a:cubicBezTo>
                  <a:cubicBezTo>
                    <a:pt x="3135" y="451"/>
                    <a:pt x="3139" y="446"/>
                    <a:pt x="3142" y="441"/>
                  </a:cubicBezTo>
                  <a:cubicBezTo>
                    <a:pt x="3148" y="435"/>
                    <a:pt x="3153" y="429"/>
                    <a:pt x="3159" y="423"/>
                  </a:cubicBezTo>
                  <a:cubicBezTo>
                    <a:pt x="3160" y="421"/>
                    <a:pt x="3158" y="418"/>
                    <a:pt x="3158" y="416"/>
                  </a:cubicBezTo>
                  <a:cubicBezTo>
                    <a:pt x="3158" y="415"/>
                    <a:pt x="3157" y="414"/>
                    <a:pt x="3157" y="413"/>
                  </a:cubicBezTo>
                  <a:cubicBezTo>
                    <a:pt x="3157" y="412"/>
                    <a:pt x="3156" y="412"/>
                    <a:pt x="3157" y="411"/>
                  </a:cubicBezTo>
                  <a:cubicBezTo>
                    <a:pt x="3157" y="410"/>
                    <a:pt x="3159" y="410"/>
                    <a:pt x="3160" y="409"/>
                  </a:cubicBezTo>
                  <a:cubicBezTo>
                    <a:pt x="3160" y="409"/>
                    <a:pt x="3160" y="407"/>
                    <a:pt x="3160" y="405"/>
                  </a:cubicBezTo>
                  <a:cubicBezTo>
                    <a:pt x="3157" y="405"/>
                    <a:pt x="3155" y="402"/>
                    <a:pt x="3155" y="399"/>
                  </a:cubicBezTo>
                  <a:cubicBezTo>
                    <a:pt x="3155" y="395"/>
                    <a:pt x="3157" y="392"/>
                    <a:pt x="3161" y="392"/>
                  </a:cubicBezTo>
                  <a:cubicBezTo>
                    <a:pt x="3165" y="392"/>
                    <a:pt x="3168" y="395"/>
                    <a:pt x="3168" y="399"/>
                  </a:cubicBezTo>
                  <a:cubicBezTo>
                    <a:pt x="3168" y="398"/>
                    <a:pt x="3168" y="398"/>
                    <a:pt x="3168" y="398"/>
                  </a:cubicBezTo>
                  <a:cubicBezTo>
                    <a:pt x="3171" y="396"/>
                    <a:pt x="3173" y="395"/>
                    <a:pt x="3176" y="394"/>
                  </a:cubicBezTo>
                  <a:cubicBezTo>
                    <a:pt x="3178" y="394"/>
                    <a:pt x="3180" y="392"/>
                    <a:pt x="3183" y="391"/>
                  </a:cubicBezTo>
                  <a:cubicBezTo>
                    <a:pt x="3185" y="391"/>
                    <a:pt x="3187" y="392"/>
                    <a:pt x="3189" y="390"/>
                  </a:cubicBezTo>
                  <a:cubicBezTo>
                    <a:pt x="3186" y="393"/>
                    <a:pt x="3194" y="396"/>
                    <a:pt x="3196" y="396"/>
                  </a:cubicBezTo>
                  <a:cubicBezTo>
                    <a:pt x="3196" y="394"/>
                    <a:pt x="3195" y="393"/>
                    <a:pt x="3195" y="391"/>
                  </a:cubicBezTo>
                  <a:cubicBezTo>
                    <a:pt x="3194" y="392"/>
                    <a:pt x="3194" y="392"/>
                    <a:pt x="3193" y="392"/>
                  </a:cubicBezTo>
                  <a:cubicBezTo>
                    <a:pt x="3193" y="392"/>
                    <a:pt x="3194" y="390"/>
                    <a:pt x="3193" y="390"/>
                  </a:cubicBezTo>
                  <a:cubicBezTo>
                    <a:pt x="3193" y="389"/>
                    <a:pt x="3194" y="389"/>
                    <a:pt x="3194" y="388"/>
                  </a:cubicBezTo>
                  <a:cubicBezTo>
                    <a:pt x="3192" y="388"/>
                    <a:pt x="3192" y="388"/>
                    <a:pt x="3192" y="388"/>
                  </a:cubicBezTo>
                  <a:cubicBezTo>
                    <a:pt x="3192" y="386"/>
                    <a:pt x="3190" y="384"/>
                    <a:pt x="3190" y="382"/>
                  </a:cubicBezTo>
                  <a:cubicBezTo>
                    <a:pt x="3191" y="382"/>
                    <a:pt x="3192" y="383"/>
                    <a:pt x="3193" y="383"/>
                  </a:cubicBezTo>
                  <a:cubicBezTo>
                    <a:pt x="3194" y="383"/>
                    <a:pt x="3194" y="382"/>
                    <a:pt x="3193" y="379"/>
                  </a:cubicBezTo>
                  <a:cubicBezTo>
                    <a:pt x="3193" y="379"/>
                    <a:pt x="3191" y="379"/>
                    <a:pt x="3191" y="378"/>
                  </a:cubicBezTo>
                  <a:cubicBezTo>
                    <a:pt x="3191" y="378"/>
                    <a:pt x="3190" y="375"/>
                    <a:pt x="3191" y="374"/>
                  </a:cubicBezTo>
                  <a:cubicBezTo>
                    <a:pt x="3191" y="370"/>
                    <a:pt x="3193" y="364"/>
                    <a:pt x="3195" y="360"/>
                  </a:cubicBezTo>
                  <a:cubicBezTo>
                    <a:pt x="3197" y="358"/>
                    <a:pt x="3202" y="356"/>
                    <a:pt x="3204" y="354"/>
                  </a:cubicBezTo>
                  <a:cubicBezTo>
                    <a:pt x="3208" y="350"/>
                    <a:pt x="3213" y="347"/>
                    <a:pt x="3219" y="346"/>
                  </a:cubicBezTo>
                  <a:cubicBezTo>
                    <a:pt x="3220" y="346"/>
                    <a:pt x="3221" y="346"/>
                    <a:pt x="3221" y="346"/>
                  </a:cubicBezTo>
                  <a:cubicBezTo>
                    <a:pt x="3222" y="346"/>
                    <a:pt x="3222" y="346"/>
                    <a:pt x="3222" y="346"/>
                  </a:cubicBezTo>
                  <a:cubicBezTo>
                    <a:pt x="3224" y="346"/>
                    <a:pt x="3223" y="347"/>
                    <a:pt x="3224" y="348"/>
                  </a:cubicBezTo>
                  <a:cubicBezTo>
                    <a:pt x="3226" y="349"/>
                    <a:pt x="3227" y="349"/>
                    <a:pt x="3228" y="349"/>
                  </a:cubicBezTo>
                  <a:cubicBezTo>
                    <a:pt x="3229" y="349"/>
                    <a:pt x="3230" y="349"/>
                    <a:pt x="3231" y="348"/>
                  </a:cubicBezTo>
                  <a:cubicBezTo>
                    <a:pt x="3236" y="347"/>
                    <a:pt x="3241" y="344"/>
                    <a:pt x="3245" y="341"/>
                  </a:cubicBezTo>
                  <a:cubicBezTo>
                    <a:pt x="3249" y="338"/>
                    <a:pt x="3247" y="337"/>
                    <a:pt x="3245" y="334"/>
                  </a:cubicBezTo>
                  <a:cubicBezTo>
                    <a:pt x="3244" y="333"/>
                    <a:pt x="3243" y="331"/>
                    <a:pt x="3241" y="330"/>
                  </a:cubicBezTo>
                  <a:cubicBezTo>
                    <a:pt x="3237" y="326"/>
                    <a:pt x="3238" y="316"/>
                    <a:pt x="3238" y="311"/>
                  </a:cubicBezTo>
                  <a:cubicBezTo>
                    <a:pt x="3238" y="308"/>
                    <a:pt x="3241" y="303"/>
                    <a:pt x="3242" y="300"/>
                  </a:cubicBezTo>
                  <a:cubicBezTo>
                    <a:pt x="3244" y="297"/>
                    <a:pt x="3245" y="294"/>
                    <a:pt x="3249" y="292"/>
                  </a:cubicBezTo>
                  <a:cubicBezTo>
                    <a:pt x="3251" y="291"/>
                    <a:pt x="3258" y="290"/>
                    <a:pt x="3257" y="287"/>
                  </a:cubicBezTo>
                  <a:cubicBezTo>
                    <a:pt x="3257" y="284"/>
                    <a:pt x="3252" y="285"/>
                    <a:pt x="3257" y="282"/>
                  </a:cubicBezTo>
                  <a:cubicBezTo>
                    <a:pt x="3260" y="281"/>
                    <a:pt x="3260" y="281"/>
                    <a:pt x="3263" y="281"/>
                  </a:cubicBezTo>
                  <a:cubicBezTo>
                    <a:pt x="3265" y="281"/>
                    <a:pt x="3265" y="280"/>
                    <a:pt x="3266" y="279"/>
                  </a:cubicBezTo>
                  <a:cubicBezTo>
                    <a:pt x="3267" y="279"/>
                    <a:pt x="3268" y="279"/>
                    <a:pt x="3268" y="279"/>
                  </a:cubicBezTo>
                  <a:cubicBezTo>
                    <a:pt x="3269" y="279"/>
                    <a:pt x="3269" y="279"/>
                    <a:pt x="3270" y="280"/>
                  </a:cubicBezTo>
                  <a:cubicBezTo>
                    <a:pt x="3270" y="281"/>
                    <a:pt x="3267" y="283"/>
                    <a:pt x="3266" y="284"/>
                  </a:cubicBezTo>
                  <a:cubicBezTo>
                    <a:pt x="3263" y="286"/>
                    <a:pt x="3260" y="286"/>
                    <a:pt x="3257" y="289"/>
                  </a:cubicBezTo>
                  <a:cubicBezTo>
                    <a:pt x="3260" y="290"/>
                    <a:pt x="3261" y="293"/>
                    <a:pt x="3263" y="294"/>
                  </a:cubicBezTo>
                  <a:cubicBezTo>
                    <a:pt x="3264" y="295"/>
                    <a:pt x="3265" y="296"/>
                    <a:pt x="3266" y="296"/>
                  </a:cubicBezTo>
                  <a:cubicBezTo>
                    <a:pt x="3269" y="296"/>
                    <a:pt x="3272" y="293"/>
                    <a:pt x="3275" y="292"/>
                  </a:cubicBezTo>
                  <a:cubicBezTo>
                    <a:pt x="3278" y="290"/>
                    <a:pt x="3277" y="288"/>
                    <a:pt x="3276" y="284"/>
                  </a:cubicBezTo>
                  <a:cubicBezTo>
                    <a:pt x="3275" y="280"/>
                    <a:pt x="3275" y="276"/>
                    <a:pt x="3274" y="273"/>
                  </a:cubicBezTo>
                  <a:cubicBezTo>
                    <a:pt x="3273" y="271"/>
                    <a:pt x="3267" y="272"/>
                    <a:pt x="3264" y="270"/>
                  </a:cubicBezTo>
                  <a:cubicBezTo>
                    <a:pt x="3262" y="268"/>
                    <a:pt x="3263" y="267"/>
                    <a:pt x="3263" y="264"/>
                  </a:cubicBezTo>
                  <a:cubicBezTo>
                    <a:pt x="3264" y="260"/>
                    <a:pt x="3263" y="257"/>
                    <a:pt x="3263" y="253"/>
                  </a:cubicBezTo>
                  <a:cubicBezTo>
                    <a:pt x="3262" y="246"/>
                    <a:pt x="3272" y="243"/>
                    <a:pt x="3274" y="236"/>
                  </a:cubicBezTo>
                  <a:cubicBezTo>
                    <a:pt x="3275" y="231"/>
                    <a:pt x="3271" y="233"/>
                    <a:pt x="3268" y="232"/>
                  </a:cubicBezTo>
                  <a:cubicBezTo>
                    <a:pt x="3265" y="231"/>
                    <a:pt x="3263" y="228"/>
                    <a:pt x="3260" y="228"/>
                  </a:cubicBezTo>
                  <a:cubicBezTo>
                    <a:pt x="3259" y="228"/>
                    <a:pt x="3258" y="228"/>
                    <a:pt x="3258" y="229"/>
                  </a:cubicBezTo>
                  <a:cubicBezTo>
                    <a:pt x="3253" y="231"/>
                    <a:pt x="3257" y="236"/>
                    <a:pt x="3252" y="238"/>
                  </a:cubicBezTo>
                  <a:cubicBezTo>
                    <a:pt x="3254" y="234"/>
                    <a:pt x="3253" y="234"/>
                    <a:pt x="3249" y="232"/>
                  </a:cubicBezTo>
                  <a:cubicBezTo>
                    <a:pt x="3247" y="230"/>
                    <a:pt x="3242" y="229"/>
                    <a:pt x="3242" y="225"/>
                  </a:cubicBezTo>
                  <a:cubicBezTo>
                    <a:pt x="3242" y="221"/>
                    <a:pt x="3245" y="214"/>
                    <a:pt x="3247" y="211"/>
                  </a:cubicBezTo>
                  <a:cubicBezTo>
                    <a:pt x="3248" y="209"/>
                    <a:pt x="3251" y="206"/>
                    <a:pt x="3253" y="203"/>
                  </a:cubicBezTo>
                  <a:cubicBezTo>
                    <a:pt x="3255" y="202"/>
                    <a:pt x="3256" y="201"/>
                    <a:pt x="3258" y="200"/>
                  </a:cubicBezTo>
                  <a:cubicBezTo>
                    <a:pt x="3259" y="199"/>
                    <a:pt x="3265" y="196"/>
                    <a:pt x="3261" y="196"/>
                  </a:cubicBezTo>
                  <a:cubicBezTo>
                    <a:pt x="3263" y="194"/>
                    <a:pt x="3268" y="193"/>
                    <a:pt x="3269" y="190"/>
                  </a:cubicBezTo>
                  <a:cubicBezTo>
                    <a:pt x="3267" y="190"/>
                    <a:pt x="3266" y="187"/>
                    <a:pt x="3267" y="186"/>
                  </a:cubicBezTo>
                  <a:cubicBezTo>
                    <a:pt x="3267" y="185"/>
                    <a:pt x="3267" y="185"/>
                    <a:pt x="3268" y="185"/>
                  </a:cubicBezTo>
                  <a:cubicBezTo>
                    <a:pt x="3269" y="185"/>
                    <a:pt x="3269" y="186"/>
                    <a:pt x="3270" y="187"/>
                  </a:cubicBezTo>
                  <a:cubicBezTo>
                    <a:pt x="3271" y="187"/>
                    <a:pt x="3272" y="187"/>
                    <a:pt x="3273" y="187"/>
                  </a:cubicBezTo>
                  <a:cubicBezTo>
                    <a:pt x="3273" y="187"/>
                    <a:pt x="3274" y="187"/>
                    <a:pt x="3272" y="185"/>
                  </a:cubicBezTo>
                  <a:cubicBezTo>
                    <a:pt x="3270" y="182"/>
                    <a:pt x="3270" y="182"/>
                    <a:pt x="3273" y="180"/>
                  </a:cubicBezTo>
                  <a:cubicBezTo>
                    <a:pt x="3276" y="178"/>
                    <a:pt x="3276" y="178"/>
                    <a:pt x="3275" y="175"/>
                  </a:cubicBezTo>
                  <a:cubicBezTo>
                    <a:pt x="3275" y="174"/>
                    <a:pt x="3273" y="172"/>
                    <a:pt x="3273" y="171"/>
                  </a:cubicBezTo>
                  <a:cubicBezTo>
                    <a:pt x="3273" y="169"/>
                    <a:pt x="3275" y="165"/>
                    <a:pt x="3276" y="164"/>
                  </a:cubicBezTo>
                  <a:cubicBezTo>
                    <a:pt x="3277" y="162"/>
                    <a:pt x="3279" y="159"/>
                    <a:pt x="3281" y="158"/>
                  </a:cubicBezTo>
                  <a:cubicBezTo>
                    <a:pt x="3283" y="157"/>
                    <a:pt x="3285" y="158"/>
                    <a:pt x="3287" y="155"/>
                  </a:cubicBezTo>
                  <a:cubicBezTo>
                    <a:pt x="3287" y="155"/>
                    <a:pt x="3287" y="155"/>
                    <a:pt x="3286" y="155"/>
                  </a:cubicBezTo>
                  <a:cubicBezTo>
                    <a:pt x="3285" y="155"/>
                    <a:pt x="3284" y="154"/>
                    <a:pt x="3284" y="153"/>
                  </a:cubicBezTo>
                  <a:cubicBezTo>
                    <a:pt x="3285" y="153"/>
                    <a:pt x="3286" y="153"/>
                    <a:pt x="3287" y="153"/>
                  </a:cubicBezTo>
                  <a:cubicBezTo>
                    <a:pt x="3289" y="153"/>
                    <a:pt x="3290" y="153"/>
                    <a:pt x="3293" y="153"/>
                  </a:cubicBezTo>
                  <a:cubicBezTo>
                    <a:pt x="3294" y="154"/>
                    <a:pt x="3297" y="154"/>
                    <a:pt x="3297" y="156"/>
                  </a:cubicBezTo>
                  <a:cubicBezTo>
                    <a:pt x="3296" y="157"/>
                    <a:pt x="3293" y="160"/>
                    <a:pt x="3295" y="160"/>
                  </a:cubicBezTo>
                  <a:cubicBezTo>
                    <a:pt x="3296" y="160"/>
                    <a:pt x="3296" y="160"/>
                    <a:pt x="3297" y="159"/>
                  </a:cubicBezTo>
                  <a:cubicBezTo>
                    <a:pt x="3294" y="156"/>
                    <a:pt x="3299" y="155"/>
                    <a:pt x="3302" y="153"/>
                  </a:cubicBezTo>
                  <a:cubicBezTo>
                    <a:pt x="3304" y="153"/>
                    <a:pt x="3305" y="152"/>
                    <a:pt x="3306" y="152"/>
                  </a:cubicBezTo>
                  <a:cubicBezTo>
                    <a:pt x="3307" y="152"/>
                    <a:pt x="3309" y="153"/>
                    <a:pt x="3310" y="155"/>
                  </a:cubicBezTo>
                  <a:cubicBezTo>
                    <a:pt x="3312" y="158"/>
                    <a:pt x="3313" y="162"/>
                    <a:pt x="3315" y="162"/>
                  </a:cubicBezTo>
                  <a:cubicBezTo>
                    <a:pt x="3316" y="162"/>
                    <a:pt x="3316" y="161"/>
                    <a:pt x="3318" y="160"/>
                  </a:cubicBezTo>
                  <a:cubicBezTo>
                    <a:pt x="3319" y="159"/>
                    <a:pt x="3321" y="157"/>
                    <a:pt x="3321" y="156"/>
                  </a:cubicBezTo>
                  <a:cubicBezTo>
                    <a:pt x="3322" y="155"/>
                    <a:pt x="3322" y="155"/>
                    <a:pt x="3322" y="154"/>
                  </a:cubicBezTo>
                  <a:cubicBezTo>
                    <a:pt x="3322" y="153"/>
                    <a:pt x="3320" y="153"/>
                    <a:pt x="3322" y="151"/>
                  </a:cubicBezTo>
                  <a:cubicBezTo>
                    <a:pt x="3325" y="150"/>
                    <a:pt x="3328" y="148"/>
                    <a:pt x="3331" y="147"/>
                  </a:cubicBezTo>
                  <a:cubicBezTo>
                    <a:pt x="3338" y="143"/>
                    <a:pt x="3344" y="140"/>
                    <a:pt x="3351" y="136"/>
                  </a:cubicBezTo>
                  <a:cubicBezTo>
                    <a:pt x="3351" y="137"/>
                    <a:pt x="3352" y="140"/>
                    <a:pt x="3349" y="140"/>
                  </a:cubicBezTo>
                  <a:cubicBezTo>
                    <a:pt x="3349" y="140"/>
                    <a:pt x="3348" y="140"/>
                    <a:pt x="3348" y="140"/>
                  </a:cubicBezTo>
                  <a:cubicBezTo>
                    <a:pt x="3349" y="142"/>
                    <a:pt x="3349" y="144"/>
                    <a:pt x="3349" y="146"/>
                  </a:cubicBezTo>
                  <a:cubicBezTo>
                    <a:pt x="3349" y="148"/>
                    <a:pt x="3348" y="148"/>
                    <a:pt x="3346" y="150"/>
                  </a:cubicBezTo>
                  <a:cubicBezTo>
                    <a:pt x="3345" y="153"/>
                    <a:pt x="3344" y="161"/>
                    <a:pt x="3348" y="161"/>
                  </a:cubicBezTo>
                  <a:cubicBezTo>
                    <a:pt x="3348" y="161"/>
                    <a:pt x="3349" y="161"/>
                    <a:pt x="3349" y="160"/>
                  </a:cubicBezTo>
                  <a:cubicBezTo>
                    <a:pt x="3352" y="160"/>
                    <a:pt x="3355" y="155"/>
                    <a:pt x="3357" y="153"/>
                  </a:cubicBezTo>
                  <a:cubicBezTo>
                    <a:pt x="3359" y="151"/>
                    <a:pt x="3365" y="145"/>
                    <a:pt x="3365" y="144"/>
                  </a:cubicBezTo>
                  <a:cubicBezTo>
                    <a:pt x="3369" y="142"/>
                    <a:pt x="3373" y="141"/>
                    <a:pt x="3377" y="139"/>
                  </a:cubicBezTo>
                  <a:cubicBezTo>
                    <a:pt x="3383" y="136"/>
                    <a:pt x="3386" y="134"/>
                    <a:pt x="3392" y="134"/>
                  </a:cubicBezTo>
                  <a:cubicBezTo>
                    <a:pt x="3401" y="133"/>
                    <a:pt x="3410" y="132"/>
                    <a:pt x="3419" y="132"/>
                  </a:cubicBezTo>
                  <a:cubicBezTo>
                    <a:pt x="3419" y="132"/>
                    <a:pt x="3419" y="132"/>
                    <a:pt x="3419" y="132"/>
                  </a:cubicBezTo>
                  <a:cubicBezTo>
                    <a:pt x="3422" y="132"/>
                    <a:pt x="3427" y="134"/>
                    <a:pt x="3422" y="134"/>
                  </a:cubicBezTo>
                  <a:cubicBezTo>
                    <a:pt x="3425" y="135"/>
                    <a:pt x="3431" y="137"/>
                    <a:pt x="3433" y="139"/>
                  </a:cubicBezTo>
                  <a:cubicBezTo>
                    <a:pt x="3434" y="140"/>
                    <a:pt x="3433" y="142"/>
                    <a:pt x="3434" y="144"/>
                  </a:cubicBezTo>
                  <a:cubicBezTo>
                    <a:pt x="3436" y="145"/>
                    <a:pt x="3438" y="145"/>
                    <a:pt x="3440" y="146"/>
                  </a:cubicBezTo>
                  <a:cubicBezTo>
                    <a:pt x="3436" y="146"/>
                    <a:pt x="3437" y="149"/>
                    <a:pt x="3439" y="151"/>
                  </a:cubicBezTo>
                  <a:cubicBezTo>
                    <a:pt x="3441" y="153"/>
                    <a:pt x="3443" y="154"/>
                    <a:pt x="3446" y="156"/>
                  </a:cubicBezTo>
                  <a:cubicBezTo>
                    <a:pt x="3446" y="157"/>
                    <a:pt x="3447" y="158"/>
                    <a:pt x="3448" y="158"/>
                  </a:cubicBezTo>
                  <a:cubicBezTo>
                    <a:pt x="3451" y="158"/>
                    <a:pt x="3452" y="150"/>
                    <a:pt x="3452" y="148"/>
                  </a:cubicBezTo>
                  <a:cubicBezTo>
                    <a:pt x="3453" y="146"/>
                    <a:pt x="3453" y="144"/>
                    <a:pt x="3456" y="143"/>
                  </a:cubicBezTo>
                  <a:cubicBezTo>
                    <a:pt x="3458" y="143"/>
                    <a:pt x="3456" y="142"/>
                    <a:pt x="3456" y="141"/>
                  </a:cubicBezTo>
                  <a:cubicBezTo>
                    <a:pt x="3456" y="141"/>
                    <a:pt x="3456" y="141"/>
                    <a:pt x="3456" y="141"/>
                  </a:cubicBezTo>
                  <a:cubicBezTo>
                    <a:pt x="3456" y="141"/>
                    <a:pt x="3456" y="141"/>
                    <a:pt x="3456" y="140"/>
                  </a:cubicBezTo>
                  <a:cubicBezTo>
                    <a:pt x="3456" y="139"/>
                    <a:pt x="3457" y="140"/>
                    <a:pt x="3458" y="139"/>
                  </a:cubicBezTo>
                  <a:cubicBezTo>
                    <a:pt x="3458" y="138"/>
                    <a:pt x="3459" y="139"/>
                    <a:pt x="3460" y="138"/>
                  </a:cubicBezTo>
                  <a:cubicBezTo>
                    <a:pt x="3460" y="138"/>
                    <a:pt x="3460" y="137"/>
                    <a:pt x="3460" y="137"/>
                  </a:cubicBezTo>
                  <a:cubicBezTo>
                    <a:pt x="3461" y="136"/>
                    <a:pt x="3463" y="136"/>
                    <a:pt x="3464" y="135"/>
                  </a:cubicBezTo>
                  <a:cubicBezTo>
                    <a:pt x="3467" y="135"/>
                    <a:pt x="3471" y="134"/>
                    <a:pt x="3473" y="132"/>
                  </a:cubicBezTo>
                  <a:cubicBezTo>
                    <a:pt x="3474" y="131"/>
                    <a:pt x="3474" y="130"/>
                    <a:pt x="3475" y="128"/>
                  </a:cubicBezTo>
                  <a:cubicBezTo>
                    <a:pt x="3477" y="127"/>
                    <a:pt x="3482" y="126"/>
                    <a:pt x="3485" y="125"/>
                  </a:cubicBezTo>
                  <a:cubicBezTo>
                    <a:pt x="3487" y="124"/>
                    <a:pt x="3495" y="121"/>
                    <a:pt x="3495" y="118"/>
                  </a:cubicBezTo>
                  <a:cubicBezTo>
                    <a:pt x="3494" y="116"/>
                    <a:pt x="3492" y="115"/>
                    <a:pt x="3491" y="114"/>
                  </a:cubicBezTo>
                  <a:cubicBezTo>
                    <a:pt x="3492" y="115"/>
                    <a:pt x="3495" y="116"/>
                    <a:pt x="3497" y="116"/>
                  </a:cubicBezTo>
                  <a:cubicBezTo>
                    <a:pt x="3499" y="116"/>
                    <a:pt x="3501" y="115"/>
                    <a:pt x="3502" y="115"/>
                  </a:cubicBezTo>
                  <a:cubicBezTo>
                    <a:pt x="3502" y="115"/>
                    <a:pt x="3502" y="115"/>
                    <a:pt x="3501" y="115"/>
                  </a:cubicBezTo>
                  <a:cubicBezTo>
                    <a:pt x="3500" y="115"/>
                    <a:pt x="3499" y="114"/>
                    <a:pt x="3498" y="113"/>
                  </a:cubicBezTo>
                  <a:cubicBezTo>
                    <a:pt x="3501" y="113"/>
                    <a:pt x="3500" y="111"/>
                    <a:pt x="3499" y="109"/>
                  </a:cubicBezTo>
                  <a:cubicBezTo>
                    <a:pt x="3500" y="109"/>
                    <a:pt x="3500" y="109"/>
                    <a:pt x="3501" y="109"/>
                  </a:cubicBezTo>
                  <a:cubicBezTo>
                    <a:pt x="3504" y="109"/>
                    <a:pt x="3509" y="108"/>
                    <a:pt x="3507" y="105"/>
                  </a:cubicBezTo>
                  <a:cubicBezTo>
                    <a:pt x="3508" y="105"/>
                    <a:pt x="3510" y="106"/>
                    <a:pt x="3512" y="106"/>
                  </a:cubicBezTo>
                  <a:cubicBezTo>
                    <a:pt x="3512" y="106"/>
                    <a:pt x="3513" y="106"/>
                    <a:pt x="3513" y="106"/>
                  </a:cubicBezTo>
                  <a:cubicBezTo>
                    <a:pt x="3513" y="103"/>
                    <a:pt x="3504" y="100"/>
                    <a:pt x="3512" y="100"/>
                  </a:cubicBezTo>
                  <a:cubicBezTo>
                    <a:pt x="3512" y="100"/>
                    <a:pt x="3513" y="101"/>
                    <a:pt x="3514" y="101"/>
                  </a:cubicBezTo>
                  <a:cubicBezTo>
                    <a:pt x="3514" y="101"/>
                    <a:pt x="3514" y="101"/>
                    <a:pt x="3514" y="101"/>
                  </a:cubicBezTo>
                  <a:cubicBezTo>
                    <a:pt x="3516" y="101"/>
                    <a:pt x="3518" y="100"/>
                    <a:pt x="3519" y="99"/>
                  </a:cubicBezTo>
                  <a:cubicBezTo>
                    <a:pt x="3521" y="99"/>
                    <a:pt x="3524" y="98"/>
                    <a:pt x="3526" y="97"/>
                  </a:cubicBezTo>
                  <a:cubicBezTo>
                    <a:pt x="3527" y="95"/>
                    <a:pt x="3526" y="95"/>
                    <a:pt x="3527" y="93"/>
                  </a:cubicBezTo>
                  <a:cubicBezTo>
                    <a:pt x="3527" y="93"/>
                    <a:pt x="3528" y="89"/>
                    <a:pt x="3529" y="89"/>
                  </a:cubicBezTo>
                  <a:cubicBezTo>
                    <a:pt x="3529" y="89"/>
                    <a:pt x="3529" y="89"/>
                    <a:pt x="3529" y="89"/>
                  </a:cubicBezTo>
                  <a:cubicBezTo>
                    <a:pt x="3530" y="89"/>
                    <a:pt x="3530" y="89"/>
                    <a:pt x="3530" y="90"/>
                  </a:cubicBezTo>
                  <a:cubicBezTo>
                    <a:pt x="3530" y="90"/>
                    <a:pt x="3531" y="90"/>
                    <a:pt x="3531" y="90"/>
                  </a:cubicBezTo>
                  <a:cubicBezTo>
                    <a:pt x="3531" y="90"/>
                    <a:pt x="3531" y="90"/>
                    <a:pt x="3531" y="90"/>
                  </a:cubicBezTo>
                  <a:cubicBezTo>
                    <a:pt x="3534" y="90"/>
                    <a:pt x="3537" y="87"/>
                    <a:pt x="3540" y="86"/>
                  </a:cubicBezTo>
                  <a:cubicBezTo>
                    <a:pt x="3541" y="86"/>
                    <a:pt x="3541" y="86"/>
                    <a:pt x="3542" y="86"/>
                  </a:cubicBezTo>
                  <a:cubicBezTo>
                    <a:pt x="3543" y="86"/>
                    <a:pt x="3544" y="87"/>
                    <a:pt x="3546" y="87"/>
                  </a:cubicBezTo>
                  <a:cubicBezTo>
                    <a:pt x="3546" y="87"/>
                    <a:pt x="3547" y="87"/>
                    <a:pt x="3547" y="87"/>
                  </a:cubicBezTo>
                  <a:cubicBezTo>
                    <a:pt x="3551" y="87"/>
                    <a:pt x="3554" y="86"/>
                    <a:pt x="3557" y="84"/>
                  </a:cubicBezTo>
                  <a:cubicBezTo>
                    <a:pt x="3556" y="83"/>
                    <a:pt x="3553" y="81"/>
                    <a:pt x="3555" y="80"/>
                  </a:cubicBezTo>
                  <a:cubicBezTo>
                    <a:pt x="3559" y="80"/>
                    <a:pt x="3562" y="80"/>
                    <a:pt x="3565" y="79"/>
                  </a:cubicBezTo>
                  <a:cubicBezTo>
                    <a:pt x="3571" y="78"/>
                    <a:pt x="3568" y="77"/>
                    <a:pt x="3570" y="74"/>
                  </a:cubicBezTo>
                  <a:cubicBezTo>
                    <a:pt x="3572" y="72"/>
                    <a:pt x="3576" y="71"/>
                    <a:pt x="3578" y="70"/>
                  </a:cubicBezTo>
                  <a:cubicBezTo>
                    <a:pt x="3587" y="67"/>
                    <a:pt x="3595" y="63"/>
                    <a:pt x="3603" y="60"/>
                  </a:cubicBezTo>
                  <a:cubicBezTo>
                    <a:pt x="3608" y="58"/>
                    <a:pt x="3614" y="59"/>
                    <a:pt x="3619" y="57"/>
                  </a:cubicBezTo>
                  <a:cubicBezTo>
                    <a:pt x="3618" y="57"/>
                    <a:pt x="3618" y="57"/>
                    <a:pt x="3617" y="57"/>
                  </a:cubicBezTo>
                  <a:cubicBezTo>
                    <a:pt x="3617" y="57"/>
                    <a:pt x="3617" y="57"/>
                    <a:pt x="3617" y="57"/>
                  </a:cubicBezTo>
                  <a:cubicBezTo>
                    <a:pt x="3615" y="57"/>
                    <a:pt x="3612" y="57"/>
                    <a:pt x="3612" y="55"/>
                  </a:cubicBezTo>
                  <a:cubicBezTo>
                    <a:pt x="3611" y="53"/>
                    <a:pt x="3613" y="53"/>
                    <a:pt x="3613" y="51"/>
                  </a:cubicBezTo>
                  <a:cubicBezTo>
                    <a:pt x="3614" y="50"/>
                    <a:pt x="3613" y="49"/>
                    <a:pt x="3613" y="47"/>
                  </a:cubicBezTo>
                  <a:cubicBezTo>
                    <a:pt x="3614" y="48"/>
                    <a:pt x="3616" y="49"/>
                    <a:pt x="3618" y="49"/>
                  </a:cubicBezTo>
                  <a:cubicBezTo>
                    <a:pt x="3618" y="49"/>
                    <a:pt x="3622" y="49"/>
                    <a:pt x="3623" y="49"/>
                  </a:cubicBezTo>
                  <a:cubicBezTo>
                    <a:pt x="3624" y="49"/>
                    <a:pt x="3625" y="49"/>
                    <a:pt x="3623" y="50"/>
                  </a:cubicBezTo>
                  <a:cubicBezTo>
                    <a:pt x="3620" y="51"/>
                    <a:pt x="3620" y="56"/>
                    <a:pt x="3621" y="58"/>
                  </a:cubicBezTo>
                  <a:cubicBezTo>
                    <a:pt x="3627" y="58"/>
                    <a:pt x="3632" y="58"/>
                    <a:pt x="3638" y="59"/>
                  </a:cubicBezTo>
                  <a:cubicBezTo>
                    <a:pt x="3643" y="60"/>
                    <a:pt x="3648" y="63"/>
                    <a:pt x="3653" y="64"/>
                  </a:cubicBezTo>
                  <a:cubicBezTo>
                    <a:pt x="3657" y="65"/>
                    <a:pt x="3660" y="67"/>
                    <a:pt x="3664" y="68"/>
                  </a:cubicBezTo>
                  <a:cubicBezTo>
                    <a:pt x="3664" y="68"/>
                    <a:pt x="3664" y="68"/>
                    <a:pt x="3664" y="68"/>
                  </a:cubicBezTo>
                  <a:cubicBezTo>
                    <a:pt x="3667" y="68"/>
                    <a:pt x="3666" y="63"/>
                    <a:pt x="3666" y="62"/>
                  </a:cubicBezTo>
                  <a:cubicBezTo>
                    <a:pt x="3669" y="58"/>
                    <a:pt x="3678" y="58"/>
                    <a:pt x="3677" y="52"/>
                  </a:cubicBezTo>
                  <a:cubicBezTo>
                    <a:pt x="3677" y="49"/>
                    <a:pt x="3675" y="47"/>
                    <a:pt x="3673" y="46"/>
                  </a:cubicBezTo>
                  <a:cubicBezTo>
                    <a:pt x="3668" y="44"/>
                    <a:pt x="3670" y="44"/>
                    <a:pt x="3672" y="39"/>
                  </a:cubicBezTo>
                  <a:cubicBezTo>
                    <a:pt x="3673" y="37"/>
                    <a:pt x="3672" y="35"/>
                    <a:pt x="3670" y="33"/>
                  </a:cubicBezTo>
                  <a:cubicBezTo>
                    <a:pt x="3666" y="31"/>
                    <a:pt x="3660" y="32"/>
                    <a:pt x="3659" y="26"/>
                  </a:cubicBezTo>
                  <a:cubicBezTo>
                    <a:pt x="3660" y="27"/>
                    <a:pt x="3661" y="28"/>
                    <a:pt x="3662" y="29"/>
                  </a:cubicBezTo>
                  <a:cubicBezTo>
                    <a:pt x="3660" y="26"/>
                    <a:pt x="3658" y="22"/>
                    <a:pt x="3656" y="19"/>
                  </a:cubicBezTo>
                  <a:cubicBezTo>
                    <a:pt x="3656" y="21"/>
                    <a:pt x="3660" y="26"/>
                    <a:pt x="3655" y="26"/>
                  </a:cubicBezTo>
                  <a:cubicBezTo>
                    <a:pt x="3655" y="26"/>
                    <a:pt x="3655" y="26"/>
                    <a:pt x="3655" y="26"/>
                  </a:cubicBezTo>
                  <a:cubicBezTo>
                    <a:pt x="3653" y="26"/>
                    <a:pt x="3657" y="21"/>
                    <a:pt x="3655" y="19"/>
                  </a:cubicBezTo>
                  <a:cubicBezTo>
                    <a:pt x="3654" y="19"/>
                    <a:pt x="3654" y="19"/>
                    <a:pt x="3653" y="19"/>
                  </a:cubicBezTo>
                  <a:cubicBezTo>
                    <a:pt x="3652" y="19"/>
                    <a:pt x="3651" y="19"/>
                    <a:pt x="3650" y="20"/>
                  </a:cubicBezTo>
                  <a:cubicBezTo>
                    <a:pt x="3649" y="20"/>
                    <a:pt x="3648" y="20"/>
                    <a:pt x="3647" y="20"/>
                  </a:cubicBezTo>
                  <a:cubicBezTo>
                    <a:pt x="3646" y="20"/>
                    <a:pt x="3646" y="20"/>
                    <a:pt x="3646" y="18"/>
                  </a:cubicBezTo>
                  <a:cubicBezTo>
                    <a:pt x="3646" y="17"/>
                    <a:pt x="3648" y="17"/>
                    <a:pt x="3649" y="17"/>
                  </a:cubicBezTo>
                  <a:cubicBezTo>
                    <a:pt x="3651" y="17"/>
                    <a:pt x="3654" y="18"/>
                    <a:pt x="3655" y="18"/>
                  </a:cubicBezTo>
                  <a:cubicBezTo>
                    <a:pt x="3655" y="17"/>
                    <a:pt x="3654" y="16"/>
                    <a:pt x="3654" y="16"/>
                  </a:cubicBezTo>
                  <a:cubicBezTo>
                    <a:pt x="3654" y="16"/>
                    <a:pt x="3656" y="16"/>
                    <a:pt x="3656" y="16"/>
                  </a:cubicBezTo>
                  <a:cubicBezTo>
                    <a:pt x="3656" y="14"/>
                    <a:pt x="3655" y="11"/>
                    <a:pt x="3655" y="8"/>
                  </a:cubicBezTo>
                  <a:cubicBezTo>
                    <a:pt x="3655" y="7"/>
                    <a:pt x="3655" y="6"/>
                    <a:pt x="3654" y="5"/>
                  </a:cubicBezTo>
                  <a:cubicBezTo>
                    <a:pt x="3653" y="4"/>
                    <a:pt x="3651" y="5"/>
                    <a:pt x="3651" y="3"/>
                  </a:cubicBezTo>
                  <a:cubicBezTo>
                    <a:pt x="3651" y="2"/>
                    <a:pt x="3651" y="1"/>
                    <a:pt x="36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561"/>
            <p:cNvSpPr>
              <a:spLocks noEditPoints="1"/>
            </p:cNvSpPr>
            <p:nvPr/>
          </p:nvSpPr>
          <p:spPr bwMode="auto">
            <a:xfrm>
              <a:off x="1589" y="1336410"/>
              <a:ext cx="768268" cy="796474"/>
            </a:xfrm>
            <a:custGeom>
              <a:gdLst>
                <a:gd name="T0" fmla="*/ 40 w 242"/>
                <a:gd name="T1" fmla="*/ 171 h 251"/>
                <a:gd name="T2" fmla="*/ 76 w 242"/>
                <a:gd name="T3" fmla="*/ 1 h 251"/>
                <a:gd name="T4" fmla="*/ 51 w 242"/>
                <a:gd name="T5" fmla="*/ 8 h 251"/>
                <a:gd name="T6" fmla="*/ 34 w 242"/>
                <a:gd name="T7" fmla="*/ 9 h 251"/>
                <a:gd name="T8" fmla="*/ 27 w 242"/>
                <a:gd name="T9" fmla="*/ 9 h 251"/>
                <a:gd name="T10" fmla="*/ 21 w 242"/>
                <a:gd name="T11" fmla="*/ 10 h 251"/>
                <a:gd name="T12" fmla="*/ 10 w 242"/>
                <a:gd name="T13" fmla="*/ 20 h 251"/>
                <a:gd name="T14" fmla="*/ 8 w 242"/>
                <a:gd name="T15" fmla="*/ 39 h 251"/>
                <a:gd name="T16" fmla="*/ 1 w 242"/>
                <a:gd name="T17" fmla="*/ 191 h 251"/>
                <a:gd name="T18" fmla="*/ 6 w 242"/>
                <a:gd name="T19" fmla="*/ 193 h 251"/>
                <a:gd name="T20" fmla="*/ 21 w 242"/>
                <a:gd name="T21" fmla="*/ 183 h 251"/>
                <a:gd name="T22" fmla="*/ 33 w 242"/>
                <a:gd name="T23" fmla="*/ 177 h 251"/>
                <a:gd name="T24" fmla="*/ 41 w 242"/>
                <a:gd name="T25" fmla="*/ 174 h 251"/>
                <a:gd name="T26" fmla="*/ 40 w 242"/>
                <a:gd name="T27" fmla="*/ 173 h 251"/>
                <a:gd name="T28" fmla="*/ 39 w 242"/>
                <a:gd name="T29" fmla="*/ 172 h 251"/>
                <a:gd name="T30" fmla="*/ 38 w 242"/>
                <a:gd name="T31" fmla="*/ 165 h 251"/>
                <a:gd name="T32" fmla="*/ 40 w 242"/>
                <a:gd name="T33" fmla="*/ 171 h 251"/>
                <a:gd name="T34" fmla="*/ 42 w 242"/>
                <a:gd name="T35" fmla="*/ 172 h 251"/>
                <a:gd name="T36" fmla="*/ 42 w 242"/>
                <a:gd name="T37" fmla="*/ 181 h 251"/>
                <a:gd name="T38" fmla="*/ 49 w 242"/>
                <a:gd name="T39" fmla="*/ 188 h 251"/>
                <a:gd name="T40" fmla="*/ 34 w 242"/>
                <a:gd name="T41" fmla="*/ 188 h 251"/>
                <a:gd name="T42" fmla="*/ 42 w 242"/>
                <a:gd name="T43" fmla="*/ 192 h 251"/>
                <a:gd name="T44" fmla="*/ 41 w 242"/>
                <a:gd name="T45" fmla="*/ 195 h 251"/>
                <a:gd name="T46" fmla="*/ 53 w 242"/>
                <a:gd name="T47" fmla="*/ 199 h 251"/>
                <a:gd name="T48" fmla="*/ 71 w 242"/>
                <a:gd name="T49" fmla="*/ 196 h 251"/>
                <a:gd name="T50" fmla="*/ 80 w 242"/>
                <a:gd name="T51" fmla="*/ 200 h 251"/>
                <a:gd name="T52" fmla="*/ 78 w 242"/>
                <a:gd name="T53" fmla="*/ 207 h 251"/>
                <a:gd name="T54" fmla="*/ 66 w 242"/>
                <a:gd name="T55" fmla="*/ 213 h 251"/>
                <a:gd name="T56" fmla="*/ 55 w 242"/>
                <a:gd name="T57" fmla="*/ 220 h 251"/>
                <a:gd name="T58" fmla="*/ 82 w 242"/>
                <a:gd name="T59" fmla="*/ 235 h 251"/>
                <a:gd name="T60" fmla="*/ 76 w 242"/>
                <a:gd name="T61" fmla="*/ 246 h 251"/>
                <a:gd name="T62" fmla="*/ 88 w 242"/>
                <a:gd name="T63" fmla="*/ 250 h 251"/>
                <a:gd name="T64" fmla="*/ 138 w 242"/>
                <a:gd name="T65" fmla="*/ 233 h 251"/>
                <a:gd name="T66" fmla="*/ 145 w 242"/>
                <a:gd name="T67" fmla="*/ 232 h 251"/>
                <a:gd name="T68" fmla="*/ 151 w 242"/>
                <a:gd name="T69" fmla="*/ 227 h 251"/>
                <a:gd name="T70" fmla="*/ 153 w 242"/>
                <a:gd name="T71" fmla="*/ 222 h 251"/>
                <a:gd name="T72" fmla="*/ 138 w 242"/>
                <a:gd name="T73" fmla="*/ 221 h 251"/>
                <a:gd name="T74" fmla="*/ 130 w 242"/>
                <a:gd name="T75" fmla="*/ 224 h 251"/>
                <a:gd name="T76" fmla="*/ 114 w 242"/>
                <a:gd name="T77" fmla="*/ 195 h 251"/>
                <a:gd name="T78" fmla="*/ 124 w 242"/>
                <a:gd name="T79" fmla="*/ 191 h 251"/>
                <a:gd name="T80" fmla="*/ 136 w 242"/>
                <a:gd name="T81" fmla="*/ 183 h 251"/>
                <a:gd name="T82" fmla="*/ 154 w 242"/>
                <a:gd name="T83" fmla="*/ 179 h 251"/>
                <a:gd name="T84" fmla="*/ 160 w 242"/>
                <a:gd name="T85" fmla="*/ 183 h 251"/>
                <a:gd name="T86" fmla="*/ 182 w 242"/>
                <a:gd name="T87" fmla="*/ 169 h 251"/>
                <a:gd name="T88" fmla="*/ 193 w 242"/>
                <a:gd name="T89" fmla="*/ 168 h 251"/>
                <a:gd name="T90" fmla="*/ 194 w 242"/>
                <a:gd name="T91" fmla="*/ 167 h 251"/>
                <a:gd name="T92" fmla="*/ 218 w 242"/>
                <a:gd name="T93" fmla="*/ 142 h 251"/>
                <a:gd name="T94" fmla="*/ 232 w 242"/>
                <a:gd name="T95" fmla="*/ 142 h 251"/>
                <a:gd name="T96" fmla="*/ 230 w 242"/>
                <a:gd name="T97" fmla="*/ 123 h 251"/>
                <a:gd name="T98" fmla="*/ 228 w 242"/>
                <a:gd name="T99" fmla="*/ 109 h 251"/>
                <a:gd name="T100" fmla="*/ 236 w 242"/>
                <a:gd name="T101" fmla="*/ 93 h 251"/>
                <a:gd name="T102" fmla="*/ 215 w 242"/>
                <a:gd name="T103" fmla="*/ 84 h 251"/>
                <a:gd name="T104" fmla="*/ 204 w 242"/>
                <a:gd name="T105" fmla="*/ 77 h 251"/>
                <a:gd name="T106" fmla="*/ 190 w 242"/>
                <a:gd name="T107" fmla="*/ 82 h 251"/>
                <a:gd name="T108" fmla="*/ 157 w 242"/>
                <a:gd name="T109" fmla="*/ 69 h 251"/>
                <a:gd name="T110" fmla="*/ 129 w 242"/>
                <a:gd name="T111" fmla="*/ 64 h 251"/>
                <a:gd name="T112" fmla="*/ 115 w 242"/>
                <a:gd name="T113" fmla="*/ 39 h 251"/>
                <a:gd name="T114" fmla="*/ 99 w 242"/>
                <a:gd name="T115" fmla="*/ 38 h 251"/>
                <a:gd name="T116" fmla="*/ 92 w 242"/>
                <a:gd name="T117" fmla="*/ 23 h 251"/>
                <a:gd name="T118" fmla="*/ 86 w 242"/>
                <a:gd name="T119" fmla="*/ 1 h 2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 h="251">
                  <a:moveTo>
                    <a:pt x="0" y="196"/>
                  </a:moveTo>
                  <a:cubicBezTo>
                    <a:pt x="0" y="205"/>
                    <a:pt x="0" y="205"/>
                    <a:pt x="0" y="205"/>
                  </a:cubicBezTo>
                  <a:cubicBezTo>
                    <a:pt x="2" y="203"/>
                    <a:pt x="3" y="202"/>
                    <a:pt x="3" y="201"/>
                  </a:cubicBezTo>
                  <a:cubicBezTo>
                    <a:pt x="2" y="200"/>
                    <a:pt x="1" y="198"/>
                    <a:pt x="0" y="196"/>
                  </a:cubicBezTo>
                  <a:moveTo>
                    <a:pt x="40" y="171"/>
                  </a:moveTo>
                  <a:cubicBezTo>
                    <a:pt x="40" y="171"/>
                    <a:pt x="40" y="171"/>
                    <a:pt x="40" y="171"/>
                  </a:cubicBezTo>
                  <a:cubicBezTo>
                    <a:pt x="40" y="171"/>
                    <a:pt x="40" y="171"/>
                    <a:pt x="40" y="171"/>
                  </a:cubicBezTo>
                  <a:cubicBezTo>
                    <a:pt x="40" y="171"/>
                    <a:pt x="40" y="171"/>
                    <a:pt x="40" y="171"/>
                  </a:cubicBezTo>
                  <a:moveTo>
                    <a:pt x="83" y="0"/>
                  </a:moveTo>
                  <a:cubicBezTo>
                    <a:pt x="82" y="0"/>
                    <a:pt x="80" y="1"/>
                    <a:pt x="76" y="1"/>
                  </a:cubicBezTo>
                  <a:cubicBezTo>
                    <a:pt x="72" y="3"/>
                    <a:pt x="68" y="3"/>
                    <a:pt x="65" y="3"/>
                  </a:cubicBezTo>
                  <a:cubicBezTo>
                    <a:pt x="63" y="3"/>
                    <a:pt x="61" y="3"/>
                    <a:pt x="59" y="2"/>
                  </a:cubicBezTo>
                  <a:cubicBezTo>
                    <a:pt x="58" y="2"/>
                    <a:pt x="58" y="2"/>
                    <a:pt x="58" y="2"/>
                  </a:cubicBezTo>
                  <a:cubicBezTo>
                    <a:pt x="55" y="2"/>
                    <a:pt x="53" y="5"/>
                    <a:pt x="51" y="8"/>
                  </a:cubicBezTo>
                  <a:cubicBezTo>
                    <a:pt x="51" y="8"/>
                    <a:pt x="51" y="8"/>
                    <a:pt x="51" y="8"/>
                  </a:cubicBezTo>
                  <a:cubicBezTo>
                    <a:pt x="49" y="11"/>
                    <a:pt x="47" y="11"/>
                    <a:pt x="44" y="11"/>
                  </a:cubicBezTo>
                  <a:cubicBezTo>
                    <a:pt x="41" y="11"/>
                    <a:pt x="38" y="11"/>
                    <a:pt x="36" y="10"/>
                  </a:cubicBezTo>
                  <a:cubicBezTo>
                    <a:pt x="35" y="9"/>
                    <a:pt x="35" y="9"/>
                    <a:pt x="35" y="9"/>
                  </a:cubicBezTo>
                  <a:cubicBezTo>
                    <a:pt x="35" y="9"/>
                    <a:pt x="35" y="9"/>
                    <a:pt x="35" y="9"/>
                  </a:cubicBezTo>
                  <a:cubicBezTo>
                    <a:pt x="34" y="9"/>
                    <a:pt x="34" y="9"/>
                    <a:pt x="34" y="9"/>
                  </a:cubicBezTo>
                  <a:cubicBezTo>
                    <a:pt x="33" y="9"/>
                    <a:pt x="33" y="9"/>
                    <a:pt x="33" y="9"/>
                  </a:cubicBezTo>
                  <a:cubicBezTo>
                    <a:pt x="33" y="9"/>
                    <a:pt x="32" y="9"/>
                    <a:pt x="31" y="9"/>
                  </a:cubicBezTo>
                  <a:cubicBezTo>
                    <a:pt x="31" y="9"/>
                    <a:pt x="30" y="9"/>
                    <a:pt x="29" y="9"/>
                  </a:cubicBezTo>
                  <a:cubicBezTo>
                    <a:pt x="29" y="9"/>
                    <a:pt x="29" y="9"/>
                    <a:pt x="29" y="9"/>
                  </a:cubicBezTo>
                  <a:cubicBezTo>
                    <a:pt x="28" y="9"/>
                    <a:pt x="27" y="9"/>
                    <a:pt x="27" y="9"/>
                  </a:cubicBezTo>
                  <a:cubicBezTo>
                    <a:pt x="26" y="10"/>
                    <a:pt x="26" y="10"/>
                    <a:pt x="26" y="10"/>
                  </a:cubicBezTo>
                  <a:cubicBezTo>
                    <a:pt x="26" y="10"/>
                    <a:pt x="25" y="11"/>
                    <a:pt x="24" y="11"/>
                  </a:cubicBezTo>
                  <a:cubicBezTo>
                    <a:pt x="23" y="11"/>
                    <a:pt x="23" y="11"/>
                    <a:pt x="23" y="11"/>
                  </a:cubicBezTo>
                  <a:cubicBezTo>
                    <a:pt x="23" y="11"/>
                    <a:pt x="22" y="11"/>
                    <a:pt x="21" y="11"/>
                  </a:cubicBezTo>
                  <a:cubicBezTo>
                    <a:pt x="21" y="10"/>
                    <a:pt x="21" y="10"/>
                    <a:pt x="21" y="10"/>
                  </a:cubicBezTo>
                  <a:cubicBezTo>
                    <a:pt x="17" y="10"/>
                    <a:pt x="17" y="12"/>
                    <a:pt x="14" y="15"/>
                  </a:cubicBezTo>
                  <a:cubicBezTo>
                    <a:pt x="12" y="17"/>
                    <a:pt x="12" y="17"/>
                    <a:pt x="12" y="17"/>
                  </a:cubicBezTo>
                  <a:cubicBezTo>
                    <a:pt x="12" y="18"/>
                    <a:pt x="11" y="18"/>
                    <a:pt x="11" y="18"/>
                  </a:cubicBezTo>
                  <a:cubicBezTo>
                    <a:pt x="11" y="19"/>
                    <a:pt x="11" y="19"/>
                    <a:pt x="11" y="19"/>
                  </a:cubicBezTo>
                  <a:cubicBezTo>
                    <a:pt x="10" y="20"/>
                    <a:pt x="10" y="20"/>
                    <a:pt x="10" y="20"/>
                  </a:cubicBezTo>
                  <a:cubicBezTo>
                    <a:pt x="10" y="20"/>
                    <a:pt x="10" y="21"/>
                    <a:pt x="9" y="21"/>
                  </a:cubicBezTo>
                  <a:cubicBezTo>
                    <a:pt x="9" y="23"/>
                    <a:pt x="8" y="24"/>
                    <a:pt x="9" y="26"/>
                  </a:cubicBezTo>
                  <a:cubicBezTo>
                    <a:pt x="9" y="27"/>
                    <a:pt x="9" y="28"/>
                    <a:pt x="9" y="28"/>
                  </a:cubicBezTo>
                  <a:cubicBezTo>
                    <a:pt x="10" y="31"/>
                    <a:pt x="10" y="33"/>
                    <a:pt x="9" y="36"/>
                  </a:cubicBezTo>
                  <a:cubicBezTo>
                    <a:pt x="8" y="39"/>
                    <a:pt x="8" y="39"/>
                    <a:pt x="8" y="39"/>
                  </a:cubicBezTo>
                  <a:cubicBezTo>
                    <a:pt x="6" y="37"/>
                    <a:pt x="6" y="37"/>
                    <a:pt x="6" y="37"/>
                  </a:cubicBezTo>
                  <a:cubicBezTo>
                    <a:pt x="5" y="36"/>
                    <a:pt x="4" y="35"/>
                    <a:pt x="3" y="34"/>
                  </a:cubicBezTo>
                  <a:cubicBezTo>
                    <a:pt x="2" y="33"/>
                    <a:pt x="1" y="32"/>
                    <a:pt x="0" y="32"/>
                  </a:cubicBezTo>
                  <a:cubicBezTo>
                    <a:pt x="0" y="192"/>
                    <a:pt x="0" y="192"/>
                    <a:pt x="0" y="192"/>
                  </a:cubicBezTo>
                  <a:cubicBezTo>
                    <a:pt x="0" y="192"/>
                    <a:pt x="1" y="191"/>
                    <a:pt x="1" y="191"/>
                  </a:cubicBezTo>
                  <a:cubicBezTo>
                    <a:pt x="1" y="192"/>
                    <a:pt x="1" y="192"/>
                    <a:pt x="1" y="193"/>
                  </a:cubicBezTo>
                  <a:cubicBezTo>
                    <a:pt x="2" y="193"/>
                    <a:pt x="3" y="194"/>
                    <a:pt x="3" y="194"/>
                  </a:cubicBezTo>
                  <a:cubicBezTo>
                    <a:pt x="3" y="195"/>
                    <a:pt x="3" y="195"/>
                    <a:pt x="3" y="196"/>
                  </a:cubicBezTo>
                  <a:cubicBezTo>
                    <a:pt x="3" y="196"/>
                    <a:pt x="3" y="196"/>
                    <a:pt x="3" y="196"/>
                  </a:cubicBezTo>
                  <a:cubicBezTo>
                    <a:pt x="4" y="195"/>
                    <a:pt x="5" y="194"/>
                    <a:pt x="6" y="193"/>
                  </a:cubicBezTo>
                  <a:cubicBezTo>
                    <a:pt x="7" y="191"/>
                    <a:pt x="8" y="190"/>
                    <a:pt x="9" y="189"/>
                  </a:cubicBezTo>
                  <a:cubicBezTo>
                    <a:pt x="11" y="187"/>
                    <a:pt x="13" y="185"/>
                    <a:pt x="16" y="185"/>
                  </a:cubicBezTo>
                  <a:cubicBezTo>
                    <a:pt x="16" y="184"/>
                    <a:pt x="17" y="184"/>
                    <a:pt x="18" y="184"/>
                  </a:cubicBezTo>
                  <a:cubicBezTo>
                    <a:pt x="19" y="184"/>
                    <a:pt x="19" y="184"/>
                    <a:pt x="20" y="184"/>
                  </a:cubicBezTo>
                  <a:cubicBezTo>
                    <a:pt x="20" y="183"/>
                    <a:pt x="21" y="183"/>
                    <a:pt x="21" y="183"/>
                  </a:cubicBezTo>
                  <a:cubicBezTo>
                    <a:pt x="22" y="183"/>
                    <a:pt x="23" y="184"/>
                    <a:pt x="24" y="184"/>
                  </a:cubicBezTo>
                  <a:cubicBezTo>
                    <a:pt x="24" y="183"/>
                    <a:pt x="24" y="183"/>
                    <a:pt x="24" y="183"/>
                  </a:cubicBezTo>
                  <a:cubicBezTo>
                    <a:pt x="25" y="183"/>
                    <a:pt x="26" y="183"/>
                    <a:pt x="26" y="183"/>
                  </a:cubicBezTo>
                  <a:cubicBezTo>
                    <a:pt x="28" y="182"/>
                    <a:pt x="28" y="182"/>
                    <a:pt x="28" y="182"/>
                  </a:cubicBezTo>
                  <a:cubicBezTo>
                    <a:pt x="29" y="180"/>
                    <a:pt x="31" y="179"/>
                    <a:pt x="33" y="177"/>
                  </a:cubicBezTo>
                  <a:cubicBezTo>
                    <a:pt x="32" y="179"/>
                    <a:pt x="32" y="179"/>
                    <a:pt x="32" y="179"/>
                  </a:cubicBezTo>
                  <a:cubicBezTo>
                    <a:pt x="32" y="180"/>
                    <a:pt x="31" y="180"/>
                    <a:pt x="33" y="180"/>
                  </a:cubicBezTo>
                  <a:cubicBezTo>
                    <a:pt x="35" y="181"/>
                    <a:pt x="38" y="182"/>
                    <a:pt x="40" y="182"/>
                  </a:cubicBezTo>
                  <a:cubicBezTo>
                    <a:pt x="40" y="179"/>
                    <a:pt x="40" y="178"/>
                    <a:pt x="41" y="175"/>
                  </a:cubicBezTo>
                  <a:cubicBezTo>
                    <a:pt x="42" y="175"/>
                    <a:pt x="42" y="174"/>
                    <a:pt x="41" y="174"/>
                  </a:cubicBezTo>
                  <a:cubicBezTo>
                    <a:pt x="41" y="174"/>
                    <a:pt x="41" y="174"/>
                    <a:pt x="41" y="174"/>
                  </a:cubicBezTo>
                  <a:cubicBezTo>
                    <a:pt x="41" y="174"/>
                    <a:pt x="41" y="174"/>
                    <a:pt x="41" y="174"/>
                  </a:cubicBezTo>
                  <a:cubicBezTo>
                    <a:pt x="41" y="174"/>
                    <a:pt x="41" y="174"/>
                    <a:pt x="41" y="174"/>
                  </a:cubicBezTo>
                  <a:cubicBezTo>
                    <a:pt x="41" y="174"/>
                    <a:pt x="40" y="173"/>
                    <a:pt x="40" y="173"/>
                  </a:cubicBezTo>
                  <a:cubicBezTo>
                    <a:pt x="40" y="173"/>
                    <a:pt x="40" y="173"/>
                    <a:pt x="40" y="173"/>
                  </a:cubicBezTo>
                  <a:cubicBezTo>
                    <a:pt x="41" y="172"/>
                    <a:pt x="41" y="172"/>
                    <a:pt x="41" y="172"/>
                  </a:cubicBezTo>
                  <a:cubicBezTo>
                    <a:pt x="41" y="171"/>
                    <a:pt x="41" y="171"/>
                    <a:pt x="41" y="171"/>
                  </a:cubicBezTo>
                  <a:cubicBezTo>
                    <a:pt x="41" y="171"/>
                    <a:pt x="41" y="171"/>
                    <a:pt x="41" y="171"/>
                  </a:cubicBezTo>
                  <a:cubicBezTo>
                    <a:pt x="41" y="171"/>
                    <a:pt x="40" y="172"/>
                    <a:pt x="39" y="172"/>
                  </a:cubicBezTo>
                  <a:cubicBezTo>
                    <a:pt x="39" y="172"/>
                    <a:pt x="39" y="172"/>
                    <a:pt x="39" y="172"/>
                  </a:cubicBezTo>
                  <a:cubicBezTo>
                    <a:pt x="39" y="171"/>
                    <a:pt x="40" y="170"/>
                    <a:pt x="39" y="169"/>
                  </a:cubicBezTo>
                  <a:cubicBezTo>
                    <a:pt x="39" y="168"/>
                    <a:pt x="38" y="168"/>
                    <a:pt x="38" y="168"/>
                  </a:cubicBezTo>
                  <a:cubicBezTo>
                    <a:pt x="38" y="167"/>
                    <a:pt x="38" y="167"/>
                    <a:pt x="38" y="166"/>
                  </a:cubicBezTo>
                  <a:cubicBezTo>
                    <a:pt x="38" y="166"/>
                    <a:pt x="38" y="166"/>
                    <a:pt x="37" y="165"/>
                  </a:cubicBezTo>
                  <a:cubicBezTo>
                    <a:pt x="38" y="165"/>
                    <a:pt x="38" y="165"/>
                    <a:pt x="38" y="165"/>
                  </a:cubicBezTo>
                  <a:cubicBezTo>
                    <a:pt x="38" y="165"/>
                    <a:pt x="38" y="166"/>
                    <a:pt x="39" y="166"/>
                  </a:cubicBezTo>
                  <a:cubicBezTo>
                    <a:pt x="39" y="167"/>
                    <a:pt x="39" y="170"/>
                    <a:pt x="40" y="170"/>
                  </a:cubicBezTo>
                  <a:cubicBezTo>
                    <a:pt x="40" y="170"/>
                    <a:pt x="40" y="170"/>
                    <a:pt x="40" y="170"/>
                  </a:cubicBezTo>
                  <a:cubicBezTo>
                    <a:pt x="40" y="170"/>
                    <a:pt x="40" y="170"/>
                    <a:pt x="40" y="170"/>
                  </a:cubicBezTo>
                  <a:cubicBezTo>
                    <a:pt x="40" y="171"/>
                    <a:pt x="40" y="171"/>
                    <a:pt x="40" y="171"/>
                  </a:cubicBezTo>
                  <a:cubicBezTo>
                    <a:pt x="40" y="171"/>
                    <a:pt x="40" y="171"/>
                    <a:pt x="40" y="171"/>
                  </a:cubicBezTo>
                  <a:cubicBezTo>
                    <a:pt x="40" y="171"/>
                    <a:pt x="40" y="171"/>
                    <a:pt x="41" y="171"/>
                  </a:cubicBezTo>
                  <a:cubicBezTo>
                    <a:pt x="41" y="171"/>
                    <a:pt x="41" y="171"/>
                    <a:pt x="41" y="171"/>
                  </a:cubicBezTo>
                  <a:cubicBezTo>
                    <a:pt x="42" y="171"/>
                    <a:pt x="42" y="171"/>
                    <a:pt x="42" y="171"/>
                  </a:cubicBezTo>
                  <a:cubicBezTo>
                    <a:pt x="42" y="172"/>
                    <a:pt x="42" y="172"/>
                    <a:pt x="42" y="172"/>
                  </a:cubicBezTo>
                  <a:cubicBezTo>
                    <a:pt x="42" y="172"/>
                    <a:pt x="41" y="172"/>
                    <a:pt x="41" y="173"/>
                  </a:cubicBezTo>
                  <a:cubicBezTo>
                    <a:pt x="41" y="174"/>
                    <a:pt x="41" y="173"/>
                    <a:pt x="42" y="174"/>
                  </a:cubicBezTo>
                  <a:cubicBezTo>
                    <a:pt x="42" y="174"/>
                    <a:pt x="42" y="174"/>
                    <a:pt x="42" y="175"/>
                  </a:cubicBezTo>
                  <a:cubicBezTo>
                    <a:pt x="42" y="175"/>
                    <a:pt x="42" y="175"/>
                    <a:pt x="42" y="175"/>
                  </a:cubicBezTo>
                  <a:cubicBezTo>
                    <a:pt x="43" y="177"/>
                    <a:pt x="40" y="178"/>
                    <a:pt x="42" y="181"/>
                  </a:cubicBezTo>
                  <a:cubicBezTo>
                    <a:pt x="44" y="183"/>
                    <a:pt x="46" y="185"/>
                    <a:pt x="48" y="185"/>
                  </a:cubicBezTo>
                  <a:cubicBezTo>
                    <a:pt x="48" y="185"/>
                    <a:pt x="49" y="185"/>
                    <a:pt x="49" y="185"/>
                  </a:cubicBezTo>
                  <a:cubicBezTo>
                    <a:pt x="50" y="185"/>
                    <a:pt x="50" y="185"/>
                    <a:pt x="51" y="185"/>
                  </a:cubicBezTo>
                  <a:cubicBezTo>
                    <a:pt x="54" y="185"/>
                    <a:pt x="56" y="183"/>
                    <a:pt x="58" y="183"/>
                  </a:cubicBezTo>
                  <a:cubicBezTo>
                    <a:pt x="55" y="185"/>
                    <a:pt x="53" y="188"/>
                    <a:pt x="49" y="188"/>
                  </a:cubicBezTo>
                  <a:cubicBezTo>
                    <a:pt x="49" y="188"/>
                    <a:pt x="49" y="188"/>
                    <a:pt x="49" y="188"/>
                  </a:cubicBezTo>
                  <a:cubicBezTo>
                    <a:pt x="46" y="187"/>
                    <a:pt x="43" y="187"/>
                    <a:pt x="40" y="186"/>
                  </a:cubicBezTo>
                  <a:cubicBezTo>
                    <a:pt x="37" y="186"/>
                    <a:pt x="34" y="185"/>
                    <a:pt x="30" y="185"/>
                  </a:cubicBezTo>
                  <a:cubicBezTo>
                    <a:pt x="31" y="185"/>
                    <a:pt x="32" y="186"/>
                    <a:pt x="33" y="187"/>
                  </a:cubicBezTo>
                  <a:cubicBezTo>
                    <a:pt x="33" y="187"/>
                    <a:pt x="34" y="188"/>
                    <a:pt x="34" y="188"/>
                  </a:cubicBezTo>
                  <a:cubicBezTo>
                    <a:pt x="34" y="188"/>
                    <a:pt x="35" y="188"/>
                    <a:pt x="35" y="188"/>
                  </a:cubicBezTo>
                  <a:cubicBezTo>
                    <a:pt x="35" y="188"/>
                    <a:pt x="36" y="188"/>
                    <a:pt x="36" y="188"/>
                  </a:cubicBezTo>
                  <a:cubicBezTo>
                    <a:pt x="37" y="188"/>
                    <a:pt x="37" y="188"/>
                    <a:pt x="37" y="188"/>
                  </a:cubicBezTo>
                  <a:cubicBezTo>
                    <a:pt x="38" y="188"/>
                    <a:pt x="38" y="188"/>
                    <a:pt x="39" y="188"/>
                  </a:cubicBezTo>
                  <a:cubicBezTo>
                    <a:pt x="40" y="189"/>
                    <a:pt x="41" y="190"/>
                    <a:pt x="42" y="192"/>
                  </a:cubicBezTo>
                  <a:cubicBezTo>
                    <a:pt x="41" y="192"/>
                    <a:pt x="41" y="192"/>
                    <a:pt x="41" y="192"/>
                  </a:cubicBezTo>
                  <a:cubicBezTo>
                    <a:pt x="41" y="192"/>
                    <a:pt x="40" y="192"/>
                    <a:pt x="40" y="192"/>
                  </a:cubicBezTo>
                  <a:cubicBezTo>
                    <a:pt x="40" y="192"/>
                    <a:pt x="40" y="192"/>
                    <a:pt x="40" y="192"/>
                  </a:cubicBezTo>
                  <a:cubicBezTo>
                    <a:pt x="39" y="192"/>
                    <a:pt x="37" y="192"/>
                    <a:pt x="37" y="193"/>
                  </a:cubicBezTo>
                  <a:cubicBezTo>
                    <a:pt x="36" y="194"/>
                    <a:pt x="39" y="194"/>
                    <a:pt x="41" y="195"/>
                  </a:cubicBezTo>
                  <a:cubicBezTo>
                    <a:pt x="44" y="196"/>
                    <a:pt x="47" y="196"/>
                    <a:pt x="48" y="197"/>
                  </a:cubicBezTo>
                  <a:cubicBezTo>
                    <a:pt x="49" y="197"/>
                    <a:pt x="49" y="198"/>
                    <a:pt x="49" y="198"/>
                  </a:cubicBezTo>
                  <a:cubicBezTo>
                    <a:pt x="50" y="198"/>
                    <a:pt x="50" y="199"/>
                    <a:pt x="50" y="199"/>
                  </a:cubicBezTo>
                  <a:cubicBezTo>
                    <a:pt x="51" y="199"/>
                    <a:pt x="52" y="199"/>
                    <a:pt x="53" y="199"/>
                  </a:cubicBezTo>
                  <a:cubicBezTo>
                    <a:pt x="53" y="199"/>
                    <a:pt x="53" y="199"/>
                    <a:pt x="53" y="199"/>
                  </a:cubicBezTo>
                  <a:cubicBezTo>
                    <a:pt x="54" y="199"/>
                    <a:pt x="55" y="199"/>
                    <a:pt x="56" y="199"/>
                  </a:cubicBezTo>
                  <a:cubicBezTo>
                    <a:pt x="58" y="199"/>
                    <a:pt x="60" y="198"/>
                    <a:pt x="61" y="198"/>
                  </a:cubicBezTo>
                  <a:cubicBezTo>
                    <a:pt x="62" y="198"/>
                    <a:pt x="62" y="198"/>
                    <a:pt x="62" y="198"/>
                  </a:cubicBezTo>
                  <a:cubicBezTo>
                    <a:pt x="65" y="197"/>
                    <a:pt x="68" y="197"/>
                    <a:pt x="71" y="196"/>
                  </a:cubicBezTo>
                  <a:cubicBezTo>
                    <a:pt x="71" y="196"/>
                    <a:pt x="71" y="196"/>
                    <a:pt x="71" y="196"/>
                  </a:cubicBezTo>
                  <a:cubicBezTo>
                    <a:pt x="73" y="196"/>
                    <a:pt x="73" y="197"/>
                    <a:pt x="73" y="198"/>
                  </a:cubicBezTo>
                  <a:cubicBezTo>
                    <a:pt x="73" y="198"/>
                    <a:pt x="74" y="199"/>
                    <a:pt x="74" y="199"/>
                  </a:cubicBezTo>
                  <a:cubicBezTo>
                    <a:pt x="75" y="200"/>
                    <a:pt x="76" y="200"/>
                    <a:pt x="76" y="200"/>
                  </a:cubicBezTo>
                  <a:cubicBezTo>
                    <a:pt x="77" y="201"/>
                    <a:pt x="77" y="201"/>
                    <a:pt x="77" y="201"/>
                  </a:cubicBezTo>
                  <a:cubicBezTo>
                    <a:pt x="78" y="201"/>
                    <a:pt x="79" y="200"/>
                    <a:pt x="80" y="200"/>
                  </a:cubicBezTo>
                  <a:cubicBezTo>
                    <a:pt x="81" y="199"/>
                    <a:pt x="82" y="199"/>
                    <a:pt x="82" y="198"/>
                  </a:cubicBezTo>
                  <a:cubicBezTo>
                    <a:pt x="83" y="199"/>
                    <a:pt x="83" y="200"/>
                    <a:pt x="83" y="201"/>
                  </a:cubicBezTo>
                  <a:cubicBezTo>
                    <a:pt x="83" y="203"/>
                    <a:pt x="82" y="205"/>
                    <a:pt x="85" y="205"/>
                  </a:cubicBezTo>
                  <a:cubicBezTo>
                    <a:pt x="84" y="207"/>
                    <a:pt x="82" y="207"/>
                    <a:pt x="80" y="207"/>
                  </a:cubicBezTo>
                  <a:cubicBezTo>
                    <a:pt x="79" y="207"/>
                    <a:pt x="78" y="207"/>
                    <a:pt x="78" y="207"/>
                  </a:cubicBezTo>
                  <a:cubicBezTo>
                    <a:pt x="77" y="208"/>
                    <a:pt x="76" y="209"/>
                    <a:pt x="75" y="209"/>
                  </a:cubicBezTo>
                  <a:cubicBezTo>
                    <a:pt x="74" y="210"/>
                    <a:pt x="74" y="210"/>
                    <a:pt x="73" y="210"/>
                  </a:cubicBezTo>
                  <a:cubicBezTo>
                    <a:pt x="73" y="210"/>
                    <a:pt x="73" y="210"/>
                    <a:pt x="73" y="210"/>
                  </a:cubicBezTo>
                  <a:cubicBezTo>
                    <a:pt x="72" y="210"/>
                    <a:pt x="72" y="210"/>
                    <a:pt x="71" y="210"/>
                  </a:cubicBezTo>
                  <a:cubicBezTo>
                    <a:pt x="71" y="211"/>
                    <a:pt x="67" y="212"/>
                    <a:pt x="66" y="213"/>
                  </a:cubicBezTo>
                  <a:cubicBezTo>
                    <a:pt x="65" y="213"/>
                    <a:pt x="64" y="214"/>
                    <a:pt x="64" y="214"/>
                  </a:cubicBezTo>
                  <a:cubicBezTo>
                    <a:pt x="63" y="215"/>
                    <a:pt x="63" y="216"/>
                    <a:pt x="62" y="216"/>
                  </a:cubicBezTo>
                  <a:cubicBezTo>
                    <a:pt x="61" y="216"/>
                    <a:pt x="60" y="217"/>
                    <a:pt x="59" y="217"/>
                  </a:cubicBezTo>
                  <a:cubicBezTo>
                    <a:pt x="58" y="217"/>
                    <a:pt x="58" y="218"/>
                    <a:pt x="57" y="218"/>
                  </a:cubicBezTo>
                  <a:cubicBezTo>
                    <a:pt x="56" y="219"/>
                    <a:pt x="55" y="219"/>
                    <a:pt x="55" y="220"/>
                  </a:cubicBezTo>
                  <a:cubicBezTo>
                    <a:pt x="55" y="221"/>
                    <a:pt x="55" y="221"/>
                    <a:pt x="55" y="221"/>
                  </a:cubicBezTo>
                  <a:cubicBezTo>
                    <a:pt x="55" y="224"/>
                    <a:pt x="64" y="225"/>
                    <a:pt x="69" y="227"/>
                  </a:cubicBezTo>
                  <a:cubicBezTo>
                    <a:pt x="71" y="227"/>
                    <a:pt x="72" y="227"/>
                    <a:pt x="73" y="227"/>
                  </a:cubicBezTo>
                  <a:cubicBezTo>
                    <a:pt x="76" y="229"/>
                    <a:pt x="80" y="229"/>
                    <a:pt x="81" y="231"/>
                  </a:cubicBezTo>
                  <a:cubicBezTo>
                    <a:pt x="82" y="232"/>
                    <a:pt x="82" y="233"/>
                    <a:pt x="82" y="235"/>
                  </a:cubicBezTo>
                  <a:cubicBezTo>
                    <a:pt x="82" y="237"/>
                    <a:pt x="81" y="237"/>
                    <a:pt x="81" y="238"/>
                  </a:cubicBezTo>
                  <a:cubicBezTo>
                    <a:pt x="80" y="239"/>
                    <a:pt x="80" y="239"/>
                    <a:pt x="80" y="240"/>
                  </a:cubicBezTo>
                  <a:cubicBezTo>
                    <a:pt x="80" y="240"/>
                    <a:pt x="80" y="241"/>
                    <a:pt x="80" y="243"/>
                  </a:cubicBezTo>
                  <a:cubicBezTo>
                    <a:pt x="80" y="244"/>
                    <a:pt x="81" y="245"/>
                    <a:pt x="81" y="245"/>
                  </a:cubicBezTo>
                  <a:cubicBezTo>
                    <a:pt x="79" y="245"/>
                    <a:pt x="78" y="245"/>
                    <a:pt x="76" y="246"/>
                  </a:cubicBezTo>
                  <a:cubicBezTo>
                    <a:pt x="77" y="246"/>
                    <a:pt x="77" y="247"/>
                    <a:pt x="78" y="247"/>
                  </a:cubicBezTo>
                  <a:cubicBezTo>
                    <a:pt x="78" y="248"/>
                    <a:pt x="79" y="248"/>
                    <a:pt x="80" y="248"/>
                  </a:cubicBezTo>
                  <a:cubicBezTo>
                    <a:pt x="82" y="250"/>
                    <a:pt x="83" y="251"/>
                    <a:pt x="85" y="251"/>
                  </a:cubicBezTo>
                  <a:cubicBezTo>
                    <a:pt x="85" y="251"/>
                    <a:pt x="85" y="251"/>
                    <a:pt x="85" y="251"/>
                  </a:cubicBezTo>
                  <a:cubicBezTo>
                    <a:pt x="86" y="251"/>
                    <a:pt x="87" y="250"/>
                    <a:pt x="88" y="250"/>
                  </a:cubicBezTo>
                  <a:cubicBezTo>
                    <a:pt x="94" y="247"/>
                    <a:pt x="101" y="244"/>
                    <a:pt x="107" y="240"/>
                  </a:cubicBezTo>
                  <a:cubicBezTo>
                    <a:pt x="114" y="237"/>
                    <a:pt x="120" y="234"/>
                    <a:pt x="127" y="231"/>
                  </a:cubicBezTo>
                  <a:cubicBezTo>
                    <a:pt x="128" y="230"/>
                    <a:pt x="129" y="230"/>
                    <a:pt x="130" y="230"/>
                  </a:cubicBezTo>
                  <a:cubicBezTo>
                    <a:pt x="132" y="230"/>
                    <a:pt x="134" y="231"/>
                    <a:pt x="136" y="232"/>
                  </a:cubicBezTo>
                  <a:cubicBezTo>
                    <a:pt x="137" y="232"/>
                    <a:pt x="137" y="233"/>
                    <a:pt x="138" y="233"/>
                  </a:cubicBezTo>
                  <a:cubicBezTo>
                    <a:pt x="138" y="233"/>
                    <a:pt x="138" y="233"/>
                    <a:pt x="138" y="233"/>
                  </a:cubicBezTo>
                  <a:cubicBezTo>
                    <a:pt x="139" y="233"/>
                    <a:pt x="139" y="233"/>
                    <a:pt x="139" y="233"/>
                  </a:cubicBezTo>
                  <a:cubicBezTo>
                    <a:pt x="141" y="233"/>
                    <a:pt x="143" y="232"/>
                    <a:pt x="144" y="232"/>
                  </a:cubicBezTo>
                  <a:cubicBezTo>
                    <a:pt x="144" y="232"/>
                    <a:pt x="144" y="232"/>
                    <a:pt x="144" y="232"/>
                  </a:cubicBezTo>
                  <a:cubicBezTo>
                    <a:pt x="145" y="232"/>
                    <a:pt x="145" y="232"/>
                    <a:pt x="145" y="232"/>
                  </a:cubicBezTo>
                  <a:cubicBezTo>
                    <a:pt x="146" y="232"/>
                    <a:pt x="146" y="232"/>
                    <a:pt x="146" y="232"/>
                  </a:cubicBezTo>
                  <a:cubicBezTo>
                    <a:pt x="147" y="232"/>
                    <a:pt x="147" y="232"/>
                    <a:pt x="147" y="232"/>
                  </a:cubicBezTo>
                  <a:cubicBezTo>
                    <a:pt x="147" y="232"/>
                    <a:pt x="147" y="232"/>
                    <a:pt x="147" y="232"/>
                  </a:cubicBezTo>
                  <a:cubicBezTo>
                    <a:pt x="148" y="232"/>
                    <a:pt x="148" y="232"/>
                    <a:pt x="149" y="232"/>
                  </a:cubicBezTo>
                  <a:cubicBezTo>
                    <a:pt x="151" y="231"/>
                    <a:pt x="150" y="229"/>
                    <a:pt x="151" y="227"/>
                  </a:cubicBezTo>
                  <a:cubicBezTo>
                    <a:pt x="152" y="225"/>
                    <a:pt x="152" y="224"/>
                    <a:pt x="153" y="224"/>
                  </a:cubicBezTo>
                  <a:cubicBezTo>
                    <a:pt x="154" y="224"/>
                    <a:pt x="154" y="223"/>
                    <a:pt x="155" y="223"/>
                  </a:cubicBezTo>
                  <a:cubicBezTo>
                    <a:pt x="155" y="223"/>
                    <a:pt x="156" y="223"/>
                    <a:pt x="157" y="222"/>
                  </a:cubicBezTo>
                  <a:cubicBezTo>
                    <a:pt x="156" y="222"/>
                    <a:pt x="154" y="222"/>
                    <a:pt x="153" y="222"/>
                  </a:cubicBezTo>
                  <a:cubicBezTo>
                    <a:pt x="153" y="222"/>
                    <a:pt x="153" y="222"/>
                    <a:pt x="153" y="222"/>
                  </a:cubicBezTo>
                  <a:cubicBezTo>
                    <a:pt x="152" y="222"/>
                    <a:pt x="150" y="222"/>
                    <a:pt x="149" y="222"/>
                  </a:cubicBezTo>
                  <a:cubicBezTo>
                    <a:pt x="148" y="222"/>
                    <a:pt x="147" y="222"/>
                    <a:pt x="147" y="222"/>
                  </a:cubicBezTo>
                  <a:cubicBezTo>
                    <a:pt x="145" y="222"/>
                    <a:pt x="144" y="222"/>
                    <a:pt x="143" y="222"/>
                  </a:cubicBezTo>
                  <a:cubicBezTo>
                    <a:pt x="142" y="222"/>
                    <a:pt x="142" y="222"/>
                    <a:pt x="141" y="222"/>
                  </a:cubicBezTo>
                  <a:cubicBezTo>
                    <a:pt x="140" y="222"/>
                    <a:pt x="139" y="222"/>
                    <a:pt x="138" y="221"/>
                  </a:cubicBezTo>
                  <a:cubicBezTo>
                    <a:pt x="137" y="221"/>
                    <a:pt x="137" y="221"/>
                    <a:pt x="136" y="221"/>
                  </a:cubicBezTo>
                  <a:cubicBezTo>
                    <a:pt x="136" y="221"/>
                    <a:pt x="136" y="221"/>
                    <a:pt x="136" y="221"/>
                  </a:cubicBezTo>
                  <a:cubicBezTo>
                    <a:pt x="136" y="221"/>
                    <a:pt x="135" y="221"/>
                    <a:pt x="135" y="221"/>
                  </a:cubicBezTo>
                  <a:cubicBezTo>
                    <a:pt x="134" y="222"/>
                    <a:pt x="132" y="224"/>
                    <a:pt x="130" y="224"/>
                  </a:cubicBezTo>
                  <a:cubicBezTo>
                    <a:pt x="130" y="224"/>
                    <a:pt x="130" y="224"/>
                    <a:pt x="130" y="224"/>
                  </a:cubicBezTo>
                  <a:cubicBezTo>
                    <a:pt x="127" y="224"/>
                    <a:pt x="126" y="221"/>
                    <a:pt x="124" y="219"/>
                  </a:cubicBezTo>
                  <a:cubicBezTo>
                    <a:pt x="119" y="214"/>
                    <a:pt x="116" y="210"/>
                    <a:pt x="114" y="205"/>
                  </a:cubicBezTo>
                  <a:cubicBezTo>
                    <a:pt x="113" y="203"/>
                    <a:pt x="113" y="201"/>
                    <a:pt x="112" y="199"/>
                  </a:cubicBezTo>
                  <a:cubicBezTo>
                    <a:pt x="112" y="198"/>
                    <a:pt x="112" y="197"/>
                    <a:pt x="112" y="197"/>
                  </a:cubicBezTo>
                  <a:cubicBezTo>
                    <a:pt x="112" y="196"/>
                    <a:pt x="113" y="196"/>
                    <a:pt x="114" y="195"/>
                  </a:cubicBezTo>
                  <a:cubicBezTo>
                    <a:pt x="114" y="195"/>
                    <a:pt x="115" y="195"/>
                    <a:pt x="115" y="195"/>
                  </a:cubicBezTo>
                  <a:cubicBezTo>
                    <a:pt x="116" y="194"/>
                    <a:pt x="117" y="194"/>
                    <a:pt x="119" y="193"/>
                  </a:cubicBezTo>
                  <a:cubicBezTo>
                    <a:pt x="120" y="193"/>
                    <a:pt x="120" y="189"/>
                    <a:pt x="121" y="187"/>
                  </a:cubicBezTo>
                  <a:cubicBezTo>
                    <a:pt x="121" y="188"/>
                    <a:pt x="122" y="189"/>
                    <a:pt x="123" y="189"/>
                  </a:cubicBezTo>
                  <a:cubicBezTo>
                    <a:pt x="123" y="190"/>
                    <a:pt x="123" y="191"/>
                    <a:pt x="124" y="191"/>
                  </a:cubicBezTo>
                  <a:cubicBezTo>
                    <a:pt x="127" y="192"/>
                    <a:pt x="117" y="199"/>
                    <a:pt x="116" y="199"/>
                  </a:cubicBezTo>
                  <a:cubicBezTo>
                    <a:pt x="120" y="197"/>
                    <a:pt x="124" y="194"/>
                    <a:pt x="127" y="191"/>
                  </a:cubicBezTo>
                  <a:cubicBezTo>
                    <a:pt x="128" y="190"/>
                    <a:pt x="129" y="190"/>
                    <a:pt x="130" y="189"/>
                  </a:cubicBezTo>
                  <a:cubicBezTo>
                    <a:pt x="130" y="188"/>
                    <a:pt x="131" y="187"/>
                    <a:pt x="132" y="186"/>
                  </a:cubicBezTo>
                  <a:cubicBezTo>
                    <a:pt x="134" y="185"/>
                    <a:pt x="135" y="184"/>
                    <a:pt x="136" y="183"/>
                  </a:cubicBezTo>
                  <a:cubicBezTo>
                    <a:pt x="137" y="183"/>
                    <a:pt x="137" y="183"/>
                    <a:pt x="138" y="183"/>
                  </a:cubicBezTo>
                  <a:cubicBezTo>
                    <a:pt x="139" y="182"/>
                    <a:pt x="140" y="182"/>
                    <a:pt x="141" y="182"/>
                  </a:cubicBezTo>
                  <a:cubicBezTo>
                    <a:pt x="142" y="182"/>
                    <a:pt x="143" y="182"/>
                    <a:pt x="143" y="182"/>
                  </a:cubicBezTo>
                  <a:cubicBezTo>
                    <a:pt x="146" y="182"/>
                    <a:pt x="148" y="181"/>
                    <a:pt x="150" y="180"/>
                  </a:cubicBezTo>
                  <a:cubicBezTo>
                    <a:pt x="152" y="179"/>
                    <a:pt x="153" y="179"/>
                    <a:pt x="154" y="179"/>
                  </a:cubicBezTo>
                  <a:cubicBezTo>
                    <a:pt x="155" y="179"/>
                    <a:pt x="155" y="178"/>
                    <a:pt x="156" y="178"/>
                  </a:cubicBezTo>
                  <a:cubicBezTo>
                    <a:pt x="157" y="178"/>
                    <a:pt x="157" y="178"/>
                    <a:pt x="157" y="179"/>
                  </a:cubicBezTo>
                  <a:cubicBezTo>
                    <a:pt x="158" y="179"/>
                    <a:pt x="159" y="179"/>
                    <a:pt x="159" y="179"/>
                  </a:cubicBezTo>
                  <a:cubicBezTo>
                    <a:pt x="159" y="179"/>
                    <a:pt x="160" y="179"/>
                    <a:pt x="160" y="180"/>
                  </a:cubicBezTo>
                  <a:cubicBezTo>
                    <a:pt x="160" y="180"/>
                    <a:pt x="160" y="181"/>
                    <a:pt x="160" y="183"/>
                  </a:cubicBezTo>
                  <a:cubicBezTo>
                    <a:pt x="161" y="180"/>
                    <a:pt x="163" y="179"/>
                    <a:pt x="165" y="177"/>
                  </a:cubicBezTo>
                  <a:cubicBezTo>
                    <a:pt x="166" y="176"/>
                    <a:pt x="167" y="176"/>
                    <a:pt x="168" y="175"/>
                  </a:cubicBezTo>
                  <a:cubicBezTo>
                    <a:pt x="169" y="175"/>
                    <a:pt x="171" y="175"/>
                    <a:pt x="173" y="175"/>
                  </a:cubicBezTo>
                  <a:cubicBezTo>
                    <a:pt x="174" y="174"/>
                    <a:pt x="175" y="174"/>
                    <a:pt x="176" y="173"/>
                  </a:cubicBezTo>
                  <a:cubicBezTo>
                    <a:pt x="178" y="171"/>
                    <a:pt x="178" y="169"/>
                    <a:pt x="182" y="169"/>
                  </a:cubicBezTo>
                  <a:cubicBezTo>
                    <a:pt x="183" y="168"/>
                    <a:pt x="185" y="168"/>
                    <a:pt x="187" y="168"/>
                  </a:cubicBezTo>
                  <a:cubicBezTo>
                    <a:pt x="187" y="168"/>
                    <a:pt x="188" y="168"/>
                    <a:pt x="188" y="168"/>
                  </a:cubicBezTo>
                  <a:cubicBezTo>
                    <a:pt x="188" y="168"/>
                    <a:pt x="189" y="168"/>
                    <a:pt x="189" y="168"/>
                  </a:cubicBezTo>
                  <a:cubicBezTo>
                    <a:pt x="189" y="168"/>
                    <a:pt x="189" y="168"/>
                    <a:pt x="189" y="168"/>
                  </a:cubicBezTo>
                  <a:cubicBezTo>
                    <a:pt x="191" y="168"/>
                    <a:pt x="192" y="168"/>
                    <a:pt x="193" y="168"/>
                  </a:cubicBezTo>
                  <a:cubicBezTo>
                    <a:pt x="193" y="168"/>
                    <a:pt x="193" y="168"/>
                    <a:pt x="193" y="168"/>
                  </a:cubicBezTo>
                  <a:cubicBezTo>
                    <a:pt x="194" y="168"/>
                    <a:pt x="195" y="168"/>
                    <a:pt x="195" y="168"/>
                  </a:cubicBezTo>
                  <a:cubicBezTo>
                    <a:pt x="196" y="168"/>
                    <a:pt x="196" y="168"/>
                    <a:pt x="196" y="168"/>
                  </a:cubicBezTo>
                  <a:cubicBezTo>
                    <a:pt x="196" y="168"/>
                    <a:pt x="196" y="168"/>
                    <a:pt x="196" y="168"/>
                  </a:cubicBezTo>
                  <a:cubicBezTo>
                    <a:pt x="194" y="167"/>
                    <a:pt x="194" y="167"/>
                    <a:pt x="194" y="167"/>
                  </a:cubicBezTo>
                  <a:cubicBezTo>
                    <a:pt x="194" y="167"/>
                    <a:pt x="194" y="165"/>
                    <a:pt x="194" y="163"/>
                  </a:cubicBezTo>
                  <a:cubicBezTo>
                    <a:pt x="195" y="162"/>
                    <a:pt x="195" y="161"/>
                    <a:pt x="195" y="159"/>
                  </a:cubicBezTo>
                  <a:cubicBezTo>
                    <a:pt x="195" y="153"/>
                    <a:pt x="199" y="149"/>
                    <a:pt x="205" y="148"/>
                  </a:cubicBezTo>
                  <a:cubicBezTo>
                    <a:pt x="208" y="147"/>
                    <a:pt x="211" y="145"/>
                    <a:pt x="213" y="144"/>
                  </a:cubicBezTo>
                  <a:cubicBezTo>
                    <a:pt x="214" y="143"/>
                    <a:pt x="216" y="142"/>
                    <a:pt x="218" y="142"/>
                  </a:cubicBezTo>
                  <a:cubicBezTo>
                    <a:pt x="221" y="142"/>
                    <a:pt x="224" y="143"/>
                    <a:pt x="228" y="143"/>
                  </a:cubicBezTo>
                  <a:cubicBezTo>
                    <a:pt x="229" y="143"/>
                    <a:pt x="229" y="143"/>
                    <a:pt x="230" y="143"/>
                  </a:cubicBezTo>
                  <a:cubicBezTo>
                    <a:pt x="231" y="143"/>
                    <a:pt x="232" y="143"/>
                    <a:pt x="232" y="143"/>
                  </a:cubicBezTo>
                  <a:cubicBezTo>
                    <a:pt x="232" y="142"/>
                    <a:pt x="232" y="142"/>
                    <a:pt x="232" y="142"/>
                  </a:cubicBezTo>
                  <a:cubicBezTo>
                    <a:pt x="232" y="142"/>
                    <a:pt x="232" y="142"/>
                    <a:pt x="232" y="142"/>
                  </a:cubicBezTo>
                  <a:cubicBezTo>
                    <a:pt x="232" y="141"/>
                    <a:pt x="235" y="134"/>
                    <a:pt x="237" y="132"/>
                  </a:cubicBezTo>
                  <a:cubicBezTo>
                    <a:pt x="237" y="132"/>
                    <a:pt x="237" y="130"/>
                    <a:pt x="235" y="126"/>
                  </a:cubicBezTo>
                  <a:cubicBezTo>
                    <a:pt x="234" y="125"/>
                    <a:pt x="234" y="123"/>
                    <a:pt x="232" y="123"/>
                  </a:cubicBezTo>
                  <a:cubicBezTo>
                    <a:pt x="231" y="123"/>
                    <a:pt x="231" y="123"/>
                    <a:pt x="231" y="123"/>
                  </a:cubicBezTo>
                  <a:cubicBezTo>
                    <a:pt x="230" y="123"/>
                    <a:pt x="230" y="123"/>
                    <a:pt x="230" y="123"/>
                  </a:cubicBezTo>
                  <a:cubicBezTo>
                    <a:pt x="229" y="122"/>
                    <a:pt x="229" y="120"/>
                    <a:pt x="229" y="118"/>
                  </a:cubicBezTo>
                  <a:cubicBezTo>
                    <a:pt x="230" y="117"/>
                    <a:pt x="232" y="115"/>
                    <a:pt x="234" y="114"/>
                  </a:cubicBezTo>
                  <a:cubicBezTo>
                    <a:pt x="233" y="113"/>
                    <a:pt x="232" y="112"/>
                    <a:pt x="232" y="111"/>
                  </a:cubicBezTo>
                  <a:cubicBezTo>
                    <a:pt x="231" y="111"/>
                    <a:pt x="231" y="111"/>
                    <a:pt x="231" y="111"/>
                  </a:cubicBezTo>
                  <a:cubicBezTo>
                    <a:pt x="228" y="109"/>
                    <a:pt x="228" y="109"/>
                    <a:pt x="228" y="109"/>
                  </a:cubicBezTo>
                  <a:cubicBezTo>
                    <a:pt x="231" y="107"/>
                    <a:pt x="231" y="107"/>
                    <a:pt x="231" y="107"/>
                  </a:cubicBezTo>
                  <a:cubicBezTo>
                    <a:pt x="235" y="105"/>
                    <a:pt x="240" y="101"/>
                    <a:pt x="241" y="99"/>
                  </a:cubicBezTo>
                  <a:cubicBezTo>
                    <a:pt x="241" y="99"/>
                    <a:pt x="241" y="99"/>
                    <a:pt x="241" y="99"/>
                  </a:cubicBezTo>
                  <a:cubicBezTo>
                    <a:pt x="241" y="97"/>
                    <a:pt x="242" y="95"/>
                    <a:pt x="241" y="92"/>
                  </a:cubicBezTo>
                  <a:cubicBezTo>
                    <a:pt x="239" y="92"/>
                    <a:pt x="238" y="93"/>
                    <a:pt x="236" y="93"/>
                  </a:cubicBezTo>
                  <a:cubicBezTo>
                    <a:pt x="231" y="93"/>
                    <a:pt x="228" y="89"/>
                    <a:pt x="226" y="86"/>
                  </a:cubicBezTo>
                  <a:cubicBezTo>
                    <a:pt x="225" y="86"/>
                    <a:pt x="225" y="85"/>
                    <a:pt x="224" y="85"/>
                  </a:cubicBezTo>
                  <a:cubicBezTo>
                    <a:pt x="222" y="83"/>
                    <a:pt x="221" y="82"/>
                    <a:pt x="219" y="82"/>
                  </a:cubicBezTo>
                  <a:cubicBezTo>
                    <a:pt x="218" y="82"/>
                    <a:pt x="218" y="83"/>
                    <a:pt x="217" y="83"/>
                  </a:cubicBezTo>
                  <a:cubicBezTo>
                    <a:pt x="216" y="84"/>
                    <a:pt x="215" y="84"/>
                    <a:pt x="215" y="84"/>
                  </a:cubicBezTo>
                  <a:cubicBezTo>
                    <a:pt x="214" y="84"/>
                    <a:pt x="214" y="84"/>
                    <a:pt x="214" y="84"/>
                  </a:cubicBezTo>
                  <a:cubicBezTo>
                    <a:pt x="214" y="84"/>
                    <a:pt x="214" y="84"/>
                    <a:pt x="214" y="84"/>
                  </a:cubicBezTo>
                  <a:cubicBezTo>
                    <a:pt x="213" y="84"/>
                    <a:pt x="213" y="84"/>
                    <a:pt x="213" y="84"/>
                  </a:cubicBezTo>
                  <a:cubicBezTo>
                    <a:pt x="211" y="84"/>
                    <a:pt x="209" y="82"/>
                    <a:pt x="209" y="81"/>
                  </a:cubicBezTo>
                  <a:cubicBezTo>
                    <a:pt x="208" y="80"/>
                    <a:pt x="206" y="78"/>
                    <a:pt x="204" y="77"/>
                  </a:cubicBezTo>
                  <a:cubicBezTo>
                    <a:pt x="202" y="77"/>
                    <a:pt x="200" y="77"/>
                    <a:pt x="199" y="76"/>
                  </a:cubicBezTo>
                  <a:cubicBezTo>
                    <a:pt x="199" y="76"/>
                    <a:pt x="198" y="76"/>
                    <a:pt x="198" y="76"/>
                  </a:cubicBezTo>
                  <a:cubicBezTo>
                    <a:pt x="198" y="76"/>
                    <a:pt x="197" y="76"/>
                    <a:pt x="197" y="76"/>
                  </a:cubicBezTo>
                  <a:cubicBezTo>
                    <a:pt x="197" y="76"/>
                    <a:pt x="194" y="78"/>
                    <a:pt x="192" y="80"/>
                  </a:cubicBezTo>
                  <a:cubicBezTo>
                    <a:pt x="190" y="82"/>
                    <a:pt x="190" y="82"/>
                    <a:pt x="190" y="82"/>
                  </a:cubicBezTo>
                  <a:cubicBezTo>
                    <a:pt x="189" y="80"/>
                    <a:pt x="189" y="80"/>
                    <a:pt x="189" y="80"/>
                  </a:cubicBezTo>
                  <a:cubicBezTo>
                    <a:pt x="189" y="80"/>
                    <a:pt x="183" y="71"/>
                    <a:pt x="180" y="67"/>
                  </a:cubicBezTo>
                  <a:cubicBezTo>
                    <a:pt x="178" y="65"/>
                    <a:pt x="177" y="64"/>
                    <a:pt x="176" y="64"/>
                  </a:cubicBezTo>
                  <a:cubicBezTo>
                    <a:pt x="175" y="65"/>
                    <a:pt x="169" y="66"/>
                    <a:pt x="165" y="68"/>
                  </a:cubicBezTo>
                  <a:cubicBezTo>
                    <a:pt x="162" y="69"/>
                    <a:pt x="160" y="69"/>
                    <a:pt x="157" y="69"/>
                  </a:cubicBezTo>
                  <a:cubicBezTo>
                    <a:pt x="154" y="69"/>
                    <a:pt x="150" y="68"/>
                    <a:pt x="148" y="67"/>
                  </a:cubicBezTo>
                  <a:cubicBezTo>
                    <a:pt x="146" y="65"/>
                    <a:pt x="144" y="65"/>
                    <a:pt x="142" y="65"/>
                  </a:cubicBezTo>
                  <a:cubicBezTo>
                    <a:pt x="141" y="65"/>
                    <a:pt x="140" y="65"/>
                    <a:pt x="139" y="66"/>
                  </a:cubicBezTo>
                  <a:cubicBezTo>
                    <a:pt x="137" y="66"/>
                    <a:pt x="136" y="66"/>
                    <a:pt x="135" y="66"/>
                  </a:cubicBezTo>
                  <a:cubicBezTo>
                    <a:pt x="133" y="66"/>
                    <a:pt x="131" y="66"/>
                    <a:pt x="129" y="64"/>
                  </a:cubicBezTo>
                  <a:cubicBezTo>
                    <a:pt x="128" y="63"/>
                    <a:pt x="125" y="60"/>
                    <a:pt x="126" y="58"/>
                  </a:cubicBezTo>
                  <a:cubicBezTo>
                    <a:pt x="126" y="57"/>
                    <a:pt x="125" y="53"/>
                    <a:pt x="123" y="50"/>
                  </a:cubicBezTo>
                  <a:cubicBezTo>
                    <a:pt x="122" y="48"/>
                    <a:pt x="122" y="45"/>
                    <a:pt x="123" y="44"/>
                  </a:cubicBezTo>
                  <a:cubicBezTo>
                    <a:pt x="122" y="43"/>
                    <a:pt x="120" y="42"/>
                    <a:pt x="119" y="41"/>
                  </a:cubicBezTo>
                  <a:cubicBezTo>
                    <a:pt x="117" y="39"/>
                    <a:pt x="115" y="39"/>
                    <a:pt x="115" y="39"/>
                  </a:cubicBezTo>
                  <a:cubicBezTo>
                    <a:pt x="114" y="39"/>
                    <a:pt x="114" y="39"/>
                    <a:pt x="114" y="39"/>
                  </a:cubicBezTo>
                  <a:cubicBezTo>
                    <a:pt x="113" y="40"/>
                    <a:pt x="112" y="40"/>
                    <a:pt x="110" y="40"/>
                  </a:cubicBezTo>
                  <a:cubicBezTo>
                    <a:pt x="109" y="40"/>
                    <a:pt x="107" y="40"/>
                    <a:pt x="105" y="39"/>
                  </a:cubicBezTo>
                  <a:cubicBezTo>
                    <a:pt x="104" y="38"/>
                    <a:pt x="103" y="38"/>
                    <a:pt x="102" y="38"/>
                  </a:cubicBezTo>
                  <a:cubicBezTo>
                    <a:pt x="101" y="38"/>
                    <a:pt x="101" y="38"/>
                    <a:pt x="99" y="38"/>
                  </a:cubicBezTo>
                  <a:cubicBezTo>
                    <a:pt x="99" y="38"/>
                    <a:pt x="99" y="38"/>
                    <a:pt x="98" y="38"/>
                  </a:cubicBezTo>
                  <a:cubicBezTo>
                    <a:pt x="97" y="38"/>
                    <a:pt x="97" y="38"/>
                    <a:pt x="96" y="37"/>
                  </a:cubicBezTo>
                  <a:cubicBezTo>
                    <a:pt x="95" y="36"/>
                    <a:pt x="95" y="34"/>
                    <a:pt x="96" y="30"/>
                  </a:cubicBezTo>
                  <a:cubicBezTo>
                    <a:pt x="96" y="28"/>
                    <a:pt x="94" y="25"/>
                    <a:pt x="93" y="24"/>
                  </a:cubicBezTo>
                  <a:cubicBezTo>
                    <a:pt x="92" y="23"/>
                    <a:pt x="92" y="23"/>
                    <a:pt x="92" y="23"/>
                  </a:cubicBezTo>
                  <a:cubicBezTo>
                    <a:pt x="92" y="22"/>
                    <a:pt x="92" y="22"/>
                    <a:pt x="92" y="22"/>
                  </a:cubicBezTo>
                  <a:cubicBezTo>
                    <a:pt x="93" y="21"/>
                    <a:pt x="93" y="19"/>
                    <a:pt x="99" y="18"/>
                  </a:cubicBezTo>
                  <a:cubicBezTo>
                    <a:pt x="99" y="17"/>
                    <a:pt x="98" y="16"/>
                    <a:pt x="97" y="16"/>
                  </a:cubicBezTo>
                  <a:cubicBezTo>
                    <a:pt x="93" y="15"/>
                    <a:pt x="92" y="11"/>
                    <a:pt x="92" y="8"/>
                  </a:cubicBezTo>
                  <a:cubicBezTo>
                    <a:pt x="92" y="7"/>
                    <a:pt x="92" y="6"/>
                    <a:pt x="86" y="1"/>
                  </a:cubicBezTo>
                  <a:cubicBezTo>
                    <a:pt x="86" y="1"/>
                    <a:pt x="86" y="1"/>
                    <a:pt x="86" y="1"/>
                  </a:cubicBezTo>
                  <a:cubicBezTo>
                    <a:pt x="86" y="1"/>
                    <a:pt x="85" y="0"/>
                    <a:pt x="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566"/>
            <p:cNvSpPr/>
            <p:nvPr/>
          </p:nvSpPr>
          <p:spPr bwMode="auto">
            <a:xfrm>
              <a:off x="3051187" y="2460029"/>
              <a:ext cx="112854" cy="83953"/>
            </a:xfrm>
            <a:custGeom>
              <a:gdLst>
                <a:gd name="T0" fmla="*/ 1 w 32"/>
                <a:gd name="T1" fmla="*/ 17 h 23"/>
                <a:gd name="T2" fmla="*/ 2 w 32"/>
                <a:gd name="T3" fmla="*/ 20 h 23"/>
                <a:gd name="T4" fmla="*/ 2 w 32"/>
                <a:gd name="T5" fmla="*/ 22 h 23"/>
                <a:gd name="T6" fmla="*/ 5 w 32"/>
                <a:gd name="T7" fmla="*/ 20 h 23"/>
                <a:gd name="T8" fmla="*/ 7 w 32"/>
                <a:gd name="T9" fmla="*/ 19 h 23"/>
                <a:gd name="T10" fmla="*/ 8 w 32"/>
                <a:gd name="T11" fmla="*/ 19 h 23"/>
                <a:gd name="T12" fmla="*/ 15 w 32"/>
                <a:gd name="T13" fmla="*/ 17 h 23"/>
                <a:gd name="T14" fmla="*/ 31 w 32"/>
                <a:gd name="T15" fmla="*/ 23 h 23"/>
                <a:gd name="T16" fmla="*/ 32 w 32"/>
                <a:gd name="T17" fmla="*/ 22 h 23"/>
                <a:gd name="T18" fmla="*/ 31 w 32"/>
                <a:gd name="T19" fmla="*/ 22 h 23"/>
                <a:gd name="T20" fmla="*/ 31 w 32"/>
                <a:gd name="T21" fmla="*/ 22 h 23"/>
                <a:gd name="T22" fmla="*/ 24 w 32"/>
                <a:gd name="T23" fmla="*/ 17 h 23"/>
                <a:gd name="T24" fmla="*/ 20 w 32"/>
                <a:gd name="T25" fmla="*/ 15 h 23"/>
                <a:gd name="T26" fmla="*/ 23 w 32"/>
                <a:gd name="T27" fmla="*/ 12 h 23"/>
                <a:gd name="T28" fmla="*/ 31 w 32"/>
                <a:gd name="T29" fmla="*/ 5 h 23"/>
                <a:gd name="T30" fmla="*/ 27 w 32"/>
                <a:gd name="T31" fmla="*/ 0 h 23"/>
                <a:gd name="T32" fmla="*/ 27 w 32"/>
                <a:gd name="T33" fmla="*/ 0 h 23"/>
                <a:gd name="T34" fmla="*/ 26 w 32"/>
                <a:gd name="T35" fmla="*/ 1 h 23"/>
                <a:gd name="T36" fmla="*/ 25 w 32"/>
                <a:gd name="T37" fmla="*/ 2 h 23"/>
                <a:gd name="T38" fmla="*/ 24 w 32"/>
                <a:gd name="T39" fmla="*/ 3 h 23"/>
                <a:gd name="T40" fmla="*/ 23 w 32"/>
                <a:gd name="T41" fmla="*/ 3 h 23"/>
                <a:gd name="T42" fmla="*/ 19 w 32"/>
                <a:gd name="T43" fmla="*/ 7 h 23"/>
                <a:gd name="T44" fmla="*/ 18 w 32"/>
                <a:gd name="T45" fmla="*/ 7 h 23"/>
                <a:gd name="T46" fmla="*/ 16 w 32"/>
                <a:gd name="T47" fmla="*/ 8 h 23"/>
                <a:gd name="T48" fmla="*/ 14 w 32"/>
                <a:gd name="T49" fmla="*/ 9 h 23"/>
                <a:gd name="T50" fmla="*/ 6 w 32"/>
                <a:gd name="T51" fmla="*/ 10 h 23"/>
                <a:gd name="T52" fmla="*/ 5 w 32"/>
                <a:gd name="T53" fmla="*/ 9 h 23"/>
                <a:gd name="T54" fmla="*/ 5 w 32"/>
                <a:gd name="T55" fmla="*/ 9 h 23"/>
                <a:gd name="T56" fmla="*/ 2 w 32"/>
                <a:gd name="T57" fmla="*/ 8 h 23"/>
                <a:gd name="T58" fmla="*/ 1 w 32"/>
                <a:gd name="T59" fmla="*/ 8 h 23"/>
                <a:gd name="T60" fmla="*/ 0 w 32"/>
                <a:gd name="T61" fmla="*/ 10 h 23"/>
                <a:gd name="T62" fmla="*/ 1 w 32"/>
                <a:gd name="T63" fmla="*/ 17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23">
                  <a:moveTo>
                    <a:pt x="1" y="17"/>
                  </a:moveTo>
                  <a:cubicBezTo>
                    <a:pt x="1" y="18"/>
                    <a:pt x="2" y="19"/>
                    <a:pt x="2" y="20"/>
                  </a:cubicBezTo>
                  <a:cubicBezTo>
                    <a:pt x="2" y="22"/>
                    <a:pt x="2" y="22"/>
                    <a:pt x="2" y="22"/>
                  </a:cubicBezTo>
                  <a:cubicBezTo>
                    <a:pt x="3" y="21"/>
                    <a:pt x="4" y="20"/>
                    <a:pt x="5" y="20"/>
                  </a:cubicBezTo>
                  <a:cubicBezTo>
                    <a:pt x="6" y="20"/>
                    <a:pt x="6" y="20"/>
                    <a:pt x="7" y="19"/>
                  </a:cubicBezTo>
                  <a:cubicBezTo>
                    <a:pt x="8" y="19"/>
                    <a:pt x="8" y="19"/>
                    <a:pt x="8" y="19"/>
                  </a:cubicBezTo>
                  <a:cubicBezTo>
                    <a:pt x="10" y="18"/>
                    <a:pt x="13" y="17"/>
                    <a:pt x="15" y="17"/>
                  </a:cubicBezTo>
                  <a:cubicBezTo>
                    <a:pt x="20" y="18"/>
                    <a:pt x="27" y="21"/>
                    <a:pt x="31" y="23"/>
                  </a:cubicBezTo>
                  <a:cubicBezTo>
                    <a:pt x="32" y="22"/>
                    <a:pt x="32" y="22"/>
                    <a:pt x="32" y="22"/>
                  </a:cubicBezTo>
                  <a:cubicBezTo>
                    <a:pt x="31" y="22"/>
                    <a:pt x="31" y="22"/>
                    <a:pt x="31" y="22"/>
                  </a:cubicBezTo>
                  <a:cubicBezTo>
                    <a:pt x="31" y="22"/>
                    <a:pt x="31" y="22"/>
                    <a:pt x="31" y="22"/>
                  </a:cubicBezTo>
                  <a:cubicBezTo>
                    <a:pt x="29" y="20"/>
                    <a:pt x="27" y="19"/>
                    <a:pt x="24" y="17"/>
                  </a:cubicBezTo>
                  <a:cubicBezTo>
                    <a:pt x="20" y="15"/>
                    <a:pt x="20" y="15"/>
                    <a:pt x="20" y="15"/>
                  </a:cubicBezTo>
                  <a:cubicBezTo>
                    <a:pt x="23" y="12"/>
                    <a:pt x="23" y="12"/>
                    <a:pt x="23" y="12"/>
                  </a:cubicBezTo>
                  <a:cubicBezTo>
                    <a:pt x="26" y="10"/>
                    <a:pt x="29" y="7"/>
                    <a:pt x="31" y="5"/>
                  </a:cubicBezTo>
                  <a:cubicBezTo>
                    <a:pt x="27" y="0"/>
                    <a:pt x="27" y="0"/>
                    <a:pt x="27" y="0"/>
                  </a:cubicBezTo>
                  <a:cubicBezTo>
                    <a:pt x="27" y="0"/>
                    <a:pt x="27" y="0"/>
                    <a:pt x="27" y="0"/>
                  </a:cubicBezTo>
                  <a:cubicBezTo>
                    <a:pt x="26" y="1"/>
                    <a:pt x="26" y="1"/>
                    <a:pt x="26" y="1"/>
                  </a:cubicBezTo>
                  <a:cubicBezTo>
                    <a:pt x="26" y="1"/>
                    <a:pt x="26" y="1"/>
                    <a:pt x="25" y="2"/>
                  </a:cubicBezTo>
                  <a:cubicBezTo>
                    <a:pt x="25" y="2"/>
                    <a:pt x="24" y="2"/>
                    <a:pt x="24" y="3"/>
                  </a:cubicBezTo>
                  <a:cubicBezTo>
                    <a:pt x="23" y="3"/>
                    <a:pt x="23" y="3"/>
                    <a:pt x="23" y="3"/>
                  </a:cubicBezTo>
                  <a:cubicBezTo>
                    <a:pt x="22" y="5"/>
                    <a:pt x="20" y="6"/>
                    <a:pt x="19" y="7"/>
                  </a:cubicBezTo>
                  <a:cubicBezTo>
                    <a:pt x="18" y="7"/>
                    <a:pt x="18" y="7"/>
                    <a:pt x="18" y="7"/>
                  </a:cubicBezTo>
                  <a:cubicBezTo>
                    <a:pt x="17" y="7"/>
                    <a:pt x="17" y="7"/>
                    <a:pt x="16" y="8"/>
                  </a:cubicBezTo>
                  <a:cubicBezTo>
                    <a:pt x="15" y="8"/>
                    <a:pt x="15" y="8"/>
                    <a:pt x="14" y="9"/>
                  </a:cubicBezTo>
                  <a:cubicBezTo>
                    <a:pt x="12" y="10"/>
                    <a:pt x="9" y="11"/>
                    <a:pt x="6" y="10"/>
                  </a:cubicBezTo>
                  <a:cubicBezTo>
                    <a:pt x="6" y="10"/>
                    <a:pt x="5" y="9"/>
                    <a:pt x="5" y="9"/>
                  </a:cubicBezTo>
                  <a:cubicBezTo>
                    <a:pt x="5" y="9"/>
                    <a:pt x="5" y="9"/>
                    <a:pt x="5" y="9"/>
                  </a:cubicBezTo>
                  <a:cubicBezTo>
                    <a:pt x="4" y="9"/>
                    <a:pt x="3" y="8"/>
                    <a:pt x="2" y="8"/>
                  </a:cubicBezTo>
                  <a:cubicBezTo>
                    <a:pt x="1" y="8"/>
                    <a:pt x="1" y="8"/>
                    <a:pt x="1" y="8"/>
                  </a:cubicBezTo>
                  <a:cubicBezTo>
                    <a:pt x="0" y="9"/>
                    <a:pt x="0" y="10"/>
                    <a:pt x="0" y="10"/>
                  </a:cubicBezTo>
                  <a:cubicBezTo>
                    <a:pt x="0" y="12"/>
                    <a:pt x="0" y="15"/>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56780562"/>
      </p:ext>
    </p:extLst>
  </p:cSld>
  <p:clrMapOvr>
    <a:masterClrMapping/>
  </p:clrMapOvr>
  <p:transition/>
  <p:timing/>
</p:sldLayout>
</file>

<file path=ppt/slideLayouts/slideLayout18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Oceani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1199" name="Text Placeholder 377"/>
          <p:cNvSpPr>
            <a:spLocks noGrp="1"/>
          </p:cNvSpPr>
          <p:nvPr>
            <p:ph type="body" sz="quarter" idx="12" hasCustomPrompt="1"/>
          </p:nvPr>
        </p:nvSpPr>
        <p:spPr>
          <a:xfrm>
            <a:off x="8201602"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grpSp>
        <p:nvGrpSpPr>
          <p:cNvPr id="477" name="Group 476"/>
          <p:cNvGrpSpPr/>
          <p:nvPr userDrawn="1"/>
        </p:nvGrpSpPr>
        <p:grpSpPr>
          <a:xfrm>
            <a:off x="0" y="1"/>
            <a:ext cx="8911766" cy="6857999"/>
            <a:chOff x="0" y="1"/>
            <a:chExt cx="8911766" cy="6857999"/>
          </a:xfrm>
          <a:gradFill>
            <a:gsLst>
              <a:gs pos="0">
                <a:schemeClr val="accent5"/>
              </a:gs>
              <a:gs pos="100000">
                <a:schemeClr val="accent1"/>
              </a:gs>
            </a:gsLst>
            <a:lin ang="18900000" scaled="1"/>
          </a:gradFill>
        </p:grpSpPr>
        <p:sp>
          <p:nvSpPr>
            <p:cNvPr id="478" name="Oval 1053"/>
            <p:cNvSpPr>
              <a:spLocks noChangeArrowheads="1"/>
            </p:cNvSpPr>
            <p:nvPr/>
          </p:nvSpPr>
          <p:spPr bwMode="auto">
            <a:xfrm>
              <a:off x="8839280" y="6147904"/>
              <a:ext cx="1342" cy="134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054"/>
            <p:cNvSpPr/>
            <p:nvPr/>
          </p:nvSpPr>
          <p:spPr bwMode="auto">
            <a:xfrm>
              <a:off x="2718230" y="4087417"/>
              <a:ext cx="16108" cy="18793"/>
            </a:xfrm>
            <a:custGeom>
              <a:gdLst>
                <a:gd name="T0" fmla="*/ 1 w 5"/>
                <a:gd name="T1" fmla="*/ 0 h 6"/>
                <a:gd name="T2" fmla="*/ 0 w 5"/>
                <a:gd name="T3" fmla="*/ 1 h 6"/>
                <a:gd name="T4" fmla="*/ 5 w 5"/>
                <a:gd name="T5" fmla="*/ 6 h 6"/>
                <a:gd name="T6" fmla="*/ 3 w 5"/>
                <a:gd name="T7" fmla="*/ 0 h 6"/>
                <a:gd name="T8" fmla="*/ 2 w 5"/>
                <a:gd name="T9" fmla="*/ 0 h 6"/>
                <a:gd name="T10" fmla="*/ 2 w 5"/>
                <a:gd name="T11" fmla="*/ 0 h 6"/>
                <a:gd name="T12" fmla="*/ 1 w 5"/>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5" h="6">
                  <a:moveTo>
                    <a:pt x="1" y="0"/>
                  </a:moveTo>
                  <a:cubicBezTo>
                    <a:pt x="1" y="0"/>
                    <a:pt x="0" y="0"/>
                    <a:pt x="0" y="1"/>
                  </a:cubicBezTo>
                  <a:cubicBezTo>
                    <a:pt x="0" y="3"/>
                    <a:pt x="4" y="5"/>
                    <a:pt x="5" y="6"/>
                  </a:cubicBezTo>
                  <a:cubicBezTo>
                    <a:pt x="4" y="5"/>
                    <a:pt x="4" y="1"/>
                    <a:pt x="3" y="0"/>
                  </a:cubicBezTo>
                  <a:cubicBezTo>
                    <a:pt x="2" y="0"/>
                    <a:pt x="2" y="0"/>
                    <a:pt x="2" y="0"/>
                  </a:cubicBezTo>
                  <a:cubicBezTo>
                    <a:pt x="2"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Oval 1055"/>
            <p:cNvSpPr>
              <a:spLocks noChangeArrowheads="1"/>
            </p:cNvSpPr>
            <p:nvPr/>
          </p:nvSpPr>
          <p:spPr bwMode="auto">
            <a:xfrm>
              <a:off x="6123735" y="5671374"/>
              <a:ext cx="1342" cy="26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056"/>
            <p:cNvSpPr/>
            <p:nvPr/>
          </p:nvSpPr>
          <p:spPr bwMode="auto">
            <a:xfrm>
              <a:off x="732915" y="3970633"/>
              <a:ext cx="21477" cy="21477"/>
            </a:xfrm>
            <a:custGeom>
              <a:gdLst>
                <a:gd name="T0" fmla="*/ 7 w 7"/>
                <a:gd name="T1" fmla="*/ 0 h 7"/>
                <a:gd name="T2" fmla="*/ 0 w 7"/>
                <a:gd name="T3" fmla="*/ 0 h 7"/>
                <a:gd name="T4" fmla="*/ 0 w 7"/>
                <a:gd name="T5" fmla="*/ 7 h 7"/>
                <a:gd name="T6" fmla="*/ 7 w 7"/>
                <a:gd name="T7" fmla="*/ 0 h 7"/>
              </a:gdLst>
              <a:cxnLst>
                <a:cxn ang="0">
                  <a:pos x="T0" y="T1"/>
                </a:cxn>
                <a:cxn ang="0">
                  <a:pos x="T2" y="T3"/>
                </a:cxn>
                <a:cxn ang="0">
                  <a:pos x="T4" y="T5"/>
                </a:cxn>
                <a:cxn ang="0">
                  <a:pos x="T6" y="T7"/>
                </a:cxn>
              </a:cxnLst>
              <a:rect l="0" t="0" r="r" b="b"/>
              <a:pathLst>
                <a:path w="7" h="7">
                  <a:moveTo>
                    <a:pt x="7" y="0"/>
                  </a:moveTo>
                  <a:cubicBezTo>
                    <a:pt x="5" y="0"/>
                    <a:pt x="3" y="0"/>
                    <a:pt x="0" y="0"/>
                  </a:cubicBezTo>
                  <a:cubicBezTo>
                    <a:pt x="0" y="3"/>
                    <a:pt x="0" y="5"/>
                    <a:pt x="0" y="7"/>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057"/>
            <p:cNvSpPr/>
            <p:nvPr/>
          </p:nvSpPr>
          <p:spPr bwMode="auto">
            <a:xfrm>
              <a:off x="2331637" y="3389401"/>
              <a:ext cx="9396" cy="22820"/>
            </a:xfrm>
            <a:custGeom>
              <a:gdLst>
                <a:gd name="T0" fmla="*/ 0 w 3"/>
                <a:gd name="T1" fmla="*/ 0 h 7"/>
                <a:gd name="T2" fmla="*/ 2 w 3"/>
                <a:gd name="T3" fmla="*/ 4 h 7"/>
                <a:gd name="T4" fmla="*/ 3 w 3"/>
                <a:gd name="T5" fmla="*/ 7 h 7"/>
                <a:gd name="T6" fmla="*/ 2 w 3"/>
                <a:gd name="T7" fmla="*/ 3 h 7"/>
                <a:gd name="T8" fmla="*/ 0 w 3"/>
                <a:gd name="T9" fmla="*/ 0 h 7"/>
              </a:gdLst>
              <a:cxnLst>
                <a:cxn ang="0">
                  <a:pos x="T0" y="T1"/>
                </a:cxn>
                <a:cxn ang="0">
                  <a:pos x="T2" y="T3"/>
                </a:cxn>
                <a:cxn ang="0">
                  <a:pos x="T4" y="T5"/>
                </a:cxn>
                <a:cxn ang="0">
                  <a:pos x="T6" y="T7"/>
                </a:cxn>
                <a:cxn ang="0">
                  <a:pos x="T8" y="T9"/>
                </a:cxn>
              </a:cxnLst>
              <a:rect l="0" t="0" r="r" b="b"/>
              <a:pathLst>
                <a:path w="3" h="7">
                  <a:moveTo>
                    <a:pt x="0" y="0"/>
                  </a:moveTo>
                  <a:cubicBezTo>
                    <a:pt x="1" y="1"/>
                    <a:pt x="1" y="3"/>
                    <a:pt x="2" y="4"/>
                  </a:cubicBezTo>
                  <a:cubicBezTo>
                    <a:pt x="2" y="5"/>
                    <a:pt x="2" y="6"/>
                    <a:pt x="3" y="7"/>
                  </a:cubicBezTo>
                  <a:cubicBezTo>
                    <a:pt x="3" y="6"/>
                    <a:pt x="2" y="4"/>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058"/>
            <p:cNvSpPr/>
            <p:nvPr/>
          </p:nvSpPr>
          <p:spPr bwMode="auto">
            <a:xfrm>
              <a:off x="1338309" y="4138425"/>
              <a:ext cx="4027" cy="0"/>
            </a:xfrm>
            <a:custGeom>
              <a:gdLst>
                <a:gd name="T0" fmla="*/ 0 w 3"/>
                <a:gd name="T1" fmla="*/ 0 w 3"/>
                <a:gd name="T2" fmla="*/ 3 w 3"/>
                <a:gd name="T3" fmla="*/ 0 w 3"/>
              </a:gd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059"/>
            <p:cNvSpPr/>
            <p:nvPr/>
          </p:nvSpPr>
          <p:spPr bwMode="auto">
            <a:xfrm>
              <a:off x="1338309" y="4138425"/>
              <a:ext cx="4027" cy="0"/>
            </a:xfrm>
            <a:custGeom>
              <a:gdLst>
                <a:gd name="T0" fmla="*/ 0 w 3"/>
                <a:gd name="T1" fmla="*/ 0 w 3"/>
                <a:gd name="T2" fmla="*/ 3 w 3"/>
                <a:gd name="T3" fmla="*/ 0 w 3"/>
              </a:gdLst>
              <a:cxnLst>
                <a:cxn ang="0">
                  <a:pos x="T0" y="0"/>
                </a:cxn>
                <a:cxn ang="0">
                  <a:pos x="T1" y="0"/>
                </a:cxn>
                <a:cxn ang="0">
                  <a:pos x="T2" y="0"/>
                </a:cxn>
                <a:cxn ang="0">
                  <a:pos x="T3" y="0"/>
                </a:cxn>
              </a:cxnLst>
              <a:rect l="0" t="0" r="r" b="b"/>
              <a:pathLst>
                <a:path w="3">
                  <a:moveTo>
                    <a:pt x="0" y="0"/>
                  </a:moveTo>
                  <a:lnTo>
                    <a:pt x="0" y="0"/>
                  </a:lnTo>
                  <a:lnTo>
                    <a:pt x="3"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Oval 1060"/>
            <p:cNvSpPr>
              <a:spLocks noChangeArrowheads="1"/>
            </p:cNvSpPr>
            <p:nvPr/>
          </p:nvSpPr>
          <p:spPr bwMode="auto">
            <a:xfrm>
              <a:off x="6707651" y="4354542"/>
              <a:ext cx="1342" cy="134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061"/>
            <p:cNvSpPr/>
            <p:nvPr/>
          </p:nvSpPr>
          <p:spPr bwMode="auto">
            <a:xfrm>
              <a:off x="6729129" y="4373334"/>
              <a:ext cx="4027" cy="0"/>
            </a:xfrm>
            <a:custGeom>
              <a:gdLst>
                <a:gd name="T0" fmla="*/ 1 w 1"/>
                <a:gd name="T1" fmla="*/ 1 w 1"/>
                <a:gd name="T2" fmla="*/ 0 w 1"/>
                <a:gd name="T3" fmla="*/ 1 w 1"/>
                <a:gd name="T4" fmla="*/ 1 w 1"/>
              </a:gd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0" y="0"/>
                    <a:pt x="0" y="0"/>
                  </a:cubicBezTo>
                  <a:cubicBezTo>
                    <a:pt x="0" y="0"/>
                    <a:pt x="0"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062"/>
            <p:cNvSpPr/>
            <p:nvPr/>
          </p:nvSpPr>
          <p:spPr bwMode="auto">
            <a:xfrm>
              <a:off x="8906397" y="6204282"/>
              <a:ext cx="5369" cy="6712"/>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063"/>
            <p:cNvSpPr/>
            <p:nvPr/>
          </p:nvSpPr>
          <p:spPr bwMode="auto">
            <a:xfrm>
              <a:off x="8827199" y="6169381"/>
              <a:ext cx="18793" cy="18793"/>
            </a:xfrm>
            <a:custGeom>
              <a:gdLst>
                <a:gd name="T0" fmla="*/ 5 w 6"/>
                <a:gd name="T1" fmla="*/ 0 h 6"/>
                <a:gd name="T2" fmla="*/ 3 w 6"/>
                <a:gd name="T3" fmla="*/ 1 h 6"/>
                <a:gd name="T4" fmla="*/ 2 w 6"/>
                <a:gd name="T5" fmla="*/ 3 h 6"/>
                <a:gd name="T6" fmla="*/ 2 w 6"/>
                <a:gd name="T7" fmla="*/ 2 h 6"/>
                <a:gd name="T8" fmla="*/ 0 w 6"/>
                <a:gd name="T9" fmla="*/ 6 h 6"/>
                <a:gd name="T10" fmla="*/ 1 w 6"/>
                <a:gd name="T11" fmla="*/ 6 h 6"/>
                <a:gd name="T12" fmla="*/ 2 w 6"/>
                <a:gd name="T13" fmla="*/ 6 h 6"/>
                <a:gd name="T14" fmla="*/ 2 w 6"/>
                <a:gd name="T15" fmla="*/ 6 h 6"/>
                <a:gd name="T16" fmla="*/ 6 w 6"/>
                <a:gd name="T17" fmla="*/ 1 h 6"/>
                <a:gd name="T18" fmla="*/ 5 w 6"/>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5" y="0"/>
                  </a:moveTo>
                  <a:cubicBezTo>
                    <a:pt x="4" y="0"/>
                    <a:pt x="4" y="1"/>
                    <a:pt x="3" y="1"/>
                  </a:cubicBezTo>
                  <a:cubicBezTo>
                    <a:pt x="3" y="1"/>
                    <a:pt x="2" y="2"/>
                    <a:pt x="2" y="3"/>
                  </a:cubicBezTo>
                  <a:cubicBezTo>
                    <a:pt x="2" y="2"/>
                    <a:pt x="2" y="2"/>
                    <a:pt x="2" y="2"/>
                  </a:cubicBezTo>
                  <a:cubicBezTo>
                    <a:pt x="1" y="3"/>
                    <a:pt x="0" y="4"/>
                    <a:pt x="0" y="6"/>
                  </a:cubicBezTo>
                  <a:cubicBezTo>
                    <a:pt x="0" y="6"/>
                    <a:pt x="1" y="6"/>
                    <a:pt x="1" y="6"/>
                  </a:cubicBezTo>
                  <a:cubicBezTo>
                    <a:pt x="2" y="6"/>
                    <a:pt x="2" y="6"/>
                    <a:pt x="2" y="6"/>
                  </a:cubicBezTo>
                  <a:cubicBezTo>
                    <a:pt x="2" y="6"/>
                    <a:pt x="2" y="6"/>
                    <a:pt x="2" y="6"/>
                  </a:cubicBezTo>
                  <a:cubicBezTo>
                    <a:pt x="3" y="5"/>
                    <a:pt x="6" y="2"/>
                    <a:pt x="6" y="1"/>
                  </a:cubicBezTo>
                  <a:cubicBezTo>
                    <a:pt x="6" y="1"/>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064"/>
            <p:cNvSpPr/>
            <p:nvPr/>
          </p:nvSpPr>
          <p:spPr bwMode="auto">
            <a:xfrm>
              <a:off x="7776150" y="5708960"/>
              <a:ext cx="22820" cy="13423"/>
            </a:xfrm>
            <a:custGeom>
              <a:gdLst>
                <a:gd name="T0" fmla="*/ 3 w 7"/>
                <a:gd name="T1" fmla="*/ 0 h 4"/>
                <a:gd name="T2" fmla="*/ 3 w 7"/>
                <a:gd name="T3" fmla="*/ 0 h 4"/>
                <a:gd name="T4" fmla="*/ 0 w 7"/>
                <a:gd name="T5" fmla="*/ 4 h 4"/>
                <a:gd name="T6" fmla="*/ 3 w 7"/>
                <a:gd name="T7" fmla="*/ 2 h 4"/>
                <a:gd name="T8" fmla="*/ 4 w 7"/>
                <a:gd name="T9" fmla="*/ 3 h 4"/>
                <a:gd name="T10" fmla="*/ 4 w 7"/>
                <a:gd name="T11" fmla="*/ 2 h 4"/>
                <a:gd name="T12" fmla="*/ 5 w 7"/>
                <a:gd name="T13" fmla="*/ 3 h 4"/>
                <a:gd name="T14" fmla="*/ 7 w 7"/>
                <a:gd name="T15" fmla="*/ 2 h 4"/>
                <a:gd name="T16" fmla="*/ 7 w 7"/>
                <a:gd name="T17" fmla="*/ 0 h 4"/>
                <a:gd name="T18" fmla="*/ 3 w 7"/>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3" y="0"/>
                  </a:moveTo>
                  <a:cubicBezTo>
                    <a:pt x="3" y="0"/>
                    <a:pt x="3" y="0"/>
                    <a:pt x="3" y="0"/>
                  </a:cubicBezTo>
                  <a:cubicBezTo>
                    <a:pt x="1" y="0"/>
                    <a:pt x="1" y="1"/>
                    <a:pt x="0" y="4"/>
                  </a:cubicBezTo>
                  <a:cubicBezTo>
                    <a:pt x="2" y="4"/>
                    <a:pt x="2" y="2"/>
                    <a:pt x="3" y="2"/>
                  </a:cubicBezTo>
                  <a:cubicBezTo>
                    <a:pt x="3" y="2"/>
                    <a:pt x="3" y="2"/>
                    <a:pt x="4" y="3"/>
                  </a:cubicBezTo>
                  <a:cubicBezTo>
                    <a:pt x="4" y="2"/>
                    <a:pt x="4" y="2"/>
                    <a:pt x="4" y="2"/>
                  </a:cubicBezTo>
                  <a:cubicBezTo>
                    <a:pt x="4" y="2"/>
                    <a:pt x="5" y="3"/>
                    <a:pt x="5" y="3"/>
                  </a:cubicBezTo>
                  <a:cubicBezTo>
                    <a:pt x="6" y="3"/>
                    <a:pt x="6" y="2"/>
                    <a:pt x="7" y="2"/>
                  </a:cubicBezTo>
                  <a:cubicBezTo>
                    <a:pt x="7" y="1"/>
                    <a:pt x="7" y="1"/>
                    <a:pt x="7"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065"/>
            <p:cNvSpPr/>
            <p:nvPr/>
          </p:nvSpPr>
          <p:spPr bwMode="auto">
            <a:xfrm>
              <a:off x="7849979" y="5778761"/>
              <a:ext cx="12081" cy="10739"/>
            </a:xfrm>
            <a:custGeom>
              <a:gdLst>
                <a:gd name="T0" fmla="*/ 1 w 4"/>
                <a:gd name="T1" fmla="*/ 0 h 3"/>
                <a:gd name="T2" fmla="*/ 0 w 4"/>
                <a:gd name="T3" fmla="*/ 0 h 3"/>
                <a:gd name="T4" fmla="*/ 0 w 4"/>
                <a:gd name="T5" fmla="*/ 0 h 3"/>
                <a:gd name="T6" fmla="*/ 0 w 4"/>
                <a:gd name="T7" fmla="*/ 0 h 3"/>
                <a:gd name="T8" fmla="*/ 1 w 4"/>
                <a:gd name="T9" fmla="*/ 3 h 3"/>
                <a:gd name="T10" fmla="*/ 2 w 4"/>
                <a:gd name="T11" fmla="*/ 3 h 3"/>
                <a:gd name="T12" fmla="*/ 4 w 4"/>
                <a:gd name="T13" fmla="*/ 3 h 3"/>
                <a:gd name="T14" fmla="*/ 1 w 4"/>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1" y="0"/>
                  </a:moveTo>
                  <a:cubicBezTo>
                    <a:pt x="1" y="0"/>
                    <a:pt x="1" y="0"/>
                    <a:pt x="0" y="0"/>
                  </a:cubicBezTo>
                  <a:cubicBezTo>
                    <a:pt x="0" y="0"/>
                    <a:pt x="0" y="0"/>
                    <a:pt x="0" y="0"/>
                  </a:cubicBezTo>
                  <a:cubicBezTo>
                    <a:pt x="0" y="0"/>
                    <a:pt x="0" y="0"/>
                    <a:pt x="0" y="0"/>
                  </a:cubicBezTo>
                  <a:cubicBezTo>
                    <a:pt x="0" y="1"/>
                    <a:pt x="1" y="2"/>
                    <a:pt x="1" y="3"/>
                  </a:cubicBezTo>
                  <a:cubicBezTo>
                    <a:pt x="1" y="3"/>
                    <a:pt x="2" y="3"/>
                    <a:pt x="2" y="3"/>
                  </a:cubicBezTo>
                  <a:cubicBezTo>
                    <a:pt x="3" y="3"/>
                    <a:pt x="3" y="3"/>
                    <a:pt x="4"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086"/>
            <p:cNvSpPr/>
            <p:nvPr/>
          </p:nvSpPr>
          <p:spPr bwMode="auto">
            <a:xfrm>
              <a:off x="3134354" y="4805567"/>
              <a:ext cx="22820" cy="5369"/>
            </a:xfrm>
            <a:custGeom>
              <a:gdLst>
                <a:gd name="T0" fmla="*/ 5 w 7"/>
                <a:gd name="T1" fmla="*/ 0 h 2"/>
                <a:gd name="T2" fmla="*/ 0 w 7"/>
                <a:gd name="T3" fmla="*/ 2 h 2"/>
                <a:gd name="T4" fmla="*/ 7 w 7"/>
                <a:gd name="T5" fmla="*/ 1 h 2"/>
                <a:gd name="T6" fmla="*/ 5 w 7"/>
                <a:gd name="T7" fmla="*/ 0 h 2"/>
              </a:gdLst>
              <a:cxnLst>
                <a:cxn ang="0">
                  <a:pos x="T0" y="T1"/>
                </a:cxn>
                <a:cxn ang="0">
                  <a:pos x="T2" y="T3"/>
                </a:cxn>
                <a:cxn ang="0">
                  <a:pos x="T4" y="T5"/>
                </a:cxn>
                <a:cxn ang="0">
                  <a:pos x="T6" y="T7"/>
                </a:cxn>
              </a:cxnLst>
              <a:rect l="0" t="0" r="r" b="b"/>
              <a:pathLst>
                <a:path w="7" h="2">
                  <a:moveTo>
                    <a:pt x="5" y="0"/>
                  </a:moveTo>
                  <a:cubicBezTo>
                    <a:pt x="4" y="0"/>
                    <a:pt x="0" y="0"/>
                    <a:pt x="0" y="2"/>
                  </a:cubicBezTo>
                  <a:cubicBezTo>
                    <a:pt x="2" y="2"/>
                    <a:pt x="5" y="1"/>
                    <a:pt x="7"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087"/>
            <p:cNvSpPr>
              <a:spLocks noEditPoints="1"/>
            </p:cNvSpPr>
            <p:nvPr/>
          </p:nvSpPr>
          <p:spPr bwMode="auto">
            <a:xfrm>
              <a:off x="4635085" y="4147822"/>
              <a:ext cx="63090" cy="44297"/>
            </a:xfrm>
            <a:custGeom>
              <a:gdLst>
                <a:gd name="T0" fmla="*/ 1 w 20"/>
                <a:gd name="T1" fmla="*/ 10 h 14"/>
                <a:gd name="T2" fmla="*/ 1 w 20"/>
                <a:gd name="T3" fmla="*/ 10 h 14"/>
                <a:gd name="T4" fmla="*/ 1 w 20"/>
                <a:gd name="T5" fmla="*/ 10 h 14"/>
                <a:gd name="T6" fmla="*/ 12 w 20"/>
                <a:gd name="T7" fmla="*/ 0 h 14"/>
                <a:gd name="T8" fmla="*/ 7 w 20"/>
                <a:gd name="T9" fmla="*/ 4 h 14"/>
                <a:gd name="T10" fmla="*/ 1 w 20"/>
                <a:gd name="T11" fmla="*/ 10 h 14"/>
                <a:gd name="T12" fmla="*/ 1 w 20"/>
                <a:gd name="T13" fmla="*/ 10 h 14"/>
                <a:gd name="T14" fmla="*/ 1 w 20"/>
                <a:gd name="T15" fmla="*/ 11 h 14"/>
                <a:gd name="T16" fmla="*/ 2 w 20"/>
                <a:gd name="T17" fmla="*/ 12 h 14"/>
                <a:gd name="T18" fmla="*/ 2 w 20"/>
                <a:gd name="T19" fmla="*/ 12 h 14"/>
                <a:gd name="T20" fmla="*/ 7 w 20"/>
                <a:gd name="T21" fmla="*/ 14 h 14"/>
                <a:gd name="T22" fmla="*/ 18 w 20"/>
                <a:gd name="T23" fmla="*/ 10 h 14"/>
                <a:gd name="T24" fmla="*/ 19 w 20"/>
                <a:gd name="T25" fmla="*/ 8 h 14"/>
                <a:gd name="T26" fmla="*/ 18 w 20"/>
                <a:gd name="T27" fmla="*/ 8 h 14"/>
                <a:gd name="T28" fmla="*/ 19 w 20"/>
                <a:gd name="T29" fmla="*/ 7 h 14"/>
                <a:gd name="T30" fmla="*/ 18 w 20"/>
                <a:gd name="T31" fmla="*/ 3 h 14"/>
                <a:gd name="T32" fmla="*/ 12 w 20"/>
                <a:gd name="T33" fmla="*/ 0 h 14"/>
                <a:gd name="T34" fmla="*/ 12 w 20"/>
                <a:gd name="T35"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4">
                  <a:moveTo>
                    <a:pt x="1" y="10"/>
                  </a:moveTo>
                  <a:cubicBezTo>
                    <a:pt x="1" y="10"/>
                    <a:pt x="1" y="10"/>
                    <a:pt x="1" y="10"/>
                  </a:cubicBezTo>
                  <a:cubicBezTo>
                    <a:pt x="1" y="10"/>
                    <a:pt x="1" y="10"/>
                    <a:pt x="1" y="10"/>
                  </a:cubicBezTo>
                  <a:moveTo>
                    <a:pt x="12" y="0"/>
                  </a:moveTo>
                  <a:cubicBezTo>
                    <a:pt x="9" y="0"/>
                    <a:pt x="8" y="2"/>
                    <a:pt x="7" y="4"/>
                  </a:cubicBezTo>
                  <a:cubicBezTo>
                    <a:pt x="5" y="6"/>
                    <a:pt x="0" y="6"/>
                    <a:pt x="1" y="10"/>
                  </a:cubicBezTo>
                  <a:cubicBezTo>
                    <a:pt x="1" y="10"/>
                    <a:pt x="1" y="10"/>
                    <a:pt x="1" y="10"/>
                  </a:cubicBezTo>
                  <a:cubicBezTo>
                    <a:pt x="1" y="10"/>
                    <a:pt x="1" y="10"/>
                    <a:pt x="1" y="11"/>
                  </a:cubicBezTo>
                  <a:cubicBezTo>
                    <a:pt x="2" y="11"/>
                    <a:pt x="2" y="12"/>
                    <a:pt x="2" y="12"/>
                  </a:cubicBezTo>
                  <a:cubicBezTo>
                    <a:pt x="2" y="12"/>
                    <a:pt x="2" y="12"/>
                    <a:pt x="2" y="12"/>
                  </a:cubicBezTo>
                  <a:cubicBezTo>
                    <a:pt x="3" y="13"/>
                    <a:pt x="5" y="14"/>
                    <a:pt x="7" y="14"/>
                  </a:cubicBezTo>
                  <a:cubicBezTo>
                    <a:pt x="10" y="13"/>
                    <a:pt x="16" y="12"/>
                    <a:pt x="18" y="10"/>
                  </a:cubicBezTo>
                  <a:cubicBezTo>
                    <a:pt x="20" y="9"/>
                    <a:pt x="19" y="10"/>
                    <a:pt x="19" y="8"/>
                  </a:cubicBezTo>
                  <a:cubicBezTo>
                    <a:pt x="18" y="8"/>
                    <a:pt x="18" y="8"/>
                    <a:pt x="18" y="8"/>
                  </a:cubicBezTo>
                  <a:cubicBezTo>
                    <a:pt x="19" y="7"/>
                    <a:pt x="19" y="7"/>
                    <a:pt x="19" y="7"/>
                  </a:cubicBezTo>
                  <a:cubicBezTo>
                    <a:pt x="19" y="5"/>
                    <a:pt x="19" y="4"/>
                    <a:pt x="18" y="3"/>
                  </a:cubicBezTo>
                  <a:cubicBezTo>
                    <a:pt x="18" y="2"/>
                    <a:pt x="14"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088"/>
            <p:cNvSpPr/>
            <p:nvPr/>
          </p:nvSpPr>
          <p:spPr bwMode="auto">
            <a:xfrm>
              <a:off x="4672670" y="3963922"/>
              <a:ext cx="104702" cy="114099"/>
            </a:xfrm>
            <a:custGeom>
              <a:gdLst>
                <a:gd name="T0" fmla="*/ 18 w 33"/>
                <a:gd name="T1" fmla="*/ 0 h 36"/>
                <a:gd name="T2" fmla="*/ 14 w 33"/>
                <a:gd name="T3" fmla="*/ 1 h 36"/>
                <a:gd name="T4" fmla="*/ 0 w 33"/>
                <a:gd name="T5" fmla="*/ 1 h 36"/>
                <a:gd name="T6" fmla="*/ 8 w 33"/>
                <a:gd name="T7" fmla="*/ 12 h 36"/>
                <a:gd name="T8" fmla="*/ 18 w 33"/>
                <a:gd name="T9" fmla="*/ 21 h 36"/>
                <a:gd name="T10" fmla="*/ 17 w 33"/>
                <a:gd name="T11" fmla="*/ 23 h 36"/>
                <a:gd name="T12" fmla="*/ 18 w 33"/>
                <a:gd name="T13" fmla="*/ 30 h 36"/>
                <a:gd name="T14" fmla="*/ 22 w 33"/>
                <a:gd name="T15" fmla="*/ 36 h 36"/>
                <a:gd name="T16" fmla="*/ 23 w 33"/>
                <a:gd name="T17" fmla="*/ 36 h 36"/>
                <a:gd name="T18" fmla="*/ 24 w 33"/>
                <a:gd name="T19" fmla="*/ 36 h 36"/>
                <a:gd name="T20" fmla="*/ 25 w 33"/>
                <a:gd name="T21" fmla="*/ 35 h 36"/>
                <a:gd name="T22" fmla="*/ 25 w 33"/>
                <a:gd name="T23" fmla="*/ 35 h 36"/>
                <a:gd name="T24" fmla="*/ 29 w 33"/>
                <a:gd name="T25" fmla="*/ 36 h 36"/>
                <a:gd name="T26" fmla="*/ 30 w 33"/>
                <a:gd name="T27" fmla="*/ 35 h 36"/>
                <a:gd name="T28" fmla="*/ 30 w 33"/>
                <a:gd name="T29" fmla="*/ 35 h 36"/>
                <a:gd name="T30" fmla="*/ 31 w 33"/>
                <a:gd name="T31" fmla="*/ 35 h 36"/>
                <a:gd name="T32" fmla="*/ 32 w 33"/>
                <a:gd name="T33" fmla="*/ 35 h 36"/>
                <a:gd name="T34" fmla="*/ 30 w 33"/>
                <a:gd name="T35" fmla="*/ 34 h 36"/>
                <a:gd name="T36" fmla="*/ 32 w 33"/>
                <a:gd name="T37" fmla="*/ 30 h 36"/>
                <a:gd name="T38" fmla="*/ 30 w 33"/>
                <a:gd name="T39" fmla="*/ 20 h 36"/>
                <a:gd name="T40" fmla="*/ 29 w 33"/>
                <a:gd name="T41" fmla="*/ 10 h 36"/>
                <a:gd name="T42" fmla="*/ 29 w 33"/>
                <a:gd name="T43" fmla="*/ 10 h 36"/>
                <a:gd name="T44" fmla="*/ 26 w 33"/>
                <a:gd name="T45" fmla="*/ 8 h 36"/>
                <a:gd name="T46" fmla="*/ 24 w 33"/>
                <a:gd name="T47" fmla="*/ 5 h 36"/>
                <a:gd name="T48" fmla="*/ 25 w 33"/>
                <a:gd name="T49" fmla="*/ 5 h 36"/>
                <a:gd name="T50" fmla="*/ 21 w 33"/>
                <a:gd name="T51" fmla="*/ 1 h 36"/>
                <a:gd name="T52" fmla="*/ 18 w 33"/>
                <a:gd name="T53"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 h="36">
                  <a:moveTo>
                    <a:pt x="18" y="0"/>
                  </a:moveTo>
                  <a:cubicBezTo>
                    <a:pt x="16" y="0"/>
                    <a:pt x="15" y="1"/>
                    <a:pt x="14" y="1"/>
                  </a:cubicBezTo>
                  <a:cubicBezTo>
                    <a:pt x="9" y="1"/>
                    <a:pt x="4" y="1"/>
                    <a:pt x="0" y="1"/>
                  </a:cubicBezTo>
                  <a:cubicBezTo>
                    <a:pt x="2" y="7"/>
                    <a:pt x="3" y="8"/>
                    <a:pt x="8" y="12"/>
                  </a:cubicBezTo>
                  <a:cubicBezTo>
                    <a:pt x="11" y="15"/>
                    <a:pt x="16" y="18"/>
                    <a:pt x="18" y="21"/>
                  </a:cubicBezTo>
                  <a:cubicBezTo>
                    <a:pt x="17" y="21"/>
                    <a:pt x="17" y="22"/>
                    <a:pt x="17" y="23"/>
                  </a:cubicBezTo>
                  <a:cubicBezTo>
                    <a:pt x="17" y="26"/>
                    <a:pt x="16" y="28"/>
                    <a:pt x="18" y="30"/>
                  </a:cubicBezTo>
                  <a:cubicBezTo>
                    <a:pt x="19" y="32"/>
                    <a:pt x="21" y="34"/>
                    <a:pt x="22" y="36"/>
                  </a:cubicBezTo>
                  <a:cubicBezTo>
                    <a:pt x="22" y="36"/>
                    <a:pt x="23" y="36"/>
                    <a:pt x="23" y="36"/>
                  </a:cubicBezTo>
                  <a:cubicBezTo>
                    <a:pt x="23" y="36"/>
                    <a:pt x="24" y="36"/>
                    <a:pt x="24" y="36"/>
                  </a:cubicBezTo>
                  <a:cubicBezTo>
                    <a:pt x="24" y="36"/>
                    <a:pt x="24" y="35"/>
                    <a:pt x="25" y="35"/>
                  </a:cubicBezTo>
                  <a:cubicBezTo>
                    <a:pt x="25" y="35"/>
                    <a:pt x="25" y="35"/>
                    <a:pt x="25" y="35"/>
                  </a:cubicBezTo>
                  <a:cubicBezTo>
                    <a:pt x="26" y="36"/>
                    <a:pt x="29" y="36"/>
                    <a:pt x="29" y="36"/>
                  </a:cubicBezTo>
                  <a:cubicBezTo>
                    <a:pt x="29" y="35"/>
                    <a:pt x="29" y="35"/>
                    <a:pt x="30" y="35"/>
                  </a:cubicBezTo>
                  <a:cubicBezTo>
                    <a:pt x="30" y="35"/>
                    <a:pt x="30" y="35"/>
                    <a:pt x="30" y="35"/>
                  </a:cubicBezTo>
                  <a:cubicBezTo>
                    <a:pt x="31" y="35"/>
                    <a:pt x="31" y="35"/>
                    <a:pt x="31" y="35"/>
                  </a:cubicBezTo>
                  <a:cubicBezTo>
                    <a:pt x="32" y="35"/>
                    <a:pt x="32" y="35"/>
                    <a:pt x="32" y="35"/>
                  </a:cubicBezTo>
                  <a:cubicBezTo>
                    <a:pt x="31" y="35"/>
                    <a:pt x="31" y="34"/>
                    <a:pt x="30" y="34"/>
                  </a:cubicBezTo>
                  <a:cubicBezTo>
                    <a:pt x="30" y="33"/>
                    <a:pt x="32" y="31"/>
                    <a:pt x="32" y="30"/>
                  </a:cubicBezTo>
                  <a:cubicBezTo>
                    <a:pt x="33" y="28"/>
                    <a:pt x="31" y="22"/>
                    <a:pt x="30" y="20"/>
                  </a:cubicBezTo>
                  <a:cubicBezTo>
                    <a:pt x="30" y="18"/>
                    <a:pt x="28" y="11"/>
                    <a:pt x="29" y="10"/>
                  </a:cubicBezTo>
                  <a:cubicBezTo>
                    <a:pt x="29" y="10"/>
                    <a:pt x="29" y="10"/>
                    <a:pt x="29" y="10"/>
                  </a:cubicBezTo>
                  <a:cubicBezTo>
                    <a:pt x="28" y="9"/>
                    <a:pt x="27" y="9"/>
                    <a:pt x="26" y="8"/>
                  </a:cubicBezTo>
                  <a:cubicBezTo>
                    <a:pt x="23" y="7"/>
                    <a:pt x="25" y="8"/>
                    <a:pt x="24" y="5"/>
                  </a:cubicBezTo>
                  <a:cubicBezTo>
                    <a:pt x="24" y="5"/>
                    <a:pt x="25" y="5"/>
                    <a:pt x="25" y="5"/>
                  </a:cubicBezTo>
                  <a:cubicBezTo>
                    <a:pt x="24" y="4"/>
                    <a:pt x="23" y="2"/>
                    <a:pt x="21" y="1"/>
                  </a:cubicBezTo>
                  <a:cubicBezTo>
                    <a:pt x="20" y="1"/>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089"/>
            <p:cNvSpPr/>
            <p:nvPr/>
          </p:nvSpPr>
          <p:spPr bwMode="auto">
            <a:xfrm>
              <a:off x="4672670" y="4047147"/>
              <a:ext cx="73828" cy="110072"/>
            </a:xfrm>
            <a:custGeom>
              <a:gdLst>
                <a:gd name="T0" fmla="*/ 0 w 23"/>
                <a:gd name="T1" fmla="*/ 0 h 35"/>
                <a:gd name="T2" fmla="*/ 3 w 23"/>
                <a:gd name="T3" fmla="*/ 6 h 35"/>
                <a:gd name="T4" fmla="*/ 3 w 23"/>
                <a:gd name="T5" fmla="*/ 11 h 35"/>
                <a:gd name="T6" fmla="*/ 3 w 23"/>
                <a:gd name="T7" fmla="*/ 14 h 35"/>
                <a:gd name="T8" fmla="*/ 4 w 23"/>
                <a:gd name="T9" fmla="*/ 13 h 35"/>
                <a:gd name="T10" fmla="*/ 4 w 23"/>
                <a:gd name="T11" fmla="*/ 15 h 35"/>
                <a:gd name="T12" fmla="*/ 6 w 23"/>
                <a:gd name="T13" fmla="*/ 14 h 35"/>
                <a:gd name="T14" fmla="*/ 8 w 23"/>
                <a:gd name="T15" fmla="*/ 12 h 35"/>
                <a:gd name="T16" fmla="*/ 8 w 23"/>
                <a:gd name="T17" fmla="*/ 12 h 35"/>
                <a:gd name="T18" fmla="*/ 11 w 23"/>
                <a:gd name="T19" fmla="*/ 32 h 35"/>
                <a:gd name="T20" fmla="*/ 18 w 23"/>
                <a:gd name="T21" fmla="*/ 35 h 35"/>
                <a:gd name="T22" fmla="*/ 17 w 23"/>
                <a:gd name="T23" fmla="*/ 27 h 35"/>
                <a:gd name="T24" fmla="*/ 20 w 23"/>
                <a:gd name="T25" fmla="*/ 32 h 35"/>
                <a:gd name="T26" fmla="*/ 23 w 23"/>
                <a:gd name="T27" fmla="*/ 28 h 35"/>
                <a:gd name="T28" fmla="*/ 21 w 23"/>
                <a:gd name="T29" fmla="*/ 21 h 35"/>
                <a:gd name="T30" fmla="*/ 17 w 23"/>
                <a:gd name="T31" fmla="*/ 3 h 35"/>
                <a:gd name="T32" fmla="*/ 9 w 23"/>
                <a:gd name="T33" fmla="*/ 5 h 35"/>
                <a:gd name="T34" fmla="*/ 7 w 23"/>
                <a:gd name="T35" fmla="*/ 4 h 35"/>
                <a:gd name="T36" fmla="*/ 0 w 23"/>
                <a:gd name="T37"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5">
                  <a:moveTo>
                    <a:pt x="0" y="0"/>
                  </a:moveTo>
                  <a:cubicBezTo>
                    <a:pt x="1" y="2"/>
                    <a:pt x="2" y="4"/>
                    <a:pt x="3" y="6"/>
                  </a:cubicBezTo>
                  <a:cubicBezTo>
                    <a:pt x="3" y="7"/>
                    <a:pt x="3" y="9"/>
                    <a:pt x="3" y="11"/>
                  </a:cubicBezTo>
                  <a:cubicBezTo>
                    <a:pt x="2" y="12"/>
                    <a:pt x="2" y="14"/>
                    <a:pt x="3" y="14"/>
                  </a:cubicBezTo>
                  <a:cubicBezTo>
                    <a:pt x="3" y="14"/>
                    <a:pt x="3" y="14"/>
                    <a:pt x="4" y="13"/>
                  </a:cubicBezTo>
                  <a:cubicBezTo>
                    <a:pt x="4" y="15"/>
                    <a:pt x="4" y="15"/>
                    <a:pt x="4" y="15"/>
                  </a:cubicBezTo>
                  <a:cubicBezTo>
                    <a:pt x="5" y="15"/>
                    <a:pt x="5" y="14"/>
                    <a:pt x="6" y="14"/>
                  </a:cubicBezTo>
                  <a:cubicBezTo>
                    <a:pt x="7" y="13"/>
                    <a:pt x="7" y="12"/>
                    <a:pt x="8" y="12"/>
                  </a:cubicBezTo>
                  <a:cubicBezTo>
                    <a:pt x="8" y="12"/>
                    <a:pt x="8" y="12"/>
                    <a:pt x="8" y="12"/>
                  </a:cubicBezTo>
                  <a:cubicBezTo>
                    <a:pt x="14" y="13"/>
                    <a:pt x="11" y="29"/>
                    <a:pt x="11" y="32"/>
                  </a:cubicBezTo>
                  <a:cubicBezTo>
                    <a:pt x="13" y="33"/>
                    <a:pt x="16" y="34"/>
                    <a:pt x="18" y="35"/>
                  </a:cubicBezTo>
                  <a:cubicBezTo>
                    <a:pt x="18" y="32"/>
                    <a:pt x="16" y="30"/>
                    <a:pt x="17" y="27"/>
                  </a:cubicBezTo>
                  <a:cubicBezTo>
                    <a:pt x="18" y="29"/>
                    <a:pt x="19" y="30"/>
                    <a:pt x="20" y="32"/>
                  </a:cubicBezTo>
                  <a:cubicBezTo>
                    <a:pt x="22" y="31"/>
                    <a:pt x="23" y="30"/>
                    <a:pt x="23" y="28"/>
                  </a:cubicBezTo>
                  <a:cubicBezTo>
                    <a:pt x="23" y="26"/>
                    <a:pt x="21" y="22"/>
                    <a:pt x="21" y="21"/>
                  </a:cubicBezTo>
                  <a:cubicBezTo>
                    <a:pt x="16" y="16"/>
                    <a:pt x="17" y="10"/>
                    <a:pt x="17" y="3"/>
                  </a:cubicBezTo>
                  <a:cubicBezTo>
                    <a:pt x="14" y="4"/>
                    <a:pt x="12" y="5"/>
                    <a:pt x="9" y="5"/>
                  </a:cubicBezTo>
                  <a:cubicBezTo>
                    <a:pt x="8" y="5"/>
                    <a:pt x="7" y="5"/>
                    <a:pt x="7" y="4"/>
                  </a:cubicBezTo>
                  <a:cubicBezTo>
                    <a:pt x="5"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090"/>
            <p:cNvSpPr/>
            <p:nvPr/>
          </p:nvSpPr>
          <p:spPr bwMode="auto">
            <a:xfrm>
              <a:off x="4323663" y="3507527"/>
              <a:ext cx="343638" cy="459079"/>
            </a:xfrm>
            <a:custGeom>
              <a:gdLst>
                <a:gd name="T0" fmla="*/ 28 w 108"/>
                <a:gd name="T1" fmla="*/ 1 h 145"/>
                <a:gd name="T2" fmla="*/ 26 w 108"/>
                <a:gd name="T3" fmla="*/ 1 h 145"/>
                <a:gd name="T4" fmla="*/ 24 w 108"/>
                <a:gd name="T5" fmla="*/ 1 h 145"/>
                <a:gd name="T6" fmla="*/ 22 w 108"/>
                <a:gd name="T7" fmla="*/ 8 h 145"/>
                <a:gd name="T8" fmla="*/ 19 w 108"/>
                <a:gd name="T9" fmla="*/ 38 h 145"/>
                <a:gd name="T10" fmla="*/ 18 w 108"/>
                <a:gd name="T11" fmla="*/ 60 h 145"/>
                <a:gd name="T12" fmla="*/ 14 w 108"/>
                <a:gd name="T13" fmla="*/ 61 h 145"/>
                <a:gd name="T14" fmla="*/ 7 w 108"/>
                <a:gd name="T15" fmla="*/ 53 h 145"/>
                <a:gd name="T16" fmla="*/ 8 w 108"/>
                <a:gd name="T17" fmla="*/ 70 h 145"/>
                <a:gd name="T18" fmla="*/ 13 w 108"/>
                <a:gd name="T19" fmla="*/ 92 h 145"/>
                <a:gd name="T20" fmla="*/ 18 w 108"/>
                <a:gd name="T21" fmla="*/ 96 h 145"/>
                <a:gd name="T22" fmla="*/ 20 w 108"/>
                <a:gd name="T23" fmla="*/ 100 h 145"/>
                <a:gd name="T24" fmla="*/ 22 w 108"/>
                <a:gd name="T25" fmla="*/ 91 h 145"/>
                <a:gd name="T26" fmla="*/ 33 w 108"/>
                <a:gd name="T27" fmla="*/ 90 h 145"/>
                <a:gd name="T28" fmla="*/ 33 w 108"/>
                <a:gd name="T29" fmla="*/ 103 h 145"/>
                <a:gd name="T30" fmla="*/ 23 w 108"/>
                <a:gd name="T31" fmla="*/ 106 h 145"/>
                <a:gd name="T32" fmla="*/ 27 w 108"/>
                <a:gd name="T33" fmla="*/ 113 h 145"/>
                <a:gd name="T34" fmla="*/ 30 w 108"/>
                <a:gd name="T35" fmla="*/ 118 h 145"/>
                <a:gd name="T36" fmla="*/ 39 w 108"/>
                <a:gd name="T37" fmla="*/ 120 h 145"/>
                <a:gd name="T38" fmla="*/ 45 w 108"/>
                <a:gd name="T39" fmla="*/ 114 h 145"/>
                <a:gd name="T40" fmla="*/ 55 w 108"/>
                <a:gd name="T41" fmla="*/ 114 h 145"/>
                <a:gd name="T42" fmla="*/ 64 w 108"/>
                <a:gd name="T43" fmla="*/ 121 h 145"/>
                <a:gd name="T44" fmla="*/ 64 w 108"/>
                <a:gd name="T45" fmla="*/ 121 h 145"/>
                <a:gd name="T46" fmla="*/ 68 w 108"/>
                <a:gd name="T47" fmla="*/ 118 h 145"/>
                <a:gd name="T48" fmla="*/ 68 w 108"/>
                <a:gd name="T49" fmla="*/ 112 h 145"/>
                <a:gd name="T50" fmla="*/ 85 w 108"/>
                <a:gd name="T51" fmla="*/ 126 h 145"/>
                <a:gd name="T52" fmla="*/ 93 w 108"/>
                <a:gd name="T53" fmla="*/ 135 h 145"/>
                <a:gd name="T54" fmla="*/ 101 w 108"/>
                <a:gd name="T55" fmla="*/ 136 h 145"/>
                <a:gd name="T56" fmla="*/ 102 w 108"/>
                <a:gd name="T57" fmla="*/ 135 h 145"/>
                <a:gd name="T58" fmla="*/ 104 w 108"/>
                <a:gd name="T59" fmla="*/ 135 h 145"/>
                <a:gd name="T60" fmla="*/ 102 w 108"/>
                <a:gd name="T61" fmla="*/ 138 h 145"/>
                <a:gd name="T62" fmla="*/ 101 w 108"/>
                <a:gd name="T63" fmla="*/ 138 h 145"/>
                <a:gd name="T64" fmla="*/ 100 w 108"/>
                <a:gd name="T65" fmla="*/ 138 h 145"/>
                <a:gd name="T66" fmla="*/ 108 w 108"/>
                <a:gd name="T67" fmla="*/ 133 h 145"/>
                <a:gd name="T68" fmla="*/ 102 w 108"/>
                <a:gd name="T69" fmla="*/ 132 h 145"/>
                <a:gd name="T70" fmla="*/ 100 w 108"/>
                <a:gd name="T71" fmla="*/ 129 h 145"/>
                <a:gd name="T72" fmla="*/ 94 w 108"/>
                <a:gd name="T73" fmla="*/ 117 h 145"/>
                <a:gd name="T74" fmla="*/ 97 w 108"/>
                <a:gd name="T75" fmla="*/ 118 h 145"/>
                <a:gd name="T76" fmla="*/ 100 w 108"/>
                <a:gd name="T77" fmla="*/ 117 h 145"/>
                <a:gd name="T78" fmla="*/ 103 w 108"/>
                <a:gd name="T79" fmla="*/ 117 h 145"/>
                <a:gd name="T80" fmla="*/ 88 w 108"/>
                <a:gd name="T81" fmla="*/ 108 h 145"/>
                <a:gd name="T82" fmla="*/ 88 w 108"/>
                <a:gd name="T83" fmla="*/ 114 h 145"/>
                <a:gd name="T84" fmla="*/ 81 w 108"/>
                <a:gd name="T85" fmla="*/ 109 h 145"/>
                <a:gd name="T86" fmla="*/ 70 w 108"/>
                <a:gd name="T87" fmla="*/ 102 h 145"/>
                <a:gd name="T88" fmla="*/ 62 w 108"/>
                <a:gd name="T89" fmla="*/ 111 h 145"/>
                <a:gd name="T90" fmla="*/ 62 w 108"/>
                <a:gd name="T91" fmla="*/ 113 h 145"/>
                <a:gd name="T92" fmla="*/ 51 w 108"/>
                <a:gd name="T93" fmla="*/ 103 h 145"/>
                <a:gd name="T94" fmla="*/ 46 w 108"/>
                <a:gd name="T95" fmla="*/ 87 h 145"/>
                <a:gd name="T96" fmla="*/ 48 w 108"/>
                <a:gd name="T97" fmla="*/ 69 h 145"/>
                <a:gd name="T98" fmla="*/ 47 w 108"/>
                <a:gd name="T99" fmla="*/ 68 h 145"/>
                <a:gd name="T100" fmla="*/ 46 w 108"/>
                <a:gd name="T101" fmla="*/ 68 h 145"/>
                <a:gd name="T102" fmla="*/ 58 w 108"/>
                <a:gd name="T103" fmla="*/ 61 h 145"/>
                <a:gd name="T104" fmla="*/ 68 w 108"/>
                <a:gd name="T105" fmla="*/ 38 h 145"/>
                <a:gd name="T106" fmla="*/ 61 w 108"/>
                <a:gd name="T107" fmla="*/ 25 h 145"/>
                <a:gd name="T108" fmla="*/ 62 w 108"/>
                <a:gd name="T109" fmla="*/ 2 h 145"/>
                <a:gd name="T110" fmla="*/ 55 w 108"/>
                <a:gd name="T111" fmla="*/ 7 h 145"/>
                <a:gd name="T112" fmla="*/ 52 w 108"/>
                <a:gd name="T113" fmla="*/ 7 h 145"/>
                <a:gd name="T114" fmla="*/ 33 w 108"/>
                <a:gd name="T115" fmla="*/ 0 h 1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145">
                  <a:moveTo>
                    <a:pt x="33" y="0"/>
                  </a:moveTo>
                  <a:cubicBezTo>
                    <a:pt x="31" y="0"/>
                    <a:pt x="29" y="0"/>
                    <a:pt x="28" y="1"/>
                  </a:cubicBezTo>
                  <a:cubicBezTo>
                    <a:pt x="27" y="1"/>
                    <a:pt x="27" y="1"/>
                    <a:pt x="27" y="1"/>
                  </a:cubicBezTo>
                  <a:cubicBezTo>
                    <a:pt x="27" y="1"/>
                    <a:pt x="26" y="1"/>
                    <a:pt x="26" y="1"/>
                  </a:cubicBezTo>
                  <a:cubicBezTo>
                    <a:pt x="26" y="1"/>
                    <a:pt x="25" y="1"/>
                    <a:pt x="25" y="1"/>
                  </a:cubicBezTo>
                  <a:cubicBezTo>
                    <a:pt x="25" y="1"/>
                    <a:pt x="25" y="1"/>
                    <a:pt x="24" y="1"/>
                  </a:cubicBezTo>
                  <a:cubicBezTo>
                    <a:pt x="24" y="1"/>
                    <a:pt x="23" y="1"/>
                    <a:pt x="23" y="2"/>
                  </a:cubicBezTo>
                  <a:cubicBezTo>
                    <a:pt x="22" y="3"/>
                    <a:pt x="22" y="6"/>
                    <a:pt x="22" y="8"/>
                  </a:cubicBezTo>
                  <a:cubicBezTo>
                    <a:pt x="21" y="10"/>
                    <a:pt x="20" y="14"/>
                    <a:pt x="20" y="17"/>
                  </a:cubicBezTo>
                  <a:cubicBezTo>
                    <a:pt x="20" y="24"/>
                    <a:pt x="19" y="31"/>
                    <a:pt x="19" y="38"/>
                  </a:cubicBezTo>
                  <a:cubicBezTo>
                    <a:pt x="19" y="41"/>
                    <a:pt x="18" y="47"/>
                    <a:pt x="16" y="47"/>
                  </a:cubicBezTo>
                  <a:cubicBezTo>
                    <a:pt x="17" y="51"/>
                    <a:pt x="21" y="57"/>
                    <a:pt x="18" y="60"/>
                  </a:cubicBezTo>
                  <a:cubicBezTo>
                    <a:pt x="18" y="61"/>
                    <a:pt x="16" y="62"/>
                    <a:pt x="15" y="62"/>
                  </a:cubicBezTo>
                  <a:cubicBezTo>
                    <a:pt x="15" y="62"/>
                    <a:pt x="15" y="61"/>
                    <a:pt x="14" y="61"/>
                  </a:cubicBezTo>
                  <a:cubicBezTo>
                    <a:pt x="12" y="60"/>
                    <a:pt x="7" y="57"/>
                    <a:pt x="8" y="55"/>
                  </a:cubicBezTo>
                  <a:cubicBezTo>
                    <a:pt x="8" y="53"/>
                    <a:pt x="8" y="53"/>
                    <a:pt x="7" y="53"/>
                  </a:cubicBezTo>
                  <a:cubicBezTo>
                    <a:pt x="7" y="53"/>
                    <a:pt x="7" y="53"/>
                    <a:pt x="6" y="53"/>
                  </a:cubicBezTo>
                  <a:cubicBezTo>
                    <a:pt x="0" y="54"/>
                    <a:pt x="7" y="68"/>
                    <a:pt x="8" y="70"/>
                  </a:cubicBezTo>
                  <a:cubicBezTo>
                    <a:pt x="9" y="77"/>
                    <a:pt x="10" y="85"/>
                    <a:pt x="11" y="91"/>
                  </a:cubicBezTo>
                  <a:cubicBezTo>
                    <a:pt x="12" y="92"/>
                    <a:pt x="12" y="92"/>
                    <a:pt x="13" y="92"/>
                  </a:cubicBezTo>
                  <a:cubicBezTo>
                    <a:pt x="14" y="92"/>
                    <a:pt x="15" y="91"/>
                    <a:pt x="16" y="91"/>
                  </a:cubicBezTo>
                  <a:cubicBezTo>
                    <a:pt x="14" y="95"/>
                    <a:pt x="17" y="94"/>
                    <a:pt x="18" y="96"/>
                  </a:cubicBezTo>
                  <a:cubicBezTo>
                    <a:pt x="19" y="97"/>
                    <a:pt x="18" y="98"/>
                    <a:pt x="18" y="98"/>
                  </a:cubicBezTo>
                  <a:cubicBezTo>
                    <a:pt x="19" y="99"/>
                    <a:pt x="19" y="100"/>
                    <a:pt x="20" y="100"/>
                  </a:cubicBezTo>
                  <a:cubicBezTo>
                    <a:pt x="20" y="100"/>
                    <a:pt x="21" y="100"/>
                    <a:pt x="21" y="100"/>
                  </a:cubicBezTo>
                  <a:cubicBezTo>
                    <a:pt x="24" y="100"/>
                    <a:pt x="23" y="93"/>
                    <a:pt x="22" y="91"/>
                  </a:cubicBezTo>
                  <a:cubicBezTo>
                    <a:pt x="24" y="92"/>
                    <a:pt x="26" y="92"/>
                    <a:pt x="28" y="93"/>
                  </a:cubicBezTo>
                  <a:cubicBezTo>
                    <a:pt x="29" y="91"/>
                    <a:pt x="31" y="90"/>
                    <a:pt x="33" y="90"/>
                  </a:cubicBezTo>
                  <a:cubicBezTo>
                    <a:pt x="37" y="90"/>
                    <a:pt x="39" y="93"/>
                    <a:pt x="39" y="96"/>
                  </a:cubicBezTo>
                  <a:cubicBezTo>
                    <a:pt x="39" y="100"/>
                    <a:pt x="37" y="103"/>
                    <a:pt x="33" y="103"/>
                  </a:cubicBezTo>
                  <a:cubicBezTo>
                    <a:pt x="31" y="103"/>
                    <a:pt x="30" y="102"/>
                    <a:pt x="29" y="101"/>
                  </a:cubicBezTo>
                  <a:cubicBezTo>
                    <a:pt x="27" y="103"/>
                    <a:pt x="23" y="104"/>
                    <a:pt x="23" y="106"/>
                  </a:cubicBezTo>
                  <a:cubicBezTo>
                    <a:pt x="24" y="109"/>
                    <a:pt x="24" y="113"/>
                    <a:pt x="25" y="116"/>
                  </a:cubicBezTo>
                  <a:cubicBezTo>
                    <a:pt x="26" y="114"/>
                    <a:pt x="26" y="113"/>
                    <a:pt x="27" y="113"/>
                  </a:cubicBezTo>
                  <a:cubicBezTo>
                    <a:pt x="28" y="113"/>
                    <a:pt x="29" y="113"/>
                    <a:pt x="31" y="115"/>
                  </a:cubicBezTo>
                  <a:cubicBezTo>
                    <a:pt x="32" y="116"/>
                    <a:pt x="30" y="117"/>
                    <a:pt x="30" y="118"/>
                  </a:cubicBezTo>
                  <a:cubicBezTo>
                    <a:pt x="31" y="118"/>
                    <a:pt x="34" y="120"/>
                    <a:pt x="36" y="120"/>
                  </a:cubicBezTo>
                  <a:cubicBezTo>
                    <a:pt x="36" y="120"/>
                    <a:pt x="38" y="120"/>
                    <a:pt x="39" y="120"/>
                  </a:cubicBezTo>
                  <a:cubicBezTo>
                    <a:pt x="39" y="120"/>
                    <a:pt x="39" y="120"/>
                    <a:pt x="40" y="120"/>
                  </a:cubicBezTo>
                  <a:cubicBezTo>
                    <a:pt x="42" y="119"/>
                    <a:pt x="43" y="116"/>
                    <a:pt x="45" y="114"/>
                  </a:cubicBezTo>
                  <a:cubicBezTo>
                    <a:pt x="47" y="113"/>
                    <a:pt x="49" y="112"/>
                    <a:pt x="50" y="112"/>
                  </a:cubicBezTo>
                  <a:cubicBezTo>
                    <a:pt x="51" y="112"/>
                    <a:pt x="52" y="113"/>
                    <a:pt x="55" y="114"/>
                  </a:cubicBezTo>
                  <a:cubicBezTo>
                    <a:pt x="56" y="115"/>
                    <a:pt x="58" y="115"/>
                    <a:pt x="59" y="116"/>
                  </a:cubicBezTo>
                  <a:cubicBezTo>
                    <a:pt x="61" y="118"/>
                    <a:pt x="61" y="121"/>
                    <a:pt x="64" y="121"/>
                  </a:cubicBezTo>
                  <a:cubicBezTo>
                    <a:pt x="64" y="121"/>
                    <a:pt x="64" y="121"/>
                    <a:pt x="64" y="121"/>
                  </a:cubicBezTo>
                  <a:cubicBezTo>
                    <a:pt x="64" y="121"/>
                    <a:pt x="64" y="121"/>
                    <a:pt x="64" y="121"/>
                  </a:cubicBezTo>
                  <a:cubicBezTo>
                    <a:pt x="68" y="121"/>
                    <a:pt x="68" y="129"/>
                    <a:pt x="71" y="131"/>
                  </a:cubicBezTo>
                  <a:cubicBezTo>
                    <a:pt x="70" y="126"/>
                    <a:pt x="69" y="122"/>
                    <a:pt x="68" y="118"/>
                  </a:cubicBezTo>
                  <a:cubicBezTo>
                    <a:pt x="68" y="116"/>
                    <a:pt x="68" y="114"/>
                    <a:pt x="67" y="112"/>
                  </a:cubicBezTo>
                  <a:cubicBezTo>
                    <a:pt x="67" y="112"/>
                    <a:pt x="68" y="112"/>
                    <a:pt x="68" y="112"/>
                  </a:cubicBezTo>
                  <a:cubicBezTo>
                    <a:pt x="70" y="112"/>
                    <a:pt x="71" y="113"/>
                    <a:pt x="73" y="115"/>
                  </a:cubicBezTo>
                  <a:cubicBezTo>
                    <a:pt x="77" y="119"/>
                    <a:pt x="81" y="122"/>
                    <a:pt x="85" y="126"/>
                  </a:cubicBezTo>
                  <a:cubicBezTo>
                    <a:pt x="87" y="128"/>
                    <a:pt x="87" y="129"/>
                    <a:pt x="87" y="133"/>
                  </a:cubicBezTo>
                  <a:cubicBezTo>
                    <a:pt x="87" y="134"/>
                    <a:pt x="91" y="135"/>
                    <a:pt x="93" y="135"/>
                  </a:cubicBezTo>
                  <a:cubicBezTo>
                    <a:pt x="95" y="136"/>
                    <a:pt x="97" y="137"/>
                    <a:pt x="98" y="137"/>
                  </a:cubicBezTo>
                  <a:cubicBezTo>
                    <a:pt x="99" y="137"/>
                    <a:pt x="100" y="137"/>
                    <a:pt x="101" y="136"/>
                  </a:cubicBezTo>
                  <a:cubicBezTo>
                    <a:pt x="101" y="136"/>
                    <a:pt x="101" y="135"/>
                    <a:pt x="101" y="135"/>
                  </a:cubicBezTo>
                  <a:cubicBezTo>
                    <a:pt x="102" y="135"/>
                    <a:pt x="102" y="135"/>
                    <a:pt x="102" y="135"/>
                  </a:cubicBezTo>
                  <a:cubicBezTo>
                    <a:pt x="102" y="135"/>
                    <a:pt x="102" y="135"/>
                    <a:pt x="103" y="135"/>
                  </a:cubicBezTo>
                  <a:cubicBezTo>
                    <a:pt x="103" y="135"/>
                    <a:pt x="103" y="135"/>
                    <a:pt x="104" y="135"/>
                  </a:cubicBezTo>
                  <a:cubicBezTo>
                    <a:pt x="104" y="135"/>
                    <a:pt x="104" y="135"/>
                    <a:pt x="104" y="135"/>
                  </a:cubicBezTo>
                  <a:cubicBezTo>
                    <a:pt x="103" y="136"/>
                    <a:pt x="103" y="137"/>
                    <a:pt x="102" y="138"/>
                  </a:cubicBezTo>
                  <a:cubicBezTo>
                    <a:pt x="102" y="138"/>
                    <a:pt x="102" y="138"/>
                    <a:pt x="102" y="138"/>
                  </a:cubicBezTo>
                  <a:cubicBezTo>
                    <a:pt x="101" y="138"/>
                    <a:pt x="101" y="138"/>
                    <a:pt x="101" y="138"/>
                  </a:cubicBezTo>
                  <a:cubicBezTo>
                    <a:pt x="101" y="138"/>
                    <a:pt x="101" y="138"/>
                    <a:pt x="101" y="138"/>
                  </a:cubicBezTo>
                  <a:cubicBezTo>
                    <a:pt x="100" y="138"/>
                    <a:pt x="100" y="138"/>
                    <a:pt x="100" y="138"/>
                  </a:cubicBezTo>
                  <a:cubicBezTo>
                    <a:pt x="99" y="141"/>
                    <a:pt x="104" y="144"/>
                    <a:pt x="106" y="145"/>
                  </a:cubicBezTo>
                  <a:cubicBezTo>
                    <a:pt x="106" y="144"/>
                    <a:pt x="108" y="133"/>
                    <a:pt x="108" y="133"/>
                  </a:cubicBezTo>
                  <a:cubicBezTo>
                    <a:pt x="107" y="133"/>
                    <a:pt x="104" y="132"/>
                    <a:pt x="103" y="132"/>
                  </a:cubicBezTo>
                  <a:cubicBezTo>
                    <a:pt x="102" y="132"/>
                    <a:pt x="102" y="132"/>
                    <a:pt x="102" y="132"/>
                  </a:cubicBezTo>
                  <a:cubicBezTo>
                    <a:pt x="99" y="133"/>
                    <a:pt x="99" y="133"/>
                    <a:pt x="99" y="133"/>
                  </a:cubicBezTo>
                  <a:cubicBezTo>
                    <a:pt x="97" y="133"/>
                    <a:pt x="99" y="129"/>
                    <a:pt x="100" y="129"/>
                  </a:cubicBezTo>
                  <a:cubicBezTo>
                    <a:pt x="100" y="129"/>
                    <a:pt x="100" y="129"/>
                    <a:pt x="101" y="129"/>
                  </a:cubicBezTo>
                  <a:cubicBezTo>
                    <a:pt x="99" y="127"/>
                    <a:pt x="91" y="120"/>
                    <a:pt x="94" y="117"/>
                  </a:cubicBezTo>
                  <a:cubicBezTo>
                    <a:pt x="94" y="117"/>
                    <a:pt x="94" y="117"/>
                    <a:pt x="95" y="117"/>
                  </a:cubicBezTo>
                  <a:cubicBezTo>
                    <a:pt x="95" y="117"/>
                    <a:pt x="96" y="117"/>
                    <a:pt x="97" y="118"/>
                  </a:cubicBezTo>
                  <a:cubicBezTo>
                    <a:pt x="97" y="118"/>
                    <a:pt x="97" y="118"/>
                    <a:pt x="98" y="118"/>
                  </a:cubicBezTo>
                  <a:cubicBezTo>
                    <a:pt x="98" y="118"/>
                    <a:pt x="99" y="117"/>
                    <a:pt x="100" y="117"/>
                  </a:cubicBezTo>
                  <a:cubicBezTo>
                    <a:pt x="101" y="117"/>
                    <a:pt x="101" y="117"/>
                    <a:pt x="102" y="117"/>
                  </a:cubicBezTo>
                  <a:cubicBezTo>
                    <a:pt x="102" y="117"/>
                    <a:pt x="103" y="117"/>
                    <a:pt x="103" y="117"/>
                  </a:cubicBezTo>
                  <a:cubicBezTo>
                    <a:pt x="102" y="112"/>
                    <a:pt x="91" y="112"/>
                    <a:pt x="88" y="110"/>
                  </a:cubicBezTo>
                  <a:cubicBezTo>
                    <a:pt x="89" y="109"/>
                    <a:pt x="88" y="109"/>
                    <a:pt x="88" y="108"/>
                  </a:cubicBezTo>
                  <a:cubicBezTo>
                    <a:pt x="88" y="110"/>
                    <a:pt x="88" y="111"/>
                    <a:pt x="88" y="112"/>
                  </a:cubicBezTo>
                  <a:cubicBezTo>
                    <a:pt x="88" y="114"/>
                    <a:pt x="88" y="114"/>
                    <a:pt x="88" y="114"/>
                  </a:cubicBezTo>
                  <a:cubicBezTo>
                    <a:pt x="87" y="116"/>
                    <a:pt x="84" y="117"/>
                    <a:pt x="83" y="118"/>
                  </a:cubicBezTo>
                  <a:cubicBezTo>
                    <a:pt x="81" y="115"/>
                    <a:pt x="83" y="112"/>
                    <a:pt x="81" y="109"/>
                  </a:cubicBezTo>
                  <a:cubicBezTo>
                    <a:pt x="81" y="109"/>
                    <a:pt x="79" y="106"/>
                    <a:pt x="78" y="105"/>
                  </a:cubicBezTo>
                  <a:cubicBezTo>
                    <a:pt x="76" y="104"/>
                    <a:pt x="73" y="102"/>
                    <a:pt x="70" y="102"/>
                  </a:cubicBezTo>
                  <a:cubicBezTo>
                    <a:pt x="69" y="102"/>
                    <a:pt x="69" y="102"/>
                    <a:pt x="68" y="102"/>
                  </a:cubicBezTo>
                  <a:cubicBezTo>
                    <a:pt x="65" y="104"/>
                    <a:pt x="65" y="111"/>
                    <a:pt x="62" y="111"/>
                  </a:cubicBezTo>
                  <a:cubicBezTo>
                    <a:pt x="62" y="111"/>
                    <a:pt x="61" y="111"/>
                    <a:pt x="61" y="111"/>
                  </a:cubicBezTo>
                  <a:cubicBezTo>
                    <a:pt x="61" y="111"/>
                    <a:pt x="61" y="112"/>
                    <a:pt x="62" y="113"/>
                  </a:cubicBezTo>
                  <a:cubicBezTo>
                    <a:pt x="59" y="112"/>
                    <a:pt x="57" y="112"/>
                    <a:pt x="54" y="110"/>
                  </a:cubicBezTo>
                  <a:cubicBezTo>
                    <a:pt x="51" y="108"/>
                    <a:pt x="51" y="106"/>
                    <a:pt x="51" y="103"/>
                  </a:cubicBezTo>
                  <a:cubicBezTo>
                    <a:pt x="50" y="100"/>
                    <a:pt x="51" y="96"/>
                    <a:pt x="50" y="94"/>
                  </a:cubicBezTo>
                  <a:cubicBezTo>
                    <a:pt x="50" y="92"/>
                    <a:pt x="47" y="89"/>
                    <a:pt x="46" y="87"/>
                  </a:cubicBezTo>
                  <a:cubicBezTo>
                    <a:pt x="43" y="81"/>
                    <a:pt x="41" y="80"/>
                    <a:pt x="44" y="75"/>
                  </a:cubicBezTo>
                  <a:cubicBezTo>
                    <a:pt x="45" y="73"/>
                    <a:pt x="48" y="70"/>
                    <a:pt x="48" y="69"/>
                  </a:cubicBezTo>
                  <a:cubicBezTo>
                    <a:pt x="48" y="68"/>
                    <a:pt x="48" y="68"/>
                    <a:pt x="47" y="68"/>
                  </a:cubicBezTo>
                  <a:cubicBezTo>
                    <a:pt x="47" y="68"/>
                    <a:pt x="47" y="68"/>
                    <a:pt x="47" y="68"/>
                  </a:cubicBezTo>
                  <a:cubicBezTo>
                    <a:pt x="47" y="68"/>
                    <a:pt x="47" y="68"/>
                    <a:pt x="47" y="68"/>
                  </a:cubicBezTo>
                  <a:cubicBezTo>
                    <a:pt x="47" y="68"/>
                    <a:pt x="46" y="68"/>
                    <a:pt x="46" y="68"/>
                  </a:cubicBezTo>
                  <a:cubicBezTo>
                    <a:pt x="45" y="61"/>
                    <a:pt x="57" y="61"/>
                    <a:pt x="59" y="56"/>
                  </a:cubicBezTo>
                  <a:cubicBezTo>
                    <a:pt x="58" y="58"/>
                    <a:pt x="58" y="59"/>
                    <a:pt x="58" y="61"/>
                  </a:cubicBezTo>
                  <a:cubicBezTo>
                    <a:pt x="60" y="55"/>
                    <a:pt x="63" y="50"/>
                    <a:pt x="66" y="44"/>
                  </a:cubicBezTo>
                  <a:cubicBezTo>
                    <a:pt x="67" y="42"/>
                    <a:pt x="68" y="40"/>
                    <a:pt x="68" y="38"/>
                  </a:cubicBezTo>
                  <a:cubicBezTo>
                    <a:pt x="68" y="37"/>
                    <a:pt x="69" y="37"/>
                    <a:pt x="69" y="36"/>
                  </a:cubicBezTo>
                  <a:cubicBezTo>
                    <a:pt x="66" y="32"/>
                    <a:pt x="64" y="29"/>
                    <a:pt x="61" y="25"/>
                  </a:cubicBezTo>
                  <a:cubicBezTo>
                    <a:pt x="60" y="24"/>
                    <a:pt x="63" y="14"/>
                    <a:pt x="64" y="12"/>
                  </a:cubicBezTo>
                  <a:cubicBezTo>
                    <a:pt x="64" y="8"/>
                    <a:pt x="64" y="5"/>
                    <a:pt x="62" y="2"/>
                  </a:cubicBezTo>
                  <a:cubicBezTo>
                    <a:pt x="61" y="3"/>
                    <a:pt x="59" y="6"/>
                    <a:pt x="57" y="7"/>
                  </a:cubicBezTo>
                  <a:cubicBezTo>
                    <a:pt x="56" y="7"/>
                    <a:pt x="56" y="7"/>
                    <a:pt x="55" y="7"/>
                  </a:cubicBezTo>
                  <a:cubicBezTo>
                    <a:pt x="54" y="7"/>
                    <a:pt x="54" y="7"/>
                    <a:pt x="53" y="7"/>
                  </a:cubicBezTo>
                  <a:cubicBezTo>
                    <a:pt x="53" y="7"/>
                    <a:pt x="52" y="7"/>
                    <a:pt x="52" y="7"/>
                  </a:cubicBezTo>
                  <a:cubicBezTo>
                    <a:pt x="50" y="7"/>
                    <a:pt x="49" y="7"/>
                    <a:pt x="49" y="9"/>
                  </a:cubicBezTo>
                  <a:cubicBezTo>
                    <a:pt x="49" y="3"/>
                    <a:pt x="37" y="1"/>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091"/>
            <p:cNvSpPr/>
            <p:nvPr/>
          </p:nvSpPr>
          <p:spPr bwMode="auto">
            <a:xfrm>
              <a:off x="4143790" y="4052516"/>
              <a:ext cx="190612" cy="234909"/>
            </a:xfrm>
            <a:custGeom>
              <a:gdLst>
                <a:gd name="T0" fmla="*/ 54 w 60"/>
                <a:gd name="T1" fmla="*/ 0 h 74"/>
                <a:gd name="T2" fmla="*/ 50 w 60"/>
                <a:gd name="T3" fmla="*/ 12 h 74"/>
                <a:gd name="T4" fmla="*/ 53 w 60"/>
                <a:gd name="T5" fmla="*/ 17 h 74"/>
                <a:gd name="T6" fmla="*/ 53 w 60"/>
                <a:gd name="T7" fmla="*/ 17 h 74"/>
                <a:gd name="T8" fmla="*/ 50 w 60"/>
                <a:gd name="T9" fmla="*/ 13 h 74"/>
                <a:gd name="T10" fmla="*/ 48 w 60"/>
                <a:gd name="T11" fmla="*/ 12 h 74"/>
                <a:gd name="T12" fmla="*/ 48 w 60"/>
                <a:gd name="T13" fmla="*/ 13 h 74"/>
                <a:gd name="T14" fmla="*/ 49 w 60"/>
                <a:gd name="T15" fmla="*/ 21 h 74"/>
                <a:gd name="T16" fmla="*/ 46 w 60"/>
                <a:gd name="T17" fmla="*/ 25 h 74"/>
                <a:gd name="T18" fmla="*/ 46 w 60"/>
                <a:gd name="T19" fmla="*/ 23 h 74"/>
                <a:gd name="T20" fmla="*/ 39 w 60"/>
                <a:gd name="T21" fmla="*/ 32 h 74"/>
                <a:gd name="T22" fmla="*/ 38 w 60"/>
                <a:gd name="T23" fmla="*/ 33 h 74"/>
                <a:gd name="T24" fmla="*/ 37 w 60"/>
                <a:gd name="T25" fmla="*/ 32 h 74"/>
                <a:gd name="T26" fmla="*/ 26 w 60"/>
                <a:gd name="T27" fmla="*/ 45 h 74"/>
                <a:gd name="T28" fmla="*/ 19 w 60"/>
                <a:gd name="T29" fmla="*/ 52 h 74"/>
                <a:gd name="T30" fmla="*/ 19 w 60"/>
                <a:gd name="T31" fmla="*/ 51 h 74"/>
                <a:gd name="T32" fmla="*/ 10 w 60"/>
                <a:gd name="T33" fmla="*/ 59 h 74"/>
                <a:gd name="T34" fmla="*/ 3 w 60"/>
                <a:gd name="T35" fmla="*/ 66 h 74"/>
                <a:gd name="T36" fmla="*/ 0 w 60"/>
                <a:gd name="T37" fmla="*/ 74 h 74"/>
                <a:gd name="T38" fmla="*/ 17 w 60"/>
                <a:gd name="T39" fmla="*/ 61 h 74"/>
                <a:gd name="T40" fmla="*/ 31 w 60"/>
                <a:gd name="T41" fmla="*/ 50 h 74"/>
                <a:gd name="T42" fmla="*/ 35 w 60"/>
                <a:gd name="T43" fmla="*/ 45 h 74"/>
                <a:gd name="T44" fmla="*/ 37 w 60"/>
                <a:gd name="T45" fmla="*/ 42 h 74"/>
                <a:gd name="T46" fmla="*/ 41 w 60"/>
                <a:gd name="T47" fmla="*/ 34 h 74"/>
                <a:gd name="T48" fmla="*/ 45 w 60"/>
                <a:gd name="T49" fmla="*/ 34 h 74"/>
                <a:gd name="T50" fmla="*/ 52 w 60"/>
                <a:gd name="T51" fmla="*/ 26 h 74"/>
                <a:gd name="T52" fmla="*/ 60 w 60"/>
                <a:gd name="T53" fmla="*/ 21 h 74"/>
                <a:gd name="T54" fmla="*/ 59 w 60"/>
                <a:gd name="T55" fmla="*/ 21 h 74"/>
                <a:gd name="T56" fmla="*/ 58 w 60"/>
                <a:gd name="T57" fmla="*/ 18 h 74"/>
                <a:gd name="T58" fmla="*/ 57 w 60"/>
                <a:gd name="T59" fmla="*/ 18 h 74"/>
                <a:gd name="T60" fmla="*/ 57 w 60"/>
                <a:gd name="T61" fmla="*/ 16 h 74"/>
                <a:gd name="T62" fmla="*/ 56 w 60"/>
                <a:gd name="T63" fmla="*/ 15 h 74"/>
                <a:gd name="T64" fmla="*/ 56 w 60"/>
                <a:gd name="T65" fmla="*/ 15 h 74"/>
                <a:gd name="T66" fmla="*/ 56 w 60"/>
                <a:gd name="T67" fmla="*/ 15 h 74"/>
                <a:gd name="T68" fmla="*/ 56 w 60"/>
                <a:gd name="T69" fmla="*/ 14 h 74"/>
                <a:gd name="T70" fmla="*/ 54 w 60"/>
                <a:gd name="T71" fmla="*/ 13 h 74"/>
                <a:gd name="T72" fmla="*/ 56 w 60"/>
                <a:gd name="T73" fmla="*/ 8 h 74"/>
                <a:gd name="T74" fmla="*/ 56 w 60"/>
                <a:gd name="T75" fmla="*/ 8 h 74"/>
                <a:gd name="T76" fmla="*/ 56 w 60"/>
                <a:gd name="T77" fmla="*/ 5 h 74"/>
                <a:gd name="T78" fmla="*/ 54 w 60"/>
                <a:gd name="T79" fmla="*/ 0 h 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0" h="74">
                  <a:moveTo>
                    <a:pt x="54" y="0"/>
                  </a:moveTo>
                  <a:cubicBezTo>
                    <a:pt x="53" y="3"/>
                    <a:pt x="50" y="8"/>
                    <a:pt x="50" y="12"/>
                  </a:cubicBezTo>
                  <a:cubicBezTo>
                    <a:pt x="51" y="13"/>
                    <a:pt x="53" y="15"/>
                    <a:pt x="53" y="17"/>
                  </a:cubicBezTo>
                  <a:cubicBezTo>
                    <a:pt x="53" y="17"/>
                    <a:pt x="53" y="17"/>
                    <a:pt x="53" y="17"/>
                  </a:cubicBezTo>
                  <a:cubicBezTo>
                    <a:pt x="53" y="16"/>
                    <a:pt x="51" y="14"/>
                    <a:pt x="50" y="13"/>
                  </a:cubicBezTo>
                  <a:cubicBezTo>
                    <a:pt x="49" y="12"/>
                    <a:pt x="49" y="12"/>
                    <a:pt x="48" y="12"/>
                  </a:cubicBezTo>
                  <a:cubicBezTo>
                    <a:pt x="48" y="12"/>
                    <a:pt x="48" y="12"/>
                    <a:pt x="48" y="13"/>
                  </a:cubicBezTo>
                  <a:cubicBezTo>
                    <a:pt x="47" y="15"/>
                    <a:pt x="49" y="19"/>
                    <a:pt x="49" y="21"/>
                  </a:cubicBezTo>
                  <a:cubicBezTo>
                    <a:pt x="49" y="22"/>
                    <a:pt x="47" y="25"/>
                    <a:pt x="46" y="25"/>
                  </a:cubicBezTo>
                  <a:cubicBezTo>
                    <a:pt x="46" y="25"/>
                    <a:pt x="46" y="24"/>
                    <a:pt x="46" y="23"/>
                  </a:cubicBezTo>
                  <a:cubicBezTo>
                    <a:pt x="44" y="26"/>
                    <a:pt x="42" y="31"/>
                    <a:pt x="39" y="32"/>
                  </a:cubicBezTo>
                  <a:cubicBezTo>
                    <a:pt x="38" y="33"/>
                    <a:pt x="38" y="33"/>
                    <a:pt x="38" y="33"/>
                  </a:cubicBezTo>
                  <a:cubicBezTo>
                    <a:pt x="37" y="33"/>
                    <a:pt x="37" y="33"/>
                    <a:pt x="37" y="32"/>
                  </a:cubicBezTo>
                  <a:cubicBezTo>
                    <a:pt x="34" y="36"/>
                    <a:pt x="30" y="41"/>
                    <a:pt x="26" y="45"/>
                  </a:cubicBezTo>
                  <a:cubicBezTo>
                    <a:pt x="25" y="46"/>
                    <a:pt x="21" y="52"/>
                    <a:pt x="19" y="52"/>
                  </a:cubicBezTo>
                  <a:cubicBezTo>
                    <a:pt x="19" y="52"/>
                    <a:pt x="19" y="51"/>
                    <a:pt x="19" y="51"/>
                  </a:cubicBezTo>
                  <a:cubicBezTo>
                    <a:pt x="15" y="52"/>
                    <a:pt x="13" y="56"/>
                    <a:pt x="10" y="59"/>
                  </a:cubicBezTo>
                  <a:cubicBezTo>
                    <a:pt x="8" y="61"/>
                    <a:pt x="5" y="63"/>
                    <a:pt x="3" y="66"/>
                  </a:cubicBezTo>
                  <a:cubicBezTo>
                    <a:pt x="1" y="68"/>
                    <a:pt x="1" y="71"/>
                    <a:pt x="0" y="74"/>
                  </a:cubicBezTo>
                  <a:cubicBezTo>
                    <a:pt x="6" y="70"/>
                    <a:pt x="11" y="65"/>
                    <a:pt x="17" y="61"/>
                  </a:cubicBezTo>
                  <a:cubicBezTo>
                    <a:pt x="21" y="58"/>
                    <a:pt x="28" y="55"/>
                    <a:pt x="31" y="50"/>
                  </a:cubicBezTo>
                  <a:cubicBezTo>
                    <a:pt x="32" y="49"/>
                    <a:pt x="33" y="47"/>
                    <a:pt x="35" y="45"/>
                  </a:cubicBezTo>
                  <a:cubicBezTo>
                    <a:pt x="35" y="44"/>
                    <a:pt x="38" y="42"/>
                    <a:pt x="37" y="42"/>
                  </a:cubicBezTo>
                  <a:cubicBezTo>
                    <a:pt x="40" y="39"/>
                    <a:pt x="35" y="36"/>
                    <a:pt x="41" y="34"/>
                  </a:cubicBezTo>
                  <a:cubicBezTo>
                    <a:pt x="42" y="34"/>
                    <a:pt x="43" y="34"/>
                    <a:pt x="45" y="34"/>
                  </a:cubicBezTo>
                  <a:cubicBezTo>
                    <a:pt x="49" y="32"/>
                    <a:pt x="48" y="27"/>
                    <a:pt x="52" y="26"/>
                  </a:cubicBezTo>
                  <a:cubicBezTo>
                    <a:pt x="54" y="25"/>
                    <a:pt x="59" y="23"/>
                    <a:pt x="60" y="21"/>
                  </a:cubicBezTo>
                  <a:cubicBezTo>
                    <a:pt x="60" y="21"/>
                    <a:pt x="59" y="21"/>
                    <a:pt x="59" y="21"/>
                  </a:cubicBezTo>
                  <a:cubicBezTo>
                    <a:pt x="59" y="19"/>
                    <a:pt x="59" y="18"/>
                    <a:pt x="58" y="18"/>
                  </a:cubicBezTo>
                  <a:cubicBezTo>
                    <a:pt x="57" y="18"/>
                    <a:pt x="57" y="18"/>
                    <a:pt x="57" y="18"/>
                  </a:cubicBezTo>
                  <a:cubicBezTo>
                    <a:pt x="57" y="17"/>
                    <a:pt x="57" y="17"/>
                    <a:pt x="57" y="16"/>
                  </a:cubicBezTo>
                  <a:cubicBezTo>
                    <a:pt x="57" y="15"/>
                    <a:pt x="56" y="15"/>
                    <a:pt x="56" y="15"/>
                  </a:cubicBezTo>
                  <a:cubicBezTo>
                    <a:pt x="56" y="15"/>
                    <a:pt x="56" y="15"/>
                    <a:pt x="56" y="15"/>
                  </a:cubicBezTo>
                  <a:cubicBezTo>
                    <a:pt x="56" y="15"/>
                    <a:pt x="56" y="15"/>
                    <a:pt x="56" y="15"/>
                  </a:cubicBezTo>
                  <a:cubicBezTo>
                    <a:pt x="56" y="15"/>
                    <a:pt x="56" y="15"/>
                    <a:pt x="56" y="14"/>
                  </a:cubicBezTo>
                  <a:cubicBezTo>
                    <a:pt x="55" y="14"/>
                    <a:pt x="54" y="14"/>
                    <a:pt x="54" y="13"/>
                  </a:cubicBezTo>
                  <a:cubicBezTo>
                    <a:pt x="54" y="11"/>
                    <a:pt x="57" y="11"/>
                    <a:pt x="56" y="8"/>
                  </a:cubicBezTo>
                  <a:cubicBezTo>
                    <a:pt x="56" y="8"/>
                    <a:pt x="56" y="8"/>
                    <a:pt x="56" y="8"/>
                  </a:cubicBezTo>
                  <a:cubicBezTo>
                    <a:pt x="54" y="8"/>
                    <a:pt x="56" y="6"/>
                    <a:pt x="56" y="5"/>
                  </a:cubicBezTo>
                  <a:cubicBezTo>
                    <a:pt x="56" y="1"/>
                    <a:pt x="55" y="4"/>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092"/>
            <p:cNvSpPr/>
            <p:nvPr/>
          </p:nvSpPr>
          <p:spPr bwMode="auto">
            <a:xfrm>
              <a:off x="4600184" y="4061912"/>
              <a:ext cx="57720" cy="143630"/>
            </a:xfrm>
            <a:custGeom>
              <a:gdLst>
                <a:gd name="T0" fmla="*/ 18 w 18"/>
                <a:gd name="T1" fmla="*/ 0 h 45"/>
                <a:gd name="T2" fmla="*/ 15 w 18"/>
                <a:gd name="T3" fmla="*/ 7 h 45"/>
                <a:gd name="T4" fmla="*/ 12 w 18"/>
                <a:gd name="T5" fmla="*/ 14 h 45"/>
                <a:gd name="T6" fmla="*/ 5 w 18"/>
                <a:gd name="T7" fmla="*/ 27 h 45"/>
                <a:gd name="T8" fmla="*/ 2 w 18"/>
                <a:gd name="T9" fmla="*/ 34 h 45"/>
                <a:gd name="T10" fmla="*/ 1 w 18"/>
                <a:gd name="T11" fmla="*/ 45 h 45"/>
                <a:gd name="T12" fmla="*/ 10 w 18"/>
                <a:gd name="T13" fmla="*/ 27 h 45"/>
                <a:gd name="T14" fmla="*/ 17 w 18"/>
                <a:gd name="T15" fmla="*/ 20 h 45"/>
                <a:gd name="T16" fmla="*/ 17 w 18"/>
                <a:gd name="T17" fmla="*/ 14 h 45"/>
                <a:gd name="T18" fmla="*/ 18 w 18"/>
                <a:gd name="T19"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45">
                  <a:moveTo>
                    <a:pt x="18" y="0"/>
                  </a:moveTo>
                  <a:cubicBezTo>
                    <a:pt x="15" y="1"/>
                    <a:pt x="15" y="5"/>
                    <a:pt x="15" y="7"/>
                  </a:cubicBezTo>
                  <a:cubicBezTo>
                    <a:pt x="14" y="9"/>
                    <a:pt x="13" y="12"/>
                    <a:pt x="12" y="14"/>
                  </a:cubicBezTo>
                  <a:cubicBezTo>
                    <a:pt x="9" y="19"/>
                    <a:pt x="8" y="23"/>
                    <a:pt x="5" y="27"/>
                  </a:cubicBezTo>
                  <a:cubicBezTo>
                    <a:pt x="3" y="30"/>
                    <a:pt x="2" y="31"/>
                    <a:pt x="2" y="34"/>
                  </a:cubicBezTo>
                  <a:cubicBezTo>
                    <a:pt x="1" y="38"/>
                    <a:pt x="0" y="41"/>
                    <a:pt x="1" y="45"/>
                  </a:cubicBezTo>
                  <a:cubicBezTo>
                    <a:pt x="3" y="39"/>
                    <a:pt x="6" y="32"/>
                    <a:pt x="10" y="27"/>
                  </a:cubicBezTo>
                  <a:cubicBezTo>
                    <a:pt x="13" y="24"/>
                    <a:pt x="17" y="24"/>
                    <a:pt x="17" y="20"/>
                  </a:cubicBezTo>
                  <a:cubicBezTo>
                    <a:pt x="18" y="18"/>
                    <a:pt x="17" y="16"/>
                    <a:pt x="17" y="14"/>
                  </a:cubicBezTo>
                  <a:cubicBezTo>
                    <a:pt x="17" y="10"/>
                    <a:pt x="18" y="5"/>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093"/>
            <p:cNvSpPr/>
            <p:nvPr/>
          </p:nvSpPr>
          <p:spPr bwMode="auto">
            <a:xfrm>
              <a:off x="4588103" y="3963922"/>
              <a:ext cx="69801" cy="67117"/>
            </a:xfrm>
            <a:custGeom>
              <a:gdLst>
                <a:gd name="T0" fmla="*/ 3 w 22"/>
                <a:gd name="T1" fmla="*/ 0 h 21"/>
                <a:gd name="T2" fmla="*/ 3 w 22"/>
                <a:gd name="T3" fmla="*/ 6 h 21"/>
                <a:gd name="T4" fmla="*/ 2 w 22"/>
                <a:gd name="T5" fmla="*/ 9 h 21"/>
                <a:gd name="T6" fmla="*/ 3 w 22"/>
                <a:gd name="T7" fmla="*/ 9 h 21"/>
                <a:gd name="T8" fmla="*/ 3 w 22"/>
                <a:gd name="T9" fmla="*/ 9 h 21"/>
                <a:gd name="T10" fmla="*/ 3 w 22"/>
                <a:gd name="T11" fmla="*/ 9 h 21"/>
                <a:gd name="T12" fmla="*/ 3 w 22"/>
                <a:gd name="T13" fmla="*/ 9 h 21"/>
                <a:gd name="T14" fmla="*/ 3 w 22"/>
                <a:gd name="T15" fmla="*/ 9 h 21"/>
                <a:gd name="T16" fmla="*/ 4 w 22"/>
                <a:gd name="T17" fmla="*/ 10 h 21"/>
                <a:gd name="T18" fmla="*/ 3 w 22"/>
                <a:gd name="T19" fmla="*/ 11 h 21"/>
                <a:gd name="T20" fmla="*/ 1 w 22"/>
                <a:gd name="T21" fmla="*/ 16 h 21"/>
                <a:gd name="T22" fmla="*/ 3 w 22"/>
                <a:gd name="T23" fmla="*/ 15 h 21"/>
                <a:gd name="T24" fmla="*/ 9 w 22"/>
                <a:gd name="T25" fmla="*/ 9 h 21"/>
                <a:gd name="T26" fmla="*/ 10 w 22"/>
                <a:gd name="T27" fmla="*/ 10 h 21"/>
                <a:gd name="T28" fmla="*/ 12 w 22"/>
                <a:gd name="T29" fmla="*/ 13 h 21"/>
                <a:gd name="T30" fmla="*/ 14 w 22"/>
                <a:gd name="T31" fmla="*/ 16 h 21"/>
                <a:gd name="T32" fmla="*/ 17 w 22"/>
                <a:gd name="T33" fmla="*/ 17 h 21"/>
                <a:gd name="T34" fmla="*/ 22 w 22"/>
                <a:gd name="T35" fmla="*/ 21 h 21"/>
                <a:gd name="T36" fmla="*/ 18 w 22"/>
                <a:gd name="T37" fmla="*/ 9 h 21"/>
                <a:gd name="T38" fmla="*/ 15 w 22"/>
                <a:gd name="T39" fmla="*/ 8 h 21"/>
                <a:gd name="T40" fmla="*/ 3 w 22"/>
                <a:gd name="T41"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21">
                  <a:moveTo>
                    <a:pt x="3" y="0"/>
                  </a:moveTo>
                  <a:cubicBezTo>
                    <a:pt x="3" y="2"/>
                    <a:pt x="4" y="4"/>
                    <a:pt x="3" y="6"/>
                  </a:cubicBezTo>
                  <a:cubicBezTo>
                    <a:pt x="3" y="7"/>
                    <a:pt x="2" y="8"/>
                    <a:pt x="2" y="9"/>
                  </a:cubicBezTo>
                  <a:cubicBezTo>
                    <a:pt x="2" y="9"/>
                    <a:pt x="3" y="9"/>
                    <a:pt x="3" y="9"/>
                  </a:cubicBezTo>
                  <a:cubicBezTo>
                    <a:pt x="3" y="9"/>
                    <a:pt x="3" y="9"/>
                    <a:pt x="3" y="9"/>
                  </a:cubicBezTo>
                  <a:cubicBezTo>
                    <a:pt x="3" y="9"/>
                    <a:pt x="3" y="9"/>
                    <a:pt x="3" y="9"/>
                  </a:cubicBezTo>
                  <a:cubicBezTo>
                    <a:pt x="3" y="9"/>
                    <a:pt x="3" y="9"/>
                    <a:pt x="3" y="9"/>
                  </a:cubicBezTo>
                  <a:cubicBezTo>
                    <a:pt x="3" y="9"/>
                    <a:pt x="3" y="9"/>
                    <a:pt x="3" y="9"/>
                  </a:cubicBezTo>
                  <a:cubicBezTo>
                    <a:pt x="4" y="9"/>
                    <a:pt x="4" y="9"/>
                    <a:pt x="4" y="10"/>
                  </a:cubicBezTo>
                  <a:cubicBezTo>
                    <a:pt x="4" y="10"/>
                    <a:pt x="4" y="10"/>
                    <a:pt x="3" y="11"/>
                  </a:cubicBezTo>
                  <a:cubicBezTo>
                    <a:pt x="3" y="12"/>
                    <a:pt x="0" y="16"/>
                    <a:pt x="1" y="16"/>
                  </a:cubicBezTo>
                  <a:cubicBezTo>
                    <a:pt x="1" y="16"/>
                    <a:pt x="2" y="16"/>
                    <a:pt x="3" y="15"/>
                  </a:cubicBezTo>
                  <a:cubicBezTo>
                    <a:pt x="5" y="14"/>
                    <a:pt x="6" y="9"/>
                    <a:pt x="9" y="9"/>
                  </a:cubicBezTo>
                  <a:cubicBezTo>
                    <a:pt x="9" y="9"/>
                    <a:pt x="10" y="10"/>
                    <a:pt x="10" y="10"/>
                  </a:cubicBezTo>
                  <a:cubicBezTo>
                    <a:pt x="11" y="11"/>
                    <a:pt x="12" y="13"/>
                    <a:pt x="12" y="13"/>
                  </a:cubicBezTo>
                  <a:cubicBezTo>
                    <a:pt x="13" y="13"/>
                    <a:pt x="14" y="16"/>
                    <a:pt x="14" y="16"/>
                  </a:cubicBezTo>
                  <a:cubicBezTo>
                    <a:pt x="15" y="16"/>
                    <a:pt x="16" y="16"/>
                    <a:pt x="17" y="17"/>
                  </a:cubicBezTo>
                  <a:cubicBezTo>
                    <a:pt x="19" y="18"/>
                    <a:pt x="21" y="19"/>
                    <a:pt x="22" y="21"/>
                  </a:cubicBezTo>
                  <a:cubicBezTo>
                    <a:pt x="21" y="18"/>
                    <a:pt x="20" y="12"/>
                    <a:pt x="18" y="9"/>
                  </a:cubicBezTo>
                  <a:cubicBezTo>
                    <a:pt x="18" y="9"/>
                    <a:pt x="15" y="8"/>
                    <a:pt x="15" y="8"/>
                  </a:cubicBezTo>
                  <a:cubicBezTo>
                    <a:pt x="11" y="4"/>
                    <a:pt x="8"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094"/>
            <p:cNvSpPr/>
            <p:nvPr/>
          </p:nvSpPr>
          <p:spPr bwMode="auto">
            <a:xfrm>
              <a:off x="4346483" y="4012246"/>
              <a:ext cx="12081" cy="24162"/>
            </a:xfrm>
            <a:custGeom>
              <a:gdLst>
                <a:gd name="T0" fmla="*/ 0 w 4"/>
                <a:gd name="T1" fmla="*/ 0 h 8"/>
                <a:gd name="T2" fmla="*/ 1 w 4"/>
                <a:gd name="T3" fmla="*/ 8 h 8"/>
                <a:gd name="T4" fmla="*/ 3 w 4"/>
                <a:gd name="T5" fmla="*/ 3 h 8"/>
                <a:gd name="T6" fmla="*/ 4 w 4"/>
                <a:gd name="T7" fmla="*/ 3 h 8"/>
                <a:gd name="T8" fmla="*/ 2 w 4"/>
                <a:gd name="T9" fmla="*/ 2 h 8"/>
                <a:gd name="T10" fmla="*/ 3 w 4"/>
                <a:gd name="T11" fmla="*/ 1 h 8"/>
                <a:gd name="T12" fmla="*/ 0 w 4"/>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cubicBezTo>
                    <a:pt x="0" y="2"/>
                    <a:pt x="1" y="5"/>
                    <a:pt x="1" y="8"/>
                  </a:cubicBezTo>
                  <a:cubicBezTo>
                    <a:pt x="4" y="6"/>
                    <a:pt x="4" y="5"/>
                    <a:pt x="3" y="3"/>
                  </a:cubicBezTo>
                  <a:cubicBezTo>
                    <a:pt x="4" y="3"/>
                    <a:pt x="4" y="3"/>
                    <a:pt x="4" y="3"/>
                  </a:cubicBezTo>
                  <a:cubicBezTo>
                    <a:pt x="4" y="2"/>
                    <a:pt x="3" y="2"/>
                    <a:pt x="2" y="2"/>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095"/>
            <p:cNvSpPr/>
            <p:nvPr/>
          </p:nvSpPr>
          <p:spPr bwMode="auto">
            <a:xfrm>
              <a:off x="4704886" y="4217623"/>
              <a:ext cx="6712" cy="13423"/>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0" y="1"/>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096"/>
            <p:cNvSpPr/>
            <p:nvPr/>
          </p:nvSpPr>
          <p:spPr bwMode="auto">
            <a:xfrm>
              <a:off x="4527698" y="4087417"/>
              <a:ext cx="91279" cy="146315"/>
            </a:xfrm>
            <a:custGeom>
              <a:gdLst>
                <a:gd name="T0" fmla="*/ 21 w 29"/>
                <a:gd name="T1" fmla="*/ 0 h 46"/>
                <a:gd name="T2" fmla="*/ 20 w 29"/>
                <a:gd name="T3" fmla="*/ 0 h 46"/>
                <a:gd name="T4" fmla="*/ 8 w 29"/>
                <a:gd name="T5" fmla="*/ 19 h 46"/>
                <a:gd name="T6" fmla="*/ 6 w 29"/>
                <a:gd name="T7" fmla="*/ 24 h 46"/>
                <a:gd name="T8" fmla="*/ 5 w 29"/>
                <a:gd name="T9" fmla="*/ 23 h 46"/>
                <a:gd name="T10" fmla="*/ 3 w 29"/>
                <a:gd name="T11" fmla="*/ 24 h 46"/>
                <a:gd name="T12" fmla="*/ 7 w 29"/>
                <a:gd name="T13" fmla="*/ 36 h 46"/>
                <a:gd name="T14" fmla="*/ 12 w 29"/>
                <a:gd name="T15" fmla="*/ 38 h 46"/>
                <a:gd name="T16" fmla="*/ 13 w 29"/>
                <a:gd name="T17" fmla="*/ 41 h 46"/>
                <a:gd name="T18" fmla="*/ 17 w 29"/>
                <a:gd name="T19" fmla="*/ 46 h 46"/>
                <a:gd name="T20" fmla="*/ 18 w 29"/>
                <a:gd name="T21" fmla="*/ 46 h 46"/>
                <a:gd name="T22" fmla="*/ 19 w 29"/>
                <a:gd name="T23" fmla="*/ 34 h 46"/>
                <a:gd name="T24" fmla="*/ 23 w 29"/>
                <a:gd name="T25" fmla="*/ 18 h 46"/>
                <a:gd name="T26" fmla="*/ 29 w 29"/>
                <a:gd name="T27" fmla="*/ 3 h 46"/>
                <a:gd name="T28" fmla="*/ 28 w 29"/>
                <a:gd name="T29" fmla="*/ 1 h 46"/>
                <a:gd name="T30" fmla="*/ 25 w 29"/>
                <a:gd name="T31" fmla="*/ 0 h 46"/>
                <a:gd name="T32" fmla="*/ 21 w 29"/>
                <a:gd name="T33" fmla="*/ 0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6">
                  <a:moveTo>
                    <a:pt x="21" y="0"/>
                  </a:moveTo>
                  <a:cubicBezTo>
                    <a:pt x="20" y="0"/>
                    <a:pt x="20" y="0"/>
                    <a:pt x="20" y="0"/>
                  </a:cubicBezTo>
                  <a:cubicBezTo>
                    <a:pt x="12" y="2"/>
                    <a:pt x="11" y="12"/>
                    <a:pt x="8" y="19"/>
                  </a:cubicBezTo>
                  <a:cubicBezTo>
                    <a:pt x="8" y="20"/>
                    <a:pt x="7" y="23"/>
                    <a:pt x="6" y="24"/>
                  </a:cubicBezTo>
                  <a:cubicBezTo>
                    <a:pt x="5" y="23"/>
                    <a:pt x="5" y="23"/>
                    <a:pt x="5" y="23"/>
                  </a:cubicBezTo>
                  <a:cubicBezTo>
                    <a:pt x="4" y="24"/>
                    <a:pt x="4" y="23"/>
                    <a:pt x="3" y="24"/>
                  </a:cubicBezTo>
                  <a:cubicBezTo>
                    <a:pt x="0" y="27"/>
                    <a:pt x="5" y="34"/>
                    <a:pt x="7" y="36"/>
                  </a:cubicBezTo>
                  <a:cubicBezTo>
                    <a:pt x="8" y="38"/>
                    <a:pt x="10" y="37"/>
                    <a:pt x="12" y="38"/>
                  </a:cubicBezTo>
                  <a:cubicBezTo>
                    <a:pt x="13" y="39"/>
                    <a:pt x="12" y="39"/>
                    <a:pt x="13" y="41"/>
                  </a:cubicBezTo>
                  <a:cubicBezTo>
                    <a:pt x="14" y="43"/>
                    <a:pt x="14" y="45"/>
                    <a:pt x="17" y="46"/>
                  </a:cubicBezTo>
                  <a:cubicBezTo>
                    <a:pt x="17" y="46"/>
                    <a:pt x="17" y="46"/>
                    <a:pt x="18" y="46"/>
                  </a:cubicBezTo>
                  <a:cubicBezTo>
                    <a:pt x="24" y="46"/>
                    <a:pt x="20" y="37"/>
                    <a:pt x="19" y="34"/>
                  </a:cubicBezTo>
                  <a:cubicBezTo>
                    <a:pt x="18" y="29"/>
                    <a:pt x="21" y="23"/>
                    <a:pt x="23" y="18"/>
                  </a:cubicBezTo>
                  <a:cubicBezTo>
                    <a:pt x="24" y="13"/>
                    <a:pt x="27" y="8"/>
                    <a:pt x="29" y="3"/>
                  </a:cubicBezTo>
                  <a:cubicBezTo>
                    <a:pt x="28" y="3"/>
                    <a:pt x="29" y="2"/>
                    <a:pt x="28" y="1"/>
                  </a:cubicBezTo>
                  <a:cubicBezTo>
                    <a:pt x="27" y="1"/>
                    <a:pt x="27" y="1"/>
                    <a:pt x="25" y="0"/>
                  </a:cubicBezTo>
                  <a:cubicBezTo>
                    <a:pt x="24" y="0"/>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097"/>
            <p:cNvSpPr/>
            <p:nvPr/>
          </p:nvSpPr>
          <p:spPr bwMode="auto">
            <a:xfrm>
              <a:off x="4488770" y="4173326"/>
              <a:ext cx="358404" cy="320819"/>
            </a:xfrm>
            <a:custGeom>
              <a:gdLst>
                <a:gd name="T0" fmla="*/ 87 w 113"/>
                <a:gd name="T1" fmla="*/ 15 h 101"/>
                <a:gd name="T2" fmla="*/ 80 w 113"/>
                <a:gd name="T3" fmla="*/ 18 h 101"/>
                <a:gd name="T4" fmla="*/ 75 w 113"/>
                <a:gd name="T5" fmla="*/ 21 h 101"/>
                <a:gd name="T6" fmla="*/ 72 w 113"/>
                <a:gd name="T7" fmla="*/ 19 h 101"/>
                <a:gd name="T8" fmla="*/ 62 w 113"/>
                <a:gd name="T9" fmla="*/ 29 h 101"/>
                <a:gd name="T10" fmla="*/ 55 w 113"/>
                <a:gd name="T11" fmla="*/ 37 h 101"/>
                <a:gd name="T12" fmla="*/ 44 w 113"/>
                <a:gd name="T13" fmla="*/ 43 h 101"/>
                <a:gd name="T14" fmla="*/ 46 w 113"/>
                <a:gd name="T15" fmla="*/ 30 h 101"/>
                <a:gd name="T16" fmla="*/ 37 w 113"/>
                <a:gd name="T17" fmla="*/ 26 h 101"/>
                <a:gd name="T18" fmla="*/ 28 w 113"/>
                <a:gd name="T19" fmla="*/ 35 h 101"/>
                <a:gd name="T20" fmla="*/ 23 w 113"/>
                <a:gd name="T21" fmla="*/ 41 h 101"/>
                <a:gd name="T22" fmla="*/ 8 w 113"/>
                <a:gd name="T23" fmla="*/ 53 h 101"/>
                <a:gd name="T24" fmla="*/ 4 w 113"/>
                <a:gd name="T25" fmla="*/ 68 h 101"/>
                <a:gd name="T26" fmla="*/ 9 w 113"/>
                <a:gd name="T27" fmla="*/ 67 h 101"/>
                <a:gd name="T28" fmla="*/ 14 w 113"/>
                <a:gd name="T29" fmla="*/ 58 h 101"/>
                <a:gd name="T30" fmla="*/ 15 w 113"/>
                <a:gd name="T31" fmla="*/ 53 h 101"/>
                <a:gd name="T32" fmla="*/ 23 w 113"/>
                <a:gd name="T33" fmla="*/ 52 h 101"/>
                <a:gd name="T34" fmla="*/ 30 w 113"/>
                <a:gd name="T35" fmla="*/ 51 h 101"/>
                <a:gd name="T36" fmla="*/ 33 w 113"/>
                <a:gd name="T37" fmla="*/ 53 h 101"/>
                <a:gd name="T38" fmla="*/ 32 w 113"/>
                <a:gd name="T39" fmla="*/ 56 h 101"/>
                <a:gd name="T40" fmla="*/ 37 w 113"/>
                <a:gd name="T41" fmla="*/ 59 h 101"/>
                <a:gd name="T42" fmla="*/ 41 w 113"/>
                <a:gd name="T43" fmla="*/ 47 h 101"/>
                <a:gd name="T44" fmla="*/ 56 w 113"/>
                <a:gd name="T45" fmla="*/ 61 h 101"/>
                <a:gd name="T46" fmla="*/ 53 w 113"/>
                <a:gd name="T47" fmla="*/ 77 h 101"/>
                <a:gd name="T48" fmla="*/ 70 w 113"/>
                <a:gd name="T49" fmla="*/ 92 h 101"/>
                <a:gd name="T50" fmla="*/ 77 w 113"/>
                <a:gd name="T51" fmla="*/ 92 h 101"/>
                <a:gd name="T52" fmla="*/ 81 w 113"/>
                <a:gd name="T53" fmla="*/ 88 h 101"/>
                <a:gd name="T54" fmla="*/ 83 w 113"/>
                <a:gd name="T55" fmla="*/ 101 h 101"/>
                <a:gd name="T56" fmla="*/ 91 w 113"/>
                <a:gd name="T57" fmla="*/ 92 h 101"/>
                <a:gd name="T58" fmla="*/ 85 w 113"/>
                <a:gd name="T59" fmla="*/ 76 h 101"/>
                <a:gd name="T60" fmla="*/ 85 w 113"/>
                <a:gd name="T61" fmla="*/ 72 h 101"/>
                <a:gd name="T62" fmla="*/ 94 w 113"/>
                <a:gd name="T63" fmla="*/ 59 h 101"/>
                <a:gd name="T64" fmla="*/ 100 w 113"/>
                <a:gd name="T65" fmla="*/ 71 h 101"/>
                <a:gd name="T66" fmla="*/ 103 w 113"/>
                <a:gd name="T67" fmla="*/ 84 h 101"/>
                <a:gd name="T68" fmla="*/ 104 w 113"/>
                <a:gd name="T69" fmla="*/ 69 h 101"/>
                <a:gd name="T70" fmla="*/ 106 w 113"/>
                <a:gd name="T71" fmla="*/ 70 h 101"/>
                <a:gd name="T72" fmla="*/ 108 w 113"/>
                <a:gd name="T73" fmla="*/ 69 h 101"/>
                <a:gd name="T74" fmla="*/ 112 w 113"/>
                <a:gd name="T75" fmla="*/ 62 h 101"/>
                <a:gd name="T76" fmla="*/ 107 w 113"/>
                <a:gd name="T77" fmla="*/ 46 h 101"/>
                <a:gd name="T78" fmla="*/ 107 w 113"/>
                <a:gd name="T79" fmla="*/ 39 h 101"/>
                <a:gd name="T80" fmla="*/ 105 w 113"/>
                <a:gd name="T81" fmla="*/ 31 h 101"/>
                <a:gd name="T82" fmla="*/ 103 w 113"/>
                <a:gd name="T83" fmla="*/ 31 h 101"/>
                <a:gd name="T84" fmla="*/ 105 w 113"/>
                <a:gd name="T85" fmla="*/ 25 h 101"/>
                <a:gd name="T86" fmla="*/ 101 w 113"/>
                <a:gd name="T87" fmla="*/ 14 h 101"/>
                <a:gd name="T88" fmla="*/ 85 w 113"/>
                <a:gd name="T89" fmla="*/ 0 h 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3" h="100">
                  <a:moveTo>
                    <a:pt x="85" y="0"/>
                  </a:moveTo>
                  <a:cubicBezTo>
                    <a:pt x="86" y="5"/>
                    <a:pt x="87" y="10"/>
                    <a:pt x="87" y="15"/>
                  </a:cubicBezTo>
                  <a:cubicBezTo>
                    <a:pt x="88" y="16"/>
                    <a:pt x="88" y="18"/>
                    <a:pt x="88" y="19"/>
                  </a:cubicBezTo>
                  <a:cubicBezTo>
                    <a:pt x="85" y="19"/>
                    <a:pt x="82" y="18"/>
                    <a:pt x="80" y="18"/>
                  </a:cubicBezTo>
                  <a:cubicBezTo>
                    <a:pt x="79" y="21"/>
                    <a:pt x="80" y="23"/>
                    <a:pt x="78" y="23"/>
                  </a:cubicBezTo>
                  <a:cubicBezTo>
                    <a:pt x="78" y="23"/>
                    <a:pt x="77" y="22"/>
                    <a:pt x="75" y="21"/>
                  </a:cubicBezTo>
                  <a:cubicBezTo>
                    <a:pt x="75" y="21"/>
                    <a:pt x="73" y="19"/>
                    <a:pt x="72" y="19"/>
                  </a:cubicBezTo>
                  <a:cubicBezTo>
                    <a:pt x="72" y="19"/>
                    <a:pt x="72" y="19"/>
                    <a:pt x="72" y="19"/>
                  </a:cubicBezTo>
                  <a:cubicBezTo>
                    <a:pt x="69" y="20"/>
                    <a:pt x="70" y="29"/>
                    <a:pt x="69" y="31"/>
                  </a:cubicBezTo>
                  <a:cubicBezTo>
                    <a:pt x="68" y="31"/>
                    <a:pt x="62" y="29"/>
                    <a:pt x="62" y="29"/>
                  </a:cubicBezTo>
                  <a:cubicBezTo>
                    <a:pt x="62" y="29"/>
                    <a:pt x="62" y="29"/>
                    <a:pt x="62" y="29"/>
                  </a:cubicBezTo>
                  <a:cubicBezTo>
                    <a:pt x="60" y="32"/>
                    <a:pt x="58" y="35"/>
                    <a:pt x="55" y="37"/>
                  </a:cubicBezTo>
                  <a:cubicBezTo>
                    <a:pt x="53" y="38"/>
                    <a:pt x="47" y="44"/>
                    <a:pt x="44" y="44"/>
                  </a:cubicBezTo>
                  <a:cubicBezTo>
                    <a:pt x="44" y="44"/>
                    <a:pt x="44" y="43"/>
                    <a:pt x="44" y="43"/>
                  </a:cubicBezTo>
                  <a:cubicBezTo>
                    <a:pt x="46" y="42"/>
                    <a:pt x="48" y="41"/>
                    <a:pt x="48" y="38"/>
                  </a:cubicBezTo>
                  <a:cubicBezTo>
                    <a:pt x="49" y="36"/>
                    <a:pt x="47" y="31"/>
                    <a:pt x="46" y="30"/>
                  </a:cubicBezTo>
                  <a:cubicBezTo>
                    <a:pt x="45" y="29"/>
                    <a:pt x="46" y="29"/>
                    <a:pt x="44" y="29"/>
                  </a:cubicBezTo>
                  <a:cubicBezTo>
                    <a:pt x="41" y="29"/>
                    <a:pt x="39" y="27"/>
                    <a:pt x="37" y="26"/>
                  </a:cubicBezTo>
                  <a:cubicBezTo>
                    <a:pt x="38" y="27"/>
                    <a:pt x="38" y="27"/>
                    <a:pt x="38" y="27"/>
                  </a:cubicBezTo>
                  <a:cubicBezTo>
                    <a:pt x="33" y="29"/>
                    <a:pt x="30" y="30"/>
                    <a:pt x="28" y="35"/>
                  </a:cubicBezTo>
                  <a:cubicBezTo>
                    <a:pt x="27" y="36"/>
                    <a:pt x="26" y="39"/>
                    <a:pt x="26" y="40"/>
                  </a:cubicBezTo>
                  <a:cubicBezTo>
                    <a:pt x="25" y="41"/>
                    <a:pt x="23" y="40"/>
                    <a:pt x="23" y="41"/>
                  </a:cubicBezTo>
                  <a:cubicBezTo>
                    <a:pt x="17" y="42"/>
                    <a:pt x="11" y="43"/>
                    <a:pt x="8" y="47"/>
                  </a:cubicBezTo>
                  <a:cubicBezTo>
                    <a:pt x="7" y="49"/>
                    <a:pt x="6" y="52"/>
                    <a:pt x="8" y="53"/>
                  </a:cubicBezTo>
                  <a:cubicBezTo>
                    <a:pt x="6" y="54"/>
                    <a:pt x="6" y="54"/>
                    <a:pt x="7" y="55"/>
                  </a:cubicBezTo>
                  <a:cubicBezTo>
                    <a:pt x="5" y="58"/>
                    <a:pt x="0" y="67"/>
                    <a:pt x="4" y="68"/>
                  </a:cubicBezTo>
                  <a:cubicBezTo>
                    <a:pt x="5" y="69"/>
                    <a:pt x="6" y="69"/>
                    <a:pt x="7" y="69"/>
                  </a:cubicBezTo>
                  <a:cubicBezTo>
                    <a:pt x="7" y="69"/>
                    <a:pt x="8" y="69"/>
                    <a:pt x="9" y="67"/>
                  </a:cubicBezTo>
                  <a:cubicBezTo>
                    <a:pt x="9" y="66"/>
                    <a:pt x="10" y="65"/>
                    <a:pt x="11" y="64"/>
                  </a:cubicBezTo>
                  <a:cubicBezTo>
                    <a:pt x="11" y="62"/>
                    <a:pt x="10" y="59"/>
                    <a:pt x="14" y="58"/>
                  </a:cubicBezTo>
                  <a:cubicBezTo>
                    <a:pt x="11" y="57"/>
                    <a:pt x="15" y="54"/>
                    <a:pt x="16" y="53"/>
                  </a:cubicBezTo>
                  <a:cubicBezTo>
                    <a:pt x="16" y="53"/>
                    <a:pt x="15" y="53"/>
                    <a:pt x="15" y="53"/>
                  </a:cubicBezTo>
                  <a:cubicBezTo>
                    <a:pt x="16" y="52"/>
                    <a:pt x="18" y="50"/>
                    <a:pt x="20" y="50"/>
                  </a:cubicBezTo>
                  <a:cubicBezTo>
                    <a:pt x="21" y="50"/>
                    <a:pt x="22" y="50"/>
                    <a:pt x="23" y="52"/>
                  </a:cubicBezTo>
                  <a:cubicBezTo>
                    <a:pt x="25" y="54"/>
                    <a:pt x="23" y="55"/>
                    <a:pt x="24" y="57"/>
                  </a:cubicBezTo>
                  <a:cubicBezTo>
                    <a:pt x="26" y="56"/>
                    <a:pt x="28" y="53"/>
                    <a:pt x="30" y="51"/>
                  </a:cubicBezTo>
                  <a:cubicBezTo>
                    <a:pt x="30" y="51"/>
                    <a:pt x="30" y="51"/>
                    <a:pt x="31" y="51"/>
                  </a:cubicBezTo>
                  <a:cubicBezTo>
                    <a:pt x="32" y="51"/>
                    <a:pt x="33" y="52"/>
                    <a:pt x="33" y="53"/>
                  </a:cubicBezTo>
                  <a:cubicBezTo>
                    <a:pt x="32" y="54"/>
                    <a:pt x="30" y="53"/>
                    <a:pt x="31" y="55"/>
                  </a:cubicBezTo>
                  <a:cubicBezTo>
                    <a:pt x="31" y="56"/>
                    <a:pt x="32" y="56"/>
                    <a:pt x="32" y="56"/>
                  </a:cubicBezTo>
                  <a:cubicBezTo>
                    <a:pt x="33" y="56"/>
                    <a:pt x="34" y="55"/>
                    <a:pt x="35" y="55"/>
                  </a:cubicBezTo>
                  <a:cubicBezTo>
                    <a:pt x="35" y="57"/>
                    <a:pt x="36" y="58"/>
                    <a:pt x="37" y="59"/>
                  </a:cubicBezTo>
                  <a:cubicBezTo>
                    <a:pt x="38" y="55"/>
                    <a:pt x="35" y="52"/>
                    <a:pt x="38" y="49"/>
                  </a:cubicBezTo>
                  <a:cubicBezTo>
                    <a:pt x="39" y="48"/>
                    <a:pt x="40" y="47"/>
                    <a:pt x="41" y="47"/>
                  </a:cubicBezTo>
                  <a:cubicBezTo>
                    <a:pt x="46" y="47"/>
                    <a:pt x="52" y="54"/>
                    <a:pt x="54" y="56"/>
                  </a:cubicBezTo>
                  <a:cubicBezTo>
                    <a:pt x="57" y="58"/>
                    <a:pt x="58" y="58"/>
                    <a:pt x="56" y="61"/>
                  </a:cubicBezTo>
                  <a:cubicBezTo>
                    <a:pt x="55" y="62"/>
                    <a:pt x="54" y="63"/>
                    <a:pt x="53" y="64"/>
                  </a:cubicBezTo>
                  <a:cubicBezTo>
                    <a:pt x="50" y="68"/>
                    <a:pt x="53" y="73"/>
                    <a:pt x="53" y="77"/>
                  </a:cubicBezTo>
                  <a:cubicBezTo>
                    <a:pt x="53" y="78"/>
                    <a:pt x="52" y="80"/>
                    <a:pt x="53" y="81"/>
                  </a:cubicBezTo>
                  <a:cubicBezTo>
                    <a:pt x="59" y="87"/>
                    <a:pt x="63" y="89"/>
                    <a:pt x="70" y="92"/>
                  </a:cubicBezTo>
                  <a:cubicBezTo>
                    <a:pt x="72" y="93"/>
                    <a:pt x="74" y="94"/>
                    <a:pt x="75" y="94"/>
                  </a:cubicBezTo>
                  <a:cubicBezTo>
                    <a:pt x="76" y="94"/>
                    <a:pt x="77" y="93"/>
                    <a:pt x="77" y="92"/>
                  </a:cubicBezTo>
                  <a:cubicBezTo>
                    <a:pt x="78" y="91"/>
                    <a:pt x="78" y="88"/>
                    <a:pt x="80" y="88"/>
                  </a:cubicBezTo>
                  <a:cubicBezTo>
                    <a:pt x="80" y="88"/>
                    <a:pt x="81" y="88"/>
                    <a:pt x="81" y="88"/>
                  </a:cubicBezTo>
                  <a:cubicBezTo>
                    <a:pt x="81" y="93"/>
                    <a:pt x="79" y="94"/>
                    <a:pt x="81" y="99"/>
                  </a:cubicBezTo>
                  <a:cubicBezTo>
                    <a:pt x="82" y="100"/>
                    <a:pt x="83" y="101"/>
                    <a:pt x="83" y="101"/>
                  </a:cubicBezTo>
                  <a:cubicBezTo>
                    <a:pt x="84" y="101"/>
                    <a:pt x="85" y="99"/>
                    <a:pt x="87" y="98"/>
                  </a:cubicBezTo>
                  <a:cubicBezTo>
                    <a:pt x="88" y="96"/>
                    <a:pt x="90" y="94"/>
                    <a:pt x="91" y="92"/>
                  </a:cubicBezTo>
                  <a:cubicBezTo>
                    <a:pt x="92" y="89"/>
                    <a:pt x="90" y="81"/>
                    <a:pt x="88" y="78"/>
                  </a:cubicBezTo>
                  <a:cubicBezTo>
                    <a:pt x="87" y="78"/>
                    <a:pt x="86" y="77"/>
                    <a:pt x="85" y="76"/>
                  </a:cubicBezTo>
                  <a:cubicBezTo>
                    <a:pt x="85" y="76"/>
                    <a:pt x="85" y="77"/>
                    <a:pt x="85" y="77"/>
                  </a:cubicBezTo>
                  <a:cubicBezTo>
                    <a:pt x="84" y="77"/>
                    <a:pt x="85" y="73"/>
                    <a:pt x="85" y="72"/>
                  </a:cubicBezTo>
                  <a:cubicBezTo>
                    <a:pt x="86" y="69"/>
                    <a:pt x="90" y="60"/>
                    <a:pt x="93" y="59"/>
                  </a:cubicBezTo>
                  <a:cubicBezTo>
                    <a:pt x="94" y="59"/>
                    <a:pt x="94" y="59"/>
                    <a:pt x="94" y="59"/>
                  </a:cubicBezTo>
                  <a:cubicBezTo>
                    <a:pt x="96" y="59"/>
                    <a:pt x="97" y="64"/>
                    <a:pt x="98" y="66"/>
                  </a:cubicBezTo>
                  <a:cubicBezTo>
                    <a:pt x="98" y="69"/>
                    <a:pt x="100" y="69"/>
                    <a:pt x="100" y="71"/>
                  </a:cubicBezTo>
                  <a:cubicBezTo>
                    <a:pt x="101" y="73"/>
                    <a:pt x="100" y="76"/>
                    <a:pt x="101" y="78"/>
                  </a:cubicBezTo>
                  <a:cubicBezTo>
                    <a:pt x="101" y="81"/>
                    <a:pt x="103" y="82"/>
                    <a:pt x="103" y="84"/>
                  </a:cubicBezTo>
                  <a:cubicBezTo>
                    <a:pt x="104" y="81"/>
                    <a:pt x="103" y="76"/>
                    <a:pt x="103" y="73"/>
                  </a:cubicBezTo>
                  <a:cubicBezTo>
                    <a:pt x="103" y="72"/>
                    <a:pt x="102" y="69"/>
                    <a:pt x="104" y="69"/>
                  </a:cubicBezTo>
                  <a:cubicBezTo>
                    <a:pt x="104" y="69"/>
                    <a:pt x="104" y="69"/>
                    <a:pt x="104" y="69"/>
                  </a:cubicBezTo>
                  <a:cubicBezTo>
                    <a:pt x="105" y="69"/>
                    <a:pt x="105" y="70"/>
                    <a:pt x="106" y="70"/>
                  </a:cubicBezTo>
                  <a:cubicBezTo>
                    <a:pt x="106" y="71"/>
                    <a:pt x="106" y="72"/>
                    <a:pt x="107" y="72"/>
                  </a:cubicBezTo>
                  <a:cubicBezTo>
                    <a:pt x="107" y="72"/>
                    <a:pt x="107" y="71"/>
                    <a:pt x="108" y="69"/>
                  </a:cubicBezTo>
                  <a:cubicBezTo>
                    <a:pt x="108" y="67"/>
                    <a:pt x="109" y="67"/>
                    <a:pt x="109" y="67"/>
                  </a:cubicBezTo>
                  <a:cubicBezTo>
                    <a:pt x="110" y="66"/>
                    <a:pt x="112" y="63"/>
                    <a:pt x="112" y="62"/>
                  </a:cubicBezTo>
                  <a:cubicBezTo>
                    <a:pt x="113" y="59"/>
                    <a:pt x="112" y="55"/>
                    <a:pt x="112" y="52"/>
                  </a:cubicBezTo>
                  <a:cubicBezTo>
                    <a:pt x="112" y="49"/>
                    <a:pt x="109" y="48"/>
                    <a:pt x="107" y="46"/>
                  </a:cubicBezTo>
                  <a:cubicBezTo>
                    <a:pt x="110" y="44"/>
                    <a:pt x="108" y="41"/>
                    <a:pt x="110" y="38"/>
                  </a:cubicBezTo>
                  <a:cubicBezTo>
                    <a:pt x="108" y="38"/>
                    <a:pt x="108" y="39"/>
                    <a:pt x="107" y="39"/>
                  </a:cubicBezTo>
                  <a:cubicBezTo>
                    <a:pt x="105" y="39"/>
                    <a:pt x="108" y="35"/>
                    <a:pt x="108" y="32"/>
                  </a:cubicBezTo>
                  <a:cubicBezTo>
                    <a:pt x="107" y="31"/>
                    <a:pt x="106" y="31"/>
                    <a:pt x="105" y="31"/>
                  </a:cubicBezTo>
                  <a:cubicBezTo>
                    <a:pt x="105" y="31"/>
                    <a:pt x="104" y="31"/>
                    <a:pt x="104" y="31"/>
                  </a:cubicBezTo>
                  <a:cubicBezTo>
                    <a:pt x="104" y="31"/>
                    <a:pt x="103" y="31"/>
                    <a:pt x="103" y="31"/>
                  </a:cubicBezTo>
                  <a:cubicBezTo>
                    <a:pt x="102" y="31"/>
                    <a:pt x="102" y="31"/>
                    <a:pt x="102" y="31"/>
                  </a:cubicBezTo>
                  <a:cubicBezTo>
                    <a:pt x="99" y="28"/>
                    <a:pt x="105" y="26"/>
                    <a:pt x="105" y="25"/>
                  </a:cubicBezTo>
                  <a:cubicBezTo>
                    <a:pt x="108" y="21"/>
                    <a:pt x="103" y="17"/>
                    <a:pt x="104" y="13"/>
                  </a:cubicBezTo>
                  <a:cubicBezTo>
                    <a:pt x="102" y="13"/>
                    <a:pt x="101" y="14"/>
                    <a:pt x="101" y="14"/>
                  </a:cubicBezTo>
                  <a:cubicBezTo>
                    <a:pt x="99" y="14"/>
                    <a:pt x="99" y="12"/>
                    <a:pt x="97" y="9"/>
                  </a:cubicBezTo>
                  <a:cubicBezTo>
                    <a:pt x="95" y="5"/>
                    <a:pt x="89" y="3"/>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098"/>
            <p:cNvSpPr/>
            <p:nvPr/>
          </p:nvSpPr>
          <p:spPr bwMode="auto">
            <a:xfrm>
              <a:off x="4533067" y="3970633"/>
              <a:ext cx="22820" cy="18793"/>
            </a:xfrm>
            <a:custGeom>
              <a:gdLst>
                <a:gd name="T0" fmla="*/ 4 w 7"/>
                <a:gd name="T1" fmla="*/ 0 h 6"/>
                <a:gd name="T2" fmla="*/ 1 w 7"/>
                <a:gd name="T3" fmla="*/ 2 h 6"/>
                <a:gd name="T4" fmla="*/ 6 w 7"/>
                <a:gd name="T5" fmla="*/ 6 h 6"/>
                <a:gd name="T6" fmla="*/ 5 w 7"/>
                <a:gd name="T7" fmla="*/ 0 h 6"/>
                <a:gd name="T8" fmla="*/ 4 w 7"/>
                <a:gd name="T9" fmla="*/ 0 h 6"/>
              </a:gdLst>
              <a:cxnLst>
                <a:cxn ang="0">
                  <a:pos x="T0" y="T1"/>
                </a:cxn>
                <a:cxn ang="0">
                  <a:pos x="T2" y="T3"/>
                </a:cxn>
                <a:cxn ang="0">
                  <a:pos x="T4" y="T5"/>
                </a:cxn>
                <a:cxn ang="0">
                  <a:pos x="T6" y="T7"/>
                </a:cxn>
                <a:cxn ang="0">
                  <a:pos x="T8" y="T9"/>
                </a:cxn>
              </a:cxnLst>
              <a:rect l="0" t="0" r="r" b="b"/>
              <a:pathLst>
                <a:path w="7" h="6">
                  <a:moveTo>
                    <a:pt x="4" y="0"/>
                  </a:moveTo>
                  <a:cubicBezTo>
                    <a:pt x="3" y="0"/>
                    <a:pt x="1" y="1"/>
                    <a:pt x="1" y="2"/>
                  </a:cubicBezTo>
                  <a:cubicBezTo>
                    <a:pt x="0" y="2"/>
                    <a:pt x="5" y="6"/>
                    <a:pt x="6" y="6"/>
                  </a:cubicBezTo>
                  <a:cubicBezTo>
                    <a:pt x="6" y="4"/>
                    <a:pt x="7" y="2"/>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099"/>
            <p:cNvSpPr/>
            <p:nvPr/>
          </p:nvSpPr>
          <p:spPr bwMode="auto">
            <a:xfrm>
              <a:off x="4479374" y="3777337"/>
              <a:ext cx="32216" cy="30874"/>
            </a:xfrm>
            <a:custGeom>
              <a:gdLst>
                <a:gd name="T0" fmla="*/ 7 w 10"/>
                <a:gd name="T1" fmla="*/ 0 h 10"/>
                <a:gd name="T2" fmla="*/ 6 w 10"/>
                <a:gd name="T3" fmla="*/ 0 h 10"/>
                <a:gd name="T4" fmla="*/ 6 w 10"/>
                <a:gd name="T5" fmla="*/ 10 h 10"/>
                <a:gd name="T6" fmla="*/ 7 w 10"/>
                <a:gd name="T7" fmla="*/ 5 h 10"/>
                <a:gd name="T8" fmla="*/ 8 w 10"/>
                <a:gd name="T9" fmla="*/ 2 h 10"/>
                <a:gd name="T10" fmla="*/ 7 w 10"/>
                <a:gd name="T11" fmla="*/ 0 h 10"/>
              </a:gdLst>
              <a:cxnLst>
                <a:cxn ang="0">
                  <a:pos x="T0" y="T1"/>
                </a:cxn>
                <a:cxn ang="0">
                  <a:pos x="T2" y="T3"/>
                </a:cxn>
                <a:cxn ang="0">
                  <a:pos x="T4" y="T5"/>
                </a:cxn>
                <a:cxn ang="0">
                  <a:pos x="T6" y="T7"/>
                </a:cxn>
                <a:cxn ang="0">
                  <a:pos x="T8" y="T9"/>
                </a:cxn>
                <a:cxn ang="0">
                  <a:pos x="T10" y="T11"/>
                </a:cxn>
              </a:cxnLst>
              <a:rect l="0" t="0" r="r" b="b"/>
              <a:pathLst>
                <a:path w="10" h="10">
                  <a:moveTo>
                    <a:pt x="7" y="0"/>
                  </a:moveTo>
                  <a:cubicBezTo>
                    <a:pt x="7" y="0"/>
                    <a:pt x="6" y="0"/>
                    <a:pt x="6" y="0"/>
                  </a:cubicBezTo>
                  <a:cubicBezTo>
                    <a:pt x="0" y="1"/>
                    <a:pt x="5" y="8"/>
                    <a:pt x="6" y="10"/>
                  </a:cubicBezTo>
                  <a:cubicBezTo>
                    <a:pt x="10" y="8"/>
                    <a:pt x="7" y="7"/>
                    <a:pt x="7" y="5"/>
                  </a:cubicBezTo>
                  <a:cubicBezTo>
                    <a:pt x="7" y="4"/>
                    <a:pt x="8" y="4"/>
                    <a:pt x="8" y="2"/>
                  </a:cubicBezTo>
                  <a:cubicBezTo>
                    <a:pt x="8"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1100"/>
            <p:cNvSpPr/>
            <p:nvPr/>
          </p:nvSpPr>
          <p:spPr bwMode="auto">
            <a:xfrm>
              <a:off x="4539779" y="4103525"/>
              <a:ext cx="16108" cy="25504"/>
            </a:xfrm>
            <a:custGeom>
              <a:gdLst>
                <a:gd name="T0" fmla="*/ 4 w 5"/>
                <a:gd name="T1" fmla="*/ 0 h 8"/>
                <a:gd name="T2" fmla="*/ 1 w 5"/>
                <a:gd name="T3" fmla="*/ 5 h 8"/>
                <a:gd name="T4" fmla="*/ 1 w 5"/>
                <a:gd name="T5" fmla="*/ 8 h 8"/>
                <a:gd name="T6" fmla="*/ 4 w 5"/>
                <a:gd name="T7" fmla="*/ 0 h 8"/>
              </a:gdLst>
              <a:cxnLst>
                <a:cxn ang="0">
                  <a:pos x="T0" y="T1"/>
                </a:cxn>
                <a:cxn ang="0">
                  <a:pos x="T2" y="T3"/>
                </a:cxn>
                <a:cxn ang="0">
                  <a:pos x="T4" y="T5"/>
                </a:cxn>
                <a:cxn ang="0">
                  <a:pos x="T6" y="T7"/>
                </a:cxn>
              </a:cxnLst>
              <a:rect l="0" t="0" r="r" b="b"/>
              <a:pathLst>
                <a:path w="5" h="8">
                  <a:moveTo>
                    <a:pt x="4" y="0"/>
                  </a:moveTo>
                  <a:cubicBezTo>
                    <a:pt x="3" y="2"/>
                    <a:pt x="0" y="3"/>
                    <a:pt x="1" y="5"/>
                  </a:cubicBezTo>
                  <a:cubicBezTo>
                    <a:pt x="0" y="6"/>
                    <a:pt x="0" y="7"/>
                    <a:pt x="1" y="8"/>
                  </a:cubicBezTo>
                  <a:cubicBezTo>
                    <a:pt x="3" y="5"/>
                    <a:pt x="5"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101"/>
            <p:cNvSpPr/>
            <p:nvPr/>
          </p:nvSpPr>
          <p:spPr bwMode="auto">
            <a:xfrm>
              <a:off x="4793481" y="4157218"/>
              <a:ext cx="22820" cy="22820"/>
            </a:xfrm>
            <a:custGeom>
              <a:gdLst>
                <a:gd name="T0" fmla="*/ 4 w 7"/>
                <a:gd name="T1" fmla="*/ 0 h 7"/>
                <a:gd name="T2" fmla="*/ 3 w 7"/>
                <a:gd name="T3" fmla="*/ 7 h 7"/>
                <a:gd name="T4" fmla="*/ 7 w 7"/>
                <a:gd name="T5" fmla="*/ 6 h 7"/>
                <a:gd name="T6" fmla="*/ 4 w 7"/>
                <a:gd name="T7" fmla="*/ 0 h 7"/>
              </a:gdLst>
              <a:cxnLst>
                <a:cxn ang="0">
                  <a:pos x="T0" y="T1"/>
                </a:cxn>
                <a:cxn ang="0">
                  <a:pos x="T2" y="T3"/>
                </a:cxn>
                <a:cxn ang="0">
                  <a:pos x="T4" y="T5"/>
                </a:cxn>
                <a:cxn ang="0">
                  <a:pos x="T6" y="T7"/>
                </a:cxn>
              </a:cxnLst>
              <a:rect l="0" t="0" r="r" b="b"/>
              <a:pathLst>
                <a:path w="7" h="7">
                  <a:moveTo>
                    <a:pt x="4" y="0"/>
                  </a:moveTo>
                  <a:cubicBezTo>
                    <a:pt x="3" y="3"/>
                    <a:pt x="0" y="4"/>
                    <a:pt x="3" y="7"/>
                  </a:cubicBezTo>
                  <a:cubicBezTo>
                    <a:pt x="4" y="7"/>
                    <a:pt x="6" y="6"/>
                    <a:pt x="7" y="6"/>
                  </a:cubicBezTo>
                  <a:cubicBezTo>
                    <a:pt x="5"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102"/>
            <p:cNvSpPr/>
            <p:nvPr/>
          </p:nvSpPr>
          <p:spPr bwMode="auto">
            <a:xfrm>
              <a:off x="4613608" y="4214939"/>
              <a:ext cx="18793" cy="16108"/>
            </a:xfrm>
            <a:custGeom>
              <a:gdLst>
                <a:gd name="T0" fmla="*/ 3 w 6"/>
                <a:gd name="T1" fmla="*/ 0 h 5"/>
                <a:gd name="T2" fmla="*/ 0 w 6"/>
                <a:gd name="T3" fmla="*/ 2 h 5"/>
                <a:gd name="T4" fmla="*/ 3 w 6"/>
                <a:gd name="T5" fmla="*/ 5 h 5"/>
                <a:gd name="T6" fmla="*/ 3 w 6"/>
                <a:gd name="T7" fmla="*/ 0 h 5"/>
              </a:gdLst>
              <a:cxnLst>
                <a:cxn ang="0">
                  <a:pos x="T0" y="T1"/>
                </a:cxn>
                <a:cxn ang="0">
                  <a:pos x="T2" y="T3"/>
                </a:cxn>
                <a:cxn ang="0">
                  <a:pos x="T4" y="T5"/>
                </a:cxn>
                <a:cxn ang="0">
                  <a:pos x="T6" y="T7"/>
                </a:cxn>
              </a:cxnLst>
              <a:rect l="0" t="0" r="r" b="b"/>
              <a:pathLst>
                <a:path w="6" h="5">
                  <a:moveTo>
                    <a:pt x="3" y="0"/>
                  </a:moveTo>
                  <a:cubicBezTo>
                    <a:pt x="3" y="1"/>
                    <a:pt x="0" y="1"/>
                    <a:pt x="0" y="2"/>
                  </a:cubicBezTo>
                  <a:cubicBezTo>
                    <a:pt x="0" y="3"/>
                    <a:pt x="3" y="4"/>
                    <a:pt x="3" y="5"/>
                  </a:cubicBezTo>
                  <a:cubicBezTo>
                    <a:pt x="6" y="4"/>
                    <a:pt x="6"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103"/>
            <p:cNvSpPr/>
            <p:nvPr/>
          </p:nvSpPr>
          <p:spPr bwMode="auto">
            <a:xfrm>
              <a:off x="4124997" y="4303533"/>
              <a:ext cx="14766" cy="22820"/>
            </a:xfrm>
            <a:custGeom>
              <a:gdLst>
                <a:gd name="T0" fmla="*/ 2 w 5"/>
                <a:gd name="T1" fmla="*/ 0 h 7"/>
                <a:gd name="T2" fmla="*/ 2 w 5"/>
                <a:gd name="T3" fmla="*/ 7 h 7"/>
                <a:gd name="T4" fmla="*/ 3 w 5"/>
                <a:gd name="T5" fmla="*/ 2 h 7"/>
                <a:gd name="T6" fmla="*/ 4 w 5"/>
                <a:gd name="T7" fmla="*/ 1 h 7"/>
                <a:gd name="T8" fmla="*/ 2 w 5"/>
                <a:gd name="T9" fmla="*/ 0 h 7"/>
              </a:gdLst>
              <a:cxnLst>
                <a:cxn ang="0">
                  <a:pos x="T0" y="T1"/>
                </a:cxn>
                <a:cxn ang="0">
                  <a:pos x="T2" y="T3"/>
                </a:cxn>
                <a:cxn ang="0">
                  <a:pos x="T4" y="T5"/>
                </a:cxn>
                <a:cxn ang="0">
                  <a:pos x="T6" y="T7"/>
                </a:cxn>
                <a:cxn ang="0">
                  <a:pos x="T8" y="T9"/>
                </a:cxn>
              </a:cxnLst>
              <a:rect l="0" t="0" r="r" b="b"/>
              <a:pathLst>
                <a:path w="5" h="7">
                  <a:moveTo>
                    <a:pt x="2" y="0"/>
                  </a:moveTo>
                  <a:cubicBezTo>
                    <a:pt x="0" y="0"/>
                    <a:pt x="2" y="6"/>
                    <a:pt x="2" y="7"/>
                  </a:cubicBezTo>
                  <a:cubicBezTo>
                    <a:pt x="3" y="5"/>
                    <a:pt x="5" y="4"/>
                    <a:pt x="3" y="2"/>
                  </a:cubicBezTo>
                  <a:cubicBezTo>
                    <a:pt x="3" y="2"/>
                    <a:pt x="4" y="1"/>
                    <a:pt x="4" y="1"/>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1104"/>
            <p:cNvSpPr/>
            <p:nvPr/>
          </p:nvSpPr>
          <p:spPr bwMode="auto">
            <a:xfrm>
              <a:off x="4492797" y="4405551"/>
              <a:ext cx="40270" cy="25504"/>
            </a:xfrm>
            <a:custGeom>
              <a:gdLst>
                <a:gd name="T0" fmla="*/ 5 w 13"/>
                <a:gd name="T1" fmla="*/ 0 h 8"/>
                <a:gd name="T2" fmla="*/ 3 w 13"/>
                <a:gd name="T3" fmla="*/ 1 h 8"/>
                <a:gd name="T4" fmla="*/ 1 w 13"/>
                <a:gd name="T5" fmla="*/ 2 h 8"/>
                <a:gd name="T6" fmla="*/ 0 w 13"/>
                <a:gd name="T7" fmla="*/ 2 h 8"/>
                <a:gd name="T8" fmla="*/ 3 w 13"/>
                <a:gd name="T9" fmla="*/ 8 h 8"/>
                <a:gd name="T10" fmla="*/ 8 w 13"/>
                <a:gd name="T11" fmla="*/ 7 h 8"/>
                <a:gd name="T12" fmla="*/ 8 w 13"/>
                <a:gd name="T13" fmla="*/ 5 h 8"/>
                <a:gd name="T14" fmla="*/ 9 w 13"/>
                <a:gd name="T15" fmla="*/ 2 h 8"/>
                <a:gd name="T16" fmla="*/ 5 w 13"/>
                <a:gd name="T17" fmla="*/ 0 h 8"/>
                <a:gd name="T18" fmla="*/ 5 w 13"/>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8">
                  <a:moveTo>
                    <a:pt x="5" y="0"/>
                  </a:moveTo>
                  <a:cubicBezTo>
                    <a:pt x="4" y="0"/>
                    <a:pt x="3" y="0"/>
                    <a:pt x="3" y="1"/>
                  </a:cubicBezTo>
                  <a:cubicBezTo>
                    <a:pt x="2" y="1"/>
                    <a:pt x="1" y="2"/>
                    <a:pt x="1" y="2"/>
                  </a:cubicBezTo>
                  <a:cubicBezTo>
                    <a:pt x="0" y="2"/>
                    <a:pt x="0" y="2"/>
                    <a:pt x="0" y="2"/>
                  </a:cubicBezTo>
                  <a:cubicBezTo>
                    <a:pt x="0" y="4"/>
                    <a:pt x="2" y="6"/>
                    <a:pt x="3" y="8"/>
                  </a:cubicBezTo>
                  <a:cubicBezTo>
                    <a:pt x="4" y="8"/>
                    <a:pt x="7" y="8"/>
                    <a:pt x="8" y="7"/>
                  </a:cubicBezTo>
                  <a:cubicBezTo>
                    <a:pt x="8" y="6"/>
                    <a:pt x="8" y="5"/>
                    <a:pt x="8" y="5"/>
                  </a:cubicBezTo>
                  <a:cubicBezTo>
                    <a:pt x="10" y="3"/>
                    <a:pt x="13" y="3"/>
                    <a:pt x="9" y="2"/>
                  </a:cubicBezTo>
                  <a:cubicBezTo>
                    <a:pt x="7" y="2"/>
                    <a:pt x="7"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105"/>
            <p:cNvSpPr/>
            <p:nvPr/>
          </p:nvSpPr>
          <p:spPr bwMode="auto">
            <a:xfrm>
              <a:off x="4774688" y="4373334"/>
              <a:ext cx="9396" cy="22820"/>
            </a:xfrm>
            <a:custGeom>
              <a:gdLst>
                <a:gd name="T0" fmla="*/ 1 w 3"/>
                <a:gd name="T1" fmla="*/ 0 h 7"/>
                <a:gd name="T2" fmla="*/ 3 w 3"/>
                <a:gd name="T3" fmla="*/ 7 h 7"/>
                <a:gd name="T4" fmla="*/ 1 w 3"/>
                <a:gd name="T5" fmla="*/ 0 h 7"/>
              </a:gdLst>
              <a:cxnLst>
                <a:cxn ang="0">
                  <a:pos x="T0" y="T1"/>
                </a:cxn>
                <a:cxn ang="0">
                  <a:pos x="T2" y="T3"/>
                </a:cxn>
                <a:cxn ang="0">
                  <a:pos x="T4" y="T5"/>
                </a:cxn>
              </a:cxnLst>
              <a:rect l="0" t="0" r="r" b="b"/>
              <a:pathLst>
                <a:path w="3" h="7">
                  <a:moveTo>
                    <a:pt x="1" y="0"/>
                  </a:moveTo>
                  <a:cubicBezTo>
                    <a:pt x="0" y="2"/>
                    <a:pt x="2" y="4"/>
                    <a:pt x="3" y="7"/>
                  </a:cubicBezTo>
                  <a:cubicBezTo>
                    <a:pt x="3"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106"/>
            <p:cNvSpPr/>
            <p:nvPr/>
          </p:nvSpPr>
          <p:spPr bwMode="auto">
            <a:xfrm>
              <a:off x="4488770" y="3333023"/>
              <a:ext cx="4027" cy="9396"/>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107"/>
            <p:cNvSpPr/>
            <p:nvPr/>
          </p:nvSpPr>
          <p:spPr bwMode="auto">
            <a:xfrm>
              <a:off x="4618977" y="3957210"/>
              <a:ext cx="18793" cy="25504"/>
            </a:xfrm>
            <a:custGeom>
              <a:gdLst>
                <a:gd name="T0" fmla="*/ 1 w 6"/>
                <a:gd name="T1" fmla="*/ 0 h 8"/>
                <a:gd name="T2" fmla="*/ 6 w 6"/>
                <a:gd name="T3" fmla="*/ 8 h 8"/>
                <a:gd name="T4" fmla="*/ 1 w 6"/>
                <a:gd name="T5" fmla="*/ 0 h 8"/>
              </a:gdLst>
              <a:cxnLst>
                <a:cxn ang="0">
                  <a:pos x="T0" y="T1"/>
                </a:cxn>
                <a:cxn ang="0">
                  <a:pos x="T2" y="T3"/>
                </a:cxn>
                <a:cxn ang="0">
                  <a:pos x="T4" y="T5"/>
                </a:cxn>
              </a:cxnLst>
              <a:rect l="0" t="0" r="r" b="b"/>
              <a:pathLst>
                <a:path w="6" h="8">
                  <a:moveTo>
                    <a:pt x="1" y="0"/>
                  </a:moveTo>
                  <a:cubicBezTo>
                    <a:pt x="0" y="2"/>
                    <a:pt x="4" y="7"/>
                    <a:pt x="6" y="8"/>
                  </a:cubicBezTo>
                  <a:cubicBezTo>
                    <a:pt x="4" y="5"/>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108"/>
            <p:cNvSpPr/>
            <p:nvPr/>
          </p:nvSpPr>
          <p:spPr bwMode="auto">
            <a:xfrm>
              <a:off x="4492797" y="3475311"/>
              <a:ext cx="5369" cy="12081"/>
            </a:xfrm>
            <a:custGeom>
              <a:gdLst>
                <a:gd name="T0" fmla="*/ 2 w 2"/>
                <a:gd name="T1" fmla="*/ 0 h 4"/>
                <a:gd name="T2" fmla="*/ 0 w 2"/>
                <a:gd name="T3" fmla="*/ 4 h 4"/>
                <a:gd name="T4" fmla="*/ 2 w 2"/>
                <a:gd name="T5" fmla="*/ 0 h 4"/>
              </a:gdLst>
              <a:cxnLst>
                <a:cxn ang="0">
                  <a:pos x="T0" y="T1"/>
                </a:cxn>
                <a:cxn ang="0">
                  <a:pos x="T2" y="T3"/>
                </a:cxn>
                <a:cxn ang="0">
                  <a:pos x="T4" y="T5"/>
                </a:cxn>
              </a:cxnLst>
              <a:rect l="0" t="0" r="r" b="b"/>
              <a:pathLst>
                <a:path w="2" h="4">
                  <a:moveTo>
                    <a:pt x="2" y="0"/>
                  </a:moveTo>
                  <a:cubicBezTo>
                    <a:pt x="0" y="0"/>
                    <a:pt x="0" y="2"/>
                    <a:pt x="0" y="4"/>
                  </a:cubicBezTo>
                  <a:cubicBezTo>
                    <a:pt x="1"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109"/>
            <p:cNvSpPr/>
            <p:nvPr/>
          </p:nvSpPr>
          <p:spPr bwMode="auto">
            <a:xfrm>
              <a:off x="4492797" y="4014930"/>
              <a:ext cx="95306" cy="111414"/>
            </a:xfrm>
            <a:custGeom>
              <a:gdLst>
                <a:gd name="T0" fmla="*/ 2 w 30"/>
                <a:gd name="T1" fmla="*/ 0 h 35"/>
                <a:gd name="T2" fmla="*/ 0 w 30"/>
                <a:gd name="T3" fmla="*/ 4 h 35"/>
                <a:gd name="T4" fmla="*/ 1 w 30"/>
                <a:gd name="T5" fmla="*/ 4 h 35"/>
                <a:gd name="T6" fmla="*/ 5 w 30"/>
                <a:gd name="T7" fmla="*/ 10 h 35"/>
                <a:gd name="T8" fmla="*/ 5 w 30"/>
                <a:gd name="T9" fmla="*/ 18 h 35"/>
                <a:gd name="T10" fmla="*/ 3 w 30"/>
                <a:gd name="T11" fmla="*/ 25 h 35"/>
                <a:gd name="T12" fmla="*/ 3 w 30"/>
                <a:gd name="T13" fmla="*/ 35 h 35"/>
                <a:gd name="T14" fmla="*/ 5 w 30"/>
                <a:gd name="T15" fmla="*/ 35 h 35"/>
                <a:gd name="T16" fmla="*/ 23 w 30"/>
                <a:gd name="T17" fmla="*/ 25 h 35"/>
                <a:gd name="T18" fmla="*/ 30 w 30"/>
                <a:gd name="T19" fmla="*/ 18 h 35"/>
                <a:gd name="T20" fmla="*/ 29 w 30"/>
                <a:gd name="T21" fmla="*/ 16 h 35"/>
                <a:gd name="T22" fmla="*/ 30 w 30"/>
                <a:gd name="T23" fmla="*/ 12 h 35"/>
                <a:gd name="T24" fmla="*/ 29 w 30"/>
                <a:gd name="T25" fmla="*/ 10 h 35"/>
                <a:gd name="T26" fmla="*/ 24 w 30"/>
                <a:gd name="T27" fmla="*/ 12 h 35"/>
                <a:gd name="T28" fmla="*/ 16 w 30"/>
                <a:gd name="T29" fmla="*/ 8 h 35"/>
                <a:gd name="T30" fmla="*/ 2 w 30"/>
                <a:gd name="T31"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35">
                  <a:moveTo>
                    <a:pt x="2" y="0"/>
                  </a:moveTo>
                  <a:cubicBezTo>
                    <a:pt x="1" y="1"/>
                    <a:pt x="1" y="2"/>
                    <a:pt x="0" y="4"/>
                  </a:cubicBezTo>
                  <a:cubicBezTo>
                    <a:pt x="1" y="4"/>
                    <a:pt x="1" y="4"/>
                    <a:pt x="1" y="4"/>
                  </a:cubicBezTo>
                  <a:cubicBezTo>
                    <a:pt x="6" y="6"/>
                    <a:pt x="6" y="6"/>
                    <a:pt x="5" y="10"/>
                  </a:cubicBezTo>
                  <a:cubicBezTo>
                    <a:pt x="5" y="13"/>
                    <a:pt x="5" y="15"/>
                    <a:pt x="5" y="18"/>
                  </a:cubicBezTo>
                  <a:cubicBezTo>
                    <a:pt x="5" y="21"/>
                    <a:pt x="4" y="22"/>
                    <a:pt x="3" y="25"/>
                  </a:cubicBezTo>
                  <a:cubicBezTo>
                    <a:pt x="3" y="28"/>
                    <a:pt x="0" y="35"/>
                    <a:pt x="3" y="35"/>
                  </a:cubicBezTo>
                  <a:cubicBezTo>
                    <a:pt x="3" y="35"/>
                    <a:pt x="4" y="35"/>
                    <a:pt x="5" y="35"/>
                  </a:cubicBezTo>
                  <a:cubicBezTo>
                    <a:pt x="11" y="32"/>
                    <a:pt x="18" y="30"/>
                    <a:pt x="23" y="25"/>
                  </a:cubicBezTo>
                  <a:cubicBezTo>
                    <a:pt x="25" y="23"/>
                    <a:pt x="29" y="20"/>
                    <a:pt x="30" y="18"/>
                  </a:cubicBezTo>
                  <a:cubicBezTo>
                    <a:pt x="30" y="17"/>
                    <a:pt x="29" y="17"/>
                    <a:pt x="29" y="16"/>
                  </a:cubicBezTo>
                  <a:cubicBezTo>
                    <a:pt x="30" y="15"/>
                    <a:pt x="30" y="14"/>
                    <a:pt x="30" y="12"/>
                  </a:cubicBezTo>
                  <a:cubicBezTo>
                    <a:pt x="30" y="10"/>
                    <a:pt x="30" y="10"/>
                    <a:pt x="29" y="10"/>
                  </a:cubicBezTo>
                  <a:cubicBezTo>
                    <a:pt x="28" y="10"/>
                    <a:pt x="26" y="11"/>
                    <a:pt x="24" y="12"/>
                  </a:cubicBezTo>
                  <a:cubicBezTo>
                    <a:pt x="22" y="10"/>
                    <a:pt x="18" y="10"/>
                    <a:pt x="16" y="8"/>
                  </a:cubicBezTo>
                  <a:cubicBezTo>
                    <a:pt x="11" y="5"/>
                    <a:pt x="7"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1110"/>
            <p:cNvSpPr/>
            <p:nvPr/>
          </p:nvSpPr>
          <p:spPr bwMode="auto">
            <a:xfrm>
              <a:off x="4574680" y="3926336"/>
              <a:ext cx="6712" cy="9396"/>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0" y="2"/>
                    <a:pt x="1" y="2"/>
                    <a:pt x="2"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111"/>
            <p:cNvSpPr/>
            <p:nvPr/>
          </p:nvSpPr>
          <p:spPr bwMode="auto">
            <a:xfrm>
              <a:off x="4343798" y="4512937"/>
              <a:ext cx="30874" cy="18793"/>
            </a:xfrm>
            <a:custGeom>
              <a:gdLst>
                <a:gd name="T0" fmla="*/ 8 w 10"/>
                <a:gd name="T1" fmla="*/ 0 h 6"/>
                <a:gd name="T2" fmla="*/ 0 w 10"/>
                <a:gd name="T3" fmla="*/ 6 h 6"/>
                <a:gd name="T4" fmla="*/ 3 w 10"/>
                <a:gd name="T5" fmla="*/ 4 h 6"/>
                <a:gd name="T6" fmla="*/ 4 w 10"/>
                <a:gd name="T7" fmla="*/ 3 h 6"/>
                <a:gd name="T8" fmla="*/ 5 w 10"/>
                <a:gd name="T9" fmla="*/ 3 h 6"/>
                <a:gd name="T10" fmla="*/ 5 w 10"/>
                <a:gd name="T11" fmla="*/ 3 h 6"/>
                <a:gd name="T12" fmla="*/ 6 w 10"/>
                <a:gd name="T13" fmla="*/ 3 h 6"/>
                <a:gd name="T14" fmla="*/ 6 w 10"/>
                <a:gd name="T15" fmla="*/ 2 h 6"/>
                <a:gd name="T16" fmla="*/ 7 w 10"/>
                <a:gd name="T17" fmla="*/ 3 h 6"/>
                <a:gd name="T18" fmla="*/ 9 w 10"/>
                <a:gd name="T19" fmla="*/ 4 h 6"/>
                <a:gd name="T20" fmla="*/ 9 w 10"/>
                <a:gd name="T21" fmla="*/ 1 h 6"/>
                <a:gd name="T22" fmla="*/ 8 w 10"/>
                <a:gd name="T2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8" y="0"/>
                  </a:moveTo>
                  <a:cubicBezTo>
                    <a:pt x="6" y="0"/>
                    <a:pt x="2" y="5"/>
                    <a:pt x="0" y="6"/>
                  </a:cubicBezTo>
                  <a:cubicBezTo>
                    <a:pt x="1" y="6"/>
                    <a:pt x="3" y="5"/>
                    <a:pt x="3" y="4"/>
                  </a:cubicBezTo>
                  <a:cubicBezTo>
                    <a:pt x="4" y="4"/>
                    <a:pt x="4" y="4"/>
                    <a:pt x="4" y="3"/>
                  </a:cubicBezTo>
                  <a:cubicBezTo>
                    <a:pt x="4" y="3"/>
                    <a:pt x="5" y="3"/>
                    <a:pt x="5" y="3"/>
                  </a:cubicBezTo>
                  <a:cubicBezTo>
                    <a:pt x="5" y="3"/>
                    <a:pt x="5" y="3"/>
                    <a:pt x="5" y="3"/>
                  </a:cubicBezTo>
                  <a:cubicBezTo>
                    <a:pt x="5" y="3"/>
                    <a:pt x="6" y="3"/>
                    <a:pt x="6" y="3"/>
                  </a:cubicBezTo>
                  <a:cubicBezTo>
                    <a:pt x="6" y="3"/>
                    <a:pt x="6" y="3"/>
                    <a:pt x="6" y="2"/>
                  </a:cubicBezTo>
                  <a:cubicBezTo>
                    <a:pt x="7" y="2"/>
                    <a:pt x="7" y="3"/>
                    <a:pt x="7" y="3"/>
                  </a:cubicBezTo>
                  <a:cubicBezTo>
                    <a:pt x="7" y="3"/>
                    <a:pt x="8" y="3"/>
                    <a:pt x="9" y="4"/>
                  </a:cubicBezTo>
                  <a:cubicBezTo>
                    <a:pt x="9" y="4"/>
                    <a:pt x="10" y="2"/>
                    <a:pt x="9" y="1"/>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112"/>
            <p:cNvSpPr/>
            <p:nvPr/>
          </p:nvSpPr>
          <p:spPr bwMode="auto">
            <a:xfrm>
              <a:off x="4453870" y="3443095"/>
              <a:ext cx="13423" cy="13423"/>
            </a:xfrm>
            <a:custGeom>
              <a:gdLst>
                <a:gd name="T0" fmla="*/ 4 w 4"/>
                <a:gd name="T1" fmla="*/ 0 h 4"/>
                <a:gd name="T2" fmla="*/ 0 w 4"/>
                <a:gd name="T3" fmla="*/ 1 h 4"/>
                <a:gd name="T4" fmla="*/ 4 w 4"/>
                <a:gd name="T5" fmla="*/ 4 h 4"/>
                <a:gd name="T6" fmla="*/ 4 w 4"/>
                <a:gd name="T7" fmla="*/ 0 h 4"/>
              </a:gdLst>
              <a:cxnLst>
                <a:cxn ang="0">
                  <a:pos x="T0" y="T1"/>
                </a:cxn>
                <a:cxn ang="0">
                  <a:pos x="T2" y="T3"/>
                </a:cxn>
                <a:cxn ang="0">
                  <a:pos x="T4" y="T5"/>
                </a:cxn>
                <a:cxn ang="0">
                  <a:pos x="T6" y="T7"/>
                </a:cxn>
              </a:cxnLst>
              <a:rect l="0" t="0" r="r" b="b"/>
              <a:pathLst>
                <a:path w="4" h="4">
                  <a:moveTo>
                    <a:pt x="4" y="0"/>
                  </a:moveTo>
                  <a:cubicBezTo>
                    <a:pt x="3" y="0"/>
                    <a:pt x="2" y="1"/>
                    <a:pt x="0" y="1"/>
                  </a:cubicBezTo>
                  <a:cubicBezTo>
                    <a:pt x="1" y="2"/>
                    <a:pt x="2" y="3"/>
                    <a:pt x="4" y="4"/>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113"/>
            <p:cNvSpPr/>
            <p:nvPr/>
          </p:nvSpPr>
          <p:spPr bwMode="auto">
            <a:xfrm>
              <a:off x="4676697" y="4033723"/>
              <a:ext cx="28189" cy="16108"/>
            </a:xfrm>
            <a:custGeom>
              <a:gdLst>
                <a:gd name="T0" fmla="*/ 2 w 9"/>
                <a:gd name="T1" fmla="*/ 0 h 5"/>
                <a:gd name="T2" fmla="*/ 0 w 9"/>
                <a:gd name="T3" fmla="*/ 0 h 5"/>
                <a:gd name="T4" fmla="*/ 4 w 9"/>
                <a:gd name="T5" fmla="*/ 5 h 5"/>
                <a:gd name="T6" fmla="*/ 2 w 9"/>
                <a:gd name="T7" fmla="*/ 0 h 5"/>
              </a:gdLst>
              <a:cxnLst>
                <a:cxn ang="0">
                  <a:pos x="T0" y="T1"/>
                </a:cxn>
                <a:cxn ang="0">
                  <a:pos x="T2" y="T3"/>
                </a:cxn>
                <a:cxn ang="0">
                  <a:pos x="T4" y="T5"/>
                </a:cxn>
                <a:cxn ang="0">
                  <a:pos x="T6" y="T7"/>
                </a:cxn>
              </a:cxnLst>
              <a:rect l="0" t="0" r="r" b="b"/>
              <a:pathLst>
                <a:path w="9" h="5">
                  <a:moveTo>
                    <a:pt x="2" y="0"/>
                  </a:moveTo>
                  <a:cubicBezTo>
                    <a:pt x="2" y="0"/>
                    <a:pt x="1" y="0"/>
                    <a:pt x="0" y="0"/>
                  </a:cubicBezTo>
                  <a:cubicBezTo>
                    <a:pt x="2" y="1"/>
                    <a:pt x="2" y="4"/>
                    <a:pt x="4" y="5"/>
                  </a:cubicBezTo>
                  <a:cubicBezTo>
                    <a:pt x="9" y="3"/>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114"/>
            <p:cNvSpPr/>
            <p:nvPr/>
          </p:nvSpPr>
          <p:spPr bwMode="auto">
            <a:xfrm>
              <a:off x="4488770" y="3891436"/>
              <a:ext cx="29531" cy="28189"/>
            </a:xfrm>
            <a:custGeom>
              <a:gdLst>
                <a:gd name="T0" fmla="*/ 1 w 9"/>
                <a:gd name="T1" fmla="*/ 0 h 9"/>
                <a:gd name="T2" fmla="*/ 0 w 9"/>
                <a:gd name="T3" fmla="*/ 4 h 9"/>
                <a:gd name="T4" fmla="*/ 5 w 9"/>
                <a:gd name="T5" fmla="*/ 9 h 9"/>
                <a:gd name="T6" fmla="*/ 5 w 9"/>
                <a:gd name="T7" fmla="*/ 1 h 9"/>
                <a:gd name="T8" fmla="*/ 1 w 9"/>
                <a:gd name="T9" fmla="*/ 0 h 9"/>
              </a:gdLst>
              <a:cxnLst>
                <a:cxn ang="0">
                  <a:pos x="T0" y="T1"/>
                </a:cxn>
                <a:cxn ang="0">
                  <a:pos x="T2" y="T3"/>
                </a:cxn>
                <a:cxn ang="0">
                  <a:pos x="T4" y="T5"/>
                </a:cxn>
                <a:cxn ang="0">
                  <a:pos x="T6" y="T7"/>
                </a:cxn>
                <a:cxn ang="0">
                  <a:pos x="T8" y="T9"/>
                </a:cxn>
              </a:cxnLst>
              <a:rect l="0" t="0" r="r" b="b"/>
              <a:pathLst>
                <a:path w="9" h="9">
                  <a:moveTo>
                    <a:pt x="1" y="0"/>
                  </a:moveTo>
                  <a:cubicBezTo>
                    <a:pt x="1" y="1"/>
                    <a:pt x="0" y="2"/>
                    <a:pt x="0" y="4"/>
                  </a:cubicBezTo>
                  <a:cubicBezTo>
                    <a:pt x="1" y="7"/>
                    <a:pt x="3" y="7"/>
                    <a:pt x="5" y="9"/>
                  </a:cubicBezTo>
                  <a:cubicBezTo>
                    <a:pt x="6" y="5"/>
                    <a:pt x="9" y="3"/>
                    <a:pt x="5" y="1"/>
                  </a:cubicBezTo>
                  <a:cubicBezTo>
                    <a:pt x="5"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115"/>
            <p:cNvSpPr/>
            <p:nvPr/>
          </p:nvSpPr>
          <p:spPr bwMode="auto">
            <a:xfrm>
              <a:off x="4343798" y="3986741"/>
              <a:ext cx="34901" cy="25504"/>
            </a:xfrm>
            <a:custGeom>
              <a:gdLst>
                <a:gd name="T0" fmla="*/ 1 w 11"/>
                <a:gd name="T1" fmla="*/ 0 h 8"/>
                <a:gd name="T2" fmla="*/ 1 w 11"/>
                <a:gd name="T3" fmla="*/ 1 h 8"/>
                <a:gd name="T4" fmla="*/ 0 w 11"/>
                <a:gd name="T5" fmla="*/ 3 h 8"/>
                <a:gd name="T6" fmla="*/ 1 w 11"/>
                <a:gd name="T7" fmla="*/ 3 h 8"/>
                <a:gd name="T8" fmla="*/ 2 w 11"/>
                <a:gd name="T9" fmla="*/ 5 h 8"/>
                <a:gd name="T10" fmla="*/ 6 w 11"/>
                <a:gd name="T11" fmla="*/ 8 h 8"/>
                <a:gd name="T12" fmla="*/ 11 w 11"/>
                <a:gd name="T13" fmla="*/ 5 h 8"/>
                <a:gd name="T14" fmla="*/ 9 w 11"/>
                <a:gd name="T15" fmla="*/ 2 h 8"/>
                <a:gd name="T16" fmla="*/ 9 w 11"/>
                <a:gd name="T17" fmla="*/ 4 h 8"/>
                <a:gd name="T18" fmla="*/ 9 w 11"/>
                <a:gd name="T19" fmla="*/ 4 h 8"/>
                <a:gd name="T20" fmla="*/ 5 w 11"/>
                <a:gd name="T21" fmla="*/ 2 h 8"/>
                <a:gd name="T22" fmla="*/ 1 w 11"/>
                <a:gd name="T23"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1" y="0"/>
                  </a:moveTo>
                  <a:cubicBezTo>
                    <a:pt x="1" y="0"/>
                    <a:pt x="1" y="0"/>
                    <a:pt x="1" y="1"/>
                  </a:cubicBezTo>
                  <a:cubicBezTo>
                    <a:pt x="0" y="2"/>
                    <a:pt x="0" y="2"/>
                    <a:pt x="0" y="3"/>
                  </a:cubicBezTo>
                  <a:cubicBezTo>
                    <a:pt x="0" y="3"/>
                    <a:pt x="1" y="3"/>
                    <a:pt x="1" y="3"/>
                  </a:cubicBezTo>
                  <a:cubicBezTo>
                    <a:pt x="2" y="3"/>
                    <a:pt x="2" y="4"/>
                    <a:pt x="2" y="5"/>
                  </a:cubicBezTo>
                  <a:cubicBezTo>
                    <a:pt x="3" y="7"/>
                    <a:pt x="4" y="8"/>
                    <a:pt x="6" y="8"/>
                  </a:cubicBezTo>
                  <a:cubicBezTo>
                    <a:pt x="8" y="7"/>
                    <a:pt x="10" y="6"/>
                    <a:pt x="11" y="5"/>
                  </a:cubicBezTo>
                  <a:cubicBezTo>
                    <a:pt x="10" y="4"/>
                    <a:pt x="9" y="3"/>
                    <a:pt x="9" y="2"/>
                  </a:cubicBezTo>
                  <a:cubicBezTo>
                    <a:pt x="9" y="3"/>
                    <a:pt x="9" y="4"/>
                    <a:pt x="9" y="4"/>
                  </a:cubicBezTo>
                  <a:cubicBezTo>
                    <a:pt x="9" y="4"/>
                    <a:pt x="9" y="4"/>
                    <a:pt x="9" y="4"/>
                  </a:cubicBezTo>
                  <a:cubicBezTo>
                    <a:pt x="8" y="4"/>
                    <a:pt x="6" y="3"/>
                    <a:pt x="5" y="2"/>
                  </a:cubicBezTo>
                  <a:cubicBezTo>
                    <a:pt x="3"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116"/>
            <p:cNvSpPr/>
            <p:nvPr/>
          </p:nvSpPr>
          <p:spPr bwMode="auto">
            <a:xfrm>
              <a:off x="4762607" y="4126344"/>
              <a:ext cx="12081" cy="37585"/>
            </a:xfrm>
            <a:custGeom>
              <a:gdLst>
                <a:gd name="T0" fmla="*/ 4 w 4"/>
                <a:gd name="T1" fmla="*/ 0 h 12"/>
                <a:gd name="T2" fmla="*/ 1 w 4"/>
                <a:gd name="T3" fmla="*/ 6 h 12"/>
                <a:gd name="T4" fmla="*/ 1 w 4"/>
                <a:gd name="T5" fmla="*/ 9 h 12"/>
                <a:gd name="T6" fmla="*/ 2 w 4"/>
                <a:gd name="T7" fmla="*/ 11 h 12"/>
                <a:gd name="T8" fmla="*/ 3 w 4"/>
                <a:gd name="T9" fmla="*/ 11 h 12"/>
                <a:gd name="T10" fmla="*/ 3 w 4"/>
                <a:gd name="T11" fmla="*/ 12 h 12"/>
                <a:gd name="T12" fmla="*/ 4 w 4"/>
                <a:gd name="T13" fmla="*/ 12 h 12"/>
                <a:gd name="T14" fmla="*/ 4 w 4"/>
                <a:gd name="T15" fmla="*/ 0 h 1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4" y="0"/>
                  </a:moveTo>
                  <a:cubicBezTo>
                    <a:pt x="3" y="3"/>
                    <a:pt x="1" y="3"/>
                    <a:pt x="1" y="6"/>
                  </a:cubicBezTo>
                  <a:cubicBezTo>
                    <a:pt x="1" y="8"/>
                    <a:pt x="0" y="8"/>
                    <a:pt x="1" y="9"/>
                  </a:cubicBezTo>
                  <a:cubicBezTo>
                    <a:pt x="1" y="10"/>
                    <a:pt x="4" y="9"/>
                    <a:pt x="2" y="11"/>
                  </a:cubicBezTo>
                  <a:cubicBezTo>
                    <a:pt x="3" y="11"/>
                    <a:pt x="3" y="11"/>
                    <a:pt x="3" y="11"/>
                  </a:cubicBezTo>
                  <a:cubicBezTo>
                    <a:pt x="3" y="12"/>
                    <a:pt x="3" y="12"/>
                    <a:pt x="3" y="12"/>
                  </a:cubicBezTo>
                  <a:cubicBezTo>
                    <a:pt x="4" y="12"/>
                    <a:pt x="4" y="12"/>
                    <a:pt x="4" y="12"/>
                  </a:cubicBezTo>
                  <a:cubicBezTo>
                    <a:pt x="4" y="8"/>
                    <a:pt x="4"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117"/>
            <p:cNvSpPr/>
            <p:nvPr/>
          </p:nvSpPr>
          <p:spPr bwMode="auto">
            <a:xfrm>
              <a:off x="4378699" y="3894120"/>
              <a:ext cx="91279" cy="97991"/>
            </a:xfrm>
            <a:custGeom>
              <a:gdLst>
                <a:gd name="T0" fmla="*/ 3 w 29"/>
                <a:gd name="T1" fmla="*/ 0 h 31"/>
                <a:gd name="T2" fmla="*/ 0 w 29"/>
                <a:gd name="T3" fmla="*/ 2 h 31"/>
                <a:gd name="T4" fmla="*/ 10 w 29"/>
                <a:gd name="T5" fmla="*/ 16 h 31"/>
                <a:gd name="T6" fmla="*/ 22 w 29"/>
                <a:gd name="T7" fmla="*/ 31 h 31"/>
                <a:gd name="T8" fmla="*/ 24 w 29"/>
                <a:gd name="T9" fmla="*/ 29 h 31"/>
                <a:gd name="T10" fmla="*/ 25 w 29"/>
                <a:gd name="T11" fmla="*/ 30 h 31"/>
                <a:gd name="T12" fmla="*/ 26 w 29"/>
                <a:gd name="T13" fmla="*/ 28 h 31"/>
                <a:gd name="T14" fmla="*/ 26 w 29"/>
                <a:gd name="T15" fmla="*/ 28 h 31"/>
                <a:gd name="T16" fmla="*/ 27 w 29"/>
                <a:gd name="T17" fmla="*/ 24 h 31"/>
                <a:gd name="T18" fmla="*/ 28 w 29"/>
                <a:gd name="T19" fmla="*/ 17 h 31"/>
                <a:gd name="T20" fmla="*/ 28 w 29"/>
                <a:gd name="T21" fmla="*/ 12 h 31"/>
                <a:gd name="T22" fmla="*/ 29 w 29"/>
                <a:gd name="T23" fmla="*/ 10 h 31"/>
                <a:gd name="T24" fmla="*/ 24 w 29"/>
                <a:gd name="T25" fmla="*/ 7 h 31"/>
                <a:gd name="T26" fmla="*/ 14 w 29"/>
                <a:gd name="T27" fmla="*/ 1 h 31"/>
                <a:gd name="T28" fmla="*/ 10 w 29"/>
                <a:gd name="T29" fmla="*/ 1 h 31"/>
                <a:gd name="T30" fmla="*/ 8 w 29"/>
                <a:gd name="T31" fmla="*/ 1 h 31"/>
                <a:gd name="T32" fmla="*/ 5 w 29"/>
                <a:gd name="T33" fmla="*/ 0 h 31"/>
                <a:gd name="T34" fmla="*/ 3 w 29"/>
                <a:gd name="T35"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31">
                  <a:moveTo>
                    <a:pt x="3" y="0"/>
                  </a:moveTo>
                  <a:cubicBezTo>
                    <a:pt x="1" y="0"/>
                    <a:pt x="0" y="0"/>
                    <a:pt x="0" y="2"/>
                  </a:cubicBezTo>
                  <a:cubicBezTo>
                    <a:pt x="6" y="3"/>
                    <a:pt x="8" y="10"/>
                    <a:pt x="10" y="16"/>
                  </a:cubicBezTo>
                  <a:cubicBezTo>
                    <a:pt x="12" y="22"/>
                    <a:pt x="17" y="26"/>
                    <a:pt x="22" y="31"/>
                  </a:cubicBezTo>
                  <a:cubicBezTo>
                    <a:pt x="23" y="30"/>
                    <a:pt x="23" y="29"/>
                    <a:pt x="24" y="29"/>
                  </a:cubicBezTo>
                  <a:cubicBezTo>
                    <a:pt x="25" y="29"/>
                    <a:pt x="25" y="29"/>
                    <a:pt x="25" y="30"/>
                  </a:cubicBezTo>
                  <a:cubicBezTo>
                    <a:pt x="25" y="28"/>
                    <a:pt x="25" y="28"/>
                    <a:pt x="26" y="28"/>
                  </a:cubicBezTo>
                  <a:cubicBezTo>
                    <a:pt x="26" y="28"/>
                    <a:pt x="26" y="28"/>
                    <a:pt x="26" y="28"/>
                  </a:cubicBezTo>
                  <a:cubicBezTo>
                    <a:pt x="25" y="25"/>
                    <a:pt x="27" y="25"/>
                    <a:pt x="27" y="24"/>
                  </a:cubicBezTo>
                  <a:cubicBezTo>
                    <a:pt x="29" y="21"/>
                    <a:pt x="29" y="21"/>
                    <a:pt x="28" y="17"/>
                  </a:cubicBezTo>
                  <a:cubicBezTo>
                    <a:pt x="28" y="15"/>
                    <a:pt x="27" y="13"/>
                    <a:pt x="28" y="12"/>
                  </a:cubicBezTo>
                  <a:cubicBezTo>
                    <a:pt x="28" y="11"/>
                    <a:pt x="29" y="11"/>
                    <a:pt x="29" y="10"/>
                  </a:cubicBezTo>
                  <a:cubicBezTo>
                    <a:pt x="29" y="9"/>
                    <a:pt x="25" y="7"/>
                    <a:pt x="24" y="7"/>
                  </a:cubicBezTo>
                  <a:cubicBezTo>
                    <a:pt x="21" y="5"/>
                    <a:pt x="17" y="3"/>
                    <a:pt x="14" y="1"/>
                  </a:cubicBezTo>
                  <a:cubicBezTo>
                    <a:pt x="14" y="1"/>
                    <a:pt x="12" y="1"/>
                    <a:pt x="10" y="1"/>
                  </a:cubicBezTo>
                  <a:cubicBezTo>
                    <a:pt x="9" y="1"/>
                    <a:pt x="9" y="1"/>
                    <a:pt x="8" y="1"/>
                  </a:cubicBezTo>
                  <a:cubicBezTo>
                    <a:pt x="7" y="1"/>
                    <a:pt x="6" y="1"/>
                    <a:pt x="5"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1118"/>
            <p:cNvSpPr/>
            <p:nvPr/>
          </p:nvSpPr>
          <p:spPr bwMode="auto">
            <a:xfrm>
              <a:off x="4492797" y="3957210"/>
              <a:ext cx="25504" cy="44297"/>
            </a:xfrm>
            <a:custGeom>
              <a:gdLst>
                <a:gd name="T0" fmla="*/ 6 w 8"/>
                <a:gd name="T1" fmla="*/ 0 h 14"/>
                <a:gd name="T2" fmla="*/ 6 w 8"/>
                <a:gd name="T3" fmla="*/ 1 h 14"/>
                <a:gd name="T4" fmla="*/ 4 w 8"/>
                <a:gd name="T5" fmla="*/ 14 h 14"/>
                <a:gd name="T6" fmla="*/ 7 w 8"/>
                <a:gd name="T7" fmla="*/ 3 h 14"/>
                <a:gd name="T8" fmla="*/ 6 w 8"/>
                <a:gd name="T9" fmla="*/ 0 h 14"/>
              </a:gdLst>
              <a:cxnLst>
                <a:cxn ang="0">
                  <a:pos x="T0" y="T1"/>
                </a:cxn>
                <a:cxn ang="0">
                  <a:pos x="T2" y="T3"/>
                </a:cxn>
                <a:cxn ang="0">
                  <a:pos x="T4" y="T5"/>
                </a:cxn>
                <a:cxn ang="0">
                  <a:pos x="T6" y="T7"/>
                </a:cxn>
                <a:cxn ang="0">
                  <a:pos x="T8" y="T9"/>
                </a:cxn>
              </a:cxnLst>
              <a:rect l="0" t="0" r="r" b="b"/>
              <a:pathLst>
                <a:path w="8" h="14">
                  <a:moveTo>
                    <a:pt x="6" y="0"/>
                  </a:moveTo>
                  <a:cubicBezTo>
                    <a:pt x="6" y="0"/>
                    <a:pt x="6" y="0"/>
                    <a:pt x="6" y="1"/>
                  </a:cubicBezTo>
                  <a:cubicBezTo>
                    <a:pt x="0" y="3"/>
                    <a:pt x="2" y="10"/>
                    <a:pt x="4" y="14"/>
                  </a:cubicBezTo>
                  <a:cubicBezTo>
                    <a:pt x="6" y="13"/>
                    <a:pt x="6" y="6"/>
                    <a:pt x="7" y="3"/>
                  </a:cubicBezTo>
                  <a:cubicBezTo>
                    <a:pt x="7" y="2"/>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119"/>
            <p:cNvSpPr/>
            <p:nvPr/>
          </p:nvSpPr>
          <p:spPr bwMode="auto">
            <a:xfrm>
              <a:off x="4651193" y="3852508"/>
              <a:ext cx="34901" cy="41612"/>
            </a:xfrm>
            <a:custGeom>
              <a:gdLst>
                <a:gd name="T0" fmla="*/ 5 w 11"/>
                <a:gd name="T1" fmla="*/ 0 h 13"/>
                <a:gd name="T2" fmla="*/ 4 w 11"/>
                <a:gd name="T3" fmla="*/ 4 h 13"/>
                <a:gd name="T4" fmla="*/ 2 w 11"/>
                <a:gd name="T5" fmla="*/ 9 h 13"/>
                <a:gd name="T6" fmla="*/ 5 w 11"/>
                <a:gd name="T7" fmla="*/ 13 h 13"/>
                <a:gd name="T8" fmla="*/ 10 w 11"/>
                <a:gd name="T9" fmla="*/ 4 h 13"/>
                <a:gd name="T10" fmla="*/ 9 w 11"/>
                <a:gd name="T11" fmla="*/ 4 h 13"/>
                <a:gd name="T12" fmla="*/ 8 w 11"/>
                <a:gd name="T13" fmla="*/ 4 h 13"/>
                <a:gd name="T14" fmla="*/ 5 w 11"/>
                <a:gd name="T15" fmla="*/ 0 h 1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3">
                  <a:moveTo>
                    <a:pt x="5" y="0"/>
                  </a:moveTo>
                  <a:cubicBezTo>
                    <a:pt x="4" y="0"/>
                    <a:pt x="4" y="2"/>
                    <a:pt x="4" y="4"/>
                  </a:cubicBezTo>
                  <a:cubicBezTo>
                    <a:pt x="4" y="7"/>
                    <a:pt x="3" y="7"/>
                    <a:pt x="2" y="9"/>
                  </a:cubicBezTo>
                  <a:cubicBezTo>
                    <a:pt x="0" y="11"/>
                    <a:pt x="5" y="12"/>
                    <a:pt x="5" y="13"/>
                  </a:cubicBezTo>
                  <a:cubicBezTo>
                    <a:pt x="7" y="11"/>
                    <a:pt x="11" y="7"/>
                    <a:pt x="10" y="4"/>
                  </a:cubicBezTo>
                  <a:cubicBezTo>
                    <a:pt x="10" y="4"/>
                    <a:pt x="9" y="4"/>
                    <a:pt x="9" y="4"/>
                  </a:cubicBezTo>
                  <a:cubicBezTo>
                    <a:pt x="9" y="4"/>
                    <a:pt x="8" y="4"/>
                    <a:pt x="8" y="4"/>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120"/>
            <p:cNvSpPr/>
            <p:nvPr/>
          </p:nvSpPr>
          <p:spPr bwMode="auto">
            <a:xfrm>
              <a:off x="4418969" y="4456559"/>
              <a:ext cx="44297" cy="14766"/>
            </a:xfrm>
            <a:custGeom>
              <a:gdLst>
                <a:gd name="T0" fmla="*/ 5 w 14"/>
                <a:gd name="T1" fmla="*/ 0 h 5"/>
                <a:gd name="T2" fmla="*/ 2 w 14"/>
                <a:gd name="T3" fmla="*/ 1 h 5"/>
                <a:gd name="T4" fmla="*/ 0 w 14"/>
                <a:gd name="T5" fmla="*/ 2 h 5"/>
                <a:gd name="T6" fmla="*/ 10 w 14"/>
                <a:gd name="T7" fmla="*/ 5 h 5"/>
                <a:gd name="T8" fmla="*/ 10 w 14"/>
                <a:gd name="T9" fmla="*/ 1 h 5"/>
                <a:gd name="T10" fmla="*/ 10 w 14"/>
                <a:gd name="T11" fmla="*/ 1 h 5"/>
                <a:gd name="T12" fmla="*/ 9 w 14"/>
                <a:gd name="T13" fmla="*/ 2 h 5"/>
                <a:gd name="T14" fmla="*/ 8 w 14"/>
                <a:gd name="T15" fmla="*/ 2 h 5"/>
                <a:gd name="T16" fmla="*/ 8 w 14"/>
                <a:gd name="T17" fmla="*/ 2 h 5"/>
                <a:gd name="T18" fmla="*/ 7 w 14"/>
                <a:gd name="T19" fmla="*/ 1 h 5"/>
                <a:gd name="T20" fmla="*/ 5 w 14"/>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5">
                  <a:moveTo>
                    <a:pt x="5" y="0"/>
                  </a:moveTo>
                  <a:cubicBezTo>
                    <a:pt x="4" y="0"/>
                    <a:pt x="3" y="0"/>
                    <a:pt x="2" y="1"/>
                  </a:cubicBezTo>
                  <a:cubicBezTo>
                    <a:pt x="2" y="1"/>
                    <a:pt x="0" y="1"/>
                    <a:pt x="0" y="2"/>
                  </a:cubicBezTo>
                  <a:cubicBezTo>
                    <a:pt x="0" y="4"/>
                    <a:pt x="9" y="5"/>
                    <a:pt x="10" y="5"/>
                  </a:cubicBezTo>
                  <a:cubicBezTo>
                    <a:pt x="13" y="4"/>
                    <a:pt x="14" y="2"/>
                    <a:pt x="10" y="1"/>
                  </a:cubicBezTo>
                  <a:cubicBezTo>
                    <a:pt x="10" y="1"/>
                    <a:pt x="10" y="1"/>
                    <a:pt x="10" y="1"/>
                  </a:cubicBezTo>
                  <a:cubicBezTo>
                    <a:pt x="10" y="1"/>
                    <a:pt x="10" y="2"/>
                    <a:pt x="9" y="2"/>
                  </a:cubicBezTo>
                  <a:cubicBezTo>
                    <a:pt x="9" y="2"/>
                    <a:pt x="8" y="2"/>
                    <a:pt x="8" y="2"/>
                  </a:cubicBezTo>
                  <a:cubicBezTo>
                    <a:pt x="8" y="2"/>
                    <a:pt x="8" y="2"/>
                    <a:pt x="8" y="2"/>
                  </a:cubicBezTo>
                  <a:cubicBezTo>
                    <a:pt x="8" y="1"/>
                    <a:pt x="8" y="1"/>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121"/>
            <p:cNvSpPr/>
            <p:nvPr/>
          </p:nvSpPr>
          <p:spPr bwMode="auto">
            <a:xfrm>
              <a:off x="5437802" y="4335749"/>
              <a:ext cx="9396" cy="25504"/>
            </a:xfrm>
            <a:custGeom>
              <a:gdLst>
                <a:gd name="T0" fmla="*/ 3 w 3"/>
                <a:gd name="T1" fmla="*/ 0 h 8"/>
                <a:gd name="T2" fmla="*/ 3 w 3"/>
                <a:gd name="T3" fmla="*/ 0 h 8"/>
                <a:gd name="T4" fmla="*/ 2 w 3"/>
                <a:gd name="T5" fmla="*/ 1 h 8"/>
                <a:gd name="T6" fmla="*/ 0 w 3"/>
                <a:gd name="T7" fmla="*/ 6 h 8"/>
                <a:gd name="T8" fmla="*/ 0 w 3"/>
                <a:gd name="T9" fmla="*/ 8 h 8"/>
                <a:gd name="T10" fmla="*/ 1 w 3"/>
                <a:gd name="T11" fmla="*/ 7 h 8"/>
                <a:gd name="T12" fmla="*/ 3 w 3"/>
                <a:gd name="T13" fmla="*/ 2 h 8"/>
                <a:gd name="T14" fmla="*/ 3 w 3"/>
                <a:gd name="T15" fmla="*/ 0 h 8"/>
                <a:gd name="T16" fmla="*/ 3 w 3"/>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3" y="0"/>
                  </a:moveTo>
                  <a:cubicBezTo>
                    <a:pt x="3" y="0"/>
                    <a:pt x="3" y="0"/>
                    <a:pt x="3" y="0"/>
                  </a:cubicBezTo>
                  <a:cubicBezTo>
                    <a:pt x="3" y="0"/>
                    <a:pt x="2" y="1"/>
                    <a:pt x="2" y="1"/>
                  </a:cubicBezTo>
                  <a:cubicBezTo>
                    <a:pt x="1" y="3"/>
                    <a:pt x="0" y="4"/>
                    <a:pt x="0" y="6"/>
                  </a:cubicBezTo>
                  <a:cubicBezTo>
                    <a:pt x="0" y="7"/>
                    <a:pt x="0" y="7"/>
                    <a:pt x="0" y="8"/>
                  </a:cubicBezTo>
                  <a:cubicBezTo>
                    <a:pt x="1" y="7"/>
                    <a:pt x="1" y="7"/>
                    <a:pt x="1" y="7"/>
                  </a:cubicBezTo>
                  <a:cubicBezTo>
                    <a:pt x="2" y="6"/>
                    <a:pt x="3" y="4"/>
                    <a:pt x="3" y="2"/>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122"/>
            <p:cNvSpPr/>
            <p:nvPr/>
          </p:nvSpPr>
          <p:spPr bwMode="auto">
            <a:xfrm>
              <a:off x="5428405" y="4363938"/>
              <a:ext cx="6712" cy="6712"/>
            </a:xfrm>
            <a:custGeom>
              <a:gdLst>
                <a:gd name="T0" fmla="*/ 2 w 2"/>
                <a:gd name="T1" fmla="*/ 0 h 2"/>
                <a:gd name="T2" fmla="*/ 1 w 2"/>
                <a:gd name="T3" fmla="*/ 0 h 2"/>
                <a:gd name="T4" fmla="*/ 0 w 2"/>
                <a:gd name="T5" fmla="*/ 2 h 2"/>
                <a:gd name="T6" fmla="*/ 1 w 2"/>
                <a:gd name="T7" fmla="*/ 0 h 2"/>
                <a:gd name="T8" fmla="*/ 2 w 2"/>
                <a:gd name="T9" fmla="*/ 0 h 2"/>
              </a:gdLst>
              <a:cxnLst>
                <a:cxn ang="0">
                  <a:pos x="T0" y="T1"/>
                </a:cxn>
                <a:cxn ang="0">
                  <a:pos x="T2" y="T3"/>
                </a:cxn>
                <a:cxn ang="0">
                  <a:pos x="T4" y="T5"/>
                </a:cxn>
                <a:cxn ang="0">
                  <a:pos x="T6" y="T7"/>
                </a:cxn>
                <a:cxn ang="0">
                  <a:pos x="T8" y="T9"/>
                </a:cxn>
              </a:cxnLst>
              <a:rect l="0" t="0" r="r" b="b"/>
              <a:pathLst>
                <a:path w="2" h="2">
                  <a:moveTo>
                    <a:pt x="2" y="0"/>
                  </a:moveTo>
                  <a:cubicBezTo>
                    <a:pt x="1" y="0"/>
                    <a:pt x="1" y="0"/>
                    <a:pt x="1" y="0"/>
                  </a:cubicBezTo>
                  <a:cubicBezTo>
                    <a:pt x="1" y="1"/>
                    <a:pt x="0" y="1"/>
                    <a:pt x="0" y="2"/>
                  </a:cubicBezTo>
                  <a:cubicBezTo>
                    <a:pt x="0" y="2"/>
                    <a:pt x="1" y="1"/>
                    <a:pt x="1"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123"/>
            <p:cNvSpPr/>
            <p:nvPr/>
          </p:nvSpPr>
          <p:spPr bwMode="auto">
            <a:xfrm>
              <a:off x="7890249" y="5973400"/>
              <a:ext cx="18793" cy="12081"/>
            </a:xfrm>
            <a:custGeom>
              <a:gdLst>
                <a:gd name="T0" fmla="*/ 4 w 6"/>
                <a:gd name="T1" fmla="*/ 0 h 4"/>
                <a:gd name="T2" fmla="*/ 1 w 6"/>
                <a:gd name="T3" fmla="*/ 4 h 4"/>
                <a:gd name="T4" fmla="*/ 3 w 6"/>
                <a:gd name="T5" fmla="*/ 4 h 4"/>
                <a:gd name="T6" fmla="*/ 4 w 6"/>
                <a:gd name="T7" fmla="*/ 4 h 4"/>
                <a:gd name="T8" fmla="*/ 4 w 6"/>
                <a:gd name="T9" fmla="*/ 4 h 4"/>
                <a:gd name="T10" fmla="*/ 4 w 6"/>
                <a:gd name="T11" fmla="*/ 0 h 4"/>
                <a:gd name="T12" fmla="*/ 4 w 6"/>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0" y="3"/>
                    <a:pt x="1" y="4"/>
                  </a:cubicBezTo>
                  <a:cubicBezTo>
                    <a:pt x="2" y="4"/>
                    <a:pt x="2" y="4"/>
                    <a:pt x="3" y="4"/>
                  </a:cubicBezTo>
                  <a:cubicBezTo>
                    <a:pt x="3" y="4"/>
                    <a:pt x="3" y="4"/>
                    <a:pt x="4" y="4"/>
                  </a:cubicBezTo>
                  <a:cubicBezTo>
                    <a:pt x="4" y="4"/>
                    <a:pt x="4" y="4"/>
                    <a:pt x="4" y="4"/>
                  </a:cubicBezTo>
                  <a:cubicBezTo>
                    <a:pt x="5" y="3"/>
                    <a:pt x="6"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124"/>
            <p:cNvSpPr>
              <a:spLocks noEditPoints="1"/>
            </p:cNvSpPr>
            <p:nvPr/>
          </p:nvSpPr>
          <p:spPr bwMode="auto">
            <a:xfrm>
              <a:off x="7909042" y="5934472"/>
              <a:ext cx="6712" cy="4027"/>
            </a:xfrm>
            <a:custGeom>
              <a:gdLst>
                <a:gd name="T0" fmla="*/ 1 w 2"/>
                <a:gd name="T1" fmla="*/ 1 h 1"/>
                <a:gd name="T2" fmla="*/ 0 w 2"/>
                <a:gd name="T3" fmla="*/ 1 h 1"/>
                <a:gd name="T4" fmla="*/ 1 w 2"/>
                <a:gd name="T5" fmla="*/ 1 h 1"/>
                <a:gd name="T6" fmla="*/ 2 w 2"/>
                <a:gd name="T7" fmla="*/ 0 h 1"/>
                <a:gd name="T8" fmla="*/ 1 w 2"/>
                <a:gd name="T9" fmla="*/ 1 h 1"/>
                <a:gd name="T10" fmla="*/ 2 w 2"/>
                <a:gd name="T11" fmla="*/ 0 h 1"/>
                <a:gd name="T12" fmla="*/ 2 w 2"/>
                <a:gd name="T13" fmla="*/ 0 h 1"/>
              </a:gd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0" y="1"/>
                    <a:pt x="0" y="1"/>
                    <a:pt x="0" y="1"/>
                  </a:cubicBezTo>
                  <a:cubicBezTo>
                    <a:pt x="0" y="1"/>
                    <a:pt x="0" y="1"/>
                    <a:pt x="1" y="1"/>
                  </a:cubicBezTo>
                  <a:moveTo>
                    <a:pt x="2" y="0"/>
                  </a:moveTo>
                  <a:cubicBezTo>
                    <a:pt x="1" y="0"/>
                    <a:pt x="1" y="1"/>
                    <a:pt x="1" y="1"/>
                  </a:cubicBezTo>
                  <a:cubicBezTo>
                    <a:pt x="1" y="1"/>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125"/>
            <p:cNvSpPr/>
            <p:nvPr/>
          </p:nvSpPr>
          <p:spPr bwMode="auto">
            <a:xfrm>
              <a:off x="7868772" y="6087499"/>
              <a:ext cx="12081" cy="9396"/>
            </a:xfrm>
            <a:custGeom>
              <a:gdLst>
                <a:gd name="T0" fmla="*/ 2 w 4"/>
                <a:gd name="T1" fmla="*/ 0 h 3"/>
                <a:gd name="T2" fmla="*/ 1 w 4"/>
                <a:gd name="T3" fmla="*/ 0 h 3"/>
                <a:gd name="T4" fmla="*/ 0 w 4"/>
                <a:gd name="T5" fmla="*/ 0 h 3"/>
                <a:gd name="T6" fmla="*/ 1 w 4"/>
                <a:gd name="T7" fmla="*/ 0 h 3"/>
                <a:gd name="T8" fmla="*/ 3 w 4"/>
                <a:gd name="T9" fmla="*/ 3 h 3"/>
                <a:gd name="T10" fmla="*/ 2 w 4"/>
                <a:gd name="T11" fmla="*/ 0 h 3"/>
              </a:gdLst>
              <a:cxnLst>
                <a:cxn ang="0">
                  <a:pos x="T0" y="T1"/>
                </a:cxn>
                <a:cxn ang="0">
                  <a:pos x="T2" y="T3"/>
                </a:cxn>
                <a:cxn ang="0">
                  <a:pos x="T4" y="T5"/>
                </a:cxn>
                <a:cxn ang="0">
                  <a:pos x="T6" y="T7"/>
                </a:cxn>
                <a:cxn ang="0">
                  <a:pos x="T8" y="T9"/>
                </a:cxn>
                <a:cxn ang="0">
                  <a:pos x="T10" y="T11"/>
                </a:cxn>
              </a:cxnLst>
              <a:rect l="0" t="0" r="r" b="b"/>
              <a:pathLst>
                <a:path w="4" h="3">
                  <a:moveTo>
                    <a:pt x="2" y="0"/>
                  </a:moveTo>
                  <a:cubicBezTo>
                    <a:pt x="2" y="0"/>
                    <a:pt x="1" y="0"/>
                    <a:pt x="1" y="0"/>
                  </a:cubicBezTo>
                  <a:cubicBezTo>
                    <a:pt x="0" y="0"/>
                    <a:pt x="0" y="0"/>
                    <a:pt x="0" y="0"/>
                  </a:cubicBezTo>
                  <a:cubicBezTo>
                    <a:pt x="1" y="0"/>
                    <a:pt x="1" y="0"/>
                    <a:pt x="1" y="0"/>
                  </a:cubicBezTo>
                  <a:cubicBezTo>
                    <a:pt x="1" y="1"/>
                    <a:pt x="2" y="2"/>
                    <a:pt x="3" y="3"/>
                  </a:cubicBezTo>
                  <a:cubicBezTo>
                    <a:pt x="4"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126"/>
            <p:cNvSpPr/>
            <p:nvPr/>
          </p:nvSpPr>
          <p:spPr bwMode="auto">
            <a:xfrm>
              <a:off x="7947969" y="6159985"/>
              <a:ext cx="25504" cy="18793"/>
            </a:xfrm>
            <a:custGeom>
              <a:gdLst>
                <a:gd name="T0" fmla="*/ 0 w 8"/>
                <a:gd name="T1" fmla="*/ 0 h 6"/>
                <a:gd name="T2" fmla="*/ 0 w 8"/>
                <a:gd name="T3" fmla="*/ 2 h 6"/>
                <a:gd name="T4" fmla="*/ 0 w 8"/>
                <a:gd name="T5" fmla="*/ 3 h 6"/>
                <a:gd name="T6" fmla="*/ 8 w 8"/>
                <a:gd name="T7" fmla="*/ 6 h 6"/>
                <a:gd name="T8" fmla="*/ 4 w 8"/>
                <a:gd name="T9" fmla="*/ 2 h 6"/>
                <a:gd name="T10" fmla="*/ 4 w 8"/>
                <a:gd name="T11" fmla="*/ 2 h 6"/>
                <a:gd name="T12" fmla="*/ 3 w 8"/>
                <a:gd name="T13" fmla="*/ 2 h 6"/>
                <a:gd name="T14" fmla="*/ 3 w 8"/>
                <a:gd name="T15" fmla="*/ 2 h 6"/>
                <a:gd name="T16" fmla="*/ 2 w 8"/>
                <a:gd name="T17" fmla="*/ 1 h 6"/>
                <a:gd name="T18" fmla="*/ 0 w 8"/>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0" y="0"/>
                  </a:moveTo>
                  <a:cubicBezTo>
                    <a:pt x="0" y="0"/>
                    <a:pt x="0" y="0"/>
                    <a:pt x="0" y="2"/>
                  </a:cubicBezTo>
                  <a:cubicBezTo>
                    <a:pt x="0" y="3"/>
                    <a:pt x="0" y="3"/>
                    <a:pt x="0" y="3"/>
                  </a:cubicBezTo>
                  <a:cubicBezTo>
                    <a:pt x="1" y="6"/>
                    <a:pt x="5" y="6"/>
                    <a:pt x="8" y="6"/>
                  </a:cubicBezTo>
                  <a:cubicBezTo>
                    <a:pt x="7" y="5"/>
                    <a:pt x="5" y="3"/>
                    <a:pt x="4" y="2"/>
                  </a:cubicBezTo>
                  <a:cubicBezTo>
                    <a:pt x="4" y="2"/>
                    <a:pt x="4" y="2"/>
                    <a:pt x="4" y="2"/>
                  </a:cubicBezTo>
                  <a:cubicBezTo>
                    <a:pt x="3" y="2"/>
                    <a:pt x="3" y="2"/>
                    <a:pt x="3" y="2"/>
                  </a:cubicBezTo>
                  <a:cubicBezTo>
                    <a:pt x="3" y="2"/>
                    <a:pt x="3" y="2"/>
                    <a:pt x="3" y="2"/>
                  </a:cubicBezTo>
                  <a:cubicBezTo>
                    <a:pt x="2" y="1"/>
                    <a:pt x="2"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127"/>
            <p:cNvSpPr/>
            <p:nvPr/>
          </p:nvSpPr>
          <p:spPr bwMode="auto">
            <a:xfrm>
              <a:off x="7827159" y="6010986"/>
              <a:ext cx="53693" cy="76513"/>
            </a:xfrm>
            <a:custGeom>
              <a:gdLst>
                <a:gd name="T0" fmla="*/ 1 w 17"/>
                <a:gd name="T1" fmla="*/ 0 h 24"/>
                <a:gd name="T2" fmla="*/ 0 w 17"/>
                <a:gd name="T3" fmla="*/ 4 h 24"/>
                <a:gd name="T4" fmla="*/ 0 w 17"/>
                <a:gd name="T5" fmla="*/ 6 h 24"/>
                <a:gd name="T6" fmla="*/ 2 w 17"/>
                <a:gd name="T7" fmla="*/ 10 h 24"/>
                <a:gd name="T8" fmla="*/ 3 w 17"/>
                <a:gd name="T9" fmla="*/ 17 h 24"/>
                <a:gd name="T10" fmla="*/ 6 w 17"/>
                <a:gd name="T11" fmla="*/ 24 h 24"/>
                <a:gd name="T12" fmla="*/ 11 w 17"/>
                <a:gd name="T13" fmla="*/ 23 h 24"/>
                <a:gd name="T14" fmla="*/ 11 w 17"/>
                <a:gd name="T15" fmla="*/ 23 h 24"/>
                <a:gd name="T16" fmla="*/ 12 w 17"/>
                <a:gd name="T17" fmla="*/ 23 h 24"/>
                <a:gd name="T18" fmla="*/ 13 w 17"/>
                <a:gd name="T19" fmla="*/ 23 h 24"/>
                <a:gd name="T20" fmla="*/ 13 w 17"/>
                <a:gd name="T21" fmla="*/ 23 h 24"/>
                <a:gd name="T22" fmla="*/ 16 w 17"/>
                <a:gd name="T23" fmla="*/ 21 h 24"/>
                <a:gd name="T24" fmla="*/ 17 w 17"/>
                <a:gd name="T25" fmla="*/ 21 h 24"/>
                <a:gd name="T26" fmla="*/ 17 w 17"/>
                <a:gd name="T27" fmla="*/ 21 h 24"/>
                <a:gd name="T28" fmla="*/ 17 w 17"/>
                <a:gd name="T29" fmla="*/ 21 h 24"/>
                <a:gd name="T30" fmla="*/ 14 w 17"/>
                <a:gd name="T31" fmla="*/ 12 h 24"/>
                <a:gd name="T32" fmla="*/ 13 w 17"/>
                <a:gd name="T33" fmla="*/ 7 h 24"/>
                <a:gd name="T34" fmla="*/ 12 w 17"/>
                <a:gd name="T35" fmla="*/ 7 h 24"/>
                <a:gd name="T36" fmla="*/ 10 w 17"/>
                <a:gd name="T37" fmla="*/ 12 h 24"/>
                <a:gd name="T38" fmla="*/ 8 w 17"/>
                <a:gd name="T39" fmla="*/ 13 h 24"/>
                <a:gd name="T40" fmla="*/ 6 w 17"/>
                <a:gd name="T41" fmla="*/ 11 h 24"/>
                <a:gd name="T42" fmla="*/ 6 w 17"/>
                <a:gd name="T43" fmla="*/ 6 h 24"/>
                <a:gd name="T44" fmla="*/ 4 w 17"/>
                <a:gd name="T45" fmla="*/ 4 h 24"/>
                <a:gd name="T46" fmla="*/ 4 w 17"/>
                <a:gd name="T47" fmla="*/ 3 h 24"/>
                <a:gd name="T48" fmla="*/ 1 w 17"/>
                <a:gd name="T49"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24">
                  <a:moveTo>
                    <a:pt x="1" y="0"/>
                  </a:moveTo>
                  <a:cubicBezTo>
                    <a:pt x="1" y="0"/>
                    <a:pt x="0" y="1"/>
                    <a:pt x="0" y="4"/>
                  </a:cubicBezTo>
                  <a:cubicBezTo>
                    <a:pt x="0" y="4"/>
                    <a:pt x="0" y="5"/>
                    <a:pt x="0" y="6"/>
                  </a:cubicBezTo>
                  <a:cubicBezTo>
                    <a:pt x="1" y="7"/>
                    <a:pt x="1" y="9"/>
                    <a:pt x="2" y="10"/>
                  </a:cubicBezTo>
                  <a:cubicBezTo>
                    <a:pt x="3" y="13"/>
                    <a:pt x="3" y="14"/>
                    <a:pt x="3" y="17"/>
                  </a:cubicBezTo>
                  <a:cubicBezTo>
                    <a:pt x="3" y="19"/>
                    <a:pt x="6" y="22"/>
                    <a:pt x="6" y="24"/>
                  </a:cubicBezTo>
                  <a:cubicBezTo>
                    <a:pt x="7" y="24"/>
                    <a:pt x="9" y="23"/>
                    <a:pt x="11" y="23"/>
                  </a:cubicBezTo>
                  <a:cubicBezTo>
                    <a:pt x="11" y="23"/>
                    <a:pt x="11" y="23"/>
                    <a:pt x="11" y="23"/>
                  </a:cubicBezTo>
                  <a:cubicBezTo>
                    <a:pt x="11" y="23"/>
                    <a:pt x="12" y="23"/>
                    <a:pt x="12" y="23"/>
                  </a:cubicBezTo>
                  <a:cubicBezTo>
                    <a:pt x="12" y="23"/>
                    <a:pt x="12" y="23"/>
                    <a:pt x="13" y="23"/>
                  </a:cubicBezTo>
                  <a:cubicBezTo>
                    <a:pt x="13" y="23"/>
                    <a:pt x="13" y="23"/>
                    <a:pt x="13" y="23"/>
                  </a:cubicBezTo>
                  <a:cubicBezTo>
                    <a:pt x="14" y="23"/>
                    <a:pt x="15" y="21"/>
                    <a:pt x="16" y="21"/>
                  </a:cubicBezTo>
                  <a:cubicBezTo>
                    <a:pt x="16" y="21"/>
                    <a:pt x="16" y="21"/>
                    <a:pt x="17" y="21"/>
                  </a:cubicBezTo>
                  <a:cubicBezTo>
                    <a:pt x="17" y="21"/>
                    <a:pt x="17" y="21"/>
                    <a:pt x="17" y="21"/>
                  </a:cubicBezTo>
                  <a:cubicBezTo>
                    <a:pt x="17" y="21"/>
                    <a:pt x="17" y="21"/>
                    <a:pt x="17" y="21"/>
                  </a:cubicBezTo>
                  <a:cubicBezTo>
                    <a:pt x="16" y="18"/>
                    <a:pt x="15" y="15"/>
                    <a:pt x="14" y="12"/>
                  </a:cubicBezTo>
                  <a:cubicBezTo>
                    <a:pt x="13" y="10"/>
                    <a:pt x="12" y="8"/>
                    <a:pt x="13" y="7"/>
                  </a:cubicBezTo>
                  <a:cubicBezTo>
                    <a:pt x="13" y="7"/>
                    <a:pt x="12" y="7"/>
                    <a:pt x="12" y="7"/>
                  </a:cubicBezTo>
                  <a:cubicBezTo>
                    <a:pt x="10" y="7"/>
                    <a:pt x="11" y="11"/>
                    <a:pt x="10" y="12"/>
                  </a:cubicBezTo>
                  <a:cubicBezTo>
                    <a:pt x="9" y="13"/>
                    <a:pt x="9" y="13"/>
                    <a:pt x="8" y="13"/>
                  </a:cubicBezTo>
                  <a:cubicBezTo>
                    <a:pt x="7" y="13"/>
                    <a:pt x="7" y="11"/>
                    <a:pt x="6" y="11"/>
                  </a:cubicBezTo>
                  <a:cubicBezTo>
                    <a:pt x="6" y="9"/>
                    <a:pt x="6" y="8"/>
                    <a:pt x="6" y="6"/>
                  </a:cubicBezTo>
                  <a:cubicBezTo>
                    <a:pt x="5" y="5"/>
                    <a:pt x="5" y="4"/>
                    <a:pt x="4" y="4"/>
                  </a:cubicBezTo>
                  <a:cubicBezTo>
                    <a:pt x="4" y="3"/>
                    <a:pt x="4" y="3"/>
                    <a:pt x="4"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128"/>
            <p:cNvSpPr/>
            <p:nvPr/>
          </p:nvSpPr>
          <p:spPr bwMode="auto">
            <a:xfrm>
              <a:off x="7871456" y="6106291"/>
              <a:ext cx="53693" cy="53693"/>
            </a:xfrm>
            <a:custGeom>
              <a:gdLst>
                <a:gd name="T0" fmla="*/ 3 w 17"/>
                <a:gd name="T1" fmla="*/ 0 h 17"/>
                <a:gd name="T2" fmla="*/ 2 w 17"/>
                <a:gd name="T3" fmla="*/ 2 h 17"/>
                <a:gd name="T4" fmla="*/ 3 w 17"/>
                <a:gd name="T5" fmla="*/ 6 h 17"/>
                <a:gd name="T6" fmla="*/ 3 w 17"/>
                <a:gd name="T7" fmla="*/ 7 h 17"/>
                <a:gd name="T8" fmla="*/ 4 w 17"/>
                <a:gd name="T9" fmla="*/ 6 h 17"/>
                <a:gd name="T10" fmla="*/ 5 w 17"/>
                <a:gd name="T11" fmla="*/ 6 h 17"/>
                <a:gd name="T12" fmla="*/ 6 w 17"/>
                <a:gd name="T13" fmla="*/ 7 h 17"/>
                <a:gd name="T14" fmla="*/ 6 w 17"/>
                <a:gd name="T15" fmla="*/ 10 h 17"/>
                <a:gd name="T16" fmla="*/ 9 w 17"/>
                <a:gd name="T17" fmla="*/ 17 h 17"/>
                <a:gd name="T18" fmla="*/ 14 w 17"/>
                <a:gd name="T19" fmla="*/ 15 h 17"/>
                <a:gd name="T20" fmla="*/ 17 w 17"/>
                <a:gd name="T21" fmla="*/ 13 h 17"/>
                <a:gd name="T22" fmla="*/ 16 w 17"/>
                <a:gd name="T23" fmla="*/ 13 h 17"/>
                <a:gd name="T24" fmla="*/ 12 w 17"/>
                <a:gd name="T25" fmla="*/ 9 h 17"/>
                <a:gd name="T26" fmla="*/ 8 w 17"/>
                <a:gd name="T27" fmla="*/ 5 h 17"/>
                <a:gd name="T28" fmla="*/ 8 w 17"/>
                <a:gd name="T29" fmla="*/ 6 h 17"/>
                <a:gd name="T30" fmla="*/ 5 w 17"/>
                <a:gd name="T31" fmla="*/ 1 h 17"/>
                <a:gd name="T32" fmla="*/ 3 w 17"/>
                <a:gd name="T3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3" y="0"/>
                  </a:moveTo>
                  <a:cubicBezTo>
                    <a:pt x="2" y="0"/>
                    <a:pt x="2" y="1"/>
                    <a:pt x="2" y="2"/>
                  </a:cubicBezTo>
                  <a:cubicBezTo>
                    <a:pt x="1" y="4"/>
                    <a:pt x="0" y="6"/>
                    <a:pt x="3" y="6"/>
                  </a:cubicBezTo>
                  <a:cubicBezTo>
                    <a:pt x="3" y="7"/>
                    <a:pt x="3" y="7"/>
                    <a:pt x="3" y="7"/>
                  </a:cubicBezTo>
                  <a:cubicBezTo>
                    <a:pt x="4" y="7"/>
                    <a:pt x="4" y="6"/>
                    <a:pt x="4" y="6"/>
                  </a:cubicBezTo>
                  <a:cubicBezTo>
                    <a:pt x="4" y="6"/>
                    <a:pt x="5" y="6"/>
                    <a:pt x="5" y="6"/>
                  </a:cubicBezTo>
                  <a:cubicBezTo>
                    <a:pt x="5" y="6"/>
                    <a:pt x="5" y="6"/>
                    <a:pt x="6" y="7"/>
                  </a:cubicBezTo>
                  <a:cubicBezTo>
                    <a:pt x="6" y="8"/>
                    <a:pt x="6" y="9"/>
                    <a:pt x="6" y="10"/>
                  </a:cubicBezTo>
                  <a:cubicBezTo>
                    <a:pt x="7" y="12"/>
                    <a:pt x="7" y="16"/>
                    <a:pt x="9" y="17"/>
                  </a:cubicBezTo>
                  <a:cubicBezTo>
                    <a:pt x="10" y="16"/>
                    <a:pt x="12" y="16"/>
                    <a:pt x="14" y="15"/>
                  </a:cubicBezTo>
                  <a:cubicBezTo>
                    <a:pt x="15" y="14"/>
                    <a:pt x="16" y="14"/>
                    <a:pt x="17" y="13"/>
                  </a:cubicBezTo>
                  <a:cubicBezTo>
                    <a:pt x="16" y="13"/>
                    <a:pt x="16" y="13"/>
                    <a:pt x="16" y="13"/>
                  </a:cubicBezTo>
                  <a:cubicBezTo>
                    <a:pt x="16" y="11"/>
                    <a:pt x="14" y="10"/>
                    <a:pt x="12" y="9"/>
                  </a:cubicBezTo>
                  <a:cubicBezTo>
                    <a:pt x="11" y="8"/>
                    <a:pt x="9" y="7"/>
                    <a:pt x="8" y="5"/>
                  </a:cubicBezTo>
                  <a:cubicBezTo>
                    <a:pt x="8" y="6"/>
                    <a:pt x="8" y="6"/>
                    <a:pt x="8" y="6"/>
                  </a:cubicBezTo>
                  <a:cubicBezTo>
                    <a:pt x="7" y="5"/>
                    <a:pt x="6" y="3"/>
                    <a:pt x="5"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129"/>
            <p:cNvSpPr/>
            <p:nvPr/>
          </p:nvSpPr>
          <p:spPr bwMode="auto">
            <a:xfrm>
              <a:off x="7896961" y="5941184"/>
              <a:ext cx="9396" cy="16108"/>
            </a:xfrm>
            <a:custGeom>
              <a:gdLst>
                <a:gd name="T0" fmla="*/ 1 w 3"/>
                <a:gd name="T1" fmla="*/ 0 h 5"/>
                <a:gd name="T2" fmla="*/ 0 w 3"/>
                <a:gd name="T3" fmla="*/ 2 h 5"/>
                <a:gd name="T4" fmla="*/ 0 w 3"/>
                <a:gd name="T5" fmla="*/ 5 h 5"/>
                <a:gd name="T6" fmla="*/ 2 w 3"/>
                <a:gd name="T7" fmla="*/ 2 h 5"/>
                <a:gd name="T8" fmla="*/ 1 w 3"/>
                <a:gd name="T9" fmla="*/ 0 h 5"/>
              </a:gdLst>
              <a:cxnLst>
                <a:cxn ang="0">
                  <a:pos x="T0" y="T1"/>
                </a:cxn>
                <a:cxn ang="0">
                  <a:pos x="T2" y="T3"/>
                </a:cxn>
                <a:cxn ang="0">
                  <a:pos x="T4" y="T5"/>
                </a:cxn>
                <a:cxn ang="0">
                  <a:pos x="T6" y="T7"/>
                </a:cxn>
                <a:cxn ang="0">
                  <a:pos x="T8" y="T9"/>
                </a:cxn>
              </a:cxnLst>
              <a:rect l="0" t="0" r="r" b="b"/>
              <a:pathLst>
                <a:path w="3" h="5">
                  <a:moveTo>
                    <a:pt x="1" y="0"/>
                  </a:moveTo>
                  <a:cubicBezTo>
                    <a:pt x="1" y="0"/>
                    <a:pt x="1" y="1"/>
                    <a:pt x="0" y="2"/>
                  </a:cubicBezTo>
                  <a:cubicBezTo>
                    <a:pt x="0" y="3"/>
                    <a:pt x="0" y="4"/>
                    <a:pt x="0" y="5"/>
                  </a:cubicBezTo>
                  <a:cubicBezTo>
                    <a:pt x="2" y="4"/>
                    <a:pt x="3" y="3"/>
                    <a:pt x="2" y="2"/>
                  </a:cubicBezTo>
                  <a:cubicBezTo>
                    <a:pt x="2"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130"/>
            <p:cNvSpPr/>
            <p:nvPr/>
          </p:nvSpPr>
          <p:spPr bwMode="auto">
            <a:xfrm>
              <a:off x="7913069" y="6061994"/>
              <a:ext cx="25504" cy="12081"/>
            </a:xfrm>
            <a:custGeom>
              <a:gdLst>
                <a:gd name="T0" fmla="*/ 7 w 8"/>
                <a:gd name="T1" fmla="*/ 0 h 4"/>
                <a:gd name="T2" fmla="*/ 2 w 8"/>
                <a:gd name="T3" fmla="*/ 2 h 4"/>
                <a:gd name="T4" fmla="*/ 0 w 8"/>
                <a:gd name="T5" fmla="*/ 3 h 4"/>
                <a:gd name="T6" fmla="*/ 3 w 8"/>
                <a:gd name="T7" fmla="*/ 4 h 4"/>
                <a:gd name="T8" fmla="*/ 3 w 8"/>
                <a:gd name="T9" fmla="*/ 4 h 4"/>
                <a:gd name="T10" fmla="*/ 4 w 8"/>
                <a:gd name="T11" fmla="*/ 4 h 4"/>
                <a:gd name="T12" fmla="*/ 8 w 8"/>
                <a:gd name="T13" fmla="*/ 0 h 4"/>
                <a:gd name="T14" fmla="*/ 8 w 8"/>
                <a:gd name="T15" fmla="*/ 0 h 4"/>
                <a:gd name="T16" fmla="*/ 7 w 8"/>
                <a:gd name="T1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7" y="0"/>
                  </a:moveTo>
                  <a:cubicBezTo>
                    <a:pt x="4" y="0"/>
                    <a:pt x="3" y="0"/>
                    <a:pt x="2" y="2"/>
                  </a:cubicBezTo>
                  <a:cubicBezTo>
                    <a:pt x="1" y="2"/>
                    <a:pt x="1" y="2"/>
                    <a:pt x="0" y="3"/>
                  </a:cubicBezTo>
                  <a:cubicBezTo>
                    <a:pt x="1" y="3"/>
                    <a:pt x="2" y="4"/>
                    <a:pt x="3" y="4"/>
                  </a:cubicBezTo>
                  <a:cubicBezTo>
                    <a:pt x="3" y="4"/>
                    <a:pt x="3" y="4"/>
                    <a:pt x="3" y="4"/>
                  </a:cubicBezTo>
                  <a:cubicBezTo>
                    <a:pt x="4" y="4"/>
                    <a:pt x="4" y="4"/>
                    <a:pt x="4" y="4"/>
                  </a:cubicBezTo>
                  <a:cubicBezTo>
                    <a:pt x="6" y="3"/>
                    <a:pt x="6" y="1"/>
                    <a:pt x="8" y="0"/>
                  </a:cubicBezTo>
                  <a:cubicBezTo>
                    <a:pt x="8" y="0"/>
                    <a:pt x="8" y="0"/>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131"/>
            <p:cNvSpPr/>
            <p:nvPr/>
          </p:nvSpPr>
          <p:spPr bwMode="auto">
            <a:xfrm>
              <a:off x="7947969" y="6033805"/>
              <a:ext cx="2685" cy="34901"/>
            </a:xfrm>
            <a:custGeom>
              <a:gdLst>
                <a:gd name="T0" fmla="*/ 0 w 1"/>
                <a:gd name="T1" fmla="*/ 0 h 11"/>
                <a:gd name="T2" fmla="*/ 0 w 1"/>
                <a:gd name="T3" fmla="*/ 2 h 11"/>
                <a:gd name="T4" fmla="*/ 0 w 1"/>
                <a:gd name="T5" fmla="*/ 8 h 11"/>
                <a:gd name="T6" fmla="*/ 0 w 1"/>
                <a:gd name="T7" fmla="*/ 11 h 11"/>
                <a:gd name="T8" fmla="*/ 1 w 1"/>
                <a:gd name="T9" fmla="*/ 8 h 11"/>
                <a:gd name="T10" fmla="*/ 1 w 1"/>
                <a:gd name="T11" fmla="*/ 2 h 11"/>
                <a:gd name="T12" fmla="*/ 0 w 1"/>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1" h="11">
                  <a:moveTo>
                    <a:pt x="0" y="0"/>
                  </a:moveTo>
                  <a:cubicBezTo>
                    <a:pt x="0" y="0"/>
                    <a:pt x="0" y="1"/>
                    <a:pt x="0" y="2"/>
                  </a:cubicBezTo>
                  <a:cubicBezTo>
                    <a:pt x="0" y="4"/>
                    <a:pt x="0" y="6"/>
                    <a:pt x="0" y="8"/>
                  </a:cubicBezTo>
                  <a:cubicBezTo>
                    <a:pt x="0" y="9"/>
                    <a:pt x="0" y="10"/>
                    <a:pt x="0" y="11"/>
                  </a:cubicBezTo>
                  <a:cubicBezTo>
                    <a:pt x="1" y="10"/>
                    <a:pt x="1" y="9"/>
                    <a:pt x="1" y="8"/>
                  </a:cubicBezTo>
                  <a:cubicBezTo>
                    <a:pt x="1" y="6"/>
                    <a:pt x="1" y="4"/>
                    <a:pt x="1" y="2"/>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132"/>
            <p:cNvSpPr/>
            <p:nvPr/>
          </p:nvSpPr>
          <p:spPr bwMode="auto">
            <a:xfrm>
              <a:off x="7950654" y="6078102"/>
              <a:ext cx="6712" cy="37585"/>
            </a:xfrm>
            <a:custGeom>
              <a:gdLst>
                <a:gd name="T0" fmla="*/ 0 w 2"/>
                <a:gd name="T1" fmla="*/ 0 h 12"/>
                <a:gd name="T2" fmla="*/ 0 w 2"/>
                <a:gd name="T3" fmla="*/ 3 h 12"/>
                <a:gd name="T4" fmla="*/ 0 w 2"/>
                <a:gd name="T5" fmla="*/ 5 h 12"/>
                <a:gd name="T6" fmla="*/ 0 w 2"/>
                <a:gd name="T7" fmla="*/ 6 h 12"/>
                <a:gd name="T8" fmla="*/ 1 w 2"/>
                <a:gd name="T9" fmla="*/ 12 h 12"/>
                <a:gd name="T10" fmla="*/ 2 w 2"/>
                <a:gd name="T11" fmla="*/ 7 h 12"/>
                <a:gd name="T12" fmla="*/ 1 w 2"/>
                <a:gd name="T13" fmla="*/ 3 h 12"/>
                <a:gd name="T14" fmla="*/ 2 w 2"/>
                <a:gd name="T15" fmla="*/ 3 h 12"/>
                <a:gd name="T16" fmla="*/ 1 w 2"/>
                <a:gd name="T17" fmla="*/ 3 h 12"/>
                <a:gd name="T18" fmla="*/ 0 w 2"/>
                <a:gd name="T19"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2">
                  <a:moveTo>
                    <a:pt x="0" y="0"/>
                  </a:moveTo>
                  <a:cubicBezTo>
                    <a:pt x="0" y="1"/>
                    <a:pt x="0" y="2"/>
                    <a:pt x="0" y="3"/>
                  </a:cubicBezTo>
                  <a:cubicBezTo>
                    <a:pt x="0" y="3"/>
                    <a:pt x="0" y="4"/>
                    <a:pt x="0" y="5"/>
                  </a:cubicBezTo>
                  <a:cubicBezTo>
                    <a:pt x="0" y="5"/>
                    <a:pt x="0" y="6"/>
                    <a:pt x="0" y="6"/>
                  </a:cubicBezTo>
                  <a:cubicBezTo>
                    <a:pt x="0" y="8"/>
                    <a:pt x="1" y="10"/>
                    <a:pt x="1" y="12"/>
                  </a:cubicBezTo>
                  <a:cubicBezTo>
                    <a:pt x="2" y="11"/>
                    <a:pt x="2" y="9"/>
                    <a:pt x="2" y="7"/>
                  </a:cubicBezTo>
                  <a:cubicBezTo>
                    <a:pt x="2" y="6"/>
                    <a:pt x="1" y="4"/>
                    <a:pt x="1" y="3"/>
                  </a:cubicBezTo>
                  <a:cubicBezTo>
                    <a:pt x="2" y="3"/>
                    <a:pt x="2" y="3"/>
                    <a:pt x="2" y="3"/>
                  </a:cubicBezTo>
                  <a:cubicBezTo>
                    <a:pt x="1" y="3"/>
                    <a:pt x="1" y="3"/>
                    <a:pt x="1" y="3"/>
                  </a:cubicBezTo>
                  <a:cubicBezTo>
                    <a:pt x="1" y="2"/>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133"/>
            <p:cNvSpPr/>
            <p:nvPr/>
          </p:nvSpPr>
          <p:spPr bwMode="auto">
            <a:xfrm>
              <a:off x="7931861" y="6122399"/>
              <a:ext cx="32216" cy="18793"/>
            </a:xfrm>
            <a:custGeom>
              <a:gdLst>
                <a:gd name="T0" fmla="*/ 6 w 10"/>
                <a:gd name="T1" fmla="*/ 0 h 6"/>
                <a:gd name="T2" fmla="*/ 4 w 10"/>
                <a:gd name="T3" fmla="*/ 2 h 6"/>
                <a:gd name="T4" fmla="*/ 2 w 10"/>
                <a:gd name="T5" fmla="*/ 2 h 6"/>
                <a:gd name="T6" fmla="*/ 1 w 10"/>
                <a:gd name="T7" fmla="*/ 2 h 6"/>
                <a:gd name="T8" fmla="*/ 1 w 10"/>
                <a:gd name="T9" fmla="*/ 3 h 6"/>
                <a:gd name="T10" fmla="*/ 1 w 10"/>
                <a:gd name="T11" fmla="*/ 4 h 6"/>
                <a:gd name="T12" fmla="*/ 1 w 10"/>
                <a:gd name="T13" fmla="*/ 5 h 6"/>
                <a:gd name="T14" fmla="*/ 1 w 10"/>
                <a:gd name="T15" fmla="*/ 6 h 6"/>
                <a:gd name="T16" fmla="*/ 2 w 10"/>
                <a:gd name="T17" fmla="*/ 5 h 6"/>
                <a:gd name="T18" fmla="*/ 5 w 10"/>
                <a:gd name="T19" fmla="*/ 6 h 6"/>
                <a:gd name="T20" fmla="*/ 8 w 10"/>
                <a:gd name="T21" fmla="*/ 4 h 6"/>
                <a:gd name="T22" fmla="*/ 8 w 10"/>
                <a:gd name="T23" fmla="*/ 3 h 6"/>
                <a:gd name="T24" fmla="*/ 7 w 10"/>
                <a:gd name="T25" fmla="*/ 2 h 6"/>
                <a:gd name="T26" fmla="*/ 6 w 10"/>
                <a:gd name="T2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6">
                  <a:moveTo>
                    <a:pt x="6" y="0"/>
                  </a:moveTo>
                  <a:cubicBezTo>
                    <a:pt x="5" y="0"/>
                    <a:pt x="5" y="1"/>
                    <a:pt x="4" y="2"/>
                  </a:cubicBezTo>
                  <a:cubicBezTo>
                    <a:pt x="3" y="2"/>
                    <a:pt x="3" y="2"/>
                    <a:pt x="2" y="2"/>
                  </a:cubicBezTo>
                  <a:cubicBezTo>
                    <a:pt x="1" y="2"/>
                    <a:pt x="1" y="2"/>
                    <a:pt x="1" y="2"/>
                  </a:cubicBezTo>
                  <a:cubicBezTo>
                    <a:pt x="1" y="3"/>
                    <a:pt x="1" y="3"/>
                    <a:pt x="1" y="3"/>
                  </a:cubicBezTo>
                  <a:cubicBezTo>
                    <a:pt x="0" y="3"/>
                    <a:pt x="0" y="3"/>
                    <a:pt x="1" y="4"/>
                  </a:cubicBezTo>
                  <a:cubicBezTo>
                    <a:pt x="1" y="5"/>
                    <a:pt x="1" y="5"/>
                    <a:pt x="1" y="5"/>
                  </a:cubicBezTo>
                  <a:cubicBezTo>
                    <a:pt x="1" y="6"/>
                    <a:pt x="1" y="6"/>
                    <a:pt x="1" y="6"/>
                  </a:cubicBezTo>
                  <a:cubicBezTo>
                    <a:pt x="2" y="5"/>
                    <a:pt x="2" y="5"/>
                    <a:pt x="2" y="5"/>
                  </a:cubicBezTo>
                  <a:cubicBezTo>
                    <a:pt x="3" y="6"/>
                    <a:pt x="4" y="6"/>
                    <a:pt x="5" y="6"/>
                  </a:cubicBezTo>
                  <a:cubicBezTo>
                    <a:pt x="10" y="5"/>
                    <a:pt x="9" y="5"/>
                    <a:pt x="8" y="4"/>
                  </a:cubicBezTo>
                  <a:cubicBezTo>
                    <a:pt x="8" y="3"/>
                    <a:pt x="8" y="3"/>
                    <a:pt x="8" y="3"/>
                  </a:cubicBezTo>
                  <a:cubicBezTo>
                    <a:pt x="7" y="2"/>
                    <a:pt x="7" y="2"/>
                    <a:pt x="7" y="2"/>
                  </a:cubicBezTo>
                  <a:cubicBezTo>
                    <a:pt x="6" y="1"/>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1134"/>
            <p:cNvSpPr/>
            <p:nvPr/>
          </p:nvSpPr>
          <p:spPr bwMode="auto">
            <a:xfrm>
              <a:off x="8011059" y="6315696"/>
              <a:ext cx="25504" cy="25504"/>
            </a:xfrm>
            <a:custGeom>
              <a:gdLst>
                <a:gd name="T0" fmla="*/ 2 w 8"/>
                <a:gd name="T1" fmla="*/ 0 h 8"/>
                <a:gd name="T2" fmla="*/ 0 w 8"/>
                <a:gd name="T3" fmla="*/ 5 h 8"/>
                <a:gd name="T4" fmla="*/ 8 w 8"/>
                <a:gd name="T5" fmla="*/ 8 h 8"/>
                <a:gd name="T6" fmla="*/ 7 w 8"/>
                <a:gd name="T7" fmla="*/ 5 h 8"/>
                <a:gd name="T8" fmla="*/ 4 w 8"/>
                <a:gd name="T9" fmla="*/ 1 h 8"/>
                <a:gd name="T10" fmla="*/ 2 w 8"/>
                <a:gd name="T11" fmla="*/ 0 h 8"/>
              </a:gdLst>
              <a:cxnLst>
                <a:cxn ang="0">
                  <a:pos x="T0" y="T1"/>
                </a:cxn>
                <a:cxn ang="0">
                  <a:pos x="T2" y="T3"/>
                </a:cxn>
                <a:cxn ang="0">
                  <a:pos x="T4" y="T5"/>
                </a:cxn>
                <a:cxn ang="0">
                  <a:pos x="T6" y="T7"/>
                </a:cxn>
                <a:cxn ang="0">
                  <a:pos x="T8" y="T9"/>
                </a:cxn>
                <a:cxn ang="0">
                  <a:pos x="T10" y="T11"/>
                </a:cxn>
              </a:cxnLst>
              <a:rect l="0" t="0" r="r" b="b"/>
              <a:pathLst>
                <a:path w="8" h="8">
                  <a:moveTo>
                    <a:pt x="2" y="0"/>
                  </a:moveTo>
                  <a:cubicBezTo>
                    <a:pt x="0" y="0"/>
                    <a:pt x="0" y="3"/>
                    <a:pt x="0" y="5"/>
                  </a:cubicBezTo>
                  <a:cubicBezTo>
                    <a:pt x="3" y="6"/>
                    <a:pt x="6" y="7"/>
                    <a:pt x="8" y="8"/>
                  </a:cubicBezTo>
                  <a:cubicBezTo>
                    <a:pt x="8" y="7"/>
                    <a:pt x="7" y="6"/>
                    <a:pt x="7" y="5"/>
                  </a:cubicBezTo>
                  <a:cubicBezTo>
                    <a:pt x="7" y="4"/>
                    <a:pt x="5" y="1"/>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135"/>
            <p:cNvSpPr/>
            <p:nvPr/>
          </p:nvSpPr>
          <p:spPr bwMode="auto">
            <a:xfrm>
              <a:off x="8064753" y="6436506"/>
              <a:ext cx="9396" cy="6712"/>
            </a:xfrm>
            <a:custGeom>
              <a:gdLst>
                <a:gd name="T0" fmla="*/ 1 w 3"/>
                <a:gd name="T1" fmla="*/ 0 h 2"/>
                <a:gd name="T2" fmla="*/ 3 w 3"/>
                <a:gd name="T3" fmla="*/ 2 h 2"/>
                <a:gd name="T4" fmla="*/ 1 w 3"/>
                <a:gd name="T5" fmla="*/ 0 h 2"/>
              </a:gdLst>
              <a:cxnLst>
                <a:cxn ang="0">
                  <a:pos x="T0" y="T1"/>
                </a:cxn>
                <a:cxn ang="0">
                  <a:pos x="T2" y="T3"/>
                </a:cxn>
                <a:cxn ang="0">
                  <a:pos x="T4" y="T5"/>
                </a:cxn>
              </a:cxnLst>
              <a:rect l="0" t="0" r="r" b="b"/>
              <a:pathLst>
                <a:path w="3" h="2">
                  <a:moveTo>
                    <a:pt x="1" y="0"/>
                  </a:moveTo>
                  <a:cubicBezTo>
                    <a:pt x="0" y="1"/>
                    <a:pt x="2" y="2"/>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136"/>
            <p:cNvSpPr/>
            <p:nvPr/>
          </p:nvSpPr>
          <p:spPr bwMode="auto">
            <a:xfrm>
              <a:off x="8027167" y="6373416"/>
              <a:ext cx="25504" cy="21477"/>
            </a:xfrm>
            <a:custGeom>
              <a:gdLst>
                <a:gd name="T0" fmla="*/ 1 w 8"/>
                <a:gd name="T1" fmla="*/ 0 h 7"/>
                <a:gd name="T2" fmla="*/ 1 w 8"/>
                <a:gd name="T3" fmla="*/ 4 h 7"/>
                <a:gd name="T4" fmla="*/ 5 w 8"/>
                <a:gd name="T5" fmla="*/ 7 h 7"/>
                <a:gd name="T6" fmla="*/ 1 w 8"/>
                <a:gd name="T7" fmla="*/ 0 h 7"/>
              </a:gdLst>
              <a:cxnLst>
                <a:cxn ang="0">
                  <a:pos x="T0" y="T1"/>
                </a:cxn>
                <a:cxn ang="0">
                  <a:pos x="T2" y="T3"/>
                </a:cxn>
                <a:cxn ang="0">
                  <a:pos x="T4" y="T5"/>
                </a:cxn>
                <a:cxn ang="0">
                  <a:pos x="T6" y="T7"/>
                </a:cxn>
              </a:cxnLst>
              <a:rect l="0" t="0" r="r" b="b"/>
              <a:pathLst>
                <a:path w="8" h="7">
                  <a:moveTo>
                    <a:pt x="1" y="0"/>
                  </a:moveTo>
                  <a:cubicBezTo>
                    <a:pt x="1" y="2"/>
                    <a:pt x="0" y="2"/>
                    <a:pt x="1" y="4"/>
                  </a:cubicBezTo>
                  <a:cubicBezTo>
                    <a:pt x="1" y="6"/>
                    <a:pt x="4" y="7"/>
                    <a:pt x="5" y="7"/>
                  </a:cubicBezTo>
                  <a:cubicBezTo>
                    <a:pt x="8" y="3"/>
                    <a:pt x="5"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137"/>
            <p:cNvSpPr/>
            <p:nvPr/>
          </p:nvSpPr>
          <p:spPr bwMode="auto">
            <a:xfrm>
              <a:off x="7947969" y="6232471"/>
              <a:ext cx="34901" cy="22820"/>
            </a:xfrm>
            <a:custGeom>
              <a:gdLst>
                <a:gd name="T0" fmla="*/ 6 w 11"/>
                <a:gd name="T1" fmla="*/ 0 h 7"/>
                <a:gd name="T2" fmla="*/ 1 w 11"/>
                <a:gd name="T3" fmla="*/ 5 h 7"/>
                <a:gd name="T4" fmla="*/ 3 w 11"/>
                <a:gd name="T5" fmla="*/ 4 h 7"/>
                <a:gd name="T6" fmla="*/ 3 w 11"/>
                <a:gd name="T7" fmla="*/ 6 h 7"/>
                <a:gd name="T8" fmla="*/ 4 w 11"/>
                <a:gd name="T9" fmla="*/ 6 h 7"/>
                <a:gd name="T10" fmla="*/ 6 w 11"/>
                <a:gd name="T11" fmla="*/ 7 h 7"/>
                <a:gd name="T12" fmla="*/ 11 w 11"/>
                <a:gd name="T13" fmla="*/ 4 h 7"/>
                <a:gd name="T14" fmla="*/ 7 w 11"/>
                <a:gd name="T15" fmla="*/ 0 h 7"/>
                <a:gd name="T16" fmla="*/ 6 w 11"/>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6" y="0"/>
                  </a:moveTo>
                  <a:cubicBezTo>
                    <a:pt x="3" y="0"/>
                    <a:pt x="0" y="3"/>
                    <a:pt x="1" y="5"/>
                  </a:cubicBezTo>
                  <a:cubicBezTo>
                    <a:pt x="1" y="4"/>
                    <a:pt x="2" y="4"/>
                    <a:pt x="3" y="4"/>
                  </a:cubicBezTo>
                  <a:cubicBezTo>
                    <a:pt x="3" y="4"/>
                    <a:pt x="4" y="5"/>
                    <a:pt x="3" y="6"/>
                  </a:cubicBezTo>
                  <a:cubicBezTo>
                    <a:pt x="3" y="6"/>
                    <a:pt x="3" y="6"/>
                    <a:pt x="4" y="6"/>
                  </a:cubicBezTo>
                  <a:cubicBezTo>
                    <a:pt x="5" y="6"/>
                    <a:pt x="5" y="6"/>
                    <a:pt x="6" y="7"/>
                  </a:cubicBezTo>
                  <a:cubicBezTo>
                    <a:pt x="7" y="6"/>
                    <a:pt x="9" y="5"/>
                    <a:pt x="11" y="4"/>
                  </a:cubicBezTo>
                  <a:cubicBezTo>
                    <a:pt x="9" y="3"/>
                    <a:pt x="9" y="1"/>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138"/>
            <p:cNvSpPr/>
            <p:nvPr/>
          </p:nvSpPr>
          <p:spPr bwMode="auto">
            <a:xfrm>
              <a:off x="2845752" y="4443136"/>
              <a:ext cx="2685" cy="6712"/>
            </a:xfrm>
            <a:custGeom>
              <a:gdLst>
                <a:gd name="T0" fmla="*/ 1 w 1"/>
                <a:gd name="T1" fmla="*/ 0 h 2"/>
                <a:gd name="T2" fmla="*/ 0 w 1"/>
                <a:gd name="T3" fmla="*/ 1 h 2"/>
                <a:gd name="T4" fmla="*/ 1 w 1"/>
                <a:gd name="T5" fmla="*/ 2 h 2"/>
                <a:gd name="T6" fmla="*/ 1 w 1"/>
                <a:gd name="T7" fmla="*/ 0 h 2"/>
              </a:gdLst>
              <a:cxnLst>
                <a:cxn ang="0">
                  <a:pos x="T0" y="T1"/>
                </a:cxn>
                <a:cxn ang="0">
                  <a:pos x="T2" y="T3"/>
                </a:cxn>
                <a:cxn ang="0">
                  <a:pos x="T4" y="T5"/>
                </a:cxn>
                <a:cxn ang="0">
                  <a:pos x="T6" y="T7"/>
                </a:cxn>
              </a:cxnLst>
              <a:rect l="0" t="0" r="r" b="b"/>
              <a:pathLst>
                <a:path w="1" h="2">
                  <a:moveTo>
                    <a:pt x="1" y="0"/>
                  </a:moveTo>
                  <a:cubicBezTo>
                    <a:pt x="1" y="0"/>
                    <a:pt x="1" y="1"/>
                    <a:pt x="0" y="1"/>
                  </a:cubicBezTo>
                  <a:cubicBezTo>
                    <a:pt x="1" y="2"/>
                    <a:pt x="1" y="2"/>
                    <a:pt x="1" y="2"/>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139"/>
            <p:cNvSpPr/>
            <p:nvPr/>
          </p:nvSpPr>
          <p:spPr bwMode="auto">
            <a:xfrm>
              <a:off x="4253862" y="4573343"/>
              <a:ext cx="6712" cy="2685"/>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1" y="0"/>
                    <a:pt x="1" y="1"/>
                    <a:pt x="2" y="1"/>
                  </a:cubicBezTo>
                  <a:cubicBezTo>
                    <a:pt x="2" y="1"/>
                    <a:pt x="2"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140"/>
            <p:cNvSpPr/>
            <p:nvPr/>
          </p:nvSpPr>
          <p:spPr bwMode="auto">
            <a:xfrm>
              <a:off x="3994791" y="4506226"/>
              <a:ext cx="5369"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0" y="3"/>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141"/>
            <p:cNvSpPr/>
            <p:nvPr/>
          </p:nvSpPr>
          <p:spPr bwMode="auto">
            <a:xfrm>
              <a:off x="2836355" y="4427028"/>
              <a:ext cx="18793" cy="13423"/>
            </a:xfrm>
            <a:custGeom>
              <a:gdLst>
                <a:gd name="T0" fmla="*/ 4 w 6"/>
                <a:gd name="T1" fmla="*/ 0 h 4"/>
                <a:gd name="T2" fmla="*/ 1 w 6"/>
                <a:gd name="T3" fmla="*/ 1 h 4"/>
                <a:gd name="T4" fmla="*/ 0 w 6"/>
                <a:gd name="T5" fmla="*/ 1 h 4"/>
                <a:gd name="T6" fmla="*/ 3 w 6"/>
                <a:gd name="T7" fmla="*/ 4 h 4"/>
                <a:gd name="T8" fmla="*/ 4 w 6"/>
                <a:gd name="T9" fmla="*/ 0 h 4"/>
              </a:gdLst>
              <a:cxnLst>
                <a:cxn ang="0">
                  <a:pos x="T0" y="T1"/>
                </a:cxn>
                <a:cxn ang="0">
                  <a:pos x="T2" y="T3"/>
                </a:cxn>
                <a:cxn ang="0">
                  <a:pos x="T4" y="T5"/>
                </a:cxn>
                <a:cxn ang="0">
                  <a:pos x="T6" y="T7"/>
                </a:cxn>
                <a:cxn ang="0">
                  <a:pos x="T8" y="T9"/>
                </a:cxn>
              </a:cxnLst>
              <a:rect l="0" t="0" r="r" b="b"/>
              <a:pathLst>
                <a:path w="6" h="4">
                  <a:moveTo>
                    <a:pt x="4" y="0"/>
                  </a:moveTo>
                  <a:cubicBezTo>
                    <a:pt x="3" y="1"/>
                    <a:pt x="2" y="1"/>
                    <a:pt x="1" y="1"/>
                  </a:cubicBezTo>
                  <a:cubicBezTo>
                    <a:pt x="1" y="1"/>
                    <a:pt x="0" y="1"/>
                    <a:pt x="0" y="1"/>
                  </a:cubicBezTo>
                  <a:cubicBezTo>
                    <a:pt x="0" y="3"/>
                    <a:pt x="2" y="4"/>
                    <a:pt x="3" y="4"/>
                  </a:cubicBezTo>
                  <a:cubicBezTo>
                    <a:pt x="5"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1142"/>
            <p:cNvSpPr/>
            <p:nvPr/>
          </p:nvSpPr>
          <p:spPr bwMode="auto">
            <a:xfrm>
              <a:off x="4155871" y="4408235"/>
              <a:ext cx="13423" cy="6712"/>
            </a:xfrm>
            <a:custGeom>
              <a:gdLst>
                <a:gd name="T0" fmla="*/ 3 w 4"/>
                <a:gd name="T1" fmla="*/ 0 h 2"/>
                <a:gd name="T2" fmla="*/ 0 w 4"/>
                <a:gd name="T3" fmla="*/ 1 h 2"/>
                <a:gd name="T4" fmla="*/ 2 w 4"/>
                <a:gd name="T5" fmla="*/ 2 h 2"/>
                <a:gd name="T6" fmla="*/ 4 w 4"/>
                <a:gd name="T7" fmla="*/ 0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1" y="1"/>
                    <a:pt x="0" y="1"/>
                  </a:cubicBezTo>
                  <a:cubicBezTo>
                    <a:pt x="1" y="1"/>
                    <a:pt x="1" y="2"/>
                    <a:pt x="2" y="2"/>
                  </a:cubicBezTo>
                  <a:cubicBezTo>
                    <a:pt x="3" y="2"/>
                    <a:pt x="4" y="1"/>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143"/>
            <p:cNvSpPr/>
            <p:nvPr/>
          </p:nvSpPr>
          <p:spPr bwMode="auto">
            <a:xfrm>
              <a:off x="4134394" y="4361253"/>
              <a:ext cx="18793" cy="18793"/>
            </a:xfrm>
            <a:custGeom>
              <a:gdLst>
                <a:gd name="T0" fmla="*/ 5 w 6"/>
                <a:gd name="T1" fmla="*/ 0 h 6"/>
                <a:gd name="T2" fmla="*/ 1 w 6"/>
                <a:gd name="T3" fmla="*/ 1 h 6"/>
                <a:gd name="T4" fmla="*/ 0 w 6"/>
                <a:gd name="T5" fmla="*/ 6 h 6"/>
                <a:gd name="T6" fmla="*/ 5 w 6"/>
                <a:gd name="T7" fmla="*/ 3 h 6"/>
                <a:gd name="T8" fmla="*/ 5 w 6"/>
                <a:gd name="T9" fmla="*/ 0 h 6"/>
              </a:gdLst>
              <a:cxnLst>
                <a:cxn ang="0">
                  <a:pos x="T0" y="T1"/>
                </a:cxn>
                <a:cxn ang="0">
                  <a:pos x="T2" y="T3"/>
                </a:cxn>
                <a:cxn ang="0">
                  <a:pos x="T4" y="T5"/>
                </a:cxn>
                <a:cxn ang="0">
                  <a:pos x="T6" y="T7"/>
                </a:cxn>
                <a:cxn ang="0">
                  <a:pos x="T8" y="T9"/>
                </a:cxn>
              </a:cxnLst>
              <a:rect l="0" t="0" r="r" b="b"/>
              <a:pathLst>
                <a:path w="6" h="6">
                  <a:moveTo>
                    <a:pt x="5" y="0"/>
                  </a:moveTo>
                  <a:cubicBezTo>
                    <a:pt x="4" y="0"/>
                    <a:pt x="3" y="1"/>
                    <a:pt x="1" y="1"/>
                  </a:cubicBezTo>
                  <a:cubicBezTo>
                    <a:pt x="0" y="3"/>
                    <a:pt x="0" y="4"/>
                    <a:pt x="0" y="6"/>
                  </a:cubicBezTo>
                  <a:cubicBezTo>
                    <a:pt x="1" y="5"/>
                    <a:pt x="5" y="4"/>
                    <a:pt x="5" y="3"/>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1144"/>
            <p:cNvSpPr/>
            <p:nvPr/>
          </p:nvSpPr>
          <p:spPr bwMode="auto">
            <a:xfrm>
              <a:off x="3166570" y="4696838"/>
              <a:ext cx="5369" cy="9396"/>
            </a:xfrm>
            <a:custGeom>
              <a:gdLst>
                <a:gd name="T0" fmla="*/ 2 w 2"/>
                <a:gd name="T1" fmla="*/ 0 h 3"/>
                <a:gd name="T2" fmla="*/ 2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2"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1145"/>
            <p:cNvSpPr/>
            <p:nvPr/>
          </p:nvSpPr>
          <p:spPr bwMode="auto">
            <a:xfrm>
              <a:off x="3706189" y="4703549"/>
              <a:ext cx="9396" cy="28189"/>
            </a:xfrm>
            <a:custGeom>
              <a:gdLst>
                <a:gd name="T0" fmla="*/ 1 w 3"/>
                <a:gd name="T1" fmla="*/ 0 h 9"/>
                <a:gd name="T2" fmla="*/ 0 w 3"/>
                <a:gd name="T3" fmla="*/ 6 h 9"/>
                <a:gd name="T4" fmla="*/ 2 w 3"/>
                <a:gd name="T5" fmla="*/ 9 h 9"/>
                <a:gd name="T6" fmla="*/ 1 w 3"/>
                <a:gd name="T7" fmla="*/ 0 h 9"/>
              </a:gdLst>
              <a:cxnLst>
                <a:cxn ang="0">
                  <a:pos x="T0" y="T1"/>
                </a:cxn>
                <a:cxn ang="0">
                  <a:pos x="T2" y="T3"/>
                </a:cxn>
                <a:cxn ang="0">
                  <a:pos x="T4" y="T5"/>
                </a:cxn>
                <a:cxn ang="0">
                  <a:pos x="T6" y="T7"/>
                </a:cxn>
              </a:cxnLst>
              <a:rect l="0" t="0" r="r" b="b"/>
              <a:pathLst>
                <a:path w="3" h="9">
                  <a:moveTo>
                    <a:pt x="1" y="0"/>
                  </a:moveTo>
                  <a:cubicBezTo>
                    <a:pt x="0" y="2"/>
                    <a:pt x="0" y="4"/>
                    <a:pt x="0" y="6"/>
                  </a:cubicBezTo>
                  <a:cubicBezTo>
                    <a:pt x="1" y="8"/>
                    <a:pt x="1" y="9"/>
                    <a:pt x="2" y="9"/>
                  </a:cubicBezTo>
                  <a:cubicBezTo>
                    <a:pt x="3" y="9"/>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1146"/>
            <p:cNvSpPr/>
            <p:nvPr/>
          </p:nvSpPr>
          <p:spPr bwMode="auto">
            <a:xfrm>
              <a:off x="4235069" y="4561262"/>
              <a:ext cx="13423" cy="5369"/>
            </a:xfrm>
            <a:custGeom>
              <a:gdLst>
                <a:gd name="T0" fmla="*/ 0 w 4"/>
                <a:gd name="T1" fmla="*/ 0 h 2"/>
                <a:gd name="T2" fmla="*/ 3 w 4"/>
                <a:gd name="T3" fmla="*/ 2 h 2"/>
                <a:gd name="T4" fmla="*/ 4 w 4"/>
                <a:gd name="T5" fmla="*/ 1 h 2"/>
                <a:gd name="T6" fmla="*/ 0 w 4"/>
                <a:gd name="T7" fmla="*/ 0 h 2"/>
              </a:gdLst>
              <a:cxnLst>
                <a:cxn ang="0">
                  <a:pos x="T0" y="T1"/>
                </a:cxn>
                <a:cxn ang="0">
                  <a:pos x="T2" y="T3"/>
                </a:cxn>
                <a:cxn ang="0">
                  <a:pos x="T4" y="T5"/>
                </a:cxn>
                <a:cxn ang="0">
                  <a:pos x="T6" y="T7"/>
                </a:cxn>
              </a:cxnLst>
              <a:rect l="0" t="0" r="r" b="b"/>
              <a:pathLst>
                <a:path w="4" h="2">
                  <a:moveTo>
                    <a:pt x="0" y="0"/>
                  </a:moveTo>
                  <a:cubicBezTo>
                    <a:pt x="1" y="1"/>
                    <a:pt x="2" y="2"/>
                    <a:pt x="3" y="2"/>
                  </a:cubicBezTo>
                  <a:cubicBezTo>
                    <a:pt x="4" y="2"/>
                    <a:pt x="4" y="1"/>
                    <a:pt x="4" y="1"/>
                  </a:cubicBezTo>
                  <a:cubicBezTo>
                    <a:pt x="3"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1147"/>
            <p:cNvSpPr/>
            <p:nvPr/>
          </p:nvSpPr>
          <p:spPr bwMode="auto">
            <a:xfrm>
              <a:off x="123495" y="6397579"/>
              <a:ext cx="12081" cy="6712"/>
            </a:xfrm>
            <a:custGeom>
              <a:gdLst>
                <a:gd name="T0" fmla="*/ 4 w 4"/>
                <a:gd name="T1" fmla="*/ 0 h 2"/>
                <a:gd name="T2" fmla="*/ 0 w 4"/>
                <a:gd name="T3" fmla="*/ 2 h 2"/>
                <a:gd name="T4" fmla="*/ 1 w 4"/>
                <a:gd name="T5" fmla="*/ 2 h 2"/>
                <a:gd name="T6" fmla="*/ 4 w 4"/>
                <a:gd name="T7" fmla="*/ 0 h 2"/>
              </a:gdLst>
              <a:cxnLst>
                <a:cxn ang="0">
                  <a:pos x="T0" y="T1"/>
                </a:cxn>
                <a:cxn ang="0">
                  <a:pos x="T2" y="T3"/>
                </a:cxn>
                <a:cxn ang="0">
                  <a:pos x="T4" y="T5"/>
                </a:cxn>
                <a:cxn ang="0">
                  <a:pos x="T6" y="T7"/>
                </a:cxn>
              </a:cxnLst>
              <a:rect l="0" t="0" r="r" b="b"/>
              <a:pathLst>
                <a:path w="4" h="2">
                  <a:moveTo>
                    <a:pt x="4" y="0"/>
                  </a:moveTo>
                  <a:cubicBezTo>
                    <a:pt x="2" y="0"/>
                    <a:pt x="1" y="1"/>
                    <a:pt x="0" y="2"/>
                  </a:cubicBezTo>
                  <a:cubicBezTo>
                    <a:pt x="1" y="2"/>
                    <a:pt x="1" y="2"/>
                    <a:pt x="1" y="2"/>
                  </a:cubicBezTo>
                  <a:cubicBezTo>
                    <a:pt x="2" y="2"/>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1148"/>
            <p:cNvSpPr/>
            <p:nvPr/>
          </p:nvSpPr>
          <p:spPr bwMode="auto">
            <a:xfrm>
              <a:off x="4986777" y="2190695"/>
              <a:ext cx="20135" cy="18793"/>
            </a:xfrm>
            <a:custGeom>
              <a:gdLst>
                <a:gd name="T0" fmla="*/ 5 w 6"/>
                <a:gd name="T1" fmla="*/ 0 h 6"/>
                <a:gd name="T2" fmla="*/ 1 w 6"/>
                <a:gd name="T3" fmla="*/ 1 h 6"/>
                <a:gd name="T4" fmla="*/ 3 w 6"/>
                <a:gd name="T5" fmla="*/ 5 h 6"/>
                <a:gd name="T6" fmla="*/ 3 w 6"/>
                <a:gd name="T7" fmla="*/ 6 h 6"/>
                <a:gd name="T8" fmla="*/ 6 w 6"/>
                <a:gd name="T9" fmla="*/ 0 h 6"/>
                <a:gd name="T10" fmla="*/ 5 w 6"/>
                <a:gd name="T11" fmla="*/ 0 h 6"/>
              </a:gdLst>
              <a:cxnLst>
                <a:cxn ang="0">
                  <a:pos x="T0" y="T1"/>
                </a:cxn>
                <a:cxn ang="0">
                  <a:pos x="T2" y="T3"/>
                </a:cxn>
                <a:cxn ang="0">
                  <a:pos x="T4" y="T5"/>
                </a:cxn>
                <a:cxn ang="0">
                  <a:pos x="T6" y="T7"/>
                </a:cxn>
                <a:cxn ang="0">
                  <a:pos x="T8" y="T9"/>
                </a:cxn>
                <a:cxn ang="0">
                  <a:pos x="T10" y="T11"/>
                </a:cxn>
              </a:cxnLst>
              <a:rect l="0" t="0" r="r" b="b"/>
              <a:pathLst>
                <a:path w="6" h="6">
                  <a:moveTo>
                    <a:pt x="5" y="0"/>
                  </a:moveTo>
                  <a:cubicBezTo>
                    <a:pt x="4" y="0"/>
                    <a:pt x="1" y="1"/>
                    <a:pt x="1" y="1"/>
                  </a:cubicBezTo>
                  <a:cubicBezTo>
                    <a:pt x="1" y="3"/>
                    <a:pt x="0" y="5"/>
                    <a:pt x="3" y="5"/>
                  </a:cubicBezTo>
                  <a:cubicBezTo>
                    <a:pt x="3" y="6"/>
                    <a:pt x="3" y="6"/>
                    <a:pt x="3" y="6"/>
                  </a:cubicBezTo>
                  <a:cubicBezTo>
                    <a:pt x="4" y="4"/>
                    <a:pt x="5" y="2"/>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149"/>
            <p:cNvSpPr/>
            <p:nvPr/>
          </p:nvSpPr>
          <p:spPr bwMode="auto">
            <a:xfrm>
              <a:off x="5037786" y="2244388"/>
              <a:ext cx="13423" cy="16108"/>
            </a:xfrm>
            <a:custGeom>
              <a:gdLst>
                <a:gd name="T0" fmla="*/ 1 w 4"/>
                <a:gd name="T1" fmla="*/ 0 h 5"/>
                <a:gd name="T2" fmla="*/ 0 w 4"/>
                <a:gd name="T3" fmla="*/ 5 h 5"/>
                <a:gd name="T4" fmla="*/ 4 w 4"/>
                <a:gd name="T5" fmla="*/ 2 h 5"/>
                <a:gd name="T6" fmla="*/ 1 w 4"/>
                <a:gd name="T7" fmla="*/ 0 h 5"/>
              </a:gdLst>
              <a:cxnLst>
                <a:cxn ang="0">
                  <a:pos x="T0" y="T1"/>
                </a:cxn>
                <a:cxn ang="0">
                  <a:pos x="T2" y="T3"/>
                </a:cxn>
                <a:cxn ang="0">
                  <a:pos x="T4" y="T5"/>
                </a:cxn>
                <a:cxn ang="0">
                  <a:pos x="T6" y="T7"/>
                </a:cxn>
              </a:cxnLst>
              <a:rect l="0" t="0" r="r" b="b"/>
              <a:pathLst>
                <a:path w="4" h="5">
                  <a:moveTo>
                    <a:pt x="1" y="0"/>
                  </a:moveTo>
                  <a:cubicBezTo>
                    <a:pt x="1" y="1"/>
                    <a:pt x="0" y="3"/>
                    <a:pt x="0" y="5"/>
                  </a:cubicBezTo>
                  <a:cubicBezTo>
                    <a:pt x="2" y="4"/>
                    <a:pt x="3" y="3"/>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1150"/>
            <p:cNvSpPr/>
            <p:nvPr/>
          </p:nvSpPr>
          <p:spPr bwMode="auto">
            <a:xfrm>
              <a:off x="5044497" y="2212172"/>
              <a:ext cx="16108" cy="28189"/>
            </a:xfrm>
            <a:custGeom>
              <a:gdLst>
                <a:gd name="T0" fmla="*/ 5 w 5"/>
                <a:gd name="T1" fmla="*/ 0 h 9"/>
                <a:gd name="T2" fmla="*/ 2 w 5"/>
                <a:gd name="T3" fmla="*/ 2 h 9"/>
                <a:gd name="T4" fmla="*/ 1 w 5"/>
                <a:gd name="T5" fmla="*/ 5 h 9"/>
                <a:gd name="T6" fmla="*/ 0 w 5"/>
                <a:gd name="T7" fmla="*/ 9 h 9"/>
                <a:gd name="T8" fmla="*/ 2 w 5"/>
                <a:gd name="T9" fmla="*/ 9 h 9"/>
                <a:gd name="T10" fmla="*/ 5 w 5"/>
                <a:gd name="T11" fmla="*/ 0 h 9"/>
              </a:gdLst>
              <a:cxnLst>
                <a:cxn ang="0">
                  <a:pos x="T0" y="T1"/>
                </a:cxn>
                <a:cxn ang="0">
                  <a:pos x="T2" y="T3"/>
                </a:cxn>
                <a:cxn ang="0">
                  <a:pos x="T4" y="T5"/>
                </a:cxn>
                <a:cxn ang="0">
                  <a:pos x="T6" y="T7"/>
                </a:cxn>
                <a:cxn ang="0">
                  <a:pos x="T8" y="T9"/>
                </a:cxn>
                <a:cxn ang="0">
                  <a:pos x="T10" y="T11"/>
                </a:cxn>
              </a:cxnLst>
              <a:rect l="0" t="0" r="r" b="b"/>
              <a:pathLst>
                <a:path w="5" h="9">
                  <a:moveTo>
                    <a:pt x="5" y="0"/>
                  </a:moveTo>
                  <a:cubicBezTo>
                    <a:pt x="4" y="1"/>
                    <a:pt x="2" y="1"/>
                    <a:pt x="2" y="2"/>
                  </a:cubicBezTo>
                  <a:cubicBezTo>
                    <a:pt x="1" y="3"/>
                    <a:pt x="1" y="4"/>
                    <a:pt x="1" y="5"/>
                  </a:cubicBezTo>
                  <a:cubicBezTo>
                    <a:pt x="1" y="6"/>
                    <a:pt x="1" y="8"/>
                    <a:pt x="0" y="9"/>
                  </a:cubicBezTo>
                  <a:cubicBezTo>
                    <a:pt x="1" y="9"/>
                    <a:pt x="2" y="9"/>
                    <a:pt x="2" y="9"/>
                  </a:cubicBezTo>
                  <a:cubicBezTo>
                    <a:pt x="3" y="6"/>
                    <a:pt x="4"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1151"/>
            <p:cNvSpPr/>
            <p:nvPr/>
          </p:nvSpPr>
          <p:spPr bwMode="auto">
            <a:xfrm>
              <a:off x="4809589" y="2221568"/>
              <a:ext cx="22820" cy="13423"/>
            </a:xfrm>
            <a:custGeom>
              <a:gdLst>
                <a:gd name="T0" fmla="*/ 4 w 7"/>
                <a:gd name="T1" fmla="*/ 0 h 4"/>
                <a:gd name="T2" fmla="*/ 2 w 7"/>
                <a:gd name="T3" fmla="*/ 2 h 4"/>
                <a:gd name="T4" fmla="*/ 0 w 7"/>
                <a:gd name="T5" fmla="*/ 4 h 4"/>
                <a:gd name="T6" fmla="*/ 7 w 7"/>
                <a:gd name="T7" fmla="*/ 2 h 4"/>
                <a:gd name="T8" fmla="*/ 4 w 7"/>
                <a:gd name="T9" fmla="*/ 0 h 4"/>
              </a:gdLst>
              <a:cxnLst>
                <a:cxn ang="0">
                  <a:pos x="T0" y="T1"/>
                </a:cxn>
                <a:cxn ang="0">
                  <a:pos x="T2" y="T3"/>
                </a:cxn>
                <a:cxn ang="0">
                  <a:pos x="T4" y="T5"/>
                </a:cxn>
                <a:cxn ang="0">
                  <a:pos x="T6" y="T7"/>
                </a:cxn>
                <a:cxn ang="0">
                  <a:pos x="T8" y="T9"/>
                </a:cxn>
              </a:cxnLst>
              <a:rect l="0" t="0" r="r" b="b"/>
              <a:pathLst>
                <a:path w="7" h="4">
                  <a:moveTo>
                    <a:pt x="4" y="0"/>
                  </a:moveTo>
                  <a:cubicBezTo>
                    <a:pt x="3" y="0"/>
                    <a:pt x="3" y="1"/>
                    <a:pt x="2" y="2"/>
                  </a:cubicBezTo>
                  <a:cubicBezTo>
                    <a:pt x="1" y="3"/>
                    <a:pt x="1" y="4"/>
                    <a:pt x="0" y="4"/>
                  </a:cubicBezTo>
                  <a:cubicBezTo>
                    <a:pt x="2" y="4"/>
                    <a:pt x="4" y="3"/>
                    <a:pt x="7" y="2"/>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1152"/>
            <p:cNvSpPr/>
            <p:nvPr/>
          </p:nvSpPr>
          <p:spPr bwMode="auto">
            <a:xfrm>
              <a:off x="4937111" y="2193379"/>
              <a:ext cx="18793" cy="18793"/>
            </a:xfrm>
            <a:custGeom>
              <a:gdLst>
                <a:gd name="T0" fmla="*/ 3 w 6"/>
                <a:gd name="T1" fmla="*/ 0 h 6"/>
                <a:gd name="T2" fmla="*/ 1 w 6"/>
                <a:gd name="T3" fmla="*/ 4 h 6"/>
                <a:gd name="T4" fmla="*/ 6 w 6"/>
                <a:gd name="T5" fmla="*/ 6 h 6"/>
                <a:gd name="T6" fmla="*/ 3 w 6"/>
                <a:gd name="T7" fmla="*/ 0 h 6"/>
              </a:gdLst>
              <a:cxnLst>
                <a:cxn ang="0">
                  <a:pos x="T0" y="T1"/>
                </a:cxn>
                <a:cxn ang="0">
                  <a:pos x="T2" y="T3"/>
                </a:cxn>
                <a:cxn ang="0">
                  <a:pos x="T4" y="T5"/>
                </a:cxn>
                <a:cxn ang="0">
                  <a:pos x="T6" y="T7"/>
                </a:cxn>
              </a:cxnLst>
              <a:rect l="0" t="0" r="r" b="b"/>
              <a:pathLst>
                <a:path w="6" h="6">
                  <a:moveTo>
                    <a:pt x="3" y="0"/>
                  </a:moveTo>
                  <a:cubicBezTo>
                    <a:pt x="0" y="0"/>
                    <a:pt x="0" y="2"/>
                    <a:pt x="1" y="4"/>
                  </a:cubicBezTo>
                  <a:cubicBezTo>
                    <a:pt x="2" y="6"/>
                    <a:pt x="4" y="5"/>
                    <a:pt x="6" y="6"/>
                  </a:cubicBezTo>
                  <a:cubicBezTo>
                    <a:pt x="5" y="4"/>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1153"/>
            <p:cNvSpPr/>
            <p:nvPr/>
          </p:nvSpPr>
          <p:spPr bwMode="auto">
            <a:xfrm>
              <a:off x="4812273" y="2310163"/>
              <a:ext cx="60405" cy="25504"/>
            </a:xfrm>
            <a:custGeom>
              <a:gdLst>
                <a:gd name="T0" fmla="*/ 8 w 19"/>
                <a:gd name="T1" fmla="*/ 0 h 8"/>
                <a:gd name="T2" fmla="*/ 0 w 19"/>
                <a:gd name="T3" fmla="*/ 6 h 8"/>
                <a:gd name="T4" fmla="*/ 5 w 19"/>
                <a:gd name="T5" fmla="*/ 8 h 8"/>
                <a:gd name="T6" fmla="*/ 19 w 19"/>
                <a:gd name="T7" fmla="*/ 1 h 8"/>
                <a:gd name="T8" fmla="*/ 8 w 19"/>
                <a:gd name="T9" fmla="*/ 0 h 8"/>
              </a:gdLst>
              <a:cxnLst>
                <a:cxn ang="0">
                  <a:pos x="T0" y="T1"/>
                </a:cxn>
                <a:cxn ang="0">
                  <a:pos x="T2" y="T3"/>
                </a:cxn>
                <a:cxn ang="0">
                  <a:pos x="T4" y="T5"/>
                </a:cxn>
                <a:cxn ang="0">
                  <a:pos x="T6" y="T7"/>
                </a:cxn>
                <a:cxn ang="0">
                  <a:pos x="T8" y="T9"/>
                </a:cxn>
              </a:cxnLst>
              <a:rect l="0" t="0" r="r" b="b"/>
              <a:pathLst>
                <a:path w="19" h="8">
                  <a:moveTo>
                    <a:pt x="8" y="0"/>
                  </a:moveTo>
                  <a:cubicBezTo>
                    <a:pt x="6" y="2"/>
                    <a:pt x="3" y="4"/>
                    <a:pt x="0" y="6"/>
                  </a:cubicBezTo>
                  <a:cubicBezTo>
                    <a:pt x="2" y="8"/>
                    <a:pt x="4" y="8"/>
                    <a:pt x="5" y="8"/>
                  </a:cubicBezTo>
                  <a:cubicBezTo>
                    <a:pt x="10" y="8"/>
                    <a:pt x="15" y="4"/>
                    <a:pt x="19" y="1"/>
                  </a:cubicBezTo>
                  <a:cubicBezTo>
                    <a:pt x="15" y="1"/>
                    <a:pt x="12"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1154"/>
            <p:cNvSpPr/>
            <p:nvPr/>
          </p:nvSpPr>
          <p:spPr bwMode="auto">
            <a:xfrm>
              <a:off x="5802917" y="2205460"/>
              <a:ext cx="2685" cy="6712"/>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1"/>
                    <a:pt x="0" y="2"/>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1155"/>
            <p:cNvSpPr/>
            <p:nvPr/>
          </p:nvSpPr>
          <p:spPr bwMode="auto">
            <a:xfrm>
              <a:off x="5831106" y="1256428"/>
              <a:ext cx="451025" cy="371827"/>
            </a:xfrm>
            <a:custGeom>
              <a:gdLst>
                <a:gd name="T0" fmla="*/ 46 w 142"/>
                <a:gd name="T1" fmla="*/ 3 h 117"/>
                <a:gd name="T2" fmla="*/ 45 w 142"/>
                <a:gd name="T3" fmla="*/ 2 h 117"/>
                <a:gd name="T4" fmla="*/ 44 w 142"/>
                <a:gd name="T5" fmla="*/ 13 h 117"/>
                <a:gd name="T6" fmla="*/ 44 w 142"/>
                <a:gd name="T7" fmla="*/ 42 h 117"/>
                <a:gd name="T8" fmla="*/ 38 w 142"/>
                <a:gd name="T9" fmla="*/ 59 h 117"/>
                <a:gd name="T10" fmla="*/ 32 w 142"/>
                <a:gd name="T11" fmla="*/ 68 h 117"/>
                <a:gd name="T12" fmla="*/ 27 w 142"/>
                <a:gd name="T13" fmla="*/ 66 h 117"/>
                <a:gd name="T14" fmla="*/ 26 w 142"/>
                <a:gd name="T15" fmla="*/ 67 h 117"/>
                <a:gd name="T16" fmla="*/ 24 w 142"/>
                <a:gd name="T17" fmla="*/ 67 h 117"/>
                <a:gd name="T18" fmla="*/ 15 w 142"/>
                <a:gd name="T19" fmla="*/ 62 h 117"/>
                <a:gd name="T20" fmla="*/ 16 w 142"/>
                <a:gd name="T21" fmla="*/ 70 h 117"/>
                <a:gd name="T22" fmla="*/ 12 w 142"/>
                <a:gd name="T23" fmla="*/ 79 h 117"/>
                <a:gd name="T24" fmla="*/ 10 w 142"/>
                <a:gd name="T25" fmla="*/ 79 h 117"/>
                <a:gd name="T26" fmla="*/ 9 w 142"/>
                <a:gd name="T27" fmla="*/ 79 h 117"/>
                <a:gd name="T28" fmla="*/ 5 w 142"/>
                <a:gd name="T29" fmla="*/ 82 h 117"/>
                <a:gd name="T30" fmla="*/ 4 w 142"/>
                <a:gd name="T31" fmla="*/ 82 h 117"/>
                <a:gd name="T32" fmla="*/ 0 w 142"/>
                <a:gd name="T33" fmla="*/ 91 h 117"/>
                <a:gd name="T34" fmla="*/ 6 w 142"/>
                <a:gd name="T35" fmla="*/ 109 h 117"/>
                <a:gd name="T36" fmla="*/ 10 w 142"/>
                <a:gd name="T37" fmla="*/ 117 h 117"/>
                <a:gd name="T38" fmla="*/ 15 w 142"/>
                <a:gd name="T39" fmla="*/ 112 h 117"/>
                <a:gd name="T40" fmla="*/ 19 w 142"/>
                <a:gd name="T41" fmla="*/ 107 h 117"/>
                <a:gd name="T42" fmla="*/ 21 w 142"/>
                <a:gd name="T43" fmla="*/ 106 h 117"/>
                <a:gd name="T44" fmla="*/ 28 w 142"/>
                <a:gd name="T45" fmla="*/ 109 h 117"/>
                <a:gd name="T46" fmla="*/ 28 w 142"/>
                <a:gd name="T47" fmla="*/ 104 h 117"/>
                <a:gd name="T48" fmla="*/ 20 w 142"/>
                <a:gd name="T49" fmla="*/ 97 h 117"/>
                <a:gd name="T50" fmla="*/ 12 w 142"/>
                <a:gd name="T51" fmla="*/ 90 h 117"/>
                <a:gd name="T52" fmla="*/ 24 w 142"/>
                <a:gd name="T53" fmla="*/ 86 h 117"/>
                <a:gd name="T54" fmla="*/ 27 w 142"/>
                <a:gd name="T55" fmla="*/ 92 h 117"/>
                <a:gd name="T56" fmla="*/ 37 w 142"/>
                <a:gd name="T57" fmla="*/ 86 h 117"/>
                <a:gd name="T58" fmla="*/ 50 w 142"/>
                <a:gd name="T59" fmla="*/ 85 h 117"/>
                <a:gd name="T60" fmla="*/ 61 w 142"/>
                <a:gd name="T61" fmla="*/ 92 h 117"/>
                <a:gd name="T62" fmla="*/ 80 w 142"/>
                <a:gd name="T63" fmla="*/ 102 h 117"/>
                <a:gd name="T64" fmla="*/ 83 w 142"/>
                <a:gd name="T65" fmla="*/ 97 h 117"/>
                <a:gd name="T66" fmla="*/ 90 w 142"/>
                <a:gd name="T67" fmla="*/ 83 h 117"/>
                <a:gd name="T68" fmla="*/ 109 w 142"/>
                <a:gd name="T69" fmla="*/ 74 h 117"/>
                <a:gd name="T70" fmla="*/ 115 w 142"/>
                <a:gd name="T71" fmla="*/ 74 h 117"/>
                <a:gd name="T72" fmla="*/ 118 w 142"/>
                <a:gd name="T73" fmla="*/ 72 h 117"/>
                <a:gd name="T74" fmla="*/ 121 w 142"/>
                <a:gd name="T75" fmla="*/ 73 h 117"/>
                <a:gd name="T76" fmla="*/ 125 w 142"/>
                <a:gd name="T77" fmla="*/ 72 h 117"/>
                <a:gd name="T78" fmla="*/ 135 w 142"/>
                <a:gd name="T79" fmla="*/ 66 h 117"/>
                <a:gd name="T80" fmla="*/ 129 w 142"/>
                <a:gd name="T81" fmla="*/ 60 h 117"/>
                <a:gd name="T82" fmla="*/ 131 w 142"/>
                <a:gd name="T83" fmla="*/ 56 h 117"/>
                <a:gd name="T84" fmla="*/ 125 w 142"/>
                <a:gd name="T85" fmla="*/ 48 h 117"/>
                <a:gd name="T86" fmla="*/ 131 w 142"/>
                <a:gd name="T87" fmla="*/ 34 h 117"/>
                <a:gd name="T88" fmla="*/ 115 w 142"/>
                <a:gd name="T89" fmla="*/ 46 h 117"/>
                <a:gd name="T90" fmla="*/ 105 w 142"/>
                <a:gd name="T91" fmla="*/ 44 h 117"/>
                <a:gd name="T92" fmla="*/ 102 w 142"/>
                <a:gd name="T93" fmla="*/ 41 h 117"/>
                <a:gd name="T94" fmla="*/ 98 w 142"/>
                <a:gd name="T95" fmla="*/ 41 h 117"/>
                <a:gd name="T96" fmla="*/ 76 w 142"/>
                <a:gd name="T97" fmla="*/ 27 h 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17">
                  <a:moveTo>
                    <a:pt x="51" y="0"/>
                  </a:moveTo>
                  <a:cubicBezTo>
                    <a:pt x="50" y="1"/>
                    <a:pt x="48" y="3"/>
                    <a:pt x="46" y="3"/>
                  </a:cubicBezTo>
                  <a:cubicBezTo>
                    <a:pt x="46" y="3"/>
                    <a:pt x="46" y="3"/>
                    <a:pt x="46" y="3"/>
                  </a:cubicBezTo>
                  <a:cubicBezTo>
                    <a:pt x="46" y="3"/>
                    <a:pt x="44" y="3"/>
                    <a:pt x="45" y="2"/>
                  </a:cubicBezTo>
                  <a:cubicBezTo>
                    <a:pt x="44" y="3"/>
                    <a:pt x="44" y="2"/>
                    <a:pt x="44" y="5"/>
                  </a:cubicBezTo>
                  <a:cubicBezTo>
                    <a:pt x="43" y="7"/>
                    <a:pt x="43" y="10"/>
                    <a:pt x="44" y="13"/>
                  </a:cubicBezTo>
                  <a:cubicBezTo>
                    <a:pt x="44" y="15"/>
                    <a:pt x="46" y="17"/>
                    <a:pt x="47" y="19"/>
                  </a:cubicBezTo>
                  <a:cubicBezTo>
                    <a:pt x="49" y="27"/>
                    <a:pt x="45" y="35"/>
                    <a:pt x="44" y="42"/>
                  </a:cubicBezTo>
                  <a:cubicBezTo>
                    <a:pt x="44" y="47"/>
                    <a:pt x="36" y="48"/>
                    <a:pt x="37" y="52"/>
                  </a:cubicBezTo>
                  <a:cubicBezTo>
                    <a:pt x="37" y="55"/>
                    <a:pt x="38" y="57"/>
                    <a:pt x="38" y="59"/>
                  </a:cubicBezTo>
                  <a:cubicBezTo>
                    <a:pt x="38" y="61"/>
                    <a:pt x="40" y="62"/>
                    <a:pt x="38" y="63"/>
                  </a:cubicBezTo>
                  <a:cubicBezTo>
                    <a:pt x="36" y="65"/>
                    <a:pt x="34" y="68"/>
                    <a:pt x="32" y="68"/>
                  </a:cubicBezTo>
                  <a:cubicBezTo>
                    <a:pt x="31" y="68"/>
                    <a:pt x="30" y="68"/>
                    <a:pt x="30" y="68"/>
                  </a:cubicBezTo>
                  <a:cubicBezTo>
                    <a:pt x="28" y="67"/>
                    <a:pt x="29" y="66"/>
                    <a:pt x="27" y="66"/>
                  </a:cubicBezTo>
                  <a:cubicBezTo>
                    <a:pt x="27" y="66"/>
                    <a:pt x="27" y="66"/>
                    <a:pt x="27" y="66"/>
                  </a:cubicBezTo>
                  <a:cubicBezTo>
                    <a:pt x="27" y="66"/>
                    <a:pt x="26" y="66"/>
                    <a:pt x="26" y="67"/>
                  </a:cubicBezTo>
                  <a:cubicBezTo>
                    <a:pt x="25" y="67"/>
                    <a:pt x="25" y="67"/>
                    <a:pt x="24" y="67"/>
                  </a:cubicBezTo>
                  <a:cubicBezTo>
                    <a:pt x="24" y="67"/>
                    <a:pt x="24" y="67"/>
                    <a:pt x="24" y="67"/>
                  </a:cubicBezTo>
                  <a:cubicBezTo>
                    <a:pt x="23" y="66"/>
                    <a:pt x="21" y="65"/>
                    <a:pt x="20" y="64"/>
                  </a:cubicBezTo>
                  <a:cubicBezTo>
                    <a:pt x="19" y="63"/>
                    <a:pt x="17" y="62"/>
                    <a:pt x="15" y="62"/>
                  </a:cubicBezTo>
                  <a:cubicBezTo>
                    <a:pt x="14" y="62"/>
                    <a:pt x="13" y="63"/>
                    <a:pt x="13" y="64"/>
                  </a:cubicBezTo>
                  <a:cubicBezTo>
                    <a:pt x="12" y="66"/>
                    <a:pt x="15" y="68"/>
                    <a:pt x="16" y="70"/>
                  </a:cubicBezTo>
                  <a:cubicBezTo>
                    <a:pt x="18" y="73"/>
                    <a:pt x="17" y="72"/>
                    <a:pt x="14" y="75"/>
                  </a:cubicBezTo>
                  <a:cubicBezTo>
                    <a:pt x="14" y="75"/>
                    <a:pt x="12" y="79"/>
                    <a:pt x="12" y="79"/>
                  </a:cubicBezTo>
                  <a:cubicBezTo>
                    <a:pt x="12" y="79"/>
                    <a:pt x="12" y="79"/>
                    <a:pt x="11" y="79"/>
                  </a:cubicBezTo>
                  <a:cubicBezTo>
                    <a:pt x="11" y="79"/>
                    <a:pt x="11" y="79"/>
                    <a:pt x="10" y="79"/>
                  </a:cubicBezTo>
                  <a:cubicBezTo>
                    <a:pt x="10" y="79"/>
                    <a:pt x="10" y="78"/>
                    <a:pt x="9" y="78"/>
                  </a:cubicBezTo>
                  <a:cubicBezTo>
                    <a:pt x="9" y="78"/>
                    <a:pt x="9" y="78"/>
                    <a:pt x="9" y="79"/>
                  </a:cubicBezTo>
                  <a:cubicBezTo>
                    <a:pt x="8" y="79"/>
                    <a:pt x="7" y="81"/>
                    <a:pt x="6" y="81"/>
                  </a:cubicBezTo>
                  <a:cubicBezTo>
                    <a:pt x="6" y="82"/>
                    <a:pt x="5" y="82"/>
                    <a:pt x="5" y="82"/>
                  </a:cubicBezTo>
                  <a:cubicBezTo>
                    <a:pt x="5" y="82"/>
                    <a:pt x="5" y="82"/>
                    <a:pt x="4" y="82"/>
                  </a:cubicBezTo>
                  <a:cubicBezTo>
                    <a:pt x="4" y="82"/>
                    <a:pt x="4" y="82"/>
                    <a:pt x="4" y="82"/>
                  </a:cubicBezTo>
                  <a:cubicBezTo>
                    <a:pt x="3" y="82"/>
                    <a:pt x="3" y="82"/>
                    <a:pt x="2" y="82"/>
                  </a:cubicBezTo>
                  <a:cubicBezTo>
                    <a:pt x="0" y="83"/>
                    <a:pt x="0" y="89"/>
                    <a:pt x="0" y="91"/>
                  </a:cubicBezTo>
                  <a:cubicBezTo>
                    <a:pt x="0" y="95"/>
                    <a:pt x="3" y="95"/>
                    <a:pt x="5" y="98"/>
                  </a:cubicBezTo>
                  <a:cubicBezTo>
                    <a:pt x="9" y="101"/>
                    <a:pt x="8" y="104"/>
                    <a:pt x="6" y="109"/>
                  </a:cubicBezTo>
                  <a:cubicBezTo>
                    <a:pt x="5" y="110"/>
                    <a:pt x="4" y="112"/>
                    <a:pt x="5" y="113"/>
                  </a:cubicBezTo>
                  <a:cubicBezTo>
                    <a:pt x="5" y="114"/>
                    <a:pt x="8" y="117"/>
                    <a:pt x="10" y="117"/>
                  </a:cubicBezTo>
                  <a:cubicBezTo>
                    <a:pt x="10" y="117"/>
                    <a:pt x="10" y="117"/>
                    <a:pt x="10" y="117"/>
                  </a:cubicBezTo>
                  <a:cubicBezTo>
                    <a:pt x="12" y="115"/>
                    <a:pt x="14" y="114"/>
                    <a:pt x="15" y="112"/>
                  </a:cubicBezTo>
                  <a:cubicBezTo>
                    <a:pt x="16" y="111"/>
                    <a:pt x="15" y="110"/>
                    <a:pt x="16" y="110"/>
                  </a:cubicBezTo>
                  <a:cubicBezTo>
                    <a:pt x="17" y="109"/>
                    <a:pt x="19" y="108"/>
                    <a:pt x="19" y="107"/>
                  </a:cubicBezTo>
                  <a:cubicBezTo>
                    <a:pt x="21" y="107"/>
                    <a:pt x="19" y="106"/>
                    <a:pt x="21" y="106"/>
                  </a:cubicBezTo>
                  <a:cubicBezTo>
                    <a:pt x="21" y="106"/>
                    <a:pt x="21" y="106"/>
                    <a:pt x="21" y="106"/>
                  </a:cubicBezTo>
                  <a:cubicBezTo>
                    <a:pt x="22" y="106"/>
                    <a:pt x="25" y="107"/>
                    <a:pt x="26" y="108"/>
                  </a:cubicBezTo>
                  <a:cubicBezTo>
                    <a:pt x="27" y="108"/>
                    <a:pt x="28" y="109"/>
                    <a:pt x="28" y="109"/>
                  </a:cubicBezTo>
                  <a:cubicBezTo>
                    <a:pt x="29" y="109"/>
                    <a:pt x="29" y="108"/>
                    <a:pt x="30" y="107"/>
                  </a:cubicBezTo>
                  <a:cubicBezTo>
                    <a:pt x="32" y="104"/>
                    <a:pt x="30" y="105"/>
                    <a:pt x="28" y="104"/>
                  </a:cubicBezTo>
                  <a:cubicBezTo>
                    <a:pt x="26" y="102"/>
                    <a:pt x="25" y="100"/>
                    <a:pt x="24" y="99"/>
                  </a:cubicBezTo>
                  <a:cubicBezTo>
                    <a:pt x="22" y="97"/>
                    <a:pt x="22" y="98"/>
                    <a:pt x="20" y="97"/>
                  </a:cubicBezTo>
                  <a:cubicBezTo>
                    <a:pt x="18" y="97"/>
                    <a:pt x="18" y="97"/>
                    <a:pt x="16" y="96"/>
                  </a:cubicBezTo>
                  <a:cubicBezTo>
                    <a:pt x="13" y="94"/>
                    <a:pt x="11" y="94"/>
                    <a:pt x="12" y="90"/>
                  </a:cubicBezTo>
                  <a:cubicBezTo>
                    <a:pt x="13" y="86"/>
                    <a:pt x="16" y="85"/>
                    <a:pt x="18" y="85"/>
                  </a:cubicBezTo>
                  <a:cubicBezTo>
                    <a:pt x="20" y="85"/>
                    <a:pt x="22" y="85"/>
                    <a:pt x="24" y="86"/>
                  </a:cubicBezTo>
                  <a:cubicBezTo>
                    <a:pt x="25" y="87"/>
                    <a:pt x="25" y="88"/>
                    <a:pt x="26" y="89"/>
                  </a:cubicBezTo>
                  <a:cubicBezTo>
                    <a:pt x="27" y="90"/>
                    <a:pt x="28" y="91"/>
                    <a:pt x="27" y="92"/>
                  </a:cubicBezTo>
                  <a:cubicBezTo>
                    <a:pt x="27" y="92"/>
                    <a:pt x="28" y="92"/>
                    <a:pt x="28" y="92"/>
                  </a:cubicBezTo>
                  <a:cubicBezTo>
                    <a:pt x="30" y="92"/>
                    <a:pt x="35" y="87"/>
                    <a:pt x="37" y="86"/>
                  </a:cubicBezTo>
                  <a:cubicBezTo>
                    <a:pt x="39" y="85"/>
                    <a:pt x="41" y="84"/>
                    <a:pt x="44" y="84"/>
                  </a:cubicBezTo>
                  <a:cubicBezTo>
                    <a:pt x="45" y="84"/>
                    <a:pt x="47" y="84"/>
                    <a:pt x="50" y="85"/>
                  </a:cubicBezTo>
                  <a:cubicBezTo>
                    <a:pt x="51" y="85"/>
                    <a:pt x="54" y="88"/>
                    <a:pt x="56" y="88"/>
                  </a:cubicBezTo>
                  <a:cubicBezTo>
                    <a:pt x="58" y="89"/>
                    <a:pt x="59" y="91"/>
                    <a:pt x="61" y="92"/>
                  </a:cubicBezTo>
                  <a:cubicBezTo>
                    <a:pt x="66" y="95"/>
                    <a:pt x="73" y="96"/>
                    <a:pt x="78" y="100"/>
                  </a:cubicBezTo>
                  <a:cubicBezTo>
                    <a:pt x="78" y="100"/>
                    <a:pt x="80" y="102"/>
                    <a:pt x="80" y="102"/>
                  </a:cubicBezTo>
                  <a:cubicBezTo>
                    <a:pt x="80" y="102"/>
                    <a:pt x="80" y="102"/>
                    <a:pt x="81" y="102"/>
                  </a:cubicBezTo>
                  <a:cubicBezTo>
                    <a:pt x="82" y="102"/>
                    <a:pt x="83" y="99"/>
                    <a:pt x="83" y="97"/>
                  </a:cubicBezTo>
                  <a:cubicBezTo>
                    <a:pt x="84" y="94"/>
                    <a:pt x="83" y="92"/>
                    <a:pt x="85" y="89"/>
                  </a:cubicBezTo>
                  <a:cubicBezTo>
                    <a:pt x="87" y="87"/>
                    <a:pt x="88" y="84"/>
                    <a:pt x="90" y="83"/>
                  </a:cubicBezTo>
                  <a:cubicBezTo>
                    <a:pt x="92" y="81"/>
                    <a:pt x="96" y="77"/>
                    <a:pt x="98" y="76"/>
                  </a:cubicBezTo>
                  <a:cubicBezTo>
                    <a:pt x="101" y="74"/>
                    <a:pt x="106" y="74"/>
                    <a:pt x="109" y="74"/>
                  </a:cubicBezTo>
                  <a:cubicBezTo>
                    <a:pt x="111" y="74"/>
                    <a:pt x="112" y="74"/>
                    <a:pt x="113" y="74"/>
                  </a:cubicBezTo>
                  <a:cubicBezTo>
                    <a:pt x="114" y="74"/>
                    <a:pt x="115" y="74"/>
                    <a:pt x="115" y="74"/>
                  </a:cubicBezTo>
                  <a:cubicBezTo>
                    <a:pt x="116" y="74"/>
                    <a:pt x="117" y="74"/>
                    <a:pt x="117" y="74"/>
                  </a:cubicBezTo>
                  <a:cubicBezTo>
                    <a:pt x="118" y="73"/>
                    <a:pt x="118" y="72"/>
                    <a:pt x="118" y="72"/>
                  </a:cubicBezTo>
                  <a:cubicBezTo>
                    <a:pt x="118" y="72"/>
                    <a:pt x="119" y="72"/>
                    <a:pt x="119" y="72"/>
                  </a:cubicBezTo>
                  <a:cubicBezTo>
                    <a:pt x="120" y="73"/>
                    <a:pt x="120" y="73"/>
                    <a:pt x="121" y="73"/>
                  </a:cubicBezTo>
                  <a:cubicBezTo>
                    <a:pt x="121" y="73"/>
                    <a:pt x="121" y="73"/>
                    <a:pt x="121" y="73"/>
                  </a:cubicBezTo>
                  <a:cubicBezTo>
                    <a:pt x="122" y="73"/>
                    <a:pt x="124" y="72"/>
                    <a:pt x="125" y="72"/>
                  </a:cubicBezTo>
                  <a:cubicBezTo>
                    <a:pt x="130" y="68"/>
                    <a:pt x="136" y="65"/>
                    <a:pt x="142" y="62"/>
                  </a:cubicBezTo>
                  <a:cubicBezTo>
                    <a:pt x="141" y="62"/>
                    <a:pt x="133" y="63"/>
                    <a:pt x="135" y="66"/>
                  </a:cubicBezTo>
                  <a:cubicBezTo>
                    <a:pt x="134" y="65"/>
                    <a:pt x="132" y="65"/>
                    <a:pt x="131" y="65"/>
                  </a:cubicBezTo>
                  <a:cubicBezTo>
                    <a:pt x="129" y="64"/>
                    <a:pt x="130" y="62"/>
                    <a:pt x="129" y="60"/>
                  </a:cubicBezTo>
                  <a:cubicBezTo>
                    <a:pt x="129" y="58"/>
                    <a:pt x="128" y="57"/>
                    <a:pt x="128" y="55"/>
                  </a:cubicBezTo>
                  <a:cubicBezTo>
                    <a:pt x="129" y="56"/>
                    <a:pt x="130" y="56"/>
                    <a:pt x="131" y="56"/>
                  </a:cubicBezTo>
                  <a:cubicBezTo>
                    <a:pt x="129" y="55"/>
                    <a:pt x="125" y="53"/>
                    <a:pt x="124" y="50"/>
                  </a:cubicBezTo>
                  <a:cubicBezTo>
                    <a:pt x="125" y="48"/>
                    <a:pt x="125" y="48"/>
                    <a:pt x="125" y="48"/>
                  </a:cubicBezTo>
                  <a:cubicBezTo>
                    <a:pt x="126" y="46"/>
                    <a:pt x="126" y="45"/>
                    <a:pt x="127" y="43"/>
                  </a:cubicBezTo>
                  <a:cubicBezTo>
                    <a:pt x="129" y="41"/>
                    <a:pt x="133" y="37"/>
                    <a:pt x="131" y="34"/>
                  </a:cubicBezTo>
                  <a:cubicBezTo>
                    <a:pt x="127" y="37"/>
                    <a:pt x="123" y="41"/>
                    <a:pt x="120" y="45"/>
                  </a:cubicBezTo>
                  <a:cubicBezTo>
                    <a:pt x="118" y="46"/>
                    <a:pt x="117" y="46"/>
                    <a:pt x="115" y="46"/>
                  </a:cubicBezTo>
                  <a:cubicBezTo>
                    <a:pt x="114" y="46"/>
                    <a:pt x="113" y="46"/>
                    <a:pt x="112" y="46"/>
                  </a:cubicBezTo>
                  <a:cubicBezTo>
                    <a:pt x="109" y="45"/>
                    <a:pt x="107" y="45"/>
                    <a:pt x="105" y="44"/>
                  </a:cubicBezTo>
                  <a:cubicBezTo>
                    <a:pt x="104" y="44"/>
                    <a:pt x="103" y="44"/>
                    <a:pt x="102" y="43"/>
                  </a:cubicBezTo>
                  <a:cubicBezTo>
                    <a:pt x="102" y="43"/>
                    <a:pt x="103" y="42"/>
                    <a:pt x="102" y="41"/>
                  </a:cubicBezTo>
                  <a:cubicBezTo>
                    <a:pt x="102" y="41"/>
                    <a:pt x="101" y="41"/>
                    <a:pt x="100" y="41"/>
                  </a:cubicBezTo>
                  <a:cubicBezTo>
                    <a:pt x="100" y="41"/>
                    <a:pt x="99" y="41"/>
                    <a:pt x="98" y="41"/>
                  </a:cubicBezTo>
                  <a:cubicBezTo>
                    <a:pt x="98" y="41"/>
                    <a:pt x="98" y="41"/>
                    <a:pt x="97" y="41"/>
                  </a:cubicBezTo>
                  <a:cubicBezTo>
                    <a:pt x="90" y="41"/>
                    <a:pt x="82" y="32"/>
                    <a:pt x="76" y="27"/>
                  </a:cubicBezTo>
                  <a:cubicBezTo>
                    <a:pt x="67" y="19"/>
                    <a:pt x="59" y="9"/>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1156"/>
            <p:cNvSpPr/>
            <p:nvPr/>
          </p:nvSpPr>
          <p:spPr bwMode="auto">
            <a:xfrm>
              <a:off x="5067317" y="2275262"/>
              <a:ext cx="186585" cy="244305"/>
            </a:xfrm>
            <a:custGeom>
              <a:gdLst>
                <a:gd name="T0" fmla="*/ 31 w 59"/>
                <a:gd name="T1" fmla="*/ 0 h 77"/>
                <a:gd name="T2" fmla="*/ 29 w 59"/>
                <a:gd name="T3" fmla="*/ 0 h 77"/>
                <a:gd name="T4" fmla="*/ 22 w 59"/>
                <a:gd name="T5" fmla="*/ 4 h 77"/>
                <a:gd name="T6" fmla="*/ 12 w 59"/>
                <a:gd name="T7" fmla="*/ 12 h 77"/>
                <a:gd name="T8" fmla="*/ 6 w 59"/>
                <a:gd name="T9" fmla="*/ 16 h 77"/>
                <a:gd name="T10" fmla="*/ 4 w 59"/>
                <a:gd name="T11" fmla="*/ 22 h 77"/>
                <a:gd name="T12" fmla="*/ 5 w 59"/>
                <a:gd name="T13" fmla="*/ 36 h 77"/>
                <a:gd name="T14" fmla="*/ 15 w 59"/>
                <a:gd name="T15" fmla="*/ 35 h 77"/>
                <a:gd name="T16" fmla="*/ 19 w 59"/>
                <a:gd name="T17" fmla="*/ 34 h 77"/>
                <a:gd name="T18" fmla="*/ 15 w 59"/>
                <a:gd name="T19" fmla="*/ 26 h 77"/>
                <a:gd name="T20" fmla="*/ 17 w 59"/>
                <a:gd name="T21" fmla="*/ 20 h 77"/>
                <a:gd name="T22" fmla="*/ 22 w 59"/>
                <a:gd name="T23" fmla="*/ 27 h 77"/>
                <a:gd name="T24" fmla="*/ 22 w 59"/>
                <a:gd name="T25" fmla="*/ 35 h 77"/>
                <a:gd name="T26" fmla="*/ 26 w 59"/>
                <a:gd name="T27" fmla="*/ 34 h 77"/>
                <a:gd name="T28" fmla="*/ 22 w 59"/>
                <a:gd name="T29" fmla="*/ 42 h 77"/>
                <a:gd name="T30" fmla="*/ 16 w 59"/>
                <a:gd name="T31" fmla="*/ 67 h 77"/>
                <a:gd name="T32" fmla="*/ 14 w 59"/>
                <a:gd name="T33" fmla="*/ 67 h 77"/>
                <a:gd name="T34" fmla="*/ 21 w 59"/>
                <a:gd name="T35" fmla="*/ 71 h 77"/>
                <a:gd name="T36" fmla="*/ 26 w 59"/>
                <a:gd name="T37" fmla="*/ 72 h 77"/>
                <a:gd name="T38" fmla="*/ 25 w 59"/>
                <a:gd name="T39" fmla="*/ 60 h 77"/>
                <a:gd name="T40" fmla="*/ 30 w 59"/>
                <a:gd name="T41" fmla="*/ 60 h 77"/>
                <a:gd name="T42" fmla="*/ 27 w 59"/>
                <a:gd name="T43" fmla="*/ 77 h 77"/>
                <a:gd name="T44" fmla="*/ 38 w 59"/>
                <a:gd name="T45" fmla="*/ 65 h 77"/>
                <a:gd name="T46" fmla="*/ 45 w 59"/>
                <a:gd name="T47" fmla="*/ 61 h 77"/>
                <a:gd name="T48" fmla="*/ 51 w 59"/>
                <a:gd name="T49" fmla="*/ 41 h 77"/>
                <a:gd name="T50" fmla="*/ 59 w 59"/>
                <a:gd name="T51" fmla="*/ 26 h 77"/>
                <a:gd name="T52" fmla="*/ 55 w 59"/>
                <a:gd name="T53" fmla="*/ 18 h 77"/>
                <a:gd name="T54" fmla="*/ 54 w 59"/>
                <a:gd name="T55" fmla="*/ 18 h 77"/>
                <a:gd name="T56" fmla="*/ 52 w 59"/>
                <a:gd name="T57" fmla="*/ 18 h 77"/>
                <a:gd name="T58" fmla="*/ 46 w 59"/>
                <a:gd name="T59" fmla="*/ 15 h 77"/>
                <a:gd name="T60" fmla="*/ 48 w 59"/>
                <a:gd name="T61" fmla="*/ 7 h 77"/>
                <a:gd name="T62" fmla="*/ 46 w 59"/>
                <a:gd name="T63" fmla="*/ 8 h 77"/>
                <a:gd name="T64" fmla="*/ 42 w 59"/>
                <a:gd name="T65" fmla="*/ 10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77">
                  <a:moveTo>
                    <a:pt x="34" y="0"/>
                  </a:moveTo>
                  <a:cubicBezTo>
                    <a:pt x="33" y="0"/>
                    <a:pt x="32" y="0"/>
                    <a:pt x="31" y="0"/>
                  </a:cubicBezTo>
                  <a:cubicBezTo>
                    <a:pt x="31" y="0"/>
                    <a:pt x="30" y="0"/>
                    <a:pt x="30" y="0"/>
                  </a:cubicBezTo>
                  <a:cubicBezTo>
                    <a:pt x="30" y="0"/>
                    <a:pt x="29" y="0"/>
                    <a:pt x="29" y="0"/>
                  </a:cubicBezTo>
                  <a:cubicBezTo>
                    <a:pt x="28" y="0"/>
                    <a:pt x="27" y="1"/>
                    <a:pt x="26" y="1"/>
                  </a:cubicBezTo>
                  <a:cubicBezTo>
                    <a:pt x="23" y="2"/>
                    <a:pt x="23" y="2"/>
                    <a:pt x="22" y="4"/>
                  </a:cubicBezTo>
                  <a:cubicBezTo>
                    <a:pt x="20" y="7"/>
                    <a:pt x="20" y="6"/>
                    <a:pt x="17" y="7"/>
                  </a:cubicBezTo>
                  <a:cubicBezTo>
                    <a:pt x="14" y="8"/>
                    <a:pt x="13" y="10"/>
                    <a:pt x="12" y="12"/>
                  </a:cubicBezTo>
                  <a:cubicBezTo>
                    <a:pt x="10" y="12"/>
                    <a:pt x="9" y="11"/>
                    <a:pt x="8" y="10"/>
                  </a:cubicBezTo>
                  <a:cubicBezTo>
                    <a:pt x="6" y="12"/>
                    <a:pt x="6" y="13"/>
                    <a:pt x="6" y="16"/>
                  </a:cubicBezTo>
                  <a:cubicBezTo>
                    <a:pt x="5" y="16"/>
                    <a:pt x="3" y="15"/>
                    <a:pt x="1" y="15"/>
                  </a:cubicBezTo>
                  <a:cubicBezTo>
                    <a:pt x="0" y="19"/>
                    <a:pt x="2" y="19"/>
                    <a:pt x="4" y="22"/>
                  </a:cubicBezTo>
                  <a:cubicBezTo>
                    <a:pt x="2" y="25"/>
                    <a:pt x="2" y="27"/>
                    <a:pt x="4" y="30"/>
                  </a:cubicBezTo>
                  <a:cubicBezTo>
                    <a:pt x="6" y="32"/>
                    <a:pt x="8" y="33"/>
                    <a:pt x="5" y="36"/>
                  </a:cubicBezTo>
                  <a:cubicBezTo>
                    <a:pt x="8" y="34"/>
                    <a:pt x="12" y="32"/>
                    <a:pt x="15" y="30"/>
                  </a:cubicBezTo>
                  <a:cubicBezTo>
                    <a:pt x="16" y="32"/>
                    <a:pt x="13" y="34"/>
                    <a:pt x="15" y="35"/>
                  </a:cubicBezTo>
                  <a:cubicBezTo>
                    <a:pt x="15" y="35"/>
                    <a:pt x="15" y="35"/>
                    <a:pt x="15" y="35"/>
                  </a:cubicBezTo>
                  <a:cubicBezTo>
                    <a:pt x="16" y="35"/>
                    <a:pt x="18" y="34"/>
                    <a:pt x="19" y="34"/>
                  </a:cubicBezTo>
                  <a:cubicBezTo>
                    <a:pt x="17" y="32"/>
                    <a:pt x="15" y="30"/>
                    <a:pt x="13" y="29"/>
                  </a:cubicBezTo>
                  <a:cubicBezTo>
                    <a:pt x="14" y="28"/>
                    <a:pt x="16" y="26"/>
                    <a:pt x="15" y="26"/>
                  </a:cubicBezTo>
                  <a:cubicBezTo>
                    <a:pt x="15" y="24"/>
                    <a:pt x="14" y="23"/>
                    <a:pt x="14" y="21"/>
                  </a:cubicBezTo>
                  <a:cubicBezTo>
                    <a:pt x="15" y="21"/>
                    <a:pt x="15" y="20"/>
                    <a:pt x="17" y="20"/>
                  </a:cubicBezTo>
                  <a:cubicBezTo>
                    <a:pt x="17" y="20"/>
                    <a:pt x="18" y="20"/>
                    <a:pt x="18" y="21"/>
                  </a:cubicBezTo>
                  <a:cubicBezTo>
                    <a:pt x="20" y="21"/>
                    <a:pt x="21" y="25"/>
                    <a:pt x="22" y="27"/>
                  </a:cubicBezTo>
                  <a:cubicBezTo>
                    <a:pt x="23" y="29"/>
                    <a:pt x="24" y="30"/>
                    <a:pt x="25" y="32"/>
                  </a:cubicBezTo>
                  <a:cubicBezTo>
                    <a:pt x="24" y="33"/>
                    <a:pt x="23" y="34"/>
                    <a:pt x="22" y="35"/>
                  </a:cubicBezTo>
                  <a:cubicBezTo>
                    <a:pt x="23" y="34"/>
                    <a:pt x="24" y="34"/>
                    <a:pt x="25" y="34"/>
                  </a:cubicBezTo>
                  <a:cubicBezTo>
                    <a:pt x="25" y="34"/>
                    <a:pt x="26" y="34"/>
                    <a:pt x="26" y="34"/>
                  </a:cubicBezTo>
                  <a:cubicBezTo>
                    <a:pt x="25" y="35"/>
                    <a:pt x="23" y="42"/>
                    <a:pt x="22" y="42"/>
                  </a:cubicBezTo>
                  <a:cubicBezTo>
                    <a:pt x="22" y="42"/>
                    <a:pt x="22" y="42"/>
                    <a:pt x="22" y="42"/>
                  </a:cubicBezTo>
                  <a:cubicBezTo>
                    <a:pt x="19" y="49"/>
                    <a:pt x="12" y="49"/>
                    <a:pt x="15" y="57"/>
                  </a:cubicBezTo>
                  <a:cubicBezTo>
                    <a:pt x="16" y="58"/>
                    <a:pt x="19" y="67"/>
                    <a:pt x="16" y="67"/>
                  </a:cubicBezTo>
                  <a:cubicBezTo>
                    <a:pt x="15" y="67"/>
                    <a:pt x="15" y="67"/>
                    <a:pt x="14" y="66"/>
                  </a:cubicBezTo>
                  <a:cubicBezTo>
                    <a:pt x="14" y="67"/>
                    <a:pt x="14" y="67"/>
                    <a:pt x="14" y="67"/>
                  </a:cubicBezTo>
                  <a:cubicBezTo>
                    <a:pt x="14" y="68"/>
                    <a:pt x="17" y="70"/>
                    <a:pt x="17" y="70"/>
                  </a:cubicBezTo>
                  <a:cubicBezTo>
                    <a:pt x="19" y="71"/>
                    <a:pt x="20" y="71"/>
                    <a:pt x="21" y="71"/>
                  </a:cubicBezTo>
                  <a:cubicBezTo>
                    <a:pt x="22" y="71"/>
                    <a:pt x="23" y="73"/>
                    <a:pt x="25" y="73"/>
                  </a:cubicBezTo>
                  <a:cubicBezTo>
                    <a:pt x="25" y="73"/>
                    <a:pt x="25" y="73"/>
                    <a:pt x="26" y="72"/>
                  </a:cubicBezTo>
                  <a:cubicBezTo>
                    <a:pt x="27" y="71"/>
                    <a:pt x="24" y="68"/>
                    <a:pt x="24" y="67"/>
                  </a:cubicBezTo>
                  <a:cubicBezTo>
                    <a:pt x="23" y="64"/>
                    <a:pt x="23" y="62"/>
                    <a:pt x="25" y="60"/>
                  </a:cubicBezTo>
                  <a:cubicBezTo>
                    <a:pt x="25" y="60"/>
                    <a:pt x="27" y="58"/>
                    <a:pt x="28" y="58"/>
                  </a:cubicBezTo>
                  <a:cubicBezTo>
                    <a:pt x="29" y="58"/>
                    <a:pt x="29" y="58"/>
                    <a:pt x="30" y="60"/>
                  </a:cubicBezTo>
                  <a:cubicBezTo>
                    <a:pt x="30" y="61"/>
                    <a:pt x="29" y="62"/>
                    <a:pt x="28" y="62"/>
                  </a:cubicBezTo>
                  <a:cubicBezTo>
                    <a:pt x="29" y="69"/>
                    <a:pt x="30" y="70"/>
                    <a:pt x="27" y="77"/>
                  </a:cubicBezTo>
                  <a:cubicBezTo>
                    <a:pt x="30" y="74"/>
                    <a:pt x="34" y="72"/>
                    <a:pt x="37" y="70"/>
                  </a:cubicBezTo>
                  <a:cubicBezTo>
                    <a:pt x="37" y="68"/>
                    <a:pt x="38" y="66"/>
                    <a:pt x="38" y="65"/>
                  </a:cubicBezTo>
                  <a:cubicBezTo>
                    <a:pt x="39" y="65"/>
                    <a:pt x="41" y="66"/>
                    <a:pt x="41" y="66"/>
                  </a:cubicBezTo>
                  <a:cubicBezTo>
                    <a:pt x="43" y="66"/>
                    <a:pt x="44" y="64"/>
                    <a:pt x="45" y="61"/>
                  </a:cubicBezTo>
                  <a:cubicBezTo>
                    <a:pt x="45" y="59"/>
                    <a:pt x="46" y="58"/>
                    <a:pt x="46" y="56"/>
                  </a:cubicBezTo>
                  <a:cubicBezTo>
                    <a:pt x="47" y="51"/>
                    <a:pt x="49" y="46"/>
                    <a:pt x="51" y="41"/>
                  </a:cubicBezTo>
                  <a:cubicBezTo>
                    <a:pt x="52" y="38"/>
                    <a:pt x="54" y="35"/>
                    <a:pt x="55" y="32"/>
                  </a:cubicBezTo>
                  <a:cubicBezTo>
                    <a:pt x="56" y="30"/>
                    <a:pt x="58" y="28"/>
                    <a:pt x="59" y="26"/>
                  </a:cubicBezTo>
                  <a:cubicBezTo>
                    <a:pt x="59" y="26"/>
                    <a:pt x="59" y="26"/>
                    <a:pt x="58" y="26"/>
                  </a:cubicBezTo>
                  <a:cubicBezTo>
                    <a:pt x="58" y="24"/>
                    <a:pt x="58" y="19"/>
                    <a:pt x="55" y="18"/>
                  </a:cubicBezTo>
                  <a:cubicBezTo>
                    <a:pt x="55" y="18"/>
                    <a:pt x="55" y="18"/>
                    <a:pt x="55" y="18"/>
                  </a:cubicBezTo>
                  <a:cubicBezTo>
                    <a:pt x="55" y="18"/>
                    <a:pt x="54" y="18"/>
                    <a:pt x="54" y="18"/>
                  </a:cubicBezTo>
                  <a:cubicBezTo>
                    <a:pt x="53" y="18"/>
                    <a:pt x="52" y="18"/>
                    <a:pt x="52" y="18"/>
                  </a:cubicBezTo>
                  <a:cubicBezTo>
                    <a:pt x="52" y="18"/>
                    <a:pt x="52" y="18"/>
                    <a:pt x="52" y="18"/>
                  </a:cubicBezTo>
                  <a:cubicBezTo>
                    <a:pt x="50" y="18"/>
                    <a:pt x="46" y="17"/>
                    <a:pt x="46" y="15"/>
                  </a:cubicBezTo>
                  <a:cubicBezTo>
                    <a:pt x="46" y="15"/>
                    <a:pt x="46" y="15"/>
                    <a:pt x="46" y="15"/>
                  </a:cubicBezTo>
                  <a:cubicBezTo>
                    <a:pt x="47" y="15"/>
                    <a:pt x="49" y="15"/>
                    <a:pt x="49" y="15"/>
                  </a:cubicBezTo>
                  <a:cubicBezTo>
                    <a:pt x="51" y="13"/>
                    <a:pt x="51" y="7"/>
                    <a:pt x="48" y="7"/>
                  </a:cubicBezTo>
                  <a:cubicBezTo>
                    <a:pt x="48" y="7"/>
                    <a:pt x="48" y="7"/>
                    <a:pt x="48" y="7"/>
                  </a:cubicBezTo>
                  <a:cubicBezTo>
                    <a:pt x="47" y="7"/>
                    <a:pt x="46" y="7"/>
                    <a:pt x="46" y="8"/>
                  </a:cubicBezTo>
                  <a:cubicBezTo>
                    <a:pt x="44" y="9"/>
                    <a:pt x="45" y="9"/>
                    <a:pt x="43" y="10"/>
                  </a:cubicBezTo>
                  <a:cubicBezTo>
                    <a:pt x="43" y="10"/>
                    <a:pt x="43" y="10"/>
                    <a:pt x="42" y="10"/>
                  </a:cubicBezTo>
                  <a:cubicBezTo>
                    <a:pt x="38" y="10"/>
                    <a:pt x="32" y="4"/>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1157"/>
            <p:cNvSpPr/>
            <p:nvPr/>
          </p:nvSpPr>
          <p:spPr bwMode="auto">
            <a:xfrm>
              <a:off x="5076713" y="2284658"/>
              <a:ext cx="5369" cy="6712"/>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0" y="2"/>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1158"/>
            <p:cNvSpPr/>
            <p:nvPr/>
          </p:nvSpPr>
          <p:spPr bwMode="auto">
            <a:xfrm>
              <a:off x="5165308" y="1618859"/>
              <a:ext cx="844329" cy="698015"/>
            </a:xfrm>
            <a:custGeom>
              <a:gdLst>
                <a:gd name="T0" fmla="*/ 233 w 266"/>
                <a:gd name="T1" fmla="*/ 10 h 220"/>
                <a:gd name="T2" fmla="*/ 243 w 266"/>
                <a:gd name="T3" fmla="*/ 8 h 220"/>
                <a:gd name="T4" fmla="*/ 242 w 266"/>
                <a:gd name="T5" fmla="*/ 19 h 220"/>
                <a:gd name="T6" fmla="*/ 236 w 266"/>
                <a:gd name="T7" fmla="*/ 19 h 220"/>
                <a:gd name="T8" fmla="*/ 234 w 266"/>
                <a:gd name="T9" fmla="*/ 20 h 220"/>
                <a:gd name="T10" fmla="*/ 223 w 266"/>
                <a:gd name="T11" fmla="*/ 8 h 220"/>
                <a:gd name="T12" fmla="*/ 213 w 266"/>
                <a:gd name="T13" fmla="*/ 31 h 220"/>
                <a:gd name="T14" fmla="*/ 211 w 266"/>
                <a:gd name="T15" fmla="*/ 47 h 220"/>
                <a:gd name="T16" fmla="*/ 213 w 266"/>
                <a:gd name="T17" fmla="*/ 46 h 220"/>
                <a:gd name="T18" fmla="*/ 214 w 266"/>
                <a:gd name="T19" fmla="*/ 59 h 220"/>
                <a:gd name="T20" fmla="*/ 201 w 266"/>
                <a:gd name="T21" fmla="*/ 94 h 220"/>
                <a:gd name="T22" fmla="*/ 179 w 266"/>
                <a:gd name="T23" fmla="*/ 116 h 220"/>
                <a:gd name="T24" fmla="*/ 146 w 266"/>
                <a:gd name="T25" fmla="*/ 131 h 220"/>
                <a:gd name="T26" fmla="*/ 145 w 266"/>
                <a:gd name="T27" fmla="*/ 123 h 220"/>
                <a:gd name="T28" fmla="*/ 144 w 266"/>
                <a:gd name="T29" fmla="*/ 123 h 220"/>
                <a:gd name="T30" fmla="*/ 148 w 266"/>
                <a:gd name="T31" fmla="*/ 117 h 220"/>
                <a:gd name="T32" fmla="*/ 150 w 266"/>
                <a:gd name="T33" fmla="*/ 117 h 220"/>
                <a:gd name="T34" fmla="*/ 150 w 266"/>
                <a:gd name="T35" fmla="*/ 111 h 220"/>
                <a:gd name="T36" fmla="*/ 139 w 266"/>
                <a:gd name="T37" fmla="*/ 127 h 220"/>
                <a:gd name="T38" fmla="*/ 123 w 266"/>
                <a:gd name="T39" fmla="*/ 161 h 220"/>
                <a:gd name="T40" fmla="*/ 114 w 266"/>
                <a:gd name="T41" fmla="*/ 165 h 220"/>
                <a:gd name="T42" fmla="*/ 105 w 266"/>
                <a:gd name="T43" fmla="*/ 167 h 220"/>
                <a:gd name="T44" fmla="*/ 103 w 266"/>
                <a:gd name="T45" fmla="*/ 159 h 220"/>
                <a:gd name="T46" fmla="*/ 42 w 266"/>
                <a:gd name="T47" fmla="*/ 168 h 220"/>
                <a:gd name="T48" fmla="*/ 14 w 266"/>
                <a:gd name="T49" fmla="*/ 191 h 220"/>
                <a:gd name="T50" fmla="*/ 6 w 266"/>
                <a:gd name="T51" fmla="*/ 195 h 220"/>
                <a:gd name="T52" fmla="*/ 2 w 266"/>
                <a:gd name="T53" fmla="*/ 195 h 220"/>
                <a:gd name="T54" fmla="*/ 0 w 266"/>
                <a:gd name="T55" fmla="*/ 202 h 220"/>
                <a:gd name="T56" fmla="*/ 1 w 266"/>
                <a:gd name="T57" fmla="*/ 207 h 220"/>
                <a:gd name="T58" fmla="*/ 3 w 266"/>
                <a:gd name="T59" fmla="*/ 207 h 220"/>
                <a:gd name="T60" fmla="*/ 29 w 266"/>
                <a:gd name="T61" fmla="*/ 209 h 220"/>
                <a:gd name="T62" fmla="*/ 42 w 266"/>
                <a:gd name="T63" fmla="*/ 200 h 220"/>
                <a:gd name="T64" fmla="*/ 62 w 266"/>
                <a:gd name="T65" fmla="*/ 193 h 220"/>
                <a:gd name="T66" fmla="*/ 71 w 266"/>
                <a:gd name="T67" fmla="*/ 193 h 220"/>
                <a:gd name="T68" fmla="*/ 106 w 266"/>
                <a:gd name="T69" fmla="*/ 187 h 220"/>
                <a:gd name="T70" fmla="*/ 101 w 266"/>
                <a:gd name="T71" fmla="*/ 201 h 220"/>
                <a:gd name="T72" fmla="*/ 107 w 266"/>
                <a:gd name="T73" fmla="*/ 213 h 220"/>
                <a:gd name="T74" fmla="*/ 134 w 266"/>
                <a:gd name="T75" fmla="*/ 198 h 220"/>
                <a:gd name="T76" fmla="*/ 137 w 266"/>
                <a:gd name="T77" fmla="*/ 196 h 220"/>
                <a:gd name="T78" fmla="*/ 141 w 266"/>
                <a:gd name="T79" fmla="*/ 199 h 220"/>
                <a:gd name="T80" fmla="*/ 134 w 266"/>
                <a:gd name="T81" fmla="*/ 186 h 220"/>
                <a:gd name="T82" fmla="*/ 142 w 266"/>
                <a:gd name="T83" fmla="*/ 186 h 220"/>
                <a:gd name="T84" fmla="*/ 149 w 266"/>
                <a:gd name="T85" fmla="*/ 188 h 220"/>
                <a:gd name="T86" fmla="*/ 175 w 266"/>
                <a:gd name="T87" fmla="*/ 185 h 220"/>
                <a:gd name="T88" fmla="*/ 180 w 266"/>
                <a:gd name="T89" fmla="*/ 179 h 220"/>
                <a:gd name="T90" fmla="*/ 189 w 266"/>
                <a:gd name="T91" fmla="*/ 178 h 220"/>
                <a:gd name="T92" fmla="*/ 190 w 266"/>
                <a:gd name="T93" fmla="*/ 188 h 220"/>
                <a:gd name="T94" fmla="*/ 201 w 266"/>
                <a:gd name="T95" fmla="*/ 174 h 220"/>
                <a:gd name="T96" fmla="*/ 211 w 266"/>
                <a:gd name="T97" fmla="*/ 181 h 220"/>
                <a:gd name="T98" fmla="*/ 224 w 266"/>
                <a:gd name="T99" fmla="*/ 171 h 220"/>
                <a:gd name="T100" fmla="*/ 230 w 266"/>
                <a:gd name="T101" fmla="*/ 141 h 220"/>
                <a:gd name="T102" fmla="*/ 239 w 266"/>
                <a:gd name="T103" fmla="*/ 119 h 220"/>
                <a:gd name="T104" fmla="*/ 243 w 266"/>
                <a:gd name="T105" fmla="*/ 88 h 220"/>
                <a:gd name="T106" fmla="*/ 251 w 266"/>
                <a:gd name="T107" fmla="*/ 91 h 220"/>
                <a:gd name="T108" fmla="*/ 256 w 266"/>
                <a:gd name="T109" fmla="*/ 71 h 220"/>
                <a:gd name="T110" fmla="*/ 262 w 266"/>
                <a:gd name="T111" fmla="*/ 57 h 220"/>
                <a:gd name="T112" fmla="*/ 249 w 266"/>
                <a:gd name="T113" fmla="*/ 6 h 220"/>
                <a:gd name="T114" fmla="*/ 238 w 266"/>
                <a:gd name="T115" fmla="*/ 0 h 2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6" h="220">
                  <a:moveTo>
                    <a:pt x="238" y="0"/>
                  </a:moveTo>
                  <a:cubicBezTo>
                    <a:pt x="238" y="0"/>
                    <a:pt x="238" y="0"/>
                    <a:pt x="238" y="1"/>
                  </a:cubicBezTo>
                  <a:cubicBezTo>
                    <a:pt x="237" y="1"/>
                    <a:pt x="232" y="8"/>
                    <a:pt x="233" y="10"/>
                  </a:cubicBezTo>
                  <a:cubicBezTo>
                    <a:pt x="233" y="11"/>
                    <a:pt x="234" y="11"/>
                    <a:pt x="235" y="11"/>
                  </a:cubicBezTo>
                  <a:cubicBezTo>
                    <a:pt x="236" y="11"/>
                    <a:pt x="237" y="10"/>
                    <a:pt x="239" y="10"/>
                  </a:cubicBezTo>
                  <a:cubicBezTo>
                    <a:pt x="240" y="9"/>
                    <a:pt x="242" y="8"/>
                    <a:pt x="243" y="8"/>
                  </a:cubicBezTo>
                  <a:cubicBezTo>
                    <a:pt x="243" y="8"/>
                    <a:pt x="243" y="8"/>
                    <a:pt x="243" y="8"/>
                  </a:cubicBezTo>
                  <a:cubicBezTo>
                    <a:pt x="246" y="9"/>
                    <a:pt x="245" y="13"/>
                    <a:pt x="244" y="15"/>
                  </a:cubicBezTo>
                  <a:cubicBezTo>
                    <a:pt x="244" y="16"/>
                    <a:pt x="243" y="18"/>
                    <a:pt x="242" y="19"/>
                  </a:cubicBezTo>
                  <a:cubicBezTo>
                    <a:pt x="242" y="19"/>
                    <a:pt x="241" y="19"/>
                    <a:pt x="240" y="19"/>
                  </a:cubicBezTo>
                  <a:cubicBezTo>
                    <a:pt x="240" y="19"/>
                    <a:pt x="239" y="19"/>
                    <a:pt x="238" y="19"/>
                  </a:cubicBezTo>
                  <a:cubicBezTo>
                    <a:pt x="237" y="19"/>
                    <a:pt x="237" y="19"/>
                    <a:pt x="236" y="19"/>
                  </a:cubicBezTo>
                  <a:cubicBezTo>
                    <a:pt x="236" y="19"/>
                    <a:pt x="236" y="19"/>
                    <a:pt x="235" y="19"/>
                  </a:cubicBezTo>
                  <a:cubicBezTo>
                    <a:pt x="235" y="19"/>
                    <a:pt x="235" y="20"/>
                    <a:pt x="234" y="20"/>
                  </a:cubicBezTo>
                  <a:cubicBezTo>
                    <a:pt x="234" y="20"/>
                    <a:pt x="234" y="20"/>
                    <a:pt x="234" y="20"/>
                  </a:cubicBezTo>
                  <a:cubicBezTo>
                    <a:pt x="231" y="19"/>
                    <a:pt x="231" y="15"/>
                    <a:pt x="230" y="12"/>
                  </a:cubicBezTo>
                  <a:cubicBezTo>
                    <a:pt x="230" y="11"/>
                    <a:pt x="231" y="11"/>
                    <a:pt x="230" y="10"/>
                  </a:cubicBezTo>
                  <a:cubicBezTo>
                    <a:pt x="229" y="9"/>
                    <a:pt x="224" y="8"/>
                    <a:pt x="223" y="8"/>
                  </a:cubicBezTo>
                  <a:cubicBezTo>
                    <a:pt x="223" y="12"/>
                    <a:pt x="225" y="14"/>
                    <a:pt x="222" y="17"/>
                  </a:cubicBezTo>
                  <a:cubicBezTo>
                    <a:pt x="220" y="19"/>
                    <a:pt x="217" y="21"/>
                    <a:pt x="215" y="23"/>
                  </a:cubicBezTo>
                  <a:cubicBezTo>
                    <a:pt x="212" y="26"/>
                    <a:pt x="212" y="26"/>
                    <a:pt x="213" y="31"/>
                  </a:cubicBezTo>
                  <a:cubicBezTo>
                    <a:pt x="215" y="33"/>
                    <a:pt x="212" y="41"/>
                    <a:pt x="210" y="44"/>
                  </a:cubicBezTo>
                  <a:cubicBezTo>
                    <a:pt x="210" y="44"/>
                    <a:pt x="209" y="43"/>
                    <a:pt x="208" y="43"/>
                  </a:cubicBezTo>
                  <a:cubicBezTo>
                    <a:pt x="209" y="44"/>
                    <a:pt x="210" y="46"/>
                    <a:pt x="211" y="47"/>
                  </a:cubicBezTo>
                  <a:cubicBezTo>
                    <a:pt x="211" y="47"/>
                    <a:pt x="211" y="47"/>
                    <a:pt x="211" y="47"/>
                  </a:cubicBezTo>
                  <a:cubicBezTo>
                    <a:pt x="212" y="47"/>
                    <a:pt x="212" y="46"/>
                    <a:pt x="212" y="46"/>
                  </a:cubicBezTo>
                  <a:cubicBezTo>
                    <a:pt x="212" y="46"/>
                    <a:pt x="212" y="46"/>
                    <a:pt x="213" y="46"/>
                  </a:cubicBezTo>
                  <a:cubicBezTo>
                    <a:pt x="213" y="46"/>
                    <a:pt x="213" y="46"/>
                    <a:pt x="213" y="46"/>
                  </a:cubicBezTo>
                  <a:cubicBezTo>
                    <a:pt x="214" y="46"/>
                    <a:pt x="215" y="46"/>
                    <a:pt x="216" y="48"/>
                  </a:cubicBezTo>
                  <a:cubicBezTo>
                    <a:pt x="218" y="51"/>
                    <a:pt x="215" y="56"/>
                    <a:pt x="214" y="59"/>
                  </a:cubicBezTo>
                  <a:cubicBezTo>
                    <a:pt x="212" y="67"/>
                    <a:pt x="210" y="73"/>
                    <a:pt x="206" y="80"/>
                  </a:cubicBezTo>
                  <a:cubicBezTo>
                    <a:pt x="204" y="83"/>
                    <a:pt x="203" y="86"/>
                    <a:pt x="202" y="90"/>
                  </a:cubicBezTo>
                  <a:cubicBezTo>
                    <a:pt x="202" y="92"/>
                    <a:pt x="202" y="93"/>
                    <a:pt x="201" y="94"/>
                  </a:cubicBezTo>
                  <a:cubicBezTo>
                    <a:pt x="200" y="97"/>
                    <a:pt x="197" y="99"/>
                    <a:pt x="195" y="100"/>
                  </a:cubicBezTo>
                  <a:cubicBezTo>
                    <a:pt x="191" y="104"/>
                    <a:pt x="187" y="108"/>
                    <a:pt x="183" y="112"/>
                  </a:cubicBezTo>
                  <a:cubicBezTo>
                    <a:pt x="182" y="113"/>
                    <a:pt x="182" y="115"/>
                    <a:pt x="179" y="116"/>
                  </a:cubicBezTo>
                  <a:cubicBezTo>
                    <a:pt x="173" y="119"/>
                    <a:pt x="166" y="122"/>
                    <a:pt x="159" y="126"/>
                  </a:cubicBezTo>
                  <a:cubicBezTo>
                    <a:pt x="156" y="127"/>
                    <a:pt x="153" y="132"/>
                    <a:pt x="149" y="132"/>
                  </a:cubicBezTo>
                  <a:cubicBezTo>
                    <a:pt x="148" y="132"/>
                    <a:pt x="147" y="132"/>
                    <a:pt x="146" y="131"/>
                  </a:cubicBezTo>
                  <a:cubicBezTo>
                    <a:pt x="145" y="130"/>
                    <a:pt x="145" y="130"/>
                    <a:pt x="145" y="128"/>
                  </a:cubicBezTo>
                  <a:cubicBezTo>
                    <a:pt x="146" y="127"/>
                    <a:pt x="146" y="124"/>
                    <a:pt x="146" y="123"/>
                  </a:cubicBezTo>
                  <a:cubicBezTo>
                    <a:pt x="145" y="123"/>
                    <a:pt x="145" y="123"/>
                    <a:pt x="145" y="123"/>
                  </a:cubicBezTo>
                  <a:cubicBezTo>
                    <a:pt x="145" y="123"/>
                    <a:pt x="145" y="123"/>
                    <a:pt x="145" y="123"/>
                  </a:cubicBezTo>
                  <a:cubicBezTo>
                    <a:pt x="145" y="123"/>
                    <a:pt x="145" y="123"/>
                    <a:pt x="144" y="123"/>
                  </a:cubicBezTo>
                  <a:cubicBezTo>
                    <a:pt x="144" y="123"/>
                    <a:pt x="144" y="123"/>
                    <a:pt x="144" y="123"/>
                  </a:cubicBezTo>
                  <a:cubicBezTo>
                    <a:pt x="143" y="123"/>
                    <a:pt x="141" y="123"/>
                    <a:pt x="141" y="122"/>
                  </a:cubicBezTo>
                  <a:cubicBezTo>
                    <a:pt x="141" y="119"/>
                    <a:pt x="144" y="120"/>
                    <a:pt x="145" y="120"/>
                  </a:cubicBezTo>
                  <a:cubicBezTo>
                    <a:pt x="146" y="119"/>
                    <a:pt x="147" y="118"/>
                    <a:pt x="148" y="117"/>
                  </a:cubicBezTo>
                  <a:cubicBezTo>
                    <a:pt x="148" y="117"/>
                    <a:pt x="148" y="117"/>
                    <a:pt x="148" y="117"/>
                  </a:cubicBezTo>
                  <a:cubicBezTo>
                    <a:pt x="148" y="117"/>
                    <a:pt x="149" y="117"/>
                    <a:pt x="149" y="117"/>
                  </a:cubicBezTo>
                  <a:cubicBezTo>
                    <a:pt x="149" y="117"/>
                    <a:pt x="149" y="117"/>
                    <a:pt x="150" y="117"/>
                  </a:cubicBezTo>
                  <a:cubicBezTo>
                    <a:pt x="150" y="117"/>
                    <a:pt x="150" y="117"/>
                    <a:pt x="150" y="117"/>
                  </a:cubicBezTo>
                  <a:cubicBezTo>
                    <a:pt x="152" y="116"/>
                    <a:pt x="154" y="112"/>
                    <a:pt x="151" y="111"/>
                  </a:cubicBezTo>
                  <a:cubicBezTo>
                    <a:pt x="151" y="111"/>
                    <a:pt x="150" y="111"/>
                    <a:pt x="150" y="111"/>
                  </a:cubicBezTo>
                  <a:cubicBezTo>
                    <a:pt x="150" y="111"/>
                    <a:pt x="148" y="112"/>
                    <a:pt x="147" y="112"/>
                  </a:cubicBezTo>
                  <a:cubicBezTo>
                    <a:pt x="145" y="113"/>
                    <a:pt x="141" y="114"/>
                    <a:pt x="140" y="115"/>
                  </a:cubicBezTo>
                  <a:cubicBezTo>
                    <a:pt x="136" y="118"/>
                    <a:pt x="139" y="124"/>
                    <a:pt x="139" y="127"/>
                  </a:cubicBezTo>
                  <a:cubicBezTo>
                    <a:pt x="138" y="131"/>
                    <a:pt x="135" y="134"/>
                    <a:pt x="132" y="137"/>
                  </a:cubicBezTo>
                  <a:cubicBezTo>
                    <a:pt x="129" y="142"/>
                    <a:pt x="122" y="148"/>
                    <a:pt x="122" y="154"/>
                  </a:cubicBezTo>
                  <a:cubicBezTo>
                    <a:pt x="121" y="156"/>
                    <a:pt x="124" y="158"/>
                    <a:pt x="123" y="161"/>
                  </a:cubicBezTo>
                  <a:cubicBezTo>
                    <a:pt x="123" y="161"/>
                    <a:pt x="122" y="160"/>
                    <a:pt x="122" y="160"/>
                  </a:cubicBezTo>
                  <a:cubicBezTo>
                    <a:pt x="120" y="160"/>
                    <a:pt x="118" y="164"/>
                    <a:pt x="116" y="165"/>
                  </a:cubicBezTo>
                  <a:cubicBezTo>
                    <a:pt x="115" y="165"/>
                    <a:pt x="114" y="165"/>
                    <a:pt x="114" y="165"/>
                  </a:cubicBezTo>
                  <a:cubicBezTo>
                    <a:pt x="113" y="165"/>
                    <a:pt x="112" y="165"/>
                    <a:pt x="111" y="165"/>
                  </a:cubicBezTo>
                  <a:cubicBezTo>
                    <a:pt x="110" y="165"/>
                    <a:pt x="110" y="165"/>
                    <a:pt x="109" y="165"/>
                  </a:cubicBezTo>
                  <a:cubicBezTo>
                    <a:pt x="108" y="165"/>
                    <a:pt x="106" y="165"/>
                    <a:pt x="105" y="167"/>
                  </a:cubicBezTo>
                  <a:cubicBezTo>
                    <a:pt x="104" y="165"/>
                    <a:pt x="103" y="164"/>
                    <a:pt x="103" y="162"/>
                  </a:cubicBezTo>
                  <a:cubicBezTo>
                    <a:pt x="103" y="161"/>
                    <a:pt x="105" y="161"/>
                    <a:pt x="105" y="160"/>
                  </a:cubicBezTo>
                  <a:cubicBezTo>
                    <a:pt x="104" y="159"/>
                    <a:pt x="104" y="159"/>
                    <a:pt x="103" y="159"/>
                  </a:cubicBezTo>
                  <a:cubicBezTo>
                    <a:pt x="100" y="159"/>
                    <a:pt x="95" y="161"/>
                    <a:pt x="94" y="161"/>
                  </a:cubicBezTo>
                  <a:cubicBezTo>
                    <a:pt x="86" y="163"/>
                    <a:pt x="76" y="163"/>
                    <a:pt x="67" y="164"/>
                  </a:cubicBezTo>
                  <a:cubicBezTo>
                    <a:pt x="58" y="164"/>
                    <a:pt x="50" y="166"/>
                    <a:pt x="42" y="168"/>
                  </a:cubicBezTo>
                  <a:cubicBezTo>
                    <a:pt x="43" y="172"/>
                    <a:pt x="40" y="172"/>
                    <a:pt x="37" y="174"/>
                  </a:cubicBezTo>
                  <a:cubicBezTo>
                    <a:pt x="32" y="178"/>
                    <a:pt x="26" y="182"/>
                    <a:pt x="21" y="186"/>
                  </a:cubicBezTo>
                  <a:cubicBezTo>
                    <a:pt x="19" y="188"/>
                    <a:pt x="16" y="189"/>
                    <a:pt x="14" y="191"/>
                  </a:cubicBezTo>
                  <a:cubicBezTo>
                    <a:pt x="13" y="193"/>
                    <a:pt x="13" y="195"/>
                    <a:pt x="9" y="195"/>
                  </a:cubicBezTo>
                  <a:cubicBezTo>
                    <a:pt x="9" y="195"/>
                    <a:pt x="9" y="195"/>
                    <a:pt x="9" y="195"/>
                  </a:cubicBezTo>
                  <a:cubicBezTo>
                    <a:pt x="8" y="195"/>
                    <a:pt x="7" y="195"/>
                    <a:pt x="6" y="195"/>
                  </a:cubicBezTo>
                  <a:cubicBezTo>
                    <a:pt x="5" y="195"/>
                    <a:pt x="4" y="194"/>
                    <a:pt x="4" y="194"/>
                  </a:cubicBezTo>
                  <a:cubicBezTo>
                    <a:pt x="3" y="194"/>
                    <a:pt x="2" y="194"/>
                    <a:pt x="2" y="195"/>
                  </a:cubicBezTo>
                  <a:cubicBezTo>
                    <a:pt x="2" y="195"/>
                    <a:pt x="2" y="195"/>
                    <a:pt x="2" y="195"/>
                  </a:cubicBezTo>
                  <a:cubicBezTo>
                    <a:pt x="2" y="195"/>
                    <a:pt x="1" y="197"/>
                    <a:pt x="0" y="197"/>
                  </a:cubicBezTo>
                  <a:cubicBezTo>
                    <a:pt x="0" y="198"/>
                    <a:pt x="1" y="200"/>
                    <a:pt x="1" y="201"/>
                  </a:cubicBezTo>
                  <a:cubicBezTo>
                    <a:pt x="1" y="201"/>
                    <a:pt x="0" y="202"/>
                    <a:pt x="0" y="202"/>
                  </a:cubicBezTo>
                  <a:cubicBezTo>
                    <a:pt x="0" y="203"/>
                    <a:pt x="1" y="203"/>
                    <a:pt x="1" y="204"/>
                  </a:cubicBezTo>
                  <a:cubicBezTo>
                    <a:pt x="1" y="205"/>
                    <a:pt x="2" y="206"/>
                    <a:pt x="0" y="207"/>
                  </a:cubicBezTo>
                  <a:cubicBezTo>
                    <a:pt x="1" y="207"/>
                    <a:pt x="1" y="207"/>
                    <a:pt x="1" y="207"/>
                  </a:cubicBezTo>
                  <a:cubicBezTo>
                    <a:pt x="2" y="207"/>
                    <a:pt x="2" y="207"/>
                    <a:pt x="2" y="207"/>
                  </a:cubicBezTo>
                  <a:cubicBezTo>
                    <a:pt x="2" y="207"/>
                    <a:pt x="3" y="207"/>
                    <a:pt x="3" y="207"/>
                  </a:cubicBezTo>
                  <a:cubicBezTo>
                    <a:pt x="3" y="207"/>
                    <a:pt x="3" y="207"/>
                    <a:pt x="3" y="207"/>
                  </a:cubicBezTo>
                  <a:cubicBezTo>
                    <a:pt x="9" y="207"/>
                    <a:pt x="16" y="206"/>
                    <a:pt x="22" y="205"/>
                  </a:cubicBezTo>
                  <a:cubicBezTo>
                    <a:pt x="21" y="206"/>
                    <a:pt x="24" y="206"/>
                    <a:pt x="26" y="207"/>
                  </a:cubicBezTo>
                  <a:cubicBezTo>
                    <a:pt x="27" y="207"/>
                    <a:pt x="28" y="208"/>
                    <a:pt x="29" y="209"/>
                  </a:cubicBezTo>
                  <a:cubicBezTo>
                    <a:pt x="30" y="207"/>
                    <a:pt x="33" y="196"/>
                    <a:pt x="35" y="196"/>
                  </a:cubicBezTo>
                  <a:cubicBezTo>
                    <a:pt x="36" y="196"/>
                    <a:pt x="36" y="196"/>
                    <a:pt x="36" y="196"/>
                  </a:cubicBezTo>
                  <a:cubicBezTo>
                    <a:pt x="39" y="198"/>
                    <a:pt x="39" y="200"/>
                    <a:pt x="42" y="200"/>
                  </a:cubicBezTo>
                  <a:cubicBezTo>
                    <a:pt x="42" y="200"/>
                    <a:pt x="43" y="200"/>
                    <a:pt x="44" y="200"/>
                  </a:cubicBezTo>
                  <a:cubicBezTo>
                    <a:pt x="49" y="200"/>
                    <a:pt x="55" y="197"/>
                    <a:pt x="59" y="194"/>
                  </a:cubicBezTo>
                  <a:cubicBezTo>
                    <a:pt x="60" y="193"/>
                    <a:pt x="61" y="193"/>
                    <a:pt x="62" y="193"/>
                  </a:cubicBezTo>
                  <a:cubicBezTo>
                    <a:pt x="63" y="193"/>
                    <a:pt x="65" y="193"/>
                    <a:pt x="66" y="193"/>
                  </a:cubicBezTo>
                  <a:cubicBezTo>
                    <a:pt x="67" y="194"/>
                    <a:pt x="68" y="194"/>
                    <a:pt x="69" y="194"/>
                  </a:cubicBezTo>
                  <a:cubicBezTo>
                    <a:pt x="70" y="194"/>
                    <a:pt x="70" y="194"/>
                    <a:pt x="71" y="193"/>
                  </a:cubicBezTo>
                  <a:cubicBezTo>
                    <a:pt x="73" y="193"/>
                    <a:pt x="72" y="191"/>
                    <a:pt x="74" y="189"/>
                  </a:cubicBezTo>
                  <a:cubicBezTo>
                    <a:pt x="75" y="188"/>
                    <a:pt x="80" y="186"/>
                    <a:pt x="81" y="186"/>
                  </a:cubicBezTo>
                  <a:cubicBezTo>
                    <a:pt x="89" y="187"/>
                    <a:pt x="97" y="187"/>
                    <a:pt x="106" y="187"/>
                  </a:cubicBezTo>
                  <a:cubicBezTo>
                    <a:pt x="111" y="187"/>
                    <a:pt x="107" y="192"/>
                    <a:pt x="105" y="193"/>
                  </a:cubicBezTo>
                  <a:cubicBezTo>
                    <a:pt x="103" y="194"/>
                    <a:pt x="101" y="196"/>
                    <a:pt x="100" y="197"/>
                  </a:cubicBezTo>
                  <a:cubicBezTo>
                    <a:pt x="99" y="198"/>
                    <a:pt x="101" y="200"/>
                    <a:pt x="101" y="201"/>
                  </a:cubicBezTo>
                  <a:cubicBezTo>
                    <a:pt x="101" y="202"/>
                    <a:pt x="100" y="202"/>
                    <a:pt x="100" y="203"/>
                  </a:cubicBezTo>
                  <a:cubicBezTo>
                    <a:pt x="100" y="205"/>
                    <a:pt x="101" y="206"/>
                    <a:pt x="99" y="208"/>
                  </a:cubicBezTo>
                  <a:cubicBezTo>
                    <a:pt x="101" y="210"/>
                    <a:pt x="104" y="211"/>
                    <a:pt x="107" y="213"/>
                  </a:cubicBezTo>
                  <a:cubicBezTo>
                    <a:pt x="102" y="215"/>
                    <a:pt x="115" y="219"/>
                    <a:pt x="115" y="220"/>
                  </a:cubicBezTo>
                  <a:cubicBezTo>
                    <a:pt x="121" y="215"/>
                    <a:pt x="126" y="209"/>
                    <a:pt x="129" y="202"/>
                  </a:cubicBezTo>
                  <a:cubicBezTo>
                    <a:pt x="131" y="200"/>
                    <a:pt x="132" y="199"/>
                    <a:pt x="134" y="198"/>
                  </a:cubicBezTo>
                  <a:cubicBezTo>
                    <a:pt x="134" y="198"/>
                    <a:pt x="136" y="198"/>
                    <a:pt x="136" y="198"/>
                  </a:cubicBezTo>
                  <a:cubicBezTo>
                    <a:pt x="137" y="197"/>
                    <a:pt x="137" y="196"/>
                    <a:pt x="137" y="196"/>
                  </a:cubicBezTo>
                  <a:cubicBezTo>
                    <a:pt x="137" y="196"/>
                    <a:pt x="137" y="196"/>
                    <a:pt x="137" y="196"/>
                  </a:cubicBezTo>
                  <a:cubicBezTo>
                    <a:pt x="138" y="196"/>
                    <a:pt x="138" y="197"/>
                    <a:pt x="138" y="197"/>
                  </a:cubicBezTo>
                  <a:cubicBezTo>
                    <a:pt x="138" y="197"/>
                    <a:pt x="139" y="197"/>
                    <a:pt x="139" y="197"/>
                  </a:cubicBezTo>
                  <a:cubicBezTo>
                    <a:pt x="140" y="197"/>
                    <a:pt x="141" y="197"/>
                    <a:pt x="141" y="199"/>
                  </a:cubicBezTo>
                  <a:cubicBezTo>
                    <a:pt x="142" y="198"/>
                    <a:pt x="142" y="198"/>
                    <a:pt x="142" y="198"/>
                  </a:cubicBezTo>
                  <a:cubicBezTo>
                    <a:pt x="140" y="194"/>
                    <a:pt x="139" y="192"/>
                    <a:pt x="136" y="190"/>
                  </a:cubicBezTo>
                  <a:cubicBezTo>
                    <a:pt x="134" y="188"/>
                    <a:pt x="133" y="190"/>
                    <a:pt x="134" y="186"/>
                  </a:cubicBezTo>
                  <a:cubicBezTo>
                    <a:pt x="135" y="183"/>
                    <a:pt x="138" y="178"/>
                    <a:pt x="142" y="177"/>
                  </a:cubicBezTo>
                  <a:cubicBezTo>
                    <a:pt x="141" y="180"/>
                    <a:pt x="140" y="181"/>
                    <a:pt x="141" y="184"/>
                  </a:cubicBezTo>
                  <a:cubicBezTo>
                    <a:pt x="142" y="185"/>
                    <a:pt x="142" y="186"/>
                    <a:pt x="142" y="186"/>
                  </a:cubicBezTo>
                  <a:cubicBezTo>
                    <a:pt x="142" y="186"/>
                    <a:pt x="142" y="186"/>
                    <a:pt x="143" y="184"/>
                  </a:cubicBezTo>
                  <a:cubicBezTo>
                    <a:pt x="143" y="183"/>
                    <a:pt x="143" y="182"/>
                    <a:pt x="144" y="181"/>
                  </a:cubicBezTo>
                  <a:cubicBezTo>
                    <a:pt x="145" y="185"/>
                    <a:pt x="146" y="185"/>
                    <a:pt x="149" y="188"/>
                  </a:cubicBezTo>
                  <a:cubicBezTo>
                    <a:pt x="147" y="189"/>
                    <a:pt x="146" y="188"/>
                    <a:pt x="145" y="190"/>
                  </a:cubicBezTo>
                  <a:cubicBezTo>
                    <a:pt x="151" y="189"/>
                    <a:pt x="157" y="188"/>
                    <a:pt x="163" y="187"/>
                  </a:cubicBezTo>
                  <a:cubicBezTo>
                    <a:pt x="166" y="187"/>
                    <a:pt x="173" y="187"/>
                    <a:pt x="175" y="185"/>
                  </a:cubicBezTo>
                  <a:cubicBezTo>
                    <a:pt x="177" y="184"/>
                    <a:pt x="176" y="182"/>
                    <a:pt x="178" y="180"/>
                  </a:cubicBezTo>
                  <a:cubicBezTo>
                    <a:pt x="179" y="180"/>
                    <a:pt x="180" y="180"/>
                    <a:pt x="181" y="179"/>
                  </a:cubicBezTo>
                  <a:cubicBezTo>
                    <a:pt x="181" y="179"/>
                    <a:pt x="181" y="179"/>
                    <a:pt x="180" y="179"/>
                  </a:cubicBezTo>
                  <a:cubicBezTo>
                    <a:pt x="180" y="179"/>
                    <a:pt x="180" y="177"/>
                    <a:pt x="181" y="177"/>
                  </a:cubicBezTo>
                  <a:cubicBezTo>
                    <a:pt x="182" y="176"/>
                    <a:pt x="183" y="176"/>
                    <a:pt x="184" y="176"/>
                  </a:cubicBezTo>
                  <a:cubicBezTo>
                    <a:pt x="186" y="176"/>
                    <a:pt x="188" y="176"/>
                    <a:pt x="189" y="178"/>
                  </a:cubicBezTo>
                  <a:cubicBezTo>
                    <a:pt x="188" y="178"/>
                    <a:pt x="187" y="178"/>
                    <a:pt x="186" y="179"/>
                  </a:cubicBezTo>
                  <a:cubicBezTo>
                    <a:pt x="185" y="181"/>
                    <a:pt x="187" y="187"/>
                    <a:pt x="188" y="189"/>
                  </a:cubicBezTo>
                  <a:cubicBezTo>
                    <a:pt x="189" y="189"/>
                    <a:pt x="189" y="189"/>
                    <a:pt x="190" y="188"/>
                  </a:cubicBezTo>
                  <a:cubicBezTo>
                    <a:pt x="193" y="186"/>
                    <a:pt x="195" y="183"/>
                    <a:pt x="194" y="179"/>
                  </a:cubicBezTo>
                  <a:cubicBezTo>
                    <a:pt x="194" y="178"/>
                    <a:pt x="194" y="177"/>
                    <a:pt x="194" y="176"/>
                  </a:cubicBezTo>
                  <a:cubicBezTo>
                    <a:pt x="196" y="175"/>
                    <a:pt x="198" y="174"/>
                    <a:pt x="201" y="174"/>
                  </a:cubicBezTo>
                  <a:cubicBezTo>
                    <a:pt x="205" y="174"/>
                    <a:pt x="209" y="176"/>
                    <a:pt x="211" y="180"/>
                  </a:cubicBezTo>
                  <a:cubicBezTo>
                    <a:pt x="210" y="180"/>
                    <a:pt x="210" y="180"/>
                    <a:pt x="210" y="180"/>
                  </a:cubicBezTo>
                  <a:cubicBezTo>
                    <a:pt x="210" y="181"/>
                    <a:pt x="211" y="181"/>
                    <a:pt x="211" y="181"/>
                  </a:cubicBezTo>
                  <a:cubicBezTo>
                    <a:pt x="211" y="181"/>
                    <a:pt x="212" y="181"/>
                    <a:pt x="212" y="181"/>
                  </a:cubicBezTo>
                  <a:cubicBezTo>
                    <a:pt x="212" y="181"/>
                    <a:pt x="213" y="181"/>
                    <a:pt x="213" y="181"/>
                  </a:cubicBezTo>
                  <a:cubicBezTo>
                    <a:pt x="217" y="180"/>
                    <a:pt x="224" y="176"/>
                    <a:pt x="224" y="171"/>
                  </a:cubicBezTo>
                  <a:cubicBezTo>
                    <a:pt x="225" y="164"/>
                    <a:pt x="229" y="163"/>
                    <a:pt x="235" y="159"/>
                  </a:cubicBezTo>
                  <a:cubicBezTo>
                    <a:pt x="233" y="156"/>
                    <a:pt x="230" y="153"/>
                    <a:pt x="229" y="149"/>
                  </a:cubicBezTo>
                  <a:cubicBezTo>
                    <a:pt x="228" y="146"/>
                    <a:pt x="229" y="144"/>
                    <a:pt x="230" y="141"/>
                  </a:cubicBezTo>
                  <a:cubicBezTo>
                    <a:pt x="231" y="137"/>
                    <a:pt x="233" y="133"/>
                    <a:pt x="234" y="129"/>
                  </a:cubicBezTo>
                  <a:cubicBezTo>
                    <a:pt x="234" y="128"/>
                    <a:pt x="237" y="128"/>
                    <a:pt x="237" y="126"/>
                  </a:cubicBezTo>
                  <a:cubicBezTo>
                    <a:pt x="239" y="124"/>
                    <a:pt x="239" y="121"/>
                    <a:pt x="239" y="119"/>
                  </a:cubicBezTo>
                  <a:cubicBezTo>
                    <a:pt x="238" y="112"/>
                    <a:pt x="237" y="105"/>
                    <a:pt x="237" y="98"/>
                  </a:cubicBezTo>
                  <a:cubicBezTo>
                    <a:pt x="237" y="96"/>
                    <a:pt x="237" y="94"/>
                    <a:pt x="238" y="92"/>
                  </a:cubicBezTo>
                  <a:cubicBezTo>
                    <a:pt x="240" y="89"/>
                    <a:pt x="240" y="90"/>
                    <a:pt x="243" y="88"/>
                  </a:cubicBezTo>
                  <a:cubicBezTo>
                    <a:pt x="244" y="88"/>
                    <a:pt x="244" y="87"/>
                    <a:pt x="246" y="87"/>
                  </a:cubicBezTo>
                  <a:cubicBezTo>
                    <a:pt x="246" y="87"/>
                    <a:pt x="246" y="87"/>
                    <a:pt x="246" y="87"/>
                  </a:cubicBezTo>
                  <a:cubicBezTo>
                    <a:pt x="248" y="87"/>
                    <a:pt x="250" y="89"/>
                    <a:pt x="251" y="91"/>
                  </a:cubicBezTo>
                  <a:cubicBezTo>
                    <a:pt x="250" y="83"/>
                    <a:pt x="249" y="80"/>
                    <a:pt x="252" y="74"/>
                  </a:cubicBezTo>
                  <a:cubicBezTo>
                    <a:pt x="253" y="72"/>
                    <a:pt x="253" y="72"/>
                    <a:pt x="254" y="72"/>
                  </a:cubicBezTo>
                  <a:cubicBezTo>
                    <a:pt x="254" y="72"/>
                    <a:pt x="255" y="72"/>
                    <a:pt x="256" y="71"/>
                  </a:cubicBezTo>
                  <a:cubicBezTo>
                    <a:pt x="256" y="70"/>
                    <a:pt x="256" y="70"/>
                    <a:pt x="256" y="70"/>
                  </a:cubicBezTo>
                  <a:cubicBezTo>
                    <a:pt x="258" y="70"/>
                    <a:pt x="258" y="70"/>
                    <a:pt x="258" y="70"/>
                  </a:cubicBezTo>
                  <a:cubicBezTo>
                    <a:pt x="260" y="68"/>
                    <a:pt x="264" y="58"/>
                    <a:pt x="262" y="57"/>
                  </a:cubicBezTo>
                  <a:cubicBezTo>
                    <a:pt x="266" y="55"/>
                    <a:pt x="258" y="39"/>
                    <a:pt x="256" y="35"/>
                  </a:cubicBezTo>
                  <a:cubicBezTo>
                    <a:pt x="254" y="29"/>
                    <a:pt x="249" y="26"/>
                    <a:pt x="248" y="21"/>
                  </a:cubicBezTo>
                  <a:cubicBezTo>
                    <a:pt x="247" y="16"/>
                    <a:pt x="248" y="11"/>
                    <a:pt x="249" y="6"/>
                  </a:cubicBezTo>
                  <a:cubicBezTo>
                    <a:pt x="249" y="6"/>
                    <a:pt x="250" y="5"/>
                    <a:pt x="250" y="4"/>
                  </a:cubicBezTo>
                  <a:cubicBezTo>
                    <a:pt x="249" y="3"/>
                    <a:pt x="245" y="3"/>
                    <a:pt x="243" y="2"/>
                  </a:cubicBezTo>
                  <a:cubicBezTo>
                    <a:pt x="242" y="2"/>
                    <a:pt x="239"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159"/>
            <p:cNvSpPr>
              <a:spLocks noEditPoints="1"/>
            </p:cNvSpPr>
            <p:nvPr/>
          </p:nvSpPr>
          <p:spPr bwMode="auto">
            <a:xfrm>
              <a:off x="5251217" y="2240361"/>
              <a:ext cx="202693" cy="136918"/>
            </a:xfrm>
            <a:custGeom>
              <a:gdLst>
                <a:gd name="T0" fmla="*/ 0 w 64"/>
                <a:gd name="T1" fmla="*/ 27 h 43"/>
                <a:gd name="T2" fmla="*/ 0 w 64"/>
                <a:gd name="T3" fmla="*/ 27 h 43"/>
                <a:gd name="T4" fmla="*/ 0 w 64"/>
                <a:gd name="T5" fmla="*/ 27 h 43"/>
                <a:gd name="T6" fmla="*/ 46 w 64"/>
                <a:gd name="T7" fmla="*/ 0 h 43"/>
                <a:gd name="T8" fmla="*/ 37 w 64"/>
                <a:gd name="T9" fmla="*/ 3 h 43"/>
                <a:gd name="T10" fmla="*/ 37 w 64"/>
                <a:gd name="T11" fmla="*/ 9 h 43"/>
                <a:gd name="T12" fmla="*/ 28 w 64"/>
                <a:gd name="T13" fmla="*/ 11 h 43"/>
                <a:gd name="T14" fmla="*/ 25 w 64"/>
                <a:gd name="T15" fmla="*/ 11 h 43"/>
                <a:gd name="T16" fmla="*/ 22 w 64"/>
                <a:gd name="T17" fmla="*/ 6 h 43"/>
                <a:gd name="T18" fmla="*/ 21 w 64"/>
                <a:gd name="T19" fmla="*/ 7 h 43"/>
                <a:gd name="T20" fmla="*/ 17 w 64"/>
                <a:gd name="T21" fmla="*/ 12 h 43"/>
                <a:gd name="T22" fmla="*/ 15 w 64"/>
                <a:gd name="T23" fmla="*/ 16 h 43"/>
                <a:gd name="T24" fmla="*/ 0 w 64"/>
                <a:gd name="T25" fmla="*/ 27 h 43"/>
                <a:gd name="T26" fmla="*/ 4 w 64"/>
                <a:gd name="T27" fmla="*/ 26 h 43"/>
                <a:gd name="T28" fmla="*/ 7 w 64"/>
                <a:gd name="T29" fmla="*/ 24 h 43"/>
                <a:gd name="T30" fmla="*/ 8 w 64"/>
                <a:gd name="T31" fmla="*/ 24 h 43"/>
                <a:gd name="T32" fmla="*/ 9 w 64"/>
                <a:gd name="T33" fmla="*/ 26 h 43"/>
                <a:gd name="T34" fmla="*/ 10 w 64"/>
                <a:gd name="T35" fmla="*/ 28 h 43"/>
                <a:gd name="T36" fmla="*/ 11 w 64"/>
                <a:gd name="T37" fmla="*/ 28 h 43"/>
                <a:gd name="T38" fmla="*/ 9 w 64"/>
                <a:gd name="T39" fmla="*/ 31 h 43"/>
                <a:gd name="T40" fmla="*/ 10 w 64"/>
                <a:gd name="T41" fmla="*/ 34 h 43"/>
                <a:gd name="T42" fmla="*/ 11 w 64"/>
                <a:gd name="T43" fmla="*/ 38 h 43"/>
                <a:gd name="T44" fmla="*/ 13 w 64"/>
                <a:gd name="T45" fmla="*/ 37 h 43"/>
                <a:gd name="T46" fmla="*/ 15 w 64"/>
                <a:gd name="T47" fmla="*/ 42 h 43"/>
                <a:gd name="T48" fmla="*/ 16 w 64"/>
                <a:gd name="T49" fmla="*/ 42 h 43"/>
                <a:gd name="T50" fmla="*/ 19 w 64"/>
                <a:gd name="T51" fmla="*/ 42 h 43"/>
                <a:gd name="T52" fmla="*/ 22 w 64"/>
                <a:gd name="T53" fmla="*/ 43 h 43"/>
                <a:gd name="T54" fmla="*/ 24 w 64"/>
                <a:gd name="T55" fmla="*/ 42 h 43"/>
                <a:gd name="T56" fmla="*/ 23 w 64"/>
                <a:gd name="T57" fmla="*/ 41 h 43"/>
                <a:gd name="T58" fmla="*/ 23 w 64"/>
                <a:gd name="T59" fmla="*/ 39 h 43"/>
                <a:gd name="T60" fmla="*/ 33 w 64"/>
                <a:gd name="T61" fmla="*/ 28 h 43"/>
                <a:gd name="T62" fmla="*/ 41 w 64"/>
                <a:gd name="T63" fmla="*/ 22 h 43"/>
                <a:gd name="T64" fmla="*/ 45 w 64"/>
                <a:gd name="T65" fmla="*/ 23 h 43"/>
                <a:gd name="T66" fmla="*/ 51 w 64"/>
                <a:gd name="T67" fmla="*/ 29 h 43"/>
                <a:gd name="T68" fmla="*/ 64 w 64"/>
                <a:gd name="T69" fmla="*/ 14 h 43"/>
                <a:gd name="T70" fmla="*/ 61 w 64"/>
                <a:gd name="T71" fmla="*/ 10 h 43"/>
                <a:gd name="T72" fmla="*/ 62 w 64"/>
                <a:gd name="T73" fmla="*/ 3 h 43"/>
                <a:gd name="T74" fmla="*/ 61 w 64"/>
                <a:gd name="T75" fmla="*/ 4 h 43"/>
                <a:gd name="T76" fmla="*/ 61 w 64"/>
                <a:gd name="T77" fmla="*/ 3 h 43"/>
                <a:gd name="T78" fmla="*/ 60 w 64"/>
                <a:gd name="T79" fmla="*/ 3 h 43"/>
                <a:gd name="T80" fmla="*/ 60 w 64"/>
                <a:gd name="T81" fmla="*/ 4 h 43"/>
                <a:gd name="T82" fmla="*/ 59 w 64"/>
                <a:gd name="T83" fmla="*/ 4 h 43"/>
                <a:gd name="T84" fmla="*/ 48 w 64"/>
                <a:gd name="T85" fmla="*/ 0 h 43"/>
                <a:gd name="T86" fmla="*/ 46 w 64"/>
                <a:gd name="T87"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43">
                  <a:moveTo>
                    <a:pt x="0" y="27"/>
                  </a:moveTo>
                  <a:cubicBezTo>
                    <a:pt x="0" y="27"/>
                    <a:pt x="0" y="27"/>
                    <a:pt x="0" y="27"/>
                  </a:cubicBezTo>
                  <a:cubicBezTo>
                    <a:pt x="0" y="27"/>
                    <a:pt x="0" y="27"/>
                    <a:pt x="0" y="27"/>
                  </a:cubicBezTo>
                  <a:moveTo>
                    <a:pt x="46" y="0"/>
                  </a:moveTo>
                  <a:cubicBezTo>
                    <a:pt x="43" y="0"/>
                    <a:pt x="39" y="2"/>
                    <a:pt x="37" y="3"/>
                  </a:cubicBezTo>
                  <a:cubicBezTo>
                    <a:pt x="39" y="4"/>
                    <a:pt x="38" y="6"/>
                    <a:pt x="37" y="9"/>
                  </a:cubicBezTo>
                  <a:cubicBezTo>
                    <a:pt x="35" y="9"/>
                    <a:pt x="31" y="11"/>
                    <a:pt x="28" y="11"/>
                  </a:cubicBezTo>
                  <a:cubicBezTo>
                    <a:pt x="27" y="11"/>
                    <a:pt x="26" y="11"/>
                    <a:pt x="25" y="11"/>
                  </a:cubicBezTo>
                  <a:cubicBezTo>
                    <a:pt x="24" y="10"/>
                    <a:pt x="24" y="6"/>
                    <a:pt x="22" y="6"/>
                  </a:cubicBezTo>
                  <a:cubicBezTo>
                    <a:pt x="21" y="6"/>
                    <a:pt x="21" y="6"/>
                    <a:pt x="21" y="7"/>
                  </a:cubicBezTo>
                  <a:cubicBezTo>
                    <a:pt x="21" y="7"/>
                    <a:pt x="17" y="11"/>
                    <a:pt x="17" y="12"/>
                  </a:cubicBezTo>
                  <a:cubicBezTo>
                    <a:pt x="16" y="14"/>
                    <a:pt x="17" y="15"/>
                    <a:pt x="15" y="16"/>
                  </a:cubicBezTo>
                  <a:cubicBezTo>
                    <a:pt x="10" y="20"/>
                    <a:pt x="5" y="23"/>
                    <a:pt x="0" y="27"/>
                  </a:cubicBezTo>
                  <a:cubicBezTo>
                    <a:pt x="2" y="26"/>
                    <a:pt x="2" y="26"/>
                    <a:pt x="4" y="26"/>
                  </a:cubicBezTo>
                  <a:cubicBezTo>
                    <a:pt x="5" y="25"/>
                    <a:pt x="6" y="24"/>
                    <a:pt x="7" y="24"/>
                  </a:cubicBezTo>
                  <a:cubicBezTo>
                    <a:pt x="7" y="24"/>
                    <a:pt x="7" y="24"/>
                    <a:pt x="8" y="24"/>
                  </a:cubicBezTo>
                  <a:cubicBezTo>
                    <a:pt x="9" y="24"/>
                    <a:pt x="9" y="25"/>
                    <a:pt x="9" y="26"/>
                  </a:cubicBezTo>
                  <a:cubicBezTo>
                    <a:pt x="9" y="27"/>
                    <a:pt x="9" y="28"/>
                    <a:pt x="10" y="28"/>
                  </a:cubicBezTo>
                  <a:cubicBezTo>
                    <a:pt x="10" y="28"/>
                    <a:pt x="11" y="28"/>
                    <a:pt x="11" y="28"/>
                  </a:cubicBezTo>
                  <a:cubicBezTo>
                    <a:pt x="11" y="29"/>
                    <a:pt x="10" y="30"/>
                    <a:pt x="9" y="31"/>
                  </a:cubicBezTo>
                  <a:cubicBezTo>
                    <a:pt x="11" y="31"/>
                    <a:pt x="11" y="33"/>
                    <a:pt x="10" y="34"/>
                  </a:cubicBezTo>
                  <a:cubicBezTo>
                    <a:pt x="12" y="35"/>
                    <a:pt x="12" y="36"/>
                    <a:pt x="11" y="38"/>
                  </a:cubicBezTo>
                  <a:cubicBezTo>
                    <a:pt x="12" y="38"/>
                    <a:pt x="13" y="37"/>
                    <a:pt x="13" y="37"/>
                  </a:cubicBezTo>
                  <a:cubicBezTo>
                    <a:pt x="15" y="37"/>
                    <a:pt x="15" y="40"/>
                    <a:pt x="15" y="42"/>
                  </a:cubicBezTo>
                  <a:cubicBezTo>
                    <a:pt x="15" y="42"/>
                    <a:pt x="16" y="42"/>
                    <a:pt x="16" y="42"/>
                  </a:cubicBezTo>
                  <a:cubicBezTo>
                    <a:pt x="17" y="42"/>
                    <a:pt x="18" y="42"/>
                    <a:pt x="19" y="42"/>
                  </a:cubicBezTo>
                  <a:cubicBezTo>
                    <a:pt x="21" y="43"/>
                    <a:pt x="22" y="43"/>
                    <a:pt x="22" y="43"/>
                  </a:cubicBezTo>
                  <a:cubicBezTo>
                    <a:pt x="23" y="43"/>
                    <a:pt x="24" y="43"/>
                    <a:pt x="24" y="42"/>
                  </a:cubicBezTo>
                  <a:cubicBezTo>
                    <a:pt x="24" y="42"/>
                    <a:pt x="23" y="41"/>
                    <a:pt x="23" y="41"/>
                  </a:cubicBezTo>
                  <a:cubicBezTo>
                    <a:pt x="23" y="40"/>
                    <a:pt x="23" y="40"/>
                    <a:pt x="23" y="39"/>
                  </a:cubicBezTo>
                  <a:cubicBezTo>
                    <a:pt x="24" y="35"/>
                    <a:pt x="29" y="31"/>
                    <a:pt x="33" y="28"/>
                  </a:cubicBezTo>
                  <a:cubicBezTo>
                    <a:pt x="36" y="25"/>
                    <a:pt x="38" y="22"/>
                    <a:pt x="41" y="22"/>
                  </a:cubicBezTo>
                  <a:cubicBezTo>
                    <a:pt x="43" y="22"/>
                    <a:pt x="44" y="22"/>
                    <a:pt x="45" y="23"/>
                  </a:cubicBezTo>
                  <a:cubicBezTo>
                    <a:pt x="48" y="24"/>
                    <a:pt x="48" y="28"/>
                    <a:pt x="51" y="29"/>
                  </a:cubicBezTo>
                  <a:cubicBezTo>
                    <a:pt x="52" y="21"/>
                    <a:pt x="59" y="18"/>
                    <a:pt x="64" y="14"/>
                  </a:cubicBezTo>
                  <a:cubicBezTo>
                    <a:pt x="63" y="14"/>
                    <a:pt x="64" y="10"/>
                    <a:pt x="61" y="10"/>
                  </a:cubicBezTo>
                  <a:cubicBezTo>
                    <a:pt x="61" y="8"/>
                    <a:pt x="62" y="5"/>
                    <a:pt x="62" y="3"/>
                  </a:cubicBezTo>
                  <a:cubicBezTo>
                    <a:pt x="62" y="3"/>
                    <a:pt x="62" y="3"/>
                    <a:pt x="61" y="4"/>
                  </a:cubicBezTo>
                  <a:cubicBezTo>
                    <a:pt x="61" y="3"/>
                    <a:pt x="61" y="3"/>
                    <a:pt x="61" y="3"/>
                  </a:cubicBezTo>
                  <a:cubicBezTo>
                    <a:pt x="61" y="3"/>
                    <a:pt x="61" y="3"/>
                    <a:pt x="60" y="3"/>
                  </a:cubicBezTo>
                  <a:cubicBezTo>
                    <a:pt x="60" y="3"/>
                    <a:pt x="60" y="4"/>
                    <a:pt x="60" y="4"/>
                  </a:cubicBezTo>
                  <a:cubicBezTo>
                    <a:pt x="60" y="4"/>
                    <a:pt x="60" y="4"/>
                    <a:pt x="59" y="4"/>
                  </a:cubicBezTo>
                  <a:cubicBezTo>
                    <a:pt x="55" y="3"/>
                    <a:pt x="52" y="2"/>
                    <a:pt x="48" y="0"/>
                  </a:cubicBezTo>
                  <a:cubicBezTo>
                    <a:pt x="47" y="0"/>
                    <a:pt x="47"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160"/>
            <p:cNvSpPr/>
            <p:nvPr/>
          </p:nvSpPr>
          <p:spPr bwMode="auto">
            <a:xfrm>
              <a:off x="4746499" y="3014889"/>
              <a:ext cx="12081" cy="9396"/>
            </a:xfrm>
            <a:custGeom>
              <a:gdLst>
                <a:gd name="T0" fmla="*/ 1 w 4"/>
                <a:gd name="T1" fmla="*/ 0 h 3"/>
                <a:gd name="T2" fmla="*/ 2 w 4"/>
                <a:gd name="T3" fmla="*/ 3 h 3"/>
                <a:gd name="T4" fmla="*/ 4 w 4"/>
                <a:gd name="T5" fmla="*/ 3 h 3"/>
                <a:gd name="T6" fmla="*/ 1 w 4"/>
                <a:gd name="T7" fmla="*/ 0 h 3"/>
              </a:gdLst>
              <a:cxnLst>
                <a:cxn ang="0">
                  <a:pos x="T0" y="T1"/>
                </a:cxn>
                <a:cxn ang="0">
                  <a:pos x="T2" y="T3"/>
                </a:cxn>
                <a:cxn ang="0">
                  <a:pos x="T4" y="T5"/>
                </a:cxn>
                <a:cxn ang="0">
                  <a:pos x="T6" y="T7"/>
                </a:cxn>
              </a:cxnLst>
              <a:rect l="0" t="0" r="r" b="b"/>
              <a:pathLst>
                <a:path w="4" h="3">
                  <a:moveTo>
                    <a:pt x="1" y="0"/>
                  </a:moveTo>
                  <a:cubicBezTo>
                    <a:pt x="0" y="3"/>
                    <a:pt x="0" y="3"/>
                    <a:pt x="2" y="3"/>
                  </a:cubicBezTo>
                  <a:cubicBezTo>
                    <a:pt x="2" y="3"/>
                    <a:pt x="3" y="3"/>
                    <a:pt x="4" y="3"/>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1161"/>
            <p:cNvSpPr/>
            <p:nvPr/>
          </p:nvSpPr>
          <p:spPr bwMode="auto">
            <a:xfrm>
              <a:off x="5919700" y="1263140"/>
              <a:ext cx="4027" cy="13423"/>
            </a:xfrm>
            <a:custGeom>
              <a:gdLst>
                <a:gd name="T0" fmla="*/ 0 w 1"/>
                <a:gd name="T1" fmla="*/ 0 h 4"/>
                <a:gd name="T2" fmla="*/ 1 w 1"/>
                <a:gd name="T3" fmla="*/ 4 h 4"/>
                <a:gd name="T4" fmla="*/ 0 w 1"/>
                <a:gd name="T5" fmla="*/ 0 h 4"/>
              </a:gdLst>
              <a:cxnLst>
                <a:cxn ang="0">
                  <a:pos x="T0" y="T1"/>
                </a:cxn>
                <a:cxn ang="0">
                  <a:pos x="T2" y="T3"/>
                </a:cxn>
                <a:cxn ang="0">
                  <a:pos x="T4" y="T5"/>
                </a:cxn>
              </a:cxnLst>
              <a:rect l="0" t="0" r="r" b="b"/>
              <a:pathLst>
                <a:path w="1" h="4">
                  <a:moveTo>
                    <a:pt x="0" y="0"/>
                  </a:moveTo>
                  <a:cubicBezTo>
                    <a:pt x="1" y="1"/>
                    <a:pt x="0" y="3"/>
                    <a:pt x="1" y="4"/>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162"/>
            <p:cNvSpPr/>
            <p:nvPr/>
          </p:nvSpPr>
          <p:spPr bwMode="auto">
            <a:xfrm>
              <a:off x="5000200" y="2370568"/>
              <a:ext cx="18793" cy="16108"/>
            </a:xfrm>
            <a:custGeom>
              <a:gdLst>
                <a:gd name="T0" fmla="*/ 4 w 6"/>
                <a:gd name="T1" fmla="*/ 0 h 5"/>
                <a:gd name="T2" fmla="*/ 0 w 6"/>
                <a:gd name="T3" fmla="*/ 2 h 5"/>
                <a:gd name="T4" fmla="*/ 1 w 6"/>
                <a:gd name="T5" fmla="*/ 5 h 5"/>
                <a:gd name="T6" fmla="*/ 3 w 6"/>
                <a:gd name="T7" fmla="*/ 5 h 5"/>
                <a:gd name="T8" fmla="*/ 6 w 6"/>
                <a:gd name="T9" fmla="*/ 4 h 5"/>
                <a:gd name="T10" fmla="*/ 6 w 6"/>
                <a:gd name="T11" fmla="*/ 4 h 5"/>
                <a:gd name="T12" fmla="*/ 4 w 6"/>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6" h="5">
                  <a:moveTo>
                    <a:pt x="4" y="0"/>
                  </a:moveTo>
                  <a:cubicBezTo>
                    <a:pt x="2" y="1"/>
                    <a:pt x="1" y="2"/>
                    <a:pt x="0" y="2"/>
                  </a:cubicBezTo>
                  <a:cubicBezTo>
                    <a:pt x="0" y="5"/>
                    <a:pt x="0" y="5"/>
                    <a:pt x="1" y="5"/>
                  </a:cubicBezTo>
                  <a:cubicBezTo>
                    <a:pt x="2" y="5"/>
                    <a:pt x="3" y="5"/>
                    <a:pt x="3" y="5"/>
                  </a:cubicBezTo>
                  <a:cubicBezTo>
                    <a:pt x="4" y="4"/>
                    <a:pt x="5" y="4"/>
                    <a:pt x="6" y="4"/>
                  </a:cubicBezTo>
                  <a:cubicBezTo>
                    <a:pt x="6" y="4"/>
                    <a:pt x="6" y="4"/>
                    <a:pt x="6" y="4"/>
                  </a:cubicBezTo>
                  <a:cubicBezTo>
                    <a:pt x="5"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163"/>
            <p:cNvSpPr/>
            <p:nvPr/>
          </p:nvSpPr>
          <p:spPr bwMode="auto">
            <a:xfrm>
              <a:off x="5161281" y="2532991"/>
              <a:ext cx="20135" cy="37585"/>
            </a:xfrm>
            <a:custGeom>
              <a:gdLst>
                <a:gd name="T0" fmla="*/ 6 w 6"/>
                <a:gd name="T1" fmla="*/ 0 h 12"/>
                <a:gd name="T2" fmla="*/ 3 w 6"/>
                <a:gd name="T3" fmla="*/ 7 h 12"/>
                <a:gd name="T4" fmla="*/ 1 w 6"/>
                <a:gd name="T5" fmla="*/ 12 h 12"/>
                <a:gd name="T6" fmla="*/ 6 w 6"/>
                <a:gd name="T7" fmla="*/ 0 h 12"/>
              </a:gdLst>
              <a:cxnLst>
                <a:cxn ang="0">
                  <a:pos x="T0" y="T1"/>
                </a:cxn>
                <a:cxn ang="0">
                  <a:pos x="T2" y="T3"/>
                </a:cxn>
                <a:cxn ang="0">
                  <a:pos x="T4" y="T5"/>
                </a:cxn>
                <a:cxn ang="0">
                  <a:pos x="T6" y="T7"/>
                </a:cxn>
              </a:cxnLst>
              <a:rect l="0" t="0" r="r" b="b"/>
              <a:pathLst>
                <a:path w="6" h="12">
                  <a:moveTo>
                    <a:pt x="6" y="0"/>
                  </a:moveTo>
                  <a:cubicBezTo>
                    <a:pt x="3" y="3"/>
                    <a:pt x="4" y="4"/>
                    <a:pt x="3" y="7"/>
                  </a:cubicBezTo>
                  <a:cubicBezTo>
                    <a:pt x="2" y="9"/>
                    <a:pt x="0" y="10"/>
                    <a:pt x="1" y="12"/>
                  </a:cubicBezTo>
                  <a:cubicBezTo>
                    <a:pt x="3" y="8"/>
                    <a:pt x="4"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164"/>
            <p:cNvSpPr/>
            <p:nvPr/>
          </p:nvSpPr>
          <p:spPr bwMode="auto">
            <a:xfrm>
              <a:off x="5016308" y="2770584"/>
              <a:ext cx="5369" cy="18793"/>
            </a:xfrm>
            <a:custGeom>
              <a:gdLst>
                <a:gd name="T0" fmla="*/ 2 w 2"/>
                <a:gd name="T1" fmla="*/ 0 h 6"/>
                <a:gd name="T2" fmla="*/ 2 w 2"/>
                <a:gd name="T3" fmla="*/ 6 h 6"/>
                <a:gd name="T4" fmla="*/ 2 w 2"/>
                <a:gd name="T5" fmla="*/ 0 h 6"/>
              </a:gdLst>
              <a:cxnLst>
                <a:cxn ang="0">
                  <a:pos x="T0" y="T1"/>
                </a:cxn>
                <a:cxn ang="0">
                  <a:pos x="T2" y="T3"/>
                </a:cxn>
                <a:cxn ang="0">
                  <a:pos x="T4" y="T5"/>
                </a:cxn>
              </a:cxnLst>
              <a:rect l="0" t="0" r="r" b="b"/>
              <a:pathLst>
                <a:path w="2" h="6">
                  <a:moveTo>
                    <a:pt x="2" y="0"/>
                  </a:moveTo>
                  <a:cubicBezTo>
                    <a:pt x="0" y="2"/>
                    <a:pt x="0" y="5"/>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165"/>
            <p:cNvSpPr/>
            <p:nvPr/>
          </p:nvSpPr>
          <p:spPr bwMode="auto">
            <a:xfrm>
              <a:off x="5041813" y="2749107"/>
              <a:ext cx="9396" cy="9396"/>
            </a:xfrm>
            <a:custGeom>
              <a:gdLst>
                <a:gd name="T0" fmla="*/ 0 w 3"/>
                <a:gd name="T1" fmla="*/ 0 h 3"/>
                <a:gd name="T2" fmla="*/ 3 w 3"/>
                <a:gd name="T3" fmla="*/ 3 h 3"/>
                <a:gd name="T4" fmla="*/ 3 w 3"/>
                <a:gd name="T5" fmla="*/ 3 h 3"/>
                <a:gd name="T6" fmla="*/ 0 w 3"/>
                <a:gd name="T7" fmla="*/ 0 h 3"/>
              </a:gdLst>
              <a:cxnLst>
                <a:cxn ang="0">
                  <a:pos x="T0" y="T1"/>
                </a:cxn>
                <a:cxn ang="0">
                  <a:pos x="T2" y="T3"/>
                </a:cxn>
                <a:cxn ang="0">
                  <a:pos x="T4" y="T5"/>
                </a:cxn>
                <a:cxn ang="0">
                  <a:pos x="T6" y="T7"/>
                </a:cxn>
              </a:cxnLst>
              <a:rect l="0" t="0" r="r" b="b"/>
              <a:pathLst>
                <a:path w="3" h="3">
                  <a:moveTo>
                    <a:pt x="0" y="0"/>
                  </a:moveTo>
                  <a:cubicBezTo>
                    <a:pt x="0" y="2"/>
                    <a:pt x="1" y="3"/>
                    <a:pt x="3" y="3"/>
                  </a:cubicBezTo>
                  <a:cubicBezTo>
                    <a:pt x="3"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1166"/>
            <p:cNvSpPr/>
            <p:nvPr/>
          </p:nvSpPr>
          <p:spPr bwMode="auto">
            <a:xfrm>
              <a:off x="6005610" y="2865890"/>
              <a:ext cx="4027" cy="9396"/>
            </a:xfrm>
            <a:custGeom>
              <a:gdLst>
                <a:gd name="T0" fmla="*/ 0 w 1"/>
                <a:gd name="T1" fmla="*/ 0 h 3"/>
                <a:gd name="T2" fmla="*/ 1 w 1"/>
                <a:gd name="T3" fmla="*/ 3 h 3"/>
                <a:gd name="T4" fmla="*/ 1 w 1"/>
                <a:gd name="T5" fmla="*/ 3 h 3"/>
                <a:gd name="T6" fmla="*/ 1 w 1"/>
                <a:gd name="T7" fmla="*/ 3 h 3"/>
                <a:gd name="T8" fmla="*/ 0 w 1"/>
                <a:gd name="T9" fmla="*/ 0 h 3"/>
              </a:gdLst>
              <a:cxnLst>
                <a:cxn ang="0">
                  <a:pos x="T0" y="T1"/>
                </a:cxn>
                <a:cxn ang="0">
                  <a:pos x="T2" y="T3"/>
                </a:cxn>
                <a:cxn ang="0">
                  <a:pos x="T4" y="T5"/>
                </a:cxn>
                <a:cxn ang="0">
                  <a:pos x="T6" y="T7"/>
                </a:cxn>
                <a:cxn ang="0">
                  <a:pos x="T8" y="T9"/>
                </a:cxn>
              </a:cxnLst>
              <a:rect l="0" t="0" r="r" b="b"/>
              <a:pathLst>
                <a:path w="1" h="3">
                  <a:moveTo>
                    <a:pt x="0" y="0"/>
                  </a:moveTo>
                  <a:cubicBezTo>
                    <a:pt x="0" y="1"/>
                    <a:pt x="1" y="2"/>
                    <a:pt x="1" y="3"/>
                  </a:cubicBezTo>
                  <a:cubicBezTo>
                    <a:pt x="1" y="3"/>
                    <a:pt x="1" y="3"/>
                    <a:pt x="1" y="3"/>
                  </a:cubicBezTo>
                  <a:cubicBezTo>
                    <a:pt x="1" y="3"/>
                    <a:pt x="1" y="3"/>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167"/>
            <p:cNvSpPr/>
            <p:nvPr/>
          </p:nvSpPr>
          <p:spPr bwMode="auto">
            <a:xfrm>
              <a:off x="5025705" y="2349090"/>
              <a:ext cx="9396" cy="18793"/>
            </a:xfrm>
            <a:custGeom>
              <a:gdLst>
                <a:gd name="T0" fmla="*/ 3 w 3"/>
                <a:gd name="T1" fmla="*/ 0 h 6"/>
                <a:gd name="T2" fmla="*/ 0 w 3"/>
                <a:gd name="T3" fmla="*/ 3 h 6"/>
                <a:gd name="T4" fmla="*/ 1 w 3"/>
                <a:gd name="T5" fmla="*/ 6 h 6"/>
                <a:gd name="T6" fmla="*/ 3 w 3"/>
                <a:gd name="T7" fmla="*/ 0 h 6"/>
              </a:gdLst>
              <a:cxnLst>
                <a:cxn ang="0">
                  <a:pos x="T0" y="T1"/>
                </a:cxn>
                <a:cxn ang="0">
                  <a:pos x="T2" y="T3"/>
                </a:cxn>
                <a:cxn ang="0">
                  <a:pos x="T4" y="T5"/>
                </a:cxn>
                <a:cxn ang="0">
                  <a:pos x="T6" y="T7"/>
                </a:cxn>
              </a:cxnLst>
              <a:rect l="0" t="0" r="r" b="b"/>
              <a:pathLst>
                <a:path w="3" h="6">
                  <a:moveTo>
                    <a:pt x="3" y="0"/>
                  </a:moveTo>
                  <a:cubicBezTo>
                    <a:pt x="0" y="3"/>
                    <a:pt x="0" y="3"/>
                    <a:pt x="0" y="3"/>
                  </a:cubicBezTo>
                  <a:cubicBezTo>
                    <a:pt x="0" y="4"/>
                    <a:pt x="2" y="5"/>
                    <a:pt x="1" y="6"/>
                  </a:cubicBezTo>
                  <a:cubicBezTo>
                    <a:pt x="2"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1168"/>
            <p:cNvSpPr/>
            <p:nvPr/>
          </p:nvSpPr>
          <p:spPr bwMode="auto">
            <a:xfrm>
              <a:off x="5333100" y="2072569"/>
              <a:ext cx="18793" cy="12081"/>
            </a:xfrm>
            <a:custGeom>
              <a:gdLst>
                <a:gd name="T0" fmla="*/ 4 w 6"/>
                <a:gd name="T1" fmla="*/ 0 h 4"/>
                <a:gd name="T2" fmla="*/ 4 w 6"/>
                <a:gd name="T3" fmla="*/ 4 h 4"/>
                <a:gd name="T4" fmla="*/ 4 w 6"/>
                <a:gd name="T5" fmla="*/ 0 h 4"/>
              </a:gdLst>
              <a:cxnLst>
                <a:cxn ang="0">
                  <a:pos x="T0" y="T1"/>
                </a:cxn>
                <a:cxn ang="0">
                  <a:pos x="T2" y="T3"/>
                </a:cxn>
                <a:cxn ang="0">
                  <a:pos x="T4" y="T5"/>
                </a:cxn>
              </a:cxnLst>
              <a:rect l="0" t="0" r="r" b="b"/>
              <a:pathLst>
                <a:path w="6" h="4">
                  <a:moveTo>
                    <a:pt x="4" y="0"/>
                  </a:moveTo>
                  <a:cubicBezTo>
                    <a:pt x="0" y="2"/>
                    <a:pt x="3" y="4"/>
                    <a:pt x="4" y="4"/>
                  </a:cubicBezTo>
                  <a:cubicBezTo>
                    <a:pt x="5"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1169"/>
            <p:cNvSpPr/>
            <p:nvPr/>
          </p:nvSpPr>
          <p:spPr bwMode="auto">
            <a:xfrm>
              <a:off x="5440486" y="2225595"/>
              <a:ext cx="32216" cy="28189"/>
            </a:xfrm>
            <a:custGeom>
              <a:gdLst>
                <a:gd name="T0" fmla="*/ 10 w 10"/>
                <a:gd name="T1" fmla="*/ 0 h 9"/>
                <a:gd name="T2" fmla="*/ 5 w 10"/>
                <a:gd name="T3" fmla="*/ 9 h 9"/>
                <a:gd name="T4" fmla="*/ 8 w 10"/>
                <a:gd name="T5" fmla="*/ 8 h 9"/>
                <a:gd name="T6" fmla="*/ 8 w 10"/>
                <a:gd name="T7" fmla="*/ 5 h 9"/>
                <a:gd name="T8" fmla="*/ 10 w 10"/>
                <a:gd name="T9" fmla="*/ 0 h 9"/>
              </a:gdLst>
              <a:cxnLst>
                <a:cxn ang="0">
                  <a:pos x="T0" y="T1"/>
                </a:cxn>
                <a:cxn ang="0">
                  <a:pos x="T2" y="T3"/>
                </a:cxn>
                <a:cxn ang="0">
                  <a:pos x="T4" y="T5"/>
                </a:cxn>
                <a:cxn ang="0">
                  <a:pos x="T6" y="T7"/>
                </a:cxn>
                <a:cxn ang="0">
                  <a:pos x="T8" y="T9"/>
                </a:cxn>
              </a:cxnLst>
              <a:rect l="0" t="0" r="r" b="b"/>
              <a:pathLst>
                <a:path w="10" h="9">
                  <a:moveTo>
                    <a:pt x="10" y="0"/>
                  </a:moveTo>
                  <a:cubicBezTo>
                    <a:pt x="9" y="1"/>
                    <a:pt x="0" y="9"/>
                    <a:pt x="5" y="9"/>
                  </a:cubicBezTo>
                  <a:cubicBezTo>
                    <a:pt x="6" y="9"/>
                    <a:pt x="8" y="8"/>
                    <a:pt x="8" y="8"/>
                  </a:cubicBezTo>
                  <a:cubicBezTo>
                    <a:pt x="10" y="6"/>
                    <a:pt x="8" y="7"/>
                    <a:pt x="8" y="5"/>
                  </a:cubicBezTo>
                  <a:cubicBezTo>
                    <a:pt x="8" y="3"/>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1170"/>
            <p:cNvSpPr/>
            <p:nvPr/>
          </p:nvSpPr>
          <p:spPr bwMode="auto">
            <a:xfrm>
              <a:off x="4923687" y="2859178"/>
              <a:ext cx="44297" cy="57720"/>
            </a:xfrm>
            <a:custGeom>
              <a:gdLst>
                <a:gd name="T0" fmla="*/ 14 w 14"/>
                <a:gd name="T1" fmla="*/ 0 h 18"/>
                <a:gd name="T2" fmla="*/ 12 w 14"/>
                <a:gd name="T3" fmla="*/ 2 h 18"/>
                <a:gd name="T4" fmla="*/ 11 w 14"/>
                <a:gd name="T5" fmla="*/ 4 h 18"/>
                <a:gd name="T6" fmla="*/ 10 w 14"/>
                <a:gd name="T7" fmla="*/ 4 h 18"/>
                <a:gd name="T8" fmla="*/ 9 w 14"/>
                <a:gd name="T9" fmla="*/ 3 h 18"/>
                <a:gd name="T10" fmla="*/ 8 w 14"/>
                <a:gd name="T11" fmla="*/ 3 h 18"/>
                <a:gd name="T12" fmla="*/ 8 w 14"/>
                <a:gd name="T13" fmla="*/ 3 h 18"/>
                <a:gd name="T14" fmla="*/ 7 w 14"/>
                <a:gd name="T15" fmla="*/ 5 h 18"/>
                <a:gd name="T16" fmla="*/ 6 w 14"/>
                <a:gd name="T17" fmla="*/ 7 h 18"/>
                <a:gd name="T18" fmla="*/ 4 w 14"/>
                <a:gd name="T19" fmla="*/ 9 h 18"/>
                <a:gd name="T20" fmla="*/ 2 w 14"/>
                <a:gd name="T21" fmla="*/ 11 h 18"/>
                <a:gd name="T22" fmla="*/ 2 w 14"/>
                <a:gd name="T23" fmla="*/ 14 h 18"/>
                <a:gd name="T24" fmla="*/ 1 w 14"/>
                <a:gd name="T25" fmla="*/ 18 h 18"/>
                <a:gd name="T26" fmla="*/ 9 w 14"/>
                <a:gd name="T27" fmla="*/ 8 h 18"/>
                <a:gd name="T28" fmla="*/ 14 w 14"/>
                <a:gd name="T29"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8">
                  <a:moveTo>
                    <a:pt x="14" y="0"/>
                  </a:moveTo>
                  <a:cubicBezTo>
                    <a:pt x="13" y="1"/>
                    <a:pt x="12" y="2"/>
                    <a:pt x="12" y="2"/>
                  </a:cubicBezTo>
                  <a:cubicBezTo>
                    <a:pt x="11" y="3"/>
                    <a:pt x="11" y="4"/>
                    <a:pt x="11" y="4"/>
                  </a:cubicBezTo>
                  <a:cubicBezTo>
                    <a:pt x="11" y="4"/>
                    <a:pt x="10" y="4"/>
                    <a:pt x="10" y="4"/>
                  </a:cubicBezTo>
                  <a:cubicBezTo>
                    <a:pt x="10" y="4"/>
                    <a:pt x="9" y="4"/>
                    <a:pt x="9" y="3"/>
                  </a:cubicBezTo>
                  <a:cubicBezTo>
                    <a:pt x="9" y="3"/>
                    <a:pt x="8" y="3"/>
                    <a:pt x="8" y="3"/>
                  </a:cubicBezTo>
                  <a:cubicBezTo>
                    <a:pt x="8" y="3"/>
                    <a:pt x="8" y="3"/>
                    <a:pt x="8" y="3"/>
                  </a:cubicBezTo>
                  <a:cubicBezTo>
                    <a:pt x="6" y="3"/>
                    <a:pt x="5" y="4"/>
                    <a:pt x="7" y="5"/>
                  </a:cubicBezTo>
                  <a:cubicBezTo>
                    <a:pt x="9" y="6"/>
                    <a:pt x="7" y="6"/>
                    <a:pt x="6" y="7"/>
                  </a:cubicBezTo>
                  <a:cubicBezTo>
                    <a:pt x="6" y="8"/>
                    <a:pt x="5" y="9"/>
                    <a:pt x="4" y="9"/>
                  </a:cubicBezTo>
                  <a:cubicBezTo>
                    <a:pt x="2" y="10"/>
                    <a:pt x="3" y="9"/>
                    <a:pt x="2" y="11"/>
                  </a:cubicBezTo>
                  <a:cubicBezTo>
                    <a:pt x="2" y="11"/>
                    <a:pt x="2" y="13"/>
                    <a:pt x="2" y="14"/>
                  </a:cubicBezTo>
                  <a:cubicBezTo>
                    <a:pt x="1" y="16"/>
                    <a:pt x="0" y="14"/>
                    <a:pt x="1" y="18"/>
                  </a:cubicBezTo>
                  <a:cubicBezTo>
                    <a:pt x="4" y="15"/>
                    <a:pt x="6" y="12"/>
                    <a:pt x="9" y="8"/>
                  </a:cubicBezTo>
                  <a:cubicBezTo>
                    <a:pt x="10" y="6"/>
                    <a:pt x="13" y="3"/>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171"/>
            <p:cNvSpPr/>
            <p:nvPr/>
          </p:nvSpPr>
          <p:spPr bwMode="auto">
            <a:xfrm>
              <a:off x="4993489" y="2809512"/>
              <a:ext cx="9396" cy="2685"/>
            </a:xfrm>
            <a:custGeom>
              <a:gdLst>
                <a:gd name="T0" fmla="*/ 3 w 3"/>
                <a:gd name="T1" fmla="*/ 0 h 1"/>
                <a:gd name="T2" fmla="*/ 0 w 3"/>
                <a:gd name="T3" fmla="*/ 1 h 1"/>
                <a:gd name="T4" fmla="*/ 1 w 3"/>
                <a:gd name="T5" fmla="*/ 1 h 1"/>
                <a:gd name="T6" fmla="*/ 3 w 3"/>
                <a:gd name="T7" fmla="*/ 0 h 1"/>
              </a:gdLst>
              <a:cxnLst>
                <a:cxn ang="0">
                  <a:pos x="T0" y="T1"/>
                </a:cxn>
                <a:cxn ang="0">
                  <a:pos x="T2" y="T3"/>
                </a:cxn>
                <a:cxn ang="0">
                  <a:pos x="T4" y="T5"/>
                </a:cxn>
                <a:cxn ang="0">
                  <a:pos x="T6" y="T7"/>
                </a:cxn>
              </a:cxnLst>
              <a:rect l="0" t="0" r="r" b="b"/>
              <a:pathLst>
                <a:path w="3" h="1">
                  <a:moveTo>
                    <a:pt x="3" y="0"/>
                  </a:moveTo>
                  <a:cubicBezTo>
                    <a:pt x="2" y="0"/>
                    <a:pt x="1" y="0"/>
                    <a:pt x="0" y="1"/>
                  </a:cubicBezTo>
                  <a:cubicBezTo>
                    <a:pt x="0" y="1"/>
                    <a:pt x="1" y="1"/>
                    <a:pt x="1" y="1"/>
                  </a:cubicBezTo>
                  <a:cubicBezTo>
                    <a:pt x="2" y="1"/>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172"/>
            <p:cNvSpPr/>
            <p:nvPr/>
          </p:nvSpPr>
          <p:spPr bwMode="auto">
            <a:xfrm>
              <a:off x="5929097" y="1281933"/>
              <a:ext cx="16108" cy="13423"/>
            </a:xfrm>
            <a:custGeom>
              <a:gdLst>
                <a:gd name="T0" fmla="*/ 2 w 5"/>
                <a:gd name="T1" fmla="*/ 0 h 4"/>
                <a:gd name="T2" fmla="*/ 4 w 5"/>
                <a:gd name="T3" fmla="*/ 4 h 4"/>
                <a:gd name="T4" fmla="*/ 2 w 5"/>
                <a:gd name="T5" fmla="*/ 0 h 4"/>
              </a:gdLst>
              <a:cxnLst>
                <a:cxn ang="0">
                  <a:pos x="T0" y="T1"/>
                </a:cxn>
                <a:cxn ang="0">
                  <a:pos x="T2" y="T3"/>
                </a:cxn>
                <a:cxn ang="0">
                  <a:pos x="T4" y="T5"/>
                </a:cxn>
              </a:cxnLst>
              <a:rect l="0" t="0" r="r" b="b"/>
              <a:pathLst>
                <a:path w="5" h="4">
                  <a:moveTo>
                    <a:pt x="2" y="0"/>
                  </a:moveTo>
                  <a:cubicBezTo>
                    <a:pt x="0" y="2"/>
                    <a:pt x="2" y="4"/>
                    <a:pt x="4" y="4"/>
                  </a:cubicBezTo>
                  <a:cubicBezTo>
                    <a:pt x="5" y="4"/>
                    <a:pt x="5"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1173"/>
            <p:cNvSpPr/>
            <p:nvPr/>
          </p:nvSpPr>
          <p:spPr bwMode="auto">
            <a:xfrm>
              <a:off x="5714323" y="1904777"/>
              <a:ext cx="25504" cy="40270"/>
            </a:xfrm>
            <a:custGeom>
              <a:gdLst>
                <a:gd name="T0" fmla="*/ 7 w 8"/>
                <a:gd name="T1" fmla="*/ 0 h 13"/>
                <a:gd name="T2" fmla="*/ 0 w 8"/>
                <a:gd name="T3" fmla="*/ 7 h 13"/>
                <a:gd name="T4" fmla="*/ 0 w 8"/>
                <a:gd name="T5" fmla="*/ 13 h 13"/>
                <a:gd name="T6" fmla="*/ 1 w 8"/>
                <a:gd name="T7" fmla="*/ 13 h 13"/>
                <a:gd name="T8" fmla="*/ 7 w 8"/>
                <a:gd name="T9" fmla="*/ 0 h 13"/>
              </a:gdLst>
              <a:cxnLst>
                <a:cxn ang="0">
                  <a:pos x="T0" y="T1"/>
                </a:cxn>
                <a:cxn ang="0">
                  <a:pos x="T2" y="T3"/>
                </a:cxn>
                <a:cxn ang="0">
                  <a:pos x="T4" y="T5"/>
                </a:cxn>
                <a:cxn ang="0">
                  <a:pos x="T6" y="T7"/>
                </a:cxn>
                <a:cxn ang="0">
                  <a:pos x="T8" y="T9"/>
                </a:cxn>
              </a:cxnLst>
              <a:rect l="0" t="0" r="r" b="b"/>
              <a:pathLst>
                <a:path w="8" h="13">
                  <a:moveTo>
                    <a:pt x="7" y="0"/>
                  </a:moveTo>
                  <a:cubicBezTo>
                    <a:pt x="5" y="1"/>
                    <a:pt x="1" y="4"/>
                    <a:pt x="0" y="7"/>
                  </a:cubicBezTo>
                  <a:cubicBezTo>
                    <a:pt x="0" y="10"/>
                    <a:pt x="3" y="11"/>
                    <a:pt x="0" y="13"/>
                  </a:cubicBezTo>
                  <a:cubicBezTo>
                    <a:pt x="0" y="13"/>
                    <a:pt x="1" y="13"/>
                    <a:pt x="1" y="13"/>
                  </a:cubicBezTo>
                  <a:cubicBezTo>
                    <a:pt x="8" y="13"/>
                    <a:pt x="7" y="5"/>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174"/>
            <p:cNvSpPr/>
            <p:nvPr/>
          </p:nvSpPr>
          <p:spPr bwMode="auto">
            <a:xfrm>
              <a:off x="4628373" y="3049790"/>
              <a:ext cx="20135" cy="13423"/>
            </a:xfrm>
            <a:custGeom>
              <a:gdLst>
                <a:gd name="T0" fmla="*/ 3 w 6"/>
                <a:gd name="T1" fmla="*/ 0 h 4"/>
                <a:gd name="T2" fmla="*/ 0 w 6"/>
                <a:gd name="T3" fmla="*/ 3 h 4"/>
                <a:gd name="T4" fmla="*/ 3 w 6"/>
                <a:gd name="T5" fmla="*/ 4 h 4"/>
                <a:gd name="T6" fmla="*/ 4 w 6"/>
                <a:gd name="T7" fmla="*/ 4 h 4"/>
                <a:gd name="T8" fmla="*/ 3 w 6"/>
                <a:gd name="T9" fmla="*/ 0 h 4"/>
              </a:gdLst>
              <a:cxnLst>
                <a:cxn ang="0">
                  <a:pos x="T0" y="T1"/>
                </a:cxn>
                <a:cxn ang="0">
                  <a:pos x="T2" y="T3"/>
                </a:cxn>
                <a:cxn ang="0">
                  <a:pos x="T4" y="T5"/>
                </a:cxn>
                <a:cxn ang="0">
                  <a:pos x="T6" y="T7"/>
                </a:cxn>
                <a:cxn ang="0">
                  <a:pos x="T8" y="T9"/>
                </a:cxn>
              </a:cxnLst>
              <a:rect l="0" t="0" r="r" b="b"/>
              <a:pathLst>
                <a:path w="6" h="4">
                  <a:moveTo>
                    <a:pt x="3" y="0"/>
                  </a:moveTo>
                  <a:cubicBezTo>
                    <a:pt x="2" y="2"/>
                    <a:pt x="1" y="3"/>
                    <a:pt x="0" y="3"/>
                  </a:cubicBezTo>
                  <a:cubicBezTo>
                    <a:pt x="0" y="3"/>
                    <a:pt x="2" y="4"/>
                    <a:pt x="3" y="4"/>
                  </a:cubicBezTo>
                  <a:cubicBezTo>
                    <a:pt x="4" y="4"/>
                    <a:pt x="4" y="4"/>
                    <a:pt x="4" y="4"/>
                  </a:cubicBezTo>
                  <a:cubicBezTo>
                    <a:pt x="6" y="3"/>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175"/>
            <p:cNvSpPr/>
            <p:nvPr/>
          </p:nvSpPr>
          <p:spPr bwMode="auto">
            <a:xfrm>
              <a:off x="5802917" y="1555769"/>
              <a:ext cx="12081" cy="14766"/>
            </a:xfrm>
            <a:custGeom>
              <a:gdLst>
                <a:gd name="T0" fmla="*/ 3 w 4"/>
                <a:gd name="T1" fmla="*/ 0 h 5"/>
                <a:gd name="T2" fmla="*/ 1 w 4"/>
                <a:gd name="T3" fmla="*/ 1 h 5"/>
                <a:gd name="T4" fmla="*/ 1 w 4"/>
                <a:gd name="T5" fmla="*/ 1 h 5"/>
                <a:gd name="T6" fmla="*/ 1 w 4"/>
                <a:gd name="T7" fmla="*/ 5 h 5"/>
                <a:gd name="T8" fmla="*/ 1 w 4"/>
                <a:gd name="T9" fmla="*/ 5 h 5"/>
                <a:gd name="T10" fmla="*/ 3 w 4"/>
                <a:gd name="T11" fmla="*/ 3 h 5"/>
                <a:gd name="T12" fmla="*/ 3 w 4"/>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4" h="5">
                  <a:moveTo>
                    <a:pt x="3" y="0"/>
                  </a:moveTo>
                  <a:cubicBezTo>
                    <a:pt x="2" y="0"/>
                    <a:pt x="2" y="0"/>
                    <a:pt x="1" y="1"/>
                  </a:cubicBezTo>
                  <a:cubicBezTo>
                    <a:pt x="1" y="1"/>
                    <a:pt x="1" y="1"/>
                    <a:pt x="1" y="1"/>
                  </a:cubicBezTo>
                  <a:cubicBezTo>
                    <a:pt x="1" y="1"/>
                    <a:pt x="0" y="5"/>
                    <a:pt x="1" y="5"/>
                  </a:cubicBezTo>
                  <a:cubicBezTo>
                    <a:pt x="1" y="5"/>
                    <a:pt x="1" y="5"/>
                    <a:pt x="1" y="5"/>
                  </a:cubicBezTo>
                  <a:cubicBezTo>
                    <a:pt x="1" y="5"/>
                    <a:pt x="2" y="4"/>
                    <a:pt x="3" y="3"/>
                  </a:cubicBezTo>
                  <a:cubicBezTo>
                    <a:pt x="4" y="2"/>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176"/>
            <p:cNvSpPr/>
            <p:nvPr/>
          </p:nvSpPr>
          <p:spPr bwMode="auto">
            <a:xfrm>
              <a:off x="5102218" y="2393387"/>
              <a:ext cx="14766" cy="28189"/>
            </a:xfrm>
            <a:custGeom>
              <a:gdLst>
                <a:gd name="T0" fmla="*/ 0 w 5"/>
                <a:gd name="T1" fmla="*/ 0 h 9"/>
                <a:gd name="T2" fmla="*/ 0 w 5"/>
                <a:gd name="T3" fmla="*/ 9 h 9"/>
                <a:gd name="T4" fmla="*/ 5 w 5"/>
                <a:gd name="T5" fmla="*/ 4 h 9"/>
                <a:gd name="T6" fmla="*/ 4 w 5"/>
                <a:gd name="T7" fmla="*/ 1 h 9"/>
                <a:gd name="T8" fmla="*/ 3 w 5"/>
                <a:gd name="T9" fmla="*/ 0 h 9"/>
                <a:gd name="T10" fmla="*/ 2 w 5"/>
                <a:gd name="T11" fmla="*/ 0 h 9"/>
                <a:gd name="T12" fmla="*/ 1 w 5"/>
                <a:gd name="T13" fmla="*/ 0 h 9"/>
                <a:gd name="T14" fmla="*/ 0 w 5"/>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0" y="0"/>
                  </a:moveTo>
                  <a:cubicBezTo>
                    <a:pt x="0" y="3"/>
                    <a:pt x="0" y="6"/>
                    <a:pt x="0" y="9"/>
                  </a:cubicBezTo>
                  <a:cubicBezTo>
                    <a:pt x="2" y="8"/>
                    <a:pt x="4" y="6"/>
                    <a:pt x="5" y="4"/>
                  </a:cubicBezTo>
                  <a:cubicBezTo>
                    <a:pt x="4" y="1"/>
                    <a:pt x="4" y="1"/>
                    <a:pt x="4" y="1"/>
                  </a:cubicBezTo>
                  <a:cubicBezTo>
                    <a:pt x="4" y="0"/>
                    <a:pt x="3" y="0"/>
                    <a:pt x="3" y="0"/>
                  </a:cubicBezTo>
                  <a:cubicBezTo>
                    <a:pt x="3" y="0"/>
                    <a:pt x="2" y="0"/>
                    <a:pt x="2" y="0"/>
                  </a:cubicBezTo>
                  <a:cubicBezTo>
                    <a:pt x="2"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1177"/>
            <p:cNvSpPr/>
            <p:nvPr/>
          </p:nvSpPr>
          <p:spPr bwMode="auto">
            <a:xfrm>
              <a:off x="4660589" y="3037709"/>
              <a:ext cx="16108" cy="18793"/>
            </a:xfrm>
            <a:custGeom>
              <a:gdLst>
                <a:gd name="T0" fmla="*/ 5 w 5"/>
                <a:gd name="T1" fmla="*/ 0 h 6"/>
                <a:gd name="T2" fmla="*/ 0 w 5"/>
                <a:gd name="T3" fmla="*/ 3 h 6"/>
                <a:gd name="T4" fmla="*/ 1 w 5"/>
                <a:gd name="T5" fmla="*/ 6 h 6"/>
                <a:gd name="T6" fmla="*/ 4 w 5"/>
                <a:gd name="T7" fmla="*/ 4 h 6"/>
                <a:gd name="T8" fmla="*/ 5 w 5"/>
                <a:gd name="T9" fmla="*/ 0 h 6"/>
              </a:gdLst>
              <a:cxnLst>
                <a:cxn ang="0">
                  <a:pos x="T0" y="T1"/>
                </a:cxn>
                <a:cxn ang="0">
                  <a:pos x="T2" y="T3"/>
                </a:cxn>
                <a:cxn ang="0">
                  <a:pos x="T4" y="T5"/>
                </a:cxn>
                <a:cxn ang="0">
                  <a:pos x="T6" y="T7"/>
                </a:cxn>
                <a:cxn ang="0">
                  <a:pos x="T8" y="T9"/>
                </a:cxn>
              </a:cxnLst>
              <a:rect l="0" t="0" r="r" b="b"/>
              <a:pathLst>
                <a:path w="5" h="6">
                  <a:moveTo>
                    <a:pt x="5" y="0"/>
                  </a:moveTo>
                  <a:cubicBezTo>
                    <a:pt x="3" y="1"/>
                    <a:pt x="2" y="2"/>
                    <a:pt x="0" y="3"/>
                  </a:cubicBezTo>
                  <a:cubicBezTo>
                    <a:pt x="0" y="5"/>
                    <a:pt x="1" y="6"/>
                    <a:pt x="1" y="6"/>
                  </a:cubicBezTo>
                  <a:cubicBezTo>
                    <a:pt x="2" y="6"/>
                    <a:pt x="3" y="5"/>
                    <a:pt x="4" y="4"/>
                  </a:cubicBezTo>
                  <a:cubicBezTo>
                    <a:pt x="4" y="2"/>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1178"/>
            <p:cNvSpPr/>
            <p:nvPr/>
          </p:nvSpPr>
          <p:spPr bwMode="auto">
            <a:xfrm>
              <a:off x="5126380" y="2563864"/>
              <a:ext cx="29531" cy="20135"/>
            </a:xfrm>
            <a:custGeom>
              <a:gdLst>
                <a:gd name="T0" fmla="*/ 4 w 9"/>
                <a:gd name="T1" fmla="*/ 0 h 6"/>
                <a:gd name="T2" fmla="*/ 2 w 9"/>
                <a:gd name="T3" fmla="*/ 4 h 6"/>
                <a:gd name="T4" fmla="*/ 4 w 9"/>
                <a:gd name="T5" fmla="*/ 6 h 6"/>
                <a:gd name="T6" fmla="*/ 5 w 9"/>
                <a:gd name="T7" fmla="*/ 5 h 6"/>
                <a:gd name="T8" fmla="*/ 4 w 9"/>
                <a:gd name="T9" fmla="*/ 0 h 6"/>
              </a:gdLst>
              <a:cxnLst>
                <a:cxn ang="0">
                  <a:pos x="T0" y="T1"/>
                </a:cxn>
                <a:cxn ang="0">
                  <a:pos x="T2" y="T3"/>
                </a:cxn>
                <a:cxn ang="0">
                  <a:pos x="T4" y="T5"/>
                </a:cxn>
                <a:cxn ang="0">
                  <a:pos x="T6" y="T7"/>
                </a:cxn>
                <a:cxn ang="0">
                  <a:pos x="T8" y="T9"/>
                </a:cxn>
              </a:cxnLst>
              <a:rect l="0" t="0" r="r" b="b"/>
              <a:pathLst>
                <a:path w="9" h="6">
                  <a:moveTo>
                    <a:pt x="4" y="0"/>
                  </a:moveTo>
                  <a:cubicBezTo>
                    <a:pt x="2" y="1"/>
                    <a:pt x="0" y="1"/>
                    <a:pt x="2" y="4"/>
                  </a:cubicBezTo>
                  <a:cubicBezTo>
                    <a:pt x="2" y="5"/>
                    <a:pt x="3" y="6"/>
                    <a:pt x="4" y="6"/>
                  </a:cubicBezTo>
                  <a:cubicBezTo>
                    <a:pt x="5" y="6"/>
                    <a:pt x="5" y="6"/>
                    <a:pt x="5" y="5"/>
                  </a:cubicBezTo>
                  <a:cubicBezTo>
                    <a:pt x="9" y="4"/>
                    <a:pt x="6"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1179"/>
            <p:cNvSpPr/>
            <p:nvPr/>
          </p:nvSpPr>
          <p:spPr bwMode="auto">
            <a:xfrm>
              <a:off x="5037786" y="2728972"/>
              <a:ext cx="34901" cy="25504"/>
            </a:xfrm>
            <a:custGeom>
              <a:gdLst>
                <a:gd name="T0" fmla="*/ 10 w 11"/>
                <a:gd name="T1" fmla="*/ 0 h 8"/>
                <a:gd name="T2" fmla="*/ 6 w 11"/>
                <a:gd name="T3" fmla="*/ 1 h 8"/>
                <a:gd name="T4" fmla="*/ 0 w 11"/>
                <a:gd name="T5" fmla="*/ 4 h 8"/>
                <a:gd name="T6" fmla="*/ 0 w 11"/>
                <a:gd name="T7" fmla="*/ 4 h 8"/>
                <a:gd name="T8" fmla="*/ 3 w 11"/>
                <a:gd name="T9" fmla="*/ 6 h 8"/>
                <a:gd name="T10" fmla="*/ 4 w 11"/>
                <a:gd name="T11" fmla="*/ 8 h 8"/>
                <a:gd name="T12" fmla="*/ 4 w 11"/>
                <a:gd name="T13" fmla="*/ 8 h 8"/>
                <a:gd name="T14" fmla="*/ 11 w 11"/>
                <a:gd name="T15" fmla="*/ 0 h 8"/>
                <a:gd name="T16" fmla="*/ 10 w 11"/>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10" y="0"/>
                  </a:moveTo>
                  <a:cubicBezTo>
                    <a:pt x="8" y="0"/>
                    <a:pt x="7" y="1"/>
                    <a:pt x="6" y="1"/>
                  </a:cubicBezTo>
                  <a:cubicBezTo>
                    <a:pt x="4" y="2"/>
                    <a:pt x="2" y="4"/>
                    <a:pt x="0" y="4"/>
                  </a:cubicBezTo>
                  <a:cubicBezTo>
                    <a:pt x="0" y="4"/>
                    <a:pt x="0" y="4"/>
                    <a:pt x="0" y="4"/>
                  </a:cubicBezTo>
                  <a:cubicBezTo>
                    <a:pt x="1" y="5"/>
                    <a:pt x="2" y="6"/>
                    <a:pt x="3" y="6"/>
                  </a:cubicBezTo>
                  <a:cubicBezTo>
                    <a:pt x="3" y="7"/>
                    <a:pt x="3" y="7"/>
                    <a:pt x="4" y="8"/>
                  </a:cubicBezTo>
                  <a:cubicBezTo>
                    <a:pt x="4" y="8"/>
                    <a:pt x="4" y="8"/>
                    <a:pt x="4" y="8"/>
                  </a:cubicBezTo>
                  <a:cubicBezTo>
                    <a:pt x="7" y="8"/>
                    <a:pt x="10" y="2"/>
                    <a:pt x="11" y="0"/>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1180"/>
            <p:cNvSpPr/>
            <p:nvPr/>
          </p:nvSpPr>
          <p:spPr bwMode="auto">
            <a:xfrm>
              <a:off x="1966522" y="3249798"/>
              <a:ext cx="9396" cy="18793"/>
            </a:xfrm>
            <a:custGeom>
              <a:gdLst>
                <a:gd name="T0" fmla="*/ 3 w 3"/>
                <a:gd name="T1" fmla="*/ 0 h 6"/>
                <a:gd name="T2" fmla="*/ 1 w 3"/>
                <a:gd name="T3" fmla="*/ 6 h 6"/>
                <a:gd name="T4" fmla="*/ 3 w 3"/>
                <a:gd name="T5" fmla="*/ 0 h 6"/>
              </a:gdLst>
              <a:cxnLst>
                <a:cxn ang="0">
                  <a:pos x="T0" y="T1"/>
                </a:cxn>
                <a:cxn ang="0">
                  <a:pos x="T2" y="T3"/>
                </a:cxn>
                <a:cxn ang="0">
                  <a:pos x="T4" y="T5"/>
                </a:cxn>
              </a:cxnLst>
              <a:rect l="0" t="0" r="r" b="b"/>
              <a:pathLst>
                <a:path w="3" h="6">
                  <a:moveTo>
                    <a:pt x="3" y="0"/>
                  </a:moveTo>
                  <a:cubicBezTo>
                    <a:pt x="2" y="2"/>
                    <a:pt x="0" y="4"/>
                    <a:pt x="1" y="6"/>
                  </a:cubicBezTo>
                  <a:cubicBezTo>
                    <a:pt x="2" y="4"/>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1181"/>
            <p:cNvSpPr/>
            <p:nvPr/>
          </p:nvSpPr>
          <p:spPr bwMode="auto">
            <a:xfrm>
              <a:off x="1342336" y="4138425"/>
              <a:ext cx="9396" cy="2685"/>
            </a:xfrm>
            <a:custGeom>
              <a:gdLst>
                <a:gd name="T0" fmla="*/ 0 w 3"/>
                <a:gd name="T1" fmla="*/ 0 h 1"/>
                <a:gd name="T2" fmla="*/ 0 w 3"/>
                <a:gd name="T3" fmla="*/ 0 h 1"/>
                <a:gd name="T4" fmla="*/ 3 w 3"/>
                <a:gd name="T5" fmla="*/ 1 h 1"/>
                <a:gd name="T6" fmla="*/ 0 w 3"/>
                <a:gd name="T7" fmla="*/ 0 h 1"/>
                <a:gd name="T8" fmla="*/ 0 w 3"/>
                <a:gd name="T9" fmla="*/ 0 h 1"/>
              </a:gd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0"/>
                    <a:pt x="2" y="1"/>
                    <a:pt x="3" y="1"/>
                  </a:cubicBezTo>
                  <a:cubicBezTo>
                    <a:pt x="2"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1182"/>
            <p:cNvSpPr/>
            <p:nvPr/>
          </p:nvSpPr>
          <p:spPr bwMode="auto">
            <a:xfrm flipH="1">
              <a:off x="1973233" y="3247114"/>
              <a:ext cx="0" cy="6712"/>
            </a:xfrm>
            <a:custGeom>
              <a:gdLst>
                <a:gd name="T0" fmla="*/ 0 h 2"/>
                <a:gd name="T1" fmla="*/ 2 h 2"/>
                <a:gd name="T2" fmla="*/ 0 h 2"/>
                <a:gd name="T3" fmla="*/ 0 h 2"/>
              </a:gdLst>
              <a:cxnLst>
                <a:cxn ang="0">
                  <a:pos x="0" y="T0"/>
                </a:cxn>
                <a:cxn ang="0">
                  <a:pos x="0" y="T1"/>
                </a:cxn>
                <a:cxn ang="0">
                  <a:pos x="0" y="T2"/>
                </a:cxn>
                <a:cxn ang="0">
                  <a:pos x="0" y="T3"/>
                </a:cxn>
              </a:cxnLst>
              <a:rect l="0" t="0" r="r" b="b"/>
              <a:pathLst>
                <a:path h="2">
                  <a:moveTo>
                    <a:pt x="0" y="0"/>
                  </a:moveTo>
                  <a:cubicBezTo>
                    <a:pt x="0" y="0"/>
                    <a:pt x="0" y="1"/>
                    <a:pt x="0" y="2"/>
                  </a:cubicBezTo>
                  <a:cubicBezTo>
                    <a:pt x="0" y="1"/>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1183"/>
            <p:cNvSpPr/>
            <p:nvPr/>
          </p:nvSpPr>
          <p:spPr bwMode="auto">
            <a:xfrm>
              <a:off x="2490033" y="4480721"/>
              <a:ext cx="6712" cy="4027"/>
            </a:xfrm>
            <a:custGeom>
              <a:gdLst>
                <a:gd name="T0" fmla="*/ 0 w 2"/>
                <a:gd name="T1" fmla="*/ 0 h 1"/>
                <a:gd name="T2" fmla="*/ 0 w 2"/>
                <a:gd name="T3" fmla="*/ 0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0"/>
                    <a:pt x="0" y="0"/>
                    <a:pt x="0" y="0"/>
                  </a:cubicBezTo>
                  <a:cubicBezTo>
                    <a:pt x="0" y="0"/>
                    <a:pt x="1" y="1"/>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1184"/>
            <p:cNvSpPr/>
            <p:nvPr/>
          </p:nvSpPr>
          <p:spPr bwMode="auto">
            <a:xfrm>
              <a:off x="3192074" y="4896846"/>
              <a:ext cx="2685" cy="9396"/>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0"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1185"/>
            <p:cNvSpPr/>
            <p:nvPr/>
          </p:nvSpPr>
          <p:spPr bwMode="auto">
            <a:xfrm>
              <a:off x="5116983" y="4910269"/>
              <a:ext cx="85909" cy="34901"/>
            </a:xfrm>
            <a:custGeom>
              <a:gdLst>
                <a:gd name="T0" fmla="*/ 14 w 27"/>
                <a:gd name="T1" fmla="*/ 0 h 11"/>
                <a:gd name="T2" fmla="*/ 0 w 27"/>
                <a:gd name="T3" fmla="*/ 5 h 11"/>
                <a:gd name="T4" fmla="*/ 4 w 27"/>
                <a:gd name="T5" fmla="*/ 6 h 11"/>
                <a:gd name="T6" fmla="*/ 4 w 27"/>
                <a:gd name="T7" fmla="*/ 6 h 11"/>
                <a:gd name="T8" fmla="*/ 5 w 27"/>
                <a:gd name="T9" fmla="*/ 6 h 11"/>
                <a:gd name="T10" fmla="*/ 6 w 27"/>
                <a:gd name="T11" fmla="*/ 6 h 11"/>
                <a:gd name="T12" fmla="*/ 6 w 27"/>
                <a:gd name="T13" fmla="*/ 6 h 11"/>
                <a:gd name="T14" fmla="*/ 8 w 27"/>
                <a:gd name="T15" fmla="*/ 10 h 11"/>
                <a:gd name="T16" fmla="*/ 9 w 27"/>
                <a:gd name="T17" fmla="*/ 8 h 11"/>
                <a:gd name="T18" fmla="*/ 10 w 27"/>
                <a:gd name="T19" fmla="*/ 7 h 11"/>
                <a:gd name="T20" fmla="*/ 12 w 27"/>
                <a:gd name="T21" fmla="*/ 11 h 11"/>
                <a:gd name="T22" fmla="*/ 13 w 27"/>
                <a:gd name="T23" fmla="*/ 11 h 11"/>
                <a:gd name="T24" fmla="*/ 16 w 27"/>
                <a:gd name="T25" fmla="*/ 8 h 11"/>
                <a:gd name="T26" fmla="*/ 18 w 27"/>
                <a:gd name="T27" fmla="*/ 8 h 11"/>
                <a:gd name="T28" fmla="*/ 19 w 27"/>
                <a:gd name="T29" fmla="*/ 8 h 11"/>
                <a:gd name="T30" fmla="*/ 20 w 27"/>
                <a:gd name="T31" fmla="*/ 8 h 11"/>
                <a:gd name="T32" fmla="*/ 20 w 27"/>
                <a:gd name="T33" fmla="*/ 8 h 11"/>
                <a:gd name="T34" fmla="*/ 24 w 27"/>
                <a:gd name="T35" fmla="*/ 9 h 11"/>
                <a:gd name="T36" fmla="*/ 24 w 27"/>
                <a:gd name="T37" fmla="*/ 9 h 11"/>
                <a:gd name="T38" fmla="*/ 25 w 27"/>
                <a:gd name="T39" fmla="*/ 4 h 11"/>
                <a:gd name="T40" fmla="*/ 20 w 27"/>
                <a:gd name="T41" fmla="*/ 2 h 11"/>
                <a:gd name="T42" fmla="*/ 18 w 27"/>
                <a:gd name="T43" fmla="*/ 1 h 11"/>
                <a:gd name="T44" fmla="*/ 14 w 27"/>
                <a:gd name="T45"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11">
                  <a:moveTo>
                    <a:pt x="14" y="0"/>
                  </a:moveTo>
                  <a:cubicBezTo>
                    <a:pt x="9" y="2"/>
                    <a:pt x="5" y="3"/>
                    <a:pt x="0" y="5"/>
                  </a:cubicBezTo>
                  <a:cubicBezTo>
                    <a:pt x="2" y="5"/>
                    <a:pt x="2" y="6"/>
                    <a:pt x="4" y="6"/>
                  </a:cubicBezTo>
                  <a:cubicBezTo>
                    <a:pt x="4" y="6"/>
                    <a:pt x="4" y="6"/>
                    <a:pt x="4" y="6"/>
                  </a:cubicBezTo>
                  <a:cubicBezTo>
                    <a:pt x="4" y="6"/>
                    <a:pt x="5" y="6"/>
                    <a:pt x="5" y="6"/>
                  </a:cubicBezTo>
                  <a:cubicBezTo>
                    <a:pt x="6" y="6"/>
                    <a:pt x="6" y="6"/>
                    <a:pt x="6" y="6"/>
                  </a:cubicBezTo>
                  <a:cubicBezTo>
                    <a:pt x="6" y="6"/>
                    <a:pt x="6" y="6"/>
                    <a:pt x="6" y="6"/>
                  </a:cubicBezTo>
                  <a:cubicBezTo>
                    <a:pt x="7" y="7"/>
                    <a:pt x="7" y="9"/>
                    <a:pt x="8" y="10"/>
                  </a:cubicBezTo>
                  <a:cubicBezTo>
                    <a:pt x="8" y="9"/>
                    <a:pt x="8" y="8"/>
                    <a:pt x="9" y="8"/>
                  </a:cubicBezTo>
                  <a:cubicBezTo>
                    <a:pt x="9" y="7"/>
                    <a:pt x="9" y="7"/>
                    <a:pt x="10" y="7"/>
                  </a:cubicBezTo>
                  <a:cubicBezTo>
                    <a:pt x="11" y="7"/>
                    <a:pt x="11" y="10"/>
                    <a:pt x="12" y="11"/>
                  </a:cubicBezTo>
                  <a:cubicBezTo>
                    <a:pt x="13" y="11"/>
                    <a:pt x="13" y="11"/>
                    <a:pt x="13" y="11"/>
                  </a:cubicBezTo>
                  <a:cubicBezTo>
                    <a:pt x="15" y="11"/>
                    <a:pt x="17" y="9"/>
                    <a:pt x="16" y="8"/>
                  </a:cubicBezTo>
                  <a:cubicBezTo>
                    <a:pt x="17" y="8"/>
                    <a:pt x="17" y="8"/>
                    <a:pt x="18" y="8"/>
                  </a:cubicBezTo>
                  <a:cubicBezTo>
                    <a:pt x="18" y="8"/>
                    <a:pt x="18" y="8"/>
                    <a:pt x="19" y="8"/>
                  </a:cubicBezTo>
                  <a:cubicBezTo>
                    <a:pt x="19" y="8"/>
                    <a:pt x="19" y="8"/>
                    <a:pt x="20" y="8"/>
                  </a:cubicBezTo>
                  <a:cubicBezTo>
                    <a:pt x="20" y="8"/>
                    <a:pt x="20" y="8"/>
                    <a:pt x="20" y="8"/>
                  </a:cubicBezTo>
                  <a:cubicBezTo>
                    <a:pt x="20" y="8"/>
                    <a:pt x="23" y="9"/>
                    <a:pt x="24" y="9"/>
                  </a:cubicBezTo>
                  <a:cubicBezTo>
                    <a:pt x="24" y="9"/>
                    <a:pt x="24" y="9"/>
                    <a:pt x="24" y="9"/>
                  </a:cubicBezTo>
                  <a:cubicBezTo>
                    <a:pt x="27" y="9"/>
                    <a:pt x="26" y="5"/>
                    <a:pt x="25" y="4"/>
                  </a:cubicBezTo>
                  <a:cubicBezTo>
                    <a:pt x="24" y="3"/>
                    <a:pt x="21" y="2"/>
                    <a:pt x="20" y="2"/>
                  </a:cubicBezTo>
                  <a:cubicBezTo>
                    <a:pt x="19" y="1"/>
                    <a:pt x="19" y="1"/>
                    <a:pt x="18" y="1"/>
                  </a:cubicBezTo>
                  <a:cubicBezTo>
                    <a:pt x="17" y="1"/>
                    <a:pt x="16"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1186"/>
            <p:cNvSpPr/>
            <p:nvPr/>
          </p:nvSpPr>
          <p:spPr bwMode="auto">
            <a:xfrm>
              <a:off x="4644481" y="5525060"/>
              <a:ext cx="32216" cy="25504"/>
            </a:xfrm>
            <a:custGeom>
              <a:gdLst>
                <a:gd name="T0" fmla="*/ 10 w 10"/>
                <a:gd name="T1" fmla="*/ 0 h 8"/>
                <a:gd name="T2" fmla="*/ 2 w 10"/>
                <a:gd name="T3" fmla="*/ 3 h 8"/>
                <a:gd name="T4" fmla="*/ 4 w 10"/>
                <a:gd name="T5" fmla="*/ 7 h 8"/>
                <a:gd name="T6" fmla="*/ 5 w 10"/>
                <a:gd name="T7" fmla="*/ 8 h 8"/>
                <a:gd name="T8" fmla="*/ 6 w 10"/>
                <a:gd name="T9" fmla="*/ 8 h 8"/>
                <a:gd name="T10" fmla="*/ 10 w 10"/>
                <a:gd name="T11" fmla="*/ 0 h 8"/>
              </a:gdLst>
              <a:cxnLst>
                <a:cxn ang="0">
                  <a:pos x="T0" y="T1"/>
                </a:cxn>
                <a:cxn ang="0">
                  <a:pos x="T2" y="T3"/>
                </a:cxn>
                <a:cxn ang="0">
                  <a:pos x="T4" y="T5"/>
                </a:cxn>
                <a:cxn ang="0">
                  <a:pos x="T6" y="T7"/>
                </a:cxn>
                <a:cxn ang="0">
                  <a:pos x="T8" y="T9"/>
                </a:cxn>
                <a:cxn ang="0">
                  <a:pos x="T10" y="T11"/>
                </a:cxn>
              </a:cxnLst>
              <a:rect l="0" t="0" r="r" b="b"/>
              <a:pathLst>
                <a:path w="10" h="8">
                  <a:moveTo>
                    <a:pt x="10" y="0"/>
                  </a:moveTo>
                  <a:cubicBezTo>
                    <a:pt x="7" y="0"/>
                    <a:pt x="5" y="2"/>
                    <a:pt x="2" y="3"/>
                  </a:cubicBezTo>
                  <a:cubicBezTo>
                    <a:pt x="0" y="6"/>
                    <a:pt x="1" y="5"/>
                    <a:pt x="4" y="7"/>
                  </a:cubicBezTo>
                  <a:cubicBezTo>
                    <a:pt x="4" y="7"/>
                    <a:pt x="4" y="8"/>
                    <a:pt x="5" y="8"/>
                  </a:cubicBezTo>
                  <a:cubicBezTo>
                    <a:pt x="5" y="8"/>
                    <a:pt x="5" y="8"/>
                    <a:pt x="6" y="8"/>
                  </a:cubicBezTo>
                  <a:cubicBezTo>
                    <a:pt x="8" y="7"/>
                    <a:pt x="10"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1187"/>
            <p:cNvSpPr/>
            <p:nvPr/>
          </p:nvSpPr>
          <p:spPr bwMode="auto">
            <a:xfrm>
              <a:off x="3178651" y="4935774"/>
              <a:ext cx="28189" cy="24162"/>
            </a:xfrm>
            <a:custGeom>
              <a:gdLst>
                <a:gd name="T0" fmla="*/ 5 w 9"/>
                <a:gd name="T1" fmla="*/ 0 h 8"/>
                <a:gd name="T2" fmla="*/ 2 w 9"/>
                <a:gd name="T3" fmla="*/ 2 h 8"/>
                <a:gd name="T4" fmla="*/ 1 w 9"/>
                <a:gd name="T5" fmla="*/ 1 h 8"/>
                <a:gd name="T6" fmla="*/ 0 w 9"/>
                <a:gd name="T7" fmla="*/ 2 h 8"/>
                <a:gd name="T8" fmla="*/ 2 w 9"/>
                <a:gd name="T9" fmla="*/ 6 h 8"/>
                <a:gd name="T10" fmla="*/ 2 w 9"/>
                <a:gd name="T11" fmla="*/ 8 h 8"/>
                <a:gd name="T12" fmla="*/ 3 w 9"/>
                <a:gd name="T13" fmla="*/ 8 h 8"/>
                <a:gd name="T14" fmla="*/ 6 w 9"/>
                <a:gd name="T15" fmla="*/ 6 h 8"/>
                <a:gd name="T16" fmla="*/ 5 w 9"/>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5" y="0"/>
                  </a:moveTo>
                  <a:cubicBezTo>
                    <a:pt x="4" y="2"/>
                    <a:pt x="3" y="1"/>
                    <a:pt x="2" y="2"/>
                  </a:cubicBezTo>
                  <a:cubicBezTo>
                    <a:pt x="2" y="2"/>
                    <a:pt x="1" y="1"/>
                    <a:pt x="1" y="1"/>
                  </a:cubicBezTo>
                  <a:cubicBezTo>
                    <a:pt x="1" y="1"/>
                    <a:pt x="0" y="2"/>
                    <a:pt x="0" y="2"/>
                  </a:cubicBezTo>
                  <a:cubicBezTo>
                    <a:pt x="0" y="3"/>
                    <a:pt x="1" y="5"/>
                    <a:pt x="2" y="6"/>
                  </a:cubicBezTo>
                  <a:cubicBezTo>
                    <a:pt x="3" y="6"/>
                    <a:pt x="2" y="7"/>
                    <a:pt x="2" y="8"/>
                  </a:cubicBezTo>
                  <a:cubicBezTo>
                    <a:pt x="2" y="8"/>
                    <a:pt x="3" y="8"/>
                    <a:pt x="3" y="8"/>
                  </a:cubicBezTo>
                  <a:cubicBezTo>
                    <a:pt x="4" y="8"/>
                    <a:pt x="6" y="7"/>
                    <a:pt x="6" y="6"/>
                  </a:cubicBezTo>
                  <a:cubicBezTo>
                    <a:pt x="9" y="4"/>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1188"/>
            <p:cNvSpPr/>
            <p:nvPr/>
          </p:nvSpPr>
          <p:spPr bwMode="auto">
            <a:xfrm>
              <a:off x="3271272" y="5350556"/>
              <a:ext cx="681906" cy="216116"/>
            </a:xfrm>
            <a:custGeom>
              <a:gdLst>
                <a:gd name="T0" fmla="*/ 0 w 215"/>
                <a:gd name="T1" fmla="*/ 21 h 68"/>
                <a:gd name="T2" fmla="*/ 22 w 215"/>
                <a:gd name="T3" fmla="*/ 35 h 68"/>
                <a:gd name="T4" fmla="*/ 27 w 215"/>
                <a:gd name="T5" fmla="*/ 36 h 68"/>
                <a:gd name="T6" fmla="*/ 60 w 215"/>
                <a:gd name="T7" fmla="*/ 44 h 68"/>
                <a:gd name="T8" fmla="*/ 70 w 215"/>
                <a:gd name="T9" fmla="*/ 44 h 68"/>
                <a:gd name="T10" fmla="*/ 79 w 215"/>
                <a:gd name="T11" fmla="*/ 42 h 68"/>
                <a:gd name="T12" fmla="*/ 119 w 215"/>
                <a:gd name="T13" fmla="*/ 52 h 68"/>
                <a:gd name="T14" fmla="*/ 140 w 215"/>
                <a:gd name="T15" fmla="*/ 56 h 68"/>
                <a:gd name="T16" fmla="*/ 148 w 215"/>
                <a:gd name="T17" fmla="*/ 56 h 68"/>
                <a:gd name="T18" fmla="*/ 156 w 215"/>
                <a:gd name="T19" fmla="*/ 57 h 68"/>
                <a:gd name="T20" fmla="*/ 169 w 215"/>
                <a:gd name="T21" fmla="*/ 60 h 68"/>
                <a:gd name="T22" fmla="*/ 180 w 215"/>
                <a:gd name="T23" fmla="*/ 57 h 68"/>
                <a:gd name="T24" fmla="*/ 215 w 215"/>
                <a:gd name="T25" fmla="*/ 68 h 68"/>
                <a:gd name="T26" fmla="*/ 210 w 215"/>
                <a:gd name="T27" fmla="*/ 51 h 68"/>
                <a:gd name="T28" fmla="*/ 201 w 215"/>
                <a:gd name="T29" fmla="*/ 41 h 68"/>
                <a:gd name="T30" fmla="*/ 191 w 215"/>
                <a:gd name="T31" fmla="*/ 43 h 68"/>
                <a:gd name="T32" fmla="*/ 173 w 215"/>
                <a:gd name="T33" fmla="*/ 40 h 68"/>
                <a:gd name="T34" fmla="*/ 169 w 215"/>
                <a:gd name="T35" fmla="*/ 32 h 68"/>
                <a:gd name="T36" fmla="*/ 165 w 215"/>
                <a:gd name="T37" fmla="*/ 23 h 68"/>
                <a:gd name="T38" fmla="*/ 158 w 215"/>
                <a:gd name="T39" fmla="*/ 24 h 68"/>
                <a:gd name="T40" fmla="*/ 136 w 215"/>
                <a:gd name="T41" fmla="*/ 19 h 68"/>
                <a:gd name="T42" fmla="*/ 128 w 215"/>
                <a:gd name="T43" fmla="*/ 12 h 68"/>
                <a:gd name="T44" fmla="*/ 116 w 215"/>
                <a:gd name="T45" fmla="*/ 25 h 68"/>
                <a:gd name="T46" fmla="*/ 97 w 215"/>
                <a:gd name="T47" fmla="*/ 23 h 68"/>
                <a:gd name="T48" fmla="*/ 92 w 215"/>
                <a:gd name="T49" fmla="*/ 23 h 68"/>
                <a:gd name="T50" fmla="*/ 88 w 215"/>
                <a:gd name="T51" fmla="*/ 23 h 68"/>
                <a:gd name="T52" fmla="*/ 73 w 215"/>
                <a:gd name="T53" fmla="*/ 18 h 68"/>
                <a:gd name="T54" fmla="*/ 65 w 215"/>
                <a:gd name="T55" fmla="*/ 9 h 68"/>
                <a:gd name="T56" fmla="*/ 63 w 215"/>
                <a:gd name="T57" fmla="*/ 9 h 68"/>
                <a:gd name="T58" fmla="*/ 53 w 215"/>
                <a:gd name="T59" fmla="*/ 8 h 68"/>
                <a:gd name="T60" fmla="*/ 39 w 215"/>
                <a:gd name="T61" fmla="*/ 1 h 68"/>
                <a:gd name="T62" fmla="*/ 36 w 215"/>
                <a:gd name="T63" fmla="*/ 13 h 68"/>
                <a:gd name="T64" fmla="*/ 30 w 215"/>
                <a:gd name="T65" fmla="*/ 4 h 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5" h="68">
                  <a:moveTo>
                    <a:pt x="13" y="0"/>
                  </a:moveTo>
                  <a:cubicBezTo>
                    <a:pt x="8" y="6"/>
                    <a:pt x="5" y="14"/>
                    <a:pt x="0" y="21"/>
                  </a:cubicBezTo>
                  <a:cubicBezTo>
                    <a:pt x="8" y="22"/>
                    <a:pt x="15" y="23"/>
                    <a:pt x="22" y="26"/>
                  </a:cubicBezTo>
                  <a:cubicBezTo>
                    <a:pt x="27" y="28"/>
                    <a:pt x="23" y="30"/>
                    <a:pt x="22" y="35"/>
                  </a:cubicBezTo>
                  <a:cubicBezTo>
                    <a:pt x="22" y="35"/>
                    <a:pt x="22" y="35"/>
                    <a:pt x="23" y="35"/>
                  </a:cubicBezTo>
                  <a:cubicBezTo>
                    <a:pt x="24" y="35"/>
                    <a:pt x="26" y="36"/>
                    <a:pt x="27" y="36"/>
                  </a:cubicBezTo>
                  <a:cubicBezTo>
                    <a:pt x="33" y="37"/>
                    <a:pt x="39" y="37"/>
                    <a:pt x="45" y="38"/>
                  </a:cubicBezTo>
                  <a:cubicBezTo>
                    <a:pt x="50" y="39"/>
                    <a:pt x="55" y="43"/>
                    <a:pt x="60" y="44"/>
                  </a:cubicBezTo>
                  <a:cubicBezTo>
                    <a:pt x="63" y="44"/>
                    <a:pt x="65" y="45"/>
                    <a:pt x="67" y="45"/>
                  </a:cubicBezTo>
                  <a:cubicBezTo>
                    <a:pt x="68" y="45"/>
                    <a:pt x="69" y="44"/>
                    <a:pt x="70" y="44"/>
                  </a:cubicBezTo>
                  <a:cubicBezTo>
                    <a:pt x="73" y="43"/>
                    <a:pt x="76" y="42"/>
                    <a:pt x="78" y="42"/>
                  </a:cubicBezTo>
                  <a:cubicBezTo>
                    <a:pt x="79" y="42"/>
                    <a:pt x="79" y="42"/>
                    <a:pt x="79" y="42"/>
                  </a:cubicBezTo>
                  <a:cubicBezTo>
                    <a:pt x="87" y="43"/>
                    <a:pt x="94" y="44"/>
                    <a:pt x="102" y="46"/>
                  </a:cubicBezTo>
                  <a:cubicBezTo>
                    <a:pt x="108" y="47"/>
                    <a:pt x="114" y="50"/>
                    <a:pt x="119" y="52"/>
                  </a:cubicBezTo>
                  <a:cubicBezTo>
                    <a:pt x="123" y="53"/>
                    <a:pt x="126" y="55"/>
                    <a:pt x="129" y="55"/>
                  </a:cubicBezTo>
                  <a:cubicBezTo>
                    <a:pt x="133" y="55"/>
                    <a:pt x="137" y="55"/>
                    <a:pt x="140" y="56"/>
                  </a:cubicBezTo>
                  <a:cubicBezTo>
                    <a:pt x="142" y="56"/>
                    <a:pt x="144" y="58"/>
                    <a:pt x="145" y="58"/>
                  </a:cubicBezTo>
                  <a:cubicBezTo>
                    <a:pt x="146" y="58"/>
                    <a:pt x="147" y="58"/>
                    <a:pt x="148" y="56"/>
                  </a:cubicBezTo>
                  <a:cubicBezTo>
                    <a:pt x="148" y="56"/>
                    <a:pt x="148" y="56"/>
                    <a:pt x="149" y="56"/>
                  </a:cubicBezTo>
                  <a:cubicBezTo>
                    <a:pt x="151" y="56"/>
                    <a:pt x="155" y="57"/>
                    <a:pt x="156" y="57"/>
                  </a:cubicBezTo>
                  <a:cubicBezTo>
                    <a:pt x="161" y="58"/>
                    <a:pt x="164" y="58"/>
                    <a:pt x="168" y="59"/>
                  </a:cubicBezTo>
                  <a:cubicBezTo>
                    <a:pt x="169" y="60"/>
                    <a:pt x="169" y="60"/>
                    <a:pt x="169" y="60"/>
                  </a:cubicBezTo>
                  <a:cubicBezTo>
                    <a:pt x="171" y="60"/>
                    <a:pt x="174" y="58"/>
                    <a:pt x="176" y="58"/>
                  </a:cubicBezTo>
                  <a:cubicBezTo>
                    <a:pt x="178" y="57"/>
                    <a:pt x="179" y="57"/>
                    <a:pt x="180" y="57"/>
                  </a:cubicBezTo>
                  <a:cubicBezTo>
                    <a:pt x="186" y="57"/>
                    <a:pt x="190" y="60"/>
                    <a:pt x="196" y="62"/>
                  </a:cubicBezTo>
                  <a:cubicBezTo>
                    <a:pt x="202" y="65"/>
                    <a:pt x="209" y="66"/>
                    <a:pt x="215" y="68"/>
                  </a:cubicBezTo>
                  <a:cubicBezTo>
                    <a:pt x="212" y="65"/>
                    <a:pt x="209" y="62"/>
                    <a:pt x="209" y="58"/>
                  </a:cubicBezTo>
                  <a:cubicBezTo>
                    <a:pt x="209" y="56"/>
                    <a:pt x="210" y="53"/>
                    <a:pt x="210" y="51"/>
                  </a:cubicBezTo>
                  <a:cubicBezTo>
                    <a:pt x="211" y="46"/>
                    <a:pt x="212" y="46"/>
                    <a:pt x="208" y="44"/>
                  </a:cubicBezTo>
                  <a:cubicBezTo>
                    <a:pt x="206" y="43"/>
                    <a:pt x="203" y="41"/>
                    <a:pt x="201" y="41"/>
                  </a:cubicBezTo>
                  <a:cubicBezTo>
                    <a:pt x="201" y="41"/>
                    <a:pt x="201" y="41"/>
                    <a:pt x="201" y="41"/>
                  </a:cubicBezTo>
                  <a:cubicBezTo>
                    <a:pt x="198" y="41"/>
                    <a:pt x="194" y="42"/>
                    <a:pt x="191" y="43"/>
                  </a:cubicBezTo>
                  <a:cubicBezTo>
                    <a:pt x="188" y="43"/>
                    <a:pt x="186" y="43"/>
                    <a:pt x="185" y="43"/>
                  </a:cubicBezTo>
                  <a:cubicBezTo>
                    <a:pt x="181" y="43"/>
                    <a:pt x="177" y="42"/>
                    <a:pt x="173" y="40"/>
                  </a:cubicBezTo>
                  <a:cubicBezTo>
                    <a:pt x="171" y="39"/>
                    <a:pt x="172" y="37"/>
                    <a:pt x="172" y="35"/>
                  </a:cubicBezTo>
                  <a:cubicBezTo>
                    <a:pt x="172" y="33"/>
                    <a:pt x="171" y="33"/>
                    <a:pt x="169" y="32"/>
                  </a:cubicBezTo>
                  <a:cubicBezTo>
                    <a:pt x="166" y="30"/>
                    <a:pt x="168" y="28"/>
                    <a:pt x="167" y="25"/>
                  </a:cubicBezTo>
                  <a:cubicBezTo>
                    <a:pt x="167" y="23"/>
                    <a:pt x="166" y="23"/>
                    <a:pt x="165" y="23"/>
                  </a:cubicBezTo>
                  <a:cubicBezTo>
                    <a:pt x="164" y="23"/>
                    <a:pt x="163" y="23"/>
                    <a:pt x="162" y="23"/>
                  </a:cubicBezTo>
                  <a:cubicBezTo>
                    <a:pt x="160" y="24"/>
                    <a:pt x="159" y="24"/>
                    <a:pt x="158" y="24"/>
                  </a:cubicBezTo>
                  <a:cubicBezTo>
                    <a:pt x="158" y="24"/>
                    <a:pt x="158" y="24"/>
                    <a:pt x="158" y="24"/>
                  </a:cubicBezTo>
                  <a:cubicBezTo>
                    <a:pt x="150" y="21"/>
                    <a:pt x="144" y="20"/>
                    <a:pt x="136" y="19"/>
                  </a:cubicBezTo>
                  <a:cubicBezTo>
                    <a:pt x="133" y="19"/>
                    <a:pt x="131" y="15"/>
                    <a:pt x="129" y="12"/>
                  </a:cubicBezTo>
                  <a:cubicBezTo>
                    <a:pt x="129" y="12"/>
                    <a:pt x="128" y="12"/>
                    <a:pt x="128" y="12"/>
                  </a:cubicBezTo>
                  <a:cubicBezTo>
                    <a:pt x="127" y="12"/>
                    <a:pt x="123" y="14"/>
                    <a:pt x="122" y="15"/>
                  </a:cubicBezTo>
                  <a:cubicBezTo>
                    <a:pt x="122" y="17"/>
                    <a:pt x="120" y="25"/>
                    <a:pt x="116" y="25"/>
                  </a:cubicBezTo>
                  <a:cubicBezTo>
                    <a:pt x="116" y="25"/>
                    <a:pt x="116" y="25"/>
                    <a:pt x="116" y="25"/>
                  </a:cubicBezTo>
                  <a:cubicBezTo>
                    <a:pt x="110" y="25"/>
                    <a:pt x="104" y="23"/>
                    <a:pt x="97" y="23"/>
                  </a:cubicBezTo>
                  <a:cubicBezTo>
                    <a:pt x="97" y="22"/>
                    <a:pt x="96" y="22"/>
                    <a:pt x="95" y="22"/>
                  </a:cubicBezTo>
                  <a:cubicBezTo>
                    <a:pt x="94" y="22"/>
                    <a:pt x="93" y="22"/>
                    <a:pt x="92" y="23"/>
                  </a:cubicBezTo>
                  <a:cubicBezTo>
                    <a:pt x="91" y="23"/>
                    <a:pt x="90" y="23"/>
                    <a:pt x="89" y="23"/>
                  </a:cubicBezTo>
                  <a:cubicBezTo>
                    <a:pt x="89" y="23"/>
                    <a:pt x="88" y="23"/>
                    <a:pt x="88" y="23"/>
                  </a:cubicBezTo>
                  <a:cubicBezTo>
                    <a:pt x="85" y="22"/>
                    <a:pt x="82" y="22"/>
                    <a:pt x="80" y="22"/>
                  </a:cubicBezTo>
                  <a:cubicBezTo>
                    <a:pt x="77" y="21"/>
                    <a:pt x="73" y="21"/>
                    <a:pt x="73" y="18"/>
                  </a:cubicBezTo>
                  <a:cubicBezTo>
                    <a:pt x="72" y="15"/>
                    <a:pt x="70" y="13"/>
                    <a:pt x="68" y="10"/>
                  </a:cubicBezTo>
                  <a:cubicBezTo>
                    <a:pt x="67" y="9"/>
                    <a:pt x="66" y="9"/>
                    <a:pt x="65" y="9"/>
                  </a:cubicBezTo>
                  <a:cubicBezTo>
                    <a:pt x="65" y="9"/>
                    <a:pt x="64" y="9"/>
                    <a:pt x="64" y="9"/>
                  </a:cubicBezTo>
                  <a:cubicBezTo>
                    <a:pt x="64" y="9"/>
                    <a:pt x="63" y="9"/>
                    <a:pt x="63" y="9"/>
                  </a:cubicBezTo>
                  <a:cubicBezTo>
                    <a:pt x="63" y="9"/>
                    <a:pt x="63" y="9"/>
                    <a:pt x="63" y="9"/>
                  </a:cubicBezTo>
                  <a:cubicBezTo>
                    <a:pt x="59" y="9"/>
                    <a:pt x="56" y="8"/>
                    <a:pt x="53" y="8"/>
                  </a:cubicBezTo>
                  <a:cubicBezTo>
                    <a:pt x="49" y="8"/>
                    <a:pt x="47" y="6"/>
                    <a:pt x="44" y="4"/>
                  </a:cubicBezTo>
                  <a:cubicBezTo>
                    <a:pt x="44" y="4"/>
                    <a:pt x="41" y="2"/>
                    <a:pt x="39" y="1"/>
                  </a:cubicBezTo>
                  <a:cubicBezTo>
                    <a:pt x="41" y="2"/>
                    <a:pt x="42" y="4"/>
                    <a:pt x="42" y="7"/>
                  </a:cubicBezTo>
                  <a:cubicBezTo>
                    <a:pt x="42" y="10"/>
                    <a:pt x="39" y="13"/>
                    <a:pt x="36" y="13"/>
                  </a:cubicBezTo>
                  <a:cubicBezTo>
                    <a:pt x="32" y="13"/>
                    <a:pt x="29" y="10"/>
                    <a:pt x="29" y="7"/>
                  </a:cubicBezTo>
                  <a:cubicBezTo>
                    <a:pt x="29" y="6"/>
                    <a:pt x="30" y="5"/>
                    <a:pt x="30" y="4"/>
                  </a:cubicBezTo>
                  <a:cubicBezTo>
                    <a:pt x="24" y="3"/>
                    <a:pt x="19"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1189"/>
            <p:cNvSpPr/>
            <p:nvPr/>
          </p:nvSpPr>
          <p:spPr bwMode="auto">
            <a:xfrm>
              <a:off x="3017571" y="4805567"/>
              <a:ext cx="30874" cy="34901"/>
            </a:xfrm>
            <a:custGeom>
              <a:gdLst>
                <a:gd name="T0" fmla="*/ 4 w 10"/>
                <a:gd name="T1" fmla="*/ 0 h 11"/>
                <a:gd name="T2" fmla="*/ 7 w 10"/>
                <a:gd name="T3" fmla="*/ 11 h 11"/>
                <a:gd name="T4" fmla="*/ 7 w 10"/>
                <a:gd name="T5" fmla="*/ 2 h 11"/>
                <a:gd name="T6" fmla="*/ 4 w 10"/>
                <a:gd name="T7" fmla="*/ 0 h 11"/>
              </a:gdLst>
              <a:cxnLst>
                <a:cxn ang="0">
                  <a:pos x="T0" y="T1"/>
                </a:cxn>
                <a:cxn ang="0">
                  <a:pos x="T2" y="T3"/>
                </a:cxn>
                <a:cxn ang="0">
                  <a:pos x="T4" y="T5"/>
                </a:cxn>
                <a:cxn ang="0">
                  <a:pos x="T6" y="T7"/>
                </a:cxn>
              </a:cxnLst>
              <a:rect l="0" t="0" r="r" b="b"/>
              <a:pathLst>
                <a:path w="10" h="11">
                  <a:moveTo>
                    <a:pt x="4" y="0"/>
                  </a:moveTo>
                  <a:cubicBezTo>
                    <a:pt x="0" y="2"/>
                    <a:pt x="5" y="9"/>
                    <a:pt x="7" y="11"/>
                  </a:cubicBezTo>
                  <a:cubicBezTo>
                    <a:pt x="9" y="7"/>
                    <a:pt x="10" y="5"/>
                    <a:pt x="7"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1190"/>
            <p:cNvSpPr/>
            <p:nvPr/>
          </p:nvSpPr>
          <p:spPr bwMode="auto">
            <a:xfrm>
              <a:off x="4683409" y="5029737"/>
              <a:ext cx="69801" cy="29531"/>
            </a:xfrm>
            <a:custGeom>
              <a:gdLst>
                <a:gd name="T0" fmla="*/ 4 w 22"/>
                <a:gd name="T1" fmla="*/ 0 h 9"/>
                <a:gd name="T2" fmla="*/ 1 w 22"/>
                <a:gd name="T3" fmla="*/ 1 h 9"/>
                <a:gd name="T4" fmla="*/ 0 w 22"/>
                <a:gd name="T5" fmla="*/ 9 h 9"/>
                <a:gd name="T6" fmla="*/ 7 w 22"/>
                <a:gd name="T7" fmla="*/ 8 h 9"/>
                <a:gd name="T8" fmla="*/ 10 w 22"/>
                <a:gd name="T9" fmla="*/ 7 h 9"/>
                <a:gd name="T10" fmla="*/ 11 w 22"/>
                <a:gd name="T11" fmla="*/ 7 h 9"/>
                <a:gd name="T12" fmla="*/ 15 w 22"/>
                <a:gd name="T13" fmla="*/ 8 h 9"/>
                <a:gd name="T14" fmla="*/ 20 w 22"/>
                <a:gd name="T15" fmla="*/ 7 h 9"/>
                <a:gd name="T16" fmla="*/ 22 w 22"/>
                <a:gd name="T17" fmla="*/ 4 h 9"/>
                <a:gd name="T18" fmla="*/ 21 w 22"/>
                <a:gd name="T19" fmla="*/ 3 h 9"/>
                <a:gd name="T20" fmla="*/ 21 w 22"/>
                <a:gd name="T21" fmla="*/ 3 h 9"/>
                <a:gd name="T22" fmla="*/ 20 w 22"/>
                <a:gd name="T23" fmla="*/ 3 h 9"/>
                <a:gd name="T24" fmla="*/ 19 w 22"/>
                <a:gd name="T25" fmla="*/ 4 h 9"/>
                <a:gd name="T26" fmla="*/ 19 w 22"/>
                <a:gd name="T27" fmla="*/ 3 h 9"/>
                <a:gd name="T28" fmla="*/ 19 w 22"/>
                <a:gd name="T29" fmla="*/ 3 h 9"/>
                <a:gd name="T30" fmla="*/ 17 w 22"/>
                <a:gd name="T31" fmla="*/ 2 h 9"/>
                <a:gd name="T32" fmla="*/ 17 w 22"/>
                <a:gd name="T33" fmla="*/ 2 h 9"/>
                <a:gd name="T34" fmla="*/ 15 w 22"/>
                <a:gd name="T35" fmla="*/ 3 h 9"/>
                <a:gd name="T36" fmla="*/ 15 w 22"/>
                <a:gd name="T37" fmla="*/ 4 h 9"/>
                <a:gd name="T38" fmla="*/ 14 w 22"/>
                <a:gd name="T39" fmla="*/ 3 h 9"/>
                <a:gd name="T40" fmla="*/ 4 w 22"/>
                <a:gd name="T41"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9">
                  <a:moveTo>
                    <a:pt x="4" y="0"/>
                  </a:moveTo>
                  <a:cubicBezTo>
                    <a:pt x="3" y="0"/>
                    <a:pt x="1" y="0"/>
                    <a:pt x="1" y="1"/>
                  </a:cubicBezTo>
                  <a:cubicBezTo>
                    <a:pt x="0" y="4"/>
                    <a:pt x="0" y="7"/>
                    <a:pt x="0" y="9"/>
                  </a:cubicBezTo>
                  <a:cubicBezTo>
                    <a:pt x="3" y="9"/>
                    <a:pt x="5" y="9"/>
                    <a:pt x="7" y="8"/>
                  </a:cubicBezTo>
                  <a:cubicBezTo>
                    <a:pt x="8" y="8"/>
                    <a:pt x="9" y="7"/>
                    <a:pt x="10" y="7"/>
                  </a:cubicBezTo>
                  <a:cubicBezTo>
                    <a:pt x="10" y="7"/>
                    <a:pt x="10" y="7"/>
                    <a:pt x="11" y="7"/>
                  </a:cubicBezTo>
                  <a:cubicBezTo>
                    <a:pt x="12" y="7"/>
                    <a:pt x="13" y="8"/>
                    <a:pt x="15" y="8"/>
                  </a:cubicBezTo>
                  <a:cubicBezTo>
                    <a:pt x="16" y="8"/>
                    <a:pt x="18" y="7"/>
                    <a:pt x="20" y="7"/>
                  </a:cubicBezTo>
                  <a:cubicBezTo>
                    <a:pt x="21" y="6"/>
                    <a:pt x="22" y="6"/>
                    <a:pt x="22" y="4"/>
                  </a:cubicBezTo>
                  <a:cubicBezTo>
                    <a:pt x="21" y="3"/>
                    <a:pt x="21" y="3"/>
                    <a:pt x="21" y="3"/>
                  </a:cubicBezTo>
                  <a:cubicBezTo>
                    <a:pt x="21" y="3"/>
                    <a:pt x="21" y="3"/>
                    <a:pt x="21" y="3"/>
                  </a:cubicBezTo>
                  <a:cubicBezTo>
                    <a:pt x="20" y="3"/>
                    <a:pt x="19" y="3"/>
                    <a:pt x="20" y="3"/>
                  </a:cubicBezTo>
                  <a:cubicBezTo>
                    <a:pt x="19" y="4"/>
                    <a:pt x="19" y="4"/>
                    <a:pt x="19" y="4"/>
                  </a:cubicBezTo>
                  <a:cubicBezTo>
                    <a:pt x="19" y="4"/>
                    <a:pt x="19" y="3"/>
                    <a:pt x="19" y="3"/>
                  </a:cubicBezTo>
                  <a:cubicBezTo>
                    <a:pt x="19" y="3"/>
                    <a:pt x="19" y="3"/>
                    <a:pt x="19" y="3"/>
                  </a:cubicBezTo>
                  <a:cubicBezTo>
                    <a:pt x="18" y="3"/>
                    <a:pt x="18" y="2"/>
                    <a:pt x="17" y="2"/>
                  </a:cubicBezTo>
                  <a:cubicBezTo>
                    <a:pt x="17" y="2"/>
                    <a:pt x="17" y="2"/>
                    <a:pt x="17" y="2"/>
                  </a:cubicBezTo>
                  <a:cubicBezTo>
                    <a:pt x="17" y="2"/>
                    <a:pt x="16" y="3"/>
                    <a:pt x="15" y="3"/>
                  </a:cubicBezTo>
                  <a:cubicBezTo>
                    <a:pt x="15" y="3"/>
                    <a:pt x="15" y="4"/>
                    <a:pt x="15" y="4"/>
                  </a:cubicBezTo>
                  <a:cubicBezTo>
                    <a:pt x="15" y="4"/>
                    <a:pt x="15" y="3"/>
                    <a:pt x="14" y="3"/>
                  </a:cubicBezTo>
                  <a:cubicBezTo>
                    <a:pt x="12"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1191"/>
            <p:cNvSpPr/>
            <p:nvPr/>
          </p:nvSpPr>
          <p:spPr bwMode="auto">
            <a:xfrm>
              <a:off x="4593473" y="5525060"/>
              <a:ext cx="55036" cy="25504"/>
            </a:xfrm>
            <a:custGeom>
              <a:gdLst>
                <a:gd name="T0" fmla="*/ 14 w 17"/>
                <a:gd name="T1" fmla="*/ 0 h 8"/>
                <a:gd name="T2" fmla="*/ 11 w 17"/>
                <a:gd name="T3" fmla="*/ 1 h 8"/>
                <a:gd name="T4" fmla="*/ 11 w 17"/>
                <a:gd name="T5" fmla="*/ 1 h 8"/>
                <a:gd name="T6" fmla="*/ 11 w 17"/>
                <a:gd name="T7" fmla="*/ 0 h 8"/>
                <a:gd name="T8" fmla="*/ 11 w 17"/>
                <a:gd name="T9" fmla="*/ 0 h 8"/>
                <a:gd name="T10" fmla="*/ 10 w 17"/>
                <a:gd name="T11" fmla="*/ 0 h 8"/>
                <a:gd name="T12" fmla="*/ 10 w 17"/>
                <a:gd name="T13" fmla="*/ 2 h 8"/>
                <a:gd name="T14" fmla="*/ 9 w 17"/>
                <a:gd name="T15" fmla="*/ 4 h 8"/>
                <a:gd name="T16" fmla="*/ 8 w 17"/>
                <a:gd name="T17" fmla="*/ 4 h 8"/>
                <a:gd name="T18" fmla="*/ 7 w 17"/>
                <a:gd name="T19" fmla="*/ 1 h 8"/>
                <a:gd name="T20" fmla="*/ 5 w 17"/>
                <a:gd name="T21" fmla="*/ 1 h 8"/>
                <a:gd name="T22" fmla="*/ 0 w 17"/>
                <a:gd name="T23" fmla="*/ 8 h 8"/>
                <a:gd name="T24" fmla="*/ 5 w 17"/>
                <a:gd name="T25" fmla="*/ 8 h 8"/>
                <a:gd name="T26" fmla="*/ 7 w 17"/>
                <a:gd name="T27" fmla="*/ 8 h 8"/>
                <a:gd name="T28" fmla="*/ 9 w 17"/>
                <a:gd name="T29" fmla="*/ 8 h 8"/>
                <a:gd name="T30" fmla="*/ 9 w 17"/>
                <a:gd name="T31" fmla="*/ 7 h 8"/>
                <a:gd name="T32" fmla="*/ 9 w 17"/>
                <a:gd name="T33" fmla="*/ 6 h 8"/>
                <a:gd name="T34" fmla="*/ 12 w 17"/>
                <a:gd name="T35" fmla="*/ 5 h 8"/>
                <a:gd name="T36" fmla="*/ 17 w 17"/>
                <a:gd name="T37" fmla="*/ 0 h 8"/>
                <a:gd name="T38" fmla="*/ 14 w 17"/>
                <a:gd name="T3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8">
                  <a:moveTo>
                    <a:pt x="14" y="0"/>
                  </a:moveTo>
                  <a:cubicBezTo>
                    <a:pt x="13" y="0"/>
                    <a:pt x="12" y="0"/>
                    <a:pt x="11" y="1"/>
                  </a:cubicBezTo>
                  <a:cubicBezTo>
                    <a:pt x="11" y="1"/>
                    <a:pt x="11" y="1"/>
                    <a:pt x="11" y="1"/>
                  </a:cubicBezTo>
                  <a:cubicBezTo>
                    <a:pt x="11" y="1"/>
                    <a:pt x="11" y="1"/>
                    <a:pt x="11" y="0"/>
                  </a:cubicBezTo>
                  <a:cubicBezTo>
                    <a:pt x="11" y="0"/>
                    <a:pt x="11" y="0"/>
                    <a:pt x="11" y="0"/>
                  </a:cubicBezTo>
                  <a:cubicBezTo>
                    <a:pt x="10" y="0"/>
                    <a:pt x="10" y="0"/>
                    <a:pt x="10" y="0"/>
                  </a:cubicBezTo>
                  <a:cubicBezTo>
                    <a:pt x="10" y="0"/>
                    <a:pt x="10" y="1"/>
                    <a:pt x="10" y="2"/>
                  </a:cubicBezTo>
                  <a:cubicBezTo>
                    <a:pt x="9" y="2"/>
                    <a:pt x="9" y="4"/>
                    <a:pt x="9" y="4"/>
                  </a:cubicBezTo>
                  <a:cubicBezTo>
                    <a:pt x="8" y="4"/>
                    <a:pt x="8" y="4"/>
                    <a:pt x="8" y="4"/>
                  </a:cubicBezTo>
                  <a:cubicBezTo>
                    <a:pt x="6" y="3"/>
                    <a:pt x="9" y="1"/>
                    <a:pt x="7" y="1"/>
                  </a:cubicBezTo>
                  <a:cubicBezTo>
                    <a:pt x="7" y="1"/>
                    <a:pt x="6" y="1"/>
                    <a:pt x="5" y="1"/>
                  </a:cubicBezTo>
                  <a:cubicBezTo>
                    <a:pt x="9" y="4"/>
                    <a:pt x="2" y="6"/>
                    <a:pt x="0" y="8"/>
                  </a:cubicBezTo>
                  <a:cubicBezTo>
                    <a:pt x="2" y="8"/>
                    <a:pt x="4" y="8"/>
                    <a:pt x="5" y="8"/>
                  </a:cubicBezTo>
                  <a:cubicBezTo>
                    <a:pt x="6" y="8"/>
                    <a:pt x="6" y="8"/>
                    <a:pt x="7" y="8"/>
                  </a:cubicBezTo>
                  <a:cubicBezTo>
                    <a:pt x="8" y="8"/>
                    <a:pt x="9" y="8"/>
                    <a:pt x="9" y="8"/>
                  </a:cubicBezTo>
                  <a:cubicBezTo>
                    <a:pt x="9" y="8"/>
                    <a:pt x="9" y="7"/>
                    <a:pt x="9" y="7"/>
                  </a:cubicBezTo>
                  <a:cubicBezTo>
                    <a:pt x="9" y="6"/>
                    <a:pt x="9" y="6"/>
                    <a:pt x="9" y="6"/>
                  </a:cubicBezTo>
                  <a:cubicBezTo>
                    <a:pt x="10" y="5"/>
                    <a:pt x="11" y="5"/>
                    <a:pt x="12" y="5"/>
                  </a:cubicBezTo>
                  <a:cubicBezTo>
                    <a:pt x="13" y="4"/>
                    <a:pt x="16" y="2"/>
                    <a:pt x="17" y="0"/>
                  </a:cubicBezTo>
                  <a:cubicBezTo>
                    <a:pt x="16"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1192"/>
            <p:cNvSpPr/>
            <p:nvPr/>
          </p:nvSpPr>
          <p:spPr bwMode="auto">
            <a:xfrm>
              <a:off x="2813536" y="5061953"/>
              <a:ext cx="38928" cy="25504"/>
            </a:xfrm>
            <a:custGeom>
              <a:gdLst>
                <a:gd name="T0" fmla="*/ 6 w 12"/>
                <a:gd name="T1" fmla="*/ 0 h 8"/>
                <a:gd name="T2" fmla="*/ 5 w 12"/>
                <a:gd name="T3" fmla="*/ 0 h 8"/>
                <a:gd name="T4" fmla="*/ 12 w 12"/>
                <a:gd name="T5" fmla="*/ 8 h 8"/>
                <a:gd name="T6" fmla="*/ 8 w 12"/>
                <a:gd name="T7" fmla="*/ 1 h 8"/>
                <a:gd name="T8" fmla="*/ 6 w 12"/>
                <a:gd name="T9" fmla="*/ 0 h 8"/>
              </a:gdLst>
              <a:cxnLst>
                <a:cxn ang="0">
                  <a:pos x="T0" y="T1"/>
                </a:cxn>
                <a:cxn ang="0">
                  <a:pos x="T2" y="T3"/>
                </a:cxn>
                <a:cxn ang="0">
                  <a:pos x="T4" y="T5"/>
                </a:cxn>
                <a:cxn ang="0">
                  <a:pos x="T6" y="T7"/>
                </a:cxn>
                <a:cxn ang="0">
                  <a:pos x="T8" y="T9"/>
                </a:cxn>
              </a:cxnLst>
              <a:rect l="0" t="0" r="r" b="b"/>
              <a:pathLst>
                <a:path w="12" h="8">
                  <a:moveTo>
                    <a:pt x="6" y="0"/>
                  </a:moveTo>
                  <a:cubicBezTo>
                    <a:pt x="5" y="0"/>
                    <a:pt x="5" y="0"/>
                    <a:pt x="5" y="0"/>
                  </a:cubicBezTo>
                  <a:cubicBezTo>
                    <a:pt x="0" y="3"/>
                    <a:pt x="10" y="7"/>
                    <a:pt x="12" y="8"/>
                  </a:cubicBezTo>
                  <a:cubicBezTo>
                    <a:pt x="11" y="7"/>
                    <a:pt x="9" y="2"/>
                    <a:pt x="8" y="1"/>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1193"/>
            <p:cNvSpPr/>
            <p:nvPr/>
          </p:nvSpPr>
          <p:spPr bwMode="auto">
            <a:xfrm>
              <a:off x="4174664" y="4601532"/>
              <a:ext cx="6712" cy="9396"/>
            </a:xfrm>
            <a:custGeom>
              <a:gdLst>
                <a:gd name="T0" fmla="*/ 0 w 2"/>
                <a:gd name="T1" fmla="*/ 0 h 3"/>
                <a:gd name="T2" fmla="*/ 1 w 2"/>
                <a:gd name="T3" fmla="*/ 2 h 3"/>
                <a:gd name="T4" fmla="*/ 1 w 2"/>
                <a:gd name="T5" fmla="*/ 3 h 3"/>
                <a:gd name="T6" fmla="*/ 2 w 2"/>
                <a:gd name="T7" fmla="*/ 3 h 3"/>
                <a:gd name="T8" fmla="*/ 2 w 2"/>
                <a:gd name="T9" fmla="*/ 3 h 3"/>
                <a:gd name="T10" fmla="*/ 0 w 2"/>
                <a:gd name="T11" fmla="*/ 0 h 3"/>
              </a:gdLst>
              <a:cxnLst>
                <a:cxn ang="0">
                  <a:pos x="T0" y="T1"/>
                </a:cxn>
                <a:cxn ang="0">
                  <a:pos x="T2" y="T3"/>
                </a:cxn>
                <a:cxn ang="0">
                  <a:pos x="T4" y="T5"/>
                </a:cxn>
                <a:cxn ang="0">
                  <a:pos x="T6" y="T7"/>
                </a:cxn>
                <a:cxn ang="0">
                  <a:pos x="T8" y="T9"/>
                </a:cxn>
                <a:cxn ang="0">
                  <a:pos x="T10" y="T11"/>
                </a:cxn>
              </a:cxnLst>
              <a:rect l="0" t="0" r="r" b="b"/>
              <a:pathLst>
                <a:path w="2" h="3">
                  <a:moveTo>
                    <a:pt x="0" y="0"/>
                  </a:moveTo>
                  <a:cubicBezTo>
                    <a:pt x="0" y="1"/>
                    <a:pt x="1" y="2"/>
                    <a:pt x="1" y="2"/>
                  </a:cubicBezTo>
                  <a:cubicBezTo>
                    <a:pt x="1" y="3"/>
                    <a:pt x="1" y="3"/>
                    <a:pt x="1" y="3"/>
                  </a:cubicBezTo>
                  <a:cubicBezTo>
                    <a:pt x="1" y="3"/>
                    <a:pt x="2" y="3"/>
                    <a:pt x="2" y="3"/>
                  </a:cubicBezTo>
                  <a:cubicBezTo>
                    <a:pt x="2" y="3"/>
                    <a:pt x="2" y="3"/>
                    <a:pt x="2" y="3"/>
                  </a:cubicBezTo>
                  <a:cubicBezTo>
                    <a:pt x="2"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1194"/>
            <p:cNvSpPr/>
            <p:nvPr/>
          </p:nvSpPr>
          <p:spPr bwMode="auto">
            <a:xfrm>
              <a:off x="5672710" y="5461970"/>
              <a:ext cx="104702" cy="79198"/>
            </a:xfrm>
            <a:custGeom>
              <a:gdLst>
                <a:gd name="T0" fmla="*/ 24 w 33"/>
                <a:gd name="T1" fmla="*/ 0 h 25"/>
                <a:gd name="T2" fmla="*/ 15 w 33"/>
                <a:gd name="T3" fmla="*/ 1 h 25"/>
                <a:gd name="T4" fmla="*/ 5 w 33"/>
                <a:gd name="T5" fmla="*/ 12 h 25"/>
                <a:gd name="T6" fmla="*/ 0 w 33"/>
                <a:gd name="T7" fmla="*/ 25 h 25"/>
                <a:gd name="T8" fmla="*/ 2 w 33"/>
                <a:gd name="T9" fmla="*/ 24 h 25"/>
                <a:gd name="T10" fmla="*/ 7 w 33"/>
                <a:gd name="T11" fmla="*/ 24 h 25"/>
                <a:gd name="T12" fmla="*/ 9 w 33"/>
                <a:gd name="T13" fmla="*/ 24 h 25"/>
                <a:gd name="T14" fmla="*/ 15 w 33"/>
                <a:gd name="T15" fmla="*/ 25 h 25"/>
                <a:gd name="T16" fmla="*/ 18 w 33"/>
                <a:gd name="T17" fmla="*/ 24 h 25"/>
                <a:gd name="T18" fmla="*/ 23 w 33"/>
                <a:gd name="T19" fmla="*/ 20 h 25"/>
                <a:gd name="T20" fmla="*/ 25 w 33"/>
                <a:gd name="T21" fmla="*/ 18 h 25"/>
                <a:gd name="T22" fmla="*/ 29 w 33"/>
                <a:gd name="T23" fmla="*/ 16 h 25"/>
                <a:gd name="T24" fmla="*/ 29 w 33"/>
                <a:gd name="T25" fmla="*/ 13 h 25"/>
                <a:gd name="T26" fmla="*/ 31 w 33"/>
                <a:gd name="T27" fmla="*/ 11 h 25"/>
                <a:gd name="T28" fmla="*/ 31 w 33"/>
                <a:gd name="T29" fmla="*/ 9 h 25"/>
                <a:gd name="T30" fmla="*/ 32 w 33"/>
                <a:gd name="T31" fmla="*/ 5 h 25"/>
                <a:gd name="T32" fmla="*/ 29 w 33"/>
                <a:gd name="T33" fmla="*/ 3 h 25"/>
                <a:gd name="T34" fmla="*/ 24 w 33"/>
                <a:gd name="T35" fmla="*/ 0 h 25"/>
                <a:gd name="T36" fmla="*/ 24 w 33"/>
                <a:gd name="T37"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5">
                  <a:moveTo>
                    <a:pt x="24" y="0"/>
                  </a:moveTo>
                  <a:cubicBezTo>
                    <a:pt x="21" y="0"/>
                    <a:pt x="18" y="0"/>
                    <a:pt x="15" y="1"/>
                  </a:cubicBezTo>
                  <a:cubicBezTo>
                    <a:pt x="10" y="5"/>
                    <a:pt x="7" y="7"/>
                    <a:pt x="5" y="12"/>
                  </a:cubicBezTo>
                  <a:cubicBezTo>
                    <a:pt x="3" y="16"/>
                    <a:pt x="1" y="21"/>
                    <a:pt x="0" y="25"/>
                  </a:cubicBezTo>
                  <a:cubicBezTo>
                    <a:pt x="0" y="25"/>
                    <a:pt x="1" y="24"/>
                    <a:pt x="2" y="24"/>
                  </a:cubicBezTo>
                  <a:cubicBezTo>
                    <a:pt x="4" y="24"/>
                    <a:pt x="5" y="24"/>
                    <a:pt x="7" y="24"/>
                  </a:cubicBezTo>
                  <a:cubicBezTo>
                    <a:pt x="8" y="24"/>
                    <a:pt x="9" y="24"/>
                    <a:pt x="9" y="24"/>
                  </a:cubicBezTo>
                  <a:cubicBezTo>
                    <a:pt x="11" y="24"/>
                    <a:pt x="13" y="25"/>
                    <a:pt x="15" y="25"/>
                  </a:cubicBezTo>
                  <a:cubicBezTo>
                    <a:pt x="16" y="25"/>
                    <a:pt x="17" y="24"/>
                    <a:pt x="18" y="24"/>
                  </a:cubicBezTo>
                  <a:cubicBezTo>
                    <a:pt x="20" y="23"/>
                    <a:pt x="21" y="21"/>
                    <a:pt x="23" y="20"/>
                  </a:cubicBezTo>
                  <a:cubicBezTo>
                    <a:pt x="23" y="20"/>
                    <a:pt x="24" y="19"/>
                    <a:pt x="25" y="18"/>
                  </a:cubicBezTo>
                  <a:cubicBezTo>
                    <a:pt x="26" y="18"/>
                    <a:pt x="28" y="18"/>
                    <a:pt x="29" y="16"/>
                  </a:cubicBezTo>
                  <a:cubicBezTo>
                    <a:pt x="29" y="16"/>
                    <a:pt x="29" y="14"/>
                    <a:pt x="29" y="13"/>
                  </a:cubicBezTo>
                  <a:cubicBezTo>
                    <a:pt x="29" y="12"/>
                    <a:pt x="30" y="12"/>
                    <a:pt x="31" y="11"/>
                  </a:cubicBezTo>
                  <a:cubicBezTo>
                    <a:pt x="31" y="10"/>
                    <a:pt x="31" y="10"/>
                    <a:pt x="31" y="9"/>
                  </a:cubicBezTo>
                  <a:cubicBezTo>
                    <a:pt x="32" y="8"/>
                    <a:pt x="33" y="6"/>
                    <a:pt x="32" y="5"/>
                  </a:cubicBezTo>
                  <a:cubicBezTo>
                    <a:pt x="31" y="4"/>
                    <a:pt x="30" y="4"/>
                    <a:pt x="29" y="3"/>
                  </a:cubicBezTo>
                  <a:cubicBezTo>
                    <a:pt x="27" y="1"/>
                    <a:pt x="27" y="0"/>
                    <a:pt x="24" y="0"/>
                  </a:cubicBezTo>
                  <a:cubicBezTo>
                    <a:pt x="24" y="0"/>
                    <a:pt x="24"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1195"/>
            <p:cNvSpPr/>
            <p:nvPr/>
          </p:nvSpPr>
          <p:spPr bwMode="auto">
            <a:xfrm>
              <a:off x="5402901" y="5369348"/>
              <a:ext cx="44297" cy="57720"/>
            </a:xfrm>
            <a:custGeom>
              <a:gdLst>
                <a:gd name="T0" fmla="*/ 2 w 14"/>
                <a:gd name="T1" fmla="*/ 0 h 18"/>
                <a:gd name="T2" fmla="*/ 4 w 14"/>
                <a:gd name="T3" fmla="*/ 8 h 18"/>
                <a:gd name="T4" fmla="*/ 3 w 14"/>
                <a:gd name="T5" fmla="*/ 8 h 18"/>
                <a:gd name="T6" fmla="*/ 1 w 14"/>
                <a:gd name="T7" fmla="*/ 16 h 18"/>
                <a:gd name="T8" fmla="*/ 4 w 14"/>
                <a:gd name="T9" fmla="*/ 18 h 18"/>
                <a:gd name="T10" fmla="*/ 9 w 14"/>
                <a:gd name="T11" fmla="*/ 12 h 18"/>
                <a:gd name="T12" fmla="*/ 9 w 14"/>
                <a:gd name="T13" fmla="*/ 12 h 18"/>
                <a:gd name="T14" fmla="*/ 2 w 14"/>
                <a:gd name="T15" fmla="*/ 0 h 1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2" y="0"/>
                  </a:moveTo>
                  <a:cubicBezTo>
                    <a:pt x="1" y="3"/>
                    <a:pt x="1" y="7"/>
                    <a:pt x="4" y="8"/>
                  </a:cubicBezTo>
                  <a:cubicBezTo>
                    <a:pt x="4" y="8"/>
                    <a:pt x="3" y="8"/>
                    <a:pt x="3" y="8"/>
                  </a:cubicBezTo>
                  <a:cubicBezTo>
                    <a:pt x="0" y="8"/>
                    <a:pt x="0" y="15"/>
                    <a:pt x="1" y="16"/>
                  </a:cubicBezTo>
                  <a:cubicBezTo>
                    <a:pt x="2" y="17"/>
                    <a:pt x="3" y="18"/>
                    <a:pt x="4" y="18"/>
                  </a:cubicBezTo>
                  <a:cubicBezTo>
                    <a:pt x="6" y="18"/>
                    <a:pt x="8" y="14"/>
                    <a:pt x="9" y="12"/>
                  </a:cubicBezTo>
                  <a:cubicBezTo>
                    <a:pt x="9" y="12"/>
                    <a:pt x="9" y="12"/>
                    <a:pt x="9" y="12"/>
                  </a:cubicBezTo>
                  <a:cubicBezTo>
                    <a:pt x="14" y="1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1196"/>
            <p:cNvSpPr/>
            <p:nvPr/>
          </p:nvSpPr>
          <p:spPr bwMode="auto">
            <a:xfrm>
              <a:off x="3806864" y="5424384"/>
              <a:ext cx="108729" cy="25504"/>
            </a:xfrm>
            <a:custGeom>
              <a:gdLst>
                <a:gd name="T0" fmla="*/ 13 w 34"/>
                <a:gd name="T1" fmla="*/ 0 h 8"/>
                <a:gd name="T2" fmla="*/ 2 w 34"/>
                <a:gd name="T3" fmla="*/ 4 h 8"/>
                <a:gd name="T4" fmla="*/ 4 w 34"/>
                <a:gd name="T5" fmla="*/ 7 h 8"/>
                <a:gd name="T6" fmla="*/ 12 w 34"/>
                <a:gd name="T7" fmla="*/ 8 h 8"/>
                <a:gd name="T8" fmla="*/ 34 w 34"/>
                <a:gd name="T9" fmla="*/ 2 h 8"/>
                <a:gd name="T10" fmla="*/ 28 w 34"/>
                <a:gd name="T11" fmla="*/ 0 h 8"/>
                <a:gd name="T12" fmla="*/ 23 w 34"/>
                <a:gd name="T13" fmla="*/ 0 h 8"/>
                <a:gd name="T14" fmla="*/ 13 w 34"/>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8">
                  <a:moveTo>
                    <a:pt x="13" y="0"/>
                  </a:moveTo>
                  <a:cubicBezTo>
                    <a:pt x="8" y="0"/>
                    <a:pt x="3" y="1"/>
                    <a:pt x="2" y="4"/>
                  </a:cubicBezTo>
                  <a:cubicBezTo>
                    <a:pt x="0" y="7"/>
                    <a:pt x="2" y="6"/>
                    <a:pt x="4" y="7"/>
                  </a:cubicBezTo>
                  <a:cubicBezTo>
                    <a:pt x="6" y="8"/>
                    <a:pt x="9" y="8"/>
                    <a:pt x="12" y="8"/>
                  </a:cubicBezTo>
                  <a:cubicBezTo>
                    <a:pt x="20" y="8"/>
                    <a:pt x="27" y="5"/>
                    <a:pt x="34" y="2"/>
                  </a:cubicBezTo>
                  <a:cubicBezTo>
                    <a:pt x="32" y="0"/>
                    <a:pt x="30" y="0"/>
                    <a:pt x="28" y="0"/>
                  </a:cubicBezTo>
                  <a:cubicBezTo>
                    <a:pt x="26" y="0"/>
                    <a:pt x="24" y="0"/>
                    <a:pt x="23" y="0"/>
                  </a:cubicBezTo>
                  <a:cubicBezTo>
                    <a:pt x="20" y="0"/>
                    <a:pt x="16"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1197"/>
            <p:cNvSpPr/>
            <p:nvPr/>
          </p:nvSpPr>
          <p:spPr bwMode="auto">
            <a:xfrm>
              <a:off x="5326388" y="5306259"/>
              <a:ext cx="9396" cy="25504"/>
            </a:xfrm>
            <a:custGeom>
              <a:gdLst>
                <a:gd name="T0" fmla="*/ 3 w 3"/>
                <a:gd name="T1" fmla="*/ 0 h 8"/>
                <a:gd name="T2" fmla="*/ 0 w 3"/>
                <a:gd name="T3" fmla="*/ 8 h 8"/>
                <a:gd name="T4" fmla="*/ 3 w 3"/>
                <a:gd name="T5" fmla="*/ 0 h 8"/>
              </a:gdLst>
              <a:cxnLst>
                <a:cxn ang="0">
                  <a:pos x="T0" y="T1"/>
                </a:cxn>
                <a:cxn ang="0">
                  <a:pos x="T2" y="T3"/>
                </a:cxn>
                <a:cxn ang="0">
                  <a:pos x="T4" y="T5"/>
                </a:cxn>
              </a:cxnLst>
              <a:rect l="0" t="0" r="r" b="b"/>
              <a:pathLst>
                <a:path w="3" h="8">
                  <a:moveTo>
                    <a:pt x="3" y="0"/>
                  </a:moveTo>
                  <a:cubicBezTo>
                    <a:pt x="1" y="0"/>
                    <a:pt x="0" y="6"/>
                    <a:pt x="0" y="8"/>
                  </a:cubicBezTo>
                  <a:cubicBezTo>
                    <a:pt x="1" y="5"/>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1198"/>
            <p:cNvSpPr/>
            <p:nvPr/>
          </p:nvSpPr>
          <p:spPr bwMode="auto">
            <a:xfrm>
              <a:off x="5314307" y="5331763"/>
              <a:ext cx="9396" cy="25504"/>
            </a:xfrm>
            <a:custGeom>
              <a:gdLst>
                <a:gd name="T0" fmla="*/ 3 w 3"/>
                <a:gd name="T1" fmla="*/ 0 h 8"/>
                <a:gd name="T2" fmla="*/ 0 w 3"/>
                <a:gd name="T3" fmla="*/ 8 h 8"/>
                <a:gd name="T4" fmla="*/ 3 w 3"/>
                <a:gd name="T5" fmla="*/ 0 h 8"/>
                <a:gd name="T6" fmla="*/ 3 w 3"/>
                <a:gd name="T7" fmla="*/ 0 h 8"/>
              </a:gdLst>
              <a:cxnLst>
                <a:cxn ang="0">
                  <a:pos x="T0" y="T1"/>
                </a:cxn>
                <a:cxn ang="0">
                  <a:pos x="T2" y="T3"/>
                </a:cxn>
                <a:cxn ang="0">
                  <a:pos x="T4" y="T5"/>
                </a:cxn>
                <a:cxn ang="0">
                  <a:pos x="T6" y="T7"/>
                </a:cxn>
              </a:cxnLst>
              <a:rect l="0" t="0" r="r" b="b"/>
              <a:pathLst>
                <a:path w="3" h="8">
                  <a:moveTo>
                    <a:pt x="3" y="0"/>
                  </a:moveTo>
                  <a:cubicBezTo>
                    <a:pt x="1" y="0"/>
                    <a:pt x="0" y="7"/>
                    <a:pt x="0" y="8"/>
                  </a:cubicBezTo>
                  <a:cubicBezTo>
                    <a:pt x="1" y="6"/>
                    <a:pt x="2" y="3"/>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1199"/>
            <p:cNvSpPr/>
            <p:nvPr/>
          </p:nvSpPr>
          <p:spPr bwMode="auto">
            <a:xfrm>
              <a:off x="4337086" y="5512979"/>
              <a:ext cx="244305" cy="65775"/>
            </a:xfrm>
            <a:custGeom>
              <a:gdLst>
                <a:gd name="T0" fmla="*/ 73 w 77"/>
                <a:gd name="T1" fmla="*/ 0 h 21"/>
                <a:gd name="T2" fmla="*/ 75 w 77"/>
                <a:gd name="T3" fmla="*/ 3 h 21"/>
                <a:gd name="T4" fmla="*/ 64 w 77"/>
                <a:gd name="T5" fmla="*/ 11 h 21"/>
                <a:gd name="T6" fmla="*/ 64 w 77"/>
                <a:gd name="T7" fmla="*/ 13 h 21"/>
                <a:gd name="T8" fmla="*/ 61 w 77"/>
                <a:gd name="T9" fmla="*/ 14 h 21"/>
                <a:gd name="T10" fmla="*/ 57 w 77"/>
                <a:gd name="T11" fmla="*/ 13 h 21"/>
                <a:gd name="T12" fmla="*/ 47 w 77"/>
                <a:gd name="T13" fmla="*/ 10 h 21"/>
                <a:gd name="T14" fmla="*/ 44 w 77"/>
                <a:gd name="T15" fmla="*/ 10 h 21"/>
                <a:gd name="T16" fmla="*/ 41 w 77"/>
                <a:gd name="T17" fmla="*/ 13 h 21"/>
                <a:gd name="T18" fmla="*/ 40 w 77"/>
                <a:gd name="T19" fmla="*/ 13 h 21"/>
                <a:gd name="T20" fmla="*/ 32 w 77"/>
                <a:gd name="T21" fmla="*/ 8 h 21"/>
                <a:gd name="T22" fmla="*/ 18 w 77"/>
                <a:gd name="T23" fmla="*/ 6 h 21"/>
                <a:gd name="T24" fmla="*/ 13 w 77"/>
                <a:gd name="T25" fmla="*/ 6 h 21"/>
                <a:gd name="T26" fmla="*/ 1 w 77"/>
                <a:gd name="T27" fmla="*/ 12 h 21"/>
                <a:gd name="T28" fmla="*/ 9 w 77"/>
                <a:gd name="T29" fmla="*/ 18 h 21"/>
                <a:gd name="T30" fmla="*/ 12 w 77"/>
                <a:gd name="T31" fmla="*/ 18 h 21"/>
                <a:gd name="T32" fmla="*/ 21 w 77"/>
                <a:gd name="T33" fmla="*/ 18 h 21"/>
                <a:gd name="T34" fmla="*/ 25 w 77"/>
                <a:gd name="T35" fmla="*/ 18 h 21"/>
                <a:gd name="T36" fmla="*/ 28 w 77"/>
                <a:gd name="T37" fmla="*/ 21 h 21"/>
                <a:gd name="T38" fmla="*/ 29 w 77"/>
                <a:gd name="T39" fmla="*/ 21 h 21"/>
                <a:gd name="T40" fmla="*/ 37 w 77"/>
                <a:gd name="T41" fmla="*/ 18 h 21"/>
                <a:gd name="T42" fmla="*/ 38 w 77"/>
                <a:gd name="T43" fmla="*/ 18 h 21"/>
                <a:gd name="T44" fmla="*/ 41 w 77"/>
                <a:gd name="T45" fmla="*/ 19 h 21"/>
                <a:gd name="T46" fmla="*/ 45 w 77"/>
                <a:gd name="T47" fmla="*/ 20 h 21"/>
                <a:gd name="T48" fmla="*/ 45 w 77"/>
                <a:gd name="T49" fmla="*/ 20 h 21"/>
                <a:gd name="T50" fmla="*/ 53 w 77"/>
                <a:gd name="T51" fmla="*/ 18 h 21"/>
                <a:gd name="T52" fmla="*/ 65 w 77"/>
                <a:gd name="T53" fmla="*/ 15 h 21"/>
                <a:gd name="T54" fmla="*/ 71 w 77"/>
                <a:gd name="T55" fmla="*/ 13 h 21"/>
                <a:gd name="T56" fmla="*/ 73 w 77"/>
                <a:gd name="T57" fmla="*/ 11 h 21"/>
                <a:gd name="T58" fmla="*/ 76 w 77"/>
                <a:gd name="T59" fmla="*/ 7 h 21"/>
                <a:gd name="T60" fmla="*/ 76 w 77"/>
                <a:gd name="T61" fmla="*/ 7 h 21"/>
                <a:gd name="T62" fmla="*/ 77 w 77"/>
                <a:gd name="T63" fmla="*/ 6 h 21"/>
                <a:gd name="T64" fmla="*/ 73 w 77"/>
                <a:gd name="T65"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7" h="21">
                  <a:moveTo>
                    <a:pt x="73" y="0"/>
                  </a:moveTo>
                  <a:cubicBezTo>
                    <a:pt x="73" y="2"/>
                    <a:pt x="73" y="3"/>
                    <a:pt x="75" y="3"/>
                  </a:cubicBezTo>
                  <a:cubicBezTo>
                    <a:pt x="71" y="6"/>
                    <a:pt x="67" y="7"/>
                    <a:pt x="64" y="11"/>
                  </a:cubicBezTo>
                  <a:cubicBezTo>
                    <a:pt x="64" y="11"/>
                    <a:pt x="65" y="12"/>
                    <a:pt x="64" y="13"/>
                  </a:cubicBezTo>
                  <a:cubicBezTo>
                    <a:pt x="63" y="13"/>
                    <a:pt x="62" y="14"/>
                    <a:pt x="61" y="14"/>
                  </a:cubicBezTo>
                  <a:cubicBezTo>
                    <a:pt x="60" y="14"/>
                    <a:pt x="58" y="13"/>
                    <a:pt x="57" y="13"/>
                  </a:cubicBezTo>
                  <a:cubicBezTo>
                    <a:pt x="54" y="11"/>
                    <a:pt x="51" y="10"/>
                    <a:pt x="47" y="10"/>
                  </a:cubicBezTo>
                  <a:cubicBezTo>
                    <a:pt x="46" y="10"/>
                    <a:pt x="45" y="10"/>
                    <a:pt x="44" y="10"/>
                  </a:cubicBezTo>
                  <a:cubicBezTo>
                    <a:pt x="43" y="10"/>
                    <a:pt x="42" y="13"/>
                    <a:pt x="41" y="13"/>
                  </a:cubicBezTo>
                  <a:cubicBezTo>
                    <a:pt x="41" y="13"/>
                    <a:pt x="41" y="13"/>
                    <a:pt x="40" y="13"/>
                  </a:cubicBezTo>
                  <a:cubicBezTo>
                    <a:pt x="38" y="11"/>
                    <a:pt x="35" y="10"/>
                    <a:pt x="32" y="8"/>
                  </a:cubicBezTo>
                  <a:cubicBezTo>
                    <a:pt x="27" y="6"/>
                    <a:pt x="23" y="7"/>
                    <a:pt x="18" y="6"/>
                  </a:cubicBezTo>
                  <a:cubicBezTo>
                    <a:pt x="16" y="6"/>
                    <a:pt x="15" y="6"/>
                    <a:pt x="13" y="6"/>
                  </a:cubicBezTo>
                  <a:cubicBezTo>
                    <a:pt x="8" y="6"/>
                    <a:pt x="2" y="7"/>
                    <a:pt x="1" y="12"/>
                  </a:cubicBezTo>
                  <a:cubicBezTo>
                    <a:pt x="0" y="18"/>
                    <a:pt x="4" y="18"/>
                    <a:pt x="9" y="18"/>
                  </a:cubicBezTo>
                  <a:cubicBezTo>
                    <a:pt x="10" y="18"/>
                    <a:pt x="11" y="18"/>
                    <a:pt x="12" y="18"/>
                  </a:cubicBezTo>
                  <a:cubicBezTo>
                    <a:pt x="15" y="18"/>
                    <a:pt x="18" y="18"/>
                    <a:pt x="21" y="18"/>
                  </a:cubicBezTo>
                  <a:cubicBezTo>
                    <a:pt x="22" y="18"/>
                    <a:pt x="24" y="18"/>
                    <a:pt x="25" y="18"/>
                  </a:cubicBezTo>
                  <a:cubicBezTo>
                    <a:pt x="26" y="19"/>
                    <a:pt x="26" y="20"/>
                    <a:pt x="28" y="21"/>
                  </a:cubicBezTo>
                  <a:cubicBezTo>
                    <a:pt x="28" y="21"/>
                    <a:pt x="29" y="21"/>
                    <a:pt x="29" y="21"/>
                  </a:cubicBezTo>
                  <a:cubicBezTo>
                    <a:pt x="32" y="21"/>
                    <a:pt x="35" y="19"/>
                    <a:pt x="37" y="18"/>
                  </a:cubicBezTo>
                  <a:cubicBezTo>
                    <a:pt x="38" y="18"/>
                    <a:pt x="38" y="18"/>
                    <a:pt x="38" y="18"/>
                  </a:cubicBezTo>
                  <a:cubicBezTo>
                    <a:pt x="39" y="18"/>
                    <a:pt x="40" y="18"/>
                    <a:pt x="41" y="19"/>
                  </a:cubicBezTo>
                  <a:cubicBezTo>
                    <a:pt x="43" y="19"/>
                    <a:pt x="44" y="20"/>
                    <a:pt x="45" y="20"/>
                  </a:cubicBezTo>
                  <a:cubicBezTo>
                    <a:pt x="45" y="20"/>
                    <a:pt x="45" y="20"/>
                    <a:pt x="45" y="20"/>
                  </a:cubicBezTo>
                  <a:cubicBezTo>
                    <a:pt x="47" y="20"/>
                    <a:pt x="50" y="18"/>
                    <a:pt x="53" y="18"/>
                  </a:cubicBezTo>
                  <a:cubicBezTo>
                    <a:pt x="57" y="17"/>
                    <a:pt x="61" y="16"/>
                    <a:pt x="65" y="15"/>
                  </a:cubicBezTo>
                  <a:cubicBezTo>
                    <a:pt x="67" y="14"/>
                    <a:pt x="70" y="14"/>
                    <a:pt x="71" y="13"/>
                  </a:cubicBezTo>
                  <a:cubicBezTo>
                    <a:pt x="72" y="12"/>
                    <a:pt x="73" y="12"/>
                    <a:pt x="73" y="11"/>
                  </a:cubicBezTo>
                  <a:cubicBezTo>
                    <a:pt x="74" y="10"/>
                    <a:pt x="76" y="7"/>
                    <a:pt x="76" y="7"/>
                  </a:cubicBezTo>
                  <a:cubicBezTo>
                    <a:pt x="76" y="7"/>
                    <a:pt x="76" y="7"/>
                    <a:pt x="76" y="7"/>
                  </a:cubicBezTo>
                  <a:cubicBezTo>
                    <a:pt x="76" y="7"/>
                    <a:pt x="77" y="7"/>
                    <a:pt x="77" y="6"/>
                  </a:cubicBezTo>
                  <a:cubicBezTo>
                    <a:pt x="77" y="5"/>
                    <a:pt x="74" y="1"/>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1200"/>
            <p:cNvSpPr/>
            <p:nvPr/>
          </p:nvSpPr>
          <p:spPr bwMode="auto">
            <a:xfrm>
              <a:off x="3939755" y="5512979"/>
              <a:ext cx="95306" cy="60405"/>
            </a:xfrm>
            <a:custGeom>
              <a:gdLst>
                <a:gd name="T0" fmla="*/ 15 w 30"/>
                <a:gd name="T1" fmla="*/ 0 h 19"/>
                <a:gd name="T2" fmla="*/ 0 w 30"/>
                <a:gd name="T3" fmla="*/ 2 h 19"/>
                <a:gd name="T4" fmla="*/ 11 w 30"/>
                <a:gd name="T5" fmla="*/ 10 h 19"/>
                <a:gd name="T6" fmla="*/ 15 w 30"/>
                <a:gd name="T7" fmla="*/ 14 h 19"/>
                <a:gd name="T8" fmla="*/ 16 w 30"/>
                <a:gd name="T9" fmla="*/ 19 h 19"/>
                <a:gd name="T10" fmla="*/ 16 w 30"/>
                <a:gd name="T11" fmla="*/ 19 h 19"/>
                <a:gd name="T12" fmla="*/ 20 w 30"/>
                <a:gd name="T13" fmla="*/ 14 h 19"/>
                <a:gd name="T14" fmla="*/ 29 w 30"/>
                <a:gd name="T15" fmla="*/ 7 h 19"/>
                <a:gd name="T16" fmla="*/ 26 w 30"/>
                <a:gd name="T17" fmla="*/ 4 h 19"/>
                <a:gd name="T18" fmla="*/ 15 w 30"/>
                <a:gd name="T1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9">
                  <a:moveTo>
                    <a:pt x="15" y="0"/>
                  </a:moveTo>
                  <a:cubicBezTo>
                    <a:pt x="10" y="0"/>
                    <a:pt x="5" y="2"/>
                    <a:pt x="0" y="2"/>
                  </a:cubicBezTo>
                  <a:cubicBezTo>
                    <a:pt x="4" y="8"/>
                    <a:pt x="4" y="8"/>
                    <a:pt x="11" y="10"/>
                  </a:cubicBezTo>
                  <a:cubicBezTo>
                    <a:pt x="12" y="10"/>
                    <a:pt x="15" y="13"/>
                    <a:pt x="15" y="14"/>
                  </a:cubicBezTo>
                  <a:cubicBezTo>
                    <a:pt x="15" y="15"/>
                    <a:pt x="15" y="18"/>
                    <a:pt x="16" y="19"/>
                  </a:cubicBezTo>
                  <a:cubicBezTo>
                    <a:pt x="16" y="19"/>
                    <a:pt x="16" y="19"/>
                    <a:pt x="16" y="19"/>
                  </a:cubicBezTo>
                  <a:cubicBezTo>
                    <a:pt x="18" y="19"/>
                    <a:pt x="19" y="15"/>
                    <a:pt x="20" y="14"/>
                  </a:cubicBezTo>
                  <a:cubicBezTo>
                    <a:pt x="22" y="12"/>
                    <a:pt x="30" y="10"/>
                    <a:pt x="29" y="7"/>
                  </a:cubicBezTo>
                  <a:cubicBezTo>
                    <a:pt x="26" y="4"/>
                    <a:pt x="26" y="4"/>
                    <a:pt x="26" y="4"/>
                  </a:cubicBezTo>
                  <a:cubicBezTo>
                    <a:pt x="23" y="1"/>
                    <a:pt x="19"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201"/>
            <p:cNvSpPr/>
            <p:nvPr/>
          </p:nvSpPr>
          <p:spPr bwMode="auto">
            <a:xfrm>
              <a:off x="2743734" y="4782747"/>
              <a:ext cx="9396" cy="6712"/>
            </a:xfrm>
            <a:custGeom>
              <a:gdLst>
                <a:gd name="T0" fmla="*/ 1 w 3"/>
                <a:gd name="T1" fmla="*/ 0 h 2"/>
                <a:gd name="T2" fmla="*/ 0 w 3"/>
                <a:gd name="T3" fmla="*/ 0 h 2"/>
                <a:gd name="T4" fmla="*/ 3 w 3"/>
                <a:gd name="T5" fmla="*/ 2 h 2"/>
                <a:gd name="T6" fmla="*/ 1 w 3"/>
                <a:gd name="T7" fmla="*/ 0 h 2"/>
              </a:gdLst>
              <a:cxnLst>
                <a:cxn ang="0">
                  <a:pos x="T0" y="T1"/>
                </a:cxn>
                <a:cxn ang="0">
                  <a:pos x="T2" y="T3"/>
                </a:cxn>
                <a:cxn ang="0">
                  <a:pos x="T4" y="T5"/>
                </a:cxn>
                <a:cxn ang="0">
                  <a:pos x="T6" y="T7"/>
                </a:cxn>
              </a:cxnLst>
              <a:rect l="0" t="0" r="r" b="b"/>
              <a:pathLst>
                <a:path w="3" h="2">
                  <a:moveTo>
                    <a:pt x="1" y="0"/>
                  </a:moveTo>
                  <a:cubicBezTo>
                    <a:pt x="1" y="0"/>
                    <a:pt x="0" y="0"/>
                    <a:pt x="0" y="0"/>
                  </a:cubicBezTo>
                  <a:cubicBezTo>
                    <a:pt x="1" y="1"/>
                    <a:pt x="2" y="1"/>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1202"/>
            <p:cNvSpPr/>
            <p:nvPr/>
          </p:nvSpPr>
          <p:spPr bwMode="auto">
            <a:xfrm>
              <a:off x="4020295" y="5557276"/>
              <a:ext cx="5369" cy="12081"/>
            </a:xfrm>
            <a:custGeom>
              <a:gdLst>
                <a:gd name="T0" fmla="*/ 0 w 2"/>
                <a:gd name="T1" fmla="*/ 0 h 4"/>
                <a:gd name="T2" fmla="*/ 0 w 2"/>
                <a:gd name="T3" fmla="*/ 0 h 4"/>
                <a:gd name="T4" fmla="*/ 2 w 2"/>
                <a:gd name="T5" fmla="*/ 4 h 4"/>
                <a:gd name="T6" fmla="*/ 0 w 2"/>
                <a:gd name="T7" fmla="*/ 0 h 4"/>
              </a:gdLst>
              <a:cxnLst>
                <a:cxn ang="0">
                  <a:pos x="T0" y="T1"/>
                </a:cxn>
                <a:cxn ang="0">
                  <a:pos x="T2" y="T3"/>
                </a:cxn>
                <a:cxn ang="0">
                  <a:pos x="T4" y="T5"/>
                </a:cxn>
                <a:cxn ang="0">
                  <a:pos x="T6" y="T7"/>
                </a:cxn>
              </a:cxnLst>
              <a:rect l="0" t="0" r="r" b="b"/>
              <a:pathLst>
                <a:path w="2" h="4">
                  <a:moveTo>
                    <a:pt x="0" y="0"/>
                  </a:moveTo>
                  <a:cubicBezTo>
                    <a:pt x="0" y="0"/>
                    <a:pt x="0" y="0"/>
                    <a:pt x="0" y="0"/>
                  </a:cubicBezTo>
                  <a:cubicBezTo>
                    <a:pt x="0" y="2"/>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1203"/>
            <p:cNvSpPr/>
            <p:nvPr/>
          </p:nvSpPr>
          <p:spPr bwMode="auto">
            <a:xfrm>
              <a:off x="3362551" y="5125043"/>
              <a:ext cx="13423" cy="9396"/>
            </a:xfrm>
            <a:custGeom>
              <a:gdLst>
                <a:gd name="T0" fmla="*/ 3 w 4"/>
                <a:gd name="T1" fmla="*/ 0 h 3"/>
                <a:gd name="T2" fmla="*/ 0 w 4"/>
                <a:gd name="T3" fmla="*/ 2 h 3"/>
                <a:gd name="T4" fmla="*/ 3 w 4"/>
                <a:gd name="T5" fmla="*/ 3 h 3"/>
                <a:gd name="T6" fmla="*/ 3 w 4"/>
                <a:gd name="T7" fmla="*/ 0 h 3"/>
              </a:gdLst>
              <a:cxnLst>
                <a:cxn ang="0">
                  <a:pos x="T0" y="T1"/>
                </a:cxn>
                <a:cxn ang="0">
                  <a:pos x="T2" y="T3"/>
                </a:cxn>
                <a:cxn ang="0">
                  <a:pos x="T4" y="T5"/>
                </a:cxn>
                <a:cxn ang="0">
                  <a:pos x="T6" y="T7"/>
                </a:cxn>
              </a:cxnLst>
              <a:rect l="0" t="0" r="r" b="b"/>
              <a:pathLst>
                <a:path w="4" h="3">
                  <a:moveTo>
                    <a:pt x="3" y="0"/>
                  </a:moveTo>
                  <a:cubicBezTo>
                    <a:pt x="2" y="0"/>
                    <a:pt x="1" y="1"/>
                    <a:pt x="0" y="2"/>
                  </a:cubicBezTo>
                  <a:cubicBezTo>
                    <a:pt x="1" y="2"/>
                    <a:pt x="2" y="3"/>
                    <a:pt x="3" y="3"/>
                  </a:cubicBezTo>
                  <a:cubicBezTo>
                    <a:pt x="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1204"/>
            <p:cNvSpPr/>
            <p:nvPr/>
          </p:nvSpPr>
          <p:spPr bwMode="auto">
            <a:xfrm>
              <a:off x="3118246" y="4925035"/>
              <a:ext cx="18793" cy="10739"/>
            </a:xfrm>
            <a:custGeom>
              <a:gdLst>
                <a:gd name="T0" fmla="*/ 3 w 6"/>
                <a:gd name="T1" fmla="*/ 0 h 3"/>
                <a:gd name="T2" fmla="*/ 0 w 6"/>
                <a:gd name="T3" fmla="*/ 3 h 3"/>
                <a:gd name="T4" fmla="*/ 6 w 6"/>
                <a:gd name="T5" fmla="*/ 1 h 3"/>
                <a:gd name="T6" fmla="*/ 3 w 6"/>
                <a:gd name="T7" fmla="*/ 0 h 3"/>
              </a:gdLst>
              <a:cxnLst>
                <a:cxn ang="0">
                  <a:pos x="T0" y="T1"/>
                </a:cxn>
                <a:cxn ang="0">
                  <a:pos x="T2" y="T3"/>
                </a:cxn>
                <a:cxn ang="0">
                  <a:pos x="T4" y="T5"/>
                </a:cxn>
                <a:cxn ang="0">
                  <a:pos x="T6" y="T7"/>
                </a:cxn>
              </a:cxnLst>
              <a:rect l="0" t="0" r="r" b="b"/>
              <a:pathLst>
                <a:path w="6" h="3">
                  <a:moveTo>
                    <a:pt x="3" y="0"/>
                  </a:moveTo>
                  <a:cubicBezTo>
                    <a:pt x="2" y="0"/>
                    <a:pt x="1" y="1"/>
                    <a:pt x="0" y="3"/>
                  </a:cubicBezTo>
                  <a:cubicBezTo>
                    <a:pt x="2" y="3"/>
                    <a:pt x="4" y="2"/>
                    <a:pt x="6"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1205"/>
            <p:cNvSpPr/>
            <p:nvPr/>
          </p:nvSpPr>
          <p:spPr bwMode="auto">
            <a:xfrm>
              <a:off x="3236371" y="5020341"/>
              <a:ext cx="135576" cy="120810"/>
            </a:xfrm>
            <a:custGeom>
              <a:gdLst>
                <a:gd name="T0" fmla="*/ 20 w 43"/>
                <a:gd name="T1" fmla="*/ 0 h 38"/>
                <a:gd name="T2" fmla="*/ 16 w 43"/>
                <a:gd name="T3" fmla="*/ 1 h 38"/>
                <a:gd name="T4" fmla="*/ 18 w 43"/>
                <a:gd name="T5" fmla="*/ 7 h 38"/>
                <a:gd name="T6" fmla="*/ 12 w 43"/>
                <a:gd name="T7" fmla="*/ 1 h 38"/>
                <a:gd name="T8" fmla="*/ 10 w 43"/>
                <a:gd name="T9" fmla="*/ 2 h 38"/>
                <a:gd name="T10" fmla="*/ 8 w 43"/>
                <a:gd name="T11" fmla="*/ 4 h 38"/>
                <a:gd name="T12" fmla="*/ 8 w 43"/>
                <a:gd name="T13" fmla="*/ 8 h 38"/>
                <a:gd name="T14" fmla="*/ 6 w 43"/>
                <a:gd name="T15" fmla="*/ 14 h 38"/>
                <a:gd name="T16" fmla="*/ 8 w 43"/>
                <a:gd name="T17" fmla="*/ 15 h 38"/>
                <a:gd name="T18" fmla="*/ 8 w 43"/>
                <a:gd name="T19" fmla="*/ 15 h 38"/>
                <a:gd name="T20" fmla="*/ 11 w 43"/>
                <a:gd name="T21" fmla="*/ 15 h 38"/>
                <a:gd name="T22" fmla="*/ 13 w 43"/>
                <a:gd name="T23" fmla="*/ 14 h 38"/>
                <a:gd name="T24" fmla="*/ 14 w 43"/>
                <a:gd name="T25" fmla="*/ 15 h 38"/>
                <a:gd name="T26" fmla="*/ 15 w 43"/>
                <a:gd name="T27" fmla="*/ 15 h 38"/>
                <a:gd name="T28" fmla="*/ 15 w 43"/>
                <a:gd name="T29" fmla="*/ 15 h 38"/>
                <a:gd name="T30" fmla="*/ 16 w 43"/>
                <a:gd name="T31" fmla="*/ 15 h 38"/>
                <a:gd name="T32" fmla="*/ 17 w 43"/>
                <a:gd name="T33" fmla="*/ 15 h 38"/>
                <a:gd name="T34" fmla="*/ 19 w 43"/>
                <a:gd name="T35" fmla="*/ 21 h 38"/>
                <a:gd name="T36" fmla="*/ 22 w 43"/>
                <a:gd name="T37" fmla="*/ 24 h 38"/>
                <a:gd name="T38" fmla="*/ 22 w 43"/>
                <a:gd name="T39" fmla="*/ 30 h 38"/>
                <a:gd name="T40" fmla="*/ 24 w 43"/>
                <a:gd name="T41" fmla="*/ 32 h 38"/>
                <a:gd name="T42" fmla="*/ 27 w 43"/>
                <a:gd name="T43" fmla="*/ 33 h 38"/>
                <a:gd name="T44" fmla="*/ 39 w 43"/>
                <a:gd name="T45" fmla="*/ 38 h 38"/>
                <a:gd name="T46" fmla="*/ 41 w 43"/>
                <a:gd name="T47" fmla="*/ 37 h 38"/>
                <a:gd name="T48" fmla="*/ 37 w 43"/>
                <a:gd name="T49" fmla="*/ 34 h 38"/>
                <a:gd name="T50" fmla="*/ 43 w 43"/>
                <a:gd name="T51" fmla="*/ 26 h 38"/>
                <a:gd name="T52" fmla="*/ 30 w 43"/>
                <a:gd name="T53" fmla="*/ 21 h 38"/>
                <a:gd name="T54" fmla="*/ 26 w 43"/>
                <a:gd name="T55" fmla="*/ 12 h 38"/>
                <a:gd name="T56" fmla="*/ 23 w 43"/>
                <a:gd name="T57" fmla="*/ 2 h 38"/>
                <a:gd name="T58" fmla="*/ 20 w 43"/>
                <a:gd name="T59" fmla="*/ 0 h 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38">
                  <a:moveTo>
                    <a:pt x="20" y="0"/>
                  </a:moveTo>
                  <a:cubicBezTo>
                    <a:pt x="19" y="0"/>
                    <a:pt x="18" y="1"/>
                    <a:pt x="16" y="1"/>
                  </a:cubicBezTo>
                  <a:cubicBezTo>
                    <a:pt x="17" y="3"/>
                    <a:pt x="18" y="5"/>
                    <a:pt x="18" y="7"/>
                  </a:cubicBezTo>
                  <a:cubicBezTo>
                    <a:pt x="16" y="5"/>
                    <a:pt x="15" y="1"/>
                    <a:pt x="12" y="1"/>
                  </a:cubicBezTo>
                  <a:cubicBezTo>
                    <a:pt x="12" y="1"/>
                    <a:pt x="11" y="2"/>
                    <a:pt x="10" y="2"/>
                  </a:cubicBezTo>
                  <a:cubicBezTo>
                    <a:pt x="9" y="3"/>
                    <a:pt x="8" y="3"/>
                    <a:pt x="8" y="4"/>
                  </a:cubicBezTo>
                  <a:cubicBezTo>
                    <a:pt x="7" y="6"/>
                    <a:pt x="10" y="6"/>
                    <a:pt x="8" y="8"/>
                  </a:cubicBezTo>
                  <a:cubicBezTo>
                    <a:pt x="4" y="12"/>
                    <a:pt x="0" y="13"/>
                    <a:pt x="6" y="14"/>
                  </a:cubicBezTo>
                  <a:cubicBezTo>
                    <a:pt x="6" y="14"/>
                    <a:pt x="7" y="15"/>
                    <a:pt x="8" y="15"/>
                  </a:cubicBezTo>
                  <a:cubicBezTo>
                    <a:pt x="8" y="15"/>
                    <a:pt x="8" y="15"/>
                    <a:pt x="8" y="15"/>
                  </a:cubicBezTo>
                  <a:cubicBezTo>
                    <a:pt x="9" y="15"/>
                    <a:pt x="10" y="15"/>
                    <a:pt x="11" y="15"/>
                  </a:cubicBezTo>
                  <a:cubicBezTo>
                    <a:pt x="11" y="15"/>
                    <a:pt x="12" y="14"/>
                    <a:pt x="13" y="14"/>
                  </a:cubicBezTo>
                  <a:cubicBezTo>
                    <a:pt x="14" y="15"/>
                    <a:pt x="14" y="15"/>
                    <a:pt x="14" y="15"/>
                  </a:cubicBezTo>
                  <a:cubicBezTo>
                    <a:pt x="14" y="15"/>
                    <a:pt x="15" y="15"/>
                    <a:pt x="15" y="15"/>
                  </a:cubicBezTo>
                  <a:cubicBezTo>
                    <a:pt x="15" y="15"/>
                    <a:pt x="15" y="15"/>
                    <a:pt x="15" y="15"/>
                  </a:cubicBezTo>
                  <a:cubicBezTo>
                    <a:pt x="16" y="15"/>
                    <a:pt x="16" y="15"/>
                    <a:pt x="16" y="15"/>
                  </a:cubicBezTo>
                  <a:cubicBezTo>
                    <a:pt x="17" y="15"/>
                    <a:pt x="17" y="15"/>
                    <a:pt x="17" y="15"/>
                  </a:cubicBezTo>
                  <a:cubicBezTo>
                    <a:pt x="18" y="17"/>
                    <a:pt x="18" y="19"/>
                    <a:pt x="19" y="21"/>
                  </a:cubicBezTo>
                  <a:cubicBezTo>
                    <a:pt x="20" y="22"/>
                    <a:pt x="21" y="22"/>
                    <a:pt x="22" y="24"/>
                  </a:cubicBezTo>
                  <a:cubicBezTo>
                    <a:pt x="22" y="26"/>
                    <a:pt x="22" y="28"/>
                    <a:pt x="22" y="30"/>
                  </a:cubicBezTo>
                  <a:cubicBezTo>
                    <a:pt x="23" y="31"/>
                    <a:pt x="23" y="31"/>
                    <a:pt x="24" y="32"/>
                  </a:cubicBezTo>
                  <a:cubicBezTo>
                    <a:pt x="24" y="32"/>
                    <a:pt x="26" y="32"/>
                    <a:pt x="27" y="33"/>
                  </a:cubicBezTo>
                  <a:cubicBezTo>
                    <a:pt x="28" y="33"/>
                    <a:pt x="35" y="38"/>
                    <a:pt x="39" y="38"/>
                  </a:cubicBezTo>
                  <a:cubicBezTo>
                    <a:pt x="40" y="38"/>
                    <a:pt x="40" y="38"/>
                    <a:pt x="41" y="37"/>
                  </a:cubicBezTo>
                  <a:cubicBezTo>
                    <a:pt x="41" y="35"/>
                    <a:pt x="38" y="35"/>
                    <a:pt x="37" y="34"/>
                  </a:cubicBezTo>
                  <a:cubicBezTo>
                    <a:pt x="36" y="31"/>
                    <a:pt x="41" y="27"/>
                    <a:pt x="43" y="26"/>
                  </a:cubicBezTo>
                  <a:cubicBezTo>
                    <a:pt x="39" y="25"/>
                    <a:pt x="32" y="25"/>
                    <a:pt x="30" y="21"/>
                  </a:cubicBezTo>
                  <a:cubicBezTo>
                    <a:pt x="28" y="18"/>
                    <a:pt x="28" y="15"/>
                    <a:pt x="26" y="12"/>
                  </a:cubicBezTo>
                  <a:cubicBezTo>
                    <a:pt x="26" y="9"/>
                    <a:pt x="25" y="4"/>
                    <a:pt x="23" y="2"/>
                  </a:cubicBezTo>
                  <a:cubicBezTo>
                    <a:pt x="23" y="1"/>
                    <a:pt x="21"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1206"/>
            <p:cNvSpPr/>
            <p:nvPr/>
          </p:nvSpPr>
          <p:spPr bwMode="auto">
            <a:xfrm>
              <a:off x="3422956" y="5099539"/>
              <a:ext cx="57720" cy="51009"/>
            </a:xfrm>
            <a:custGeom>
              <a:gdLst>
                <a:gd name="T0" fmla="*/ 6 w 18"/>
                <a:gd name="T1" fmla="*/ 0 h 16"/>
                <a:gd name="T2" fmla="*/ 3 w 18"/>
                <a:gd name="T3" fmla="*/ 0 h 16"/>
                <a:gd name="T4" fmla="*/ 3 w 18"/>
                <a:gd name="T5" fmla="*/ 3 h 16"/>
                <a:gd name="T6" fmla="*/ 1 w 18"/>
                <a:gd name="T7" fmla="*/ 9 h 16"/>
                <a:gd name="T8" fmla="*/ 1 w 18"/>
                <a:gd name="T9" fmla="*/ 9 h 16"/>
                <a:gd name="T10" fmla="*/ 2 w 18"/>
                <a:gd name="T11" fmla="*/ 16 h 16"/>
                <a:gd name="T12" fmla="*/ 3 w 18"/>
                <a:gd name="T13" fmla="*/ 16 h 16"/>
                <a:gd name="T14" fmla="*/ 8 w 18"/>
                <a:gd name="T15" fmla="*/ 12 h 16"/>
                <a:gd name="T16" fmla="*/ 13 w 18"/>
                <a:gd name="T17" fmla="*/ 16 h 16"/>
                <a:gd name="T18" fmla="*/ 16 w 18"/>
                <a:gd name="T19" fmla="*/ 14 h 16"/>
                <a:gd name="T20" fmla="*/ 18 w 18"/>
                <a:gd name="T21" fmla="*/ 6 h 16"/>
                <a:gd name="T22" fmla="*/ 15 w 18"/>
                <a:gd name="T23" fmla="*/ 3 h 16"/>
                <a:gd name="T24" fmla="*/ 6 w 18"/>
                <a:gd name="T25"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6">
                  <a:moveTo>
                    <a:pt x="6" y="0"/>
                  </a:moveTo>
                  <a:cubicBezTo>
                    <a:pt x="5" y="0"/>
                    <a:pt x="4" y="0"/>
                    <a:pt x="3" y="0"/>
                  </a:cubicBezTo>
                  <a:cubicBezTo>
                    <a:pt x="3" y="1"/>
                    <a:pt x="3" y="3"/>
                    <a:pt x="3" y="3"/>
                  </a:cubicBezTo>
                  <a:cubicBezTo>
                    <a:pt x="2" y="5"/>
                    <a:pt x="0" y="9"/>
                    <a:pt x="1" y="9"/>
                  </a:cubicBezTo>
                  <a:cubicBezTo>
                    <a:pt x="1" y="9"/>
                    <a:pt x="1" y="9"/>
                    <a:pt x="1" y="9"/>
                  </a:cubicBezTo>
                  <a:cubicBezTo>
                    <a:pt x="1" y="10"/>
                    <a:pt x="2" y="15"/>
                    <a:pt x="2" y="16"/>
                  </a:cubicBezTo>
                  <a:cubicBezTo>
                    <a:pt x="2" y="16"/>
                    <a:pt x="3" y="16"/>
                    <a:pt x="3" y="16"/>
                  </a:cubicBezTo>
                  <a:cubicBezTo>
                    <a:pt x="5" y="16"/>
                    <a:pt x="7" y="13"/>
                    <a:pt x="8" y="12"/>
                  </a:cubicBezTo>
                  <a:cubicBezTo>
                    <a:pt x="10" y="13"/>
                    <a:pt x="11" y="15"/>
                    <a:pt x="13" y="16"/>
                  </a:cubicBezTo>
                  <a:cubicBezTo>
                    <a:pt x="14" y="15"/>
                    <a:pt x="15" y="14"/>
                    <a:pt x="16" y="14"/>
                  </a:cubicBezTo>
                  <a:cubicBezTo>
                    <a:pt x="15" y="11"/>
                    <a:pt x="18" y="9"/>
                    <a:pt x="18" y="6"/>
                  </a:cubicBezTo>
                  <a:cubicBezTo>
                    <a:pt x="17" y="4"/>
                    <a:pt x="16" y="3"/>
                    <a:pt x="15" y="3"/>
                  </a:cubicBezTo>
                  <a:cubicBezTo>
                    <a:pt x="13"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1207"/>
            <p:cNvSpPr/>
            <p:nvPr/>
          </p:nvSpPr>
          <p:spPr bwMode="auto">
            <a:xfrm>
              <a:off x="4939795" y="5119674"/>
              <a:ext cx="228197" cy="79198"/>
            </a:xfrm>
            <a:custGeom>
              <a:gdLst>
                <a:gd name="T0" fmla="*/ 39 w 72"/>
                <a:gd name="T1" fmla="*/ 0 h 25"/>
                <a:gd name="T2" fmla="*/ 34 w 72"/>
                <a:gd name="T3" fmla="*/ 2 h 25"/>
                <a:gd name="T4" fmla="*/ 31 w 72"/>
                <a:gd name="T5" fmla="*/ 3 h 25"/>
                <a:gd name="T6" fmla="*/ 29 w 72"/>
                <a:gd name="T7" fmla="*/ 3 h 25"/>
                <a:gd name="T8" fmla="*/ 28 w 72"/>
                <a:gd name="T9" fmla="*/ 0 h 25"/>
                <a:gd name="T10" fmla="*/ 28 w 72"/>
                <a:gd name="T11" fmla="*/ 0 h 25"/>
                <a:gd name="T12" fmla="*/ 26 w 72"/>
                <a:gd name="T13" fmla="*/ 1 h 25"/>
                <a:gd name="T14" fmla="*/ 21 w 72"/>
                <a:gd name="T15" fmla="*/ 2 h 25"/>
                <a:gd name="T16" fmla="*/ 17 w 72"/>
                <a:gd name="T17" fmla="*/ 2 h 25"/>
                <a:gd name="T18" fmla="*/ 13 w 72"/>
                <a:gd name="T19" fmla="*/ 1 h 25"/>
                <a:gd name="T20" fmla="*/ 12 w 72"/>
                <a:gd name="T21" fmla="*/ 1 h 25"/>
                <a:gd name="T22" fmla="*/ 5 w 72"/>
                <a:gd name="T23" fmla="*/ 4 h 25"/>
                <a:gd name="T24" fmla="*/ 0 w 72"/>
                <a:gd name="T25" fmla="*/ 8 h 25"/>
                <a:gd name="T26" fmla="*/ 2 w 72"/>
                <a:gd name="T27" fmla="*/ 14 h 25"/>
                <a:gd name="T28" fmla="*/ 2 w 72"/>
                <a:gd name="T29" fmla="*/ 18 h 25"/>
                <a:gd name="T30" fmla="*/ 4 w 72"/>
                <a:gd name="T31" fmla="*/ 13 h 25"/>
                <a:gd name="T32" fmla="*/ 5 w 72"/>
                <a:gd name="T33" fmla="*/ 9 h 25"/>
                <a:gd name="T34" fmla="*/ 7 w 72"/>
                <a:gd name="T35" fmla="*/ 7 h 25"/>
                <a:gd name="T36" fmla="*/ 7 w 72"/>
                <a:gd name="T37" fmla="*/ 6 h 25"/>
                <a:gd name="T38" fmla="*/ 8 w 72"/>
                <a:gd name="T39" fmla="*/ 8 h 25"/>
                <a:gd name="T40" fmla="*/ 8 w 72"/>
                <a:gd name="T41" fmla="*/ 9 h 25"/>
                <a:gd name="T42" fmla="*/ 10 w 72"/>
                <a:gd name="T43" fmla="*/ 10 h 25"/>
                <a:gd name="T44" fmla="*/ 14 w 72"/>
                <a:gd name="T45" fmla="*/ 15 h 25"/>
                <a:gd name="T46" fmla="*/ 15 w 72"/>
                <a:gd name="T47" fmla="*/ 15 h 25"/>
                <a:gd name="T48" fmla="*/ 22 w 72"/>
                <a:gd name="T49" fmla="*/ 11 h 25"/>
                <a:gd name="T50" fmla="*/ 24 w 72"/>
                <a:gd name="T51" fmla="*/ 10 h 25"/>
                <a:gd name="T52" fmla="*/ 25 w 72"/>
                <a:gd name="T53" fmla="*/ 11 h 25"/>
                <a:gd name="T54" fmla="*/ 36 w 72"/>
                <a:gd name="T55" fmla="*/ 14 h 25"/>
                <a:gd name="T56" fmla="*/ 38 w 72"/>
                <a:gd name="T57" fmla="*/ 14 h 25"/>
                <a:gd name="T58" fmla="*/ 40 w 72"/>
                <a:gd name="T59" fmla="*/ 14 h 25"/>
                <a:gd name="T60" fmla="*/ 40 w 72"/>
                <a:gd name="T61" fmla="*/ 14 h 25"/>
                <a:gd name="T62" fmla="*/ 41 w 72"/>
                <a:gd name="T63" fmla="*/ 12 h 25"/>
                <a:gd name="T64" fmla="*/ 45 w 72"/>
                <a:gd name="T65" fmla="*/ 12 h 25"/>
                <a:gd name="T66" fmla="*/ 70 w 72"/>
                <a:gd name="T67" fmla="*/ 25 h 25"/>
                <a:gd name="T68" fmla="*/ 70 w 72"/>
                <a:gd name="T69" fmla="*/ 16 h 25"/>
                <a:gd name="T70" fmla="*/ 67 w 72"/>
                <a:gd name="T71" fmla="*/ 14 h 25"/>
                <a:gd name="T72" fmla="*/ 66 w 72"/>
                <a:gd name="T73" fmla="*/ 11 h 25"/>
                <a:gd name="T74" fmla="*/ 57 w 72"/>
                <a:gd name="T75" fmla="*/ 4 h 25"/>
                <a:gd name="T76" fmla="*/ 47 w 72"/>
                <a:gd name="T77" fmla="*/ 3 h 25"/>
                <a:gd name="T78" fmla="*/ 41 w 72"/>
                <a:gd name="T79" fmla="*/ 0 h 25"/>
                <a:gd name="T80" fmla="*/ 39 w 72"/>
                <a:gd name="T81"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 h="25">
                  <a:moveTo>
                    <a:pt x="39" y="0"/>
                  </a:moveTo>
                  <a:cubicBezTo>
                    <a:pt x="37" y="0"/>
                    <a:pt x="36" y="1"/>
                    <a:pt x="34" y="2"/>
                  </a:cubicBezTo>
                  <a:cubicBezTo>
                    <a:pt x="33" y="3"/>
                    <a:pt x="32" y="3"/>
                    <a:pt x="31" y="3"/>
                  </a:cubicBezTo>
                  <a:cubicBezTo>
                    <a:pt x="30" y="3"/>
                    <a:pt x="30" y="3"/>
                    <a:pt x="29" y="3"/>
                  </a:cubicBezTo>
                  <a:cubicBezTo>
                    <a:pt x="28" y="2"/>
                    <a:pt x="30" y="0"/>
                    <a:pt x="28" y="0"/>
                  </a:cubicBezTo>
                  <a:cubicBezTo>
                    <a:pt x="28" y="0"/>
                    <a:pt x="28" y="0"/>
                    <a:pt x="28" y="0"/>
                  </a:cubicBezTo>
                  <a:cubicBezTo>
                    <a:pt x="28" y="0"/>
                    <a:pt x="26" y="1"/>
                    <a:pt x="26" y="1"/>
                  </a:cubicBezTo>
                  <a:cubicBezTo>
                    <a:pt x="24" y="2"/>
                    <a:pt x="23" y="2"/>
                    <a:pt x="21" y="2"/>
                  </a:cubicBezTo>
                  <a:cubicBezTo>
                    <a:pt x="20" y="2"/>
                    <a:pt x="18" y="2"/>
                    <a:pt x="17" y="2"/>
                  </a:cubicBezTo>
                  <a:cubicBezTo>
                    <a:pt x="16" y="1"/>
                    <a:pt x="14" y="1"/>
                    <a:pt x="13" y="1"/>
                  </a:cubicBezTo>
                  <a:cubicBezTo>
                    <a:pt x="13" y="1"/>
                    <a:pt x="12" y="1"/>
                    <a:pt x="12" y="1"/>
                  </a:cubicBezTo>
                  <a:cubicBezTo>
                    <a:pt x="9" y="2"/>
                    <a:pt x="6" y="1"/>
                    <a:pt x="5" y="4"/>
                  </a:cubicBezTo>
                  <a:cubicBezTo>
                    <a:pt x="5" y="6"/>
                    <a:pt x="2" y="8"/>
                    <a:pt x="0" y="8"/>
                  </a:cubicBezTo>
                  <a:cubicBezTo>
                    <a:pt x="1" y="11"/>
                    <a:pt x="2" y="12"/>
                    <a:pt x="2" y="14"/>
                  </a:cubicBezTo>
                  <a:cubicBezTo>
                    <a:pt x="2" y="16"/>
                    <a:pt x="1" y="16"/>
                    <a:pt x="2" y="18"/>
                  </a:cubicBezTo>
                  <a:cubicBezTo>
                    <a:pt x="2" y="16"/>
                    <a:pt x="4" y="14"/>
                    <a:pt x="4" y="13"/>
                  </a:cubicBezTo>
                  <a:cubicBezTo>
                    <a:pt x="5" y="12"/>
                    <a:pt x="5" y="11"/>
                    <a:pt x="5" y="9"/>
                  </a:cubicBezTo>
                  <a:cubicBezTo>
                    <a:pt x="6" y="9"/>
                    <a:pt x="6" y="7"/>
                    <a:pt x="7" y="7"/>
                  </a:cubicBezTo>
                  <a:cubicBezTo>
                    <a:pt x="7" y="7"/>
                    <a:pt x="7" y="6"/>
                    <a:pt x="7" y="6"/>
                  </a:cubicBezTo>
                  <a:cubicBezTo>
                    <a:pt x="8" y="6"/>
                    <a:pt x="7" y="7"/>
                    <a:pt x="8" y="8"/>
                  </a:cubicBezTo>
                  <a:cubicBezTo>
                    <a:pt x="8" y="9"/>
                    <a:pt x="8" y="9"/>
                    <a:pt x="8" y="9"/>
                  </a:cubicBezTo>
                  <a:cubicBezTo>
                    <a:pt x="9" y="10"/>
                    <a:pt x="10" y="10"/>
                    <a:pt x="10" y="10"/>
                  </a:cubicBezTo>
                  <a:cubicBezTo>
                    <a:pt x="12" y="12"/>
                    <a:pt x="12" y="14"/>
                    <a:pt x="14" y="15"/>
                  </a:cubicBezTo>
                  <a:cubicBezTo>
                    <a:pt x="14" y="15"/>
                    <a:pt x="15" y="15"/>
                    <a:pt x="15" y="15"/>
                  </a:cubicBezTo>
                  <a:cubicBezTo>
                    <a:pt x="18" y="15"/>
                    <a:pt x="20" y="12"/>
                    <a:pt x="22" y="11"/>
                  </a:cubicBezTo>
                  <a:cubicBezTo>
                    <a:pt x="23" y="10"/>
                    <a:pt x="24" y="10"/>
                    <a:pt x="24" y="10"/>
                  </a:cubicBezTo>
                  <a:cubicBezTo>
                    <a:pt x="25" y="10"/>
                    <a:pt x="25" y="10"/>
                    <a:pt x="25" y="11"/>
                  </a:cubicBezTo>
                  <a:cubicBezTo>
                    <a:pt x="26" y="14"/>
                    <a:pt x="32" y="14"/>
                    <a:pt x="36" y="14"/>
                  </a:cubicBezTo>
                  <a:cubicBezTo>
                    <a:pt x="37" y="14"/>
                    <a:pt x="37" y="14"/>
                    <a:pt x="38" y="14"/>
                  </a:cubicBezTo>
                  <a:cubicBezTo>
                    <a:pt x="39" y="14"/>
                    <a:pt x="39" y="14"/>
                    <a:pt x="40" y="14"/>
                  </a:cubicBezTo>
                  <a:cubicBezTo>
                    <a:pt x="40" y="14"/>
                    <a:pt x="40" y="14"/>
                    <a:pt x="40" y="14"/>
                  </a:cubicBezTo>
                  <a:cubicBezTo>
                    <a:pt x="38" y="12"/>
                    <a:pt x="39" y="12"/>
                    <a:pt x="41" y="12"/>
                  </a:cubicBezTo>
                  <a:cubicBezTo>
                    <a:pt x="42" y="12"/>
                    <a:pt x="44" y="12"/>
                    <a:pt x="45" y="12"/>
                  </a:cubicBezTo>
                  <a:cubicBezTo>
                    <a:pt x="54" y="13"/>
                    <a:pt x="62" y="21"/>
                    <a:pt x="70" y="25"/>
                  </a:cubicBezTo>
                  <a:cubicBezTo>
                    <a:pt x="70" y="22"/>
                    <a:pt x="72" y="19"/>
                    <a:pt x="70" y="16"/>
                  </a:cubicBezTo>
                  <a:cubicBezTo>
                    <a:pt x="69" y="15"/>
                    <a:pt x="69" y="15"/>
                    <a:pt x="67" y="14"/>
                  </a:cubicBezTo>
                  <a:cubicBezTo>
                    <a:pt x="66" y="13"/>
                    <a:pt x="66" y="13"/>
                    <a:pt x="66" y="11"/>
                  </a:cubicBezTo>
                  <a:cubicBezTo>
                    <a:pt x="65" y="8"/>
                    <a:pt x="61" y="4"/>
                    <a:pt x="57" y="4"/>
                  </a:cubicBezTo>
                  <a:cubicBezTo>
                    <a:pt x="53" y="4"/>
                    <a:pt x="50" y="4"/>
                    <a:pt x="47" y="3"/>
                  </a:cubicBezTo>
                  <a:cubicBezTo>
                    <a:pt x="45" y="2"/>
                    <a:pt x="43" y="1"/>
                    <a:pt x="41" y="0"/>
                  </a:cubicBezTo>
                  <a:cubicBezTo>
                    <a:pt x="40" y="0"/>
                    <a:pt x="40"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1208"/>
            <p:cNvSpPr/>
            <p:nvPr/>
          </p:nvSpPr>
          <p:spPr bwMode="auto">
            <a:xfrm>
              <a:off x="3112876" y="4827044"/>
              <a:ext cx="5369" cy="6712"/>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0" y="0"/>
                    <a:pt x="0" y="0"/>
                    <a:pt x="0" y="0"/>
                  </a:cubicBezTo>
                  <a:cubicBezTo>
                    <a:pt x="0" y="0"/>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1209"/>
            <p:cNvSpPr/>
            <p:nvPr/>
          </p:nvSpPr>
          <p:spPr bwMode="auto">
            <a:xfrm>
              <a:off x="3141065" y="4843152"/>
              <a:ext cx="6712" cy="9396"/>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0" y="1"/>
                    <a:pt x="1" y="2"/>
                    <a:pt x="2" y="3"/>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1210"/>
            <p:cNvSpPr/>
            <p:nvPr/>
          </p:nvSpPr>
          <p:spPr bwMode="auto">
            <a:xfrm>
              <a:off x="4793481" y="5138467"/>
              <a:ext cx="102018" cy="56378"/>
            </a:xfrm>
            <a:custGeom>
              <a:gdLst>
                <a:gd name="T0" fmla="*/ 15 w 32"/>
                <a:gd name="T1" fmla="*/ 0 h 18"/>
                <a:gd name="T2" fmla="*/ 13 w 32"/>
                <a:gd name="T3" fmla="*/ 0 h 18"/>
                <a:gd name="T4" fmla="*/ 4 w 32"/>
                <a:gd name="T5" fmla="*/ 8 h 18"/>
                <a:gd name="T6" fmla="*/ 8 w 32"/>
                <a:gd name="T7" fmla="*/ 13 h 18"/>
                <a:gd name="T8" fmla="*/ 19 w 32"/>
                <a:gd name="T9" fmla="*/ 18 h 18"/>
                <a:gd name="T10" fmla="*/ 19 w 32"/>
                <a:gd name="T11" fmla="*/ 18 h 18"/>
                <a:gd name="T12" fmla="*/ 32 w 32"/>
                <a:gd name="T13" fmla="*/ 13 h 18"/>
                <a:gd name="T14" fmla="*/ 32 w 32"/>
                <a:gd name="T15" fmla="*/ 7 h 18"/>
                <a:gd name="T16" fmla="*/ 29 w 32"/>
                <a:gd name="T17" fmla="*/ 5 h 18"/>
                <a:gd name="T18" fmla="*/ 27 w 32"/>
                <a:gd name="T19" fmla="*/ 2 h 18"/>
                <a:gd name="T20" fmla="*/ 15 w 32"/>
                <a:gd name="T2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8">
                  <a:moveTo>
                    <a:pt x="15" y="0"/>
                  </a:moveTo>
                  <a:cubicBezTo>
                    <a:pt x="15" y="0"/>
                    <a:pt x="14" y="0"/>
                    <a:pt x="13" y="0"/>
                  </a:cubicBezTo>
                  <a:cubicBezTo>
                    <a:pt x="8" y="1"/>
                    <a:pt x="0" y="1"/>
                    <a:pt x="4" y="8"/>
                  </a:cubicBezTo>
                  <a:cubicBezTo>
                    <a:pt x="4" y="10"/>
                    <a:pt x="7" y="12"/>
                    <a:pt x="8" y="13"/>
                  </a:cubicBezTo>
                  <a:cubicBezTo>
                    <a:pt x="10" y="15"/>
                    <a:pt x="16" y="18"/>
                    <a:pt x="19" y="18"/>
                  </a:cubicBezTo>
                  <a:cubicBezTo>
                    <a:pt x="19" y="18"/>
                    <a:pt x="19" y="18"/>
                    <a:pt x="19" y="18"/>
                  </a:cubicBezTo>
                  <a:cubicBezTo>
                    <a:pt x="22" y="18"/>
                    <a:pt x="30" y="15"/>
                    <a:pt x="32" y="13"/>
                  </a:cubicBezTo>
                  <a:cubicBezTo>
                    <a:pt x="32" y="12"/>
                    <a:pt x="32" y="8"/>
                    <a:pt x="32" y="7"/>
                  </a:cubicBezTo>
                  <a:cubicBezTo>
                    <a:pt x="31" y="6"/>
                    <a:pt x="30" y="7"/>
                    <a:pt x="29" y="5"/>
                  </a:cubicBezTo>
                  <a:cubicBezTo>
                    <a:pt x="29" y="4"/>
                    <a:pt x="28" y="3"/>
                    <a:pt x="27" y="2"/>
                  </a:cubicBezTo>
                  <a:cubicBezTo>
                    <a:pt x="23" y="0"/>
                    <a:pt x="20"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1211"/>
            <p:cNvSpPr/>
            <p:nvPr/>
          </p:nvSpPr>
          <p:spPr bwMode="auto">
            <a:xfrm>
              <a:off x="4273997" y="5608284"/>
              <a:ext cx="144972" cy="72486"/>
            </a:xfrm>
            <a:custGeom>
              <a:gdLst>
                <a:gd name="T0" fmla="*/ 23 w 46"/>
                <a:gd name="T1" fmla="*/ 0 h 23"/>
                <a:gd name="T2" fmla="*/ 22 w 46"/>
                <a:gd name="T3" fmla="*/ 0 h 23"/>
                <a:gd name="T4" fmla="*/ 1 w 46"/>
                <a:gd name="T5" fmla="*/ 5 h 23"/>
                <a:gd name="T6" fmla="*/ 3 w 46"/>
                <a:gd name="T7" fmla="*/ 8 h 23"/>
                <a:gd name="T8" fmla="*/ 11 w 46"/>
                <a:gd name="T9" fmla="*/ 11 h 23"/>
                <a:gd name="T10" fmla="*/ 11 w 46"/>
                <a:gd name="T11" fmla="*/ 11 h 23"/>
                <a:gd name="T12" fmla="*/ 13 w 46"/>
                <a:gd name="T13" fmla="*/ 11 h 23"/>
                <a:gd name="T14" fmla="*/ 14 w 46"/>
                <a:gd name="T15" fmla="*/ 11 h 23"/>
                <a:gd name="T16" fmla="*/ 18 w 46"/>
                <a:gd name="T17" fmla="*/ 12 h 23"/>
                <a:gd name="T18" fmla="*/ 36 w 46"/>
                <a:gd name="T19" fmla="*/ 23 h 23"/>
                <a:gd name="T20" fmla="*/ 36 w 46"/>
                <a:gd name="T21" fmla="*/ 23 h 23"/>
                <a:gd name="T22" fmla="*/ 39 w 46"/>
                <a:gd name="T23" fmla="*/ 22 h 23"/>
                <a:gd name="T24" fmla="*/ 45 w 46"/>
                <a:gd name="T25" fmla="*/ 16 h 23"/>
                <a:gd name="T26" fmla="*/ 41 w 46"/>
                <a:gd name="T27" fmla="*/ 13 h 23"/>
                <a:gd name="T28" fmla="*/ 37 w 46"/>
                <a:gd name="T29" fmla="*/ 8 h 23"/>
                <a:gd name="T30" fmla="*/ 35 w 46"/>
                <a:gd name="T31" fmla="*/ 8 h 23"/>
                <a:gd name="T32" fmla="*/ 34 w 46"/>
                <a:gd name="T33" fmla="*/ 8 h 23"/>
                <a:gd name="T34" fmla="*/ 34 w 46"/>
                <a:gd name="T35" fmla="*/ 8 h 23"/>
                <a:gd name="T36" fmla="*/ 33 w 46"/>
                <a:gd name="T37" fmla="*/ 8 h 23"/>
                <a:gd name="T38" fmla="*/ 32 w 46"/>
                <a:gd name="T39" fmla="*/ 8 h 23"/>
                <a:gd name="T40" fmla="*/ 31 w 46"/>
                <a:gd name="T41" fmla="*/ 5 h 23"/>
                <a:gd name="T42" fmla="*/ 29 w 46"/>
                <a:gd name="T43" fmla="*/ 4 h 23"/>
                <a:gd name="T44" fmla="*/ 23 w 46"/>
                <a:gd name="T45"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23">
                  <a:moveTo>
                    <a:pt x="23" y="0"/>
                  </a:moveTo>
                  <a:cubicBezTo>
                    <a:pt x="23" y="0"/>
                    <a:pt x="23" y="0"/>
                    <a:pt x="22" y="0"/>
                  </a:cubicBezTo>
                  <a:cubicBezTo>
                    <a:pt x="14" y="1"/>
                    <a:pt x="7" y="0"/>
                    <a:pt x="1" y="5"/>
                  </a:cubicBezTo>
                  <a:cubicBezTo>
                    <a:pt x="0" y="6"/>
                    <a:pt x="2" y="8"/>
                    <a:pt x="3" y="8"/>
                  </a:cubicBezTo>
                  <a:cubicBezTo>
                    <a:pt x="5" y="10"/>
                    <a:pt x="8" y="11"/>
                    <a:pt x="11" y="11"/>
                  </a:cubicBezTo>
                  <a:cubicBezTo>
                    <a:pt x="11" y="11"/>
                    <a:pt x="11" y="11"/>
                    <a:pt x="11" y="11"/>
                  </a:cubicBezTo>
                  <a:cubicBezTo>
                    <a:pt x="12" y="11"/>
                    <a:pt x="12" y="11"/>
                    <a:pt x="13" y="11"/>
                  </a:cubicBezTo>
                  <a:cubicBezTo>
                    <a:pt x="13" y="11"/>
                    <a:pt x="14" y="11"/>
                    <a:pt x="14" y="11"/>
                  </a:cubicBezTo>
                  <a:cubicBezTo>
                    <a:pt x="15" y="11"/>
                    <a:pt x="17" y="11"/>
                    <a:pt x="18" y="12"/>
                  </a:cubicBezTo>
                  <a:cubicBezTo>
                    <a:pt x="24" y="16"/>
                    <a:pt x="30" y="20"/>
                    <a:pt x="36" y="23"/>
                  </a:cubicBezTo>
                  <a:cubicBezTo>
                    <a:pt x="36" y="23"/>
                    <a:pt x="36" y="23"/>
                    <a:pt x="36" y="23"/>
                  </a:cubicBezTo>
                  <a:cubicBezTo>
                    <a:pt x="37" y="23"/>
                    <a:pt x="38" y="22"/>
                    <a:pt x="39" y="22"/>
                  </a:cubicBezTo>
                  <a:cubicBezTo>
                    <a:pt x="41" y="21"/>
                    <a:pt x="46" y="21"/>
                    <a:pt x="45" y="16"/>
                  </a:cubicBezTo>
                  <a:cubicBezTo>
                    <a:pt x="44" y="14"/>
                    <a:pt x="42" y="14"/>
                    <a:pt x="41" y="13"/>
                  </a:cubicBezTo>
                  <a:cubicBezTo>
                    <a:pt x="39" y="11"/>
                    <a:pt x="39" y="9"/>
                    <a:pt x="37" y="8"/>
                  </a:cubicBezTo>
                  <a:cubicBezTo>
                    <a:pt x="36" y="8"/>
                    <a:pt x="36" y="8"/>
                    <a:pt x="35" y="8"/>
                  </a:cubicBezTo>
                  <a:cubicBezTo>
                    <a:pt x="35" y="8"/>
                    <a:pt x="34" y="8"/>
                    <a:pt x="34" y="8"/>
                  </a:cubicBezTo>
                  <a:cubicBezTo>
                    <a:pt x="34" y="8"/>
                    <a:pt x="34" y="8"/>
                    <a:pt x="34" y="8"/>
                  </a:cubicBezTo>
                  <a:cubicBezTo>
                    <a:pt x="33" y="8"/>
                    <a:pt x="33" y="8"/>
                    <a:pt x="33" y="8"/>
                  </a:cubicBezTo>
                  <a:cubicBezTo>
                    <a:pt x="33" y="8"/>
                    <a:pt x="32" y="8"/>
                    <a:pt x="32" y="8"/>
                  </a:cubicBezTo>
                  <a:cubicBezTo>
                    <a:pt x="31" y="7"/>
                    <a:pt x="32" y="6"/>
                    <a:pt x="31" y="5"/>
                  </a:cubicBezTo>
                  <a:cubicBezTo>
                    <a:pt x="30" y="4"/>
                    <a:pt x="30" y="4"/>
                    <a:pt x="29" y="4"/>
                  </a:cubicBezTo>
                  <a:cubicBezTo>
                    <a:pt x="27" y="2"/>
                    <a:pt x="26"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1212"/>
            <p:cNvSpPr/>
            <p:nvPr/>
          </p:nvSpPr>
          <p:spPr bwMode="auto">
            <a:xfrm>
              <a:off x="4546491" y="5239142"/>
              <a:ext cx="51009" cy="92621"/>
            </a:xfrm>
            <a:custGeom>
              <a:gdLst>
                <a:gd name="T0" fmla="*/ 11 w 16"/>
                <a:gd name="T1" fmla="*/ 0 h 29"/>
                <a:gd name="T2" fmla="*/ 8 w 16"/>
                <a:gd name="T3" fmla="*/ 2 h 29"/>
                <a:gd name="T4" fmla="*/ 7 w 16"/>
                <a:gd name="T5" fmla="*/ 8 h 29"/>
                <a:gd name="T6" fmla="*/ 5 w 16"/>
                <a:gd name="T7" fmla="*/ 16 h 29"/>
                <a:gd name="T8" fmla="*/ 2 w 16"/>
                <a:gd name="T9" fmla="*/ 24 h 29"/>
                <a:gd name="T10" fmla="*/ 1 w 16"/>
                <a:gd name="T11" fmla="*/ 27 h 29"/>
                <a:gd name="T12" fmla="*/ 5 w 16"/>
                <a:gd name="T13" fmla="*/ 29 h 29"/>
                <a:gd name="T14" fmla="*/ 6 w 16"/>
                <a:gd name="T15" fmla="*/ 29 h 29"/>
                <a:gd name="T16" fmla="*/ 7 w 16"/>
                <a:gd name="T17" fmla="*/ 28 h 29"/>
                <a:gd name="T18" fmla="*/ 15 w 16"/>
                <a:gd name="T19" fmla="*/ 20 h 29"/>
                <a:gd name="T20" fmla="*/ 12 w 16"/>
                <a:gd name="T21" fmla="*/ 18 h 29"/>
                <a:gd name="T22" fmla="*/ 11 w 16"/>
                <a:gd name="T23" fmla="*/ 8 h 29"/>
                <a:gd name="T24" fmla="*/ 13 w 16"/>
                <a:gd name="T25" fmla="*/ 7 h 29"/>
                <a:gd name="T26" fmla="*/ 15 w 16"/>
                <a:gd name="T27" fmla="*/ 9 h 29"/>
                <a:gd name="T28" fmla="*/ 11 w 16"/>
                <a:gd name="T29"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1" y="0"/>
                  </a:moveTo>
                  <a:cubicBezTo>
                    <a:pt x="10" y="0"/>
                    <a:pt x="9" y="0"/>
                    <a:pt x="8" y="2"/>
                  </a:cubicBezTo>
                  <a:cubicBezTo>
                    <a:pt x="6" y="4"/>
                    <a:pt x="7" y="6"/>
                    <a:pt x="7" y="8"/>
                  </a:cubicBezTo>
                  <a:cubicBezTo>
                    <a:pt x="6" y="11"/>
                    <a:pt x="4" y="14"/>
                    <a:pt x="5" y="16"/>
                  </a:cubicBezTo>
                  <a:cubicBezTo>
                    <a:pt x="4" y="19"/>
                    <a:pt x="3" y="21"/>
                    <a:pt x="2" y="24"/>
                  </a:cubicBezTo>
                  <a:cubicBezTo>
                    <a:pt x="1" y="25"/>
                    <a:pt x="0" y="26"/>
                    <a:pt x="1" y="27"/>
                  </a:cubicBezTo>
                  <a:cubicBezTo>
                    <a:pt x="2" y="28"/>
                    <a:pt x="4" y="29"/>
                    <a:pt x="5" y="29"/>
                  </a:cubicBezTo>
                  <a:cubicBezTo>
                    <a:pt x="5" y="29"/>
                    <a:pt x="5" y="29"/>
                    <a:pt x="6" y="29"/>
                  </a:cubicBezTo>
                  <a:cubicBezTo>
                    <a:pt x="6" y="29"/>
                    <a:pt x="6" y="29"/>
                    <a:pt x="7" y="28"/>
                  </a:cubicBezTo>
                  <a:cubicBezTo>
                    <a:pt x="9" y="27"/>
                    <a:pt x="16" y="23"/>
                    <a:pt x="15" y="20"/>
                  </a:cubicBezTo>
                  <a:cubicBezTo>
                    <a:pt x="15" y="19"/>
                    <a:pt x="12" y="18"/>
                    <a:pt x="12" y="18"/>
                  </a:cubicBezTo>
                  <a:cubicBezTo>
                    <a:pt x="10" y="16"/>
                    <a:pt x="9" y="10"/>
                    <a:pt x="11" y="8"/>
                  </a:cubicBezTo>
                  <a:cubicBezTo>
                    <a:pt x="12" y="7"/>
                    <a:pt x="12" y="7"/>
                    <a:pt x="13" y="7"/>
                  </a:cubicBezTo>
                  <a:cubicBezTo>
                    <a:pt x="14" y="7"/>
                    <a:pt x="14" y="8"/>
                    <a:pt x="15" y="9"/>
                  </a:cubicBezTo>
                  <a:cubicBezTo>
                    <a:pt x="15" y="6"/>
                    <a:pt x="13"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1213"/>
            <p:cNvSpPr/>
            <p:nvPr/>
          </p:nvSpPr>
          <p:spPr bwMode="auto">
            <a:xfrm>
              <a:off x="2877968" y="5115647"/>
              <a:ext cx="28189" cy="41612"/>
            </a:xfrm>
            <a:custGeom>
              <a:gdLst>
                <a:gd name="T0" fmla="*/ 0 w 9"/>
                <a:gd name="T1" fmla="*/ 0 h 13"/>
                <a:gd name="T2" fmla="*/ 6 w 9"/>
                <a:gd name="T3" fmla="*/ 13 h 13"/>
                <a:gd name="T4" fmla="*/ 4 w 9"/>
                <a:gd name="T5" fmla="*/ 9 h 13"/>
                <a:gd name="T6" fmla="*/ 0 w 9"/>
                <a:gd name="T7" fmla="*/ 0 h 13"/>
              </a:gdLst>
              <a:cxnLst>
                <a:cxn ang="0">
                  <a:pos x="T0" y="T1"/>
                </a:cxn>
                <a:cxn ang="0">
                  <a:pos x="T2" y="T3"/>
                </a:cxn>
                <a:cxn ang="0">
                  <a:pos x="T4" y="T5"/>
                </a:cxn>
                <a:cxn ang="0">
                  <a:pos x="T6" y="T7"/>
                </a:cxn>
              </a:cxnLst>
              <a:rect l="0" t="0" r="r" b="b"/>
              <a:pathLst>
                <a:path w="9" h="13">
                  <a:moveTo>
                    <a:pt x="0" y="0"/>
                  </a:moveTo>
                  <a:cubicBezTo>
                    <a:pt x="1" y="5"/>
                    <a:pt x="4" y="9"/>
                    <a:pt x="6" y="13"/>
                  </a:cubicBezTo>
                  <a:cubicBezTo>
                    <a:pt x="5" y="12"/>
                    <a:pt x="5" y="10"/>
                    <a:pt x="4" y="9"/>
                  </a:cubicBezTo>
                  <a:cubicBezTo>
                    <a:pt x="9" y="8"/>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1214"/>
            <p:cNvSpPr/>
            <p:nvPr/>
          </p:nvSpPr>
          <p:spPr bwMode="auto">
            <a:xfrm>
              <a:off x="4079358" y="5163971"/>
              <a:ext cx="6712" cy="18793"/>
            </a:xfrm>
            <a:custGeom>
              <a:gdLst>
                <a:gd name="T0" fmla="*/ 2 w 2"/>
                <a:gd name="T1" fmla="*/ 0 h 6"/>
                <a:gd name="T2" fmla="*/ 1 w 2"/>
                <a:gd name="T3" fmla="*/ 1 h 6"/>
                <a:gd name="T4" fmla="*/ 1 w 2"/>
                <a:gd name="T5" fmla="*/ 2 h 6"/>
                <a:gd name="T6" fmla="*/ 1 w 2"/>
                <a:gd name="T7" fmla="*/ 2 h 6"/>
                <a:gd name="T8" fmla="*/ 1 w 2"/>
                <a:gd name="T9" fmla="*/ 6 h 6"/>
                <a:gd name="T10" fmla="*/ 2 w 2"/>
                <a:gd name="T11" fmla="*/ 0 h 6"/>
              </a:gdLst>
              <a:cxnLst>
                <a:cxn ang="0">
                  <a:pos x="T0" y="T1"/>
                </a:cxn>
                <a:cxn ang="0">
                  <a:pos x="T2" y="T3"/>
                </a:cxn>
                <a:cxn ang="0">
                  <a:pos x="T4" y="T5"/>
                </a:cxn>
                <a:cxn ang="0">
                  <a:pos x="T6" y="T7"/>
                </a:cxn>
                <a:cxn ang="0">
                  <a:pos x="T8" y="T9"/>
                </a:cxn>
                <a:cxn ang="0">
                  <a:pos x="T10" y="T11"/>
                </a:cxn>
              </a:cxnLst>
              <a:rect l="0" t="0" r="r" b="b"/>
              <a:pathLst>
                <a:path w="2" h="6">
                  <a:moveTo>
                    <a:pt x="2" y="0"/>
                  </a:moveTo>
                  <a:cubicBezTo>
                    <a:pt x="2" y="1"/>
                    <a:pt x="1" y="1"/>
                    <a:pt x="1" y="1"/>
                  </a:cubicBezTo>
                  <a:cubicBezTo>
                    <a:pt x="1" y="2"/>
                    <a:pt x="1" y="2"/>
                    <a:pt x="1" y="2"/>
                  </a:cubicBezTo>
                  <a:cubicBezTo>
                    <a:pt x="1" y="2"/>
                    <a:pt x="1" y="2"/>
                    <a:pt x="1" y="2"/>
                  </a:cubicBezTo>
                  <a:cubicBezTo>
                    <a:pt x="0" y="3"/>
                    <a:pt x="0" y="4"/>
                    <a:pt x="1"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215"/>
            <p:cNvSpPr/>
            <p:nvPr/>
          </p:nvSpPr>
          <p:spPr bwMode="auto">
            <a:xfrm>
              <a:off x="5412297" y="5315655"/>
              <a:ext cx="48324" cy="69802"/>
            </a:xfrm>
            <a:custGeom>
              <a:gdLst>
                <a:gd name="T0" fmla="*/ 8 w 15"/>
                <a:gd name="T1" fmla="*/ 0 h 22"/>
                <a:gd name="T2" fmla="*/ 7 w 15"/>
                <a:gd name="T3" fmla="*/ 1 h 22"/>
                <a:gd name="T4" fmla="*/ 8 w 15"/>
                <a:gd name="T5" fmla="*/ 3 h 22"/>
                <a:gd name="T6" fmla="*/ 8 w 15"/>
                <a:gd name="T7" fmla="*/ 3 h 22"/>
                <a:gd name="T8" fmla="*/ 6 w 15"/>
                <a:gd name="T9" fmla="*/ 3 h 22"/>
                <a:gd name="T10" fmla="*/ 4 w 15"/>
                <a:gd name="T11" fmla="*/ 6 h 22"/>
                <a:gd name="T12" fmla="*/ 2 w 15"/>
                <a:gd name="T13" fmla="*/ 8 h 22"/>
                <a:gd name="T14" fmla="*/ 4 w 15"/>
                <a:gd name="T15" fmla="*/ 9 h 22"/>
                <a:gd name="T16" fmla="*/ 3 w 15"/>
                <a:gd name="T17" fmla="*/ 11 h 22"/>
                <a:gd name="T18" fmla="*/ 2 w 15"/>
                <a:gd name="T19" fmla="*/ 15 h 22"/>
                <a:gd name="T20" fmla="*/ 10 w 15"/>
                <a:gd name="T21" fmla="*/ 22 h 22"/>
                <a:gd name="T22" fmla="*/ 11 w 15"/>
                <a:gd name="T23" fmla="*/ 22 h 22"/>
                <a:gd name="T24" fmla="*/ 13 w 15"/>
                <a:gd name="T25" fmla="*/ 18 h 22"/>
                <a:gd name="T26" fmla="*/ 12 w 15"/>
                <a:gd name="T27" fmla="*/ 18 h 22"/>
                <a:gd name="T28" fmla="*/ 12 w 15"/>
                <a:gd name="T29" fmla="*/ 13 h 22"/>
                <a:gd name="T30" fmla="*/ 12 w 15"/>
                <a:gd name="T31" fmla="*/ 2 h 22"/>
                <a:gd name="T32" fmla="*/ 10 w 15"/>
                <a:gd name="T33" fmla="*/ 0 h 22"/>
                <a:gd name="T34" fmla="*/ 8 w 15"/>
                <a:gd name="T35"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2">
                  <a:moveTo>
                    <a:pt x="8" y="0"/>
                  </a:moveTo>
                  <a:cubicBezTo>
                    <a:pt x="8" y="0"/>
                    <a:pt x="8" y="1"/>
                    <a:pt x="7" y="1"/>
                  </a:cubicBezTo>
                  <a:cubicBezTo>
                    <a:pt x="7" y="1"/>
                    <a:pt x="8" y="2"/>
                    <a:pt x="8" y="3"/>
                  </a:cubicBezTo>
                  <a:cubicBezTo>
                    <a:pt x="8" y="3"/>
                    <a:pt x="8" y="3"/>
                    <a:pt x="8" y="3"/>
                  </a:cubicBezTo>
                  <a:cubicBezTo>
                    <a:pt x="7" y="3"/>
                    <a:pt x="6" y="3"/>
                    <a:pt x="6" y="3"/>
                  </a:cubicBezTo>
                  <a:cubicBezTo>
                    <a:pt x="5" y="4"/>
                    <a:pt x="5" y="5"/>
                    <a:pt x="4" y="6"/>
                  </a:cubicBezTo>
                  <a:cubicBezTo>
                    <a:pt x="2" y="7"/>
                    <a:pt x="0" y="6"/>
                    <a:pt x="2" y="8"/>
                  </a:cubicBezTo>
                  <a:cubicBezTo>
                    <a:pt x="3" y="9"/>
                    <a:pt x="4" y="8"/>
                    <a:pt x="4" y="9"/>
                  </a:cubicBezTo>
                  <a:cubicBezTo>
                    <a:pt x="4" y="10"/>
                    <a:pt x="3" y="10"/>
                    <a:pt x="3" y="11"/>
                  </a:cubicBezTo>
                  <a:cubicBezTo>
                    <a:pt x="2" y="15"/>
                    <a:pt x="2" y="15"/>
                    <a:pt x="2" y="15"/>
                  </a:cubicBezTo>
                  <a:cubicBezTo>
                    <a:pt x="2" y="18"/>
                    <a:pt x="7" y="22"/>
                    <a:pt x="10" y="22"/>
                  </a:cubicBezTo>
                  <a:cubicBezTo>
                    <a:pt x="10" y="22"/>
                    <a:pt x="10" y="22"/>
                    <a:pt x="11" y="22"/>
                  </a:cubicBezTo>
                  <a:cubicBezTo>
                    <a:pt x="12" y="21"/>
                    <a:pt x="15" y="18"/>
                    <a:pt x="13" y="18"/>
                  </a:cubicBezTo>
                  <a:cubicBezTo>
                    <a:pt x="12" y="18"/>
                    <a:pt x="12" y="18"/>
                    <a:pt x="12" y="18"/>
                  </a:cubicBezTo>
                  <a:cubicBezTo>
                    <a:pt x="15" y="17"/>
                    <a:pt x="14" y="15"/>
                    <a:pt x="12" y="13"/>
                  </a:cubicBezTo>
                  <a:cubicBezTo>
                    <a:pt x="13" y="9"/>
                    <a:pt x="14" y="5"/>
                    <a:pt x="12" y="2"/>
                  </a:cubicBezTo>
                  <a:cubicBezTo>
                    <a:pt x="11" y="1"/>
                    <a:pt x="11"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216"/>
            <p:cNvSpPr>
              <a:spLocks noEditPoints="1"/>
            </p:cNvSpPr>
            <p:nvPr/>
          </p:nvSpPr>
          <p:spPr bwMode="auto">
            <a:xfrm>
              <a:off x="5137119" y="4941143"/>
              <a:ext cx="12081" cy="6712"/>
            </a:xfrm>
            <a:custGeom>
              <a:gdLst>
                <a:gd name="T0" fmla="*/ 3 w 4"/>
                <a:gd name="T1" fmla="*/ 0 h 2"/>
                <a:gd name="T2" fmla="*/ 0 w 4"/>
                <a:gd name="T3" fmla="*/ 1 h 2"/>
                <a:gd name="T4" fmla="*/ 0 w 4"/>
                <a:gd name="T5" fmla="*/ 2 h 2"/>
                <a:gd name="T6" fmla="*/ 3 w 4"/>
                <a:gd name="T7" fmla="*/ 0 h 2"/>
                <a:gd name="T8" fmla="*/ 4 w 4"/>
                <a:gd name="T9" fmla="*/ 0 h 2"/>
                <a:gd name="T10" fmla="*/ 3 w 4"/>
                <a:gd name="T11" fmla="*/ 0 h 2"/>
                <a:gd name="T12" fmla="*/ 4 w 4"/>
                <a:gd name="T13" fmla="*/ 0 h 2"/>
              </a:gdLst>
              <a:cxnLst>
                <a:cxn ang="0">
                  <a:pos x="T0" y="T1"/>
                </a:cxn>
                <a:cxn ang="0">
                  <a:pos x="T2" y="T3"/>
                </a:cxn>
                <a:cxn ang="0">
                  <a:pos x="T4" y="T5"/>
                </a:cxn>
                <a:cxn ang="0">
                  <a:pos x="T6" y="T7"/>
                </a:cxn>
                <a:cxn ang="0">
                  <a:pos x="T8" y="T9"/>
                </a:cxn>
                <a:cxn ang="0">
                  <a:pos x="T10" y="T11"/>
                </a:cxn>
                <a:cxn ang="0">
                  <a:pos x="T12" y="T13"/>
                </a:cxn>
              </a:cxnLst>
              <a:rect l="0" t="0" r="r" b="b"/>
              <a:pathLst>
                <a:path w="4" h="2">
                  <a:moveTo>
                    <a:pt x="3" y="0"/>
                  </a:moveTo>
                  <a:cubicBezTo>
                    <a:pt x="2" y="1"/>
                    <a:pt x="1" y="1"/>
                    <a:pt x="0" y="1"/>
                  </a:cubicBezTo>
                  <a:cubicBezTo>
                    <a:pt x="0" y="2"/>
                    <a:pt x="0" y="2"/>
                    <a:pt x="0" y="2"/>
                  </a:cubicBezTo>
                  <a:cubicBezTo>
                    <a:pt x="1" y="2"/>
                    <a:pt x="2" y="1"/>
                    <a:pt x="3" y="0"/>
                  </a:cubicBezTo>
                  <a:moveTo>
                    <a:pt x="4" y="0"/>
                  </a:moveTo>
                  <a:cubicBezTo>
                    <a:pt x="4" y="0"/>
                    <a:pt x="3" y="0"/>
                    <a:pt x="3" y="0"/>
                  </a:cubicBezTo>
                  <a:cubicBezTo>
                    <a:pt x="3"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217"/>
            <p:cNvSpPr/>
            <p:nvPr/>
          </p:nvSpPr>
          <p:spPr bwMode="auto">
            <a:xfrm>
              <a:off x="4562599" y="4994836"/>
              <a:ext cx="56378" cy="38928"/>
            </a:xfrm>
            <a:custGeom>
              <a:gdLst>
                <a:gd name="T0" fmla="*/ 9 w 18"/>
                <a:gd name="T1" fmla="*/ 0 h 12"/>
                <a:gd name="T2" fmla="*/ 7 w 18"/>
                <a:gd name="T3" fmla="*/ 0 h 12"/>
                <a:gd name="T4" fmla="*/ 7 w 18"/>
                <a:gd name="T5" fmla="*/ 0 h 12"/>
                <a:gd name="T6" fmla="*/ 2 w 18"/>
                <a:gd name="T7" fmla="*/ 2 h 12"/>
                <a:gd name="T8" fmla="*/ 1 w 18"/>
                <a:gd name="T9" fmla="*/ 8 h 12"/>
                <a:gd name="T10" fmla="*/ 3 w 18"/>
                <a:gd name="T11" fmla="*/ 10 h 12"/>
                <a:gd name="T12" fmla="*/ 9 w 18"/>
                <a:gd name="T13" fmla="*/ 4 h 12"/>
                <a:gd name="T14" fmla="*/ 9 w 18"/>
                <a:gd name="T15" fmla="*/ 7 h 12"/>
                <a:gd name="T16" fmla="*/ 11 w 18"/>
                <a:gd name="T17" fmla="*/ 12 h 12"/>
                <a:gd name="T18" fmla="*/ 18 w 18"/>
                <a:gd name="T19" fmla="*/ 3 h 12"/>
                <a:gd name="T20" fmla="*/ 14 w 18"/>
                <a:gd name="T21" fmla="*/ 2 h 12"/>
                <a:gd name="T22" fmla="*/ 13 w 18"/>
                <a:gd name="T23" fmla="*/ 3 h 12"/>
                <a:gd name="T24" fmla="*/ 9 w 18"/>
                <a:gd name="T25"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2">
                  <a:moveTo>
                    <a:pt x="9" y="0"/>
                  </a:moveTo>
                  <a:cubicBezTo>
                    <a:pt x="10" y="0"/>
                    <a:pt x="8" y="0"/>
                    <a:pt x="7" y="0"/>
                  </a:cubicBezTo>
                  <a:cubicBezTo>
                    <a:pt x="7" y="0"/>
                    <a:pt x="7" y="0"/>
                    <a:pt x="7" y="0"/>
                  </a:cubicBezTo>
                  <a:cubicBezTo>
                    <a:pt x="5" y="1"/>
                    <a:pt x="3" y="1"/>
                    <a:pt x="2" y="2"/>
                  </a:cubicBezTo>
                  <a:cubicBezTo>
                    <a:pt x="0" y="3"/>
                    <a:pt x="0" y="6"/>
                    <a:pt x="1" y="8"/>
                  </a:cubicBezTo>
                  <a:cubicBezTo>
                    <a:pt x="1" y="9"/>
                    <a:pt x="2" y="10"/>
                    <a:pt x="3" y="10"/>
                  </a:cubicBezTo>
                  <a:cubicBezTo>
                    <a:pt x="4" y="10"/>
                    <a:pt x="7" y="5"/>
                    <a:pt x="9" y="4"/>
                  </a:cubicBezTo>
                  <a:cubicBezTo>
                    <a:pt x="9" y="5"/>
                    <a:pt x="9" y="6"/>
                    <a:pt x="9" y="7"/>
                  </a:cubicBezTo>
                  <a:cubicBezTo>
                    <a:pt x="9" y="11"/>
                    <a:pt x="7" y="10"/>
                    <a:pt x="11" y="12"/>
                  </a:cubicBezTo>
                  <a:cubicBezTo>
                    <a:pt x="12" y="5"/>
                    <a:pt x="13" y="7"/>
                    <a:pt x="18" y="3"/>
                  </a:cubicBezTo>
                  <a:cubicBezTo>
                    <a:pt x="17" y="3"/>
                    <a:pt x="16" y="2"/>
                    <a:pt x="14" y="2"/>
                  </a:cubicBezTo>
                  <a:cubicBezTo>
                    <a:pt x="14" y="2"/>
                    <a:pt x="13" y="2"/>
                    <a:pt x="13" y="3"/>
                  </a:cubicBezTo>
                  <a:cubicBezTo>
                    <a:pt x="11" y="2"/>
                    <a:pt x="11"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1218"/>
            <p:cNvSpPr/>
            <p:nvPr/>
          </p:nvSpPr>
          <p:spPr bwMode="auto">
            <a:xfrm>
              <a:off x="4986777" y="5439150"/>
              <a:ext cx="13423" cy="10739"/>
            </a:xfrm>
            <a:custGeom>
              <a:gdLst>
                <a:gd name="T0" fmla="*/ 3 w 4"/>
                <a:gd name="T1" fmla="*/ 0 h 3"/>
                <a:gd name="T2" fmla="*/ 3 w 4"/>
                <a:gd name="T3" fmla="*/ 3 h 3"/>
                <a:gd name="T4" fmla="*/ 3 w 4"/>
                <a:gd name="T5" fmla="*/ 0 h 3"/>
              </a:gdLst>
              <a:cxnLst>
                <a:cxn ang="0">
                  <a:pos x="T0" y="T1"/>
                </a:cxn>
                <a:cxn ang="0">
                  <a:pos x="T2" y="T3"/>
                </a:cxn>
                <a:cxn ang="0">
                  <a:pos x="T4" y="T5"/>
                </a:cxn>
              </a:cxnLst>
              <a:rect l="0" t="0" r="r" b="b"/>
              <a:pathLst>
                <a:path w="4" h="3">
                  <a:moveTo>
                    <a:pt x="3" y="0"/>
                  </a:moveTo>
                  <a:cubicBezTo>
                    <a:pt x="0" y="1"/>
                    <a:pt x="1" y="2"/>
                    <a:pt x="3" y="3"/>
                  </a:cubicBezTo>
                  <a:cubicBezTo>
                    <a:pt x="4"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1219"/>
            <p:cNvSpPr/>
            <p:nvPr/>
          </p:nvSpPr>
          <p:spPr bwMode="auto">
            <a:xfrm>
              <a:off x="4904894" y="5010944"/>
              <a:ext cx="60405" cy="29531"/>
            </a:xfrm>
            <a:custGeom>
              <a:gdLst>
                <a:gd name="T0" fmla="*/ 8 w 19"/>
                <a:gd name="T1" fmla="*/ 0 h 9"/>
                <a:gd name="T2" fmla="*/ 2 w 19"/>
                <a:gd name="T3" fmla="*/ 2 h 9"/>
                <a:gd name="T4" fmla="*/ 0 w 19"/>
                <a:gd name="T5" fmla="*/ 7 h 9"/>
                <a:gd name="T6" fmla="*/ 4 w 19"/>
                <a:gd name="T7" fmla="*/ 9 h 9"/>
                <a:gd name="T8" fmla="*/ 7 w 19"/>
                <a:gd name="T9" fmla="*/ 8 h 9"/>
                <a:gd name="T10" fmla="*/ 12 w 19"/>
                <a:gd name="T11" fmla="*/ 8 h 9"/>
                <a:gd name="T12" fmla="*/ 14 w 19"/>
                <a:gd name="T13" fmla="*/ 8 h 9"/>
                <a:gd name="T14" fmla="*/ 15 w 19"/>
                <a:gd name="T15" fmla="*/ 8 h 9"/>
                <a:gd name="T16" fmla="*/ 15 w 19"/>
                <a:gd name="T17" fmla="*/ 3 h 9"/>
                <a:gd name="T18" fmla="*/ 8 w 19"/>
                <a:gd name="T1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9">
                  <a:moveTo>
                    <a:pt x="8" y="0"/>
                  </a:moveTo>
                  <a:cubicBezTo>
                    <a:pt x="6" y="0"/>
                    <a:pt x="4" y="1"/>
                    <a:pt x="2" y="2"/>
                  </a:cubicBezTo>
                  <a:cubicBezTo>
                    <a:pt x="1" y="3"/>
                    <a:pt x="0" y="5"/>
                    <a:pt x="0" y="7"/>
                  </a:cubicBezTo>
                  <a:cubicBezTo>
                    <a:pt x="1" y="8"/>
                    <a:pt x="3" y="9"/>
                    <a:pt x="4" y="9"/>
                  </a:cubicBezTo>
                  <a:cubicBezTo>
                    <a:pt x="5" y="9"/>
                    <a:pt x="6" y="9"/>
                    <a:pt x="7" y="8"/>
                  </a:cubicBezTo>
                  <a:cubicBezTo>
                    <a:pt x="8" y="8"/>
                    <a:pt x="10" y="8"/>
                    <a:pt x="12" y="8"/>
                  </a:cubicBezTo>
                  <a:cubicBezTo>
                    <a:pt x="13" y="8"/>
                    <a:pt x="13" y="8"/>
                    <a:pt x="14" y="8"/>
                  </a:cubicBezTo>
                  <a:cubicBezTo>
                    <a:pt x="14" y="8"/>
                    <a:pt x="15" y="8"/>
                    <a:pt x="15" y="8"/>
                  </a:cubicBezTo>
                  <a:cubicBezTo>
                    <a:pt x="18" y="8"/>
                    <a:pt x="19" y="7"/>
                    <a:pt x="15" y="3"/>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1220"/>
            <p:cNvSpPr/>
            <p:nvPr/>
          </p:nvSpPr>
          <p:spPr bwMode="auto">
            <a:xfrm>
              <a:off x="2643059" y="4796171"/>
              <a:ext cx="63090" cy="72486"/>
            </a:xfrm>
            <a:custGeom>
              <a:gdLst>
                <a:gd name="T0" fmla="*/ 6 w 20"/>
                <a:gd name="T1" fmla="*/ 0 h 23"/>
                <a:gd name="T2" fmla="*/ 0 w 20"/>
                <a:gd name="T3" fmla="*/ 3 h 23"/>
                <a:gd name="T4" fmla="*/ 10 w 20"/>
                <a:gd name="T5" fmla="*/ 15 h 23"/>
                <a:gd name="T6" fmla="*/ 18 w 20"/>
                <a:gd name="T7" fmla="*/ 23 h 23"/>
                <a:gd name="T8" fmla="*/ 19 w 20"/>
                <a:gd name="T9" fmla="*/ 18 h 23"/>
                <a:gd name="T10" fmla="*/ 18 w 20"/>
                <a:gd name="T11" fmla="*/ 12 h 23"/>
                <a:gd name="T12" fmla="*/ 6 w 20"/>
                <a:gd name="T13" fmla="*/ 0 h 23"/>
              </a:gdLst>
              <a:cxnLst>
                <a:cxn ang="0">
                  <a:pos x="T0" y="T1"/>
                </a:cxn>
                <a:cxn ang="0">
                  <a:pos x="T2" y="T3"/>
                </a:cxn>
                <a:cxn ang="0">
                  <a:pos x="T4" y="T5"/>
                </a:cxn>
                <a:cxn ang="0">
                  <a:pos x="T6" y="T7"/>
                </a:cxn>
                <a:cxn ang="0">
                  <a:pos x="T8" y="T9"/>
                </a:cxn>
                <a:cxn ang="0">
                  <a:pos x="T10" y="T11"/>
                </a:cxn>
                <a:cxn ang="0">
                  <a:pos x="T12" y="T13"/>
                </a:cxn>
              </a:cxnLst>
              <a:rect l="0" t="0" r="r" b="b"/>
              <a:pathLst>
                <a:path w="20" h="23">
                  <a:moveTo>
                    <a:pt x="6" y="0"/>
                  </a:moveTo>
                  <a:cubicBezTo>
                    <a:pt x="6" y="3"/>
                    <a:pt x="2" y="2"/>
                    <a:pt x="0" y="3"/>
                  </a:cubicBezTo>
                  <a:cubicBezTo>
                    <a:pt x="4" y="4"/>
                    <a:pt x="7" y="12"/>
                    <a:pt x="10" y="15"/>
                  </a:cubicBezTo>
                  <a:cubicBezTo>
                    <a:pt x="13" y="18"/>
                    <a:pt x="15" y="21"/>
                    <a:pt x="18" y="23"/>
                  </a:cubicBezTo>
                  <a:cubicBezTo>
                    <a:pt x="19" y="21"/>
                    <a:pt x="19" y="20"/>
                    <a:pt x="19" y="18"/>
                  </a:cubicBezTo>
                  <a:cubicBezTo>
                    <a:pt x="19" y="15"/>
                    <a:pt x="20" y="15"/>
                    <a:pt x="18" y="12"/>
                  </a:cubicBezTo>
                  <a:cubicBezTo>
                    <a:pt x="14" y="8"/>
                    <a:pt x="10"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1221"/>
            <p:cNvSpPr/>
            <p:nvPr/>
          </p:nvSpPr>
          <p:spPr bwMode="auto">
            <a:xfrm>
              <a:off x="5421694" y="5059269"/>
              <a:ext cx="9396" cy="12081"/>
            </a:xfrm>
            <a:custGeom>
              <a:gdLst>
                <a:gd name="T0" fmla="*/ 3 w 3"/>
                <a:gd name="T1" fmla="*/ 0 h 4"/>
                <a:gd name="T2" fmla="*/ 1 w 3"/>
                <a:gd name="T3" fmla="*/ 4 h 4"/>
                <a:gd name="T4" fmla="*/ 3 w 3"/>
                <a:gd name="T5" fmla="*/ 0 h 4"/>
              </a:gdLst>
              <a:cxnLst>
                <a:cxn ang="0">
                  <a:pos x="T0" y="T1"/>
                </a:cxn>
                <a:cxn ang="0">
                  <a:pos x="T2" y="T3"/>
                </a:cxn>
                <a:cxn ang="0">
                  <a:pos x="T4" y="T5"/>
                </a:cxn>
              </a:cxnLst>
              <a:rect l="0" t="0" r="r" b="b"/>
              <a:pathLst>
                <a:path w="3" h="4">
                  <a:moveTo>
                    <a:pt x="3" y="0"/>
                  </a:moveTo>
                  <a:cubicBezTo>
                    <a:pt x="1" y="1"/>
                    <a:pt x="0" y="2"/>
                    <a:pt x="1" y="4"/>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1222"/>
            <p:cNvSpPr/>
            <p:nvPr/>
          </p:nvSpPr>
          <p:spPr bwMode="auto">
            <a:xfrm>
              <a:off x="4895498" y="4931747"/>
              <a:ext cx="51009" cy="44297"/>
            </a:xfrm>
            <a:custGeom>
              <a:gdLst>
                <a:gd name="T0" fmla="*/ 7 w 16"/>
                <a:gd name="T1" fmla="*/ 0 h 14"/>
                <a:gd name="T2" fmla="*/ 4 w 16"/>
                <a:gd name="T3" fmla="*/ 3 h 14"/>
                <a:gd name="T4" fmla="*/ 4 w 16"/>
                <a:gd name="T5" fmla="*/ 3 h 14"/>
                <a:gd name="T6" fmla="*/ 4 w 16"/>
                <a:gd name="T7" fmla="*/ 2 h 14"/>
                <a:gd name="T8" fmla="*/ 3 w 16"/>
                <a:gd name="T9" fmla="*/ 1 h 14"/>
                <a:gd name="T10" fmla="*/ 3 w 16"/>
                <a:gd name="T11" fmla="*/ 1 h 14"/>
                <a:gd name="T12" fmla="*/ 3 w 16"/>
                <a:gd name="T13" fmla="*/ 7 h 14"/>
                <a:gd name="T14" fmla="*/ 5 w 16"/>
                <a:gd name="T15" fmla="*/ 9 h 14"/>
                <a:gd name="T16" fmla="*/ 5 w 16"/>
                <a:gd name="T17" fmla="*/ 10 h 14"/>
                <a:gd name="T18" fmla="*/ 5 w 16"/>
                <a:gd name="T19" fmla="*/ 12 h 14"/>
                <a:gd name="T20" fmla="*/ 7 w 16"/>
                <a:gd name="T21" fmla="*/ 12 h 14"/>
                <a:gd name="T22" fmla="*/ 9 w 16"/>
                <a:gd name="T23" fmla="*/ 11 h 14"/>
                <a:gd name="T24" fmla="*/ 12 w 16"/>
                <a:gd name="T25" fmla="*/ 14 h 14"/>
                <a:gd name="T26" fmla="*/ 12 w 16"/>
                <a:gd name="T27" fmla="*/ 14 h 14"/>
                <a:gd name="T28" fmla="*/ 15 w 16"/>
                <a:gd name="T29" fmla="*/ 12 h 14"/>
                <a:gd name="T30" fmla="*/ 11 w 16"/>
                <a:gd name="T31" fmla="*/ 10 h 14"/>
                <a:gd name="T32" fmla="*/ 10 w 16"/>
                <a:gd name="T33" fmla="*/ 10 h 14"/>
                <a:gd name="T34" fmla="*/ 10 w 16"/>
                <a:gd name="T35" fmla="*/ 10 h 14"/>
                <a:gd name="T36" fmla="*/ 10 w 16"/>
                <a:gd name="T37" fmla="*/ 10 h 14"/>
                <a:gd name="T38" fmla="*/ 10 w 16"/>
                <a:gd name="T39" fmla="*/ 9 h 14"/>
                <a:gd name="T40" fmla="*/ 7 w 16"/>
                <a:gd name="T41"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4">
                  <a:moveTo>
                    <a:pt x="7" y="0"/>
                  </a:moveTo>
                  <a:cubicBezTo>
                    <a:pt x="6" y="1"/>
                    <a:pt x="5" y="3"/>
                    <a:pt x="4" y="3"/>
                  </a:cubicBezTo>
                  <a:cubicBezTo>
                    <a:pt x="4" y="3"/>
                    <a:pt x="4" y="3"/>
                    <a:pt x="4" y="3"/>
                  </a:cubicBezTo>
                  <a:cubicBezTo>
                    <a:pt x="4" y="3"/>
                    <a:pt x="4" y="2"/>
                    <a:pt x="4" y="2"/>
                  </a:cubicBezTo>
                  <a:cubicBezTo>
                    <a:pt x="3" y="1"/>
                    <a:pt x="3" y="1"/>
                    <a:pt x="3" y="1"/>
                  </a:cubicBezTo>
                  <a:cubicBezTo>
                    <a:pt x="3" y="1"/>
                    <a:pt x="3" y="1"/>
                    <a:pt x="3" y="1"/>
                  </a:cubicBezTo>
                  <a:cubicBezTo>
                    <a:pt x="0" y="1"/>
                    <a:pt x="2" y="6"/>
                    <a:pt x="3" y="7"/>
                  </a:cubicBezTo>
                  <a:cubicBezTo>
                    <a:pt x="3" y="7"/>
                    <a:pt x="5" y="8"/>
                    <a:pt x="5" y="9"/>
                  </a:cubicBezTo>
                  <a:cubicBezTo>
                    <a:pt x="5" y="9"/>
                    <a:pt x="4" y="9"/>
                    <a:pt x="5" y="10"/>
                  </a:cubicBezTo>
                  <a:cubicBezTo>
                    <a:pt x="5" y="11"/>
                    <a:pt x="4" y="12"/>
                    <a:pt x="5" y="12"/>
                  </a:cubicBezTo>
                  <a:cubicBezTo>
                    <a:pt x="6" y="12"/>
                    <a:pt x="6" y="12"/>
                    <a:pt x="7" y="12"/>
                  </a:cubicBezTo>
                  <a:cubicBezTo>
                    <a:pt x="8" y="11"/>
                    <a:pt x="8" y="11"/>
                    <a:pt x="9" y="11"/>
                  </a:cubicBezTo>
                  <a:cubicBezTo>
                    <a:pt x="10" y="11"/>
                    <a:pt x="9" y="14"/>
                    <a:pt x="12" y="14"/>
                  </a:cubicBezTo>
                  <a:cubicBezTo>
                    <a:pt x="12" y="14"/>
                    <a:pt x="12" y="14"/>
                    <a:pt x="12" y="14"/>
                  </a:cubicBezTo>
                  <a:cubicBezTo>
                    <a:pt x="13" y="14"/>
                    <a:pt x="14" y="13"/>
                    <a:pt x="15" y="12"/>
                  </a:cubicBezTo>
                  <a:cubicBezTo>
                    <a:pt x="16" y="11"/>
                    <a:pt x="11" y="10"/>
                    <a:pt x="11" y="10"/>
                  </a:cubicBezTo>
                  <a:cubicBezTo>
                    <a:pt x="11" y="10"/>
                    <a:pt x="10" y="10"/>
                    <a:pt x="10" y="10"/>
                  </a:cubicBezTo>
                  <a:cubicBezTo>
                    <a:pt x="10" y="10"/>
                    <a:pt x="10" y="10"/>
                    <a:pt x="10" y="10"/>
                  </a:cubicBezTo>
                  <a:cubicBezTo>
                    <a:pt x="10" y="10"/>
                    <a:pt x="10" y="10"/>
                    <a:pt x="10" y="10"/>
                  </a:cubicBezTo>
                  <a:cubicBezTo>
                    <a:pt x="10" y="10"/>
                    <a:pt x="10" y="10"/>
                    <a:pt x="10" y="9"/>
                  </a:cubicBezTo>
                  <a:cubicBezTo>
                    <a:pt x="9" y="5"/>
                    <a:pt x="9"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1223"/>
            <p:cNvSpPr/>
            <p:nvPr/>
          </p:nvSpPr>
          <p:spPr bwMode="auto">
            <a:xfrm>
              <a:off x="3800152" y="5338475"/>
              <a:ext cx="10739" cy="9396"/>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1" y="0"/>
                    <a:pt x="0" y="1"/>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1224"/>
            <p:cNvSpPr/>
            <p:nvPr/>
          </p:nvSpPr>
          <p:spPr bwMode="auto">
            <a:xfrm>
              <a:off x="2503456" y="4487433"/>
              <a:ext cx="812113" cy="867150"/>
            </a:xfrm>
            <a:custGeom>
              <a:gdLst>
                <a:gd name="T0" fmla="*/ 1 w 256"/>
                <a:gd name="T1" fmla="*/ 5 h 273"/>
                <a:gd name="T2" fmla="*/ 44 w 256"/>
                <a:gd name="T3" fmla="*/ 52 h 273"/>
                <a:gd name="T4" fmla="*/ 57 w 256"/>
                <a:gd name="T5" fmla="*/ 71 h 273"/>
                <a:gd name="T6" fmla="*/ 73 w 256"/>
                <a:gd name="T7" fmla="*/ 85 h 273"/>
                <a:gd name="T8" fmla="*/ 84 w 256"/>
                <a:gd name="T9" fmla="*/ 95 h 273"/>
                <a:gd name="T10" fmla="*/ 100 w 256"/>
                <a:gd name="T11" fmla="*/ 129 h 273"/>
                <a:gd name="T12" fmla="*/ 131 w 256"/>
                <a:gd name="T13" fmla="*/ 175 h 273"/>
                <a:gd name="T14" fmla="*/ 165 w 256"/>
                <a:gd name="T15" fmla="*/ 221 h 273"/>
                <a:gd name="T16" fmla="*/ 193 w 256"/>
                <a:gd name="T17" fmla="*/ 245 h 273"/>
                <a:gd name="T18" fmla="*/ 222 w 256"/>
                <a:gd name="T19" fmla="*/ 273 h 273"/>
                <a:gd name="T20" fmla="*/ 223 w 256"/>
                <a:gd name="T21" fmla="*/ 263 h 273"/>
                <a:gd name="T22" fmla="*/ 233 w 256"/>
                <a:gd name="T23" fmla="*/ 268 h 273"/>
                <a:gd name="T24" fmla="*/ 239 w 256"/>
                <a:gd name="T25" fmla="*/ 263 h 273"/>
                <a:gd name="T26" fmla="*/ 250 w 256"/>
                <a:gd name="T27" fmla="*/ 236 h 273"/>
                <a:gd name="T28" fmla="*/ 251 w 256"/>
                <a:gd name="T29" fmla="*/ 214 h 273"/>
                <a:gd name="T30" fmla="*/ 236 w 256"/>
                <a:gd name="T31" fmla="*/ 188 h 273"/>
                <a:gd name="T32" fmla="*/ 226 w 256"/>
                <a:gd name="T33" fmla="*/ 189 h 273"/>
                <a:gd name="T34" fmla="*/ 221 w 256"/>
                <a:gd name="T35" fmla="*/ 189 h 273"/>
                <a:gd name="T36" fmla="*/ 219 w 256"/>
                <a:gd name="T37" fmla="*/ 177 h 273"/>
                <a:gd name="T38" fmla="*/ 214 w 256"/>
                <a:gd name="T39" fmla="*/ 158 h 273"/>
                <a:gd name="T40" fmla="*/ 211 w 256"/>
                <a:gd name="T41" fmla="*/ 158 h 273"/>
                <a:gd name="T42" fmla="*/ 192 w 256"/>
                <a:gd name="T43" fmla="*/ 144 h 273"/>
                <a:gd name="T44" fmla="*/ 192 w 256"/>
                <a:gd name="T45" fmla="*/ 142 h 273"/>
                <a:gd name="T46" fmla="*/ 190 w 256"/>
                <a:gd name="T47" fmla="*/ 139 h 273"/>
                <a:gd name="T48" fmla="*/ 198 w 256"/>
                <a:gd name="T49" fmla="*/ 134 h 273"/>
                <a:gd name="T50" fmla="*/ 198 w 256"/>
                <a:gd name="T51" fmla="*/ 126 h 273"/>
                <a:gd name="T52" fmla="*/ 183 w 256"/>
                <a:gd name="T53" fmla="*/ 125 h 273"/>
                <a:gd name="T54" fmla="*/ 174 w 256"/>
                <a:gd name="T55" fmla="*/ 128 h 273"/>
                <a:gd name="T56" fmla="*/ 185 w 256"/>
                <a:gd name="T57" fmla="*/ 122 h 273"/>
                <a:gd name="T58" fmla="*/ 169 w 256"/>
                <a:gd name="T59" fmla="*/ 113 h 273"/>
                <a:gd name="T60" fmla="*/ 148 w 256"/>
                <a:gd name="T61" fmla="*/ 93 h 273"/>
                <a:gd name="T62" fmla="*/ 133 w 256"/>
                <a:gd name="T63" fmla="*/ 81 h 273"/>
                <a:gd name="T64" fmla="*/ 135 w 256"/>
                <a:gd name="T65" fmla="*/ 90 h 273"/>
                <a:gd name="T66" fmla="*/ 123 w 256"/>
                <a:gd name="T67" fmla="*/ 79 h 273"/>
                <a:gd name="T68" fmla="*/ 113 w 256"/>
                <a:gd name="T69" fmla="*/ 71 h 273"/>
                <a:gd name="T70" fmla="*/ 88 w 256"/>
                <a:gd name="T71" fmla="*/ 47 h 273"/>
                <a:gd name="T72" fmla="*/ 75 w 256"/>
                <a:gd name="T73" fmla="*/ 49 h 273"/>
                <a:gd name="T74" fmla="*/ 75 w 256"/>
                <a:gd name="T75" fmla="*/ 38 h 273"/>
                <a:gd name="T76" fmla="*/ 72 w 256"/>
                <a:gd name="T77" fmla="*/ 31 h 273"/>
                <a:gd name="T78" fmla="*/ 55 w 256"/>
                <a:gd name="T79" fmla="*/ 10 h 273"/>
                <a:gd name="T80" fmla="*/ 47 w 256"/>
                <a:gd name="T81" fmla="*/ 11 h 273"/>
                <a:gd name="T82" fmla="*/ 31 w 256"/>
                <a:gd name="T83" fmla="*/ 10 h 2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73">
                  <a:moveTo>
                    <a:pt x="9" y="0"/>
                  </a:moveTo>
                  <a:cubicBezTo>
                    <a:pt x="6" y="0"/>
                    <a:pt x="5" y="0"/>
                    <a:pt x="2" y="2"/>
                  </a:cubicBezTo>
                  <a:cubicBezTo>
                    <a:pt x="0" y="3"/>
                    <a:pt x="0" y="3"/>
                    <a:pt x="1" y="5"/>
                  </a:cubicBezTo>
                  <a:cubicBezTo>
                    <a:pt x="2" y="10"/>
                    <a:pt x="3" y="13"/>
                    <a:pt x="6" y="17"/>
                  </a:cubicBezTo>
                  <a:cubicBezTo>
                    <a:pt x="14" y="27"/>
                    <a:pt x="23" y="39"/>
                    <a:pt x="35" y="46"/>
                  </a:cubicBezTo>
                  <a:cubicBezTo>
                    <a:pt x="38" y="48"/>
                    <a:pt x="42" y="49"/>
                    <a:pt x="44" y="52"/>
                  </a:cubicBezTo>
                  <a:cubicBezTo>
                    <a:pt x="46" y="55"/>
                    <a:pt x="49" y="58"/>
                    <a:pt x="52" y="61"/>
                  </a:cubicBezTo>
                  <a:cubicBezTo>
                    <a:pt x="53" y="63"/>
                    <a:pt x="55" y="64"/>
                    <a:pt x="56" y="65"/>
                  </a:cubicBezTo>
                  <a:cubicBezTo>
                    <a:pt x="57" y="67"/>
                    <a:pt x="57" y="69"/>
                    <a:pt x="57" y="71"/>
                  </a:cubicBezTo>
                  <a:cubicBezTo>
                    <a:pt x="58" y="73"/>
                    <a:pt x="58" y="77"/>
                    <a:pt x="60" y="79"/>
                  </a:cubicBezTo>
                  <a:cubicBezTo>
                    <a:pt x="61" y="80"/>
                    <a:pt x="63" y="80"/>
                    <a:pt x="64" y="81"/>
                  </a:cubicBezTo>
                  <a:cubicBezTo>
                    <a:pt x="68" y="81"/>
                    <a:pt x="70" y="83"/>
                    <a:pt x="73" y="85"/>
                  </a:cubicBezTo>
                  <a:cubicBezTo>
                    <a:pt x="77" y="87"/>
                    <a:pt x="79" y="89"/>
                    <a:pt x="83" y="92"/>
                  </a:cubicBezTo>
                  <a:cubicBezTo>
                    <a:pt x="83" y="91"/>
                    <a:pt x="83" y="91"/>
                    <a:pt x="83" y="91"/>
                  </a:cubicBezTo>
                  <a:cubicBezTo>
                    <a:pt x="84" y="92"/>
                    <a:pt x="84" y="93"/>
                    <a:pt x="84" y="95"/>
                  </a:cubicBezTo>
                  <a:cubicBezTo>
                    <a:pt x="84" y="99"/>
                    <a:pt x="86" y="102"/>
                    <a:pt x="87" y="106"/>
                  </a:cubicBezTo>
                  <a:cubicBezTo>
                    <a:pt x="88" y="112"/>
                    <a:pt x="90" y="118"/>
                    <a:pt x="92" y="124"/>
                  </a:cubicBezTo>
                  <a:cubicBezTo>
                    <a:pt x="93" y="128"/>
                    <a:pt x="95" y="128"/>
                    <a:pt x="100" y="129"/>
                  </a:cubicBezTo>
                  <a:cubicBezTo>
                    <a:pt x="103" y="130"/>
                    <a:pt x="104" y="131"/>
                    <a:pt x="106" y="135"/>
                  </a:cubicBezTo>
                  <a:cubicBezTo>
                    <a:pt x="110" y="142"/>
                    <a:pt x="120" y="149"/>
                    <a:pt x="121" y="157"/>
                  </a:cubicBezTo>
                  <a:cubicBezTo>
                    <a:pt x="122" y="163"/>
                    <a:pt x="127" y="169"/>
                    <a:pt x="131" y="175"/>
                  </a:cubicBezTo>
                  <a:cubicBezTo>
                    <a:pt x="134" y="179"/>
                    <a:pt x="135" y="185"/>
                    <a:pt x="137" y="190"/>
                  </a:cubicBezTo>
                  <a:cubicBezTo>
                    <a:pt x="138" y="196"/>
                    <a:pt x="146" y="202"/>
                    <a:pt x="149" y="207"/>
                  </a:cubicBezTo>
                  <a:cubicBezTo>
                    <a:pt x="154" y="212"/>
                    <a:pt x="160" y="216"/>
                    <a:pt x="165" y="221"/>
                  </a:cubicBezTo>
                  <a:cubicBezTo>
                    <a:pt x="167" y="222"/>
                    <a:pt x="166" y="226"/>
                    <a:pt x="167" y="227"/>
                  </a:cubicBezTo>
                  <a:cubicBezTo>
                    <a:pt x="171" y="229"/>
                    <a:pt x="174" y="232"/>
                    <a:pt x="177" y="234"/>
                  </a:cubicBezTo>
                  <a:cubicBezTo>
                    <a:pt x="182" y="238"/>
                    <a:pt x="188" y="242"/>
                    <a:pt x="193" y="245"/>
                  </a:cubicBezTo>
                  <a:cubicBezTo>
                    <a:pt x="198" y="249"/>
                    <a:pt x="202" y="254"/>
                    <a:pt x="207" y="258"/>
                  </a:cubicBezTo>
                  <a:cubicBezTo>
                    <a:pt x="210" y="262"/>
                    <a:pt x="214" y="266"/>
                    <a:pt x="217" y="269"/>
                  </a:cubicBezTo>
                  <a:cubicBezTo>
                    <a:pt x="218" y="271"/>
                    <a:pt x="220" y="273"/>
                    <a:pt x="222" y="273"/>
                  </a:cubicBezTo>
                  <a:cubicBezTo>
                    <a:pt x="222" y="273"/>
                    <a:pt x="222" y="273"/>
                    <a:pt x="222" y="273"/>
                  </a:cubicBezTo>
                  <a:cubicBezTo>
                    <a:pt x="222" y="271"/>
                    <a:pt x="219" y="263"/>
                    <a:pt x="222" y="263"/>
                  </a:cubicBezTo>
                  <a:cubicBezTo>
                    <a:pt x="222" y="263"/>
                    <a:pt x="223" y="263"/>
                    <a:pt x="223" y="263"/>
                  </a:cubicBezTo>
                  <a:cubicBezTo>
                    <a:pt x="224" y="263"/>
                    <a:pt x="225" y="265"/>
                    <a:pt x="226" y="265"/>
                  </a:cubicBezTo>
                  <a:cubicBezTo>
                    <a:pt x="227" y="266"/>
                    <a:pt x="229" y="267"/>
                    <a:pt x="230" y="267"/>
                  </a:cubicBezTo>
                  <a:cubicBezTo>
                    <a:pt x="231" y="268"/>
                    <a:pt x="232" y="268"/>
                    <a:pt x="233" y="268"/>
                  </a:cubicBezTo>
                  <a:cubicBezTo>
                    <a:pt x="234" y="268"/>
                    <a:pt x="234" y="268"/>
                    <a:pt x="235" y="267"/>
                  </a:cubicBezTo>
                  <a:cubicBezTo>
                    <a:pt x="235" y="266"/>
                    <a:pt x="236" y="263"/>
                    <a:pt x="238" y="263"/>
                  </a:cubicBezTo>
                  <a:cubicBezTo>
                    <a:pt x="238" y="263"/>
                    <a:pt x="238" y="263"/>
                    <a:pt x="239" y="263"/>
                  </a:cubicBezTo>
                  <a:cubicBezTo>
                    <a:pt x="241" y="263"/>
                    <a:pt x="245" y="270"/>
                    <a:pt x="248" y="272"/>
                  </a:cubicBezTo>
                  <a:cubicBezTo>
                    <a:pt x="249" y="270"/>
                    <a:pt x="249" y="269"/>
                    <a:pt x="250" y="267"/>
                  </a:cubicBezTo>
                  <a:cubicBezTo>
                    <a:pt x="251" y="257"/>
                    <a:pt x="251" y="246"/>
                    <a:pt x="250" y="236"/>
                  </a:cubicBezTo>
                  <a:cubicBezTo>
                    <a:pt x="250" y="232"/>
                    <a:pt x="250" y="230"/>
                    <a:pt x="252" y="226"/>
                  </a:cubicBezTo>
                  <a:cubicBezTo>
                    <a:pt x="252" y="225"/>
                    <a:pt x="253" y="224"/>
                    <a:pt x="253" y="223"/>
                  </a:cubicBezTo>
                  <a:cubicBezTo>
                    <a:pt x="252" y="219"/>
                    <a:pt x="249" y="219"/>
                    <a:pt x="251" y="214"/>
                  </a:cubicBezTo>
                  <a:cubicBezTo>
                    <a:pt x="252" y="213"/>
                    <a:pt x="256" y="210"/>
                    <a:pt x="256" y="210"/>
                  </a:cubicBezTo>
                  <a:cubicBezTo>
                    <a:pt x="255" y="202"/>
                    <a:pt x="250" y="197"/>
                    <a:pt x="246" y="191"/>
                  </a:cubicBezTo>
                  <a:cubicBezTo>
                    <a:pt x="244" y="188"/>
                    <a:pt x="239" y="189"/>
                    <a:pt x="236" y="188"/>
                  </a:cubicBezTo>
                  <a:cubicBezTo>
                    <a:pt x="234" y="188"/>
                    <a:pt x="231" y="187"/>
                    <a:pt x="228" y="187"/>
                  </a:cubicBezTo>
                  <a:cubicBezTo>
                    <a:pt x="228" y="187"/>
                    <a:pt x="228" y="187"/>
                    <a:pt x="228" y="187"/>
                  </a:cubicBezTo>
                  <a:cubicBezTo>
                    <a:pt x="227" y="187"/>
                    <a:pt x="226" y="189"/>
                    <a:pt x="226" y="189"/>
                  </a:cubicBezTo>
                  <a:cubicBezTo>
                    <a:pt x="225" y="190"/>
                    <a:pt x="225" y="191"/>
                    <a:pt x="225" y="192"/>
                  </a:cubicBezTo>
                  <a:cubicBezTo>
                    <a:pt x="224" y="195"/>
                    <a:pt x="222" y="196"/>
                    <a:pt x="220" y="198"/>
                  </a:cubicBezTo>
                  <a:cubicBezTo>
                    <a:pt x="220" y="193"/>
                    <a:pt x="227" y="195"/>
                    <a:pt x="221" y="189"/>
                  </a:cubicBezTo>
                  <a:cubicBezTo>
                    <a:pt x="223" y="188"/>
                    <a:pt x="224" y="188"/>
                    <a:pt x="225" y="187"/>
                  </a:cubicBezTo>
                  <a:cubicBezTo>
                    <a:pt x="229" y="183"/>
                    <a:pt x="222" y="183"/>
                    <a:pt x="221" y="180"/>
                  </a:cubicBezTo>
                  <a:cubicBezTo>
                    <a:pt x="219" y="179"/>
                    <a:pt x="219" y="179"/>
                    <a:pt x="219" y="177"/>
                  </a:cubicBezTo>
                  <a:cubicBezTo>
                    <a:pt x="218" y="174"/>
                    <a:pt x="219" y="173"/>
                    <a:pt x="219" y="171"/>
                  </a:cubicBezTo>
                  <a:cubicBezTo>
                    <a:pt x="218" y="167"/>
                    <a:pt x="217" y="164"/>
                    <a:pt x="216" y="160"/>
                  </a:cubicBezTo>
                  <a:cubicBezTo>
                    <a:pt x="216" y="158"/>
                    <a:pt x="215" y="158"/>
                    <a:pt x="214" y="158"/>
                  </a:cubicBezTo>
                  <a:cubicBezTo>
                    <a:pt x="214" y="158"/>
                    <a:pt x="213" y="158"/>
                    <a:pt x="213" y="158"/>
                  </a:cubicBezTo>
                  <a:cubicBezTo>
                    <a:pt x="213" y="158"/>
                    <a:pt x="212" y="158"/>
                    <a:pt x="211" y="158"/>
                  </a:cubicBezTo>
                  <a:cubicBezTo>
                    <a:pt x="211" y="158"/>
                    <a:pt x="211" y="158"/>
                    <a:pt x="211" y="158"/>
                  </a:cubicBezTo>
                  <a:cubicBezTo>
                    <a:pt x="209" y="158"/>
                    <a:pt x="207" y="156"/>
                    <a:pt x="206" y="156"/>
                  </a:cubicBezTo>
                  <a:cubicBezTo>
                    <a:pt x="204" y="156"/>
                    <a:pt x="202" y="156"/>
                    <a:pt x="200" y="155"/>
                  </a:cubicBezTo>
                  <a:cubicBezTo>
                    <a:pt x="194" y="153"/>
                    <a:pt x="193" y="149"/>
                    <a:pt x="192" y="144"/>
                  </a:cubicBezTo>
                  <a:cubicBezTo>
                    <a:pt x="192" y="145"/>
                    <a:pt x="193" y="145"/>
                    <a:pt x="194" y="145"/>
                  </a:cubicBezTo>
                  <a:cubicBezTo>
                    <a:pt x="195" y="145"/>
                    <a:pt x="196" y="144"/>
                    <a:pt x="197" y="143"/>
                  </a:cubicBezTo>
                  <a:cubicBezTo>
                    <a:pt x="196" y="142"/>
                    <a:pt x="194" y="142"/>
                    <a:pt x="192" y="142"/>
                  </a:cubicBezTo>
                  <a:cubicBezTo>
                    <a:pt x="193" y="141"/>
                    <a:pt x="194" y="139"/>
                    <a:pt x="195" y="138"/>
                  </a:cubicBezTo>
                  <a:cubicBezTo>
                    <a:pt x="194" y="138"/>
                    <a:pt x="192" y="139"/>
                    <a:pt x="191" y="139"/>
                  </a:cubicBezTo>
                  <a:cubicBezTo>
                    <a:pt x="191" y="139"/>
                    <a:pt x="190" y="139"/>
                    <a:pt x="190" y="139"/>
                  </a:cubicBezTo>
                  <a:cubicBezTo>
                    <a:pt x="193" y="138"/>
                    <a:pt x="193" y="138"/>
                    <a:pt x="196" y="135"/>
                  </a:cubicBezTo>
                  <a:cubicBezTo>
                    <a:pt x="196" y="135"/>
                    <a:pt x="197" y="134"/>
                    <a:pt x="197" y="133"/>
                  </a:cubicBezTo>
                  <a:cubicBezTo>
                    <a:pt x="198" y="134"/>
                    <a:pt x="198" y="134"/>
                    <a:pt x="198" y="134"/>
                  </a:cubicBezTo>
                  <a:cubicBezTo>
                    <a:pt x="199" y="134"/>
                    <a:pt x="201" y="133"/>
                    <a:pt x="203" y="133"/>
                  </a:cubicBezTo>
                  <a:cubicBezTo>
                    <a:pt x="202" y="132"/>
                    <a:pt x="201" y="125"/>
                    <a:pt x="199" y="125"/>
                  </a:cubicBezTo>
                  <a:cubicBezTo>
                    <a:pt x="199" y="125"/>
                    <a:pt x="198" y="125"/>
                    <a:pt x="198" y="126"/>
                  </a:cubicBezTo>
                  <a:cubicBezTo>
                    <a:pt x="198" y="124"/>
                    <a:pt x="195" y="122"/>
                    <a:pt x="194" y="121"/>
                  </a:cubicBezTo>
                  <a:cubicBezTo>
                    <a:pt x="193" y="121"/>
                    <a:pt x="192" y="121"/>
                    <a:pt x="192" y="121"/>
                  </a:cubicBezTo>
                  <a:cubicBezTo>
                    <a:pt x="189" y="121"/>
                    <a:pt x="186" y="123"/>
                    <a:pt x="183" y="125"/>
                  </a:cubicBezTo>
                  <a:cubicBezTo>
                    <a:pt x="180" y="127"/>
                    <a:pt x="177" y="129"/>
                    <a:pt x="174" y="129"/>
                  </a:cubicBezTo>
                  <a:cubicBezTo>
                    <a:pt x="173" y="129"/>
                    <a:pt x="172" y="128"/>
                    <a:pt x="170" y="127"/>
                  </a:cubicBezTo>
                  <a:cubicBezTo>
                    <a:pt x="172" y="128"/>
                    <a:pt x="173" y="128"/>
                    <a:pt x="174" y="128"/>
                  </a:cubicBezTo>
                  <a:cubicBezTo>
                    <a:pt x="174" y="128"/>
                    <a:pt x="175" y="128"/>
                    <a:pt x="177" y="127"/>
                  </a:cubicBezTo>
                  <a:cubicBezTo>
                    <a:pt x="178" y="126"/>
                    <a:pt x="180" y="126"/>
                    <a:pt x="181" y="125"/>
                  </a:cubicBezTo>
                  <a:cubicBezTo>
                    <a:pt x="182" y="124"/>
                    <a:pt x="185" y="123"/>
                    <a:pt x="185" y="122"/>
                  </a:cubicBezTo>
                  <a:cubicBezTo>
                    <a:pt x="186" y="121"/>
                    <a:pt x="183" y="117"/>
                    <a:pt x="182" y="117"/>
                  </a:cubicBezTo>
                  <a:cubicBezTo>
                    <a:pt x="179" y="116"/>
                    <a:pt x="176" y="116"/>
                    <a:pt x="173" y="115"/>
                  </a:cubicBezTo>
                  <a:cubicBezTo>
                    <a:pt x="171" y="115"/>
                    <a:pt x="170" y="114"/>
                    <a:pt x="169" y="113"/>
                  </a:cubicBezTo>
                  <a:cubicBezTo>
                    <a:pt x="166" y="110"/>
                    <a:pt x="165" y="109"/>
                    <a:pt x="164" y="105"/>
                  </a:cubicBezTo>
                  <a:cubicBezTo>
                    <a:pt x="163" y="102"/>
                    <a:pt x="159" y="99"/>
                    <a:pt x="157" y="96"/>
                  </a:cubicBezTo>
                  <a:cubicBezTo>
                    <a:pt x="155" y="94"/>
                    <a:pt x="151" y="94"/>
                    <a:pt x="148" y="93"/>
                  </a:cubicBezTo>
                  <a:cubicBezTo>
                    <a:pt x="145" y="92"/>
                    <a:pt x="146" y="92"/>
                    <a:pt x="145" y="90"/>
                  </a:cubicBezTo>
                  <a:cubicBezTo>
                    <a:pt x="144" y="89"/>
                    <a:pt x="143" y="87"/>
                    <a:pt x="142" y="85"/>
                  </a:cubicBezTo>
                  <a:cubicBezTo>
                    <a:pt x="139" y="81"/>
                    <a:pt x="138" y="82"/>
                    <a:pt x="133" y="81"/>
                  </a:cubicBezTo>
                  <a:cubicBezTo>
                    <a:pt x="133" y="80"/>
                    <a:pt x="133" y="80"/>
                    <a:pt x="133" y="80"/>
                  </a:cubicBezTo>
                  <a:cubicBezTo>
                    <a:pt x="131" y="80"/>
                    <a:pt x="131" y="82"/>
                    <a:pt x="132" y="83"/>
                  </a:cubicBezTo>
                  <a:cubicBezTo>
                    <a:pt x="133" y="86"/>
                    <a:pt x="135" y="86"/>
                    <a:pt x="135" y="90"/>
                  </a:cubicBezTo>
                  <a:cubicBezTo>
                    <a:pt x="134" y="89"/>
                    <a:pt x="134" y="87"/>
                    <a:pt x="133" y="86"/>
                  </a:cubicBezTo>
                  <a:cubicBezTo>
                    <a:pt x="131" y="84"/>
                    <a:pt x="128" y="84"/>
                    <a:pt x="126" y="82"/>
                  </a:cubicBezTo>
                  <a:cubicBezTo>
                    <a:pt x="125" y="81"/>
                    <a:pt x="123" y="80"/>
                    <a:pt x="123" y="79"/>
                  </a:cubicBezTo>
                  <a:cubicBezTo>
                    <a:pt x="120" y="76"/>
                    <a:pt x="122" y="72"/>
                    <a:pt x="116" y="72"/>
                  </a:cubicBezTo>
                  <a:cubicBezTo>
                    <a:pt x="116" y="72"/>
                    <a:pt x="116" y="73"/>
                    <a:pt x="116" y="74"/>
                  </a:cubicBezTo>
                  <a:cubicBezTo>
                    <a:pt x="115" y="73"/>
                    <a:pt x="113" y="72"/>
                    <a:pt x="113" y="71"/>
                  </a:cubicBezTo>
                  <a:cubicBezTo>
                    <a:pt x="112" y="67"/>
                    <a:pt x="114" y="66"/>
                    <a:pt x="110" y="64"/>
                  </a:cubicBezTo>
                  <a:cubicBezTo>
                    <a:pt x="105" y="59"/>
                    <a:pt x="99" y="53"/>
                    <a:pt x="93" y="50"/>
                  </a:cubicBezTo>
                  <a:cubicBezTo>
                    <a:pt x="92" y="49"/>
                    <a:pt x="90" y="48"/>
                    <a:pt x="88" y="47"/>
                  </a:cubicBezTo>
                  <a:cubicBezTo>
                    <a:pt x="88" y="48"/>
                    <a:pt x="88" y="48"/>
                    <a:pt x="88" y="49"/>
                  </a:cubicBezTo>
                  <a:cubicBezTo>
                    <a:pt x="88" y="52"/>
                    <a:pt x="85" y="55"/>
                    <a:pt x="82" y="55"/>
                  </a:cubicBezTo>
                  <a:cubicBezTo>
                    <a:pt x="78" y="55"/>
                    <a:pt x="75" y="52"/>
                    <a:pt x="75" y="49"/>
                  </a:cubicBezTo>
                  <a:cubicBezTo>
                    <a:pt x="75" y="45"/>
                    <a:pt x="78" y="42"/>
                    <a:pt x="82" y="42"/>
                  </a:cubicBezTo>
                  <a:cubicBezTo>
                    <a:pt x="82" y="42"/>
                    <a:pt x="82" y="42"/>
                    <a:pt x="82" y="42"/>
                  </a:cubicBezTo>
                  <a:cubicBezTo>
                    <a:pt x="80" y="40"/>
                    <a:pt x="79" y="39"/>
                    <a:pt x="75" y="38"/>
                  </a:cubicBezTo>
                  <a:cubicBezTo>
                    <a:pt x="74" y="37"/>
                    <a:pt x="72" y="36"/>
                    <a:pt x="71" y="36"/>
                  </a:cubicBezTo>
                  <a:cubicBezTo>
                    <a:pt x="71" y="36"/>
                    <a:pt x="70" y="36"/>
                    <a:pt x="70" y="36"/>
                  </a:cubicBezTo>
                  <a:cubicBezTo>
                    <a:pt x="71" y="35"/>
                    <a:pt x="73" y="33"/>
                    <a:pt x="72" y="31"/>
                  </a:cubicBezTo>
                  <a:cubicBezTo>
                    <a:pt x="70" y="30"/>
                    <a:pt x="69" y="27"/>
                    <a:pt x="67" y="26"/>
                  </a:cubicBezTo>
                  <a:cubicBezTo>
                    <a:pt x="64" y="26"/>
                    <a:pt x="66" y="22"/>
                    <a:pt x="65" y="20"/>
                  </a:cubicBezTo>
                  <a:cubicBezTo>
                    <a:pt x="63" y="16"/>
                    <a:pt x="58" y="13"/>
                    <a:pt x="55" y="10"/>
                  </a:cubicBezTo>
                  <a:cubicBezTo>
                    <a:pt x="55" y="10"/>
                    <a:pt x="54" y="10"/>
                    <a:pt x="53" y="10"/>
                  </a:cubicBezTo>
                  <a:cubicBezTo>
                    <a:pt x="52" y="10"/>
                    <a:pt x="51" y="10"/>
                    <a:pt x="49" y="11"/>
                  </a:cubicBezTo>
                  <a:cubicBezTo>
                    <a:pt x="48" y="11"/>
                    <a:pt x="47" y="11"/>
                    <a:pt x="47" y="11"/>
                  </a:cubicBezTo>
                  <a:cubicBezTo>
                    <a:pt x="46" y="11"/>
                    <a:pt x="45" y="11"/>
                    <a:pt x="44" y="10"/>
                  </a:cubicBezTo>
                  <a:cubicBezTo>
                    <a:pt x="42" y="9"/>
                    <a:pt x="41" y="9"/>
                    <a:pt x="39" y="9"/>
                  </a:cubicBezTo>
                  <a:cubicBezTo>
                    <a:pt x="36" y="9"/>
                    <a:pt x="34" y="9"/>
                    <a:pt x="31" y="10"/>
                  </a:cubicBezTo>
                  <a:cubicBezTo>
                    <a:pt x="31" y="10"/>
                    <a:pt x="30" y="10"/>
                    <a:pt x="30" y="10"/>
                  </a:cubicBezTo>
                  <a:cubicBezTo>
                    <a:pt x="22" y="10"/>
                    <a:pt x="16"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1225"/>
            <p:cNvSpPr/>
            <p:nvPr/>
          </p:nvSpPr>
          <p:spPr bwMode="auto">
            <a:xfrm>
              <a:off x="5500891" y="4957251"/>
              <a:ext cx="38928" cy="16108"/>
            </a:xfrm>
            <a:custGeom>
              <a:gdLst>
                <a:gd name="T0" fmla="*/ 0 w 12"/>
                <a:gd name="T1" fmla="*/ 0 h 5"/>
                <a:gd name="T2" fmla="*/ 8 w 12"/>
                <a:gd name="T3" fmla="*/ 5 h 5"/>
                <a:gd name="T4" fmla="*/ 0 w 12"/>
                <a:gd name="T5" fmla="*/ 0 h 5"/>
              </a:gdLst>
              <a:cxnLst>
                <a:cxn ang="0">
                  <a:pos x="T0" y="T1"/>
                </a:cxn>
                <a:cxn ang="0">
                  <a:pos x="T2" y="T3"/>
                </a:cxn>
                <a:cxn ang="0">
                  <a:pos x="T4" y="T5"/>
                </a:cxn>
              </a:cxnLst>
              <a:rect l="0" t="0" r="r" b="b"/>
              <a:pathLst>
                <a:path w="12" h="5">
                  <a:moveTo>
                    <a:pt x="0" y="0"/>
                  </a:moveTo>
                  <a:cubicBezTo>
                    <a:pt x="3" y="2"/>
                    <a:pt x="5" y="3"/>
                    <a:pt x="8" y="5"/>
                  </a:cubicBezTo>
                  <a:cubicBezTo>
                    <a:pt x="1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1226"/>
            <p:cNvSpPr/>
            <p:nvPr/>
          </p:nvSpPr>
          <p:spPr bwMode="auto">
            <a:xfrm>
              <a:off x="4904894" y="4747846"/>
              <a:ext cx="114099" cy="228197"/>
            </a:xfrm>
            <a:custGeom>
              <a:gdLst>
                <a:gd name="T0" fmla="*/ 16 w 36"/>
                <a:gd name="T1" fmla="*/ 0 h 72"/>
                <a:gd name="T2" fmla="*/ 8 w 36"/>
                <a:gd name="T3" fmla="*/ 5 h 72"/>
                <a:gd name="T4" fmla="*/ 4 w 36"/>
                <a:gd name="T5" fmla="*/ 11 h 72"/>
                <a:gd name="T6" fmla="*/ 2 w 36"/>
                <a:gd name="T7" fmla="*/ 21 h 72"/>
                <a:gd name="T8" fmla="*/ 2 w 36"/>
                <a:gd name="T9" fmla="*/ 27 h 72"/>
                <a:gd name="T10" fmla="*/ 5 w 36"/>
                <a:gd name="T11" fmla="*/ 31 h 72"/>
                <a:gd name="T12" fmla="*/ 4 w 36"/>
                <a:gd name="T13" fmla="*/ 36 h 72"/>
                <a:gd name="T14" fmla="*/ 8 w 36"/>
                <a:gd name="T15" fmla="*/ 45 h 72"/>
                <a:gd name="T16" fmla="*/ 7 w 36"/>
                <a:gd name="T17" fmla="*/ 56 h 72"/>
                <a:gd name="T18" fmla="*/ 14 w 36"/>
                <a:gd name="T19" fmla="*/ 66 h 72"/>
                <a:gd name="T20" fmla="*/ 25 w 36"/>
                <a:gd name="T21" fmla="*/ 72 h 72"/>
                <a:gd name="T22" fmla="*/ 13 w 36"/>
                <a:gd name="T23" fmla="*/ 53 h 72"/>
                <a:gd name="T24" fmla="*/ 13 w 36"/>
                <a:gd name="T25" fmla="*/ 46 h 72"/>
                <a:gd name="T26" fmla="*/ 14 w 36"/>
                <a:gd name="T27" fmla="*/ 41 h 72"/>
                <a:gd name="T28" fmla="*/ 15 w 36"/>
                <a:gd name="T29" fmla="*/ 41 h 72"/>
                <a:gd name="T30" fmla="*/ 30 w 36"/>
                <a:gd name="T31" fmla="*/ 44 h 72"/>
                <a:gd name="T32" fmla="*/ 36 w 36"/>
                <a:gd name="T33" fmla="*/ 46 h 72"/>
                <a:gd name="T34" fmla="*/ 26 w 36"/>
                <a:gd name="T35" fmla="*/ 37 h 72"/>
                <a:gd name="T36" fmla="*/ 23 w 36"/>
                <a:gd name="T37" fmla="*/ 36 h 72"/>
                <a:gd name="T38" fmla="*/ 29 w 36"/>
                <a:gd name="T39" fmla="*/ 27 h 72"/>
                <a:gd name="T40" fmla="*/ 31 w 36"/>
                <a:gd name="T41" fmla="*/ 22 h 72"/>
                <a:gd name="T42" fmla="*/ 32 w 36"/>
                <a:gd name="T43" fmla="*/ 19 h 72"/>
                <a:gd name="T44" fmla="*/ 32 w 36"/>
                <a:gd name="T45" fmla="*/ 15 h 72"/>
                <a:gd name="T46" fmla="*/ 29 w 36"/>
                <a:gd name="T47" fmla="*/ 15 h 72"/>
                <a:gd name="T48" fmla="*/ 24 w 36"/>
                <a:gd name="T49" fmla="*/ 15 h 72"/>
                <a:gd name="T50" fmla="*/ 19 w 36"/>
                <a:gd name="T51" fmla="*/ 19 h 72"/>
                <a:gd name="T52" fmla="*/ 17 w 36"/>
                <a:gd name="T53" fmla="*/ 21 h 72"/>
                <a:gd name="T54" fmla="*/ 19 w 36"/>
                <a:gd name="T55" fmla="*/ 24 h 72"/>
                <a:gd name="T56" fmla="*/ 14 w 36"/>
                <a:gd name="T57" fmla="*/ 27 h 72"/>
                <a:gd name="T58" fmla="*/ 12 w 36"/>
                <a:gd name="T59" fmla="*/ 32 h 72"/>
                <a:gd name="T60" fmla="*/ 10 w 36"/>
                <a:gd name="T61" fmla="*/ 32 h 72"/>
                <a:gd name="T62" fmla="*/ 7 w 36"/>
                <a:gd name="T63" fmla="*/ 29 h 72"/>
                <a:gd name="T64" fmla="*/ 10 w 36"/>
                <a:gd name="T65" fmla="*/ 24 h 72"/>
                <a:gd name="T66" fmla="*/ 11 w 36"/>
                <a:gd name="T67" fmla="*/ 24 h 72"/>
                <a:gd name="T68" fmla="*/ 11 w 36"/>
                <a:gd name="T69" fmla="*/ 24 h 72"/>
                <a:gd name="T70" fmla="*/ 12 w 36"/>
                <a:gd name="T71" fmla="*/ 24 h 72"/>
                <a:gd name="T72" fmla="*/ 12 w 36"/>
                <a:gd name="T73" fmla="*/ 24 h 72"/>
                <a:gd name="T74" fmla="*/ 13 w 36"/>
                <a:gd name="T75" fmla="*/ 23 h 72"/>
                <a:gd name="T76" fmla="*/ 14 w 36"/>
                <a:gd name="T77" fmla="*/ 21 h 72"/>
                <a:gd name="T78" fmla="*/ 13 w 36"/>
                <a:gd name="T79" fmla="*/ 9 h 72"/>
                <a:gd name="T80" fmla="*/ 13 w 36"/>
                <a:gd name="T81" fmla="*/ 4 h 72"/>
                <a:gd name="T82" fmla="*/ 16 w 36"/>
                <a:gd name="T83" fmla="*/ 0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72">
                  <a:moveTo>
                    <a:pt x="16" y="0"/>
                  </a:moveTo>
                  <a:cubicBezTo>
                    <a:pt x="13" y="1"/>
                    <a:pt x="11" y="3"/>
                    <a:pt x="8" y="5"/>
                  </a:cubicBezTo>
                  <a:cubicBezTo>
                    <a:pt x="7" y="7"/>
                    <a:pt x="5" y="9"/>
                    <a:pt x="4" y="11"/>
                  </a:cubicBezTo>
                  <a:cubicBezTo>
                    <a:pt x="3" y="14"/>
                    <a:pt x="3" y="18"/>
                    <a:pt x="2" y="21"/>
                  </a:cubicBezTo>
                  <a:cubicBezTo>
                    <a:pt x="1" y="23"/>
                    <a:pt x="0" y="25"/>
                    <a:pt x="2" y="27"/>
                  </a:cubicBezTo>
                  <a:cubicBezTo>
                    <a:pt x="2" y="28"/>
                    <a:pt x="5" y="30"/>
                    <a:pt x="5" y="31"/>
                  </a:cubicBezTo>
                  <a:cubicBezTo>
                    <a:pt x="6" y="32"/>
                    <a:pt x="4" y="34"/>
                    <a:pt x="4" y="36"/>
                  </a:cubicBezTo>
                  <a:cubicBezTo>
                    <a:pt x="4" y="39"/>
                    <a:pt x="8" y="41"/>
                    <a:pt x="8" y="45"/>
                  </a:cubicBezTo>
                  <a:cubicBezTo>
                    <a:pt x="8" y="48"/>
                    <a:pt x="6" y="53"/>
                    <a:pt x="7" y="56"/>
                  </a:cubicBezTo>
                  <a:cubicBezTo>
                    <a:pt x="8" y="59"/>
                    <a:pt x="12" y="63"/>
                    <a:pt x="14" y="66"/>
                  </a:cubicBezTo>
                  <a:cubicBezTo>
                    <a:pt x="17" y="69"/>
                    <a:pt x="21" y="70"/>
                    <a:pt x="25" y="72"/>
                  </a:cubicBezTo>
                  <a:cubicBezTo>
                    <a:pt x="21" y="66"/>
                    <a:pt x="17" y="59"/>
                    <a:pt x="13" y="53"/>
                  </a:cubicBezTo>
                  <a:cubicBezTo>
                    <a:pt x="12" y="50"/>
                    <a:pt x="13" y="48"/>
                    <a:pt x="13" y="46"/>
                  </a:cubicBezTo>
                  <a:cubicBezTo>
                    <a:pt x="13" y="44"/>
                    <a:pt x="11" y="41"/>
                    <a:pt x="14" y="41"/>
                  </a:cubicBezTo>
                  <a:cubicBezTo>
                    <a:pt x="14" y="41"/>
                    <a:pt x="14" y="41"/>
                    <a:pt x="15" y="41"/>
                  </a:cubicBezTo>
                  <a:cubicBezTo>
                    <a:pt x="20" y="41"/>
                    <a:pt x="25" y="42"/>
                    <a:pt x="30" y="44"/>
                  </a:cubicBezTo>
                  <a:cubicBezTo>
                    <a:pt x="32" y="45"/>
                    <a:pt x="34" y="45"/>
                    <a:pt x="36" y="46"/>
                  </a:cubicBezTo>
                  <a:cubicBezTo>
                    <a:pt x="33" y="42"/>
                    <a:pt x="30" y="39"/>
                    <a:pt x="26" y="37"/>
                  </a:cubicBezTo>
                  <a:cubicBezTo>
                    <a:pt x="25" y="36"/>
                    <a:pt x="24" y="36"/>
                    <a:pt x="23" y="36"/>
                  </a:cubicBezTo>
                  <a:cubicBezTo>
                    <a:pt x="16" y="32"/>
                    <a:pt x="26" y="29"/>
                    <a:pt x="29" y="27"/>
                  </a:cubicBezTo>
                  <a:cubicBezTo>
                    <a:pt x="32" y="25"/>
                    <a:pt x="31" y="25"/>
                    <a:pt x="31" y="22"/>
                  </a:cubicBezTo>
                  <a:cubicBezTo>
                    <a:pt x="32" y="21"/>
                    <a:pt x="32" y="20"/>
                    <a:pt x="32" y="19"/>
                  </a:cubicBezTo>
                  <a:cubicBezTo>
                    <a:pt x="32" y="17"/>
                    <a:pt x="30" y="16"/>
                    <a:pt x="32" y="15"/>
                  </a:cubicBezTo>
                  <a:cubicBezTo>
                    <a:pt x="31" y="15"/>
                    <a:pt x="30" y="15"/>
                    <a:pt x="29" y="15"/>
                  </a:cubicBezTo>
                  <a:cubicBezTo>
                    <a:pt x="27" y="15"/>
                    <a:pt x="25" y="15"/>
                    <a:pt x="24" y="15"/>
                  </a:cubicBezTo>
                  <a:cubicBezTo>
                    <a:pt x="22" y="16"/>
                    <a:pt x="20" y="18"/>
                    <a:pt x="19" y="19"/>
                  </a:cubicBezTo>
                  <a:cubicBezTo>
                    <a:pt x="17" y="21"/>
                    <a:pt x="17" y="21"/>
                    <a:pt x="17" y="21"/>
                  </a:cubicBezTo>
                  <a:cubicBezTo>
                    <a:pt x="17" y="23"/>
                    <a:pt x="20" y="23"/>
                    <a:pt x="19" y="24"/>
                  </a:cubicBezTo>
                  <a:cubicBezTo>
                    <a:pt x="17" y="26"/>
                    <a:pt x="15" y="24"/>
                    <a:pt x="14" y="27"/>
                  </a:cubicBezTo>
                  <a:cubicBezTo>
                    <a:pt x="13" y="28"/>
                    <a:pt x="14" y="31"/>
                    <a:pt x="12" y="32"/>
                  </a:cubicBezTo>
                  <a:cubicBezTo>
                    <a:pt x="11" y="32"/>
                    <a:pt x="11" y="32"/>
                    <a:pt x="10" y="32"/>
                  </a:cubicBezTo>
                  <a:cubicBezTo>
                    <a:pt x="8" y="32"/>
                    <a:pt x="7" y="31"/>
                    <a:pt x="7" y="29"/>
                  </a:cubicBezTo>
                  <a:cubicBezTo>
                    <a:pt x="7" y="27"/>
                    <a:pt x="9" y="26"/>
                    <a:pt x="10" y="24"/>
                  </a:cubicBezTo>
                  <a:cubicBezTo>
                    <a:pt x="11" y="24"/>
                    <a:pt x="11" y="24"/>
                    <a:pt x="11" y="24"/>
                  </a:cubicBezTo>
                  <a:cubicBezTo>
                    <a:pt x="11" y="24"/>
                    <a:pt x="11" y="24"/>
                    <a:pt x="11" y="24"/>
                  </a:cubicBezTo>
                  <a:cubicBezTo>
                    <a:pt x="11" y="24"/>
                    <a:pt x="11" y="24"/>
                    <a:pt x="12" y="24"/>
                  </a:cubicBezTo>
                  <a:cubicBezTo>
                    <a:pt x="12" y="24"/>
                    <a:pt x="12" y="24"/>
                    <a:pt x="12" y="24"/>
                  </a:cubicBezTo>
                  <a:cubicBezTo>
                    <a:pt x="12" y="24"/>
                    <a:pt x="12" y="23"/>
                    <a:pt x="13" y="23"/>
                  </a:cubicBezTo>
                  <a:cubicBezTo>
                    <a:pt x="13" y="22"/>
                    <a:pt x="14" y="21"/>
                    <a:pt x="14" y="21"/>
                  </a:cubicBezTo>
                  <a:cubicBezTo>
                    <a:pt x="16" y="17"/>
                    <a:pt x="15" y="13"/>
                    <a:pt x="13" y="9"/>
                  </a:cubicBezTo>
                  <a:cubicBezTo>
                    <a:pt x="12" y="6"/>
                    <a:pt x="12" y="7"/>
                    <a:pt x="13" y="4"/>
                  </a:cubicBezTo>
                  <a:cubicBezTo>
                    <a:pt x="14" y="3"/>
                    <a:pt x="16" y="1"/>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1227"/>
            <p:cNvSpPr/>
            <p:nvPr/>
          </p:nvSpPr>
          <p:spPr bwMode="auto">
            <a:xfrm>
              <a:off x="3520946" y="5484789"/>
              <a:ext cx="16108" cy="5369"/>
            </a:xfrm>
            <a:custGeom>
              <a:gdLst>
                <a:gd name="T0" fmla="*/ 0 w 5"/>
                <a:gd name="T1" fmla="*/ 0 h 2"/>
                <a:gd name="T2" fmla="*/ 5 w 5"/>
                <a:gd name="T3" fmla="*/ 2 h 2"/>
                <a:gd name="T4" fmla="*/ 0 w 5"/>
                <a:gd name="T5" fmla="*/ 0 h 2"/>
              </a:gdLst>
              <a:cxnLst>
                <a:cxn ang="0">
                  <a:pos x="T0" y="T1"/>
                </a:cxn>
                <a:cxn ang="0">
                  <a:pos x="T2" y="T3"/>
                </a:cxn>
                <a:cxn ang="0">
                  <a:pos x="T4" y="T5"/>
                </a:cxn>
              </a:cxnLst>
              <a:rect l="0" t="0" r="r" b="b"/>
              <a:pathLst>
                <a:path w="5" h="2">
                  <a:moveTo>
                    <a:pt x="0" y="0"/>
                  </a:moveTo>
                  <a:cubicBezTo>
                    <a:pt x="1" y="2"/>
                    <a:pt x="3" y="2"/>
                    <a:pt x="5" y="2"/>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1228"/>
            <p:cNvSpPr/>
            <p:nvPr/>
          </p:nvSpPr>
          <p:spPr bwMode="auto">
            <a:xfrm>
              <a:off x="5298199" y="5329078"/>
              <a:ext cx="6712" cy="25504"/>
            </a:xfrm>
            <a:custGeom>
              <a:gdLst>
                <a:gd name="T0" fmla="*/ 0 w 2"/>
                <a:gd name="T1" fmla="*/ 0 h 8"/>
                <a:gd name="T2" fmla="*/ 2 w 2"/>
                <a:gd name="T3" fmla="*/ 8 h 8"/>
                <a:gd name="T4" fmla="*/ 2 w 2"/>
                <a:gd name="T5" fmla="*/ 2 h 8"/>
                <a:gd name="T6" fmla="*/ 0 w 2"/>
                <a:gd name="T7" fmla="*/ 0 h 8"/>
              </a:gdLst>
              <a:cxnLst>
                <a:cxn ang="0">
                  <a:pos x="T0" y="T1"/>
                </a:cxn>
                <a:cxn ang="0">
                  <a:pos x="T2" y="T3"/>
                </a:cxn>
                <a:cxn ang="0">
                  <a:pos x="T4" y="T5"/>
                </a:cxn>
                <a:cxn ang="0">
                  <a:pos x="T6" y="T7"/>
                </a:cxn>
              </a:cxnLst>
              <a:rect l="0" t="0" r="r" b="b"/>
              <a:pathLst>
                <a:path w="2" h="8">
                  <a:moveTo>
                    <a:pt x="0" y="0"/>
                  </a:moveTo>
                  <a:cubicBezTo>
                    <a:pt x="0" y="2"/>
                    <a:pt x="0" y="7"/>
                    <a:pt x="2" y="8"/>
                  </a:cubicBezTo>
                  <a:cubicBezTo>
                    <a:pt x="2" y="6"/>
                    <a:pt x="2" y="4"/>
                    <a:pt x="2"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1229"/>
            <p:cNvSpPr/>
            <p:nvPr/>
          </p:nvSpPr>
          <p:spPr bwMode="auto">
            <a:xfrm>
              <a:off x="2753130" y="4980071"/>
              <a:ext cx="55036" cy="63090"/>
            </a:xfrm>
            <a:custGeom>
              <a:gdLst>
                <a:gd name="T0" fmla="*/ 7 w 17"/>
                <a:gd name="T1" fmla="*/ 0 h 20"/>
                <a:gd name="T2" fmla="*/ 2 w 17"/>
                <a:gd name="T3" fmla="*/ 2 h 20"/>
                <a:gd name="T4" fmla="*/ 4 w 17"/>
                <a:gd name="T5" fmla="*/ 12 h 20"/>
                <a:gd name="T6" fmla="*/ 13 w 17"/>
                <a:gd name="T7" fmla="*/ 20 h 20"/>
                <a:gd name="T8" fmla="*/ 15 w 17"/>
                <a:gd name="T9" fmla="*/ 12 h 20"/>
                <a:gd name="T10" fmla="*/ 9 w 17"/>
                <a:gd name="T11" fmla="*/ 1 h 20"/>
                <a:gd name="T12" fmla="*/ 7 w 17"/>
                <a:gd name="T13" fmla="*/ 0 h 20"/>
              </a:gdLst>
              <a:cxnLst>
                <a:cxn ang="0">
                  <a:pos x="T0" y="T1"/>
                </a:cxn>
                <a:cxn ang="0">
                  <a:pos x="T2" y="T3"/>
                </a:cxn>
                <a:cxn ang="0">
                  <a:pos x="T4" y="T5"/>
                </a:cxn>
                <a:cxn ang="0">
                  <a:pos x="T6" y="T7"/>
                </a:cxn>
                <a:cxn ang="0">
                  <a:pos x="T8" y="T9"/>
                </a:cxn>
                <a:cxn ang="0">
                  <a:pos x="T10" y="T11"/>
                </a:cxn>
                <a:cxn ang="0">
                  <a:pos x="T12" y="T13"/>
                </a:cxn>
              </a:cxnLst>
              <a:rect l="0" t="0" r="r" b="b"/>
              <a:pathLst>
                <a:path w="17" h="20">
                  <a:moveTo>
                    <a:pt x="7" y="0"/>
                  </a:moveTo>
                  <a:cubicBezTo>
                    <a:pt x="5" y="0"/>
                    <a:pt x="3" y="1"/>
                    <a:pt x="2" y="2"/>
                  </a:cubicBezTo>
                  <a:cubicBezTo>
                    <a:pt x="0" y="6"/>
                    <a:pt x="2" y="9"/>
                    <a:pt x="4" y="12"/>
                  </a:cubicBezTo>
                  <a:cubicBezTo>
                    <a:pt x="7" y="16"/>
                    <a:pt x="8" y="19"/>
                    <a:pt x="13" y="20"/>
                  </a:cubicBezTo>
                  <a:cubicBezTo>
                    <a:pt x="17" y="16"/>
                    <a:pt x="17" y="17"/>
                    <a:pt x="15" y="12"/>
                  </a:cubicBezTo>
                  <a:cubicBezTo>
                    <a:pt x="13" y="8"/>
                    <a:pt x="11" y="4"/>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1230"/>
            <p:cNvSpPr/>
            <p:nvPr/>
          </p:nvSpPr>
          <p:spPr bwMode="auto">
            <a:xfrm>
              <a:off x="4788111" y="5478078"/>
              <a:ext cx="81882" cy="30874"/>
            </a:xfrm>
            <a:custGeom>
              <a:gdLst>
                <a:gd name="T0" fmla="*/ 18 w 26"/>
                <a:gd name="T1" fmla="*/ 0 h 10"/>
                <a:gd name="T2" fmla="*/ 17 w 26"/>
                <a:gd name="T3" fmla="*/ 0 h 10"/>
                <a:gd name="T4" fmla="*/ 14 w 26"/>
                <a:gd name="T5" fmla="*/ 1 h 10"/>
                <a:gd name="T6" fmla="*/ 8 w 26"/>
                <a:gd name="T7" fmla="*/ 3 h 10"/>
                <a:gd name="T8" fmla="*/ 8 w 26"/>
                <a:gd name="T9" fmla="*/ 3 h 10"/>
                <a:gd name="T10" fmla="*/ 5 w 26"/>
                <a:gd name="T11" fmla="*/ 2 h 10"/>
                <a:gd name="T12" fmla="*/ 3 w 26"/>
                <a:gd name="T13" fmla="*/ 3 h 10"/>
                <a:gd name="T14" fmla="*/ 0 w 26"/>
                <a:gd name="T15" fmla="*/ 10 h 10"/>
                <a:gd name="T16" fmla="*/ 8 w 26"/>
                <a:gd name="T17" fmla="*/ 7 h 10"/>
                <a:gd name="T18" fmla="*/ 11 w 26"/>
                <a:gd name="T19" fmla="*/ 8 h 10"/>
                <a:gd name="T20" fmla="*/ 14 w 26"/>
                <a:gd name="T21" fmla="*/ 8 h 10"/>
                <a:gd name="T22" fmla="*/ 22 w 26"/>
                <a:gd name="T23" fmla="*/ 5 h 10"/>
                <a:gd name="T24" fmla="*/ 20 w 26"/>
                <a:gd name="T25" fmla="*/ 0 h 10"/>
                <a:gd name="T26" fmla="*/ 18 w 26"/>
                <a:gd name="T2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10">
                  <a:moveTo>
                    <a:pt x="18" y="0"/>
                  </a:moveTo>
                  <a:cubicBezTo>
                    <a:pt x="18" y="0"/>
                    <a:pt x="17" y="0"/>
                    <a:pt x="17" y="0"/>
                  </a:cubicBezTo>
                  <a:cubicBezTo>
                    <a:pt x="16" y="0"/>
                    <a:pt x="15" y="1"/>
                    <a:pt x="14" y="1"/>
                  </a:cubicBezTo>
                  <a:cubicBezTo>
                    <a:pt x="12" y="2"/>
                    <a:pt x="11" y="3"/>
                    <a:pt x="8" y="3"/>
                  </a:cubicBezTo>
                  <a:cubicBezTo>
                    <a:pt x="8" y="3"/>
                    <a:pt x="8" y="3"/>
                    <a:pt x="8" y="3"/>
                  </a:cubicBezTo>
                  <a:cubicBezTo>
                    <a:pt x="6" y="3"/>
                    <a:pt x="6" y="2"/>
                    <a:pt x="5" y="2"/>
                  </a:cubicBezTo>
                  <a:cubicBezTo>
                    <a:pt x="4" y="2"/>
                    <a:pt x="4" y="2"/>
                    <a:pt x="3" y="3"/>
                  </a:cubicBezTo>
                  <a:cubicBezTo>
                    <a:pt x="0" y="6"/>
                    <a:pt x="1" y="7"/>
                    <a:pt x="0" y="10"/>
                  </a:cubicBezTo>
                  <a:cubicBezTo>
                    <a:pt x="3" y="8"/>
                    <a:pt x="5" y="7"/>
                    <a:pt x="8" y="7"/>
                  </a:cubicBezTo>
                  <a:cubicBezTo>
                    <a:pt x="9" y="7"/>
                    <a:pt x="10" y="7"/>
                    <a:pt x="11" y="8"/>
                  </a:cubicBezTo>
                  <a:cubicBezTo>
                    <a:pt x="12" y="8"/>
                    <a:pt x="13" y="8"/>
                    <a:pt x="14" y="8"/>
                  </a:cubicBezTo>
                  <a:cubicBezTo>
                    <a:pt x="17" y="8"/>
                    <a:pt x="18" y="7"/>
                    <a:pt x="22" y="5"/>
                  </a:cubicBezTo>
                  <a:cubicBezTo>
                    <a:pt x="26" y="2"/>
                    <a:pt x="23" y="2"/>
                    <a:pt x="20" y="0"/>
                  </a:cubicBezTo>
                  <a:cubicBezTo>
                    <a:pt x="19" y="0"/>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1231"/>
            <p:cNvSpPr/>
            <p:nvPr/>
          </p:nvSpPr>
          <p:spPr bwMode="auto">
            <a:xfrm>
              <a:off x="5184100" y="5443177"/>
              <a:ext cx="46982" cy="65775"/>
            </a:xfrm>
            <a:custGeom>
              <a:gdLst>
                <a:gd name="T0" fmla="*/ 12 w 15"/>
                <a:gd name="T1" fmla="*/ 0 h 21"/>
                <a:gd name="T2" fmla="*/ 3 w 15"/>
                <a:gd name="T3" fmla="*/ 10 h 21"/>
                <a:gd name="T4" fmla="*/ 1 w 15"/>
                <a:gd name="T5" fmla="*/ 14 h 21"/>
                <a:gd name="T6" fmla="*/ 0 w 15"/>
                <a:gd name="T7" fmla="*/ 14 h 21"/>
                <a:gd name="T8" fmla="*/ 0 w 15"/>
                <a:gd name="T9" fmla="*/ 14 h 21"/>
                <a:gd name="T10" fmla="*/ 0 w 15"/>
                <a:gd name="T11" fmla="*/ 19 h 21"/>
                <a:gd name="T12" fmla="*/ 1 w 15"/>
                <a:gd name="T13" fmla="*/ 21 h 21"/>
                <a:gd name="T14" fmla="*/ 3 w 15"/>
                <a:gd name="T15" fmla="*/ 21 h 21"/>
                <a:gd name="T16" fmla="*/ 5 w 15"/>
                <a:gd name="T17" fmla="*/ 21 h 21"/>
                <a:gd name="T18" fmla="*/ 6 w 15"/>
                <a:gd name="T19" fmla="*/ 18 h 21"/>
                <a:gd name="T20" fmla="*/ 8 w 15"/>
                <a:gd name="T21" fmla="*/ 16 h 21"/>
                <a:gd name="T22" fmla="*/ 12 w 15"/>
                <a:gd name="T23" fmla="*/ 12 h 21"/>
                <a:gd name="T24" fmla="*/ 14 w 15"/>
                <a:gd name="T25" fmla="*/ 7 h 21"/>
                <a:gd name="T26" fmla="*/ 15 w 15"/>
                <a:gd name="T27" fmla="*/ 2 h 21"/>
                <a:gd name="T28" fmla="*/ 12 w 15"/>
                <a:gd name="T29"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1">
                  <a:moveTo>
                    <a:pt x="12" y="0"/>
                  </a:moveTo>
                  <a:cubicBezTo>
                    <a:pt x="10" y="2"/>
                    <a:pt x="4" y="6"/>
                    <a:pt x="3" y="10"/>
                  </a:cubicBezTo>
                  <a:cubicBezTo>
                    <a:pt x="2" y="11"/>
                    <a:pt x="3" y="14"/>
                    <a:pt x="1" y="14"/>
                  </a:cubicBezTo>
                  <a:cubicBezTo>
                    <a:pt x="0" y="14"/>
                    <a:pt x="0" y="14"/>
                    <a:pt x="0" y="14"/>
                  </a:cubicBezTo>
                  <a:cubicBezTo>
                    <a:pt x="0" y="14"/>
                    <a:pt x="0" y="14"/>
                    <a:pt x="0" y="14"/>
                  </a:cubicBezTo>
                  <a:cubicBezTo>
                    <a:pt x="0" y="19"/>
                    <a:pt x="0" y="19"/>
                    <a:pt x="0" y="19"/>
                  </a:cubicBezTo>
                  <a:cubicBezTo>
                    <a:pt x="1" y="21"/>
                    <a:pt x="0" y="20"/>
                    <a:pt x="1" y="21"/>
                  </a:cubicBezTo>
                  <a:cubicBezTo>
                    <a:pt x="2" y="21"/>
                    <a:pt x="2" y="21"/>
                    <a:pt x="3" y="21"/>
                  </a:cubicBezTo>
                  <a:cubicBezTo>
                    <a:pt x="4" y="21"/>
                    <a:pt x="5" y="21"/>
                    <a:pt x="5" y="21"/>
                  </a:cubicBezTo>
                  <a:cubicBezTo>
                    <a:pt x="6" y="18"/>
                    <a:pt x="6" y="18"/>
                    <a:pt x="6" y="18"/>
                  </a:cubicBezTo>
                  <a:cubicBezTo>
                    <a:pt x="7" y="18"/>
                    <a:pt x="7" y="17"/>
                    <a:pt x="8" y="16"/>
                  </a:cubicBezTo>
                  <a:cubicBezTo>
                    <a:pt x="9" y="15"/>
                    <a:pt x="10" y="14"/>
                    <a:pt x="12" y="12"/>
                  </a:cubicBezTo>
                  <a:cubicBezTo>
                    <a:pt x="13" y="11"/>
                    <a:pt x="13" y="8"/>
                    <a:pt x="14" y="7"/>
                  </a:cubicBezTo>
                  <a:cubicBezTo>
                    <a:pt x="12" y="6"/>
                    <a:pt x="12" y="3"/>
                    <a:pt x="15" y="2"/>
                  </a:cubicBezTo>
                  <a:cubicBezTo>
                    <a:pt x="14" y="1"/>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Freeform 1232"/>
            <p:cNvSpPr/>
            <p:nvPr/>
          </p:nvSpPr>
          <p:spPr bwMode="auto">
            <a:xfrm>
              <a:off x="5510288" y="5029737"/>
              <a:ext cx="104702" cy="22820"/>
            </a:xfrm>
            <a:custGeom>
              <a:gdLst>
                <a:gd name="T0" fmla="*/ 0 w 33"/>
                <a:gd name="T1" fmla="*/ 0 h 7"/>
                <a:gd name="T2" fmla="*/ 23 w 33"/>
                <a:gd name="T3" fmla="*/ 7 h 7"/>
                <a:gd name="T4" fmla="*/ 25 w 33"/>
                <a:gd name="T5" fmla="*/ 6 h 7"/>
                <a:gd name="T6" fmla="*/ 26 w 33"/>
                <a:gd name="T7" fmla="*/ 6 h 7"/>
                <a:gd name="T8" fmla="*/ 33 w 33"/>
                <a:gd name="T9" fmla="*/ 4 h 7"/>
                <a:gd name="T10" fmla="*/ 30 w 33"/>
                <a:gd name="T11" fmla="*/ 3 h 7"/>
                <a:gd name="T12" fmla="*/ 23 w 33"/>
                <a:gd name="T13" fmla="*/ 3 h 7"/>
                <a:gd name="T14" fmla="*/ 16 w 33"/>
                <a:gd name="T15" fmla="*/ 1 h 7"/>
                <a:gd name="T16" fmla="*/ 0 w 33"/>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7">
                  <a:moveTo>
                    <a:pt x="0" y="0"/>
                  </a:moveTo>
                  <a:cubicBezTo>
                    <a:pt x="1" y="0"/>
                    <a:pt x="17" y="7"/>
                    <a:pt x="23" y="7"/>
                  </a:cubicBezTo>
                  <a:cubicBezTo>
                    <a:pt x="24" y="7"/>
                    <a:pt x="24" y="7"/>
                    <a:pt x="25" y="6"/>
                  </a:cubicBezTo>
                  <a:cubicBezTo>
                    <a:pt x="25" y="6"/>
                    <a:pt x="25" y="6"/>
                    <a:pt x="26" y="6"/>
                  </a:cubicBezTo>
                  <a:cubicBezTo>
                    <a:pt x="28" y="6"/>
                    <a:pt x="31" y="5"/>
                    <a:pt x="33" y="4"/>
                  </a:cubicBezTo>
                  <a:cubicBezTo>
                    <a:pt x="32" y="3"/>
                    <a:pt x="31" y="3"/>
                    <a:pt x="30" y="3"/>
                  </a:cubicBezTo>
                  <a:cubicBezTo>
                    <a:pt x="27" y="3"/>
                    <a:pt x="25" y="3"/>
                    <a:pt x="23" y="3"/>
                  </a:cubicBezTo>
                  <a:cubicBezTo>
                    <a:pt x="20" y="2"/>
                    <a:pt x="19" y="1"/>
                    <a:pt x="16" y="1"/>
                  </a:cubicBezTo>
                  <a:cubicBezTo>
                    <a:pt x="11" y="0"/>
                    <a:pt x="6"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Freeform 1233"/>
            <p:cNvSpPr/>
            <p:nvPr/>
          </p:nvSpPr>
          <p:spPr bwMode="auto">
            <a:xfrm>
              <a:off x="4488770" y="5290151"/>
              <a:ext cx="13423" cy="29531"/>
            </a:xfrm>
            <a:custGeom>
              <a:gdLst>
                <a:gd name="T0" fmla="*/ 3 w 4"/>
                <a:gd name="T1" fmla="*/ 0 h 9"/>
                <a:gd name="T2" fmla="*/ 0 w 4"/>
                <a:gd name="T3" fmla="*/ 4 h 9"/>
                <a:gd name="T4" fmla="*/ 4 w 4"/>
                <a:gd name="T5" fmla="*/ 9 h 9"/>
                <a:gd name="T6" fmla="*/ 4 w 4"/>
                <a:gd name="T7" fmla="*/ 0 h 9"/>
                <a:gd name="T8" fmla="*/ 3 w 4"/>
                <a:gd name="T9" fmla="*/ 0 h 9"/>
              </a:gdLst>
              <a:cxnLst>
                <a:cxn ang="0">
                  <a:pos x="T0" y="T1"/>
                </a:cxn>
                <a:cxn ang="0">
                  <a:pos x="T2" y="T3"/>
                </a:cxn>
                <a:cxn ang="0">
                  <a:pos x="T4" y="T5"/>
                </a:cxn>
                <a:cxn ang="0">
                  <a:pos x="T6" y="T7"/>
                </a:cxn>
                <a:cxn ang="0">
                  <a:pos x="T8" y="T9"/>
                </a:cxn>
              </a:cxnLst>
              <a:rect l="0" t="0" r="r" b="b"/>
              <a:pathLst>
                <a:path w="4" h="9">
                  <a:moveTo>
                    <a:pt x="3" y="0"/>
                  </a:moveTo>
                  <a:cubicBezTo>
                    <a:pt x="1" y="0"/>
                    <a:pt x="0" y="2"/>
                    <a:pt x="0" y="4"/>
                  </a:cubicBezTo>
                  <a:cubicBezTo>
                    <a:pt x="0" y="6"/>
                    <a:pt x="3" y="7"/>
                    <a:pt x="4" y="9"/>
                  </a:cubicBezTo>
                  <a:cubicBezTo>
                    <a:pt x="4" y="6"/>
                    <a:pt x="4" y="3"/>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1234"/>
            <p:cNvSpPr/>
            <p:nvPr/>
          </p:nvSpPr>
          <p:spPr bwMode="auto">
            <a:xfrm>
              <a:off x="4264600" y="4780063"/>
              <a:ext cx="481898" cy="554385"/>
            </a:xfrm>
            <a:custGeom>
              <a:gdLst>
                <a:gd name="T0" fmla="*/ 136 w 152"/>
                <a:gd name="T1" fmla="*/ 9 h 175"/>
                <a:gd name="T2" fmla="*/ 121 w 152"/>
                <a:gd name="T3" fmla="*/ 21 h 175"/>
                <a:gd name="T4" fmla="*/ 97 w 152"/>
                <a:gd name="T5" fmla="*/ 21 h 175"/>
                <a:gd name="T6" fmla="*/ 73 w 152"/>
                <a:gd name="T7" fmla="*/ 16 h 175"/>
                <a:gd name="T8" fmla="*/ 68 w 152"/>
                <a:gd name="T9" fmla="*/ 16 h 175"/>
                <a:gd name="T10" fmla="*/ 60 w 152"/>
                <a:gd name="T11" fmla="*/ 11 h 175"/>
                <a:gd name="T12" fmla="*/ 47 w 152"/>
                <a:gd name="T13" fmla="*/ 15 h 175"/>
                <a:gd name="T14" fmla="*/ 39 w 152"/>
                <a:gd name="T15" fmla="*/ 22 h 175"/>
                <a:gd name="T16" fmla="*/ 36 w 152"/>
                <a:gd name="T17" fmla="*/ 18 h 175"/>
                <a:gd name="T18" fmla="*/ 29 w 152"/>
                <a:gd name="T19" fmla="*/ 25 h 175"/>
                <a:gd name="T20" fmla="*/ 22 w 152"/>
                <a:gd name="T21" fmla="*/ 41 h 175"/>
                <a:gd name="T22" fmla="*/ 24 w 152"/>
                <a:gd name="T23" fmla="*/ 46 h 175"/>
                <a:gd name="T24" fmla="*/ 14 w 152"/>
                <a:gd name="T25" fmla="*/ 68 h 175"/>
                <a:gd name="T26" fmla="*/ 2 w 152"/>
                <a:gd name="T27" fmla="*/ 104 h 175"/>
                <a:gd name="T28" fmla="*/ 1 w 152"/>
                <a:gd name="T29" fmla="*/ 108 h 175"/>
                <a:gd name="T30" fmla="*/ 6 w 152"/>
                <a:gd name="T31" fmla="*/ 124 h 175"/>
                <a:gd name="T32" fmla="*/ 19 w 152"/>
                <a:gd name="T33" fmla="*/ 133 h 175"/>
                <a:gd name="T34" fmla="*/ 15 w 152"/>
                <a:gd name="T35" fmla="*/ 173 h 175"/>
                <a:gd name="T36" fmla="*/ 21 w 152"/>
                <a:gd name="T37" fmla="*/ 175 h 175"/>
                <a:gd name="T38" fmla="*/ 35 w 152"/>
                <a:gd name="T39" fmla="*/ 171 h 175"/>
                <a:gd name="T40" fmla="*/ 39 w 152"/>
                <a:gd name="T41" fmla="*/ 149 h 175"/>
                <a:gd name="T42" fmla="*/ 35 w 152"/>
                <a:gd name="T43" fmla="*/ 112 h 175"/>
                <a:gd name="T44" fmla="*/ 50 w 152"/>
                <a:gd name="T45" fmla="*/ 103 h 175"/>
                <a:gd name="T46" fmla="*/ 50 w 152"/>
                <a:gd name="T47" fmla="*/ 125 h 175"/>
                <a:gd name="T48" fmla="*/ 57 w 152"/>
                <a:gd name="T49" fmla="*/ 131 h 175"/>
                <a:gd name="T50" fmla="*/ 62 w 152"/>
                <a:gd name="T51" fmla="*/ 135 h 175"/>
                <a:gd name="T52" fmla="*/ 64 w 152"/>
                <a:gd name="T53" fmla="*/ 149 h 175"/>
                <a:gd name="T54" fmla="*/ 76 w 152"/>
                <a:gd name="T55" fmla="*/ 155 h 175"/>
                <a:gd name="T56" fmla="*/ 89 w 152"/>
                <a:gd name="T57" fmla="*/ 145 h 175"/>
                <a:gd name="T58" fmla="*/ 95 w 152"/>
                <a:gd name="T59" fmla="*/ 138 h 175"/>
                <a:gd name="T60" fmla="*/ 88 w 152"/>
                <a:gd name="T61" fmla="*/ 135 h 175"/>
                <a:gd name="T62" fmla="*/ 85 w 152"/>
                <a:gd name="T63" fmla="*/ 129 h 175"/>
                <a:gd name="T64" fmla="*/ 84 w 152"/>
                <a:gd name="T65" fmla="*/ 129 h 175"/>
                <a:gd name="T66" fmla="*/ 85 w 152"/>
                <a:gd name="T67" fmla="*/ 117 h 175"/>
                <a:gd name="T68" fmla="*/ 76 w 152"/>
                <a:gd name="T69" fmla="*/ 104 h 175"/>
                <a:gd name="T70" fmla="*/ 67 w 152"/>
                <a:gd name="T71" fmla="*/ 92 h 175"/>
                <a:gd name="T72" fmla="*/ 64 w 152"/>
                <a:gd name="T73" fmla="*/ 89 h 175"/>
                <a:gd name="T74" fmla="*/ 60 w 152"/>
                <a:gd name="T75" fmla="*/ 85 h 175"/>
                <a:gd name="T76" fmla="*/ 91 w 152"/>
                <a:gd name="T77" fmla="*/ 69 h 175"/>
                <a:gd name="T78" fmla="*/ 101 w 152"/>
                <a:gd name="T79" fmla="*/ 61 h 175"/>
                <a:gd name="T80" fmla="*/ 103 w 152"/>
                <a:gd name="T81" fmla="*/ 54 h 175"/>
                <a:gd name="T82" fmla="*/ 93 w 152"/>
                <a:gd name="T83" fmla="*/ 59 h 175"/>
                <a:gd name="T84" fmla="*/ 81 w 152"/>
                <a:gd name="T85" fmla="*/ 59 h 175"/>
                <a:gd name="T86" fmla="*/ 67 w 152"/>
                <a:gd name="T87" fmla="*/ 61 h 175"/>
                <a:gd name="T88" fmla="*/ 61 w 152"/>
                <a:gd name="T89" fmla="*/ 64 h 175"/>
                <a:gd name="T90" fmla="*/ 53 w 152"/>
                <a:gd name="T91" fmla="*/ 74 h 175"/>
                <a:gd name="T92" fmla="*/ 44 w 152"/>
                <a:gd name="T93" fmla="*/ 74 h 175"/>
                <a:gd name="T94" fmla="*/ 37 w 152"/>
                <a:gd name="T95" fmla="*/ 62 h 175"/>
                <a:gd name="T96" fmla="*/ 36 w 152"/>
                <a:gd name="T97" fmla="*/ 63 h 175"/>
                <a:gd name="T98" fmla="*/ 28 w 152"/>
                <a:gd name="T99" fmla="*/ 46 h 175"/>
                <a:gd name="T100" fmla="*/ 52 w 152"/>
                <a:gd name="T101" fmla="*/ 29 h 175"/>
                <a:gd name="T102" fmla="*/ 78 w 152"/>
                <a:gd name="T103" fmla="*/ 30 h 175"/>
                <a:gd name="T104" fmla="*/ 86 w 152"/>
                <a:gd name="T105" fmla="*/ 29 h 175"/>
                <a:gd name="T106" fmla="*/ 110 w 152"/>
                <a:gd name="T107" fmla="*/ 34 h 175"/>
                <a:gd name="T108" fmla="*/ 129 w 152"/>
                <a:gd name="T109" fmla="*/ 32 h 175"/>
                <a:gd name="T110" fmla="*/ 149 w 152"/>
                <a:gd name="T111" fmla="*/ 8 h 1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75">
                  <a:moveTo>
                    <a:pt x="147" y="0"/>
                  </a:moveTo>
                  <a:cubicBezTo>
                    <a:pt x="145" y="0"/>
                    <a:pt x="143" y="3"/>
                    <a:pt x="142" y="4"/>
                  </a:cubicBezTo>
                  <a:cubicBezTo>
                    <a:pt x="140" y="7"/>
                    <a:pt x="140" y="7"/>
                    <a:pt x="136" y="9"/>
                  </a:cubicBezTo>
                  <a:cubicBezTo>
                    <a:pt x="137" y="12"/>
                    <a:pt x="138" y="11"/>
                    <a:pt x="135" y="14"/>
                  </a:cubicBezTo>
                  <a:cubicBezTo>
                    <a:pt x="133" y="16"/>
                    <a:pt x="129" y="17"/>
                    <a:pt x="127" y="18"/>
                  </a:cubicBezTo>
                  <a:cubicBezTo>
                    <a:pt x="125" y="19"/>
                    <a:pt x="122" y="20"/>
                    <a:pt x="121" y="21"/>
                  </a:cubicBezTo>
                  <a:cubicBezTo>
                    <a:pt x="117" y="21"/>
                    <a:pt x="113" y="21"/>
                    <a:pt x="108" y="20"/>
                  </a:cubicBezTo>
                  <a:cubicBezTo>
                    <a:pt x="107" y="20"/>
                    <a:pt x="105" y="20"/>
                    <a:pt x="104" y="20"/>
                  </a:cubicBezTo>
                  <a:cubicBezTo>
                    <a:pt x="102" y="20"/>
                    <a:pt x="100" y="20"/>
                    <a:pt x="97" y="21"/>
                  </a:cubicBezTo>
                  <a:cubicBezTo>
                    <a:pt x="97" y="21"/>
                    <a:pt x="96" y="21"/>
                    <a:pt x="95" y="21"/>
                  </a:cubicBezTo>
                  <a:cubicBezTo>
                    <a:pt x="90" y="21"/>
                    <a:pt x="85" y="18"/>
                    <a:pt x="80" y="17"/>
                  </a:cubicBezTo>
                  <a:cubicBezTo>
                    <a:pt x="78" y="16"/>
                    <a:pt x="76" y="16"/>
                    <a:pt x="73" y="16"/>
                  </a:cubicBezTo>
                  <a:cubicBezTo>
                    <a:pt x="72" y="16"/>
                    <a:pt x="72" y="16"/>
                    <a:pt x="71" y="16"/>
                  </a:cubicBezTo>
                  <a:cubicBezTo>
                    <a:pt x="70" y="16"/>
                    <a:pt x="69" y="16"/>
                    <a:pt x="69" y="16"/>
                  </a:cubicBezTo>
                  <a:cubicBezTo>
                    <a:pt x="69" y="16"/>
                    <a:pt x="68" y="16"/>
                    <a:pt x="68" y="16"/>
                  </a:cubicBezTo>
                  <a:cubicBezTo>
                    <a:pt x="64" y="16"/>
                    <a:pt x="65" y="13"/>
                    <a:pt x="63" y="12"/>
                  </a:cubicBezTo>
                  <a:cubicBezTo>
                    <a:pt x="62" y="11"/>
                    <a:pt x="62" y="11"/>
                    <a:pt x="61" y="11"/>
                  </a:cubicBezTo>
                  <a:cubicBezTo>
                    <a:pt x="61" y="11"/>
                    <a:pt x="61" y="11"/>
                    <a:pt x="60" y="11"/>
                  </a:cubicBezTo>
                  <a:cubicBezTo>
                    <a:pt x="59" y="11"/>
                    <a:pt x="58" y="11"/>
                    <a:pt x="57" y="11"/>
                  </a:cubicBezTo>
                  <a:cubicBezTo>
                    <a:pt x="54" y="11"/>
                    <a:pt x="51" y="10"/>
                    <a:pt x="48" y="10"/>
                  </a:cubicBezTo>
                  <a:cubicBezTo>
                    <a:pt x="48" y="12"/>
                    <a:pt x="48" y="14"/>
                    <a:pt x="47" y="15"/>
                  </a:cubicBezTo>
                  <a:cubicBezTo>
                    <a:pt x="47" y="17"/>
                    <a:pt x="45" y="18"/>
                    <a:pt x="44" y="20"/>
                  </a:cubicBezTo>
                  <a:cubicBezTo>
                    <a:pt x="42" y="21"/>
                    <a:pt x="42" y="22"/>
                    <a:pt x="41" y="22"/>
                  </a:cubicBezTo>
                  <a:cubicBezTo>
                    <a:pt x="41" y="22"/>
                    <a:pt x="40" y="22"/>
                    <a:pt x="39" y="22"/>
                  </a:cubicBezTo>
                  <a:cubicBezTo>
                    <a:pt x="38" y="21"/>
                    <a:pt x="37" y="20"/>
                    <a:pt x="36" y="20"/>
                  </a:cubicBezTo>
                  <a:cubicBezTo>
                    <a:pt x="36" y="19"/>
                    <a:pt x="37" y="18"/>
                    <a:pt x="36" y="18"/>
                  </a:cubicBezTo>
                  <a:cubicBezTo>
                    <a:pt x="36" y="18"/>
                    <a:pt x="36" y="18"/>
                    <a:pt x="36" y="18"/>
                  </a:cubicBezTo>
                  <a:cubicBezTo>
                    <a:pt x="35" y="18"/>
                    <a:pt x="35" y="19"/>
                    <a:pt x="34" y="19"/>
                  </a:cubicBezTo>
                  <a:cubicBezTo>
                    <a:pt x="34" y="21"/>
                    <a:pt x="33" y="23"/>
                    <a:pt x="31" y="23"/>
                  </a:cubicBezTo>
                  <a:cubicBezTo>
                    <a:pt x="31" y="24"/>
                    <a:pt x="29" y="24"/>
                    <a:pt x="29" y="25"/>
                  </a:cubicBezTo>
                  <a:cubicBezTo>
                    <a:pt x="29" y="26"/>
                    <a:pt x="28" y="28"/>
                    <a:pt x="28" y="29"/>
                  </a:cubicBezTo>
                  <a:cubicBezTo>
                    <a:pt x="26" y="30"/>
                    <a:pt x="26" y="30"/>
                    <a:pt x="26" y="30"/>
                  </a:cubicBezTo>
                  <a:cubicBezTo>
                    <a:pt x="24" y="34"/>
                    <a:pt x="23" y="37"/>
                    <a:pt x="22" y="41"/>
                  </a:cubicBezTo>
                  <a:cubicBezTo>
                    <a:pt x="21" y="41"/>
                    <a:pt x="21" y="41"/>
                    <a:pt x="21" y="41"/>
                  </a:cubicBezTo>
                  <a:cubicBezTo>
                    <a:pt x="20" y="41"/>
                    <a:pt x="20" y="41"/>
                    <a:pt x="20" y="41"/>
                  </a:cubicBezTo>
                  <a:cubicBezTo>
                    <a:pt x="22" y="43"/>
                    <a:pt x="23" y="43"/>
                    <a:pt x="24" y="46"/>
                  </a:cubicBezTo>
                  <a:cubicBezTo>
                    <a:pt x="25" y="49"/>
                    <a:pt x="26" y="57"/>
                    <a:pt x="24" y="59"/>
                  </a:cubicBezTo>
                  <a:cubicBezTo>
                    <a:pt x="23" y="58"/>
                    <a:pt x="23" y="57"/>
                    <a:pt x="22" y="56"/>
                  </a:cubicBezTo>
                  <a:cubicBezTo>
                    <a:pt x="18" y="59"/>
                    <a:pt x="16" y="64"/>
                    <a:pt x="14" y="68"/>
                  </a:cubicBezTo>
                  <a:cubicBezTo>
                    <a:pt x="13" y="69"/>
                    <a:pt x="13" y="69"/>
                    <a:pt x="12" y="70"/>
                  </a:cubicBezTo>
                  <a:cubicBezTo>
                    <a:pt x="11" y="75"/>
                    <a:pt x="14" y="81"/>
                    <a:pt x="12" y="86"/>
                  </a:cubicBezTo>
                  <a:cubicBezTo>
                    <a:pt x="8" y="92"/>
                    <a:pt x="5" y="98"/>
                    <a:pt x="2" y="104"/>
                  </a:cubicBezTo>
                  <a:cubicBezTo>
                    <a:pt x="1" y="103"/>
                    <a:pt x="1" y="103"/>
                    <a:pt x="1" y="103"/>
                  </a:cubicBezTo>
                  <a:cubicBezTo>
                    <a:pt x="0" y="103"/>
                    <a:pt x="0" y="103"/>
                    <a:pt x="0" y="104"/>
                  </a:cubicBezTo>
                  <a:cubicBezTo>
                    <a:pt x="0" y="105"/>
                    <a:pt x="1" y="107"/>
                    <a:pt x="1" y="108"/>
                  </a:cubicBezTo>
                  <a:cubicBezTo>
                    <a:pt x="2" y="111"/>
                    <a:pt x="1" y="111"/>
                    <a:pt x="0" y="113"/>
                  </a:cubicBezTo>
                  <a:cubicBezTo>
                    <a:pt x="0" y="115"/>
                    <a:pt x="2" y="118"/>
                    <a:pt x="3" y="121"/>
                  </a:cubicBezTo>
                  <a:cubicBezTo>
                    <a:pt x="4" y="123"/>
                    <a:pt x="5" y="124"/>
                    <a:pt x="6" y="124"/>
                  </a:cubicBezTo>
                  <a:cubicBezTo>
                    <a:pt x="7" y="124"/>
                    <a:pt x="7" y="124"/>
                    <a:pt x="8" y="124"/>
                  </a:cubicBezTo>
                  <a:cubicBezTo>
                    <a:pt x="11" y="124"/>
                    <a:pt x="14" y="123"/>
                    <a:pt x="17" y="123"/>
                  </a:cubicBezTo>
                  <a:cubicBezTo>
                    <a:pt x="15" y="128"/>
                    <a:pt x="16" y="129"/>
                    <a:pt x="19" y="133"/>
                  </a:cubicBezTo>
                  <a:cubicBezTo>
                    <a:pt x="21" y="136"/>
                    <a:pt x="19" y="144"/>
                    <a:pt x="19" y="147"/>
                  </a:cubicBezTo>
                  <a:cubicBezTo>
                    <a:pt x="19" y="152"/>
                    <a:pt x="17" y="156"/>
                    <a:pt x="16" y="160"/>
                  </a:cubicBezTo>
                  <a:cubicBezTo>
                    <a:pt x="14" y="165"/>
                    <a:pt x="14" y="168"/>
                    <a:pt x="15" y="173"/>
                  </a:cubicBezTo>
                  <a:cubicBezTo>
                    <a:pt x="16" y="172"/>
                    <a:pt x="16" y="172"/>
                    <a:pt x="17" y="172"/>
                  </a:cubicBezTo>
                  <a:cubicBezTo>
                    <a:pt x="18" y="172"/>
                    <a:pt x="19" y="174"/>
                    <a:pt x="20" y="175"/>
                  </a:cubicBezTo>
                  <a:cubicBezTo>
                    <a:pt x="21" y="175"/>
                    <a:pt x="21" y="175"/>
                    <a:pt x="21" y="175"/>
                  </a:cubicBezTo>
                  <a:cubicBezTo>
                    <a:pt x="22" y="175"/>
                    <a:pt x="23" y="174"/>
                    <a:pt x="24" y="174"/>
                  </a:cubicBezTo>
                  <a:cubicBezTo>
                    <a:pt x="27" y="172"/>
                    <a:pt x="30" y="173"/>
                    <a:pt x="33" y="172"/>
                  </a:cubicBezTo>
                  <a:cubicBezTo>
                    <a:pt x="34" y="172"/>
                    <a:pt x="35" y="171"/>
                    <a:pt x="35" y="171"/>
                  </a:cubicBezTo>
                  <a:cubicBezTo>
                    <a:pt x="37" y="171"/>
                    <a:pt x="38" y="172"/>
                    <a:pt x="39" y="174"/>
                  </a:cubicBezTo>
                  <a:cubicBezTo>
                    <a:pt x="38" y="169"/>
                    <a:pt x="34" y="164"/>
                    <a:pt x="36" y="159"/>
                  </a:cubicBezTo>
                  <a:cubicBezTo>
                    <a:pt x="37" y="156"/>
                    <a:pt x="39" y="152"/>
                    <a:pt x="39" y="149"/>
                  </a:cubicBezTo>
                  <a:cubicBezTo>
                    <a:pt x="37" y="143"/>
                    <a:pt x="38" y="139"/>
                    <a:pt x="38" y="133"/>
                  </a:cubicBezTo>
                  <a:cubicBezTo>
                    <a:pt x="39" y="128"/>
                    <a:pt x="39" y="123"/>
                    <a:pt x="38" y="119"/>
                  </a:cubicBezTo>
                  <a:cubicBezTo>
                    <a:pt x="37" y="116"/>
                    <a:pt x="35" y="115"/>
                    <a:pt x="35" y="112"/>
                  </a:cubicBezTo>
                  <a:cubicBezTo>
                    <a:pt x="35" y="109"/>
                    <a:pt x="36" y="109"/>
                    <a:pt x="38" y="108"/>
                  </a:cubicBezTo>
                  <a:cubicBezTo>
                    <a:pt x="42" y="105"/>
                    <a:pt x="44" y="103"/>
                    <a:pt x="48" y="103"/>
                  </a:cubicBezTo>
                  <a:cubicBezTo>
                    <a:pt x="48" y="103"/>
                    <a:pt x="49" y="103"/>
                    <a:pt x="50" y="103"/>
                  </a:cubicBezTo>
                  <a:cubicBezTo>
                    <a:pt x="55" y="104"/>
                    <a:pt x="54" y="111"/>
                    <a:pt x="53" y="115"/>
                  </a:cubicBezTo>
                  <a:cubicBezTo>
                    <a:pt x="53" y="118"/>
                    <a:pt x="51" y="118"/>
                    <a:pt x="50" y="120"/>
                  </a:cubicBezTo>
                  <a:cubicBezTo>
                    <a:pt x="49" y="122"/>
                    <a:pt x="49" y="122"/>
                    <a:pt x="50" y="125"/>
                  </a:cubicBezTo>
                  <a:cubicBezTo>
                    <a:pt x="52" y="127"/>
                    <a:pt x="54" y="129"/>
                    <a:pt x="56" y="131"/>
                  </a:cubicBezTo>
                  <a:cubicBezTo>
                    <a:pt x="56" y="131"/>
                    <a:pt x="56" y="131"/>
                    <a:pt x="56" y="131"/>
                  </a:cubicBezTo>
                  <a:cubicBezTo>
                    <a:pt x="56" y="131"/>
                    <a:pt x="57" y="131"/>
                    <a:pt x="57" y="131"/>
                  </a:cubicBezTo>
                  <a:cubicBezTo>
                    <a:pt x="57" y="131"/>
                    <a:pt x="57" y="131"/>
                    <a:pt x="57" y="131"/>
                  </a:cubicBezTo>
                  <a:cubicBezTo>
                    <a:pt x="57" y="131"/>
                    <a:pt x="58" y="131"/>
                    <a:pt x="58" y="131"/>
                  </a:cubicBezTo>
                  <a:cubicBezTo>
                    <a:pt x="59" y="132"/>
                    <a:pt x="60" y="134"/>
                    <a:pt x="62" y="135"/>
                  </a:cubicBezTo>
                  <a:cubicBezTo>
                    <a:pt x="63" y="135"/>
                    <a:pt x="63" y="135"/>
                    <a:pt x="64" y="136"/>
                  </a:cubicBezTo>
                  <a:cubicBezTo>
                    <a:pt x="66" y="137"/>
                    <a:pt x="67" y="136"/>
                    <a:pt x="66" y="139"/>
                  </a:cubicBezTo>
                  <a:cubicBezTo>
                    <a:pt x="65" y="142"/>
                    <a:pt x="62" y="148"/>
                    <a:pt x="64" y="149"/>
                  </a:cubicBezTo>
                  <a:cubicBezTo>
                    <a:pt x="67" y="153"/>
                    <a:pt x="68" y="155"/>
                    <a:pt x="72" y="155"/>
                  </a:cubicBezTo>
                  <a:cubicBezTo>
                    <a:pt x="73" y="155"/>
                    <a:pt x="74" y="155"/>
                    <a:pt x="75" y="155"/>
                  </a:cubicBezTo>
                  <a:cubicBezTo>
                    <a:pt x="75" y="155"/>
                    <a:pt x="75" y="155"/>
                    <a:pt x="76" y="155"/>
                  </a:cubicBezTo>
                  <a:cubicBezTo>
                    <a:pt x="79" y="154"/>
                    <a:pt x="79" y="150"/>
                    <a:pt x="80" y="147"/>
                  </a:cubicBezTo>
                  <a:cubicBezTo>
                    <a:pt x="80" y="146"/>
                    <a:pt x="85" y="145"/>
                    <a:pt x="86" y="145"/>
                  </a:cubicBezTo>
                  <a:cubicBezTo>
                    <a:pt x="89" y="145"/>
                    <a:pt x="89" y="145"/>
                    <a:pt x="89" y="145"/>
                  </a:cubicBezTo>
                  <a:cubicBezTo>
                    <a:pt x="91" y="145"/>
                    <a:pt x="92" y="146"/>
                    <a:pt x="93" y="146"/>
                  </a:cubicBezTo>
                  <a:cubicBezTo>
                    <a:pt x="93" y="146"/>
                    <a:pt x="94" y="146"/>
                    <a:pt x="95" y="145"/>
                  </a:cubicBezTo>
                  <a:cubicBezTo>
                    <a:pt x="97" y="144"/>
                    <a:pt x="98" y="138"/>
                    <a:pt x="95" y="138"/>
                  </a:cubicBezTo>
                  <a:cubicBezTo>
                    <a:pt x="94" y="138"/>
                    <a:pt x="93" y="138"/>
                    <a:pt x="92" y="139"/>
                  </a:cubicBezTo>
                  <a:cubicBezTo>
                    <a:pt x="91" y="137"/>
                    <a:pt x="91" y="135"/>
                    <a:pt x="89" y="135"/>
                  </a:cubicBezTo>
                  <a:cubicBezTo>
                    <a:pt x="89" y="135"/>
                    <a:pt x="88" y="135"/>
                    <a:pt x="88" y="135"/>
                  </a:cubicBezTo>
                  <a:cubicBezTo>
                    <a:pt x="89" y="134"/>
                    <a:pt x="90" y="134"/>
                    <a:pt x="91" y="133"/>
                  </a:cubicBezTo>
                  <a:cubicBezTo>
                    <a:pt x="89" y="132"/>
                    <a:pt x="87" y="130"/>
                    <a:pt x="86" y="129"/>
                  </a:cubicBezTo>
                  <a:cubicBezTo>
                    <a:pt x="86" y="129"/>
                    <a:pt x="85" y="129"/>
                    <a:pt x="85" y="129"/>
                  </a:cubicBezTo>
                  <a:cubicBezTo>
                    <a:pt x="85" y="129"/>
                    <a:pt x="85" y="129"/>
                    <a:pt x="85" y="129"/>
                  </a:cubicBezTo>
                  <a:cubicBezTo>
                    <a:pt x="85" y="129"/>
                    <a:pt x="85" y="129"/>
                    <a:pt x="85" y="129"/>
                  </a:cubicBezTo>
                  <a:cubicBezTo>
                    <a:pt x="85" y="129"/>
                    <a:pt x="84" y="129"/>
                    <a:pt x="84" y="129"/>
                  </a:cubicBezTo>
                  <a:cubicBezTo>
                    <a:pt x="84" y="129"/>
                    <a:pt x="82" y="128"/>
                    <a:pt x="81" y="127"/>
                  </a:cubicBezTo>
                  <a:cubicBezTo>
                    <a:pt x="79" y="124"/>
                    <a:pt x="83" y="125"/>
                    <a:pt x="84" y="122"/>
                  </a:cubicBezTo>
                  <a:cubicBezTo>
                    <a:pt x="85" y="120"/>
                    <a:pt x="82" y="118"/>
                    <a:pt x="85" y="117"/>
                  </a:cubicBezTo>
                  <a:cubicBezTo>
                    <a:pt x="86" y="117"/>
                    <a:pt x="86" y="116"/>
                    <a:pt x="87" y="116"/>
                  </a:cubicBezTo>
                  <a:cubicBezTo>
                    <a:pt x="83" y="113"/>
                    <a:pt x="83" y="113"/>
                    <a:pt x="80" y="109"/>
                  </a:cubicBezTo>
                  <a:cubicBezTo>
                    <a:pt x="79" y="107"/>
                    <a:pt x="77" y="106"/>
                    <a:pt x="76" y="104"/>
                  </a:cubicBezTo>
                  <a:cubicBezTo>
                    <a:pt x="74" y="101"/>
                    <a:pt x="73" y="94"/>
                    <a:pt x="69" y="92"/>
                  </a:cubicBezTo>
                  <a:cubicBezTo>
                    <a:pt x="69" y="92"/>
                    <a:pt x="68" y="92"/>
                    <a:pt x="68" y="92"/>
                  </a:cubicBezTo>
                  <a:cubicBezTo>
                    <a:pt x="68" y="92"/>
                    <a:pt x="68" y="92"/>
                    <a:pt x="67" y="92"/>
                  </a:cubicBezTo>
                  <a:cubicBezTo>
                    <a:pt x="67" y="92"/>
                    <a:pt x="67" y="92"/>
                    <a:pt x="67" y="92"/>
                  </a:cubicBezTo>
                  <a:cubicBezTo>
                    <a:pt x="66" y="92"/>
                    <a:pt x="66" y="92"/>
                    <a:pt x="66" y="92"/>
                  </a:cubicBezTo>
                  <a:cubicBezTo>
                    <a:pt x="65" y="91"/>
                    <a:pt x="64" y="90"/>
                    <a:pt x="64" y="89"/>
                  </a:cubicBezTo>
                  <a:cubicBezTo>
                    <a:pt x="63" y="88"/>
                    <a:pt x="62" y="87"/>
                    <a:pt x="61" y="87"/>
                  </a:cubicBezTo>
                  <a:cubicBezTo>
                    <a:pt x="61" y="87"/>
                    <a:pt x="61" y="87"/>
                    <a:pt x="60" y="88"/>
                  </a:cubicBezTo>
                  <a:cubicBezTo>
                    <a:pt x="60" y="87"/>
                    <a:pt x="60" y="86"/>
                    <a:pt x="60" y="85"/>
                  </a:cubicBezTo>
                  <a:cubicBezTo>
                    <a:pt x="63" y="85"/>
                    <a:pt x="65" y="86"/>
                    <a:pt x="66" y="86"/>
                  </a:cubicBezTo>
                  <a:cubicBezTo>
                    <a:pt x="67" y="86"/>
                    <a:pt x="68" y="86"/>
                    <a:pt x="71" y="84"/>
                  </a:cubicBezTo>
                  <a:cubicBezTo>
                    <a:pt x="77" y="78"/>
                    <a:pt x="86" y="74"/>
                    <a:pt x="91" y="69"/>
                  </a:cubicBezTo>
                  <a:cubicBezTo>
                    <a:pt x="92" y="67"/>
                    <a:pt x="93" y="66"/>
                    <a:pt x="94" y="64"/>
                  </a:cubicBezTo>
                  <a:cubicBezTo>
                    <a:pt x="96" y="62"/>
                    <a:pt x="96" y="62"/>
                    <a:pt x="99" y="62"/>
                  </a:cubicBezTo>
                  <a:cubicBezTo>
                    <a:pt x="100" y="61"/>
                    <a:pt x="100" y="61"/>
                    <a:pt x="101" y="61"/>
                  </a:cubicBezTo>
                  <a:cubicBezTo>
                    <a:pt x="103" y="61"/>
                    <a:pt x="105" y="63"/>
                    <a:pt x="108" y="65"/>
                  </a:cubicBezTo>
                  <a:cubicBezTo>
                    <a:pt x="108" y="61"/>
                    <a:pt x="110" y="56"/>
                    <a:pt x="106" y="55"/>
                  </a:cubicBezTo>
                  <a:cubicBezTo>
                    <a:pt x="105" y="55"/>
                    <a:pt x="104" y="54"/>
                    <a:pt x="103" y="54"/>
                  </a:cubicBezTo>
                  <a:cubicBezTo>
                    <a:pt x="103" y="54"/>
                    <a:pt x="103" y="54"/>
                    <a:pt x="102" y="54"/>
                  </a:cubicBezTo>
                  <a:cubicBezTo>
                    <a:pt x="100" y="54"/>
                    <a:pt x="99" y="55"/>
                    <a:pt x="97" y="58"/>
                  </a:cubicBezTo>
                  <a:cubicBezTo>
                    <a:pt x="100" y="59"/>
                    <a:pt x="95" y="59"/>
                    <a:pt x="93" y="59"/>
                  </a:cubicBezTo>
                  <a:cubicBezTo>
                    <a:pt x="92" y="59"/>
                    <a:pt x="92" y="59"/>
                    <a:pt x="92" y="59"/>
                  </a:cubicBezTo>
                  <a:cubicBezTo>
                    <a:pt x="89" y="59"/>
                    <a:pt x="87" y="59"/>
                    <a:pt x="84" y="59"/>
                  </a:cubicBezTo>
                  <a:cubicBezTo>
                    <a:pt x="83" y="59"/>
                    <a:pt x="82" y="59"/>
                    <a:pt x="81" y="59"/>
                  </a:cubicBezTo>
                  <a:cubicBezTo>
                    <a:pt x="78" y="60"/>
                    <a:pt x="76" y="62"/>
                    <a:pt x="73" y="63"/>
                  </a:cubicBezTo>
                  <a:cubicBezTo>
                    <a:pt x="73" y="63"/>
                    <a:pt x="72" y="63"/>
                    <a:pt x="72" y="63"/>
                  </a:cubicBezTo>
                  <a:cubicBezTo>
                    <a:pt x="71" y="63"/>
                    <a:pt x="69" y="62"/>
                    <a:pt x="67" y="61"/>
                  </a:cubicBezTo>
                  <a:cubicBezTo>
                    <a:pt x="67" y="61"/>
                    <a:pt x="68" y="60"/>
                    <a:pt x="67" y="60"/>
                  </a:cubicBezTo>
                  <a:cubicBezTo>
                    <a:pt x="67" y="60"/>
                    <a:pt x="67" y="60"/>
                    <a:pt x="66" y="61"/>
                  </a:cubicBezTo>
                  <a:cubicBezTo>
                    <a:pt x="64" y="62"/>
                    <a:pt x="63" y="63"/>
                    <a:pt x="61" y="64"/>
                  </a:cubicBezTo>
                  <a:cubicBezTo>
                    <a:pt x="60" y="65"/>
                    <a:pt x="59" y="67"/>
                    <a:pt x="58" y="68"/>
                  </a:cubicBezTo>
                  <a:cubicBezTo>
                    <a:pt x="57" y="70"/>
                    <a:pt x="56" y="72"/>
                    <a:pt x="55" y="73"/>
                  </a:cubicBezTo>
                  <a:cubicBezTo>
                    <a:pt x="54" y="74"/>
                    <a:pt x="53" y="74"/>
                    <a:pt x="53" y="74"/>
                  </a:cubicBezTo>
                  <a:cubicBezTo>
                    <a:pt x="52" y="74"/>
                    <a:pt x="51" y="74"/>
                    <a:pt x="50" y="74"/>
                  </a:cubicBezTo>
                  <a:cubicBezTo>
                    <a:pt x="49" y="73"/>
                    <a:pt x="48" y="73"/>
                    <a:pt x="47" y="73"/>
                  </a:cubicBezTo>
                  <a:cubicBezTo>
                    <a:pt x="46" y="73"/>
                    <a:pt x="45" y="73"/>
                    <a:pt x="44" y="74"/>
                  </a:cubicBezTo>
                  <a:cubicBezTo>
                    <a:pt x="43" y="71"/>
                    <a:pt x="42" y="65"/>
                    <a:pt x="39" y="63"/>
                  </a:cubicBezTo>
                  <a:cubicBezTo>
                    <a:pt x="38" y="63"/>
                    <a:pt x="38" y="63"/>
                    <a:pt x="37" y="62"/>
                  </a:cubicBezTo>
                  <a:cubicBezTo>
                    <a:pt x="37" y="62"/>
                    <a:pt x="37" y="62"/>
                    <a:pt x="37" y="62"/>
                  </a:cubicBezTo>
                  <a:cubicBezTo>
                    <a:pt x="37" y="62"/>
                    <a:pt x="37" y="63"/>
                    <a:pt x="37" y="63"/>
                  </a:cubicBezTo>
                  <a:cubicBezTo>
                    <a:pt x="37" y="63"/>
                    <a:pt x="36" y="63"/>
                    <a:pt x="36" y="63"/>
                  </a:cubicBezTo>
                  <a:cubicBezTo>
                    <a:pt x="36" y="63"/>
                    <a:pt x="36" y="63"/>
                    <a:pt x="36" y="63"/>
                  </a:cubicBezTo>
                  <a:cubicBezTo>
                    <a:pt x="34" y="62"/>
                    <a:pt x="33" y="60"/>
                    <a:pt x="32" y="58"/>
                  </a:cubicBezTo>
                  <a:cubicBezTo>
                    <a:pt x="30" y="57"/>
                    <a:pt x="30" y="55"/>
                    <a:pt x="30" y="53"/>
                  </a:cubicBezTo>
                  <a:cubicBezTo>
                    <a:pt x="29" y="51"/>
                    <a:pt x="28" y="49"/>
                    <a:pt x="28" y="46"/>
                  </a:cubicBezTo>
                  <a:cubicBezTo>
                    <a:pt x="29" y="41"/>
                    <a:pt x="32" y="33"/>
                    <a:pt x="37" y="30"/>
                  </a:cubicBezTo>
                  <a:cubicBezTo>
                    <a:pt x="39" y="29"/>
                    <a:pt x="41" y="28"/>
                    <a:pt x="44" y="28"/>
                  </a:cubicBezTo>
                  <a:cubicBezTo>
                    <a:pt x="46" y="28"/>
                    <a:pt x="49" y="29"/>
                    <a:pt x="52" y="29"/>
                  </a:cubicBezTo>
                  <a:cubicBezTo>
                    <a:pt x="55" y="30"/>
                    <a:pt x="57" y="30"/>
                    <a:pt x="59" y="30"/>
                  </a:cubicBezTo>
                  <a:cubicBezTo>
                    <a:pt x="60" y="30"/>
                    <a:pt x="60" y="30"/>
                    <a:pt x="60" y="30"/>
                  </a:cubicBezTo>
                  <a:cubicBezTo>
                    <a:pt x="66" y="30"/>
                    <a:pt x="72" y="30"/>
                    <a:pt x="78" y="30"/>
                  </a:cubicBezTo>
                  <a:cubicBezTo>
                    <a:pt x="78" y="30"/>
                    <a:pt x="79" y="30"/>
                    <a:pt x="80" y="30"/>
                  </a:cubicBezTo>
                  <a:cubicBezTo>
                    <a:pt x="80" y="30"/>
                    <a:pt x="80" y="30"/>
                    <a:pt x="80" y="30"/>
                  </a:cubicBezTo>
                  <a:cubicBezTo>
                    <a:pt x="82" y="30"/>
                    <a:pt x="84" y="30"/>
                    <a:pt x="86" y="29"/>
                  </a:cubicBezTo>
                  <a:cubicBezTo>
                    <a:pt x="88" y="29"/>
                    <a:pt x="90" y="29"/>
                    <a:pt x="92" y="29"/>
                  </a:cubicBezTo>
                  <a:cubicBezTo>
                    <a:pt x="95" y="29"/>
                    <a:pt x="99" y="30"/>
                    <a:pt x="101" y="30"/>
                  </a:cubicBezTo>
                  <a:cubicBezTo>
                    <a:pt x="104" y="31"/>
                    <a:pt x="107" y="33"/>
                    <a:pt x="110" y="34"/>
                  </a:cubicBezTo>
                  <a:cubicBezTo>
                    <a:pt x="112" y="34"/>
                    <a:pt x="113" y="34"/>
                    <a:pt x="114" y="34"/>
                  </a:cubicBezTo>
                  <a:cubicBezTo>
                    <a:pt x="116" y="34"/>
                    <a:pt x="117" y="34"/>
                    <a:pt x="120" y="34"/>
                  </a:cubicBezTo>
                  <a:cubicBezTo>
                    <a:pt x="122" y="33"/>
                    <a:pt x="128" y="33"/>
                    <a:pt x="129" y="32"/>
                  </a:cubicBezTo>
                  <a:cubicBezTo>
                    <a:pt x="132" y="29"/>
                    <a:pt x="135" y="26"/>
                    <a:pt x="138" y="22"/>
                  </a:cubicBezTo>
                  <a:cubicBezTo>
                    <a:pt x="140" y="21"/>
                    <a:pt x="143" y="19"/>
                    <a:pt x="144" y="17"/>
                  </a:cubicBezTo>
                  <a:cubicBezTo>
                    <a:pt x="146" y="14"/>
                    <a:pt x="148" y="11"/>
                    <a:pt x="149" y="8"/>
                  </a:cubicBezTo>
                  <a:cubicBezTo>
                    <a:pt x="150" y="4"/>
                    <a:pt x="152" y="2"/>
                    <a:pt x="147" y="0"/>
                  </a:cubicBezTo>
                  <a:cubicBezTo>
                    <a:pt x="147"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1235"/>
            <p:cNvSpPr/>
            <p:nvPr/>
          </p:nvSpPr>
          <p:spPr bwMode="auto">
            <a:xfrm>
              <a:off x="5082083" y="4994836"/>
              <a:ext cx="9396" cy="4027"/>
            </a:xfrm>
            <a:custGeom>
              <a:gdLst>
                <a:gd name="T0" fmla="*/ 3 w 3"/>
                <a:gd name="T1" fmla="*/ 0 h 1"/>
                <a:gd name="T2" fmla="*/ 0 w 3"/>
                <a:gd name="T3" fmla="*/ 1 h 1"/>
                <a:gd name="T4" fmla="*/ 3 w 3"/>
                <a:gd name="T5" fmla="*/ 0 h 1"/>
              </a:gdLst>
              <a:cxnLst>
                <a:cxn ang="0">
                  <a:pos x="T0" y="T1"/>
                </a:cxn>
                <a:cxn ang="0">
                  <a:pos x="T2" y="T3"/>
                </a:cxn>
                <a:cxn ang="0">
                  <a:pos x="T4" y="T5"/>
                </a:cxn>
              </a:cxnLst>
              <a:rect l="0" t="0" r="r" b="b"/>
              <a:pathLst>
                <a:path w="3" h="1">
                  <a:moveTo>
                    <a:pt x="3" y="0"/>
                  </a:moveTo>
                  <a:cubicBezTo>
                    <a:pt x="2" y="0"/>
                    <a:pt x="0" y="0"/>
                    <a:pt x="0" y="1"/>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Freeform 1236"/>
            <p:cNvSpPr/>
            <p:nvPr/>
          </p:nvSpPr>
          <p:spPr bwMode="auto">
            <a:xfrm>
              <a:off x="4044457" y="5529087"/>
              <a:ext cx="80540" cy="49666"/>
            </a:xfrm>
            <a:custGeom>
              <a:gdLst>
                <a:gd name="T0" fmla="*/ 14 w 25"/>
                <a:gd name="T1" fmla="*/ 0 h 16"/>
                <a:gd name="T2" fmla="*/ 5 w 25"/>
                <a:gd name="T3" fmla="*/ 6 h 16"/>
                <a:gd name="T4" fmla="*/ 0 w 25"/>
                <a:gd name="T5" fmla="*/ 13 h 16"/>
                <a:gd name="T6" fmla="*/ 2 w 25"/>
                <a:gd name="T7" fmla="*/ 14 h 16"/>
                <a:gd name="T8" fmla="*/ 2 w 25"/>
                <a:gd name="T9" fmla="*/ 14 h 16"/>
                <a:gd name="T10" fmla="*/ 3 w 25"/>
                <a:gd name="T11" fmla="*/ 14 h 16"/>
                <a:gd name="T12" fmla="*/ 3 w 25"/>
                <a:gd name="T13" fmla="*/ 15 h 16"/>
                <a:gd name="T14" fmla="*/ 3 w 25"/>
                <a:gd name="T15" fmla="*/ 15 h 16"/>
                <a:gd name="T16" fmla="*/ 10 w 25"/>
                <a:gd name="T17" fmla="*/ 15 h 16"/>
                <a:gd name="T18" fmla="*/ 12 w 25"/>
                <a:gd name="T19" fmla="*/ 16 h 16"/>
                <a:gd name="T20" fmla="*/ 13 w 25"/>
                <a:gd name="T21" fmla="*/ 16 h 16"/>
                <a:gd name="T22" fmla="*/ 14 w 25"/>
                <a:gd name="T23" fmla="*/ 14 h 16"/>
                <a:gd name="T24" fmla="*/ 15 w 25"/>
                <a:gd name="T25" fmla="*/ 14 h 16"/>
                <a:gd name="T26" fmla="*/ 17 w 25"/>
                <a:gd name="T27" fmla="*/ 14 h 16"/>
                <a:gd name="T28" fmla="*/ 18 w 25"/>
                <a:gd name="T29" fmla="*/ 0 h 16"/>
                <a:gd name="T30" fmla="*/ 14 w 25"/>
                <a:gd name="T31"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6">
                  <a:moveTo>
                    <a:pt x="14" y="0"/>
                  </a:moveTo>
                  <a:cubicBezTo>
                    <a:pt x="10" y="0"/>
                    <a:pt x="4" y="2"/>
                    <a:pt x="5" y="6"/>
                  </a:cubicBezTo>
                  <a:cubicBezTo>
                    <a:pt x="7" y="10"/>
                    <a:pt x="2" y="12"/>
                    <a:pt x="0" y="13"/>
                  </a:cubicBezTo>
                  <a:cubicBezTo>
                    <a:pt x="1" y="13"/>
                    <a:pt x="2" y="14"/>
                    <a:pt x="2" y="14"/>
                  </a:cubicBezTo>
                  <a:cubicBezTo>
                    <a:pt x="2" y="14"/>
                    <a:pt x="2" y="14"/>
                    <a:pt x="2" y="14"/>
                  </a:cubicBezTo>
                  <a:cubicBezTo>
                    <a:pt x="2" y="14"/>
                    <a:pt x="2" y="14"/>
                    <a:pt x="3" y="14"/>
                  </a:cubicBezTo>
                  <a:cubicBezTo>
                    <a:pt x="3" y="15"/>
                    <a:pt x="3" y="15"/>
                    <a:pt x="3" y="15"/>
                  </a:cubicBezTo>
                  <a:cubicBezTo>
                    <a:pt x="3" y="15"/>
                    <a:pt x="3" y="15"/>
                    <a:pt x="3" y="15"/>
                  </a:cubicBezTo>
                  <a:cubicBezTo>
                    <a:pt x="5" y="15"/>
                    <a:pt x="7" y="15"/>
                    <a:pt x="10" y="15"/>
                  </a:cubicBezTo>
                  <a:cubicBezTo>
                    <a:pt x="11" y="16"/>
                    <a:pt x="11" y="16"/>
                    <a:pt x="12" y="16"/>
                  </a:cubicBezTo>
                  <a:cubicBezTo>
                    <a:pt x="12" y="16"/>
                    <a:pt x="13" y="16"/>
                    <a:pt x="13" y="16"/>
                  </a:cubicBezTo>
                  <a:cubicBezTo>
                    <a:pt x="15" y="15"/>
                    <a:pt x="13" y="14"/>
                    <a:pt x="14" y="14"/>
                  </a:cubicBezTo>
                  <a:cubicBezTo>
                    <a:pt x="15" y="14"/>
                    <a:pt x="15" y="14"/>
                    <a:pt x="15" y="14"/>
                  </a:cubicBezTo>
                  <a:cubicBezTo>
                    <a:pt x="16" y="14"/>
                    <a:pt x="17" y="14"/>
                    <a:pt x="17" y="14"/>
                  </a:cubicBezTo>
                  <a:cubicBezTo>
                    <a:pt x="14" y="13"/>
                    <a:pt x="25" y="3"/>
                    <a:pt x="18" y="0"/>
                  </a:cubicBezTo>
                  <a:cubicBezTo>
                    <a:pt x="17" y="0"/>
                    <a:pt x="16"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1237"/>
            <p:cNvSpPr/>
            <p:nvPr/>
          </p:nvSpPr>
          <p:spPr bwMode="auto">
            <a:xfrm>
              <a:off x="4108889" y="5515663"/>
              <a:ext cx="183900" cy="76513"/>
            </a:xfrm>
            <a:custGeom>
              <a:gdLst>
                <a:gd name="T0" fmla="*/ 30 w 58"/>
                <a:gd name="T1" fmla="*/ 0 h 24"/>
                <a:gd name="T2" fmla="*/ 25 w 58"/>
                <a:gd name="T3" fmla="*/ 1 h 24"/>
                <a:gd name="T4" fmla="*/ 28 w 58"/>
                <a:gd name="T5" fmla="*/ 7 h 24"/>
                <a:gd name="T6" fmla="*/ 37 w 58"/>
                <a:gd name="T7" fmla="*/ 12 h 24"/>
                <a:gd name="T8" fmla="*/ 26 w 58"/>
                <a:gd name="T9" fmla="*/ 14 h 24"/>
                <a:gd name="T10" fmla="*/ 25 w 58"/>
                <a:gd name="T11" fmla="*/ 14 h 24"/>
                <a:gd name="T12" fmla="*/ 24 w 58"/>
                <a:gd name="T13" fmla="*/ 13 h 24"/>
                <a:gd name="T14" fmla="*/ 15 w 58"/>
                <a:gd name="T15" fmla="*/ 9 h 24"/>
                <a:gd name="T16" fmla="*/ 11 w 58"/>
                <a:gd name="T17" fmla="*/ 7 h 24"/>
                <a:gd name="T18" fmla="*/ 6 w 58"/>
                <a:gd name="T19" fmla="*/ 9 h 24"/>
                <a:gd name="T20" fmla="*/ 2 w 58"/>
                <a:gd name="T21" fmla="*/ 12 h 24"/>
                <a:gd name="T22" fmla="*/ 2 w 58"/>
                <a:gd name="T23" fmla="*/ 16 h 24"/>
                <a:gd name="T24" fmla="*/ 6 w 58"/>
                <a:gd name="T25" fmla="*/ 23 h 24"/>
                <a:gd name="T26" fmla="*/ 9 w 58"/>
                <a:gd name="T27" fmla="*/ 24 h 24"/>
                <a:gd name="T28" fmla="*/ 9 w 58"/>
                <a:gd name="T29" fmla="*/ 24 h 24"/>
                <a:gd name="T30" fmla="*/ 25 w 58"/>
                <a:gd name="T31" fmla="*/ 21 h 24"/>
                <a:gd name="T32" fmla="*/ 34 w 58"/>
                <a:gd name="T33" fmla="*/ 17 h 24"/>
                <a:gd name="T34" fmla="*/ 40 w 58"/>
                <a:gd name="T35" fmla="*/ 12 h 24"/>
                <a:gd name="T36" fmla="*/ 41 w 58"/>
                <a:gd name="T37" fmla="*/ 14 h 24"/>
                <a:gd name="T38" fmla="*/ 42 w 58"/>
                <a:gd name="T39" fmla="*/ 18 h 24"/>
                <a:gd name="T40" fmla="*/ 42 w 58"/>
                <a:gd name="T41" fmla="*/ 18 h 24"/>
                <a:gd name="T42" fmla="*/ 48 w 58"/>
                <a:gd name="T43" fmla="*/ 17 h 24"/>
                <a:gd name="T44" fmla="*/ 58 w 58"/>
                <a:gd name="T45" fmla="*/ 14 h 24"/>
                <a:gd name="T46" fmla="*/ 58 w 58"/>
                <a:gd name="T47" fmla="*/ 12 h 24"/>
                <a:gd name="T48" fmla="*/ 56 w 58"/>
                <a:gd name="T49" fmla="*/ 13 h 24"/>
                <a:gd name="T50" fmla="*/ 55 w 58"/>
                <a:gd name="T51" fmla="*/ 11 h 24"/>
                <a:gd name="T52" fmla="*/ 55 w 58"/>
                <a:gd name="T53" fmla="*/ 8 h 24"/>
                <a:gd name="T54" fmla="*/ 52 w 58"/>
                <a:gd name="T55" fmla="*/ 5 h 24"/>
                <a:gd name="T56" fmla="*/ 52 w 58"/>
                <a:gd name="T57" fmla="*/ 5 h 24"/>
                <a:gd name="T58" fmla="*/ 47 w 58"/>
                <a:gd name="T59" fmla="*/ 10 h 24"/>
                <a:gd name="T60" fmla="*/ 43 w 58"/>
                <a:gd name="T61" fmla="*/ 4 h 24"/>
                <a:gd name="T62" fmla="*/ 38 w 58"/>
                <a:gd name="T63" fmla="*/ 6 h 24"/>
                <a:gd name="T64" fmla="*/ 30 w 58"/>
                <a:gd name="T65"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24">
                  <a:moveTo>
                    <a:pt x="30" y="0"/>
                  </a:moveTo>
                  <a:cubicBezTo>
                    <a:pt x="28" y="0"/>
                    <a:pt x="27" y="0"/>
                    <a:pt x="25" y="1"/>
                  </a:cubicBezTo>
                  <a:cubicBezTo>
                    <a:pt x="26" y="4"/>
                    <a:pt x="26" y="5"/>
                    <a:pt x="28" y="7"/>
                  </a:cubicBezTo>
                  <a:cubicBezTo>
                    <a:pt x="30" y="9"/>
                    <a:pt x="37" y="11"/>
                    <a:pt x="37" y="12"/>
                  </a:cubicBezTo>
                  <a:cubicBezTo>
                    <a:pt x="37" y="13"/>
                    <a:pt x="30" y="14"/>
                    <a:pt x="26" y="14"/>
                  </a:cubicBezTo>
                  <a:cubicBezTo>
                    <a:pt x="26" y="14"/>
                    <a:pt x="26" y="14"/>
                    <a:pt x="25" y="14"/>
                  </a:cubicBezTo>
                  <a:cubicBezTo>
                    <a:pt x="25" y="14"/>
                    <a:pt x="25" y="13"/>
                    <a:pt x="24" y="13"/>
                  </a:cubicBezTo>
                  <a:cubicBezTo>
                    <a:pt x="21" y="11"/>
                    <a:pt x="18" y="10"/>
                    <a:pt x="15" y="9"/>
                  </a:cubicBezTo>
                  <a:cubicBezTo>
                    <a:pt x="13" y="7"/>
                    <a:pt x="12" y="7"/>
                    <a:pt x="11" y="7"/>
                  </a:cubicBezTo>
                  <a:cubicBezTo>
                    <a:pt x="9" y="7"/>
                    <a:pt x="8" y="7"/>
                    <a:pt x="6" y="9"/>
                  </a:cubicBezTo>
                  <a:cubicBezTo>
                    <a:pt x="4" y="9"/>
                    <a:pt x="3" y="10"/>
                    <a:pt x="2" y="12"/>
                  </a:cubicBezTo>
                  <a:cubicBezTo>
                    <a:pt x="2" y="13"/>
                    <a:pt x="2" y="15"/>
                    <a:pt x="2" y="16"/>
                  </a:cubicBezTo>
                  <a:cubicBezTo>
                    <a:pt x="2" y="22"/>
                    <a:pt x="0" y="21"/>
                    <a:pt x="6" y="23"/>
                  </a:cubicBezTo>
                  <a:cubicBezTo>
                    <a:pt x="7" y="24"/>
                    <a:pt x="8" y="24"/>
                    <a:pt x="9" y="24"/>
                  </a:cubicBezTo>
                  <a:cubicBezTo>
                    <a:pt x="9" y="24"/>
                    <a:pt x="9" y="24"/>
                    <a:pt x="9" y="24"/>
                  </a:cubicBezTo>
                  <a:cubicBezTo>
                    <a:pt x="14" y="24"/>
                    <a:pt x="20" y="22"/>
                    <a:pt x="25" y="21"/>
                  </a:cubicBezTo>
                  <a:cubicBezTo>
                    <a:pt x="29" y="20"/>
                    <a:pt x="31" y="18"/>
                    <a:pt x="34" y="17"/>
                  </a:cubicBezTo>
                  <a:cubicBezTo>
                    <a:pt x="37" y="15"/>
                    <a:pt x="38" y="14"/>
                    <a:pt x="40" y="12"/>
                  </a:cubicBezTo>
                  <a:cubicBezTo>
                    <a:pt x="41" y="13"/>
                    <a:pt x="40" y="13"/>
                    <a:pt x="41" y="14"/>
                  </a:cubicBezTo>
                  <a:cubicBezTo>
                    <a:pt x="41" y="15"/>
                    <a:pt x="41" y="18"/>
                    <a:pt x="42" y="18"/>
                  </a:cubicBezTo>
                  <a:cubicBezTo>
                    <a:pt x="42" y="18"/>
                    <a:pt x="42" y="18"/>
                    <a:pt x="42" y="18"/>
                  </a:cubicBezTo>
                  <a:cubicBezTo>
                    <a:pt x="44" y="18"/>
                    <a:pt x="46" y="17"/>
                    <a:pt x="48" y="17"/>
                  </a:cubicBezTo>
                  <a:cubicBezTo>
                    <a:pt x="50" y="17"/>
                    <a:pt x="57" y="16"/>
                    <a:pt x="58" y="14"/>
                  </a:cubicBezTo>
                  <a:cubicBezTo>
                    <a:pt x="58" y="14"/>
                    <a:pt x="58" y="12"/>
                    <a:pt x="58" y="12"/>
                  </a:cubicBezTo>
                  <a:cubicBezTo>
                    <a:pt x="57" y="13"/>
                    <a:pt x="57" y="13"/>
                    <a:pt x="56" y="13"/>
                  </a:cubicBezTo>
                  <a:cubicBezTo>
                    <a:pt x="55" y="13"/>
                    <a:pt x="55" y="12"/>
                    <a:pt x="55" y="11"/>
                  </a:cubicBezTo>
                  <a:cubicBezTo>
                    <a:pt x="54" y="10"/>
                    <a:pt x="55" y="9"/>
                    <a:pt x="55" y="8"/>
                  </a:cubicBezTo>
                  <a:cubicBezTo>
                    <a:pt x="55" y="6"/>
                    <a:pt x="54" y="5"/>
                    <a:pt x="52" y="5"/>
                  </a:cubicBezTo>
                  <a:cubicBezTo>
                    <a:pt x="52" y="5"/>
                    <a:pt x="52" y="5"/>
                    <a:pt x="52" y="5"/>
                  </a:cubicBezTo>
                  <a:cubicBezTo>
                    <a:pt x="48" y="5"/>
                    <a:pt x="48" y="6"/>
                    <a:pt x="47" y="10"/>
                  </a:cubicBezTo>
                  <a:cubicBezTo>
                    <a:pt x="46" y="6"/>
                    <a:pt x="45" y="4"/>
                    <a:pt x="43" y="4"/>
                  </a:cubicBezTo>
                  <a:cubicBezTo>
                    <a:pt x="42" y="4"/>
                    <a:pt x="40" y="5"/>
                    <a:pt x="38" y="6"/>
                  </a:cubicBezTo>
                  <a:cubicBezTo>
                    <a:pt x="34" y="2"/>
                    <a:pt x="33"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1238"/>
            <p:cNvSpPr/>
            <p:nvPr/>
          </p:nvSpPr>
          <p:spPr bwMode="auto">
            <a:xfrm>
              <a:off x="4902210" y="5471366"/>
              <a:ext cx="5369" cy="9396"/>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1239"/>
            <p:cNvSpPr/>
            <p:nvPr/>
          </p:nvSpPr>
          <p:spPr bwMode="auto">
            <a:xfrm>
              <a:off x="3990764" y="5420357"/>
              <a:ext cx="32216" cy="13423"/>
            </a:xfrm>
            <a:custGeom>
              <a:gdLst>
                <a:gd name="T0" fmla="*/ 4 w 10"/>
                <a:gd name="T1" fmla="*/ 0 h 4"/>
                <a:gd name="T2" fmla="*/ 5 w 10"/>
                <a:gd name="T3" fmla="*/ 4 h 4"/>
                <a:gd name="T4" fmla="*/ 6 w 10"/>
                <a:gd name="T5" fmla="*/ 4 h 4"/>
                <a:gd name="T6" fmla="*/ 9 w 10"/>
                <a:gd name="T7" fmla="*/ 2 h 4"/>
                <a:gd name="T8" fmla="*/ 10 w 10"/>
                <a:gd name="T9" fmla="*/ 2 h 4"/>
                <a:gd name="T10" fmla="*/ 4 w 10"/>
                <a:gd name="T11" fmla="*/ 0 h 4"/>
              </a:gdLst>
              <a:cxnLst>
                <a:cxn ang="0">
                  <a:pos x="T0" y="T1"/>
                </a:cxn>
                <a:cxn ang="0">
                  <a:pos x="T2" y="T3"/>
                </a:cxn>
                <a:cxn ang="0">
                  <a:pos x="T4" y="T5"/>
                </a:cxn>
                <a:cxn ang="0">
                  <a:pos x="T6" y="T7"/>
                </a:cxn>
                <a:cxn ang="0">
                  <a:pos x="T8" y="T9"/>
                </a:cxn>
                <a:cxn ang="0">
                  <a:pos x="T10" y="T11"/>
                </a:cxn>
              </a:cxnLst>
              <a:rect l="0" t="0" r="r" b="b"/>
              <a:pathLst>
                <a:path w="10" h="4">
                  <a:moveTo>
                    <a:pt x="4" y="0"/>
                  </a:moveTo>
                  <a:cubicBezTo>
                    <a:pt x="0" y="2"/>
                    <a:pt x="3" y="4"/>
                    <a:pt x="5" y="4"/>
                  </a:cubicBezTo>
                  <a:cubicBezTo>
                    <a:pt x="5" y="4"/>
                    <a:pt x="5" y="4"/>
                    <a:pt x="6" y="4"/>
                  </a:cubicBezTo>
                  <a:cubicBezTo>
                    <a:pt x="9" y="2"/>
                    <a:pt x="9" y="2"/>
                    <a:pt x="9" y="2"/>
                  </a:cubicBezTo>
                  <a:cubicBezTo>
                    <a:pt x="10" y="2"/>
                    <a:pt x="10" y="2"/>
                    <a:pt x="10" y="2"/>
                  </a:cubicBezTo>
                  <a:cubicBezTo>
                    <a:pt x="8" y="1"/>
                    <a:pt x="6"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1240"/>
            <p:cNvSpPr/>
            <p:nvPr/>
          </p:nvSpPr>
          <p:spPr bwMode="auto">
            <a:xfrm>
              <a:off x="4279366" y="5519690"/>
              <a:ext cx="6712" cy="9396"/>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1241"/>
            <p:cNvSpPr/>
            <p:nvPr/>
          </p:nvSpPr>
          <p:spPr bwMode="auto">
            <a:xfrm>
              <a:off x="3518262" y="5027053"/>
              <a:ext cx="13423" cy="0"/>
            </a:xfrm>
            <a:custGeom>
              <a:gdLst>
                <a:gd name="T0" fmla="*/ 1 w 4"/>
                <a:gd name="T1" fmla="*/ 0 w 4"/>
                <a:gd name="T2" fmla="*/ 1 w 4"/>
                <a:gd name="T3" fmla="*/ 4 w 4"/>
                <a:gd name="T4" fmla="*/ 1 w 4"/>
              </a:gdLst>
              <a:cxnLst>
                <a:cxn ang="0">
                  <a:pos x="T0" y="0"/>
                </a:cxn>
                <a:cxn ang="0">
                  <a:pos x="T1" y="0"/>
                </a:cxn>
                <a:cxn ang="0">
                  <a:pos x="T2" y="0"/>
                </a:cxn>
                <a:cxn ang="0">
                  <a:pos x="T3" y="0"/>
                </a:cxn>
                <a:cxn ang="0">
                  <a:pos x="T4" y="0"/>
                </a:cxn>
              </a:cxnLst>
              <a:rect l="0" t="0" r="r" b="b"/>
              <a:pathLst>
                <a:path w="4">
                  <a:moveTo>
                    <a:pt x="1" y="0"/>
                  </a:moveTo>
                  <a:cubicBezTo>
                    <a:pt x="1" y="0"/>
                    <a:pt x="0" y="0"/>
                    <a:pt x="0" y="0"/>
                  </a:cubicBezTo>
                  <a:cubicBezTo>
                    <a:pt x="0" y="0"/>
                    <a:pt x="1" y="0"/>
                    <a:pt x="1" y="0"/>
                  </a:cubicBezTo>
                  <a:cubicBezTo>
                    <a:pt x="2" y="0"/>
                    <a:pt x="3" y="0"/>
                    <a:pt x="4" y="0"/>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1242"/>
            <p:cNvSpPr/>
            <p:nvPr/>
          </p:nvSpPr>
          <p:spPr bwMode="auto">
            <a:xfrm>
              <a:off x="5158596" y="5515663"/>
              <a:ext cx="28189" cy="18793"/>
            </a:xfrm>
            <a:custGeom>
              <a:gdLst>
                <a:gd name="T0" fmla="*/ 6 w 9"/>
                <a:gd name="T1" fmla="*/ 0 h 6"/>
                <a:gd name="T2" fmla="*/ 0 w 9"/>
                <a:gd name="T3" fmla="*/ 6 h 6"/>
                <a:gd name="T4" fmla="*/ 6 w 9"/>
                <a:gd name="T5" fmla="*/ 3 h 6"/>
                <a:gd name="T6" fmla="*/ 9 w 9"/>
                <a:gd name="T7" fmla="*/ 1 h 6"/>
                <a:gd name="T8" fmla="*/ 6 w 9"/>
                <a:gd name="T9" fmla="*/ 0 h 6"/>
              </a:gdLst>
              <a:cxnLst>
                <a:cxn ang="0">
                  <a:pos x="T0" y="T1"/>
                </a:cxn>
                <a:cxn ang="0">
                  <a:pos x="T2" y="T3"/>
                </a:cxn>
                <a:cxn ang="0">
                  <a:pos x="T4" y="T5"/>
                </a:cxn>
                <a:cxn ang="0">
                  <a:pos x="T6" y="T7"/>
                </a:cxn>
                <a:cxn ang="0">
                  <a:pos x="T8" y="T9"/>
                </a:cxn>
              </a:cxnLst>
              <a:rect l="0" t="0" r="r" b="b"/>
              <a:pathLst>
                <a:path w="9" h="6">
                  <a:moveTo>
                    <a:pt x="6" y="0"/>
                  </a:moveTo>
                  <a:cubicBezTo>
                    <a:pt x="4" y="0"/>
                    <a:pt x="2" y="3"/>
                    <a:pt x="0" y="6"/>
                  </a:cubicBezTo>
                  <a:cubicBezTo>
                    <a:pt x="3" y="5"/>
                    <a:pt x="3" y="4"/>
                    <a:pt x="6" y="3"/>
                  </a:cubicBezTo>
                  <a:cubicBezTo>
                    <a:pt x="7" y="3"/>
                    <a:pt x="8" y="2"/>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1243"/>
            <p:cNvSpPr/>
            <p:nvPr/>
          </p:nvSpPr>
          <p:spPr bwMode="auto">
            <a:xfrm>
              <a:off x="4902210" y="4855233"/>
              <a:ext cx="5369" cy="6712"/>
            </a:xfrm>
            <a:custGeom>
              <a:gdLst>
                <a:gd name="T0" fmla="*/ 2 w 2"/>
                <a:gd name="T1" fmla="*/ 0 h 2"/>
                <a:gd name="T2" fmla="*/ 1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1" y="2"/>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1244"/>
            <p:cNvSpPr/>
            <p:nvPr/>
          </p:nvSpPr>
          <p:spPr bwMode="auto">
            <a:xfrm>
              <a:off x="4942480" y="5176052"/>
              <a:ext cx="29531" cy="13423"/>
            </a:xfrm>
            <a:custGeom>
              <a:gdLst>
                <a:gd name="T0" fmla="*/ 5 w 9"/>
                <a:gd name="T1" fmla="*/ 0 h 4"/>
                <a:gd name="T2" fmla="*/ 1 w 9"/>
                <a:gd name="T3" fmla="*/ 2 h 4"/>
                <a:gd name="T4" fmla="*/ 2 w 9"/>
                <a:gd name="T5" fmla="*/ 4 h 4"/>
                <a:gd name="T6" fmla="*/ 5 w 9"/>
                <a:gd name="T7" fmla="*/ 3 h 4"/>
                <a:gd name="T8" fmla="*/ 9 w 9"/>
                <a:gd name="T9" fmla="*/ 1 h 4"/>
                <a:gd name="T10" fmla="*/ 5 w 9"/>
                <a:gd name="T11" fmla="*/ 0 h 4"/>
              </a:gdLst>
              <a:cxnLst>
                <a:cxn ang="0">
                  <a:pos x="T0" y="T1"/>
                </a:cxn>
                <a:cxn ang="0">
                  <a:pos x="T2" y="T3"/>
                </a:cxn>
                <a:cxn ang="0">
                  <a:pos x="T4" y="T5"/>
                </a:cxn>
                <a:cxn ang="0">
                  <a:pos x="T6" y="T7"/>
                </a:cxn>
                <a:cxn ang="0">
                  <a:pos x="T8" y="T9"/>
                </a:cxn>
                <a:cxn ang="0">
                  <a:pos x="T10" y="T11"/>
                </a:cxn>
              </a:cxnLst>
              <a:rect l="0" t="0" r="r" b="b"/>
              <a:pathLst>
                <a:path w="9" h="4">
                  <a:moveTo>
                    <a:pt x="5" y="0"/>
                  </a:moveTo>
                  <a:cubicBezTo>
                    <a:pt x="3" y="0"/>
                    <a:pt x="2" y="1"/>
                    <a:pt x="1" y="2"/>
                  </a:cubicBezTo>
                  <a:cubicBezTo>
                    <a:pt x="0" y="4"/>
                    <a:pt x="1" y="4"/>
                    <a:pt x="2" y="4"/>
                  </a:cubicBezTo>
                  <a:cubicBezTo>
                    <a:pt x="2" y="4"/>
                    <a:pt x="4" y="4"/>
                    <a:pt x="5" y="3"/>
                  </a:cubicBezTo>
                  <a:cubicBezTo>
                    <a:pt x="6" y="3"/>
                    <a:pt x="8" y="2"/>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1245"/>
            <p:cNvSpPr/>
            <p:nvPr/>
          </p:nvSpPr>
          <p:spPr bwMode="auto">
            <a:xfrm>
              <a:off x="4857913" y="4570658"/>
              <a:ext cx="12081" cy="40270"/>
            </a:xfrm>
            <a:custGeom>
              <a:gdLst>
                <a:gd name="T0" fmla="*/ 0 w 4"/>
                <a:gd name="T1" fmla="*/ 0 h 13"/>
                <a:gd name="T2" fmla="*/ 0 w 4"/>
                <a:gd name="T3" fmla="*/ 13 h 13"/>
                <a:gd name="T4" fmla="*/ 3 w 4"/>
                <a:gd name="T5" fmla="*/ 8 h 13"/>
                <a:gd name="T6" fmla="*/ 4 w 4"/>
                <a:gd name="T7" fmla="*/ 6 h 13"/>
                <a:gd name="T8" fmla="*/ 3 w 4"/>
                <a:gd name="T9" fmla="*/ 5 h 13"/>
                <a:gd name="T10" fmla="*/ 3 w 4"/>
                <a:gd name="T11" fmla="*/ 3 h 13"/>
                <a:gd name="T12" fmla="*/ 0 w 4"/>
                <a:gd name="T13" fmla="*/ 0 h 13"/>
              </a:gdLst>
              <a:cxnLst>
                <a:cxn ang="0">
                  <a:pos x="T0" y="T1"/>
                </a:cxn>
                <a:cxn ang="0">
                  <a:pos x="T2" y="T3"/>
                </a:cxn>
                <a:cxn ang="0">
                  <a:pos x="T4" y="T5"/>
                </a:cxn>
                <a:cxn ang="0">
                  <a:pos x="T6" y="T7"/>
                </a:cxn>
                <a:cxn ang="0">
                  <a:pos x="T8" y="T9"/>
                </a:cxn>
                <a:cxn ang="0">
                  <a:pos x="T10" y="T11"/>
                </a:cxn>
                <a:cxn ang="0">
                  <a:pos x="T12" y="T13"/>
                </a:cxn>
              </a:cxnLst>
              <a:rect l="0" t="0" r="r" b="b"/>
              <a:pathLst>
                <a:path w="4" h="13">
                  <a:moveTo>
                    <a:pt x="0" y="0"/>
                  </a:moveTo>
                  <a:cubicBezTo>
                    <a:pt x="0" y="4"/>
                    <a:pt x="0" y="9"/>
                    <a:pt x="0" y="13"/>
                  </a:cubicBezTo>
                  <a:cubicBezTo>
                    <a:pt x="2" y="12"/>
                    <a:pt x="2" y="10"/>
                    <a:pt x="3" y="8"/>
                  </a:cubicBezTo>
                  <a:cubicBezTo>
                    <a:pt x="3" y="8"/>
                    <a:pt x="4" y="7"/>
                    <a:pt x="4" y="6"/>
                  </a:cubicBezTo>
                  <a:cubicBezTo>
                    <a:pt x="4" y="5"/>
                    <a:pt x="3" y="5"/>
                    <a:pt x="3" y="5"/>
                  </a:cubicBezTo>
                  <a:cubicBezTo>
                    <a:pt x="3" y="4"/>
                    <a:pt x="3" y="3"/>
                    <a:pt x="3" y="3"/>
                  </a:cubicBezTo>
                  <a:cubicBezTo>
                    <a:pt x="2"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1246"/>
            <p:cNvSpPr/>
            <p:nvPr/>
          </p:nvSpPr>
          <p:spPr bwMode="auto">
            <a:xfrm>
              <a:off x="3457857" y="4592135"/>
              <a:ext cx="32216" cy="44297"/>
            </a:xfrm>
            <a:custGeom>
              <a:gdLst>
                <a:gd name="T0" fmla="*/ 6 w 10"/>
                <a:gd name="T1" fmla="*/ 0 h 14"/>
                <a:gd name="T2" fmla="*/ 1 w 10"/>
                <a:gd name="T3" fmla="*/ 5 h 14"/>
                <a:gd name="T4" fmla="*/ 2 w 10"/>
                <a:gd name="T5" fmla="*/ 9 h 14"/>
                <a:gd name="T6" fmla="*/ 7 w 10"/>
                <a:gd name="T7" fmla="*/ 12 h 14"/>
                <a:gd name="T8" fmla="*/ 3 w 10"/>
                <a:gd name="T9" fmla="*/ 13 h 14"/>
                <a:gd name="T10" fmla="*/ 5 w 10"/>
                <a:gd name="T11" fmla="*/ 14 h 14"/>
                <a:gd name="T12" fmla="*/ 6 w 10"/>
                <a:gd name="T13" fmla="*/ 14 h 14"/>
                <a:gd name="T14" fmla="*/ 9 w 10"/>
                <a:gd name="T15" fmla="*/ 10 h 14"/>
                <a:gd name="T16" fmla="*/ 6 w 10"/>
                <a:gd name="T1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4">
                  <a:moveTo>
                    <a:pt x="6" y="0"/>
                  </a:moveTo>
                  <a:cubicBezTo>
                    <a:pt x="4" y="1"/>
                    <a:pt x="1" y="3"/>
                    <a:pt x="1" y="5"/>
                  </a:cubicBezTo>
                  <a:cubicBezTo>
                    <a:pt x="0" y="6"/>
                    <a:pt x="0" y="7"/>
                    <a:pt x="2" y="9"/>
                  </a:cubicBezTo>
                  <a:cubicBezTo>
                    <a:pt x="3" y="10"/>
                    <a:pt x="6" y="10"/>
                    <a:pt x="7" y="12"/>
                  </a:cubicBezTo>
                  <a:cubicBezTo>
                    <a:pt x="6" y="12"/>
                    <a:pt x="2" y="12"/>
                    <a:pt x="3" y="13"/>
                  </a:cubicBezTo>
                  <a:cubicBezTo>
                    <a:pt x="3" y="14"/>
                    <a:pt x="4" y="14"/>
                    <a:pt x="5" y="14"/>
                  </a:cubicBezTo>
                  <a:cubicBezTo>
                    <a:pt x="6" y="14"/>
                    <a:pt x="6" y="14"/>
                    <a:pt x="6" y="14"/>
                  </a:cubicBezTo>
                  <a:cubicBezTo>
                    <a:pt x="8" y="13"/>
                    <a:pt x="9" y="11"/>
                    <a:pt x="9" y="10"/>
                  </a:cubicBezTo>
                  <a:cubicBezTo>
                    <a:pt x="10" y="6"/>
                    <a:pt x="6"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1247"/>
            <p:cNvSpPr/>
            <p:nvPr/>
          </p:nvSpPr>
          <p:spPr bwMode="auto">
            <a:xfrm>
              <a:off x="3096768" y="4859260"/>
              <a:ext cx="9396" cy="9396"/>
            </a:xfrm>
            <a:custGeom>
              <a:gdLst>
                <a:gd name="T0" fmla="*/ 1 w 3"/>
                <a:gd name="T1" fmla="*/ 0 h 3"/>
                <a:gd name="T2" fmla="*/ 0 w 3"/>
                <a:gd name="T3" fmla="*/ 3 h 3"/>
                <a:gd name="T4" fmla="*/ 3 w 3"/>
                <a:gd name="T5" fmla="*/ 2 h 3"/>
                <a:gd name="T6" fmla="*/ 1 w 3"/>
                <a:gd name="T7" fmla="*/ 0 h 3"/>
              </a:gdLst>
              <a:cxnLst>
                <a:cxn ang="0">
                  <a:pos x="T0" y="T1"/>
                </a:cxn>
                <a:cxn ang="0">
                  <a:pos x="T2" y="T3"/>
                </a:cxn>
                <a:cxn ang="0">
                  <a:pos x="T4" y="T5"/>
                </a:cxn>
                <a:cxn ang="0">
                  <a:pos x="T6" y="T7"/>
                </a:cxn>
              </a:cxnLst>
              <a:rect l="0" t="0" r="r" b="b"/>
              <a:pathLst>
                <a:path w="3" h="3">
                  <a:moveTo>
                    <a:pt x="1" y="0"/>
                  </a:moveTo>
                  <a:cubicBezTo>
                    <a:pt x="1" y="0"/>
                    <a:pt x="0" y="1"/>
                    <a:pt x="0" y="3"/>
                  </a:cubicBezTo>
                  <a:cubicBezTo>
                    <a:pt x="1" y="3"/>
                    <a:pt x="2" y="2"/>
                    <a:pt x="3" y="2"/>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1248"/>
            <p:cNvSpPr/>
            <p:nvPr/>
          </p:nvSpPr>
          <p:spPr bwMode="auto">
            <a:xfrm>
              <a:off x="3043075" y="4824360"/>
              <a:ext cx="53693" cy="28189"/>
            </a:xfrm>
            <a:custGeom>
              <a:gdLst>
                <a:gd name="T0" fmla="*/ 8 w 17"/>
                <a:gd name="T1" fmla="*/ 0 h 9"/>
                <a:gd name="T2" fmla="*/ 8 w 17"/>
                <a:gd name="T3" fmla="*/ 0 h 9"/>
                <a:gd name="T4" fmla="*/ 5 w 17"/>
                <a:gd name="T5" fmla="*/ 3 h 9"/>
                <a:gd name="T6" fmla="*/ 4 w 17"/>
                <a:gd name="T7" fmla="*/ 2 h 9"/>
                <a:gd name="T8" fmla="*/ 2 w 17"/>
                <a:gd name="T9" fmla="*/ 0 h 9"/>
                <a:gd name="T10" fmla="*/ 2 w 17"/>
                <a:gd name="T11" fmla="*/ 0 h 9"/>
                <a:gd name="T12" fmla="*/ 2 w 17"/>
                <a:gd name="T13" fmla="*/ 5 h 9"/>
                <a:gd name="T14" fmla="*/ 0 w 17"/>
                <a:gd name="T15" fmla="*/ 6 h 9"/>
                <a:gd name="T16" fmla="*/ 7 w 17"/>
                <a:gd name="T17" fmla="*/ 9 h 9"/>
                <a:gd name="T18" fmla="*/ 12 w 17"/>
                <a:gd name="T19" fmla="*/ 9 h 9"/>
                <a:gd name="T20" fmla="*/ 15 w 17"/>
                <a:gd name="T21" fmla="*/ 9 h 9"/>
                <a:gd name="T22" fmla="*/ 15 w 17"/>
                <a:gd name="T23" fmla="*/ 9 h 9"/>
                <a:gd name="T24" fmla="*/ 6 w 17"/>
                <a:gd name="T25" fmla="*/ 4 h 9"/>
                <a:gd name="T26" fmla="*/ 5 w 17"/>
                <a:gd name="T27" fmla="*/ 3 h 9"/>
                <a:gd name="T28" fmla="*/ 6 w 17"/>
                <a:gd name="T29" fmla="*/ 3 h 9"/>
                <a:gd name="T30" fmla="*/ 7 w 17"/>
                <a:gd name="T31" fmla="*/ 3 h 9"/>
                <a:gd name="T32" fmla="*/ 17 w 17"/>
                <a:gd name="T33" fmla="*/ 7 h 9"/>
                <a:gd name="T34" fmla="*/ 12 w 17"/>
                <a:gd name="T35" fmla="*/ 1 h 9"/>
                <a:gd name="T36" fmla="*/ 8 w 17"/>
                <a:gd name="T3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9">
                  <a:moveTo>
                    <a:pt x="8" y="0"/>
                  </a:moveTo>
                  <a:cubicBezTo>
                    <a:pt x="8" y="0"/>
                    <a:pt x="8" y="0"/>
                    <a:pt x="8" y="0"/>
                  </a:cubicBezTo>
                  <a:cubicBezTo>
                    <a:pt x="6" y="0"/>
                    <a:pt x="6" y="2"/>
                    <a:pt x="5" y="3"/>
                  </a:cubicBezTo>
                  <a:cubicBezTo>
                    <a:pt x="4" y="2"/>
                    <a:pt x="4" y="2"/>
                    <a:pt x="4" y="2"/>
                  </a:cubicBezTo>
                  <a:cubicBezTo>
                    <a:pt x="4" y="2"/>
                    <a:pt x="3" y="0"/>
                    <a:pt x="2" y="0"/>
                  </a:cubicBezTo>
                  <a:cubicBezTo>
                    <a:pt x="2" y="0"/>
                    <a:pt x="2" y="0"/>
                    <a:pt x="2" y="0"/>
                  </a:cubicBezTo>
                  <a:cubicBezTo>
                    <a:pt x="0" y="0"/>
                    <a:pt x="2" y="3"/>
                    <a:pt x="2" y="5"/>
                  </a:cubicBezTo>
                  <a:cubicBezTo>
                    <a:pt x="1" y="5"/>
                    <a:pt x="0" y="5"/>
                    <a:pt x="0" y="6"/>
                  </a:cubicBezTo>
                  <a:cubicBezTo>
                    <a:pt x="0" y="8"/>
                    <a:pt x="4" y="9"/>
                    <a:pt x="7" y="9"/>
                  </a:cubicBezTo>
                  <a:cubicBezTo>
                    <a:pt x="9" y="9"/>
                    <a:pt x="11" y="9"/>
                    <a:pt x="12" y="9"/>
                  </a:cubicBezTo>
                  <a:cubicBezTo>
                    <a:pt x="13" y="9"/>
                    <a:pt x="14" y="9"/>
                    <a:pt x="15" y="9"/>
                  </a:cubicBezTo>
                  <a:cubicBezTo>
                    <a:pt x="15" y="9"/>
                    <a:pt x="15" y="9"/>
                    <a:pt x="15" y="9"/>
                  </a:cubicBezTo>
                  <a:cubicBezTo>
                    <a:pt x="12" y="5"/>
                    <a:pt x="9" y="6"/>
                    <a:pt x="6" y="4"/>
                  </a:cubicBezTo>
                  <a:cubicBezTo>
                    <a:pt x="5" y="3"/>
                    <a:pt x="5" y="3"/>
                    <a:pt x="5" y="3"/>
                  </a:cubicBezTo>
                  <a:cubicBezTo>
                    <a:pt x="5" y="3"/>
                    <a:pt x="6" y="3"/>
                    <a:pt x="6" y="3"/>
                  </a:cubicBezTo>
                  <a:cubicBezTo>
                    <a:pt x="6" y="3"/>
                    <a:pt x="7" y="3"/>
                    <a:pt x="7" y="3"/>
                  </a:cubicBezTo>
                  <a:cubicBezTo>
                    <a:pt x="10" y="3"/>
                    <a:pt x="16" y="7"/>
                    <a:pt x="17" y="7"/>
                  </a:cubicBezTo>
                  <a:cubicBezTo>
                    <a:pt x="16" y="4"/>
                    <a:pt x="15" y="2"/>
                    <a:pt x="12" y="1"/>
                  </a:cubicBezTo>
                  <a:cubicBezTo>
                    <a:pt x="11"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1249"/>
            <p:cNvSpPr/>
            <p:nvPr/>
          </p:nvSpPr>
          <p:spPr bwMode="auto">
            <a:xfrm>
              <a:off x="5349208" y="5217664"/>
              <a:ext cx="16108" cy="9396"/>
            </a:xfrm>
            <a:custGeom>
              <a:gdLst>
                <a:gd name="T0" fmla="*/ 0 w 5"/>
                <a:gd name="T1" fmla="*/ 0 h 3"/>
                <a:gd name="T2" fmla="*/ 4 w 5"/>
                <a:gd name="T3" fmla="*/ 3 h 3"/>
                <a:gd name="T4" fmla="*/ 5 w 5"/>
                <a:gd name="T5" fmla="*/ 3 h 3"/>
                <a:gd name="T6" fmla="*/ 0 w 5"/>
                <a:gd name="T7" fmla="*/ 0 h 3"/>
              </a:gdLst>
              <a:cxnLst>
                <a:cxn ang="0">
                  <a:pos x="T0" y="T1"/>
                </a:cxn>
                <a:cxn ang="0">
                  <a:pos x="T2" y="T3"/>
                </a:cxn>
                <a:cxn ang="0">
                  <a:pos x="T4" y="T5"/>
                </a:cxn>
                <a:cxn ang="0">
                  <a:pos x="T6" y="T7"/>
                </a:cxn>
              </a:cxnLst>
              <a:rect l="0" t="0" r="r" b="b"/>
              <a:pathLst>
                <a:path w="5" h="3">
                  <a:moveTo>
                    <a:pt x="0" y="0"/>
                  </a:moveTo>
                  <a:cubicBezTo>
                    <a:pt x="0" y="1"/>
                    <a:pt x="2" y="3"/>
                    <a:pt x="4" y="3"/>
                  </a:cubicBezTo>
                  <a:cubicBezTo>
                    <a:pt x="4" y="3"/>
                    <a:pt x="4" y="3"/>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1250"/>
            <p:cNvSpPr/>
            <p:nvPr/>
          </p:nvSpPr>
          <p:spPr bwMode="auto">
            <a:xfrm>
              <a:off x="4492797" y="4935774"/>
              <a:ext cx="12081" cy="0"/>
            </a:xfrm>
            <a:custGeom>
              <a:gdLst>
                <a:gd name="T0" fmla="*/ 3 w 4"/>
                <a:gd name="T1" fmla="*/ 0 w 4"/>
                <a:gd name="T2" fmla="*/ 4 w 4"/>
                <a:gd name="T3" fmla="*/ 3 w 4"/>
              </a:gdLst>
              <a:cxnLst>
                <a:cxn ang="0">
                  <a:pos x="T0" y="0"/>
                </a:cxn>
                <a:cxn ang="0">
                  <a:pos x="T1" y="0"/>
                </a:cxn>
                <a:cxn ang="0">
                  <a:pos x="T2" y="0"/>
                </a:cxn>
                <a:cxn ang="0">
                  <a:pos x="T3" y="0"/>
                </a:cxn>
              </a:cxnLst>
              <a:rect l="0" t="0" r="r" b="b"/>
              <a:pathLst>
                <a:path w="4">
                  <a:moveTo>
                    <a:pt x="3" y="0"/>
                  </a:moveTo>
                  <a:cubicBezTo>
                    <a:pt x="2" y="0"/>
                    <a:pt x="1" y="0"/>
                    <a:pt x="0" y="0"/>
                  </a:cubicBezTo>
                  <a:cubicBezTo>
                    <a:pt x="1" y="0"/>
                    <a:pt x="3" y="0"/>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1251"/>
            <p:cNvSpPr/>
            <p:nvPr/>
          </p:nvSpPr>
          <p:spPr bwMode="auto">
            <a:xfrm>
              <a:off x="4635085" y="5052557"/>
              <a:ext cx="6712" cy="2685"/>
            </a:xfrm>
            <a:custGeom>
              <a:gdLst>
                <a:gd name="T0" fmla="*/ 0 w 2"/>
                <a:gd name="T1" fmla="*/ 0 h 1"/>
                <a:gd name="T2" fmla="*/ 2 w 2"/>
                <a:gd name="T3" fmla="*/ 1 h 1"/>
                <a:gd name="T4" fmla="*/ 0 w 2"/>
                <a:gd name="T5" fmla="*/ 0 h 1"/>
              </a:gdLst>
              <a:cxnLst>
                <a:cxn ang="0">
                  <a:pos x="T0" y="T1"/>
                </a:cxn>
                <a:cxn ang="0">
                  <a:pos x="T2" y="T3"/>
                </a:cxn>
                <a:cxn ang="0">
                  <a:pos x="T4" y="T5"/>
                </a:cxn>
              </a:cxnLst>
              <a:rect l="0" t="0" r="r" b="b"/>
              <a:pathLst>
                <a:path w="2" h="1">
                  <a:moveTo>
                    <a:pt x="0" y="0"/>
                  </a:moveTo>
                  <a:cubicBezTo>
                    <a:pt x="1" y="0"/>
                    <a:pt x="2" y="1"/>
                    <a:pt x="2"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1252"/>
            <p:cNvSpPr/>
            <p:nvPr/>
          </p:nvSpPr>
          <p:spPr bwMode="auto">
            <a:xfrm>
              <a:off x="3147777" y="4843152"/>
              <a:ext cx="9396" cy="6712"/>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1"/>
                    <a:pt x="2"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Freeform 1254"/>
            <p:cNvSpPr/>
            <p:nvPr/>
          </p:nvSpPr>
          <p:spPr bwMode="auto">
            <a:xfrm>
              <a:off x="3175966" y="4852549"/>
              <a:ext cx="6712" cy="2685"/>
            </a:xfrm>
            <a:custGeom>
              <a:gdLst>
                <a:gd name="T0" fmla="*/ 0 w 2"/>
                <a:gd name="T1" fmla="*/ 0 h 1"/>
                <a:gd name="T2" fmla="*/ 2 w 2"/>
                <a:gd name="T3" fmla="*/ 1 h 1"/>
                <a:gd name="T4" fmla="*/ 0 w 2"/>
                <a:gd name="T5" fmla="*/ 0 h 1"/>
              </a:gdLst>
              <a:cxnLst>
                <a:cxn ang="0">
                  <a:pos x="T0" y="T1"/>
                </a:cxn>
                <a:cxn ang="0">
                  <a:pos x="T2" y="T3"/>
                </a:cxn>
                <a:cxn ang="0">
                  <a:pos x="T4" y="T5"/>
                </a:cxn>
              </a:cxnLst>
              <a:rect l="0" t="0" r="r" b="b"/>
              <a:pathLst>
                <a:path w="2" h="1">
                  <a:moveTo>
                    <a:pt x="0" y="0"/>
                  </a:moveTo>
                  <a:cubicBezTo>
                    <a:pt x="0" y="0"/>
                    <a:pt x="1" y="1"/>
                    <a:pt x="2"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Freeform 1255"/>
            <p:cNvSpPr/>
            <p:nvPr/>
          </p:nvSpPr>
          <p:spPr bwMode="auto">
            <a:xfrm>
              <a:off x="3112876" y="4843152"/>
              <a:ext cx="9396" cy="16108"/>
            </a:xfrm>
            <a:custGeom>
              <a:gdLst>
                <a:gd name="T0" fmla="*/ 0 w 3"/>
                <a:gd name="T1" fmla="*/ 0 h 5"/>
                <a:gd name="T2" fmla="*/ 1 w 3"/>
                <a:gd name="T3" fmla="*/ 5 h 5"/>
                <a:gd name="T4" fmla="*/ 3 w 3"/>
                <a:gd name="T5" fmla="*/ 4 h 5"/>
                <a:gd name="T6" fmla="*/ 0 w 3"/>
                <a:gd name="T7" fmla="*/ 0 h 5"/>
              </a:gdLst>
              <a:cxnLst>
                <a:cxn ang="0">
                  <a:pos x="T0" y="T1"/>
                </a:cxn>
                <a:cxn ang="0">
                  <a:pos x="T2" y="T3"/>
                </a:cxn>
                <a:cxn ang="0">
                  <a:pos x="T4" y="T5"/>
                </a:cxn>
                <a:cxn ang="0">
                  <a:pos x="T6" y="T7"/>
                </a:cxn>
              </a:cxnLst>
              <a:rect l="0" t="0" r="r" b="b"/>
              <a:pathLst>
                <a:path w="3" h="5">
                  <a:moveTo>
                    <a:pt x="0" y="0"/>
                  </a:moveTo>
                  <a:cubicBezTo>
                    <a:pt x="0" y="2"/>
                    <a:pt x="0" y="5"/>
                    <a:pt x="1" y="5"/>
                  </a:cubicBezTo>
                  <a:cubicBezTo>
                    <a:pt x="2" y="5"/>
                    <a:pt x="3" y="5"/>
                    <a:pt x="3"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1256"/>
            <p:cNvSpPr/>
            <p:nvPr/>
          </p:nvSpPr>
          <p:spPr bwMode="auto">
            <a:xfrm>
              <a:off x="4937110" y="5515663"/>
              <a:ext cx="25504" cy="9396"/>
            </a:xfrm>
            <a:custGeom>
              <a:gdLst>
                <a:gd name="T0" fmla="*/ 0 w 8"/>
                <a:gd name="T1" fmla="*/ 0 h 3"/>
                <a:gd name="T2" fmla="*/ 4 w 8"/>
                <a:gd name="T3" fmla="*/ 3 h 3"/>
                <a:gd name="T4" fmla="*/ 4 w 8"/>
                <a:gd name="T5" fmla="*/ 3 h 3"/>
                <a:gd name="T6" fmla="*/ 8 w 8"/>
                <a:gd name="T7" fmla="*/ 2 h 3"/>
                <a:gd name="T8" fmla="*/ 0 w 8"/>
                <a:gd name="T9" fmla="*/ 0 h 3"/>
              </a:gdLst>
              <a:cxnLst>
                <a:cxn ang="0">
                  <a:pos x="T0" y="T1"/>
                </a:cxn>
                <a:cxn ang="0">
                  <a:pos x="T2" y="T3"/>
                </a:cxn>
                <a:cxn ang="0">
                  <a:pos x="T4" y="T5"/>
                </a:cxn>
                <a:cxn ang="0">
                  <a:pos x="T6" y="T7"/>
                </a:cxn>
                <a:cxn ang="0">
                  <a:pos x="T8" y="T9"/>
                </a:cxn>
              </a:cxnLst>
              <a:rect l="0" t="0" r="r" b="b"/>
              <a:pathLst>
                <a:path w="8" h="3">
                  <a:moveTo>
                    <a:pt x="0" y="0"/>
                  </a:moveTo>
                  <a:cubicBezTo>
                    <a:pt x="0" y="2"/>
                    <a:pt x="2" y="3"/>
                    <a:pt x="4" y="3"/>
                  </a:cubicBezTo>
                  <a:cubicBezTo>
                    <a:pt x="4" y="3"/>
                    <a:pt x="4" y="3"/>
                    <a:pt x="4" y="3"/>
                  </a:cubicBezTo>
                  <a:cubicBezTo>
                    <a:pt x="6" y="3"/>
                    <a:pt x="6" y="3"/>
                    <a:pt x="8" y="2"/>
                  </a:cubicBezTo>
                  <a:cubicBezTo>
                    <a:pt x="5"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1257"/>
            <p:cNvSpPr/>
            <p:nvPr/>
          </p:nvSpPr>
          <p:spPr bwMode="auto">
            <a:xfrm>
              <a:off x="4381383" y="5341159"/>
              <a:ext cx="9396" cy="53693"/>
            </a:xfrm>
            <a:custGeom>
              <a:gdLst>
                <a:gd name="T0" fmla="*/ 3 w 3"/>
                <a:gd name="T1" fmla="*/ 0 h 17"/>
                <a:gd name="T2" fmla="*/ 3 w 3"/>
                <a:gd name="T3" fmla="*/ 17 h 17"/>
                <a:gd name="T4" fmla="*/ 3 w 3"/>
                <a:gd name="T5" fmla="*/ 0 h 17"/>
              </a:gdLst>
              <a:cxnLst>
                <a:cxn ang="0">
                  <a:pos x="T0" y="T1"/>
                </a:cxn>
                <a:cxn ang="0">
                  <a:pos x="T2" y="T3"/>
                </a:cxn>
                <a:cxn ang="0">
                  <a:pos x="T4" y="T5"/>
                </a:cxn>
              </a:cxnLst>
              <a:rect l="0" t="0" r="r" b="b"/>
              <a:pathLst>
                <a:path w="3" h="17">
                  <a:moveTo>
                    <a:pt x="3" y="0"/>
                  </a:moveTo>
                  <a:cubicBezTo>
                    <a:pt x="0" y="4"/>
                    <a:pt x="2" y="12"/>
                    <a:pt x="3" y="17"/>
                  </a:cubicBezTo>
                  <a:cubicBezTo>
                    <a:pt x="3" y="11"/>
                    <a:pt x="3" y="6"/>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Freeform 1258"/>
            <p:cNvSpPr/>
            <p:nvPr/>
          </p:nvSpPr>
          <p:spPr bwMode="auto">
            <a:xfrm>
              <a:off x="3201470" y="4894161"/>
              <a:ext cx="9396" cy="12081"/>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0" y="3"/>
                    <a:pt x="2" y="3"/>
                    <a:pt x="3" y="4"/>
                  </a:cubicBezTo>
                  <a:cubicBezTo>
                    <a:pt x="3"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1259"/>
            <p:cNvSpPr/>
            <p:nvPr/>
          </p:nvSpPr>
          <p:spPr bwMode="auto">
            <a:xfrm>
              <a:off x="5244505" y="5449889"/>
              <a:ext cx="2685" cy="2685"/>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0" y="1"/>
                    <a:pt x="1"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1260"/>
            <p:cNvSpPr>
              <a:spLocks noEditPoints="1"/>
            </p:cNvSpPr>
            <p:nvPr/>
          </p:nvSpPr>
          <p:spPr bwMode="auto">
            <a:xfrm>
              <a:off x="5231082" y="5443177"/>
              <a:ext cx="13423" cy="6712"/>
            </a:xfrm>
            <a:custGeom>
              <a:gdLst>
                <a:gd name="T0" fmla="*/ 0 w 4"/>
                <a:gd name="T1" fmla="*/ 0 h 2"/>
                <a:gd name="T2" fmla="*/ 4 w 4"/>
                <a:gd name="T3" fmla="*/ 2 h 2"/>
                <a:gd name="T4" fmla="*/ 0 w 4"/>
                <a:gd name="T5" fmla="*/ 0 h 2"/>
                <a:gd name="T6" fmla="*/ 0 w 4"/>
                <a:gd name="T7" fmla="*/ 0 h 2"/>
                <a:gd name="T8" fmla="*/ 0 w 4"/>
                <a:gd name="T9" fmla="*/ 0 h 2"/>
                <a:gd name="T10" fmla="*/ 0 w 4"/>
                <a:gd name="T11" fmla="*/ 0 h 2"/>
              </a:gdLst>
              <a:cxnLst>
                <a:cxn ang="0">
                  <a:pos x="T0" y="T1"/>
                </a:cxn>
                <a:cxn ang="0">
                  <a:pos x="T2" y="T3"/>
                </a:cxn>
                <a:cxn ang="0">
                  <a:pos x="T4" y="T5"/>
                </a:cxn>
                <a:cxn ang="0">
                  <a:pos x="T6" y="T7"/>
                </a:cxn>
                <a:cxn ang="0">
                  <a:pos x="T8" y="T9"/>
                </a:cxn>
                <a:cxn ang="0">
                  <a:pos x="T10" y="T11"/>
                </a:cxn>
              </a:cxnLst>
              <a:rect l="0" t="0" r="r" b="b"/>
              <a:pathLst>
                <a:path w="4" h="2">
                  <a:moveTo>
                    <a:pt x="0" y="0"/>
                  </a:moveTo>
                  <a:cubicBezTo>
                    <a:pt x="1" y="0"/>
                    <a:pt x="2" y="1"/>
                    <a:pt x="4" y="2"/>
                  </a:cubicBezTo>
                  <a:cubicBezTo>
                    <a:pt x="3" y="0"/>
                    <a:pt x="1"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1261"/>
            <p:cNvSpPr/>
            <p:nvPr/>
          </p:nvSpPr>
          <p:spPr bwMode="auto">
            <a:xfrm>
              <a:off x="4523671" y="5255250"/>
              <a:ext cx="41612" cy="60405"/>
            </a:xfrm>
            <a:custGeom>
              <a:gdLst>
                <a:gd name="T0" fmla="*/ 10 w 13"/>
                <a:gd name="T1" fmla="*/ 0 h 19"/>
                <a:gd name="T2" fmla="*/ 6 w 13"/>
                <a:gd name="T3" fmla="*/ 2 h 19"/>
                <a:gd name="T4" fmla="*/ 2 w 13"/>
                <a:gd name="T5" fmla="*/ 4 h 19"/>
                <a:gd name="T6" fmla="*/ 1 w 13"/>
                <a:gd name="T7" fmla="*/ 13 h 19"/>
                <a:gd name="T8" fmla="*/ 3 w 13"/>
                <a:gd name="T9" fmla="*/ 18 h 19"/>
                <a:gd name="T10" fmla="*/ 6 w 13"/>
                <a:gd name="T11" fmla="*/ 19 h 19"/>
                <a:gd name="T12" fmla="*/ 8 w 13"/>
                <a:gd name="T13" fmla="*/ 17 h 19"/>
                <a:gd name="T14" fmla="*/ 9 w 13"/>
                <a:gd name="T15" fmla="*/ 15 h 19"/>
                <a:gd name="T16" fmla="*/ 9 w 13"/>
                <a:gd name="T17" fmla="*/ 11 h 19"/>
                <a:gd name="T18" fmla="*/ 11 w 13"/>
                <a:gd name="T19" fmla="*/ 8 h 19"/>
                <a:gd name="T20" fmla="*/ 10 w 13"/>
                <a:gd name="T21"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9">
                  <a:moveTo>
                    <a:pt x="10" y="0"/>
                  </a:moveTo>
                  <a:cubicBezTo>
                    <a:pt x="8" y="0"/>
                    <a:pt x="8" y="1"/>
                    <a:pt x="6" y="2"/>
                  </a:cubicBezTo>
                  <a:cubicBezTo>
                    <a:pt x="5" y="3"/>
                    <a:pt x="3" y="2"/>
                    <a:pt x="2" y="4"/>
                  </a:cubicBezTo>
                  <a:cubicBezTo>
                    <a:pt x="0" y="6"/>
                    <a:pt x="4" y="9"/>
                    <a:pt x="1" y="13"/>
                  </a:cubicBezTo>
                  <a:cubicBezTo>
                    <a:pt x="0" y="18"/>
                    <a:pt x="0" y="17"/>
                    <a:pt x="3" y="18"/>
                  </a:cubicBezTo>
                  <a:cubicBezTo>
                    <a:pt x="5" y="19"/>
                    <a:pt x="6" y="19"/>
                    <a:pt x="6" y="19"/>
                  </a:cubicBezTo>
                  <a:cubicBezTo>
                    <a:pt x="7" y="19"/>
                    <a:pt x="7" y="18"/>
                    <a:pt x="8" y="17"/>
                  </a:cubicBezTo>
                  <a:cubicBezTo>
                    <a:pt x="9" y="16"/>
                    <a:pt x="9" y="17"/>
                    <a:pt x="9" y="15"/>
                  </a:cubicBezTo>
                  <a:cubicBezTo>
                    <a:pt x="9" y="13"/>
                    <a:pt x="8" y="14"/>
                    <a:pt x="9" y="11"/>
                  </a:cubicBezTo>
                  <a:cubicBezTo>
                    <a:pt x="10" y="10"/>
                    <a:pt x="11" y="9"/>
                    <a:pt x="11" y="8"/>
                  </a:cubicBezTo>
                  <a:cubicBezTo>
                    <a:pt x="13" y="6"/>
                    <a:pt x="11"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1262"/>
            <p:cNvSpPr/>
            <p:nvPr/>
          </p:nvSpPr>
          <p:spPr bwMode="auto">
            <a:xfrm>
              <a:off x="4574679" y="5529086"/>
              <a:ext cx="32216" cy="9396"/>
            </a:xfrm>
            <a:custGeom>
              <a:gdLst>
                <a:gd name="T0" fmla="*/ 6 w 10"/>
                <a:gd name="T1" fmla="*/ 0 h 3"/>
                <a:gd name="T2" fmla="*/ 3 w 10"/>
                <a:gd name="T3" fmla="*/ 0 h 3"/>
                <a:gd name="T4" fmla="*/ 4 w 10"/>
                <a:gd name="T5" fmla="*/ 3 h 3"/>
                <a:gd name="T6" fmla="*/ 7 w 10"/>
                <a:gd name="T7" fmla="*/ 3 h 3"/>
                <a:gd name="T8" fmla="*/ 7 w 10"/>
                <a:gd name="T9" fmla="*/ 3 h 3"/>
                <a:gd name="T10" fmla="*/ 7 w 10"/>
                <a:gd name="T11" fmla="*/ 3 h 3"/>
                <a:gd name="T12" fmla="*/ 8 w 10"/>
                <a:gd name="T13" fmla="*/ 3 h 3"/>
                <a:gd name="T14" fmla="*/ 9 w 10"/>
                <a:gd name="T15" fmla="*/ 3 h 3"/>
                <a:gd name="T16" fmla="*/ 6 w 10"/>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
                  <a:moveTo>
                    <a:pt x="6" y="0"/>
                  </a:moveTo>
                  <a:cubicBezTo>
                    <a:pt x="4" y="0"/>
                    <a:pt x="3" y="0"/>
                    <a:pt x="3" y="0"/>
                  </a:cubicBezTo>
                  <a:cubicBezTo>
                    <a:pt x="0" y="3"/>
                    <a:pt x="2" y="3"/>
                    <a:pt x="4" y="3"/>
                  </a:cubicBezTo>
                  <a:cubicBezTo>
                    <a:pt x="5" y="3"/>
                    <a:pt x="6" y="3"/>
                    <a:pt x="7" y="3"/>
                  </a:cubicBezTo>
                  <a:cubicBezTo>
                    <a:pt x="7" y="3"/>
                    <a:pt x="7" y="3"/>
                    <a:pt x="7" y="3"/>
                  </a:cubicBezTo>
                  <a:cubicBezTo>
                    <a:pt x="7" y="3"/>
                    <a:pt x="7" y="3"/>
                    <a:pt x="7" y="3"/>
                  </a:cubicBezTo>
                  <a:cubicBezTo>
                    <a:pt x="8" y="3"/>
                    <a:pt x="8" y="3"/>
                    <a:pt x="8" y="3"/>
                  </a:cubicBezTo>
                  <a:cubicBezTo>
                    <a:pt x="8" y="3"/>
                    <a:pt x="8" y="3"/>
                    <a:pt x="9" y="3"/>
                  </a:cubicBezTo>
                  <a:cubicBezTo>
                    <a:pt x="10"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1263"/>
            <p:cNvSpPr/>
            <p:nvPr/>
          </p:nvSpPr>
          <p:spPr bwMode="auto">
            <a:xfrm>
              <a:off x="4483401" y="5694194"/>
              <a:ext cx="21477" cy="9396"/>
            </a:xfrm>
            <a:custGeom>
              <a:gdLst>
                <a:gd name="T0" fmla="*/ 7 w 7"/>
                <a:gd name="T1" fmla="*/ 0 h 3"/>
                <a:gd name="T2" fmla="*/ 0 w 7"/>
                <a:gd name="T3" fmla="*/ 2 h 3"/>
                <a:gd name="T4" fmla="*/ 3 w 7"/>
                <a:gd name="T5" fmla="*/ 3 h 3"/>
                <a:gd name="T6" fmla="*/ 7 w 7"/>
                <a:gd name="T7" fmla="*/ 0 h 3"/>
              </a:gdLst>
              <a:cxnLst>
                <a:cxn ang="0">
                  <a:pos x="T0" y="T1"/>
                </a:cxn>
                <a:cxn ang="0">
                  <a:pos x="T2" y="T3"/>
                </a:cxn>
                <a:cxn ang="0">
                  <a:pos x="T4" y="T5"/>
                </a:cxn>
                <a:cxn ang="0">
                  <a:pos x="T6" y="T7"/>
                </a:cxn>
              </a:cxnLst>
              <a:rect l="0" t="0" r="r" b="b"/>
              <a:pathLst>
                <a:path w="7" h="3">
                  <a:moveTo>
                    <a:pt x="7" y="0"/>
                  </a:moveTo>
                  <a:cubicBezTo>
                    <a:pt x="4" y="0"/>
                    <a:pt x="2" y="1"/>
                    <a:pt x="0" y="2"/>
                  </a:cubicBezTo>
                  <a:cubicBezTo>
                    <a:pt x="1" y="3"/>
                    <a:pt x="2" y="3"/>
                    <a:pt x="3" y="3"/>
                  </a:cubicBezTo>
                  <a:cubicBezTo>
                    <a:pt x="5" y="3"/>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1264"/>
            <p:cNvSpPr/>
            <p:nvPr/>
          </p:nvSpPr>
          <p:spPr bwMode="auto">
            <a:xfrm>
              <a:off x="4886101" y="4954566"/>
              <a:ext cx="16108" cy="16108"/>
            </a:xfrm>
            <a:custGeom>
              <a:gdLst>
                <a:gd name="T0" fmla="*/ 3 w 5"/>
                <a:gd name="T1" fmla="*/ 0 h 5"/>
                <a:gd name="T2" fmla="*/ 1 w 5"/>
                <a:gd name="T3" fmla="*/ 4 h 5"/>
                <a:gd name="T4" fmla="*/ 3 w 5"/>
                <a:gd name="T5" fmla="*/ 5 h 5"/>
                <a:gd name="T6" fmla="*/ 3 w 5"/>
                <a:gd name="T7" fmla="*/ 0 h 5"/>
              </a:gdLst>
              <a:cxnLst>
                <a:cxn ang="0">
                  <a:pos x="T0" y="T1"/>
                </a:cxn>
                <a:cxn ang="0">
                  <a:pos x="T2" y="T3"/>
                </a:cxn>
                <a:cxn ang="0">
                  <a:pos x="T4" y="T5"/>
                </a:cxn>
                <a:cxn ang="0">
                  <a:pos x="T6" y="T7"/>
                </a:cxn>
              </a:cxnLst>
              <a:rect l="0" t="0" r="r" b="b"/>
              <a:pathLst>
                <a:path w="5" h="5">
                  <a:moveTo>
                    <a:pt x="3" y="0"/>
                  </a:moveTo>
                  <a:cubicBezTo>
                    <a:pt x="2" y="1"/>
                    <a:pt x="0" y="3"/>
                    <a:pt x="1" y="4"/>
                  </a:cubicBezTo>
                  <a:cubicBezTo>
                    <a:pt x="3" y="5"/>
                    <a:pt x="3" y="5"/>
                    <a:pt x="3" y="5"/>
                  </a:cubicBezTo>
                  <a:cubicBezTo>
                    <a:pt x="5"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1265"/>
            <p:cNvSpPr/>
            <p:nvPr/>
          </p:nvSpPr>
          <p:spPr bwMode="auto">
            <a:xfrm>
              <a:off x="5047182" y="4906242"/>
              <a:ext cx="20135" cy="18793"/>
            </a:xfrm>
            <a:custGeom>
              <a:gdLst>
                <a:gd name="T0" fmla="*/ 0 w 6"/>
                <a:gd name="T1" fmla="*/ 0 h 6"/>
                <a:gd name="T2" fmla="*/ 6 w 6"/>
                <a:gd name="T3" fmla="*/ 6 h 6"/>
                <a:gd name="T4" fmla="*/ 0 w 6"/>
                <a:gd name="T5" fmla="*/ 0 h 6"/>
              </a:gdLst>
              <a:cxnLst>
                <a:cxn ang="0">
                  <a:pos x="T0" y="T1"/>
                </a:cxn>
                <a:cxn ang="0">
                  <a:pos x="T2" y="T3"/>
                </a:cxn>
                <a:cxn ang="0">
                  <a:pos x="T4" y="T5"/>
                </a:cxn>
              </a:cxnLst>
              <a:rect l="0" t="0" r="r" b="b"/>
              <a:pathLst>
                <a:path w="6" h="6">
                  <a:moveTo>
                    <a:pt x="0" y="0"/>
                  </a:moveTo>
                  <a:cubicBezTo>
                    <a:pt x="2" y="2"/>
                    <a:pt x="4" y="4"/>
                    <a:pt x="6" y="6"/>
                  </a:cubicBezTo>
                  <a:cubicBezTo>
                    <a:pt x="6"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Freeform 1266"/>
            <p:cNvSpPr/>
            <p:nvPr/>
          </p:nvSpPr>
          <p:spPr bwMode="auto">
            <a:xfrm>
              <a:off x="2506140" y="4468640"/>
              <a:ext cx="9396" cy="2685"/>
            </a:xfrm>
            <a:custGeom>
              <a:gdLst>
                <a:gd name="T0" fmla="*/ 0 w 3"/>
                <a:gd name="T1" fmla="*/ 0 h 1"/>
                <a:gd name="T2" fmla="*/ 3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1" y="1"/>
                    <a:pt x="2" y="1"/>
                    <a:pt x="3" y="1"/>
                  </a:cubicBezTo>
                  <a:cubicBezTo>
                    <a:pt x="3" y="1"/>
                    <a:pt x="3" y="1"/>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1267"/>
            <p:cNvSpPr/>
            <p:nvPr/>
          </p:nvSpPr>
          <p:spPr bwMode="auto">
            <a:xfrm>
              <a:off x="2962534" y="4750531"/>
              <a:ext cx="32216" cy="32216"/>
            </a:xfrm>
            <a:custGeom>
              <a:gdLst>
                <a:gd name="T0" fmla="*/ 6 w 10"/>
                <a:gd name="T1" fmla="*/ 0 h 10"/>
                <a:gd name="T2" fmla="*/ 6 w 10"/>
                <a:gd name="T3" fmla="*/ 0 h 10"/>
                <a:gd name="T4" fmla="*/ 3 w 10"/>
                <a:gd name="T5" fmla="*/ 1 h 10"/>
                <a:gd name="T6" fmla="*/ 3 w 10"/>
                <a:gd name="T7" fmla="*/ 2 h 10"/>
                <a:gd name="T8" fmla="*/ 3 w 10"/>
                <a:gd name="T9" fmla="*/ 2 h 10"/>
                <a:gd name="T10" fmla="*/ 2 w 10"/>
                <a:gd name="T11" fmla="*/ 2 h 10"/>
                <a:gd name="T12" fmla="*/ 1 w 10"/>
                <a:gd name="T13" fmla="*/ 2 h 10"/>
                <a:gd name="T14" fmla="*/ 2 w 10"/>
                <a:gd name="T15" fmla="*/ 9 h 10"/>
                <a:gd name="T16" fmla="*/ 4 w 10"/>
                <a:gd name="T17" fmla="*/ 10 h 10"/>
                <a:gd name="T18" fmla="*/ 10 w 10"/>
                <a:gd name="T19" fmla="*/ 4 h 10"/>
                <a:gd name="T20" fmla="*/ 6 w 10"/>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6" y="0"/>
                  </a:moveTo>
                  <a:cubicBezTo>
                    <a:pt x="6" y="0"/>
                    <a:pt x="6" y="0"/>
                    <a:pt x="6" y="0"/>
                  </a:cubicBezTo>
                  <a:cubicBezTo>
                    <a:pt x="3" y="1"/>
                    <a:pt x="3" y="1"/>
                    <a:pt x="3" y="1"/>
                  </a:cubicBezTo>
                  <a:cubicBezTo>
                    <a:pt x="3" y="2"/>
                    <a:pt x="3" y="2"/>
                    <a:pt x="3" y="2"/>
                  </a:cubicBezTo>
                  <a:cubicBezTo>
                    <a:pt x="3" y="2"/>
                    <a:pt x="3" y="2"/>
                    <a:pt x="3" y="2"/>
                  </a:cubicBezTo>
                  <a:cubicBezTo>
                    <a:pt x="2" y="2"/>
                    <a:pt x="2" y="2"/>
                    <a:pt x="2" y="2"/>
                  </a:cubicBezTo>
                  <a:cubicBezTo>
                    <a:pt x="2" y="2"/>
                    <a:pt x="2" y="2"/>
                    <a:pt x="1" y="2"/>
                  </a:cubicBezTo>
                  <a:cubicBezTo>
                    <a:pt x="0" y="3"/>
                    <a:pt x="1" y="8"/>
                    <a:pt x="2" y="9"/>
                  </a:cubicBezTo>
                  <a:cubicBezTo>
                    <a:pt x="3" y="9"/>
                    <a:pt x="4" y="10"/>
                    <a:pt x="4" y="10"/>
                  </a:cubicBezTo>
                  <a:cubicBezTo>
                    <a:pt x="7" y="10"/>
                    <a:pt x="8" y="6"/>
                    <a:pt x="10" y="4"/>
                  </a:cubicBezTo>
                  <a:cubicBezTo>
                    <a:pt x="9" y="2"/>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1268"/>
            <p:cNvSpPr/>
            <p:nvPr/>
          </p:nvSpPr>
          <p:spPr bwMode="auto">
            <a:xfrm>
              <a:off x="4755895" y="4703549"/>
              <a:ext cx="6712"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0" y="1"/>
                    <a:pt x="0" y="2"/>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1269"/>
            <p:cNvSpPr/>
            <p:nvPr/>
          </p:nvSpPr>
          <p:spPr bwMode="auto">
            <a:xfrm>
              <a:off x="3531685" y="4719657"/>
              <a:ext cx="9396" cy="2685"/>
            </a:xfrm>
            <a:custGeom>
              <a:gdLst>
                <a:gd name="T0" fmla="*/ 0 w 3"/>
                <a:gd name="T1" fmla="*/ 0 h 1"/>
                <a:gd name="T2" fmla="*/ 2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1" y="1"/>
                    <a:pt x="1" y="1"/>
                    <a:pt x="2" y="1"/>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1270"/>
            <p:cNvSpPr/>
            <p:nvPr/>
          </p:nvSpPr>
          <p:spPr bwMode="auto">
            <a:xfrm>
              <a:off x="3010858" y="4789459"/>
              <a:ext cx="41612" cy="25504"/>
            </a:xfrm>
            <a:custGeom>
              <a:gdLst>
                <a:gd name="T0" fmla="*/ 1 w 13"/>
                <a:gd name="T1" fmla="*/ 0 h 8"/>
                <a:gd name="T2" fmla="*/ 0 w 13"/>
                <a:gd name="T3" fmla="*/ 0 h 8"/>
                <a:gd name="T4" fmla="*/ 6 w 13"/>
                <a:gd name="T5" fmla="*/ 5 h 8"/>
                <a:gd name="T6" fmla="*/ 11 w 13"/>
                <a:gd name="T7" fmla="*/ 8 h 8"/>
                <a:gd name="T8" fmla="*/ 6 w 13"/>
                <a:gd name="T9" fmla="*/ 1 h 8"/>
                <a:gd name="T10" fmla="*/ 1 w 13"/>
                <a:gd name="T11" fmla="*/ 0 h 8"/>
              </a:gdLst>
              <a:cxnLst>
                <a:cxn ang="0">
                  <a:pos x="T0" y="T1"/>
                </a:cxn>
                <a:cxn ang="0">
                  <a:pos x="T2" y="T3"/>
                </a:cxn>
                <a:cxn ang="0">
                  <a:pos x="T4" y="T5"/>
                </a:cxn>
                <a:cxn ang="0">
                  <a:pos x="T6" y="T7"/>
                </a:cxn>
                <a:cxn ang="0">
                  <a:pos x="T8" y="T9"/>
                </a:cxn>
                <a:cxn ang="0">
                  <a:pos x="T10" y="T11"/>
                </a:cxn>
              </a:cxnLst>
              <a:rect l="0" t="0" r="r" b="b"/>
              <a:pathLst>
                <a:path w="13" h="8">
                  <a:moveTo>
                    <a:pt x="1" y="0"/>
                  </a:moveTo>
                  <a:cubicBezTo>
                    <a:pt x="0" y="0"/>
                    <a:pt x="0" y="0"/>
                    <a:pt x="0" y="0"/>
                  </a:cubicBezTo>
                  <a:cubicBezTo>
                    <a:pt x="2" y="3"/>
                    <a:pt x="3" y="4"/>
                    <a:pt x="6" y="5"/>
                  </a:cubicBezTo>
                  <a:cubicBezTo>
                    <a:pt x="8" y="5"/>
                    <a:pt x="9" y="7"/>
                    <a:pt x="11" y="8"/>
                  </a:cubicBezTo>
                  <a:cubicBezTo>
                    <a:pt x="13" y="2"/>
                    <a:pt x="10" y="2"/>
                    <a:pt x="6" y="1"/>
                  </a:cubicBezTo>
                  <a:cubicBezTo>
                    <a:pt x="4"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1271"/>
            <p:cNvSpPr/>
            <p:nvPr/>
          </p:nvSpPr>
          <p:spPr bwMode="auto">
            <a:xfrm>
              <a:off x="4981407" y="5173367"/>
              <a:ext cx="12081" cy="6712"/>
            </a:xfrm>
            <a:custGeom>
              <a:gdLst>
                <a:gd name="T0" fmla="*/ 1 w 4"/>
                <a:gd name="T1" fmla="*/ 0 h 2"/>
                <a:gd name="T2" fmla="*/ 0 w 4"/>
                <a:gd name="T3" fmla="*/ 2 h 2"/>
                <a:gd name="T4" fmla="*/ 0 w 4"/>
                <a:gd name="T5" fmla="*/ 2 h 2"/>
                <a:gd name="T6" fmla="*/ 4 w 4"/>
                <a:gd name="T7" fmla="*/ 2 h 2"/>
                <a:gd name="T8" fmla="*/ 1 w 4"/>
                <a:gd name="T9" fmla="*/ 0 h 2"/>
              </a:gdLst>
              <a:cxnLst>
                <a:cxn ang="0">
                  <a:pos x="T0" y="T1"/>
                </a:cxn>
                <a:cxn ang="0">
                  <a:pos x="T2" y="T3"/>
                </a:cxn>
                <a:cxn ang="0">
                  <a:pos x="T4" y="T5"/>
                </a:cxn>
                <a:cxn ang="0">
                  <a:pos x="T6" y="T7"/>
                </a:cxn>
                <a:cxn ang="0">
                  <a:pos x="T8" y="T9"/>
                </a:cxn>
              </a:cxnLst>
              <a:rect l="0" t="0" r="r" b="b"/>
              <a:pathLst>
                <a:path w="4" h="2">
                  <a:moveTo>
                    <a:pt x="1" y="0"/>
                  </a:moveTo>
                  <a:cubicBezTo>
                    <a:pt x="0" y="1"/>
                    <a:pt x="0" y="2"/>
                    <a:pt x="0" y="2"/>
                  </a:cubicBezTo>
                  <a:cubicBezTo>
                    <a:pt x="0" y="2"/>
                    <a:pt x="0" y="2"/>
                    <a:pt x="0" y="2"/>
                  </a:cubicBezTo>
                  <a:cubicBezTo>
                    <a:pt x="2" y="2"/>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1272"/>
            <p:cNvSpPr/>
            <p:nvPr/>
          </p:nvSpPr>
          <p:spPr bwMode="auto">
            <a:xfrm>
              <a:off x="5453909" y="4980071"/>
              <a:ext cx="18793" cy="12081"/>
            </a:xfrm>
            <a:custGeom>
              <a:gdLst>
                <a:gd name="T0" fmla="*/ 4 w 6"/>
                <a:gd name="T1" fmla="*/ 0 h 4"/>
                <a:gd name="T2" fmla="*/ 5 w 6"/>
                <a:gd name="T3" fmla="*/ 4 h 4"/>
                <a:gd name="T4" fmla="*/ 4 w 6"/>
                <a:gd name="T5" fmla="*/ 0 h 4"/>
              </a:gdLst>
              <a:cxnLst>
                <a:cxn ang="0">
                  <a:pos x="T0" y="T1"/>
                </a:cxn>
                <a:cxn ang="0">
                  <a:pos x="T2" y="T3"/>
                </a:cxn>
                <a:cxn ang="0">
                  <a:pos x="T4" y="T5"/>
                </a:cxn>
              </a:cxnLst>
              <a:rect l="0" t="0" r="r" b="b"/>
              <a:pathLst>
                <a:path w="6" h="4">
                  <a:moveTo>
                    <a:pt x="4" y="0"/>
                  </a:moveTo>
                  <a:cubicBezTo>
                    <a:pt x="0" y="2"/>
                    <a:pt x="3" y="4"/>
                    <a:pt x="5" y="4"/>
                  </a:cubicBezTo>
                  <a:cubicBezTo>
                    <a:pt x="6"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1273"/>
            <p:cNvSpPr/>
            <p:nvPr/>
          </p:nvSpPr>
          <p:spPr bwMode="auto">
            <a:xfrm>
              <a:off x="3153146" y="4824360"/>
              <a:ext cx="18793" cy="12081"/>
            </a:xfrm>
            <a:custGeom>
              <a:gdLst>
                <a:gd name="T0" fmla="*/ 2 w 6"/>
                <a:gd name="T1" fmla="*/ 0 h 4"/>
                <a:gd name="T2" fmla="*/ 1 w 6"/>
                <a:gd name="T3" fmla="*/ 2 h 4"/>
                <a:gd name="T4" fmla="*/ 0 w 6"/>
                <a:gd name="T5" fmla="*/ 1 h 4"/>
                <a:gd name="T6" fmla="*/ 3 w 6"/>
                <a:gd name="T7" fmla="*/ 4 h 4"/>
                <a:gd name="T8" fmla="*/ 6 w 6"/>
                <a:gd name="T9" fmla="*/ 0 h 4"/>
                <a:gd name="T10" fmla="*/ 2 w 6"/>
                <a:gd name="T11" fmla="*/ 0 h 4"/>
              </a:gdLst>
              <a:cxnLst>
                <a:cxn ang="0">
                  <a:pos x="T0" y="T1"/>
                </a:cxn>
                <a:cxn ang="0">
                  <a:pos x="T2" y="T3"/>
                </a:cxn>
                <a:cxn ang="0">
                  <a:pos x="T4" y="T5"/>
                </a:cxn>
                <a:cxn ang="0">
                  <a:pos x="T6" y="T7"/>
                </a:cxn>
                <a:cxn ang="0">
                  <a:pos x="T8" y="T9"/>
                </a:cxn>
                <a:cxn ang="0">
                  <a:pos x="T10" y="T11"/>
                </a:cxn>
              </a:cxnLst>
              <a:rect l="0" t="0" r="r" b="b"/>
              <a:pathLst>
                <a:path w="6" h="4">
                  <a:moveTo>
                    <a:pt x="2" y="0"/>
                  </a:moveTo>
                  <a:cubicBezTo>
                    <a:pt x="1" y="0"/>
                    <a:pt x="1" y="0"/>
                    <a:pt x="1" y="2"/>
                  </a:cubicBezTo>
                  <a:cubicBezTo>
                    <a:pt x="0" y="1"/>
                    <a:pt x="0" y="1"/>
                    <a:pt x="0" y="1"/>
                  </a:cubicBezTo>
                  <a:cubicBezTo>
                    <a:pt x="1" y="3"/>
                    <a:pt x="2" y="4"/>
                    <a:pt x="3" y="4"/>
                  </a:cubicBezTo>
                  <a:cubicBezTo>
                    <a:pt x="4" y="4"/>
                    <a:pt x="5" y="2"/>
                    <a:pt x="6" y="0"/>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1274"/>
            <p:cNvSpPr/>
            <p:nvPr/>
          </p:nvSpPr>
          <p:spPr bwMode="auto">
            <a:xfrm>
              <a:off x="3178650" y="4817648"/>
              <a:ext cx="32216" cy="28189"/>
            </a:xfrm>
            <a:custGeom>
              <a:gdLst>
                <a:gd name="T0" fmla="*/ 7 w 10"/>
                <a:gd name="T1" fmla="*/ 0 h 9"/>
                <a:gd name="T2" fmla="*/ 0 w 10"/>
                <a:gd name="T3" fmla="*/ 3 h 9"/>
                <a:gd name="T4" fmla="*/ 3 w 10"/>
                <a:gd name="T5" fmla="*/ 5 h 9"/>
                <a:gd name="T6" fmla="*/ 6 w 10"/>
                <a:gd name="T7" fmla="*/ 9 h 9"/>
                <a:gd name="T8" fmla="*/ 8 w 10"/>
                <a:gd name="T9" fmla="*/ 8 h 9"/>
                <a:gd name="T10" fmla="*/ 9 w 10"/>
                <a:gd name="T11" fmla="*/ 7 h 9"/>
                <a:gd name="T12" fmla="*/ 9 w 10"/>
                <a:gd name="T13" fmla="*/ 4 h 9"/>
                <a:gd name="T14" fmla="*/ 9 w 10"/>
                <a:gd name="T15" fmla="*/ 4 h 9"/>
                <a:gd name="T16" fmla="*/ 8 w 10"/>
                <a:gd name="T17" fmla="*/ 2 h 9"/>
                <a:gd name="T18" fmla="*/ 8 w 10"/>
                <a:gd name="T19" fmla="*/ 0 h 9"/>
                <a:gd name="T20" fmla="*/ 8 w 10"/>
                <a:gd name="T21" fmla="*/ 0 h 9"/>
                <a:gd name="T22" fmla="*/ 7 w 10"/>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7" y="0"/>
                  </a:moveTo>
                  <a:cubicBezTo>
                    <a:pt x="4" y="0"/>
                    <a:pt x="2" y="1"/>
                    <a:pt x="0" y="3"/>
                  </a:cubicBezTo>
                  <a:cubicBezTo>
                    <a:pt x="1" y="4"/>
                    <a:pt x="2" y="5"/>
                    <a:pt x="3" y="5"/>
                  </a:cubicBezTo>
                  <a:cubicBezTo>
                    <a:pt x="5" y="5"/>
                    <a:pt x="5" y="9"/>
                    <a:pt x="6" y="9"/>
                  </a:cubicBezTo>
                  <a:cubicBezTo>
                    <a:pt x="7" y="9"/>
                    <a:pt x="7" y="9"/>
                    <a:pt x="8" y="8"/>
                  </a:cubicBezTo>
                  <a:cubicBezTo>
                    <a:pt x="9" y="7"/>
                    <a:pt x="9" y="8"/>
                    <a:pt x="9" y="7"/>
                  </a:cubicBezTo>
                  <a:cubicBezTo>
                    <a:pt x="10" y="6"/>
                    <a:pt x="10" y="4"/>
                    <a:pt x="9" y="4"/>
                  </a:cubicBezTo>
                  <a:cubicBezTo>
                    <a:pt x="9" y="4"/>
                    <a:pt x="9" y="4"/>
                    <a:pt x="9" y="4"/>
                  </a:cubicBezTo>
                  <a:cubicBezTo>
                    <a:pt x="9" y="4"/>
                    <a:pt x="9" y="3"/>
                    <a:pt x="8" y="2"/>
                  </a:cubicBezTo>
                  <a:cubicBezTo>
                    <a:pt x="8" y="1"/>
                    <a:pt x="7" y="0"/>
                    <a:pt x="8" y="0"/>
                  </a:cubicBezTo>
                  <a:cubicBezTo>
                    <a:pt x="8" y="0"/>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1275"/>
            <p:cNvSpPr/>
            <p:nvPr/>
          </p:nvSpPr>
          <p:spPr bwMode="auto">
            <a:xfrm>
              <a:off x="2734337" y="4910269"/>
              <a:ext cx="18793" cy="28189"/>
            </a:xfrm>
            <a:custGeom>
              <a:gdLst>
                <a:gd name="T0" fmla="*/ 0 w 6"/>
                <a:gd name="T1" fmla="*/ 0 h 9"/>
                <a:gd name="T2" fmla="*/ 6 w 6"/>
                <a:gd name="T3" fmla="*/ 9 h 9"/>
                <a:gd name="T4" fmla="*/ 0 w 6"/>
                <a:gd name="T5" fmla="*/ 0 h 9"/>
              </a:gdLst>
              <a:cxnLst>
                <a:cxn ang="0">
                  <a:pos x="T0" y="T1"/>
                </a:cxn>
                <a:cxn ang="0">
                  <a:pos x="T2" y="T3"/>
                </a:cxn>
                <a:cxn ang="0">
                  <a:pos x="T4" y="T5"/>
                </a:cxn>
              </a:cxnLst>
              <a:rect l="0" t="0" r="r" b="b"/>
              <a:pathLst>
                <a:path w="6" h="9">
                  <a:moveTo>
                    <a:pt x="0" y="0"/>
                  </a:moveTo>
                  <a:cubicBezTo>
                    <a:pt x="2" y="3"/>
                    <a:pt x="4" y="6"/>
                    <a:pt x="6" y="9"/>
                  </a:cubicBezTo>
                  <a:cubicBezTo>
                    <a:pt x="5" y="7"/>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1276"/>
            <p:cNvSpPr/>
            <p:nvPr/>
          </p:nvSpPr>
          <p:spPr bwMode="auto">
            <a:xfrm>
              <a:off x="4762606" y="4633748"/>
              <a:ext cx="18793" cy="25504"/>
            </a:xfrm>
            <a:custGeom>
              <a:gdLst>
                <a:gd name="T0" fmla="*/ 0 w 6"/>
                <a:gd name="T1" fmla="*/ 0 h 8"/>
                <a:gd name="T2" fmla="*/ 0 w 6"/>
                <a:gd name="T3" fmla="*/ 0 h 8"/>
                <a:gd name="T4" fmla="*/ 5 w 6"/>
                <a:gd name="T5" fmla="*/ 8 h 8"/>
                <a:gd name="T6" fmla="*/ 3 w 6"/>
                <a:gd name="T7" fmla="*/ 3 h 8"/>
                <a:gd name="T8" fmla="*/ 0 w 6"/>
                <a:gd name="T9" fmla="*/ 0 h 8"/>
              </a:gdLst>
              <a:cxnLst>
                <a:cxn ang="0">
                  <a:pos x="T0" y="T1"/>
                </a:cxn>
                <a:cxn ang="0">
                  <a:pos x="T2" y="T3"/>
                </a:cxn>
                <a:cxn ang="0">
                  <a:pos x="T4" y="T5"/>
                </a:cxn>
                <a:cxn ang="0">
                  <a:pos x="T6" y="T7"/>
                </a:cxn>
                <a:cxn ang="0">
                  <a:pos x="T8" y="T9"/>
                </a:cxn>
              </a:cxnLst>
              <a:rect l="0" t="0" r="r" b="b"/>
              <a:pathLst>
                <a:path w="6" h="8">
                  <a:moveTo>
                    <a:pt x="0" y="0"/>
                  </a:moveTo>
                  <a:cubicBezTo>
                    <a:pt x="0" y="0"/>
                    <a:pt x="0" y="0"/>
                    <a:pt x="0" y="0"/>
                  </a:cubicBezTo>
                  <a:cubicBezTo>
                    <a:pt x="1" y="3"/>
                    <a:pt x="3" y="5"/>
                    <a:pt x="5" y="8"/>
                  </a:cubicBezTo>
                  <a:cubicBezTo>
                    <a:pt x="6" y="5"/>
                    <a:pt x="5" y="5"/>
                    <a:pt x="3"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1277"/>
            <p:cNvSpPr/>
            <p:nvPr/>
          </p:nvSpPr>
          <p:spPr bwMode="auto">
            <a:xfrm>
              <a:off x="4476689" y="4945170"/>
              <a:ext cx="18793" cy="5369"/>
            </a:xfrm>
            <a:custGeom>
              <a:gdLst>
                <a:gd name="T0" fmla="*/ 1 w 6"/>
                <a:gd name="T1" fmla="*/ 0 h 2"/>
                <a:gd name="T2" fmla="*/ 0 w 6"/>
                <a:gd name="T3" fmla="*/ 2 h 2"/>
                <a:gd name="T4" fmla="*/ 6 w 6"/>
                <a:gd name="T5" fmla="*/ 1 h 2"/>
                <a:gd name="T6" fmla="*/ 1 w 6"/>
                <a:gd name="T7" fmla="*/ 0 h 2"/>
              </a:gdLst>
              <a:cxnLst>
                <a:cxn ang="0">
                  <a:pos x="T0" y="T1"/>
                </a:cxn>
                <a:cxn ang="0">
                  <a:pos x="T2" y="T3"/>
                </a:cxn>
                <a:cxn ang="0">
                  <a:pos x="T4" y="T5"/>
                </a:cxn>
                <a:cxn ang="0">
                  <a:pos x="T6" y="T7"/>
                </a:cxn>
              </a:cxnLst>
              <a:rect l="0" t="0" r="r" b="b"/>
              <a:pathLst>
                <a:path w="6" h="2">
                  <a:moveTo>
                    <a:pt x="1" y="0"/>
                  </a:moveTo>
                  <a:cubicBezTo>
                    <a:pt x="1" y="0"/>
                    <a:pt x="1" y="1"/>
                    <a:pt x="0" y="2"/>
                  </a:cubicBezTo>
                  <a:cubicBezTo>
                    <a:pt x="3" y="1"/>
                    <a:pt x="5" y="1"/>
                    <a:pt x="6" y="1"/>
                  </a:cubicBezTo>
                  <a:cubicBezTo>
                    <a:pt x="5"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1278"/>
            <p:cNvSpPr/>
            <p:nvPr/>
          </p:nvSpPr>
          <p:spPr bwMode="auto">
            <a:xfrm>
              <a:off x="3518261" y="4687441"/>
              <a:ext cx="6712" cy="6712"/>
            </a:xfrm>
            <a:custGeom>
              <a:gdLst>
                <a:gd name="T0" fmla="*/ 2 w 2"/>
                <a:gd name="T1" fmla="*/ 0 h 2"/>
                <a:gd name="T2" fmla="*/ 0 w 2"/>
                <a:gd name="T3" fmla="*/ 2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0"/>
                    <a:pt x="0" y="1"/>
                    <a:pt x="0" y="2"/>
                  </a:cubicBezTo>
                  <a:cubicBezTo>
                    <a:pt x="0" y="2"/>
                    <a:pt x="0" y="2"/>
                    <a:pt x="1" y="2"/>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Freeform 1279"/>
            <p:cNvSpPr>
              <a:spLocks noEditPoints="1"/>
            </p:cNvSpPr>
            <p:nvPr/>
          </p:nvSpPr>
          <p:spPr bwMode="auto">
            <a:xfrm>
              <a:off x="4248492" y="4738450"/>
              <a:ext cx="5369" cy="9396"/>
            </a:xfrm>
            <a:custGeom>
              <a:gdLst>
                <a:gd name="T0" fmla="*/ 2 w 2"/>
                <a:gd name="T1" fmla="*/ 3 h 3"/>
                <a:gd name="T2" fmla="*/ 2 w 2"/>
                <a:gd name="T3" fmla="*/ 3 h 3"/>
                <a:gd name="T4" fmla="*/ 2 w 2"/>
                <a:gd name="T5" fmla="*/ 3 h 3"/>
                <a:gd name="T6" fmla="*/ 0 w 2"/>
                <a:gd name="T7" fmla="*/ 0 h 3"/>
                <a:gd name="T8" fmla="*/ 2 w 2"/>
                <a:gd name="T9" fmla="*/ 3 h 3"/>
                <a:gd name="T10" fmla="*/ 0 w 2"/>
                <a:gd name="T11" fmla="*/ 0 h 3"/>
              </a:gdLst>
              <a:cxnLst>
                <a:cxn ang="0">
                  <a:pos x="T0" y="T1"/>
                </a:cxn>
                <a:cxn ang="0">
                  <a:pos x="T2" y="T3"/>
                </a:cxn>
                <a:cxn ang="0">
                  <a:pos x="T4" y="T5"/>
                </a:cxn>
                <a:cxn ang="0">
                  <a:pos x="T6" y="T7"/>
                </a:cxn>
                <a:cxn ang="0">
                  <a:pos x="T8" y="T9"/>
                </a:cxn>
                <a:cxn ang="0">
                  <a:pos x="T10" y="T11"/>
                </a:cxn>
              </a:cxnLst>
              <a:rect l="0" t="0" r="r" b="b"/>
              <a:pathLst>
                <a:path w="2" h="3">
                  <a:moveTo>
                    <a:pt x="2" y="3"/>
                  </a:moveTo>
                  <a:cubicBezTo>
                    <a:pt x="2" y="3"/>
                    <a:pt x="2" y="3"/>
                    <a:pt x="2" y="3"/>
                  </a:cubicBezTo>
                  <a:cubicBezTo>
                    <a:pt x="2" y="3"/>
                    <a:pt x="2" y="3"/>
                    <a:pt x="2" y="3"/>
                  </a:cubicBezTo>
                  <a:moveTo>
                    <a:pt x="0" y="0"/>
                  </a:moveTo>
                  <a:cubicBezTo>
                    <a:pt x="0" y="1"/>
                    <a:pt x="1" y="2"/>
                    <a:pt x="2"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1280"/>
            <p:cNvSpPr/>
            <p:nvPr/>
          </p:nvSpPr>
          <p:spPr bwMode="auto">
            <a:xfrm>
              <a:off x="3562558" y="4982755"/>
              <a:ext cx="28189" cy="22820"/>
            </a:xfrm>
            <a:custGeom>
              <a:gdLst>
                <a:gd name="T0" fmla="*/ 3 w 9"/>
                <a:gd name="T1" fmla="*/ 0 h 7"/>
                <a:gd name="T2" fmla="*/ 2 w 9"/>
                <a:gd name="T3" fmla="*/ 0 h 7"/>
                <a:gd name="T4" fmla="*/ 2 w 9"/>
                <a:gd name="T5" fmla="*/ 0 h 7"/>
                <a:gd name="T6" fmla="*/ 2 w 9"/>
                <a:gd name="T7" fmla="*/ 0 h 7"/>
                <a:gd name="T8" fmla="*/ 2 w 9"/>
                <a:gd name="T9" fmla="*/ 0 h 7"/>
                <a:gd name="T10" fmla="*/ 2 w 9"/>
                <a:gd name="T11" fmla="*/ 0 h 7"/>
                <a:gd name="T12" fmla="*/ 1 w 9"/>
                <a:gd name="T13" fmla="*/ 1 h 7"/>
                <a:gd name="T14" fmla="*/ 0 w 9"/>
                <a:gd name="T15" fmla="*/ 7 h 7"/>
                <a:gd name="T16" fmla="*/ 8 w 9"/>
                <a:gd name="T17" fmla="*/ 4 h 7"/>
                <a:gd name="T18" fmla="*/ 9 w 9"/>
                <a:gd name="T19" fmla="*/ 3 h 7"/>
                <a:gd name="T20" fmla="*/ 9 w 9"/>
                <a:gd name="T21" fmla="*/ 2 h 7"/>
                <a:gd name="T22" fmla="*/ 9 w 9"/>
                <a:gd name="T23" fmla="*/ 2 h 7"/>
                <a:gd name="T24" fmla="*/ 8 w 9"/>
                <a:gd name="T25" fmla="*/ 1 h 7"/>
                <a:gd name="T26" fmla="*/ 6 w 9"/>
                <a:gd name="T27" fmla="*/ 0 h 7"/>
                <a:gd name="T28" fmla="*/ 5 w 9"/>
                <a:gd name="T29" fmla="*/ 0 h 7"/>
                <a:gd name="T30" fmla="*/ 3 w 9"/>
                <a:gd name="T3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7">
                  <a:moveTo>
                    <a:pt x="3" y="0"/>
                  </a:moveTo>
                  <a:cubicBezTo>
                    <a:pt x="3" y="0"/>
                    <a:pt x="3" y="0"/>
                    <a:pt x="2" y="0"/>
                  </a:cubicBezTo>
                  <a:cubicBezTo>
                    <a:pt x="2" y="0"/>
                    <a:pt x="2" y="0"/>
                    <a:pt x="2" y="0"/>
                  </a:cubicBezTo>
                  <a:cubicBezTo>
                    <a:pt x="2" y="0"/>
                    <a:pt x="2" y="0"/>
                    <a:pt x="2" y="0"/>
                  </a:cubicBezTo>
                  <a:cubicBezTo>
                    <a:pt x="2" y="0"/>
                    <a:pt x="2" y="0"/>
                    <a:pt x="2" y="0"/>
                  </a:cubicBezTo>
                  <a:cubicBezTo>
                    <a:pt x="2" y="0"/>
                    <a:pt x="2" y="0"/>
                    <a:pt x="2" y="0"/>
                  </a:cubicBezTo>
                  <a:cubicBezTo>
                    <a:pt x="1" y="1"/>
                    <a:pt x="1" y="1"/>
                    <a:pt x="1" y="1"/>
                  </a:cubicBezTo>
                  <a:cubicBezTo>
                    <a:pt x="1" y="2"/>
                    <a:pt x="1" y="5"/>
                    <a:pt x="0" y="7"/>
                  </a:cubicBezTo>
                  <a:cubicBezTo>
                    <a:pt x="2" y="6"/>
                    <a:pt x="7" y="6"/>
                    <a:pt x="8" y="4"/>
                  </a:cubicBezTo>
                  <a:cubicBezTo>
                    <a:pt x="9" y="3"/>
                    <a:pt x="9" y="3"/>
                    <a:pt x="9" y="3"/>
                  </a:cubicBezTo>
                  <a:cubicBezTo>
                    <a:pt x="9" y="2"/>
                    <a:pt x="9" y="2"/>
                    <a:pt x="9" y="2"/>
                  </a:cubicBezTo>
                  <a:cubicBezTo>
                    <a:pt x="9" y="2"/>
                    <a:pt x="9" y="2"/>
                    <a:pt x="9" y="2"/>
                  </a:cubicBezTo>
                  <a:cubicBezTo>
                    <a:pt x="9" y="2"/>
                    <a:pt x="9" y="2"/>
                    <a:pt x="8" y="1"/>
                  </a:cubicBezTo>
                  <a:cubicBezTo>
                    <a:pt x="8" y="1"/>
                    <a:pt x="7" y="1"/>
                    <a:pt x="6" y="0"/>
                  </a:cubicBezTo>
                  <a:cubicBezTo>
                    <a:pt x="5" y="0"/>
                    <a:pt x="5" y="0"/>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1281"/>
            <p:cNvSpPr/>
            <p:nvPr/>
          </p:nvSpPr>
          <p:spPr bwMode="auto">
            <a:xfrm>
              <a:off x="4882074" y="4929062"/>
              <a:ext cx="13423" cy="18793"/>
            </a:xfrm>
            <a:custGeom>
              <a:gdLst>
                <a:gd name="T0" fmla="*/ 3 w 4"/>
                <a:gd name="T1" fmla="*/ 0 h 6"/>
                <a:gd name="T2" fmla="*/ 0 w 4"/>
                <a:gd name="T3" fmla="*/ 4 h 6"/>
                <a:gd name="T4" fmla="*/ 0 w 4"/>
                <a:gd name="T5" fmla="*/ 4 h 6"/>
                <a:gd name="T6" fmla="*/ 1 w 4"/>
                <a:gd name="T7" fmla="*/ 5 h 6"/>
                <a:gd name="T8" fmla="*/ 1 w 4"/>
                <a:gd name="T9" fmla="*/ 6 h 6"/>
                <a:gd name="T10" fmla="*/ 1 w 4"/>
                <a:gd name="T11" fmla="*/ 6 h 6"/>
                <a:gd name="T12" fmla="*/ 2 w 4"/>
                <a:gd name="T13" fmla="*/ 6 h 6"/>
                <a:gd name="T14" fmla="*/ 4 w 4"/>
                <a:gd name="T15" fmla="*/ 0 h 6"/>
                <a:gd name="T16" fmla="*/ 3 w 4"/>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3" y="0"/>
                  </a:moveTo>
                  <a:cubicBezTo>
                    <a:pt x="1" y="0"/>
                    <a:pt x="0" y="2"/>
                    <a:pt x="0" y="4"/>
                  </a:cubicBezTo>
                  <a:cubicBezTo>
                    <a:pt x="0" y="4"/>
                    <a:pt x="0" y="4"/>
                    <a:pt x="0" y="4"/>
                  </a:cubicBezTo>
                  <a:cubicBezTo>
                    <a:pt x="0" y="4"/>
                    <a:pt x="1" y="4"/>
                    <a:pt x="1" y="5"/>
                  </a:cubicBezTo>
                  <a:cubicBezTo>
                    <a:pt x="1" y="5"/>
                    <a:pt x="1" y="6"/>
                    <a:pt x="1" y="6"/>
                  </a:cubicBezTo>
                  <a:cubicBezTo>
                    <a:pt x="1" y="6"/>
                    <a:pt x="1" y="6"/>
                    <a:pt x="1" y="6"/>
                  </a:cubicBezTo>
                  <a:cubicBezTo>
                    <a:pt x="1" y="6"/>
                    <a:pt x="2" y="6"/>
                    <a:pt x="2" y="6"/>
                  </a:cubicBezTo>
                  <a:cubicBezTo>
                    <a:pt x="4" y="6"/>
                    <a:pt x="4" y="2"/>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1282"/>
            <p:cNvSpPr/>
            <p:nvPr/>
          </p:nvSpPr>
          <p:spPr bwMode="auto">
            <a:xfrm>
              <a:off x="3017570" y="5306258"/>
              <a:ext cx="25504" cy="13423"/>
            </a:xfrm>
            <a:custGeom>
              <a:gdLst>
                <a:gd name="T0" fmla="*/ 2 w 8"/>
                <a:gd name="T1" fmla="*/ 0 h 4"/>
                <a:gd name="T2" fmla="*/ 0 w 8"/>
                <a:gd name="T3" fmla="*/ 0 h 4"/>
                <a:gd name="T4" fmla="*/ 7 w 8"/>
                <a:gd name="T5" fmla="*/ 4 h 4"/>
                <a:gd name="T6" fmla="*/ 2 w 8"/>
                <a:gd name="T7" fmla="*/ 0 h 4"/>
              </a:gdLst>
              <a:cxnLst>
                <a:cxn ang="0">
                  <a:pos x="T0" y="T1"/>
                </a:cxn>
                <a:cxn ang="0">
                  <a:pos x="T2" y="T3"/>
                </a:cxn>
                <a:cxn ang="0">
                  <a:pos x="T4" y="T5"/>
                </a:cxn>
                <a:cxn ang="0">
                  <a:pos x="T6" y="T7"/>
                </a:cxn>
              </a:cxnLst>
              <a:rect l="0" t="0" r="r" b="b"/>
              <a:pathLst>
                <a:path w="8" h="4">
                  <a:moveTo>
                    <a:pt x="2" y="0"/>
                  </a:moveTo>
                  <a:cubicBezTo>
                    <a:pt x="2" y="0"/>
                    <a:pt x="1" y="0"/>
                    <a:pt x="0" y="0"/>
                  </a:cubicBezTo>
                  <a:cubicBezTo>
                    <a:pt x="2" y="2"/>
                    <a:pt x="5" y="3"/>
                    <a:pt x="7" y="4"/>
                  </a:cubicBezTo>
                  <a:cubicBezTo>
                    <a:pt x="8" y="2"/>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Freeform 1283"/>
            <p:cNvSpPr/>
            <p:nvPr/>
          </p:nvSpPr>
          <p:spPr bwMode="auto">
            <a:xfrm>
              <a:off x="5482098" y="5020341"/>
              <a:ext cx="16108" cy="4027"/>
            </a:xfrm>
            <a:custGeom>
              <a:gdLst>
                <a:gd name="T0" fmla="*/ 0 w 5"/>
                <a:gd name="T1" fmla="*/ 0 h 1"/>
                <a:gd name="T2" fmla="*/ 4 w 5"/>
                <a:gd name="T3" fmla="*/ 1 h 1"/>
                <a:gd name="T4" fmla="*/ 5 w 5"/>
                <a:gd name="T5" fmla="*/ 0 h 1"/>
                <a:gd name="T6" fmla="*/ 0 w 5"/>
                <a:gd name="T7" fmla="*/ 0 h 1"/>
              </a:gdLst>
              <a:cxnLst>
                <a:cxn ang="0">
                  <a:pos x="T0" y="T1"/>
                </a:cxn>
                <a:cxn ang="0">
                  <a:pos x="T2" y="T3"/>
                </a:cxn>
                <a:cxn ang="0">
                  <a:pos x="T4" y="T5"/>
                </a:cxn>
                <a:cxn ang="0">
                  <a:pos x="T6" y="T7"/>
                </a:cxn>
              </a:cxnLst>
              <a:rect l="0" t="0" r="r" b="b"/>
              <a:pathLst>
                <a:path w="5" h="1">
                  <a:moveTo>
                    <a:pt x="0" y="0"/>
                  </a:moveTo>
                  <a:cubicBezTo>
                    <a:pt x="1" y="0"/>
                    <a:pt x="2" y="1"/>
                    <a:pt x="4" y="1"/>
                  </a:cubicBezTo>
                  <a:cubicBezTo>
                    <a:pt x="4" y="1"/>
                    <a:pt x="5" y="1"/>
                    <a:pt x="5" y="0"/>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1284"/>
            <p:cNvSpPr>
              <a:spLocks noEditPoints="1"/>
            </p:cNvSpPr>
            <p:nvPr/>
          </p:nvSpPr>
          <p:spPr bwMode="auto">
            <a:xfrm>
              <a:off x="4600184" y="5671374"/>
              <a:ext cx="9396" cy="12081"/>
            </a:xfrm>
            <a:custGeom>
              <a:gdLst>
                <a:gd name="T0" fmla="*/ 3 w 3"/>
                <a:gd name="T1" fmla="*/ 0 h 4"/>
                <a:gd name="T2" fmla="*/ 1 w 3"/>
                <a:gd name="T3" fmla="*/ 4 h 4"/>
                <a:gd name="T4" fmla="*/ 3 w 3"/>
                <a:gd name="T5" fmla="*/ 0 h 4"/>
                <a:gd name="T6" fmla="*/ 3 w 3"/>
                <a:gd name="T7" fmla="*/ 0 h 4"/>
                <a:gd name="T8" fmla="*/ 3 w 3"/>
                <a:gd name="T9" fmla="*/ 0 h 4"/>
                <a:gd name="T10" fmla="*/ 3 w 3"/>
                <a:gd name="T11" fmla="*/ 0 h 4"/>
              </a:gdLst>
              <a:cxnLst>
                <a:cxn ang="0">
                  <a:pos x="T0" y="T1"/>
                </a:cxn>
                <a:cxn ang="0">
                  <a:pos x="T2" y="T3"/>
                </a:cxn>
                <a:cxn ang="0">
                  <a:pos x="T4" y="T5"/>
                </a:cxn>
                <a:cxn ang="0">
                  <a:pos x="T6" y="T7"/>
                </a:cxn>
                <a:cxn ang="0">
                  <a:pos x="T8" y="T9"/>
                </a:cxn>
                <a:cxn ang="0">
                  <a:pos x="T10" y="T11"/>
                </a:cxn>
              </a:cxnLst>
              <a:rect l="0" t="0" r="r" b="b"/>
              <a:pathLst>
                <a:path w="3" h="4">
                  <a:moveTo>
                    <a:pt x="3" y="0"/>
                  </a:moveTo>
                  <a:cubicBezTo>
                    <a:pt x="2" y="1"/>
                    <a:pt x="0" y="2"/>
                    <a:pt x="1" y="4"/>
                  </a:cubicBezTo>
                  <a:cubicBezTo>
                    <a:pt x="2" y="3"/>
                    <a:pt x="2" y="1"/>
                    <a:pt x="3" y="0"/>
                  </a:cubicBezTo>
                  <a:moveTo>
                    <a:pt x="3" y="0"/>
                  </a:move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Freeform 1285"/>
            <p:cNvSpPr/>
            <p:nvPr/>
          </p:nvSpPr>
          <p:spPr bwMode="auto">
            <a:xfrm>
              <a:off x="3147777" y="4833756"/>
              <a:ext cx="9396" cy="6712"/>
            </a:xfrm>
            <a:custGeom>
              <a:gdLst>
                <a:gd name="T0" fmla="*/ 1 w 3"/>
                <a:gd name="T1" fmla="*/ 0 h 2"/>
                <a:gd name="T2" fmla="*/ 0 w 3"/>
                <a:gd name="T3" fmla="*/ 0 h 2"/>
                <a:gd name="T4" fmla="*/ 3 w 3"/>
                <a:gd name="T5" fmla="*/ 2 h 2"/>
                <a:gd name="T6" fmla="*/ 1 w 3"/>
                <a:gd name="T7" fmla="*/ 0 h 2"/>
              </a:gdLst>
              <a:cxnLst>
                <a:cxn ang="0">
                  <a:pos x="T0" y="T1"/>
                </a:cxn>
                <a:cxn ang="0">
                  <a:pos x="T2" y="T3"/>
                </a:cxn>
                <a:cxn ang="0">
                  <a:pos x="T4" y="T5"/>
                </a:cxn>
                <a:cxn ang="0">
                  <a:pos x="T6" y="T7"/>
                </a:cxn>
              </a:cxnLst>
              <a:rect l="0" t="0" r="r" b="b"/>
              <a:pathLst>
                <a:path w="3" h="2">
                  <a:moveTo>
                    <a:pt x="1" y="0"/>
                  </a:moveTo>
                  <a:cubicBezTo>
                    <a:pt x="1" y="0"/>
                    <a:pt x="1" y="0"/>
                    <a:pt x="0" y="0"/>
                  </a:cubicBezTo>
                  <a:cubicBezTo>
                    <a:pt x="1" y="1"/>
                    <a:pt x="2" y="2"/>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1286"/>
            <p:cNvSpPr/>
            <p:nvPr/>
          </p:nvSpPr>
          <p:spPr bwMode="auto">
            <a:xfrm>
              <a:off x="5409612" y="5040476"/>
              <a:ext cx="9396" cy="14766"/>
            </a:xfrm>
            <a:custGeom>
              <a:gdLst>
                <a:gd name="T0" fmla="*/ 3 w 3"/>
                <a:gd name="T1" fmla="*/ 0 h 5"/>
                <a:gd name="T2" fmla="*/ 1 w 3"/>
                <a:gd name="T3" fmla="*/ 5 h 5"/>
                <a:gd name="T4" fmla="*/ 3 w 3"/>
                <a:gd name="T5" fmla="*/ 0 h 5"/>
              </a:gdLst>
              <a:cxnLst>
                <a:cxn ang="0">
                  <a:pos x="T0" y="T1"/>
                </a:cxn>
                <a:cxn ang="0">
                  <a:pos x="T2" y="T3"/>
                </a:cxn>
                <a:cxn ang="0">
                  <a:pos x="T4" y="T5"/>
                </a:cxn>
              </a:cxnLst>
              <a:rect l="0" t="0" r="r" b="b"/>
              <a:pathLst>
                <a:path w="3" h="5">
                  <a:moveTo>
                    <a:pt x="3" y="0"/>
                  </a:moveTo>
                  <a:cubicBezTo>
                    <a:pt x="1" y="1"/>
                    <a:pt x="0" y="3"/>
                    <a:pt x="1"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1287"/>
            <p:cNvSpPr/>
            <p:nvPr/>
          </p:nvSpPr>
          <p:spPr bwMode="auto">
            <a:xfrm>
              <a:off x="3241740" y="5398880"/>
              <a:ext cx="13423" cy="5369"/>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2" y="0"/>
                    <a:pt x="1" y="1"/>
                    <a:pt x="0" y="2"/>
                  </a:cubicBezTo>
                  <a:cubicBezTo>
                    <a:pt x="1"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1288"/>
            <p:cNvSpPr/>
            <p:nvPr/>
          </p:nvSpPr>
          <p:spPr bwMode="auto">
            <a:xfrm>
              <a:off x="3166569" y="4840468"/>
              <a:ext cx="12081" cy="9396"/>
            </a:xfrm>
            <a:custGeom>
              <a:gdLst>
                <a:gd name="T0" fmla="*/ 0 w 4"/>
                <a:gd name="T1" fmla="*/ 0 h 3"/>
                <a:gd name="T2" fmla="*/ 2 w 4"/>
                <a:gd name="T3" fmla="*/ 3 h 3"/>
                <a:gd name="T4" fmla="*/ 4 w 4"/>
                <a:gd name="T5" fmla="*/ 2 h 3"/>
                <a:gd name="T6" fmla="*/ 0 w 4"/>
                <a:gd name="T7" fmla="*/ 0 h 3"/>
              </a:gdLst>
              <a:cxnLst>
                <a:cxn ang="0">
                  <a:pos x="T0" y="T1"/>
                </a:cxn>
                <a:cxn ang="0">
                  <a:pos x="T2" y="T3"/>
                </a:cxn>
                <a:cxn ang="0">
                  <a:pos x="T4" y="T5"/>
                </a:cxn>
                <a:cxn ang="0">
                  <a:pos x="T6" y="T7"/>
                </a:cxn>
              </a:cxnLst>
              <a:rect l="0" t="0" r="r" b="b"/>
              <a:pathLst>
                <a:path w="4" h="3">
                  <a:moveTo>
                    <a:pt x="0" y="0"/>
                  </a:moveTo>
                  <a:cubicBezTo>
                    <a:pt x="1" y="1"/>
                    <a:pt x="2" y="2"/>
                    <a:pt x="2" y="3"/>
                  </a:cubicBezTo>
                  <a:cubicBezTo>
                    <a:pt x="3" y="3"/>
                    <a:pt x="4" y="3"/>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1289"/>
            <p:cNvSpPr/>
            <p:nvPr/>
          </p:nvSpPr>
          <p:spPr bwMode="auto">
            <a:xfrm>
              <a:off x="5070001" y="5494186"/>
              <a:ext cx="21477" cy="18793"/>
            </a:xfrm>
            <a:custGeom>
              <a:gdLst>
                <a:gd name="T0" fmla="*/ 1 w 7"/>
                <a:gd name="T1" fmla="*/ 0 h 6"/>
                <a:gd name="T2" fmla="*/ 2 w 7"/>
                <a:gd name="T3" fmla="*/ 6 h 6"/>
                <a:gd name="T4" fmla="*/ 4 w 7"/>
                <a:gd name="T5" fmla="*/ 6 h 6"/>
                <a:gd name="T6" fmla="*/ 6 w 7"/>
                <a:gd name="T7" fmla="*/ 3 h 6"/>
                <a:gd name="T8" fmla="*/ 1 w 7"/>
                <a:gd name="T9" fmla="*/ 0 h 6"/>
              </a:gdLst>
              <a:cxnLst>
                <a:cxn ang="0">
                  <a:pos x="T0" y="T1"/>
                </a:cxn>
                <a:cxn ang="0">
                  <a:pos x="T2" y="T3"/>
                </a:cxn>
                <a:cxn ang="0">
                  <a:pos x="T4" y="T5"/>
                </a:cxn>
                <a:cxn ang="0">
                  <a:pos x="T6" y="T7"/>
                </a:cxn>
                <a:cxn ang="0">
                  <a:pos x="T8" y="T9"/>
                </a:cxn>
              </a:cxnLst>
              <a:rect l="0" t="0" r="r" b="b"/>
              <a:pathLst>
                <a:path w="7" h="6">
                  <a:moveTo>
                    <a:pt x="1" y="0"/>
                  </a:moveTo>
                  <a:cubicBezTo>
                    <a:pt x="0" y="1"/>
                    <a:pt x="0" y="5"/>
                    <a:pt x="2" y="6"/>
                  </a:cubicBezTo>
                  <a:cubicBezTo>
                    <a:pt x="3" y="6"/>
                    <a:pt x="3" y="6"/>
                    <a:pt x="4" y="6"/>
                  </a:cubicBezTo>
                  <a:cubicBezTo>
                    <a:pt x="5" y="6"/>
                    <a:pt x="6" y="5"/>
                    <a:pt x="6" y="3"/>
                  </a:cubicBezTo>
                  <a:cubicBezTo>
                    <a:pt x="7" y="0"/>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1290"/>
            <p:cNvSpPr/>
            <p:nvPr/>
          </p:nvSpPr>
          <p:spPr bwMode="auto">
            <a:xfrm>
              <a:off x="4993488" y="5169340"/>
              <a:ext cx="13423" cy="10739"/>
            </a:xfrm>
            <a:custGeom>
              <a:gdLst>
                <a:gd name="T0" fmla="*/ 0 w 4"/>
                <a:gd name="T1" fmla="*/ 0 h 3"/>
                <a:gd name="T2" fmla="*/ 2 w 4"/>
                <a:gd name="T3" fmla="*/ 3 h 3"/>
                <a:gd name="T4" fmla="*/ 4 w 4"/>
                <a:gd name="T5" fmla="*/ 3 h 3"/>
                <a:gd name="T6" fmla="*/ 0 w 4"/>
                <a:gd name="T7" fmla="*/ 0 h 3"/>
              </a:gdLst>
              <a:cxnLst>
                <a:cxn ang="0">
                  <a:pos x="T0" y="T1"/>
                </a:cxn>
                <a:cxn ang="0">
                  <a:pos x="T2" y="T3"/>
                </a:cxn>
                <a:cxn ang="0">
                  <a:pos x="T4" y="T5"/>
                </a:cxn>
                <a:cxn ang="0">
                  <a:pos x="T6" y="T7"/>
                </a:cxn>
              </a:cxnLst>
              <a:rect l="0" t="0" r="r" b="b"/>
              <a:pathLst>
                <a:path w="4" h="3">
                  <a:moveTo>
                    <a:pt x="0" y="0"/>
                  </a:moveTo>
                  <a:cubicBezTo>
                    <a:pt x="1" y="2"/>
                    <a:pt x="1" y="3"/>
                    <a:pt x="2" y="3"/>
                  </a:cubicBezTo>
                  <a:cubicBezTo>
                    <a:pt x="3" y="3"/>
                    <a:pt x="3"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1291"/>
            <p:cNvSpPr/>
            <p:nvPr/>
          </p:nvSpPr>
          <p:spPr bwMode="auto">
            <a:xfrm>
              <a:off x="3287380" y="4680729"/>
              <a:ext cx="9396" cy="16108"/>
            </a:xfrm>
            <a:custGeom>
              <a:gdLst>
                <a:gd name="T0" fmla="*/ 0 w 3"/>
                <a:gd name="T1" fmla="*/ 0 h 5"/>
                <a:gd name="T2" fmla="*/ 0 w 3"/>
                <a:gd name="T3" fmla="*/ 5 h 5"/>
                <a:gd name="T4" fmla="*/ 3 w 3"/>
                <a:gd name="T5" fmla="*/ 2 h 5"/>
                <a:gd name="T6" fmla="*/ 0 w 3"/>
                <a:gd name="T7" fmla="*/ 0 h 5"/>
              </a:gdLst>
              <a:cxnLst>
                <a:cxn ang="0">
                  <a:pos x="T0" y="T1"/>
                </a:cxn>
                <a:cxn ang="0">
                  <a:pos x="T2" y="T3"/>
                </a:cxn>
                <a:cxn ang="0">
                  <a:pos x="T4" y="T5"/>
                </a:cxn>
                <a:cxn ang="0">
                  <a:pos x="T6" y="T7"/>
                </a:cxn>
              </a:cxnLst>
              <a:rect l="0" t="0" r="r" b="b"/>
              <a:pathLst>
                <a:path w="3" h="5">
                  <a:moveTo>
                    <a:pt x="0" y="0"/>
                  </a:moveTo>
                  <a:cubicBezTo>
                    <a:pt x="0" y="2"/>
                    <a:pt x="0" y="3"/>
                    <a:pt x="0" y="5"/>
                  </a:cubicBezTo>
                  <a:cubicBezTo>
                    <a:pt x="2" y="4"/>
                    <a:pt x="3" y="4"/>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1292"/>
            <p:cNvSpPr/>
            <p:nvPr/>
          </p:nvSpPr>
          <p:spPr bwMode="auto">
            <a:xfrm>
              <a:off x="4911606" y="4998863"/>
              <a:ext cx="16108" cy="6712"/>
            </a:xfrm>
            <a:custGeom>
              <a:gdLst>
                <a:gd name="T0" fmla="*/ 2 w 5"/>
                <a:gd name="T1" fmla="*/ 0 h 2"/>
                <a:gd name="T2" fmla="*/ 0 w 5"/>
                <a:gd name="T3" fmla="*/ 1 h 2"/>
                <a:gd name="T4" fmla="*/ 5 w 5"/>
                <a:gd name="T5" fmla="*/ 2 h 2"/>
                <a:gd name="T6" fmla="*/ 5 w 5"/>
                <a:gd name="T7" fmla="*/ 2 h 2"/>
                <a:gd name="T8" fmla="*/ 2 w 5"/>
                <a:gd name="T9" fmla="*/ 0 h 2"/>
              </a:gdLst>
              <a:cxnLst>
                <a:cxn ang="0">
                  <a:pos x="T0" y="T1"/>
                </a:cxn>
                <a:cxn ang="0">
                  <a:pos x="T2" y="T3"/>
                </a:cxn>
                <a:cxn ang="0">
                  <a:pos x="T4" y="T5"/>
                </a:cxn>
                <a:cxn ang="0">
                  <a:pos x="T6" y="T7"/>
                </a:cxn>
                <a:cxn ang="0">
                  <a:pos x="T8" y="T9"/>
                </a:cxn>
              </a:cxnLst>
              <a:rect l="0" t="0" r="r" b="b"/>
              <a:pathLst>
                <a:path w="5" h="2">
                  <a:moveTo>
                    <a:pt x="2" y="0"/>
                  </a:moveTo>
                  <a:cubicBezTo>
                    <a:pt x="2" y="0"/>
                    <a:pt x="1" y="0"/>
                    <a:pt x="0" y="1"/>
                  </a:cubicBezTo>
                  <a:cubicBezTo>
                    <a:pt x="1" y="1"/>
                    <a:pt x="3" y="2"/>
                    <a:pt x="5" y="2"/>
                  </a:cubicBezTo>
                  <a:cubicBezTo>
                    <a:pt x="5" y="2"/>
                    <a:pt x="5" y="2"/>
                    <a:pt x="5" y="2"/>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Freeform 1293"/>
            <p:cNvSpPr/>
            <p:nvPr/>
          </p:nvSpPr>
          <p:spPr bwMode="auto">
            <a:xfrm>
              <a:off x="2861859" y="5096854"/>
              <a:ext cx="16108" cy="25504"/>
            </a:xfrm>
            <a:custGeom>
              <a:gdLst>
                <a:gd name="T0" fmla="*/ 0 w 5"/>
                <a:gd name="T1" fmla="*/ 0 h 8"/>
                <a:gd name="T2" fmla="*/ 0 w 5"/>
                <a:gd name="T3" fmla="*/ 8 h 8"/>
                <a:gd name="T4" fmla="*/ 1 w 5"/>
                <a:gd name="T5" fmla="*/ 8 h 8"/>
                <a:gd name="T6" fmla="*/ 4 w 5"/>
                <a:gd name="T7" fmla="*/ 4 h 8"/>
                <a:gd name="T8" fmla="*/ 0 w 5"/>
                <a:gd name="T9" fmla="*/ 0 h 8"/>
              </a:gdLst>
              <a:cxnLst>
                <a:cxn ang="0">
                  <a:pos x="T0" y="T1"/>
                </a:cxn>
                <a:cxn ang="0">
                  <a:pos x="T2" y="T3"/>
                </a:cxn>
                <a:cxn ang="0">
                  <a:pos x="T4" y="T5"/>
                </a:cxn>
                <a:cxn ang="0">
                  <a:pos x="T6" y="T7"/>
                </a:cxn>
                <a:cxn ang="0">
                  <a:pos x="T8" y="T9"/>
                </a:cxn>
              </a:cxnLst>
              <a:rect l="0" t="0" r="r" b="b"/>
              <a:pathLst>
                <a:path w="5" h="8">
                  <a:moveTo>
                    <a:pt x="0" y="0"/>
                  </a:moveTo>
                  <a:cubicBezTo>
                    <a:pt x="0" y="2"/>
                    <a:pt x="0" y="5"/>
                    <a:pt x="0" y="8"/>
                  </a:cubicBezTo>
                  <a:cubicBezTo>
                    <a:pt x="1" y="8"/>
                    <a:pt x="1" y="8"/>
                    <a:pt x="1" y="8"/>
                  </a:cubicBezTo>
                  <a:cubicBezTo>
                    <a:pt x="3" y="8"/>
                    <a:pt x="5" y="6"/>
                    <a:pt x="4"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1294"/>
            <p:cNvSpPr/>
            <p:nvPr/>
          </p:nvSpPr>
          <p:spPr bwMode="auto">
            <a:xfrm>
              <a:off x="2731653" y="4929062"/>
              <a:ext cx="18793" cy="21477"/>
            </a:xfrm>
            <a:custGeom>
              <a:gdLst>
                <a:gd name="T0" fmla="*/ 4 w 6"/>
                <a:gd name="T1" fmla="*/ 0 h 7"/>
                <a:gd name="T2" fmla="*/ 2 w 6"/>
                <a:gd name="T3" fmla="*/ 3 h 7"/>
                <a:gd name="T4" fmla="*/ 0 w 6"/>
                <a:gd name="T5" fmla="*/ 6 h 7"/>
                <a:gd name="T6" fmla="*/ 2 w 6"/>
                <a:gd name="T7" fmla="*/ 7 h 7"/>
                <a:gd name="T8" fmla="*/ 6 w 6"/>
                <a:gd name="T9" fmla="*/ 5 h 7"/>
                <a:gd name="T10" fmla="*/ 4 w 6"/>
                <a:gd name="T11" fmla="*/ 0 h 7"/>
              </a:gdLst>
              <a:cxnLst>
                <a:cxn ang="0">
                  <a:pos x="T0" y="T1"/>
                </a:cxn>
                <a:cxn ang="0">
                  <a:pos x="T2" y="T3"/>
                </a:cxn>
                <a:cxn ang="0">
                  <a:pos x="T4" y="T5"/>
                </a:cxn>
                <a:cxn ang="0">
                  <a:pos x="T6" y="T7"/>
                </a:cxn>
                <a:cxn ang="0">
                  <a:pos x="T8" y="T9"/>
                </a:cxn>
                <a:cxn ang="0">
                  <a:pos x="T10" y="T11"/>
                </a:cxn>
              </a:cxnLst>
              <a:rect l="0" t="0" r="r" b="b"/>
              <a:pathLst>
                <a:path w="6" h="7">
                  <a:moveTo>
                    <a:pt x="4" y="0"/>
                  </a:moveTo>
                  <a:cubicBezTo>
                    <a:pt x="4" y="0"/>
                    <a:pt x="3" y="1"/>
                    <a:pt x="2" y="3"/>
                  </a:cubicBezTo>
                  <a:cubicBezTo>
                    <a:pt x="2" y="5"/>
                    <a:pt x="3" y="6"/>
                    <a:pt x="0" y="6"/>
                  </a:cubicBezTo>
                  <a:cubicBezTo>
                    <a:pt x="1" y="7"/>
                    <a:pt x="2" y="7"/>
                    <a:pt x="2" y="7"/>
                  </a:cubicBezTo>
                  <a:cubicBezTo>
                    <a:pt x="3" y="7"/>
                    <a:pt x="4" y="6"/>
                    <a:pt x="6" y="5"/>
                  </a:cubicBezTo>
                  <a:cubicBezTo>
                    <a:pt x="6" y="3"/>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1295"/>
            <p:cNvSpPr/>
            <p:nvPr/>
          </p:nvSpPr>
          <p:spPr bwMode="auto">
            <a:xfrm>
              <a:off x="4788111" y="5059268"/>
              <a:ext cx="18793" cy="34901"/>
            </a:xfrm>
            <a:custGeom>
              <a:gdLst>
                <a:gd name="T0" fmla="*/ 4 w 6"/>
                <a:gd name="T1" fmla="*/ 0 h 11"/>
                <a:gd name="T2" fmla="*/ 3 w 6"/>
                <a:gd name="T3" fmla="*/ 6 h 11"/>
                <a:gd name="T4" fmla="*/ 6 w 6"/>
                <a:gd name="T5" fmla="*/ 11 h 11"/>
                <a:gd name="T6" fmla="*/ 4 w 6"/>
                <a:gd name="T7" fmla="*/ 0 h 11"/>
              </a:gdLst>
              <a:cxnLst>
                <a:cxn ang="0">
                  <a:pos x="T0" y="T1"/>
                </a:cxn>
                <a:cxn ang="0">
                  <a:pos x="T2" y="T3"/>
                </a:cxn>
                <a:cxn ang="0">
                  <a:pos x="T4" y="T5"/>
                </a:cxn>
                <a:cxn ang="0">
                  <a:pos x="T6" y="T7"/>
                </a:cxn>
              </a:cxnLst>
              <a:rect l="0" t="0" r="r" b="b"/>
              <a:pathLst>
                <a:path w="6" h="11">
                  <a:moveTo>
                    <a:pt x="4" y="0"/>
                  </a:moveTo>
                  <a:cubicBezTo>
                    <a:pt x="0" y="1"/>
                    <a:pt x="2" y="4"/>
                    <a:pt x="3" y="6"/>
                  </a:cubicBezTo>
                  <a:cubicBezTo>
                    <a:pt x="4" y="8"/>
                    <a:pt x="4" y="11"/>
                    <a:pt x="6" y="11"/>
                  </a:cubicBezTo>
                  <a:cubicBezTo>
                    <a:pt x="5" y="7"/>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1296"/>
            <p:cNvSpPr/>
            <p:nvPr/>
          </p:nvSpPr>
          <p:spPr bwMode="auto">
            <a:xfrm>
              <a:off x="2645743" y="4745162"/>
              <a:ext cx="16108" cy="12081"/>
            </a:xfrm>
            <a:custGeom>
              <a:gdLst>
                <a:gd name="T0" fmla="*/ 2 w 5"/>
                <a:gd name="T1" fmla="*/ 0 h 4"/>
                <a:gd name="T2" fmla="*/ 0 w 5"/>
                <a:gd name="T3" fmla="*/ 0 h 4"/>
                <a:gd name="T4" fmla="*/ 5 w 5"/>
                <a:gd name="T5" fmla="*/ 4 h 4"/>
                <a:gd name="T6" fmla="*/ 2 w 5"/>
                <a:gd name="T7" fmla="*/ 0 h 4"/>
              </a:gdLst>
              <a:cxnLst>
                <a:cxn ang="0">
                  <a:pos x="T0" y="T1"/>
                </a:cxn>
                <a:cxn ang="0">
                  <a:pos x="T2" y="T3"/>
                </a:cxn>
                <a:cxn ang="0">
                  <a:pos x="T4" y="T5"/>
                </a:cxn>
                <a:cxn ang="0">
                  <a:pos x="T6" y="T7"/>
                </a:cxn>
              </a:cxnLst>
              <a:rect l="0" t="0" r="r" b="b"/>
              <a:pathLst>
                <a:path w="5" h="4">
                  <a:moveTo>
                    <a:pt x="2" y="0"/>
                  </a:moveTo>
                  <a:cubicBezTo>
                    <a:pt x="1" y="0"/>
                    <a:pt x="1" y="0"/>
                    <a:pt x="0" y="0"/>
                  </a:cubicBezTo>
                  <a:cubicBezTo>
                    <a:pt x="2" y="1"/>
                    <a:pt x="4" y="2"/>
                    <a:pt x="5" y="4"/>
                  </a:cubicBezTo>
                  <a:cubicBezTo>
                    <a:pt x="5"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Freeform 1297"/>
            <p:cNvSpPr/>
            <p:nvPr/>
          </p:nvSpPr>
          <p:spPr bwMode="auto">
            <a:xfrm>
              <a:off x="4613607" y="5020341"/>
              <a:ext cx="5369" cy="20135"/>
            </a:xfrm>
            <a:custGeom>
              <a:gdLst>
                <a:gd name="T0" fmla="*/ 1 w 2"/>
                <a:gd name="T1" fmla="*/ 0 h 6"/>
                <a:gd name="T2" fmla="*/ 0 w 2"/>
                <a:gd name="T3" fmla="*/ 5 h 6"/>
                <a:gd name="T4" fmla="*/ 1 w 2"/>
                <a:gd name="T5" fmla="*/ 6 h 6"/>
                <a:gd name="T6" fmla="*/ 1 w 2"/>
                <a:gd name="T7" fmla="*/ 0 h 6"/>
              </a:gdLst>
              <a:cxnLst>
                <a:cxn ang="0">
                  <a:pos x="T0" y="T1"/>
                </a:cxn>
                <a:cxn ang="0">
                  <a:pos x="T2" y="T3"/>
                </a:cxn>
                <a:cxn ang="0">
                  <a:pos x="T4" y="T5"/>
                </a:cxn>
                <a:cxn ang="0">
                  <a:pos x="T6" y="T7"/>
                </a:cxn>
              </a:cxnLst>
              <a:rect l="0" t="0" r="r" b="b"/>
              <a:pathLst>
                <a:path w="2" h="6">
                  <a:moveTo>
                    <a:pt x="1" y="0"/>
                  </a:moveTo>
                  <a:cubicBezTo>
                    <a:pt x="1" y="1"/>
                    <a:pt x="0" y="4"/>
                    <a:pt x="0" y="5"/>
                  </a:cubicBezTo>
                  <a:cubicBezTo>
                    <a:pt x="1" y="6"/>
                    <a:pt x="1" y="6"/>
                    <a:pt x="1" y="6"/>
                  </a:cubicBezTo>
                  <a:cubicBezTo>
                    <a:pt x="2" y="6"/>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1298"/>
            <p:cNvSpPr/>
            <p:nvPr/>
          </p:nvSpPr>
          <p:spPr bwMode="auto">
            <a:xfrm>
              <a:off x="4571995" y="5208268"/>
              <a:ext cx="25504" cy="18793"/>
            </a:xfrm>
            <a:custGeom>
              <a:gdLst>
                <a:gd name="T0" fmla="*/ 3 w 8"/>
                <a:gd name="T1" fmla="*/ 0 h 6"/>
                <a:gd name="T2" fmla="*/ 3 w 8"/>
                <a:gd name="T3" fmla="*/ 5 h 6"/>
                <a:gd name="T4" fmla="*/ 5 w 8"/>
                <a:gd name="T5" fmla="*/ 6 h 6"/>
                <a:gd name="T6" fmla="*/ 7 w 8"/>
                <a:gd name="T7" fmla="*/ 3 h 6"/>
                <a:gd name="T8" fmla="*/ 3 w 8"/>
                <a:gd name="T9" fmla="*/ 0 h 6"/>
              </a:gdLst>
              <a:cxnLst>
                <a:cxn ang="0">
                  <a:pos x="T0" y="T1"/>
                </a:cxn>
                <a:cxn ang="0">
                  <a:pos x="T2" y="T3"/>
                </a:cxn>
                <a:cxn ang="0">
                  <a:pos x="T4" y="T5"/>
                </a:cxn>
                <a:cxn ang="0">
                  <a:pos x="T6" y="T7"/>
                </a:cxn>
                <a:cxn ang="0">
                  <a:pos x="T8" y="T9"/>
                </a:cxn>
              </a:cxnLst>
              <a:rect l="0" t="0" r="r" b="b"/>
              <a:pathLst>
                <a:path w="8" h="6">
                  <a:moveTo>
                    <a:pt x="3" y="0"/>
                  </a:moveTo>
                  <a:cubicBezTo>
                    <a:pt x="0" y="1"/>
                    <a:pt x="1" y="4"/>
                    <a:pt x="3" y="5"/>
                  </a:cubicBezTo>
                  <a:cubicBezTo>
                    <a:pt x="4" y="6"/>
                    <a:pt x="4" y="6"/>
                    <a:pt x="5" y="6"/>
                  </a:cubicBezTo>
                  <a:cubicBezTo>
                    <a:pt x="6" y="6"/>
                    <a:pt x="7" y="5"/>
                    <a:pt x="7" y="3"/>
                  </a:cubicBezTo>
                  <a:cubicBezTo>
                    <a:pt x="8" y="1"/>
                    <a:pt x="6"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1299"/>
            <p:cNvSpPr/>
            <p:nvPr/>
          </p:nvSpPr>
          <p:spPr bwMode="auto">
            <a:xfrm>
              <a:off x="4304870" y="5541167"/>
              <a:ext cx="18793" cy="22820"/>
            </a:xfrm>
            <a:custGeom>
              <a:gdLst>
                <a:gd name="T0" fmla="*/ 3 w 6"/>
                <a:gd name="T1" fmla="*/ 0 h 7"/>
                <a:gd name="T2" fmla="*/ 1 w 6"/>
                <a:gd name="T3" fmla="*/ 6 h 7"/>
                <a:gd name="T4" fmla="*/ 2 w 6"/>
                <a:gd name="T5" fmla="*/ 7 h 7"/>
                <a:gd name="T6" fmla="*/ 3 w 6"/>
                <a:gd name="T7" fmla="*/ 6 h 7"/>
                <a:gd name="T8" fmla="*/ 3 w 6"/>
                <a:gd name="T9" fmla="*/ 0 h 7"/>
              </a:gdLst>
              <a:cxnLst>
                <a:cxn ang="0">
                  <a:pos x="T0" y="T1"/>
                </a:cxn>
                <a:cxn ang="0">
                  <a:pos x="T2" y="T3"/>
                </a:cxn>
                <a:cxn ang="0">
                  <a:pos x="T4" y="T5"/>
                </a:cxn>
                <a:cxn ang="0">
                  <a:pos x="T6" y="T7"/>
                </a:cxn>
                <a:cxn ang="0">
                  <a:pos x="T8" y="T9"/>
                </a:cxn>
              </a:cxnLst>
              <a:rect l="0" t="0" r="r" b="b"/>
              <a:pathLst>
                <a:path w="6" h="7">
                  <a:moveTo>
                    <a:pt x="3" y="0"/>
                  </a:moveTo>
                  <a:cubicBezTo>
                    <a:pt x="2" y="3"/>
                    <a:pt x="0" y="3"/>
                    <a:pt x="1" y="6"/>
                  </a:cubicBezTo>
                  <a:cubicBezTo>
                    <a:pt x="1" y="6"/>
                    <a:pt x="1" y="7"/>
                    <a:pt x="2" y="7"/>
                  </a:cubicBezTo>
                  <a:cubicBezTo>
                    <a:pt x="2" y="7"/>
                    <a:pt x="3" y="7"/>
                    <a:pt x="3" y="6"/>
                  </a:cubicBezTo>
                  <a:cubicBezTo>
                    <a:pt x="6" y="3"/>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1300"/>
            <p:cNvSpPr/>
            <p:nvPr/>
          </p:nvSpPr>
          <p:spPr bwMode="auto">
            <a:xfrm>
              <a:off x="5735800" y="5522375"/>
              <a:ext cx="32216" cy="16108"/>
            </a:xfrm>
            <a:custGeom>
              <a:gdLst>
                <a:gd name="T0" fmla="*/ 7 w 10"/>
                <a:gd name="T1" fmla="*/ 0 h 5"/>
                <a:gd name="T2" fmla="*/ 1 w 10"/>
                <a:gd name="T3" fmla="*/ 4 h 5"/>
                <a:gd name="T4" fmla="*/ 6 w 10"/>
                <a:gd name="T5" fmla="*/ 5 h 5"/>
                <a:gd name="T6" fmla="*/ 7 w 10"/>
                <a:gd name="T7" fmla="*/ 5 h 5"/>
                <a:gd name="T8" fmla="*/ 7 w 10"/>
                <a:gd name="T9" fmla="*/ 0 h 5"/>
              </a:gdLst>
              <a:cxnLst>
                <a:cxn ang="0">
                  <a:pos x="T0" y="T1"/>
                </a:cxn>
                <a:cxn ang="0">
                  <a:pos x="T2" y="T3"/>
                </a:cxn>
                <a:cxn ang="0">
                  <a:pos x="T4" y="T5"/>
                </a:cxn>
                <a:cxn ang="0">
                  <a:pos x="T6" y="T7"/>
                </a:cxn>
                <a:cxn ang="0">
                  <a:pos x="T8" y="T9"/>
                </a:cxn>
              </a:cxnLst>
              <a:rect l="0" t="0" r="r" b="b"/>
              <a:pathLst>
                <a:path w="10" h="5">
                  <a:moveTo>
                    <a:pt x="7" y="0"/>
                  </a:moveTo>
                  <a:cubicBezTo>
                    <a:pt x="6" y="0"/>
                    <a:pt x="0" y="2"/>
                    <a:pt x="1" y="4"/>
                  </a:cubicBezTo>
                  <a:cubicBezTo>
                    <a:pt x="1" y="4"/>
                    <a:pt x="5" y="5"/>
                    <a:pt x="6" y="5"/>
                  </a:cubicBezTo>
                  <a:cubicBezTo>
                    <a:pt x="7" y="5"/>
                    <a:pt x="7" y="5"/>
                    <a:pt x="7" y="5"/>
                  </a:cubicBezTo>
                  <a:cubicBezTo>
                    <a:pt x="10" y="5"/>
                    <a:pt x="9"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Freeform 1301"/>
            <p:cNvSpPr/>
            <p:nvPr/>
          </p:nvSpPr>
          <p:spPr bwMode="auto">
            <a:xfrm>
              <a:off x="5533107" y="4966647"/>
              <a:ext cx="44297" cy="32216"/>
            </a:xfrm>
            <a:custGeom>
              <a:gdLst>
                <a:gd name="T0" fmla="*/ 0 w 14"/>
                <a:gd name="T1" fmla="*/ 0 h 10"/>
                <a:gd name="T2" fmla="*/ 0 w 14"/>
                <a:gd name="T3" fmla="*/ 0 h 10"/>
                <a:gd name="T4" fmla="*/ 3 w 14"/>
                <a:gd name="T5" fmla="*/ 10 h 10"/>
                <a:gd name="T6" fmla="*/ 4 w 14"/>
                <a:gd name="T7" fmla="*/ 10 h 10"/>
                <a:gd name="T8" fmla="*/ 5 w 14"/>
                <a:gd name="T9" fmla="*/ 10 h 10"/>
                <a:gd name="T10" fmla="*/ 6 w 14"/>
                <a:gd name="T11" fmla="*/ 10 h 10"/>
                <a:gd name="T12" fmla="*/ 6 w 14"/>
                <a:gd name="T13" fmla="*/ 10 h 10"/>
                <a:gd name="T14" fmla="*/ 8 w 14"/>
                <a:gd name="T15" fmla="*/ 10 h 10"/>
                <a:gd name="T16" fmla="*/ 14 w 14"/>
                <a:gd name="T17" fmla="*/ 8 h 10"/>
                <a:gd name="T18" fmla="*/ 14 w 14"/>
                <a:gd name="T19" fmla="*/ 8 h 10"/>
                <a:gd name="T20" fmla="*/ 12 w 14"/>
                <a:gd name="T21" fmla="*/ 7 h 10"/>
                <a:gd name="T22" fmla="*/ 9 w 14"/>
                <a:gd name="T23" fmla="*/ 7 h 10"/>
                <a:gd name="T24" fmla="*/ 6 w 14"/>
                <a:gd name="T25" fmla="*/ 4 h 10"/>
                <a:gd name="T26" fmla="*/ 0 w 14"/>
                <a:gd name="T2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0">
                  <a:moveTo>
                    <a:pt x="0" y="0"/>
                  </a:moveTo>
                  <a:cubicBezTo>
                    <a:pt x="0" y="0"/>
                    <a:pt x="0" y="0"/>
                    <a:pt x="0" y="0"/>
                  </a:cubicBezTo>
                  <a:cubicBezTo>
                    <a:pt x="0" y="2"/>
                    <a:pt x="0" y="9"/>
                    <a:pt x="3" y="10"/>
                  </a:cubicBezTo>
                  <a:cubicBezTo>
                    <a:pt x="2" y="10"/>
                    <a:pt x="3" y="10"/>
                    <a:pt x="4" y="10"/>
                  </a:cubicBezTo>
                  <a:cubicBezTo>
                    <a:pt x="4" y="10"/>
                    <a:pt x="5" y="10"/>
                    <a:pt x="5" y="10"/>
                  </a:cubicBezTo>
                  <a:cubicBezTo>
                    <a:pt x="6" y="10"/>
                    <a:pt x="6" y="10"/>
                    <a:pt x="6" y="10"/>
                  </a:cubicBezTo>
                  <a:cubicBezTo>
                    <a:pt x="6" y="10"/>
                    <a:pt x="6" y="10"/>
                    <a:pt x="6" y="10"/>
                  </a:cubicBezTo>
                  <a:cubicBezTo>
                    <a:pt x="7" y="10"/>
                    <a:pt x="8" y="10"/>
                    <a:pt x="8" y="10"/>
                  </a:cubicBezTo>
                  <a:cubicBezTo>
                    <a:pt x="10" y="10"/>
                    <a:pt x="12" y="10"/>
                    <a:pt x="14" y="8"/>
                  </a:cubicBezTo>
                  <a:cubicBezTo>
                    <a:pt x="14" y="8"/>
                    <a:pt x="14" y="8"/>
                    <a:pt x="14" y="8"/>
                  </a:cubicBezTo>
                  <a:cubicBezTo>
                    <a:pt x="13" y="8"/>
                    <a:pt x="12" y="8"/>
                    <a:pt x="12" y="7"/>
                  </a:cubicBezTo>
                  <a:cubicBezTo>
                    <a:pt x="9" y="7"/>
                    <a:pt x="9" y="7"/>
                    <a:pt x="9" y="7"/>
                  </a:cubicBezTo>
                  <a:cubicBezTo>
                    <a:pt x="8" y="6"/>
                    <a:pt x="8" y="4"/>
                    <a:pt x="6" y="4"/>
                  </a:cubicBezTo>
                  <a:cubicBezTo>
                    <a:pt x="6" y="2"/>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1302"/>
            <p:cNvSpPr/>
            <p:nvPr/>
          </p:nvSpPr>
          <p:spPr bwMode="auto">
            <a:xfrm>
              <a:off x="4676697" y="5519690"/>
              <a:ext cx="63090" cy="21477"/>
            </a:xfrm>
            <a:custGeom>
              <a:gdLst>
                <a:gd name="T0" fmla="*/ 12 w 20"/>
                <a:gd name="T1" fmla="*/ 0 h 7"/>
                <a:gd name="T2" fmla="*/ 7 w 20"/>
                <a:gd name="T3" fmla="*/ 0 h 7"/>
                <a:gd name="T4" fmla="*/ 4 w 20"/>
                <a:gd name="T5" fmla="*/ 0 h 7"/>
                <a:gd name="T6" fmla="*/ 4 w 20"/>
                <a:gd name="T7" fmla="*/ 0 h 7"/>
                <a:gd name="T8" fmla="*/ 3 w 20"/>
                <a:gd name="T9" fmla="*/ 3 h 7"/>
                <a:gd name="T10" fmla="*/ 5 w 20"/>
                <a:gd name="T11" fmla="*/ 2 h 7"/>
                <a:gd name="T12" fmla="*/ 2 w 20"/>
                <a:gd name="T13" fmla="*/ 4 h 7"/>
                <a:gd name="T14" fmla="*/ 3 w 20"/>
                <a:gd name="T15" fmla="*/ 7 h 7"/>
                <a:gd name="T16" fmla="*/ 5 w 20"/>
                <a:gd name="T17" fmla="*/ 7 h 7"/>
                <a:gd name="T18" fmla="*/ 11 w 20"/>
                <a:gd name="T19" fmla="*/ 6 h 7"/>
                <a:gd name="T20" fmla="*/ 18 w 20"/>
                <a:gd name="T21" fmla="*/ 5 h 7"/>
                <a:gd name="T22" fmla="*/ 19 w 20"/>
                <a:gd name="T23" fmla="*/ 1 h 7"/>
                <a:gd name="T24" fmla="*/ 12 w 20"/>
                <a:gd name="T25"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7">
                  <a:moveTo>
                    <a:pt x="12" y="0"/>
                  </a:moveTo>
                  <a:cubicBezTo>
                    <a:pt x="10" y="0"/>
                    <a:pt x="9" y="0"/>
                    <a:pt x="7" y="0"/>
                  </a:cubicBezTo>
                  <a:cubicBezTo>
                    <a:pt x="6" y="0"/>
                    <a:pt x="5" y="0"/>
                    <a:pt x="4" y="0"/>
                  </a:cubicBezTo>
                  <a:cubicBezTo>
                    <a:pt x="4" y="0"/>
                    <a:pt x="4" y="0"/>
                    <a:pt x="4" y="0"/>
                  </a:cubicBezTo>
                  <a:cubicBezTo>
                    <a:pt x="2" y="1"/>
                    <a:pt x="1" y="3"/>
                    <a:pt x="3" y="3"/>
                  </a:cubicBezTo>
                  <a:cubicBezTo>
                    <a:pt x="3" y="3"/>
                    <a:pt x="4" y="3"/>
                    <a:pt x="5" y="2"/>
                  </a:cubicBezTo>
                  <a:cubicBezTo>
                    <a:pt x="4" y="3"/>
                    <a:pt x="3" y="3"/>
                    <a:pt x="2" y="4"/>
                  </a:cubicBezTo>
                  <a:cubicBezTo>
                    <a:pt x="0" y="7"/>
                    <a:pt x="1" y="7"/>
                    <a:pt x="3" y="7"/>
                  </a:cubicBezTo>
                  <a:cubicBezTo>
                    <a:pt x="4" y="7"/>
                    <a:pt x="4" y="7"/>
                    <a:pt x="5" y="7"/>
                  </a:cubicBezTo>
                  <a:cubicBezTo>
                    <a:pt x="7" y="7"/>
                    <a:pt x="9" y="7"/>
                    <a:pt x="11" y="6"/>
                  </a:cubicBezTo>
                  <a:cubicBezTo>
                    <a:pt x="13" y="6"/>
                    <a:pt x="17" y="6"/>
                    <a:pt x="18" y="5"/>
                  </a:cubicBezTo>
                  <a:cubicBezTo>
                    <a:pt x="19" y="4"/>
                    <a:pt x="20" y="3"/>
                    <a:pt x="19" y="1"/>
                  </a:cubicBezTo>
                  <a:cubicBezTo>
                    <a:pt x="18" y="0"/>
                    <a:pt x="15"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Freeform 1303"/>
            <p:cNvSpPr/>
            <p:nvPr/>
          </p:nvSpPr>
          <p:spPr bwMode="auto">
            <a:xfrm>
              <a:off x="5149199" y="4976044"/>
              <a:ext cx="32216" cy="32216"/>
            </a:xfrm>
            <a:custGeom>
              <a:gdLst>
                <a:gd name="T0" fmla="*/ 6 w 10"/>
                <a:gd name="T1" fmla="*/ 0 h 10"/>
                <a:gd name="T2" fmla="*/ 5 w 10"/>
                <a:gd name="T3" fmla="*/ 0 h 10"/>
                <a:gd name="T4" fmla="*/ 1 w 10"/>
                <a:gd name="T5" fmla="*/ 5 h 10"/>
                <a:gd name="T6" fmla="*/ 5 w 10"/>
                <a:gd name="T7" fmla="*/ 10 h 10"/>
                <a:gd name="T8" fmla="*/ 5 w 10"/>
                <a:gd name="T9" fmla="*/ 10 h 10"/>
                <a:gd name="T10" fmla="*/ 10 w 10"/>
                <a:gd name="T11" fmla="*/ 3 h 10"/>
                <a:gd name="T12" fmla="*/ 6 w 10"/>
                <a:gd name="T13" fmla="*/ 0 h 10"/>
              </a:gdLst>
              <a:cxnLst>
                <a:cxn ang="0">
                  <a:pos x="T0" y="T1"/>
                </a:cxn>
                <a:cxn ang="0">
                  <a:pos x="T2" y="T3"/>
                </a:cxn>
                <a:cxn ang="0">
                  <a:pos x="T4" y="T5"/>
                </a:cxn>
                <a:cxn ang="0">
                  <a:pos x="T6" y="T7"/>
                </a:cxn>
                <a:cxn ang="0">
                  <a:pos x="T8" y="T9"/>
                </a:cxn>
                <a:cxn ang="0">
                  <a:pos x="T10" y="T11"/>
                </a:cxn>
                <a:cxn ang="0">
                  <a:pos x="T12" y="T13"/>
                </a:cxn>
              </a:cxnLst>
              <a:rect l="0" t="0" r="r" b="b"/>
              <a:pathLst>
                <a:path w="10" h="10">
                  <a:moveTo>
                    <a:pt x="6" y="0"/>
                  </a:moveTo>
                  <a:cubicBezTo>
                    <a:pt x="6" y="0"/>
                    <a:pt x="5" y="0"/>
                    <a:pt x="5" y="0"/>
                  </a:cubicBezTo>
                  <a:cubicBezTo>
                    <a:pt x="1" y="0"/>
                    <a:pt x="0" y="2"/>
                    <a:pt x="1" y="5"/>
                  </a:cubicBezTo>
                  <a:cubicBezTo>
                    <a:pt x="2" y="6"/>
                    <a:pt x="3" y="10"/>
                    <a:pt x="5" y="10"/>
                  </a:cubicBezTo>
                  <a:cubicBezTo>
                    <a:pt x="5" y="10"/>
                    <a:pt x="5" y="10"/>
                    <a:pt x="5" y="10"/>
                  </a:cubicBezTo>
                  <a:cubicBezTo>
                    <a:pt x="8" y="10"/>
                    <a:pt x="10" y="5"/>
                    <a:pt x="10" y="3"/>
                  </a:cubicBezTo>
                  <a:cubicBezTo>
                    <a:pt x="9"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1304"/>
            <p:cNvSpPr/>
            <p:nvPr/>
          </p:nvSpPr>
          <p:spPr bwMode="auto">
            <a:xfrm>
              <a:off x="5130406" y="4970674"/>
              <a:ext cx="21477" cy="9396"/>
            </a:xfrm>
            <a:custGeom>
              <a:gdLst>
                <a:gd name="T0" fmla="*/ 4 w 7"/>
                <a:gd name="T1" fmla="*/ 0 h 3"/>
                <a:gd name="T2" fmla="*/ 3 w 7"/>
                <a:gd name="T3" fmla="*/ 1 h 3"/>
                <a:gd name="T4" fmla="*/ 2 w 7"/>
                <a:gd name="T5" fmla="*/ 0 h 3"/>
                <a:gd name="T6" fmla="*/ 2 w 7"/>
                <a:gd name="T7" fmla="*/ 0 h 3"/>
                <a:gd name="T8" fmla="*/ 2 w 7"/>
                <a:gd name="T9" fmla="*/ 0 h 3"/>
                <a:gd name="T10" fmla="*/ 0 w 7"/>
                <a:gd name="T11" fmla="*/ 3 h 3"/>
                <a:gd name="T12" fmla="*/ 7 w 7"/>
                <a:gd name="T13" fmla="*/ 0 h 3"/>
                <a:gd name="T14" fmla="*/ 6 w 7"/>
                <a:gd name="T15" fmla="*/ 0 h 3"/>
                <a:gd name="T16" fmla="*/ 6 w 7"/>
                <a:gd name="T17" fmla="*/ 0 h 3"/>
                <a:gd name="T18" fmla="*/ 5 w 7"/>
                <a:gd name="T19" fmla="*/ 0 h 3"/>
                <a:gd name="T20" fmla="*/ 4 w 7"/>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4" y="0"/>
                  </a:moveTo>
                  <a:cubicBezTo>
                    <a:pt x="4" y="1"/>
                    <a:pt x="3" y="1"/>
                    <a:pt x="3" y="1"/>
                  </a:cubicBezTo>
                  <a:cubicBezTo>
                    <a:pt x="3" y="1"/>
                    <a:pt x="3" y="1"/>
                    <a:pt x="2" y="0"/>
                  </a:cubicBezTo>
                  <a:cubicBezTo>
                    <a:pt x="2" y="0"/>
                    <a:pt x="2" y="0"/>
                    <a:pt x="2" y="0"/>
                  </a:cubicBezTo>
                  <a:cubicBezTo>
                    <a:pt x="2" y="0"/>
                    <a:pt x="2" y="0"/>
                    <a:pt x="2" y="0"/>
                  </a:cubicBezTo>
                  <a:cubicBezTo>
                    <a:pt x="1" y="1"/>
                    <a:pt x="1" y="2"/>
                    <a:pt x="0" y="3"/>
                  </a:cubicBezTo>
                  <a:cubicBezTo>
                    <a:pt x="3" y="2"/>
                    <a:pt x="5" y="1"/>
                    <a:pt x="7" y="0"/>
                  </a:cubicBezTo>
                  <a:cubicBezTo>
                    <a:pt x="7" y="0"/>
                    <a:pt x="7" y="0"/>
                    <a:pt x="6" y="0"/>
                  </a:cubicBezTo>
                  <a:cubicBezTo>
                    <a:pt x="6" y="0"/>
                    <a:pt x="6" y="0"/>
                    <a:pt x="6" y="0"/>
                  </a:cubicBezTo>
                  <a:cubicBezTo>
                    <a:pt x="6" y="0"/>
                    <a:pt x="5" y="0"/>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Freeform 1305"/>
            <p:cNvSpPr/>
            <p:nvPr/>
          </p:nvSpPr>
          <p:spPr bwMode="auto">
            <a:xfrm>
              <a:off x="3192074" y="4910269"/>
              <a:ext cx="37585" cy="25504"/>
            </a:xfrm>
            <a:custGeom>
              <a:gdLst>
                <a:gd name="T0" fmla="*/ 2 w 12"/>
                <a:gd name="T1" fmla="*/ 0 h 8"/>
                <a:gd name="T2" fmla="*/ 0 w 12"/>
                <a:gd name="T3" fmla="*/ 5 h 8"/>
                <a:gd name="T4" fmla="*/ 3 w 12"/>
                <a:gd name="T5" fmla="*/ 6 h 8"/>
                <a:gd name="T6" fmla="*/ 3 w 12"/>
                <a:gd name="T7" fmla="*/ 6 h 8"/>
                <a:gd name="T8" fmla="*/ 7 w 12"/>
                <a:gd name="T9" fmla="*/ 5 h 8"/>
                <a:gd name="T10" fmla="*/ 7 w 12"/>
                <a:gd name="T11" fmla="*/ 5 h 8"/>
                <a:gd name="T12" fmla="*/ 12 w 12"/>
                <a:gd name="T13" fmla="*/ 8 h 8"/>
                <a:gd name="T14" fmla="*/ 2 w 12"/>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2" y="0"/>
                  </a:moveTo>
                  <a:cubicBezTo>
                    <a:pt x="2" y="2"/>
                    <a:pt x="0" y="4"/>
                    <a:pt x="0" y="5"/>
                  </a:cubicBezTo>
                  <a:cubicBezTo>
                    <a:pt x="0" y="6"/>
                    <a:pt x="3" y="6"/>
                    <a:pt x="3" y="6"/>
                  </a:cubicBezTo>
                  <a:cubicBezTo>
                    <a:pt x="3" y="6"/>
                    <a:pt x="3" y="6"/>
                    <a:pt x="3" y="6"/>
                  </a:cubicBezTo>
                  <a:cubicBezTo>
                    <a:pt x="4" y="6"/>
                    <a:pt x="5" y="5"/>
                    <a:pt x="7" y="5"/>
                  </a:cubicBezTo>
                  <a:cubicBezTo>
                    <a:pt x="7" y="5"/>
                    <a:pt x="7" y="5"/>
                    <a:pt x="7" y="5"/>
                  </a:cubicBezTo>
                  <a:cubicBezTo>
                    <a:pt x="8" y="5"/>
                    <a:pt x="10" y="7"/>
                    <a:pt x="12" y="8"/>
                  </a:cubicBezTo>
                  <a:cubicBezTo>
                    <a:pt x="9" y="5"/>
                    <a:pt x="6"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Freeform 1306"/>
            <p:cNvSpPr/>
            <p:nvPr/>
          </p:nvSpPr>
          <p:spPr bwMode="auto">
            <a:xfrm>
              <a:off x="4967984" y="4712946"/>
              <a:ext cx="32216" cy="48324"/>
            </a:xfrm>
            <a:custGeom>
              <a:gdLst>
                <a:gd name="T0" fmla="*/ 8 w 10"/>
                <a:gd name="T1" fmla="*/ 0 h 15"/>
                <a:gd name="T2" fmla="*/ 0 w 10"/>
                <a:gd name="T3" fmla="*/ 8 h 15"/>
                <a:gd name="T4" fmla="*/ 0 w 10"/>
                <a:gd name="T5" fmla="*/ 11 h 15"/>
                <a:gd name="T6" fmla="*/ 1 w 10"/>
                <a:gd name="T7" fmla="*/ 15 h 15"/>
                <a:gd name="T8" fmla="*/ 7 w 10"/>
                <a:gd name="T9" fmla="*/ 13 h 15"/>
                <a:gd name="T10" fmla="*/ 8 w 10"/>
                <a:gd name="T11" fmla="*/ 0 h 15"/>
              </a:gdLst>
              <a:cxnLst>
                <a:cxn ang="0">
                  <a:pos x="T0" y="T1"/>
                </a:cxn>
                <a:cxn ang="0">
                  <a:pos x="T2" y="T3"/>
                </a:cxn>
                <a:cxn ang="0">
                  <a:pos x="T4" y="T5"/>
                </a:cxn>
                <a:cxn ang="0">
                  <a:pos x="T6" y="T7"/>
                </a:cxn>
                <a:cxn ang="0">
                  <a:pos x="T8" y="T9"/>
                </a:cxn>
                <a:cxn ang="0">
                  <a:pos x="T10" y="T11"/>
                </a:cxn>
              </a:cxnLst>
              <a:rect l="0" t="0" r="r" b="b"/>
              <a:pathLst>
                <a:path w="10" h="15">
                  <a:moveTo>
                    <a:pt x="8" y="0"/>
                  </a:moveTo>
                  <a:cubicBezTo>
                    <a:pt x="5" y="1"/>
                    <a:pt x="1" y="4"/>
                    <a:pt x="0" y="8"/>
                  </a:cubicBezTo>
                  <a:cubicBezTo>
                    <a:pt x="0" y="9"/>
                    <a:pt x="0" y="10"/>
                    <a:pt x="0" y="11"/>
                  </a:cubicBezTo>
                  <a:cubicBezTo>
                    <a:pt x="1" y="12"/>
                    <a:pt x="2" y="14"/>
                    <a:pt x="1" y="15"/>
                  </a:cubicBezTo>
                  <a:cubicBezTo>
                    <a:pt x="3" y="15"/>
                    <a:pt x="6" y="14"/>
                    <a:pt x="7" y="13"/>
                  </a:cubicBezTo>
                  <a:cubicBezTo>
                    <a:pt x="10" y="11"/>
                    <a:pt x="10"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Freeform 1307"/>
            <p:cNvSpPr/>
            <p:nvPr/>
          </p:nvSpPr>
          <p:spPr bwMode="auto">
            <a:xfrm>
              <a:off x="4742471" y="5043160"/>
              <a:ext cx="85909" cy="12081"/>
            </a:xfrm>
            <a:custGeom>
              <a:gdLst>
                <a:gd name="T0" fmla="*/ 5 w 27"/>
                <a:gd name="T1" fmla="*/ 0 h 4"/>
                <a:gd name="T2" fmla="*/ 5 w 27"/>
                <a:gd name="T3" fmla="*/ 4 h 4"/>
                <a:gd name="T4" fmla="*/ 12 w 27"/>
                <a:gd name="T5" fmla="*/ 3 h 4"/>
                <a:gd name="T6" fmla="*/ 13 w 27"/>
                <a:gd name="T7" fmla="*/ 3 h 4"/>
                <a:gd name="T8" fmla="*/ 15 w 27"/>
                <a:gd name="T9" fmla="*/ 3 h 4"/>
                <a:gd name="T10" fmla="*/ 16 w 27"/>
                <a:gd name="T11" fmla="*/ 4 h 4"/>
                <a:gd name="T12" fmla="*/ 17 w 27"/>
                <a:gd name="T13" fmla="*/ 4 h 4"/>
                <a:gd name="T14" fmla="*/ 27 w 27"/>
                <a:gd name="T15" fmla="*/ 1 h 4"/>
                <a:gd name="T16" fmla="*/ 5 w 27"/>
                <a:gd name="T1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4">
                  <a:moveTo>
                    <a:pt x="5" y="0"/>
                  </a:moveTo>
                  <a:cubicBezTo>
                    <a:pt x="0" y="2"/>
                    <a:pt x="5" y="2"/>
                    <a:pt x="5" y="4"/>
                  </a:cubicBezTo>
                  <a:cubicBezTo>
                    <a:pt x="7" y="4"/>
                    <a:pt x="10" y="3"/>
                    <a:pt x="12" y="3"/>
                  </a:cubicBezTo>
                  <a:cubicBezTo>
                    <a:pt x="12" y="3"/>
                    <a:pt x="12" y="3"/>
                    <a:pt x="13" y="3"/>
                  </a:cubicBezTo>
                  <a:cubicBezTo>
                    <a:pt x="13" y="3"/>
                    <a:pt x="14" y="3"/>
                    <a:pt x="15" y="3"/>
                  </a:cubicBezTo>
                  <a:cubicBezTo>
                    <a:pt x="15" y="3"/>
                    <a:pt x="16" y="4"/>
                    <a:pt x="16" y="4"/>
                  </a:cubicBezTo>
                  <a:cubicBezTo>
                    <a:pt x="17" y="4"/>
                    <a:pt x="17" y="4"/>
                    <a:pt x="17" y="4"/>
                  </a:cubicBezTo>
                  <a:cubicBezTo>
                    <a:pt x="19" y="3"/>
                    <a:pt x="25" y="3"/>
                    <a:pt x="27" y="1"/>
                  </a:cubicBezTo>
                  <a:cubicBezTo>
                    <a:pt x="19" y="0"/>
                    <a:pt x="12"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1308"/>
            <p:cNvSpPr/>
            <p:nvPr/>
          </p:nvSpPr>
          <p:spPr bwMode="auto">
            <a:xfrm>
              <a:off x="4562598" y="5694194"/>
              <a:ext cx="46982" cy="34901"/>
            </a:xfrm>
            <a:custGeom>
              <a:gdLst>
                <a:gd name="T0" fmla="*/ 14 w 15"/>
                <a:gd name="T1" fmla="*/ 0 h 11"/>
                <a:gd name="T2" fmla="*/ 6 w 15"/>
                <a:gd name="T3" fmla="*/ 5 h 11"/>
                <a:gd name="T4" fmla="*/ 1 w 15"/>
                <a:gd name="T5" fmla="*/ 7 h 11"/>
                <a:gd name="T6" fmla="*/ 1 w 15"/>
                <a:gd name="T7" fmla="*/ 11 h 11"/>
                <a:gd name="T8" fmla="*/ 8 w 15"/>
                <a:gd name="T9" fmla="*/ 9 h 11"/>
                <a:gd name="T10" fmla="*/ 11 w 15"/>
                <a:gd name="T11" fmla="*/ 8 h 11"/>
                <a:gd name="T12" fmla="*/ 14 w 15"/>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15" h="11">
                  <a:moveTo>
                    <a:pt x="14" y="0"/>
                  </a:moveTo>
                  <a:cubicBezTo>
                    <a:pt x="12" y="1"/>
                    <a:pt x="9" y="3"/>
                    <a:pt x="6" y="5"/>
                  </a:cubicBezTo>
                  <a:cubicBezTo>
                    <a:pt x="5" y="5"/>
                    <a:pt x="2" y="6"/>
                    <a:pt x="1" y="7"/>
                  </a:cubicBezTo>
                  <a:cubicBezTo>
                    <a:pt x="0" y="10"/>
                    <a:pt x="0" y="11"/>
                    <a:pt x="1" y="11"/>
                  </a:cubicBezTo>
                  <a:cubicBezTo>
                    <a:pt x="3" y="11"/>
                    <a:pt x="7" y="9"/>
                    <a:pt x="8" y="9"/>
                  </a:cubicBezTo>
                  <a:cubicBezTo>
                    <a:pt x="9" y="8"/>
                    <a:pt x="9" y="9"/>
                    <a:pt x="11" y="8"/>
                  </a:cubicBezTo>
                  <a:cubicBezTo>
                    <a:pt x="15" y="5"/>
                    <a:pt x="15" y="5"/>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Freeform 1309"/>
            <p:cNvSpPr/>
            <p:nvPr/>
          </p:nvSpPr>
          <p:spPr bwMode="auto">
            <a:xfrm>
              <a:off x="5079398" y="5036449"/>
              <a:ext cx="53693" cy="28189"/>
            </a:xfrm>
            <a:custGeom>
              <a:gdLst>
                <a:gd name="T0" fmla="*/ 14 w 17"/>
                <a:gd name="T1" fmla="*/ 0 h 9"/>
                <a:gd name="T2" fmla="*/ 6 w 17"/>
                <a:gd name="T3" fmla="*/ 2 h 9"/>
                <a:gd name="T4" fmla="*/ 0 w 17"/>
                <a:gd name="T5" fmla="*/ 4 h 9"/>
                <a:gd name="T6" fmla="*/ 10 w 17"/>
                <a:gd name="T7" fmla="*/ 9 h 9"/>
                <a:gd name="T8" fmla="*/ 12 w 17"/>
                <a:gd name="T9" fmla="*/ 8 h 9"/>
                <a:gd name="T10" fmla="*/ 14 w 17"/>
                <a:gd name="T11" fmla="*/ 7 h 9"/>
                <a:gd name="T12" fmla="*/ 14 w 17"/>
                <a:gd name="T13" fmla="*/ 7 h 9"/>
                <a:gd name="T14" fmla="*/ 15 w 17"/>
                <a:gd name="T15" fmla="*/ 7 h 9"/>
                <a:gd name="T16" fmla="*/ 16 w 17"/>
                <a:gd name="T17" fmla="*/ 7 h 9"/>
                <a:gd name="T18" fmla="*/ 16 w 17"/>
                <a:gd name="T19" fmla="*/ 7 h 9"/>
                <a:gd name="T20" fmla="*/ 17 w 17"/>
                <a:gd name="T21" fmla="*/ 3 h 9"/>
                <a:gd name="T22" fmla="*/ 15 w 17"/>
                <a:gd name="T23" fmla="*/ 0 h 9"/>
                <a:gd name="T24" fmla="*/ 15 w 17"/>
                <a:gd name="T25" fmla="*/ 0 h 9"/>
                <a:gd name="T26" fmla="*/ 14 w 17"/>
                <a:gd name="T2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9">
                  <a:moveTo>
                    <a:pt x="14" y="0"/>
                  </a:moveTo>
                  <a:cubicBezTo>
                    <a:pt x="12" y="0"/>
                    <a:pt x="8" y="1"/>
                    <a:pt x="6" y="2"/>
                  </a:cubicBezTo>
                  <a:cubicBezTo>
                    <a:pt x="4" y="2"/>
                    <a:pt x="2" y="3"/>
                    <a:pt x="0" y="4"/>
                  </a:cubicBezTo>
                  <a:cubicBezTo>
                    <a:pt x="3" y="6"/>
                    <a:pt x="7" y="7"/>
                    <a:pt x="10" y="9"/>
                  </a:cubicBezTo>
                  <a:cubicBezTo>
                    <a:pt x="10" y="9"/>
                    <a:pt x="12" y="9"/>
                    <a:pt x="12" y="8"/>
                  </a:cubicBezTo>
                  <a:cubicBezTo>
                    <a:pt x="13" y="8"/>
                    <a:pt x="13" y="7"/>
                    <a:pt x="14" y="7"/>
                  </a:cubicBezTo>
                  <a:cubicBezTo>
                    <a:pt x="14" y="7"/>
                    <a:pt x="14" y="7"/>
                    <a:pt x="14" y="7"/>
                  </a:cubicBezTo>
                  <a:cubicBezTo>
                    <a:pt x="15" y="7"/>
                    <a:pt x="15" y="7"/>
                    <a:pt x="15" y="7"/>
                  </a:cubicBezTo>
                  <a:cubicBezTo>
                    <a:pt x="15" y="7"/>
                    <a:pt x="15" y="7"/>
                    <a:pt x="16" y="7"/>
                  </a:cubicBezTo>
                  <a:cubicBezTo>
                    <a:pt x="16" y="7"/>
                    <a:pt x="16" y="7"/>
                    <a:pt x="16" y="7"/>
                  </a:cubicBezTo>
                  <a:cubicBezTo>
                    <a:pt x="16" y="7"/>
                    <a:pt x="17" y="4"/>
                    <a:pt x="17" y="3"/>
                  </a:cubicBezTo>
                  <a:cubicBezTo>
                    <a:pt x="17" y="2"/>
                    <a:pt x="15" y="0"/>
                    <a:pt x="15" y="0"/>
                  </a:cubicBezTo>
                  <a:cubicBezTo>
                    <a:pt x="15" y="0"/>
                    <a:pt x="15" y="0"/>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1310"/>
            <p:cNvSpPr/>
            <p:nvPr/>
          </p:nvSpPr>
          <p:spPr bwMode="auto">
            <a:xfrm>
              <a:off x="2534329" y="4690126"/>
              <a:ext cx="60405" cy="45639"/>
            </a:xfrm>
            <a:custGeom>
              <a:gdLst>
                <a:gd name="T0" fmla="*/ 4 w 19"/>
                <a:gd name="T1" fmla="*/ 0 h 14"/>
                <a:gd name="T2" fmla="*/ 2 w 19"/>
                <a:gd name="T3" fmla="*/ 4 h 14"/>
                <a:gd name="T4" fmla="*/ 2 w 19"/>
                <a:gd name="T5" fmla="*/ 4 h 14"/>
                <a:gd name="T6" fmla="*/ 5 w 19"/>
                <a:gd name="T7" fmla="*/ 7 h 14"/>
                <a:gd name="T8" fmla="*/ 9 w 19"/>
                <a:gd name="T9" fmla="*/ 8 h 14"/>
                <a:gd name="T10" fmla="*/ 18 w 19"/>
                <a:gd name="T11" fmla="*/ 14 h 14"/>
                <a:gd name="T12" fmla="*/ 19 w 19"/>
                <a:gd name="T13" fmla="*/ 14 h 14"/>
                <a:gd name="T14" fmla="*/ 14 w 19"/>
                <a:gd name="T15" fmla="*/ 7 h 14"/>
                <a:gd name="T16" fmla="*/ 4 w 19"/>
                <a:gd name="T1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4">
                  <a:moveTo>
                    <a:pt x="4" y="0"/>
                  </a:moveTo>
                  <a:cubicBezTo>
                    <a:pt x="3" y="1"/>
                    <a:pt x="0" y="4"/>
                    <a:pt x="2" y="4"/>
                  </a:cubicBezTo>
                  <a:cubicBezTo>
                    <a:pt x="2" y="4"/>
                    <a:pt x="2" y="4"/>
                    <a:pt x="2" y="4"/>
                  </a:cubicBezTo>
                  <a:cubicBezTo>
                    <a:pt x="3" y="5"/>
                    <a:pt x="4" y="6"/>
                    <a:pt x="5" y="7"/>
                  </a:cubicBezTo>
                  <a:cubicBezTo>
                    <a:pt x="6" y="8"/>
                    <a:pt x="7" y="8"/>
                    <a:pt x="9" y="8"/>
                  </a:cubicBezTo>
                  <a:cubicBezTo>
                    <a:pt x="12" y="9"/>
                    <a:pt x="16" y="14"/>
                    <a:pt x="18" y="14"/>
                  </a:cubicBezTo>
                  <a:cubicBezTo>
                    <a:pt x="18" y="14"/>
                    <a:pt x="19" y="14"/>
                    <a:pt x="19" y="14"/>
                  </a:cubicBezTo>
                  <a:cubicBezTo>
                    <a:pt x="19" y="9"/>
                    <a:pt x="18" y="10"/>
                    <a:pt x="14" y="7"/>
                  </a:cubicBezTo>
                  <a:cubicBezTo>
                    <a:pt x="11" y="5"/>
                    <a:pt x="7"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Freeform 1311"/>
            <p:cNvSpPr/>
            <p:nvPr/>
          </p:nvSpPr>
          <p:spPr bwMode="auto">
            <a:xfrm>
              <a:off x="4055196" y="5154574"/>
              <a:ext cx="24162" cy="60405"/>
            </a:xfrm>
            <a:custGeom>
              <a:gdLst>
                <a:gd name="T0" fmla="*/ 7 w 8"/>
                <a:gd name="T1" fmla="*/ 0 h 19"/>
                <a:gd name="T2" fmla="*/ 5 w 8"/>
                <a:gd name="T3" fmla="*/ 1 h 19"/>
                <a:gd name="T4" fmla="*/ 4 w 8"/>
                <a:gd name="T5" fmla="*/ 1 h 19"/>
                <a:gd name="T6" fmla="*/ 4 w 8"/>
                <a:gd name="T7" fmla="*/ 1 h 19"/>
                <a:gd name="T8" fmla="*/ 3 w 8"/>
                <a:gd name="T9" fmla="*/ 2 h 19"/>
                <a:gd name="T10" fmla="*/ 3 w 8"/>
                <a:gd name="T11" fmla="*/ 3 h 19"/>
                <a:gd name="T12" fmla="*/ 2 w 8"/>
                <a:gd name="T13" fmla="*/ 3 h 19"/>
                <a:gd name="T14" fmla="*/ 1 w 8"/>
                <a:gd name="T15" fmla="*/ 11 h 19"/>
                <a:gd name="T16" fmla="*/ 2 w 8"/>
                <a:gd name="T17" fmla="*/ 16 h 19"/>
                <a:gd name="T18" fmla="*/ 2 w 8"/>
                <a:gd name="T19" fmla="*/ 16 h 19"/>
                <a:gd name="T20" fmla="*/ 2 w 8"/>
                <a:gd name="T21" fmla="*/ 17 h 19"/>
                <a:gd name="T22" fmla="*/ 2 w 8"/>
                <a:gd name="T23" fmla="*/ 18 h 19"/>
                <a:gd name="T24" fmla="*/ 2 w 8"/>
                <a:gd name="T25" fmla="*/ 19 h 19"/>
                <a:gd name="T26" fmla="*/ 3 w 8"/>
                <a:gd name="T27" fmla="*/ 18 h 19"/>
                <a:gd name="T28" fmla="*/ 3 w 8"/>
                <a:gd name="T29" fmla="*/ 18 h 19"/>
                <a:gd name="T30" fmla="*/ 3 w 8"/>
                <a:gd name="T31" fmla="*/ 18 h 19"/>
                <a:gd name="T32" fmla="*/ 7 w 8"/>
                <a:gd name="T33" fmla="*/ 15 h 19"/>
                <a:gd name="T34" fmla="*/ 7 w 8"/>
                <a:gd name="T35"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9">
                  <a:moveTo>
                    <a:pt x="7" y="0"/>
                  </a:moveTo>
                  <a:cubicBezTo>
                    <a:pt x="6" y="0"/>
                    <a:pt x="6" y="0"/>
                    <a:pt x="5" y="1"/>
                  </a:cubicBezTo>
                  <a:cubicBezTo>
                    <a:pt x="5" y="1"/>
                    <a:pt x="4" y="1"/>
                    <a:pt x="4" y="1"/>
                  </a:cubicBezTo>
                  <a:cubicBezTo>
                    <a:pt x="4" y="1"/>
                    <a:pt x="4" y="1"/>
                    <a:pt x="4" y="1"/>
                  </a:cubicBezTo>
                  <a:cubicBezTo>
                    <a:pt x="3" y="2"/>
                    <a:pt x="3" y="2"/>
                    <a:pt x="3" y="2"/>
                  </a:cubicBezTo>
                  <a:cubicBezTo>
                    <a:pt x="3" y="3"/>
                    <a:pt x="3" y="3"/>
                    <a:pt x="3" y="3"/>
                  </a:cubicBezTo>
                  <a:cubicBezTo>
                    <a:pt x="2" y="3"/>
                    <a:pt x="2" y="3"/>
                    <a:pt x="2" y="3"/>
                  </a:cubicBezTo>
                  <a:cubicBezTo>
                    <a:pt x="1" y="6"/>
                    <a:pt x="0" y="9"/>
                    <a:pt x="1" y="11"/>
                  </a:cubicBezTo>
                  <a:cubicBezTo>
                    <a:pt x="1" y="13"/>
                    <a:pt x="2" y="14"/>
                    <a:pt x="2" y="16"/>
                  </a:cubicBezTo>
                  <a:cubicBezTo>
                    <a:pt x="2" y="16"/>
                    <a:pt x="2" y="16"/>
                    <a:pt x="2" y="16"/>
                  </a:cubicBezTo>
                  <a:cubicBezTo>
                    <a:pt x="2" y="16"/>
                    <a:pt x="2" y="16"/>
                    <a:pt x="2" y="17"/>
                  </a:cubicBezTo>
                  <a:cubicBezTo>
                    <a:pt x="2" y="17"/>
                    <a:pt x="1" y="18"/>
                    <a:pt x="2" y="18"/>
                  </a:cubicBezTo>
                  <a:cubicBezTo>
                    <a:pt x="2" y="18"/>
                    <a:pt x="2" y="19"/>
                    <a:pt x="2" y="19"/>
                  </a:cubicBezTo>
                  <a:cubicBezTo>
                    <a:pt x="2" y="19"/>
                    <a:pt x="2" y="19"/>
                    <a:pt x="3" y="18"/>
                  </a:cubicBezTo>
                  <a:cubicBezTo>
                    <a:pt x="3" y="18"/>
                    <a:pt x="3" y="18"/>
                    <a:pt x="3" y="18"/>
                  </a:cubicBezTo>
                  <a:cubicBezTo>
                    <a:pt x="3" y="18"/>
                    <a:pt x="3" y="18"/>
                    <a:pt x="3" y="18"/>
                  </a:cubicBezTo>
                  <a:cubicBezTo>
                    <a:pt x="4" y="18"/>
                    <a:pt x="6" y="15"/>
                    <a:pt x="7" y="15"/>
                  </a:cubicBezTo>
                  <a:cubicBezTo>
                    <a:pt x="8" y="10"/>
                    <a:pt x="7" y="5"/>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1312"/>
            <p:cNvSpPr/>
            <p:nvPr/>
          </p:nvSpPr>
          <p:spPr bwMode="auto">
            <a:xfrm>
              <a:off x="6193536" y="3891435"/>
              <a:ext cx="21477" cy="21477"/>
            </a:xfrm>
            <a:custGeom>
              <a:gdLst>
                <a:gd name="T0" fmla="*/ 7 w 7"/>
                <a:gd name="T1" fmla="*/ 0 h 7"/>
                <a:gd name="T2" fmla="*/ 4 w 7"/>
                <a:gd name="T3" fmla="*/ 1 h 7"/>
                <a:gd name="T4" fmla="*/ 0 w 7"/>
                <a:gd name="T5" fmla="*/ 3 h 7"/>
                <a:gd name="T6" fmla="*/ 0 w 7"/>
                <a:gd name="T7" fmla="*/ 3 h 7"/>
                <a:gd name="T8" fmla="*/ 1 w 7"/>
                <a:gd name="T9" fmla="*/ 7 h 7"/>
                <a:gd name="T10" fmla="*/ 1 w 7"/>
                <a:gd name="T11" fmla="*/ 7 h 7"/>
                <a:gd name="T12" fmla="*/ 7 w 7"/>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7" h="7">
                  <a:moveTo>
                    <a:pt x="7" y="0"/>
                  </a:moveTo>
                  <a:cubicBezTo>
                    <a:pt x="6" y="0"/>
                    <a:pt x="5" y="0"/>
                    <a:pt x="4" y="1"/>
                  </a:cubicBezTo>
                  <a:cubicBezTo>
                    <a:pt x="3" y="1"/>
                    <a:pt x="1" y="3"/>
                    <a:pt x="0" y="3"/>
                  </a:cubicBezTo>
                  <a:cubicBezTo>
                    <a:pt x="0" y="3"/>
                    <a:pt x="0" y="3"/>
                    <a:pt x="0" y="3"/>
                  </a:cubicBezTo>
                  <a:cubicBezTo>
                    <a:pt x="0" y="4"/>
                    <a:pt x="0" y="7"/>
                    <a:pt x="1" y="7"/>
                  </a:cubicBezTo>
                  <a:cubicBezTo>
                    <a:pt x="1" y="7"/>
                    <a:pt x="1" y="7"/>
                    <a:pt x="1" y="7"/>
                  </a:cubicBezTo>
                  <a:cubicBezTo>
                    <a:pt x="3" y="7"/>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Freeform 1313"/>
            <p:cNvSpPr/>
            <p:nvPr/>
          </p:nvSpPr>
          <p:spPr bwMode="auto">
            <a:xfrm>
              <a:off x="5700899" y="4196146"/>
              <a:ext cx="6712"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2"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Freeform 1314"/>
            <p:cNvSpPr/>
            <p:nvPr/>
          </p:nvSpPr>
          <p:spPr bwMode="auto">
            <a:xfrm>
              <a:off x="7560034" y="4510253"/>
              <a:ext cx="6712" cy="5369"/>
            </a:xfrm>
            <a:custGeom>
              <a:gdLst>
                <a:gd name="T0" fmla="*/ 2 w 2"/>
                <a:gd name="T1" fmla="*/ 0 h 2"/>
                <a:gd name="T2" fmla="*/ 0 w 2"/>
                <a:gd name="T3" fmla="*/ 1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0"/>
                    <a:pt x="0" y="0"/>
                    <a:pt x="0" y="1"/>
                  </a:cubicBezTo>
                  <a:cubicBezTo>
                    <a:pt x="0" y="1"/>
                    <a:pt x="1" y="2"/>
                    <a:pt x="1" y="2"/>
                  </a:cubicBezTo>
                  <a:cubicBezTo>
                    <a:pt x="2"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Freeform 1315"/>
            <p:cNvSpPr/>
            <p:nvPr/>
          </p:nvSpPr>
          <p:spPr bwMode="auto">
            <a:xfrm>
              <a:off x="7205657" y="4389442"/>
              <a:ext cx="16108" cy="12081"/>
            </a:xfrm>
            <a:custGeom>
              <a:gdLst>
                <a:gd name="T0" fmla="*/ 0 w 5"/>
                <a:gd name="T1" fmla="*/ 0 h 4"/>
                <a:gd name="T2" fmla="*/ 1 w 5"/>
                <a:gd name="T3" fmla="*/ 4 h 4"/>
                <a:gd name="T4" fmla="*/ 3 w 5"/>
                <a:gd name="T5" fmla="*/ 2 h 4"/>
                <a:gd name="T6" fmla="*/ 0 w 5"/>
                <a:gd name="T7" fmla="*/ 0 h 4"/>
              </a:gdLst>
              <a:cxnLst>
                <a:cxn ang="0">
                  <a:pos x="T0" y="T1"/>
                </a:cxn>
                <a:cxn ang="0">
                  <a:pos x="T2" y="T3"/>
                </a:cxn>
                <a:cxn ang="0">
                  <a:pos x="T4" y="T5"/>
                </a:cxn>
                <a:cxn ang="0">
                  <a:pos x="T6" y="T7"/>
                </a:cxn>
              </a:cxnLst>
              <a:rect l="0" t="0" r="r" b="b"/>
              <a:pathLst>
                <a:path w="5" h="4">
                  <a:moveTo>
                    <a:pt x="0" y="0"/>
                  </a:moveTo>
                  <a:cubicBezTo>
                    <a:pt x="0" y="1"/>
                    <a:pt x="1" y="3"/>
                    <a:pt x="1" y="4"/>
                  </a:cubicBezTo>
                  <a:cubicBezTo>
                    <a:pt x="2" y="4"/>
                    <a:pt x="3" y="3"/>
                    <a:pt x="3" y="2"/>
                  </a:cubicBezTo>
                  <a:cubicBezTo>
                    <a:pt x="5"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1316"/>
            <p:cNvSpPr/>
            <p:nvPr/>
          </p:nvSpPr>
          <p:spPr bwMode="auto">
            <a:xfrm>
              <a:off x="8617794" y="6213678"/>
              <a:ext cx="119468" cy="73829"/>
            </a:xfrm>
            <a:custGeom>
              <a:gdLst>
                <a:gd name="T0" fmla="*/ 26 w 38"/>
                <a:gd name="T1" fmla="*/ 0 h 23"/>
                <a:gd name="T2" fmla="*/ 16 w 38"/>
                <a:gd name="T3" fmla="*/ 2 h 23"/>
                <a:gd name="T4" fmla="*/ 5 w 38"/>
                <a:gd name="T5" fmla="*/ 18 h 23"/>
                <a:gd name="T6" fmla="*/ 9 w 38"/>
                <a:gd name="T7" fmla="*/ 21 h 23"/>
                <a:gd name="T8" fmla="*/ 16 w 38"/>
                <a:gd name="T9" fmla="*/ 23 h 23"/>
                <a:gd name="T10" fmla="*/ 17 w 38"/>
                <a:gd name="T11" fmla="*/ 23 h 23"/>
                <a:gd name="T12" fmla="*/ 33 w 38"/>
                <a:gd name="T13" fmla="*/ 20 h 23"/>
                <a:gd name="T14" fmla="*/ 38 w 38"/>
                <a:gd name="T15" fmla="*/ 17 h 23"/>
                <a:gd name="T16" fmla="*/ 37 w 38"/>
                <a:gd name="T17" fmla="*/ 17 h 23"/>
                <a:gd name="T18" fmla="*/ 35 w 38"/>
                <a:gd name="T19" fmla="*/ 12 h 23"/>
                <a:gd name="T20" fmla="*/ 35 w 38"/>
                <a:gd name="T21" fmla="*/ 10 h 23"/>
                <a:gd name="T22" fmla="*/ 35 w 38"/>
                <a:gd name="T23" fmla="*/ 8 h 23"/>
                <a:gd name="T24" fmla="*/ 33 w 38"/>
                <a:gd name="T25" fmla="*/ 7 h 23"/>
                <a:gd name="T26" fmla="*/ 26 w 38"/>
                <a:gd name="T27"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23">
                  <a:moveTo>
                    <a:pt x="26" y="0"/>
                  </a:moveTo>
                  <a:cubicBezTo>
                    <a:pt x="24" y="2"/>
                    <a:pt x="18" y="2"/>
                    <a:pt x="16" y="2"/>
                  </a:cubicBezTo>
                  <a:cubicBezTo>
                    <a:pt x="11" y="5"/>
                    <a:pt x="0" y="12"/>
                    <a:pt x="5" y="18"/>
                  </a:cubicBezTo>
                  <a:cubicBezTo>
                    <a:pt x="6" y="20"/>
                    <a:pt x="7" y="21"/>
                    <a:pt x="9" y="21"/>
                  </a:cubicBezTo>
                  <a:cubicBezTo>
                    <a:pt x="11" y="21"/>
                    <a:pt x="14" y="23"/>
                    <a:pt x="16" y="23"/>
                  </a:cubicBezTo>
                  <a:cubicBezTo>
                    <a:pt x="16" y="23"/>
                    <a:pt x="17" y="23"/>
                    <a:pt x="17" y="23"/>
                  </a:cubicBezTo>
                  <a:cubicBezTo>
                    <a:pt x="22" y="23"/>
                    <a:pt x="28" y="20"/>
                    <a:pt x="33" y="20"/>
                  </a:cubicBezTo>
                  <a:cubicBezTo>
                    <a:pt x="35" y="19"/>
                    <a:pt x="38" y="19"/>
                    <a:pt x="38" y="17"/>
                  </a:cubicBezTo>
                  <a:cubicBezTo>
                    <a:pt x="38" y="17"/>
                    <a:pt x="37" y="17"/>
                    <a:pt x="37" y="17"/>
                  </a:cubicBezTo>
                  <a:cubicBezTo>
                    <a:pt x="35" y="17"/>
                    <a:pt x="35" y="13"/>
                    <a:pt x="35" y="12"/>
                  </a:cubicBezTo>
                  <a:cubicBezTo>
                    <a:pt x="35" y="10"/>
                    <a:pt x="35" y="10"/>
                    <a:pt x="35" y="10"/>
                  </a:cubicBezTo>
                  <a:cubicBezTo>
                    <a:pt x="35" y="10"/>
                    <a:pt x="36" y="9"/>
                    <a:pt x="35" y="8"/>
                  </a:cubicBezTo>
                  <a:cubicBezTo>
                    <a:pt x="35" y="8"/>
                    <a:pt x="33" y="7"/>
                    <a:pt x="33" y="7"/>
                  </a:cubicBezTo>
                  <a:cubicBezTo>
                    <a:pt x="30" y="5"/>
                    <a:pt x="28" y="2"/>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Freeform 1317"/>
            <p:cNvSpPr/>
            <p:nvPr/>
          </p:nvSpPr>
          <p:spPr bwMode="auto">
            <a:xfrm>
              <a:off x="8737262" y="6239183"/>
              <a:ext cx="6712" cy="9396"/>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0"/>
                    <a:pt x="0" y="2"/>
                    <a:pt x="1"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Freeform 1318"/>
            <p:cNvSpPr/>
            <p:nvPr/>
          </p:nvSpPr>
          <p:spPr bwMode="auto">
            <a:xfrm>
              <a:off x="8722496" y="6125084"/>
              <a:ext cx="110072" cy="67117"/>
            </a:xfrm>
            <a:custGeom>
              <a:gdLst>
                <a:gd name="T0" fmla="*/ 35 w 35"/>
                <a:gd name="T1" fmla="*/ 0 h 21"/>
                <a:gd name="T2" fmla="*/ 31 w 35"/>
                <a:gd name="T3" fmla="*/ 2 h 21"/>
                <a:gd name="T4" fmla="*/ 30 w 35"/>
                <a:gd name="T5" fmla="*/ 1 h 21"/>
                <a:gd name="T6" fmla="*/ 29 w 35"/>
                <a:gd name="T7" fmla="*/ 1 h 21"/>
                <a:gd name="T8" fmla="*/ 26 w 35"/>
                <a:gd name="T9" fmla="*/ 3 h 21"/>
                <a:gd name="T10" fmla="*/ 25 w 35"/>
                <a:gd name="T11" fmla="*/ 2 h 21"/>
                <a:gd name="T12" fmla="*/ 25 w 35"/>
                <a:gd name="T13" fmla="*/ 3 h 21"/>
                <a:gd name="T14" fmla="*/ 24 w 35"/>
                <a:gd name="T15" fmla="*/ 3 h 21"/>
                <a:gd name="T16" fmla="*/ 20 w 35"/>
                <a:gd name="T17" fmla="*/ 6 h 21"/>
                <a:gd name="T18" fmla="*/ 14 w 35"/>
                <a:gd name="T19" fmla="*/ 7 h 21"/>
                <a:gd name="T20" fmla="*/ 10 w 35"/>
                <a:gd name="T21" fmla="*/ 8 h 21"/>
                <a:gd name="T22" fmla="*/ 8 w 35"/>
                <a:gd name="T23" fmla="*/ 10 h 21"/>
                <a:gd name="T24" fmla="*/ 7 w 35"/>
                <a:gd name="T25" fmla="*/ 12 h 21"/>
                <a:gd name="T26" fmla="*/ 6 w 35"/>
                <a:gd name="T27" fmla="*/ 11 h 21"/>
                <a:gd name="T28" fmla="*/ 5 w 35"/>
                <a:gd name="T29" fmla="*/ 12 h 21"/>
                <a:gd name="T30" fmla="*/ 5 w 35"/>
                <a:gd name="T31" fmla="*/ 12 h 21"/>
                <a:gd name="T32" fmla="*/ 4 w 35"/>
                <a:gd name="T33" fmla="*/ 12 h 21"/>
                <a:gd name="T34" fmla="*/ 3 w 35"/>
                <a:gd name="T35" fmla="*/ 12 h 21"/>
                <a:gd name="T36" fmla="*/ 3 w 35"/>
                <a:gd name="T37" fmla="*/ 12 h 21"/>
                <a:gd name="T38" fmla="*/ 3 w 35"/>
                <a:gd name="T39" fmla="*/ 12 h 21"/>
                <a:gd name="T40" fmla="*/ 2 w 35"/>
                <a:gd name="T41" fmla="*/ 12 h 21"/>
                <a:gd name="T42" fmla="*/ 1 w 35"/>
                <a:gd name="T43" fmla="*/ 12 h 21"/>
                <a:gd name="T44" fmla="*/ 1 w 35"/>
                <a:gd name="T45" fmla="*/ 12 h 21"/>
                <a:gd name="T46" fmla="*/ 0 w 35"/>
                <a:gd name="T47" fmla="*/ 15 h 21"/>
                <a:gd name="T48" fmla="*/ 4 w 35"/>
                <a:gd name="T49" fmla="*/ 19 h 21"/>
                <a:gd name="T50" fmla="*/ 5 w 35"/>
                <a:gd name="T51" fmla="*/ 21 h 21"/>
                <a:gd name="T52" fmla="*/ 6 w 35"/>
                <a:gd name="T53" fmla="*/ 21 h 21"/>
                <a:gd name="T54" fmla="*/ 12 w 35"/>
                <a:gd name="T55" fmla="*/ 19 h 21"/>
                <a:gd name="T56" fmla="*/ 24 w 35"/>
                <a:gd name="T57" fmla="*/ 16 h 21"/>
                <a:gd name="T58" fmla="*/ 30 w 35"/>
                <a:gd name="T59" fmla="*/ 14 h 21"/>
                <a:gd name="T60" fmla="*/ 32 w 35"/>
                <a:gd name="T61" fmla="*/ 15 h 21"/>
                <a:gd name="T62" fmla="*/ 33 w 35"/>
                <a:gd name="T63" fmla="*/ 15 h 21"/>
                <a:gd name="T64" fmla="*/ 31 w 35"/>
                <a:gd name="T65" fmla="*/ 9 h 21"/>
                <a:gd name="T66" fmla="*/ 23 w 35"/>
                <a:gd name="T67" fmla="*/ 15 h 21"/>
                <a:gd name="T68" fmla="*/ 23 w 35"/>
                <a:gd name="T69" fmla="*/ 15 h 21"/>
                <a:gd name="T70" fmla="*/ 35 w 35"/>
                <a:gd name="T71"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21">
                  <a:moveTo>
                    <a:pt x="35" y="0"/>
                  </a:moveTo>
                  <a:cubicBezTo>
                    <a:pt x="34" y="1"/>
                    <a:pt x="32" y="2"/>
                    <a:pt x="31" y="2"/>
                  </a:cubicBezTo>
                  <a:cubicBezTo>
                    <a:pt x="30" y="1"/>
                    <a:pt x="30" y="1"/>
                    <a:pt x="30" y="1"/>
                  </a:cubicBezTo>
                  <a:cubicBezTo>
                    <a:pt x="30" y="1"/>
                    <a:pt x="29" y="1"/>
                    <a:pt x="29" y="1"/>
                  </a:cubicBezTo>
                  <a:cubicBezTo>
                    <a:pt x="28" y="1"/>
                    <a:pt x="27" y="2"/>
                    <a:pt x="26" y="3"/>
                  </a:cubicBezTo>
                  <a:cubicBezTo>
                    <a:pt x="26" y="3"/>
                    <a:pt x="25" y="3"/>
                    <a:pt x="25" y="2"/>
                  </a:cubicBezTo>
                  <a:cubicBezTo>
                    <a:pt x="25" y="3"/>
                    <a:pt x="25" y="3"/>
                    <a:pt x="25" y="3"/>
                  </a:cubicBezTo>
                  <a:cubicBezTo>
                    <a:pt x="24" y="3"/>
                    <a:pt x="24" y="3"/>
                    <a:pt x="24" y="3"/>
                  </a:cubicBezTo>
                  <a:cubicBezTo>
                    <a:pt x="23" y="3"/>
                    <a:pt x="21" y="5"/>
                    <a:pt x="20" y="6"/>
                  </a:cubicBezTo>
                  <a:cubicBezTo>
                    <a:pt x="18" y="6"/>
                    <a:pt x="16" y="7"/>
                    <a:pt x="14" y="7"/>
                  </a:cubicBezTo>
                  <a:cubicBezTo>
                    <a:pt x="13" y="7"/>
                    <a:pt x="11" y="8"/>
                    <a:pt x="10" y="8"/>
                  </a:cubicBezTo>
                  <a:cubicBezTo>
                    <a:pt x="9" y="8"/>
                    <a:pt x="9" y="10"/>
                    <a:pt x="8" y="10"/>
                  </a:cubicBezTo>
                  <a:cubicBezTo>
                    <a:pt x="8" y="11"/>
                    <a:pt x="8" y="11"/>
                    <a:pt x="7" y="12"/>
                  </a:cubicBezTo>
                  <a:cubicBezTo>
                    <a:pt x="7" y="11"/>
                    <a:pt x="7" y="11"/>
                    <a:pt x="6" y="11"/>
                  </a:cubicBezTo>
                  <a:cubicBezTo>
                    <a:pt x="6" y="11"/>
                    <a:pt x="6" y="12"/>
                    <a:pt x="5" y="12"/>
                  </a:cubicBezTo>
                  <a:cubicBezTo>
                    <a:pt x="5" y="12"/>
                    <a:pt x="5" y="12"/>
                    <a:pt x="5" y="12"/>
                  </a:cubicBezTo>
                  <a:cubicBezTo>
                    <a:pt x="5" y="12"/>
                    <a:pt x="4" y="12"/>
                    <a:pt x="4" y="12"/>
                  </a:cubicBezTo>
                  <a:cubicBezTo>
                    <a:pt x="4" y="12"/>
                    <a:pt x="4" y="12"/>
                    <a:pt x="3" y="12"/>
                  </a:cubicBezTo>
                  <a:cubicBezTo>
                    <a:pt x="3" y="12"/>
                    <a:pt x="3" y="12"/>
                    <a:pt x="3" y="12"/>
                  </a:cubicBezTo>
                  <a:cubicBezTo>
                    <a:pt x="3" y="12"/>
                    <a:pt x="3" y="12"/>
                    <a:pt x="3" y="12"/>
                  </a:cubicBezTo>
                  <a:cubicBezTo>
                    <a:pt x="3" y="12"/>
                    <a:pt x="2" y="12"/>
                    <a:pt x="2" y="12"/>
                  </a:cubicBezTo>
                  <a:cubicBezTo>
                    <a:pt x="2" y="12"/>
                    <a:pt x="2" y="12"/>
                    <a:pt x="1" y="12"/>
                  </a:cubicBezTo>
                  <a:cubicBezTo>
                    <a:pt x="1" y="12"/>
                    <a:pt x="1" y="12"/>
                    <a:pt x="1" y="12"/>
                  </a:cubicBezTo>
                  <a:cubicBezTo>
                    <a:pt x="0" y="12"/>
                    <a:pt x="0" y="14"/>
                    <a:pt x="0" y="15"/>
                  </a:cubicBezTo>
                  <a:cubicBezTo>
                    <a:pt x="3" y="16"/>
                    <a:pt x="2" y="17"/>
                    <a:pt x="4" y="19"/>
                  </a:cubicBezTo>
                  <a:cubicBezTo>
                    <a:pt x="5" y="20"/>
                    <a:pt x="4" y="20"/>
                    <a:pt x="5" y="21"/>
                  </a:cubicBezTo>
                  <a:cubicBezTo>
                    <a:pt x="5" y="21"/>
                    <a:pt x="5" y="21"/>
                    <a:pt x="6" y="21"/>
                  </a:cubicBezTo>
                  <a:cubicBezTo>
                    <a:pt x="7" y="21"/>
                    <a:pt x="11" y="19"/>
                    <a:pt x="12" y="19"/>
                  </a:cubicBezTo>
                  <a:cubicBezTo>
                    <a:pt x="16" y="17"/>
                    <a:pt x="20" y="17"/>
                    <a:pt x="24" y="16"/>
                  </a:cubicBezTo>
                  <a:cubicBezTo>
                    <a:pt x="26" y="16"/>
                    <a:pt x="28" y="14"/>
                    <a:pt x="30" y="14"/>
                  </a:cubicBezTo>
                  <a:cubicBezTo>
                    <a:pt x="31" y="14"/>
                    <a:pt x="31" y="14"/>
                    <a:pt x="32" y="15"/>
                  </a:cubicBezTo>
                  <a:cubicBezTo>
                    <a:pt x="32" y="15"/>
                    <a:pt x="32" y="15"/>
                    <a:pt x="33" y="15"/>
                  </a:cubicBezTo>
                  <a:cubicBezTo>
                    <a:pt x="33" y="13"/>
                    <a:pt x="32" y="11"/>
                    <a:pt x="31" y="9"/>
                  </a:cubicBezTo>
                  <a:cubicBezTo>
                    <a:pt x="29" y="11"/>
                    <a:pt x="26" y="15"/>
                    <a:pt x="23" y="15"/>
                  </a:cubicBezTo>
                  <a:cubicBezTo>
                    <a:pt x="23" y="15"/>
                    <a:pt x="23" y="15"/>
                    <a:pt x="23" y="15"/>
                  </a:cubicBezTo>
                  <a:cubicBezTo>
                    <a:pt x="23" y="10"/>
                    <a:pt x="34" y="5"/>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Freeform 1319"/>
            <p:cNvSpPr/>
            <p:nvPr/>
          </p:nvSpPr>
          <p:spPr bwMode="auto">
            <a:xfrm>
              <a:off x="8623164" y="6194886"/>
              <a:ext cx="6712" cy="9396"/>
            </a:xfrm>
            <a:custGeom>
              <a:gdLst>
                <a:gd name="T0" fmla="*/ 2 w 2"/>
                <a:gd name="T1" fmla="*/ 0 h 3"/>
                <a:gd name="T2" fmla="*/ 0 w 2"/>
                <a:gd name="T3" fmla="*/ 3 h 3"/>
                <a:gd name="T4" fmla="*/ 2 w 2"/>
                <a:gd name="T5" fmla="*/ 0 h 3"/>
                <a:gd name="T6" fmla="*/ 2 w 2"/>
                <a:gd name="T7" fmla="*/ 0 h 3"/>
              </a:gdLst>
              <a:cxnLst>
                <a:cxn ang="0">
                  <a:pos x="T0" y="T1"/>
                </a:cxn>
                <a:cxn ang="0">
                  <a:pos x="T2" y="T3"/>
                </a:cxn>
                <a:cxn ang="0">
                  <a:pos x="T4" y="T5"/>
                </a:cxn>
                <a:cxn ang="0">
                  <a:pos x="T6" y="T7"/>
                </a:cxn>
              </a:cxnLst>
              <a:rect l="0" t="0" r="r" b="b"/>
              <a:pathLst>
                <a:path w="2" h="3">
                  <a:moveTo>
                    <a:pt x="2" y="0"/>
                  </a:moveTo>
                  <a:cubicBezTo>
                    <a:pt x="1" y="0"/>
                    <a:pt x="0" y="1"/>
                    <a:pt x="0" y="3"/>
                  </a:cubicBezTo>
                  <a:cubicBezTo>
                    <a:pt x="1" y="2"/>
                    <a:pt x="2"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Freeform 1320"/>
            <p:cNvSpPr/>
            <p:nvPr/>
          </p:nvSpPr>
          <p:spPr bwMode="auto">
            <a:xfrm>
              <a:off x="8788271" y="6210994"/>
              <a:ext cx="4027" cy="9396"/>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Freeform 1321"/>
            <p:cNvSpPr/>
            <p:nvPr/>
          </p:nvSpPr>
          <p:spPr bwMode="auto">
            <a:xfrm>
              <a:off x="8778875" y="6264687"/>
              <a:ext cx="6712" cy="13423"/>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0" y="0"/>
                    <a:pt x="0" y="1"/>
                    <a:pt x="2" y="4"/>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1322"/>
            <p:cNvSpPr/>
            <p:nvPr/>
          </p:nvSpPr>
          <p:spPr bwMode="auto">
            <a:xfrm>
              <a:off x="8641956" y="6169381"/>
              <a:ext cx="6712"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Freeform 1323"/>
            <p:cNvSpPr/>
            <p:nvPr/>
          </p:nvSpPr>
          <p:spPr bwMode="auto">
            <a:xfrm>
              <a:off x="8680884" y="6341200"/>
              <a:ext cx="41612" cy="16108"/>
            </a:xfrm>
            <a:custGeom>
              <a:gdLst>
                <a:gd name="T0" fmla="*/ 9 w 13"/>
                <a:gd name="T1" fmla="*/ 0 h 5"/>
                <a:gd name="T2" fmla="*/ 0 w 13"/>
                <a:gd name="T3" fmla="*/ 4 h 5"/>
                <a:gd name="T4" fmla="*/ 3 w 13"/>
                <a:gd name="T5" fmla="*/ 5 h 5"/>
                <a:gd name="T6" fmla="*/ 4 w 13"/>
                <a:gd name="T7" fmla="*/ 5 h 5"/>
                <a:gd name="T8" fmla="*/ 7 w 13"/>
                <a:gd name="T9" fmla="*/ 2 h 5"/>
                <a:gd name="T10" fmla="*/ 8 w 13"/>
                <a:gd name="T11" fmla="*/ 2 h 5"/>
                <a:gd name="T12" fmla="*/ 9 w 13"/>
                <a:gd name="T13" fmla="*/ 2 h 5"/>
                <a:gd name="T14" fmla="*/ 11 w 13"/>
                <a:gd name="T15" fmla="*/ 2 h 5"/>
                <a:gd name="T16" fmla="*/ 11 w 13"/>
                <a:gd name="T17" fmla="*/ 2 h 5"/>
                <a:gd name="T18" fmla="*/ 10 w 13"/>
                <a:gd name="T19" fmla="*/ 0 h 5"/>
                <a:gd name="T20" fmla="*/ 9 w 13"/>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5">
                  <a:moveTo>
                    <a:pt x="9" y="0"/>
                  </a:moveTo>
                  <a:cubicBezTo>
                    <a:pt x="6" y="0"/>
                    <a:pt x="3" y="3"/>
                    <a:pt x="0" y="4"/>
                  </a:cubicBezTo>
                  <a:cubicBezTo>
                    <a:pt x="1" y="5"/>
                    <a:pt x="2" y="5"/>
                    <a:pt x="3" y="5"/>
                  </a:cubicBezTo>
                  <a:cubicBezTo>
                    <a:pt x="3" y="5"/>
                    <a:pt x="4" y="5"/>
                    <a:pt x="4" y="5"/>
                  </a:cubicBezTo>
                  <a:cubicBezTo>
                    <a:pt x="7" y="5"/>
                    <a:pt x="4" y="3"/>
                    <a:pt x="7" y="2"/>
                  </a:cubicBezTo>
                  <a:cubicBezTo>
                    <a:pt x="7" y="2"/>
                    <a:pt x="8" y="2"/>
                    <a:pt x="8" y="2"/>
                  </a:cubicBezTo>
                  <a:cubicBezTo>
                    <a:pt x="8" y="2"/>
                    <a:pt x="9" y="2"/>
                    <a:pt x="9" y="2"/>
                  </a:cubicBezTo>
                  <a:cubicBezTo>
                    <a:pt x="10" y="2"/>
                    <a:pt x="10" y="2"/>
                    <a:pt x="11" y="2"/>
                  </a:cubicBezTo>
                  <a:cubicBezTo>
                    <a:pt x="11" y="2"/>
                    <a:pt x="11" y="2"/>
                    <a:pt x="11" y="2"/>
                  </a:cubicBezTo>
                  <a:cubicBezTo>
                    <a:pt x="13" y="2"/>
                    <a:pt x="13" y="0"/>
                    <a:pt x="10" y="0"/>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1324"/>
            <p:cNvSpPr/>
            <p:nvPr/>
          </p:nvSpPr>
          <p:spPr bwMode="auto">
            <a:xfrm>
              <a:off x="6266022" y="3777337"/>
              <a:ext cx="2685" cy="12081"/>
            </a:xfrm>
            <a:custGeom>
              <a:gdLst>
                <a:gd name="T0" fmla="*/ 1 w 1"/>
                <a:gd name="T1" fmla="*/ 0 h 4"/>
                <a:gd name="T2" fmla="*/ 0 w 1"/>
                <a:gd name="T3" fmla="*/ 4 h 4"/>
                <a:gd name="T4" fmla="*/ 1 w 1"/>
                <a:gd name="T5" fmla="*/ 0 h 4"/>
              </a:gdLst>
              <a:cxnLst>
                <a:cxn ang="0">
                  <a:pos x="T0" y="T1"/>
                </a:cxn>
                <a:cxn ang="0">
                  <a:pos x="T2" y="T3"/>
                </a:cxn>
                <a:cxn ang="0">
                  <a:pos x="T4" y="T5"/>
                </a:cxn>
              </a:cxnLst>
              <a:rect l="0" t="0" r="r" b="b"/>
              <a:pathLst>
                <a:path w="1" h="4">
                  <a:moveTo>
                    <a:pt x="1" y="0"/>
                  </a:moveTo>
                  <a:cubicBezTo>
                    <a:pt x="0" y="1"/>
                    <a:pt x="0" y="2"/>
                    <a:pt x="0" y="4"/>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Freeform 1325"/>
            <p:cNvSpPr/>
            <p:nvPr/>
          </p:nvSpPr>
          <p:spPr bwMode="auto">
            <a:xfrm>
              <a:off x="6275419" y="3761229"/>
              <a:ext cx="6712" cy="12081"/>
            </a:xfrm>
            <a:custGeom>
              <a:gdLst>
                <a:gd name="T0" fmla="*/ 2 w 2"/>
                <a:gd name="T1" fmla="*/ 0 h 4"/>
                <a:gd name="T2" fmla="*/ 2 w 2"/>
                <a:gd name="T3" fmla="*/ 0 h 4"/>
                <a:gd name="T4" fmla="*/ 0 w 2"/>
                <a:gd name="T5" fmla="*/ 4 h 4"/>
                <a:gd name="T6" fmla="*/ 2 w 2"/>
                <a:gd name="T7" fmla="*/ 0 h 4"/>
                <a:gd name="T8" fmla="*/ 2 w 2"/>
                <a:gd name="T9" fmla="*/ 0 h 4"/>
              </a:gdLst>
              <a:cxnLst>
                <a:cxn ang="0">
                  <a:pos x="T0" y="T1"/>
                </a:cxn>
                <a:cxn ang="0">
                  <a:pos x="T2" y="T3"/>
                </a:cxn>
                <a:cxn ang="0">
                  <a:pos x="T4" y="T5"/>
                </a:cxn>
                <a:cxn ang="0">
                  <a:pos x="T6" y="T7"/>
                </a:cxn>
                <a:cxn ang="0">
                  <a:pos x="T8" y="T9"/>
                </a:cxn>
              </a:cxnLst>
              <a:rect l="0" t="0" r="r" b="b"/>
              <a:pathLst>
                <a:path w="2" h="4">
                  <a:moveTo>
                    <a:pt x="2" y="0"/>
                  </a:moveTo>
                  <a:cubicBezTo>
                    <a:pt x="2" y="0"/>
                    <a:pt x="2" y="0"/>
                    <a:pt x="2" y="0"/>
                  </a:cubicBezTo>
                  <a:cubicBezTo>
                    <a:pt x="1" y="1"/>
                    <a:pt x="1" y="3"/>
                    <a:pt x="0" y="4"/>
                  </a:cubicBezTo>
                  <a:cubicBezTo>
                    <a:pt x="1" y="3"/>
                    <a:pt x="1" y="2"/>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1326"/>
            <p:cNvSpPr/>
            <p:nvPr/>
          </p:nvSpPr>
          <p:spPr bwMode="auto">
            <a:xfrm>
              <a:off x="6275419" y="3538401"/>
              <a:ext cx="6712" cy="9396"/>
            </a:xfrm>
            <a:custGeom>
              <a:gdLst>
                <a:gd name="T0" fmla="*/ 2 w 2"/>
                <a:gd name="T1" fmla="*/ 0 h 3"/>
                <a:gd name="T2" fmla="*/ 0 w 2"/>
                <a:gd name="T3" fmla="*/ 2 h 3"/>
                <a:gd name="T4" fmla="*/ 0 w 2"/>
                <a:gd name="T5" fmla="*/ 3 h 3"/>
                <a:gd name="T6" fmla="*/ 0 w 2"/>
                <a:gd name="T7" fmla="*/ 2 h 3"/>
                <a:gd name="T8" fmla="*/ 2 w 2"/>
                <a:gd name="T9" fmla="*/ 0 h 3"/>
              </a:gdLst>
              <a:cxnLst>
                <a:cxn ang="0">
                  <a:pos x="T0" y="T1"/>
                </a:cxn>
                <a:cxn ang="0">
                  <a:pos x="T2" y="T3"/>
                </a:cxn>
                <a:cxn ang="0">
                  <a:pos x="T4" y="T5"/>
                </a:cxn>
                <a:cxn ang="0">
                  <a:pos x="T6" y="T7"/>
                </a:cxn>
                <a:cxn ang="0">
                  <a:pos x="T8" y="T9"/>
                </a:cxn>
              </a:cxnLst>
              <a:rect l="0" t="0" r="r" b="b"/>
              <a:pathLst>
                <a:path w="2" h="3">
                  <a:moveTo>
                    <a:pt x="2" y="0"/>
                  </a:moveTo>
                  <a:cubicBezTo>
                    <a:pt x="1" y="1"/>
                    <a:pt x="1" y="2"/>
                    <a:pt x="0" y="2"/>
                  </a:cubicBezTo>
                  <a:cubicBezTo>
                    <a:pt x="0" y="3"/>
                    <a:pt x="0" y="3"/>
                    <a:pt x="0" y="3"/>
                  </a:cubicBezTo>
                  <a:cubicBezTo>
                    <a:pt x="0" y="2"/>
                    <a:pt x="0"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Freeform 1327"/>
            <p:cNvSpPr/>
            <p:nvPr/>
          </p:nvSpPr>
          <p:spPr bwMode="auto">
            <a:xfrm>
              <a:off x="3083345" y="4056543"/>
              <a:ext cx="4027" cy="9396"/>
            </a:xfrm>
            <a:custGeom>
              <a:gdLst>
                <a:gd name="T0" fmla="*/ 1 w 1"/>
                <a:gd name="T1" fmla="*/ 0 h 3"/>
                <a:gd name="T2" fmla="*/ 1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1328"/>
            <p:cNvSpPr/>
            <p:nvPr/>
          </p:nvSpPr>
          <p:spPr bwMode="auto">
            <a:xfrm>
              <a:off x="7224450" y="5474051"/>
              <a:ext cx="107387" cy="76513"/>
            </a:xfrm>
            <a:custGeom>
              <a:gdLst>
                <a:gd name="T0" fmla="*/ 1 w 34"/>
                <a:gd name="T1" fmla="*/ 0 h 24"/>
                <a:gd name="T2" fmla="*/ 0 w 34"/>
                <a:gd name="T3" fmla="*/ 0 h 24"/>
                <a:gd name="T4" fmla="*/ 1 w 34"/>
                <a:gd name="T5" fmla="*/ 1 h 24"/>
                <a:gd name="T6" fmla="*/ 3 w 34"/>
                <a:gd name="T7" fmla="*/ 3 h 24"/>
                <a:gd name="T8" fmla="*/ 4 w 34"/>
                <a:gd name="T9" fmla="*/ 5 h 24"/>
                <a:gd name="T10" fmla="*/ 6 w 34"/>
                <a:gd name="T11" fmla="*/ 6 h 24"/>
                <a:gd name="T12" fmla="*/ 15 w 34"/>
                <a:gd name="T13" fmla="*/ 13 h 24"/>
                <a:gd name="T14" fmla="*/ 27 w 34"/>
                <a:gd name="T15" fmla="*/ 20 h 24"/>
                <a:gd name="T16" fmla="*/ 28 w 34"/>
                <a:gd name="T17" fmla="*/ 20 h 24"/>
                <a:gd name="T18" fmla="*/ 34 w 34"/>
                <a:gd name="T19" fmla="*/ 24 h 24"/>
                <a:gd name="T20" fmla="*/ 33 w 34"/>
                <a:gd name="T21" fmla="*/ 21 h 24"/>
                <a:gd name="T22" fmla="*/ 31 w 34"/>
                <a:gd name="T23" fmla="*/ 21 h 24"/>
                <a:gd name="T24" fmla="*/ 33 w 34"/>
                <a:gd name="T25" fmla="*/ 19 h 24"/>
                <a:gd name="T26" fmla="*/ 31 w 34"/>
                <a:gd name="T27" fmla="*/ 17 h 24"/>
                <a:gd name="T28" fmla="*/ 25 w 34"/>
                <a:gd name="T29" fmla="*/ 13 h 24"/>
                <a:gd name="T30" fmla="*/ 17 w 34"/>
                <a:gd name="T31" fmla="*/ 8 h 24"/>
                <a:gd name="T32" fmla="*/ 17 w 34"/>
                <a:gd name="T33" fmla="*/ 8 h 24"/>
                <a:gd name="T34" fmla="*/ 17 w 34"/>
                <a:gd name="T35" fmla="*/ 8 h 24"/>
                <a:gd name="T36" fmla="*/ 16 w 34"/>
                <a:gd name="T37" fmla="*/ 9 h 24"/>
                <a:gd name="T38" fmla="*/ 16 w 34"/>
                <a:gd name="T39" fmla="*/ 8 h 24"/>
                <a:gd name="T40" fmla="*/ 11 w 34"/>
                <a:gd name="T41" fmla="*/ 5 h 24"/>
                <a:gd name="T42" fmla="*/ 5 w 34"/>
                <a:gd name="T43" fmla="*/ 1 h 24"/>
                <a:gd name="T44" fmla="*/ 1 w 34"/>
                <a:gd name="T45"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24">
                  <a:moveTo>
                    <a:pt x="1" y="0"/>
                  </a:moveTo>
                  <a:cubicBezTo>
                    <a:pt x="0" y="0"/>
                    <a:pt x="0" y="0"/>
                    <a:pt x="0" y="0"/>
                  </a:cubicBezTo>
                  <a:cubicBezTo>
                    <a:pt x="0" y="1"/>
                    <a:pt x="1" y="1"/>
                    <a:pt x="1" y="1"/>
                  </a:cubicBezTo>
                  <a:cubicBezTo>
                    <a:pt x="1" y="2"/>
                    <a:pt x="3" y="2"/>
                    <a:pt x="3" y="3"/>
                  </a:cubicBezTo>
                  <a:cubicBezTo>
                    <a:pt x="4" y="4"/>
                    <a:pt x="3" y="4"/>
                    <a:pt x="4" y="5"/>
                  </a:cubicBezTo>
                  <a:cubicBezTo>
                    <a:pt x="4" y="6"/>
                    <a:pt x="5" y="6"/>
                    <a:pt x="6" y="6"/>
                  </a:cubicBezTo>
                  <a:cubicBezTo>
                    <a:pt x="9" y="9"/>
                    <a:pt x="11" y="11"/>
                    <a:pt x="15" y="13"/>
                  </a:cubicBezTo>
                  <a:cubicBezTo>
                    <a:pt x="19" y="16"/>
                    <a:pt x="23" y="18"/>
                    <a:pt x="27" y="20"/>
                  </a:cubicBezTo>
                  <a:cubicBezTo>
                    <a:pt x="27" y="20"/>
                    <a:pt x="28" y="20"/>
                    <a:pt x="28" y="20"/>
                  </a:cubicBezTo>
                  <a:cubicBezTo>
                    <a:pt x="30" y="21"/>
                    <a:pt x="32" y="22"/>
                    <a:pt x="34" y="24"/>
                  </a:cubicBezTo>
                  <a:cubicBezTo>
                    <a:pt x="34" y="23"/>
                    <a:pt x="33" y="22"/>
                    <a:pt x="33" y="21"/>
                  </a:cubicBezTo>
                  <a:cubicBezTo>
                    <a:pt x="33" y="21"/>
                    <a:pt x="31" y="21"/>
                    <a:pt x="31" y="21"/>
                  </a:cubicBezTo>
                  <a:cubicBezTo>
                    <a:pt x="31" y="20"/>
                    <a:pt x="33" y="19"/>
                    <a:pt x="33" y="19"/>
                  </a:cubicBezTo>
                  <a:cubicBezTo>
                    <a:pt x="32" y="18"/>
                    <a:pt x="32" y="18"/>
                    <a:pt x="31" y="17"/>
                  </a:cubicBezTo>
                  <a:cubicBezTo>
                    <a:pt x="30" y="15"/>
                    <a:pt x="27" y="14"/>
                    <a:pt x="25" y="13"/>
                  </a:cubicBezTo>
                  <a:cubicBezTo>
                    <a:pt x="22" y="10"/>
                    <a:pt x="20" y="10"/>
                    <a:pt x="17" y="8"/>
                  </a:cubicBezTo>
                  <a:cubicBezTo>
                    <a:pt x="17" y="8"/>
                    <a:pt x="17" y="8"/>
                    <a:pt x="17" y="8"/>
                  </a:cubicBezTo>
                  <a:cubicBezTo>
                    <a:pt x="17" y="8"/>
                    <a:pt x="17" y="8"/>
                    <a:pt x="17" y="8"/>
                  </a:cubicBezTo>
                  <a:cubicBezTo>
                    <a:pt x="16" y="8"/>
                    <a:pt x="16" y="9"/>
                    <a:pt x="16" y="9"/>
                  </a:cubicBezTo>
                  <a:cubicBezTo>
                    <a:pt x="16" y="9"/>
                    <a:pt x="16" y="9"/>
                    <a:pt x="16" y="8"/>
                  </a:cubicBezTo>
                  <a:cubicBezTo>
                    <a:pt x="14" y="8"/>
                    <a:pt x="13" y="6"/>
                    <a:pt x="11" y="5"/>
                  </a:cubicBezTo>
                  <a:cubicBezTo>
                    <a:pt x="9" y="3"/>
                    <a:pt x="8" y="1"/>
                    <a:pt x="5" y="1"/>
                  </a:cubicBezTo>
                  <a:cubicBezTo>
                    <a:pt x="4"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Freeform 1329"/>
            <p:cNvSpPr/>
            <p:nvPr/>
          </p:nvSpPr>
          <p:spPr bwMode="auto">
            <a:xfrm>
              <a:off x="7131829" y="5506267"/>
              <a:ext cx="51009" cy="44297"/>
            </a:xfrm>
            <a:custGeom>
              <a:gdLst>
                <a:gd name="T0" fmla="*/ 7 w 16"/>
                <a:gd name="T1" fmla="*/ 0 h 14"/>
                <a:gd name="T2" fmla="*/ 1 w 16"/>
                <a:gd name="T3" fmla="*/ 5 h 14"/>
                <a:gd name="T4" fmla="*/ 1 w 16"/>
                <a:gd name="T5" fmla="*/ 8 h 14"/>
                <a:gd name="T6" fmla="*/ 2 w 16"/>
                <a:gd name="T7" fmla="*/ 8 h 14"/>
                <a:gd name="T8" fmla="*/ 4 w 16"/>
                <a:gd name="T9" fmla="*/ 7 h 14"/>
                <a:gd name="T10" fmla="*/ 6 w 16"/>
                <a:gd name="T11" fmla="*/ 7 h 14"/>
                <a:gd name="T12" fmla="*/ 7 w 16"/>
                <a:gd name="T13" fmla="*/ 7 h 14"/>
                <a:gd name="T14" fmla="*/ 8 w 16"/>
                <a:gd name="T15" fmla="*/ 9 h 14"/>
                <a:gd name="T16" fmla="*/ 14 w 16"/>
                <a:gd name="T17" fmla="*/ 14 h 14"/>
                <a:gd name="T18" fmla="*/ 13 w 16"/>
                <a:gd name="T19" fmla="*/ 6 h 14"/>
                <a:gd name="T20" fmla="*/ 9 w 16"/>
                <a:gd name="T21" fmla="*/ 1 h 14"/>
                <a:gd name="T22" fmla="*/ 7 w 16"/>
                <a:gd name="T23"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7" y="0"/>
                  </a:moveTo>
                  <a:cubicBezTo>
                    <a:pt x="4" y="0"/>
                    <a:pt x="2" y="3"/>
                    <a:pt x="1" y="5"/>
                  </a:cubicBezTo>
                  <a:cubicBezTo>
                    <a:pt x="0" y="6"/>
                    <a:pt x="0" y="7"/>
                    <a:pt x="1" y="8"/>
                  </a:cubicBezTo>
                  <a:cubicBezTo>
                    <a:pt x="1" y="8"/>
                    <a:pt x="1" y="8"/>
                    <a:pt x="2" y="8"/>
                  </a:cubicBezTo>
                  <a:cubicBezTo>
                    <a:pt x="2" y="8"/>
                    <a:pt x="3" y="8"/>
                    <a:pt x="4" y="7"/>
                  </a:cubicBezTo>
                  <a:cubicBezTo>
                    <a:pt x="4" y="7"/>
                    <a:pt x="6" y="7"/>
                    <a:pt x="6" y="7"/>
                  </a:cubicBezTo>
                  <a:cubicBezTo>
                    <a:pt x="6" y="7"/>
                    <a:pt x="7" y="7"/>
                    <a:pt x="7" y="7"/>
                  </a:cubicBezTo>
                  <a:cubicBezTo>
                    <a:pt x="9" y="7"/>
                    <a:pt x="7" y="7"/>
                    <a:pt x="8" y="9"/>
                  </a:cubicBezTo>
                  <a:cubicBezTo>
                    <a:pt x="10" y="12"/>
                    <a:pt x="10" y="12"/>
                    <a:pt x="14" y="14"/>
                  </a:cubicBezTo>
                  <a:cubicBezTo>
                    <a:pt x="16" y="11"/>
                    <a:pt x="15" y="9"/>
                    <a:pt x="13" y="6"/>
                  </a:cubicBezTo>
                  <a:cubicBezTo>
                    <a:pt x="12" y="5"/>
                    <a:pt x="10" y="2"/>
                    <a:pt x="9" y="1"/>
                  </a:cubicBezTo>
                  <a:cubicBezTo>
                    <a:pt x="8"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1330"/>
            <p:cNvSpPr/>
            <p:nvPr/>
          </p:nvSpPr>
          <p:spPr bwMode="auto">
            <a:xfrm>
              <a:off x="7433854" y="5674059"/>
              <a:ext cx="85909" cy="48324"/>
            </a:xfrm>
            <a:custGeom>
              <a:gdLst>
                <a:gd name="T0" fmla="*/ 3 w 27"/>
                <a:gd name="T1" fmla="*/ 0 h 15"/>
                <a:gd name="T2" fmla="*/ 3 w 27"/>
                <a:gd name="T3" fmla="*/ 0 h 15"/>
                <a:gd name="T4" fmla="*/ 2 w 27"/>
                <a:gd name="T5" fmla="*/ 3 h 15"/>
                <a:gd name="T6" fmla="*/ 2 w 27"/>
                <a:gd name="T7" fmla="*/ 3 h 15"/>
                <a:gd name="T8" fmla="*/ 3 w 27"/>
                <a:gd name="T9" fmla="*/ 3 h 15"/>
                <a:gd name="T10" fmla="*/ 4 w 27"/>
                <a:gd name="T11" fmla="*/ 3 h 15"/>
                <a:gd name="T12" fmla="*/ 5 w 27"/>
                <a:gd name="T13" fmla="*/ 3 h 15"/>
                <a:gd name="T14" fmla="*/ 7 w 27"/>
                <a:gd name="T15" fmla="*/ 9 h 15"/>
                <a:gd name="T16" fmla="*/ 10 w 27"/>
                <a:gd name="T17" fmla="*/ 10 h 15"/>
                <a:gd name="T18" fmla="*/ 14 w 27"/>
                <a:gd name="T19" fmla="*/ 13 h 15"/>
                <a:gd name="T20" fmla="*/ 20 w 27"/>
                <a:gd name="T21" fmla="*/ 14 h 15"/>
                <a:gd name="T22" fmla="*/ 26 w 27"/>
                <a:gd name="T23" fmla="*/ 15 h 15"/>
                <a:gd name="T24" fmla="*/ 27 w 27"/>
                <a:gd name="T25" fmla="*/ 15 h 15"/>
                <a:gd name="T26" fmla="*/ 20 w 27"/>
                <a:gd name="T27" fmla="*/ 6 h 15"/>
                <a:gd name="T28" fmla="*/ 20 w 27"/>
                <a:gd name="T29" fmla="*/ 6 h 15"/>
                <a:gd name="T30" fmla="*/ 19 w 27"/>
                <a:gd name="T31" fmla="*/ 6 h 15"/>
                <a:gd name="T32" fmla="*/ 19 w 27"/>
                <a:gd name="T33" fmla="*/ 6 h 15"/>
                <a:gd name="T34" fmla="*/ 19 w 27"/>
                <a:gd name="T35" fmla="*/ 6 h 15"/>
                <a:gd name="T36" fmla="*/ 9 w 27"/>
                <a:gd name="T37" fmla="*/ 2 h 15"/>
                <a:gd name="T38" fmla="*/ 3 w 27"/>
                <a:gd name="T3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15">
                  <a:moveTo>
                    <a:pt x="3" y="0"/>
                  </a:moveTo>
                  <a:cubicBezTo>
                    <a:pt x="3" y="0"/>
                    <a:pt x="3" y="0"/>
                    <a:pt x="3" y="0"/>
                  </a:cubicBezTo>
                  <a:cubicBezTo>
                    <a:pt x="1" y="0"/>
                    <a:pt x="0" y="2"/>
                    <a:pt x="2" y="3"/>
                  </a:cubicBezTo>
                  <a:cubicBezTo>
                    <a:pt x="2" y="3"/>
                    <a:pt x="2" y="3"/>
                    <a:pt x="2" y="3"/>
                  </a:cubicBezTo>
                  <a:cubicBezTo>
                    <a:pt x="3" y="3"/>
                    <a:pt x="3" y="3"/>
                    <a:pt x="3" y="3"/>
                  </a:cubicBezTo>
                  <a:cubicBezTo>
                    <a:pt x="4" y="3"/>
                    <a:pt x="4" y="3"/>
                    <a:pt x="4" y="3"/>
                  </a:cubicBezTo>
                  <a:cubicBezTo>
                    <a:pt x="5" y="3"/>
                    <a:pt x="5" y="3"/>
                    <a:pt x="5" y="3"/>
                  </a:cubicBezTo>
                  <a:cubicBezTo>
                    <a:pt x="6" y="4"/>
                    <a:pt x="6" y="7"/>
                    <a:pt x="7" y="9"/>
                  </a:cubicBezTo>
                  <a:cubicBezTo>
                    <a:pt x="8" y="9"/>
                    <a:pt x="9" y="10"/>
                    <a:pt x="10" y="10"/>
                  </a:cubicBezTo>
                  <a:cubicBezTo>
                    <a:pt x="11" y="11"/>
                    <a:pt x="13" y="12"/>
                    <a:pt x="14" y="13"/>
                  </a:cubicBezTo>
                  <a:cubicBezTo>
                    <a:pt x="16" y="13"/>
                    <a:pt x="18" y="14"/>
                    <a:pt x="20" y="14"/>
                  </a:cubicBezTo>
                  <a:cubicBezTo>
                    <a:pt x="21" y="14"/>
                    <a:pt x="24" y="15"/>
                    <a:pt x="26" y="15"/>
                  </a:cubicBezTo>
                  <a:cubicBezTo>
                    <a:pt x="26" y="15"/>
                    <a:pt x="27" y="15"/>
                    <a:pt x="27" y="15"/>
                  </a:cubicBezTo>
                  <a:cubicBezTo>
                    <a:pt x="26" y="12"/>
                    <a:pt x="23" y="9"/>
                    <a:pt x="20" y="6"/>
                  </a:cubicBezTo>
                  <a:cubicBezTo>
                    <a:pt x="20" y="6"/>
                    <a:pt x="20" y="6"/>
                    <a:pt x="20" y="6"/>
                  </a:cubicBezTo>
                  <a:cubicBezTo>
                    <a:pt x="20" y="6"/>
                    <a:pt x="19" y="6"/>
                    <a:pt x="19" y="6"/>
                  </a:cubicBezTo>
                  <a:cubicBezTo>
                    <a:pt x="19" y="6"/>
                    <a:pt x="19" y="6"/>
                    <a:pt x="19" y="6"/>
                  </a:cubicBezTo>
                  <a:cubicBezTo>
                    <a:pt x="19" y="6"/>
                    <a:pt x="19" y="6"/>
                    <a:pt x="19" y="6"/>
                  </a:cubicBezTo>
                  <a:cubicBezTo>
                    <a:pt x="15" y="5"/>
                    <a:pt x="12" y="4"/>
                    <a:pt x="9" y="2"/>
                  </a:cubicBezTo>
                  <a:cubicBezTo>
                    <a:pt x="7"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1331"/>
            <p:cNvSpPr/>
            <p:nvPr/>
          </p:nvSpPr>
          <p:spPr bwMode="auto">
            <a:xfrm>
              <a:off x="7122432" y="5519690"/>
              <a:ext cx="9396" cy="12081"/>
            </a:xfrm>
            <a:custGeom>
              <a:gdLst>
                <a:gd name="T0" fmla="*/ 1 w 3"/>
                <a:gd name="T1" fmla="*/ 0 h 4"/>
                <a:gd name="T2" fmla="*/ 0 w 3"/>
                <a:gd name="T3" fmla="*/ 1 h 4"/>
                <a:gd name="T4" fmla="*/ 3 w 3"/>
                <a:gd name="T5" fmla="*/ 4 h 4"/>
                <a:gd name="T6" fmla="*/ 1 w 3"/>
                <a:gd name="T7" fmla="*/ 0 h 4"/>
              </a:gdLst>
              <a:cxnLst>
                <a:cxn ang="0">
                  <a:pos x="T0" y="T1"/>
                </a:cxn>
                <a:cxn ang="0">
                  <a:pos x="T2" y="T3"/>
                </a:cxn>
                <a:cxn ang="0">
                  <a:pos x="T4" y="T5"/>
                </a:cxn>
                <a:cxn ang="0">
                  <a:pos x="T6" y="T7"/>
                </a:cxn>
              </a:cxnLst>
              <a:rect l="0" t="0" r="r" b="b"/>
              <a:pathLst>
                <a:path w="3" h="4">
                  <a:moveTo>
                    <a:pt x="1" y="0"/>
                  </a:moveTo>
                  <a:cubicBezTo>
                    <a:pt x="1" y="0"/>
                    <a:pt x="1" y="0"/>
                    <a:pt x="0" y="1"/>
                  </a:cubicBezTo>
                  <a:cubicBezTo>
                    <a:pt x="1" y="2"/>
                    <a:pt x="2" y="3"/>
                    <a:pt x="3" y="4"/>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1332"/>
            <p:cNvSpPr/>
            <p:nvPr/>
          </p:nvSpPr>
          <p:spPr bwMode="auto">
            <a:xfrm>
              <a:off x="7382846" y="5531771"/>
              <a:ext cx="60405" cy="97991"/>
            </a:xfrm>
            <a:custGeom>
              <a:gdLst>
                <a:gd name="T0" fmla="*/ 4 w 19"/>
                <a:gd name="T1" fmla="*/ 0 h 31"/>
                <a:gd name="T2" fmla="*/ 4 w 19"/>
                <a:gd name="T3" fmla="*/ 1 h 31"/>
                <a:gd name="T4" fmla="*/ 1 w 19"/>
                <a:gd name="T5" fmla="*/ 1 h 31"/>
                <a:gd name="T6" fmla="*/ 2 w 19"/>
                <a:gd name="T7" fmla="*/ 4 h 31"/>
                <a:gd name="T8" fmla="*/ 2 w 19"/>
                <a:gd name="T9" fmla="*/ 8 h 31"/>
                <a:gd name="T10" fmla="*/ 7 w 19"/>
                <a:gd name="T11" fmla="*/ 20 h 31"/>
                <a:gd name="T12" fmla="*/ 19 w 19"/>
                <a:gd name="T13" fmla="*/ 31 h 31"/>
                <a:gd name="T14" fmla="*/ 19 w 19"/>
                <a:gd name="T15" fmla="*/ 28 h 31"/>
                <a:gd name="T16" fmla="*/ 17 w 19"/>
                <a:gd name="T17" fmla="*/ 25 h 31"/>
                <a:gd name="T18" fmla="*/ 17 w 19"/>
                <a:gd name="T19" fmla="*/ 23 h 31"/>
                <a:gd name="T20" fmla="*/ 14 w 19"/>
                <a:gd name="T21" fmla="*/ 16 h 31"/>
                <a:gd name="T22" fmla="*/ 12 w 19"/>
                <a:gd name="T23" fmla="*/ 14 h 31"/>
                <a:gd name="T24" fmla="*/ 8 w 19"/>
                <a:gd name="T25" fmla="*/ 5 h 31"/>
                <a:gd name="T26" fmla="*/ 4 w 19"/>
                <a:gd name="T27"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1">
                  <a:moveTo>
                    <a:pt x="4" y="0"/>
                  </a:moveTo>
                  <a:cubicBezTo>
                    <a:pt x="4" y="0"/>
                    <a:pt x="4" y="1"/>
                    <a:pt x="4" y="1"/>
                  </a:cubicBezTo>
                  <a:cubicBezTo>
                    <a:pt x="2" y="1"/>
                    <a:pt x="1" y="1"/>
                    <a:pt x="1" y="1"/>
                  </a:cubicBezTo>
                  <a:cubicBezTo>
                    <a:pt x="0" y="1"/>
                    <a:pt x="1" y="2"/>
                    <a:pt x="2" y="4"/>
                  </a:cubicBezTo>
                  <a:cubicBezTo>
                    <a:pt x="4" y="6"/>
                    <a:pt x="3" y="6"/>
                    <a:pt x="2" y="8"/>
                  </a:cubicBezTo>
                  <a:cubicBezTo>
                    <a:pt x="2" y="11"/>
                    <a:pt x="5" y="18"/>
                    <a:pt x="7" y="20"/>
                  </a:cubicBezTo>
                  <a:cubicBezTo>
                    <a:pt x="11" y="24"/>
                    <a:pt x="15" y="28"/>
                    <a:pt x="19" y="31"/>
                  </a:cubicBezTo>
                  <a:cubicBezTo>
                    <a:pt x="19" y="30"/>
                    <a:pt x="19" y="29"/>
                    <a:pt x="19" y="28"/>
                  </a:cubicBezTo>
                  <a:cubicBezTo>
                    <a:pt x="19" y="27"/>
                    <a:pt x="18" y="26"/>
                    <a:pt x="17" y="25"/>
                  </a:cubicBezTo>
                  <a:cubicBezTo>
                    <a:pt x="17" y="24"/>
                    <a:pt x="17" y="24"/>
                    <a:pt x="17" y="23"/>
                  </a:cubicBezTo>
                  <a:cubicBezTo>
                    <a:pt x="16" y="20"/>
                    <a:pt x="15" y="18"/>
                    <a:pt x="14" y="16"/>
                  </a:cubicBezTo>
                  <a:cubicBezTo>
                    <a:pt x="14" y="16"/>
                    <a:pt x="12" y="15"/>
                    <a:pt x="12" y="14"/>
                  </a:cubicBezTo>
                  <a:cubicBezTo>
                    <a:pt x="10" y="12"/>
                    <a:pt x="10" y="8"/>
                    <a:pt x="8" y="5"/>
                  </a:cubicBezTo>
                  <a:cubicBezTo>
                    <a:pt x="7" y="3"/>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1333"/>
            <p:cNvSpPr/>
            <p:nvPr/>
          </p:nvSpPr>
          <p:spPr bwMode="auto">
            <a:xfrm>
              <a:off x="7082162" y="5503582"/>
              <a:ext cx="5369" cy="18793"/>
            </a:xfrm>
            <a:custGeom>
              <a:gdLst>
                <a:gd name="T0" fmla="*/ 0 w 2"/>
                <a:gd name="T1" fmla="*/ 0 h 6"/>
                <a:gd name="T2" fmla="*/ 1 w 2"/>
                <a:gd name="T3" fmla="*/ 6 h 6"/>
                <a:gd name="T4" fmla="*/ 0 w 2"/>
                <a:gd name="T5" fmla="*/ 0 h 6"/>
              </a:gdLst>
              <a:cxnLst>
                <a:cxn ang="0">
                  <a:pos x="T0" y="T1"/>
                </a:cxn>
                <a:cxn ang="0">
                  <a:pos x="T2" y="T3"/>
                </a:cxn>
                <a:cxn ang="0">
                  <a:pos x="T4" y="T5"/>
                </a:cxn>
              </a:cxnLst>
              <a:rect l="0" t="0" r="r" b="b"/>
              <a:pathLst>
                <a:path w="2" h="6">
                  <a:moveTo>
                    <a:pt x="0" y="0"/>
                  </a:moveTo>
                  <a:cubicBezTo>
                    <a:pt x="0" y="2"/>
                    <a:pt x="1" y="4"/>
                    <a:pt x="1" y="6"/>
                  </a:cubicBezTo>
                  <a:cubicBezTo>
                    <a:pt x="2"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1334"/>
            <p:cNvSpPr/>
            <p:nvPr/>
          </p:nvSpPr>
          <p:spPr bwMode="auto">
            <a:xfrm>
              <a:off x="7151964" y="5559960"/>
              <a:ext cx="12081" cy="9396"/>
            </a:xfrm>
            <a:custGeom>
              <a:gdLst>
                <a:gd name="T0" fmla="*/ 2 w 4"/>
                <a:gd name="T1" fmla="*/ 0 h 3"/>
                <a:gd name="T2" fmla="*/ 0 w 4"/>
                <a:gd name="T3" fmla="*/ 0 h 3"/>
                <a:gd name="T4" fmla="*/ 4 w 4"/>
                <a:gd name="T5" fmla="*/ 3 h 3"/>
                <a:gd name="T6" fmla="*/ 2 w 4"/>
                <a:gd name="T7" fmla="*/ 0 h 3"/>
              </a:gdLst>
              <a:cxnLst>
                <a:cxn ang="0">
                  <a:pos x="T0" y="T1"/>
                </a:cxn>
                <a:cxn ang="0">
                  <a:pos x="T2" y="T3"/>
                </a:cxn>
                <a:cxn ang="0">
                  <a:pos x="T4" y="T5"/>
                </a:cxn>
                <a:cxn ang="0">
                  <a:pos x="T6" y="T7"/>
                </a:cxn>
              </a:cxnLst>
              <a:rect l="0" t="0" r="r" b="b"/>
              <a:pathLst>
                <a:path w="4" h="3">
                  <a:moveTo>
                    <a:pt x="2" y="0"/>
                  </a:moveTo>
                  <a:cubicBezTo>
                    <a:pt x="1" y="0"/>
                    <a:pt x="1" y="0"/>
                    <a:pt x="0" y="0"/>
                  </a:cubicBezTo>
                  <a:cubicBezTo>
                    <a:pt x="1" y="1"/>
                    <a:pt x="2" y="2"/>
                    <a:pt x="4" y="3"/>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Freeform 1335"/>
            <p:cNvSpPr/>
            <p:nvPr/>
          </p:nvSpPr>
          <p:spPr bwMode="auto">
            <a:xfrm>
              <a:off x="7129144" y="5541167"/>
              <a:ext cx="22820" cy="22820"/>
            </a:xfrm>
            <a:custGeom>
              <a:gdLst>
                <a:gd name="T0" fmla="*/ 4 w 7"/>
                <a:gd name="T1" fmla="*/ 0 h 7"/>
                <a:gd name="T2" fmla="*/ 2 w 7"/>
                <a:gd name="T3" fmla="*/ 2 h 7"/>
                <a:gd name="T4" fmla="*/ 5 w 7"/>
                <a:gd name="T5" fmla="*/ 7 h 7"/>
                <a:gd name="T6" fmla="*/ 5 w 7"/>
                <a:gd name="T7" fmla="*/ 0 h 7"/>
                <a:gd name="T8" fmla="*/ 4 w 7"/>
                <a:gd name="T9" fmla="*/ 0 h 7"/>
              </a:gdLst>
              <a:cxnLst>
                <a:cxn ang="0">
                  <a:pos x="T0" y="T1"/>
                </a:cxn>
                <a:cxn ang="0">
                  <a:pos x="T2" y="T3"/>
                </a:cxn>
                <a:cxn ang="0">
                  <a:pos x="T4" y="T5"/>
                </a:cxn>
                <a:cxn ang="0">
                  <a:pos x="T6" y="T7"/>
                </a:cxn>
                <a:cxn ang="0">
                  <a:pos x="T8" y="T9"/>
                </a:cxn>
              </a:cxnLst>
              <a:rect l="0" t="0" r="r" b="b"/>
              <a:pathLst>
                <a:path w="7" h="7">
                  <a:moveTo>
                    <a:pt x="4" y="0"/>
                  </a:moveTo>
                  <a:cubicBezTo>
                    <a:pt x="3" y="0"/>
                    <a:pt x="2" y="1"/>
                    <a:pt x="2" y="2"/>
                  </a:cubicBezTo>
                  <a:cubicBezTo>
                    <a:pt x="0" y="4"/>
                    <a:pt x="3" y="5"/>
                    <a:pt x="5" y="7"/>
                  </a:cubicBezTo>
                  <a:cubicBezTo>
                    <a:pt x="2" y="3"/>
                    <a:pt x="7" y="3"/>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1336"/>
            <p:cNvSpPr/>
            <p:nvPr/>
          </p:nvSpPr>
          <p:spPr bwMode="auto">
            <a:xfrm>
              <a:off x="7071424" y="5404249"/>
              <a:ext cx="89936" cy="57720"/>
            </a:xfrm>
            <a:custGeom>
              <a:gdLst>
                <a:gd name="T0" fmla="*/ 2 w 28"/>
                <a:gd name="T1" fmla="*/ 0 h 18"/>
                <a:gd name="T2" fmla="*/ 1 w 28"/>
                <a:gd name="T3" fmla="*/ 3 h 18"/>
                <a:gd name="T4" fmla="*/ 6 w 28"/>
                <a:gd name="T5" fmla="*/ 6 h 18"/>
                <a:gd name="T6" fmla="*/ 10 w 28"/>
                <a:gd name="T7" fmla="*/ 12 h 18"/>
                <a:gd name="T8" fmla="*/ 20 w 28"/>
                <a:gd name="T9" fmla="*/ 18 h 18"/>
                <a:gd name="T10" fmla="*/ 22 w 28"/>
                <a:gd name="T11" fmla="*/ 18 h 18"/>
                <a:gd name="T12" fmla="*/ 26 w 28"/>
                <a:gd name="T13" fmla="*/ 16 h 18"/>
                <a:gd name="T14" fmla="*/ 22 w 28"/>
                <a:gd name="T15" fmla="*/ 16 h 18"/>
                <a:gd name="T16" fmla="*/ 18 w 28"/>
                <a:gd name="T17" fmla="*/ 13 h 18"/>
                <a:gd name="T18" fmla="*/ 14 w 28"/>
                <a:gd name="T19" fmla="*/ 6 h 18"/>
                <a:gd name="T20" fmla="*/ 9 w 28"/>
                <a:gd name="T21" fmla="*/ 3 h 18"/>
                <a:gd name="T22" fmla="*/ 4 w 28"/>
                <a:gd name="T23" fmla="*/ 1 h 18"/>
                <a:gd name="T24" fmla="*/ 2 w 28"/>
                <a:gd name="T2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8">
                  <a:moveTo>
                    <a:pt x="2" y="0"/>
                  </a:moveTo>
                  <a:cubicBezTo>
                    <a:pt x="1" y="0"/>
                    <a:pt x="0" y="1"/>
                    <a:pt x="1" y="3"/>
                  </a:cubicBezTo>
                  <a:cubicBezTo>
                    <a:pt x="2" y="4"/>
                    <a:pt x="5" y="5"/>
                    <a:pt x="6" y="6"/>
                  </a:cubicBezTo>
                  <a:cubicBezTo>
                    <a:pt x="8" y="8"/>
                    <a:pt x="9" y="10"/>
                    <a:pt x="10" y="12"/>
                  </a:cubicBezTo>
                  <a:cubicBezTo>
                    <a:pt x="14" y="15"/>
                    <a:pt x="16" y="16"/>
                    <a:pt x="20" y="18"/>
                  </a:cubicBezTo>
                  <a:cubicBezTo>
                    <a:pt x="20" y="18"/>
                    <a:pt x="21" y="18"/>
                    <a:pt x="22" y="18"/>
                  </a:cubicBezTo>
                  <a:cubicBezTo>
                    <a:pt x="25" y="18"/>
                    <a:pt x="28" y="18"/>
                    <a:pt x="26" y="16"/>
                  </a:cubicBezTo>
                  <a:cubicBezTo>
                    <a:pt x="26" y="16"/>
                    <a:pt x="23" y="16"/>
                    <a:pt x="22" y="16"/>
                  </a:cubicBezTo>
                  <a:cubicBezTo>
                    <a:pt x="21" y="15"/>
                    <a:pt x="19" y="14"/>
                    <a:pt x="18" y="13"/>
                  </a:cubicBezTo>
                  <a:cubicBezTo>
                    <a:pt x="16" y="11"/>
                    <a:pt x="17" y="8"/>
                    <a:pt x="14" y="6"/>
                  </a:cubicBezTo>
                  <a:cubicBezTo>
                    <a:pt x="12" y="5"/>
                    <a:pt x="10" y="5"/>
                    <a:pt x="9" y="3"/>
                  </a:cubicBezTo>
                  <a:cubicBezTo>
                    <a:pt x="7" y="2"/>
                    <a:pt x="6" y="1"/>
                    <a:pt x="4"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Freeform 1337"/>
            <p:cNvSpPr/>
            <p:nvPr/>
          </p:nvSpPr>
          <p:spPr bwMode="auto">
            <a:xfrm>
              <a:off x="7211027" y="5468681"/>
              <a:ext cx="10739" cy="5369"/>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1"/>
                    <a:pt x="2" y="2"/>
                    <a:pt x="3" y="2"/>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1338"/>
            <p:cNvSpPr/>
            <p:nvPr/>
          </p:nvSpPr>
          <p:spPr bwMode="auto">
            <a:xfrm>
              <a:off x="7484863" y="5636473"/>
              <a:ext cx="2685" cy="12081"/>
            </a:xfrm>
            <a:custGeom>
              <a:gdLst>
                <a:gd name="T0" fmla="*/ 1 w 1"/>
                <a:gd name="T1" fmla="*/ 0 h 4"/>
                <a:gd name="T2" fmla="*/ 1 w 1"/>
                <a:gd name="T3" fmla="*/ 4 h 4"/>
                <a:gd name="T4" fmla="*/ 1 w 1"/>
                <a:gd name="T5" fmla="*/ 0 h 4"/>
              </a:gdLst>
              <a:cxnLst>
                <a:cxn ang="0">
                  <a:pos x="T0" y="T1"/>
                </a:cxn>
                <a:cxn ang="0">
                  <a:pos x="T2" y="T3"/>
                </a:cxn>
                <a:cxn ang="0">
                  <a:pos x="T4" y="T5"/>
                </a:cxn>
              </a:cxnLst>
              <a:rect l="0" t="0" r="r" b="b"/>
              <a:pathLst>
                <a:path w="1" h="4">
                  <a:moveTo>
                    <a:pt x="1" y="0"/>
                  </a:moveTo>
                  <a:cubicBezTo>
                    <a:pt x="0" y="1"/>
                    <a:pt x="1" y="2"/>
                    <a:pt x="1" y="4"/>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1339"/>
            <p:cNvSpPr/>
            <p:nvPr/>
          </p:nvSpPr>
          <p:spPr bwMode="auto">
            <a:xfrm>
              <a:off x="7306332" y="5604257"/>
              <a:ext cx="92621" cy="51009"/>
            </a:xfrm>
            <a:custGeom>
              <a:gdLst>
                <a:gd name="T0" fmla="*/ 4 w 29"/>
                <a:gd name="T1" fmla="*/ 0 h 16"/>
                <a:gd name="T2" fmla="*/ 1 w 29"/>
                <a:gd name="T3" fmla="*/ 1 h 16"/>
                <a:gd name="T4" fmla="*/ 3 w 29"/>
                <a:gd name="T5" fmla="*/ 8 h 16"/>
                <a:gd name="T6" fmla="*/ 11 w 29"/>
                <a:gd name="T7" fmla="*/ 13 h 16"/>
                <a:gd name="T8" fmla="*/ 12 w 29"/>
                <a:gd name="T9" fmla="*/ 13 h 16"/>
                <a:gd name="T10" fmla="*/ 14 w 29"/>
                <a:gd name="T11" fmla="*/ 13 h 16"/>
                <a:gd name="T12" fmla="*/ 16 w 29"/>
                <a:gd name="T13" fmla="*/ 13 h 16"/>
                <a:gd name="T14" fmla="*/ 18 w 29"/>
                <a:gd name="T15" fmla="*/ 13 h 16"/>
                <a:gd name="T16" fmla="*/ 21 w 29"/>
                <a:gd name="T17" fmla="*/ 15 h 16"/>
                <a:gd name="T18" fmla="*/ 26 w 29"/>
                <a:gd name="T19" fmla="*/ 16 h 16"/>
                <a:gd name="T20" fmla="*/ 29 w 29"/>
                <a:gd name="T21" fmla="*/ 11 h 16"/>
                <a:gd name="T22" fmla="*/ 27 w 29"/>
                <a:gd name="T23" fmla="*/ 10 h 16"/>
                <a:gd name="T24" fmla="*/ 24 w 29"/>
                <a:gd name="T25" fmla="*/ 6 h 16"/>
                <a:gd name="T26" fmla="*/ 15 w 29"/>
                <a:gd name="T27" fmla="*/ 3 h 16"/>
                <a:gd name="T28" fmla="*/ 15 w 29"/>
                <a:gd name="T29" fmla="*/ 3 h 16"/>
                <a:gd name="T30" fmla="*/ 13 w 29"/>
                <a:gd name="T31" fmla="*/ 3 h 16"/>
                <a:gd name="T32" fmla="*/ 12 w 29"/>
                <a:gd name="T33" fmla="*/ 3 h 16"/>
                <a:gd name="T34" fmla="*/ 12 w 29"/>
                <a:gd name="T35" fmla="*/ 3 h 16"/>
                <a:gd name="T36" fmla="*/ 4 w 29"/>
                <a:gd name="T37"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16">
                  <a:moveTo>
                    <a:pt x="4" y="0"/>
                  </a:moveTo>
                  <a:cubicBezTo>
                    <a:pt x="3" y="0"/>
                    <a:pt x="2" y="0"/>
                    <a:pt x="1" y="1"/>
                  </a:cubicBezTo>
                  <a:cubicBezTo>
                    <a:pt x="0" y="3"/>
                    <a:pt x="2" y="6"/>
                    <a:pt x="3" y="8"/>
                  </a:cubicBezTo>
                  <a:cubicBezTo>
                    <a:pt x="5" y="11"/>
                    <a:pt x="7" y="12"/>
                    <a:pt x="11" y="13"/>
                  </a:cubicBezTo>
                  <a:cubicBezTo>
                    <a:pt x="12" y="13"/>
                    <a:pt x="12" y="13"/>
                    <a:pt x="12" y="13"/>
                  </a:cubicBezTo>
                  <a:cubicBezTo>
                    <a:pt x="13" y="13"/>
                    <a:pt x="14" y="13"/>
                    <a:pt x="14" y="13"/>
                  </a:cubicBezTo>
                  <a:cubicBezTo>
                    <a:pt x="15" y="13"/>
                    <a:pt x="16" y="13"/>
                    <a:pt x="16" y="13"/>
                  </a:cubicBezTo>
                  <a:cubicBezTo>
                    <a:pt x="17" y="13"/>
                    <a:pt x="18" y="13"/>
                    <a:pt x="18" y="13"/>
                  </a:cubicBezTo>
                  <a:cubicBezTo>
                    <a:pt x="19" y="13"/>
                    <a:pt x="20" y="14"/>
                    <a:pt x="21" y="15"/>
                  </a:cubicBezTo>
                  <a:cubicBezTo>
                    <a:pt x="22" y="15"/>
                    <a:pt x="24" y="15"/>
                    <a:pt x="26" y="16"/>
                  </a:cubicBezTo>
                  <a:cubicBezTo>
                    <a:pt x="27" y="14"/>
                    <a:pt x="29" y="13"/>
                    <a:pt x="29" y="11"/>
                  </a:cubicBezTo>
                  <a:cubicBezTo>
                    <a:pt x="27" y="10"/>
                    <a:pt x="27" y="10"/>
                    <a:pt x="27" y="10"/>
                  </a:cubicBezTo>
                  <a:cubicBezTo>
                    <a:pt x="27" y="9"/>
                    <a:pt x="26" y="7"/>
                    <a:pt x="24" y="6"/>
                  </a:cubicBezTo>
                  <a:cubicBezTo>
                    <a:pt x="21" y="4"/>
                    <a:pt x="18" y="3"/>
                    <a:pt x="15" y="3"/>
                  </a:cubicBezTo>
                  <a:cubicBezTo>
                    <a:pt x="15" y="3"/>
                    <a:pt x="15" y="3"/>
                    <a:pt x="15" y="3"/>
                  </a:cubicBezTo>
                  <a:cubicBezTo>
                    <a:pt x="14" y="3"/>
                    <a:pt x="14" y="3"/>
                    <a:pt x="13" y="3"/>
                  </a:cubicBezTo>
                  <a:cubicBezTo>
                    <a:pt x="13" y="3"/>
                    <a:pt x="13" y="3"/>
                    <a:pt x="12" y="3"/>
                  </a:cubicBezTo>
                  <a:cubicBezTo>
                    <a:pt x="12" y="3"/>
                    <a:pt x="12" y="3"/>
                    <a:pt x="12" y="3"/>
                  </a:cubicBezTo>
                  <a:cubicBezTo>
                    <a:pt x="10" y="3"/>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1340"/>
            <p:cNvSpPr/>
            <p:nvPr/>
          </p:nvSpPr>
          <p:spPr bwMode="auto">
            <a:xfrm>
              <a:off x="7443251" y="5608284"/>
              <a:ext cx="12081" cy="34901"/>
            </a:xfrm>
            <a:custGeom>
              <a:gdLst>
                <a:gd name="T0" fmla="*/ 0 w 4"/>
                <a:gd name="T1" fmla="*/ 0 h 11"/>
                <a:gd name="T2" fmla="*/ 4 w 4"/>
                <a:gd name="T3" fmla="*/ 11 h 11"/>
                <a:gd name="T4" fmla="*/ 0 w 4"/>
                <a:gd name="T5" fmla="*/ 0 h 11"/>
              </a:gdLst>
              <a:cxnLst>
                <a:cxn ang="0">
                  <a:pos x="T0" y="T1"/>
                </a:cxn>
                <a:cxn ang="0">
                  <a:pos x="T2" y="T3"/>
                </a:cxn>
                <a:cxn ang="0">
                  <a:pos x="T4" y="T5"/>
                </a:cxn>
              </a:cxnLst>
              <a:rect l="0" t="0" r="r" b="b"/>
              <a:pathLst>
                <a:path w="4" h="11">
                  <a:moveTo>
                    <a:pt x="0" y="0"/>
                  </a:moveTo>
                  <a:cubicBezTo>
                    <a:pt x="1" y="4"/>
                    <a:pt x="3" y="8"/>
                    <a:pt x="4" y="11"/>
                  </a:cubicBezTo>
                  <a:cubicBezTo>
                    <a:pt x="4" y="7"/>
                    <a:pt x="3"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7" name="Freeform 1341"/>
            <p:cNvSpPr/>
            <p:nvPr/>
          </p:nvSpPr>
          <p:spPr bwMode="auto">
            <a:xfrm>
              <a:off x="7310359" y="5538483"/>
              <a:ext cx="5369" cy="12081"/>
            </a:xfrm>
            <a:custGeom>
              <a:gdLst>
                <a:gd name="T0" fmla="*/ 0 w 2"/>
                <a:gd name="T1" fmla="*/ 0 h 4"/>
                <a:gd name="T2" fmla="*/ 2 w 2"/>
                <a:gd name="T3" fmla="*/ 4 h 4"/>
                <a:gd name="T4" fmla="*/ 1 w 2"/>
                <a:gd name="T5" fmla="*/ 0 h 4"/>
                <a:gd name="T6" fmla="*/ 0 w 2"/>
                <a:gd name="T7" fmla="*/ 0 h 4"/>
                <a:gd name="T8" fmla="*/ 0 w 2"/>
                <a:gd name="T9" fmla="*/ 0 h 4"/>
              </a:gdLst>
              <a:cxnLst>
                <a:cxn ang="0">
                  <a:pos x="T0" y="T1"/>
                </a:cxn>
                <a:cxn ang="0">
                  <a:pos x="T2" y="T3"/>
                </a:cxn>
                <a:cxn ang="0">
                  <a:pos x="T4" y="T5"/>
                </a:cxn>
                <a:cxn ang="0">
                  <a:pos x="T6" y="T7"/>
                </a:cxn>
                <a:cxn ang="0">
                  <a:pos x="T8" y="T9"/>
                </a:cxn>
              </a:cxnLst>
              <a:rect l="0" t="0" r="r" b="b"/>
              <a:pathLst>
                <a:path w="2" h="4">
                  <a:moveTo>
                    <a:pt x="0" y="0"/>
                  </a:moveTo>
                  <a:cubicBezTo>
                    <a:pt x="0" y="1"/>
                    <a:pt x="1" y="2"/>
                    <a:pt x="2" y="4"/>
                  </a:cubicBezTo>
                  <a:cubicBezTo>
                    <a:pt x="1" y="2"/>
                    <a:pt x="2" y="1"/>
                    <a:pt x="1" y="0"/>
                  </a:cubicBezTo>
                  <a:cubicBezTo>
                    <a:pt x="1"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1342"/>
            <p:cNvSpPr/>
            <p:nvPr/>
          </p:nvSpPr>
          <p:spPr bwMode="auto">
            <a:xfrm>
              <a:off x="7215054" y="5474051"/>
              <a:ext cx="16108" cy="10739"/>
            </a:xfrm>
            <a:custGeom>
              <a:gdLst>
                <a:gd name="T0" fmla="*/ 1 w 5"/>
                <a:gd name="T1" fmla="*/ 0 h 3"/>
                <a:gd name="T2" fmla="*/ 0 w 5"/>
                <a:gd name="T3" fmla="*/ 1 h 3"/>
                <a:gd name="T4" fmla="*/ 5 w 5"/>
                <a:gd name="T5" fmla="*/ 3 h 3"/>
                <a:gd name="T6" fmla="*/ 1 w 5"/>
                <a:gd name="T7" fmla="*/ 0 h 3"/>
              </a:gdLst>
              <a:cxnLst>
                <a:cxn ang="0">
                  <a:pos x="T0" y="T1"/>
                </a:cxn>
                <a:cxn ang="0">
                  <a:pos x="T2" y="T3"/>
                </a:cxn>
                <a:cxn ang="0">
                  <a:pos x="T4" y="T5"/>
                </a:cxn>
                <a:cxn ang="0">
                  <a:pos x="T6" y="T7"/>
                </a:cxn>
              </a:cxnLst>
              <a:rect l="0" t="0" r="r" b="b"/>
              <a:pathLst>
                <a:path w="5" h="3">
                  <a:moveTo>
                    <a:pt x="1" y="0"/>
                  </a:moveTo>
                  <a:cubicBezTo>
                    <a:pt x="1" y="0"/>
                    <a:pt x="0" y="1"/>
                    <a:pt x="0" y="1"/>
                  </a:cubicBezTo>
                  <a:cubicBezTo>
                    <a:pt x="2" y="1"/>
                    <a:pt x="3" y="2"/>
                    <a:pt x="5" y="3"/>
                  </a:cubicBezTo>
                  <a:cubicBezTo>
                    <a:pt x="3"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9" name="Freeform 1343"/>
            <p:cNvSpPr/>
            <p:nvPr/>
          </p:nvSpPr>
          <p:spPr bwMode="auto">
            <a:xfrm>
              <a:off x="7106324" y="5496870"/>
              <a:ext cx="25504" cy="22820"/>
            </a:xfrm>
            <a:custGeom>
              <a:gdLst>
                <a:gd name="T0" fmla="*/ 5 w 8"/>
                <a:gd name="T1" fmla="*/ 0 h 7"/>
                <a:gd name="T2" fmla="*/ 2 w 8"/>
                <a:gd name="T3" fmla="*/ 2 h 7"/>
                <a:gd name="T4" fmla="*/ 7 w 8"/>
                <a:gd name="T5" fmla="*/ 7 h 7"/>
                <a:gd name="T6" fmla="*/ 6 w 8"/>
                <a:gd name="T7" fmla="*/ 1 h 7"/>
                <a:gd name="T8" fmla="*/ 5 w 8"/>
                <a:gd name="T9" fmla="*/ 0 h 7"/>
              </a:gdLst>
              <a:cxnLst>
                <a:cxn ang="0">
                  <a:pos x="T0" y="T1"/>
                </a:cxn>
                <a:cxn ang="0">
                  <a:pos x="T2" y="T3"/>
                </a:cxn>
                <a:cxn ang="0">
                  <a:pos x="T4" y="T5"/>
                </a:cxn>
                <a:cxn ang="0">
                  <a:pos x="T6" y="T7"/>
                </a:cxn>
                <a:cxn ang="0">
                  <a:pos x="T8" y="T9"/>
                </a:cxn>
              </a:cxnLst>
              <a:rect l="0" t="0" r="r" b="b"/>
              <a:pathLst>
                <a:path w="8" h="7">
                  <a:moveTo>
                    <a:pt x="5" y="0"/>
                  </a:moveTo>
                  <a:cubicBezTo>
                    <a:pt x="4" y="0"/>
                    <a:pt x="3" y="1"/>
                    <a:pt x="2" y="2"/>
                  </a:cubicBezTo>
                  <a:cubicBezTo>
                    <a:pt x="0" y="4"/>
                    <a:pt x="5" y="6"/>
                    <a:pt x="7" y="7"/>
                  </a:cubicBezTo>
                  <a:cubicBezTo>
                    <a:pt x="8" y="6"/>
                    <a:pt x="8" y="2"/>
                    <a:pt x="6"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1344"/>
            <p:cNvSpPr/>
            <p:nvPr/>
          </p:nvSpPr>
          <p:spPr bwMode="auto">
            <a:xfrm>
              <a:off x="7205657" y="5559960"/>
              <a:ext cx="2685" cy="9396"/>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1345"/>
            <p:cNvSpPr/>
            <p:nvPr/>
          </p:nvSpPr>
          <p:spPr bwMode="auto">
            <a:xfrm>
              <a:off x="7021757" y="5429753"/>
              <a:ext cx="18793" cy="13423"/>
            </a:xfrm>
            <a:custGeom>
              <a:gdLst>
                <a:gd name="T0" fmla="*/ 0 w 6"/>
                <a:gd name="T1" fmla="*/ 0 h 4"/>
                <a:gd name="T2" fmla="*/ 1 w 6"/>
                <a:gd name="T3" fmla="*/ 4 h 4"/>
                <a:gd name="T4" fmla="*/ 0 w 6"/>
                <a:gd name="T5" fmla="*/ 0 h 4"/>
              </a:gdLst>
              <a:cxnLst>
                <a:cxn ang="0">
                  <a:pos x="T0" y="T1"/>
                </a:cxn>
                <a:cxn ang="0">
                  <a:pos x="T2" y="T3"/>
                </a:cxn>
                <a:cxn ang="0">
                  <a:pos x="T4" y="T5"/>
                </a:cxn>
              </a:cxnLst>
              <a:rect l="0" t="0" r="r" b="b"/>
              <a:pathLst>
                <a:path w="6" h="4">
                  <a:moveTo>
                    <a:pt x="0" y="0"/>
                  </a:moveTo>
                  <a:cubicBezTo>
                    <a:pt x="0" y="2"/>
                    <a:pt x="1" y="3"/>
                    <a:pt x="1" y="4"/>
                  </a:cubicBezTo>
                  <a:cubicBezTo>
                    <a:pt x="6"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1346"/>
            <p:cNvSpPr/>
            <p:nvPr/>
          </p:nvSpPr>
          <p:spPr bwMode="auto">
            <a:xfrm>
              <a:off x="7357341" y="5592176"/>
              <a:ext cx="13423" cy="6712"/>
            </a:xfrm>
            <a:custGeom>
              <a:gdLst>
                <a:gd name="T0" fmla="*/ 3 w 4"/>
                <a:gd name="T1" fmla="*/ 0 h 2"/>
                <a:gd name="T2" fmla="*/ 0 w 4"/>
                <a:gd name="T3" fmla="*/ 2 h 2"/>
                <a:gd name="T4" fmla="*/ 1 w 4"/>
                <a:gd name="T5" fmla="*/ 2 h 2"/>
                <a:gd name="T6" fmla="*/ 4 w 4"/>
                <a:gd name="T7" fmla="*/ 1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1" y="1"/>
                    <a:pt x="0" y="2"/>
                  </a:cubicBezTo>
                  <a:cubicBezTo>
                    <a:pt x="1" y="2"/>
                    <a:pt x="1" y="2"/>
                    <a:pt x="1" y="2"/>
                  </a:cubicBezTo>
                  <a:cubicBezTo>
                    <a:pt x="3" y="2"/>
                    <a:pt x="3" y="2"/>
                    <a:pt x="4"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1347"/>
            <p:cNvSpPr/>
            <p:nvPr/>
          </p:nvSpPr>
          <p:spPr bwMode="auto">
            <a:xfrm>
              <a:off x="7119748" y="5522375"/>
              <a:ext cx="9396" cy="12081"/>
            </a:xfrm>
            <a:custGeom>
              <a:gdLst>
                <a:gd name="T0" fmla="*/ 0 w 3"/>
                <a:gd name="T1" fmla="*/ 0 h 4"/>
                <a:gd name="T2" fmla="*/ 0 w 3"/>
                <a:gd name="T3" fmla="*/ 0 h 4"/>
                <a:gd name="T4" fmla="*/ 3 w 3"/>
                <a:gd name="T5" fmla="*/ 4 h 4"/>
                <a:gd name="T6" fmla="*/ 0 w 3"/>
                <a:gd name="T7" fmla="*/ 0 h 4"/>
              </a:gdLst>
              <a:cxnLst>
                <a:cxn ang="0">
                  <a:pos x="T0" y="T1"/>
                </a:cxn>
                <a:cxn ang="0">
                  <a:pos x="T2" y="T3"/>
                </a:cxn>
                <a:cxn ang="0">
                  <a:pos x="T4" y="T5"/>
                </a:cxn>
                <a:cxn ang="0">
                  <a:pos x="T6" y="T7"/>
                </a:cxn>
              </a:cxnLst>
              <a:rect l="0" t="0" r="r" b="b"/>
              <a:pathLst>
                <a:path w="3" h="4">
                  <a:moveTo>
                    <a:pt x="0" y="0"/>
                  </a:moveTo>
                  <a:cubicBezTo>
                    <a:pt x="0" y="0"/>
                    <a:pt x="0" y="0"/>
                    <a:pt x="0" y="0"/>
                  </a:cubicBezTo>
                  <a:cubicBezTo>
                    <a:pt x="1" y="1"/>
                    <a:pt x="2" y="3"/>
                    <a:pt x="3"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1348"/>
            <p:cNvSpPr/>
            <p:nvPr/>
          </p:nvSpPr>
          <p:spPr bwMode="auto">
            <a:xfrm>
              <a:off x="7347945" y="5582780"/>
              <a:ext cx="16108" cy="9396"/>
            </a:xfrm>
            <a:custGeom>
              <a:gdLst>
                <a:gd name="T0" fmla="*/ 2 w 5"/>
                <a:gd name="T1" fmla="*/ 0 h 3"/>
                <a:gd name="T2" fmla="*/ 0 w 5"/>
                <a:gd name="T3" fmla="*/ 1 h 3"/>
                <a:gd name="T4" fmla="*/ 4 w 5"/>
                <a:gd name="T5" fmla="*/ 3 h 3"/>
                <a:gd name="T6" fmla="*/ 2 w 5"/>
                <a:gd name="T7" fmla="*/ 0 h 3"/>
              </a:gdLst>
              <a:cxnLst>
                <a:cxn ang="0">
                  <a:pos x="T0" y="T1"/>
                </a:cxn>
                <a:cxn ang="0">
                  <a:pos x="T2" y="T3"/>
                </a:cxn>
                <a:cxn ang="0">
                  <a:pos x="T4" y="T5"/>
                </a:cxn>
                <a:cxn ang="0">
                  <a:pos x="T6" y="T7"/>
                </a:cxn>
              </a:cxnLst>
              <a:rect l="0" t="0" r="r" b="b"/>
              <a:pathLst>
                <a:path w="5" h="3">
                  <a:moveTo>
                    <a:pt x="2" y="0"/>
                  </a:moveTo>
                  <a:cubicBezTo>
                    <a:pt x="1" y="0"/>
                    <a:pt x="0" y="1"/>
                    <a:pt x="0" y="1"/>
                  </a:cubicBezTo>
                  <a:cubicBezTo>
                    <a:pt x="1" y="2"/>
                    <a:pt x="2" y="3"/>
                    <a:pt x="4" y="3"/>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Freeform 1349"/>
            <p:cNvSpPr>
              <a:spLocks noEditPoints="1"/>
            </p:cNvSpPr>
            <p:nvPr/>
          </p:nvSpPr>
          <p:spPr bwMode="auto">
            <a:xfrm>
              <a:off x="7182838" y="5547879"/>
              <a:ext cx="18793" cy="18793"/>
            </a:xfrm>
            <a:custGeom>
              <a:gdLst>
                <a:gd name="T0" fmla="*/ 6 w 6"/>
                <a:gd name="T1" fmla="*/ 1 h 6"/>
                <a:gd name="T2" fmla="*/ 6 w 6"/>
                <a:gd name="T3" fmla="*/ 1 h 6"/>
                <a:gd name="T4" fmla="*/ 6 w 6"/>
                <a:gd name="T5" fmla="*/ 1 h 6"/>
                <a:gd name="T6" fmla="*/ 4 w 6"/>
                <a:gd name="T7" fmla="*/ 0 h 6"/>
                <a:gd name="T8" fmla="*/ 0 w 6"/>
                <a:gd name="T9" fmla="*/ 1 h 6"/>
                <a:gd name="T10" fmla="*/ 2 w 6"/>
                <a:gd name="T11" fmla="*/ 6 h 6"/>
                <a:gd name="T12" fmla="*/ 5 w 6"/>
                <a:gd name="T13" fmla="*/ 3 h 6"/>
                <a:gd name="T14" fmla="*/ 5 w 6"/>
                <a:gd name="T15" fmla="*/ 3 h 6"/>
                <a:gd name="T16" fmla="*/ 5 w 6"/>
                <a:gd name="T17" fmla="*/ 2 h 6"/>
                <a:gd name="T18" fmla="*/ 6 w 6"/>
                <a:gd name="T19" fmla="*/ 1 h 6"/>
                <a:gd name="T20" fmla="*/ 6 w 6"/>
                <a:gd name="T21" fmla="*/ 1 h 6"/>
                <a:gd name="T22" fmla="*/ 4 w 6"/>
                <a:gd name="T2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6" y="1"/>
                  </a:moveTo>
                  <a:cubicBezTo>
                    <a:pt x="6" y="1"/>
                    <a:pt x="6" y="1"/>
                    <a:pt x="6" y="1"/>
                  </a:cubicBezTo>
                  <a:cubicBezTo>
                    <a:pt x="6" y="1"/>
                    <a:pt x="6" y="1"/>
                    <a:pt x="6" y="1"/>
                  </a:cubicBezTo>
                  <a:moveTo>
                    <a:pt x="4" y="0"/>
                  </a:moveTo>
                  <a:cubicBezTo>
                    <a:pt x="2" y="0"/>
                    <a:pt x="1" y="0"/>
                    <a:pt x="0" y="1"/>
                  </a:cubicBezTo>
                  <a:cubicBezTo>
                    <a:pt x="1" y="3"/>
                    <a:pt x="2" y="4"/>
                    <a:pt x="2" y="6"/>
                  </a:cubicBezTo>
                  <a:cubicBezTo>
                    <a:pt x="5" y="4"/>
                    <a:pt x="4" y="5"/>
                    <a:pt x="5" y="3"/>
                  </a:cubicBezTo>
                  <a:cubicBezTo>
                    <a:pt x="5" y="3"/>
                    <a:pt x="5" y="3"/>
                    <a:pt x="5" y="3"/>
                  </a:cubicBezTo>
                  <a:cubicBezTo>
                    <a:pt x="5" y="3"/>
                    <a:pt x="5" y="2"/>
                    <a:pt x="5" y="2"/>
                  </a:cubicBezTo>
                  <a:cubicBezTo>
                    <a:pt x="5" y="2"/>
                    <a:pt x="6" y="1"/>
                    <a:pt x="6" y="1"/>
                  </a:cubicBezTo>
                  <a:cubicBezTo>
                    <a:pt x="6" y="1"/>
                    <a:pt x="6" y="1"/>
                    <a:pt x="6"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350"/>
            <p:cNvSpPr/>
            <p:nvPr/>
          </p:nvSpPr>
          <p:spPr bwMode="auto">
            <a:xfrm>
              <a:off x="7084847" y="5478078"/>
              <a:ext cx="18793" cy="25504"/>
            </a:xfrm>
            <a:custGeom>
              <a:gdLst>
                <a:gd name="T0" fmla="*/ 0 w 6"/>
                <a:gd name="T1" fmla="*/ 0 h 8"/>
                <a:gd name="T2" fmla="*/ 3 w 6"/>
                <a:gd name="T3" fmla="*/ 8 h 8"/>
                <a:gd name="T4" fmla="*/ 5 w 6"/>
                <a:gd name="T5" fmla="*/ 3 h 8"/>
                <a:gd name="T6" fmla="*/ 0 w 6"/>
                <a:gd name="T7" fmla="*/ 0 h 8"/>
              </a:gdLst>
              <a:cxnLst>
                <a:cxn ang="0">
                  <a:pos x="T0" y="T1"/>
                </a:cxn>
                <a:cxn ang="0">
                  <a:pos x="T2" y="T3"/>
                </a:cxn>
                <a:cxn ang="0">
                  <a:pos x="T4" y="T5"/>
                </a:cxn>
                <a:cxn ang="0">
                  <a:pos x="T6" y="T7"/>
                </a:cxn>
              </a:cxnLst>
              <a:rect l="0" t="0" r="r" b="b"/>
              <a:pathLst>
                <a:path w="6" h="8">
                  <a:moveTo>
                    <a:pt x="0" y="0"/>
                  </a:moveTo>
                  <a:cubicBezTo>
                    <a:pt x="0" y="3"/>
                    <a:pt x="2" y="6"/>
                    <a:pt x="3" y="8"/>
                  </a:cubicBezTo>
                  <a:cubicBezTo>
                    <a:pt x="3" y="5"/>
                    <a:pt x="6" y="5"/>
                    <a:pt x="5" y="3"/>
                  </a:cubicBezTo>
                  <a:cubicBezTo>
                    <a:pt x="5"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1351"/>
            <p:cNvSpPr/>
            <p:nvPr/>
          </p:nvSpPr>
          <p:spPr bwMode="auto">
            <a:xfrm>
              <a:off x="7338548" y="5769365"/>
              <a:ext cx="51009" cy="29531"/>
            </a:xfrm>
            <a:custGeom>
              <a:gdLst>
                <a:gd name="T0" fmla="*/ 1 w 16"/>
                <a:gd name="T1" fmla="*/ 0 h 9"/>
                <a:gd name="T2" fmla="*/ 0 w 16"/>
                <a:gd name="T3" fmla="*/ 1 h 9"/>
                <a:gd name="T4" fmla="*/ 12 w 16"/>
                <a:gd name="T5" fmla="*/ 9 h 9"/>
                <a:gd name="T6" fmla="*/ 7 w 16"/>
                <a:gd name="T7" fmla="*/ 3 h 9"/>
                <a:gd name="T8" fmla="*/ 1 w 16"/>
                <a:gd name="T9" fmla="*/ 0 h 9"/>
              </a:gdLst>
              <a:cxnLst>
                <a:cxn ang="0">
                  <a:pos x="T0" y="T1"/>
                </a:cxn>
                <a:cxn ang="0">
                  <a:pos x="T2" y="T3"/>
                </a:cxn>
                <a:cxn ang="0">
                  <a:pos x="T4" y="T5"/>
                </a:cxn>
                <a:cxn ang="0">
                  <a:pos x="T6" y="T7"/>
                </a:cxn>
                <a:cxn ang="0">
                  <a:pos x="T8" y="T9"/>
                </a:cxn>
              </a:cxnLst>
              <a:rect l="0" t="0" r="r" b="b"/>
              <a:pathLst>
                <a:path w="16" h="9">
                  <a:moveTo>
                    <a:pt x="1" y="0"/>
                  </a:moveTo>
                  <a:cubicBezTo>
                    <a:pt x="1" y="0"/>
                    <a:pt x="0" y="0"/>
                    <a:pt x="0" y="1"/>
                  </a:cubicBezTo>
                  <a:cubicBezTo>
                    <a:pt x="4" y="4"/>
                    <a:pt x="8" y="6"/>
                    <a:pt x="12" y="9"/>
                  </a:cubicBezTo>
                  <a:cubicBezTo>
                    <a:pt x="16" y="7"/>
                    <a:pt x="8" y="4"/>
                    <a:pt x="7" y="3"/>
                  </a:cubicBezTo>
                  <a:cubicBezTo>
                    <a:pt x="5"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1352"/>
            <p:cNvSpPr/>
            <p:nvPr/>
          </p:nvSpPr>
          <p:spPr bwMode="auto">
            <a:xfrm>
              <a:off x="2724941" y="4147822"/>
              <a:ext cx="6712" cy="9396"/>
            </a:xfrm>
            <a:custGeom>
              <a:gdLst>
                <a:gd name="T0" fmla="*/ 1 w 2"/>
                <a:gd name="T1" fmla="*/ 0 h 3"/>
                <a:gd name="T2" fmla="*/ 0 w 2"/>
                <a:gd name="T3" fmla="*/ 3 h 3"/>
                <a:gd name="T4" fmla="*/ 1 w 2"/>
                <a:gd name="T5" fmla="*/ 0 h 3"/>
              </a:gdLst>
              <a:cxnLst>
                <a:cxn ang="0">
                  <a:pos x="T0" y="T1"/>
                </a:cxn>
                <a:cxn ang="0">
                  <a:pos x="T2" y="T3"/>
                </a:cxn>
                <a:cxn ang="0">
                  <a:pos x="T4" y="T5"/>
                </a:cxn>
              </a:cxnLst>
              <a:rect l="0" t="0" r="r" b="b"/>
              <a:pathLst>
                <a:path w="2" h="3">
                  <a:moveTo>
                    <a:pt x="1" y="0"/>
                  </a:moveTo>
                  <a:cubicBezTo>
                    <a:pt x="0" y="1"/>
                    <a:pt x="0" y="2"/>
                    <a:pt x="0" y="3"/>
                  </a:cubicBezTo>
                  <a:cubicBezTo>
                    <a:pt x="1"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Freeform 1353"/>
            <p:cNvSpPr/>
            <p:nvPr/>
          </p:nvSpPr>
          <p:spPr bwMode="auto">
            <a:xfrm>
              <a:off x="2728968" y="4157218"/>
              <a:ext cx="2685" cy="6712"/>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1" y="1"/>
                    <a:pt x="0" y="2"/>
                    <a:pt x="0" y="2"/>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1354"/>
            <p:cNvSpPr/>
            <p:nvPr/>
          </p:nvSpPr>
          <p:spPr bwMode="auto">
            <a:xfrm>
              <a:off x="2671248" y="3665923"/>
              <a:ext cx="6712" cy="21477"/>
            </a:xfrm>
            <a:custGeom>
              <a:gdLst>
                <a:gd name="T0" fmla="*/ 2 w 2"/>
                <a:gd name="T1" fmla="*/ 0 h 7"/>
                <a:gd name="T2" fmla="*/ 2 w 2"/>
                <a:gd name="T3" fmla="*/ 7 h 7"/>
                <a:gd name="T4" fmla="*/ 2 w 2"/>
                <a:gd name="T5" fmla="*/ 0 h 7"/>
              </a:gdLst>
              <a:cxnLst>
                <a:cxn ang="0">
                  <a:pos x="T0" y="T1"/>
                </a:cxn>
                <a:cxn ang="0">
                  <a:pos x="T2" y="T3"/>
                </a:cxn>
                <a:cxn ang="0">
                  <a:pos x="T4" y="T5"/>
                </a:cxn>
              </a:cxnLst>
              <a:rect l="0" t="0" r="r" b="b"/>
              <a:pathLst>
                <a:path w="2" h="7">
                  <a:moveTo>
                    <a:pt x="2" y="0"/>
                  </a:moveTo>
                  <a:cubicBezTo>
                    <a:pt x="0" y="2"/>
                    <a:pt x="0" y="6"/>
                    <a:pt x="2" y="7"/>
                  </a:cubicBezTo>
                  <a:cubicBezTo>
                    <a:pt x="2" y="5"/>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1355"/>
            <p:cNvSpPr/>
            <p:nvPr/>
          </p:nvSpPr>
          <p:spPr bwMode="auto">
            <a:xfrm>
              <a:off x="2712860" y="4024327"/>
              <a:ext cx="2685" cy="9396"/>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1" y="1"/>
                    <a:pt x="1" y="2"/>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1356"/>
            <p:cNvSpPr/>
            <p:nvPr/>
          </p:nvSpPr>
          <p:spPr bwMode="auto">
            <a:xfrm>
              <a:off x="2731653" y="3916940"/>
              <a:ext cx="2685" cy="18793"/>
            </a:xfrm>
            <a:custGeom>
              <a:gdLst>
                <a:gd name="T0" fmla="*/ 0 w 1"/>
                <a:gd name="T1" fmla="*/ 0 h 6"/>
                <a:gd name="T2" fmla="*/ 0 w 1"/>
                <a:gd name="T3" fmla="*/ 5 h 6"/>
                <a:gd name="T4" fmla="*/ 1 w 1"/>
                <a:gd name="T5" fmla="*/ 6 h 6"/>
                <a:gd name="T6" fmla="*/ 1 w 1"/>
                <a:gd name="T7" fmla="*/ 4 h 6"/>
                <a:gd name="T8" fmla="*/ 0 w 1"/>
                <a:gd name="T9" fmla="*/ 0 h 6"/>
              </a:gdLst>
              <a:cxnLst>
                <a:cxn ang="0">
                  <a:pos x="T0" y="T1"/>
                </a:cxn>
                <a:cxn ang="0">
                  <a:pos x="T2" y="T3"/>
                </a:cxn>
                <a:cxn ang="0">
                  <a:pos x="T4" y="T5"/>
                </a:cxn>
                <a:cxn ang="0">
                  <a:pos x="T6" y="T7"/>
                </a:cxn>
                <a:cxn ang="0">
                  <a:pos x="T8" y="T9"/>
                </a:cxn>
              </a:cxnLst>
              <a:rect l="0" t="0" r="r" b="b"/>
              <a:pathLst>
                <a:path w="1" h="6">
                  <a:moveTo>
                    <a:pt x="0" y="0"/>
                  </a:moveTo>
                  <a:cubicBezTo>
                    <a:pt x="0" y="2"/>
                    <a:pt x="0" y="4"/>
                    <a:pt x="0" y="5"/>
                  </a:cubicBezTo>
                  <a:cubicBezTo>
                    <a:pt x="1" y="6"/>
                    <a:pt x="1" y="6"/>
                    <a:pt x="1" y="6"/>
                  </a:cubicBezTo>
                  <a:cubicBezTo>
                    <a:pt x="1" y="5"/>
                    <a:pt x="1" y="5"/>
                    <a:pt x="1" y="4"/>
                  </a:cubicBezTo>
                  <a:cubicBezTo>
                    <a:pt x="1" y="3"/>
                    <a:pt x="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1357"/>
            <p:cNvSpPr/>
            <p:nvPr/>
          </p:nvSpPr>
          <p:spPr bwMode="auto">
            <a:xfrm>
              <a:off x="2734337" y="3957210"/>
              <a:ext cx="16108" cy="25504"/>
            </a:xfrm>
            <a:custGeom>
              <a:gdLst>
                <a:gd name="T0" fmla="*/ 0 w 5"/>
                <a:gd name="T1" fmla="*/ 0 h 8"/>
                <a:gd name="T2" fmla="*/ 0 w 5"/>
                <a:gd name="T3" fmla="*/ 0 h 8"/>
                <a:gd name="T4" fmla="*/ 0 w 5"/>
                <a:gd name="T5" fmla="*/ 8 h 8"/>
                <a:gd name="T6" fmla="*/ 1 w 5"/>
                <a:gd name="T7" fmla="*/ 0 h 8"/>
                <a:gd name="T8" fmla="*/ 0 w 5"/>
                <a:gd name="T9" fmla="*/ 0 h 8"/>
              </a:gdLst>
              <a:cxnLst>
                <a:cxn ang="0">
                  <a:pos x="T0" y="T1"/>
                </a:cxn>
                <a:cxn ang="0">
                  <a:pos x="T2" y="T3"/>
                </a:cxn>
                <a:cxn ang="0">
                  <a:pos x="T4" y="T5"/>
                </a:cxn>
                <a:cxn ang="0">
                  <a:pos x="T6" y="T7"/>
                </a:cxn>
                <a:cxn ang="0">
                  <a:pos x="T8" y="T9"/>
                </a:cxn>
              </a:cxnLst>
              <a:rect l="0" t="0" r="r" b="b"/>
              <a:pathLst>
                <a:path w="5" h="8">
                  <a:moveTo>
                    <a:pt x="0" y="0"/>
                  </a:moveTo>
                  <a:cubicBezTo>
                    <a:pt x="0" y="0"/>
                    <a:pt x="0" y="0"/>
                    <a:pt x="0" y="0"/>
                  </a:cubicBezTo>
                  <a:cubicBezTo>
                    <a:pt x="0" y="3"/>
                    <a:pt x="0" y="5"/>
                    <a:pt x="0" y="8"/>
                  </a:cubicBezTo>
                  <a:cubicBezTo>
                    <a:pt x="5" y="7"/>
                    <a:pt x="5"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1358"/>
            <p:cNvSpPr/>
            <p:nvPr/>
          </p:nvSpPr>
          <p:spPr bwMode="auto">
            <a:xfrm>
              <a:off x="2724941" y="4024327"/>
              <a:ext cx="13423" cy="25504"/>
            </a:xfrm>
            <a:custGeom>
              <a:gdLst>
                <a:gd name="T0" fmla="*/ 3 w 4"/>
                <a:gd name="T1" fmla="*/ 0 h 8"/>
                <a:gd name="T2" fmla="*/ 0 w 4"/>
                <a:gd name="T3" fmla="*/ 8 h 8"/>
                <a:gd name="T4" fmla="*/ 3 w 4"/>
                <a:gd name="T5" fmla="*/ 4 h 8"/>
                <a:gd name="T6" fmla="*/ 3 w 4"/>
                <a:gd name="T7" fmla="*/ 0 h 8"/>
              </a:gdLst>
              <a:cxnLst>
                <a:cxn ang="0">
                  <a:pos x="T0" y="T1"/>
                </a:cxn>
                <a:cxn ang="0">
                  <a:pos x="T2" y="T3"/>
                </a:cxn>
                <a:cxn ang="0">
                  <a:pos x="T4" y="T5"/>
                </a:cxn>
                <a:cxn ang="0">
                  <a:pos x="T6" y="T7"/>
                </a:cxn>
              </a:cxnLst>
              <a:rect l="0" t="0" r="r" b="b"/>
              <a:pathLst>
                <a:path w="4" h="8">
                  <a:moveTo>
                    <a:pt x="3" y="0"/>
                  </a:moveTo>
                  <a:cubicBezTo>
                    <a:pt x="1" y="3"/>
                    <a:pt x="1" y="6"/>
                    <a:pt x="0" y="8"/>
                  </a:cubicBezTo>
                  <a:cubicBezTo>
                    <a:pt x="3" y="8"/>
                    <a:pt x="2" y="7"/>
                    <a:pt x="3" y="4"/>
                  </a:cubicBezTo>
                  <a:cubicBezTo>
                    <a:pt x="3"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1359"/>
            <p:cNvSpPr/>
            <p:nvPr/>
          </p:nvSpPr>
          <p:spPr bwMode="auto">
            <a:xfrm>
              <a:off x="2738364" y="4024327"/>
              <a:ext cx="14766" cy="22820"/>
            </a:xfrm>
            <a:custGeom>
              <a:gdLst>
                <a:gd name="T0" fmla="*/ 3 w 5"/>
                <a:gd name="T1" fmla="*/ 0 h 7"/>
                <a:gd name="T2" fmla="*/ 1 w 5"/>
                <a:gd name="T3" fmla="*/ 0 h 7"/>
                <a:gd name="T4" fmla="*/ 2 w 5"/>
                <a:gd name="T5" fmla="*/ 4 h 7"/>
                <a:gd name="T6" fmla="*/ 2 w 5"/>
                <a:gd name="T7" fmla="*/ 5 h 7"/>
                <a:gd name="T8" fmla="*/ 4 w 5"/>
                <a:gd name="T9" fmla="*/ 7 h 7"/>
                <a:gd name="T10" fmla="*/ 5 w 5"/>
                <a:gd name="T11" fmla="*/ 1 h 7"/>
                <a:gd name="T12" fmla="*/ 5 w 5"/>
                <a:gd name="T13" fmla="*/ 1 h 7"/>
                <a:gd name="T14" fmla="*/ 3 w 5"/>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3" y="0"/>
                  </a:moveTo>
                  <a:cubicBezTo>
                    <a:pt x="3" y="0"/>
                    <a:pt x="2" y="0"/>
                    <a:pt x="1" y="0"/>
                  </a:cubicBezTo>
                  <a:cubicBezTo>
                    <a:pt x="0" y="0"/>
                    <a:pt x="1" y="3"/>
                    <a:pt x="2" y="4"/>
                  </a:cubicBezTo>
                  <a:cubicBezTo>
                    <a:pt x="2" y="5"/>
                    <a:pt x="2" y="5"/>
                    <a:pt x="2" y="5"/>
                  </a:cubicBezTo>
                  <a:cubicBezTo>
                    <a:pt x="3" y="5"/>
                    <a:pt x="4" y="6"/>
                    <a:pt x="4" y="7"/>
                  </a:cubicBezTo>
                  <a:cubicBezTo>
                    <a:pt x="4" y="6"/>
                    <a:pt x="5" y="2"/>
                    <a:pt x="5" y="1"/>
                  </a:cubicBezTo>
                  <a:cubicBezTo>
                    <a:pt x="5" y="1"/>
                    <a:pt x="5"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360"/>
            <p:cNvSpPr/>
            <p:nvPr/>
          </p:nvSpPr>
          <p:spPr bwMode="auto">
            <a:xfrm>
              <a:off x="2712860" y="3977345"/>
              <a:ext cx="5369"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0" y="3"/>
                  </a:cubicBezTo>
                  <a:cubicBezTo>
                    <a:pt x="1" y="2"/>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1361"/>
            <p:cNvSpPr/>
            <p:nvPr/>
          </p:nvSpPr>
          <p:spPr bwMode="auto">
            <a:xfrm>
              <a:off x="2150421" y="3182681"/>
              <a:ext cx="34901" cy="57720"/>
            </a:xfrm>
            <a:custGeom>
              <a:gdLst>
                <a:gd name="T0" fmla="*/ 4 w 11"/>
                <a:gd name="T1" fmla="*/ 0 h 18"/>
                <a:gd name="T2" fmla="*/ 4 w 11"/>
                <a:gd name="T3" fmla="*/ 4 h 18"/>
                <a:gd name="T4" fmla="*/ 4 w 11"/>
                <a:gd name="T5" fmla="*/ 11 h 18"/>
                <a:gd name="T6" fmla="*/ 4 w 11"/>
                <a:gd name="T7" fmla="*/ 17 h 18"/>
                <a:gd name="T8" fmla="*/ 4 w 11"/>
                <a:gd name="T9" fmla="*/ 18 h 18"/>
                <a:gd name="T10" fmla="*/ 5 w 11"/>
                <a:gd name="T11" fmla="*/ 18 h 18"/>
                <a:gd name="T12" fmla="*/ 5 w 11"/>
                <a:gd name="T13" fmla="*/ 18 h 18"/>
                <a:gd name="T14" fmla="*/ 6 w 11"/>
                <a:gd name="T15" fmla="*/ 17 h 18"/>
                <a:gd name="T16" fmla="*/ 7 w 11"/>
                <a:gd name="T17" fmla="*/ 16 h 18"/>
                <a:gd name="T18" fmla="*/ 7 w 11"/>
                <a:gd name="T19" fmla="*/ 16 h 18"/>
                <a:gd name="T20" fmla="*/ 5 w 11"/>
                <a:gd name="T21" fmla="*/ 0 h 18"/>
                <a:gd name="T22" fmla="*/ 4 w 11"/>
                <a:gd name="T23"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8">
                  <a:moveTo>
                    <a:pt x="4" y="0"/>
                  </a:moveTo>
                  <a:cubicBezTo>
                    <a:pt x="2" y="0"/>
                    <a:pt x="0" y="3"/>
                    <a:pt x="4" y="4"/>
                  </a:cubicBezTo>
                  <a:cubicBezTo>
                    <a:pt x="4" y="7"/>
                    <a:pt x="5" y="9"/>
                    <a:pt x="4" y="11"/>
                  </a:cubicBezTo>
                  <a:cubicBezTo>
                    <a:pt x="4" y="13"/>
                    <a:pt x="3" y="16"/>
                    <a:pt x="4" y="17"/>
                  </a:cubicBezTo>
                  <a:cubicBezTo>
                    <a:pt x="4" y="18"/>
                    <a:pt x="4" y="18"/>
                    <a:pt x="4" y="18"/>
                  </a:cubicBezTo>
                  <a:cubicBezTo>
                    <a:pt x="4" y="18"/>
                    <a:pt x="4" y="18"/>
                    <a:pt x="5" y="18"/>
                  </a:cubicBezTo>
                  <a:cubicBezTo>
                    <a:pt x="5" y="18"/>
                    <a:pt x="5" y="18"/>
                    <a:pt x="5" y="18"/>
                  </a:cubicBezTo>
                  <a:cubicBezTo>
                    <a:pt x="5" y="18"/>
                    <a:pt x="5" y="18"/>
                    <a:pt x="6" y="17"/>
                  </a:cubicBezTo>
                  <a:cubicBezTo>
                    <a:pt x="6" y="17"/>
                    <a:pt x="7" y="16"/>
                    <a:pt x="7" y="16"/>
                  </a:cubicBezTo>
                  <a:cubicBezTo>
                    <a:pt x="7" y="16"/>
                    <a:pt x="7" y="16"/>
                    <a:pt x="7" y="16"/>
                  </a:cubicBezTo>
                  <a:cubicBezTo>
                    <a:pt x="11" y="11"/>
                    <a:pt x="8" y="5"/>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362"/>
            <p:cNvSpPr/>
            <p:nvPr/>
          </p:nvSpPr>
          <p:spPr bwMode="auto">
            <a:xfrm>
              <a:off x="2249754" y="3247114"/>
              <a:ext cx="5369" cy="16108"/>
            </a:xfrm>
            <a:custGeom>
              <a:gdLst>
                <a:gd name="T0" fmla="*/ 2 w 2"/>
                <a:gd name="T1" fmla="*/ 0 h 5"/>
                <a:gd name="T2" fmla="*/ 0 w 2"/>
                <a:gd name="T3" fmla="*/ 5 h 5"/>
                <a:gd name="T4" fmla="*/ 2 w 2"/>
                <a:gd name="T5" fmla="*/ 0 h 5"/>
              </a:gdLst>
              <a:cxnLst>
                <a:cxn ang="0">
                  <a:pos x="T0" y="T1"/>
                </a:cxn>
                <a:cxn ang="0">
                  <a:pos x="T2" y="T3"/>
                </a:cxn>
                <a:cxn ang="0">
                  <a:pos x="T4" y="T5"/>
                </a:cxn>
              </a:cxnLst>
              <a:rect l="0" t="0" r="r" b="b"/>
              <a:pathLst>
                <a:path w="2" h="5">
                  <a:moveTo>
                    <a:pt x="2" y="0"/>
                  </a:moveTo>
                  <a:cubicBezTo>
                    <a:pt x="1" y="2"/>
                    <a:pt x="1" y="3"/>
                    <a:pt x="0" y="5"/>
                  </a:cubicBezTo>
                  <a:cubicBezTo>
                    <a:pt x="1" y="3"/>
                    <a:pt x="1"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9" name="Freeform 1363"/>
            <p:cNvSpPr/>
            <p:nvPr/>
          </p:nvSpPr>
          <p:spPr bwMode="auto">
            <a:xfrm>
              <a:off x="2220223" y="3193420"/>
              <a:ext cx="13423" cy="21477"/>
            </a:xfrm>
            <a:custGeom>
              <a:gdLst>
                <a:gd name="T0" fmla="*/ 0 w 4"/>
                <a:gd name="T1" fmla="*/ 0 h 7"/>
                <a:gd name="T2" fmla="*/ 2 w 4"/>
                <a:gd name="T3" fmla="*/ 7 h 7"/>
                <a:gd name="T4" fmla="*/ 0 w 4"/>
                <a:gd name="T5" fmla="*/ 0 h 7"/>
              </a:gdLst>
              <a:cxnLst>
                <a:cxn ang="0">
                  <a:pos x="T0" y="T1"/>
                </a:cxn>
                <a:cxn ang="0">
                  <a:pos x="T2" y="T3"/>
                </a:cxn>
                <a:cxn ang="0">
                  <a:pos x="T4" y="T5"/>
                </a:cxn>
              </a:cxnLst>
              <a:rect l="0" t="0" r="r" b="b"/>
              <a:pathLst>
                <a:path w="4" h="7">
                  <a:moveTo>
                    <a:pt x="0" y="0"/>
                  </a:moveTo>
                  <a:cubicBezTo>
                    <a:pt x="1" y="2"/>
                    <a:pt x="2" y="4"/>
                    <a:pt x="2" y="7"/>
                  </a:cubicBezTo>
                  <a:cubicBezTo>
                    <a:pt x="4"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1364"/>
            <p:cNvSpPr/>
            <p:nvPr/>
          </p:nvSpPr>
          <p:spPr bwMode="auto">
            <a:xfrm>
              <a:off x="2192034" y="3198789"/>
              <a:ext cx="13423" cy="34901"/>
            </a:xfrm>
            <a:custGeom>
              <a:gdLst>
                <a:gd name="T0" fmla="*/ 1 w 4"/>
                <a:gd name="T1" fmla="*/ 0 h 11"/>
                <a:gd name="T2" fmla="*/ 0 w 4"/>
                <a:gd name="T3" fmla="*/ 11 h 11"/>
                <a:gd name="T4" fmla="*/ 3 w 4"/>
                <a:gd name="T5" fmla="*/ 5 h 11"/>
                <a:gd name="T6" fmla="*/ 1 w 4"/>
                <a:gd name="T7" fmla="*/ 0 h 11"/>
              </a:gdLst>
              <a:cxnLst>
                <a:cxn ang="0">
                  <a:pos x="T0" y="T1"/>
                </a:cxn>
                <a:cxn ang="0">
                  <a:pos x="T2" y="T3"/>
                </a:cxn>
                <a:cxn ang="0">
                  <a:pos x="T4" y="T5"/>
                </a:cxn>
                <a:cxn ang="0">
                  <a:pos x="T6" y="T7"/>
                </a:cxn>
              </a:cxnLst>
              <a:rect l="0" t="0" r="r" b="b"/>
              <a:pathLst>
                <a:path w="4" h="11">
                  <a:moveTo>
                    <a:pt x="1" y="0"/>
                  </a:moveTo>
                  <a:cubicBezTo>
                    <a:pt x="1" y="4"/>
                    <a:pt x="0" y="7"/>
                    <a:pt x="0" y="11"/>
                  </a:cubicBezTo>
                  <a:cubicBezTo>
                    <a:pt x="2" y="8"/>
                    <a:pt x="4" y="9"/>
                    <a:pt x="3" y="5"/>
                  </a:cubicBezTo>
                  <a:cubicBezTo>
                    <a:pt x="3"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1" name="Freeform 1365"/>
            <p:cNvSpPr/>
            <p:nvPr/>
          </p:nvSpPr>
          <p:spPr bwMode="auto">
            <a:xfrm>
              <a:off x="5574719" y="5934472"/>
              <a:ext cx="46982" cy="48324"/>
            </a:xfrm>
            <a:custGeom>
              <a:gdLst>
                <a:gd name="T0" fmla="*/ 9 w 15"/>
                <a:gd name="T1" fmla="*/ 0 h 15"/>
                <a:gd name="T2" fmla="*/ 6 w 15"/>
                <a:gd name="T3" fmla="*/ 1 h 15"/>
                <a:gd name="T4" fmla="*/ 5 w 15"/>
                <a:gd name="T5" fmla="*/ 1 h 15"/>
                <a:gd name="T6" fmla="*/ 2 w 15"/>
                <a:gd name="T7" fmla="*/ 5 h 15"/>
                <a:gd name="T8" fmla="*/ 1 w 15"/>
                <a:gd name="T9" fmla="*/ 13 h 15"/>
                <a:gd name="T10" fmla="*/ 14 w 15"/>
                <a:gd name="T11" fmla="*/ 15 h 15"/>
                <a:gd name="T12" fmla="*/ 14 w 15"/>
                <a:gd name="T13" fmla="*/ 15 h 15"/>
                <a:gd name="T14" fmla="*/ 15 w 15"/>
                <a:gd name="T15" fmla="*/ 12 h 15"/>
                <a:gd name="T16" fmla="*/ 11 w 15"/>
                <a:gd name="T17" fmla="*/ 13 h 15"/>
                <a:gd name="T18" fmla="*/ 10 w 15"/>
                <a:gd name="T19" fmla="*/ 13 h 15"/>
                <a:gd name="T20" fmla="*/ 11 w 15"/>
                <a:gd name="T21" fmla="*/ 9 h 15"/>
                <a:gd name="T22" fmla="*/ 10 w 15"/>
                <a:gd name="T23" fmla="*/ 9 h 15"/>
                <a:gd name="T24" fmla="*/ 13 w 15"/>
                <a:gd name="T25" fmla="*/ 3 h 15"/>
                <a:gd name="T26" fmla="*/ 12 w 15"/>
                <a:gd name="T27" fmla="*/ 3 h 15"/>
                <a:gd name="T28" fmla="*/ 11 w 15"/>
                <a:gd name="T29" fmla="*/ 5 h 15"/>
                <a:gd name="T30" fmla="*/ 10 w 15"/>
                <a:gd name="T31" fmla="*/ 5 h 15"/>
                <a:gd name="T32" fmla="*/ 9 w 15"/>
                <a:gd name="T3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5">
                  <a:moveTo>
                    <a:pt x="9" y="0"/>
                  </a:moveTo>
                  <a:cubicBezTo>
                    <a:pt x="8" y="1"/>
                    <a:pt x="7" y="1"/>
                    <a:pt x="6" y="1"/>
                  </a:cubicBezTo>
                  <a:cubicBezTo>
                    <a:pt x="6" y="1"/>
                    <a:pt x="6" y="1"/>
                    <a:pt x="5" y="1"/>
                  </a:cubicBezTo>
                  <a:cubicBezTo>
                    <a:pt x="8" y="5"/>
                    <a:pt x="3" y="3"/>
                    <a:pt x="2" y="5"/>
                  </a:cubicBezTo>
                  <a:cubicBezTo>
                    <a:pt x="0" y="7"/>
                    <a:pt x="4" y="11"/>
                    <a:pt x="1" y="13"/>
                  </a:cubicBezTo>
                  <a:cubicBezTo>
                    <a:pt x="5" y="14"/>
                    <a:pt x="9" y="15"/>
                    <a:pt x="14" y="15"/>
                  </a:cubicBezTo>
                  <a:cubicBezTo>
                    <a:pt x="14" y="15"/>
                    <a:pt x="14" y="15"/>
                    <a:pt x="14" y="15"/>
                  </a:cubicBezTo>
                  <a:cubicBezTo>
                    <a:pt x="14" y="14"/>
                    <a:pt x="14" y="13"/>
                    <a:pt x="15" y="12"/>
                  </a:cubicBezTo>
                  <a:cubicBezTo>
                    <a:pt x="14" y="13"/>
                    <a:pt x="12" y="13"/>
                    <a:pt x="11" y="13"/>
                  </a:cubicBezTo>
                  <a:cubicBezTo>
                    <a:pt x="10" y="13"/>
                    <a:pt x="10" y="13"/>
                    <a:pt x="10" y="13"/>
                  </a:cubicBezTo>
                  <a:cubicBezTo>
                    <a:pt x="8" y="12"/>
                    <a:pt x="9" y="11"/>
                    <a:pt x="11" y="9"/>
                  </a:cubicBezTo>
                  <a:cubicBezTo>
                    <a:pt x="10" y="9"/>
                    <a:pt x="10" y="9"/>
                    <a:pt x="10" y="9"/>
                  </a:cubicBezTo>
                  <a:cubicBezTo>
                    <a:pt x="11" y="8"/>
                    <a:pt x="14" y="3"/>
                    <a:pt x="13" y="3"/>
                  </a:cubicBezTo>
                  <a:cubicBezTo>
                    <a:pt x="13" y="3"/>
                    <a:pt x="13" y="3"/>
                    <a:pt x="12" y="3"/>
                  </a:cubicBezTo>
                  <a:cubicBezTo>
                    <a:pt x="12" y="3"/>
                    <a:pt x="12" y="5"/>
                    <a:pt x="11" y="5"/>
                  </a:cubicBezTo>
                  <a:cubicBezTo>
                    <a:pt x="11" y="5"/>
                    <a:pt x="11" y="5"/>
                    <a:pt x="10" y="5"/>
                  </a:cubicBezTo>
                  <a:cubicBezTo>
                    <a:pt x="8" y="5"/>
                    <a:pt x="9" y="2"/>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1366"/>
            <p:cNvSpPr/>
            <p:nvPr/>
          </p:nvSpPr>
          <p:spPr bwMode="auto">
            <a:xfrm>
              <a:off x="5561296" y="5769365"/>
              <a:ext cx="22820" cy="16108"/>
            </a:xfrm>
            <a:custGeom>
              <a:gdLst>
                <a:gd name="T0" fmla="*/ 7 w 7"/>
                <a:gd name="T1" fmla="*/ 0 h 5"/>
                <a:gd name="T2" fmla="*/ 0 w 7"/>
                <a:gd name="T3" fmla="*/ 5 h 5"/>
                <a:gd name="T4" fmla="*/ 7 w 7"/>
                <a:gd name="T5" fmla="*/ 0 h 5"/>
              </a:gdLst>
              <a:cxnLst>
                <a:cxn ang="0">
                  <a:pos x="T0" y="T1"/>
                </a:cxn>
                <a:cxn ang="0">
                  <a:pos x="T2" y="T3"/>
                </a:cxn>
                <a:cxn ang="0">
                  <a:pos x="T4" y="T5"/>
                </a:cxn>
              </a:cxnLst>
              <a:rect l="0" t="0" r="r" b="b"/>
              <a:pathLst>
                <a:path w="7" h="5">
                  <a:moveTo>
                    <a:pt x="7" y="0"/>
                  </a:moveTo>
                  <a:cubicBezTo>
                    <a:pt x="5" y="2"/>
                    <a:pt x="3" y="4"/>
                    <a:pt x="0" y="5"/>
                  </a:cubicBezTo>
                  <a:cubicBezTo>
                    <a:pt x="2" y="5"/>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3" name="Freeform 1367"/>
            <p:cNvSpPr/>
            <p:nvPr/>
          </p:nvSpPr>
          <p:spPr bwMode="auto">
            <a:xfrm>
              <a:off x="6005609" y="5661978"/>
              <a:ext cx="6712" cy="12081"/>
            </a:xfrm>
            <a:custGeom>
              <a:gdLst>
                <a:gd name="T0" fmla="*/ 1 w 2"/>
                <a:gd name="T1" fmla="*/ 0 h 4"/>
                <a:gd name="T2" fmla="*/ 1 w 2"/>
                <a:gd name="T3" fmla="*/ 4 h 4"/>
                <a:gd name="T4" fmla="*/ 1 w 2"/>
                <a:gd name="T5" fmla="*/ 0 h 4"/>
              </a:gdLst>
              <a:cxnLst>
                <a:cxn ang="0">
                  <a:pos x="T0" y="T1"/>
                </a:cxn>
                <a:cxn ang="0">
                  <a:pos x="T2" y="T3"/>
                </a:cxn>
                <a:cxn ang="0">
                  <a:pos x="T4" y="T5"/>
                </a:cxn>
              </a:cxnLst>
              <a:rect l="0" t="0" r="r" b="b"/>
              <a:pathLst>
                <a:path w="2" h="4">
                  <a:moveTo>
                    <a:pt x="1" y="0"/>
                  </a:moveTo>
                  <a:cubicBezTo>
                    <a:pt x="1" y="1"/>
                    <a:pt x="0" y="3"/>
                    <a:pt x="1" y="4"/>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1368"/>
            <p:cNvSpPr/>
            <p:nvPr/>
          </p:nvSpPr>
          <p:spPr bwMode="auto">
            <a:xfrm>
              <a:off x="6303608" y="6283480"/>
              <a:ext cx="20135" cy="22820"/>
            </a:xfrm>
            <a:custGeom>
              <a:gdLst>
                <a:gd name="T0" fmla="*/ 3 w 6"/>
                <a:gd name="T1" fmla="*/ 0 h 7"/>
                <a:gd name="T2" fmla="*/ 0 w 6"/>
                <a:gd name="T3" fmla="*/ 1 h 7"/>
                <a:gd name="T4" fmla="*/ 4 w 6"/>
                <a:gd name="T5" fmla="*/ 7 h 7"/>
                <a:gd name="T6" fmla="*/ 4 w 6"/>
                <a:gd name="T7" fmla="*/ 1 h 7"/>
                <a:gd name="T8" fmla="*/ 3 w 6"/>
                <a:gd name="T9" fmla="*/ 0 h 7"/>
              </a:gdLst>
              <a:cxnLst>
                <a:cxn ang="0">
                  <a:pos x="T0" y="T1"/>
                </a:cxn>
                <a:cxn ang="0">
                  <a:pos x="T2" y="T3"/>
                </a:cxn>
                <a:cxn ang="0">
                  <a:pos x="T4" y="T5"/>
                </a:cxn>
                <a:cxn ang="0">
                  <a:pos x="T6" y="T7"/>
                </a:cxn>
                <a:cxn ang="0">
                  <a:pos x="T8" y="T9"/>
                </a:cxn>
              </a:cxnLst>
              <a:rect l="0" t="0" r="r" b="b"/>
              <a:pathLst>
                <a:path w="6" h="7">
                  <a:moveTo>
                    <a:pt x="3" y="0"/>
                  </a:moveTo>
                  <a:cubicBezTo>
                    <a:pt x="2" y="0"/>
                    <a:pt x="1" y="1"/>
                    <a:pt x="0" y="1"/>
                  </a:cubicBezTo>
                  <a:cubicBezTo>
                    <a:pt x="1" y="3"/>
                    <a:pt x="2" y="5"/>
                    <a:pt x="4" y="7"/>
                  </a:cubicBezTo>
                  <a:cubicBezTo>
                    <a:pt x="6" y="4"/>
                    <a:pt x="2" y="3"/>
                    <a:pt x="4"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5" name="Freeform 1369"/>
            <p:cNvSpPr/>
            <p:nvPr/>
          </p:nvSpPr>
          <p:spPr bwMode="auto">
            <a:xfrm>
              <a:off x="5286117" y="5731779"/>
              <a:ext cx="12081" cy="28189"/>
            </a:xfrm>
            <a:custGeom>
              <a:gdLst>
                <a:gd name="T0" fmla="*/ 3 w 4"/>
                <a:gd name="T1" fmla="*/ 0 h 9"/>
                <a:gd name="T2" fmla="*/ 0 w 4"/>
                <a:gd name="T3" fmla="*/ 1 h 9"/>
                <a:gd name="T4" fmla="*/ 3 w 4"/>
                <a:gd name="T5" fmla="*/ 9 h 9"/>
                <a:gd name="T6" fmla="*/ 3 w 4"/>
                <a:gd name="T7" fmla="*/ 4 h 9"/>
                <a:gd name="T8" fmla="*/ 3 w 4"/>
                <a:gd name="T9" fmla="*/ 0 h 9"/>
              </a:gdLst>
              <a:cxnLst>
                <a:cxn ang="0">
                  <a:pos x="T0" y="T1"/>
                </a:cxn>
                <a:cxn ang="0">
                  <a:pos x="T2" y="T3"/>
                </a:cxn>
                <a:cxn ang="0">
                  <a:pos x="T4" y="T5"/>
                </a:cxn>
                <a:cxn ang="0">
                  <a:pos x="T6" y="T7"/>
                </a:cxn>
                <a:cxn ang="0">
                  <a:pos x="T8" y="T9"/>
                </a:cxn>
              </a:cxnLst>
              <a:rect l="0" t="0" r="r" b="b"/>
              <a:pathLst>
                <a:path w="4" h="9">
                  <a:moveTo>
                    <a:pt x="3" y="0"/>
                  </a:moveTo>
                  <a:cubicBezTo>
                    <a:pt x="2" y="1"/>
                    <a:pt x="1" y="1"/>
                    <a:pt x="0" y="1"/>
                  </a:cubicBezTo>
                  <a:cubicBezTo>
                    <a:pt x="1" y="4"/>
                    <a:pt x="2" y="7"/>
                    <a:pt x="3" y="9"/>
                  </a:cubicBezTo>
                  <a:cubicBezTo>
                    <a:pt x="4" y="6"/>
                    <a:pt x="3" y="5"/>
                    <a:pt x="3" y="4"/>
                  </a:cubicBezTo>
                  <a:cubicBezTo>
                    <a:pt x="3" y="3"/>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1370"/>
            <p:cNvSpPr/>
            <p:nvPr/>
          </p:nvSpPr>
          <p:spPr bwMode="auto">
            <a:xfrm>
              <a:off x="4006872" y="6474092"/>
              <a:ext cx="9396" cy="16108"/>
            </a:xfrm>
            <a:custGeom>
              <a:gdLst>
                <a:gd name="T0" fmla="*/ 2 w 3"/>
                <a:gd name="T1" fmla="*/ 0 h 5"/>
                <a:gd name="T2" fmla="*/ 0 w 3"/>
                <a:gd name="T3" fmla="*/ 5 h 5"/>
                <a:gd name="T4" fmla="*/ 2 w 3"/>
                <a:gd name="T5" fmla="*/ 0 h 5"/>
              </a:gdLst>
              <a:cxnLst>
                <a:cxn ang="0">
                  <a:pos x="T0" y="T1"/>
                </a:cxn>
                <a:cxn ang="0">
                  <a:pos x="T2" y="T3"/>
                </a:cxn>
                <a:cxn ang="0">
                  <a:pos x="T4" y="T5"/>
                </a:cxn>
              </a:cxnLst>
              <a:rect l="0" t="0" r="r" b="b"/>
              <a:pathLst>
                <a:path w="3" h="5">
                  <a:moveTo>
                    <a:pt x="2" y="0"/>
                  </a:moveTo>
                  <a:cubicBezTo>
                    <a:pt x="2" y="2"/>
                    <a:pt x="1" y="4"/>
                    <a:pt x="0" y="5"/>
                  </a:cubicBezTo>
                  <a:cubicBezTo>
                    <a:pt x="2" y="4"/>
                    <a:pt x="3"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7" name="Freeform 1371"/>
            <p:cNvSpPr/>
            <p:nvPr/>
          </p:nvSpPr>
          <p:spPr bwMode="auto">
            <a:xfrm>
              <a:off x="6631138" y="6594902"/>
              <a:ext cx="2685" cy="12081"/>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1"/>
                    <a:pt x="0" y="3"/>
                    <a:pt x="0" y="4"/>
                  </a:cubicBezTo>
                  <a:cubicBezTo>
                    <a:pt x="0"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1372"/>
            <p:cNvSpPr/>
            <p:nvPr/>
          </p:nvSpPr>
          <p:spPr bwMode="auto">
            <a:xfrm>
              <a:off x="5126379" y="5750572"/>
              <a:ext cx="89936" cy="53693"/>
            </a:xfrm>
            <a:custGeom>
              <a:gdLst>
                <a:gd name="T0" fmla="*/ 22 w 28"/>
                <a:gd name="T1" fmla="*/ 0 h 17"/>
                <a:gd name="T2" fmla="*/ 21 w 28"/>
                <a:gd name="T3" fmla="*/ 4 h 17"/>
                <a:gd name="T4" fmla="*/ 18 w 28"/>
                <a:gd name="T5" fmla="*/ 1 h 17"/>
                <a:gd name="T6" fmla="*/ 17 w 28"/>
                <a:gd name="T7" fmla="*/ 2 h 17"/>
                <a:gd name="T8" fmla="*/ 8 w 28"/>
                <a:gd name="T9" fmla="*/ 5 h 17"/>
                <a:gd name="T10" fmla="*/ 7 w 28"/>
                <a:gd name="T11" fmla="*/ 5 h 17"/>
                <a:gd name="T12" fmla="*/ 0 w 28"/>
                <a:gd name="T13" fmla="*/ 0 h 17"/>
                <a:gd name="T14" fmla="*/ 5 w 28"/>
                <a:gd name="T15" fmla="*/ 11 h 17"/>
                <a:gd name="T16" fmla="*/ 9 w 28"/>
                <a:gd name="T17" fmla="*/ 14 h 17"/>
                <a:gd name="T18" fmla="*/ 14 w 28"/>
                <a:gd name="T19" fmla="*/ 17 h 17"/>
                <a:gd name="T20" fmla="*/ 14 w 28"/>
                <a:gd name="T21" fmla="*/ 17 h 17"/>
                <a:gd name="T22" fmla="*/ 24 w 28"/>
                <a:gd name="T23" fmla="*/ 10 h 17"/>
                <a:gd name="T24" fmla="*/ 28 w 28"/>
                <a:gd name="T25" fmla="*/ 5 h 17"/>
                <a:gd name="T26" fmla="*/ 26 w 28"/>
                <a:gd name="T27" fmla="*/ 2 h 17"/>
                <a:gd name="T28" fmla="*/ 22 w 28"/>
                <a:gd name="T29"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7">
                  <a:moveTo>
                    <a:pt x="22" y="0"/>
                  </a:moveTo>
                  <a:cubicBezTo>
                    <a:pt x="20" y="0"/>
                    <a:pt x="19" y="1"/>
                    <a:pt x="21" y="4"/>
                  </a:cubicBezTo>
                  <a:cubicBezTo>
                    <a:pt x="19" y="2"/>
                    <a:pt x="19" y="1"/>
                    <a:pt x="18" y="1"/>
                  </a:cubicBezTo>
                  <a:cubicBezTo>
                    <a:pt x="18" y="1"/>
                    <a:pt x="17" y="1"/>
                    <a:pt x="17" y="2"/>
                  </a:cubicBezTo>
                  <a:cubicBezTo>
                    <a:pt x="14" y="2"/>
                    <a:pt x="11" y="4"/>
                    <a:pt x="8" y="5"/>
                  </a:cubicBezTo>
                  <a:cubicBezTo>
                    <a:pt x="8" y="5"/>
                    <a:pt x="8" y="5"/>
                    <a:pt x="7" y="5"/>
                  </a:cubicBezTo>
                  <a:cubicBezTo>
                    <a:pt x="4" y="5"/>
                    <a:pt x="4" y="1"/>
                    <a:pt x="0" y="0"/>
                  </a:cubicBezTo>
                  <a:cubicBezTo>
                    <a:pt x="1" y="4"/>
                    <a:pt x="2" y="8"/>
                    <a:pt x="5" y="11"/>
                  </a:cubicBezTo>
                  <a:cubicBezTo>
                    <a:pt x="6" y="12"/>
                    <a:pt x="7" y="13"/>
                    <a:pt x="9" y="14"/>
                  </a:cubicBezTo>
                  <a:cubicBezTo>
                    <a:pt x="10" y="15"/>
                    <a:pt x="13" y="17"/>
                    <a:pt x="14" y="17"/>
                  </a:cubicBezTo>
                  <a:cubicBezTo>
                    <a:pt x="14" y="17"/>
                    <a:pt x="14" y="17"/>
                    <a:pt x="14" y="17"/>
                  </a:cubicBezTo>
                  <a:cubicBezTo>
                    <a:pt x="17" y="17"/>
                    <a:pt x="21" y="11"/>
                    <a:pt x="24" y="10"/>
                  </a:cubicBezTo>
                  <a:cubicBezTo>
                    <a:pt x="26" y="9"/>
                    <a:pt x="28" y="7"/>
                    <a:pt x="28" y="5"/>
                  </a:cubicBezTo>
                  <a:cubicBezTo>
                    <a:pt x="28" y="4"/>
                    <a:pt x="27" y="4"/>
                    <a:pt x="26" y="2"/>
                  </a:cubicBezTo>
                  <a:cubicBezTo>
                    <a:pt x="25" y="1"/>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1373"/>
            <p:cNvSpPr/>
            <p:nvPr/>
          </p:nvSpPr>
          <p:spPr bwMode="auto">
            <a:xfrm>
              <a:off x="6815038" y="6794910"/>
              <a:ext cx="34901" cy="63090"/>
            </a:xfrm>
            <a:custGeom>
              <a:gdLst>
                <a:gd name="T0" fmla="*/ 7 w 11"/>
                <a:gd name="T1" fmla="*/ 0 h 20"/>
                <a:gd name="T2" fmla="*/ 4 w 11"/>
                <a:gd name="T3" fmla="*/ 2 h 20"/>
                <a:gd name="T4" fmla="*/ 1 w 11"/>
                <a:gd name="T5" fmla="*/ 12 h 20"/>
                <a:gd name="T6" fmla="*/ 1 w 11"/>
                <a:gd name="T7" fmla="*/ 19 h 20"/>
                <a:gd name="T8" fmla="*/ 0 w 11"/>
                <a:gd name="T9" fmla="*/ 20 h 20"/>
                <a:gd name="T10" fmla="*/ 5 w 11"/>
                <a:gd name="T11" fmla="*/ 20 h 20"/>
                <a:gd name="T12" fmla="*/ 8 w 11"/>
                <a:gd name="T13" fmla="*/ 10 h 20"/>
                <a:gd name="T14" fmla="*/ 8 w 11"/>
                <a:gd name="T15" fmla="*/ 4 h 20"/>
                <a:gd name="T16" fmla="*/ 7 w 11"/>
                <a:gd name="T17"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0">
                  <a:moveTo>
                    <a:pt x="7" y="0"/>
                  </a:moveTo>
                  <a:cubicBezTo>
                    <a:pt x="6" y="0"/>
                    <a:pt x="6" y="0"/>
                    <a:pt x="4" y="2"/>
                  </a:cubicBezTo>
                  <a:cubicBezTo>
                    <a:pt x="11" y="5"/>
                    <a:pt x="2" y="10"/>
                    <a:pt x="1" y="12"/>
                  </a:cubicBezTo>
                  <a:cubicBezTo>
                    <a:pt x="4" y="12"/>
                    <a:pt x="1" y="17"/>
                    <a:pt x="1" y="19"/>
                  </a:cubicBezTo>
                  <a:cubicBezTo>
                    <a:pt x="1" y="19"/>
                    <a:pt x="0" y="19"/>
                    <a:pt x="0" y="20"/>
                  </a:cubicBezTo>
                  <a:cubicBezTo>
                    <a:pt x="5" y="20"/>
                    <a:pt x="5" y="20"/>
                    <a:pt x="5" y="20"/>
                  </a:cubicBezTo>
                  <a:cubicBezTo>
                    <a:pt x="6" y="16"/>
                    <a:pt x="7" y="13"/>
                    <a:pt x="8" y="10"/>
                  </a:cubicBezTo>
                  <a:cubicBezTo>
                    <a:pt x="10" y="6"/>
                    <a:pt x="9" y="7"/>
                    <a:pt x="8" y="4"/>
                  </a:cubicBezTo>
                  <a:cubicBezTo>
                    <a:pt x="8"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1374"/>
            <p:cNvSpPr/>
            <p:nvPr/>
          </p:nvSpPr>
          <p:spPr bwMode="auto">
            <a:xfrm>
              <a:off x="5558611" y="5912995"/>
              <a:ext cx="2685" cy="12081"/>
            </a:xfrm>
            <a:custGeom>
              <a:gdLst>
                <a:gd name="T0" fmla="*/ 0 w 1"/>
                <a:gd name="T1" fmla="*/ 0 h 4"/>
                <a:gd name="T2" fmla="*/ 1 w 1"/>
                <a:gd name="T3" fmla="*/ 4 h 4"/>
                <a:gd name="T4" fmla="*/ 0 w 1"/>
                <a:gd name="T5" fmla="*/ 0 h 4"/>
              </a:gdLst>
              <a:cxnLst>
                <a:cxn ang="0">
                  <a:pos x="T0" y="T1"/>
                </a:cxn>
                <a:cxn ang="0">
                  <a:pos x="T2" y="T3"/>
                </a:cxn>
                <a:cxn ang="0">
                  <a:pos x="T4" y="T5"/>
                </a:cxn>
              </a:cxnLst>
              <a:rect l="0" t="0" r="r" b="b"/>
              <a:pathLst>
                <a:path w="1" h="4">
                  <a:moveTo>
                    <a:pt x="0" y="0"/>
                  </a:moveTo>
                  <a:cubicBezTo>
                    <a:pt x="0" y="2"/>
                    <a:pt x="0" y="3"/>
                    <a:pt x="1" y="4"/>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1375"/>
            <p:cNvSpPr/>
            <p:nvPr/>
          </p:nvSpPr>
          <p:spPr bwMode="auto">
            <a:xfrm>
              <a:off x="5805601" y="6192201"/>
              <a:ext cx="9396" cy="9396"/>
            </a:xfrm>
            <a:custGeom>
              <a:gdLst>
                <a:gd name="T0" fmla="*/ 2 w 3"/>
                <a:gd name="T1" fmla="*/ 0 h 3"/>
                <a:gd name="T2" fmla="*/ 0 w 3"/>
                <a:gd name="T3" fmla="*/ 3 h 3"/>
                <a:gd name="T4" fmla="*/ 3 w 3"/>
                <a:gd name="T5" fmla="*/ 2 h 3"/>
                <a:gd name="T6" fmla="*/ 2 w 3"/>
                <a:gd name="T7" fmla="*/ 0 h 3"/>
              </a:gdLst>
              <a:cxnLst>
                <a:cxn ang="0">
                  <a:pos x="T0" y="T1"/>
                </a:cxn>
                <a:cxn ang="0">
                  <a:pos x="T2" y="T3"/>
                </a:cxn>
                <a:cxn ang="0">
                  <a:pos x="T4" y="T5"/>
                </a:cxn>
                <a:cxn ang="0">
                  <a:pos x="T6" y="T7"/>
                </a:cxn>
              </a:cxnLst>
              <a:rect l="0" t="0" r="r" b="b"/>
              <a:pathLst>
                <a:path w="3" h="3">
                  <a:moveTo>
                    <a:pt x="2" y="0"/>
                  </a:moveTo>
                  <a:cubicBezTo>
                    <a:pt x="1" y="0"/>
                    <a:pt x="0" y="2"/>
                    <a:pt x="0" y="3"/>
                  </a:cubicBezTo>
                  <a:cubicBezTo>
                    <a:pt x="0" y="3"/>
                    <a:pt x="3" y="3"/>
                    <a:pt x="3" y="2"/>
                  </a:cubicBezTo>
                  <a:cubicBezTo>
                    <a:pt x="2"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1376"/>
            <p:cNvSpPr/>
            <p:nvPr/>
          </p:nvSpPr>
          <p:spPr bwMode="auto">
            <a:xfrm>
              <a:off x="6009636" y="5703590"/>
              <a:ext cx="12081" cy="12081"/>
            </a:xfrm>
            <a:custGeom>
              <a:gdLst>
                <a:gd name="T0" fmla="*/ 1 w 4"/>
                <a:gd name="T1" fmla="*/ 0 h 4"/>
                <a:gd name="T2" fmla="*/ 0 w 4"/>
                <a:gd name="T3" fmla="*/ 4 h 4"/>
                <a:gd name="T4" fmla="*/ 1 w 4"/>
                <a:gd name="T5" fmla="*/ 0 h 4"/>
              </a:gdLst>
              <a:cxnLst>
                <a:cxn ang="0">
                  <a:pos x="T0" y="T1"/>
                </a:cxn>
                <a:cxn ang="0">
                  <a:pos x="T2" y="T3"/>
                </a:cxn>
                <a:cxn ang="0">
                  <a:pos x="T4" y="T5"/>
                </a:cxn>
              </a:cxnLst>
              <a:rect l="0" t="0" r="r" b="b"/>
              <a:pathLst>
                <a:path w="4" h="4">
                  <a:moveTo>
                    <a:pt x="1" y="0"/>
                  </a:moveTo>
                  <a:cubicBezTo>
                    <a:pt x="1" y="2"/>
                    <a:pt x="1" y="3"/>
                    <a:pt x="0" y="4"/>
                  </a:cubicBezTo>
                  <a:cubicBezTo>
                    <a:pt x="4"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1377"/>
            <p:cNvSpPr/>
            <p:nvPr/>
          </p:nvSpPr>
          <p:spPr bwMode="auto">
            <a:xfrm>
              <a:off x="6517039" y="6436506"/>
              <a:ext cx="12081" cy="12081"/>
            </a:xfrm>
            <a:custGeom>
              <a:gdLst>
                <a:gd name="T0" fmla="*/ 0 w 4"/>
                <a:gd name="T1" fmla="*/ 0 h 4"/>
                <a:gd name="T2" fmla="*/ 0 w 4"/>
                <a:gd name="T3" fmla="*/ 4 h 4"/>
                <a:gd name="T4" fmla="*/ 0 w 4"/>
                <a:gd name="T5" fmla="*/ 4 h 4"/>
                <a:gd name="T6" fmla="*/ 0 w 4"/>
                <a:gd name="T7" fmla="*/ 0 h 4"/>
              </a:gdLst>
              <a:cxnLst>
                <a:cxn ang="0">
                  <a:pos x="T0" y="T1"/>
                </a:cxn>
                <a:cxn ang="0">
                  <a:pos x="T2" y="T3"/>
                </a:cxn>
                <a:cxn ang="0">
                  <a:pos x="T4" y="T5"/>
                </a:cxn>
                <a:cxn ang="0">
                  <a:pos x="T6" y="T7"/>
                </a:cxn>
              </a:cxnLst>
              <a:rect l="0" t="0" r="r" b="b"/>
              <a:pathLst>
                <a:path w="4" h="4">
                  <a:moveTo>
                    <a:pt x="0" y="0"/>
                  </a:moveTo>
                  <a:cubicBezTo>
                    <a:pt x="0" y="1"/>
                    <a:pt x="0" y="3"/>
                    <a:pt x="0" y="4"/>
                  </a:cubicBezTo>
                  <a:cubicBezTo>
                    <a:pt x="0" y="4"/>
                    <a:pt x="0" y="4"/>
                    <a:pt x="0" y="4"/>
                  </a:cubicBezTo>
                  <a:cubicBezTo>
                    <a:pt x="4"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1378"/>
            <p:cNvSpPr/>
            <p:nvPr/>
          </p:nvSpPr>
          <p:spPr bwMode="auto">
            <a:xfrm>
              <a:off x="5586801" y="6078102"/>
              <a:ext cx="6712"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1379"/>
            <p:cNvSpPr/>
            <p:nvPr/>
          </p:nvSpPr>
          <p:spPr bwMode="auto">
            <a:xfrm>
              <a:off x="5565323" y="5938499"/>
              <a:ext cx="5369" cy="12081"/>
            </a:xfrm>
            <a:custGeom>
              <a:gdLst>
                <a:gd name="T0" fmla="*/ 1 w 2"/>
                <a:gd name="T1" fmla="*/ 0 h 4"/>
                <a:gd name="T2" fmla="*/ 0 w 2"/>
                <a:gd name="T3" fmla="*/ 4 h 4"/>
                <a:gd name="T4" fmla="*/ 1 w 2"/>
                <a:gd name="T5" fmla="*/ 0 h 4"/>
              </a:gdLst>
              <a:cxnLst>
                <a:cxn ang="0">
                  <a:pos x="T0" y="T1"/>
                </a:cxn>
                <a:cxn ang="0">
                  <a:pos x="T2" y="T3"/>
                </a:cxn>
                <a:cxn ang="0">
                  <a:pos x="T4" y="T5"/>
                </a:cxn>
              </a:cxnLst>
              <a:rect l="0" t="0" r="r" b="b"/>
              <a:pathLst>
                <a:path w="2" h="4">
                  <a:moveTo>
                    <a:pt x="1" y="0"/>
                  </a:moveTo>
                  <a:cubicBezTo>
                    <a:pt x="0" y="0"/>
                    <a:pt x="0" y="1"/>
                    <a:pt x="0" y="4"/>
                  </a:cubicBezTo>
                  <a:cubicBezTo>
                    <a:pt x="2" y="3"/>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1380"/>
            <p:cNvSpPr/>
            <p:nvPr/>
          </p:nvSpPr>
          <p:spPr bwMode="auto">
            <a:xfrm>
              <a:off x="5625728" y="6083472"/>
              <a:ext cx="2685" cy="20135"/>
            </a:xfrm>
            <a:custGeom>
              <a:gdLst>
                <a:gd name="T0" fmla="*/ 0 w 1"/>
                <a:gd name="T1" fmla="*/ 0 h 6"/>
                <a:gd name="T2" fmla="*/ 1 w 1"/>
                <a:gd name="T3" fmla="*/ 6 h 6"/>
                <a:gd name="T4" fmla="*/ 0 w 1"/>
                <a:gd name="T5" fmla="*/ 0 h 6"/>
              </a:gdLst>
              <a:cxnLst>
                <a:cxn ang="0">
                  <a:pos x="T0" y="T1"/>
                </a:cxn>
                <a:cxn ang="0">
                  <a:pos x="T2" y="T3"/>
                </a:cxn>
                <a:cxn ang="0">
                  <a:pos x="T4" y="T5"/>
                </a:cxn>
              </a:cxnLst>
              <a:rect l="0" t="0" r="r" b="b"/>
              <a:pathLst>
                <a:path w="1" h="6">
                  <a:moveTo>
                    <a:pt x="0" y="0"/>
                  </a:moveTo>
                  <a:cubicBezTo>
                    <a:pt x="0" y="2"/>
                    <a:pt x="0" y="4"/>
                    <a:pt x="1" y="6"/>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7" name="Freeform 1381"/>
            <p:cNvSpPr/>
            <p:nvPr/>
          </p:nvSpPr>
          <p:spPr bwMode="auto">
            <a:xfrm>
              <a:off x="6015006" y="5671374"/>
              <a:ext cx="9396" cy="6712"/>
            </a:xfrm>
            <a:custGeom>
              <a:gdLst>
                <a:gd name="T0" fmla="*/ 1 w 3"/>
                <a:gd name="T1" fmla="*/ 0 h 2"/>
                <a:gd name="T2" fmla="*/ 1 w 3"/>
                <a:gd name="T3" fmla="*/ 2 h 2"/>
                <a:gd name="T4" fmla="*/ 1 w 3"/>
                <a:gd name="T5" fmla="*/ 0 h 2"/>
              </a:gdLst>
              <a:cxnLst>
                <a:cxn ang="0">
                  <a:pos x="T0" y="T1"/>
                </a:cxn>
                <a:cxn ang="0">
                  <a:pos x="T2" y="T3"/>
                </a:cxn>
                <a:cxn ang="0">
                  <a:pos x="T4" y="T5"/>
                </a:cxn>
              </a:cxnLst>
              <a:rect l="0" t="0" r="r" b="b"/>
              <a:pathLst>
                <a:path w="3" h="2">
                  <a:moveTo>
                    <a:pt x="1" y="0"/>
                  </a:moveTo>
                  <a:cubicBezTo>
                    <a:pt x="0" y="0"/>
                    <a:pt x="0" y="0"/>
                    <a:pt x="1"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1382"/>
            <p:cNvSpPr/>
            <p:nvPr/>
          </p:nvSpPr>
          <p:spPr bwMode="auto">
            <a:xfrm>
              <a:off x="6586841" y="6585506"/>
              <a:ext cx="2685" cy="12081"/>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1"/>
                    <a:pt x="0" y="2"/>
                    <a:pt x="0"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9" name="Freeform 1383"/>
            <p:cNvSpPr/>
            <p:nvPr/>
          </p:nvSpPr>
          <p:spPr bwMode="auto">
            <a:xfrm>
              <a:off x="5561296" y="5810977"/>
              <a:ext cx="9396" cy="6712"/>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0"/>
                    <a:pt x="1" y="1"/>
                    <a:pt x="0" y="2"/>
                  </a:cubicBezTo>
                  <a:cubicBezTo>
                    <a:pt x="2"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1384"/>
            <p:cNvSpPr/>
            <p:nvPr/>
          </p:nvSpPr>
          <p:spPr bwMode="auto">
            <a:xfrm>
              <a:off x="6672750" y="6692893"/>
              <a:ext cx="18793" cy="25504"/>
            </a:xfrm>
            <a:custGeom>
              <a:gdLst>
                <a:gd name="T0" fmla="*/ 0 w 6"/>
                <a:gd name="T1" fmla="*/ 0 h 8"/>
                <a:gd name="T2" fmla="*/ 3 w 6"/>
                <a:gd name="T3" fmla="*/ 7 h 8"/>
                <a:gd name="T4" fmla="*/ 5 w 6"/>
                <a:gd name="T5" fmla="*/ 8 h 8"/>
                <a:gd name="T6" fmla="*/ 4 w 6"/>
                <a:gd name="T7" fmla="*/ 2 h 8"/>
                <a:gd name="T8" fmla="*/ 0 w 6"/>
                <a:gd name="T9" fmla="*/ 0 h 8"/>
              </a:gdLst>
              <a:cxnLst>
                <a:cxn ang="0">
                  <a:pos x="T0" y="T1"/>
                </a:cxn>
                <a:cxn ang="0">
                  <a:pos x="T2" y="T3"/>
                </a:cxn>
                <a:cxn ang="0">
                  <a:pos x="T4" y="T5"/>
                </a:cxn>
                <a:cxn ang="0">
                  <a:pos x="T6" y="T7"/>
                </a:cxn>
                <a:cxn ang="0">
                  <a:pos x="T8" y="T9"/>
                </a:cxn>
              </a:cxnLst>
              <a:rect l="0" t="0" r="r" b="b"/>
              <a:pathLst>
                <a:path w="6" h="8">
                  <a:moveTo>
                    <a:pt x="0" y="0"/>
                  </a:moveTo>
                  <a:cubicBezTo>
                    <a:pt x="0" y="2"/>
                    <a:pt x="2" y="5"/>
                    <a:pt x="3" y="7"/>
                  </a:cubicBezTo>
                  <a:cubicBezTo>
                    <a:pt x="4" y="7"/>
                    <a:pt x="4" y="7"/>
                    <a:pt x="5" y="8"/>
                  </a:cubicBezTo>
                  <a:cubicBezTo>
                    <a:pt x="6" y="7"/>
                    <a:pt x="5" y="3"/>
                    <a:pt x="4" y="2"/>
                  </a:cubicBezTo>
                  <a:cubicBezTo>
                    <a:pt x="4"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1" name="Freeform 1385"/>
            <p:cNvSpPr/>
            <p:nvPr/>
          </p:nvSpPr>
          <p:spPr bwMode="auto">
            <a:xfrm>
              <a:off x="5586801" y="5738491"/>
              <a:ext cx="18793" cy="30874"/>
            </a:xfrm>
            <a:custGeom>
              <a:gdLst>
                <a:gd name="T0" fmla="*/ 6 w 6"/>
                <a:gd name="T1" fmla="*/ 0 h 10"/>
                <a:gd name="T2" fmla="*/ 0 w 6"/>
                <a:gd name="T3" fmla="*/ 10 h 10"/>
                <a:gd name="T4" fmla="*/ 6 w 6"/>
                <a:gd name="T5" fmla="*/ 0 h 10"/>
              </a:gdLst>
              <a:cxnLst>
                <a:cxn ang="0">
                  <a:pos x="T0" y="T1"/>
                </a:cxn>
                <a:cxn ang="0">
                  <a:pos x="T2" y="T3"/>
                </a:cxn>
                <a:cxn ang="0">
                  <a:pos x="T4" y="T5"/>
                </a:cxn>
              </a:cxnLst>
              <a:rect l="0" t="0" r="r" b="b"/>
              <a:pathLst>
                <a:path w="6" h="10">
                  <a:moveTo>
                    <a:pt x="6" y="0"/>
                  </a:moveTo>
                  <a:cubicBezTo>
                    <a:pt x="4" y="3"/>
                    <a:pt x="2" y="6"/>
                    <a:pt x="0" y="10"/>
                  </a:cubicBezTo>
                  <a:cubicBezTo>
                    <a:pt x="3" y="7"/>
                    <a:pt x="5"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1386"/>
            <p:cNvSpPr/>
            <p:nvPr/>
          </p:nvSpPr>
          <p:spPr bwMode="auto">
            <a:xfrm>
              <a:off x="5098190" y="5759968"/>
              <a:ext cx="51009" cy="38928"/>
            </a:xfrm>
            <a:custGeom>
              <a:gdLst>
                <a:gd name="T0" fmla="*/ 8 w 16"/>
                <a:gd name="T1" fmla="*/ 0 h 12"/>
                <a:gd name="T2" fmla="*/ 5 w 16"/>
                <a:gd name="T3" fmla="*/ 3 h 12"/>
                <a:gd name="T4" fmla="*/ 5 w 16"/>
                <a:gd name="T5" fmla="*/ 8 h 12"/>
                <a:gd name="T6" fmla="*/ 4 w 16"/>
                <a:gd name="T7" fmla="*/ 8 h 12"/>
                <a:gd name="T8" fmla="*/ 4 w 16"/>
                <a:gd name="T9" fmla="*/ 8 h 12"/>
                <a:gd name="T10" fmla="*/ 3 w 16"/>
                <a:gd name="T11" fmla="*/ 8 h 12"/>
                <a:gd name="T12" fmla="*/ 3 w 16"/>
                <a:gd name="T13" fmla="*/ 8 h 12"/>
                <a:gd name="T14" fmla="*/ 2 w 16"/>
                <a:gd name="T15" fmla="*/ 10 h 12"/>
                <a:gd name="T16" fmla="*/ 3 w 16"/>
                <a:gd name="T17" fmla="*/ 11 h 12"/>
                <a:gd name="T18" fmla="*/ 12 w 16"/>
                <a:gd name="T19" fmla="*/ 12 h 12"/>
                <a:gd name="T20" fmla="*/ 13 w 16"/>
                <a:gd name="T21" fmla="*/ 12 h 12"/>
                <a:gd name="T22" fmla="*/ 15 w 16"/>
                <a:gd name="T23" fmla="*/ 10 h 12"/>
                <a:gd name="T24" fmla="*/ 12 w 16"/>
                <a:gd name="T25" fmla="*/ 8 h 12"/>
                <a:gd name="T26" fmla="*/ 11 w 16"/>
                <a:gd name="T27" fmla="*/ 8 h 12"/>
                <a:gd name="T28" fmla="*/ 10 w 16"/>
                <a:gd name="T29" fmla="*/ 3 h 12"/>
                <a:gd name="T30" fmla="*/ 9 w 16"/>
                <a:gd name="T31" fmla="*/ 0 h 12"/>
                <a:gd name="T32" fmla="*/ 8 w 16"/>
                <a:gd name="T3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2">
                  <a:moveTo>
                    <a:pt x="8" y="0"/>
                  </a:moveTo>
                  <a:cubicBezTo>
                    <a:pt x="7" y="0"/>
                    <a:pt x="5" y="1"/>
                    <a:pt x="5" y="3"/>
                  </a:cubicBezTo>
                  <a:cubicBezTo>
                    <a:pt x="4" y="4"/>
                    <a:pt x="6" y="6"/>
                    <a:pt x="5" y="8"/>
                  </a:cubicBezTo>
                  <a:cubicBezTo>
                    <a:pt x="5" y="8"/>
                    <a:pt x="5" y="8"/>
                    <a:pt x="4" y="8"/>
                  </a:cubicBezTo>
                  <a:cubicBezTo>
                    <a:pt x="4" y="8"/>
                    <a:pt x="4" y="8"/>
                    <a:pt x="4" y="8"/>
                  </a:cubicBezTo>
                  <a:cubicBezTo>
                    <a:pt x="3" y="8"/>
                    <a:pt x="3" y="8"/>
                    <a:pt x="3" y="8"/>
                  </a:cubicBezTo>
                  <a:cubicBezTo>
                    <a:pt x="3" y="8"/>
                    <a:pt x="3" y="8"/>
                    <a:pt x="3" y="8"/>
                  </a:cubicBezTo>
                  <a:cubicBezTo>
                    <a:pt x="2" y="10"/>
                    <a:pt x="2" y="10"/>
                    <a:pt x="2" y="10"/>
                  </a:cubicBezTo>
                  <a:cubicBezTo>
                    <a:pt x="2" y="10"/>
                    <a:pt x="0" y="10"/>
                    <a:pt x="3" y="11"/>
                  </a:cubicBezTo>
                  <a:cubicBezTo>
                    <a:pt x="6" y="11"/>
                    <a:pt x="9" y="12"/>
                    <a:pt x="12" y="12"/>
                  </a:cubicBezTo>
                  <a:cubicBezTo>
                    <a:pt x="12" y="12"/>
                    <a:pt x="13" y="12"/>
                    <a:pt x="13" y="12"/>
                  </a:cubicBezTo>
                  <a:cubicBezTo>
                    <a:pt x="15" y="12"/>
                    <a:pt x="16" y="11"/>
                    <a:pt x="15" y="10"/>
                  </a:cubicBezTo>
                  <a:cubicBezTo>
                    <a:pt x="15" y="9"/>
                    <a:pt x="13" y="8"/>
                    <a:pt x="12" y="8"/>
                  </a:cubicBezTo>
                  <a:cubicBezTo>
                    <a:pt x="12" y="8"/>
                    <a:pt x="12" y="8"/>
                    <a:pt x="11" y="8"/>
                  </a:cubicBezTo>
                  <a:cubicBezTo>
                    <a:pt x="12" y="6"/>
                    <a:pt x="10" y="4"/>
                    <a:pt x="10" y="3"/>
                  </a:cubicBezTo>
                  <a:cubicBezTo>
                    <a:pt x="10" y="2"/>
                    <a:pt x="10" y="1"/>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1387"/>
            <p:cNvSpPr>
              <a:spLocks noEditPoints="1"/>
            </p:cNvSpPr>
            <p:nvPr/>
          </p:nvSpPr>
          <p:spPr bwMode="auto">
            <a:xfrm>
              <a:off x="5784124" y="6143877"/>
              <a:ext cx="44297" cy="25504"/>
            </a:xfrm>
            <a:custGeom>
              <a:gdLst>
                <a:gd name="T0" fmla="*/ 6 w 14"/>
                <a:gd name="T1" fmla="*/ 7 h 8"/>
                <a:gd name="T2" fmla="*/ 6 w 14"/>
                <a:gd name="T3" fmla="*/ 7 h 8"/>
                <a:gd name="T4" fmla="*/ 6 w 14"/>
                <a:gd name="T5" fmla="*/ 7 h 8"/>
                <a:gd name="T6" fmla="*/ 11 w 14"/>
                <a:gd name="T7" fmla="*/ 0 h 8"/>
                <a:gd name="T8" fmla="*/ 6 w 14"/>
                <a:gd name="T9" fmla="*/ 1 h 8"/>
                <a:gd name="T10" fmla="*/ 0 w 14"/>
                <a:gd name="T11" fmla="*/ 7 h 8"/>
                <a:gd name="T12" fmla="*/ 2 w 14"/>
                <a:gd name="T13" fmla="*/ 8 h 8"/>
                <a:gd name="T14" fmla="*/ 4 w 14"/>
                <a:gd name="T15" fmla="*/ 8 h 8"/>
                <a:gd name="T16" fmla="*/ 6 w 14"/>
                <a:gd name="T17" fmla="*/ 7 h 8"/>
                <a:gd name="T18" fmla="*/ 6 w 14"/>
                <a:gd name="T19" fmla="*/ 7 h 8"/>
                <a:gd name="T20" fmla="*/ 9 w 14"/>
                <a:gd name="T21" fmla="*/ 3 h 8"/>
                <a:gd name="T22" fmla="*/ 9 w 14"/>
                <a:gd name="T23" fmla="*/ 3 h 8"/>
                <a:gd name="T24" fmla="*/ 10 w 14"/>
                <a:gd name="T25" fmla="*/ 3 h 8"/>
                <a:gd name="T26" fmla="*/ 11 w 14"/>
                <a:gd name="T27" fmla="*/ 4 h 8"/>
                <a:gd name="T28" fmla="*/ 11 w 14"/>
                <a:gd name="T29" fmla="*/ 4 h 8"/>
                <a:gd name="T30" fmla="*/ 12 w 14"/>
                <a:gd name="T31" fmla="*/ 3 h 8"/>
                <a:gd name="T32" fmla="*/ 14 w 14"/>
                <a:gd name="T33" fmla="*/ 2 h 8"/>
                <a:gd name="T34" fmla="*/ 11 w 14"/>
                <a:gd name="T35"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8">
                  <a:moveTo>
                    <a:pt x="6" y="7"/>
                  </a:moveTo>
                  <a:cubicBezTo>
                    <a:pt x="6" y="7"/>
                    <a:pt x="6" y="7"/>
                    <a:pt x="6" y="7"/>
                  </a:cubicBezTo>
                  <a:cubicBezTo>
                    <a:pt x="6" y="7"/>
                    <a:pt x="6" y="7"/>
                    <a:pt x="6" y="7"/>
                  </a:cubicBezTo>
                  <a:moveTo>
                    <a:pt x="11" y="0"/>
                  </a:moveTo>
                  <a:cubicBezTo>
                    <a:pt x="9" y="0"/>
                    <a:pt x="7" y="1"/>
                    <a:pt x="6" y="1"/>
                  </a:cubicBezTo>
                  <a:cubicBezTo>
                    <a:pt x="3" y="2"/>
                    <a:pt x="3" y="4"/>
                    <a:pt x="0" y="7"/>
                  </a:cubicBezTo>
                  <a:cubicBezTo>
                    <a:pt x="1" y="8"/>
                    <a:pt x="2" y="8"/>
                    <a:pt x="2" y="8"/>
                  </a:cubicBezTo>
                  <a:cubicBezTo>
                    <a:pt x="3" y="8"/>
                    <a:pt x="4" y="8"/>
                    <a:pt x="4" y="8"/>
                  </a:cubicBezTo>
                  <a:cubicBezTo>
                    <a:pt x="5" y="8"/>
                    <a:pt x="6" y="7"/>
                    <a:pt x="6" y="7"/>
                  </a:cubicBezTo>
                  <a:cubicBezTo>
                    <a:pt x="6" y="7"/>
                    <a:pt x="6" y="7"/>
                    <a:pt x="6" y="7"/>
                  </a:cubicBezTo>
                  <a:cubicBezTo>
                    <a:pt x="7" y="6"/>
                    <a:pt x="9" y="3"/>
                    <a:pt x="9" y="3"/>
                  </a:cubicBezTo>
                  <a:cubicBezTo>
                    <a:pt x="9" y="3"/>
                    <a:pt x="9" y="3"/>
                    <a:pt x="9" y="3"/>
                  </a:cubicBezTo>
                  <a:cubicBezTo>
                    <a:pt x="10" y="3"/>
                    <a:pt x="10" y="3"/>
                    <a:pt x="10" y="3"/>
                  </a:cubicBezTo>
                  <a:cubicBezTo>
                    <a:pt x="10" y="4"/>
                    <a:pt x="10" y="4"/>
                    <a:pt x="11" y="4"/>
                  </a:cubicBezTo>
                  <a:cubicBezTo>
                    <a:pt x="11" y="4"/>
                    <a:pt x="11" y="4"/>
                    <a:pt x="11" y="4"/>
                  </a:cubicBezTo>
                  <a:cubicBezTo>
                    <a:pt x="11" y="4"/>
                    <a:pt x="11" y="3"/>
                    <a:pt x="12" y="3"/>
                  </a:cubicBezTo>
                  <a:cubicBezTo>
                    <a:pt x="13" y="3"/>
                    <a:pt x="14" y="3"/>
                    <a:pt x="14" y="2"/>
                  </a:cubicBezTo>
                  <a:cubicBezTo>
                    <a:pt x="14"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388"/>
            <p:cNvSpPr/>
            <p:nvPr/>
          </p:nvSpPr>
          <p:spPr bwMode="auto">
            <a:xfrm>
              <a:off x="6084807" y="5541167"/>
              <a:ext cx="34901" cy="22820"/>
            </a:xfrm>
            <a:custGeom>
              <a:gdLst>
                <a:gd name="T0" fmla="*/ 0 w 11"/>
                <a:gd name="T1" fmla="*/ 0 h 7"/>
                <a:gd name="T2" fmla="*/ 11 w 11"/>
                <a:gd name="T3" fmla="*/ 7 h 7"/>
                <a:gd name="T4" fmla="*/ 0 w 11"/>
                <a:gd name="T5" fmla="*/ 0 h 7"/>
              </a:gdLst>
              <a:cxnLst>
                <a:cxn ang="0">
                  <a:pos x="T0" y="T1"/>
                </a:cxn>
                <a:cxn ang="0">
                  <a:pos x="T2" y="T3"/>
                </a:cxn>
                <a:cxn ang="0">
                  <a:pos x="T4" y="T5"/>
                </a:cxn>
              </a:cxnLst>
              <a:rect l="0" t="0" r="r" b="b"/>
              <a:pathLst>
                <a:path w="11" h="7">
                  <a:moveTo>
                    <a:pt x="0" y="0"/>
                  </a:moveTo>
                  <a:cubicBezTo>
                    <a:pt x="3" y="2"/>
                    <a:pt x="7" y="5"/>
                    <a:pt x="11" y="7"/>
                  </a:cubicBezTo>
                  <a:cubicBezTo>
                    <a:pt x="10" y="2"/>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1389"/>
            <p:cNvSpPr>
              <a:spLocks noEditPoints="1"/>
            </p:cNvSpPr>
            <p:nvPr/>
          </p:nvSpPr>
          <p:spPr bwMode="auto">
            <a:xfrm>
              <a:off x="6663354" y="5541167"/>
              <a:ext cx="14766" cy="28189"/>
            </a:xfrm>
            <a:custGeom>
              <a:gdLst>
                <a:gd name="T0" fmla="*/ 5 w 5"/>
                <a:gd name="T1" fmla="*/ 8 h 9"/>
                <a:gd name="T2" fmla="*/ 5 w 5"/>
                <a:gd name="T3" fmla="*/ 9 h 9"/>
                <a:gd name="T4" fmla="*/ 5 w 5"/>
                <a:gd name="T5" fmla="*/ 8 h 9"/>
                <a:gd name="T6" fmla="*/ 5 w 5"/>
                <a:gd name="T7" fmla="*/ 0 h 9"/>
                <a:gd name="T8" fmla="*/ 5 w 5"/>
                <a:gd name="T9" fmla="*/ 8 h 9"/>
                <a:gd name="T10" fmla="*/ 5 w 5"/>
                <a:gd name="T11" fmla="*/ 3 h 9"/>
                <a:gd name="T12" fmla="*/ 5 w 5"/>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5" h="9">
                  <a:moveTo>
                    <a:pt x="5" y="8"/>
                  </a:moveTo>
                  <a:cubicBezTo>
                    <a:pt x="5" y="9"/>
                    <a:pt x="5" y="9"/>
                    <a:pt x="5" y="9"/>
                  </a:cubicBezTo>
                  <a:cubicBezTo>
                    <a:pt x="5" y="9"/>
                    <a:pt x="5" y="9"/>
                    <a:pt x="5" y="8"/>
                  </a:cubicBezTo>
                  <a:moveTo>
                    <a:pt x="5" y="0"/>
                  </a:moveTo>
                  <a:cubicBezTo>
                    <a:pt x="0" y="1"/>
                    <a:pt x="3" y="5"/>
                    <a:pt x="5" y="8"/>
                  </a:cubicBezTo>
                  <a:cubicBezTo>
                    <a:pt x="4" y="6"/>
                    <a:pt x="5" y="5"/>
                    <a:pt x="5" y="3"/>
                  </a:cubicBezTo>
                  <a:cubicBezTo>
                    <a:pt x="5" y="2"/>
                    <a:pt x="4"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390"/>
            <p:cNvSpPr/>
            <p:nvPr/>
          </p:nvSpPr>
          <p:spPr bwMode="auto">
            <a:xfrm>
              <a:off x="6782822" y="5706275"/>
              <a:ext cx="25504" cy="6712"/>
            </a:xfrm>
            <a:custGeom>
              <a:gdLst>
                <a:gd name="T0" fmla="*/ 0 w 8"/>
                <a:gd name="T1" fmla="*/ 0 h 2"/>
                <a:gd name="T2" fmla="*/ 5 w 8"/>
                <a:gd name="T3" fmla="*/ 2 h 2"/>
                <a:gd name="T4" fmla="*/ 8 w 8"/>
                <a:gd name="T5" fmla="*/ 1 h 2"/>
                <a:gd name="T6" fmla="*/ 0 w 8"/>
                <a:gd name="T7" fmla="*/ 0 h 2"/>
              </a:gdLst>
              <a:cxnLst>
                <a:cxn ang="0">
                  <a:pos x="T0" y="T1"/>
                </a:cxn>
                <a:cxn ang="0">
                  <a:pos x="T2" y="T3"/>
                </a:cxn>
                <a:cxn ang="0">
                  <a:pos x="T4" y="T5"/>
                </a:cxn>
                <a:cxn ang="0">
                  <a:pos x="T6" y="T7"/>
                </a:cxn>
              </a:cxnLst>
              <a:rect l="0" t="0" r="r" b="b"/>
              <a:pathLst>
                <a:path w="8" h="2">
                  <a:moveTo>
                    <a:pt x="0" y="0"/>
                  </a:moveTo>
                  <a:cubicBezTo>
                    <a:pt x="2" y="1"/>
                    <a:pt x="3" y="1"/>
                    <a:pt x="5" y="2"/>
                  </a:cubicBezTo>
                  <a:cubicBezTo>
                    <a:pt x="6" y="2"/>
                    <a:pt x="7" y="2"/>
                    <a:pt x="8" y="1"/>
                  </a:cubicBezTo>
                  <a:cubicBezTo>
                    <a:pt x="6" y="0"/>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1391"/>
            <p:cNvSpPr/>
            <p:nvPr/>
          </p:nvSpPr>
          <p:spPr bwMode="auto">
            <a:xfrm>
              <a:off x="6598922" y="5598888"/>
              <a:ext cx="25504" cy="25504"/>
            </a:xfrm>
            <a:custGeom>
              <a:gdLst>
                <a:gd name="T0" fmla="*/ 3 w 8"/>
                <a:gd name="T1" fmla="*/ 0 h 8"/>
                <a:gd name="T2" fmla="*/ 1 w 8"/>
                <a:gd name="T3" fmla="*/ 2 h 8"/>
                <a:gd name="T4" fmla="*/ 6 w 8"/>
                <a:gd name="T5" fmla="*/ 8 h 8"/>
                <a:gd name="T6" fmla="*/ 5 w 8"/>
                <a:gd name="T7" fmla="*/ 1 h 8"/>
                <a:gd name="T8" fmla="*/ 3 w 8"/>
                <a:gd name="T9" fmla="*/ 0 h 8"/>
              </a:gdLst>
              <a:cxnLst>
                <a:cxn ang="0">
                  <a:pos x="T0" y="T1"/>
                </a:cxn>
                <a:cxn ang="0">
                  <a:pos x="T2" y="T3"/>
                </a:cxn>
                <a:cxn ang="0">
                  <a:pos x="T4" y="T5"/>
                </a:cxn>
                <a:cxn ang="0">
                  <a:pos x="T6" y="T7"/>
                </a:cxn>
                <a:cxn ang="0">
                  <a:pos x="T8" y="T9"/>
                </a:cxn>
              </a:cxnLst>
              <a:rect l="0" t="0" r="r" b="b"/>
              <a:pathLst>
                <a:path w="8" h="8">
                  <a:moveTo>
                    <a:pt x="3" y="0"/>
                  </a:moveTo>
                  <a:cubicBezTo>
                    <a:pt x="3" y="0"/>
                    <a:pt x="2" y="1"/>
                    <a:pt x="1" y="2"/>
                  </a:cubicBezTo>
                  <a:cubicBezTo>
                    <a:pt x="0" y="5"/>
                    <a:pt x="4" y="6"/>
                    <a:pt x="6" y="8"/>
                  </a:cubicBezTo>
                  <a:cubicBezTo>
                    <a:pt x="7" y="5"/>
                    <a:pt x="8" y="3"/>
                    <a:pt x="5" y="1"/>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1392"/>
            <p:cNvSpPr/>
            <p:nvPr/>
          </p:nvSpPr>
          <p:spPr bwMode="auto">
            <a:xfrm>
              <a:off x="6833830" y="5759968"/>
              <a:ext cx="41612" cy="22820"/>
            </a:xfrm>
            <a:custGeom>
              <a:gdLst>
                <a:gd name="T0" fmla="*/ 0 w 13"/>
                <a:gd name="T1" fmla="*/ 0 h 7"/>
                <a:gd name="T2" fmla="*/ 8 w 13"/>
                <a:gd name="T3" fmla="*/ 7 h 7"/>
                <a:gd name="T4" fmla="*/ 13 w 13"/>
                <a:gd name="T5" fmla="*/ 6 h 7"/>
                <a:gd name="T6" fmla="*/ 0 w 13"/>
                <a:gd name="T7" fmla="*/ 0 h 7"/>
              </a:gdLst>
              <a:cxnLst>
                <a:cxn ang="0">
                  <a:pos x="T0" y="T1"/>
                </a:cxn>
                <a:cxn ang="0">
                  <a:pos x="T2" y="T3"/>
                </a:cxn>
                <a:cxn ang="0">
                  <a:pos x="T4" y="T5"/>
                </a:cxn>
                <a:cxn ang="0">
                  <a:pos x="T6" y="T7"/>
                </a:cxn>
              </a:cxnLst>
              <a:rect l="0" t="0" r="r" b="b"/>
              <a:pathLst>
                <a:path w="13" h="7">
                  <a:moveTo>
                    <a:pt x="0" y="0"/>
                  </a:moveTo>
                  <a:cubicBezTo>
                    <a:pt x="3" y="2"/>
                    <a:pt x="5" y="5"/>
                    <a:pt x="8" y="7"/>
                  </a:cubicBezTo>
                  <a:cubicBezTo>
                    <a:pt x="10" y="7"/>
                    <a:pt x="11" y="7"/>
                    <a:pt x="13" y="6"/>
                  </a:cubicBezTo>
                  <a:cubicBezTo>
                    <a:pt x="10" y="3"/>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1393"/>
            <p:cNvSpPr/>
            <p:nvPr/>
          </p:nvSpPr>
          <p:spPr bwMode="auto">
            <a:xfrm>
              <a:off x="6649930" y="5103566"/>
              <a:ext cx="181215" cy="167792"/>
            </a:xfrm>
            <a:custGeom>
              <a:gdLst>
                <a:gd name="T0" fmla="*/ 1 w 57"/>
                <a:gd name="T1" fmla="*/ 0 h 53"/>
                <a:gd name="T2" fmla="*/ 0 w 57"/>
                <a:gd name="T3" fmla="*/ 4 h 53"/>
                <a:gd name="T4" fmla="*/ 1 w 57"/>
                <a:gd name="T5" fmla="*/ 4 h 53"/>
                <a:gd name="T6" fmla="*/ 2 w 57"/>
                <a:gd name="T7" fmla="*/ 5 h 53"/>
                <a:gd name="T8" fmla="*/ 3 w 57"/>
                <a:gd name="T9" fmla="*/ 5 h 53"/>
                <a:gd name="T10" fmla="*/ 4 w 57"/>
                <a:gd name="T11" fmla="*/ 4 h 53"/>
                <a:gd name="T12" fmla="*/ 5 w 57"/>
                <a:gd name="T13" fmla="*/ 5 h 53"/>
                <a:gd name="T14" fmla="*/ 27 w 57"/>
                <a:gd name="T15" fmla="*/ 18 h 53"/>
                <a:gd name="T16" fmla="*/ 43 w 57"/>
                <a:gd name="T17" fmla="*/ 33 h 53"/>
                <a:gd name="T18" fmla="*/ 46 w 57"/>
                <a:gd name="T19" fmla="*/ 39 h 53"/>
                <a:gd name="T20" fmla="*/ 46 w 57"/>
                <a:gd name="T21" fmla="*/ 42 h 53"/>
                <a:gd name="T22" fmla="*/ 51 w 57"/>
                <a:gd name="T23" fmla="*/ 53 h 53"/>
                <a:gd name="T24" fmla="*/ 56 w 57"/>
                <a:gd name="T25" fmla="*/ 39 h 53"/>
                <a:gd name="T26" fmla="*/ 54 w 57"/>
                <a:gd name="T27" fmla="*/ 37 h 53"/>
                <a:gd name="T28" fmla="*/ 49 w 57"/>
                <a:gd name="T29" fmla="*/ 30 h 53"/>
                <a:gd name="T30" fmla="*/ 49 w 57"/>
                <a:gd name="T31" fmla="*/ 30 h 53"/>
                <a:gd name="T32" fmla="*/ 48 w 57"/>
                <a:gd name="T33" fmla="*/ 30 h 53"/>
                <a:gd name="T34" fmla="*/ 47 w 57"/>
                <a:gd name="T35" fmla="*/ 31 h 53"/>
                <a:gd name="T36" fmla="*/ 46 w 57"/>
                <a:gd name="T37" fmla="*/ 30 h 53"/>
                <a:gd name="T38" fmla="*/ 40 w 57"/>
                <a:gd name="T39" fmla="*/ 24 h 53"/>
                <a:gd name="T40" fmla="*/ 33 w 57"/>
                <a:gd name="T41" fmla="*/ 18 h 53"/>
                <a:gd name="T42" fmla="*/ 24 w 57"/>
                <a:gd name="T43" fmla="*/ 13 h 53"/>
                <a:gd name="T44" fmla="*/ 16 w 57"/>
                <a:gd name="T45" fmla="*/ 7 h 53"/>
                <a:gd name="T46" fmla="*/ 12 w 57"/>
                <a:gd name="T47" fmla="*/ 6 h 53"/>
                <a:gd name="T48" fmla="*/ 1 w 57"/>
                <a:gd name="T49" fmla="*/ 0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 h="52">
                  <a:moveTo>
                    <a:pt x="1" y="0"/>
                  </a:moveTo>
                  <a:cubicBezTo>
                    <a:pt x="4" y="3"/>
                    <a:pt x="3" y="2"/>
                    <a:pt x="0" y="4"/>
                  </a:cubicBezTo>
                  <a:cubicBezTo>
                    <a:pt x="1" y="4"/>
                    <a:pt x="1" y="4"/>
                    <a:pt x="1" y="4"/>
                  </a:cubicBezTo>
                  <a:cubicBezTo>
                    <a:pt x="2" y="5"/>
                    <a:pt x="2" y="5"/>
                    <a:pt x="2" y="5"/>
                  </a:cubicBezTo>
                  <a:cubicBezTo>
                    <a:pt x="2" y="5"/>
                    <a:pt x="3" y="5"/>
                    <a:pt x="3" y="5"/>
                  </a:cubicBezTo>
                  <a:cubicBezTo>
                    <a:pt x="3" y="4"/>
                    <a:pt x="3" y="4"/>
                    <a:pt x="4" y="4"/>
                  </a:cubicBezTo>
                  <a:cubicBezTo>
                    <a:pt x="4" y="4"/>
                    <a:pt x="4" y="4"/>
                    <a:pt x="5" y="5"/>
                  </a:cubicBezTo>
                  <a:cubicBezTo>
                    <a:pt x="12" y="9"/>
                    <a:pt x="19" y="14"/>
                    <a:pt x="27" y="18"/>
                  </a:cubicBezTo>
                  <a:cubicBezTo>
                    <a:pt x="33" y="22"/>
                    <a:pt x="39" y="25"/>
                    <a:pt x="43" y="33"/>
                  </a:cubicBezTo>
                  <a:cubicBezTo>
                    <a:pt x="44" y="35"/>
                    <a:pt x="45" y="37"/>
                    <a:pt x="46" y="39"/>
                  </a:cubicBezTo>
                  <a:cubicBezTo>
                    <a:pt x="46" y="40"/>
                    <a:pt x="46" y="41"/>
                    <a:pt x="46" y="42"/>
                  </a:cubicBezTo>
                  <a:cubicBezTo>
                    <a:pt x="46" y="46"/>
                    <a:pt x="49" y="49"/>
                    <a:pt x="51" y="53"/>
                  </a:cubicBezTo>
                  <a:cubicBezTo>
                    <a:pt x="52" y="50"/>
                    <a:pt x="57" y="43"/>
                    <a:pt x="56" y="39"/>
                  </a:cubicBezTo>
                  <a:cubicBezTo>
                    <a:pt x="56" y="39"/>
                    <a:pt x="55" y="38"/>
                    <a:pt x="54" y="37"/>
                  </a:cubicBezTo>
                  <a:cubicBezTo>
                    <a:pt x="53" y="35"/>
                    <a:pt x="51" y="31"/>
                    <a:pt x="49" y="30"/>
                  </a:cubicBezTo>
                  <a:cubicBezTo>
                    <a:pt x="49" y="30"/>
                    <a:pt x="49" y="30"/>
                    <a:pt x="49" y="30"/>
                  </a:cubicBezTo>
                  <a:cubicBezTo>
                    <a:pt x="48" y="30"/>
                    <a:pt x="48" y="30"/>
                    <a:pt x="48" y="30"/>
                  </a:cubicBezTo>
                  <a:cubicBezTo>
                    <a:pt x="48" y="30"/>
                    <a:pt x="47" y="31"/>
                    <a:pt x="47" y="31"/>
                  </a:cubicBezTo>
                  <a:cubicBezTo>
                    <a:pt x="47" y="31"/>
                    <a:pt x="46" y="31"/>
                    <a:pt x="46" y="30"/>
                  </a:cubicBezTo>
                  <a:cubicBezTo>
                    <a:pt x="44" y="30"/>
                    <a:pt x="41" y="26"/>
                    <a:pt x="40" y="24"/>
                  </a:cubicBezTo>
                  <a:cubicBezTo>
                    <a:pt x="37" y="22"/>
                    <a:pt x="35" y="20"/>
                    <a:pt x="33" y="18"/>
                  </a:cubicBezTo>
                  <a:cubicBezTo>
                    <a:pt x="30" y="15"/>
                    <a:pt x="27" y="15"/>
                    <a:pt x="24" y="13"/>
                  </a:cubicBezTo>
                  <a:cubicBezTo>
                    <a:pt x="21" y="11"/>
                    <a:pt x="18" y="9"/>
                    <a:pt x="16" y="7"/>
                  </a:cubicBezTo>
                  <a:cubicBezTo>
                    <a:pt x="15" y="7"/>
                    <a:pt x="13" y="7"/>
                    <a:pt x="12" y="6"/>
                  </a:cubicBezTo>
                  <a:cubicBezTo>
                    <a:pt x="8" y="4"/>
                    <a:pt x="5"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1394"/>
            <p:cNvSpPr/>
            <p:nvPr/>
          </p:nvSpPr>
          <p:spPr bwMode="auto">
            <a:xfrm>
              <a:off x="6896920" y="5757284"/>
              <a:ext cx="16108" cy="9396"/>
            </a:xfrm>
            <a:custGeom>
              <a:gdLst>
                <a:gd name="T0" fmla="*/ 2 w 5"/>
                <a:gd name="T1" fmla="*/ 0 h 3"/>
                <a:gd name="T2" fmla="*/ 1 w 5"/>
                <a:gd name="T3" fmla="*/ 3 h 3"/>
                <a:gd name="T4" fmla="*/ 5 w 5"/>
                <a:gd name="T5" fmla="*/ 2 h 3"/>
                <a:gd name="T6" fmla="*/ 2 w 5"/>
                <a:gd name="T7" fmla="*/ 0 h 3"/>
              </a:gdLst>
              <a:cxnLst>
                <a:cxn ang="0">
                  <a:pos x="T0" y="T1"/>
                </a:cxn>
                <a:cxn ang="0">
                  <a:pos x="T2" y="T3"/>
                </a:cxn>
                <a:cxn ang="0">
                  <a:pos x="T4" y="T5"/>
                </a:cxn>
                <a:cxn ang="0">
                  <a:pos x="T6" y="T7"/>
                </a:cxn>
              </a:cxnLst>
              <a:rect l="0" t="0" r="r" b="b"/>
              <a:pathLst>
                <a:path w="5" h="3">
                  <a:moveTo>
                    <a:pt x="2" y="0"/>
                  </a:moveTo>
                  <a:cubicBezTo>
                    <a:pt x="1" y="0"/>
                    <a:pt x="0" y="1"/>
                    <a:pt x="1" y="3"/>
                  </a:cubicBezTo>
                  <a:cubicBezTo>
                    <a:pt x="2" y="3"/>
                    <a:pt x="5" y="3"/>
                    <a:pt x="5" y="2"/>
                  </a:cubicBezTo>
                  <a:cubicBezTo>
                    <a:pt x="5"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Freeform 1395"/>
            <p:cNvSpPr/>
            <p:nvPr/>
          </p:nvSpPr>
          <p:spPr bwMode="auto">
            <a:xfrm>
              <a:off x="6624426" y="5610969"/>
              <a:ext cx="41612" cy="25504"/>
            </a:xfrm>
            <a:custGeom>
              <a:gdLst>
                <a:gd name="T0" fmla="*/ 2 w 13"/>
                <a:gd name="T1" fmla="*/ 0 h 8"/>
                <a:gd name="T2" fmla="*/ 2 w 13"/>
                <a:gd name="T3" fmla="*/ 5 h 8"/>
                <a:gd name="T4" fmla="*/ 0 w 13"/>
                <a:gd name="T5" fmla="*/ 6 h 8"/>
                <a:gd name="T6" fmla="*/ 10 w 13"/>
                <a:gd name="T7" fmla="*/ 8 h 8"/>
                <a:gd name="T8" fmla="*/ 11 w 13"/>
                <a:gd name="T9" fmla="*/ 5 h 8"/>
                <a:gd name="T10" fmla="*/ 9 w 13"/>
                <a:gd name="T11" fmla="*/ 2 h 8"/>
                <a:gd name="T12" fmla="*/ 8 w 13"/>
                <a:gd name="T13" fmla="*/ 1 h 8"/>
                <a:gd name="T14" fmla="*/ 7 w 13"/>
                <a:gd name="T15" fmla="*/ 1 h 8"/>
                <a:gd name="T16" fmla="*/ 6 w 13"/>
                <a:gd name="T17" fmla="*/ 2 h 8"/>
                <a:gd name="T18" fmla="*/ 6 w 13"/>
                <a:gd name="T19" fmla="*/ 2 h 8"/>
                <a:gd name="T20" fmla="*/ 4 w 13"/>
                <a:gd name="T21" fmla="*/ 0 h 8"/>
                <a:gd name="T22" fmla="*/ 2 w 13"/>
                <a:gd name="T23"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8">
                  <a:moveTo>
                    <a:pt x="2" y="0"/>
                  </a:moveTo>
                  <a:cubicBezTo>
                    <a:pt x="0" y="0"/>
                    <a:pt x="2" y="1"/>
                    <a:pt x="2" y="5"/>
                  </a:cubicBezTo>
                  <a:cubicBezTo>
                    <a:pt x="2" y="5"/>
                    <a:pt x="0" y="6"/>
                    <a:pt x="0" y="6"/>
                  </a:cubicBezTo>
                  <a:cubicBezTo>
                    <a:pt x="1" y="8"/>
                    <a:pt x="8" y="8"/>
                    <a:pt x="10" y="8"/>
                  </a:cubicBezTo>
                  <a:cubicBezTo>
                    <a:pt x="13" y="7"/>
                    <a:pt x="12" y="6"/>
                    <a:pt x="11" y="5"/>
                  </a:cubicBezTo>
                  <a:cubicBezTo>
                    <a:pt x="11" y="4"/>
                    <a:pt x="10" y="2"/>
                    <a:pt x="9" y="2"/>
                  </a:cubicBezTo>
                  <a:cubicBezTo>
                    <a:pt x="9" y="1"/>
                    <a:pt x="8" y="1"/>
                    <a:pt x="8" y="1"/>
                  </a:cubicBezTo>
                  <a:cubicBezTo>
                    <a:pt x="8" y="1"/>
                    <a:pt x="8" y="1"/>
                    <a:pt x="7" y="1"/>
                  </a:cubicBezTo>
                  <a:cubicBezTo>
                    <a:pt x="7" y="2"/>
                    <a:pt x="7" y="2"/>
                    <a:pt x="6" y="2"/>
                  </a:cubicBezTo>
                  <a:cubicBezTo>
                    <a:pt x="6" y="2"/>
                    <a:pt x="6" y="2"/>
                    <a:pt x="6" y="2"/>
                  </a:cubicBezTo>
                  <a:cubicBezTo>
                    <a:pt x="5" y="1"/>
                    <a:pt x="5" y="0"/>
                    <a:pt x="4"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1396"/>
            <p:cNvSpPr/>
            <p:nvPr/>
          </p:nvSpPr>
          <p:spPr bwMode="auto">
            <a:xfrm>
              <a:off x="6466030" y="5220349"/>
              <a:ext cx="311422" cy="162423"/>
            </a:xfrm>
            <a:custGeom>
              <a:gdLst>
                <a:gd name="T0" fmla="*/ 90 w 98"/>
                <a:gd name="T1" fmla="*/ 1 h 51"/>
                <a:gd name="T2" fmla="*/ 89 w 98"/>
                <a:gd name="T3" fmla="*/ 1 h 51"/>
                <a:gd name="T4" fmla="*/ 88 w 98"/>
                <a:gd name="T5" fmla="*/ 1 h 51"/>
                <a:gd name="T6" fmla="*/ 88 w 98"/>
                <a:gd name="T7" fmla="*/ 1 h 51"/>
                <a:gd name="T8" fmla="*/ 77 w 98"/>
                <a:gd name="T9" fmla="*/ 1 h 51"/>
                <a:gd name="T10" fmla="*/ 75 w 98"/>
                <a:gd name="T11" fmla="*/ 18 h 51"/>
                <a:gd name="T12" fmla="*/ 59 w 98"/>
                <a:gd name="T13" fmla="*/ 30 h 51"/>
                <a:gd name="T14" fmla="*/ 55 w 98"/>
                <a:gd name="T15" fmla="*/ 33 h 51"/>
                <a:gd name="T16" fmla="*/ 52 w 98"/>
                <a:gd name="T17" fmla="*/ 30 h 51"/>
                <a:gd name="T18" fmla="*/ 46 w 98"/>
                <a:gd name="T19" fmla="*/ 33 h 51"/>
                <a:gd name="T20" fmla="*/ 43 w 98"/>
                <a:gd name="T21" fmla="*/ 30 h 51"/>
                <a:gd name="T22" fmla="*/ 43 w 98"/>
                <a:gd name="T23" fmla="*/ 20 h 51"/>
                <a:gd name="T24" fmla="*/ 39 w 98"/>
                <a:gd name="T25" fmla="*/ 26 h 51"/>
                <a:gd name="T26" fmla="*/ 40 w 98"/>
                <a:gd name="T27" fmla="*/ 30 h 51"/>
                <a:gd name="T28" fmla="*/ 33 w 98"/>
                <a:gd name="T29" fmla="*/ 33 h 51"/>
                <a:gd name="T30" fmla="*/ 32 w 98"/>
                <a:gd name="T31" fmla="*/ 32 h 51"/>
                <a:gd name="T32" fmla="*/ 24 w 98"/>
                <a:gd name="T33" fmla="*/ 34 h 51"/>
                <a:gd name="T34" fmla="*/ 19 w 98"/>
                <a:gd name="T35" fmla="*/ 32 h 51"/>
                <a:gd name="T36" fmla="*/ 13 w 98"/>
                <a:gd name="T37" fmla="*/ 32 h 51"/>
                <a:gd name="T38" fmla="*/ 10 w 98"/>
                <a:gd name="T39" fmla="*/ 31 h 51"/>
                <a:gd name="T40" fmla="*/ 9 w 98"/>
                <a:gd name="T41" fmla="*/ 32 h 51"/>
                <a:gd name="T42" fmla="*/ 8 w 98"/>
                <a:gd name="T43" fmla="*/ 32 h 51"/>
                <a:gd name="T44" fmla="*/ 3 w 98"/>
                <a:gd name="T45" fmla="*/ 31 h 51"/>
                <a:gd name="T46" fmla="*/ 2 w 98"/>
                <a:gd name="T47" fmla="*/ 38 h 51"/>
                <a:gd name="T48" fmla="*/ 18 w 98"/>
                <a:gd name="T49" fmla="*/ 45 h 51"/>
                <a:gd name="T50" fmla="*/ 24 w 98"/>
                <a:gd name="T51" fmla="*/ 46 h 51"/>
                <a:gd name="T52" fmla="*/ 30 w 98"/>
                <a:gd name="T53" fmla="*/ 49 h 51"/>
                <a:gd name="T54" fmla="*/ 44 w 98"/>
                <a:gd name="T55" fmla="*/ 50 h 51"/>
                <a:gd name="T56" fmla="*/ 65 w 98"/>
                <a:gd name="T57" fmla="*/ 44 h 51"/>
                <a:gd name="T58" fmla="*/ 73 w 98"/>
                <a:gd name="T59" fmla="*/ 39 h 51"/>
                <a:gd name="T60" fmla="*/ 80 w 98"/>
                <a:gd name="T61" fmla="*/ 33 h 51"/>
                <a:gd name="T62" fmla="*/ 84 w 98"/>
                <a:gd name="T63" fmla="*/ 33 h 51"/>
                <a:gd name="T64" fmla="*/ 90 w 98"/>
                <a:gd name="T65" fmla="*/ 30 h 51"/>
                <a:gd name="T66" fmla="*/ 88 w 98"/>
                <a:gd name="T67" fmla="*/ 19 h 51"/>
                <a:gd name="T68" fmla="*/ 91 w 98"/>
                <a:gd name="T69" fmla="*/ 20 h 51"/>
                <a:gd name="T70" fmla="*/ 96 w 98"/>
                <a:gd name="T71" fmla="*/ 16 h 51"/>
                <a:gd name="T72" fmla="*/ 92 w 98"/>
                <a:gd name="T73" fmla="*/ 1 h 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51">
                  <a:moveTo>
                    <a:pt x="92" y="0"/>
                  </a:moveTo>
                  <a:cubicBezTo>
                    <a:pt x="92" y="0"/>
                    <a:pt x="91" y="0"/>
                    <a:pt x="90" y="1"/>
                  </a:cubicBezTo>
                  <a:cubicBezTo>
                    <a:pt x="90" y="1"/>
                    <a:pt x="89" y="1"/>
                    <a:pt x="89" y="1"/>
                  </a:cubicBezTo>
                  <a:cubicBezTo>
                    <a:pt x="89" y="1"/>
                    <a:pt x="89" y="1"/>
                    <a:pt x="89" y="1"/>
                  </a:cubicBezTo>
                  <a:cubicBezTo>
                    <a:pt x="89" y="1"/>
                    <a:pt x="89" y="1"/>
                    <a:pt x="89" y="1"/>
                  </a:cubicBezTo>
                  <a:cubicBezTo>
                    <a:pt x="89" y="1"/>
                    <a:pt x="89" y="1"/>
                    <a:pt x="88" y="1"/>
                  </a:cubicBezTo>
                  <a:cubicBezTo>
                    <a:pt x="88" y="1"/>
                    <a:pt x="88" y="1"/>
                    <a:pt x="88" y="1"/>
                  </a:cubicBezTo>
                  <a:cubicBezTo>
                    <a:pt x="88" y="1"/>
                    <a:pt x="88" y="1"/>
                    <a:pt x="88" y="1"/>
                  </a:cubicBezTo>
                  <a:cubicBezTo>
                    <a:pt x="87" y="1"/>
                    <a:pt x="86" y="2"/>
                    <a:pt x="84" y="3"/>
                  </a:cubicBezTo>
                  <a:cubicBezTo>
                    <a:pt x="84" y="0"/>
                    <a:pt x="79" y="1"/>
                    <a:pt x="77" y="1"/>
                  </a:cubicBezTo>
                  <a:cubicBezTo>
                    <a:pt x="77" y="7"/>
                    <a:pt x="78" y="13"/>
                    <a:pt x="79" y="19"/>
                  </a:cubicBezTo>
                  <a:cubicBezTo>
                    <a:pt x="78" y="18"/>
                    <a:pt x="77" y="18"/>
                    <a:pt x="75" y="18"/>
                  </a:cubicBezTo>
                  <a:cubicBezTo>
                    <a:pt x="69" y="18"/>
                    <a:pt x="65" y="26"/>
                    <a:pt x="61" y="31"/>
                  </a:cubicBezTo>
                  <a:cubicBezTo>
                    <a:pt x="60" y="31"/>
                    <a:pt x="60" y="30"/>
                    <a:pt x="59" y="30"/>
                  </a:cubicBezTo>
                  <a:cubicBezTo>
                    <a:pt x="59" y="30"/>
                    <a:pt x="58" y="31"/>
                    <a:pt x="57" y="32"/>
                  </a:cubicBezTo>
                  <a:cubicBezTo>
                    <a:pt x="57" y="32"/>
                    <a:pt x="56" y="33"/>
                    <a:pt x="55" y="33"/>
                  </a:cubicBezTo>
                  <a:cubicBezTo>
                    <a:pt x="55" y="33"/>
                    <a:pt x="55" y="33"/>
                    <a:pt x="55" y="33"/>
                  </a:cubicBezTo>
                  <a:cubicBezTo>
                    <a:pt x="54" y="33"/>
                    <a:pt x="54" y="30"/>
                    <a:pt x="52" y="30"/>
                  </a:cubicBezTo>
                  <a:cubicBezTo>
                    <a:pt x="51" y="30"/>
                    <a:pt x="51" y="30"/>
                    <a:pt x="51" y="30"/>
                  </a:cubicBezTo>
                  <a:cubicBezTo>
                    <a:pt x="49" y="31"/>
                    <a:pt x="48" y="33"/>
                    <a:pt x="46" y="33"/>
                  </a:cubicBezTo>
                  <a:cubicBezTo>
                    <a:pt x="46" y="33"/>
                    <a:pt x="46" y="33"/>
                    <a:pt x="46" y="33"/>
                  </a:cubicBezTo>
                  <a:cubicBezTo>
                    <a:pt x="43" y="33"/>
                    <a:pt x="44" y="32"/>
                    <a:pt x="43" y="30"/>
                  </a:cubicBezTo>
                  <a:cubicBezTo>
                    <a:pt x="42" y="27"/>
                    <a:pt x="40" y="24"/>
                    <a:pt x="43" y="23"/>
                  </a:cubicBezTo>
                  <a:cubicBezTo>
                    <a:pt x="45" y="22"/>
                    <a:pt x="44" y="20"/>
                    <a:pt x="43" y="20"/>
                  </a:cubicBezTo>
                  <a:cubicBezTo>
                    <a:pt x="42" y="20"/>
                    <a:pt x="41" y="21"/>
                    <a:pt x="41" y="23"/>
                  </a:cubicBezTo>
                  <a:cubicBezTo>
                    <a:pt x="41" y="26"/>
                    <a:pt x="40" y="25"/>
                    <a:pt x="39" y="26"/>
                  </a:cubicBezTo>
                  <a:cubicBezTo>
                    <a:pt x="39" y="27"/>
                    <a:pt x="39" y="27"/>
                    <a:pt x="39" y="28"/>
                  </a:cubicBezTo>
                  <a:cubicBezTo>
                    <a:pt x="38" y="29"/>
                    <a:pt x="40" y="29"/>
                    <a:pt x="40" y="30"/>
                  </a:cubicBezTo>
                  <a:cubicBezTo>
                    <a:pt x="39" y="32"/>
                    <a:pt x="36" y="32"/>
                    <a:pt x="35" y="32"/>
                  </a:cubicBezTo>
                  <a:cubicBezTo>
                    <a:pt x="35" y="32"/>
                    <a:pt x="34" y="33"/>
                    <a:pt x="33" y="33"/>
                  </a:cubicBezTo>
                  <a:cubicBezTo>
                    <a:pt x="33" y="33"/>
                    <a:pt x="33" y="33"/>
                    <a:pt x="33" y="32"/>
                  </a:cubicBezTo>
                  <a:cubicBezTo>
                    <a:pt x="33" y="32"/>
                    <a:pt x="33" y="32"/>
                    <a:pt x="32" y="32"/>
                  </a:cubicBezTo>
                  <a:cubicBezTo>
                    <a:pt x="32" y="32"/>
                    <a:pt x="31" y="32"/>
                    <a:pt x="30" y="32"/>
                  </a:cubicBezTo>
                  <a:cubicBezTo>
                    <a:pt x="28" y="33"/>
                    <a:pt x="26" y="34"/>
                    <a:pt x="24" y="34"/>
                  </a:cubicBezTo>
                  <a:cubicBezTo>
                    <a:pt x="24" y="34"/>
                    <a:pt x="24" y="34"/>
                    <a:pt x="24" y="34"/>
                  </a:cubicBezTo>
                  <a:cubicBezTo>
                    <a:pt x="22" y="34"/>
                    <a:pt x="21" y="33"/>
                    <a:pt x="19" y="32"/>
                  </a:cubicBezTo>
                  <a:cubicBezTo>
                    <a:pt x="18" y="32"/>
                    <a:pt x="17" y="31"/>
                    <a:pt x="17" y="31"/>
                  </a:cubicBezTo>
                  <a:cubicBezTo>
                    <a:pt x="15" y="31"/>
                    <a:pt x="15" y="32"/>
                    <a:pt x="13" y="32"/>
                  </a:cubicBezTo>
                  <a:cubicBezTo>
                    <a:pt x="13" y="32"/>
                    <a:pt x="13" y="32"/>
                    <a:pt x="13" y="32"/>
                  </a:cubicBezTo>
                  <a:cubicBezTo>
                    <a:pt x="12" y="32"/>
                    <a:pt x="11" y="31"/>
                    <a:pt x="10" y="31"/>
                  </a:cubicBezTo>
                  <a:cubicBezTo>
                    <a:pt x="10" y="31"/>
                    <a:pt x="10" y="31"/>
                    <a:pt x="10" y="31"/>
                  </a:cubicBezTo>
                  <a:cubicBezTo>
                    <a:pt x="10" y="31"/>
                    <a:pt x="9" y="32"/>
                    <a:pt x="9" y="32"/>
                  </a:cubicBezTo>
                  <a:cubicBezTo>
                    <a:pt x="8" y="32"/>
                    <a:pt x="8" y="32"/>
                    <a:pt x="8" y="32"/>
                  </a:cubicBezTo>
                  <a:cubicBezTo>
                    <a:pt x="8" y="32"/>
                    <a:pt x="8" y="32"/>
                    <a:pt x="8" y="32"/>
                  </a:cubicBezTo>
                  <a:cubicBezTo>
                    <a:pt x="6" y="32"/>
                    <a:pt x="7" y="32"/>
                    <a:pt x="5" y="31"/>
                  </a:cubicBezTo>
                  <a:cubicBezTo>
                    <a:pt x="4" y="31"/>
                    <a:pt x="4" y="31"/>
                    <a:pt x="3" y="31"/>
                  </a:cubicBezTo>
                  <a:cubicBezTo>
                    <a:pt x="3" y="31"/>
                    <a:pt x="3" y="31"/>
                    <a:pt x="2" y="31"/>
                  </a:cubicBezTo>
                  <a:cubicBezTo>
                    <a:pt x="0" y="32"/>
                    <a:pt x="1" y="36"/>
                    <a:pt x="2" y="38"/>
                  </a:cubicBezTo>
                  <a:cubicBezTo>
                    <a:pt x="5" y="40"/>
                    <a:pt x="9" y="40"/>
                    <a:pt x="11" y="41"/>
                  </a:cubicBezTo>
                  <a:cubicBezTo>
                    <a:pt x="13" y="42"/>
                    <a:pt x="15" y="43"/>
                    <a:pt x="18" y="45"/>
                  </a:cubicBezTo>
                  <a:cubicBezTo>
                    <a:pt x="18" y="45"/>
                    <a:pt x="19" y="46"/>
                    <a:pt x="18" y="47"/>
                  </a:cubicBezTo>
                  <a:cubicBezTo>
                    <a:pt x="21" y="46"/>
                    <a:pt x="22" y="46"/>
                    <a:pt x="24" y="46"/>
                  </a:cubicBezTo>
                  <a:cubicBezTo>
                    <a:pt x="25" y="46"/>
                    <a:pt x="27" y="46"/>
                    <a:pt x="29" y="47"/>
                  </a:cubicBezTo>
                  <a:cubicBezTo>
                    <a:pt x="30" y="48"/>
                    <a:pt x="30" y="49"/>
                    <a:pt x="30" y="49"/>
                  </a:cubicBezTo>
                  <a:cubicBezTo>
                    <a:pt x="32" y="51"/>
                    <a:pt x="34" y="51"/>
                    <a:pt x="37" y="51"/>
                  </a:cubicBezTo>
                  <a:cubicBezTo>
                    <a:pt x="39" y="51"/>
                    <a:pt x="42" y="51"/>
                    <a:pt x="44" y="50"/>
                  </a:cubicBezTo>
                  <a:cubicBezTo>
                    <a:pt x="50" y="49"/>
                    <a:pt x="56" y="48"/>
                    <a:pt x="61" y="46"/>
                  </a:cubicBezTo>
                  <a:cubicBezTo>
                    <a:pt x="62" y="45"/>
                    <a:pt x="64" y="45"/>
                    <a:pt x="65" y="44"/>
                  </a:cubicBezTo>
                  <a:cubicBezTo>
                    <a:pt x="65" y="44"/>
                    <a:pt x="68" y="42"/>
                    <a:pt x="69" y="42"/>
                  </a:cubicBezTo>
                  <a:cubicBezTo>
                    <a:pt x="70" y="40"/>
                    <a:pt x="71" y="40"/>
                    <a:pt x="73" y="39"/>
                  </a:cubicBezTo>
                  <a:cubicBezTo>
                    <a:pt x="75" y="37"/>
                    <a:pt x="76" y="35"/>
                    <a:pt x="78" y="33"/>
                  </a:cubicBezTo>
                  <a:cubicBezTo>
                    <a:pt x="79" y="33"/>
                    <a:pt x="80" y="33"/>
                    <a:pt x="80" y="33"/>
                  </a:cubicBezTo>
                  <a:cubicBezTo>
                    <a:pt x="81" y="33"/>
                    <a:pt x="81" y="33"/>
                    <a:pt x="82" y="33"/>
                  </a:cubicBezTo>
                  <a:cubicBezTo>
                    <a:pt x="82" y="33"/>
                    <a:pt x="83" y="33"/>
                    <a:pt x="84" y="33"/>
                  </a:cubicBezTo>
                  <a:cubicBezTo>
                    <a:pt x="84" y="33"/>
                    <a:pt x="84" y="33"/>
                    <a:pt x="84" y="33"/>
                  </a:cubicBezTo>
                  <a:cubicBezTo>
                    <a:pt x="85" y="33"/>
                    <a:pt x="89" y="31"/>
                    <a:pt x="90" y="30"/>
                  </a:cubicBezTo>
                  <a:cubicBezTo>
                    <a:pt x="93" y="26"/>
                    <a:pt x="84" y="24"/>
                    <a:pt x="87" y="20"/>
                  </a:cubicBezTo>
                  <a:cubicBezTo>
                    <a:pt x="87" y="19"/>
                    <a:pt x="87" y="19"/>
                    <a:pt x="88" y="19"/>
                  </a:cubicBezTo>
                  <a:cubicBezTo>
                    <a:pt x="88" y="19"/>
                    <a:pt x="89" y="19"/>
                    <a:pt x="89" y="20"/>
                  </a:cubicBezTo>
                  <a:cubicBezTo>
                    <a:pt x="90" y="20"/>
                    <a:pt x="91" y="20"/>
                    <a:pt x="91" y="20"/>
                  </a:cubicBezTo>
                  <a:cubicBezTo>
                    <a:pt x="91" y="20"/>
                    <a:pt x="91" y="20"/>
                    <a:pt x="91" y="20"/>
                  </a:cubicBezTo>
                  <a:cubicBezTo>
                    <a:pt x="93" y="19"/>
                    <a:pt x="95" y="18"/>
                    <a:pt x="96" y="16"/>
                  </a:cubicBezTo>
                  <a:cubicBezTo>
                    <a:pt x="98" y="12"/>
                    <a:pt x="95" y="9"/>
                    <a:pt x="97" y="4"/>
                  </a:cubicBezTo>
                  <a:cubicBezTo>
                    <a:pt x="96" y="4"/>
                    <a:pt x="89" y="4"/>
                    <a:pt x="92" y="1"/>
                  </a:cubicBezTo>
                  <a:cubicBezTo>
                    <a:pt x="93" y="0"/>
                    <a:pt x="93" y="0"/>
                    <a:pt x="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1397"/>
            <p:cNvSpPr/>
            <p:nvPr/>
          </p:nvSpPr>
          <p:spPr bwMode="auto">
            <a:xfrm>
              <a:off x="6929136" y="5284781"/>
              <a:ext cx="16108" cy="34901"/>
            </a:xfrm>
            <a:custGeom>
              <a:gdLst>
                <a:gd name="T0" fmla="*/ 4 w 5"/>
                <a:gd name="T1" fmla="*/ 0 h 11"/>
                <a:gd name="T2" fmla="*/ 1 w 5"/>
                <a:gd name="T3" fmla="*/ 3 h 11"/>
                <a:gd name="T4" fmla="*/ 3 w 5"/>
                <a:gd name="T5" fmla="*/ 11 h 11"/>
                <a:gd name="T6" fmla="*/ 5 w 5"/>
                <a:gd name="T7" fmla="*/ 6 h 11"/>
                <a:gd name="T8" fmla="*/ 4 w 5"/>
                <a:gd name="T9" fmla="*/ 3 h 11"/>
                <a:gd name="T10" fmla="*/ 4 w 5"/>
                <a:gd name="T11" fmla="*/ 0 h 11"/>
                <a:gd name="T12" fmla="*/ 4 w 5"/>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5" h="11">
                  <a:moveTo>
                    <a:pt x="4" y="0"/>
                  </a:moveTo>
                  <a:cubicBezTo>
                    <a:pt x="3" y="0"/>
                    <a:pt x="1" y="2"/>
                    <a:pt x="1" y="3"/>
                  </a:cubicBezTo>
                  <a:cubicBezTo>
                    <a:pt x="0" y="4"/>
                    <a:pt x="3" y="9"/>
                    <a:pt x="3" y="11"/>
                  </a:cubicBezTo>
                  <a:cubicBezTo>
                    <a:pt x="4" y="10"/>
                    <a:pt x="5" y="7"/>
                    <a:pt x="5" y="6"/>
                  </a:cubicBezTo>
                  <a:cubicBezTo>
                    <a:pt x="5" y="4"/>
                    <a:pt x="5" y="4"/>
                    <a:pt x="4" y="3"/>
                  </a:cubicBezTo>
                  <a:cubicBezTo>
                    <a:pt x="4" y="3"/>
                    <a:pt x="5"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1398"/>
            <p:cNvSpPr/>
            <p:nvPr/>
          </p:nvSpPr>
          <p:spPr bwMode="auto">
            <a:xfrm>
              <a:off x="6652615" y="5699563"/>
              <a:ext cx="10739" cy="9396"/>
            </a:xfrm>
            <a:custGeom>
              <a:gdLst>
                <a:gd name="T0" fmla="*/ 1 w 3"/>
                <a:gd name="T1" fmla="*/ 0 h 3"/>
                <a:gd name="T2" fmla="*/ 0 w 3"/>
                <a:gd name="T3" fmla="*/ 0 h 3"/>
                <a:gd name="T4" fmla="*/ 2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1" y="0"/>
                    <a:pt x="0" y="0"/>
                    <a:pt x="0" y="0"/>
                  </a:cubicBezTo>
                  <a:cubicBezTo>
                    <a:pt x="1" y="1"/>
                    <a:pt x="1" y="2"/>
                    <a:pt x="2"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1399"/>
            <p:cNvSpPr/>
            <p:nvPr/>
          </p:nvSpPr>
          <p:spPr bwMode="auto">
            <a:xfrm>
              <a:off x="6945244" y="5315655"/>
              <a:ext cx="95306" cy="108729"/>
            </a:xfrm>
            <a:custGeom>
              <a:gdLst>
                <a:gd name="T0" fmla="*/ 0 w 30"/>
                <a:gd name="T1" fmla="*/ 0 h 34"/>
                <a:gd name="T2" fmla="*/ 1 w 30"/>
                <a:gd name="T3" fmla="*/ 9 h 34"/>
                <a:gd name="T4" fmla="*/ 11 w 30"/>
                <a:gd name="T5" fmla="*/ 26 h 34"/>
                <a:gd name="T6" fmla="*/ 11 w 30"/>
                <a:gd name="T7" fmla="*/ 26 h 34"/>
                <a:gd name="T8" fmla="*/ 12 w 30"/>
                <a:gd name="T9" fmla="*/ 27 h 34"/>
                <a:gd name="T10" fmla="*/ 23 w 30"/>
                <a:gd name="T11" fmla="*/ 34 h 34"/>
                <a:gd name="T12" fmla="*/ 27 w 30"/>
                <a:gd name="T13" fmla="*/ 31 h 34"/>
                <a:gd name="T14" fmla="*/ 29 w 30"/>
                <a:gd name="T15" fmla="*/ 31 h 34"/>
                <a:gd name="T16" fmla="*/ 29 w 30"/>
                <a:gd name="T17" fmla="*/ 31 h 34"/>
                <a:gd name="T18" fmla="*/ 29 w 30"/>
                <a:gd name="T19" fmla="*/ 25 h 34"/>
                <a:gd name="T20" fmla="*/ 24 w 30"/>
                <a:gd name="T21" fmla="*/ 21 h 34"/>
                <a:gd name="T22" fmla="*/ 22 w 30"/>
                <a:gd name="T23" fmla="*/ 17 h 34"/>
                <a:gd name="T24" fmla="*/ 19 w 30"/>
                <a:gd name="T25" fmla="*/ 17 h 34"/>
                <a:gd name="T26" fmla="*/ 19 w 30"/>
                <a:gd name="T27" fmla="*/ 17 h 34"/>
                <a:gd name="T28" fmla="*/ 17 w 30"/>
                <a:gd name="T29" fmla="*/ 15 h 34"/>
                <a:gd name="T30" fmla="*/ 15 w 30"/>
                <a:gd name="T31" fmla="*/ 12 h 34"/>
                <a:gd name="T32" fmla="*/ 12 w 30"/>
                <a:gd name="T33" fmla="*/ 10 h 34"/>
                <a:gd name="T34" fmla="*/ 11 w 30"/>
                <a:gd name="T35" fmla="*/ 7 h 34"/>
                <a:gd name="T36" fmla="*/ 7 w 30"/>
                <a:gd name="T37" fmla="*/ 2 h 34"/>
                <a:gd name="T38" fmla="*/ 0 w 30"/>
                <a:gd name="T39" fmla="*/ 0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34">
                  <a:moveTo>
                    <a:pt x="0" y="0"/>
                  </a:moveTo>
                  <a:cubicBezTo>
                    <a:pt x="0" y="3"/>
                    <a:pt x="0" y="6"/>
                    <a:pt x="1" y="9"/>
                  </a:cubicBezTo>
                  <a:cubicBezTo>
                    <a:pt x="2" y="15"/>
                    <a:pt x="8" y="21"/>
                    <a:pt x="11" y="26"/>
                  </a:cubicBezTo>
                  <a:cubicBezTo>
                    <a:pt x="11" y="26"/>
                    <a:pt x="11" y="26"/>
                    <a:pt x="11" y="26"/>
                  </a:cubicBezTo>
                  <a:cubicBezTo>
                    <a:pt x="10" y="26"/>
                    <a:pt x="11" y="27"/>
                    <a:pt x="12" y="27"/>
                  </a:cubicBezTo>
                  <a:cubicBezTo>
                    <a:pt x="15" y="31"/>
                    <a:pt x="19" y="32"/>
                    <a:pt x="23" y="34"/>
                  </a:cubicBezTo>
                  <a:cubicBezTo>
                    <a:pt x="25" y="32"/>
                    <a:pt x="26" y="32"/>
                    <a:pt x="27" y="31"/>
                  </a:cubicBezTo>
                  <a:cubicBezTo>
                    <a:pt x="27" y="31"/>
                    <a:pt x="28" y="31"/>
                    <a:pt x="29" y="31"/>
                  </a:cubicBezTo>
                  <a:cubicBezTo>
                    <a:pt x="29" y="31"/>
                    <a:pt x="29" y="31"/>
                    <a:pt x="29" y="31"/>
                  </a:cubicBezTo>
                  <a:cubicBezTo>
                    <a:pt x="30" y="30"/>
                    <a:pt x="29" y="26"/>
                    <a:pt x="29" y="25"/>
                  </a:cubicBezTo>
                  <a:cubicBezTo>
                    <a:pt x="28" y="24"/>
                    <a:pt x="26" y="22"/>
                    <a:pt x="24" y="21"/>
                  </a:cubicBezTo>
                  <a:cubicBezTo>
                    <a:pt x="24" y="20"/>
                    <a:pt x="22" y="17"/>
                    <a:pt x="22" y="17"/>
                  </a:cubicBezTo>
                  <a:cubicBezTo>
                    <a:pt x="21" y="17"/>
                    <a:pt x="20" y="17"/>
                    <a:pt x="19" y="17"/>
                  </a:cubicBezTo>
                  <a:cubicBezTo>
                    <a:pt x="19" y="17"/>
                    <a:pt x="19" y="17"/>
                    <a:pt x="19" y="17"/>
                  </a:cubicBezTo>
                  <a:cubicBezTo>
                    <a:pt x="18" y="17"/>
                    <a:pt x="18" y="17"/>
                    <a:pt x="17" y="15"/>
                  </a:cubicBezTo>
                  <a:cubicBezTo>
                    <a:pt x="16" y="14"/>
                    <a:pt x="16" y="13"/>
                    <a:pt x="15" y="12"/>
                  </a:cubicBezTo>
                  <a:cubicBezTo>
                    <a:pt x="15" y="11"/>
                    <a:pt x="13" y="11"/>
                    <a:pt x="12" y="10"/>
                  </a:cubicBezTo>
                  <a:cubicBezTo>
                    <a:pt x="11" y="9"/>
                    <a:pt x="12" y="9"/>
                    <a:pt x="11" y="7"/>
                  </a:cubicBezTo>
                  <a:cubicBezTo>
                    <a:pt x="10" y="5"/>
                    <a:pt x="9" y="3"/>
                    <a:pt x="7" y="2"/>
                  </a:cubicBezTo>
                  <a:cubicBezTo>
                    <a:pt x="4" y="1"/>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1400"/>
            <p:cNvSpPr/>
            <p:nvPr/>
          </p:nvSpPr>
          <p:spPr bwMode="auto">
            <a:xfrm>
              <a:off x="6738524" y="5112962"/>
              <a:ext cx="6712" cy="9396"/>
            </a:xfrm>
            <a:custGeom>
              <a:gdLst>
                <a:gd name="T0" fmla="*/ 0 w 2"/>
                <a:gd name="T1" fmla="*/ 0 h 3"/>
                <a:gd name="T2" fmla="*/ 0 w 2"/>
                <a:gd name="T3" fmla="*/ 3 h 3"/>
                <a:gd name="T4" fmla="*/ 0 w 2"/>
                <a:gd name="T5" fmla="*/ 0 h 3"/>
              </a:gdLst>
              <a:cxnLst>
                <a:cxn ang="0">
                  <a:pos x="T0" y="T1"/>
                </a:cxn>
                <a:cxn ang="0">
                  <a:pos x="T2" y="T3"/>
                </a:cxn>
                <a:cxn ang="0">
                  <a:pos x="T4" y="T5"/>
                </a:cxn>
              </a:cxnLst>
              <a:rect l="0" t="0" r="r" b="b"/>
              <a:pathLst>
                <a:path w="2" h="3">
                  <a:moveTo>
                    <a:pt x="0" y="0"/>
                  </a:moveTo>
                  <a:cubicBezTo>
                    <a:pt x="0" y="1"/>
                    <a:pt x="0" y="2"/>
                    <a:pt x="0" y="3"/>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1401"/>
            <p:cNvSpPr/>
            <p:nvPr/>
          </p:nvSpPr>
          <p:spPr bwMode="auto">
            <a:xfrm>
              <a:off x="6364013" y="5299547"/>
              <a:ext cx="25504" cy="16108"/>
            </a:xfrm>
            <a:custGeom>
              <a:gdLst>
                <a:gd name="T0" fmla="*/ 4 w 8"/>
                <a:gd name="T1" fmla="*/ 0 h 5"/>
                <a:gd name="T2" fmla="*/ 3 w 8"/>
                <a:gd name="T3" fmla="*/ 0 h 5"/>
                <a:gd name="T4" fmla="*/ 5 w 8"/>
                <a:gd name="T5" fmla="*/ 5 h 5"/>
                <a:gd name="T6" fmla="*/ 6 w 8"/>
                <a:gd name="T7" fmla="*/ 0 h 5"/>
                <a:gd name="T8" fmla="*/ 4 w 8"/>
                <a:gd name="T9" fmla="*/ 0 h 5"/>
              </a:gdLst>
              <a:cxnLst>
                <a:cxn ang="0">
                  <a:pos x="T0" y="T1"/>
                </a:cxn>
                <a:cxn ang="0">
                  <a:pos x="T2" y="T3"/>
                </a:cxn>
                <a:cxn ang="0">
                  <a:pos x="T4" y="T5"/>
                </a:cxn>
                <a:cxn ang="0">
                  <a:pos x="T6" y="T7"/>
                </a:cxn>
                <a:cxn ang="0">
                  <a:pos x="T8" y="T9"/>
                </a:cxn>
              </a:cxnLst>
              <a:rect l="0" t="0" r="r" b="b"/>
              <a:pathLst>
                <a:path w="8" h="5">
                  <a:moveTo>
                    <a:pt x="4" y="0"/>
                  </a:moveTo>
                  <a:cubicBezTo>
                    <a:pt x="4" y="0"/>
                    <a:pt x="4" y="0"/>
                    <a:pt x="3" y="0"/>
                  </a:cubicBezTo>
                  <a:cubicBezTo>
                    <a:pt x="0" y="1"/>
                    <a:pt x="4" y="5"/>
                    <a:pt x="5" y="5"/>
                  </a:cubicBezTo>
                  <a:cubicBezTo>
                    <a:pt x="8" y="5"/>
                    <a:pt x="8" y="2"/>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1402"/>
            <p:cNvSpPr/>
            <p:nvPr/>
          </p:nvSpPr>
          <p:spPr bwMode="auto">
            <a:xfrm>
              <a:off x="6428445" y="5080746"/>
              <a:ext cx="5369" cy="4027"/>
            </a:xfrm>
            <a:custGeom>
              <a:gdLst>
                <a:gd name="T0" fmla="*/ 2 w 2"/>
                <a:gd name="T1" fmla="*/ 0 h 1"/>
                <a:gd name="T2" fmla="*/ 0 w 2"/>
                <a:gd name="T3" fmla="*/ 1 h 1"/>
                <a:gd name="T4" fmla="*/ 2 w 2"/>
                <a:gd name="T5" fmla="*/ 0 h 1"/>
              </a:gdLst>
              <a:cxnLst>
                <a:cxn ang="0">
                  <a:pos x="T0" y="T1"/>
                </a:cxn>
                <a:cxn ang="0">
                  <a:pos x="T2" y="T3"/>
                </a:cxn>
                <a:cxn ang="0">
                  <a:pos x="T4" y="T5"/>
                </a:cxn>
              </a:cxnLst>
              <a:rect l="0" t="0" r="r" b="b"/>
              <a:pathLst>
                <a:path w="2" h="1">
                  <a:moveTo>
                    <a:pt x="2" y="0"/>
                  </a:moveTo>
                  <a:cubicBezTo>
                    <a:pt x="1" y="0"/>
                    <a:pt x="0" y="1"/>
                    <a:pt x="0" y="1"/>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1403"/>
            <p:cNvSpPr/>
            <p:nvPr/>
          </p:nvSpPr>
          <p:spPr bwMode="auto">
            <a:xfrm>
              <a:off x="6780137" y="5138466"/>
              <a:ext cx="12081" cy="12081"/>
            </a:xfrm>
            <a:custGeom>
              <a:gdLst>
                <a:gd name="T0" fmla="*/ 4 w 4"/>
                <a:gd name="T1" fmla="*/ 0 h 4"/>
                <a:gd name="T2" fmla="*/ 3 w 4"/>
                <a:gd name="T3" fmla="*/ 4 h 4"/>
                <a:gd name="T4" fmla="*/ 4 w 4"/>
                <a:gd name="T5" fmla="*/ 0 h 4"/>
              </a:gdLst>
              <a:cxnLst>
                <a:cxn ang="0">
                  <a:pos x="T0" y="T1"/>
                </a:cxn>
                <a:cxn ang="0">
                  <a:pos x="T2" y="T3"/>
                </a:cxn>
                <a:cxn ang="0">
                  <a:pos x="T4" y="T5"/>
                </a:cxn>
              </a:cxnLst>
              <a:rect l="0" t="0" r="r" b="b"/>
              <a:pathLst>
                <a:path w="4" h="4">
                  <a:moveTo>
                    <a:pt x="4" y="0"/>
                  </a:moveTo>
                  <a:cubicBezTo>
                    <a:pt x="0" y="0"/>
                    <a:pt x="2" y="3"/>
                    <a:pt x="3" y="4"/>
                  </a:cubicBezTo>
                  <a:cubicBezTo>
                    <a:pt x="4"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1404"/>
            <p:cNvSpPr/>
            <p:nvPr/>
          </p:nvSpPr>
          <p:spPr bwMode="auto">
            <a:xfrm>
              <a:off x="6291527" y="5249880"/>
              <a:ext cx="12081" cy="14766"/>
            </a:xfrm>
            <a:custGeom>
              <a:gdLst>
                <a:gd name="T0" fmla="*/ 1 w 4"/>
                <a:gd name="T1" fmla="*/ 0 h 5"/>
                <a:gd name="T2" fmla="*/ 0 w 4"/>
                <a:gd name="T3" fmla="*/ 5 h 5"/>
                <a:gd name="T4" fmla="*/ 1 w 4"/>
                <a:gd name="T5" fmla="*/ 0 h 5"/>
              </a:gdLst>
              <a:cxnLst>
                <a:cxn ang="0">
                  <a:pos x="T0" y="T1"/>
                </a:cxn>
                <a:cxn ang="0">
                  <a:pos x="T2" y="T3"/>
                </a:cxn>
                <a:cxn ang="0">
                  <a:pos x="T4" y="T5"/>
                </a:cxn>
              </a:cxnLst>
              <a:rect l="0" t="0" r="r" b="b"/>
              <a:pathLst>
                <a:path w="4" h="5">
                  <a:moveTo>
                    <a:pt x="1" y="0"/>
                  </a:moveTo>
                  <a:cubicBezTo>
                    <a:pt x="0" y="1"/>
                    <a:pt x="0" y="3"/>
                    <a:pt x="0" y="5"/>
                  </a:cubicBezTo>
                  <a:cubicBezTo>
                    <a:pt x="3" y="4"/>
                    <a:pt x="4"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Freeform 1405"/>
            <p:cNvSpPr/>
            <p:nvPr/>
          </p:nvSpPr>
          <p:spPr bwMode="auto">
            <a:xfrm>
              <a:off x="6561336" y="5010944"/>
              <a:ext cx="16108" cy="18793"/>
            </a:xfrm>
            <a:custGeom>
              <a:gdLst>
                <a:gd name="T0" fmla="*/ 0 w 5"/>
                <a:gd name="T1" fmla="*/ 0 h 6"/>
                <a:gd name="T2" fmla="*/ 4 w 5"/>
                <a:gd name="T3" fmla="*/ 6 h 6"/>
                <a:gd name="T4" fmla="*/ 0 w 5"/>
                <a:gd name="T5" fmla="*/ 0 h 6"/>
              </a:gdLst>
              <a:cxnLst>
                <a:cxn ang="0">
                  <a:pos x="T0" y="T1"/>
                </a:cxn>
                <a:cxn ang="0">
                  <a:pos x="T2" y="T3"/>
                </a:cxn>
                <a:cxn ang="0">
                  <a:pos x="T4" y="T5"/>
                </a:cxn>
              </a:cxnLst>
              <a:rect l="0" t="0" r="r" b="b"/>
              <a:pathLst>
                <a:path w="5" h="6">
                  <a:moveTo>
                    <a:pt x="0" y="0"/>
                  </a:moveTo>
                  <a:cubicBezTo>
                    <a:pt x="1" y="2"/>
                    <a:pt x="3" y="4"/>
                    <a:pt x="4" y="6"/>
                  </a:cubicBezTo>
                  <a:cubicBezTo>
                    <a:pt x="5"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1406"/>
            <p:cNvSpPr/>
            <p:nvPr/>
          </p:nvSpPr>
          <p:spPr bwMode="auto">
            <a:xfrm>
              <a:off x="6094203" y="5534456"/>
              <a:ext cx="22820" cy="9396"/>
            </a:xfrm>
            <a:custGeom>
              <a:gdLst>
                <a:gd name="T0" fmla="*/ 3 w 7"/>
                <a:gd name="T1" fmla="*/ 0 h 3"/>
                <a:gd name="T2" fmla="*/ 0 w 7"/>
                <a:gd name="T3" fmla="*/ 0 h 3"/>
                <a:gd name="T4" fmla="*/ 6 w 7"/>
                <a:gd name="T5" fmla="*/ 3 h 3"/>
                <a:gd name="T6" fmla="*/ 3 w 7"/>
                <a:gd name="T7" fmla="*/ 0 h 3"/>
              </a:gdLst>
              <a:cxnLst>
                <a:cxn ang="0">
                  <a:pos x="T0" y="T1"/>
                </a:cxn>
                <a:cxn ang="0">
                  <a:pos x="T2" y="T3"/>
                </a:cxn>
                <a:cxn ang="0">
                  <a:pos x="T4" y="T5"/>
                </a:cxn>
                <a:cxn ang="0">
                  <a:pos x="T6" y="T7"/>
                </a:cxn>
              </a:cxnLst>
              <a:rect l="0" t="0" r="r" b="b"/>
              <a:pathLst>
                <a:path w="7" h="3">
                  <a:moveTo>
                    <a:pt x="3" y="0"/>
                  </a:moveTo>
                  <a:cubicBezTo>
                    <a:pt x="2" y="0"/>
                    <a:pt x="1" y="0"/>
                    <a:pt x="0" y="0"/>
                  </a:cubicBezTo>
                  <a:cubicBezTo>
                    <a:pt x="2" y="2"/>
                    <a:pt x="4" y="2"/>
                    <a:pt x="6" y="3"/>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Freeform 1407"/>
            <p:cNvSpPr/>
            <p:nvPr/>
          </p:nvSpPr>
          <p:spPr bwMode="auto">
            <a:xfrm>
              <a:off x="6431130" y="5319682"/>
              <a:ext cx="28189" cy="28189"/>
            </a:xfrm>
            <a:custGeom>
              <a:gdLst>
                <a:gd name="T0" fmla="*/ 0 w 9"/>
                <a:gd name="T1" fmla="*/ 0 h 9"/>
                <a:gd name="T2" fmla="*/ 0 w 9"/>
                <a:gd name="T3" fmla="*/ 0 h 9"/>
                <a:gd name="T4" fmla="*/ 4 w 9"/>
                <a:gd name="T5" fmla="*/ 9 h 9"/>
                <a:gd name="T6" fmla="*/ 0 w 9"/>
                <a:gd name="T7" fmla="*/ 0 h 9"/>
              </a:gdLst>
              <a:cxnLst>
                <a:cxn ang="0">
                  <a:pos x="T0" y="T1"/>
                </a:cxn>
                <a:cxn ang="0">
                  <a:pos x="T2" y="T3"/>
                </a:cxn>
                <a:cxn ang="0">
                  <a:pos x="T4" y="T5"/>
                </a:cxn>
                <a:cxn ang="0">
                  <a:pos x="T6" y="T7"/>
                </a:cxn>
              </a:cxnLst>
              <a:rect l="0" t="0" r="r" b="b"/>
              <a:pathLst>
                <a:path w="9" h="9">
                  <a:moveTo>
                    <a:pt x="0" y="0"/>
                  </a:moveTo>
                  <a:cubicBezTo>
                    <a:pt x="0" y="0"/>
                    <a:pt x="0" y="0"/>
                    <a:pt x="0" y="0"/>
                  </a:cubicBezTo>
                  <a:cubicBezTo>
                    <a:pt x="0" y="3"/>
                    <a:pt x="2" y="6"/>
                    <a:pt x="4" y="9"/>
                  </a:cubicBezTo>
                  <a:cubicBezTo>
                    <a:pt x="9" y="5"/>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1408"/>
            <p:cNvSpPr/>
            <p:nvPr/>
          </p:nvSpPr>
          <p:spPr bwMode="auto">
            <a:xfrm>
              <a:off x="6780137" y="5578753"/>
              <a:ext cx="41612" cy="22820"/>
            </a:xfrm>
            <a:custGeom>
              <a:gdLst>
                <a:gd name="T0" fmla="*/ 4 w 13"/>
                <a:gd name="T1" fmla="*/ 0 h 7"/>
                <a:gd name="T2" fmla="*/ 0 w 13"/>
                <a:gd name="T3" fmla="*/ 2 h 7"/>
                <a:gd name="T4" fmla="*/ 8 w 13"/>
                <a:gd name="T5" fmla="*/ 7 h 7"/>
                <a:gd name="T6" fmla="*/ 10 w 13"/>
                <a:gd name="T7" fmla="*/ 6 h 7"/>
                <a:gd name="T8" fmla="*/ 11 w 13"/>
                <a:gd name="T9" fmla="*/ 7 h 7"/>
                <a:gd name="T10" fmla="*/ 11 w 13"/>
                <a:gd name="T11" fmla="*/ 5 h 7"/>
                <a:gd name="T12" fmla="*/ 12 w 13"/>
                <a:gd name="T13" fmla="*/ 5 h 7"/>
                <a:gd name="T14" fmla="*/ 10 w 13"/>
                <a:gd name="T15" fmla="*/ 2 h 7"/>
                <a:gd name="T16" fmla="*/ 8 w 13"/>
                <a:gd name="T17" fmla="*/ 1 h 7"/>
                <a:gd name="T18" fmla="*/ 4 w 13"/>
                <a:gd name="T1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7">
                  <a:moveTo>
                    <a:pt x="4" y="0"/>
                  </a:moveTo>
                  <a:cubicBezTo>
                    <a:pt x="3" y="0"/>
                    <a:pt x="1" y="1"/>
                    <a:pt x="0" y="2"/>
                  </a:cubicBezTo>
                  <a:cubicBezTo>
                    <a:pt x="3" y="4"/>
                    <a:pt x="5" y="5"/>
                    <a:pt x="8" y="7"/>
                  </a:cubicBezTo>
                  <a:cubicBezTo>
                    <a:pt x="9" y="7"/>
                    <a:pt x="9" y="6"/>
                    <a:pt x="10" y="6"/>
                  </a:cubicBezTo>
                  <a:cubicBezTo>
                    <a:pt x="10" y="6"/>
                    <a:pt x="11" y="6"/>
                    <a:pt x="11" y="7"/>
                  </a:cubicBezTo>
                  <a:cubicBezTo>
                    <a:pt x="11" y="6"/>
                    <a:pt x="11" y="5"/>
                    <a:pt x="11" y="5"/>
                  </a:cubicBezTo>
                  <a:cubicBezTo>
                    <a:pt x="11" y="5"/>
                    <a:pt x="12" y="5"/>
                    <a:pt x="12" y="5"/>
                  </a:cubicBezTo>
                  <a:cubicBezTo>
                    <a:pt x="13" y="5"/>
                    <a:pt x="11" y="3"/>
                    <a:pt x="10" y="2"/>
                  </a:cubicBezTo>
                  <a:cubicBezTo>
                    <a:pt x="8" y="1"/>
                    <a:pt x="8" y="1"/>
                    <a:pt x="8" y="1"/>
                  </a:cubicBezTo>
                  <a:cubicBezTo>
                    <a:pt x="7"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5" name="Freeform 1409"/>
            <p:cNvSpPr/>
            <p:nvPr/>
          </p:nvSpPr>
          <p:spPr bwMode="auto">
            <a:xfrm>
              <a:off x="6326427" y="5055241"/>
              <a:ext cx="72486" cy="22820"/>
            </a:xfrm>
            <a:custGeom>
              <a:gdLst>
                <a:gd name="T0" fmla="*/ 14 w 23"/>
                <a:gd name="T1" fmla="*/ 0 h 7"/>
                <a:gd name="T2" fmla="*/ 9 w 23"/>
                <a:gd name="T3" fmla="*/ 1 h 7"/>
                <a:gd name="T4" fmla="*/ 8 w 23"/>
                <a:gd name="T5" fmla="*/ 1 h 7"/>
                <a:gd name="T6" fmla="*/ 7 w 23"/>
                <a:gd name="T7" fmla="*/ 1 h 7"/>
                <a:gd name="T8" fmla="*/ 6 w 23"/>
                <a:gd name="T9" fmla="*/ 0 h 7"/>
                <a:gd name="T10" fmla="*/ 4 w 23"/>
                <a:gd name="T11" fmla="*/ 2 h 7"/>
                <a:gd name="T12" fmla="*/ 5 w 23"/>
                <a:gd name="T13" fmla="*/ 3 h 7"/>
                <a:gd name="T14" fmla="*/ 4 w 23"/>
                <a:gd name="T15" fmla="*/ 7 h 7"/>
                <a:gd name="T16" fmla="*/ 9 w 23"/>
                <a:gd name="T17" fmla="*/ 4 h 7"/>
                <a:gd name="T18" fmla="*/ 15 w 23"/>
                <a:gd name="T19" fmla="*/ 5 h 7"/>
                <a:gd name="T20" fmla="*/ 17 w 23"/>
                <a:gd name="T21" fmla="*/ 5 h 7"/>
                <a:gd name="T22" fmla="*/ 23 w 23"/>
                <a:gd name="T23" fmla="*/ 2 h 7"/>
                <a:gd name="T24" fmla="*/ 18 w 23"/>
                <a:gd name="T25" fmla="*/ 1 h 7"/>
                <a:gd name="T26" fmla="*/ 17 w 23"/>
                <a:gd name="T27" fmla="*/ 1 h 7"/>
                <a:gd name="T28" fmla="*/ 14 w 23"/>
                <a:gd name="T2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7">
                  <a:moveTo>
                    <a:pt x="14" y="0"/>
                  </a:moveTo>
                  <a:cubicBezTo>
                    <a:pt x="12" y="0"/>
                    <a:pt x="10" y="1"/>
                    <a:pt x="9" y="1"/>
                  </a:cubicBezTo>
                  <a:cubicBezTo>
                    <a:pt x="9" y="1"/>
                    <a:pt x="9" y="1"/>
                    <a:pt x="8" y="1"/>
                  </a:cubicBezTo>
                  <a:cubicBezTo>
                    <a:pt x="8" y="1"/>
                    <a:pt x="8" y="1"/>
                    <a:pt x="7" y="1"/>
                  </a:cubicBezTo>
                  <a:cubicBezTo>
                    <a:pt x="7" y="1"/>
                    <a:pt x="7" y="0"/>
                    <a:pt x="6" y="0"/>
                  </a:cubicBezTo>
                  <a:cubicBezTo>
                    <a:pt x="5" y="0"/>
                    <a:pt x="4" y="1"/>
                    <a:pt x="4" y="2"/>
                  </a:cubicBezTo>
                  <a:cubicBezTo>
                    <a:pt x="3" y="2"/>
                    <a:pt x="5" y="3"/>
                    <a:pt x="5" y="3"/>
                  </a:cubicBezTo>
                  <a:cubicBezTo>
                    <a:pt x="4" y="5"/>
                    <a:pt x="0" y="4"/>
                    <a:pt x="4" y="7"/>
                  </a:cubicBezTo>
                  <a:cubicBezTo>
                    <a:pt x="6" y="5"/>
                    <a:pt x="7" y="4"/>
                    <a:pt x="9" y="4"/>
                  </a:cubicBezTo>
                  <a:cubicBezTo>
                    <a:pt x="11" y="4"/>
                    <a:pt x="12" y="5"/>
                    <a:pt x="15" y="5"/>
                  </a:cubicBezTo>
                  <a:cubicBezTo>
                    <a:pt x="16" y="5"/>
                    <a:pt x="16" y="5"/>
                    <a:pt x="17" y="5"/>
                  </a:cubicBezTo>
                  <a:cubicBezTo>
                    <a:pt x="20" y="5"/>
                    <a:pt x="21" y="4"/>
                    <a:pt x="23" y="2"/>
                  </a:cubicBezTo>
                  <a:cubicBezTo>
                    <a:pt x="22" y="2"/>
                    <a:pt x="20" y="1"/>
                    <a:pt x="18" y="1"/>
                  </a:cubicBezTo>
                  <a:cubicBezTo>
                    <a:pt x="18" y="1"/>
                    <a:pt x="18" y="1"/>
                    <a:pt x="17" y="1"/>
                  </a:cubicBezTo>
                  <a:cubicBezTo>
                    <a:pt x="16"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1410"/>
            <p:cNvSpPr/>
            <p:nvPr/>
          </p:nvSpPr>
          <p:spPr bwMode="auto">
            <a:xfrm>
              <a:off x="6589525" y="5087458"/>
              <a:ext cx="41612" cy="22820"/>
            </a:xfrm>
            <a:custGeom>
              <a:gdLst>
                <a:gd name="T0" fmla="*/ 5 w 13"/>
                <a:gd name="T1" fmla="*/ 0 h 7"/>
                <a:gd name="T2" fmla="*/ 3 w 13"/>
                <a:gd name="T3" fmla="*/ 1 h 7"/>
                <a:gd name="T4" fmla="*/ 1 w 13"/>
                <a:gd name="T5" fmla="*/ 2 h 7"/>
                <a:gd name="T6" fmla="*/ 0 w 13"/>
                <a:gd name="T7" fmla="*/ 2 h 7"/>
                <a:gd name="T8" fmla="*/ 10 w 13"/>
                <a:gd name="T9" fmla="*/ 7 h 7"/>
                <a:gd name="T10" fmla="*/ 12 w 13"/>
                <a:gd name="T11" fmla="*/ 3 h 7"/>
                <a:gd name="T12" fmla="*/ 8 w 13"/>
                <a:gd name="T13" fmla="*/ 1 h 7"/>
                <a:gd name="T14" fmla="*/ 5 w 13"/>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5" y="0"/>
                  </a:moveTo>
                  <a:cubicBezTo>
                    <a:pt x="5" y="0"/>
                    <a:pt x="4" y="0"/>
                    <a:pt x="3" y="1"/>
                  </a:cubicBezTo>
                  <a:cubicBezTo>
                    <a:pt x="2" y="1"/>
                    <a:pt x="1" y="2"/>
                    <a:pt x="1" y="2"/>
                  </a:cubicBezTo>
                  <a:cubicBezTo>
                    <a:pt x="1" y="2"/>
                    <a:pt x="0" y="2"/>
                    <a:pt x="0" y="2"/>
                  </a:cubicBezTo>
                  <a:cubicBezTo>
                    <a:pt x="3" y="4"/>
                    <a:pt x="7" y="6"/>
                    <a:pt x="10" y="7"/>
                  </a:cubicBezTo>
                  <a:cubicBezTo>
                    <a:pt x="12" y="7"/>
                    <a:pt x="13" y="4"/>
                    <a:pt x="12" y="3"/>
                  </a:cubicBezTo>
                  <a:cubicBezTo>
                    <a:pt x="11" y="2"/>
                    <a:pt x="9" y="1"/>
                    <a:pt x="8"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7" name="Freeform 1411"/>
            <p:cNvSpPr/>
            <p:nvPr/>
          </p:nvSpPr>
          <p:spPr bwMode="auto">
            <a:xfrm>
              <a:off x="6652615" y="5131755"/>
              <a:ext cx="10739" cy="0"/>
            </a:xfrm>
            <a:custGeom>
              <a:gdLst>
                <a:gd name="T0" fmla="*/ 2 w 3"/>
                <a:gd name="T1" fmla="*/ 0 w 3"/>
                <a:gd name="T2" fmla="*/ 3 w 3"/>
                <a:gd name="T3" fmla="*/ 2 w 3"/>
              </a:gdLst>
              <a:cxnLst>
                <a:cxn ang="0">
                  <a:pos x="T0" y="0"/>
                </a:cxn>
                <a:cxn ang="0">
                  <a:pos x="T1" y="0"/>
                </a:cxn>
                <a:cxn ang="0">
                  <a:pos x="T2" y="0"/>
                </a:cxn>
                <a:cxn ang="0">
                  <a:pos x="T3" y="0"/>
                </a:cxn>
              </a:cxnLst>
              <a:rect l="0" t="0" r="r" b="b"/>
              <a:pathLst>
                <a:path w="3">
                  <a:moveTo>
                    <a:pt x="2" y="0"/>
                  </a:moveTo>
                  <a:cubicBezTo>
                    <a:pt x="1" y="0"/>
                    <a:pt x="0" y="0"/>
                    <a:pt x="0" y="0"/>
                  </a:cubicBezTo>
                  <a:cubicBezTo>
                    <a:pt x="1" y="0"/>
                    <a:pt x="2"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Freeform 1412"/>
            <p:cNvSpPr/>
            <p:nvPr/>
          </p:nvSpPr>
          <p:spPr bwMode="auto">
            <a:xfrm>
              <a:off x="6666038" y="5131755"/>
              <a:ext cx="2685" cy="0"/>
            </a:xfrm>
            <a:custGeom>
              <a:gdLst>
                <a:gd name="T0" fmla="*/ 0 w 1"/>
                <a:gd name="T1" fmla="*/ 1 w 1"/>
                <a:gd name="T2" fmla="*/ 1 w 1"/>
                <a:gd name="T3" fmla="*/ 0 w 1"/>
              </a:gd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9" name="Freeform 1413"/>
            <p:cNvSpPr/>
            <p:nvPr/>
          </p:nvSpPr>
          <p:spPr bwMode="auto">
            <a:xfrm>
              <a:off x="6649930" y="5636473"/>
              <a:ext cx="44297" cy="37585"/>
            </a:xfrm>
            <a:custGeom>
              <a:gdLst>
                <a:gd name="T0" fmla="*/ 0 w 14"/>
                <a:gd name="T1" fmla="*/ 0 h 12"/>
                <a:gd name="T2" fmla="*/ 5 w 14"/>
                <a:gd name="T3" fmla="*/ 9 h 12"/>
                <a:gd name="T4" fmla="*/ 11 w 14"/>
                <a:gd name="T5" fmla="*/ 12 h 12"/>
                <a:gd name="T6" fmla="*/ 13 w 14"/>
                <a:gd name="T7" fmla="*/ 5 h 12"/>
                <a:gd name="T8" fmla="*/ 12 w 14"/>
                <a:gd name="T9" fmla="*/ 5 h 12"/>
                <a:gd name="T10" fmla="*/ 10 w 14"/>
                <a:gd name="T11" fmla="*/ 7 h 12"/>
                <a:gd name="T12" fmla="*/ 8 w 14"/>
                <a:gd name="T13" fmla="*/ 8 h 12"/>
                <a:gd name="T14" fmla="*/ 8 w 14"/>
                <a:gd name="T15" fmla="*/ 8 h 12"/>
                <a:gd name="T16" fmla="*/ 7 w 14"/>
                <a:gd name="T17" fmla="*/ 7 h 12"/>
                <a:gd name="T18" fmla="*/ 5 w 14"/>
                <a:gd name="T19" fmla="*/ 5 h 12"/>
                <a:gd name="T20" fmla="*/ 4 w 14"/>
                <a:gd name="T21" fmla="*/ 3 h 12"/>
                <a:gd name="T22" fmla="*/ 0 w 14"/>
                <a:gd name="T2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0" y="0"/>
                  </a:moveTo>
                  <a:cubicBezTo>
                    <a:pt x="2" y="3"/>
                    <a:pt x="3" y="6"/>
                    <a:pt x="5" y="9"/>
                  </a:cubicBezTo>
                  <a:cubicBezTo>
                    <a:pt x="6" y="10"/>
                    <a:pt x="9" y="11"/>
                    <a:pt x="11" y="12"/>
                  </a:cubicBezTo>
                  <a:cubicBezTo>
                    <a:pt x="11" y="11"/>
                    <a:pt x="14" y="6"/>
                    <a:pt x="13" y="5"/>
                  </a:cubicBezTo>
                  <a:cubicBezTo>
                    <a:pt x="12" y="5"/>
                    <a:pt x="12" y="5"/>
                    <a:pt x="12" y="5"/>
                  </a:cubicBezTo>
                  <a:cubicBezTo>
                    <a:pt x="11" y="5"/>
                    <a:pt x="10" y="6"/>
                    <a:pt x="10" y="7"/>
                  </a:cubicBezTo>
                  <a:cubicBezTo>
                    <a:pt x="9" y="7"/>
                    <a:pt x="8" y="8"/>
                    <a:pt x="8" y="8"/>
                  </a:cubicBezTo>
                  <a:cubicBezTo>
                    <a:pt x="8" y="8"/>
                    <a:pt x="8" y="8"/>
                    <a:pt x="8" y="8"/>
                  </a:cubicBezTo>
                  <a:cubicBezTo>
                    <a:pt x="7" y="8"/>
                    <a:pt x="7" y="7"/>
                    <a:pt x="7" y="7"/>
                  </a:cubicBezTo>
                  <a:cubicBezTo>
                    <a:pt x="5" y="5"/>
                    <a:pt x="5" y="5"/>
                    <a:pt x="5" y="5"/>
                  </a:cubicBezTo>
                  <a:cubicBezTo>
                    <a:pt x="5" y="4"/>
                    <a:pt x="4" y="4"/>
                    <a:pt x="4"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Freeform 1414"/>
            <p:cNvSpPr/>
            <p:nvPr/>
          </p:nvSpPr>
          <p:spPr bwMode="auto">
            <a:xfrm>
              <a:off x="6663354" y="5703590"/>
              <a:ext cx="12081" cy="5369"/>
            </a:xfrm>
            <a:custGeom>
              <a:gdLst>
                <a:gd name="T0" fmla="*/ 3 w 4"/>
                <a:gd name="T1" fmla="*/ 0 h 2"/>
                <a:gd name="T2" fmla="*/ 0 w 4"/>
                <a:gd name="T3" fmla="*/ 2 h 2"/>
                <a:gd name="T4" fmla="*/ 1 w 4"/>
                <a:gd name="T5" fmla="*/ 2 h 2"/>
                <a:gd name="T6" fmla="*/ 3 w 4"/>
                <a:gd name="T7" fmla="*/ 0 h 2"/>
              </a:gdLst>
              <a:cxnLst>
                <a:cxn ang="0">
                  <a:pos x="T0" y="T1"/>
                </a:cxn>
                <a:cxn ang="0">
                  <a:pos x="T2" y="T3"/>
                </a:cxn>
                <a:cxn ang="0">
                  <a:pos x="T4" y="T5"/>
                </a:cxn>
                <a:cxn ang="0">
                  <a:pos x="T6" y="T7"/>
                </a:cxn>
              </a:cxnLst>
              <a:rect l="0" t="0" r="r" b="b"/>
              <a:pathLst>
                <a:path w="4" h="2">
                  <a:moveTo>
                    <a:pt x="3" y="0"/>
                  </a:moveTo>
                  <a:cubicBezTo>
                    <a:pt x="2" y="1"/>
                    <a:pt x="1" y="2"/>
                    <a:pt x="0" y="2"/>
                  </a:cubicBezTo>
                  <a:cubicBezTo>
                    <a:pt x="0" y="2"/>
                    <a:pt x="1" y="2"/>
                    <a:pt x="1" y="2"/>
                  </a:cubicBezTo>
                  <a:cubicBezTo>
                    <a:pt x="2" y="2"/>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Freeform 1415"/>
            <p:cNvSpPr/>
            <p:nvPr/>
          </p:nvSpPr>
          <p:spPr bwMode="auto">
            <a:xfrm>
              <a:off x="3448460" y="3288726"/>
              <a:ext cx="9396" cy="2685"/>
            </a:xfrm>
            <a:custGeom>
              <a:gdLst>
                <a:gd name="T0" fmla="*/ 3 w 3"/>
                <a:gd name="T1" fmla="*/ 0 h 1"/>
                <a:gd name="T2" fmla="*/ 0 w 3"/>
                <a:gd name="T3" fmla="*/ 1 h 1"/>
                <a:gd name="T4" fmla="*/ 0 w 3"/>
                <a:gd name="T5" fmla="*/ 1 h 1"/>
                <a:gd name="T6" fmla="*/ 3 w 3"/>
                <a:gd name="T7" fmla="*/ 0 h 1"/>
              </a:gdLst>
              <a:cxnLst>
                <a:cxn ang="0">
                  <a:pos x="T0" y="T1"/>
                </a:cxn>
                <a:cxn ang="0">
                  <a:pos x="T2" y="T3"/>
                </a:cxn>
                <a:cxn ang="0">
                  <a:pos x="T4" y="T5"/>
                </a:cxn>
                <a:cxn ang="0">
                  <a:pos x="T6" y="T7"/>
                </a:cxn>
              </a:cxnLst>
              <a:rect l="0" t="0" r="r" b="b"/>
              <a:pathLst>
                <a:path w="3" h="1">
                  <a:moveTo>
                    <a:pt x="3" y="0"/>
                  </a:moveTo>
                  <a:cubicBezTo>
                    <a:pt x="2" y="0"/>
                    <a:pt x="1" y="1"/>
                    <a:pt x="0" y="1"/>
                  </a:cubicBezTo>
                  <a:cubicBezTo>
                    <a:pt x="0" y="1"/>
                    <a:pt x="0" y="1"/>
                    <a:pt x="0" y="1"/>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2" name="Freeform 1416"/>
            <p:cNvSpPr/>
            <p:nvPr/>
          </p:nvSpPr>
          <p:spPr bwMode="auto">
            <a:xfrm>
              <a:off x="3147777" y="4129029"/>
              <a:ext cx="21477" cy="28189"/>
            </a:xfrm>
            <a:custGeom>
              <a:gdLst>
                <a:gd name="T0" fmla="*/ 4 w 7"/>
                <a:gd name="T1" fmla="*/ 0 h 9"/>
                <a:gd name="T2" fmla="*/ 3 w 7"/>
                <a:gd name="T3" fmla="*/ 1 h 9"/>
                <a:gd name="T4" fmla="*/ 1 w 7"/>
                <a:gd name="T5" fmla="*/ 1 h 9"/>
                <a:gd name="T6" fmla="*/ 0 w 7"/>
                <a:gd name="T7" fmla="*/ 1 h 9"/>
                <a:gd name="T8" fmla="*/ 4 w 7"/>
                <a:gd name="T9" fmla="*/ 9 h 9"/>
                <a:gd name="T10" fmla="*/ 6 w 7"/>
                <a:gd name="T11" fmla="*/ 2 h 9"/>
                <a:gd name="T12" fmla="*/ 4 w 7"/>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7" h="9">
                  <a:moveTo>
                    <a:pt x="4" y="0"/>
                  </a:moveTo>
                  <a:cubicBezTo>
                    <a:pt x="4" y="0"/>
                    <a:pt x="3" y="0"/>
                    <a:pt x="3" y="1"/>
                  </a:cubicBezTo>
                  <a:cubicBezTo>
                    <a:pt x="2" y="1"/>
                    <a:pt x="1" y="1"/>
                    <a:pt x="1" y="1"/>
                  </a:cubicBezTo>
                  <a:cubicBezTo>
                    <a:pt x="1" y="1"/>
                    <a:pt x="0" y="1"/>
                    <a:pt x="0" y="1"/>
                  </a:cubicBezTo>
                  <a:cubicBezTo>
                    <a:pt x="1" y="4"/>
                    <a:pt x="3" y="6"/>
                    <a:pt x="4" y="9"/>
                  </a:cubicBezTo>
                  <a:cubicBezTo>
                    <a:pt x="5" y="7"/>
                    <a:pt x="7" y="4"/>
                    <a:pt x="6" y="2"/>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3" name="Freeform 1417"/>
            <p:cNvSpPr>
              <a:spLocks noEditPoints="1"/>
            </p:cNvSpPr>
            <p:nvPr/>
          </p:nvSpPr>
          <p:spPr bwMode="auto">
            <a:xfrm>
              <a:off x="3261875" y="4122317"/>
              <a:ext cx="110072" cy="69802"/>
            </a:xfrm>
            <a:custGeom>
              <a:gdLst>
                <a:gd name="T0" fmla="*/ 0 w 35"/>
                <a:gd name="T1" fmla="*/ 0 h 22"/>
                <a:gd name="T2" fmla="*/ 3 w 35"/>
                <a:gd name="T3" fmla="*/ 4 h 22"/>
                <a:gd name="T4" fmla="*/ 7 w 35"/>
                <a:gd name="T5" fmla="*/ 7 h 22"/>
                <a:gd name="T6" fmla="*/ 7 w 35"/>
                <a:gd name="T7" fmla="*/ 7 h 22"/>
                <a:gd name="T8" fmla="*/ 11 w 35"/>
                <a:gd name="T9" fmla="*/ 11 h 22"/>
                <a:gd name="T10" fmla="*/ 11 w 35"/>
                <a:gd name="T11" fmla="*/ 11 h 22"/>
                <a:gd name="T12" fmla="*/ 19 w 35"/>
                <a:gd name="T13" fmla="*/ 18 h 22"/>
                <a:gd name="T14" fmla="*/ 27 w 35"/>
                <a:gd name="T15" fmla="*/ 22 h 22"/>
                <a:gd name="T16" fmla="*/ 28 w 35"/>
                <a:gd name="T17" fmla="*/ 22 h 22"/>
                <a:gd name="T18" fmla="*/ 0 w 35"/>
                <a:gd name="T19" fmla="*/ 0 h 22"/>
                <a:gd name="T20" fmla="*/ 0 w 35"/>
                <a:gd name="T21" fmla="*/ 0 h 22"/>
                <a:gd name="T22" fmla="*/ 0 w 35"/>
                <a:gd name="T23" fmla="*/ 0 h 22"/>
                <a:gd name="T24" fmla="*/ 0 w 35"/>
                <a:gd name="T25" fmla="*/ 0 h 22"/>
                <a:gd name="T26" fmla="*/ 0 w 35"/>
                <a:gd name="T27"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22">
                  <a:moveTo>
                    <a:pt x="0" y="0"/>
                  </a:moveTo>
                  <a:cubicBezTo>
                    <a:pt x="0" y="1"/>
                    <a:pt x="2" y="2"/>
                    <a:pt x="3" y="4"/>
                  </a:cubicBezTo>
                  <a:cubicBezTo>
                    <a:pt x="4" y="5"/>
                    <a:pt x="6" y="6"/>
                    <a:pt x="7" y="7"/>
                  </a:cubicBezTo>
                  <a:cubicBezTo>
                    <a:pt x="7" y="7"/>
                    <a:pt x="7" y="7"/>
                    <a:pt x="7" y="7"/>
                  </a:cubicBezTo>
                  <a:cubicBezTo>
                    <a:pt x="8" y="9"/>
                    <a:pt x="9" y="10"/>
                    <a:pt x="11" y="11"/>
                  </a:cubicBezTo>
                  <a:cubicBezTo>
                    <a:pt x="11" y="11"/>
                    <a:pt x="11" y="11"/>
                    <a:pt x="11" y="11"/>
                  </a:cubicBezTo>
                  <a:cubicBezTo>
                    <a:pt x="13" y="13"/>
                    <a:pt x="16" y="16"/>
                    <a:pt x="19" y="18"/>
                  </a:cubicBezTo>
                  <a:cubicBezTo>
                    <a:pt x="21" y="19"/>
                    <a:pt x="25" y="22"/>
                    <a:pt x="27" y="22"/>
                  </a:cubicBezTo>
                  <a:cubicBezTo>
                    <a:pt x="27" y="22"/>
                    <a:pt x="28" y="22"/>
                    <a:pt x="28" y="22"/>
                  </a:cubicBezTo>
                  <a:cubicBezTo>
                    <a:pt x="35" y="15"/>
                    <a:pt x="0" y="0"/>
                    <a:pt x="0" y="0"/>
                  </a:cubicBezTo>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Freeform 1418"/>
            <p:cNvSpPr/>
            <p:nvPr/>
          </p:nvSpPr>
          <p:spPr bwMode="auto">
            <a:xfrm>
              <a:off x="3350469" y="4252524"/>
              <a:ext cx="9396" cy="9396"/>
            </a:xfrm>
            <a:custGeom>
              <a:gdLst>
                <a:gd name="T0" fmla="*/ 3 w 3"/>
                <a:gd name="T1" fmla="*/ 0 h 3"/>
                <a:gd name="T2" fmla="*/ 1 w 3"/>
                <a:gd name="T3" fmla="*/ 3 h 3"/>
                <a:gd name="T4" fmla="*/ 3 w 3"/>
                <a:gd name="T5" fmla="*/ 0 h 3"/>
              </a:gdLst>
              <a:cxnLst>
                <a:cxn ang="0">
                  <a:pos x="T0" y="T1"/>
                </a:cxn>
                <a:cxn ang="0">
                  <a:pos x="T2" y="T3"/>
                </a:cxn>
                <a:cxn ang="0">
                  <a:pos x="T4" y="T5"/>
                </a:cxn>
              </a:cxnLst>
              <a:rect l="0" t="0" r="r" b="b"/>
              <a:pathLst>
                <a:path w="3" h="3">
                  <a:moveTo>
                    <a:pt x="3" y="0"/>
                  </a:moveTo>
                  <a:cubicBezTo>
                    <a:pt x="1" y="1"/>
                    <a:pt x="0" y="2"/>
                    <a:pt x="1"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Freeform 1419"/>
            <p:cNvSpPr/>
            <p:nvPr/>
          </p:nvSpPr>
          <p:spPr bwMode="auto">
            <a:xfrm>
              <a:off x="3311542" y="4138425"/>
              <a:ext cx="55036" cy="34901"/>
            </a:xfrm>
            <a:custGeom>
              <a:gdLst>
                <a:gd name="T0" fmla="*/ 5 w 17"/>
                <a:gd name="T1" fmla="*/ 0 h 11"/>
                <a:gd name="T2" fmla="*/ 3 w 17"/>
                <a:gd name="T3" fmla="*/ 1 h 11"/>
                <a:gd name="T4" fmla="*/ 6 w 17"/>
                <a:gd name="T5" fmla="*/ 1 h 11"/>
                <a:gd name="T6" fmla="*/ 4 w 17"/>
                <a:gd name="T7" fmla="*/ 2 h 11"/>
                <a:gd name="T8" fmla="*/ 4 w 17"/>
                <a:gd name="T9" fmla="*/ 2 h 11"/>
                <a:gd name="T10" fmla="*/ 0 w 17"/>
                <a:gd name="T11" fmla="*/ 0 h 11"/>
                <a:gd name="T12" fmla="*/ 11 w 17"/>
                <a:gd name="T13" fmla="*/ 9 h 11"/>
                <a:gd name="T14" fmla="*/ 14 w 17"/>
                <a:gd name="T15" fmla="*/ 11 h 11"/>
                <a:gd name="T16" fmla="*/ 15 w 17"/>
                <a:gd name="T17" fmla="*/ 10 h 11"/>
                <a:gd name="T18" fmla="*/ 13 w 17"/>
                <a:gd name="T19" fmla="*/ 8 h 11"/>
                <a:gd name="T20" fmla="*/ 10 w 17"/>
                <a:gd name="T21" fmla="*/ 6 h 11"/>
                <a:gd name="T22" fmla="*/ 6 w 17"/>
                <a:gd name="T23" fmla="*/ 1 h 11"/>
                <a:gd name="T24" fmla="*/ 8 w 17"/>
                <a:gd name="T25" fmla="*/ 3 h 11"/>
                <a:gd name="T26" fmla="*/ 15 w 17"/>
                <a:gd name="T27" fmla="*/ 8 h 11"/>
                <a:gd name="T28" fmla="*/ 14 w 17"/>
                <a:gd name="T29" fmla="*/ 3 h 11"/>
                <a:gd name="T30" fmla="*/ 15 w 17"/>
                <a:gd name="T31" fmla="*/ 4 h 11"/>
                <a:gd name="T32" fmla="*/ 17 w 17"/>
                <a:gd name="T33" fmla="*/ 3 h 11"/>
                <a:gd name="T34" fmla="*/ 5 w 17"/>
                <a:gd name="T35"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1">
                  <a:moveTo>
                    <a:pt x="5" y="0"/>
                  </a:moveTo>
                  <a:cubicBezTo>
                    <a:pt x="4" y="0"/>
                    <a:pt x="4" y="0"/>
                    <a:pt x="3" y="1"/>
                  </a:cubicBezTo>
                  <a:cubicBezTo>
                    <a:pt x="4" y="1"/>
                    <a:pt x="5" y="1"/>
                    <a:pt x="6" y="1"/>
                  </a:cubicBezTo>
                  <a:cubicBezTo>
                    <a:pt x="5" y="1"/>
                    <a:pt x="4" y="2"/>
                    <a:pt x="4" y="2"/>
                  </a:cubicBezTo>
                  <a:cubicBezTo>
                    <a:pt x="4" y="2"/>
                    <a:pt x="4" y="2"/>
                    <a:pt x="4" y="2"/>
                  </a:cubicBezTo>
                  <a:cubicBezTo>
                    <a:pt x="3" y="1"/>
                    <a:pt x="1" y="1"/>
                    <a:pt x="0" y="0"/>
                  </a:cubicBezTo>
                  <a:cubicBezTo>
                    <a:pt x="2" y="4"/>
                    <a:pt x="7" y="7"/>
                    <a:pt x="11" y="9"/>
                  </a:cubicBezTo>
                  <a:cubicBezTo>
                    <a:pt x="11" y="10"/>
                    <a:pt x="13" y="11"/>
                    <a:pt x="14" y="11"/>
                  </a:cubicBezTo>
                  <a:cubicBezTo>
                    <a:pt x="15" y="11"/>
                    <a:pt x="16" y="11"/>
                    <a:pt x="15" y="10"/>
                  </a:cubicBezTo>
                  <a:cubicBezTo>
                    <a:pt x="15" y="9"/>
                    <a:pt x="14" y="9"/>
                    <a:pt x="13" y="8"/>
                  </a:cubicBezTo>
                  <a:cubicBezTo>
                    <a:pt x="12" y="8"/>
                    <a:pt x="11" y="7"/>
                    <a:pt x="10" y="6"/>
                  </a:cubicBezTo>
                  <a:cubicBezTo>
                    <a:pt x="9" y="5"/>
                    <a:pt x="8" y="2"/>
                    <a:pt x="6" y="1"/>
                  </a:cubicBezTo>
                  <a:cubicBezTo>
                    <a:pt x="7" y="1"/>
                    <a:pt x="7" y="2"/>
                    <a:pt x="8" y="3"/>
                  </a:cubicBezTo>
                  <a:cubicBezTo>
                    <a:pt x="10" y="5"/>
                    <a:pt x="12" y="7"/>
                    <a:pt x="15" y="8"/>
                  </a:cubicBezTo>
                  <a:cubicBezTo>
                    <a:pt x="14" y="7"/>
                    <a:pt x="14" y="5"/>
                    <a:pt x="14" y="3"/>
                  </a:cubicBezTo>
                  <a:cubicBezTo>
                    <a:pt x="14" y="4"/>
                    <a:pt x="14" y="4"/>
                    <a:pt x="15" y="4"/>
                  </a:cubicBezTo>
                  <a:cubicBezTo>
                    <a:pt x="15" y="4"/>
                    <a:pt x="16" y="3"/>
                    <a:pt x="17" y="3"/>
                  </a:cubicBezTo>
                  <a:cubicBezTo>
                    <a:pt x="13" y="1"/>
                    <a:pt x="9"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Freeform 1420"/>
            <p:cNvSpPr/>
            <p:nvPr/>
          </p:nvSpPr>
          <p:spPr bwMode="auto">
            <a:xfrm>
              <a:off x="3413559" y="3316915"/>
              <a:ext cx="13423" cy="9396"/>
            </a:xfrm>
            <a:custGeom>
              <a:gdLst>
                <a:gd name="T0" fmla="*/ 4 w 4"/>
                <a:gd name="T1" fmla="*/ 0 h 3"/>
                <a:gd name="T2" fmla="*/ 0 w 4"/>
                <a:gd name="T3" fmla="*/ 3 h 3"/>
                <a:gd name="T4" fmla="*/ 1 w 4"/>
                <a:gd name="T5" fmla="*/ 3 h 3"/>
                <a:gd name="T6" fmla="*/ 4 w 4"/>
                <a:gd name="T7" fmla="*/ 0 h 3"/>
              </a:gdLst>
              <a:cxnLst>
                <a:cxn ang="0">
                  <a:pos x="T0" y="T1"/>
                </a:cxn>
                <a:cxn ang="0">
                  <a:pos x="T2" y="T3"/>
                </a:cxn>
                <a:cxn ang="0">
                  <a:pos x="T4" y="T5"/>
                </a:cxn>
                <a:cxn ang="0">
                  <a:pos x="T6" y="T7"/>
                </a:cxn>
              </a:cxnLst>
              <a:rect l="0" t="0" r="r" b="b"/>
              <a:pathLst>
                <a:path w="4" h="3">
                  <a:moveTo>
                    <a:pt x="4" y="0"/>
                  </a:moveTo>
                  <a:cubicBezTo>
                    <a:pt x="2" y="1"/>
                    <a:pt x="1" y="2"/>
                    <a:pt x="0" y="3"/>
                  </a:cubicBezTo>
                  <a:cubicBezTo>
                    <a:pt x="0" y="3"/>
                    <a:pt x="1" y="3"/>
                    <a:pt x="1" y="3"/>
                  </a:cubicBezTo>
                  <a:cubicBezTo>
                    <a:pt x="3" y="3"/>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Freeform 1421"/>
            <p:cNvSpPr/>
            <p:nvPr/>
          </p:nvSpPr>
          <p:spPr bwMode="auto">
            <a:xfrm>
              <a:off x="3369262" y="4116948"/>
              <a:ext cx="6712" cy="14766"/>
            </a:xfrm>
            <a:custGeom>
              <a:gdLst>
                <a:gd name="T0" fmla="*/ 1 w 2"/>
                <a:gd name="T1" fmla="*/ 0 h 5"/>
                <a:gd name="T2" fmla="*/ 0 w 2"/>
                <a:gd name="T3" fmla="*/ 1 h 5"/>
                <a:gd name="T4" fmla="*/ 2 w 2"/>
                <a:gd name="T5" fmla="*/ 5 h 5"/>
                <a:gd name="T6" fmla="*/ 1 w 2"/>
                <a:gd name="T7" fmla="*/ 0 h 5"/>
              </a:gdLst>
              <a:cxnLst>
                <a:cxn ang="0">
                  <a:pos x="T0" y="T1"/>
                </a:cxn>
                <a:cxn ang="0">
                  <a:pos x="T2" y="T3"/>
                </a:cxn>
                <a:cxn ang="0">
                  <a:pos x="T4" y="T5"/>
                </a:cxn>
                <a:cxn ang="0">
                  <a:pos x="T6" y="T7"/>
                </a:cxn>
              </a:cxnLst>
              <a:rect l="0" t="0" r="r" b="b"/>
              <a:pathLst>
                <a:path w="2" h="5">
                  <a:moveTo>
                    <a:pt x="1" y="0"/>
                  </a:moveTo>
                  <a:cubicBezTo>
                    <a:pt x="1" y="1"/>
                    <a:pt x="1" y="1"/>
                    <a:pt x="0" y="1"/>
                  </a:cubicBezTo>
                  <a:cubicBezTo>
                    <a:pt x="0" y="3"/>
                    <a:pt x="1" y="4"/>
                    <a:pt x="2" y="5"/>
                  </a:cubicBezTo>
                  <a:cubicBezTo>
                    <a:pt x="2"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Freeform 1422"/>
            <p:cNvSpPr/>
            <p:nvPr/>
          </p:nvSpPr>
          <p:spPr bwMode="auto">
            <a:xfrm>
              <a:off x="3381343" y="3328996"/>
              <a:ext cx="10739" cy="13423"/>
            </a:xfrm>
            <a:custGeom>
              <a:gdLst>
                <a:gd name="T0" fmla="*/ 0 w 3"/>
                <a:gd name="T1" fmla="*/ 0 h 4"/>
                <a:gd name="T2" fmla="*/ 0 w 3"/>
                <a:gd name="T3" fmla="*/ 0 h 4"/>
                <a:gd name="T4" fmla="*/ 2 w 3"/>
                <a:gd name="T5" fmla="*/ 4 h 4"/>
                <a:gd name="T6" fmla="*/ 3 w 3"/>
                <a:gd name="T7" fmla="*/ 2 h 4"/>
                <a:gd name="T8" fmla="*/ 0 w 3"/>
                <a:gd name="T9" fmla="*/ 0 h 4"/>
              </a:gdLst>
              <a:cxnLst>
                <a:cxn ang="0">
                  <a:pos x="T0" y="T1"/>
                </a:cxn>
                <a:cxn ang="0">
                  <a:pos x="T2" y="T3"/>
                </a:cxn>
                <a:cxn ang="0">
                  <a:pos x="T4" y="T5"/>
                </a:cxn>
                <a:cxn ang="0">
                  <a:pos x="T6" y="T7"/>
                </a:cxn>
                <a:cxn ang="0">
                  <a:pos x="T8" y="T9"/>
                </a:cxn>
              </a:cxnLst>
              <a:rect l="0" t="0" r="r" b="b"/>
              <a:pathLst>
                <a:path w="3" h="4">
                  <a:moveTo>
                    <a:pt x="0" y="0"/>
                  </a:moveTo>
                  <a:cubicBezTo>
                    <a:pt x="0" y="0"/>
                    <a:pt x="0" y="0"/>
                    <a:pt x="0" y="0"/>
                  </a:cubicBezTo>
                  <a:cubicBezTo>
                    <a:pt x="0" y="1"/>
                    <a:pt x="1" y="3"/>
                    <a:pt x="2" y="4"/>
                  </a:cubicBezTo>
                  <a:cubicBezTo>
                    <a:pt x="2" y="3"/>
                    <a:pt x="2"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Freeform 1423"/>
            <p:cNvSpPr/>
            <p:nvPr/>
          </p:nvSpPr>
          <p:spPr bwMode="auto">
            <a:xfrm>
              <a:off x="4358563" y="2989385"/>
              <a:ext cx="146315" cy="257729"/>
            </a:xfrm>
            <a:custGeom>
              <a:gdLst>
                <a:gd name="T0" fmla="*/ 37 w 46"/>
                <a:gd name="T1" fmla="*/ 0 h 81"/>
                <a:gd name="T2" fmla="*/ 39 w 46"/>
                <a:gd name="T3" fmla="*/ 4 h 81"/>
                <a:gd name="T4" fmla="*/ 33 w 46"/>
                <a:gd name="T5" fmla="*/ 10 h 81"/>
                <a:gd name="T6" fmla="*/ 26 w 46"/>
                <a:gd name="T7" fmla="*/ 4 h 81"/>
                <a:gd name="T8" fmla="*/ 27 w 46"/>
                <a:gd name="T9" fmla="*/ 3 h 81"/>
                <a:gd name="T10" fmla="*/ 21 w 46"/>
                <a:gd name="T11" fmla="*/ 6 h 81"/>
                <a:gd name="T12" fmla="*/ 19 w 46"/>
                <a:gd name="T13" fmla="*/ 11 h 81"/>
                <a:gd name="T14" fmla="*/ 15 w 46"/>
                <a:gd name="T15" fmla="*/ 16 h 81"/>
                <a:gd name="T16" fmla="*/ 3 w 46"/>
                <a:gd name="T17" fmla="*/ 38 h 81"/>
                <a:gd name="T18" fmla="*/ 1 w 46"/>
                <a:gd name="T19" fmla="*/ 51 h 81"/>
                <a:gd name="T20" fmla="*/ 4 w 46"/>
                <a:gd name="T21" fmla="*/ 61 h 81"/>
                <a:gd name="T22" fmla="*/ 11 w 46"/>
                <a:gd name="T23" fmla="*/ 72 h 81"/>
                <a:gd name="T24" fmla="*/ 18 w 46"/>
                <a:gd name="T25" fmla="*/ 81 h 81"/>
                <a:gd name="T26" fmla="*/ 24 w 46"/>
                <a:gd name="T27" fmla="*/ 64 h 81"/>
                <a:gd name="T28" fmla="*/ 33 w 46"/>
                <a:gd name="T29" fmla="*/ 44 h 81"/>
                <a:gd name="T30" fmla="*/ 40 w 46"/>
                <a:gd name="T31" fmla="*/ 22 h 81"/>
                <a:gd name="T32" fmla="*/ 42 w 46"/>
                <a:gd name="T33" fmla="*/ 13 h 81"/>
                <a:gd name="T34" fmla="*/ 46 w 46"/>
                <a:gd name="T35" fmla="*/ 4 h 81"/>
                <a:gd name="T36" fmla="*/ 37 w 46"/>
                <a:gd name="T37"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81">
                  <a:moveTo>
                    <a:pt x="37" y="0"/>
                  </a:moveTo>
                  <a:cubicBezTo>
                    <a:pt x="38" y="1"/>
                    <a:pt x="39" y="2"/>
                    <a:pt x="39" y="4"/>
                  </a:cubicBezTo>
                  <a:cubicBezTo>
                    <a:pt x="39" y="8"/>
                    <a:pt x="36" y="10"/>
                    <a:pt x="33" y="10"/>
                  </a:cubicBezTo>
                  <a:cubicBezTo>
                    <a:pt x="29" y="10"/>
                    <a:pt x="26" y="8"/>
                    <a:pt x="26" y="4"/>
                  </a:cubicBezTo>
                  <a:cubicBezTo>
                    <a:pt x="26" y="3"/>
                    <a:pt x="26" y="3"/>
                    <a:pt x="27" y="3"/>
                  </a:cubicBezTo>
                  <a:cubicBezTo>
                    <a:pt x="25" y="4"/>
                    <a:pt x="23" y="5"/>
                    <a:pt x="21" y="6"/>
                  </a:cubicBezTo>
                  <a:cubicBezTo>
                    <a:pt x="20" y="6"/>
                    <a:pt x="20" y="9"/>
                    <a:pt x="19" y="11"/>
                  </a:cubicBezTo>
                  <a:cubicBezTo>
                    <a:pt x="18" y="12"/>
                    <a:pt x="16" y="14"/>
                    <a:pt x="15" y="16"/>
                  </a:cubicBezTo>
                  <a:cubicBezTo>
                    <a:pt x="10" y="22"/>
                    <a:pt x="5" y="30"/>
                    <a:pt x="3" y="38"/>
                  </a:cubicBezTo>
                  <a:cubicBezTo>
                    <a:pt x="1" y="42"/>
                    <a:pt x="2" y="46"/>
                    <a:pt x="1" y="51"/>
                  </a:cubicBezTo>
                  <a:cubicBezTo>
                    <a:pt x="0" y="54"/>
                    <a:pt x="3" y="58"/>
                    <a:pt x="4" y="61"/>
                  </a:cubicBezTo>
                  <a:cubicBezTo>
                    <a:pt x="6" y="66"/>
                    <a:pt x="9" y="68"/>
                    <a:pt x="11" y="72"/>
                  </a:cubicBezTo>
                  <a:cubicBezTo>
                    <a:pt x="13" y="76"/>
                    <a:pt x="13" y="80"/>
                    <a:pt x="18" y="81"/>
                  </a:cubicBezTo>
                  <a:cubicBezTo>
                    <a:pt x="19" y="74"/>
                    <a:pt x="21" y="70"/>
                    <a:pt x="24" y="64"/>
                  </a:cubicBezTo>
                  <a:cubicBezTo>
                    <a:pt x="27" y="57"/>
                    <a:pt x="31" y="51"/>
                    <a:pt x="33" y="44"/>
                  </a:cubicBezTo>
                  <a:cubicBezTo>
                    <a:pt x="36" y="37"/>
                    <a:pt x="38" y="29"/>
                    <a:pt x="40" y="22"/>
                  </a:cubicBezTo>
                  <a:cubicBezTo>
                    <a:pt x="41" y="19"/>
                    <a:pt x="42" y="16"/>
                    <a:pt x="42" y="13"/>
                  </a:cubicBezTo>
                  <a:cubicBezTo>
                    <a:pt x="43" y="11"/>
                    <a:pt x="43" y="5"/>
                    <a:pt x="46" y="4"/>
                  </a:cubicBezTo>
                  <a:cubicBezTo>
                    <a:pt x="43" y="3"/>
                    <a:pt x="40" y="1"/>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Freeform 1424"/>
            <p:cNvSpPr/>
            <p:nvPr/>
          </p:nvSpPr>
          <p:spPr bwMode="auto">
            <a:xfrm>
              <a:off x="4463266" y="2984016"/>
              <a:ext cx="4027" cy="0"/>
            </a:xfrm>
            <a:custGeom>
              <a:gdLst>
                <a:gd name="T0" fmla="*/ 0 w 3"/>
                <a:gd name="T1" fmla="*/ 0 w 3"/>
                <a:gd name="T2" fmla="*/ 3 w 3"/>
                <a:gd name="T3" fmla="*/ 0 w 3"/>
              </a:gd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Freeform 1425"/>
            <p:cNvSpPr/>
            <p:nvPr/>
          </p:nvSpPr>
          <p:spPr bwMode="auto">
            <a:xfrm>
              <a:off x="4463266" y="2984016"/>
              <a:ext cx="4027" cy="0"/>
            </a:xfrm>
            <a:custGeom>
              <a:gdLst>
                <a:gd name="T0" fmla="*/ 0 w 3"/>
                <a:gd name="T1" fmla="*/ 0 w 3"/>
                <a:gd name="T2" fmla="*/ 3 w 3"/>
                <a:gd name="T3" fmla="*/ 0 w 3"/>
              </a:gdLst>
              <a:cxnLst>
                <a:cxn ang="0">
                  <a:pos x="T0" y="0"/>
                </a:cxn>
                <a:cxn ang="0">
                  <a:pos x="T1" y="0"/>
                </a:cxn>
                <a:cxn ang="0">
                  <a:pos x="T2" y="0"/>
                </a:cxn>
                <a:cxn ang="0">
                  <a:pos x="T3" y="0"/>
                </a:cxn>
              </a:cxnLst>
              <a:rect l="0" t="0" r="r" b="b"/>
              <a:pathLst>
                <a:path w="3">
                  <a:moveTo>
                    <a:pt x="0" y="0"/>
                  </a:moveTo>
                  <a:lnTo>
                    <a:pt x="0" y="0"/>
                  </a:lnTo>
                  <a:lnTo>
                    <a:pt x="3"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2" name="Freeform 1426"/>
            <p:cNvSpPr/>
            <p:nvPr/>
          </p:nvSpPr>
          <p:spPr bwMode="auto">
            <a:xfrm>
              <a:off x="4225672" y="3043078"/>
              <a:ext cx="16108" cy="10739"/>
            </a:xfrm>
            <a:custGeom>
              <a:gdLst>
                <a:gd name="T0" fmla="*/ 4 w 5"/>
                <a:gd name="T1" fmla="*/ 0 h 3"/>
                <a:gd name="T2" fmla="*/ 1 w 5"/>
                <a:gd name="T3" fmla="*/ 2 h 3"/>
                <a:gd name="T4" fmla="*/ 3 w 5"/>
                <a:gd name="T5" fmla="*/ 3 h 3"/>
                <a:gd name="T6" fmla="*/ 4 w 5"/>
                <a:gd name="T7" fmla="*/ 0 h 3"/>
              </a:gdLst>
              <a:cxnLst>
                <a:cxn ang="0">
                  <a:pos x="T0" y="T1"/>
                </a:cxn>
                <a:cxn ang="0">
                  <a:pos x="T2" y="T3"/>
                </a:cxn>
                <a:cxn ang="0">
                  <a:pos x="T4" y="T5"/>
                </a:cxn>
                <a:cxn ang="0">
                  <a:pos x="T6" y="T7"/>
                </a:cxn>
              </a:cxnLst>
              <a:rect l="0" t="0" r="r" b="b"/>
              <a:pathLst>
                <a:path w="5" h="3">
                  <a:moveTo>
                    <a:pt x="4" y="0"/>
                  </a:moveTo>
                  <a:cubicBezTo>
                    <a:pt x="2" y="1"/>
                    <a:pt x="0" y="0"/>
                    <a:pt x="1" y="2"/>
                  </a:cubicBezTo>
                  <a:cubicBezTo>
                    <a:pt x="1" y="3"/>
                    <a:pt x="2" y="3"/>
                    <a:pt x="3" y="3"/>
                  </a:cubicBezTo>
                  <a:cubicBezTo>
                    <a:pt x="4" y="3"/>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3" name="Freeform 1427"/>
            <p:cNvSpPr/>
            <p:nvPr/>
          </p:nvSpPr>
          <p:spPr bwMode="auto">
            <a:xfrm>
              <a:off x="4318293" y="3119592"/>
              <a:ext cx="12081" cy="0"/>
            </a:xfrm>
            <a:custGeom>
              <a:gdLst>
                <a:gd name="T0" fmla="*/ 3 w 4"/>
                <a:gd name="T1" fmla="*/ 0 w 4"/>
                <a:gd name="T2" fmla="*/ 4 w 4"/>
                <a:gd name="T3" fmla="*/ 3 w 4"/>
              </a:gdLst>
              <a:cxnLst>
                <a:cxn ang="0">
                  <a:pos x="T0" y="0"/>
                </a:cxn>
                <a:cxn ang="0">
                  <a:pos x="T1" y="0"/>
                </a:cxn>
                <a:cxn ang="0">
                  <a:pos x="T2" y="0"/>
                </a:cxn>
                <a:cxn ang="0">
                  <a:pos x="T3" y="0"/>
                </a:cxn>
              </a:cxnLst>
              <a:rect l="0" t="0" r="r" b="b"/>
              <a:pathLst>
                <a:path w="4">
                  <a:moveTo>
                    <a:pt x="3" y="0"/>
                  </a:moveTo>
                  <a:cubicBezTo>
                    <a:pt x="2" y="0"/>
                    <a:pt x="1" y="0"/>
                    <a:pt x="0" y="0"/>
                  </a:cubicBezTo>
                  <a:cubicBezTo>
                    <a:pt x="1" y="0"/>
                    <a:pt x="2"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Freeform 1428"/>
            <p:cNvSpPr/>
            <p:nvPr/>
          </p:nvSpPr>
          <p:spPr bwMode="auto">
            <a:xfrm>
              <a:off x="4828381" y="1945047"/>
              <a:ext cx="9396" cy="20135"/>
            </a:xfrm>
            <a:custGeom>
              <a:gdLst>
                <a:gd name="T0" fmla="*/ 2 w 3"/>
                <a:gd name="T1" fmla="*/ 0 h 6"/>
                <a:gd name="T2" fmla="*/ 3 w 3"/>
                <a:gd name="T3" fmla="*/ 6 h 6"/>
                <a:gd name="T4" fmla="*/ 3 w 3"/>
                <a:gd name="T5" fmla="*/ 6 h 6"/>
                <a:gd name="T6" fmla="*/ 2 w 3"/>
                <a:gd name="T7" fmla="*/ 0 h 6"/>
              </a:gdLst>
              <a:cxnLst>
                <a:cxn ang="0">
                  <a:pos x="T0" y="T1"/>
                </a:cxn>
                <a:cxn ang="0">
                  <a:pos x="T2" y="T3"/>
                </a:cxn>
                <a:cxn ang="0">
                  <a:pos x="T4" y="T5"/>
                </a:cxn>
                <a:cxn ang="0">
                  <a:pos x="T6" y="T7"/>
                </a:cxn>
              </a:cxnLst>
              <a:rect l="0" t="0" r="r" b="b"/>
              <a:pathLst>
                <a:path w="3" h="6">
                  <a:moveTo>
                    <a:pt x="2" y="0"/>
                  </a:moveTo>
                  <a:cubicBezTo>
                    <a:pt x="0" y="2"/>
                    <a:pt x="0" y="6"/>
                    <a:pt x="3" y="6"/>
                  </a:cubicBezTo>
                  <a:cubicBezTo>
                    <a:pt x="3" y="6"/>
                    <a:pt x="3" y="6"/>
                    <a:pt x="3" y="6"/>
                  </a:cubicBezTo>
                  <a:cubicBezTo>
                    <a:pt x="3"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Freeform 1429"/>
            <p:cNvSpPr>
              <a:spLocks noEditPoints="1"/>
            </p:cNvSpPr>
            <p:nvPr/>
          </p:nvSpPr>
          <p:spPr bwMode="auto">
            <a:xfrm>
              <a:off x="3506180" y="3382690"/>
              <a:ext cx="177188" cy="155711"/>
            </a:xfrm>
            <a:custGeom>
              <a:gdLst>
                <a:gd name="T0" fmla="*/ 16 w 56"/>
                <a:gd name="T1" fmla="*/ 7 h 49"/>
                <a:gd name="T2" fmla="*/ 16 w 56"/>
                <a:gd name="T3" fmla="*/ 7 h 49"/>
                <a:gd name="T4" fmla="*/ 16 w 56"/>
                <a:gd name="T5" fmla="*/ 7 h 49"/>
                <a:gd name="T6" fmla="*/ 48 w 56"/>
                <a:gd name="T7" fmla="*/ 0 h 49"/>
                <a:gd name="T8" fmla="*/ 46 w 56"/>
                <a:gd name="T9" fmla="*/ 6 h 49"/>
                <a:gd name="T10" fmla="*/ 41 w 56"/>
                <a:gd name="T11" fmla="*/ 4 h 49"/>
                <a:gd name="T12" fmla="*/ 37 w 56"/>
                <a:gd name="T13" fmla="*/ 3 h 49"/>
                <a:gd name="T14" fmla="*/ 36 w 56"/>
                <a:gd name="T15" fmla="*/ 4 h 49"/>
                <a:gd name="T16" fmla="*/ 32 w 56"/>
                <a:gd name="T17" fmla="*/ 5 h 49"/>
                <a:gd name="T18" fmla="*/ 29 w 56"/>
                <a:gd name="T19" fmla="*/ 5 h 49"/>
                <a:gd name="T20" fmla="*/ 28 w 56"/>
                <a:gd name="T21" fmla="*/ 5 h 49"/>
                <a:gd name="T22" fmla="*/ 27 w 56"/>
                <a:gd name="T23" fmla="*/ 5 h 49"/>
                <a:gd name="T24" fmla="*/ 27 w 56"/>
                <a:gd name="T25" fmla="*/ 5 h 49"/>
                <a:gd name="T26" fmla="*/ 26 w 56"/>
                <a:gd name="T27" fmla="*/ 4 h 49"/>
                <a:gd name="T28" fmla="*/ 25 w 56"/>
                <a:gd name="T29" fmla="*/ 4 h 49"/>
                <a:gd name="T30" fmla="*/ 22 w 56"/>
                <a:gd name="T31" fmla="*/ 5 h 49"/>
                <a:gd name="T32" fmla="*/ 20 w 56"/>
                <a:gd name="T33" fmla="*/ 7 h 49"/>
                <a:gd name="T34" fmla="*/ 19 w 56"/>
                <a:gd name="T35" fmla="*/ 8 h 49"/>
                <a:gd name="T36" fmla="*/ 18 w 56"/>
                <a:gd name="T37" fmla="*/ 7 h 49"/>
                <a:gd name="T38" fmla="*/ 17 w 56"/>
                <a:gd name="T39" fmla="*/ 7 h 49"/>
                <a:gd name="T40" fmla="*/ 16 w 56"/>
                <a:gd name="T41" fmla="*/ 7 h 49"/>
                <a:gd name="T42" fmla="*/ 16 w 56"/>
                <a:gd name="T43" fmla="*/ 11 h 49"/>
                <a:gd name="T44" fmla="*/ 7 w 56"/>
                <a:gd name="T45" fmla="*/ 17 h 49"/>
                <a:gd name="T46" fmla="*/ 0 w 56"/>
                <a:gd name="T47" fmla="*/ 25 h 49"/>
                <a:gd name="T48" fmla="*/ 0 w 56"/>
                <a:gd name="T49" fmla="*/ 29 h 49"/>
                <a:gd name="T50" fmla="*/ 1 w 56"/>
                <a:gd name="T51" fmla="*/ 38 h 49"/>
                <a:gd name="T52" fmla="*/ 1 w 56"/>
                <a:gd name="T53" fmla="*/ 40 h 49"/>
                <a:gd name="T54" fmla="*/ 17 w 56"/>
                <a:gd name="T55" fmla="*/ 47 h 49"/>
                <a:gd name="T56" fmla="*/ 22 w 56"/>
                <a:gd name="T57" fmla="*/ 49 h 49"/>
                <a:gd name="T58" fmla="*/ 25 w 56"/>
                <a:gd name="T59" fmla="*/ 48 h 49"/>
                <a:gd name="T60" fmla="*/ 27 w 56"/>
                <a:gd name="T61" fmla="*/ 44 h 49"/>
                <a:gd name="T62" fmla="*/ 32 w 56"/>
                <a:gd name="T63" fmla="*/ 42 h 49"/>
                <a:gd name="T64" fmla="*/ 35 w 56"/>
                <a:gd name="T65" fmla="*/ 40 h 49"/>
                <a:gd name="T66" fmla="*/ 36 w 56"/>
                <a:gd name="T67" fmla="*/ 39 h 49"/>
                <a:gd name="T68" fmla="*/ 41 w 56"/>
                <a:gd name="T69" fmla="*/ 36 h 49"/>
                <a:gd name="T70" fmla="*/ 42 w 56"/>
                <a:gd name="T71" fmla="*/ 37 h 49"/>
                <a:gd name="T72" fmla="*/ 43 w 56"/>
                <a:gd name="T73" fmla="*/ 34 h 49"/>
                <a:gd name="T74" fmla="*/ 43 w 56"/>
                <a:gd name="T75" fmla="*/ 34 h 49"/>
                <a:gd name="T76" fmla="*/ 44 w 56"/>
                <a:gd name="T77" fmla="*/ 34 h 49"/>
                <a:gd name="T78" fmla="*/ 44 w 56"/>
                <a:gd name="T79" fmla="*/ 34 h 49"/>
                <a:gd name="T80" fmla="*/ 44 w 56"/>
                <a:gd name="T81" fmla="*/ 34 h 49"/>
                <a:gd name="T82" fmla="*/ 47 w 56"/>
                <a:gd name="T83" fmla="*/ 23 h 49"/>
                <a:gd name="T84" fmla="*/ 52 w 56"/>
                <a:gd name="T85" fmla="*/ 13 h 49"/>
                <a:gd name="T86" fmla="*/ 52 w 56"/>
                <a:gd name="T87" fmla="*/ 16 h 49"/>
                <a:gd name="T88" fmla="*/ 56 w 56"/>
                <a:gd name="T89" fmla="*/ 13 h 49"/>
                <a:gd name="T90" fmla="*/ 56 w 56"/>
                <a:gd name="T91" fmla="*/ 13 h 49"/>
                <a:gd name="T92" fmla="*/ 55 w 56"/>
                <a:gd name="T93" fmla="*/ 6 h 49"/>
                <a:gd name="T94" fmla="*/ 48 w 56"/>
                <a:gd name="T95"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49">
                  <a:moveTo>
                    <a:pt x="16" y="7"/>
                  </a:moveTo>
                  <a:cubicBezTo>
                    <a:pt x="16" y="7"/>
                    <a:pt x="16" y="7"/>
                    <a:pt x="16" y="7"/>
                  </a:cubicBezTo>
                  <a:cubicBezTo>
                    <a:pt x="16" y="7"/>
                    <a:pt x="16" y="7"/>
                    <a:pt x="16" y="7"/>
                  </a:cubicBezTo>
                  <a:moveTo>
                    <a:pt x="48" y="0"/>
                  </a:moveTo>
                  <a:cubicBezTo>
                    <a:pt x="46" y="4"/>
                    <a:pt x="47" y="6"/>
                    <a:pt x="46" y="6"/>
                  </a:cubicBezTo>
                  <a:cubicBezTo>
                    <a:pt x="45" y="6"/>
                    <a:pt x="44" y="5"/>
                    <a:pt x="41" y="4"/>
                  </a:cubicBezTo>
                  <a:cubicBezTo>
                    <a:pt x="40" y="4"/>
                    <a:pt x="38" y="3"/>
                    <a:pt x="37" y="3"/>
                  </a:cubicBezTo>
                  <a:cubicBezTo>
                    <a:pt x="36" y="3"/>
                    <a:pt x="35" y="3"/>
                    <a:pt x="36" y="4"/>
                  </a:cubicBezTo>
                  <a:cubicBezTo>
                    <a:pt x="34" y="5"/>
                    <a:pt x="33" y="5"/>
                    <a:pt x="32" y="5"/>
                  </a:cubicBezTo>
                  <a:cubicBezTo>
                    <a:pt x="31" y="5"/>
                    <a:pt x="30" y="5"/>
                    <a:pt x="29" y="5"/>
                  </a:cubicBezTo>
                  <a:cubicBezTo>
                    <a:pt x="28" y="5"/>
                    <a:pt x="28" y="5"/>
                    <a:pt x="28" y="5"/>
                  </a:cubicBezTo>
                  <a:cubicBezTo>
                    <a:pt x="28" y="5"/>
                    <a:pt x="28" y="5"/>
                    <a:pt x="27" y="5"/>
                  </a:cubicBezTo>
                  <a:cubicBezTo>
                    <a:pt x="27" y="5"/>
                    <a:pt x="27" y="5"/>
                    <a:pt x="27" y="5"/>
                  </a:cubicBezTo>
                  <a:cubicBezTo>
                    <a:pt x="26" y="5"/>
                    <a:pt x="26" y="4"/>
                    <a:pt x="26" y="4"/>
                  </a:cubicBezTo>
                  <a:cubicBezTo>
                    <a:pt x="26" y="4"/>
                    <a:pt x="25" y="4"/>
                    <a:pt x="25" y="4"/>
                  </a:cubicBezTo>
                  <a:cubicBezTo>
                    <a:pt x="24" y="4"/>
                    <a:pt x="24" y="5"/>
                    <a:pt x="22" y="5"/>
                  </a:cubicBezTo>
                  <a:cubicBezTo>
                    <a:pt x="21" y="6"/>
                    <a:pt x="22" y="7"/>
                    <a:pt x="20" y="7"/>
                  </a:cubicBezTo>
                  <a:cubicBezTo>
                    <a:pt x="19" y="7"/>
                    <a:pt x="19" y="8"/>
                    <a:pt x="19" y="8"/>
                  </a:cubicBezTo>
                  <a:cubicBezTo>
                    <a:pt x="19" y="8"/>
                    <a:pt x="18" y="7"/>
                    <a:pt x="18" y="7"/>
                  </a:cubicBezTo>
                  <a:cubicBezTo>
                    <a:pt x="17" y="7"/>
                    <a:pt x="17" y="7"/>
                    <a:pt x="17" y="7"/>
                  </a:cubicBezTo>
                  <a:cubicBezTo>
                    <a:pt x="17" y="7"/>
                    <a:pt x="16" y="7"/>
                    <a:pt x="16" y="7"/>
                  </a:cubicBezTo>
                  <a:cubicBezTo>
                    <a:pt x="15" y="7"/>
                    <a:pt x="15" y="10"/>
                    <a:pt x="16" y="11"/>
                  </a:cubicBezTo>
                  <a:cubicBezTo>
                    <a:pt x="13" y="13"/>
                    <a:pt x="10" y="15"/>
                    <a:pt x="7" y="17"/>
                  </a:cubicBezTo>
                  <a:cubicBezTo>
                    <a:pt x="3" y="20"/>
                    <a:pt x="1" y="20"/>
                    <a:pt x="0" y="25"/>
                  </a:cubicBezTo>
                  <a:cubicBezTo>
                    <a:pt x="0" y="26"/>
                    <a:pt x="0" y="27"/>
                    <a:pt x="0" y="29"/>
                  </a:cubicBezTo>
                  <a:cubicBezTo>
                    <a:pt x="0" y="32"/>
                    <a:pt x="0" y="34"/>
                    <a:pt x="1" y="38"/>
                  </a:cubicBezTo>
                  <a:cubicBezTo>
                    <a:pt x="2" y="39"/>
                    <a:pt x="1" y="39"/>
                    <a:pt x="1" y="40"/>
                  </a:cubicBezTo>
                  <a:cubicBezTo>
                    <a:pt x="3" y="44"/>
                    <a:pt x="13" y="46"/>
                    <a:pt x="17" y="47"/>
                  </a:cubicBezTo>
                  <a:cubicBezTo>
                    <a:pt x="18" y="48"/>
                    <a:pt x="20" y="49"/>
                    <a:pt x="22" y="49"/>
                  </a:cubicBezTo>
                  <a:cubicBezTo>
                    <a:pt x="23" y="49"/>
                    <a:pt x="24" y="48"/>
                    <a:pt x="25" y="48"/>
                  </a:cubicBezTo>
                  <a:cubicBezTo>
                    <a:pt x="26" y="47"/>
                    <a:pt x="26" y="45"/>
                    <a:pt x="27" y="44"/>
                  </a:cubicBezTo>
                  <a:cubicBezTo>
                    <a:pt x="27" y="43"/>
                    <a:pt x="31" y="43"/>
                    <a:pt x="32" y="42"/>
                  </a:cubicBezTo>
                  <a:cubicBezTo>
                    <a:pt x="33" y="42"/>
                    <a:pt x="34" y="41"/>
                    <a:pt x="35" y="40"/>
                  </a:cubicBezTo>
                  <a:cubicBezTo>
                    <a:pt x="36" y="39"/>
                    <a:pt x="36" y="39"/>
                    <a:pt x="36" y="39"/>
                  </a:cubicBezTo>
                  <a:cubicBezTo>
                    <a:pt x="37" y="38"/>
                    <a:pt x="40" y="36"/>
                    <a:pt x="41" y="36"/>
                  </a:cubicBezTo>
                  <a:cubicBezTo>
                    <a:pt x="41" y="36"/>
                    <a:pt x="42" y="36"/>
                    <a:pt x="42" y="37"/>
                  </a:cubicBezTo>
                  <a:cubicBezTo>
                    <a:pt x="42" y="36"/>
                    <a:pt x="42" y="35"/>
                    <a:pt x="43" y="34"/>
                  </a:cubicBezTo>
                  <a:cubicBezTo>
                    <a:pt x="43" y="34"/>
                    <a:pt x="43" y="34"/>
                    <a:pt x="43" y="34"/>
                  </a:cubicBezTo>
                  <a:cubicBezTo>
                    <a:pt x="44" y="34"/>
                    <a:pt x="44" y="34"/>
                    <a:pt x="44" y="34"/>
                  </a:cubicBezTo>
                  <a:cubicBezTo>
                    <a:pt x="44" y="34"/>
                    <a:pt x="44" y="34"/>
                    <a:pt x="44" y="34"/>
                  </a:cubicBezTo>
                  <a:cubicBezTo>
                    <a:pt x="44" y="34"/>
                    <a:pt x="44" y="34"/>
                    <a:pt x="44" y="34"/>
                  </a:cubicBezTo>
                  <a:cubicBezTo>
                    <a:pt x="46" y="31"/>
                    <a:pt x="45" y="26"/>
                    <a:pt x="47" y="23"/>
                  </a:cubicBezTo>
                  <a:cubicBezTo>
                    <a:pt x="48" y="19"/>
                    <a:pt x="50" y="17"/>
                    <a:pt x="52" y="13"/>
                  </a:cubicBezTo>
                  <a:cubicBezTo>
                    <a:pt x="52" y="14"/>
                    <a:pt x="52" y="15"/>
                    <a:pt x="52" y="16"/>
                  </a:cubicBezTo>
                  <a:cubicBezTo>
                    <a:pt x="53" y="15"/>
                    <a:pt x="55" y="13"/>
                    <a:pt x="56" y="13"/>
                  </a:cubicBezTo>
                  <a:cubicBezTo>
                    <a:pt x="56" y="13"/>
                    <a:pt x="56" y="13"/>
                    <a:pt x="56" y="13"/>
                  </a:cubicBezTo>
                  <a:cubicBezTo>
                    <a:pt x="56" y="11"/>
                    <a:pt x="56" y="8"/>
                    <a:pt x="55" y="6"/>
                  </a:cubicBezTo>
                  <a:cubicBezTo>
                    <a:pt x="53" y="3"/>
                    <a:pt x="49" y="3"/>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Freeform 1430"/>
            <p:cNvSpPr/>
            <p:nvPr/>
          </p:nvSpPr>
          <p:spPr bwMode="auto">
            <a:xfrm>
              <a:off x="3625648" y="3312888"/>
              <a:ext cx="20135" cy="10739"/>
            </a:xfrm>
            <a:custGeom>
              <a:gdLst>
                <a:gd name="T0" fmla="*/ 5 w 6"/>
                <a:gd name="T1" fmla="*/ 0 h 3"/>
                <a:gd name="T2" fmla="*/ 0 w 6"/>
                <a:gd name="T3" fmla="*/ 3 h 3"/>
                <a:gd name="T4" fmla="*/ 2 w 6"/>
                <a:gd name="T5" fmla="*/ 2 h 3"/>
                <a:gd name="T6" fmla="*/ 2 w 6"/>
                <a:gd name="T7" fmla="*/ 2 h 3"/>
                <a:gd name="T8" fmla="*/ 6 w 6"/>
                <a:gd name="T9" fmla="*/ 3 h 3"/>
                <a:gd name="T10" fmla="*/ 5 w 6"/>
                <a:gd name="T11" fmla="*/ 0 h 3"/>
              </a:gdLst>
              <a:cxnLst>
                <a:cxn ang="0">
                  <a:pos x="T0" y="T1"/>
                </a:cxn>
                <a:cxn ang="0">
                  <a:pos x="T2" y="T3"/>
                </a:cxn>
                <a:cxn ang="0">
                  <a:pos x="T4" y="T5"/>
                </a:cxn>
                <a:cxn ang="0">
                  <a:pos x="T6" y="T7"/>
                </a:cxn>
                <a:cxn ang="0">
                  <a:pos x="T8" y="T9"/>
                </a:cxn>
                <a:cxn ang="0">
                  <a:pos x="T10" y="T11"/>
                </a:cxn>
              </a:cxnLst>
              <a:rect l="0" t="0" r="r" b="b"/>
              <a:pathLst>
                <a:path w="6" h="3">
                  <a:moveTo>
                    <a:pt x="5" y="0"/>
                  </a:moveTo>
                  <a:cubicBezTo>
                    <a:pt x="3" y="1"/>
                    <a:pt x="1" y="2"/>
                    <a:pt x="0" y="3"/>
                  </a:cubicBezTo>
                  <a:cubicBezTo>
                    <a:pt x="1" y="3"/>
                    <a:pt x="2" y="2"/>
                    <a:pt x="2" y="2"/>
                  </a:cubicBezTo>
                  <a:cubicBezTo>
                    <a:pt x="2" y="2"/>
                    <a:pt x="2" y="2"/>
                    <a:pt x="2" y="2"/>
                  </a:cubicBezTo>
                  <a:cubicBezTo>
                    <a:pt x="4" y="2"/>
                    <a:pt x="5" y="3"/>
                    <a:pt x="6" y="3"/>
                  </a:cubicBezTo>
                  <a:cubicBezTo>
                    <a:pt x="6" y="2"/>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1431"/>
            <p:cNvSpPr/>
            <p:nvPr/>
          </p:nvSpPr>
          <p:spPr bwMode="auto">
            <a:xfrm>
              <a:off x="4213591" y="3040394"/>
              <a:ext cx="9396" cy="9396"/>
            </a:xfrm>
            <a:custGeom>
              <a:gdLst>
                <a:gd name="T0" fmla="*/ 0 w 3"/>
                <a:gd name="T1" fmla="*/ 0 h 3"/>
                <a:gd name="T2" fmla="*/ 1 w 3"/>
                <a:gd name="T3" fmla="*/ 3 h 3"/>
                <a:gd name="T4" fmla="*/ 0 w 3"/>
                <a:gd name="T5" fmla="*/ 0 h 3"/>
              </a:gdLst>
              <a:cxnLst>
                <a:cxn ang="0">
                  <a:pos x="T0" y="T1"/>
                </a:cxn>
                <a:cxn ang="0">
                  <a:pos x="T2" y="T3"/>
                </a:cxn>
                <a:cxn ang="0">
                  <a:pos x="T4" y="T5"/>
                </a:cxn>
              </a:cxnLst>
              <a:rect l="0" t="0" r="r" b="b"/>
              <a:pathLst>
                <a:path w="3" h="3">
                  <a:moveTo>
                    <a:pt x="0" y="0"/>
                  </a:moveTo>
                  <a:cubicBezTo>
                    <a:pt x="0" y="2"/>
                    <a:pt x="1" y="3"/>
                    <a:pt x="1" y="3"/>
                  </a:cubicBezTo>
                  <a:cubicBezTo>
                    <a:pt x="2"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Freeform 1432"/>
            <p:cNvSpPr/>
            <p:nvPr/>
          </p:nvSpPr>
          <p:spPr bwMode="auto">
            <a:xfrm>
              <a:off x="4330374" y="2951799"/>
              <a:ext cx="13423" cy="18793"/>
            </a:xfrm>
            <a:custGeom>
              <a:gdLst>
                <a:gd name="T0" fmla="*/ 2 w 4"/>
                <a:gd name="T1" fmla="*/ 0 h 6"/>
                <a:gd name="T2" fmla="*/ 0 w 4"/>
                <a:gd name="T3" fmla="*/ 6 h 6"/>
                <a:gd name="T4" fmla="*/ 3 w 4"/>
                <a:gd name="T5" fmla="*/ 5 h 6"/>
                <a:gd name="T6" fmla="*/ 4 w 4"/>
                <a:gd name="T7" fmla="*/ 5 h 6"/>
                <a:gd name="T8" fmla="*/ 4 w 4"/>
                <a:gd name="T9" fmla="*/ 3 h 6"/>
                <a:gd name="T10" fmla="*/ 4 w 4"/>
                <a:gd name="T11" fmla="*/ 3 h 6"/>
                <a:gd name="T12" fmla="*/ 2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1" y="2"/>
                    <a:pt x="1" y="4"/>
                    <a:pt x="0" y="6"/>
                  </a:cubicBezTo>
                  <a:cubicBezTo>
                    <a:pt x="1" y="5"/>
                    <a:pt x="2" y="5"/>
                    <a:pt x="3" y="5"/>
                  </a:cubicBezTo>
                  <a:cubicBezTo>
                    <a:pt x="4" y="5"/>
                    <a:pt x="4" y="5"/>
                    <a:pt x="4" y="5"/>
                  </a:cubicBezTo>
                  <a:cubicBezTo>
                    <a:pt x="3" y="4"/>
                    <a:pt x="4" y="3"/>
                    <a:pt x="4" y="3"/>
                  </a:cubicBezTo>
                  <a:cubicBezTo>
                    <a:pt x="4" y="3"/>
                    <a:pt x="4" y="3"/>
                    <a:pt x="4" y="3"/>
                  </a:cubicBezTo>
                  <a:cubicBezTo>
                    <a:pt x="4"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Freeform 1433"/>
            <p:cNvSpPr/>
            <p:nvPr/>
          </p:nvSpPr>
          <p:spPr bwMode="auto">
            <a:xfrm>
              <a:off x="3639072" y="3303492"/>
              <a:ext cx="9396" cy="6712"/>
            </a:xfrm>
            <a:custGeom>
              <a:gdLst>
                <a:gd name="T0" fmla="*/ 3 w 3"/>
                <a:gd name="T1" fmla="*/ 0 h 2"/>
                <a:gd name="T2" fmla="*/ 0 w 3"/>
                <a:gd name="T3" fmla="*/ 0 h 2"/>
                <a:gd name="T4" fmla="*/ 3 w 3"/>
                <a:gd name="T5" fmla="*/ 2 h 2"/>
                <a:gd name="T6" fmla="*/ 3 w 3"/>
                <a:gd name="T7" fmla="*/ 0 h 2"/>
                <a:gd name="T8" fmla="*/ 3 w 3"/>
                <a:gd name="T9" fmla="*/ 0 h 2"/>
              </a:gdLst>
              <a:cxnLst>
                <a:cxn ang="0">
                  <a:pos x="T0" y="T1"/>
                </a:cxn>
                <a:cxn ang="0">
                  <a:pos x="T2" y="T3"/>
                </a:cxn>
                <a:cxn ang="0">
                  <a:pos x="T4" y="T5"/>
                </a:cxn>
                <a:cxn ang="0">
                  <a:pos x="T6" y="T7"/>
                </a:cxn>
                <a:cxn ang="0">
                  <a:pos x="T8" y="T9"/>
                </a:cxn>
              </a:cxnLst>
              <a:rect l="0" t="0" r="r" b="b"/>
              <a:pathLst>
                <a:path w="3" h="2">
                  <a:moveTo>
                    <a:pt x="3" y="0"/>
                  </a:moveTo>
                  <a:cubicBezTo>
                    <a:pt x="2" y="0"/>
                    <a:pt x="1" y="0"/>
                    <a:pt x="0" y="0"/>
                  </a:cubicBezTo>
                  <a:cubicBezTo>
                    <a:pt x="1" y="1"/>
                    <a:pt x="2" y="2"/>
                    <a:pt x="3" y="2"/>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Freeform 1434"/>
            <p:cNvSpPr/>
            <p:nvPr/>
          </p:nvSpPr>
          <p:spPr bwMode="auto">
            <a:xfrm>
              <a:off x="2731653" y="4300848"/>
              <a:ext cx="16108" cy="28189"/>
            </a:xfrm>
            <a:custGeom>
              <a:gdLst>
                <a:gd name="T0" fmla="*/ 2 w 5"/>
                <a:gd name="T1" fmla="*/ 0 h 9"/>
                <a:gd name="T2" fmla="*/ 0 w 5"/>
                <a:gd name="T3" fmla="*/ 6 h 9"/>
                <a:gd name="T4" fmla="*/ 1 w 5"/>
                <a:gd name="T5" fmla="*/ 9 h 9"/>
                <a:gd name="T6" fmla="*/ 1 w 5"/>
                <a:gd name="T7" fmla="*/ 9 h 9"/>
                <a:gd name="T8" fmla="*/ 4 w 5"/>
                <a:gd name="T9" fmla="*/ 6 h 9"/>
                <a:gd name="T10" fmla="*/ 2 w 5"/>
                <a:gd name="T11" fmla="*/ 0 h 9"/>
              </a:gdLst>
              <a:cxnLst>
                <a:cxn ang="0">
                  <a:pos x="T0" y="T1"/>
                </a:cxn>
                <a:cxn ang="0">
                  <a:pos x="T2" y="T3"/>
                </a:cxn>
                <a:cxn ang="0">
                  <a:pos x="T4" y="T5"/>
                </a:cxn>
                <a:cxn ang="0">
                  <a:pos x="T6" y="T7"/>
                </a:cxn>
                <a:cxn ang="0">
                  <a:pos x="T8" y="T9"/>
                </a:cxn>
                <a:cxn ang="0">
                  <a:pos x="T10" y="T11"/>
                </a:cxn>
              </a:cxnLst>
              <a:rect l="0" t="0" r="r" b="b"/>
              <a:pathLst>
                <a:path w="5" h="9">
                  <a:moveTo>
                    <a:pt x="2" y="0"/>
                  </a:moveTo>
                  <a:cubicBezTo>
                    <a:pt x="0" y="1"/>
                    <a:pt x="0" y="5"/>
                    <a:pt x="0" y="6"/>
                  </a:cubicBezTo>
                  <a:cubicBezTo>
                    <a:pt x="0" y="7"/>
                    <a:pt x="1" y="9"/>
                    <a:pt x="1" y="9"/>
                  </a:cubicBezTo>
                  <a:cubicBezTo>
                    <a:pt x="1" y="9"/>
                    <a:pt x="1" y="9"/>
                    <a:pt x="1" y="9"/>
                  </a:cubicBezTo>
                  <a:cubicBezTo>
                    <a:pt x="2" y="9"/>
                    <a:pt x="4" y="7"/>
                    <a:pt x="4" y="6"/>
                  </a:cubicBezTo>
                  <a:cubicBezTo>
                    <a:pt x="5" y="5"/>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Freeform 1435"/>
            <p:cNvSpPr/>
            <p:nvPr/>
          </p:nvSpPr>
          <p:spPr bwMode="auto">
            <a:xfrm>
              <a:off x="2757157" y="4296821"/>
              <a:ext cx="2685" cy="6712"/>
            </a:xfrm>
            <a:custGeom>
              <a:gdLst>
                <a:gd name="T0" fmla="*/ 1 w 1"/>
                <a:gd name="T1" fmla="*/ 0 h 2"/>
                <a:gd name="T2" fmla="*/ 0 w 1"/>
                <a:gd name="T3" fmla="*/ 2 h 2"/>
                <a:gd name="T4" fmla="*/ 1 w 1"/>
                <a:gd name="T5" fmla="*/ 0 h 2"/>
                <a:gd name="T6" fmla="*/ 1 w 1"/>
                <a:gd name="T7" fmla="*/ 0 h 2"/>
              </a:gdLst>
              <a:cxnLst>
                <a:cxn ang="0">
                  <a:pos x="T0" y="T1"/>
                </a:cxn>
                <a:cxn ang="0">
                  <a:pos x="T2" y="T3"/>
                </a:cxn>
                <a:cxn ang="0">
                  <a:pos x="T4" y="T5"/>
                </a:cxn>
                <a:cxn ang="0">
                  <a:pos x="T6" y="T7"/>
                </a:cxn>
              </a:cxnLst>
              <a:rect l="0" t="0" r="r" b="b"/>
              <a:pathLst>
                <a:path w="1" h="2">
                  <a:moveTo>
                    <a:pt x="1" y="0"/>
                  </a:moveTo>
                  <a:cubicBezTo>
                    <a:pt x="0" y="1"/>
                    <a:pt x="0" y="2"/>
                    <a:pt x="0" y="2"/>
                  </a:cubicBezTo>
                  <a:cubicBezTo>
                    <a:pt x="0" y="2"/>
                    <a:pt x="1" y="1"/>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Freeform 1436"/>
            <p:cNvSpPr/>
            <p:nvPr/>
          </p:nvSpPr>
          <p:spPr bwMode="auto">
            <a:xfrm>
              <a:off x="2873940" y="4503541"/>
              <a:ext cx="16108" cy="9396"/>
            </a:xfrm>
            <a:custGeom>
              <a:gdLst>
                <a:gd name="T0" fmla="*/ 3 w 5"/>
                <a:gd name="T1" fmla="*/ 0 h 3"/>
                <a:gd name="T2" fmla="*/ 0 w 5"/>
                <a:gd name="T3" fmla="*/ 2 h 3"/>
                <a:gd name="T4" fmla="*/ 2 w 5"/>
                <a:gd name="T5" fmla="*/ 3 h 3"/>
                <a:gd name="T6" fmla="*/ 3 w 5"/>
                <a:gd name="T7" fmla="*/ 0 h 3"/>
                <a:gd name="T8" fmla="*/ 3 w 5"/>
                <a:gd name="T9" fmla="*/ 0 h 3"/>
              </a:gdLst>
              <a:cxnLst>
                <a:cxn ang="0">
                  <a:pos x="T0" y="T1"/>
                </a:cxn>
                <a:cxn ang="0">
                  <a:pos x="T2" y="T3"/>
                </a:cxn>
                <a:cxn ang="0">
                  <a:pos x="T4" y="T5"/>
                </a:cxn>
                <a:cxn ang="0">
                  <a:pos x="T6" y="T7"/>
                </a:cxn>
                <a:cxn ang="0">
                  <a:pos x="T8" y="T9"/>
                </a:cxn>
              </a:cxnLst>
              <a:rect l="0" t="0" r="r" b="b"/>
              <a:pathLst>
                <a:path w="5" h="3">
                  <a:moveTo>
                    <a:pt x="3" y="0"/>
                  </a:moveTo>
                  <a:cubicBezTo>
                    <a:pt x="2" y="0"/>
                    <a:pt x="1" y="1"/>
                    <a:pt x="0" y="2"/>
                  </a:cubicBezTo>
                  <a:cubicBezTo>
                    <a:pt x="1" y="2"/>
                    <a:pt x="1" y="3"/>
                    <a:pt x="2" y="3"/>
                  </a:cubicBezTo>
                  <a:cubicBezTo>
                    <a:pt x="4" y="3"/>
                    <a:pt x="5"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Freeform 1437"/>
            <p:cNvSpPr/>
            <p:nvPr/>
          </p:nvSpPr>
          <p:spPr bwMode="auto">
            <a:xfrm>
              <a:off x="3029651" y="3998822"/>
              <a:ext cx="13423" cy="13423"/>
            </a:xfrm>
            <a:custGeom>
              <a:gdLst>
                <a:gd name="T0" fmla="*/ 0 w 4"/>
                <a:gd name="T1" fmla="*/ 0 h 4"/>
                <a:gd name="T2" fmla="*/ 1 w 4"/>
                <a:gd name="T3" fmla="*/ 4 h 4"/>
                <a:gd name="T4" fmla="*/ 4 w 4"/>
                <a:gd name="T5" fmla="*/ 3 h 4"/>
                <a:gd name="T6" fmla="*/ 0 w 4"/>
                <a:gd name="T7" fmla="*/ 0 h 4"/>
              </a:gdLst>
              <a:cxnLst>
                <a:cxn ang="0">
                  <a:pos x="T0" y="T1"/>
                </a:cxn>
                <a:cxn ang="0">
                  <a:pos x="T2" y="T3"/>
                </a:cxn>
                <a:cxn ang="0">
                  <a:pos x="T4" y="T5"/>
                </a:cxn>
                <a:cxn ang="0">
                  <a:pos x="T6" y="T7"/>
                </a:cxn>
              </a:cxnLst>
              <a:rect l="0" t="0" r="r" b="b"/>
              <a:pathLst>
                <a:path w="4" h="4">
                  <a:moveTo>
                    <a:pt x="0" y="0"/>
                  </a:moveTo>
                  <a:cubicBezTo>
                    <a:pt x="1" y="1"/>
                    <a:pt x="1" y="3"/>
                    <a:pt x="1" y="4"/>
                  </a:cubicBezTo>
                  <a:cubicBezTo>
                    <a:pt x="2" y="4"/>
                    <a:pt x="3"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Freeform 1438"/>
            <p:cNvSpPr/>
            <p:nvPr/>
          </p:nvSpPr>
          <p:spPr bwMode="auto">
            <a:xfrm>
              <a:off x="2788031" y="4338434"/>
              <a:ext cx="6712" cy="13423"/>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1" y="1"/>
                    <a:pt x="1" y="3"/>
                    <a:pt x="2"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Freeform 1439"/>
            <p:cNvSpPr/>
            <p:nvPr/>
          </p:nvSpPr>
          <p:spPr bwMode="auto">
            <a:xfrm>
              <a:off x="2861859" y="4176011"/>
              <a:ext cx="6712" cy="10739"/>
            </a:xfrm>
            <a:custGeom>
              <a:gdLst>
                <a:gd name="T0" fmla="*/ 0 w 2"/>
                <a:gd name="T1" fmla="*/ 0 h 3"/>
                <a:gd name="T2" fmla="*/ 0 w 2"/>
                <a:gd name="T3" fmla="*/ 0 h 3"/>
                <a:gd name="T4" fmla="*/ 2 w 2"/>
                <a:gd name="T5" fmla="*/ 3 h 3"/>
                <a:gd name="T6" fmla="*/ 0 w 2"/>
                <a:gd name="T7" fmla="*/ 0 h 3"/>
              </a:gdLst>
              <a:cxnLst>
                <a:cxn ang="0">
                  <a:pos x="T0" y="T1"/>
                </a:cxn>
                <a:cxn ang="0">
                  <a:pos x="T2" y="T3"/>
                </a:cxn>
                <a:cxn ang="0">
                  <a:pos x="T4" y="T5"/>
                </a:cxn>
                <a:cxn ang="0">
                  <a:pos x="T6" y="T7"/>
                </a:cxn>
              </a:cxnLst>
              <a:rect l="0" t="0" r="r" b="b"/>
              <a:pathLst>
                <a:path w="2" h="3">
                  <a:moveTo>
                    <a:pt x="0" y="0"/>
                  </a:moveTo>
                  <a:cubicBezTo>
                    <a:pt x="0" y="0"/>
                    <a:pt x="0" y="0"/>
                    <a:pt x="0" y="0"/>
                  </a:cubicBezTo>
                  <a:cubicBezTo>
                    <a:pt x="0" y="1"/>
                    <a:pt x="1" y="2"/>
                    <a:pt x="2" y="3"/>
                  </a:cubicBezTo>
                  <a:cubicBezTo>
                    <a:pt x="2"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Freeform 1440"/>
            <p:cNvSpPr/>
            <p:nvPr/>
          </p:nvSpPr>
          <p:spPr bwMode="auto">
            <a:xfrm>
              <a:off x="2829643" y="4408235"/>
              <a:ext cx="6712" cy="16108"/>
            </a:xfrm>
            <a:custGeom>
              <a:gdLst>
                <a:gd name="T0" fmla="*/ 2 w 2"/>
                <a:gd name="T1" fmla="*/ 0 h 5"/>
                <a:gd name="T2" fmla="*/ 2 w 2"/>
                <a:gd name="T3" fmla="*/ 5 h 5"/>
                <a:gd name="T4" fmla="*/ 2 w 2"/>
                <a:gd name="T5" fmla="*/ 0 h 5"/>
              </a:gdLst>
              <a:cxnLst>
                <a:cxn ang="0">
                  <a:pos x="T0" y="T1"/>
                </a:cxn>
                <a:cxn ang="0">
                  <a:pos x="T2" y="T3"/>
                </a:cxn>
                <a:cxn ang="0">
                  <a:pos x="T4" y="T5"/>
                </a:cxn>
              </a:cxnLst>
              <a:rect l="0" t="0" r="r" b="b"/>
              <a:pathLst>
                <a:path w="2" h="5">
                  <a:moveTo>
                    <a:pt x="2" y="0"/>
                  </a:moveTo>
                  <a:cubicBezTo>
                    <a:pt x="1" y="3"/>
                    <a:pt x="0" y="3"/>
                    <a:pt x="2" y="5"/>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Freeform 1441"/>
            <p:cNvSpPr/>
            <p:nvPr/>
          </p:nvSpPr>
          <p:spPr bwMode="auto">
            <a:xfrm>
              <a:off x="2753130" y="4312929"/>
              <a:ext cx="4027" cy="6712"/>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0"/>
                    <a:pt x="0" y="1"/>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Freeform 1442"/>
            <p:cNvSpPr/>
            <p:nvPr/>
          </p:nvSpPr>
          <p:spPr bwMode="auto">
            <a:xfrm>
              <a:off x="2852463" y="4192119"/>
              <a:ext cx="16108" cy="13423"/>
            </a:xfrm>
            <a:custGeom>
              <a:gdLst>
                <a:gd name="T0" fmla="*/ 4 w 5"/>
                <a:gd name="T1" fmla="*/ 0 h 4"/>
                <a:gd name="T2" fmla="*/ 2 w 5"/>
                <a:gd name="T3" fmla="*/ 0 h 4"/>
                <a:gd name="T4" fmla="*/ 2 w 5"/>
                <a:gd name="T5" fmla="*/ 4 h 4"/>
                <a:gd name="T6" fmla="*/ 5 w 5"/>
                <a:gd name="T7" fmla="*/ 1 h 4"/>
                <a:gd name="T8" fmla="*/ 4 w 5"/>
                <a:gd name="T9" fmla="*/ 0 h 4"/>
              </a:gdLst>
              <a:cxnLst>
                <a:cxn ang="0">
                  <a:pos x="T0" y="T1"/>
                </a:cxn>
                <a:cxn ang="0">
                  <a:pos x="T2" y="T3"/>
                </a:cxn>
                <a:cxn ang="0">
                  <a:pos x="T4" y="T5"/>
                </a:cxn>
                <a:cxn ang="0">
                  <a:pos x="T6" y="T7"/>
                </a:cxn>
                <a:cxn ang="0">
                  <a:pos x="T8" y="T9"/>
                </a:cxn>
              </a:cxnLst>
              <a:rect l="0" t="0" r="r" b="b"/>
              <a:pathLst>
                <a:path w="5" h="4">
                  <a:moveTo>
                    <a:pt x="4" y="0"/>
                  </a:moveTo>
                  <a:cubicBezTo>
                    <a:pt x="3" y="0"/>
                    <a:pt x="3" y="0"/>
                    <a:pt x="2" y="0"/>
                  </a:cubicBezTo>
                  <a:cubicBezTo>
                    <a:pt x="0" y="0"/>
                    <a:pt x="2" y="2"/>
                    <a:pt x="2" y="4"/>
                  </a:cubicBezTo>
                  <a:cubicBezTo>
                    <a:pt x="3" y="4"/>
                    <a:pt x="5" y="2"/>
                    <a:pt x="5"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Freeform 1443"/>
            <p:cNvSpPr/>
            <p:nvPr/>
          </p:nvSpPr>
          <p:spPr bwMode="auto">
            <a:xfrm>
              <a:off x="3048444" y="4027011"/>
              <a:ext cx="6712" cy="16108"/>
            </a:xfrm>
            <a:custGeom>
              <a:gdLst>
                <a:gd name="T0" fmla="*/ 1 w 2"/>
                <a:gd name="T1" fmla="*/ 0 h 5"/>
                <a:gd name="T2" fmla="*/ 2 w 2"/>
                <a:gd name="T3" fmla="*/ 5 h 5"/>
                <a:gd name="T4" fmla="*/ 1 w 2"/>
                <a:gd name="T5" fmla="*/ 0 h 5"/>
              </a:gdLst>
              <a:cxnLst>
                <a:cxn ang="0">
                  <a:pos x="T0" y="T1"/>
                </a:cxn>
                <a:cxn ang="0">
                  <a:pos x="T2" y="T3"/>
                </a:cxn>
                <a:cxn ang="0">
                  <a:pos x="T4" y="T5"/>
                </a:cxn>
              </a:cxnLst>
              <a:rect l="0" t="0" r="r" b="b"/>
              <a:pathLst>
                <a:path w="2" h="5">
                  <a:moveTo>
                    <a:pt x="1" y="0"/>
                  </a:moveTo>
                  <a:cubicBezTo>
                    <a:pt x="0" y="2"/>
                    <a:pt x="0" y="4"/>
                    <a:pt x="2" y="5"/>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0" name="Freeform 1444"/>
            <p:cNvSpPr/>
            <p:nvPr/>
          </p:nvSpPr>
          <p:spPr bwMode="auto">
            <a:xfrm>
              <a:off x="1345020" y="4173326"/>
              <a:ext cx="161080" cy="295314"/>
            </a:xfrm>
            <a:custGeom>
              <a:gdLst>
                <a:gd name="T0" fmla="*/ 11 w 51"/>
                <a:gd name="T1" fmla="*/ 0 h 93"/>
                <a:gd name="T2" fmla="*/ 18 w 51"/>
                <a:gd name="T3" fmla="*/ 6 h 93"/>
                <a:gd name="T4" fmla="*/ 12 w 51"/>
                <a:gd name="T5" fmla="*/ 2 h 93"/>
                <a:gd name="T6" fmla="*/ 10 w 51"/>
                <a:gd name="T7" fmla="*/ 5 h 93"/>
                <a:gd name="T8" fmla="*/ 12 w 51"/>
                <a:gd name="T9" fmla="*/ 5 h 93"/>
                <a:gd name="T10" fmla="*/ 17 w 51"/>
                <a:gd name="T11" fmla="*/ 7 h 93"/>
                <a:gd name="T12" fmla="*/ 17 w 51"/>
                <a:gd name="T13" fmla="*/ 8 h 93"/>
                <a:gd name="T14" fmla="*/ 16 w 51"/>
                <a:gd name="T15" fmla="*/ 8 h 93"/>
                <a:gd name="T16" fmla="*/ 14 w 51"/>
                <a:gd name="T17" fmla="*/ 9 h 93"/>
                <a:gd name="T18" fmla="*/ 9 w 51"/>
                <a:gd name="T19" fmla="*/ 6 h 93"/>
                <a:gd name="T20" fmla="*/ 9 w 51"/>
                <a:gd name="T21" fmla="*/ 6 h 93"/>
                <a:gd name="T22" fmla="*/ 10 w 51"/>
                <a:gd name="T23" fmla="*/ 14 h 93"/>
                <a:gd name="T24" fmla="*/ 5 w 51"/>
                <a:gd name="T25" fmla="*/ 21 h 93"/>
                <a:gd name="T26" fmla="*/ 5 w 51"/>
                <a:gd name="T27" fmla="*/ 30 h 93"/>
                <a:gd name="T28" fmla="*/ 3 w 51"/>
                <a:gd name="T29" fmla="*/ 39 h 93"/>
                <a:gd name="T30" fmla="*/ 1 w 51"/>
                <a:gd name="T31" fmla="*/ 41 h 93"/>
                <a:gd name="T32" fmla="*/ 1 w 51"/>
                <a:gd name="T33" fmla="*/ 42 h 93"/>
                <a:gd name="T34" fmla="*/ 2 w 51"/>
                <a:gd name="T35" fmla="*/ 49 h 93"/>
                <a:gd name="T36" fmla="*/ 3 w 51"/>
                <a:gd name="T37" fmla="*/ 60 h 93"/>
                <a:gd name="T38" fmla="*/ 5 w 51"/>
                <a:gd name="T39" fmla="*/ 68 h 93"/>
                <a:gd name="T40" fmla="*/ 7 w 51"/>
                <a:gd name="T41" fmla="*/ 80 h 93"/>
                <a:gd name="T42" fmla="*/ 10 w 51"/>
                <a:gd name="T43" fmla="*/ 87 h 93"/>
                <a:gd name="T44" fmla="*/ 15 w 51"/>
                <a:gd name="T45" fmla="*/ 91 h 93"/>
                <a:gd name="T46" fmla="*/ 21 w 51"/>
                <a:gd name="T47" fmla="*/ 93 h 93"/>
                <a:gd name="T48" fmla="*/ 31 w 51"/>
                <a:gd name="T49" fmla="*/ 88 h 93"/>
                <a:gd name="T50" fmla="*/ 47 w 51"/>
                <a:gd name="T51" fmla="*/ 79 h 93"/>
                <a:gd name="T52" fmla="*/ 51 w 51"/>
                <a:gd name="T53" fmla="*/ 69 h 93"/>
                <a:gd name="T54" fmla="*/ 50 w 51"/>
                <a:gd name="T55" fmla="*/ 57 h 93"/>
                <a:gd name="T56" fmla="*/ 50 w 51"/>
                <a:gd name="T57" fmla="*/ 56 h 93"/>
                <a:gd name="T58" fmla="*/ 43 w 51"/>
                <a:gd name="T59" fmla="*/ 44 h 93"/>
                <a:gd name="T60" fmla="*/ 41 w 51"/>
                <a:gd name="T61" fmla="*/ 38 h 93"/>
                <a:gd name="T62" fmla="*/ 34 w 51"/>
                <a:gd name="T63" fmla="*/ 27 h 93"/>
                <a:gd name="T64" fmla="*/ 30 w 51"/>
                <a:gd name="T65" fmla="*/ 21 h 93"/>
                <a:gd name="T66" fmla="*/ 23 w 51"/>
                <a:gd name="T67" fmla="*/ 10 h 93"/>
                <a:gd name="T68" fmla="*/ 18 w 51"/>
                <a:gd name="T69" fmla="*/ 6 h 93"/>
                <a:gd name="T70" fmla="*/ 11 w 51"/>
                <a:gd name="T71"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93">
                  <a:moveTo>
                    <a:pt x="11" y="0"/>
                  </a:moveTo>
                  <a:cubicBezTo>
                    <a:pt x="11" y="0"/>
                    <a:pt x="11" y="0"/>
                    <a:pt x="11" y="0"/>
                  </a:cubicBezTo>
                  <a:cubicBezTo>
                    <a:pt x="12" y="1"/>
                    <a:pt x="12" y="1"/>
                    <a:pt x="13" y="2"/>
                  </a:cubicBezTo>
                  <a:cubicBezTo>
                    <a:pt x="14" y="3"/>
                    <a:pt x="16" y="5"/>
                    <a:pt x="18" y="6"/>
                  </a:cubicBezTo>
                  <a:cubicBezTo>
                    <a:pt x="15" y="5"/>
                    <a:pt x="14" y="4"/>
                    <a:pt x="13" y="2"/>
                  </a:cubicBezTo>
                  <a:cubicBezTo>
                    <a:pt x="12" y="2"/>
                    <a:pt x="12" y="2"/>
                    <a:pt x="12" y="2"/>
                  </a:cubicBezTo>
                  <a:cubicBezTo>
                    <a:pt x="11" y="1"/>
                    <a:pt x="9" y="0"/>
                    <a:pt x="7" y="0"/>
                  </a:cubicBezTo>
                  <a:cubicBezTo>
                    <a:pt x="7" y="1"/>
                    <a:pt x="9" y="3"/>
                    <a:pt x="10" y="5"/>
                  </a:cubicBezTo>
                  <a:cubicBezTo>
                    <a:pt x="11" y="5"/>
                    <a:pt x="11" y="6"/>
                    <a:pt x="12" y="6"/>
                  </a:cubicBezTo>
                  <a:cubicBezTo>
                    <a:pt x="12" y="6"/>
                    <a:pt x="12" y="5"/>
                    <a:pt x="12" y="5"/>
                  </a:cubicBezTo>
                  <a:cubicBezTo>
                    <a:pt x="14" y="5"/>
                    <a:pt x="15" y="7"/>
                    <a:pt x="17" y="7"/>
                  </a:cubicBezTo>
                  <a:cubicBezTo>
                    <a:pt x="17" y="7"/>
                    <a:pt x="17" y="7"/>
                    <a:pt x="17" y="7"/>
                  </a:cubicBezTo>
                  <a:cubicBezTo>
                    <a:pt x="18" y="8"/>
                    <a:pt x="20" y="8"/>
                    <a:pt x="22" y="9"/>
                  </a:cubicBezTo>
                  <a:cubicBezTo>
                    <a:pt x="20" y="9"/>
                    <a:pt x="19" y="8"/>
                    <a:pt x="17" y="8"/>
                  </a:cubicBezTo>
                  <a:cubicBezTo>
                    <a:pt x="17" y="8"/>
                    <a:pt x="17" y="8"/>
                    <a:pt x="17" y="8"/>
                  </a:cubicBezTo>
                  <a:cubicBezTo>
                    <a:pt x="16" y="8"/>
                    <a:pt x="16" y="8"/>
                    <a:pt x="16" y="8"/>
                  </a:cubicBezTo>
                  <a:cubicBezTo>
                    <a:pt x="15" y="8"/>
                    <a:pt x="15" y="9"/>
                    <a:pt x="14" y="9"/>
                  </a:cubicBezTo>
                  <a:cubicBezTo>
                    <a:pt x="14" y="9"/>
                    <a:pt x="14" y="9"/>
                    <a:pt x="14" y="9"/>
                  </a:cubicBezTo>
                  <a:cubicBezTo>
                    <a:pt x="13" y="9"/>
                    <a:pt x="14" y="8"/>
                    <a:pt x="14" y="8"/>
                  </a:cubicBezTo>
                  <a:cubicBezTo>
                    <a:pt x="12" y="7"/>
                    <a:pt x="11" y="6"/>
                    <a:pt x="9" y="6"/>
                  </a:cubicBezTo>
                  <a:cubicBezTo>
                    <a:pt x="9" y="6"/>
                    <a:pt x="9" y="6"/>
                    <a:pt x="9" y="6"/>
                  </a:cubicBezTo>
                  <a:cubicBezTo>
                    <a:pt x="9" y="6"/>
                    <a:pt x="9" y="6"/>
                    <a:pt x="9" y="6"/>
                  </a:cubicBezTo>
                  <a:cubicBezTo>
                    <a:pt x="10" y="6"/>
                    <a:pt x="12" y="8"/>
                    <a:pt x="11" y="9"/>
                  </a:cubicBezTo>
                  <a:cubicBezTo>
                    <a:pt x="8" y="11"/>
                    <a:pt x="9" y="11"/>
                    <a:pt x="10" y="14"/>
                  </a:cubicBezTo>
                  <a:cubicBezTo>
                    <a:pt x="10" y="15"/>
                    <a:pt x="10" y="15"/>
                    <a:pt x="10" y="15"/>
                  </a:cubicBezTo>
                  <a:cubicBezTo>
                    <a:pt x="9" y="17"/>
                    <a:pt x="6" y="19"/>
                    <a:pt x="5" y="21"/>
                  </a:cubicBezTo>
                  <a:cubicBezTo>
                    <a:pt x="5" y="23"/>
                    <a:pt x="5" y="25"/>
                    <a:pt x="5" y="28"/>
                  </a:cubicBezTo>
                  <a:cubicBezTo>
                    <a:pt x="5" y="28"/>
                    <a:pt x="5" y="29"/>
                    <a:pt x="5" y="30"/>
                  </a:cubicBezTo>
                  <a:cubicBezTo>
                    <a:pt x="5" y="31"/>
                    <a:pt x="5" y="33"/>
                    <a:pt x="5" y="35"/>
                  </a:cubicBezTo>
                  <a:cubicBezTo>
                    <a:pt x="4" y="36"/>
                    <a:pt x="4" y="37"/>
                    <a:pt x="3" y="39"/>
                  </a:cubicBezTo>
                  <a:cubicBezTo>
                    <a:pt x="3" y="41"/>
                    <a:pt x="2" y="42"/>
                    <a:pt x="2" y="44"/>
                  </a:cubicBezTo>
                  <a:cubicBezTo>
                    <a:pt x="1" y="43"/>
                    <a:pt x="1" y="42"/>
                    <a:pt x="1" y="41"/>
                  </a:cubicBezTo>
                  <a:cubicBezTo>
                    <a:pt x="1" y="40"/>
                    <a:pt x="1" y="38"/>
                    <a:pt x="1" y="37"/>
                  </a:cubicBezTo>
                  <a:cubicBezTo>
                    <a:pt x="0" y="38"/>
                    <a:pt x="0" y="40"/>
                    <a:pt x="1" y="42"/>
                  </a:cubicBezTo>
                  <a:cubicBezTo>
                    <a:pt x="1" y="42"/>
                    <a:pt x="1" y="43"/>
                    <a:pt x="1" y="43"/>
                  </a:cubicBezTo>
                  <a:cubicBezTo>
                    <a:pt x="1" y="45"/>
                    <a:pt x="2" y="47"/>
                    <a:pt x="2" y="49"/>
                  </a:cubicBezTo>
                  <a:cubicBezTo>
                    <a:pt x="2" y="52"/>
                    <a:pt x="3" y="55"/>
                    <a:pt x="3" y="57"/>
                  </a:cubicBezTo>
                  <a:cubicBezTo>
                    <a:pt x="3" y="58"/>
                    <a:pt x="3" y="59"/>
                    <a:pt x="3" y="60"/>
                  </a:cubicBezTo>
                  <a:cubicBezTo>
                    <a:pt x="4" y="62"/>
                    <a:pt x="4" y="64"/>
                    <a:pt x="4" y="65"/>
                  </a:cubicBezTo>
                  <a:cubicBezTo>
                    <a:pt x="4" y="66"/>
                    <a:pt x="4" y="67"/>
                    <a:pt x="5" y="68"/>
                  </a:cubicBezTo>
                  <a:cubicBezTo>
                    <a:pt x="5" y="70"/>
                    <a:pt x="5" y="72"/>
                    <a:pt x="5" y="73"/>
                  </a:cubicBezTo>
                  <a:cubicBezTo>
                    <a:pt x="6" y="76"/>
                    <a:pt x="7" y="78"/>
                    <a:pt x="7" y="80"/>
                  </a:cubicBezTo>
                  <a:cubicBezTo>
                    <a:pt x="8" y="82"/>
                    <a:pt x="8" y="83"/>
                    <a:pt x="9" y="85"/>
                  </a:cubicBezTo>
                  <a:cubicBezTo>
                    <a:pt x="9" y="85"/>
                    <a:pt x="10" y="86"/>
                    <a:pt x="10" y="87"/>
                  </a:cubicBezTo>
                  <a:cubicBezTo>
                    <a:pt x="11" y="88"/>
                    <a:pt x="11" y="90"/>
                    <a:pt x="13" y="90"/>
                  </a:cubicBezTo>
                  <a:cubicBezTo>
                    <a:pt x="14" y="90"/>
                    <a:pt x="14" y="91"/>
                    <a:pt x="15" y="91"/>
                  </a:cubicBezTo>
                  <a:cubicBezTo>
                    <a:pt x="17" y="92"/>
                    <a:pt x="19" y="92"/>
                    <a:pt x="21" y="93"/>
                  </a:cubicBezTo>
                  <a:cubicBezTo>
                    <a:pt x="21" y="93"/>
                    <a:pt x="21" y="93"/>
                    <a:pt x="21" y="93"/>
                  </a:cubicBezTo>
                  <a:cubicBezTo>
                    <a:pt x="22" y="93"/>
                    <a:pt x="22" y="92"/>
                    <a:pt x="23" y="92"/>
                  </a:cubicBezTo>
                  <a:cubicBezTo>
                    <a:pt x="26" y="91"/>
                    <a:pt x="29" y="89"/>
                    <a:pt x="31" y="88"/>
                  </a:cubicBezTo>
                  <a:cubicBezTo>
                    <a:pt x="35" y="86"/>
                    <a:pt x="39" y="84"/>
                    <a:pt x="43" y="81"/>
                  </a:cubicBezTo>
                  <a:cubicBezTo>
                    <a:pt x="44" y="81"/>
                    <a:pt x="45" y="80"/>
                    <a:pt x="47" y="79"/>
                  </a:cubicBezTo>
                  <a:cubicBezTo>
                    <a:pt x="48" y="79"/>
                    <a:pt x="49" y="77"/>
                    <a:pt x="50" y="75"/>
                  </a:cubicBezTo>
                  <a:cubicBezTo>
                    <a:pt x="50" y="73"/>
                    <a:pt x="51" y="71"/>
                    <a:pt x="51" y="69"/>
                  </a:cubicBezTo>
                  <a:cubicBezTo>
                    <a:pt x="51" y="68"/>
                    <a:pt x="51" y="66"/>
                    <a:pt x="51" y="64"/>
                  </a:cubicBezTo>
                  <a:cubicBezTo>
                    <a:pt x="51" y="60"/>
                    <a:pt x="51" y="57"/>
                    <a:pt x="50" y="57"/>
                  </a:cubicBezTo>
                  <a:cubicBezTo>
                    <a:pt x="50" y="57"/>
                    <a:pt x="50" y="57"/>
                    <a:pt x="50" y="57"/>
                  </a:cubicBezTo>
                  <a:cubicBezTo>
                    <a:pt x="50" y="56"/>
                    <a:pt x="50" y="56"/>
                    <a:pt x="50" y="56"/>
                  </a:cubicBezTo>
                  <a:cubicBezTo>
                    <a:pt x="48" y="56"/>
                    <a:pt x="47" y="54"/>
                    <a:pt x="46" y="51"/>
                  </a:cubicBezTo>
                  <a:cubicBezTo>
                    <a:pt x="45" y="49"/>
                    <a:pt x="44" y="47"/>
                    <a:pt x="43" y="44"/>
                  </a:cubicBezTo>
                  <a:cubicBezTo>
                    <a:pt x="42" y="42"/>
                    <a:pt x="41" y="39"/>
                    <a:pt x="41" y="38"/>
                  </a:cubicBezTo>
                  <a:cubicBezTo>
                    <a:pt x="41" y="38"/>
                    <a:pt x="41" y="38"/>
                    <a:pt x="41" y="38"/>
                  </a:cubicBezTo>
                  <a:cubicBezTo>
                    <a:pt x="40" y="36"/>
                    <a:pt x="39" y="34"/>
                    <a:pt x="37" y="32"/>
                  </a:cubicBezTo>
                  <a:cubicBezTo>
                    <a:pt x="36" y="30"/>
                    <a:pt x="35" y="29"/>
                    <a:pt x="34" y="27"/>
                  </a:cubicBezTo>
                  <a:cubicBezTo>
                    <a:pt x="32" y="25"/>
                    <a:pt x="31" y="23"/>
                    <a:pt x="30" y="21"/>
                  </a:cubicBezTo>
                  <a:cubicBezTo>
                    <a:pt x="30" y="21"/>
                    <a:pt x="30" y="21"/>
                    <a:pt x="30" y="21"/>
                  </a:cubicBezTo>
                  <a:cubicBezTo>
                    <a:pt x="28" y="19"/>
                    <a:pt x="27" y="18"/>
                    <a:pt x="26" y="16"/>
                  </a:cubicBezTo>
                  <a:cubicBezTo>
                    <a:pt x="25" y="14"/>
                    <a:pt x="24" y="12"/>
                    <a:pt x="23" y="10"/>
                  </a:cubicBezTo>
                  <a:cubicBezTo>
                    <a:pt x="22" y="9"/>
                    <a:pt x="21" y="8"/>
                    <a:pt x="20" y="7"/>
                  </a:cubicBezTo>
                  <a:cubicBezTo>
                    <a:pt x="19" y="7"/>
                    <a:pt x="19" y="6"/>
                    <a:pt x="18" y="6"/>
                  </a:cubicBezTo>
                  <a:cubicBezTo>
                    <a:pt x="17" y="4"/>
                    <a:pt x="15" y="2"/>
                    <a:pt x="14" y="1"/>
                  </a:cubicBezTo>
                  <a:cubicBezTo>
                    <a:pt x="13"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1" name="Freeform 1445"/>
            <p:cNvSpPr/>
            <p:nvPr/>
          </p:nvSpPr>
          <p:spPr bwMode="auto">
            <a:xfrm>
              <a:off x="1496704" y="4331722"/>
              <a:ext cx="6712" cy="20135"/>
            </a:xfrm>
            <a:custGeom>
              <a:gdLst>
                <a:gd name="T0" fmla="*/ 0 w 2"/>
                <a:gd name="T1" fmla="*/ 0 h 6"/>
                <a:gd name="T2" fmla="*/ 2 w 2"/>
                <a:gd name="T3" fmla="*/ 6 h 6"/>
                <a:gd name="T4" fmla="*/ 0 w 2"/>
                <a:gd name="T5" fmla="*/ 0 h 6"/>
              </a:gdLst>
              <a:cxnLst>
                <a:cxn ang="0">
                  <a:pos x="T0" y="T1"/>
                </a:cxn>
                <a:cxn ang="0">
                  <a:pos x="T2" y="T3"/>
                </a:cxn>
                <a:cxn ang="0">
                  <a:pos x="T4" y="T5"/>
                </a:cxn>
              </a:cxnLst>
              <a:rect l="0" t="0" r="r" b="b"/>
              <a:pathLst>
                <a:path w="2" h="6">
                  <a:moveTo>
                    <a:pt x="0" y="0"/>
                  </a:moveTo>
                  <a:cubicBezTo>
                    <a:pt x="0" y="2"/>
                    <a:pt x="1" y="4"/>
                    <a:pt x="2" y="6"/>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Freeform 1446"/>
            <p:cNvSpPr/>
            <p:nvPr/>
          </p:nvSpPr>
          <p:spPr bwMode="auto">
            <a:xfrm>
              <a:off x="1351732" y="4227020"/>
              <a:ext cx="9396" cy="9396"/>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Freeform 1447"/>
            <p:cNvSpPr/>
            <p:nvPr/>
          </p:nvSpPr>
          <p:spPr bwMode="auto">
            <a:xfrm>
              <a:off x="5963997" y="387936"/>
              <a:ext cx="234909" cy="833591"/>
            </a:xfrm>
            <a:custGeom>
              <a:gdLst>
                <a:gd name="T0" fmla="*/ 26 w 74"/>
                <a:gd name="T1" fmla="*/ 0 h 263"/>
                <a:gd name="T2" fmla="*/ 24 w 74"/>
                <a:gd name="T3" fmla="*/ 4 h 263"/>
                <a:gd name="T4" fmla="*/ 20 w 74"/>
                <a:gd name="T5" fmla="*/ 4 h 263"/>
                <a:gd name="T6" fmla="*/ 27 w 74"/>
                <a:gd name="T7" fmla="*/ 17 h 263"/>
                <a:gd name="T8" fmla="*/ 26 w 74"/>
                <a:gd name="T9" fmla="*/ 25 h 263"/>
                <a:gd name="T10" fmla="*/ 26 w 74"/>
                <a:gd name="T11" fmla="*/ 25 h 263"/>
                <a:gd name="T12" fmla="*/ 24 w 74"/>
                <a:gd name="T13" fmla="*/ 24 h 263"/>
                <a:gd name="T14" fmla="*/ 23 w 74"/>
                <a:gd name="T15" fmla="*/ 28 h 263"/>
                <a:gd name="T16" fmla="*/ 25 w 74"/>
                <a:gd name="T17" fmla="*/ 29 h 263"/>
                <a:gd name="T18" fmla="*/ 21 w 74"/>
                <a:gd name="T19" fmla="*/ 34 h 263"/>
                <a:gd name="T20" fmla="*/ 16 w 74"/>
                <a:gd name="T21" fmla="*/ 32 h 263"/>
                <a:gd name="T22" fmla="*/ 12 w 74"/>
                <a:gd name="T23" fmla="*/ 30 h 263"/>
                <a:gd name="T24" fmla="*/ 8 w 74"/>
                <a:gd name="T25" fmla="*/ 47 h 263"/>
                <a:gd name="T26" fmla="*/ 5 w 74"/>
                <a:gd name="T27" fmla="*/ 65 h 263"/>
                <a:gd name="T28" fmla="*/ 15 w 74"/>
                <a:gd name="T29" fmla="*/ 103 h 263"/>
                <a:gd name="T30" fmla="*/ 12 w 74"/>
                <a:gd name="T31" fmla="*/ 118 h 263"/>
                <a:gd name="T32" fmla="*/ 11 w 74"/>
                <a:gd name="T33" fmla="*/ 157 h 263"/>
                <a:gd name="T34" fmla="*/ 8 w 74"/>
                <a:gd name="T35" fmla="*/ 181 h 263"/>
                <a:gd name="T36" fmla="*/ 14 w 74"/>
                <a:gd name="T37" fmla="*/ 203 h 263"/>
                <a:gd name="T38" fmla="*/ 11 w 74"/>
                <a:gd name="T39" fmla="*/ 229 h 263"/>
                <a:gd name="T40" fmla="*/ 7 w 74"/>
                <a:gd name="T41" fmla="*/ 251 h 263"/>
                <a:gd name="T42" fmla="*/ 20 w 74"/>
                <a:gd name="T43" fmla="*/ 242 h 263"/>
                <a:gd name="T44" fmla="*/ 30 w 74"/>
                <a:gd name="T45" fmla="*/ 242 h 263"/>
                <a:gd name="T46" fmla="*/ 35 w 74"/>
                <a:gd name="T47" fmla="*/ 243 h 263"/>
                <a:gd name="T48" fmla="*/ 41 w 74"/>
                <a:gd name="T49" fmla="*/ 243 h 263"/>
                <a:gd name="T50" fmla="*/ 43 w 74"/>
                <a:gd name="T51" fmla="*/ 251 h 263"/>
                <a:gd name="T52" fmla="*/ 45 w 74"/>
                <a:gd name="T53" fmla="*/ 254 h 263"/>
                <a:gd name="T54" fmla="*/ 47 w 74"/>
                <a:gd name="T55" fmla="*/ 248 h 263"/>
                <a:gd name="T56" fmla="*/ 41 w 74"/>
                <a:gd name="T57" fmla="*/ 235 h 263"/>
                <a:gd name="T58" fmla="*/ 43 w 74"/>
                <a:gd name="T59" fmla="*/ 239 h 263"/>
                <a:gd name="T60" fmla="*/ 37 w 74"/>
                <a:gd name="T61" fmla="*/ 239 h 263"/>
                <a:gd name="T62" fmla="*/ 37 w 74"/>
                <a:gd name="T63" fmla="*/ 234 h 263"/>
                <a:gd name="T64" fmla="*/ 23 w 74"/>
                <a:gd name="T65" fmla="*/ 201 h 263"/>
                <a:gd name="T66" fmla="*/ 37 w 74"/>
                <a:gd name="T67" fmla="*/ 163 h 263"/>
                <a:gd name="T68" fmla="*/ 43 w 74"/>
                <a:gd name="T69" fmla="*/ 158 h 263"/>
                <a:gd name="T70" fmla="*/ 50 w 74"/>
                <a:gd name="T71" fmla="*/ 160 h 263"/>
                <a:gd name="T72" fmla="*/ 65 w 74"/>
                <a:gd name="T73" fmla="*/ 169 h 263"/>
                <a:gd name="T74" fmla="*/ 73 w 74"/>
                <a:gd name="T75" fmla="*/ 179 h 263"/>
                <a:gd name="T76" fmla="*/ 69 w 74"/>
                <a:gd name="T77" fmla="*/ 171 h 263"/>
                <a:gd name="T78" fmla="*/ 63 w 74"/>
                <a:gd name="T79" fmla="*/ 158 h 263"/>
                <a:gd name="T80" fmla="*/ 60 w 74"/>
                <a:gd name="T81" fmla="*/ 151 h 263"/>
                <a:gd name="T82" fmla="*/ 43 w 74"/>
                <a:gd name="T83" fmla="*/ 98 h 263"/>
                <a:gd name="T84" fmla="*/ 42 w 74"/>
                <a:gd name="T85" fmla="*/ 89 h 263"/>
                <a:gd name="T86" fmla="*/ 41 w 74"/>
                <a:gd name="T87" fmla="*/ 90 h 263"/>
                <a:gd name="T88" fmla="*/ 40 w 74"/>
                <a:gd name="T89" fmla="*/ 92 h 263"/>
                <a:gd name="T90" fmla="*/ 36 w 74"/>
                <a:gd name="T91" fmla="*/ 73 h 263"/>
                <a:gd name="T92" fmla="*/ 38 w 74"/>
                <a:gd name="T93" fmla="*/ 64 h 263"/>
                <a:gd name="T94" fmla="*/ 36 w 74"/>
                <a:gd name="T95" fmla="*/ 39 h 263"/>
                <a:gd name="T96" fmla="*/ 38 w 74"/>
                <a:gd name="T97" fmla="*/ 34 h 263"/>
                <a:gd name="T98" fmla="*/ 40 w 74"/>
                <a:gd name="T99" fmla="*/ 42 h 263"/>
                <a:gd name="T100" fmla="*/ 37 w 74"/>
                <a:gd name="T101" fmla="*/ 30 h 263"/>
                <a:gd name="T102" fmla="*/ 32 w 74"/>
                <a:gd name="T103" fmla="*/ 15 h 263"/>
                <a:gd name="T104" fmla="*/ 30 w 74"/>
                <a:gd name="T105" fmla="*/ 4 h 2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263">
                  <a:moveTo>
                    <a:pt x="27" y="0"/>
                  </a:moveTo>
                  <a:cubicBezTo>
                    <a:pt x="27" y="0"/>
                    <a:pt x="26" y="0"/>
                    <a:pt x="26" y="0"/>
                  </a:cubicBezTo>
                  <a:cubicBezTo>
                    <a:pt x="25" y="5"/>
                    <a:pt x="25" y="5"/>
                    <a:pt x="25" y="5"/>
                  </a:cubicBezTo>
                  <a:cubicBezTo>
                    <a:pt x="25" y="4"/>
                    <a:pt x="24" y="4"/>
                    <a:pt x="24" y="4"/>
                  </a:cubicBezTo>
                  <a:cubicBezTo>
                    <a:pt x="24" y="4"/>
                    <a:pt x="23" y="4"/>
                    <a:pt x="22" y="4"/>
                  </a:cubicBezTo>
                  <a:cubicBezTo>
                    <a:pt x="21" y="4"/>
                    <a:pt x="20" y="4"/>
                    <a:pt x="20" y="4"/>
                  </a:cubicBezTo>
                  <a:cubicBezTo>
                    <a:pt x="19" y="4"/>
                    <a:pt x="18" y="4"/>
                    <a:pt x="17" y="4"/>
                  </a:cubicBezTo>
                  <a:cubicBezTo>
                    <a:pt x="19" y="7"/>
                    <a:pt x="27" y="13"/>
                    <a:pt x="27" y="17"/>
                  </a:cubicBezTo>
                  <a:cubicBezTo>
                    <a:pt x="27" y="19"/>
                    <a:pt x="24" y="21"/>
                    <a:pt x="25" y="23"/>
                  </a:cubicBezTo>
                  <a:cubicBezTo>
                    <a:pt x="25" y="23"/>
                    <a:pt x="31" y="24"/>
                    <a:pt x="26" y="25"/>
                  </a:cubicBezTo>
                  <a:cubicBezTo>
                    <a:pt x="26" y="25"/>
                    <a:pt x="26" y="25"/>
                    <a:pt x="26" y="25"/>
                  </a:cubicBezTo>
                  <a:cubicBezTo>
                    <a:pt x="26" y="25"/>
                    <a:pt x="26" y="25"/>
                    <a:pt x="26" y="25"/>
                  </a:cubicBezTo>
                  <a:cubicBezTo>
                    <a:pt x="26" y="24"/>
                    <a:pt x="25" y="24"/>
                    <a:pt x="25" y="24"/>
                  </a:cubicBezTo>
                  <a:cubicBezTo>
                    <a:pt x="25" y="24"/>
                    <a:pt x="24" y="24"/>
                    <a:pt x="24" y="24"/>
                  </a:cubicBezTo>
                  <a:cubicBezTo>
                    <a:pt x="23" y="25"/>
                    <a:pt x="22" y="27"/>
                    <a:pt x="22" y="28"/>
                  </a:cubicBezTo>
                  <a:cubicBezTo>
                    <a:pt x="23" y="28"/>
                    <a:pt x="23" y="28"/>
                    <a:pt x="23" y="28"/>
                  </a:cubicBezTo>
                  <a:cubicBezTo>
                    <a:pt x="24" y="28"/>
                    <a:pt x="25" y="28"/>
                    <a:pt x="25" y="29"/>
                  </a:cubicBezTo>
                  <a:cubicBezTo>
                    <a:pt x="25" y="29"/>
                    <a:pt x="25" y="29"/>
                    <a:pt x="25" y="29"/>
                  </a:cubicBezTo>
                  <a:cubicBezTo>
                    <a:pt x="25" y="29"/>
                    <a:pt x="25" y="29"/>
                    <a:pt x="25" y="29"/>
                  </a:cubicBezTo>
                  <a:cubicBezTo>
                    <a:pt x="25" y="29"/>
                    <a:pt x="21" y="33"/>
                    <a:pt x="21" y="34"/>
                  </a:cubicBezTo>
                  <a:cubicBezTo>
                    <a:pt x="20" y="34"/>
                    <a:pt x="19" y="34"/>
                    <a:pt x="19" y="34"/>
                  </a:cubicBezTo>
                  <a:cubicBezTo>
                    <a:pt x="17" y="34"/>
                    <a:pt x="16" y="33"/>
                    <a:pt x="16" y="32"/>
                  </a:cubicBezTo>
                  <a:cubicBezTo>
                    <a:pt x="15" y="30"/>
                    <a:pt x="15" y="29"/>
                    <a:pt x="15" y="29"/>
                  </a:cubicBezTo>
                  <a:cubicBezTo>
                    <a:pt x="14" y="29"/>
                    <a:pt x="13" y="29"/>
                    <a:pt x="12" y="30"/>
                  </a:cubicBezTo>
                  <a:cubicBezTo>
                    <a:pt x="10" y="31"/>
                    <a:pt x="4" y="33"/>
                    <a:pt x="5" y="35"/>
                  </a:cubicBezTo>
                  <a:cubicBezTo>
                    <a:pt x="6" y="39"/>
                    <a:pt x="8" y="43"/>
                    <a:pt x="8" y="47"/>
                  </a:cubicBezTo>
                  <a:cubicBezTo>
                    <a:pt x="7" y="50"/>
                    <a:pt x="7" y="53"/>
                    <a:pt x="6" y="55"/>
                  </a:cubicBezTo>
                  <a:cubicBezTo>
                    <a:pt x="6" y="59"/>
                    <a:pt x="5" y="62"/>
                    <a:pt x="5" y="65"/>
                  </a:cubicBezTo>
                  <a:cubicBezTo>
                    <a:pt x="4" y="70"/>
                    <a:pt x="0" y="79"/>
                    <a:pt x="3" y="83"/>
                  </a:cubicBezTo>
                  <a:cubicBezTo>
                    <a:pt x="7" y="90"/>
                    <a:pt x="11" y="96"/>
                    <a:pt x="15" y="103"/>
                  </a:cubicBezTo>
                  <a:cubicBezTo>
                    <a:pt x="16" y="105"/>
                    <a:pt x="17" y="106"/>
                    <a:pt x="16" y="108"/>
                  </a:cubicBezTo>
                  <a:cubicBezTo>
                    <a:pt x="14" y="112"/>
                    <a:pt x="12" y="114"/>
                    <a:pt x="12" y="118"/>
                  </a:cubicBezTo>
                  <a:cubicBezTo>
                    <a:pt x="13" y="124"/>
                    <a:pt x="14" y="131"/>
                    <a:pt x="14" y="137"/>
                  </a:cubicBezTo>
                  <a:cubicBezTo>
                    <a:pt x="14" y="144"/>
                    <a:pt x="13" y="150"/>
                    <a:pt x="11" y="157"/>
                  </a:cubicBezTo>
                  <a:cubicBezTo>
                    <a:pt x="10" y="163"/>
                    <a:pt x="6" y="171"/>
                    <a:pt x="7" y="178"/>
                  </a:cubicBezTo>
                  <a:cubicBezTo>
                    <a:pt x="7" y="179"/>
                    <a:pt x="7" y="180"/>
                    <a:pt x="8" y="181"/>
                  </a:cubicBezTo>
                  <a:cubicBezTo>
                    <a:pt x="9" y="183"/>
                    <a:pt x="11" y="185"/>
                    <a:pt x="12" y="188"/>
                  </a:cubicBezTo>
                  <a:cubicBezTo>
                    <a:pt x="13" y="191"/>
                    <a:pt x="15" y="199"/>
                    <a:pt x="14" y="203"/>
                  </a:cubicBezTo>
                  <a:cubicBezTo>
                    <a:pt x="13" y="206"/>
                    <a:pt x="9" y="209"/>
                    <a:pt x="9" y="212"/>
                  </a:cubicBezTo>
                  <a:cubicBezTo>
                    <a:pt x="10" y="217"/>
                    <a:pt x="12" y="224"/>
                    <a:pt x="11" y="229"/>
                  </a:cubicBezTo>
                  <a:cubicBezTo>
                    <a:pt x="10" y="235"/>
                    <a:pt x="6" y="239"/>
                    <a:pt x="6" y="245"/>
                  </a:cubicBezTo>
                  <a:cubicBezTo>
                    <a:pt x="6" y="247"/>
                    <a:pt x="7" y="249"/>
                    <a:pt x="7" y="251"/>
                  </a:cubicBezTo>
                  <a:cubicBezTo>
                    <a:pt x="9" y="257"/>
                    <a:pt x="8" y="258"/>
                    <a:pt x="12" y="263"/>
                  </a:cubicBezTo>
                  <a:cubicBezTo>
                    <a:pt x="15" y="256"/>
                    <a:pt x="17" y="249"/>
                    <a:pt x="20" y="242"/>
                  </a:cubicBezTo>
                  <a:cubicBezTo>
                    <a:pt x="21" y="239"/>
                    <a:pt x="24" y="239"/>
                    <a:pt x="27" y="238"/>
                  </a:cubicBezTo>
                  <a:cubicBezTo>
                    <a:pt x="28" y="240"/>
                    <a:pt x="28" y="241"/>
                    <a:pt x="30" y="242"/>
                  </a:cubicBezTo>
                  <a:cubicBezTo>
                    <a:pt x="31" y="242"/>
                    <a:pt x="32" y="243"/>
                    <a:pt x="34" y="243"/>
                  </a:cubicBezTo>
                  <a:cubicBezTo>
                    <a:pt x="34" y="243"/>
                    <a:pt x="35" y="243"/>
                    <a:pt x="35" y="243"/>
                  </a:cubicBezTo>
                  <a:cubicBezTo>
                    <a:pt x="36" y="243"/>
                    <a:pt x="37" y="242"/>
                    <a:pt x="37" y="242"/>
                  </a:cubicBezTo>
                  <a:cubicBezTo>
                    <a:pt x="39" y="242"/>
                    <a:pt x="40" y="243"/>
                    <a:pt x="41" y="243"/>
                  </a:cubicBezTo>
                  <a:cubicBezTo>
                    <a:pt x="43" y="245"/>
                    <a:pt x="42" y="245"/>
                    <a:pt x="42" y="247"/>
                  </a:cubicBezTo>
                  <a:cubicBezTo>
                    <a:pt x="42" y="249"/>
                    <a:pt x="42" y="250"/>
                    <a:pt x="43" y="251"/>
                  </a:cubicBezTo>
                  <a:cubicBezTo>
                    <a:pt x="44" y="254"/>
                    <a:pt x="44" y="256"/>
                    <a:pt x="44" y="258"/>
                  </a:cubicBezTo>
                  <a:cubicBezTo>
                    <a:pt x="45" y="257"/>
                    <a:pt x="44" y="255"/>
                    <a:pt x="45" y="254"/>
                  </a:cubicBezTo>
                  <a:cubicBezTo>
                    <a:pt x="46" y="252"/>
                    <a:pt x="47" y="251"/>
                    <a:pt x="48" y="249"/>
                  </a:cubicBezTo>
                  <a:cubicBezTo>
                    <a:pt x="48" y="248"/>
                    <a:pt x="47" y="249"/>
                    <a:pt x="47" y="248"/>
                  </a:cubicBezTo>
                  <a:cubicBezTo>
                    <a:pt x="47" y="246"/>
                    <a:pt x="46" y="245"/>
                    <a:pt x="46" y="243"/>
                  </a:cubicBezTo>
                  <a:cubicBezTo>
                    <a:pt x="45" y="238"/>
                    <a:pt x="46" y="235"/>
                    <a:pt x="41" y="235"/>
                  </a:cubicBezTo>
                  <a:cubicBezTo>
                    <a:pt x="40" y="235"/>
                    <a:pt x="39" y="235"/>
                    <a:pt x="38" y="235"/>
                  </a:cubicBezTo>
                  <a:cubicBezTo>
                    <a:pt x="39" y="237"/>
                    <a:pt x="41" y="238"/>
                    <a:pt x="43" y="239"/>
                  </a:cubicBezTo>
                  <a:cubicBezTo>
                    <a:pt x="42" y="239"/>
                    <a:pt x="42" y="239"/>
                    <a:pt x="42" y="239"/>
                  </a:cubicBezTo>
                  <a:cubicBezTo>
                    <a:pt x="40" y="239"/>
                    <a:pt x="38" y="239"/>
                    <a:pt x="37" y="239"/>
                  </a:cubicBezTo>
                  <a:cubicBezTo>
                    <a:pt x="37" y="238"/>
                    <a:pt x="37" y="237"/>
                    <a:pt x="37" y="236"/>
                  </a:cubicBezTo>
                  <a:cubicBezTo>
                    <a:pt x="37" y="234"/>
                    <a:pt x="37" y="235"/>
                    <a:pt x="37" y="234"/>
                  </a:cubicBezTo>
                  <a:cubicBezTo>
                    <a:pt x="36" y="230"/>
                    <a:pt x="35" y="225"/>
                    <a:pt x="32" y="222"/>
                  </a:cubicBezTo>
                  <a:cubicBezTo>
                    <a:pt x="28" y="217"/>
                    <a:pt x="20" y="209"/>
                    <a:pt x="23" y="201"/>
                  </a:cubicBezTo>
                  <a:cubicBezTo>
                    <a:pt x="26" y="194"/>
                    <a:pt x="28" y="186"/>
                    <a:pt x="31" y="178"/>
                  </a:cubicBezTo>
                  <a:cubicBezTo>
                    <a:pt x="32" y="174"/>
                    <a:pt x="34" y="166"/>
                    <a:pt x="37" y="163"/>
                  </a:cubicBezTo>
                  <a:cubicBezTo>
                    <a:pt x="40" y="160"/>
                    <a:pt x="46" y="161"/>
                    <a:pt x="49" y="160"/>
                  </a:cubicBezTo>
                  <a:cubicBezTo>
                    <a:pt x="47" y="160"/>
                    <a:pt x="44" y="161"/>
                    <a:pt x="43" y="158"/>
                  </a:cubicBezTo>
                  <a:cubicBezTo>
                    <a:pt x="45" y="160"/>
                    <a:pt x="48" y="159"/>
                    <a:pt x="51" y="160"/>
                  </a:cubicBezTo>
                  <a:cubicBezTo>
                    <a:pt x="50" y="160"/>
                    <a:pt x="50" y="160"/>
                    <a:pt x="50" y="160"/>
                  </a:cubicBezTo>
                  <a:cubicBezTo>
                    <a:pt x="54" y="162"/>
                    <a:pt x="57" y="161"/>
                    <a:pt x="61" y="164"/>
                  </a:cubicBezTo>
                  <a:cubicBezTo>
                    <a:pt x="63" y="165"/>
                    <a:pt x="63" y="167"/>
                    <a:pt x="65" y="169"/>
                  </a:cubicBezTo>
                  <a:cubicBezTo>
                    <a:pt x="67" y="170"/>
                    <a:pt x="68" y="171"/>
                    <a:pt x="70" y="173"/>
                  </a:cubicBezTo>
                  <a:cubicBezTo>
                    <a:pt x="71" y="174"/>
                    <a:pt x="72" y="177"/>
                    <a:pt x="73" y="179"/>
                  </a:cubicBezTo>
                  <a:cubicBezTo>
                    <a:pt x="73" y="178"/>
                    <a:pt x="74" y="177"/>
                    <a:pt x="74" y="177"/>
                  </a:cubicBezTo>
                  <a:cubicBezTo>
                    <a:pt x="74" y="173"/>
                    <a:pt x="71" y="172"/>
                    <a:pt x="69" y="171"/>
                  </a:cubicBezTo>
                  <a:cubicBezTo>
                    <a:pt x="67" y="169"/>
                    <a:pt x="66" y="167"/>
                    <a:pt x="65" y="165"/>
                  </a:cubicBezTo>
                  <a:cubicBezTo>
                    <a:pt x="64" y="163"/>
                    <a:pt x="63" y="160"/>
                    <a:pt x="63" y="158"/>
                  </a:cubicBezTo>
                  <a:cubicBezTo>
                    <a:pt x="62" y="157"/>
                    <a:pt x="63" y="155"/>
                    <a:pt x="62" y="154"/>
                  </a:cubicBezTo>
                  <a:cubicBezTo>
                    <a:pt x="62" y="153"/>
                    <a:pt x="61" y="152"/>
                    <a:pt x="60" y="151"/>
                  </a:cubicBezTo>
                  <a:cubicBezTo>
                    <a:pt x="55" y="135"/>
                    <a:pt x="51" y="119"/>
                    <a:pt x="46" y="102"/>
                  </a:cubicBezTo>
                  <a:cubicBezTo>
                    <a:pt x="46" y="100"/>
                    <a:pt x="44" y="100"/>
                    <a:pt x="43" y="98"/>
                  </a:cubicBezTo>
                  <a:cubicBezTo>
                    <a:pt x="42" y="96"/>
                    <a:pt x="44" y="94"/>
                    <a:pt x="44" y="92"/>
                  </a:cubicBezTo>
                  <a:cubicBezTo>
                    <a:pt x="44" y="92"/>
                    <a:pt x="43" y="89"/>
                    <a:pt x="42" y="89"/>
                  </a:cubicBezTo>
                  <a:cubicBezTo>
                    <a:pt x="42" y="89"/>
                    <a:pt x="42" y="89"/>
                    <a:pt x="42" y="89"/>
                  </a:cubicBezTo>
                  <a:cubicBezTo>
                    <a:pt x="41" y="89"/>
                    <a:pt x="42" y="90"/>
                    <a:pt x="41" y="90"/>
                  </a:cubicBezTo>
                  <a:cubicBezTo>
                    <a:pt x="41" y="91"/>
                    <a:pt x="43" y="93"/>
                    <a:pt x="41" y="93"/>
                  </a:cubicBezTo>
                  <a:cubicBezTo>
                    <a:pt x="41" y="93"/>
                    <a:pt x="41" y="92"/>
                    <a:pt x="40" y="92"/>
                  </a:cubicBezTo>
                  <a:cubicBezTo>
                    <a:pt x="38" y="92"/>
                    <a:pt x="39" y="89"/>
                    <a:pt x="38" y="87"/>
                  </a:cubicBezTo>
                  <a:cubicBezTo>
                    <a:pt x="37" y="83"/>
                    <a:pt x="35" y="76"/>
                    <a:pt x="36" y="73"/>
                  </a:cubicBezTo>
                  <a:cubicBezTo>
                    <a:pt x="37" y="74"/>
                    <a:pt x="37" y="74"/>
                    <a:pt x="37" y="74"/>
                  </a:cubicBezTo>
                  <a:cubicBezTo>
                    <a:pt x="38" y="70"/>
                    <a:pt x="36" y="67"/>
                    <a:pt x="38" y="64"/>
                  </a:cubicBezTo>
                  <a:cubicBezTo>
                    <a:pt x="39" y="60"/>
                    <a:pt x="40" y="57"/>
                    <a:pt x="40" y="52"/>
                  </a:cubicBezTo>
                  <a:cubicBezTo>
                    <a:pt x="40" y="47"/>
                    <a:pt x="36" y="43"/>
                    <a:pt x="36" y="39"/>
                  </a:cubicBezTo>
                  <a:cubicBezTo>
                    <a:pt x="35" y="38"/>
                    <a:pt x="35" y="34"/>
                    <a:pt x="37" y="34"/>
                  </a:cubicBezTo>
                  <a:cubicBezTo>
                    <a:pt x="37" y="34"/>
                    <a:pt x="37" y="34"/>
                    <a:pt x="38" y="34"/>
                  </a:cubicBezTo>
                  <a:cubicBezTo>
                    <a:pt x="39" y="35"/>
                    <a:pt x="37" y="37"/>
                    <a:pt x="37" y="38"/>
                  </a:cubicBezTo>
                  <a:cubicBezTo>
                    <a:pt x="38" y="39"/>
                    <a:pt x="40" y="40"/>
                    <a:pt x="40" y="42"/>
                  </a:cubicBezTo>
                  <a:cubicBezTo>
                    <a:pt x="41" y="44"/>
                    <a:pt x="41" y="47"/>
                    <a:pt x="42" y="49"/>
                  </a:cubicBezTo>
                  <a:cubicBezTo>
                    <a:pt x="41" y="43"/>
                    <a:pt x="39" y="36"/>
                    <a:pt x="37" y="30"/>
                  </a:cubicBezTo>
                  <a:cubicBezTo>
                    <a:pt x="35" y="26"/>
                    <a:pt x="33" y="23"/>
                    <a:pt x="31" y="19"/>
                  </a:cubicBezTo>
                  <a:cubicBezTo>
                    <a:pt x="30" y="17"/>
                    <a:pt x="31" y="16"/>
                    <a:pt x="32" y="15"/>
                  </a:cubicBezTo>
                  <a:cubicBezTo>
                    <a:pt x="33" y="13"/>
                    <a:pt x="34" y="10"/>
                    <a:pt x="33" y="9"/>
                  </a:cubicBezTo>
                  <a:cubicBezTo>
                    <a:pt x="32" y="7"/>
                    <a:pt x="31" y="5"/>
                    <a:pt x="30" y="4"/>
                  </a:cubicBezTo>
                  <a:cubicBezTo>
                    <a:pt x="29" y="3"/>
                    <a:pt x="28"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Freeform 1448"/>
            <p:cNvSpPr/>
            <p:nvPr/>
          </p:nvSpPr>
          <p:spPr bwMode="auto">
            <a:xfrm>
              <a:off x="6891551" y="936952"/>
              <a:ext cx="16108" cy="14766"/>
            </a:xfrm>
            <a:custGeom>
              <a:gdLst>
                <a:gd name="T0" fmla="*/ 5 w 5"/>
                <a:gd name="T1" fmla="*/ 0 h 5"/>
                <a:gd name="T2" fmla="*/ 0 w 5"/>
                <a:gd name="T3" fmla="*/ 5 h 5"/>
                <a:gd name="T4" fmla="*/ 5 w 5"/>
                <a:gd name="T5" fmla="*/ 0 h 5"/>
                <a:gd name="T6" fmla="*/ 5 w 5"/>
                <a:gd name="T7" fmla="*/ 0 h 5"/>
              </a:gdLst>
              <a:cxnLst>
                <a:cxn ang="0">
                  <a:pos x="T0" y="T1"/>
                </a:cxn>
                <a:cxn ang="0">
                  <a:pos x="T2" y="T3"/>
                </a:cxn>
                <a:cxn ang="0">
                  <a:pos x="T4" y="T5"/>
                </a:cxn>
                <a:cxn ang="0">
                  <a:pos x="T6" y="T7"/>
                </a:cxn>
              </a:cxnLst>
              <a:rect l="0" t="0" r="r" b="b"/>
              <a:pathLst>
                <a:path w="5" h="5">
                  <a:moveTo>
                    <a:pt x="5" y="0"/>
                  </a:moveTo>
                  <a:cubicBezTo>
                    <a:pt x="3" y="0"/>
                    <a:pt x="1" y="3"/>
                    <a:pt x="0" y="5"/>
                  </a:cubicBezTo>
                  <a:cubicBezTo>
                    <a:pt x="2" y="3"/>
                    <a:pt x="4" y="2"/>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1449"/>
            <p:cNvSpPr/>
            <p:nvPr/>
          </p:nvSpPr>
          <p:spPr bwMode="auto">
            <a:xfrm>
              <a:off x="6247230" y="1349049"/>
              <a:ext cx="88594" cy="79198"/>
            </a:xfrm>
            <a:custGeom>
              <a:gdLst>
                <a:gd name="T0" fmla="*/ 19 w 28"/>
                <a:gd name="T1" fmla="*/ 0 h 25"/>
                <a:gd name="T2" fmla="*/ 5 w 28"/>
                <a:gd name="T3" fmla="*/ 16 h 25"/>
                <a:gd name="T4" fmla="*/ 5 w 28"/>
                <a:gd name="T5" fmla="*/ 25 h 25"/>
                <a:gd name="T6" fmla="*/ 5 w 28"/>
                <a:gd name="T7" fmla="*/ 23 h 25"/>
                <a:gd name="T8" fmla="*/ 6 w 28"/>
                <a:gd name="T9" fmla="*/ 19 h 25"/>
                <a:gd name="T10" fmla="*/ 9 w 28"/>
                <a:gd name="T11" fmla="*/ 17 h 25"/>
                <a:gd name="T12" fmla="*/ 13 w 28"/>
                <a:gd name="T13" fmla="*/ 12 h 25"/>
                <a:gd name="T14" fmla="*/ 28 w 28"/>
                <a:gd name="T15" fmla="*/ 2 h 25"/>
                <a:gd name="T16" fmla="*/ 25 w 28"/>
                <a:gd name="T17" fmla="*/ 3 h 25"/>
                <a:gd name="T18" fmla="*/ 19 w 28"/>
                <a:gd name="T19"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5">
                  <a:moveTo>
                    <a:pt x="19" y="0"/>
                  </a:moveTo>
                  <a:cubicBezTo>
                    <a:pt x="14" y="5"/>
                    <a:pt x="9" y="11"/>
                    <a:pt x="5" y="16"/>
                  </a:cubicBezTo>
                  <a:cubicBezTo>
                    <a:pt x="2" y="19"/>
                    <a:pt x="0" y="22"/>
                    <a:pt x="5" y="25"/>
                  </a:cubicBezTo>
                  <a:cubicBezTo>
                    <a:pt x="5" y="24"/>
                    <a:pt x="5" y="23"/>
                    <a:pt x="5" y="23"/>
                  </a:cubicBezTo>
                  <a:cubicBezTo>
                    <a:pt x="6" y="21"/>
                    <a:pt x="5" y="20"/>
                    <a:pt x="6" y="19"/>
                  </a:cubicBezTo>
                  <a:cubicBezTo>
                    <a:pt x="7" y="18"/>
                    <a:pt x="8" y="18"/>
                    <a:pt x="9" y="17"/>
                  </a:cubicBezTo>
                  <a:cubicBezTo>
                    <a:pt x="11" y="16"/>
                    <a:pt x="12" y="14"/>
                    <a:pt x="13" y="12"/>
                  </a:cubicBezTo>
                  <a:cubicBezTo>
                    <a:pt x="18" y="7"/>
                    <a:pt x="24" y="7"/>
                    <a:pt x="28" y="2"/>
                  </a:cubicBezTo>
                  <a:cubicBezTo>
                    <a:pt x="27" y="2"/>
                    <a:pt x="26" y="3"/>
                    <a:pt x="25" y="3"/>
                  </a:cubicBezTo>
                  <a:cubicBezTo>
                    <a:pt x="23" y="3"/>
                    <a:pt x="21" y="1"/>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Freeform 1450"/>
            <p:cNvSpPr/>
            <p:nvPr/>
          </p:nvSpPr>
          <p:spPr bwMode="auto">
            <a:xfrm>
              <a:off x="5640494" y="308738"/>
              <a:ext cx="69801" cy="56378"/>
            </a:xfrm>
            <a:custGeom>
              <a:gdLst>
                <a:gd name="T0" fmla="*/ 8 w 22"/>
                <a:gd name="T1" fmla="*/ 0 h 18"/>
                <a:gd name="T2" fmla="*/ 6 w 22"/>
                <a:gd name="T3" fmla="*/ 2 h 18"/>
                <a:gd name="T4" fmla="*/ 6 w 22"/>
                <a:gd name="T5" fmla="*/ 4 h 18"/>
                <a:gd name="T6" fmla="*/ 4 w 22"/>
                <a:gd name="T7" fmla="*/ 6 h 18"/>
                <a:gd name="T8" fmla="*/ 0 w 22"/>
                <a:gd name="T9" fmla="*/ 12 h 18"/>
                <a:gd name="T10" fmla="*/ 1 w 22"/>
                <a:gd name="T11" fmla="*/ 13 h 18"/>
                <a:gd name="T12" fmla="*/ 4 w 22"/>
                <a:gd name="T13" fmla="*/ 11 h 18"/>
                <a:gd name="T14" fmla="*/ 5 w 22"/>
                <a:gd name="T15" fmla="*/ 11 h 18"/>
                <a:gd name="T16" fmla="*/ 11 w 22"/>
                <a:gd name="T17" fmla="*/ 18 h 18"/>
                <a:gd name="T18" fmla="*/ 22 w 22"/>
                <a:gd name="T19" fmla="*/ 4 h 18"/>
                <a:gd name="T20" fmla="*/ 22 w 22"/>
                <a:gd name="T21" fmla="*/ 4 h 18"/>
                <a:gd name="T22" fmla="*/ 21 w 22"/>
                <a:gd name="T23" fmla="*/ 4 h 18"/>
                <a:gd name="T24" fmla="*/ 20 w 22"/>
                <a:gd name="T25" fmla="*/ 4 h 18"/>
                <a:gd name="T26" fmla="*/ 19 w 22"/>
                <a:gd name="T27" fmla="*/ 4 h 18"/>
                <a:gd name="T28" fmla="*/ 19 w 22"/>
                <a:gd name="T29" fmla="*/ 4 h 18"/>
                <a:gd name="T30" fmla="*/ 19 w 22"/>
                <a:gd name="T31" fmla="*/ 4 h 18"/>
                <a:gd name="T32" fmla="*/ 18 w 22"/>
                <a:gd name="T33" fmla="*/ 4 h 18"/>
                <a:gd name="T34" fmla="*/ 18 w 22"/>
                <a:gd name="T35" fmla="*/ 4 h 18"/>
                <a:gd name="T36" fmla="*/ 17 w 22"/>
                <a:gd name="T37" fmla="*/ 2 h 18"/>
                <a:gd name="T38" fmla="*/ 15 w 22"/>
                <a:gd name="T39" fmla="*/ 1 h 18"/>
                <a:gd name="T40" fmla="*/ 14 w 22"/>
                <a:gd name="T41" fmla="*/ 1 h 18"/>
                <a:gd name="T42" fmla="*/ 14 w 22"/>
                <a:gd name="T43" fmla="*/ 1 h 18"/>
                <a:gd name="T44" fmla="*/ 11 w 22"/>
                <a:gd name="T45" fmla="*/ 1 h 18"/>
                <a:gd name="T46" fmla="*/ 8 w 22"/>
                <a:gd name="T47"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18">
                  <a:moveTo>
                    <a:pt x="8" y="0"/>
                  </a:moveTo>
                  <a:cubicBezTo>
                    <a:pt x="8" y="0"/>
                    <a:pt x="7" y="1"/>
                    <a:pt x="6" y="2"/>
                  </a:cubicBezTo>
                  <a:cubicBezTo>
                    <a:pt x="6" y="3"/>
                    <a:pt x="6" y="4"/>
                    <a:pt x="6" y="4"/>
                  </a:cubicBezTo>
                  <a:cubicBezTo>
                    <a:pt x="5" y="5"/>
                    <a:pt x="4" y="5"/>
                    <a:pt x="4" y="6"/>
                  </a:cubicBezTo>
                  <a:cubicBezTo>
                    <a:pt x="2" y="7"/>
                    <a:pt x="0" y="10"/>
                    <a:pt x="0" y="12"/>
                  </a:cubicBezTo>
                  <a:cubicBezTo>
                    <a:pt x="0" y="13"/>
                    <a:pt x="0" y="13"/>
                    <a:pt x="1" y="13"/>
                  </a:cubicBezTo>
                  <a:cubicBezTo>
                    <a:pt x="1" y="13"/>
                    <a:pt x="3" y="11"/>
                    <a:pt x="4" y="11"/>
                  </a:cubicBezTo>
                  <a:cubicBezTo>
                    <a:pt x="4" y="11"/>
                    <a:pt x="4" y="11"/>
                    <a:pt x="5" y="11"/>
                  </a:cubicBezTo>
                  <a:cubicBezTo>
                    <a:pt x="7" y="11"/>
                    <a:pt x="9" y="16"/>
                    <a:pt x="11" y="18"/>
                  </a:cubicBezTo>
                  <a:cubicBezTo>
                    <a:pt x="15" y="14"/>
                    <a:pt x="19" y="9"/>
                    <a:pt x="22" y="4"/>
                  </a:cubicBezTo>
                  <a:cubicBezTo>
                    <a:pt x="22" y="4"/>
                    <a:pt x="22" y="4"/>
                    <a:pt x="22" y="4"/>
                  </a:cubicBezTo>
                  <a:cubicBezTo>
                    <a:pt x="21" y="4"/>
                    <a:pt x="21" y="4"/>
                    <a:pt x="21" y="4"/>
                  </a:cubicBezTo>
                  <a:cubicBezTo>
                    <a:pt x="20" y="4"/>
                    <a:pt x="20" y="4"/>
                    <a:pt x="20" y="4"/>
                  </a:cubicBezTo>
                  <a:cubicBezTo>
                    <a:pt x="20"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7" y="2"/>
                    <a:pt x="17" y="2"/>
                    <a:pt x="17" y="2"/>
                  </a:cubicBezTo>
                  <a:cubicBezTo>
                    <a:pt x="16" y="1"/>
                    <a:pt x="15" y="1"/>
                    <a:pt x="15" y="1"/>
                  </a:cubicBezTo>
                  <a:cubicBezTo>
                    <a:pt x="14" y="1"/>
                    <a:pt x="14" y="1"/>
                    <a:pt x="14" y="1"/>
                  </a:cubicBezTo>
                  <a:cubicBezTo>
                    <a:pt x="14" y="1"/>
                    <a:pt x="14" y="1"/>
                    <a:pt x="14" y="1"/>
                  </a:cubicBezTo>
                  <a:cubicBezTo>
                    <a:pt x="13" y="1"/>
                    <a:pt x="12" y="1"/>
                    <a:pt x="11" y="1"/>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7" name="Freeform 1451"/>
            <p:cNvSpPr/>
            <p:nvPr/>
          </p:nvSpPr>
          <p:spPr bwMode="auto">
            <a:xfrm>
              <a:off x="6347905" y="1256428"/>
              <a:ext cx="165107" cy="102018"/>
            </a:xfrm>
            <a:custGeom>
              <a:gdLst>
                <a:gd name="T0" fmla="*/ 49 w 52"/>
                <a:gd name="T1" fmla="*/ 0 h 32"/>
                <a:gd name="T2" fmla="*/ 34 w 52"/>
                <a:gd name="T3" fmla="*/ 8 h 32"/>
                <a:gd name="T4" fmla="*/ 32 w 52"/>
                <a:gd name="T5" fmla="*/ 8 h 32"/>
                <a:gd name="T6" fmla="*/ 28 w 52"/>
                <a:gd name="T7" fmla="*/ 3 h 32"/>
                <a:gd name="T8" fmla="*/ 27 w 52"/>
                <a:gd name="T9" fmla="*/ 4 h 32"/>
                <a:gd name="T10" fmla="*/ 27 w 52"/>
                <a:gd name="T11" fmla="*/ 5 h 32"/>
                <a:gd name="T12" fmla="*/ 25 w 52"/>
                <a:gd name="T13" fmla="*/ 8 h 32"/>
                <a:gd name="T14" fmla="*/ 19 w 52"/>
                <a:gd name="T15" fmla="*/ 13 h 32"/>
                <a:gd name="T16" fmla="*/ 10 w 52"/>
                <a:gd name="T17" fmla="*/ 23 h 32"/>
                <a:gd name="T18" fmla="*/ 4 w 52"/>
                <a:gd name="T19" fmla="*/ 32 h 32"/>
                <a:gd name="T20" fmla="*/ 5 w 52"/>
                <a:gd name="T21" fmla="*/ 32 h 32"/>
                <a:gd name="T22" fmla="*/ 7 w 52"/>
                <a:gd name="T23" fmla="*/ 29 h 32"/>
                <a:gd name="T24" fmla="*/ 12 w 52"/>
                <a:gd name="T25" fmla="*/ 27 h 32"/>
                <a:gd name="T26" fmla="*/ 16 w 52"/>
                <a:gd name="T27" fmla="*/ 23 h 32"/>
                <a:gd name="T28" fmla="*/ 20 w 52"/>
                <a:gd name="T29" fmla="*/ 19 h 32"/>
                <a:gd name="T30" fmla="*/ 23 w 52"/>
                <a:gd name="T31" fmla="*/ 16 h 32"/>
                <a:gd name="T32" fmla="*/ 23 w 52"/>
                <a:gd name="T33" fmla="*/ 16 h 32"/>
                <a:gd name="T34" fmla="*/ 24 w 52"/>
                <a:gd name="T35" fmla="*/ 16 h 32"/>
                <a:gd name="T36" fmla="*/ 25 w 52"/>
                <a:gd name="T37" fmla="*/ 16 h 32"/>
                <a:gd name="T38" fmla="*/ 25 w 52"/>
                <a:gd name="T39" fmla="*/ 16 h 32"/>
                <a:gd name="T40" fmla="*/ 28 w 52"/>
                <a:gd name="T41" fmla="*/ 15 h 32"/>
                <a:gd name="T42" fmla="*/ 31 w 52"/>
                <a:gd name="T43" fmla="*/ 12 h 32"/>
                <a:gd name="T44" fmla="*/ 42 w 52"/>
                <a:gd name="T45" fmla="*/ 7 h 32"/>
                <a:gd name="T46" fmla="*/ 48 w 52"/>
                <a:gd name="T47" fmla="*/ 6 h 32"/>
                <a:gd name="T48" fmla="*/ 49 w 52"/>
                <a:gd name="T49"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2">
                  <a:moveTo>
                    <a:pt x="49" y="0"/>
                  </a:moveTo>
                  <a:cubicBezTo>
                    <a:pt x="46" y="2"/>
                    <a:pt x="39" y="8"/>
                    <a:pt x="34" y="8"/>
                  </a:cubicBezTo>
                  <a:cubicBezTo>
                    <a:pt x="33" y="8"/>
                    <a:pt x="32" y="8"/>
                    <a:pt x="32" y="8"/>
                  </a:cubicBezTo>
                  <a:cubicBezTo>
                    <a:pt x="30" y="7"/>
                    <a:pt x="30" y="3"/>
                    <a:pt x="28" y="3"/>
                  </a:cubicBezTo>
                  <a:cubicBezTo>
                    <a:pt x="28" y="3"/>
                    <a:pt x="28" y="4"/>
                    <a:pt x="27" y="4"/>
                  </a:cubicBezTo>
                  <a:cubicBezTo>
                    <a:pt x="27" y="4"/>
                    <a:pt x="27" y="5"/>
                    <a:pt x="27" y="5"/>
                  </a:cubicBezTo>
                  <a:cubicBezTo>
                    <a:pt x="27" y="6"/>
                    <a:pt x="26" y="7"/>
                    <a:pt x="25" y="8"/>
                  </a:cubicBezTo>
                  <a:cubicBezTo>
                    <a:pt x="23" y="9"/>
                    <a:pt x="20" y="11"/>
                    <a:pt x="19" y="13"/>
                  </a:cubicBezTo>
                  <a:cubicBezTo>
                    <a:pt x="17" y="15"/>
                    <a:pt x="7" y="21"/>
                    <a:pt x="10" y="23"/>
                  </a:cubicBezTo>
                  <a:cubicBezTo>
                    <a:pt x="9" y="23"/>
                    <a:pt x="0" y="30"/>
                    <a:pt x="4" y="32"/>
                  </a:cubicBezTo>
                  <a:cubicBezTo>
                    <a:pt x="4" y="32"/>
                    <a:pt x="4" y="32"/>
                    <a:pt x="5" y="32"/>
                  </a:cubicBezTo>
                  <a:cubicBezTo>
                    <a:pt x="6" y="32"/>
                    <a:pt x="6" y="30"/>
                    <a:pt x="7" y="29"/>
                  </a:cubicBezTo>
                  <a:cubicBezTo>
                    <a:pt x="9" y="28"/>
                    <a:pt x="11" y="29"/>
                    <a:pt x="12" y="27"/>
                  </a:cubicBezTo>
                  <a:cubicBezTo>
                    <a:pt x="14" y="26"/>
                    <a:pt x="14" y="24"/>
                    <a:pt x="16" y="23"/>
                  </a:cubicBezTo>
                  <a:cubicBezTo>
                    <a:pt x="17" y="22"/>
                    <a:pt x="19" y="21"/>
                    <a:pt x="20" y="19"/>
                  </a:cubicBezTo>
                  <a:cubicBezTo>
                    <a:pt x="21" y="17"/>
                    <a:pt x="20" y="16"/>
                    <a:pt x="23" y="16"/>
                  </a:cubicBezTo>
                  <a:cubicBezTo>
                    <a:pt x="23" y="16"/>
                    <a:pt x="23" y="16"/>
                    <a:pt x="23" y="16"/>
                  </a:cubicBezTo>
                  <a:cubicBezTo>
                    <a:pt x="23" y="16"/>
                    <a:pt x="24" y="16"/>
                    <a:pt x="24" y="16"/>
                  </a:cubicBezTo>
                  <a:cubicBezTo>
                    <a:pt x="25" y="16"/>
                    <a:pt x="25" y="16"/>
                    <a:pt x="25" y="16"/>
                  </a:cubicBezTo>
                  <a:cubicBezTo>
                    <a:pt x="25" y="16"/>
                    <a:pt x="25" y="16"/>
                    <a:pt x="25" y="16"/>
                  </a:cubicBezTo>
                  <a:cubicBezTo>
                    <a:pt x="26" y="16"/>
                    <a:pt x="27" y="16"/>
                    <a:pt x="28" y="15"/>
                  </a:cubicBezTo>
                  <a:cubicBezTo>
                    <a:pt x="29" y="14"/>
                    <a:pt x="30" y="13"/>
                    <a:pt x="31" y="12"/>
                  </a:cubicBezTo>
                  <a:cubicBezTo>
                    <a:pt x="34" y="9"/>
                    <a:pt x="38" y="8"/>
                    <a:pt x="42" y="7"/>
                  </a:cubicBezTo>
                  <a:cubicBezTo>
                    <a:pt x="44" y="6"/>
                    <a:pt x="46" y="6"/>
                    <a:pt x="48" y="6"/>
                  </a:cubicBezTo>
                  <a:cubicBezTo>
                    <a:pt x="52" y="5"/>
                    <a:pt x="49" y="3"/>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8" name="Freeform 1452"/>
            <p:cNvSpPr/>
            <p:nvPr/>
          </p:nvSpPr>
          <p:spPr bwMode="auto">
            <a:xfrm>
              <a:off x="5602909" y="314107"/>
              <a:ext cx="34901" cy="25504"/>
            </a:xfrm>
            <a:custGeom>
              <a:gdLst>
                <a:gd name="T0" fmla="*/ 10 w 11"/>
                <a:gd name="T1" fmla="*/ 0 h 8"/>
                <a:gd name="T2" fmla="*/ 10 w 11"/>
                <a:gd name="T3" fmla="*/ 0 h 8"/>
                <a:gd name="T4" fmla="*/ 9 w 11"/>
                <a:gd name="T5" fmla="*/ 1 h 8"/>
                <a:gd name="T6" fmla="*/ 9 w 11"/>
                <a:gd name="T7" fmla="*/ 1 h 8"/>
                <a:gd name="T8" fmla="*/ 8 w 11"/>
                <a:gd name="T9" fmla="*/ 1 h 8"/>
                <a:gd name="T10" fmla="*/ 7 w 11"/>
                <a:gd name="T11" fmla="*/ 1 h 8"/>
                <a:gd name="T12" fmla="*/ 0 w 11"/>
                <a:gd name="T13" fmla="*/ 8 h 8"/>
                <a:gd name="T14" fmla="*/ 10 w 11"/>
                <a:gd name="T15" fmla="*/ 1 h 8"/>
                <a:gd name="T16" fmla="*/ 10 w 11"/>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10" y="0"/>
                  </a:moveTo>
                  <a:cubicBezTo>
                    <a:pt x="10" y="0"/>
                    <a:pt x="10" y="0"/>
                    <a:pt x="10" y="0"/>
                  </a:cubicBezTo>
                  <a:cubicBezTo>
                    <a:pt x="10" y="0"/>
                    <a:pt x="9" y="1"/>
                    <a:pt x="9" y="1"/>
                  </a:cubicBezTo>
                  <a:cubicBezTo>
                    <a:pt x="9" y="1"/>
                    <a:pt x="9" y="1"/>
                    <a:pt x="9" y="1"/>
                  </a:cubicBezTo>
                  <a:cubicBezTo>
                    <a:pt x="9" y="1"/>
                    <a:pt x="8" y="1"/>
                    <a:pt x="8" y="1"/>
                  </a:cubicBezTo>
                  <a:cubicBezTo>
                    <a:pt x="7" y="1"/>
                    <a:pt x="7" y="1"/>
                    <a:pt x="7" y="1"/>
                  </a:cubicBezTo>
                  <a:cubicBezTo>
                    <a:pt x="4" y="2"/>
                    <a:pt x="1" y="4"/>
                    <a:pt x="0" y="8"/>
                  </a:cubicBezTo>
                  <a:cubicBezTo>
                    <a:pt x="6" y="7"/>
                    <a:pt x="9" y="7"/>
                    <a:pt x="10" y="1"/>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Freeform 1453"/>
            <p:cNvSpPr/>
            <p:nvPr/>
          </p:nvSpPr>
          <p:spPr bwMode="auto">
            <a:xfrm>
              <a:off x="6722416" y="1104744"/>
              <a:ext cx="34901" cy="34901"/>
            </a:xfrm>
            <a:custGeom>
              <a:gdLst>
                <a:gd name="T0" fmla="*/ 11 w 11"/>
                <a:gd name="T1" fmla="*/ 0 h 11"/>
                <a:gd name="T2" fmla="*/ 0 w 11"/>
                <a:gd name="T3" fmla="*/ 10 h 11"/>
                <a:gd name="T4" fmla="*/ 1 w 11"/>
                <a:gd name="T5" fmla="*/ 11 h 11"/>
                <a:gd name="T6" fmla="*/ 11 w 11"/>
                <a:gd name="T7" fmla="*/ 0 h 11"/>
              </a:gdLst>
              <a:cxnLst>
                <a:cxn ang="0">
                  <a:pos x="T0" y="T1"/>
                </a:cxn>
                <a:cxn ang="0">
                  <a:pos x="T2" y="T3"/>
                </a:cxn>
                <a:cxn ang="0">
                  <a:pos x="T4" y="T5"/>
                </a:cxn>
                <a:cxn ang="0">
                  <a:pos x="T6" y="T7"/>
                </a:cxn>
              </a:cxnLst>
              <a:rect l="0" t="0" r="r" b="b"/>
              <a:pathLst>
                <a:path w="11" h="11">
                  <a:moveTo>
                    <a:pt x="11" y="0"/>
                  </a:moveTo>
                  <a:cubicBezTo>
                    <a:pt x="7" y="3"/>
                    <a:pt x="3" y="6"/>
                    <a:pt x="0" y="10"/>
                  </a:cubicBezTo>
                  <a:cubicBezTo>
                    <a:pt x="0" y="11"/>
                    <a:pt x="1" y="11"/>
                    <a:pt x="1" y="11"/>
                  </a:cubicBezTo>
                  <a:cubicBezTo>
                    <a:pt x="5" y="11"/>
                    <a:pt x="10"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0" name="Freeform 1455"/>
            <p:cNvSpPr/>
            <p:nvPr/>
          </p:nvSpPr>
          <p:spPr bwMode="auto">
            <a:xfrm>
              <a:off x="6815038" y="1041654"/>
              <a:ext cx="9396" cy="5369"/>
            </a:xfrm>
            <a:custGeom>
              <a:gdLst>
                <a:gd name="T0" fmla="*/ 2 w 3"/>
                <a:gd name="T1" fmla="*/ 0 h 2"/>
                <a:gd name="T2" fmla="*/ 0 w 3"/>
                <a:gd name="T3" fmla="*/ 2 h 2"/>
                <a:gd name="T4" fmla="*/ 2 w 3"/>
                <a:gd name="T5" fmla="*/ 0 h 2"/>
              </a:gdLst>
              <a:cxnLst>
                <a:cxn ang="0">
                  <a:pos x="T0" y="T1"/>
                </a:cxn>
                <a:cxn ang="0">
                  <a:pos x="T2" y="T3"/>
                </a:cxn>
                <a:cxn ang="0">
                  <a:pos x="T4" y="T5"/>
                </a:cxn>
              </a:cxnLst>
              <a:rect l="0" t="0" r="r" b="b"/>
              <a:pathLst>
                <a:path w="3" h="2">
                  <a:moveTo>
                    <a:pt x="2" y="0"/>
                  </a:moveTo>
                  <a:cubicBezTo>
                    <a:pt x="2" y="0"/>
                    <a:pt x="1" y="1"/>
                    <a:pt x="0" y="2"/>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1" name="Freeform 1456"/>
            <p:cNvSpPr/>
            <p:nvPr/>
          </p:nvSpPr>
          <p:spPr bwMode="auto">
            <a:xfrm>
              <a:off x="6773426" y="1081925"/>
              <a:ext cx="9396" cy="6712"/>
            </a:xfrm>
            <a:custGeom>
              <a:gdLst>
                <a:gd name="T0" fmla="*/ 2 w 3"/>
                <a:gd name="T1" fmla="*/ 0 h 2"/>
                <a:gd name="T2" fmla="*/ 0 w 3"/>
                <a:gd name="T3" fmla="*/ 2 h 2"/>
                <a:gd name="T4" fmla="*/ 2 w 3"/>
                <a:gd name="T5" fmla="*/ 0 h 2"/>
              </a:gdLst>
              <a:cxnLst>
                <a:cxn ang="0">
                  <a:pos x="T0" y="T1"/>
                </a:cxn>
                <a:cxn ang="0">
                  <a:pos x="T2" y="T3"/>
                </a:cxn>
                <a:cxn ang="0">
                  <a:pos x="T4" y="T5"/>
                </a:cxn>
              </a:cxnLst>
              <a:rect l="0" t="0" r="r" b="b"/>
              <a:pathLst>
                <a:path w="3" h="2">
                  <a:moveTo>
                    <a:pt x="2" y="0"/>
                  </a:moveTo>
                  <a:cubicBezTo>
                    <a:pt x="2" y="0"/>
                    <a:pt x="1" y="1"/>
                    <a:pt x="0" y="2"/>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2" name="Freeform 1457"/>
            <p:cNvSpPr/>
            <p:nvPr/>
          </p:nvSpPr>
          <p:spPr bwMode="auto">
            <a:xfrm>
              <a:off x="6935848" y="867151"/>
              <a:ext cx="25504" cy="30874"/>
            </a:xfrm>
            <a:custGeom>
              <a:gdLst>
                <a:gd name="T0" fmla="*/ 6 w 8"/>
                <a:gd name="T1" fmla="*/ 0 h 10"/>
                <a:gd name="T2" fmla="*/ 5 w 8"/>
                <a:gd name="T3" fmla="*/ 0 h 10"/>
                <a:gd name="T4" fmla="*/ 0 w 8"/>
                <a:gd name="T5" fmla="*/ 10 h 10"/>
                <a:gd name="T6" fmla="*/ 6 w 8"/>
                <a:gd name="T7" fmla="*/ 5 h 10"/>
                <a:gd name="T8" fmla="*/ 6 w 8"/>
                <a:gd name="T9" fmla="*/ 0 h 10"/>
              </a:gdLst>
              <a:cxnLst>
                <a:cxn ang="0">
                  <a:pos x="T0" y="T1"/>
                </a:cxn>
                <a:cxn ang="0">
                  <a:pos x="T2" y="T3"/>
                </a:cxn>
                <a:cxn ang="0">
                  <a:pos x="T4" y="T5"/>
                </a:cxn>
                <a:cxn ang="0">
                  <a:pos x="T6" y="T7"/>
                </a:cxn>
                <a:cxn ang="0">
                  <a:pos x="T8" y="T9"/>
                </a:cxn>
              </a:cxnLst>
              <a:rect l="0" t="0" r="r" b="b"/>
              <a:pathLst>
                <a:path w="8" h="10">
                  <a:moveTo>
                    <a:pt x="6" y="0"/>
                  </a:moveTo>
                  <a:cubicBezTo>
                    <a:pt x="6" y="0"/>
                    <a:pt x="5" y="0"/>
                    <a:pt x="5" y="0"/>
                  </a:cubicBezTo>
                  <a:cubicBezTo>
                    <a:pt x="3" y="2"/>
                    <a:pt x="1" y="7"/>
                    <a:pt x="0" y="10"/>
                  </a:cubicBezTo>
                  <a:cubicBezTo>
                    <a:pt x="5" y="10"/>
                    <a:pt x="6" y="10"/>
                    <a:pt x="6" y="5"/>
                  </a:cubicBezTo>
                  <a:cubicBezTo>
                    <a:pt x="7" y="4"/>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Freeform 1458"/>
            <p:cNvSpPr/>
            <p:nvPr/>
          </p:nvSpPr>
          <p:spPr bwMode="auto">
            <a:xfrm>
              <a:off x="6551940" y="1193338"/>
              <a:ext cx="81882" cy="57720"/>
            </a:xfrm>
            <a:custGeom>
              <a:gdLst>
                <a:gd name="T0" fmla="*/ 22 w 26"/>
                <a:gd name="T1" fmla="*/ 0 h 18"/>
                <a:gd name="T2" fmla="*/ 20 w 26"/>
                <a:gd name="T3" fmla="*/ 0 h 18"/>
                <a:gd name="T4" fmla="*/ 18 w 26"/>
                <a:gd name="T5" fmla="*/ 2 h 18"/>
                <a:gd name="T6" fmla="*/ 13 w 26"/>
                <a:gd name="T7" fmla="*/ 4 h 18"/>
                <a:gd name="T8" fmla="*/ 0 w 26"/>
                <a:gd name="T9" fmla="*/ 18 h 18"/>
                <a:gd name="T10" fmla="*/ 1 w 26"/>
                <a:gd name="T11" fmla="*/ 18 h 18"/>
                <a:gd name="T12" fmla="*/ 3 w 26"/>
                <a:gd name="T13" fmla="*/ 16 h 18"/>
                <a:gd name="T14" fmla="*/ 4 w 26"/>
                <a:gd name="T15" fmla="*/ 17 h 18"/>
                <a:gd name="T16" fmla="*/ 26 w 26"/>
                <a:gd name="T17" fmla="*/ 0 h 18"/>
                <a:gd name="T18" fmla="*/ 25 w 26"/>
                <a:gd name="T19" fmla="*/ 0 h 18"/>
                <a:gd name="T20" fmla="*/ 24 w 26"/>
                <a:gd name="T21" fmla="*/ 0 h 18"/>
                <a:gd name="T22" fmla="*/ 22 w 26"/>
                <a:gd name="T23"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8">
                  <a:moveTo>
                    <a:pt x="22" y="0"/>
                  </a:moveTo>
                  <a:cubicBezTo>
                    <a:pt x="22" y="0"/>
                    <a:pt x="21" y="0"/>
                    <a:pt x="20" y="0"/>
                  </a:cubicBezTo>
                  <a:cubicBezTo>
                    <a:pt x="19" y="1"/>
                    <a:pt x="19" y="2"/>
                    <a:pt x="18" y="2"/>
                  </a:cubicBezTo>
                  <a:cubicBezTo>
                    <a:pt x="16" y="3"/>
                    <a:pt x="15" y="3"/>
                    <a:pt x="13" y="4"/>
                  </a:cubicBezTo>
                  <a:cubicBezTo>
                    <a:pt x="9" y="9"/>
                    <a:pt x="4" y="13"/>
                    <a:pt x="0" y="18"/>
                  </a:cubicBezTo>
                  <a:cubicBezTo>
                    <a:pt x="1" y="18"/>
                    <a:pt x="1" y="18"/>
                    <a:pt x="1" y="18"/>
                  </a:cubicBezTo>
                  <a:cubicBezTo>
                    <a:pt x="2" y="18"/>
                    <a:pt x="3" y="17"/>
                    <a:pt x="3" y="16"/>
                  </a:cubicBezTo>
                  <a:cubicBezTo>
                    <a:pt x="4" y="17"/>
                    <a:pt x="4" y="17"/>
                    <a:pt x="4" y="17"/>
                  </a:cubicBezTo>
                  <a:cubicBezTo>
                    <a:pt x="8" y="17"/>
                    <a:pt x="25" y="1"/>
                    <a:pt x="26" y="0"/>
                  </a:cubicBezTo>
                  <a:cubicBezTo>
                    <a:pt x="26" y="0"/>
                    <a:pt x="25" y="0"/>
                    <a:pt x="25" y="0"/>
                  </a:cubicBezTo>
                  <a:cubicBezTo>
                    <a:pt x="24" y="0"/>
                    <a:pt x="24" y="0"/>
                    <a:pt x="24" y="0"/>
                  </a:cubicBezTo>
                  <a:cubicBezTo>
                    <a:pt x="23" y="0"/>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4" name="Freeform 1459"/>
            <p:cNvSpPr/>
            <p:nvPr/>
          </p:nvSpPr>
          <p:spPr bwMode="auto">
            <a:xfrm>
              <a:off x="6338509" y="1409455"/>
              <a:ext cx="22820" cy="9396"/>
            </a:xfrm>
            <a:custGeom>
              <a:gdLst>
                <a:gd name="T0" fmla="*/ 6 w 7"/>
                <a:gd name="T1" fmla="*/ 0 h 3"/>
                <a:gd name="T2" fmla="*/ 0 w 7"/>
                <a:gd name="T3" fmla="*/ 3 h 3"/>
                <a:gd name="T4" fmla="*/ 7 w 7"/>
                <a:gd name="T5" fmla="*/ 0 h 3"/>
                <a:gd name="T6" fmla="*/ 6 w 7"/>
                <a:gd name="T7" fmla="*/ 0 h 3"/>
              </a:gdLst>
              <a:cxnLst>
                <a:cxn ang="0">
                  <a:pos x="T0" y="T1"/>
                </a:cxn>
                <a:cxn ang="0">
                  <a:pos x="T2" y="T3"/>
                </a:cxn>
                <a:cxn ang="0">
                  <a:pos x="T4" y="T5"/>
                </a:cxn>
                <a:cxn ang="0">
                  <a:pos x="T6" y="T7"/>
                </a:cxn>
              </a:cxnLst>
              <a:rect l="0" t="0" r="r" b="b"/>
              <a:pathLst>
                <a:path w="7" h="3">
                  <a:moveTo>
                    <a:pt x="6" y="0"/>
                  </a:moveTo>
                  <a:cubicBezTo>
                    <a:pt x="4" y="0"/>
                    <a:pt x="0" y="1"/>
                    <a:pt x="0" y="3"/>
                  </a:cubicBezTo>
                  <a:cubicBezTo>
                    <a:pt x="3" y="2"/>
                    <a:pt x="5" y="1"/>
                    <a:pt x="7"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5" name="Freeform 1460"/>
            <p:cNvSpPr>
              <a:spLocks noEditPoints="1"/>
            </p:cNvSpPr>
            <p:nvPr/>
          </p:nvSpPr>
          <p:spPr bwMode="auto">
            <a:xfrm>
              <a:off x="6982830" y="755737"/>
              <a:ext cx="69801" cy="76513"/>
            </a:xfrm>
            <a:custGeom>
              <a:gdLst>
                <a:gd name="T0" fmla="*/ 0 w 22"/>
                <a:gd name="T1" fmla="*/ 22 h 24"/>
                <a:gd name="T2" fmla="*/ 0 w 22"/>
                <a:gd name="T3" fmla="*/ 22 h 24"/>
                <a:gd name="T4" fmla="*/ 0 w 22"/>
                <a:gd name="T5" fmla="*/ 22 h 24"/>
                <a:gd name="T6" fmla="*/ 19 w 22"/>
                <a:gd name="T7" fmla="*/ 0 h 24"/>
                <a:gd name="T8" fmla="*/ 18 w 22"/>
                <a:gd name="T9" fmla="*/ 0 h 24"/>
                <a:gd name="T10" fmla="*/ 13 w 22"/>
                <a:gd name="T11" fmla="*/ 9 h 24"/>
                <a:gd name="T12" fmla="*/ 8 w 22"/>
                <a:gd name="T13" fmla="*/ 12 h 24"/>
                <a:gd name="T14" fmla="*/ 2 w 22"/>
                <a:gd name="T15" fmla="*/ 14 h 24"/>
                <a:gd name="T16" fmla="*/ 1 w 22"/>
                <a:gd name="T17" fmla="*/ 15 h 24"/>
                <a:gd name="T18" fmla="*/ 0 w 22"/>
                <a:gd name="T19" fmla="*/ 15 h 24"/>
                <a:gd name="T20" fmla="*/ 0 w 22"/>
                <a:gd name="T21" fmla="*/ 15 h 24"/>
                <a:gd name="T22" fmla="*/ 0 w 22"/>
                <a:gd name="T23" fmla="*/ 16 h 24"/>
                <a:gd name="T24" fmla="*/ 0 w 22"/>
                <a:gd name="T25" fmla="*/ 16 h 24"/>
                <a:gd name="T26" fmla="*/ 1 w 22"/>
                <a:gd name="T27" fmla="*/ 18 h 24"/>
                <a:gd name="T28" fmla="*/ 0 w 22"/>
                <a:gd name="T29" fmla="*/ 22 h 24"/>
                <a:gd name="T30" fmla="*/ 0 w 22"/>
                <a:gd name="T31" fmla="*/ 22 h 24"/>
                <a:gd name="T32" fmla="*/ 4 w 22"/>
                <a:gd name="T33" fmla="*/ 24 h 24"/>
                <a:gd name="T34" fmla="*/ 10 w 22"/>
                <a:gd name="T35" fmla="*/ 19 h 24"/>
                <a:gd name="T36" fmla="*/ 22 w 22"/>
                <a:gd name="T37" fmla="*/ 6 h 24"/>
                <a:gd name="T38" fmla="*/ 19 w 22"/>
                <a:gd name="T39"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4">
                  <a:moveTo>
                    <a:pt x="0" y="22"/>
                  </a:moveTo>
                  <a:cubicBezTo>
                    <a:pt x="0" y="22"/>
                    <a:pt x="0" y="22"/>
                    <a:pt x="0" y="22"/>
                  </a:cubicBezTo>
                  <a:cubicBezTo>
                    <a:pt x="0" y="22"/>
                    <a:pt x="0" y="22"/>
                    <a:pt x="0" y="22"/>
                  </a:cubicBezTo>
                  <a:moveTo>
                    <a:pt x="19" y="0"/>
                  </a:moveTo>
                  <a:cubicBezTo>
                    <a:pt x="19" y="0"/>
                    <a:pt x="19" y="0"/>
                    <a:pt x="18" y="0"/>
                  </a:cubicBezTo>
                  <a:cubicBezTo>
                    <a:pt x="15" y="1"/>
                    <a:pt x="15" y="7"/>
                    <a:pt x="13" y="9"/>
                  </a:cubicBezTo>
                  <a:cubicBezTo>
                    <a:pt x="11" y="11"/>
                    <a:pt x="10" y="12"/>
                    <a:pt x="8" y="12"/>
                  </a:cubicBezTo>
                  <a:cubicBezTo>
                    <a:pt x="5" y="12"/>
                    <a:pt x="5" y="14"/>
                    <a:pt x="2" y="14"/>
                  </a:cubicBezTo>
                  <a:cubicBezTo>
                    <a:pt x="2" y="15"/>
                    <a:pt x="1" y="15"/>
                    <a:pt x="1" y="15"/>
                  </a:cubicBezTo>
                  <a:cubicBezTo>
                    <a:pt x="1" y="15"/>
                    <a:pt x="1" y="15"/>
                    <a:pt x="0" y="15"/>
                  </a:cubicBezTo>
                  <a:cubicBezTo>
                    <a:pt x="0" y="15"/>
                    <a:pt x="0" y="15"/>
                    <a:pt x="0" y="15"/>
                  </a:cubicBezTo>
                  <a:cubicBezTo>
                    <a:pt x="0" y="15"/>
                    <a:pt x="0" y="15"/>
                    <a:pt x="0" y="16"/>
                  </a:cubicBezTo>
                  <a:cubicBezTo>
                    <a:pt x="0" y="16"/>
                    <a:pt x="0" y="16"/>
                    <a:pt x="0" y="16"/>
                  </a:cubicBezTo>
                  <a:cubicBezTo>
                    <a:pt x="0" y="16"/>
                    <a:pt x="1" y="18"/>
                    <a:pt x="1" y="18"/>
                  </a:cubicBezTo>
                  <a:cubicBezTo>
                    <a:pt x="1" y="19"/>
                    <a:pt x="0" y="20"/>
                    <a:pt x="0" y="22"/>
                  </a:cubicBezTo>
                  <a:cubicBezTo>
                    <a:pt x="0" y="22"/>
                    <a:pt x="0" y="22"/>
                    <a:pt x="0" y="22"/>
                  </a:cubicBezTo>
                  <a:cubicBezTo>
                    <a:pt x="0" y="22"/>
                    <a:pt x="4" y="23"/>
                    <a:pt x="4" y="24"/>
                  </a:cubicBezTo>
                  <a:cubicBezTo>
                    <a:pt x="6" y="22"/>
                    <a:pt x="8" y="20"/>
                    <a:pt x="10" y="19"/>
                  </a:cubicBezTo>
                  <a:cubicBezTo>
                    <a:pt x="13" y="16"/>
                    <a:pt x="21" y="10"/>
                    <a:pt x="22" y="6"/>
                  </a:cubicBezTo>
                  <a:cubicBezTo>
                    <a:pt x="22" y="3"/>
                    <a:pt x="22"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Freeform 1462"/>
            <p:cNvSpPr/>
            <p:nvPr/>
          </p:nvSpPr>
          <p:spPr bwMode="auto">
            <a:xfrm>
              <a:off x="4762607" y="5519690"/>
              <a:ext cx="12081" cy="12081"/>
            </a:xfrm>
            <a:custGeom>
              <a:gdLst>
                <a:gd name="T0" fmla="*/ 4 w 4"/>
                <a:gd name="T1" fmla="*/ 0 h 4"/>
                <a:gd name="T2" fmla="*/ 1 w 4"/>
                <a:gd name="T3" fmla="*/ 4 h 4"/>
                <a:gd name="T4" fmla="*/ 4 w 4"/>
                <a:gd name="T5" fmla="*/ 0 h 4"/>
              </a:gdLst>
              <a:cxnLst>
                <a:cxn ang="0">
                  <a:pos x="T0" y="T1"/>
                </a:cxn>
                <a:cxn ang="0">
                  <a:pos x="T2" y="T3"/>
                </a:cxn>
                <a:cxn ang="0">
                  <a:pos x="T4" y="T5"/>
                </a:cxn>
              </a:cxnLst>
              <a:rect l="0" t="0" r="r" b="b"/>
              <a:pathLst>
                <a:path w="4" h="4">
                  <a:moveTo>
                    <a:pt x="4" y="0"/>
                  </a:moveTo>
                  <a:cubicBezTo>
                    <a:pt x="3" y="1"/>
                    <a:pt x="0" y="2"/>
                    <a:pt x="1" y="4"/>
                  </a:cubicBezTo>
                  <a:cubicBezTo>
                    <a:pt x="2" y="3"/>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Freeform 1463"/>
            <p:cNvSpPr/>
            <p:nvPr/>
          </p:nvSpPr>
          <p:spPr bwMode="auto">
            <a:xfrm>
              <a:off x="7827159" y="6452614"/>
              <a:ext cx="16108" cy="25504"/>
            </a:xfrm>
            <a:custGeom>
              <a:gdLst>
                <a:gd name="T0" fmla="*/ 2 w 5"/>
                <a:gd name="T1" fmla="*/ 0 h 8"/>
                <a:gd name="T2" fmla="*/ 0 w 5"/>
                <a:gd name="T3" fmla="*/ 8 h 8"/>
                <a:gd name="T4" fmla="*/ 2 w 5"/>
                <a:gd name="T5" fmla="*/ 3 h 8"/>
                <a:gd name="T6" fmla="*/ 2 w 5"/>
                <a:gd name="T7" fmla="*/ 0 h 8"/>
              </a:gdLst>
              <a:cxnLst>
                <a:cxn ang="0">
                  <a:pos x="T0" y="T1"/>
                </a:cxn>
                <a:cxn ang="0">
                  <a:pos x="T2" y="T3"/>
                </a:cxn>
                <a:cxn ang="0">
                  <a:pos x="T4" y="T5"/>
                </a:cxn>
                <a:cxn ang="0">
                  <a:pos x="T6" y="T7"/>
                </a:cxn>
              </a:cxnLst>
              <a:rect l="0" t="0" r="r" b="b"/>
              <a:pathLst>
                <a:path w="5" h="8">
                  <a:moveTo>
                    <a:pt x="2" y="0"/>
                  </a:moveTo>
                  <a:cubicBezTo>
                    <a:pt x="1" y="3"/>
                    <a:pt x="0" y="6"/>
                    <a:pt x="0" y="8"/>
                  </a:cubicBezTo>
                  <a:cubicBezTo>
                    <a:pt x="3" y="6"/>
                    <a:pt x="1" y="6"/>
                    <a:pt x="2" y="3"/>
                  </a:cubicBezTo>
                  <a:cubicBezTo>
                    <a:pt x="2" y="1"/>
                    <a:pt x="5"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8" name="Freeform 1464"/>
            <p:cNvSpPr/>
            <p:nvPr/>
          </p:nvSpPr>
          <p:spPr bwMode="auto">
            <a:xfrm flipH="1">
              <a:off x="7611043" y="6394894"/>
              <a:ext cx="0" cy="6712"/>
            </a:xfrm>
            <a:custGeom>
              <a:gdLst>
                <a:gd name="T0" fmla="*/ 0 h 2"/>
                <a:gd name="T1" fmla="*/ 2 h 2"/>
                <a:gd name="T2" fmla="*/ 0 h 2"/>
              </a:gdLst>
              <a:cxnLst>
                <a:cxn ang="0">
                  <a:pos x="0" y="T0"/>
                </a:cxn>
                <a:cxn ang="0">
                  <a:pos x="0" y="T1"/>
                </a:cxn>
                <a:cxn ang="0">
                  <a:pos x="0" y="T2"/>
                </a:cxn>
              </a:cxnLst>
              <a:rect l="0" t="0" r="r" b="b"/>
              <a:pathLst>
                <a:path h="2">
                  <a:moveTo>
                    <a:pt x="0" y="0"/>
                  </a:moveTo>
                  <a:cubicBezTo>
                    <a:pt x="0" y="1"/>
                    <a:pt x="0" y="1"/>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Freeform 1465"/>
            <p:cNvSpPr/>
            <p:nvPr/>
          </p:nvSpPr>
          <p:spPr bwMode="auto">
            <a:xfrm>
              <a:off x="7894276" y="6623091"/>
              <a:ext cx="5369" cy="9396"/>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0" y="1"/>
                    <a:pt x="1" y="2"/>
                    <a:pt x="2" y="3"/>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Freeform 1466"/>
            <p:cNvSpPr/>
            <p:nvPr/>
          </p:nvSpPr>
          <p:spPr bwMode="auto">
            <a:xfrm>
              <a:off x="7335864" y="6353281"/>
              <a:ext cx="2685" cy="20135"/>
            </a:xfrm>
            <a:custGeom>
              <a:gdLst>
                <a:gd name="T0" fmla="*/ 0 w 1"/>
                <a:gd name="T1" fmla="*/ 0 h 6"/>
                <a:gd name="T2" fmla="*/ 0 w 1"/>
                <a:gd name="T3" fmla="*/ 6 h 6"/>
                <a:gd name="T4" fmla="*/ 0 w 1"/>
                <a:gd name="T5" fmla="*/ 0 h 6"/>
              </a:gdLst>
              <a:cxnLst>
                <a:cxn ang="0">
                  <a:pos x="T0" y="T1"/>
                </a:cxn>
                <a:cxn ang="0">
                  <a:pos x="T2" y="T3"/>
                </a:cxn>
                <a:cxn ang="0">
                  <a:pos x="T4" y="T5"/>
                </a:cxn>
              </a:cxnLst>
              <a:rect l="0" t="0" r="r" b="b"/>
              <a:pathLst>
                <a:path w="1" h="6">
                  <a:moveTo>
                    <a:pt x="0" y="0"/>
                  </a:moveTo>
                  <a:cubicBezTo>
                    <a:pt x="0" y="2"/>
                    <a:pt x="0" y="4"/>
                    <a:pt x="0" y="6"/>
                  </a:cubicBezTo>
                  <a:cubicBezTo>
                    <a:pt x="0"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Freeform 1467"/>
            <p:cNvSpPr/>
            <p:nvPr/>
          </p:nvSpPr>
          <p:spPr bwMode="auto">
            <a:xfrm>
              <a:off x="7922465" y="6527785"/>
              <a:ext cx="25504" cy="25504"/>
            </a:xfrm>
            <a:custGeom>
              <a:gdLst>
                <a:gd name="T0" fmla="*/ 4 w 8"/>
                <a:gd name="T1" fmla="*/ 0 h 8"/>
                <a:gd name="T2" fmla="*/ 0 w 8"/>
                <a:gd name="T3" fmla="*/ 1 h 8"/>
                <a:gd name="T4" fmla="*/ 2 w 8"/>
                <a:gd name="T5" fmla="*/ 6 h 8"/>
                <a:gd name="T6" fmla="*/ 2 w 8"/>
                <a:gd name="T7" fmla="*/ 6 h 8"/>
                <a:gd name="T8" fmla="*/ 5 w 8"/>
                <a:gd name="T9" fmla="*/ 8 h 8"/>
                <a:gd name="T10" fmla="*/ 8 w 8"/>
                <a:gd name="T11" fmla="*/ 2 h 8"/>
                <a:gd name="T12" fmla="*/ 7 w 8"/>
                <a:gd name="T13" fmla="*/ 2 h 8"/>
                <a:gd name="T14" fmla="*/ 4 w 8"/>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0"/>
                  </a:moveTo>
                  <a:cubicBezTo>
                    <a:pt x="0" y="1"/>
                    <a:pt x="0" y="1"/>
                    <a:pt x="0" y="1"/>
                  </a:cubicBezTo>
                  <a:cubicBezTo>
                    <a:pt x="1" y="2"/>
                    <a:pt x="2" y="5"/>
                    <a:pt x="2" y="6"/>
                  </a:cubicBezTo>
                  <a:cubicBezTo>
                    <a:pt x="2" y="6"/>
                    <a:pt x="2" y="6"/>
                    <a:pt x="2" y="6"/>
                  </a:cubicBezTo>
                  <a:cubicBezTo>
                    <a:pt x="3" y="6"/>
                    <a:pt x="4" y="7"/>
                    <a:pt x="5" y="8"/>
                  </a:cubicBezTo>
                  <a:cubicBezTo>
                    <a:pt x="6" y="6"/>
                    <a:pt x="7" y="4"/>
                    <a:pt x="8" y="2"/>
                  </a:cubicBezTo>
                  <a:cubicBezTo>
                    <a:pt x="8" y="2"/>
                    <a:pt x="7" y="2"/>
                    <a:pt x="7" y="2"/>
                  </a:cubicBezTo>
                  <a:cubicBezTo>
                    <a:pt x="6" y="2"/>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2" name="Freeform 1468"/>
            <p:cNvSpPr/>
            <p:nvPr/>
          </p:nvSpPr>
          <p:spPr bwMode="auto">
            <a:xfrm>
              <a:off x="7864744" y="6478119"/>
              <a:ext cx="34901" cy="37585"/>
            </a:xfrm>
            <a:custGeom>
              <a:gdLst>
                <a:gd name="T0" fmla="*/ 4 w 11"/>
                <a:gd name="T1" fmla="*/ 0 h 12"/>
                <a:gd name="T2" fmla="*/ 0 w 11"/>
                <a:gd name="T3" fmla="*/ 1 h 12"/>
                <a:gd name="T4" fmla="*/ 3 w 11"/>
                <a:gd name="T5" fmla="*/ 2 h 12"/>
                <a:gd name="T6" fmla="*/ 0 w 11"/>
                <a:gd name="T7" fmla="*/ 6 h 12"/>
                <a:gd name="T8" fmla="*/ 2 w 11"/>
                <a:gd name="T9" fmla="*/ 9 h 12"/>
                <a:gd name="T10" fmla="*/ 5 w 11"/>
                <a:gd name="T11" fmla="*/ 10 h 12"/>
                <a:gd name="T12" fmla="*/ 8 w 11"/>
                <a:gd name="T13" fmla="*/ 12 h 12"/>
                <a:gd name="T14" fmla="*/ 7 w 11"/>
                <a:gd name="T15" fmla="*/ 2 h 12"/>
                <a:gd name="T16" fmla="*/ 5 w 11"/>
                <a:gd name="T17" fmla="*/ 0 h 12"/>
                <a:gd name="T18" fmla="*/ 4 w 11"/>
                <a:gd name="T19"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2">
                  <a:moveTo>
                    <a:pt x="4" y="0"/>
                  </a:moveTo>
                  <a:cubicBezTo>
                    <a:pt x="3" y="0"/>
                    <a:pt x="0" y="0"/>
                    <a:pt x="0" y="1"/>
                  </a:cubicBezTo>
                  <a:cubicBezTo>
                    <a:pt x="0" y="2"/>
                    <a:pt x="3" y="1"/>
                    <a:pt x="3" y="2"/>
                  </a:cubicBezTo>
                  <a:cubicBezTo>
                    <a:pt x="5" y="4"/>
                    <a:pt x="1" y="5"/>
                    <a:pt x="0" y="6"/>
                  </a:cubicBezTo>
                  <a:cubicBezTo>
                    <a:pt x="1" y="7"/>
                    <a:pt x="1" y="8"/>
                    <a:pt x="2" y="9"/>
                  </a:cubicBezTo>
                  <a:cubicBezTo>
                    <a:pt x="3" y="9"/>
                    <a:pt x="4" y="9"/>
                    <a:pt x="5" y="10"/>
                  </a:cubicBezTo>
                  <a:cubicBezTo>
                    <a:pt x="6" y="10"/>
                    <a:pt x="6" y="11"/>
                    <a:pt x="8" y="12"/>
                  </a:cubicBezTo>
                  <a:cubicBezTo>
                    <a:pt x="11" y="8"/>
                    <a:pt x="9" y="6"/>
                    <a:pt x="7" y="2"/>
                  </a:cubicBezTo>
                  <a:cubicBezTo>
                    <a:pt x="7" y="1"/>
                    <a:pt x="6" y="0"/>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Freeform 1469"/>
            <p:cNvSpPr/>
            <p:nvPr/>
          </p:nvSpPr>
          <p:spPr bwMode="auto">
            <a:xfrm>
              <a:off x="7636547" y="6429795"/>
              <a:ext cx="228197" cy="177188"/>
            </a:xfrm>
            <a:custGeom>
              <a:gdLst>
                <a:gd name="T0" fmla="*/ 1 w 72"/>
                <a:gd name="T1" fmla="*/ 0 h 56"/>
                <a:gd name="T2" fmla="*/ 1 w 72"/>
                <a:gd name="T3" fmla="*/ 0 h 56"/>
                <a:gd name="T4" fmla="*/ 8 w 72"/>
                <a:gd name="T5" fmla="*/ 13 h 56"/>
                <a:gd name="T6" fmla="*/ 38 w 72"/>
                <a:gd name="T7" fmla="*/ 40 h 56"/>
                <a:gd name="T8" fmla="*/ 40 w 72"/>
                <a:gd name="T9" fmla="*/ 41 h 56"/>
                <a:gd name="T10" fmla="*/ 40 w 72"/>
                <a:gd name="T11" fmla="*/ 41 h 56"/>
                <a:gd name="T12" fmla="*/ 41 w 72"/>
                <a:gd name="T13" fmla="*/ 40 h 56"/>
                <a:gd name="T14" fmla="*/ 42 w 72"/>
                <a:gd name="T15" fmla="*/ 41 h 56"/>
                <a:gd name="T16" fmla="*/ 46 w 72"/>
                <a:gd name="T17" fmla="*/ 44 h 56"/>
                <a:gd name="T18" fmla="*/ 55 w 72"/>
                <a:gd name="T19" fmla="*/ 50 h 56"/>
                <a:gd name="T20" fmla="*/ 68 w 72"/>
                <a:gd name="T21" fmla="*/ 56 h 56"/>
                <a:gd name="T22" fmla="*/ 72 w 72"/>
                <a:gd name="T23" fmla="*/ 53 h 56"/>
                <a:gd name="T24" fmla="*/ 64 w 72"/>
                <a:gd name="T25" fmla="*/ 45 h 56"/>
                <a:gd name="T26" fmla="*/ 49 w 72"/>
                <a:gd name="T27" fmla="*/ 34 h 56"/>
                <a:gd name="T28" fmla="*/ 33 w 72"/>
                <a:gd name="T29" fmla="*/ 22 h 56"/>
                <a:gd name="T30" fmla="*/ 18 w 72"/>
                <a:gd name="T31" fmla="*/ 10 h 56"/>
                <a:gd name="T32" fmla="*/ 11 w 72"/>
                <a:gd name="T33" fmla="*/ 5 h 56"/>
                <a:gd name="T34" fmla="*/ 10 w 72"/>
                <a:gd name="T35" fmla="*/ 5 h 56"/>
                <a:gd name="T36" fmla="*/ 10 w 72"/>
                <a:gd name="T37" fmla="*/ 5 h 56"/>
                <a:gd name="T38" fmla="*/ 9 w 72"/>
                <a:gd name="T39" fmla="*/ 6 h 56"/>
                <a:gd name="T40" fmla="*/ 8 w 72"/>
                <a:gd name="T41" fmla="*/ 6 h 56"/>
                <a:gd name="T42" fmla="*/ 5 w 72"/>
                <a:gd name="T43" fmla="*/ 4 h 56"/>
                <a:gd name="T44" fmla="*/ 3 w 72"/>
                <a:gd name="T45" fmla="*/ 2 h 56"/>
                <a:gd name="T46" fmla="*/ 1 w 72"/>
                <a:gd name="T47" fmla="*/ 0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56">
                  <a:moveTo>
                    <a:pt x="1" y="0"/>
                  </a:moveTo>
                  <a:cubicBezTo>
                    <a:pt x="1" y="0"/>
                    <a:pt x="1" y="0"/>
                    <a:pt x="1" y="0"/>
                  </a:cubicBezTo>
                  <a:cubicBezTo>
                    <a:pt x="0" y="0"/>
                    <a:pt x="7" y="12"/>
                    <a:pt x="8" y="13"/>
                  </a:cubicBezTo>
                  <a:cubicBezTo>
                    <a:pt x="18" y="23"/>
                    <a:pt x="25" y="35"/>
                    <a:pt x="38" y="40"/>
                  </a:cubicBezTo>
                  <a:cubicBezTo>
                    <a:pt x="39" y="40"/>
                    <a:pt x="39" y="41"/>
                    <a:pt x="40" y="41"/>
                  </a:cubicBezTo>
                  <a:cubicBezTo>
                    <a:pt x="40" y="41"/>
                    <a:pt x="40" y="41"/>
                    <a:pt x="40" y="41"/>
                  </a:cubicBezTo>
                  <a:cubicBezTo>
                    <a:pt x="41" y="40"/>
                    <a:pt x="41" y="40"/>
                    <a:pt x="41" y="40"/>
                  </a:cubicBezTo>
                  <a:cubicBezTo>
                    <a:pt x="41" y="40"/>
                    <a:pt x="42" y="41"/>
                    <a:pt x="42" y="41"/>
                  </a:cubicBezTo>
                  <a:cubicBezTo>
                    <a:pt x="43" y="42"/>
                    <a:pt x="44" y="43"/>
                    <a:pt x="46" y="44"/>
                  </a:cubicBezTo>
                  <a:cubicBezTo>
                    <a:pt x="49" y="46"/>
                    <a:pt x="52" y="48"/>
                    <a:pt x="55" y="50"/>
                  </a:cubicBezTo>
                  <a:cubicBezTo>
                    <a:pt x="57" y="52"/>
                    <a:pt x="64" y="56"/>
                    <a:pt x="68" y="56"/>
                  </a:cubicBezTo>
                  <a:cubicBezTo>
                    <a:pt x="70" y="56"/>
                    <a:pt x="71" y="55"/>
                    <a:pt x="72" y="53"/>
                  </a:cubicBezTo>
                  <a:cubicBezTo>
                    <a:pt x="72" y="50"/>
                    <a:pt x="66" y="47"/>
                    <a:pt x="64" y="45"/>
                  </a:cubicBezTo>
                  <a:cubicBezTo>
                    <a:pt x="59" y="42"/>
                    <a:pt x="54" y="37"/>
                    <a:pt x="49" y="34"/>
                  </a:cubicBezTo>
                  <a:cubicBezTo>
                    <a:pt x="43" y="31"/>
                    <a:pt x="37" y="27"/>
                    <a:pt x="33" y="22"/>
                  </a:cubicBezTo>
                  <a:cubicBezTo>
                    <a:pt x="29" y="17"/>
                    <a:pt x="23" y="14"/>
                    <a:pt x="18" y="10"/>
                  </a:cubicBezTo>
                  <a:cubicBezTo>
                    <a:pt x="15" y="8"/>
                    <a:pt x="13" y="7"/>
                    <a:pt x="11" y="5"/>
                  </a:cubicBezTo>
                  <a:cubicBezTo>
                    <a:pt x="11" y="5"/>
                    <a:pt x="11" y="5"/>
                    <a:pt x="10" y="5"/>
                  </a:cubicBezTo>
                  <a:cubicBezTo>
                    <a:pt x="10" y="5"/>
                    <a:pt x="10" y="5"/>
                    <a:pt x="10" y="5"/>
                  </a:cubicBezTo>
                  <a:cubicBezTo>
                    <a:pt x="10" y="6"/>
                    <a:pt x="9" y="6"/>
                    <a:pt x="9" y="6"/>
                  </a:cubicBezTo>
                  <a:cubicBezTo>
                    <a:pt x="9" y="6"/>
                    <a:pt x="9" y="6"/>
                    <a:pt x="8" y="6"/>
                  </a:cubicBezTo>
                  <a:cubicBezTo>
                    <a:pt x="7" y="6"/>
                    <a:pt x="6" y="5"/>
                    <a:pt x="5" y="4"/>
                  </a:cubicBezTo>
                  <a:cubicBezTo>
                    <a:pt x="4" y="3"/>
                    <a:pt x="4" y="3"/>
                    <a:pt x="3"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Freeform 1470"/>
            <p:cNvSpPr/>
            <p:nvPr/>
          </p:nvSpPr>
          <p:spPr bwMode="auto">
            <a:xfrm>
              <a:off x="449682" y="3077979"/>
              <a:ext cx="16108" cy="22820"/>
            </a:xfrm>
            <a:custGeom>
              <a:gdLst>
                <a:gd name="T0" fmla="*/ 1 w 5"/>
                <a:gd name="T1" fmla="*/ 0 h 7"/>
                <a:gd name="T2" fmla="*/ 2 w 5"/>
                <a:gd name="T3" fmla="*/ 2 h 7"/>
                <a:gd name="T4" fmla="*/ 1 w 5"/>
                <a:gd name="T5" fmla="*/ 1 h 7"/>
                <a:gd name="T6" fmla="*/ 0 w 5"/>
                <a:gd name="T7" fmla="*/ 7 h 7"/>
                <a:gd name="T8" fmla="*/ 5 w 5"/>
                <a:gd name="T9" fmla="*/ 2 h 7"/>
                <a:gd name="T10" fmla="*/ 2 w 5"/>
                <a:gd name="T11" fmla="*/ 2 h 7"/>
                <a:gd name="T12" fmla="*/ 5 w 5"/>
                <a:gd name="T13" fmla="*/ 2 h 7"/>
                <a:gd name="T14" fmla="*/ 5 w 5"/>
                <a:gd name="T15" fmla="*/ 2 h 7"/>
                <a:gd name="T16" fmla="*/ 1 w 5"/>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1" y="0"/>
                  </a:moveTo>
                  <a:cubicBezTo>
                    <a:pt x="1" y="1"/>
                    <a:pt x="2" y="1"/>
                    <a:pt x="2" y="2"/>
                  </a:cubicBezTo>
                  <a:cubicBezTo>
                    <a:pt x="2" y="1"/>
                    <a:pt x="1" y="1"/>
                    <a:pt x="1" y="1"/>
                  </a:cubicBezTo>
                  <a:cubicBezTo>
                    <a:pt x="0" y="3"/>
                    <a:pt x="0" y="5"/>
                    <a:pt x="0" y="7"/>
                  </a:cubicBezTo>
                  <a:cubicBezTo>
                    <a:pt x="5" y="6"/>
                    <a:pt x="2" y="4"/>
                    <a:pt x="5" y="2"/>
                  </a:cubicBezTo>
                  <a:cubicBezTo>
                    <a:pt x="4" y="2"/>
                    <a:pt x="3" y="2"/>
                    <a:pt x="2" y="2"/>
                  </a:cubicBezTo>
                  <a:cubicBezTo>
                    <a:pt x="3" y="2"/>
                    <a:pt x="4" y="2"/>
                    <a:pt x="5" y="2"/>
                  </a:cubicBezTo>
                  <a:cubicBezTo>
                    <a:pt x="5" y="2"/>
                    <a:pt x="5" y="2"/>
                    <a:pt x="5" y="2"/>
                  </a:cubicBezTo>
                  <a:cubicBezTo>
                    <a:pt x="4" y="1"/>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1471"/>
            <p:cNvSpPr/>
            <p:nvPr/>
          </p:nvSpPr>
          <p:spPr bwMode="auto">
            <a:xfrm>
              <a:off x="430890" y="3075295"/>
              <a:ext cx="16108" cy="18793"/>
            </a:xfrm>
            <a:custGeom>
              <a:gdLst>
                <a:gd name="T0" fmla="*/ 5 w 5"/>
                <a:gd name="T1" fmla="*/ 0 h 6"/>
                <a:gd name="T2" fmla="*/ 1 w 5"/>
                <a:gd name="T3" fmla="*/ 4 h 6"/>
                <a:gd name="T4" fmla="*/ 2 w 5"/>
                <a:gd name="T5" fmla="*/ 6 h 6"/>
                <a:gd name="T6" fmla="*/ 5 w 5"/>
                <a:gd name="T7" fmla="*/ 4 h 6"/>
                <a:gd name="T8" fmla="*/ 5 w 5"/>
                <a:gd name="T9" fmla="*/ 0 h 6"/>
              </a:gdLst>
              <a:cxnLst>
                <a:cxn ang="0">
                  <a:pos x="T0" y="T1"/>
                </a:cxn>
                <a:cxn ang="0">
                  <a:pos x="T2" y="T3"/>
                </a:cxn>
                <a:cxn ang="0">
                  <a:pos x="T4" y="T5"/>
                </a:cxn>
                <a:cxn ang="0">
                  <a:pos x="T6" y="T7"/>
                </a:cxn>
                <a:cxn ang="0">
                  <a:pos x="T8" y="T9"/>
                </a:cxn>
              </a:cxnLst>
              <a:rect l="0" t="0" r="r" b="b"/>
              <a:pathLst>
                <a:path w="5" h="6">
                  <a:moveTo>
                    <a:pt x="5" y="0"/>
                  </a:moveTo>
                  <a:cubicBezTo>
                    <a:pt x="3" y="2"/>
                    <a:pt x="0" y="1"/>
                    <a:pt x="1" y="4"/>
                  </a:cubicBezTo>
                  <a:cubicBezTo>
                    <a:pt x="1" y="5"/>
                    <a:pt x="2" y="6"/>
                    <a:pt x="2" y="6"/>
                  </a:cubicBezTo>
                  <a:cubicBezTo>
                    <a:pt x="3" y="6"/>
                    <a:pt x="4" y="5"/>
                    <a:pt x="5" y="4"/>
                  </a:cubicBezTo>
                  <a:cubicBezTo>
                    <a:pt x="5"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Freeform 1472"/>
            <p:cNvSpPr/>
            <p:nvPr/>
          </p:nvSpPr>
          <p:spPr bwMode="auto">
            <a:xfrm>
              <a:off x="456394" y="3082006"/>
              <a:ext cx="18793" cy="18793"/>
            </a:xfrm>
            <a:custGeom>
              <a:gdLst>
                <a:gd name="T0" fmla="*/ 5 w 6"/>
                <a:gd name="T1" fmla="*/ 0 h 6"/>
                <a:gd name="T2" fmla="*/ 5 w 6"/>
                <a:gd name="T3" fmla="*/ 6 h 6"/>
                <a:gd name="T4" fmla="*/ 5 w 6"/>
                <a:gd name="T5" fmla="*/ 0 h 6"/>
              </a:gdLst>
              <a:cxnLst>
                <a:cxn ang="0">
                  <a:pos x="T0" y="T1"/>
                </a:cxn>
                <a:cxn ang="0">
                  <a:pos x="T2" y="T3"/>
                </a:cxn>
                <a:cxn ang="0">
                  <a:pos x="T4" y="T5"/>
                </a:cxn>
              </a:cxnLst>
              <a:rect l="0" t="0" r="r" b="b"/>
              <a:pathLst>
                <a:path w="6" h="6">
                  <a:moveTo>
                    <a:pt x="5" y="0"/>
                  </a:moveTo>
                  <a:cubicBezTo>
                    <a:pt x="0" y="3"/>
                    <a:pt x="2" y="4"/>
                    <a:pt x="5" y="6"/>
                  </a:cubicBezTo>
                  <a:cubicBezTo>
                    <a:pt x="6" y="4"/>
                    <a:pt x="5"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Freeform 1473"/>
            <p:cNvSpPr/>
            <p:nvPr/>
          </p:nvSpPr>
          <p:spPr bwMode="auto">
            <a:xfrm>
              <a:off x="2182638" y="3177312"/>
              <a:ext cx="16108" cy="21477"/>
            </a:xfrm>
            <a:custGeom>
              <a:gdLst>
                <a:gd name="T0" fmla="*/ 0 w 5"/>
                <a:gd name="T1" fmla="*/ 0 h 7"/>
                <a:gd name="T2" fmla="*/ 2 w 5"/>
                <a:gd name="T3" fmla="*/ 7 h 7"/>
                <a:gd name="T4" fmla="*/ 0 w 5"/>
                <a:gd name="T5" fmla="*/ 0 h 7"/>
              </a:gdLst>
              <a:cxnLst>
                <a:cxn ang="0">
                  <a:pos x="T0" y="T1"/>
                </a:cxn>
                <a:cxn ang="0">
                  <a:pos x="T2" y="T3"/>
                </a:cxn>
                <a:cxn ang="0">
                  <a:pos x="T4" y="T5"/>
                </a:cxn>
              </a:cxnLst>
              <a:rect l="0" t="0" r="r" b="b"/>
              <a:pathLst>
                <a:path w="5" h="7">
                  <a:moveTo>
                    <a:pt x="0" y="0"/>
                  </a:moveTo>
                  <a:cubicBezTo>
                    <a:pt x="0" y="2"/>
                    <a:pt x="1" y="4"/>
                    <a:pt x="2" y="7"/>
                  </a:cubicBezTo>
                  <a:cubicBezTo>
                    <a:pt x="5" y="5"/>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Freeform 1474"/>
            <p:cNvSpPr/>
            <p:nvPr/>
          </p:nvSpPr>
          <p:spPr bwMode="auto">
            <a:xfrm>
              <a:off x="2375934" y="3482023"/>
              <a:ext cx="16108" cy="16108"/>
            </a:xfrm>
            <a:custGeom>
              <a:gdLst>
                <a:gd name="T0" fmla="*/ 3 w 5"/>
                <a:gd name="T1" fmla="*/ 0 h 5"/>
                <a:gd name="T2" fmla="*/ 0 w 5"/>
                <a:gd name="T3" fmla="*/ 1 h 5"/>
                <a:gd name="T4" fmla="*/ 3 w 5"/>
                <a:gd name="T5" fmla="*/ 5 h 5"/>
                <a:gd name="T6" fmla="*/ 3 w 5"/>
                <a:gd name="T7" fmla="*/ 5 h 5"/>
                <a:gd name="T8" fmla="*/ 4 w 5"/>
                <a:gd name="T9" fmla="*/ 5 h 5"/>
                <a:gd name="T10" fmla="*/ 5 w 5"/>
                <a:gd name="T11" fmla="*/ 3 h 5"/>
                <a:gd name="T12" fmla="*/ 3 w 5"/>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5" h="5">
                  <a:moveTo>
                    <a:pt x="3" y="0"/>
                  </a:moveTo>
                  <a:cubicBezTo>
                    <a:pt x="2" y="1"/>
                    <a:pt x="1" y="1"/>
                    <a:pt x="0" y="1"/>
                  </a:cubicBezTo>
                  <a:cubicBezTo>
                    <a:pt x="0" y="2"/>
                    <a:pt x="1" y="4"/>
                    <a:pt x="3" y="5"/>
                  </a:cubicBezTo>
                  <a:cubicBezTo>
                    <a:pt x="3" y="5"/>
                    <a:pt x="3" y="5"/>
                    <a:pt x="3" y="5"/>
                  </a:cubicBezTo>
                  <a:cubicBezTo>
                    <a:pt x="3" y="5"/>
                    <a:pt x="4" y="5"/>
                    <a:pt x="4" y="5"/>
                  </a:cubicBezTo>
                  <a:cubicBezTo>
                    <a:pt x="5" y="5"/>
                    <a:pt x="5" y="4"/>
                    <a:pt x="5" y="3"/>
                  </a:cubicBezTo>
                  <a:cubicBezTo>
                    <a:pt x="5" y="2"/>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1475"/>
            <p:cNvSpPr/>
            <p:nvPr/>
          </p:nvSpPr>
          <p:spPr bwMode="auto">
            <a:xfrm>
              <a:off x="3899485" y="3205501"/>
              <a:ext cx="5369" cy="6712"/>
            </a:xfrm>
            <a:custGeom>
              <a:gdLst>
                <a:gd name="T0" fmla="*/ 2 w 2"/>
                <a:gd name="T1" fmla="*/ 0 h 2"/>
                <a:gd name="T2" fmla="*/ 0 w 2"/>
                <a:gd name="T3" fmla="*/ 2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0"/>
                    <a:pt x="1" y="1"/>
                    <a:pt x="0" y="2"/>
                  </a:cubicBezTo>
                  <a:cubicBezTo>
                    <a:pt x="1" y="2"/>
                    <a:pt x="1" y="2"/>
                    <a:pt x="1" y="2"/>
                  </a:cubicBezTo>
                  <a:cubicBezTo>
                    <a:pt x="1"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Freeform 1476"/>
            <p:cNvSpPr/>
            <p:nvPr/>
          </p:nvSpPr>
          <p:spPr bwMode="auto">
            <a:xfrm>
              <a:off x="3864584" y="3161204"/>
              <a:ext cx="5369" cy="6712"/>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1"/>
                    <a:pt x="1" y="1"/>
                    <a:pt x="0" y="2"/>
                  </a:cubicBezTo>
                  <a:cubicBezTo>
                    <a:pt x="1"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1477"/>
            <p:cNvSpPr/>
            <p:nvPr/>
          </p:nvSpPr>
          <p:spPr bwMode="auto">
            <a:xfrm>
              <a:off x="3835053" y="6820415"/>
              <a:ext cx="4027" cy="18793"/>
            </a:xfrm>
            <a:custGeom>
              <a:gdLst>
                <a:gd name="T0" fmla="*/ 1 w 1"/>
                <a:gd name="T1" fmla="*/ 0 h 6"/>
                <a:gd name="T2" fmla="*/ 0 w 1"/>
                <a:gd name="T3" fmla="*/ 6 h 6"/>
                <a:gd name="T4" fmla="*/ 1 w 1"/>
                <a:gd name="T5" fmla="*/ 0 h 6"/>
              </a:gdLst>
              <a:cxnLst>
                <a:cxn ang="0">
                  <a:pos x="T0" y="T1"/>
                </a:cxn>
                <a:cxn ang="0">
                  <a:pos x="T2" y="T3"/>
                </a:cxn>
                <a:cxn ang="0">
                  <a:pos x="T4" y="T5"/>
                </a:cxn>
              </a:cxnLst>
              <a:rect l="0" t="0" r="r" b="b"/>
              <a:pathLst>
                <a:path w="1" h="6">
                  <a:moveTo>
                    <a:pt x="1" y="0"/>
                  </a:moveTo>
                  <a:cubicBezTo>
                    <a:pt x="1" y="2"/>
                    <a:pt x="1" y="4"/>
                    <a:pt x="0" y="6"/>
                  </a:cubicBezTo>
                  <a:cubicBezTo>
                    <a:pt x="1" y="4"/>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Freeform 1478"/>
            <p:cNvSpPr/>
            <p:nvPr/>
          </p:nvSpPr>
          <p:spPr bwMode="auto">
            <a:xfrm>
              <a:off x="3829684" y="6855315"/>
              <a:ext cx="2685" cy="2685"/>
            </a:xfrm>
            <a:custGeom>
              <a:gdLst>
                <a:gd name="T0" fmla="*/ 0 w 1"/>
                <a:gd name="T1" fmla="*/ 0 h 1"/>
                <a:gd name="T2" fmla="*/ 0 w 1"/>
                <a:gd name="T3" fmla="*/ 1 h 1"/>
                <a:gd name="T4" fmla="*/ 1 w 1"/>
                <a:gd name="T5" fmla="*/ 1 h 1"/>
                <a:gd name="T6" fmla="*/ 1 w 1"/>
                <a:gd name="T7" fmla="*/ 0 h 1"/>
                <a:gd name="T8" fmla="*/ 0 w 1"/>
                <a:gd name="T9" fmla="*/ 0 h 1"/>
              </a:gd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1" y="1"/>
                    <a:pt x="1" y="1"/>
                    <a:pt x="1" y="1"/>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Freeform 1479"/>
            <p:cNvSpPr>
              <a:spLocks noEditPoints="1"/>
            </p:cNvSpPr>
            <p:nvPr/>
          </p:nvSpPr>
          <p:spPr bwMode="auto">
            <a:xfrm>
              <a:off x="3860557" y="5712987"/>
              <a:ext cx="2951796" cy="1145013"/>
            </a:xfrm>
            <a:custGeom>
              <a:gdLst>
                <a:gd name="T0" fmla="*/ 247 w 930"/>
                <a:gd name="T1" fmla="*/ 156 h 361"/>
                <a:gd name="T2" fmla="*/ 666 w 930"/>
                <a:gd name="T3" fmla="*/ 42 h 361"/>
                <a:gd name="T4" fmla="*/ 666 w 930"/>
                <a:gd name="T5" fmla="*/ 60 h 361"/>
                <a:gd name="T6" fmla="*/ 664 w 930"/>
                <a:gd name="T7" fmla="*/ 109 h 361"/>
                <a:gd name="T8" fmla="*/ 627 w 930"/>
                <a:gd name="T9" fmla="*/ 168 h 361"/>
                <a:gd name="T10" fmla="*/ 554 w 930"/>
                <a:gd name="T11" fmla="*/ 124 h 361"/>
                <a:gd name="T12" fmla="*/ 526 w 930"/>
                <a:gd name="T13" fmla="*/ 87 h 361"/>
                <a:gd name="T14" fmla="*/ 532 w 930"/>
                <a:gd name="T15" fmla="*/ 62 h 361"/>
                <a:gd name="T16" fmla="*/ 543 w 930"/>
                <a:gd name="T17" fmla="*/ 49 h 361"/>
                <a:gd name="T18" fmla="*/ 538 w 930"/>
                <a:gd name="T19" fmla="*/ 34 h 361"/>
                <a:gd name="T20" fmla="*/ 526 w 930"/>
                <a:gd name="T21" fmla="*/ 38 h 361"/>
                <a:gd name="T22" fmla="*/ 524 w 930"/>
                <a:gd name="T23" fmla="*/ 32 h 361"/>
                <a:gd name="T24" fmla="*/ 492 w 930"/>
                <a:gd name="T25" fmla="*/ 32 h 361"/>
                <a:gd name="T26" fmla="*/ 462 w 930"/>
                <a:gd name="T27" fmla="*/ 18 h 361"/>
                <a:gd name="T28" fmla="*/ 442 w 930"/>
                <a:gd name="T29" fmla="*/ 10 h 361"/>
                <a:gd name="T30" fmla="*/ 439 w 930"/>
                <a:gd name="T31" fmla="*/ 17 h 361"/>
                <a:gd name="T32" fmla="*/ 454 w 930"/>
                <a:gd name="T33" fmla="*/ 22 h 361"/>
                <a:gd name="T34" fmla="*/ 435 w 930"/>
                <a:gd name="T35" fmla="*/ 38 h 361"/>
                <a:gd name="T36" fmla="*/ 412 w 930"/>
                <a:gd name="T37" fmla="*/ 40 h 361"/>
                <a:gd name="T38" fmla="*/ 406 w 930"/>
                <a:gd name="T39" fmla="*/ 47 h 361"/>
                <a:gd name="T40" fmla="*/ 385 w 930"/>
                <a:gd name="T41" fmla="*/ 74 h 361"/>
                <a:gd name="T42" fmla="*/ 390 w 930"/>
                <a:gd name="T43" fmla="*/ 98 h 361"/>
                <a:gd name="T44" fmla="*/ 373 w 930"/>
                <a:gd name="T45" fmla="*/ 105 h 361"/>
                <a:gd name="T46" fmla="*/ 354 w 930"/>
                <a:gd name="T47" fmla="*/ 99 h 361"/>
                <a:gd name="T48" fmla="*/ 346 w 930"/>
                <a:gd name="T49" fmla="*/ 103 h 361"/>
                <a:gd name="T50" fmla="*/ 327 w 930"/>
                <a:gd name="T51" fmla="*/ 77 h 361"/>
                <a:gd name="T52" fmla="*/ 311 w 930"/>
                <a:gd name="T53" fmla="*/ 84 h 361"/>
                <a:gd name="T54" fmla="*/ 301 w 930"/>
                <a:gd name="T55" fmla="*/ 78 h 361"/>
                <a:gd name="T56" fmla="*/ 297 w 930"/>
                <a:gd name="T57" fmla="*/ 89 h 361"/>
                <a:gd name="T58" fmla="*/ 290 w 930"/>
                <a:gd name="T59" fmla="*/ 85 h 361"/>
                <a:gd name="T60" fmla="*/ 278 w 930"/>
                <a:gd name="T61" fmla="*/ 99 h 361"/>
                <a:gd name="T62" fmla="*/ 283 w 930"/>
                <a:gd name="T63" fmla="*/ 106 h 361"/>
                <a:gd name="T64" fmla="*/ 273 w 930"/>
                <a:gd name="T65" fmla="*/ 110 h 361"/>
                <a:gd name="T66" fmla="*/ 266 w 930"/>
                <a:gd name="T67" fmla="*/ 109 h 361"/>
                <a:gd name="T68" fmla="*/ 260 w 930"/>
                <a:gd name="T69" fmla="*/ 128 h 361"/>
                <a:gd name="T70" fmla="*/ 268 w 930"/>
                <a:gd name="T71" fmla="*/ 136 h 361"/>
                <a:gd name="T72" fmla="*/ 249 w 930"/>
                <a:gd name="T73" fmla="*/ 136 h 361"/>
                <a:gd name="T74" fmla="*/ 243 w 930"/>
                <a:gd name="T75" fmla="*/ 136 h 361"/>
                <a:gd name="T76" fmla="*/ 238 w 930"/>
                <a:gd name="T77" fmla="*/ 138 h 361"/>
                <a:gd name="T78" fmla="*/ 245 w 930"/>
                <a:gd name="T79" fmla="*/ 148 h 361"/>
                <a:gd name="T80" fmla="*/ 232 w 930"/>
                <a:gd name="T81" fmla="*/ 151 h 361"/>
                <a:gd name="T82" fmla="*/ 222 w 930"/>
                <a:gd name="T83" fmla="*/ 145 h 361"/>
                <a:gd name="T84" fmla="*/ 200 w 930"/>
                <a:gd name="T85" fmla="*/ 185 h 361"/>
                <a:gd name="T86" fmla="*/ 138 w 930"/>
                <a:gd name="T87" fmla="*/ 223 h 361"/>
                <a:gd name="T88" fmla="*/ 89 w 930"/>
                <a:gd name="T89" fmla="*/ 240 h 361"/>
                <a:gd name="T90" fmla="*/ 74 w 930"/>
                <a:gd name="T91" fmla="*/ 242 h 361"/>
                <a:gd name="T92" fmla="*/ 10 w 930"/>
                <a:gd name="T93" fmla="*/ 281 h 361"/>
                <a:gd name="T94" fmla="*/ 14 w 930"/>
                <a:gd name="T95" fmla="*/ 361 h 361"/>
                <a:gd name="T96" fmla="*/ 906 w 930"/>
                <a:gd name="T97" fmla="*/ 328 h 361"/>
                <a:gd name="T98" fmla="*/ 879 w 930"/>
                <a:gd name="T99" fmla="*/ 301 h 361"/>
                <a:gd name="T100" fmla="*/ 879 w 930"/>
                <a:gd name="T101" fmla="*/ 285 h 361"/>
                <a:gd name="T102" fmla="*/ 854 w 930"/>
                <a:gd name="T103" fmla="*/ 285 h 361"/>
                <a:gd name="T104" fmla="*/ 836 w 930"/>
                <a:gd name="T105" fmla="*/ 237 h 361"/>
                <a:gd name="T106" fmla="*/ 807 w 930"/>
                <a:gd name="T107" fmla="*/ 220 h 361"/>
                <a:gd name="T108" fmla="*/ 792 w 930"/>
                <a:gd name="T109" fmla="*/ 204 h 361"/>
                <a:gd name="T110" fmla="*/ 769 w 930"/>
                <a:gd name="T111" fmla="*/ 182 h 361"/>
                <a:gd name="T112" fmla="*/ 753 w 930"/>
                <a:gd name="T113" fmla="*/ 126 h 361"/>
                <a:gd name="T114" fmla="*/ 731 w 930"/>
                <a:gd name="T115" fmla="*/ 84 h 361"/>
                <a:gd name="T116" fmla="*/ 716 w 930"/>
                <a:gd name="T117" fmla="*/ 90 h 361"/>
                <a:gd name="T118" fmla="*/ 700 w 930"/>
                <a:gd name="T119" fmla="*/ 39 h 361"/>
                <a:gd name="T120" fmla="*/ 685 w 930"/>
                <a:gd name="T121" fmla="*/ 6 h 3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0" h="361">
                  <a:moveTo>
                    <a:pt x="2" y="360"/>
                  </a:moveTo>
                  <a:cubicBezTo>
                    <a:pt x="2" y="360"/>
                    <a:pt x="2" y="360"/>
                    <a:pt x="2" y="361"/>
                  </a:cubicBezTo>
                  <a:cubicBezTo>
                    <a:pt x="2" y="361"/>
                    <a:pt x="2" y="361"/>
                    <a:pt x="2" y="361"/>
                  </a:cubicBezTo>
                  <a:cubicBezTo>
                    <a:pt x="2" y="360"/>
                    <a:pt x="2" y="360"/>
                    <a:pt x="2" y="360"/>
                  </a:cubicBezTo>
                  <a:moveTo>
                    <a:pt x="664" y="43"/>
                  </a:moveTo>
                  <a:cubicBezTo>
                    <a:pt x="664" y="43"/>
                    <a:pt x="664" y="43"/>
                    <a:pt x="664" y="44"/>
                  </a:cubicBezTo>
                  <a:cubicBezTo>
                    <a:pt x="664" y="43"/>
                    <a:pt x="664" y="43"/>
                    <a:pt x="664" y="43"/>
                  </a:cubicBezTo>
                  <a:moveTo>
                    <a:pt x="247" y="156"/>
                  </a:moveTo>
                  <a:cubicBezTo>
                    <a:pt x="247" y="156"/>
                    <a:pt x="247" y="156"/>
                    <a:pt x="247" y="156"/>
                  </a:cubicBezTo>
                  <a:cubicBezTo>
                    <a:pt x="247" y="156"/>
                    <a:pt x="247" y="156"/>
                    <a:pt x="247" y="156"/>
                  </a:cubicBezTo>
                  <a:moveTo>
                    <a:pt x="685" y="0"/>
                  </a:moveTo>
                  <a:cubicBezTo>
                    <a:pt x="684" y="0"/>
                    <a:pt x="677" y="5"/>
                    <a:pt x="676" y="6"/>
                  </a:cubicBezTo>
                  <a:cubicBezTo>
                    <a:pt x="675" y="14"/>
                    <a:pt x="673" y="23"/>
                    <a:pt x="671" y="31"/>
                  </a:cubicBezTo>
                  <a:cubicBezTo>
                    <a:pt x="671" y="31"/>
                    <a:pt x="671" y="30"/>
                    <a:pt x="670" y="30"/>
                  </a:cubicBezTo>
                  <a:cubicBezTo>
                    <a:pt x="667" y="32"/>
                    <a:pt x="666" y="39"/>
                    <a:pt x="664" y="43"/>
                  </a:cubicBezTo>
                  <a:cubicBezTo>
                    <a:pt x="664" y="42"/>
                    <a:pt x="665" y="42"/>
                    <a:pt x="666" y="42"/>
                  </a:cubicBezTo>
                  <a:cubicBezTo>
                    <a:pt x="666" y="42"/>
                    <a:pt x="667" y="42"/>
                    <a:pt x="668" y="42"/>
                  </a:cubicBezTo>
                  <a:cubicBezTo>
                    <a:pt x="670" y="44"/>
                    <a:pt x="671" y="44"/>
                    <a:pt x="671" y="47"/>
                  </a:cubicBezTo>
                  <a:cubicBezTo>
                    <a:pt x="671" y="49"/>
                    <a:pt x="672" y="50"/>
                    <a:pt x="671" y="52"/>
                  </a:cubicBezTo>
                  <a:cubicBezTo>
                    <a:pt x="671" y="51"/>
                    <a:pt x="671" y="47"/>
                    <a:pt x="669" y="47"/>
                  </a:cubicBezTo>
                  <a:cubicBezTo>
                    <a:pt x="669" y="47"/>
                    <a:pt x="669" y="47"/>
                    <a:pt x="669" y="47"/>
                  </a:cubicBezTo>
                  <a:cubicBezTo>
                    <a:pt x="669" y="47"/>
                    <a:pt x="669" y="47"/>
                    <a:pt x="669" y="47"/>
                  </a:cubicBezTo>
                  <a:cubicBezTo>
                    <a:pt x="667" y="48"/>
                    <a:pt x="666" y="51"/>
                    <a:pt x="664" y="52"/>
                  </a:cubicBezTo>
                  <a:cubicBezTo>
                    <a:pt x="665" y="55"/>
                    <a:pt x="666" y="58"/>
                    <a:pt x="666" y="60"/>
                  </a:cubicBezTo>
                  <a:cubicBezTo>
                    <a:pt x="665" y="62"/>
                    <a:pt x="663" y="65"/>
                    <a:pt x="663" y="67"/>
                  </a:cubicBezTo>
                  <a:cubicBezTo>
                    <a:pt x="662" y="68"/>
                    <a:pt x="662" y="69"/>
                    <a:pt x="662" y="70"/>
                  </a:cubicBezTo>
                  <a:cubicBezTo>
                    <a:pt x="661" y="71"/>
                    <a:pt x="661" y="72"/>
                    <a:pt x="661" y="74"/>
                  </a:cubicBezTo>
                  <a:cubicBezTo>
                    <a:pt x="661" y="75"/>
                    <a:pt x="662" y="77"/>
                    <a:pt x="662" y="79"/>
                  </a:cubicBezTo>
                  <a:cubicBezTo>
                    <a:pt x="664" y="82"/>
                    <a:pt x="664" y="84"/>
                    <a:pt x="663" y="89"/>
                  </a:cubicBezTo>
                  <a:cubicBezTo>
                    <a:pt x="663" y="92"/>
                    <a:pt x="663" y="95"/>
                    <a:pt x="664" y="98"/>
                  </a:cubicBezTo>
                  <a:cubicBezTo>
                    <a:pt x="664" y="100"/>
                    <a:pt x="664" y="100"/>
                    <a:pt x="665" y="102"/>
                  </a:cubicBezTo>
                  <a:cubicBezTo>
                    <a:pt x="665" y="104"/>
                    <a:pt x="665" y="106"/>
                    <a:pt x="664" y="109"/>
                  </a:cubicBezTo>
                  <a:cubicBezTo>
                    <a:pt x="662" y="114"/>
                    <a:pt x="660" y="119"/>
                    <a:pt x="659" y="125"/>
                  </a:cubicBezTo>
                  <a:cubicBezTo>
                    <a:pt x="659" y="126"/>
                    <a:pt x="660" y="127"/>
                    <a:pt x="660" y="128"/>
                  </a:cubicBezTo>
                  <a:cubicBezTo>
                    <a:pt x="660" y="130"/>
                    <a:pt x="658" y="133"/>
                    <a:pt x="657" y="134"/>
                  </a:cubicBezTo>
                  <a:cubicBezTo>
                    <a:pt x="655" y="139"/>
                    <a:pt x="653" y="144"/>
                    <a:pt x="651" y="149"/>
                  </a:cubicBezTo>
                  <a:cubicBezTo>
                    <a:pt x="650" y="153"/>
                    <a:pt x="648" y="158"/>
                    <a:pt x="646" y="161"/>
                  </a:cubicBezTo>
                  <a:cubicBezTo>
                    <a:pt x="643" y="164"/>
                    <a:pt x="639" y="166"/>
                    <a:pt x="634" y="167"/>
                  </a:cubicBezTo>
                  <a:cubicBezTo>
                    <a:pt x="633" y="168"/>
                    <a:pt x="630" y="168"/>
                    <a:pt x="629" y="168"/>
                  </a:cubicBezTo>
                  <a:cubicBezTo>
                    <a:pt x="628" y="168"/>
                    <a:pt x="628" y="168"/>
                    <a:pt x="627" y="168"/>
                  </a:cubicBezTo>
                  <a:cubicBezTo>
                    <a:pt x="623" y="168"/>
                    <a:pt x="620" y="163"/>
                    <a:pt x="617" y="161"/>
                  </a:cubicBezTo>
                  <a:cubicBezTo>
                    <a:pt x="614" y="159"/>
                    <a:pt x="610" y="156"/>
                    <a:pt x="607" y="154"/>
                  </a:cubicBezTo>
                  <a:cubicBezTo>
                    <a:pt x="605" y="153"/>
                    <a:pt x="607" y="152"/>
                    <a:pt x="605" y="151"/>
                  </a:cubicBezTo>
                  <a:cubicBezTo>
                    <a:pt x="603" y="149"/>
                    <a:pt x="602" y="148"/>
                    <a:pt x="599" y="147"/>
                  </a:cubicBezTo>
                  <a:cubicBezTo>
                    <a:pt x="592" y="145"/>
                    <a:pt x="586" y="142"/>
                    <a:pt x="579" y="140"/>
                  </a:cubicBezTo>
                  <a:cubicBezTo>
                    <a:pt x="579" y="140"/>
                    <a:pt x="579" y="140"/>
                    <a:pt x="579" y="140"/>
                  </a:cubicBezTo>
                  <a:cubicBezTo>
                    <a:pt x="579" y="139"/>
                    <a:pt x="569" y="134"/>
                    <a:pt x="567" y="133"/>
                  </a:cubicBezTo>
                  <a:cubicBezTo>
                    <a:pt x="563" y="130"/>
                    <a:pt x="558" y="127"/>
                    <a:pt x="554" y="124"/>
                  </a:cubicBezTo>
                  <a:cubicBezTo>
                    <a:pt x="554" y="125"/>
                    <a:pt x="554" y="125"/>
                    <a:pt x="554" y="125"/>
                  </a:cubicBezTo>
                  <a:cubicBezTo>
                    <a:pt x="553" y="125"/>
                    <a:pt x="552" y="125"/>
                    <a:pt x="552" y="125"/>
                  </a:cubicBezTo>
                  <a:cubicBezTo>
                    <a:pt x="551" y="125"/>
                    <a:pt x="551" y="125"/>
                    <a:pt x="550" y="125"/>
                  </a:cubicBezTo>
                  <a:cubicBezTo>
                    <a:pt x="550" y="125"/>
                    <a:pt x="550" y="125"/>
                    <a:pt x="549" y="125"/>
                  </a:cubicBezTo>
                  <a:cubicBezTo>
                    <a:pt x="549" y="125"/>
                    <a:pt x="548" y="125"/>
                    <a:pt x="548" y="124"/>
                  </a:cubicBezTo>
                  <a:cubicBezTo>
                    <a:pt x="539" y="117"/>
                    <a:pt x="531" y="110"/>
                    <a:pt x="522" y="104"/>
                  </a:cubicBezTo>
                  <a:cubicBezTo>
                    <a:pt x="521" y="103"/>
                    <a:pt x="520" y="103"/>
                    <a:pt x="520" y="101"/>
                  </a:cubicBezTo>
                  <a:cubicBezTo>
                    <a:pt x="518" y="95"/>
                    <a:pt x="522" y="92"/>
                    <a:pt x="526" y="87"/>
                  </a:cubicBezTo>
                  <a:cubicBezTo>
                    <a:pt x="528" y="83"/>
                    <a:pt x="529" y="79"/>
                    <a:pt x="531" y="75"/>
                  </a:cubicBezTo>
                  <a:cubicBezTo>
                    <a:pt x="532" y="74"/>
                    <a:pt x="533" y="72"/>
                    <a:pt x="533" y="70"/>
                  </a:cubicBezTo>
                  <a:cubicBezTo>
                    <a:pt x="532" y="71"/>
                    <a:pt x="531" y="72"/>
                    <a:pt x="531" y="72"/>
                  </a:cubicBezTo>
                  <a:cubicBezTo>
                    <a:pt x="530" y="72"/>
                    <a:pt x="530" y="72"/>
                    <a:pt x="529" y="72"/>
                  </a:cubicBezTo>
                  <a:cubicBezTo>
                    <a:pt x="529" y="71"/>
                    <a:pt x="529" y="68"/>
                    <a:pt x="529" y="67"/>
                  </a:cubicBezTo>
                  <a:cubicBezTo>
                    <a:pt x="529" y="65"/>
                    <a:pt x="529" y="62"/>
                    <a:pt x="531" y="62"/>
                  </a:cubicBezTo>
                  <a:cubicBezTo>
                    <a:pt x="532" y="62"/>
                    <a:pt x="532" y="62"/>
                    <a:pt x="532" y="62"/>
                  </a:cubicBezTo>
                  <a:cubicBezTo>
                    <a:pt x="532" y="62"/>
                    <a:pt x="532" y="62"/>
                    <a:pt x="532" y="62"/>
                  </a:cubicBezTo>
                  <a:cubicBezTo>
                    <a:pt x="535" y="62"/>
                    <a:pt x="538" y="59"/>
                    <a:pt x="541" y="58"/>
                  </a:cubicBezTo>
                  <a:cubicBezTo>
                    <a:pt x="541" y="60"/>
                    <a:pt x="540" y="61"/>
                    <a:pt x="540" y="62"/>
                  </a:cubicBezTo>
                  <a:cubicBezTo>
                    <a:pt x="541" y="61"/>
                    <a:pt x="542" y="61"/>
                    <a:pt x="543" y="61"/>
                  </a:cubicBezTo>
                  <a:cubicBezTo>
                    <a:pt x="543" y="59"/>
                    <a:pt x="543" y="54"/>
                    <a:pt x="545" y="54"/>
                  </a:cubicBezTo>
                  <a:cubicBezTo>
                    <a:pt x="546" y="54"/>
                    <a:pt x="546" y="54"/>
                    <a:pt x="547" y="55"/>
                  </a:cubicBezTo>
                  <a:cubicBezTo>
                    <a:pt x="547" y="54"/>
                    <a:pt x="546" y="53"/>
                    <a:pt x="545" y="53"/>
                  </a:cubicBezTo>
                  <a:cubicBezTo>
                    <a:pt x="545" y="53"/>
                    <a:pt x="545" y="53"/>
                    <a:pt x="545" y="53"/>
                  </a:cubicBezTo>
                  <a:cubicBezTo>
                    <a:pt x="544" y="52"/>
                    <a:pt x="543" y="51"/>
                    <a:pt x="543" y="49"/>
                  </a:cubicBezTo>
                  <a:cubicBezTo>
                    <a:pt x="545" y="50"/>
                    <a:pt x="545" y="50"/>
                    <a:pt x="546" y="50"/>
                  </a:cubicBezTo>
                  <a:cubicBezTo>
                    <a:pt x="546" y="50"/>
                    <a:pt x="547" y="50"/>
                    <a:pt x="547" y="48"/>
                  </a:cubicBezTo>
                  <a:cubicBezTo>
                    <a:pt x="549" y="43"/>
                    <a:pt x="550" y="42"/>
                    <a:pt x="555" y="39"/>
                  </a:cubicBezTo>
                  <a:cubicBezTo>
                    <a:pt x="553" y="37"/>
                    <a:pt x="552" y="36"/>
                    <a:pt x="550" y="35"/>
                  </a:cubicBezTo>
                  <a:cubicBezTo>
                    <a:pt x="550" y="37"/>
                    <a:pt x="549" y="37"/>
                    <a:pt x="548" y="37"/>
                  </a:cubicBezTo>
                  <a:cubicBezTo>
                    <a:pt x="547" y="37"/>
                    <a:pt x="546" y="31"/>
                    <a:pt x="543" y="30"/>
                  </a:cubicBezTo>
                  <a:cubicBezTo>
                    <a:pt x="545" y="30"/>
                    <a:pt x="546" y="30"/>
                    <a:pt x="546" y="28"/>
                  </a:cubicBezTo>
                  <a:cubicBezTo>
                    <a:pt x="543" y="29"/>
                    <a:pt x="540" y="31"/>
                    <a:pt x="538" y="34"/>
                  </a:cubicBezTo>
                  <a:cubicBezTo>
                    <a:pt x="534" y="37"/>
                    <a:pt x="540" y="34"/>
                    <a:pt x="541" y="37"/>
                  </a:cubicBezTo>
                  <a:cubicBezTo>
                    <a:pt x="541" y="37"/>
                    <a:pt x="539" y="41"/>
                    <a:pt x="538" y="41"/>
                  </a:cubicBezTo>
                  <a:cubicBezTo>
                    <a:pt x="538" y="41"/>
                    <a:pt x="537" y="41"/>
                    <a:pt x="537" y="41"/>
                  </a:cubicBezTo>
                  <a:cubicBezTo>
                    <a:pt x="535" y="41"/>
                    <a:pt x="534" y="39"/>
                    <a:pt x="533" y="38"/>
                  </a:cubicBezTo>
                  <a:cubicBezTo>
                    <a:pt x="532" y="37"/>
                    <a:pt x="534" y="37"/>
                    <a:pt x="534" y="37"/>
                  </a:cubicBezTo>
                  <a:cubicBezTo>
                    <a:pt x="533" y="36"/>
                    <a:pt x="531" y="36"/>
                    <a:pt x="531" y="35"/>
                  </a:cubicBezTo>
                  <a:cubicBezTo>
                    <a:pt x="532" y="35"/>
                    <a:pt x="532" y="34"/>
                    <a:pt x="533" y="33"/>
                  </a:cubicBezTo>
                  <a:cubicBezTo>
                    <a:pt x="530" y="34"/>
                    <a:pt x="528" y="36"/>
                    <a:pt x="526" y="38"/>
                  </a:cubicBezTo>
                  <a:cubicBezTo>
                    <a:pt x="522" y="35"/>
                    <a:pt x="527" y="31"/>
                    <a:pt x="530" y="30"/>
                  </a:cubicBezTo>
                  <a:cubicBezTo>
                    <a:pt x="526" y="29"/>
                    <a:pt x="529" y="28"/>
                    <a:pt x="530" y="27"/>
                  </a:cubicBezTo>
                  <a:cubicBezTo>
                    <a:pt x="530" y="26"/>
                    <a:pt x="531" y="25"/>
                    <a:pt x="530" y="25"/>
                  </a:cubicBezTo>
                  <a:cubicBezTo>
                    <a:pt x="530" y="25"/>
                    <a:pt x="530" y="25"/>
                    <a:pt x="529" y="26"/>
                  </a:cubicBezTo>
                  <a:cubicBezTo>
                    <a:pt x="528" y="26"/>
                    <a:pt x="528" y="28"/>
                    <a:pt x="527" y="28"/>
                  </a:cubicBezTo>
                  <a:cubicBezTo>
                    <a:pt x="526" y="29"/>
                    <a:pt x="525" y="29"/>
                    <a:pt x="524" y="30"/>
                  </a:cubicBezTo>
                  <a:cubicBezTo>
                    <a:pt x="524" y="30"/>
                    <a:pt x="521" y="32"/>
                    <a:pt x="522" y="32"/>
                  </a:cubicBezTo>
                  <a:cubicBezTo>
                    <a:pt x="523" y="32"/>
                    <a:pt x="523" y="32"/>
                    <a:pt x="524" y="32"/>
                  </a:cubicBezTo>
                  <a:cubicBezTo>
                    <a:pt x="521" y="34"/>
                    <a:pt x="518" y="34"/>
                    <a:pt x="514" y="35"/>
                  </a:cubicBezTo>
                  <a:cubicBezTo>
                    <a:pt x="515" y="36"/>
                    <a:pt x="516" y="36"/>
                    <a:pt x="517" y="36"/>
                  </a:cubicBezTo>
                  <a:cubicBezTo>
                    <a:pt x="516" y="37"/>
                    <a:pt x="515" y="37"/>
                    <a:pt x="514" y="37"/>
                  </a:cubicBezTo>
                  <a:cubicBezTo>
                    <a:pt x="512" y="37"/>
                    <a:pt x="510" y="35"/>
                    <a:pt x="507" y="33"/>
                  </a:cubicBezTo>
                  <a:cubicBezTo>
                    <a:pt x="506" y="32"/>
                    <a:pt x="503" y="32"/>
                    <a:pt x="503" y="30"/>
                  </a:cubicBezTo>
                  <a:cubicBezTo>
                    <a:pt x="500" y="31"/>
                    <a:pt x="499" y="32"/>
                    <a:pt x="496" y="32"/>
                  </a:cubicBezTo>
                  <a:cubicBezTo>
                    <a:pt x="496" y="32"/>
                    <a:pt x="496" y="32"/>
                    <a:pt x="496" y="32"/>
                  </a:cubicBezTo>
                  <a:cubicBezTo>
                    <a:pt x="495" y="32"/>
                    <a:pt x="493" y="32"/>
                    <a:pt x="492" y="32"/>
                  </a:cubicBezTo>
                  <a:cubicBezTo>
                    <a:pt x="491" y="32"/>
                    <a:pt x="490" y="32"/>
                    <a:pt x="489" y="33"/>
                  </a:cubicBezTo>
                  <a:cubicBezTo>
                    <a:pt x="488" y="31"/>
                    <a:pt x="489" y="30"/>
                    <a:pt x="489" y="29"/>
                  </a:cubicBezTo>
                  <a:cubicBezTo>
                    <a:pt x="487" y="27"/>
                    <a:pt x="485" y="27"/>
                    <a:pt x="483" y="25"/>
                  </a:cubicBezTo>
                  <a:cubicBezTo>
                    <a:pt x="483" y="25"/>
                    <a:pt x="483" y="24"/>
                    <a:pt x="482" y="24"/>
                  </a:cubicBezTo>
                  <a:cubicBezTo>
                    <a:pt x="481" y="24"/>
                    <a:pt x="478" y="25"/>
                    <a:pt x="477" y="25"/>
                  </a:cubicBezTo>
                  <a:cubicBezTo>
                    <a:pt x="474" y="27"/>
                    <a:pt x="474" y="27"/>
                    <a:pt x="474" y="27"/>
                  </a:cubicBezTo>
                  <a:cubicBezTo>
                    <a:pt x="475" y="24"/>
                    <a:pt x="468" y="22"/>
                    <a:pt x="466" y="21"/>
                  </a:cubicBezTo>
                  <a:cubicBezTo>
                    <a:pt x="463" y="20"/>
                    <a:pt x="463" y="20"/>
                    <a:pt x="462" y="18"/>
                  </a:cubicBezTo>
                  <a:cubicBezTo>
                    <a:pt x="461" y="17"/>
                    <a:pt x="461" y="16"/>
                    <a:pt x="460" y="16"/>
                  </a:cubicBezTo>
                  <a:cubicBezTo>
                    <a:pt x="459" y="16"/>
                    <a:pt x="458" y="16"/>
                    <a:pt x="458" y="17"/>
                  </a:cubicBezTo>
                  <a:cubicBezTo>
                    <a:pt x="457" y="17"/>
                    <a:pt x="456" y="18"/>
                    <a:pt x="456" y="19"/>
                  </a:cubicBezTo>
                  <a:cubicBezTo>
                    <a:pt x="455" y="19"/>
                    <a:pt x="455" y="19"/>
                    <a:pt x="455" y="19"/>
                  </a:cubicBezTo>
                  <a:cubicBezTo>
                    <a:pt x="453" y="19"/>
                    <a:pt x="452" y="17"/>
                    <a:pt x="451" y="15"/>
                  </a:cubicBezTo>
                  <a:cubicBezTo>
                    <a:pt x="450" y="14"/>
                    <a:pt x="447" y="11"/>
                    <a:pt x="446" y="10"/>
                  </a:cubicBezTo>
                  <a:cubicBezTo>
                    <a:pt x="445" y="11"/>
                    <a:pt x="445" y="12"/>
                    <a:pt x="445" y="13"/>
                  </a:cubicBezTo>
                  <a:cubicBezTo>
                    <a:pt x="444" y="12"/>
                    <a:pt x="443" y="11"/>
                    <a:pt x="442" y="10"/>
                  </a:cubicBezTo>
                  <a:cubicBezTo>
                    <a:pt x="441" y="13"/>
                    <a:pt x="444" y="15"/>
                    <a:pt x="443" y="17"/>
                  </a:cubicBezTo>
                  <a:cubicBezTo>
                    <a:pt x="440" y="13"/>
                    <a:pt x="440" y="11"/>
                    <a:pt x="437" y="11"/>
                  </a:cubicBezTo>
                  <a:cubicBezTo>
                    <a:pt x="436" y="11"/>
                    <a:pt x="435" y="11"/>
                    <a:pt x="434" y="12"/>
                  </a:cubicBezTo>
                  <a:cubicBezTo>
                    <a:pt x="435" y="14"/>
                    <a:pt x="436" y="14"/>
                    <a:pt x="437" y="15"/>
                  </a:cubicBezTo>
                  <a:cubicBezTo>
                    <a:pt x="438" y="17"/>
                    <a:pt x="438" y="17"/>
                    <a:pt x="438" y="17"/>
                  </a:cubicBezTo>
                  <a:cubicBezTo>
                    <a:pt x="438" y="17"/>
                    <a:pt x="438" y="17"/>
                    <a:pt x="438" y="17"/>
                  </a:cubicBezTo>
                  <a:cubicBezTo>
                    <a:pt x="438" y="17"/>
                    <a:pt x="438" y="17"/>
                    <a:pt x="438" y="17"/>
                  </a:cubicBezTo>
                  <a:cubicBezTo>
                    <a:pt x="438" y="17"/>
                    <a:pt x="438" y="17"/>
                    <a:pt x="439" y="17"/>
                  </a:cubicBezTo>
                  <a:cubicBezTo>
                    <a:pt x="439" y="17"/>
                    <a:pt x="439" y="17"/>
                    <a:pt x="439" y="17"/>
                  </a:cubicBezTo>
                  <a:cubicBezTo>
                    <a:pt x="440" y="18"/>
                    <a:pt x="438" y="19"/>
                    <a:pt x="441" y="19"/>
                  </a:cubicBezTo>
                  <a:cubicBezTo>
                    <a:pt x="441" y="19"/>
                    <a:pt x="441" y="19"/>
                    <a:pt x="441" y="19"/>
                  </a:cubicBezTo>
                  <a:cubicBezTo>
                    <a:pt x="441" y="19"/>
                    <a:pt x="443" y="18"/>
                    <a:pt x="443" y="18"/>
                  </a:cubicBezTo>
                  <a:cubicBezTo>
                    <a:pt x="444" y="18"/>
                    <a:pt x="445" y="17"/>
                    <a:pt x="446" y="17"/>
                  </a:cubicBezTo>
                  <a:cubicBezTo>
                    <a:pt x="447" y="17"/>
                    <a:pt x="449" y="18"/>
                    <a:pt x="450" y="18"/>
                  </a:cubicBezTo>
                  <a:cubicBezTo>
                    <a:pt x="450" y="19"/>
                    <a:pt x="450" y="21"/>
                    <a:pt x="451" y="21"/>
                  </a:cubicBezTo>
                  <a:cubicBezTo>
                    <a:pt x="452" y="22"/>
                    <a:pt x="453" y="22"/>
                    <a:pt x="454" y="22"/>
                  </a:cubicBezTo>
                  <a:cubicBezTo>
                    <a:pt x="454" y="23"/>
                    <a:pt x="453" y="28"/>
                    <a:pt x="453" y="30"/>
                  </a:cubicBezTo>
                  <a:cubicBezTo>
                    <a:pt x="453" y="32"/>
                    <a:pt x="453" y="33"/>
                    <a:pt x="455" y="34"/>
                  </a:cubicBezTo>
                  <a:cubicBezTo>
                    <a:pt x="453" y="35"/>
                    <a:pt x="450" y="37"/>
                    <a:pt x="448" y="38"/>
                  </a:cubicBezTo>
                  <a:cubicBezTo>
                    <a:pt x="448" y="38"/>
                    <a:pt x="447" y="39"/>
                    <a:pt x="447" y="40"/>
                  </a:cubicBezTo>
                  <a:cubicBezTo>
                    <a:pt x="447" y="38"/>
                    <a:pt x="448" y="36"/>
                    <a:pt x="446" y="35"/>
                  </a:cubicBezTo>
                  <a:cubicBezTo>
                    <a:pt x="445" y="35"/>
                    <a:pt x="445" y="35"/>
                    <a:pt x="444" y="35"/>
                  </a:cubicBezTo>
                  <a:cubicBezTo>
                    <a:pt x="442" y="35"/>
                    <a:pt x="442" y="37"/>
                    <a:pt x="440" y="38"/>
                  </a:cubicBezTo>
                  <a:cubicBezTo>
                    <a:pt x="439" y="38"/>
                    <a:pt x="437" y="38"/>
                    <a:pt x="435" y="38"/>
                  </a:cubicBezTo>
                  <a:cubicBezTo>
                    <a:pt x="430" y="38"/>
                    <a:pt x="424" y="37"/>
                    <a:pt x="423" y="36"/>
                  </a:cubicBezTo>
                  <a:cubicBezTo>
                    <a:pt x="422" y="35"/>
                    <a:pt x="422" y="33"/>
                    <a:pt x="421" y="32"/>
                  </a:cubicBezTo>
                  <a:cubicBezTo>
                    <a:pt x="421" y="33"/>
                    <a:pt x="420" y="35"/>
                    <a:pt x="420" y="36"/>
                  </a:cubicBezTo>
                  <a:cubicBezTo>
                    <a:pt x="420" y="36"/>
                    <a:pt x="417" y="34"/>
                    <a:pt x="416" y="34"/>
                  </a:cubicBezTo>
                  <a:cubicBezTo>
                    <a:pt x="416" y="34"/>
                    <a:pt x="415" y="34"/>
                    <a:pt x="415" y="34"/>
                  </a:cubicBezTo>
                  <a:cubicBezTo>
                    <a:pt x="414" y="35"/>
                    <a:pt x="415" y="38"/>
                    <a:pt x="415" y="39"/>
                  </a:cubicBezTo>
                  <a:cubicBezTo>
                    <a:pt x="414" y="39"/>
                    <a:pt x="413" y="39"/>
                    <a:pt x="413" y="39"/>
                  </a:cubicBezTo>
                  <a:cubicBezTo>
                    <a:pt x="412" y="39"/>
                    <a:pt x="412" y="39"/>
                    <a:pt x="412" y="40"/>
                  </a:cubicBezTo>
                  <a:cubicBezTo>
                    <a:pt x="412" y="42"/>
                    <a:pt x="413" y="42"/>
                    <a:pt x="413" y="42"/>
                  </a:cubicBezTo>
                  <a:cubicBezTo>
                    <a:pt x="413" y="44"/>
                    <a:pt x="413" y="44"/>
                    <a:pt x="413" y="45"/>
                  </a:cubicBezTo>
                  <a:cubicBezTo>
                    <a:pt x="413" y="45"/>
                    <a:pt x="410" y="44"/>
                    <a:pt x="410" y="44"/>
                  </a:cubicBezTo>
                  <a:cubicBezTo>
                    <a:pt x="409" y="42"/>
                    <a:pt x="409" y="42"/>
                    <a:pt x="409" y="42"/>
                  </a:cubicBezTo>
                  <a:cubicBezTo>
                    <a:pt x="409" y="42"/>
                    <a:pt x="408" y="40"/>
                    <a:pt x="407" y="40"/>
                  </a:cubicBezTo>
                  <a:cubicBezTo>
                    <a:pt x="406" y="40"/>
                    <a:pt x="406" y="40"/>
                    <a:pt x="406" y="40"/>
                  </a:cubicBezTo>
                  <a:cubicBezTo>
                    <a:pt x="403" y="40"/>
                    <a:pt x="405" y="43"/>
                    <a:pt x="405" y="45"/>
                  </a:cubicBezTo>
                  <a:cubicBezTo>
                    <a:pt x="405" y="46"/>
                    <a:pt x="405" y="46"/>
                    <a:pt x="406" y="47"/>
                  </a:cubicBezTo>
                  <a:cubicBezTo>
                    <a:pt x="404" y="46"/>
                    <a:pt x="403" y="46"/>
                    <a:pt x="403" y="46"/>
                  </a:cubicBezTo>
                  <a:cubicBezTo>
                    <a:pt x="402" y="46"/>
                    <a:pt x="402" y="46"/>
                    <a:pt x="402" y="46"/>
                  </a:cubicBezTo>
                  <a:cubicBezTo>
                    <a:pt x="400" y="47"/>
                    <a:pt x="394" y="52"/>
                    <a:pt x="394" y="54"/>
                  </a:cubicBezTo>
                  <a:cubicBezTo>
                    <a:pt x="393" y="57"/>
                    <a:pt x="397" y="61"/>
                    <a:pt x="398" y="63"/>
                  </a:cubicBezTo>
                  <a:cubicBezTo>
                    <a:pt x="396" y="63"/>
                    <a:pt x="395" y="65"/>
                    <a:pt x="393" y="66"/>
                  </a:cubicBezTo>
                  <a:cubicBezTo>
                    <a:pt x="392" y="67"/>
                    <a:pt x="391" y="67"/>
                    <a:pt x="390" y="67"/>
                  </a:cubicBezTo>
                  <a:cubicBezTo>
                    <a:pt x="389" y="67"/>
                    <a:pt x="388" y="67"/>
                    <a:pt x="388" y="65"/>
                  </a:cubicBezTo>
                  <a:cubicBezTo>
                    <a:pt x="386" y="67"/>
                    <a:pt x="386" y="70"/>
                    <a:pt x="385" y="74"/>
                  </a:cubicBezTo>
                  <a:cubicBezTo>
                    <a:pt x="385" y="75"/>
                    <a:pt x="383" y="79"/>
                    <a:pt x="382" y="79"/>
                  </a:cubicBezTo>
                  <a:cubicBezTo>
                    <a:pt x="382" y="79"/>
                    <a:pt x="382" y="79"/>
                    <a:pt x="381" y="79"/>
                  </a:cubicBezTo>
                  <a:cubicBezTo>
                    <a:pt x="381" y="80"/>
                    <a:pt x="381" y="80"/>
                    <a:pt x="380" y="80"/>
                  </a:cubicBezTo>
                  <a:cubicBezTo>
                    <a:pt x="380" y="80"/>
                    <a:pt x="379" y="80"/>
                    <a:pt x="379" y="80"/>
                  </a:cubicBezTo>
                  <a:cubicBezTo>
                    <a:pt x="378" y="81"/>
                    <a:pt x="377" y="83"/>
                    <a:pt x="377" y="84"/>
                  </a:cubicBezTo>
                  <a:cubicBezTo>
                    <a:pt x="376" y="87"/>
                    <a:pt x="377" y="88"/>
                    <a:pt x="379" y="91"/>
                  </a:cubicBezTo>
                  <a:cubicBezTo>
                    <a:pt x="381" y="93"/>
                    <a:pt x="381" y="94"/>
                    <a:pt x="383" y="96"/>
                  </a:cubicBezTo>
                  <a:cubicBezTo>
                    <a:pt x="384" y="98"/>
                    <a:pt x="388" y="98"/>
                    <a:pt x="390" y="98"/>
                  </a:cubicBezTo>
                  <a:cubicBezTo>
                    <a:pt x="387" y="99"/>
                    <a:pt x="382" y="99"/>
                    <a:pt x="382" y="103"/>
                  </a:cubicBezTo>
                  <a:cubicBezTo>
                    <a:pt x="382" y="103"/>
                    <a:pt x="383" y="104"/>
                    <a:pt x="383" y="105"/>
                  </a:cubicBezTo>
                  <a:cubicBezTo>
                    <a:pt x="383" y="106"/>
                    <a:pt x="386" y="107"/>
                    <a:pt x="384" y="107"/>
                  </a:cubicBezTo>
                  <a:cubicBezTo>
                    <a:pt x="384" y="107"/>
                    <a:pt x="384" y="107"/>
                    <a:pt x="384" y="107"/>
                  </a:cubicBezTo>
                  <a:cubicBezTo>
                    <a:pt x="382" y="107"/>
                    <a:pt x="380" y="102"/>
                    <a:pt x="379" y="102"/>
                  </a:cubicBezTo>
                  <a:cubicBezTo>
                    <a:pt x="378" y="101"/>
                    <a:pt x="377" y="101"/>
                    <a:pt x="376" y="101"/>
                  </a:cubicBezTo>
                  <a:cubicBezTo>
                    <a:pt x="375" y="101"/>
                    <a:pt x="373" y="101"/>
                    <a:pt x="373" y="103"/>
                  </a:cubicBezTo>
                  <a:cubicBezTo>
                    <a:pt x="373" y="105"/>
                    <a:pt x="373" y="105"/>
                    <a:pt x="373" y="105"/>
                  </a:cubicBezTo>
                  <a:cubicBezTo>
                    <a:pt x="373" y="106"/>
                    <a:pt x="373" y="108"/>
                    <a:pt x="372" y="108"/>
                  </a:cubicBezTo>
                  <a:cubicBezTo>
                    <a:pt x="372" y="108"/>
                    <a:pt x="371" y="108"/>
                    <a:pt x="371" y="108"/>
                  </a:cubicBezTo>
                  <a:cubicBezTo>
                    <a:pt x="370" y="106"/>
                    <a:pt x="372" y="104"/>
                    <a:pt x="372" y="103"/>
                  </a:cubicBezTo>
                  <a:cubicBezTo>
                    <a:pt x="371" y="101"/>
                    <a:pt x="369" y="100"/>
                    <a:pt x="367" y="99"/>
                  </a:cubicBezTo>
                  <a:cubicBezTo>
                    <a:pt x="367" y="100"/>
                    <a:pt x="367" y="101"/>
                    <a:pt x="367" y="101"/>
                  </a:cubicBezTo>
                  <a:cubicBezTo>
                    <a:pt x="367" y="98"/>
                    <a:pt x="363" y="98"/>
                    <a:pt x="360" y="98"/>
                  </a:cubicBezTo>
                  <a:cubicBezTo>
                    <a:pt x="359" y="98"/>
                    <a:pt x="357" y="97"/>
                    <a:pt x="356" y="97"/>
                  </a:cubicBezTo>
                  <a:cubicBezTo>
                    <a:pt x="354" y="97"/>
                    <a:pt x="352" y="98"/>
                    <a:pt x="354" y="99"/>
                  </a:cubicBezTo>
                  <a:cubicBezTo>
                    <a:pt x="353" y="100"/>
                    <a:pt x="355" y="104"/>
                    <a:pt x="354" y="104"/>
                  </a:cubicBezTo>
                  <a:cubicBezTo>
                    <a:pt x="353" y="104"/>
                    <a:pt x="353" y="104"/>
                    <a:pt x="352" y="103"/>
                  </a:cubicBezTo>
                  <a:cubicBezTo>
                    <a:pt x="352" y="104"/>
                    <a:pt x="352" y="104"/>
                    <a:pt x="352" y="104"/>
                  </a:cubicBezTo>
                  <a:cubicBezTo>
                    <a:pt x="351" y="103"/>
                    <a:pt x="350" y="103"/>
                    <a:pt x="350" y="103"/>
                  </a:cubicBezTo>
                  <a:cubicBezTo>
                    <a:pt x="346" y="103"/>
                    <a:pt x="351" y="109"/>
                    <a:pt x="351" y="112"/>
                  </a:cubicBezTo>
                  <a:cubicBezTo>
                    <a:pt x="349" y="112"/>
                    <a:pt x="348" y="111"/>
                    <a:pt x="346" y="110"/>
                  </a:cubicBezTo>
                  <a:cubicBezTo>
                    <a:pt x="346" y="112"/>
                    <a:pt x="346" y="114"/>
                    <a:pt x="344" y="115"/>
                  </a:cubicBezTo>
                  <a:cubicBezTo>
                    <a:pt x="346" y="111"/>
                    <a:pt x="345" y="108"/>
                    <a:pt x="346" y="103"/>
                  </a:cubicBezTo>
                  <a:cubicBezTo>
                    <a:pt x="346" y="102"/>
                    <a:pt x="346" y="100"/>
                    <a:pt x="347" y="99"/>
                  </a:cubicBezTo>
                  <a:cubicBezTo>
                    <a:pt x="348" y="98"/>
                    <a:pt x="348" y="98"/>
                    <a:pt x="348" y="98"/>
                  </a:cubicBezTo>
                  <a:cubicBezTo>
                    <a:pt x="348" y="97"/>
                    <a:pt x="348" y="96"/>
                    <a:pt x="349" y="96"/>
                  </a:cubicBezTo>
                  <a:cubicBezTo>
                    <a:pt x="349" y="96"/>
                    <a:pt x="349" y="96"/>
                    <a:pt x="349" y="96"/>
                  </a:cubicBezTo>
                  <a:cubicBezTo>
                    <a:pt x="349" y="94"/>
                    <a:pt x="346" y="92"/>
                    <a:pt x="344" y="91"/>
                  </a:cubicBezTo>
                  <a:cubicBezTo>
                    <a:pt x="340" y="87"/>
                    <a:pt x="335" y="82"/>
                    <a:pt x="331" y="78"/>
                  </a:cubicBezTo>
                  <a:cubicBezTo>
                    <a:pt x="330" y="77"/>
                    <a:pt x="329" y="77"/>
                    <a:pt x="328" y="77"/>
                  </a:cubicBezTo>
                  <a:cubicBezTo>
                    <a:pt x="328" y="77"/>
                    <a:pt x="327" y="77"/>
                    <a:pt x="327" y="77"/>
                  </a:cubicBezTo>
                  <a:cubicBezTo>
                    <a:pt x="326" y="77"/>
                    <a:pt x="326" y="77"/>
                    <a:pt x="325" y="77"/>
                  </a:cubicBezTo>
                  <a:cubicBezTo>
                    <a:pt x="325" y="77"/>
                    <a:pt x="324" y="77"/>
                    <a:pt x="324" y="77"/>
                  </a:cubicBezTo>
                  <a:cubicBezTo>
                    <a:pt x="324" y="77"/>
                    <a:pt x="324" y="77"/>
                    <a:pt x="324" y="77"/>
                  </a:cubicBezTo>
                  <a:cubicBezTo>
                    <a:pt x="324" y="77"/>
                    <a:pt x="324" y="77"/>
                    <a:pt x="324" y="77"/>
                  </a:cubicBezTo>
                  <a:cubicBezTo>
                    <a:pt x="324" y="77"/>
                    <a:pt x="324" y="78"/>
                    <a:pt x="323" y="78"/>
                  </a:cubicBezTo>
                  <a:cubicBezTo>
                    <a:pt x="323" y="78"/>
                    <a:pt x="323" y="78"/>
                    <a:pt x="323" y="77"/>
                  </a:cubicBezTo>
                  <a:cubicBezTo>
                    <a:pt x="321" y="77"/>
                    <a:pt x="320" y="73"/>
                    <a:pt x="319" y="72"/>
                  </a:cubicBezTo>
                  <a:cubicBezTo>
                    <a:pt x="318" y="74"/>
                    <a:pt x="314" y="83"/>
                    <a:pt x="311" y="84"/>
                  </a:cubicBezTo>
                  <a:cubicBezTo>
                    <a:pt x="311" y="84"/>
                    <a:pt x="311" y="84"/>
                    <a:pt x="311" y="84"/>
                  </a:cubicBezTo>
                  <a:cubicBezTo>
                    <a:pt x="310" y="84"/>
                    <a:pt x="308" y="81"/>
                    <a:pt x="309" y="80"/>
                  </a:cubicBezTo>
                  <a:cubicBezTo>
                    <a:pt x="308" y="80"/>
                    <a:pt x="308" y="81"/>
                    <a:pt x="308" y="81"/>
                  </a:cubicBezTo>
                  <a:cubicBezTo>
                    <a:pt x="306" y="81"/>
                    <a:pt x="310" y="77"/>
                    <a:pt x="310" y="77"/>
                  </a:cubicBezTo>
                  <a:cubicBezTo>
                    <a:pt x="309" y="77"/>
                    <a:pt x="309" y="77"/>
                    <a:pt x="309" y="77"/>
                  </a:cubicBezTo>
                  <a:cubicBezTo>
                    <a:pt x="308" y="77"/>
                    <a:pt x="302" y="82"/>
                    <a:pt x="301" y="83"/>
                  </a:cubicBezTo>
                  <a:cubicBezTo>
                    <a:pt x="301" y="81"/>
                    <a:pt x="300" y="80"/>
                    <a:pt x="301" y="79"/>
                  </a:cubicBezTo>
                  <a:cubicBezTo>
                    <a:pt x="301" y="79"/>
                    <a:pt x="301" y="79"/>
                    <a:pt x="301" y="78"/>
                  </a:cubicBezTo>
                  <a:cubicBezTo>
                    <a:pt x="301" y="78"/>
                    <a:pt x="300" y="79"/>
                    <a:pt x="299" y="79"/>
                  </a:cubicBezTo>
                  <a:cubicBezTo>
                    <a:pt x="300" y="78"/>
                    <a:pt x="300" y="77"/>
                    <a:pt x="300" y="77"/>
                  </a:cubicBezTo>
                  <a:cubicBezTo>
                    <a:pt x="299" y="76"/>
                    <a:pt x="299" y="77"/>
                    <a:pt x="299" y="76"/>
                  </a:cubicBezTo>
                  <a:cubicBezTo>
                    <a:pt x="298" y="76"/>
                    <a:pt x="298" y="76"/>
                    <a:pt x="297" y="77"/>
                  </a:cubicBezTo>
                  <a:cubicBezTo>
                    <a:pt x="298" y="77"/>
                    <a:pt x="298" y="78"/>
                    <a:pt x="299" y="79"/>
                  </a:cubicBezTo>
                  <a:cubicBezTo>
                    <a:pt x="298" y="79"/>
                    <a:pt x="297" y="79"/>
                    <a:pt x="296" y="79"/>
                  </a:cubicBezTo>
                  <a:cubicBezTo>
                    <a:pt x="297" y="82"/>
                    <a:pt x="301" y="79"/>
                    <a:pt x="300" y="84"/>
                  </a:cubicBezTo>
                  <a:cubicBezTo>
                    <a:pt x="299" y="85"/>
                    <a:pt x="298" y="88"/>
                    <a:pt x="297" y="89"/>
                  </a:cubicBezTo>
                  <a:cubicBezTo>
                    <a:pt x="298" y="91"/>
                    <a:pt x="298" y="91"/>
                    <a:pt x="298" y="91"/>
                  </a:cubicBezTo>
                  <a:cubicBezTo>
                    <a:pt x="297" y="92"/>
                    <a:pt x="294" y="92"/>
                    <a:pt x="293" y="92"/>
                  </a:cubicBezTo>
                  <a:cubicBezTo>
                    <a:pt x="292" y="91"/>
                    <a:pt x="292" y="90"/>
                    <a:pt x="293" y="89"/>
                  </a:cubicBezTo>
                  <a:cubicBezTo>
                    <a:pt x="292" y="89"/>
                    <a:pt x="292" y="89"/>
                    <a:pt x="292" y="89"/>
                  </a:cubicBezTo>
                  <a:cubicBezTo>
                    <a:pt x="292" y="89"/>
                    <a:pt x="291" y="90"/>
                    <a:pt x="290" y="90"/>
                  </a:cubicBezTo>
                  <a:cubicBezTo>
                    <a:pt x="291" y="89"/>
                    <a:pt x="291" y="88"/>
                    <a:pt x="290" y="88"/>
                  </a:cubicBezTo>
                  <a:cubicBezTo>
                    <a:pt x="290" y="88"/>
                    <a:pt x="289" y="89"/>
                    <a:pt x="289" y="89"/>
                  </a:cubicBezTo>
                  <a:cubicBezTo>
                    <a:pt x="288" y="88"/>
                    <a:pt x="289" y="86"/>
                    <a:pt x="290" y="85"/>
                  </a:cubicBezTo>
                  <a:cubicBezTo>
                    <a:pt x="289" y="85"/>
                    <a:pt x="288" y="84"/>
                    <a:pt x="288" y="84"/>
                  </a:cubicBezTo>
                  <a:cubicBezTo>
                    <a:pt x="287" y="84"/>
                    <a:pt x="287" y="85"/>
                    <a:pt x="288" y="88"/>
                  </a:cubicBezTo>
                  <a:cubicBezTo>
                    <a:pt x="288" y="92"/>
                    <a:pt x="285" y="90"/>
                    <a:pt x="283" y="93"/>
                  </a:cubicBezTo>
                  <a:cubicBezTo>
                    <a:pt x="282" y="92"/>
                    <a:pt x="282" y="92"/>
                    <a:pt x="282" y="92"/>
                  </a:cubicBezTo>
                  <a:cubicBezTo>
                    <a:pt x="282" y="92"/>
                    <a:pt x="282" y="92"/>
                    <a:pt x="281" y="93"/>
                  </a:cubicBezTo>
                  <a:cubicBezTo>
                    <a:pt x="281" y="92"/>
                    <a:pt x="281" y="91"/>
                    <a:pt x="281" y="91"/>
                  </a:cubicBezTo>
                  <a:cubicBezTo>
                    <a:pt x="280" y="92"/>
                    <a:pt x="278" y="93"/>
                    <a:pt x="277" y="95"/>
                  </a:cubicBezTo>
                  <a:cubicBezTo>
                    <a:pt x="277" y="97"/>
                    <a:pt x="277" y="98"/>
                    <a:pt x="278" y="99"/>
                  </a:cubicBezTo>
                  <a:cubicBezTo>
                    <a:pt x="279" y="99"/>
                    <a:pt x="279" y="99"/>
                    <a:pt x="279" y="99"/>
                  </a:cubicBezTo>
                  <a:cubicBezTo>
                    <a:pt x="279" y="99"/>
                    <a:pt x="280" y="99"/>
                    <a:pt x="280" y="100"/>
                  </a:cubicBezTo>
                  <a:cubicBezTo>
                    <a:pt x="281" y="100"/>
                    <a:pt x="280" y="102"/>
                    <a:pt x="280" y="102"/>
                  </a:cubicBezTo>
                  <a:cubicBezTo>
                    <a:pt x="282" y="102"/>
                    <a:pt x="282" y="102"/>
                    <a:pt x="282" y="102"/>
                  </a:cubicBezTo>
                  <a:cubicBezTo>
                    <a:pt x="282" y="102"/>
                    <a:pt x="282" y="103"/>
                    <a:pt x="283" y="103"/>
                  </a:cubicBezTo>
                  <a:cubicBezTo>
                    <a:pt x="283" y="103"/>
                    <a:pt x="283" y="103"/>
                    <a:pt x="283" y="103"/>
                  </a:cubicBezTo>
                  <a:cubicBezTo>
                    <a:pt x="283" y="104"/>
                    <a:pt x="283" y="105"/>
                    <a:pt x="282" y="105"/>
                  </a:cubicBezTo>
                  <a:cubicBezTo>
                    <a:pt x="282" y="105"/>
                    <a:pt x="283" y="106"/>
                    <a:pt x="283" y="106"/>
                  </a:cubicBezTo>
                  <a:cubicBezTo>
                    <a:pt x="283" y="106"/>
                    <a:pt x="283" y="106"/>
                    <a:pt x="283" y="106"/>
                  </a:cubicBezTo>
                  <a:cubicBezTo>
                    <a:pt x="283" y="106"/>
                    <a:pt x="282" y="106"/>
                    <a:pt x="282" y="106"/>
                  </a:cubicBezTo>
                  <a:cubicBezTo>
                    <a:pt x="280" y="106"/>
                    <a:pt x="278" y="104"/>
                    <a:pt x="277" y="103"/>
                  </a:cubicBezTo>
                  <a:cubicBezTo>
                    <a:pt x="276" y="103"/>
                    <a:pt x="276" y="104"/>
                    <a:pt x="276" y="104"/>
                  </a:cubicBezTo>
                  <a:cubicBezTo>
                    <a:pt x="275" y="104"/>
                    <a:pt x="275" y="103"/>
                    <a:pt x="275" y="103"/>
                  </a:cubicBezTo>
                  <a:cubicBezTo>
                    <a:pt x="275" y="102"/>
                    <a:pt x="274" y="102"/>
                    <a:pt x="274" y="102"/>
                  </a:cubicBezTo>
                  <a:cubicBezTo>
                    <a:pt x="274" y="102"/>
                    <a:pt x="274" y="102"/>
                    <a:pt x="273" y="102"/>
                  </a:cubicBezTo>
                  <a:cubicBezTo>
                    <a:pt x="273" y="105"/>
                    <a:pt x="274" y="107"/>
                    <a:pt x="273" y="110"/>
                  </a:cubicBezTo>
                  <a:cubicBezTo>
                    <a:pt x="274" y="110"/>
                    <a:pt x="274" y="110"/>
                    <a:pt x="275" y="110"/>
                  </a:cubicBezTo>
                  <a:cubicBezTo>
                    <a:pt x="277" y="110"/>
                    <a:pt x="275" y="113"/>
                    <a:pt x="277" y="115"/>
                  </a:cubicBezTo>
                  <a:cubicBezTo>
                    <a:pt x="276" y="114"/>
                    <a:pt x="274" y="114"/>
                    <a:pt x="273" y="114"/>
                  </a:cubicBezTo>
                  <a:cubicBezTo>
                    <a:pt x="272" y="113"/>
                    <a:pt x="274" y="114"/>
                    <a:pt x="273" y="113"/>
                  </a:cubicBezTo>
                  <a:cubicBezTo>
                    <a:pt x="272" y="112"/>
                    <a:pt x="271" y="111"/>
                    <a:pt x="270" y="111"/>
                  </a:cubicBezTo>
                  <a:cubicBezTo>
                    <a:pt x="269" y="111"/>
                    <a:pt x="269" y="111"/>
                    <a:pt x="269" y="111"/>
                  </a:cubicBezTo>
                  <a:cubicBezTo>
                    <a:pt x="269" y="110"/>
                    <a:pt x="268" y="110"/>
                    <a:pt x="267" y="110"/>
                  </a:cubicBezTo>
                  <a:cubicBezTo>
                    <a:pt x="267" y="109"/>
                    <a:pt x="266" y="109"/>
                    <a:pt x="266" y="109"/>
                  </a:cubicBezTo>
                  <a:cubicBezTo>
                    <a:pt x="265" y="109"/>
                    <a:pt x="265" y="109"/>
                    <a:pt x="264" y="111"/>
                  </a:cubicBezTo>
                  <a:cubicBezTo>
                    <a:pt x="264" y="112"/>
                    <a:pt x="266" y="112"/>
                    <a:pt x="263" y="113"/>
                  </a:cubicBezTo>
                  <a:cubicBezTo>
                    <a:pt x="263" y="113"/>
                    <a:pt x="262" y="114"/>
                    <a:pt x="262" y="114"/>
                  </a:cubicBezTo>
                  <a:cubicBezTo>
                    <a:pt x="259" y="115"/>
                    <a:pt x="259" y="115"/>
                    <a:pt x="259" y="115"/>
                  </a:cubicBezTo>
                  <a:cubicBezTo>
                    <a:pt x="258" y="119"/>
                    <a:pt x="259" y="123"/>
                    <a:pt x="261" y="127"/>
                  </a:cubicBezTo>
                  <a:cubicBezTo>
                    <a:pt x="262" y="125"/>
                    <a:pt x="263" y="122"/>
                    <a:pt x="265" y="122"/>
                  </a:cubicBezTo>
                  <a:cubicBezTo>
                    <a:pt x="264" y="124"/>
                    <a:pt x="263" y="126"/>
                    <a:pt x="263" y="129"/>
                  </a:cubicBezTo>
                  <a:cubicBezTo>
                    <a:pt x="262" y="129"/>
                    <a:pt x="261" y="128"/>
                    <a:pt x="260" y="128"/>
                  </a:cubicBezTo>
                  <a:cubicBezTo>
                    <a:pt x="260" y="128"/>
                    <a:pt x="260" y="128"/>
                    <a:pt x="260" y="129"/>
                  </a:cubicBezTo>
                  <a:cubicBezTo>
                    <a:pt x="259" y="130"/>
                    <a:pt x="258" y="133"/>
                    <a:pt x="259" y="134"/>
                  </a:cubicBezTo>
                  <a:cubicBezTo>
                    <a:pt x="259" y="135"/>
                    <a:pt x="259" y="135"/>
                    <a:pt x="260" y="135"/>
                  </a:cubicBezTo>
                  <a:cubicBezTo>
                    <a:pt x="260" y="135"/>
                    <a:pt x="260" y="135"/>
                    <a:pt x="261" y="135"/>
                  </a:cubicBezTo>
                  <a:cubicBezTo>
                    <a:pt x="261" y="135"/>
                    <a:pt x="261" y="135"/>
                    <a:pt x="262" y="135"/>
                  </a:cubicBezTo>
                  <a:cubicBezTo>
                    <a:pt x="262" y="135"/>
                    <a:pt x="262" y="135"/>
                    <a:pt x="262" y="135"/>
                  </a:cubicBezTo>
                  <a:cubicBezTo>
                    <a:pt x="265" y="135"/>
                    <a:pt x="267" y="136"/>
                    <a:pt x="270" y="136"/>
                  </a:cubicBezTo>
                  <a:cubicBezTo>
                    <a:pt x="269" y="136"/>
                    <a:pt x="269" y="136"/>
                    <a:pt x="268" y="136"/>
                  </a:cubicBezTo>
                  <a:cubicBezTo>
                    <a:pt x="266" y="136"/>
                    <a:pt x="264" y="136"/>
                    <a:pt x="262" y="136"/>
                  </a:cubicBezTo>
                  <a:cubicBezTo>
                    <a:pt x="261" y="136"/>
                    <a:pt x="260" y="136"/>
                    <a:pt x="260" y="136"/>
                  </a:cubicBezTo>
                  <a:cubicBezTo>
                    <a:pt x="259" y="136"/>
                    <a:pt x="259" y="135"/>
                    <a:pt x="259" y="135"/>
                  </a:cubicBezTo>
                  <a:cubicBezTo>
                    <a:pt x="258" y="135"/>
                    <a:pt x="257" y="136"/>
                    <a:pt x="256" y="136"/>
                  </a:cubicBezTo>
                  <a:cubicBezTo>
                    <a:pt x="255" y="136"/>
                    <a:pt x="255" y="136"/>
                    <a:pt x="255" y="136"/>
                  </a:cubicBezTo>
                  <a:cubicBezTo>
                    <a:pt x="254" y="136"/>
                    <a:pt x="254" y="134"/>
                    <a:pt x="252" y="133"/>
                  </a:cubicBezTo>
                  <a:cubicBezTo>
                    <a:pt x="251" y="132"/>
                    <a:pt x="249" y="133"/>
                    <a:pt x="248" y="132"/>
                  </a:cubicBezTo>
                  <a:cubicBezTo>
                    <a:pt x="249" y="133"/>
                    <a:pt x="249" y="134"/>
                    <a:pt x="249" y="136"/>
                  </a:cubicBezTo>
                  <a:cubicBezTo>
                    <a:pt x="249" y="135"/>
                    <a:pt x="248" y="135"/>
                    <a:pt x="248" y="135"/>
                  </a:cubicBezTo>
                  <a:cubicBezTo>
                    <a:pt x="247" y="135"/>
                    <a:pt x="246" y="135"/>
                    <a:pt x="246" y="136"/>
                  </a:cubicBezTo>
                  <a:cubicBezTo>
                    <a:pt x="247" y="134"/>
                    <a:pt x="245" y="135"/>
                    <a:pt x="245" y="134"/>
                  </a:cubicBezTo>
                  <a:cubicBezTo>
                    <a:pt x="244" y="133"/>
                    <a:pt x="244" y="133"/>
                    <a:pt x="244" y="133"/>
                  </a:cubicBezTo>
                  <a:cubicBezTo>
                    <a:pt x="244" y="133"/>
                    <a:pt x="244" y="132"/>
                    <a:pt x="244" y="132"/>
                  </a:cubicBezTo>
                  <a:cubicBezTo>
                    <a:pt x="244" y="131"/>
                    <a:pt x="244" y="130"/>
                    <a:pt x="242" y="130"/>
                  </a:cubicBezTo>
                  <a:cubicBezTo>
                    <a:pt x="242" y="130"/>
                    <a:pt x="241" y="130"/>
                    <a:pt x="240" y="130"/>
                  </a:cubicBezTo>
                  <a:cubicBezTo>
                    <a:pt x="241" y="132"/>
                    <a:pt x="243" y="135"/>
                    <a:pt x="243" y="136"/>
                  </a:cubicBezTo>
                  <a:cubicBezTo>
                    <a:pt x="243" y="137"/>
                    <a:pt x="242" y="137"/>
                    <a:pt x="241" y="137"/>
                  </a:cubicBezTo>
                  <a:cubicBezTo>
                    <a:pt x="241" y="137"/>
                    <a:pt x="240" y="137"/>
                    <a:pt x="240" y="137"/>
                  </a:cubicBezTo>
                  <a:cubicBezTo>
                    <a:pt x="239" y="137"/>
                    <a:pt x="239" y="137"/>
                    <a:pt x="238" y="137"/>
                  </a:cubicBezTo>
                  <a:cubicBezTo>
                    <a:pt x="238" y="137"/>
                    <a:pt x="238" y="137"/>
                    <a:pt x="238" y="137"/>
                  </a:cubicBezTo>
                  <a:cubicBezTo>
                    <a:pt x="239" y="137"/>
                    <a:pt x="240" y="138"/>
                    <a:pt x="241" y="138"/>
                  </a:cubicBezTo>
                  <a:cubicBezTo>
                    <a:pt x="241" y="138"/>
                    <a:pt x="240" y="138"/>
                    <a:pt x="240" y="138"/>
                  </a:cubicBezTo>
                  <a:cubicBezTo>
                    <a:pt x="240" y="138"/>
                    <a:pt x="239" y="138"/>
                    <a:pt x="239" y="138"/>
                  </a:cubicBezTo>
                  <a:cubicBezTo>
                    <a:pt x="238" y="138"/>
                    <a:pt x="238" y="138"/>
                    <a:pt x="238" y="138"/>
                  </a:cubicBezTo>
                  <a:cubicBezTo>
                    <a:pt x="237" y="138"/>
                    <a:pt x="237" y="138"/>
                    <a:pt x="236" y="139"/>
                  </a:cubicBezTo>
                  <a:cubicBezTo>
                    <a:pt x="237" y="140"/>
                    <a:pt x="238" y="140"/>
                    <a:pt x="239" y="140"/>
                  </a:cubicBezTo>
                  <a:cubicBezTo>
                    <a:pt x="239" y="140"/>
                    <a:pt x="239" y="140"/>
                    <a:pt x="239" y="140"/>
                  </a:cubicBezTo>
                  <a:cubicBezTo>
                    <a:pt x="239" y="140"/>
                    <a:pt x="239" y="140"/>
                    <a:pt x="239" y="140"/>
                  </a:cubicBezTo>
                  <a:cubicBezTo>
                    <a:pt x="239" y="140"/>
                    <a:pt x="239" y="140"/>
                    <a:pt x="239" y="140"/>
                  </a:cubicBezTo>
                  <a:cubicBezTo>
                    <a:pt x="241" y="141"/>
                    <a:pt x="239" y="141"/>
                    <a:pt x="240" y="143"/>
                  </a:cubicBezTo>
                  <a:cubicBezTo>
                    <a:pt x="241" y="144"/>
                    <a:pt x="242" y="144"/>
                    <a:pt x="243" y="145"/>
                  </a:cubicBezTo>
                  <a:cubicBezTo>
                    <a:pt x="244" y="146"/>
                    <a:pt x="244" y="148"/>
                    <a:pt x="245" y="148"/>
                  </a:cubicBezTo>
                  <a:cubicBezTo>
                    <a:pt x="245" y="148"/>
                    <a:pt x="245" y="148"/>
                    <a:pt x="245" y="148"/>
                  </a:cubicBezTo>
                  <a:cubicBezTo>
                    <a:pt x="246" y="148"/>
                    <a:pt x="248" y="147"/>
                    <a:pt x="248" y="146"/>
                  </a:cubicBezTo>
                  <a:cubicBezTo>
                    <a:pt x="248" y="150"/>
                    <a:pt x="243" y="153"/>
                    <a:pt x="247" y="156"/>
                  </a:cubicBezTo>
                  <a:cubicBezTo>
                    <a:pt x="246" y="155"/>
                    <a:pt x="242" y="153"/>
                    <a:pt x="242" y="151"/>
                  </a:cubicBezTo>
                  <a:cubicBezTo>
                    <a:pt x="239" y="154"/>
                    <a:pt x="241" y="154"/>
                    <a:pt x="241" y="155"/>
                  </a:cubicBezTo>
                  <a:cubicBezTo>
                    <a:pt x="241" y="156"/>
                    <a:pt x="240" y="158"/>
                    <a:pt x="240" y="159"/>
                  </a:cubicBezTo>
                  <a:cubicBezTo>
                    <a:pt x="239" y="161"/>
                    <a:pt x="240" y="163"/>
                    <a:pt x="240" y="165"/>
                  </a:cubicBezTo>
                  <a:cubicBezTo>
                    <a:pt x="236" y="161"/>
                    <a:pt x="235" y="155"/>
                    <a:pt x="232" y="151"/>
                  </a:cubicBezTo>
                  <a:cubicBezTo>
                    <a:pt x="231" y="150"/>
                    <a:pt x="230" y="150"/>
                    <a:pt x="230" y="149"/>
                  </a:cubicBezTo>
                  <a:cubicBezTo>
                    <a:pt x="229" y="148"/>
                    <a:pt x="228" y="145"/>
                    <a:pt x="229" y="143"/>
                  </a:cubicBezTo>
                  <a:cubicBezTo>
                    <a:pt x="229" y="144"/>
                    <a:pt x="228" y="144"/>
                    <a:pt x="228" y="144"/>
                  </a:cubicBezTo>
                  <a:cubicBezTo>
                    <a:pt x="227" y="144"/>
                    <a:pt x="227" y="143"/>
                    <a:pt x="227" y="142"/>
                  </a:cubicBezTo>
                  <a:cubicBezTo>
                    <a:pt x="225" y="141"/>
                    <a:pt x="226" y="142"/>
                    <a:pt x="226" y="139"/>
                  </a:cubicBezTo>
                  <a:cubicBezTo>
                    <a:pt x="226" y="139"/>
                    <a:pt x="227" y="136"/>
                    <a:pt x="226" y="136"/>
                  </a:cubicBezTo>
                  <a:cubicBezTo>
                    <a:pt x="226" y="136"/>
                    <a:pt x="226" y="136"/>
                    <a:pt x="226" y="136"/>
                  </a:cubicBezTo>
                  <a:cubicBezTo>
                    <a:pt x="224" y="136"/>
                    <a:pt x="222" y="144"/>
                    <a:pt x="222" y="145"/>
                  </a:cubicBezTo>
                  <a:cubicBezTo>
                    <a:pt x="218" y="146"/>
                    <a:pt x="213" y="145"/>
                    <a:pt x="216" y="150"/>
                  </a:cubicBezTo>
                  <a:cubicBezTo>
                    <a:pt x="216" y="149"/>
                    <a:pt x="215" y="149"/>
                    <a:pt x="214" y="149"/>
                  </a:cubicBezTo>
                  <a:cubicBezTo>
                    <a:pt x="209" y="149"/>
                    <a:pt x="205" y="161"/>
                    <a:pt x="206" y="164"/>
                  </a:cubicBezTo>
                  <a:cubicBezTo>
                    <a:pt x="206" y="166"/>
                    <a:pt x="207" y="168"/>
                    <a:pt x="207" y="169"/>
                  </a:cubicBezTo>
                  <a:cubicBezTo>
                    <a:pt x="207" y="171"/>
                    <a:pt x="207" y="173"/>
                    <a:pt x="207" y="175"/>
                  </a:cubicBezTo>
                  <a:cubicBezTo>
                    <a:pt x="208" y="174"/>
                    <a:pt x="208" y="174"/>
                    <a:pt x="209" y="174"/>
                  </a:cubicBezTo>
                  <a:cubicBezTo>
                    <a:pt x="210" y="174"/>
                    <a:pt x="211" y="175"/>
                    <a:pt x="211" y="177"/>
                  </a:cubicBezTo>
                  <a:cubicBezTo>
                    <a:pt x="210" y="180"/>
                    <a:pt x="202" y="183"/>
                    <a:pt x="200" y="185"/>
                  </a:cubicBezTo>
                  <a:cubicBezTo>
                    <a:pt x="198" y="187"/>
                    <a:pt x="198" y="187"/>
                    <a:pt x="197" y="190"/>
                  </a:cubicBezTo>
                  <a:cubicBezTo>
                    <a:pt x="197" y="192"/>
                    <a:pt x="195" y="193"/>
                    <a:pt x="194" y="195"/>
                  </a:cubicBezTo>
                  <a:cubicBezTo>
                    <a:pt x="192" y="199"/>
                    <a:pt x="190" y="203"/>
                    <a:pt x="188" y="206"/>
                  </a:cubicBezTo>
                  <a:cubicBezTo>
                    <a:pt x="179" y="218"/>
                    <a:pt x="162" y="220"/>
                    <a:pt x="149" y="224"/>
                  </a:cubicBezTo>
                  <a:cubicBezTo>
                    <a:pt x="148" y="224"/>
                    <a:pt x="147" y="225"/>
                    <a:pt x="146" y="225"/>
                  </a:cubicBezTo>
                  <a:cubicBezTo>
                    <a:pt x="146" y="225"/>
                    <a:pt x="146" y="225"/>
                    <a:pt x="146" y="225"/>
                  </a:cubicBezTo>
                  <a:cubicBezTo>
                    <a:pt x="144" y="225"/>
                    <a:pt x="141" y="224"/>
                    <a:pt x="139" y="224"/>
                  </a:cubicBezTo>
                  <a:cubicBezTo>
                    <a:pt x="139" y="224"/>
                    <a:pt x="138" y="223"/>
                    <a:pt x="138" y="223"/>
                  </a:cubicBezTo>
                  <a:cubicBezTo>
                    <a:pt x="135" y="223"/>
                    <a:pt x="134" y="226"/>
                    <a:pt x="131" y="228"/>
                  </a:cubicBezTo>
                  <a:cubicBezTo>
                    <a:pt x="127" y="231"/>
                    <a:pt x="125" y="231"/>
                    <a:pt x="120" y="232"/>
                  </a:cubicBezTo>
                  <a:cubicBezTo>
                    <a:pt x="119" y="232"/>
                    <a:pt x="116" y="233"/>
                    <a:pt x="114" y="233"/>
                  </a:cubicBezTo>
                  <a:cubicBezTo>
                    <a:pt x="113" y="233"/>
                    <a:pt x="113" y="233"/>
                    <a:pt x="113" y="232"/>
                  </a:cubicBezTo>
                  <a:cubicBezTo>
                    <a:pt x="110" y="234"/>
                    <a:pt x="107" y="237"/>
                    <a:pt x="104" y="239"/>
                  </a:cubicBezTo>
                  <a:cubicBezTo>
                    <a:pt x="102" y="241"/>
                    <a:pt x="96" y="241"/>
                    <a:pt x="93" y="241"/>
                  </a:cubicBezTo>
                  <a:cubicBezTo>
                    <a:pt x="92" y="241"/>
                    <a:pt x="92" y="241"/>
                    <a:pt x="91" y="241"/>
                  </a:cubicBezTo>
                  <a:cubicBezTo>
                    <a:pt x="91" y="241"/>
                    <a:pt x="90" y="241"/>
                    <a:pt x="89" y="240"/>
                  </a:cubicBezTo>
                  <a:cubicBezTo>
                    <a:pt x="89" y="240"/>
                    <a:pt x="89" y="239"/>
                    <a:pt x="89" y="239"/>
                  </a:cubicBezTo>
                  <a:cubicBezTo>
                    <a:pt x="89" y="239"/>
                    <a:pt x="89" y="239"/>
                    <a:pt x="89" y="239"/>
                  </a:cubicBezTo>
                  <a:cubicBezTo>
                    <a:pt x="89" y="239"/>
                    <a:pt x="89" y="239"/>
                    <a:pt x="88" y="239"/>
                  </a:cubicBezTo>
                  <a:cubicBezTo>
                    <a:pt x="87" y="239"/>
                    <a:pt x="86" y="239"/>
                    <a:pt x="85" y="239"/>
                  </a:cubicBezTo>
                  <a:cubicBezTo>
                    <a:pt x="83" y="240"/>
                    <a:pt x="82" y="240"/>
                    <a:pt x="81" y="240"/>
                  </a:cubicBezTo>
                  <a:cubicBezTo>
                    <a:pt x="80" y="240"/>
                    <a:pt x="79" y="239"/>
                    <a:pt x="81" y="237"/>
                  </a:cubicBezTo>
                  <a:cubicBezTo>
                    <a:pt x="81" y="237"/>
                    <a:pt x="81" y="237"/>
                    <a:pt x="81" y="237"/>
                  </a:cubicBezTo>
                  <a:cubicBezTo>
                    <a:pt x="79" y="237"/>
                    <a:pt x="76" y="240"/>
                    <a:pt x="74" y="242"/>
                  </a:cubicBezTo>
                  <a:cubicBezTo>
                    <a:pt x="67" y="246"/>
                    <a:pt x="60" y="251"/>
                    <a:pt x="54" y="256"/>
                  </a:cubicBezTo>
                  <a:cubicBezTo>
                    <a:pt x="48" y="260"/>
                    <a:pt x="42" y="263"/>
                    <a:pt x="35" y="266"/>
                  </a:cubicBezTo>
                  <a:cubicBezTo>
                    <a:pt x="34" y="267"/>
                    <a:pt x="31" y="268"/>
                    <a:pt x="30" y="269"/>
                  </a:cubicBezTo>
                  <a:cubicBezTo>
                    <a:pt x="26" y="272"/>
                    <a:pt x="25" y="279"/>
                    <a:pt x="23" y="283"/>
                  </a:cubicBezTo>
                  <a:cubicBezTo>
                    <a:pt x="23" y="284"/>
                    <a:pt x="23" y="284"/>
                    <a:pt x="23" y="284"/>
                  </a:cubicBezTo>
                  <a:cubicBezTo>
                    <a:pt x="22" y="286"/>
                    <a:pt x="19" y="286"/>
                    <a:pt x="18" y="286"/>
                  </a:cubicBezTo>
                  <a:cubicBezTo>
                    <a:pt x="17" y="280"/>
                    <a:pt x="16" y="275"/>
                    <a:pt x="15" y="269"/>
                  </a:cubicBezTo>
                  <a:cubicBezTo>
                    <a:pt x="12" y="273"/>
                    <a:pt x="11" y="277"/>
                    <a:pt x="10" y="281"/>
                  </a:cubicBezTo>
                  <a:cubicBezTo>
                    <a:pt x="9" y="283"/>
                    <a:pt x="7" y="285"/>
                    <a:pt x="6" y="287"/>
                  </a:cubicBezTo>
                  <a:cubicBezTo>
                    <a:pt x="6" y="290"/>
                    <a:pt x="9" y="294"/>
                    <a:pt x="10" y="297"/>
                  </a:cubicBezTo>
                  <a:cubicBezTo>
                    <a:pt x="10" y="300"/>
                    <a:pt x="10" y="308"/>
                    <a:pt x="8" y="311"/>
                  </a:cubicBezTo>
                  <a:cubicBezTo>
                    <a:pt x="7" y="313"/>
                    <a:pt x="5" y="313"/>
                    <a:pt x="4" y="315"/>
                  </a:cubicBezTo>
                  <a:cubicBezTo>
                    <a:pt x="3" y="318"/>
                    <a:pt x="2" y="320"/>
                    <a:pt x="1" y="323"/>
                  </a:cubicBezTo>
                  <a:cubicBezTo>
                    <a:pt x="1" y="324"/>
                    <a:pt x="0" y="326"/>
                    <a:pt x="0" y="328"/>
                  </a:cubicBezTo>
                  <a:cubicBezTo>
                    <a:pt x="0" y="333"/>
                    <a:pt x="5" y="339"/>
                    <a:pt x="7" y="344"/>
                  </a:cubicBezTo>
                  <a:cubicBezTo>
                    <a:pt x="9" y="349"/>
                    <a:pt x="12" y="355"/>
                    <a:pt x="14" y="361"/>
                  </a:cubicBezTo>
                  <a:cubicBezTo>
                    <a:pt x="929" y="361"/>
                    <a:pt x="929" y="361"/>
                    <a:pt x="929" y="361"/>
                  </a:cubicBezTo>
                  <a:cubicBezTo>
                    <a:pt x="929" y="360"/>
                    <a:pt x="929" y="359"/>
                    <a:pt x="930" y="358"/>
                  </a:cubicBezTo>
                  <a:cubicBezTo>
                    <a:pt x="930" y="357"/>
                    <a:pt x="930" y="357"/>
                    <a:pt x="930" y="356"/>
                  </a:cubicBezTo>
                  <a:cubicBezTo>
                    <a:pt x="929" y="354"/>
                    <a:pt x="925" y="353"/>
                    <a:pt x="923" y="353"/>
                  </a:cubicBezTo>
                  <a:cubicBezTo>
                    <a:pt x="921" y="352"/>
                    <a:pt x="920" y="344"/>
                    <a:pt x="918" y="341"/>
                  </a:cubicBezTo>
                  <a:cubicBezTo>
                    <a:pt x="917" y="340"/>
                    <a:pt x="914" y="338"/>
                    <a:pt x="912" y="337"/>
                  </a:cubicBezTo>
                  <a:cubicBezTo>
                    <a:pt x="910" y="336"/>
                    <a:pt x="909" y="334"/>
                    <a:pt x="908" y="332"/>
                  </a:cubicBezTo>
                  <a:cubicBezTo>
                    <a:pt x="908" y="330"/>
                    <a:pt x="907" y="329"/>
                    <a:pt x="906" y="328"/>
                  </a:cubicBezTo>
                  <a:cubicBezTo>
                    <a:pt x="905" y="325"/>
                    <a:pt x="904" y="324"/>
                    <a:pt x="901" y="324"/>
                  </a:cubicBezTo>
                  <a:cubicBezTo>
                    <a:pt x="901" y="324"/>
                    <a:pt x="900" y="324"/>
                    <a:pt x="900" y="324"/>
                  </a:cubicBezTo>
                  <a:cubicBezTo>
                    <a:pt x="900" y="324"/>
                    <a:pt x="900" y="324"/>
                    <a:pt x="900" y="324"/>
                  </a:cubicBezTo>
                  <a:cubicBezTo>
                    <a:pt x="898" y="324"/>
                    <a:pt x="897" y="322"/>
                    <a:pt x="895" y="321"/>
                  </a:cubicBezTo>
                  <a:cubicBezTo>
                    <a:pt x="893" y="319"/>
                    <a:pt x="892" y="317"/>
                    <a:pt x="891" y="317"/>
                  </a:cubicBezTo>
                  <a:cubicBezTo>
                    <a:pt x="890" y="317"/>
                    <a:pt x="890" y="317"/>
                    <a:pt x="890" y="317"/>
                  </a:cubicBezTo>
                  <a:cubicBezTo>
                    <a:pt x="888" y="313"/>
                    <a:pt x="884" y="314"/>
                    <a:pt x="881" y="311"/>
                  </a:cubicBezTo>
                  <a:cubicBezTo>
                    <a:pt x="880" y="309"/>
                    <a:pt x="880" y="304"/>
                    <a:pt x="879" y="301"/>
                  </a:cubicBezTo>
                  <a:cubicBezTo>
                    <a:pt x="879" y="299"/>
                    <a:pt x="880" y="298"/>
                    <a:pt x="879" y="296"/>
                  </a:cubicBezTo>
                  <a:cubicBezTo>
                    <a:pt x="882" y="296"/>
                    <a:pt x="879" y="288"/>
                    <a:pt x="880" y="286"/>
                  </a:cubicBezTo>
                  <a:cubicBezTo>
                    <a:pt x="879" y="287"/>
                    <a:pt x="879" y="288"/>
                    <a:pt x="879" y="288"/>
                  </a:cubicBezTo>
                  <a:cubicBezTo>
                    <a:pt x="878" y="288"/>
                    <a:pt x="878" y="287"/>
                    <a:pt x="877" y="286"/>
                  </a:cubicBezTo>
                  <a:cubicBezTo>
                    <a:pt x="877" y="285"/>
                    <a:pt x="877" y="285"/>
                    <a:pt x="877" y="285"/>
                  </a:cubicBezTo>
                  <a:cubicBezTo>
                    <a:pt x="878" y="285"/>
                    <a:pt x="878" y="285"/>
                    <a:pt x="878" y="285"/>
                  </a:cubicBezTo>
                  <a:cubicBezTo>
                    <a:pt x="878" y="285"/>
                    <a:pt x="878" y="285"/>
                    <a:pt x="878" y="285"/>
                  </a:cubicBezTo>
                  <a:cubicBezTo>
                    <a:pt x="879" y="285"/>
                    <a:pt x="879" y="285"/>
                    <a:pt x="879" y="285"/>
                  </a:cubicBezTo>
                  <a:cubicBezTo>
                    <a:pt x="879" y="284"/>
                    <a:pt x="878" y="284"/>
                    <a:pt x="877" y="282"/>
                  </a:cubicBezTo>
                  <a:cubicBezTo>
                    <a:pt x="874" y="284"/>
                    <a:pt x="874" y="285"/>
                    <a:pt x="876" y="288"/>
                  </a:cubicBezTo>
                  <a:cubicBezTo>
                    <a:pt x="873" y="287"/>
                    <a:pt x="871" y="285"/>
                    <a:pt x="869" y="283"/>
                  </a:cubicBezTo>
                  <a:cubicBezTo>
                    <a:pt x="866" y="282"/>
                    <a:pt x="867" y="282"/>
                    <a:pt x="866" y="281"/>
                  </a:cubicBezTo>
                  <a:cubicBezTo>
                    <a:pt x="865" y="280"/>
                    <a:pt x="864" y="278"/>
                    <a:pt x="863" y="277"/>
                  </a:cubicBezTo>
                  <a:cubicBezTo>
                    <a:pt x="861" y="281"/>
                    <a:pt x="861" y="285"/>
                    <a:pt x="862" y="289"/>
                  </a:cubicBezTo>
                  <a:cubicBezTo>
                    <a:pt x="860" y="287"/>
                    <a:pt x="858" y="284"/>
                    <a:pt x="856" y="284"/>
                  </a:cubicBezTo>
                  <a:cubicBezTo>
                    <a:pt x="855" y="284"/>
                    <a:pt x="855" y="285"/>
                    <a:pt x="854" y="285"/>
                  </a:cubicBezTo>
                  <a:cubicBezTo>
                    <a:pt x="851" y="278"/>
                    <a:pt x="851" y="271"/>
                    <a:pt x="848" y="264"/>
                  </a:cubicBezTo>
                  <a:cubicBezTo>
                    <a:pt x="847" y="261"/>
                    <a:pt x="844" y="258"/>
                    <a:pt x="843" y="254"/>
                  </a:cubicBezTo>
                  <a:cubicBezTo>
                    <a:pt x="843" y="250"/>
                    <a:pt x="843" y="250"/>
                    <a:pt x="840" y="249"/>
                  </a:cubicBezTo>
                  <a:cubicBezTo>
                    <a:pt x="836" y="246"/>
                    <a:pt x="834" y="245"/>
                    <a:pt x="831" y="241"/>
                  </a:cubicBezTo>
                  <a:cubicBezTo>
                    <a:pt x="831" y="240"/>
                    <a:pt x="832" y="235"/>
                    <a:pt x="833" y="235"/>
                  </a:cubicBezTo>
                  <a:cubicBezTo>
                    <a:pt x="833" y="235"/>
                    <a:pt x="833" y="235"/>
                    <a:pt x="833" y="235"/>
                  </a:cubicBezTo>
                  <a:cubicBezTo>
                    <a:pt x="834" y="235"/>
                    <a:pt x="834" y="235"/>
                    <a:pt x="834" y="236"/>
                  </a:cubicBezTo>
                  <a:cubicBezTo>
                    <a:pt x="835" y="236"/>
                    <a:pt x="835" y="237"/>
                    <a:pt x="836" y="237"/>
                  </a:cubicBezTo>
                  <a:cubicBezTo>
                    <a:pt x="836" y="237"/>
                    <a:pt x="836" y="237"/>
                    <a:pt x="836" y="237"/>
                  </a:cubicBezTo>
                  <a:cubicBezTo>
                    <a:pt x="833" y="233"/>
                    <a:pt x="830" y="230"/>
                    <a:pt x="828" y="225"/>
                  </a:cubicBezTo>
                  <a:cubicBezTo>
                    <a:pt x="826" y="226"/>
                    <a:pt x="824" y="227"/>
                    <a:pt x="825" y="228"/>
                  </a:cubicBezTo>
                  <a:cubicBezTo>
                    <a:pt x="825" y="228"/>
                    <a:pt x="825" y="229"/>
                    <a:pt x="824" y="229"/>
                  </a:cubicBezTo>
                  <a:cubicBezTo>
                    <a:pt x="823" y="229"/>
                    <a:pt x="822" y="224"/>
                    <a:pt x="820" y="223"/>
                  </a:cubicBezTo>
                  <a:cubicBezTo>
                    <a:pt x="818" y="221"/>
                    <a:pt x="815" y="220"/>
                    <a:pt x="812" y="218"/>
                  </a:cubicBezTo>
                  <a:cubicBezTo>
                    <a:pt x="811" y="218"/>
                    <a:pt x="810" y="217"/>
                    <a:pt x="810" y="217"/>
                  </a:cubicBezTo>
                  <a:cubicBezTo>
                    <a:pt x="809" y="217"/>
                    <a:pt x="809" y="218"/>
                    <a:pt x="807" y="220"/>
                  </a:cubicBezTo>
                  <a:cubicBezTo>
                    <a:pt x="805" y="216"/>
                    <a:pt x="804" y="214"/>
                    <a:pt x="802" y="211"/>
                  </a:cubicBezTo>
                  <a:cubicBezTo>
                    <a:pt x="802" y="210"/>
                    <a:pt x="802" y="208"/>
                    <a:pt x="801" y="207"/>
                  </a:cubicBezTo>
                  <a:cubicBezTo>
                    <a:pt x="801" y="207"/>
                    <a:pt x="801" y="207"/>
                    <a:pt x="800" y="207"/>
                  </a:cubicBezTo>
                  <a:cubicBezTo>
                    <a:pt x="800" y="207"/>
                    <a:pt x="799" y="208"/>
                    <a:pt x="799" y="208"/>
                  </a:cubicBezTo>
                  <a:cubicBezTo>
                    <a:pt x="798" y="209"/>
                    <a:pt x="797" y="210"/>
                    <a:pt x="797" y="210"/>
                  </a:cubicBezTo>
                  <a:cubicBezTo>
                    <a:pt x="797" y="210"/>
                    <a:pt x="797" y="210"/>
                    <a:pt x="797" y="210"/>
                  </a:cubicBezTo>
                  <a:cubicBezTo>
                    <a:pt x="795" y="209"/>
                    <a:pt x="793" y="208"/>
                    <a:pt x="792" y="207"/>
                  </a:cubicBezTo>
                  <a:cubicBezTo>
                    <a:pt x="792" y="207"/>
                    <a:pt x="792" y="205"/>
                    <a:pt x="792" y="204"/>
                  </a:cubicBezTo>
                  <a:cubicBezTo>
                    <a:pt x="791" y="204"/>
                    <a:pt x="791" y="204"/>
                    <a:pt x="791" y="204"/>
                  </a:cubicBezTo>
                  <a:cubicBezTo>
                    <a:pt x="791" y="204"/>
                    <a:pt x="790" y="205"/>
                    <a:pt x="789" y="205"/>
                  </a:cubicBezTo>
                  <a:cubicBezTo>
                    <a:pt x="789" y="206"/>
                    <a:pt x="788" y="207"/>
                    <a:pt x="788" y="207"/>
                  </a:cubicBezTo>
                  <a:cubicBezTo>
                    <a:pt x="788" y="207"/>
                    <a:pt x="788" y="207"/>
                    <a:pt x="788" y="207"/>
                  </a:cubicBezTo>
                  <a:cubicBezTo>
                    <a:pt x="785" y="205"/>
                    <a:pt x="781" y="203"/>
                    <a:pt x="779" y="201"/>
                  </a:cubicBezTo>
                  <a:cubicBezTo>
                    <a:pt x="775" y="198"/>
                    <a:pt x="774" y="198"/>
                    <a:pt x="774" y="193"/>
                  </a:cubicBezTo>
                  <a:cubicBezTo>
                    <a:pt x="775" y="192"/>
                    <a:pt x="775" y="191"/>
                    <a:pt x="775" y="190"/>
                  </a:cubicBezTo>
                  <a:cubicBezTo>
                    <a:pt x="775" y="187"/>
                    <a:pt x="769" y="185"/>
                    <a:pt x="769" y="182"/>
                  </a:cubicBezTo>
                  <a:cubicBezTo>
                    <a:pt x="769" y="176"/>
                    <a:pt x="770" y="168"/>
                    <a:pt x="769" y="161"/>
                  </a:cubicBezTo>
                  <a:cubicBezTo>
                    <a:pt x="768" y="158"/>
                    <a:pt x="766" y="155"/>
                    <a:pt x="766" y="152"/>
                  </a:cubicBezTo>
                  <a:cubicBezTo>
                    <a:pt x="766" y="152"/>
                    <a:pt x="766" y="149"/>
                    <a:pt x="766" y="149"/>
                  </a:cubicBezTo>
                  <a:cubicBezTo>
                    <a:pt x="765" y="149"/>
                    <a:pt x="766" y="149"/>
                    <a:pt x="766" y="148"/>
                  </a:cubicBezTo>
                  <a:cubicBezTo>
                    <a:pt x="765" y="149"/>
                    <a:pt x="763" y="149"/>
                    <a:pt x="762" y="150"/>
                  </a:cubicBezTo>
                  <a:cubicBezTo>
                    <a:pt x="763" y="146"/>
                    <a:pt x="756" y="142"/>
                    <a:pt x="755" y="139"/>
                  </a:cubicBezTo>
                  <a:cubicBezTo>
                    <a:pt x="754" y="138"/>
                    <a:pt x="754" y="138"/>
                    <a:pt x="753" y="137"/>
                  </a:cubicBezTo>
                  <a:cubicBezTo>
                    <a:pt x="752" y="133"/>
                    <a:pt x="753" y="129"/>
                    <a:pt x="753" y="126"/>
                  </a:cubicBezTo>
                  <a:cubicBezTo>
                    <a:pt x="752" y="120"/>
                    <a:pt x="749" y="114"/>
                    <a:pt x="750" y="110"/>
                  </a:cubicBezTo>
                  <a:cubicBezTo>
                    <a:pt x="751" y="108"/>
                    <a:pt x="752" y="110"/>
                    <a:pt x="751" y="107"/>
                  </a:cubicBezTo>
                  <a:cubicBezTo>
                    <a:pt x="749" y="104"/>
                    <a:pt x="751" y="104"/>
                    <a:pt x="751" y="103"/>
                  </a:cubicBezTo>
                  <a:cubicBezTo>
                    <a:pt x="751" y="101"/>
                    <a:pt x="749" y="100"/>
                    <a:pt x="747" y="99"/>
                  </a:cubicBezTo>
                  <a:cubicBezTo>
                    <a:pt x="745" y="98"/>
                    <a:pt x="745" y="98"/>
                    <a:pt x="743" y="97"/>
                  </a:cubicBezTo>
                  <a:cubicBezTo>
                    <a:pt x="742" y="96"/>
                    <a:pt x="739" y="94"/>
                    <a:pt x="738" y="92"/>
                  </a:cubicBezTo>
                  <a:cubicBezTo>
                    <a:pt x="738" y="92"/>
                    <a:pt x="736" y="92"/>
                    <a:pt x="735" y="91"/>
                  </a:cubicBezTo>
                  <a:cubicBezTo>
                    <a:pt x="733" y="89"/>
                    <a:pt x="732" y="86"/>
                    <a:pt x="731" y="84"/>
                  </a:cubicBezTo>
                  <a:cubicBezTo>
                    <a:pt x="730" y="85"/>
                    <a:pt x="729" y="86"/>
                    <a:pt x="728" y="86"/>
                  </a:cubicBezTo>
                  <a:cubicBezTo>
                    <a:pt x="728" y="86"/>
                    <a:pt x="728" y="86"/>
                    <a:pt x="728" y="86"/>
                  </a:cubicBezTo>
                  <a:cubicBezTo>
                    <a:pt x="727" y="86"/>
                    <a:pt x="727" y="86"/>
                    <a:pt x="726" y="85"/>
                  </a:cubicBezTo>
                  <a:cubicBezTo>
                    <a:pt x="726" y="85"/>
                    <a:pt x="726" y="85"/>
                    <a:pt x="725" y="85"/>
                  </a:cubicBezTo>
                  <a:cubicBezTo>
                    <a:pt x="725" y="85"/>
                    <a:pt x="725" y="85"/>
                    <a:pt x="725" y="85"/>
                  </a:cubicBezTo>
                  <a:cubicBezTo>
                    <a:pt x="724" y="85"/>
                    <a:pt x="724" y="88"/>
                    <a:pt x="722" y="89"/>
                  </a:cubicBezTo>
                  <a:cubicBezTo>
                    <a:pt x="721" y="90"/>
                    <a:pt x="720" y="91"/>
                    <a:pt x="719" y="91"/>
                  </a:cubicBezTo>
                  <a:cubicBezTo>
                    <a:pt x="718" y="91"/>
                    <a:pt x="717" y="90"/>
                    <a:pt x="716" y="90"/>
                  </a:cubicBezTo>
                  <a:cubicBezTo>
                    <a:pt x="714" y="88"/>
                    <a:pt x="714" y="83"/>
                    <a:pt x="713" y="80"/>
                  </a:cubicBezTo>
                  <a:cubicBezTo>
                    <a:pt x="712" y="74"/>
                    <a:pt x="711" y="67"/>
                    <a:pt x="709" y="61"/>
                  </a:cubicBezTo>
                  <a:cubicBezTo>
                    <a:pt x="709" y="58"/>
                    <a:pt x="707" y="53"/>
                    <a:pt x="709" y="51"/>
                  </a:cubicBezTo>
                  <a:cubicBezTo>
                    <a:pt x="709" y="51"/>
                    <a:pt x="709" y="51"/>
                    <a:pt x="709" y="51"/>
                  </a:cubicBezTo>
                  <a:cubicBezTo>
                    <a:pt x="707" y="51"/>
                    <a:pt x="706" y="51"/>
                    <a:pt x="705" y="52"/>
                  </a:cubicBezTo>
                  <a:cubicBezTo>
                    <a:pt x="706" y="47"/>
                    <a:pt x="707" y="46"/>
                    <a:pt x="704" y="43"/>
                  </a:cubicBezTo>
                  <a:cubicBezTo>
                    <a:pt x="703" y="41"/>
                    <a:pt x="702" y="40"/>
                    <a:pt x="701" y="39"/>
                  </a:cubicBezTo>
                  <a:cubicBezTo>
                    <a:pt x="701" y="39"/>
                    <a:pt x="701" y="39"/>
                    <a:pt x="700" y="39"/>
                  </a:cubicBezTo>
                  <a:cubicBezTo>
                    <a:pt x="700" y="39"/>
                    <a:pt x="700" y="39"/>
                    <a:pt x="700" y="39"/>
                  </a:cubicBezTo>
                  <a:cubicBezTo>
                    <a:pt x="700" y="39"/>
                    <a:pt x="700" y="39"/>
                    <a:pt x="699" y="39"/>
                  </a:cubicBezTo>
                  <a:cubicBezTo>
                    <a:pt x="699" y="39"/>
                    <a:pt x="699" y="39"/>
                    <a:pt x="699" y="39"/>
                  </a:cubicBezTo>
                  <a:cubicBezTo>
                    <a:pt x="698" y="37"/>
                    <a:pt x="699" y="31"/>
                    <a:pt x="702" y="30"/>
                  </a:cubicBezTo>
                  <a:cubicBezTo>
                    <a:pt x="699" y="28"/>
                    <a:pt x="697" y="30"/>
                    <a:pt x="694" y="28"/>
                  </a:cubicBezTo>
                  <a:cubicBezTo>
                    <a:pt x="692" y="25"/>
                    <a:pt x="692" y="18"/>
                    <a:pt x="691" y="14"/>
                  </a:cubicBezTo>
                  <a:cubicBezTo>
                    <a:pt x="691" y="12"/>
                    <a:pt x="690" y="5"/>
                    <a:pt x="687" y="5"/>
                  </a:cubicBezTo>
                  <a:cubicBezTo>
                    <a:pt x="687" y="5"/>
                    <a:pt x="686" y="5"/>
                    <a:pt x="685" y="6"/>
                  </a:cubicBezTo>
                  <a:cubicBezTo>
                    <a:pt x="686" y="3"/>
                    <a:pt x="689" y="2"/>
                    <a:pt x="685" y="0"/>
                  </a:cubicBezTo>
                  <a:cubicBezTo>
                    <a:pt x="685" y="0"/>
                    <a:pt x="685" y="0"/>
                    <a:pt x="6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1480"/>
            <p:cNvSpPr/>
            <p:nvPr/>
          </p:nvSpPr>
          <p:spPr bwMode="auto">
            <a:xfrm>
              <a:off x="2366538" y="4294137"/>
              <a:ext cx="13423" cy="16108"/>
            </a:xfrm>
            <a:custGeom>
              <a:gdLst>
                <a:gd name="T0" fmla="*/ 4 w 4"/>
                <a:gd name="T1" fmla="*/ 0 h 5"/>
                <a:gd name="T2" fmla="*/ 2 w 4"/>
                <a:gd name="T3" fmla="*/ 5 h 5"/>
                <a:gd name="T4" fmla="*/ 4 w 4"/>
                <a:gd name="T5" fmla="*/ 0 h 5"/>
              </a:gdLst>
              <a:cxnLst>
                <a:cxn ang="0">
                  <a:pos x="T0" y="T1"/>
                </a:cxn>
                <a:cxn ang="0">
                  <a:pos x="T2" y="T3"/>
                </a:cxn>
                <a:cxn ang="0">
                  <a:pos x="T4" y="T5"/>
                </a:cxn>
              </a:cxnLst>
              <a:rect l="0" t="0" r="r" b="b"/>
              <a:pathLst>
                <a:path w="4" h="5">
                  <a:moveTo>
                    <a:pt x="4" y="0"/>
                  </a:moveTo>
                  <a:cubicBezTo>
                    <a:pt x="0" y="1"/>
                    <a:pt x="3" y="4"/>
                    <a:pt x="2" y="5"/>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1481"/>
            <p:cNvSpPr/>
            <p:nvPr/>
          </p:nvSpPr>
          <p:spPr bwMode="auto">
            <a:xfrm>
              <a:off x="2382646" y="4354542"/>
              <a:ext cx="9396" cy="12081"/>
            </a:xfrm>
            <a:custGeom>
              <a:gdLst>
                <a:gd name="T0" fmla="*/ 3 w 3"/>
                <a:gd name="T1" fmla="*/ 0 h 4"/>
                <a:gd name="T2" fmla="*/ 1 w 3"/>
                <a:gd name="T3" fmla="*/ 4 h 4"/>
                <a:gd name="T4" fmla="*/ 3 w 3"/>
                <a:gd name="T5" fmla="*/ 0 h 4"/>
              </a:gdLst>
              <a:cxnLst>
                <a:cxn ang="0">
                  <a:pos x="T0" y="T1"/>
                </a:cxn>
                <a:cxn ang="0">
                  <a:pos x="T2" y="T3"/>
                </a:cxn>
                <a:cxn ang="0">
                  <a:pos x="T4" y="T5"/>
                </a:cxn>
              </a:cxnLst>
              <a:rect l="0" t="0" r="r" b="b"/>
              <a:pathLst>
                <a:path w="3" h="4">
                  <a:moveTo>
                    <a:pt x="3" y="0"/>
                  </a:moveTo>
                  <a:cubicBezTo>
                    <a:pt x="1" y="1"/>
                    <a:pt x="0" y="2"/>
                    <a:pt x="1" y="4"/>
                  </a:cubicBezTo>
                  <a:cubicBezTo>
                    <a:pt x="1"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1482"/>
            <p:cNvSpPr/>
            <p:nvPr/>
          </p:nvSpPr>
          <p:spPr bwMode="auto">
            <a:xfrm>
              <a:off x="2312844" y="3935733"/>
              <a:ext cx="6712" cy="12081"/>
            </a:xfrm>
            <a:custGeom>
              <a:gdLst>
                <a:gd name="T0" fmla="*/ 2 w 2"/>
                <a:gd name="T1" fmla="*/ 0 h 4"/>
                <a:gd name="T2" fmla="*/ 1 w 2"/>
                <a:gd name="T3" fmla="*/ 3 h 4"/>
                <a:gd name="T4" fmla="*/ 1 w 2"/>
                <a:gd name="T5" fmla="*/ 4 h 4"/>
                <a:gd name="T6" fmla="*/ 1 w 2"/>
                <a:gd name="T7" fmla="*/ 2 h 4"/>
                <a:gd name="T8" fmla="*/ 2 w 2"/>
                <a:gd name="T9" fmla="*/ 0 h 4"/>
              </a:gdLst>
              <a:cxnLst>
                <a:cxn ang="0">
                  <a:pos x="T0" y="T1"/>
                </a:cxn>
                <a:cxn ang="0">
                  <a:pos x="T2" y="T3"/>
                </a:cxn>
                <a:cxn ang="0">
                  <a:pos x="T4" y="T5"/>
                </a:cxn>
                <a:cxn ang="0">
                  <a:pos x="T6" y="T7"/>
                </a:cxn>
                <a:cxn ang="0">
                  <a:pos x="T8" y="T9"/>
                </a:cxn>
              </a:cxnLst>
              <a:rect l="0" t="0" r="r" b="b"/>
              <a:pathLst>
                <a:path w="2" h="4">
                  <a:moveTo>
                    <a:pt x="2" y="0"/>
                  </a:moveTo>
                  <a:cubicBezTo>
                    <a:pt x="1" y="1"/>
                    <a:pt x="0" y="2"/>
                    <a:pt x="1" y="3"/>
                  </a:cubicBezTo>
                  <a:cubicBezTo>
                    <a:pt x="1" y="4"/>
                    <a:pt x="1" y="4"/>
                    <a:pt x="1" y="4"/>
                  </a:cubicBezTo>
                  <a:cubicBezTo>
                    <a:pt x="1" y="4"/>
                    <a:pt x="1" y="3"/>
                    <a:pt x="1" y="2"/>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1483"/>
            <p:cNvSpPr/>
            <p:nvPr/>
          </p:nvSpPr>
          <p:spPr bwMode="auto">
            <a:xfrm>
              <a:off x="2345060" y="4287425"/>
              <a:ext cx="5369" cy="6712"/>
            </a:xfrm>
            <a:custGeom>
              <a:gdLst>
                <a:gd name="T0" fmla="*/ 0 w 2"/>
                <a:gd name="T1" fmla="*/ 0 h 2"/>
                <a:gd name="T2" fmla="*/ 1 w 2"/>
                <a:gd name="T3" fmla="*/ 1 h 2"/>
                <a:gd name="T4" fmla="*/ 2 w 2"/>
                <a:gd name="T5" fmla="*/ 2 h 2"/>
                <a:gd name="T6" fmla="*/ 1 w 2"/>
                <a:gd name="T7" fmla="*/ 1 h 2"/>
                <a:gd name="T8" fmla="*/ 0 w 2"/>
                <a:gd name="T9" fmla="*/ 0 h 2"/>
              </a:gdLst>
              <a:cxnLst>
                <a:cxn ang="0">
                  <a:pos x="T0" y="T1"/>
                </a:cxn>
                <a:cxn ang="0">
                  <a:pos x="T2" y="T3"/>
                </a:cxn>
                <a:cxn ang="0">
                  <a:pos x="T4" y="T5"/>
                </a:cxn>
                <a:cxn ang="0">
                  <a:pos x="T6" y="T7"/>
                </a:cxn>
                <a:cxn ang="0">
                  <a:pos x="T8" y="T9"/>
                </a:cxn>
              </a:cxnLst>
              <a:rect l="0" t="0" r="r" b="b"/>
              <a:pathLst>
                <a:path w="2" h="2">
                  <a:moveTo>
                    <a:pt x="0" y="0"/>
                  </a:moveTo>
                  <a:cubicBezTo>
                    <a:pt x="1" y="1"/>
                    <a:pt x="1" y="1"/>
                    <a:pt x="1" y="1"/>
                  </a:cubicBezTo>
                  <a:cubicBezTo>
                    <a:pt x="1" y="1"/>
                    <a:pt x="2" y="2"/>
                    <a:pt x="2" y="2"/>
                  </a:cubicBezTo>
                  <a:cubicBezTo>
                    <a:pt x="2" y="2"/>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1484"/>
            <p:cNvSpPr/>
            <p:nvPr/>
          </p:nvSpPr>
          <p:spPr bwMode="auto">
            <a:xfrm>
              <a:off x="2290025" y="4094128"/>
              <a:ext cx="16108" cy="28189"/>
            </a:xfrm>
            <a:custGeom>
              <a:gdLst>
                <a:gd name="T0" fmla="*/ 3 w 5"/>
                <a:gd name="T1" fmla="*/ 0 h 9"/>
                <a:gd name="T2" fmla="*/ 0 w 5"/>
                <a:gd name="T3" fmla="*/ 3 h 9"/>
                <a:gd name="T4" fmla="*/ 0 w 5"/>
                <a:gd name="T5" fmla="*/ 6 h 9"/>
                <a:gd name="T6" fmla="*/ 0 w 5"/>
                <a:gd name="T7" fmla="*/ 7 h 9"/>
                <a:gd name="T8" fmla="*/ 2 w 5"/>
                <a:gd name="T9" fmla="*/ 9 h 9"/>
                <a:gd name="T10" fmla="*/ 5 w 5"/>
                <a:gd name="T11" fmla="*/ 2 h 9"/>
                <a:gd name="T12" fmla="*/ 5 w 5"/>
                <a:gd name="T13" fmla="*/ 2 h 9"/>
                <a:gd name="T14" fmla="*/ 3 w 5"/>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0"/>
                  </a:moveTo>
                  <a:cubicBezTo>
                    <a:pt x="2" y="0"/>
                    <a:pt x="0" y="2"/>
                    <a:pt x="0" y="3"/>
                  </a:cubicBezTo>
                  <a:cubicBezTo>
                    <a:pt x="0" y="4"/>
                    <a:pt x="0" y="5"/>
                    <a:pt x="0" y="6"/>
                  </a:cubicBezTo>
                  <a:cubicBezTo>
                    <a:pt x="0" y="7"/>
                    <a:pt x="0" y="7"/>
                    <a:pt x="0" y="7"/>
                  </a:cubicBezTo>
                  <a:cubicBezTo>
                    <a:pt x="1" y="8"/>
                    <a:pt x="2" y="9"/>
                    <a:pt x="2" y="9"/>
                  </a:cubicBezTo>
                  <a:cubicBezTo>
                    <a:pt x="4" y="9"/>
                    <a:pt x="4" y="4"/>
                    <a:pt x="5" y="2"/>
                  </a:cubicBezTo>
                  <a:cubicBezTo>
                    <a:pt x="5" y="2"/>
                    <a:pt x="5" y="2"/>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Freeform 1485"/>
            <p:cNvSpPr/>
            <p:nvPr/>
          </p:nvSpPr>
          <p:spPr bwMode="auto">
            <a:xfrm>
              <a:off x="2357141" y="4310245"/>
              <a:ext cx="16108" cy="9396"/>
            </a:xfrm>
            <a:custGeom>
              <a:gdLst>
                <a:gd name="T0" fmla="*/ 3 w 5"/>
                <a:gd name="T1" fmla="*/ 0 h 3"/>
                <a:gd name="T2" fmla="*/ 4 w 5"/>
                <a:gd name="T3" fmla="*/ 3 h 3"/>
                <a:gd name="T4" fmla="*/ 5 w 5"/>
                <a:gd name="T5" fmla="*/ 3 h 3"/>
                <a:gd name="T6" fmla="*/ 3 w 5"/>
                <a:gd name="T7" fmla="*/ 0 h 3"/>
              </a:gdLst>
              <a:cxnLst>
                <a:cxn ang="0">
                  <a:pos x="T0" y="T1"/>
                </a:cxn>
                <a:cxn ang="0">
                  <a:pos x="T2" y="T3"/>
                </a:cxn>
                <a:cxn ang="0">
                  <a:pos x="T4" y="T5"/>
                </a:cxn>
                <a:cxn ang="0">
                  <a:pos x="T6" y="T7"/>
                </a:cxn>
              </a:cxnLst>
              <a:rect l="0" t="0" r="r" b="b"/>
              <a:pathLst>
                <a:path w="5" h="3">
                  <a:moveTo>
                    <a:pt x="3" y="0"/>
                  </a:moveTo>
                  <a:cubicBezTo>
                    <a:pt x="0" y="1"/>
                    <a:pt x="2" y="3"/>
                    <a:pt x="4" y="3"/>
                  </a:cubicBezTo>
                  <a:cubicBezTo>
                    <a:pt x="4" y="3"/>
                    <a:pt x="4" y="3"/>
                    <a:pt x="5" y="3"/>
                  </a:cubicBezTo>
                  <a:cubicBezTo>
                    <a:pt x="4" y="2"/>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1486"/>
            <p:cNvSpPr>
              <a:spLocks noEditPoints="1"/>
            </p:cNvSpPr>
            <p:nvPr/>
          </p:nvSpPr>
          <p:spPr bwMode="auto">
            <a:xfrm>
              <a:off x="2299421" y="3891436"/>
              <a:ext cx="45639" cy="155711"/>
            </a:xfrm>
            <a:custGeom>
              <a:gdLst>
                <a:gd name="T0" fmla="*/ 14 w 14"/>
                <a:gd name="T1" fmla="*/ 4 h 49"/>
                <a:gd name="T2" fmla="*/ 14 w 14"/>
                <a:gd name="T3" fmla="*/ 4 h 49"/>
                <a:gd name="T4" fmla="*/ 14 w 14"/>
                <a:gd name="T5" fmla="*/ 4 h 49"/>
                <a:gd name="T6" fmla="*/ 13 w 14"/>
                <a:gd name="T7" fmla="*/ 0 h 49"/>
                <a:gd name="T8" fmla="*/ 9 w 14"/>
                <a:gd name="T9" fmla="*/ 13 h 49"/>
                <a:gd name="T10" fmla="*/ 8 w 14"/>
                <a:gd name="T11" fmla="*/ 16 h 49"/>
                <a:gd name="T12" fmla="*/ 9 w 14"/>
                <a:gd name="T13" fmla="*/ 16 h 49"/>
                <a:gd name="T14" fmla="*/ 7 w 14"/>
                <a:gd name="T15" fmla="*/ 24 h 49"/>
                <a:gd name="T16" fmla="*/ 7 w 14"/>
                <a:gd name="T17" fmla="*/ 30 h 49"/>
                <a:gd name="T18" fmla="*/ 8 w 14"/>
                <a:gd name="T19" fmla="*/ 30 h 49"/>
                <a:gd name="T20" fmla="*/ 7 w 14"/>
                <a:gd name="T21" fmla="*/ 33 h 49"/>
                <a:gd name="T22" fmla="*/ 6 w 14"/>
                <a:gd name="T23" fmla="*/ 34 h 49"/>
                <a:gd name="T24" fmla="*/ 5 w 14"/>
                <a:gd name="T25" fmla="*/ 33 h 49"/>
                <a:gd name="T26" fmla="*/ 4 w 14"/>
                <a:gd name="T27" fmla="*/ 34 h 49"/>
                <a:gd name="T28" fmla="*/ 3 w 14"/>
                <a:gd name="T29" fmla="*/ 37 h 49"/>
                <a:gd name="T30" fmla="*/ 3 w 14"/>
                <a:gd name="T31" fmla="*/ 40 h 49"/>
                <a:gd name="T32" fmla="*/ 2 w 14"/>
                <a:gd name="T33" fmla="*/ 39 h 49"/>
                <a:gd name="T34" fmla="*/ 1 w 14"/>
                <a:gd name="T35" fmla="*/ 40 h 49"/>
                <a:gd name="T36" fmla="*/ 3 w 14"/>
                <a:gd name="T37" fmla="*/ 45 h 49"/>
                <a:gd name="T38" fmla="*/ 3 w 14"/>
                <a:gd name="T39" fmla="*/ 46 h 49"/>
                <a:gd name="T40" fmla="*/ 5 w 14"/>
                <a:gd name="T41" fmla="*/ 49 h 49"/>
                <a:gd name="T42" fmla="*/ 6 w 14"/>
                <a:gd name="T43" fmla="*/ 43 h 49"/>
                <a:gd name="T44" fmla="*/ 6 w 14"/>
                <a:gd name="T45" fmla="*/ 36 h 49"/>
                <a:gd name="T46" fmla="*/ 9 w 14"/>
                <a:gd name="T47" fmla="*/ 31 h 49"/>
                <a:gd name="T48" fmla="*/ 9 w 14"/>
                <a:gd name="T49" fmla="*/ 30 h 49"/>
                <a:gd name="T50" fmla="*/ 9 w 14"/>
                <a:gd name="T51" fmla="*/ 30 h 49"/>
                <a:gd name="T52" fmla="*/ 12 w 14"/>
                <a:gd name="T53" fmla="*/ 25 h 49"/>
                <a:gd name="T54" fmla="*/ 11 w 14"/>
                <a:gd name="T55" fmla="*/ 20 h 49"/>
                <a:gd name="T56" fmla="*/ 10 w 14"/>
                <a:gd name="T57" fmla="*/ 16 h 49"/>
                <a:gd name="T58" fmla="*/ 9 w 14"/>
                <a:gd name="T59" fmla="*/ 16 h 49"/>
                <a:gd name="T60" fmla="*/ 11 w 14"/>
                <a:gd name="T61" fmla="*/ 12 h 49"/>
                <a:gd name="T62" fmla="*/ 13 w 14"/>
                <a:gd name="T63" fmla="*/ 10 h 49"/>
                <a:gd name="T64" fmla="*/ 14 w 14"/>
                <a:gd name="T65" fmla="*/ 8 h 49"/>
                <a:gd name="T66" fmla="*/ 13 w 14"/>
                <a:gd name="T67" fmla="*/ 6 h 49"/>
                <a:gd name="T68" fmla="*/ 12 w 14"/>
                <a:gd name="T69" fmla="*/ 5 h 49"/>
                <a:gd name="T70" fmla="*/ 12 w 14"/>
                <a:gd name="T71" fmla="*/ 5 h 49"/>
                <a:gd name="T72" fmla="*/ 13 w 14"/>
                <a:gd name="T73" fmla="*/ 4 h 49"/>
                <a:gd name="T74" fmla="*/ 14 w 14"/>
                <a:gd name="T75" fmla="*/ 3 h 49"/>
                <a:gd name="T76" fmla="*/ 14 w 14"/>
                <a:gd name="T77" fmla="*/ 4 h 49"/>
                <a:gd name="T78" fmla="*/ 13 w 14"/>
                <a:gd name="T79"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 h="49">
                  <a:moveTo>
                    <a:pt x="14" y="4"/>
                  </a:moveTo>
                  <a:cubicBezTo>
                    <a:pt x="14" y="4"/>
                    <a:pt x="14" y="4"/>
                    <a:pt x="14" y="4"/>
                  </a:cubicBezTo>
                  <a:cubicBezTo>
                    <a:pt x="14" y="4"/>
                    <a:pt x="14" y="4"/>
                    <a:pt x="14" y="4"/>
                  </a:cubicBezTo>
                  <a:moveTo>
                    <a:pt x="13" y="0"/>
                  </a:moveTo>
                  <a:cubicBezTo>
                    <a:pt x="12" y="4"/>
                    <a:pt x="10" y="9"/>
                    <a:pt x="9" y="13"/>
                  </a:cubicBezTo>
                  <a:cubicBezTo>
                    <a:pt x="8" y="14"/>
                    <a:pt x="8" y="15"/>
                    <a:pt x="8" y="16"/>
                  </a:cubicBezTo>
                  <a:cubicBezTo>
                    <a:pt x="8" y="16"/>
                    <a:pt x="8" y="16"/>
                    <a:pt x="9" y="16"/>
                  </a:cubicBezTo>
                  <a:cubicBezTo>
                    <a:pt x="7" y="17"/>
                    <a:pt x="7" y="20"/>
                    <a:pt x="7" y="24"/>
                  </a:cubicBezTo>
                  <a:cubicBezTo>
                    <a:pt x="7" y="27"/>
                    <a:pt x="7" y="29"/>
                    <a:pt x="7" y="30"/>
                  </a:cubicBezTo>
                  <a:cubicBezTo>
                    <a:pt x="8" y="30"/>
                    <a:pt x="8" y="30"/>
                    <a:pt x="8" y="30"/>
                  </a:cubicBezTo>
                  <a:cubicBezTo>
                    <a:pt x="7" y="31"/>
                    <a:pt x="7" y="32"/>
                    <a:pt x="7" y="33"/>
                  </a:cubicBezTo>
                  <a:cubicBezTo>
                    <a:pt x="6" y="34"/>
                    <a:pt x="6" y="34"/>
                    <a:pt x="6" y="34"/>
                  </a:cubicBezTo>
                  <a:cubicBezTo>
                    <a:pt x="6" y="33"/>
                    <a:pt x="6" y="33"/>
                    <a:pt x="5" y="33"/>
                  </a:cubicBezTo>
                  <a:cubicBezTo>
                    <a:pt x="4" y="33"/>
                    <a:pt x="4" y="33"/>
                    <a:pt x="4" y="34"/>
                  </a:cubicBezTo>
                  <a:cubicBezTo>
                    <a:pt x="4" y="35"/>
                    <a:pt x="4" y="36"/>
                    <a:pt x="3" y="37"/>
                  </a:cubicBezTo>
                  <a:cubicBezTo>
                    <a:pt x="3" y="38"/>
                    <a:pt x="3" y="39"/>
                    <a:pt x="3" y="40"/>
                  </a:cubicBezTo>
                  <a:cubicBezTo>
                    <a:pt x="3" y="40"/>
                    <a:pt x="2" y="39"/>
                    <a:pt x="2" y="39"/>
                  </a:cubicBezTo>
                  <a:cubicBezTo>
                    <a:pt x="2" y="39"/>
                    <a:pt x="1" y="40"/>
                    <a:pt x="1" y="40"/>
                  </a:cubicBezTo>
                  <a:cubicBezTo>
                    <a:pt x="0" y="43"/>
                    <a:pt x="3" y="44"/>
                    <a:pt x="3" y="45"/>
                  </a:cubicBezTo>
                  <a:cubicBezTo>
                    <a:pt x="3" y="45"/>
                    <a:pt x="3" y="46"/>
                    <a:pt x="3" y="46"/>
                  </a:cubicBezTo>
                  <a:cubicBezTo>
                    <a:pt x="4" y="47"/>
                    <a:pt x="4" y="48"/>
                    <a:pt x="5" y="49"/>
                  </a:cubicBezTo>
                  <a:cubicBezTo>
                    <a:pt x="6" y="47"/>
                    <a:pt x="6" y="45"/>
                    <a:pt x="6" y="43"/>
                  </a:cubicBezTo>
                  <a:cubicBezTo>
                    <a:pt x="6" y="41"/>
                    <a:pt x="6" y="38"/>
                    <a:pt x="6" y="36"/>
                  </a:cubicBezTo>
                  <a:cubicBezTo>
                    <a:pt x="7" y="34"/>
                    <a:pt x="8" y="33"/>
                    <a:pt x="9" y="31"/>
                  </a:cubicBezTo>
                  <a:cubicBezTo>
                    <a:pt x="9" y="31"/>
                    <a:pt x="9" y="30"/>
                    <a:pt x="9" y="30"/>
                  </a:cubicBezTo>
                  <a:cubicBezTo>
                    <a:pt x="9" y="30"/>
                    <a:pt x="9" y="30"/>
                    <a:pt x="9" y="30"/>
                  </a:cubicBezTo>
                  <a:cubicBezTo>
                    <a:pt x="10" y="29"/>
                    <a:pt x="12" y="27"/>
                    <a:pt x="12" y="25"/>
                  </a:cubicBezTo>
                  <a:cubicBezTo>
                    <a:pt x="12" y="24"/>
                    <a:pt x="12" y="22"/>
                    <a:pt x="11" y="20"/>
                  </a:cubicBezTo>
                  <a:cubicBezTo>
                    <a:pt x="10" y="19"/>
                    <a:pt x="10" y="17"/>
                    <a:pt x="10" y="16"/>
                  </a:cubicBezTo>
                  <a:cubicBezTo>
                    <a:pt x="9" y="16"/>
                    <a:pt x="9" y="16"/>
                    <a:pt x="9" y="16"/>
                  </a:cubicBezTo>
                  <a:cubicBezTo>
                    <a:pt x="11" y="15"/>
                    <a:pt x="10" y="13"/>
                    <a:pt x="11" y="12"/>
                  </a:cubicBezTo>
                  <a:cubicBezTo>
                    <a:pt x="11" y="11"/>
                    <a:pt x="13" y="11"/>
                    <a:pt x="13" y="10"/>
                  </a:cubicBezTo>
                  <a:cubicBezTo>
                    <a:pt x="14" y="10"/>
                    <a:pt x="14" y="9"/>
                    <a:pt x="14" y="8"/>
                  </a:cubicBezTo>
                  <a:cubicBezTo>
                    <a:pt x="13" y="7"/>
                    <a:pt x="13" y="7"/>
                    <a:pt x="13" y="6"/>
                  </a:cubicBezTo>
                  <a:cubicBezTo>
                    <a:pt x="13" y="5"/>
                    <a:pt x="12" y="6"/>
                    <a:pt x="12" y="5"/>
                  </a:cubicBezTo>
                  <a:cubicBezTo>
                    <a:pt x="12" y="5"/>
                    <a:pt x="12" y="5"/>
                    <a:pt x="12" y="5"/>
                  </a:cubicBezTo>
                  <a:cubicBezTo>
                    <a:pt x="12" y="5"/>
                    <a:pt x="13" y="5"/>
                    <a:pt x="13" y="4"/>
                  </a:cubicBezTo>
                  <a:cubicBezTo>
                    <a:pt x="13" y="4"/>
                    <a:pt x="14" y="3"/>
                    <a:pt x="14" y="3"/>
                  </a:cubicBezTo>
                  <a:cubicBezTo>
                    <a:pt x="14" y="3"/>
                    <a:pt x="14" y="3"/>
                    <a:pt x="14" y="4"/>
                  </a:cubicBezTo>
                  <a:cubicBezTo>
                    <a:pt x="14" y="3"/>
                    <a:pt x="14"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1487"/>
            <p:cNvSpPr/>
            <p:nvPr/>
          </p:nvSpPr>
          <p:spPr bwMode="auto">
            <a:xfrm>
              <a:off x="2310160" y="4047147"/>
              <a:ext cx="9396" cy="12081"/>
            </a:xfrm>
            <a:custGeom>
              <a:gdLst>
                <a:gd name="T0" fmla="*/ 1 w 3"/>
                <a:gd name="T1" fmla="*/ 0 h 4"/>
                <a:gd name="T2" fmla="*/ 0 w 3"/>
                <a:gd name="T3" fmla="*/ 4 h 4"/>
                <a:gd name="T4" fmla="*/ 1 w 3"/>
                <a:gd name="T5" fmla="*/ 0 h 4"/>
              </a:gdLst>
              <a:cxnLst>
                <a:cxn ang="0">
                  <a:pos x="T0" y="T1"/>
                </a:cxn>
                <a:cxn ang="0">
                  <a:pos x="T2" y="T3"/>
                </a:cxn>
                <a:cxn ang="0">
                  <a:pos x="T4" y="T5"/>
                </a:cxn>
              </a:cxnLst>
              <a:rect l="0" t="0" r="r" b="b"/>
              <a:pathLst>
                <a:path w="3" h="4">
                  <a:moveTo>
                    <a:pt x="1" y="0"/>
                  </a:moveTo>
                  <a:cubicBezTo>
                    <a:pt x="1" y="1"/>
                    <a:pt x="1" y="3"/>
                    <a:pt x="0" y="4"/>
                  </a:cubicBezTo>
                  <a:cubicBezTo>
                    <a:pt x="2" y="3"/>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1488"/>
            <p:cNvSpPr/>
            <p:nvPr/>
          </p:nvSpPr>
          <p:spPr bwMode="auto">
            <a:xfrm>
              <a:off x="2315529" y="4217623"/>
              <a:ext cx="6712" cy="6712"/>
            </a:xfrm>
            <a:custGeom>
              <a:gdLst>
                <a:gd name="T0" fmla="*/ 2 w 2"/>
                <a:gd name="T1" fmla="*/ 0 h 2"/>
                <a:gd name="T2" fmla="*/ 1 w 2"/>
                <a:gd name="T3" fmla="*/ 2 h 2"/>
                <a:gd name="T4" fmla="*/ 2 w 2"/>
                <a:gd name="T5" fmla="*/ 0 h 2"/>
              </a:gdLst>
              <a:cxnLst>
                <a:cxn ang="0">
                  <a:pos x="T0" y="T1"/>
                </a:cxn>
                <a:cxn ang="0">
                  <a:pos x="T2" y="T3"/>
                </a:cxn>
                <a:cxn ang="0">
                  <a:pos x="T4" y="T5"/>
                </a:cxn>
              </a:cxnLst>
              <a:rect l="0" t="0" r="r" b="b"/>
              <a:pathLst>
                <a:path w="2" h="2">
                  <a:moveTo>
                    <a:pt x="2" y="0"/>
                  </a:moveTo>
                  <a:cubicBezTo>
                    <a:pt x="1" y="1"/>
                    <a:pt x="0" y="1"/>
                    <a:pt x="1"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1489"/>
            <p:cNvSpPr/>
            <p:nvPr/>
          </p:nvSpPr>
          <p:spPr bwMode="auto">
            <a:xfrm>
              <a:off x="2385330" y="4370650"/>
              <a:ext cx="18793" cy="34901"/>
            </a:xfrm>
            <a:custGeom>
              <a:gdLst>
                <a:gd name="T0" fmla="*/ 4 w 6"/>
                <a:gd name="T1" fmla="*/ 0 h 11"/>
                <a:gd name="T2" fmla="*/ 0 w 6"/>
                <a:gd name="T3" fmla="*/ 4 h 11"/>
                <a:gd name="T4" fmla="*/ 2 w 6"/>
                <a:gd name="T5" fmla="*/ 6 h 11"/>
                <a:gd name="T6" fmla="*/ 4 w 6"/>
                <a:gd name="T7" fmla="*/ 8 h 11"/>
                <a:gd name="T8" fmla="*/ 4 w 6"/>
                <a:gd name="T9" fmla="*/ 11 h 11"/>
                <a:gd name="T10" fmla="*/ 5 w 6"/>
                <a:gd name="T11" fmla="*/ 3 h 11"/>
                <a:gd name="T12" fmla="*/ 6 w 6"/>
                <a:gd name="T13" fmla="*/ 1 h 11"/>
                <a:gd name="T14" fmla="*/ 4 w 6"/>
                <a:gd name="T15" fmla="*/ 0 h 1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1">
                  <a:moveTo>
                    <a:pt x="4" y="0"/>
                  </a:moveTo>
                  <a:cubicBezTo>
                    <a:pt x="1" y="0"/>
                    <a:pt x="0" y="2"/>
                    <a:pt x="0" y="4"/>
                  </a:cubicBezTo>
                  <a:cubicBezTo>
                    <a:pt x="1" y="5"/>
                    <a:pt x="1" y="6"/>
                    <a:pt x="2" y="6"/>
                  </a:cubicBezTo>
                  <a:cubicBezTo>
                    <a:pt x="2" y="7"/>
                    <a:pt x="3" y="8"/>
                    <a:pt x="4" y="8"/>
                  </a:cubicBezTo>
                  <a:cubicBezTo>
                    <a:pt x="4" y="9"/>
                    <a:pt x="4" y="10"/>
                    <a:pt x="4" y="11"/>
                  </a:cubicBezTo>
                  <a:cubicBezTo>
                    <a:pt x="5" y="8"/>
                    <a:pt x="5" y="5"/>
                    <a:pt x="5" y="3"/>
                  </a:cubicBezTo>
                  <a:cubicBezTo>
                    <a:pt x="5" y="2"/>
                    <a:pt x="6" y="1"/>
                    <a:pt x="6"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1490"/>
            <p:cNvSpPr/>
            <p:nvPr/>
          </p:nvSpPr>
          <p:spPr bwMode="auto">
            <a:xfrm>
              <a:off x="802717" y="5452573"/>
              <a:ext cx="5369" cy="12081"/>
            </a:xfrm>
            <a:custGeom>
              <a:gdLst>
                <a:gd name="T0" fmla="*/ 1 w 2"/>
                <a:gd name="T1" fmla="*/ 0 h 4"/>
                <a:gd name="T2" fmla="*/ 0 w 2"/>
                <a:gd name="T3" fmla="*/ 4 h 4"/>
                <a:gd name="T4" fmla="*/ 1 w 2"/>
                <a:gd name="T5" fmla="*/ 0 h 4"/>
              </a:gdLst>
              <a:cxnLst>
                <a:cxn ang="0">
                  <a:pos x="T0" y="T1"/>
                </a:cxn>
                <a:cxn ang="0">
                  <a:pos x="T2" y="T3"/>
                </a:cxn>
                <a:cxn ang="0">
                  <a:pos x="T4" y="T5"/>
                </a:cxn>
              </a:cxnLst>
              <a:rect l="0" t="0" r="r" b="b"/>
              <a:pathLst>
                <a:path w="2" h="4">
                  <a:moveTo>
                    <a:pt x="1" y="0"/>
                  </a:moveTo>
                  <a:cubicBezTo>
                    <a:pt x="0" y="1"/>
                    <a:pt x="0" y="3"/>
                    <a:pt x="0" y="4"/>
                  </a:cubicBezTo>
                  <a:cubicBezTo>
                    <a:pt x="1"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1491"/>
            <p:cNvSpPr/>
            <p:nvPr/>
          </p:nvSpPr>
          <p:spPr bwMode="auto">
            <a:xfrm>
              <a:off x="5291487" y="5785473"/>
              <a:ext cx="6712" cy="4027"/>
            </a:xfrm>
            <a:custGeom>
              <a:gdLst>
                <a:gd name="T0" fmla="*/ 2 w 2"/>
                <a:gd name="T1" fmla="*/ 0 h 1"/>
                <a:gd name="T2" fmla="*/ 1 w 2"/>
                <a:gd name="T3" fmla="*/ 0 h 1"/>
                <a:gd name="T4" fmla="*/ 0 w 2"/>
                <a:gd name="T5" fmla="*/ 1 h 1"/>
                <a:gd name="T6" fmla="*/ 0 w 2"/>
                <a:gd name="T7" fmla="*/ 1 h 1"/>
                <a:gd name="T8" fmla="*/ 2 w 2"/>
                <a:gd name="T9" fmla="*/ 0 h 1"/>
              </a:gdLst>
              <a:cxnLst>
                <a:cxn ang="0">
                  <a:pos x="T0" y="T1"/>
                </a:cxn>
                <a:cxn ang="0">
                  <a:pos x="T2" y="T3"/>
                </a:cxn>
                <a:cxn ang="0">
                  <a:pos x="T4" y="T5"/>
                </a:cxn>
                <a:cxn ang="0">
                  <a:pos x="T6" y="T7"/>
                </a:cxn>
                <a:cxn ang="0">
                  <a:pos x="T8" y="T9"/>
                </a:cxn>
              </a:cxnLst>
              <a:rect l="0" t="0" r="r" b="b"/>
              <a:pathLst>
                <a:path w="2" h="1">
                  <a:moveTo>
                    <a:pt x="2" y="0"/>
                  </a:moveTo>
                  <a:cubicBezTo>
                    <a:pt x="1" y="0"/>
                    <a:pt x="1" y="0"/>
                    <a:pt x="1" y="0"/>
                  </a:cubicBezTo>
                  <a:cubicBezTo>
                    <a:pt x="1" y="0"/>
                    <a:pt x="0" y="1"/>
                    <a:pt x="0" y="1"/>
                  </a:cubicBezTo>
                  <a:cubicBezTo>
                    <a:pt x="0" y="1"/>
                    <a:pt x="0" y="1"/>
                    <a:pt x="0" y="1"/>
                  </a:cubicBezTo>
                  <a:cubicBezTo>
                    <a:pt x="1"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1492"/>
            <p:cNvSpPr/>
            <p:nvPr/>
          </p:nvSpPr>
          <p:spPr bwMode="auto">
            <a:xfrm>
              <a:off x="4737102" y="5994877"/>
              <a:ext cx="5369" cy="16108"/>
            </a:xfrm>
            <a:custGeom>
              <a:gdLst>
                <a:gd name="T0" fmla="*/ 1 w 2"/>
                <a:gd name="T1" fmla="*/ 0 h 5"/>
                <a:gd name="T2" fmla="*/ 0 w 2"/>
                <a:gd name="T3" fmla="*/ 5 h 5"/>
                <a:gd name="T4" fmla="*/ 1 w 2"/>
                <a:gd name="T5" fmla="*/ 3 h 5"/>
                <a:gd name="T6" fmla="*/ 1 w 2"/>
                <a:gd name="T7" fmla="*/ 3 h 5"/>
                <a:gd name="T8" fmla="*/ 2 w 2"/>
                <a:gd name="T9" fmla="*/ 1 h 5"/>
                <a:gd name="T10" fmla="*/ 2 w 2"/>
                <a:gd name="T11" fmla="*/ 1 h 5"/>
                <a:gd name="T12" fmla="*/ 1 w 2"/>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2" h="5">
                  <a:moveTo>
                    <a:pt x="1" y="0"/>
                  </a:moveTo>
                  <a:cubicBezTo>
                    <a:pt x="1" y="2"/>
                    <a:pt x="1" y="3"/>
                    <a:pt x="0" y="5"/>
                  </a:cubicBezTo>
                  <a:cubicBezTo>
                    <a:pt x="1" y="4"/>
                    <a:pt x="1" y="4"/>
                    <a:pt x="1" y="3"/>
                  </a:cubicBezTo>
                  <a:cubicBezTo>
                    <a:pt x="1" y="3"/>
                    <a:pt x="1" y="3"/>
                    <a:pt x="1" y="3"/>
                  </a:cubicBezTo>
                  <a:cubicBezTo>
                    <a:pt x="2" y="2"/>
                    <a:pt x="2" y="2"/>
                    <a:pt x="2" y="1"/>
                  </a:cubicBezTo>
                  <a:cubicBezTo>
                    <a:pt x="2" y="1"/>
                    <a:pt x="2" y="1"/>
                    <a:pt x="2" y="1"/>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1493"/>
            <p:cNvSpPr/>
            <p:nvPr/>
          </p:nvSpPr>
          <p:spPr bwMode="auto">
            <a:xfrm>
              <a:off x="4692805" y="6061994"/>
              <a:ext cx="5369" cy="9396"/>
            </a:xfrm>
            <a:custGeom>
              <a:gdLst>
                <a:gd name="T0" fmla="*/ 1 w 2"/>
                <a:gd name="T1" fmla="*/ 0 h 3"/>
                <a:gd name="T2" fmla="*/ 0 w 2"/>
                <a:gd name="T3" fmla="*/ 3 h 3"/>
                <a:gd name="T4" fmla="*/ 1 w 2"/>
                <a:gd name="T5" fmla="*/ 3 h 3"/>
                <a:gd name="T6" fmla="*/ 1 w 2"/>
                <a:gd name="T7" fmla="*/ 2 h 3"/>
                <a:gd name="T8" fmla="*/ 2 w 2"/>
                <a:gd name="T9" fmla="*/ 2 h 3"/>
                <a:gd name="T10" fmla="*/ 2 w 2"/>
                <a:gd name="T11" fmla="*/ 2 h 3"/>
                <a:gd name="T12" fmla="*/ 2 w 2"/>
                <a:gd name="T13" fmla="*/ 1 h 3"/>
                <a:gd name="T14" fmla="*/ 2 w 2"/>
                <a:gd name="T15" fmla="*/ 1 h 3"/>
                <a:gd name="T16" fmla="*/ 1 w 2"/>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1" y="0"/>
                  </a:moveTo>
                  <a:cubicBezTo>
                    <a:pt x="0" y="1"/>
                    <a:pt x="0" y="2"/>
                    <a:pt x="0" y="3"/>
                  </a:cubicBezTo>
                  <a:cubicBezTo>
                    <a:pt x="0" y="3"/>
                    <a:pt x="1" y="3"/>
                    <a:pt x="1" y="3"/>
                  </a:cubicBezTo>
                  <a:cubicBezTo>
                    <a:pt x="1" y="2"/>
                    <a:pt x="1" y="2"/>
                    <a:pt x="1" y="2"/>
                  </a:cubicBezTo>
                  <a:cubicBezTo>
                    <a:pt x="2" y="2"/>
                    <a:pt x="2" y="2"/>
                    <a:pt x="2" y="2"/>
                  </a:cubicBezTo>
                  <a:cubicBezTo>
                    <a:pt x="2" y="2"/>
                    <a:pt x="2" y="2"/>
                    <a:pt x="2" y="2"/>
                  </a:cubicBezTo>
                  <a:cubicBezTo>
                    <a:pt x="2" y="1"/>
                    <a:pt x="2" y="1"/>
                    <a:pt x="2" y="1"/>
                  </a:cubicBezTo>
                  <a:cubicBezTo>
                    <a:pt x="2" y="1"/>
                    <a:pt x="2" y="1"/>
                    <a:pt x="2"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1494"/>
            <p:cNvSpPr/>
            <p:nvPr/>
          </p:nvSpPr>
          <p:spPr bwMode="auto">
            <a:xfrm>
              <a:off x="4502194" y="2589369"/>
              <a:ext cx="30874" cy="16108"/>
            </a:xfrm>
            <a:custGeom>
              <a:gdLst>
                <a:gd name="T0" fmla="*/ 0 w 10"/>
                <a:gd name="T1" fmla="*/ 0 h 5"/>
                <a:gd name="T2" fmla="*/ 7 w 10"/>
                <a:gd name="T3" fmla="*/ 5 h 5"/>
                <a:gd name="T4" fmla="*/ 0 w 10"/>
                <a:gd name="T5" fmla="*/ 0 h 5"/>
              </a:gdLst>
              <a:cxnLst>
                <a:cxn ang="0">
                  <a:pos x="T0" y="T1"/>
                </a:cxn>
                <a:cxn ang="0">
                  <a:pos x="T2" y="T3"/>
                </a:cxn>
                <a:cxn ang="0">
                  <a:pos x="T4" y="T5"/>
                </a:cxn>
              </a:cxnLst>
              <a:rect l="0" t="0" r="r" b="b"/>
              <a:pathLst>
                <a:path w="10" h="5">
                  <a:moveTo>
                    <a:pt x="0" y="0"/>
                  </a:moveTo>
                  <a:cubicBezTo>
                    <a:pt x="2" y="2"/>
                    <a:pt x="5" y="4"/>
                    <a:pt x="7" y="5"/>
                  </a:cubicBezTo>
                  <a:cubicBezTo>
                    <a:pt x="10"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1495"/>
            <p:cNvSpPr/>
            <p:nvPr/>
          </p:nvSpPr>
          <p:spPr bwMode="auto">
            <a:xfrm>
              <a:off x="4508905" y="2618900"/>
              <a:ext cx="5369" cy="9396"/>
            </a:xfrm>
            <a:custGeom>
              <a:gdLst>
                <a:gd name="T0" fmla="*/ 0 w 2"/>
                <a:gd name="T1" fmla="*/ 0 h 3"/>
                <a:gd name="T2" fmla="*/ 1 w 2"/>
                <a:gd name="T3" fmla="*/ 3 h 3"/>
                <a:gd name="T4" fmla="*/ 0 w 2"/>
                <a:gd name="T5" fmla="*/ 0 h 3"/>
              </a:gdLst>
              <a:cxnLst>
                <a:cxn ang="0">
                  <a:pos x="T0" y="T1"/>
                </a:cxn>
                <a:cxn ang="0">
                  <a:pos x="T2" y="T3"/>
                </a:cxn>
                <a:cxn ang="0">
                  <a:pos x="T4" y="T5"/>
                </a:cxn>
              </a:cxnLst>
              <a:rect l="0" t="0" r="r" b="b"/>
              <a:pathLst>
                <a:path w="2" h="3">
                  <a:moveTo>
                    <a:pt x="0" y="0"/>
                  </a:moveTo>
                  <a:cubicBezTo>
                    <a:pt x="0" y="1"/>
                    <a:pt x="1" y="2"/>
                    <a:pt x="1" y="3"/>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1496"/>
            <p:cNvSpPr/>
            <p:nvPr/>
          </p:nvSpPr>
          <p:spPr bwMode="auto">
            <a:xfrm>
              <a:off x="4181375" y="4598847"/>
              <a:ext cx="16108" cy="9396"/>
            </a:xfrm>
            <a:custGeom>
              <a:gdLst>
                <a:gd name="T0" fmla="*/ 5 w 5"/>
                <a:gd name="T1" fmla="*/ 0 h 3"/>
                <a:gd name="T2" fmla="*/ 0 w 5"/>
                <a:gd name="T3" fmla="*/ 0 h 3"/>
                <a:gd name="T4" fmla="*/ 3 w 5"/>
                <a:gd name="T5" fmla="*/ 3 h 3"/>
                <a:gd name="T6" fmla="*/ 4 w 5"/>
                <a:gd name="T7" fmla="*/ 3 h 3"/>
                <a:gd name="T8" fmla="*/ 5 w 5"/>
                <a:gd name="T9" fmla="*/ 0 h 3"/>
              </a:gdLst>
              <a:cxnLst>
                <a:cxn ang="0">
                  <a:pos x="T0" y="T1"/>
                </a:cxn>
                <a:cxn ang="0">
                  <a:pos x="T2" y="T3"/>
                </a:cxn>
                <a:cxn ang="0">
                  <a:pos x="T4" y="T5"/>
                </a:cxn>
                <a:cxn ang="0">
                  <a:pos x="T6" y="T7"/>
                </a:cxn>
                <a:cxn ang="0">
                  <a:pos x="T8" y="T9"/>
                </a:cxn>
              </a:cxnLst>
              <a:rect l="0" t="0" r="r" b="b"/>
              <a:pathLst>
                <a:path w="5" h="3">
                  <a:moveTo>
                    <a:pt x="5" y="0"/>
                  </a:moveTo>
                  <a:cubicBezTo>
                    <a:pt x="3" y="0"/>
                    <a:pt x="2" y="0"/>
                    <a:pt x="0" y="0"/>
                  </a:cubicBezTo>
                  <a:cubicBezTo>
                    <a:pt x="1" y="1"/>
                    <a:pt x="2" y="2"/>
                    <a:pt x="3" y="3"/>
                  </a:cubicBezTo>
                  <a:cubicBezTo>
                    <a:pt x="3" y="3"/>
                    <a:pt x="4" y="3"/>
                    <a:pt x="4" y="3"/>
                  </a:cubicBezTo>
                  <a:cubicBezTo>
                    <a:pt x="5" y="3"/>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1497"/>
            <p:cNvSpPr/>
            <p:nvPr/>
          </p:nvSpPr>
          <p:spPr bwMode="auto">
            <a:xfrm>
              <a:off x="4188087" y="4643144"/>
              <a:ext cx="9396" cy="9396"/>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2"/>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1498"/>
            <p:cNvSpPr/>
            <p:nvPr/>
          </p:nvSpPr>
          <p:spPr bwMode="auto">
            <a:xfrm>
              <a:off x="4169294" y="4652541"/>
              <a:ext cx="9396" cy="16108"/>
            </a:xfrm>
            <a:custGeom>
              <a:gdLst>
                <a:gd name="T0" fmla="*/ 1 w 3"/>
                <a:gd name="T1" fmla="*/ 0 h 5"/>
                <a:gd name="T2" fmla="*/ 3 w 3"/>
                <a:gd name="T3" fmla="*/ 5 h 5"/>
                <a:gd name="T4" fmla="*/ 1 w 3"/>
                <a:gd name="T5" fmla="*/ 0 h 5"/>
              </a:gdLst>
              <a:cxnLst>
                <a:cxn ang="0">
                  <a:pos x="T0" y="T1"/>
                </a:cxn>
                <a:cxn ang="0">
                  <a:pos x="T2" y="T3"/>
                </a:cxn>
                <a:cxn ang="0">
                  <a:pos x="T4" y="T5"/>
                </a:cxn>
              </a:cxnLst>
              <a:rect l="0" t="0" r="r" b="b"/>
              <a:pathLst>
                <a:path w="3" h="5">
                  <a:moveTo>
                    <a:pt x="1" y="0"/>
                  </a:moveTo>
                  <a:cubicBezTo>
                    <a:pt x="0" y="3"/>
                    <a:pt x="2" y="3"/>
                    <a:pt x="3" y="5"/>
                  </a:cubicBezTo>
                  <a:cubicBezTo>
                    <a:pt x="3" y="3"/>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1499"/>
            <p:cNvSpPr/>
            <p:nvPr/>
          </p:nvSpPr>
          <p:spPr bwMode="auto">
            <a:xfrm>
              <a:off x="4146475" y="4643144"/>
              <a:ext cx="22820" cy="9396"/>
            </a:xfrm>
            <a:custGeom>
              <a:gdLst>
                <a:gd name="T0" fmla="*/ 0 w 7"/>
                <a:gd name="T1" fmla="*/ 0 h 3"/>
                <a:gd name="T2" fmla="*/ 2 w 7"/>
                <a:gd name="T3" fmla="*/ 2 h 3"/>
                <a:gd name="T4" fmla="*/ 2 w 7"/>
                <a:gd name="T5" fmla="*/ 2 h 3"/>
                <a:gd name="T6" fmla="*/ 3 w 7"/>
                <a:gd name="T7" fmla="*/ 2 h 3"/>
                <a:gd name="T8" fmla="*/ 6 w 7"/>
                <a:gd name="T9" fmla="*/ 2 h 3"/>
                <a:gd name="T10" fmla="*/ 6 w 7"/>
                <a:gd name="T11" fmla="*/ 3 h 3"/>
                <a:gd name="T12" fmla="*/ 7 w 7"/>
                <a:gd name="T13" fmla="*/ 2 h 3"/>
                <a:gd name="T14" fmla="*/ 0 w 7"/>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0" y="0"/>
                  </a:moveTo>
                  <a:cubicBezTo>
                    <a:pt x="1" y="0"/>
                    <a:pt x="1" y="1"/>
                    <a:pt x="2" y="2"/>
                  </a:cubicBezTo>
                  <a:cubicBezTo>
                    <a:pt x="2" y="2"/>
                    <a:pt x="2" y="2"/>
                    <a:pt x="2" y="2"/>
                  </a:cubicBezTo>
                  <a:cubicBezTo>
                    <a:pt x="3" y="2"/>
                    <a:pt x="3" y="2"/>
                    <a:pt x="3" y="2"/>
                  </a:cubicBezTo>
                  <a:cubicBezTo>
                    <a:pt x="4" y="2"/>
                    <a:pt x="5" y="2"/>
                    <a:pt x="6" y="2"/>
                  </a:cubicBezTo>
                  <a:cubicBezTo>
                    <a:pt x="6" y="3"/>
                    <a:pt x="6" y="3"/>
                    <a:pt x="6" y="3"/>
                  </a:cubicBezTo>
                  <a:cubicBezTo>
                    <a:pt x="6" y="3"/>
                    <a:pt x="7" y="2"/>
                    <a:pt x="7" y="2"/>
                  </a:cubicBezTo>
                  <a:cubicBezTo>
                    <a:pt x="5"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1500"/>
            <p:cNvSpPr>
              <a:spLocks noEditPoints="1"/>
            </p:cNvSpPr>
            <p:nvPr/>
          </p:nvSpPr>
          <p:spPr bwMode="auto">
            <a:xfrm>
              <a:off x="3908881" y="3202817"/>
              <a:ext cx="25504" cy="16108"/>
            </a:xfrm>
            <a:custGeom>
              <a:gdLst>
                <a:gd name="T0" fmla="*/ 6 w 8"/>
                <a:gd name="T1" fmla="*/ 5 h 5"/>
                <a:gd name="T2" fmla="*/ 6 w 8"/>
                <a:gd name="T3" fmla="*/ 5 h 5"/>
                <a:gd name="T4" fmla="*/ 6 w 8"/>
                <a:gd name="T5" fmla="*/ 5 h 5"/>
                <a:gd name="T6" fmla="*/ 8 w 8"/>
                <a:gd name="T7" fmla="*/ 4 h 5"/>
                <a:gd name="T8" fmla="*/ 8 w 8"/>
                <a:gd name="T9" fmla="*/ 4 h 5"/>
                <a:gd name="T10" fmla="*/ 8 w 8"/>
                <a:gd name="T11" fmla="*/ 4 h 5"/>
                <a:gd name="T12" fmla="*/ 4 w 8"/>
                <a:gd name="T13" fmla="*/ 0 h 5"/>
                <a:gd name="T14" fmla="*/ 0 w 8"/>
                <a:gd name="T15" fmla="*/ 3 h 5"/>
                <a:gd name="T16" fmla="*/ 6 w 8"/>
                <a:gd name="T17" fmla="*/ 5 h 5"/>
                <a:gd name="T18" fmla="*/ 6 w 8"/>
                <a:gd name="T19" fmla="*/ 5 h 5"/>
                <a:gd name="T20" fmla="*/ 6 w 8"/>
                <a:gd name="T21" fmla="*/ 5 h 5"/>
                <a:gd name="T22" fmla="*/ 7 w 8"/>
                <a:gd name="T23" fmla="*/ 4 h 5"/>
                <a:gd name="T24" fmla="*/ 8 w 8"/>
                <a:gd name="T25" fmla="*/ 4 h 5"/>
                <a:gd name="T26" fmla="*/ 8 w 8"/>
                <a:gd name="T27" fmla="*/ 4 h 5"/>
                <a:gd name="T28" fmla="*/ 8 w 8"/>
                <a:gd name="T29" fmla="*/ 2 h 5"/>
                <a:gd name="T30" fmla="*/ 7 w 8"/>
                <a:gd name="T31" fmla="*/ 1 h 5"/>
                <a:gd name="T32" fmla="*/ 7 w 8"/>
                <a:gd name="T33" fmla="*/ 1 h 5"/>
                <a:gd name="T34" fmla="*/ 6 w 8"/>
                <a:gd name="T35" fmla="*/ 1 h 5"/>
                <a:gd name="T36" fmla="*/ 6 w 8"/>
                <a:gd name="T37" fmla="*/ 1 h 5"/>
                <a:gd name="T38" fmla="*/ 6 w 8"/>
                <a:gd name="T39" fmla="*/ 1 h 5"/>
                <a:gd name="T40" fmla="*/ 5 w 8"/>
                <a:gd name="T41" fmla="*/ 1 h 5"/>
                <a:gd name="T42" fmla="*/ 4 w 8"/>
                <a:gd name="T43" fmla="*/ 1 h 5"/>
                <a:gd name="T44" fmla="*/ 4 w 8"/>
                <a:gd name="T45"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5">
                  <a:moveTo>
                    <a:pt x="6" y="5"/>
                  </a:moveTo>
                  <a:cubicBezTo>
                    <a:pt x="6" y="5"/>
                    <a:pt x="6" y="5"/>
                    <a:pt x="6" y="5"/>
                  </a:cubicBezTo>
                  <a:cubicBezTo>
                    <a:pt x="6" y="5"/>
                    <a:pt x="6" y="5"/>
                    <a:pt x="6" y="5"/>
                  </a:cubicBezTo>
                  <a:moveTo>
                    <a:pt x="8" y="4"/>
                  </a:moveTo>
                  <a:cubicBezTo>
                    <a:pt x="8" y="4"/>
                    <a:pt x="8" y="4"/>
                    <a:pt x="8" y="4"/>
                  </a:cubicBezTo>
                  <a:cubicBezTo>
                    <a:pt x="8" y="4"/>
                    <a:pt x="8" y="4"/>
                    <a:pt x="8" y="4"/>
                  </a:cubicBezTo>
                  <a:moveTo>
                    <a:pt x="4" y="0"/>
                  </a:moveTo>
                  <a:cubicBezTo>
                    <a:pt x="2" y="0"/>
                    <a:pt x="0" y="1"/>
                    <a:pt x="0" y="3"/>
                  </a:cubicBezTo>
                  <a:cubicBezTo>
                    <a:pt x="2" y="4"/>
                    <a:pt x="4" y="5"/>
                    <a:pt x="6" y="5"/>
                  </a:cubicBezTo>
                  <a:cubicBezTo>
                    <a:pt x="6" y="5"/>
                    <a:pt x="6" y="5"/>
                    <a:pt x="6" y="5"/>
                  </a:cubicBezTo>
                  <a:cubicBezTo>
                    <a:pt x="6" y="5"/>
                    <a:pt x="6" y="5"/>
                    <a:pt x="6" y="5"/>
                  </a:cubicBezTo>
                  <a:cubicBezTo>
                    <a:pt x="6" y="5"/>
                    <a:pt x="6" y="5"/>
                    <a:pt x="7" y="4"/>
                  </a:cubicBezTo>
                  <a:cubicBezTo>
                    <a:pt x="7" y="4"/>
                    <a:pt x="8" y="4"/>
                    <a:pt x="8" y="4"/>
                  </a:cubicBezTo>
                  <a:cubicBezTo>
                    <a:pt x="8" y="4"/>
                    <a:pt x="8" y="4"/>
                    <a:pt x="8" y="4"/>
                  </a:cubicBezTo>
                  <a:cubicBezTo>
                    <a:pt x="8" y="3"/>
                    <a:pt x="8" y="3"/>
                    <a:pt x="8" y="2"/>
                  </a:cubicBezTo>
                  <a:cubicBezTo>
                    <a:pt x="8" y="1"/>
                    <a:pt x="8" y="1"/>
                    <a:pt x="7" y="1"/>
                  </a:cubicBezTo>
                  <a:cubicBezTo>
                    <a:pt x="7" y="1"/>
                    <a:pt x="7" y="1"/>
                    <a:pt x="7" y="1"/>
                  </a:cubicBezTo>
                  <a:cubicBezTo>
                    <a:pt x="6" y="1"/>
                    <a:pt x="6" y="1"/>
                    <a:pt x="6" y="1"/>
                  </a:cubicBezTo>
                  <a:cubicBezTo>
                    <a:pt x="6" y="1"/>
                    <a:pt x="6" y="1"/>
                    <a:pt x="6" y="1"/>
                  </a:cubicBezTo>
                  <a:cubicBezTo>
                    <a:pt x="6" y="1"/>
                    <a:pt x="6" y="1"/>
                    <a:pt x="6" y="1"/>
                  </a:cubicBezTo>
                  <a:cubicBezTo>
                    <a:pt x="6" y="1"/>
                    <a:pt x="5" y="1"/>
                    <a:pt x="5" y="1"/>
                  </a:cubicBezTo>
                  <a:cubicBezTo>
                    <a:pt x="5" y="1"/>
                    <a:pt x="4" y="1"/>
                    <a:pt x="4" y="1"/>
                  </a:cubicBezTo>
                  <a:cubicBezTo>
                    <a:pt x="3"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1501"/>
            <p:cNvSpPr/>
            <p:nvPr/>
          </p:nvSpPr>
          <p:spPr bwMode="auto">
            <a:xfrm>
              <a:off x="561096" y="288603"/>
              <a:ext cx="6712" cy="4027"/>
            </a:xfrm>
            <a:custGeom>
              <a:gdLst>
                <a:gd name="T0" fmla="*/ 1 w 2"/>
                <a:gd name="T1" fmla="*/ 0 h 1"/>
                <a:gd name="T2" fmla="*/ 0 w 2"/>
                <a:gd name="T3" fmla="*/ 1 h 1"/>
                <a:gd name="T4" fmla="*/ 1 w 2"/>
                <a:gd name="T5" fmla="*/ 1 h 1"/>
                <a:gd name="T6" fmla="*/ 2 w 2"/>
                <a:gd name="T7" fmla="*/ 0 h 1"/>
                <a:gd name="T8" fmla="*/ 1 w 2"/>
                <a:gd name="T9" fmla="*/ 0 h 1"/>
              </a:gdLst>
              <a:cxnLst>
                <a:cxn ang="0">
                  <a:pos x="T0" y="T1"/>
                </a:cxn>
                <a:cxn ang="0">
                  <a:pos x="T2" y="T3"/>
                </a:cxn>
                <a:cxn ang="0">
                  <a:pos x="T4" y="T5"/>
                </a:cxn>
                <a:cxn ang="0">
                  <a:pos x="T6" y="T7"/>
                </a:cxn>
                <a:cxn ang="0">
                  <a:pos x="T8" y="T9"/>
                </a:cxn>
              </a:cxnLst>
              <a:rect l="0" t="0" r="r" b="b"/>
              <a:pathLst>
                <a:path w="2" h="1">
                  <a:moveTo>
                    <a:pt x="1" y="0"/>
                  </a:moveTo>
                  <a:cubicBezTo>
                    <a:pt x="1" y="0"/>
                    <a:pt x="0" y="1"/>
                    <a:pt x="0" y="1"/>
                  </a:cubicBezTo>
                  <a:cubicBezTo>
                    <a:pt x="1" y="1"/>
                    <a:pt x="1" y="1"/>
                    <a:pt x="1" y="1"/>
                  </a:cubicBezTo>
                  <a:cubicBezTo>
                    <a:pt x="1" y="1"/>
                    <a:pt x="2" y="1"/>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Rectangle 1502"/>
            <p:cNvSpPr>
              <a:spLocks noChangeArrowheads="1"/>
            </p:cNvSpPr>
            <p:nvPr/>
          </p:nvSpPr>
          <p:spPr bwMode="auto">
            <a:xfrm>
              <a:off x="4851201" y="1945047"/>
              <a:ext cx="1342" cy="67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1503"/>
            <p:cNvSpPr/>
            <p:nvPr/>
          </p:nvSpPr>
          <p:spPr bwMode="auto">
            <a:xfrm flipH="1">
              <a:off x="4851201" y="1945047"/>
              <a:ext cx="0" cy="6712"/>
            </a:xfrm>
            <a:custGeom>
              <a:gdLst>
                <a:gd name="T0" fmla="*/ 0 h 5"/>
                <a:gd name="T1" fmla="*/ 5 h 5"/>
                <a:gd name="T2" fmla="*/ 5 h 5"/>
                <a:gd name="T3" fmla="*/ 0 h 5"/>
              </a:gdLst>
              <a:cxnLst>
                <a:cxn ang="0">
                  <a:pos x="0" y="T0"/>
                </a:cxn>
                <a:cxn ang="0">
                  <a:pos x="0" y="T1"/>
                </a:cxn>
                <a:cxn ang="0">
                  <a:pos x="0" y="T2"/>
                </a:cxn>
                <a:cxn ang="0">
                  <a:pos x="0" y="T3"/>
                </a:cxn>
              </a:cxnLst>
              <a:rect l="0" t="0" r="r" b="b"/>
              <a:pathLst>
                <a:path h="5">
                  <a:moveTo>
                    <a:pt x="0" y="0"/>
                  </a:moveTo>
                  <a:lnTo>
                    <a:pt x="0" y="5"/>
                  </a:lnTo>
                  <a:lnTo>
                    <a:pt x="0"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1504"/>
            <p:cNvSpPr/>
            <p:nvPr/>
          </p:nvSpPr>
          <p:spPr bwMode="auto">
            <a:xfrm>
              <a:off x="374512" y="355720"/>
              <a:ext cx="5369" cy="0"/>
            </a:xfrm>
            <a:custGeom>
              <a:gdLst>
                <a:gd name="T0" fmla="*/ 2 w 2"/>
                <a:gd name="T1" fmla="*/ 1 w 2"/>
                <a:gd name="T2" fmla="*/ 0 w 2"/>
                <a:gd name="T3" fmla="*/ 0 w 2"/>
                <a:gd name="T4" fmla="*/ 2 w 2"/>
                <a:gd name="T5" fmla="*/ 2 w 2"/>
              </a:gdLst>
              <a:cxnLst>
                <a:cxn ang="0">
                  <a:pos x="T0" y="0"/>
                </a:cxn>
                <a:cxn ang="0">
                  <a:pos x="T1" y="0"/>
                </a:cxn>
                <a:cxn ang="0">
                  <a:pos x="T2" y="0"/>
                </a:cxn>
                <a:cxn ang="0">
                  <a:pos x="T3" y="0"/>
                </a:cxn>
                <a:cxn ang="0">
                  <a:pos x="T4" y="0"/>
                </a:cxn>
                <a:cxn ang="0">
                  <a:pos x="T5" y="0"/>
                </a:cxn>
              </a:cxnLst>
              <a:rect l="0" t="0" r="r" b="b"/>
              <a:pathLst>
                <a:path w="2">
                  <a:moveTo>
                    <a:pt x="2" y="0"/>
                  </a:moveTo>
                  <a:cubicBezTo>
                    <a:pt x="2" y="0"/>
                    <a:pt x="1" y="0"/>
                    <a:pt x="1" y="0"/>
                  </a:cubicBezTo>
                  <a:cubicBezTo>
                    <a:pt x="0" y="0"/>
                    <a:pt x="0" y="0"/>
                    <a:pt x="0" y="0"/>
                  </a:cubicBezTo>
                  <a:cubicBezTo>
                    <a:pt x="0" y="0"/>
                    <a:pt x="0" y="0"/>
                    <a:pt x="0" y="0"/>
                  </a:cubicBezTo>
                  <a:cubicBezTo>
                    <a:pt x="1" y="0"/>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1505"/>
            <p:cNvSpPr/>
            <p:nvPr/>
          </p:nvSpPr>
          <p:spPr bwMode="auto">
            <a:xfrm>
              <a:off x="4644481" y="5594861"/>
              <a:ext cx="44297" cy="25504"/>
            </a:xfrm>
            <a:custGeom>
              <a:gdLst>
                <a:gd name="T0" fmla="*/ 14 w 14"/>
                <a:gd name="T1" fmla="*/ 0 h 8"/>
                <a:gd name="T2" fmla="*/ 0 w 14"/>
                <a:gd name="T3" fmla="*/ 7 h 8"/>
                <a:gd name="T4" fmla="*/ 10 w 14"/>
                <a:gd name="T5" fmla="*/ 8 h 8"/>
                <a:gd name="T6" fmla="*/ 12 w 14"/>
                <a:gd name="T7" fmla="*/ 4 h 8"/>
                <a:gd name="T8" fmla="*/ 14 w 14"/>
                <a:gd name="T9" fmla="*/ 0 h 8"/>
              </a:gdLst>
              <a:cxnLst>
                <a:cxn ang="0">
                  <a:pos x="T0" y="T1"/>
                </a:cxn>
                <a:cxn ang="0">
                  <a:pos x="T2" y="T3"/>
                </a:cxn>
                <a:cxn ang="0">
                  <a:pos x="T4" y="T5"/>
                </a:cxn>
                <a:cxn ang="0">
                  <a:pos x="T6" y="T7"/>
                </a:cxn>
                <a:cxn ang="0">
                  <a:pos x="T8" y="T9"/>
                </a:cxn>
              </a:cxnLst>
              <a:rect l="0" t="0" r="r" b="b"/>
              <a:pathLst>
                <a:path w="14" h="8">
                  <a:moveTo>
                    <a:pt x="14" y="0"/>
                  </a:moveTo>
                  <a:cubicBezTo>
                    <a:pt x="14" y="0"/>
                    <a:pt x="0" y="5"/>
                    <a:pt x="0" y="7"/>
                  </a:cubicBezTo>
                  <a:cubicBezTo>
                    <a:pt x="10" y="8"/>
                    <a:pt x="10" y="8"/>
                    <a:pt x="10" y="8"/>
                  </a:cubicBezTo>
                  <a:cubicBezTo>
                    <a:pt x="10" y="8"/>
                    <a:pt x="12" y="4"/>
                    <a:pt x="12" y="4"/>
                  </a:cubicBezTo>
                  <a:cubicBezTo>
                    <a:pt x="14" y="2"/>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1506"/>
            <p:cNvSpPr/>
            <p:nvPr/>
          </p:nvSpPr>
          <p:spPr bwMode="auto">
            <a:xfrm>
              <a:off x="5923727" y="5106250"/>
              <a:ext cx="735600" cy="606736"/>
            </a:xfrm>
            <a:custGeom>
              <a:gdLst>
                <a:gd name="T0" fmla="*/ 3 w 232"/>
                <a:gd name="T1" fmla="*/ 52 h 191"/>
                <a:gd name="T2" fmla="*/ 2 w 232"/>
                <a:gd name="T3" fmla="*/ 62 h 191"/>
                <a:gd name="T4" fmla="*/ 1 w 232"/>
                <a:gd name="T5" fmla="*/ 98 h 191"/>
                <a:gd name="T6" fmla="*/ 8 w 232"/>
                <a:gd name="T7" fmla="*/ 156 h 191"/>
                <a:gd name="T8" fmla="*/ 29 w 232"/>
                <a:gd name="T9" fmla="*/ 155 h 191"/>
                <a:gd name="T10" fmla="*/ 48 w 232"/>
                <a:gd name="T11" fmla="*/ 154 h 191"/>
                <a:gd name="T12" fmla="*/ 44 w 232"/>
                <a:gd name="T13" fmla="*/ 137 h 191"/>
                <a:gd name="T14" fmla="*/ 37 w 232"/>
                <a:gd name="T15" fmla="*/ 135 h 191"/>
                <a:gd name="T16" fmla="*/ 34 w 232"/>
                <a:gd name="T17" fmla="*/ 135 h 191"/>
                <a:gd name="T18" fmla="*/ 43 w 232"/>
                <a:gd name="T19" fmla="*/ 133 h 191"/>
                <a:gd name="T20" fmla="*/ 55 w 232"/>
                <a:gd name="T21" fmla="*/ 133 h 191"/>
                <a:gd name="T22" fmla="*/ 56 w 232"/>
                <a:gd name="T23" fmla="*/ 124 h 191"/>
                <a:gd name="T24" fmla="*/ 60 w 232"/>
                <a:gd name="T25" fmla="*/ 126 h 191"/>
                <a:gd name="T26" fmla="*/ 64 w 232"/>
                <a:gd name="T27" fmla="*/ 127 h 191"/>
                <a:gd name="T28" fmla="*/ 69 w 232"/>
                <a:gd name="T29" fmla="*/ 126 h 191"/>
                <a:gd name="T30" fmla="*/ 68 w 232"/>
                <a:gd name="T31" fmla="*/ 119 h 191"/>
                <a:gd name="T32" fmla="*/ 76 w 232"/>
                <a:gd name="T33" fmla="*/ 118 h 191"/>
                <a:gd name="T34" fmla="*/ 79 w 232"/>
                <a:gd name="T35" fmla="*/ 120 h 191"/>
                <a:gd name="T36" fmla="*/ 83 w 232"/>
                <a:gd name="T37" fmla="*/ 119 h 191"/>
                <a:gd name="T38" fmla="*/ 88 w 232"/>
                <a:gd name="T39" fmla="*/ 117 h 191"/>
                <a:gd name="T40" fmla="*/ 90 w 232"/>
                <a:gd name="T41" fmla="*/ 120 h 191"/>
                <a:gd name="T42" fmla="*/ 120 w 232"/>
                <a:gd name="T43" fmla="*/ 129 h 191"/>
                <a:gd name="T44" fmla="*/ 130 w 232"/>
                <a:gd name="T45" fmla="*/ 146 h 191"/>
                <a:gd name="T46" fmla="*/ 140 w 232"/>
                <a:gd name="T47" fmla="*/ 151 h 191"/>
                <a:gd name="T48" fmla="*/ 150 w 232"/>
                <a:gd name="T49" fmla="*/ 166 h 191"/>
                <a:gd name="T50" fmla="*/ 166 w 232"/>
                <a:gd name="T51" fmla="*/ 177 h 191"/>
                <a:gd name="T52" fmla="*/ 174 w 232"/>
                <a:gd name="T53" fmla="*/ 179 h 191"/>
                <a:gd name="T54" fmla="*/ 177 w 232"/>
                <a:gd name="T55" fmla="*/ 178 h 191"/>
                <a:gd name="T56" fmla="*/ 188 w 232"/>
                <a:gd name="T57" fmla="*/ 180 h 191"/>
                <a:gd name="T58" fmla="*/ 219 w 232"/>
                <a:gd name="T59" fmla="*/ 190 h 191"/>
                <a:gd name="T60" fmla="*/ 220 w 232"/>
                <a:gd name="T61" fmla="*/ 182 h 191"/>
                <a:gd name="T62" fmla="*/ 225 w 232"/>
                <a:gd name="T63" fmla="*/ 182 h 191"/>
                <a:gd name="T64" fmla="*/ 225 w 232"/>
                <a:gd name="T65" fmla="*/ 179 h 191"/>
                <a:gd name="T66" fmla="*/ 221 w 232"/>
                <a:gd name="T67" fmla="*/ 179 h 191"/>
                <a:gd name="T68" fmla="*/ 206 w 232"/>
                <a:gd name="T69" fmla="*/ 169 h 191"/>
                <a:gd name="T70" fmla="*/ 208 w 232"/>
                <a:gd name="T71" fmla="*/ 165 h 191"/>
                <a:gd name="T72" fmla="*/ 193 w 232"/>
                <a:gd name="T73" fmla="*/ 158 h 191"/>
                <a:gd name="T74" fmla="*/ 184 w 232"/>
                <a:gd name="T75" fmla="*/ 152 h 191"/>
                <a:gd name="T76" fmla="*/ 170 w 232"/>
                <a:gd name="T77" fmla="*/ 139 h 191"/>
                <a:gd name="T78" fmla="*/ 144 w 232"/>
                <a:gd name="T79" fmla="*/ 111 h 191"/>
                <a:gd name="T80" fmla="*/ 148 w 232"/>
                <a:gd name="T81" fmla="*/ 97 h 191"/>
                <a:gd name="T82" fmla="*/ 161 w 232"/>
                <a:gd name="T83" fmla="*/ 95 h 191"/>
                <a:gd name="T84" fmla="*/ 150 w 232"/>
                <a:gd name="T85" fmla="*/ 78 h 191"/>
                <a:gd name="T86" fmla="*/ 145 w 232"/>
                <a:gd name="T87" fmla="*/ 78 h 191"/>
                <a:gd name="T88" fmla="*/ 118 w 232"/>
                <a:gd name="T89" fmla="*/ 68 h 191"/>
                <a:gd name="T90" fmla="*/ 112 w 232"/>
                <a:gd name="T91" fmla="*/ 56 h 191"/>
                <a:gd name="T92" fmla="*/ 83 w 232"/>
                <a:gd name="T93" fmla="*/ 29 h 1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1" h="191">
                  <a:moveTo>
                    <a:pt x="2" y="0"/>
                  </a:moveTo>
                  <a:cubicBezTo>
                    <a:pt x="2" y="7"/>
                    <a:pt x="2" y="13"/>
                    <a:pt x="3" y="20"/>
                  </a:cubicBezTo>
                  <a:cubicBezTo>
                    <a:pt x="3" y="30"/>
                    <a:pt x="3" y="42"/>
                    <a:pt x="3" y="52"/>
                  </a:cubicBezTo>
                  <a:cubicBezTo>
                    <a:pt x="3" y="56"/>
                    <a:pt x="3" y="56"/>
                    <a:pt x="3" y="56"/>
                  </a:cubicBezTo>
                  <a:cubicBezTo>
                    <a:pt x="3" y="57"/>
                    <a:pt x="3" y="59"/>
                    <a:pt x="2" y="60"/>
                  </a:cubicBezTo>
                  <a:cubicBezTo>
                    <a:pt x="2" y="62"/>
                    <a:pt x="2" y="62"/>
                    <a:pt x="2" y="62"/>
                  </a:cubicBezTo>
                  <a:cubicBezTo>
                    <a:pt x="2" y="66"/>
                    <a:pt x="2" y="70"/>
                    <a:pt x="2" y="75"/>
                  </a:cubicBezTo>
                  <a:cubicBezTo>
                    <a:pt x="0" y="97"/>
                    <a:pt x="0" y="97"/>
                    <a:pt x="0" y="97"/>
                  </a:cubicBezTo>
                  <a:cubicBezTo>
                    <a:pt x="1" y="97"/>
                    <a:pt x="1" y="98"/>
                    <a:pt x="1" y="98"/>
                  </a:cubicBezTo>
                  <a:cubicBezTo>
                    <a:pt x="2" y="99"/>
                    <a:pt x="3" y="100"/>
                    <a:pt x="3" y="101"/>
                  </a:cubicBezTo>
                  <a:cubicBezTo>
                    <a:pt x="3" y="155"/>
                    <a:pt x="3" y="155"/>
                    <a:pt x="3" y="155"/>
                  </a:cubicBezTo>
                  <a:cubicBezTo>
                    <a:pt x="4" y="156"/>
                    <a:pt x="6" y="156"/>
                    <a:pt x="8" y="156"/>
                  </a:cubicBezTo>
                  <a:cubicBezTo>
                    <a:pt x="12" y="156"/>
                    <a:pt x="16" y="156"/>
                    <a:pt x="19" y="155"/>
                  </a:cubicBezTo>
                  <a:cubicBezTo>
                    <a:pt x="23" y="155"/>
                    <a:pt x="26" y="155"/>
                    <a:pt x="28" y="155"/>
                  </a:cubicBezTo>
                  <a:cubicBezTo>
                    <a:pt x="29" y="155"/>
                    <a:pt x="29" y="155"/>
                    <a:pt x="29" y="155"/>
                  </a:cubicBezTo>
                  <a:cubicBezTo>
                    <a:pt x="32" y="155"/>
                    <a:pt x="35" y="157"/>
                    <a:pt x="38" y="158"/>
                  </a:cubicBezTo>
                  <a:cubicBezTo>
                    <a:pt x="38" y="158"/>
                    <a:pt x="38" y="158"/>
                    <a:pt x="39" y="158"/>
                  </a:cubicBezTo>
                  <a:cubicBezTo>
                    <a:pt x="41" y="158"/>
                    <a:pt x="47" y="154"/>
                    <a:pt x="48" y="154"/>
                  </a:cubicBezTo>
                  <a:cubicBezTo>
                    <a:pt x="50" y="153"/>
                    <a:pt x="54" y="152"/>
                    <a:pt x="55" y="150"/>
                  </a:cubicBezTo>
                  <a:cubicBezTo>
                    <a:pt x="57" y="148"/>
                    <a:pt x="56" y="145"/>
                    <a:pt x="54" y="143"/>
                  </a:cubicBezTo>
                  <a:cubicBezTo>
                    <a:pt x="51" y="139"/>
                    <a:pt x="49" y="138"/>
                    <a:pt x="44" y="137"/>
                  </a:cubicBezTo>
                  <a:cubicBezTo>
                    <a:pt x="42" y="136"/>
                    <a:pt x="41" y="134"/>
                    <a:pt x="39" y="134"/>
                  </a:cubicBezTo>
                  <a:cubicBezTo>
                    <a:pt x="39" y="134"/>
                    <a:pt x="39" y="134"/>
                    <a:pt x="39" y="134"/>
                  </a:cubicBezTo>
                  <a:cubicBezTo>
                    <a:pt x="38" y="134"/>
                    <a:pt x="37" y="134"/>
                    <a:pt x="37" y="135"/>
                  </a:cubicBezTo>
                  <a:cubicBezTo>
                    <a:pt x="36" y="135"/>
                    <a:pt x="35" y="135"/>
                    <a:pt x="34" y="135"/>
                  </a:cubicBezTo>
                  <a:cubicBezTo>
                    <a:pt x="34" y="135"/>
                    <a:pt x="33" y="135"/>
                    <a:pt x="33" y="134"/>
                  </a:cubicBezTo>
                  <a:cubicBezTo>
                    <a:pt x="33" y="134"/>
                    <a:pt x="34" y="135"/>
                    <a:pt x="34" y="135"/>
                  </a:cubicBezTo>
                  <a:cubicBezTo>
                    <a:pt x="36" y="135"/>
                    <a:pt x="37" y="134"/>
                    <a:pt x="38" y="134"/>
                  </a:cubicBezTo>
                  <a:cubicBezTo>
                    <a:pt x="39" y="134"/>
                    <a:pt x="41" y="133"/>
                    <a:pt x="42" y="133"/>
                  </a:cubicBezTo>
                  <a:cubicBezTo>
                    <a:pt x="42" y="133"/>
                    <a:pt x="43" y="133"/>
                    <a:pt x="43" y="133"/>
                  </a:cubicBezTo>
                  <a:cubicBezTo>
                    <a:pt x="45" y="134"/>
                    <a:pt x="46" y="134"/>
                    <a:pt x="47" y="134"/>
                  </a:cubicBezTo>
                  <a:cubicBezTo>
                    <a:pt x="47" y="134"/>
                    <a:pt x="48" y="134"/>
                    <a:pt x="49" y="134"/>
                  </a:cubicBezTo>
                  <a:cubicBezTo>
                    <a:pt x="51" y="133"/>
                    <a:pt x="53" y="133"/>
                    <a:pt x="55" y="133"/>
                  </a:cubicBezTo>
                  <a:cubicBezTo>
                    <a:pt x="59" y="132"/>
                    <a:pt x="63" y="133"/>
                    <a:pt x="60" y="129"/>
                  </a:cubicBezTo>
                  <a:cubicBezTo>
                    <a:pt x="59" y="127"/>
                    <a:pt x="57" y="126"/>
                    <a:pt x="55" y="124"/>
                  </a:cubicBezTo>
                  <a:cubicBezTo>
                    <a:pt x="55" y="124"/>
                    <a:pt x="56" y="124"/>
                    <a:pt x="56" y="124"/>
                  </a:cubicBezTo>
                  <a:cubicBezTo>
                    <a:pt x="57" y="124"/>
                    <a:pt x="57" y="126"/>
                    <a:pt x="58" y="126"/>
                  </a:cubicBezTo>
                  <a:cubicBezTo>
                    <a:pt x="58" y="126"/>
                    <a:pt x="59" y="126"/>
                    <a:pt x="59" y="126"/>
                  </a:cubicBezTo>
                  <a:cubicBezTo>
                    <a:pt x="59" y="126"/>
                    <a:pt x="59" y="126"/>
                    <a:pt x="60" y="126"/>
                  </a:cubicBezTo>
                  <a:cubicBezTo>
                    <a:pt x="60" y="126"/>
                    <a:pt x="60" y="126"/>
                    <a:pt x="60" y="126"/>
                  </a:cubicBezTo>
                  <a:cubicBezTo>
                    <a:pt x="60" y="126"/>
                    <a:pt x="61" y="126"/>
                    <a:pt x="61" y="126"/>
                  </a:cubicBezTo>
                  <a:cubicBezTo>
                    <a:pt x="62" y="127"/>
                    <a:pt x="63" y="127"/>
                    <a:pt x="64" y="127"/>
                  </a:cubicBezTo>
                  <a:cubicBezTo>
                    <a:pt x="64" y="127"/>
                    <a:pt x="65" y="127"/>
                    <a:pt x="65" y="127"/>
                  </a:cubicBezTo>
                  <a:cubicBezTo>
                    <a:pt x="67" y="127"/>
                    <a:pt x="69" y="127"/>
                    <a:pt x="67" y="126"/>
                  </a:cubicBezTo>
                  <a:cubicBezTo>
                    <a:pt x="68" y="126"/>
                    <a:pt x="68" y="126"/>
                    <a:pt x="69" y="126"/>
                  </a:cubicBezTo>
                  <a:cubicBezTo>
                    <a:pt x="67" y="122"/>
                    <a:pt x="64" y="118"/>
                    <a:pt x="62" y="114"/>
                  </a:cubicBezTo>
                  <a:cubicBezTo>
                    <a:pt x="63" y="115"/>
                    <a:pt x="64" y="115"/>
                    <a:pt x="65" y="116"/>
                  </a:cubicBezTo>
                  <a:cubicBezTo>
                    <a:pt x="66" y="117"/>
                    <a:pt x="66" y="118"/>
                    <a:pt x="68" y="119"/>
                  </a:cubicBezTo>
                  <a:cubicBezTo>
                    <a:pt x="69" y="120"/>
                    <a:pt x="69" y="120"/>
                    <a:pt x="70" y="120"/>
                  </a:cubicBezTo>
                  <a:cubicBezTo>
                    <a:pt x="71" y="120"/>
                    <a:pt x="72" y="119"/>
                    <a:pt x="73" y="119"/>
                  </a:cubicBezTo>
                  <a:cubicBezTo>
                    <a:pt x="74" y="118"/>
                    <a:pt x="75" y="118"/>
                    <a:pt x="76" y="118"/>
                  </a:cubicBezTo>
                  <a:cubicBezTo>
                    <a:pt x="76" y="118"/>
                    <a:pt x="77" y="118"/>
                    <a:pt x="77" y="118"/>
                  </a:cubicBezTo>
                  <a:cubicBezTo>
                    <a:pt x="78" y="118"/>
                    <a:pt x="78" y="119"/>
                    <a:pt x="79" y="119"/>
                  </a:cubicBezTo>
                  <a:cubicBezTo>
                    <a:pt x="79" y="120"/>
                    <a:pt x="79" y="120"/>
                    <a:pt x="79" y="120"/>
                  </a:cubicBezTo>
                  <a:cubicBezTo>
                    <a:pt x="79" y="121"/>
                    <a:pt x="81" y="121"/>
                    <a:pt x="82" y="122"/>
                  </a:cubicBezTo>
                  <a:cubicBezTo>
                    <a:pt x="80" y="120"/>
                    <a:pt x="80" y="118"/>
                    <a:pt x="80" y="115"/>
                  </a:cubicBezTo>
                  <a:cubicBezTo>
                    <a:pt x="80" y="117"/>
                    <a:pt x="81" y="118"/>
                    <a:pt x="83" y="119"/>
                  </a:cubicBezTo>
                  <a:cubicBezTo>
                    <a:pt x="82" y="117"/>
                    <a:pt x="82" y="116"/>
                    <a:pt x="82" y="115"/>
                  </a:cubicBezTo>
                  <a:cubicBezTo>
                    <a:pt x="83" y="117"/>
                    <a:pt x="84" y="117"/>
                    <a:pt x="85" y="117"/>
                  </a:cubicBezTo>
                  <a:cubicBezTo>
                    <a:pt x="86" y="117"/>
                    <a:pt x="87" y="117"/>
                    <a:pt x="88" y="117"/>
                  </a:cubicBezTo>
                  <a:cubicBezTo>
                    <a:pt x="88" y="117"/>
                    <a:pt x="89" y="117"/>
                    <a:pt x="90" y="117"/>
                  </a:cubicBezTo>
                  <a:cubicBezTo>
                    <a:pt x="90" y="117"/>
                    <a:pt x="90" y="117"/>
                    <a:pt x="90" y="117"/>
                  </a:cubicBezTo>
                  <a:cubicBezTo>
                    <a:pt x="91" y="117"/>
                    <a:pt x="90" y="120"/>
                    <a:pt x="90" y="120"/>
                  </a:cubicBezTo>
                  <a:cubicBezTo>
                    <a:pt x="91" y="122"/>
                    <a:pt x="94" y="122"/>
                    <a:pt x="96" y="122"/>
                  </a:cubicBezTo>
                  <a:cubicBezTo>
                    <a:pt x="101" y="123"/>
                    <a:pt x="107" y="124"/>
                    <a:pt x="112" y="125"/>
                  </a:cubicBezTo>
                  <a:cubicBezTo>
                    <a:pt x="111" y="128"/>
                    <a:pt x="117" y="128"/>
                    <a:pt x="120" y="129"/>
                  </a:cubicBezTo>
                  <a:cubicBezTo>
                    <a:pt x="119" y="131"/>
                    <a:pt x="120" y="131"/>
                    <a:pt x="122" y="132"/>
                  </a:cubicBezTo>
                  <a:cubicBezTo>
                    <a:pt x="123" y="134"/>
                    <a:pt x="123" y="135"/>
                    <a:pt x="124" y="137"/>
                  </a:cubicBezTo>
                  <a:cubicBezTo>
                    <a:pt x="125" y="140"/>
                    <a:pt x="128" y="143"/>
                    <a:pt x="130" y="146"/>
                  </a:cubicBezTo>
                  <a:cubicBezTo>
                    <a:pt x="132" y="149"/>
                    <a:pt x="131" y="150"/>
                    <a:pt x="134" y="151"/>
                  </a:cubicBezTo>
                  <a:cubicBezTo>
                    <a:pt x="135" y="152"/>
                    <a:pt x="136" y="153"/>
                    <a:pt x="137" y="153"/>
                  </a:cubicBezTo>
                  <a:cubicBezTo>
                    <a:pt x="138" y="153"/>
                    <a:pt x="139" y="152"/>
                    <a:pt x="140" y="151"/>
                  </a:cubicBezTo>
                  <a:cubicBezTo>
                    <a:pt x="140" y="152"/>
                    <a:pt x="139" y="153"/>
                    <a:pt x="140" y="155"/>
                  </a:cubicBezTo>
                  <a:cubicBezTo>
                    <a:pt x="141" y="157"/>
                    <a:pt x="142" y="162"/>
                    <a:pt x="144" y="162"/>
                  </a:cubicBezTo>
                  <a:cubicBezTo>
                    <a:pt x="148" y="163"/>
                    <a:pt x="148" y="163"/>
                    <a:pt x="150" y="166"/>
                  </a:cubicBezTo>
                  <a:cubicBezTo>
                    <a:pt x="153" y="170"/>
                    <a:pt x="155" y="175"/>
                    <a:pt x="160" y="177"/>
                  </a:cubicBezTo>
                  <a:cubicBezTo>
                    <a:pt x="162" y="177"/>
                    <a:pt x="163" y="178"/>
                    <a:pt x="164" y="178"/>
                  </a:cubicBezTo>
                  <a:cubicBezTo>
                    <a:pt x="164" y="178"/>
                    <a:pt x="165" y="177"/>
                    <a:pt x="166" y="177"/>
                  </a:cubicBezTo>
                  <a:cubicBezTo>
                    <a:pt x="166" y="177"/>
                    <a:pt x="166" y="177"/>
                    <a:pt x="166" y="177"/>
                  </a:cubicBezTo>
                  <a:cubicBezTo>
                    <a:pt x="169" y="177"/>
                    <a:pt x="171" y="179"/>
                    <a:pt x="174" y="179"/>
                  </a:cubicBezTo>
                  <a:cubicBezTo>
                    <a:pt x="174" y="179"/>
                    <a:pt x="174" y="179"/>
                    <a:pt x="174" y="179"/>
                  </a:cubicBezTo>
                  <a:cubicBezTo>
                    <a:pt x="174" y="179"/>
                    <a:pt x="175" y="179"/>
                    <a:pt x="175" y="179"/>
                  </a:cubicBezTo>
                  <a:cubicBezTo>
                    <a:pt x="176" y="178"/>
                    <a:pt x="176" y="178"/>
                    <a:pt x="177" y="178"/>
                  </a:cubicBezTo>
                  <a:cubicBezTo>
                    <a:pt x="177" y="178"/>
                    <a:pt x="177" y="178"/>
                    <a:pt x="177" y="178"/>
                  </a:cubicBezTo>
                  <a:cubicBezTo>
                    <a:pt x="179" y="178"/>
                    <a:pt x="181" y="179"/>
                    <a:pt x="183" y="180"/>
                  </a:cubicBezTo>
                  <a:cubicBezTo>
                    <a:pt x="184" y="180"/>
                    <a:pt x="185" y="180"/>
                    <a:pt x="186" y="180"/>
                  </a:cubicBezTo>
                  <a:cubicBezTo>
                    <a:pt x="187" y="180"/>
                    <a:pt x="187" y="180"/>
                    <a:pt x="188" y="180"/>
                  </a:cubicBezTo>
                  <a:cubicBezTo>
                    <a:pt x="188" y="180"/>
                    <a:pt x="189" y="180"/>
                    <a:pt x="189" y="180"/>
                  </a:cubicBezTo>
                  <a:cubicBezTo>
                    <a:pt x="196" y="180"/>
                    <a:pt x="210" y="181"/>
                    <a:pt x="214" y="187"/>
                  </a:cubicBezTo>
                  <a:cubicBezTo>
                    <a:pt x="217" y="191"/>
                    <a:pt x="216" y="190"/>
                    <a:pt x="219" y="190"/>
                  </a:cubicBezTo>
                  <a:cubicBezTo>
                    <a:pt x="220" y="190"/>
                    <a:pt x="220" y="190"/>
                    <a:pt x="220" y="190"/>
                  </a:cubicBezTo>
                  <a:cubicBezTo>
                    <a:pt x="222" y="190"/>
                    <a:pt x="224" y="189"/>
                    <a:pt x="226" y="188"/>
                  </a:cubicBezTo>
                  <a:cubicBezTo>
                    <a:pt x="224" y="186"/>
                    <a:pt x="222" y="184"/>
                    <a:pt x="220" y="182"/>
                  </a:cubicBezTo>
                  <a:cubicBezTo>
                    <a:pt x="220" y="181"/>
                    <a:pt x="221" y="181"/>
                    <a:pt x="221" y="181"/>
                  </a:cubicBezTo>
                  <a:cubicBezTo>
                    <a:pt x="222" y="181"/>
                    <a:pt x="223" y="182"/>
                    <a:pt x="224" y="182"/>
                  </a:cubicBezTo>
                  <a:cubicBezTo>
                    <a:pt x="225" y="182"/>
                    <a:pt x="225" y="182"/>
                    <a:pt x="225" y="182"/>
                  </a:cubicBezTo>
                  <a:cubicBezTo>
                    <a:pt x="228" y="182"/>
                    <a:pt x="229" y="181"/>
                    <a:pt x="232" y="179"/>
                  </a:cubicBezTo>
                  <a:cubicBezTo>
                    <a:pt x="230" y="180"/>
                    <a:pt x="230" y="180"/>
                    <a:pt x="229" y="180"/>
                  </a:cubicBezTo>
                  <a:cubicBezTo>
                    <a:pt x="228" y="180"/>
                    <a:pt x="227" y="180"/>
                    <a:pt x="225" y="179"/>
                  </a:cubicBezTo>
                  <a:cubicBezTo>
                    <a:pt x="224" y="179"/>
                    <a:pt x="224" y="179"/>
                    <a:pt x="223" y="179"/>
                  </a:cubicBezTo>
                  <a:cubicBezTo>
                    <a:pt x="223" y="179"/>
                    <a:pt x="223" y="179"/>
                    <a:pt x="222" y="179"/>
                  </a:cubicBezTo>
                  <a:cubicBezTo>
                    <a:pt x="222" y="179"/>
                    <a:pt x="222" y="179"/>
                    <a:pt x="221" y="179"/>
                  </a:cubicBezTo>
                  <a:cubicBezTo>
                    <a:pt x="221" y="179"/>
                    <a:pt x="220" y="179"/>
                    <a:pt x="219" y="179"/>
                  </a:cubicBezTo>
                  <a:cubicBezTo>
                    <a:pt x="215" y="177"/>
                    <a:pt x="211" y="174"/>
                    <a:pt x="208" y="172"/>
                  </a:cubicBezTo>
                  <a:cubicBezTo>
                    <a:pt x="205" y="171"/>
                    <a:pt x="204" y="171"/>
                    <a:pt x="206" y="169"/>
                  </a:cubicBezTo>
                  <a:cubicBezTo>
                    <a:pt x="208" y="167"/>
                    <a:pt x="211" y="170"/>
                    <a:pt x="211" y="165"/>
                  </a:cubicBezTo>
                  <a:cubicBezTo>
                    <a:pt x="211" y="165"/>
                    <a:pt x="210" y="166"/>
                    <a:pt x="209" y="166"/>
                  </a:cubicBezTo>
                  <a:cubicBezTo>
                    <a:pt x="209" y="166"/>
                    <a:pt x="209" y="166"/>
                    <a:pt x="208" y="165"/>
                  </a:cubicBezTo>
                  <a:cubicBezTo>
                    <a:pt x="205" y="165"/>
                    <a:pt x="199" y="165"/>
                    <a:pt x="197" y="163"/>
                  </a:cubicBezTo>
                  <a:cubicBezTo>
                    <a:pt x="196" y="162"/>
                    <a:pt x="192" y="160"/>
                    <a:pt x="192" y="159"/>
                  </a:cubicBezTo>
                  <a:cubicBezTo>
                    <a:pt x="192" y="158"/>
                    <a:pt x="193" y="158"/>
                    <a:pt x="193" y="158"/>
                  </a:cubicBezTo>
                  <a:cubicBezTo>
                    <a:pt x="193" y="156"/>
                    <a:pt x="195" y="152"/>
                    <a:pt x="195" y="151"/>
                  </a:cubicBezTo>
                  <a:cubicBezTo>
                    <a:pt x="195" y="150"/>
                    <a:pt x="194" y="150"/>
                    <a:pt x="193" y="150"/>
                  </a:cubicBezTo>
                  <a:cubicBezTo>
                    <a:pt x="190" y="150"/>
                    <a:pt x="186" y="152"/>
                    <a:pt x="184" y="152"/>
                  </a:cubicBezTo>
                  <a:cubicBezTo>
                    <a:pt x="183" y="152"/>
                    <a:pt x="183" y="152"/>
                    <a:pt x="182" y="152"/>
                  </a:cubicBezTo>
                  <a:cubicBezTo>
                    <a:pt x="178" y="152"/>
                    <a:pt x="178" y="151"/>
                    <a:pt x="176" y="147"/>
                  </a:cubicBezTo>
                  <a:cubicBezTo>
                    <a:pt x="174" y="144"/>
                    <a:pt x="171" y="142"/>
                    <a:pt x="170" y="139"/>
                  </a:cubicBezTo>
                  <a:cubicBezTo>
                    <a:pt x="169" y="138"/>
                    <a:pt x="170" y="138"/>
                    <a:pt x="170" y="137"/>
                  </a:cubicBezTo>
                  <a:cubicBezTo>
                    <a:pt x="169" y="135"/>
                    <a:pt x="167" y="132"/>
                    <a:pt x="166" y="130"/>
                  </a:cubicBezTo>
                  <a:cubicBezTo>
                    <a:pt x="161" y="121"/>
                    <a:pt x="148" y="120"/>
                    <a:pt x="144" y="111"/>
                  </a:cubicBezTo>
                  <a:cubicBezTo>
                    <a:pt x="143" y="108"/>
                    <a:pt x="137" y="100"/>
                    <a:pt x="141" y="97"/>
                  </a:cubicBezTo>
                  <a:cubicBezTo>
                    <a:pt x="142" y="96"/>
                    <a:pt x="143" y="96"/>
                    <a:pt x="144" y="96"/>
                  </a:cubicBezTo>
                  <a:cubicBezTo>
                    <a:pt x="145" y="96"/>
                    <a:pt x="147" y="96"/>
                    <a:pt x="148" y="97"/>
                  </a:cubicBezTo>
                  <a:cubicBezTo>
                    <a:pt x="150" y="97"/>
                    <a:pt x="151" y="97"/>
                    <a:pt x="153" y="97"/>
                  </a:cubicBezTo>
                  <a:cubicBezTo>
                    <a:pt x="153" y="97"/>
                    <a:pt x="153" y="97"/>
                    <a:pt x="153" y="97"/>
                  </a:cubicBezTo>
                  <a:cubicBezTo>
                    <a:pt x="155" y="97"/>
                    <a:pt x="159" y="97"/>
                    <a:pt x="161" y="95"/>
                  </a:cubicBezTo>
                  <a:cubicBezTo>
                    <a:pt x="162" y="94"/>
                    <a:pt x="161" y="89"/>
                    <a:pt x="160" y="87"/>
                  </a:cubicBezTo>
                  <a:cubicBezTo>
                    <a:pt x="160" y="86"/>
                    <a:pt x="158" y="85"/>
                    <a:pt x="158" y="85"/>
                  </a:cubicBezTo>
                  <a:cubicBezTo>
                    <a:pt x="155" y="82"/>
                    <a:pt x="153" y="80"/>
                    <a:pt x="150" y="78"/>
                  </a:cubicBezTo>
                  <a:cubicBezTo>
                    <a:pt x="150" y="78"/>
                    <a:pt x="149" y="78"/>
                    <a:pt x="148" y="78"/>
                  </a:cubicBezTo>
                  <a:cubicBezTo>
                    <a:pt x="148" y="78"/>
                    <a:pt x="147" y="78"/>
                    <a:pt x="147" y="78"/>
                  </a:cubicBezTo>
                  <a:cubicBezTo>
                    <a:pt x="146" y="78"/>
                    <a:pt x="146" y="78"/>
                    <a:pt x="145" y="78"/>
                  </a:cubicBezTo>
                  <a:cubicBezTo>
                    <a:pt x="145" y="78"/>
                    <a:pt x="145" y="78"/>
                    <a:pt x="145" y="78"/>
                  </a:cubicBezTo>
                  <a:cubicBezTo>
                    <a:pt x="139" y="78"/>
                    <a:pt x="134" y="72"/>
                    <a:pt x="129" y="71"/>
                  </a:cubicBezTo>
                  <a:cubicBezTo>
                    <a:pt x="125" y="70"/>
                    <a:pt x="122" y="69"/>
                    <a:pt x="118" y="68"/>
                  </a:cubicBezTo>
                  <a:cubicBezTo>
                    <a:pt x="117" y="68"/>
                    <a:pt x="112" y="68"/>
                    <a:pt x="111" y="67"/>
                  </a:cubicBezTo>
                  <a:cubicBezTo>
                    <a:pt x="110" y="65"/>
                    <a:pt x="112" y="63"/>
                    <a:pt x="112" y="61"/>
                  </a:cubicBezTo>
                  <a:cubicBezTo>
                    <a:pt x="113" y="60"/>
                    <a:pt x="113" y="57"/>
                    <a:pt x="112" y="56"/>
                  </a:cubicBezTo>
                  <a:cubicBezTo>
                    <a:pt x="111" y="51"/>
                    <a:pt x="106" y="47"/>
                    <a:pt x="103" y="43"/>
                  </a:cubicBezTo>
                  <a:cubicBezTo>
                    <a:pt x="101" y="40"/>
                    <a:pt x="100" y="42"/>
                    <a:pt x="98" y="41"/>
                  </a:cubicBezTo>
                  <a:cubicBezTo>
                    <a:pt x="92" y="38"/>
                    <a:pt x="85" y="35"/>
                    <a:pt x="83" y="29"/>
                  </a:cubicBezTo>
                  <a:cubicBezTo>
                    <a:pt x="82" y="27"/>
                    <a:pt x="80" y="28"/>
                    <a:pt x="79" y="27"/>
                  </a:cubicBezTo>
                  <a:cubicBezTo>
                    <a:pt x="53" y="19"/>
                    <a:pt x="28" y="1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1507"/>
            <p:cNvSpPr/>
            <p:nvPr/>
          </p:nvSpPr>
          <p:spPr bwMode="auto">
            <a:xfrm>
              <a:off x="5172019" y="4935774"/>
              <a:ext cx="742312" cy="649691"/>
            </a:xfrm>
            <a:custGeom>
              <a:gdLst>
                <a:gd name="T0" fmla="*/ 12 w 234"/>
                <a:gd name="T1" fmla="*/ 10 h 205"/>
                <a:gd name="T2" fmla="*/ 17 w 234"/>
                <a:gd name="T3" fmla="*/ 27 h 205"/>
                <a:gd name="T4" fmla="*/ 24 w 234"/>
                <a:gd name="T5" fmla="*/ 35 h 205"/>
                <a:gd name="T6" fmla="*/ 33 w 234"/>
                <a:gd name="T7" fmla="*/ 45 h 205"/>
                <a:gd name="T8" fmla="*/ 38 w 234"/>
                <a:gd name="T9" fmla="*/ 44 h 205"/>
                <a:gd name="T10" fmla="*/ 53 w 234"/>
                <a:gd name="T11" fmla="*/ 44 h 205"/>
                <a:gd name="T12" fmla="*/ 60 w 234"/>
                <a:gd name="T13" fmla="*/ 44 h 205"/>
                <a:gd name="T14" fmla="*/ 70 w 234"/>
                <a:gd name="T15" fmla="*/ 42 h 205"/>
                <a:gd name="T16" fmla="*/ 69 w 234"/>
                <a:gd name="T17" fmla="*/ 46 h 205"/>
                <a:gd name="T18" fmla="*/ 70 w 234"/>
                <a:gd name="T19" fmla="*/ 46 h 205"/>
                <a:gd name="T20" fmla="*/ 72 w 234"/>
                <a:gd name="T21" fmla="*/ 48 h 205"/>
                <a:gd name="T22" fmla="*/ 65 w 234"/>
                <a:gd name="T23" fmla="*/ 56 h 205"/>
                <a:gd name="T24" fmla="*/ 58 w 234"/>
                <a:gd name="T25" fmla="*/ 55 h 205"/>
                <a:gd name="T26" fmla="*/ 45 w 234"/>
                <a:gd name="T27" fmla="*/ 56 h 205"/>
                <a:gd name="T28" fmla="*/ 37 w 234"/>
                <a:gd name="T29" fmla="*/ 56 h 205"/>
                <a:gd name="T30" fmla="*/ 32 w 234"/>
                <a:gd name="T31" fmla="*/ 55 h 205"/>
                <a:gd name="T32" fmla="*/ 35 w 234"/>
                <a:gd name="T33" fmla="*/ 63 h 205"/>
                <a:gd name="T34" fmla="*/ 46 w 234"/>
                <a:gd name="T35" fmla="*/ 76 h 205"/>
                <a:gd name="T36" fmla="*/ 47 w 234"/>
                <a:gd name="T37" fmla="*/ 89 h 205"/>
                <a:gd name="T38" fmla="*/ 53 w 234"/>
                <a:gd name="T39" fmla="*/ 88 h 205"/>
                <a:gd name="T40" fmla="*/ 67 w 234"/>
                <a:gd name="T41" fmla="*/ 66 h 205"/>
                <a:gd name="T42" fmla="*/ 64 w 234"/>
                <a:gd name="T43" fmla="*/ 77 h 205"/>
                <a:gd name="T44" fmla="*/ 72 w 234"/>
                <a:gd name="T45" fmla="*/ 82 h 205"/>
                <a:gd name="T46" fmla="*/ 80 w 234"/>
                <a:gd name="T47" fmla="*/ 83 h 205"/>
                <a:gd name="T48" fmla="*/ 89 w 234"/>
                <a:gd name="T49" fmla="*/ 84 h 205"/>
                <a:gd name="T50" fmla="*/ 90 w 234"/>
                <a:gd name="T51" fmla="*/ 85 h 205"/>
                <a:gd name="T52" fmla="*/ 167 w 234"/>
                <a:gd name="T53" fmla="*/ 121 h 205"/>
                <a:gd name="T54" fmla="*/ 169 w 234"/>
                <a:gd name="T55" fmla="*/ 127 h 205"/>
                <a:gd name="T56" fmla="*/ 175 w 234"/>
                <a:gd name="T57" fmla="*/ 130 h 205"/>
                <a:gd name="T58" fmla="*/ 182 w 234"/>
                <a:gd name="T59" fmla="*/ 149 h 205"/>
                <a:gd name="T60" fmla="*/ 180 w 234"/>
                <a:gd name="T61" fmla="*/ 154 h 205"/>
                <a:gd name="T62" fmla="*/ 189 w 234"/>
                <a:gd name="T63" fmla="*/ 162 h 205"/>
                <a:gd name="T64" fmla="*/ 183 w 234"/>
                <a:gd name="T65" fmla="*/ 162 h 205"/>
                <a:gd name="T66" fmla="*/ 190 w 234"/>
                <a:gd name="T67" fmla="*/ 170 h 205"/>
                <a:gd name="T68" fmla="*/ 188 w 234"/>
                <a:gd name="T69" fmla="*/ 183 h 205"/>
                <a:gd name="T70" fmla="*/ 195 w 234"/>
                <a:gd name="T71" fmla="*/ 183 h 205"/>
                <a:gd name="T72" fmla="*/ 198 w 234"/>
                <a:gd name="T73" fmla="*/ 185 h 205"/>
                <a:gd name="T74" fmla="*/ 210 w 234"/>
                <a:gd name="T75" fmla="*/ 183 h 205"/>
                <a:gd name="T76" fmla="*/ 212 w 234"/>
                <a:gd name="T77" fmla="*/ 184 h 205"/>
                <a:gd name="T78" fmla="*/ 233 w 234"/>
                <a:gd name="T79" fmla="*/ 156 h 205"/>
                <a:gd name="T80" fmla="*/ 234 w 234"/>
                <a:gd name="T81" fmla="*/ 116 h 205"/>
                <a:gd name="T82" fmla="*/ 234 w 234"/>
                <a:gd name="T83" fmla="*/ 74 h 205"/>
                <a:gd name="T84" fmla="*/ 218 w 234"/>
                <a:gd name="T85" fmla="*/ 48 h 205"/>
                <a:gd name="T86" fmla="*/ 209 w 234"/>
                <a:gd name="T87" fmla="*/ 48 h 205"/>
                <a:gd name="T88" fmla="*/ 163 w 234"/>
                <a:gd name="T89" fmla="*/ 27 h 205"/>
                <a:gd name="T90" fmla="*/ 147 w 234"/>
                <a:gd name="T91" fmla="*/ 39 h 205"/>
                <a:gd name="T92" fmla="*/ 133 w 234"/>
                <a:gd name="T93" fmla="*/ 45 h 205"/>
                <a:gd name="T94" fmla="*/ 116 w 234"/>
                <a:gd name="T95" fmla="*/ 63 h 205"/>
                <a:gd name="T96" fmla="*/ 108 w 234"/>
                <a:gd name="T97" fmla="*/ 70 h 205"/>
                <a:gd name="T98" fmla="*/ 89 w 234"/>
                <a:gd name="T99" fmla="*/ 62 h 205"/>
                <a:gd name="T100" fmla="*/ 83 w 234"/>
                <a:gd name="T101" fmla="*/ 54 h 205"/>
                <a:gd name="T102" fmla="*/ 77 w 234"/>
                <a:gd name="T103" fmla="*/ 44 h 205"/>
                <a:gd name="T104" fmla="*/ 78 w 234"/>
                <a:gd name="T105" fmla="*/ 22 h 205"/>
                <a:gd name="T106" fmla="*/ 56 w 234"/>
                <a:gd name="T107" fmla="*/ 8 h 2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205">
                  <a:moveTo>
                    <a:pt x="37" y="0"/>
                  </a:moveTo>
                  <a:cubicBezTo>
                    <a:pt x="35" y="0"/>
                    <a:pt x="33" y="1"/>
                    <a:pt x="31" y="2"/>
                  </a:cubicBezTo>
                  <a:cubicBezTo>
                    <a:pt x="28" y="4"/>
                    <a:pt x="25" y="7"/>
                    <a:pt x="22" y="8"/>
                  </a:cubicBezTo>
                  <a:cubicBezTo>
                    <a:pt x="19" y="10"/>
                    <a:pt x="15" y="9"/>
                    <a:pt x="12" y="10"/>
                  </a:cubicBezTo>
                  <a:cubicBezTo>
                    <a:pt x="11" y="10"/>
                    <a:pt x="8" y="11"/>
                    <a:pt x="7" y="11"/>
                  </a:cubicBezTo>
                  <a:cubicBezTo>
                    <a:pt x="7" y="12"/>
                    <a:pt x="8" y="14"/>
                    <a:pt x="8" y="15"/>
                  </a:cubicBezTo>
                  <a:cubicBezTo>
                    <a:pt x="7" y="18"/>
                    <a:pt x="2" y="23"/>
                    <a:pt x="0" y="25"/>
                  </a:cubicBezTo>
                  <a:cubicBezTo>
                    <a:pt x="6" y="26"/>
                    <a:pt x="11" y="27"/>
                    <a:pt x="17" y="27"/>
                  </a:cubicBezTo>
                  <a:cubicBezTo>
                    <a:pt x="19" y="28"/>
                    <a:pt x="21" y="28"/>
                    <a:pt x="23" y="28"/>
                  </a:cubicBezTo>
                  <a:cubicBezTo>
                    <a:pt x="23" y="28"/>
                    <a:pt x="24" y="28"/>
                    <a:pt x="24" y="28"/>
                  </a:cubicBezTo>
                  <a:cubicBezTo>
                    <a:pt x="22" y="29"/>
                    <a:pt x="22" y="31"/>
                    <a:pt x="23" y="32"/>
                  </a:cubicBezTo>
                  <a:cubicBezTo>
                    <a:pt x="24" y="34"/>
                    <a:pt x="23" y="34"/>
                    <a:pt x="24" y="35"/>
                  </a:cubicBezTo>
                  <a:cubicBezTo>
                    <a:pt x="24" y="40"/>
                    <a:pt x="27" y="42"/>
                    <a:pt x="31" y="45"/>
                  </a:cubicBezTo>
                  <a:cubicBezTo>
                    <a:pt x="31" y="45"/>
                    <a:pt x="32" y="45"/>
                    <a:pt x="32" y="45"/>
                  </a:cubicBezTo>
                  <a:cubicBezTo>
                    <a:pt x="32" y="45"/>
                    <a:pt x="32" y="45"/>
                    <a:pt x="32" y="45"/>
                  </a:cubicBezTo>
                  <a:cubicBezTo>
                    <a:pt x="33" y="45"/>
                    <a:pt x="33" y="45"/>
                    <a:pt x="33" y="45"/>
                  </a:cubicBezTo>
                  <a:cubicBezTo>
                    <a:pt x="33" y="45"/>
                    <a:pt x="33" y="45"/>
                    <a:pt x="33" y="45"/>
                  </a:cubicBezTo>
                  <a:cubicBezTo>
                    <a:pt x="33" y="45"/>
                    <a:pt x="33" y="45"/>
                    <a:pt x="33" y="45"/>
                  </a:cubicBezTo>
                  <a:cubicBezTo>
                    <a:pt x="35" y="45"/>
                    <a:pt x="36" y="44"/>
                    <a:pt x="38" y="44"/>
                  </a:cubicBezTo>
                  <a:cubicBezTo>
                    <a:pt x="38" y="44"/>
                    <a:pt x="38" y="44"/>
                    <a:pt x="38" y="44"/>
                  </a:cubicBezTo>
                  <a:cubicBezTo>
                    <a:pt x="40" y="44"/>
                    <a:pt x="41" y="44"/>
                    <a:pt x="43" y="45"/>
                  </a:cubicBezTo>
                  <a:cubicBezTo>
                    <a:pt x="45" y="45"/>
                    <a:pt x="46" y="46"/>
                    <a:pt x="47" y="46"/>
                  </a:cubicBezTo>
                  <a:cubicBezTo>
                    <a:pt x="47" y="46"/>
                    <a:pt x="47" y="46"/>
                    <a:pt x="47" y="46"/>
                  </a:cubicBezTo>
                  <a:cubicBezTo>
                    <a:pt x="49" y="46"/>
                    <a:pt x="52" y="44"/>
                    <a:pt x="53" y="44"/>
                  </a:cubicBezTo>
                  <a:cubicBezTo>
                    <a:pt x="54" y="44"/>
                    <a:pt x="54" y="44"/>
                    <a:pt x="54" y="44"/>
                  </a:cubicBezTo>
                  <a:cubicBezTo>
                    <a:pt x="54" y="44"/>
                    <a:pt x="55" y="44"/>
                    <a:pt x="56" y="44"/>
                  </a:cubicBezTo>
                  <a:cubicBezTo>
                    <a:pt x="57" y="44"/>
                    <a:pt x="58" y="45"/>
                    <a:pt x="59" y="45"/>
                  </a:cubicBezTo>
                  <a:cubicBezTo>
                    <a:pt x="59" y="45"/>
                    <a:pt x="60" y="44"/>
                    <a:pt x="60" y="44"/>
                  </a:cubicBezTo>
                  <a:cubicBezTo>
                    <a:pt x="61" y="44"/>
                    <a:pt x="61" y="44"/>
                    <a:pt x="62" y="44"/>
                  </a:cubicBezTo>
                  <a:cubicBezTo>
                    <a:pt x="63" y="44"/>
                    <a:pt x="64" y="44"/>
                    <a:pt x="66" y="43"/>
                  </a:cubicBezTo>
                  <a:cubicBezTo>
                    <a:pt x="67" y="42"/>
                    <a:pt x="68" y="42"/>
                    <a:pt x="70" y="42"/>
                  </a:cubicBezTo>
                  <a:cubicBezTo>
                    <a:pt x="70" y="42"/>
                    <a:pt x="70" y="42"/>
                    <a:pt x="70" y="42"/>
                  </a:cubicBezTo>
                  <a:cubicBezTo>
                    <a:pt x="70" y="42"/>
                    <a:pt x="67" y="45"/>
                    <a:pt x="67" y="46"/>
                  </a:cubicBezTo>
                  <a:cubicBezTo>
                    <a:pt x="67" y="46"/>
                    <a:pt x="68" y="46"/>
                    <a:pt x="68" y="46"/>
                  </a:cubicBezTo>
                  <a:cubicBezTo>
                    <a:pt x="68" y="46"/>
                    <a:pt x="68" y="46"/>
                    <a:pt x="68" y="46"/>
                  </a:cubicBezTo>
                  <a:cubicBezTo>
                    <a:pt x="68" y="46"/>
                    <a:pt x="68" y="46"/>
                    <a:pt x="69" y="46"/>
                  </a:cubicBezTo>
                  <a:cubicBezTo>
                    <a:pt x="69" y="46"/>
                    <a:pt x="69" y="46"/>
                    <a:pt x="69" y="46"/>
                  </a:cubicBezTo>
                  <a:cubicBezTo>
                    <a:pt x="69" y="46"/>
                    <a:pt x="69" y="46"/>
                    <a:pt x="69" y="46"/>
                  </a:cubicBezTo>
                  <a:cubicBezTo>
                    <a:pt x="69" y="46"/>
                    <a:pt x="69" y="46"/>
                    <a:pt x="69" y="46"/>
                  </a:cubicBezTo>
                  <a:cubicBezTo>
                    <a:pt x="70" y="46"/>
                    <a:pt x="70" y="46"/>
                    <a:pt x="70" y="46"/>
                  </a:cubicBezTo>
                  <a:cubicBezTo>
                    <a:pt x="71" y="46"/>
                    <a:pt x="71" y="46"/>
                    <a:pt x="69" y="47"/>
                  </a:cubicBezTo>
                  <a:cubicBezTo>
                    <a:pt x="70" y="47"/>
                    <a:pt x="70" y="47"/>
                    <a:pt x="71" y="47"/>
                  </a:cubicBezTo>
                  <a:cubicBezTo>
                    <a:pt x="70" y="47"/>
                    <a:pt x="70" y="48"/>
                    <a:pt x="70" y="48"/>
                  </a:cubicBezTo>
                  <a:cubicBezTo>
                    <a:pt x="70" y="48"/>
                    <a:pt x="71" y="48"/>
                    <a:pt x="72" y="48"/>
                  </a:cubicBezTo>
                  <a:cubicBezTo>
                    <a:pt x="72" y="48"/>
                    <a:pt x="72" y="48"/>
                    <a:pt x="72" y="48"/>
                  </a:cubicBezTo>
                  <a:cubicBezTo>
                    <a:pt x="69" y="50"/>
                    <a:pt x="68" y="51"/>
                    <a:pt x="68" y="54"/>
                  </a:cubicBezTo>
                  <a:cubicBezTo>
                    <a:pt x="67" y="53"/>
                    <a:pt x="66" y="52"/>
                    <a:pt x="66" y="51"/>
                  </a:cubicBezTo>
                  <a:cubicBezTo>
                    <a:pt x="65" y="53"/>
                    <a:pt x="64" y="54"/>
                    <a:pt x="65" y="56"/>
                  </a:cubicBezTo>
                  <a:cubicBezTo>
                    <a:pt x="64" y="53"/>
                    <a:pt x="64" y="52"/>
                    <a:pt x="63" y="52"/>
                  </a:cubicBezTo>
                  <a:cubicBezTo>
                    <a:pt x="62" y="52"/>
                    <a:pt x="61" y="53"/>
                    <a:pt x="59" y="54"/>
                  </a:cubicBezTo>
                  <a:cubicBezTo>
                    <a:pt x="59" y="53"/>
                    <a:pt x="59" y="52"/>
                    <a:pt x="59" y="51"/>
                  </a:cubicBezTo>
                  <a:cubicBezTo>
                    <a:pt x="58" y="52"/>
                    <a:pt x="58" y="54"/>
                    <a:pt x="58" y="55"/>
                  </a:cubicBezTo>
                  <a:cubicBezTo>
                    <a:pt x="58" y="55"/>
                    <a:pt x="58" y="55"/>
                    <a:pt x="58" y="55"/>
                  </a:cubicBezTo>
                  <a:cubicBezTo>
                    <a:pt x="57" y="53"/>
                    <a:pt x="58" y="50"/>
                    <a:pt x="55" y="50"/>
                  </a:cubicBezTo>
                  <a:cubicBezTo>
                    <a:pt x="54" y="50"/>
                    <a:pt x="54" y="50"/>
                    <a:pt x="53" y="50"/>
                  </a:cubicBezTo>
                  <a:cubicBezTo>
                    <a:pt x="49" y="50"/>
                    <a:pt x="48" y="53"/>
                    <a:pt x="45" y="56"/>
                  </a:cubicBezTo>
                  <a:cubicBezTo>
                    <a:pt x="44" y="57"/>
                    <a:pt x="43" y="58"/>
                    <a:pt x="42" y="58"/>
                  </a:cubicBezTo>
                  <a:cubicBezTo>
                    <a:pt x="41" y="58"/>
                    <a:pt x="41" y="58"/>
                    <a:pt x="40" y="57"/>
                  </a:cubicBezTo>
                  <a:cubicBezTo>
                    <a:pt x="39" y="57"/>
                    <a:pt x="39" y="56"/>
                    <a:pt x="38" y="56"/>
                  </a:cubicBezTo>
                  <a:cubicBezTo>
                    <a:pt x="38" y="56"/>
                    <a:pt x="37" y="56"/>
                    <a:pt x="37" y="56"/>
                  </a:cubicBezTo>
                  <a:cubicBezTo>
                    <a:pt x="37" y="56"/>
                    <a:pt x="36" y="56"/>
                    <a:pt x="36" y="56"/>
                  </a:cubicBezTo>
                  <a:cubicBezTo>
                    <a:pt x="36" y="57"/>
                    <a:pt x="35" y="57"/>
                    <a:pt x="35" y="57"/>
                  </a:cubicBezTo>
                  <a:cubicBezTo>
                    <a:pt x="35" y="57"/>
                    <a:pt x="35" y="57"/>
                    <a:pt x="35" y="57"/>
                  </a:cubicBezTo>
                  <a:cubicBezTo>
                    <a:pt x="35" y="57"/>
                    <a:pt x="33" y="55"/>
                    <a:pt x="32" y="55"/>
                  </a:cubicBezTo>
                  <a:cubicBezTo>
                    <a:pt x="32" y="55"/>
                    <a:pt x="31" y="55"/>
                    <a:pt x="31" y="55"/>
                  </a:cubicBezTo>
                  <a:cubicBezTo>
                    <a:pt x="30" y="55"/>
                    <a:pt x="29" y="55"/>
                    <a:pt x="29" y="55"/>
                  </a:cubicBezTo>
                  <a:cubicBezTo>
                    <a:pt x="27" y="56"/>
                    <a:pt x="26" y="57"/>
                    <a:pt x="24" y="57"/>
                  </a:cubicBezTo>
                  <a:cubicBezTo>
                    <a:pt x="28" y="60"/>
                    <a:pt x="31" y="61"/>
                    <a:pt x="35" y="63"/>
                  </a:cubicBezTo>
                  <a:cubicBezTo>
                    <a:pt x="38" y="65"/>
                    <a:pt x="39" y="68"/>
                    <a:pt x="42" y="70"/>
                  </a:cubicBezTo>
                  <a:cubicBezTo>
                    <a:pt x="42" y="69"/>
                    <a:pt x="42" y="69"/>
                    <a:pt x="43" y="69"/>
                  </a:cubicBezTo>
                  <a:cubicBezTo>
                    <a:pt x="43" y="69"/>
                    <a:pt x="44" y="69"/>
                    <a:pt x="44" y="70"/>
                  </a:cubicBezTo>
                  <a:cubicBezTo>
                    <a:pt x="45" y="71"/>
                    <a:pt x="47" y="75"/>
                    <a:pt x="46" y="76"/>
                  </a:cubicBezTo>
                  <a:cubicBezTo>
                    <a:pt x="46" y="77"/>
                    <a:pt x="44" y="77"/>
                    <a:pt x="43" y="77"/>
                  </a:cubicBezTo>
                  <a:cubicBezTo>
                    <a:pt x="42" y="79"/>
                    <a:pt x="43" y="84"/>
                    <a:pt x="45" y="86"/>
                  </a:cubicBezTo>
                  <a:cubicBezTo>
                    <a:pt x="46" y="88"/>
                    <a:pt x="46" y="88"/>
                    <a:pt x="46" y="88"/>
                  </a:cubicBezTo>
                  <a:cubicBezTo>
                    <a:pt x="47" y="89"/>
                    <a:pt x="47" y="89"/>
                    <a:pt x="47" y="89"/>
                  </a:cubicBezTo>
                  <a:cubicBezTo>
                    <a:pt x="48" y="89"/>
                    <a:pt x="49" y="88"/>
                    <a:pt x="50" y="88"/>
                  </a:cubicBezTo>
                  <a:cubicBezTo>
                    <a:pt x="50" y="88"/>
                    <a:pt x="50" y="88"/>
                    <a:pt x="50" y="88"/>
                  </a:cubicBezTo>
                  <a:cubicBezTo>
                    <a:pt x="51" y="88"/>
                    <a:pt x="51" y="88"/>
                    <a:pt x="52" y="88"/>
                  </a:cubicBezTo>
                  <a:cubicBezTo>
                    <a:pt x="52" y="88"/>
                    <a:pt x="52" y="88"/>
                    <a:pt x="53" y="88"/>
                  </a:cubicBezTo>
                  <a:cubicBezTo>
                    <a:pt x="53" y="88"/>
                    <a:pt x="53" y="88"/>
                    <a:pt x="53" y="88"/>
                  </a:cubicBezTo>
                  <a:cubicBezTo>
                    <a:pt x="57" y="87"/>
                    <a:pt x="58" y="81"/>
                    <a:pt x="59" y="79"/>
                  </a:cubicBezTo>
                  <a:cubicBezTo>
                    <a:pt x="62" y="73"/>
                    <a:pt x="64" y="65"/>
                    <a:pt x="69" y="62"/>
                  </a:cubicBezTo>
                  <a:cubicBezTo>
                    <a:pt x="68" y="64"/>
                    <a:pt x="68" y="65"/>
                    <a:pt x="67" y="66"/>
                  </a:cubicBezTo>
                  <a:cubicBezTo>
                    <a:pt x="66" y="67"/>
                    <a:pt x="65" y="67"/>
                    <a:pt x="65" y="67"/>
                  </a:cubicBezTo>
                  <a:cubicBezTo>
                    <a:pt x="64" y="69"/>
                    <a:pt x="65" y="70"/>
                    <a:pt x="65" y="73"/>
                  </a:cubicBezTo>
                  <a:cubicBezTo>
                    <a:pt x="65" y="73"/>
                    <a:pt x="64" y="73"/>
                    <a:pt x="63" y="74"/>
                  </a:cubicBezTo>
                  <a:cubicBezTo>
                    <a:pt x="63" y="77"/>
                    <a:pt x="64" y="77"/>
                    <a:pt x="64" y="77"/>
                  </a:cubicBezTo>
                  <a:cubicBezTo>
                    <a:pt x="65" y="77"/>
                    <a:pt x="65" y="77"/>
                    <a:pt x="66" y="77"/>
                  </a:cubicBezTo>
                  <a:cubicBezTo>
                    <a:pt x="66" y="77"/>
                    <a:pt x="67" y="77"/>
                    <a:pt x="67" y="77"/>
                  </a:cubicBezTo>
                  <a:cubicBezTo>
                    <a:pt x="67" y="77"/>
                    <a:pt x="67" y="77"/>
                    <a:pt x="68" y="77"/>
                  </a:cubicBezTo>
                  <a:cubicBezTo>
                    <a:pt x="70" y="77"/>
                    <a:pt x="69" y="82"/>
                    <a:pt x="72" y="82"/>
                  </a:cubicBezTo>
                  <a:cubicBezTo>
                    <a:pt x="72" y="82"/>
                    <a:pt x="72" y="82"/>
                    <a:pt x="73" y="82"/>
                  </a:cubicBezTo>
                  <a:cubicBezTo>
                    <a:pt x="74" y="82"/>
                    <a:pt x="75" y="82"/>
                    <a:pt x="75" y="80"/>
                  </a:cubicBezTo>
                  <a:cubicBezTo>
                    <a:pt x="76" y="82"/>
                    <a:pt x="78" y="85"/>
                    <a:pt x="79" y="87"/>
                  </a:cubicBezTo>
                  <a:cubicBezTo>
                    <a:pt x="80" y="86"/>
                    <a:pt x="81" y="84"/>
                    <a:pt x="80" y="83"/>
                  </a:cubicBezTo>
                  <a:cubicBezTo>
                    <a:pt x="82" y="84"/>
                    <a:pt x="84" y="85"/>
                    <a:pt x="86" y="85"/>
                  </a:cubicBezTo>
                  <a:cubicBezTo>
                    <a:pt x="86" y="85"/>
                    <a:pt x="86" y="85"/>
                    <a:pt x="86" y="85"/>
                  </a:cubicBezTo>
                  <a:cubicBezTo>
                    <a:pt x="87" y="85"/>
                    <a:pt x="87" y="84"/>
                    <a:pt x="88" y="84"/>
                  </a:cubicBezTo>
                  <a:cubicBezTo>
                    <a:pt x="88" y="84"/>
                    <a:pt x="89" y="84"/>
                    <a:pt x="89" y="84"/>
                  </a:cubicBezTo>
                  <a:cubicBezTo>
                    <a:pt x="91" y="84"/>
                    <a:pt x="93" y="85"/>
                    <a:pt x="94" y="85"/>
                  </a:cubicBezTo>
                  <a:cubicBezTo>
                    <a:pt x="93" y="85"/>
                    <a:pt x="92" y="85"/>
                    <a:pt x="91" y="85"/>
                  </a:cubicBezTo>
                  <a:cubicBezTo>
                    <a:pt x="91" y="85"/>
                    <a:pt x="91" y="85"/>
                    <a:pt x="90" y="85"/>
                  </a:cubicBezTo>
                  <a:cubicBezTo>
                    <a:pt x="90" y="85"/>
                    <a:pt x="90" y="85"/>
                    <a:pt x="90" y="85"/>
                  </a:cubicBezTo>
                  <a:cubicBezTo>
                    <a:pt x="89" y="85"/>
                    <a:pt x="88" y="85"/>
                    <a:pt x="87" y="88"/>
                  </a:cubicBezTo>
                  <a:cubicBezTo>
                    <a:pt x="86" y="92"/>
                    <a:pt x="107" y="97"/>
                    <a:pt x="109" y="97"/>
                  </a:cubicBezTo>
                  <a:cubicBezTo>
                    <a:pt x="123" y="102"/>
                    <a:pt x="137" y="106"/>
                    <a:pt x="151" y="111"/>
                  </a:cubicBezTo>
                  <a:cubicBezTo>
                    <a:pt x="157" y="113"/>
                    <a:pt x="162" y="117"/>
                    <a:pt x="167" y="121"/>
                  </a:cubicBezTo>
                  <a:cubicBezTo>
                    <a:pt x="167" y="120"/>
                    <a:pt x="167" y="120"/>
                    <a:pt x="167" y="120"/>
                  </a:cubicBezTo>
                  <a:cubicBezTo>
                    <a:pt x="167" y="120"/>
                    <a:pt x="167" y="120"/>
                    <a:pt x="167" y="119"/>
                  </a:cubicBezTo>
                  <a:cubicBezTo>
                    <a:pt x="168" y="121"/>
                    <a:pt x="166" y="127"/>
                    <a:pt x="169" y="127"/>
                  </a:cubicBezTo>
                  <a:cubicBezTo>
                    <a:pt x="169" y="127"/>
                    <a:pt x="169" y="127"/>
                    <a:pt x="169" y="127"/>
                  </a:cubicBezTo>
                  <a:cubicBezTo>
                    <a:pt x="171" y="126"/>
                    <a:pt x="172" y="126"/>
                    <a:pt x="174" y="126"/>
                  </a:cubicBezTo>
                  <a:cubicBezTo>
                    <a:pt x="173" y="126"/>
                    <a:pt x="171" y="127"/>
                    <a:pt x="170" y="128"/>
                  </a:cubicBezTo>
                  <a:cubicBezTo>
                    <a:pt x="171" y="129"/>
                    <a:pt x="173" y="130"/>
                    <a:pt x="175" y="130"/>
                  </a:cubicBezTo>
                  <a:cubicBezTo>
                    <a:pt x="175" y="130"/>
                    <a:pt x="175" y="130"/>
                    <a:pt x="175" y="130"/>
                  </a:cubicBezTo>
                  <a:cubicBezTo>
                    <a:pt x="170" y="132"/>
                    <a:pt x="173" y="133"/>
                    <a:pt x="175" y="139"/>
                  </a:cubicBezTo>
                  <a:cubicBezTo>
                    <a:pt x="177" y="143"/>
                    <a:pt x="181" y="146"/>
                    <a:pt x="185" y="150"/>
                  </a:cubicBezTo>
                  <a:cubicBezTo>
                    <a:pt x="184" y="150"/>
                    <a:pt x="183" y="149"/>
                    <a:pt x="182" y="149"/>
                  </a:cubicBezTo>
                  <a:cubicBezTo>
                    <a:pt x="182" y="149"/>
                    <a:pt x="182" y="149"/>
                    <a:pt x="182" y="149"/>
                  </a:cubicBezTo>
                  <a:cubicBezTo>
                    <a:pt x="182" y="150"/>
                    <a:pt x="185" y="152"/>
                    <a:pt x="188" y="154"/>
                  </a:cubicBezTo>
                  <a:cubicBezTo>
                    <a:pt x="188" y="153"/>
                    <a:pt x="187" y="153"/>
                    <a:pt x="187" y="153"/>
                  </a:cubicBezTo>
                  <a:cubicBezTo>
                    <a:pt x="186" y="153"/>
                    <a:pt x="185" y="154"/>
                    <a:pt x="184" y="154"/>
                  </a:cubicBezTo>
                  <a:cubicBezTo>
                    <a:pt x="184" y="154"/>
                    <a:pt x="181" y="154"/>
                    <a:pt x="180" y="154"/>
                  </a:cubicBezTo>
                  <a:cubicBezTo>
                    <a:pt x="178" y="155"/>
                    <a:pt x="180" y="156"/>
                    <a:pt x="181" y="157"/>
                  </a:cubicBezTo>
                  <a:cubicBezTo>
                    <a:pt x="185" y="159"/>
                    <a:pt x="190" y="160"/>
                    <a:pt x="194" y="162"/>
                  </a:cubicBezTo>
                  <a:cubicBezTo>
                    <a:pt x="193" y="162"/>
                    <a:pt x="193" y="162"/>
                    <a:pt x="192" y="162"/>
                  </a:cubicBezTo>
                  <a:cubicBezTo>
                    <a:pt x="191" y="162"/>
                    <a:pt x="190" y="162"/>
                    <a:pt x="189" y="162"/>
                  </a:cubicBezTo>
                  <a:cubicBezTo>
                    <a:pt x="188" y="162"/>
                    <a:pt x="186" y="161"/>
                    <a:pt x="185" y="161"/>
                  </a:cubicBezTo>
                  <a:cubicBezTo>
                    <a:pt x="185" y="161"/>
                    <a:pt x="184" y="162"/>
                    <a:pt x="184" y="162"/>
                  </a:cubicBezTo>
                  <a:cubicBezTo>
                    <a:pt x="184" y="162"/>
                    <a:pt x="183" y="162"/>
                    <a:pt x="183" y="162"/>
                  </a:cubicBezTo>
                  <a:cubicBezTo>
                    <a:pt x="183" y="162"/>
                    <a:pt x="183" y="162"/>
                    <a:pt x="183" y="162"/>
                  </a:cubicBezTo>
                  <a:cubicBezTo>
                    <a:pt x="183" y="162"/>
                    <a:pt x="182" y="161"/>
                    <a:pt x="182" y="161"/>
                  </a:cubicBezTo>
                  <a:cubicBezTo>
                    <a:pt x="182" y="161"/>
                    <a:pt x="182" y="162"/>
                    <a:pt x="182" y="162"/>
                  </a:cubicBezTo>
                  <a:cubicBezTo>
                    <a:pt x="181" y="162"/>
                    <a:pt x="185" y="166"/>
                    <a:pt x="185" y="166"/>
                  </a:cubicBezTo>
                  <a:cubicBezTo>
                    <a:pt x="187" y="167"/>
                    <a:pt x="189" y="169"/>
                    <a:pt x="190" y="170"/>
                  </a:cubicBezTo>
                  <a:cubicBezTo>
                    <a:pt x="190" y="171"/>
                    <a:pt x="191" y="170"/>
                    <a:pt x="191" y="171"/>
                  </a:cubicBezTo>
                  <a:cubicBezTo>
                    <a:pt x="191" y="171"/>
                    <a:pt x="190" y="177"/>
                    <a:pt x="189" y="177"/>
                  </a:cubicBezTo>
                  <a:cubicBezTo>
                    <a:pt x="189" y="179"/>
                    <a:pt x="188" y="178"/>
                    <a:pt x="187" y="179"/>
                  </a:cubicBezTo>
                  <a:cubicBezTo>
                    <a:pt x="187" y="180"/>
                    <a:pt x="188" y="182"/>
                    <a:pt x="188" y="183"/>
                  </a:cubicBezTo>
                  <a:cubicBezTo>
                    <a:pt x="187" y="184"/>
                    <a:pt x="186" y="183"/>
                    <a:pt x="186" y="185"/>
                  </a:cubicBezTo>
                  <a:cubicBezTo>
                    <a:pt x="186" y="185"/>
                    <a:pt x="187" y="187"/>
                    <a:pt x="187" y="187"/>
                  </a:cubicBezTo>
                  <a:cubicBezTo>
                    <a:pt x="189" y="186"/>
                    <a:pt x="190" y="185"/>
                    <a:pt x="191" y="184"/>
                  </a:cubicBezTo>
                  <a:cubicBezTo>
                    <a:pt x="192" y="184"/>
                    <a:pt x="194" y="183"/>
                    <a:pt x="195" y="183"/>
                  </a:cubicBezTo>
                  <a:cubicBezTo>
                    <a:pt x="195" y="182"/>
                    <a:pt x="194" y="181"/>
                    <a:pt x="194" y="180"/>
                  </a:cubicBezTo>
                  <a:cubicBezTo>
                    <a:pt x="195" y="180"/>
                    <a:pt x="195" y="180"/>
                    <a:pt x="195" y="180"/>
                  </a:cubicBezTo>
                  <a:cubicBezTo>
                    <a:pt x="195" y="180"/>
                    <a:pt x="195" y="183"/>
                    <a:pt x="195" y="184"/>
                  </a:cubicBezTo>
                  <a:cubicBezTo>
                    <a:pt x="196" y="185"/>
                    <a:pt x="197" y="185"/>
                    <a:pt x="198" y="185"/>
                  </a:cubicBezTo>
                  <a:cubicBezTo>
                    <a:pt x="201" y="185"/>
                    <a:pt x="204" y="184"/>
                    <a:pt x="205" y="184"/>
                  </a:cubicBezTo>
                  <a:cubicBezTo>
                    <a:pt x="206" y="183"/>
                    <a:pt x="206" y="183"/>
                    <a:pt x="207" y="183"/>
                  </a:cubicBezTo>
                  <a:cubicBezTo>
                    <a:pt x="207" y="183"/>
                    <a:pt x="208" y="183"/>
                    <a:pt x="208" y="183"/>
                  </a:cubicBezTo>
                  <a:cubicBezTo>
                    <a:pt x="209" y="183"/>
                    <a:pt x="209" y="183"/>
                    <a:pt x="210" y="183"/>
                  </a:cubicBezTo>
                  <a:cubicBezTo>
                    <a:pt x="211" y="183"/>
                    <a:pt x="212" y="183"/>
                    <a:pt x="213" y="183"/>
                  </a:cubicBezTo>
                  <a:cubicBezTo>
                    <a:pt x="214" y="182"/>
                    <a:pt x="214" y="179"/>
                    <a:pt x="215" y="179"/>
                  </a:cubicBezTo>
                  <a:cubicBezTo>
                    <a:pt x="213" y="180"/>
                    <a:pt x="215" y="181"/>
                    <a:pt x="215" y="182"/>
                  </a:cubicBezTo>
                  <a:cubicBezTo>
                    <a:pt x="214" y="183"/>
                    <a:pt x="213" y="183"/>
                    <a:pt x="212" y="184"/>
                  </a:cubicBezTo>
                  <a:cubicBezTo>
                    <a:pt x="212" y="186"/>
                    <a:pt x="217" y="189"/>
                    <a:pt x="219" y="191"/>
                  </a:cubicBezTo>
                  <a:cubicBezTo>
                    <a:pt x="224" y="196"/>
                    <a:pt x="229" y="200"/>
                    <a:pt x="234" y="205"/>
                  </a:cubicBezTo>
                  <a:cubicBezTo>
                    <a:pt x="234" y="156"/>
                    <a:pt x="234" y="156"/>
                    <a:pt x="234" y="156"/>
                  </a:cubicBezTo>
                  <a:cubicBezTo>
                    <a:pt x="233" y="156"/>
                    <a:pt x="233" y="156"/>
                    <a:pt x="233" y="156"/>
                  </a:cubicBezTo>
                  <a:cubicBezTo>
                    <a:pt x="233" y="155"/>
                    <a:pt x="232" y="155"/>
                    <a:pt x="232" y="154"/>
                  </a:cubicBezTo>
                  <a:cubicBezTo>
                    <a:pt x="232" y="154"/>
                    <a:pt x="231" y="153"/>
                    <a:pt x="231" y="152"/>
                  </a:cubicBezTo>
                  <a:cubicBezTo>
                    <a:pt x="233" y="129"/>
                    <a:pt x="233" y="129"/>
                    <a:pt x="233" y="129"/>
                  </a:cubicBezTo>
                  <a:cubicBezTo>
                    <a:pt x="233" y="124"/>
                    <a:pt x="233" y="120"/>
                    <a:pt x="234" y="116"/>
                  </a:cubicBezTo>
                  <a:cubicBezTo>
                    <a:pt x="234" y="113"/>
                    <a:pt x="234" y="113"/>
                    <a:pt x="234" y="113"/>
                  </a:cubicBezTo>
                  <a:cubicBezTo>
                    <a:pt x="234" y="112"/>
                    <a:pt x="234" y="111"/>
                    <a:pt x="234" y="110"/>
                  </a:cubicBezTo>
                  <a:cubicBezTo>
                    <a:pt x="234" y="106"/>
                    <a:pt x="234" y="106"/>
                    <a:pt x="234" y="106"/>
                  </a:cubicBezTo>
                  <a:cubicBezTo>
                    <a:pt x="234" y="96"/>
                    <a:pt x="234" y="84"/>
                    <a:pt x="234" y="74"/>
                  </a:cubicBezTo>
                  <a:cubicBezTo>
                    <a:pt x="234" y="67"/>
                    <a:pt x="234" y="60"/>
                    <a:pt x="234" y="53"/>
                  </a:cubicBezTo>
                  <a:cubicBezTo>
                    <a:pt x="232" y="53"/>
                    <a:pt x="231" y="53"/>
                    <a:pt x="230" y="54"/>
                  </a:cubicBezTo>
                  <a:cubicBezTo>
                    <a:pt x="230" y="53"/>
                    <a:pt x="229" y="50"/>
                    <a:pt x="228" y="50"/>
                  </a:cubicBezTo>
                  <a:cubicBezTo>
                    <a:pt x="225" y="49"/>
                    <a:pt x="221" y="49"/>
                    <a:pt x="218" y="48"/>
                  </a:cubicBezTo>
                  <a:cubicBezTo>
                    <a:pt x="217" y="48"/>
                    <a:pt x="216" y="48"/>
                    <a:pt x="215" y="48"/>
                  </a:cubicBezTo>
                  <a:cubicBezTo>
                    <a:pt x="215" y="48"/>
                    <a:pt x="214" y="48"/>
                    <a:pt x="213" y="48"/>
                  </a:cubicBezTo>
                  <a:cubicBezTo>
                    <a:pt x="212" y="48"/>
                    <a:pt x="212" y="48"/>
                    <a:pt x="211" y="48"/>
                  </a:cubicBezTo>
                  <a:cubicBezTo>
                    <a:pt x="210" y="48"/>
                    <a:pt x="209" y="48"/>
                    <a:pt x="209" y="48"/>
                  </a:cubicBezTo>
                  <a:cubicBezTo>
                    <a:pt x="207" y="47"/>
                    <a:pt x="205" y="46"/>
                    <a:pt x="203" y="45"/>
                  </a:cubicBezTo>
                  <a:cubicBezTo>
                    <a:pt x="196" y="42"/>
                    <a:pt x="189" y="39"/>
                    <a:pt x="183" y="36"/>
                  </a:cubicBezTo>
                  <a:cubicBezTo>
                    <a:pt x="177" y="33"/>
                    <a:pt x="171" y="30"/>
                    <a:pt x="165" y="28"/>
                  </a:cubicBezTo>
                  <a:cubicBezTo>
                    <a:pt x="165" y="27"/>
                    <a:pt x="164" y="27"/>
                    <a:pt x="163" y="27"/>
                  </a:cubicBezTo>
                  <a:cubicBezTo>
                    <a:pt x="161" y="27"/>
                    <a:pt x="159" y="28"/>
                    <a:pt x="157" y="28"/>
                  </a:cubicBezTo>
                  <a:cubicBezTo>
                    <a:pt x="155" y="29"/>
                    <a:pt x="152" y="31"/>
                    <a:pt x="150" y="33"/>
                  </a:cubicBezTo>
                  <a:cubicBezTo>
                    <a:pt x="148" y="33"/>
                    <a:pt x="146" y="33"/>
                    <a:pt x="146" y="36"/>
                  </a:cubicBezTo>
                  <a:cubicBezTo>
                    <a:pt x="146" y="37"/>
                    <a:pt x="147" y="38"/>
                    <a:pt x="147" y="39"/>
                  </a:cubicBezTo>
                  <a:cubicBezTo>
                    <a:pt x="148" y="40"/>
                    <a:pt x="148" y="40"/>
                    <a:pt x="148" y="40"/>
                  </a:cubicBezTo>
                  <a:cubicBezTo>
                    <a:pt x="147" y="41"/>
                    <a:pt x="145" y="42"/>
                    <a:pt x="143" y="42"/>
                  </a:cubicBezTo>
                  <a:cubicBezTo>
                    <a:pt x="140" y="43"/>
                    <a:pt x="137" y="45"/>
                    <a:pt x="134" y="45"/>
                  </a:cubicBezTo>
                  <a:cubicBezTo>
                    <a:pt x="134" y="45"/>
                    <a:pt x="133" y="45"/>
                    <a:pt x="133" y="45"/>
                  </a:cubicBezTo>
                  <a:cubicBezTo>
                    <a:pt x="132" y="45"/>
                    <a:pt x="132" y="44"/>
                    <a:pt x="131" y="44"/>
                  </a:cubicBezTo>
                  <a:cubicBezTo>
                    <a:pt x="128" y="44"/>
                    <a:pt x="127" y="47"/>
                    <a:pt x="125" y="49"/>
                  </a:cubicBezTo>
                  <a:cubicBezTo>
                    <a:pt x="123" y="52"/>
                    <a:pt x="119" y="56"/>
                    <a:pt x="117" y="60"/>
                  </a:cubicBezTo>
                  <a:cubicBezTo>
                    <a:pt x="117" y="61"/>
                    <a:pt x="117" y="62"/>
                    <a:pt x="116" y="63"/>
                  </a:cubicBezTo>
                  <a:cubicBezTo>
                    <a:pt x="116" y="63"/>
                    <a:pt x="114" y="64"/>
                    <a:pt x="113" y="64"/>
                  </a:cubicBezTo>
                  <a:cubicBezTo>
                    <a:pt x="112" y="65"/>
                    <a:pt x="114" y="65"/>
                    <a:pt x="113" y="66"/>
                  </a:cubicBezTo>
                  <a:cubicBezTo>
                    <a:pt x="112" y="67"/>
                    <a:pt x="111" y="67"/>
                    <a:pt x="110" y="67"/>
                  </a:cubicBezTo>
                  <a:cubicBezTo>
                    <a:pt x="109" y="68"/>
                    <a:pt x="109" y="69"/>
                    <a:pt x="108" y="70"/>
                  </a:cubicBezTo>
                  <a:cubicBezTo>
                    <a:pt x="107" y="71"/>
                    <a:pt x="105" y="72"/>
                    <a:pt x="103" y="72"/>
                  </a:cubicBezTo>
                  <a:cubicBezTo>
                    <a:pt x="101" y="72"/>
                    <a:pt x="99" y="72"/>
                    <a:pt x="98" y="71"/>
                  </a:cubicBezTo>
                  <a:cubicBezTo>
                    <a:pt x="93" y="70"/>
                    <a:pt x="92" y="66"/>
                    <a:pt x="92" y="61"/>
                  </a:cubicBezTo>
                  <a:cubicBezTo>
                    <a:pt x="91" y="61"/>
                    <a:pt x="90" y="62"/>
                    <a:pt x="89" y="62"/>
                  </a:cubicBezTo>
                  <a:cubicBezTo>
                    <a:pt x="88" y="62"/>
                    <a:pt x="88" y="61"/>
                    <a:pt x="88" y="59"/>
                  </a:cubicBezTo>
                  <a:cubicBezTo>
                    <a:pt x="87" y="58"/>
                    <a:pt x="88" y="53"/>
                    <a:pt x="87" y="52"/>
                  </a:cubicBezTo>
                  <a:cubicBezTo>
                    <a:pt x="87" y="51"/>
                    <a:pt x="86" y="51"/>
                    <a:pt x="85" y="51"/>
                  </a:cubicBezTo>
                  <a:cubicBezTo>
                    <a:pt x="84" y="51"/>
                    <a:pt x="83" y="53"/>
                    <a:pt x="83" y="54"/>
                  </a:cubicBezTo>
                  <a:cubicBezTo>
                    <a:pt x="83" y="55"/>
                    <a:pt x="85" y="58"/>
                    <a:pt x="84" y="59"/>
                  </a:cubicBezTo>
                  <a:cubicBezTo>
                    <a:pt x="84" y="59"/>
                    <a:pt x="84" y="59"/>
                    <a:pt x="83" y="59"/>
                  </a:cubicBezTo>
                  <a:cubicBezTo>
                    <a:pt x="83" y="59"/>
                    <a:pt x="82" y="59"/>
                    <a:pt x="82" y="58"/>
                  </a:cubicBezTo>
                  <a:cubicBezTo>
                    <a:pt x="80" y="53"/>
                    <a:pt x="79" y="49"/>
                    <a:pt x="77" y="44"/>
                  </a:cubicBezTo>
                  <a:cubicBezTo>
                    <a:pt x="76" y="41"/>
                    <a:pt x="74" y="37"/>
                    <a:pt x="74" y="33"/>
                  </a:cubicBezTo>
                  <a:cubicBezTo>
                    <a:pt x="74" y="31"/>
                    <a:pt x="74" y="32"/>
                    <a:pt x="75" y="31"/>
                  </a:cubicBezTo>
                  <a:cubicBezTo>
                    <a:pt x="76" y="29"/>
                    <a:pt x="77" y="28"/>
                    <a:pt x="77" y="25"/>
                  </a:cubicBezTo>
                  <a:cubicBezTo>
                    <a:pt x="78" y="23"/>
                    <a:pt x="78" y="25"/>
                    <a:pt x="78" y="22"/>
                  </a:cubicBezTo>
                  <a:cubicBezTo>
                    <a:pt x="77" y="20"/>
                    <a:pt x="75" y="19"/>
                    <a:pt x="74" y="17"/>
                  </a:cubicBezTo>
                  <a:cubicBezTo>
                    <a:pt x="73" y="15"/>
                    <a:pt x="73" y="13"/>
                    <a:pt x="76" y="13"/>
                  </a:cubicBezTo>
                  <a:cubicBezTo>
                    <a:pt x="76" y="13"/>
                    <a:pt x="76" y="13"/>
                    <a:pt x="76" y="13"/>
                  </a:cubicBezTo>
                  <a:cubicBezTo>
                    <a:pt x="70" y="11"/>
                    <a:pt x="62" y="11"/>
                    <a:pt x="56" y="8"/>
                  </a:cubicBezTo>
                  <a:cubicBezTo>
                    <a:pt x="50" y="5"/>
                    <a:pt x="45" y="1"/>
                    <a:pt x="38" y="0"/>
                  </a:cubicBezTo>
                  <a:cubicBezTo>
                    <a:pt x="38"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1508"/>
            <p:cNvSpPr/>
            <p:nvPr/>
          </p:nvSpPr>
          <p:spPr bwMode="auto">
            <a:xfrm>
              <a:off x="3524973" y="4589451"/>
              <a:ext cx="754393" cy="634925"/>
            </a:xfrm>
            <a:custGeom>
              <a:gdLst>
                <a:gd name="T0" fmla="*/ 167 w 238"/>
                <a:gd name="T1" fmla="*/ 1 h 200"/>
                <a:gd name="T2" fmla="*/ 154 w 238"/>
                <a:gd name="T3" fmla="*/ 32 h 200"/>
                <a:gd name="T4" fmla="*/ 149 w 238"/>
                <a:gd name="T5" fmla="*/ 37 h 200"/>
                <a:gd name="T6" fmla="*/ 152 w 238"/>
                <a:gd name="T7" fmla="*/ 40 h 200"/>
                <a:gd name="T8" fmla="*/ 145 w 238"/>
                <a:gd name="T9" fmla="*/ 48 h 200"/>
                <a:gd name="T10" fmla="*/ 143 w 238"/>
                <a:gd name="T11" fmla="*/ 50 h 200"/>
                <a:gd name="T12" fmla="*/ 140 w 238"/>
                <a:gd name="T13" fmla="*/ 60 h 200"/>
                <a:gd name="T14" fmla="*/ 131 w 238"/>
                <a:gd name="T15" fmla="*/ 70 h 200"/>
                <a:gd name="T16" fmla="*/ 129 w 238"/>
                <a:gd name="T17" fmla="*/ 70 h 200"/>
                <a:gd name="T18" fmla="*/ 124 w 238"/>
                <a:gd name="T19" fmla="*/ 71 h 200"/>
                <a:gd name="T20" fmla="*/ 112 w 238"/>
                <a:gd name="T21" fmla="*/ 75 h 200"/>
                <a:gd name="T22" fmla="*/ 91 w 238"/>
                <a:gd name="T23" fmla="*/ 68 h 200"/>
                <a:gd name="T24" fmla="*/ 80 w 238"/>
                <a:gd name="T25" fmla="*/ 70 h 200"/>
                <a:gd name="T26" fmla="*/ 67 w 238"/>
                <a:gd name="T27" fmla="*/ 80 h 200"/>
                <a:gd name="T28" fmla="*/ 52 w 238"/>
                <a:gd name="T29" fmla="*/ 80 h 200"/>
                <a:gd name="T30" fmla="*/ 39 w 238"/>
                <a:gd name="T31" fmla="*/ 84 h 200"/>
                <a:gd name="T32" fmla="*/ 32 w 238"/>
                <a:gd name="T33" fmla="*/ 79 h 200"/>
                <a:gd name="T34" fmla="*/ 14 w 238"/>
                <a:gd name="T35" fmla="*/ 54 h 200"/>
                <a:gd name="T36" fmla="*/ 1 w 238"/>
                <a:gd name="T37" fmla="*/ 73 h 200"/>
                <a:gd name="T38" fmla="*/ 6 w 238"/>
                <a:gd name="T39" fmla="*/ 97 h 200"/>
                <a:gd name="T40" fmla="*/ 8 w 238"/>
                <a:gd name="T41" fmla="*/ 106 h 200"/>
                <a:gd name="T42" fmla="*/ 11 w 238"/>
                <a:gd name="T43" fmla="*/ 122 h 200"/>
                <a:gd name="T44" fmla="*/ 26 w 238"/>
                <a:gd name="T45" fmla="*/ 142 h 200"/>
                <a:gd name="T46" fmla="*/ 29 w 238"/>
                <a:gd name="T47" fmla="*/ 149 h 200"/>
                <a:gd name="T48" fmla="*/ 39 w 238"/>
                <a:gd name="T49" fmla="*/ 173 h 200"/>
                <a:gd name="T50" fmla="*/ 44 w 238"/>
                <a:gd name="T51" fmla="*/ 172 h 200"/>
                <a:gd name="T52" fmla="*/ 50 w 238"/>
                <a:gd name="T53" fmla="*/ 174 h 200"/>
                <a:gd name="T54" fmla="*/ 60 w 238"/>
                <a:gd name="T55" fmla="*/ 171 h 200"/>
                <a:gd name="T56" fmla="*/ 67 w 238"/>
                <a:gd name="T57" fmla="*/ 166 h 200"/>
                <a:gd name="T58" fmla="*/ 98 w 238"/>
                <a:gd name="T59" fmla="*/ 170 h 200"/>
                <a:gd name="T60" fmla="*/ 111 w 238"/>
                <a:gd name="T61" fmla="*/ 176 h 200"/>
                <a:gd name="T62" fmla="*/ 123 w 238"/>
                <a:gd name="T63" fmla="*/ 176 h 200"/>
                <a:gd name="T64" fmla="*/ 131 w 238"/>
                <a:gd name="T65" fmla="*/ 183 h 200"/>
                <a:gd name="T66" fmla="*/ 136 w 238"/>
                <a:gd name="T67" fmla="*/ 200 h 200"/>
                <a:gd name="T68" fmla="*/ 149 w 238"/>
                <a:gd name="T69" fmla="*/ 193 h 200"/>
                <a:gd name="T70" fmla="*/ 173 w 238"/>
                <a:gd name="T71" fmla="*/ 174 h 200"/>
                <a:gd name="T72" fmla="*/ 175 w 238"/>
                <a:gd name="T73" fmla="*/ 160 h 200"/>
                <a:gd name="T74" fmla="*/ 173 w 238"/>
                <a:gd name="T75" fmla="*/ 143 h 200"/>
                <a:gd name="T76" fmla="*/ 188 w 238"/>
                <a:gd name="T77" fmla="*/ 131 h 200"/>
                <a:gd name="T78" fmla="*/ 206 w 238"/>
                <a:gd name="T79" fmla="*/ 119 h 200"/>
                <a:gd name="T80" fmla="*/ 202 w 238"/>
                <a:gd name="T81" fmla="*/ 101 h 200"/>
                <a:gd name="T82" fmla="*/ 213 w 238"/>
                <a:gd name="T83" fmla="*/ 82 h 200"/>
                <a:gd name="T84" fmla="*/ 212 w 238"/>
                <a:gd name="T85" fmla="*/ 75 h 200"/>
                <a:gd name="T86" fmla="*/ 238 w 238"/>
                <a:gd name="T87" fmla="*/ 77 h 200"/>
                <a:gd name="T88" fmla="*/ 210 w 238"/>
                <a:gd name="T89" fmla="*/ 51 h 200"/>
                <a:gd name="T90" fmla="*/ 205 w 238"/>
                <a:gd name="T91" fmla="*/ 34 h 200"/>
                <a:gd name="T92" fmla="*/ 202 w 238"/>
                <a:gd name="T93" fmla="*/ 27 h 200"/>
                <a:gd name="T94" fmla="*/ 198 w 238"/>
                <a:gd name="T95" fmla="*/ 25 h 200"/>
                <a:gd name="T96" fmla="*/ 199 w 238"/>
                <a:gd name="T97" fmla="*/ 24 h 200"/>
                <a:gd name="T98" fmla="*/ 199 w 238"/>
                <a:gd name="T99" fmla="*/ 20 h 200"/>
                <a:gd name="T100" fmla="*/ 194 w 238"/>
                <a:gd name="T101" fmla="*/ 16 h 200"/>
                <a:gd name="T102" fmla="*/ 200 w 238"/>
                <a:gd name="T103" fmla="*/ 16 h 200"/>
                <a:gd name="T104" fmla="*/ 207 w 238"/>
                <a:gd name="T105" fmla="*/ 10 h 200"/>
                <a:gd name="T106" fmla="*/ 199 w 238"/>
                <a:gd name="T107" fmla="*/ 4 h 2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200">
                  <a:moveTo>
                    <a:pt x="181" y="0"/>
                  </a:moveTo>
                  <a:cubicBezTo>
                    <a:pt x="180" y="0"/>
                    <a:pt x="180" y="0"/>
                    <a:pt x="179" y="0"/>
                  </a:cubicBezTo>
                  <a:cubicBezTo>
                    <a:pt x="175" y="1"/>
                    <a:pt x="171" y="1"/>
                    <a:pt x="169" y="1"/>
                  </a:cubicBezTo>
                  <a:cubicBezTo>
                    <a:pt x="168" y="1"/>
                    <a:pt x="167" y="1"/>
                    <a:pt x="167" y="1"/>
                  </a:cubicBezTo>
                  <a:cubicBezTo>
                    <a:pt x="166" y="1"/>
                    <a:pt x="166" y="1"/>
                    <a:pt x="165" y="1"/>
                  </a:cubicBezTo>
                  <a:cubicBezTo>
                    <a:pt x="162" y="4"/>
                    <a:pt x="160" y="8"/>
                    <a:pt x="160" y="11"/>
                  </a:cubicBezTo>
                  <a:cubicBezTo>
                    <a:pt x="161" y="17"/>
                    <a:pt x="162" y="22"/>
                    <a:pt x="160" y="27"/>
                  </a:cubicBezTo>
                  <a:cubicBezTo>
                    <a:pt x="159" y="29"/>
                    <a:pt x="158" y="32"/>
                    <a:pt x="154" y="32"/>
                  </a:cubicBezTo>
                  <a:cubicBezTo>
                    <a:pt x="154" y="32"/>
                    <a:pt x="154" y="32"/>
                    <a:pt x="153" y="32"/>
                  </a:cubicBezTo>
                  <a:cubicBezTo>
                    <a:pt x="153" y="32"/>
                    <a:pt x="153" y="32"/>
                    <a:pt x="153" y="32"/>
                  </a:cubicBezTo>
                  <a:cubicBezTo>
                    <a:pt x="152" y="32"/>
                    <a:pt x="151" y="33"/>
                    <a:pt x="150" y="34"/>
                  </a:cubicBezTo>
                  <a:cubicBezTo>
                    <a:pt x="149" y="35"/>
                    <a:pt x="149" y="36"/>
                    <a:pt x="149" y="37"/>
                  </a:cubicBezTo>
                  <a:cubicBezTo>
                    <a:pt x="150" y="38"/>
                    <a:pt x="151" y="38"/>
                    <a:pt x="151" y="39"/>
                  </a:cubicBezTo>
                  <a:cubicBezTo>
                    <a:pt x="154" y="38"/>
                    <a:pt x="154" y="38"/>
                    <a:pt x="154" y="38"/>
                  </a:cubicBezTo>
                  <a:cubicBezTo>
                    <a:pt x="152" y="40"/>
                    <a:pt x="152" y="40"/>
                    <a:pt x="152" y="40"/>
                  </a:cubicBezTo>
                  <a:cubicBezTo>
                    <a:pt x="152" y="40"/>
                    <a:pt x="152" y="40"/>
                    <a:pt x="152" y="40"/>
                  </a:cubicBezTo>
                  <a:cubicBezTo>
                    <a:pt x="153" y="42"/>
                    <a:pt x="153" y="42"/>
                    <a:pt x="153" y="42"/>
                  </a:cubicBezTo>
                  <a:cubicBezTo>
                    <a:pt x="151" y="43"/>
                    <a:pt x="151" y="43"/>
                    <a:pt x="151" y="43"/>
                  </a:cubicBezTo>
                  <a:cubicBezTo>
                    <a:pt x="150" y="45"/>
                    <a:pt x="148" y="46"/>
                    <a:pt x="147" y="47"/>
                  </a:cubicBezTo>
                  <a:cubicBezTo>
                    <a:pt x="146" y="47"/>
                    <a:pt x="145" y="47"/>
                    <a:pt x="145" y="48"/>
                  </a:cubicBezTo>
                  <a:cubicBezTo>
                    <a:pt x="145" y="48"/>
                    <a:pt x="144" y="48"/>
                    <a:pt x="144" y="48"/>
                  </a:cubicBezTo>
                  <a:cubicBezTo>
                    <a:pt x="143" y="49"/>
                    <a:pt x="143" y="49"/>
                    <a:pt x="143" y="49"/>
                  </a:cubicBezTo>
                  <a:cubicBezTo>
                    <a:pt x="143" y="49"/>
                    <a:pt x="143" y="49"/>
                    <a:pt x="142" y="49"/>
                  </a:cubicBezTo>
                  <a:cubicBezTo>
                    <a:pt x="142" y="50"/>
                    <a:pt x="142" y="50"/>
                    <a:pt x="143" y="50"/>
                  </a:cubicBezTo>
                  <a:cubicBezTo>
                    <a:pt x="143" y="51"/>
                    <a:pt x="143" y="52"/>
                    <a:pt x="143" y="52"/>
                  </a:cubicBezTo>
                  <a:cubicBezTo>
                    <a:pt x="144" y="53"/>
                    <a:pt x="144" y="55"/>
                    <a:pt x="143" y="57"/>
                  </a:cubicBezTo>
                  <a:cubicBezTo>
                    <a:pt x="143" y="58"/>
                    <a:pt x="141" y="59"/>
                    <a:pt x="140" y="60"/>
                  </a:cubicBezTo>
                  <a:cubicBezTo>
                    <a:pt x="140" y="60"/>
                    <a:pt x="140" y="60"/>
                    <a:pt x="140" y="60"/>
                  </a:cubicBezTo>
                  <a:cubicBezTo>
                    <a:pt x="139" y="61"/>
                    <a:pt x="139" y="61"/>
                    <a:pt x="139" y="61"/>
                  </a:cubicBezTo>
                  <a:cubicBezTo>
                    <a:pt x="139" y="61"/>
                    <a:pt x="139" y="62"/>
                    <a:pt x="139" y="62"/>
                  </a:cubicBezTo>
                  <a:cubicBezTo>
                    <a:pt x="138" y="66"/>
                    <a:pt x="138" y="66"/>
                    <a:pt x="138" y="66"/>
                  </a:cubicBezTo>
                  <a:cubicBezTo>
                    <a:pt x="136" y="69"/>
                    <a:pt x="134" y="70"/>
                    <a:pt x="131" y="70"/>
                  </a:cubicBezTo>
                  <a:cubicBezTo>
                    <a:pt x="131" y="70"/>
                    <a:pt x="131" y="70"/>
                    <a:pt x="131" y="70"/>
                  </a:cubicBezTo>
                  <a:cubicBezTo>
                    <a:pt x="130" y="70"/>
                    <a:pt x="130" y="70"/>
                    <a:pt x="129" y="70"/>
                  </a:cubicBezTo>
                  <a:cubicBezTo>
                    <a:pt x="129" y="69"/>
                    <a:pt x="129" y="69"/>
                    <a:pt x="129" y="69"/>
                  </a:cubicBezTo>
                  <a:cubicBezTo>
                    <a:pt x="129" y="70"/>
                    <a:pt x="129" y="70"/>
                    <a:pt x="129" y="70"/>
                  </a:cubicBezTo>
                  <a:cubicBezTo>
                    <a:pt x="129" y="70"/>
                    <a:pt x="128" y="70"/>
                    <a:pt x="128" y="70"/>
                  </a:cubicBezTo>
                  <a:cubicBezTo>
                    <a:pt x="128" y="70"/>
                    <a:pt x="127" y="70"/>
                    <a:pt x="127" y="70"/>
                  </a:cubicBezTo>
                  <a:cubicBezTo>
                    <a:pt x="126" y="70"/>
                    <a:pt x="126" y="70"/>
                    <a:pt x="126" y="70"/>
                  </a:cubicBezTo>
                  <a:cubicBezTo>
                    <a:pt x="124" y="71"/>
                    <a:pt x="124" y="71"/>
                    <a:pt x="124" y="71"/>
                  </a:cubicBezTo>
                  <a:cubicBezTo>
                    <a:pt x="121" y="71"/>
                    <a:pt x="119" y="72"/>
                    <a:pt x="117" y="73"/>
                  </a:cubicBezTo>
                  <a:cubicBezTo>
                    <a:pt x="117" y="73"/>
                    <a:pt x="117" y="73"/>
                    <a:pt x="117" y="73"/>
                  </a:cubicBezTo>
                  <a:cubicBezTo>
                    <a:pt x="116" y="73"/>
                    <a:pt x="115" y="74"/>
                    <a:pt x="114" y="74"/>
                  </a:cubicBezTo>
                  <a:cubicBezTo>
                    <a:pt x="113" y="74"/>
                    <a:pt x="113" y="75"/>
                    <a:pt x="112" y="75"/>
                  </a:cubicBezTo>
                  <a:cubicBezTo>
                    <a:pt x="109" y="75"/>
                    <a:pt x="105" y="73"/>
                    <a:pt x="102" y="72"/>
                  </a:cubicBezTo>
                  <a:cubicBezTo>
                    <a:pt x="101" y="71"/>
                    <a:pt x="101" y="71"/>
                    <a:pt x="101" y="71"/>
                  </a:cubicBezTo>
                  <a:cubicBezTo>
                    <a:pt x="100" y="71"/>
                    <a:pt x="98" y="70"/>
                    <a:pt x="97" y="69"/>
                  </a:cubicBezTo>
                  <a:cubicBezTo>
                    <a:pt x="91" y="68"/>
                    <a:pt x="91" y="68"/>
                    <a:pt x="91" y="68"/>
                  </a:cubicBezTo>
                  <a:cubicBezTo>
                    <a:pt x="92" y="68"/>
                    <a:pt x="92" y="68"/>
                    <a:pt x="92" y="68"/>
                  </a:cubicBezTo>
                  <a:cubicBezTo>
                    <a:pt x="90" y="68"/>
                    <a:pt x="87" y="68"/>
                    <a:pt x="83" y="69"/>
                  </a:cubicBezTo>
                  <a:cubicBezTo>
                    <a:pt x="81" y="69"/>
                    <a:pt x="81" y="69"/>
                    <a:pt x="81" y="69"/>
                  </a:cubicBezTo>
                  <a:cubicBezTo>
                    <a:pt x="80" y="70"/>
                    <a:pt x="80" y="70"/>
                    <a:pt x="80" y="70"/>
                  </a:cubicBezTo>
                  <a:cubicBezTo>
                    <a:pt x="80" y="70"/>
                    <a:pt x="80" y="71"/>
                    <a:pt x="80" y="71"/>
                  </a:cubicBezTo>
                  <a:cubicBezTo>
                    <a:pt x="80" y="71"/>
                    <a:pt x="80" y="71"/>
                    <a:pt x="80" y="71"/>
                  </a:cubicBezTo>
                  <a:cubicBezTo>
                    <a:pt x="80" y="71"/>
                    <a:pt x="80" y="73"/>
                    <a:pt x="79" y="74"/>
                  </a:cubicBezTo>
                  <a:cubicBezTo>
                    <a:pt x="77" y="77"/>
                    <a:pt x="71" y="80"/>
                    <a:pt x="67" y="80"/>
                  </a:cubicBezTo>
                  <a:cubicBezTo>
                    <a:pt x="66" y="80"/>
                    <a:pt x="66" y="80"/>
                    <a:pt x="66" y="80"/>
                  </a:cubicBezTo>
                  <a:cubicBezTo>
                    <a:pt x="64" y="80"/>
                    <a:pt x="63" y="80"/>
                    <a:pt x="62" y="80"/>
                  </a:cubicBezTo>
                  <a:cubicBezTo>
                    <a:pt x="60" y="79"/>
                    <a:pt x="59" y="79"/>
                    <a:pt x="57" y="79"/>
                  </a:cubicBezTo>
                  <a:cubicBezTo>
                    <a:pt x="55" y="79"/>
                    <a:pt x="54" y="79"/>
                    <a:pt x="52" y="80"/>
                  </a:cubicBezTo>
                  <a:cubicBezTo>
                    <a:pt x="52" y="80"/>
                    <a:pt x="51" y="81"/>
                    <a:pt x="50" y="81"/>
                  </a:cubicBezTo>
                  <a:cubicBezTo>
                    <a:pt x="50" y="81"/>
                    <a:pt x="50" y="81"/>
                    <a:pt x="50" y="81"/>
                  </a:cubicBezTo>
                  <a:cubicBezTo>
                    <a:pt x="47" y="82"/>
                    <a:pt x="43" y="84"/>
                    <a:pt x="40" y="84"/>
                  </a:cubicBezTo>
                  <a:cubicBezTo>
                    <a:pt x="40" y="84"/>
                    <a:pt x="39" y="84"/>
                    <a:pt x="39" y="84"/>
                  </a:cubicBezTo>
                  <a:cubicBezTo>
                    <a:pt x="37" y="83"/>
                    <a:pt x="35" y="82"/>
                    <a:pt x="33" y="80"/>
                  </a:cubicBezTo>
                  <a:cubicBezTo>
                    <a:pt x="33" y="80"/>
                    <a:pt x="33" y="80"/>
                    <a:pt x="33" y="80"/>
                  </a:cubicBezTo>
                  <a:cubicBezTo>
                    <a:pt x="32" y="79"/>
                    <a:pt x="32" y="79"/>
                    <a:pt x="32" y="79"/>
                  </a:cubicBezTo>
                  <a:cubicBezTo>
                    <a:pt x="32" y="79"/>
                    <a:pt x="32" y="79"/>
                    <a:pt x="32" y="79"/>
                  </a:cubicBezTo>
                  <a:cubicBezTo>
                    <a:pt x="29" y="77"/>
                    <a:pt x="27" y="75"/>
                    <a:pt x="24" y="72"/>
                  </a:cubicBezTo>
                  <a:cubicBezTo>
                    <a:pt x="23" y="71"/>
                    <a:pt x="23" y="71"/>
                    <a:pt x="23" y="71"/>
                  </a:cubicBezTo>
                  <a:cubicBezTo>
                    <a:pt x="19" y="68"/>
                    <a:pt x="14" y="64"/>
                    <a:pt x="13" y="59"/>
                  </a:cubicBezTo>
                  <a:cubicBezTo>
                    <a:pt x="13" y="57"/>
                    <a:pt x="14" y="55"/>
                    <a:pt x="14" y="54"/>
                  </a:cubicBezTo>
                  <a:cubicBezTo>
                    <a:pt x="12" y="55"/>
                    <a:pt x="10" y="56"/>
                    <a:pt x="9" y="57"/>
                  </a:cubicBezTo>
                  <a:cubicBezTo>
                    <a:pt x="6" y="63"/>
                    <a:pt x="4" y="64"/>
                    <a:pt x="6" y="71"/>
                  </a:cubicBezTo>
                  <a:cubicBezTo>
                    <a:pt x="4" y="72"/>
                    <a:pt x="3" y="73"/>
                    <a:pt x="1" y="73"/>
                  </a:cubicBezTo>
                  <a:cubicBezTo>
                    <a:pt x="1" y="73"/>
                    <a:pt x="1" y="73"/>
                    <a:pt x="1" y="73"/>
                  </a:cubicBezTo>
                  <a:cubicBezTo>
                    <a:pt x="1" y="75"/>
                    <a:pt x="3" y="77"/>
                    <a:pt x="2" y="78"/>
                  </a:cubicBezTo>
                  <a:cubicBezTo>
                    <a:pt x="0" y="81"/>
                    <a:pt x="0" y="82"/>
                    <a:pt x="1" y="86"/>
                  </a:cubicBezTo>
                  <a:cubicBezTo>
                    <a:pt x="1" y="87"/>
                    <a:pt x="0" y="93"/>
                    <a:pt x="1" y="94"/>
                  </a:cubicBezTo>
                  <a:cubicBezTo>
                    <a:pt x="3" y="95"/>
                    <a:pt x="5" y="95"/>
                    <a:pt x="6" y="97"/>
                  </a:cubicBezTo>
                  <a:cubicBezTo>
                    <a:pt x="7" y="99"/>
                    <a:pt x="8" y="100"/>
                    <a:pt x="10" y="101"/>
                  </a:cubicBezTo>
                  <a:cubicBezTo>
                    <a:pt x="8" y="101"/>
                    <a:pt x="8" y="100"/>
                    <a:pt x="7" y="100"/>
                  </a:cubicBezTo>
                  <a:cubicBezTo>
                    <a:pt x="6" y="100"/>
                    <a:pt x="7" y="101"/>
                    <a:pt x="7" y="103"/>
                  </a:cubicBezTo>
                  <a:cubicBezTo>
                    <a:pt x="7" y="104"/>
                    <a:pt x="7" y="105"/>
                    <a:pt x="8" y="106"/>
                  </a:cubicBezTo>
                  <a:cubicBezTo>
                    <a:pt x="7" y="106"/>
                    <a:pt x="6" y="106"/>
                    <a:pt x="5" y="106"/>
                  </a:cubicBezTo>
                  <a:cubicBezTo>
                    <a:pt x="3" y="106"/>
                    <a:pt x="4" y="109"/>
                    <a:pt x="5" y="112"/>
                  </a:cubicBezTo>
                  <a:cubicBezTo>
                    <a:pt x="6" y="114"/>
                    <a:pt x="8" y="117"/>
                    <a:pt x="9" y="120"/>
                  </a:cubicBezTo>
                  <a:cubicBezTo>
                    <a:pt x="10" y="121"/>
                    <a:pt x="9" y="121"/>
                    <a:pt x="11" y="122"/>
                  </a:cubicBezTo>
                  <a:cubicBezTo>
                    <a:pt x="13" y="122"/>
                    <a:pt x="15" y="124"/>
                    <a:pt x="17" y="124"/>
                  </a:cubicBezTo>
                  <a:cubicBezTo>
                    <a:pt x="19" y="124"/>
                    <a:pt x="20" y="123"/>
                    <a:pt x="21" y="122"/>
                  </a:cubicBezTo>
                  <a:cubicBezTo>
                    <a:pt x="23" y="126"/>
                    <a:pt x="28" y="131"/>
                    <a:pt x="27" y="136"/>
                  </a:cubicBezTo>
                  <a:cubicBezTo>
                    <a:pt x="27" y="137"/>
                    <a:pt x="27" y="140"/>
                    <a:pt x="26" y="142"/>
                  </a:cubicBezTo>
                  <a:cubicBezTo>
                    <a:pt x="25" y="142"/>
                    <a:pt x="25" y="142"/>
                    <a:pt x="25" y="142"/>
                  </a:cubicBezTo>
                  <a:cubicBezTo>
                    <a:pt x="25" y="143"/>
                    <a:pt x="24" y="142"/>
                    <a:pt x="24" y="144"/>
                  </a:cubicBezTo>
                  <a:cubicBezTo>
                    <a:pt x="25" y="145"/>
                    <a:pt x="27" y="145"/>
                    <a:pt x="27" y="146"/>
                  </a:cubicBezTo>
                  <a:cubicBezTo>
                    <a:pt x="28" y="147"/>
                    <a:pt x="29" y="148"/>
                    <a:pt x="29" y="149"/>
                  </a:cubicBezTo>
                  <a:cubicBezTo>
                    <a:pt x="30" y="152"/>
                    <a:pt x="31" y="155"/>
                    <a:pt x="32" y="158"/>
                  </a:cubicBezTo>
                  <a:cubicBezTo>
                    <a:pt x="33" y="161"/>
                    <a:pt x="31" y="160"/>
                    <a:pt x="30" y="163"/>
                  </a:cubicBezTo>
                  <a:cubicBezTo>
                    <a:pt x="30" y="164"/>
                    <a:pt x="31" y="168"/>
                    <a:pt x="32" y="169"/>
                  </a:cubicBezTo>
                  <a:cubicBezTo>
                    <a:pt x="33" y="173"/>
                    <a:pt x="35" y="172"/>
                    <a:pt x="39" y="173"/>
                  </a:cubicBezTo>
                  <a:cubicBezTo>
                    <a:pt x="40" y="173"/>
                    <a:pt x="41" y="173"/>
                    <a:pt x="42" y="173"/>
                  </a:cubicBezTo>
                  <a:cubicBezTo>
                    <a:pt x="42" y="173"/>
                    <a:pt x="42" y="173"/>
                    <a:pt x="42" y="173"/>
                  </a:cubicBezTo>
                  <a:cubicBezTo>
                    <a:pt x="42" y="173"/>
                    <a:pt x="43" y="173"/>
                    <a:pt x="44" y="172"/>
                  </a:cubicBezTo>
                  <a:cubicBezTo>
                    <a:pt x="44" y="172"/>
                    <a:pt x="44" y="172"/>
                    <a:pt x="44" y="172"/>
                  </a:cubicBezTo>
                  <a:cubicBezTo>
                    <a:pt x="44" y="172"/>
                    <a:pt x="44" y="172"/>
                    <a:pt x="44" y="172"/>
                  </a:cubicBezTo>
                  <a:cubicBezTo>
                    <a:pt x="45" y="172"/>
                    <a:pt x="46" y="173"/>
                    <a:pt x="47" y="173"/>
                  </a:cubicBezTo>
                  <a:cubicBezTo>
                    <a:pt x="48" y="173"/>
                    <a:pt x="48" y="174"/>
                    <a:pt x="49" y="174"/>
                  </a:cubicBezTo>
                  <a:cubicBezTo>
                    <a:pt x="49" y="174"/>
                    <a:pt x="50" y="174"/>
                    <a:pt x="50" y="174"/>
                  </a:cubicBezTo>
                  <a:cubicBezTo>
                    <a:pt x="51" y="173"/>
                    <a:pt x="52" y="172"/>
                    <a:pt x="54" y="172"/>
                  </a:cubicBezTo>
                  <a:cubicBezTo>
                    <a:pt x="55" y="171"/>
                    <a:pt x="57" y="170"/>
                    <a:pt x="58" y="170"/>
                  </a:cubicBezTo>
                  <a:cubicBezTo>
                    <a:pt x="58" y="170"/>
                    <a:pt x="58" y="170"/>
                    <a:pt x="58" y="170"/>
                  </a:cubicBezTo>
                  <a:cubicBezTo>
                    <a:pt x="59" y="170"/>
                    <a:pt x="60" y="170"/>
                    <a:pt x="60" y="171"/>
                  </a:cubicBezTo>
                  <a:cubicBezTo>
                    <a:pt x="61" y="171"/>
                    <a:pt x="62" y="172"/>
                    <a:pt x="63" y="172"/>
                  </a:cubicBezTo>
                  <a:cubicBezTo>
                    <a:pt x="63" y="172"/>
                    <a:pt x="63" y="172"/>
                    <a:pt x="63" y="172"/>
                  </a:cubicBezTo>
                  <a:cubicBezTo>
                    <a:pt x="64" y="172"/>
                    <a:pt x="64" y="171"/>
                    <a:pt x="65" y="171"/>
                  </a:cubicBezTo>
                  <a:cubicBezTo>
                    <a:pt x="66" y="170"/>
                    <a:pt x="66" y="168"/>
                    <a:pt x="67" y="166"/>
                  </a:cubicBezTo>
                  <a:cubicBezTo>
                    <a:pt x="67" y="169"/>
                    <a:pt x="69" y="170"/>
                    <a:pt x="69" y="173"/>
                  </a:cubicBezTo>
                  <a:cubicBezTo>
                    <a:pt x="70" y="176"/>
                    <a:pt x="70" y="181"/>
                    <a:pt x="70" y="185"/>
                  </a:cubicBezTo>
                  <a:cubicBezTo>
                    <a:pt x="74" y="182"/>
                    <a:pt x="77" y="179"/>
                    <a:pt x="82" y="179"/>
                  </a:cubicBezTo>
                  <a:cubicBezTo>
                    <a:pt x="90" y="178"/>
                    <a:pt x="96" y="179"/>
                    <a:pt x="98" y="170"/>
                  </a:cubicBezTo>
                  <a:cubicBezTo>
                    <a:pt x="98" y="172"/>
                    <a:pt x="99" y="172"/>
                    <a:pt x="100" y="173"/>
                  </a:cubicBezTo>
                  <a:cubicBezTo>
                    <a:pt x="102" y="175"/>
                    <a:pt x="103" y="177"/>
                    <a:pt x="106" y="178"/>
                  </a:cubicBezTo>
                  <a:cubicBezTo>
                    <a:pt x="106" y="178"/>
                    <a:pt x="106" y="178"/>
                    <a:pt x="106" y="178"/>
                  </a:cubicBezTo>
                  <a:cubicBezTo>
                    <a:pt x="108" y="178"/>
                    <a:pt x="110" y="176"/>
                    <a:pt x="111" y="176"/>
                  </a:cubicBezTo>
                  <a:cubicBezTo>
                    <a:pt x="112" y="179"/>
                    <a:pt x="111" y="183"/>
                    <a:pt x="115" y="183"/>
                  </a:cubicBezTo>
                  <a:cubicBezTo>
                    <a:pt x="115" y="183"/>
                    <a:pt x="115" y="183"/>
                    <a:pt x="115" y="183"/>
                  </a:cubicBezTo>
                  <a:cubicBezTo>
                    <a:pt x="116" y="183"/>
                    <a:pt x="117" y="182"/>
                    <a:pt x="118" y="182"/>
                  </a:cubicBezTo>
                  <a:cubicBezTo>
                    <a:pt x="121" y="180"/>
                    <a:pt x="122" y="179"/>
                    <a:pt x="123" y="176"/>
                  </a:cubicBezTo>
                  <a:cubicBezTo>
                    <a:pt x="123" y="178"/>
                    <a:pt x="125" y="179"/>
                    <a:pt x="126" y="181"/>
                  </a:cubicBezTo>
                  <a:cubicBezTo>
                    <a:pt x="127" y="179"/>
                    <a:pt x="128" y="178"/>
                    <a:pt x="129" y="177"/>
                  </a:cubicBezTo>
                  <a:cubicBezTo>
                    <a:pt x="127" y="178"/>
                    <a:pt x="128" y="180"/>
                    <a:pt x="128" y="182"/>
                  </a:cubicBezTo>
                  <a:cubicBezTo>
                    <a:pt x="128" y="182"/>
                    <a:pt x="130" y="183"/>
                    <a:pt x="131" y="183"/>
                  </a:cubicBezTo>
                  <a:cubicBezTo>
                    <a:pt x="131" y="183"/>
                    <a:pt x="131" y="183"/>
                    <a:pt x="131" y="183"/>
                  </a:cubicBezTo>
                  <a:cubicBezTo>
                    <a:pt x="132" y="183"/>
                    <a:pt x="132" y="182"/>
                    <a:pt x="132" y="180"/>
                  </a:cubicBezTo>
                  <a:cubicBezTo>
                    <a:pt x="133" y="183"/>
                    <a:pt x="133" y="187"/>
                    <a:pt x="134" y="189"/>
                  </a:cubicBezTo>
                  <a:cubicBezTo>
                    <a:pt x="134" y="190"/>
                    <a:pt x="134" y="199"/>
                    <a:pt x="136" y="200"/>
                  </a:cubicBezTo>
                  <a:cubicBezTo>
                    <a:pt x="136" y="200"/>
                    <a:pt x="136" y="200"/>
                    <a:pt x="136" y="200"/>
                  </a:cubicBezTo>
                  <a:cubicBezTo>
                    <a:pt x="137" y="200"/>
                    <a:pt x="138" y="199"/>
                    <a:pt x="138" y="198"/>
                  </a:cubicBezTo>
                  <a:cubicBezTo>
                    <a:pt x="140" y="198"/>
                    <a:pt x="142" y="196"/>
                    <a:pt x="143" y="196"/>
                  </a:cubicBezTo>
                  <a:cubicBezTo>
                    <a:pt x="145" y="195"/>
                    <a:pt x="147" y="194"/>
                    <a:pt x="149" y="193"/>
                  </a:cubicBezTo>
                  <a:cubicBezTo>
                    <a:pt x="151" y="192"/>
                    <a:pt x="153" y="192"/>
                    <a:pt x="155" y="191"/>
                  </a:cubicBezTo>
                  <a:cubicBezTo>
                    <a:pt x="158" y="190"/>
                    <a:pt x="164" y="188"/>
                    <a:pt x="167" y="186"/>
                  </a:cubicBezTo>
                  <a:cubicBezTo>
                    <a:pt x="169" y="184"/>
                    <a:pt x="169" y="180"/>
                    <a:pt x="170" y="177"/>
                  </a:cubicBezTo>
                  <a:cubicBezTo>
                    <a:pt x="172" y="176"/>
                    <a:pt x="173" y="176"/>
                    <a:pt x="173" y="174"/>
                  </a:cubicBezTo>
                  <a:cubicBezTo>
                    <a:pt x="173" y="173"/>
                    <a:pt x="172" y="170"/>
                    <a:pt x="171" y="168"/>
                  </a:cubicBezTo>
                  <a:cubicBezTo>
                    <a:pt x="171" y="169"/>
                    <a:pt x="172" y="170"/>
                    <a:pt x="173" y="170"/>
                  </a:cubicBezTo>
                  <a:cubicBezTo>
                    <a:pt x="174" y="170"/>
                    <a:pt x="175" y="169"/>
                    <a:pt x="176" y="168"/>
                  </a:cubicBezTo>
                  <a:cubicBezTo>
                    <a:pt x="177" y="166"/>
                    <a:pt x="176" y="161"/>
                    <a:pt x="175" y="160"/>
                  </a:cubicBezTo>
                  <a:cubicBezTo>
                    <a:pt x="176" y="160"/>
                    <a:pt x="177" y="159"/>
                    <a:pt x="179" y="158"/>
                  </a:cubicBezTo>
                  <a:cubicBezTo>
                    <a:pt x="184" y="154"/>
                    <a:pt x="178" y="154"/>
                    <a:pt x="174" y="152"/>
                  </a:cubicBezTo>
                  <a:cubicBezTo>
                    <a:pt x="175" y="151"/>
                    <a:pt x="177" y="150"/>
                    <a:pt x="177" y="149"/>
                  </a:cubicBezTo>
                  <a:cubicBezTo>
                    <a:pt x="178" y="142"/>
                    <a:pt x="178" y="143"/>
                    <a:pt x="173" y="143"/>
                  </a:cubicBezTo>
                  <a:cubicBezTo>
                    <a:pt x="174" y="142"/>
                    <a:pt x="175" y="141"/>
                    <a:pt x="177" y="141"/>
                  </a:cubicBezTo>
                  <a:cubicBezTo>
                    <a:pt x="178" y="140"/>
                    <a:pt x="179" y="139"/>
                    <a:pt x="181" y="138"/>
                  </a:cubicBezTo>
                  <a:cubicBezTo>
                    <a:pt x="185" y="134"/>
                    <a:pt x="185" y="132"/>
                    <a:pt x="185" y="127"/>
                  </a:cubicBezTo>
                  <a:cubicBezTo>
                    <a:pt x="186" y="129"/>
                    <a:pt x="186" y="131"/>
                    <a:pt x="188" y="131"/>
                  </a:cubicBezTo>
                  <a:cubicBezTo>
                    <a:pt x="188" y="131"/>
                    <a:pt x="189" y="131"/>
                    <a:pt x="189" y="130"/>
                  </a:cubicBezTo>
                  <a:cubicBezTo>
                    <a:pt x="193" y="129"/>
                    <a:pt x="195" y="123"/>
                    <a:pt x="198" y="120"/>
                  </a:cubicBezTo>
                  <a:cubicBezTo>
                    <a:pt x="198" y="120"/>
                    <a:pt x="199" y="121"/>
                    <a:pt x="200" y="121"/>
                  </a:cubicBezTo>
                  <a:cubicBezTo>
                    <a:pt x="202" y="121"/>
                    <a:pt x="204" y="119"/>
                    <a:pt x="206" y="119"/>
                  </a:cubicBezTo>
                  <a:cubicBezTo>
                    <a:pt x="202" y="117"/>
                    <a:pt x="207" y="112"/>
                    <a:pt x="206" y="111"/>
                  </a:cubicBezTo>
                  <a:cubicBezTo>
                    <a:pt x="206" y="111"/>
                    <a:pt x="205" y="111"/>
                    <a:pt x="205" y="111"/>
                  </a:cubicBezTo>
                  <a:cubicBezTo>
                    <a:pt x="205" y="111"/>
                    <a:pt x="202" y="113"/>
                    <a:pt x="202" y="113"/>
                  </a:cubicBezTo>
                  <a:cubicBezTo>
                    <a:pt x="202" y="109"/>
                    <a:pt x="202" y="106"/>
                    <a:pt x="202" y="101"/>
                  </a:cubicBezTo>
                  <a:cubicBezTo>
                    <a:pt x="203" y="97"/>
                    <a:pt x="204" y="93"/>
                    <a:pt x="206" y="89"/>
                  </a:cubicBezTo>
                  <a:cubicBezTo>
                    <a:pt x="207" y="87"/>
                    <a:pt x="208" y="83"/>
                    <a:pt x="211" y="82"/>
                  </a:cubicBezTo>
                  <a:cubicBezTo>
                    <a:pt x="211" y="82"/>
                    <a:pt x="211" y="82"/>
                    <a:pt x="212" y="82"/>
                  </a:cubicBezTo>
                  <a:cubicBezTo>
                    <a:pt x="212" y="82"/>
                    <a:pt x="213" y="82"/>
                    <a:pt x="213" y="82"/>
                  </a:cubicBezTo>
                  <a:cubicBezTo>
                    <a:pt x="214" y="82"/>
                    <a:pt x="214" y="82"/>
                    <a:pt x="215" y="82"/>
                  </a:cubicBezTo>
                  <a:cubicBezTo>
                    <a:pt x="215" y="82"/>
                    <a:pt x="215" y="82"/>
                    <a:pt x="215" y="82"/>
                  </a:cubicBezTo>
                  <a:cubicBezTo>
                    <a:pt x="216" y="81"/>
                    <a:pt x="215" y="81"/>
                    <a:pt x="214" y="80"/>
                  </a:cubicBezTo>
                  <a:cubicBezTo>
                    <a:pt x="214" y="78"/>
                    <a:pt x="213" y="77"/>
                    <a:pt x="212" y="75"/>
                  </a:cubicBezTo>
                  <a:cubicBezTo>
                    <a:pt x="216" y="76"/>
                    <a:pt x="215" y="79"/>
                    <a:pt x="219" y="81"/>
                  </a:cubicBezTo>
                  <a:cubicBezTo>
                    <a:pt x="222" y="81"/>
                    <a:pt x="223" y="81"/>
                    <a:pt x="226" y="81"/>
                  </a:cubicBezTo>
                  <a:cubicBezTo>
                    <a:pt x="228" y="81"/>
                    <a:pt x="230" y="82"/>
                    <a:pt x="231" y="82"/>
                  </a:cubicBezTo>
                  <a:cubicBezTo>
                    <a:pt x="234" y="82"/>
                    <a:pt x="236" y="81"/>
                    <a:pt x="238" y="77"/>
                  </a:cubicBezTo>
                  <a:cubicBezTo>
                    <a:pt x="236" y="76"/>
                    <a:pt x="234" y="75"/>
                    <a:pt x="232" y="74"/>
                  </a:cubicBezTo>
                  <a:cubicBezTo>
                    <a:pt x="224" y="67"/>
                    <a:pt x="215" y="61"/>
                    <a:pt x="208" y="53"/>
                  </a:cubicBezTo>
                  <a:cubicBezTo>
                    <a:pt x="209" y="53"/>
                    <a:pt x="209" y="53"/>
                    <a:pt x="210" y="53"/>
                  </a:cubicBezTo>
                  <a:cubicBezTo>
                    <a:pt x="211" y="53"/>
                    <a:pt x="211" y="53"/>
                    <a:pt x="210" y="51"/>
                  </a:cubicBezTo>
                  <a:cubicBezTo>
                    <a:pt x="211" y="52"/>
                    <a:pt x="211" y="52"/>
                    <a:pt x="212" y="52"/>
                  </a:cubicBezTo>
                  <a:cubicBezTo>
                    <a:pt x="213" y="52"/>
                    <a:pt x="214" y="51"/>
                    <a:pt x="214" y="49"/>
                  </a:cubicBezTo>
                  <a:cubicBezTo>
                    <a:pt x="215" y="46"/>
                    <a:pt x="213" y="42"/>
                    <a:pt x="210" y="39"/>
                  </a:cubicBezTo>
                  <a:cubicBezTo>
                    <a:pt x="210" y="39"/>
                    <a:pt x="205" y="36"/>
                    <a:pt x="205" y="34"/>
                  </a:cubicBezTo>
                  <a:cubicBezTo>
                    <a:pt x="208" y="33"/>
                    <a:pt x="208" y="33"/>
                    <a:pt x="208" y="33"/>
                  </a:cubicBezTo>
                  <a:cubicBezTo>
                    <a:pt x="206" y="33"/>
                    <a:pt x="205" y="32"/>
                    <a:pt x="204" y="32"/>
                  </a:cubicBezTo>
                  <a:cubicBezTo>
                    <a:pt x="205" y="31"/>
                    <a:pt x="205" y="30"/>
                    <a:pt x="205" y="28"/>
                  </a:cubicBezTo>
                  <a:cubicBezTo>
                    <a:pt x="204" y="28"/>
                    <a:pt x="203" y="28"/>
                    <a:pt x="202" y="27"/>
                  </a:cubicBezTo>
                  <a:cubicBezTo>
                    <a:pt x="201" y="27"/>
                    <a:pt x="197" y="25"/>
                    <a:pt x="197" y="25"/>
                  </a:cubicBezTo>
                  <a:cubicBezTo>
                    <a:pt x="197" y="24"/>
                    <a:pt x="197" y="24"/>
                    <a:pt x="197" y="24"/>
                  </a:cubicBezTo>
                  <a:cubicBezTo>
                    <a:pt x="197" y="24"/>
                    <a:pt x="198" y="24"/>
                    <a:pt x="198" y="24"/>
                  </a:cubicBezTo>
                  <a:cubicBezTo>
                    <a:pt x="198" y="24"/>
                    <a:pt x="198" y="25"/>
                    <a:pt x="198" y="25"/>
                  </a:cubicBezTo>
                  <a:cubicBezTo>
                    <a:pt x="198" y="25"/>
                    <a:pt x="198" y="25"/>
                    <a:pt x="198" y="25"/>
                  </a:cubicBezTo>
                  <a:cubicBezTo>
                    <a:pt x="198" y="25"/>
                    <a:pt x="198" y="25"/>
                    <a:pt x="198" y="25"/>
                  </a:cubicBezTo>
                  <a:cubicBezTo>
                    <a:pt x="198" y="25"/>
                    <a:pt x="199" y="25"/>
                    <a:pt x="199" y="24"/>
                  </a:cubicBezTo>
                  <a:cubicBezTo>
                    <a:pt x="199" y="24"/>
                    <a:pt x="199" y="24"/>
                    <a:pt x="199" y="24"/>
                  </a:cubicBezTo>
                  <a:cubicBezTo>
                    <a:pt x="199" y="24"/>
                    <a:pt x="199" y="24"/>
                    <a:pt x="199" y="24"/>
                  </a:cubicBezTo>
                  <a:cubicBezTo>
                    <a:pt x="200" y="24"/>
                    <a:pt x="201" y="21"/>
                    <a:pt x="201" y="20"/>
                  </a:cubicBezTo>
                  <a:cubicBezTo>
                    <a:pt x="201" y="20"/>
                    <a:pt x="201" y="20"/>
                    <a:pt x="201" y="20"/>
                  </a:cubicBezTo>
                  <a:cubicBezTo>
                    <a:pt x="200" y="20"/>
                    <a:pt x="199" y="20"/>
                    <a:pt x="199" y="20"/>
                  </a:cubicBezTo>
                  <a:cubicBezTo>
                    <a:pt x="198" y="19"/>
                    <a:pt x="198" y="19"/>
                    <a:pt x="198" y="19"/>
                  </a:cubicBezTo>
                  <a:cubicBezTo>
                    <a:pt x="197" y="18"/>
                    <a:pt x="197" y="18"/>
                    <a:pt x="197" y="18"/>
                  </a:cubicBezTo>
                  <a:cubicBezTo>
                    <a:pt x="198" y="18"/>
                    <a:pt x="198" y="18"/>
                    <a:pt x="198" y="18"/>
                  </a:cubicBezTo>
                  <a:cubicBezTo>
                    <a:pt x="196" y="17"/>
                    <a:pt x="196" y="17"/>
                    <a:pt x="194" y="16"/>
                  </a:cubicBezTo>
                  <a:cubicBezTo>
                    <a:pt x="195" y="16"/>
                    <a:pt x="195" y="16"/>
                    <a:pt x="195" y="16"/>
                  </a:cubicBezTo>
                  <a:cubicBezTo>
                    <a:pt x="195" y="16"/>
                    <a:pt x="196" y="16"/>
                    <a:pt x="196" y="16"/>
                  </a:cubicBezTo>
                  <a:cubicBezTo>
                    <a:pt x="196" y="16"/>
                    <a:pt x="197" y="16"/>
                    <a:pt x="198" y="16"/>
                  </a:cubicBezTo>
                  <a:cubicBezTo>
                    <a:pt x="198" y="16"/>
                    <a:pt x="199" y="16"/>
                    <a:pt x="200" y="16"/>
                  </a:cubicBezTo>
                  <a:cubicBezTo>
                    <a:pt x="201" y="16"/>
                    <a:pt x="201" y="16"/>
                    <a:pt x="202" y="16"/>
                  </a:cubicBezTo>
                  <a:cubicBezTo>
                    <a:pt x="204" y="16"/>
                    <a:pt x="202" y="13"/>
                    <a:pt x="202" y="12"/>
                  </a:cubicBezTo>
                  <a:cubicBezTo>
                    <a:pt x="205" y="13"/>
                    <a:pt x="208" y="14"/>
                    <a:pt x="210" y="14"/>
                  </a:cubicBezTo>
                  <a:cubicBezTo>
                    <a:pt x="209" y="13"/>
                    <a:pt x="209" y="11"/>
                    <a:pt x="207" y="10"/>
                  </a:cubicBezTo>
                  <a:cubicBezTo>
                    <a:pt x="207" y="9"/>
                    <a:pt x="204" y="6"/>
                    <a:pt x="202" y="6"/>
                  </a:cubicBezTo>
                  <a:cubicBezTo>
                    <a:pt x="202" y="6"/>
                    <a:pt x="202" y="6"/>
                    <a:pt x="202" y="6"/>
                  </a:cubicBezTo>
                  <a:cubicBezTo>
                    <a:pt x="202" y="6"/>
                    <a:pt x="202" y="5"/>
                    <a:pt x="202" y="5"/>
                  </a:cubicBezTo>
                  <a:cubicBezTo>
                    <a:pt x="201" y="5"/>
                    <a:pt x="200" y="4"/>
                    <a:pt x="199" y="4"/>
                  </a:cubicBezTo>
                  <a:cubicBezTo>
                    <a:pt x="193" y="2"/>
                    <a:pt x="187"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1509"/>
            <p:cNvSpPr>
              <a:spLocks noEditPoints="1"/>
            </p:cNvSpPr>
            <p:nvPr/>
          </p:nvSpPr>
          <p:spPr bwMode="auto">
            <a:xfrm>
              <a:off x="4000160" y="4382731"/>
              <a:ext cx="302026" cy="213432"/>
            </a:xfrm>
            <a:custGeom>
              <a:gdLst>
                <a:gd name="T0" fmla="*/ 76 w 95"/>
                <a:gd name="T1" fmla="*/ 58 h 67"/>
                <a:gd name="T2" fmla="*/ 76 w 95"/>
                <a:gd name="T3" fmla="*/ 58 h 67"/>
                <a:gd name="T4" fmla="*/ 32 w 95"/>
                <a:gd name="T5" fmla="*/ 9 h 67"/>
                <a:gd name="T6" fmla="*/ 13 w 95"/>
                <a:gd name="T7" fmla="*/ 36 h 67"/>
                <a:gd name="T8" fmla="*/ 6 w 95"/>
                <a:gd name="T9" fmla="*/ 36 h 67"/>
                <a:gd name="T10" fmla="*/ 3 w 95"/>
                <a:gd name="T11" fmla="*/ 41 h 67"/>
                <a:gd name="T12" fmla="*/ 4 w 95"/>
                <a:gd name="T13" fmla="*/ 47 h 67"/>
                <a:gd name="T14" fmla="*/ 2 w 95"/>
                <a:gd name="T15" fmla="*/ 56 h 67"/>
                <a:gd name="T16" fmla="*/ 5 w 95"/>
                <a:gd name="T17" fmla="*/ 63 h 67"/>
                <a:gd name="T18" fmla="*/ 13 w 95"/>
                <a:gd name="T19" fmla="*/ 60 h 67"/>
                <a:gd name="T20" fmla="*/ 17 w 95"/>
                <a:gd name="T21" fmla="*/ 60 h 67"/>
                <a:gd name="T22" fmla="*/ 18 w 95"/>
                <a:gd name="T23" fmla="*/ 61 h 67"/>
                <a:gd name="T24" fmla="*/ 28 w 95"/>
                <a:gd name="T25" fmla="*/ 60 h 67"/>
                <a:gd name="T26" fmla="*/ 31 w 95"/>
                <a:gd name="T27" fmla="*/ 60 h 67"/>
                <a:gd name="T28" fmla="*/ 56 w 95"/>
                <a:gd name="T29" fmla="*/ 65 h 67"/>
                <a:gd name="T30" fmla="*/ 61 w 95"/>
                <a:gd name="T31" fmla="*/ 64 h 67"/>
                <a:gd name="T32" fmla="*/ 79 w 95"/>
                <a:gd name="T33" fmla="*/ 61 h 67"/>
                <a:gd name="T34" fmla="*/ 77 w 95"/>
                <a:gd name="T35" fmla="*/ 60 h 67"/>
                <a:gd name="T36" fmla="*/ 76 w 95"/>
                <a:gd name="T37" fmla="*/ 60 h 67"/>
                <a:gd name="T38" fmla="*/ 74 w 95"/>
                <a:gd name="T39" fmla="*/ 58 h 67"/>
                <a:gd name="T40" fmla="*/ 73 w 95"/>
                <a:gd name="T41" fmla="*/ 48 h 67"/>
                <a:gd name="T42" fmla="*/ 77 w 95"/>
                <a:gd name="T43" fmla="*/ 49 h 67"/>
                <a:gd name="T44" fmla="*/ 89 w 95"/>
                <a:gd name="T45" fmla="*/ 44 h 67"/>
                <a:gd name="T46" fmla="*/ 93 w 95"/>
                <a:gd name="T47" fmla="*/ 39 h 67"/>
                <a:gd name="T48" fmla="*/ 86 w 95"/>
                <a:gd name="T49" fmla="*/ 39 h 67"/>
                <a:gd name="T50" fmla="*/ 78 w 95"/>
                <a:gd name="T51" fmla="*/ 36 h 67"/>
                <a:gd name="T52" fmla="*/ 70 w 95"/>
                <a:gd name="T53" fmla="*/ 29 h 67"/>
                <a:gd name="T54" fmla="*/ 64 w 95"/>
                <a:gd name="T55" fmla="*/ 31 h 67"/>
                <a:gd name="T56" fmla="*/ 63 w 95"/>
                <a:gd name="T57" fmla="*/ 29 h 67"/>
                <a:gd name="T58" fmla="*/ 65 w 95"/>
                <a:gd name="T59" fmla="*/ 29 h 67"/>
                <a:gd name="T60" fmla="*/ 64 w 95"/>
                <a:gd name="T61" fmla="*/ 24 h 67"/>
                <a:gd name="T62" fmla="*/ 62 w 95"/>
                <a:gd name="T63" fmla="*/ 25 h 67"/>
                <a:gd name="T64" fmla="*/ 55 w 95"/>
                <a:gd name="T65" fmla="*/ 26 h 67"/>
                <a:gd name="T66" fmla="*/ 56 w 95"/>
                <a:gd name="T67" fmla="*/ 21 h 67"/>
                <a:gd name="T68" fmla="*/ 58 w 95"/>
                <a:gd name="T69" fmla="*/ 17 h 67"/>
                <a:gd name="T70" fmla="*/ 50 w 95"/>
                <a:gd name="T71" fmla="*/ 10 h 67"/>
                <a:gd name="T72" fmla="*/ 43 w 95"/>
                <a:gd name="T73" fmla="*/ 1 h 67"/>
                <a:gd name="T74" fmla="*/ 36 w 95"/>
                <a:gd name="T75" fmla="*/ 11 h 67"/>
                <a:gd name="T76" fmla="*/ 35 w 95"/>
                <a:gd name="T77" fmla="*/ 0 h 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67">
                  <a:moveTo>
                    <a:pt x="76" y="58"/>
                  </a:moveTo>
                  <a:cubicBezTo>
                    <a:pt x="76" y="58"/>
                    <a:pt x="76" y="58"/>
                    <a:pt x="76" y="58"/>
                  </a:cubicBezTo>
                  <a:cubicBezTo>
                    <a:pt x="76" y="58"/>
                    <a:pt x="76" y="58"/>
                    <a:pt x="76" y="58"/>
                  </a:cubicBezTo>
                  <a:cubicBezTo>
                    <a:pt x="76" y="58"/>
                    <a:pt x="76" y="58"/>
                    <a:pt x="76" y="58"/>
                  </a:cubicBezTo>
                  <a:moveTo>
                    <a:pt x="35" y="0"/>
                  </a:moveTo>
                  <a:cubicBezTo>
                    <a:pt x="34" y="3"/>
                    <a:pt x="34" y="7"/>
                    <a:pt x="32" y="9"/>
                  </a:cubicBezTo>
                  <a:cubicBezTo>
                    <a:pt x="29" y="12"/>
                    <a:pt x="26" y="16"/>
                    <a:pt x="22" y="19"/>
                  </a:cubicBezTo>
                  <a:cubicBezTo>
                    <a:pt x="18" y="24"/>
                    <a:pt x="16" y="30"/>
                    <a:pt x="13" y="36"/>
                  </a:cubicBezTo>
                  <a:cubicBezTo>
                    <a:pt x="10" y="35"/>
                    <a:pt x="9" y="34"/>
                    <a:pt x="9" y="34"/>
                  </a:cubicBezTo>
                  <a:cubicBezTo>
                    <a:pt x="8" y="34"/>
                    <a:pt x="7" y="35"/>
                    <a:pt x="6" y="36"/>
                  </a:cubicBezTo>
                  <a:cubicBezTo>
                    <a:pt x="4" y="38"/>
                    <a:pt x="2" y="39"/>
                    <a:pt x="2" y="41"/>
                  </a:cubicBezTo>
                  <a:cubicBezTo>
                    <a:pt x="3" y="41"/>
                    <a:pt x="3" y="41"/>
                    <a:pt x="3" y="41"/>
                  </a:cubicBezTo>
                  <a:cubicBezTo>
                    <a:pt x="3" y="42"/>
                    <a:pt x="4" y="42"/>
                    <a:pt x="5" y="43"/>
                  </a:cubicBezTo>
                  <a:cubicBezTo>
                    <a:pt x="5" y="44"/>
                    <a:pt x="4" y="46"/>
                    <a:pt x="4" y="47"/>
                  </a:cubicBezTo>
                  <a:cubicBezTo>
                    <a:pt x="4" y="49"/>
                    <a:pt x="2" y="50"/>
                    <a:pt x="0" y="50"/>
                  </a:cubicBezTo>
                  <a:cubicBezTo>
                    <a:pt x="1" y="52"/>
                    <a:pt x="2" y="54"/>
                    <a:pt x="2" y="56"/>
                  </a:cubicBezTo>
                  <a:cubicBezTo>
                    <a:pt x="2" y="56"/>
                    <a:pt x="2" y="56"/>
                    <a:pt x="2" y="56"/>
                  </a:cubicBezTo>
                  <a:cubicBezTo>
                    <a:pt x="3" y="58"/>
                    <a:pt x="4" y="61"/>
                    <a:pt x="5" y="63"/>
                  </a:cubicBezTo>
                  <a:cubicBezTo>
                    <a:pt x="7" y="67"/>
                    <a:pt x="7" y="67"/>
                    <a:pt x="7" y="67"/>
                  </a:cubicBezTo>
                  <a:cubicBezTo>
                    <a:pt x="9" y="65"/>
                    <a:pt x="11" y="62"/>
                    <a:pt x="13" y="60"/>
                  </a:cubicBezTo>
                  <a:cubicBezTo>
                    <a:pt x="16" y="58"/>
                    <a:pt x="16" y="58"/>
                    <a:pt x="16" y="58"/>
                  </a:cubicBezTo>
                  <a:cubicBezTo>
                    <a:pt x="17" y="60"/>
                    <a:pt x="17" y="60"/>
                    <a:pt x="17" y="60"/>
                  </a:cubicBezTo>
                  <a:cubicBezTo>
                    <a:pt x="17" y="61"/>
                    <a:pt x="17" y="61"/>
                    <a:pt x="17" y="61"/>
                  </a:cubicBezTo>
                  <a:cubicBezTo>
                    <a:pt x="18" y="61"/>
                    <a:pt x="18" y="61"/>
                    <a:pt x="18" y="61"/>
                  </a:cubicBezTo>
                  <a:cubicBezTo>
                    <a:pt x="19" y="61"/>
                    <a:pt x="19" y="61"/>
                    <a:pt x="19" y="61"/>
                  </a:cubicBezTo>
                  <a:cubicBezTo>
                    <a:pt x="21" y="61"/>
                    <a:pt x="23" y="60"/>
                    <a:pt x="28" y="60"/>
                  </a:cubicBezTo>
                  <a:cubicBezTo>
                    <a:pt x="28" y="60"/>
                    <a:pt x="28" y="60"/>
                    <a:pt x="28" y="60"/>
                  </a:cubicBezTo>
                  <a:cubicBezTo>
                    <a:pt x="29" y="60"/>
                    <a:pt x="30" y="60"/>
                    <a:pt x="31" y="60"/>
                  </a:cubicBezTo>
                  <a:cubicBezTo>
                    <a:pt x="38" y="60"/>
                    <a:pt x="45" y="62"/>
                    <a:pt x="51" y="64"/>
                  </a:cubicBezTo>
                  <a:cubicBezTo>
                    <a:pt x="52" y="64"/>
                    <a:pt x="54" y="65"/>
                    <a:pt x="56" y="65"/>
                  </a:cubicBezTo>
                  <a:cubicBezTo>
                    <a:pt x="56" y="64"/>
                    <a:pt x="56" y="63"/>
                    <a:pt x="57" y="62"/>
                  </a:cubicBezTo>
                  <a:cubicBezTo>
                    <a:pt x="57" y="64"/>
                    <a:pt x="59" y="64"/>
                    <a:pt x="61" y="64"/>
                  </a:cubicBezTo>
                  <a:cubicBezTo>
                    <a:pt x="62" y="64"/>
                    <a:pt x="64" y="64"/>
                    <a:pt x="67" y="64"/>
                  </a:cubicBezTo>
                  <a:cubicBezTo>
                    <a:pt x="73" y="64"/>
                    <a:pt x="79" y="64"/>
                    <a:pt x="79" y="61"/>
                  </a:cubicBezTo>
                  <a:cubicBezTo>
                    <a:pt x="79" y="60"/>
                    <a:pt x="79" y="60"/>
                    <a:pt x="78" y="60"/>
                  </a:cubicBezTo>
                  <a:cubicBezTo>
                    <a:pt x="78" y="60"/>
                    <a:pt x="77" y="60"/>
                    <a:pt x="77" y="60"/>
                  </a:cubicBezTo>
                  <a:cubicBezTo>
                    <a:pt x="77" y="60"/>
                    <a:pt x="77" y="60"/>
                    <a:pt x="76" y="60"/>
                  </a:cubicBezTo>
                  <a:cubicBezTo>
                    <a:pt x="76" y="60"/>
                    <a:pt x="76" y="60"/>
                    <a:pt x="76" y="60"/>
                  </a:cubicBezTo>
                  <a:cubicBezTo>
                    <a:pt x="76" y="60"/>
                    <a:pt x="76" y="58"/>
                    <a:pt x="76" y="58"/>
                  </a:cubicBezTo>
                  <a:cubicBezTo>
                    <a:pt x="75" y="58"/>
                    <a:pt x="74" y="58"/>
                    <a:pt x="74" y="58"/>
                  </a:cubicBezTo>
                  <a:cubicBezTo>
                    <a:pt x="73" y="57"/>
                    <a:pt x="70" y="56"/>
                    <a:pt x="70" y="54"/>
                  </a:cubicBezTo>
                  <a:cubicBezTo>
                    <a:pt x="68" y="50"/>
                    <a:pt x="70" y="48"/>
                    <a:pt x="73" y="48"/>
                  </a:cubicBezTo>
                  <a:cubicBezTo>
                    <a:pt x="74" y="48"/>
                    <a:pt x="74" y="48"/>
                    <a:pt x="75" y="48"/>
                  </a:cubicBezTo>
                  <a:cubicBezTo>
                    <a:pt x="76" y="49"/>
                    <a:pt x="75" y="49"/>
                    <a:pt x="77" y="49"/>
                  </a:cubicBezTo>
                  <a:cubicBezTo>
                    <a:pt x="77" y="49"/>
                    <a:pt x="77" y="49"/>
                    <a:pt x="77" y="49"/>
                  </a:cubicBezTo>
                  <a:cubicBezTo>
                    <a:pt x="81" y="49"/>
                    <a:pt x="86" y="46"/>
                    <a:pt x="89" y="44"/>
                  </a:cubicBezTo>
                  <a:cubicBezTo>
                    <a:pt x="90" y="44"/>
                    <a:pt x="94" y="43"/>
                    <a:pt x="94" y="42"/>
                  </a:cubicBezTo>
                  <a:cubicBezTo>
                    <a:pt x="95" y="41"/>
                    <a:pt x="94" y="39"/>
                    <a:pt x="93" y="39"/>
                  </a:cubicBezTo>
                  <a:cubicBezTo>
                    <a:pt x="92" y="39"/>
                    <a:pt x="90" y="39"/>
                    <a:pt x="89" y="39"/>
                  </a:cubicBezTo>
                  <a:cubicBezTo>
                    <a:pt x="88" y="39"/>
                    <a:pt x="87" y="39"/>
                    <a:pt x="86" y="39"/>
                  </a:cubicBezTo>
                  <a:cubicBezTo>
                    <a:pt x="84" y="38"/>
                    <a:pt x="82" y="34"/>
                    <a:pt x="80" y="34"/>
                  </a:cubicBezTo>
                  <a:cubicBezTo>
                    <a:pt x="79" y="34"/>
                    <a:pt x="78" y="34"/>
                    <a:pt x="78" y="36"/>
                  </a:cubicBezTo>
                  <a:cubicBezTo>
                    <a:pt x="78" y="33"/>
                    <a:pt x="73" y="29"/>
                    <a:pt x="70" y="29"/>
                  </a:cubicBezTo>
                  <a:cubicBezTo>
                    <a:pt x="70" y="29"/>
                    <a:pt x="70" y="29"/>
                    <a:pt x="70" y="29"/>
                  </a:cubicBezTo>
                  <a:cubicBezTo>
                    <a:pt x="68" y="30"/>
                    <a:pt x="69" y="31"/>
                    <a:pt x="66" y="31"/>
                  </a:cubicBezTo>
                  <a:cubicBezTo>
                    <a:pt x="66" y="31"/>
                    <a:pt x="65" y="31"/>
                    <a:pt x="64" y="31"/>
                  </a:cubicBezTo>
                  <a:cubicBezTo>
                    <a:pt x="63" y="31"/>
                    <a:pt x="61" y="31"/>
                    <a:pt x="62" y="30"/>
                  </a:cubicBezTo>
                  <a:cubicBezTo>
                    <a:pt x="62" y="29"/>
                    <a:pt x="63" y="29"/>
                    <a:pt x="63" y="29"/>
                  </a:cubicBezTo>
                  <a:cubicBezTo>
                    <a:pt x="64" y="29"/>
                    <a:pt x="64" y="29"/>
                    <a:pt x="64" y="29"/>
                  </a:cubicBezTo>
                  <a:cubicBezTo>
                    <a:pt x="65" y="29"/>
                    <a:pt x="65" y="29"/>
                    <a:pt x="65" y="29"/>
                  </a:cubicBezTo>
                  <a:cubicBezTo>
                    <a:pt x="66" y="29"/>
                    <a:pt x="67" y="29"/>
                    <a:pt x="67" y="28"/>
                  </a:cubicBezTo>
                  <a:cubicBezTo>
                    <a:pt x="68" y="27"/>
                    <a:pt x="65" y="24"/>
                    <a:pt x="64" y="24"/>
                  </a:cubicBezTo>
                  <a:cubicBezTo>
                    <a:pt x="64" y="24"/>
                    <a:pt x="64" y="24"/>
                    <a:pt x="64" y="24"/>
                  </a:cubicBezTo>
                  <a:cubicBezTo>
                    <a:pt x="63" y="24"/>
                    <a:pt x="63" y="25"/>
                    <a:pt x="62" y="25"/>
                  </a:cubicBezTo>
                  <a:cubicBezTo>
                    <a:pt x="59" y="27"/>
                    <a:pt x="56" y="27"/>
                    <a:pt x="52" y="28"/>
                  </a:cubicBezTo>
                  <a:cubicBezTo>
                    <a:pt x="53" y="27"/>
                    <a:pt x="54" y="27"/>
                    <a:pt x="55" y="26"/>
                  </a:cubicBezTo>
                  <a:cubicBezTo>
                    <a:pt x="57" y="25"/>
                    <a:pt x="56" y="26"/>
                    <a:pt x="56" y="24"/>
                  </a:cubicBezTo>
                  <a:cubicBezTo>
                    <a:pt x="56" y="23"/>
                    <a:pt x="55" y="22"/>
                    <a:pt x="56" y="21"/>
                  </a:cubicBezTo>
                  <a:cubicBezTo>
                    <a:pt x="56" y="19"/>
                    <a:pt x="55" y="20"/>
                    <a:pt x="56" y="19"/>
                  </a:cubicBezTo>
                  <a:cubicBezTo>
                    <a:pt x="57" y="18"/>
                    <a:pt x="58" y="19"/>
                    <a:pt x="58" y="17"/>
                  </a:cubicBezTo>
                  <a:cubicBezTo>
                    <a:pt x="58" y="15"/>
                    <a:pt x="56" y="13"/>
                    <a:pt x="55" y="12"/>
                  </a:cubicBezTo>
                  <a:cubicBezTo>
                    <a:pt x="53" y="10"/>
                    <a:pt x="53" y="10"/>
                    <a:pt x="50" y="10"/>
                  </a:cubicBezTo>
                  <a:cubicBezTo>
                    <a:pt x="46" y="10"/>
                    <a:pt x="46" y="1"/>
                    <a:pt x="43" y="1"/>
                  </a:cubicBezTo>
                  <a:cubicBezTo>
                    <a:pt x="43" y="1"/>
                    <a:pt x="43" y="1"/>
                    <a:pt x="43" y="1"/>
                  </a:cubicBezTo>
                  <a:cubicBezTo>
                    <a:pt x="42" y="2"/>
                    <a:pt x="42" y="3"/>
                    <a:pt x="42" y="4"/>
                  </a:cubicBezTo>
                  <a:cubicBezTo>
                    <a:pt x="41" y="7"/>
                    <a:pt x="40" y="9"/>
                    <a:pt x="36" y="11"/>
                  </a:cubicBezTo>
                  <a:cubicBezTo>
                    <a:pt x="36" y="9"/>
                    <a:pt x="37" y="9"/>
                    <a:pt x="37" y="7"/>
                  </a:cubicBezTo>
                  <a:cubicBezTo>
                    <a:pt x="38" y="5"/>
                    <a:pt x="36" y="4"/>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1510"/>
            <p:cNvSpPr/>
            <p:nvPr/>
          </p:nvSpPr>
          <p:spPr bwMode="auto">
            <a:xfrm>
              <a:off x="3585378" y="4561262"/>
              <a:ext cx="437601" cy="275179"/>
            </a:xfrm>
            <a:custGeom>
              <a:gdLst>
                <a:gd name="T0" fmla="*/ 123 w 138"/>
                <a:gd name="T1" fmla="*/ 0 h 87"/>
                <a:gd name="T2" fmla="*/ 124 w 138"/>
                <a:gd name="T3" fmla="*/ 6 h 87"/>
                <a:gd name="T4" fmla="*/ 124 w 138"/>
                <a:gd name="T5" fmla="*/ 8 h 87"/>
                <a:gd name="T6" fmla="*/ 122 w 138"/>
                <a:gd name="T7" fmla="*/ 15 h 87"/>
                <a:gd name="T8" fmla="*/ 116 w 138"/>
                <a:gd name="T9" fmla="*/ 18 h 87"/>
                <a:gd name="T10" fmla="*/ 107 w 138"/>
                <a:gd name="T11" fmla="*/ 10 h 87"/>
                <a:gd name="T12" fmla="*/ 106 w 138"/>
                <a:gd name="T13" fmla="*/ 8 h 87"/>
                <a:gd name="T14" fmla="*/ 101 w 138"/>
                <a:gd name="T15" fmla="*/ 5 h 87"/>
                <a:gd name="T16" fmla="*/ 79 w 138"/>
                <a:gd name="T17" fmla="*/ 34 h 87"/>
                <a:gd name="T18" fmla="*/ 48 w 138"/>
                <a:gd name="T19" fmla="*/ 43 h 87"/>
                <a:gd name="T20" fmla="*/ 41 w 138"/>
                <a:gd name="T21" fmla="*/ 55 h 87"/>
                <a:gd name="T22" fmla="*/ 37 w 138"/>
                <a:gd name="T23" fmla="*/ 53 h 87"/>
                <a:gd name="T24" fmla="*/ 36 w 138"/>
                <a:gd name="T25" fmla="*/ 53 h 87"/>
                <a:gd name="T26" fmla="*/ 36 w 138"/>
                <a:gd name="T27" fmla="*/ 55 h 87"/>
                <a:gd name="T28" fmla="*/ 37 w 138"/>
                <a:gd name="T29" fmla="*/ 72 h 87"/>
                <a:gd name="T30" fmla="*/ 40 w 138"/>
                <a:gd name="T31" fmla="*/ 78 h 87"/>
                <a:gd name="T32" fmla="*/ 31 w 138"/>
                <a:gd name="T33" fmla="*/ 77 h 87"/>
                <a:gd name="T34" fmla="*/ 23 w 138"/>
                <a:gd name="T35" fmla="*/ 76 h 87"/>
                <a:gd name="T36" fmla="*/ 19 w 138"/>
                <a:gd name="T37" fmla="*/ 69 h 87"/>
                <a:gd name="T38" fmla="*/ 18 w 138"/>
                <a:gd name="T39" fmla="*/ 69 h 87"/>
                <a:gd name="T40" fmla="*/ 10 w 138"/>
                <a:gd name="T41" fmla="*/ 70 h 87"/>
                <a:gd name="T42" fmla="*/ 1 w 138"/>
                <a:gd name="T43" fmla="*/ 64 h 87"/>
                <a:gd name="T44" fmla="*/ 0 w 138"/>
                <a:gd name="T45" fmla="*/ 67 h 87"/>
                <a:gd name="T46" fmla="*/ 9 w 138"/>
                <a:gd name="T47" fmla="*/ 77 h 87"/>
                <a:gd name="T48" fmla="*/ 17 w 138"/>
                <a:gd name="T49" fmla="*/ 84 h 87"/>
                <a:gd name="T50" fmla="*/ 21 w 138"/>
                <a:gd name="T51" fmla="*/ 87 h 87"/>
                <a:gd name="T52" fmla="*/ 28 w 138"/>
                <a:gd name="T53" fmla="*/ 85 h 87"/>
                <a:gd name="T54" fmla="*/ 31 w 138"/>
                <a:gd name="T55" fmla="*/ 84 h 87"/>
                <a:gd name="T56" fmla="*/ 44 w 138"/>
                <a:gd name="T57" fmla="*/ 83 h 87"/>
                <a:gd name="T58" fmla="*/ 47 w 138"/>
                <a:gd name="T59" fmla="*/ 83 h 87"/>
                <a:gd name="T60" fmla="*/ 55 w 138"/>
                <a:gd name="T61" fmla="*/ 80 h 87"/>
                <a:gd name="T62" fmla="*/ 55 w 138"/>
                <a:gd name="T63" fmla="*/ 79 h 87"/>
                <a:gd name="T64" fmla="*/ 63 w 138"/>
                <a:gd name="T65" fmla="*/ 72 h 87"/>
                <a:gd name="T66" fmla="*/ 82 w 138"/>
                <a:gd name="T67" fmla="*/ 73 h 87"/>
                <a:gd name="T68" fmla="*/ 85 w 138"/>
                <a:gd name="T69" fmla="*/ 75 h 87"/>
                <a:gd name="T70" fmla="*/ 93 w 138"/>
                <a:gd name="T71" fmla="*/ 78 h 87"/>
                <a:gd name="T72" fmla="*/ 94 w 138"/>
                <a:gd name="T73" fmla="*/ 78 h 87"/>
                <a:gd name="T74" fmla="*/ 96 w 138"/>
                <a:gd name="T75" fmla="*/ 76 h 87"/>
                <a:gd name="T76" fmla="*/ 105 w 138"/>
                <a:gd name="T77" fmla="*/ 74 h 87"/>
                <a:gd name="T78" fmla="*/ 110 w 138"/>
                <a:gd name="T79" fmla="*/ 73 h 87"/>
                <a:gd name="T80" fmla="*/ 110 w 138"/>
                <a:gd name="T81" fmla="*/ 73 h 87"/>
                <a:gd name="T82" fmla="*/ 113 w 138"/>
                <a:gd name="T83" fmla="*/ 73 h 87"/>
                <a:gd name="T84" fmla="*/ 115 w 138"/>
                <a:gd name="T85" fmla="*/ 68 h 87"/>
                <a:gd name="T86" fmla="*/ 117 w 138"/>
                <a:gd name="T87" fmla="*/ 64 h 87"/>
                <a:gd name="T88" fmla="*/ 119 w 138"/>
                <a:gd name="T89" fmla="*/ 63 h 87"/>
                <a:gd name="T90" fmla="*/ 118 w 138"/>
                <a:gd name="T91" fmla="*/ 62 h 87"/>
                <a:gd name="T92" fmla="*/ 122 w 138"/>
                <a:gd name="T93" fmla="*/ 52 h 87"/>
                <a:gd name="T94" fmla="*/ 125 w 138"/>
                <a:gd name="T95" fmla="*/ 51 h 87"/>
                <a:gd name="T96" fmla="*/ 125 w 138"/>
                <a:gd name="T97" fmla="*/ 50 h 87"/>
                <a:gd name="T98" fmla="*/ 134 w 138"/>
                <a:gd name="T99" fmla="*/ 36 h 87"/>
                <a:gd name="T100" fmla="*/ 135 w 138"/>
                <a:gd name="T101" fmla="*/ 35 h 87"/>
                <a:gd name="T102" fmla="*/ 138 w 138"/>
                <a:gd name="T103" fmla="*/ 11 h 87"/>
                <a:gd name="T104" fmla="*/ 131 w 138"/>
                <a:gd name="T105" fmla="*/ 11 h 87"/>
                <a:gd name="T106" fmla="*/ 125 w 138"/>
                <a:gd name="T107" fmla="*/ 7 h 87"/>
                <a:gd name="T108" fmla="*/ 123 w 138"/>
                <a:gd name="T109" fmla="*/ 0 h 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8" h="87">
                  <a:moveTo>
                    <a:pt x="123" y="0"/>
                  </a:moveTo>
                  <a:cubicBezTo>
                    <a:pt x="123" y="0"/>
                    <a:pt x="123" y="0"/>
                    <a:pt x="123" y="0"/>
                  </a:cubicBezTo>
                  <a:cubicBezTo>
                    <a:pt x="123" y="0"/>
                    <a:pt x="123" y="0"/>
                    <a:pt x="123" y="1"/>
                  </a:cubicBezTo>
                  <a:cubicBezTo>
                    <a:pt x="123" y="2"/>
                    <a:pt x="123" y="4"/>
                    <a:pt x="124" y="6"/>
                  </a:cubicBezTo>
                  <a:cubicBezTo>
                    <a:pt x="124" y="6"/>
                    <a:pt x="124" y="6"/>
                    <a:pt x="124" y="6"/>
                  </a:cubicBezTo>
                  <a:cubicBezTo>
                    <a:pt x="124" y="7"/>
                    <a:pt x="124" y="7"/>
                    <a:pt x="124" y="8"/>
                  </a:cubicBezTo>
                  <a:cubicBezTo>
                    <a:pt x="124" y="9"/>
                    <a:pt x="124" y="11"/>
                    <a:pt x="123" y="11"/>
                  </a:cubicBezTo>
                  <a:cubicBezTo>
                    <a:pt x="123" y="13"/>
                    <a:pt x="123" y="14"/>
                    <a:pt x="122" y="15"/>
                  </a:cubicBezTo>
                  <a:cubicBezTo>
                    <a:pt x="120" y="17"/>
                    <a:pt x="118" y="18"/>
                    <a:pt x="117" y="18"/>
                  </a:cubicBezTo>
                  <a:cubicBezTo>
                    <a:pt x="116" y="18"/>
                    <a:pt x="116" y="18"/>
                    <a:pt x="116" y="18"/>
                  </a:cubicBezTo>
                  <a:cubicBezTo>
                    <a:pt x="113" y="18"/>
                    <a:pt x="111" y="15"/>
                    <a:pt x="108" y="11"/>
                  </a:cubicBezTo>
                  <a:cubicBezTo>
                    <a:pt x="108" y="11"/>
                    <a:pt x="107" y="10"/>
                    <a:pt x="107" y="10"/>
                  </a:cubicBezTo>
                  <a:cubicBezTo>
                    <a:pt x="107" y="10"/>
                    <a:pt x="107" y="9"/>
                    <a:pt x="106" y="9"/>
                  </a:cubicBezTo>
                  <a:cubicBezTo>
                    <a:pt x="106" y="8"/>
                    <a:pt x="106" y="8"/>
                    <a:pt x="106" y="8"/>
                  </a:cubicBezTo>
                  <a:cubicBezTo>
                    <a:pt x="106" y="8"/>
                    <a:pt x="106" y="8"/>
                    <a:pt x="105" y="7"/>
                  </a:cubicBezTo>
                  <a:cubicBezTo>
                    <a:pt x="105" y="7"/>
                    <a:pt x="104" y="6"/>
                    <a:pt x="101" y="5"/>
                  </a:cubicBezTo>
                  <a:cubicBezTo>
                    <a:pt x="97" y="10"/>
                    <a:pt x="93" y="16"/>
                    <a:pt x="89" y="21"/>
                  </a:cubicBezTo>
                  <a:cubicBezTo>
                    <a:pt x="86" y="25"/>
                    <a:pt x="83" y="30"/>
                    <a:pt x="79" y="34"/>
                  </a:cubicBezTo>
                  <a:cubicBezTo>
                    <a:pt x="77" y="36"/>
                    <a:pt x="74" y="37"/>
                    <a:pt x="71" y="38"/>
                  </a:cubicBezTo>
                  <a:cubicBezTo>
                    <a:pt x="64" y="40"/>
                    <a:pt x="56" y="41"/>
                    <a:pt x="48" y="43"/>
                  </a:cubicBezTo>
                  <a:cubicBezTo>
                    <a:pt x="44" y="44"/>
                    <a:pt x="45" y="45"/>
                    <a:pt x="44" y="49"/>
                  </a:cubicBezTo>
                  <a:cubicBezTo>
                    <a:pt x="43" y="51"/>
                    <a:pt x="43" y="55"/>
                    <a:pt x="41" y="55"/>
                  </a:cubicBezTo>
                  <a:cubicBezTo>
                    <a:pt x="39" y="55"/>
                    <a:pt x="38" y="53"/>
                    <a:pt x="37" y="53"/>
                  </a:cubicBezTo>
                  <a:cubicBezTo>
                    <a:pt x="37" y="53"/>
                    <a:pt x="37" y="53"/>
                    <a:pt x="37" y="53"/>
                  </a:cubicBezTo>
                  <a:cubicBezTo>
                    <a:pt x="37" y="53"/>
                    <a:pt x="37" y="53"/>
                    <a:pt x="37" y="53"/>
                  </a:cubicBezTo>
                  <a:cubicBezTo>
                    <a:pt x="36" y="53"/>
                    <a:pt x="36" y="53"/>
                    <a:pt x="36" y="53"/>
                  </a:cubicBezTo>
                  <a:cubicBezTo>
                    <a:pt x="36" y="53"/>
                    <a:pt x="36" y="53"/>
                    <a:pt x="36" y="53"/>
                  </a:cubicBezTo>
                  <a:cubicBezTo>
                    <a:pt x="36" y="53"/>
                    <a:pt x="36" y="53"/>
                    <a:pt x="36" y="55"/>
                  </a:cubicBezTo>
                  <a:cubicBezTo>
                    <a:pt x="37" y="56"/>
                    <a:pt x="38" y="59"/>
                    <a:pt x="38" y="60"/>
                  </a:cubicBezTo>
                  <a:cubicBezTo>
                    <a:pt x="35" y="63"/>
                    <a:pt x="30" y="70"/>
                    <a:pt x="37" y="72"/>
                  </a:cubicBezTo>
                  <a:cubicBezTo>
                    <a:pt x="34" y="72"/>
                    <a:pt x="28" y="71"/>
                    <a:pt x="32" y="76"/>
                  </a:cubicBezTo>
                  <a:cubicBezTo>
                    <a:pt x="34" y="78"/>
                    <a:pt x="37" y="77"/>
                    <a:pt x="40" y="78"/>
                  </a:cubicBezTo>
                  <a:cubicBezTo>
                    <a:pt x="39" y="79"/>
                    <a:pt x="38" y="79"/>
                    <a:pt x="37" y="79"/>
                  </a:cubicBezTo>
                  <a:cubicBezTo>
                    <a:pt x="36" y="79"/>
                    <a:pt x="33" y="78"/>
                    <a:pt x="31" y="77"/>
                  </a:cubicBezTo>
                  <a:cubicBezTo>
                    <a:pt x="29" y="76"/>
                    <a:pt x="27" y="76"/>
                    <a:pt x="25" y="76"/>
                  </a:cubicBezTo>
                  <a:cubicBezTo>
                    <a:pt x="25" y="76"/>
                    <a:pt x="24" y="76"/>
                    <a:pt x="23" y="76"/>
                  </a:cubicBezTo>
                  <a:cubicBezTo>
                    <a:pt x="25" y="74"/>
                    <a:pt x="24" y="74"/>
                    <a:pt x="22" y="72"/>
                  </a:cubicBezTo>
                  <a:cubicBezTo>
                    <a:pt x="22" y="72"/>
                    <a:pt x="19" y="69"/>
                    <a:pt x="19" y="69"/>
                  </a:cubicBezTo>
                  <a:cubicBezTo>
                    <a:pt x="19" y="69"/>
                    <a:pt x="19" y="69"/>
                    <a:pt x="19" y="69"/>
                  </a:cubicBezTo>
                  <a:cubicBezTo>
                    <a:pt x="19" y="69"/>
                    <a:pt x="18" y="69"/>
                    <a:pt x="18" y="69"/>
                  </a:cubicBezTo>
                  <a:cubicBezTo>
                    <a:pt x="16" y="69"/>
                    <a:pt x="13" y="70"/>
                    <a:pt x="12" y="70"/>
                  </a:cubicBezTo>
                  <a:cubicBezTo>
                    <a:pt x="11" y="70"/>
                    <a:pt x="11" y="70"/>
                    <a:pt x="10" y="70"/>
                  </a:cubicBezTo>
                  <a:cubicBezTo>
                    <a:pt x="9" y="70"/>
                    <a:pt x="8" y="70"/>
                    <a:pt x="7" y="70"/>
                  </a:cubicBezTo>
                  <a:cubicBezTo>
                    <a:pt x="5" y="70"/>
                    <a:pt x="3" y="67"/>
                    <a:pt x="1" y="64"/>
                  </a:cubicBezTo>
                  <a:cubicBezTo>
                    <a:pt x="1" y="64"/>
                    <a:pt x="1" y="64"/>
                    <a:pt x="1" y="64"/>
                  </a:cubicBezTo>
                  <a:cubicBezTo>
                    <a:pt x="0" y="65"/>
                    <a:pt x="0" y="66"/>
                    <a:pt x="0" y="67"/>
                  </a:cubicBezTo>
                  <a:cubicBezTo>
                    <a:pt x="1" y="70"/>
                    <a:pt x="5" y="73"/>
                    <a:pt x="8" y="76"/>
                  </a:cubicBezTo>
                  <a:cubicBezTo>
                    <a:pt x="9" y="77"/>
                    <a:pt x="9" y="77"/>
                    <a:pt x="9" y="77"/>
                  </a:cubicBezTo>
                  <a:cubicBezTo>
                    <a:pt x="11" y="79"/>
                    <a:pt x="13" y="80"/>
                    <a:pt x="15" y="82"/>
                  </a:cubicBezTo>
                  <a:cubicBezTo>
                    <a:pt x="17" y="84"/>
                    <a:pt x="17" y="84"/>
                    <a:pt x="17" y="84"/>
                  </a:cubicBezTo>
                  <a:cubicBezTo>
                    <a:pt x="17" y="84"/>
                    <a:pt x="18" y="85"/>
                    <a:pt x="18" y="85"/>
                  </a:cubicBezTo>
                  <a:cubicBezTo>
                    <a:pt x="19" y="85"/>
                    <a:pt x="20" y="87"/>
                    <a:pt x="21" y="87"/>
                  </a:cubicBezTo>
                  <a:cubicBezTo>
                    <a:pt x="21" y="87"/>
                    <a:pt x="21" y="87"/>
                    <a:pt x="21" y="87"/>
                  </a:cubicBezTo>
                  <a:cubicBezTo>
                    <a:pt x="23" y="87"/>
                    <a:pt x="26" y="86"/>
                    <a:pt x="28" y="85"/>
                  </a:cubicBezTo>
                  <a:cubicBezTo>
                    <a:pt x="29" y="84"/>
                    <a:pt x="29" y="84"/>
                    <a:pt x="29" y="84"/>
                  </a:cubicBezTo>
                  <a:cubicBezTo>
                    <a:pt x="30" y="84"/>
                    <a:pt x="30" y="84"/>
                    <a:pt x="31" y="84"/>
                  </a:cubicBezTo>
                  <a:cubicBezTo>
                    <a:pt x="33" y="83"/>
                    <a:pt x="36" y="82"/>
                    <a:pt x="38" y="82"/>
                  </a:cubicBezTo>
                  <a:cubicBezTo>
                    <a:pt x="40" y="82"/>
                    <a:pt x="42" y="82"/>
                    <a:pt x="44" y="83"/>
                  </a:cubicBezTo>
                  <a:cubicBezTo>
                    <a:pt x="45" y="83"/>
                    <a:pt x="45" y="83"/>
                    <a:pt x="45" y="83"/>
                  </a:cubicBezTo>
                  <a:cubicBezTo>
                    <a:pt x="46" y="83"/>
                    <a:pt x="46" y="83"/>
                    <a:pt x="47" y="83"/>
                  </a:cubicBezTo>
                  <a:cubicBezTo>
                    <a:pt x="47" y="83"/>
                    <a:pt x="48" y="83"/>
                    <a:pt x="48" y="83"/>
                  </a:cubicBezTo>
                  <a:cubicBezTo>
                    <a:pt x="50" y="83"/>
                    <a:pt x="54" y="81"/>
                    <a:pt x="55" y="80"/>
                  </a:cubicBezTo>
                  <a:cubicBezTo>
                    <a:pt x="55" y="80"/>
                    <a:pt x="55" y="80"/>
                    <a:pt x="55" y="80"/>
                  </a:cubicBezTo>
                  <a:cubicBezTo>
                    <a:pt x="55" y="79"/>
                    <a:pt x="55" y="79"/>
                    <a:pt x="55" y="79"/>
                  </a:cubicBezTo>
                  <a:cubicBezTo>
                    <a:pt x="56" y="74"/>
                    <a:pt x="57" y="73"/>
                    <a:pt x="62" y="73"/>
                  </a:cubicBezTo>
                  <a:cubicBezTo>
                    <a:pt x="63" y="72"/>
                    <a:pt x="63" y="72"/>
                    <a:pt x="63" y="72"/>
                  </a:cubicBezTo>
                  <a:cubicBezTo>
                    <a:pt x="69" y="71"/>
                    <a:pt x="74" y="71"/>
                    <a:pt x="76" y="71"/>
                  </a:cubicBezTo>
                  <a:cubicBezTo>
                    <a:pt x="80" y="71"/>
                    <a:pt x="81" y="72"/>
                    <a:pt x="82" y="73"/>
                  </a:cubicBezTo>
                  <a:cubicBezTo>
                    <a:pt x="82" y="73"/>
                    <a:pt x="82" y="73"/>
                    <a:pt x="82" y="74"/>
                  </a:cubicBezTo>
                  <a:cubicBezTo>
                    <a:pt x="83" y="74"/>
                    <a:pt x="84" y="75"/>
                    <a:pt x="85" y="75"/>
                  </a:cubicBezTo>
                  <a:cubicBezTo>
                    <a:pt x="85" y="75"/>
                    <a:pt x="85" y="75"/>
                    <a:pt x="85" y="75"/>
                  </a:cubicBezTo>
                  <a:cubicBezTo>
                    <a:pt x="88" y="76"/>
                    <a:pt x="91" y="78"/>
                    <a:pt x="93" y="78"/>
                  </a:cubicBezTo>
                  <a:cubicBezTo>
                    <a:pt x="93" y="78"/>
                    <a:pt x="93" y="78"/>
                    <a:pt x="94" y="78"/>
                  </a:cubicBezTo>
                  <a:cubicBezTo>
                    <a:pt x="94" y="78"/>
                    <a:pt x="94" y="78"/>
                    <a:pt x="94" y="78"/>
                  </a:cubicBezTo>
                  <a:cubicBezTo>
                    <a:pt x="94" y="78"/>
                    <a:pt x="94" y="78"/>
                    <a:pt x="94" y="77"/>
                  </a:cubicBezTo>
                  <a:cubicBezTo>
                    <a:pt x="95" y="77"/>
                    <a:pt x="95" y="77"/>
                    <a:pt x="96" y="76"/>
                  </a:cubicBezTo>
                  <a:cubicBezTo>
                    <a:pt x="98" y="75"/>
                    <a:pt x="101" y="75"/>
                    <a:pt x="104" y="74"/>
                  </a:cubicBezTo>
                  <a:cubicBezTo>
                    <a:pt x="104" y="74"/>
                    <a:pt x="105" y="74"/>
                    <a:pt x="105" y="74"/>
                  </a:cubicBezTo>
                  <a:cubicBezTo>
                    <a:pt x="110" y="73"/>
                    <a:pt x="110" y="73"/>
                    <a:pt x="110" y="73"/>
                  </a:cubicBezTo>
                  <a:cubicBezTo>
                    <a:pt x="110" y="73"/>
                    <a:pt x="110" y="73"/>
                    <a:pt x="110" y="73"/>
                  </a:cubicBezTo>
                  <a:cubicBezTo>
                    <a:pt x="110" y="73"/>
                    <a:pt x="110" y="73"/>
                    <a:pt x="110" y="73"/>
                  </a:cubicBezTo>
                  <a:cubicBezTo>
                    <a:pt x="110" y="73"/>
                    <a:pt x="110" y="73"/>
                    <a:pt x="110" y="73"/>
                  </a:cubicBezTo>
                  <a:cubicBezTo>
                    <a:pt x="111" y="73"/>
                    <a:pt x="112" y="73"/>
                    <a:pt x="112" y="73"/>
                  </a:cubicBezTo>
                  <a:cubicBezTo>
                    <a:pt x="113" y="73"/>
                    <a:pt x="113" y="73"/>
                    <a:pt x="113" y="73"/>
                  </a:cubicBezTo>
                  <a:cubicBezTo>
                    <a:pt x="114" y="70"/>
                    <a:pt x="114" y="70"/>
                    <a:pt x="114" y="70"/>
                  </a:cubicBezTo>
                  <a:cubicBezTo>
                    <a:pt x="114" y="69"/>
                    <a:pt x="115" y="68"/>
                    <a:pt x="115" y="68"/>
                  </a:cubicBezTo>
                  <a:cubicBezTo>
                    <a:pt x="115" y="67"/>
                    <a:pt x="115" y="67"/>
                    <a:pt x="116" y="66"/>
                  </a:cubicBezTo>
                  <a:cubicBezTo>
                    <a:pt x="116" y="65"/>
                    <a:pt x="117" y="65"/>
                    <a:pt x="117" y="64"/>
                  </a:cubicBezTo>
                  <a:cubicBezTo>
                    <a:pt x="118" y="64"/>
                    <a:pt x="118" y="64"/>
                    <a:pt x="118" y="64"/>
                  </a:cubicBezTo>
                  <a:cubicBezTo>
                    <a:pt x="119" y="63"/>
                    <a:pt x="119" y="63"/>
                    <a:pt x="119" y="63"/>
                  </a:cubicBezTo>
                  <a:cubicBezTo>
                    <a:pt x="119" y="63"/>
                    <a:pt x="119" y="63"/>
                    <a:pt x="119" y="63"/>
                  </a:cubicBezTo>
                  <a:cubicBezTo>
                    <a:pt x="119" y="62"/>
                    <a:pt x="118" y="62"/>
                    <a:pt x="118" y="62"/>
                  </a:cubicBezTo>
                  <a:cubicBezTo>
                    <a:pt x="118" y="60"/>
                    <a:pt x="117" y="58"/>
                    <a:pt x="118" y="56"/>
                  </a:cubicBezTo>
                  <a:cubicBezTo>
                    <a:pt x="118" y="55"/>
                    <a:pt x="119" y="54"/>
                    <a:pt x="122" y="52"/>
                  </a:cubicBezTo>
                  <a:cubicBezTo>
                    <a:pt x="123" y="52"/>
                    <a:pt x="123" y="52"/>
                    <a:pt x="123" y="52"/>
                  </a:cubicBezTo>
                  <a:cubicBezTo>
                    <a:pt x="123" y="52"/>
                    <a:pt x="124" y="51"/>
                    <a:pt x="125" y="51"/>
                  </a:cubicBezTo>
                  <a:cubicBezTo>
                    <a:pt x="125" y="50"/>
                    <a:pt x="125" y="50"/>
                    <a:pt x="125" y="50"/>
                  </a:cubicBezTo>
                  <a:cubicBezTo>
                    <a:pt x="125" y="50"/>
                    <a:pt x="125" y="50"/>
                    <a:pt x="125" y="50"/>
                  </a:cubicBezTo>
                  <a:cubicBezTo>
                    <a:pt x="124" y="46"/>
                    <a:pt x="124" y="42"/>
                    <a:pt x="126" y="39"/>
                  </a:cubicBezTo>
                  <a:cubicBezTo>
                    <a:pt x="128" y="37"/>
                    <a:pt x="131" y="36"/>
                    <a:pt x="134" y="36"/>
                  </a:cubicBezTo>
                  <a:cubicBezTo>
                    <a:pt x="134" y="36"/>
                    <a:pt x="134" y="36"/>
                    <a:pt x="135" y="36"/>
                  </a:cubicBezTo>
                  <a:cubicBezTo>
                    <a:pt x="135" y="36"/>
                    <a:pt x="135" y="35"/>
                    <a:pt x="135" y="35"/>
                  </a:cubicBezTo>
                  <a:cubicBezTo>
                    <a:pt x="137" y="30"/>
                    <a:pt x="136" y="26"/>
                    <a:pt x="136" y="20"/>
                  </a:cubicBezTo>
                  <a:cubicBezTo>
                    <a:pt x="135" y="17"/>
                    <a:pt x="136" y="14"/>
                    <a:pt x="138" y="11"/>
                  </a:cubicBezTo>
                  <a:cubicBezTo>
                    <a:pt x="133" y="11"/>
                    <a:pt x="133" y="11"/>
                    <a:pt x="133" y="11"/>
                  </a:cubicBezTo>
                  <a:cubicBezTo>
                    <a:pt x="132" y="11"/>
                    <a:pt x="132" y="11"/>
                    <a:pt x="131" y="11"/>
                  </a:cubicBezTo>
                  <a:cubicBezTo>
                    <a:pt x="130" y="11"/>
                    <a:pt x="130" y="11"/>
                    <a:pt x="130" y="11"/>
                  </a:cubicBezTo>
                  <a:cubicBezTo>
                    <a:pt x="127" y="10"/>
                    <a:pt x="125" y="9"/>
                    <a:pt x="125" y="7"/>
                  </a:cubicBezTo>
                  <a:cubicBezTo>
                    <a:pt x="124" y="6"/>
                    <a:pt x="124" y="6"/>
                    <a:pt x="124" y="6"/>
                  </a:cubicBezTo>
                  <a:cubicBezTo>
                    <a:pt x="124" y="4"/>
                    <a:pt x="123" y="2"/>
                    <a:pt x="1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1511"/>
            <p:cNvSpPr/>
            <p:nvPr/>
          </p:nvSpPr>
          <p:spPr bwMode="auto">
            <a:xfrm>
              <a:off x="3902170" y="4554550"/>
              <a:ext cx="2685" cy="2685"/>
            </a:xfrm>
            <a:custGeom>
              <a:gdLst>
                <a:gd name="T0" fmla="*/ 0 w 2"/>
                <a:gd name="T1" fmla="*/ 0 h 2"/>
                <a:gd name="T2" fmla="*/ 0 w 2"/>
                <a:gd name="T3" fmla="*/ 2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0"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1512"/>
            <p:cNvSpPr/>
            <p:nvPr/>
          </p:nvSpPr>
          <p:spPr bwMode="auto">
            <a:xfrm>
              <a:off x="3902170" y="4554550"/>
              <a:ext cx="2685" cy="2685"/>
            </a:xfrm>
            <a:custGeom>
              <a:gdLst>
                <a:gd name="T0" fmla="*/ 0 w 2"/>
                <a:gd name="T1" fmla="*/ 0 h 2"/>
                <a:gd name="T2" fmla="*/ 0 w 2"/>
                <a:gd name="T3" fmla="*/ 2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0" y="2"/>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1513"/>
            <p:cNvSpPr/>
            <p:nvPr/>
          </p:nvSpPr>
          <p:spPr bwMode="auto">
            <a:xfrm>
              <a:off x="3924989" y="4535757"/>
              <a:ext cx="49666" cy="63090"/>
            </a:xfrm>
            <a:custGeom>
              <a:gdLst>
                <a:gd name="T0" fmla="*/ 16 w 16"/>
                <a:gd name="T1" fmla="*/ 0 h 20"/>
                <a:gd name="T2" fmla="*/ 8 w 16"/>
                <a:gd name="T3" fmla="*/ 6 h 20"/>
                <a:gd name="T4" fmla="*/ 0 w 16"/>
                <a:gd name="T5" fmla="*/ 9 h 20"/>
                <a:gd name="T6" fmla="*/ 3 w 16"/>
                <a:gd name="T7" fmla="*/ 12 h 20"/>
                <a:gd name="T8" fmla="*/ 4 w 16"/>
                <a:gd name="T9" fmla="*/ 13 h 20"/>
                <a:gd name="T10" fmla="*/ 4 w 16"/>
                <a:gd name="T11" fmla="*/ 14 h 20"/>
                <a:gd name="T12" fmla="*/ 6 w 16"/>
                <a:gd name="T13" fmla="*/ 16 h 20"/>
                <a:gd name="T14" fmla="*/ 10 w 16"/>
                <a:gd name="T15" fmla="*/ 20 h 20"/>
                <a:gd name="T16" fmla="*/ 10 w 16"/>
                <a:gd name="T17" fmla="*/ 20 h 20"/>
                <a:gd name="T18" fmla="*/ 11 w 16"/>
                <a:gd name="T19" fmla="*/ 19 h 20"/>
                <a:gd name="T20" fmla="*/ 11 w 16"/>
                <a:gd name="T21" fmla="*/ 18 h 20"/>
                <a:gd name="T22" fmla="*/ 11 w 16"/>
                <a:gd name="T23" fmla="*/ 17 h 20"/>
                <a:gd name="T24" fmla="*/ 11 w 16"/>
                <a:gd name="T25" fmla="*/ 14 h 20"/>
                <a:gd name="T26" fmla="*/ 10 w 16"/>
                <a:gd name="T27" fmla="*/ 10 h 20"/>
                <a:gd name="T28" fmla="*/ 10 w 16"/>
                <a:gd name="T29" fmla="*/ 9 h 20"/>
                <a:gd name="T30" fmla="*/ 10 w 16"/>
                <a:gd name="T31" fmla="*/ 6 h 20"/>
                <a:gd name="T32" fmla="*/ 11 w 16"/>
                <a:gd name="T33" fmla="*/ 5 h 20"/>
                <a:gd name="T34" fmla="*/ 11 w 16"/>
                <a:gd name="T35" fmla="*/ 4 h 20"/>
                <a:gd name="T36" fmla="*/ 12 w 16"/>
                <a:gd name="T37" fmla="*/ 3 h 20"/>
                <a:gd name="T38" fmla="*/ 13 w 16"/>
                <a:gd name="T39" fmla="*/ 2 h 20"/>
                <a:gd name="T40" fmla="*/ 14 w 16"/>
                <a:gd name="T41" fmla="*/ 2 h 20"/>
                <a:gd name="T42" fmla="*/ 16 w 16"/>
                <a:gd name="T43" fmla="*/ 1 h 20"/>
                <a:gd name="T44" fmla="*/ 16 w 16"/>
                <a:gd name="T45"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0">
                  <a:moveTo>
                    <a:pt x="16" y="0"/>
                  </a:moveTo>
                  <a:cubicBezTo>
                    <a:pt x="13" y="2"/>
                    <a:pt x="10" y="4"/>
                    <a:pt x="8" y="6"/>
                  </a:cubicBezTo>
                  <a:cubicBezTo>
                    <a:pt x="6" y="8"/>
                    <a:pt x="3" y="9"/>
                    <a:pt x="0" y="9"/>
                  </a:cubicBezTo>
                  <a:cubicBezTo>
                    <a:pt x="2" y="10"/>
                    <a:pt x="3" y="11"/>
                    <a:pt x="3" y="12"/>
                  </a:cubicBezTo>
                  <a:cubicBezTo>
                    <a:pt x="4" y="12"/>
                    <a:pt x="4" y="13"/>
                    <a:pt x="4" y="13"/>
                  </a:cubicBezTo>
                  <a:cubicBezTo>
                    <a:pt x="4" y="14"/>
                    <a:pt x="4" y="14"/>
                    <a:pt x="4" y="14"/>
                  </a:cubicBezTo>
                  <a:cubicBezTo>
                    <a:pt x="5" y="14"/>
                    <a:pt x="5" y="15"/>
                    <a:pt x="6" y="16"/>
                  </a:cubicBezTo>
                  <a:cubicBezTo>
                    <a:pt x="8" y="19"/>
                    <a:pt x="9" y="20"/>
                    <a:pt x="10" y="20"/>
                  </a:cubicBezTo>
                  <a:cubicBezTo>
                    <a:pt x="10" y="20"/>
                    <a:pt x="10" y="20"/>
                    <a:pt x="10" y="20"/>
                  </a:cubicBezTo>
                  <a:cubicBezTo>
                    <a:pt x="11" y="19"/>
                    <a:pt x="11" y="19"/>
                    <a:pt x="11" y="19"/>
                  </a:cubicBezTo>
                  <a:cubicBezTo>
                    <a:pt x="11" y="18"/>
                    <a:pt x="11" y="18"/>
                    <a:pt x="11" y="18"/>
                  </a:cubicBezTo>
                  <a:cubicBezTo>
                    <a:pt x="11" y="17"/>
                    <a:pt x="11" y="17"/>
                    <a:pt x="11" y="17"/>
                  </a:cubicBezTo>
                  <a:cubicBezTo>
                    <a:pt x="11" y="16"/>
                    <a:pt x="11" y="15"/>
                    <a:pt x="11" y="14"/>
                  </a:cubicBezTo>
                  <a:cubicBezTo>
                    <a:pt x="11" y="13"/>
                    <a:pt x="11" y="11"/>
                    <a:pt x="10" y="10"/>
                  </a:cubicBezTo>
                  <a:cubicBezTo>
                    <a:pt x="10" y="10"/>
                    <a:pt x="10" y="9"/>
                    <a:pt x="10" y="9"/>
                  </a:cubicBezTo>
                  <a:cubicBezTo>
                    <a:pt x="9" y="8"/>
                    <a:pt x="9" y="7"/>
                    <a:pt x="10" y="6"/>
                  </a:cubicBezTo>
                  <a:cubicBezTo>
                    <a:pt x="10" y="5"/>
                    <a:pt x="10" y="5"/>
                    <a:pt x="11" y="5"/>
                  </a:cubicBezTo>
                  <a:cubicBezTo>
                    <a:pt x="11" y="4"/>
                    <a:pt x="11" y="4"/>
                    <a:pt x="11" y="4"/>
                  </a:cubicBezTo>
                  <a:cubicBezTo>
                    <a:pt x="12" y="3"/>
                    <a:pt x="12" y="3"/>
                    <a:pt x="12" y="3"/>
                  </a:cubicBezTo>
                  <a:cubicBezTo>
                    <a:pt x="12" y="3"/>
                    <a:pt x="13" y="3"/>
                    <a:pt x="13" y="2"/>
                  </a:cubicBezTo>
                  <a:cubicBezTo>
                    <a:pt x="14" y="2"/>
                    <a:pt x="14" y="2"/>
                    <a:pt x="14" y="2"/>
                  </a:cubicBezTo>
                  <a:cubicBezTo>
                    <a:pt x="16" y="1"/>
                    <a:pt x="16" y="1"/>
                    <a:pt x="16" y="1"/>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Rectangle 1514"/>
            <p:cNvSpPr>
              <a:spLocks noChangeArrowheads="1"/>
            </p:cNvSpPr>
            <p:nvPr/>
          </p:nvSpPr>
          <p:spPr bwMode="auto">
            <a:xfrm>
              <a:off x="1741009" y="847016"/>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1515"/>
            <p:cNvSpPr/>
            <p:nvPr/>
          </p:nvSpPr>
          <p:spPr bwMode="auto">
            <a:xfrm flipH="1">
              <a:off x="1741009" y="84701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Rectangle 1516"/>
            <p:cNvSpPr>
              <a:spLocks noChangeArrowheads="1"/>
            </p:cNvSpPr>
            <p:nvPr/>
          </p:nvSpPr>
          <p:spPr bwMode="auto">
            <a:xfrm>
              <a:off x="469817" y="336928"/>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Freeform 1517"/>
            <p:cNvSpPr/>
            <p:nvPr/>
          </p:nvSpPr>
          <p:spPr bwMode="auto">
            <a:xfrm flipH="1">
              <a:off x="469817" y="33692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2" name="Freeform 1518"/>
            <p:cNvSpPr/>
            <p:nvPr/>
          </p:nvSpPr>
          <p:spPr bwMode="auto">
            <a:xfrm>
              <a:off x="0" y="298000"/>
              <a:ext cx="1890009" cy="1393346"/>
            </a:xfrm>
            <a:custGeom>
              <a:gdLst>
                <a:gd name="T0" fmla="*/ 175 w 596"/>
                <a:gd name="T1" fmla="*/ 1 h 439"/>
                <a:gd name="T2" fmla="*/ 157 w 596"/>
                <a:gd name="T3" fmla="*/ 10 h 439"/>
                <a:gd name="T4" fmla="*/ 146 w 596"/>
                <a:gd name="T5" fmla="*/ 14 h 439"/>
                <a:gd name="T6" fmla="*/ 121 w 596"/>
                <a:gd name="T7" fmla="*/ 20 h 439"/>
                <a:gd name="T8" fmla="*/ 114 w 596"/>
                <a:gd name="T9" fmla="*/ 21 h 439"/>
                <a:gd name="T10" fmla="*/ 99 w 596"/>
                <a:gd name="T11" fmla="*/ 24 h 439"/>
                <a:gd name="T12" fmla="*/ 81 w 596"/>
                <a:gd name="T13" fmla="*/ 33 h 439"/>
                <a:gd name="T14" fmla="*/ 69 w 596"/>
                <a:gd name="T15" fmla="*/ 32 h 439"/>
                <a:gd name="T16" fmla="*/ 49 w 596"/>
                <a:gd name="T17" fmla="*/ 36 h 439"/>
                <a:gd name="T18" fmla="*/ 28 w 596"/>
                <a:gd name="T19" fmla="*/ 41 h 439"/>
                <a:gd name="T20" fmla="*/ 19 w 596"/>
                <a:gd name="T21" fmla="*/ 48 h 439"/>
                <a:gd name="T22" fmla="*/ 11 w 596"/>
                <a:gd name="T23" fmla="*/ 44 h 439"/>
                <a:gd name="T24" fmla="*/ 0 w 596"/>
                <a:gd name="T25" fmla="*/ 53 h 439"/>
                <a:gd name="T26" fmla="*/ 12 w 596"/>
                <a:gd name="T27" fmla="*/ 69 h 439"/>
                <a:gd name="T28" fmla="*/ 9 w 596"/>
                <a:gd name="T29" fmla="*/ 78 h 439"/>
                <a:gd name="T30" fmla="*/ 6 w 596"/>
                <a:gd name="T31" fmla="*/ 83 h 439"/>
                <a:gd name="T32" fmla="*/ 1 w 596"/>
                <a:gd name="T33" fmla="*/ 125 h 439"/>
                <a:gd name="T34" fmla="*/ 6 w 596"/>
                <a:gd name="T35" fmla="*/ 354 h 439"/>
                <a:gd name="T36" fmla="*/ 50 w 596"/>
                <a:gd name="T37" fmla="*/ 354 h 439"/>
                <a:gd name="T38" fmla="*/ 81 w 596"/>
                <a:gd name="T39" fmla="*/ 353 h 439"/>
                <a:gd name="T40" fmla="*/ 103 w 596"/>
                <a:gd name="T41" fmla="*/ 372 h 439"/>
                <a:gd name="T42" fmla="*/ 106 w 596"/>
                <a:gd name="T43" fmla="*/ 398 h 439"/>
                <a:gd name="T44" fmla="*/ 118 w 596"/>
                <a:gd name="T45" fmla="*/ 407 h 439"/>
                <a:gd name="T46" fmla="*/ 145 w 596"/>
                <a:gd name="T47" fmla="*/ 422 h 439"/>
                <a:gd name="T48" fmla="*/ 153 w 596"/>
                <a:gd name="T49" fmla="*/ 427 h 439"/>
                <a:gd name="T50" fmla="*/ 170 w 596"/>
                <a:gd name="T51" fmla="*/ 424 h 439"/>
                <a:gd name="T52" fmla="*/ 214 w 596"/>
                <a:gd name="T53" fmla="*/ 395 h 439"/>
                <a:gd name="T54" fmla="*/ 232 w 596"/>
                <a:gd name="T55" fmla="*/ 379 h 439"/>
                <a:gd name="T56" fmla="*/ 283 w 596"/>
                <a:gd name="T57" fmla="*/ 369 h 439"/>
                <a:gd name="T58" fmla="*/ 308 w 596"/>
                <a:gd name="T59" fmla="*/ 371 h 439"/>
                <a:gd name="T60" fmla="*/ 325 w 596"/>
                <a:gd name="T61" fmla="*/ 375 h 439"/>
                <a:gd name="T62" fmla="*/ 353 w 596"/>
                <a:gd name="T63" fmla="*/ 374 h 439"/>
                <a:gd name="T64" fmla="*/ 393 w 596"/>
                <a:gd name="T65" fmla="*/ 375 h 439"/>
                <a:gd name="T66" fmla="*/ 411 w 596"/>
                <a:gd name="T67" fmla="*/ 377 h 439"/>
                <a:gd name="T68" fmla="*/ 433 w 596"/>
                <a:gd name="T69" fmla="*/ 390 h 439"/>
                <a:gd name="T70" fmla="*/ 447 w 596"/>
                <a:gd name="T71" fmla="*/ 368 h 439"/>
                <a:gd name="T72" fmla="*/ 437 w 596"/>
                <a:gd name="T73" fmla="*/ 337 h 439"/>
                <a:gd name="T74" fmla="*/ 435 w 596"/>
                <a:gd name="T75" fmla="*/ 313 h 439"/>
                <a:gd name="T76" fmla="*/ 476 w 596"/>
                <a:gd name="T77" fmla="*/ 308 h 439"/>
                <a:gd name="T78" fmla="*/ 489 w 596"/>
                <a:gd name="T79" fmla="*/ 305 h 439"/>
                <a:gd name="T80" fmla="*/ 527 w 596"/>
                <a:gd name="T81" fmla="*/ 256 h 439"/>
                <a:gd name="T82" fmla="*/ 568 w 596"/>
                <a:gd name="T83" fmla="*/ 213 h 439"/>
                <a:gd name="T84" fmla="*/ 589 w 596"/>
                <a:gd name="T85" fmla="*/ 198 h 439"/>
                <a:gd name="T86" fmla="*/ 576 w 596"/>
                <a:gd name="T87" fmla="*/ 188 h 439"/>
                <a:gd name="T88" fmla="*/ 554 w 596"/>
                <a:gd name="T89" fmla="*/ 183 h 439"/>
                <a:gd name="T90" fmla="*/ 548 w 596"/>
                <a:gd name="T91" fmla="*/ 174 h 439"/>
                <a:gd name="T92" fmla="*/ 529 w 596"/>
                <a:gd name="T93" fmla="*/ 161 h 439"/>
                <a:gd name="T94" fmla="*/ 519 w 596"/>
                <a:gd name="T95" fmla="*/ 143 h 439"/>
                <a:gd name="T96" fmla="*/ 493 w 596"/>
                <a:gd name="T97" fmla="*/ 147 h 439"/>
                <a:gd name="T98" fmla="*/ 469 w 596"/>
                <a:gd name="T99" fmla="*/ 148 h 439"/>
                <a:gd name="T100" fmla="*/ 454 w 596"/>
                <a:gd name="T101" fmla="*/ 137 h 439"/>
                <a:gd name="T102" fmla="*/ 446 w 596"/>
                <a:gd name="T103" fmla="*/ 136 h 439"/>
                <a:gd name="T104" fmla="*/ 439 w 596"/>
                <a:gd name="T105" fmla="*/ 142 h 439"/>
                <a:gd name="T106" fmla="*/ 427 w 596"/>
                <a:gd name="T107" fmla="*/ 140 h 439"/>
                <a:gd name="T108" fmla="*/ 349 w 596"/>
                <a:gd name="T109" fmla="*/ 42 h 439"/>
                <a:gd name="T110" fmla="*/ 303 w 596"/>
                <a:gd name="T111" fmla="*/ 59 h 439"/>
                <a:gd name="T112" fmla="*/ 269 w 596"/>
                <a:gd name="T113" fmla="*/ 52 h 439"/>
                <a:gd name="T114" fmla="*/ 258 w 596"/>
                <a:gd name="T115" fmla="*/ 44 h 439"/>
                <a:gd name="T116" fmla="*/ 247 w 596"/>
                <a:gd name="T117" fmla="*/ 41 h 439"/>
                <a:gd name="T118" fmla="*/ 224 w 596"/>
                <a:gd name="T119" fmla="*/ 40 h 439"/>
                <a:gd name="T120" fmla="*/ 217 w 596"/>
                <a:gd name="T121" fmla="*/ 29 h 439"/>
                <a:gd name="T122" fmla="*/ 218 w 596"/>
                <a:gd name="T123" fmla="*/ 11 h 439"/>
                <a:gd name="T124" fmla="*/ 194 w 596"/>
                <a:gd name="T125" fmla="*/ 5 h 4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6" h="439">
                  <a:moveTo>
                    <a:pt x="180" y="0"/>
                  </a:moveTo>
                  <a:cubicBezTo>
                    <a:pt x="180" y="0"/>
                    <a:pt x="180" y="0"/>
                    <a:pt x="180" y="0"/>
                  </a:cubicBezTo>
                  <a:cubicBezTo>
                    <a:pt x="180" y="0"/>
                    <a:pt x="179" y="0"/>
                    <a:pt x="179" y="1"/>
                  </a:cubicBezTo>
                  <a:cubicBezTo>
                    <a:pt x="178" y="1"/>
                    <a:pt x="178" y="1"/>
                    <a:pt x="178" y="1"/>
                  </a:cubicBezTo>
                  <a:cubicBezTo>
                    <a:pt x="178" y="1"/>
                    <a:pt x="178" y="1"/>
                    <a:pt x="178" y="1"/>
                  </a:cubicBezTo>
                  <a:cubicBezTo>
                    <a:pt x="177" y="1"/>
                    <a:pt x="177" y="1"/>
                    <a:pt x="177" y="1"/>
                  </a:cubicBezTo>
                  <a:cubicBezTo>
                    <a:pt x="176" y="1"/>
                    <a:pt x="176" y="1"/>
                    <a:pt x="176" y="1"/>
                  </a:cubicBezTo>
                  <a:cubicBezTo>
                    <a:pt x="176" y="1"/>
                    <a:pt x="175" y="1"/>
                    <a:pt x="175" y="1"/>
                  </a:cubicBezTo>
                  <a:cubicBezTo>
                    <a:pt x="175" y="1"/>
                    <a:pt x="175" y="1"/>
                    <a:pt x="175" y="1"/>
                  </a:cubicBezTo>
                  <a:cubicBezTo>
                    <a:pt x="174" y="1"/>
                    <a:pt x="174" y="1"/>
                    <a:pt x="174" y="1"/>
                  </a:cubicBezTo>
                  <a:cubicBezTo>
                    <a:pt x="174" y="2"/>
                    <a:pt x="173" y="2"/>
                    <a:pt x="172" y="2"/>
                  </a:cubicBezTo>
                  <a:cubicBezTo>
                    <a:pt x="171" y="2"/>
                    <a:pt x="170" y="1"/>
                    <a:pt x="169" y="1"/>
                  </a:cubicBezTo>
                  <a:cubicBezTo>
                    <a:pt x="169" y="1"/>
                    <a:pt x="169" y="1"/>
                    <a:pt x="169" y="1"/>
                  </a:cubicBezTo>
                  <a:cubicBezTo>
                    <a:pt x="169" y="1"/>
                    <a:pt x="168" y="1"/>
                    <a:pt x="168" y="0"/>
                  </a:cubicBezTo>
                  <a:cubicBezTo>
                    <a:pt x="168" y="1"/>
                    <a:pt x="167" y="2"/>
                    <a:pt x="167" y="3"/>
                  </a:cubicBezTo>
                  <a:cubicBezTo>
                    <a:pt x="166" y="5"/>
                    <a:pt x="163" y="7"/>
                    <a:pt x="160" y="8"/>
                  </a:cubicBezTo>
                  <a:cubicBezTo>
                    <a:pt x="159" y="9"/>
                    <a:pt x="159" y="9"/>
                    <a:pt x="158" y="10"/>
                  </a:cubicBezTo>
                  <a:cubicBezTo>
                    <a:pt x="157" y="10"/>
                    <a:pt x="157" y="10"/>
                    <a:pt x="157" y="10"/>
                  </a:cubicBezTo>
                  <a:cubicBezTo>
                    <a:pt x="156" y="11"/>
                    <a:pt x="155" y="12"/>
                    <a:pt x="155" y="12"/>
                  </a:cubicBezTo>
                  <a:cubicBezTo>
                    <a:pt x="153" y="13"/>
                    <a:pt x="152" y="13"/>
                    <a:pt x="151" y="13"/>
                  </a:cubicBezTo>
                  <a:cubicBezTo>
                    <a:pt x="151" y="13"/>
                    <a:pt x="151" y="13"/>
                    <a:pt x="151" y="13"/>
                  </a:cubicBezTo>
                  <a:cubicBezTo>
                    <a:pt x="150" y="13"/>
                    <a:pt x="149" y="13"/>
                    <a:pt x="148" y="13"/>
                  </a:cubicBezTo>
                  <a:cubicBezTo>
                    <a:pt x="147" y="13"/>
                    <a:pt x="147" y="13"/>
                    <a:pt x="147" y="13"/>
                  </a:cubicBezTo>
                  <a:cubicBezTo>
                    <a:pt x="147" y="13"/>
                    <a:pt x="147" y="13"/>
                    <a:pt x="147" y="13"/>
                  </a:cubicBezTo>
                  <a:cubicBezTo>
                    <a:pt x="147" y="13"/>
                    <a:pt x="147" y="13"/>
                    <a:pt x="147" y="13"/>
                  </a:cubicBezTo>
                  <a:cubicBezTo>
                    <a:pt x="147" y="13"/>
                    <a:pt x="147" y="13"/>
                    <a:pt x="147" y="13"/>
                  </a:cubicBezTo>
                  <a:cubicBezTo>
                    <a:pt x="146" y="14"/>
                    <a:pt x="146" y="14"/>
                    <a:pt x="146" y="14"/>
                  </a:cubicBezTo>
                  <a:cubicBezTo>
                    <a:pt x="132" y="17"/>
                    <a:pt x="132" y="17"/>
                    <a:pt x="132" y="17"/>
                  </a:cubicBezTo>
                  <a:cubicBezTo>
                    <a:pt x="131" y="17"/>
                    <a:pt x="130" y="17"/>
                    <a:pt x="130" y="18"/>
                  </a:cubicBezTo>
                  <a:cubicBezTo>
                    <a:pt x="135" y="21"/>
                    <a:pt x="135" y="21"/>
                    <a:pt x="135" y="21"/>
                  </a:cubicBezTo>
                  <a:cubicBezTo>
                    <a:pt x="123" y="19"/>
                    <a:pt x="123" y="19"/>
                    <a:pt x="123" y="19"/>
                  </a:cubicBezTo>
                  <a:cubicBezTo>
                    <a:pt x="123" y="20"/>
                    <a:pt x="123" y="20"/>
                    <a:pt x="123" y="20"/>
                  </a:cubicBezTo>
                  <a:cubicBezTo>
                    <a:pt x="122" y="19"/>
                    <a:pt x="122" y="19"/>
                    <a:pt x="122" y="19"/>
                  </a:cubicBezTo>
                  <a:cubicBezTo>
                    <a:pt x="122" y="20"/>
                    <a:pt x="122" y="20"/>
                    <a:pt x="122" y="20"/>
                  </a:cubicBezTo>
                  <a:cubicBezTo>
                    <a:pt x="122" y="20"/>
                    <a:pt x="122" y="20"/>
                    <a:pt x="122" y="20"/>
                  </a:cubicBezTo>
                  <a:cubicBezTo>
                    <a:pt x="121" y="20"/>
                    <a:pt x="121" y="20"/>
                    <a:pt x="121" y="20"/>
                  </a:cubicBezTo>
                  <a:cubicBezTo>
                    <a:pt x="120" y="21"/>
                    <a:pt x="119" y="21"/>
                    <a:pt x="119" y="21"/>
                  </a:cubicBezTo>
                  <a:cubicBezTo>
                    <a:pt x="119" y="21"/>
                    <a:pt x="119" y="21"/>
                    <a:pt x="119" y="21"/>
                  </a:cubicBezTo>
                  <a:cubicBezTo>
                    <a:pt x="119" y="21"/>
                    <a:pt x="119" y="21"/>
                    <a:pt x="119" y="21"/>
                  </a:cubicBezTo>
                  <a:cubicBezTo>
                    <a:pt x="118" y="21"/>
                    <a:pt x="118" y="21"/>
                    <a:pt x="118" y="21"/>
                  </a:cubicBezTo>
                  <a:cubicBezTo>
                    <a:pt x="118" y="21"/>
                    <a:pt x="118" y="21"/>
                    <a:pt x="118" y="21"/>
                  </a:cubicBezTo>
                  <a:cubicBezTo>
                    <a:pt x="118" y="21"/>
                    <a:pt x="118" y="21"/>
                    <a:pt x="118" y="21"/>
                  </a:cubicBezTo>
                  <a:cubicBezTo>
                    <a:pt x="117" y="21"/>
                    <a:pt x="117" y="21"/>
                    <a:pt x="117" y="21"/>
                  </a:cubicBezTo>
                  <a:cubicBezTo>
                    <a:pt x="117" y="21"/>
                    <a:pt x="117" y="21"/>
                    <a:pt x="117" y="21"/>
                  </a:cubicBezTo>
                  <a:cubicBezTo>
                    <a:pt x="116" y="21"/>
                    <a:pt x="115" y="21"/>
                    <a:pt x="114" y="21"/>
                  </a:cubicBezTo>
                  <a:cubicBezTo>
                    <a:pt x="114" y="21"/>
                    <a:pt x="114" y="21"/>
                    <a:pt x="114" y="21"/>
                  </a:cubicBezTo>
                  <a:cubicBezTo>
                    <a:pt x="112" y="22"/>
                    <a:pt x="112" y="22"/>
                    <a:pt x="112" y="22"/>
                  </a:cubicBezTo>
                  <a:cubicBezTo>
                    <a:pt x="111" y="22"/>
                    <a:pt x="109" y="22"/>
                    <a:pt x="108" y="23"/>
                  </a:cubicBezTo>
                  <a:cubicBezTo>
                    <a:pt x="105" y="24"/>
                    <a:pt x="105" y="24"/>
                    <a:pt x="105" y="24"/>
                  </a:cubicBezTo>
                  <a:cubicBezTo>
                    <a:pt x="104" y="24"/>
                    <a:pt x="104" y="24"/>
                    <a:pt x="104" y="24"/>
                  </a:cubicBezTo>
                  <a:cubicBezTo>
                    <a:pt x="104" y="24"/>
                    <a:pt x="103" y="24"/>
                    <a:pt x="103" y="24"/>
                  </a:cubicBezTo>
                  <a:cubicBezTo>
                    <a:pt x="99" y="24"/>
                    <a:pt x="99" y="24"/>
                    <a:pt x="99" y="24"/>
                  </a:cubicBezTo>
                  <a:cubicBezTo>
                    <a:pt x="99" y="24"/>
                    <a:pt x="99" y="24"/>
                    <a:pt x="99" y="24"/>
                  </a:cubicBezTo>
                  <a:cubicBezTo>
                    <a:pt x="99" y="24"/>
                    <a:pt x="99" y="24"/>
                    <a:pt x="99" y="24"/>
                  </a:cubicBezTo>
                  <a:cubicBezTo>
                    <a:pt x="92" y="24"/>
                    <a:pt x="92" y="24"/>
                    <a:pt x="92" y="24"/>
                  </a:cubicBezTo>
                  <a:cubicBezTo>
                    <a:pt x="91" y="24"/>
                    <a:pt x="91" y="24"/>
                    <a:pt x="91" y="24"/>
                  </a:cubicBezTo>
                  <a:cubicBezTo>
                    <a:pt x="90" y="24"/>
                    <a:pt x="90" y="24"/>
                    <a:pt x="90" y="24"/>
                  </a:cubicBezTo>
                  <a:cubicBezTo>
                    <a:pt x="86" y="27"/>
                    <a:pt x="86" y="27"/>
                    <a:pt x="86" y="27"/>
                  </a:cubicBezTo>
                  <a:cubicBezTo>
                    <a:pt x="90" y="30"/>
                    <a:pt x="90" y="30"/>
                    <a:pt x="90" y="30"/>
                  </a:cubicBezTo>
                  <a:cubicBezTo>
                    <a:pt x="85" y="28"/>
                    <a:pt x="85" y="28"/>
                    <a:pt x="85" y="28"/>
                  </a:cubicBezTo>
                  <a:cubicBezTo>
                    <a:pt x="85" y="28"/>
                    <a:pt x="85" y="28"/>
                    <a:pt x="85" y="28"/>
                  </a:cubicBezTo>
                  <a:cubicBezTo>
                    <a:pt x="84" y="29"/>
                    <a:pt x="84" y="29"/>
                    <a:pt x="83" y="30"/>
                  </a:cubicBezTo>
                  <a:cubicBezTo>
                    <a:pt x="81" y="33"/>
                    <a:pt x="81" y="33"/>
                    <a:pt x="81" y="33"/>
                  </a:cubicBezTo>
                  <a:cubicBezTo>
                    <a:pt x="78" y="33"/>
                    <a:pt x="78" y="33"/>
                    <a:pt x="78" y="33"/>
                  </a:cubicBezTo>
                  <a:cubicBezTo>
                    <a:pt x="77" y="31"/>
                    <a:pt x="77" y="31"/>
                    <a:pt x="77" y="31"/>
                  </a:cubicBezTo>
                  <a:cubicBezTo>
                    <a:pt x="76" y="32"/>
                    <a:pt x="76" y="32"/>
                    <a:pt x="76" y="32"/>
                  </a:cubicBezTo>
                  <a:cubicBezTo>
                    <a:pt x="75" y="32"/>
                    <a:pt x="75" y="32"/>
                    <a:pt x="75" y="32"/>
                  </a:cubicBezTo>
                  <a:cubicBezTo>
                    <a:pt x="74" y="33"/>
                    <a:pt x="74" y="33"/>
                    <a:pt x="74" y="33"/>
                  </a:cubicBezTo>
                  <a:cubicBezTo>
                    <a:pt x="73" y="33"/>
                    <a:pt x="72" y="33"/>
                    <a:pt x="71" y="33"/>
                  </a:cubicBezTo>
                  <a:cubicBezTo>
                    <a:pt x="70" y="33"/>
                    <a:pt x="70" y="33"/>
                    <a:pt x="70" y="33"/>
                  </a:cubicBezTo>
                  <a:cubicBezTo>
                    <a:pt x="70" y="33"/>
                    <a:pt x="70" y="33"/>
                    <a:pt x="70" y="33"/>
                  </a:cubicBezTo>
                  <a:cubicBezTo>
                    <a:pt x="69" y="33"/>
                    <a:pt x="69" y="32"/>
                    <a:pt x="69" y="32"/>
                  </a:cubicBezTo>
                  <a:cubicBezTo>
                    <a:pt x="68" y="32"/>
                    <a:pt x="68" y="32"/>
                    <a:pt x="68" y="32"/>
                  </a:cubicBezTo>
                  <a:cubicBezTo>
                    <a:pt x="68" y="32"/>
                    <a:pt x="68" y="32"/>
                    <a:pt x="67" y="32"/>
                  </a:cubicBezTo>
                  <a:cubicBezTo>
                    <a:pt x="66" y="33"/>
                    <a:pt x="66" y="33"/>
                    <a:pt x="66" y="33"/>
                  </a:cubicBezTo>
                  <a:cubicBezTo>
                    <a:pt x="64" y="33"/>
                    <a:pt x="64" y="33"/>
                    <a:pt x="64" y="33"/>
                  </a:cubicBezTo>
                  <a:cubicBezTo>
                    <a:pt x="64" y="33"/>
                    <a:pt x="63" y="33"/>
                    <a:pt x="63" y="33"/>
                  </a:cubicBezTo>
                  <a:cubicBezTo>
                    <a:pt x="62" y="33"/>
                    <a:pt x="62" y="33"/>
                    <a:pt x="62" y="33"/>
                  </a:cubicBezTo>
                  <a:cubicBezTo>
                    <a:pt x="62" y="33"/>
                    <a:pt x="62" y="33"/>
                    <a:pt x="62" y="33"/>
                  </a:cubicBezTo>
                  <a:cubicBezTo>
                    <a:pt x="49" y="36"/>
                    <a:pt x="49" y="36"/>
                    <a:pt x="49" y="36"/>
                  </a:cubicBezTo>
                  <a:cubicBezTo>
                    <a:pt x="49" y="36"/>
                    <a:pt x="49" y="36"/>
                    <a:pt x="49" y="36"/>
                  </a:cubicBezTo>
                  <a:cubicBezTo>
                    <a:pt x="49" y="36"/>
                    <a:pt x="49" y="36"/>
                    <a:pt x="49" y="36"/>
                  </a:cubicBezTo>
                  <a:cubicBezTo>
                    <a:pt x="48" y="36"/>
                    <a:pt x="48" y="36"/>
                    <a:pt x="48" y="36"/>
                  </a:cubicBezTo>
                  <a:cubicBezTo>
                    <a:pt x="39" y="39"/>
                    <a:pt x="39" y="39"/>
                    <a:pt x="39" y="39"/>
                  </a:cubicBezTo>
                  <a:cubicBezTo>
                    <a:pt x="38" y="38"/>
                    <a:pt x="38" y="38"/>
                    <a:pt x="38" y="38"/>
                  </a:cubicBezTo>
                  <a:cubicBezTo>
                    <a:pt x="37" y="38"/>
                    <a:pt x="37" y="38"/>
                    <a:pt x="36" y="38"/>
                  </a:cubicBezTo>
                  <a:cubicBezTo>
                    <a:pt x="36" y="39"/>
                    <a:pt x="36" y="39"/>
                    <a:pt x="36" y="39"/>
                  </a:cubicBezTo>
                  <a:cubicBezTo>
                    <a:pt x="35" y="39"/>
                    <a:pt x="35" y="39"/>
                    <a:pt x="35" y="39"/>
                  </a:cubicBezTo>
                  <a:cubicBezTo>
                    <a:pt x="34" y="40"/>
                    <a:pt x="34" y="40"/>
                    <a:pt x="34" y="40"/>
                  </a:cubicBezTo>
                  <a:cubicBezTo>
                    <a:pt x="28" y="41"/>
                    <a:pt x="28" y="41"/>
                    <a:pt x="28" y="41"/>
                  </a:cubicBezTo>
                  <a:cubicBezTo>
                    <a:pt x="28" y="41"/>
                    <a:pt x="28" y="41"/>
                    <a:pt x="28" y="41"/>
                  </a:cubicBezTo>
                  <a:cubicBezTo>
                    <a:pt x="28" y="41"/>
                    <a:pt x="28" y="41"/>
                    <a:pt x="28" y="41"/>
                  </a:cubicBezTo>
                  <a:cubicBezTo>
                    <a:pt x="27" y="41"/>
                    <a:pt x="26" y="41"/>
                    <a:pt x="25" y="42"/>
                  </a:cubicBezTo>
                  <a:cubicBezTo>
                    <a:pt x="25" y="42"/>
                    <a:pt x="25" y="42"/>
                    <a:pt x="25" y="42"/>
                  </a:cubicBezTo>
                  <a:cubicBezTo>
                    <a:pt x="25" y="42"/>
                    <a:pt x="25" y="42"/>
                    <a:pt x="25" y="42"/>
                  </a:cubicBezTo>
                  <a:cubicBezTo>
                    <a:pt x="23" y="42"/>
                    <a:pt x="23" y="42"/>
                    <a:pt x="23" y="42"/>
                  </a:cubicBezTo>
                  <a:cubicBezTo>
                    <a:pt x="21" y="45"/>
                    <a:pt x="21" y="45"/>
                    <a:pt x="21" y="45"/>
                  </a:cubicBezTo>
                  <a:cubicBezTo>
                    <a:pt x="21" y="46"/>
                    <a:pt x="21" y="46"/>
                    <a:pt x="21" y="46"/>
                  </a:cubicBezTo>
                  <a:cubicBezTo>
                    <a:pt x="19" y="48"/>
                    <a:pt x="19" y="48"/>
                    <a:pt x="19" y="48"/>
                  </a:cubicBezTo>
                  <a:cubicBezTo>
                    <a:pt x="18" y="47"/>
                    <a:pt x="18" y="47"/>
                    <a:pt x="18" y="47"/>
                  </a:cubicBezTo>
                  <a:cubicBezTo>
                    <a:pt x="13" y="52"/>
                    <a:pt x="13" y="52"/>
                    <a:pt x="13" y="52"/>
                  </a:cubicBezTo>
                  <a:cubicBezTo>
                    <a:pt x="16" y="45"/>
                    <a:pt x="16" y="45"/>
                    <a:pt x="16" y="45"/>
                  </a:cubicBezTo>
                  <a:cubicBezTo>
                    <a:pt x="16" y="45"/>
                    <a:pt x="16" y="45"/>
                    <a:pt x="16" y="45"/>
                  </a:cubicBezTo>
                  <a:cubicBezTo>
                    <a:pt x="15" y="44"/>
                    <a:pt x="15" y="44"/>
                    <a:pt x="15" y="44"/>
                  </a:cubicBezTo>
                  <a:cubicBezTo>
                    <a:pt x="15" y="44"/>
                    <a:pt x="15" y="44"/>
                    <a:pt x="15" y="44"/>
                  </a:cubicBezTo>
                  <a:cubicBezTo>
                    <a:pt x="14" y="44"/>
                    <a:pt x="14" y="44"/>
                    <a:pt x="14" y="44"/>
                  </a:cubicBezTo>
                  <a:cubicBezTo>
                    <a:pt x="14" y="44"/>
                    <a:pt x="13" y="44"/>
                    <a:pt x="13" y="44"/>
                  </a:cubicBezTo>
                  <a:cubicBezTo>
                    <a:pt x="13" y="44"/>
                    <a:pt x="12" y="44"/>
                    <a:pt x="11" y="44"/>
                  </a:cubicBezTo>
                  <a:cubicBezTo>
                    <a:pt x="10" y="50"/>
                    <a:pt x="10" y="50"/>
                    <a:pt x="10" y="50"/>
                  </a:cubicBezTo>
                  <a:cubicBezTo>
                    <a:pt x="10" y="44"/>
                    <a:pt x="10" y="44"/>
                    <a:pt x="10" y="44"/>
                  </a:cubicBezTo>
                  <a:cubicBezTo>
                    <a:pt x="10" y="44"/>
                    <a:pt x="10" y="44"/>
                    <a:pt x="10" y="44"/>
                  </a:cubicBezTo>
                  <a:cubicBezTo>
                    <a:pt x="8" y="44"/>
                    <a:pt x="8" y="44"/>
                    <a:pt x="8" y="44"/>
                  </a:cubicBezTo>
                  <a:cubicBezTo>
                    <a:pt x="3" y="44"/>
                    <a:pt x="3" y="44"/>
                    <a:pt x="3" y="44"/>
                  </a:cubicBezTo>
                  <a:cubicBezTo>
                    <a:pt x="3" y="44"/>
                    <a:pt x="3" y="44"/>
                    <a:pt x="3" y="44"/>
                  </a:cubicBezTo>
                  <a:cubicBezTo>
                    <a:pt x="2" y="44"/>
                    <a:pt x="1" y="44"/>
                    <a:pt x="0" y="44"/>
                  </a:cubicBezTo>
                  <a:cubicBezTo>
                    <a:pt x="0" y="53"/>
                    <a:pt x="0" y="53"/>
                    <a:pt x="0" y="53"/>
                  </a:cubicBezTo>
                  <a:cubicBezTo>
                    <a:pt x="0" y="53"/>
                    <a:pt x="0" y="53"/>
                    <a:pt x="0" y="53"/>
                  </a:cubicBezTo>
                  <a:cubicBezTo>
                    <a:pt x="0" y="54"/>
                    <a:pt x="0" y="54"/>
                    <a:pt x="0" y="54"/>
                  </a:cubicBezTo>
                  <a:cubicBezTo>
                    <a:pt x="5" y="53"/>
                    <a:pt x="5" y="53"/>
                    <a:pt x="5" y="53"/>
                  </a:cubicBezTo>
                  <a:cubicBezTo>
                    <a:pt x="0" y="58"/>
                    <a:pt x="0" y="58"/>
                    <a:pt x="0" y="58"/>
                  </a:cubicBezTo>
                  <a:cubicBezTo>
                    <a:pt x="0" y="58"/>
                    <a:pt x="0" y="58"/>
                    <a:pt x="0" y="58"/>
                  </a:cubicBezTo>
                  <a:cubicBezTo>
                    <a:pt x="0" y="58"/>
                    <a:pt x="0" y="58"/>
                    <a:pt x="0" y="58"/>
                  </a:cubicBezTo>
                  <a:cubicBezTo>
                    <a:pt x="0" y="64"/>
                    <a:pt x="0" y="64"/>
                    <a:pt x="0" y="64"/>
                  </a:cubicBezTo>
                  <a:cubicBezTo>
                    <a:pt x="1" y="64"/>
                    <a:pt x="2" y="65"/>
                    <a:pt x="3" y="65"/>
                  </a:cubicBezTo>
                  <a:cubicBezTo>
                    <a:pt x="8" y="67"/>
                    <a:pt x="8" y="67"/>
                    <a:pt x="8" y="67"/>
                  </a:cubicBezTo>
                  <a:cubicBezTo>
                    <a:pt x="9" y="67"/>
                    <a:pt x="11" y="68"/>
                    <a:pt x="12" y="69"/>
                  </a:cubicBezTo>
                  <a:cubicBezTo>
                    <a:pt x="14" y="70"/>
                    <a:pt x="14" y="70"/>
                    <a:pt x="14" y="70"/>
                  </a:cubicBezTo>
                  <a:cubicBezTo>
                    <a:pt x="14" y="72"/>
                    <a:pt x="14" y="72"/>
                    <a:pt x="14" y="72"/>
                  </a:cubicBezTo>
                  <a:cubicBezTo>
                    <a:pt x="13" y="73"/>
                    <a:pt x="13" y="73"/>
                    <a:pt x="13" y="74"/>
                  </a:cubicBezTo>
                  <a:cubicBezTo>
                    <a:pt x="13" y="74"/>
                    <a:pt x="12" y="75"/>
                    <a:pt x="12" y="75"/>
                  </a:cubicBezTo>
                  <a:cubicBezTo>
                    <a:pt x="12" y="75"/>
                    <a:pt x="12" y="75"/>
                    <a:pt x="12" y="75"/>
                  </a:cubicBezTo>
                  <a:cubicBezTo>
                    <a:pt x="12" y="76"/>
                    <a:pt x="11" y="76"/>
                    <a:pt x="11" y="77"/>
                  </a:cubicBezTo>
                  <a:cubicBezTo>
                    <a:pt x="10" y="77"/>
                    <a:pt x="10" y="77"/>
                    <a:pt x="10" y="77"/>
                  </a:cubicBezTo>
                  <a:cubicBezTo>
                    <a:pt x="10" y="77"/>
                    <a:pt x="10" y="77"/>
                    <a:pt x="10" y="77"/>
                  </a:cubicBezTo>
                  <a:cubicBezTo>
                    <a:pt x="9" y="78"/>
                    <a:pt x="9" y="78"/>
                    <a:pt x="9" y="78"/>
                  </a:cubicBezTo>
                  <a:cubicBezTo>
                    <a:pt x="9" y="78"/>
                    <a:pt x="9" y="78"/>
                    <a:pt x="9" y="78"/>
                  </a:cubicBezTo>
                  <a:cubicBezTo>
                    <a:pt x="8" y="78"/>
                    <a:pt x="8" y="78"/>
                    <a:pt x="8" y="78"/>
                  </a:cubicBezTo>
                  <a:cubicBezTo>
                    <a:pt x="8" y="78"/>
                    <a:pt x="8" y="78"/>
                    <a:pt x="8" y="78"/>
                  </a:cubicBezTo>
                  <a:cubicBezTo>
                    <a:pt x="7" y="78"/>
                    <a:pt x="6" y="78"/>
                    <a:pt x="6" y="78"/>
                  </a:cubicBezTo>
                  <a:cubicBezTo>
                    <a:pt x="6" y="77"/>
                    <a:pt x="6" y="77"/>
                    <a:pt x="6" y="77"/>
                  </a:cubicBezTo>
                  <a:cubicBezTo>
                    <a:pt x="6" y="77"/>
                    <a:pt x="6" y="77"/>
                    <a:pt x="6" y="77"/>
                  </a:cubicBezTo>
                  <a:cubicBezTo>
                    <a:pt x="5" y="78"/>
                    <a:pt x="5" y="78"/>
                    <a:pt x="5" y="78"/>
                  </a:cubicBezTo>
                  <a:cubicBezTo>
                    <a:pt x="5" y="77"/>
                    <a:pt x="5" y="77"/>
                    <a:pt x="5" y="77"/>
                  </a:cubicBezTo>
                  <a:cubicBezTo>
                    <a:pt x="6" y="83"/>
                    <a:pt x="6" y="83"/>
                    <a:pt x="6" y="83"/>
                  </a:cubicBezTo>
                  <a:cubicBezTo>
                    <a:pt x="3" y="77"/>
                    <a:pt x="3" y="77"/>
                    <a:pt x="3" y="77"/>
                  </a:cubicBezTo>
                  <a:cubicBezTo>
                    <a:pt x="3" y="77"/>
                    <a:pt x="3" y="77"/>
                    <a:pt x="2" y="77"/>
                  </a:cubicBezTo>
                  <a:cubicBezTo>
                    <a:pt x="2" y="77"/>
                    <a:pt x="1" y="77"/>
                    <a:pt x="1" y="77"/>
                  </a:cubicBezTo>
                  <a:cubicBezTo>
                    <a:pt x="1" y="77"/>
                    <a:pt x="1" y="77"/>
                    <a:pt x="1" y="77"/>
                  </a:cubicBezTo>
                  <a:cubicBezTo>
                    <a:pt x="1" y="77"/>
                    <a:pt x="1" y="77"/>
                    <a:pt x="1" y="77"/>
                  </a:cubicBezTo>
                  <a:cubicBezTo>
                    <a:pt x="1" y="77"/>
                    <a:pt x="0" y="77"/>
                    <a:pt x="0" y="78"/>
                  </a:cubicBezTo>
                  <a:cubicBezTo>
                    <a:pt x="0" y="123"/>
                    <a:pt x="0" y="123"/>
                    <a:pt x="0" y="123"/>
                  </a:cubicBezTo>
                  <a:cubicBezTo>
                    <a:pt x="1" y="121"/>
                    <a:pt x="1" y="121"/>
                    <a:pt x="1" y="121"/>
                  </a:cubicBezTo>
                  <a:cubicBezTo>
                    <a:pt x="1" y="125"/>
                    <a:pt x="1" y="125"/>
                    <a:pt x="1" y="125"/>
                  </a:cubicBezTo>
                  <a:cubicBezTo>
                    <a:pt x="6" y="127"/>
                    <a:pt x="6" y="127"/>
                    <a:pt x="6" y="127"/>
                  </a:cubicBezTo>
                  <a:cubicBezTo>
                    <a:pt x="4" y="128"/>
                    <a:pt x="4" y="128"/>
                    <a:pt x="4" y="128"/>
                  </a:cubicBezTo>
                  <a:cubicBezTo>
                    <a:pt x="11" y="133"/>
                    <a:pt x="11" y="133"/>
                    <a:pt x="11" y="133"/>
                  </a:cubicBezTo>
                  <a:cubicBezTo>
                    <a:pt x="2" y="131"/>
                    <a:pt x="2" y="131"/>
                    <a:pt x="2" y="131"/>
                  </a:cubicBezTo>
                  <a:cubicBezTo>
                    <a:pt x="1" y="132"/>
                    <a:pt x="1" y="132"/>
                    <a:pt x="1" y="132"/>
                  </a:cubicBezTo>
                  <a:cubicBezTo>
                    <a:pt x="1" y="132"/>
                    <a:pt x="0" y="133"/>
                    <a:pt x="0" y="134"/>
                  </a:cubicBezTo>
                  <a:cubicBezTo>
                    <a:pt x="0" y="348"/>
                    <a:pt x="0" y="348"/>
                    <a:pt x="0" y="348"/>
                  </a:cubicBezTo>
                  <a:cubicBezTo>
                    <a:pt x="1" y="349"/>
                    <a:pt x="3" y="351"/>
                    <a:pt x="4" y="352"/>
                  </a:cubicBezTo>
                  <a:cubicBezTo>
                    <a:pt x="5" y="353"/>
                    <a:pt x="5" y="353"/>
                    <a:pt x="6" y="354"/>
                  </a:cubicBezTo>
                  <a:cubicBezTo>
                    <a:pt x="6" y="354"/>
                    <a:pt x="6" y="354"/>
                    <a:pt x="6" y="354"/>
                  </a:cubicBezTo>
                  <a:cubicBezTo>
                    <a:pt x="7" y="355"/>
                    <a:pt x="7" y="355"/>
                    <a:pt x="8" y="356"/>
                  </a:cubicBezTo>
                  <a:cubicBezTo>
                    <a:pt x="9" y="357"/>
                    <a:pt x="9" y="357"/>
                    <a:pt x="9" y="357"/>
                  </a:cubicBezTo>
                  <a:cubicBezTo>
                    <a:pt x="10" y="357"/>
                    <a:pt x="10" y="357"/>
                    <a:pt x="11" y="357"/>
                  </a:cubicBezTo>
                  <a:cubicBezTo>
                    <a:pt x="11" y="357"/>
                    <a:pt x="11" y="357"/>
                    <a:pt x="11" y="357"/>
                  </a:cubicBezTo>
                  <a:cubicBezTo>
                    <a:pt x="14" y="357"/>
                    <a:pt x="18" y="356"/>
                    <a:pt x="21" y="355"/>
                  </a:cubicBezTo>
                  <a:cubicBezTo>
                    <a:pt x="26" y="355"/>
                    <a:pt x="31" y="354"/>
                    <a:pt x="36" y="353"/>
                  </a:cubicBezTo>
                  <a:cubicBezTo>
                    <a:pt x="37" y="353"/>
                    <a:pt x="38" y="353"/>
                    <a:pt x="39" y="353"/>
                  </a:cubicBezTo>
                  <a:cubicBezTo>
                    <a:pt x="43" y="353"/>
                    <a:pt x="47" y="353"/>
                    <a:pt x="50" y="354"/>
                  </a:cubicBezTo>
                  <a:cubicBezTo>
                    <a:pt x="51" y="354"/>
                    <a:pt x="51" y="354"/>
                    <a:pt x="51" y="354"/>
                  </a:cubicBezTo>
                  <a:cubicBezTo>
                    <a:pt x="54" y="354"/>
                    <a:pt x="56" y="354"/>
                    <a:pt x="58" y="354"/>
                  </a:cubicBezTo>
                  <a:cubicBezTo>
                    <a:pt x="65" y="355"/>
                    <a:pt x="65" y="355"/>
                    <a:pt x="65" y="355"/>
                  </a:cubicBezTo>
                  <a:cubicBezTo>
                    <a:pt x="67" y="355"/>
                    <a:pt x="68" y="354"/>
                    <a:pt x="69" y="354"/>
                  </a:cubicBezTo>
                  <a:cubicBezTo>
                    <a:pt x="69" y="354"/>
                    <a:pt x="69" y="354"/>
                    <a:pt x="69" y="354"/>
                  </a:cubicBezTo>
                  <a:cubicBezTo>
                    <a:pt x="70" y="353"/>
                    <a:pt x="70" y="353"/>
                    <a:pt x="70" y="353"/>
                  </a:cubicBezTo>
                  <a:cubicBezTo>
                    <a:pt x="73" y="352"/>
                    <a:pt x="75" y="351"/>
                    <a:pt x="77" y="351"/>
                  </a:cubicBezTo>
                  <a:cubicBezTo>
                    <a:pt x="77" y="351"/>
                    <a:pt x="77" y="351"/>
                    <a:pt x="77" y="351"/>
                  </a:cubicBezTo>
                  <a:cubicBezTo>
                    <a:pt x="79" y="351"/>
                    <a:pt x="80" y="352"/>
                    <a:pt x="81" y="353"/>
                  </a:cubicBezTo>
                  <a:cubicBezTo>
                    <a:pt x="82" y="354"/>
                    <a:pt x="84" y="356"/>
                    <a:pt x="85" y="357"/>
                  </a:cubicBezTo>
                  <a:cubicBezTo>
                    <a:pt x="87" y="359"/>
                    <a:pt x="87" y="359"/>
                    <a:pt x="87" y="359"/>
                  </a:cubicBezTo>
                  <a:cubicBezTo>
                    <a:pt x="88" y="360"/>
                    <a:pt x="88" y="360"/>
                    <a:pt x="88" y="360"/>
                  </a:cubicBezTo>
                  <a:cubicBezTo>
                    <a:pt x="90" y="361"/>
                    <a:pt x="90" y="361"/>
                    <a:pt x="90" y="361"/>
                  </a:cubicBezTo>
                  <a:cubicBezTo>
                    <a:pt x="92" y="364"/>
                    <a:pt x="95" y="366"/>
                    <a:pt x="97" y="369"/>
                  </a:cubicBezTo>
                  <a:cubicBezTo>
                    <a:pt x="99" y="371"/>
                    <a:pt x="99" y="371"/>
                    <a:pt x="99" y="371"/>
                  </a:cubicBezTo>
                  <a:cubicBezTo>
                    <a:pt x="99" y="371"/>
                    <a:pt x="99" y="371"/>
                    <a:pt x="100" y="372"/>
                  </a:cubicBezTo>
                  <a:cubicBezTo>
                    <a:pt x="100" y="372"/>
                    <a:pt x="101" y="373"/>
                    <a:pt x="101" y="373"/>
                  </a:cubicBezTo>
                  <a:cubicBezTo>
                    <a:pt x="103" y="372"/>
                    <a:pt x="103" y="372"/>
                    <a:pt x="103" y="372"/>
                  </a:cubicBezTo>
                  <a:cubicBezTo>
                    <a:pt x="104" y="372"/>
                    <a:pt x="104" y="372"/>
                    <a:pt x="105" y="372"/>
                  </a:cubicBezTo>
                  <a:cubicBezTo>
                    <a:pt x="106" y="372"/>
                    <a:pt x="107" y="372"/>
                    <a:pt x="107" y="373"/>
                  </a:cubicBezTo>
                  <a:cubicBezTo>
                    <a:pt x="109" y="375"/>
                    <a:pt x="109" y="378"/>
                    <a:pt x="107" y="383"/>
                  </a:cubicBezTo>
                  <a:cubicBezTo>
                    <a:pt x="107" y="383"/>
                    <a:pt x="107" y="383"/>
                    <a:pt x="107" y="383"/>
                  </a:cubicBezTo>
                  <a:cubicBezTo>
                    <a:pt x="107" y="385"/>
                    <a:pt x="107" y="386"/>
                    <a:pt x="107" y="388"/>
                  </a:cubicBezTo>
                  <a:cubicBezTo>
                    <a:pt x="107" y="390"/>
                    <a:pt x="106" y="392"/>
                    <a:pt x="106" y="393"/>
                  </a:cubicBezTo>
                  <a:cubicBezTo>
                    <a:pt x="106" y="394"/>
                    <a:pt x="106" y="395"/>
                    <a:pt x="106" y="395"/>
                  </a:cubicBezTo>
                  <a:cubicBezTo>
                    <a:pt x="106" y="396"/>
                    <a:pt x="106" y="396"/>
                    <a:pt x="106" y="396"/>
                  </a:cubicBezTo>
                  <a:cubicBezTo>
                    <a:pt x="106" y="396"/>
                    <a:pt x="106" y="397"/>
                    <a:pt x="106" y="398"/>
                  </a:cubicBezTo>
                  <a:cubicBezTo>
                    <a:pt x="106" y="398"/>
                    <a:pt x="106" y="399"/>
                    <a:pt x="106" y="400"/>
                  </a:cubicBezTo>
                  <a:cubicBezTo>
                    <a:pt x="107" y="400"/>
                    <a:pt x="107" y="400"/>
                    <a:pt x="107" y="400"/>
                  </a:cubicBezTo>
                  <a:cubicBezTo>
                    <a:pt x="107" y="400"/>
                    <a:pt x="107" y="400"/>
                    <a:pt x="107" y="400"/>
                  </a:cubicBezTo>
                  <a:cubicBezTo>
                    <a:pt x="107" y="400"/>
                    <a:pt x="108" y="400"/>
                    <a:pt x="108" y="400"/>
                  </a:cubicBezTo>
                  <a:cubicBezTo>
                    <a:pt x="109" y="400"/>
                    <a:pt x="109" y="400"/>
                    <a:pt x="109" y="400"/>
                  </a:cubicBezTo>
                  <a:cubicBezTo>
                    <a:pt x="110" y="400"/>
                    <a:pt x="111" y="399"/>
                    <a:pt x="112" y="399"/>
                  </a:cubicBezTo>
                  <a:cubicBezTo>
                    <a:pt x="113" y="399"/>
                    <a:pt x="115" y="400"/>
                    <a:pt x="116" y="401"/>
                  </a:cubicBezTo>
                  <a:cubicBezTo>
                    <a:pt x="117" y="402"/>
                    <a:pt x="117" y="403"/>
                    <a:pt x="117" y="404"/>
                  </a:cubicBezTo>
                  <a:cubicBezTo>
                    <a:pt x="118" y="404"/>
                    <a:pt x="118" y="405"/>
                    <a:pt x="118" y="407"/>
                  </a:cubicBezTo>
                  <a:cubicBezTo>
                    <a:pt x="118" y="407"/>
                    <a:pt x="118" y="407"/>
                    <a:pt x="118" y="407"/>
                  </a:cubicBezTo>
                  <a:cubicBezTo>
                    <a:pt x="118" y="408"/>
                    <a:pt x="118" y="408"/>
                    <a:pt x="118" y="408"/>
                  </a:cubicBezTo>
                  <a:cubicBezTo>
                    <a:pt x="118" y="410"/>
                    <a:pt x="119" y="413"/>
                    <a:pt x="120" y="416"/>
                  </a:cubicBezTo>
                  <a:cubicBezTo>
                    <a:pt x="121" y="419"/>
                    <a:pt x="121" y="419"/>
                    <a:pt x="121" y="419"/>
                  </a:cubicBezTo>
                  <a:cubicBezTo>
                    <a:pt x="121" y="421"/>
                    <a:pt x="121" y="421"/>
                    <a:pt x="121" y="421"/>
                  </a:cubicBezTo>
                  <a:cubicBezTo>
                    <a:pt x="122" y="423"/>
                    <a:pt x="122" y="423"/>
                    <a:pt x="122" y="423"/>
                  </a:cubicBezTo>
                  <a:cubicBezTo>
                    <a:pt x="140" y="423"/>
                    <a:pt x="140" y="423"/>
                    <a:pt x="140" y="423"/>
                  </a:cubicBezTo>
                  <a:cubicBezTo>
                    <a:pt x="141" y="423"/>
                    <a:pt x="141" y="423"/>
                    <a:pt x="142" y="423"/>
                  </a:cubicBezTo>
                  <a:cubicBezTo>
                    <a:pt x="143" y="423"/>
                    <a:pt x="144" y="422"/>
                    <a:pt x="145" y="422"/>
                  </a:cubicBezTo>
                  <a:cubicBezTo>
                    <a:pt x="146" y="422"/>
                    <a:pt x="147" y="422"/>
                    <a:pt x="147" y="423"/>
                  </a:cubicBezTo>
                  <a:cubicBezTo>
                    <a:pt x="147" y="423"/>
                    <a:pt x="147" y="423"/>
                    <a:pt x="147" y="423"/>
                  </a:cubicBezTo>
                  <a:cubicBezTo>
                    <a:pt x="148" y="423"/>
                    <a:pt x="148" y="423"/>
                    <a:pt x="149" y="423"/>
                  </a:cubicBezTo>
                  <a:cubicBezTo>
                    <a:pt x="149" y="423"/>
                    <a:pt x="149" y="423"/>
                    <a:pt x="149" y="423"/>
                  </a:cubicBezTo>
                  <a:cubicBezTo>
                    <a:pt x="150" y="424"/>
                    <a:pt x="150" y="424"/>
                    <a:pt x="150" y="424"/>
                  </a:cubicBezTo>
                  <a:cubicBezTo>
                    <a:pt x="150" y="424"/>
                    <a:pt x="150" y="424"/>
                    <a:pt x="150" y="424"/>
                  </a:cubicBezTo>
                  <a:cubicBezTo>
                    <a:pt x="151" y="425"/>
                    <a:pt x="151" y="425"/>
                    <a:pt x="151" y="425"/>
                  </a:cubicBezTo>
                  <a:cubicBezTo>
                    <a:pt x="151" y="425"/>
                    <a:pt x="151" y="425"/>
                    <a:pt x="151" y="425"/>
                  </a:cubicBezTo>
                  <a:cubicBezTo>
                    <a:pt x="152" y="426"/>
                    <a:pt x="153" y="426"/>
                    <a:pt x="153" y="427"/>
                  </a:cubicBezTo>
                  <a:cubicBezTo>
                    <a:pt x="154" y="427"/>
                    <a:pt x="155" y="428"/>
                    <a:pt x="155" y="429"/>
                  </a:cubicBezTo>
                  <a:cubicBezTo>
                    <a:pt x="155" y="430"/>
                    <a:pt x="155" y="430"/>
                    <a:pt x="155" y="430"/>
                  </a:cubicBezTo>
                  <a:cubicBezTo>
                    <a:pt x="155" y="432"/>
                    <a:pt x="155" y="434"/>
                    <a:pt x="154" y="435"/>
                  </a:cubicBezTo>
                  <a:cubicBezTo>
                    <a:pt x="156" y="437"/>
                    <a:pt x="158" y="438"/>
                    <a:pt x="161" y="439"/>
                  </a:cubicBezTo>
                  <a:cubicBezTo>
                    <a:pt x="161" y="439"/>
                    <a:pt x="161" y="439"/>
                    <a:pt x="161" y="439"/>
                  </a:cubicBezTo>
                  <a:cubicBezTo>
                    <a:pt x="161" y="438"/>
                    <a:pt x="161" y="437"/>
                    <a:pt x="161" y="437"/>
                  </a:cubicBezTo>
                  <a:cubicBezTo>
                    <a:pt x="161" y="434"/>
                    <a:pt x="161" y="434"/>
                    <a:pt x="161" y="434"/>
                  </a:cubicBezTo>
                  <a:cubicBezTo>
                    <a:pt x="162" y="430"/>
                    <a:pt x="165" y="427"/>
                    <a:pt x="168" y="425"/>
                  </a:cubicBezTo>
                  <a:cubicBezTo>
                    <a:pt x="169" y="425"/>
                    <a:pt x="170" y="424"/>
                    <a:pt x="170" y="424"/>
                  </a:cubicBezTo>
                  <a:cubicBezTo>
                    <a:pt x="171" y="423"/>
                    <a:pt x="171" y="423"/>
                    <a:pt x="171" y="423"/>
                  </a:cubicBezTo>
                  <a:cubicBezTo>
                    <a:pt x="171" y="423"/>
                    <a:pt x="171" y="423"/>
                    <a:pt x="171" y="423"/>
                  </a:cubicBezTo>
                  <a:cubicBezTo>
                    <a:pt x="172" y="422"/>
                    <a:pt x="172" y="422"/>
                    <a:pt x="172" y="422"/>
                  </a:cubicBezTo>
                  <a:cubicBezTo>
                    <a:pt x="173" y="421"/>
                    <a:pt x="174" y="419"/>
                    <a:pt x="176" y="418"/>
                  </a:cubicBezTo>
                  <a:cubicBezTo>
                    <a:pt x="176" y="418"/>
                    <a:pt x="176" y="418"/>
                    <a:pt x="176" y="418"/>
                  </a:cubicBezTo>
                  <a:cubicBezTo>
                    <a:pt x="177" y="417"/>
                    <a:pt x="177" y="417"/>
                    <a:pt x="177" y="417"/>
                  </a:cubicBezTo>
                  <a:cubicBezTo>
                    <a:pt x="179" y="416"/>
                    <a:pt x="181" y="414"/>
                    <a:pt x="183" y="413"/>
                  </a:cubicBezTo>
                  <a:cubicBezTo>
                    <a:pt x="187" y="410"/>
                    <a:pt x="190" y="408"/>
                    <a:pt x="194" y="406"/>
                  </a:cubicBezTo>
                  <a:cubicBezTo>
                    <a:pt x="214" y="395"/>
                    <a:pt x="214" y="395"/>
                    <a:pt x="214" y="395"/>
                  </a:cubicBezTo>
                  <a:cubicBezTo>
                    <a:pt x="214" y="394"/>
                    <a:pt x="214" y="393"/>
                    <a:pt x="215" y="393"/>
                  </a:cubicBezTo>
                  <a:cubicBezTo>
                    <a:pt x="215" y="391"/>
                    <a:pt x="216" y="390"/>
                    <a:pt x="216" y="390"/>
                  </a:cubicBezTo>
                  <a:cubicBezTo>
                    <a:pt x="217" y="389"/>
                    <a:pt x="219" y="387"/>
                    <a:pt x="220" y="386"/>
                  </a:cubicBezTo>
                  <a:cubicBezTo>
                    <a:pt x="221" y="385"/>
                    <a:pt x="221" y="385"/>
                    <a:pt x="221" y="385"/>
                  </a:cubicBezTo>
                  <a:cubicBezTo>
                    <a:pt x="221" y="385"/>
                    <a:pt x="222" y="384"/>
                    <a:pt x="222" y="384"/>
                  </a:cubicBezTo>
                  <a:cubicBezTo>
                    <a:pt x="223" y="382"/>
                    <a:pt x="224" y="381"/>
                    <a:pt x="226" y="380"/>
                  </a:cubicBezTo>
                  <a:cubicBezTo>
                    <a:pt x="226" y="380"/>
                    <a:pt x="227" y="379"/>
                    <a:pt x="227" y="379"/>
                  </a:cubicBezTo>
                  <a:cubicBezTo>
                    <a:pt x="228" y="379"/>
                    <a:pt x="229" y="378"/>
                    <a:pt x="230" y="378"/>
                  </a:cubicBezTo>
                  <a:cubicBezTo>
                    <a:pt x="231" y="378"/>
                    <a:pt x="232" y="378"/>
                    <a:pt x="232" y="379"/>
                  </a:cubicBezTo>
                  <a:cubicBezTo>
                    <a:pt x="233" y="379"/>
                    <a:pt x="233" y="379"/>
                    <a:pt x="233" y="379"/>
                  </a:cubicBezTo>
                  <a:cubicBezTo>
                    <a:pt x="233" y="379"/>
                    <a:pt x="234" y="379"/>
                    <a:pt x="234" y="379"/>
                  </a:cubicBezTo>
                  <a:cubicBezTo>
                    <a:pt x="246" y="378"/>
                    <a:pt x="246" y="378"/>
                    <a:pt x="246" y="378"/>
                  </a:cubicBezTo>
                  <a:cubicBezTo>
                    <a:pt x="246" y="378"/>
                    <a:pt x="246" y="378"/>
                    <a:pt x="246" y="378"/>
                  </a:cubicBezTo>
                  <a:cubicBezTo>
                    <a:pt x="249" y="378"/>
                    <a:pt x="251" y="379"/>
                    <a:pt x="254" y="380"/>
                  </a:cubicBezTo>
                  <a:cubicBezTo>
                    <a:pt x="259" y="381"/>
                    <a:pt x="265" y="383"/>
                    <a:pt x="270" y="385"/>
                  </a:cubicBezTo>
                  <a:cubicBezTo>
                    <a:pt x="273" y="386"/>
                    <a:pt x="273" y="386"/>
                    <a:pt x="273" y="386"/>
                  </a:cubicBezTo>
                  <a:cubicBezTo>
                    <a:pt x="274" y="386"/>
                    <a:pt x="274" y="386"/>
                    <a:pt x="275" y="386"/>
                  </a:cubicBezTo>
                  <a:cubicBezTo>
                    <a:pt x="274" y="380"/>
                    <a:pt x="276" y="372"/>
                    <a:pt x="283" y="369"/>
                  </a:cubicBezTo>
                  <a:cubicBezTo>
                    <a:pt x="281" y="363"/>
                    <a:pt x="281" y="363"/>
                    <a:pt x="281" y="363"/>
                  </a:cubicBezTo>
                  <a:cubicBezTo>
                    <a:pt x="285" y="368"/>
                    <a:pt x="285" y="368"/>
                    <a:pt x="285" y="368"/>
                  </a:cubicBezTo>
                  <a:cubicBezTo>
                    <a:pt x="287" y="367"/>
                    <a:pt x="290" y="366"/>
                    <a:pt x="293" y="366"/>
                  </a:cubicBezTo>
                  <a:cubicBezTo>
                    <a:pt x="294" y="366"/>
                    <a:pt x="294" y="366"/>
                    <a:pt x="294" y="366"/>
                  </a:cubicBezTo>
                  <a:cubicBezTo>
                    <a:pt x="295" y="366"/>
                    <a:pt x="295" y="366"/>
                    <a:pt x="296" y="366"/>
                  </a:cubicBezTo>
                  <a:cubicBezTo>
                    <a:pt x="298" y="366"/>
                    <a:pt x="301" y="367"/>
                    <a:pt x="303" y="368"/>
                  </a:cubicBezTo>
                  <a:cubicBezTo>
                    <a:pt x="305" y="369"/>
                    <a:pt x="306" y="370"/>
                    <a:pt x="307" y="370"/>
                  </a:cubicBezTo>
                  <a:cubicBezTo>
                    <a:pt x="308" y="371"/>
                    <a:pt x="308" y="371"/>
                    <a:pt x="308" y="371"/>
                  </a:cubicBezTo>
                  <a:cubicBezTo>
                    <a:pt x="308" y="371"/>
                    <a:pt x="308" y="371"/>
                    <a:pt x="308" y="371"/>
                  </a:cubicBezTo>
                  <a:cubicBezTo>
                    <a:pt x="310" y="372"/>
                    <a:pt x="311" y="372"/>
                    <a:pt x="312" y="373"/>
                  </a:cubicBezTo>
                  <a:cubicBezTo>
                    <a:pt x="313" y="373"/>
                    <a:pt x="313" y="373"/>
                    <a:pt x="313" y="373"/>
                  </a:cubicBezTo>
                  <a:cubicBezTo>
                    <a:pt x="314" y="374"/>
                    <a:pt x="315" y="374"/>
                    <a:pt x="316" y="374"/>
                  </a:cubicBezTo>
                  <a:cubicBezTo>
                    <a:pt x="317" y="375"/>
                    <a:pt x="317" y="375"/>
                    <a:pt x="317" y="375"/>
                  </a:cubicBezTo>
                  <a:cubicBezTo>
                    <a:pt x="318" y="375"/>
                    <a:pt x="319" y="375"/>
                    <a:pt x="320" y="375"/>
                  </a:cubicBezTo>
                  <a:cubicBezTo>
                    <a:pt x="322" y="376"/>
                    <a:pt x="322" y="376"/>
                    <a:pt x="322" y="376"/>
                  </a:cubicBezTo>
                  <a:cubicBezTo>
                    <a:pt x="322" y="376"/>
                    <a:pt x="322" y="376"/>
                    <a:pt x="323" y="376"/>
                  </a:cubicBezTo>
                  <a:cubicBezTo>
                    <a:pt x="323" y="376"/>
                    <a:pt x="323" y="376"/>
                    <a:pt x="323" y="376"/>
                  </a:cubicBezTo>
                  <a:cubicBezTo>
                    <a:pt x="324" y="376"/>
                    <a:pt x="324" y="376"/>
                    <a:pt x="325" y="375"/>
                  </a:cubicBezTo>
                  <a:cubicBezTo>
                    <a:pt x="326" y="375"/>
                    <a:pt x="326" y="375"/>
                    <a:pt x="326" y="375"/>
                  </a:cubicBezTo>
                  <a:cubicBezTo>
                    <a:pt x="327" y="375"/>
                    <a:pt x="328" y="375"/>
                    <a:pt x="329" y="374"/>
                  </a:cubicBezTo>
                  <a:cubicBezTo>
                    <a:pt x="329" y="374"/>
                    <a:pt x="331" y="374"/>
                    <a:pt x="332" y="373"/>
                  </a:cubicBezTo>
                  <a:cubicBezTo>
                    <a:pt x="333" y="373"/>
                    <a:pt x="333" y="373"/>
                    <a:pt x="333" y="373"/>
                  </a:cubicBezTo>
                  <a:cubicBezTo>
                    <a:pt x="333" y="373"/>
                    <a:pt x="334" y="373"/>
                    <a:pt x="334" y="373"/>
                  </a:cubicBezTo>
                  <a:cubicBezTo>
                    <a:pt x="336" y="373"/>
                    <a:pt x="337" y="373"/>
                    <a:pt x="339" y="373"/>
                  </a:cubicBezTo>
                  <a:cubicBezTo>
                    <a:pt x="342" y="373"/>
                    <a:pt x="344" y="373"/>
                    <a:pt x="347" y="373"/>
                  </a:cubicBezTo>
                  <a:cubicBezTo>
                    <a:pt x="347" y="373"/>
                    <a:pt x="347" y="373"/>
                    <a:pt x="347" y="373"/>
                  </a:cubicBezTo>
                  <a:cubicBezTo>
                    <a:pt x="349" y="373"/>
                    <a:pt x="351" y="374"/>
                    <a:pt x="353" y="374"/>
                  </a:cubicBezTo>
                  <a:cubicBezTo>
                    <a:pt x="355" y="374"/>
                    <a:pt x="355" y="374"/>
                    <a:pt x="355" y="374"/>
                  </a:cubicBezTo>
                  <a:cubicBezTo>
                    <a:pt x="360" y="374"/>
                    <a:pt x="365" y="374"/>
                    <a:pt x="370" y="374"/>
                  </a:cubicBezTo>
                  <a:cubicBezTo>
                    <a:pt x="370" y="370"/>
                    <a:pt x="370" y="370"/>
                    <a:pt x="370" y="370"/>
                  </a:cubicBezTo>
                  <a:cubicBezTo>
                    <a:pt x="371" y="374"/>
                    <a:pt x="371" y="374"/>
                    <a:pt x="371" y="374"/>
                  </a:cubicBezTo>
                  <a:cubicBezTo>
                    <a:pt x="372" y="374"/>
                    <a:pt x="372" y="374"/>
                    <a:pt x="372" y="374"/>
                  </a:cubicBezTo>
                  <a:cubicBezTo>
                    <a:pt x="373" y="374"/>
                    <a:pt x="375" y="374"/>
                    <a:pt x="377" y="374"/>
                  </a:cubicBezTo>
                  <a:cubicBezTo>
                    <a:pt x="381" y="375"/>
                    <a:pt x="385" y="375"/>
                    <a:pt x="389" y="375"/>
                  </a:cubicBezTo>
                  <a:cubicBezTo>
                    <a:pt x="390" y="375"/>
                    <a:pt x="391" y="375"/>
                    <a:pt x="392" y="375"/>
                  </a:cubicBezTo>
                  <a:cubicBezTo>
                    <a:pt x="393" y="375"/>
                    <a:pt x="393" y="375"/>
                    <a:pt x="393" y="375"/>
                  </a:cubicBezTo>
                  <a:cubicBezTo>
                    <a:pt x="393" y="375"/>
                    <a:pt x="394" y="375"/>
                    <a:pt x="394" y="375"/>
                  </a:cubicBezTo>
                  <a:cubicBezTo>
                    <a:pt x="395" y="375"/>
                    <a:pt x="395" y="375"/>
                    <a:pt x="396" y="375"/>
                  </a:cubicBezTo>
                  <a:cubicBezTo>
                    <a:pt x="397" y="375"/>
                    <a:pt x="398" y="375"/>
                    <a:pt x="399" y="375"/>
                  </a:cubicBezTo>
                  <a:cubicBezTo>
                    <a:pt x="400" y="376"/>
                    <a:pt x="401" y="376"/>
                    <a:pt x="402" y="377"/>
                  </a:cubicBezTo>
                  <a:cubicBezTo>
                    <a:pt x="404" y="377"/>
                    <a:pt x="404" y="377"/>
                    <a:pt x="404" y="377"/>
                  </a:cubicBezTo>
                  <a:cubicBezTo>
                    <a:pt x="405" y="377"/>
                    <a:pt x="406" y="378"/>
                    <a:pt x="407" y="378"/>
                  </a:cubicBezTo>
                  <a:cubicBezTo>
                    <a:pt x="408" y="378"/>
                    <a:pt x="408" y="378"/>
                    <a:pt x="408" y="378"/>
                  </a:cubicBezTo>
                  <a:cubicBezTo>
                    <a:pt x="409" y="377"/>
                    <a:pt x="410" y="377"/>
                    <a:pt x="410" y="377"/>
                  </a:cubicBezTo>
                  <a:cubicBezTo>
                    <a:pt x="411" y="377"/>
                    <a:pt x="411" y="377"/>
                    <a:pt x="411" y="377"/>
                  </a:cubicBezTo>
                  <a:cubicBezTo>
                    <a:pt x="412" y="377"/>
                    <a:pt x="412" y="377"/>
                    <a:pt x="412" y="377"/>
                  </a:cubicBezTo>
                  <a:cubicBezTo>
                    <a:pt x="415" y="378"/>
                    <a:pt x="417" y="381"/>
                    <a:pt x="418" y="384"/>
                  </a:cubicBezTo>
                  <a:cubicBezTo>
                    <a:pt x="419" y="385"/>
                    <a:pt x="419" y="385"/>
                    <a:pt x="419" y="385"/>
                  </a:cubicBezTo>
                  <a:cubicBezTo>
                    <a:pt x="420" y="386"/>
                    <a:pt x="421" y="387"/>
                    <a:pt x="423" y="387"/>
                  </a:cubicBezTo>
                  <a:cubicBezTo>
                    <a:pt x="424" y="387"/>
                    <a:pt x="424" y="387"/>
                    <a:pt x="424" y="387"/>
                  </a:cubicBezTo>
                  <a:cubicBezTo>
                    <a:pt x="424" y="387"/>
                    <a:pt x="425" y="387"/>
                    <a:pt x="426" y="387"/>
                  </a:cubicBezTo>
                  <a:cubicBezTo>
                    <a:pt x="427" y="387"/>
                    <a:pt x="427" y="387"/>
                    <a:pt x="427" y="387"/>
                  </a:cubicBezTo>
                  <a:cubicBezTo>
                    <a:pt x="428" y="387"/>
                    <a:pt x="429" y="388"/>
                    <a:pt x="430" y="388"/>
                  </a:cubicBezTo>
                  <a:cubicBezTo>
                    <a:pt x="431" y="389"/>
                    <a:pt x="432" y="389"/>
                    <a:pt x="433" y="390"/>
                  </a:cubicBezTo>
                  <a:cubicBezTo>
                    <a:pt x="434" y="390"/>
                    <a:pt x="434" y="390"/>
                    <a:pt x="434" y="390"/>
                  </a:cubicBezTo>
                  <a:cubicBezTo>
                    <a:pt x="434" y="389"/>
                    <a:pt x="434" y="389"/>
                    <a:pt x="434" y="389"/>
                  </a:cubicBezTo>
                  <a:cubicBezTo>
                    <a:pt x="433" y="388"/>
                    <a:pt x="433" y="388"/>
                    <a:pt x="433" y="388"/>
                  </a:cubicBezTo>
                  <a:cubicBezTo>
                    <a:pt x="433" y="385"/>
                    <a:pt x="433" y="382"/>
                    <a:pt x="434" y="379"/>
                  </a:cubicBezTo>
                  <a:cubicBezTo>
                    <a:pt x="435" y="377"/>
                    <a:pt x="437" y="377"/>
                    <a:pt x="438" y="376"/>
                  </a:cubicBezTo>
                  <a:cubicBezTo>
                    <a:pt x="439" y="376"/>
                    <a:pt x="439" y="376"/>
                    <a:pt x="439" y="376"/>
                  </a:cubicBezTo>
                  <a:cubicBezTo>
                    <a:pt x="437" y="375"/>
                    <a:pt x="437" y="373"/>
                    <a:pt x="438" y="372"/>
                  </a:cubicBezTo>
                  <a:cubicBezTo>
                    <a:pt x="439" y="369"/>
                    <a:pt x="443" y="369"/>
                    <a:pt x="446" y="368"/>
                  </a:cubicBezTo>
                  <a:cubicBezTo>
                    <a:pt x="446" y="368"/>
                    <a:pt x="447" y="368"/>
                    <a:pt x="447" y="368"/>
                  </a:cubicBezTo>
                  <a:cubicBezTo>
                    <a:pt x="447" y="366"/>
                    <a:pt x="446" y="364"/>
                    <a:pt x="446" y="364"/>
                  </a:cubicBezTo>
                  <a:cubicBezTo>
                    <a:pt x="446" y="363"/>
                    <a:pt x="446" y="363"/>
                    <a:pt x="446" y="363"/>
                  </a:cubicBezTo>
                  <a:cubicBezTo>
                    <a:pt x="446" y="362"/>
                    <a:pt x="446" y="362"/>
                    <a:pt x="446" y="362"/>
                  </a:cubicBezTo>
                  <a:cubicBezTo>
                    <a:pt x="446" y="361"/>
                    <a:pt x="445" y="361"/>
                    <a:pt x="445" y="360"/>
                  </a:cubicBezTo>
                  <a:cubicBezTo>
                    <a:pt x="445" y="359"/>
                    <a:pt x="445" y="359"/>
                    <a:pt x="445" y="359"/>
                  </a:cubicBezTo>
                  <a:cubicBezTo>
                    <a:pt x="444" y="357"/>
                    <a:pt x="443" y="355"/>
                    <a:pt x="442" y="353"/>
                  </a:cubicBezTo>
                  <a:cubicBezTo>
                    <a:pt x="441" y="352"/>
                    <a:pt x="441" y="350"/>
                    <a:pt x="440" y="349"/>
                  </a:cubicBezTo>
                  <a:cubicBezTo>
                    <a:pt x="439" y="346"/>
                    <a:pt x="438" y="343"/>
                    <a:pt x="438" y="339"/>
                  </a:cubicBezTo>
                  <a:cubicBezTo>
                    <a:pt x="437" y="337"/>
                    <a:pt x="437" y="337"/>
                    <a:pt x="437" y="337"/>
                  </a:cubicBezTo>
                  <a:cubicBezTo>
                    <a:pt x="437" y="334"/>
                    <a:pt x="436" y="330"/>
                    <a:pt x="437" y="327"/>
                  </a:cubicBezTo>
                  <a:cubicBezTo>
                    <a:pt x="438" y="326"/>
                    <a:pt x="438" y="326"/>
                    <a:pt x="438" y="325"/>
                  </a:cubicBezTo>
                  <a:cubicBezTo>
                    <a:pt x="437" y="325"/>
                    <a:pt x="437" y="325"/>
                    <a:pt x="436" y="325"/>
                  </a:cubicBezTo>
                  <a:cubicBezTo>
                    <a:pt x="436" y="325"/>
                    <a:pt x="435" y="325"/>
                    <a:pt x="435" y="325"/>
                  </a:cubicBezTo>
                  <a:cubicBezTo>
                    <a:pt x="434" y="325"/>
                    <a:pt x="433" y="326"/>
                    <a:pt x="432" y="326"/>
                  </a:cubicBezTo>
                  <a:cubicBezTo>
                    <a:pt x="431" y="326"/>
                    <a:pt x="430" y="325"/>
                    <a:pt x="428" y="324"/>
                  </a:cubicBezTo>
                  <a:cubicBezTo>
                    <a:pt x="428" y="323"/>
                    <a:pt x="428" y="323"/>
                    <a:pt x="428" y="323"/>
                  </a:cubicBezTo>
                  <a:cubicBezTo>
                    <a:pt x="427" y="322"/>
                    <a:pt x="425" y="320"/>
                    <a:pt x="427" y="318"/>
                  </a:cubicBezTo>
                  <a:cubicBezTo>
                    <a:pt x="429" y="314"/>
                    <a:pt x="432" y="314"/>
                    <a:pt x="435" y="313"/>
                  </a:cubicBezTo>
                  <a:cubicBezTo>
                    <a:pt x="436" y="313"/>
                    <a:pt x="436" y="313"/>
                    <a:pt x="436" y="313"/>
                  </a:cubicBezTo>
                  <a:cubicBezTo>
                    <a:pt x="440" y="312"/>
                    <a:pt x="445" y="310"/>
                    <a:pt x="450" y="309"/>
                  </a:cubicBezTo>
                  <a:cubicBezTo>
                    <a:pt x="464" y="305"/>
                    <a:pt x="464" y="305"/>
                    <a:pt x="464" y="305"/>
                  </a:cubicBezTo>
                  <a:cubicBezTo>
                    <a:pt x="464" y="305"/>
                    <a:pt x="465" y="305"/>
                    <a:pt x="465" y="305"/>
                  </a:cubicBezTo>
                  <a:cubicBezTo>
                    <a:pt x="466" y="305"/>
                    <a:pt x="466" y="305"/>
                    <a:pt x="466" y="305"/>
                  </a:cubicBezTo>
                  <a:cubicBezTo>
                    <a:pt x="468" y="304"/>
                    <a:pt x="470" y="304"/>
                    <a:pt x="471" y="304"/>
                  </a:cubicBezTo>
                  <a:cubicBezTo>
                    <a:pt x="472" y="304"/>
                    <a:pt x="472" y="304"/>
                    <a:pt x="473" y="304"/>
                  </a:cubicBezTo>
                  <a:cubicBezTo>
                    <a:pt x="476" y="305"/>
                    <a:pt x="476" y="307"/>
                    <a:pt x="476" y="308"/>
                  </a:cubicBezTo>
                  <a:cubicBezTo>
                    <a:pt x="476" y="308"/>
                    <a:pt x="476" y="308"/>
                    <a:pt x="476" y="308"/>
                  </a:cubicBezTo>
                  <a:cubicBezTo>
                    <a:pt x="477" y="308"/>
                    <a:pt x="477" y="308"/>
                    <a:pt x="478" y="308"/>
                  </a:cubicBezTo>
                  <a:cubicBezTo>
                    <a:pt x="479" y="308"/>
                    <a:pt x="480" y="308"/>
                    <a:pt x="481" y="308"/>
                  </a:cubicBezTo>
                  <a:cubicBezTo>
                    <a:pt x="482" y="308"/>
                    <a:pt x="482" y="308"/>
                    <a:pt x="483" y="308"/>
                  </a:cubicBezTo>
                  <a:cubicBezTo>
                    <a:pt x="485" y="308"/>
                    <a:pt x="485" y="308"/>
                    <a:pt x="485" y="308"/>
                  </a:cubicBezTo>
                  <a:cubicBezTo>
                    <a:pt x="486" y="308"/>
                    <a:pt x="487" y="308"/>
                    <a:pt x="488" y="308"/>
                  </a:cubicBezTo>
                  <a:cubicBezTo>
                    <a:pt x="489" y="308"/>
                    <a:pt x="490" y="308"/>
                    <a:pt x="490" y="308"/>
                  </a:cubicBezTo>
                  <a:cubicBezTo>
                    <a:pt x="491" y="307"/>
                    <a:pt x="491" y="306"/>
                    <a:pt x="491" y="306"/>
                  </a:cubicBezTo>
                  <a:cubicBezTo>
                    <a:pt x="490" y="306"/>
                    <a:pt x="490" y="305"/>
                    <a:pt x="489" y="305"/>
                  </a:cubicBezTo>
                  <a:cubicBezTo>
                    <a:pt x="489" y="305"/>
                    <a:pt x="489" y="305"/>
                    <a:pt x="489" y="305"/>
                  </a:cubicBezTo>
                  <a:cubicBezTo>
                    <a:pt x="487" y="305"/>
                    <a:pt x="484" y="304"/>
                    <a:pt x="483" y="302"/>
                  </a:cubicBezTo>
                  <a:cubicBezTo>
                    <a:pt x="483" y="302"/>
                    <a:pt x="483" y="301"/>
                    <a:pt x="483" y="300"/>
                  </a:cubicBezTo>
                  <a:cubicBezTo>
                    <a:pt x="499" y="254"/>
                    <a:pt x="499" y="254"/>
                    <a:pt x="499" y="254"/>
                  </a:cubicBezTo>
                  <a:cubicBezTo>
                    <a:pt x="500" y="251"/>
                    <a:pt x="501" y="248"/>
                    <a:pt x="505" y="248"/>
                  </a:cubicBezTo>
                  <a:cubicBezTo>
                    <a:pt x="505" y="248"/>
                    <a:pt x="506" y="248"/>
                    <a:pt x="506" y="249"/>
                  </a:cubicBezTo>
                  <a:cubicBezTo>
                    <a:pt x="509" y="249"/>
                    <a:pt x="511" y="250"/>
                    <a:pt x="513" y="252"/>
                  </a:cubicBezTo>
                  <a:cubicBezTo>
                    <a:pt x="515" y="252"/>
                    <a:pt x="515" y="252"/>
                    <a:pt x="515" y="252"/>
                  </a:cubicBezTo>
                  <a:cubicBezTo>
                    <a:pt x="518" y="255"/>
                    <a:pt x="523" y="256"/>
                    <a:pt x="526" y="256"/>
                  </a:cubicBezTo>
                  <a:cubicBezTo>
                    <a:pt x="527" y="256"/>
                    <a:pt x="527" y="256"/>
                    <a:pt x="527" y="256"/>
                  </a:cubicBezTo>
                  <a:cubicBezTo>
                    <a:pt x="529" y="255"/>
                    <a:pt x="531" y="255"/>
                    <a:pt x="533" y="255"/>
                  </a:cubicBezTo>
                  <a:cubicBezTo>
                    <a:pt x="538" y="255"/>
                    <a:pt x="542" y="256"/>
                    <a:pt x="544" y="257"/>
                  </a:cubicBezTo>
                  <a:cubicBezTo>
                    <a:pt x="545" y="257"/>
                    <a:pt x="546" y="257"/>
                    <a:pt x="547" y="257"/>
                  </a:cubicBezTo>
                  <a:cubicBezTo>
                    <a:pt x="549" y="257"/>
                    <a:pt x="551" y="257"/>
                    <a:pt x="554" y="255"/>
                  </a:cubicBezTo>
                  <a:cubicBezTo>
                    <a:pt x="555" y="254"/>
                    <a:pt x="555" y="254"/>
                    <a:pt x="555" y="254"/>
                  </a:cubicBezTo>
                  <a:cubicBezTo>
                    <a:pt x="561" y="252"/>
                    <a:pt x="563" y="250"/>
                    <a:pt x="562" y="247"/>
                  </a:cubicBezTo>
                  <a:cubicBezTo>
                    <a:pt x="562" y="244"/>
                    <a:pt x="562" y="241"/>
                    <a:pt x="561" y="237"/>
                  </a:cubicBezTo>
                  <a:cubicBezTo>
                    <a:pt x="560" y="234"/>
                    <a:pt x="560" y="232"/>
                    <a:pt x="560" y="229"/>
                  </a:cubicBezTo>
                  <a:cubicBezTo>
                    <a:pt x="559" y="225"/>
                    <a:pt x="563" y="215"/>
                    <a:pt x="568" y="213"/>
                  </a:cubicBezTo>
                  <a:cubicBezTo>
                    <a:pt x="569" y="212"/>
                    <a:pt x="571" y="212"/>
                    <a:pt x="572" y="212"/>
                  </a:cubicBezTo>
                  <a:cubicBezTo>
                    <a:pt x="573" y="212"/>
                    <a:pt x="573" y="212"/>
                    <a:pt x="574" y="212"/>
                  </a:cubicBezTo>
                  <a:cubicBezTo>
                    <a:pt x="577" y="212"/>
                    <a:pt x="580" y="211"/>
                    <a:pt x="584" y="210"/>
                  </a:cubicBezTo>
                  <a:cubicBezTo>
                    <a:pt x="585" y="209"/>
                    <a:pt x="587" y="207"/>
                    <a:pt x="588" y="205"/>
                  </a:cubicBezTo>
                  <a:cubicBezTo>
                    <a:pt x="588" y="205"/>
                    <a:pt x="588" y="205"/>
                    <a:pt x="588" y="205"/>
                  </a:cubicBezTo>
                  <a:cubicBezTo>
                    <a:pt x="588" y="204"/>
                    <a:pt x="588" y="204"/>
                    <a:pt x="589" y="203"/>
                  </a:cubicBezTo>
                  <a:cubicBezTo>
                    <a:pt x="588" y="203"/>
                    <a:pt x="588" y="202"/>
                    <a:pt x="588" y="201"/>
                  </a:cubicBezTo>
                  <a:cubicBezTo>
                    <a:pt x="588" y="200"/>
                    <a:pt x="588" y="199"/>
                    <a:pt x="588" y="199"/>
                  </a:cubicBezTo>
                  <a:cubicBezTo>
                    <a:pt x="589" y="198"/>
                    <a:pt x="589" y="198"/>
                    <a:pt x="589" y="198"/>
                  </a:cubicBezTo>
                  <a:cubicBezTo>
                    <a:pt x="589" y="195"/>
                    <a:pt x="591" y="193"/>
                    <a:pt x="592" y="192"/>
                  </a:cubicBezTo>
                  <a:cubicBezTo>
                    <a:pt x="593" y="192"/>
                    <a:pt x="594" y="192"/>
                    <a:pt x="594" y="192"/>
                  </a:cubicBezTo>
                  <a:cubicBezTo>
                    <a:pt x="594" y="192"/>
                    <a:pt x="595" y="192"/>
                    <a:pt x="595" y="192"/>
                  </a:cubicBezTo>
                  <a:cubicBezTo>
                    <a:pt x="596" y="192"/>
                    <a:pt x="596" y="192"/>
                    <a:pt x="596" y="192"/>
                  </a:cubicBezTo>
                  <a:cubicBezTo>
                    <a:pt x="593" y="189"/>
                    <a:pt x="590" y="187"/>
                    <a:pt x="587" y="184"/>
                  </a:cubicBezTo>
                  <a:cubicBezTo>
                    <a:pt x="586" y="184"/>
                    <a:pt x="586" y="183"/>
                    <a:pt x="585" y="182"/>
                  </a:cubicBezTo>
                  <a:cubicBezTo>
                    <a:pt x="585" y="182"/>
                    <a:pt x="584" y="181"/>
                    <a:pt x="584" y="181"/>
                  </a:cubicBezTo>
                  <a:cubicBezTo>
                    <a:pt x="584" y="181"/>
                    <a:pt x="583" y="182"/>
                    <a:pt x="582" y="182"/>
                  </a:cubicBezTo>
                  <a:cubicBezTo>
                    <a:pt x="576" y="188"/>
                    <a:pt x="576" y="188"/>
                    <a:pt x="576" y="188"/>
                  </a:cubicBezTo>
                  <a:cubicBezTo>
                    <a:pt x="575" y="186"/>
                    <a:pt x="575" y="186"/>
                    <a:pt x="575" y="186"/>
                  </a:cubicBezTo>
                  <a:cubicBezTo>
                    <a:pt x="574" y="186"/>
                    <a:pt x="574" y="186"/>
                    <a:pt x="574" y="186"/>
                  </a:cubicBezTo>
                  <a:cubicBezTo>
                    <a:pt x="572" y="186"/>
                    <a:pt x="572" y="186"/>
                    <a:pt x="572" y="186"/>
                  </a:cubicBezTo>
                  <a:cubicBezTo>
                    <a:pt x="570" y="186"/>
                    <a:pt x="570" y="186"/>
                    <a:pt x="570" y="186"/>
                  </a:cubicBezTo>
                  <a:cubicBezTo>
                    <a:pt x="569" y="185"/>
                    <a:pt x="569" y="185"/>
                    <a:pt x="569" y="185"/>
                  </a:cubicBezTo>
                  <a:cubicBezTo>
                    <a:pt x="569" y="184"/>
                    <a:pt x="569" y="184"/>
                    <a:pt x="569" y="184"/>
                  </a:cubicBezTo>
                  <a:cubicBezTo>
                    <a:pt x="567" y="184"/>
                    <a:pt x="567" y="184"/>
                    <a:pt x="567" y="184"/>
                  </a:cubicBezTo>
                  <a:cubicBezTo>
                    <a:pt x="567" y="184"/>
                    <a:pt x="567" y="184"/>
                    <a:pt x="567" y="184"/>
                  </a:cubicBezTo>
                  <a:cubicBezTo>
                    <a:pt x="554" y="183"/>
                    <a:pt x="554" y="183"/>
                    <a:pt x="554" y="183"/>
                  </a:cubicBezTo>
                  <a:cubicBezTo>
                    <a:pt x="552" y="180"/>
                    <a:pt x="552" y="180"/>
                    <a:pt x="552" y="180"/>
                  </a:cubicBezTo>
                  <a:cubicBezTo>
                    <a:pt x="552" y="180"/>
                    <a:pt x="552" y="180"/>
                    <a:pt x="552" y="180"/>
                  </a:cubicBezTo>
                  <a:cubicBezTo>
                    <a:pt x="551" y="179"/>
                    <a:pt x="551" y="179"/>
                    <a:pt x="551" y="179"/>
                  </a:cubicBezTo>
                  <a:cubicBezTo>
                    <a:pt x="551" y="178"/>
                    <a:pt x="551" y="178"/>
                    <a:pt x="551" y="178"/>
                  </a:cubicBezTo>
                  <a:cubicBezTo>
                    <a:pt x="551" y="177"/>
                    <a:pt x="551" y="177"/>
                    <a:pt x="551" y="177"/>
                  </a:cubicBezTo>
                  <a:cubicBezTo>
                    <a:pt x="551" y="177"/>
                    <a:pt x="551" y="177"/>
                    <a:pt x="551" y="177"/>
                  </a:cubicBezTo>
                  <a:cubicBezTo>
                    <a:pt x="550" y="176"/>
                    <a:pt x="550" y="176"/>
                    <a:pt x="549" y="175"/>
                  </a:cubicBezTo>
                  <a:cubicBezTo>
                    <a:pt x="549" y="175"/>
                    <a:pt x="549" y="174"/>
                    <a:pt x="548" y="174"/>
                  </a:cubicBezTo>
                  <a:cubicBezTo>
                    <a:pt x="548" y="174"/>
                    <a:pt x="548" y="174"/>
                    <a:pt x="548" y="174"/>
                  </a:cubicBezTo>
                  <a:cubicBezTo>
                    <a:pt x="548" y="173"/>
                    <a:pt x="547" y="173"/>
                    <a:pt x="547" y="173"/>
                  </a:cubicBezTo>
                  <a:cubicBezTo>
                    <a:pt x="546" y="171"/>
                    <a:pt x="546" y="171"/>
                    <a:pt x="546" y="171"/>
                  </a:cubicBezTo>
                  <a:cubicBezTo>
                    <a:pt x="545" y="170"/>
                    <a:pt x="545" y="170"/>
                    <a:pt x="545" y="170"/>
                  </a:cubicBezTo>
                  <a:cubicBezTo>
                    <a:pt x="546" y="167"/>
                    <a:pt x="546" y="167"/>
                    <a:pt x="546" y="167"/>
                  </a:cubicBezTo>
                  <a:cubicBezTo>
                    <a:pt x="536" y="162"/>
                    <a:pt x="536" y="162"/>
                    <a:pt x="536" y="162"/>
                  </a:cubicBezTo>
                  <a:cubicBezTo>
                    <a:pt x="534" y="162"/>
                    <a:pt x="534" y="162"/>
                    <a:pt x="534" y="162"/>
                  </a:cubicBezTo>
                  <a:cubicBezTo>
                    <a:pt x="534" y="162"/>
                    <a:pt x="534" y="162"/>
                    <a:pt x="534" y="162"/>
                  </a:cubicBezTo>
                  <a:cubicBezTo>
                    <a:pt x="534" y="162"/>
                    <a:pt x="533" y="162"/>
                    <a:pt x="533" y="162"/>
                  </a:cubicBezTo>
                  <a:cubicBezTo>
                    <a:pt x="529" y="161"/>
                    <a:pt x="529" y="161"/>
                    <a:pt x="529" y="161"/>
                  </a:cubicBezTo>
                  <a:cubicBezTo>
                    <a:pt x="529" y="159"/>
                    <a:pt x="529" y="159"/>
                    <a:pt x="529" y="159"/>
                  </a:cubicBezTo>
                  <a:cubicBezTo>
                    <a:pt x="528" y="159"/>
                    <a:pt x="528" y="158"/>
                    <a:pt x="528" y="156"/>
                  </a:cubicBezTo>
                  <a:cubicBezTo>
                    <a:pt x="528" y="155"/>
                    <a:pt x="528" y="155"/>
                    <a:pt x="528" y="155"/>
                  </a:cubicBezTo>
                  <a:cubicBezTo>
                    <a:pt x="528" y="155"/>
                    <a:pt x="528" y="155"/>
                    <a:pt x="527" y="154"/>
                  </a:cubicBezTo>
                  <a:cubicBezTo>
                    <a:pt x="527" y="153"/>
                    <a:pt x="527" y="153"/>
                    <a:pt x="527" y="153"/>
                  </a:cubicBezTo>
                  <a:cubicBezTo>
                    <a:pt x="526" y="152"/>
                    <a:pt x="526" y="150"/>
                    <a:pt x="525" y="148"/>
                  </a:cubicBezTo>
                  <a:cubicBezTo>
                    <a:pt x="522" y="145"/>
                    <a:pt x="522" y="145"/>
                    <a:pt x="522" y="145"/>
                  </a:cubicBezTo>
                  <a:cubicBezTo>
                    <a:pt x="520" y="143"/>
                    <a:pt x="520" y="143"/>
                    <a:pt x="520" y="143"/>
                  </a:cubicBezTo>
                  <a:cubicBezTo>
                    <a:pt x="520" y="143"/>
                    <a:pt x="520" y="143"/>
                    <a:pt x="519" y="143"/>
                  </a:cubicBezTo>
                  <a:cubicBezTo>
                    <a:pt x="518" y="142"/>
                    <a:pt x="517" y="142"/>
                    <a:pt x="516" y="142"/>
                  </a:cubicBezTo>
                  <a:cubicBezTo>
                    <a:pt x="506" y="140"/>
                    <a:pt x="506" y="140"/>
                    <a:pt x="506" y="140"/>
                  </a:cubicBezTo>
                  <a:cubicBezTo>
                    <a:pt x="499" y="142"/>
                    <a:pt x="499" y="142"/>
                    <a:pt x="499" y="142"/>
                  </a:cubicBezTo>
                  <a:cubicBezTo>
                    <a:pt x="499" y="142"/>
                    <a:pt x="499" y="142"/>
                    <a:pt x="499" y="142"/>
                  </a:cubicBezTo>
                  <a:cubicBezTo>
                    <a:pt x="497" y="145"/>
                    <a:pt x="497" y="145"/>
                    <a:pt x="497" y="145"/>
                  </a:cubicBezTo>
                  <a:cubicBezTo>
                    <a:pt x="496" y="145"/>
                    <a:pt x="496" y="145"/>
                    <a:pt x="496" y="145"/>
                  </a:cubicBezTo>
                  <a:cubicBezTo>
                    <a:pt x="496" y="146"/>
                    <a:pt x="495" y="146"/>
                    <a:pt x="495" y="146"/>
                  </a:cubicBezTo>
                  <a:cubicBezTo>
                    <a:pt x="494" y="146"/>
                    <a:pt x="494" y="147"/>
                    <a:pt x="493" y="147"/>
                  </a:cubicBezTo>
                  <a:cubicBezTo>
                    <a:pt x="493" y="147"/>
                    <a:pt x="493" y="147"/>
                    <a:pt x="493" y="147"/>
                  </a:cubicBezTo>
                  <a:cubicBezTo>
                    <a:pt x="491" y="148"/>
                    <a:pt x="491" y="148"/>
                    <a:pt x="491" y="148"/>
                  </a:cubicBezTo>
                  <a:cubicBezTo>
                    <a:pt x="490" y="148"/>
                    <a:pt x="490" y="148"/>
                    <a:pt x="490" y="148"/>
                  </a:cubicBezTo>
                  <a:cubicBezTo>
                    <a:pt x="487" y="148"/>
                    <a:pt x="487" y="148"/>
                    <a:pt x="487" y="148"/>
                  </a:cubicBezTo>
                  <a:cubicBezTo>
                    <a:pt x="476" y="147"/>
                    <a:pt x="476" y="147"/>
                    <a:pt x="476" y="147"/>
                  </a:cubicBezTo>
                  <a:cubicBezTo>
                    <a:pt x="476" y="147"/>
                    <a:pt x="476" y="147"/>
                    <a:pt x="476" y="147"/>
                  </a:cubicBezTo>
                  <a:cubicBezTo>
                    <a:pt x="475" y="147"/>
                    <a:pt x="474" y="147"/>
                    <a:pt x="473" y="147"/>
                  </a:cubicBezTo>
                  <a:cubicBezTo>
                    <a:pt x="472" y="147"/>
                    <a:pt x="472" y="147"/>
                    <a:pt x="471" y="147"/>
                  </a:cubicBezTo>
                  <a:cubicBezTo>
                    <a:pt x="471" y="147"/>
                    <a:pt x="471" y="147"/>
                    <a:pt x="471" y="147"/>
                  </a:cubicBezTo>
                  <a:cubicBezTo>
                    <a:pt x="470" y="148"/>
                    <a:pt x="470" y="148"/>
                    <a:pt x="469" y="148"/>
                  </a:cubicBezTo>
                  <a:cubicBezTo>
                    <a:pt x="469" y="148"/>
                    <a:pt x="468" y="148"/>
                    <a:pt x="468" y="148"/>
                  </a:cubicBezTo>
                  <a:cubicBezTo>
                    <a:pt x="465" y="147"/>
                    <a:pt x="465" y="147"/>
                    <a:pt x="465" y="147"/>
                  </a:cubicBezTo>
                  <a:cubicBezTo>
                    <a:pt x="464" y="147"/>
                    <a:pt x="464" y="147"/>
                    <a:pt x="464" y="147"/>
                  </a:cubicBezTo>
                  <a:cubicBezTo>
                    <a:pt x="463" y="146"/>
                    <a:pt x="463" y="146"/>
                    <a:pt x="463" y="146"/>
                  </a:cubicBezTo>
                  <a:cubicBezTo>
                    <a:pt x="462" y="146"/>
                    <a:pt x="461" y="144"/>
                    <a:pt x="460" y="143"/>
                  </a:cubicBezTo>
                  <a:cubicBezTo>
                    <a:pt x="459" y="142"/>
                    <a:pt x="458" y="142"/>
                    <a:pt x="458" y="141"/>
                  </a:cubicBezTo>
                  <a:cubicBezTo>
                    <a:pt x="455" y="141"/>
                    <a:pt x="455" y="141"/>
                    <a:pt x="455" y="141"/>
                  </a:cubicBezTo>
                  <a:cubicBezTo>
                    <a:pt x="454" y="138"/>
                    <a:pt x="454" y="138"/>
                    <a:pt x="454" y="138"/>
                  </a:cubicBezTo>
                  <a:cubicBezTo>
                    <a:pt x="454" y="137"/>
                    <a:pt x="454" y="137"/>
                    <a:pt x="454" y="137"/>
                  </a:cubicBezTo>
                  <a:cubicBezTo>
                    <a:pt x="454" y="137"/>
                    <a:pt x="454" y="136"/>
                    <a:pt x="454" y="136"/>
                  </a:cubicBezTo>
                  <a:cubicBezTo>
                    <a:pt x="454" y="134"/>
                    <a:pt x="455" y="133"/>
                    <a:pt x="455" y="132"/>
                  </a:cubicBezTo>
                  <a:cubicBezTo>
                    <a:pt x="449" y="130"/>
                    <a:pt x="449" y="130"/>
                    <a:pt x="449" y="130"/>
                  </a:cubicBezTo>
                  <a:cubicBezTo>
                    <a:pt x="448" y="132"/>
                    <a:pt x="448" y="132"/>
                    <a:pt x="448" y="132"/>
                  </a:cubicBezTo>
                  <a:cubicBezTo>
                    <a:pt x="447" y="133"/>
                    <a:pt x="447" y="133"/>
                    <a:pt x="447" y="133"/>
                  </a:cubicBezTo>
                  <a:cubicBezTo>
                    <a:pt x="446" y="133"/>
                    <a:pt x="446" y="133"/>
                    <a:pt x="446" y="133"/>
                  </a:cubicBezTo>
                  <a:cubicBezTo>
                    <a:pt x="446" y="133"/>
                    <a:pt x="445" y="133"/>
                    <a:pt x="445" y="133"/>
                  </a:cubicBezTo>
                  <a:cubicBezTo>
                    <a:pt x="445" y="133"/>
                    <a:pt x="445" y="133"/>
                    <a:pt x="445" y="133"/>
                  </a:cubicBezTo>
                  <a:cubicBezTo>
                    <a:pt x="446" y="134"/>
                    <a:pt x="446" y="135"/>
                    <a:pt x="446" y="136"/>
                  </a:cubicBezTo>
                  <a:cubicBezTo>
                    <a:pt x="445" y="138"/>
                    <a:pt x="445" y="138"/>
                    <a:pt x="445" y="138"/>
                  </a:cubicBezTo>
                  <a:cubicBezTo>
                    <a:pt x="445" y="138"/>
                    <a:pt x="445" y="138"/>
                    <a:pt x="445" y="138"/>
                  </a:cubicBezTo>
                  <a:cubicBezTo>
                    <a:pt x="452" y="143"/>
                    <a:pt x="452" y="143"/>
                    <a:pt x="452" y="143"/>
                  </a:cubicBezTo>
                  <a:cubicBezTo>
                    <a:pt x="444" y="140"/>
                    <a:pt x="444" y="140"/>
                    <a:pt x="444" y="140"/>
                  </a:cubicBezTo>
                  <a:cubicBezTo>
                    <a:pt x="443" y="140"/>
                    <a:pt x="443" y="140"/>
                    <a:pt x="443" y="140"/>
                  </a:cubicBezTo>
                  <a:cubicBezTo>
                    <a:pt x="441" y="142"/>
                    <a:pt x="441" y="142"/>
                    <a:pt x="441" y="142"/>
                  </a:cubicBezTo>
                  <a:cubicBezTo>
                    <a:pt x="440" y="142"/>
                    <a:pt x="440" y="142"/>
                    <a:pt x="440" y="142"/>
                  </a:cubicBezTo>
                  <a:cubicBezTo>
                    <a:pt x="439" y="142"/>
                    <a:pt x="439" y="142"/>
                    <a:pt x="439" y="142"/>
                  </a:cubicBezTo>
                  <a:cubicBezTo>
                    <a:pt x="439" y="142"/>
                    <a:pt x="439" y="142"/>
                    <a:pt x="439" y="142"/>
                  </a:cubicBezTo>
                  <a:cubicBezTo>
                    <a:pt x="438" y="142"/>
                    <a:pt x="438" y="142"/>
                    <a:pt x="438" y="142"/>
                  </a:cubicBezTo>
                  <a:cubicBezTo>
                    <a:pt x="438" y="143"/>
                    <a:pt x="438" y="144"/>
                    <a:pt x="437" y="144"/>
                  </a:cubicBezTo>
                  <a:cubicBezTo>
                    <a:pt x="437" y="146"/>
                    <a:pt x="437" y="146"/>
                    <a:pt x="437" y="146"/>
                  </a:cubicBezTo>
                  <a:cubicBezTo>
                    <a:pt x="434" y="147"/>
                    <a:pt x="434" y="147"/>
                    <a:pt x="434" y="147"/>
                  </a:cubicBezTo>
                  <a:cubicBezTo>
                    <a:pt x="432" y="147"/>
                    <a:pt x="432" y="147"/>
                    <a:pt x="432" y="147"/>
                  </a:cubicBezTo>
                  <a:cubicBezTo>
                    <a:pt x="431" y="146"/>
                    <a:pt x="431" y="146"/>
                    <a:pt x="431" y="146"/>
                  </a:cubicBezTo>
                  <a:cubicBezTo>
                    <a:pt x="430" y="144"/>
                    <a:pt x="430" y="144"/>
                    <a:pt x="430" y="144"/>
                  </a:cubicBezTo>
                  <a:cubicBezTo>
                    <a:pt x="426" y="140"/>
                    <a:pt x="426" y="140"/>
                    <a:pt x="426" y="140"/>
                  </a:cubicBezTo>
                  <a:cubicBezTo>
                    <a:pt x="427" y="140"/>
                    <a:pt x="427" y="140"/>
                    <a:pt x="427" y="140"/>
                  </a:cubicBezTo>
                  <a:cubicBezTo>
                    <a:pt x="423" y="133"/>
                    <a:pt x="418" y="125"/>
                    <a:pt x="413" y="118"/>
                  </a:cubicBezTo>
                  <a:cubicBezTo>
                    <a:pt x="411" y="114"/>
                    <a:pt x="411" y="114"/>
                    <a:pt x="411" y="114"/>
                  </a:cubicBezTo>
                  <a:cubicBezTo>
                    <a:pt x="406" y="106"/>
                    <a:pt x="401" y="97"/>
                    <a:pt x="395" y="89"/>
                  </a:cubicBezTo>
                  <a:cubicBezTo>
                    <a:pt x="390" y="81"/>
                    <a:pt x="390" y="81"/>
                    <a:pt x="390" y="81"/>
                  </a:cubicBezTo>
                  <a:cubicBezTo>
                    <a:pt x="381" y="69"/>
                    <a:pt x="381" y="69"/>
                    <a:pt x="381" y="69"/>
                  </a:cubicBezTo>
                  <a:cubicBezTo>
                    <a:pt x="378" y="65"/>
                    <a:pt x="375" y="63"/>
                    <a:pt x="372" y="61"/>
                  </a:cubicBezTo>
                  <a:cubicBezTo>
                    <a:pt x="359" y="51"/>
                    <a:pt x="359" y="51"/>
                    <a:pt x="359" y="51"/>
                  </a:cubicBezTo>
                  <a:cubicBezTo>
                    <a:pt x="354" y="47"/>
                    <a:pt x="354" y="47"/>
                    <a:pt x="354" y="47"/>
                  </a:cubicBezTo>
                  <a:cubicBezTo>
                    <a:pt x="352" y="45"/>
                    <a:pt x="351" y="44"/>
                    <a:pt x="349" y="42"/>
                  </a:cubicBezTo>
                  <a:cubicBezTo>
                    <a:pt x="343" y="36"/>
                    <a:pt x="343" y="36"/>
                    <a:pt x="343" y="36"/>
                  </a:cubicBezTo>
                  <a:cubicBezTo>
                    <a:pt x="333" y="40"/>
                    <a:pt x="333" y="40"/>
                    <a:pt x="333" y="40"/>
                  </a:cubicBezTo>
                  <a:cubicBezTo>
                    <a:pt x="330" y="41"/>
                    <a:pt x="327" y="43"/>
                    <a:pt x="324" y="44"/>
                  </a:cubicBezTo>
                  <a:cubicBezTo>
                    <a:pt x="323" y="45"/>
                    <a:pt x="323" y="45"/>
                    <a:pt x="323" y="45"/>
                  </a:cubicBezTo>
                  <a:cubicBezTo>
                    <a:pt x="320" y="46"/>
                    <a:pt x="317" y="48"/>
                    <a:pt x="314" y="49"/>
                  </a:cubicBezTo>
                  <a:cubicBezTo>
                    <a:pt x="304" y="53"/>
                    <a:pt x="304" y="53"/>
                    <a:pt x="304" y="53"/>
                  </a:cubicBezTo>
                  <a:cubicBezTo>
                    <a:pt x="304" y="54"/>
                    <a:pt x="304" y="54"/>
                    <a:pt x="304" y="54"/>
                  </a:cubicBezTo>
                  <a:cubicBezTo>
                    <a:pt x="303" y="55"/>
                    <a:pt x="303" y="55"/>
                    <a:pt x="303" y="56"/>
                  </a:cubicBezTo>
                  <a:cubicBezTo>
                    <a:pt x="303" y="59"/>
                    <a:pt x="303" y="59"/>
                    <a:pt x="303" y="59"/>
                  </a:cubicBezTo>
                  <a:cubicBezTo>
                    <a:pt x="299" y="62"/>
                    <a:pt x="299" y="62"/>
                    <a:pt x="299" y="62"/>
                  </a:cubicBezTo>
                  <a:cubicBezTo>
                    <a:pt x="295" y="59"/>
                    <a:pt x="295" y="59"/>
                    <a:pt x="295" y="59"/>
                  </a:cubicBezTo>
                  <a:cubicBezTo>
                    <a:pt x="295" y="59"/>
                    <a:pt x="295" y="59"/>
                    <a:pt x="294" y="58"/>
                  </a:cubicBezTo>
                  <a:cubicBezTo>
                    <a:pt x="292" y="58"/>
                    <a:pt x="292" y="58"/>
                    <a:pt x="292" y="58"/>
                  </a:cubicBezTo>
                  <a:cubicBezTo>
                    <a:pt x="286" y="58"/>
                    <a:pt x="286" y="58"/>
                    <a:pt x="286" y="58"/>
                  </a:cubicBezTo>
                  <a:cubicBezTo>
                    <a:pt x="286" y="58"/>
                    <a:pt x="286" y="58"/>
                    <a:pt x="286" y="58"/>
                  </a:cubicBezTo>
                  <a:cubicBezTo>
                    <a:pt x="285" y="58"/>
                    <a:pt x="284" y="58"/>
                    <a:pt x="283" y="59"/>
                  </a:cubicBezTo>
                  <a:cubicBezTo>
                    <a:pt x="276" y="64"/>
                    <a:pt x="276" y="64"/>
                    <a:pt x="276" y="64"/>
                  </a:cubicBezTo>
                  <a:cubicBezTo>
                    <a:pt x="269" y="52"/>
                    <a:pt x="269" y="52"/>
                    <a:pt x="269" y="52"/>
                  </a:cubicBezTo>
                  <a:cubicBezTo>
                    <a:pt x="271" y="49"/>
                    <a:pt x="271" y="49"/>
                    <a:pt x="271" y="49"/>
                  </a:cubicBezTo>
                  <a:cubicBezTo>
                    <a:pt x="272" y="48"/>
                    <a:pt x="273" y="46"/>
                    <a:pt x="274" y="45"/>
                  </a:cubicBezTo>
                  <a:cubicBezTo>
                    <a:pt x="275" y="44"/>
                    <a:pt x="275" y="44"/>
                    <a:pt x="275" y="44"/>
                  </a:cubicBezTo>
                  <a:cubicBezTo>
                    <a:pt x="269" y="45"/>
                    <a:pt x="269" y="45"/>
                    <a:pt x="269" y="45"/>
                  </a:cubicBezTo>
                  <a:cubicBezTo>
                    <a:pt x="268" y="45"/>
                    <a:pt x="268" y="45"/>
                    <a:pt x="268" y="45"/>
                  </a:cubicBezTo>
                  <a:cubicBezTo>
                    <a:pt x="266" y="44"/>
                    <a:pt x="263" y="43"/>
                    <a:pt x="261" y="42"/>
                  </a:cubicBezTo>
                  <a:cubicBezTo>
                    <a:pt x="261" y="42"/>
                    <a:pt x="261" y="42"/>
                    <a:pt x="261" y="42"/>
                  </a:cubicBezTo>
                  <a:cubicBezTo>
                    <a:pt x="261" y="42"/>
                    <a:pt x="261" y="42"/>
                    <a:pt x="261" y="42"/>
                  </a:cubicBezTo>
                  <a:cubicBezTo>
                    <a:pt x="258" y="44"/>
                    <a:pt x="258" y="44"/>
                    <a:pt x="258" y="44"/>
                  </a:cubicBezTo>
                  <a:cubicBezTo>
                    <a:pt x="258" y="44"/>
                    <a:pt x="257" y="45"/>
                    <a:pt x="256" y="45"/>
                  </a:cubicBezTo>
                  <a:cubicBezTo>
                    <a:pt x="253" y="46"/>
                    <a:pt x="253" y="46"/>
                    <a:pt x="253" y="46"/>
                  </a:cubicBezTo>
                  <a:cubicBezTo>
                    <a:pt x="247" y="48"/>
                    <a:pt x="247" y="48"/>
                    <a:pt x="247" y="48"/>
                  </a:cubicBezTo>
                  <a:cubicBezTo>
                    <a:pt x="250" y="42"/>
                    <a:pt x="250" y="42"/>
                    <a:pt x="250" y="42"/>
                  </a:cubicBezTo>
                  <a:cubicBezTo>
                    <a:pt x="250" y="42"/>
                    <a:pt x="250" y="42"/>
                    <a:pt x="250" y="41"/>
                  </a:cubicBezTo>
                  <a:cubicBezTo>
                    <a:pt x="250" y="41"/>
                    <a:pt x="250" y="41"/>
                    <a:pt x="250" y="41"/>
                  </a:cubicBezTo>
                  <a:cubicBezTo>
                    <a:pt x="249" y="40"/>
                    <a:pt x="249" y="40"/>
                    <a:pt x="249" y="40"/>
                  </a:cubicBezTo>
                  <a:cubicBezTo>
                    <a:pt x="249" y="39"/>
                    <a:pt x="249" y="39"/>
                    <a:pt x="249" y="38"/>
                  </a:cubicBezTo>
                  <a:cubicBezTo>
                    <a:pt x="247" y="41"/>
                    <a:pt x="247" y="41"/>
                    <a:pt x="247" y="41"/>
                  </a:cubicBezTo>
                  <a:cubicBezTo>
                    <a:pt x="244" y="39"/>
                    <a:pt x="244" y="39"/>
                    <a:pt x="244" y="39"/>
                  </a:cubicBezTo>
                  <a:cubicBezTo>
                    <a:pt x="243" y="38"/>
                    <a:pt x="242" y="38"/>
                    <a:pt x="242" y="38"/>
                  </a:cubicBezTo>
                  <a:cubicBezTo>
                    <a:pt x="242" y="38"/>
                    <a:pt x="242" y="38"/>
                    <a:pt x="242" y="38"/>
                  </a:cubicBezTo>
                  <a:cubicBezTo>
                    <a:pt x="237" y="40"/>
                    <a:pt x="237" y="40"/>
                    <a:pt x="237" y="40"/>
                  </a:cubicBezTo>
                  <a:cubicBezTo>
                    <a:pt x="233" y="40"/>
                    <a:pt x="233" y="40"/>
                    <a:pt x="233" y="40"/>
                  </a:cubicBezTo>
                  <a:cubicBezTo>
                    <a:pt x="232" y="41"/>
                    <a:pt x="230" y="41"/>
                    <a:pt x="229" y="41"/>
                  </a:cubicBezTo>
                  <a:cubicBezTo>
                    <a:pt x="228" y="41"/>
                    <a:pt x="228" y="41"/>
                    <a:pt x="227" y="41"/>
                  </a:cubicBezTo>
                  <a:cubicBezTo>
                    <a:pt x="227" y="41"/>
                    <a:pt x="227" y="41"/>
                    <a:pt x="227" y="41"/>
                  </a:cubicBezTo>
                  <a:cubicBezTo>
                    <a:pt x="224" y="40"/>
                    <a:pt x="224" y="40"/>
                    <a:pt x="224" y="40"/>
                  </a:cubicBezTo>
                  <a:cubicBezTo>
                    <a:pt x="221" y="40"/>
                    <a:pt x="221" y="40"/>
                    <a:pt x="221" y="40"/>
                  </a:cubicBezTo>
                  <a:cubicBezTo>
                    <a:pt x="221" y="38"/>
                    <a:pt x="221" y="38"/>
                    <a:pt x="221" y="38"/>
                  </a:cubicBezTo>
                  <a:cubicBezTo>
                    <a:pt x="220" y="38"/>
                    <a:pt x="220" y="38"/>
                    <a:pt x="220" y="38"/>
                  </a:cubicBezTo>
                  <a:cubicBezTo>
                    <a:pt x="219" y="37"/>
                    <a:pt x="219" y="37"/>
                    <a:pt x="219" y="37"/>
                  </a:cubicBezTo>
                  <a:cubicBezTo>
                    <a:pt x="219" y="36"/>
                    <a:pt x="219" y="36"/>
                    <a:pt x="219" y="36"/>
                  </a:cubicBezTo>
                  <a:cubicBezTo>
                    <a:pt x="218" y="35"/>
                    <a:pt x="218" y="35"/>
                    <a:pt x="217" y="34"/>
                  </a:cubicBezTo>
                  <a:cubicBezTo>
                    <a:pt x="217" y="34"/>
                    <a:pt x="217" y="33"/>
                    <a:pt x="217" y="32"/>
                  </a:cubicBezTo>
                  <a:cubicBezTo>
                    <a:pt x="217" y="32"/>
                    <a:pt x="217" y="32"/>
                    <a:pt x="217" y="32"/>
                  </a:cubicBezTo>
                  <a:cubicBezTo>
                    <a:pt x="217" y="29"/>
                    <a:pt x="217" y="29"/>
                    <a:pt x="217" y="29"/>
                  </a:cubicBezTo>
                  <a:cubicBezTo>
                    <a:pt x="218" y="28"/>
                    <a:pt x="218" y="28"/>
                    <a:pt x="218" y="28"/>
                  </a:cubicBezTo>
                  <a:cubicBezTo>
                    <a:pt x="220" y="28"/>
                    <a:pt x="220" y="28"/>
                    <a:pt x="220" y="28"/>
                  </a:cubicBezTo>
                  <a:cubicBezTo>
                    <a:pt x="220" y="28"/>
                    <a:pt x="220" y="28"/>
                    <a:pt x="220" y="28"/>
                  </a:cubicBezTo>
                  <a:cubicBezTo>
                    <a:pt x="221" y="28"/>
                    <a:pt x="221" y="28"/>
                    <a:pt x="221" y="28"/>
                  </a:cubicBezTo>
                  <a:cubicBezTo>
                    <a:pt x="221" y="26"/>
                    <a:pt x="221" y="26"/>
                    <a:pt x="221" y="26"/>
                  </a:cubicBezTo>
                  <a:cubicBezTo>
                    <a:pt x="220" y="22"/>
                    <a:pt x="220" y="22"/>
                    <a:pt x="220" y="22"/>
                  </a:cubicBezTo>
                  <a:cubicBezTo>
                    <a:pt x="222" y="19"/>
                    <a:pt x="222" y="19"/>
                    <a:pt x="222" y="19"/>
                  </a:cubicBezTo>
                  <a:cubicBezTo>
                    <a:pt x="221" y="17"/>
                    <a:pt x="221" y="17"/>
                    <a:pt x="221" y="17"/>
                  </a:cubicBezTo>
                  <a:cubicBezTo>
                    <a:pt x="218" y="11"/>
                    <a:pt x="218" y="11"/>
                    <a:pt x="218" y="11"/>
                  </a:cubicBezTo>
                  <a:cubicBezTo>
                    <a:pt x="217" y="8"/>
                    <a:pt x="215" y="5"/>
                    <a:pt x="213" y="2"/>
                  </a:cubicBezTo>
                  <a:cubicBezTo>
                    <a:pt x="213" y="2"/>
                    <a:pt x="213" y="2"/>
                    <a:pt x="213" y="2"/>
                  </a:cubicBezTo>
                  <a:cubicBezTo>
                    <a:pt x="210" y="2"/>
                    <a:pt x="210" y="2"/>
                    <a:pt x="210" y="2"/>
                  </a:cubicBezTo>
                  <a:cubicBezTo>
                    <a:pt x="208" y="3"/>
                    <a:pt x="205" y="5"/>
                    <a:pt x="205" y="5"/>
                  </a:cubicBezTo>
                  <a:cubicBezTo>
                    <a:pt x="203" y="6"/>
                    <a:pt x="203" y="6"/>
                    <a:pt x="203" y="6"/>
                  </a:cubicBezTo>
                  <a:cubicBezTo>
                    <a:pt x="201" y="7"/>
                    <a:pt x="201" y="7"/>
                    <a:pt x="201" y="7"/>
                  </a:cubicBezTo>
                  <a:cubicBezTo>
                    <a:pt x="199" y="7"/>
                    <a:pt x="199" y="7"/>
                    <a:pt x="199" y="7"/>
                  </a:cubicBezTo>
                  <a:cubicBezTo>
                    <a:pt x="197" y="6"/>
                    <a:pt x="195" y="5"/>
                    <a:pt x="194" y="5"/>
                  </a:cubicBezTo>
                  <a:cubicBezTo>
                    <a:pt x="194" y="5"/>
                    <a:pt x="194" y="5"/>
                    <a:pt x="194" y="5"/>
                  </a:cubicBezTo>
                  <a:cubicBezTo>
                    <a:pt x="192" y="4"/>
                    <a:pt x="190" y="3"/>
                    <a:pt x="189" y="2"/>
                  </a:cubicBezTo>
                  <a:cubicBezTo>
                    <a:pt x="188" y="1"/>
                    <a:pt x="188" y="1"/>
                    <a:pt x="188" y="1"/>
                  </a:cubicBezTo>
                  <a:cubicBezTo>
                    <a:pt x="187" y="0"/>
                    <a:pt x="187" y="0"/>
                    <a:pt x="187" y="0"/>
                  </a:cubicBezTo>
                  <a:cubicBezTo>
                    <a:pt x="180" y="0"/>
                    <a:pt x="180" y="0"/>
                    <a:pt x="1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Freeform 1519"/>
            <p:cNvSpPr/>
            <p:nvPr/>
          </p:nvSpPr>
          <p:spPr bwMode="auto">
            <a:xfrm>
              <a:off x="1110112" y="400017"/>
              <a:ext cx="9396" cy="6712"/>
            </a:xfrm>
            <a:custGeom>
              <a:gdLst>
                <a:gd name="T0" fmla="*/ 3 w 3"/>
                <a:gd name="T1" fmla="*/ 0 h 2"/>
                <a:gd name="T2" fmla="*/ 0 w 3"/>
                <a:gd name="T3" fmla="*/ 1 h 2"/>
                <a:gd name="T4" fmla="*/ 2 w 3"/>
                <a:gd name="T5" fmla="*/ 2 h 2"/>
                <a:gd name="T6" fmla="*/ 3 w 3"/>
                <a:gd name="T7" fmla="*/ 2 h 2"/>
                <a:gd name="T8" fmla="*/ 3 w 3"/>
                <a:gd name="T9" fmla="*/ 1 h 2"/>
                <a:gd name="T10" fmla="*/ 3 w 3"/>
                <a:gd name="T11" fmla="*/ 0 h 2"/>
              </a:gdLst>
              <a:cxnLst>
                <a:cxn ang="0">
                  <a:pos x="T0" y="T1"/>
                </a:cxn>
                <a:cxn ang="0">
                  <a:pos x="T2" y="T3"/>
                </a:cxn>
                <a:cxn ang="0">
                  <a:pos x="T4" y="T5"/>
                </a:cxn>
                <a:cxn ang="0">
                  <a:pos x="T6" y="T7"/>
                </a:cxn>
                <a:cxn ang="0">
                  <a:pos x="T8" y="T9"/>
                </a:cxn>
                <a:cxn ang="0">
                  <a:pos x="T10" y="T11"/>
                </a:cxn>
              </a:cxnLst>
              <a:rect l="0" t="0" r="r" b="b"/>
              <a:pathLst>
                <a:path w="3" h="2">
                  <a:moveTo>
                    <a:pt x="3" y="0"/>
                  </a:moveTo>
                  <a:cubicBezTo>
                    <a:pt x="0" y="1"/>
                    <a:pt x="0" y="1"/>
                    <a:pt x="0" y="1"/>
                  </a:cubicBezTo>
                  <a:cubicBezTo>
                    <a:pt x="1" y="1"/>
                    <a:pt x="2" y="2"/>
                    <a:pt x="2" y="2"/>
                  </a:cubicBezTo>
                  <a:cubicBezTo>
                    <a:pt x="3" y="2"/>
                    <a:pt x="3" y="2"/>
                    <a:pt x="3" y="2"/>
                  </a:cubicBezTo>
                  <a:cubicBezTo>
                    <a:pt x="3" y="1"/>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4" name="Rectangle 1520"/>
            <p:cNvSpPr>
              <a:spLocks noChangeArrowheads="1"/>
            </p:cNvSpPr>
            <p:nvPr/>
          </p:nvSpPr>
          <p:spPr bwMode="auto">
            <a:xfrm>
              <a:off x="4051169" y="1044339"/>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Freeform 1521"/>
            <p:cNvSpPr/>
            <p:nvPr/>
          </p:nvSpPr>
          <p:spPr bwMode="auto">
            <a:xfrm flipH="1">
              <a:off x="4051169" y="104433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6" name="Freeform 1522"/>
            <p:cNvSpPr/>
            <p:nvPr/>
          </p:nvSpPr>
          <p:spPr bwMode="auto">
            <a:xfrm>
              <a:off x="1935648" y="920844"/>
              <a:ext cx="9396" cy="6712"/>
            </a:xfrm>
            <a:custGeom>
              <a:gdLst>
                <a:gd name="T0" fmla="*/ 3 w 3"/>
                <a:gd name="T1" fmla="*/ 0 h 2"/>
                <a:gd name="T2" fmla="*/ 0 w 3"/>
                <a:gd name="T3" fmla="*/ 1 h 2"/>
                <a:gd name="T4" fmla="*/ 0 w 3"/>
                <a:gd name="T5" fmla="*/ 1 h 2"/>
                <a:gd name="T6" fmla="*/ 2 w 3"/>
                <a:gd name="T7" fmla="*/ 2 h 2"/>
                <a:gd name="T8" fmla="*/ 3 w 3"/>
                <a:gd name="T9" fmla="*/ 1 h 2"/>
                <a:gd name="T10" fmla="*/ 3 w 3"/>
                <a:gd name="T11" fmla="*/ 0 h 2"/>
              </a:gdLst>
              <a:cxnLst>
                <a:cxn ang="0">
                  <a:pos x="T0" y="T1"/>
                </a:cxn>
                <a:cxn ang="0">
                  <a:pos x="T2" y="T3"/>
                </a:cxn>
                <a:cxn ang="0">
                  <a:pos x="T4" y="T5"/>
                </a:cxn>
                <a:cxn ang="0">
                  <a:pos x="T6" y="T7"/>
                </a:cxn>
                <a:cxn ang="0">
                  <a:pos x="T8" y="T9"/>
                </a:cxn>
                <a:cxn ang="0">
                  <a:pos x="T10" y="T11"/>
                </a:cxn>
              </a:cxnLst>
              <a:rect l="0" t="0" r="r" b="b"/>
              <a:pathLst>
                <a:path w="3" h="2">
                  <a:moveTo>
                    <a:pt x="3" y="0"/>
                  </a:moveTo>
                  <a:cubicBezTo>
                    <a:pt x="2" y="0"/>
                    <a:pt x="1" y="0"/>
                    <a:pt x="0" y="1"/>
                  </a:cubicBezTo>
                  <a:cubicBezTo>
                    <a:pt x="0" y="1"/>
                    <a:pt x="0" y="1"/>
                    <a:pt x="0" y="1"/>
                  </a:cubicBezTo>
                  <a:cubicBezTo>
                    <a:pt x="2" y="2"/>
                    <a:pt x="2" y="2"/>
                    <a:pt x="2" y="2"/>
                  </a:cubicBezTo>
                  <a:cubicBezTo>
                    <a:pt x="2" y="2"/>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7" name="Freeform 1523"/>
            <p:cNvSpPr>
              <a:spLocks noEditPoints="1"/>
            </p:cNvSpPr>
            <p:nvPr/>
          </p:nvSpPr>
          <p:spPr bwMode="auto">
            <a:xfrm>
              <a:off x="900707" y="485927"/>
              <a:ext cx="4546491" cy="2894078"/>
            </a:xfrm>
            <a:custGeom>
              <a:gdLst>
                <a:gd name="T0" fmla="*/ 138 w 1433"/>
                <a:gd name="T1" fmla="*/ 551 h 912"/>
                <a:gd name="T2" fmla="*/ 127 w 1433"/>
                <a:gd name="T3" fmla="*/ 510 h 912"/>
                <a:gd name="T4" fmla="*/ 1095 w 1433"/>
                <a:gd name="T5" fmla="*/ 24 h 912"/>
                <a:gd name="T6" fmla="*/ 1076 w 1433"/>
                <a:gd name="T7" fmla="*/ 102 h 912"/>
                <a:gd name="T8" fmla="*/ 993 w 1433"/>
                <a:gd name="T9" fmla="*/ 175 h 912"/>
                <a:gd name="T10" fmla="*/ 1089 w 1433"/>
                <a:gd name="T11" fmla="*/ 208 h 912"/>
                <a:gd name="T12" fmla="*/ 967 w 1433"/>
                <a:gd name="T13" fmla="*/ 248 h 912"/>
                <a:gd name="T14" fmla="*/ 890 w 1433"/>
                <a:gd name="T15" fmla="*/ 276 h 912"/>
                <a:gd name="T16" fmla="*/ 777 w 1433"/>
                <a:gd name="T17" fmla="*/ 339 h 912"/>
                <a:gd name="T18" fmla="*/ 709 w 1433"/>
                <a:gd name="T19" fmla="*/ 352 h 912"/>
                <a:gd name="T20" fmla="*/ 529 w 1433"/>
                <a:gd name="T21" fmla="*/ 326 h 912"/>
                <a:gd name="T22" fmla="*/ 466 w 1433"/>
                <a:gd name="T23" fmla="*/ 262 h 912"/>
                <a:gd name="T24" fmla="*/ 391 w 1433"/>
                <a:gd name="T25" fmla="*/ 187 h 912"/>
                <a:gd name="T26" fmla="*/ 319 w 1433"/>
                <a:gd name="T27" fmla="*/ 138 h 912"/>
                <a:gd name="T28" fmla="*/ 258 w 1433"/>
                <a:gd name="T29" fmla="*/ 203 h 912"/>
                <a:gd name="T30" fmla="*/ 164 w 1433"/>
                <a:gd name="T31" fmla="*/ 265 h 912"/>
                <a:gd name="T32" fmla="*/ 133 w 1433"/>
                <a:gd name="T33" fmla="*/ 353 h 912"/>
                <a:gd name="T34" fmla="*/ 62 w 1433"/>
                <a:gd name="T35" fmla="*/ 392 h 912"/>
                <a:gd name="T36" fmla="*/ 8 w 1433"/>
                <a:gd name="T37" fmla="*/ 405 h 912"/>
                <a:gd name="T38" fmla="*/ 14 w 1433"/>
                <a:gd name="T39" fmla="*/ 434 h 912"/>
                <a:gd name="T40" fmla="*/ 59 w 1433"/>
                <a:gd name="T41" fmla="*/ 510 h 912"/>
                <a:gd name="T42" fmla="*/ 104 w 1433"/>
                <a:gd name="T43" fmla="*/ 535 h 912"/>
                <a:gd name="T44" fmla="*/ 138 w 1433"/>
                <a:gd name="T45" fmla="*/ 592 h 912"/>
                <a:gd name="T46" fmla="*/ 140 w 1433"/>
                <a:gd name="T47" fmla="*/ 639 h 912"/>
                <a:gd name="T48" fmla="*/ 221 w 1433"/>
                <a:gd name="T49" fmla="*/ 673 h 912"/>
                <a:gd name="T50" fmla="*/ 263 w 1433"/>
                <a:gd name="T51" fmla="*/ 701 h 912"/>
                <a:gd name="T52" fmla="*/ 307 w 1433"/>
                <a:gd name="T53" fmla="*/ 713 h 912"/>
                <a:gd name="T54" fmla="*/ 383 w 1433"/>
                <a:gd name="T55" fmla="*/ 707 h 912"/>
                <a:gd name="T56" fmla="*/ 443 w 1433"/>
                <a:gd name="T57" fmla="*/ 717 h 912"/>
                <a:gd name="T58" fmla="*/ 498 w 1433"/>
                <a:gd name="T59" fmla="*/ 685 h 912"/>
                <a:gd name="T60" fmla="*/ 537 w 1433"/>
                <a:gd name="T61" fmla="*/ 704 h 912"/>
                <a:gd name="T62" fmla="*/ 591 w 1433"/>
                <a:gd name="T63" fmla="*/ 730 h 912"/>
                <a:gd name="T64" fmla="*/ 564 w 1433"/>
                <a:gd name="T65" fmla="*/ 802 h 912"/>
                <a:gd name="T66" fmla="*/ 602 w 1433"/>
                <a:gd name="T67" fmla="*/ 833 h 912"/>
                <a:gd name="T68" fmla="*/ 624 w 1433"/>
                <a:gd name="T69" fmla="*/ 879 h 912"/>
                <a:gd name="T70" fmla="*/ 656 w 1433"/>
                <a:gd name="T71" fmla="*/ 854 h 912"/>
                <a:gd name="T72" fmla="*/ 706 w 1433"/>
                <a:gd name="T73" fmla="*/ 847 h 912"/>
                <a:gd name="T74" fmla="*/ 775 w 1433"/>
                <a:gd name="T75" fmla="*/ 844 h 912"/>
                <a:gd name="T76" fmla="*/ 809 w 1433"/>
                <a:gd name="T77" fmla="*/ 878 h 912"/>
                <a:gd name="T78" fmla="*/ 844 w 1433"/>
                <a:gd name="T79" fmla="*/ 874 h 912"/>
                <a:gd name="T80" fmla="*/ 879 w 1433"/>
                <a:gd name="T81" fmla="*/ 881 h 912"/>
                <a:gd name="T82" fmla="*/ 930 w 1433"/>
                <a:gd name="T83" fmla="*/ 866 h 912"/>
                <a:gd name="T84" fmla="*/ 943 w 1433"/>
                <a:gd name="T85" fmla="*/ 854 h 912"/>
                <a:gd name="T86" fmla="*/ 995 w 1433"/>
                <a:gd name="T87" fmla="*/ 845 h 912"/>
                <a:gd name="T88" fmla="*/ 1039 w 1433"/>
                <a:gd name="T89" fmla="*/ 807 h 912"/>
                <a:gd name="T90" fmla="*/ 1082 w 1433"/>
                <a:gd name="T91" fmla="*/ 769 h 912"/>
                <a:gd name="T92" fmla="*/ 1103 w 1433"/>
                <a:gd name="T93" fmla="*/ 733 h 912"/>
                <a:gd name="T94" fmla="*/ 1134 w 1433"/>
                <a:gd name="T95" fmla="*/ 676 h 912"/>
                <a:gd name="T96" fmla="*/ 1105 w 1433"/>
                <a:gd name="T97" fmla="*/ 616 h 912"/>
                <a:gd name="T98" fmla="*/ 1070 w 1433"/>
                <a:gd name="T99" fmla="*/ 543 h 912"/>
                <a:gd name="T100" fmla="*/ 1148 w 1433"/>
                <a:gd name="T101" fmla="*/ 481 h 912"/>
                <a:gd name="T102" fmla="*/ 1057 w 1433"/>
                <a:gd name="T103" fmla="*/ 453 h 912"/>
                <a:gd name="T104" fmla="*/ 1133 w 1433"/>
                <a:gd name="T105" fmla="*/ 398 h 912"/>
                <a:gd name="T106" fmla="*/ 1196 w 1433"/>
                <a:gd name="T107" fmla="*/ 391 h 912"/>
                <a:gd name="T108" fmla="*/ 1281 w 1433"/>
                <a:gd name="T109" fmla="*/ 356 h 912"/>
                <a:gd name="T110" fmla="*/ 1350 w 1433"/>
                <a:gd name="T111" fmla="*/ 287 h 912"/>
                <a:gd name="T112" fmla="*/ 1402 w 1433"/>
                <a:gd name="T113" fmla="*/ 238 h 912"/>
                <a:gd name="T114" fmla="*/ 1427 w 1433"/>
                <a:gd name="T115" fmla="*/ 182 h 912"/>
                <a:gd name="T116" fmla="*/ 1343 w 1433"/>
                <a:gd name="T117" fmla="*/ 175 h 912"/>
                <a:gd name="T118" fmla="*/ 1295 w 1433"/>
                <a:gd name="T119" fmla="*/ 126 h 912"/>
                <a:gd name="T120" fmla="*/ 1238 w 1433"/>
                <a:gd name="T121" fmla="*/ 42 h 912"/>
                <a:gd name="T122" fmla="*/ 1172 w 1433"/>
                <a:gd name="T123" fmla="*/ 0 h 9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3" h="912">
                  <a:moveTo>
                    <a:pt x="128" y="562"/>
                  </a:moveTo>
                  <a:cubicBezTo>
                    <a:pt x="128" y="562"/>
                    <a:pt x="128" y="562"/>
                    <a:pt x="128" y="562"/>
                  </a:cubicBezTo>
                  <a:cubicBezTo>
                    <a:pt x="128" y="562"/>
                    <a:pt x="128" y="562"/>
                    <a:pt x="128" y="562"/>
                  </a:cubicBezTo>
                  <a:moveTo>
                    <a:pt x="122" y="564"/>
                  </a:moveTo>
                  <a:cubicBezTo>
                    <a:pt x="122" y="564"/>
                    <a:pt x="122" y="563"/>
                    <a:pt x="122" y="563"/>
                  </a:cubicBezTo>
                  <a:cubicBezTo>
                    <a:pt x="122" y="563"/>
                    <a:pt x="122" y="563"/>
                    <a:pt x="122" y="563"/>
                  </a:cubicBezTo>
                  <a:cubicBezTo>
                    <a:pt x="126" y="562"/>
                    <a:pt x="126" y="562"/>
                    <a:pt x="126" y="562"/>
                  </a:cubicBezTo>
                  <a:cubicBezTo>
                    <a:pt x="127" y="562"/>
                    <a:pt x="127" y="562"/>
                    <a:pt x="127" y="562"/>
                  </a:cubicBezTo>
                  <a:cubicBezTo>
                    <a:pt x="122" y="564"/>
                    <a:pt x="122" y="564"/>
                    <a:pt x="122" y="564"/>
                  </a:cubicBezTo>
                  <a:cubicBezTo>
                    <a:pt x="122" y="564"/>
                    <a:pt x="122" y="564"/>
                    <a:pt x="122" y="564"/>
                  </a:cubicBezTo>
                  <a:moveTo>
                    <a:pt x="122" y="562"/>
                  </a:moveTo>
                  <a:cubicBezTo>
                    <a:pt x="123" y="562"/>
                    <a:pt x="123" y="562"/>
                    <a:pt x="123" y="562"/>
                  </a:cubicBezTo>
                  <a:cubicBezTo>
                    <a:pt x="123" y="562"/>
                    <a:pt x="124" y="562"/>
                    <a:pt x="124" y="561"/>
                  </a:cubicBezTo>
                  <a:cubicBezTo>
                    <a:pt x="124" y="561"/>
                    <a:pt x="124" y="561"/>
                    <a:pt x="125" y="561"/>
                  </a:cubicBezTo>
                  <a:cubicBezTo>
                    <a:pt x="125" y="561"/>
                    <a:pt x="125" y="561"/>
                    <a:pt x="125" y="561"/>
                  </a:cubicBezTo>
                  <a:cubicBezTo>
                    <a:pt x="124" y="561"/>
                    <a:pt x="124" y="561"/>
                    <a:pt x="124" y="561"/>
                  </a:cubicBezTo>
                  <a:cubicBezTo>
                    <a:pt x="124" y="562"/>
                    <a:pt x="123" y="562"/>
                    <a:pt x="123" y="562"/>
                  </a:cubicBezTo>
                  <a:cubicBezTo>
                    <a:pt x="122" y="562"/>
                    <a:pt x="122" y="562"/>
                    <a:pt x="122" y="562"/>
                  </a:cubicBezTo>
                  <a:moveTo>
                    <a:pt x="136" y="558"/>
                  </a:moveTo>
                  <a:cubicBezTo>
                    <a:pt x="137" y="557"/>
                    <a:pt x="137" y="557"/>
                    <a:pt x="137" y="556"/>
                  </a:cubicBezTo>
                  <a:cubicBezTo>
                    <a:pt x="137" y="557"/>
                    <a:pt x="137" y="557"/>
                    <a:pt x="136" y="558"/>
                  </a:cubicBezTo>
                  <a:moveTo>
                    <a:pt x="140" y="551"/>
                  </a:moveTo>
                  <a:cubicBezTo>
                    <a:pt x="140" y="551"/>
                    <a:pt x="140" y="551"/>
                    <a:pt x="140" y="551"/>
                  </a:cubicBezTo>
                  <a:cubicBezTo>
                    <a:pt x="140" y="551"/>
                    <a:pt x="140" y="551"/>
                    <a:pt x="140" y="551"/>
                  </a:cubicBezTo>
                  <a:cubicBezTo>
                    <a:pt x="140" y="551"/>
                    <a:pt x="140" y="551"/>
                    <a:pt x="140" y="551"/>
                  </a:cubicBezTo>
                  <a:moveTo>
                    <a:pt x="140" y="551"/>
                  </a:moveTo>
                  <a:cubicBezTo>
                    <a:pt x="140" y="551"/>
                    <a:pt x="140" y="551"/>
                    <a:pt x="140" y="551"/>
                  </a:cubicBezTo>
                  <a:cubicBezTo>
                    <a:pt x="140" y="551"/>
                    <a:pt x="140" y="551"/>
                    <a:pt x="140" y="551"/>
                  </a:cubicBezTo>
                  <a:moveTo>
                    <a:pt x="137" y="551"/>
                  </a:moveTo>
                  <a:cubicBezTo>
                    <a:pt x="137" y="551"/>
                    <a:pt x="137" y="551"/>
                    <a:pt x="138" y="551"/>
                  </a:cubicBezTo>
                  <a:cubicBezTo>
                    <a:pt x="138" y="551"/>
                    <a:pt x="138" y="551"/>
                    <a:pt x="138" y="551"/>
                  </a:cubicBezTo>
                  <a:cubicBezTo>
                    <a:pt x="137" y="551"/>
                    <a:pt x="137" y="551"/>
                    <a:pt x="137" y="551"/>
                  </a:cubicBezTo>
                  <a:moveTo>
                    <a:pt x="140" y="551"/>
                  </a:moveTo>
                  <a:cubicBezTo>
                    <a:pt x="140" y="551"/>
                    <a:pt x="140" y="551"/>
                    <a:pt x="140" y="551"/>
                  </a:cubicBezTo>
                  <a:cubicBezTo>
                    <a:pt x="139" y="551"/>
                    <a:pt x="139" y="551"/>
                    <a:pt x="139" y="551"/>
                  </a:cubicBezTo>
                  <a:cubicBezTo>
                    <a:pt x="139" y="551"/>
                    <a:pt x="139" y="551"/>
                    <a:pt x="140" y="551"/>
                  </a:cubicBezTo>
                  <a:cubicBezTo>
                    <a:pt x="140" y="551"/>
                    <a:pt x="140" y="551"/>
                    <a:pt x="140" y="551"/>
                  </a:cubicBezTo>
                  <a:moveTo>
                    <a:pt x="138" y="551"/>
                  </a:moveTo>
                  <a:cubicBezTo>
                    <a:pt x="139" y="551"/>
                    <a:pt x="139" y="551"/>
                    <a:pt x="139" y="551"/>
                  </a:cubicBezTo>
                  <a:cubicBezTo>
                    <a:pt x="139" y="551"/>
                    <a:pt x="139" y="551"/>
                    <a:pt x="139" y="551"/>
                  </a:cubicBezTo>
                  <a:cubicBezTo>
                    <a:pt x="139" y="551"/>
                    <a:pt x="139" y="551"/>
                    <a:pt x="138" y="551"/>
                  </a:cubicBezTo>
                  <a:cubicBezTo>
                    <a:pt x="138" y="551"/>
                    <a:pt x="138" y="551"/>
                    <a:pt x="138" y="551"/>
                  </a:cubicBezTo>
                  <a:cubicBezTo>
                    <a:pt x="138" y="551"/>
                    <a:pt x="138" y="551"/>
                    <a:pt x="138" y="551"/>
                  </a:cubicBezTo>
                  <a:moveTo>
                    <a:pt x="141" y="550"/>
                  </a:moveTo>
                  <a:cubicBezTo>
                    <a:pt x="141" y="550"/>
                    <a:pt x="141" y="550"/>
                    <a:pt x="141" y="550"/>
                  </a:cubicBezTo>
                  <a:cubicBezTo>
                    <a:pt x="142" y="549"/>
                    <a:pt x="143" y="547"/>
                    <a:pt x="145" y="546"/>
                  </a:cubicBezTo>
                  <a:cubicBezTo>
                    <a:pt x="147" y="543"/>
                    <a:pt x="149" y="540"/>
                    <a:pt x="151" y="538"/>
                  </a:cubicBezTo>
                  <a:cubicBezTo>
                    <a:pt x="151" y="537"/>
                    <a:pt x="152" y="536"/>
                    <a:pt x="152" y="535"/>
                  </a:cubicBezTo>
                  <a:cubicBezTo>
                    <a:pt x="153" y="534"/>
                    <a:pt x="153" y="533"/>
                    <a:pt x="153" y="532"/>
                  </a:cubicBezTo>
                  <a:cubicBezTo>
                    <a:pt x="153" y="533"/>
                    <a:pt x="153" y="534"/>
                    <a:pt x="152" y="535"/>
                  </a:cubicBezTo>
                  <a:cubicBezTo>
                    <a:pt x="152" y="536"/>
                    <a:pt x="151" y="537"/>
                    <a:pt x="151" y="538"/>
                  </a:cubicBezTo>
                  <a:cubicBezTo>
                    <a:pt x="149" y="540"/>
                    <a:pt x="147" y="543"/>
                    <a:pt x="145" y="546"/>
                  </a:cubicBezTo>
                  <a:cubicBezTo>
                    <a:pt x="143" y="547"/>
                    <a:pt x="142" y="549"/>
                    <a:pt x="141" y="550"/>
                  </a:cubicBezTo>
                  <a:cubicBezTo>
                    <a:pt x="141" y="550"/>
                    <a:pt x="141" y="550"/>
                    <a:pt x="141" y="550"/>
                  </a:cubicBezTo>
                  <a:moveTo>
                    <a:pt x="153" y="532"/>
                  </a:moveTo>
                  <a:cubicBezTo>
                    <a:pt x="154" y="530"/>
                    <a:pt x="155" y="527"/>
                    <a:pt x="156" y="525"/>
                  </a:cubicBezTo>
                  <a:cubicBezTo>
                    <a:pt x="156" y="525"/>
                    <a:pt x="156" y="524"/>
                    <a:pt x="156" y="524"/>
                  </a:cubicBezTo>
                  <a:cubicBezTo>
                    <a:pt x="156" y="524"/>
                    <a:pt x="156" y="525"/>
                    <a:pt x="156" y="525"/>
                  </a:cubicBezTo>
                  <a:cubicBezTo>
                    <a:pt x="155" y="527"/>
                    <a:pt x="154" y="530"/>
                    <a:pt x="153" y="532"/>
                  </a:cubicBezTo>
                  <a:moveTo>
                    <a:pt x="127" y="510"/>
                  </a:moveTo>
                  <a:cubicBezTo>
                    <a:pt x="127" y="510"/>
                    <a:pt x="127" y="510"/>
                    <a:pt x="127" y="510"/>
                  </a:cubicBezTo>
                  <a:cubicBezTo>
                    <a:pt x="127" y="510"/>
                    <a:pt x="127" y="510"/>
                    <a:pt x="127" y="510"/>
                  </a:cubicBezTo>
                  <a:cubicBezTo>
                    <a:pt x="127" y="510"/>
                    <a:pt x="127" y="510"/>
                    <a:pt x="127" y="510"/>
                  </a:cubicBezTo>
                  <a:moveTo>
                    <a:pt x="128" y="510"/>
                  </a:moveTo>
                  <a:cubicBezTo>
                    <a:pt x="128" y="510"/>
                    <a:pt x="129" y="510"/>
                    <a:pt x="129" y="510"/>
                  </a:cubicBezTo>
                  <a:cubicBezTo>
                    <a:pt x="129" y="510"/>
                    <a:pt x="128" y="510"/>
                    <a:pt x="128" y="510"/>
                  </a:cubicBezTo>
                  <a:moveTo>
                    <a:pt x="1166" y="0"/>
                  </a:moveTo>
                  <a:cubicBezTo>
                    <a:pt x="1165" y="0"/>
                    <a:pt x="1165" y="0"/>
                    <a:pt x="1165" y="0"/>
                  </a:cubicBezTo>
                  <a:cubicBezTo>
                    <a:pt x="1164" y="1"/>
                    <a:pt x="1164" y="1"/>
                    <a:pt x="1164" y="1"/>
                  </a:cubicBezTo>
                  <a:cubicBezTo>
                    <a:pt x="1164" y="1"/>
                    <a:pt x="1163" y="1"/>
                    <a:pt x="1162" y="1"/>
                  </a:cubicBezTo>
                  <a:cubicBezTo>
                    <a:pt x="1159" y="2"/>
                    <a:pt x="1159" y="2"/>
                    <a:pt x="1159" y="2"/>
                  </a:cubicBezTo>
                  <a:cubicBezTo>
                    <a:pt x="1156" y="2"/>
                    <a:pt x="1152" y="3"/>
                    <a:pt x="1148" y="3"/>
                  </a:cubicBezTo>
                  <a:cubicBezTo>
                    <a:pt x="1136" y="4"/>
                    <a:pt x="1136" y="4"/>
                    <a:pt x="1136" y="4"/>
                  </a:cubicBezTo>
                  <a:cubicBezTo>
                    <a:pt x="1133" y="5"/>
                    <a:pt x="1133" y="5"/>
                    <a:pt x="1133" y="5"/>
                  </a:cubicBezTo>
                  <a:cubicBezTo>
                    <a:pt x="1128" y="6"/>
                    <a:pt x="1123" y="7"/>
                    <a:pt x="1117" y="8"/>
                  </a:cubicBezTo>
                  <a:cubicBezTo>
                    <a:pt x="1116" y="8"/>
                    <a:pt x="1116" y="8"/>
                    <a:pt x="1115" y="8"/>
                  </a:cubicBezTo>
                  <a:cubicBezTo>
                    <a:pt x="1114" y="8"/>
                    <a:pt x="1114" y="8"/>
                    <a:pt x="1114" y="8"/>
                  </a:cubicBezTo>
                  <a:cubicBezTo>
                    <a:pt x="1113" y="8"/>
                    <a:pt x="1112" y="8"/>
                    <a:pt x="1112" y="8"/>
                  </a:cubicBezTo>
                  <a:cubicBezTo>
                    <a:pt x="1110" y="9"/>
                    <a:pt x="1110" y="9"/>
                    <a:pt x="1110" y="9"/>
                  </a:cubicBezTo>
                  <a:cubicBezTo>
                    <a:pt x="1110" y="9"/>
                    <a:pt x="1110" y="9"/>
                    <a:pt x="1110" y="9"/>
                  </a:cubicBezTo>
                  <a:cubicBezTo>
                    <a:pt x="1108" y="10"/>
                    <a:pt x="1108" y="10"/>
                    <a:pt x="1108" y="10"/>
                  </a:cubicBezTo>
                  <a:cubicBezTo>
                    <a:pt x="1106" y="12"/>
                    <a:pt x="1105" y="13"/>
                    <a:pt x="1102" y="15"/>
                  </a:cubicBezTo>
                  <a:cubicBezTo>
                    <a:pt x="1102" y="16"/>
                    <a:pt x="1102" y="16"/>
                    <a:pt x="1102" y="16"/>
                  </a:cubicBezTo>
                  <a:cubicBezTo>
                    <a:pt x="1101" y="17"/>
                    <a:pt x="1100" y="18"/>
                    <a:pt x="1099" y="19"/>
                  </a:cubicBezTo>
                  <a:cubicBezTo>
                    <a:pt x="1098" y="19"/>
                    <a:pt x="1098" y="19"/>
                    <a:pt x="1098" y="19"/>
                  </a:cubicBezTo>
                  <a:cubicBezTo>
                    <a:pt x="1098" y="19"/>
                    <a:pt x="1097" y="20"/>
                    <a:pt x="1097" y="20"/>
                  </a:cubicBezTo>
                  <a:cubicBezTo>
                    <a:pt x="1095" y="22"/>
                    <a:pt x="1094" y="23"/>
                    <a:pt x="1092" y="24"/>
                  </a:cubicBezTo>
                  <a:cubicBezTo>
                    <a:pt x="1092" y="25"/>
                    <a:pt x="1092" y="25"/>
                    <a:pt x="1092" y="25"/>
                  </a:cubicBezTo>
                  <a:cubicBezTo>
                    <a:pt x="1092" y="25"/>
                    <a:pt x="1092" y="25"/>
                    <a:pt x="1092" y="25"/>
                  </a:cubicBezTo>
                  <a:cubicBezTo>
                    <a:pt x="1093" y="24"/>
                    <a:pt x="1094" y="24"/>
                    <a:pt x="1095" y="24"/>
                  </a:cubicBezTo>
                  <a:cubicBezTo>
                    <a:pt x="1097" y="24"/>
                    <a:pt x="1098" y="24"/>
                    <a:pt x="1099" y="24"/>
                  </a:cubicBezTo>
                  <a:cubicBezTo>
                    <a:pt x="1100" y="24"/>
                    <a:pt x="1100" y="24"/>
                    <a:pt x="1101" y="24"/>
                  </a:cubicBezTo>
                  <a:cubicBezTo>
                    <a:pt x="1101" y="24"/>
                    <a:pt x="1101" y="24"/>
                    <a:pt x="1101" y="24"/>
                  </a:cubicBezTo>
                  <a:cubicBezTo>
                    <a:pt x="1102" y="25"/>
                    <a:pt x="1103" y="25"/>
                    <a:pt x="1103" y="25"/>
                  </a:cubicBezTo>
                  <a:cubicBezTo>
                    <a:pt x="1103" y="25"/>
                    <a:pt x="1103" y="25"/>
                    <a:pt x="1103" y="25"/>
                  </a:cubicBezTo>
                  <a:cubicBezTo>
                    <a:pt x="1104" y="25"/>
                    <a:pt x="1104" y="26"/>
                    <a:pt x="1105" y="26"/>
                  </a:cubicBezTo>
                  <a:cubicBezTo>
                    <a:pt x="1105" y="26"/>
                    <a:pt x="1105" y="26"/>
                    <a:pt x="1105" y="26"/>
                  </a:cubicBezTo>
                  <a:cubicBezTo>
                    <a:pt x="1106" y="26"/>
                    <a:pt x="1106" y="26"/>
                    <a:pt x="1106" y="26"/>
                  </a:cubicBezTo>
                  <a:cubicBezTo>
                    <a:pt x="1108" y="28"/>
                    <a:pt x="1108" y="30"/>
                    <a:pt x="1108" y="31"/>
                  </a:cubicBezTo>
                  <a:cubicBezTo>
                    <a:pt x="1108" y="32"/>
                    <a:pt x="1108" y="32"/>
                    <a:pt x="1108" y="32"/>
                  </a:cubicBezTo>
                  <a:cubicBezTo>
                    <a:pt x="1107" y="36"/>
                    <a:pt x="1107" y="36"/>
                    <a:pt x="1107" y="36"/>
                  </a:cubicBezTo>
                  <a:cubicBezTo>
                    <a:pt x="1108" y="37"/>
                    <a:pt x="1108" y="37"/>
                    <a:pt x="1108" y="37"/>
                  </a:cubicBezTo>
                  <a:cubicBezTo>
                    <a:pt x="1109" y="38"/>
                    <a:pt x="1109" y="38"/>
                    <a:pt x="1109" y="38"/>
                  </a:cubicBezTo>
                  <a:cubicBezTo>
                    <a:pt x="1109" y="39"/>
                    <a:pt x="1109" y="39"/>
                    <a:pt x="1109" y="39"/>
                  </a:cubicBezTo>
                  <a:cubicBezTo>
                    <a:pt x="1109" y="39"/>
                    <a:pt x="1109" y="39"/>
                    <a:pt x="1109" y="39"/>
                  </a:cubicBezTo>
                  <a:cubicBezTo>
                    <a:pt x="1110" y="40"/>
                    <a:pt x="1110" y="40"/>
                    <a:pt x="1110" y="40"/>
                  </a:cubicBezTo>
                  <a:cubicBezTo>
                    <a:pt x="1110" y="41"/>
                    <a:pt x="1110" y="41"/>
                    <a:pt x="1110" y="41"/>
                  </a:cubicBezTo>
                  <a:cubicBezTo>
                    <a:pt x="1110" y="42"/>
                    <a:pt x="1110" y="43"/>
                    <a:pt x="1109" y="44"/>
                  </a:cubicBezTo>
                  <a:cubicBezTo>
                    <a:pt x="1107" y="46"/>
                    <a:pt x="1105" y="49"/>
                    <a:pt x="1103" y="51"/>
                  </a:cubicBezTo>
                  <a:cubicBezTo>
                    <a:pt x="1091" y="64"/>
                    <a:pt x="1091" y="64"/>
                    <a:pt x="1091" y="64"/>
                  </a:cubicBezTo>
                  <a:cubicBezTo>
                    <a:pt x="1089" y="66"/>
                    <a:pt x="1089" y="66"/>
                    <a:pt x="1089" y="66"/>
                  </a:cubicBezTo>
                  <a:cubicBezTo>
                    <a:pt x="1088" y="69"/>
                    <a:pt x="1086" y="72"/>
                    <a:pt x="1085" y="74"/>
                  </a:cubicBezTo>
                  <a:cubicBezTo>
                    <a:pt x="1080" y="81"/>
                    <a:pt x="1080" y="81"/>
                    <a:pt x="1080" y="81"/>
                  </a:cubicBezTo>
                  <a:cubicBezTo>
                    <a:pt x="1077" y="89"/>
                    <a:pt x="1077" y="89"/>
                    <a:pt x="1077" y="89"/>
                  </a:cubicBezTo>
                  <a:cubicBezTo>
                    <a:pt x="1076" y="96"/>
                    <a:pt x="1076" y="96"/>
                    <a:pt x="1076" y="96"/>
                  </a:cubicBezTo>
                  <a:cubicBezTo>
                    <a:pt x="1076" y="97"/>
                    <a:pt x="1076" y="97"/>
                    <a:pt x="1076" y="97"/>
                  </a:cubicBezTo>
                  <a:cubicBezTo>
                    <a:pt x="1076" y="98"/>
                    <a:pt x="1076" y="98"/>
                    <a:pt x="1076" y="98"/>
                  </a:cubicBezTo>
                  <a:cubicBezTo>
                    <a:pt x="1076" y="99"/>
                    <a:pt x="1076" y="100"/>
                    <a:pt x="1076" y="100"/>
                  </a:cubicBezTo>
                  <a:cubicBezTo>
                    <a:pt x="1076" y="101"/>
                    <a:pt x="1076" y="101"/>
                    <a:pt x="1076" y="101"/>
                  </a:cubicBezTo>
                  <a:cubicBezTo>
                    <a:pt x="1076" y="102"/>
                    <a:pt x="1076" y="102"/>
                    <a:pt x="1076" y="102"/>
                  </a:cubicBezTo>
                  <a:cubicBezTo>
                    <a:pt x="1076" y="102"/>
                    <a:pt x="1076" y="103"/>
                    <a:pt x="1076" y="103"/>
                  </a:cubicBezTo>
                  <a:cubicBezTo>
                    <a:pt x="1076" y="104"/>
                    <a:pt x="1076" y="104"/>
                    <a:pt x="1076" y="104"/>
                  </a:cubicBezTo>
                  <a:cubicBezTo>
                    <a:pt x="1076" y="105"/>
                    <a:pt x="1076" y="105"/>
                    <a:pt x="1076" y="106"/>
                  </a:cubicBezTo>
                  <a:cubicBezTo>
                    <a:pt x="1075" y="106"/>
                    <a:pt x="1075" y="106"/>
                    <a:pt x="1075" y="106"/>
                  </a:cubicBezTo>
                  <a:cubicBezTo>
                    <a:pt x="1074" y="107"/>
                    <a:pt x="1074" y="107"/>
                    <a:pt x="1074" y="108"/>
                  </a:cubicBezTo>
                  <a:cubicBezTo>
                    <a:pt x="1073" y="108"/>
                    <a:pt x="1073" y="108"/>
                    <a:pt x="1073" y="108"/>
                  </a:cubicBezTo>
                  <a:cubicBezTo>
                    <a:pt x="1065" y="112"/>
                    <a:pt x="1065" y="112"/>
                    <a:pt x="1065" y="112"/>
                  </a:cubicBezTo>
                  <a:cubicBezTo>
                    <a:pt x="1056" y="114"/>
                    <a:pt x="1056" y="114"/>
                    <a:pt x="1056" y="114"/>
                  </a:cubicBezTo>
                  <a:cubicBezTo>
                    <a:pt x="1053" y="114"/>
                    <a:pt x="1051" y="116"/>
                    <a:pt x="1049" y="119"/>
                  </a:cubicBezTo>
                  <a:cubicBezTo>
                    <a:pt x="1049" y="119"/>
                    <a:pt x="1049" y="119"/>
                    <a:pt x="1049" y="119"/>
                  </a:cubicBezTo>
                  <a:cubicBezTo>
                    <a:pt x="1039" y="126"/>
                    <a:pt x="1039" y="126"/>
                    <a:pt x="1039" y="126"/>
                  </a:cubicBezTo>
                  <a:cubicBezTo>
                    <a:pt x="1030" y="123"/>
                    <a:pt x="1030" y="123"/>
                    <a:pt x="1030" y="123"/>
                  </a:cubicBezTo>
                  <a:cubicBezTo>
                    <a:pt x="1030" y="125"/>
                    <a:pt x="1030" y="125"/>
                    <a:pt x="1030" y="125"/>
                  </a:cubicBezTo>
                  <a:cubicBezTo>
                    <a:pt x="1029" y="122"/>
                    <a:pt x="1029" y="122"/>
                    <a:pt x="1029" y="122"/>
                  </a:cubicBezTo>
                  <a:cubicBezTo>
                    <a:pt x="1016" y="118"/>
                    <a:pt x="1016" y="118"/>
                    <a:pt x="1016" y="118"/>
                  </a:cubicBezTo>
                  <a:cubicBezTo>
                    <a:pt x="1015" y="118"/>
                    <a:pt x="1014" y="118"/>
                    <a:pt x="1012" y="117"/>
                  </a:cubicBezTo>
                  <a:cubicBezTo>
                    <a:pt x="1007" y="127"/>
                    <a:pt x="1007" y="127"/>
                    <a:pt x="1007" y="127"/>
                  </a:cubicBezTo>
                  <a:cubicBezTo>
                    <a:pt x="1005" y="132"/>
                    <a:pt x="1002" y="137"/>
                    <a:pt x="1000" y="142"/>
                  </a:cubicBezTo>
                  <a:cubicBezTo>
                    <a:pt x="993" y="155"/>
                    <a:pt x="993" y="155"/>
                    <a:pt x="993" y="155"/>
                  </a:cubicBezTo>
                  <a:cubicBezTo>
                    <a:pt x="993" y="156"/>
                    <a:pt x="993" y="156"/>
                    <a:pt x="993" y="157"/>
                  </a:cubicBezTo>
                  <a:cubicBezTo>
                    <a:pt x="993" y="158"/>
                    <a:pt x="993" y="158"/>
                    <a:pt x="993" y="158"/>
                  </a:cubicBezTo>
                  <a:cubicBezTo>
                    <a:pt x="993" y="160"/>
                    <a:pt x="993" y="162"/>
                    <a:pt x="991" y="164"/>
                  </a:cubicBezTo>
                  <a:cubicBezTo>
                    <a:pt x="990" y="165"/>
                    <a:pt x="989" y="165"/>
                    <a:pt x="988" y="166"/>
                  </a:cubicBezTo>
                  <a:cubicBezTo>
                    <a:pt x="988" y="166"/>
                    <a:pt x="987" y="166"/>
                    <a:pt x="987" y="167"/>
                  </a:cubicBezTo>
                  <a:cubicBezTo>
                    <a:pt x="987" y="167"/>
                    <a:pt x="987" y="168"/>
                    <a:pt x="987" y="169"/>
                  </a:cubicBezTo>
                  <a:cubicBezTo>
                    <a:pt x="987" y="169"/>
                    <a:pt x="987" y="169"/>
                    <a:pt x="987" y="169"/>
                  </a:cubicBezTo>
                  <a:cubicBezTo>
                    <a:pt x="987" y="169"/>
                    <a:pt x="987" y="169"/>
                    <a:pt x="987" y="169"/>
                  </a:cubicBezTo>
                  <a:cubicBezTo>
                    <a:pt x="988" y="170"/>
                    <a:pt x="988" y="170"/>
                    <a:pt x="988" y="170"/>
                  </a:cubicBezTo>
                  <a:cubicBezTo>
                    <a:pt x="988" y="171"/>
                    <a:pt x="989" y="171"/>
                    <a:pt x="990" y="172"/>
                  </a:cubicBezTo>
                  <a:cubicBezTo>
                    <a:pt x="991" y="174"/>
                    <a:pt x="992" y="175"/>
                    <a:pt x="993" y="175"/>
                  </a:cubicBezTo>
                  <a:cubicBezTo>
                    <a:pt x="993" y="174"/>
                    <a:pt x="994" y="173"/>
                    <a:pt x="996" y="173"/>
                  </a:cubicBezTo>
                  <a:cubicBezTo>
                    <a:pt x="998" y="173"/>
                    <a:pt x="1000" y="172"/>
                    <a:pt x="1004" y="172"/>
                  </a:cubicBezTo>
                  <a:cubicBezTo>
                    <a:pt x="1014" y="171"/>
                    <a:pt x="1014" y="171"/>
                    <a:pt x="1014" y="171"/>
                  </a:cubicBezTo>
                  <a:cubicBezTo>
                    <a:pt x="1015" y="171"/>
                    <a:pt x="1015" y="171"/>
                    <a:pt x="1015" y="171"/>
                  </a:cubicBezTo>
                  <a:cubicBezTo>
                    <a:pt x="1017" y="171"/>
                    <a:pt x="1018" y="171"/>
                    <a:pt x="1020" y="172"/>
                  </a:cubicBezTo>
                  <a:cubicBezTo>
                    <a:pt x="1021" y="172"/>
                    <a:pt x="1021" y="173"/>
                    <a:pt x="1022" y="173"/>
                  </a:cubicBezTo>
                  <a:cubicBezTo>
                    <a:pt x="1022" y="173"/>
                    <a:pt x="1022" y="173"/>
                    <a:pt x="1022" y="173"/>
                  </a:cubicBezTo>
                  <a:cubicBezTo>
                    <a:pt x="1024" y="175"/>
                    <a:pt x="1025" y="176"/>
                    <a:pt x="1026" y="176"/>
                  </a:cubicBezTo>
                  <a:cubicBezTo>
                    <a:pt x="1026" y="176"/>
                    <a:pt x="1026" y="176"/>
                    <a:pt x="1026" y="176"/>
                  </a:cubicBezTo>
                  <a:cubicBezTo>
                    <a:pt x="1027" y="175"/>
                    <a:pt x="1027" y="175"/>
                    <a:pt x="1027" y="175"/>
                  </a:cubicBezTo>
                  <a:cubicBezTo>
                    <a:pt x="1027" y="175"/>
                    <a:pt x="1027" y="175"/>
                    <a:pt x="1027" y="174"/>
                  </a:cubicBezTo>
                  <a:cubicBezTo>
                    <a:pt x="1030" y="171"/>
                    <a:pt x="1033" y="169"/>
                    <a:pt x="1037" y="169"/>
                  </a:cubicBezTo>
                  <a:cubicBezTo>
                    <a:pt x="1038" y="168"/>
                    <a:pt x="1039" y="168"/>
                    <a:pt x="1040" y="168"/>
                  </a:cubicBezTo>
                  <a:cubicBezTo>
                    <a:pt x="1042" y="168"/>
                    <a:pt x="1042" y="168"/>
                    <a:pt x="1042" y="168"/>
                  </a:cubicBezTo>
                  <a:cubicBezTo>
                    <a:pt x="1043" y="168"/>
                    <a:pt x="1044" y="168"/>
                    <a:pt x="1045" y="168"/>
                  </a:cubicBezTo>
                  <a:cubicBezTo>
                    <a:pt x="1047" y="167"/>
                    <a:pt x="1049" y="167"/>
                    <a:pt x="1052" y="167"/>
                  </a:cubicBezTo>
                  <a:cubicBezTo>
                    <a:pt x="1052" y="167"/>
                    <a:pt x="1053" y="167"/>
                    <a:pt x="1053" y="167"/>
                  </a:cubicBezTo>
                  <a:cubicBezTo>
                    <a:pt x="1054" y="167"/>
                    <a:pt x="1055" y="167"/>
                    <a:pt x="1056" y="168"/>
                  </a:cubicBezTo>
                  <a:cubicBezTo>
                    <a:pt x="1056" y="168"/>
                    <a:pt x="1057" y="168"/>
                    <a:pt x="1058" y="169"/>
                  </a:cubicBezTo>
                  <a:cubicBezTo>
                    <a:pt x="1059" y="170"/>
                    <a:pt x="1059" y="171"/>
                    <a:pt x="1059" y="171"/>
                  </a:cubicBezTo>
                  <a:cubicBezTo>
                    <a:pt x="1060" y="172"/>
                    <a:pt x="1060" y="172"/>
                    <a:pt x="1060" y="172"/>
                  </a:cubicBezTo>
                  <a:cubicBezTo>
                    <a:pt x="1061" y="173"/>
                    <a:pt x="1062" y="174"/>
                    <a:pt x="1064" y="174"/>
                  </a:cubicBezTo>
                  <a:cubicBezTo>
                    <a:pt x="1066" y="175"/>
                    <a:pt x="1068" y="176"/>
                    <a:pt x="1070" y="178"/>
                  </a:cubicBezTo>
                  <a:cubicBezTo>
                    <a:pt x="1070" y="179"/>
                    <a:pt x="1070" y="179"/>
                    <a:pt x="1070" y="179"/>
                  </a:cubicBezTo>
                  <a:cubicBezTo>
                    <a:pt x="1071" y="180"/>
                    <a:pt x="1071" y="180"/>
                    <a:pt x="1071" y="180"/>
                  </a:cubicBezTo>
                  <a:cubicBezTo>
                    <a:pt x="1072" y="181"/>
                    <a:pt x="1072" y="182"/>
                    <a:pt x="1073" y="182"/>
                  </a:cubicBezTo>
                  <a:cubicBezTo>
                    <a:pt x="1075" y="183"/>
                    <a:pt x="1077" y="185"/>
                    <a:pt x="1078" y="187"/>
                  </a:cubicBezTo>
                  <a:cubicBezTo>
                    <a:pt x="1079" y="188"/>
                    <a:pt x="1080" y="189"/>
                    <a:pt x="1081" y="189"/>
                  </a:cubicBezTo>
                  <a:cubicBezTo>
                    <a:pt x="1083" y="191"/>
                    <a:pt x="1084" y="192"/>
                    <a:pt x="1085" y="194"/>
                  </a:cubicBezTo>
                  <a:cubicBezTo>
                    <a:pt x="1089" y="199"/>
                    <a:pt x="1089" y="203"/>
                    <a:pt x="1089" y="208"/>
                  </a:cubicBezTo>
                  <a:cubicBezTo>
                    <a:pt x="1089" y="209"/>
                    <a:pt x="1089" y="209"/>
                    <a:pt x="1089" y="209"/>
                  </a:cubicBezTo>
                  <a:cubicBezTo>
                    <a:pt x="1088" y="209"/>
                    <a:pt x="1088" y="209"/>
                    <a:pt x="1088" y="209"/>
                  </a:cubicBezTo>
                  <a:cubicBezTo>
                    <a:pt x="1087" y="211"/>
                    <a:pt x="1086" y="212"/>
                    <a:pt x="1084" y="212"/>
                  </a:cubicBezTo>
                  <a:cubicBezTo>
                    <a:pt x="1071" y="211"/>
                    <a:pt x="1071" y="211"/>
                    <a:pt x="1071" y="211"/>
                  </a:cubicBezTo>
                  <a:cubicBezTo>
                    <a:pt x="1070" y="211"/>
                    <a:pt x="1068" y="211"/>
                    <a:pt x="1066" y="211"/>
                  </a:cubicBezTo>
                  <a:cubicBezTo>
                    <a:pt x="1064" y="211"/>
                    <a:pt x="1061" y="211"/>
                    <a:pt x="1059" y="211"/>
                  </a:cubicBezTo>
                  <a:cubicBezTo>
                    <a:pt x="1057" y="211"/>
                    <a:pt x="1055" y="211"/>
                    <a:pt x="1053" y="211"/>
                  </a:cubicBezTo>
                  <a:cubicBezTo>
                    <a:pt x="1047" y="213"/>
                    <a:pt x="1042" y="215"/>
                    <a:pt x="1036" y="218"/>
                  </a:cubicBezTo>
                  <a:cubicBezTo>
                    <a:pt x="1029" y="220"/>
                    <a:pt x="1029" y="220"/>
                    <a:pt x="1029" y="220"/>
                  </a:cubicBezTo>
                  <a:cubicBezTo>
                    <a:pt x="1028" y="220"/>
                    <a:pt x="1027" y="221"/>
                    <a:pt x="1026" y="221"/>
                  </a:cubicBezTo>
                  <a:cubicBezTo>
                    <a:pt x="1023" y="220"/>
                    <a:pt x="1023" y="220"/>
                    <a:pt x="1023" y="220"/>
                  </a:cubicBezTo>
                  <a:cubicBezTo>
                    <a:pt x="1021" y="220"/>
                    <a:pt x="1020" y="220"/>
                    <a:pt x="1018" y="220"/>
                  </a:cubicBezTo>
                  <a:cubicBezTo>
                    <a:pt x="1014" y="220"/>
                    <a:pt x="1011" y="221"/>
                    <a:pt x="1009" y="223"/>
                  </a:cubicBezTo>
                  <a:cubicBezTo>
                    <a:pt x="1005" y="227"/>
                    <a:pt x="1003" y="230"/>
                    <a:pt x="1003" y="232"/>
                  </a:cubicBezTo>
                  <a:cubicBezTo>
                    <a:pt x="1003" y="232"/>
                    <a:pt x="1003" y="232"/>
                    <a:pt x="1003" y="232"/>
                  </a:cubicBezTo>
                  <a:cubicBezTo>
                    <a:pt x="1004" y="234"/>
                    <a:pt x="1004" y="235"/>
                    <a:pt x="1003" y="237"/>
                  </a:cubicBezTo>
                  <a:cubicBezTo>
                    <a:pt x="1002" y="238"/>
                    <a:pt x="1001" y="239"/>
                    <a:pt x="1001" y="239"/>
                  </a:cubicBezTo>
                  <a:cubicBezTo>
                    <a:pt x="999" y="240"/>
                    <a:pt x="998" y="241"/>
                    <a:pt x="998" y="241"/>
                  </a:cubicBezTo>
                  <a:cubicBezTo>
                    <a:pt x="997" y="242"/>
                    <a:pt x="997" y="242"/>
                    <a:pt x="997" y="242"/>
                  </a:cubicBezTo>
                  <a:cubicBezTo>
                    <a:pt x="996" y="242"/>
                    <a:pt x="996" y="242"/>
                    <a:pt x="996" y="242"/>
                  </a:cubicBezTo>
                  <a:cubicBezTo>
                    <a:pt x="995" y="243"/>
                    <a:pt x="995" y="243"/>
                    <a:pt x="995" y="243"/>
                  </a:cubicBezTo>
                  <a:cubicBezTo>
                    <a:pt x="994" y="243"/>
                    <a:pt x="993" y="243"/>
                    <a:pt x="993" y="244"/>
                  </a:cubicBezTo>
                  <a:cubicBezTo>
                    <a:pt x="992" y="244"/>
                    <a:pt x="992" y="244"/>
                    <a:pt x="992" y="244"/>
                  </a:cubicBezTo>
                  <a:cubicBezTo>
                    <a:pt x="991" y="245"/>
                    <a:pt x="991" y="245"/>
                    <a:pt x="991" y="245"/>
                  </a:cubicBezTo>
                  <a:cubicBezTo>
                    <a:pt x="991" y="245"/>
                    <a:pt x="990" y="246"/>
                    <a:pt x="990" y="246"/>
                  </a:cubicBezTo>
                  <a:cubicBezTo>
                    <a:pt x="988" y="247"/>
                    <a:pt x="987" y="247"/>
                    <a:pt x="985" y="247"/>
                  </a:cubicBezTo>
                  <a:cubicBezTo>
                    <a:pt x="971" y="248"/>
                    <a:pt x="971" y="248"/>
                    <a:pt x="971" y="248"/>
                  </a:cubicBezTo>
                  <a:cubicBezTo>
                    <a:pt x="971" y="248"/>
                    <a:pt x="971" y="248"/>
                    <a:pt x="971" y="248"/>
                  </a:cubicBezTo>
                  <a:cubicBezTo>
                    <a:pt x="970" y="248"/>
                    <a:pt x="969" y="248"/>
                    <a:pt x="969" y="248"/>
                  </a:cubicBezTo>
                  <a:cubicBezTo>
                    <a:pt x="968" y="248"/>
                    <a:pt x="967" y="248"/>
                    <a:pt x="967" y="248"/>
                  </a:cubicBezTo>
                  <a:cubicBezTo>
                    <a:pt x="966" y="248"/>
                    <a:pt x="965" y="248"/>
                    <a:pt x="965" y="248"/>
                  </a:cubicBezTo>
                  <a:cubicBezTo>
                    <a:pt x="965" y="248"/>
                    <a:pt x="965" y="248"/>
                    <a:pt x="965" y="248"/>
                  </a:cubicBezTo>
                  <a:cubicBezTo>
                    <a:pt x="964" y="249"/>
                    <a:pt x="963" y="249"/>
                    <a:pt x="963" y="250"/>
                  </a:cubicBezTo>
                  <a:cubicBezTo>
                    <a:pt x="963" y="250"/>
                    <a:pt x="963" y="250"/>
                    <a:pt x="963" y="250"/>
                  </a:cubicBezTo>
                  <a:cubicBezTo>
                    <a:pt x="962" y="251"/>
                    <a:pt x="962" y="251"/>
                    <a:pt x="962" y="251"/>
                  </a:cubicBezTo>
                  <a:cubicBezTo>
                    <a:pt x="965" y="254"/>
                    <a:pt x="965" y="254"/>
                    <a:pt x="965" y="254"/>
                  </a:cubicBezTo>
                  <a:cubicBezTo>
                    <a:pt x="961" y="252"/>
                    <a:pt x="961" y="252"/>
                    <a:pt x="961" y="252"/>
                  </a:cubicBezTo>
                  <a:cubicBezTo>
                    <a:pt x="961" y="252"/>
                    <a:pt x="961" y="252"/>
                    <a:pt x="961" y="252"/>
                  </a:cubicBezTo>
                  <a:cubicBezTo>
                    <a:pt x="957" y="256"/>
                    <a:pt x="953" y="259"/>
                    <a:pt x="948" y="263"/>
                  </a:cubicBezTo>
                  <a:cubicBezTo>
                    <a:pt x="947" y="263"/>
                    <a:pt x="946" y="264"/>
                    <a:pt x="946" y="264"/>
                  </a:cubicBezTo>
                  <a:cubicBezTo>
                    <a:pt x="944" y="265"/>
                    <a:pt x="944" y="265"/>
                    <a:pt x="944" y="265"/>
                  </a:cubicBezTo>
                  <a:cubicBezTo>
                    <a:pt x="941" y="267"/>
                    <a:pt x="939" y="267"/>
                    <a:pt x="937" y="268"/>
                  </a:cubicBezTo>
                  <a:cubicBezTo>
                    <a:pt x="935" y="268"/>
                    <a:pt x="934" y="267"/>
                    <a:pt x="933" y="267"/>
                  </a:cubicBezTo>
                  <a:cubicBezTo>
                    <a:pt x="933" y="267"/>
                    <a:pt x="932" y="267"/>
                    <a:pt x="932" y="267"/>
                  </a:cubicBezTo>
                  <a:cubicBezTo>
                    <a:pt x="930" y="267"/>
                    <a:pt x="928" y="266"/>
                    <a:pt x="926" y="266"/>
                  </a:cubicBezTo>
                  <a:cubicBezTo>
                    <a:pt x="924" y="265"/>
                    <a:pt x="923" y="264"/>
                    <a:pt x="922" y="264"/>
                  </a:cubicBezTo>
                  <a:cubicBezTo>
                    <a:pt x="922" y="264"/>
                    <a:pt x="922" y="264"/>
                    <a:pt x="922" y="264"/>
                  </a:cubicBezTo>
                  <a:cubicBezTo>
                    <a:pt x="918" y="262"/>
                    <a:pt x="915" y="260"/>
                    <a:pt x="911" y="259"/>
                  </a:cubicBezTo>
                  <a:cubicBezTo>
                    <a:pt x="910" y="259"/>
                    <a:pt x="910" y="259"/>
                    <a:pt x="910" y="259"/>
                  </a:cubicBezTo>
                  <a:cubicBezTo>
                    <a:pt x="909" y="258"/>
                    <a:pt x="907" y="258"/>
                    <a:pt x="906" y="258"/>
                  </a:cubicBezTo>
                  <a:cubicBezTo>
                    <a:pt x="904" y="258"/>
                    <a:pt x="903" y="258"/>
                    <a:pt x="902" y="258"/>
                  </a:cubicBezTo>
                  <a:cubicBezTo>
                    <a:pt x="901" y="258"/>
                    <a:pt x="901" y="258"/>
                    <a:pt x="901" y="258"/>
                  </a:cubicBezTo>
                  <a:cubicBezTo>
                    <a:pt x="901" y="258"/>
                    <a:pt x="901" y="258"/>
                    <a:pt x="901" y="258"/>
                  </a:cubicBezTo>
                  <a:cubicBezTo>
                    <a:pt x="900" y="259"/>
                    <a:pt x="899" y="260"/>
                    <a:pt x="899" y="260"/>
                  </a:cubicBezTo>
                  <a:cubicBezTo>
                    <a:pt x="899" y="260"/>
                    <a:pt x="899" y="260"/>
                    <a:pt x="899" y="260"/>
                  </a:cubicBezTo>
                  <a:cubicBezTo>
                    <a:pt x="897" y="262"/>
                    <a:pt x="895" y="263"/>
                    <a:pt x="895" y="264"/>
                  </a:cubicBezTo>
                  <a:cubicBezTo>
                    <a:pt x="894" y="267"/>
                    <a:pt x="893" y="269"/>
                    <a:pt x="892" y="272"/>
                  </a:cubicBezTo>
                  <a:cubicBezTo>
                    <a:pt x="890" y="275"/>
                    <a:pt x="890" y="275"/>
                    <a:pt x="890" y="275"/>
                  </a:cubicBezTo>
                  <a:cubicBezTo>
                    <a:pt x="890" y="275"/>
                    <a:pt x="890" y="275"/>
                    <a:pt x="890" y="275"/>
                  </a:cubicBezTo>
                  <a:cubicBezTo>
                    <a:pt x="890" y="276"/>
                    <a:pt x="890" y="276"/>
                    <a:pt x="890" y="276"/>
                  </a:cubicBezTo>
                  <a:cubicBezTo>
                    <a:pt x="891" y="277"/>
                    <a:pt x="892" y="280"/>
                    <a:pt x="893" y="281"/>
                  </a:cubicBezTo>
                  <a:cubicBezTo>
                    <a:pt x="894" y="282"/>
                    <a:pt x="894" y="283"/>
                    <a:pt x="895" y="283"/>
                  </a:cubicBezTo>
                  <a:cubicBezTo>
                    <a:pt x="895" y="284"/>
                    <a:pt x="896" y="284"/>
                    <a:pt x="896" y="284"/>
                  </a:cubicBezTo>
                  <a:cubicBezTo>
                    <a:pt x="898" y="285"/>
                    <a:pt x="899" y="286"/>
                    <a:pt x="900" y="288"/>
                  </a:cubicBezTo>
                  <a:cubicBezTo>
                    <a:pt x="901" y="290"/>
                    <a:pt x="901" y="290"/>
                    <a:pt x="901" y="290"/>
                  </a:cubicBezTo>
                  <a:cubicBezTo>
                    <a:pt x="903" y="293"/>
                    <a:pt x="902" y="296"/>
                    <a:pt x="898" y="298"/>
                  </a:cubicBezTo>
                  <a:cubicBezTo>
                    <a:pt x="895" y="300"/>
                    <a:pt x="892" y="302"/>
                    <a:pt x="888" y="304"/>
                  </a:cubicBezTo>
                  <a:cubicBezTo>
                    <a:pt x="886" y="305"/>
                    <a:pt x="886" y="305"/>
                    <a:pt x="886" y="305"/>
                  </a:cubicBezTo>
                  <a:cubicBezTo>
                    <a:pt x="883" y="306"/>
                    <a:pt x="880" y="307"/>
                    <a:pt x="878" y="309"/>
                  </a:cubicBezTo>
                  <a:cubicBezTo>
                    <a:pt x="876" y="311"/>
                    <a:pt x="874" y="313"/>
                    <a:pt x="872" y="316"/>
                  </a:cubicBezTo>
                  <a:cubicBezTo>
                    <a:pt x="872" y="316"/>
                    <a:pt x="872" y="316"/>
                    <a:pt x="872" y="316"/>
                  </a:cubicBezTo>
                  <a:cubicBezTo>
                    <a:pt x="871" y="317"/>
                    <a:pt x="870" y="319"/>
                    <a:pt x="869" y="320"/>
                  </a:cubicBezTo>
                  <a:cubicBezTo>
                    <a:pt x="867" y="322"/>
                    <a:pt x="865" y="324"/>
                    <a:pt x="863" y="325"/>
                  </a:cubicBezTo>
                  <a:cubicBezTo>
                    <a:pt x="861" y="325"/>
                    <a:pt x="858" y="327"/>
                    <a:pt x="856" y="328"/>
                  </a:cubicBezTo>
                  <a:cubicBezTo>
                    <a:pt x="853" y="329"/>
                    <a:pt x="853" y="329"/>
                    <a:pt x="853" y="329"/>
                  </a:cubicBezTo>
                  <a:cubicBezTo>
                    <a:pt x="850" y="330"/>
                    <a:pt x="850" y="330"/>
                    <a:pt x="850" y="330"/>
                  </a:cubicBezTo>
                  <a:cubicBezTo>
                    <a:pt x="848" y="331"/>
                    <a:pt x="845" y="332"/>
                    <a:pt x="844" y="333"/>
                  </a:cubicBezTo>
                  <a:cubicBezTo>
                    <a:pt x="840" y="334"/>
                    <a:pt x="836" y="334"/>
                    <a:pt x="833" y="334"/>
                  </a:cubicBezTo>
                  <a:cubicBezTo>
                    <a:pt x="832" y="334"/>
                    <a:pt x="831" y="334"/>
                    <a:pt x="830" y="334"/>
                  </a:cubicBezTo>
                  <a:cubicBezTo>
                    <a:pt x="829" y="334"/>
                    <a:pt x="829" y="334"/>
                    <a:pt x="829" y="334"/>
                  </a:cubicBezTo>
                  <a:cubicBezTo>
                    <a:pt x="828" y="334"/>
                    <a:pt x="826" y="334"/>
                    <a:pt x="825" y="334"/>
                  </a:cubicBezTo>
                  <a:cubicBezTo>
                    <a:pt x="824" y="334"/>
                    <a:pt x="824" y="334"/>
                    <a:pt x="824" y="334"/>
                  </a:cubicBezTo>
                  <a:cubicBezTo>
                    <a:pt x="823" y="334"/>
                    <a:pt x="822" y="334"/>
                    <a:pt x="821" y="334"/>
                  </a:cubicBezTo>
                  <a:cubicBezTo>
                    <a:pt x="816" y="334"/>
                    <a:pt x="816" y="334"/>
                    <a:pt x="816" y="334"/>
                  </a:cubicBezTo>
                  <a:cubicBezTo>
                    <a:pt x="813" y="334"/>
                    <a:pt x="810" y="334"/>
                    <a:pt x="806" y="335"/>
                  </a:cubicBezTo>
                  <a:cubicBezTo>
                    <a:pt x="801" y="335"/>
                    <a:pt x="801" y="335"/>
                    <a:pt x="801" y="335"/>
                  </a:cubicBezTo>
                  <a:cubicBezTo>
                    <a:pt x="799" y="336"/>
                    <a:pt x="797" y="336"/>
                    <a:pt x="795" y="336"/>
                  </a:cubicBezTo>
                  <a:cubicBezTo>
                    <a:pt x="793" y="336"/>
                    <a:pt x="793" y="336"/>
                    <a:pt x="793" y="336"/>
                  </a:cubicBezTo>
                  <a:cubicBezTo>
                    <a:pt x="788" y="337"/>
                    <a:pt x="783" y="337"/>
                    <a:pt x="778" y="338"/>
                  </a:cubicBezTo>
                  <a:cubicBezTo>
                    <a:pt x="777" y="339"/>
                    <a:pt x="777" y="339"/>
                    <a:pt x="777" y="339"/>
                  </a:cubicBezTo>
                  <a:cubicBezTo>
                    <a:pt x="777" y="339"/>
                    <a:pt x="777" y="339"/>
                    <a:pt x="777" y="339"/>
                  </a:cubicBezTo>
                  <a:cubicBezTo>
                    <a:pt x="778" y="342"/>
                    <a:pt x="778" y="342"/>
                    <a:pt x="778" y="342"/>
                  </a:cubicBezTo>
                  <a:cubicBezTo>
                    <a:pt x="776" y="339"/>
                    <a:pt x="776" y="339"/>
                    <a:pt x="776" y="339"/>
                  </a:cubicBezTo>
                  <a:cubicBezTo>
                    <a:pt x="775" y="339"/>
                    <a:pt x="775" y="339"/>
                    <a:pt x="775" y="339"/>
                  </a:cubicBezTo>
                  <a:cubicBezTo>
                    <a:pt x="775" y="339"/>
                    <a:pt x="775" y="339"/>
                    <a:pt x="775" y="339"/>
                  </a:cubicBezTo>
                  <a:cubicBezTo>
                    <a:pt x="771" y="341"/>
                    <a:pt x="767" y="343"/>
                    <a:pt x="763" y="344"/>
                  </a:cubicBezTo>
                  <a:cubicBezTo>
                    <a:pt x="760" y="346"/>
                    <a:pt x="760" y="346"/>
                    <a:pt x="760" y="346"/>
                  </a:cubicBezTo>
                  <a:cubicBezTo>
                    <a:pt x="758" y="346"/>
                    <a:pt x="756" y="347"/>
                    <a:pt x="755" y="348"/>
                  </a:cubicBezTo>
                  <a:cubicBezTo>
                    <a:pt x="751" y="349"/>
                    <a:pt x="747" y="351"/>
                    <a:pt x="744" y="353"/>
                  </a:cubicBezTo>
                  <a:cubicBezTo>
                    <a:pt x="743" y="353"/>
                    <a:pt x="743" y="353"/>
                    <a:pt x="743" y="353"/>
                  </a:cubicBezTo>
                  <a:cubicBezTo>
                    <a:pt x="741" y="354"/>
                    <a:pt x="740" y="355"/>
                    <a:pt x="739" y="356"/>
                  </a:cubicBezTo>
                  <a:cubicBezTo>
                    <a:pt x="738" y="357"/>
                    <a:pt x="738" y="357"/>
                    <a:pt x="738" y="357"/>
                  </a:cubicBezTo>
                  <a:cubicBezTo>
                    <a:pt x="737" y="357"/>
                    <a:pt x="736" y="358"/>
                    <a:pt x="734" y="358"/>
                  </a:cubicBezTo>
                  <a:cubicBezTo>
                    <a:pt x="734" y="358"/>
                    <a:pt x="734" y="358"/>
                    <a:pt x="734" y="358"/>
                  </a:cubicBezTo>
                  <a:cubicBezTo>
                    <a:pt x="732" y="357"/>
                    <a:pt x="729" y="357"/>
                    <a:pt x="728" y="357"/>
                  </a:cubicBezTo>
                  <a:cubicBezTo>
                    <a:pt x="727" y="357"/>
                    <a:pt x="726" y="357"/>
                    <a:pt x="726" y="356"/>
                  </a:cubicBezTo>
                  <a:cubicBezTo>
                    <a:pt x="726" y="356"/>
                    <a:pt x="725" y="356"/>
                    <a:pt x="724" y="356"/>
                  </a:cubicBezTo>
                  <a:cubicBezTo>
                    <a:pt x="724" y="355"/>
                    <a:pt x="724" y="355"/>
                    <a:pt x="724" y="355"/>
                  </a:cubicBezTo>
                  <a:cubicBezTo>
                    <a:pt x="720" y="359"/>
                    <a:pt x="720" y="359"/>
                    <a:pt x="720" y="359"/>
                  </a:cubicBezTo>
                  <a:cubicBezTo>
                    <a:pt x="722" y="354"/>
                    <a:pt x="722" y="354"/>
                    <a:pt x="722" y="354"/>
                  </a:cubicBezTo>
                  <a:cubicBezTo>
                    <a:pt x="722" y="354"/>
                    <a:pt x="722" y="354"/>
                    <a:pt x="721" y="353"/>
                  </a:cubicBezTo>
                  <a:cubicBezTo>
                    <a:pt x="721" y="353"/>
                    <a:pt x="721" y="353"/>
                    <a:pt x="721" y="353"/>
                  </a:cubicBezTo>
                  <a:cubicBezTo>
                    <a:pt x="717" y="355"/>
                    <a:pt x="717" y="355"/>
                    <a:pt x="717" y="355"/>
                  </a:cubicBezTo>
                  <a:cubicBezTo>
                    <a:pt x="720" y="352"/>
                    <a:pt x="720" y="352"/>
                    <a:pt x="720" y="352"/>
                  </a:cubicBezTo>
                  <a:cubicBezTo>
                    <a:pt x="720" y="351"/>
                    <a:pt x="720" y="351"/>
                    <a:pt x="720" y="351"/>
                  </a:cubicBezTo>
                  <a:cubicBezTo>
                    <a:pt x="719" y="351"/>
                    <a:pt x="719" y="351"/>
                    <a:pt x="719" y="351"/>
                  </a:cubicBezTo>
                  <a:cubicBezTo>
                    <a:pt x="718" y="351"/>
                    <a:pt x="716" y="351"/>
                    <a:pt x="715" y="352"/>
                  </a:cubicBezTo>
                  <a:cubicBezTo>
                    <a:pt x="714" y="352"/>
                    <a:pt x="714" y="352"/>
                    <a:pt x="714" y="352"/>
                  </a:cubicBezTo>
                  <a:cubicBezTo>
                    <a:pt x="713" y="352"/>
                    <a:pt x="713" y="352"/>
                    <a:pt x="712" y="352"/>
                  </a:cubicBezTo>
                  <a:cubicBezTo>
                    <a:pt x="711" y="352"/>
                    <a:pt x="710" y="352"/>
                    <a:pt x="709" y="352"/>
                  </a:cubicBezTo>
                  <a:cubicBezTo>
                    <a:pt x="707" y="352"/>
                    <a:pt x="706" y="352"/>
                    <a:pt x="704" y="352"/>
                  </a:cubicBezTo>
                  <a:cubicBezTo>
                    <a:pt x="701" y="351"/>
                    <a:pt x="698" y="350"/>
                    <a:pt x="695" y="349"/>
                  </a:cubicBezTo>
                  <a:cubicBezTo>
                    <a:pt x="692" y="347"/>
                    <a:pt x="689" y="346"/>
                    <a:pt x="686" y="346"/>
                  </a:cubicBezTo>
                  <a:cubicBezTo>
                    <a:pt x="683" y="345"/>
                    <a:pt x="680" y="344"/>
                    <a:pt x="675" y="343"/>
                  </a:cubicBezTo>
                  <a:cubicBezTo>
                    <a:pt x="664" y="340"/>
                    <a:pt x="664" y="340"/>
                    <a:pt x="664" y="340"/>
                  </a:cubicBezTo>
                  <a:cubicBezTo>
                    <a:pt x="664" y="340"/>
                    <a:pt x="663" y="340"/>
                    <a:pt x="663" y="340"/>
                  </a:cubicBezTo>
                  <a:cubicBezTo>
                    <a:pt x="662" y="339"/>
                    <a:pt x="662" y="339"/>
                    <a:pt x="662" y="339"/>
                  </a:cubicBezTo>
                  <a:cubicBezTo>
                    <a:pt x="662" y="339"/>
                    <a:pt x="661" y="338"/>
                    <a:pt x="661" y="337"/>
                  </a:cubicBezTo>
                  <a:cubicBezTo>
                    <a:pt x="660" y="336"/>
                    <a:pt x="660" y="335"/>
                    <a:pt x="659" y="334"/>
                  </a:cubicBezTo>
                  <a:cubicBezTo>
                    <a:pt x="658" y="334"/>
                    <a:pt x="658" y="334"/>
                    <a:pt x="658" y="334"/>
                  </a:cubicBezTo>
                  <a:cubicBezTo>
                    <a:pt x="658" y="334"/>
                    <a:pt x="656" y="333"/>
                    <a:pt x="655" y="333"/>
                  </a:cubicBezTo>
                  <a:cubicBezTo>
                    <a:pt x="654" y="333"/>
                    <a:pt x="653" y="333"/>
                    <a:pt x="653" y="333"/>
                  </a:cubicBezTo>
                  <a:cubicBezTo>
                    <a:pt x="620" y="327"/>
                    <a:pt x="620" y="327"/>
                    <a:pt x="620" y="327"/>
                  </a:cubicBezTo>
                  <a:cubicBezTo>
                    <a:pt x="620" y="327"/>
                    <a:pt x="619" y="327"/>
                    <a:pt x="619" y="327"/>
                  </a:cubicBezTo>
                  <a:cubicBezTo>
                    <a:pt x="618" y="327"/>
                    <a:pt x="618" y="327"/>
                    <a:pt x="618" y="327"/>
                  </a:cubicBezTo>
                  <a:cubicBezTo>
                    <a:pt x="617" y="327"/>
                    <a:pt x="616" y="327"/>
                    <a:pt x="615" y="328"/>
                  </a:cubicBezTo>
                  <a:cubicBezTo>
                    <a:pt x="614" y="328"/>
                    <a:pt x="614" y="328"/>
                    <a:pt x="614" y="328"/>
                  </a:cubicBezTo>
                  <a:cubicBezTo>
                    <a:pt x="613" y="329"/>
                    <a:pt x="611" y="329"/>
                    <a:pt x="610" y="330"/>
                  </a:cubicBezTo>
                  <a:cubicBezTo>
                    <a:pt x="610" y="330"/>
                    <a:pt x="610" y="330"/>
                    <a:pt x="610" y="330"/>
                  </a:cubicBezTo>
                  <a:cubicBezTo>
                    <a:pt x="609" y="330"/>
                    <a:pt x="609" y="330"/>
                    <a:pt x="608" y="330"/>
                  </a:cubicBezTo>
                  <a:cubicBezTo>
                    <a:pt x="607" y="330"/>
                    <a:pt x="607" y="330"/>
                    <a:pt x="607" y="330"/>
                  </a:cubicBezTo>
                  <a:cubicBezTo>
                    <a:pt x="597" y="329"/>
                    <a:pt x="587" y="329"/>
                    <a:pt x="577" y="328"/>
                  </a:cubicBezTo>
                  <a:cubicBezTo>
                    <a:pt x="576" y="328"/>
                    <a:pt x="575" y="328"/>
                    <a:pt x="574" y="328"/>
                  </a:cubicBezTo>
                  <a:cubicBezTo>
                    <a:pt x="570" y="327"/>
                    <a:pt x="570" y="327"/>
                    <a:pt x="570" y="327"/>
                  </a:cubicBezTo>
                  <a:cubicBezTo>
                    <a:pt x="568" y="327"/>
                    <a:pt x="567" y="327"/>
                    <a:pt x="566" y="327"/>
                  </a:cubicBezTo>
                  <a:cubicBezTo>
                    <a:pt x="561" y="326"/>
                    <a:pt x="561" y="326"/>
                    <a:pt x="561" y="326"/>
                  </a:cubicBezTo>
                  <a:cubicBezTo>
                    <a:pt x="557" y="325"/>
                    <a:pt x="554" y="324"/>
                    <a:pt x="550" y="324"/>
                  </a:cubicBezTo>
                  <a:cubicBezTo>
                    <a:pt x="549" y="324"/>
                    <a:pt x="548" y="324"/>
                    <a:pt x="547" y="325"/>
                  </a:cubicBezTo>
                  <a:cubicBezTo>
                    <a:pt x="545" y="325"/>
                    <a:pt x="543" y="325"/>
                    <a:pt x="540" y="325"/>
                  </a:cubicBezTo>
                  <a:cubicBezTo>
                    <a:pt x="529" y="326"/>
                    <a:pt x="529" y="326"/>
                    <a:pt x="529" y="326"/>
                  </a:cubicBezTo>
                  <a:cubicBezTo>
                    <a:pt x="530" y="323"/>
                    <a:pt x="530" y="323"/>
                    <a:pt x="530" y="323"/>
                  </a:cubicBezTo>
                  <a:cubicBezTo>
                    <a:pt x="530" y="323"/>
                    <a:pt x="530" y="323"/>
                    <a:pt x="530" y="323"/>
                  </a:cubicBezTo>
                  <a:cubicBezTo>
                    <a:pt x="530" y="322"/>
                    <a:pt x="530" y="322"/>
                    <a:pt x="530" y="322"/>
                  </a:cubicBezTo>
                  <a:cubicBezTo>
                    <a:pt x="529" y="321"/>
                    <a:pt x="529" y="321"/>
                    <a:pt x="529" y="321"/>
                  </a:cubicBezTo>
                  <a:cubicBezTo>
                    <a:pt x="529" y="321"/>
                    <a:pt x="529" y="321"/>
                    <a:pt x="529" y="321"/>
                  </a:cubicBezTo>
                  <a:cubicBezTo>
                    <a:pt x="529" y="320"/>
                    <a:pt x="529" y="320"/>
                    <a:pt x="529" y="320"/>
                  </a:cubicBezTo>
                  <a:cubicBezTo>
                    <a:pt x="528" y="320"/>
                    <a:pt x="528" y="320"/>
                    <a:pt x="528" y="320"/>
                  </a:cubicBezTo>
                  <a:cubicBezTo>
                    <a:pt x="528" y="319"/>
                    <a:pt x="528" y="319"/>
                    <a:pt x="528" y="319"/>
                  </a:cubicBezTo>
                  <a:cubicBezTo>
                    <a:pt x="527" y="318"/>
                    <a:pt x="526" y="318"/>
                    <a:pt x="526" y="317"/>
                  </a:cubicBezTo>
                  <a:cubicBezTo>
                    <a:pt x="525" y="317"/>
                    <a:pt x="525" y="317"/>
                    <a:pt x="525" y="317"/>
                  </a:cubicBezTo>
                  <a:cubicBezTo>
                    <a:pt x="522" y="314"/>
                    <a:pt x="520" y="311"/>
                    <a:pt x="518" y="307"/>
                  </a:cubicBezTo>
                  <a:cubicBezTo>
                    <a:pt x="513" y="294"/>
                    <a:pt x="513" y="294"/>
                    <a:pt x="513" y="294"/>
                  </a:cubicBezTo>
                  <a:cubicBezTo>
                    <a:pt x="513" y="294"/>
                    <a:pt x="512" y="293"/>
                    <a:pt x="512" y="293"/>
                  </a:cubicBezTo>
                  <a:cubicBezTo>
                    <a:pt x="511" y="290"/>
                    <a:pt x="511" y="290"/>
                    <a:pt x="511" y="290"/>
                  </a:cubicBezTo>
                  <a:cubicBezTo>
                    <a:pt x="511" y="290"/>
                    <a:pt x="511" y="290"/>
                    <a:pt x="511" y="290"/>
                  </a:cubicBezTo>
                  <a:cubicBezTo>
                    <a:pt x="511" y="290"/>
                    <a:pt x="511" y="290"/>
                    <a:pt x="511" y="290"/>
                  </a:cubicBezTo>
                  <a:cubicBezTo>
                    <a:pt x="511" y="290"/>
                    <a:pt x="511" y="290"/>
                    <a:pt x="511" y="290"/>
                  </a:cubicBezTo>
                  <a:cubicBezTo>
                    <a:pt x="510" y="290"/>
                    <a:pt x="510" y="290"/>
                    <a:pt x="510" y="290"/>
                  </a:cubicBezTo>
                  <a:cubicBezTo>
                    <a:pt x="509" y="289"/>
                    <a:pt x="509" y="289"/>
                    <a:pt x="509" y="289"/>
                  </a:cubicBezTo>
                  <a:cubicBezTo>
                    <a:pt x="509" y="289"/>
                    <a:pt x="509" y="289"/>
                    <a:pt x="509" y="289"/>
                  </a:cubicBezTo>
                  <a:cubicBezTo>
                    <a:pt x="509" y="289"/>
                    <a:pt x="509" y="289"/>
                    <a:pt x="509" y="289"/>
                  </a:cubicBezTo>
                  <a:cubicBezTo>
                    <a:pt x="507" y="288"/>
                    <a:pt x="506" y="287"/>
                    <a:pt x="506" y="286"/>
                  </a:cubicBezTo>
                  <a:cubicBezTo>
                    <a:pt x="506" y="285"/>
                    <a:pt x="506" y="285"/>
                    <a:pt x="506" y="285"/>
                  </a:cubicBezTo>
                  <a:cubicBezTo>
                    <a:pt x="506" y="284"/>
                    <a:pt x="506" y="282"/>
                    <a:pt x="506" y="282"/>
                  </a:cubicBezTo>
                  <a:cubicBezTo>
                    <a:pt x="505" y="282"/>
                    <a:pt x="504" y="282"/>
                    <a:pt x="503" y="282"/>
                  </a:cubicBezTo>
                  <a:cubicBezTo>
                    <a:pt x="502" y="282"/>
                    <a:pt x="500" y="281"/>
                    <a:pt x="498" y="281"/>
                  </a:cubicBezTo>
                  <a:cubicBezTo>
                    <a:pt x="493" y="279"/>
                    <a:pt x="489" y="276"/>
                    <a:pt x="485" y="274"/>
                  </a:cubicBezTo>
                  <a:cubicBezTo>
                    <a:pt x="484" y="273"/>
                    <a:pt x="484" y="273"/>
                    <a:pt x="484" y="273"/>
                  </a:cubicBezTo>
                  <a:cubicBezTo>
                    <a:pt x="483" y="273"/>
                    <a:pt x="483" y="272"/>
                    <a:pt x="482" y="272"/>
                  </a:cubicBezTo>
                  <a:cubicBezTo>
                    <a:pt x="466" y="262"/>
                    <a:pt x="466" y="262"/>
                    <a:pt x="466" y="262"/>
                  </a:cubicBezTo>
                  <a:cubicBezTo>
                    <a:pt x="464" y="261"/>
                    <a:pt x="463" y="261"/>
                    <a:pt x="461" y="261"/>
                  </a:cubicBezTo>
                  <a:cubicBezTo>
                    <a:pt x="460" y="261"/>
                    <a:pt x="460" y="261"/>
                    <a:pt x="460" y="261"/>
                  </a:cubicBezTo>
                  <a:cubicBezTo>
                    <a:pt x="459" y="261"/>
                    <a:pt x="458" y="261"/>
                    <a:pt x="457" y="261"/>
                  </a:cubicBezTo>
                  <a:cubicBezTo>
                    <a:pt x="448" y="260"/>
                    <a:pt x="439" y="259"/>
                    <a:pt x="431" y="258"/>
                  </a:cubicBezTo>
                  <a:cubicBezTo>
                    <a:pt x="428" y="258"/>
                    <a:pt x="428" y="258"/>
                    <a:pt x="428" y="258"/>
                  </a:cubicBezTo>
                  <a:cubicBezTo>
                    <a:pt x="424" y="258"/>
                    <a:pt x="420" y="257"/>
                    <a:pt x="416" y="257"/>
                  </a:cubicBezTo>
                  <a:cubicBezTo>
                    <a:pt x="412" y="256"/>
                    <a:pt x="409" y="256"/>
                    <a:pt x="406" y="255"/>
                  </a:cubicBezTo>
                  <a:cubicBezTo>
                    <a:pt x="405" y="255"/>
                    <a:pt x="405" y="255"/>
                    <a:pt x="405" y="255"/>
                  </a:cubicBezTo>
                  <a:cubicBezTo>
                    <a:pt x="404" y="255"/>
                    <a:pt x="404" y="255"/>
                    <a:pt x="404" y="255"/>
                  </a:cubicBezTo>
                  <a:cubicBezTo>
                    <a:pt x="402" y="254"/>
                    <a:pt x="402" y="253"/>
                    <a:pt x="401" y="252"/>
                  </a:cubicBezTo>
                  <a:cubicBezTo>
                    <a:pt x="400" y="251"/>
                    <a:pt x="398" y="248"/>
                    <a:pt x="397" y="246"/>
                  </a:cubicBezTo>
                  <a:cubicBezTo>
                    <a:pt x="395" y="242"/>
                    <a:pt x="397" y="239"/>
                    <a:pt x="399" y="236"/>
                  </a:cubicBezTo>
                  <a:cubicBezTo>
                    <a:pt x="399" y="236"/>
                    <a:pt x="399" y="236"/>
                    <a:pt x="399" y="236"/>
                  </a:cubicBezTo>
                  <a:cubicBezTo>
                    <a:pt x="399" y="236"/>
                    <a:pt x="400" y="235"/>
                    <a:pt x="400" y="234"/>
                  </a:cubicBezTo>
                  <a:cubicBezTo>
                    <a:pt x="400" y="234"/>
                    <a:pt x="401" y="234"/>
                    <a:pt x="401" y="233"/>
                  </a:cubicBezTo>
                  <a:cubicBezTo>
                    <a:pt x="401" y="232"/>
                    <a:pt x="401" y="232"/>
                    <a:pt x="401" y="232"/>
                  </a:cubicBezTo>
                  <a:cubicBezTo>
                    <a:pt x="402" y="231"/>
                    <a:pt x="402" y="230"/>
                    <a:pt x="403" y="229"/>
                  </a:cubicBezTo>
                  <a:cubicBezTo>
                    <a:pt x="403" y="229"/>
                    <a:pt x="403" y="229"/>
                    <a:pt x="403" y="229"/>
                  </a:cubicBezTo>
                  <a:cubicBezTo>
                    <a:pt x="403" y="228"/>
                    <a:pt x="404" y="228"/>
                    <a:pt x="404" y="227"/>
                  </a:cubicBezTo>
                  <a:cubicBezTo>
                    <a:pt x="404" y="227"/>
                    <a:pt x="404" y="226"/>
                    <a:pt x="404" y="226"/>
                  </a:cubicBezTo>
                  <a:cubicBezTo>
                    <a:pt x="404" y="225"/>
                    <a:pt x="404" y="225"/>
                    <a:pt x="404" y="225"/>
                  </a:cubicBezTo>
                  <a:cubicBezTo>
                    <a:pt x="404" y="225"/>
                    <a:pt x="404" y="225"/>
                    <a:pt x="404" y="225"/>
                  </a:cubicBezTo>
                  <a:cubicBezTo>
                    <a:pt x="404" y="221"/>
                    <a:pt x="403" y="218"/>
                    <a:pt x="404" y="214"/>
                  </a:cubicBezTo>
                  <a:cubicBezTo>
                    <a:pt x="404" y="212"/>
                    <a:pt x="404" y="212"/>
                    <a:pt x="404" y="212"/>
                  </a:cubicBezTo>
                  <a:cubicBezTo>
                    <a:pt x="404" y="211"/>
                    <a:pt x="404" y="209"/>
                    <a:pt x="404" y="209"/>
                  </a:cubicBezTo>
                  <a:cubicBezTo>
                    <a:pt x="403" y="208"/>
                    <a:pt x="403" y="208"/>
                    <a:pt x="403" y="208"/>
                  </a:cubicBezTo>
                  <a:cubicBezTo>
                    <a:pt x="402" y="205"/>
                    <a:pt x="400" y="203"/>
                    <a:pt x="399" y="201"/>
                  </a:cubicBezTo>
                  <a:cubicBezTo>
                    <a:pt x="395" y="195"/>
                    <a:pt x="395" y="195"/>
                    <a:pt x="395" y="195"/>
                  </a:cubicBezTo>
                  <a:cubicBezTo>
                    <a:pt x="394" y="193"/>
                    <a:pt x="392" y="191"/>
                    <a:pt x="391" y="189"/>
                  </a:cubicBezTo>
                  <a:cubicBezTo>
                    <a:pt x="391" y="188"/>
                    <a:pt x="391" y="188"/>
                    <a:pt x="391" y="187"/>
                  </a:cubicBezTo>
                  <a:cubicBezTo>
                    <a:pt x="391" y="187"/>
                    <a:pt x="391" y="187"/>
                    <a:pt x="391" y="187"/>
                  </a:cubicBezTo>
                  <a:cubicBezTo>
                    <a:pt x="390" y="185"/>
                    <a:pt x="390" y="182"/>
                    <a:pt x="389" y="181"/>
                  </a:cubicBezTo>
                  <a:cubicBezTo>
                    <a:pt x="388" y="181"/>
                    <a:pt x="387" y="180"/>
                    <a:pt x="387" y="180"/>
                  </a:cubicBezTo>
                  <a:cubicBezTo>
                    <a:pt x="385" y="178"/>
                    <a:pt x="384" y="177"/>
                    <a:pt x="383" y="177"/>
                  </a:cubicBezTo>
                  <a:cubicBezTo>
                    <a:pt x="382" y="177"/>
                    <a:pt x="382" y="177"/>
                    <a:pt x="382" y="177"/>
                  </a:cubicBezTo>
                  <a:cubicBezTo>
                    <a:pt x="382" y="177"/>
                    <a:pt x="381" y="177"/>
                    <a:pt x="381" y="177"/>
                  </a:cubicBezTo>
                  <a:cubicBezTo>
                    <a:pt x="377" y="177"/>
                    <a:pt x="374" y="175"/>
                    <a:pt x="371" y="172"/>
                  </a:cubicBezTo>
                  <a:cubicBezTo>
                    <a:pt x="370" y="172"/>
                    <a:pt x="370" y="172"/>
                    <a:pt x="370" y="172"/>
                  </a:cubicBezTo>
                  <a:cubicBezTo>
                    <a:pt x="370" y="172"/>
                    <a:pt x="370" y="171"/>
                    <a:pt x="369" y="171"/>
                  </a:cubicBezTo>
                  <a:cubicBezTo>
                    <a:pt x="369" y="171"/>
                    <a:pt x="368" y="172"/>
                    <a:pt x="367" y="172"/>
                  </a:cubicBezTo>
                  <a:cubicBezTo>
                    <a:pt x="367" y="172"/>
                    <a:pt x="365" y="172"/>
                    <a:pt x="364" y="172"/>
                  </a:cubicBezTo>
                  <a:cubicBezTo>
                    <a:pt x="363" y="172"/>
                    <a:pt x="363" y="172"/>
                    <a:pt x="363" y="172"/>
                  </a:cubicBezTo>
                  <a:cubicBezTo>
                    <a:pt x="362" y="172"/>
                    <a:pt x="361" y="172"/>
                    <a:pt x="360" y="172"/>
                  </a:cubicBezTo>
                  <a:cubicBezTo>
                    <a:pt x="360" y="171"/>
                    <a:pt x="359" y="171"/>
                    <a:pt x="358" y="171"/>
                  </a:cubicBezTo>
                  <a:cubicBezTo>
                    <a:pt x="358" y="171"/>
                    <a:pt x="357" y="170"/>
                    <a:pt x="357" y="170"/>
                  </a:cubicBezTo>
                  <a:cubicBezTo>
                    <a:pt x="356" y="170"/>
                    <a:pt x="356" y="170"/>
                    <a:pt x="356" y="170"/>
                  </a:cubicBezTo>
                  <a:cubicBezTo>
                    <a:pt x="352" y="167"/>
                    <a:pt x="350" y="166"/>
                    <a:pt x="348" y="161"/>
                  </a:cubicBezTo>
                  <a:cubicBezTo>
                    <a:pt x="347" y="160"/>
                    <a:pt x="344" y="159"/>
                    <a:pt x="342" y="158"/>
                  </a:cubicBezTo>
                  <a:cubicBezTo>
                    <a:pt x="341" y="157"/>
                    <a:pt x="341" y="157"/>
                    <a:pt x="340" y="157"/>
                  </a:cubicBezTo>
                  <a:cubicBezTo>
                    <a:pt x="338" y="156"/>
                    <a:pt x="338" y="156"/>
                    <a:pt x="338" y="156"/>
                  </a:cubicBezTo>
                  <a:cubicBezTo>
                    <a:pt x="338" y="156"/>
                    <a:pt x="337" y="156"/>
                    <a:pt x="337" y="156"/>
                  </a:cubicBezTo>
                  <a:cubicBezTo>
                    <a:pt x="336" y="156"/>
                    <a:pt x="336" y="156"/>
                    <a:pt x="336" y="155"/>
                  </a:cubicBezTo>
                  <a:cubicBezTo>
                    <a:pt x="334" y="155"/>
                    <a:pt x="333" y="154"/>
                    <a:pt x="333" y="153"/>
                  </a:cubicBezTo>
                  <a:cubicBezTo>
                    <a:pt x="332" y="152"/>
                    <a:pt x="333" y="150"/>
                    <a:pt x="333" y="149"/>
                  </a:cubicBezTo>
                  <a:cubicBezTo>
                    <a:pt x="333" y="149"/>
                    <a:pt x="333" y="149"/>
                    <a:pt x="333" y="149"/>
                  </a:cubicBezTo>
                  <a:cubicBezTo>
                    <a:pt x="332" y="149"/>
                    <a:pt x="331" y="148"/>
                    <a:pt x="330" y="147"/>
                  </a:cubicBezTo>
                  <a:cubicBezTo>
                    <a:pt x="329" y="147"/>
                    <a:pt x="329" y="146"/>
                    <a:pt x="328" y="145"/>
                  </a:cubicBezTo>
                  <a:cubicBezTo>
                    <a:pt x="327" y="143"/>
                    <a:pt x="328" y="142"/>
                    <a:pt x="328" y="140"/>
                  </a:cubicBezTo>
                  <a:cubicBezTo>
                    <a:pt x="320" y="138"/>
                    <a:pt x="320" y="138"/>
                    <a:pt x="320" y="138"/>
                  </a:cubicBezTo>
                  <a:cubicBezTo>
                    <a:pt x="319" y="138"/>
                    <a:pt x="319" y="138"/>
                    <a:pt x="319" y="138"/>
                  </a:cubicBezTo>
                  <a:cubicBezTo>
                    <a:pt x="319" y="138"/>
                    <a:pt x="319" y="138"/>
                    <a:pt x="319" y="138"/>
                  </a:cubicBezTo>
                  <a:cubicBezTo>
                    <a:pt x="319" y="138"/>
                    <a:pt x="319" y="138"/>
                    <a:pt x="319" y="138"/>
                  </a:cubicBezTo>
                  <a:cubicBezTo>
                    <a:pt x="318" y="138"/>
                    <a:pt x="318" y="138"/>
                    <a:pt x="317" y="138"/>
                  </a:cubicBezTo>
                  <a:cubicBezTo>
                    <a:pt x="316" y="138"/>
                    <a:pt x="316" y="138"/>
                    <a:pt x="316" y="138"/>
                  </a:cubicBezTo>
                  <a:cubicBezTo>
                    <a:pt x="315" y="138"/>
                    <a:pt x="315" y="138"/>
                    <a:pt x="314" y="138"/>
                  </a:cubicBezTo>
                  <a:cubicBezTo>
                    <a:pt x="314" y="138"/>
                    <a:pt x="314" y="138"/>
                    <a:pt x="314" y="138"/>
                  </a:cubicBezTo>
                  <a:cubicBezTo>
                    <a:pt x="313" y="138"/>
                    <a:pt x="313" y="138"/>
                    <a:pt x="313" y="138"/>
                  </a:cubicBezTo>
                  <a:cubicBezTo>
                    <a:pt x="312" y="138"/>
                    <a:pt x="312" y="138"/>
                    <a:pt x="312" y="138"/>
                  </a:cubicBezTo>
                  <a:cubicBezTo>
                    <a:pt x="312" y="138"/>
                    <a:pt x="311" y="138"/>
                    <a:pt x="311" y="138"/>
                  </a:cubicBezTo>
                  <a:cubicBezTo>
                    <a:pt x="311" y="139"/>
                    <a:pt x="311" y="139"/>
                    <a:pt x="311" y="139"/>
                  </a:cubicBezTo>
                  <a:cubicBezTo>
                    <a:pt x="311" y="139"/>
                    <a:pt x="310" y="139"/>
                    <a:pt x="310" y="141"/>
                  </a:cubicBezTo>
                  <a:cubicBezTo>
                    <a:pt x="310" y="141"/>
                    <a:pt x="310" y="142"/>
                    <a:pt x="310" y="142"/>
                  </a:cubicBezTo>
                  <a:cubicBezTo>
                    <a:pt x="310" y="142"/>
                    <a:pt x="311" y="143"/>
                    <a:pt x="311" y="144"/>
                  </a:cubicBezTo>
                  <a:cubicBezTo>
                    <a:pt x="311" y="147"/>
                    <a:pt x="311" y="147"/>
                    <a:pt x="311" y="147"/>
                  </a:cubicBezTo>
                  <a:cubicBezTo>
                    <a:pt x="310" y="147"/>
                    <a:pt x="310" y="147"/>
                    <a:pt x="310" y="147"/>
                  </a:cubicBezTo>
                  <a:cubicBezTo>
                    <a:pt x="310" y="147"/>
                    <a:pt x="310" y="147"/>
                    <a:pt x="310" y="147"/>
                  </a:cubicBezTo>
                  <a:cubicBezTo>
                    <a:pt x="310" y="148"/>
                    <a:pt x="310" y="148"/>
                    <a:pt x="310" y="148"/>
                  </a:cubicBezTo>
                  <a:cubicBezTo>
                    <a:pt x="310" y="148"/>
                    <a:pt x="310" y="148"/>
                    <a:pt x="310" y="148"/>
                  </a:cubicBezTo>
                  <a:cubicBezTo>
                    <a:pt x="309" y="150"/>
                    <a:pt x="306" y="155"/>
                    <a:pt x="302" y="156"/>
                  </a:cubicBezTo>
                  <a:cubicBezTo>
                    <a:pt x="298" y="158"/>
                    <a:pt x="294" y="159"/>
                    <a:pt x="290" y="159"/>
                  </a:cubicBezTo>
                  <a:cubicBezTo>
                    <a:pt x="290" y="159"/>
                    <a:pt x="289" y="159"/>
                    <a:pt x="289" y="159"/>
                  </a:cubicBezTo>
                  <a:cubicBezTo>
                    <a:pt x="288" y="159"/>
                    <a:pt x="286" y="159"/>
                    <a:pt x="286" y="159"/>
                  </a:cubicBezTo>
                  <a:cubicBezTo>
                    <a:pt x="285" y="160"/>
                    <a:pt x="281" y="167"/>
                    <a:pt x="281" y="169"/>
                  </a:cubicBezTo>
                  <a:cubicBezTo>
                    <a:pt x="282" y="172"/>
                    <a:pt x="282" y="174"/>
                    <a:pt x="283" y="177"/>
                  </a:cubicBezTo>
                  <a:cubicBezTo>
                    <a:pt x="283" y="177"/>
                    <a:pt x="283" y="177"/>
                    <a:pt x="283" y="177"/>
                  </a:cubicBezTo>
                  <a:cubicBezTo>
                    <a:pt x="283" y="181"/>
                    <a:pt x="284" y="184"/>
                    <a:pt x="284" y="187"/>
                  </a:cubicBezTo>
                  <a:cubicBezTo>
                    <a:pt x="285" y="195"/>
                    <a:pt x="279" y="198"/>
                    <a:pt x="274" y="201"/>
                  </a:cubicBezTo>
                  <a:cubicBezTo>
                    <a:pt x="272" y="201"/>
                    <a:pt x="272" y="201"/>
                    <a:pt x="272" y="201"/>
                  </a:cubicBezTo>
                  <a:cubicBezTo>
                    <a:pt x="269" y="203"/>
                    <a:pt x="266" y="204"/>
                    <a:pt x="263" y="204"/>
                  </a:cubicBezTo>
                  <a:cubicBezTo>
                    <a:pt x="262" y="204"/>
                    <a:pt x="260" y="204"/>
                    <a:pt x="258" y="203"/>
                  </a:cubicBezTo>
                  <a:cubicBezTo>
                    <a:pt x="256" y="202"/>
                    <a:pt x="252" y="202"/>
                    <a:pt x="249" y="202"/>
                  </a:cubicBezTo>
                  <a:cubicBezTo>
                    <a:pt x="248" y="202"/>
                    <a:pt x="247" y="202"/>
                    <a:pt x="246" y="202"/>
                  </a:cubicBezTo>
                  <a:cubicBezTo>
                    <a:pt x="245" y="203"/>
                    <a:pt x="244" y="203"/>
                    <a:pt x="242" y="203"/>
                  </a:cubicBezTo>
                  <a:cubicBezTo>
                    <a:pt x="236" y="203"/>
                    <a:pt x="228" y="199"/>
                    <a:pt x="228" y="198"/>
                  </a:cubicBezTo>
                  <a:cubicBezTo>
                    <a:pt x="227" y="198"/>
                    <a:pt x="227" y="198"/>
                    <a:pt x="227" y="198"/>
                  </a:cubicBezTo>
                  <a:cubicBezTo>
                    <a:pt x="225" y="197"/>
                    <a:pt x="223" y="196"/>
                    <a:pt x="221" y="195"/>
                  </a:cubicBezTo>
                  <a:cubicBezTo>
                    <a:pt x="221" y="195"/>
                    <a:pt x="221" y="195"/>
                    <a:pt x="221" y="195"/>
                  </a:cubicBezTo>
                  <a:cubicBezTo>
                    <a:pt x="221" y="196"/>
                    <a:pt x="221" y="196"/>
                    <a:pt x="221" y="196"/>
                  </a:cubicBezTo>
                  <a:cubicBezTo>
                    <a:pt x="205" y="240"/>
                    <a:pt x="205" y="240"/>
                    <a:pt x="205" y="240"/>
                  </a:cubicBezTo>
                  <a:cubicBezTo>
                    <a:pt x="206" y="241"/>
                    <a:pt x="206" y="241"/>
                    <a:pt x="206" y="241"/>
                  </a:cubicBezTo>
                  <a:cubicBezTo>
                    <a:pt x="208" y="241"/>
                    <a:pt x="210" y="241"/>
                    <a:pt x="211" y="243"/>
                  </a:cubicBezTo>
                  <a:cubicBezTo>
                    <a:pt x="213" y="245"/>
                    <a:pt x="212" y="248"/>
                    <a:pt x="212" y="250"/>
                  </a:cubicBezTo>
                  <a:cubicBezTo>
                    <a:pt x="212" y="251"/>
                    <a:pt x="212" y="251"/>
                    <a:pt x="212" y="252"/>
                  </a:cubicBezTo>
                  <a:cubicBezTo>
                    <a:pt x="212" y="254"/>
                    <a:pt x="209" y="255"/>
                    <a:pt x="204" y="255"/>
                  </a:cubicBezTo>
                  <a:cubicBezTo>
                    <a:pt x="203" y="255"/>
                    <a:pt x="202" y="255"/>
                    <a:pt x="200" y="255"/>
                  </a:cubicBezTo>
                  <a:cubicBezTo>
                    <a:pt x="199" y="255"/>
                    <a:pt x="199" y="255"/>
                    <a:pt x="199" y="255"/>
                  </a:cubicBezTo>
                  <a:cubicBezTo>
                    <a:pt x="199" y="255"/>
                    <a:pt x="198" y="255"/>
                    <a:pt x="197" y="255"/>
                  </a:cubicBezTo>
                  <a:cubicBezTo>
                    <a:pt x="196" y="255"/>
                    <a:pt x="195" y="255"/>
                    <a:pt x="194" y="255"/>
                  </a:cubicBezTo>
                  <a:cubicBezTo>
                    <a:pt x="192" y="255"/>
                    <a:pt x="189" y="255"/>
                    <a:pt x="188" y="253"/>
                  </a:cubicBezTo>
                  <a:cubicBezTo>
                    <a:pt x="187" y="252"/>
                    <a:pt x="187" y="251"/>
                    <a:pt x="187" y="250"/>
                  </a:cubicBezTo>
                  <a:cubicBezTo>
                    <a:pt x="186" y="250"/>
                    <a:pt x="185" y="251"/>
                    <a:pt x="184" y="251"/>
                  </a:cubicBezTo>
                  <a:cubicBezTo>
                    <a:pt x="183" y="252"/>
                    <a:pt x="182" y="252"/>
                    <a:pt x="182" y="252"/>
                  </a:cubicBezTo>
                  <a:cubicBezTo>
                    <a:pt x="168" y="256"/>
                    <a:pt x="168" y="256"/>
                    <a:pt x="168" y="256"/>
                  </a:cubicBezTo>
                  <a:cubicBezTo>
                    <a:pt x="163" y="257"/>
                    <a:pt x="158" y="258"/>
                    <a:pt x="153" y="260"/>
                  </a:cubicBezTo>
                  <a:cubicBezTo>
                    <a:pt x="152" y="260"/>
                    <a:pt x="152" y="260"/>
                    <a:pt x="152" y="260"/>
                  </a:cubicBezTo>
                  <a:cubicBezTo>
                    <a:pt x="151" y="260"/>
                    <a:pt x="150" y="260"/>
                    <a:pt x="149" y="261"/>
                  </a:cubicBezTo>
                  <a:cubicBezTo>
                    <a:pt x="149" y="261"/>
                    <a:pt x="149" y="261"/>
                    <a:pt x="149" y="261"/>
                  </a:cubicBezTo>
                  <a:cubicBezTo>
                    <a:pt x="150" y="260"/>
                    <a:pt x="151" y="260"/>
                    <a:pt x="152" y="260"/>
                  </a:cubicBezTo>
                  <a:cubicBezTo>
                    <a:pt x="155" y="260"/>
                    <a:pt x="159" y="262"/>
                    <a:pt x="161" y="263"/>
                  </a:cubicBezTo>
                  <a:cubicBezTo>
                    <a:pt x="164" y="265"/>
                    <a:pt x="164" y="265"/>
                    <a:pt x="164" y="265"/>
                  </a:cubicBezTo>
                  <a:cubicBezTo>
                    <a:pt x="161" y="267"/>
                    <a:pt x="161" y="267"/>
                    <a:pt x="161" y="267"/>
                  </a:cubicBezTo>
                  <a:cubicBezTo>
                    <a:pt x="161" y="268"/>
                    <a:pt x="160" y="269"/>
                    <a:pt x="160" y="269"/>
                  </a:cubicBezTo>
                  <a:cubicBezTo>
                    <a:pt x="159" y="270"/>
                    <a:pt x="159" y="270"/>
                    <a:pt x="159" y="270"/>
                  </a:cubicBezTo>
                  <a:cubicBezTo>
                    <a:pt x="158" y="272"/>
                    <a:pt x="159" y="275"/>
                    <a:pt x="159" y="277"/>
                  </a:cubicBezTo>
                  <a:cubicBezTo>
                    <a:pt x="159" y="279"/>
                    <a:pt x="159" y="279"/>
                    <a:pt x="159" y="279"/>
                  </a:cubicBezTo>
                  <a:cubicBezTo>
                    <a:pt x="160" y="282"/>
                    <a:pt x="160" y="285"/>
                    <a:pt x="162" y="288"/>
                  </a:cubicBezTo>
                  <a:cubicBezTo>
                    <a:pt x="162" y="289"/>
                    <a:pt x="163" y="290"/>
                    <a:pt x="163" y="292"/>
                  </a:cubicBezTo>
                  <a:cubicBezTo>
                    <a:pt x="163" y="292"/>
                    <a:pt x="163" y="292"/>
                    <a:pt x="163" y="292"/>
                  </a:cubicBezTo>
                  <a:cubicBezTo>
                    <a:pt x="164" y="294"/>
                    <a:pt x="165" y="296"/>
                    <a:pt x="166" y="297"/>
                  </a:cubicBezTo>
                  <a:cubicBezTo>
                    <a:pt x="167" y="299"/>
                    <a:pt x="167" y="300"/>
                    <a:pt x="167" y="301"/>
                  </a:cubicBezTo>
                  <a:cubicBezTo>
                    <a:pt x="168" y="302"/>
                    <a:pt x="168" y="302"/>
                    <a:pt x="168" y="302"/>
                  </a:cubicBezTo>
                  <a:cubicBezTo>
                    <a:pt x="168" y="302"/>
                    <a:pt x="168" y="303"/>
                    <a:pt x="168" y="303"/>
                  </a:cubicBezTo>
                  <a:cubicBezTo>
                    <a:pt x="170" y="311"/>
                    <a:pt x="170" y="311"/>
                    <a:pt x="169" y="312"/>
                  </a:cubicBezTo>
                  <a:cubicBezTo>
                    <a:pt x="168" y="314"/>
                    <a:pt x="166" y="314"/>
                    <a:pt x="163" y="315"/>
                  </a:cubicBezTo>
                  <a:cubicBezTo>
                    <a:pt x="162" y="315"/>
                    <a:pt x="162" y="315"/>
                    <a:pt x="161" y="315"/>
                  </a:cubicBezTo>
                  <a:cubicBezTo>
                    <a:pt x="162" y="316"/>
                    <a:pt x="164" y="317"/>
                    <a:pt x="163" y="319"/>
                  </a:cubicBezTo>
                  <a:cubicBezTo>
                    <a:pt x="163" y="321"/>
                    <a:pt x="160" y="322"/>
                    <a:pt x="157" y="323"/>
                  </a:cubicBezTo>
                  <a:cubicBezTo>
                    <a:pt x="156" y="323"/>
                    <a:pt x="156" y="323"/>
                    <a:pt x="155" y="323"/>
                  </a:cubicBezTo>
                  <a:cubicBezTo>
                    <a:pt x="155" y="325"/>
                    <a:pt x="155" y="326"/>
                    <a:pt x="155" y="328"/>
                  </a:cubicBezTo>
                  <a:cubicBezTo>
                    <a:pt x="155" y="329"/>
                    <a:pt x="155" y="329"/>
                    <a:pt x="155" y="329"/>
                  </a:cubicBezTo>
                  <a:cubicBezTo>
                    <a:pt x="156" y="332"/>
                    <a:pt x="157" y="334"/>
                    <a:pt x="156" y="338"/>
                  </a:cubicBezTo>
                  <a:cubicBezTo>
                    <a:pt x="156" y="338"/>
                    <a:pt x="156" y="338"/>
                    <a:pt x="156" y="338"/>
                  </a:cubicBezTo>
                  <a:cubicBezTo>
                    <a:pt x="156" y="339"/>
                    <a:pt x="156" y="339"/>
                    <a:pt x="156" y="339"/>
                  </a:cubicBezTo>
                  <a:cubicBezTo>
                    <a:pt x="156" y="340"/>
                    <a:pt x="156" y="340"/>
                    <a:pt x="156" y="340"/>
                  </a:cubicBezTo>
                  <a:cubicBezTo>
                    <a:pt x="157" y="342"/>
                    <a:pt x="156" y="343"/>
                    <a:pt x="155" y="344"/>
                  </a:cubicBezTo>
                  <a:cubicBezTo>
                    <a:pt x="155" y="347"/>
                    <a:pt x="155" y="347"/>
                    <a:pt x="155" y="347"/>
                  </a:cubicBezTo>
                  <a:cubicBezTo>
                    <a:pt x="154" y="345"/>
                    <a:pt x="154" y="345"/>
                    <a:pt x="154" y="345"/>
                  </a:cubicBezTo>
                  <a:cubicBezTo>
                    <a:pt x="153" y="346"/>
                    <a:pt x="152" y="346"/>
                    <a:pt x="151" y="346"/>
                  </a:cubicBezTo>
                  <a:cubicBezTo>
                    <a:pt x="147" y="348"/>
                    <a:pt x="147" y="348"/>
                    <a:pt x="147" y="348"/>
                  </a:cubicBezTo>
                  <a:cubicBezTo>
                    <a:pt x="142" y="350"/>
                    <a:pt x="137" y="351"/>
                    <a:pt x="133" y="353"/>
                  </a:cubicBezTo>
                  <a:cubicBezTo>
                    <a:pt x="132" y="354"/>
                    <a:pt x="130" y="354"/>
                    <a:pt x="129" y="355"/>
                  </a:cubicBezTo>
                  <a:cubicBezTo>
                    <a:pt x="128" y="355"/>
                    <a:pt x="128" y="355"/>
                    <a:pt x="128" y="355"/>
                  </a:cubicBezTo>
                  <a:cubicBezTo>
                    <a:pt x="125" y="356"/>
                    <a:pt x="122" y="357"/>
                    <a:pt x="119" y="359"/>
                  </a:cubicBezTo>
                  <a:cubicBezTo>
                    <a:pt x="118" y="359"/>
                    <a:pt x="118" y="359"/>
                    <a:pt x="118" y="359"/>
                  </a:cubicBezTo>
                  <a:cubicBezTo>
                    <a:pt x="117" y="360"/>
                    <a:pt x="116" y="361"/>
                    <a:pt x="114" y="363"/>
                  </a:cubicBezTo>
                  <a:cubicBezTo>
                    <a:pt x="114" y="363"/>
                    <a:pt x="114" y="363"/>
                    <a:pt x="114" y="363"/>
                  </a:cubicBezTo>
                  <a:cubicBezTo>
                    <a:pt x="113" y="364"/>
                    <a:pt x="113" y="364"/>
                    <a:pt x="113" y="365"/>
                  </a:cubicBezTo>
                  <a:cubicBezTo>
                    <a:pt x="112" y="366"/>
                    <a:pt x="112" y="366"/>
                    <a:pt x="112" y="366"/>
                  </a:cubicBezTo>
                  <a:cubicBezTo>
                    <a:pt x="111" y="367"/>
                    <a:pt x="111" y="367"/>
                    <a:pt x="111" y="367"/>
                  </a:cubicBezTo>
                  <a:cubicBezTo>
                    <a:pt x="110" y="367"/>
                    <a:pt x="110" y="368"/>
                    <a:pt x="109" y="368"/>
                  </a:cubicBezTo>
                  <a:cubicBezTo>
                    <a:pt x="108" y="369"/>
                    <a:pt x="108" y="369"/>
                    <a:pt x="107" y="370"/>
                  </a:cubicBezTo>
                  <a:cubicBezTo>
                    <a:pt x="106" y="370"/>
                    <a:pt x="106" y="370"/>
                    <a:pt x="105" y="370"/>
                  </a:cubicBezTo>
                  <a:cubicBezTo>
                    <a:pt x="99" y="371"/>
                    <a:pt x="99" y="371"/>
                    <a:pt x="99" y="371"/>
                  </a:cubicBezTo>
                  <a:cubicBezTo>
                    <a:pt x="97" y="371"/>
                    <a:pt x="94" y="371"/>
                    <a:pt x="92" y="372"/>
                  </a:cubicBezTo>
                  <a:cubicBezTo>
                    <a:pt x="91" y="372"/>
                    <a:pt x="91" y="372"/>
                    <a:pt x="91" y="372"/>
                  </a:cubicBezTo>
                  <a:cubicBezTo>
                    <a:pt x="89" y="372"/>
                    <a:pt x="88" y="372"/>
                    <a:pt x="86" y="372"/>
                  </a:cubicBezTo>
                  <a:cubicBezTo>
                    <a:pt x="83" y="372"/>
                    <a:pt x="80" y="373"/>
                    <a:pt x="78" y="373"/>
                  </a:cubicBezTo>
                  <a:cubicBezTo>
                    <a:pt x="77" y="374"/>
                    <a:pt x="76" y="375"/>
                    <a:pt x="75" y="377"/>
                  </a:cubicBezTo>
                  <a:cubicBezTo>
                    <a:pt x="74" y="377"/>
                    <a:pt x="74" y="377"/>
                    <a:pt x="74" y="377"/>
                  </a:cubicBezTo>
                  <a:cubicBezTo>
                    <a:pt x="74" y="378"/>
                    <a:pt x="74" y="378"/>
                    <a:pt x="73" y="379"/>
                  </a:cubicBezTo>
                  <a:cubicBezTo>
                    <a:pt x="72" y="379"/>
                    <a:pt x="72" y="379"/>
                    <a:pt x="72" y="379"/>
                  </a:cubicBezTo>
                  <a:cubicBezTo>
                    <a:pt x="72" y="380"/>
                    <a:pt x="71" y="380"/>
                    <a:pt x="71" y="380"/>
                  </a:cubicBezTo>
                  <a:cubicBezTo>
                    <a:pt x="71" y="380"/>
                    <a:pt x="71" y="380"/>
                    <a:pt x="71" y="380"/>
                  </a:cubicBezTo>
                  <a:cubicBezTo>
                    <a:pt x="71" y="381"/>
                    <a:pt x="71" y="381"/>
                    <a:pt x="71" y="381"/>
                  </a:cubicBezTo>
                  <a:cubicBezTo>
                    <a:pt x="71" y="382"/>
                    <a:pt x="71" y="382"/>
                    <a:pt x="71" y="383"/>
                  </a:cubicBezTo>
                  <a:cubicBezTo>
                    <a:pt x="70" y="385"/>
                    <a:pt x="70" y="386"/>
                    <a:pt x="69" y="387"/>
                  </a:cubicBezTo>
                  <a:cubicBezTo>
                    <a:pt x="68" y="389"/>
                    <a:pt x="67" y="390"/>
                    <a:pt x="66" y="390"/>
                  </a:cubicBezTo>
                  <a:cubicBezTo>
                    <a:pt x="65" y="391"/>
                    <a:pt x="64" y="392"/>
                    <a:pt x="64" y="392"/>
                  </a:cubicBezTo>
                  <a:cubicBezTo>
                    <a:pt x="63" y="392"/>
                    <a:pt x="63" y="392"/>
                    <a:pt x="63" y="392"/>
                  </a:cubicBezTo>
                  <a:cubicBezTo>
                    <a:pt x="62" y="392"/>
                    <a:pt x="62" y="392"/>
                    <a:pt x="62" y="392"/>
                  </a:cubicBezTo>
                  <a:cubicBezTo>
                    <a:pt x="62" y="392"/>
                    <a:pt x="62" y="392"/>
                    <a:pt x="62" y="392"/>
                  </a:cubicBezTo>
                  <a:cubicBezTo>
                    <a:pt x="61" y="392"/>
                    <a:pt x="60" y="392"/>
                    <a:pt x="60" y="392"/>
                  </a:cubicBezTo>
                  <a:cubicBezTo>
                    <a:pt x="59" y="392"/>
                    <a:pt x="59" y="391"/>
                    <a:pt x="58" y="391"/>
                  </a:cubicBezTo>
                  <a:cubicBezTo>
                    <a:pt x="58" y="391"/>
                    <a:pt x="58" y="391"/>
                    <a:pt x="58" y="391"/>
                  </a:cubicBezTo>
                  <a:cubicBezTo>
                    <a:pt x="57" y="391"/>
                    <a:pt x="57" y="392"/>
                    <a:pt x="57" y="392"/>
                  </a:cubicBezTo>
                  <a:cubicBezTo>
                    <a:pt x="56" y="392"/>
                    <a:pt x="56" y="392"/>
                    <a:pt x="56" y="392"/>
                  </a:cubicBezTo>
                  <a:cubicBezTo>
                    <a:pt x="55" y="392"/>
                    <a:pt x="55" y="392"/>
                    <a:pt x="55" y="392"/>
                  </a:cubicBezTo>
                  <a:cubicBezTo>
                    <a:pt x="54" y="392"/>
                    <a:pt x="54" y="392"/>
                    <a:pt x="54" y="392"/>
                  </a:cubicBezTo>
                  <a:cubicBezTo>
                    <a:pt x="54" y="391"/>
                    <a:pt x="54" y="391"/>
                    <a:pt x="54" y="391"/>
                  </a:cubicBezTo>
                  <a:cubicBezTo>
                    <a:pt x="54" y="391"/>
                    <a:pt x="54" y="391"/>
                    <a:pt x="54" y="391"/>
                  </a:cubicBezTo>
                  <a:cubicBezTo>
                    <a:pt x="55" y="392"/>
                    <a:pt x="55" y="392"/>
                    <a:pt x="55" y="392"/>
                  </a:cubicBezTo>
                  <a:cubicBezTo>
                    <a:pt x="53" y="393"/>
                    <a:pt x="53" y="393"/>
                    <a:pt x="53" y="393"/>
                  </a:cubicBezTo>
                  <a:cubicBezTo>
                    <a:pt x="53" y="394"/>
                    <a:pt x="52" y="394"/>
                    <a:pt x="51" y="394"/>
                  </a:cubicBezTo>
                  <a:cubicBezTo>
                    <a:pt x="51" y="394"/>
                    <a:pt x="50" y="394"/>
                    <a:pt x="49" y="394"/>
                  </a:cubicBezTo>
                  <a:cubicBezTo>
                    <a:pt x="47" y="394"/>
                    <a:pt x="45" y="393"/>
                    <a:pt x="43" y="390"/>
                  </a:cubicBezTo>
                  <a:cubicBezTo>
                    <a:pt x="43" y="389"/>
                    <a:pt x="43" y="389"/>
                    <a:pt x="43" y="388"/>
                  </a:cubicBezTo>
                  <a:cubicBezTo>
                    <a:pt x="42" y="387"/>
                    <a:pt x="42" y="387"/>
                    <a:pt x="42" y="386"/>
                  </a:cubicBezTo>
                  <a:cubicBezTo>
                    <a:pt x="41" y="386"/>
                    <a:pt x="41" y="386"/>
                    <a:pt x="41" y="386"/>
                  </a:cubicBezTo>
                  <a:cubicBezTo>
                    <a:pt x="41" y="387"/>
                    <a:pt x="40" y="387"/>
                    <a:pt x="40" y="387"/>
                  </a:cubicBezTo>
                  <a:cubicBezTo>
                    <a:pt x="38" y="389"/>
                    <a:pt x="35" y="390"/>
                    <a:pt x="33" y="390"/>
                  </a:cubicBezTo>
                  <a:cubicBezTo>
                    <a:pt x="32" y="390"/>
                    <a:pt x="31" y="390"/>
                    <a:pt x="30" y="389"/>
                  </a:cubicBezTo>
                  <a:cubicBezTo>
                    <a:pt x="30" y="390"/>
                    <a:pt x="30" y="391"/>
                    <a:pt x="29" y="392"/>
                  </a:cubicBezTo>
                  <a:cubicBezTo>
                    <a:pt x="29" y="393"/>
                    <a:pt x="29" y="393"/>
                    <a:pt x="28" y="393"/>
                  </a:cubicBezTo>
                  <a:cubicBezTo>
                    <a:pt x="26" y="395"/>
                    <a:pt x="22" y="396"/>
                    <a:pt x="18" y="397"/>
                  </a:cubicBezTo>
                  <a:cubicBezTo>
                    <a:pt x="17" y="397"/>
                    <a:pt x="17" y="397"/>
                    <a:pt x="17" y="397"/>
                  </a:cubicBezTo>
                  <a:cubicBezTo>
                    <a:pt x="16" y="398"/>
                    <a:pt x="16" y="398"/>
                    <a:pt x="16" y="398"/>
                  </a:cubicBezTo>
                  <a:cubicBezTo>
                    <a:pt x="9" y="400"/>
                    <a:pt x="9" y="400"/>
                    <a:pt x="9" y="400"/>
                  </a:cubicBezTo>
                  <a:cubicBezTo>
                    <a:pt x="9" y="400"/>
                    <a:pt x="9" y="401"/>
                    <a:pt x="9" y="402"/>
                  </a:cubicBezTo>
                  <a:cubicBezTo>
                    <a:pt x="9" y="403"/>
                    <a:pt x="9" y="403"/>
                    <a:pt x="9" y="404"/>
                  </a:cubicBezTo>
                  <a:cubicBezTo>
                    <a:pt x="8" y="405"/>
                    <a:pt x="8" y="405"/>
                    <a:pt x="8" y="405"/>
                  </a:cubicBezTo>
                  <a:cubicBezTo>
                    <a:pt x="8" y="405"/>
                    <a:pt x="8" y="405"/>
                    <a:pt x="8" y="405"/>
                  </a:cubicBezTo>
                  <a:cubicBezTo>
                    <a:pt x="7" y="410"/>
                    <a:pt x="7" y="410"/>
                    <a:pt x="7" y="410"/>
                  </a:cubicBezTo>
                  <a:cubicBezTo>
                    <a:pt x="7" y="411"/>
                    <a:pt x="7" y="413"/>
                    <a:pt x="6" y="413"/>
                  </a:cubicBezTo>
                  <a:cubicBezTo>
                    <a:pt x="5" y="414"/>
                    <a:pt x="5" y="414"/>
                    <a:pt x="4" y="415"/>
                  </a:cubicBezTo>
                  <a:cubicBezTo>
                    <a:pt x="3" y="415"/>
                    <a:pt x="3" y="415"/>
                    <a:pt x="3" y="415"/>
                  </a:cubicBezTo>
                  <a:cubicBezTo>
                    <a:pt x="3" y="416"/>
                    <a:pt x="2" y="416"/>
                    <a:pt x="2" y="416"/>
                  </a:cubicBezTo>
                  <a:cubicBezTo>
                    <a:pt x="1" y="416"/>
                    <a:pt x="1" y="416"/>
                    <a:pt x="1" y="416"/>
                  </a:cubicBezTo>
                  <a:cubicBezTo>
                    <a:pt x="1" y="416"/>
                    <a:pt x="1" y="416"/>
                    <a:pt x="1" y="416"/>
                  </a:cubicBezTo>
                  <a:cubicBezTo>
                    <a:pt x="0" y="421"/>
                    <a:pt x="0" y="421"/>
                    <a:pt x="0" y="421"/>
                  </a:cubicBezTo>
                  <a:cubicBezTo>
                    <a:pt x="1" y="422"/>
                    <a:pt x="1" y="422"/>
                    <a:pt x="1" y="422"/>
                  </a:cubicBezTo>
                  <a:cubicBezTo>
                    <a:pt x="1" y="422"/>
                    <a:pt x="1" y="422"/>
                    <a:pt x="1" y="422"/>
                  </a:cubicBezTo>
                  <a:cubicBezTo>
                    <a:pt x="2" y="422"/>
                    <a:pt x="2" y="422"/>
                    <a:pt x="2" y="422"/>
                  </a:cubicBezTo>
                  <a:cubicBezTo>
                    <a:pt x="2" y="423"/>
                    <a:pt x="2" y="423"/>
                    <a:pt x="2" y="423"/>
                  </a:cubicBezTo>
                  <a:cubicBezTo>
                    <a:pt x="2" y="423"/>
                    <a:pt x="2" y="423"/>
                    <a:pt x="2" y="423"/>
                  </a:cubicBezTo>
                  <a:cubicBezTo>
                    <a:pt x="3" y="424"/>
                    <a:pt x="3" y="424"/>
                    <a:pt x="3" y="424"/>
                  </a:cubicBezTo>
                  <a:cubicBezTo>
                    <a:pt x="3" y="424"/>
                    <a:pt x="3" y="424"/>
                    <a:pt x="3" y="424"/>
                  </a:cubicBezTo>
                  <a:cubicBezTo>
                    <a:pt x="3" y="425"/>
                    <a:pt x="4" y="425"/>
                    <a:pt x="4" y="426"/>
                  </a:cubicBezTo>
                  <a:cubicBezTo>
                    <a:pt x="5" y="427"/>
                    <a:pt x="5" y="427"/>
                    <a:pt x="5" y="427"/>
                  </a:cubicBezTo>
                  <a:cubicBezTo>
                    <a:pt x="5" y="428"/>
                    <a:pt x="5" y="429"/>
                    <a:pt x="5" y="430"/>
                  </a:cubicBezTo>
                  <a:cubicBezTo>
                    <a:pt x="4" y="431"/>
                    <a:pt x="4" y="431"/>
                    <a:pt x="4" y="431"/>
                  </a:cubicBezTo>
                  <a:cubicBezTo>
                    <a:pt x="3" y="432"/>
                    <a:pt x="3" y="432"/>
                    <a:pt x="3" y="432"/>
                  </a:cubicBezTo>
                  <a:cubicBezTo>
                    <a:pt x="3" y="432"/>
                    <a:pt x="3" y="432"/>
                    <a:pt x="3" y="432"/>
                  </a:cubicBezTo>
                  <a:cubicBezTo>
                    <a:pt x="3" y="433"/>
                    <a:pt x="3" y="433"/>
                    <a:pt x="3" y="433"/>
                  </a:cubicBezTo>
                  <a:cubicBezTo>
                    <a:pt x="3" y="434"/>
                    <a:pt x="3" y="435"/>
                    <a:pt x="4" y="435"/>
                  </a:cubicBezTo>
                  <a:cubicBezTo>
                    <a:pt x="4" y="435"/>
                    <a:pt x="4" y="435"/>
                    <a:pt x="5" y="435"/>
                  </a:cubicBezTo>
                  <a:cubicBezTo>
                    <a:pt x="6" y="434"/>
                    <a:pt x="6" y="434"/>
                    <a:pt x="6" y="434"/>
                  </a:cubicBezTo>
                  <a:cubicBezTo>
                    <a:pt x="7" y="434"/>
                    <a:pt x="9" y="434"/>
                    <a:pt x="11" y="433"/>
                  </a:cubicBezTo>
                  <a:cubicBezTo>
                    <a:pt x="12" y="433"/>
                    <a:pt x="12" y="433"/>
                    <a:pt x="12" y="433"/>
                  </a:cubicBezTo>
                  <a:cubicBezTo>
                    <a:pt x="12" y="433"/>
                    <a:pt x="12" y="433"/>
                    <a:pt x="12" y="433"/>
                  </a:cubicBezTo>
                  <a:cubicBezTo>
                    <a:pt x="13" y="433"/>
                    <a:pt x="13" y="433"/>
                    <a:pt x="14" y="434"/>
                  </a:cubicBezTo>
                  <a:cubicBezTo>
                    <a:pt x="15" y="434"/>
                    <a:pt x="17" y="435"/>
                    <a:pt x="18" y="435"/>
                  </a:cubicBezTo>
                  <a:cubicBezTo>
                    <a:pt x="20" y="436"/>
                    <a:pt x="21" y="437"/>
                    <a:pt x="21" y="437"/>
                  </a:cubicBezTo>
                  <a:cubicBezTo>
                    <a:pt x="22" y="438"/>
                    <a:pt x="22" y="438"/>
                    <a:pt x="22" y="438"/>
                  </a:cubicBezTo>
                  <a:cubicBezTo>
                    <a:pt x="23" y="438"/>
                    <a:pt x="23" y="438"/>
                    <a:pt x="24" y="439"/>
                  </a:cubicBezTo>
                  <a:cubicBezTo>
                    <a:pt x="25" y="439"/>
                    <a:pt x="25" y="439"/>
                    <a:pt x="25" y="439"/>
                  </a:cubicBezTo>
                  <a:cubicBezTo>
                    <a:pt x="28" y="441"/>
                    <a:pt x="29" y="442"/>
                    <a:pt x="30" y="446"/>
                  </a:cubicBezTo>
                  <a:cubicBezTo>
                    <a:pt x="30" y="450"/>
                    <a:pt x="31" y="454"/>
                    <a:pt x="31" y="458"/>
                  </a:cubicBezTo>
                  <a:cubicBezTo>
                    <a:pt x="32" y="460"/>
                    <a:pt x="32" y="460"/>
                    <a:pt x="32" y="460"/>
                  </a:cubicBezTo>
                  <a:cubicBezTo>
                    <a:pt x="32" y="461"/>
                    <a:pt x="32" y="462"/>
                    <a:pt x="32" y="463"/>
                  </a:cubicBezTo>
                  <a:cubicBezTo>
                    <a:pt x="33" y="465"/>
                    <a:pt x="33" y="465"/>
                    <a:pt x="33" y="465"/>
                  </a:cubicBezTo>
                  <a:cubicBezTo>
                    <a:pt x="33" y="466"/>
                    <a:pt x="34" y="467"/>
                    <a:pt x="35" y="468"/>
                  </a:cubicBezTo>
                  <a:cubicBezTo>
                    <a:pt x="38" y="470"/>
                    <a:pt x="38" y="470"/>
                    <a:pt x="38" y="470"/>
                  </a:cubicBezTo>
                  <a:cubicBezTo>
                    <a:pt x="36" y="473"/>
                    <a:pt x="36" y="473"/>
                    <a:pt x="36" y="473"/>
                  </a:cubicBezTo>
                  <a:cubicBezTo>
                    <a:pt x="35" y="474"/>
                    <a:pt x="34" y="475"/>
                    <a:pt x="33" y="476"/>
                  </a:cubicBezTo>
                  <a:cubicBezTo>
                    <a:pt x="43" y="473"/>
                    <a:pt x="43" y="473"/>
                    <a:pt x="43" y="473"/>
                  </a:cubicBezTo>
                  <a:cubicBezTo>
                    <a:pt x="30" y="480"/>
                    <a:pt x="30" y="480"/>
                    <a:pt x="30" y="480"/>
                  </a:cubicBezTo>
                  <a:cubicBezTo>
                    <a:pt x="31" y="480"/>
                    <a:pt x="31" y="480"/>
                    <a:pt x="31" y="480"/>
                  </a:cubicBezTo>
                  <a:cubicBezTo>
                    <a:pt x="33" y="480"/>
                    <a:pt x="35" y="480"/>
                    <a:pt x="38" y="481"/>
                  </a:cubicBezTo>
                  <a:cubicBezTo>
                    <a:pt x="40" y="482"/>
                    <a:pt x="41" y="483"/>
                    <a:pt x="43" y="484"/>
                  </a:cubicBezTo>
                  <a:cubicBezTo>
                    <a:pt x="44" y="484"/>
                    <a:pt x="45" y="485"/>
                    <a:pt x="46" y="486"/>
                  </a:cubicBezTo>
                  <a:cubicBezTo>
                    <a:pt x="46" y="486"/>
                    <a:pt x="47" y="486"/>
                    <a:pt x="47" y="486"/>
                  </a:cubicBezTo>
                  <a:cubicBezTo>
                    <a:pt x="48" y="486"/>
                    <a:pt x="48" y="486"/>
                    <a:pt x="48" y="486"/>
                  </a:cubicBezTo>
                  <a:cubicBezTo>
                    <a:pt x="50" y="488"/>
                    <a:pt x="53" y="490"/>
                    <a:pt x="55" y="494"/>
                  </a:cubicBezTo>
                  <a:cubicBezTo>
                    <a:pt x="56" y="495"/>
                    <a:pt x="56" y="496"/>
                    <a:pt x="56" y="498"/>
                  </a:cubicBezTo>
                  <a:cubicBezTo>
                    <a:pt x="57" y="499"/>
                    <a:pt x="57" y="501"/>
                    <a:pt x="57" y="502"/>
                  </a:cubicBezTo>
                  <a:cubicBezTo>
                    <a:pt x="57" y="503"/>
                    <a:pt x="56" y="505"/>
                    <a:pt x="56" y="505"/>
                  </a:cubicBezTo>
                  <a:cubicBezTo>
                    <a:pt x="55" y="506"/>
                    <a:pt x="55" y="506"/>
                    <a:pt x="55" y="506"/>
                  </a:cubicBezTo>
                  <a:cubicBezTo>
                    <a:pt x="56" y="507"/>
                    <a:pt x="56" y="507"/>
                    <a:pt x="56" y="507"/>
                  </a:cubicBezTo>
                  <a:cubicBezTo>
                    <a:pt x="57" y="508"/>
                    <a:pt x="58" y="509"/>
                    <a:pt x="58" y="509"/>
                  </a:cubicBezTo>
                  <a:cubicBezTo>
                    <a:pt x="58" y="510"/>
                    <a:pt x="59" y="510"/>
                    <a:pt x="59" y="510"/>
                  </a:cubicBezTo>
                  <a:cubicBezTo>
                    <a:pt x="59" y="511"/>
                    <a:pt x="59" y="511"/>
                    <a:pt x="59" y="511"/>
                  </a:cubicBezTo>
                  <a:cubicBezTo>
                    <a:pt x="59" y="511"/>
                    <a:pt x="59" y="511"/>
                    <a:pt x="59" y="511"/>
                  </a:cubicBezTo>
                  <a:cubicBezTo>
                    <a:pt x="59" y="511"/>
                    <a:pt x="59" y="511"/>
                    <a:pt x="59" y="511"/>
                  </a:cubicBezTo>
                  <a:cubicBezTo>
                    <a:pt x="62" y="511"/>
                    <a:pt x="64" y="510"/>
                    <a:pt x="64" y="510"/>
                  </a:cubicBezTo>
                  <a:cubicBezTo>
                    <a:pt x="68" y="505"/>
                    <a:pt x="68" y="505"/>
                    <a:pt x="68" y="505"/>
                  </a:cubicBezTo>
                  <a:cubicBezTo>
                    <a:pt x="69" y="511"/>
                    <a:pt x="69" y="511"/>
                    <a:pt x="69" y="511"/>
                  </a:cubicBezTo>
                  <a:cubicBezTo>
                    <a:pt x="69" y="511"/>
                    <a:pt x="69" y="511"/>
                    <a:pt x="69" y="512"/>
                  </a:cubicBezTo>
                  <a:cubicBezTo>
                    <a:pt x="69" y="512"/>
                    <a:pt x="69" y="512"/>
                    <a:pt x="69" y="512"/>
                  </a:cubicBezTo>
                  <a:cubicBezTo>
                    <a:pt x="70" y="513"/>
                    <a:pt x="70" y="513"/>
                    <a:pt x="70" y="513"/>
                  </a:cubicBezTo>
                  <a:cubicBezTo>
                    <a:pt x="70" y="513"/>
                    <a:pt x="70" y="513"/>
                    <a:pt x="70" y="513"/>
                  </a:cubicBezTo>
                  <a:cubicBezTo>
                    <a:pt x="71" y="514"/>
                    <a:pt x="72" y="515"/>
                    <a:pt x="73" y="516"/>
                  </a:cubicBezTo>
                  <a:cubicBezTo>
                    <a:pt x="77" y="518"/>
                    <a:pt x="83" y="518"/>
                    <a:pt x="89" y="519"/>
                  </a:cubicBezTo>
                  <a:cubicBezTo>
                    <a:pt x="91" y="519"/>
                    <a:pt x="93" y="519"/>
                    <a:pt x="96" y="519"/>
                  </a:cubicBezTo>
                  <a:cubicBezTo>
                    <a:pt x="96" y="519"/>
                    <a:pt x="96" y="519"/>
                    <a:pt x="96" y="519"/>
                  </a:cubicBezTo>
                  <a:cubicBezTo>
                    <a:pt x="97" y="519"/>
                    <a:pt x="97" y="519"/>
                    <a:pt x="97" y="519"/>
                  </a:cubicBezTo>
                  <a:cubicBezTo>
                    <a:pt x="99" y="518"/>
                    <a:pt x="101" y="518"/>
                    <a:pt x="102" y="517"/>
                  </a:cubicBezTo>
                  <a:cubicBezTo>
                    <a:pt x="104" y="516"/>
                    <a:pt x="104" y="516"/>
                    <a:pt x="104" y="516"/>
                  </a:cubicBezTo>
                  <a:cubicBezTo>
                    <a:pt x="104" y="519"/>
                    <a:pt x="104" y="519"/>
                    <a:pt x="104" y="519"/>
                  </a:cubicBezTo>
                  <a:cubicBezTo>
                    <a:pt x="104" y="519"/>
                    <a:pt x="104" y="519"/>
                    <a:pt x="104" y="519"/>
                  </a:cubicBezTo>
                  <a:cubicBezTo>
                    <a:pt x="102" y="520"/>
                    <a:pt x="100" y="521"/>
                    <a:pt x="98" y="522"/>
                  </a:cubicBezTo>
                  <a:cubicBezTo>
                    <a:pt x="97" y="522"/>
                    <a:pt x="97" y="522"/>
                    <a:pt x="97" y="522"/>
                  </a:cubicBezTo>
                  <a:cubicBezTo>
                    <a:pt x="96" y="522"/>
                    <a:pt x="96" y="522"/>
                    <a:pt x="96" y="522"/>
                  </a:cubicBezTo>
                  <a:cubicBezTo>
                    <a:pt x="96" y="522"/>
                    <a:pt x="96" y="522"/>
                    <a:pt x="96" y="522"/>
                  </a:cubicBezTo>
                  <a:cubicBezTo>
                    <a:pt x="96" y="522"/>
                    <a:pt x="99" y="522"/>
                    <a:pt x="100" y="522"/>
                  </a:cubicBezTo>
                  <a:cubicBezTo>
                    <a:pt x="101" y="522"/>
                    <a:pt x="101" y="522"/>
                    <a:pt x="101" y="522"/>
                  </a:cubicBezTo>
                  <a:cubicBezTo>
                    <a:pt x="101" y="522"/>
                    <a:pt x="102" y="522"/>
                    <a:pt x="102" y="522"/>
                  </a:cubicBezTo>
                  <a:cubicBezTo>
                    <a:pt x="102" y="523"/>
                    <a:pt x="102" y="523"/>
                    <a:pt x="102" y="524"/>
                  </a:cubicBezTo>
                  <a:cubicBezTo>
                    <a:pt x="102" y="525"/>
                    <a:pt x="101" y="527"/>
                    <a:pt x="101" y="528"/>
                  </a:cubicBezTo>
                  <a:cubicBezTo>
                    <a:pt x="101" y="529"/>
                    <a:pt x="101" y="530"/>
                    <a:pt x="102" y="531"/>
                  </a:cubicBezTo>
                  <a:cubicBezTo>
                    <a:pt x="103" y="532"/>
                    <a:pt x="104" y="534"/>
                    <a:pt x="104" y="535"/>
                  </a:cubicBezTo>
                  <a:cubicBezTo>
                    <a:pt x="104" y="536"/>
                    <a:pt x="105" y="536"/>
                    <a:pt x="105" y="537"/>
                  </a:cubicBezTo>
                  <a:cubicBezTo>
                    <a:pt x="105" y="539"/>
                    <a:pt x="106" y="541"/>
                    <a:pt x="107" y="543"/>
                  </a:cubicBezTo>
                  <a:cubicBezTo>
                    <a:pt x="107" y="543"/>
                    <a:pt x="107" y="543"/>
                    <a:pt x="107" y="543"/>
                  </a:cubicBezTo>
                  <a:cubicBezTo>
                    <a:pt x="108" y="545"/>
                    <a:pt x="110" y="547"/>
                    <a:pt x="112" y="548"/>
                  </a:cubicBezTo>
                  <a:cubicBezTo>
                    <a:pt x="114" y="549"/>
                    <a:pt x="116" y="550"/>
                    <a:pt x="118" y="551"/>
                  </a:cubicBezTo>
                  <a:cubicBezTo>
                    <a:pt x="120" y="552"/>
                    <a:pt x="122" y="552"/>
                    <a:pt x="123" y="553"/>
                  </a:cubicBezTo>
                  <a:cubicBezTo>
                    <a:pt x="123" y="554"/>
                    <a:pt x="123" y="555"/>
                    <a:pt x="122" y="556"/>
                  </a:cubicBezTo>
                  <a:cubicBezTo>
                    <a:pt x="119" y="559"/>
                    <a:pt x="119" y="559"/>
                    <a:pt x="119" y="559"/>
                  </a:cubicBezTo>
                  <a:cubicBezTo>
                    <a:pt x="118" y="559"/>
                    <a:pt x="118" y="559"/>
                    <a:pt x="118" y="559"/>
                  </a:cubicBezTo>
                  <a:cubicBezTo>
                    <a:pt x="118" y="560"/>
                    <a:pt x="118" y="561"/>
                    <a:pt x="118" y="562"/>
                  </a:cubicBezTo>
                  <a:cubicBezTo>
                    <a:pt x="118" y="563"/>
                    <a:pt x="118" y="564"/>
                    <a:pt x="119" y="565"/>
                  </a:cubicBezTo>
                  <a:cubicBezTo>
                    <a:pt x="119" y="565"/>
                    <a:pt x="119" y="565"/>
                    <a:pt x="119" y="565"/>
                  </a:cubicBezTo>
                  <a:cubicBezTo>
                    <a:pt x="119" y="566"/>
                    <a:pt x="119" y="567"/>
                    <a:pt x="119" y="568"/>
                  </a:cubicBezTo>
                  <a:cubicBezTo>
                    <a:pt x="122" y="565"/>
                    <a:pt x="122" y="565"/>
                    <a:pt x="122" y="565"/>
                  </a:cubicBezTo>
                  <a:cubicBezTo>
                    <a:pt x="122" y="565"/>
                    <a:pt x="122" y="565"/>
                    <a:pt x="122" y="565"/>
                  </a:cubicBezTo>
                  <a:cubicBezTo>
                    <a:pt x="123" y="570"/>
                    <a:pt x="123" y="570"/>
                    <a:pt x="123" y="570"/>
                  </a:cubicBezTo>
                  <a:cubicBezTo>
                    <a:pt x="123" y="570"/>
                    <a:pt x="123" y="570"/>
                    <a:pt x="123" y="570"/>
                  </a:cubicBezTo>
                  <a:cubicBezTo>
                    <a:pt x="124" y="574"/>
                    <a:pt x="124" y="574"/>
                    <a:pt x="124" y="574"/>
                  </a:cubicBezTo>
                  <a:cubicBezTo>
                    <a:pt x="125" y="575"/>
                    <a:pt x="125" y="575"/>
                    <a:pt x="125" y="575"/>
                  </a:cubicBezTo>
                  <a:cubicBezTo>
                    <a:pt x="125" y="576"/>
                    <a:pt x="125" y="576"/>
                    <a:pt x="125" y="576"/>
                  </a:cubicBezTo>
                  <a:cubicBezTo>
                    <a:pt x="126" y="577"/>
                    <a:pt x="126" y="577"/>
                    <a:pt x="126" y="577"/>
                  </a:cubicBezTo>
                  <a:cubicBezTo>
                    <a:pt x="127" y="578"/>
                    <a:pt x="129" y="579"/>
                    <a:pt x="131" y="581"/>
                  </a:cubicBezTo>
                  <a:cubicBezTo>
                    <a:pt x="131" y="581"/>
                    <a:pt x="131" y="581"/>
                    <a:pt x="131" y="581"/>
                  </a:cubicBezTo>
                  <a:cubicBezTo>
                    <a:pt x="133" y="581"/>
                    <a:pt x="135" y="581"/>
                    <a:pt x="136" y="584"/>
                  </a:cubicBezTo>
                  <a:cubicBezTo>
                    <a:pt x="136" y="584"/>
                    <a:pt x="136" y="585"/>
                    <a:pt x="137" y="586"/>
                  </a:cubicBezTo>
                  <a:cubicBezTo>
                    <a:pt x="137" y="589"/>
                    <a:pt x="137" y="589"/>
                    <a:pt x="137" y="589"/>
                  </a:cubicBezTo>
                  <a:cubicBezTo>
                    <a:pt x="137" y="589"/>
                    <a:pt x="137" y="590"/>
                    <a:pt x="137" y="591"/>
                  </a:cubicBezTo>
                  <a:cubicBezTo>
                    <a:pt x="137" y="592"/>
                    <a:pt x="137" y="592"/>
                    <a:pt x="137" y="592"/>
                  </a:cubicBezTo>
                  <a:cubicBezTo>
                    <a:pt x="138" y="592"/>
                    <a:pt x="138" y="592"/>
                    <a:pt x="138" y="592"/>
                  </a:cubicBezTo>
                  <a:cubicBezTo>
                    <a:pt x="138" y="592"/>
                    <a:pt x="138" y="592"/>
                    <a:pt x="138" y="592"/>
                  </a:cubicBezTo>
                  <a:cubicBezTo>
                    <a:pt x="140" y="594"/>
                    <a:pt x="140" y="594"/>
                    <a:pt x="140" y="594"/>
                  </a:cubicBezTo>
                  <a:cubicBezTo>
                    <a:pt x="138" y="596"/>
                    <a:pt x="138" y="596"/>
                    <a:pt x="138" y="596"/>
                  </a:cubicBezTo>
                  <a:cubicBezTo>
                    <a:pt x="135" y="602"/>
                    <a:pt x="129" y="608"/>
                    <a:pt x="124" y="608"/>
                  </a:cubicBezTo>
                  <a:cubicBezTo>
                    <a:pt x="123" y="608"/>
                    <a:pt x="123" y="608"/>
                    <a:pt x="123" y="608"/>
                  </a:cubicBezTo>
                  <a:cubicBezTo>
                    <a:pt x="123" y="608"/>
                    <a:pt x="123" y="608"/>
                    <a:pt x="123" y="608"/>
                  </a:cubicBezTo>
                  <a:cubicBezTo>
                    <a:pt x="119" y="607"/>
                    <a:pt x="117" y="604"/>
                    <a:pt x="116" y="602"/>
                  </a:cubicBezTo>
                  <a:cubicBezTo>
                    <a:pt x="116" y="602"/>
                    <a:pt x="116" y="602"/>
                    <a:pt x="116" y="602"/>
                  </a:cubicBezTo>
                  <a:cubicBezTo>
                    <a:pt x="115" y="602"/>
                    <a:pt x="115" y="602"/>
                    <a:pt x="115" y="602"/>
                  </a:cubicBezTo>
                  <a:cubicBezTo>
                    <a:pt x="114" y="602"/>
                    <a:pt x="114" y="602"/>
                    <a:pt x="113" y="603"/>
                  </a:cubicBezTo>
                  <a:cubicBezTo>
                    <a:pt x="114" y="605"/>
                    <a:pt x="115" y="607"/>
                    <a:pt x="116" y="610"/>
                  </a:cubicBezTo>
                  <a:cubicBezTo>
                    <a:pt x="117" y="611"/>
                    <a:pt x="119" y="612"/>
                    <a:pt x="119" y="614"/>
                  </a:cubicBezTo>
                  <a:cubicBezTo>
                    <a:pt x="120" y="615"/>
                    <a:pt x="121" y="616"/>
                    <a:pt x="121" y="617"/>
                  </a:cubicBezTo>
                  <a:cubicBezTo>
                    <a:pt x="121" y="618"/>
                    <a:pt x="121" y="619"/>
                    <a:pt x="120" y="620"/>
                  </a:cubicBezTo>
                  <a:cubicBezTo>
                    <a:pt x="121" y="621"/>
                    <a:pt x="120" y="623"/>
                    <a:pt x="120" y="626"/>
                  </a:cubicBezTo>
                  <a:cubicBezTo>
                    <a:pt x="120" y="627"/>
                    <a:pt x="120" y="627"/>
                    <a:pt x="120" y="627"/>
                  </a:cubicBezTo>
                  <a:cubicBezTo>
                    <a:pt x="120" y="627"/>
                    <a:pt x="120" y="627"/>
                    <a:pt x="120" y="627"/>
                  </a:cubicBezTo>
                  <a:cubicBezTo>
                    <a:pt x="120" y="627"/>
                    <a:pt x="121" y="628"/>
                    <a:pt x="121" y="629"/>
                  </a:cubicBezTo>
                  <a:cubicBezTo>
                    <a:pt x="121" y="629"/>
                    <a:pt x="121" y="629"/>
                    <a:pt x="121" y="629"/>
                  </a:cubicBezTo>
                  <a:cubicBezTo>
                    <a:pt x="123" y="628"/>
                    <a:pt x="124" y="627"/>
                    <a:pt x="126" y="627"/>
                  </a:cubicBezTo>
                  <a:cubicBezTo>
                    <a:pt x="127" y="627"/>
                    <a:pt x="127" y="627"/>
                    <a:pt x="127" y="627"/>
                  </a:cubicBezTo>
                  <a:cubicBezTo>
                    <a:pt x="128" y="627"/>
                    <a:pt x="129" y="628"/>
                    <a:pt x="130" y="629"/>
                  </a:cubicBezTo>
                  <a:cubicBezTo>
                    <a:pt x="130" y="629"/>
                    <a:pt x="131" y="630"/>
                    <a:pt x="131" y="630"/>
                  </a:cubicBezTo>
                  <a:cubicBezTo>
                    <a:pt x="136" y="627"/>
                    <a:pt x="136" y="627"/>
                    <a:pt x="136" y="627"/>
                  </a:cubicBezTo>
                  <a:cubicBezTo>
                    <a:pt x="132" y="631"/>
                    <a:pt x="132" y="631"/>
                    <a:pt x="132" y="631"/>
                  </a:cubicBezTo>
                  <a:cubicBezTo>
                    <a:pt x="133" y="632"/>
                    <a:pt x="133" y="633"/>
                    <a:pt x="134" y="634"/>
                  </a:cubicBezTo>
                  <a:cubicBezTo>
                    <a:pt x="134" y="635"/>
                    <a:pt x="134" y="635"/>
                    <a:pt x="134" y="635"/>
                  </a:cubicBezTo>
                  <a:cubicBezTo>
                    <a:pt x="134" y="635"/>
                    <a:pt x="135" y="636"/>
                    <a:pt x="135" y="636"/>
                  </a:cubicBezTo>
                  <a:cubicBezTo>
                    <a:pt x="136" y="636"/>
                    <a:pt x="136" y="637"/>
                    <a:pt x="136" y="637"/>
                  </a:cubicBezTo>
                  <a:cubicBezTo>
                    <a:pt x="137" y="638"/>
                    <a:pt x="137" y="638"/>
                    <a:pt x="137" y="638"/>
                  </a:cubicBezTo>
                  <a:cubicBezTo>
                    <a:pt x="138" y="638"/>
                    <a:pt x="139" y="638"/>
                    <a:pt x="140" y="639"/>
                  </a:cubicBezTo>
                  <a:cubicBezTo>
                    <a:pt x="143" y="640"/>
                    <a:pt x="148" y="641"/>
                    <a:pt x="151" y="643"/>
                  </a:cubicBezTo>
                  <a:cubicBezTo>
                    <a:pt x="153" y="644"/>
                    <a:pt x="154" y="644"/>
                    <a:pt x="155" y="645"/>
                  </a:cubicBezTo>
                  <a:cubicBezTo>
                    <a:pt x="156" y="644"/>
                    <a:pt x="156" y="644"/>
                    <a:pt x="156" y="644"/>
                  </a:cubicBezTo>
                  <a:cubicBezTo>
                    <a:pt x="155" y="645"/>
                    <a:pt x="155" y="645"/>
                    <a:pt x="155" y="645"/>
                  </a:cubicBezTo>
                  <a:cubicBezTo>
                    <a:pt x="156" y="646"/>
                    <a:pt x="156" y="646"/>
                    <a:pt x="156" y="647"/>
                  </a:cubicBezTo>
                  <a:cubicBezTo>
                    <a:pt x="156" y="648"/>
                    <a:pt x="156" y="649"/>
                    <a:pt x="156" y="650"/>
                  </a:cubicBezTo>
                  <a:cubicBezTo>
                    <a:pt x="171" y="658"/>
                    <a:pt x="171" y="658"/>
                    <a:pt x="171" y="658"/>
                  </a:cubicBezTo>
                  <a:cubicBezTo>
                    <a:pt x="172" y="657"/>
                    <a:pt x="172" y="657"/>
                    <a:pt x="172" y="657"/>
                  </a:cubicBezTo>
                  <a:cubicBezTo>
                    <a:pt x="176" y="662"/>
                    <a:pt x="176" y="662"/>
                    <a:pt x="176" y="662"/>
                  </a:cubicBezTo>
                  <a:cubicBezTo>
                    <a:pt x="176" y="660"/>
                    <a:pt x="177" y="659"/>
                    <a:pt x="178" y="657"/>
                  </a:cubicBezTo>
                  <a:cubicBezTo>
                    <a:pt x="178" y="657"/>
                    <a:pt x="178" y="657"/>
                    <a:pt x="178" y="657"/>
                  </a:cubicBezTo>
                  <a:cubicBezTo>
                    <a:pt x="178" y="656"/>
                    <a:pt x="179" y="656"/>
                    <a:pt x="179" y="656"/>
                  </a:cubicBezTo>
                  <a:cubicBezTo>
                    <a:pt x="179" y="655"/>
                    <a:pt x="180" y="655"/>
                    <a:pt x="180" y="655"/>
                  </a:cubicBezTo>
                  <a:cubicBezTo>
                    <a:pt x="180" y="654"/>
                    <a:pt x="180" y="654"/>
                    <a:pt x="180" y="654"/>
                  </a:cubicBezTo>
                  <a:cubicBezTo>
                    <a:pt x="182" y="653"/>
                    <a:pt x="183" y="653"/>
                    <a:pt x="185" y="653"/>
                  </a:cubicBezTo>
                  <a:cubicBezTo>
                    <a:pt x="185" y="653"/>
                    <a:pt x="186" y="653"/>
                    <a:pt x="187" y="653"/>
                  </a:cubicBezTo>
                  <a:cubicBezTo>
                    <a:pt x="190" y="653"/>
                    <a:pt x="195" y="654"/>
                    <a:pt x="197" y="655"/>
                  </a:cubicBezTo>
                  <a:cubicBezTo>
                    <a:pt x="199" y="657"/>
                    <a:pt x="199" y="659"/>
                    <a:pt x="200" y="660"/>
                  </a:cubicBezTo>
                  <a:cubicBezTo>
                    <a:pt x="200" y="661"/>
                    <a:pt x="200" y="661"/>
                    <a:pt x="201" y="662"/>
                  </a:cubicBezTo>
                  <a:cubicBezTo>
                    <a:pt x="201" y="663"/>
                    <a:pt x="202" y="663"/>
                    <a:pt x="203" y="664"/>
                  </a:cubicBezTo>
                  <a:cubicBezTo>
                    <a:pt x="204" y="664"/>
                    <a:pt x="204" y="664"/>
                    <a:pt x="204" y="664"/>
                  </a:cubicBezTo>
                  <a:cubicBezTo>
                    <a:pt x="204" y="664"/>
                    <a:pt x="205" y="664"/>
                    <a:pt x="206" y="665"/>
                  </a:cubicBezTo>
                  <a:cubicBezTo>
                    <a:pt x="207" y="665"/>
                    <a:pt x="207" y="665"/>
                    <a:pt x="207" y="665"/>
                  </a:cubicBezTo>
                  <a:cubicBezTo>
                    <a:pt x="209" y="666"/>
                    <a:pt x="210" y="667"/>
                    <a:pt x="211" y="667"/>
                  </a:cubicBezTo>
                  <a:cubicBezTo>
                    <a:pt x="212" y="668"/>
                    <a:pt x="213" y="669"/>
                    <a:pt x="214" y="670"/>
                  </a:cubicBezTo>
                  <a:cubicBezTo>
                    <a:pt x="215" y="672"/>
                    <a:pt x="215" y="672"/>
                    <a:pt x="215" y="672"/>
                  </a:cubicBezTo>
                  <a:cubicBezTo>
                    <a:pt x="216" y="672"/>
                    <a:pt x="217" y="673"/>
                    <a:pt x="218" y="673"/>
                  </a:cubicBezTo>
                  <a:cubicBezTo>
                    <a:pt x="219" y="673"/>
                    <a:pt x="220" y="673"/>
                    <a:pt x="220" y="673"/>
                  </a:cubicBezTo>
                  <a:cubicBezTo>
                    <a:pt x="220" y="673"/>
                    <a:pt x="220" y="673"/>
                    <a:pt x="221" y="673"/>
                  </a:cubicBezTo>
                  <a:cubicBezTo>
                    <a:pt x="221" y="673"/>
                    <a:pt x="221" y="673"/>
                    <a:pt x="221" y="673"/>
                  </a:cubicBezTo>
                  <a:cubicBezTo>
                    <a:pt x="222" y="673"/>
                    <a:pt x="222" y="673"/>
                    <a:pt x="222" y="673"/>
                  </a:cubicBezTo>
                  <a:cubicBezTo>
                    <a:pt x="222" y="673"/>
                    <a:pt x="223" y="673"/>
                    <a:pt x="223" y="674"/>
                  </a:cubicBezTo>
                  <a:cubicBezTo>
                    <a:pt x="224" y="674"/>
                    <a:pt x="224" y="674"/>
                    <a:pt x="224" y="674"/>
                  </a:cubicBezTo>
                  <a:cubicBezTo>
                    <a:pt x="225" y="675"/>
                    <a:pt x="225" y="675"/>
                    <a:pt x="225" y="675"/>
                  </a:cubicBezTo>
                  <a:cubicBezTo>
                    <a:pt x="225" y="675"/>
                    <a:pt x="226" y="675"/>
                    <a:pt x="226" y="675"/>
                  </a:cubicBezTo>
                  <a:cubicBezTo>
                    <a:pt x="226" y="676"/>
                    <a:pt x="227" y="676"/>
                    <a:pt x="227" y="677"/>
                  </a:cubicBezTo>
                  <a:cubicBezTo>
                    <a:pt x="230" y="674"/>
                    <a:pt x="230" y="674"/>
                    <a:pt x="230" y="674"/>
                  </a:cubicBezTo>
                  <a:cubicBezTo>
                    <a:pt x="228" y="678"/>
                    <a:pt x="228" y="678"/>
                    <a:pt x="228" y="678"/>
                  </a:cubicBezTo>
                  <a:cubicBezTo>
                    <a:pt x="228" y="678"/>
                    <a:pt x="228" y="678"/>
                    <a:pt x="228" y="678"/>
                  </a:cubicBezTo>
                  <a:cubicBezTo>
                    <a:pt x="230" y="679"/>
                    <a:pt x="231" y="680"/>
                    <a:pt x="232" y="682"/>
                  </a:cubicBezTo>
                  <a:cubicBezTo>
                    <a:pt x="232" y="682"/>
                    <a:pt x="232" y="683"/>
                    <a:pt x="233" y="683"/>
                  </a:cubicBezTo>
                  <a:cubicBezTo>
                    <a:pt x="233" y="683"/>
                    <a:pt x="233" y="683"/>
                    <a:pt x="233" y="683"/>
                  </a:cubicBezTo>
                  <a:cubicBezTo>
                    <a:pt x="234" y="685"/>
                    <a:pt x="234" y="685"/>
                    <a:pt x="234" y="685"/>
                  </a:cubicBezTo>
                  <a:cubicBezTo>
                    <a:pt x="235" y="685"/>
                    <a:pt x="235" y="685"/>
                    <a:pt x="235" y="685"/>
                  </a:cubicBezTo>
                  <a:cubicBezTo>
                    <a:pt x="235" y="685"/>
                    <a:pt x="235" y="685"/>
                    <a:pt x="235" y="685"/>
                  </a:cubicBezTo>
                  <a:cubicBezTo>
                    <a:pt x="237" y="684"/>
                    <a:pt x="240" y="683"/>
                    <a:pt x="242" y="683"/>
                  </a:cubicBezTo>
                  <a:cubicBezTo>
                    <a:pt x="242" y="683"/>
                    <a:pt x="243" y="683"/>
                    <a:pt x="243" y="683"/>
                  </a:cubicBezTo>
                  <a:cubicBezTo>
                    <a:pt x="245" y="683"/>
                    <a:pt x="246" y="683"/>
                    <a:pt x="247" y="684"/>
                  </a:cubicBezTo>
                  <a:cubicBezTo>
                    <a:pt x="249" y="685"/>
                    <a:pt x="248" y="687"/>
                    <a:pt x="248" y="688"/>
                  </a:cubicBezTo>
                  <a:cubicBezTo>
                    <a:pt x="248" y="688"/>
                    <a:pt x="248" y="688"/>
                    <a:pt x="248" y="688"/>
                  </a:cubicBezTo>
                  <a:cubicBezTo>
                    <a:pt x="249" y="689"/>
                    <a:pt x="249" y="689"/>
                    <a:pt x="249" y="689"/>
                  </a:cubicBezTo>
                  <a:cubicBezTo>
                    <a:pt x="250" y="690"/>
                    <a:pt x="250" y="691"/>
                    <a:pt x="250" y="693"/>
                  </a:cubicBezTo>
                  <a:cubicBezTo>
                    <a:pt x="250" y="693"/>
                    <a:pt x="251" y="694"/>
                    <a:pt x="252" y="695"/>
                  </a:cubicBezTo>
                  <a:cubicBezTo>
                    <a:pt x="252" y="695"/>
                    <a:pt x="252" y="695"/>
                    <a:pt x="252" y="695"/>
                  </a:cubicBezTo>
                  <a:cubicBezTo>
                    <a:pt x="253" y="695"/>
                    <a:pt x="253" y="696"/>
                    <a:pt x="254" y="696"/>
                  </a:cubicBezTo>
                  <a:cubicBezTo>
                    <a:pt x="255" y="697"/>
                    <a:pt x="255" y="697"/>
                    <a:pt x="255" y="697"/>
                  </a:cubicBezTo>
                  <a:cubicBezTo>
                    <a:pt x="255" y="697"/>
                    <a:pt x="256" y="697"/>
                    <a:pt x="256" y="697"/>
                  </a:cubicBezTo>
                  <a:cubicBezTo>
                    <a:pt x="257" y="698"/>
                    <a:pt x="257" y="698"/>
                    <a:pt x="257" y="698"/>
                  </a:cubicBezTo>
                  <a:cubicBezTo>
                    <a:pt x="258" y="699"/>
                    <a:pt x="259" y="699"/>
                    <a:pt x="260" y="700"/>
                  </a:cubicBezTo>
                  <a:cubicBezTo>
                    <a:pt x="261" y="700"/>
                    <a:pt x="262" y="700"/>
                    <a:pt x="263" y="701"/>
                  </a:cubicBezTo>
                  <a:cubicBezTo>
                    <a:pt x="263" y="701"/>
                    <a:pt x="263" y="701"/>
                    <a:pt x="263" y="701"/>
                  </a:cubicBezTo>
                  <a:cubicBezTo>
                    <a:pt x="264" y="701"/>
                    <a:pt x="265" y="701"/>
                    <a:pt x="265" y="700"/>
                  </a:cubicBezTo>
                  <a:cubicBezTo>
                    <a:pt x="266" y="700"/>
                    <a:pt x="266" y="700"/>
                    <a:pt x="266" y="700"/>
                  </a:cubicBezTo>
                  <a:cubicBezTo>
                    <a:pt x="267" y="700"/>
                    <a:pt x="268" y="700"/>
                    <a:pt x="269" y="700"/>
                  </a:cubicBezTo>
                  <a:cubicBezTo>
                    <a:pt x="269" y="700"/>
                    <a:pt x="270" y="700"/>
                    <a:pt x="270" y="700"/>
                  </a:cubicBezTo>
                  <a:cubicBezTo>
                    <a:pt x="274" y="701"/>
                    <a:pt x="274" y="701"/>
                    <a:pt x="274" y="701"/>
                  </a:cubicBezTo>
                  <a:cubicBezTo>
                    <a:pt x="272" y="705"/>
                    <a:pt x="272" y="705"/>
                    <a:pt x="272" y="705"/>
                  </a:cubicBezTo>
                  <a:cubicBezTo>
                    <a:pt x="271" y="706"/>
                    <a:pt x="271" y="706"/>
                    <a:pt x="271" y="707"/>
                  </a:cubicBezTo>
                  <a:cubicBezTo>
                    <a:pt x="271" y="707"/>
                    <a:pt x="271" y="707"/>
                    <a:pt x="271" y="707"/>
                  </a:cubicBezTo>
                  <a:cubicBezTo>
                    <a:pt x="272" y="707"/>
                    <a:pt x="272" y="707"/>
                    <a:pt x="272" y="707"/>
                  </a:cubicBezTo>
                  <a:cubicBezTo>
                    <a:pt x="272" y="707"/>
                    <a:pt x="272" y="707"/>
                    <a:pt x="272" y="707"/>
                  </a:cubicBezTo>
                  <a:cubicBezTo>
                    <a:pt x="273" y="707"/>
                    <a:pt x="274" y="707"/>
                    <a:pt x="274" y="707"/>
                  </a:cubicBezTo>
                  <a:cubicBezTo>
                    <a:pt x="275" y="707"/>
                    <a:pt x="277" y="706"/>
                    <a:pt x="278" y="706"/>
                  </a:cubicBezTo>
                  <a:cubicBezTo>
                    <a:pt x="278" y="706"/>
                    <a:pt x="279" y="706"/>
                    <a:pt x="279" y="706"/>
                  </a:cubicBezTo>
                  <a:cubicBezTo>
                    <a:pt x="281" y="707"/>
                    <a:pt x="283" y="707"/>
                    <a:pt x="284" y="708"/>
                  </a:cubicBezTo>
                  <a:cubicBezTo>
                    <a:pt x="285" y="709"/>
                    <a:pt x="285" y="709"/>
                    <a:pt x="286" y="710"/>
                  </a:cubicBezTo>
                  <a:cubicBezTo>
                    <a:pt x="287" y="711"/>
                    <a:pt x="287" y="711"/>
                    <a:pt x="287" y="711"/>
                  </a:cubicBezTo>
                  <a:cubicBezTo>
                    <a:pt x="288" y="713"/>
                    <a:pt x="288" y="714"/>
                    <a:pt x="289" y="715"/>
                  </a:cubicBezTo>
                  <a:cubicBezTo>
                    <a:pt x="290" y="714"/>
                    <a:pt x="290" y="713"/>
                    <a:pt x="291" y="712"/>
                  </a:cubicBezTo>
                  <a:cubicBezTo>
                    <a:pt x="297" y="705"/>
                    <a:pt x="297" y="705"/>
                    <a:pt x="297" y="705"/>
                  </a:cubicBezTo>
                  <a:cubicBezTo>
                    <a:pt x="296" y="714"/>
                    <a:pt x="296" y="714"/>
                    <a:pt x="296" y="714"/>
                  </a:cubicBezTo>
                  <a:cubicBezTo>
                    <a:pt x="296" y="714"/>
                    <a:pt x="296" y="715"/>
                    <a:pt x="296" y="715"/>
                  </a:cubicBezTo>
                  <a:cubicBezTo>
                    <a:pt x="296" y="715"/>
                    <a:pt x="297" y="715"/>
                    <a:pt x="298" y="715"/>
                  </a:cubicBezTo>
                  <a:cubicBezTo>
                    <a:pt x="300" y="716"/>
                    <a:pt x="300" y="716"/>
                    <a:pt x="300" y="716"/>
                  </a:cubicBezTo>
                  <a:cubicBezTo>
                    <a:pt x="300" y="716"/>
                    <a:pt x="300" y="716"/>
                    <a:pt x="300" y="716"/>
                  </a:cubicBezTo>
                  <a:cubicBezTo>
                    <a:pt x="300" y="715"/>
                    <a:pt x="301" y="713"/>
                    <a:pt x="303" y="713"/>
                  </a:cubicBezTo>
                  <a:cubicBezTo>
                    <a:pt x="304" y="713"/>
                    <a:pt x="305" y="713"/>
                    <a:pt x="305" y="713"/>
                  </a:cubicBezTo>
                  <a:cubicBezTo>
                    <a:pt x="306" y="713"/>
                    <a:pt x="306" y="713"/>
                    <a:pt x="306" y="713"/>
                  </a:cubicBezTo>
                  <a:cubicBezTo>
                    <a:pt x="306" y="713"/>
                    <a:pt x="307" y="713"/>
                    <a:pt x="307" y="713"/>
                  </a:cubicBezTo>
                  <a:cubicBezTo>
                    <a:pt x="307" y="713"/>
                    <a:pt x="307" y="713"/>
                    <a:pt x="307" y="713"/>
                  </a:cubicBezTo>
                  <a:cubicBezTo>
                    <a:pt x="308" y="713"/>
                    <a:pt x="309" y="714"/>
                    <a:pt x="309" y="714"/>
                  </a:cubicBezTo>
                  <a:cubicBezTo>
                    <a:pt x="311" y="715"/>
                    <a:pt x="313" y="716"/>
                    <a:pt x="315" y="717"/>
                  </a:cubicBezTo>
                  <a:cubicBezTo>
                    <a:pt x="318" y="717"/>
                    <a:pt x="320" y="718"/>
                    <a:pt x="322" y="718"/>
                  </a:cubicBezTo>
                  <a:cubicBezTo>
                    <a:pt x="325" y="718"/>
                    <a:pt x="328" y="719"/>
                    <a:pt x="331" y="719"/>
                  </a:cubicBezTo>
                  <a:cubicBezTo>
                    <a:pt x="333" y="719"/>
                    <a:pt x="335" y="719"/>
                    <a:pt x="338" y="718"/>
                  </a:cubicBezTo>
                  <a:cubicBezTo>
                    <a:pt x="338" y="718"/>
                    <a:pt x="338" y="718"/>
                    <a:pt x="338" y="718"/>
                  </a:cubicBezTo>
                  <a:cubicBezTo>
                    <a:pt x="340" y="717"/>
                    <a:pt x="340" y="717"/>
                    <a:pt x="340" y="717"/>
                  </a:cubicBezTo>
                  <a:cubicBezTo>
                    <a:pt x="342" y="716"/>
                    <a:pt x="345" y="714"/>
                    <a:pt x="347" y="713"/>
                  </a:cubicBezTo>
                  <a:cubicBezTo>
                    <a:pt x="348" y="713"/>
                    <a:pt x="348" y="713"/>
                    <a:pt x="348" y="713"/>
                  </a:cubicBezTo>
                  <a:cubicBezTo>
                    <a:pt x="349" y="712"/>
                    <a:pt x="349" y="712"/>
                    <a:pt x="349" y="712"/>
                  </a:cubicBezTo>
                  <a:cubicBezTo>
                    <a:pt x="349" y="712"/>
                    <a:pt x="350" y="712"/>
                    <a:pt x="350" y="712"/>
                  </a:cubicBezTo>
                  <a:cubicBezTo>
                    <a:pt x="351" y="712"/>
                    <a:pt x="352" y="713"/>
                    <a:pt x="353" y="713"/>
                  </a:cubicBezTo>
                  <a:cubicBezTo>
                    <a:pt x="354" y="713"/>
                    <a:pt x="356" y="714"/>
                    <a:pt x="358" y="716"/>
                  </a:cubicBezTo>
                  <a:cubicBezTo>
                    <a:pt x="358" y="716"/>
                    <a:pt x="358" y="716"/>
                    <a:pt x="358" y="716"/>
                  </a:cubicBezTo>
                  <a:cubicBezTo>
                    <a:pt x="358" y="716"/>
                    <a:pt x="358" y="716"/>
                    <a:pt x="358" y="716"/>
                  </a:cubicBezTo>
                  <a:cubicBezTo>
                    <a:pt x="358" y="717"/>
                    <a:pt x="358" y="717"/>
                    <a:pt x="358" y="717"/>
                  </a:cubicBezTo>
                  <a:cubicBezTo>
                    <a:pt x="358" y="717"/>
                    <a:pt x="359" y="718"/>
                    <a:pt x="359" y="719"/>
                  </a:cubicBezTo>
                  <a:cubicBezTo>
                    <a:pt x="359" y="720"/>
                    <a:pt x="359" y="720"/>
                    <a:pt x="359" y="720"/>
                  </a:cubicBezTo>
                  <a:cubicBezTo>
                    <a:pt x="359" y="720"/>
                    <a:pt x="359" y="721"/>
                    <a:pt x="359" y="721"/>
                  </a:cubicBezTo>
                  <a:cubicBezTo>
                    <a:pt x="359" y="722"/>
                    <a:pt x="359" y="722"/>
                    <a:pt x="359" y="722"/>
                  </a:cubicBezTo>
                  <a:cubicBezTo>
                    <a:pt x="359" y="723"/>
                    <a:pt x="359" y="723"/>
                    <a:pt x="359" y="724"/>
                  </a:cubicBezTo>
                  <a:cubicBezTo>
                    <a:pt x="359" y="725"/>
                    <a:pt x="358" y="725"/>
                    <a:pt x="358" y="726"/>
                  </a:cubicBezTo>
                  <a:cubicBezTo>
                    <a:pt x="358" y="727"/>
                    <a:pt x="358" y="727"/>
                    <a:pt x="358" y="727"/>
                  </a:cubicBezTo>
                  <a:cubicBezTo>
                    <a:pt x="357" y="728"/>
                    <a:pt x="357" y="728"/>
                    <a:pt x="357" y="728"/>
                  </a:cubicBezTo>
                  <a:cubicBezTo>
                    <a:pt x="357" y="729"/>
                    <a:pt x="357" y="729"/>
                    <a:pt x="357" y="729"/>
                  </a:cubicBezTo>
                  <a:cubicBezTo>
                    <a:pt x="358" y="728"/>
                    <a:pt x="358" y="728"/>
                    <a:pt x="358" y="727"/>
                  </a:cubicBezTo>
                  <a:cubicBezTo>
                    <a:pt x="359" y="726"/>
                    <a:pt x="360" y="725"/>
                    <a:pt x="361" y="724"/>
                  </a:cubicBezTo>
                  <a:cubicBezTo>
                    <a:pt x="362" y="721"/>
                    <a:pt x="365" y="718"/>
                    <a:pt x="367" y="716"/>
                  </a:cubicBezTo>
                  <a:cubicBezTo>
                    <a:pt x="368" y="716"/>
                    <a:pt x="368" y="715"/>
                    <a:pt x="369" y="714"/>
                  </a:cubicBezTo>
                  <a:cubicBezTo>
                    <a:pt x="372" y="711"/>
                    <a:pt x="376" y="709"/>
                    <a:pt x="383" y="707"/>
                  </a:cubicBezTo>
                  <a:cubicBezTo>
                    <a:pt x="385" y="707"/>
                    <a:pt x="385" y="707"/>
                    <a:pt x="385" y="707"/>
                  </a:cubicBezTo>
                  <a:cubicBezTo>
                    <a:pt x="386" y="707"/>
                    <a:pt x="386" y="707"/>
                    <a:pt x="386" y="707"/>
                  </a:cubicBezTo>
                  <a:cubicBezTo>
                    <a:pt x="387" y="707"/>
                    <a:pt x="387" y="707"/>
                    <a:pt x="387" y="707"/>
                  </a:cubicBezTo>
                  <a:cubicBezTo>
                    <a:pt x="387" y="707"/>
                    <a:pt x="387" y="707"/>
                    <a:pt x="387" y="707"/>
                  </a:cubicBezTo>
                  <a:cubicBezTo>
                    <a:pt x="390" y="707"/>
                    <a:pt x="392" y="708"/>
                    <a:pt x="394" y="709"/>
                  </a:cubicBezTo>
                  <a:cubicBezTo>
                    <a:pt x="394" y="710"/>
                    <a:pt x="394" y="710"/>
                    <a:pt x="394" y="710"/>
                  </a:cubicBezTo>
                  <a:cubicBezTo>
                    <a:pt x="394" y="711"/>
                    <a:pt x="394" y="711"/>
                    <a:pt x="394" y="711"/>
                  </a:cubicBezTo>
                  <a:cubicBezTo>
                    <a:pt x="395" y="711"/>
                    <a:pt x="395" y="712"/>
                    <a:pt x="395" y="713"/>
                  </a:cubicBezTo>
                  <a:cubicBezTo>
                    <a:pt x="395" y="713"/>
                    <a:pt x="395" y="713"/>
                    <a:pt x="395" y="713"/>
                  </a:cubicBezTo>
                  <a:cubicBezTo>
                    <a:pt x="396" y="713"/>
                    <a:pt x="396" y="713"/>
                    <a:pt x="397" y="713"/>
                  </a:cubicBezTo>
                  <a:cubicBezTo>
                    <a:pt x="399" y="713"/>
                    <a:pt x="400" y="713"/>
                    <a:pt x="402" y="714"/>
                  </a:cubicBezTo>
                  <a:cubicBezTo>
                    <a:pt x="403" y="714"/>
                    <a:pt x="403" y="714"/>
                    <a:pt x="403" y="714"/>
                  </a:cubicBezTo>
                  <a:cubicBezTo>
                    <a:pt x="404" y="714"/>
                    <a:pt x="404" y="714"/>
                    <a:pt x="404" y="714"/>
                  </a:cubicBezTo>
                  <a:cubicBezTo>
                    <a:pt x="404" y="715"/>
                    <a:pt x="404" y="715"/>
                    <a:pt x="404" y="715"/>
                  </a:cubicBezTo>
                  <a:cubicBezTo>
                    <a:pt x="405" y="715"/>
                    <a:pt x="405" y="715"/>
                    <a:pt x="405" y="715"/>
                  </a:cubicBezTo>
                  <a:cubicBezTo>
                    <a:pt x="406" y="715"/>
                    <a:pt x="406" y="715"/>
                    <a:pt x="406" y="715"/>
                  </a:cubicBezTo>
                  <a:cubicBezTo>
                    <a:pt x="406" y="715"/>
                    <a:pt x="406" y="715"/>
                    <a:pt x="406" y="715"/>
                  </a:cubicBezTo>
                  <a:cubicBezTo>
                    <a:pt x="407" y="715"/>
                    <a:pt x="407" y="715"/>
                    <a:pt x="407" y="715"/>
                  </a:cubicBezTo>
                  <a:cubicBezTo>
                    <a:pt x="408" y="714"/>
                    <a:pt x="410" y="713"/>
                    <a:pt x="412" y="713"/>
                  </a:cubicBezTo>
                  <a:cubicBezTo>
                    <a:pt x="414" y="713"/>
                    <a:pt x="417" y="714"/>
                    <a:pt x="418" y="714"/>
                  </a:cubicBezTo>
                  <a:cubicBezTo>
                    <a:pt x="420" y="715"/>
                    <a:pt x="422" y="716"/>
                    <a:pt x="423" y="716"/>
                  </a:cubicBezTo>
                  <a:cubicBezTo>
                    <a:pt x="423" y="717"/>
                    <a:pt x="424" y="718"/>
                    <a:pt x="424" y="718"/>
                  </a:cubicBezTo>
                  <a:cubicBezTo>
                    <a:pt x="425" y="719"/>
                    <a:pt x="425" y="719"/>
                    <a:pt x="425" y="719"/>
                  </a:cubicBezTo>
                  <a:cubicBezTo>
                    <a:pt x="425" y="719"/>
                    <a:pt x="425" y="720"/>
                    <a:pt x="425" y="720"/>
                  </a:cubicBezTo>
                  <a:cubicBezTo>
                    <a:pt x="426" y="720"/>
                    <a:pt x="426" y="720"/>
                    <a:pt x="426" y="720"/>
                  </a:cubicBezTo>
                  <a:cubicBezTo>
                    <a:pt x="426" y="720"/>
                    <a:pt x="426" y="720"/>
                    <a:pt x="426" y="720"/>
                  </a:cubicBezTo>
                  <a:cubicBezTo>
                    <a:pt x="427" y="720"/>
                    <a:pt x="427" y="720"/>
                    <a:pt x="428" y="720"/>
                  </a:cubicBezTo>
                  <a:cubicBezTo>
                    <a:pt x="440" y="719"/>
                    <a:pt x="440" y="719"/>
                    <a:pt x="440" y="719"/>
                  </a:cubicBezTo>
                  <a:cubicBezTo>
                    <a:pt x="440" y="719"/>
                    <a:pt x="440" y="719"/>
                    <a:pt x="440" y="719"/>
                  </a:cubicBezTo>
                  <a:cubicBezTo>
                    <a:pt x="442" y="718"/>
                    <a:pt x="443" y="718"/>
                    <a:pt x="443" y="717"/>
                  </a:cubicBezTo>
                  <a:cubicBezTo>
                    <a:pt x="443" y="716"/>
                    <a:pt x="443" y="716"/>
                    <a:pt x="443" y="716"/>
                  </a:cubicBezTo>
                  <a:cubicBezTo>
                    <a:pt x="443" y="715"/>
                    <a:pt x="443" y="714"/>
                    <a:pt x="444" y="713"/>
                  </a:cubicBezTo>
                  <a:cubicBezTo>
                    <a:pt x="444" y="712"/>
                    <a:pt x="445" y="711"/>
                    <a:pt x="446" y="710"/>
                  </a:cubicBezTo>
                  <a:cubicBezTo>
                    <a:pt x="447" y="709"/>
                    <a:pt x="449" y="709"/>
                    <a:pt x="449" y="708"/>
                  </a:cubicBezTo>
                  <a:cubicBezTo>
                    <a:pt x="450" y="708"/>
                    <a:pt x="450" y="708"/>
                    <a:pt x="450" y="708"/>
                  </a:cubicBezTo>
                  <a:cubicBezTo>
                    <a:pt x="451" y="708"/>
                    <a:pt x="451" y="707"/>
                    <a:pt x="452" y="707"/>
                  </a:cubicBezTo>
                  <a:cubicBezTo>
                    <a:pt x="450" y="704"/>
                    <a:pt x="450" y="704"/>
                    <a:pt x="450" y="704"/>
                  </a:cubicBezTo>
                  <a:cubicBezTo>
                    <a:pt x="453" y="706"/>
                    <a:pt x="453" y="706"/>
                    <a:pt x="453" y="706"/>
                  </a:cubicBezTo>
                  <a:cubicBezTo>
                    <a:pt x="454" y="706"/>
                    <a:pt x="454" y="706"/>
                    <a:pt x="454" y="706"/>
                  </a:cubicBezTo>
                  <a:cubicBezTo>
                    <a:pt x="454" y="705"/>
                    <a:pt x="454" y="705"/>
                    <a:pt x="454" y="705"/>
                  </a:cubicBezTo>
                  <a:cubicBezTo>
                    <a:pt x="455" y="704"/>
                    <a:pt x="455" y="704"/>
                    <a:pt x="455" y="704"/>
                  </a:cubicBezTo>
                  <a:cubicBezTo>
                    <a:pt x="455" y="702"/>
                    <a:pt x="456" y="700"/>
                    <a:pt x="458" y="699"/>
                  </a:cubicBezTo>
                  <a:cubicBezTo>
                    <a:pt x="459" y="698"/>
                    <a:pt x="461" y="698"/>
                    <a:pt x="462" y="698"/>
                  </a:cubicBezTo>
                  <a:cubicBezTo>
                    <a:pt x="462" y="698"/>
                    <a:pt x="462" y="698"/>
                    <a:pt x="463" y="698"/>
                  </a:cubicBezTo>
                  <a:cubicBezTo>
                    <a:pt x="465" y="697"/>
                    <a:pt x="467" y="697"/>
                    <a:pt x="469" y="696"/>
                  </a:cubicBezTo>
                  <a:cubicBezTo>
                    <a:pt x="473" y="695"/>
                    <a:pt x="473" y="695"/>
                    <a:pt x="473" y="695"/>
                  </a:cubicBezTo>
                  <a:cubicBezTo>
                    <a:pt x="474" y="694"/>
                    <a:pt x="476" y="693"/>
                    <a:pt x="477" y="692"/>
                  </a:cubicBezTo>
                  <a:cubicBezTo>
                    <a:pt x="478" y="691"/>
                    <a:pt x="478" y="691"/>
                    <a:pt x="478" y="691"/>
                  </a:cubicBezTo>
                  <a:cubicBezTo>
                    <a:pt x="478" y="691"/>
                    <a:pt x="478" y="690"/>
                    <a:pt x="479" y="690"/>
                  </a:cubicBezTo>
                  <a:cubicBezTo>
                    <a:pt x="479" y="690"/>
                    <a:pt x="479" y="690"/>
                    <a:pt x="479" y="690"/>
                  </a:cubicBezTo>
                  <a:cubicBezTo>
                    <a:pt x="481" y="688"/>
                    <a:pt x="483" y="687"/>
                    <a:pt x="485" y="685"/>
                  </a:cubicBezTo>
                  <a:cubicBezTo>
                    <a:pt x="486" y="685"/>
                    <a:pt x="487" y="684"/>
                    <a:pt x="488" y="683"/>
                  </a:cubicBezTo>
                  <a:cubicBezTo>
                    <a:pt x="488" y="683"/>
                    <a:pt x="489" y="682"/>
                    <a:pt x="490" y="682"/>
                  </a:cubicBezTo>
                  <a:cubicBezTo>
                    <a:pt x="490" y="682"/>
                    <a:pt x="491" y="681"/>
                    <a:pt x="492" y="681"/>
                  </a:cubicBezTo>
                  <a:cubicBezTo>
                    <a:pt x="493" y="681"/>
                    <a:pt x="494" y="681"/>
                    <a:pt x="494" y="682"/>
                  </a:cubicBezTo>
                  <a:cubicBezTo>
                    <a:pt x="495" y="682"/>
                    <a:pt x="495" y="682"/>
                    <a:pt x="495" y="682"/>
                  </a:cubicBezTo>
                  <a:cubicBezTo>
                    <a:pt x="495" y="682"/>
                    <a:pt x="496" y="683"/>
                    <a:pt x="496" y="683"/>
                  </a:cubicBezTo>
                  <a:cubicBezTo>
                    <a:pt x="496" y="683"/>
                    <a:pt x="496" y="683"/>
                    <a:pt x="496" y="683"/>
                  </a:cubicBezTo>
                  <a:cubicBezTo>
                    <a:pt x="497" y="684"/>
                    <a:pt x="497" y="684"/>
                    <a:pt x="497" y="684"/>
                  </a:cubicBezTo>
                  <a:cubicBezTo>
                    <a:pt x="498" y="685"/>
                    <a:pt x="498" y="685"/>
                    <a:pt x="498" y="685"/>
                  </a:cubicBezTo>
                  <a:cubicBezTo>
                    <a:pt x="499" y="685"/>
                    <a:pt x="499" y="685"/>
                    <a:pt x="499" y="685"/>
                  </a:cubicBezTo>
                  <a:cubicBezTo>
                    <a:pt x="500" y="685"/>
                    <a:pt x="500" y="685"/>
                    <a:pt x="500" y="685"/>
                  </a:cubicBezTo>
                  <a:cubicBezTo>
                    <a:pt x="500" y="685"/>
                    <a:pt x="501" y="685"/>
                    <a:pt x="502" y="685"/>
                  </a:cubicBezTo>
                  <a:cubicBezTo>
                    <a:pt x="502" y="686"/>
                    <a:pt x="503" y="686"/>
                    <a:pt x="503" y="686"/>
                  </a:cubicBezTo>
                  <a:cubicBezTo>
                    <a:pt x="504" y="686"/>
                    <a:pt x="505" y="686"/>
                    <a:pt x="506" y="687"/>
                  </a:cubicBezTo>
                  <a:cubicBezTo>
                    <a:pt x="506" y="687"/>
                    <a:pt x="507" y="688"/>
                    <a:pt x="508" y="688"/>
                  </a:cubicBezTo>
                  <a:cubicBezTo>
                    <a:pt x="509" y="688"/>
                    <a:pt x="509" y="688"/>
                    <a:pt x="509" y="688"/>
                  </a:cubicBezTo>
                  <a:cubicBezTo>
                    <a:pt x="510" y="688"/>
                    <a:pt x="511" y="687"/>
                    <a:pt x="512" y="686"/>
                  </a:cubicBezTo>
                  <a:cubicBezTo>
                    <a:pt x="519" y="681"/>
                    <a:pt x="523" y="678"/>
                    <a:pt x="526" y="678"/>
                  </a:cubicBezTo>
                  <a:cubicBezTo>
                    <a:pt x="526" y="678"/>
                    <a:pt x="527" y="678"/>
                    <a:pt x="527" y="678"/>
                  </a:cubicBezTo>
                  <a:cubicBezTo>
                    <a:pt x="528" y="678"/>
                    <a:pt x="529" y="679"/>
                    <a:pt x="530" y="680"/>
                  </a:cubicBezTo>
                  <a:cubicBezTo>
                    <a:pt x="530" y="681"/>
                    <a:pt x="530" y="681"/>
                    <a:pt x="530" y="681"/>
                  </a:cubicBezTo>
                  <a:cubicBezTo>
                    <a:pt x="530" y="681"/>
                    <a:pt x="530" y="681"/>
                    <a:pt x="531" y="681"/>
                  </a:cubicBezTo>
                  <a:cubicBezTo>
                    <a:pt x="531" y="681"/>
                    <a:pt x="531" y="681"/>
                    <a:pt x="531" y="681"/>
                  </a:cubicBezTo>
                  <a:cubicBezTo>
                    <a:pt x="533" y="682"/>
                    <a:pt x="535" y="683"/>
                    <a:pt x="535" y="685"/>
                  </a:cubicBezTo>
                  <a:cubicBezTo>
                    <a:pt x="536" y="685"/>
                    <a:pt x="536" y="685"/>
                    <a:pt x="536" y="685"/>
                  </a:cubicBezTo>
                  <a:cubicBezTo>
                    <a:pt x="536" y="686"/>
                    <a:pt x="536" y="686"/>
                    <a:pt x="536" y="686"/>
                  </a:cubicBezTo>
                  <a:cubicBezTo>
                    <a:pt x="536" y="686"/>
                    <a:pt x="535" y="687"/>
                    <a:pt x="535" y="687"/>
                  </a:cubicBezTo>
                  <a:cubicBezTo>
                    <a:pt x="535" y="688"/>
                    <a:pt x="535" y="688"/>
                    <a:pt x="535" y="688"/>
                  </a:cubicBezTo>
                  <a:cubicBezTo>
                    <a:pt x="544" y="684"/>
                    <a:pt x="544" y="684"/>
                    <a:pt x="544" y="684"/>
                  </a:cubicBezTo>
                  <a:cubicBezTo>
                    <a:pt x="538" y="692"/>
                    <a:pt x="538" y="692"/>
                    <a:pt x="538" y="692"/>
                  </a:cubicBezTo>
                  <a:cubicBezTo>
                    <a:pt x="538" y="692"/>
                    <a:pt x="538" y="692"/>
                    <a:pt x="538" y="692"/>
                  </a:cubicBezTo>
                  <a:cubicBezTo>
                    <a:pt x="539" y="693"/>
                    <a:pt x="539" y="693"/>
                    <a:pt x="539" y="693"/>
                  </a:cubicBezTo>
                  <a:cubicBezTo>
                    <a:pt x="539" y="693"/>
                    <a:pt x="539" y="693"/>
                    <a:pt x="539" y="693"/>
                  </a:cubicBezTo>
                  <a:cubicBezTo>
                    <a:pt x="540" y="694"/>
                    <a:pt x="541" y="695"/>
                    <a:pt x="541" y="697"/>
                  </a:cubicBezTo>
                  <a:cubicBezTo>
                    <a:pt x="541" y="699"/>
                    <a:pt x="541" y="701"/>
                    <a:pt x="538" y="702"/>
                  </a:cubicBezTo>
                  <a:cubicBezTo>
                    <a:pt x="538" y="702"/>
                    <a:pt x="538" y="702"/>
                    <a:pt x="538" y="702"/>
                  </a:cubicBezTo>
                  <a:cubicBezTo>
                    <a:pt x="538" y="702"/>
                    <a:pt x="537" y="702"/>
                    <a:pt x="537" y="703"/>
                  </a:cubicBezTo>
                  <a:cubicBezTo>
                    <a:pt x="537" y="703"/>
                    <a:pt x="536" y="704"/>
                    <a:pt x="536" y="704"/>
                  </a:cubicBezTo>
                  <a:cubicBezTo>
                    <a:pt x="537" y="704"/>
                    <a:pt x="537" y="704"/>
                    <a:pt x="537" y="704"/>
                  </a:cubicBezTo>
                  <a:cubicBezTo>
                    <a:pt x="538" y="704"/>
                    <a:pt x="539" y="704"/>
                    <a:pt x="540" y="704"/>
                  </a:cubicBezTo>
                  <a:cubicBezTo>
                    <a:pt x="541" y="704"/>
                    <a:pt x="541" y="704"/>
                    <a:pt x="541" y="704"/>
                  </a:cubicBezTo>
                  <a:cubicBezTo>
                    <a:pt x="542" y="705"/>
                    <a:pt x="544" y="705"/>
                    <a:pt x="545" y="705"/>
                  </a:cubicBezTo>
                  <a:cubicBezTo>
                    <a:pt x="547" y="705"/>
                    <a:pt x="547" y="705"/>
                    <a:pt x="547" y="705"/>
                  </a:cubicBezTo>
                  <a:cubicBezTo>
                    <a:pt x="548" y="705"/>
                    <a:pt x="549" y="705"/>
                    <a:pt x="550" y="706"/>
                  </a:cubicBezTo>
                  <a:cubicBezTo>
                    <a:pt x="550" y="706"/>
                    <a:pt x="550" y="706"/>
                    <a:pt x="550" y="706"/>
                  </a:cubicBezTo>
                  <a:cubicBezTo>
                    <a:pt x="552" y="706"/>
                    <a:pt x="553" y="707"/>
                    <a:pt x="554" y="708"/>
                  </a:cubicBezTo>
                  <a:cubicBezTo>
                    <a:pt x="554" y="708"/>
                    <a:pt x="554" y="708"/>
                    <a:pt x="554" y="708"/>
                  </a:cubicBezTo>
                  <a:cubicBezTo>
                    <a:pt x="556" y="706"/>
                    <a:pt x="557" y="704"/>
                    <a:pt x="558" y="703"/>
                  </a:cubicBezTo>
                  <a:cubicBezTo>
                    <a:pt x="559" y="702"/>
                    <a:pt x="560" y="701"/>
                    <a:pt x="561" y="701"/>
                  </a:cubicBezTo>
                  <a:cubicBezTo>
                    <a:pt x="561" y="701"/>
                    <a:pt x="562" y="701"/>
                    <a:pt x="562" y="701"/>
                  </a:cubicBezTo>
                  <a:cubicBezTo>
                    <a:pt x="564" y="701"/>
                    <a:pt x="565" y="702"/>
                    <a:pt x="566" y="703"/>
                  </a:cubicBezTo>
                  <a:cubicBezTo>
                    <a:pt x="566" y="703"/>
                    <a:pt x="566" y="703"/>
                    <a:pt x="566" y="703"/>
                  </a:cubicBezTo>
                  <a:cubicBezTo>
                    <a:pt x="567" y="703"/>
                    <a:pt x="567" y="704"/>
                    <a:pt x="567" y="705"/>
                  </a:cubicBezTo>
                  <a:cubicBezTo>
                    <a:pt x="568" y="705"/>
                    <a:pt x="568" y="705"/>
                    <a:pt x="568" y="705"/>
                  </a:cubicBezTo>
                  <a:cubicBezTo>
                    <a:pt x="568" y="705"/>
                    <a:pt x="569" y="705"/>
                    <a:pt x="570" y="706"/>
                  </a:cubicBezTo>
                  <a:cubicBezTo>
                    <a:pt x="571" y="706"/>
                    <a:pt x="572" y="707"/>
                    <a:pt x="573" y="708"/>
                  </a:cubicBezTo>
                  <a:cubicBezTo>
                    <a:pt x="573" y="708"/>
                    <a:pt x="573" y="709"/>
                    <a:pt x="574" y="709"/>
                  </a:cubicBezTo>
                  <a:cubicBezTo>
                    <a:pt x="574" y="710"/>
                    <a:pt x="574" y="710"/>
                    <a:pt x="574" y="710"/>
                  </a:cubicBezTo>
                  <a:cubicBezTo>
                    <a:pt x="577" y="713"/>
                    <a:pt x="578" y="716"/>
                    <a:pt x="578" y="719"/>
                  </a:cubicBezTo>
                  <a:cubicBezTo>
                    <a:pt x="578" y="720"/>
                    <a:pt x="579" y="722"/>
                    <a:pt x="580" y="723"/>
                  </a:cubicBezTo>
                  <a:cubicBezTo>
                    <a:pt x="580" y="723"/>
                    <a:pt x="580" y="723"/>
                    <a:pt x="580" y="723"/>
                  </a:cubicBezTo>
                  <a:cubicBezTo>
                    <a:pt x="580" y="723"/>
                    <a:pt x="581" y="723"/>
                    <a:pt x="581" y="723"/>
                  </a:cubicBezTo>
                  <a:cubicBezTo>
                    <a:pt x="581" y="723"/>
                    <a:pt x="582" y="723"/>
                    <a:pt x="582" y="723"/>
                  </a:cubicBezTo>
                  <a:cubicBezTo>
                    <a:pt x="583" y="723"/>
                    <a:pt x="584" y="723"/>
                    <a:pt x="585" y="724"/>
                  </a:cubicBezTo>
                  <a:cubicBezTo>
                    <a:pt x="585" y="724"/>
                    <a:pt x="585" y="724"/>
                    <a:pt x="585" y="724"/>
                  </a:cubicBezTo>
                  <a:cubicBezTo>
                    <a:pt x="586" y="722"/>
                    <a:pt x="586" y="722"/>
                    <a:pt x="586" y="722"/>
                  </a:cubicBezTo>
                  <a:cubicBezTo>
                    <a:pt x="589" y="726"/>
                    <a:pt x="589" y="726"/>
                    <a:pt x="589" y="726"/>
                  </a:cubicBezTo>
                  <a:cubicBezTo>
                    <a:pt x="590" y="727"/>
                    <a:pt x="590" y="728"/>
                    <a:pt x="590" y="728"/>
                  </a:cubicBezTo>
                  <a:cubicBezTo>
                    <a:pt x="591" y="729"/>
                    <a:pt x="591" y="729"/>
                    <a:pt x="591" y="730"/>
                  </a:cubicBezTo>
                  <a:cubicBezTo>
                    <a:pt x="592" y="733"/>
                    <a:pt x="592" y="738"/>
                    <a:pt x="592" y="741"/>
                  </a:cubicBezTo>
                  <a:cubicBezTo>
                    <a:pt x="592" y="743"/>
                    <a:pt x="592" y="743"/>
                    <a:pt x="592" y="743"/>
                  </a:cubicBezTo>
                  <a:cubicBezTo>
                    <a:pt x="592" y="744"/>
                    <a:pt x="592" y="744"/>
                    <a:pt x="592" y="745"/>
                  </a:cubicBezTo>
                  <a:cubicBezTo>
                    <a:pt x="592" y="746"/>
                    <a:pt x="592" y="746"/>
                    <a:pt x="592" y="746"/>
                  </a:cubicBezTo>
                  <a:cubicBezTo>
                    <a:pt x="592" y="750"/>
                    <a:pt x="592" y="753"/>
                    <a:pt x="592" y="756"/>
                  </a:cubicBezTo>
                  <a:cubicBezTo>
                    <a:pt x="591" y="757"/>
                    <a:pt x="591" y="758"/>
                    <a:pt x="591" y="759"/>
                  </a:cubicBezTo>
                  <a:cubicBezTo>
                    <a:pt x="590" y="760"/>
                    <a:pt x="590" y="761"/>
                    <a:pt x="590" y="762"/>
                  </a:cubicBezTo>
                  <a:cubicBezTo>
                    <a:pt x="589" y="762"/>
                    <a:pt x="589" y="764"/>
                    <a:pt x="588" y="765"/>
                  </a:cubicBezTo>
                  <a:cubicBezTo>
                    <a:pt x="588" y="766"/>
                    <a:pt x="588" y="766"/>
                    <a:pt x="588" y="766"/>
                  </a:cubicBezTo>
                  <a:cubicBezTo>
                    <a:pt x="588" y="767"/>
                    <a:pt x="588" y="767"/>
                    <a:pt x="588" y="767"/>
                  </a:cubicBezTo>
                  <a:cubicBezTo>
                    <a:pt x="589" y="768"/>
                    <a:pt x="589" y="769"/>
                    <a:pt x="589" y="769"/>
                  </a:cubicBezTo>
                  <a:cubicBezTo>
                    <a:pt x="590" y="770"/>
                    <a:pt x="590" y="772"/>
                    <a:pt x="589" y="774"/>
                  </a:cubicBezTo>
                  <a:cubicBezTo>
                    <a:pt x="589" y="775"/>
                    <a:pt x="589" y="775"/>
                    <a:pt x="589" y="775"/>
                  </a:cubicBezTo>
                  <a:cubicBezTo>
                    <a:pt x="588" y="775"/>
                    <a:pt x="588" y="776"/>
                    <a:pt x="587" y="777"/>
                  </a:cubicBezTo>
                  <a:cubicBezTo>
                    <a:pt x="587" y="777"/>
                    <a:pt x="586" y="777"/>
                    <a:pt x="586" y="778"/>
                  </a:cubicBezTo>
                  <a:cubicBezTo>
                    <a:pt x="584" y="779"/>
                    <a:pt x="582" y="781"/>
                    <a:pt x="580" y="782"/>
                  </a:cubicBezTo>
                  <a:cubicBezTo>
                    <a:pt x="579" y="782"/>
                    <a:pt x="579" y="782"/>
                    <a:pt x="578" y="782"/>
                  </a:cubicBezTo>
                  <a:cubicBezTo>
                    <a:pt x="578" y="782"/>
                    <a:pt x="577" y="782"/>
                    <a:pt x="577" y="782"/>
                  </a:cubicBezTo>
                  <a:cubicBezTo>
                    <a:pt x="576" y="783"/>
                    <a:pt x="576" y="783"/>
                    <a:pt x="576" y="783"/>
                  </a:cubicBezTo>
                  <a:cubicBezTo>
                    <a:pt x="576" y="783"/>
                    <a:pt x="576" y="784"/>
                    <a:pt x="576" y="784"/>
                  </a:cubicBezTo>
                  <a:cubicBezTo>
                    <a:pt x="576" y="787"/>
                    <a:pt x="573" y="788"/>
                    <a:pt x="571" y="788"/>
                  </a:cubicBezTo>
                  <a:cubicBezTo>
                    <a:pt x="570" y="789"/>
                    <a:pt x="570" y="789"/>
                    <a:pt x="570" y="789"/>
                  </a:cubicBezTo>
                  <a:cubicBezTo>
                    <a:pt x="569" y="789"/>
                    <a:pt x="569" y="789"/>
                    <a:pt x="569" y="791"/>
                  </a:cubicBezTo>
                  <a:cubicBezTo>
                    <a:pt x="569" y="792"/>
                    <a:pt x="569" y="794"/>
                    <a:pt x="569" y="794"/>
                  </a:cubicBezTo>
                  <a:cubicBezTo>
                    <a:pt x="569" y="794"/>
                    <a:pt x="569" y="794"/>
                    <a:pt x="569" y="794"/>
                  </a:cubicBezTo>
                  <a:cubicBezTo>
                    <a:pt x="570" y="795"/>
                    <a:pt x="570" y="795"/>
                    <a:pt x="570" y="795"/>
                  </a:cubicBezTo>
                  <a:cubicBezTo>
                    <a:pt x="569" y="798"/>
                    <a:pt x="569" y="798"/>
                    <a:pt x="569" y="798"/>
                  </a:cubicBezTo>
                  <a:cubicBezTo>
                    <a:pt x="568" y="800"/>
                    <a:pt x="567" y="800"/>
                    <a:pt x="565" y="801"/>
                  </a:cubicBezTo>
                  <a:cubicBezTo>
                    <a:pt x="565" y="801"/>
                    <a:pt x="565" y="801"/>
                    <a:pt x="565" y="801"/>
                  </a:cubicBezTo>
                  <a:cubicBezTo>
                    <a:pt x="565" y="801"/>
                    <a:pt x="564" y="801"/>
                    <a:pt x="564" y="802"/>
                  </a:cubicBezTo>
                  <a:cubicBezTo>
                    <a:pt x="563" y="802"/>
                    <a:pt x="563" y="802"/>
                    <a:pt x="563" y="805"/>
                  </a:cubicBezTo>
                  <a:cubicBezTo>
                    <a:pt x="563" y="805"/>
                    <a:pt x="563" y="805"/>
                    <a:pt x="563" y="805"/>
                  </a:cubicBezTo>
                  <a:cubicBezTo>
                    <a:pt x="565" y="806"/>
                    <a:pt x="566" y="807"/>
                    <a:pt x="566" y="809"/>
                  </a:cubicBezTo>
                  <a:cubicBezTo>
                    <a:pt x="567" y="811"/>
                    <a:pt x="567" y="814"/>
                    <a:pt x="566" y="816"/>
                  </a:cubicBezTo>
                  <a:cubicBezTo>
                    <a:pt x="566" y="816"/>
                    <a:pt x="566" y="816"/>
                    <a:pt x="566" y="816"/>
                  </a:cubicBezTo>
                  <a:cubicBezTo>
                    <a:pt x="566" y="816"/>
                    <a:pt x="566" y="816"/>
                    <a:pt x="565" y="817"/>
                  </a:cubicBezTo>
                  <a:cubicBezTo>
                    <a:pt x="564" y="818"/>
                    <a:pt x="564" y="818"/>
                    <a:pt x="564" y="818"/>
                  </a:cubicBezTo>
                  <a:cubicBezTo>
                    <a:pt x="566" y="817"/>
                    <a:pt x="568" y="816"/>
                    <a:pt x="569" y="815"/>
                  </a:cubicBezTo>
                  <a:cubicBezTo>
                    <a:pt x="569" y="815"/>
                    <a:pt x="569" y="815"/>
                    <a:pt x="569" y="815"/>
                  </a:cubicBezTo>
                  <a:cubicBezTo>
                    <a:pt x="571" y="815"/>
                    <a:pt x="572" y="814"/>
                    <a:pt x="572" y="814"/>
                  </a:cubicBezTo>
                  <a:cubicBezTo>
                    <a:pt x="573" y="813"/>
                    <a:pt x="574" y="813"/>
                    <a:pt x="574" y="813"/>
                  </a:cubicBezTo>
                  <a:cubicBezTo>
                    <a:pt x="575" y="813"/>
                    <a:pt x="575" y="813"/>
                    <a:pt x="575" y="813"/>
                  </a:cubicBezTo>
                  <a:cubicBezTo>
                    <a:pt x="575" y="813"/>
                    <a:pt x="576" y="812"/>
                    <a:pt x="577" y="812"/>
                  </a:cubicBezTo>
                  <a:cubicBezTo>
                    <a:pt x="578" y="812"/>
                    <a:pt x="580" y="813"/>
                    <a:pt x="581" y="813"/>
                  </a:cubicBezTo>
                  <a:cubicBezTo>
                    <a:pt x="582" y="813"/>
                    <a:pt x="582" y="813"/>
                    <a:pt x="582" y="813"/>
                  </a:cubicBezTo>
                  <a:cubicBezTo>
                    <a:pt x="582" y="813"/>
                    <a:pt x="583" y="813"/>
                    <a:pt x="583" y="813"/>
                  </a:cubicBezTo>
                  <a:cubicBezTo>
                    <a:pt x="586" y="813"/>
                    <a:pt x="588" y="813"/>
                    <a:pt x="591" y="812"/>
                  </a:cubicBezTo>
                  <a:cubicBezTo>
                    <a:pt x="598" y="809"/>
                    <a:pt x="598" y="809"/>
                    <a:pt x="598" y="809"/>
                  </a:cubicBezTo>
                  <a:cubicBezTo>
                    <a:pt x="590" y="823"/>
                    <a:pt x="590" y="823"/>
                    <a:pt x="590" y="823"/>
                  </a:cubicBezTo>
                  <a:cubicBezTo>
                    <a:pt x="590" y="823"/>
                    <a:pt x="590" y="823"/>
                    <a:pt x="590" y="823"/>
                  </a:cubicBezTo>
                  <a:cubicBezTo>
                    <a:pt x="590" y="824"/>
                    <a:pt x="590" y="824"/>
                    <a:pt x="590" y="824"/>
                  </a:cubicBezTo>
                  <a:cubicBezTo>
                    <a:pt x="591" y="825"/>
                    <a:pt x="591" y="825"/>
                    <a:pt x="591" y="825"/>
                  </a:cubicBezTo>
                  <a:cubicBezTo>
                    <a:pt x="591" y="825"/>
                    <a:pt x="591" y="826"/>
                    <a:pt x="592" y="827"/>
                  </a:cubicBezTo>
                  <a:cubicBezTo>
                    <a:pt x="592" y="828"/>
                    <a:pt x="592" y="829"/>
                    <a:pt x="593" y="829"/>
                  </a:cubicBezTo>
                  <a:cubicBezTo>
                    <a:pt x="593" y="830"/>
                    <a:pt x="593" y="831"/>
                    <a:pt x="594" y="832"/>
                  </a:cubicBezTo>
                  <a:cubicBezTo>
                    <a:pt x="595" y="835"/>
                    <a:pt x="595" y="835"/>
                    <a:pt x="595" y="835"/>
                  </a:cubicBezTo>
                  <a:cubicBezTo>
                    <a:pt x="595" y="836"/>
                    <a:pt x="596" y="837"/>
                    <a:pt x="598" y="837"/>
                  </a:cubicBezTo>
                  <a:cubicBezTo>
                    <a:pt x="598" y="838"/>
                    <a:pt x="599" y="838"/>
                    <a:pt x="599" y="838"/>
                  </a:cubicBezTo>
                  <a:cubicBezTo>
                    <a:pt x="600" y="838"/>
                    <a:pt x="600" y="838"/>
                    <a:pt x="600" y="838"/>
                  </a:cubicBezTo>
                  <a:cubicBezTo>
                    <a:pt x="602" y="833"/>
                    <a:pt x="602" y="833"/>
                    <a:pt x="602" y="833"/>
                  </a:cubicBezTo>
                  <a:cubicBezTo>
                    <a:pt x="601" y="838"/>
                    <a:pt x="601" y="838"/>
                    <a:pt x="601" y="838"/>
                  </a:cubicBezTo>
                  <a:cubicBezTo>
                    <a:pt x="602" y="838"/>
                    <a:pt x="602" y="838"/>
                    <a:pt x="602" y="838"/>
                  </a:cubicBezTo>
                  <a:cubicBezTo>
                    <a:pt x="602" y="838"/>
                    <a:pt x="603" y="838"/>
                    <a:pt x="604" y="838"/>
                  </a:cubicBezTo>
                  <a:cubicBezTo>
                    <a:pt x="605" y="838"/>
                    <a:pt x="608" y="838"/>
                    <a:pt x="609" y="841"/>
                  </a:cubicBezTo>
                  <a:cubicBezTo>
                    <a:pt x="609" y="841"/>
                    <a:pt x="610" y="842"/>
                    <a:pt x="610" y="842"/>
                  </a:cubicBezTo>
                  <a:cubicBezTo>
                    <a:pt x="610" y="842"/>
                    <a:pt x="610" y="843"/>
                    <a:pt x="610" y="843"/>
                  </a:cubicBezTo>
                  <a:cubicBezTo>
                    <a:pt x="611" y="844"/>
                    <a:pt x="611" y="847"/>
                    <a:pt x="608" y="849"/>
                  </a:cubicBezTo>
                  <a:cubicBezTo>
                    <a:pt x="607" y="849"/>
                    <a:pt x="607" y="849"/>
                    <a:pt x="606" y="850"/>
                  </a:cubicBezTo>
                  <a:cubicBezTo>
                    <a:pt x="606" y="850"/>
                    <a:pt x="606" y="850"/>
                    <a:pt x="606" y="850"/>
                  </a:cubicBezTo>
                  <a:cubicBezTo>
                    <a:pt x="606" y="850"/>
                    <a:pt x="606" y="850"/>
                    <a:pt x="606" y="850"/>
                  </a:cubicBezTo>
                  <a:cubicBezTo>
                    <a:pt x="605" y="851"/>
                    <a:pt x="605" y="851"/>
                    <a:pt x="605" y="851"/>
                  </a:cubicBezTo>
                  <a:cubicBezTo>
                    <a:pt x="605" y="852"/>
                    <a:pt x="605" y="852"/>
                    <a:pt x="605" y="852"/>
                  </a:cubicBezTo>
                  <a:cubicBezTo>
                    <a:pt x="605" y="853"/>
                    <a:pt x="605" y="854"/>
                    <a:pt x="604" y="855"/>
                  </a:cubicBezTo>
                  <a:cubicBezTo>
                    <a:pt x="604" y="856"/>
                    <a:pt x="604" y="857"/>
                    <a:pt x="604" y="858"/>
                  </a:cubicBezTo>
                  <a:cubicBezTo>
                    <a:pt x="604" y="858"/>
                    <a:pt x="604" y="858"/>
                    <a:pt x="604" y="858"/>
                  </a:cubicBezTo>
                  <a:cubicBezTo>
                    <a:pt x="603" y="860"/>
                    <a:pt x="603" y="861"/>
                    <a:pt x="602" y="862"/>
                  </a:cubicBezTo>
                  <a:cubicBezTo>
                    <a:pt x="616" y="864"/>
                    <a:pt x="616" y="864"/>
                    <a:pt x="616" y="864"/>
                  </a:cubicBezTo>
                  <a:cubicBezTo>
                    <a:pt x="617" y="864"/>
                    <a:pt x="617" y="864"/>
                    <a:pt x="617" y="864"/>
                  </a:cubicBezTo>
                  <a:cubicBezTo>
                    <a:pt x="618" y="864"/>
                    <a:pt x="618" y="864"/>
                    <a:pt x="619" y="865"/>
                  </a:cubicBezTo>
                  <a:cubicBezTo>
                    <a:pt x="619" y="865"/>
                    <a:pt x="619" y="865"/>
                    <a:pt x="619" y="865"/>
                  </a:cubicBezTo>
                  <a:cubicBezTo>
                    <a:pt x="620" y="866"/>
                    <a:pt x="620" y="867"/>
                    <a:pt x="620" y="867"/>
                  </a:cubicBezTo>
                  <a:cubicBezTo>
                    <a:pt x="620" y="868"/>
                    <a:pt x="620" y="869"/>
                    <a:pt x="620" y="870"/>
                  </a:cubicBezTo>
                  <a:cubicBezTo>
                    <a:pt x="620" y="871"/>
                    <a:pt x="620" y="871"/>
                    <a:pt x="620" y="871"/>
                  </a:cubicBezTo>
                  <a:cubicBezTo>
                    <a:pt x="620" y="872"/>
                    <a:pt x="620" y="872"/>
                    <a:pt x="620" y="872"/>
                  </a:cubicBezTo>
                  <a:cubicBezTo>
                    <a:pt x="620" y="872"/>
                    <a:pt x="620" y="872"/>
                    <a:pt x="620" y="872"/>
                  </a:cubicBezTo>
                  <a:cubicBezTo>
                    <a:pt x="620" y="873"/>
                    <a:pt x="621" y="873"/>
                    <a:pt x="621" y="875"/>
                  </a:cubicBezTo>
                  <a:cubicBezTo>
                    <a:pt x="622" y="875"/>
                    <a:pt x="622" y="875"/>
                    <a:pt x="622" y="875"/>
                  </a:cubicBezTo>
                  <a:cubicBezTo>
                    <a:pt x="622" y="876"/>
                    <a:pt x="622" y="876"/>
                    <a:pt x="623" y="877"/>
                  </a:cubicBezTo>
                  <a:cubicBezTo>
                    <a:pt x="623" y="877"/>
                    <a:pt x="623" y="877"/>
                    <a:pt x="623" y="877"/>
                  </a:cubicBezTo>
                  <a:cubicBezTo>
                    <a:pt x="623" y="878"/>
                    <a:pt x="624" y="878"/>
                    <a:pt x="624" y="879"/>
                  </a:cubicBezTo>
                  <a:cubicBezTo>
                    <a:pt x="631" y="876"/>
                    <a:pt x="631" y="876"/>
                    <a:pt x="631" y="876"/>
                  </a:cubicBezTo>
                  <a:cubicBezTo>
                    <a:pt x="633" y="876"/>
                    <a:pt x="634" y="875"/>
                    <a:pt x="636" y="874"/>
                  </a:cubicBezTo>
                  <a:cubicBezTo>
                    <a:pt x="637" y="874"/>
                    <a:pt x="638" y="873"/>
                    <a:pt x="638" y="873"/>
                  </a:cubicBezTo>
                  <a:cubicBezTo>
                    <a:pt x="640" y="873"/>
                    <a:pt x="640" y="873"/>
                    <a:pt x="640" y="873"/>
                  </a:cubicBezTo>
                  <a:cubicBezTo>
                    <a:pt x="641" y="872"/>
                    <a:pt x="641" y="872"/>
                    <a:pt x="642" y="872"/>
                  </a:cubicBezTo>
                  <a:cubicBezTo>
                    <a:pt x="646" y="869"/>
                    <a:pt x="646" y="869"/>
                    <a:pt x="646" y="869"/>
                  </a:cubicBezTo>
                  <a:cubicBezTo>
                    <a:pt x="647" y="873"/>
                    <a:pt x="647" y="873"/>
                    <a:pt x="647" y="873"/>
                  </a:cubicBezTo>
                  <a:cubicBezTo>
                    <a:pt x="647" y="874"/>
                    <a:pt x="648" y="876"/>
                    <a:pt x="648" y="877"/>
                  </a:cubicBezTo>
                  <a:cubicBezTo>
                    <a:pt x="648" y="878"/>
                    <a:pt x="648" y="878"/>
                    <a:pt x="648" y="878"/>
                  </a:cubicBezTo>
                  <a:cubicBezTo>
                    <a:pt x="648" y="878"/>
                    <a:pt x="648" y="878"/>
                    <a:pt x="648" y="878"/>
                  </a:cubicBezTo>
                  <a:cubicBezTo>
                    <a:pt x="648" y="879"/>
                    <a:pt x="648" y="879"/>
                    <a:pt x="648" y="880"/>
                  </a:cubicBezTo>
                  <a:cubicBezTo>
                    <a:pt x="648" y="881"/>
                    <a:pt x="649" y="883"/>
                    <a:pt x="650" y="885"/>
                  </a:cubicBezTo>
                  <a:cubicBezTo>
                    <a:pt x="651" y="884"/>
                    <a:pt x="651" y="884"/>
                    <a:pt x="651" y="884"/>
                  </a:cubicBezTo>
                  <a:cubicBezTo>
                    <a:pt x="652" y="884"/>
                    <a:pt x="652" y="884"/>
                    <a:pt x="652" y="884"/>
                  </a:cubicBezTo>
                  <a:cubicBezTo>
                    <a:pt x="653" y="884"/>
                    <a:pt x="653" y="884"/>
                    <a:pt x="653" y="884"/>
                  </a:cubicBezTo>
                  <a:cubicBezTo>
                    <a:pt x="654" y="885"/>
                    <a:pt x="655" y="885"/>
                    <a:pt x="655" y="885"/>
                  </a:cubicBezTo>
                  <a:cubicBezTo>
                    <a:pt x="656" y="885"/>
                    <a:pt x="656" y="885"/>
                    <a:pt x="656" y="885"/>
                  </a:cubicBezTo>
                  <a:cubicBezTo>
                    <a:pt x="656" y="885"/>
                    <a:pt x="656" y="885"/>
                    <a:pt x="656" y="885"/>
                  </a:cubicBezTo>
                  <a:cubicBezTo>
                    <a:pt x="656" y="883"/>
                    <a:pt x="656" y="880"/>
                    <a:pt x="657" y="877"/>
                  </a:cubicBezTo>
                  <a:cubicBezTo>
                    <a:pt x="657" y="876"/>
                    <a:pt x="657" y="876"/>
                    <a:pt x="657" y="876"/>
                  </a:cubicBezTo>
                  <a:cubicBezTo>
                    <a:pt x="657" y="874"/>
                    <a:pt x="657" y="873"/>
                    <a:pt x="655" y="871"/>
                  </a:cubicBezTo>
                  <a:cubicBezTo>
                    <a:pt x="655" y="870"/>
                    <a:pt x="655" y="869"/>
                    <a:pt x="654" y="869"/>
                  </a:cubicBezTo>
                  <a:cubicBezTo>
                    <a:pt x="654" y="868"/>
                    <a:pt x="654" y="868"/>
                    <a:pt x="654" y="868"/>
                  </a:cubicBezTo>
                  <a:cubicBezTo>
                    <a:pt x="653" y="866"/>
                    <a:pt x="651" y="864"/>
                    <a:pt x="652" y="862"/>
                  </a:cubicBezTo>
                  <a:cubicBezTo>
                    <a:pt x="652" y="861"/>
                    <a:pt x="652" y="861"/>
                    <a:pt x="652" y="860"/>
                  </a:cubicBezTo>
                  <a:cubicBezTo>
                    <a:pt x="652" y="859"/>
                    <a:pt x="652" y="859"/>
                    <a:pt x="652" y="859"/>
                  </a:cubicBezTo>
                  <a:cubicBezTo>
                    <a:pt x="653" y="859"/>
                    <a:pt x="653" y="859"/>
                    <a:pt x="653" y="859"/>
                  </a:cubicBezTo>
                  <a:cubicBezTo>
                    <a:pt x="653" y="858"/>
                    <a:pt x="654" y="857"/>
                    <a:pt x="655" y="856"/>
                  </a:cubicBezTo>
                  <a:cubicBezTo>
                    <a:pt x="655" y="856"/>
                    <a:pt x="655" y="856"/>
                    <a:pt x="655" y="856"/>
                  </a:cubicBezTo>
                  <a:cubicBezTo>
                    <a:pt x="656" y="854"/>
                    <a:pt x="656" y="854"/>
                    <a:pt x="656" y="854"/>
                  </a:cubicBezTo>
                  <a:cubicBezTo>
                    <a:pt x="656" y="854"/>
                    <a:pt x="657" y="853"/>
                    <a:pt x="658" y="853"/>
                  </a:cubicBezTo>
                  <a:cubicBezTo>
                    <a:pt x="658" y="853"/>
                    <a:pt x="659" y="853"/>
                    <a:pt x="660" y="853"/>
                  </a:cubicBezTo>
                  <a:cubicBezTo>
                    <a:pt x="662" y="853"/>
                    <a:pt x="664" y="854"/>
                    <a:pt x="666" y="854"/>
                  </a:cubicBezTo>
                  <a:cubicBezTo>
                    <a:pt x="666" y="855"/>
                    <a:pt x="666" y="855"/>
                    <a:pt x="666" y="855"/>
                  </a:cubicBezTo>
                  <a:cubicBezTo>
                    <a:pt x="667" y="855"/>
                    <a:pt x="667" y="855"/>
                    <a:pt x="667" y="855"/>
                  </a:cubicBezTo>
                  <a:cubicBezTo>
                    <a:pt x="668" y="855"/>
                    <a:pt x="668" y="855"/>
                    <a:pt x="668" y="855"/>
                  </a:cubicBezTo>
                  <a:cubicBezTo>
                    <a:pt x="670" y="853"/>
                    <a:pt x="671" y="852"/>
                    <a:pt x="673" y="850"/>
                  </a:cubicBezTo>
                  <a:cubicBezTo>
                    <a:pt x="673" y="849"/>
                    <a:pt x="673" y="849"/>
                    <a:pt x="673" y="849"/>
                  </a:cubicBezTo>
                  <a:cubicBezTo>
                    <a:pt x="673" y="848"/>
                    <a:pt x="675" y="846"/>
                    <a:pt x="677" y="846"/>
                  </a:cubicBezTo>
                  <a:cubicBezTo>
                    <a:pt x="677" y="846"/>
                    <a:pt x="677" y="846"/>
                    <a:pt x="677" y="846"/>
                  </a:cubicBezTo>
                  <a:cubicBezTo>
                    <a:pt x="678" y="846"/>
                    <a:pt x="679" y="847"/>
                    <a:pt x="680" y="847"/>
                  </a:cubicBezTo>
                  <a:cubicBezTo>
                    <a:pt x="680" y="847"/>
                    <a:pt x="681" y="848"/>
                    <a:pt x="682" y="848"/>
                  </a:cubicBezTo>
                  <a:cubicBezTo>
                    <a:pt x="684" y="849"/>
                    <a:pt x="684" y="849"/>
                    <a:pt x="684" y="849"/>
                  </a:cubicBezTo>
                  <a:cubicBezTo>
                    <a:pt x="685" y="850"/>
                    <a:pt x="686" y="850"/>
                    <a:pt x="687" y="851"/>
                  </a:cubicBezTo>
                  <a:cubicBezTo>
                    <a:pt x="688" y="851"/>
                    <a:pt x="688" y="852"/>
                    <a:pt x="689" y="853"/>
                  </a:cubicBezTo>
                  <a:cubicBezTo>
                    <a:pt x="689" y="853"/>
                    <a:pt x="689" y="853"/>
                    <a:pt x="689" y="853"/>
                  </a:cubicBezTo>
                  <a:cubicBezTo>
                    <a:pt x="689" y="853"/>
                    <a:pt x="690" y="852"/>
                    <a:pt x="690" y="851"/>
                  </a:cubicBezTo>
                  <a:cubicBezTo>
                    <a:pt x="690" y="851"/>
                    <a:pt x="690" y="851"/>
                    <a:pt x="690" y="851"/>
                  </a:cubicBezTo>
                  <a:cubicBezTo>
                    <a:pt x="691" y="851"/>
                    <a:pt x="691" y="851"/>
                    <a:pt x="691" y="851"/>
                  </a:cubicBezTo>
                  <a:cubicBezTo>
                    <a:pt x="692" y="850"/>
                    <a:pt x="692" y="850"/>
                    <a:pt x="692" y="850"/>
                  </a:cubicBezTo>
                  <a:cubicBezTo>
                    <a:pt x="693" y="849"/>
                    <a:pt x="693" y="849"/>
                    <a:pt x="693" y="849"/>
                  </a:cubicBezTo>
                  <a:cubicBezTo>
                    <a:pt x="694" y="847"/>
                    <a:pt x="695" y="846"/>
                    <a:pt x="696" y="846"/>
                  </a:cubicBezTo>
                  <a:cubicBezTo>
                    <a:pt x="696" y="846"/>
                    <a:pt x="696" y="846"/>
                    <a:pt x="696" y="846"/>
                  </a:cubicBezTo>
                  <a:cubicBezTo>
                    <a:pt x="699" y="846"/>
                    <a:pt x="699" y="846"/>
                    <a:pt x="699" y="846"/>
                  </a:cubicBezTo>
                  <a:cubicBezTo>
                    <a:pt x="699" y="846"/>
                    <a:pt x="699" y="846"/>
                    <a:pt x="699" y="846"/>
                  </a:cubicBezTo>
                  <a:cubicBezTo>
                    <a:pt x="700" y="847"/>
                    <a:pt x="700" y="847"/>
                    <a:pt x="700" y="847"/>
                  </a:cubicBezTo>
                  <a:cubicBezTo>
                    <a:pt x="701" y="848"/>
                    <a:pt x="701" y="848"/>
                    <a:pt x="701" y="848"/>
                  </a:cubicBezTo>
                  <a:cubicBezTo>
                    <a:pt x="702" y="847"/>
                    <a:pt x="702" y="847"/>
                    <a:pt x="702" y="847"/>
                  </a:cubicBezTo>
                  <a:cubicBezTo>
                    <a:pt x="704" y="844"/>
                    <a:pt x="704" y="844"/>
                    <a:pt x="704" y="844"/>
                  </a:cubicBezTo>
                  <a:cubicBezTo>
                    <a:pt x="706" y="847"/>
                    <a:pt x="706" y="847"/>
                    <a:pt x="706" y="847"/>
                  </a:cubicBezTo>
                  <a:cubicBezTo>
                    <a:pt x="707" y="848"/>
                    <a:pt x="707" y="848"/>
                    <a:pt x="707" y="848"/>
                  </a:cubicBezTo>
                  <a:cubicBezTo>
                    <a:pt x="708" y="849"/>
                    <a:pt x="709" y="850"/>
                    <a:pt x="709" y="850"/>
                  </a:cubicBezTo>
                  <a:cubicBezTo>
                    <a:pt x="710" y="851"/>
                    <a:pt x="710" y="851"/>
                    <a:pt x="711" y="852"/>
                  </a:cubicBezTo>
                  <a:cubicBezTo>
                    <a:pt x="711" y="852"/>
                    <a:pt x="711" y="852"/>
                    <a:pt x="711" y="852"/>
                  </a:cubicBezTo>
                  <a:cubicBezTo>
                    <a:pt x="719" y="843"/>
                    <a:pt x="719" y="843"/>
                    <a:pt x="719" y="843"/>
                  </a:cubicBezTo>
                  <a:cubicBezTo>
                    <a:pt x="721" y="846"/>
                    <a:pt x="721" y="846"/>
                    <a:pt x="721" y="846"/>
                  </a:cubicBezTo>
                  <a:cubicBezTo>
                    <a:pt x="721" y="847"/>
                    <a:pt x="722" y="847"/>
                    <a:pt x="722" y="848"/>
                  </a:cubicBezTo>
                  <a:cubicBezTo>
                    <a:pt x="725" y="846"/>
                    <a:pt x="725" y="846"/>
                    <a:pt x="725" y="846"/>
                  </a:cubicBezTo>
                  <a:cubicBezTo>
                    <a:pt x="726" y="846"/>
                    <a:pt x="727" y="845"/>
                    <a:pt x="728" y="845"/>
                  </a:cubicBezTo>
                  <a:cubicBezTo>
                    <a:pt x="728" y="844"/>
                    <a:pt x="728" y="844"/>
                    <a:pt x="728" y="844"/>
                  </a:cubicBezTo>
                  <a:cubicBezTo>
                    <a:pt x="729" y="844"/>
                    <a:pt x="729" y="844"/>
                    <a:pt x="730" y="843"/>
                  </a:cubicBezTo>
                  <a:cubicBezTo>
                    <a:pt x="730" y="842"/>
                    <a:pt x="731" y="841"/>
                    <a:pt x="732" y="839"/>
                  </a:cubicBezTo>
                  <a:cubicBezTo>
                    <a:pt x="733" y="836"/>
                    <a:pt x="733" y="836"/>
                    <a:pt x="733" y="836"/>
                  </a:cubicBezTo>
                  <a:cubicBezTo>
                    <a:pt x="734" y="836"/>
                    <a:pt x="734" y="836"/>
                    <a:pt x="734" y="836"/>
                  </a:cubicBezTo>
                  <a:cubicBezTo>
                    <a:pt x="735" y="835"/>
                    <a:pt x="735" y="835"/>
                    <a:pt x="735" y="835"/>
                  </a:cubicBezTo>
                  <a:cubicBezTo>
                    <a:pt x="736" y="835"/>
                    <a:pt x="736" y="835"/>
                    <a:pt x="736" y="835"/>
                  </a:cubicBezTo>
                  <a:cubicBezTo>
                    <a:pt x="738" y="833"/>
                    <a:pt x="741" y="831"/>
                    <a:pt x="743" y="831"/>
                  </a:cubicBezTo>
                  <a:cubicBezTo>
                    <a:pt x="744" y="831"/>
                    <a:pt x="744" y="831"/>
                    <a:pt x="744" y="831"/>
                  </a:cubicBezTo>
                  <a:cubicBezTo>
                    <a:pt x="745" y="831"/>
                    <a:pt x="746" y="832"/>
                    <a:pt x="746" y="833"/>
                  </a:cubicBezTo>
                  <a:cubicBezTo>
                    <a:pt x="747" y="834"/>
                    <a:pt x="747" y="834"/>
                    <a:pt x="748" y="834"/>
                  </a:cubicBezTo>
                  <a:cubicBezTo>
                    <a:pt x="748" y="835"/>
                    <a:pt x="749" y="835"/>
                    <a:pt x="750" y="836"/>
                  </a:cubicBezTo>
                  <a:cubicBezTo>
                    <a:pt x="751" y="837"/>
                    <a:pt x="751" y="837"/>
                    <a:pt x="751" y="837"/>
                  </a:cubicBezTo>
                  <a:cubicBezTo>
                    <a:pt x="752" y="839"/>
                    <a:pt x="753" y="840"/>
                    <a:pt x="754" y="840"/>
                  </a:cubicBezTo>
                  <a:cubicBezTo>
                    <a:pt x="755" y="841"/>
                    <a:pt x="755" y="841"/>
                    <a:pt x="755" y="841"/>
                  </a:cubicBezTo>
                  <a:cubicBezTo>
                    <a:pt x="758" y="843"/>
                    <a:pt x="760" y="843"/>
                    <a:pt x="764" y="843"/>
                  </a:cubicBezTo>
                  <a:cubicBezTo>
                    <a:pt x="765" y="843"/>
                    <a:pt x="765" y="843"/>
                    <a:pt x="765" y="843"/>
                  </a:cubicBezTo>
                  <a:cubicBezTo>
                    <a:pt x="766" y="843"/>
                    <a:pt x="766" y="843"/>
                    <a:pt x="767" y="843"/>
                  </a:cubicBezTo>
                  <a:cubicBezTo>
                    <a:pt x="767" y="843"/>
                    <a:pt x="768" y="843"/>
                    <a:pt x="768" y="843"/>
                  </a:cubicBezTo>
                  <a:cubicBezTo>
                    <a:pt x="769" y="843"/>
                    <a:pt x="769" y="843"/>
                    <a:pt x="770" y="843"/>
                  </a:cubicBezTo>
                  <a:cubicBezTo>
                    <a:pt x="771" y="843"/>
                    <a:pt x="773" y="843"/>
                    <a:pt x="775" y="844"/>
                  </a:cubicBezTo>
                  <a:cubicBezTo>
                    <a:pt x="777" y="839"/>
                    <a:pt x="777" y="839"/>
                    <a:pt x="777" y="839"/>
                  </a:cubicBezTo>
                  <a:cubicBezTo>
                    <a:pt x="776" y="844"/>
                    <a:pt x="776" y="844"/>
                    <a:pt x="776" y="844"/>
                  </a:cubicBezTo>
                  <a:cubicBezTo>
                    <a:pt x="777" y="844"/>
                    <a:pt x="777" y="844"/>
                    <a:pt x="777" y="844"/>
                  </a:cubicBezTo>
                  <a:cubicBezTo>
                    <a:pt x="777" y="845"/>
                    <a:pt x="778" y="845"/>
                    <a:pt x="778" y="845"/>
                  </a:cubicBezTo>
                  <a:cubicBezTo>
                    <a:pt x="779" y="845"/>
                    <a:pt x="780" y="846"/>
                    <a:pt x="781" y="847"/>
                  </a:cubicBezTo>
                  <a:cubicBezTo>
                    <a:pt x="782" y="848"/>
                    <a:pt x="782" y="848"/>
                    <a:pt x="782" y="848"/>
                  </a:cubicBezTo>
                  <a:cubicBezTo>
                    <a:pt x="781" y="850"/>
                    <a:pt x="781" y="850"/>
                    <a:pt x="781" y="850"/>
                  </a:cubicBezTo>
                  <a:cubicBezTo>
                    <a:pt x="780" y="852"/>
                    <a:pt x="779" y="853"/>
                    <a:pt x="778" y="855"/>
                  </a:cubicBezTo>
                  <a:cubicBezTo>
                    <a:pt x="777" y="856"/>
                    <a:pt x="777" y="856"/>
                    <a:pt x="777" y="856"/>
                  </a:cubicBezTo>
                  <a:cubicBezTo>
                    <a:pt x="776" y="857"/>
                    <a:pt x="776" y="858"/>
                    <a:pt x="775" y="858"/>
                  </a:cubicBezTo>
                  <a:cubicBezTo>
                    <a:pt x="776" y="858"/>
                    <a:pt x="776" y="858"/>
                    <a:pt x="776" y="858"/>
                  </a:cubicBezTo>
                  <a:cubicBezTo>
                    <a:pt x="776" y="859"/>
                    <a:pt x="776" y="859"/>
                    <a:pt x="776" y="859"/>
                  </a:cubicBezTo>
                  <a:cubicBezTo>
                    <a:pt x="777" y="860"/>
                    <a:pt x="777" y="861"/>
                    <a:pt x="778" y="863"/>
                  </a:cubicBezTo>
                  <a:cubicBezTo>
                    <a:pt x="778" y="864"/>
                    <a:pt x="778" y="865"/>
                    <a:pt x="778" y="865"/>
                  </a:cubicBezTo>
                  <a:cubicBezTo>
                    <a:pt x="778" y="866"/>
                    <a:pt x="778" y="866"/>
                    <a:pt x="778" y="866"/>
                  </a:cubicBezTo>
                  <a:cubicBezTo>
                    <a:pt x="779" y="866"/>
                    <a:pt x="779" y="866"/>
                    <a:pt x="779" y="866"/>
                  </a:cubicBezTo>
                  <a:cubicBezTo>
                    <a:pt x="780" y="866"/>
                    <a:pt x="780" y="866"/>
                    <a:pt x="780" y="866"/>
                  </a:cubicBezTo>
                  <a:cubicBezTo>
                    <a:pt x="781" y="866"/>
                    <a:pt x="783" y="866"/>
                    <a:pt x="785" y="867"/>
                  </a:cubicBezTo>
                  <a:cubicBezTo>
                    <a:pt x="786" y="868"/>
                    <a:pt x="787" y="869"/>
                    <a:pt x="788" y="870"/>
                  </a:cubicBezTo>
                  <a:cubicBezTo>
                    <a:pt x="789" y="872"/>
                    <a:pt x="789" y="872"/>
                    <a:pt x="789" y="872"/>
                  </a:cubicBezTo>
                  <a:cubicBezTo>
                    <a:pt x="790" y="873"/>
                    <a:pt x="790" y="873"/>
                    <a:pt x="790" y="873"/>
                  </a:cubicBezTo>
                  <a:cubicBezTo>
                    <a:pt x="791" y="873"/>
                    <a:pt x="791" y="873"/>
                    <a:pt x="791" y="873"/>
                  </a:cubicBezTo>
                  <a:cubicBezTo>
                    <a:pt x="792" y="874"/>
                    <a:pt x="792" y="874"/>
                    <a:pt x="792" y="874"/>
                  </a:cubicBezTo>
                  <a:cubicBezTo>
                    <a:pt x="793" y="874"/>
                    <a:pt x="794" y="874"/>
                    <a:pt x="794" y="874"/>
                  </a:cubicBezTo>
                  <a:cubicBezTo>
                    <a:pt x="795" y="874"/>
                    <a:pt x="796" y="874"/>
                    <a:pt x="796" y="874"/>
                  </a:cubicBezTo>
                  <a:cubicBezTo>
                    <a:pt x="798" y="874"/>
                    <a:pt x="801" y="875"/>
                    <a:pt x="803" y="876"/>
                  </a:cubicBezTo>
                  <a:cubicBezTo>
                    <a:pt x="804" y="876"/>
                    <a:pt x="805" y="876"/>
                    <a:pt x="806" y="876"/>
                  </a:cubicBezTo>
                  <a:cubicBezTo>
                    <a:pt x="807" y="877"/>
                    <a:pt x="807" y="877"/>
                    <a:pt x="807" y="877"/>
                  </a:cubicBezTo>
                  <a:cubicBezTo>
                    <a:pt x="809" y="878"/>
                    <a:pt x="809" y="878"/>
                    <a:pt x="809" y="878"/>
                  </a:cubicBezTo>
                  <a:cubicBezTo>
                    <a:pt x="809" y="878"/>
                    <a:pt x="809" y="878"/>
                    <a:pt x="809" y="878"/>
                  </a:cubicBezTo>
                  <a:cubicBezTo>
                    <a:pt x="810" y="878"/>
                    <a:pt x="811" y="877"/>
                    <a:pt x="812" y="877"/>
                  </a:cubicBezTo>
                  <a:cubicBezTo>
                    <a:pt x="812" y="878"/>
                    <a:pt x="812" y="879"/>
                    <a:pt x="811" y="880"/>
                  </a:cubicBezTo>
                  <a:cubicBezTo>
                    <a:pt x="812" y="880"/>
                    <a:pt x="813" y="879"/>
                    <a:pt x="813" y="878"/>
                  </a:cubicBezTo>
                  <a:cubicBezTo>
                    <a:pt x="813" y="878"/>
                    <a:pt x="814" y="876"/>
                    <a:pt x="814" y="875"/>
                  </a:cubicBezTo>
                  <a:cubicBezTo>
                    <a:pt x="814" y="875"/>
                    <a:pt x="817" y="877"/>
                    <a:pt x="818" y="878"/>
                  </a:cubicBezTo>
                  <a:cubicBezTo>
                    <a:pt x="819" y="877"/>
                    <a:pt x="819" y="876"/>
                    <a:pt x="819" y="876"/>
                  </a:cubicBezTo>
                  <a:cubicBezTo>
                    <a:pt x="819" y="876"/>
                    <a:pt x="818" y="876"/>
                    <a:pt x="818" y="876"/>
                  </a:cubicBezTo>
                  <a:cubicBezTo>
                    <a:pt x="818" y="876"/>
                    <a:pt x="818" y="875"/>
                    <a:pt x="818" y="874"/>
                  </a:cubicBezTo>
                  <a:cubicBezTo>
                    <a:pt x="817" y="873"/>
                    <a:pt x="817" y="869"/>
                    <a:pt x="819" y="869"/>
                  </a:cubicBezTo>
                  <a:cubicBezTo>
                    <a:pt x="819" y="869"/>
                    <a:pt x="819" y="869"/>
                    <a:pt x="820" y="869"/>
                  </a:cubicBezTo>
                  <a:cubicBezTo>
                    <a:pt x="819" y="870"/>
                    <a:pt x="819" y="870"/>
                    <a:pt x="819" y="870"/>
                  </a:cubicBezTo>
                  <a:cubicBezTo>
                    <a:pt x="819" y="870"/>
                    <a:pt x="819" y="870"/>
                    <a:pt x="819" y="870"/>
                  </a:cubicBezTo>
                  <a:cubicBezTo>
                    <a:pt x="820" y="870"/>
                    <a:pt x="820" y="871"/>
                    <a:pt x="821" y="871"/>
                  </a:cubicBezTo>
                  <a:cubicBezTo>
                    <a:pt x="821" y="871"/>
                    <a:pt x="820" y="872"/>
                    <a:pt x="820" y="873"/>
                  </a:cubicBezTo>
                  <a:cubicBezTo>
                    <a:pt x="820" y="873"/>
                    <a:pt x="820" y="873"/>
                    <a:pt x="821" y="873"/>
                  </a:cubicBezTo>
                  <a:cubicBezTo>
                    <a:pt x="822" y="873"/>
                    <a:pt x="822" y="873"/>
                    <a:pt x="821" y="874"/>
                  </a:cubicBezTo>
                  <a:cubicBezTo>
                    <a:pt x="821" y="874"/>
                    <a:pt x="821" y="874"/>
                    <a:pt x="821" y="874"/>
                  </a:cubicBezTo>
                  <a:cubicBezTo>
                    <a:pt x="822" y="874"/>
                    <a:pt x="822" y="874"/>
                    <a:pt x="822" y="874"/>
                  </a:cubicBezTo>
                  <a:cubicBezTo>
                    <a:pt x="823" y="874"/>
                    <a:pt x="823" y="875"/>
                    <a:pt x="823" y="875"/>
                  </a:cubicBezTo>
                  <a:cubicBezTo>
                    <a:pt x="823" y="875"/>
                    <a:pt x="823" y="875"/>
                    <a:pt x="823" y="875"/>
                  </a:cubicBezTo>
                  <a:cubicBezTo>
                    <a:pt x="823" y="875"/>
                    <a:pt x="825" y="877"/>
                    <a:pt x="826" y="877"/>
                  </a:cubicBezTo>
                  <a:cubicBezTo>
                    <a:pt x="826" y="877"/>
                    <a:pt x="826" y="877"/>
                    <a:pt x="826" y="877"/>
                  </a:cubicBezTo>
                  <a:cubicBezTo>
                    <a:pt x="826" y="877"/>
                    <a:pt x="827" y="874"/>
                    <a:pt x="828" y="874"/>
                  </a:cubicBezTo>
                  <a:cubicBezTo>
                    <a:pt x="827" y="876"/>
                    <a:pt x="827" y="877"/>
                    <a:pt x="829" y="878"/>
                  </a:cubicBezTo>
                  <a:cubicBezTo>
                    <a:pt x="829" y="878"/>
                    <a:pt x="831" y="878"/>
                    <a:pt x="832" y="879"/>
                  </a:cubicBezTo>
                  <a:cubicBezTo>
                    <a:pt x="833" y="880"/>
                    <a:pt x="833" y="882"/>
                    <a:pt x="833" y="883"/>
                  </a:cubicBezTo>
                  <a:cubicBezTo>
                    <a:pt x="835" y="882"/>
                    <a:pt x="839" y="882"/>
                    <a:pt x="842" y="881"/>
                  </a:cubicBezTo>
                  <a:cubicBezTo>
                    <a:pt x="844" y="880"/>
                    <a:pt x="843" y="877"/>
                    <a:pt x="841" y="877"/>
                  </a:cubicBezTo>
                  <a:cubicBezTo>
                    <a:pt x="842" y="876"/>
                    <a:pt x="843" y="875"/>
                    <a:pt x="843" y="874"/>
                  </a:cubicBezTo>
                  <a:cubicBezTo>
                    <a:pt x="844" y="874"/>
                    <a:pt x="844" y="874"/>
                    <a:pt x="844" y="874"/>
                  </a:cubicBezTo>
                  <a:cubicBezTo>
                    <a:pt x="843" y="875"/>
                    <a:pt x="842" y="876"/>
                    <a:pt x="843" y="876"/>
                  </a:cubicBezTo>
                  <a:cubicBezTo>
                    <a:pt x="844" y="877"/>
                    <a:pt x="845" y="877"/>
                    <a:pt x="846" y="878"/>
                  </a:cubicBezTo>
                  <a:cubicBezTo>
                    <a:pt x="846" y="878"/>
                    <a:pt x="846" y="880"/>
                    <a:pt x="847" y="881"/>
                  </a:cubicBezTo>
                  <a:cubicBezTo>
                    <a:pt x="847" y="880"/>
                    <a:pt x="847" y="879"/>
                    <a:pt x="847" y="878"/>
                  </a:cubicBezTo>
                  <a:cubicBezTo>
                    <a:pt x="848" y="879"/>
                    <a:pt x="850" y="881"/>
                    <a:pt x="851" y="881"/>
                  </a:cubicBezTo>
                  <a:cubicBezTo>
                    <a:pt x="851" y="881"/>
                    <a:pt x="851" y="881"/>
                    <a:pt x="852" y="881"/>
                  </a:cubicBezTo>
                  <a:cubicBezTo>
                    <a:pt x="851" y="882"/>
                    <a:pt x="850" y="884"/>
                    <a:pt x="848" y="884"/>
                  </a:cubicBezTo>
                  <a:cubicBezTo>
                    <a:pt x="848" y="884"/>
                    <a:pt x="848" y="884"/>
                    <a:pt x="848" y="884"/>
                  </a:cubicBezTo>
                  <a:cubicBezTo>
                    <a:pt x="848" y="886"/>
                    <a:pt x="848" y="887"/>
                    <a:pt x="847" y="889"/>
                  </a:cubicBezTo>
                  <a:cubicBezTo>
                    <a:pt x="847" y="889"/>
                    <a:pt x="847" y="888"/>
                    <a:pt x="846" y="888"/>
                  </a:cubicBezTo>
                  <a:cubicBezTo>
                    <a:pt x="845" y="888"/>
                    <a:pt x="846" y="892"/>
                    <a:pt x="846" y="893"/>
                  </a:cubicBezTo>
                  <a:cubicBezTo>
                    <a:pt x="846" y="897"/>
                    <a:pt x="847" y="898"/>
                    <a:pt x="849" y="903"/>
                  </a:cubicBezTo>
                  <a:cubicBezTo>
                    <a:pt x="850" y="905"/>
                    <a:pt x="850" y="910"/>
                    <a:pt x="852" y="911"/>
                  </a:cubicBezTo>
                  <a:cubicBezTo>
                    <a:pt x="852" y="912"/>
                    <a:pt x="853" y="912"/>
                    <a:pt x="854" y="912"/>
                  </a:cubicBezTo>
                  <a:cubicBezTo>
                    <a:pt x="857" y="912"/>
                    <a:pt x="862" y="911"/>
                    <a:pt x="863" y="909"/>
                  </a:cubicBezTo>
                  <a:cubicBezTo>
                    <a:pt x="866" y="907"/>
                    <a:pt x="865" y="905"/>
                    <a:pt x="863" y="903"/>
                  </a:cubicBezTo>
                  <a:cubicBezTo>
                    <a:pt x="862" y="902"/>
                    <a:pt x="861" y="902"/>
                    <a:pt x="861" y="901"/>
                  </a:cubicBezTo>
                  <a:cubicBezTo>
                    <a:pt x="860" y="901"/>
                    <a:pt x="860" y="901"/>
                    <a:pt x="860" y="901"/>
                  </a:cubicBezTo>
                  <a:cubicBezTo>
                    <a:pt x="860" y="900"/>
                    <a:pt x="861" y="899"/>
                    <a:pt x="861" y="898"/>
                  </a:cubicBezTo>
                  <a:cubicBezTo>
                    <a:pt x="861" y="899"/>
                    <a:pt x="862" y="899"/>
                    <a:pt x="862" y="900"/>
                  </a:cubicBezTo>
                  <a:cubicBezTo>
                    <a:pt x="862" y="897"/>
                    <a:pt x="861" y="896"/>
                    <a:pt x="860" y="896"/>
                  </a:cubicBezTo>
                  <a:cubicBezTo>
                    <a:pt x="860" y="896"/>
                    <a:pt x="860" y="897"/>
                    <a:pt x="859" y="897"/>
                  </a:cubicBezTo>
                  <a:cubicBezTo>
                    <a:pt x="859" y="897"/>
                    <a:pt x="859" y="897"/>
                    <a:pt x="859" y="897"/>
                  </a:cubicBezTo>
                  <a:cubicBezTo>
                    <a:pt x="858" y="897"/>
                    <a:pt x="857" y="896"/>
                    <a:pt x="857" y="895"/>
                  </a:cubicBezTo>
                  <a:cubicBezTo>
                    <a:pt x="856" y="891"/>
                    <a:pt x="862" y="889"/>
                    <a:pt x="862" y="886"/>
                  </a:cubicBezTo>
                  <a:cubicBezTo>
                    <a:pt x="862" y="885"/>
                    <a:pt x="861" y="884"/>
                    <a:pt x="862" y="882"/>
                  </a:cubicBezTo>
                  <a:cubicBezTo>
                    <a:pt x="863" y="884"/>
                    <a:pt x="863" y="885"/>
                    <a:pt x="864" y="886"/>
                  </a:cubicBezTo>
                  <a:cubicBezTo>
                    <a:pt x="864" y="886"/>
                    <a:pt x="864" y="886"/>
                    <a:pt x="863" y="886"/>
                  </a:cubicBezTo>
                  <a:cubicBezTo>
                    <a:pt x="863" y="887"/>
                    <a:pt x="863" y="887"/>
                    <a:pt x="863" y="888"/>
                  </a:cubicBezTo>
                  <a:cubicBezTo>
                    <a:pt x="868" y="886"/>
                    <a:pt x="873" y="883"/>
                    <a:pt x="879" y="881"/>
                  </a:cubicBezTo>
                  <a:cubicBezTo>
                    <a:pt x="884" y="879"/>
                    <a:pt x="889" y="879"/>
                    <a:pt x="895" y="877"/>
                  </a:cubicBezTo>
                  <a:cubicBezTo>
                    <a:pt x="895" y="876"/>
                    <a:pt x="895" y="875"/>
                    <a:pt x="893" y="874"/>
                  </a:cubicBezTo>
                  <a:cubicBezTo>
                    <a:pt x="895" y="874"/>
                    <a:pt x="896" y="875"/>
                    <a:pt x="897" y="875"/>
                  </a:cubicBezTo>
                  <a:cubicBezTo>
                    <a:pt x="898" y="875"/>
                    <a:pt x="899" y="875"/>
                    <a:pt x="900" y="874"/>
                  </a:cubicBezTo>
                  <a:cubicBezTo>
                    <a:pt x="898" y="873"/>
                    <a:pt x="898" y="872"/>
                    <a:pt x="898" y="870"/>
                  </a:cubicBezTo>
                  <a:cubicBezTo>
                    <a:pt x="898" y="871"/>
                    <a:pt x="899" y="871"/>
                    <a:pt x="900" y="871"/>
                  </a:cubicBezTo>
                  <a:cubicBezTo>
                    <a:pt x="900" y="871"/>
                    <a:pt x="901" y="871"/>
                    <a:pt x="901" y="871"/>
                  </a:cubicBezTo>
                  <a:cubicBezTo>
                    <a:pt x="901" y="871"/>
                    <a:pt x="901" y="872"/>
                    <a:pt x="900" y="872"/>
                  </a:cubicBezTo>
                  <a:cubicBezTo>
                    <a:pt x="901" y="872"/>
                    <a:pt x="901" y="872"/>
                    <a:pt x="901" y="872"/>
                  </a:cubicBezTo>
                  <a:cubicBezTo>
                    <a:pt x="901" y="872"/>
                    <a:pt x="902" y="872"/>
                    <a:pt x="902" y="872"/>
                  </a:cubicBezTo>
                  <a:cubicBezTo>
                    <a:pt x="903" y="872"/>
                    <a:pt x="903" y="872"/>
                    <a:pt x="904" y="872"/>
                  </a:cubicBezTo>
                  <a:cubicBezTo>
                    <a:pt x="904" y="872"/>
                    <a:pt x="905" y="872"/>
                    <a:pt x="905" y="872"/>
                  </a:cubicBezTo>
                  <a:cubicBezTo>
                    <a:pt x="905" y="872"/>
                    <a:pt x="906" y="875"/>
                    <a:pt x="907" y="875"/>
                  </a:cubicBezTo>
                  <a:cubicBezTo>
                    <a:pt x="908" y="873"/>
                    <a:pt x="908" y="870"/>
                    <a:pt x="909" y="867"/>
                  </a:cubicBezTo>
                  <a:cubicBezTo>
                    <a:pt x="909" y="868"/>
                    <a:pt x="909" y="869"/>
                    <a:pt x="911" y="869"/>
                  </a:cubicBezTo>
                  <a:cubicBezTo>
                    <a:pt x="911" y="869"/>
                    <a:pt x="911" y="869"/>
                    <a:pt x="912" y="869"/>
                  </a:cubicBezTo>
                  <a:cubicBezTo>
                    <a:pt x="910" y="871"/>
                    <a:pt x="910" y="871"/>
                    <a:pt x="910" y="871"/>
                  </a:cubicBezTo>
                  <a:cubicBezTo>
                    <a:pt x="910" y="871"/>
                    <a:pt x="911" y="871"/>
                    <a:pt x="911" y="871"/>
                  </a:cubicBezTo>
                  <a:cubicBezTo>
                    <a:pt x="912" y="871"/>
                    <a:pt x="914" y="871"/>
                    <a:pt x="915" y="870"/>
                  </a:cubicBezTo>
                  <a:cubicBezTo>
                    <a:pt x="917" y="870"/>
                    <a:pt x="919" y="869"/>
                    <a:pt x="920" y="869"/>
                  </a:cubicBezTo>
                  <a:cubicBezTo>
                    <a:pt x="920" y="869"/>
                    <a:pt x="920" y="869"/>
                    <a:pt x="920" y="869"/>
                  </a:cubicBezTo>
                  <a:cubicBezTo>
                    <a:pt x="922" y="870"/>
                    <a:pt x="922" y="871"/>
                    <a:pt x="923" y="871"/>
                  </a:cubicBezTo>
                  <a:cubicBezTo>
                    <a:pt x="923" y="871"/>
                    <a:pt x="923" y="870"/>
                    <a:pt x="924" y="869"/>
                  </a:cubicBezTo>
                  <a:cubicBezTo>
                    <a:pt x="924" y="868"/>
                    <a:pt x="924" y="868"/>
                    <a:pt x="924" y="868"/>
                  </a:cubicBezTo>
                  <a:cubicBezTo>
                    <a:pt x="924" y="867"/>
                    <a:pt x="924" y="867"/>
                    <a:pt x="925" y="866"/>
                  </a:cubicBezTo>
                  <a:cubicBezTo>
                    <a:pt x="926" y="864"/>
                    <a:pt x="926" y="864"/>
                    <a:pt x="926" y="864"/>
                  </a:cubicBezTo>
                  <a:cubicBezTo>
                    <a:pt x="926" y="864"/>
                    <a:pt x="926" y="863"/>
                    <a:pt x="926" y="863"/>
                  </a:cubicBezTo>
                  <a:cubicBezTo>
                    <a:pt x="927" y="864"/>
                    <a:pt x="928" y="865"/>
                    <a:pt x="928" y="866"/>
                  </a:cubicBezTo>
                  <a:cubicBezTo>
                    <a:pt x="929" y="866"/>
                    <a:pt x="929" y="866"/>
                    <a:pt x="929" y="866"/>
                  </a:cubicBezTo>
                  <a:cubicBezTo>
                    <a:pt x="930" y="866"/>
                    <a:pt x="930" y="866"/>
                    <a:pt x="930" y="866"/>
                  </a:cubicBezTo>
                  <a:cubicBezTo>
                    <a:pt x="932" y="864"/>
                    <a:pt x="933" y="864"/>
                    <a:pt x="932" y="863"/>
                  </a:cubicBezTo>
                  <a:cubicBezTo>
                    <a:pt x="932" y="862"/>
                    <a:pt x="931" y="861"/>
                    <a:pt x="931" y="861"/>
                  </a:cubicBezTo>
                  <a:cubicBezTo>
                    <a:pt x="934" y="862"/>
                    <a:pt x="934" y="862"/>
                    <a:pt x="934" y="862"/>
                  </a:cubicBezTo>
                  <a:cubicBezTo>
                    <a:pt x="936" y="862"/>
                    <a:pt x="936" y="862"/>
                    <a:pt x="936" y="862"/>
                  </a:cubicBezTo>
                  <a:cubicBezTo>
                    <a:pt x="936" y="862"/>
                    <a:pt x="936" y="863"/>
                    <a:pt x="936" y="863"/>
                  </a:cubicBezTo>
                  <a:cubicBezTo>
                    <a:pt x="936" y="863"/>
                    <a:pt x="937" y="861"/>
                    <a:pt x="937" y="860"/>
                  </a:cubicBezTo>
                  <a:cubicBezTo>
                    <a:pt x="936" y="855"/>
                    <a:pt x="935" y="849"/>
                    <a:pt x="931" y="847"/>
                  </a:cubicBezTo>
                  <a:cubicBezTo>
                    <a:pt x="931" y="847"/>
                    <a:pt x="931" y="847"/>
                    <a:pt x="931" y="847"/>
                  </a:cubicBezTo>
                  <a:cubicBezTo>
                    <a:pt x="930" y="847"/>
                    <a:pt x="928" y="846"/>
                    <a:pt x="928" y="846"/>
                  </a:cubicBezTo>
                  <a:cubicBezTo>
                    <a:pt x="931" y="845"/>
                    <a:pt x="932" y="844"/>
                    <a:pt x="933" y="843"/>
                  </a:cubicBezTo>
                  <a:cubicBezTo>
                    <a:pt x="933" y="842"/>
                    <a:pt x="936" y="841"/>
                    <a:pt x="936" y="841"/>
                  </a:cubicBezTo>
                  <a:cubicBezTo>
                    <a:pt x="937" y="841"/>
                    <a:pt x="937" y="841"/>
                    <a:pt x="937" y="841"/>
                  </a:cubicBezTo>
                  <a:cubicBezTo>
                    <a:pt x="939" y="840"/>
                    <a:pt x="941" y="841"/>
                    <a:pt x="943" y="841"/>
                  </a:cubicBezTo>
                  <a:cubicBezTo>
                    <a:pt x="941" y="841"/>
                    <a:pt x="937" y="841"/>
                    <a:pt x="936" y="843"/>
                  </a:cubicBezTo>
                  <a:cubicBezTo>
                    <a:pt x="936" y="844"/>
                    <a:pt x="936" y="844"/>
                    <a:pt x="936" y="844"/>
                  </a:cubicBezTo>
                  <a:cubicBezTo>
                    <a:pt x="937" y="844"/>
                    <a:pt x="937" y="843"/>
                    <a:pt x="937" y="843"/>
                  </a:cubicBezTo>
                  <a:cubicBezTo>
                    <a:pt x="937" y="843"/>
                    <a:pt x="937" y="844"/>
                    <a:pt x="937" y="845"/>
                  </a:cubicBezTo>
                  <a:cubicBezTo>
                    <a:pt x="938" y="844"/>
                    <a:pt x="938" y="844"/>
                    <a:pt x="938" y="843"/>
                  </a:cubicBezTo>
                  <a:cubicBezTo>
                    <a:pt x="938" y="844"/>
                    <a:pt x="938" y="844"/>
                    <a:pt x="938" y="845"/>
                  </a:cubicBezTo>
                  <a:cubicBezTo>
                    <a:pt x="938" y="844"/>
                    <a:pt x="938" y="844"/>
                    <a:pt x="938" y="843"/>
                  </a:cubicBezTo>
                  <a:cubicBezTo>
                    <a:pt x="938" y="844"/>
                    <a:pt x="938" y="845"/>
                    <a:pt x="938" y="846"/>
                  </a:cubicBezTo>
                  <a:cubicBezTo>
                    <a:pt x="938" y="846"/>
                    <a:pt x="938" y="846"/>
                    <a:pt x="938" y="846"/>
                  </a:cubicBezTo>
                  <a:cubicBezTo>
                    <a:pt x="938" y="847"/>
                    <a:pt x="938" y="847"/>
                    <a:pt x="938" y="847"/>
                  </a:cubicBezTo>
                  <a:cubicBezTo>
                    <a:pt x="938" y="846"/>
                    <a:pt x="938" y="846"/>
                    <a:pt x="938" y="846"/>
                  </a:cubicBezTo>
                  <a:cubicBezTo>
                    <a:pt x="939" y="847"/>
                    <a:pt x="939" y="848"/>
                    <a:pt x="939" y="849"/>
                  </a:cubicBezTo>
                  <a:cubicBezTo>
                    <a:pt x="939" y="849"/>
                    <a:pt x="940" y="849"/>
                    <a:pt x="940" y="849"/>
                  </a:cubicBezTo>
                  <a:cubicBezTo>
                    <a:pt x="940" y="849"/>
                    <a:pt x="940" y="849"/>
                    <a:pt x="941" y="849"/>
                  </a:cubicBezTo>
                  <a:cubicBezTo>
                    <a:pt x="941" y="849"/>
                    <a:pt x="941" y="849"/>
                    <a:pt x="941" y="849"/>
                  </a:cubicBezTo>
                  <a:cubicBezTo>
                    <a:pt x="941" y="849"/>
                    <a:pt x="941" y="849"/>
                    <a:pt x="942" y="849"/>
                  </a:cubicBezTo>
                  <a:cubicBezTo>
                    <a:pt x="942" y="850"/>
                    <a:pt x="943" y="852"/>
                    <a:pt x="943" y="854"/>
                  </a:cubicBezTo>
                  <a:cubicBezTo>
                    <a:pt x="944" y="856"/>
                    <a:pt x="944" y="856"/>
                    <a:pt x="945" y="856"/>
                  </a:cubicBezTo>
                  <a:cubicBezTo>
                    <a:pt x="945" y="856"/>
                    <a:pt x="946" y="856"/>
                    <a:pt x="948" y="856"/>
                  </a:cubicBezTo>
                  <a:cubicBezTo>
                    <a:pt x="949" y="854"/>
                    <a:pt x="951" y="853"/>
                    <a:pt x="953" y="853"/>
                  </a:cubicBezTo>
                  <a:cubicBezTo>
                    <a:pt x="953" y="854"/>
                    <a:pt x="953" y="854"/>
                    <a:pt x="953" y="854"/>
                  </a:cubicBezTo>
                  <a:cubicBezTo>
                    <a:pt x="954" y="853"/>
                    <a:pt x="955" y="853"/>
                    <a:pt x="955" y="853"/>
                  </a:cubicBezTo>
                  <a:cubicBezTo>
                    <a:pt x="957" y="853"/>
                    <a:pt x="958" y="855"/>
                    <a:pt x="959" y="856"/>
                  </a:cubicBezTo>
                  <a:cubicBezTo>
                    <a:pt x="959" y="857"/>
                    <a:pt x="959" y="857"/>
                    <a:pt x="959" y="857"/>
                  </a:cubicBezTo>
                  <a:cubicBezTo>
                    <a:pt x="960" y="857"/>
                    <a:pt x="962" y="856"/>
                    <a:pt x="962" y="855"/>
                  </a:cubicBezTo>
                  <a:cubicBezTo>
                    <a:pt x="962" y="854"/>
                    <a:pt x="960" y="852"/>
                    <a:pt x="959" y="852"/>
                  </a:cubicBezTo>
                  <a:cubicBezTo>
                    <a:pt x="960" y="851"/>
                    <a:pt x="964" y="848"/>
                    <a:pt x="966" y="848"/>
                  </a:cubicBezTo>
                  <a:cubicBezTo>
                    <a:pt x="966" y="848"/>
                    <a:pt x="966" y="848"/>
                    <a:pt x="966" y="849"/>
                  </a:cubicBezTo>
                  <a:cubicBezTo>
                    <a:pt x="966" y="849"/>
                    <a:pt x="964" y="850"/>
                    <a:pt x="964" y="850"/>
                  </a:cubicBezTo>
                  <a:cubicBezTo>
                    <a:pt x="964" y="851"/>
                    <a:pt x="967" y="854"/>
                    <a:pt x="968" y="855"/>
                  </a:cubicBezTo>
                  <a:cubicBezTo>
                    <a:pt x="968" y="855"/>
                    <a:pt x="968" y="855"/>
                    <a:pt x="968" y="855"/>
                  </a:cubicBezTo>
                  <a:cubicBezTo>
                    <a:pt x="969" y="855"/>
                    <a:pt x="968" y="854"/>
                    <a:pt x="968" y="854"/>
                  </a:cubicBezTo>
                  <a:cubicBezTo>
                    <a:pt x="970" y="853"/>
                    <a:pt x="971" y="851"/>
                    <a:pt x="972" y="850"/>
                  </a:cubicBezTo>
                  <a:cubicBezTo>
                    <a:pt x="974" y="848"/>
                    <a:pt x="976" y="847"/>
                    <a:pt x="978" y="846"/>
                  </a:cubicBezTo>
                  <a:cubicBezTo>
                    <a:pt x="979" y="847"/>
                    <a:pt x="978" y="848"/>
                    <a:pt x="977" y="848"/>
                  </a:cubicBezTo>
                  <a:cubicBezTo>
                    <a:pt x="980" y="849"/>
                    <a:pt x="981" y="850"/>
                    <a:pt x="984" y="852"/>
                  </a:cubicBezTo>
                  <a:cubicBezTo>
                    <a:pt x="984" y="851"/>
                    <a:pt x="984" y="851"/>
                    <a:pt x="985" y="850"/>
                  </a:cubicBezTo>
                  <a:cubicBezTo>
                    <a:pt x="984" y="850"/>
                    <a:pt x="984" y="850"/>
                    <a:pt x="984" y="850"/>
                  </a:cubicBezTo>
                  <a:cubicBezTo>
                    <a:pt x="982" y="850"/>
                    <a:pt x="983" y="848"/>
                    <a:pt x="984" y="848"/>
                  </a:cubicBezTo>
                  <a:cubicBezTo>
                    <a:pt x="983" y="847"/>
                    <a:pt x="982" y="847"/>
                    <a:pt x="982" y="845"/>
                  </a:cubicBezTo>
                  <a:cubicBezTo>
                    <a:pt x="982" y="845"/>
                    <a:pt x="982" y="845"/>
                    <a:pt x="982" y="845"/>
                  </a:cubicBezTo>
                  <a:cubicBezTo>
                    <a:pt x="983" y="845"/>
                    <a:pt x="984" y="845"/>
                    <a:pt x="985" y="845"/>
                  </a:cubicBezTo>
                  <a:cubicBezTo>
                    <a:pt x="985" y="845"/>
                    <a:pt x="986" y="845"/>
                    <a:pt x="987" y="845"/>
                  </a:cubicBezTo>
                  <a:cubicBezTo>
                    <a:pt x="987" y="845"/>
                    <a:pt x="988" y="845"/>
                    <a:pt x="988" y="845"/>
                  </a:cubicBezTo>
                  <a:cubicBezTo>
                    <a:pt x="985" y="846"/>
                    <a:pt x="989" y="848"/>
                    <a:pt x="990" y="850"/>
                  </a:cubicBezTo>
                  <a:cubicBezTo>
                    <a:pt x="991" y="849"/>
                    <a:pt x="991" y="849"/>
                    <a:pt x="992" y="848"/>
                  </a:cubicBezTo>
                  <a:cubicBezTo>
                    <a:pt x="993" y="848"/>
                    <a:pt x="994" y="847"/>
                    <a:pt x="995" y="845"/>
                  </a:cubicBezTo>
                  <a:cubicBezTo>
                    <a:pt x="995" y="845"/>
                    <a:pt x="995" y="845"/>
                    <a:pt x="995" y="845"/>
                  </a:cubicBezTo>
                  <a:cubicBezTo>
                    <a:pt x="996" y="845"/>
                    <a:pt x="996" y="845"/>
                    <a:pt x="996" y="845"/>
                  </a:cubicBezTo>
                  <a:cubicBezTo>
                    <a:pt x="997" y="846"/>
                    <a:pt x="997" y="846"/>
                    <a:pt x="997" y="846"/>
                  </a:cubicBezTo>
                  <a:cubicBezTo>
                    <a:pt x="997" y="846"/>
                    <a:pt x="997" y="846"/>
                    <a:pt x="997" y="846"/>
                  </a:cubicBezTo>
                  <a:cubicBezTo>
                    <a:pt x="1001" y="845"/>
                    <a:pt x="1006" y="846"/>
                    <a:pt x="1007" y="843"/>
                  </a:cubicBezTo>
                  <a:cubicBezTo>
                    <a:pt x="1007" y="841"/>
                    <a:pt x="1006" y="839"/>
                    <a:pt x="1007" y="838"/>
                  </a:cubicBezTo>
                  <a:cubicBezTo>
                    <a:pt x="1008" y="837"/>
                    <a:pt x="1008" y="837"/>
                    <a:pt x="1009" y="837"/>
                  </a:cubicBezTo>
                  <a:cubicBezTo>
                    <a:pt x="1010" y="837"/>
                    <a:pt x="1012" y="837"/>
                    <a:pt x="1013" y="838"/>
                  </a:cubicBezTo>
                  <a:cubicBezTo>
                    <a:pt x="1012" y="834"/>
                    <a:pt x="1008" y="837"/>
                    <a:pt x="1007" y="833"/>
                  </a:cubicBezTo>
                  <a:cubicBezTo>
                    <a:pt x="1008" y="834"/>
                    <a:pt x="1008" y="834"/>
                    <a:pt x="1009" y="834"/>
                  </a:cubicBezTo>
                  <a:cubicBezTo>
                    <a:pt x="1010" y="834"/>
                    <a:pt x="1011" y="834"/>
                    <a:pt x="1011" y="834"/>
                  </a:cubicBezTo>
                  <a:cubicBezTo>
                    <a:pt x="1015" y="833"/>
                    <a:pt x="1014" y="829"/>
                    <a:pt x="1016" y="827"/>
                  </a:cubicBezTo>
                  <a:cubicBezTo>
                    <a:pt x="1016" y="828"/>
                    <a:pt x="1016" y="828"/>
                    <a:pt x="1016" y="828"/>
                  </a:cubicBezTo>
                  <a:cubicBezTo>
                    <a:pt x="1017" y="827"/>
                    <a:pt x="1017" y="827"/>
                    <a:pt x="1018" y="827"/>
                  </a:cubicBezTo>
                  <a:cubicBezTo>
                    <a:pt x="1019" y="827"/>
                    <a:pt x="1020" y="828"/>
                    <a:pt x="1020" y="829"/>
                  </a:cubicBezTo>
                  <a:cubicBezTo>
                    <a:pt x="1023" y="827"/>
                    <a:pt x="1032" y="824"/>
                    <a:pt x="1028" y="820"/>
                  </a:cubicBezTo>
                  <a:cubicBezTo>
                    <a:pt x="1031" y="822"/>
                    <a:pt x="1032" y="820"/>
                    <a:pt x="1032" y="825"/>
                  </a:cubicBezTo>
                  <a:cubicBezTo>
                    <a:pt x="1035" y="821"/>
                    <a:pt x="1039" y="817"/>
                    <a:pt x="1043" y="813"/>
                  </a:cubicBezTo>
                  <a:cubicBezTo>
                    <a:pt x="1044" y="812"/>
                    <a:pt x="1044" y="810"/>
                    <a:pt x="1043" y="810"/>
                  </a:cubicBezTo>
                  <a:cubicBezTo>
                    <a:pt x="1043" y="810"/>
                    <a:pt x="1042" y="810"/>
                    <a:pt x="1042" y="811"/>
                  </a:cubicBezTo>
                  <a:cubicBezTo>
                    <a:pt x="1043" y="809"/>
                    <a:pt x="1043" y="809"/>
                    <a:pt x="1042" y="809"/>
                  </a:cubicBezTo>
                  <a:cubicBezTo>
                    <a:pt x="1042" y="809"/>
                    <a:pt x="1042" y="809"/>
                    <a:pt x="1042" y="809"/>
                  </a:cubicBezTo>
                  <a:cubicBezTo>
                    <a:pt x="1041" y="809"/>
                    <a:pt x="1041" y="809"/>
                    <a:pt x="1041" y="809"/>
                  </a:cubicBezTo>
                  <a:cubicBezTo>
                    <a:pt x="1041" y="809"/>
                    <a:pt x="1041" y="809"/>
                    <a:pt x="1040" y="809"/>
                  </a:cubicBezTo>
                  <a:cubicBezTo>
                    <a:pt x="1040" y="809"/>
                    <a:pt x="1040" y="809"/>
                    <a:pt x="1040" y="809"/>
                  </a:cubicBezTo>
                  <a:cubicBezTo>
                    <a:pt x="1040" y="809"/>
                    <a:pt x="1039" y="809"/>
                    <a:pt x="1039" y="809"/>
                  </a:cubicBezTo>
                  <a:cubicBezTo>
                    <a:pt x="1039" y="809"/>
                    <a:pt x="1039" y="809"/>
                    <a:pt x="1039" y="809"/>
                  </a:cubicBezTo>
                  <a:cubicBezTo>
                    <a:pt x="1039" y="809"/>
                    <a:pt x="1039" y="809"/>
                    <a:pt x="1038" y="808"/>
                  </a:cubicBezTo>
                  <a:cubicBezTo>
                    <a:pt x="1036" y="807"/>
                    <a:pt x="1037" y="807"/>
                    <a:pt x="1037" y="807"/>
                  </a:cubicBezTo>
                  <a:cubicBezTo>
                    <a:pt x="1038" y="807"/>
                    <a:pt x="1038" y="807"/>
                    <a:pt x="1039" y="807"/>
                  </a:cubicBezTo>
                  <a:cubicBezTo>
                    <a:pt x="1039" y="807"/>
                    <a:pt x="1040" y="807"/>
                    <a:pt x="1040" y="807"/>
                  </a:cubicBezTo>
                  <a:cubicBezTo>
                    <a:pt x="1040" y="807"/>
                    <a:pt x="1040" y="807"/>
                    <a:pt x="1040" y="807"/>
                  </a:cubicBezTo>
                  <a:cubicBezTo>
                    <a:pt x="1042" y="807"/>
                    <a:pt x="1044" y="802"/>
                    <a:pt x="1046" y="802"/>
                  </a:cubicBezTo>
                  <a:cubicBezTo>
                    <a:pt x="1046" y="802"/>
                    <a:pt x="1046" y="802"/>
                    <a:pt x="1046" y="802"/>
                  </a:cubicBezTo>
                  <a:cubicBezTo>
                    <a:pt x="1047" y="803"/>
                    <a:pt x="1049" y="804"/>
                    <a:pt x="1050" y="804"/>
                  </a:cubicBezTo>
                  <a:cubicBezTo>
                    <a:pt x="1050" y="804"/>
                    <a:pt x="1050" y="804"/>
                    <a:pt x="1050" y="804"/>
                  </a:cubicBezTo>
                  <a:cubicBezTo>
                    <a:pt x="1051" y="804"/>
                    <a:pt x="1051" y="801"/>
                    <a:pt x="1052" y="801"/>
                  </a:cubicBezTo>
                  <a:cubicBezTo>
                    <a:pt x="1052" y="801"/>
                    <a:pt x="1052" y="801"/>
                    <a:pt x="1052" y="801"/>
                  </a:cubicBezTo>
                  <a:cubicBezTo>
                    <a:pt x="1054" y="801"/>
                    <a:pt x="1054" y="805"/>
                    <a:pt x="1056" y="805"/>
                  </a:cubicBezTo>
                  <a:cubicBezTo>
                    <a:pt x="1056" y="805"/>
                    <a:pt x="1056" y="805"/>
                    <a:pt x="1056" y="805"/>
                  </a:cubicBezTo>
                  <a:cubicBezTo>
                    <a:pt x="1057" y="804"/>
                    <a:pt x="1057" y="804"/>
                    <a:pt x="1058" y="803"/>
                  </a:cubicBezTo>
                  <a:cubicBezTo>
                    <a:pt x="1058" y="803"/>
                    <a:pt x="1059" y="801"/>
                    <a:pt x="1059" y="800"/>
                  </a:cubicBezTo>
                  <a:cubicBezTo>
                    <a:pt x="1058" y="800"/>
                    <a:pt x="1057" y="799"/>
                    <a:pt x="1056" y="799"/>
                  </a:cubicBezTo>
                  <a:cubicBezTo>
                    <a:pt x="1059" y="798"/>
                    <a:pt x="1060" y="797"/>
                    <a:pt x="1062" y="796"/>
                  </a:cubicBezTo>
                  <a:cubicBezTo>
                    <a:pt x="1062" y="796"/>
                    <a:pt x="1062" y="796"/>
                    <a:pt x="1062" y="796"/>
                  </a:cubicBezTo>
                  <a:cubicBezTo>
                    <a:pt x="1063" y="796"/>
                    <a:pt x="1063" y="797"/>
                    <a:pt x="1063" y="797"/>
                  </a:cubicBezTo>
                  <a:cubicBezTo>
                    <a:pt x="1063" y="797"/>
                    <a:pt x="1064" y="797"/>
                    <a:pt x="1064" y="797"/>
                  </a:cubicBezTo>
                  <a:cubicBezTo>
                    <a:pt x="1064" y="797"/>
                    <a:pt x="1064" y="797"/>
                    <a:pt x="1064" y="797"/>
                  </a:cubicBezTo>
                  <a:cubicBezTo>
                    <a:pt x="1065" y="796"/>
                    <a:pt x="1062" y="789"/>
                    <a:pt x="1062" y="788"/>
                  </a:cubicBezTo>
                  <a:cubicBezTo>
                    <a:pt x="1062" y="788"/>
                    <a:pt x="1066" y="789"/>
                    <a:pt x="1069" y="789"/>
                  </a:cubicBezTo>
                  <a:cubicBezTo>
                    <a:pt x="1072" y="789"/>
                    <a:pt x="1074" y="788"/>
                    <a:pt x="1073" y="787"/>
                  </a:cubicBezTo>
                  <a:cubicBezTo>
                    <a:pt x="1073" y="786"/>
                    <a:pt x="1072" y="786"/>
                    <a:pt x="1072" y="786"/>
                  </a:cubicBezTo>
                  <a:cubicBezTo>
                    <a:pt x="1072" y="786"/>
                    <a:pt x="1071" y="786"/>
                    <a:pt x="1071" y="786"/>
                  </a:cubicBezTo>
                  <a:cubicBezTo>
                    <a:pt x="1071" y="787"/>
                    <a:pt x="1070" y="787"/>
                    <a:pt x="1070" y="787"/>
                  </a:cubicBezTo>
                  <a:cubicBezTo>
                    <a:pt x="1070" y="787"/>
                    <a:pt x="1070" y="787"/>
                    <a:pt x="1069" y="787"/>
                  </a:cubicBezTo>
                  <a:cubicBezTo>
                    <a:pt x="1069" y="786"/>
                    <a:pt x="1072" y="779"/>
                    <a:pt x="1073" y="778"/>
                  </a:cubicBezTo>
                  <a:cubicBezTo>
                    <a:pt x="1073" y="779"/>
                    <a:pt x="1079" y="784"/>
                    <a:pt x="1080" y="784"/>
                  </a:cubicBezTo>
                  <a:cubicBezTo>
                    <a:pt x="1080" y="782"/>
                    <a:pt x="1078" y="781"/>
                    <a:pt x="1078" y="779"/>
                  </a:cubicBezTo>
                  <a:cubicBezTo>
                    <a:pt x="1078" y="779"/>
                    <a:pt x="1078" y="779"/>
                    <a:pt x="1078" y="779"/>
                  </a:cubicBezTo>
                  <a:cubicBezTo>
                    <a:pt x="1075" y="779"/>
                    <a:pt x="1081" y="769"/>
                    <a:pt x="1082" y="769"/>
                  </a:cubicBezTo>
                  <a:cubicBezTo>
                    <a:pt x="1078" y="769"/>
                    <a:pt x="1074" y="769"/>
                    <a:pt x="1070" y="769"/>
                  </a:cubicBezTo>
                  <a:cubicBezTo>
                    <a:pt x="1070" y="767"/>
                    <a:pt x="1068" y="766"/>
                    <a:pt x="1067" y="765"/>
                  </a:cubicBezTo>
                  <a:cubicBezTo>
                    <a:pt x="1069" y="766"/>
                    <a:pt x="1073" y="768"/>
                    <a:pt x="1075" y="768"/>
                  </a:cubicBezTo>
                  <a:cubicBezTo>
                    <a:pt x="1075" y="768"/>
                    <a:pt x="1075" y="768"/>
                    <a:pt x="1075" y="768"/>
                  </a:cubicBezTo>
                  <a:cubicBezTo>
                    <a:pt x="1076" y="768"/>
                    <a:pt x="1077" y="768"/>
                    <a:pt x="1078" y="766"/>
                  </a:cubicBezTo>
                  <a:cubicBezTo>
                    <a:pt x="1081" y="761"/>
                    <a:pt x="1082" y="762"/>
                    <a:pt x="1087" y="759"/>
                  </a:cubicBezTo>
                  <a:cubicBezTo>
                    <a:pt x="1087" y="759"/>
                    <a:pt x="1086" y="759"/>
                    <a:pt x="1086" y="759"/>
                  </a:cubicBezTo>
                  <a:cubicBezTo>
                    <a:pt x="1086" y="759"/>
                    <a:pt x="1085" y="759"/>
                    <a:pt x="1085" y="759"/>
                  </a:cubicBezTo>
                  <a:cubicBezTo>
                    <a:pt x="1085" y="758"/>
                    <a:pt x="1085" y="758"/>
                    <a:pt x="1084" y="758"/>
                  </a:cubicBezTo>
                  <a:cubicBezTo>
                    <a:pt x="1084" y="758"/>
                    <a:pt x="1084" y="758"/>
                    <a:pt x="1084" y="758"/>
                  </a:cubicBezTo>
                  <a:cubicBezTo>
                    <a:pt x="1083" y="758"/>
                    <a:pt x="1083" y="759"/>
                    <a:pt x="1082" y="759"/>
                  </a:cubicBezTo>
                  <a:cubicBezTo>
                    <a:pt x="1082" y="759"/>
                    <a:pt x="1083" y="760"/>
                    <a:pt x="1082" y="760"/>
                  </a:cubicBezTo>
                  <a:cubicBezTo>
                    <a:pt x="1082" y="760"/>
                    <a:pt x="1082" y="760"/>
                    <a:pt x="1082" y="760"/>
                  </a:cubicBezTo>
                  <a:cubicBezTo>
                    <a:pt x="1081" y="759"/>
                    <a:pt x="1079" y="758"/>
                    <a:pt x="1079" y="757"/>
                  </a:cubicBezTo>
                  <a:cubicBezTo>
                    <a:pt x="1079" y="757"/>
                    <a:pt x="1082" y="755"/>
                    <a:pt x="1083" y="754"/>
                  </a:cubicBezTo>
                  <a:cubicBezTo>
                    <a:pt x="1080" y="754"/>
                    <a:pt x="1079" y="754"/>
                    <a:pt x="1078" y="751"/>
                  </a:cubicBezTo>
                  <a:cubicBezTo>
                    <a:pt x="1078" y="750"/>
                    <a:pt x="1078" y="749"/>
                    <a:pt x="1079" y="749"/>
                  </a:cubicBezTo>
                  <a:cubicBezTo>
                    <a:pt x="1079" y="749"/>
                    <a:pt x="1079" y="749"/>
                    <a:pt x="1079" y="749"/>
                  </a:cubicBezTo>
                  <a:cubicBezTo>
                    <a:pt x="1081" y="747"/>
                    <a:pt x="1082" y="748"/>
                    <a:pt x="1084" y="747"/>
                  </a:cubicBezTo>
                  <a:cubicBezTo>
                    <a:pt x="1083" y="748"/>
                    <a:pt x="1083" y="748"/>
                    <a:pt x="1083" y="748"/>
                  </a:cubicBezTo>
                  <a:cubicBezTo>
                    <a:pt x="1084" y="748"/>
                    <a:pt x="1085" y="748"/>
                    <a:pt x="1084" y="749"/>
                  </a:cubicBezTo>
                  <a:cubicBezTo>
                    <a:pt x="1084" y="749"/>
                    <a:pt x="1087" y="748"/>
                    <a:pt x="1089" y="748"/>
                  </a:cubicBezTo>
                  <a:cubicBezTo>
                    <a:pt x="1090" y="748"/>
                    <a:pt x="1091" y="749"/>
                    <a:pt x="1089" y="750"/>
                  </a:cubicBezTo>
                  <a:cubicBezTo>
                    <a:pt x="1090" y="751"/>
                    <a:pt x="1090" y="751"/>
                    <a:pt x="1091" y="752"/>
                  </a:cubicBezTo>
                  <a:cubicBezTo>
                    <a:pt x="1093" y="750"/>
                    <a:pt x="1090" y="749"/>
                    <a:pt x="1091" y="747"/>
                  </a:cubicBezTo>
                  <a:cubicBezTo>
                    <a:pt x="1091" y="746"/>
                    <a:pt x="1094" y="746"/>
                    <a:pt x="1094" y="744"/>
                  </a:cubicBezTo>
                  <a:cubicBezTo>
                    <a:pt x="1094" y="741"/>
                    <a:pt x="1095" y="740"/>
                    <a:pt x="1098" y="739"/>
                  </a:cubicBezTo>
                  <a:cubicBezTo>
                    <a:pt x="1097" y="739"/>
                    <a:pt x="1097" y="738"/>
                    <a:pt x="1097" y="737"/>
                  </a:cubicBezTo>
                  <a:cubicBezTo>
                    <a:pt x="1097" y="738"/>
                    <a:pt x="1097" y="738"/>
                    <a:pt x="1098" y="738"/>
                  </a:cubicBezTo>
                  <a:cubicBezTo>
                    <a:pt x="1100" y="738"/>
                    <a:pt x="1102" y="735"/>
                    <a:pt x="1103" y="733"/>
                  </a:cubicBezTo>
                  <a:cubicBezTo>
                    <a:pt x="1105" y="731"/>
                    <a:pt x="1104" y="728"/>
                    <a:pt x="1105" y="726"/>
                  </a:cubicBezTo>
                  <a:cubicBezTo>
                    <a:pt x="1106" y="724"/>
                    <a:pt x="1109" y="720"/>
                    <a:pt x="1108" y="719"/>
                  </a:cubicBezTo>
                  <a:cubicBezTo>
                    <a:pt x="1108" y="719"/>
                    <a:pt x="1105" y="717"/>
                    <a:pt x="1104" y="717"/>
                  </a:cubicBezTo>
                  <a:cubicBezTo>
                    <a:pt x="1105" y="717"/>
                    <a:pt x="1106" y="717"/>
                    <a:pt x="1107" y="717"/>
                  </a:cubicBezTo>
                  <a:cubicBezTo>
                    <a:pt x="1108" y="717"/>
                    <a:pt x="1109" y="716"/>
                    <a:pt x="1112" y="715"/>
                  </a:cubicBezTo>
                  <a:cubicBezTo>
                    <a:pt x="1113" y="714"/>
                    <a:pt x="1114" y="713"/>
                    <a:pt x="1114" y="711"/>
                  </a:cubicBezTo>
                  <a:cubicBezTo>
                    <a:pt x="1115" y="710"/>
                    <a:pt x="1112" y="711"/>
                    <a:pt x="1115" y="709"/>
                  </a:cubicBezTo>
                  <a:cubicBezTo>
                    <a:pt x="1115" y="709"/>
                    <a:pt x="1116" y="709"/>
                    <a:pt x="1116" y="709"/>
                  </a:cubicBezTo>
                  <a:cubicBezTo>
                    <a:pt x="1118" y="709"/>
                    <a:pt x="1118" y="712"/>
                    <a:pt x="1120" y="714"/>
                  </a:cubicBezTo>
                  <a:cubicBezTo>
                    <a:pt x="1121" y="711"/>
                    <a:pt x="1124" y="711"/>
                    <a:pt x="1127" y="709"/>
                  </a:cubicBezTo>
                  <a:cubicBezTo>
                    <a:pt x="1125" y="709"/>
                    <a:pt x="1125" y="703"/>
                    <a:pt x="1124" y="702"/>
                  </a:cubicBezTo>
                  <a:cubicBezTo>
                    <a:pt x="1123" y="700"/>
                    <a:pt x="1122" y="701"/>
                    <a:pt x="1121" y="700"/>
                  </a:cubicBezTo>
                  <a:cubicBezTo>
                    <a:pt x="1119" y="700"/>
                    <a:pt x="1119" y="700"/>
                    <a:pt x="1118" y="698"/>
                  </a:cubicBezTo>
                  <a:cubicBezTo>
                    <a:pt x="1119" y="699"/>
                    <a:pt x="1121" y="699"/>
                    <a:pt x="1122" y="699"/>
                  </a:cubicBezTo>
                  <a:cubicBezTo>
                    <a:pt x="1123" y="699"/>
                    <a:pt x="1124" y="699"/>
                    <a:pt x="1127" y="698"/>
                  </a:cubicBezTo>
                  <a:cubicBezTo>
                    <a:pt x="1129" y="696"/>
                    <a:pt x="1125" y="695"/>
                    <a:pt x="1124" y="693"/>
                  </a:cubicBezTo>
                  <a:cubicBezTo>
                    <a:pt x="1124" y="694"/>
                    <a:pt x="1125" y="694"/>
                    <a:pt x="1125" y="694"/>
                  </a:cubicBezTo>
                  <a:cubicBezTo>
                    <a:pt x="1126" y="694"/>
                    <a:pt x="1126" y="694"/>
                    <a:pt x="1127" y="694"/>
                  </a:cubicBezTo>
                  <a:cubicBezTo>
                    <a:pt x="1127" y="694"/>
                    <a:pt x="1128" y="693"/>
                    <a:pt x="1128" y="693"/>
                  </a:cubicBezTo>
                  <a:cubicBezTo>
                    <a:pt x="1128" y="693"/>
                    <a:pt x="1128" y="693"/>
                    <a:pt x="1128" y="693"/>
                  </a:cubicBezTo>
                  <a:cubicBezTo>
                    <a:pt x="1128" y="692"/>
                    <a:pt x="1127" y="691"/>
                    <a:pt x="1127" y="690"/>
                  </a:cubicBezTo>
                  <a:cubicBezTo>
                    <a:pt x="1127" y="689"/>
                    <a:pt x="1125" y="689"/>
                    <a:pt x="1123" y="689"/>
                  </a:cubicBezTo>
                  <a:cubicBezTo>
                    <a:pt x="1123" y="689"/>
                    <a:pt x="1123" y="689"/>
                    <a:pt x="1123" y="689"/>
                  </a:cubicBezTo>
                  <a:cubicBezTo>
                    <a:pt x="1123" y="689"/>
                    <a:pt x="1122" y="689"/>
                    <a:pt x="1122" y="689"/>
                  </a:cubicBezTo>
                  <a:cubicBezTo>
                    <a:pt x="1123" y="688"/>
                    <a:pt x="1124" y="684"/>
                    <a:pt x="1127" y="684"/>
                  </a:cubicBezTo>
                  <a:cubicBezTo>
                    <a:pt x="1127" y="684"/>
                    <a:pt x="1127" y="684"/>
                    <a:pt x="1127" y="684"/>
                  </a:cubicBezTo>
                  <a:cubicBezTo>
                    <a:pt x="1128" y="685"/>
                    <a:pt x="1128" y="686"/>
                    <a:pt x="1130" y="687"/>
                  </a:cubicBezTo>
                  <a:cubicBezTo>
                    <a:pt x="1130" y="686"/>
                    <a:pt x="1130" y="684"/>
                    <a:pt x="1131" y="683"/>
                  </a:cubicBezTo>
                  <a:cubicBezTo>
                    <a:pt x="1130" y="684"/>
                    <a:pt x="1132" y="684"/>
                    <a:pt x="1133" y="685"/>
                  </a:cubicBezTo>
                  <a:cubicBezTo>
                    <a:pt x="1134" y="683"/>
                    <a:pt x="1137" y="677"/>
                    <a:pt x="1134" y="676"/>
                  </a:cubicBezTo>
                  <a:cubicBezTo>
                    <a:pt x="1134" y="676"/>
                    <a:pt x="1134" y="676"/>
                    <a:pt x="1133" y="676"/>
                  </a:cubicBezTo>
                  <a:cubicBezTo>
                    <a:pt x="1132" y="676"/>
                    <a:pt x="1129" y="678"/>
                    <a:pt x="1132" y="679"/>
                  </a:cubicBezTo>
                  <a:cubicBezTo>
                    <a:pt x="1131" y="680"/>
                    <a:pt x="1131" y="680"/>
                    <a:pt x="1130" y="680"/>
                  </a:cubicBezTo>
                  <a:cubicBezTo>
                    <a:pt x="1130" y="680"/>
                    <a:pt x="1129" y="679"/>
                    <a:pt x="1128" y="679"/>
                  </a:cubicBezTo>
                  <a:cubicBezTo>
                    <a:pt x="1128" y="679"/>
                    <a:pt x="1128" y="679"/>
                    <a:pt x="1128" y="679"/>
                  </a:cubicBezTo>
                  <a:cubicBezTo>
                    <a:pt x="1127" y="679"/>
                    <a:pt x="1127" y="679"/>
                    <a:pt x="1126" y="680"/>
                  </a:cubicBezTo>
                  <a:cubicBezTo>
                    <a:pt x="1125" y="680"/>
                    <a:pt x="1125" y="680"/>
                    <a:pt x="1124" y="680"/>
                  </a:cubicBezTo>
                  <a:cubicBezTo>
                    <a:pt x="1124" y="680"/>
                    <a:pt x="1123" y="680"/>
                    <a:pt x="1122" y="680"/>
                  </a:cubicBezTo>
                  <a:cubicBezTo>
                    <a:pt x="1129" y="677"/>
                    <a:pt x="1134" y="674"/>
                    <a:pt x="1138" y="669"/>
                  </a:cubicBezTo>
                  <a:cubicBezTo>
                    <a:pt x="1138" y="669"/>
                    <a:pt x="1137" y="669"/>
                    <a:pt x="1136" y="669"/>
                  </a:cubicBezTo>
                  <a:cubicBezTo>
                    <a:pt x="1133" y="669"/>
                    <a:pt x="1131" y="668"/>
                    <a:pt x="1128" y="667"/>
                  </a:cubicBezTo>
                  <a:cubicBezTo>
                    <a:pt x="1125" y="665"/>
                    <a:pt x="1122" y="659"/>
                    <a:pt x="1117" y="659"/>
                  </a:cubicBezTo>
                  <a:cubicBezTo>
                    <a:pt x="1117" y="659"/>
                    <a:pt x="1116" y="659"/>
                    <a:pt x="1116" y="659"/>
                  </a:cubicBezTo>
                  <a:cubicBezTo>
                    <a:pt x="1114" y="659"/>
                    <a:pt x="1112" y="662"/>
                    <a:pt x="1110" y="662"/>
                  </a:cubicBezTo>
                  <a:cubicBezTo>
                    <a:pt x="1109" y="663"/>
                    <a:pt x="1107" y="663"/>
                    <a:pt x="1105" y="663"/>
                  </a:cubicBezTo>
                  <a:cubicBezTo>
                    <a:pt x="1104" y="663"/>
                    <a:pt x="1104" y="663"/>
                    <a:pt x="1103" y="662"/>
                  </a:cubicBezTo>
                  <a:cubicBezTo>
                    <a:pt x="1103" y="661"/>
                    <a:pt x="1102" y="659"/>
                    <a:pt x="1101" y="658"/>
                  </a:cubicBezTo>
                  <a:cubicBezTo>
                    <a:pt x="1102" y="658"/>
                    <a:pt x="1104" y="658"/>
                    <a:pt x="1105" y="658"/>
                  </a:cubicBezTo>
                  <a:cubicBezTo>
                    <a:pt x="1107" y="658"/>
                    <a:pt x="1108" y="658"/>
                    <a:pt x="1109" y="657"/>
                  </a:cubicBezTo>
                  <a:cubicBezTo>
                    <a:pt x="1112" y="654"/>
                    <a:pt x="1115" y="652"/>
                    <a:pt x="1118" y="650"/>
                  </a:cubicBezTo>
                  <a:cubicBezTo>
                    <a:pt x="1120" y="648"/>
                    <a:pt x="1123" y="647"/>
                    <a:pt x="1126" y="646"/>
                  </a:cubicBezTo>
                  <a:cubicBezTo>
                    <a:pt x="1127" y="645"/>
                    <a:pt x="1132" y="644"/>
                    <a:pt x="1133" y="642"/>
                  </a:cubicBezTo>
                  <a:cubicBezTo>
                    <a:pt x="1134" y="640"/>
                    <a:pt x="1131" y="637"/>
                    <a:pt x="1129" y="635"/>
                  </a:cubicBezTo>
                  <a:cubicBezTo>
                    <a:pt x="1129" y="635"/>
                    <a:pt x="1129" y="635"/>
                    <a:pt x="1129" y="635"/>
                  </a:cubicBezTo>
                  <a:cubicBezTo>
                    <a:pt x="1129" y="638"/>
                    <a:pt x="1126" y="641"/>
                    <a:pt x="1123" y="641"/>
                  </a:cubicBezTo>
                  <a:cubicBezTo>
                    <a:pt x="1119" y="641"/>
                    <a:pt x="1116" y="638"/>
                    <a:pt x="1116" y="635"/>
                  </a:cubicBezTo>
                  <a:cubicBezTo>
                    <a:pt x="1116" y="632"/>
                    <a:pt x="1119" y="629"/>
                    <a:pt x="1121" y="629"/>
                  </a:cubicBezTo>
                  <a:cubicBezTo>
                    <a:pt x="1119" y="626"/>
                    <a:pt x="1116" y="623"/>
                    <a:pt x="1113" y="622"/>
                  </a:cubicBezTo>
                  <a:cubicBezTo>
                    <a:pt x="1110" y="621"/>
                    <a:pt x="1108" y="621"/>
                    <a:pt x="1106" y="620"/>
                  </a:cubicBezTo>
                  <a:cubicBezTo>
                    <a:pt x="1105" y="620"/>
                    <a:pt x="1106" y="617"/>
                    <a:pt x="1105" y="616"/>
                  </a:cubicBezTo>
                  <a:cubicBezTo>
                    <a:pt x="1105" y="615"/>
                    <a:pt x="1105" y="615"/>
                    <a:pt x="1104" y="615"/>
                  </a:cubicBezTo>
                  <a:cubicBezTo>
                    <a:pt x="1104" y="615"/>
                    <a:pt x="1104" y="615"/>
                    <a:pt x="1104" y="615"/>
                  </a:cubicBezTo>
                  <a:cubicBezTo>
                    <a:pt x="1104" y="615"/>
                    <a:pt x="1104" y="615"/>
                    <a:pt x="1104" y="615"/>
                  </a:cubicBezTo>
                  <a:cubicBezTo>
                    <a:pt x="1104" y="615"/>
                    <a:pt x="1104" y="615"/>
                    <a:pt x="1103" y="615"/>
                  </a:cubicBezTo>
                  <a:cubicBezTo>
                    <a:pt x="1103" y="615"/>
                    <a:pt x="1102" y="614"/>
                    <a:pt x="1101" y="614"/>
                  </a:cubicBezTo>
                  <a:cubicBezTo>
                    <a:pt x="1100" y="614"/>
                    <a:pt x="1099" y="615"/>
                    <a:pt x="1099" y="615"/>
                  </a:cubicBezTo>
                  <a:cubicBezTo>
                    <a:pt x="1098" y="616"/>
                    <a:pt x="1097" y="616"/>
                    <a:pt x="1096" y="616"/>
                  </a:cubicBezTo>
                  <a:cubicBezTo>
                    <a:pt x="1096" y="616"/>
                    <a:pt x="1095" y="616"/>
                    <a:pt x="1095" y="616"/>
                  </a:cubicBezTo>
                  <a:cubicBezTo>
                    <a:pt x="1096" y="615"/>
                    <a:pt x="1096" y="615"/>
                    <a:pt x="1097" y="614"/>
                  </a:cubicBezTo>
                  <a:cubicBezTo>
                    <a:pt x="1098" y="613"/>
                    <a:pt x="1100" y="613"/>
                    <a:pt x="1101" y="613"/>
                  </a:cubicBezTo>
                  <a:cubicBezTo>
                    <a:pt x="1104" y="613"/>
                    <a:pt x="1107" y="614"/>
                    <a:pt x="1109" y="616"/>
                  </a:cubicBezTo>
                  <a:cubicBezTo>
                    <a:pt x="1110" y="617"/>
                    <a:pt x="1110" y="619"/>
                    <a:pt x="1112" y="619"/>
                  </a:cubicBezTo>
                  <a:cubicBezTo>
                    <a:pt x="1113" y="619"/>
                    <a:pt x="1113" y="619"/>
                    <a:pt x="1113" y="619"/>
                  </a:cubicBezTo>
                  <a:cubicBezTo>
                    <a:pt x="1114" y="619"/>
                    <a:pt x="1115" y="619"/>
                    <a:pt x="1116" y="619"/>
                  </a:cubicBezTo>
                  <a:cubicBezTo>
                    <a:pt x="1117" y="619"/>
                    <a:pt x="1118" y="619"/>
                    <a:pt x="1119" y="619"/>
                  </a:cubicBezTo>
                  <a:cubicBezTo>
                    <a:pt x="1119" y="619"/>
                    <a:pt x="1119" y="619"/>
                    <a:pt x="1119" y="619"/>
                  </a:cubicBezTo>
                  <a:cubicBezTo>
                    <a:pt x="1124" y="619"/>
                    <a:pt x="1128" y="621"/>
                    <a:pt x="1133" y="622"/>
                  </a:cubicBezTo>
                  <a:cubicBezTo>
                    <a:pt x="1132" y="620"/>
                    <a:pt x="1132" y="617"/>
                    <a:pt x="1130" y="615"/>
                  </a:cubicBezTo>
                  <a:cubicBezTo>
                    <a:pt x="1128" y="613"/>
                    <a:pt x="1123" y="612"/>
                    <a:pt x="1121" y="610"/>
                  </a:cubicBezTo>
                  <a:cubicBezTo>
                    <a:pt x="1120" y="608"/>
                    <a:pt x="1121" y="605"/>
                    <a:pt x="1119" y="603"/>
                  </a:cubicBezTo>
                  <a:cubicBezTo>
                    <a:pt x="1119" y="602"/>
                    <a:pt x="1116" y="602"/>
                    <a:pt x="1115" y="601"/>
                  </a:cubicBezTo>
                  <a:cubicBezTo>
                    <a:pt x="1110" y="599"/>
                    <a:pt x="1109" y="599"/>
                    <a:pt x="1109" y="593"/>
                  </a:cubicBezTo>
                  <a:cubicBezTo>
                    <a:pt x="1109" y="589"/>
                    <a:pt x="1109" y="588"/>
                    <a:pt x="1107" y="584"/>
                  </a:cubicBezTo>
                  <a:cubicBezTo>
                    <a:pt x="1104" y="577"/>
                    <a:pt x="1102" y="571"/>
                    <a:pt x="1099" y="564"/>
                  </a:cubicBezTo>
                  <a:cubicBezTo>
                    <a:pt x="1097" y="560"/>
                    <a:pt x="1096" y="556"/>
                    <a:pt x="1093" y="553"/>
                  </a:cubicBezTo>
                  <a:cubicBezTo>
                    <a:pt x="1092" y="553"/>
                    <a:pt x="1091" y="552"/>
                    <a:pt x="1090" y="552"/>
                  </a:cubicBezTo>
                  <a:cubicBezTo>
                    <a:pt x="1088" y="551"/>
                    <a:pt x="1084" y="550"/>
                    <a:pt x="1083" y="550"/>
                  </a:cubicBezTo>
                  <a:cubicBezTo>
                    <a:pt x="1082" y="548"/>
                    <a:pt x="1076" y="542"/>
                    <a:pt x="1073" y="542"/>
                  </a:cubicBezTo>
                  <a:cubicBezTo>
                    <a:pt x="1073" y="542"/>
                    <a:pt x="1073" y="542"/>
                    <a:pt x="1073" y="542"/>
                  </a:cubicBezTo>
                  <a:cubicBezTo>
                    <a:pt x="1071" y="542"/>
                    <a:pt x="1070" y="543"/>
                    <a:pt x="1070" y="543"/>
                  </a:cubicBezTo>
                  <a:cubicBezTo>
                    <a:pt x="1070" y="543"/>
                    <a:pt x="1070" y="542"/>
                    <a:pt x="1070" y="541"/>
                  </a:cubicBezTo>
                  <a:cubicBezTo>
                    <a:pt x="1069" y="539"/>
                    <a:pt x="1069" y="538"/>
                    <a:pt x="1070" y="536"/>
                  </a:cubicBezTo>
                  <a:cubicBezTo>
                    <a:pt x="1069" y="536"/>
                    <a:pt x="1069" y="536"/>
                    <a:pt x="1069" y="536"/>
                  </a:cubicBezTo>
                  <a:cubicBezTo>
                    <a:pt x="1069" y="535"/>
                    <a:pt x="1070" y="535"/>
                    <a:pt x="1071" y="535"/>
                  </a:cubicBezTo>
                  <a:cubicBezTo>
                    <a:pt x="1075" y="531"/>
                    <a:pt x="1076" y="521"/>
                    <a:pt x="1083" y="520"/>
                  </a:cubicBezTo>
                  <a:cubicBezTo>
                    <a:pt x="1086" y="519"/>
                    <a:pt x="1087" y="518"/>
                    <a:pt x="1089" y="515"/>
                  </a:cubicBezTo>
                  <a:cubicBezTo>
                    <a:pt x="1091" y="512"/>
                    <a:pt x="1093" y="511"/>
                    <a:pt x="1095" y="509"/>
                  </a:cubicBezTo>
                  <a:cubicBezTo>
                    <a:pt x="1094" y="509"/>
                    <a:pt x="1092" y="507"/>
                    <a:pt x="1091" y="505"/>
                  </a:cubicBezTo>
                  <a:cubicBezTo>
                    <a:pt x="1090" y="503"/>
                    <a:pt x="1093" y="502"/>
                    <a:pt x="1095" y="502"/>
                  </a:cubicBezTo>
                  <a:cubicBezTo>
                    <a:pt x="1095" y="502"/>
                    <a:pt x="1096" y="502"/>
                    <a:pt x="1096" y="502"/>
                  </a:cubicBezTo>
                  <a:cubicBezTo>
                    <a:pt x="1097" y="503"/>
                    <a:pt x="1097" y="504"/>
                    <a:pt x="1097" y="505"/>
                  </a:cubicBezTo>
                  <a:cubicBezTo>
                    <a:pt x="1097" y="507"/>
                    <a:pt x="1097" y="507"/>
                    <a:pt x="1098" y="507"/>
                  </a:cubicBezTo>
                  <a:cubicBezTo>
                    <a:pt x="1098" y="507"/>
                    <a:pt x="1099" y="507"/>
                    <a:pt x="1099" y="507"/>
                  </a:cubicBezTo>
                  <a:cubicBezTo>
                    <a:pt x="1102" y="507"/>
                    <a:pt x="1104" y="506"/>
                    <a:pt x="1105" y="504"/>
                  </a:cubicBezTo>
                  <a:cubicBezTo>
                    <a:pt x="1105" y="503"/>
                    <a:pt x="1104" y="502"/>
                    <a:pt x="1104" y="502"/>
                  </a:cubicBezTo>
                  <a:cubicBezTo>
                    <a:pt x="1103" y="499"/>
                    <a:pt x="1105" y="499"/>
                    <a:pt x="1108" y="498"/>
                  </a:cubicBezTo>
                  <a:cubicBezTo>
                    <a:pt x="1109" y="497"/>
                    <a:pt x="1111" y="497"/>
                    <a:pt x="1111" y="494"/>
                  </a:cubicBezTo>
                  <a:cubicBezTo>
                    <a:pt x="1111" y="494"/>
                    <a:pt x="1111" y="494"/>
                    <a:pt x="1111" y="494"/>
                  </a:cubicBezTo>
                  <a:cubicBezTo>
                    <a:pt x="1110" y="494"/>
                    <a:pt x="1110" y="494"/>
                    <a:pt x="1109" y="494"/>
                  </a:cubicBezTo>
                  <a:cubicBezTo>
                    <a:pt x="1109" y="493"/>
                    <a:pt x="1108" y="493"/>
                    <a:pt x="1107" y="493"/>
                  </a:cubicBezTo>
                  <a:cubicBezTo>
                    <a:pt x="1107" y="493"/>
                    <a:pt x="1107" y="493"/>
                    <a:pt x="1106" y="493"/>
                  </a:cubicBezTo>
                  <a:cubicBezTo>
                    <a:pt x="1107" y="492"/>
                    <a:pt x="1108" y="492"/>
                    <a:pt x="1109" y="492"/>
                  </a:cubicBezTo>
                  <a:cubicBezTo>
                    <a:pt x="1109" y="492"/>
                    <a:pt x="1110" y="492"/>
                    <a:pt x="1111" y="492"/>
                  </a:cubicBezTo>
                  <a:cubicBezTo>
                    <a:pt x="1111" y="492"/>
                    <a:pt x="1112" y="492"/>
                    <a:pt x="1113" y="492"/>
                  </a:cubicBezTo>
                  <a:cubicBezTo>
                    <a:pt x="1113" y="492"/>
                    <a:pt x="1114" y="492"/>
                    <a:pt x="1114" y="492"/>
                  </a:cubicBezTo>
                  <a:cubicBezTo>
                    <a:pt x="1117" y="491"/>
                    <a:pt x="1120" y="489"/>
                    <a:pt x="1123" y="488"/>
                  </a:cubicBezTo>
                  <a:cubicBezTo>
                    <a:pt x="1128" y="486"/>
                    <a:pt x="1134" y="484"/>
                    <a:pt x="1140" y="482"/>
                  </a:cubicBezTo>
                  <a:cubicBezTo>
                    <a:pt x="1140" y="485"/>
                    <a:pt x="1140" y="487"/>
                    <a:pt x="1142" y="487"/>
                  </a:cubicBezTo>
                  <a:cubicBezTo>
                    <a:pt x="1143" y="487"/>
                    <a:pt x="1144" y="486"/>
                    <a:pt x="1145" y="486"/>
                  </a:cubicBezTo>
                  <a:cubicBezTo>
                    <a:pt x="1148" y="485"/>
                    <a:pt x="1148" y="484"/>
                    <a:pt x="1148" y="481"/>
                  </a:cubicBezTo>
                  <a:cubicBezTo>
                    <a:pt x="1148" y="481"/>
                    <a:pt x="1148" y="481"/>
                    <a:pt x="1148" y="481"/>
                  </a:cubicBezTo>
                  <a:cubicBezTo>
                    <a:pt x="1148" y="481"/>
                    <a:pt x="1147" y="481"/>
                    <a:pt x="1147" y="482"/>
                  </a:cubicBezTo>
                  <a:cubicBezTo>
                    <a:pt x="1146" y="482"/>
                    <a:pt x="1146" y="482"/>
                    <a:pt x="1145" y="482"/>
                  </a:cubicBezTo>
                  <a:cubicBezTo>
                    <a:pt x="1145" y="482"/>
                    <a:pt x="1145" y="482"/>
                    <a:pt x="1146" y="481"/>
                  </a:cubicBezTo>
                  <a:cubicBezTo>
                    <a:pt x="1147" y="479"/>
                    <a:pt x="1154" y="473"/>
                    <a:pt x="1151" y="471"/>
                  </a:cubicBezTo>
                  <a:cubicBezTo>
                    <a:pt x="1151" y="471"/>
                    <a:pt x="1151" y="471"/>
                    <a:pt x="1150" y="471"/>
                  </a:cubicBezTo>
                  <a:cubicBezTo>
                    <a:pt x="1149" y="471"/>
                    <a:pt x="1148" y="471"/>
                    <a:pt x="1147" y="471"/>
                  </a:cubicBezTo>
                  <a:cubicBezTo>
                    <a:pt x="1147" y="471"/>
                    <a:pt x="1147" y="471"/>
                    <a:pt x="1146" y="471"/>
                  </a:cubicBezTo>
                  <a:cubicBezTo>
                    <a:pt x="1146" y="471"/>
                    <a:pt x="1145" y="471"/>
                    <a:pt x="1145" y="471"/>
                  </a:cubicBezTo>
                  <a:cubicBezTo>
                    <a:pt x="1142" y="470"/>
                    <a:pt x="1140" y="468"/>
                    <a:pt x="1137" y="467"/>
                  </a:cubicBezTo>
                  <a:cubicBezTo>
                    <a:pt x="1136" y="468"/>
                    <a:pt x="1135" y="469"/>
                    <a:pt x="1135" y="471"/>
                  </a:cubicBezTo>
                  <a:cubicBezTo>
                    <a:pt x="1134" y="470"/>
                    <a:pt x="1133" y="469"/>
                    <a:pt x="1132" y="469"/>
                  </a:cubicBezTo>
                  <a:cubicBezTo>
                    <a:pt x="1131" y="469"/>
                    <a:pt x="1130" y="470"/>
                    <a:pt x="1129" y="470"/>
                  </a:cubicBezTo>
                  <a:cubicBezTo>
                    <a:pt x="1128" y="470"/>
                    <a:pt x="1127" y="470"/>
                    <a:pt x="1126" y="470"/>
                  </a:cubicBezTo>
                  <a:cubicBezTo>
                    <a:pt x="1126" y="470"/>
                    <a:pt x="1125" y="470"/>
                    <a:pt x="1125" y="470"/>
                  </a:cubicBezTo>
                  <a:cubicBezTo>
                    <a:pt x="1122" y="470"/>
                    <a:pt x="1118" y="467"/>
                    <a:pt x="1115" y="466"/>
                  </a:cubicBezTo>
                  <a:cubicBezTo>
                    <a:pt x="1113" y="464"/>
                    <a:pt x="1110" y="462"/>
                    <a:pt x="1107" y="460"/>
                  </a:cubicBezTo>
                  <a:cubicBezTo>
                    <a:pt x="1107" y="460"/>
                    <a:pt x="1106" y="460"/>
                    <a:pt x="1106" y="460"/>
                  </a:cubicBezTo>
                  <a:cubicBezTo>
                    <a:pt x="1104" y="460"/>
                    <a:pt x="1102" y="461"/>
                    <a:pt x="1100" y="462"/>
                  </a:cubicBezTo>
                  <a:cubicBezTo>
                    <a:pt x="1097" y="463"/>
                    <a:pt x="1093" y="462"/>
                    <a:pt x="1094" y="466"/>
                  </a:cubicBezTo>
                  <a:cubicBezTo>
                    <a:pt x="1095" y="468"/>
                    <a:pt x="1090" y="471"/>
                    <a:pt x="1088" y="471"/>
                  </a:cubicBezTo>
                  <a:cubicBezTo>
                    <a:pt x="1086" y="473"/>
                    <a:pt x="1081" y="478"/>
                    <a:pt x="1078" y="478"/>
                  </a:cubicBezTo>
                  <a:cubicBezTo>
                    <a:pt x="1078" y="478"/>
                    <a:pt x="1078" y="478"/>
                    <a:pt x="1078" y="478"/>
                  </a:cubicBezTo>
                  <a:cubicBezTo>
                    <a:pt x="1075" y="478"/>
                    <a:pt x="1071" y="476"/>
                    <a:pt x="1068" y="475"/>
                  </a:cubicBezTo>
                  <a:cubicBezTo>
                    <a:pt x="1064" y="474"/>
                    <a:pt x="1064" y="474"/>
                    <a:pt x="1065" y="470"/>
                  </a:cubicBezTo>
                  <a:cubicBezTo>
                    <a:pt x="1066" y="467"/>
                    <a:pt x="1067" y="463"/>
                    <a:pt x="1067" y="460"/>
                  </a:cubicBezTo>
                  <a:cubicBezTo>
                    <a:pt x="1067" y="457"/>
                    <a:pt x="1065" y="451"/>
                    <a:pt x="1061" y="450"/>
                  </a:cubicBezTo>
                  <a:cubicBezTo>
                    <a:pt x="1061" y="450"/>
                    <a:pt x="1060" y="450"/>
                    <a:pt x="1059" y="450"/>
                  </a:cubicBezTo>
                  <a:cubicBezTo>
                    <a:pt x="1058" y="450"/>
                    <a:pt x="1057" y="450"/>
                    <a:pt x="1056" y="450"/>
                  </a:cubicBezTo>
                  <a:cubicBezTo>
                    <a:pt x="1055" y="451"/>
                    <a:pt x="1057" y="452"/>
                    <a:pt x="1057" y="453"/>
                  </a:cubicBezTo>
                  <a:cubicBezTo>
                    <a:pt x="1056" y="453"/>
                    <a:pt x="1056" y="454"/>
                    <a:pt x="1055" y="455"/>
                  </a:cubicBezTo>
                  <a:cubicBezTo>
                    <a:pt x="1053" y="453"/>
                    <a:pt x="1053" y="452"/>
                    <a:pt x="1051" y="451"/>
                  </a:cubicBezTo>
                  <a:cubicBezTo>
                    <a:pt x="1051" y="451"/>
                    <a:pt x="1051" y="451"/>
                    <a:pt x="1050" y="451"/>
                  </a:cubicBezTo>
                  <a:cubicBezTo>
                    <a:pt x="1050" y="451"/>
                    <a:pt x="1050" y="451"/>
                    <a:pt x="1050" y="451"/>
                  </a:cubicBezTo>
                  <a:cubicBezTo>
                    <a:pt x="1049" y="451"/>
                    <a:pt x="1049" y="451"/>
                    <a:pt x="1049" y="451"/>
                  </a:cubicBezTo>
                  <a:cubicBezTo>
                    <a:pt x="1048" y="451"/>
                    <a:pt x="1048" y="451"/>
                    <a:pt x="1047" y="451"/>
                  </a:cubicBezTo>
                  <a:cubicBezTo>
                    <a:pt x="1045" y="450"/>
                    <a:pt x="1042" y="449"/>
                    <a:pt x="1040" y="448"/>
                  </a:cubicBezTo>
                  <a:cubicBezTo>
                    <a:pt x="1037" y="447"/>
                    <a:pt x="1030" y="440"/>
                    <a:pt x="1031" y="437"/>
                  </a:cubicBezTo>
                  <a:cubicBezTo>
                    <a:pt x="1032" y="433"/>
                    <a:pt x="1033" y="427"/>
                    <a:pt x="1036" y="424"/>
                  </a:cubicBezTo>
                  <a:cubicBezTo>
                    <a:pt x="1036" y="424"/>
                    <a:pt x="1037" y="423"/>
                    <a:pt x="1038" y="422"/>
                  </a:cubicBezTo>
                  <a:cubicBezTo>
                    <a:pt x="1039" y="422"/>
                    <a:pt x="1040" y="422"/>
                    <a:pt x="1040" y="422"/>
                  </a:cubicBezTo>
                  <a:cubicBezTo>
                    <a:pt x="1044" y="422"/>
                    <a:pt x="1045" y="426"/>
                    <a:pt x="1049" y="426"/>
                  </a:cubicBezTo>
                  <a:cubicBezTo>
                    <a:pt x="1049" y="426"/>
                    <a:pt x="1050" y="426"/>
                    <a:pt x="1050" y="426"/>
                  </a:cubicBezTo>
                  <a:cubicBezTo>
                    <a:pt x="1052" y="426"/>
                    <a:pt x="1054" y="425"/>
                    <a:pt x="1056" y="425"/>
                  </a:cubicBezTo>
                  <a:cubicBezTo>
                    <a:pt x="1059" y="424"/>
                    <a:pt x="1062" y="425"/>
                    <a:pt x="1064" y="423"/>
                  </a:cubicBezTo>
                  <a:cubicBezTo>
                    <a:pt x="1065" y="423"/>
                    <a:pt x="1066" y="421"/>
                    <a:pt x="1066" y="421"/>
                  </a:cubicBezTo>
                  <a:cubicBezTo>
                    <a:pt x="1068" y="419"/>
                    <a:pt x="1071" y="417"/>
                    <a:pt x="1072" y="413"/>
                  </a:cubicBezTo>
                  <a:cubicBezTo>
                    <a:pt x="1073" y="408"/>
                    <a:pt x="1075" y="404"/>
                    <a:pt x="1080" y="402"/>
                  </a:cubicBezTo>
                  <a:cubicBezTo>
                    <a:pt x="1087" y="400"/>
                    <a:pt x="1093" y="396"/>
                    <a:pt x="1099" y="393"/>
                  </a:cubicBezTo>
                  <a:cubicBezTo>
                    <a:pt x="1104" y="390"/>
                    <a:pt x="1106" y="383"/>
                    <a:pt x="1111" y="379"/>
                  </a:cubicBezTo>
                  <a:cubicBezTo>
                    <a:pt x="1113" y="376"/>
                    <a:pt x="1114" y="376"/>
                    <a:pt x="1116" y="376"/>
                  </a:cubicBezTo>
                  <a:cubicBezTo>
                    <a:pt x="1117" y="376"/>
                    <a:pt x="1118" y="376"/>
                    <a:pt x="1120" y="376"/>
                  </a:cubicBezTo>
                  <a:cubicBezTo>
                    <a:pt x="1121" y="376"/>
                    <a:pt x="1122" y="376"/>
                    <a:pt x="1123" y="376"/>
                  </a:cubicBezTo>
                  <a:cubicBezTo>
                    <a:pt x="1125" y="376"/>
                    <a:pt x="1127" y="376"/>
                    <a:pt x="1129" y="375"/>
                  </a:cubicBezTo>
                  <a:cubicBezTo>
                    <a:pt x="1131" y="375"/>
                    <a:pt x="1130" y="373"/>
                    <a:pt x="1132" y="372"/>
                  </a:cubicBezTo>
                  <a:cubicBezTo>
                    <a:pt x="1132" y="376"/>
                    <a:pt x="1131" y="377"/>
                    <a:pt x="1135" y="378"/>
                  </a:cubicBezTo>
                  <a:cubicBezTo>
                    <a:pt x="1138" y="380"/>
                    <a:pt x="1140" y="381"/>
                    <a:pt x="1141" y="384"/>
                  </a:cubicBezTo>
                  <a:cubicBezTo>
                    <a:pt x="1141" y="385"/>
                    <a:pt x="1142" y="385"/>
                    <a:pt x="1142" y="385"/>
                  </a:cubicBezTo>
                  <a:cubicBezTo>
                    <a:pt x="1143" y="387"/>
                    <a:pt x="1141" y="389"/>
                    <a:pt x="1140" y="390"/>
                  </a:cubicBezTo>
                  <a:cubicBezTo>
                    <a:pt x="1137" y="393"/>
                    <a:pt x="1135" y="396"/>
                    <a:pt x="1133" y="398"/>
                  </a:cubicBezTo>
                  <a:cubicBezTo>
                    <a:pt x="1131" y="400"/>
                    <a:pt x="1131" y="401"/>
                    <a:pt x="1129" y="402"/>
                  </a:cubicBezTo>
                  <a:cubicBezTo>
                    <a:pt x="1128" y="403"/>
                    <a:pt x="1124" y="403"/>
                    <a:pt x="1123" y="405"/>
                  </a:cubicBezTo>
                  <a:cubicBezTo>
                    <a:pt x="1122" y="407"/>
                    <a:pt x="1123" y="409"/>
                    <a:pt x="1122" y="410"/>
                  </a:cubicBezTo>
                  <a:cubicBezTo>
                    <a:pt x="1122" y="411"/>
                    <a:pt x="1121" y="411"/>
                    <a:pt x="1120" y="411"/>
                  </a:cubicBezTo>
                  <a:cubicBezTo>
                    <a:pt x="1119" y="412"/>
                    <a:pt x="1118" y="412"/>
                    <a:pt x="1117" y="413"/>
                  </a:cubicBezTo>
                  <a:cubicBezTo>
                    <a:pt x="1121" y="416"/>
                    <a:pt x="1123" y="417"/>
                    <a:pt x="1127" y="417"/>
                  </a:cubicBezTo>
                  <a:cubicBezTo>
                    <a:pt x="1129" y="417"/>
                    <a:pt x="1131" y="416"/>
                    <a:pt x="1134" y="416"/>
                  </a:cubicBezTo>
                  <a:cubicBezTo>
                    <a:pt x="1133" y="417"/>
                    <a:pt x="1127" y="419"/>
                    <a:pt x="1127" y="420"/>
                  </a:cubicBezTo>
                  <a:cubicBezTo>
                    <a:pt x="1126" y="421"/>
                    <a:pt x="1128" y="422"/>
                    <a:pt x="1128" y="423"/>
                  </a:cubicBezTo>
                  <a:cubicBezTo>
                    <a:pt x="1128" y="426"/>
                    <a:pt x="1124" y="426"/>
                    <a:pt x="1121" y="426"/>
                  </a:cubicBezTo>
                  <a:cubicBezTo>
                    <a:pt x="1120" y="427"/>
                    <a:pt x="1118" y="428"/>
                    <a:pt x="1117" y="429"/>
                  </a:cubicBezTo>
                  <a:cubicBezTo>
                    <a:pt x="1117" y="429"/>
                    <a:pt x="1117" y="429"/>
                    <a:pt x="1117" y="429"/>
                  </a:cubicBezTo>
                  <a:cubicBezTo>
                    <a:pt x="1117" y="429"/>
                    <a:pt x="1116" y="429"/>
                    <a:pt x="1116" y="429"/>
                  </a:cubicBezTo>
                  <a:cubicBezTo>
                    <a:pt x="1116" y="429"/>
                    <a:pt x="1116" y="429"/>
                    <a:pt x="1115" y="429"/>
                  </a:cubicBezTo>
                  <a:cubicBezTo>
                    <a:pt x="1115" y="429"/>
                    <a:pt x="1115" y="429"/>
                    <a:pt x="1115" y="429"/>
                  </a:cubicBezTo>
                  <a:cubicBezTo>
                    <a:pt x="1114" y="430"/>
                    <a:pt x="1116" y="434"/>
                    <a:pt x="1117" y="435"/>
                  </a:cubicBezTo>
                  <a:cubicBezTo>
                    <a:pt x="1125" y="429"/>
                    <a:pt x="1134" y="424"/>
                    <a:pt x="1143" y="418"/>
                  </a:cubicBezTo>
                  <a:cubicBezTo>
                    <a:pt x="1146" y="415"/>
                    <a:pt x="1150" y="413"/>
                    <a:pt x="1154" y="411"/>
                  </a:cubicBezTo>
                  <a:cubicBezTo>
                    <a:pt x="1157" y="409"/>
                    <a:pt x="1160" y="407"/>
                    <a:pt x="1164" y="406"/>
                  </a:cubicBezTo>
                  <a:cubicBezTo>
                    <a:pt x="1165" y="405"/>
                    <a:pt x="1166" y="405"/>
                    <a:pt x="1168" y="405"/>
                  </a:cubicBezTo>
                  <a:cubicBezTo>
                    <a:pt x="1168" y="405"/>
                    <a:pt x="1169" y="405"/>
                    <a:pt x="1169" y="405"/>
                  </a:cubicBezTo>
                  <a:cubicBezTo>
                    <a:pt x="1170" y="405"/>
                    <a:pt x="1170" y="405"/>
                    <a:pt x="1171" y="405"/>
                  </a:cubicBezTo>
                  <a:cubicBezTo>
                    <a:pt x="1171" y="405"/>
                    <a:pt x="1172" y="405"/>
                    <a:pt x="1172" y="405"/>
                  </a:cubicBezTo>
                  <a:cubicBezTo>
                    <a:pt x="1176" y="405"/>
                    <a:pt x="1180" y="405"/>
                    <a:pt x="1183" y="405"/>
                  </a:cubicBezTo>
                  <a:cubicBezTo>
                    <a:pt x="1186" y="404"/>
                    <a:pt x="1188" y="402"/>
                    <a:pt x="1189" y="400"/>
                  </a:cubicBezTo>
                  <a:cubicBezTo>
                    <a:pt x="1188" y="399"/>
                    <a:pt x="1188" y="399"/>
                    <a:pt x="1188" y="399"/>
                  </a:cubicBezTo>
                  <a:cubicBezTo>
                    <a:pt x="1188" y="398"/>
                    <a:pt x="1188" y="398"/>
                    <a:pt x="1188" y="398"/>
                  </a:cubicBezTo>
                  <a:cubicBezTo>
                    <a:pt x="1189" y="396"/>
                    <a:pt x="1191" y="394"/>
                    <a:pt x="1191" y="394"/>
                  </a:cubicBezTo>
                  <a:cubicBezTo>
                    <a:pt x="1191" y="394"/>
                    <a:pt x="1191" y="394"/>
                    <a:pt x="1191" y="394"/>
                  </a:cubicBezTo>
                  <a:cubicBezTo>
                    <a:pt x="1196" y="391"/>
                    <a:pt x="1196" y="391"/>
                    <a:pt x="1196" y="391"/>
                  </a:cubicBezTo>
                  <a:cubicBezTo>
                    <a:pt x="1202" y="387"/>
                    <a:pt x="1207" y="384"/>
                    <a:pt x="1213" y="380"/>
                  </a:cubicBezTo>
                  <a:cubicBezTo>
                    <a:pt x="1215" y="379"/>
                    <a:pt x="1216" y="378"/>
                    <a:pt x="1218" y="376"/>
                  </a:cubicBezTo>
                  <a:cubicBezTo>
                    <a:pt x="1219" y="375"/>
                    <a:pt x="1219" y="375"/>
                    <a:pt x="1219" y="375"/>
                  </a:cubicBezTo>
                  <a:cubicBezTo>
                    <a:pt x="1221" y="373"/>
                    <a:pt x="1223" y="373"/>
                    <a:pt x="1225" y="373"/>
                  </a:cubicBezTo>
                  <a:cubicBezTo>
                    <a:pt x="1226" y="373"/>
                    <a:pt x="1227" y="373"/>
                    <a:pt x="1228" y="372"/>
                  </a:cubicBezTo>
                  <a:cubicBezTo>
                    <a:pt x="1228" y="372"/>
                    <a:pt x="1228" y="372"/>
                    <a:pt x="1228" y="372"/>
                  </a:cubicBezTo>
                  <a:cubicBezTo>
                    <a:pt x="1228" y="372"/>
                    <a:pt x="1229" y="371"/>
                    <a:pt x="1230" y="370"/>
                  </a:cubicBezTo>
                  <a:cubicBezTo>
                    <a:pt x="1230" y="369"/>
                    <a:pt x="1231" y="369"/>
                    <a:pt x="1231" y="368"/>
                  </a:cubicBezTo>
                  <a:cubicBezTo>
                    <a:pt x="1235" y="364"/>
                    <a:pt x="1239" y="359"/>
                    <a:pt x="1241" y="354"/>
                  </a:cubicBezTo>
                  <a:cubicBezTo>
                    <a:pt x="1242" y="352"/>
                    <a:pt x="1243" y="351"/>
                    <a:pt x="1245" y="349"/>
                  </a:cubicBezTo>
                  <a:cubicBezTo>
                    <a:pt x="1241" y="344"/>
                    <a:pt x="1241" y="344"/>
                    <a:pt x="1241" y="344"/>
                  </a:cubicBezTo>
                  <a:cubicBezTo>
                    <a:pt x="1246" y="348"/>
                    <a:pt x="1246" y="348"/>
                    <a:pt x="1246" y="348"/>
                  </a:cubicBezTo>
                  <a:cubicBezTo>
                    <a:pt x="1246" y="348"/>
                    <a:pt x="1246" y="348"/>
                    <a:pt x="1246" y="348"/>
                  </a:cubicBezTo>
                  <a:cubicBezTo>
                    <a:pt x="1247" y="348"/>
                    <a:pt x="1247" y="348"/>
                    <a:pt x="1247" y="348"/>
                  </a:cubicBezTo>
                  <a:cubicBezTo>
                    <a:pt x="1248" y="347"/>
                    <a:pt x="1249" y="347"/>
                    <a:pt x="1250" y="347"/>
                  </a:cubicBezTo>
                  <a:cubicBezTo>
                    <a:pt x="1250" y="347"/>
                    <a:pt x="1250" y="347"/>
                    <a:pt x="1250" y="347"/>
                  </a:cubicBezTo>
                  <a:cubicBezTo>
                    <a:pt x="1251" y="347"/>
                    <a:pt x="1251" y="347"/>
                    <a:pt x="1251" y="347"/>
                  </a:cubicBezTo>
                  <a:cubicBezTo>
                    <a:pt x="1252" y="347"/>
                    <a:pt x="1253" y="348"/>
                    <a:pt x="1253" y="348"/>
                  </a:cubicBezTo>
                  <a:cubicBezTo>
                    <a:pt x="1254" y="348"/>
                    <a:pt x="1254" y="348"/>
                    <a:pt x="1254" y="348"/>
                  </a:cubicBezTo>
                  <a:cubicBezTo>
                    <a:pt x="1255" y="349"/>
                    <a:pt x="1257" y="351"/>
                    <a:pt x="1258" y="352"/>
                  </a:cubicBezTo>
                  <a:cubicBezTo>
                    <a:pt x="1259" y="353"/>
                    <a:pt x="1260" y="355"/>
                    <a:pt x="1261" y="355"/>
                  </a:cubicBezTo>
                  <a:cubicBezTo>
                    <a:pt x="1261" y="356"/>
                    <a:pt x="1261" y="356"/>
                    <a:pt x="1261" y="356"/>
                  </a:cubicBezTo>
                  <a:cubicBezTo>
                    <a:pt x="1263" y="357"/>
                    <a:pt x="1268" y="357"/>
                    <a:pt x="1271" y="357"/>
                  </a:cubicBezTo>
                  <a:cubicBezTo>
                    <a:pt x="1272" y="357"/>
                    <a:pt x="1272" y="357"/>
                    <a:pt x="1272" y="357"/>
                  </a:cubicBezTo>
                  <a:cubicBezTo>
                    <a:pt x="1274" y="358"/>
                    <a:pt x="1276" y="358"/>
                    <a:pt x="1277" y="358"/>
                  </a:cubicBezTo>
                  <a:cubicBezTo>
                    <a:pt x="1278" y="358"/>
                    <a:pt x="1278" y="358"/>
                    <a:pt x="1278" y="358"/>
                  </a:cubicBezTo>
                  <a:cubicBezTo>
                    <a:pt x="1279" y="358"/>
                    <a:pt x="1279" y="358"/>
                    <a:pt x="1279" y="358"/>
                  </a:cubicBezTo>
                  <a:cubicBezTo>
                    <a:pt x="1280" y="358"/>
                    <a:pt x="1280" y="358"/>
                    <a:pt x="1280" y="358"/>
                  </a:cubicBezTo>
                  <a:cubicBezTo>
                    <a:pt x="1280" y="358"/>
                    <a:pt x="1280" y="357"/>
                    <a:pt x="1281" y="356"/>
                  </a:cubicBezTo>
                  <a:cubicBezTo>
                    <a:pt x="1281" y="356"/>
                    <a:pt x="1281" y="356"/>
                    <a:pt x="1281" y="356"/>
                  </a:cubicBezTo>
                  <a:cubicBezTo>
                    <a:pt x="1280" y="356"/>
                    <a:pt x="1280" y="356"/>
                    <a:pt x="1280" y="356"/>
                  </a:cubicBezTo>
                  <a:cubicBezTo>
                    <a:pt x="1279" y="355"/>
                    <a:pt x="1279" y="355"/>
                    <a:pt x="1279" y="355"/>
                  </a:cubicBezTo>
                  <a:cubicBezTo>
                    <a:pt x="1277" y="351"/>
                    <a:pt x="1275" y="348"/>
                    <a:pt x="1275" y="344"/>
                  </a:cubicBezTo>
                  <a:cubicBezTo>
                    <a:pt x="1275" y="342"/>
                    <a:pt x="1275" y="342"/>
                    <a:pt x="1275" y="342"/>
                  </a:cubicBezTo>
                  <a:cubicBezTo>
                    <a:pt x="1289" y="340"/>
                    <a:pt x="1289" y="340"/>
                    <a:pt x="1289" y="340"/>
                  </a:cubicBezTo>
                  <a:cubicBezTo>
                    <a:pt x="1290" y="340"/>
                    <a:pt x="1291" y="340"/>
                    <a:pt x="1293" y="339"/>
                  </a:cubicBezTo>
                  <a:cubicBezTo>
                    <a:pt x="1295" y="339"/>
                    <a:pt x="1298" y="339"/>
                    <a:pt x="1299" y="339"/>
                  </a:cubicBezTo>
                  <a:cubicBezTo>
                    <a:pt x="1300" y="338"/>
                    <a:pt x="1301" y="337"/>
                    <a:pt x="1302" y="336"/>
                  </a:cubicBezTo>
                  <a:cubicBezTo>
                    <a:pt x="1301" y="336"/>
                    <a:pt x="1301" y="336"/>
                    <a:pt x="1301" y="336"/>
                  </a:cubicBezTo>
                  <a:cubicBezTo>
                    <a:pt x="1302" y="333"/>
                    <a:pt x="1302" y="333"/>
                    <a:pt x="1302" y="333"/>
                  </a:cubicBezTo>
                  <a:cubicBezTo>
                    <a:pt x="1304" y="331"/>
                    <a:pt x="1306" y="329"/>
                    <a:pt x="1309" y="328"/>
                  </a:cubicBezTo>
                  <a:cubicBezTo>
                    <a:pt x="1310" y="328"/>
                    <a:pt x="1310" y="328"/>
                    <a:pt x="1310" y="328"/>
                  </a:cubicBezTo>
                  <a:cubicBezTo>
                    <a:pt x="1312" y="327"/>
                    <a:pt x="1314" y="327"/>
                    <a:pt x="1315" y="326"/>
                  </a:cubicBezTo>
                  <a:cubicBezTo>
                    <a:pt x="1315" y="326"/>
                    <a:pt x="1315" y="326"/>
                    <a:pt x="1315" y="326"/>
                  </a:cubicBezTo>
                  <a:cubicBezTo>
                    <a:pt x="1315" y="325"/>
                    <a:pt x="1315" y="325"/>
                    <a:pt x="1316" y="325"/>
                  </a:cubicBezTo>
                  <a:cubicBezTo>
                    <a:pt x="1316" y="324"/>
                    <a:pt x="1316" y="324"/>
                    <a:pt x="1316" y="323"/>
                  </a:cubicBezTo>
                  <a:cubicBezTo>
                    <a:pt x="1316" y="321"/>
                    <a:pt x="1316" y="317"/>
                    <a:pt x="1319" y="314"/>
                  </a:cubicBezTo>
                  <a:cubicBezTo>
                    <a:pt x="1319" y="314"/>
                    <a:pt x="1319" y="314"/>
                    <a:pt x="1319" y="314"/>
                  </a:cubicBezTo>
                  <a:cubicBezTo>
                    <a:pt x="1320" y="313"/>
                    <a:pt x="1321" y="312"/>
                    <a:pt x="1322" y="312"/>
                  </a:cubicBezTo>
                  <a:cubicBezTo>
                    <a:pt x="1323" y="312"/>
                    <a:pt x="1324" y="313"/>
                    <a:pt x="1325" y="313"/>
                  </a:cubicBezTo>
                  <a:cubicBezTo>
                    <a:pt x="1326" y="313"/>
                    <a:pt x="1330" y="314"/>
                    <a:pt x="1331" y="316"/>
                  </a:cubicBezTo>
                  <a:cubicBezTo>
                    <a:pt x="1332" y="318"/>
                    <a:pt x="1332" y="319"/>
                    <a:pt x="1333" y="321"/>
                  </a:cubicBezTo>
                  <a:cubicBezTo>
                    <a:pt x="1333" y="321"/>
                    <a:pt x="1333" y="321"/>
                    <a:pt x="1333" y="321"/>
                  </a:cubicBezTo>
                  <a:cubicBezTo>
                    <a:pt x="1336" y="318"/>
                    <a:pt x="1341" y="317"/>
                    <a:pt x="1345" y="317"/>
                  </a:cubicBezTo>
                  <a:cubicBezTo>
                    <a:pt x="1347" y="316"/>
                    <a:pt x="1348" y="316"/>
                    <a:pt x="1349" y="313"/>
                  </a:cubicBezTo>
                  <a:cubicBezTo>
                    <a:pt x="1349" y="311"/>
                    <a:pt x="1349" y="311"/>
                    <a:pt x="1349" y="311"/>
                  </a:cubicBezTo>
                  <a:cubicBezTo>
                    <a:pt x="1350" y="307"/>
                    <a:pt x="1351" y="304"/>
                    <a:pt x="1351" y="301"/>
                  </a:cubicBezTo>
                  <a:cubicBezTo>
                    <a:pt x="1351" y="300"/>
                    <a:pt x="1351" y="299"/>
                    <a:pt x="1351" y="297"/>
                  </a:cubicBezTo>
                  <a:cubicBezTo>
                    <a:pt x="1351" y="296"/>
                    <a:pt x="1351" y="296"/>
                    <a:pt x="1351" y="296"/>
                  </a:cubicBezTo>
                  <a:cubicBezTo>
                    <a:pt x="1350" y="293"/>
                    <a:pt x="1350" y="290"/>
                    <a:pt x="1350" y="287"/>
                  </a:cubicBezTo>
                  <a:cubicBezTo>
                    <a:pt x="1350" y="278"/>
                    <a:pt x="1347" y="271"/>
                    <a:pt x="1344" y="263"/>
                  </a:cubicBezTo>
                  <a:cubicBezTo>
                    <a:pt x="1343" y="260"/>
                    <a:pt x="1343" y="260"/>
                    <a:pt x="1343" y="260"/>
                  </a:cubicBezTo>
                  <a:cubicBezTo>
                    <a:pt x="1346" y="259"/>
                    <a:pt x="1346" y="259"/>
                    <a:pt x="1346" y="259"/>
                  </a:cubicBezTo>
                  <a:cubicBezTo>
                    <a:pt x="1347" y="259"/>
                    <a:pt x="1348" y="259"/>
                    <a:pt x="1350" y="258"/>
                  </a:cubicBezTo>
                  <a:cubicBezTo>
                    <a:pt x="1352" y="258"/>
                    <a:pt x="1356" y="257"/>
                    <a:pt x="1357" y="256"/>
                  </a:cubicBezTo>
                  <a:cubicBezTo>
                    <a:pt x="1358" y="255"/>
                    <a:pt x="1358" y="255"/>
                    <a:pt x="1358" y="255"/>
                  </a:cubicBezTo>
                  <a:cubicBezTo>
                    <a:pt x="1360" y="253"/>
                    <a:pt x="1361" y="252"/>
                    <a:pt x="1362" y="250"/>
                  </a:cubicBezTo>
                  <a:cubicBezTo>
                    <a:pt x="1363" y="249"/>
                    <a:pt x="1363" y="249"/>
                    <a:pt x="1363" y="249"/>
                  </a:cubicBezTo>
                  <a:cubicBezTo>
                    <a:pt x="1364" y="247"/>
                    <a:pt x="1365" y="246"/>
                    <a:pt x="1367" y="245"/>
                  </a:cubicBezTo>
                  <a:cubicBezTo>
                    <a:pt x="1368" y="245"/>
                    <a:pt x="1368" y="245"/>
                    <a:pt x="1368" y="245"/>
                  </a:cubicBezTo>
                  <a:cubicBezTo>
                    <a:pt x="1368" y="245"/>
                    <a:pt x="1368" y="245"/>
                    <a:pt x="1368" y="245"/>
                  </a:cubicBezTo>
                  <a:cubicBezTo>
                    <a:pt x="1369" y="245"/>
                    <a:pt x="1369" y="245"/>
                    <a:pt x="1370" y="246"/>
                  </a:cubicBezTo>
                  <a:cubicBezTo>
                    <a:pt x="1370" y="246"/>
                    <a:pt x="1371" y="247"/>
                    <a:pt x="1372" y="248"/>
                  </a:cubicBezTo>
                  <a:cubicBezTo>
                    <a:pt x="1373" y="248"/>
                    <a:pt x="1373" y="248"/>
                    <a:pt x="1373" y="248"/>
                  </a:cubicBezTo>
                  <a:cubicBezTo>
                    <a:pt x="1373" y="249"/>
                    <a:pt x="1377" y="250"/>
                    <a:pt x="1379" y="250"/>
                  </a:cubicBezTo>
                  <a:cubicBezTo>
                    <a:pt x="1380" y="250"/>
                    <a:pt x="1380" y="250"/>
                    <a:pt x="1380" y="250"/>
                  </a:cubicBezTo>
                  <a:cubicBezTo>
                    <a:pt x="1380" y="250"/>
                    <a:pt x="1381" y="251"/>
                    <a:pt x="1382" y="251"/>
                  </a:cubicBezTo>
                  <a:cubicBezTo>
                    <a:pt x="1382" y="251"/>
                    <a:pt x="1382" y="251"/>
                    <a:pt x="1382" y="251"/>
                  </a:cubicBezTo>
                  <a:cubicBezTo>
                    <a:pt x="1383" y="251"/>
                    <a:pt x="1384" y="251"/>
                    <a:pt x="1384" y="252"/>
                  </a:cubicBezTo>
                  <a:cubicBezTo>
                    <a:pt x="1389" y="253"/>
                    <a:pt x="1390" y="253"/>
                    <a:pt x="1390" y="253"/>
                  </a:cubicBezTo>
                  <a:cubicBezTo>
                    <a:pt x="1390" y="253"/>
                    <a:pt x="1390" y="253"/>
                    <a:pt x="1390" y="253"/>
                  </a:cubicBezTo>
                  <a:cubicBezTo>
                    <a:pt x="1391" y="253"/>
                    <a:pt x="1391" y="253"/>
                    <a:pt x="1391" y="253"/>
                  </a:cubicBezTo>
                  <a:cubicBezTo>
                    <a:pt x="1391" y="253"/>
                    <a:pt x="1391" y="253"/>
                    <a:pt x="1391" y="253"/>
                  </a:cubicBezTo>
                  <a:cubicBezTo>
                    <a:pt x="1392" y="253"/>
                    <a:pt x="1393" y="253"/>
                    <a:pt x="1394" y="252"/>
                  </a:cubicBezTo>
                  <a:cubicBezTo>
                    <a:pt x="1394" y="251"/>
                    <a:pt x="1394" y="251"/>
                    <a:pt x="1394" y="251"/>
                  </a:cubicBezTo>
                  <a:cubicBezTo>
                    <a:pt x="1394" y="250"/>
                    <a:pt x="1394" y="248"/>
                    <a:pt x="1394" y="248"/>
                  </a:cubicBezTo>
                  <a:cubicBezTo>
                    <a:pt x="1394" y="247"/>
                    <a:pt x="1394" y="247"/>
                    <a:pt x="1394" y="247"/>
                  </a:cubicBezTo>
                  <a:cubicBezTo>
                    <a:pt x="1395" y="244"/>
                    <a:pt x="1396" y="243"/>
                    <a:pt x="1398" y="242"/>
                  </a:cubicBezTo>
                  <a:cubicBezTo>
                    <a:pt x="1399" y="241"/>
                    <a:pt x="1399" y="241"/>
                    <a:pt x="1399" y="241"/>
                  </a:cubicBezTo>
                  <a:cubicBezTo>
                    <a:pt x="1400" y="240"/>
                    <a:pt x="1402" y="239"/>
                    <a:pt x="1402" y="238"/>
                  </a:cubicBezTo>
                  <a:cubicBezTo>
                    <a:pt x="1403" y="238"/>
                    <a:pt x="1403" y="238"/>
                    <a:pt x="1403" y="238"/>
                  </a:cubicBezTo>
                  <a:cubicBezTo>
                    <a:pt x="1403" y="237"/>
                    <a:pt x="1403" y="237"/>
                    <a:pt x="1403" y="237"/>
                  </a:cubicBezTo>
                  <a:cubicBezTo>
                    <a:pt x="1403" y="236"/>
                    <a:pt x="1403" y="236"/>
                    <a:pt x="1403" y="236"/>
                  </a:cubicBezTo>
                  <a:cubicBezTo>
                    <a:pt x="1403" y="234"/>
                    <a:pt x="1404" y="232"/>
                    <a:pt x="1406" y="229"/>
                  </a:cubicBezTo>
                  <a:cubicBezTo>
                    <a:pt x="1406" y="229"/>
                    <a:pt x="1407" y="228"/>
                    <a:pt x="1408" y="227"/>
                  </a:cubicBezTo>
                  <a:cubicBezTo>
                    <a:pt x="1409" y="226"/>
                    <a:pt x="1411" y="223"/>
                    <a:pt x="1411" y="222"/>
                  </a:cubicBezTo>
                  <a:cubicBezTo>
                    <a:pt x="1411" y="221"/>
                    <a:pt x="1411" y="221"/>
                    <a:pt x="1411" y="221"/>
                  </a:cubicBezTo>
                  <a:cubicBezTo>
                    <a:pt x="1412" y="220"/>
                    <a:pt x="1412" y="217"/>
                    <a:pt x="1412" y="216"/>
                  </a:cubicBezTo>
                  <a:cubicBezTo>
                    <a:pt x="1412" y="215"/>
                    <a:pt x="1412" y="215"/>
                    <a:pt x="1412" y="215"/>
                  </a:cubicBezTo>
                  <a:cubicBezTo>
                    <a:pt x="1412" y="214"/>
                    <a:pt x="1412" y="214"/>
                    <a:pt x="1412" y="213"/>
                  </a:cubicBezTo>
                  <a:cubicBezTo>
                    <a:pt x="1413" y="213"/>
                    <a:pt x="1413" y="213"/>
                    <a:pt x="1413" y="213"/>
                  </a:cubicBezTo>
                  <a:cubicBezTo>
                    <a:pt x="1413" y="212"/>
                    <a:pt x="1413" y="211"/>
                    <a:pt x="1414" y="210"/>
                  </a:cubicBezTo>
                  <a:cubicBezTo>
                    <a:pt x="1414" y="210"/>
                    <a:pt x="1414" y="210"/>
                    <a:pt x="1414" y="210"/>
                  </a:cubicBezTo>
                  <a:cubicBezTo>
                    <a:pt x="1415" y="209"/>
                    <a:pt x="1415" y="209"/>
                    <a:pt x="1415" y="209"/>
                  </a:cubicBezTo>
                  <a:cubicBezTo>
                    <a:pt x="1415" y="209"/>
                    <a:pt x="1415" y="209"/>
                    <a:pt x="1415" y="209"/>
                  </a:cubicBezTo>
                  <a:cubicBezTo>
                    <a:pt x="1415" y="208"/>
                    <a:pt x="1415" y="207"/>
                    <a:pt x="1416" y="207"/>
                  </a:cubicBezTo>
                  <a:cubicBezTo>
                    <a:pt x="1416" y="206"/>
                    <a:pt x="1416" y="205"/>
                    <a:pt x="1417" y="204"/>
                  </a:cubicBezTo>
                  <a:cubicBezTo>
                    <a:pt x="1417" y="202"/>
                    <a:pt x="1417" y="202"/>
                    <a:pt x="1417" y="202"/>
                  </a:cubicBezTo>
                  <a:cubicBezTo>
                    <a:pt x="1417" y="201"/>
                    <a:pt x="1418" y="200"/>
                    <a:pt x="1418" y="199"/>
                  </a:cubicBezTo>
                  <a:cubicBezTo>
                    <a:pt x="1418" y="199"/>
                    <a:pt x="1418" y="199"/>
                    <a:pt x="1418" y="199"/>
                  </a:cubicBezTo>
                  <a:cubicBezTo>
                    <a:pt x="1418" y="198"/>
                    <a:pt x="1419" y="197"/>
                    <a:pt x="1419" y="195"/>
                  </a:cubicBezTo>
                  <a:cubicBezTo>
                    <a:pt x="1415" y="195"/>
                    <a:pt x="1415" y="195"/>
                    <a:pt x="1415" y="195"/>
                  </a:cubicBezTo>
                  <a:cubicBezTo>
                    <a:pt x="1419" y="194"/>
                    <a:pt x="1419" y="194"/>
                    <a:pt x="1419" y="194"/>
                  </a:cubicBezTo>
                  <a:cubicBezTo>
                    <a:pt x="1419" y="194"/>
                    <a:pt x="1419" y="194"/>
                    <a:pt x="1419" y="194"/>
                  </a:cubicBezTo>
                  <a:cubicBezTo>
                    <a:pt x="1420" y="192"/>
                    <a:pt x="1420" y="192"/>
                    <a:pt x="1420" y="191"/>
                  </a:cubicBezTo>
                  <a:cubicBezTo>
                    <a:pt x="1420" y="190"/>
                    <a:pt x="1420" y="189"/>
                    <a:pt x="1421" y="187"/>
                  </a:cubicBezTo>
                  <a:cubicBezTo>
                    <a:pt x="1421" y="186"/>
                    <a:pt x="1422" y="186"/>
                    <a:pt x="1423" y="185"/>
                  </a:cubicBezTo>
                  <a:cubicBezTo>
                    <a:pt x="1424" y="184"/>
                    <a:pt x="1425" y="183"/>
                    <a:pt x="1426" y="183"/>
                  </a:cubicBezTo>
                  <a:cubicBezTo>
                    <a:pt x="1426" y="183"/>
                    <a:pt x="1426" y="183"/>
                    <a:pt x="1427" y="183"/>
                  </a:cubicBezTo>
                  <a:cubicBezTo>
                    <a:pt x="1427" y="182"/>
                    <a:pt x="1427" y="182"/>
                    <a:pt x="1427" y="182"/>
                  </a:cubicBezTo>
                  <a:cubicBezTo>
                    <a:pt x="1429" y="181"/>
                    <a:pt x="1433" y="179"/>
                    <a:pt x="1433" y="178"/>
                  </a:cubicBezTo>
                  <a:cubicBezTo>
                    <a:pt x="1433" y="177"/>
                    <a:pt x="1433" y="177"/>
                    <a:pt x="1433" y="177"/>
                  </a:cubicBezTo>
                  <a:cubicBezTo>
                    <a:pt x="1433" y="177"/>
                    <a:pt x="1432" y="176"/>
                    <a:pt x="1431" y="175"/>
                  </a:cubicBezTo>
                  <a:cubicBezTo>
                    <a:pt x="1431" y="175"/>
                    <a:pt x="1431" y="175"/>
                    <a:pt x="1431" y="175"/>
                  </a:cubicBezTo>
                  <a:cubicBezTo>
                    <a:pt x="1430" y="174"/>
                    <a:pt x="1429" y="172"/>
                    <a:pt x="1428" y="170"/>
                  </a:cubicBezTo>
                  <a:cubicBezTo>
                    <a:pt x="1428" y="166"/>
                    <a:pt x="1431" y="162"/>
                    <a:pt x="1433" y="160"/>
                  </a:cubicBezTo>
                  <a:cubicBezTo>
                    <a:pt x="1433" y="160"/>
                    <a:pt x="1433" y="160"/>
                    <a:pt x="1433" y="160"/>
                  </a:cubicBezTo>
                  <a:cubicBezTo>
                    <a:pt x="1432" y="160"/>
                    <a:pt x="1431" y="160"/>
                    <a:pt x="1430" y="160"/>
                  </a:cubicBezTo>
                  <a:cubicBezTo>
                    <a:pt x="1427" y="160"/>
                    <a:pt x="1427" y="160"/>
                    <a:pt x="1427" y="160"/>
                  </a:cubicBezTo>
                  <a:cubicBezTo>
                    <a:pt x="1427" y="160"/>
                    <a:pt x="1427" y="160"/>
                    <a:pt x="1427" y="160"/>
                  </a:cubicBezTo>
                  <a:cubicBezTo>
                    <a:pt x="1426" y="160"/>
                    <a:pt x="1425" y="161"/>
                    <a:pt x="1424" y="161"/>
                  </a:cubicBezTo>
                  <a:cubicBezTo>
                    <a:pt x="1424" y="161"/>
                    <a:pt x="1424" y="161"/>
                    <a:pt x="1424" y="161"/>
                  </a:cubicBezTo>
                  <a:cubicBezTo>
                    <a:pt x="1423" y="161"/>
                    <a:pt x="1423" y="161"/>
                    <a:pt x="1422" y="162"/>
                  </a:cubicBezTo>
                  <a:cubicBezTo>
                    <a:pt x="1419" y="162"/>
                    <a:pt x="1416" y="164"/>
                    <a:pt x="1412" y="165"/>
                  </a:cubicBezTo>
                  <a:cubicBezTo>
                    <a:pt x="1411" y="166"/>
                    <a:pt x="1411" y="166"/>
                    <a:pt x="1411" y="166"/>
                  </a:cubicBezTo>
                  <a:cubicBezTo>
                    <a:pt x="1411" y="166"/>
                    <a:pt x="1410" y="166"/>
                    <a:pt x="1409" y="166"/>
                  </a:cubicBezTo>
                  <a:cubicBezTo>
                    <a:pt x="1406" y="168"/>
                    <a:pt x="1406" y="168"/>
                    <a:pt x="1406" y="168"/>
                  </a:cubicBezTo>
                  <a:cubicBezTo>
                    <a:pt x="1403" y="169"/>
                    <a:pt x="1401" y="169"/>
                    <a:pt x="1397" y="169"/>
                  </a:cubicBezTo>
                  <a:cubicBezTo>
                    <a:pt x="1396" y="169"/>
                    <a:pt x="1394" y="170"/>
                    <a:pt x="1393" y="171"/>
                  </a:cubicBezTo>
                  <a:cubicBezTo>
                    <a:pt x="1390" y="172"/>
                    <a:pt x="1389" y="173"/>
                    <a:pt x="1388" y="174"/>
                  </a:cubicBezTo>
                  <a:cubicBezTo>
                    <a:pt x="1387" y="175"/>
                    <a:pt x="1387" y="176"/>
                    <a:pt x="1387" y="176"/>
                  </a:cubicBezTo>
                  <a:cubicBezTo>
                    <a:pt x="1386" y="178"/>
                    <a:pt x="1385" y="180"/>
                    <a:pt x="1381" y="181"/>
                  </a:cubicBezTo>
                  <a:cubicBezTo>
                    <a:pt x="1375" y="181"/>
                    <a:pt x="1370" y="182"/>
                    <a:pt x="1365" y="182"/>
                  </a:cubicBezTo>
                  <a:cubicBezTo>
                    <a:pt x="1363" y="182"/>
                    <a:pt x="1360" y="182"/>
                    <a:pt x="1358" y="181"/>
                  </a:cubicBezTo>
                  <a:cubicBezTo>
                    <a:pt x="1355" y="181"/>
                    <a:pt x="1351" y="182"/>
                    <a:pt x="1348" y="181"/>
                  </a:cubicBezTo>
                  <a:cubicBezTo>
                    <a:pt x="1346" y="181"/>
                    <a:pt x="1345" y="180"/>
                    <a:pt x="1344" y="180"/>
                  </a:cubicBezTo>
                  <a:cubicBezTo>
                    <a:pt x="1344" y="179"/>
                    <a:pt x="1344" y="179"/>
                    <a:pt x="1344" y="179"/>
                  </a:cubicBezTo>
                  <a:cubicBezTo>
                    <a:pt x="1343" y="177"/>
                    <a:pt x="1343" y="177"/>
                    <a:pt x="1343" y="177"/>
                  </a:cubicBezTo>
                  <a:cubicBezTo>
                    <a:pt x="1343" y="177"/>
                    <a:pt x="1343" y="177"/>
                    <a:pt x="1343" y="177"/>
                  </a:cubicBezTo>
                  <a:cubicBezTo>
                    <a:pt x="1343" y="176"/>
                    <a:pt x="1343" y="176"/>
                    <a:pt x="1343" y="175"/>
                  </a:cubicBezTo>
                  <a:cubicBezTo>
                    <a:pt x="1342" y="174"/>
                    <a:pt x="1342" y="174"/>
                    <a:pt x="1342" y="174"/>
                  </a:cubicBezTo>
                  <a:cubicBezTo>
                    <a:pt x="1341" y="173"/>
                    <a:pt x="1341" y="173"/>
                    <a:pt x="1341" y="173"/>
                  </a:cubicBezTo>
                  <a:cubicBezTo>
                    <a:pt x="1341" y="173"/>
                    <a:pt x="1341" y="173"/>
                    <a:pt x="1341" y="173"/>
                  </a:cubicBezTo>
                  <a:cubicBezTo>
                    <a:pt x="1340" y="172"/>
                    <a:pt x="1340" y="172"/>
                    <a:pt x="1340" y="172"/>
                  </a:cubicBezTo>
                  <a:cubicBezTo>
                    <a:pt x="1336" y="168"/>
                    <a:pt x="1336" y="166"/>
                    <a:pt x="1339" y="162"/>
                  </a:cubicBezTo>
                  <a:cubicBezTo>
                    <a:pt x="1339" y="161"/>
                    <a:pt x="1339" y="161"/>
                    <a:pt x="1339" y="161"/>
                  </a:cubicBezTo>
                  <a:cubicBezTo>
                    <a:pt x="1340" y="160"/>
                    <a:pt x="1340" y="160"/>
                    <a:pt x="1340" y="160"/>
                  </a:cubicBezTo>
                  <a:cubicBezTo>
                    <a:pt x="1340" y="160"/>
                    <a:pt x="1340" y="160"/>
                    <a:pt x="1340" y="160"/>
                  </a:cubicBezTo>
                  <a:cubicBezTo>
                    <a:pt x="1340" y="159"/>
                    <a:pt x="1340" y="159"/>
                    <a:pt x="1340" y="159"/>
                  </a:cubicBezTo>
                  <a:cubicBezTo>
                    <a:pt x="1340" y="158"/>
                    <a:pt x="1340" y="158"/>
                    <a:pt x="1340" y="158"/>
                  </a:cubicBezTo>
                  <a:cubicBezTo>
                    <a:pt x="1340" y="158"/>
                    <a:pt x="1339" y="157"/>
                    <a:pt x="1339" y="157"/>
                  </a:cubicBezTo>
                  <a:cubicBezTo>
                    <a:pt x="1339" y="156"/>
                    <a:pt x="1339" y="156"/>
                    <a:pt x="1339" y="156"/>
                  </a:cubicBezTo>
                  <a:cubicBezTo>
                    <a:pt x="1337" y="155"/>
                    <a:pt x="1335" y="154"/>
                    <a:pt x="1335" y="153"/>
                  </a:cubicBezTo>
                  <a:cubicBezTo>
                    <a:pt x="1334" y="152"/>
                    <a:pt x="1334" y="151"/>
                    <a:pt x="1334" y="150"/>
                  </a:cubicBezTo>
                  <a:cubicBezTo>
                    <a:pt x="1334" y="149"/>
                    <a:pt x="1334" y="149"/>
                    <a:pt x="1334" y="149"/>
                  </a:cubicBezTo>
                  <a:cubicBezTo>
                    <a:pt x="1334" y="149"/>
                    <a:pt x="1334" y="148"/>
                    <a:pt x="1334" y="148"/>
                  </a:cubicBezTo>
                  <a:cubicBezTo>
                    <a:pt x="1335" y="145"/>
                    <a:pt x="1335" y="145"/>
                    <a:pt x="1335" y="145"/>
                  </a:cubicBezTo>
                  <a:cubicBezTo>
                    <a:pt x="1333" y="145"/>
                    <a:pt x="1333" y="145"/>
                    <a:pt x="1333" y="145"/>
                  </a:cubicBezTo>
                  <a:cubicBezTo>
                    <a:pt x="1332" y="146"/>
                    <a:pt x="1332" y="146"/>
                    <a:pt x="1332" y="146"/>
                  </a:cubicBezTo>
                  <a:cubicBezTo>
                    <a:pt x="1331" y="146"/>
                    <a:pt x="1331" y="146"/>
                    <a:pt x="1331" y="146"/>
                  </a:cubicBezTo>
                  <a:cubicBezTo>
                    <a:pt x="1331" y="146"/>
                    <a:pt x="1331" y="146"/>
                    <a:pt x="1331" y="146"/>
                  </a:cubicBezTo>
                  <a:cubicBezTo>
                    <a:pt x="1330" y="146"/>
                    <a:pt x="1330" y="146"/>
                    <a:pt x="1330" y="146"/>
                  </a:cubicBezTo>
                  <a:cubicBezTo>
                    <a:pt x="1329" y="146"/>
                    <a:pt x="1329" y="146"/>
                    <a:pt x="1329" y="146"/>
                  </a:cubicBezTo>
                  <a:cubicBezTo>
                    <a:pt x="1327" y="145"/>
                    <a:pt x="1327" y="145"/>
                    <a:pt x="1327" y="145"/>
                  </a:cubicBezTo>
                  <a:cubicBezTo>
                    <a:pt x="1310" y="129"/>
                    <a:pt x="1310" y="129"/>
                    <a:pt x="1310" y="129"/>
                  </a:cubicBezTo>
                  <a:cubicBezTo>
                    <a:pt x="1308" y="130"/>
                    <a:pt x="1308" y="130"/>
                    <a:pt x="1308" y="130"/>
                  </a:cubicBezTo>
                  <a:cubicBezTo>
                    <a:pt x="1308" y="130"/>
                    <a:pt x="1307" y="130"/>
                    <a:pt x="1307" y="130"/>
                  </a:cubicBezTo>
                  <a:cubicBezTo>
                    <a:pt x="1306" y="131"/>
                    <a:pt x="1306" y="131"/>
                    <a:pt x="1306" y="131"/>
                  </a:cubicBezTo>
                  <a:cubicBezTo>
                    <a:pt x="1297" y="127"/>
                    <a:pt x="1297" y="127"/>
                    <a:pt x="1297" y="127"/>
                  </a:cubicBezTo>
                  <a:cubicBezTo>
                    <a:pt x="1296" y="127"/>
                    <a:pt x="1295" y="127"/>
                    <a:pt x="1295" y="126"/>
                  </a:cubicBezTo>
                  <a:cubicBezTo>
                    <a:pt x="1294" y="126"/>
                    <a:pt x="1294" y="126"/>
                    <a:pt x="1294" y="126"/>
                  </a:cubicBezTo>
                  <a:cubicBezTo>
                    <a:pt x="1292" y="125"/>
                    <a:pt x="1290" y="124"/>
                    <a:pt x="1288" y="124"/>
                  </a:cubicBezTo>
                  <a:cubicBezTo>
                    <a:pt x="1288" y="124"/>
                    <a:pt x="1288" y="124"/>
                    <a:pt x="1288" y="124"/>
                  </a:cubicBezTo>
                  <a:cubicBezTo>
                    <a:pt x="1277" y="124"/>
                    <a:pt x="1277" y="124"/>
                    <a:pt x="1277" y="124"/>
                  </a:cubicBezTo>
                  <a:cubicBezTo>
                    <a:pt x="1273" y="124"/>
                    <a:pt x="1271" y="124"/>
                    <a:pt x="1269" y="121"/>
                  </a:cubicBezTo>
                  <a:cubicBezTo>
                    <a:pt x="1267" y="118"/>
                    <a:pt x="1267" y="118"/>
                    <a:pt x="1267" y="118"/>
                  </a:cubicBezTo>
                  <a:cubicBezTo>
                    <a:pt x="1264" y="113"/>
                    <a:pt x="1264" y="113"/>
                    <a:pt x="1264" y="113"/>
                  </a:cubicBezTo>
                  <a:cubicBezTo>
                    <a:pt x="1263" y="111"/>
                    <a:pt x="1262" y="109"/>
                    <a:pt x="1263" y="107"/>
                  </a:cubicBezTo>
                  <a:cubicBezTo>
                    <a:pt x="1263" y="105"/>
                    <a:pt x="1263" y="105"/>
                    <a:pt x="1263" y="105"/>
                  </a:cubicBezTo>
                  <a:cubicBezTo>
                    <a:pt x="1263" y="105"/>
                    <a:pt x="1263" y="104"/>
                    <a:pt x="1264" y="104"/>
                  </a:cubicBezTo>
                  <a:cubicBezTo>
                    <a:pt x="1264" y="103"/>
                    <a:pt x="1264" y="103"/>
                    <a:pt x="1264" y="103"/>
                  </a:cubicBezTo>
                  <a:cubicBezTo>
                    <a:pt x="1264" y="102"/>
                    <a:pt x="1264" y="102"/>
                    <a:pt x="1264" y="102"/>
                  </a:cubicBezTo>
                  <a:cubicBezTo>
                    <a:pt x="1264" y="102"/>
                    <a:pt x="1263" y="102"/>
                    <a:pt x="1263" y="101"/>
                  </a:cubicBezTo>
                  <a:cubicBezTo>
                    <a:pt x="1262" y="100"/>
                    <a:pt x="1261" y="99"/>
                    <a:pt x="1261" y="98"/>
                  </a:cubicBezTo>
                  <a:cubicBezTo>
                    <a:pt x="1254" y="82"/>
                    <a:pt x="1254" y="82"/>
                    <a:pt x="1254" y="82"/>
                  </a:cubicBezTo>
                  <a:cubicBezTo>
                    <a:pt x="1251" y="80"/>
                    <a:pt x="1251" y="80"/>
                    <a:pt x="1251" y="80"/>
                  </a:cubicBezTo>
                  <a:cubicBezTo>
                    <a:pt x="1251" y="79"/>
                    <a:pt x="1251" y="79"/>
                    <a:pt x="1251" y="79"/>
                  </a:cubicBezTo>
                  <a:cubicBezTo>
                    <a:pt x="1250" y="71"/>
                    <a:pt x="1250" y="71"/>
                    <a:pt x="1250" y="71"/>
                  </a:cubicBezTo>
                  <a:cubicBezTo>
                    <a:pt x="1250" y="72"/>
                    <a:pt x="1250" y="72"/>
                    <a:pt x="1250" y="72"/>
                  </a:cubicBezTo>
                  <a:cubicBezTo>
                    <a:pt x="1249" y="72"/>
                    <a:pt x="1247" y="71"/>
                    <a:pt x="1246" y="69"/>
                  </a:cubicBezTo>
                  <a:cubicBezTo>
                    <a:pt x="1246" y="68"/>
                    <a:pt x="1246" y="68"/>
                    <a:pt x="1246" y="68"/>
                  </a:cubicBezTo>
                  <a:cubicBezTo>
                    <a:pt x="1246" y="67"/>
                    <a:pt x="1246" y="67"/>
                    <a:pt x="1246" y="67"/>
                  </a:cubicBezTo>
                  <a:cubicBezTo>
                    <a:pt x="1245" y="64"/>
                    <a:pt x="1245" y="64"/>
                    <a:pt x="1245" y="64"/>
                  </a:cubicBezTo>
                  <a:cubicBezTo>
                    <a:pt x="1242" y="59"/>
                    <a:pt x="1240" y="55"/>
                    <a:pt x="1239" y="51"/>
                  </a:cubicBezTo>
                  <a:cubicBezTo>
                    <a:pt x="1238" y="49"/>
                    <a:pt x="1238" y="49"/>
                    <a:pt x="1238" y="49"/>
                  </a:cubicBezTo>
                  <a:cubicBezTo>
                    <a:pt x="1237" y="47"/>
                    <a:pt x="1237" y="46"/>
                    <a:pt x="1238" y="45"/>
                  </a:cubicBezTo>
                  <a:cubicBezTo>
                    <a:pt x="1238" y="44"/>
                    <a:pt x="1238" y="44"/>
                    <a:pt x="1238" y="44"/>
                  </a:cubicBezTo>
                  <a:cubicBezTo>
                    <a:pt x="1238" y="44"/>
                    <a:pt x="1238" y="44"/>
                    <a:pt x="1238" y="44"/>
                  </a:cubicBezTo>
                  <a:cubicBezTo>
                    <a:pt x="1238" y="43"/>
                    <a:pt x="1238" y="43"/>
                    <a:pt x="1238" y="43"/>
                  </a:cubicBezTo>
                  <a:cubicBezTo>
                    <a:pt x="1238" y="42"/>
                    <a:pt x="1238" y="42"/>
                    <a:pt x="1238" y="42"/>
                  </a:cubicBezTo>
                  <a:cubicBezTo>
                    <a:pt x="1237" y="40"/>
                    <a:pt x="1234" y="36"/>
                    <a:pt x="1231" y="34"/>
                  </a:cubicBezTo>
                  <a:cubicBezTo>
                    <a:pt x="1231" y="34"/>
                    <a:pt x="1231" y="34"/>
                    <a:pt x="1231" y="34"/>
                  </a:cubicBezTo>
                  <a:cubicBezTo>
                    <a:pt x="1230" y="33"/>
                    <a:pt x="1229" y="32"/>
                    <a:pt x="1229" y="32"/>
                  </a:cubicBezTo>
                  <a:cubicBezTo>
                    <a:pt x="1228" y="30"/>
                    <a:pt x="1228" y="30"/>
                    <a:pt x="1228" y="30"/>
                  </a:cubicBezTo>
                  <a:cubicBezTo>
                    <a:pt x="1226" y="28"/>
                    <a:pt x="1226" y="25"/>
                    <a:pt x="1228" y="23"/>
                  </a:cubicBezTo>
                  <a:cubicBezTo>
                    <a:pt x="1228" y="23"/>
                    <a:pt x="1228" y="23"/>
                    <a:pt x="1228" y="23"/>
                  </a:cubicBezTo>
                  <a:cubicBezTo>
                    <a:pt x="1228" y="23"/>
                    <a:pt x="1228" y="23"/>
                    <a:pt x="1228" y="23"/>
                  </a:cubicBezTo>
                  <a:cubicBezTo>
                    <a:pt x="1227" y="22"/>
                    <a:pt x="1226" y="22"/>
                    <a:pt x="1226" y="21"/>
                  </a:cubicBezTo>
                  <a:cubicBezTo>
                    <a:pt x="1225" y="21"/>
                    <a:pt x="1225" y="21"/>
                    <a:pt x="1225" y="21"/>
                  </a:cubicBezTo>
                  <a:cubicBezTo>
                    <a:pt x="1219" y="16"/>
                    <a:pt x="1219" y="16"/>
                    <a:pt x="1219" y="16"/>
                  </a:cubicBezTo>
                  <a:cubicBezTo>
                    <a:pt x="1219" y="16"/>
                    <a:pt x="1219" y="16"/>
                    <a:pt x="1219" y="16"/>
                  </a:cubicBezTo>
                  <a:cubicBezTo>
                    <a:pt x="1218" y="16"/>
                    <a:pt x="1218" y="16"/>
                    <a:pt x="1218" y="16"/>
                  </a:cubicBezTo>
                  <a:cubicBezTo>
                    <a:pt x="1214" y="14"/>
                    <a:pt x="1214" y="14"/>
                    <a:pt x="1214" y="14"/>
                  </a:cubicBezTo>
                  <a:cubicBezTo>
                    <a:pt x="1214" y="14"/>
                    <a:pt x="1214" y="14"/>
                    <a:pt x="1213" y="14"/>
                  </a:cubicBezTo>
                  <a:cubicBezTo>
                    <a:pt x="1213" y="13"/>
                    <a:pt x="1213" y="13"/>
                    <a:pt x="1213" y="13"/>
                  </a:cubicBezTo>
                  <a:cubicBezTo>
                    <a:pt x="1212" y="13"/>
                    <a:pt x="1212" y="13"/>
                    <a:pt x="1212" y="13"/>
                  </a:cubicBezTo>
                  <a:cubicBezTo>
                    <a:pt x="1211" y="12"/>
                    <a:pt x="1211" y="12"/>
                    <a:pt x="1211" y="12"/>
                  </a:cubicBezTo>
                  <a:cubicBezTo>
                    <a:pt x="1210" y="12"/>
                    <a:pt x="1210" y="12"/>
                    <a:pt x="1210" y="12"/>
                  </a:cubicBezTo>
                  <a:cubicBezTo>
                    <a:pt x="1210" y="12"/>
                    <a:pt x="1209" y="12"/>
                    <a:pt x="1209" y="11"/>
                  </a:cubicBezTo>
                  <a:cubicBezTo>
                    <a:pt x="1209" y="11"/>
                    <a:pt x="1209" y="11"/>
                    <a:pt x="1209" y="11"/>
                  </a:cubicBezTo>
                  <a:cubicBezTo>
                    <a:pt x="1208" y="11"/>
                    <a:pt x="1207" y="11"/>
                    <a:pt x="1206" y="12"/>
                  </a:cubicBezTo>
                  <a:cubicBezTo>
                    <a:pt x="1205" y="12"/>
                    <a:pt x="1205" y="12"/>
                    <a:pt x="1205" y="12"/>
                  </a:cubicBezTo>
                  <a:cubicBezTo>
                    <a:pt x="1205" y="12"/>
                    <a:pt x="1205" y="12"/>
                    <a:pt x="1205" y="12"/>
                  </a:cubicBezTo>
                  <a:cubicBezTo>
                    <a:pt x="1204" y="12"/>
                    <a:pt x="1203" y="12"/>
                    <a:pt x="1203" y="12"/>
                  </a:cubicBezTo>
                  <a:cubicBezTo>
                    <a:pt x="1198" y="11"/>
                    <a:pt x="1198" y="11"/>
                    <a:pt x="1198" y="11"/>
                  </a:cubicBezTo>
                  <a:cubicBezTo>
                    <a:pt x="1197" y="11"/>
                    <a:pt x="1197" y="11"/>
                    <a:pt x="1196" y="11"/>
                  </a:cubicBezTo>
                  <a:cubicBezTo>
                    <a:pt x="1196" y="11"/>
                    <a:pt x="1196" y="11"/>
                    <a:pt x="1196" y="11"/>
                  </a:cubicBezTo>
                  <a:cubicBezTo>
                    <a:pt x="1184" y="5"/>
                    <a:pt x="1184" y="5"/>
                    <a:pt x="1184" y="5"/>
                  </a:cubicBezTo>
                  <a:cubicBezTo>
                    <a:pt x="1181" y="4"/>
                    <a:pt x="1178" y="2"/>
                    <a:pt x="1175" y="1"/>
                  </a:cubicBezTo>
                  <a:cubicBezTo>
                    <a:pt x="1172" y="0"/>
                    <a:pt x="1172" y="0"/>
                    <a:pt x="1172" y="0"/>
                  </a:cubicBezTo>
                  <a:cubicBezTo>
                    <a:pt x="1171" y="0"/>
                    <a:pt x="1171" y="0"/>
                    <a:pt x="1171" y="0"/>
                  </a:cubicBezTo>
                  <a:cubicBezTo>
                    <a:pt x="1169" y="0"/>
                    <a:pt x="1169" y="0"/>
                    <a:pt x="1169" y="0"/>
                  </a:cubicBezTo>
                  <a:cubicBezTo>
                    <a:pt x="1166" y="0"/>
                    <a:pt x="1166" y="0"/>
                    <a:pt x="11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8" name="Freeform 1524"/>
            <p:cNvSpPr/>
            <p:nvPr/>
          </p:nvSpPr>
          <p:spPr bwMode="auto">
            <a:xfrm>
              <a:off x="1973233" y="2656486"/>
              <a:ext cx="681907" cy="577205"/>
            </a:xfrm>
            <a:custGeom>
              <a:gdLst>
                <a:gd name="T0" fmla="*/ 168 w 215"/>
                <a:gd name="T1" fmla="*/ 9 h 182"/>
                <a:gd name="T2" fmla="*/ 158 w 215"/>
                <a:gd name="T3" fmla="*/ 6 h 182"/>
                <a:gd name="T4" fmla="*/ 145 w 215"/>
                <a:gd name="T5" fmla="*/ 10 h 182"/>
                <a:gd name="T6" fmla="*/ 124 w 215"/>
                <a:gd name="T7" fmla="*/ 20 h 182"/>
                <a:gd name="T8" fmla="*/ 119 w 215"/>
                <a:gd name="T9" fmla="*/ 27 h 182"/>
                <a:gd name="T10" fmla="*/ 114 w 215"/>
                <a:gd name="T11" fmla="*/ 30 h 182"/>
                <a:gd name="T12" fmla="*/ 111 w 215"/>
                <a:gd name="T13" fmla="*/ 36 h 182"/>
                <a:gd name="T14" fmla="*/ 88 w 215"/>
                <a:gd name="T15" fmla="*/ 42 h 182"/>
                <a:gd name="T16" fmla="*/ 86 w 215"/>
                <a:gd name="T17" fmla="*/ 44 h 182"/>
                <a:gd name="T18" fmla="*/ 95 w 215"/>
                <a:gd name="T19" fmla="*/ 56 h 182"/>
                <a:gd name="T20" fmla="*/ 89 w 215"/>
                <a:gd name="T21" fmla="*/ 67 h 182"/>
                <a:gd name="T22" fmla="*/ 87 w 215"/>
                <a:gd name="T23" fmla="*/ 66 h 182"/>
                <a:gd name="T24" fmla="*/ 72 w 215"/>
                <a:gd name="T25" fmla="*/ 67 h 182"/>
                <a:gd name="T26" fmla="*/ 61 w 215"/>
                <a:gd name="T27" fmla="*/ 67 h 182"/>
                <a:gd name="T28" fmla="*/ 50 w 215"/>
                <a:gd name="T29" fmla="*/ 66 h 182"/>
                <a:gd name="T30" fmla="*/ 34 w 215"/>
                <a:gd name="T31" fmla="*/ 68 h 182"/>
                <a:gd name="T32" fmla="*/ 24 w 215"/>
                <a:gd name="T33" fmla="*/ 66 h 182"/>
                <a:gd name="T34" fmla="*/ 10 w 215"/>
                <a:gd name="T35" fmla="*/ 56 h 182"/>
                <a:gd name="T36" fmla="*/ 14 w 215"/>
                <a:gd name="T37" fmla="*/ 49 h 182"/>
                <a:gd name="T38" fmla="*/ 15 w 215"/>
                <a:gd name="T39" fmla="*/ 38 h 182"/>
                <a:gd name="T40" fmla="*/ 12 w 215"/>
                <a:gd name="T41" fmla="*/ 34 h 182"/>
                <a:gd name="T42" fmla="*/ 1 w 215"/>
                <a:gd name="T43" fmla="*/ 56 h 182"/>
                <a:gd name="T44" fmla="*/ 5 w 215"/>
                <a:gd name="T45" fmla="*/ 64 h 182"/>
                <a:gd name="T46" fmla="*/ 14 w 215"/>
                <a:gd name="T47" fmla="*/ 72 h 182"/>
                <a:gd name="T48" fmla="*/ 23 w 215"/>
                <a:gd name="T49" fmla="*/ 72 h 182"/>
                <a:gd name="T50" fmla="*/ 31 w 215"/>
                <a:gd name="T51" fmla="*/ 82 h 182"/>
                <a:gd name="T52" fmla="*/ 41 w 215"/>
                <a:gd name="T53" fmla="*/ 82 h 182"/>
                <a:gd name="T54" fmla="*/ 43 w 215"/>
                <a:gd name="T55" fmla="*/ 99 h 182"/>
                <a:gd name="T56" fmla="*/ 53 w 215"/>
                <a:gd name="T57" fmla="*/ 102 h 182"/>
                <a:gd name="T58" fmla="*/ 61 w 215"/>
                <a:gd name="T59" fmla="*/ 102 h 182"/>
                <a:gd name="T60" fmla="*/ 72 w 215"/>
                <a:gd name="T61" fmla="*/ 102 h 182"/>
                <a:gd name="T62" fmla="*/ 92 w 215"/>
                <a:gd name="T63" fmla="*/ 102 h 182"/>
                <a:gd name="T64" fmla="*/ 105 w 215"/>
                <a:gd name="T65" fmla="*/ 110 h 182"/>
                <a:gd name="T66" fmla="*/ 97 w 215"/>
                <a:gd name="T67" fmla="*/ 124 h 182"/>
                <a:gd name="T68" fmla="*/ 93 w 215"/>
                <a:gd name="T69" fmla="*/ 127 h 182"/>
                <a:gd name="T70" fmla="*/ 85 w 215"/>
                <a:gd name="T71" fmla="*/ 132 h 182"/>
                <a:gd name="T72" fmla="*/ 75 w 215"/>
                <a:gd name="T73" fmla="*/ 142 h 182"/>
                <a:gd name="T74" fmla="*/ 80 w 215"/>
                <a:gd name="T75" fmla="*/ 151 h 182"/>
                <a:gd name="T76" fmla="*/ 86 w 215"/>
                <a:gd name="T77" fmla="*/ 150 h 182"/>
                <a:gd name="T78" fmla="*/ 98 w 215"/>
                <a:gd name="T79" fmla="*/ 138 h 182"/>
                <a:gd name="T80" fmla="*/ 110 w 215"/>
                <a:gd name="T81" fmla="*/ 156 h 182"/>
                <a:gd name="T82" fmla="*/ 109 w 215"/>
                <a:gd name="T83" fmla="*/ 182 h 182"/>
                <a:gd name="T84" fmla="*/ 116 w 215"/>
                <a:gd name="T85" fmla="*/ 157 h 182"/>
                <a:gd name="T86" fmla="*/ 123 w 215"/>
                <a:gd name="T87" fmla="*/ 131 h 182"/>
                <a:gd name="T88" fmla="*/ 160 w 215"/>
                <a:gd name="T89" fmla="*/ 89 h 182"/>
                <a:gd name="T90" fmla="*/ 175 w 215"/>
                <a:gd name="T91" fmla="*/ 60 h 182"/>
                <a:gd name="T92" fmla="*/ 205 w 215"/>
                <a:gd name="T93" fmla="*/ 47 h 182"/>
                <a:gd name="T94" fmla="*/ 214 w 215"/>
                <a:gd name="T95" fmla="*/ 30 h 182"/>
                <a:gd name="T96" fmla="*/ 207 w 215"/>
                <a:gd name="T97" fmla="*/ 27 h 182"/>
                <a:gd name="T98" fmla="*/ 197 w 215"/>
                <a:gd name="T99" fmla="*/ 27 h 182"/>
                <a:gd name="T100" fmla="*/ 191 w 215"/>
                <a:gd name="T101" fmla="*/ 21 h 182"/>
                <a:gd name="T102" fmla="*/ 197 w 215"/>
                <a:gd name="T103" fmla="*/ 13 h 182"/>
                <a:gd name="T104" fmla="*/ 187 w 215"/>
                <a:gd name="T105" fmla="*/ 17 h 182"/>
                <a:gd name="T106" fmla="*/ 189 w 215"/>
                <a:gd name="T107" fmla="*/ 3 h 18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5" h="182">
                  <a:moveTo>
                    <a:pt x="187" y="0"/>
                  </a:moveTo>
                  <a:cubicBezTo>
                    <a:pt x="186" y="0"/>
                    <a:pt x="183" y="2"/>
                    <a:pt x="177" y="7"/>
                  </a:cubicBezTo>
                  <a:cubicBezTo>
                    <a:pt x="176" y="8"/>
                    <a:pt x="176" y="8"/>
                    <a:pt x="176" y="8"/>
                  </a:cubicBezTo>
                  <a:cubicBezTo>
                    <a:pt x="175" y="8"/>
                    <a:pt x="175" y="9"/>
                    <a:pt x="174" y="9"/>
                  </a:cubicBezTo>
                  <a:cubicBezTo>
                    <a:pt x="173" y="10"/>
                    <a:pt x="172" y="10"/>
                    <a:pt x="171" y="10"/>
                  </a:cubicBezTo>
                  <a:cubicBezTo>
                    <a:pt x="170" y="10"/>
                    <a:pt x="169" y="10"/>
                    <a:pt x="168" y="9"/>
                  </a:cubicBezTo>
                  <a:cubicBezTo>
                    <a:pt x="167" y="9"/>
                    <a:pt x="166" y="9"/>
                    <a:pt x="165" y="8"/>
                  </a:cubicBezTo>
                  <a:cubicBezTo>
                    <a:pt x="165" y="8"/>
                    <a:pt x="165" y="8"/>
                    <a:pt x="165" y="8"/>
                  </a:cubicBezTo>
                  <a:cubicBezTo>
                    <a:pt x="164" y="8"/>
                    <a:pt x="164" y="7"/>
                    <a:pt x="163" y="7"/>
                  </a:cubicBezTo>
                  <a:cubicBezTo>
                    <a:pt x="162" y="7"/>
                    <a:pt x="162" y="7"/>
                    <a:pt x="162" y="7"/>
                  </a:cubicBezTo>
                  <a:cubicBezTo>
                    <a:pt x="161" y="7"/>
                    <a:pt x="161" y="7"/>
                    <a:pt x="161" y="7"/>
                  </a:cubicBezTo>
                  <a:cubicBezTo>
                    <a:pt x="160" y="7"/>
                    <a:pt x="159" y="7"/>
                    <a:pt x="158" y="6"/>
                  </a:cubicBezTo>
                  <a:cubicBezTo>
                    <a:pt x="157" y="6"/>
                    <a:pt x="156" y="5"/>
                    <a:pt x="155" y="4"/>
                  </a:cubicBezTo>
                  <a:cubicBezTo>
                    <a:pt x="155" y="4"/>
                    <a:pt x="155" y="4"/>
                    <a:pt x="155" y="4"/>
                  </a:cubicBezTo>
                  <a:cubicBezTo>
                    <a:pt x="154" y="3"/>
                    <a:pt x="154" y="3"/>
                    <a:pt x="154" y="3"/>
                  </a:cubicBezTo>
                  <a:cubicBezTo>
                    <a:pt x="154" y="3"/>
                    <a:pt x="153" y="4"/>
                    <a:pt x="153" y="4"/>
                  </a:cubicBezTo>
                  <a:cubicBezTo>
                    <a:pt x="152" y="5"/>
                    <a:pt x="151" y="5"/>
                    <a:pt x="150" y="6"/>
                  </a:cubicBezTo>
                  <a:cubicBezTo>
                    <a:pt x="148" y="7"/>
                    <a:pt x="147" y="8"/>
                    <a:pt x="145" y="10"/>
                  </a:cubicBezTo>
                  <a:cubicBezTo>
                    <a:pt x="145" y="10"/>
                    <a:pt x="145" y="10"/>
                    <a:pt x="145" y="10"/>
                  </a:cubicBezTo>
                  <a:cubicBezTo>
                    <a:pt x="144" y="10"/>
                    <a:pt x="144" y="11"/>
                    <a:pt x="143" y="11"/>
                  </a:cubicBezTo>
                  <a:cubicBezTo>
                    <a:pt x="141" y="13"/>
                    <a:pt x="140" y="16"/>
                    <a:pt x="137" y="16"/>
                  </a:cubicBezTo>
                  <a:cubicBezTo>
                    <a:pt x="133" y="18"/>
                    <a:pt x="133" y="18"/>
                    <a:pt x="133" y="18"/>
                  </a:cubicBezTo>
                  <a:cubicBezTo>
                    <a:pt x="131" y="18"/>
                    <a:pt x="128" y="19"/>
                    <a:pt x="126" y="19"/>
                  </a:cubicBezTo>
                  <a:cubicBezTo>
                    <a:pt x="125" y="20"/>
                    <a:pt x="125" y="20"/>
                    <a:pt x="124" y="20"/>
                  </a:cubicBezTo>
                  <a:cubicBezTo>
                    <a:pt x="124" y="20"/>
                    <a:pt x="123" y="20"/>
                    <a:pt x="123" y="20"/>
                  </a:cubicBezTo>
                  <a:cubicBezTo>
                    <a:pt x="123" y="20"/>
                    <a:pt x="123" y="21"/>
                    <a:pt x="122" y="22"/>
                  </a:cubicBezTo>
                  <a:cubicBezTo>
                    <a:pt x="121" y="24"/>
                    <a:pt x="121" y="24"/>
                    <a:pt x="121" y="24"/>
                  </a:cubicBezTo>
                  <a:cubicBezTo>
                    <a:pt x="121" y="24"/>
                    <a:pt x="121" y="25"/>
                    <a:pt x="120" y="25"/>
                  </a:cubicBezTo>
                  <a:cubicBezTo>
                    <a:pt x="120" y="26"/>
                    <a:pt x="120" y="26"/>
                    <a:pt x="119" y="27"/>
                  </a:cubicBezTo>
                  <a:cubicBezTo>
                    <a:pt x="119" y="27"/>
                    <a:pt x="119" y="27"/>
                    <a:pt x="119" y="27"/>
                  </a:cubicBezTo>
                  <a:cubicBezTo>
                    <a:pt x="118" y="28"/>
                    <a:pt x="118" y="28"/>
                    <a:pt x="118" y="28"/>
                  </a:cubicBezTo>
                  <a:cubicBezTo>
                    <a:pt x="118" y="27"/>
                    <a:pt x="118" y="27"/>
                    <a:pt x="118" y="27"/>
                  </a:cubicBezTo>
                  <a:cubicBezTo>
                    <a:pt x="118" y="28"/>
                    <a:pt x="118" y="28"/>
                    <a:pt x="118" y="28"/>
                  </a:cubicBezTo>
                  <a:cubicBezTo>
                    <a:pt x="117" y="28"/>
                    <a:pt x="117" y="28"/>
                    <a:pt x="117" y="28"/>
                  </a:cubicBezTo>
                  <a:cubicBezTo>
                    <a:pt x="116" y="29"/>
                    <a:pt x="116" y="29"/>
                    <a:pt x="115" y="29"/>
                  </a:cubicBezTo>
                  <a:cubicBezTo>
                    <a:pt x="114" y="30"/>
                    <a:pt x="114" y="30"/>
                    <a:pt x="114" y="30"/>
                  </a:cubicBezTo>
                  <a:cubicBezTo>
                    <a:pt x="113" y="30"/>
                    <a:pt x="112" y="30"/>
                    <a:pt x="112" y="31"/>
                  </a:cubicBezTo>
                  <a:cubicBezTo>
                    <a:pt x="111" y="31"/>
                    <a:pt x="111" y="31"/>
                    <a:pt x="111" y="31"/>
                  </a:cubicBezTo>
                  <a:cubicBezTo>
                    <a:pt x="111" y="32"/>
                    <a:pt x="111" y="32"/>
                    <a:pt x="111" y="32"/>
                  </a:cubicBezTo>
                  <a:cubicBezTo>
                    <a:pt x="112" y="34"/>
                    <a:pt x="112" y="34"/>
                    <a:pt x="112" y="34"/>
                  </a:cubicBezTo>
                  <a:cubicBezTo>
                    <a:pt x="111" y="35"/>
                    <a:pt x="111" y="35"/>
                    <a:pt x="111" y="35"/>
                  </a:cubicBezTo>
                  <a:cubicBezTo>
                    <a:pt x="111" y="35"/>
                    <a:pt x="111" y="35"/>
                    <a:pt x="111" y="36"/>
                  </a:cubicBezTo>
                  <a:cubicBezTo>
                    <a:pt x="110" y="36"/>
                    <a:pt x="110" y="36"/>
                    <a:pt x="110" y="36"/>
                  </a:cubicBezTo>
                  <a:cubicBezTo>
                    <a:pt x="110" y="37"/>
                    <a:pt x="107" y="39"/>
                    <a:pt x="105" y="40"/>
                  </a:cubicBezTo>
                  <a:cubicBezTo>
                    <a:pt x="105" y="40"/>
                    <a:pt x="105" y="40"/>
                    <a:pt x="105" y="40"/>
                  </a:cubicBezTo>
                  <a:cubicBezTo>
                    <a:pt x="104" y="41"/>
                    <a:pt x="103" y="41"/>
                    <a:pt x="102" y="41"/>
                  </a:cubicBezTo>
                  <a:cubicBezTo>
                    <a:pt x="90" y="42"/>
                    <a:pt x="90" y="42"/>
                    <a:pt x="90" y="42"/>
                  </a:cubicBezTo>
                  <a:cubicBezTo>
                    <a:pt x="89" y="42"/>
                    <a:pt x="89" y="42"/>
                    <a:pt x="88" y="42"/>
                  </a:cubicBezTo>
                  <a:cubicBezTo>
                    <a:pt x="87" y="42"/>
                    <a:pt x="86" y="42"/>
                    <a:pt x="86" y="42"/>
                  </a:cubicBezTo>
                  <a:cubicBezTo>
                    <a:pt x="86" y="42"/>
                    <a:pt x="86" y="42"/>
                    <a:pt x="86" y="42"/>
                  </a:cubicBezTo>
                  <a:cubicBezTo>
                    <a:pt x="85" y="43"/>
                    <a:pt x="85" y="43"/>
                    <a:pt x="85" y="43"/>
                  </a:cubicBezTo>
                  <a:cubicBezTo>
                    <a:pt x="85" y="43"/>
                    <a:pt x="85" y="43"/>
                    <a:pt x="85" y="43"/>
                  </a:cubicBezTo>
                  <a:cubicBezTo>
                    <a:pt x="85" y="44"/>
                    <a:pt x="85" y="44"/>
                    <a:pt x="85" y="44"/>
                  </a:cubicBezTo>
                  <a:cubicBezTo>
                    <a:pt x="86" y="44"/>
                    <a:pt x="86" y="44"/>
                    <a:pt x="86" y="44"/>
                  </a:cubicBezTo>
                  <a:cubicBezTo>
                    <a:pt x="86" y="44"/>
                    <a:pt x="87" y="45"/>
                    <a:pt x="87" y="45"/>
                  </a:cubicBezTo>
                  <a:cubicBezTo>
                    <a:pt x="88" y="45"/>
                    <a:pt x="89" y="45"/>
                    <a:pt x="90" y="45"/>
                  </a:cubicBezTo>
                  <a:cubicBezTo>
                    <a:pt x="92" y="46"/>
                    <a:pt x="93" y="46"/>
                    <a:pt x="94" y="47"/>
                  </a:cubicBezTo>
                  <a:cubicBezTo>
                    <a:pt x="95" y="48"/>
                    <a:pt x="96" y="49"/>
                    <a:pt x="96" y="50"/>
                  </a:cubicBezTo>
                  <a:cubicBezTo>
                    <a:pt x="97" y="53"/>
                    <a:pt x="96" y="55"/>
                    <a:pt x="95" y="55"/>
                  </a:cubicBezTo>
                  <a:cubicBezTo>
                    <a:pt x="95" y="56"/>
                    <a:pt x="95" y="56"/>
                    <a:pt x="95" y="56"/>
                  </a:cubicBezTo>
                  <a:cubicBezTo>
                    <a:pt x="95" y="56"/>
                    <a:pt x="95" y="56"/>
                    <a:pt x="96" y="57"/>
                  </a:cubicBezTo>
                  <a:cubicBezTo>
                    <a:pt x="96" y="57"/>
                    <a:pt x="96" y="57"/>
                    <a:pt x="96" y="57"/>
                  </a:cubicBezTo>
                  <a:cubicBezTo>
                    <a:pt x="98" y="60"/>
                    <a:pt x="97" y="62"/>
                    <a:pt x="95" y="65"/>
                  </a:cubicBezTo>
                  <a:cubicBezTo>
                    <a:pt x="94" y="66"/>
                    <a:pt x="93" y="66"/>
                    <a:pt x="92" y="66"/>
                  </a:cubicBezTo>
                  <a:cubicBezTo>
                    <a:pt x="91" y="67"/>
                    <a:pt x="91" y="67"/>
                    <a:pt x="91" y="67"/>
                  </a:cubicBezTo>
                  <a:cubicBezTo>
                    <a:pt x="89" y="67"/>
                    <a:pt x="89" y="67"/>
                    <a:pt x="89" y="67"/>
                  </a:cubicBezTo>
                  <a:cubicBezTo>
                    <a:pt x="89" y="67"/>
                    <a:pt x="89" y="67"/>
                    <a:pt x="89" y="67"/>
                  </a:cubicBezTo>
                  <a:cubicBezTo>
                    <a:pt x="89" y="67"/>
                    <a:pt x="88" y="67"/>
                    <a:pt x="88" y="67"/>
                  </a:cubicBezTo>
                  <a:cubicBezTo>
                    <a:pt x="87" y="66"/>
                    <a:pt x="87" y="66"/>
                    <a:pt x="87" y="66"/>
                  </a:cubicBezTo>
                  <a:cubicBezTo>
                    <a:pt x="87" y="66"/>
                    <a:pt x="87" y="66"/>
                    <a:pt x="87" y="66"/>
                  </a:cubicBezTo>
                  <a:cubicBezTo>
                    <a:pt x="87" y="66"/>
                    <a:pt x="87" y="66"/>
                    <a:pt x="87" y="66"/>
                  </a:cubicBezTo>
                  <a:cubicBezTo>
                    <a:pt x="87" y="66"/>
                    <a:pt x="87" y="66"/>
                    <a:pt x="87" y="66"/>
                  </a:cubicBezTo>
                  <a:cubicBezTo>
                    <a:pt x="85" y="66"/>
                    <a:pt x="84" y="67"/>
                    <a:pt x="83" y="67"/>
                  </a:cubicBezTo>
                  <a:cubicBezTo>
                    <a:pt x="82" y="67"/>
                    <a:pt x="82" y="67"/>
                    <a:pt x="82" y="67"/>
                  </a:cubicBezTo>
                  <a:cubicBezTo>
                    <a:pt x="81" y="67"/>
                    <a:pt x="81" y="67"/>
                    <a:pt x="81" y="67"/>
                  </a:cubicBezTo>
                  <a:cubicBezTo>
                    <a:pt x="80" y="67"/>
                    <a:pt x="80" y="67"/>
                    <a:pt x="79" y="67"/>
                  </a:cubicBezTo>
                  <a:cubicBezTo>
                    <a:pt x="78" y="67"/>
                    <a:pt x="78" y="67"/>
                    <a:pt x="78" y="67"/>
                  </a:cubicBezTo>
                  <a:cubicBezTo>
                    <a:pt x="76" y="67"/>
                    <a:pt x="74" y="67"/>
                    <a:pt x="72" y="67"/>
                  </a:cubicBezTo>
                  <a:cubicBezTo>
                    <a:pt x="72" y="67"/>
                    <a:pt x="72" y="67"/>
                    <a:pt x="72" y="67"/>
                  </a:cubicBezTo>
                  <a:cubicBezTo>
                    <a:pt x="69" y="67"/>
                    <a:pt x="68" y="67"/>
                    <a:pt x="66" y="67"/>
                  </a:cubicBezTo>
                  <a:cubicBezTo>
                    <a:pt x="65" y="67"/>
                    <a:pt x="65" y="67"/>
                    <a:pt x="65" y="67"/>
                  </a:cubicBezTo>
                  <a:cubicBezTo>
                    <a:pt x="64" y="67"/>
                    <a:pt x="64" y="67"/>
                    <a:pt x="63" y="67"/>
                  </a:cubicBezTo>
                  <a:cubicBezTo>
                    <a:pt x="62" y="67"/>
                    <a:pt x="62" y="67"/>
                    <a:pt x="62" y="67"/>
                  </a:cubicBezTo>
                  <a:cubicBezTo>
                    <a:pt x="62" y="67"/>
                    <a:pt x="61" y="67"/>
                    <a:pt x="61" y="67"/>
                  </a:cubicBezTo>
                  <a:cubicBezTo>
                    <a:pt x="60" y="67"/>
                    <a:pt x="58" y="67"/>
                    <a:pt x="57" y="66"/>
                  </a:cubicBezTo>
                  <a:cubicBezTo>
                    <a:pt x="56" y="66"/>
                    <a:pt x="56" y="66"/>
                    <a:pt x="56" y="66"/>
                  </a:cubicBezTo>
                  <a:cubicBezTo>
                    <a:pt x="55" y="66"/>
                    <a:pt x="54" y="65"/>
                    <a:pt x="53" y="65"/>
                  </a:cubicBezTo>
                  <a:cubicBezTo>
                    <a:pt x="53" y="65"/>
                    <a:pt x="53" y="65"/>
                    <a:pt x="53" y="65"/>
                  </a:cubicBezTo>
                  <a:cubicBezTo>
                    <a:pt x="53" y="65"/>
                    <a:pt x="52" y="65"/>
                    <a:pt x="51" y="65"/>
                  </a:cubicBezTo>
                  <a:cubicBezTo>
                    <a:pt x="50" y="66"/>
                    <a:pt x="50" y="66"/>
                    <a:pt x="50" y="66"/>
                  </a:cubicBezTo>
                  <a:cubicBezTo>
                    <a:pt x="47" y="68"/>
                    <a:pt x="44" y="69"/>
                    <a:pt x="41" y="69"/>
                  </a:cubicBezTo>
                  <a:cubicBezTo>
                    <a:pt x="40" y="69"/>
                    <a:pt x="40" y="69"/>
                    <a:pt x="40" y="69"/>
                  </a:cubicBezTo>
                  <a:cubicBezTo>
                    <a:pt x="39" y="69"/>
                    <a:pt x="38" y="69"/>
                    <a:pt x="36" y="68"/>
                  </a:cubicBezTo>
                  <a:cubicBezTo>
                    <a:pt x="36" y="68"/>
                    <a:pt x="36" y="68"/>
                    <a:pt x="36" y="68"/>
                  </a:cubicBezTo>
                  <a:cubicBezTo>
                    <a:pt x="35" y="68"/>
                    <a:pt x="35" y="68"/>
                    <a:pt x="35" y="68"/>
                  </a:cubicBezTo>
                  <a:cubicBezTo>
                    <a:pt x="34" y="68"/>
                    <a:pt x="34" y="68"/>
                    <a:pt x="34" y="68"/>
                  </a:cubicBezTo>
                  <a:cubicBezTo>
                    <a:pt x="33" y="67"/>
                    <a:pt x="33" y="67"/>
                    <a:pt x="31" y="66"/>
                  </a:cubicBezTo>
                  <a:cubicBezTo>
                    <a:pt x="31" y="66"/>
                    <a:pt x="31" y="66"/>
                    <a:pt x="30" y="66"/>
                  </a:cubicBezTo>
                  <a:cubicBezTo>
                    <a:pt x="30" y="66"/>
                    <a:pt x="29" y="66"/>
                    <a:pt x="29" y="66"/>
                  </a:cubicBezTo>
                  <a:cubicBezTo>
                    <a:pt x="29" y="66"/>
                    <a:pt x="28" y="66"/>
                    <a:pt x="28" y="66"/>
                  </a:cubicBezTo>
                  <a:cubicBezTo>
                    <a:pt x="27" y="66"/>
                    <a:pt x="27" y="66"/>
                    <a:pt x="27" y="66"/>
                  </a:cubicBezTo>
                  <a:cubicBezTo>
                    <a:pt x="26" y="66"/>
                    <a:pt x="25" y="66"/>
                    <a:pt x="24" y="66"/>
                  </a:cubicBezTo>
                  <a:cubicBezTo>
                    <a:pt x="23" y="65"/>
                    <a:pt x="22" y="65"/>
                    <a:pt x="21" y="64"/>
                  </a:cubicBezTo>
                  <a:cubicBezTo>
                    <a:pt x="19" y="64"/>
                    <a:pt x="19" y="63"/>
                    <a:pt x="18" y="62"/>
                  </a:cubicBezTo>
                  <a:cubicBezTo>
                    <a:pt x="17" y="61"/>
                    <a:pt x="17" y="61"/>
                    <a:pt x="17" y="61"/>
                  </a:cubicBezTo>
                  <a:cubicBezTo>
                    <a:pt x="17" y="60"/>
                    <a:pt x="16" y="59"/>
                    <a:pt x="15" y="58"/>
                  </a:cubicBezTo>
                  <a:cubicBezTo>
                    <a:pt x="15" y="58"/>
                    <a:pt x="15" y="58"/>
                    <a:pt x="14" y="58"/>
                  </a:cubicBezTo>
                  <a:cubicBezTo>
                    <a:pt x="10" y="56"/>
                    <a:pt x="10" y="56"/>
                    <a:pt x="10" y="56"/>
                  </a:cubicBezTo>
                  <a:cubicBezTo>
                    <a:pt x="13" y="53"/>
                    <a:pt x="13" y="53"/>
                    <a:pt x="13" y="53"/>
                  </a:cubicBezTo>
                  <a:cubicBezTo>
                    <a:pt x="14" y="53"/>
                    <a:pt x="15" y="52"/>
                    <a:pt x="15" y="51"/>
                  </a:cubicBezTo>
                  <a:cubicBezTo>
                    <a:pt x="15" y="51"/>
                    <a:pt x="15" y="51"/>
                    <a:pt x="15" y="51"/>
                  </a:cubicBezTo>
                  <a:cubicBezTo>
                    <a:pt x="15" y="51"/>
                    <a:pt x="15" y="51"/>
                    <a:pt x="15" y="51"/>
                  </a:cubicBezTo>
                  <a:cubicBezTo>
                    <a:pt x="15" y="51"/>
                    <a:pt x="15" y="51"/>
                    <a:pt x="15" y="51"/>
                  </a:cubicBezTo>
                  <a:cubicBezTo>
                    <a:pt x="14" y="49"/>
                    <a:pt x="14" y="49"/>
                    <a:pt x="14" y="49"/>
                  </a:cubicBezTo>
                  <a:cubicBezTo>
                    <a:pt x="14" y="49"/>
                    <a:pt x="14" y="48"/>
                    <a:pt x="13" y="48"/>
                  </a:cubicBezTo>
                  <a:cubicBezTo>
                    <a:pt x="13" y="47"/>
                    <a:pt x="13" y="47"/>
                    <a:pt x="13" y="47"/>
                  </a:cubicBezTo>
                  <a:cubicBezTo>
                    <a:pt x="13" y="45"/>
                    <a:pt x="14" y="43"/>
                    <a:pt x="14" y="42"/>
                  </a:cubicBezTo>
                  <a:cubicBezTo>
                    <a:pt x="15" y="40"/>
                    <a:pt x="15" y="40"/>
                    <a:pt x="15" y="40"/>
                  </a:cubicBezTo>
                  <a:cubicBezTo>
                    <a:pt x="15" y="40"/>
                    <a:pt x="15" y="39"/>
                    <a:pt x="15" y="39"/>
                  </a:cubicBezTo>
                  <a:cubicBezTo>
                    <a:pt x="15" y="38"/>
                    <a:pt x="15" y="38"/>
                    <a:pt x="15" y="38"/>
                  </a:cubicBezTo>
                  <a:cubicBezTo>
                    <a:pt x="9" y="37"/>
                    <a:pt x="9" y="37"/>
                    <a:pt x="9" y="37"/>
                  </a:cubicBezTo>
                  <a:cubicBezTo>
                    <a:pt x="15" y="36"/>
                    <a:pt x="15" y="36"/>
                    <a:pt x="15" y="36"/>
                  </a:cubicBezTo>
                  <a:cubicBezTo>
                    <a:pt x="15" y="36"/>
                    <a:pt x="15" y="36"/>
                    <a:pt x="15" y="35"/>
                  </a:cubicBezTo>
                  <a:cubicBezTo>
                    <a:pt x="15" y="35"/>
                    <a:pt x="15" y="35"/>
                    <a:pt x="15" y="35"/>
                  </a:cubicBezTo>
                  <a:cubicBezTo>
                    <a:pt x="14" y="35"/>
                    <a:pt x="14" y="35"/>
                    <a:pt x="13" y="34"/>
                  </a:cubicBezTo>
                  <a:cubicBezTo>
                    <a:pt x="13" y="34"/>
                    <a:pt x="13" y="34"/>
                    <a:pt x="12" y="34"/>
                  </a:cubicBezTo>
                  <a:cubicBezTo>
                    <a:pt x="11" y="35"/>
                    <a:pt x="11" y="35"/>
                    <a:pt x="11" y="35"/>
                  </a:cubicBezTo>
                  <a:cubicBezTo>
                    <a:pt x="9" y="35"/>
                    <a:pt x="7" y="37"/>
                    <a:pt x="6" y="38"/>
                  </a:cubicBezTo>
                  <a:cubicBezTo>
                    <a:pt x="5" y="38"/>
                    <a:pt x="4" y="39"/>
                    <a:pt x="3" y="39"/>
                  </a:cubicBezTo>
                  <a:cubicBezTo>
                    <a:pt x="2" y="43"/>
                    <a:pt x="2" y="43"/>
                    <a:pt x="2" y="43"/>
                  </a:cubicBezTo>
                  <a:cubicBezTo>
                    <a:pt x="2" y="46"/>
                    <a:pt x="1" y="49"/>
                    <a:pt x="1" y="51"/>
                  </a:cubicBezTo>
                  <a:cubicBezTo>
                    <a:pt x="0" y="53"/>
                    <a:pt x="0" y="55"/>
                    <a:pt x="1" y="56"/>
                  </a:cubicBezTo>
                  <a:cubicBezTo>
                    <a:pt x="1" y="57"/>
                    <a:pt x="1" y="57"/>
                    <a:pt x="1" y="57"/>
                  </a:cubicBezTo>
                  <a:cubicBezTo>
                    <a:pt x="2" y="58"/>
                    <a:pt x="2" y="58"/>
                    <a:pt x="2" y="58"/>
                  </a:cubicBezTo>
                  <a:cubicBezTo>
                    <a:pt x="2" y="59"/>
                    <a:pt x="2" y="59"/>
                    <a:pt x="3" y="60"/>
                  </a:cubicBezTo>
                  <a:cubicBezTo>
                    <a:pt x="3" y="61"/>
                    <a:pt x="3" y="61"/>
                    <a:pt x="3" y="61"/>
                  </a:cubicBezTo>
                  <a:cubicBezTo>
                    <a:pt x="3" y="61"/>
                    <a:pt x="4" y="62"/>
                    <a:pt x="4" y="63"/>
                  </a:cubicBezTo>
                  <a:cubicBezTo>
                    <a:pt x="4" y="63"/>
                    <a:pt x="4" y="64"/>
                    <a:pt x="5" y="64"/>
                  </a:cubicBezTo>
                  <a:cubicBezTo>
                    <a:pt x="5" y="65"/>
                    <a:pt x="5" y="66"/>
                    <a:pt x="5" y="67"/>
                  </a:cubicBezTo>
                  <a:cubicBezTo>
                    <a:pt x="4" y="67"/>
                    <a:pt x="4" y="68"/>
                    <a:pt x="4" y="69"/>
                  </a:cubicBezTo>
                  <a:cubicBezTo>
                    <a:pt x="4" y="68"/>
                    <a:pt x="4" y="68"/>
                    <a:pt x="4" y="68"/>
                  </a:cubicBezTo>
                  <a:cubicBezTo>
                    <a:pt x="5" y="68"/>
                    <a:pt x="6" y="67"/>
                    <a:pt x="7" y="67"/>
                  </a:cubicBezTo>
                  <a:cubicBezTo>
                    <a:pt x="7" y="67"/>
                    <a:pt x="8" y="67"/>
                    <a:pt x="8" y="67"/>
                  </a:cubicBezTo>
                  <a:cubicBezTo>
                    <a:pt x="10" y="68"/>
                    <a:pt x="11" y="69"/>
                    <a:pt x="14" y="72"/>
                  </a:cubicBezTo>
                  <a:cubicBezTo>
                    <a:pt x="14" y="72"/>
                    <a:pt x="14" y="73"/>
                    <a:pt x="15" y="73"/>
                  </a:cubicBezTo>
                  <a:cubicBezTo>
                    <a:pt x="15" y="74"/>
                    <a:pt x="15" y="74"/>
                    <a:pt x="15" y="74"/>
                  </a:cubicBezTo>
                  <a:cubicBezTo>
                    <a:pt x="16" y="74"/>
                    <a:pt x="16" y="74"/>
                    <a:pt x="16" y="74"/>
                  </a:cubicBezTo>
                  <a:cubicBezTo>
                    <a:pt x="17" y="71"/>
                    <a:pt x="17" y="71"/>
                    <a:pt x="17" y="71"/>
                  </a:cubicBezTo>
                  <a:cubicBezTo>
                    <a:pt x="17" y="66"/>
                    <a:pt x="17" y="66"/>
                    <a:pt x="17" y="66"/>
                  </a:cubicBezTo>
                  <a:cubicBezTo>
                    <a:pt x="23" y="72"/>
                    <a:pt x="23" y="72"/>
                    <a:pt x="23" y="72"/>
                  </a:cubicBezTo>
                  <a:cubicBezTo>
                    <a:pt x="24" y="72"/>
                    <a:pt x="25" y="73"/>
                    <a:pt x="26" y="74"/>
                  </a:cubicBezTo>
                  <a:cubicBezTo>
                    <a:pt x="26" y="75"/>
                    <a:pt x="26" y="75"/>
                    <a:pt x="27" y="76"/>
                  </a:cubicBezTo>
                  <a:cubicBezTo>
                    <a:pt x="27" y="77"/>
                    <a:pt x="27" y="77"/>
                    <a:pt x="27" y="77"/>
                  </a:cubicBezTo>
                  <a:cubicBezTo>
                    <a:pt x="29" y="80"/>
                    <a:pt x="29" y="81"/>
                    <a:pt x="30" y="81"/>
                  </a:cubicBezTo>
                  <a:cubicBezTo>
                    <a:pt x="30" y="81"/>
                    <a:pt x="30" y="81"/>
                    <a:pt x="30" y="81"/>
                  </a:cubicBezTo>
                  <a:cubicBezTo>
                    <a:pt x="31" y="82"/>
                    <a:pt x="31" y="82"/>
                    <a:pt x="31" y="82"/>
                  </a:cubicBezTo>
                  <a:cubicBezTo>
                    <a:pt x="32" y="82"/>
                    <a:pt x="33" y="81"/>
                    <a:pt x="33" y="80"/>
                  </a:cubicBezTo>
                  <a:cubicBezTo>
                    <a:pt x="34" y="80"/>
                    <a:pt x="34" y="80"/>
                    <a:pt x="34" y="80"/>
                  </a:cubicBezTo>
                  <a:cubicBezTo>
                    <a:pt x="34" y="79"/>
                    <a:pt x="34" y="79"/>
                    <a:pt x="35" y="78"/>
                  </a:cubicBezTo>
                  <a:cubicBezTo>
                    <a:pt x="37" y="73"/>
                    <a:pt x="37" y="73"/>
                    <a:pt x="37" y="73"/>
                  </a:cubicBezTo>
                  <a:cubicBezTo>
                    <a:pt x="40" y="78"/>
                    <a:pt x="40" y="78"/>
                    <a:pt x="40" y="78"/>
                  </a:cubicBezTo>
                  <a:cubicBezTo>
                    <a:pt x="40" y="79"/>
                    <a:pt x="41" y="80"/>
                    <a:pt x="41" y="82"/>
                  </a:cubicBezTo>
                  <a:cubicBezTo>
                    <a:pt x="42" y="84"/>
                    <a:pt x="43" y="87"/>
                    <a:pt x="43" y="90"/>
                  </a:cubicBezTo>
                  <a:cubicBezTo>
                    <a:pt x="43" y="91"/>
                    <a:pt x="43" y="93"/>
                    <a:pt x="43" y="94"/>
                  </a:cubicBezTo>
                  <a:cubicBezTo>
                    <a:pt x="43" y="94"/>
                    <a:pt x="43" y="94"/>
                    <a:pt x="43" y="94"/>
                  </a:cubicBezTo>
                  <a:cubicBezTo>
                    <a:pt x="43" y="96"/>
                    <a:pt x="43" y="97"/>
                    <a:pt x="43" y="99"/>
                  </a:cubicBezTo>
                  <a:cubicBezTo>
                    <a:pt x="43" y="99"/>
                    <a:pt x="43" y="99"/>
                    <a:pt x="43" y="99"/>
                  </a:cubicBezTo>
                  <a:cubicBezTo>
                    <a:pt x="43" y="99"/>
                    <a:pt x="43" y="99"/>
                    <a:pt x="43" y="99"/>
                  </a:cubicBezTo>
                  <a:cubicBezTo>
                    <a:pt x="44" y="99"/>
                    <a:pt x="44" y="99"/>
                    <a:pt x="44" y="99"/>
                  </a:cubicBezTo>
                  <a:cubicBezTo>
                    <a:pt x="44" y="99"/>
                    <a:pt x="45" y="100"/>
                    <a:pt x="46" y="100"/>
                  </a:cubicBezTo>
                  <a:cubicBezTo>
                    <a:pt x="46" y="100"/>
                    <a:pt x="46" y="100"/>
                    <a:pt x="46" y="100"/>
                  </a:cubicBezTo>
                  <a:cubicBezTo>
                    <a:pt x="48" y="101"/>
                    <a:pt x="49" y="101"/>
                    <a:pt x="50" y="101"/>
                  </a:cubicBezTo>
                  <a:cubicBezTo>
                    <a:pt x="51" y="102"/>
                    <a:pt x="52" y="102"/>
                    <a:pt x="53" y="102"/>
                  </a:cubicBezTo>
                  <a:cubicBezTo>
                    <a:pt x="53" y="102"/>
                    <a:pt x="53" y="102"/>
                    <a:pt x="53" y="102"/>
                  </a:cubicBezTo>
                  <a:cubicBezTo>
                    <a:pt x="54" y="103"/>
                    <a:pt x="54" y="103"/>
                    <a:pt x="55" y="103"/>
                  </a:cubicBezTo>
                  <a:cubicBezTo>
                    <a:pt x="55" y="103"/>
                    <a:pt x="55" y="103"/>
                    <a:pt x="55" y="103"/>
                  </a:cubicBezTo>
                  <a:cubicBezTo>
                    <a:pt x="56" y="103"/>
                    <a:pt x="56" y="103"/>
                    <a:pt x="57" y="103"/>
                  </a:cubicBezTo>
                  <a:cubicBezTo>
                    <a:pt x="58" y="103"/>
                    <a:pt x="58" y="103"/>
                    <a:pt x="58" y="103"/>
                  </a:cubicBezTo>
                  <a:cubicBezTo>
                    <a:pt x="59" y="103"/>
                    <a:pt x="59" y="102"/>
                    <a:pt x="60" y="102"/>
                  </a:cubicBezTo>
                  <a:cubicBezTo>
                    <a:pt x="61" y="102"/>
                    <a:pt x="61" y="102"/>
                    <a:pt x="61" y="102"/>
                  </a:cubicBezTo>
                  <a:cubicBezTo>
                    <a:pt x="62" y="102"/>
                    <a:pt x="62" y="102"/>
                    <a:pt x="62" y="102"/>
                  </a:cubicBezTo>
                  <a:cubicBezTo>
                    <a:pt x="62" y="102"/>
                    <a:pt x="63" y="102"/>
                    <a:pt x="63" y="102"/>
                  </a:cubicBezTo>
                  <a:cubicBezTo>
                    <a:pt x="64" y="102"/>
                    <a:pt x="64" y="102"/>
                    <a:pt x="65" y="102"/>
                  </a:cubicBezTo>
                  <a:cubicBezTo>
                    <a:pt x="65" y="102"/>
                    <a:pt x="65" y="102"/>
                    <a:pt x="65" y="102"/>
                  </a:cubicBezTo>
                  <a:cubicBezTo>
                    <a:pt x="67" y="102"/>
                    <a:pt x="69" y="102"/>
                    <a:pt x="70" y="102"/>
                  </a:cubicBezTo>
                  <a:cubicBezTo>
                    <a:pt x="71" y="102"/>
                    <a:pt x="71" y="102"/>
                    <a:pt x="72" y="102"/>
                  </a:cubicBezTo>
                  <a:cubicBezTo>
                    <a:pt x="73" y="102"/>
                    <a:pt x="73" y="102"/>
                    <a:pt x="73" y="102"/>
                  </a:cubicBezTo>
                  <a:cubicBezTo>
                    <a:pt x="77" y="102"/>
                    <a:pt x="80" y="103"/>
                    <a:pt x="84" y="103"/>
                  </a:cubicBezTo>
                  <a:cubicBezTo>
                    <a:pt x="85" y="103"/>
                    <a:pt x="85" y="103"/>
                    <a:pt x="85" y="103"/>
                  </a:cubicBezTo>
                  <a:cubicBezTo>
                    <a:pt x="86" y="103"/>
                    <a:pt x="87" y="103"/>
                    <a:pt x="88" y="103"/>
                  </a:cubicBezTo>
                  <a:cubicBezTo>
                    <a:pt x="88" y="103"/>
                    <a:pt x="88" y="103"/>
                    <a:pt x="88" y="103"/>
                  </a:cubicBezTo>
                  <a:cubicBezTo>
                    <a:pt x="89" y="102"/>
                    <a:pt x="91" y="102"/>
                    <a:pt x="92" y="102"/>
                  </a:cubicBezTo>
                  <a:cubicBezTo>
                    <a:pt x="93" y="102"/>
                    <a:pt x="95" y="103"/>
                    <a:pt x="96" y="103"/>
                  </a:cubicBezTo>
                  <a:cubicBezTo>
                    <a:pt x="97" y="104"/>
                    <a:pt x="98" y="104"/>
                    <a:pt x="99" y="105"/>
                  </a:cubicBezTo>
                  <a:cubicBezTo>
                    <a:pt x="100" y="105"/>
                    <a:pt x="100" y="105"/>
                    <a:pt x="100" y="105"/>
                  </a:cubicBezTo>
                  <a:cubicBezTo>
                    <a:pt x="101" y="105"/>
                    <a:pt x="101" y="106"/>
                    <a:pt x="101" y="106"/>
                  </a:cubicBezTo>
                  <a:cubicBezTo>
                    <a:pt x="103" y="106"/>
                    <a:pt x="104" y="108"/>
                    <a:pt x="105" y="109"/>
                  </a:cubicBezTo>
                  <a:cubicBezTo>
                    <a:pt x="105" y="109"/>
                    <a:pt x="105" y="110"/>
                    <a:pt x="105" y="110"/>
                  </a:cubicBezTo>
                  <a:cubicBezTo>
                    <a:pt x="109" y="114"/>
                    <a:pt x="109" y="114"/>
                    <a:pt x="109" y="114"/>
                  </a:cubicBezTo>
                  <a:cubicBezTo>
                    <a:pt x="102" y="115"/>
                    <a:pt x="102" y="115"/>
                    <a:pt x="102" y="115"/>
                  </a:cubicBezTo>
                  <a:cubicBezTo>
                    <a:pt x="100" y="117"/>
                    <a:pt x="100" y="117"/>
                    <a:pt x="100" y="117"/>
                  </a:cubicBezTo>
                  <a:cubicBezTo>
                    <a:pt x="100" y="119"/>
                    <a:pt x="99" y="121"/>
                    <a:pt x="98" y="122"/>
                  </a:cubicBezTo>
                  <a:cubicBezTo>
                    <a:pt x="98" y="123"/>
                    <a:pt x="98" y="123"/>
                    <a:pt x="98" y="123"/>
                  </a:cubicBezTo>
                  <a:cubicBezTo>
                    <a:pt x="97" y="123"/>
                    <a:pt x="97" y="124"/>
                    <a:pt x="97" y="124"/>
                  </a:cubicBezTo>
                  <a:cubicBezTo>
                    <a:pt x="96" y="125"/>
                    <a:pt x="95" y="125"/>
                    <a:pt x="94" y="126"/>
                  </a:cubicBezTo>
                  <a:cubicBezTo>
                    <a:pt x="94" y="126"/>
                    <a:pt x="94" y="126"/>
                    <a:pt x="94" y="126"/>
                  </a:cubicBezTo>
                  <a:cubicBezTo>
                    <a:pt x="93" y="127"/>
                    <a:pt x="93" y="127"/>
                    <a:pt x="93" y="127"/>
                  </a:cubicBezTo>
                  <a:cubicBezTo>
                    <a:pt x="93" y="127"/>
                    <a:pt x="93" y="127"/>
                    <a:pt x="93" y="127"/>
                  </a:cubicBezTo>
                  <a:cubicBezTo>
                    <a:pt x="93" y="127"/>
                    <a:pt x="93" y="127"/>
                    <a:pt x="93" y="127"/>
                  </a:cubicBezTo>
                  <a:cubicBezTo>
                    <a:pt x="93" y="127"/>
                    <a:pt x="93" y="127"/>
                    <a:pt x="93" y="127"/>
                  </a:cubicBezTo>
                  <a:cubicBezTo>
                    <a:pt x="92" y="128"/>
                    <a:pt x="92" y="128"/>
                    <a:pt x="92" y="128"/>
                  </a:cubicBezTo>
                  <a:cubicBezTo>
                    <a:pt x="92" y="128"/>
                    <a:pt x="92" y="129"/>
                    <a:pt x="92" y="130"/>
                  </a:cubicBezTo>
                  <a:cubicBezTo>
                    <a:pt x="92" y="130"/>
                    <a:pt x="92" y="131"/>
                    <a:pt x="92" y="131"/>
                  </a:cubicBezTo>
                  <a:cubicBezTo>
                    <a:pt x="91" y="135"/>
                    <a:pt x="91" y="135"/>
                    <a:pt x="91" y="135"/>
                  </a:cubicBezTo>
                  <a:cubicBezTo>
                    <a:pt x="87" y="133"/>
                    <a:pt x="87" y="133"/>
                    <a:pt x="87" y="133"/>
                  </a:cubicBezTo>
                  <a:cubicBezTo>
                    <a:pt x="86" y="133"/>
                    <a:pt x="85" y="132"/>
                    <a:pt x="85" y="132"/>
                  </a:cubicBezTo>
                  <a:cubicBezTo>
                    <a:pt x="85" y="132"/>
                    <a:pt x="85" y="132"/>
                    <a:pt x="85" y="132"/>
                  </a:cubicBezTo>
                  <a:cubicBezTo>
                    <a:pt x="85" y="134"/>
                    <a:pt x="85" y="134"/>
                    <a:pt x="85" y="134"/>
                  </a:cubicBezTo>
                  <a:cubicBezTo>
                    <a:pt x="84" y="133"/>
                    <a:pt x="84" y="133"/>
                    <a:pt x="84" y="133"/>
                  </a:cubicBezTo>
                  <a:cubicBezTo>
                    <a:pt x="76" y="141"/>
                    <a:pt x="76" y="141"/>
                    <a:pt x="76" y="141"/>
                  </a:cubicBezTo>
                  <a:cubicBezTo>
                    <a:pt x="76" y="141"/>
                    <a:pt x="76" y="142"/>
                    <a:pt x="75" y="142"/>
                  </a:cubicBezTo>
                  <a:cubicBezTo>
                    <a:pt x="75" y="142"/>
                    <a:pt x="75" y="142"/>
                    <a:pt x="75" y="142"/>
                  </a:cubicBezTo>
                  <a:cubicBezTo>
                    <a:pt x="75" y="143"/>
                    <a:pt x="75" y="143"/>
                    <a:pt x="75" y="143"/>
                  </a:cubicBezTo>
                  <a:cubicBezTo>
                    <a:pt x="76" y="145"/>
                    <a:pt x="76" y="145"/>
                    <a:pt x="76" y="145"/>
                  </a:cubicBezTo>
                  <a:cubicBezTo>
                    <a:pt x="76" y="146"/>
                    <a:pt x="76" y="146"/>
                    <a:pt x="76" y="146"/>
                  </a:cubicBezTo>
                  <a:cubicBezTo>
                    <a:pt x="77" y="147"/>
                    <a:pt x="77" y="147"/>
                    <a:pt x="77" y="147"/>
                  </a:cubicBezTo>
                  <a:cubicBezTo>
                    <a:pt x="77" y="147"/>
                    <a:pt x="77" y="148"/>
                    <a:pt x="77" y="148"/>
                  </a:cubicBezTo>
                  <a:cubicBezTo>
                    <a:pt x="80" y="151"/>
                    <a:pt x="80" y="151"/>
                    <a:pt x="80" y="151"/>
                  </a:cubicBezTo>
                  <a:cubicBezTo>
                    <a:pt x="82" y="152"/>
                    <a:pt x="82" y="154"/>
                    <a:pt x="83" y="156"/>
                  </a:cubicBezTo>
                  <a:cubicBezTo>
                    <a:pt x="83" y="156"/>
                    <a:pt x="83" y="157"/>
                    <a:pt x="83" y="157"/>
                  </a:cubicBezTo>
                  <a:cubicBezTo>
                    <a:pt x="83" y="157"/>
                    <a:pt x="83" y="157"/>
                    <a:pt x="84" y="156"/>
                  </a:cubicBezTo>
                  <a:cubicBezTo>
                    <a:pt x="84" y="155"/>
                    <a:pt x="85" y="153"/>
                    <a:pt x="85" y="152"/>
                  </a:cubicBezTo>
                  <a:cubicBezTo>
                    <a:pt x="85" y="151"/>
                    <a:pt x="86" y="151"/>
                    <a:pt x="86" y="150"/>
                  </a:cubicBezTo>
                  <a:cubicBezTo>
                    <a:pt x="86" y="150"/>
                    <a:pt x="86" y="150"/>
                    <a:pt x="86" y="150"/>
                  </a:cubicBezTo>
                  <a:cubicBezTo>
                    <a:pt x="87" y="148"/>
                    <a:pt x="87" y="147"/>
                    <a:pt x="87" y="145"/>
                  </a:cubicBezTo>
                  <a:cubicBezTo>
                    <a:pt x="87" y="143"/>
                    <a:pt x="88" y="142"/>
                    <a:pt x="88" y="140"/>
                  </a:cubicBezTo>
                  <a:cubicBezTo>
                    <a:pt x="89" y="135"/>
                    <a:pt x="89" y="135"/>
                    <a:pt x="89" y="135"/>
                  </a:cubicBezTo>
                  <a:cubicBezTo>
                    <a:pt x="93" y="139"/>
                    <a:pt x="93" y="139"/>
                    <a:pt x="93" y="139"/>
                  </a:cubicBezTo>
                  <a:cubicBezTo>
                    <a:pt x="94" y="139"/>
                    <a:pt x="96" y="138"/>
                    <a:pt x="97" y="138"/>
                  </a:cubicBezTo>
                  <a:cubicBezTo>
                    <a:pt x="97" y="138"/>
                    <a:pt x="97" y="138"/>
                    <a:pt x="98" y="138"/>
                  </a:cubicBezTo>
                  <a:cubicBezTo>
                    <a:pt x="99" y="139"/>
                    <a:pt x="99" y="139"/>
                    <a:pt x="99" y="139"/>
                  </a:cubicBezTo>
                  <a:cubicBezTo>
                    <a:pt x="99" y="139"/>
                    <a:pt x="99" y="139"/>
                    <a:pt x="99" y="139"/>
                  </a:cubicBezTo>
                  <a:cubicBezTo>
                    <a:pt x="100" y="140"/>
                    <a:pt x="101" y="141"/>
                    <a:pt x="101" y="142"/>
                  </a:cubicBezTo>
                  <a:cubicBezTo>
                    <a:pt x="102" y="145"/>
                    <a:pt x="102" y="147"/>
                    <a:pt x="103" y="149"/>
                  </a:cubicBezTo>
                  <a:cubicBezTo>
                    <a:pt x="103" y="151"/>
                    <a:pt x="103" y="154"/>
                    <a:pt x="104" y="156"/>
                  </a:cubicBezTo>
                  <a:cubicBezTo>
                    <a:pt x="110" y="156"/>
                    <a:pt x="110" y="156"/>
                    <a:pt x="110" y="156"/>
                  </a:cubicBezTo>
                  <a:cubicBezTo>
                    <a:pt x="104" y="158"/>
                    <a:pt x="104" y="158"/>
                    <a:pt x="104" y="158"/>
                  </a:cubicBezTo>
                  <a:cubicBezTo>
                    <a:pt x="104" y="158"/>
                    <a:pt x="104" y="158"/>
                    <a:pt x="104" y="158"/>
                  </a:cubicBezTo>
                  <a:cubicBezTo>
                    <a:pt x="104" y="159"/>
                    <a:pt x="104" y="161"/>
                    <a:pt x="105" y="163"/>
                  </a:cubicBezTo>
                  <a:cubicBezTo>
                    <a:pt x="105" y="164"/>
                    <a:pt x="105" y="164"/>
                    <a:pt x="105" y="164"/>
                  </a:cubicBezTo>
                  <a:cubicBezTo>
                    <a:pt x="106" y="167"/>
                    <a:pt x="107" y="170"/>
                    <a:pt x="107" y="172"/>
                  </a:cubicBezTo>
                  <a:cubicBezTo>
                    <a:pt x="109" y="182"/>
                    <a:pt x="109" y="182"/>
                    <a:pt x="109" y="182"/>
                  </a:cubicBezTo>
                  <a:cubicBezTo>
                    <a:pt x="112" y="179"/>
                    <a:pt x="112" y="179"/>
                    <a:pt x="112" y="179"/>
                  </a:cubicBezTo>
                  <a:cubicBezTo>
                    <a:pt x="114" y="180"/>
                    <a:pt x="114" y="180"/>
                    <a:pt x="114" y="180"/>
                  </a:cubicBezTo>
                  <a:cubicBezTo>
                    <a:pt x="116" y="178"/>
                    <a:pt x="116" y="178"/>
                    <a:pt x="116" y="178"/>
                  </a:cubicBezTo>
                  <a:cubicBezTo>
                    <a:pt x="115" y="170"/>
                    <a:pt x="115" y="170"/>
                    <a:pt x="115" y="170"/>
                  </a:cubicBezTo>
                  <a:cubicBezTo>
                    <a:pt x="115" y="164"/>
                    <a:pt x="115" y="164"/>
                    <a:pt x="115" y="164"/>
                  </a:cubicBezTo>
                  <a:cubicBezTo>
                    <a:pt x="116" y="157"/>
                    <a:pt x="116" y="157"/>
                    <a:pt x="116" y="157"/>
                  </a:cubicBezTo>
                  <a:cubicBezTo>
                    <a:pt x="121" y="154"/>
                    <a:pt x="121" y="154"/>
                    <a:pt x="121" y="154"/>
                  </a:cubicBezTo>
                  <a:cubicBezTo>
                    <a:pt x="121" y="155"/>
                    <a:pt x="121" y="155"/>
                    <a:pt x="121" y="155"/>
                  </a:cubicBezTo>
                  <a:cubicBezTo>
                    <a:pt x="123" y="147"/>
                    <a:pt x="123" y="142"/>
                    <a:pt x="122" y="140"/>
                  </a:cubicBezTo>
                  <a:cubicBezTo>
                    <a:pt x="120" y="136"/>
                    <a:pt x="120" y="134"/>
                    <a:pt x="120" y="134"/>
                  </a:cubicBezTo>
                  <a:cubicBezTo>
                    <a:pt x="120" y="130"/>
                    <a:pt x="120" y="130"/>
                    <a:pt x="120" y="130"/>
                  </a:cubicBezTo>
                  <a:cubicBezTo>
                    <a:pt x="123" y="131"/>
                    <a:pt x="123" y="131"/>
                    <a:pt x="123" y="131"/>
                  </a:cubicBezTo>
                  <a:cubicBezTo>
                    <a:pt x="123" y="131"/>
                    <a:pt x="132" y="132"/>
                    <a:pt x="139" y="134"/>
                  </a:cubicBezTo>
                  <a:cubicBezTo>
                    <a:pt x="140" y="132"/>
                    <a:pt x="142" y="131"/>
                    <a:pt x="142" y="130"/>
                  </a:cubicBezTo>
                  <a:cubicBezTo>
                    <a:pt x="143" y="128"/>
                    <a:pt x="145" y="123"/>
                    <a:pt x="148" y="119"/>
                  </a:cubicBezTo>
                  <a:cubicBezTo>
                    <a:pt x="151" y="115"/>
                    <a:pt x="154" y="109"/>
                    <a:pt x="152" y="104"/>
                  </a:cubicBezTo>
                  <a:cubicBezTo>
                    <a:pt x="150" y="99"/>
                    <a:pt x="151" y="97"/>
                    <a:pt x="158" y="92"/>
                  </a:cubicBezTo>
                  <a:cubicBezTo>
                    <a:pt x="160" y="91"/>
                    <a:pt x="160" y="89"/>
                    <a:pt x="160" y="89"/>
                  </a:cubicBezTo>
                  <a:cubicBezTo>
                    <a:pt x="160" y="87"/>
                    <a:pt x="161" y="86"/>
                    <a:pt x="162" y="84"/>
                  </a:cubicBezTo>
                  <a:cubicBezTo>
                    <a:pt x="163" y="83"/>
                    <a:pt x="163" y="83"/>
                    <a:pt x="163" y="83"/>
                  </a:cubicBezTo>
                  <a:cubicBezTo>
                    <a:pt x="163" y="82"/>
                    <a:pt x="163" y="79"/>
                    <a:pt x="163" y="78"/>
                  </a:cubicBezTo>
                  <a:cubicBezTo>
                    <a:pt x="162" y="76"/>
                    <a:pt x="162" y="75"/>
                    <a:pt x="162" y="73"/>
                  </a:cubicBezTo>
                  <a:cubicBezTo>
                    <a:pt x="161" y="67"/>
                    <a:pt x="166" y="66"/>
                    <a:pt x="170" y="64"/>
                  </a:cubicBezTo>
                  <a:cubicBezTo>
                    <a:pt x="172" y="63"/>
                    <a:pt x="173" y="62"/>
                    <a:pt x="175" y="60"/>
                  </a:cubicBezTo>
                  <a:cubicBezTo>
                    <a:pt x="177" y="59"/>
                    <a:pt x="179" y="57"/>
                    <a:pt x="183" y="55"/>
                  </a:cubicBezTo>
                  <a:cubicBezTo>
                    <a:pt x="184" y="55"/>
                    <a:pt x="186" y="54"/>
                    <a:pt x="187" y="53"/>
                  </a:cubicBezTo>
                  <a:cubicBezTo>
                    <a:pt x="188" y="52"/>
                    <a:pt x="188" y="52"/>
                    <a:pt x="188" y="52"/>
                  </a:cubicBezTo>
                  <a:cubicBezTo>
                    <a:pt x="192" y="50"/>
                    <a:pt x="197" y="47"/>
                    <a:pt x="202" y="47"/>
                  </a:cubicBezTo>
                  <a:cubicBezTo>
                    <a:pt x="203" y="47"/>
                    <a:pt x="204" y="47"/>
                    <a:pt x="205" y="48"/>
                  </a:cubicBezTo>
                  <a:cubicBezTo>
                    <a:pt x="205" y="47"/>
                    <a:pt x="205" y="47"/>
                    <a:pt x="205" y="47"/>
                  </a:cubicBezTo>
                  <a:cubicBezTo>
                    <a:pt x="204" y="45"/>
                    <a:pt x="204" y="41"/>
                    <a:pt x="210" y="37"/>
                  </a:cubicBezTo>
                  <a:cubicBezTo>
                    <a:pt x="210" y="37"/>
                    <a:pt x="211" y="36"/>
                    <a:pt x="212" y="35"/>
                  </a:cubicBezTo>
                  <a:cubicBezTo>
                    <a:pt x="212" y="35"/>
                    <a:pt x="212" y="35"/>
                    <a:pt x="212" y="35"/>
                  </a:cubicBezTo>
                  <a:cubicBezTo>
                    <a:pt x="213" y="35"/>
                    <a:pt x="215" y="34"/>
                    <a:pt x="215" y="33"/>
                  </a:cubicBezTo>
                  <a:cubicBezTo>
                    <a:pt x="215" y="30"/>
                    <a:pt x="215" y="30"/>
                    <a:pt x="215" y="30"/>
                  </a:cubicBezTo>
                  <a:cubicBezTo>
                    <a:pt x="214" y="30"/>
                    <a:pt x="214" y="30"/>
                    <a:pt x="214" y="30"/>
                  </a:cubicBezTo>
                  <a:cubicBezTo>
                    <a:pt x="214" y="29"/>
                    <a:pt x="214" y="29"/>
                    <a:pt x="214" y="29"/>
                  </a:cubicBezTo>
                  <a:cubicBezTo>
                    <a:pt x="214" y="29"/>
                    <a:pt x="213" y="29"/>
                    <a:pt x="213" y="29"/>
                  </a:cubicBezTo>
                  <a:cubicBezTo>
                    <a:pt x="212" y="28"/>
                    <a:pt x="211" y="27"/>
                    <a:pt x="210" y="27"/>
                  </a:cubicBezTo>
                  <a:cubicBezTo>
                    <a:pt x="210" y="27"/>
                    <a:pt x="210" y="27"/>
                    <a:pt x="210" y="27"/>
                  </a:cubicBezTo>
                  <a:cubicBezTo>
                    <a:pt x="209" y="27"/>
                    <a:pt x="209" y="27"/>
                    <a:pt x="208" y="27"/>
                  </a:cubicBezTo>
                  <a:cubicBezTo>
                    <a:pt x="207" y="27"/>
                    <a:pt x="207" y="27"/>
                    <a:pt x="207" y="27"/>
                  </a:cubicBezTo>
                  <a:cubicBezTo>
                    <a:pt x="205" y="26"/>
                    <a:pt x="204" y="26"/>
                    <a:pt x="203" y="26"/>
                  </a:cubicBezTo>
                  <a:cubicBezTo>
                    <a:pt x="200" y="26"/>
                    <a:pt x="200" y="26"/>
                    <a:pt x="200" y="26"/>
                  </a:cubicBezTo>
                  <a:cubicBezTo>
                    <a:pt x="200" y="26"/>
                    <a:pt x="199" y="26"/>
                    <a:pt x="199" y="26"/>
                  </a:cubicBezTo>
                  <a:cubicBezTo>
                    <a:pt x="199" y="26"/>
                    <a:pt x="199" y="26"/>
                    <a:pt x="199" y="26"/>
                  </a:cubicBezTo>
                  <a:cubicBezTo>
                    <a:pt x="198" y="27"/>
                    <a:pt x="198" y="27"/>
                    <a:pt x="198" y="27"/>
                  </a:cubicBezTo>
                  <a:cubicBezTo>
                    <a:pt x="197" y="27"/>
                    <a:pt x="197" y="27"/>
                    <a:pt x="197" y="27"/>
                  </a:cubicBezTo>
                  <a:cubicBezTo>
                    <a:pt x="197" y="27"/>
                    <a:pt x="196" y="27"/>
                    <a:pt x="195" y="27"/>
                  </a:cubicBezTo>
                  <a:cubicBezTo>
                    <a:pt x="195" y="27"/>
                    <a:pt x="195" y="27"/>
                    <a:pt x="194" y="27"/>
                  </a:cubicBezTo>
                  <a:cubicBezTo>
                    <a:pt x="192" y="27"/>
                    <a:pt x="190" y="25"/>
                    <a:pt x="190" y="23"/>
                  </a:cubicBezTo>
                  <a:cubicBezTo>
                    <a:pt x="190" y="22"/>
                    <a:pt x="190" y="22"/>
                    <a:pt x="190" y="22"/>
                  </a:cubicBezTo>
                  <a:cubicBezTo>
                    <a:pt x="191" y="22"/>
                    <a:pt x="191" y="21"/>
                    <a:pt x="191" y="21"/>
                  </a:cubicBezTo>
                  <a:cubicBezTo>
                    <a:pt x="191" y="21"/>
                    <a:pt x="191" y="21"/>
                    <a:pt x="191" y="21"/>
                  </a:cubicBezTo>
                  <a:cubicBezTo>
                    <a:pt x="191" y="19"/>
                    <a:pt x="191" y="19"/>
                    <a:pt x="191" y="19"/>
                  </a:cubicBezTo>
                  <a:cubicBezTo>
                    <a:pt x="192" y="18"/>
                    <a:pt x="193" y="17"/>
                    <a:pt x="193" y="17"/>
                  </a:cubicBezTo>
                  <a:cubicBezTo>
                    <a:pt x="193" y="17"/>
                    <a:pt x="193" y="17"/>
                    <a:pt x="193" y="17"/>
                  </a:cubicBezTo>
                  <a:cubicBezTo>
                    <a:pt x="193" y="17"/>
                    <a:pt x="193" y="17"/>
                    <a:pt x="193" y="17"/>
                  </a:cubicBezTo>
                  <a:cubicBezTo>
                    <a:pt x="195" y="14"/>
                    <a:pt x="195" y="14"/>
                    <a:pt x="195" y="14"/>
                  </a:cubicBezTo>
                  <a:cubicBezTo>
                    <a:pt x="196" y="14"/>
                    <a:pt x="196" y="14"/>
                    <a:pt x="197" y="13"/>
                  </a:cubicBezTo>
                  <a:cubicBezTo>
                    <a:pt x="197" y="13"/>
                    <a:pt x="197" y="13"/>
                    <a:pt x="197" y="13"/>
                  </a:cubicBezTo>
                  <a:cubicBezTo>
                    <a:pt x="197" y="13"/>
                    <a:pt x="197" y="13"/>
                    <a:pt x="197" y="13"/>
                  </a:cubicBezTo>
                  <a:cubicBezTo>
                    <a:pt x="196" y="12"/>
                    <a:pt x="196" y="12"/>
                    <a:pt x="196" y="11"/>
                  </a:cubicBezTo>
                  <a:cubicBezTo>
                    <a:pt x="195" y="11"/>
                    <a:pt x="195" y="11"/>
                    <a:pt x="195" y="11"/>
                  </a:cubicBezTo>
                  <a:cubicBezTo>
                    <a:pt x="194" y="12"/>
                    <a:pt x="193" y="12"/>
                    <a:pt x="192" y="13"/>
                  </a:cubicBezTo>
                  <a:cubicBezTo>
                    <a:pt x="187" y="17"/>
                    <a:pt x="187" y="17"/>
                    <a:pt x="187" y="17"/>
                  </a:cubicBezTo>
                  <a:cubicBezTo>
                    <a:pt x="187" y="11"/>
                    <a:pt x="187" y="11"/>
                    <a:pt x="187" y="11"/>
                  </a:cubicBezTo>
                  <a:cubicBezTo>
                    <a:pt x="187" y="9"/>
                    <a:pt x="187" y="9"/>
                    <a:pt x="187" y="8"/>
                  </a:cubicBezTo>
                  <a:cubicBezTo>
                    <a:pt x="182" y="4"/>
                    <a:pt x="182" y="4"/>
                    <a:pt x="182" y="4"/>
                  </a:cubicBezTo>
                  <a:cubicBezTo>
                    <a:pt x="188" y="3"/>
                    <a:pt x="188" y="3"/>
                    <a:pt x="188" y="3"/>
                  </a:cubicBezTo>
                  <a:cubicBezTo>
                    <a:pt x="189" y="3"/>
                    <a:pt x="189" y="3"/>
                    <a:pt x="189" y="3"/>
                  </a:cubicBezTo>
                  <a:cubicBezTo>
                    <a:pt x="189" y="3"/>
                    <a:pt x="189" y="3"/>
                    <a:pt x="189" y="3"/>
                  </a:cubicBezTo>
                  <a:cubicBezTo>
                    <a:pt x="190" y="2"/>
                    <a:pt x="190" y="2"/>
                    <a:pt x="190" y="2"/>
                  </a:cubicBezTo>
                  <a:cubicBezTo>
                    <a:pt x="189" y="2"/>
                    <a:pt x="189" y="1"/>
                    <a:pt x="188" y="1"/>
                  </a:cubicBezTo>
                  <a:cubicBezTo>
                    <a:pt x="187" y="0"/>
                    <a:pt x="187" y="0"/>
                    <a:pt x="187" y="0"/>
                  </a:cubicBezTo>
                  <a:cubicBezTo>
                    <a:pt x="187" y="0"/>
                    <a:pt x="187" y="0"/>
                    <a:pt x="18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Freeform 1525"/>
            <p:cNvSpPr>
              <a:spLocks noEditPoints="1"/>
            </p:cNvSpPr>
            <p:nvPr/>
          </p:nvSpPr>
          <p:spPr bwMode="auto">
            <a:xfrm>
              <a:off x="484583" y="2151767"/>
              <a:ext cx="1565163" cy="2154451"/>
            </a:xfrm>
            <a:custGeom>
              <a:gdLst>
                <a:gd name="T0" fmla="*/ 219 w 493"/>
                <a:gd name="T1" fmla="*/ 5 h 679"/>
                <a:gd name="T2" fmla="*/ 187 w 493"/>
                <a:gd name="T3" fmla="*/ 24 h 679"/>
                <a:gd name="T4" fmla="*/ 147 w 493"/>
                <a:gd name="T5" fmla="*/ 21 h 679"/>
                <a:gd name="T6" fmla="*/ 144 w 493"/>
                <a:gd name="T7" fmla="*/ 43 h 679"/>
                <a:gd name="T8" fmla="*/ 148 w 493"/>
                <a:gd name="T9" fmla="*/ 67 h 679"/>
                <a:gd name="T10" fmla="*/ 166 w 493"/>
                <a:gd name="T11" fmla="*/ 76 h 679"/>
                <a:gd name="T12" fmla="*/ 152 w 493"/>
                <a:gd name="T13" fmla="*/ 97 h 679"/>
                <a:gd name="T14" fmla="*/ 139 w 493"/>
                <a:gd name="T15" fmla="*/ 131 h 679"/>
                <a:gd name="T16" fmla="*/ 123 w 493"/>
                <a:gd name="T17" fmla="*/ 151 h 679"/>
                <a:gd name="T18" fmla="*/ 83 w 493"/>
                <a:gd name="T19" fmla="*/ 198 h 679"/>
                <a:gd name="T20" fmla="*/ 57 w 493"/>
                <a:gd name="T21" fmla="*/ 198 h 679"/>
                <a:gd name="T22" fmla="*/ 48 w 493"/>
                <a:gd name="T23" fmla="*/ 200 h 679"/>
                <a:gd name="T24" fmla="*/ 50 w 493"/>
                <a:gd name="T25" fmla="*/ 241 h 679"/>
                <a:gd name="T26" fmla="*/ 62 w 493"/>
                <a:gd name="T27" fmla="*/ 251 h 679"/>
                <a:gd name="T28" fmla="*/ 71 w 493"/>
                <a:gd name="T29" fmla="*/ 282 h 679"/>
                <a:gd name="T30" fmla="*/ 55 w 493"/>
                <a:gd name="T31" fmla="*/ 286 h 679"/>
                <a:gd name="T32" fmla="*/ 16 w 493"/>
                <a:gd name="T33" fmla="*/ 293 h 679"/>
                <a:gd name="T34" fmla="*/ 14 w 493"/>
                <a:gd name="T35" fmla="*/ 297 h 679"/>
                <a:gd name="T36" fmla="*/ 35 w 493"/>
                <a:gd name="T37" fmla="*/ 325 h 679"/>
                <a:gd name="T38" fmla="*/ 25 w 493"/>
                <a:gd name="T39" fmla="*/ 336 h 679"/>
                <a:gd name="T40" fmla="*/ 46 w 493"/>
                <a:gd name="T41" fmla="*/ 365 h 679"/>
                <a:gd name="T42" fmla="*/ 91 w 493"/>
                <a:gd name="T43" fmla="*/ 348 h 679"/>
                <a:gd name="T44" fmla="*/ 111 w 493"/>
                <a:gd name="T45" fmla="*/ 337 h 679"/>
                <a:gd name="T46" fmla="*/ 104 w 493"/>
                <a:gd name="T47" fmla="*/ 362 h 679"/>
                <a:gd name="T48" fmla="*/ 106 w 493"/>
                <a:gd name="T49" fmla="*/ 397 h 679"/>
                <a:gd name="T50" fmla="*/ 112 w 493"/>
                <a:gd name="T51" fmla="*/ 428 h 679"/>
                <a:gd name="T52" fmla="*/ 121 w 493"/>
                <a:gd name="T53" fmla="*/ 473 h 679"/>
                <a:gd name="T54" fmla="*/ 137 w 493"/>
                <a:gd name="T55" fmla="*/ 512 h 679"/>
                <a:gd name="T56" fmla="*/ 149 w 493"/>
                <a:gd name="T57" fmla="*/ 536 h 679"/>
                <a:gd name="T58" fmla="*/ 174 w 493"/>
                <a:gd name="T59" fmla="*/ 594 h 679"/>
                <a:gd name="T60" fmla="*/ 190 w 493"/>
                <a:gd name="T61" fmla="*/ 636 h 679"/>
                <a:gd name="T62" fmla="*/ 218 w 493"/>
                <a:gd name="T63" fmla="*/ 678 h 679"/>
                <a:gd name="T64" fmla="*/ 260 w 493"/>
                <a:gd name="T65" fmla="*/ 650 h 679"/>
                <a:gd name="T66" fmla="*/ 270 w 493"/>
                <a:gd name="T67" fmla="*/ 626 h 679"/>
                <a:gd name="T68" fmla="*/ 277 w 493"/>
                <a:gd name="T69" fmla="*/ 582 h 679"/>
                <a:gd name="T70" fmla="*/ 280 w 493"/>
                <a:gd name="T71" fmla="*/ 533 h 679"/>
                <a:gd name="T72" fmla="*/ 302 w 493"/>
                <a:gd name="T73" fmla="*/ 494 h 679"/>
                <a:gd name="T74" fmla="*/ 332 w 493"/>
                <a:gd name="T75" fmla="*/ 466 h 679"/>
                <a:gd name="T76" fmla="*/ 405 w 493"/>
                <a:gd name="T77" fmla="*/ 400 h 679"/>
                <a:gd name="T78" fmla="*/ 428 w 493"/>
                <a:gd name="T79" fmla="*/ 393 h 679"/>
                <a:gd name="T80" fmla="*/ 466 w 493"/>
                <a:gd name="T81" fmla="*/ 338 h 679"/>
                <a:gd name="T82" fmla="*/ 479 w 493"/>
                <a:gd name="T83" fmla="*/ 355 h 679"/>
                <a:gd name="T84" fmla="*/ 485 w 493"/>
                <a:gd name="T85" fmla="*/ 354 h 679"/>
                <a:gd name="T86" fmla="*/ 486 w 493"/>
                <a:gd name="T87" fmla="*/ 326 h 679"/>
                <a:gd name="T88" fmla="*/ 481 w 493"/>
                <a:gd name="T89" fmla="*/ 293 h 679"/>
                <a:gd name="T90" fmla="*/ 467 w 493"/>
                <a:gd name="T91" fmla="*/ 281 h 679"/>
                <a:gd name="T92" fmla="*/ 482 w 493"/>
                <a:gd name="T93" fmla="*/ 259 h 679"/>
                <a:gd name="T94" fmla="*/ 472 w 493"/>
                <a:gd name="T95" fmla="*/ 232 h 679"/>
                <a:gd name="T96" fmla="*/ 446 w 493"/>
                <a:gd name="T97" fmla="*/ 235 h 679"/>
                <a:gd name="T98" fmla="*/ 428 w 493"/>
                <a:gd name="T99" fmla="*/ 232 h 679"/>
                <a:gd name="T100" fmla="*/ 410 w 493"/>
                <a:gd name="T101" fmla="*/ 225 h 679"/>
                <a:gd name="T102" fmla="*/ 385 w 493"/>
                <a:gd name="T103" fmla="*/ 217 h 679"/>
                <a:gd name="T104" fmla="*/ 372 w 493"/>
                <a:gd name="T105" fmla="*/ 209 h 679"/>
                <a:gd name="T106" fmla="*/ 357 w 493"/>
                <a:gd name="T107" fmla="*/ 212 h 679"/>
                <a:gd name="T108" fmla="*/ 331 w 493"/>
                <a:gd name="T109" fmla="*/ 200 h 679"/>
                <a:gd name="T110" fmla="*/ 306 w 493"/>
                <a:gd name="T111" fmla="*/ 187 h 679"/>
                <a:gd name="T112" fmla="*/ 282 w 493"/>
                <a:gd name="T113" fmla="*/ 155 h 679"/>
                <a:gd name="T114" fmla="*/ 270 w 493"/>
                <a:gd name="T115" fmla="*/ 119 h 679"/>
                <a:gd name="T116" fmla="*/ 257 w 493"/>
                <a:gd name="T117" fmla="*/ 108 h 679"/>
                <a:gd name="T118" fmla="*/ 246 w 493"/>
                <a:gd name="T119" fmla="*/ 93 h 679"/>
                <a:gd name="T120" fmla="*/ 252 w 493"/>
                <a:gd name="T121" fmla="*/ 74 h 679"/>
                <a:gd name="T122" fmla="*/ 252 w 493"/>
                <a:gd name="T123" fmla="*/ 56 h 679"/>
                <a:gd name="T124" fmla="*/ 247 w 493"/>
                <a:gd name="T125" fmla="*/ 32 h 6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2" h="679">
                  <a:moveTo>
                    <a:pt x="302" y="494"/>
                  </a:moveTo>
                  <a:cubicBezTo>
                    <a:pt x="302" y="495"/>
                    <a:pt x="302" y="495"/>
                    <a:pt x="302" y="495"/>
                  </a:cubicBezTo>
                  <a:cubicBezTo>
                    <a:pt x="302" y="495"/>
                    <a:pt x="302" y="495"/>
                    <a:pt x="302" y="494"/>
                  </a:cubicBezTo>
                  <a:moveTo>
                    <a:pt x="302" y="494"/>
                  </a:moveTo>
                  <a:cubicBezTo>
                    <a:pt x="302" y="494"/>
                    <a:pt x="302" y="494"/>
                    <a:pt x="302" y="494"/>
                  </a:cubicBezTo>
                  <a:cubicBezTo>
                    <a:pt x="302" y="494"/>
                    <a:pt x="302" y="494"/>
                    <a:pt x="302" y="494"/>
                  </a:cubicBezTo>
                  <a:moveTo>
                    <a:pt x="302" y="494"/>
                  </a:moveTo>
                  <a:cubicBezTo>
                    <a:pt x="302" y="494"/>
                    <a:pt x="302" y="494"/>
                    <a:pt x="302" y="494"/>
                  </a:cubicBezTo>
                  <a:cubicBezTo>
                    <a:pt x="302" y="494"/>
                    <a:pt x="302" y="494"/>
                    <a:pt x="302" y="494"/>
                  </a:cubicBezTo>
                  <a:moveTo>
                    <a:pt x="229" y="0"/>
                  </a:moveTo>
                  <a:cubicBezTo>
                    <a:pt x="229" y="0"/>
                    <a:pt x="228" y="0"/>
                    <a:pt x="228" y="0"/>
                  </a:cubicBezTo>
                  <a:cubicBezTo>
                    <a:pt x="226" y="1"/>
                    <a:pt x="225" y="2"/>
                    <a:pt x="224" y="3"/>
                  </a:cubicBezTo>
                  <a:cubicBezTo>
                    <a:pt x="222" y="3"/>
                    <a:pt x="220" y="4"/>
                    <a:pt x="219" y="5"/>
                  </a:cubicBezTo>
                  <a:cubicBezTo>
                    <a:pt x="218" y="6"/>
                    <a:pt x="216" y="7"/>
                    <a:pt x="215" y="7"/>
                  </a:cubicBezTo>
                  <a:cubicBezTo>
                    <a:pt x="210" y="10"/>
                    <a:pt x="210" y="10"/>
                    <a:pt x="210" y="10"/>
                  </a:cubicBezTo>
                  <a:cubicBezTo>
                    <a:pt x="209" y="11"/>
                    <a:pt x="208" y="13"/>
                    <a:pt x="207" y="14"/>
                  </a:cubicBezTo>
                  <a:cubicBezTo>
                    <a:pt x="206" y="16"/>
                    <a:pt x="206" y="16"/>
                    <a:pt x="206" y="16"/>
                  </a:cubicBezTo>
                  <a:cubicBezTo>
                    <a:pt x="204" y="18"/>
                    <a:pt x="202" y="20"/>
                    <a:pt x="199" y="21"/>
                  </a:cubicBezTo>
                  <a:cubicBezTo>
                    <a:pt x="197" y="21"/>
                    <a:pt x="197" y="21"/>
                    <a:pt x="197" y="21"/>
                  </a:cubicBezTo>
                  <a:cubicBezTo>
                    <a:pt x="197" y="21"/>
                    <a:pt x="196" y="21"/>
                    <a:pt x="196" y="21"/>
                  </a:cubicBezTo>
                  <a:cubicBezTo>
                    <a:pt x="195" y="21"/>
                    <a:pt x="195" y="21"/>
                    <a:pt x="195" y="21"/>
                  </a:cubicBezTo>
                  <a:cubicBezTo>
                    <a:pt x="194" y="21"/>
                    <a:pt x="194" y="21"/>
                    <a:pt x="193" y="21"/>
                  </a:cubicBezTo>
                  <a:cubicBezTo>
                    <a:pt x="192" y="21"/>
                    <a:pt x="192" y="21"/>
                    <a:pt x="191" y="22"/>
                  </a:cubicBezTo>
                  <a:cubicBezTo>
                    <a:pt x="191" y="22"/>
                    <a:pt x="191" y="22"/>
                    <a:pt x="190" y="22"/>
                  </a:cubicBezTo>
                  <a:cubicBezTo>
                    <a:pt x="190" y="22"/>
                    <a:pt x="190" y="22"/>
                    <a:pt x="190" y="22"/>
                  </a:cubicBezTo>
                  <a:cubicBezTo>
                    <a:pt x="189" y="23"/>
                    <a:pt x="188" y="23"/>
                    <a:pt x="187" y="24"/>
                  </a:cubicBezTo>
                  <a:cubicBezTo>
                    <a:pt x="183" y="25"/>
                    <a:pt x="180" y="26"/>
                    <a:pt x="177" y="26"/>
                  </a:cubicBezTo>
                  <a:cubicBezTo>
                    <a:pt x="176" y="26"/>
                    <a:pt x="175" y="26"/>
                    <a:pt x="175" y="26"/>
                  </a:cubicBezTo>
                  <a:cubicBezTo>
                    <a:pt x="173" y="26"/>
                    <a:pt x="173" y="26"/>
                    <a:pt x="173" y="26"/>
                  </a:cubicBezTo>
                  <a:cubicBezTo>
                    <a:pt x="171" y="26"/>
                    <a:pt x="170" y="25"/>
                    <a:pt x="169" y="25"/>
                  </a:cubicBezTo>
                  <a:cubicBezTo>
                    <a:pt x="169" y="24"/>
                    <a:pt x="168" y="24"/>
                    <a:pt x="168" y="24"/>
                  </a:cubicBezTo>
                  <a:cubicBezTo>
                    <a:pt x="167" y="24"/>
                    <a:pt x="167" y="24"/>
                    <a:pt x="167" y="24"/>
                  </a:cubicBezTo>
                  <a:cubicBezTo>
                    <a:pt x="167" y="23"/>
                    <a:pt x="166" y="23"/>
                    <a:pt x="165" y="23"/>
                  </a:cubicBezTo>
                  <a:cubicBezTo>
                    <a:pt x="162" y="22"/>
                    <a:pt x="162" y="22"/>
                    <a:pt x="162" y="22"/>
                  </a:cubicBezTo>
                  <a:cubicBezTo>
                    <a:pt x="161" y="22"/>
                    <a:pt x="159" y="22"/>
                    <a:pt x="158" y="22"/>
                  </a:cubicBezTo>
                  <a:cubicBezTo>
                    <a:pt x="156" y="21"/>
                    <a:pt x="154" y="21"/>
                    <a:pt x="152" y="21"/>
                  </a:cubicBezTo>
                  <a:cubicBezTo>
                    <a:pt x="152" y="21"/>
                    <a:pt x="152" y="21"/>
                    <a:pt x="151" y="21"/>
                  </a:cubicBezTo>
                  <a:cubicBezTo>
                    <a:pt x="150" y="21"/>
                    <a:pt x="149" y="21"/>
                    <a:pt x="148" y="21"/>
                  </a:cubicBezTo>
                  <a:cubicBezTo>
                    <a:pt x="147" y="21"/>
                    <a:pt x="147" y="21"/>
                    <a:pt x="147" y="21"/>
                  </a:cubicBezTo>
                  <a:cubicBezTo>
                    <a:pt x="144" y="21"/>
                    <a:pt x="141" y="22"/>
                    <a:pt x="139" y="22"/>
                  </a:cubicBezTo>
                  <a:cubicBezTo>
                    <a:pt x="139" y="22"/>
                    <a:pt x="138" y="23"/>
                    <a:pt x="138" y="23"/>
                  </a:cubicBezTo>
                  <a:cubicBezTo>
                    <a:pt x="138" y="23"/>
                    <a:pt x="138" y="23"/>
                    <a:pt x="138" y="23"/>
                  </a:cubicBezTo>
                  <a:cubicBezTo>
                    <a:pt x="137" y="24"/>
                    <a:pt x="136" y="25"/>
                    <a:pt x="136" y="26"/>
                  </a:cubicBezTo>
                  <a:cubicBezTo>
                    <a:pt x="136" y="26"/>
                    <a:pt x="136" y="26"/>
                    <a:pt x="136" y="26"/>
                  </a:cubicBezTo>
                  <a:cubicBezTo>
                    <a:pt x="136" y="26"/>
                    <a:pt x="136" y="26"/>
                    <a:pt x="136" y="26"/>
                  </a:cubicBezTo>
                  <a:cubicBezTo>
                    <a:pt x="137" y="26"/>
                    <a:pt x="137" y="26"/>
                    <a:pt x="137" y="26"/>
                  </a:cubicBezTo>
                  <a:cubicBezTo>
                    <a:pt x="138" y="27"/>
                    <a:pt x="138" y="27"/>
                    <a:pt x="138" y="27"/>
                  </a:cubicBezTo>
                  <a:cubicBezTo>
                    <a:pt x="139" y="28"/>
                    <a:pt x="139" y="28"/>
                    <a:pt x="139" y="28"/>
                  </a:cubicBezTo>
                  <a:cubicBezTo>
                    <a:pt x="140" y="30"/>
                    <a:pt x="140" y="32"/>
                    <a:pt x="139" y="33"/>
                  </a:cubicBezTo>
                  <a:cubicBezTo>
                    <a:pt x="143" y="34"/>
                    <a:pt x="145" y="35"/>
                    <a:pt x="146" y="37"/>
                  </a:cubicBezTo>
                  <a:cubicBezTo>
                    <a:pt x="147" y="38"/>
                    <a:pt x="147" y="40"/>
                    <a:pt x="145" y="42"/>
                  </a:cubicBezTo>
                  <a:cubicBezTo>
                    <a:pt x="144" y="43"/>
                    <a:pt x="144" y="43"/>
                    <a:pt x="144" y="43"/>
                  </a:cubicBezTo>
                  <a:cubicBezTo>
                    <a:pt x="143" y="43"/>
                    <a:pt x="143" y="43"/>
                    <a:pt x="143" y="43"/>
                  </a:cubicBezTo>
                  <a:cubicBezTo>
                    <a:pt x="143" y="44"/>
                    <a:pt x="142" y="44"/>
                    <a:pt x="142" y="44"/>
                  </a:cubicBezTo>
                  <a:cubicBezTo>
                    <a:pt x="141" y="44"/>
                    <a:pt x="141" y="44"/>
                    <a:pt x="141" y="44"/>
                  </a:cubicBezTo>
                  <a:cubicBezTo>
                    <a:pt x="141" y="44"/>
                    <a:pt x="141" y="44"/>
                    <a:pt x="141" y="44"/>
                  </a:cubicBezTo>
                  <a:cubicBezTo>
                    <a:pt x="141" y="45"/>
                    <a:pt x="141" y="45"/>
                    <a:pt x="142" y="45"/>
                  </a:cubicBezTo>
                  <a:cubicBezTo>
                    <a:pt x="142" y="46"/>
                    <a:pt x="142" y="46"/>
                    <a:pt x="142" y="46"/>
                  </a:cubicBezTo>
                  <a:cubicBezTo>
                    <a:pt x="145" y="50"/>
                    <a:pt x="143" y="54"/>
                    <a:pt x="142" y="56"/>
                  </a:cubicBezTo>
                  <a:cubicBezTo>
                    <a:pt x="142" y="57"/>
                    <a:pt x="142" y="57"/>
                    <a:pt x="141" y="58"/>
                  </a:cubicBezTo>
                  <a:cubicBezTo>
                    <a:pt x="141" y="59"/>
                    <a:pt x="141" y="59"/>
                    <a:pt x="141" y="59"/>
                  </a:cubicBezTo>
                  <a:cubicBezTo>
                    <a:pt x="142" y="60"/>
                    <a:pt x="143" y="61"/>
                    <a:pt x="144" y="62"/>
                  </a:cubicBezTo>
                  <a:cubicBezTo>
                    <a:pt x="147" y="66"/>
                    <a:pt x="147" y="66"/>
                    <a:pt x="147" y="66"/>
                  </a:cubicBezTo>
                  <a:cubicBezTo>
                    <a:pt x="147" y="67"/>
                    <a:pt x="147" y="67"/>
                    <a:pt x="147" y="67"/>
                  </a:cubicBezTo>
                  <a:cubicBezTo>
                    <a:pt x="147" y="67"/>
                    <a:pt x="147" y="67"/>
                    <a:pt x="148" y="67"/>
                  </a:cubicBezTo>
                  <a:cubicBezTo>
                    <a:pt x="148" y="67"/>
                    <a:pt x="149" y="67"/>
                    <a:pt x="150" y="66"/>
                  </a:cubicBezTo>
                  <a:cubicBezTo>
                    <a:pt x="151" y="66"/>
                    <a:pt x="152" y="65"/>
                    <a:pt x="154" y="65"/>
                  </a:cubicBezTo>
                  <a:cubicBezTo>
                    <a:pt x="158" y="65"/>
                    <a:pt x="158" y="65"/>
                    <a:pt x="158" y="65"/>
                  </a:cubicBezTo>
                  <a:cubicBezTo>
                    <a:pt x="156" y="70"/>
                    <a:pt x="156" y="70"/>
                    <a:pt x="156" y="70"/>
                  </a:cubicBezTo>
                  <a:cubicBezTo>
                    <a:pt x="156" y="71"/>
                    <a:pt x="156" y="71"/>
                    <a:pt x="156" y="71"/>
                  </a:cubicBezTo>
                  <a:cubicBezTo>
                    <a:pt x="156" y="72"/>
                    <a:pt x="156" y="72"/>
                    <a:pt x="156" y="72"/>
                  </a:cubicBezTo>
                  <a:cubicBezTo>
                    <a:pt x="156" y="72"/>
                    <a:pt x="156" y="72"/>
                    <a:pt x="156" y="72"/>
                  </a:cubicBezTo>
                  <a:cubicBezTo>
                    <a:pt x="156" y="73"/>
                    <a:pt x="156" y="74"/>
                    <a:pt x="156" y="74"/>
                  </a:cubicBezTo>
                  <a:cubicBezTo>
                    <a:pt x="156" y="74"/>
                    <a:pt x="156" y="74"/>
                    <a:pt x="156" y="74"/>
                  </a:cubicBezTo>
                  <a:cubicBezTo>
                    <a:pt x="156" y="74"/>
                    <a:pt x="157" y="75"/>
                    <a:pt x="159" y="75"/>
                  </a:cubicBezTo>
                  <a:cubicBezTo>
                    <a:pt x="161" y="75"/>
                    <a:pt x="161" y="75"/>
                    <a:pt x="161" y="75"/>
                  </a:cubicBezTo>
                  <a:cubicBezTo>
                    <a:pt x="162" y="75"/>
                    <a:pt x="163" y="76"/>
                    <a:pt x="165" y="76"/>
                  </a:cubicBezTo>
                  <a:cubicBezTo>
                    <a:pt x="165" y="76"/>
                    <a:pt x="166" y="76"/>
                    <a:pt x="166" y="76"/>
                  </a:cubicBezTo>
                  <a:cubicBezTo>
                    <a:pt x="167" y="77"/>
                    <a:pt x="167" y="77"/>
                    <a:pt x="167" y="77"/>
                  </a:cubicBezTo>
                  <a:cubicBezTo>
                    <a:pt x="168" y="77"/>
                    <a:pt x="169" y="78"/>
                    <a:pt x="169" y="78"/>
                  </a:cubicBezTo>
                  <a:cubicBezTo>
                    <a:pt x="171" y="80"/>
                    <a:pt x="172" y="82"/>
                    <a:pt x="171" y="86"/>
                  </a:cubicBezTo>
                  <a:cubicBezTo>
                    <a:pt x="169" y="89"/>
                    <a:pt x="166" y="90"/>
                    <a:pt x="164" y="91"/>
                  </a:cubicBezTo>
                  <a:cubicBezTo>
                    <a:pt x="163" y="91"/>
                    <a:pt x="163" y="91"/>
                    <a:pt x="163" y="91"/>
                  </a:cubicBezTo>
                  <a:cubicBezTo>
                    <a:pt x="162" y="92"/>
                    <a:pt x="161" y="92"/>
                    <a:pt x="161" y="92"/>
                  </a:cubicBezTo>
                  <a:cubicBezTo>
                    <a:pt x="160" y="93"/>
                    <a:pt x="160" y="93"/>
                    <a:pt x="160" y="93"/>
                  </a:cubicBezTo>
                  <a:cubicBezTo>
                    <a:pt x="159" y="93"/>
                    <a:pt x="159" y="93"/>
                    <a:pt x="158" y="93"/>
                  </a:cubicBezTo>
                  <a:cubicBezTo>
                    <a:pt x="157" y="93"/>
                    <a:pt x="157" y="93"/>
                    <a:pt x="157" y="94"/>
                  </a:cubicBezTo>
                  <a:cubicBezTo>
                    <a:pt x="156" y="94"/>
                    <a:pt x="156" y="94"/>
                    <a:pt x="156" y="94"/>
                  </a:cubicBezTo>
                  <a:cubicBezTo>
                    <a:pt x="155" y="94"/>
                    <a:pt x="155" y="94"/>
                    <a:pt x="155" y="94"/>
                  </a:cubicBezTo>
                  <a:cubicBezTo>
                    <a:pt x="154" y="95"/>
                    <a:pt x="154" y="95"/>
                    <a:pt x="154" y="95"/>
                  </a:cubicBezTo>
                  <a:cubicBezTo>
                    <a:pt x="153" y="96"/>
                    <a:pt x="152" y="96"/>
                    <a:pt x="152" y="97"/>
                  </a:cubicBezTo>
                  <a:cubicBezTo>
                    <a:pt x="152" y="97"/>
                    <a:pt x="152" y="97"/>
                    <a:pt x="152" y="97"/>
                  </a:cubicBezTo>
                  <a:cubicBezTo>
                    <a:pt x="153" y="99"/>
                    <a:pt x="153" y="99"/>
                    <a:pt x="153" y="99"/>
                  </a:cubicBezTo>
                  <a:cubicBezTo>
                    <a:pt x="153" y="101"/>
                    <a:pt x="153" y="103"/>
                    <a:pt x="153" y="105"/>
                  </a:cubicBezTo>
                  <a:cubicBezTo>
                    <a:pt x="153" y="106"/>
                    <a:pt x="153" y="106"/>
                    <a:pt x="153" y="106"/>
                  </a:cubicBezTo>
                  <a:cubicBezTo>
                    <a:pt x="153" y="106"/>
                    <a:pt x="154" y="107"/>
                    <a:pt x="154" y="108"/>
                  </a:cubicBezTo>
                  <a:cubicBezTo>
                    <a:pt x="154" y="110"/>
                    <a:pt x="154" y="110"/>
                    <a:pt x="154" y="110"/>
                  </a:cubicBezTo>
                  <a:cubicBezTo>
                    <a:pt x="154" y="112"/>
                    <a:pt x="154" y="113"/>
                    <a:pt x="155" y="114"/>
                  </a:cubicBezTo>
                  <a:cubicBezTo>
                    <a:pt x="155" y="116"/>
                    <a:pt x="153" y="118"/>
                    <a:pt x="151" y="120"/>
                  </a:cubicBezTo>
                  <a:cubicBezTo>
                    <a:pt x="149" y="122"/>
                    <a:pt x="147" y="123"/>
                    <a:pt x="145" y="125"/>
                  </a:cubicBezTo>
                  <a:cubicBezTo>
                    <a:pt x="145" y="125"/>
                    <a:pt x="145" y="125"/>
                    <a:pt x="145" y="125"/>
                  </a:cubicBezTo>
                  <a:cubicBezTo>
                    <a:pt x="144" y="125"/>
                    <a:pt x="142" y="127"/>
                    <a:pt x="142" y="127"/>
                  </a:cubicBezTo>
                  <a:cubicBezTo>
                    <a:pt x="142" y="127"/>
                    <a:pt x="142" y="127"/>
                    <a:pt x="142" y="127"/>
                  </a:cubicBezTo>
                  <a:cubicBezTo>
                    <a:pt x="141" y="128"/>
                    <a:pt x="140" y="129"/>
                    <a:pt x="139" y="131"/>
                  </a:cubicBezTo>
                  <a:cubicBezTo>
                    <a:pt x="138" y="131"/>
                    <a:pt x="138" y="131"/>
                    <a:pt x="138" y="131"/>
                  </a:cubicBezTo>
                  <a:cubicBezTo>
                    <a:pt x="138" y="132"/>
                    <a:pt x="138" y="132"/>
                    <a:pt x="137" y="132"/>
                  </a:cubicBezTo>
                  <a:cubicBezTo>
                    <a:pt x="137" y="133"/>
                    <a:pt x="138" y="133"/>
                    <a:pt x="138" y="134"/>
                  </a:cubicBezTo>
                  <a:cubicBezTo>
                    <a:pt x="138" y="134"/>
                    <a:pt x="138" y="134"/>
                    <a:pt x="138" y="134"/>
                  </a:cubicBezTo>
                  <a:cubicBezTo>
                    <a:pt x="139" y="135"/>
                    <a:pt x="139" y="135"/>
                    <a:pt x="139" y="135"/>
                  </a:cubicBezTo>
                  <a:cubicBezTo>
                    <a:pt x="141" y="137"/>
                    <a:pt x="141" y="137"/>
                    <a:pt x="141" y="137"/>
                  </a:cubicBezTo>
                  <a:cubicBezTo>
                    <a:pt x="138" y="139"/>
                    <a:pt x="138" y="139"/>
                    <a:pt x="138" y="139"/>
                  </a:cubicBezTo>
                  <a:cubicBezTo>
                    <a:pt x="136" y="140"/>
                    <a:pt x="135" y="140"/>
                    <a:pt x="134" y="141"/>
                  </a:cubicBezTo>
                  <a:cubicBezTo>
                    <a:pt x="133" y="142"/>
                    <a:pt x="133" y="142"/>
                    <a:pt x="133" y="142"/>
                  </a:cubicBezTo>
                  <a:cubicBezTo>
                    <a:pt x="131" y="142"/>
                    <a:pt x="129" y="143"/>
                    <a:pt x="127" y="144"/>
                  </a:cubicBezTo>
                  <a:cubicBezTo>
                    <a:pt x="126" y="145"/>
                    <a:pt x="125" y="145"/>
                    <a:pt x="125" y="145"/>
                  </a:cubicBezTo>
                  <a:cubicBezTo>
                    <a:pt x="124" y="146"/>
                    <a:pt x="124" y="149"/>
                    <a:pt x="124" y="150"/>
                  </a:cubicBezTo>
                  <a:cubicBezTo>
                    <a:pt x="123" y="151"/>
                    <a:pt x="123" y="151"/>
                    <a:pt x="123" y="151"/>
                  </a:cubicBezTo>
                  <a:cubicBezTo>
                    <a:pt x="123" y="153"/>
                    <a:pt x="123" y="153"/>
                    <a:pt x="123" y="153"/>
                  </a:cubicBezTo>
                  <a:cubicBezTo>
                    <a:pt x="123" y="154"/>
                    <a:pt x="122" y="154"/>
                    <a:pt x="122" y="155"/>
                  </a:cubicBezTo>
                  <a:cubicBezTo>
                    <a:pt x="121" y="157"/>
                    <a:pt x="120" y="158"/>
                    <a:pt x="120" y="160"/>
                  </a:cubicBezTo>
                  <a:cubicBezTo>
                    <a:pt x="119" y="160"/>
                    <a:pt x="119" y="160"/>
                    <a:pt x="119" y="160"/>
                  </a:cubicBezTo>
                  <a:cubicBezTo>
                    <a:pt x="118" y="162"/>
                    <a:pt x="118" y="163"/>
                    <a:pt x="117" y="164"/>
                  </a:cubicBezTo>
                  <a:cubicBezTo>
                    <a:pt x="114" y="168"/>
                    <a:pt x="113" y="169"/>
                    <a:pt x="109" y="171"/>
                  </a:cubicBezTo>
                  <a:cubicBezTo>
                    <a:pt x="108" y="172"/>
                    <a:pt x="108" y="172"/>
                    <a:pt x="108" y="172"/>
                  </a:cubicBezTo>
                  <a:cubicBezTo>
                    <a:pt x="108" y="172"/>
                    <a:pt x="107" y="172"/>
                    <a:pt x="106" y="173"/>
                  </a:cubicBezTo>
                  <a:cubicBezTo>
                    <a:pt x="104" y="174"/>
                    <a:pt x="103" y="175"/>
                    <a:pt x="102" y="176"/>
                  </a:cubicBezTo>
                  <a:cubicBezTo>
                    <a:pt x="104" y="178"/>
                    <a:pt x="104" y="178"/>
                    <a:pt x="104" y="178"/>
                  </a:cubicBezTo>
                  <a:cubicBezTo>
                    <a:pt x="101" y="177"/>
                    <a:pt x="101" y="177"/>
                    <a:pt x="101" y="177"/>
                  </a:cubicBezTo>
                  <a:cubicBezTo>
                    <a:pt x="86" y="197"/>
                    <a:pt x="86" y="197"/>
                    <a:pt x="86" y="197"/>
                  </a:cubicBezTo>
                  <a:cubicBezTo>
                    <a:pt x="85" y="198"/>
                    <a:pt x="84" y="198"/>
                    <a:pt x="83" y="198"/>
                  </a:cubicBezTo>
                  <a:cubicBezTo>
                    <a:pt x="82" y="199"/>
                    <a:pt x="80" y="199"/>
                    <a:pt x="77" y="199"/>
                  </a:cubicBezTo>
                  <a:cubicBezTo>
                    <a:pt x="76" y="199"/>
                    <a:pt x="76" y="199"/>
                    <a:pt x="76" y="199"/>
                  </a:cubicBezTo>
                  <a:cubicBezTo>
                    <a:pt x="76" y="199"/>
                    <a:pt x="76" y="199"/>
                    <a:pt x="75" y="199"/>
                  </a:cubicBezTo>
                  <a:cubicBezTo>
                    <a:pt x="75" y="200"/>
                    <a:pt x="74" y="200"/>
                    <a:pt x="74" y="200"/>
                  </a:cubicBezTo>
                  <a:cubicBezTo>
                    <a:pt x="73" y="200"/>
                    <a:pt x="73" y="200"/>
                    <a:pt x="73" y="200"/>
                  </a:cubicBezTo>
                  <a:cubicBezTo>
                    <a:pt x="73" y="200"/>
                    <a:pt x="73" y="200"/>
                    <a:pt x="73" y="200"/>
                  </a:cubicBezTo>
                  <a:cubicBezTo>
                    <a:pt x="71" y="201"/>
                    <a:pt x="69" y="201"/>
                    <a:pt x="67" y="202"/>
                  </a:cubicBezTo>
                  <a:cubicBezTo>
                    <a:pt x="67" y="202"/>
                    <a:pt x="67" y="202"/>
                    <a:pt x="66" y="202"/>
                  </a:cubicBezTo>
                  <a:cubicBezTo>
                    <a:pt x="65" y="203"/>
                    <a:pt x="64" y="203"/>
                    <a:pt x="64" y="203"/>
                  </a:cubicBezTo>
                  <a:cubicBezTo>
                    <a:pt x="62" y="203"/>
                    <a:pt x="61" y="202"/>
                    <a:pt x="60" y="202"/>
                  </a:cubicBezTo>
                  <a:cubicBezTo>
                    <a:pt x="60" y="201"/>
                    <a:pt x="60" y="201"/>
                    <a:pt x="60" y="201"/>
                  </a:cubicBezTo>
                  <a:cubicBezTo>
                    <a:pt x="59" y="201"/>
                    <a:pt x="59" y="201"/>
                    <a:pt x="59" y="200"/>
                  </a:cubicBezTo>
                  <a:cubicBezTo>
                    <a:pt x="58" y="199"/>
                    <a:pt x="57" y="198"/>
                    <a:pt x="57" y="198"/>
                  </a:cubicBezTo>
                  <a:cubicBezTo>
                    <a:pt x="56" y="197"/>
                    <a:pt x="56" y="196"/>
                    <a:pt x="56" y="196"/>
                  </a:cubicBezTo>
                  <a:cubicBezTo>
                    <a:pt x="55" y="196"/>
                    <a:pt x="55" y="196"/>
                    <a:pt x="55" y="196"/>
                  </a:cubicBezTo>
                  <a:cubicBezTo>
                    <a:pt x="55" y="195"/>
                    <a:pt x="55" y="195"/>
                    <a:pt x="55" y="195"/>
                  </a:cubicBezTo>
                  <a:cubicBezTo>
                    <a:pt x="55" y="195"/>
                    <a:pt x="55" y="195"/>
                    <a:pt x="55" y="195"/>
                  </a:cubicBezTo>
                  <a:cubicBezTo>
                    <a:pt x="54" y="195"/>
                    <a:pt x="54" y="195"/>
                    <a:pt x="54" y="195"/>
                  </a:cubicBezTo>
                  <a:cubicBezTo>
                    <a:pt x="54" y="195"/>
                    <a:pt x="54" y="195"/>
                    <a:pt x="54" y="195"/>
                  </a:cubicBezTo>
                  <a:cubicBezTo>
                    <a:pt x="53" y="195"/>
                    <a:pt x="53" y="195"/>
                    <a:pt x="53" y="196"/>
                  </a:cubicBezTo>
                  <a:cubicBezTo>
                    <a:pt x="52" y="196"/>
                    <a:pt x="52" y="196"/>
                    <a:pt x="52" y="196"/>
                  </a:cubicBezTo>
                  <a:cubicBezTo>
                    <a:pt x="51" y="197"/>
                    <a:pt x="51" y="197"/>
                    <a:pt x="51" y="197"/>
                  </a:cubicBezTo>
                  <a:cubicBezTo>
                    <a:pt x="51" y="197"/>
                    <a:pt x="51" y="197"/>
                    <a:pt x="51" y="197"/>
                  </a:cubicBezTo>
                  <a:cubicBezTo>
                    <a:pt x="49" y="199"/>
                    <a:pt x="49" y="199"/>
                    <a:pt x="49" y="199"/>
                  </a:cubicBezTo>
                  <a:cubicBezTo>
                    <a:pt x="48" y="200"/>
                    <a:pt x="48" y="200"/>
                    <a:pt x="48" y="200"/>
                  </a:cubicBezTo>
                  <a:cubicBezTo>
                    <a:pt x="48" y="200"/>
                    <a:pt x="48" y="200"/>
                    <a:pt x="48" y="200"/>
                  </a:cubicBezTo>
                  <a:cubicBezTo>
                    <a:pt x="47" y="201"/>
                    <a:pt x="47" y="202"/>
                    <a:pt x="46" y="202"/>
                  </a:cubicBezTo>
                  <a:cubicBezTo>
                    <a:pt x="45" y="204"/>
                    <a:pt x="44" y="205"/>
                    <a:pt x="43" y="207"/>
                  </a:cubicBezTo>
                  <a:cubicBezTo>
                    <a:pt x="41" y="209"/>
                    <a:pt x="38" y="212"/>
                    <a:pt x="36" y="215"/>
                  </a:cubicBezTo>
                  <a:cubicBezTo>
                    <a:pt x="34" y="218"/>
                    <a:pt x="33" y="221"/>
                    <a:pt x="34" y="222"/>
                  </a:cubicBezTo>
                  <a:cubicBezTo>
                    <a:pt x="34" y="223"/>
                    <a:pt x="34" y="223"/>
                    <a:pt x="34" y="223"/>
                  </a:cubicBezTo>
                  <a:cubicBezTo>
                    <a:pt x="35" y="224"/>
                    <a:pt x="36" y="224"/>
                    <a:pt x="38" y="225"/>
                  </a:cubicBezTo>
                  <a:cubicBezTo>
                    <a:pt x="39" y="225"/>
                    <a:pt x="39" y="225"/>
                    <a:pt x="39" y="225"/>
                  </a:cubicBezTo>
                  <a:cubicBezTo>
                    <a:pt x="40" y="225"/>
                    <a:pt x="42" y="225"/>
                    <a:pt x="43" y="226"/>
                  </a:cubicBezTo>
                  <a:cubicBezTo>
                    <a:pt x="44" y="226"/>
                    <a:pt x="44" y="226"/>
                    <a:pt x="45" y="226"/>
                  </a:cubicBezTo>
                  <a:cubicBezTo>
                    <a:pt x="46" y="226"/>
                    <a:pt x="47" y="226"/>
                    <a:pt x="47" y="227"/>
                  </a:cubicBezTo>
                  <a:cubicBezTo>
                    <a:pt x="49" y="228"/>
                    <a:pt x="50" y="229"/>
                    <a:pt x="50" y="231"/>
                  </a:cubicBezTo>
                  <a:cubicBezTo>
                    <a:pt x="50" y="233"/>
                    <a:pt x="50" y="234"/>
                    <a:pt x="50" y="236"/>
                  </a:cubicBezTo>
                  <a:cubicBezTo>
                    <a:pt x="49" y="238"/>
                    <a:pt x="49" y="240"/>
                    <a:pt x="50" y="241"/>
                  </a:cubicBezTo>
                  <a:cubicBezTo>
                    <a:pt x="50" y="242"/>
                    <a:pt x="50" y="242"/>
                    <a:pt x="50" y="243"/>
                  </a:cubicBezTo>
                  <a:cubicBezTo>
                    <a:pt x="50" y="244"/>
                    <a:pt x="50" y="244"/>
                    <a:pt x="50" y="244"/>
                  </a:cubicBezTo>
                  <a:cubicBezTo>
                    <a:pt x="51" y="245"/>
                    <a:pt x="51" y="247"/>
                    <a:pt x="52" y="248"/>
                  </a:cubicBezTo>
                  <a:cubicBezTo>
                    <a:pt x="52" y="248"/>
                    <a:pt x="52" y="248"/>
                    <a:pt x="52" y="248"/>
                  </a:cubicBezTo>
                  <a:cubicBezTo>
                    <a:pt x="53" y="248"/>
                    <a:pt x="53" y="248"/>
                    <a:pt x="53" y="248"/>
                  </a:cubicBezTo>
                  <a:cubicBezTo>
                    <a:pt x="54" y="248"/>
                    <a:pt x="54" y="248"/>
                    <a:pt x="54" y="248"/>
                  </a:cubicBezTo>
                  <a:cubicBezTo>
                    <a:pt x="54" y="248"/>
                    <a:pt x="54" y="248"/>
                    <a:pt x="54" y="248"/>
                  </a:cubicBezTo>
                  <a:cubicBezTo>
                    <a:pt x="55" y="248"/>
                    <a:pt x="55" y="248"/>
                    <a:pt x="55" y="248"/>
                  </a:cubicBezTo>
                  <a:cubicBezTo>
                    <a:pt x="55" y="248"/>
                    <a:pt x="55" y="248"/>
                    <a:pt x="55" y="248"/>
                  </a:cubicBezTo>
                  <a:cubicBezTo>
                    <a:pt x="55" y="248"/>
                    <a:pt x="56" y="248"/>
                    <a:pt x="56" y="248"/>
                  </a:cubicBezTo>
                  <a:cubicBezTo>
                    <a:pt x="56" y="248"/>
                    <a:pt x="57" y="248"/>
                    <a:pt x="57" y="248"/>
                  </a:cubicBezTo>
                  <a:cubicBezTo>
                    <a:pt x="58" y="248"/>
                    <a:pt x="58" y="248"/>
                    <a:pt x="58" y="248"/>
                  </a:cubicBezTo>
                  <a:cubicBezTo>
                    <a:pt x="60" y="248"/>
                    <a:pt x="61" y="250"/>
                    <a:pt x="62" y="251"/>
                  </a:cubicBezTo>
                  <a:cubicBezTo>
                    <a:pt x="62" y="253"/>
                    <a:pt x="62" y="253"/>
                    <a:pt x="62" y="254"/>
                  </a:cubicBezTo>
                  <a:cubicBezTo>
                    <a:pt x="63" y="256"/>
                    <a:pt x="63" y="257"/>
                    <a:pt x="64" y="259"/>
                  </a:cubicBezTo>
                  <a:cubicBezTo>
                    <a:pt x="64" y="259"/>
                    <a:pt x="64" y="260"/>
                    <a:pt x="64" y="260"/>
                  </a:cubicBezTo>
                  <a:cubicBezTo>
                    <a:pt x="65" y="261"/>
                    <a:pt x="65" y="261"/>
                    <a:pt x="65" y="261"/>
                  </a:cubicBezTo>
                  <a:cubicBezTo>
                    <a:pt x="65" y="261"/>
                    <a:pt x="65" y="261"/>
                    <a:pt x="65" y="261"/>
                  </a:cubicBezTo>
                  <a:cubicBezTo>
                    <a:pt x="70" y="272"/>
                    <a:pt x="70" y="272"/>
                    <a:pt x="70" y="272"/>
                  </a:cubicBezTo>
                  <a:cubicBezTo>
                    <a:pt x="71" y="274"/>
                    <a:pt x="71" y="275"/>
                    <a:pt x="71" y="276"/>
                  </a:cubicBezTo>
                  <a:cubicBezTo>
                    <a:pt x="71" y="277"/>
                    <a:pt x="70" y="278"/>
                    <a:pt x="70" y="279"/>
                  </a:cubicBezTo>
                  <a:cubicBezTo>
                    <a:pt x="69" y="280"/>
                    <a:pt x="69" y="280"/>
                    <a:pt x="69" y="280"/>
                  </a:cubicBezTo>
                  <a:cubicBezTo>
                    <a:pt x="70" y="280"/>
                    <a:pt x="70" y="280"/>
                    <a:pt x="70" y="280"/>
                  </a:cubicBezTo>
                  <a:cubicBezTo>
                    <a:pt x="70" y="280"/>
                    <a:pt x="70" y="280"/>
                    <a:pt x="70" y="280"/>
                  </a:cubicBezTo>
                  <a:cubicBezTo>
                    <a:pt x="71" y="282"/>
                    <a:pt x="71" y="282"/>
                    <a:pt x="71" y="282"/>
                  </a:cubicBezTo>
                  <a:cubicBezTo>
                    <a:pt x="71" y="282"/>
                    <a:pt x="71" y="282"/>
                    <a:pt x="71" y="282"/>
                  </a:cubicBezTo>
                  <a:cubicBezTo>
                    <a:pt x="72" y="284"/>
                    <a:pt x="70" y="285"/>
                    <a:pt x="70" y="286"/>
                  </a:cubicBezTo>
                  <a:cubicBezTo>
                    <a:pt x="69" y="287"/>
                    <a:pt x="68" y="287"/>
                    <a:pt x="67" y="287"/>
                  </a:cubicBezTo>
                  <a:cubicBezTo>
                    <a:pt x="67" y="287"/>
                    <a:pt x="67" y="287"/>
                    <a:pt x="66" y="288"/>
                  </a:cubicBezTo>
                  <a:cubicBezTo>
                    <a:pt x="66" y="288"/>
                    <a:pt x="66" y="288"/>
                    <a:pt x="66" y="288"/>
                  </a:cubicBezTo>
                  <a:cubicBezTo>
                    <a:pt x="66" y="288"/>
                    <a:pt x="66" y="288"/>
                    <a:pt x="66" y="288"/>
                  </a:cubicBezTo>
                  <a:cubicBezTo>
                    <a:pt x="65" y="289"/>
                    <a:pt x="65" y="289"/>
                    <a:pt x="65" y="289"/>
                  </a:cubicBezTo>
                  <a:cubicBezTo>
                    <a:pt x="64" y="289"/>
                    <a:pt x="64" y="289"/>
                    <a:pt x="64" y="289"/>
                  </a:cubicBezTo>
                  <a:cubicBezTo>
                    <a:pt x="63" y="290"/>
                    <a:pt x="63" y="290"/>
                    <a:pt x="62" y="290"/>
                  </a:cubicBezTo>
                  <a:cubicBezTo>
                    <a:pt x="61" y="290"/>
                    <a:pt x="61" y="290"/>
                    <a:pt x="60" y="290"/>
                  </a:cubicBezTo>
                  <a:cubicBezTo>
                    <a:pt x="59" y="289"/>
                    <a:pt x="58" y="289"/>
                    <a:pt x="56" y="288"/>
                  </a:cubicBezTo>
                  <a:cubicBezTo>
                    <a:pt x="56" y="287"/>
                    <a:pt x="55" y="287"/>
                    <a:pt x="55" y="287"/>
                  </a:cubicBezTo>
                  <a:cubicBezTo>
                    <a:pt x="55" y="286"/>
                    <a:pt x="55" y="286"/>
                    <a:pt x="55" y="286"/>
                  </a:cubicBezTo>
                  <a:cubicBezTo>
                    <a:pt x="55" y="286"/>
                    <a:pt x="55" y="286"/>
                    <a:pt x="55" y="286"/>
                  </a:cubicBezTo>
                  <a:cubicBezTo>
                    <a:pt x="53" y="287"/>
                    <a:pt x="53" y="287"/>
                    <a:pt x="53" y="287"/>
                  </a:cubicBezTo>
                  <a:cubicBezTo>
                    <a:pt x="51" y="287"/>
                    <a:pt x="49" y="288"/>
                    <a:pt x="48" y="288"/>
                  </a:cubicBezTo>
                  <a:cubicBezTo>
                    <a:pt x="48" y="289"/>
                    <a:pt x="48" y="289"/>
                    <a:pt x="48" y="289"/>
                  </a:cubicBezTo>
                  <a:cubicBezTo>
                    <a:pt x="46" y="291"/>
                    <a:pt x="46" y="291"/>
                    <a:pt x="46" y="291"/>
                  </a:cubicBezTo>
                  <a:cubicBezTo>
                    <a:pt x="46" y="291"/>
                    <a:pt x="46" y="291"/>
                    <a:pt x="46" y="291"/>
                  </a:cubicBezTo>
                  <a:cubicBezTo>
                    <a:pt x="44" y="292"/>
                    <a:pt x="43" y="292"/>
                    <a:pt x="42" y="292"/>
                  </a:cubicBezTo>
                  <a:cubicBezTo>
                    <a:pt x="41" y="292"/>
                    <a:pt x="41" y="292"/>
                    <a:pt x="40" y="292"/>
                  </a:cubicBezTo>
                  <a:cubicBezTo>
                    <a:pt x="39" y="292"/>
                    <a:pt x="38" y="292"/>
                    <a:pt x="37" y="291"/>
                  </a:cubicBezTo>
                  <a:cubicBezTo>
                    <a:pt x="36" y="291"/>
                    <a:pt x="36" y="291"/>
                    <a:pt x="35" y="291"/>
                  </a:cubicBezTo>
                  <a:cubicBezTo>
                    <a:pt x="28" y="290"/>
                    <a:pt x="28" y="290"/>
                    <a:pt x="28" y="290"/>
                  </a:cubicBezTo>
                  <a:cubicBezTo>
                    <a:pt x="24" y="290"/>
                    <a:pt x="20" y="289"/>
                    <a:pt x="17" y="289"/>
                  </a:cubicBezTo>
                  <a:cubicBezTo>
                    <a:pt x="17" y="290"/>
                    <a:pt x="17" y="291"/>
                    <a:pt x="16" y="293"/>
                  </a:cubicBezTo>
                  <a:cubicBezTo>
                    <a:pt x="16" y="293"/>
                    <a:pt x="16" y="293"/>
                    <a:pt x="16" y="293"/>
                  </a:cubicBezTo>
                  <a:cubicBezTo>
                    <a:pt x="16" y="294"/>
                    <a:pt x="16" y="294"/>
                    <a:pt x="16" y="295"/>
                  </a:cubicBezTo>
                  <a:cubicBezTo>
                    <a:pt x="16" y="296"/>
                    <a:pt x="16" y="296"/>
                    <a:pt x="16" y="296"/>
                  </a:cubicBezTo>
                  <a:cubicBezTo>
                    <a:pt x="15" y="296"/>
                    <a:pt x="14" y="297"/>
                    <a:pt x="14" y="297"/>
                  </a:cubicBezTo>
                  <a:cubicBezTo>
                    <a:pt x="13" y="297"/>
                    <a:pt x="12" y="297"/>
                    <a:pt x="11" y="297"/>
                  </a:cubicBezTo>
                  <a:cubicBezTo>
                    <a:pt x="11" y="297"/>
                    <a:pt x="11" y="297"/>
                    <a:pt x="11" y="297"/>
                  </a:cubicBezTo>
                  <a:cubicBezTo>
                    <a:pt x="11" y="297"/>
                    <a:pt x="10" y="297"/>
                    <a:pt x="10" y="297"/>
                  </a:cubicBezTo>
                  <a:cubicBezTo>
                    <a:pt x="9" y="297"/>
                    <a:pt x="9" y="297"/>
                    <a:pt x="9" y="297"/>
                  </a:cubicBezTo>
                  <a:cubicBezTo>
                    <a:pt x="0" y="304"/>
                    <a:pt x="0" y="304"/>
                    <a:pt x="0" y="304"/>
                  </a:cubicBezTo>
                  <a:cubicBezTo>
                    <a:pt x="1" y="304"/>
                    <a:pt x="1" y="304"/>
                    <a:pt x="2" y="304"/>
                  </a:cubicBezTo>
                  <a:cubicBezTo>
                    <a:pt x="3" y="304"/>
                    <a:pt x="4" y="303"/>
                    <a:pt x="4" y="302"/>
                  </a:cubicBezTo>
                  <a:cubicBezTo>
                    <a:pt x="7" y="300"/>
                    <a:pt x="11" y="299"/>
                    <a:pt x="14" y="297"/>
                  </a:cubicBezTo>
                  <a:cubicBezTo>
                    <a:pt x="14" y="297"/>
                    <a:pt x="14" y="297"/>
                    <a:pt x="14" y="297"/>
                  </a:cubicBezTo>
                  <a:cubicBezTo>
                    <a:pt x="14" y="297"/>
                    <a:pt x="14" y="297"/>
                    <a:pt x="14" y="297"/>
                  </a:cubicBezTo>
                  <a:cubicBezTo>
                    <a:pt x="13" y="298"/>
                    <a:pt x="11" y="299"/>
                    <a:pt x="10" y="300"/>
                  </a:cubicBezTo>
                  <a:cubicBezTo>
                    <a:pt x="9" y="301"/>
                    <a:pt x="8" y="303"/>
                    <a:pt x="7" y="303"/>
                  </a:cubicBezTo>
                  <a:cubicBezTo>
                    <a:pt x="7" y="303"/>
                    <a:pt x="6" y="303"/>
                    <a:pt x="6" y="303"/>
                  </a:cubicBezTo>
                  <a:cubicBezTo>
                    <a:pt x="7" y="303"/>
                    <a:pt x="7" y="303"/>
                    <a:pt x="7" y="303"/>
                  </a:cubicBezTo>
                  <a:cubicBezTo>
                    <a:pt x="7" y="304"/>
                    <a:pt x="7" y="304"/>
                    <a:pt x="7" y="304"/>
                  </a:cubicBezTo>
                  <a:cubicBezTo>
                    <a:pt x="8" y="307"/>
                    <a:pt x="9" y="309"/>
                    <a:pt x="10" y="311"/>
                  </a:cubicBezTo>
                  <a:cubicBezTo>
                    <a:pt x="11" y="313"/>
                    <a:pt x="12" y="314"/>
                    <a:pt x="14" y="316"/>
                  </a:cubicBezTo>
                  <a:cubicBezTo>
                    <a:pt x="15" y="316"/>
                    <a:pt x="15" y="317"/>
                    <a:pt x="16" y="318"/>
                  </a:cubicBezTo>
                  <a:cubicBezTo>
                    <a:pt x="17" y="318"/>
                    <a:pt x="18" y="319"/>
                    <a:pt x="19" y="319"/>
                  </a:cubicBezTo>
                  <a:cubicBezTo>
                    <a:pt x="21" y="320"/>
                    <a:pt x="23" y="321"/>
                    <a:pt x="26" y="322"/>
                  </a:cubicBezTo>
                  <a:cubicBezTo>
                    <a:pt x="26" y="322"/>
                    <a:pt x="27" y="323"/>
                    <a:pt x="28" y="323"/>
                  </a:cubicBezTo>
                  <a:cubicBezTo>
                    <a:pt x="29" y="323"/>
                    <a:pt x="31" y="324"/>
                    <a:pt x="33" y="324"/>
                  </a:cubicBezTo>
                  <a:cubicBezTo>
                    <a:pt x="33" y="325"/>
                    <a:pt x="34" y="325"/>
                    <a:pt x="35" y="325"/>
                  </a:cubicBezTo>
                  <a:cubicBezTo>
                    <a:pt x="36" y="325"/>
                    <a:pt x="36" y="325"/>
                    <a:pt x="36" y="325"/>
                  </a:cubicBezTo>
                  <a:cubicBezTo>
                    <a:pt x="38" y="324"/>
                    <a:pt x="39" y="322"/>
                    <a:pt x="41" y="321"/>
                  </a:cubicBezTo>
                  <a:cubicBezTo>
                    <a:pt x="43" y="321"/>
                    <a:pt x="46" y="321"/>
                    <a:pt x="46" y="319"/>
                  </a:cubicBezTo>
                  <a:cubicBezTo>
                    <a:pt x="47" y="320"/>
                    <a:pt x="47" y="320"/>
                    <a:pt x="47" y="320"/>
                  </a:cubicBezTo>
                  <a:cubicBezTo>
                    <a:pt x="48" y="320"/>
                    <a:pt x="49" y="320"/>
                    <a:pt x="51" y="320"/>
                  </a:cubicBezTo>
                  <a:cubicBezTo>
                    <a:pt x="51" y="320"/>
                    <a:pt x="52" y="320"/>
                    <a:pt x="52" y="320"/>
                  </a:cubicBezTo>
                  <a:cubicBezTo>
                    <a:pt x="53" y="319"/>
                    <a:pt x="53" y="316"/>
                    <a:pt x="55" y="315"/>
                  </a:cubicBezTo>
                  <a:cubicBezTo>
                    <a:pt x="53" y="318"/>
                    <a:pt x="52" y="322"/>
                    <a:pt x="50" y="325"/>
                  </a:cubicBezTo>
                  <a:cubicBezTo>
                    <a:pt x="49" y="327"/>
                    <a:pt x="48" y="329"/>
                    <a:pt x="46" y="330"/>
                  </a:cubicBezTo>
                  <a:cubicBezTo>
                    <a:pt x="46" y="330"/>
                    <a:pt x="45" y="330"/>
                    <a:pt x="45" y="331"/>
                  </a:cubicBezTo>
                  <a:cubicBezTo>
                    <a:pt x="41" y="332"/>
                    <a:pt x="36" y="333"/>
                    <a:pt x="33" y="334"/>
                  </a:cubicBezTo>
                  <a:cubicBezTo>
                    <a:pt x="33" y="334"/>
                    <a:pt x="32" y="334"/>
                    <a:pt x="32" y="334"/>
                  </a:cubicBezTo>
                  <a:cubicBezTo>
                    <a:pt x="30" y="335"/>
                    <a:pt x="27" y="336"/>
                    <a:pt x="25" y="336"/>
                  </a:cubicBezTo>
                  <a:cubicBezTo>
                    <a:pt x="23" y="336"/>
                    <a:pt x="22" y="335"/>
                    <a:pt x="24" y="333"/>
                  </a:cubicBezTo>
                  <a:cubicBezTo>
                    <a:pt x="24" y="333"/>
                    <a:pt x="24" y="333"/>
                    <a:pt x="24" y="333"/>
                  </a:cubicBezTo>
                  <a:cubicBezTo>
                    <a:pt x="23" y="333"/>
                    <a:pt x="22" y="333"/>
                    <a:pt x="21" y="333"/>
                  </a:cubicBezTo>
                  <a:cubicBezTo>
                    <a:pt x="18" y="333"/>
                    <a:pt x="18" y="335"/>
                    <a:pt x="19" y="337"/>
                  </a:cubicBezTo>
                  <a:cubicBezTo>
                    <a:pt x="20" y="338"/>
                    <a:pt x="20" y="339"/>
                    <a:pt x="21" y="339"/>
                  </a:cubicBezTo>
                  <a:cubicBezTo>
                    <a:pt x="22" y="340"/>
                    <a:pt x="22" y="342"/>
                    <a:pt x="23" y="343"/>
                  </a:cubicBezTo>
                  <a:cubicBezTo>
                    <a:pt x="24" y="344"/>
                    <a:pt x="25" y="345"/>
                    <a:pt x="27" y="346"/>
                  </a:cubicBezTo>
                  <a:cubicBezTo>
                    <a:pt x="27" y="346"/>
                    <a:pt x="28" y="347"/>
                    <a:pt x="28" y="347"/>
                  </a:cubicBezTo>
                  <a:cubicBezTo>
                    <a:pt x="30" y="348"/>
                    <a:pt x="31" y="350"/>
                    <a:pt x="33" y="351"/>
                  </a:cubicBezTo>
                  <a:cubicBezTo>
                    <a:pt x="35" y="353"/>
                    <a:pt x="36" y="354"/>
                    <a:pt x="38" y="356"/>
                  </a:cubicBezTo>
                  <a:cubicBezTo>
                    <a:pt x="39" y="357"/>
                    <a:pt x="40" y="358"/>
                    <a:pt x="41" y="360"/>
                  </a:cubicBezTo>
                  <a:cubicBezTo>
                    <a:pt x="42" y="361"/>
                    <a:pt x="42" y="361"/>
                    <a:pt x="42" y="361"/>
                  </a:cubicBezTo>
                  <a:cubicBezTo>
                    <a:pt x="43" y="362"/>
                    <a:pt x="45" y="364"/>
                    <a:pt x="46" y="365"/>
                  </a:cubicBezTo>
                  <a:cubicBezTo>
                    <a:pt x="48" y="367"/>
                    <a:pt x="49" y="369"/>
                    <a:pt x="51" y="370"/>
                  </a:cubicBezTo>
                  <a:cubicBezTo>
                    <a:pt x="53" y="371"/>
                    <a:pt x="54" y="372"/>
                    <a:pt x="56" y="372"/>
                  </a:cubicBezTo>
                  <a:cubicBezTo>
                    <a:pt x="56" y="373"/>
                    <a:pt x="57" y="373"/>
                    <a:pt x="57" y="373"/>
                  </a:cubicBezTo>
                  <a:cubicBezTo>
                    <a:pt x="59" y="373"/>
                    <a:pt x="62" y="374"/>
                    <a:pt x="65" y="374"/>
                  </a:cubicBezTo>
                  <a:cubicBezTo>
                    <a:pt x="65" y="375"/>
                    <a:pt x="65" y="375"/>
                    <a:pt x="65" y="375"/>
                  </a:cubicBezTo>
                  <a:cubicBezTo>
                    <a:pt x="66" y="375"/>
                    <a:pt x="66" y="375"/>
                    <a:pt x="66" y="374"/>
                  </a:cubicBezTo>
                  <a:cubicBezTo>
                    <a:pt x="70" y="373"/>
                    <a:pt x="73" y="371"/>
                    <a:pt x="77" y="370"/>
                  </a:cubicBezTo>
                  <a:cubicBezTo>
                    <a:pt x="78" y="370"/>
                    <a:pt x="78" y="369"/>
                    <a:pt x="79" y="369"/>
                  </a:cubicBezTo>
                  <a:cubicBezTo>
                    <a:pt x="84" y="367"/>
                    <a:pt x="90" y="365"/>
                    <a:pt x="93" y="362"/>
                  </a:cubicBezTo>
                  <a:cubicBezTo>
                    <a:pt x="94" y="360"/>
                    <a:pt x="95" y="357"/>
                    <a:pt x="96" y="354"/>
                  </a:cubicBezTo>
                  <a:cubicBezTo>
                    <a:pt x="97" y="352"/>
                    <a:pt x="97" y="352"/>
                    <a:pt x="97" y="352"/>
                  </a:cubicBezTo>
                  <a:cubicBezTo>
                    <a:pt x="96" y="351"/>
                    <a:pt x="96" y="351"/>
                    <a:pt x="96" y="351"/>
                  </a:cubicBezTo>
                  <a:cubicBezTo>
                    <a:pt x="95" y="349"/>
                    <a:pt x="93" y="349"/>
                    <a:pt x="91" y="348"/>
                  </a:cubicBezTo>
                  <a:cubicBezTo>
                    <a:pt x="91" y="347"/>
                    <a:pt x="91" y="347"/>
                    <a:pt x="90" y="347"/>
                  </a:cubicBezTo>
                  <a:cubicBezTo>
                    <a:pt x="91" y="346"/>
                    <a:pt x="91" y="346"/>
                    <a:pt x="92" y="346"/>
                  </a:cubicBezTo>
                  <a:cubicBezTo>
                    <a:pt x="92" y="346"/>
                    <a:pt x="93" y="346"/>
                    <a:pt x="93" y="346"/>
                  </a:cubicBezTo>
                  <a:cubicBezTo>
                    <a:pt x="93" y="346"/>
                    <a:pt x="93" y="346"/>
                    <a:pt x="94" y="346"/>
                  </a:cubicBezTo>
                  <a:cubicBezTo>
                    <a:pt x="94" y="346"/>
                    <a:pt x="94" y="346"/>
                    <a:pt x="94" y="346"/>
                  </a:cubicBezTo>
                  <a:cubicBezTo>
                    <a:pt x="93" y="345"/>
                    <a:pt x="93" y="345"/>
                    <a:pt x="92" y="344"/>
                  </a:cubicBezTo>
                  <a:cubicBezTo>
                    <a:pt x="94" y="343"/>
                    <a:pt x="99" y="341"/>
                    <a:pt x="98" y="338"/>
                  </a:cubicBezTo>
                  <a:cubicBezTo>
                    <a:pt x="97" y="337"/>
                    <a:pt x="95" y="337"/>
                    <a:pt x="94" y="336"/>
                  </a:cubicBezTo>
                  <a:cubicBezTo>
                    <a:pt x="94" y="336"/>
                    <a:pt x="94" y="336"/>
                    <a:pt x="94" y="336"/>
                  </a:cubicBezTo>
                  <a:cubicBezTo>
                    <a:pt x="94" y="336"/>
                    <a:pt x="94" y="336"/>
                    <a:pt x="94" y="336"/>
                  </a:cubicBezTo>
                  <a:cubicBezTo>
                    <a:pt x="94" y="336"/>
                    <a:pt x="95" y="336"/>
                    <a:pt x="96" y="336"/>
                  </a:cubicBezTo>
                  <a:cubicBezTo>
                    <a:pt x="98" y="336"/>
                    <a:pt x="101" y="336"/>
                    <a:pt x="103" y="336"/>
                  </a:cubicBezTo>
                  <a:cubicBezTo>
                    <a:pt x="106" y="336"/>
                    <a:pt x="109" y="336"/>
                    <a:pt x="111" y="337"/>
                  </a:cubicBezTo>
                  <a:cubicBezTo>
                    <a:pt x="112" y="337"/>
                    <a:pt x="112" y="337"/>
                    <a:pt x="112" y="337"/>
                  </a:cubicBezTo>
                  <a:cubicBezTo>
                    <a:pt x="113" y="337"/>
                    <a:pt x="112" y="337"/>
                    <a:pt x="111" y="337"/>
                  </a:cubicBezTo>
                  <a:cubicBezTo>
                    <a:pt x="111" y="337"/>
                    <a:pt x="110" y="337"/>
                    <a:pt x="110" y="337"/>
                  </a:cubicBezTo>
                  <a:cubicBezTo>
                    <a:pt x="110" y="337"/>
                    <a:pt x="110" y="337"/>
                    <a:pt x="110" y="337"/>
                  </a:cubicBezTo>
                  <a:cubicBezTo>
                    <a:pt x="107" y="338"/>
                    <a:pt x="103" y="339"/>
                    <a:pt x="102" y="341"/>
                  </a:cubicBezTo>
                  <a:cubicBezTo>
                    <a:pt x="102" y="342"/>
                    <a:pt x="102" y="344"/>
                    <a:pt x="102" y="346"/>
                  </a:cubicBezTo>
                  <a:cubicBezTo>
                    <a:pt x="102" y="348"/>
                    <a:pt x="102" y="350"/>
                    <a:pt x="103" y="351"/>
                  </a:cubicBezTo>
                  <a:cubicBezTo>
                    <a:pt x="103" y="351"/>
                    <a:pt x="105" y="351"/>
                    <a:pt x="106" y="351"/>
                  </a:cubicBezTo>
                  <a:cubicBezTo>
                    <a:pt x="106" y="351"/>
                    <a:pt x="106" y="351"/>
                    <a:pt x="106" y="351"/>
                  </a:cubicBezTo>
                  <a:cubicBezTo>
                    <a:pt x="109" y="351"/>
                    <a:pt x="114" y="350"/>
                    <a:pt x="117" y="349"/>
                  </a:cubicBezTo>
                  <a:cubicBezTo>
                    <a:pt x="112" y="352"/>
                    <a:pt x="107" y="352"/>
                    <a:pt x="104" y="358"/>
                  </a:cubicBezTo>
                  <a:cubicBezTo>
                    <a:pt x="105" y="357"/>
                    <a:pt x="106" y="356"/>
                    <a:pt x="107" y="356"/>
                  </a:cubicBezTo>
                  <a:cubicBezTo>
                    <a:pt x="104" y="358"/>
                    <a:pt x="103" y="359"/>
                    <a:pt x="104" y="362"/>
                  </a:cubicBezTo>
                  <a:cubicBezTo>
                    <a:pt x="104" y="363"/>
                    <a:pt x="104" y="364"/>
                    <a:pt x="105" y="365"/>
                  </a:cubicBezTo>
                  <a:cubicBezTo>
                    <a:pt x="105" y="365"/>
                    <a:pt x="105" y="366"/>
                    <a:pt x="105" y="366"/>
                  </a:cubicBezTo>
                  <a:cubicBezTo>
                    <a:pt x="105" y="366"/>
                    <a:pt x="106" y="365"/>
                    <a:pt x="106" y="364"/>
                  </a:cubicBezTo>
                  <a:cubicBezTo>
                    <a:pt x="106" y="365"/>
                    <a:pt x="106" y="365"/>
                    <a:pt x="107" y="365"/>
                  </a:cubicBezTo>
                  <a:cubicBezTo>
                    <a:pt x="107" y="365"/>
                    <a:pt x="107" y="365"/>
                    <a:pt x="107" y="365"/>
                  </a:cubicBezTo>
                  <a:cubicBezTo>
                    <a:pt x="108" y="366"/>
                    <a:pt x="108" y="366"/>
                    <a:pt x="109" y="367"/>
                  </a:cubicBezTo>
                  <a:cubicBezTo>
                    <a:pt x="110" y="368"/>
                    <a:pt x="111" y="368"/>
                    <a:pt x="111" y="369"/>
                  </a:cubicBezTo>
                  <a:cubicBezTo>
                    <a:pt x="111" y="371"/>
                    <a:pt x="111" y="372"/>
                    <a:pt x="110" y="374"/>
                  </a:cubicBezTo>
                  <a:cubicBezTo>
                    <a:pt x="110" y="376"/>
                    <a:pt x="110" y="378"/>
                    <a:pt x="110" y="380"/>
                  </a:cubicBezTo>
                  <a:cubicBezTo>
                    <a:pt x="109" y="382"/>
                    <a:pt x="109" y="384"/>
                    <a:pt x="108" y="386"/>
                  </a:cubicBezTo>
                  <a:cubicBezTo>
                    <a:pt x="108" y="387"/>
                    <a:pt x="107" y="387"/>
                    <a:pt x="107" y="388"/>
                  </a:cubicBezTo>
                  <a:cubicBezTo>
                    <a:pt x="107" y="390"/>
                    <a:pt x="106" y="393"/>
                    <a:pt x="106" y="395"/>
                  </a:cubicBezTo>
                  <a:cubicBezTo>
                    <a:pt x="106" y="396"/>
                    <a:pt x="106" y="396"/>
                    <a:pt x="106" y="397"/>
                  </a:cubicBezTo>
                  <a:cubicBezTo>
                    <a:pt x="106" y="398"/>
                    <a:pt x="106" y="399"/>
                    <a:pt x="107" y="400"/>
                  </a:cubicBezTo>
                  <a:cubicBezTo>
                    <a:pt x="107" y="403"/>
                    <a:pt x="107" y="403"/>
                    <a:pt x="109" y="403"/>
                  </a:cubicBezTo>
                  <a:cubicBezTo>
                    <a:pt x="109" y="404"/>
                    <a:pt x="110" y="404"/>
                    <a:pt x="111" y="404"/>
                  </a:cubicBezTo>
                  <a:cubicBezTo>
                    <a:pt x="108" y="405"/>
                    <a:pt x="106" y="407"/>
                    <a:pt x="110" y="409"/>
                  </a:cubicBezTo>
                  <a:cubicBezTo>
                    <a:pt x="108" y="409"/>
                    <a:pt x="108" y="410"/>
                    <a:pt x="108" y="411"/>
                  </a:cubicBezTo>
                  <a:cubicBezTo>
                    <a:pt x="109" y="411"/>
                    <a:pt x="109" y="411"/>
                    <a:pt x="110" y="411"/>
                  </a:cubicBezTo>
                  <a:cubicBezTo>
                    <a:pt x="110" y="411"/>
                    <a:pt x="110" y="411"/>
                    <a:pt x="110" y="411"/>
                  </a:cubicBezTo>
                  <a:cubicBezTo>
                    <a:pt x="113" y="411"/>
                    <a:pt x="115" y="413"/>
                    <a:pt x="115" y="415"/>
                  </a:cubicBezTo>
                  <a:cubicBezTo>
                    <a:pt x="116" y="416"/>
                    <a:pt x="116" y="416"/>
                    <a:pt x="116" y="417"/>
                  </a:cubicBezTo>
                  <a:cubicBezTo>
                    <a:pt x="116" y="420"/>
                    <a:pt x="114" y="423"/>
                    <a:pt x="110" y="423"/>
                  </a:cubicBezTo>
                  <a:cubicBezTo>
                    <a:pt x="111" y="425"/>
                    <a:pt x="112" y="426"/>
                    <a:pt x="112" y="427"/>
                  </a:cubicBezTo>
                  <a:cubicBezTo>
                    <a:pt x="113" y="428"/>
                    <a:pt x="113" y="429"/>
                    <a:pt x="113" y="429"/>
                  </a:cubicBezTo>
                  <a:cubicBezTo>
                    <a:pt x="113" y="429"/>
                    <a:pt x="112" y="428"/>
                    <a:pt x="112" y="428"/>
                  </a:cubicBezTo>
                  <a:cubicBezTo>
                    <a:pt x="112" y="428"/>
                    <a:pt x="111" y="428"/>
                    <a:pt x="111" y="429"/>
                  </a:cubicBezTo>
                  <a:cubicBezTo>
                    <a:pt x="111" y="430"/>
                    <a:pt x="113" y="432"/>
                    <a:pt x="114" y="433"/>
                  </a:cubicBezTo>
                  <a:cubicBezTo>
                    <a:pt x="114" y="433"/>
                    <a:pt x="114" y="434"/>
                    <a:pt x="114" y="434"/>
                  </a:cubicBezTo>
                  <a:cubicBezTo>
                    <a:pt x="115" y="435"/>
                    <a:pt x="115" y="435"/>
                    <a:pt x="114" y="435"/>
                  </a:cubicBezTo>
                  <a:cubicBezTo>
                    <a:pt x="114" y="435"/>
                    <a:pt x="114" y="435"/>
                    <a:pt x="114" y="435"/>
                  </a:cubicBezTo>
                  <a:cubicBezTo>
                    <a:pt x="113" y="435"/>
                    <a:pt x="113" y="435"/>
                    <a:pt x="112" y="434"/>
                  </a:cubicBezTo>
                  <a:cubicBezTo>
                    <a:pt x="112" y="435"/>
                    <a:pt x="112" y="435"/>
                    <a:pt x="113" y="436"/>
                  </a:cubicBezTo>
                  <a:cubicBezTo>
                    <a:pt x="113" y="439"/>
                    <a:pt x="113" y="441"/>
                    <a:pt x="114" y="444"/>
                  </a:cubicBezTo>
                  <a:cubicBezTo>
                    <a:pt x="115" y="446"/>
                    <a:pt x="115" y="448"/>
                    <a:pt x="116" y="450"/>
                  </a:cubicBezTo>
                  <a:cubicBezTo>
                    <a:pt x="116" y="451"/>
                    <a:pt x="116" y="451"/>
                    <a:pt x="116" y="451"/>
                  </a:cubicBezTo>
                  <a:cubicBezTo>
                    <a:pt x="117" y="453"/>
                    <a:pt x="117" y="456"/>
                    <a:pt x="118" y="458"/>
                  </a:cubicBezTo>
                  <a:cubicBezTo>
                    <a:pt x="118" y="461"/>
                    <a:pt x="119" y="463"/>
                    <a:pt x="119" y="466"/>
                  </a:cubicBezTo>
                  <a:cubicBezTo>
                    <a:pt x="120" y="468"/>
                    <a:pt x="120" y="471"/>
                    <a:pt x="121" y="473"/>
                  </a:cubicBezTo>
                  <a:cubicBezTo>
                    <a:pt x="121" y="473"/>
                    <a:pt x="121" y="473"/>
                    <a:pt x="121" y="473"/>
                  </a:cubicBezTo>
                  <a:cubicBezTo>
                    <a:pt x="121" y="475"/>
                    <a:pt x="122" y="478"/>
                    <a:pt x="122" y="481"/>
                  </a:cubicBezTo>
                  <a:cubicBezTo>
                    <a:pt x="123" y="484"/>
                    <a:pt x="123" y="486"/>
                    <a:pt x="124" y="488"/>
                  </a:cubicBezTo>
                  <a:cubicBezTo>
                    <a:pt x="125" y="489"/>
                    <a:pt x="125" y="489"/>
                    <a:pt x="125" y="489"/>
                  </a:cubicBezTo>
                  <a:cubicBezTo>
                    <a:pt x="126" y="490"/>
                    <a:pt x="127" y="492"/>
                    <a:pt x="128" y="494"/>
                  </a:cubicBezTo>
                  <a:cubicBezTo>
                    <a:pt x="129" y="495"/>
                    <a:pt x="130" y="496"/>
                    <a:pt x="130" y="497"/>
                  </a:cubicBezTo>
                  <a:cubicBezTo>
                    <a:pt x="131" y="497"/>
                    <a:pt x="131" y="498"/>
                    <a:pt x="132" y="499"/>
                  </a:cubicBezTo>
                  <a:cubicBezTo>
                    <a:pt x="133" y="501"/>
                    <a:pt x="135" y="502"/>
                    <a:pt x="136" y="504"/>
                  </a:cubicBezTo>
                  <a:cubicBezTo>
                    <a:pt x="136" y="505"/>
                    <a:pt x="136" y="505"/>
                    <a:pt x="136" y="505"/>
                  </a:cubicBezTo>
                  <a:cubicBezTo>
                    <a:pt x="135" y="504"/>
                    <a:pt x="135" y="504"/>
                    <a:pt x="135" y="504"/>
                  </a:cubicBezTo>
                  <a:cubicBezTo>
                    <a:pt x="134" y="504"/>
                    <a:pt x="133" y="504"/>
                    <a:pt x="132" y="504"/>
                  </a:cubicBezTo>
                  <a:cubicBezTo>
                    <a:pt x="133" y="505"/>
                    <a:pt x="133" y="505"/>
                    <a:pt x="134" y="506"/>
                  </a:cubicBezTo>
                  <a:cubicBezTo>
                    <a:pt x="135" y="508"/>
                    <a:pt x="136" y="510"/>
                    <a:pt x="137" y="512"/>
                  </a:cubicBezTo>
                  <a:cubicBezTo>
                    <a:pt x="137" y="513"/>
                    <a:pt x="137" y="513"/>
                    <a:pt x="137" y="513"/>
                  </a:cubicBezTo>
                  <a:cubicBezTo>
                    <a:pt x="138" y="514"/>
                    <a:pt x="138" y="516"/>
                    <a:pt x="140" y="516"/>
                  </a:cubicBezTo>
                  <a:cubicBezTo>
                    <a:pt x="140" y="516"/>
                    <a:pt x="140" y="516"/>
                    <a:pt x="140" y="516"/>
                  </a:cubicBezTo>
                  <a:cubicBezTo>
                    <a:pt x="140" y="516"/>
                    <a:pt x="140" y="516"/>
                    <a:pt x="141" y="516"/>
                  </a:cubicBezTo>
                  <a:cubicBezTo>
                    <a:pt x="141" y="516"/>
                    <a:pt x="142" y="516"/>
                    <a:pt x="142" y="516"/>
                  </a:cubicBezTo>
                  <a:cubicBezTo>
                    <a:pt x="142" y="516"/>
                    <a:pt x="142" y="516"/>
                    <a:pt x="142" y="516"/>
                  </a:cubicBezTo>
                  <a:cubicBezTo>
                    <a:pt x="142" y="517"/>
                    <a:pt x="142" y="517"/>
                    <a:pt x="141" y="517"/>
                  </a:cubicBezTo>
                  <a:cubicBezTo>
                    <a:pt x="140" y="517"/>
                    <a:pt x="140" y="518"/>
                    <a:pt x="139" y="518"/>
                  </a:cubicBezTo>
                  <a:cubicBezTo>
                    <a:pt x="140" y="518"/>
                    <a:pt x="140" y="518"/>
                    <a:pt x="140" y="518"/>
                  </a:cubicBezTo>
                  <a:cubicBezTo>
                    <a:pt x="142" y="520"/>
                    <a:pt x="143" y="521"/>
                    <a:pt x="145" y="523"/>
                  </a:cubicBezTo>
                  <a:cubicBezTo>
                    <a:pt x="145" y="523"/>
                    <a:pt x="146" y="524"/>
                    <a:pt x="146" y="525"/>
                  </a:cubicBezTo>
                  <a:cubicBezTo>
                    <a:pt x="147" y="526"/>
                    <a:pt x="147" y="527"/>
                    <a:pt x="148" y="529"/>
                  </a:cubicBezTo>
                  <a:cubicBezTo>
                    <a:pt x="148" y="531"/>
                    <a:pt x="149" y="534"/>
                    <a:pt x="149" y="536"/>
                  </a:cubicBezTo>
                  <a:cubicBezTo>
                    <a:pt x="149" y="537"/>
                    <a:pt x="150" y="538"/>
                    <a:pt x="150" y="539"/>
                  </a:cubicBezTo>
                  <a:cubicBezTo>
                    <a:pt x="151" y="540"/>
                    <a:pt x="151" y="542"/>
                    <a:pt x="152" y="543"/>
                  </a:cubicBezTo>
                  <a:cubicBezTo>
                    <a:pt x="152" y="545"/>
                    <a:pt x="153" y="547"/>
                    <a:pt x="154" y="550"/>
                  </a:cubicBezTo>
                  <a:cubicBezTo>
                    <a:pt x="155" y="552"/>
                    <a:pt x="156" y="554"/>
                    <a:pt x="156" y="557"/>
                  </a:cubicBezTo>
                  <a:cubicBezTo>
                    <a:pt x="157" y="558"/>
                    <a:pt x="157" y="559"/>
                    <a:pt x="158" y="560"/>
                  </a:cubicBezTo>
                  <a:cubicBezTo>
                    <a:pt x="158" y="562"/>
                    <a:pt x="158" y="563"/>
                    <a:pt x="157" y="565"/>
                  </a:cubicBezTo>
                  <a:cubicBezTo>
                    <a:pt x="157" y="566"/>
                    <a:pt x="157" y="567"/>
                    <a:pt x="157" y="567"/>
                  </a:cubicBezTo>
                  <a:cubicBezTo>
                    <a:pt x="158" y="569"/>
                    <a:pt x="159" y="570"/>
                    <a:pt x="159" y="572"/>
                  </a:cubicBezTo>
                  <a:cubicBezTo>
                    <a:pt x="160" y="573"/>
                    <a:pt x="161" y="575"/>
                    <a:pt x="162" y="576"/>
                  </a:cubicBezTo>
                  <a:cubicBezTo>
                    <a:pt x="162" y="577"/>
                    <a:pt x="162" y="577"/>
                    <a:pt x="163" y="578"/>
                  </a:cubicBezTo>
                  <a:cubicBezTo>
                    <a:pt x="164" y="580"/>
                    <a:pt x="165" y="581"/>
                    <a:pt x="166" y="583"/>
                  </a:cubicBezTo>
                  <a:cubicBezTo>
                    <a:pt x="167" y="585"/>
                    <a:pt x="169" y="587"/>
                    <a:pt x="170" y="589"/>
                  </a:cubicBezTo>
                  <a:cubicBezTo>
                    <a:pt x="171" y="590"/>
                    <a:pt x="172" y="592"/>
                    <a:pt x="174" y="594"/>
                  </a:cubicBezTo>
                  <a:cubicBezTo>
                    <a:pt x="174" y="594"/>
                    <a:pt x="174" y="594"/>
                    <a:pt x="174" y="594"/>
                  </a:cubicBezTo>
                  <a:cubicBezTo>
                    <a:pt x="175" y="596"/>
                    <a:pt x="176" y="598"/>
                    <a:pt x="177" y="600"/>
                  </a:cubicBezTo>
                  <a:cubicBezTo>
                    <a:pt x="178" y="602"/>
                    <a:pt x="179" y="604"/>
                    <a:pt x="180" y="606"/>
                  </a:cubicBezTo>
                  <a:cubicBezTo>
                    <a:pt x="180" y="608"/>
                    <a:pt x="181" y="609"/>
                    <a:pt x="181" y="610"/>
                  </a:cubicBezTo>
                  <a:cubicBezTo>
                    <a:pt x="182" y="611"/>
                    <a:pt x="182" y="612"/>
                    <a:pt x="182" y="613"/>
                  </a:cubicBezTo>
                  <a:cubicBezTo>
                    <a:pt x="183" y="615"/>
                    <a:pt x="184" y="617"/>
                    <a:pt x="185" y="620"/>
                  </a:cubicBezTo>
                  <a:cubicBezTo>
                    <a:pt x="185" y="622"/>
                    <a:pt x="186" y="624"/>
                    <a:pt x="187" y="626"/>
                  </a:cubicBezTo>
                  <a:cubicBezTo>
                    <a:pt x="188" y="626"/>
                    <a:pt x="188" y="627"/>
                    <a:pt x="188" y="628"/>
                  </a:cubicBezTo>
                  <a:cubicBezTo>
                    <a:pt x="189" y="628"/>
                    <a:pt x="190" y="630"/>
                    <a:pt x="191" y="632"/>
                  </a:cubicBezTo>
                  <a:cubicBezTo>
                    <a:pt x="192" y="634"/>
                    <a:pt x="193" y="636"/>
                    <a:pt x="194" y="638"/>
                  </a:cubicBezTo>
                  <a:cubicBezTo>
                    <a:pt x="195" y="641"/>
                    <a:pt x="196" y="644"/>
                    <a:pt x="194" y="645"/>
                  </a:cubicBezTo>
                  <a:cubicBezTo>
                    <a:pt x="193" y="643"/>
                    <a:pt x="192" y="641"/>
                    <a:pt x="192" y="640"/>
                  </a:cubicBezTo>
                  <a:cubicBezTo>
                    <a:pt x="191" y="638"/>
                    <a:pt x="191" y="637"/>
                    <a:pt x="190" y="636"/>
                  </a:cubicBezTo>
                  <a:cubicBezTo>
                    <a:pt x="191" y="637"/>
                    <a:pt x="191" y="639"/>
                    <a:pt x="191" y="640"/>
                  </a:cubicBezTo>
                  <a:cubicBezTo>
                    <a:pt x="192" y="643"/>
                    <a:pt x="193" y="645"/>
                    <a:pt x="193" y="647"/>
                  </a:cubicBezTo>
                  <a:cubicBezTo>
                    <a:pt x="194" y="648"/>
                    <a:pt x="194" y="649"/>
                    <a:pt x="194" y="650"/>
                  </a:cubicBezTo>
                  <a:cubicBezTo>
                    <a:pt x="195" y="651"/>
                    <a:pt x="195" y="652"/>
                    <a:pt x="196" y="653"/>
                  </a:cubicBezTo>
                  <a:cubicBezTo>
                    <a:pt x="197" y="654"/>
                    <a:pt x="198" y="654"/>
                    <a:pt x="198" y="655"/>
                  </a:cubicBezTo>
                  <a:cubicBezTo>
                    <a:pt x="199" y="655"/>
                    <a:pt x="200" y="656"/>
                    <a:pt x="200" y="657"/>
                  </a:cubicBezTo>
                  <a:cubicBezTo>
                    <a:pt x="198" y="659"/>
                    <a:pt x="198" y="659"/>
                    <a:pt x="198" y="659"/>
                  </a:cubicBezTo>
                  <a:cubicBezTo>
                    <a:pt x="199" y="660"/>
                    <a:pt x="199" y="660"/>
                    <a:pt x="199" y="660"/>
                  </a:cubicBezTo>
                  <a:cubicBezTo>
                    <a:pt x="200" y="661"/>
                    <a:pt x="202" y="663"/>
                    <a:pt x="203" y="665"/>
                  </a:cubicBezTo>
                  <a:cubicBezTo>
                    <a:pt x="205" y="666"/>
                    <a:pt x="206" y="668"/>
                    <a:pt x="207" y="670"/>
                  </a:cubicBezTo>
                  <a:cubicBezTo>
                    <a:pt x="208" y="671"/>
                    <a:pt x="209" y="672"/>
                    <a:pt x="209" y="673"/>
                  </a:cubicBezTo>
                  <a:cubicBezTo>
                    <a:pt x="210" y="673"/>
                    <a:pt x="211" y="674"/>
                    <a:pt x="212" y="675"/>
                  </a:cubicBezTo>
                  <a:cubicBezTo>
                    <a:pt x="214" y="676"/>
                    <a:pt x="216" y="677"/>
                    <a:pt x="218" y="678"/>
                  </a:cubicBezTo>
                  <a:cubicBezTo>
                    <a:pt x="219" y="678"/>
                    <a:pt x="220" y="678"/>
                    <a:pt x="221" y="679"/>
                  </a:cubicBezTo>
                  <a:cubicBezTo>
                    <a:pt x="221" y="676"/>
                    <a:pt x="226" y="674"/>
                    <a:pt x="229" y="673"/>
                  </a:cubicBezTo>
                  <a:cubicBezTo>
                    <a:pt x="232" y="671"/>
                    <a:pt x="234" y="670"/>
                    <a:pt x="234" y="666"/>
                  </a:cubicBezTo>
                  <a:cubicBezTo>
                    <a:pt x="235" y="664"/>
                    <a:pt x="235" y="662"/>
                    <a:pt x="236" y="660"/>
                  </a:cubicBezTo>
                  <a:cubicBezTo>
                    <a:pt x="237" y="657"/>
                    <a:pt x="238" y="655"/>
                    <a:pt x="241" y="654"/>
                  </a:cubicBezTo>
                  <a:cubicBezTo>
                    <a:pt x="241" y="654"/>
                    <a:pt x="241" y="654"/>
                    <a:pt x="241" y="654"/>
                  </a:cubicBezTo>
                  <a:cubicBezTo>
                    <a:pt x="244" y="653"/>
                    <a:pt x="248" y="651"/>
                    <a:pt x="251" y="651"/>
                  </a:cubicBezTo>
                  <a:cubicBezTo>
                    <a:pt x="251" y="651"/>
                    <a:pt x="252" y="651"/>
                    <a:pt x="252" y="651"/>
                  </a:cubicBezTo>
                  <a:cubicBezTo>
                    <a:pt x="253" y="651"/>
                    <a:pt x="253" y="651"/>
                    <a:pt x="253" y="651"/>
                  </a:cubicBezTo>
                  <a:cubicBezTo>
                    <a:pt x="256" y="651"/>
                    <a:pt x="259" y="652"/>
                    <a:pt x="261" y="652"/>
                  </a:cubicBezTo>
                  <a:cubicBezTo>
                    <a:pt x="263" y="653"/>
                    <a:pt x="264" y="653"/>
                    <a:pt x="265" y="653"/>
                  </a:cubicBezTo>
                  <a:cubicBezTo>
                    <a:pt x="264" y="652"/>
                    <a:pt x="264" y="651"/>
                    <a:pt x="263" y="651"/>
                  </a:cubicBezTo>
                  <a:cubicBezTo>
                    <a:pt x="262" y="650"/>
                    <a:pt x="261" y="650"/>
                    <a:pt x="260" y="650"/>
                  </a:cubicBezTo>
                  <a:cubicBezTo>
                    <a:pt x="259" y="650"/>
                    <a:pt x="259" y="650"/>
                    <a:pt x="259" y="650"/>
                  </a:cubicBezTo>
                  <a:cubicBezTo>
                    <a:pt x="259" y="650"/>
                    <a:pt x="259" y="650"/>
                    <a:pt x="259" y="650"/>
                  </a:cubicBezTo>
                  <a:cubicBezTo>
                    <a:pt x="259" y="650"/>
                    <a:pt x="259" y="650"/>
                    <a:pt x="258" y="650"/>
                  </a:cubicBezTo>
                  <a:cubicBezTo>
                    <a:pt x="258" y="650"/>
                    <a:pt x="257" y="650"/>
                    <a:pt x="256" y="650"/>
                  </a:cubicBezTo>
                  <a:cubicBezTo>
                    <a:pt x="256" y="649"/>
                    <a:pt x="256" y="649"/>
                    <a:pt x="255" y="649"/>
                  </a:cubicBezTo>
                  <a:cubicBezTo>
                    <a:pt x="254" y="648"/>
                    <a:pt x="253" y="646"/>
                    <a:pt x="253" y="645"/>
                  </a:cubicBezTo>
                  <a:cubicBezTo>
                    <a:pt x="254" y="643"/>
                    <a:pt x="255" y="641"/>
                    <a:pt x="256" y="639"/>
                  </a:cubicBezTo>
                  <a:cubicBezTo>
                    <a:pt x="257" y="638"/>
                    <a:pt x="258" y="637"/>
                    <a:pt x="258" y="636"/>
                  </a:cubicBezTo>
                  <a:cubicBezTo>
                    <a:pt x="259" y="634"/>
                    <a:pt x="260" y="629"/>
                    <a:pt x="261" y="628"/>
                  </a:cubicBezTo>
                  <a:cubicBezTo>
                    <a:pt x="262" y="628"/>
                    <a:pt x="266" y="625"/>
                    <a:pt x="268" y="625"/>
                  </a:cubicBezTo>
                  <a:cubicBezTo>
                    <a:pt x="268" y="625"/>
                    <a:pt x="268" y="625"/>
                    <a:pt x="268" y="625"/>
                  </a:cubicBezTo>
                  <a:cubicBezTo>
                    <a:pt x="268" y="625"/>
                    <a:pt x="269" y="625"/>
                    <a:pt x="269" y="626"/>
                  </a:cubicBezTo>
                  <a:cubicBezTo>
                    <a:pt x="270" y="626"/>
                    <a:pt x="270" y="626"/>
                    <a:pt x="270" y="626"/>
                  </a:cubicBezTo>
                  <a:cubicBezTo>
                    <a:pt x="270" y="626"/>
                    <a:pt x="270" y="626"/>
                    <a:pt x="270" y="626"/>
                  </a:cubicBezTo>
                  <a:cubicBezTo>
                    <a:pt x="271" y="626"/>
                    <a:pt x="271" y="626"/>
                    <a:pt x="272" y="626"/>
                  </a:cubicBezTo>
                  <a:cubicBezTo>
                    <a:pt x="273" y="626"/>
                    <a:pt x="273" y="626"/>
                    <a:pt x="274" y="626"/>
                  </a:cubicBezTo>
                  <a:cubicBezTo>
                    <a:pt x="274" y="626"/>
                    <a:pt x="275" y="626"/>
                    <a:pt x="275" y="626"/>
                  </a:cubicBezTo>
                  <a:cubicBezTo>
                    <a:pt x="275" y="624"/>
                    <a:pt x="275" y="622"/>
                    <a:pt x="275" y="620"/>
                  </a:cubicBezTo>
                  <a:cubicBezTo>
                    <a:pt x="275" y="617"/>
                    <a:pt x="275" y="614"/>
                    <a:pt x="275" y="611"/>
                  </a:cubicBezTo>
                  <a:cubicBezTo>
                    <a:pt x="274" y="609"/>
                    <a:pt x="274" y="607"/>
                    <a:pt x="273" y="605"/>
                  </a:cubicBezTo>
                  <a:cubicBezTo>
                    <a:pt x="272" y="604"/>
                    <a:pt x="272" y="603"/>
                    <a:pt x="271" y="602"/>
                  </a:cubicBezTo>
                  <a:cubicBezTo>
                    <a:pt x="274" y="600"/>
                    <a:pt x="273" y="600"/>
                    <a:pt x="273" y="597"/>
                  </a:cubicBezTo>
                  <a:cubicBezTo>
                    <a:pt x="273" y="596"/>
                    <a:pt x="273" y="596"/>
                    <a:pt x="273" y="595"/>
                  </a:cubicBezTo>
                  <a:cubicBezTo>
                    <a:pt x="273" y="593"/>
                    <a:pt x="273" y="590"/>
                    <a:pt x="274" y="588"/>
                  </a:cubicBezTo>
                  <a:cubicBezTo>
                    <a:pt x="275" y="587"/>
                    <a:pt x="275" y="586"/>
                    <a:pt x="276" y="585"/>
                  </a:cubicBezTo>
                  <a:cubicBezTo>
                    <a:pt x="276" y="584"/>
                    <a:pt x="276" y="583"/>
                    <a:pt x="277" y="582"/>
                  </a:cubicBezTo>
                  <a:cubicBezTo>
                    <a:pt x="279" y="578"/>
                    <a:pt x="282" y="574"/>
                    <a:pt x="283" y="570"/>
                  </a:cubicBezTo>
                  <a:cubicBezTo>
                    <a:pt x="284" y="568"/>
                    <a:pt x="284" y="567"/>
                    <a:pt x="284" y="565"/>
                  </a:cubicBezTo>
                  <a:cubicBezTo>
                    <a:pt x="284" y="564"/>
                    <a:pt x="284" y="563"/>
                    <a:pt x="284" y="561"/>
                  </a:cubicBezTo>
                  <a:cubicBezTo>
                    <a:pt x="284" y="560"/>
                    <a:pt x="285" y="558"/>
                    <a:pt x="285" y="556"/>
                  </a:cubicBezTo>
                  <a:cubicBezTo>
                    <a:pt x="285" y="553"/>
                    <a:pt x="285" y="550"/>
                    <a:pt x="283" y="550"/>
                  </a:cubicBezTo>
                  <a:cubicBezTo>
                    <a:pt x="283" y="550"/>
                    <a:pt x="282" y="550"/>
                    <a:pt x="282" y="549"/>
                  </a:cubicBezTo>
                  <a:cubicBezTo>
                    <a:pt x="280" y="548"/>
                    <a:pt x="279" y="546"/>
                    <a:pt x="282" y="544"/>
                  </a:cubicBezTo>
                  <a:cubicBezTo>
                    <a:pt x="283" y="545"/>
                    <a:pt x="283" y="546"/>
                    <a:pt x="284" y="547"/>
                  </a:cubicBezTo>
                  <a:cubicBezTo>
                    <a:pt x="284" y="548"/>
                    <a:pt x="285" y="549"/>
                    <a:pt x="285" y="549"/>
                  </a:cubicBezTo>
                  <a:cubicBezTo>
                    <a:pt x="285" y="548"/>
                    <a:pt x="285" y="548"/>
                    <a:pt x="285" y="547"/>
                  </a:cubicBezTo>
                  <a:cubicBezTo>
                    <a:pt x="284" y="545"/>
                    <a:pt x="283" y="542"/>
                    <a:pt x="282" y="540"/>
                  </a:cubicBezTo>
                  <a:cubicBezTo>
                    <a:pt x="281" y="539"/>
                    <a:pt x="281" y="537"/>
                    <a:pt x="280" y="536"/>
                  </a:cubicBezTo>
                  <a:cubicBezTo>
                    <a:pt x="280" y="535"/>
                    <a:pt x="280" y="534"/>
                    <a:pt x="280" y="533"/>
                  </a:cubicBezTo>
                  <a:cubicBezTo>
                    <a:pt x="280" y="533"/>
                    <a:pt x="280" y="532"/>
                    <a:pt x="280" y="532"/>
                  </a:cubicBezTo>
                  <a:cubicBezTo>
                    <a:pt x="280" y="529"/>
                    <a:pt x="280" y="527"/>
                    <a:pt x="280" y="524"/>
                  </a:cubicBezTo>
                  <a:cubicBezTo>
                    <a:pt x="280" y="521"/>
                    <a:pt x="279" y="518"/>
                    <a:pt x="280" y="515"/>
                  </a:cubicBezTo>
                  <a:cubicBezTo>
                    <a:pt x="280" y="512"/>
                    <a:pt x="280" y="509"/>
                    <a:pt x="281" y="507"/>
                  </a:cubicBezTo>
                  <a:cubicBezTo>
                    <a:pt x="281" y="506"/>
                    <a:pt x="282" y="505"/>
                    <a:pt x="282" y="504"/>
                  </a:cubicBezTo>
                  <a:cubicBezTo>
                    <a:pt x="283" y="501"/>
                    <a:pt x="284" y="499"/>
                    <a:pt x="285" y="497"/>
                  </a:cubicBezTo>
                  <a:cubicBezTo>
                    <a:pt x="286" y="496"/>
                    <a:pt x="286" y="495"/>
                    <a:pt x="287" y="495"/>
                  </a:cubicBezTo>
                  <a:cubicBezTo>
                    <a:pt x="289" y="493"/>
                    <a:pt x="292" y="492"/>
                    <a:pt x="294" y="492"/>
                  </a:cubicBezTo>
                  <a:cubicBezTo>
                    <a:pt x="294" y="492"/>
                    <a:pt x="294" y="492"/>
                    <a:pt x="294" y="492"/>
                  </a:cubicBezTo>
                  <a:cubicBezTo>
                    <a:pt x="296" y="492"/>
                    <a:pt x="297" y="493"/>
                    <a:pt x="298" y="496"/>
                  </a:cubicBezTo>
                  <a:cubicBezTo>
                    <a:pt x="298" y="493"/>
                    <a:pt x="300" y="492"/>
                    <a:pt x="299" y="489"/>
                  </a:cubicBezTo>
                  <a:cubicBezTo>
                    <a:pt x="300" y="490"/>
                    <a:pt x="301" y="492"/>
                    <a:pt x="302" y="493"/>
                  </a:cubicBezTo>
                  <a:cubicBezTo>
                    <a:pt x="302" y="494"/>
                    <a:pt x="302" y="494"/>
                    <a:pt x="302" y="494"/>
                  </a:cubicBezTo>
                  <a:cubicBezTo>
                    <a:pt x="301" y="493"/>
                    <a:pt x="303" y="492"/>
                    <a:pt x="304" y="491"/>
                  </a:cubicBezTo>
                  <a:cubicBezTo>
                    <a:pt x="305" y="490"/>
                    <a:pt x="305" y="490"/>
                    <a:pt x="305" y="490"/>
                  </a:cubicBezTo>
                  <a:cubicBezTo>
                    <a:pt x="306" y="489"/>
                    <a:pt x="306" y="488"/>
                    <a:pt x="306" y="486"/>
                  </a:cubicBezTo>
                  <a:cubicBezTo>
                    <a:pt x="308" y="483"/>
                    <a:pt x="309" y="481"/>
                    <a:pt x="312" y="481"/>
                  </a:cubicBezTo>
                  <a:cubicBezTo>
                    <a:pt x="312" y="481"/>
                    <a:pt x="312" y="481"/>
                    <a:pt x="312" y="481"/>
                  </a:cubicBezTo>
                  <a:cubicBezTo>
                    <a:pt x="313" y="481"/>
                    <a:pt x="313" y="481"/>
                    <a:pt x="314" y="481"/>
                  </a:cubicBezTo>
                  <a:cubicBezTo>
                    <a:pt x="315" y="481"/>
                    <a:pt x="316" y="481"/>
                    <a:pt x="317" y="481"/>
                  </a:cubicBezTo>
                  <a:cubicBezTo>
                    <a:pt x="318" y="481"/>
                    <a:pt x="318" y="481"/>
                    <a:pt x="318" y="481"/>
                  </a:cubicBezTo>
                  <a:cubicBezTo>
                    <a:pt x="321" y="481"/>
                    <a:pt x="323" y="480"/>
                    <a:pt x="325" y="479"/>
                  </a:cubicBezTo>
                  <a:cubicBezTo>
                    <a:pt x="326" y="478"/>
                    <a:pt x="327" y="478"/>
                    <a:pt x="328" y="478"/>
                  </a:cubicBezTo>
                  <a:cubicBezTo>
                    <a:pt x="333" y="475"/>
                    <a:pt x="333" y="475"/>
                    <a:pt x="334" y="470"/>
                  </a:cubicBezTo>
                  <a:cubicBezTo>
                    <a:pt x="334" y="470"/>
                    <a:pt x="334" y="470"/>
                    <a:pt x="334" y="470"/>
                  </a:cubicBezTo>
                  <a:cubicBezTo>
                    <a:pt x="334" y="469"/>
                    <a:pt x="331" y="468"/>
                    <a:pt x="332" y="466"/>
                  </a:cubicBezTo>
                  <a:cubicBezTo>
                    <a:pt x="332" y="465"/>
                    <a:pt x="332" y="465"/>
                    <a:pt x="333" y="464"/>
                  </a:cubicBezTo>
                  <a:cubicBezTo>
                    <a:pt x="337" y="457"/>
                    <a:pt x="346" y="456"/>
                    <a:pt x="353" y="452"/>
                  </a:cubicBezTo>
                  <a:cubicBezTo>
                    <a:pt x="354" y="451"/>
                    <a:pt x="355" y="450"/>
                    <a:pt x="356" y="448"/>
                  </a:cubicBezTo>
                  <a:cubicBezTo>
                    <a:pt x="357" y="447"/>
                    <a:pt x="358" y="446"/>
                    <a:pt x="359" y="445"/>
                  </a:cubicBezTo>
                  <a:cubicBezTo>
                    <a:pt x="360" y="444"/>
                    <a:pt x="362" y="442"/>
                    <a:pt x="364" y="441"/>
                  </a:cubicBezTo>
                  <a:cubicBezTo>
                    <a:pt x="366" y="439"/>
                    <a:pt x="368" y="437"/>
                    <a:pt x="371" y="436"/>
                  </a:cubicBezTo>
                  <a:cubicBezTo>
                    <a:pt x="375" y="434"/>
                    <a:pt x="377" y="431"/>
                    <a:pt x="380" y="428"/>
                  </a:cubicBezTo>
                  <a:cubicBezTo>
                    <a:pt x="380" y="428"/>
                    <a:pt x="380" y="428"/>
                    <a:pt x="379" y="429"/>
                  </a:cubicBezTo>
                  <a:cubicBezTo>
                    <a:pt x="381" y="427"/>
                    <a:pt x="383" y="425"/>
                    <a:pt x="384" y="423"/>
                  </a:cubicBezTo>
                  <a:cubicBezTo>
                    <a:pt x="386" y="420"/>
                    <a:pt x="388" y="416"/>
                    <a:pt x="391" y="414"/>
                  </a:cubicBezTo>
                  <a:cubicBezTo>
                    <a:pt x="397" y="409"/>
                    <a:pt x="403" y="405"/>
                    <a:pt x="409" y="400"/>
                  </a:cubicBezTo>
                  <a:cubicBezTo>
                    <a:pt x="408" y="401"/>
                    <a:pt x="406" y="401"/>
                    <a:pt x="405" y="402"/>
                  </a:cubicBezTo>
                  <a:cubicBezTo>
                    <a:pt x="406" y="401"/>
                    <a:pt x="406" y="400"/>
                    <a:pt x="405" y="400"/>
                  </a:cubicBezTo>
                  <a:cubicBezTo>
                    <a:pt x="405" y="400"/>
                    <a:pt x="405" y="400"/>
                    <a:pt x="404" y="400"/>
                  </a:cubicBezTo>
                  <a:cubicBezTo>
                    <a:pt x="404" y="401"/>
                    <a:pt x="404" y="401"/>
                    <a:pt x="404" y="401"/>
                  </a:cubicBezTo>
                  <a:cubicBezTo>
                    <a:pt x="402" y="402"/>
                    <a:pt x="402" y="402"/>
                    <a:pt x="402" y="402"/>
                  </a:cubicBezTo>
                  <a:cubicBezTo>
                    <a:pt x="401" y="403"/>
                    <a:pt x="401" y="404"/>
                    <a:pt x="401" y="404"/>
                  </a:cubicBezTo>
                  <a:cubicBezTo>
                    <a:pt x="401" y="404"/>
                    <a:pt x="401" y="404"/>
                    <a:pt x="401" y="404"/>
                  </a:cubicBezTo>
                  <a:cubicBezTo>
                    <a:pt x="401" y="400"/>
                    <a:pt x="402" y="398"/>
                    <a:pt x="405" y="397"/>
                  </a:cubicBezTo>
                  <a:cubicBezTo>
                    <a:pt x="406" y="396"/>
                    <a:pt x="407" y="396"/>
                    <a:pt x="408" y="396"/>
                  </a:cubicBezTo>
                  <a:cubicBezTo>
                    <a:pt x="408" y="396"/>
                    <a:pt x="409" y="396"/>
                    <a:pt x="409" y="396"/>
                  </a:cubicBezTo>
                  <a:cubicBezTo>
                    <a:pt x="409" y="396"/>
                    <a:pt x="409" y="396"/>
                    <a:pt x="410" y="396"/>
                  </a:cubicBezTo>
                  <a:cubicBezTo>
                    <a:pt x="411" y="398"/>
                    <a:pt x="408" y="399"/>
                    <a:pt x="407" y="400"/>
                  </a:cubicBezTo>
                  <a:cubicBezTo>
                    <a:pt x="409" y="400"/>
                    <a:pt x="412" y="399"/>
                    <a:pt x="414" y="398"/>
                  </a:cubicBezTo>
                  <a:cubicBezTo>
                    <a:pt x="415" y="398"/>
                    <a:pt x="415" y="398"/>
                    <a:pt x="416" y="398"/>
                  </a:cubicBezTo>
                  <a:cubicBezTo>
                    <a:pt x="420" y="396"/>
                    <a:pt x="425" y="395"/>
                    <a:pt x="428" y="393"/>
                  </a:cubicBezTo>
                  <a:cubicBezTo>
                    <a:pt x="427" y="393"/>
                    <a:pt x="424" y="391"/>
                    <a:pt x="424" y="390"/>
                  </a:cubicBezTo>
                  <a:cubicBezTo>
                    <a:pt x="426" y="391"/>
                    <a:pt x="427" y="391"/>
                    <a:pt x="428" y="391"/>
                  </a:cubicBezTo>
                  <a:cubicBezTo>
                    <a:pt x="430" y="391"/>
                    <a:pt x="431" y="389"/>
                    <a:pt x="434" y="386"/>
                  </a:cubicBezTo>
                  <a:cubicBezTo>
                    <a:pt x="437" y="383"/>
                    <a:pt x="440" y="379"/>
                    <a:pt x="444" y="376"/>
                  </a:cubicBezTo>
                  <a:cubicBezTo>
                    <a:pt x="443" y="376"/>
                    <a:pt x="442" y="374"/>
                    <a:pt x="442" y="372"/>
                  </a:cubicBezTo>
                  <a:cubicBezTo>
                    <a:pt x="441" y="369"/>
                    <a:pt x="441" y="366"/>
                    <a:pt x="441" y="364"/>
                  </a:cubicBezTo>
                  <a:cubicBezTo>
                    <a:pt x="441" y="362"/>
                    <a:pt x="441" y="361"/>
                    <a:pt x="441" y="360"/>
                  </a:cubicBezTo>
                  <a:cubicBezTo>
                    <a:pt x="443" y="356"/>
                    <a:pt x="447" y="355"/>
                    <a:pt x="451" y="354"/>
                  </a:cubicBezTo>
                  <a:cubicBezTo>
                    <a:pt x="452" y="353"/>
                    <a:pt x="454" y="353"/>
                    <a:pt x="455" y="352"/>
                  </a:cubicBezTo>
                  <a:cubicBezTo>
                    <a:pt x="460" y="351"/>
                    <a:pt x="463" y="350"/>
                    <a:pt x="466" y="346"/>
                  </a:cubicBezTo>
                  <a:cubicBezTo>
                    <a:pt x="467" y="345"/>
                    <a:pt x="472" y="341"/>
                    <a:pt x="470" y="339"/>
                  </a:cubicBezTo>
                  <a:cubicBezTo>
                    <a:pt x="469" y="338"/>
                    <a:pt x="467" y="339"/>
                    <a:pt x="467" y="338"/>
                  </a:cubicBezTo>
                  <a:cubicBezTo>
                    <a:pt x="466" y="338"/>
                    <a:pt x="466" y="338"/>
                    <a:pt x="466" y="338"/>
                  </a:cubicBezTo>
                  <a:cubicBezTo>
                    <a:pt x="465" y="337"/>
                    <a:pt x="465" y="334"/>
                    <a:pt x="465" y="333"/>
                  </a:cubicBezTo>
                  <a:cubicBezTo>
                    <a:pt x="466" y="334"/>
                    <a:pt x="466" y="336"/>
                    <a:pt x="467" y="337"/>
                  </a:cubicBezTo>
                  <a:cubicBezTo>
                    <a:pt x="467" y="337"/>
                    <a:pt x="468" y="338"/>
                    <a:pt x="469" y="338"/>
                  </a:cubicBezTo>
                  <a:cubicBezTo>
                    <a:pt x="471" y="339"/>
                    <a:pt x="471" y="340"/>
                    <a:pt x="472" y="342"/>
                  </a:cubicBezTo>
                  <a:cubicBezTo>
                    <a:pt x="472" y="345"/>
                    <a:pt x="470" y="349"/>
                    <a:pt x="471" y="351"/>
                  </a:cubicBezTo>
                  <a:cubicBezTo>
                    <a:pt x="471" y="352"/>
                    <a:pt x="471" y="352"/>
                    <a:pt x="472" y="353"/>
                  </a:cubicBezTo>
                  <a:cubicBezTo>
                    <a:pt x="472" y="353"/>
                    <a:pt x="473" y="354"/>
                    <a:pt x="473" y="354"/>
                  </a:cubicBezTo>
                  <a:cubicBezTo>
                    <a:pt x="473" y="354"/>
                    <a:pt x="474" y="354"/>
                    <a:pt x="473" y="353"/>
                  </a:cubicBezTo>
                  <a:cubicBezTo>
                    <a:pt x="474" y="353"/>
                    <a:pt x="474" y="353"/>
                    <a:pt x="474" y="353"/>
                  </a:cubicBezTo>
                  <a:cubicBezTo>
                    <a:pt x="479" y="353"/>
                    <a:pt x="477" y="349"/>
                    <a:pt x="479" y="345"/>
                  </a:cubicBezTo>
                  <a:cubicBezTo>
                    <a:pt x="479" y="346"/>
                    <a:pt x="478" y="350"/>
                    <a:pt x="479" y="353"/>
                  </a:cubicBezTo>
                  <a:cubicBezTo>
                    <a:pt x="479" y="354"/>
                    <a:pt x="479" y="355"/>
                    <a:pt x="479" y="355"/>
                  </a:cubicBezTo>
                  <a:cubicBezTo>
                    <a:pt x="479" y="355"/>
                    <a:pt x="479" y="355"/>
                    <a:pt x="479" y="355"/>
                  </a:cubicBezTo>
                  <a:cubicBezTo>
                    <a:pt x="480" y="355"/>
                    <a:pt x="481" y="351"/>
                    <a:pt x="481" y="350"/>
                  </a:cubicBezTo>
                  <a:cubicBezTo>
                    <a:pt x="481" y="350"/>
                    <a:pt x="481" y="350"/>
                    <a:pt x="481" y="350"/>
                  </a:cubicBezTo>
                  <a:cubicBezTo>
                    <a:pt x="481" y="348"/>
                    <a:pt x="480" y="349"/>
                    <a:pt x="480" y="347"/>
                  </a:cubicBezTo>
                  <a:cubicBezTo>
                    <a:pt x="480" y="347"/>
                    <a:pt x="480" y="346"/>
                    <a:pt x="480" y="345"/>
                  </a:cubicBezTo>
                  <a:cubicBezTo>
                    <a:pt x="481" y="344"/>
                    <a:pt x="481" y="342"/>
                    <a:pt x="481" y="341"/>
                  </a:cubicBezTo>
                  <a:cubicBezTo>
                    <a:pt x="482" y="340"/>
                    <a:pt x="482" y="339"/>
                    <a:pt x="483" y="338"/>
                  </a:cubicBezTo>
                  <a:cubicBezTo>
                    <a:pt x="482" y="339"/>
                    <a:pt x="482" y="340"/>
                    <a:pt x="482" y="341"/>
                  </a:cubicBezTo>
                  <a:cubicBezTo>
                    <a:pt x="482" y="342"/>
                    <a:pt x="482" y="343"/>
                    <a:pt x="483" y="345"/>
                  </a:cubicBezTo>
                  <a:cubicBezTo>
                    <a:pt x="483" y="344"/>
                    <a:pt x="484" y="343"/>
                    <a:pt x="484" y="342"/>
                  </a:cubicBezTo>
                  <a:cubicBezTo>
                    <a:pt x="485" y="343"/>
                    <a:pt x="483" y="345"/>
                    <a:pt x="483" y="347"/>
                  </a:cubicBezTo>
                  <a:cubicBezTo>
                    <a:pt x="483" y="347"/>
                    <a:pt x="483" y="348"/>
                    <a:pt x="483" y="348"/>
                  </a:cubicBezTo>
                  <a:cubicBezTo>
                    <a:pt x="483" y="349"/>
                    <a:pt x="483" y="350"/>
                    <a:pt x="483" y="351"/>
                  </a:cubicBezTo>
                  <a:cubicBezTo>
                    <a:pt x="483" y="352"/>
                    <a:pt x="485" y="354"/>
                    <a:pt x="485" y="354"/>
                  </a:cubicBezTo>
                  <a:cubicBezTo>
                    <a:pt x="485" y="354"/>
                    <a:pt x="485" y="353"/>
                    <a:pt x="485" y="353"/>
                  </a:cubicBezTo>
                  <a:cubicBezTo>
                    <a:pt x="485" y="353"/>
                    <a:pt x="485" y="353"/>
                    <a:pt x="485" y="353"/>
                  </a:cubicBezTo>
                  <a:cubicBezTo>
                    <a:pt x="486" y="353"/>
                    <a:pt x="487" y="353"/>
                    <a:pt x="488" y="353"/>
                  </a:cubicBezTo>
                  <a:cubicBezTo>
                    <a:pt x="489" y="353"/>
                    <a:pt x="489" y="353"/>
                    <a:pt x="490" y="353"/>
                  </a:cubicBezTo>
                  <a:cubicBezTo>
                    <a:pt x="491" y="353"/>
                    <a:pt x="492" y="353"/>
                    <a:pt x="492" y="352"/>
                  </a:cubicBezTo>
                  <a:cubicBezTo>
                    <a:pt x="493" y="351"/>
                    <a:pt x="492" y="351"/>
                    <a:pt x="491" y="350"/>
                  </a:cubicBezTo>
                  <a:cubicBezTo>
                    <a:pt x="491" y="349"/>
                    <a:pt x="491" y="349"/>
                    <a:pt x="491" y="349"/>
                  </a:cubicBezTo>
                  <a:cubicBezTo>
                    <a:pt x="491" y="348"/>
                    <a:pt x="490" y="346"/>
                    <a:pt x="490" y="346"/>
                  </a:cubicBezTo>
                  <a:cubicBezTo>
                    <a:pt x="489" y="346"/>
                    <a:pt x="489" y="346"/>
                    <a:pt x="489" y="346"/>
                  </a:cubicBezTo>
                  <a:cubicBezTo>
                    <a:pt x="489" y="343"/>
                    <a:pt x="489" y="343"/>
                    <a:pt x="489" y="343"/>
                  </a:cubicBezTo>
                  <a:cubicBezTo>
                    <a:pt x="489" y="342"/>
                    <a:pt x="489" y="341"/>
                    <a:pt x="489" y="340"/>
                  </a:cubicBezTo>
                  <a:cubicBezTo>
                    <a:pt x="489" y="338"/>
                    <a:pt x="488" y="337"/>
                    <a:pt x="488" y="335"/>
                  </a:cubicBezTo>
                  <a:cubicBezTo>
                    <a:pt x="486" y="326"/>
                    <a:pt x="486" y="326"/>
                    <a:pt x="486" y="326"/>
                  </a:cubicBezTo>
                  <a:cubicBezTo>
                    <a:pt x="486" y="325"/>
                    <a:pt x="486" y="325"/>
                    <a:pt x="486" y="324"/>
                  </a:cubicBezTo>
                  <a:cubicBezTo>
                    <a:pt x="486" y="323"/>
                    <a:pt x="486" y="323"/>
                    <a:pt x="486" y="322"/>
                  </a:cubicBezTo>
                  <a:cubicBezTo>
                    <a:pt x="485" y="321"/>
                    <a:pt x="485" y="319"/>
                    <a:pt x="486" y="316"/>
                  </a:cubicBezTo>
                  <a:cubicBezTo>
                    <a:pt x="486" y="315"/>
                    <a:pt x="486" y="315"/>
                    <a:pt x="486" y="315"/>
                  </a:cubicBezTo>
                  <a:cubicBezTo>
                    <a:pt x="486" y="315"/>
                    <a:pt x="486" y="315"/>
                    <a:pt x="486" y="315"/>
                  </a:cubicBezTo>
                  <a:cubicBezTo>
                    <a:pt x="486" y="314"/>
                    <a:pt x="486" y="314"/>
                    <a:pt x="486" y="314"/>
                  </a:cubicBezTo>
                  <a:cubicBezTo>
                    <a:pt x="485" y="314"/>
                    <a:pt x="484" y="313"/>
                    <a:pt x="483" y="312"/>
                  </a:cubicBezTo>
                  <a:cubicBezTo>
                    <a:pt x="483" y="312"/>
                    <a:pt x="483" y="312"/>
                    <a:pt x="483" y="312"/>
                  </a:cubicBezTo>
                  <a:cubicBezTo>
                    <a:pt x="482" y="310"/>
                    <a:pt x="482" y="309"/>
                    <a:pt x="482" y="307"/>
                  </a:cubicBezTo>
                  <a:cubicBezTo>
                    <a:pt x="482" y="307"/>
                    <a:pt x="482" y="307"/>
                    <a:pt x="482" y="307"/>
                  </a:cubicBezTo>
                  <a:cubicBezTo>
                    <a:pt x="478" y="304"/>
                    <a:pt x="478" y="302"/>
                    <a:pt x="479" y="299"/>
                  </a:cubicBezTo>
                  <a:cubicBezTo>
                    <a:pt x="479" y="297"/>
                    <a:pt x="479" y="297"/>
                    <a:pt x="479" y="297"/>
                  </a:cubicBezTo>
                  <a:cubicBezTo>
                    <a:pt x="479" y="295"/>
                    <a:pt x="480" y="294"/>
                    <a:pt x="481" y="293"/>
                  </a:cubicBezTo>
                  <a:cubicBezTo>
                    <a:pt x="481" y="293"/>
                    <a:pt x="481" y="293"/>
                    <a:pt x="481" y="293"/>
                  </a:cubicBezTo>
                  <a:cubicBezTo>
                    <a:pt x="481" y="293"/>
                    <a:pt x="481" y="291"/>
                    <a:pt x="481" y="289"/>
                  </a:cubicBezTo>
                  <a:cubicBezTo>
                    <a:pt x="481" y="288"/>
                    <a:pt x="481" y="288"/>
                    <a:pt x="481" y="288"/>
                  </a:cubicBezTo>
                  <a:cubicBezTo>
                    <a:pt x="481" y="288"/>
                    <a:pt x="481" y="288"/>
                    <a:pt x="481" y="288"/>
                  </a:cubicBezTo>
                  <a:cubicBezTo>
                    <a:pt x="481" y="288"/>
                    <a:pt x="480" y="288"/>
                    <a:pt x="480" y="288"/>
                  </a:cubicBezTo>
                  <a:cubicBezTo>
                    <a:pt x="479" y="288"/>
                    <a:pt x="479" y="288"/>
                    <a:pt x="479" y="288"/>
                  </a:cubicBezTo>
                  <a:cubicBezTo>
                    <a:pt x="479" y="288"/>
                    <a:pt x="478" y="288"/>
                    <a:pt x="478" y="288"/>
                  </a:cubicBezTo>
                  <a:cubicBezTo>
                    <a:pt x="477" y="288"/>
                    <a:pt x="476" y="287"/>
                    <a:pt x="476" y="287"/>
                  </a:cubicBezTo>
                  <a:cubicBezTo>
                    <a:pt x="475" y="287"/>
                    <a:pt x="474" y="287"/>
                    <a:pt x="474" y="286"/>
                  </a:cubicBezTo>
                  <a:cubicBezTo>
                    <a:pt x="473" y="286"/>
                    <a:pt x="472" y="285"/>
                    <a:pt x="471" y="285"/>
                  </a:cubicBezTo>
                  <a:cubicBezTo>
                    <a:pt x="471" y="284"/>
                    <a:pt x="471" y="284"/>
                    <a:pt x="471" y="284"/>
                  </a:cubicBezTo>
                  <a:cubicBezTo>
                    <a:pt x="470" y="284"/>
                    <a:pt x="469" y="283"/>
                    <a:pt x="469" y="283"/>
                  </a:cubicBezTo>
                  <a:cubicBezTo>
                    <a:pt x="468" y="283"/>
                    <a:pt x="467" y="282"/>
                    <a:pt x="467" y="281"/>
                  </a:cubicBezTo>
                  <a:cubicBezTo>
                    <a:pt x="467" y="281"/>
                    <a:pt x="466" y="280"/>
                    <a:pt x="466" y="279"/>
                  </a:cubicBezTo>
                  <a:cubicBezTo>
                    <a:pt x="466" y="277"/>
                    <a:pt x="467" y="275"/>
                    <a:pt x="467" y="273"/>
                  </a:cubicBezTo>
                  <a:cubicBezTo>
                    <a:pt x="467" y="273"/>
                    <a:pt x="467" y="273"/>
                    <a:pt x="467" y="273"/>
                  </a:cubicBezTo>
                  <a:cubicBezTo>
                    <a:pt x="468" y="270"/>
                    <a:pt x="470" y="269"/>
                    <a:pt x="471" y="269"/>
                  </a:cubicBezTo>
                  <a:cubicBezTo>
                    <a:pt x="472" y="269"/>
                    <a:pt x="472" y="268"/>
                    <a:pt x="472" y="268"/>
                  </a:cubicBezTo>
                  <a:cubicBezTo>
                    <a:pt x="473" y="268"/>
                    <a:pt x="473" y="268"/>
                    <a:pt x="473" y="268"/>
                  </a:cubicBezTo>
                  <a:cubicBezTo>
                    <a:pt x="474" y="268"/>
                    <a:pt x="474" y="268"/>
                    <a:pt x="474" y="268"/>
                  </a:cubicBezTo>
                  <a:cubicBezTo>
                    <a:pt x="475" y="262"/>
                    <a:pt x="480" y="261"/>
                    <a:pt x="483" y="261"/>
                  </a:cubicBezTo>
                  <a:cubicBezTo>
                    <a:pt x="484" y="261"/>
                    <a:pt x="484" y="261"/>
                    <a:pt x="484" y="261"/>
                  </a:cubicBezTo>
                  <a:cubicBezTo>
                    <a:pt x="484" y="260"/>
                    <a:pt x="483" y="260"/>
                    <a:pt x="483" y="259"/>
                  </a:cubicBezTo>
                  <a:cubicBezTo>
                    <a:pt x="483" y="259"/>
                    <a:pt x="483" y="259"/>
                    <a:pt x="483" y="259"/>
                  </a:cubicBezTo>
                  <a:cubicBezTo>
                    <a:pt x="483" y="259"/>
                    <a:pt x="483" y="259"/>
                    <a:pt x="483" y="259"/>
                  </a:cubicBezTo>
                  <a:cubicBezTo>
                    <a:pt x="482" y="259"/>
                    <a:pt x="482" y="259"/>
                    <a:pt x="482" y="259"/>
                  </a:cubicBezTo>
                  <a:cubicBezTo>
                    <a:pt x="482" y="259"/>
                    <a:pt x="482" y="259"/>
                    <a:pt x="482" y="259"/>
                  </a:cubicBezTo>
                  <a:cubicBezTo>
                    <a:pt x="479" y="259"/>
                    <a:pt x="477" y="257"/>
                    <a:pt x="476" y="255"/>
                  </a:cubicBezTo>
                  <a:cubicBezTo>
                    <a:pt x="475" y="254"/>
                    <a:pt x="475" y="254"/>
                    <a:pt x="475" y="254"/>
                  </a:cubicBezTo>
                  <a:cubicBezTo>
                    <a:pt x="474" y="253"/>
                    <a:pt x="473" y="251"/>
                    <a:pt x="472" y="251"/>
                  </a:cubicBezTo>
                  <a:cubicBezTo>
                    <a:pt x="471" y="251"/>
                    <a:pt x="471" y="251"/>
                    <a:pt x="471" y="251"/>
                  </a:cubicBezTo>
                  <a:cubicBezTo>
                    <a:pt x="470" y="251"/>
                    <a:pt x="468" y="250"/>
                    <a:pt x="467" y="248"/>
                  </a:cubicBezTo>
                  <a:cubicBezTo>
                    <a:pt x="466" y="245"/>
                    <a:pt x="467" y="243"/>
                    <a:pt x="468" y="242"/>
                  </a:cubicBezTo>
                  <a:cubicBezTo>
                    <a:pt x="468" y="241"/>
                    <a:pt x="468" y="241"/>
                    <a:pt x="468" y="241"/>
                  </a:cubicBezTo>
                  <a:cubicBezTo>
                    <a:pt x="469" y="240"/>
                    <a:pt x="469" y="240"/>
                    <a:pt x="469" y="240"/>
                  </a:cubicBezTo>
                  <a:cubicBezTo>
                    <a:pt x="470" y="237"/>
                    <a:pt x="472" y="235"/>
                    <a:pt x="474" y="234"/>
                  </a:cubicBezTo>
                  <a:cubicBezTo>
                    <a:pt x="473" y="234"/>
                    <a:pt x="473" y="234"/>
                    <a:pt x="473" y="234"/>
                  </a:cubicBezTo>
                  <a:cubicBezTo>
                    <a:pt x="473" y="233"/>
                    <a:pt x="473" y="233"/>
                    <a:pt x="473" y="233"/>
                  </a:cubicBezTo>
                  <a:cubicBezTo>
                    <a:pt x="473" y="233"/>
                    <a:pt x="472" y="233"/>
                    <a:pt x="472" y="232"/>
                  </a:cubicBezTo>
                  <a:cubicBezTo>
                    <a:pt x="472" y="231"/>
                    <a:pt x="472" y="231"/>
                    <a:pt x="472" y="231"/>
                  </a:cubicBezTo>
                  <a:cubicBezTo>
                    <a:pt x="472" y="231"/>
                    <a:pt x="472" y="231"/>
                    <a:pt x="472" y="231"/>
                  </a:cubicBezTo>
                  <a:cubicBezTo>
                    <a:pt x="472" y="231"/>
                    <a:pt x="472" y="231"/>
                    <a:pt x="472" y="231"/>
                  </a:cubicBezTo>
                  <a:cubicBezTo>
                    <a:pt x="471" y="232"/>
                    <a:pt x="471" y="232"/>
                    <a:pt x="471" y="232"/>
                  </a:cubicBezTo>
                  <a:cubicBezTo>
                    <a:pt x="470" y="235"/>
                    <a:pt x="469" y="236"/>
                    <a:pt x="467" y="236"/>
                  </a:cubicBezTo>
                  <a:cubicBezTo>
                    <a:pt x="466" y="237"/>
                    <a:pt x="465" y="237"/>
                    <a:pt x="464" y="237"/>
                  </a:cubicBezTo>
                  <a:cubicBezTo>
                    <a:pt x="464" y="237"/>
                    <a:pt x="464" y="237"/>
                    <a:pt x="464" y="237"/>
                  </a:cubicBezTo>
                  <a:cubicBezTo>
                    <a:pt x="463" y="237"/>
                    <a:pt x="462" y="237"/>
                    <a:pt x="461" y="236"/>
                  </a:cubicBezTo>
                  <a:cubicBezTo>
                    <a:pt x="460" y="236"/>
                    <a:pt x="459" y="236"/>
                    <a:pt x="458" y="236"/>
                  </a:cubicBezTo>
                  <a:cubicBezTo>
                    <a:pt x="455" y="236"/>
                    <a:pt x="455" y="236"/>
                    <a:pt x="455" y="236"/>
                  </a:cubicBezTo>
                  <a:cubicBezTo>
                    <a:pt x="455" y="236"/>
                    <a:pt x="454" y="236"/>
                    <a:pt x="454" y="236"/>
                  </a:cubicBezTo>
                  <a:cubicBezTo>
                    <a:pt x="453" y="236"/>
                    <a:pt x="453" y="236"/>
                    <a:pt x="452" y="236"/>
                  </a:cubicBezTo>
                  <a:cubicBezTo>
                    <a:pt x="450" y="236"/>
                    <a:pt x="448" y="236"/>
                    <a:pt x="446" y="235"/>
                  </a:cubicBezTo>
                  <a:cubicBezTo>
                    <a:pt x="444" y="235"/>
                    <a:pt x="443" y="234"/>
                    <a:pt x="443" y="233"/>
                  </a:cubicBezTo>
                  <a:cubicBezTo>
                    <a:pt x="442" y="233"/>
                    <a:pt x="442" y="233"/>
                    <a:pt x="442" y="233"/>
                  </a:cubicBezTo>
                  <a:cubicBezTo>
                    <a:pt x="441" y="234"/>
                    <a:pt x="440" y="234"/>
                    <a:pt x="439" y="235"/>
                  </a:cubicBezTo>
                  <a:cubicBezTo>
                    <a:pt x="439" y="235"/>
                    <a:pt x="439" y="235"/>
                    <a:pt x="439" y="235"/>
                  </a:cubicBezTo>
                  <a:cubicBezTo>
                    <a:pt x="438" y="235"/>
                    <a:pt x="438" y="235"/>
                    <a:pt x="438" y="235"/>
                  </a:cubicBezTo>
                  <a:cubicBezTo>
                    <a:pt x="438" y="235"/>
                    <a:pt x="438" y="235"/>
                    <a:pt x="438" y="235"/>
                  </a:cubicBezTo>
                  <a:cubicBezTo>
                    <a:pt x="437" y="235"/>
                    <a:pt x="437" y="235"/>
                    <a:pt x="437" y="235"/>
                  </a:cubicBezTo>
                  <a:cubicBezTo>
                    <a:pt x="436" y="235"/>
                    <a:pt x="436" y="235"/>
                    <a:pt x="436" y="235"/>
                  </a:cubicBezTo>
                  <a:cubicBezTo>
                    <a:pt x="435" y="235"/>
                    <a:pt x="435" y="235"/>
                    <a:pt x="434" y="235"/>
                  </a:cubicBezTo>
                  <a:cubicBezTo>
                    <a:pt x="434" y="235"/>
                    <a:pt x="434" y="235"/>
                    <a:pt x="434" y="235"/>
                  </a:cubicBezTo>
                  <a:cubicBezTo>
                    <a:pt x="434" y="234"/>
                    <a:pt x="433" y="234"/>
                    <a:pt x="433" y="234"/>
                  </a:cubicBezTo>
                  <a:cubicBezTo>
                    <a:pt x="430" y="233"/>
                    <a:pt x="430" y="233"/>
                    <a:pt x="430" y="233"/>
                  </a:cubicBezTo>
                  <a:cubicBezTo>
                    <a:pt x="430" y="232"/>
                    <a:pt x="429" y="232"/>
                    <a:pt x="428" y="232"/>
                  </a:cubicBezTo>
                  <a:cubicBezTo>
                    <a:pt x="427" y="232"/>
                    <a:pt x="427" y="231"/>
                    <a:pt x="426" y="231"/>
                  </a:cubicBezTo>
                  <a:cubicBezTo>
                    <a:pt x="425" y="231"/>
                    <a:pt x="425" y="231"/>
                    <a:pt x="425" y="231"/>
                  </a:cubicBezTo>
                  <a:cubicBezTo>
                    <a:pt x="424" y="231"/>
                    <a:pt x="424" y="231"/>
                    <a:pt x="424" y="231"/>
                  </a:cubicBezTo>
                  <a:cubicBezTo>
                    <a:pt x="423" y="231"/>
                    <a:pt x="423" y="231"/>
                    <a:pt x="423" y="231"/>
                  </a:cubicBezTo>
                  <a:cubicBezTo>
                    <a:pt x="423" y="231"/>
                    <a:pt x="422" y="231"/>
                    <a:pt x="422" y="231"/>
                  </a:cubicBezTo>
                  <a:cubicBezTo>
                    <a:pt x="421" y="231"/>
                    <a:pt x="421" y="231"/>
                    <a:pt x="421" y="231"/>
                  </a:cubicBezTo>
                  <a:cubicBezTo>
                    <a:pt x="420" y="232"/>
                    <a:pt x="419" y="232"/>
                    <a:pt x="418" y="232"/>
                  </a:cubicBezTo>
                  <a:cubicBezTo>
                    <a:pt x="418" y="232"/>
                    <a:pt x="417" y="232"/>
                    <a:pt x="417" y="232"/>
                  </a:cubicBezTo>
                  <a:cubicBezTo>
                    <a:pt x="416" y="231"/>
                    <a:pt x="415" y="231"/>
                    <a:pt x="415" y="231"/>
                  </a:cubicBezTo>
                  <a:cubicBezTo>
                    <a:pt x="414" y="230"/>
                    <a:pt x="414" y="230"/>
                    <a:pt x="413" y="230"/>
                  </a:cubicBezTo>
                  <a:cubicBezTo>
                    <a:pt x="412" y="229"/>
                    <a:pt x="412" y="228"/>
                    <a:pt x="412" y="227"/>
                  </a:cubicBezTo>
                  <a:cubicBezTo>
                    <a:pt x="412" y="227"/>
                    <a:pt x="411" y="226"/>
                    <a:pt x="411" y="225"/>
                  </a:cubicBezTo>
                  <a:cubicBezTo>
                    <a:pt x="410" y="225"/>
                    <a:pt x="410" y="225"/>
                    <a:pt x="410" y="225"/>
                  </a:cubicBezTo>
                  <a:cubicBezTo>
                    <a:pt x="410" y="226"/>
                    <a:pt x="409" y="226"/>
                    <a:pt x="408" y="226"/>
                  </a:cubicBezTo>
                  <a:cubicBezTo>
                    <a:pt x="407" y="227"/>
                    <a:pt x="407" y="227"/>
                    <a:pt x="407" y="227"/>
                  </a:cubicBezTo>
                  <a:cubicBezTo>
                    <a:pt x="406" y="227"/>
                    <a:pt x="405" y="227"/>
                    <a:pt x="404" y="227"/>
                  </a:cubicBezTo>
                  <a:cubicBezTo>
                    <a:pt x="404" y="227"/>
                    <a:pt x="404" y="227"/>
                    <a:pt x="404" y="227"/>
                  </a:cubicBezTo>
                  <a:cubicBezTo>
                    <a:pt x="403" y="227"/>
                    <a:pt x="402" y="227"/>
                    <a:pt x="401" y="226"/>
                  </a:cubicBezTo>
                  <a:cubicBezTo>
                    <a:pt x="401" y="226"/>
                    <a:pt x="400" y="226"/>
                    <a:pt x="400" y="225"/>
                  </a:cubicBezTo>
                  <a:cubicBezTo>
                    <a:pt x="399" y="225"/>
                    <a:pt x="399" y="225"/>
                    <a:pt x="399" y="225"/>
                  </a:cubicBezTo>
                  <a:cubicBezTo>
                    <a:pt x="399" y="225"/>
                    <a:pt x="399" y="224"/>
                    <a:pt x="398" y="224"/>
                  </a:cubicBezTo>
                  <a:cubicBezTo>
                    <a:pt x="398" y="224"/>
                    <a:pt x="398" y="224"/>
                    <a:pt x="398" y="224"/>
                  </a:cubicBezTo>
                  <a:cubicBezTo>
                    <a:pt x="396" y="223"/>
                    <a:pt x="395" y="222"/>
                    <a:pt x="393" y="222"/>
                  </a:cubicBezTo>
                  <a:cubicBezTo>
                    <a:pt x="392" y="221"/>
                    <a:pt x="392" y="221"/>
                    <a:pt x="392" y="221"/>
                  </a:cubicBezTo>
                  <a:cubicBezTo>
                    <a:pt x="391" y="221"/>
                    <a:pt x="390" y="221"/>
                    <a:pt x="389" y="220"/>
                  </a:cubicBezTo>
                  <a:cubicBezTo>
                    <a:pt x="387" y="219"/>
                    <a:pt x="386" y="218"/>
                    <a:pt x="385" y="217"/>
                  </a:cubicBezTo>
                  <a:cubicBezTo>
                    <a:pt x="385" y="217"/>
                    <a:pt x="385" y="216"/>
                    <a:pt x="384" y="215"/>
                  </a:cubicBezTo>
                  <a:cubicBezTo>
                    <a:pt x="384" y="214"/>
                    <a:pt x="384" y="213"/>
                    <a:pt x="384" y="213"/>
                  </a:cubicBezTo>
                  <a:cubicBezTo>
                    <a:pt x="384" y="212"/>
                    <a:pt x="384" y="212"/>
                    <a:pt x="384" y="212"/>
                  </a:cubicBezTo>
                  <a:cubicBezTo>
                    <a:pt x="384" y="211"/>
                    <a:pt x="384" y="211"/>
                    <a:pt x="384" y="211"/>
                  </a:cubicBezTo>
                  <a:cubicBezTo>
                    <a:pt x="384" y="211"/>
                    <a:pt x="384" y="211"/>
                    <a:pt x="384" y="211"/>
                  </a:cubicBezTo>
                  <a:cubicBezTo>
                    <a:pt x="383" y="210"/>
                    <a:pt x="380" y="210"/>
                    <a:pt x="379" y="209"/>
                  </a:cubicBezTo>
                  <a:cubicBezTo>
                    <a:pt x="378" y="209"/>
                    <a:pt x="378" y="209"/>
                    <a:pt x="378" y="209"/>
                  </a:cubicBezTo>
                  <a:cubicBezTo>
                    <a:pt x="378" y="209"/>
                    <a:pt x="377" y="209"/>
                    <a:pt x="377" y="208"/>
                  </a:cubicBezTo>
                  <a:cubicBezTo>
                    <a:pt x="376" y="208"/>
                    <a:pt x="376" y="208"/>
                    <a:pt x="376" y="208"/>
                  </a:cubicBezTo>
                  <a:cubicBezTo>
                    <a:pt x="376" y="208"/>
                    <a:pt x="376" y="208"/>
                    <a:pt x="375" y="208"/>
                  </a:cubicBezTo>
                  <a:cubicBezTo>
                    <a:pt x="375" y="208"/>
                    <a:pt x="374" y="208"/>
                    <a:pt x="374" y="209"/>
                  </a:cubicBezTo>
                  <a:cubicBezTo>
                    <a:pt x="374" y="214"/>
                    <a:pt x="374" y="214"/>
                    <a:pt x="374" y="214"/>
                  </a:cubicBezTo>
                  <a:cubicBezTo>
                    <a:pt x="372" y="209"/>
                    <a:pt x="372" y="209"/>
                    <a:pt x="372" y="209"/>
                  </a:cubicBezTo>
                  <a:cubicBezTo>
                    <a:pt x="371" y="210"/>
                    <a:pt x="371" y="211"/>
                    <a:pt x="371" y="211"/>
                  </a:cubicBezTo>
                  <a:cubicBezTo>
                    <a:pt x="370" y="211"/>
                    <a:pt x="370" y="211"/>
                    <a:pt x="370" y="211"/>
                  </a:cubicBezTo>
                  <a:cubicBezTo>
                    <a:pt x="369" y="211"/>
                    <a:pt x="369" y="211"/>
                    <a:pt x="369" y="211"/>
                  </a:cubicBezTo>
                  <a:cubicBezTo>
                    <a:pt x="369" y="212"/>
                    <a:pt x="369" y="212"/>
                    <a:pt x="369" y="212"/>
                  </a:cubicBezTo>
                  <a:cubicBezTo>
                    <a:pt x="368" y="212"/>
                    <a:pt x="368" y="212"/>
                    <a:pt x="368" y="212"/>
                  </a:cubicBezTo>
                  <a:cubicBezTo>
                    <a:pt x="362" y="209"/>
                    <a:pt x="362" y="209"/>
                    <a:pt x="362" y="209"/>
                  </a:cubicBezTo>
                  <a:cubicBezTo>
                    <a:pt x="361" y="210"/>
                    <a:pt x="361" y="210"/>
                    <a:pt x="361" y="210"/>
                  </a:cubicBezTo>
                  <a:cubicBezTo>
                    <a:pt x="360" y="211"/>
                    <a:pt x="360" y="211"/>
                    <a:pt x="360" y="211"/>
                  </a:cubicBezTo>
                  <a:cubicBezTo>
                    <a:pt x="360" y="211"/>
                    <a:pt x="360" y="211"/>
                    <a:pt x="360" y="211"/>
                  </a:cubicBezTo>
                  <a:cubicBezTo>
                    <a:pt x="359" y="211"/>
                    <a:pt x="359" y="212"/>
                    <a:pt x="358" y="212"/>
                  </a:cubicBezTo>
                  <a:cubicBezTo>
                    <a:pt x="358" y="212"/>
                    <a:pt x="358" y="212"/>
                    <a:pt x="358" y="212"/>
                  </a:cubicBezTo>
                  <a:cubicBezTo>
                    <a:pt x="358" y="212"/>
                    <a:pt x="357" y="212"/>
                    <a:pt x="357" y="212"/>
                  </a:cubicBezTo>
                  <a:cubicBezTo>
                    <a:pt x="357" y="212"/>
                    <a:pt x="357" y="212"/>
                    <a:pt x="357" y="212"/>
                  </a:cubicBezTo>
                  <a:cubicBezTo>
                    <a:pt x="356" y="212"/>
                    <a:pt x="356" y="212"/>
                    <a:pt x="356" y="212"/>
                  </a:cubicBezTo>
                  <a:cubicBezTo>
                    <a:pt x="355" y="212"/>
                    <a:pt x="354" y="212"/>
                    <a:pt x="354" y="211"/>
                  </a:cubicBezTo>
                  <a:cubicBezTo>
                    <a:pt x="353" y="211"/>
                    <a:pt x="352" y="210"/>
                    <a:pt x="350" y="210"/>
                  </a:cubicBezTo>
                  <a:cubicBezTo>
                    <a:pt x="349" y="209"/>
                    <a:pt x="348" y="209"/>
                    <a:pt x="347" y="209"/>
                  </a:cubicBezTo>
                  <a:cubicBezTo>
                    <a:pt x="344" y="209"/>
                    <a:pt x="344" y="209"/>
                    <a:pt x="344" y="209"/>
                  </a:cubicBezTo>
                  <a:cubicBezTo>
                    <a:pt x="343" y="208"/>
                    <a:pt x="342" y="208"/>
                    <a:pt x="342" y="207"/>
                  </a:cubicBezTo>
                  <a:cubicBezTo>
                    <a:pt x="340" y="206"/>
                    <a:pt x="340" y="205"/>
                    <a:pt x="340" y="204"/>
                  </a:cubicBezTo>
                  <a:cubicBezTo>
                    <a:pt x="339" y="203"/>
                    <a:pt x="339" y="203"/>
                    <a:pt x="339" y="203"/>
                  </a:cubicBezTo>
                  <a:cubicBezTo>
                    <a:pt x="339" y="203"/>
                    <a:pt x="339" y="203"/>
                    <a:pt x="339" y="203"/>
                  </a:cubicBezTo>
                  <a:cubicBezTo>
                    <a:pt x="333" y="201"/>
                    <a:pt x="333" y="201"/>
                    <a:pt x="333" y="201"/>
                  </a:cubicBezTo>
                  <a:cubicBezTo>
                    <a:pt x="332" y="205"/>
                    <a:pt x="332" y="205"/>
                    <a:pt x="332" y="205"/>
                  </a:cubicBezTo>
                  <a:cubicBezTo>
                    <a:pt x="332" y="200"/>
                    <a:pt x="332" y="200"/>
                    <a:pt x="332" y="200"/>
                  </a:cubicBezTo>
                  <a:cubicBezTo>
                    <a:pt x="331" y="200"/>
                    <a:pt x="331" y="200"/>
                    <a:pt x="331" y="200"/>
                  </a:cubicBezTo>
                  <a:cubicBezTo>
                    <a:pt x="330" y="200"/>
                    <a:pt x="328" y="199"/>
                    <a:pt x="326" y="198"/>
                  </a:cubicBezTo>
                  <a:cubicBezTo>
                    <a:pt x="326" y="198"/>
                    <a:pt x="326" y="198"/>
                    <a:pt x="326" y="198"/>
                  </a:cubicBezTo>
                  <a:cubicBezTo>
                    <a:pt x="325" y="199"/>
                    <a:pt x="324" y="199"/>
                    <a:pt x="324" y="199"/>
                  </a:cubicBezTo>
                  <a:cubicBezTo>
                    <a:pt x="323" y="199"/>
                    <a:pt x="323" y="199"/>
                    <a:pt x="323" y="199"/>
                  </a:cubicBezTo>
                  <a:cubicBezTo>
                    <a:pt x="323" y="199"/>
                    <a:pt x="323" y="199"/>
                    <a:pt x="323" y="199"/>
                  </a:cubicBezTo>
                  <a:cubicBezTo>
                    <a:pt x="322" y="199"/>
                    <a:pt x="322" y="199"/>
                    <a:pt x="322" y="199"/>
                  </a:cubicBezTo>
                  <a:cubicBezTo>
                    <a:pt x="320" y="199"/>
                    <a:pt x="319" y="198"/>
                    <a:pt x="316" y="196"/>
                  </a:cubicBezTo>
                  <a:cubicBezTo>
                    <a:pt x="315" y="196"/>
                    <a:pt x="315" y="196"/>
                    <a:pt x="315" y="196"/>
                  </a:cubicBezTo>
                  <a:cubicBezTo>
                    <a:pt x="314" y="195"/>
                    <a:pt x="314" y="194"/>
                    <a:pt x="313" y="194"/>
                  </a:cubicBezTo>
                  <a:cubicBezTo>
                    <a:pt x="313" y="194"/>
                    <a:pt x="312" y="193"/>
                    <a:pt x="311" y="193"/>
                  </a:cubicBezTo>
                  <a:cubicBezTo>
                    <a:pt x="311" y="192"/>
                    <a:pt x="311" y="192"/>
                    <a:pt x="311" y="192"/>
                  </a:cubicBezTo>
                  <a:cubicBezTo>
                    <a:pt x="309" y="191"/>
                    <a:pt x="308" y="189"/>
                    <a:pt x="306" y="188"/>
                  </a:cubicBezTo>
                  <a:cubicBezTo>
                    <a:pt x="306" y="187"/>
                    <a:pt x="306" y="187"/>
                    <a:pt x="306" y="187"/>
                  </a:cubicBezTo>
                  <a:cubicBezTo>
                    <a:pt x="304" y="186"/>
                    <a:pt x="303" y="185"/>
                    <a:pt x="301" y="184"/>
                  </a:cubicBezTo>
                  <a:cubicBezTo>
                    <a:pt x="299" y="183"/>
                    <a:pt x="298" y="182"/>
                    <a:pt x="296" y="181"/>
                  </a:cubicBezTo>
                  <a:cubicBezTo>
                    <a:pt x="293" y="180"/>
                    <a:pt x="293" y="180"/>
                    <a:pt x="293" y="180"/>
                  </a:cubicBezTo>
                  <a:cubicBezTo>
                    <a:pt x="292" y="182"/>
                    <a:pt x="292" y="182"/>
                    <a:pt x="292" y="182"/>
                  </a:cubicBezTo>
                  <a:cubicBezTo>
                    <a:pt x="289" y="181"/>
                    <a:pt x="289" y="181"/>
                    <a:pt x="289" y="181"/>
                  </a:cubicBezTo>
                  <a:cubicBezTo>
                    <a:pt x="287" y="180"/>
                    <a:pt x="283" y="178"/>
                    <a:pt x="282" y="177"/>
                  </a:cubicBezTo>
                  <a:cubicBezTo>
                    <a:pt x="278" y="174"/>
                    <a:pt x="277" y="172"/>
                    <a:pt x="278" y="169"/>
                  </a:cubicBezTo>
                  <a:cubicBezTo>
                    <a:pt x="278" y="168"/>
                    <a:pt x="278" y="167"/>
                    <a:pt x="279" y="166"/>
                  </a:cubicBezTo>
                  <a:cubicBezTo>
                    <a:pt x="279" y="164"/>
                    <a:pt x="280" y="163"/>
                    <a:pt x="281" y="161"/>
                  </a:cubicBezTo>
                  <a:cubicBezTo>
                    <a:pt x="282" y="160"/>
                    <a:pt x="282" y="160"/>
                    <a:pt x="282" y="160"/>
                  </a:cubicBezTo>
                  <a:cubicBezTo>
                    <a:pt x="282" y="160"/>
                    <a:pt x="282" y="159"/>
                    <a:pt x="282" y="159"/>
                  </a:cubicBezTo>
                  <a:cubicBezTo>
                    <a:pt x="282" y="158"/>
                    <a:pt x="282" y="158"/>
                    <a:pt x="282" y="157"/>
                  </a:cubicBezTo>
                  <a:cubicBezTo>
                    <a:pt x="282" y="156"/>
                    <a:pt x="282" y="156"/>
                    <a:pt x="282" y="155"/>
                  </a:cubicBezTo>
                  <a:cubicBezTo>
                    <a:pt x="282" y="154"/>
                    <a:pt x="283" y="153"/>
                    <a:pt x="283" y="153"/>
                  </a:cubicBezTo>
                  <a:cubicBezTo>
                    <a:pt x="285" y="151"/>
                    <a:pt x="285" y="151"/>
                    <a:pt x="285" y="151"/>
                  </a:cubicBezTo>
                  <a:cubicBezTo>
                    <a:pt x="285" y="150"/>
                    <a:pt x="285" y="150"/>
                    <a:pt x="285" y="150"/>
                  </a:cubicBezTo>
                  <a:cubicBezTo>
                    <a:pt x="285" y="150"/>
                    <a:pt x="285" y="150"/>
                    <a:pt x="285" y="150"/>
                  </a:cubicBezTo>
                  <a:cubicBezTo>
                    <a:pt x="286" y="149"/>
                    <a:pt x="286" y="149"/>
                    <a:pt x="286" y="149"/>
                  </a:cubicBezTo>
                  <a:cubicBezTo>
                    <a:pt x="298" y="137"/>
                    <a:pt x="298" y="137"/>
                    <a:pt x="298" y="137"/>
                  </a:cubicBezTo>
                  <a:cubicBezTo>
                    <a:pt x="282" y="129"/>
                    <a:pt x="282" y="129"/>
                    <a:pt x="282" y="129"/>
                  </a:cubicBezTo>
                  <a:cubicBezTo>
                    <a:pt x="281" y="129"/>
                    <a:pt x="281" y="128"/>
                    <a:pt x="281" y="127"/>
                  </a:cubicBezTo>
                  <a:cubicBezTo>
                    <a:pt x="280" y="126"/>
                    <a:pt x="280" y="126"/>
                    <a:pt x="280" y="126"/>
                  </a:cubicBezTo>
                  <a:cubicBezTo>
                    <a:pt x="281" y="125"/>
                    <a:pt x="281" y="125"/>
                    <a:pt x="281" y="125"/>
                  </a:cubicBezTo>
                  <a:cubicBezTo>
                    <a:pt x="281" y="124"/>
                    <a:pt x="281" y="124"/>
                    <a:pt x="281" y="124"/>
                  </a:cubicBezTo>
                  <a:cubicBezTo>
                    <a:pt x="281" y="123"/>
                    <a:pt x="280" y="123"/>
                    <a:pt x="280" y="123"/>
                  </a:cubicBezTo>
                  <a:cubicBezTo>
                    <a:pt x="277" y="121"/>
                    <a:pt x="273" y="120"/>
                    <a:pt x="270" y="119"/>
                  </a:cubicBezTo>
                  <a:cubicBezTo>
                    <a:pt x="268" y="119"/>
                    <a:pt x="268" y="119"/>
                    <a:pt x="268" y="119"/>
                  </a:cubicBezTo>
                  <a:cubicBezTo>
                    <a:pt x="268" y="119"/>
                    <a:pt x="267" y="119"/>
                    <a:pt x="267" y="119"/>
                  </a:cubicBezTo>
                  <a:cubicBezTo>
                    <a:pt x="265" y="118"/>
                    <a:pt x="264" y="117"/>
                    <a:pt x="263" y="116"/>
                  </a:cubicBezTo>
                  <a:cubicBezTo>
                    <a:pt x="262" y="115"/>
                    <a:pt x="262" y="115"/>
                    <a:pt x="262" y="115"/>
                  </a:cubicBezTo>
                  <a:cubicBezTo>
                    <a:pt x="261" y="114"/>
                    <a:pt x="261" y="113"/>
                    <a:pt x="260" y="112"/>
                  </a:cubicBezTo>
                  <a:cubicBezTo>
                    <a:pt x="260" y="112"/>
                    <a:pt x="260" y="112"/>
                    <a:pt x="260" y="112"/>
                  </a:cubicBezTo>
                  <a:cubicBezTo>
                    <a:pt x="259" y="111"/>
                    <a:pt x="259" y="110"/>
                    <a:pt x="258" y="110"/>
                  </a:cubicBezTo>
                  <a:cubicBezTo>
                    <a:pt x="258" y="110"/>
                    <a:pt x="258" y="110"/>
                    <a:pt x="258" y="110"/>
                  </a:cubicBezTo>
                  <a:cubicBezTo>
                    <a:pt x="258" y="109"/>
                    <a:pt x="258" y="109"/>
                    <a:pt x="258" y="109"/>
                  </a:cubicBezTo>
                  <a:cubicBezTo>
                    <a:pt x="257" y="108"/>
                    <a:pt x="257" y="108"/>
                    <a:pt x="257" y="108"/>
                  </a:cubicBezTo>
                  <a:cubicBezTo>
                    <a:pt x="257" y="108"/>
                    <a:pt x="257" y="108"/>
                    <a:pt x="257" y="108"/>
                  </a:cubicBezTo>
                  <a:cubicBezTo>
                    <a:pt x="257" y="108"/>
                    <a:pt x="257" y="108"/>
                    <a:pt x="257" y="108"/>
                  </a:cubicBezTo>
                  <a:cubicBezTo>
                    <a:pt x="257" y="108"/>
                    <a:pt x="257" y="108"/>
                    <a:pt x="257" y="108"/>
                  </a:cubicBezTo>
                  <a:cubicBezTo>
                    <a:pt x="256" y="108"/>
                    <a:pt x="256" y="109"/>
                    <a:pt x="255" y="109"/>
                  </a:cubicBezTo>
                  <a:cubicBezTo>
                    <a:pt x="254" y="110"/>
                    <a:pt x="254" y="110"/>
                    <a:pt x="254" y="110"/>
                  </a:cubicBezTo>
                  <a:cubicBezTo>
                    <a:pt x="254" y="110"/>
                    <a:pt x="254" y="110"/>
                    <a:pt x="254" y="110"/>
                  </a:cubicBezTo>
                  <a:cubicBezTo>
                    <a:pt x="251" y="112"/>
                    <a:pt x="251" y="112"/>
                    <a:pt x="251" y="112"/>
                  </a:cubicBezTo>
                  <a:cubicBezTo>
                    <a:pt x="250" y="110"/>
                    <a:pt x="250" y="110"/>
                    <a:pt x="250" y="110"/>
                  </a:cubicBezTo>
                  <a:cubicBezTo>
                    <a:pt x="249" y="109"/>
                    <a:pt x="249" y="109"/>
                    <a:pt x="249" y="109"/>
                  </a:cubicBezTo>
                  <a:cubicBezTo>
                    <a:pt x="248" y="108"/>
                    <a:pt x="248" y="108"/>
                    <a:pt x="247" y="107"/>
                  </a:cubicBezTo>
                  <a:cubicBezTo>
                    <a:pt x="247" y="106"/>
                    <a:pt x="246" y="105"/>
                    <a:pt x="246" y="104"/>
                  </a:cubicBezTo>
                  <a:cubicBezTo>
                    <a:pt x="246" y="104"/>
                    <a:pt x="246" y="104"/>
                    <a:pt x="246" y="104"/>
                  </a:cubicBezTo>
                  <a:cubicBezTo>
                    <a:pt x="245" y="103"/>
                    <a:pt x="245" y="102"/>
                    <a:pt x="245" y="101"/>
                  </a:cubicBezTo>
                  <a:cubicBezTo>
                    <a:pt x="245" y="100"/>
                    <a:pt x="245" y="100"/>
                    <a:pt x="245" y="100"/>
                  </a:cubicBezTo>
                  <a:cubicBezTo>
                    <a:pt x="246" y="98"/>
                    <a:pt x="246" y="96"/>
                    <a:pt x="246" y="95"/>
                  </a:cubicBezTo>
                  <a:cubicBezTo>
                    <a:pt x="246" y="93"/>
                    <a:pt x="246" y="93"/>
                    <a:pt x="246" y="93"/>
                  </a:cubicBezTo>
                  <a:cubicBezTo>
                    <a:pt x="246" y="93"/>
                    <a:pt x="246" y="93"/>
                    <a:pt x="246" y="93"/>
                  </a:cubicBezTo>
                  <a:cubicBezTo>
                    <a:pt x="246" y="92"/>
                    <a:pt x="246" y="92"/>
                    <a:pt x="246" y="92"/>
                  </a:cubicBezTo>
                  <a:cubicBezTo>
                    <a:pt x="245" y="91"/>
                    <a:pt x="243" y="89"/>
                    <a:pt x="243" y="88"/>
                  </a:cubicBezTo>
                  <a:cubicBezTo>
                    <a:pt x="242" y="88"/>
                    <a:pt x="242" y="88"/>
                    <a:pt x="242" y="88"/>
                  </a:cubicBezTo>
                  <a:cubicBezTo>
                    <a:pt x="240" y="85"/>
                    <a:pt x="239" y="82"/>
                    <a:pt x="238" y="78"/>
                  </a:cubicBezTo>
                  <a:cubicBezTo>
                    <a:pt x="238" y="77"/>
                    <a:pt x="238" y="76"/>
                    <a:pt x="239" y="74"/>
                  </a:cubicBezTo>
                  <a:cubicBezTo>
                    <a:pt x="240" y="73"/>
                    <a:pt x="241" y="72"/>
                    <a:pt x="242" y="72"/>
                  </a:cubicBezTo>
                  <a:cubicBezTo>
                    <a:pt x="243" y="72"/>
                    <a:pt x="244" y="72"/>
                    <a:pt x="244" y="72"/>
                  </a:cubicBezTo>
                  <a:cubicBezTo>
                    <a:pt x="244" y="71"/>
                    <a:pt x="244" y="71"/>
                    <a:pt x="244" y="71"/>
                  </a:cubicBezTo>
                  <a:cubicBezTo>
                    <a:pt x="245" y="71"/>
                    <a:pt x="245" y="71"/>
                    <a:pt x="246" y="71"/>
                  </a:cubicBezTo>
                  <a:cubicBezTo>
                    <a:pt x="255" y="69"/>
                    <a:pt x="255" y="69"/>
                    <a:pt x="255" y="69"/>
                  </a:cubicBezTo>
                  <a:cubicBezTo>
                    <a:pt x="252" y="74"/>
                    <a:pt x="252" y="74"/>
                    <a:pt x="252" y="74"/>
                  </a:cubicBezTo>
                  <a:cubicBezTo>
                    <a:pt x="252" y="74"/>
                    <a:pt x="252" y="74"/>
                    <a:pt x="252" y="74"/>
                  </a:cubicBezTo>
                  <a:cubicBezTo>
                    <a:pt x="252" y="75"/>
                    <a:pt x="252" y="75"/>
                    <a:pt x="252" y="75"/>
                  </a:cubicBezTo>
                  <a:cubicBezTo>
                    <a:pt x="254" y="76"/>
                    <a:pt x="255" y="77"/>
                    <a:pt x="255" y="77"/>
                  </a:cubicBezTo>
                  <a:cubicBezTo>
                    <a:pt x="255" y="77"/>
                    <a:pt x="255" y="77"/>
                    <a:pt x="255" y="77"/>
                  </a:cubicBezTo>
                  <a:cubicBezTo>
                    <a:pt x="256" y="77"/>
                    <a:pt x="260" y="75"/>
                    <a:pt x="263" y="70"/>
                  </a:cubicBezTo>
                  <a:cubicBezTo>
                    <a:pt x="263" y="69"/>
                    <a:pt x="263" y="69"/>
                    <a:pt x="263" y="69"/>
                  </a:cubicBezTo>
                  <a:cubicBezTo>
                    <a:pt x="263" y="68"/>
                    <a:pt x="263" y="68"/>
                    <a:pt x="262" y="67"/>
                  </a:cubicBezTo>
                  <a:cubicBezTo>
                    <a:pt x="262" y="66"/>
                    <a:pt x="262" y="65"/>
                    <a:pt x="262" y="64"/>
                  </a:cubicBezTo>
                  <a:cubicBezTo>
                    <a:pt x="262" y="62"/>
                    <a:pt x="262" y="62"/>
                    <a:pt x="262" y="62"/>
                  </a:cubicBezTo>
                  <a:cubicBezTo>
                    <a:pt x="262" y="62"/>
                    <a:pt x="262" y="61"/>
                    <a:pt x="262" y="61"/>
                  </a:cubicBezTo>
                  <a:cubicBezTo>
                    <a:pt x="261" y="61"/>
                    <a:pt x="261" y="61"/>
                    <a:pt x="261" y="61"/>
                  </a:cubicBezTo>
                  <a:cubicBezTo>
                    <a:pt x="260" y="61"/>
                    <a:pt x="260" y="61"/>
                    <a:pt x="260" y="61"/>
                  </a:cubicBezTo>
                  <a:cubicBezTo>
                    <a:pt x="257" y="60"/>
                    <a:pt x="255" y="58"/>
                    <a:pt x="253" y="57"/>
                  </a:cubicBezTo>
                  <a:cubicBezTo>
                    <a:pt x="252" y="56"/>
                    <a:pt x="252" y="56"/>
                    <a:pt x="252" y="56"/>
                  </a:cubicBezTo>
                  <a:cubicBezTo>
                    <a:pt x="252" y="55"/>
                    <a:pt x="251" y="54"/>
                    <a:pt x="251" y="54"/>
                  </a:cubicBezTo>
                  <a:cubicBezTo>
                    <a:pt x="250" y="53"/>
                    <a:pt x="250" y="53"/>
                    <a:pt x="250" y="53"/>
                  </a:cubicBezTo>
                  <a:cubicBezTo>
                    <a:pt x="250" y="52"/>
                    <a:pt x="250" y="52"/>
                    <a:pt x="250" y="52"/>
                  </a:cubicBezTo>
                  <a:cubicBezTo>
                    <a:pt x="250" y="51"/>
                    <a:pt x="250" y="51"/>
                    <a:pt x="250" y="51"/>
                  </a:cubicBezTo>
                  <a:cubicBezTo>
                    <a:pt x="249" y="47"/>
                    <a:pt x="249" y="47"/>
                    <a:pt x="249" y="47"/>
                  </a:cubicBezTo>
                  <a:cubicBezTo>
                    <a:pt x="243" y="49"/>
                    <a:pt x="243" y="49"/>
                    <a:pt x="243" y="49"/>
                  </a:cubicBezTo>
                  <a:cubicBezTo>
                    <a:pt x="248" y="46"/>
                    <a:pt x="248" y="46"/>
                    <a:pt x="248" y="46"/>
                  </a:cubicBezTo>
                  <a:cubicBezTo>
                    <a:pt x="247" y="40"/>
                    <a:pt x="247" y="40"/>
                    <a:pt x="247" y="40"/>
                  </a:cubicBezTo>
                  <a:cubicBezTo>
                    <a:pt x="247" y="40"/>
                    <a:pt x="247" y="40"/>
                    <a:pt x="247" y="40"/>
                  </a:cubicBezTo>
                  <a:cubicBezTo>
                    <a:pt x="246" y="39"/>
                    <a:pt x="246" y="39"/>
                    <a:pt x="246" y="39"/>
                  </a:cubicBezTo>
                  <a:cubicBezTo>
                    <a:pt x="246" y="39"/>
                    <a:pt x="246" y="39"/>
                    <a:pt x="246" y="38"/>
                  </a:cubicBezTo>
                  <a:cubicBezTo>
                    <a:pt x="246" y="36"/>
                    <a:pt x="246" y="34"/>
                    <a:pt x="247" y="33"/>
                  </a:cubicBezTo>
                  <a:cubicBezTo>
                    <a:pt x="247" y="32"/>
                    <a:pt x="247" y="32"/>
                    <a:pt x="247" y="32"/>
                  </a:cubicBezTo>
                  <a:cubicBezTo>
                    <a:pt x="250" y="29"/>
                    <a:pt x="250" y="29"/>
                    <a:pt x="250" y="29"/>
                  </a:cubicBezTo>
                  <a:cubicBezTo>
                    <a:pt x="250" y="29"/>
                    <a:pt x="249" y="29"/>
                    <a:pt x="249" y="29"/>
                  </a:cubicBezTo>
                  <a:cubicBezTo>
                    <a:pt x="248" y="29"/>
                    <a:pt x="248" y="29"/>
                    <a:pt x="248" y="29"/>
                  </a:cubicBezTo>
                  <a:cubicBezTo>
                    <a:pt x="246" y="28"/>
                    <a:pt x="243" y="27"/>
                    <a:pt x="241" y="25"/>
                  </a:cubicBezTo>
                  <a:cubicBezTo>
                    <a:pt x="239" y="24"/>
                    <a:pt x="237" y="22"/>
                    <a:pt x="236" y="20"/>
                  </a:cubicBezTo>
                  <a:cubicBezTo>
                    <a:pt x="235" y="19"/>
                    <a:pt x="235" y="19"/>
                    <a:pt x="235" y="19"/>
                  </a:cubicBezTo>
                  <a:cubicBezTo>
                    <a:pt x="232" y="11"/>
                    <a:pt x="232" y="11"/>
                    <a:pt x="232" y="11"/>
                  </a:cubicBezTo>
                  <a:cubicBezTo>
                    <a:pt x="232" y="10"/>
                    <a:pt x="232" y="9"/>
                    <a:pt x="231" y="9"/>
                  </a:cubicBezTo>
                  <a:cubicBezTo>
                    <a:pt x="231" y="8"/>
                    <a:pt x="230" y="7"/>
                    <a:pt x="230" y="7"/>
                  </a:cubicBezTo>
                  <a:cubicBezTo>
                    <a:pt x="230" y="6"/>
                    <a:pt x="229" y="5"/>
                    <a:pt x="229" y="3"/>
                  </a:cubicBezTo>
                  <a:cubicBezTo>
                    <a:pt x="229" y="2"/>
                    <a:pt x="229" y="1"/>
                    <a:pt x="2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0" name="Rectangle 1526"/>
            <p:cNvSpPr>
              <a:spLocks noChangeArrowheads="1"/>
            </p:cNvSpPr>
            <p:nvPr/>
          </p:nvSpPr>
          <p:spPr bwMode="auto">
            <a:xfrm>
              <a:off x="484583" y="3112880"/>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1" name="Freeform 1527"/>
            <p:cNvSpPr/>
            <p:nvPr/>
          </p:nvSpPr>
          <p:spPr bwMode="auto">
            <a:xfrm flipH="1">
              <a:off x="484583" y="3112880"/>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2" name="Freeform 1528"/>
            <p:cNvSpPr/>
            <p:nvPr/>
          </p:nvSpPr>
          <p:spPr bwMode="auto">
            <a:xfrm flipH="1">
              <a:off x="532907" y="2469901"/>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1529"/>
            <p:cNvSpPr/>
            <p:nvPr/>
          </p:nvSpPr>
          <p:spPr bwMode="auto">
            <a:xfrm flipH="1">
              <a:off x="532907" y="2469901"/>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Freeform 1530"/>
            <p:cNvSpPr>
              <a:spLocks noEditPoints="1"/>
            </p:cNvSpPr>
            <p:nvPr/>
          </p:nvSpPr>
          <p:spPr bwMode="auto">
            <a:xfrm>
              <a:off x="0" y="2021560"/>
              <a:ext cx="1167832" cy="1081924"/>
            </a:xfrm>
            <a:custGeom>
              <a:gdLst>
                <a:gd name="T0" fmla="*/ 294 w 368"/>
                <a:gd name="T1" fmla="*/ 5 h 341"/>
                <a:gd name="T2" fmla="*/ 274 w 368"/>
                <a:gd name="T3" fmla="*/ 4 h 341"/>
                <a:gd name="T4" fmla="*/ 239 w 368"/>
                <a:gd name="T5" fmla="*/ 16 h 341"/>
                <a:gd name="T6" fmla="*/ 234 w 368"/>
                <a:gd name="T7" fmla="*/ 33 h 341"/>
                <a:gd name="T8" fmla="*/ 237 w 368"/>
                <a:gd name="T9" fmla="*/ 47 h 341"/>
                <a:gd name="T10" fmla="*/ 224 w 368"/>
                <a:gd name="T11" fmla="*/ 62 h 341"/>
                <a:gd name="T12" fmla="*/ 225 w 368"/>
                <a:gd name="T13" fmla="*/ 74 h 341"/>
                <a:gd name="T14" fmla="*/ 197 w 368"/>
                <a:gd name="T15" fmla="*/ 80 h 341"/>
                <a:gd name="T16" fmla="*/ 196 w 368"/>
                <a:gd name="T17" fmla="*/ 104 h 341"/>
                <a:gd name="T18" fmla="*/ 190 w 368"/>
                <a:gd name="T19" fmla="*/ 105 h 341"/>
                <a:gd name="T20" fmla="*/ 185 w 368"/>
                <a:gd name="T21" fmla="*/ 115 h 341"/>
                <a:gd name="T22" fmla="*/ 172 w 368"/>
                <a:gd name="T23" fmla="*/ 142 h 341"/>
                <a:gd name="T24" fmla="*/ 165 w 368"/>
                <a:gd name="T25" fmla="*/ 141 h 341"/>
                <a:gd name="T26" fmla="*/ 154 w 368"/>
                <a:gd name="T27" fmla="*/ 140 h 341"/>
                <a:gd name="T28" fmla="*/ 137 w 368"/>
                <a:gd name="T29" fmla="*/ 153 h 341"/>
                <a:gd name="T30" fmla="*/ 122 w 368"/>
                <a:gd name="T31" fmla="*/ 153 h 341"/>
                <a:gd name="T32" fmla="*/ 112 w 368"/>
                <a:gd name="T33" fmla="*/ 171 h 341"/>
                <a:gd name="T34" fmla="*/ 104 w 368"/>
                <a:gd name="T35" fmla="*/ 191 h 341"/>
                <a:gd name="T36" fmla="*/ 62 w 368"/>
                <a:gd name="T37" fmla="*/ 199 h 341"/>
                <a:gd name="T38" fmla="*/ 53 w 368"/>
                <a:gd name="T39" fmla="*/ 200 h 341"/>
                <a:gd name="T40" fmla="*/ 34 w 368"/>
                <a:gd name="T41" fmla="*/ 200 h 341"/>
                <a:gd name="T42" fmla="*/ 0 w 368"/>
                <a:gd name="T43" fmla="*/ 207 h 341"/>
                <a:gd name="T44" fmla="*/ 24 w 368"/>
                <a:gd name="T45" fmla="*/ 224 h 341"/>
                <a:gd name="T46" fmla="*/ 29 w 368"/>
                <a:gd name="T47" fmla="*/ 250 h 341"/>
                <a:gd name="T48" fmla="*/ 38 w 368"/>
                <a:gd name="T49" fmla="*/ 268 h 341"/>
                <a:gd name="T50" fmla="*/ 12 w 368"/>
                <a:gd name="T51" fmla="*/ 277 h 341"/>
                <a:gd name="T52" fmla="*/ 2 w 368"/>
                <a:gd name="T53" fmla="*/ 305 h 341"/>
                <a:gd name="T54" fmla="*/ 38 w 368"/>
                <a:gd name="T55" fmla="*/ 304 h 341"/>
                <a:gd name="T56" fmla="*/ 61 w 368"/>
                <a:gd name="T57" fmla="*/ 302 h 341"/>
                <a:gd name="T58" fmla="*/ 110 w 368"/>
                <a:gd name="T59" fmla="*/ 300 h 341"/>
                <a:gd name="T60" fmla="*/ 115 w 368"/>
                <a:gd name="T61" fmla="*/ 297 h 341"/>
                <a:gd name="T62" fmla="*/ 131 w 368"/>
                <a:gd name="T63" fmla="*/ 324 h 341"/>
                <a:gd name="T64" fmla="*/ 153 w 368"/>
                <a:gd name="T65" fmla="*/ 337 h 341"/>
                <a:gd name="T66" fmla="*/ 164 w 368"/>
                <a:gd name="T67" fmla="*/ 323 h 341"/>
                <a:gd name="T68" fmla="*/ 195 w 368"/>
                <a:gd name="T69" fmla="*/ 327 h 341"/>
                <a:gd name="T70" fmla="*/ 210 w 368"/>
                <a:gd name="T71" fmla="*/ 321 h 341"/>
                <a:gd name="T72" fmla="*/ 217 w 368"/>
                <a:gd name="T73" fmla="*/ 319 h 341"/>
                <a:gd name="T74" fmla="*/ 211 w 368"/>
                <a:gd name="T75" fmla="*/ 301 h 341"/>
                <a:gd name="T76" fmla="*/ 203 w 368"/>
                <a:gd name="T77" fmla="*/ 294 h 341"/>
                <a:gd name="T78" fmla="*/ 197 w 368"/>
                <a:gd name="T79" fmla="*/ 273 h 341"/>
                <a:gd name="T80" fmla="*/ 183 w 368"/>
                <a:gd name="T81" fmla="*/ 268 h 341"/>
                <a:gd name="T82" fmla="*/ 198 w 368"/>
                <a:gd name="T83" fmla="*/ 236 h 341"/>
                <a:gd name="T84" fmla="*/ 205 w 368"/>
                <a:gd name="T85" fmla="*/ 231 h 341"/>
                <a:gd name="T86" fmla="*/ 215 w 368"/>
                <a:gd name="T87" fmla="*/ 236 h 341"/>
                <a:gd name="T88" fmla="*/ 225 w 368"/>
                <a:gd name="T89" fmla="*/ 230 h 341"/>
                <a:gd name="T90" fmla="*/ 250 w 368"/>
                <a:gd name="T91" fmla="*/ 214 h 341"/>
                <a:gd name="T92" fmla="*/ 270 w 368"/>
                <a:gd name="T93" fmla="*/ 192 h 341"/>
                <a:gd name="T94" fmla="*/ 285 w 368"/>
                <a:gd name="T95" fmla="*/ 170 h 341"/>
                <a:gd name="T96" fmla="*/ 301 w 368"/>
                <a:gd name="T97" fmla="*/ 147 h 341"/>
                <a:gd name="T98" fmla="*/ 306 w 368"/>
                <a:gd name="T99" fmla="*/ 130 h 341"/>
                <a:gd name="T100" fmla="*/ 318 w 368"/>
                <a:gd name="T101" fmla="*/ 123 h 341"/>
                <a:gd name="T102" fmla="*/ 304 w 368"/>
                <a:gd name="T103" fmla="*/ 118 h 341"/>
                <a:gd name="T104" fmla="*/ 283 w 368"/>
                <a:gd name="T105" fmla="*/ 103 h 341"/>
                <a:gd name="T106" fmla="*/ 288 w 368"/>
                <a:gd name="T107" fmla="*/ 85 h 341"/>
                <a:gd name="T108" fmla="*/ 288 w 368"/>
                <a:gd name="T109" fmla="*/ 79 h 341"/>
                <a:gd name="T110" fmla="*/ 283 w 368"/>
                <a:gd name="T111" fmla="*/ 69 h 341"/>
                <a:gd name="T112" fmla="*/ 305 w 368"/>
                <a:gd name="T113" fmla="*/ 56 h 341"/>
                <a:gd name="T114" fmla="*/ 328 w 368"/>
                <a:gd name="T115" fmla="*/ 61 h 341"/>
                <a:gd name="T116" fmla="*/ 349 w 368"/>
                <a:gd name="T117" fmla="*/ 56 h 341"/>
                <a:gd name="T118" fmla="*/ 367 w 368"/>
                <a:gd name="T119" fmla="*/ 40 h 341"/>
                <a:gd name="T120" fmla="*/ 338 w 368"/>
                <a:gd name="T121" fmla="*/ 30 h 341"/>
                <a:gd name="T122" fmla="*/ 334 w 368"/>
                <a:gd name="T123" fmla="*/ 12 h 341"/>
                <a:gd name="T124" fmla="*/ 311 w 368"/>
                <a:gd name="T125" fmla="*/ 1 h 3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8" h="341">
                  <a:moveTo>
                    <a:pt x="114" y="299"/>
                  </a:moveTo>
                  <a:cubicBezTo>
                    <a:pt x="114" y="299"/>
                    <a:pt x="114" y="299"/>
                    <a:pt x="114" y="299"/>
                  </a:cubicBezTo>
                  <a:cubicBezTo>
                    <a:pt x="114" y="299"/>
                    <a:pt x="114" y="299"/>
                    <a:pt x="114" y="299"/>
                  </a:cubicBezTo>
                  <a:moveTo>
                    <a:pt x="305" y="0"/>
                  </a:moveTo>
                  <a:cubicBezTo>
                    <a:pt x="305" y="0"/>
                    <a:pt x="305" y="0"/>
                    <a:pt x="304" y="0"/>
                  </a:cubicBezTo>
                  <a:cubicBezTo>
                    <a:pt x="303" y="0"/>
                    <a:pt x="302" y="1"/>
                    <a:pt x="301" y="2"/>
                  </a:cubicBezTo>
                  <a:cubicBezTo>
                    <a:pt x="301" y="2"/>
                    <a:pt x="301" y="2"/>
                    <a:pt x="301" y="2"/>
                  </a:cubicBezTo>
                  <a:cubicBezTo>
                    <a:pt x="298" y="3"/>
                    <a:pt x="296" y="4"/>
                    <a:pt x="294" y="5"/>
                  </a:cubicBezTo>
                  <a:cubicBezTo>
                    <a:pt x="293" y="5"/>
                    <a:pt x="293" y="5"/>
                    <a:pt x="293" y="5"/>
                  </a:cubicBezTo>
                  <a:cubicBezTo>
                    <a:pt x="292" y="5"/>
                    <a:pt x="292" y="6"/>
                    <a:pt x="291" y="6"/>
                  </a:cubicBezTo>
                  <a:cubicBezTo>
                    <a:pt x="289" y="6"/>
                    <a:pt x="287" y="5"/>
                    <a:pt x="286" y="4"/>
                  </a:cubicBezTo>
                  <a:cubicBezTo>
                    <a:pt x="285" y="4"/>
                    <a:pt x="285" y="4"/>
                    <a:pt x="285" y="4"/>
                  </a:cubicBezTo>
                  <a:cubicBezTo>
                    <a:pt x="284" y="4"/>
                    <a:pt x="284" y="4"/>
                    <a:pt x="284" y="4"/>
                  </a:cubicBezTo>
                  <a:cubicBezTo>
                    <a:pt x="284" y="4"/>
                    <a:pt x="283" y="4"/>
                    <a:pt x="283" y="4"/>
                  </a:cubicBezTo>
                  <a:cubicBezTo>
                    <a:pt x="281" y="4"/>
                    <a:pt x="279" y="4"/>
                    <a:pt x="278" y="4"/>
                  </a:cubicBezTo>
                  <a:cubicBezTo>
                    <a:pt x="274" y="4"/>
                    <a:pt x="274" y="4"/>
                    <a:pt x="274" y="4"/>
                  </a:cubicBezTo>
                  <a:cubicBezTo>
                    <a:pt x="271" y="4"/>
                    <a:pt x="269" y="5"/>
                    <a:pt x="266" y="5"/>
                  </a:cubicBezTo>
                  <a:cubicBezTo>
                    <a:pt x="262" y="5"/>
                    <a:pt x="262" y="5"/>
                    <a:pt x="262" y="5"/>
                  </a:cubicBezTo>
                  <a:cubicBezTo>
                    <a:pt x="260" y="5"/>
                    <a:pt x="258" y="6"/>
                    <a:pt x="256" y="7"/>
                  </a:cubicBezTo>
                  <a:cubicBezTo>
                    <a:pt x="253" y="8"/>
                    <a:pt x="251" y="10"/>
                    <a:pt x="248" y="11"/>
                  </a:cubicBezTo>
                  <a:cubicBezTo>
                    <a:pt x="247" y="12"/>
                    <a:pt x="247" y="12"/>
                    <a:pt x="247" y="12"/>
                  </a:cubicBezTo>
                  <a:cubicBezTo>
                    <a:pt x="245" y="13"/>
                    <a:pt x="243" y="14"/>
                    <a:pt x="242" y="15"/>
                  </a:cubicBezTo>
                  <a:cubicBezTo>
                    <a:pt x="241" y="16"/>
                    <a:pt x="240" y="16"/>
                    <a:pt x="239" y="16"/>
                  </a:cubicBezTo>
                  <a:cubicBezTo>
                    <a:pt x="239" y="16"/>
                    <a:pt x="239" y="16"/>
                    <a:pt x="239" y="16"/>
                  </a:cubicBezTo>
                  <a:cubicBezTo>
                    <a:pt x="238" y="16"/>
                    <a:pt x="237" y="16"/>
                    <a:pt x="236" y="16"/>
                  </a:cubicBezTo>
                  <a:cubicBezTo>
                    <a:pt x="236" y="16"/>
                    <a:pt x="236" y="16"/>
                    <a:pt x="236" y="16"/>
                  </a:cubicBezTo>
                  <a:cubicBezTo>
                    <a:pt x="233" y="18"/>
                    <a:pt x="230" y="21"/>
                    <a:pt x="228" y="23"/>
                  </a:cubicBezTo>
                  <a:cubicBezTo>
                    <a:pt x="229" y="25"/>
                    <a:pt x="230" y="27"/>
                    <a:pt x="231" y="28"/>
                  </a:cubicBezTo>
                  <a:cubicBezTo>
                    <a:pt x="232" y="29"/>
                    <a:pt x="232" y="29"/>
                    <a:pt x="232" y="30"/>
                  </a:cubicBezTo>
                  <a:cubicBezTo>
                    <a:pt x="232" y="30"/>
                    <a:pt x="233" y="30"/>
                    <a:pt x="233" y="31"/>
                  </a:cubicBezTo>
                  <a:cubicBezTo>
                    <a:pt x="233" y="31"/>
                    <a:pt x="234" y="32"/>
                    <a:pt x="234" y="33"/>
                  </a:cubicBezTo>
                  <a:cubicBezTo>
                    <a:pt x="234" y="33"/>
                    <a:pt x="234" y="33"/>
                    <a:pt x="234" y="33"/>
                  </a:cubicBezTo>
                  <a:cubicBezTo>
                    <a:pt x="238" y="31"/>
                    <a:pt x="238" y="31"/>
                    <a:pt x="238" y="31"/>
                  </a:cubicBezTo>
                  <a:cubicBezTo>
                    <a:pt x="235" y="34"/>
                    <a:pt x="235" y="34"/>
                    <a:pt x="235" y="34"/>
                  </a:cubicBezTo>
                  <a:cubicBezTo>
                    <a:pt x="236" y="36"/>
                    <a:pt x="236" y="36"/>
                    <a:pt x="236" y="36"/>
                  </a:cubicBezTo>
                  <a:cubicBezTo>
                    <a:pt x="237" y="37"/>
                    <a:pt x="236" y="39"/>
                    <a:pt x="236" y="41"/>
                  </a:cubicBezTo>
                  <a:cubicBezTo>
                    <a:pt x="236" y="42"/>
                    <a:pt x="236" y="43"/>
                    <a:pt x="236" y="43"/>
                  </a:cubicBezTo>
                  <a:cubicBezTo>
                    <a:pt x="236" y="44"/>
                    <a:pt x="236" y="44"/>
                    <a:pt x="236" y="44"/>
                  </a:cubicBezTo>
                  <a:cubicBezTo>
                    <a:pt x="237" y="44"/>
                    <a:pt x="237" y="44"/>
                    <a:pt x="237" y="44"/>
                  </a:cubicBezTo>
                  <a:cubicBezTo>
                    <a:pt x="237" y="45"/>
                    <a:pt x="238" y="46"/>
                    <a:pt x="237" y="47"/>
                  </a:cubicBezTo>
                  <a:cubicBezTo>
                    <a:pt x="237" y="47"/>
                    <a:pt x="237" y="47"/>
                    <a:pt x="237" y="47"/>
                  </a:cubicBezTo>
                  <a:cubicBezTo>
                    <a:pt x="237" y="48"/>
                    <a:pt x="237" y="48"/>
                    <a:pt x="236" y="49"/>
                  </a:cubicBezTo>
                  <a:cubicBezTo>
                    <a:pt x="236" y="50"/>
                    <a:pt x="236" y="50"/>
                    <a:pt x="236" y="50"/>
                  </a:cubicBezTo>
                  <a:cubicBezTo>
                    <a:pt x="235" y="51"/>
                    <a:pt x="235" y="51"/>
                    <a:pt x="235" y="51"/>
                  </a:cubicBezTo>
                  <a:cubicBezTo>
                    <a:pt x="234" y="54"/>
                    <a:pt x="232" y="55"/>
                    <a:pt x="230" y="56"/>
                  </a:cubicBezTo>
                  <a:cubicBezTo>
                    <a:pt x="230" y="56"/>
                    <a:pt x="229" y="56"/>
                    <a:pt x="229" y="57"/>
                  </a:cubicBezTo>
                  <a:cubicBezTo>
                    <a:pt x="228" y="57"/>
                    <a:pt x="228" y="58"/>
                    <a:pt x="228" y="58"/>
                  </a:cubicBezTo>
                  <a:cubicBezTo>
                    <a:pt x="227" y="59"/>
                    <a:pt x="226" y="61"/>
                    <a:pt x="224" y="62"/>
                  </a:cubicBezTo>
                  <a:cubicBezTo>
                    <a:pt x="224" y="63"/>
                    <a:pt x="223" y="63"/>
                    <a:pt x="223" y="63"/>
                  </a:cubicBezTo>
                  <a:cubicBezTo>
                    <a:pt x="222" y="64"/>
                    <a:pt x="222" y="65"/>
                    <a:pt x="223" y="65"/>
                  </a:cubicBezTo>
                  <a:cubicBezTo>
                    <a:pt x="223" y="66"/>
                    <a:pt x="223" y="66"/>
                    <a:pt x="224" y="67"/>
                  </a:cubicBezTo>
                  <a:cubicBezTo>
                    <a:pt x="224" y="67"/>
                    <a:pt x="224" y="67"/>
                    <a:pt x="224" y="67"/>
                  </a:cubicBezTo>
                  <a:cubicBezTo>
                    <a:pt x="224" y="67"/>
                    <a:pt x="225" y="68"/>
                    <a:pt x="225" y="68"/>
                  </a:cubicBezTo>
                  <a:cubicBezTo>
                    <a:pt x="226" y="70"/>
                    <a:pt x="226" y="70"/>
                    <a:pt x="226" y="71"/>
                  </a:cubicBezTo>
                  <a:cubicBezTo>
                    <a:pt x="226" y="72"/>
                    <a:pt x="225" y="73"/>
                    <a:pt x="225" y="74"/>
                  </a:cubicBezTo>
                  <a:cubicBezTo>
                    <a:pt x="225" y="74"/>
                    <a:pt x="225" y="74"/>
                    <a:pt x="225" y="74"/>
                  </a:cubicBezTo>
                  <a:cubicBezTo>
                    <a:pt x="225" y="75"/>
                    <a:pt x="225" y="75"/>
                    <a:pt x="225" y="75"/>
                  </a:cubicBezTo>
                  <a:cubicBezTo>
                    <a:pt x="225" y="75"/>
                    <a:pt x="224" y="75"/>
                    <a:pt x="224" y="76"/>
                  </a:cubicBezTo>
                  <a:cubicBezTo>
                    <a:pt x="223" y="78"/>
                    <a:pt x="222" y="79"/>
                    <a:pt x="220" y="79"/>
                  </a:cubicBezTo>
                  <a:cubicBezTo>
                    <a:pt x="217" y="82"/>
                    <a:pt x="213" y="83"/>
                    <a:pt x="210" y="83"/>
                  </a:cubicBezTo>
                  <a:cubicBezTo>
                    <a:pt x="209" y="83"/>
                    <a:pt x="208" y="83"/>
                    <a:pt x="207" y="82"/>
                  </a:cubicBezTo>
                  <a:cubicBezTo>
                    <a:pt x="206" y="82"/>
                    <a:pt x="206" y="82"/>
                    <a:pt x="206" y="82"/>
                  </a:cubicBezTo>
                  <a:cubicBezTo>
                    <a:pt x="205" y="82"/>
                    <a:pt x="204" y="82"/>
                    <a:pt x="203" y="81"/>
                  </a:cubicBezTo>
                  <a:cubicBezTo>
                    <a:pt x="200" y="81"/>
                    <a:pt x="198" y="80"/>
                    <a:pt x="197" y="80"/>
                  </a:cubicBezTo>
                  <a:cubicBezTo>
                    <a:pt x="198" y="82"/>
                    <a:pt x="198" y="82"/>
                    <a:pt x="198" y="82"/>
                  </a:cubicBezTo>
                  <a:cubicBezTo>
                    <a:pt x="199" y="83"/>
                    <a:pt x="200" y="83"/>
                    <a:pt x="200" y="84"/>
                  </a:cubicBezTo>
                  <a:cubicBezTo>
                    <a:pt x="202" y="87"/>
                    <a:pt x="202" y="87"/>
                    <a:pt x="202" y="87"/>
                  </a:cubicBezTo>
                  <a:cubicBezTo>
                    <a:pt x="206" y="93"/>
                    <a:pt x="208" y="96"/>
                    <a:pt x="205" y="98"/>
                  </a:cubicBezTo>
                  <a:cubicBezTo>
                    <a:pt x="205" y="99"/>
                    <a:pt x="205" y="99"/>
                    <a:pt x="205" y="99"/>
                  </a:cubicBezTo>
                  <a:cubicBezTo>
                    <a:pt x="204" y="99"/>
                    <a:pt x="204" y="99"/>
                    <a:pt x="204" y="99"/>
                  </a:cubicBezTo>
                  <a:cubicBezTo>
                    <a:pt x="204" y="100"/>
                    <a:pt x="204" y="100"/>
                    <a:pt x="204" y="100"/>
                  </a:cubicBezTo>
                  <a:cubicBezTo>
                    <a:pt x="202" y="101"/>
                    <a:pt x="198" y="103"/>
                    <a:pt x="196" y="104"/>
                  </a:cubicBezTo>
                  <a:cubicBezTo>
                    <a:pt x="197" y="109"/>
                    <a:pt x="197" y="109"/>
                    <a:pt x="197" y="109"/>
                  </a:cubicBezTo>
                  <a:cubicBezTo>
                    <a:pt x="194" y="105"/>
                    <a:pt x="194" y="105"/>
                    <a:pt x="194" y="105"/>
                  </a:cubicBezTo>
                  <a:cubicBezTo>
                    <a:pt x="194" y="105"/>
                    <a:pt x="194" y="105"/>
                    <a:pt x="194" y="105"/>
                  </a:cubicBezTo>
                  <a:cubicBezTo>
                    <a:pt x="193" y="105"/>
                    <a:pt x="192" y="105"/>
                    <a:pt x="192" y="105"/>
                  </a:cubicBezTo>
                  <a:cubicBezTo>
                    <a:pt x="191" y="105"/>
                    <a:pt x="191" y="105"/>
                    <a:pt x="191" y="105"/>
                  </a:cubicBezTo>
                  <a:cubicBezTo>
                    <a:pt x="191" y="105"/>
                    <a:pt x="191" y="105"/>
                    <a:pt x="191" y="105"/>
                  </a:cubicBezTo>
                  <a:cubicBezTo>
                    <a:pt x="190" y="105"/>
                    <a:pt x="190" y="105"/>
                    <a:pt x="190" y="105"/>
                  </a:cubicBezTo>
                  <a:cubicBezTo>
                    <a:pt x="190" y="105"/>
                    <a:pt x="190" y="105"/>
                    <a:pt x="190" y="105"/>
                  </a:cubicBezTo>
                  <a:cubicBezTo>
                    <a:pt x="189" y="105"/>
                    <a:pt x="189" y="105"/>
                    <a:pt x="189" y="105"/>
                  </a:cubicBezTo>
                  <a:cubicBezTo>
                    <a:pt x="188" y="104"/>
                    <a:pt x="188" y="104"/>
                    <a:pt x="188" y="104"/>
                  </a:cubicBezTo>
                  <a:cubicBezTo>
                    <a:pt x="188" y="105"/>
                    <a:pt x="188" y="105"/>
                    <a:pt x="188" y="105"/>
                  </a:cubicBezTo>
                  <a:cubicBezTo>
                    <a:pt x="188" y="105"/>
                    <a:pt x="188" y="105"/>
                    <a:pt x="188" y="105"/>
                  </a:cubicBezTo>
                  <a:cubicBezTo>
                    <a:pt x="187" y="106"/>
                    <a:pt x="187" y="108"/>
                    <a:pt x="186" y="110"/>
                  </a:cubicBezTo>
                  <a:cubicBezTo>
                    <a:pt x="186" y="111"/>
                    <a:pt x="186" y="112"/>
                    <a:pt x="186" y="113"/>
                  </a:cubicBezTo>
                  <a:cubicBezTo>
                    <a:pt x="186" y="113"/>
                    <a:pt x="186" y="113"/>
                    <a:pt x="186" y="113"/>
                  </a:cubicBezTo>
                  <a:cubicBezTo>
                    <a:pt x="186" y="114"/>
                    <a:pt x="185" y="114"/>
                    <a:pt x="185" y="115"/>
                  </a:cubicBezTo>
                  <a:cubicBezTo>
                    <a:pt x="185" y="116"/>
                    <a:pt x="183" y="118"/>
                    <a:pt x="182" y="119"/>
                  </a:cubicBezTo>
                  <a:cubicBezTo>
                    <a:pt x="182" y="119"/>
                    <a:pt x="182" y="119"/>
                    <a:pt x="182" y="119"/>
                  </a:cubicBezTo>
                  <a:cubicBezTo>
                    <a:pt x="182" y="126"/>
                    <a:pt x="182" y="126"/>
                    <a:pt x="182" y="126"/>
                  </a:cubicBezTo>
                  <a:cubicBezTo>
                    <a:pt x="182" y="126"/>
                    <a:pt x="182" y="126"/>
                    <a:pt x="182" y="126"/>
                  </a:cubicBezTo>
                  <a:cubicBezTo>
                    <a:pt x="183" y="130"/>
                    <a:pt x="183" y="130"/>
                    <a:pt x="183" y="130"/>
                  </a:cubicBezTo>
                  <a:cubicBezTo>
                    <a:pt x="183" y="133"/>
                    <a:pt x="182" y="134"/>
                    <a:pt x="181" y="135"/>
                  </a:cubicBezTo>
                  <a:cubicBezTo>
                    <a:pt x="178" y="138"/>
                    <a:pt x="176" y="140"/>
                    <a:pt x="173" y="142"/>
                  </a:cubicBezTo>
                  <a:cubicBezTo>
                    <a:pt x="172" y="142"/>
                    <a:pt x="172" y="142"/>
                    <a:pt x="172" y="142"/>
                  </a:cubicBezTo>
                  <a:cubicBezTo>
                    <a:pt x="172" y="143"/>
                    <a:pt x="171" y="143"/>
                    <a:pt x="170" y="143"/>
                  </a:cubicBezTo>
                  <a:cubicBezTo>
                    <a:pt x="170" y="143"/>
                    <a:pt x="170" y="143"/>
                    <a:pt x="170" y="143"/>
                  </a:cubicBezTo>
                  <a:cubicBezTo>
                    <a:pt x="170" y="143"/>
                    <a:pt x="170" y="143"/>
                    <a:pt x="170" y="143"/>
                  </a:cubicBezTo>
                  <a:cubicBezTo>
                    <a:pt x="169" y="143"/>
                    <a:pt x="169" y="143"/>
                    <a:pt x="169" y="143"/>
                  </a:cubicBezTo>
                  <a:cubicBezTo>
                    <a:pt x="168" y="143"/>
                    <a:pt x="168" y="143"/>
                    <a:pt x="168" y="143"/>
                  </a:cubicBezTo>
                  <a:cubicBezTo>
                    <a:pt x="167" y="142"/>
                    <a:pt x="167" y="142"/>
                    <a:pt x="167" y="142"/>
                  </a:cubicBezTo>
                  <a:cubicBezTo>
                    <a:pt x="166" y="142"/>
                    <a:pt x="166" y="141"/>
                    <a:pt x="165" y="141"/>
                  </a:cubicBezTo>
                  <a:cubicBezTo>
                    <a:pt x="165" y="141"/>
                    <a:pt x="165" y="141"/>
                    <a:pt x="165" y="141"/>
                  </a:cubicBezTo>
                  <a:cubicBezTo>
                    <a:pt x="164" y="140"/>
                    <a:pt x="163" y="139"/>
                    <a:pt x="162" y="139"/>
                  </a:cubicBezTo>
                  <a:cubicBezTo>
                    <a:pt x="161" y="138"/>
                    <a:pt x="161" y="138"/>
                    <a:pt x="161" y="138"/>
                  </a:cubicBezTo>
                  <a:cubicBezTo>
                    <a:pt x="161" y="138"/>
                    <a:pt x="161" y="138"/>
                    <a:pt x="161" y="138"/>
                  </a:cubicBezTo>
                  <a:cubicBezTo>
                    <a:pt x="160" y="138"/>
                    <a:pt x="160" y="138"/>
                    <a:pt x="160" y="138"/>
                  </a:cubicBezTo>
                  <a:cubicBezTo>
                    <a:pt x="159" y="138"/>
                    <a:pt x="159" y="139"/>
                    <a:pt x="158" y="139"/>
                  </a:cubicBezTo>
                  <a:cubicBezTo>
                    <a:pt x="157" y="139"/>
                    <a:pt x="157" y="139"/>
                    <a:pt x="157" y="139"/>
                  </a:cubicBezTo>
                  <a:cubicBezTo>
                    <a:pt x="157" y="139"/>
                    <a:pt x="156" y="139"/>
                    <a:pt x="155" y="139"/>
                  </a:cubicBezTo>
                  <a:cubicBezTo>
                    <a:pt x="155" y="139"/>
                    <a:pt x="155" y="140"/>
                    <a:pt x="154" y="140"/>
                  </a:cubicBezTo>
                  <a:cubicBezTo>
                    <a:pt x="154" y="140"/>
                    <a:pt x="153" y="140"/>
                    <a:pt x="153" y="140"/>
                  </a:cubicBezTo>
                  <a:cubicBezTo>
                    <a:pt x="152" y="140"/>
                    <a:pt x="152" y="141"/>
                    <a:pt x="151" y="141"/>
                  </a:cubicBezTo>
                  <a:cubicBezTo>
                    <a:pt x="150" y="142"/>
                    <a:pt x="150" y="142"/>
                    <a:pt x="150" y="142"/>
                  </a:cubicBezTo>
                  <a:cubicBezTo>
                    <a:pt x="148" y="143"/>
                    <a:pt x="147" y="144"/>
                    <a:pt x="145" y="144"/>
                  </a:cubicBezTo>
                  <a:cubicBezTo>
                    <a:pt x="150" y="148"/>
                    <a:pt x="150" y="148"/>
                    <a:pt x="150" y="148"/>
                  </a:cubicBezTo>
                  <a:cubicBezTo>
                    <a:pt x="145" y="150"/>
                    <a:pt x="145" y="150"/>
                    <a:pt x="145" y="150"/>
                  </a:cubicBezTo>
                  <a:cubicBezTo>
                    <a:pt x="145" y="150"/>
                    <a:pt x="144" y="151"/>
                    <a:pt x="143" y="151"/>
                  </a:cubicBezTo>
                  <a:cubicBezTo>
                    <a:pt x="141" y="152"/>
                    <a:pt x="139" y="153"/>
                    <a:pt x="137" y="153"/>
                  </a:cubicBezTo>
                  <a:cubicBezTo>
                    <a:pt x="136" y="154"/>
                    <a:pt x="136" y="154"/>
                    <a:pt x="136" y="154"/>
                  </a:cubicBezTo>
                  <a:cubicBezTo>
                    <a:pt x="135" y="154"/>
                    <a:pt x="135" y="154"/>
                    <a:pt x="134" y="154"/>
                  </a:cubicBezTo>
                  <a:cubicBezTo>
                    <a:pt x="132" y="154"/>
                    <a:pt x="129" y="153"/>
                    <a:pt x="127" y="152"/>
                  </a:cubicBezTo>
                  <a:cubicBezTo>
                    <a:pt x="126" y="152"/>
                    <a:pt x="126" y="152"/>
                    <a:pt x="126" y="152"/>
                  </a:cubicBezTo>
                  <a:cubicBezTo>
                    <a:pt x="126" y="152"/>
                    <a:pt x="126" y="152"/>
                    <a:pt x="126" y="152"/>
                  </a:cubicBezTo>
                  <a:cubicBezTo>
                    <a:pt x="125" y="152"/>
                    <a:pt x="125" y="152"/>
                    <a:pt x="124" y="152"/>
                  </a:cubicBezTo>
                  <a:cubicBezTo>
                    <a:pt x="124" y="152"/>
                    <a:pt x="123" y="152"/>
                    <a:pt x="123" y="153"/>
                  </a:cubicBezTo>
                  <a:cubicBezTo>
                    <a:pt x="123" y="153"/>
                    <a:pt x="122" y="153"/>
                    <a:pt x="122" y="153"/>
                  </a:cubicBezTo>
                  <a:cubicBezTo>
                    <a:pt x="121" y="154"/>
                    <a:pt x="121" y="154"/>
                    <a:pt x="121" y="154"/>
                  </a:cubicBezTo>
                  <a:cubicBezTo>
                    <a:pt x="120" y="155"/>
                    <a:pt x="119" y="155"/>
                    <a:pt x="118" y="156"/>
                  </a:cubicBezTo>
                  <a:cubicBezTo>
                    <a:pt x="117" y="157"/>
                    <a:pt x="116" y="159"/>
                    <a:pt x="115" y="159"/>
                  </a:cubicBezTo>
                  <a:cubicBezTo>
                    <a:pt x="115" y="160"/>
                    <a:pt x="115" y="160"/>
                    <a:pt x="115" y="160"/>
                  </a:cubicBezTo>
                  <a:cubicBezTo>
                    <a:pt x="114" y="160"/>
                    <a:pt x="114" y="160"/>
                    <a:pt x="114" y="161"/>
                  </a:cubicBezTo>
                  <a:cubicBezTo>
                    <a:pt x="114" y="162"/>
                    <a:pt x="114" y="162"/>
                    <a:pt x="113" y="162"/>
                  </a:cubicBezTo>
                  <a:cubicBezTo>
                    <a:pt x="113" y="164"/>
                    <a:pt x="113" y="164"/>
                    <a:pt x="113" y="164"/>
                  </a:cubicBezTo>
                  <a:cubicBezTo>
                    <a:pt x="113" y="166"/>
                    <a:pt x="112" y="169"/>
                    <a:pt x="112" y="171"/>
                  </a:cubicBezTo>
                  <a:cubicBezTo>
                    <a:pt x="112" y="172"/>
                    <a:pt x="112" y="174"/>
                    <a:pt x="112" y="175"/>
                  </a:cubicBezTo>
                  <a:cubicBezTo>
                    <a:pt x="112" y="176"/>
                    <a:pt x="112" y="177"/>
                    <a:pt x="111" y="179"/>
                  </a:cubicBezTo>
                  <a:cubicBezTo>
                    <a:pt x="111" y="179"/>
                    <a:pt x="111" y="179"/>
                    <a:pt x="111" y="179"/>
                  </a:cubicBezTo>
                  <a:cubicBezTo>
                    <a:pt x="111" y="179"/>
                    <a:pt x="111" y="179"/>
                    <a:pt x="111" y="179"/>
                  </a:cubicBezTo>
                  <a:cubicBezTo>
                    <a:pt x="112" y="180"/>
                    <a:pt x="112" y="181"/>
                    <a:pt x="112" y="182"/>
                  </a:cubicBezTo>
                  <a:cubicBezTo>
                    <a:pt x="112" y="184"/>
                    <a:pt x="112" y="186"/>
                    <a:pt x="111" y="187"/>
                  </a:cubicBezTo>
                  <a:cubicBezTo>
                    <a:pt x="110" y="189"/>
                    <a:pt x="108" y="190"/>
                    <a:pt x="106" y="190"/>
                  </a:cubicBezTo>
                  <a:cubicBezTo>
                    <a:pt x="104" y="191"/>
                    <a:pt x="104" y="191"/>
                    <a:pt x="104" y="191"/>
                  </a:cubicBezTo>
                  <a:cubicBezTo>
                    <a:pt x="102" y="191"/>
                    <a:pt x="100" y="192"/>
                    <a:pt x="97" y="192"/>
                  </a:cubicBezTo>
                  <a:cubicBezTo>
                    <a:pt x="95" y="193"/>
                    <a:pt x="92" y="194"/>
                    <a:pt x="90" y="194"/>
                  </a:cubicBezTo>
                  <a:cubicBezTo>
                    <a:pt x="83" y="195"/>
                    <a:pt x="83" y="195"/>
                    <a:pt x="83" y="195"/>
                  </a:cubicBezTo>
                  <a:cubicBezTo>
                    <a:pt x="81" y="195"/>
                    <a:pt x="79" y="195"/>
                    <a:pt x="76" y="195"/>
                  </a:cubicBezTo>
                  <a:cubicBezTo>
                    <a:pt x="74" y="195"/>
                    <a:pt x="70" y="195"/>
                    <a:pt x="67" y="196"/>
                  </a:cubicBezTo>
                  <a:cubicBezTo>
                    <a:pt x="67" y="196"/>
                    <a:pt x="66" y="197"/>
                    <a:pt x="66" y="197"/>
                  </a:cubicBezTo>
                  <a:cubicBezTo>
                    <a:pt x="65" y="197"/>
                    <a:pt x="64" y="198"/>
                    <a:pt x="64" y="198"/>
                  </a:cubicBezTo>
                  <a:cubicBezTo>
                    <a:pt x="62" y="199"/>
                    <a:pt x="62" y="199"/>
                    <a:pt x="62" y="199"/>
                  </a:cubicBezTo>
                  <a:cubicBezTo>
                    <a:pt x="62" y="199"/>
                    <a:pt x="61" y="199"/>
                    <a:pt x="61" y="199"/>
                  </a:cubicBezTo>
                  <a:cubicBezTo>
                    <a:pt x="61" y="200"/>
                    <a:pt x="60" y="200"/>
                    <a:pt x="60" y="200"/>
                  </a:cubicBezTo>
                  <a:cubicBezTo>
                    <a:pt x="59" y="200"/>
                    <a:pt x="59" y="200"/>
                    <a:pt x="59" y="200"/>
                  </a:cubicBezTo>
                  <a:cubicBezTo>
                    <a:pt x="59" y="200"/>
                    <a:pt x="58" y="200"/>
                    <a:pt x="58" y="201"/>
                  </a:cubicBezTo>
                  <a:cubicBezTo>
                    <a:pt x="57" y="201"/>
                    <a:pt x="57" y="201"/>
                    <a:pt x="57" y="201"/>
                  </a:cubicBezTo>
                  <a:cubicBezTo>
                    <a:pt x="56" y="201"/>
                    <a:pt x="56" y="201"/>
                    <a:pt x="56" y="201"/>
                  </a:cubicBezTo>
                  <a:cubicBezTo>
                    <a:pt x="56" y="201"/>
                    <a:pt x="55" y="201"/>
                    <a:pt x="55" y="200"/>
                  </a:cubicBezTo>
                  <a:cubicBezTo>
                    <a:pt x="54" y="200"/>
                    <a:pt x="54" y="200"/>
                    <a:pt x="53" y="200"/>
                  </a:cubicBezTo>
                  <a:cubicBezTo>
                    <a:pt x="51" y="200"/>
                    <a:pt x="51" y="200"/>
                    <a:pt x="51" y="200"/>
                  </a:cubicBezTo>
                  <a:cubicBezTo>
                    <a:pt x="50" y="199"/>
                    <a:pt x="49" y="199"/>
                    <a:pt x="48" y="199"/>
                  </a:cubicBezTo>
                  <a:cubicBezTo>
                    <a:pt x="47" y="199"/>
                    <a:pt x="47" y="199"/>
                    <a:pt x="47" y="199"/>
                  </a:cubicBezTo>
                  <a:cubicBezTo>
                    <a:pt x="47" y="199"/>
                    <a:pt x="46" y="199"/>
                    <a:pt x="45" y="199"/>
                  </a:cubicBezTo>
                  <a:cubicBezTo>
                    <a:pt x="45" y="199"/>
                    <a:pt x="45" y="199"/>
                    <a:pt x="45" y="199"/>
                  </a:cubicBezTo>
                  <a:cubicBezTo>
                    <a:pt x="35" y="199"/>
                    <a:pt x="35" y="199"/>
                    <a:pt x="35" y="199"/>
                  </a:cubicBezTo>
                  <a:cubicBezTo>
                    <a:pt x="36" y="204"/>
                    <a:pt x="36" y="204"/>
                    <a:pt x="36" y="204"/>
                  </a:cubicBezTo>
                  <a:cubicBezTo>
                    <a:pt x="34" y="200"/>
                    <a:pt x="34" y="200"/>
                    <a:pt x="34" y="200"/>
                  </a:cubicBezTo>
                  <a:cubicBezTo>
                    <a:pt x="30" y="200"/>
                    <a:pt x="30" y="200"/>
                    <a:pt x="30" y="200"/>
                  </a:cubicBezTo>
                  <a:cubicBezTo>
                    <a:pt x="29" y="200"/>
                    <a:pt x="29" y="200"/>
                    <a:pt x="28" y="200"/>
                  </a:cubicBezTo>
                  <a:cubicBezTo>
                    <a:pt x="27" y="200"/>
                    <a:pt x="27" y="200"/>
                    <a:pt x="27" y="200"/>
                  </a:cubicBezTo>
                  <a:cubicBezTo>
                    <a:pt x="27" y="200"/>
                    <a:pt x="26" y="200"/>
                    <a:pt x="25" y="200"/>
                  </a:cubicBezTo>
                  <a:cubicBezTo>
                    <a:pt x="25" y="201"/>
                    <a:pt x="24" y="201"/>
                    <a:pt x="24" y="201"/>
                  </a:cubicBezTo>
                  <a:cubicBezTo>
                    <a:pt x="23" y="201"/>
                    <a:pt x="22" y="200"/>
                    <a:pt x="21" y="200"/>
                  </a:cubicBezTo>
                  <a:cubicBezTo>
                    <a:pt x="0" y="194"/>
                    <a:pt x="0" y="194"/>
                    <a:pt x="0" y="194"/>
                  </a:cubicBezTo>
                  <a:cubicBezTo>
                    <a:pt x="0" y="207"/>
                    <a:pt x="0" y="207"/>
                    <a:pt x="0" y="207"/>
                  </a:cubicBezTo>
                  <a:cubicBezTo>
                    <a:pt x="2" y="210"/>
                    <a:pt x="5" y="213"/>
                    <a:pt x="7" y="217"/>
                  </a:cubicBezTo>
                  <a:cubicBezTo>
                    <a:pt x="8" y="218"/>
                    <a:pt x="10" y="219"/>
                    <a:pt x="12" y="220"/>
                  </a:cubicBezTo>
                  <a:cubicBezTo>
                    <a:pt x="13" y="220"/>
                    <a:pt x="14" y="220"/>
                    <a:pt x="14" y="221"/>
                  </a:cubicBezTo>
                  <a:cubicBezTo>
                    <a:pt x="15" y="221"/>
                    <a:pt x="15" y="221"/>
                    <a:pt x="15" y="221"/>
                  </a:cubicBezTo>
                  <a:cubicBezTo>
                    <a:pt x="16" y="221"/>
                    <a:pt x="17" y="222"/>
                    <a:pt x="17" y="222"/>
                  </a:cubicBezTo>
                  <a:cubicBezTo>
                    <a:pt x="18" y="222"/>
                    <a:pt x="18" y="222"/>
                    <a:pt x="18" y="222"/>
                  </a:cubicBezTo>
                  <a:cubicBezTo>
                    <a:pt x="18" y="222"/>
                    <a:pt x="19" y="223"/>
                    <a:pt x="20" y="223"/>
                  </a:cubicBezTo>
                  <a:cubicBezTo>
                    <a:pt x="21" y="223"/>
                    <a:pt x="23" y="224"/>
                    <a:pt x="24" y="224"/>
                  </a:cubicBezTo>
                  <a:cubicBezTo>
                    <a:pt x="27" y="225"/>
                    <a:pt x="28" y="226"/>
                    <a:pt x="29" y="227"/>
                  </a:cubicBezTo>
                  <a:cubicBezTo>
                    <a:pt x="30" y="229"/>
                    <a:pt x="30" y="232"/>
                    <a:pt x="29" y="235"/>
                  </a:cubicBezTo>
                  <a:cubicBezTo>
                    <a:pt x="29" y="236"/>
                    <a:pt x="29" y="236"/>
                    <a:pt x="29" y="236"/>
                  </a:cubicBezTo>
                  <a:cubicBezTo>
                    <a:pt x="34" y="236"/>
                    <a:pt x="34" y="236"/>
                    <a:pt x="34" y="236"/>
                  </a:cubicBezTo>
                  <a:cubicBezTo>
                    <a:pt x="29" y="237"/>
                    <a:pt x="29" y="237"/>
                    <a:pt x="29" y="237"/>
                  </a:cubicBezTo>
                  <a:cubicBezTo>
                    <a:pt x="29" y="245"/>
                    <a:pt x="29" y="245"/>
                    <a:pt x="29" y="245"/>
                  </a:cubicBezTo>
                  <a:cubicBezTo>
                    <a:pt x="29" y="246"/>
                    <a:pt x="29" y="246"/>
                    <a:pt x="29" y="247"/>
                  </a:cubicBezTo>
                  <a:cubicBezTo>
                    <a:pt x="29" y="248"/>
                    <a:pt x="29" y="249"/>
                    <a:pt x="29" y="250"/>
                  </a:cubicBezTo>
                  <a:cubicBezTo>
                    <a:pt x="29" y="251"/>
                    <a:pt x="29" y="251"/>
                    <a:pt x="29" y="251"/>
                  </a:cubicBezTo>
                  <a:cubicBezTo>
                    <a:pt x="29" y="251"/>
                    <a:pt x="30" y="251"/>
                    <a:pt x="30" y="251"/>
                  </a:cubicBezTo>
                  <a:cubicBezTo>
                    <a:pt x="33" y="250"/>
                    <a:pt x="33" y="250"/>
                    <a:pt x="33" y="250"/>
                  </a:cubicBezTo>
                  <a:cubicBezTo>
                    <a:pt x="35" y="250"/>
                    <a:pt x="36" y="250"/>
                    <a:pt x="39" y="251"/>
                  </a:cubicBezTo>
                  <a:cubicBezTo>
                    <a:pt x="42" y="252"/>
                    <a:pt x="42" y="252"/>
                    <a:pt x="42" y="252"/>
                  </a:cubicBezTo>
                  <a:cubicBezTo>
                    <a:pt x="41" y="255"/>
                    <a:pt x="41" y="255"/>
                    <a:pt x="41" y="255"/>
                  </a:cubicBezTo>
                  <a:cubicBezTo>
                    <a:pt x="40" y="258"/>
                    <a:pt x="39" y="262"/>
                    <a:pt x="38" y="265"/>
                  </a:cubicBezTo>
                  <a:cubicBezTo>
                    <a:pt x="38" y="268"/>
                    <a:pt x="38" y="268"/>
                    <a:pt x="38" y="268"/>
                  </a:cubicBezTo>
                  <a:cubicBezTo>
                    <a:pt x="38" y="268"/>
                    <a:pt x="37" y="270"/>
                    <a:pt x="36" y="271"/>
                  </a:cubicBezTo>
                  <a:cubicBezTo>
                    <a:pt x="34" y="272"/>
                    <a:pt x="32" y="272"/>
                    <a:pt x="30" y="272"/>
                  </a:cubicBezTo>
                  <a:cubicBezTo>
                    <a:pt x="29" y="272"/>
                    <a:pt x="29" y="272"/>
                    <a:pt x="29" y="272"/>
                  </a:cubicBezTo>
                  <a:cubicBezTo>
                    <a:pt x="29" y="272"/>
                    <a:pt x="28" y="272"/>
                    <a:pt x="28" y="272"/>
                  </a:cubicBezTo>
                  <a:cubicBezTo>
                    <a:pt x="18" y="274"/>
                    <a:pt x="18" y="274"/>
                    <a:pt x="18" y="274"/>
                  </a:cubicBezTo>
                  <a:cubicBezTo>
                    <a:pt x="17" y="274"/>
                    <a:pt x="16" y="274"/>
                    <a:pt x="15" y="275"/>
                  </a:cubicBezTo>
                  <a:cubicBezTo>
                    <a:pt x="14" y="276"/>
                    <a:pt x="14" y="276"/>
                    <a:pt x="13" y="277"/>
                  </a:cubicBezTo>
                  <a:cubicBezTo>
                    <a:pt x="12" y="277"/>
                    <a:pt x="12" y="277"/>
                    <a:pt x="12" y="277"/>
                  </a:cubicBezTo>
                  <a:cubicBezTo>
                    <a:pt x="11" y="278"/>
                    <a:pt x="10" y="279"/>
                    <a:pt x="9" y="280"/>
                  </a:cubicBezTo>
                  <a:cubicBezTo>
                    <a:pt x="8" y="280"/>
                    <a:pt x="8" y="280"/>
                    <a:pt x="8" y="280"/>
                  </a:cubicBezTo>
                  <a:cubicBezTo>
                    <a:pt x="7" y="281"/>
                    <a:pt x="7" y="281"/>
                    <a:pt x="6" y="284"/>
                  </a:cubicBezTo>
                  <a:cubicBezTo>
                    <a:pt x="5" y="288"/>
                    <a:pt x="4" y="293"/>
                    <a:pt x="4" y="296"/>
                  </a:cubicBezTo>
                  <a:cubicBezTo>
                    <a:pt x="3" y="298"/>
                    <a:pt x="3" y="298"/>
                    <a:pt x="3" y="298"/>
                  </a:cubicBezTo>
                  <a:cubicBezTo>
                    <a:pt x="3" y="299"/>
                    <a:pt x="3" y="299"/>
                    <a:pt x="3" y="300"/>
                  </a:cubicBezTo>
                  <a:cubicBezTo>
                    <a:pt x="3" y="301"/>
                    <a:pt x="2" y="303"/>
                    <a:pt x="2" y="304"/>
                  </a:cubicBezTo>
                  <a:cubicBezTo>
                    <a:pt x="2" y="305"/>
                    <a:pt x="2" y="305"/>
                    <a:pt x="2" y="305"/>
                  </a:cubicBezTo>
                  <a:cubicBezTo>
                    <a:pt x="3" y="305"/>
                    <a:pt x="2" y="306"/>
                    <a:pt x="2" y="309"/>
                  </a:cubicBezTo>
                  <a:cubicBezTo>
                    <a:pt x="2" y="309"/>
                    <a:pt x="3" y="309"/>
                    <a:pt x="3" y="309"/>
                  </a:cubicBezTo>
                  <a:cubicBezTo>
                    <a:pt x="4" y="309"/>
                    <a:pt x="6" y="307"/>
                    <a:pt x="8" y="307"/>
                  </a:cubicBezTo>
                  <a:cubicBezTo>
                    <a:pt x="11" y="307"/>
                    <a:pt x="13" y="304"/>
                    <a:pt x="14" y="304"/>
                  </a:cubicBezTo>
                  <a:cubicBezTo>
                    <a:pt x="15" y="304"/>
                    <a:pt x="15" y="305"/>
                    <a:pt x="16" y="307"/>
                  </a:cubicBezTo>
                  <a:cubicBezTo>
                    <a:pt x="20" y="304"/>
                    <a:pt x="21" y="303"/>
                    <a:pt x="25" y="303"/>
                  </a:cubicBezTo>
                  <a:cubicBezTo>
                    <a:pt x="26" y="303"/>
                    <a:pt x="26" y="303"/>
                    <a:pt x="27" y="303"/>
                  </a:cubicBezTo>
                  <a:cubicBezTo>
                    <a:pt x="31" y="304"/>
                    <a:pt x="35" y="304"/>
                    <a:pt x="38" y="304"/>
                  </a:cubicBezTo>
                  <a:cubicBezTo>
                    <a:pt x="39" y="304"/>
                    <a:pt x="41" y="305"/>
                    <a:pt x="42" y="305"/>
                  </a:cubicBezTo>
                  <a:cubicBezTo>
                    <a:pt x="43" y="305"/>
                    <a:pt x="44" y="304"/>
                    <a:pt x="43" y="304"/>
                  </a:cubicBezTo>
                  <a:cubicBezTo>
                    <a:pt x="46" y="301"/>
                    <a:pt x="51" y="301"/>
                    <a:pt x="55" y="301"/>
                  </a:cubicBezTo>
                  <a:cubicBezTo>
                    <a:pt x="55" y="301"/>
                    <a:pt x="56" y="301"/>
                    <a:pt x="56" y="301"/>
                  </a:cubicBezTo>
                  <a:cubicBezTo>
                    <a:pt x="56" y="299"/>
                    <a:pt x="56" y="298"/>
                    <a:pt x="57" y="298"/>
                  </a:cubicBezTo>
                  <a:cubicBezTo>
                    <a:pt x="58" y="298"/>
                    <a:pt x="58" y="298"/>
                    <a:pt x="58" y="298"/>
                  </a:cubicBezTo>
                  <a:cubicBezTo>
                    <a:pt x="57" y="298"/>
                    <a:pt x="57" y="300"/>
                    <a:pt x="57" y="301"/>
                  </a:cubicBezTo>
                  <a:cubicBezTo>
                    <a:pt x="58" y="302"/>
                    <a:pt x="59" y="302"/>
                    <a:pt x="61" y="302"/>
                  </a:cubicBezTo>
                  <a:cubicBezTo>
                    <a:pt x="63" y="302"/>
                    <a:pt x="65" y="302"/>
                    <a:pt x="67" y="303"/>
                  </a:cubicBezTo>
                  <a:cubicBezTo>
                    <a:pt x="68" y="303"/>
                    <a:pt x="69" y="305"/>
                    <a:pt x="71" y="305"/>
                  </a:cubicBezTo>
                  <a:cubicBezTo>
                    <a:pt x="71" y="305"/>
                    <a:pt x="71" y="305"/>
                    <a:pt x="72" y="305"/>
                  </a:cubicBezTo>
                  <a:cubicBezTo>
                    <a:pt x="71" y="304"/>
                    <a:pt x="71" y="304"/>
                    <a:pt x="71" y="304"/>
                  </a:cubicBezTo>
                  <a:cubicBezTo>
                    <a:pt x="82" y="300"/>
                    <a:pt x="92" y="300"/>
                    <a:pt x="104" y="300"/>
                  </a:cubicBezTo>
                  <a:cubicBezTo>
                    <a:pt x="104" y="300"/>
                    <a:pt x="104" y="300"/>
                    <a:pt x="104" y="300"/>
                  </a:cubicBezTo>
                  <a:cubicBezTo>
                    <a:pt x="105" y="300"/>
                    <a:pt x="106" y="300"/>
                    <a:pt x="107" y="300"/>
                  </a:cubicBezTo>
                  <a:cubicBezTo>
                    <a:pt x="108" y="300"/>
                    <a:pt x="109" y="300"/>
                    <a:pt x="110" y="300"/>
                  </a:cubicBezTo>
                  <a:cubicBezTo>
                    <a:pt x="112" y="300"/>
                    <a:pt x="113" y="300"/>
                    <a:pt x="114" y="299"/>
                  </a:cubicBezTo>
                  <a:cubicBezTo>
                    <a:pt x="114" y="299"/>
                    <a:pt x="114" y="299"/>
                    <a:pt x="114" y="299"/>
                  </a:cubicBezTo>
                  <a:cubicBezTo>
                    <a:pt x="113" y="299"/>
                    <a:pt x="113" y="298"/>
                    <a:pt x="113" y="297"/>
                  </a:cubicBezTo>
                  <a:cubicBezTo>
                    <a:pt x="113" y="297"/>
                    <a:pt x="113" y="297"/>
                    <a:pt x="113" y="297"/>
                  </a:cubicBezTo>
                  <a:cubicBezTo>
                    <a:pt x="112" y="297"/>
                    <a:pt x="111" y="297"/>
                    <a:pt x="111" y="296"/>
                  </a:cubicBezTo>
                  <a:cubicBezTo>
                    <a:pt x="111" y="295"/>
                    <a:pt x="111" y="295"/>
                    <a:pt x="112" y="295"/>
                  </a:cubicBezTo>
                  <a:cubicBezTo>
                    <a:pt x="112" y="295"/>
                    <a:pt x="112" y="295"/>
                    <a:pt x="112" y="295"/>
                  </a:cubicBezTo>
                  <a:cubicBezTo>
                    <a:pt x="113" y="295"/>
                    <a:pt x="114" y="297"/>
                    <a:pt x="115" y="297"/>
                  </a:cubicBezTo>
                  <a:cubicBezTo>
                    <a:pt x="116" y="300"/>
                    <a:pt x="115" y="299"/>
                    <a:pt x="116" y="301"/>
                  </a:cubicBezTo>
                  <a:cubicBezTo>
                    <a:pt x="118" y="304"/>
                    <a:pt x="119" y="303"/>
                    <a:pt x="119" y="306"/>
                  </a:cubicBezTo>
                  <a:cubicBezTo>
                    <a:pt x="119" y="308"/>
                    <a:pt x="118" y="312"/>
                    <a:pt x="119" y="312"/>
                  </a:cubicBezTo>
                  <a:cubicBezTo>
                    <a:pt x="119" y="312"/>
                    <a:pt x="120" y="312"/>
                    <a:pt x="120" y="313"/>
                  </a:cubicBezTo>
                  <a:cubicBezTo>
                    <a:pt x="126" y="312"/>
                    <a:pt x="126" y="312"/>
                    <a:pt x="126" y="312"/>
                  </a:cubicBezTo>
                  <a:cubicBezTo>
                    <a:pt x="128" y="316"/>
                    <a:pt x="128" y="316"/>
                    <a:pt x="128" y="316"/>
                  </a:cubicBezTo>
                  <a:cubicBezTo>
                    <a:pt x="130" y="318"/>
                    <a:pt x="130" y="318"/>
                    <a:pt x="130" y="318"/>
                  </a:cubicBezTo>
                  <a:cubicBezTo>
                    <a:pt x="131" y="320"/>
                    <a:pt x="131" y="323"/>
                    <a:pt x="131" y="324"/>
                  </a:cubicBezTo>
                  <a:cubicBezTo>
                    <a:pt x="133" y="329"/>
                    <a:pt x="133" y="333"/>
                    <a:pt x="137" y="333"/>
                  </a:cubicBezTo>
                  <a:cubicBezTo>
                    <a:pt x="137" y="333"/>
                    <a:pt x="138" y="333"/>
                    <a:pt x="139" y="333"/>
                  </a:cubicBezTo>
                  <a:cubicBezTo>
                    <a:pt x="140" y="332"/>
                    <a:pt x="141" y="332"/>
                    <a:pt x="142" y="332"/>
                  </a:cubicBezTo>
                  <a:cubicBezTo>
                    <a:pt x="147" y="332"/>
                    <a:pt x="152" y="335"/>
                    <a:pt x="150" y="341"/>
                  </a:cubicBezTo>
                  <a:cubicBezTo>
                    <a:pt x="151" y="341"/>
                    <a:pt x="151" y="340"/>
                    <a:pt x="151" y="340"/>
                  </a:cubicBezTo>
                  <a:cubicBezTo>
                    <a:pt x="151" y="339"/>
                    <a:pt x="151" y="339"/>
                    <a:pt x="151" y="339"/>
                  </a:cubicBezTo>
                  <a:cubicBezTo>
                    <a:pt x="152" y="338"/>
                    <a:pt x="152" y="338"/>
                    <a:pt x="152" y="338"/>
                  </a:cubicBezTo>
                  <a:cubicBezTo>
                    <a:pt x="153" y="337"/>
                    <a:pt x="153" y="337"/>
                    <a:pt x="153" y="337"/>
                  </a:cubicBezTo>
                  <a:cubicBezTo>
                    <a:pt x="153" y="338"/>
                    <a:pt x="153" y="338"/>
                    <a:pt x="153" y="338"/>
                  </a:cubicBezTo>
                  <a:cubicBezTo>
                    <a:pt x="160" y="332"/>
                    <a:pt x="160" y="332"/>
                    <a:pt x="160" y="332"/>
                  </a:cubicBezTo>
                  <a:cubicBezTo>
                    <a:pt x="161" y="332"/>
                    <a:pt x="161" y="332"/>
                    <a:pt x="161" y="332"/>
                  </a:cubicBezTo>
                  <a:cubicBezTo>
                    <a:pt x="162" y="332"/>
                    <a:pt x="162" y="332"/>
                    <a:pt x="163" y="332"/>
                  </a:cubicBezTo>
                  <a:cubicBezTo>
                    <a:pt x="164" y="332"/>
                    <a:pt x="164" y="332"/>
                    <a:pt x="164" y="332"/>
                  </a:cubicBezTo>
                  <a:cubicBezTo>
                    <a:pt x="164" y="331"/>
                    <a:pt x="164" y="330"/>
                    <a:pt x="164" y="329"/>
                  </a:cubicBezTo>
                  <a:cubicBezTo>
                    <a:pt x="164" y="328"/>
                    <a:pt x="164" y="327"/>
                    <a:pt x="164" y="326"/>
                  </a:cubicBezTo>
                  <a:cubicBezTo>
                    <a:pt x="164" y="323"/>
                    <a:pt x="164" y="323"/>
                    <a:pt x="164" y="323"/>
                  </a:cubicBezTo>
                  <a:cubicBezTo>
                    <a:pt x="167" y="323"/>
                    <a:pt x="167" y="323"/>
                    <a:pt x="167" y="323"/>
                  </a:cubicBezTo>
                  <a:cubicBezTo>
                    <a:pt x="172" y="324"/>
                    <a:pt x="176" y="325"/>
                    <a:pt x="181" y="325"/>
                  </a:cubicBezTo>
                  <a:cubicBezTo>
                    <a:pt x="181" y="321"/>
                    <a:pt x="181" y="321"/>
                    <a:pt x="181" y="321"/>
                  </a:cubicBezTo>
                  <a:cubicBezTo>
                    <a:pt x="182" y="325"/>
                    <a:pt x="182" y="325"/>
                    <a:pt x="182" y="325"/>
                  </a:cubicBezTo>
                  <a:cubicBezTo>
                    <a:pt x="189" y="326"/>
                    <a:pt x="189" y="326"/>
                    <a:pt x="189" y="326"/>
                  </a:cubicBezTo>
                  <a:cubicBezTo>
                    <a:pt x="190" y="326"/>
                    <a:pt x="190" y="327"/>
                    <a:pt x="191" y="327"/>
                  </a:cubicBezTo>
                  <a:cubicBezTo>
                    <a:pt x="192" y="327"/>
                    <a:pt x="193" y="327"/>
                    <a:pt x="194" y="327"/>
                  </a:cubicBezTo>
                  <a:cubicBezTo>
                    <a:pt x="194" y="327"/>
                    <a:pt x="195" y="327"/>
                    <a:pt x="195" y="327"/>
                  </a:cubicBezTo>
                  <a:cubicBezTo>
                    <a:pt x="195" y="327"/>
                    <a:pt x="195" y="327"/>
                    <a:pt x="195" y="327"/>
                  </a:cubicBezTo>
                  <a:cubicBezTo>
                    <a:pt x="196" y="327"/>
                    <a:pt x="196" y="327"/>
                    <a:pt x="196" y="327"/>
                  </a:cubicBezTo>
                  <a:cubicBezTo>
                    <a:pt x="196" y="326"/>
                    <a:pt x="196" y="326"/>
                    <a:pt x="197" y="325"/>
                  </a:cubicBezTo>
                  <a:cubicBezTo>
                    <a:pt x="199" y="324"/>
                    <a:pt x="202" y="323"/>
                    <a:pt x="204" y="322"/>
                  </a:cubicBezTo>
                  <a:cubicBezTo>
                    <a:pt x="205" y="322"/>
                    <a:pt x="205" y="322"/>
                    <a:pt x="205" y="322"/>
                  </a:cubicBezTo>
                  <a:cubicBezTo>
                    <a:pt x="205" y="322"/>
                    <a:pt x="206" y="322"/>
                    <a:pt x="206" y="322"/>
                  </a:cubicBezTo>
                  <a:cubicBezTo>
                    <a:pt x="207" y="321"/>
                    <a:pt x="207" y="321"/>
                    <a:pt x="207" y="321"/>
                  </a:cubicBezTo>
                  <a:cubicBezTo>
                    <a:pt x="208" y="321"/>
                    <a:pt x="209" y="321"/>
                    <a:pt x="210" y="321"/>
                  </a:cubicBezTo>
                  <a:cubicBezTo>
                    <a:pt x="211" y="321"/>
                    <a:pt x="212" y="321"/>
                    <a:pt x="212" y="322"/>
                  </a:cubicBezTo>
                  <a:cubicBezTo>
                    <a:pt x="213" y="323"/>
                    <a:pt x="213" y="324"/>
                    <a:pt x="213" y="324"/>
                  </a:cubicBezTo>
                  <a:cubicBezTo>
                    <a:pt x="213" y="325"/>
                    <a:pt x="214" y="325"/>
                    <a:pt x="214" y="325"/>
                  </a:cubicBezTo>
                  <a:cubicBezTo>
                    <a:pt x="215" y="324"/>
                    <a:pt x="215" y="324"/>
                    <a:pt x="215" y="324"/>
                  </a:cubicBezTo>
                  <a:cubicBezTo>
                    <a:pt x="215" y="324"/>
                    <a:pt x="215" y="324"/>
                    <a:pt x="215" y="324"/>
                  </a:cubicBezTo>
                  <a:cubicBezTo>
                    <a:pt x="216" y="324"/>
                    <a:pt x="216" y="323"/>
                    <a:pt x="217" y="323"/>
                  </a:cubicBezTo>
                  <a:cubicBezTo>
                    <a:pt x="216" y="322"/>
                    <a:pt x="216" y="321"/>
                    <a:pt x="216" y="320"/>
                  </a:cubicBezTo>
                  <a:cubicBezTo>
                    <a:pt x="216" y="320"/>
                    <a:pt x="217" y="319"/>
                    <a:pt x="217" y="319"/>
                  </a:cubicBezTo>
                  <a:cubicBezTo>
                    <a:pt x="217" y="318"/>
                    <a:pt x="218" y="317"/>
                    <a:pt x="218" y="317"/>
                  </a:cubicBezTo>
                  <a:cubicBezTo>
                    <a:pt x="218" y="316"/>
                    <a:pt x="218" y="316"/>
                    <a:pt x="218" y="316"/>
                  </a:cubicBezTo>
                  <a:cubicBezTo>
                    <a:pt x="214" y="308"/>
                    <a:pt x="214" y="308"/>
                    <a:pt x="214" y="308"/>
                  </a:cubicBezTo>
                  <a:cubicBezTo>
                    <a:pt x="213" y="307"/>
                    <a:pt x="213" y="306"/>
                    <a:pt x="213" y="305"/>
                  </a:cubicBezTo>
                  <a:cubicBezTo>
                    <a:pt x="209" y="307"/>
                    <a:pt x="209" y="307"/>
                    <a:pt x="209" y="307"/>
                  </a:cubicBezTo>
                  <a:cubicBezTo>
                    <a:pt x="212" y="304"/>
                    <a:pt x="212" y="304"/>
                    <a:pt x="212" y="304"/>
                  </a:cubicBezTo>
                  <a:cubicBezTo>
                    <a:pt x="212" y="304"/>
                    <a:pt x="212" y="304"/>
                    <a:pt x="212" y="304"/>
                  </a:cubicBezTo>
                  <a:cubicBezTo>
                    <a:pt x="212" y="303"/>
                    <a:pt x="211" y="302"/>
                    <a:pt x="211" y="301"/>
                  </a:cubicBezTo>
                  <a:cubicBezTo>
                    <a:pt x="210" y="300"/>
                    <a:pt x="210" y="298"/>
                    <a:pt x="210" y="296"/>
                  </a:cubicBezTo>
                  <a:cubicBezTo>
                    <a:pt x="210" y="296"/>
                    <a:pt x="210" y="295"/>
                    <a:pt x="209" y="295"/>
                  </a:cubicBezTo>
                  <a:cubicBezTo>
                    <a:pt x="209" y="295"/>
                    <a:pt x="209" y="295"/>
                    <a:pt x="208" y="295"/>
                  </a:cubicBezTo>
                  <a:cubicBezTo>
                    <a:pt x="208" y="295"/>
                    <a:pt x="208" y="295"/>
                    <a:pt x="208" y="295"/>
                  </a:cubicBezTo>
                  <a:cubicBezTo>
                    <a:pt x="206" y="295"/>
                    <a:pt x="206" y="295"/>
                    <a:pt x="205" y="295"/>
                  </a:cubicBezTo>
                  <a:cubicBezTo>
                    <a:pt x="204" y="295"/>
                    <a:pt x="204" y="295"/>
                    <a:pt x="204" y="295"/>
                  </a:cubicBezTo>
                  <a:cubicBezTo>
                    <a:pt x="204" y="295"/>
                    <a:pt x="203" y="295"/>
                    <a:pt x="203" y="295"/>
                  </a:cubicBezTo>
                  <a:cubicBezTo>
                    <a:pt x="203" y="294"/>
                    <a:pt x="203" y="294"/>
                    <a:pt x="203" y="294"/>
                  </a:cubicBezTo>
                  <a:cubicBezTo>
                    <a:pt x="202" y="294"/>
                    <a:pt x="202" y="294"/>
                    <a:pt x="202" y="294"/>
                  </a:cubicBezTo>
                  <a:cubicBezTo>
                    <a:pt x="202" y="294"/>
                    <a:pt x="202" y="294"/>
                    <a:pt x="202" y="294"/>
                  </a:cubicBezTo>
                  <a:cubicBezTo>
                    <a:pt x="201" y="293"/>
                    <a:pt x="201" y="293"/>
                    <a:pt x="201" y="293"/>
                  </a:cubicBezTo>
                  <a:cubicBezTo>
                    <a:pt x="199" y="291"/>
                    <a:pt x="198" y="289"/>
                    <a:pt x="198" y="286"/>
                  </a:cubicBezTo>
                  <a:cubicBezTo>
                    <a:pt x="197" y="285"/>
                    <a:pt x="197" y="284"/>
                    <a:pt x="197" y="284"/>
                  </a:cubicBezTo>
                  <a:cubicBezTo>
                    <a:pt x="196" y="281"/>
                    <a:pt x="197" y="278"/>
                    <a:pt x="197" y="276"/>
                  </a:cubicBezTo>
                  <a:cubicBezTo>
                    <a:pt x="197" y="276"/>
                    <a:pt x="197" y="276"/>
                    <a:pt x="197" y="276"/>
                  </a:cubicBezTo>
                  <a:cubicBezTo>
                    <a:pt x="197" y="275"/>
                    <a:pt x="197" y="274"/>
                    <a:pt x="197" y="273"/>
                  </a:cubicBezTo>
                  <a:cubicBezTo>
                    <a:pt x="197" y="273"/>
                    <a:pt x="197" y="273"/>
                    <a:pt x="197" y="273"/>
                  </a:cubicBezTo>
                  <a:cubicBezTo>
                    <a:pt x="197" y="272"/>
                    <a:pt x="197" y="272"/>
                    <a:pt x="197" y="272"/>
                  </a:cubicBezTo>
                  <a:cubicBezTo>
                    <a:pt x="196" y="272"/>
                    <a:pt x="196" y="272"/>
                    <a:pt x="196" y="272"/>
                  </a:cubicBezTo>
                  <a:cubicBezTo>
                    <a:pt x="195" y="272"/>
                    <a:pt x="193" y="272"/>
                    <a:pt x="192" y="272"/>
                  </a:cubicBezTo>
                  <a:cubicBezTo>
                    <a:pt x="191" y="276"/>
                    <a:pt x="191" y="276"/>
                    <a:pt x="191" y="276"/>
                  </a:cubicBezTo>
                  <a:cubicBezTo>
                    <a:pt x="190" y="272"/>
                    <a:pt x="190" y="272"/>
                    <a:pt x="190" y="272"/>
                  </a:cubicBezTo>
                  <a:cubicBezTo>
                    <a:pt x="190" y="272"/>
                    <a:pt x="190" y="272"/>
                    <a:pt x="190" y="272"/>
                  </a:cubicBezTo>
                  <a:cubicBezTo>
                    <a:pt x="187" y="271"/>
                    <a:pt x="184" y="269"/>
                    <a:pt x="183" y="268"/>
                  </a:cubicBezTo>
                  <a:cubicBezTo>
                    <a:pt x="182" y="267"/>
                    <a:pt x="181" y="266"/>
                    <a:pt x="181" y="265"/>
                  </a:cubicBezTo>
                  <a:cubicBezTo>
                    <a:pt x="180" y="262"/>
                    <a:pt x="181" y="258"/>
                    <a:pt x="184" y="253"/>
                  </a:cubicBezTo>
                  <a:cubicBezTo>
                    <a:pt x="186" y="250"/>
                    <a:pt x="189" y="247"/>
                    <a:pt x="192" y="244"/>
                  </a:cubicBezTo>
                  <a:cubicBezTo>
                    <a:pt x="192" y="243"/>
                    <a:pt x="192" y="243"/>
                    <a:pt x="192" y="243"/>
                  </a:cubicBezTo>
                  <a:cubicBezTo>
                    <a:pt x="193" y="242"/>
                    <a:pt x="194" y="241"/>
                    <a:pt x="195" y="240"/>
                  </a:cubicBezTo>
                  <a:cubicBezTo>
                    <a:pt x="195" y="239"/>
                    <a:pt x="196" y="239"/>
                    <a:pt x="196" y="238"/>
                  </a:cubicBezTo>
                  <a:cubicBezTo>
                    <a:pt x="197" y="237"/>
                    <a:pt x="197" y="237"/>
                    <a:pt x="197" y="237"/>
                  </a:cubicBezTo>
                  <a:cubicBezTo>
                    <a:pt x="197" y="237"/>
                    <a:pt x="197" y="237"/>
                    <a:pt x="198" y="236"/>
                  </a:cubicBezTo>
                  <a:cubicBezTo>
                    <a:pt x="200" y="234"/>
                    <a:pt x="200" y="234"/>
                    <a:pt x="200" y="234"/>
                  </a:cubicBezTo>
                  <a:cubicBezTo>
                    <a:pt x="200" y="233"/>
                    <a:pt x="200" y="233"/>
                    <a:pt x="200" y="233"/>
                  </a:cubicBezTo>
                  <a:cubicBezTo>
                    <a:pt x="201" y="233"/>
                    <a:pt x="201" y="233"/>
                    <a:pt x="201" y="233"/>
                  </a:cubicBezTo>
                  <a:cubicBezTo>
                    <a:pt x="198" y="229"/>
                    <a:pt x="198" y="229"/>
                    <a:pt x="198" y="229"/>
                  </a:cubicBezTo>
                  <a:cubicBezTo>
                    <a:pt x="202" y="232"/>
                    <a:pt x="202" y="232"/>
                    <a:pt x="202" y="232"/>
                  </a:cubicBezTo>
                  <a:cubicBezTo>
                    <a:pt x="202" y="232"/>
                    <a:pt x="202" y="232"/>
                    <a:pt x="202" y="232"/>
                  </a:cubicBezTo>
                  <a:cubicBezTo>
                    <a:pt x="203" y="231"/>
                    <a:pt x="204" y="231"/>
                    <a:pt x="204" y="231"/>
                  </a:cubicBezTo>
                  <a:cubicBezTo>
                    <a:pt x="205" y="231"/>
                    <a:pt x="205" y="231"/>
                    <a:pt x="205" y="231"/>
                  </a:cubicBezTo>
                  <a:cubicBezTo>
                    <a:pt x="205" y="230"/>
                    <a:pt x="206" y="230"/>
                    <a:pt x="207" y="230"/>
                  </a:cubicBezTo>
                  <a:cubicBezTo>
                    <a:pt x="207" y="227"/>
                    <a:pt x="207" y="227"/>
                    <a:pt x="207" y="227"/>
                  </a:cubicBezTo>
                  <a:cubicBezTo>
                    <a:pt x="208" y="230"/>
                    <a:pt x="208" y="230"/>
                    <a:pt x="208" y="230"/>
                  </a:cubicBezTo>
                  <a:cubicBezTo>
                    <a:pt x="208" y="230"/>
                    <a:pt x="208" y="230"/>
                    <a:pt x="209" y="230"/>
                  </a:cubicBezTo>
                  <a:cubicBezTo>
                    <a:pt x="209" y="230"/>
                    <a:pt x="210" y="230"/>
                    <a:pt x="210" y="231"/>
                  </a:cubicBezTo>
                  <a:cubicBezTo>
                    <a:pt x="211" y="231"/>
                    <a:pt x="211" y="231"/>
                    <a:pt x="211" y="232"/>
                  </a:cubicBezTo>
                  <a:cubicBezTo>
                    <a:pt x="212" y="232"/>
                    <a:pt x="212" y="232"/>
                    <a:pt x="213" y="233"/>
                  </a:cubicBezTo>
                  <a:cubicBezTo>
                    <a:pt x="214" y="234"/>
                    <a:pt x="214" y="235"/>
                    <a:pt x="215" y="236"/>
                  </a:cubicBezTo>
                  <a:cubicBezTo>
                    <a:pt x="215" y="236"/>
                    <a:pt x="215" y="236"/>
                    <a:pt x="215" y="236"/>
                  </a:cubicBezTo>
                  <a:cubicBezTo>
                    <a:pt x="215" y="237"/>
                    <a:pt x="216" y="237"/>
                    <a:pt x="216" y="238"/>
                  </a:cubicBezTo>
                  <a:cubicBezTo>
                    <a:pt x="216" y="238"/>
                    <a:pt x="216" y="238"/>
                    <a:pt x="217" y="238"/>
                  </a:cubicBezTo>
                  <a:cubicBezTo>
                    <a:pt x="217" y="238"/>
                    <a:pt x="217" y="238"/>
                    <a:pt x="217" y="238"/>
                  </a:cubicBezTo>
                  <a:cubicBezTo>
                    <a:pt x="218" y="238"/>
                    <a:pt x="218" y="238"/>
                    <a:pt x="218" y="238"/>
                  </a:cubicBezTo>
                  <a:cubicBezTo>
                    <a:pt x="220" y="237"/>
                    <a:pt x="222" y="236"/>
                    <a:pt x="224" y="235"/>
                  </a:cubicBezTo>
                  <a:cubicBezTo>
                    <a:pt x="225" y="235"/>
                    <a:pt x="225" y="235"/>
                    <a:pt x="225" y="235"/>
                  </a:cubicBezTo>
                  <a:cubicBezTo>
                    <a:pt x="225" y="230"/>
                    <a:pt x="225" y="230"/>
                    <a:pt x="225" y="230"/>
                  </a:cubicBezTo>
                  <a:cubicBezTo>
                    <a:pt x="226" y="235"/>
                    <a:pt x="226" y="235"/>
                    <a:pt x="226" y="235"/>
                  </a:cubicBezTo>
                  <a:cubicBezTo>
                    <a:pt x="227" y="235"/>
                    <a:pt x="227" y="235"/>
                    <a:pt x="227" y="235"/>
                  </a:cubicBezTo>
                  <a:cubicBezTo>
                    <a:pt x="228" y="235"/>
                    <a:pt x="228" y="235"/>
                    <a:pt x="229" y="235"/>
                  </a:cubicBezTo>
                  <a:cubicBezTo>
                    <a:pt x="230" y="235"/>
                    <a:pt x="230" y="235"/>
                    <a:pt x="230" y="235"/>
                  </a:cubicBezTo>
                  <a:cubicBezTo>
                    <a:pt x="231" y="234"/>
                    <a:pt x="233" y="234"/>
                    <a:pt x="235" y="234"/>
                  </a:cubicBezTo>
                  <a:cubicBezTo>
                    <a:pt x="236" y="234"/>
                    <a:pt x="236" y="234"/>
                    <a:pt x="236" y="234"/>
                  </a:cubicBezTo>
                  <a:cubicBezTo>
                    <a:pt x="249" y="215"/>
                    <a:pt x="249" y="215"/>
                    <a:pt x="249" y="215"/>
                  </a:cubicBezTo>
                  <a:cubicBezTo>
                    <a:pt x="250" y="214"/>
                    <a:pt x="250" y="214"/>
                    <a:pt x="250" y="214"/>
                  </a:cubicBezTo>
                  <a:cubicBezTo>
                    <a:pt x="252" y="212"/>
                    <a:pt x="254" y="210"/>
                    <a:pt x="256" y="209"/>
                  </a:cubicBezTo>
                  <a:cubicBezTo>
                    <a:pt x="257" y="208"/>
                    <a:pt x="258" y="208"/>
                    <a:pt x="259" y="207"/>
                  </a:cubicBezTo>
                  <a:cubicBezTo>
                    <a:pt x="262" y="206"/>
                    <a:pt x="263" y="205"/>
                    <a:pt x="265" y="202"/>
                  </a:cubicBezTo>
                  <a:cubicBezTo>
                    <a:pt x="266" y="201"/>
                    <a:pt x="267" y="200"/>
                    <a:pt x="267" y="199"/>
                  </a:cubicBezTo>
                  <a:cubicBezTo>
                    <a:pt x="267" y="198"/>
                    <a:pt x="267" y="198"/>
                    <a:pt x="267" y="198"/>
                  </a:cubicBezTo>
                  <a:cubicBezTo>
                    <a:pt x="268" y="197"/>
                    <a:pt x="269" y="195"/>
                    <a:pt x="270" y="194"/>
                  </a:cubicBezTo>
                  <a:cubicBezTo>
                    <a:pt x="270" y="193"/>
                    <a:pt x="270" y="193"/>
                    <a:pt x="270" y="192"/>
                  </a:cubicBezTo>
                  <a:cubicBezTo>
                    <a:pt x="270" y="192"/>
                    <a:pt x="270" y="192"/>
                    <a:pt x="270" y="192"/>
                  </a:cubicBezTo>
                  <a:cubicBezTo>
                    <a:pt x="271" y="191"/>
                    <a:pt x="271" y="191"/>
                    <a:pt x="271" y="190"/>
                  </a:cubicBezTo>
                  <a:cubicBezTo>
                    <a:pt x="272" y="187"/>
                    <a:pt x="272" y="185"/>
                    <a:pt x="274" y="183"/>
                  </a:cubicBezTo>
                  <a:cubicBezTo>
                    <a:pt x="275" y="182"/>
                    <a:pt x="276" y="181"/>
                    <a:pt x="277" y="180"/>
                  </a:cubicBezTo>
                  <a:cubicBezTo>
                    <a:pt x="279" y="179"/>
                    <a:pt x="281" y="178"/>
                    <a:pt x="283" y="177"/>
                  </a:cubicBezTo>
                  <a:cubicBezTo>
                    <a:pt x="284" y="177"/>
                    <a:pt x="285" y="177"/>
                    <a:pt x="285" y="176"/>
                  </a:cubicBezTo>
                  <a:cubicBezTo>
                    <a:pt x="285" y="176"/>
                    <a:pt x="285" y="176"/>
                    <a:pt x="285" y="176"/>
                  </a:cubicBezTo>
                  <a:cubicBezTo>
                    <a:pt x="284" y="173"/>
                    <a:pt x="284" y="172"/>
                    <a:pt x="285" y="171"/>
                  </a:cubicBezTo>
                  <a:cubicBezTo>
                    <a:pt x="285" y="170"/>
                    <a:pt x="285" y="170"/>
                    <a:pt x="285" y="170"/>
                  </a:cubicBezTo>
                  <a:cubicBezTo>
                    <a:pt x="286" y="169"/>
                    <a:pt x="286" y="169"/>
                    <a:pt x="287" y="168"/>
                  </a:cubicBezTo>
                  <a:cubicBezTo>
                    <a:pt x="288" y="167"/>
                    <a:pt x="289" y="165"/>
                    <a:pt x="291" y="164"/>
                  </a:cubicBezTo>
                  <a:cubicBezTo>
                    <a:pt x="291" y="163"/>
                    <a:pt x="293" y="162"/>
                    <a:pt x="295" y="161"/>
                  </a:cubicBezTo>
                  <a:cubicBezTo>
                    <a:pt x="295" y="160"/>
                    <a:pt x="295" y="160"/>
                    <a:pt x="295" y="160"/>
                  </a:cubicBezTo>
                  <a:cubicBezTo>
                    <a:pt x="297" y="159"/>
                    <a:pt x="299" y="158"/>
                    <a:pt x="300" y="157"/>
                  </a:cubicBezTo>
                  <a:cubicBezTo>
                    <a:pt x="301" y="156"/>
                    <a:pt x="302" y="155"/>
                    <a:pt x="302" y="155"/>
                  </a:cubicBezTo>
                  <a:cubicBezTo>
                    <a:pt x="302" y="154"/>
                    <a:pt x="302" y="154"/>
                    <a:pt x="301" y="153"/>
                  </a:cubicBezTo>
                  <a:cubicBezTo>
                    <a:pt x="301" y="147"/>
                    <a:pt x="301" y="147"/>
                    <a:pt x="301" y="147"/>
                  </a:cubicBezTo>
                  <a:cubicBezTo>
                    <a:pt x="300" y="146"/>
                    <a:pt x="300" y="145"/>
                    <a:pt x="300" y="143"/>
                  </a:cubicBezTo>
                  <a:cubicBezTo>
                    <a:pt x="300" y="140"/>
                    <a:pt x="300" y="140"/>
                    <a:pt x="300" y="140"/>
                  </a:cubicBezTo>
                  <a:cubicBezTo>
                    <a:pt x="296" y="141"/>
                    <a:pt x="296" y="141"/>
                    <a:pt x="296" y="141"/>
                  </a:cubicBezTo>
                  <a:cubicBezTo>
                    <a:pt x="300" y="139"/>
                    <a:pt x="300" y="139"/>
                    <a:pt x="300" y="139"/>
                  </a:cubicBezTo>
                  <a:cubicBezTo>
                    <a:pt x="299" y="138"/>
                    <a:pt x="299" y="138"/>
                    <a:pt x="299" y="138"/>
                  </a:cubicBezTo>
                  <a:cubicBezTo>
                    <a:pt x="299" y="138"/>
                    <a:pt x="300" y="137"/>
                    <a:pt x="300" y="136"/>
                  </a:cubicBezTo>
                  <a:cubicBezTo>
                    <a:pt x="300" y="134"/>
                    <a:pt x="302" y="133"/>
                    <a:pt x="304" y="131"/>
                  </a:cubicBezTo>
                  <a:cubicBezTo>
                    <a:pt x="305" y="130"/>
                    <a:pt x="306" y="130"/>
                    <a:pt x="306" y="130"/>
                  </a:cubicBezTo>
                  <a:cubicBezTo>
                    <a:pt x="307" y="130"/>
                    <a:pt x="307" y="130"/>
                    <a:pt x="307" y="130"/>
                  </a:cubicBezTo>
                  <a:cubicBezTo>
                    <a:pt x="307" y="129"/>
                    <a:pt x="307" y="129"/>
                    <a:pt x="308" y="129"/>
                  </a:cubicBezTo>
                  <a:cubicBezTo>
                    <a:pt x="308" y="129"/>
                    <a:pt x="308" y="129"/>
                    <a:pt x="309" y="129"/>
                  </a:cubicBezTo>
                  <a:cubicBezTo>
                    <a:pt x="310" y="128"/>
                    <a:pt x="310" y="128"/>
                    <a:pt x="311" y="128"/>
                  </a:cubicBezTo>
                  <a:cubicBezTo>
                    <a:pt x="312" y="128"/>
                    <a:pt x="313" y="127"/>
                    <a:pt x="313" y="127"/>
                  </a:cubicBezTo>
                  <a:cubicBezTo>
                    <a:pt x="315" y="126"/>
                    <a:pt x="315" y="126"/>
                    <a:pt x="315" y="126"/>
                  </a:cubicBezTo>
                  <a:cubicBezTo>
                    <a:pt x="316" y="126"/>
                    <a:pt x="318" y="125"/>
                    <a:pt x="318" y="125"/>
                  </a:cubicBezTo>
                  <a:cubicBezTo>
                    <a:pt x="319" y="124"/>
                    <a:pt x="318" y="123"/>
                    <a:pt x="318" y="123"/>
                  </a:cubicBezTo>
                  <a:cubicBezTo>
                    <a:pt x="318" y="123"/>
                    <a:pt x="318" y="123"/>
                    <a:pt x="318" y="123"/>
                  </a:cubicBezTo>
                  <a:cubicBezTo>
                    <a:pt x="317" y="123"/>
                    <a:pt x="317" y="123"/>
                    <a:pt x="317" y="123"/>
                  </a:cubicBezTo>
                  <a:cubicBezTo>
                    <a:pt x="317" y="123"/>
                    <a:pt x="316" y="123"/>
                    <a:pt x="316" y="123"/>
                  </a:cubicBezTo>
                  <a:cubicBezTo>
                    <a:pt x="315" y="122"/>
                    <a:pt x="314" y="122"/>
                    <a:pt x="313" y="122"/>
                  </a:cubicBezTo>
                  <a:cubicBezTo>
                    <a:pt x="313" y="122"/>
                    <a:pt x="313" y="122"/>
                    <a:pt x="313" y="122"/>
                  </a:cubicBezTo>
                  <a:cubicBezTo>
                    <a:pt x="312" y="122"/>
                    <a:pt x="312" y="122"/>
                    <a:pt x="311" y="122"/>
                  </a:cubicBezTo>
                  <a:cubicBezTo>
                    <a:pt x="308" y="121"/>
                    <a:pt x="306" y="121"/>
                    <a:pt x="305" y="119"/>
                  </a:cubicBezTo>
                  <a:cubicBezTo>
                    <a:pt x="305" y="119"/>
                    <a:pt x="304" y="118"/>
                    <a:pt x="304" y="118"/>
                  </a:cubicBezTo>
                  <a:cubicBezTo>
                    <a:pt x="303" y="117"/>
                    <a:pt x="303" y="115"/>
                    <a:pt x="303" y="113"/>
                  </a:cubicBezTo>
                  <a:cubicBezTo>
                    <a:pt x="302" y="114"/>
                    <a:pt x="302" y="114"/>
                    <a:pt x="301" y="114"/>
                  </a:cubicBezTo>
                  <a:cubicBezTo>
                    <a:pt x="299" y="114"/>
                    <a:pt x="297" y="113"/>
                    <a:pt x="295" y="111"/>
                  </a:cubicBezTo>
                  <a:cubicBezTo>
                    <a:pt x="295" y="110"/>
                    <a:pt x="295" y="110"/>
                    <a:pt x="295" y="110"/>
                  </a:cubicBezTo>
                  <a:cubicBezTo>
                    <a:pt x="294" y="109"/>
                    <a:pt x="294" y="109"/>
                    <a:pt x="293" y="108"/>
                  </a:cubicBezTo>
                  <a:cubicBezTo>
                    <a:pt x="292" y="107"/>
                    <a:pt x="292" y="107"/>
                    <a:pt x="292" y="107"/>
                  </a:cubicBezTo>
                  <a:cubicBezTo>
                    <a:pt x="291" y="105"/>
                    <a:pt x="290" y="103"/>
                    <a:pt x="289" y="102"/>
                  </a:cubicBezTo>
                  <a:cubicBezTo>
                    <a:pt x="283" y="103"/>
                    <a:pt x="283" y="103"/>
                    <a:pt x="283" y="103"/>
                  </a:cubicBezTo>
                  <a:cubicBezTo>
                    <a:pt x="289" y="100"/>
                    <a:pt x="289" y="100"/>
                    <a:pt x="289" y="100"/>
                  </a:cubicBezTo>
                  <a:cubicBezTo>
                    <a:pt x="289" y="100"/>
                    <a:pt x="289" y="100"/>
                    <a:pt x="289" y="100"/>
                  </a:cubicBezTo>
                  <a:cubicBezTo>
                    <a:pt x="288" y="99"/>
                    <a:pt x="289" y="98"/>
                    <a:pt x="289" y="97"/>
                  </a:cubicBezTo>
                  <a:cubicBezTo>
                    <a:pt x="289" y="96"/>
                    <a:pt x="290" y="96"/>
                    <a:pt x="290" y="95"/>
                  </a:cubicBezTo>
                  <a:cubicBezTo>
                    <a:pt x="291" y="92"/>
                    <a:pt x="291" y="92"/>
                    <a:pt x="291" y="91"/>
                  </a:cubicBezTo>
                  <a:cubicBezTo>
                    <a:pt x="290" y="90"/>
                    <a:pt x="290" y="90"/>
                    <a:pt x="290" y="90"/>
                  </a:cubicBezTo>
                  <a:cubicBezTo>
                    <a:pt x="290" y="89"/>
                    <a:pt x="289" y="89"/>
                    <a:pt x="289" y="88"/>
                  </a:cubicBezTo>
                  <a:cubicBezTo>
                    <a:pt x="288" y="87"/>
                    <a:pt x="288" y="86"/>
                    <a:pt x="288" y="85"/>
                  </a:cubicBezTo>
                  <a:cubicBezTo>
                    <a:pt x="288" y="85"/>
                    <a:pt x="288" y="85"/>
                    <a:pt x="288" y="85"/>
                  </a:cubicBezTo>
                  <a:cubicBezTo>
                    <a:pt x="288" y="85"/>
                    <a:pt x="288" y="85"/>
                    <a:pt x="288" y="85"/>
                  </a:cubicBezTo>
                  <a:cubicBezTo>
                    <a:pt x="288" y="84"/>
                    <a:pt x="288" y="84"/>
                    <a:pt x="288" y="84"/>
                  </a:cubicBezTo>
                  <a:cubicBezTo>
                    <a:pt x="288" y="83"/>
                    <a:pt x="288" y="83"/>
                    <a:pt x="288" y="83"/>
                  </a:cubicBezTo>
                  <a:cubicBezTo>
                    <a:pt x="289" y="82"/>
                    <a:pt x="290" y="81"/>
                    <a:pt x="291" y="80"/>
                  </a:cubicBezTo>
                  <a:cubicBezTo>
                    <a:pt x="291" y="80"/>
                    <a:pt x="291" y="80"/>
                    <a:pt x="291" y="80"/>
                  </a:cubicBezTo>
                  <a:cubicBezTo>
                    <a:pt x="290" y="80"/>
                    <a:pt x="290" y="80"/>
                    <a:pt x="290" y="80"/>
                  </a:cubicBezTo>
                  <a:cubicBezTo>
                    <a:pt x="289" y="80"/>
                    <a:pt x="288" y="80"/>
                    <a:pt x="288" y="79"/>
                  </a:cubicBezTo>
                  <a:cubicBezTo>
                    <a:pt x="285" y="79"/>
                    <a:pt x="285" y="79"/>
                    <a:pt x="285" y="79"/>
                  </a:cubicBezTo>
                  <a:cubicBezTo>
                    <a:pt x="286" y="76"/>
                    <a:pt x="286" y="76"/>
                    <a:pt x="286" y="76"/>
                  </a:cubicBezTo>
                  <a:cubicBezTo>
                    <a:pt x="286" y="76"/>
                    <a:pt x="286" y="75"/>
                    <a:pt x="286" y="75"/>
                  </a:cubicBezTo>
                  <a:cubicBezTo>
                    <a:pt x="286" y="74"/>
                    <a:pt x="286" y="74"/>
                    <a:pt x="286" y="74"/>
                  </a:cubicBezTo>
                  <a:cubicBezTo>
                    <a:pt x="286" y="74"/>
                    <a:pt x="286" y="73"/>
                    <a:pt x="287" y="73"/>
                  </a:cubicBezTo>
                  <a:cubicBezTo>
                    <a:pt x="286" y="73"/>
                    <a:pt x="286" y="73"/>
                    <a:pt x="285" y="72"/>
                  </a:cubicBezTo>
                  <a:cubicBezTo>
                    <a:pt x="285" y="72"/>
                    <a:pt x="285" y="72"/>
                    <a:pt x="285" y="72"/>
                  </a:cubicBezTo>
                  <a:cubicBezTo>
                    <a:pt x="284" y="71"/>
                    <a:pt x="283" y="70"/>
                    <a:pt x="283" y="69"/>
                  </a:cubicBezTo>
                  <a:cubicBezTo>
                    <a:pt x="282" y="67"/>
                    <a:pt x="283" y="66"/>
                    <a:pt x="284" y="65"/>
                  </a:cubicBezTo>
                  <a:cubicBezTo>
                    <a:pt x="284" y="63"/>
                    <a:pt x="285" y="62"/>
                    <a:pt x="286" y="61"/>
                  </a:cubicBezTo>
                  <a:cubicBezTo>
                    <a:pt x="286" y="60"/>
                    <a:pt x="286" y="60"/>
                    <a:pt x="286" y="59"/>
                  </a:cubicBezTo>
                  <a:cubicBezTo>
                    <a:pt x="288" y="58"/>
                    <a:pt x="289" y="58"/>
                    <a:pt x="291" y="58"/>
                  </a:cubicBezTo>
                  <a:cubicBezTo>
                    <a:pt x="293" y="57"/>
                    <a:pt x="297" y="57"/>
                    <a:pt x="300" y="57"/>
                  </a:cubicBezTo>
                  <a:cubicBezTo>
                    <a:pt x="301" y="56"/>
                    <a:pt x="301" y="56"/>
                    <a:pt x="301" y="56"/>
                  </a:cubicBezTo>
                  <a:cubicBezTo>
                    <a:pt x="302" y="56"/>
                    <a:pt x="303" y="56"/>
                    <a:pt x="304" y="56"/>
                  </a:cubicBezTo>
                  <a:cubicBezTo>
                    <a:pt x="304" y="56"/>
                    <a:pt x="305" y="56"/>
                    <a:pt x="305" y="56"/>
                  </a:cubicBezTo>
                  <a:cubicBezTo>
                    <a:pt x="308" y="56"/>
                    <a:pt x="310" y="57"/>
                    <a:pt x="312" y="57"/>
                  </a:cubicBezTo>
                  <a:cubicBezTo>
                    <a:pt x="313" y="57"/>
                    <a:pt x="313" y="57"/>
                    <a:pt x="313" y="57"/>
                  </a:cubicBezTo>
                  <a:cubicBezTo>
                    <a:pt x="314" y="57"/>
                    <a:pt x="315" y="58"/>
                    <a:pt x="316" y="58"/>
                  </a:cubicBezTo>
                  <a:cubicBezTo>
                    <a:pt x="319" y="58"/>
                    <a:pt x="319" y="58"/>
                    <a:pt x="319" y="58"/>
                  </a:cubicBezTo>
                  <a:cubicBezTo>
                    <a:pt x="321" y="58"/>
                    <a:pt x="322" y="59"/>
                    <a:pt x="324" y="60"/>
                  </a:cubicBezTo>
                  <a:cubicBezTo>
                    <a:pt x="324" y="60"/>
                    <a:pt x="324" y="60"/>
                    <a:pt x="325" y="60"/>
                  </a:cubicBezTo>
                  <a:cubicBezTo>
                    <a:pt x="325" y="61"/>
                    <a:pt x="326" y="61"/>
                    <a:pt x="326" y="61"/>
                  </a:cubicBezTo>
                  <a:cubicBezTo>
                    <a:pt x="328" y="61"/>
                    <a:pt x="328" y="61"/>
                    <a:pt x="328" y="61"/>
                  </a:cubicBezTo>
                  <a:cubicBezTo>
                    <a:pt x="329" y="61"/>
                    <a:pt x="329" y="61"/>
                    <a:pt x="330" y="62"/>
                  </a:cubicBezTo>
                  <a:cubicBezTo>
                    <a:pt x="332" y="61"/>
                    <a:pt x="334" y="61"/>
                    <a:pt x="338" y="59"/>
                  </a:cubicBezTo>
                  <a:cubicBezTo>
                    <a:pt x="339" y="59"/>
                    <a:pt x="340" y="58"/>
                    <a:pt x="340" y="58"/>
                  </a:cubicBezTo>
                  <a:cubicBezTo>
                    <a:pt x="341" y="58"/>
                    <a:pt x="341" y="58"/>
                    <a:pt x="342" y="57"/>
                  </a:cubicBezTo>
                  <a:cubicBezTo>
                    <a:pt x="343" y="57"/>
                    <a:pt x="344" y="57"/>
                    <a:pt x="345" y="57"/>
                  </a:cubicBezTo>
                  <a:cubicBezTo>
                    <a:pt x="346" y="56"/>
                    <a:pt x="347" y="56"/>
                    <a:pt x="348" y="56"/>
                  </a:cubicBezTo>
                  <a:cubicBezTo>
                    <a:pt x="348" y="56"/>
                    <a:pt x="348" y="56"/>
                    <a:pt x="348" y="56"/>
                  </a:cubicBezTo>
                  <a:cubicBezTo>
                    <a:pt x="348" y="56"/>
                    <a:pt x="349" y="56"/>
                    <a:pt x="349" y="56"/>
                  </a:cubicBezTo>
                  <a:cubicBezTo>
                    <a:pt x="350" y="56"/>
                    <a:pt x="350" y="56"/>
                    <a:pt x="350" y="56"/>
                  </a:cubicBezTo>
                  <a:cubicBezTo>
                    <a:pt x="352" y="55"/>
                    <a:pt x="353" y="55"/>
                    <a:pt x="354" y="53"/>
                  </a:cubicBezTo>
                  <a:cubicBezTo>
                    <a:pt x="355" y="52"/>
                    <a:pt x="355" y="52"/>
                    <a:pt x="355" y="52"/>
                  </a:cubicBezTo>
                  <a:cubicBezTo>
                    <a:pt x="357" y="50"/>
                    <a:pt x="358" y="48"/>
                    <a:pt x="360" y="46"/>
                  </a:cubicBezTo>
                  <a:cubicBezTo>
                    <a:pt x="365" y="44"/>
                    <a:pt x="365" y="44"/>
                    <a:pt x="365" y="44"/>
                  </a:cubicBezTo>
                  <a:cubicBezTo>
                    <a:pt x="366" y="43"/>
                    <a:pt x="367" y="43"/>
                    <a:pt x="368" y="42"/>
                  </a:cubicBezTo>
                  <a:cubicBezTo>
                    <a:pt x="360" y="43"/>
                    <a:pt x="360" y="43"/>
                    <a:pt x="360" y="43"/>
                  </a:cubicBezTo>
                  <a:cubicBezTo>
                    <a:pt x="367" y="40"/>
                    <a:pt x="367" y="40"/>
                    <a:pt x="367" y="40"/>
                  </a:cubicBezTo>
                  <a:cubicBezTo>
                    <a:pt x="362" y="40"/>
                    <a:pt x="358" y="39"/>
                    <a:pt x="354" y="37"/>
                  </a:cubicBezTo>
                  <a:cubicBezTo>
                    <a:pt x="352" y="36"/>
                    <a:pt x="351" y="35"/>
                    <a:pt x="350" y="33"/>
                  </a:cubicBezTo>
                  <a:cubicBezTo>
                    <a:pt x="349" y="33"/>
                    <a:pt x="349" y="32"/>
                    <a:pt x="348" y="32"/>
                  </a:cubicBezTo>
                  <a:cubicBezTo>
                    <a:pt x="347" y="32"/>
                    <a:pt x="345" y="32"/>
                    <a:pt x="344" y="32"/>
                  </a:cubicBezTo>
                  <a:cubicBezTo>
                    <a:pt x="344" y="32"/>
                    <a:pt x="344" y="32"/>
                    <a:pt x="344" y="32"/>
                  </a:cubicBezTo>
                  <a:cubicBezTo>
                    <a:pt x="343" y="32"/>
                    <a:pt x="343" y="32"/>
                    <a:pt x="343" y="32"/>
                  </a:cubicBezTo>
                  <a:cubicBezTo>
                    <a:pt x="341" y="32"/>
                    <a:pt x="340" y="32"/>
                    <a:pt x="339" y="31"/>
                  </a:cubicBezTo>
                  <a:cubicBezTo>
                    <a:pt x="339" y="31"/>
                    <a:pt x="338" y="30"/>
                    <a:pt x="338" y="30"/>
                  </a:cubicBezTo>
                  <a:cubicBezTo>
                    <a:pt x="338" y="29"/>
                    <a:pt x="338" y="29"/>
                    <a:pt x="338" y="29"/>
                  </a:cubicBezTo>
                  <a:cubicBezTo>
                    <a:pt x="338" y="29"/>
                    <a:pt x="338" y="29"/>
                    <a:pt x="338" y="29"/>
                  </a:cubicBezTo>
                  <a:cubicBezTo>
                    <a:pt x="337" y="28"/>
                    <a:pt x="336" y="28"/>
                    <a:pt x="336" y="27"/>
                  </a:cubicBezTo>
                  <a:cubicBezTo>
                    <a:pt x="334" y="25"/>
                    <a:pt x="334" y="25"/>
                    <a:pt x="334" y="25"/>
                  </a:cubicBezTo>
                  <a:cubicBezTo>
                    <a:pt x="331" y="23"/>
                    <a:pt x="333" y="20"/>
                    <a:pt x="335" y="19"/>
                  </a:cubicBezTo>
                  <a:cubicBezTo>
                    <a:pt x="335" y="18"/>
                    <a:pt x="335" y="18"/>
                    <a:pt x="335" y="17"/>
                  </a:cubicBezTo>
                  <a:cubicBezTo>
                    <a:pt x="335" y="17"/>
                    <a:pt x="335" y="16"/>
                    <a:pt x="335" y="15"/>
                  </a:cubicBezTo>
                  <a:cubicBezTo>
                    <a:pt x="335" y="14"/>
                    <a:pt x="334" y="13"/>
                    <a:pt x="334" y="12"/>
                  </a:cubicBezTo>
                  <a:cubicBezTo>
                    <a:pt x="332" y="10"/>
                    <a:pt x="331" y="9"/>
                    <a:pt x="329" y="8"/>
                  </a:cubicBezTo>
                  <a:cubicBezTo>
                    <a:pt x="329" y="7"/>
                    <a:pt x="328" y="7"/>
                    <a:pt x="327" y="7"/>
                  </a:cubicBezTo>
                  <a:cubicBezTo>
                    <a:pt x="326" y="6"/>
                    <a:pt x="325" y="5"/>
                    <a:pt x="323" y="4"/>
                  </a:cubicBezTo>
                  <a:cubicBezTo>
                    <a:pt x="322" y="4"/>
                    <a:pt x="321" y="3"/>
                    <a:pt x="320" y="2"/>
                  </a:cubicBezTo>
                  <a:cubicBezTo>
                    <a:pt x="318" y="1"/>
                    <a:pt x="317" y="1"/>
                    <a:pt x="315" y="1"/>
                  </a:cubicBezTo>
                  <a:cubicBezTo>
                    <a:pt x="314" y="1"/>
                    <a:pt x="314" y="1"/>
                    <a:pt x="314" y="1"/>
                  </a:cubicBezTo>
                  <a:cubicBezTo>
                    <a:pt x="313" y="1"/>
                    <a:pt x="313" y="2"/>
                    <a:pt x="312" y="2"/>
                  </a:cubicBezTo>
                  <a:cubicBezTo>
                    <a:pt x="311" y="2"/>
                    <a:pt x="311" y="2"/>
                    <a:pt x="311" y="1"/>
                  </a:cubicBezTo>
                  <a:cubicBezTo>
                    <a:pt x="309" y="1"/>
                    <a:pt x="308" y="1"/>
                    <a:pt x="307" y="0"/>
                  </a:cubicBezTo>
                  <a:cubicBezTo>
                    <a:pt x="307" y="0"/>
                    <a:pt x="307" y="0"/>
                    <a:pt x="307" y="0"/>
                  </a:cubicBezTo>
                  <a:cubicBezTo>
                    <a:pt x="306" y="0"/>
                    <a:pt x="306" y="0"/>
                    <a:pt x="306" y="0"/>
                  </a:cubicBezTo>
                  <a:cubicBezTo>
                    <a:pt x="306" y="0"/>
                    <a:pt x="306" y="0"/>
                    <a:pt x="3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Freeform 1531"/>
            <p:cNvSpPr/>
            <p:nvPr/>
          </p:nvSpPr>
          <p:spPr bwMode="auto">
            <a:xfrm>
              <a:off x="824194" y="1983975"/>
              <a:ext cx="130207" cy="37585"/>
            </a:xfrm>
            <a:custGeom>
              <a:gdLst>
                <a:gd name="T0" fmla="*/ 16 w 41"/>
                <a:gd name="T1" fmla="*/ 0 h 12"/>
                <a:gd name="T2" fmla="*/ 14 w 41"/>
                <a:gd name="T3" fmla="*/ 1 h 12"/>
                <a:gd name="T4" fmla="*/ 12 w 41"/>
                <a:gd name="T5" fmla="*/ 1 h 12"/>
                <a:gd name="T6" fmla="*/ 2 w 41"/>
                <a:gd name="T7" fmla="*/ 10 h 12"/>
                <a:gd name="T8" fmla="*/ 0 w 41"/>
                <a:gd name="T9" fmla="*/ 12 h 12"/>
                <a:gd name="T10" fmla="*/ 1 w 41"/>
                <a:gd name="T11" fmla="*/ 11 h 12"/>
                <a:gd name="T12" fmla="*/ 6 w 41"/>
                <a:gd name="T13" fmla="*/ 11 h 12"/>
                <a:gd name="T14" fmla="*/ 16 w 41"/>
                <a:gd name="T15" fmla="*/ 10 h 12"/>
                <a:gd name="T16" fmla="*/ 17 w 41"/>
                <a:gd name="T17" fmla="*/ 10 h 12"/>
                <a:gd name="T18" fmla="*/ 22 w 41"/>
                <a:gd name="T19" fmla="*/ 10 h 12"/>
                <a:gd name="T20" fmla="*/ 22 w 41"/>
                <a:gd name="T21" fmla="*/ 10 h 12"/>
                <a:gd name="T22" fmla="*/ 24 w 41"/>
                <a:gd name="T23" fmla="*/ 10 h 12"/>
                <a:gd name="T24" fmla="*/ 26 w 41"/>
                <a:gd name="T25" fmla="*/ 10 h 12"/>
                <a:gd name="T26" fmla="*/ 27 w 41"/>
                <a:gd name="T27" fmla="*/ 11 h 12"/>
                <a:gd name="T28" fmla="*/ 28 w 41"/>
                <a:gd name="T29" fmla="*/ 11 h 12"/>
                <a:gd name="T30" fmla="*/ 31 w 41"/>
                <a:gd name="T31" fmla="*/ 12 h 12"/>
                <a:gd name="T32" fmla="*/ 32 w 41"/>
                <a:gd name="T33" fmla="*/ 12 h 12"/>
                <a:gd name="T34" fmla="*/ 32 w 41"/>
                <a:gd name="T35" fmla="*/ 11 h 12"/>
                <a:gd name="T36" fmla="*/ 38 w 41"/>
                <a:gd name="T37" fmla="*/ 9 h 12"/>
                <a:gd name="T38" fmla="*/ 37 w 41"/>
                <a:gd name="T39" fmla="*/ 6 h 12"/>
                <a:gd name="T40" fmla="*/ 38 w 41"/>
                <a:gd name="T41" fmla="*/ 3 h 12"/>
                <a:gd name="T42" fmla="*/ 40 w 41"/>
                <a:gd name="T43" fmla="*/ 2 h 12"/>
                <a:gd name="T44" fmla="*/ 41 w 41"/>
                <a:gd name="T45" fmla="*/ 2 h 12"/>
                <a:gd name="T46" fmla="*/ 39 w 41"/>
                <a:gd name="T47" fmla="*/ 2 h 12"/>
                <a:gd name="T48" fmla="*/ 38 w 41"/>
                <a:gd name="T49" fmla="*/ 2 h 12"/>
                <a:gd name="T50" fmla="*/ 38 w 41"/>
                <a:gd name="T51" fmla="*/ 2 h 12"/>
                <a:gd name="T52" fmla="*/ 36 w 41"/>
                <a:gd name="T53" fmla="*/ 3 h 12"/>
                <a:gd name="T54" fmla="*/ 36 w 41"/>
                <a:gd name="T55" fmla="*/ 3 h 12"/>
                <a:gd name="T56" fmla="*/ 35 w 41"/>
                <a:gd name="T57" fmla="*/ 4 h 12"/>
                <a:gd name="T58" fmla="*/ 34 w 41"/>
                <a:gd name="T59" fmla="*/ 4 h 12"/>
                <a:gd name="T60" fmla="*/ 29 w 41"/>
                <a:gd name="T61" fmla="*/ 5 h 12"/>
                <a:gd name="T62" fmla="*/ 26 w 41"/>
                <a:gd name="T63" fmla="*/ 6 h 12"/>
                <a:gd name="T64" fmla="*/ 23 w 41"/>
                <a:gd name="T65" fmla="*/ 7 h 12"/>
                <a:gd name="T66" fmla="*/ 21 w 41"/>
                <a:gd name="T67" fmla="*/ 6 h 12"/>
                <a:gd name="T68" fmla="*/ 20 w 41"/>
                <a:gd name="T69" fmla="*/ 6 h 12"/>
                <a:gd name="T70" fmla="*/ 20 w 41"/>
                <a:gd name="T71" fmla="*/ 5 h 12"/>
                <a:gd name="T72" fmla="*/ 19 w 41"/>
                <a:gd name="T73" fmla="*/ 2 h 12"/>
                <a:gd name="T74" fmla="*/ 19 w 41"/>
                <a:gd name="T75" fmla="*/ 1 h 12"/>
                <a:gd name="T76" fmla="*/ 16 w 41"/>
                <a:gd name="T77"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12">
                  <a:moveTo>
                    <a:pt x="16" y="0"/>
                  </a:moveTo>
                  <a:cubicBezTo>
                    <a:pt x="15" y="0"/>
                    <a:pt x="14" y="0"/>
                    <a:pt x="14" y="1"/>
                  </a:cubicBezTo>
                  <a:cubicBezTo>
                    <a:pt x="13" y="1"/>
                    <a:pt x="12" y="1"/>
                    <a:pt x="12" y="1"/>
                  </a:cubicBezTo>
                  <a:cubicBezTo>
                    <a:pt x="8" y="4"/>
                    <a:pt x="5" y="7"/>
                    <a:pt x="2" y="10"/>
                  </a:cubicBezTo>
                  <a:cubicBezTo>
                    <a:pt x="1" y="11"/>
                    <a:pt x="1" y="11"/>
                    <a:pt x="0" y="12"/>
                  </a:cubicBezTo>
                  <a:cubicBezTo>
                    <a:pt x="0" y="12"/>
                    <a:pt x="1" y="12"/>
                    <a:pt x="1" y="11"/>
                  </a:cubicBezTo>
                  <a:cubicBezTo>
                    <a:pt x="6" y="11"/>
                    <a:pt x="6" y="11"/>
                    <a:pt x="6" y="11"/>
                  </a:cubicBezTo>
                  <a:cubicBezTo>
                    <a:pt x="9" y="11"/>
                    <a:pt x="12" y="11"/>
                    <a:pt x="16" y="10"/>
                  </a:cubicBezTo>
                  <a:cubicBezTo>
                    <a:pt x="17" y="10"/>
                    <a:pt x="17" y="10"/>
                    <a:pt x="17" y="10"/>
                  </a:cubicBezTo>
                  <a:cubicBezTo>
                    <a:pt x="19" y="10"/>
                    <a:pt x="20" y="10"/>
                    <a:pt x="22" y="10"/>
                  </a:cubicBezTo>
                  <a:cubicBezTo>
                    <a:pt x="22" y="10"/>
                    <a:pt x="22" y="10"/>
                    <a:pt x="22" y="10"/>
                  </a:cubicBezTo>
                  <a:cubicBezTo>
                    <a:pt x="23" y="10"/>
                    <a:pt x="24" y="10"/>
                    <a:pt x="24" y="10"/>
                  </a:cubicBezTo>
                  <a:cubicBezTo>
                    <a:pt x="25" y="10"/>
                    <a:pt x="26" y="10"/>
                    <a:pt x="26" y="10"/>
                  </a:cubicBezTo>
                  <a:cubicBezTo>
                    <a:pt x="27" y="11"/>
                    <a:pt x="27" y="11"/>
                    <a:pt x="27" y="11"/>
                  </a:cubicBezTo>
                  <a:cubicBezTo>
                    <a:pt x="28" y="11"/>
                    <a:pt x="28" y="11"/>
                    <a:pt x="28" y="11"/>
                  </a:cubicBezTo>
                  <a:cubicBezTo>
                    <a:pt x="29" y="11"/>
                    <a:pt x="30" y="12"/>
                    <a:pt x="31" y="12"/>
                  </a:cubicBezTo>
                  <a:cubicBezTo>
                    <a:pt x="31" y="12"/>
                    <a:pt x="32" y="12"/>
                    <a:pt x="32" y="12"/>
                  </a:cubicBezTo>
                  <a:cubicBezTo>
                    <a:pt x="32" y="11"/>
                    <a:pt x="32" y="11"/>
                    <a:pt x="32" y="11"/>
                  </a:cubicBezTo>
                  <a:cubicBezTo>
                    <a:pt x="34" y="11"/>
                    <a:pt x="36" y="10"/>
                    <a:pt x="38" y="9"/>
                  </a:cubicBezTo>
                  <a:cubicBezTo>
                    <a:pt x="37" y="8"/>
                    <a:pt x="37" y="7"/>
                    <a:pt x="37" y="6"/>
                  </a:cubicBezTo>
                  <a:cubicBezTo>
                    <a:pt x="37" y="5"/>
                    <a:pt x="37" y="4"/>
                    <a:pt x="38" y="3"/>
                  </a:cubicBezTo>
                  <a:cubicBezTo>
                    <a:pt x="39" y="2"/>
                    <a:pt x="40" y="2"/>
                    <a:pt x="40" y="2"/>
                  </a:cubicBezTo>
                  <a:cubicBezTo>
                    <a:pt x="41" y="2"/>
                    <a:pt x="41" y="2"/>
                    <a:pt x="41" y="2"/>
                  </a:cubicBezTo>
                  <a:cubicBezTo>
                    <a:pt x="40" y="2"/>
                    <a:pt x="40" y="2"/>
                    <a:pt x="39" y="2"/>
                  </a:cubicBezTo>
                  <a:cubicBezTo>
                    <a:pt x="38" y="2"/>
                    <a:pt x="38" y="2"/>
                    <a:pt x="38" y="2"/>
                  </a:cubicBezTo>
                  <a:cubicBezTo>
                    <a:pt x="38" y="2"/>
                    <a:pt x="38" y="2"/>
                    <a:pt x="38" y="2"/>
                  </a:cubicBezTo>
                  <a:cubicBezTo>
                    <a:pt x="37" y="2"/>
                    <a:pt x="37" y="3"/>
                    <a:pt x="36" y="3"/>
                  </a:cubicBezTo>
                  <a:cubicBezTo>
                    <a:pt x="36" y="3"/>
                    <a:pt x="36" y="3"/>
                    <a:pt x="36" y="3"/>
                  </a:cubicBezTo>
                  <a:cubicBezTo>
                    <a:pt x="35" y="3"/>
                    <a:pt x="35" y="4"/>
                    <a:pt x="35" y="4"/>
                  </a:cubicBezTo>
                  <a:cubicBezTo>
                    <a:pt x="34" y="4"/>
                    <a:pt x="34" y="4"/>
                    <a:pt x="34" y="4"/>
                  </a:cubicBezTo>
                  <a:cubicBezTo>
                    <a:pt x="34" y="4"/>
                    <a:pt x="31" y="5"/>
                    <a:pt x="29" y="5"/>
                  </a:cubicBezTo>
                  <a:cubicBezTo>
                    <a:pt x="28" y="6"/>
                    <a:pt x="27" y="6"/>
                    <a:pt x="26" y="6"/>
                  </a:cubicBezTo>
                  <a:cubicBezTo>
                    <a:pt x="25" y="6"/>
                    <a:pt x="24" y="7"/>
                    <a:pt x="23" y="7"/>
                  </a:cubicBezTo>
                  <a:cubicBezTo>
                    <a:pt x="22" y="7"/>
                    <a:pt x="22" y="6"/>
                    <a:pt x="21" y="6"/>
                  </a:cubicBezTo>
                  <a:cubicBezTo>
                    <a:pt x="20" y="6"/>
                    <a:pt x="20" y="6"/>
                    <a:pt x="20" y="6"/>
                  </a:cubicBezTo>
                  <a:cubicBezTo>
                    <a:pt x="20" y="5"/>
                    <a:pt x="20" y="5"/>
                    <a:pt x="20" y="5"/>
                  </a:cubicBezTo>
                  <a:cubicBezTo>
                    <a:pt x="19" y="4"/>
                    <a:pt x="18" y="3"/>
                    <a:pt x="19" y="2"/>
                  </a:cubicBezTo>
                  <a:cubicBezTo>
                    <a:pt x="19" y="1"/>
                    <a:pt x="19" y="1"/>
                    <a:pt x="19" y="1"/>
                  </a:cubicBezTo>
                  <a:cubicBezTo>
                    <a:pt x="18" y="1"/>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Freeform 1532"/>
            <p:cNvSpPr/>
            <p:nvPr/>
          </p:nvSpPr>
          <p:spPr bwMode="auto">
            <a:xfrm>
              <a:off x="0" y="1898065"/>
              <a:ext cx="789293" cy="742312"/>
            </a:xfrm>
            <a:custGeom>
              <a:gdLst>
                <a:gd name="T0" fmla="*/ 207 w 249"/>
                <a:gd name="T1" fmla="*/ 10 h 234"/>
                <a:gd name="T2" fmla="*/ 205 w 249"/>
                <a:gd name="T3" fmla="*/ 17 h 234"/>
                <a:gd name="T4" fmla="*/ 202 w 249"/>
                <a:gd name="T5" fmla="*/ 30 h 234"/>
                <a:gd name="T6" fmla="*/ 194 w 249"/>
                <a:gd name="T7" fmla="*/ 25 h 234"/>
                <a:gd name="T8" fmla="*/ 185 w 249"/>
                <a:gd name="T9" fmla="*/ 29 h 234"/>
                <a:gd name="T10" fmla="*/ 183 w 249"/>
                <a:gd name="T11" fmla="*/ 35 h 234"/>
                <a:gd name="T12" fmla="*/ 171 w 249"/>
                <a:gd name="T13" fmla="*/ 32 h 234"/>
                <a:gd name="T14" fmla="*/ 167 w 249"/>
                <a:gd name="T15" fmla="*/ 33 h 234"/>
                <a:gd name="T16" fmla="*/ 154 w 249"/>
                <a:gd name="T17" fmla="*/ 39 h 234"/>
                <a:gd name="T18" fmla="*/ 146 w 249"/>
                <a:gd name="T19" fmla="*/ 40 h 234"/>
                <a:gd name="T20" fmla="*/ 141 w 249"/>
                <a:gd name="T21" fmla="*/ 35 h 234"/>
                <a:gd name="T22" fmla="*/ 132 w 249"/>
                <a:gd name="T23" fmla="*/ 35 h 234"/>
                <a:gd name="T24" fmla="*/ 117 w 249"/>
                <a:gd name="T25" fmla="*/ 30 h 234"/>
                <a:gd name="T26" fmla="*/ 113 w 249"/>
                <a:gd name="T27" fmla="*/ 31 h 234"/>
                <a:gd name="T28" fmla="*/ 106 w 249"/>
                <a:gd name="T29" fmla="*/ 30 h 234"/>
                <a:gd name="T30" fmla="*/ 98 w 249"/>
                <a:gd name="T31" fmla="*/ 26 h 234"/>
                <a:gd name="T32" fmla="*/ 86 w 249"/>
                <a:gd name="T33" fmla="*/ 34 h 234"/>
                <a:gd name="T34" fmla="*/ 68 w 249"/>
                <a:gd name="T35" fmla="*/ 58 h 234"/>
                <a:gd name="T36" fmla="*/ 40 w 249"/>
                <a:gd name="T37" fmla="*/ 70 h 234"/>
                <a:gd name="T38" fmla="*/ 30 w 249"/>
                <a:gd name="T39" fmla="*/ 84 h 234"/>
                <a:gd name="T40" fmla="*/ 23 w 249"/>
                <a:gd name="T41" fmla="*/ 85 h 234"/>
                <a:gd name="T42" fmla="*/ 10 w 249"/>
                <a:gd name="T43" fmla="*/ 87 h 234"/>
                <a:gd name="T44" fmla="*/ 7 w 249"/>
                <a:gd name="T45" fmla="*/ 83 h 234"/>
                <a:gd name="T46" fmla="*/ 0 w 249"/>
                <a:gd name="T47" fmla="*/ 183 h 234"/>
                <a:gd name="T48" fmla="*/ 5 w 249"/>
                <a:gd name="T49" fmla="*/ 202 h 234"/>
                <a:gd name="T50" fmla="*/ 24 w 249"/>
                <a:gd name="T51" fmla="*/ 234 h 234"/>
                <a:gd name="T52" fmla="*/ 34 w 249"/>
                <a:gd name="T53" fmla="*/ 233 h 234"/>
                <a:gd name="T54" fmla="*/ 48 w 249"/>
                <a:gd name="T55" fmla="*/ 232 h 234"/>
                <a:gd name="T56" fmla="*/ 56 w 249"/>
                <a:gd name="T57" fmla="*/ 234 h 234"/>
                <a:gd name="T58" fmla="*/ 76 w 249"/>
                <a:gd name="T59" fmla="*/ 228 h 234"/>
                <a:gd name="T60" fmla="*/ 102 w 249"/>
                <a:gd name="T61" fmla="*/ 224 h 234"/>
                <a:gd name="T62" fmla="*/ 106 w 249"/>
                <a:gd name="T63" fmla="*/ 216 h 234"/>
                <a:gd name="T64" fmla="*/ 108 w 249"/>
                <a:gd name="T65" fmla="*/ 198 h 234"/>
                <a:gd name="T66" fmla="*/ 118 w 249"/>
                <a:gd name="T67" fmla="*/ 188 h 234"/>
                <a:gd name="T68" fmla="*/ 125 w 249"/>
                <a:gd name="T69" fmla="*/ 185 h 234"/>
                <a:gd name="T70" fmla="*/ 131 w 249"/>
                <a:gd name="T71" fmla="*/ 187 h 234"/>
                <a:gd name="T72" fmla="*/ 139 w 249"/>
                <a:gd name="T73" fmla="*/ 185 h 234"/>
                <a:gd name="T74" fmla="*/ 148 w 249"/>
                <a:gd name="T75" fmla="*/ 175 h 234"/>
                <a:gd name="T76" fmla="*/ 156 w 249"/>
                <a:gd name="T77" fmla="*/ 172 h 234"/>
                <a:gd name="T78" fmla="*/ 165 w 249"/>
                <a:gd name="T79" fmla="*/ 173 h 234"/>
                <a:gd name="T80" fmla="*/ 170 w 249"/>
                <a:gd name="T81" fmla="*/ 176 h 234"/>
                <a:gd name="T82" fmla="*/ 176 w 249"/>
                <a:gd name="T83" fmla="*/ 162 h 234"/>
                <a:gd name="T84" fmla="*/ 180 w 249"/>
                <a:gd name="T85" fmla="*/ 152 h 234"/>
                <a:gd name="T86" fmla="*/ 184 w 249"/>
                <a:gd name="T87" fmla="*/ 140 h 234"/>
                <a:gd name="T88" fmla="*/ 193 w 249"/>
                <a:gd name="T89" fmla="*/ 138 h 234"/>
                <a:gd name="T90" fmla="*/ 195 w 249"/>
                <a:gd name="T91" fmla="*/ 126 h 234"/>
                <a:gd name="T92" fmla="*/ 192 w 249"/>
                <a:gd name="T93" fmla="*/ 115 h 234"/>
                <a:gd name="T94" fmla="*/ 207 w 249"/>
                <a:gd name="T95" fmla="*/ 115 h 234"/>
                <a:gd name="T96" fmla="*/ 219 w 249"/>
                <a:gd name="T97" fmla="*/ 112 h 234"/>
                <a:gd name="T98" fmla="*/ 217 w 249"/>
                <a:gd name="T99" fmla="*/ 107 h 234"/>
                <a:gd name="T100" fmla="*/ 228 w 249"/>
                <a:gd name="T101" fmla="*/ 90 h 234"/>
                <a:gd name="T102" fmla="*/ 231 w 249"/>
                <a:gd name="T103" fmla="*/ 83 h 234"/>
                <a:gd name="T104" fmla="*/ 229 w 249"/>
                <a:gd name="T105" fmla="*/ 75 h 234"/>
                <a:gd name="T106" fmla="*/ 223 w 249"/>
                <a:gd name="T107" fmla="*/ 66 h 234"/>
                <a:gd name="T108" fmla="*/ 233 w 249"/>
                <a:gd name="T109" fmla="*/ 49 h 234"/>
                <a:gd name="T110" fmla="*/ 238 w 249"/>
                <a:gd name="T111" fmla="*/ 49 h 234"/>
                <a:gd name="T112" fmla="*/ 249 w 249"/>
                <a:gd name="T113" fmla="*/ 43 h 234"/>
                <a:gd name="T114" fmla="*/ 233 w 249"/>
                <a:gd name="T115" fmla="*/ 47 h 234"/>
                <a:gd name="T116" fmla="*/ 227 w 249"/>
                <a:gd name="T117" fmla="*/ 33 h 234"/>
                <a:gd name="T118" fmla="*/ 227 w 249"/>
                <a:gd name="T119" fmla="*/ 13 h 234"/>
                <a:gd name="T120" fmla="*/ 224 w 249"/>
                <a:gd name="T121" fmla="*/ 6 h 234"/>
                <a:gd name="T122" fmla="*/ 221 w 249"/>
                <a:gd name="T123" fmla="*/ 3 h 2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9" h="234">
                  <a:moveTo>
                    <a:pt x="219" y="0"/>
                  </a:moveTo>
                  <a:cubicBezTo>
                    <a:pt x="218" y="0"/>
                    <a:pt x="218" y="0"/>
                    <a:pt x="218" y="0"/>
                  </a:cubicBezTo>
                  <a:cubicBezTo>
                    <a:pt x="217" y="0"/>
                    <a:pt x="216" y="0"/>
                    <a:pt x="215" y="1"/>
                  </a:cubicBezTo>
                  <a:cubicBezTo>
                    <a:pt x="213" y="2"/>
                    <a:pt x="212" y="4"/>
                    <a:pt x="210" y="6"/>
                  </a:cubicBezTo>
                  <a:cubicBezTo>
                    <a:pt x="209" y="7"/>
                    <a:pt x="208" y="9"/>
                    <a:pt x="207" y="10"/>
                  </a:cubicBezTo>
                  <a:cubicBezTo>
                    <a:pt x="206" y="11"/>
                    <a:pt x="206" y="11"/>
                    <a:pt x="206" y="11"/>
                  </a:cubicBezTo>
                  <a:cubicBezTo>
                    <a:pt x="205" y="12"/>
                    <a:pt x="204" y="12"/>
                    <a:pt x="203" y="13"/>
                  </a:cubicBezTo>
                  <a:cubicBezTo>
                    <a:pt x="203" y="13"/>
                    <a:pt x="203" y="13"/>
                    <a:pt x="203" y="13"/>
                  </a:cubicBezTo>
                  <a:cubicBezTo>
                    <a:pt x="203" y="14"/>
                    <a:pt x="203" y="14"/>
                    <a:pt x="203" y="14"/>
                  </a:cubicBezTo>
                  <a:cubicBezTo>
                    <a:pt x="204" y="14"/>
                    <a:pt x="205" y="15"/>
                    <a:pt x="205" y="17"/>
                  </a:cubicBezTo>
                  <a:cubicBezTo>
                    <a:pt x="205" y="17"/>
                    <a:pt x="205" y="18"/>
                    <a:pt x="205" y="19"/>
                  </a:cubicBezTo>
                  <a:cubicBezTo>
                    <a:pt x="205" y="20"/>
                    <a:pt x="205" y="21"/>
                    <a:pt x="204" y="22"/>
                  </a:cubicBezTo>
                  <a:cubicBezTo>
                    <a:pt x="204" y="23"/>
                    <a:pt x="203" y="24"/>
                    <a:pt x="202" y="24"/>
                  </a:cubicBezTo>
                  <a:cubicBezTo>
                    <a:pt x="201" y="24"/>
                    <a:pt x="201" y="24"/>
                    <a:pt x="201" y="24"/>
                  </a:cubicBezTo>
                  <a:cubicBezTo>
                    <a:pt x="202" y="30"/>
                    <a:pt x="202" y="30"/>
                    <a:pt x="202" y="30"/>
                  </a:cubicBezTo>
                  <a:cubicBezTo>
                    <a:pt x="200" y="25"/>
                    <a:pt x="200" y="25"/>
                    <a:pt x="200" y="25"/>
                  </a:cubicBezTo>
                  <a:cubicBezTo>
                    <a:pt x="200" y="25"/>
                    <a:pt x="200" y="25"/>
                    <a:pt x="200" y="25"/>
                  </a:cubicBezTo>
                  <a:cubicBezTo>
                    <a:pt x="199" y="25"/>
                    <a:pt x="199" y="25"/>
                    <a:pt x="198" y="25"/>
                  </a:cubicBezTo>
                  <a:cubicBezTo>
                    <a:pt x="198" y="25"/>
                    <a:pt x="198" y="25"/>
                    <a:pt x="198" y="25"/>
                  </a:cubicBezTo>
                  <a:cubicBezTo>
                    <a:pt x="196" y="25"/>
                    <a:pt x="195" y="25"/>
                    <a:pt x="194" y="25"/>
                  </a:cubicBezTo>
                  <a:cubicBezTo>
                    <a:pt x="193" y="24"/>
                    <a:pt x="192" y="24"/>
                    <a:pt x="192" y="24"/>
                  </a:cubicBezTo>
                  <a:cubicBezTo>
                    <a:pt x="191" y="24"/>
                    <a:pt x="188" y="24"/>
                    <a:pt x="187" y="24"/>
                  </a:cubicBezTo>
                  <a:cubicBezTo>
                    <a:pt x="187" y="24"/>
                    <a:pt x="187" y="24"/>
                    <a:pt x="187" y="24"/>
                  </a:cubicBezTo>
                  <a:cubicBezTo>
                    <a:pt x="187" y="25"/>
                    <a:pt x="186" y="25"/>
                    <a:pt x="186" y="27"/>
                  </a:cubicBezTo>
                  <a:cubicBezTo>
                    <a:pt x="185" y="29"/>
                    <a:pt x="185" y="29"/>
                    <a:pt x="185" y="29"/>
                  </a:cubicBezTo>
                  <a:cubicBezTo>
                    <a:pt x="185" y="29"/>
                    <a:pt x="185" y="30"/>
                    <a:pt x="185" y="30"/>
                  </a:cubicBezTo>
                  <a:cubicBezTo>
                    <a:pt x="185" y="31"/>
                    <a:pt x="185" y="32"/>
                    <a:pt x="185" y="32"/>
                  </a:cubicBezTo>
                  <a:cubicBezTo>
                    <a:pt x="185" y="33"/>
                    <a:pt x="184" y="34"/>
                    <a:pt x="184" y="34"/>
                  </a:cubicBezTo>
                  <a:cubicBezTo>
                    <a:pt x="188" y="38"/>
                    <a:pt x="188" y="38"/>
                    <a:pt x="188" y="38"/>
                  </a:cubicBezTo>
                  <a:cubicBezTo>
                    <a:pt x="183" y="35"/>
                    <a:pt x="183" y="35"/>
                    <a:pt x="183" y="35"/>
                  </a:cubicBezTo>
                  <a:cubicBezTo>
                    <a:pt x="182" y="36"/>
                    <a:pt x="182" y="36"/>
                    <a:pt x="181" y="37"/>
                  </a:cubicBezTo>
                  <a:cubicBezTo>
                    <a:pt x="180" y="37"/>
                    <a:pt x="180" y="37"/>
                    <a:pt x="179" y="37"/>
                  </a:cubicBezTo>
                  <a:cubicBezTo>
                    <a:pt x="179" y="37"/>
                    <a:pt x="178" y="37"/>
                    <a:pt x="177" y="37"/>
                  </a:cubicBezTo>
                  <a:cubicBezTo>
                    <a:pt x="176" y="36"/>
                    <a:pt x="175" y="35"/>
                    <a:pt x="174" y="34"/>
                  </a:cubicBezTo>
                  <a:cubicBezTo>
                    <a:pt x="171" y="32"/>
                    <a:pt x="171" y="32"/>
                    <a:pt x="171" y="32"/>
                  </a:cubicBezTo>
                  <a:cubicBezTo>
                    <a:pt x="171" y="31"/>
                    <a:pt x="171" y="31"/>
                    <a:pt x="171" y="31"/>
                  </a:cubicBezTo>
                  <a:cubicBezTo>
                    <a:pt x="171" y="31"/>
                    <a:pt x="170" y="31"/>
                    <a:pt x="170" y="32"/>
                  </a:cubicBezTo>
                  <a:cubicBezTo>
                    <a:pt x="169" y="32"/>
                    <a:pt x="169" y="32"/>
                    <a:pt x="169" y="32"/>
                  </a:cubicBezTo>
                  <a:cubicBezTo>
                    <a:pt x="168" y="32"/>
                    <a:pt x="168" y="32"/>
                    <a:pt x="168" y="32"/>
                  </a:cubicBezTo>
                  <a:cubicBezTo>
                    <a:pt x="168" y="33"/>
                    <a:pt x="167" y="33"/>
                    <a:pt x="167" y="33"/>
                  </a:cubicBezTo>
                  <a:cubicBezTo>
                    <a:pt x="164" y="34"/>
                    <a:pt x="162" y="35"/>
                    <a:pt x="160" y="36"/>
                  </a:cubicBezTo>
                  <a:cubicBezTo>
                    <a:pt x="160" y="36"/>
                    <a:pt x="160" y="36"/>
                    <a:pt x="160" y="36"/>
                  </a:cubicBezTo>
                  <a:cubicBezTo>
                    <a:pt x="159" y="36"/>
                    <a:pt x="159" y="36"/>
                    <a:pt x="158" y="37"/>
                  </a:cubicBezTo>
                  <a:cubicBezTo>
                    <a:pt x="156" y="38"/>
                    <a:pt x="155" y="38"/>
                    <a:pt x="155" y="39"/>
                  </a:cubicBezTo>
                  <a:cubicBezTo>
                    <a:pt x="154" y="39"/>
                    <a:pt x="154" y="39"/>
                    <a:pt x="154" y="39"/>
                  </a:cubicBezTo>
                  <a:cubicBezTo>
                    <a:pt x="155" y="40"/>
                    <a:pt x="155" y="40"/>
                    <a:pt x="155" y="40"/>
                  </a:cubicBezTo>
                  <a:cubicBezTo>
                    <a:pt x="154" y="39"/>
                    <a:pt x="154" y="39"/>
                    <a:pt x="154" y="39"/>
                  </a:cubicBezTo>
                  <a:cubicBezTo>
                    <a:pt x="153" y="41"/>
                    <a:pt x="151" y="41"/>
                    <a:pt x="150" y="41"/>
                  </a:cubicBezTo>
                  <a:cubicBezTo>
                    <a:pt x="149" y="41"/>
                    <a:pt x="149" y="41"/>
                    <a:pt x="149" y="41"/>
                  </a:cubicBezTo>
                  <a:cubicBezTo>
                    <a:pt x="148" y="41"/>
                    <a:pt x="147" y="40"/>
                    <a:pt x="146" y="40"/>
                  </a:cubicBezTo>
                  <a:cubicBezTo>
                    <a:pt x="143" y="37"/>
                    <a:pt x="143" y="37"/>
                    <a:pt x="143" y="37"/>
                  </a:cubicBezTo>
                  <a:cubicBezTo>
                    <a:pt x="142" y="37"/>
                    <a:pt x="142" y="36"/>
                    <a:pt x="141" y="35"/>
                  </a:cubicBezTo>
                  <a:cubicBezTo>
                    <a:pt x="141" y="35"/>
                    <a:pt x="141" y="35"/>
                    <a:pt x="141" y="35"/>
                  </a:cubicBezTo>
                  <a:cubicBezTo>
                    <a:pt x="141" y="35"/>
                    <a:pt x="141" y="35"/>
                    <a:pt x="141" y="35"/>
                  </a:cubicBezTo>
                  <a:cubicBezTo>
                    <a:pt x="141" y="35"/>
                    <a:pt x="141" y="35"/>
                    <a:pt x="141" y="35"/>
                  </a:cubicBezTo>
                  <a:cubicBezTo>
                    <a:pt x="140" y="35"/>
                    <a:pt x="139" y="35"/>
                    <a:pt x="139" y="35"/>
                  </a:cubicBezTo>
                  <a:cubicBezTo>
                    <a:pt x="138" y="35"/>
                    <a:pt x="137" y="35"/>
                    <a:pt x="136" y="35"/>
                  </a:cubicBezTo>
                  <a:cubicBezTo>
                    <a:pt x="136" y="35"/>
                    <a:pt x="136" y="35"/>
                    <a:pt x="136" y="35"/>
                  </a:cubicBezTo>
                  <a:cubicBezTo>
                    <a:pt x="135" y="35"/>
                    <a:pt x="134" y="35"/>
                    <a:pt x="133" y="35"/>
                  </a:cubicBezTo>
                  <a:cubicBezTo>
                    <a:pt x="132" y="35"/>
                    <a:pt x="132" y="35"/>
                    <a:pt x="132" y="35"/>
                  </a:cubicBezTo>
                  <a:cubicBezTo>
                    <a:pt x="130" y="35"/>
                    <a:pt x="129" y="34"/>
                    <a:pt x="128" y="33"/>
                  </a:cubicBezTo>
                  <a:cubicBezTo>
                    <a:pt x="128" y="32"/>
                    <a:pt x="127" y="32"/>
                    <a:pt x="127" y="31"/>
                  </a:cubicBezTo>
                  <a:cubicBezTo>
                    <a:pt x="126" y="31"/>
                    <a:pt x="125" y="30"/>
                    <a:pt x="124" y="30"/>
                  </a:cubicBezTo>
                  <a:cubicBezTo>
                    <a:pt x="124" y="30"/>
                    <a:pt x="123" y="30"/>
                    <a:pt x="122" y="30"/>
                  </a:cubicBezTo>
                  <a:cubicBezTo>
                    <a:pt x="117" y="30"/>
                    <a:pt x="117" y="30"/>
                    <a:pt x="117" y="30"/>
                  </a:cubicBezTo>
                  <a:cubicBezTo>
                    <a:pt x="117" y="31"/>
                    <a:pt x="117" y="31"/>
                    <a:pt x="117" y="31"/>
                  </a:cubicBezTo>
                  <a:cubicBezTo>
                    <a:pt x="115" y="30"/>
                    <a:pt x="115" y="30"/>
                    <a:pt x="115" y="30"/>
                  </a:cubicBezTo>
                  <a:cubicBezTo>
                    <a:pt x="115" y="30"/>
                    <a:pt x="115" y="30"/>
                    <a:pt x="115" y="30"/>
                  </a:cubicBezTo>
                  <a:cubicBezTo>
                    <a:pt x="114" y="30"/>
                    <a:pt x="114" y="30"/>
                    <a:pt x="114" y="30"/>
                  </a:cubicBezTo>
                  <a:cubicBezTo>
                    <a:pt x="113" y="31"/>
                    <a:pt x="113" y="31"/>
                    <a:pt x="113" y="31"/>
                  </a:cubicBezTo>
                  <a:cubicBezTo>
                    <a:pt x="113" y="31"/>
                    <a:pt x="113" y="31"/>
                    <a:pt x="113" y="31"/>
                  </a:cubicBezTo>
                  <a:cubicBezTo>
                    <a:pt x="113" y="31"/>
                    <a:pt x="113" y="31"/>
                    <a:pt x="113" y="31"/>
                  </a:cubicBezTo>
                  <a:cubicBezTo>
                    <a:pt x="111" y="30"/>
                    <a:pt x="111" y="30"/>
                    <a:pt x="110" y="30"/>
                  </a:cubicBezTo>
                  <a:cubicBezTo>
                    <a:pt x="110" y="30"/>
                    <a:pt x="109" y="30"/>
                    <a:pt x="109" y="30"/>
                  </a:cubicBezTo>
                  <a:cubicBezTo>
                    <a:pt x="108" y="30"/>
                    <a:pt x="107" y="30"/>
                    <a:pt x="106" y="30"/>
                  </a:cubicBezTo>
                  <a:cubicBezTo>
                    <a:pt x="105" y="29"/>
                    <a:pt x="105" y="29"/>
                    <a:pt x="105" y="29"/>
                  </a:cubicBezTo>
                  <a:cubicBezTo>
                    <a:pt x="105" y="29"/>
                    <a:pt x="104" y="29"/>
                    <a:pt x="103" y="28"/>
                  </a:cubicBezTo>
                  <a:cubicBezTo>
                    <a:pt x="101" y="28"/>
                    <a:pt x="101" y="28"/>
                    <a:pt x="101" y="28"/>
                  </a:cubicBezTo>
                  <a:cubicBezTo>
                    <a:pt x="100" y="27"/>
                    <a:pt x="100" y="27"/>
                    <a:pt x="99" y="27"/>
                  </a:cubicBezTo>
                  <a:cubicBezTo>
                    <a:pt x="98" y="26"/>
                    <a:pt x="98" y="26"/>
                    <a:pt x="98" y="26"/>
                  </a:cubicBezTo>
                  <a:cubicBezTo>
                    <a:pt x="97" y="26"/>
                    <a:pt x="97" y="26"/>
                    <a:pt x="97" y="26"/>
                  </a:cubicBezTo>
                  <a:cubicBezTo>
                    <a:pt x="95" y="29"/>
                    <a:pt x="94" y="32"/>
                    <a:pt x="91" y="33"/>
                  </a:cubicBezTo>
                  <a:cubicBezTo>
                    <a:pt x="90" y="33"/>
                    <a:pt x="89" y="34"/>
                    <a:pt x="88" y="34"/>
                  </a:cubicBezTo>
                  <a:cubicBezTo>
                    <a:pt x="87" y="34"/>
                    <a:pt x="87" y="34"/>
                    <a:pt x="86" y="34"/>
                  </a:cubicBezTo>
                  <a:cubicBezTo>
                    <a:pt x="86" y="34"/>
                    <a:pt x="86" y="34"/>
                    <a:pt x="86" y="34"/>
                  </a:cubicBezTo>
                  <a:cubicBezTo>
                    <a:pt x="72" y="47"/>
                    <a:pt x="72" y="47"/>
                    <a:pt x="72" y="47"/>
                  </a:cubicBezTo>
                  <a:cubicBezTo>
                    <a:pt x="72" y="47"/>
                    <a:pt x="72" y="47"/>
                    <a:pt x="72" y="47"/>
                  </a:cubicBezTo>
                  <a:cubicBezTo>
                    <a:pt x="72" y="48"/>
                    <a:pt x="72" y="48"/>
                    <a:pt x="72" y="49"/>
                  </a:cubicBezTo>
                  <a:cubicBezTo>
                    <a:pt x="72" y="52"/>
                    <a:pt x="72" y="55"/>
                    <a:pt x="69" y="57"/>
                  </a:cubicBezTo>
                  <a:cubicBezTo>
                    <a:pt x="68" y="58"/>
                    <a:pt x="68" y="58"/>
                    <a:pt x="68" y="58"/>
                  </a:cubicBezTo>
                  <a:cubicBezTo>
                    <a:pt x="66" y="60"/>
                    <a:pt x="63" y="62"/>
                    <a:pt x="60" y="63"/>
                  </a:cubicBezTo>
                  <a:cubicBezTo>
                    <a:pt x="58" y="64"/>
                    <a:pt x="56" y="65"/>
                    <a:pt x="53" y="66"/>
                  </a:cubicBezTo>
                  <a:cubicBezTo>
                    <a:pt x="50" y="67"/>
                    <a:pt x="50" y="67"/>
                    <a:pt x="50" y="67"/>
                  </a:cubicBezTo>
                  <a:cubicBezTo>
                    <a:pt x="49" y="68"/>
                    <a:pt x="47" y="68"/>
                    <a:pt x="45" y="69"/>
                  </a:cubicBezTo>
                  <a:cubicBezTo>
                    <a:pt x="43" y="70"/>
                    <a:pt x="42" y="70"/>
                    <a:pt x="40" y="70"/>
                  </a:cubicBezTo>
                  <a:cubicBezTo>
                    <a:pt x="39" y="71"/>
                    <a:pt x="39" y="71"/>
                    <a:pt x="39" y="71"/>
                  </a:cubicBezTo>
                  <a:cubicBezTo>
                    <a:pt x="39" y="71"/>
                    <a:pt x="39" y="71"/>
                    <a:pt x="39" y="71"/>
                  </a:cubicBezTo>
                  <a:cubicBezTo>
                    <a:pt x="40" y="73"/>
                    <a:pt x="38" y="76"/>
                    <a:pt x="37" y="77"/>
                  </a:cubicBezTo>
                  <a:cubicBezTo>
                    <a:pt x="36" y="78"/>
                    <a:pt x="36" y="78"/>
                    <a:pt x="36" y="78"/>
                  </a:cubicBezTo>
                  <a:cubicBezTo>
                    <a:pt x="35" y="80"/>
                    <a:pt x="33" y="82"/>
                    <a:pt x="30" y="84"/>
                  </a:cubicBezTo>
                  <a:cubicBezTo>
                    <a:pt x="30" y="84"/>
                    <a:pt x="30" y="84"/>
                    <a:pt x="30" y="84"/>
                  </a:cubicBezTo>
                  <a:cubicBezTo>
                    <a:pt x="30" y="84"/>
                    <a:pt x="30" y="84"/>
                    <a:pt x="30" y="84"/>
                  </a:cubicBezTo>
                  <a:cubicBezTo>
                    <a:pt x="29" y="85"/>
                    <a:pt x="28" y="85"/>
                    <a:pt x="28" y="85"/>
                  </a:cubicBezTo>
                  <a:cubicBezTo>
                    <a:pt x="27" y="85"/>
                    <a:pt x="26" y="85"/>
                    <a:pt x="25" y="85"/>
                  </a:cubicBezTo>
                  <a:cubicBezTo>
                    <a:pt x="23" y="85"/>
                    <a:pt x="23" y="85"/>
                    <a:pt x="23" y="85"/>
                  </a:cubicBezTo>
                  <a:cubicBezTo>
                    <a:pt x="22" y="86"/>
                    <a:pt x="20" y="86"/>
                    <a:pt x="19" y="87"/>
                  </a:cubicBezTo>
                  <a:cubicBezTo>
                    <a:pt x="19" y="87"/>
                    <a:pt x="19" y="87"/>
                    <a:pt x="19" y="87"/>
                  </a:cubicBezTo>
                  <a:cubicBezTo>
                    <a:pt x="18" y="88"/>
                    <a:pt x="17" y="89"/>
                    <a:pt x="16" y="89"/>
                  </a:cubicBezTo>
                  <a:cubicBezTo>
                    <a:pt x="15" y="89"/>
                    <a:pt x="15" y="89"/>
                    <a:pt x="15" y="89"/>
                  </a:cubicBezTo>
                  <a:cubicBezTo>
                    <a:pt x="14" y="89"/>
                    <a:pt x="13" y="89"/>
                    <a:pt x="10" y="87"/>
                  </a:cubicBezTo>
                  <a:cubicBezTo>
                    <a:pt x="10" y="86"/>
                    <a:pt x="10" y="86"/>
                    <a:pt x="9" y="85"/>
                  </a:cubicBezTo>
                  <a:cubicBezTo>
                    <a:pt x="9" y="85"/>
                    <a:pt x="9" y="84"/>
                    <a:pt x="8" y="84"/>
                  </a:cubicBezTo>
                  <a:cubicBezTo>
                    <a:pt x="8" y="83"/>
                    <a:pt x="8" y="83"/>
                    <a:pt x="8" y="83"/>
                  </a:cubicBezTo>
                  <a:cubicBezTo>
                    <a:pt x="7" y="83"/>
                    <a:pt x="7" y="83"/>
                    <a:pt x="7" y="83"/>
                  </a:cubicBezTo>
                  <a:cubicBezTo>
                    <a:pt x="7" y="83"/>
                    <a:pt x="7" y="83"/>
                    <a:pt x="7" y="83"/>
                  </a:cubicBezTo>
                  <a:cubicBezTo>
                    <a:pt x="6" y="82"/>
                    <a:pt x="4" y="81"/>
                    <a:pt x="3" y="81"/>
                  </a:cubicBezTo>
                  <a:cubicBezTo>
                    <a:pt x="3" y="81"/>
                    <a:pt x="3" y="81"/>
                    <a:pt x="3" y="81"/>
                  </a:cubicBezTo>
                  <a:cubicBezTo>
                    <a:pt x="2" y="80"/>
                    <a:pt x="2" y="80"/>
                    <a:pt x="1" y="80"/>
                  </a:cubicBezTo>
                  <a:cubicBezTo>
                    <a:pt x="1" y="80"/>
                    <a:pt x="0" y="80"/>
                    <a:pt x="0" y="80"/>
                  </a:cubicBezTo>
                  <a:cubicBezTo>
                    <a:pt x="0" y="183"/>
                    <a:pt x="0" y="183"/>
                    <a:pt x="0" y="183"/>
                  </a:cubicBezTo>
                  <a:cubicBezTo>
                    <a:pt x="1" y="184"/>
                    <a:pt x="1" y="184"/>
                    <a:pt x="2" y="185"/>
                  </a:cubicBezTo>
                  <a:cubicBezTo>
                    <a:pt x="4" y="188"/>
                    <a:pt x="4" y="188"/>
                    <a:pt x="4" y="188"/>
                  </a:cubicBezTo>
                  <a:cubicBezTo>
                    <a:pt x="4" y="189"/>
                    <a:pt x="5" y="189"/>
                    <a:pt x="5" y="190"/>
                  </a:cubicBezTo>
                  <a:cubicBezTo>
                    <a:pt x="6" y="191"/>
                    <a:pt x="6" y="192"/>
                    <a:pt x="6" y="193"/>
                  </a:cubicBezTo>
                  <a:cubicBezTo>
                    <a:pt x="7" y="196"/>
                    <a:pt x="6" y="199"/>
                    <a:pt x="5" y="202"/>
                  </a:cubicBezTo>
                  <a:cubicBezTo>
                    <a:pt x="3" y="204"/>
                    <a:pt x="1" y="206"/>
                    <a:pt x="0" y="208"/>
                  </a:cubicBezTo>
                  <a:cubicBezTo>
                    <a:pt x="0" y="227"/>
                    <a:pt x="0" y="227"/>
                    <a:pt x="0" y="227"/>
                  </a:cubicBezTo>
                  <a:cubicBezTo>
                    <a:pt x="23" y="234"/>
                    <a:pt x="23" y="234"/>
                    <a:pt x="23" y="234"/>
                  </a:cubicBezTo>
                  <a:cubicBezTo>
                    <a:pt x="23" y="234"/>
                    <a:pt x="23" y="234"/>
                    <a:pt x="24" y="234"/>
                  </a:cubicBezTo>
                  <a:cubicBezTo>
                    <a:pt x="24" y="234"/>
                    <a:pt x="24" y="234"/>
                    <a:pt x="24" y="234"/>
                  </a:cubicBezTo>
                  <a:cubicBezTo>
                    <a:pt x="25" y="234"/>
                    <a:pt x="26" y="234"/>
                    <a:pt x="26" y="233"/>
                  </a:cubicBezTo>
                  <a:cubicBezTo>
                    <a:pt x="27" y="233"/>
                    <a:pt x="27" y="233"/>
                    <a:pt x="27" y="233"/>
                  </a:cubicBezTo>
                  <a:cubicBezTo>
                    <a:pt x="28" y="233"/>
                    <a:pt x="29" y="233"/>
                    <a:pt x="30" y="233"/>
                  </a:cubicBezTo>
                  <a:cubicBezTo>
                    <a:pt x="34" y="233"/>
                    <a:pt x="34" y="233"/>
                    <a:pt x="34" y="233"/>
                  </a:cubicBezTo>
                  <a:cubicBezTo>
                    <a:pt x="34" y="233"/>
                    <a:pt x="34" y="233"/>
                    <a:pt x="34" y="233"/>
                  </a:cubicBezTo>
                  <a:cubicBezTo>
                    <a:pt x="44" y="232"/>
                    <a:pt x="44" y="232"/>
                    <a:pt x="44" y="232"/>
                  </a:cubicBezTo>
                  <a:cubicBezTo>
                    <a:pt x="45" y="232"/>
                    <a:pt x="45" y="232"/>
                    <a:pt x="45" y="232"/>
                  </a:cubicBezTo>
                  <a:cubicBezTo>
                    <a:pt x="46" y="232"/>
                    <a:pt x="47" y="232"/>
                    <a:pt x="47" y="232"/>
                  </a:cubicBezTo>
                  <a:cubicBezTo>
                    <a:pt x="48" y="232"/>
                    <a:pt x="48" y="232"/>
                    <a:pt x="48" y="232"/>
                  </a:cubicBezTo>
                  <a:cubicBezTo>
                    <a:pt x="48" y="232"/>
                    <a:pt x="48" y="232"/>
                    <a:pt x="48" y="232"/>
                  </a:cubicBezTo>
                  <a:cubicBezTo>
                    <a:pt x="49" y="232"/>
                    <a:pt x="49" y="232"/>
                    <a:pt x="49" y="232"/>
                  </a:cubicBezTo>
                  <a:cubicBezTo>
                    <a:pt x="50" y="233"/>
                    <a:pt x="51" y="233"/>
                    <a:pt x="52" y="233"/>
                  </a:cubicBezTo>
                  <a:cubicBezTo>
                    <a:pt x="52" y="233"/>
                    <a:pt x="53" y="233"/>
                    <a:pt x="53" y="233"/>
                  </a:cubicBezTo>
                  <a:cubicBezTo>
                    <a:pt x="54" y="233"/>
                    <a:pt x="54" y="233"/>
                    <a:pt x="54" y="233"/>
                  </a:cubicBezTo>
                  <a:cubicBezTo>
                    <a:pt x="55" y="234"/>
                    <a:pt x="55" y="234"/>
                    <a:pt x="56" y="234"/>
                  </a:cubicBezTo>
                  <a:cubicBezTo>
                    <a:pt x="56" y="234"/>
                    <a:pt x="56" y="234"/>
                    <a:pt x="56" y="234"/>
                  </a:cubicBezTo>
                  <a:cubicBezTo>
                    <a:pt x="58" y="234"/>
                    <a:pt x="59" y="233"/>
                    <a:pt x="61" y="232"/>
                  </a:cubicBezTo>
                  <a:cubicBezTo>
                    <a:pt x="62" y="232"/>
                    <a:pt x="62" y="231"/>
                    <a:pt x="63" y="231"/>
                  </a:cubicBezTo>
                  <a:cubicBezTo>
                    <a:pt x="64" y="230"/>
                    <a:pt x="65" y="230"/>
                    <a:pt x="66" y="230"/>
                  </a:cubicBezTo>
                  <a:cubicBezTo>
                    <a:pt x="69" y="229"/>
                    <a:pt x="73" y="228"/>
                    <a:pt x="76" y="228"/>
                  </a:cubicBezTo>
                  <a:cubicBezTo>
                    <a:pt x="78" y="228"/>
                    <a:pt x="81" y="228"/>
                    <a:pt x="83" y="228"/>
                  </a:cubicBezTo>
                  <a:cubicBezTo>
                    <a:pt x="88" y="227"/>
                    <a:pt x="88" y="227"/>
                    <a:pt x="88" y="227"/>
                  </a:cubicBezTo>
                  <a:cubicBezTo>
                    <a:pt x="88" y="227"/>
                    <a:pt x="89" y="227"/>
                    <a:pt x="89" y="227"/>
                  </a:cubicBezTo>
                  <a:cubicBezTo>
                    <a:pt x="91" y="227"/>
                    <a:pt x="94" y="226"/>
                    <a:pt x="96" y="226"/>
                  </a:cubicBezTo>
                  <a:cubicBezTo>
                    <a:pt x="98" y="225"/>
                    <a:pt x="100" y="225"/>
                    <a:pt x="102" y="224"/>
                  </a:cubicBezTo>
                  <a:cubicBezTo>
                    <a:pt x="105" y="223"/>
                    <a:pt x="105" y="223"/>
                    <a:pt x="105" y="223"/>
                  </a:cubicBezTo>
                  <a:cubicBezTo>
                    <a:pt x="105" y="223"/>
                    <a:pt x="106" y="223"/>
                    <a:pt x="106" y="223"/>
                  </a:cubicBezTo>
                  <a:cubicBezTo>
                    <a:pt x="106" y="222"/>
                    <a:pt x="106" y="222"/>
                    <a:pt x="106" y="222"/>
                  </a:cubicBezTo>
                  <a:cubicBezTo>
                    <a:pt x="105" y="220"/>
                    <a:pt x="105" y="218"/>
                    <a:pt x="105" y="217"/>
                  </a:cubicBezTo>
                  <a:cubicBezTo>
                    <a:pt x="106" y="216"/>
                    <a:pt x="106" y="216"/>
                    <a:pt x="106" y="216"/>
                  </a:cubicBezTo>
                  <a:cubicBezTo>
                    <a:pt x="106" y="215"/>
                    <a:pt x="106" y="214"/>
                    <a:pt x="106" y="213"/>
                  </a:cubicBezTo>
                  <a:cubicBezTo>
                    <a:pt x="106" y="212"/>
                    <a:pt x="106" y="211"/>
                    <a:pt x="106" y="211"/>
                  </a:cubicBezTo>
                  <a:cubicBezTo>
                    <a:pt x="106" y="207"/>
                    <a:pt x="107" y="205"/>
                    <a:pt x="108" y="202"/>
                  </a:cubicBezTo>
                  <a:cubicBezTo>
                    <a:pt x="108" y="199"/>
                    <a:pt x="108" y="199"/>
                    <a:pt x="108" y="199"/>
                  </a:cubicBezTo>
                  <a:cubicBezTo>
                    <a:pt x="108" y="198"/>
                    <a:pt x="108" y="198"/>
                    <a:pt x="108" y="198"/>
                  </a:cubicBezTo>
                  <a:cubicBezTo>
                    <a:pt x="109" y="196"/>
                    <a:pt x="110" y="195"/>
                    <a:pt x="110" y="195"/>
                  </a:cubicBezTo>
                  <a:cubicBezTo>
                    <a:pt x="111" y="194"/>
                    <a:pt x="111" y="194"/>
                    <a:pt x="111" y="194"/>
                  </a:cubicBezTo>
                  <a:cubicBezTo>
                    <a:pt x="112" y="194"/>
                    <a:pt x="113" y="192"/>
                    <a:pt x="115" y="191"/>
                  </a:cubicBezTo>
                  <a:cubicBezTo>
                    <a:pt x="116" y="190"/>
                    <a:pt x="117" y="189"/>
                    <a:pt x="118" y="188"/>
                  </a:cubicBezTo>
                  <a:cubicBezTo>
                    <a:pt x="118" y="188"/>
                    <a:pt x="118" y="188"/>
                    <a:pt x="118" y="188"/>
                  </a:cubicBezTo>
                  <a:cubicBezTo>
                    <a:pt x="119" y="188"/>
                    <a:pt x="119" y="187"/>
                    <a:pt x="119" y="187"/>
                  </a:cubicBezTo>
                  <a:cubicBezTo>
                    <a:pt x="116" y="185"/>
                    <a:pt x="116" y="185"/>
                    <a:pt x="116" y="185"/>
                  </a:cubicBezTo>
                  <a:cubicBezTo>
                    <a:pt x="120" y="186"/>
                    <a:pt x="120" y="186"/>
                    <a:pt x="120" y="186"/>
                  </a:cubicBezTo>
                  <a:cubicBezTo>
                    <a:pt x="120" y="186"/>
                    <a:pt x="120" y="186"/>
                    <a:pt x="120" y="186"/>
                  </a:cubicBezTo>
                  <a:cubicBezTo>
                    <a:pt x="122" y="186"/>
                    <a:pt x="123" y="185"/>
                    <a:pt x="125" y="185"/>
                  </a:cubicBezTo>
                  <a:cubicBezTo>
                    <a:pt x="125" y="185"/>
                    <a:pt x="125" y="185"/>
                    <a:pt x="126" y="185"/>
                  </a:cubicBezTo>
                  <a:cubicBezTo>
                    <a:pt x="126" y="185"/>
                    <a:pt x="126" y="185"/>
                    <a:pt x="127" y="185"/>
                  </a:cubicBezTo>
                  <a:cubicBezTo>
                    <a:pt x="129" y="186"/>
                    <a:pt x="129" y="186"/>
                    <a:pt x="129" y="186"/>
                  </a:cubicBezTo>
                  <a:cubicBezTo>
                    <a:pt x="129" y="186"/>
                    <a:pt x="130" y="186"/>
                    <a:pt x="131" y="186"/>
                  </a:cubicBezTo>
                  <a:cubicBezTo>
                    <a:pt x="131" y="187"/>
                    <a:pt x="131" y="187"/>
                    <a:pt x="131" y="187"/>
                  </a:cubicBezTo>
                  <a:cubicBezTo>
                    <a:pt x="132" y="187"/>
                    <a:pt x="132" y="187"/>
                    <a:pt x="132" y="187"/>
                  </a:cubicBezTo>
                  <a:cubicBezTo>
                    <a:pt x="133" y="187"/>
                    <a:pt x="133" y="187"/>
                    <a:pt x="134" y="187"/>
                  </a:cubicBezTo>
                  <a:cubicBezTo>
                    <a:pt x="134" y="187"/>
                    <a:pt x="134" y="187"/>
                    <a:pt x="134" y="187"/>
                  </a:cubicBezTo>
                  <a:cubicBezTo>
                    <a:pt x="135" y="187"/>
                    <a:pt x="135" y="187"/>
                    <a:pt x="135" y="187"/>
                  </a:cubicBezTo>
                  <a:cubicBezTo>
                    <a:pt x="137" y="186"/>
                    <a:pt x="138" y="186"/>
                    <a:pt x="139" y="185"/>
                  </a:cubicBezTo>
                  <a:cubicBezTo>
                    <a:pt x="132" y="179"/>
                    <a:pt x="132" y="179"/>
                    <a:pt x="132" y="179"/>
                  </a:cubicBezTo>
                  <a:cubicBezTo>
                    <a:pt x="139" y="179"/>
                    <a:pt x="139" y="179"/>
                    <a:pt x="139" y="179"/>
                  </a:cubicBezTo>
                  <a:cubicBezTo>
                    <a:pt x="142" y="179"/>
                    <a:pt x="143" y="178"/>
                    <a:pt x="146" y="176"/>
                  </a:cubicBezTo>
                  <a:cubicBezTo>
                    <a:pt x="147" y="176"/>
                    <a:pt x="147" y="176"/>
                    <a:pt x="147" y="176"/>
                  </a:cubicBezTo>
                  <a:cubicBezTo>
                    <a:pt x="147" y="176"/>
                    <a:pt x="147" y="175"/>
                    <a:pt x="148" y="175"/>
                  </a:cubicBezTo>
                  <a:cubicBezTo>
                    <a:pt x="149" y="175"/>
                    <a:pt x="150" y="174"/>
                    <a:pt x="151" y="174"/>
                  </a:cubicBezTo>
                  <a:cubicBezTo>
                    <a:pt x="151" y="174"/>
                    <a:pt x="152" y="173"/>
                    <a:pt x="152" y="173"/>
                  </a:cubicBezTo>
                  <a:cubicBezTo>
                    <a:pt x="153" y="173"/>
                    <a:pt x="154" y="173"/>
                    <a:pt x="154" y="173"/>
                  </a:cubicBezTo>
                  <a:cubicBezTo>
                    <a:pt x="155" y="173"/>
                    <a:pt x="155" y="172"/>
                    <a:pt x="156" y="172"/>
                  </a:cubicBezTo>
                  <a:cubicBezTo>
                    <a:pt x="156" y="172"/>
                    <a:pt x="156" y="172"/>
                    <a:pt x="156" y="172"/>
                  </a:cubicBezTo>
                  <a:cubicBezTo>
                    <a:pt x="157" y="172"/>
                    <a:pt x="159" y="172"/>
                    <a:pt x="160" y="172"/>
                  </a:cubicBezTo>
                  <a:cubicBezTo>
                    <a:pt x="160" y="172"/>
                    <a:pt x="160" y="172"/>
                    <a:pt x="161" y="172"/>
                  </a:cubicBezTo>
                  <a:cubicBezTo>
                    <a:pt x="161" y="172"/>
                    <a:pt x="162" y="172"/>
                    <a:pt x="162" y="172"/>
                  </a:cubicBezTo>
                  <a:cubicBezTo>
                    <a:pt x="163" y="172"/>
                    <a:pt x="163" y="172"/>
                    <a:pt x="163" y="172"/>
                  </a:cubicBezTo>
                  <a:cubicBezTo>
                    <a:pt x="163" y="172"/>
                    <a:pt x="164" y="172"/>
                    <a:pt x="165" y="173"/>
                  </a:cubicBezTo>
                  <a:cubicBezTo>
                    <a:pt x="165" y="173"/>
                    <a:pt x="165" y="173"/>
                    <a:pt x="165" y="173"/>
                  </a:cubicBezTo>
                  <a:cubicBezTo>
                    <a:pt x="166" y="173"/>
                    <a:pt x="167" y="174"/>
                    <a:pt x="168" y="175"/>
                  </a:cubicBezTo>
                  <a:cubicBezTo>
                    <a:pt x="169" y="175"/>
                    <a:pt x="169" y="175"/>
                    <a:pt x="169" y="175"/>
                  </a:cubicBezTo>
                  <a:cubicBezTo>
                    <a:pt x="169" y="176"/>
                    <a:pt x="170" y="176"/>
                    <a:pt x="170" y="176"/>
                  </a:cubicBezTo>
                  <a:cubicBezTo>
                    <a:pt x="170" y="176"/>
                    <a:pt x="170" y="176"/>
                    <a:pt x="170" y="176"/>
                  </a:cubicBezTo>
                  <a:cubicBezTo>
                    <a:pt x="172" y="175"/>
                    <a:pt x="172" y="175"/>
                    <a:pt x="172" y="175"/>
                  </a:cubicBezTo>
                  <a:cubicBezTo>
                    <a:pt x="173" y="173"/>
                    <a:pt x="175" y="172"/>
                    <a:pt x="177" y="170"/>
                  </a:cubicBezTo>
                  <a:cubicBezTo>
                    <a:pt x="177" y="170"/>
                    <a:pt x="177" y="170"/>
                    <a:pt x="177" y="170"/>
                  </a:cubicBezTo>
                  <a:cubicBezTo>
                    <a:pt x="176" y="162"/>
                    <a:pt x="176" y="162"/>
                    <a:pt x="176" y="162"/>
                  </a:cubicBezTo>
                  <a:cubicBezTo>
                    <a:pt x="176" y="162"/>
                    <a:pt x="176" y="162"/>
                    <a:pt x="176" y="162"/>
                  </a:cubicBezTo>
                  <a:cubicBezTo>
                    <a:pt x="176" y="158"/>
                    <a:pt x="176" y="158"/>
                    <a:pt x="176" y="158"/>
                  </a:cubicBezTo>
                  <a:cubicBezTo>
                    <a:pt x="176" y="157"/>
                    <a:pt x="176" y="156"/>
                    <a:pt x="176" y="155"/>
                  </a:cubicBezTo>
                  <a:cubicBezTo>
                    <a:pt x="177" y="154"/>
                    <a:pt x="177" y="154"/>
                    <a:pt x="177" y="154"/>
                  </a:cubicBezTo>
                  <a:cubicBezTo>
                    <a:pt x="178" y="154"/>
                    <a:pt x="178" y="153"/>
                    <a:pt x="179" y="153"/>
                  </a:cubicBezTo>
                  <a:cubicBezTo>
                    <a:pt x="180" y="152"/>
                    <a:pt x="180" y="152"/>
                    <a:pt x="180" y="152"/>
                  </a:cubicBezTo>
                  <a:cubicBezTo>
                    <a:pt x="180" y="152"/>
                    <a:pt x="180" y="151"/>
                    <a:pt x="180" y="151"/>
                  </a:cubicBezTo>
                  <a:cubicBezTo>
                    <a:pt x="180" y="151"/>
                    <a:pt x="180" y="151"/>
                    <a:pt x="180" y="151"/>
                  </a:cubicBezTo>
                  <a:cubicBezTo>
                    <a:pt x="180" y="150"/>
                    <a:pt x="181" y="149"/>
                    <a:pt x="181" y="148"/>
                  </a:cubicBezTo>
                  <a:cubicBezTo>
                    <a:pt x="181" y="145"/>
                    <a:pt x="182" y="143"/>
                    <a:pt x="183" y="140"/>
                  </a:cubicBezTo>
                  <a:cubicBezTo>
                    <a:pt x="184" y="140"/>
                    <a:pt x="184" y="140"/>
                    <a:pt x="184" y="140"/>
                  </a:cubicBezTo>
                  <a:cubicBezTo>
                    <a:pt x="185" y="139"/>
                    <a:pt x="186" y="139"/>
                    <a:pt x="186" y="139"/>
                  </a:cubicBezTo>
                  <a:cubicBezTo>
                    <a:pt x="187" y="139"/>
                    <a:pt x="187" y="139"/>
                    <a:pt x="187" y="139"/>
                  </a:cubicBezTo>
                  <a:cubicBezTo>
                    <a:pt x="188" y="139"/>
                    <a:pt x="188" y="138"/>
                    <a:pt x="189" y="138"/>
                  </a:cubicBezTo>
                  <a:cubicBezTo>
                    <a:pt x="190" y="138"/>
                    <a:pt x="190" y="138"/>
                    <a:pt x="190" y="138"/>
                  </a:cubicBezTo>
                  <a:cubicBezTo>
                    <a:pt x="191" y="138"/>
                    <a:pt x="192" y="139"/>
                    <a:pt x="193" y="138"/>
                  </a:cubicBezTo>
                  <a:cubicBezTo>
                    <a:pt x="193" y="138"/>
                    <a:pt x="193" y="138"/>
                    <a:pt x="193" y="138"/>
                  </a:cubicBezTo>
                  <a:cubicBezTo>
                    <a:pt x="195" y="138"/>
                    <a:pt x="199" y="135"/>
                    <a:pt x="200" y="134"/>
                  </a:cubicBezTo>
                  <a:cubicBezTo>
                    <a:pt x="200" y="134"/>
                    <a:pt x="200" y="134"/>
                    <a:pt x="200" y="134"/>
                  </a:cubicBezTo>
                  <a:cubicBezTo>
                    <a:pt x="200" y="133"/>
                    <a:pt x="199" y="132"/>
                    <a:pt x="197" y="129"/>
                  </a:cubicBezTo>
                  <a:cubicBezTo>
                    <a:pt x="195" y="126"/>
                    <a:pt x="195" y="126"/>
                    <a:pt x="195" y="126"/>
                  </a:cubicBezTo>
                  <a:cubicBezTo>
                    <a:pt x="195" y="126"/>
                    <a:pt x="195" y="126"/>
                    <a:pt x="195" y="126"/>
                  </a:cubicBezTo>
                  <a:cubicBezTo>
                    <a:pt x="194" y="125"/>
                    <a:pt x="194" y="125"/>
                    <a:pt x="194" y="125"/>
                  </a:cubicBezTo>
                  <a:cubicBezTo>
                    <a:pt x="194" y="125"/>
                    <a:pt x="194" y="125"/>
                    <a:pt x="194" y="125"/>
                  </a:cubicBezTo>
                  <a:cubicBezTo>
                    <a:pt x="191" y="122"/>
                    <a:pt x="191" y="122"/>
                    <a:pt x="191" y="122"/>
                  </a:cubicBezTo>
                  <a:cubicBezTo>
                    <a:pt x="190" y="118"/>
                    <a:pt x="191" y="116"/>
                    <a:pt x="192" y="115"/>
                  </a:cubicBezTo>
                  <a:cubicBezTo>
                    <a:pt x="192" y="114"/>
                    <a:pt x="192" y="114"/>
                    <a:pt x="192" y="114"/>
                  </a:cubicBezTo>
                  <a:cubicBezTo>
                    <a:pt x="193" y="114"/>
                    <a:pt x="195" y="113"/>
                    <a:pt x="196" y="113"/>
                  </a:cubicBezTo>
                  <a:cubicBezTo>
                    <a:pt x="198" y="113"/>
                    <a:pt x="201" y="114"/>
                    <a:pt x="205" y="115"/>
                  </a:cubicBezTo>
                  <a:cubicBezTo>
                    <a:pt x="205" y="115"/>
                    <a:pt x="205" y="115"/>
                    <a:pt x="205" y="115"/>
                  </a:cubicBezTo>
                  <a:cubicBezTo>
                    <a:pt x="206" y="115"/>
                    <a:pt x="206" y="115"/>
                    <a:pt x="207" y="115"/>
                  </a:cubicBezTo>
                  <a:cubicBezTo>
                    <a:pt x="208" y="116"/>
                    <a:pt x="208" y="116"/>
                    <a:pt x="208" y="116"/>
                  </a:cubicBezTo>
                  <a:cubicBezTo>
                    <a:pt x="208" y="116"/>
                    <a:pt x="209" y="116"/>
                    <a:pt x="209" y="116"/>
                  </a:cubicBezTo>
                  <a:cubicBezTo>
                    <a:pt x="210" y="116"/>
                    <a:pt x="210" y="116"/>
                    <a:pt x="211" y="116"/>
                  </a:cubicBezTo>
                  <a:cubicBezTo>
                    <a:pt x="213" y="116"/>
                    <a:pt x="216" y="115"/>
                    <a:pt x="217" y="114"/>
                  </a:cubicBezTo>
                  <a:cubicBezTo>
                    <a:pt x="218" y="113"/>
                    <a:pt x="219" y="113"/>
                    <a:pt x="219" y="112"/>
                  </a:cubicBezTo>
                  <a:cubicBezTo>
                    <a:pt x="219" y="112"/>
                    <a:pt x="219" y="111"/>
                    <a:pt x="219" y="111"/>
                  </a:cubicBezTo>
                  <a:cubicBezTo>
                    <a:pt x="220" y="111"/>
                    <a:pt x="220" y="111"/>
                    <a:pt x="220" y="111"/>
                  </a:cubicBezTo>
                  <a:cubicBezTo>
                    <a:pt x="220" y="110"/>
                    <a:pt x="220" y="110"/>
                    <a:pt x="220" y="110"/>
                  </a:cubicBezTo>
                  <a:cubicBezTo>
                    <a:pt x="220" y="110"/>
                    <a:pt x="220" y="110"/>
                    <a:pt x="220" y="110"/>
                  </a:cubicBezTo>
                  <a:cubicBezTo>
                    <a:pt x="219" y="109"/>
                    <a:pt x="218" y="108"/>
                    <a:pt x="217" y="107"/>
                  </a:cubicBezTo>
                  <a:cubicBezTo>
                    <a:pt x="216" y="104"/>
                    <a:pt x="216" y="101"/>
                    <a:pt x="219" y="99"/>
                  </a:cubicBezTo>
                  <a:cubicBezTo>
                    <a:pt x="219" y="98"/>
                    <a:pt x="220" y="97"/>
                    <a:pt x="221" y="96"/>
                  </a:cubicBezTo>
                  <a:cubicBezTo>
                    <a:pt x="222" y="96"/>
                    <a:pt x="222" y="96"/>
                    <a:pt x="223" y="95"/>
                  </a:cubicBezTo>
                  <a:cubicBezTo>
                    <a:pt x="223" y="94"/>
                    <a:pt x="224" y="93"/>
                    <a:pt x="225" y="92"/>
                  </a:cubicBezTo>
                  <a:cubicBezTo>
                    <a:pt x="226" y="91"/>
                    <a:pt x="227" y="90"/>
                    <a:pt x="228" y="90"/>
                  </a:cubicBezTo>
                  <a:cubicBezTo>
                    <a:pt x="229" y="89"/>
                    <a:pt x="229" y="89"/>
                    <a:pt x="229" y="89"/>
                  </a:cubicBezTo>
                  <a:cubicBezTo>
                    <a:pt x="229" y="89"/>
                    <a:pt x="229" y="89"/>
                    <a:pt x="229" y="89"/>
                  </a:cubicBezTo>
                  <a:cubicBezTo>
                    <a:pt x="229" y="87"/>
                    <a:pt x="230" y="86"/>
                    <a:pt x="231" y="85"/>
                  </a:cubicBezTo>
                  <a:cubicBezTo>
                    <a:pt x="231" y="85"/>
                    <a:pt x="231" y="84"/>
                    <a:pt x="231" y="84"/>
                  </a:cubicBezTo>
                  <a:cubicBezTo>
                    <a:pt x="231" y="83"/>
                    <a:pt x="231" y="83"/>
                    <a:pt x="231" y="83"/>
                  </a:cubicBezTo>
                  <a:cubicBezTo>
                    <a:pt x="230" y="82"/>
                    <a:pt x="230" y="81"/>
                    <a:pt x="231" y="80"/>
                  </a:cubicBezTo>
                  <a:cubicBezTo>
                    <a:pt x="231" y="79"/>
                    <a:pt x="231" y="78"/>
                    <a:pt x="231" y="77"/>
                  </a:cubicBezTo>
                  <a:cubicBezTo>
                    <a:pt x="230" y="75"/>
                    <a:pt x="230" y="75"/>
                    <a:pt x="230" y="75"/>
                  </a:cubicBezTo>
                  <a:cubicBezTo>
                    <a:pt x="230" y="75"/>
                    <a:pt x="230" y="75"/>
                    <a:pt x="230" y="75"/>
                  </a:cubicBezTo>
                  <a:cubicBezTo>
                    <a:pt x="229" y="75"/>
                    <a:pt x="229" y="75"/>
                    <a:pt x="229" y="75"/>
                  </a:cubicBezTo>
                  <a:cubicBezTo>
                    <a:pt x="228" y="73"/>
                    <a:pt x="228" y="73"/>
                    <a:pt x="228" y="73"/>
                  </a:cubicBezTo>
                  <a:cubicBezTo>
                    <a:pt x="228" y="73"/>
                    <a:pt x="227" y="72"/>
                    <a:pt x="227" y="72"/>
                  </a:cubicBezTo>
                  <a:cubicBezTo>
                    <a:pt x="227" y="71"/>
                    <a:pt x="227" y="71"/>
                    <a:pt x="227" y="71"/>
                  </a:cubicBezTo>
                  <a:cubicBezTo>
                    <a:pt x="226" y="70"/>
                    <a:pt x="226" y="70"/>
                    <a:pt x="226" y="70"/>
                  </a:cubicBezTo>
                  <a:cubicBezTo>
                    <a:pt x="225" y="69"/>
                    <a:pt x="224" y="67"/>
                    <a:pt x="223" y="66"/>
                  </a:cubicBezTo>
                  <a:cubicBezTo>
                    <a:pt x="223" y="66"/>
                    <a:pt x="223" y="66"/>
                    <a:pt x="223" y="66"/>
                  </a:cubicBezTo>
                  <a:cubicBezTo>
                    <a:pt x="223" y="65"/>
                    <a:pt x="223" y="65"/>
                    <a:pt x="223" y="65"/>
                  </a:cubicBezTo>
                  <a:cubicBezTo>
                    <a:pt x="219" y="64"/>
                    <a:pt x="219" y="64"/>
                    <a:pt x="219" y="64"/>
                  </a:cubicBezTo>
                  <a:cubicBezTo>
                    <a:pt x="222" y="61"/>
                    <a:pt x="222" y="61"/>
                    <a:pt x="222" y="61"/>
                  </a:cubicBezTo>
                  <a:cubicBezTo>
                    <a:pt x="225" y="57"/>
                    <a:pt x="229" y="53"/>
                    <a:pt x="233" y="49"/>
                  </a:cubicBezTo>
                  <a:cubicBezTo>
                    <a:pt x="233" y="49"/>
                    <a:pt x="233" y="49"/>
                    <a:pt x="233" y="49"/>
                  </a:cubicBezTo>
                  <a:cubicBezTo>
                    <a:pt x="235" y="48"/>
                    <a:pt x="235" y="48"/>
                    <a:pt x="235" y="48"/>
                  </a:cubicBezTo>
                  <a:cubicBezTo>
                    <a:pt x="235" y="49"/>
                    <a:pt x="235" y="49"/>
                    <a:pt x="235" y="49"/>
                  </a:cubicBezTo>
                  <a:cubicBezTo>
                    <a:pt x="236" y="49"/>
                    <a:pt x="236" y="49"/>
                    <a:pt x="237" y="49"/>
                  </a:cubicBezTo>
                  <a:cubicBezTo>
                    <a:pt x="238" y="49"/>
                    <a:pt x="238" y="49"/>
                    <a:pt x="238" y="49"/>
                  </a:cubicBezTo>
                  <a:cubicBezTo>
                    <a:pt x="239" y="49"/>
                    <a:pt x="239" y="49"/>
                    <a:pt x="239" y="49"/>
                  </a:cubicBezTo>
                  <a:cubicBezTo>
                    <a:pt x="240" y="49"/>
                    <a:pt x="241" y="48"/>
                    <a:pt x="243" y="47"/>
                  </a:cubicBezTo>
                  <a:cubicBezTo>
                    <a:pt x="246" y="45"/>
                    <a:pt x="246" y="45"/>
                    <a:pt x="246" y="45"/>
                  </a:cubicBezTo>
                  <a:cubicBezTo>
                    <a:pt x="247" y="44"/>
                    <a:pt x="248" y="44"/>
                    <a:pt x="249" y="43"/>
                  </a:cubicBezTo>
                  <a:cubicBezTo>
                    <a:pt x="249" y="43"/>
                    <a:pt x="249" y="43"/>
                    <a:pt x="249" y="43"/>
                  </a:cubicBezTo>
                  <a:cubicBezTo>
                    <a:pt x="246" y="44"/>
                    <a:pt x="243" y="45"/>
                    <a:pt x="240" y="47"/>
                  </a:cubicBezTo>
                  <a:cubicBezTo>
                    <a:pt x="237" y="48"/>
                    <a:pt x="237" y="48"/>
                    <a:pt x="237" y="48"/>
                  </a:cubicBezTo>
                  <a:cubicBezTo>
                    <a:pt x="237" y="48"/>
                    <a:pt x="236" y="48"/>
                    <a:pt x="236" y="48"/>
                  </a:cubicBezTo>
                  <a:cubicBezTo>
                    <a:pt x="235" y="48"/>
                    <a:pt x="235" y="48"/>
                    <a:pt x="235" y="48"/>
                  </a:cubicBezTo>
                  <a:cubicBezTo>
                    <a:pt x="235" y="48"/>
                    <a:pt x="234" y="48"/>
                    <a:pt x="233" y="47"/>
                  </a:cubicBezTo>
                  <a:cubicBezTo>
                    <a:pt x="231" y="46"/>
                    <a:pt x="230" y="44"/>
                    <a:pt x="229" y="43"/>
                  </a:cubicBezTo>
                  <a:cubicBezTo>
                    <a:pt x="229" y="42"/>
                    <a:pt x="229" y="42"/>
                    <a:pt x="229" y="41"/>
                  </a:cubicBezTo>
                  <a:cubicBezTo>
                    <a:pt x="229" y="41"/>
                    <a:pt x="229" y="41"/>
                    <a:pt x="229" y="41"/>
                  </a:cubicBezTo>
                  <a:cubicBezTo>
                    <a:pt x="228" y="39"/>
                    <a:pt x="227" y="37"/>
                    <a:pt x="227" y="35"/>
                  </a:cubicBezTo>
                  <a:cubicBezTo>
                    <a:pt x="227" y="34"/>
                    <a:pt x="227" y="34"/>
                    <a:pt x="227" y="33"/>
                  </a:cubicBezTo>
                  <a:cubicBezTo>
                    <a:pt x="227" y="32"/>
                    <a:pt x="228" y="31"/>
                    <a:pt x="228" y="30"/>
                  </a:cubicBezTo>
                  <a:cubicBezTo>
                    <a:pt x="228" y="30"/>
                    <a:pt x="228" y="30"/>
                    <a:pt x="228" y="30"/>
                  </a:cubicBezTo>
                  <a:cubicBezTo>
                    <a:pt x="229" y="27"/>
                    <a:pt x="229" y="24"/>
                    <a:pt x="229" y="20"/>
                  </a:cubicBezTo>
                  <a:cubicBezTo>
                    <a:pt x="230" y="18"/>
                    <a:pt x="230" y="16"/>
                    <a:pt x="230" y="13"/>
                  </a:cubicBezTo>
                  <a:cubicBezTo>
                    <a:pt x="229" y="13"/>
                    <a:pt x="228" y="13"/>
                    <a:pt x="227" y="13"/>
                  </a:cubicBezTo>
                  <a:cubicBezTo>
                    <a:pt x="227" y="13"/>
                    <a:pt x="227" y="13"/>
                    <a:pt x="227" y="13"/>
                  </a:cubicBezTo>
                  <a:cubicBezTo>
                    <a:pt x="226" y="13"/>
                    <a:pt x="226" y="13"/>
                    <a:pt x="225" y="13"/>
                  </a:cubicBezTo>
                  <a:cubicBezTo>
                    <a:pt x="222" y="12"/>
                    <a:pt x="222" y="12"/>
                    <a:pt x="222" y="12"/>
                  </a:cubicBezTo>
                  <a:cubicBezTo>
                    <a:pt x="224" y="8"/>
                    <a:pt x="224" y="8"/>
                    <a:pt x="224" y="8"/>
                  </a:cubicBezTo>
                  <a:cubicBezTo>
                    <a:pt x="224" y="7"/>
                    <a:pt x="224" y="7"/>
                    <a:pt x="224" y="6"/>
                  </a:cubicBezTo>
                  <a:cubicBezTo>
                    <a:pt x="224" y="6"/>
                    <a:pt x="224" y="6"/>
                    <a:pt x="224" y="6"/>
                  </a:cubicBezTo>
                  <a:cubicBezTo>
                    <a:pt x="224" y="6"/>
                    <a:pt x="223" y="5"/>
                    <a:pt x="223" y="4"/>
                  </a:cubicBezTo>
                  <a:cubicBezTo>
                    <a:pt x="223" y="4"/>
                    <a:pt x="223" y="4"/>
                    <a:pt x="223" y="4"/>
                  </a:cubicBezTo>
                  <a:cubicBezTo>
                    <a:pt x="217" y="8"/>
                    <a:pt x="217" y="8"/>
                    <a:pt x="217" y="8"/>
                  </a:cubicBezTo>
                  <a:cubicBezTo>
                    <a:pt x="221" y="3"/>
                    <a:pt x="221" y="3"/>
                    <a:pt x="221" y="3"/>
                  </a:cubicBezTo>
                  <a:cubicBezTo>
                    <a:pt x="221" y="2"/>
                    <a:pt x="220" y="2"/>
                    <a:pt x="220" y="1"/>
                  </a:cubicBezTo>
                  <a:cubicBezTo>
                    <a:pt x="220" y="1"/>
                    <a:pt x="219" y="0"/>
                    <a:pt x="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1533"/>
            <p:cNvSpPr>
              <a:spLocks noEditPoints="1"/>
            </p:cNvSpPr>
            <p:nvPr/>
          </p:nvSpPr>
          <p:spPr bwMode="auto">
            <a:xfrm>
              <a:off x="0" y="2510171"/>
              <a:ext cx="110072" cy="418809"/>
            </a:xfrm>
            <a:custGeom>
              <a:gdLst>
                <a:gd name="T0" fmla="*/ 0 w 35"/>
                <a:gd name="T1" fmla="*/ 63 h 132"/>
                <a:gd name="T2" fmla="*/ 0 w 35"/>
                <a:gd name="T3" fmla="*/ 132 h 132"/>
                <a:gd name="T4" fmla="*/ 1 w 35"/>
                <a:gd name="T5" fmla="*/ 128 h 132"/>
                <a:gd name="T6" fmla="*/ 6 w 35"/>
                <a:gd name="T7" fmla="*/ 121 h 132"/>
                <a:gd name="T8" fmla="*/ 7 w 35"/>
                <a:gd name="T9" fmla="*/ 120 h 132"/>
                <a:gd name="T10" fmla="*/ 9 w 35"/>
                <a:gd name="T11" fmla="*/ 119 h 132"/>
                <a:gd name="T12" fmla="*/ 9 w 35"/>
                <a:gd name="T13" fmla="*/ 118 h 132"/>
                <a:gd name="T14" fmla="*/ 12 w 35"/>
                <a:gd name="T15" fmla="*/ 116 h 132"/>
                <a:gd name="T16" fmla="*/ 17 w 35"/>
                <a:gd name="T17" fmla="*/ 114 h 132"/>
                <a:gd name="T18" fmla="*/ 27 w 35"/>
                <a:gd name="T19" fmla="*/ 113 h 132"/>
                <a:gd name="T20" fmla="*/ 29 w 35"/>
                <a:gd name="T21" fmla="*/ 112 h 132"/>
                <a:gd name="T22" fmla="*/ 32 w 35"/>
                <a:gd name="T23" fmla="*/ 112 h 132"/>
                <a:gd name="T24" fmla="*/ 34 w 35"/>
                <a:gd name="T25" fmla="*/ 107 h 132"/>
                <a:gd name="T26" fmla="*/ 35 w 35"/>
                <a:gd name="T27" fmla="*/ 102 h 132"/>
                <a:gd name="T28" fmla="*/ 34 w 35"/>
                <a:gd name="T29" fmla="*/ 102 h 132"/>
                <a:gd name="T30" fmla="*/ 33 w 35"/>
                <a:gd name="T31" fmla="*/ 102 h 132"/>
                <a:gd name="T32" fmla="*/ 31 w 35"/>
                <a:gd name="T33" fmla="*/ 102 h 132"/>
                <a:gd name="T34" fmla="*/ 30 w 35"/>
                <a:gd name="T35" fmla="*/ 102 h 132"/>
                <a:gd name="T36" fmla="*/ 29 w 35"/>
                <a:gd name="T37" fmla="*/ 102 h 132"/>
                <a:gd name="T38" fmla="*/ 29 w 35"/>
                <a:gd name="T39" fmla="*/ 102 h 132"/>
                <a:gd name="T40" fmla="*/ 23 w 35"/>
                <a:gd name="T41" fmla="*/ 98 h 132"/>
                <a:gd name="T42" fmla="*/ 23 w 35"/>
                <a:gd name="T43" fmla="*/ 93 h 132"/>
                <a:gd name="T44" fmla="*/ 23 w 35"/>
                <a:gd name="T45" fmla="*/ 91 h 132"/>
                <a:gd name="T46" fmla="*/ 23 w 35"/>
                <a:gd name="T47" fmla="*/ 82 h 132"/>
                <a:gd name="T48" fmla="*/ 24 w 35"/>
                <a:gd name="T49" fmla="*/ 80 h 132"/>
                <a:gd name="T50" fmla="*/ 24 w 35"/>
                <a:gd name="T51" fmla="*/ 77 h 132"/>
                <a:gd name="T52" fmla="*/ 22 w 35"/>
                <a:gd name="T53" fmla="*/ 76 h 132"/>
                <a:gd name="T54" fmla="*/ 22 w 35"/>
                <a:gd name="T55" fmla="*/ 76 h 132"/>
                <a:gd name="T56" fmla="*/ 18 w 35"/>
                <a:gd name="T57" fmla="*/ 74 h 132"/>
                <a:gd name="T58" fmla="*/ 15 w 35"/>
                <a:gd name="T59" fmla="*/ 73 h 132"/>
                <a:gd name="T60" fmla="*/ 13 w 35"/>
                <a:gd name="T61" fmla="*/ 72 h 132"/>
                <a:gd name="T62" fmla="*/ 12 w 35"/>
                <a:gd name="T63" fmla="*/ 72 h 132"/>
                <a:gd name="T64" fmla="*/ 10 w 35"/>
                <a:gd name="T65" fmla="*/ 71 h 132"/>
                <a:gd name="T66" fmla="*/ 2 w 35"/>
                <a:gd name="T67" fmla="*/ 66 h 132"/>
                <a:gd name="T68" fmla="*/ 0 w 35"/>
                <a:gd name="T69" fmla="*/ 63 h 132"/>
                <a:gd name="T70" fmla="*/ 0 w 35"/>
                <a:gd name="T71" fmla="*/ 0 h 132"/>
                <a:gd name="T72" fmla="*/ 0 w 35"/>
                <a:gd name="T73" fmla="*/ 5 h 132"/>
                <a:gd name="T74" fmla="*/ 1 w 35"/>
                <a:gd name="T75" fmla="*/ 2 h 132"/>
                <a:gd name="T76" fmla="*/ 0 w 35"/>
                <a:gd name="T77" fmla="*/ 0 h 132"/>
                <a:gd name="T78" fmla="*/ 0 w 35"/>
                <a:gd name="T79" fmla="*/ 0 h 1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132">
                  <a:moveTo>
                    <a:pt x="0" y="63"/>
                  </a:moveTo>
                  <a:cubicBezTo>
                    <a:pt x="0" y="132"/>
                    <a:pt x="0" y="132"/>
                    <a:pt x="0" y="132"/>
                  </a:cubicBezTo>
                  <a:cubicBezTo>
                    <a:pt x="0" y="131"/>
                    <a:pt x="1" y="130"/>
                    <a:pt x="1" y="128"/>
                  </a:cubicBezTo>
                  <a:cubicBezTo>
                    <a:pt x="2" y="124"/>
                    <a:pt x="2" y="123"/>
                    <a:pt x="6" y="121"/>
                  </a:cubicBezTo>
                  <a:cubicBezTo>
                    <a:pt x="7" y="120"/>
                    <a:pt x="7" y="120"/>
                    <a:pt x="7" y="120"/>
                  </a:cubicBezTo>
                  <a:cubicBezTo>
                    <a:pt x="7" y="120"/>
                    <a:pt x="8" y="120"/>
                    <a:pt x="9" y="119"/>
                  </a:cubicBezTo>
                  <a:cubicBezTo>
                    <a:pt x="9" y="118"/>
                    <a:pt x="9" y="118"/>
                    <a:pt x="9" y="118"/>
                  </a:cubicBezTo>
                  <a:cubicBezTo>
                    <a:pt x="10" y="118"/>
                    <a:pt x="11" y="117"/>
                    <a:pt x="12" y="116"/>
                  </a:cubicBezTo>
                  <a:cubicBezTo>
                    <a:pt x="14" y="115"/>
                    <a:pt x="15" y="114"/>
                    <a:pt x="17" y="114"/>
                  </a:cubicBezTo>
                  <a:cubicBezTo>
                    <a:pt x="27" y="113"/>
                    <a:pt x="27" y="113"/>
                    <a:pt x="27" y="113"/>
                  </a:cubicBezTo>
                  <a:cubicBezTo>
                    <a:pt x="28" y="112"/>
                    <a:pt x="29" y="112"/>
                    <a:pt x="29" y="112"/>
                  </a:cubicBezTo>
                  <a:cubicBezTo>
                    <a:pt x="30" y="112"/>
                    <a:pt x="32" y="112"/>
                    <a:pt x="32" y="112"/>
                  </a:cubicBezTo>
                  <a:cubicBezTo>
                    <a:pt x="34" y="107"/>
                    <a:pt x="34" y="107"/>
                    <a:pt x="34" y="107"/>
                  </a:cubicBezTo>
                  <a:cubicBezTo>
                    <a:pt x="34" y="105"/>
                    <a:pt x="34" y="104"/>
                    <a:pt x="35" y="102"/>
                  </a:cubicBezTo>
                  <a:cubicBezTo>
                    <a:pt x="34" y="102"/>
                    <a:pt x="34" y="102"/>
                    <a:pt x="34" y="102"/>
                  </a:cubicBezTo>
                  <a:cubicBezTo>
                    <a:pt x="34" y="102"/>
                    <a:pt x="33" y="102"/>
                    <a:pt x="33" y="102"/>
                  </a:cubicBezTo>
                  <a:cubicBezTo>
                    <a:pt x="33" y="102"/>
                    <a:pt x="32" y="102"/>
                    <a:pt x="31" y="102"/>
                  </a:cubicBezTo>
                  <a:cubicBezTo>
                    <a:pt x="30" y="102"/>
                    <a:pt x="30" y="102"/>
                    <a:pt x="30" y="102"/>
                  </a:cubicBezTo>
                  <a:cubicBezTo>
                    <a:pt x="30" y="102"/>
                    <a:pt x="30" y="102"/>
                    <a:pt x="29" y="102"/>
                  </a:cubicBezTo>
                  <a:cubicBezTo>
                    <a:pt x="29" y="102"/>
                    <a:pt x="29" y="102"/>
                    <a:pt x="29" y="102"/>
                  </a:cubicBezTo>
                  <a:cubicBezTo>
                    <a:pt x="26" y="102"/>
                    <a:pt x="24" y="100"/>
                    <a:pt x="23" y="98"/>
                  </a:cubicBezTo>
                  <a:cubicBezTo>
                    <a:pt x="23" y="96"/>
                    <a:pt x="23" y="94"/>
                    <a:pt x="23" y="93"/>
                  </a:cubicBezTo>
                  <a:cubicBezTo>
                    <a:pt x="23" y="92"/>
                    <a:pt x="23" y="92"/>
                    <a:pt x="23" y="91"/>
                  </a:cubicBezTo>
                  <a:cubicBezTo>
                    <a:pt x="23" y="82"/>
                    <a:pt x="23" y="82"/>
                    <a:pt x="23" y="82"/>
                  </a:cubicBezTo>
                  <a:cubicBezTo>
                    <a:pt x="23" y="82"/>
                    <a:pt x="23" y="81"/>
                    <a:pt x="24" y="80"/>
                  </a:cubicBezTo>
                  <a:cubicBezTo>
                    <a:pt x="24" y="78"/>
                    <a:pt x="24" y="77"/>
                    <a:pt x="24" y="77"/>
                  </a:cubicBezTo>
                  <a:cubicBezTo>
                    <a:pt x="23" y="76"/>
                    <a:pt x="23" y="76"/>
                    <a:pt x="22" y="76"/>
                  </a:cubicBezTo>
                  <a:cubicBezTo>
                    <a:pt x="22" y="76"/>
                    <a:pt x="22" y="76"/>
                    <a:pt x="22" y="76"/>
                  </a:cubicBezTo>
                  <a:cubicBezTo>
                    <a:pt x="21" y="75"/>
                    <a:pt x="19" y="75"/>
                    <a:pt x="18" y="74"/>
                  </a:cubicBezTo>
                  <a:cubicBezTo>
                    <a:pt x="17" y="74"/>
                    <a:pt x="16" y="74"/>
                    <a:pt x="15" y="73"/>
                  </a:cubicBezTo>
                  <a:cubicBezTo>
                    <a:pt x="15" y="73"/>
                    <a:pt x="14" y="73"/>
                    <a:pt x="13" y="72"/>
                  </a:cubicBezTo>
                  <a:cubicBezTo>
                    <a:pt x="12" y="72"/>
                    <a:pt x="12" y="72"/>
                    <a:pt x="12" y="72"/>
                  </a:cubicBezTo>
                  <a:cubicBezTo>
                    <a:pt x="12" y="72"/>
                    <a:pt x="11" y="72"/>
                    <a:pt x="10" y="71"/>
                  </a:cubicBezTo>
                  <a:cubicBezTo>
                    <a:pt x="7" y="70"/>
                    <a:pt x="4" y="69"/>
                    <a:pt x="2" y="66"/>
                  </a:cubicBezTo>
                  <a:cubicBezTo>
                    <a:pt x="2" y="65"/>
                    <a:pt x="1" y="64"/>
                    <a:pt x="0" y="63"/>
                  </a:cubicBezTo>
                  <a:moveTo>
                    <a:pt x="0" y="0"/>
                  </a:moveTo>
                  <a:cubicBezTo>
                    <a:pt x="0" y="5"/>
                    <a:pt x="0" y="5"/>
                    <a:pt x="0" y="5"/>
                  </a:cubicBezTo>
                  <a:cubicBezTo>
                    <a:pt x="1" y="4"/>
                    <a:pt x="1" y="3"/>
                    <a:pt x="1" y="2"/>
                  </a:cubicBezTo>
                  <a:cubicBezTo>
                    <a:pt x="1" y="1"/>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Freeform 1534"/>
            <p:cNvSpPr/>
            <p:nvPr/>
          </p:nvSpPr>
          <p:spPr bwMode="auto">
            <a:xfrm>
              <a:off x="0" y="1656445"/>
              <a:ext cx="365115" cy="504719"/>
            </a:xfrm>
            <a:custGeom>
              <a:gdLst>
                <a:gd name="T0" fmla="*/ 0 w 115"/>
                <a:gd name="T1" fmla="*/ 150 h 159"/>
                <a:gd name="T2" fmla="*/ 2 w 115"/>
                <a:gd name="T3" fmla="*/ 151 h 159"/>
                <a:gd name="T4" fmla="*/ 10 w 115"/>
                <a:gd name="T5" fmla="*/ 154 h 159"/>
                <a:gd name="T6" fmla="*/ 13 w 115"/>
                <a:gd name="T7" fmla="*/ 157 h 159"/>
                <a:gd name="T8" fmla="*/ 15 w 115"/>
                <a:gd name="T9" fmla="*/ 159 h 159"/>
                <a:gd name="T10" fmla="*/ 23 w 115"/>
                <a:gd name="T11" fmla="*/ 156 h 159"/>
                <a:gd name="T12" fmla="*/ 26 w 115"/>
                <a:gd name="T13" fmla="*/ 155 h 159"/>
                <a:gd name="T14" fmla="*/ 31 w 115"/>
                <a:gd name="T15" fmla="*/ 151 h 159"/>
                <a:gd name="T16" fmla="*/ 33 w 115"/>
                <a:gd name="T17" fmla="*/ 148 h 159"/>
                <a:gd name="T18" fmla="*/ 38 w 115"/>
                <a:gd name="T19" fmla="*/ 141 h 159"/>
                <a:gd name="T20" fmla="*/ 43 w 115"/>
                <a:gd name="T21" fmla="*/ 140 h 159"/>
                <a:gd name="T22" fmla="*/ 51 w 115"/>
                <a:gd name="T23" fmla="*/ 137 h 159"/>
                <a:gd name="T24" fmla="*/ 65 w 115"/>
                <a:gd name="T25" fmla="*/ 129 h 159"/>
                <a:gd name="T26" fmla="*/ 66 w 115"/>
                <a:gd name="T27" fmla="*/ 125 h 159"/>
                <a:gd name="T28" fmla="*/ 67 w 115"/>
                <a:gd name="T29" fmla="*/ 122 h 159"/>
                <a:gd name="T30" fmla="*/ 68 w 115"/>
                <a:gd name="T31" fmla="*/ 119 h 159"/>
                <a:gd name="T32" fmla="*/ 85 w 115"/>
                <a:gd name="T33" fmla="*/ 104 h 159"/>
                <a:gd name="T34" fmla="*/ 87 w 115"/>
                <a:gd name="T35" fmla="*/ 104 h 159"/>
                <a:gd name="T36" fmla="*/ 92 w 115"/>
                <a:gd name="T37" fmla="*/ 99 h 159"/>
                <a:gd name="T38" fmla="*/ 95 w 115"/>
                <a:gd name="T39" fmla="*/ 96 h 159"/>
                <a:gd name="T40" fmla="*/ 96 w 115"/>
                <a:gd name="T41" fmla="*/ 96 h 159"/>
                <a:gd name="T42" fmla="*/ 99 w 115"/>
                <a:gd name="T43" fmla="*/ 96 h 159"/>
                <a:gd name="T44" fmla="*/ 102 w 115"/>
                <a:gd name="T45" fmla="*/ 98 h 159"/>
                <a:gd name="T46" fmla="*/ 105 w 115"/>
                <a:gd name="T47" fmla="*/ 99 h 159"/>
                <a:gd name="T48" fmla="*/ 108 w 115"/>
                <a:gd name="T49" fmla="*/ 100 h 159"/>
                <a:gd name="T50" fmla="*/ 109 w 115"/>
                <a:gd name="T51" fmla="*/ 100 h 159"/>
                <a:gd name="T52" fmla="*/ 112 w 115"/>
                <a:gd name="T53" fmla="*/ 101 h 159"/>
                <a:gd name="T54" fmla="*/ 112 w 115"/>
                <a:gd name="T55" fmla="*/ 100 h 159"/>
                <a:gd name="T56" fmla="*/ 113 w 115"/>
                <a:gd name="T57" fmla="*/ 98 h 159"/>
                <a:gd name="T58" fmla="*/ 114 w 115"/>
                <a:gd name="T59" fmla="*/ 93 h 159"/>
                <a:gd name="T60" fmla="*/ 114 w 115"/>
                <a:gd name="T61" fmla="*/ 90 h 159"/>
                <a:gd name="T62" fmla="*/ 111 w 115"/>
                <a:gd name="T63" fmla="*/ 86 h 159"/>
                <a:gd name="T64" fmla="*/ 105 w 115"/>
                <a:gd name="T65" fmla="*/ 83 h 159"/>
                <a:gd name="T66" fmla="*/ 99 w 115"/>
                <a:gd name="T67" fmla="*/ 81 h 159"/>
                <a:gd name="T68" fmla="*/ 95 w 115"/>
                <a:gd name="T69" fmla="*/ 82 h 159"/>
                <a:gd name="T70" fmla="*/ 87 w 115"/>
                <a:gd name="T71" fmla="*/ 79 h 159"/>
                <a:gd name="T72" fmla="*/ 78 w 115"/>
                <a:gd name="T73" fmla="*/ 73 h 159"/>
                <a:gd name="T74" fmla="*/ 73 w 115"/>
                <a:gd name="T75" fmla="*/ 70 h 159"/>
                <a:gd name="T76" fmla="*/ 51 w 115"/>
                <a:gd name="T77" fmla="*/ 56 h 159"/>
                <a:gd name="T78" fmla="*/ 45 w 115"/>
                <a:gd name="T79" fmla="*/ 53 h 159"/>
                <a:gd name="T80" fmla="*/ 32 w 115"/>
                <a:gd name="T81" fmla="*/ 44 h 159"/>
                <a:gd name="T82" fmla="*/ 25 w 115"/>
                <a:gd name="T83" fmla="*/ 39 h 159"/>
                <a:gd name="T84" fmla="*/ 23 w 115"/>
                <a:gd name="T85" fmla="*/ 38 h 159"/>
                <a:gd name="T86" fmla="*/ 17 w 115"/>
                <a:gd name="T87" fmla="*/ 33 h 159"/>
                <a:gd name="T88" fmla="*/ 17 w 115"/>
                <a:gd name="T89" fmla="*/ 31 h 159"/>
                <a:gd name="T90" fmla="*/ 15 w 115"/>
                <a:gd name="T91" fmla="*/ 24 h 159"/>
                <a:gd name="T92" fmla="*/ 12 w 115"/>
                <a:gd name="T93" fmla="*/ 21 h 159"/>
                <a:gd name="T94" fmla="*/ 7 w 115"/>
                <a:gd name="T95" fmla="*/ 13 h 1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159">
                  <a:moveTo>
                    <a:pt x="0" y="0"/>
                  </a:moveTo>
                  <a:cubicBezTo>
                    <a:pt x="0" y="150"/>
                    <a:pt x="0" y="150"/>
                    <a:pt x="0" y="150"/>
                  </a:cubicBezTo>
                  <a:cubicBezTo>
                    <a:pt x="1" y="150"/>
                    <a:pt x="1" y="150"/>
                    <a:pt x="2" y="151"/>
                  </a:cubicBezTo>
                  <a:cubicBezTo>
                    <a:pt x="2" y="151"/>
                    <a:pt x="2" y="151"/>
                    <a:pt x="2" y="151"/>
                  </a:cubicBezTo>
                  <a:cubicBezTo>
                    <a:pt x="3" y="151"/>
                    <a:pt x="4" y="151"/>
                    <a:pt x="5" y="151"/>
                  </a:cubicBezTo>
                  <a:cubicBezTo>
                    <a:pt x="7" y="152"/>
                    <a:pt x="8" y="153"/>
                    <a:pt x="10" y="154"/>
                  </a:cubicBezTo>
                  <a:cubicBezTo>
                    <a:pt x="11" y="154"/>
                    <a:pt x="11" y="155"/>
                    <a:pt x="11" y="155"/>
                  </a:cubicBezTo>
                  <a:cubicBezTo>
                    <a:pt x="13" y="157"/>
                    <a:pt x="13" y="157"/>
                    <a:pt x="13" y="157"/>
                  </a:cubicBezTo>
                  <a:cubicBezTo>
                    <a:pt x="14" y="157"/>
                    <a:pt x="14" y="158"/>
                    <a:pt x="15" y="158"/>
                  </a:cubicBezTo>
                  <a:cubicBezTo>
                    <a:pt x="15" y="159"/>
                    <a:pt x="15" y="159"/>
                    <a:pt x="15" y="159"/>
                  </a:cubicBezTo>
                  <a:cubicBezTo>
                    <a:pt x="15" y="158"/>
                    <a:pt x="15" y="158"/>
                    <a:pt x="15" y="158"/>
                  </a:cubicBezTo>
                  <a:cubicBezTo>
                    <a:pt x="18" y="156"/>
                    <a:pt x="21" y="156"/>
                    <a:pt x="23" y="156"/>
                  </a:cubicBezTo>
                  <a:cubicBezTo>
                    <a:pt x="25" y="156"/>
                    <a:pt x="25" y="156"/>
                    <a:pt x="25" y="156"/>
                  </a:cubicBezTo>
                  <a:cubicBezTo>
                    <a:pt x="26" y="155"/>
                    <a:pt x="26" y="155"/>
                    <a:pt x="26" y="155"/>
                  </a:cubicBezTo>
                  <a:cubicBezTo>
                    <a:pt x="27" y="155"/>
                    <a:pt x="27" y="155"/>
                    <a:pt x="27" y="155"/>
                  </a:cubicBezTo>
                  <a:cubicBezTo>
                    <a:pt x="27" y="155"/>
                    <a:pt x="29" y="154"/>
                    <a:pt x="31" y="151"/>
                  </a:cubicBezTo>
                  <a:cubicBezTo>
                    <a:pt x="32" y="150"/>
                    <a:pt x="32" y="150"/>
                    <a:pt x="32" y="150"/>
                  </a:cubicBezTo>
                  <a:cubicBezTo>
                    <a:pt x="32" y="149"/>
                    <a:pt x="33" y="148"/>
                    <a:pt x="33" y="148"/>
                  </a:cubicBezTo>
                  <a:cubicBezTo>
                    <a:pt x="32" y="146"/>
                    <a:pt x="32" y="146"/>
                    <a:pt x="32" y="146"/>
                  </a:cubicBezTo>
                  <a:cubicBezTo>
                    <a:pt x="38" y="141"/>
                    <a:pt x="38" y="141"/>
                    <a:pt x="38" y="141"/>
                  </a:cubicBezTo>
                  <a:cubicBezTo>
                    <a:pt x="39" y="141"/>
                    <a:pt x="39" y="141"/>
                    <a:pt x="39" y="141"/>
                  </a:cubicBezTo>
                  <a:cubicBezTo>
                    <a:pt x="40" y="140"/>
                    <a:pt x="41" y="140"/>
                    <a:pt x="43" y="140"/>
                  </a:cubicBezTo>
                  <a:cubicBezTo>
                    <a:pt x="44" y="139"/>
                    <a:pt x="45" y="139"/>
                    <a:pt x="46" y="138"/>
                  </a:cubicBezTo>
                  <a:cubicBezTo>
                    <a:pt x="51" y="137"/>
                    <a:pt x="51" y="137"/>
                    <a:pt x="51" y="137"/>
                  </a:cubicBezTo>
                  <a:cubicBezTo>
                    <a:pt x="53" y="136"/>
                    <a:pt x="56" y="135"/>
                    <a:pt x="58" y="134"/>
                  </a:cubicBezTo>
                  <a:cubicBezTo>
                    <a:pt x="61" y="133"/>
                    <a:pt x="62" y="132"/>
                    <a:pt x="65" y="129"/>
                  </a:cubicBezTo>
                  <a:cubicBezTo>
                    <a:pt x="65" y="129"/>
                    <a:pt x="65" y="129"/>
                    <a:pt x="65" y="129"/>
                  </a:cubicBezTo>
                  <a:cubicBezTo>
                    <a:pt x="66" y="128"/>
                    <a:pt x="66" y="127"/>
                    <a:pt x="66" y="125"/>
                  </a:cubicBezTo>
                  <a:cubicBezTo>
                    <a:pt x="66" y="124"/>
                    <a:pt x="66" y="123"/>
                    <a:pt x="66" y="123"/>
                  </a:cubicBezTo>
                  <a:cubicBezTo>
                    <a:pt x="67" y="122"/>
                    <a:pt x="67" y="122"/>
                    <a:pt x="67" y="122"/>
                  </a:cubicBezTo>
                  <a:cubicBezTo>
                    <a:pt x="67" y="121"/>
                    <a:pt x="67" y="121"/>
                    <a:pt x="67" y="120"/>
                  </a:cubicBezTo>
                  <a:cubicBezTo>
                    <a:pt x="68" y="119"/>
                    <a:pt x="68" y="119"/>
                    <a:pt x="68" y="119"/>
                  </a:cubicBezTo>
                  <a:cubicBezTo>
                    <a:pt x="83" y="104"/>
                    <a:pt x="83" y="104"/>
                    <a:pt x="83" y="104"/>
                  </a:cubicBezTo>
                  <a:cubicBezTo>
                    <a:pt x="85" y="104"/>
                    <a:pt x="85" y="104"/>
                    <a:pt x="85" y="104"/>
                  </a:cubicBezTo>
                  <a:cubicBezTo>
                    <a:pt x="85" y="104"/>
                    <a:pt x="86" y="104"/>
                    <a:pt x="87" y="104"/>
                  </a:cubicBezTo>
                  <a:cubicBezTo>
                    <a:pt x="87" y="104"/>
                    <a:pt x="87" y="104"/>
                    <a:pt x="87" y="104"/>
                  </a:cubicBezTo>
                  <a:cubicBezTo>
                    <a:pt x="88" y="104"/>
                    <a:pt x="88" y="104"/>
                    <a:pt x="89" y="104"/>
                  </a:cubicBezTo>
                  <a:cubicBezTo>
                    <a:pt x="90" y="103"/>
                    <a:pt x="91" y="101"/>
                    <a:pt x="92" y="99"/>
                  </a:cubicBezTo>
                  <a:cubicBezTo>
                    <a:pt x="93" y="98"/>
                    <a:pt x="93" y="98"/>
                    <a:pt x="93" y="98"/>
                  </a:cubicBezTo>
                  <a:cubicBezTo>
                    <a:pt x="94" y="97"/>
                    <a:pt x="95" y="97"/>
                    <a:pt x="95" y="96"/>
                  </a:cubicBezTo>
                  <a:cubicBezTo>
                    <a:pt x="96" y="96"/>
                    <a:pt x="96" y="96"/>
                    <a:pt x="96" y="96"/>
                  </a:cubicBezTo>
                  <a:cubicBezTo>
                    <a:pt x="96" y="96"/>
                    <a:pt x="96" y="96"/>
                    <a:pt x="96" y="96"/>
                  </a:cubicBezTo>
                  <a:cubicBezTo>
                    <a:pt x="97" y="96"/>
                    <a:pt x="97" y="96"/>
                    <a:pt x="97" y="96"/>
                  </a:cubicBezTo>
                  <a:cubicBezTo>
                    <a:pt x="99" y="96"/>
                    <a:pt x="99" y="96"/>
                    <a:pt x="99" y="96"/>
                  </a:cubicBezTo>
                  <a:cubicBezTo>
                    <a:pt x="100" y="96"/>
                    <a:pt x="100" y="97"/>
                    <a:pt x="101" y="97"/>
                  </a:cubicBezTo>
                  <a:cubicBezTo>
                    <a:pt x="102" y="98"/>
                    <a:pt x="102" y="98"/>
                    <a:pt x="102" y="98"/>
                  </a:cubicBezTo>
                  <a:cubicBezTo>
                    <a:pt x="102" y="98"/>
                    <a:pt x="103" y="98"/>
                    <a:pt x="103" y="98"/>
                  </a:cubicBezTo>
                  <a:cubicBezTo>
                    <a:pt x="104" y="98"/>
                    <a:pt x="104" y="99"/>
                    <a:pt x="105" y="99"/>
                  </a:cubicBezTo>
                  <a:cubicBezTo>
                    <a:pt x="106" y="100"/>
                    <a:pt x="106" y="100"/>
                    <a:pt x="106" y="100"/>
                  </a:cubicBezTo>
                  <a:cubicBezTo>
                    <a:pt x="107" y="100"/>
                    <a:pt x="107" y="100"/>
                    <a:pt x="108" y="100"/>
                  </a:cubicBezTo>
                  <a:cubicBezTo>
                    <a:pt x="108" y="100"/>
                    <a:pt x="108" y="100"/>
                    <a:pt x="109" y="100"/>
                  </a:cubicBezTo>
                  <a:cubicBezTo>
                    <a:pt x="109" y="100"/>
                    <a:pt x="109" y="100"/>
                    <a:pt x="109" y="100"/>
                  </a:cubicBezTo>
                  <a:cubicBezTo>
                    <a:pt x="109" y="100"/>
                    <a:pt x="110" y="101"/>
                    <a:pt x="110" y="101"/>
                  </a:cubicBezTo>
                  <a:cubicBezTo>
                    <a:pt x="112" y="101"/>
                    <a:pt x="112" y="101"/>
                    <a:pt x="112" y="101"/>
                  </a:cubicBezTo>
                  <a:cubicBezTo>
                    <a:pt x="112" y="100"/>
                    <a:pt x="112" y="100"/>
                    <a:pt x="112" y="100"/>
                  </a:cubicBezTo>
                  <a:cubicBezTo>
                    <a:pt x="112" y="100"/>
                    <a:pt x="112" y="100"/>
                    <a:pt x="112" y="100"/>
                  </a:cubicBezTo>
                  <a:cubicBezTo>
                    <a:pt x="113" y="100"/>
                    <a:pt x="113" y="99"/>
                    <a:pt x="113" y="98"/>
                  </a:cubicBezTo>
                  <a:cubicBezTo>
                    <a:pt x="113" y="98"/>
                    <a:pt x="113" y="98"/>
                    <a:pt x="113" y="98"/>
                  </a:cubicBezTo>
                  <a:cubicBezTo>
                    <a:pt x="113" y="97"/>
                    <a:pt x="113" y="97"/>
                    <a:pt x="113" y="96"/>
                  </a:cubicBezTo>
                  <a:cubicBezTo>
                    <a:pt x="114" y="93"/>
                    <a:pt x="114" y="93"/>
                    <a:pt x="114" y="93"/>
                  </a:cubicBezTo>
                  <a:cubicBezTo>
                    <a:pt x="114" y="92"/>
                    <a:pt x="114" y="91"/>
                    <a:pt x="114" y="90"/>
                  </a:cubicBezTo>
                  <a:cubicBezTo>
                    <a:pt x="114" y="90"/>
                    <a:pt x="114" y="90"/>
                    <a:pt x="114" y="90"/>
                  </a:cubicBezTo>
                  <a:cubicBezTo>
                    <a:pt x="114" y="89"/>
                    <a:pt x="115" y="89"/>
                    <a:pt x="115" y="88"/>
                  </a:cubicBezTo>
                  <a:cubicBezTo>
                    <a:pt x="111" y="86"/>
                    <a:pt x="111" y="86"/>
                    <a:pt x="111" y="86"/>
                  </a:cubicBezTo>
                  <a:cubicBezTo>
                    <a:pt x="109" y="85"/>
                    <a:pt x="107" y="85"/>
                    <a:pt x="106" y="84"/>
                  </a:cubicBezTo>
                  <a:cubicBezTo>
                    <a:pt x="105" y="83"/>
                    <a:pt x="105" y="83"/>
                    <a:pt x="105" y="83"/>
                  </a:cubicBezTo>
                  <a:cubicBezTo>
                    <a:pt x="101" y="81"/>
                    <a:pt x="100" y="81"/>
                    <a:pt x="100" y="81"/>
                  </a:cubicBezTo>
                  <a:cubicBezTo>
                    <a:pt x="99" y="81"/>
                    <a:pt x="99" y="81"/>
                    <a:pt x="99" y="81"/>
                  </a:cubicBezTo>
                  <a:cubicBezTo>
                    <a:pt x="99" y="82"/>
                    <a:pt x="98" y="82"/>
                    <a:pt x="97" y="82"/>
                  </a:cubicBezTo>
                  <a:cubicBezTo>
                    <a:pt x="96" y="82"/>
                    <a:pt x="96" y="82"/>
                    <a:pt x="95" y="82"/>
                  </a:cubicBezTo>
                  <a:cubicBezTo>
                    <a:pt x="92" y="82"/>
                    <a:pt x="90" y="81"/>
                    <a:pt x="88" y="79"/>
                  </a:cubicBezTo>
                  <a:cubicBezTo>
                    <a:pt x="87" y="79"/>
                    <a:pt x="87" y="79"/>
                    <a:pt x="87" y="79"/>
                  </a:cubicBezTo>
                  <a:cubicBezTo>
                    <a:pt x="86" y="78"/>
                    <a:pt x="85" y="77"/>
                    <a:pt x="84" y="77"/>
                  </a:cubicBezTo>
                  <a:cubicBezTo>
                    <a:pt x="83" y="76"/>
                    <a:pt x="81" y="74"/>
                    <a:pt x="78" y="73"/>
                  </a:cubicBezTo>
                  <a:cubicBezTo>
                    <a:pt x="78" y="72"/>
                    <a:pt x="77" y="72"/>
                    <a:pt x="76" y="71"/>
                  </a:cubicBezTo>
                  <a:cubicBezTo>
                    <a:pt x="75" y="71"/>
                    <a:pt x="74" y="70"/>
                    <a:pt x="73" y="70"/>
                  </a:cubicBezTo>
                  <a:cubicBezTo>
                    <a:pt x="70" y="68"/>
                    <a:pt x="67" y="66"/>
                    <a:pt x="64" y="63"/>
                  </a:cubicBezTo>
                  <a:cubicBezTo>
                    <a:pt x="60" y="60"/>
                    <a:pt x="55" y="58"/>
                    <a:pt x="51" y="56"/>
                  </a:cubicBezTo>
                  <a:cubicBezTo>
                    <a:pt x="48" y="54"/>
                    <a:pt x="48" y="54"/>
                    <a:pt x="48" y="54"/>
                  </a:cubicBezTo>
                  <a:cubicBezTo>
                    <a:pt x="47" y="54"/>
                    <a:pt x="46" y="53"/>
                    <a:pt x="45" y="53"/>
                  </a:cubicBezTo>
                  <a:cubicBezTo>
                    <a:pt x="41" y="51"/>
                    <a:pt x="37" y="48"/>
                    <a:pt x="34" y="45"/>
                  </a:cubicBezTo>
                  <a:cubicBezTo>
                    <a:pt x="32" y="44"/>
                    <a:pt x="32" y="44"/>
                    <a:pt x="32" y="44"/>
                  </a:cubicBezTo>
                  <a:cubicBezTo>
                    <a:pt x="31" y="43"/>
                    <a:pt x="30" y="43"/>
                    <a:pt x="29" y="42"/>
                  </a:cubicBezTo>
                  <a:cubicBezTo>
                    <a:pt x="25" y="39"/>
                    <a:pt x="25" y="39"/>
                    <a:pt x="25" y="39"/>
                  </a:cubicBezTo>
                  <a:cubicBezTo>
                    <a:pt x="25" y="39"/>
                    <a:pt x="24" y="38"/>
                    <a:pt x="23" y="38"/>
                  </a:cubicBezTo>
                  <a:cubicBezTo>
                    <a:pt x="23" y="38"/>
                    <a:pt x="23" y="38"/>
                    <a:pt x="23" y="38"/>
                  </a:cubicBezTo>
                  <a:cubicBezTo>
                    <a:pt x="21" y="37"/>
                    <a:pt x="19" y="35"/>
                    <a:pt x="18" y="34"/>
                  </a:cubicBezTo>
                  <a:cubicBezTo>
                    <a:pt x="18" y="33"/>
                    <a:pt x="17" y="33"/>
                    <a:pt x="17" y="33"/>
                  </a:cubicBezTo>
                  <a:cubicBezTo>
                    <a:pt x="17" y="32"/>
                    <a:pt x="17" y="32"/>
                    <a:pt x="17" y="32"/>
                  </a:cubicBezTo>
                  <a:cubicBezTo>
                    <a:pt x="17" y="31"/>
                    <a:pt x="17" y="31"/>
                    <a:pt x="17" y="31"/>
                  </a:cubicBezTo>
                  <a:cubicBezTo>
                    <a:pt x="16" y="30"/>
                    <a:pt x="16" y="28"/>
                    <a:pt x="15" y="27"/>
                  </a:cubicBezTo>
                  <a:cubicBezTo>
                    <a:pt x="15" y="26"/>
                    <a:pt x="15" y="25"/>
                    <a:pt x="15" y="24"/>
                  </a:cubicBezTo>
                  <a:cubicBezTo>
                    <a:pt x="14" y="24"/>
                    <a:pt x="14" y="24"/>
                    <a:pt x="14" y="24"/>
                  </a:cubicBezTo>
                  <a:cubicBezTo>
                    <a:pt x="14" y="23"/>
                    <a:pt x="13" y="22"/>
                    <a:pt x="12" y="21"/>
                  </a:cubicBezTo>
                  <a:cubicBezTo>
                    <a:pt x="11" y="20"/>
                    <a:pt x="10" y="19"/>
                    <a:pt x="9" y="17"/>
                  </a:cubicBezTo>
                  <a:cubicBezTo>
                    <a:pt x="9" y="16"/>
                    <a:pt x="8" y="14"/>
                    <a:pt x="7" y="13"/>
                  </a:cubicBezTo>
                  <a:cubicBezTo>
                    <a:pt x="5" y="8"/>
                    <a:pt x="3"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Rectangle 1535"/>
            <p:cNvSpPr>
              <a:spLocks noChangeArrowheads="1"/>
            </p:cNvSpPr>
            <p:nvPr/>
          </p:nvSpPr>
          <p:spPr bwMode="auto">
            <a:xfrm>
              <a:off x="574520" y="1746381"/>
              <a:ext cx="2685"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Freeform 1536"/>
            <p:cNvSpPr/>
            <p:nvPr/>
          </p:nvSpPr>
          <p:spPr bwMode="auto">
            <a:xfrm>
              <a:off x="574520" y="1746381"/>
              <a:ext cx="2685" cy="0"/>
            </a:xfrm>
            <a:custGeom>
              <a:gdLst>
                <a:gd name="T0" fmla="*/ 2 w 2"/>
                <a:gd name="T1" fmla="*/ 0 w 2"/>
                <a:gd name="T2" fmla="*/ 0 w 2"/>
                <a:gd name="T3" fmla="*/ 2 w 2"/>
              </a:gdLst>
              <a:cxnLst>
                <a:cxn ang="0">
                  <a:pos x="T0" y="0"/>
                </a:cxn>
                <a:cxn ang="0">
                  <a:pos x="T1" y="0"/>
                </a:cxn>
                <a:cxn ang="0">
                  <a:pos x="T2" y="0"/>
                </a:cxn>
                <a:cxn ang="0">
                  <a:pos x="T3" y="0"/>
                </a:cxn>
              </a:cxnLst>
              <a:rect l="0" t="0" r="r" b="b"/>
              <a:pathLst>
                <a:path w="2">
                  <a:moveTo>
                    <a:pt x="2" y="0"/>
                  </a:move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1537"/>
            <p:cNvSpPr/>
            <p:nvPr/>
          </p:nvSpPr>
          <p:spPr bwMode="auto">
            <a:xfrm>
              <a:off x="434917" y="1746381"/>
              <a:ext cx="558412" cy="284575"/>
            </a:xfrm>
            <a:custGeom>
              <a:gdLst>
                <a:gd name="T0" fmla="*/ 37 w 176"/>
                <a:gd name="T1" fmla="*/ 4 h 90"/>
                <a:gd name="T2" fmla="*/ 35 w 176"/>
                <a:gd name="T3" fmla="*/ 4 h 90"/>
                <a:gd name="T4" fmla="*/ 34 w 176"/>
                <a:gd name="T5" fmla="*/ 19 h 90"/>
                <a:gd name="T6" fmla="*/ 29 w 176"/>
                <a:gd name="T7" fmla="*/ 9 h 90"/>
                <a:gd name="T8" fmla="*/ 23 w 176"/>
                <a:gd name="T9" fmla="*/ 18 h 90"/>
                <a:gd name="T10" fmla="*/ 16 w 176"/>
                <a:gd name="T11" fmla="*/ 18 h 90"/>
                <a:gd name="T12" fmla="*/ 6 w 176"/>
                <a:gd name="T13" fmla="*/ 16 h 90"/>
                <a:gd name="T14" fmla="*/ 4 w 176"/>
                <a:gd name="T15" fmla="*/ 17 h 90"/>
                <a:gd name="T16" fmla="*/ 1 w 176"/>
                <a:gd name="T17" fmla="*/ 22 h 90"/>
                <a:gd name="T18" fmla="*/ 4 w 176"/>
                <a:gd name="T19" fmla="*/ 25 h 90"/>
                <a:gd name="T20" fmla="*/ 19 w 176"/>
                <a:gd name="T21" fmla="*/ 32 h 90"/>
                <a:gd name="T22" fmla="*/ 18 w 176"/>
                <a:gd name="T23" fmla="*/ 44 h 90"/>
                <a:gd name="T24" fmla="*/ 20 w 176"/>
                <a:gd name="T25" fmla="*/ 47 h 90"/>
                <a:gd name="T26" fmla="*/ 15 w 176"/>
                <a:gd name="T27" fmla="*/ 68 h 90"/>
                <a:gd name="T28" fmla="*/ 11 w 176"/>
                <a:gd name="T29" fmla="*/ 76 h 90"/>
                <a:gd name="T30" fmla="*/ 13 w 176"/>
                <a:gd name="T31" fmla="*/ 83 h 90"/>
                <a:gd name="T32" fmla="*/ 18 w 176"/>
                <a:gd name="T33" fmla="*/ 80 h 90"/>
                <a:gd name="T34" fmla="*/ 29 w 176"/>
                <a:gd name="T35" fmla="*/ 75 h 90"/>
                <a:gd name="T36" fmla="*/ 30 w 176"/>
                <a:gd name="T37" fmla="*/ 74 h 90"/>
                <a:gd name="T38" fmla="*/ 38 w 176"/>
                <a:gd name="T39" fmla="*/ 76 h 90"/>
                <a:gd name="T40" fmla="*/ 42 w 176"/>
                <a:gd name="T41" fmla="*/ 79 h 90"/>
                <a:gd name="T42" fmla="*/ 43 w 176"/>
                <a:gd name="T43" fmla="*/ 75 h 90"/>
                <a:gd name="T44" fmla="*/ 45 w 176"/>
                <a:gd name="T45" fmla="*/ 69 h 90"/>
                <a:gd name="T46" fmla="*/ 58 w 176"/>
                <a:gd name="T47" fmla="*/ 67 h 90"/>
                <a:gd name="T48" fmla="*/ 62 w 176"/>
                <a:gd name="T49" fmla="*/ 67 h 90"/>
                <a:gd name="T50" fmla="*/ 62 w 176"/>
                <a:gd name="T51" fmla="*/ 65 h 90"/>
                <a:gd name="T52" fmla="*/ 62 w 176"/>
                <a:gd name="T53" fmla="*/ 57 h 90"/>
                <a:gd name="T54" fmla="*/ 70 w 176"/>
                <a:gd name="T55" fmla="*/ 51 h 90"/>
                <a:gd name="T56" fmla="*/ 81 w 176"/>
                <a:gd name="T57" fmla="*/ 42 h 90"/>
                <a:gd name="T58" fmla="*/ 87 w 176"/>
                <a:gd name="T59" fmla="*/ 45 h 90"/>
                <a:gd name="T60" fmla="*/ 91 w 176"/>
                <a:gd name="T61" fmla="*/ 45 h 90"/>
                <a:gd name="T62" fmla="*/ 91 w 176"/>
                <a:gd name="T63" fmla="*/ 49 h 90"/>
                <a:gd name="T64" fmla="*/ 96 w 176"/>
                <a:gd name="T65" fmla="*/ 57 h 90"/>
                <a:gd name="T66" fmla="*/ 97 w 176"/>
                <a:gd name="T67" fmla="*/ 78 h 90"/>
                <a:gd name="T68" fmla="*/ 96 w 176"/>
                <a:gd name="T69" fmla="*/ 80 h 90"/>
                <a:gd name="T70" fmla="*/ 97 w 176"/>
                <a:gd name="T71" fmla="*/ 86 h 90"/>
                <a:gd name="T72" fmla="*/ 99 w 176"/>
                <a:gd name="T73" fmla="*/ 90 h 90"/>
                <a:gd name="T74" fmla="*/ 113 w 176"/>
                <a:gd name="T75" fmla="*/ 84 h 90"/>
                <a:gd name="T76" fmla="*/ 135 w 176"/>
                <a:gd name="T77" fmla="*/ 70 h 90"/>
                <a:gd name="T78" fmla="*/ 149 w 176"/>
                <a:gd name="T79" fmla="*/ 74 h 90"/>
                <a:gd name="T80" fmla="*/ 156 w 176"/>
                <a:gd name="T81" fmla="*/ 73 h 90"/>
                <a:gd name="T82" fmla="*/ 161 w 176"/>
                <a:gd name="T83" fmla="*/ 71 h 90"/>
                <a:gd name="T84" fmla="*/ 174 w 176"/>
                <a:gd name="T85" fmla="*/ 75 h 90"/>
                <a:gd name="T86" fmla="*/ 173 w 176"/>
                <a:gd name="T87" fmla="*/ 67 h 90"/>
                <a:gd name="T88" fmla="*/ 171 w 176"/>
                <a:gd name="T89" fmla="*/ 50 h 90"/>
                <a:gd name="T90" fmla="*/ 165 w 176"/>
                <a:gd name="T91" fmla="*/ 45 h 90"/>
                <a:gd name="T92" fmla="*/ 160 w 176"/>
                <a:gd name="T93" fmla="*/ 42 h 90"/>
                <a:gd name="T94" fmla="*/ 154 w 176"/>
                <a:gd name="T95" fmla="*/ 43 h 90"/>
                <a:gd name="T96" fmla="*/ 149 w 176"/>
                <a:gd name="T97" fmla="*/ 44 h 90"/>
                <a:gd name="T98" fmla="*/ 144 w 176"/>
                <a:gd name="T99" fmla="*/ 31 h 90"/>
                <a:gd name="T100" fmla="*/ 139 w 176"/>
                <a:gd name="T101" fmla="*/ 33 h 90"/>
                <a:gd name="T102" fmla="*/ 141 w 176"/>
                <a:gd name="T103" fmla="*/ 24 h 90"/>
                <a:gd name="T104" fmla="*/ 137 w 176"/>
                <a:gd name="T105" fmla="*/ 22 h 90"/>
                <a:gd name="T106" fmla="*/ 120 w 176"/>
                <a:gd name="T107" fmla="*/ 23 h 90"/>
                <a:gd name="T108" fmla="*/ 110 w 176"/>
                <a:gd name="T109" fmla="*/ 27 h 90"/>
                <a:gd name="T110" fmla="*/ 100 w 176"/>
                <a:gd name="T111" fmla="*/ 26 h 90"/>
                <a:gd name="T112" fmla="*/ 97 w 176"/>
                <a:gd name="T113" fmla="*/ 21 h 90"/>
                <a:gd name="T114" fmla="*/ 95 w 176"/>
                <a:gd name="T115" fmla="*/ 20 h 90"/>
                <a:gd name="T116" fmla="*/ 84 w 176"/>
                <a:gd name="T117" fmla="*/ 22 h 90"/>
                <a:gd name="T118" fmla="*/ 83 w 176"/>
                <a:gd name="T119" fmla="*/ 22 h 90"/>
                <a:gd name="T120" fmla="*/ 70 w 176"/>
                <a:gd name="T121" fmla="*/ 19 h 90"/>
                <a:gd name="T122" fmla="*/ 40 w 176"/>
                <a:gd name="T123" fmla="*/ 19 h 90"/>
                <a:gd name="T124" fmla="*/ 40 w 176"/>
                <a:gd name="T125" fmla="*/ 0 h 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 h="90">
                  <a:moveTo>
                    <a:pt x="39" y="0"/>
                  </a:moveTo>
                  <a:cubicBezTo>
                    <a:pt x="39" y="1"/>
                    <a:pt x="38" y="2"/>
                    <a:pt x="38" y="3"/>
                  </a:cubicBezTo>
                  <a:cubicBezTo>
                    <a:pt x="37" y="4"/>
                    <a:pt x="37" y="4"/>
                    <a:pt x="37" y="4"/>
                  </a:cubicBezTo>
                  <a:cubicBezTo>
                    <a:pt x="36" y="4"/>
                    <a:pt x="36" y="4"/>
                    <a:pt x="36" y="4"/>
                  </a:cubicBezTo>
                  <a:cubicBezTo>
                    <a:pt x="35" y="4"/>
                    <a:pt x="35" y="4"/>
                    <a:pt x="35" y="4"/>
                  </a:cubicBezTo>
                  <a:cubicBezTo>
                    <a:pt x="35" y="4"/>
                    <a:pt x="35" y="4"/>
                    <a:pt x="35" y="4"/>
                  </a:cubicBezTo>
                  <a:cubicBezTo>
                    <a:pt x="35" y="5"/>
                    <a:pt x="35" y="5"/>
                    <a:pt x="35" y="5"/>
                  </a:cubicBezTo>
                  <a:cubicBezTo>
                    <a:pt x="35" y="5"/>
                    <a:pt x="35" y="6"/>
                    <a:pt x="35" y="6"/>
                  </a:cubicBezTo>
                  <a:cubicBezTo>
                    <a:pt x="34" y="19"/>
                    <a:pt x="34" y="19"/>
                    <a:pt x="34" y="19"/>
                  </a:cubicBezTo>
                  <a:cubicBezTo>
                    <a:pt x="30" y="8"/>
                    <a:pt x="30" y="8"/>
                    <a:pt x="30" y="8"/>
                  </a:cubicBezTo>
                  <a:cubicBezTo>
                    <a:pt x="29" y="9"/>
                    <a:pt x="29" y="9"/>
                    <a:pt x="29" y="9"/>
                  </a:cubicBezTo>
                  <a:cubicBezTo>
                    <a:pt x="29" y="9"/>
                    <a:pt x="29" y="9"/>
                    <a:pt x="29" y="9"/>
                  </a:cubicBezTo>
                  <a:cubicBezTo>
                    <a:pt x="28" y="15"/>
                    <a:pt x="27" y="17"/>
                    <a:pt x="25" y="18"/>
                  </a:cubicBezTo>
                  <a:cubicBezTo>
                    <a:pt x="24" y="18"/>
                    <a:pt x="24" y="18"/>
                    <a:pt x="24" y="18"/>
                  </a:cubicBezTo>
                  <a:cubicBezTo>
                    <a:pt x="24" y="18"/>
                    <a:pt x="23" y="18"/>
                    <a:pt x="23" y="18"/>
                  </a:cubicBezTo>
                  <a:cubicBezTo>
                    <a:pt x="22" y="18"/>
                    <a:pt x="22" y="18"/>
                    <a:pt x="21" y="18"/>
                  </a:cubicBezTo>
                  <a:cubicBezTo>
                    <a:pt x="20" y="18"/>
                    <a:pt x="20" y="18"/>
                    <a:pt x="20" y="18"/>
                  </a:cubicBezTo>
                  <a:cubicBezTo>
                    <a:pt x="19" y="18"/>
                    <a:pt x="18" y="18"/>
                    <a:pt x="16" y="18"/>
                  </a:cubicBezTo>
                  <a:cubicBezTo>
                    <a:pt x="14" y="17"/>
                    <a:pt x="11" y="17"/>
                    <a:pt x="8" y="16"/>
                  </a:cubicBezTo>
                  <a:cubicBezTo>
                    <a:pt x="7" y="16"/>
                    <a:pt x="7" y="16"/>
                    <a:pt x="6" y="16"/>
                  </a:cubicBezTo>
                  <a:cubicBezTo>
                    <a:pt x="6" y="16"/>
                    <a:pt x="6" y="16"/>
                    <a:pt x="6" y="16"/>
                  </a:cubicBezTo>
                  <a:cubicBezTo>
                    <a:pt x="5" y="16"/>
                    <a:pt x="5" y="16"/>
                    <a:pt x="5" y="16"/>
                  </a:cubicBezTo>
                  <a:cubicBezTo>
                    <a:pt x="5" y="17"/>
                    <a:pt x="5" y="17"/>
                    <a:pt x="5" y="17"/>
                  </a:cubicBezTo>
                  <a:cubicBezTo>
                    <a:pt x="5" y="17"/>
                    <a:pt x="4" y="17"/>
                    <a:pt x="4" y="17"/>
                  </a:cubicBezTo>
                  <a:cubicBezTo>
                    <a:pt x="3" y="18"/>
                    <a:pt x="3" y="18"/>
                    <a:pt x="3" y="18"/>
                  </a:cubicBezTo>
                  <a:cubicBezTo>
                    <a:pt x="1" y="19"/>
                    <a:pt x="1" y="19"/>
                    <a:pt x="0" y="21"/>
                  </a:cubicBezTo>
                  <a:cubicBezTo>
                    <a:pt x="1" y="22"/>
                    <a:pt x="1" y="22"/>
                    <a:pt x="1" y="22"/>
                  </a:cubicBezTo>
                  <a:cubicBezTo>
                    <a:pt x="1" y="22"/>
                    <a:pt x="2" y="23"/>
                    <a:pt x="2" y="24"/>
                  </a:cubicBezTo>
                  <a:cubicBezTo>
                    <a:pt x="3" y="24"/>
                    <a:pt x="3" y="24"/>
                    <a:pt x="3" y="24"/>
                  </a:cubicBezTo>
                  <a:cubicBezTo>
                    <a:pt x="3" y="24"/>
                    <a:pt x="4" y="25"/>
                    <a:pt x="4" y="25"/>
                  </a:cubicBezTo>
                  <a:cubicBezTo>
                    <a:pt x="6" y="27"/>
                    <a:pt x="6" y="27"/>
                    <a:pt x="9" y="27"/>
                  </a:cubicBezTo>
                  <a:cubicBezTo>
                    <a:pt x="10" y="27"/>
                    <a:pt x="11" y="27"/>
                    <a:pt x="12" y="28"/>
                  </a:cubicBezTo>
                  <a:cubicBezTo>
                    <a:pt x="15" y="28"/>
                    <a:pt x="18" y="29"/>
                    <a:pt x="19" y="32"/>
                  </a:cubicBezTo>
                  <a:cubicBezTo>
                    <a:pt x="19" y="32"/>
                    <a:pt x="19" y="33"/>
                    <a:pt x="19" y="34"/>
                  </a:cubicBezTo>
                  <a:cubicBezTo>
                    <a:pt x="20" y="35"/>
                    <a:pt x="19" y="37"/>
                    <a:pt x="18" y="40"/>
                  </a:cubicBezTo>
                  <a:cubicBezTo>
                    <a:pt x="18" y="44"/>
                    <a:pt x="18" y="44"/>
                    <a:pt x="18" y="44"/>
                  </a:cubicBezTo>
                  <a:cubicBezTo>
                    <a:pt x="18" y="44"/>
                    <a:pt x="18" y="44"/>
                    <a:pt x="18" y="45"/>
                  </a:cubicBezTo>
                  <a:cubicBezTo>
                    <a:pt x="19" y="45"/>
                    <a:pt x="19" y="45"/>
                    <a:pt x="19" y="45"/>
                  </a:cubicBezTo>
                  <a:cubicBezTo>
                    <a:pt x="20" y="47"/>
                    <a:pt x="20" y="47"/>
                    <a:pt x="20" y="47"/>
                  </a:cubicBezTo>
                  <a:cubicBezTo>
                    <a:pt x="21" y="48"/>
                    <a:pt x="22" y="48"/>
                    <a:pt x="22" y="49"/>
                  </a:cubicBezTo>
                  <a:cubicBezTo>
                    <a:pt x="26" y="53"/>
                    <a:pt x="20" y="61"/>
                    <a:pt x="16" y="66"/>
                  </a:cubicBezTo>
                  <a:cubicBezTo>
                    <a:pt x="16" y="67"/>
                    <a:pt x="15" y="67"/>
                    <a:pt x="15" y="68"/>
                  </a:cubicBezTo>
                  <a:cubicBezTo>
                    <a:pt x="13" y="70"/>
                    <a:pt x="13" y="70"/>
                    <a:pt x="13" y="70"/>
                  </a:cubicBezTo>
                  <a:cubicBezTo>
                    <a:pt x="13" y="71"/>
                    <a:pt x="12" y="72"/>
                    <a:pt x="11" y="73"/>
                  </a:cubicBezTo>
                  <a:cubicBezTo>
                    <a:pt x="11" y="74"/>
                    <a:pt x="11" y="75"/>
                    <a:pt x="11" y="76"/>
                  </a:cubicBezTo>
                  <a:cubicBezTo>
                    <a:pt x="11" y="77"/>
                    <a:pt x="11" y="79"/>
                    <a:pt x="10" y="80"/>
                  </a:cubicBezTo>
                  <a:cubicBezTo>
                    <a:pt x="10" y="80"/>
                    <a:pt x="10" y="81"/>
                    <a:pt x="10" y="81"/>
                  </a:cubicBezTo>
                  <a:cubicBezTo>
                    <a:pt x="13" y="83"/>
                    <a:pt x="13" y="83"/>
                    <a:pt x="13" y="83"/>
                  </a:cubicBezTo>
                  <a:cubicBezTo>
                    <a:pt x="13" y="83"/>
                    <a:pt x="13" y="83"/>
                    <a:pt x="13" y="83"/>
                  </a:cubicBezTo>
                  <a:cubicBezTo>
                    <a:pt x="14" y="83"/>
                    <a:pt x="14" y="83"/>
                    <a:pt x="14" y="83"/>
                  </a:cubicBezTo>
                  <a:cubicBezTo>
                    <a:pt x="16" y="81"/>
                    <a:pt x="17" y="80"/>
                    <a:pt x="18" y="80"/>
                  </a:cubicBezTo>
                  <a:cubicBezTo>
                    <a:pt x="19" y="79"/>
                    <a:pt x="20" y="79"/>
                    <a:pt x="21" y="78"/>
                  </a:cubicBezTo>
                  <a:cubicBezTo>
                    <a:pt x="23" y="78"/>
                    <a:pt x="25" y="77"/>
                    <a:pt x="27" y="76"/>
                  </a:cubicBezTo>
                  <a:cubicBezTo>
                    <a:pt x="28" y="76"/>
                    <a:pt x="28" y="76"/>
                    <a:pt x="29" y="75"/>
                  </a:cubicBezTo>
                  <a:cubicBezTo>
                    <a:pt x="30" y="76"/>
                    <a:pt x="30" y="76"/>
                    <a:pt x="30" y="76"/>
                  </a:cubicBezTo>
                  <a:cubicBezTo>
                    <a:pt x="29" y="75"/>
                    <a:pt x="29" y="75"/>
                    <a:pt x="29" y="75"/>
                  </a:cubicBezTo>
                  <a:cubicBezTo>
                    <a:pt x="29" y="75"/>
                    <a:pt x="30" y="75"/>
                    <a:pt x="30" y="74"/>
                  </a:cubicBezTo>
                  <a:cubicBezTo>
                    <a:pt x="32" y="74"/>
                    <a:pt x="33" y="74"/>
                    <a:pt x="34" y="74"/>
                  </a:cubicBezTo>
                  <a:cubicBezTo>
                    <a:pt x="35" y="74"/>
                    <a:pt x="36" y="74"/>
                    <a:pt x="37" y="75"/>
                  </a:cubicBezTo>
                  <a:cubicBezTo>
                    <a:pt x="38" y="75"/>
                    <a:pt x="38" y="76"/>
                    <a:pt x="38" y="76"/>
                  </a:cubicBezTo>
                  <a:cubicBezTo>
                    <a:pt x="40" y="78"/>
                    <a:pt x="40" y="78"/>
                    <a:pt x="40" y="78"/>
                  </a:cubicBezTo>
                  <a:cubicBezTo>
                    <a:pt x="41" y="78"/>
                    <a:pt x="42" y="79"/>
                    <a:pt x="42" y="79"/>
                  </a:cubicBezTo>
                  <a:cubicBezTo>
                    <a:pt x="42" y="79"/>
                    <a:pt x="42" y="79"/>
                    <a:pt x="42" y="79"/>
                  </a:cubicBezTo>
                  <a:cubicBezTo>
                    <a:pt x="43" y="78"/>
                    <a:pt x="43" y="78"/>
                    <a:pt x="43" y="78"/>
                  </a:cubicBezTo>
                  <a:cubicBezTo>
                    <a:pt x="43" y="77"/>
                    <a:pt x="43" y="77"/>
                    <a:pt x="43" y="77"/>
                  </a:cubicBezTo>
                  <a:cubicBezTo>
                    <a:pt x="43" y="77"/>
                    <a:pt x="43" y="76"/>
                    <a:pt x="43" y="75"/>
                  </a:cubicBezTo>
                  <a:cubicBezTo>
                    <a:pt x="44" y="74"/>
                    <a:pt x="44" y="74"/>
                    <a:pt x="44" y="74"/>
                  </a:cubicBezTo>
                  <a:cubicBezTo>
                    <a:pt x="44" y="73"/>
                    <a:pt x="44" y="71"/>
                    <a:pt x="45" y="69"/>
                  </a:cubicBezTo>
                  <a:cubicBezTo>
                    <a:pt x="45" y="69"/>
                    <a:pt x="45" y="69"/>
                    <a:pt x="45" y="69"/>
                  </a:cubicBezTo>
                  <a:cubicBezTo>
                    <a:pt x="46" y="67"/>
                    <a:pt x="48" y="66"/>
                    <a:pt x="51" y="66"/>
                  </a:cubicBezTo>
                  <a:cubicBezTo>
                    <a:pt x="53" y="66"/>
                    <a:pt x="55" y="66"/>
                    <a:pt x="56" y="66"/>
                  </a:cubicBezTo>
                  <a:cubicBezTo>
                    <a:pt x="57" y="67"/>
                    <a:pt x="57" y="67"/>
                    <a:pt x="58" y="67"/>
                  </a:cubicBezTo>
                  <a:cubicBezTo>
                    <a:pt x="59" y="67"/>
                    <a:pt x="60" y="67"/>
                    <a:pt x="61" y="67"/>
                  </a:cubicBezTo>
                  <a:cubicBezTo>
                    <a:pt x="62" y="67"/>
                    <a:pt x="62" y="67"/>
                    <a:pt x="62" y="67"/>
                  </a:cubicBezTo>
                  <a:cubicBezTo>
                    <a:pt x="62" y="67"/>
                    <a:pt x="62" y="67"/>
                    <a:pt x="62" y="67"/>
                  </a:cubicBezTo>
                  <a:cubicBezTo>
                    <a:pt x="62" y="67"/>
                    <a:pt x="62" y="67"/>
                    <a:pt x="62" y="67"/>
                  </a:cubicBezTo>
                  <a:cubicBezTo>
                    <a:pt x="63" y="66"/>
                    <a:pt x="63" y="66"/>
                    <a:pt x="63" y="66"/>
                  </a:cubicBezTo>
                  <a:cubicBezTo>
                    <a:pt x="62" y="65"/>
                    <a:pt x="62" y="65"/>
                    <a:pt x="62" y="65"/>
                  </a:cubicBezTo>
                  <a:cubicBezTo>
                    <a:pt x="62" y="65"/>
                    <a:pt x="62" y="65"/>
                    <a:pt x="62" y="65"/>
                  </a:cubicBezTo>
                  <a:cubicBezTo>
                    <a:pt x="61" y="64"/>
                    <a:pt x="60" y="63"/>
                    <a:pt x="60" y="62"/>
                  </a:cubicBezTo>
                  <a:cubicBezTo>
                    <a:pt x="60" y="61"/>
                    <a:pt x="60" y="59"/>
                    <a:pt x="62" y="57"/>
                  </a:cubicBezTo>
                  <a:cubicBezTo>
                    <a:pt x="63" y="56"/>
                    <a:pt x="65" y="55"/>
                    <a:pt x="66" y="54"/>
                  </a:cubicBezTo>
                  <a:cubicBezTo>
                    <a:pt x="67" y="53"/>
                    <a:pt x="68" y="52"/>
                    <a:pt x="69" y="51"/>
                  </a:cubicBezTo>
                  <a:cubicBezTo>
                    <a:pt x="70" y="51"/>
                    <a:pt x="70" y="51"/>
                    <a:pt x="70" y="51"/>
                  </a:cubicBezTo>
                  <a:cubicBezTo>
                    <a:pt x="69" y="50"/>
                    <a:pt x="69" y="50"/>
                    <a:pt x="69" y="50"/>
                  </a:cubicBezTo>
                  <a:cubicBezTo>
                    <a:pt x="71" y="48"/>
                    <a:pt x="73" y="46"/>
                    <a:pt x="75" y="44"/>
                  </a:cubicBezTo>
                  <a:cubicBezTo>
                    <a:pt x="77" y="43"/>
                    <a:pt x="79" y="43"/>
                    <a:pt x="81" y="42"/>
                  </a:cubicBezTo>
                  <a:cubicBezTo>
                    <a:pt x="82" y="42"/>
                    <a:pt x="82" y="42"/>
                    <a:pt x="82" y="42"/>
                  </a:cubicBezTo>
                  <a:cubicBezTo>
                    <a:pt x="84" y="43"/>
                    <a:pt x="84" y="43"/>
                    <a:pt x="84" y="43"/>
                  </a:cubicBezTo>
                  <a:cubicBezTo>
                    <a:pt x="85" y="43"/>
                    <a:pt x="86" y="44"/>
                    <a:pt x="87" y="45"/>
                  </a:cubicBezTo>
                  <a:cubicBezTo>
                    <a:pt x="87" y="45"/>
                    <a:pt x="88" y="46"/>
                    <a:pt x="88" y="46"/>
                  </a:cubicBezTo>
                  <a:cubicBezTo>
                    <a:pt x="92" y="43"/>
                    <a:pt x="92" y="43"/>
                    <a:pt x="92" y="43"/>
                  </a:cubicBezTo>
                  <a:cubicBezTo>
                    <a:pt x="91" y="45"/>
                    <a:pt x="91" y="45"/>
                    <a:pt x="91" y="45"/>
                  </a:cubicBezTo>
                  <a:cubicBezTo>
                    <a:pt x="92" y="44"/>
                    <a:pt x="92" y="44"/>
                    <a:pt x="92" y="44"/>
                  </a:cubicBezTo>
                  <a:cubicBezTo>
                    <a:pt x="90" y="48"/>
                    <a:pt x="90" y="48"/>
                    <a:pt x="90" y="48"/>
                  </a:cubicBezTo>
                  <a:cubicBezTo>
                    <a:pt x="91" y="49"/>
                    <a:pt x="91" y="49"/>
                    <a:pt x="91" y="49"/>
                  </a:cubicBezTo>
                  <a:cubicBezTo>
                    <a:pt x="91" y="50"/>
                    <a:pt x="92" y="50"/>
                    <a:pt x="92" y="51"/>
                  </a:cubicBezTo>
                  <a:cubicBezTo>
                    <a:pt x="93" y="52"/>
                    <a:pt x="93" y="54"/>
                    <a:pt x="93" y="56"/>
                  </a:cubicBezTo>
                  <a:cubicBezTo>
                    <a:pt x="94" y="56"/>
                    <a:pt x="95" y="56"/>
                    <a:pt x="96" y="57"/>
                  </a:cubicBezTo>
                  <a:cubicBezTo>
                    <a:pt x="98" y="58"/>
                    <a:pt x="99" y="59"/>
                    <a:pt x="99" y="61"/>
                  </a:cubicBezTo>
                  <a:cubicBezTo>
                    <a:pt x="99" y="63"/>
                    <a:pt x="98" y="66"/>
                    <a:pt x="98" y="68"/>
                  </a:cubicBezTo>
                  <a:cubicBezTo>
                    <a:pt x="98" y="72"/>
                    <a:pt x="97" y="75"/>
                    <a:pt x="97" y="78"/>
                  </a:cubicBezTo>
                  <a:cubicBezTo>
                    <a:pt x="103" y="80"/>
                    <a:pt x="103" y="80"/>
                    <a:pt x="103" y="80"/>
                  </a:cubicBezTo>
                  <a:cubicBezTo>
                    <a:pt x="96" y="80"/>
                    <a:pt x="96" y="80"/>
                    <a:pt x="96" y="80"/>
                  </a:cubicBezTo>
                  <a:cubicBezTo>
                    <a:pt x="96" y="80"/>
                    <a:pt x="96" y="80"/>
                    <a:pt x="96" y="80"/>
                  </a:cubicBezTo>
                  <a:cubicBezTo>
                    <a:pt x="96" y="81"/>
                    <a:pt x="96" y="81"/>
                    <a:pt x="96" y="82"/>
                  </a:cubicBezTo>
                  <a:cubicBezTo>
                    <a:pt x="96" y="82"/>
                    <a:pt x="96" y="83"/>
                    <a:pt x="96" y="83"/>
                  </a:cubicBezTo>
                  <a:cubicBezTo>
                    <a:pt x="96" y="84"/>
                    <a:pt x="96" y="85"/>
                    <a:pt x="97" y="86"/>
                  </a:cubicBezTo>
                  <a:cubicBezTo>
                    <a:pt x="97" y="87"/>
                    <a:pt x="97" y="87"/>
                    <a:pt x="98" y="88"/>
                  </a:cubicBezTo>
                  <a:cubicBezTo>
                    <a:pt x="98" y="88"/>
                    <a:pt x="98" y="88"/>
                    <a:pt x="98" y="88"/>
                  </a:cubicBezTo>
                  <a:cubicBezTo>
                    <a:pt x="98" y="89"/>
                    <a:pt x="98" y="89"/>
                    <a:pt x="99" y="90"/>
                  </a:cubicBezTo>
                  <a:cubicBezTo>
                    <a:pt x="110" y="86"/>
                    <a:pt x="110" y="86"/>
                    <a:pt x="110" y="86"/>
                  </a:cubicBezTo>
                  <a:cubicBezTo>
                    <a:pt x="110" y="85"/>
                    <a:pt x="110" y="85"/>
                    <a:pt x="110" y="85"/>
                  </a:cubicBezTo>
                  <a:cubicBezTo>
                    <a:pt x="113" y="84"/>
                    <a:pt x="113" y="84"/>
                    <a:pt x="113" y="84"/>
                  </a:cubicBezTo>
                  <a:cubicBezTo>
                    <a:pt x="116" y="84"/>
                    <a:pt x="119" y="83"/>
                    <a:pt x="121" y="81"/>
                  </a:cubicBezTo>
                  <a:cubicBezTo>
                    <a:pt x="124" y="77"/>
                    <a:pt x="128" y="74"/>
                    <a:pt x="132" y="71"/>
                  </a:cubicBezTo>
                  <a:cubicBezTo>
                    <a:pt x="133" y="71"/>
                    <a:pt x="134" y="71"/>
                    <a:pt x="135" y="70"/>
                  </a:cubicBezTo>
                  <a:cubicBezTo>
                    <a:pt x="136" y="70"/>
                    <a:pt x="137" y="70"/>
                    <a:pt x="139" y="70"/>
                  </a:cubicBezTo>
                  <a:cubicBezTo>
                    <a:pt x="141" y="70"/>
                    <a:pt x="143" y="70"/>
                    <a:pt x="145" y="72"/>
                  </a:cubicBezTo>
                  <a:cubicBezTo>
                    <a:pt x="147" y="72"/>
                    <a:pt x="148" y="73"/>
                    <a:pt x="149" y="74"/>
                  </a:cubicBezTo>
                  <a:cubicBezTo>
                    <a:pt x="150" y="75"/>
                    <a:pt x="150" y="75"/>
                    <a:pt x="150" y="75"/>
                  </a:cubicBezTo>
                  <a:cubicBezTo>
                    <a:pt x="152" y="74"/>
                    <a:pt x="154" y="73"/>
                    <a:pt x="155" y="73"/>
                  </a:cubicBezTo>
                  <a:cubicBezTo>
                    <a:pt x="156" y="73"/>
                    <a:pt x="156" y="73"/>
                    <a:pt x="156" y="73"/>
                  </a:cubicBezTo>
                  <a:cubicBezTo>
                    <a:pt x="156" y="72"/>
                    <a:pt x="157" y="72"/>
                    <a:pt x="158" y="71"/>
                  </a:cubicBezTo>
                  <a:cubicBezTo>
                    <a:pt x="159" y="71"/>
                    <a:pt x="160" y="71"/>
                    <a:pt x="161" y="71"/>
                  </a:cubicBezTo>
                  <a:cubicBezTo>
                    <a:pt x="161" y="71"/>
                    <a:pt x="161" y="71"/>
                    <a:pt x="161" y="71"/>
                  </a:cubicBezTo>
                  <a:cubicBezTo>
                    <a:pt x="162" y="71"/>
                    <a:pt x="162" y="71"/>
                    <a:pt x="163" y="71"/>
                  </a:cubicBezTo>
                  <a:cubicBezTo>
                    <a:pt x="165" y="71"/>
                    <a:pt x="168" y="72"/>
                    <a:pt x="170" y="73"/>
                  </a:cubicBezTo>
                  <a:cubicBezTo>
                    <a:pt x="174" y="75"/>
                    <a:pt x="174" y="75"/>
                    <a:pt x="174" y="75"/>
                  </a:cubicBezTo>
                  <a:cubicBezTo>
                    <a:pt x="175" y="75"/>
                    <a:pt x="176" y="74"/>
                    <a:pt x="176" y="74"/>
                  </a:cubicBezTo>
                  <a:cubicBezTo>
                    <a:pt x="175" y="73"/>
                    <a:pt x="174" y="71"/>
                    <a:pt x="174" y="69"/>
                  </a:cubicBezTo>
                  <a:cubicBezTo>
                    <a:pt x="173" y="67"/>
                    <a:pt x="173" y="67"/>
                    <a:pt x="173" y="67"/>
                  </a:cubicBezTo>
                  <a:cubicBezTo>
                    <a:pt x="173" y="66"/>
                    <a:pt x="173" y="65"/>
                    <a:pt x="173" y="64"/>
                  </a:cubicBezTo>
                  <a:cubicBezTo>
                    <a:pt x="173" y="62"/>
                    <a:pt x="173" y="62"/>
                    <a:pt x="173" y="62"/>
                  </a:cubicBezTo>
                  <a:cubicBezTo>
                    <a:pt x="172" y="58"/>
                    <a:pt x="172" y="54"/>
                    <a:pt x="171" y="50"/>
                  </a:cubicBezTo>
                  <a:cubicBezTo>
                    <a:pt x="171" y="49"/>
                    <a:pt x="171" y="49"/>
                    <a:pt x="169" y="47"/>
                  </a:cubicBezTo>
                  <a:cubicBezTo>
                    <a:pt x="167" y="47"/>
                    <a:pt x="167" y="47"/>
                    <a:pt x="167" y="47"/>
                  </a:cubicBezTo>
                  <a:cubicBezTo>
                    <a:pt x="167" y="46"/>
                    <a:pt x="166" y="46"/>
                    <a:pt x="165" y="45"/>
                  </a:cubicBezTo>
                  <a:cubicBezTo>
                    <a:pt x="164" y="44"/>
                    <a:pt x="164" y="44"/>
                    <a:pt x="164" y="44"/>
                  </a:cubicBezTo>
                  <a:cubicBezTo>
                    <a:pt x="164" y="44"/>
                    <a:pt x="163" y="44"/>
                    <a:pt x="163" y="43"/>
                  </a:cubicBezTo>
                  <a:cubicBezTo>
                    <a:pt x="161" y="43"/>
                    <a:pt x="160" y="42"/>
                    <a:pt x="160" y="42"/>
                  </a:cubicBezTo>
                  <a:cubicBezTo>
                    <a:pt x="160" y="42"/>
                    <a:pt x="159" y="42"/>
                    <a:pt x="159" y="42"/>
                  </a:cubicBezTo>
                  <a:cubicBezTo>
                    <a:pt x="158" y="42"/>
                    <a:pt x="158" y="42"/>
                    <a:pt x="158" y="42"/>
                  </a:cubicBezTo>
                  <a:cubicBezTo>
                    <a:pt x="157" y="42"/>
                    <a:pt x="156" y="43"/>
                    <a:pt x="154" y="43"/>
                  </a:cubicBezTo>
                  <a:cubicBezTo>
                    <a:pt x="153" y="43"/>
                    <a:pt x="153" y="43"/>
                    <a:pt x="153" y="43"/>
                  </a:cubicBezTo>
                  <a:cubicBezTo>
                    <a:pt x="153" y="43"/>
                    <a:pt x="152" y="44"/>
                    <a:pt x="151" y="44"/>
                  </a:cubicBezTo>
                  <a:cubicBezTo>
                    <a:pt x="150" y="44"/>
                    <a:pt x="150" y="44"/>
                    <a:pt x="149" y="44"/>
                  </a:cubicBezTo>
                  <a:cubicBezTo>
                    <a:pt x="148" y="43"/>
                    <a:pt x="147" y="43"/>
                    <a:pt x="146" y="41"/>
                  </a:cubicBezTo>
                  <a:cubicBezTo>
                    <a:pt x="145" y="41"/>
                    <a:pt x="145" y="39"/>
                    <a:pt x="144" y="37"/>
                  </a:cubicBezTo>
                  <a:cubicBezTo>
                    <a:pt x="144" y="36"/>
                    <a:pt x="143" y="34"/>
                    <a:pt x="144" y="31"/>
                  </a:cubicBezTo>
                  <a:cubicBezTo>
                    <a:pt x="144" y="31"/>
                    <a:pt x="145" y="31"/>
                    <a:pt x="145" y="30"/>
                  </a:cubicBezTo>
                  <a:cubicBezTo>
                    <a:pt x="145" y="30"/>
                    <a:pt x="145" y="30"/>
                    <a:pt x="145" y="30"/>
                  </a:cubicBezTo>
                  <a:cubicBezTo>
                    <a:pt x="139" y="33"/>
                    <a:pt x="139" y="33"/>
                    <a:pt x="139" y="33"/>
                  </a:cubicBezTo>
                  <a:cubicBezTo>
                    <a:pt x="144" y="29"/>
                    <a:pt x="144" y="29"/>
                    <a:pt x="144" y="29"/>
                  </a:cubicBezTo>
                  <a:cubicBezTo>
                    <a:pt x="143" y="28"/>
                    <a:pt x="142" y="26"/>
                    <a:pt x="142" y="25"/>
                  </a:cubicBezTo>
                  <a:cubicBezTo>
                    <a:pt x="141" y="24"/>
                    <a:pt x="141" y="24"/>
                    <a:pt x="141" y="24"/>
                  </a:cubicBezTo>
                  <a:cubicBezTo>
                    <a:pt x="142" y="21"/>
                    <a:pt x="142" y="21"/>
                    <a:pt x="142" y="21"/>
                  </a:cubicBezTo>
                  <a:cubicBezTo>
                    <a:pt x="141" y="21"/>
                    <a:pt x="140" y="22"/>
                    <a:pt x="139" y="22"/>
                  </a:cubicBezTo>
                  <a:cubicBezTo>
                    <a:pt x="137" y="22"/>
                    <a:pt x="137" y="22"/>
                    <a:pt x="137" y="22"/>
                  </a:cubicBezTo>
                  <a:cubicBezTo>
                    <a:pt x="135" y="22"/>
                    <a:pt x="134" y="22"/>
                    <a:pt x="133" y="22"/>
                  </a:cubicBezTo>
                  <a:cubicBezTo>
                    <a:pt x="130" y="23"/>
                    <a:pt x="128" y="23"/>
                    <a:pt x="126" y="23"/>
                  </a:cubicBezTo>
                  <a:cubicBezTo>
                    <a:pt x="120" y="23"/>
                    <a:pt x="120" y="23"/>
                    <a:pt x="120" y="23"/>
                  </a:cubicBezTo>
                  <a:cubicBezTo>
                    <a:pt x="118" y="23"/>
                    <a:pt x="117" y="24"/>
                    <a:pt x="115" y="26"/>
                  </a:cubicBezTo>
                  <a:cubicBezTo>
                    <a:pt x="112" y="29"/>
                    <a:pt x="112" y="29"/>
                    <a:pt x="112" y="29"/>
                  </a:cubicBezTo>
                  <a:cubicBezTo>
                    <a:pt x="110" y="27"/>
                    <a:pt x="110" y="27"/>
                    <a:pt x="110" y="27"/>
                  </a:cubicBezTo>
                  <a:cubicBezTo>
                    <a:pt x="109" y="26"/>
                    <a:pt x="106" y="26"/>
                    <a:pt x="104" y="26"/>
                  </a:cubicBezTo>
                  <a:cubicBezTo>
                    <a:pt x="104" y="25"/>
                    <a:pt x="104" y="25"/>
                    <a:pt x="104" y="25"/>
                  </a:cubicBezTo>
                  <a:cubicBezTo>
                    <a:pt x="100" y="26"/>
                    <a:pt x="100" y="26"/>
                    <a:pt x="100" y="26"/>
                  </a:cubicBezTo>
                  <a:cubicBezTo>
                    <a:pt x="100" y="25"/>
                    <a:pt x="100" y="25"/>
                    <a:pt x="100" y="25"/>
                  </a:cubicBezTo>
                  <a:cubicBezTo>
                    <a:pt x="98" y="24"/>
                    <a:pt x="98" y="22"/>
                    <a:pt x="98" y="21"/>
                  </a:cubicBezTo>
                  <a:cubicBezTo>
                    <a:pt x="97" y="21"/>
                    <a:pt x="97" y="21"/>
                    <a:pt x="97" y="21"/>
                  </a:cubicBezTo>
                  <a:cubicBezTo>
                    <a:pt x="97" y="21"/>
                    <a:pt x="97" y="21"/>
                    <a:pt x="97" y="21"/>
                  </a:cubicBezTo>
                  <a:cubicBezTo>
                    <a:pt x="97" y="21"/>
                    <a:pt x="96" y="21"/>
                    <a:pt x="96" y="20"/>
                  </a:cubicBezTo>
                  <a:cubicBezTo>
                    <a:pt x="95" y="20"/>
                    <a:pt x="95" y="20"/>
                    <a:pt x="95" y="20"/>
                  </a:cubicBezTo>
                  <a:cubicBezTo>
                    <a:pt x="94" y="20"/>
                    <a:pt x="94" y="19"/>
                    <a:pt x="93" y="19"/>
                  </a:cubicBezTo>
                  <a:cubicBezTo>
                    <a:pt x="93" y="18"/>
                    <a:pt x="93" y="18"/>
                    <a:pt x="93" y="18"/>
                  </a:cubicBezTo>
                  <a:cubicBezTo>
                    <a:pt x="89" y="20"/>
                    <a:pt x="86" y="22"/>
                    <a:pt x="84" y="22"/>
                  </a:cubicBezTo>
                  <a:cubicBezTo>
                    <a:pt x="84" y="22"/>
                    <a:pt x="83" y="22"/>
                    <a:pt x="83" y="22"/>
                  </a:cubicBezTo>
                  <a:cubicBezTo>
                    <a:pt x="83" y="22"/>
                    <a:pt x="83" y="22"/>
                    <a:pt x="83" y="22"/>
                  </a:cubicBezTo>
                  <a:cubicBezTo>
                    <a:pt x="83" y="22"/>
                    <a:pt x="83" y="22"/>
                    <a:pt x="83" y="22"/>
                  </a:cubicBezTo>
                  <a:cubicBezTo>
                    <a:pt x="83" y="22"/>
                    <a:pt x="83" y="22"/>
                    <a:pt x="83" y="22"/>
                  </a:cubicBezTo>
                  <a:cubicBezTo>
                    <a:pt x="82" y="21"/>
                    <a:pt x="82" y="21"/>
                    <a:pt x="82" y="21"/>
                  </a:cubicBezTo>
                  <a:cubicBezTo>
                    <a:pt x="78" y="20"/>
                    <a:pt x="74" y="19"/>
                    <a:pt x="70" y="19"/>
                  </a:cubicBezTo>
                  <a:cubicBezTo>
                    <a:pt x="66" y="18"/>
                    <a:pt x="63" y="18"/>
                    <a:pt x="58" y="18"/>
                  </a:cubicBezTo>
                  <a:cubicBezTo>
                    <a:pt x="54" y="18"/>
                    <a:pt x="49" y="18"/>
                    <a:pt x="44" y="19"/>
                  </a:cubicBezTo>
                  <a:cubicBezTo>
                    <a:pt x="40" y="19"/>
                    <a:pt x="40" y="19"/>
                    <a:pt x="40" y="19"/>
                  </a:cubicBezTo>
                  <a:cubicBezTo>
                    <a:pt x="40" y="16"/>
                    <a:pt x="40" y="16"/>
                    <a:pt x="40" y="16"/>
                  </a:cubicBezTo>
                  <a:cubicBezTo>
                    <a:pt x="40" y="13"/>
                    <a:pt x="40" y="10"/>
                    <a:pt x="40" y="7"/>
                  </a:cubicBezTo>
                  <a:cubicBezTo>
                    <a:pt x="40" y="0"/>
                    <a:pt x="40" y="0"/>
                    <a:pt x="40" y="0"/>
                  </a:cubicBezTo>
                  <a:cubicBezTo>
                    <a:pt x="40" y="0"/>
                    <a:pt x="40" y="0"/>
                    <a:pt x="40" y="0"/>
                  </a:cubicBezTo>
                  <a:cubicBezTo>
                    <a:pt x="40"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Freeform 1538"/>
            <p:cNvSpPr/>
            <p:nvPr/>
          </p:nvSpPr>
          <p:spPr bwMode="auto">
            <a:xfrm>
              <a:off x="570493" y="1676580"/>
              <a:ext cx="97991" cy="65775"/>
            </a:xfrm>
            <a:custGeom>
              <a:gdLst>
                <a:gd name="T0" fmla="*/ 27 w 31"/>
                <a:gd name="T1" fmla="*/ 0 h 21"/>
                <a:gd name="T2" fmla="*/ 26 w 31"/>
                <a:gd name="T3" fmla="*/ 0 h 21"/>
                <a:gd name="T4" fmla="*/ 26 w 31"/>
                <a:gd name="T5" fmla="*/ 0 h 21"/>
                <a:gd name="T6" fmla="*/ 25 w 31"/>
                <a:gd name="T7" fmla="*/ 1 h 21"/>
                <a:gd name="T8" fmla="*/ 23 w 31"/>
                <a:gd name="T9" fmla="*/ 2 h 21"/>
                <a:gd name="T10" fmla="*/ 23 w 31"/>
                <a:gd name="T11" fmla="*/ 3 h 21"/>
                <a:gd name="T12" fmla="*/ 18 w 31"/>
                <a:gd name="T13" fmla="*/ 6 h 21"/>
                <a:gd name="T14" fmla="*/ 18 w 31"/>
                <a:gd name="T15" fmla="*/ 6 h 21"/>
                <a:gd name="T16" fmla="*/ 16 w 31"/>
                <a:gd name="T17" fmla="*/ 7 h 21"/>
                <a:gd name="T18" fmla="*/ 14 w 31"/>
                <a:gd name="T19" fmla="*/ 8 h 21"/>
                <a:gd name="T20" fmla="*/ 9 w 31"/>
                <a:gd name="T21" fmla="*/ 9 h 21"/>
                <a:gd name="T22" fmla="*/ 6 w 31"/>
                <a:gd name="T23" fmla="*/ 9 h 21"/>
                <a:gd name="T24" fmla="*/ 5 w 31"/>
                <a:gd name="T25" fmla="*/ 8 h 21"/>
                <a:gd name="T26" fmla="*/ 5 w 31"/>
                <a:gd name="T27" fmla="*/ 8 h 21"/>
                <a:gd name="T28" fmla="*/ 2 w 31"/>
                <a:gd name="T29" fmla="*/ 7 h 21"/>
                <a:gd name="T30" fmla="*/ 2 w 31"/>
                <a:gd name="T31" fmla="*/ 7 h 21"/>
                <a:gd name="T32" fmla="*/ 1 w 31"/>
                <a:gd name="T33" fmla="*/ 9 h 21"/>
                <a:gd name="T34" fmla="*/ 2 w 31"/>
                <a:gd name="T35" fmla="*/ 16 h 21"/>
                <a:gd name="T36" fmla="*/ 2 w 31"/>
                <a:gd name="T37" fmla="*/ 16 h 21"/>
                <a:gd name="T38" fmla="*/ 2 w 31"/>
                <a:gd name="T39" fmla="*/ 19 h 21"/>
                <a:gd name="T40" fmla="*/ 3 w 31"/>
                <a:gd name="T41" fmla="*/ 20 h 21"/>
                <a:gd name="T42" fmla="*/ 6 w 31"/>
                <a:gd name="T43" fmla="*/ 18 h 21"/>
                <a:gd name="T44" fmla="*/ 7 w 31"/>
                <a:gd name="T45" fmla="*/ 18 h 21"/>
                <a:gd name="T46" fmla="*/ 8 w 31"/>
                <a:gd name="T47" fmla="*/ 18 h 21"/>
                <a:gd name="T48" fmla="*/ 15 w 31"/>
                <a:gd name="T49" fmla="*/ 16 h 21"/>
                <a:gd name="T50" fmla="*/ 30 w 31"/>
                <a:gd name="T51" fmla="*/ 21 h 21"/>
                <a:gd name="T52" fmla="*/ 31 w 31"/>
                <a:gd name="T53" fmla="*/ 20 h 21"/>
                <a:gd name="T54" fmla="*/ 30 w 31"/>
                <a:gd name="T55" fmla="*/ 20 h 21"/>
                <a:gd name="T56" fmla="*/ 30 w 31"/>
                <a:gd name="T57" fmla="*/ 20 h 21"/>
                <a:gd name="T58" fmla="*/ 24 w 31"/>
                <a:gd name="T59" fmla="*/ 16 h 21"/>
                <a:gd name="T60" fmla="*/ 20 w 31"/>
                <a:gd name="T61" fmla="*/ 14 h 21"/>
                <a:gd name="T62" fmla="*/ 23 w 31"/>
                <a:gd name="T63" fmla="*/ 11 h 21"/>
                <a:gd name="T64" fmla="*/ 31 w 31"/>
                <a:gd name="T65" fmla="*/ 4 h 21"/>
                <a:gd name="T66" fmla="*/ 27 w 31"/>
                <a:gd name="T67"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21">
                  <a:moveTo>
                    <a:pt x="27" y="0"/>
                  </a:moveTo>
                  <a:cubicBezTo>
                    <a:pt x="26" y="0"/>
                    <a:pt x="26" y="0"/>
                    <a:pt x="26" y="0"/>
                  </a:cubicBezTo>
                  <a:cubicBezTo>
                    <a:pt x="26" y="0"/>
                    <a:pt x="26" y="0"/>
                    <a:pt x="26" y="0"/>
                  </a:cubicBezTo>
                  <a:cubicBezTo>
                    <a:pt x="25" y="0"/>
                    <a:pt x="25" y="1"/>
                    <a:pt x="25" y="1"/>
                  </a:cubicBezTo>
                  <a:cubicBezTo>
                    <a:pt x="24" y="1"/>
                    <a:pt x="24" y="2"/>
                    <a:pt x="23" y="2"/>
                  </a:cubicBezTo>
                  <a:cubicBezTo>
                    <a:pt x="23" y="3"/>
                    <a:pt x="23" y="3"/>
                    <a:pt x="23" y="3"/>
                  </a:cubicBezTo>
                  <a:cubicBezTo>
                    <a:pt x="21" y="4"/>
                    <a:pt x="20" y="5"/>
                    <a:pt x="18" y="6"/>
                  </a:cubicBezTo>
                  <a:cubicBezTo>
                    <a:pt x="18" y="6"/>
                    <a:pt x="18" y="6"/>
                    <a:pt x="18" y="6"/>
                  </a:cubicBezTo>
                  <a:cubicBezTo>
                    <a:pt x="17" y="6"/>
                    <a:pt x="17" y="7"/>
                    <a:pt x="16" y="7"/>
                  </a:cubicBezTo>
                  <a:cubicBezTo>
                    <a:pt x="15" y="7"/>
                    <a:pt x="15" y="7"/>
                    <a:pt x="14" y="8"/>
                  </a:cubicBezTo>
                  <a:cubicBezTo>
                    <a:pt x="13" y="8"/>
                    <a:pt x="11" y="9"/>
                    <a:pt x="9" y="9"/>
                  </a:cubicBezTo>
                  <a:cubicBezTo>
                    <a:pt x="8" y="9"/>
                    <a:pt x="7" y="9"/>
                    <a:pt x="6" y="9"/>
                  </a:cubicBezTo>
                  <a:cubicBezTo>
                    <a:pt x="5" y="8"/>
                    <a:pt x="5" y="8"/>
                    <a:pt x="5" y="8"/>
                  </a:cubicBezTo>
                  <a:cubicBezTo>
                    <a:pt x="5" y="8"/>
                    <a:pt x="5" y="8"/>
                    <a:pt x="5" y="8"/>
                  </a:cubicBezTo>
                  <a:cubicBezTo>
                    <a:pt x="4" y="8"/>
                    <a:pt x="3" y="7"/>
                    <a:pt x="2" y="7"/>
                  </a:cubicBezTo>
                  <a:cubicBezTo>
                    <a:pt x="2" y="7"/>
                    <a:pt x="2" y="7"/>
                    <a:pt x="2" y="7"/>
                  </a:cubicBezTo>
                  <a:cubicBezTo>
                    <a:pt x="1" y="8"/>
                    <a:pt x="1" y="9"/>
                    <a:pt x="1" y="9"/>
                  </a:cubicBezTo>
                  <a:cubicBezTo>
                    <a:pt x="0" y="11"/>
                    <a:pt x="1" y="14"/>
                    <a:pt x="2" y="16"/>
                  </a:cubicBezTo>
                  <a:cubicBezTo>
                    <a:pt x="2" y="16"/>
                    <a:pt x="2" y="16"/>
                    <a:pt x="2" y="16"/>
                  </a:cubicBezTo>
                  <a:cubicBezTo>
                    <a:pt x="2" y="17"/>
                    <a:pt x="2" y="18"/>
                    <a:pt x="2" y="19"/>
                  </a:cubicBezTo>
                  <a:cubicBezTo>
                    <a:pt x="3" y="20"/>
                    <a:pt x="3" y="20"/>
                    <a:pt x="3" y="20"/>
                  </a:cubicBezTo>
                  <a:cubicBezTo>
                    <a:pt x="3" y="19"/>
                    <a:pt x="4" y="19"/>
                    <a:pt x="6" y="18"/>
                  </a:cubicBezTo>
                  <a:cubicBezTo>
                    <a:pt x="6" y="18"/>
                    <a:pt x="7" y="18"/>
                    <a:pt x="7" y="18"/>
                  </a:cubicBezTo>
                  <a:cubicBezTo>
                    <a:pt x="8" y="18"/>
                    <a:pt x="8" y="18"/>
                    <a:pt x="8" y="18"/>
                  </a:cubicBezTo>
                  <a:cubicBezTo>
                    <a:pt x="10" y="17"/>
                    <a:pt x="13" y="16"/>
                    <a:pt x="15" y="16"/>
                  </a:cubicBezTo>
                  <a:cubicBezTo>
                    <a:pt x="20" y="16"/>
                    <a:pt x="27" y="19"/>
                    <a:pt x="30" y="21"/>
                  </a:cubicBezTo>
                  <a:cubicBezTo>
                    <a:pt x="31" y="20"/>
                    <a:pt x="31" y="20"/>
                    <a:pt x="31" y="20"/>
                  </a:cubicBezTo>
                  <a:cubicBezTo>
                    <a:pt x="30" y="20"/>
                    <a:pt x="30" y="20"/>
                    <a:pt x="30" y="20"/>
                  </a:cubicBezTo>
                  <a:cubicBezTo>
                    <a:pt x="30" y="20"/>
                    <a:pt x="30" y="20"/>
                    <a:pt x="30" y="20"/>
                  </a:cubicBezTo>
                  <a:cubicBezTo>
                    <a:pt x="28" y="19"/>
                    <a:pt x="26" y="17"/>
                    <a:pt x="24" y="16"/>
                  </a:cubicBezTo>
                  <a:cubicBezTo>
                    <a:pt x="20" y="14"/>
                    <a:pt x="20" y="14"/>
                    <a:pt x="20" y="14"/>
                  </a:cubicBezTo>
                  <a:cubicBezTo>
                    <a:pt x="23" y="11"/>
                    <a:pt x="23" y="11"/>
                    <a:pt x="23" y="11"/>
                  </a:cubicBezTo>
                  <a:cubicBezTo>
                    <a:pt x="25" y="9"/>
                    <a:pt x="28" y="7"/>
                    <a:pt x="31" y="4"/>
                  </a:cubicBez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1539"/>
            <p:cNvSpPr/>
            <p:nvPr/>
          </p:nvSpPr>
          <p:spPr bwMode="auto">
            <a:xfrm>
              <a:off x="1382606" y="2577288"/>
              <a:ext cx="587943" cy="307395"/>
            </a:xfrm>
            <a:custGeom>
              <a:gdLst>
                <a:gd name="T0" fmla="*/ 31 w 185"/>
                <a:gd name="T1" fmla="*/ 0 h 97"/>
                <a:gd name="T2" fmla="*/ 28 w 185"/>
                <a:gd name="T3" fmla="*/ 8 h 97"/>
                <a:gd name="T4" fmla="*/ 19 w 185"/>
                <a:gd name="T5" fmla="*/ 7 h 97"/>
                <a:gd name="T6" fmla="*/ 6 w 185"/>
                <a:gd name="T7" fmla="*/ 21 h 97"/>
                <a:gd name="T8" fmla="*/ 5 w 185"/>
                <a:gd name="T9" fmla="*/ 26 h 97"/>
                <a:gd name="T10" fmla="*/ 0 w 185"/>
                <a:gd name="T11" fmla="*/ 36 h 97"/>
                <a:gd name="T12" fmla="*/ 10 w 185"/>
                <a:gd name="T13" fmla="*/ 39 h 97"/>
                <a:gd name="T14" fmla="*/ 26 w 185"/>
                <a:gd name="T15" fmla="*/ 48 h 97"/>
                <a:gd name="T16" fmla="*/ 32 w 185"/>
                <a:gd name="T17" fmla="*/ 54 h 97"/>
                <a:gd name="T18" fmla="*/ 37 w 185"/>
                <a:gd name="T19" fmla="*/ 58 h 97"/>
                <a:gd name="T20" fmla="*/ 43 w 185"/>
                <a:gd name="T21" fmla="*/ 58 h 97"/>
                <a:gd name="T22" fmla="*/ 50 w 185"/>
                <a:gd name="T23" fmla="*/ 60 h 97"/>
                <a:gd name="T24" fmla="*/ 62 w 185"/>
                <a:gd name="T25" fmla="*/ 66 h 97"/>
                <a:gd name="T26" fmla="*/ 68 w 185"/>
                <a:gd name="T27" fmla="*/ 70 h 97"/>
                <a:gd name="T28" fmla="*/ 77 w 185"/>
                <a:gd name="T29" fmla="*/ 70 h 97"/>
                <a:gd name="T30" fmla="*/ 79 w 185"/>
                <a:gd name="T31" fmla="*/ 69 h 97"/>
                <a:gd name="T32" fmla="*/ 88 w 185"/>
                <a:gd name="T33" fmla="*/ 70 h 97"/>
                <a:gd name="T34" fmla="*/ 96 w 185"/>
                <a:gd name="T35" fmla="*/ 69 h 97"/>
                <a:gd name="T36" fmla="*/ 104 w 185"/>
                <a:gd name="T37" fmla="*/ 72 h 97"/>
                <a:gd name="T38" fmla="*/ 107 w 185"/>
                <a:gd name="T39" fmla="*/ 80 h 97"/>
                <a:gd name="T40" fmla="*/ 117 w 185"/>
                <a:gd name="T41" fmla="*/ 84 h 97"/>
                <a:gd name="T42" fmla="*/ 120 w 185"/>
                <a:gd name="T43" fmla="*/ 87 h 97"/>
                <a:gd name="T44" fmla="*/ 122 w 185"/>
                <a:gd name="T45" fmla="*/ 87 h 97"/>
                <a:gd name="T46" fmla="*/ 128 w 185"/>
                <a:gd name="T47" fmla="*/ 85 h 97"/>
                <a:gd name="T48" fmla="*/ 131 w 185"/>
                <a:gd name="T49" fmla="*/ 87 h 97"/>
                <a:gd name="T50" fmla="*/ 135 w 185"/>
                <a:gd name="T51" fmla="*/ 92 h 97"/>
                <a:gd name="T52" fmla="*/ 139 w 185"/>
                <a:gd name="T53" fmla="*/ 91 h 97"/>
                <a:gd name="T54" fmla="*/ 147 w 185"/>
                <a:gd name="T55" fmla="*/ 92 h 97"/>
                <a:gd name="T56" fmla="*/ 157 w 185"/>
                <a:gd name="T57" fmla="*/ 94 h 97"/>
                <a:gd name="T58" fmla="*/ 163 w 185"/>
                <a:gd name="T59" fmla="*/ 92 h 97"/>
                <a:gd name="T60" fmla="*/ 165 w 185"/>
                <a:gd name="T61" fmla="*/ 96 h 97"/>
                <a:gd name="T62" fmla="*/ 175 w 185"/>
                <a:gd name="T63" fmla="*/ 96 h 97"/>
                <a:gd name="T64" fmla="*/ 180 w 185"/>
                <a:gd name="T65" fmla="*/ 97 h 97"/>
                <a:gd name="T66" fmla="*/ 182 w 185"/>
                <a:gd name="T67" fmla="*/ 97 h 97"/>
                <a:gd name="T68" fmla="*/ 185 w 185"/>
                <a:gd name="T69" fmla="*/ 90 h 97"/>
                <a:gd name="T70" fmla="*/ 181 w 185"/>
                <a:gd name="T71" fmla="*/ 82 h 97"/>
                <a:gd name="T72" fmla="*/ 179 w 185"/>
                <a:gd name="T73" fmla="*/ 65 h 97"/>
                <a:gd name="T74" fmla="*/ 154 w 185"/>
                <a:gd name="T75" fmla="*/ 60 h 97"/>
                <a:gd name="T76" fmla="*/ 146 w 185"/>
                <a:gd name="T77" fmla="*/ 62 h 97"/>
                <a:gd name="T78" fmla="*/ 139 w 185"/>
                <a:gd name="T79" fmla="*/ 67 h 97"/>
                <a:gd name="T80" fmla="*/ 129 w 185"/>
                <a:gd name="T81" fmla="*/ 54 h 97"/>
                <a:gd name="T82" fmla="*/ 123 w 185"/>
                <a:gd name="T83" fmla="*/ 53 h 97"/>
                <a:gd name="T84" fmla="*/ 117 w 185"/>
                <a:gd name="T85" fmla="*/ 54 h 97"/>
                <a:gd name="T86" fmla="*/ 110 w 185"/>
                <a:gd name="T87" fmla="*/ 47 h 97"/>
                <a:gd name="T88" fmla="*/ 100 w 185"/>
                <a:gd name="T89" fmla="*/ 43 h 97"/>
                <a:gd name="T90" fmla="*/ 92 w 185"/>
                <a:gd name="T91" fmla="*/ 34 h 97"/>
                <a:gd name="T92" fmla="*/ 85 w 185"/>
                <a:gd name="T93" fmla="*/ 31 h 97"/>
                <a:gd name="T94" fmla="*/ 76 w 185"/>
                <a:gd name="T95" fmla="*/ 27 h 97"/>
                <a:gd name="T96" fmla="*/ 72 w 185"/>
                <a:gd name="T97" fmla="*/ 23 h 97"/>
                <a:gd name="T98" fmla="*/ 70 w 185"/>
                <a:gd name="T99" fmla="*/ 20 h 97"/>
                <a:gd name="T100" fmla="*/ 66 w 185"/>
                <a:gd name="T101" fmla="*/ 20 h 97"/>
                <a:gd name="T102" fmla="*/ 55 w 185"/>
                <a:gd name="T103" fmla="*/ 13 h 97"/>
                <a:gd name="T104" fmla="*/ 45 w 185"/>
                <a:gd name="T105" fmla="*/ 7 h 97"/>
                <a:gd name="T106" fmla="*/ 35 w 185"/>
                <a:gd name="T107" fmla="*/ 0 h 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5" h="97">
                  <a:moveTo>
                    <a:pt x="33" y="0"/>
                  </a:moveTo>
                  <a:cubicBezTo>
                    <a:pt x="32" y="0"/>
                    <a:pt x="32" y="0"/>
                    <a:pt x="32" y="0"/>
                  </a:cubicBezTo>
                  <a:cubicBezTo>
                    <a:pt x="32" y="0"/>
                    <a:pt x="32" y="0"/>
                    <a:pt x="32" y="0"/>
                  </a:cubicBezTo>
                  <a:cubicBezTo>
                    <a:pt x="31" y="0"/>
                    <a:pt x="31" y="0"/>
                    <a:pt x="31" y="0"/>
                  </a:cubicBezTo>
                  <a:cubicBezTo>
                    <a:pt x="31" y="1"/>
                    <a:pt x="31" y="1"/>
                    <a:pt x="31" y="1"/>
                  </a:cubicBezTo>
                  <a:cubicBezTo>
                    <a:pt x="31" y="1"/>
                    <a:pt x="31" y="1"/>
                    <a:pt x="31" y="1"/>
                  </a:cubicBezTo>
                  <a:cubicBezTo>
                    <a:pt x="30" y="3"/>
                    <a:pt x="29" y="4"/>
                    <a:pt x="28" y="6"/>
                  </a:cubicBezTo>
                  <a:cubicBezTo>
                    <a:pt x="28" y="8"/>
                    <a:pt x="28" y="8"/>
                    <a:pt x="28" y="8"/>
                  </a:cubicBezTo>
                  <a:cubicBezTo>
                    <a:pt x="26" y="9"/>
                    <a:pt x="26" y="9"/>
                    <a:pt x="26" y="9"/>
                  </a:cubicBezTo>
                  <a:cubicBezTo>
                    <a:pt x="24" y="9"/>
                    <a:pt x="23" y="9"/>
                    <a:pt x="22" y="9"/>
                  </a:cubicBezTo>
                  <a:cubicBezTo>
                    <a:pt x="21" y="9"/>
                    <a:pt x="21" y="9"/>
                    <a:pt x="20" y="8"/>
                  </a:cubicBezTo>
                  <a:cubicBezTo>
                    <a:pt x="19" y="7"/>
                    <a:pt x="19" y="7"/>
                    <a:pt x="19" y="7"/>
                  </a:cubicBezTo>
                  <a:cubicBezTo>
                    <a:pt x="19" y="7"/>
                    <a:pt x="19" y="7"/>
                    <a:pt x="19" y="7"/>
                  </a:cubicBezTo>
                  <a:cubicBezTo>
                    <a:pt x="7" y="19"/>
                    <a:pt x="7" y="19"/>
                    <a:pt x="7" y="19"/>
                  </a:cubicBezTo>
                  <a:cubicBezTo>
                    <a:pt x="7" y="20"/>
                    <a:pt x="7" y="20"/>
                    <a:pt x="7" y="20"/>
                  </a:cubicBezTo>
                  <a:cubicBezTo>
                    <a:pt x="6" y="20"/>
                    <a:pt x="6" y="21"/>
                    <a:pt x="6" y="21"/>
                  </a:cubicBezTo>
                  <a:cubicBezTo>
                    <a:pt x="5" y="22"/>
                    <a:pt x="5" y="22"/>
                    <a:pt x="5" y="22"/>
                  </a:cubicBezTo>
                  <a:cubicBezTo>
                    <a:pt x="5" y="22"/>
                    <a:pt x="5" y="22"/>
                    <a:pt x="5" y="22"/>
                  </a:cubicBezTo>
                  <a:cubicBezTo>
                    <a:pt x="5" y="22"/>
                    <a:pt x="5" y="22"/>
                    <a:pt x="5" y="22"/>
                  </a:cubicBezTo>
                  <a:cubicBezTo>
                    <a:pt x="5" y="23"/>
                    <a:pt x="6" y="24"/>
                    <a:pt x="5" y="26"/>
                  </a:cubicBezTo>
                  <a:cubicBezTo>
                    <a:pt x="5" y="27"/>
                    <a:pt x="4" y="28"/>
                    <a:pt x="3" y="30"/>
                  </a:cubicBezTo>
                  <a:cubicBezTo>
                    <a:pt x="3" y="30"/>
                    <a:pt x="3" y="30"/>
                    <a:pt x="3" y="30"/>
                  </a:cubicBezTo>
                  <a:cubicBezTo>
                    <a:pt x="2" y="32"/>
                    <a:pt x="1" y="33"/>
                    <a:pt x="1" y="34"/>
                  </a:cubicBezTo>
                  <a:cubicBezTo>
                    <a:pt x="1" y="34"/>
                    <a:pt x="1" y="35"/>
                    <a:pt x="0" y="36"/>
                  </a:cubicBezTo>
                  <a:cubicBezTo>
                    <a:pt x="0" y="37"/>
                    <a:pt x="1" y="37"/>
                    <a:pt x="2" y="38"/>
                  </a:cubicBezTo>
                  <a:cubicBezTo>
                    <a:pt x="2" y="38"/>
                    <a:pt x="4" y="39"/>
                    <a:pt x="5" y="40"/>
                  </a:cubicBezTo>
                  <a:cubicBezTo>
                    <a:pt x="5" y="35"/>
                    <a:pt x="5" y="35"/>
                    <a:pt x="5" y="35"/>
                  </a:cubicBezTo>
                  <a:cubicBezTo>
                    <a:pt x="10" y="39"/>
                    <a:pt x="10" y="39"/>
                    <a:pt x="10" y="39"/>
                  </a:cubicBezTo>
                  <a:cubicBezTo>
                    <a:pt x="11" y="40"/>
                    <a:pt x="13" y="41"/>
                    <a:pt x="14" y="42"/>
                  </a:cubicBezTo>
                  <a:cubicBezTo>
                    <a:pt x="15" y="42"/>
                    <a:pt x="15" y="42"/>
                    <a:pt x="15" y="42"/>
                  </a:cubicBezTo>
                  <a:cubicBezTo>
                    <a:pt x="17" y="43"/>
                    <a:pt x="19" y="44"/>
                    <a:pt x="21" y="45"/>
                  </a:cubicBezTo>
                  <a:cubicBezTo>
                    <a:pt x="23" y="46"/>
                    <a:pt x="24" y="47"/>
                    <a:pt x="26" y="48"/>
                  </a:cubicBezTo>
                  <a:cubicBezTo>
                    <a:pt x="28" y="46"/>
                    <a:pt x="28" y="46"/>
                    <a:pt x="28" y="46"/>
                  </a:cubicBezTo>
                  <a:cubicBezTo>
                    <a:pt x="27" y="49"/>
                    <a:pt x="27" y="49"/>
                    <a:pt x="27" y="49"/>
                  </a:cubicBezTo>
                  <a:cubicBezTo>
                    <a:pt x="27" y="50"/>
                    <a:pt x="27" y="50"/>
                    <a:pt x="27" y="50"/>
                  </a:cubicBezTo>
                  <a:cubicBezTo>
                    <a:pt x="29" y="51"/>
                    <a:pt x="30" y="53"/>
                    <a:pt x="32" y="54"/>
                  </a:cubicBezTo>
                  <a:cubicBezTo>
                    <a:pt x="32" y="54"/>
                    <a:pt x="32" y="54"/>
                    <a:pt x="32" y="54"/>
                  </a:cubicBezTo>
                  <a:cubicBezTo>
                    <a:pt x="33" y="55"/>
                    <a:pt x="33" y="55"/>
                    <a:pt x="33" y="55"/>
                  </a:cubicBezTo>
                  <a:cubicBezTo>
                    <a:pt x="34" y="56"/>
                    <a:pt x="34" y="56"/>
                    <a:pt x="35" y="56"/>
                  </a:cubicBezTo>
                  <a:cubicBezTo>
                    <a:pt x="37" y="58"/>
                    <a:pt x="37" y="58"/>
                    <a:pt x="37" y="58"/>
                  </a:cubicBezTo>
                  <a:cubicBezTo>
                    <a:pt x="38" y="59"/>
                    <a:pt x="39" y="59"/>
                    <a:pt x="40" y="59"/>
                  </a:cubicBezTo>
                  <a:cubicBezTo>
                    <a:pt x="40" y="59"/>
                    <a:pt x="40" y="59"/>
                    <a:pt x="40" y="59"/>
                  </a:cubicBezTo>
                  <a:cubicBezTo>
                    <a:pt x="40" y="59"/>
                    <a:pt x="40" y="59"/>
                    <a:pt x="40" y="59"/>
                  </a:cubicBezTo>
                  <a:cubicBezTo>
                    <a:pt x="41" y="59"/>
                    <a:pt x="42" y="58"/>
                    <a:pt x="43" y="58"/>
                  </a:cubicBezTo>
                  <a:cubicBezTo>
                    <a:pt x="44" y="58"/>
                    <a:pt x="44" y="58"/>
                    <a:pt x="44" y="58"/>
                  </a:cubicBezTo>
                  <a:cubicBezTo>
                    <a:pt x="44" y="58"/>
                    <a:pt x="44" y="58"/>
                    <a:pt x="44" y="58"/>
                  </a:cubicBezTo>
                  <a:cubicBezTo>
                    <a:pt x="44" y="58"/>
                    <a:pt x="45" y="58"/>
                    <a:pt x="45" y="59"/>
                  </a:cubicBezTo>
                  <a:cubicBezTo>
                    <a:pt x="47" y="59"/>
                    <a:pt x="48" y="60"/>
                    <a:pt x="50" y="60"/>
                  </a:cubicBezTo>
                  <a:cubicBezTo>
                    <a:pt x="60" y="64"/>
                    <a:pt x="60" y="64"/>
                    <a:pt x="60" y="64"/>
                  </a:cubicBezTo>
                  <a:cubicBezTo>
                    <a:pt x="61" y="64"/>
                    <a:pt x="61" y="64"/>
                    <a:pt x="61" y="64"/>
                  </a:cubicBezTo>
                  <a:cubicBezTo>
                    <a:pt x="61" y="65"/>
                    <a:pt x="61" y="65"/>
                    <a:pt x="61" y="65"/>
                  </a:cubicBezTo>
                  <a:cubicBezTo>
                    <a:pt x="62" y="66"/>
                    <a:pt x="62" y="66"/>
                    <a:pt x="62" y="66"/>
                  </a:cubicBezTo>
                  <a:cubicBezTo>
                    <a:pt x="62" y="66"/>
                    <a:pt x="62" y="67"/>
                    <a:pt x="62" y="68"/>
                  </a:cubicBezTo>
                  <a:cubicBezTo>
                    <a:pt x="63" y="69"/>
                    <a:pt x="63" y="69"/>
                    <a:pt x="63" y="69"/>
                  </a:cubicBezTo>
                  <a:cubicBezTo>
                    <a:pt x="63" y="69"/>
                    <a:pt x="64" y="69"/>
                    <a:pt x="65" y="69"/>
                  </a:cubicBezTo>
                  <a:cubicBezTo>
                    <a:pt x="66" y="70"/>
                    <a:pt x="67" y="70"/>
                    <a:pt x="68" y="70"/>
                  </a:cubicBezTo>
                  <a:cubicBezTo>
                    <a:pt x="70" y="70"/>
                    <a:pt x="72" y="71"/>
                    <a:pt x="74" y="72"/>
                  </a:cubicBezTo>
                  <a:cubicBezTo>
                    <a:pt x="75" y="71"/>
                    <a:pt x="75" y="71"/>
                    <a:pt x="75" y="71"/>
                  </a:cubicBezTo>
                  <a:cubicBezTo>
                    <a:pt x="76" y="70"/>
                    <a:pt x="76" y="70"/>
                    <a:pt x="76" y="70"/>
                  </a:cubicBezTo>
                  <a:cubicBezTo>
                    <a:pt x="77" y="70"/>
                    <a:pt x="77" y="70"/>
                    <a:pt x="77" y="70"/>
                  </a:cubicBezTo>
                  <a:cubicBezTo>
                    <a:pt x="78" y="69"/>
                    <a:pt x="78" y="69"/>
                    <a:pt x="78" y="69"/>
                  </a:cubicBezTo>
                  <a:cubicBezTo>
                    <a:pt x="79" y="69"/>
                    <a:pt x="79" y="69"/>
                    <a:pt x="79" y="69"/>
                  </a:cubicBezTo>
                  <a:cubicBezTo>
                    <a:pt x="79" y="69"/>
                    <a:pt x="79" y="69"/>
                    <a:pt x="79" y="69"/>
                  </a:cubicBezTo>
                  <a:cubicBezTo>
                    <a:pt x="79" y="69"/>
                    <a:pt x="79" y="69"/>
                    <a:pt x="79" y="69"/>
                  </a:cubicBezTo>
                  <a:cubicBezTo>
                    <a:pt x="80" y="70"/>
                    <a:pt x="80" y="70"/>
                    <a:pt x="80" y="70"/>
                  </a:cubicBezTo>
                  <a:cubicBezTo>
                    <a:pt x="85" y="72"/>
                    <a:pt x="85" y="72"/>
                    <a:pt x="85" y="72"/>
                  </a:cubicBezTo>
                  <a:cubicBezTo>
                    <a:pt x="85" y="71"/>
                    <a:pt x="85" y="71"/>
                    <a:pt x="85" y="71"/>
                  </a:cubicBezTo>
                  <a:cubicBezTo>
                    <a:pt x="86" y="71"/>
                    <a:pt x="87" y="70"/>
                    <a:pt x="88" y="70"/>
                  </a:cubicBezTo>
                  <a:cubicBezTo>
                    <a:pt x="87" y="65"/>
                    <a:pt x="87" y="65"/>
                    <a:pt x="87" y="65"/>
                  </a:cubicBezTo>
                  <a:cubicBezTo>
                    <a:pt x="89" y="69"/>
                    <a:pt x="89" y="69"/>
                    <a:pt x="89" y="69"/>
                  </a:cubicBezTo>
                  <a:cubicBezTo>
                    <a:pt x="90" y="69"/>
                    <a:pt x="91" y="68"/>
                    <a:pt x="93" y="68"/>
                  </a:cubicBezTo>
                  <a:cubicBezTo>
                    <a:pt x="94" y="68"/>
                    <a:pt x="95" y="69"/>
                    <a:pt x="96" y="69"/>
                  </a:cubicBezTo>
                  <a:cubicBezTo>
                    <a:pt x="96" y="69"/>
                    <a:pt x="96" y="69"/>
                    <a:pt x="96" y="69"/>
                  </a:cubicBezTo>
                  <a:cubicBezTo>
                    <a:pt x="97" y="69"/>
                    <a:pt x="97" y="69"/>
                    <a:pt x="97" y="69"/>
                  </a:cubicBezTo>
                  <a:cubicBezTo>
                    <a:pt x="98" y="70"/>
                    <a:pt x="98" y="70"/>
                    <a:pt x="98" y="70"/>
                  </a:cubicBezTo>
                  <a:cubicBezTo>
                    <a:pt x="100" y="70"/>
                    <a:pt x="102" y="71"/>
                    <a:pt x="104" y="72"/>
                  </a:cubicBezTo>
                  <a:cubicBezTo>
                    <a:pt x="105" y="73"/>
                    <a:pt x="106" y="74"/>
                    <a:pt x="107" y="76"/>
                  </a:cubicBezTo>
                  <a:cubicBezTo>
                    <a:pt x="107" y="77"/>
                    <a:pt x="107" y="77"/>
                    <a:pt x="107" y="78"/>
                  </a:cubicBezTo>
                  <a:cubicBezTo>
                    <a:pt x="107" y="78"/>
                    <a:pt x="107" y="79"/>
                    <a:pt x="107" y="80"/>
                  </a:cubicBezTo>
                  <a:cubicBezTo>
                    <a:pt x="107" y="80"/>
                    <a:pt x="107" y="80"/>
                    <a:pt x="107" y="80"/>
                  </a:cubicBezTo>
                  <a:cubicBezTo>
                    <a:pt x="108" y="81"/>
                    <a:pt x="108" y="81"/>
                    <a:pt x="108" y="81"/>
                  </a:cubicBezTo>
                  <a:cubicBezTo>
                    <a:pt x="109" y="81"/>
                    <a:pt x="110" y="81"/>
                    <a:pt x="110" y="82"/>
                  </a:cubicBezTo>
                  <a:cubicBezTo>
                    <a:pt x="111" y="82"/>
                    <a:pt x="111" y="82"/>
                    <a:pt x="111" y="82"/>
                  </a:cubicBezTo>
                  <a:cubicBezTo>
                    <a:pt x="113" y="83"/>
                    <a:pt x="115" y="83"/>
                    <a:pt x="117" y="84"/>
                  </a:cubicBezTo>
                  <a:cubicBezTo>
                    <a:pt x="121" y="79"/>
                    <a:pt x="121" y="79"/>
                    <a:pt x="121" y="79"/>
                  </a:cubicBezTo>
                  <a:cubicBezTo>
                    <a:pt x="118" y="85"/>
                    <a:pt x="118" y="85"/>
                    <a:pt x="118" y="85"/>
                  </a:cubicBezTo>
                  <a:cubicBezTo>
                    <a:pt x="119" y="85"/>
                    <a:pt x="119" y="85"/>
                    <a:pt x="119" y="85"/>
                  </a:cubicBezTo>
                  <a:cubicBezTo>
                    <a:pt x="119" y="86"/>
                    <a:pt x="120" y="86"/>
                    <a:pt x="120" y="87"/>
                  </a:cubicBezTo>
                  <a:cubicBezTo>
                    <a:pt x="121" y="87"/>
                    <a:pt x="121" y="87"/>
                    <a:pt x="121" y="87"/>
                  </a:cubicBezTo>
                  <a:cubicBezTo>
                    <a:pt x="121" y="87"/>
                    <a:pt x="121" y="87"/>
                    <a:pt x="121" y="87"/>
                  </a:cubicBezTo>
                  <a:cubicBezTo>
                    <a:pt x="121" y="87"/>
                    <a:pt x="121" y="87"/>
                    <a:pt x="121" y="87"/>
                  </a:cubicBezTo>
                  <a:cubicBezTo>
                    <a:pt x="121" y="87"/>
                    <a:pt x="122" y="87"/>
                    <a:pt x="122" y="87"/>
                  </a:cubicBezTo>
                  <a:cubicBezTo>
                    <a:pt x="123" y="87"/>
                    <a:pt x="123" y="87"/>
                    <a:pt x="123" y="87"/>
                  </a:cubicBezTo>
                  <a:cubicBezTo>
                    <a:pt x="124" y="86"/>
                    <a:pt x="125" y="86"/>
                    <a:pt x="126" y="86"/>
                  </a:cubicBezTo>
                  <a:cubicBezTo>
                    <a:pt x="126" y="86"/>
                    <a:pt x="126" y="86"/>
                    <a:pt x="126" y="86"/>
                  </a:cubicBezTo>
                  <a:cubicBezTo>
                    <a:pt x="127" y="86"/>
                    <a:pt x="127" y="85"/>
                    <a:pt x="128" y="85"/>
                  </a:cubicBezTo>
                  <a:cubicBezTo>
                    <a:pt x="128" y="85"/>
                    <a:pt x="128" y="85"/>
                    <a:pt x="128" y="85"/>
                  </a:cubicBezTo>
                  <a:cubicBezTo>
                    <a:pt x="130" y="85"/>
                    <a:pt x="130" y="85"/>
                    <a:pt x="130" y="85"/>
                  </a:cubicBezTo>
                  <a:cubicBezTo>
                    <a:pt x="131" y="86"/>
                    <a:pt x="131" y="86"/>
                    <a:pt x="131" y="86"/>
                  </a:cubicBezTo>
                  <a:cubicBezTo>
                    <a:pt x="131" y="87"/>
                    <a:pt x="131" y="87"/>
                    <a:pt x="131" y="87"/>
                  </a:cubicBezTo>
                  <a:cubicBezTo>
                    <a:pt x="131" y="87"/>
                    <a:pt x="131" y="87"/>
                    <a:pt x="131" y="87"/>
                  </a:cubicBezTo>
                  <a:cubicBezTo>
                    <a:pt x="132" y="88"/>
                    <a:pt x="132" y="88"/>
                    <a:pt x="132" y="88"/>
                  </a:cubicBezTo>
                  <a:cubicBezTo>
                    <a:pt x="133" y="89"/>
                    <a:pt x="133" y="89"/>
                    <a:pt x="134" y="90"/>
                  </a:cubicBezTo>
                  <a:cubicBezTo>
                    <a:pt x="134" y="91"/>
                    <a:pt x="134" y="91"/>
                    <a:pt x="135" y="92"/>
                  </a:cubicBezTo>
                  <a:cubicBezTo>
                    <a:pt x="135" y="92"/>
                    <a:pt x="135" y="92"/>
                    <a:pt x="135" y="92"/>
                  </a:cubicBezTo>
                  <a:cubicBezTo>
                    <a:pt x="136" y="92"/>
                    <a:pt x="136" y="92"/>
                    <a:pt x="137" y="92"/>
                  </a:cubicBezTo>
                  <a:cubicBezTo>
                    <a:pt x="138" y="92"/>
                    <a:pt x="138" y="92"/>
                    <a:pt x="138" y="92"/>
                  </a:cubicBezTo>
                  <a:cubicBezTo>
                    <a:pt x="138" y="91"/>
                    <a:pt x="139" y="91"/>
                    <a:pt x="139" y="91"/>
                  </a:cubicBezTo>
                  <a:cubicBezTo>
                    <a:pt x="140" y="91"/>
                    <a:pt x="140" y="91"/>
                    <a:pt x="141" y="91"/>
                  </a:cubicBezTo>
                  <a:cubicBezTo>
                    <a:pt x="141" y="91"/>
                    <a:pt x="142" y="91"/>
                    <a:pt x="143" y="91"/>
                  </a:cubicBezTo>
                  <a:cubicBezTo>
                    <a:pt x="144" y="92"/>
                    <a:pt x="144" y="92"/>
                    <a:pt x="144" y="92"/>
                  </a:cubicBezTo>
                  <a:cubicBezTo>
                    <a:pt x="145" y="92"/>
                    <a:pt x="146" y="92"/>
                    <a:pt x="147" y="92"/>
                  </a:cubicBezTo>
                  <a:cubicBezTo>
                    <a:pt x="148" y="93"/>
                    <a:pt x="149" y="93"/>
                    <a:pt x="150" y="93"/>
                  </a:cubicBezTo>
                  <a:cubicBezTo>
                    <a:pt x="154" y="95"/>
                    <a:pt x="154" y="95"/>
                    <a:pt x="154" y="95"/>
                  </a:cubicBezTo>
                  <a:cubicBezTo>
                    <a:pt x="154" y="95"/>
                    <a:pt x="155" y="95"/>
                    <a:pt x="156" y="94"/>
                  </a:cubicBezTo>
                  <a:cubicBezTo>
                    <a:pt x="157" y="94"/>
                    <a:pt x="157" y="94"/>
                    <a:pt x="157" y="94"/>
                  </a:cubicBezTo>
                  <a:cubicBezTo>
                    <a:pt x="158" y="93"/>
                    <a:pt x="159" y="92"/>
                    <a:pt x="160" y="92"/>
                  </a:cubicBezTo>
                  <a:cubicBezTo>
                    <a:pt x="160" y="92"/>
                    <a:pt x="161" y="92"/>
                    <a:pt x="161" y="92"/>
                  </a:cubicBezTo>
                  <a:cubicBezTo>
                    <a:pt x="162" y="92"/>
                    <a:pt x="162" y="92"/>
                    <a:pt x="162" y="92"/>
                  </a:cubicBezTo>
                  <a:cubicBezTo>
                    <a:pt x="162" y="92"/>
                    <a:pt x="162" y="92"/>
                    <a:pt x="163" y="92"/>
                  </a:cubicBezTo>
                  <a:cubicBezTo>
                    <a:pt x="163" y="93"/>
                    <a:pt x="163" y="93"/>
                    <a:pt x="163" y="93"/>
                  </a:cubicBezTo>
                  <a:cubicBezTo>
                    <a:pt x="164" y="93"/>
                    <a:pt x="164" y="93"/>
                    <a:pt x="164" y="93"/>
                  </a:cubicBezTo>
                  <a:cubicBezTo>
                    <a:pt x="164" y="93"/>
                    <a:pt x="164" y="94"/>
                    <a:pt x="165" y="95"/>
                  </a:cubicBezTo>
                  <a:cubicBezTo>
                    <a:pt x="165" y="95"/>
                    <a:pt x="165" y="95"/>
                    <a:pt x="165" y="96"/>
                  </a:cubicBezTo>
                  <a:cubicBezTo>
                    <a:pt x="165" y="96"/>
                    <a:pt x="165" y="96"/>
                    <a:pt x="165" y="96"/>
                  </a:cubicBezTo>
                  <a:cubicBezTo>
                    <a:pt x="165" y="96"/>
                    <a:pt x="165" y="96"/>
                    <a:pt x="165" y="96"/>
                  </a:cubicBezTo>
                  <a:cubicBezTo>
                    <a:pt x="166" y="96"/>
                    <a:pt x="167" y="96"/>
                    <a:pt x="169" y="96"/>
                  </a:cubicBezTo>
                  <a:cubicBezTo>
                    <a:pt x="175" y="96"/>
                    <a:pt x="175" y="96"/>
                    <a:pt x="175" y="96"/>
                  </a:cubicBezTo>
                  <a:cubicBezTo>
                    <a:pt x="176" y="96"/>
                    <a:pt x="176" y="96"/>
                    <a:pt x="176" y="96"/>
                  </a:cubicBezTo>
                  <a:cubicBezTo>
                    <a:pt x="176" y="96"/>
                    <a:pt x="176" y="96"/>
                    <a:pt x="176" y="96"/>
                  </a:cubicBezTo>
                  <a:cubicBezTo>
                    <a:pt x="177" y="96"/>
                    <a:pt x="177" y="97"/>
                    <a:pt x="178" y="97"/>
                  </a:cubicBezTo>
                  <a:cubicBezTo>
                    <a:pt x="179" y="97"/>
                    <a:pt x="180" y="97"/>
                    <a:pt x="180" y="97"/>
                  </a:cubicBezTo>
                  <a:cubicBezTo>
                    <a:pt x="181" y="97"/>
                    <a:pt x="181" y="97"/>
                    <a:pt x="181" y="97"/>
                  </a:cubicBezTo>
                  <a:cubicBezTo>
                    <a:pt x="181" y="97"/>
                    <a:pt x="181" y="97"/>
                    <a:pt x="181" y="97"/>
                  </a:cubicBezTo>
                  <a:cubicBezTo>
                    <a:pt x="182" y="97"/>
                    <a:pt x="182" y="97"/>
                    <a:pt x="182" y="97"/>
                  </a:cubicBezTo>
                  <a:cubicBezTo>
                    <a:pt x="182" y="97"/>
                    <a:pt x="182" y="97"/>
                    <a:pt x="182" y="97"/>
                  </a:cubicBezTo>
                  <a:cubicBezTo>
                    <a:pt x="183" y="96"/>
                    <a:pt x="183" y="96"/>
                    <a:pt x="183" y="96"/>
                  </a:cubicBezTo>
                  <a:cubicBezTo>
                    <a:pt x="183" y="95"/>
                    <a:pt x="183" y="95"/>
                    <a:pt x="183" y="95"/>
                  </a:cubicBezTo>
                  <a:cubicBezTo>
                    <a:pt x="184" y="93"/>
                    <a:pt x="185" y="91"/>
                    <a:pt x="185" y="90"/>
                  </a:cubicBezTo>
                  <a:cubicBezTo>
                    <a:pt x="185" y="90"/>
                    <a:pt x="185" y="90"/>
                    <a:pt x="185" y="90"/>
                  </a:cubicBezTo>
                  <a:cubicBezTo>
                    <a:pt x="184" y="89"/>
                    <a:pt x="184" y="89"/>
                    <a:pt x="184" y="88"/>
                  </a:cubicBezTo>
                  <a:cubicBezTo>
                    <a:pt x="183" y="87"/>
                    <a:pt x="183" y="87"/>
                    <a:pt x="182" y="86"/>
                  </a:cubicBezTo>
                  <a:cubicBezTo>
                    <a:pt x="182" y="85"/>
                    <a:pt x="182" y="85"/>
                    <a:pt x="182" y="85"/>
                  </a:cubicBezTo>
                  <a:cubicBezTo>
                    <a:pt x="181" y="84"/>
                    <a:pt x="181" y="83"/>
                    <a:pt x="181" y="82"/>
                  </a:cubicBezTo>
                  <a:cubicBezTo>
                    <a:pt x="181" y="80"/>
                    <a:pt x="181" y="78"/>
                    <a:pt x="181" y="75"/>
                  </a:cubicBezTo>
                  <a:cubicBezTo>
                    <a:pt x="181" y="72"/>
                    <a:pt x="182" y="69"/>
                    <a:pt x="183" y="67"/>
                  </a:cubicBezTo>
                  <a:cubicBezTo>
                    <a:pt x="183" y="65"/>
                    <a:pt x="183" y="65"/>
                    <a:pt x="183" y="65"/>
                  </a:cubicBezTo>
                  <a:cubicBezTo>
                    <a:pt x="182" y="65"/>
                    <a:pt x="180" y="65"/>
                    <a:pt x="179" y="65"/>
                  </a:cubicBezTo>
                  <a:cubicBezTo>
                    <a:pt x="176" y="65"/>
                    <a:pt x="173" y="65"/>
                    <a:pt x="170" y="65"/>
                  </a:cubicBezTo>
                  <a:cubicBezTo>
                    <a:pt x="167" y="64"/>
                    <a:pt x="164" y="64"/>
                    <a:pt x="162" y="63"/>
                  </a:cubicBezTo>
                  <a:cubicBezTo>
                    <a:pt x="159" y="62"/>
                    <a:pt x="157" y="61"/>
                    <a:pt x="155" y="60"/>
                  </a:cubicBezTo>
                  <a:cubicBezTo>
                    <a:pt x="154" y="60"/>
                    <a:pt x="154" y="60"/>
                    <a:pt x="154" y="60"/>
                  </a:cubicBezTo>
                  <a:cubicBezTo>
                    <a:pt x="153" y="59"/>
                    <a:pt x="153" y="59"/>
                    <a:pt x="153" y="59"/>
                  </a:cubicBezTo>
                  <a:cubicBezTo>
                    <a:pt x="153" y="60"/>
                    <a:pt x="153" y="60"/>
                    <a:pt x="153" y="60"/>
                  </a:cubicBezTo>
                  <a:cubicBezTo>
                    <a:pt x="152" y="61"/>
                    <a:pt x="151" y="62"/>
                    <a:pt x="148" y="62"/>
                  </a:cubicBezTo>
                  <a:cubicBezTo>
                    <a:pt x="148" y="62"/>
                    <a:pt x="147" y="62"/>
                    <a:pt x="146" y="62"/>
                  </a:cubicBezTo>
                  <a:cubicBezTo>
                    <a:pt x="145" y="62"/>
                    <a:pt x="145" y="62"/>
                    <a:pt x="145" y="62"/>
                  </a:cubicBezTo>
                  <a:cubicBezTo>
                    <a:pt x="144" y="62"/>
                    <a:pt x="143" y="61"/>
                    <a:pt x="141" y="61"/>
                  </a:cubicBezTo>
                  <a:cubicBezTo>
                    <a:pt x="141" y="61"/>
                    <a:pt x="141" y="61"/>
                    <a:pt x="141" y="61"/>
                  </a:cubicBezTo>
                  <a:cubicBezTo>
                    <a:pt x="139" y="67"/>
                    <a:pt x="139" y="67"/>
                    <a:pt x="139" y="67"/>
                  </a:cubicBezTo>
                  <a:cubicBezTo>
                    <a:pt x="134" y="61"/>
                    <a:pt x="134" y="61"/>
                    <a:pt x="134" y="61"/>
                  </a:cubicBezTo>
                  <a:cubicBezTo>
                    <a:pt x="133" y="59"/>
                    <a:pt x="131" y="58"/>
                    <a:pt x="130" y="56"/>
                  </a:cubicBezTo>
                  <a:cubicBezTo>
                    <a:pt x="130" y="55"/>
                    <a:pt x="130" y="55"/>
                    <a:pt x="130" y="55"/>
                  </a:cubicBezTo>
                  <a:cubicBezTo>
                    <a:pt x="129" y="54"/>
                    <a:pt x="129" y="54"/>
                    <a:pt x="129" y="54"/>
                  </a:cubicBezTo>
                  <a:cubicBezTo>
                    <a:pt x="128" y="54"/>
                    <a:pt x="128" y="54"/>
                    <a:pt x="128" y="54"/>
                  </a:cubicBezTo>
                  <a:cubicBezTo>
                    <a:pt x="128" y="53"/>
                    <a:pt x="127" y="53"/>
                    <a:pt x="127" y="53"/>
                  </a:cubicBezTo>
                  <a:cubicBezTo>
                    <a:pt x="126" y="53"/>
                    <a:pt x="126" y="53"/>
                    <a:pt x="126" y="53"/>
                  </a:cubicBezTo>
                  <a:cubicBezTo>
                    <a:pt x="125" y="53"/>
                    <a:pt x="124" y="53"/>
                    <a:pt x="123" y="53"/>
                  </a:cubicBezTo>
                  <a:cubicBezTo>
                    <a:pt x="123" y="53"/>
                    <a:pt x="123" y="53"/>
                    <a:pt x="123" y="53"/>
                  </a:cubicBezTo>
                  <a:cubicBezTo>
                    <a:pt x="122" y="54"/>
                    <a:pt x="121" y="54"/>
                    <a:pt x="121" y="54"/>
                  </a:cubicBezTo>
                  <a:cubicBezTo>
                    <a:pt x="120" y="54"/>
                    <a:pt x="119" y="54"/>
                    <a:pt x="119" y="54"/>
                  </a:cubicBezTo>
                  <a:cubicBezTo>
                    <a:pt x="118" y="54"/>
                    <a:pt x="118" y="54"/>
                    <a:pt x="117" y="54"/>
                  </a:cubicBezTo>
                  <a:cubicBezTo>
                    <a:pt x="115" y="53"/>
                    <a:pt x="114" y="53"/>
                    <a:pt x="113" y="52"/>
                  </a:cubicBezTo>
                  <a:cubicBezTo>
                    <a:pt x="113" y="50"/>
                    <a:pt x="113" y="49"/>
                    <a:pt x="113" y="47"/>
                  </a:cubicBezTo>
                  <a:cubicBezTo>
                    <a:pt x="112" y="47"/>
                    <a:pt x="112" y="47"/>
                    <a:pt x="111" y="47"/>
                  </a:cubicBezTo>
                  <a:cubicBezTo>
                    <a:pt x="111" y="47"/>
                    <a:pt x="110" y="47"/>
                    <a:pt x="110" y="47"/>
                  </a:cubicBezTo>
                  <a:cubicBezTo>
                    <a:pt x="108" y="47"/>
                    <a:pt x="107" y="46"/>
                    <a:pt x="105" y="46"/>
                  </a:cubicBezTo>
                  <a:cubicBezTo>
                    <a:pt x="104" y="45"/>
                    <a:pt x="103" y="45"/>
                    <a:pt x="102" y="44"/>
                  </a:cubicBezTo>
                  <a:cubicBezTo>
                    <a:pt x="102" y="44"/>
                    <a:pt x="102" y="44"/>
                    <a:pt x="102" y="44"/>
                  </a:cubicBezTo>
                  <a:cubicBezTo>
                    <a:pt x="101" y="43"/>
                    <a:pt x="101" y="43"/>
                    <a:pt x="100" y="43"/>
                  </a:cubicBezTo>
                  <a:cubicBezTo>
                    <a:pt x="99" y="42"/>
                    <a:pt x="99" y="42"/>
                    <a:pt x="99" y="42"/>
                  </a:cubicBezTo>
                  <a:cubicBezTo>
                    <a:pt x="98" y="41"/>
                    <a:pt x="97" y="41"/>
                    <a:pt x="97" y="41"/>
                  </a:cubicBezTo>
                  <a:cubicBezTo>
                    <a:pt x="96" y="40"/>
                    <a:pt x="96" y="40"/>
                    <a:pt x="96" y="40"/>
                  </a:cubicBezTo>
                  <a:cubicBezTo>
                    <a:pt x="95" y="39"/>
                    <a:pt x="92" y="37"/>
                    <a:pt x="92" y="34"/>
                  </a:cubicBezTo>
                  <a:cubicBezTo>
                    <a:pt x="92" y="32"/>
                    <a:pt x="92" y="32"/>
                    <a:pt x="92" y="32"/>
                  </a:cubicBezTo>
                  <a:cubicBezTo>
                    <a:pt x="91" y="32"/>
                    <a:pt x="91" y="31"/>
                    <a:pt x="91" y="30"/>
                  </a:cubicBezTo>
                  <a:cubicBezTo>
                    <a:pt x="90" y="30"/>
                    <a:pt x="90" y="30"/>
                    <a:pt x="90" y="30"/>
                  </a:cubicBezTo>
                  <a:cubicBezTo>
                    <a:pt x="89" y="30"/>
                    <a:pt x="87" y="31"/>
                    <a:pt x="85" y="31"/>
                  </a:cubicBezTo>
                  <a:cubicBezTo>
                    <a:pt x="84" y="31"/>
                    <a:pt x="84" y="31"/>
                    <a:pt x="84" y="31"/>
                  </a:cubicBezTo>
                  <a:cubicBezTo>
                    <a:pt x="83" y="32"/>
                    <a:pt x="83" y="32"/>
                    <a:pt x="82" y="32"/>
                  </a:cubicBezTo>
                  <a:cubicBezTo>
                    <a:pt x="79" y="32"/>
                    <a:pt x="78" y="30"/>
                    <a:pt x="76" y="28"/>
                  </a:cubicBezTo>
                  <a:cubicBezTo>
                    <a:pt x="76" y="27"/>
                    <a:pt x="76" y="27"/>
                    <a:pt x="76" y="27"/>
                  </a:cubicBezTo>
                  <a:cubicBezTo>
                    <a:pt x="75" y="27"/>
                    <a:pt x="75" y="27"/>
                    <a:pt x="75" y="27"/>
                  </a:cubicBezTo>
                  <a:cubicBezTo>
                    <a:pt x="75" y="26"/>
                    <a:pt x="75" y="26"/>
                    <a:pt x="75" y="26"/>
                  </a:cubicBezTo>
                  <a:cubicBezTo>
                    <a:pt x="74" y="25"/>
                    <a:pt x="73" y="24"/>
                    <a:pt x="72" y="23"/>
                  </a:cubicBezTo>
                  <a:cubicBezTo>
                    <a:pt x="72" y="23"/>
                    <a:pt x="72" y="23"/>
                    <a:pt x="72" y="23"/>
                  </a:cubicBezTo>
                  <a:cubicBezTo>
                    <a:pt x="72" y="23"/>
                    <a:pt x="72" y="23"/>
                    <a:pt x="72" y="23"/>
                  </a:cubicBezTo>
                  <a:cubicBezTo>
                    <a:pt x="71" y="22"/>
                    <a:pt x="71" y="22"/>
                    <a:pt x="71" y="22"/>
                  </a:cubicBezTo>
                  <a:cubicBezTo>
                    <a:pt x="71" y="21"/>
                    <a:pt x="71" y="21"/>
                    <a:pt x="70" y="21"/>
                  </a:cubicBezTo>
                  <a:cubicBezTo>
                    <a:pt x="70" y="20"/>
                    <a:pt x="70" y="20"/>
                    <a:pt x="70" y="20"/>
                  </a:cubicBezTo>
                  <a:cubicBezTo>
                    <a:pt x="69" y="26"/>
                    <a:pt x="69" y="26"/>
                    <a:pt x="69" y="26"/>
                  </a:cubicBezTo>
                  <a:cubicBezTo>
                    <a:pt x="68" y="20"/>
                    <a:pt x="68" y="20"/>
                    <a:pt x="68" y="20"/>
                  </a:cubicBezTo>
                  <a:cubicBezTo>
                    <a:pt x="67" y="20"/>
                    <a:pt x="67" y="20"/>
                    <a:pt x="67" y="20"/>
                  </a:cubicBezTo>
                  <a:cubicBezTo>
                    <a:pt x="67" y="20"/>
                    <a:pt x="67" y="20"/>
                    <a:pt x="66" y="20"/>
                  </a:cubicBezTo>
                  <a:cubicBezTo>
                    <a:pt x="66" y="19"/>
                    <a:pt x="66" y="19"/>
                    <a:pt x="66" y="19"/>
                  </a:cubicBezTo>
                  <a:cubicBezTo>
                    <a:pt x="63" y="19"/>
                    <a:pt x="61" y="18"/>
                    <a:pt x="59" y="17"/>
                  </a:cubicBezTo>
                  <a:cubicBezTo>
                    <a:pt x="58" y="16"/>
                    <a:pt x="58" y="16"/>
                    <a:pt x="58" y="16"/>
                  </a:cubicBezTo>
                  <a:cubicBezTo>
                    <a:pt x="57" y="15"/>
                    <a:pt x="56" y="14"/>
                    <a:pt x="55" y="13"/>
                  </a:cubicBezTo>
                  <a:cubicBezTo>
                    <a:pt x="54" y="12"/>
                    <a:pt x="54" y="12"/>
                    <a:pt x="53" y="12"/>
                  </a:cubicBezTo>
                  <a:cubicBezTo>
                    <a:pt x="51" y="11"/>
                    <a:pt x="51" y="11"/>
                    <a:pt x="51" y="11"/>
                  </a:cubicBezTo>
                  <a:cubicBezTo>
                    <a:pt x="51" y="10"/>
                    <a:pt x="50" y="10"/>
                    <a:pt x="49" y="10"/>
                  </a:cubicBezTo>
                  <a:cubicBezTo>
                    <a:pt x="47" y="9"/>
                    <a:pt x="46" y="8"/>
                    <a:pt x="45" y="7"/>
                  </a:cubicBezTo>
                  <a:cubicBezTo>
                    <a:pt x="44" y="7"/>
                    <a:pt x="44" y="7"/>
                    <a:pt x="44" y="7"/>
                  </a:cubicBezTo>
                  <a:cubicBezTo>
                    <a:pt x="43" y="5"/>
                    <a:pt x="43" y="4"/>
                    <a:pt x="42" y="3"/>
                  </a:cubicBezTo>
                  <a:cubicBezTo>
                    <a:pt x="42" y="2"/>
                    <a:pt x="42" y="1"/>
                    <a:pt x="41" y="1"/>
                  </a:cubicBezTo>
                  <a:cubicBezTo>
                    <a:pt x="41" y="1"/>
                    <a:pt x="38" y="0"/>
                    <a:pt x="35" y="0"/>
                  </a:cubicBezTo>
                  <a:cubicBezTo>
                    <a:pt x="34" y="0"/>
                    <a:pt x="34" y="0"/>
                    <a:pt x="34" y="0"/>
                  </a:cubicBezTo>
                  <a:cubicBezTo>
                    <a:pt x="33" y="0"/>
                    <a:pt x="33"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Rectangle 1540"/>
            <p:cNvSpPr>
              <a:spLocks noChangeArrowheads="1"/>
            </p:cNvSpPr>
            <p:nvPr/>
          </p:nvSpPr>
          <p:spPr bwMode="auto">
            <a:xfrm>
              <a:off x="1481939" y="2577288"/>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1541"/>
            <p:cNvSpPr/>
            <p:nvPr/>
          </p:nvSpPr>
          <p:spPr bwMode="auto">
            <a:xfrm flipH="1">
              <a:off x="1481939" y="257728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Freeform 1542"/>
            <p:cNvSpPr>
              <a:spLocks noEditPoints="1"/>
            </p:cNvSpPr>
            <p:nvPr/>
          </p:nvSpPr>
          <p:spPr bwMode="auto">
            <a:xfrm>
              <a:off x="2226935" y="3116907"/>
              <a:ext cx="76513" cy="190612"/>
            </a:xfrm>
            <a:custGeom>
              <a:gdLst>
                <a:gd name="T0" fmla="*/ 10 w 24"/>
                <a:gd name="T1" fmla="*/ 45 h 60"/>
                <a:gd name="T2" fmla="*/ 9 w 24"/>
                <a:gd name="T3" fmla="*/ 52 h 60"/>
                <a:gd name="T4" fmla="*/ 10 w 24"/>
                <a:gd name="T5" fmla="*/ 45 h 60"/>
                <a:gd name="T6" fmla="*/ 16 w 24"/>
                <a:gd name="T7" fmla="*/ 0 h 60"/>
                <a:gd name="T8" fmla="*/ 15 w 24"/>
                <a:gd name="T9" fmla="*/ 0 h 60"/>
                <a:gd name="T10" fmla="*/ 13 w 24"/>
                <a:gd name="T11" fmla="*/ 1 h 60"/>
                <a:gd name="T12" fmla="*/ 13 w 24"/>
                <a:gd name="T13" fmla="*/ 1 h 60"/>
                <a:gd name="T14" fmla="*/ 11 w 24"/>
                <a:gd name="T15" fmla="*/ 7 h 60"/>
                <a:gd name="T16" fmla="*/ 11 w 24"/>
                <a:gd name="T17" fmla="*/ 9 h 60"/>
                <a:gd name="T18" fmla="*/ 9 w 24"/>
                <a:gd name="T19" fmla="*/ 14 h 60"/>
                <a:gd name="T20" fmla="*/ 7 w 24"/>
                <a:gd name="T21" fmla="*/ 17 h 60"/>
                <a:gd name="T22" fmla="*/ 3 w 24"/>
                <a:gd name="T23" fmla="*/ 19 h 60"/>
                <a:gd name="T24" fmla="*/ 0 w 24"/>
                <a:gd name="T25" fmla="*/ 18 h 60"/>
                <a:gd name="T26" fmla="*/ 0 w 24"/>
                <a:gd name="T27" fmla="*/ 17 h 60"/>
                <a:gd name="T28" fmla="*/ 0 w 24"/>
                <a:gd name="T29" fmla="*/ 17 h 60"/>
                <a:gd name="T30" fmla="*/ 7 w 24"/>
                <a:gd name="T31" fmla="*/ 33 h 60"/>
                <a:gd name="T32" fmla="*/ 9 w 24"/>
                <a:gd name="T33" fmla="*/ 29 h 60"/>
                <a:gd name="T34" fmla="*/ 8 w 24"/>
                <a:gd name="T35" fmla="*/ 35 h 60"/>
                <a:gd name="T36" fmla="*/ 9 w 24"/>
                <a:gd name="T37" fmla="*/ 41 h 60"/>
                <a:gd name="T38" fmla="*/ 10 w 24"/>
                <a:gd name="T39" fmla="*/ 45 h 60"/>
                <a:gd name="T40" fmla="*/ 10 w 24"/>
                <a:gd name="T41" fmla="*/ 45 h 60"/>
                <a:gd name="T42" fmla="*/ 11 w 24"/>
                <a:gd name="T43" fmla="*/ 48 h 60"/>
                <a:gd name="T44" fmla="*/ 11 w 24"/>
                <a:gd name="T45" fmla="*/ 54 h 60"/>
                <a:gd name="T46" fmla="*/ 13 w 24"/>
                <a:gd name="T47" fmla="*/ 60 h 60"/>
                <a:gd name="T48" fmla="*/ 14 w 24"/>
                <a:gd name="T49" fmla="*/ 59 h 60"/>
                <a:gd name="T50" fmla="*/ 14 w 24"/>
                <a:gd name="T51" fmla="*/ 59 h 60"/>
                <a:gd name="T52" fmla="*/ 14 w 24"/>
                <a:gd name="T53" fmla="*/ 58 h 60"/>
                <a:gd name="T54" fmla="*/ 14 w 24"/>
                <a:gd name="T55" fmla="*/ 58 h 60"/>
                <a:gd name="T56" fmla="*/ 17 w 24"/>
                <a:gd name="T57" fmla="*/ 52 h 60"/>
                <a:gd name="T58" fmla="*/ 18 w 24"/>
                <a:gd name="T59" fmla="*/ 51 h 60"/>
                <a:gd name="T60" fmla="*/ 21 w 24"/>
                <a:gd name="T61" fmla="*/ 45 h 60"/>
                <a:gd name="T62" fmla="*/ 23 w 24"/>
                <a:gd name="T63" fmla="*/ 51 h 60"/>
                <a:gd name="T64" fmla="*/ 24 w 24"/>
                <a:gd name="T65" fmla="*/ 52 h 60"/>
                <a:gd name="T66" fmla="*/ 23 w 24"/>
                <a:gd name="T67" fmla="*/ 43 h 60"/>
                <a:gd name="T68" fmla="*/ 23 w 24"/>
                <a:gd name="T69" fmla="*/ 40 h 60"/>
                <a:gd name="T70" fmla="*/ 22 w 24"/>
                <a:gd name="T71" fmla="*/ 28 h 60"/>
                <a:gd name="T72" fmla="*/ 20 w 24"/>
                <a:gd name="T73" fmla="*/ 21 h 60"/>
                <a:gd name="T74" fmla="*/ 20 w 24"/>
                <a:gd name="T75" fmla="*/ 20 h 60"/>
                <a:gd name="T76" fmla="*/ 18 w 24"/>
                <a:gd name="T77" fmla="*/ 14 h 60"/>
                <a:gd name="T78" fmla="*/ 18 w 24"/>
                <a:gd name="T79" fmla="*/ 14 h 60"/>
                <a:gd name="T80" fmla="*/ 18 w 24"/>
                <a:gd name="T81" fmla="*/ 13 h 60"/>
                <a:gd name="T82" fmla="*/ 17 w 24"/>
                <a:gd name="T83" fmla="*/ 5 h 60"/>
                <a:gd name="T84" fmla="*/ 16 w 24"/>
                <a:gd name="T85" fmla="*/ 0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 h="60">
                  <a:moveTo>
                    <a:pt x="10" y="45"/>
                  </a:moveTo>
                  <a:cubicBezTo>
                    <a:pt x="10" y="47"/>
                    <a:pt x="9" y="50"/>
                    <a:pt x="9" y="52"/>
                  </a:cubicBezTo>
                  <a:cubicBezTo>
                    <a:pt x="13" y="50"/>
                    <a:pt x="10" y="48"/>
                    <a:pt x="10" y="45"/>
                  </a:cubicBezTo>
                  <a:moveTo>
                    <a:pt x="16" y="0"/>
                  </a:moveTo>
                  <a:cubicBezTo>
                    <a:pt x="15" y="0"/>
                    <a:pt x="15" y="0"/>
                    <a:pt x="15" y="0"/>
                  </a:cubicBezTo>
                  <a:cubicBezTo>
                    <a:pt x="15" y="1"/>
                    <a:pt x="14" y="1"/>
                    <a:pt x="13" y="1"/>
                  </a:cubicBezTo>
                  <a:cubicBezTo>
                    <a:pt x="13" y="1"/>
                    <a:pt x="13" y="1"/>
                    <a:pt x="13" y="1"/>
                  </a:cubicBezTo>
                  <a:cubicBezTo>
                    <a:pt x="13" y="3"/>
                    <a:pt x="12" y="5"/>
                    <a:pt x="11" y="7"/>
                  </a:cubicBezTo>
                  <a:cubicBezTo>
                    <a:pt x="11" y="8"/>
                    <a:pt x="11" y="8"/>
                    <a:pt x="11" y="9"/>
                  </a:cubicBezTo>
                  <a:cubicBezTo>
                    <a:pt x="10" y="10"/>
                    <a:pt x="10" y="12"/>
                    <a:pt x="9" y="14"/>
                  </a:cubicBezTo>
                  <a:cubicBezTo>
                    <a:pt x="8" y="15"/>
                    <a:pt x="8" y="16"/>
                    <a:pt x="7" y="17"/>
                  </a:cubicBezTo>
                  <a:cubicBezTo>
                    <a:pt x="6" y="18"/>
                    <a:pt x="5" y="19"/>
                    <a:pt x="3" y="19"/>
                  </a:cubicBezTo>
                  <a:cubicBezTo>
                    <a:pt x="2" y="19"/>
                    <a:pt x="1" y="18"/>
                    <a:pt x="0" y="18"/>
                  </a:cubicBezTo>
                  <a:cubicBezTo>
                    <a:pt x="0" y="17"/>
                    <a:pt x="0" y="17"/>
                    <a:pt x="0" y="17"/>
                  </a:cubicBezTo>
                  <a:cubicBezTo>
                    <a:pt x="0" y="17"/>
                    <a:pt x="0" y="17"/>
                    <a:pt x="0" y="17"/>
                  </a:cubicBezTo>
                  <a:cubicBezTo>
                    <a:pt x="1" y="23"/>
                    <a:pt x="4" y="28"/>
                    <a:pt x="7" y="33"/>
                  </a:cubicBezTo>
                  <a:cubicBezTo>
                    <a:pt x="7" y="32"/>
                    <a:pt x="8" y="31"/>
                    <a:pt x="9" y="29"/>
                  </a:cubicBezTo>
                  <a:cubicBezTo>
                    <a:pt x="9" y="31"/>
                    <a:pt x="8" y="32"/>
                    <a:pt x="8" y="35"/>
                  </a:cubicBezTo>
                  <a:cubicBezTo>
                    <a:pt x="8" y="37"/>
                    <a:pt x="9" y="39"/>
                    <a:pt x="9" y="41"/>
                  </a:cubicBezTo>
                  <a:cubicBezTo>
                    <a:pt x="10" y="43"/>
                    <a:pt x="10" y="43"/>
                    <a:pt x="10" y="45"/>
                  </a:cubicBezTo>
                  <a:cubicBezTo>
                    <a:pt x="10" y="45"/>
                    <a:pt x="10" y="45"/>
                    <a:pt x="10" y="45"/>
                  </a:cubicBezTo>
                  <a:cubicBezTo>
                    <a:pt x="10" y="46"/>
                    <a:pt x="11" y="47"/>
                    <a:pt x="11" y="48"/>
                  </a:cubicBezTo>
                  <a:cubicBezTo>
                    <a:pt x="12" y="50"/>
                    <a:pt x="10" y="52"/>
                    <a:pt x="11" y="54"/>
                  </a:cubicBezTo>
                  <a:cubicBezTo>
                    <a:pt x="12" y="56"/>
                    <a:pt x="13" y="58"/>
                    <a:pt x="13" y="60"/>
                  </a:cubicBezTo>
                  <a:cubicBezTo>
                    <a:pt x="14" y="59"/>
                    <a:pt x="14" y="59"/>
                    <a:pt x="14" y="59"/>
                  </a:cubicBezTo>
                  <a:cubicBezTo>
                    <a:pt x="14" y="59"/>
                    <a:pt x="14" y="59"/>
                    <a:pt x="14" y="59"/>
                  </a:cubicBezTo>
                  <a:cubicBezTo>
                    <a:pt x="14" y="58"/>
                    <a:pt x="14" y="58"/>
                    <a:pt x="14" y="58"/>
                  </a:cubicBezTo>
                  <a:cubicBezTo>
                    <a:pt x="14" y="58"/>
                    <a:pt x="14" y="58"/>
                    <a:pt x="14" y="58"/>
                  </a:cubicBezTo>
                  <a:cubicBezTo>
                    <a:pt x="14" y="57"/>
                    <a:pt x="15" y="55"/>
                    <a:pt x="17" y="52"/>
                  </a:cubicBezTo>
                  <a:cubicBezTo>
                    <a:pt x="17" y="52"/>
                    <a:pt x="18" y="51"/>
                    <a:pt x="18" y="51"/>
                  </a:cubicBezTo>
                  <a:cubicBezTo>
                    <a:pt x="21" y="45"/>
                    <a:pt x="21" y="45"/>
                    <a:pt x="21" y="45"/>
                  </a:cubicBezTo>
                  <a:cubicBezTo>
                    <a:pt x="23" y="51"/>
                    <a:pt x="23" y="51"/>
                    <a:pt x="23" y="51"/>
                  </a:cubicBezTo>
                  <a:cubicBezTo>
                    <a:pt x="23" y="51"/>
                    <a:pt x="23" y="52"/>
                    <a:pt x="24" y="52"/>
                  </a:cubicBezTo>
                  <a:cubicBezTo>
                    <a:pt x="23" y="43"/>
                    <a:pt x="23" y="43"/>
                    <a:pt x="23" y="43"/>
                  </a:cubicBezTo>
                  <a:cubicBezTo>
                    <a:pt x="23" y="40"/>
                    <a:pt x="23" y="40"/>
                    <a:pt x="23" y="40"/>
                  </a:cubicBezTo>
                  <a:cubicBezTo>
                    <a:pt x="22" y="28"/>
                    <a:pt x="22" y="28"/>
                    <a:pt x="22" y="28"/>
                  </a:cubicBezTo>
                  <a:cubicBezTo>
                    <a:pt x="21" y="26"/>
                    <a:pt x="21" y="23"/>
                    <a:pt x="20" y="21"/>
                  </a:cubicBezTo>
                  <a:cubicBezTo>
                    <a:pt x="20" y="20"/>
                    <a:pt x="20" y="20"/>
                    <a:pt x="20" y="20"/>
                  </a:cubicBezTo>
                  <a:cubicBezTo>
                    <a:pt x="19" y="18"/>
                    <a:pt x="18" y="16"/>
                    <a:pt x="18" y="14"/>
                  </a:cubicBezTo>
                  <a:cubicBezTo>
                    <a:pt x="18" y="14"/>
                    <a:pt x="18" y="14"/>
                    <a:pt x="18" y="14"/>
                  </a:cubicBezTo>
                  <a:cubicBezTo>
                    <a:pt x="18" y="13"/>
                    <a:pt x="18" y="13"/>
                    <a:pt x="18" y="13"/>
                  </a:cubicBezTo>
                  <a:cubicBezTo>
                    <a:pt x="18" y="10"/>
                    <a:pt x="17" y="8"/>
                    <a:pt x="17" y="5"/>
                  </a:cubicBezTo>
                  <a:cubicBezTo>
                    <a:pt x="17" y="3"/>
                    <a:pt x="16" y="2"/>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1543"/>
            <p:cNvSpPr/>
            <p:nvPr/>
          </p:nvSpPr>
          <p:spPr bwMode="auto">
            <a:xfrm>
              <a:off x="1982630" y="2903476"/>
              <a:ext cx="302026" cy="365116"/>
            </a:xfrm>
            <a:custGeom>
              <a:gdLst>
                <a:gd name="T0" fmla="*/ 1 w 95"/>
                <a:gd name="T1" fmla="*/ 7 h 115"/>
                <a:gd name="T2" fmla="*/ 3 w 95"/>
                <a:gd name="T3" fmla="*/ 9 h 115"/>
                <a:gd name="T4" fmla="*/ 10 w 95"/>
                <a:gd name="T5" fmla="*/ 16 h 115"/>
                <a:gd name="T6" fmla="*/ 17 w 95"/>
                <a:gd name="T7" fmla="*/ 20 h 115"/>
                <a:gd name="T8" fmla="*/ 20 w 95"/>
                <a:gd name="T9" fmla="*/ 27 h 115"/>
                <a:gd name="T10" fmla="*/ 13 w 95"/>
                <a:gd name="T11" fmla="*/ 30 h 115"/>
                <a:gd name="T12" fmla="*/ 1 w 95"/>
                <a:gd name="T13" fmla="*/ 37 h 115"/>
                <a:gd name="T14" fmla="*/ 2 w 95"/>
                <a:gd name="T15" fmla="*/ 43 h 115"/>
                <a:gd name="T16" fmla="*/ 6 w 95"/>
                <a:gd name="T17" fmla="*/ 45 h 115"/>
                <a:gd name="T18" fmla="*/ 9 w 95"/>
                <a:gd name="T19" fmla="*/ 45 h 115"/>
                <a:gd name="T20" fmla="*/ 15 w 95"/>
                <a:gd name="T21" fmla="*/ 58 h 115"/>
                <a:gd name="T22" fmla="*/ 13 w 95"/>
                <a:gd name="T23" fmla="*/ 66 h 115"/>
                <a:gd name="T24" fmla="*/ 16 w 95"/>
                <a:gd name="T25" fmla="*/ 70 h 115"/>
                <a:gd name="T26" fmla="*/ 16 w 95"/>
                <a:gd name="T27" fmla="*/ 72 h 115"/>
                <a:gd name="T28" fmla="*/ 20 w 95"/>
                <a:gd name="T29" fmla="*/ 78 h 115"/>
                <a:gd name="T30" fmla="*/ 19 w 95"/>
                <a:gd name="T31" fmla="*/ 83 h 115"/>
                <a:gd name="T32" fmla="*/ 20 w 95"/>
                <a:gd name="T33" fmla="*/ 88 h 115"/>
                <a:gd name="T34" fmla="*/ 23 w 95"/>
                <a:gd name="T35" fmla="*/ 106 h 115"/>
                <a:gd name="T36" fmla="*/ 24 w 95"/>
                <a:gd name="T37" fmla="*/ 115 h 115"/>
                <a:gd name="T38" fmla="*/ 31 w 95"/>
                <a:gd name="T39" fmla="*/ 106 h 115"/>
                <a:gd name="T40" fmla="*/ 37 w 95"/>
                <a:gd name="T41" fmla="*/ 110 h 115"/>
                <a:gd name="T42" fmla="*/ 43 w 95"/>
                <a:gd name="T43" fmla="*/ 102 h 115"/>
                <a:gd name="T44" fmla="*/ 47 w 95"/>
                <a:gd name="T45" fmla="*/ 110 h 115"/>
                <a:gd name="T46" fmla="*/ 55 w 95"/>
                <a:gd name="T47" fmla="*/ 97 h 115"/>
                <a:gd name="T48" fmla="*/ 54 w 95"/>
                <a:gd name="T49" fmla="*/ 84 h 115"/>
                <a:gd name="T50" fmla="*/ 53 w 95"/>
                <a:gd name="T51" fmla="*/ 71 h 115"/>
                <a:gd name="T52" fmla="*/ 56 w 95"/>
                <a:gd name="T53" fmla="*/ 69 h 115"/>
                <a:gd name="T54" fmla="*/ 63 w 95"/>
                <a:gd name="T55" fmla="*/ 85 h 115"/>
                <a:gd name="T56" fmla="*/ 74 w 95"/>
                <a:gd name="T57" fmla="*/ 82 h 115"/>
                <a:gd name="T58" fmla="*/ 68 w 95"/>
                <a:gd name="T59" fmla="*/ 71 h 115"/>
                <a:gd name="T60" fmla="*/ 66 w 95"/>
                <a:gd name="T61" fmla="*/ 66 h 115"/>
                <a:gd name="T62" fmla="*/ 70 w 95"/>
                <a:gd name="T63" fmla="*/ 58 h 115"/>
                <a:gd name="T64" fmla="*/ 79 w 95"/>
                <a:gd name="T65" fmla="*/ 49 h 115"/>
                <a:gd name="T66" fmla="*/ 86 w 95"/>
                <a:gd name="T67" fmla="*/ 45 h 115"/>
                <a:gd name="T68" fmla="*/ 90 w 95"/>
                <a:gd name="T69" fmla="*/ 42 h 115"/>
                <a:gd name="T70" fmla="*/ 91 w 95"/>
                <a:gd name="T71" fmla="*/ 36 h 115"/>
                <a:gd name="T72" fmla="*/ 91 w 95"/>
                <a:gd name="T73" fmla="*/ 31 h 115"/>
                <a:gd name="T74" fmla="*/ 82 w 95"/>
                <a:gd name="T75" fmla="*/ 31 h 115"/>
                <a:gd name="T76" fmla="*/ 67 w 95"/>
                <a:gd name="T77" fmla="*/ 29 h 115"/>
                <a:gd name="T78" fmla="*/ 59 w 95"/>
                <a:gd name="T79" fmla="*/ 30 h 115"/>
                <a:gd name="T80" fmla="*/ 55 w 95"/>
                <a:gd name="T81" fmla="*/ 30 h 115"/>
                <a:gd name="T82" fmla="*/ 49 w 95"/>
                <a:gd name="T83" fmla="*/ 30 h 115"/>
                <a:gd name="T84" fmla="*/ 41 w 95"/>
                <a:gd name="T85" fmla="*/ 27 h 115"/>
                <a:gd name="T86" fmla="*/ 32 w 95"/>
                <a:gd name="T87" fmla="*/ 23 h 115"/>
                <a:gd name="T88" fmla="*/ 34 w 95"/>
                <a:gd name="T89" fmla="*/ 15 h 115"/>
                <a:gd name="T90" fmla="*/ 24 w 95"/>
                <a:gd name="T91" fmla="*/ 8 h 115"/>
                <a:gd name="T92" fmla="*/ 13 w 95"/>
                <a:gd name="T93" fmla="*/ 2 h 115"/>
                <a:gd name="T94" fmla="*/ 7 w 95"/>
                <a:gd name="T95" fmla="*/ 0 h 1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 h="115">
                  <a:moveTo>
                    <a:pt x="7" y="0"/>
                  </a:moveTo>
                  <a:cubicBezTo>
                    <a:pt x="6" y="0"/>
                    <a:pt x="4" y="1"/>
                    <a:pt x="2" y="6"/>
                  </a:cubicBezTo>
                  <a:cubicBezTo>
                    <a:pt x="1" y="7"/>
                    <a:pt x="1" y="7"/>
                    <a:pt x="1" y="7"/>
                  </a:cubicBezTo>
                  <a:cubicBezTo>
                    <a:pt x="1" y="7"/>
                    <a:pt x="1" y="7"/>
                    <a:pt x="1" y="7"/>
                  </a:cubicBezTo>
                  <a:cubicBezTo>
                    <a:pt x="1" y="8"/>
                    <a:pt x="1" y="8"/>
                    <a:pt x="1" y="8"/>
                  </a:cubicBezTo>
                  <a:cubicBezTo>
                    <a:pt x="1" y="8"/>
                    <a:pt x="1" y="8"/>
                    <a:pt x="1" y="8"/>
                  </a:cubicBezTo>
                  <a:cubicBezTo>
                    <a:pt x="1" y="8"/>
                    <a:pt x="2" y="8"/>
                    <a:pt x="2" y="9"/>
                  </a:cubicBezTo>
                  <a:cubicBezTo>
                    <a:pt x="3" y="9"/>
                    <a:pt x="3" y="9"/>
                    <a:pt x="3" y="9"/>
                  </a:cubicBezTo>
                  <a:cubicBezTo>
                    <a:pt x="4" y="10"/>
                    <a:pt x="6" y="12"/>
                    <a:pt x="7" y="13"/>
                  </a:cubicBezTo>
                  <a:cubicBezTo>
                    <a:pt x="7" y="13"/>
                    <a:pt x="7" y="13"/>
                    <a:pt x="7" y="13"/>
                  </a:cubicBezTo>
                  <a:cubicBezTo>
                    <a:pt x="8" y="14"/>
                    <a:pt x="8" y="14"/>
                    <a:pt x="8" y="14"/>
                  </a:cubicBezTo>
                  <a:cubicBezTo>
                    <a:pt x="9" y="15"/>
                    <a:pt x="9" y="16"/>
                    <a:pt x="10" y="16"/>
                  </a:cubicBezTo>
                  <a:cubicBezTo>
                    <a:pt x="10" y="16"/>
                    <a:pt x="10" y="16"/>
                    <a:pt x="10" y="16"/>
                  </a:cubicBezTo>
                  <a:cubicBezTo>
                    <a:pt x="11" y="16"/>
                    <a:pt x="11" y="16"/>
                    <a:pt x="12" y="16"/>
                  </a:cubicBezTo>
                  <a:cubicBezTo>
                    <a:pt x="12" y="16"/>
                    <a:pt x="13" y="16"/>
                    <a:pt x="13" y="16"/>
                  </a:cubicBezTo>
                  <a:cubicBezTo>
                    <a:pt x="16" y="16"/>
                    <a:pt x="16" y="19"/>
                    <a:pt x="17" y="20"/>
                  </a:cubicBezTo>
                  <a:cubicBezTo>
                    <a:pt x="17" y="20"/>
                    <a:pt x="17" y="21"/>
                    <a:pt x="18" y="21"/>
                  </a:cubicBezTo>
                  <a:cubicBezTo>
                    <a:pt x="18" y="21"/>
                    <a:pt x="19" y="22"/>
                    <a:pt x="19" y="22"/>
                  </a:cubicBezTo>
                  <a:cubicBezTo>
                    <a:pt x="24" y="24"/>
                    <a:pt x="24" y="24"/>
                    <a:pt x="24" y="24"/>
                  </a:cubicBezTo>
                  <a:cubicBezTo>
                    <a:pt x="20" y="27"/>
                    <a:pt x="20" y="27"/>
                    <a:pt x="20" y="27"/>
                  </a:cubicBezTo>
                  <a:cubicBezTo>
                    <a:pt x="20" y="27"/>
                    <a:pt x="20" y="27"/>
                    <a:pt x="20" y="27"/>
                  </a:cubicBezTo>
                  <a:cubicBezTo>
                    <a:pt x="20" y="31"/>
                    <a:pt x="20" y="31"/>
                    <a:pt x="20" y="31"/>
                  </a:cubicBezTo>
                  <a:cubicBezTo>
                    <a:pt x="16" y="30"/>
                    <a:pt x="16" y="30"/>
                    <a:pt x="16" y="30"/>
                  </a:cubicBezTo>
                  <a:cubicBezTo>
                    <a:pt x="15" y="30"/>
                    <a:pt x="14" y="30"/>
                    <a:pt x="13" y="30"/>
                  </a:cubicBezTo>
                  <a:cubicBezTo>
                    <a:pt x="13" y="30"/>
                    <a:pt x="12" y="30"/>
                    <a:pt x="12" y="30"/>
                  </a:cubicBezTo>
                  <a:cubicBezTo>
                    <a:pt x="8" y="30"/>
                    <a:pt x="8" y="31"/>
                    <a:pt x="7" y="33"/>
                  </a:cubicBezTo>
                  <a:cubicBezTo>
                    <a:pt x="7" y="35"/>
                    <a:pt x="4" y="36"/>
                    <a:pt x="3" y="36"/>
                  </a:cubicBezTo>
                  <a:cubicBezTo>
                    <a:pt x="3" y="37"/>
                    <a:pt x="2" y="37"/>
                    <a:pt x="1" y="37"/>
                  </a:cubicBezTo>
                  <a:cubicBezTo>
                    <a:pt x="1" y="38"/>
                    <a:pt x="1" y="38"/>
                    <a:pt x="1" y="38"/>
                  </a:cubicBezTo>
                  <a:cubicBezTo>
                    <a:pt x="1" y="38"/>
                    <a:pt x="1" y="38"/>
                    <a:pt x="1" y="38"/>
                  </a:cubicBezTo>
                  <a:cubicBezTo>
                    <a:pt x="1" y="39"/>
                    <a:pt x="0" y="41"/>
                    <a:pt x="0" y="41"/>
                  </a:cubicBezTo>
                  <a:cubicBezTo>
                    <a:pt x="1" y="42"/>
                    <a:pt x="1" y="42"/>
                    <a:pt x="2" y="43"/>
                  </a:cubicBezTo>
                  <a:cubicBezTo>
                    <a:pt x="2" y="43"/>
                    <a:pt x="2" y="43"/>
                    <a:pt x="2" y="43"/>
                  </a:cubicBezTo>
                  <a:cubicBezTo>
                    <a:pt x="3" y="43"/>
                    <a:pt x="4" y="44"/>
                    <a:pt x="4" y="44"/>
                  </a:cubicBezTo>
                  <a:cubicBezTo>
                    <a:pt x="5" y="44"/>
                    <a:pt x="6" y="45"/>
                    <a:pt x="6" y="45"/>
                  </a:cubicBezTo>
                  <a:cubicBezTo>
                    <a:pt x="6" y="45"/>
                    <a:pt x="6" y="45"/>
                    <a:pt x="6" y="45"/>
                  </a:cubicBezTo>
                  <a:cubicBezTo>
                    <a:pt x="7" y="45"/>
                    <a:pt x="7" y="45"/>
                    <a:pt x="7" y="45"/>
                  </a:cubicBezTo>
                  <a:cubicBezTo>
                    <a:pt x="8" y="41"/>
                    <a:pt x="8" y="41"/>
                    <a:pt x="8" y="41"/>
                  </a:cubicBezTo>
                  <a:cubicBezTo>
                    <a:pt x="9" y="45"/>
                    <a:pt x="9" y="45"/>
                    <a:pt x="9" y="45"/>
                  </a:cubicBezTo>
                  <a:cubicBezTo>
                    <a:pt x="9" y="45"/>
                    <a:pt x="9" y="45"/>
                    <a:pt x="9" y="45"/>
                  </a:cubicBezTo>
                  <a:cubicBezTo>
                    <a:pt x="10" y="46"/>
                    <a:pt x="10" y="46"/>
                    <a:pt x="11" y="46"/>
                  </a:cubicBezTo>
                  <a:cubicBezTo>
                    <a:pt x="13" y="47"/>
                    <a:pt x="14" y="48"/>
                    <a:pt x="15" y="49"/>
                  </a:cubicBezTo>
                  <a:cubicBezTo>
                    <a:pt x="15" y="50"/>
                    <a:pt x="15" y="51"/>
                    <a:pt x="15" y="52"/>
                  </a:cubicBezTo>
                  <a:cubicBezTo>
                    <a:pt x="15" y="57"/>
                    <a:pt x="15" y="58"/>
                    <a:pt x="15" y="58"/>
                  </a:cubicBezTo>
                  <a:cubicBezTo>
                    <a:pt x="14" y="59"/>
                    <a:pt x="13" y="60"/>
                    <a:pt x="13" y="61"/>
                  </a:cubicBezTo>
                  <a:cubicBezTo>
                    <a:pt x="13" y="61"/>
                    <a:pt x="13" y="61"/>
                    <a:pt x="13" y="61"/>
                  </a:cubicBezTo>
                  <a:cubicBezTo>
                    <a:pt x="12" y="62"/>
                    <a:pt x="12" y="62"/>
                    <a:pt x="12" y="62"/>
                  </a:cubicBezTo>
                  <a:cubicBezTo>
                    <a:pt x="12" y="65"/>
                    <a:pt x="12" y="65"/>
                    <a:pt x="13" y="66"/>
                  </a:cubicBezTo>
                  <a:cubicBezTo>
                    <a:pt x="14" y="66"/>
                    <a:pt x="15" y="66"/>
                    <a:pt x="15" y="67"/>
                  </a:cubicBezTo>
                  <a:cubicBezTo>
                    <a:pt x="16" y="68"/>
                    <a:pt x="16" y="68"/>
                    <a:pt x="16" y="68"/>
                  </a:cubicBezTo>
                  <a:cubicBezTo>
                    <a:pt x="16" y="69"/>
                    <a:pt x="16" y="69"/>
                    <a:pt x="16" y="69"/>
                  </a:cubicBezTo>
                  <a:cubicBezTo>
                    <a:pt x="16" y="70"/>
                    <a:pt x="16" y="70"/>
                    <a:pt x="16" y="70"/>
                  </a:cubicBezTo>
                  <a:cubicBezTo>
                    <a:pt x="16" y="71"/>
                    <a:pt x="16" y="71"/>
                    <a:pt x="16" y="71"/>
                  </a:cubicBezTo>
                  <a:cubicBezTo>
                    <a:pt x="15" y="71"/>
                    <a:pt x="15" y="71"/>
                    <a:pt x="15" y="71"/>
                  </a:cubicBezTo>
                  <a:cubicBezTo>
                    <a:pt x="16" y="71"/>
                    <a:pt x="16" y="71"/>
                    <a:pt x="16" y="71"/>
                  </a:cubicBezTo>
                  <a:cubicBezTo>
                    <a:pt x="16" y="72"/>
                    <a:pt x="16" y="72"/>
                    <a:pt x="16" y="72"/>
                  </a:cubicBezTo>
                  <a:cubicBezTo>
                    <a:pt x="16" y="72"/>
                    <a:pt x="16" y="72"/>
                    <a:pt x="16" y="72"/>
                  </a:cubicBezTo>
                  <a:cubicBezTo>
                    <a:pt x="17" y="73"/>
                    <a:pt x="18" y="73"/>
                    <a:pt x="19" y="74"/>
                  </a:cubicBezTo>
                  <a:cubicBezTo>
                    <a:pt x="19" y="75"/>
                    <a:pt x="19" y="75"/>
                    <a:pt x="19" y="76"/>
                  </a:cubicBezTo>
                  <a:cubicBezTo>
                    <a:pt x="20" y="76"/>
                    <a:pt x="20" y="77"/>
                    <a:pt x="20" y="78"/>
                  </a:cubicBezTo>
                  <a:cubicBezTo>
                    <a:pt x="20" y="78"/>
                    <a:pt x="20" y="79"/>
                    <a:pt x="20" y="79"/>
                  </a:cubicBezTo>
                  <a:cubicBezTo>
                    <a:pt x="20" y="80"/>
                    <a:pt x="20" y="80"/>
                    <a:pt x="20" y="80"/>
                  </a:cubicBezTo>
                  <a:cubicBezTo>
                    <a:pt x="19" y="80"/>
                    <a:pt x="19" y="80"/>
                    <a:pt x="19" y="81"/>
                  </a:cubicBezTo>
                  <a:cubicBezTo>
                    <a:pt x="19" y="82"/>
                    <a:pt x="19" y="82"/>
                    <a:pt x="19" y="83"/>
                  </a:cubicBezTo>
                  <a:cubicBezTo>
                    <a:pt x="20" y="84"/>
                    <a:pt x="20" y="86"/>
                    <a:pt x="20" y="87"/>
                  </a:cubicBezTo>
                  <a:cubicBezTo>
                    <a:pt x="20" y="87"/>
                    <a:pt x="20" y="87"/>
                    <a:pt x="20" y="87"/>
                  </a:cubicBezTo>
                  <a:cubicBezTo>
                    <a:pt x="20" y="87"/>
                    <a:pt x="20" y="87"/>
                    <a:pt x="20" y="88"/>
                  </a:cubicBezTo>
                  <a:cubicBezTo>
                    <a:pt x="20" y="88"/>
                    <a:pt x="20" y="88"/>
                    <a:pt x="20" y="88"/>
                  </a:cubicBezTo>
                  <a:cubicBezTo>
                    <a:pt x="20" y="89"/>
                    <a:pt x="20" y="89"/>
                    <a:pt x="20" y="89"/>
                  </a:cubicBezTo>
                  <a:cubicBezTo>
                    <a:pt x="21" y="97"/>
                    <a:pt x="21" y="97"/>
                    <a:pt x="21" y="97"/>
                  </a:cubicBezTo>
                  <a:cubicBezTo>
                    <a:pt x="22" y="98"/>
                    <a:pt x="22" y="100"/>
                    <a:pt x="23" y="102"/>
                  </a:cubicBezTo>
                  <a:cubicBezTo>
                    <a:pt x="23" y="103"/>
                    <a:pt x="23" y="105"/>
                    <a:pt x="23" y="106"/>
                  </a:cubicBezTo>
                  <a:cubicBezTo>
                    <a:pt x="23" y="109"/>
                    <a:pt x="23" y="109"/>
                    <a:pt x="23" y="109"/>
                  </a:cubicBezTo>
                  <a:cubicBezTo>
                    <a:pt x="21" y="109"/>
                    <a:pt x="21" y="109"/>
                    <a:pt x="21" y="109"/>
                  </a:cubicBezTo>
                  <a:cubicBezTo>
                    <a:pt x="22" y="112"/>
                    <a:pt x="23" y="115"/>
                    <a:pt x="24" y="115"/>
                  </a:cubicBezTo>
                  <a:cubicBezTo>
                    <a:pt x="24" y="115"/>
                    <a:pt x="24" y="115"/>
                    <a:pt x="24" y="115"/>
                  </a:cubicBezTo>
                  <a:cubicBezTo>
                    <a:pt x="25" y="115"/>
                    <a:pt x="26" y="108"/>
                    <a:pt x="26" y="107"/>
                  </a:cubicBezTo>
                  <a:cubicBezTo>
                    <a:pt x="26" y="109"/>
                    <a:pt x="26" y="111"/>
                    <a:pt x="27" y="113"/>
                  </a:cubicBezTo>
                  <a:cubicBezTo>
                    <a:pt x="32" y="111"/>
                    <a:pt x="30" y="103"/>
                    <a:pt x="30" y="99"/>
                  </a:cubicBezTo>
                  <a:cubicBezTo>
                    <a:pt x="30" y="102"/>
                    <a:pt x="30" y="104"/>
                    <a:pt x="31" y="106"/>
                  </a:cubicBezTo>
                  <a:cubicBezTo>
                    <a:pt x="32" y="103"/>
                    <a:pt x="31" y="101"/>
                    <a:pt x="33" y="98"/>
                  </a:cubicBezTo>
                  <a:cubicBezTo>
                    <a:pt x="32" y="102"/>
                    <a:pt x="29" y="109"/>
                    <a:pt x="32" y="112"/>
                  </a:cubicBezTo>
                  <a:cubicBezTo>
                    <a:pt x="33" y="111"/>
                    <a:pt x="33" y="109"/>
                    <a:pt x="33" y="108"/>
                  </a:cubicBezTo>
                  <a:cubicBezTo>
                    <a:pt x="35" y="109"/>
                    <a:pt x="36" y="110"/>
                    <a:pt x="37" y="110"/>
                  </a:cubicBezTo>
                  <a:cubicBezTo>
                    <a:pt x="38" y="110"/>
                    <a:pt x="39" y="108"/>
                    <a:pt x="39" y="106"/>
                  </a:cubicBezTo>
                  <a:cubicBezTo>
                    <a:pt x="39" y="101"/>
                    <a:pt x="38" y="98"/>
                    <a:pt x="41" y="94"/>
                  </a:cubicBezTo>
                  <a:cubicBezTo>
                    <a:pt x="38" y="98"/>
                    <a:pt x="39" y="103"/>
                    <a:pt x="41" y="107"/>
                  </a:cubicBezTo>
                  <a:cubicBezTo>
                    <a:pt x="41" y="105"/>
                    <a:pt x="42" y="104"/>
                    <a:pt x="43" y="102"/>
                  </a:cubicBezTo>
                  <a:cubicBezTo>
                    <a:pt x="43" y="104"/>
                    <a:pt x="43" y="105"/>
                    <a:pt x="43" y="106"/>
                  </a:cubicBezTo>
                  <a:cubicBezTo>
                    <a:pt x="44" y="104"/>
                    <a:pt x="46" y="103"/>
                    <a:pt x="47" y="101"/>
                  </a:cubicBezTo>
                  <a:cubicBezTo>
                    <a:pt x="46" y="104"/>
                    <a:pt x="44" y="107"/>
                    <a:pt x="45" y="109"/>
                  </a:cubicBezTo>
                  <a:cubicBezTo>
                    <a:pt x="46" y="110"/>
                    <a:pt x="46" y="110"/>
                    <a:pt x="47" y="110"/>
                  </a:cubicBezTo>
                  <a:cubicBezTo>
                    <a:pt x="47" y="110"/>
                    <a:pt x="47" y="110"/>
                    <a:pt x="48" y="110"/>
                  </a:cubicBezTo>
                  <a:cubicBezTo>
                    <a:pt x="50" y="108"/>
                    <a:pt x="50" y="101"/>
                    <a:pt x="51" y="99"/>
                  </a:cubicBezTo>
                  <a:cubicBezTo>
                    <a:pt x="52" y="101"/>
                    <a:pt x="53" y="102"/>
                    <a:pt x="54" y="102"/>
                  </a:cubicBezTo>
                  <a:cubicBezTo>
                    <a:pt x="55" y="102"/>
                    <a:pt x="55" y="99"/>
                    <a:pt x="55" y="97"/>
                  </a:cubicBezTo>
                  <a:cubicBezTo>
                    <a:pt x="55" y="94"/>
                    <a:pt x="54" y="92"/>
                    <a:pt x="53" y="92"/>
                  </a:cubicBezTo>
                  <a:cubicBezTo>
                    <a:pt x="53" y="92"/>
                    <a:pt x="53" y="92"/>
                    <a:pt x="53" y="92"/>
                  </a:cubicBezTo>
                  <a:cubicBezTo>
                    <a:pt x="54" y="90"/>
                    <a:pt x="53" y="90"/>
                    <a:pt x="50" y="87"/>
                  </a:cubicBezTo>
                  <a:cubicBezTo>
                    <a:pt x="51" y="87"/>
                    <a:pt x="55" y="84"/>
                    <a:pt x="54" y="84"/>
                  </a:cubicBezTo>
                  <a:cubicBezTo>
                    <a:pt x="52" y="80"/>
                    <a:pt x="52" y="80"/>
                    <a:pt x="55" y="78"/>
                  </a:cubicBezTo>
                  <a:cubicBezTo>
                    <a:pt x="57" y="76"/>
                    <a:pt x="49" y="71"/>
                    <a:pt x="47" y="70"/>
                  </a:cubicBezTo>
                  <a:cubicBezTo>
                    <a:pt x="48" y="70"/>
                    <a:pt x="48" y="70"/>
                    <a:pt x="48" y="70"/>
                  </a:cubicBezTo>
                  <a:cubicBezTo>
                    <a:pt x="49" y="70"/>
                    <a:pt x="51" y="71"/>
                    <a:pt x="53" y="71"/>
                  </a:cubicBezTo>
                  <a:cubicBezTo>
                    <a:pt x="53" y="71"/>
                    <a:pt x="53" y="70"/>
                    <a:pt x="53" y="69"/>
                  </a:cubicBezTo>
                  <a:cubicBezTo>
                    <a:pt x="53" y="68"/>
                    <a:pt x="53" y="68"/>
                    <a:pt x="53" y="68"/>
                  </a:cubicBezTo>
                  <a:cubicBezTo>
                    <a:pt x="56" y="67"/>
                    <a:pt x="56" y="67"/>
                    <a:pt x="56" y="67"/>
                  </a:cubicBezTo>
                  <a:cubicBezTo>
                    <a:pt x="56" y="67"/>
                    <a:pt x="56" y="68"/>
                    <a:pt x="56" y="69"/>
                  </a:cubicBezTo>
                  <a:cubicBezTo>
                    <a:pt x="56" y="68"/>
                    <a:pt x="58" y="68"/>
                    <a:pt x="58" y="68"/>
                  </a:cubicBezTo>
                  <a:cubicBezTo>
                    <a:pt x="58" y="70"/>
                    <a:pt x="57" y="71"/>
                    <a:pt x="56" y="73"/>
                  </a:cubicBezTo>
                  <a:cubicBezTo>
                    <a:pt x="58" y="74"/>
                    <a:pt x="57" y="78"/>
                    <a:pt x="57" y="80"/>
                  </a:cubicBezTo>
                  <a:cubicBezTo>
                    <a:pt x="57" y="84"/>
                    <a:pt x="60" y="84"/>
                    <a:pt x="63" y="85"/>
                  </a:cubicBezTo>
                  <a:cubicBezTo>
                    <a:pt x="65" y="85"/>
                    <a:pt x="69" y="86"/>
                    <a:pt x="72" y="86"/>
                  </a:cubicBezTo>
                  <a:cubicBezTo>
                    <a:pt x="74" y="86"/>
                    <a:pt x="76" y="86"/>
                    <a:pt x="77" y="84"/>
                  </a:cubicBezTo>
                  <a:cubicBezTo>
                    <a:pt x="76" y="83"/>
                    <a:pt x="76" y="83"/>
                    <a:pt x="76" y="83"/>
                  </a:cubicBezTo>
                  <a:cubicBezTo>
                    <a:pt x="74" y="82"/>
                    <a:pt x="74" y="82"/>
                    <a:pt x="74" y="82"/>
                  </a:cubicBezTo>
                  <a:cubicBezTo>
                    <a:pt x="72" y="82"/>
                    <a:pt x="71" y="81"/>
                    <a:pt x="70" y="78"/>
                  </a:cubicBezTo>
                  <a:cubicBezTo>
                    <a:pt x="70" y="77"/>
                    <a:pt x="69" y="76"/>
                    <a:pt x="69" y="75"/>
                  </a:cubicBezTo>
                  <a:cubicBezTo>
                    <a:pt x="69" y="74"/>
                    <a:pt x="69" y="72"/>
                    <a:pt x="69" y="72"/>
                  </a:cubicBezTo>
                  <a:cubicBezTo>
                    <a:pt x="68" y="71"/>
                    <a:pt x="68" y="71"/>
                    <a:pt x="68" y="71"/>
                  </a:cubicBezTo>
                  <a:cubicBezTo>
                    <a:pt x="68" y="71"/>
                    <a:pt x="68" y="70"/>
                    <a:pt x="68" y="69"/>
                  </a:cubicBezTo>
                  <a:cubicBezTo>
                    <a:pt x="67" y="69"/>
                    <a:pt x="67" y="69"/>
                    <a:pt x="67" y="69"/>
                  </a:cubicBezTo>
                  <a:cubicBezTo>
                    <a:pt x="67" y="68"/>
                    <a:pt x="67" y="68"/>
                    <a:pt x="67" y="67"/>
                  </a:cubicBezTo>
                  <a:cubicBezTo>
                    <a:pt x="66" y="66"/>
                    <a:pt x="66" y="66"/>
                    <a:pt x="66" y="66"/>
                  </a:cubicBezTo>
                  <a:cubicBezTo>
                    <a:pt x="66" y="64"/>
                    <a:pt x="67" y="63"/>
                    <a:pt x="67" y="62"/>
                  </a:cubicBezTo>
                  <a:cubicBezTo>
                    <a:pt x="68" y="61"/>
                    <a:pt x="68" y="61"/>
                    <a:pt x="68" y="61"/>
                  </a:cubicBezTo>
                  <a:cubicBezTo>
                    <a:pt x="68" y="57"/>
                    <a:pt x="68" y="57"/>
                    <a:pt x="68" y="57"/>
                  </a:cubicBezTo>
                  <a:cubicBezTo>
                    <a:pt x="70" y="58"/>
                    <a:pt x="70" y="58"/>
                    <a:pt x="70" y="58"/>
                  </a:cubicBezTo>
                  <a:cubicBezTo>
                    <a:pt x="78" y="50"/>
                    <a:pt x="78" y="50"/>
                    <a:pt x="78" y="50"/>
                  </a:cubicBezTo>
                  <a:cubicBezTo>
                    <a:pt x="77" y="49"/>
                    <a:pt x="77" y="49"/>
                    <a:pt x="77" y="49"/>
                  </a:cubicBezTo>
                  <a:cubicBezTo>
                    <a:pt x="79" y="49"/>
                    <a:pt x="79" y="49"/>
                    <a:pt x="79" y="49"/>
                  </a:cubicBezTo>
                  <a:cubicBezTo>
                    <a:pt x="79" y="49"/>
                    <a:pt x="79" y="49"/>
                    <a:pt x="79" y="49"/>
                  </a:cubicBezTo>
                  <a:cubicBezTo>
                    <a:pt x="79" y="49"/>
                    <a:pt x="79" y="49"/>
                    <a:pt x="79" y="49"/>
                  </a:cubicBezTo>
                  <a:cubicBezTo>
                    <a:pt x="80" y="49"/>
                    <a:pt x="81" y="49"/>
                    <a:pt x="82" y="49"/>
                  </a:cubicBezTo>
                  <a:cubicBezTo>
                    <a:pt x="84" y="48"/>
                    <a:pt x="84" y="48"/>
                    <a:pt x="84" y="48"/>
                  </a:cubicBezTo>
                  <a:cubicBezTo>
                    <a:pt x="84" y="47"/>
                    <a:pt x="85" y="46"/>
                    <a:pt x="86" y="45"/>
                  </a:cubicBezTo>
                  <a:cubicBezTo>
                    <a:pt x="83" y="40"/>
                    <a:pt x="83" y="40"/>
                    <a:pt x="83" y="40"/>
                  </a:cubicBezTo>
                  <a:cubicBezTo>
                    <a:pt x="87" y="44"/>
                    <a:pt x="87" y="44"/>
                    <a:pt x="87" y="44"/>
                  </a:cubicBezTo>
                  <a:cubicBezTo>
                    <a:pt x="87" y="44"/>
                    <a:pt x="87" y="44"/>
                    <a:pt x="88" y="43"/>
                  </a:cubicBezTo>
                  <a:cubicBezTo>
                    <a:pt x="88" y="43"/>
                    <a:pt x="89" y="42"/>
                    <a:pt x="90" y="42"/>
                  </a:cubicBezTo>
                  <a:cubicBezTo>
                    <a:pt x="90" y="42"/>
                    <a:pt x="90" y="42"/>
                    <a:pt x="90" y="42"/>
                  </a:cubicBezTo>
                  <a:cubicBezTo>
                    <a:pt x="90" y="41"/>
                    <a:pt x="90" y="41"/>
                    <a:pt x="90" y="41"/>
                  </a:cubicBezTo>
                  <a:cubicBezTo>
                    <a:pt x="91" y="41"/>
                    <a:pt x="91" y="39"/>
                    <a:pt x="91" y="38"/>
                  </a:cubicBezTo>
                  <a:cubicBezTo>
                    <a:pt x="91" y="36"/>
                    <a:pt x="91" y="36"/>
                    <a:pt x="91" y="36"/>
                  </a:cubicBezTo>
                  <a:cubicBezTo>
                    <a:pt x="95" y="33"/>
                    <a:pt x="95" y="33"/>
                    <a:pt x="95" y="33"/>
                  </a:cubicBezTo>
                  <a:cubicBezTo>
                    <a:pt x="95" y="32"/>
                    <a:pt x="94" y="32"/>
                    <a:pt x="94" y="32"/>
                  </a:cubicBezTo>
                  <a:cubicBezTo>
                    <a:pt x="93" y="32"/>
                    <a:pt x="93" y="32"/>
                    <a:pt x="93" y="32"/>
                  </a:cubicBezTo>
                  <a:cubicBezTo>
                    <a:pt x="92" y="31"/>
                    <a:pt x="92" y="31"/>
                    <a:pt x="91" y="31"/>
                  </a:cubicBezTo>
                  <a:cubicBezTo>
                    <a:pt x="90" y="30"/>
                    <a:pt x="89" y="30"/>
                    <a:pt x="89" y="30"/>
                  </a:cubicBezTo>
                  <a:cubicBezTo>
                    <a:pt x="88" y="30"/>
                    <a:pt x="87" y="30"/>
                    <a:pt x="87" y="30"/>
                  </a:cubicBezTo>
                  <a:cubicBezTo>
                    <a:pt x="86" y="30"/>
                    <a:pt x="86" y="30"/>
                    <a:pt x="86" y="30"/>
                  </a:cubicBezTo>
                  <a:cubicBezTo>
                    <a:pt x="85" y="31"/>
                    <a:pt x="83" y="31"/>
                    <a:pt x="82" y="31"/>
                  </a:cubicBezTo>
                  <a:cubicBezTo>
                    <a:pt x="82" y="31"/>
                    <a:pt x="81" y="31"/>
                    <a:pt x="81" y="31"/>
                  </a:cubicBezTo>
                  <a:cubicBezTo>
                    <a:pt x="77" y="31"/>
                    <a:pt x="73" y="30"/>
                    <a:pt x="69" y="30"/>
                  </a:cubicBezTo>
                  <a:cubicBezTo>
                    <a:pt x="68" y="30"/>
                    <a:pt x="68" y="30"/>
                    <a:pt x="68" y="30"/>
                  </a:cubicBezTo>
                  <a:cubicBezTo>
                    <a:pt x="68" y="29"/>
                    <a:pt x="67" y="29"/>
                    <a:pt x="67" y="29"/>
                  </a:cubicBezTo>
                  <a:cubicBezTo>
                    <a:pt x="66" y="29"/>
                    <a:pt x="64" y="30"/>
                    <a:pt x="63" y="30"/>
                  </a:cubicBezTo>
                  <a:cubicBezTo>
                    <a:pt x="62" y="30"/>
                    <a:pt x="62" y="30"/>
                    <a:pt x="62" y="30"/>
                  </a:cubicBezTo>
                  <a:cubicBezTo>
                    <a:pt x="62" y="30"/>
                    <a:pt x="61" y="30"/>
                    <a:pt x="61" y="30"/>
                  </a:cubicBezTo>
                  <a:cubicBezTo>
                    <a:pt x="60" y="30"/>
                    <a:pt x="59" y="30"/>
                    <a:pt x="59" y="30"/>
                  </a:cubicBezTo>
                  <a:cubicBezTo>
                    <a:pt x="58" y="30"/>
                    <a:pt x="58" y="30"/>
                    <a:pt x="58" y="30"/>
                  </a:cubicBezTo>
                  <a:cubicBezTo>
                    <a:pt x="58" y="30"/>
                    <a:pt x="58" y="30"/>
                    <a:pt x="58" y="30"/>
                  </a:cubicBezTo>
                  <a:cubicBezTo>
                    <a:pt x="57" y="30"/>
                    <a:pt x="57" y="30"/>
                    <a:pt x="56" y="30"/>
                  </a:cubicBezTo>
                  <a:cubicBezTo>
                    <a:pt x="55" y="30"/>
                    <a:pt x="55" y="30"/>
                    <a:pt x="55" y="30"/>
                  </a:cubicBezTo>
                  <a:cubicBezTo>
                    <a:pt x="55" y="31"/>
                    <a:pt x="54" y="31"/>
                    <a:pt x="53" y="31"/>
                  </a:cubicBezTo>
                  <a:cubicBezTo>
                    <a:pt x="52" y="31"/>
                    <a:pt x="52" y="31"/>
                    <a:pt x="52" y="31"/>
                  </a:cubicBezTo>
                  <a:cubicBezTo>
                    <a:pt x="51" y="30"/>
                    <a:pt x="51" y="30"/>
                    <a:pt x="51" y="30"/>
                  </a:cubicBezTo>
                  <a:cubicBezTo>
                    <a:pt x="50" y="30"/>
                    <a:pt x="49" y="30"/>
                    <a:pt x="49" y="30"/>
                  </a:cubicBezTo>
                  <a:cubicBezTo>
                    <a:pt x="48" y="30"/>
                    <a:pt x="48" y="30"/>
                    <a:pt x="48" y="30"/>
                  </a:cubicBezTo>
                  <a:cubicBezTo>
                    <a:pt x="47" y="29"/>
                    <a:pt x="47" y="29"/>
                    <a:pt x="46" y="29"/>
                  </a:cubicBezTo>
                  <a:cubicBezTo>
                    <a:pt x="44" y="29"/>
                    <a:pt x="43" y="28"/>
                    <a:pt x="41" y="28"/>
                  </a:cubicBezTo>
                  <a:cubicBezTo>
                    <a:pt x="41" y="27"/>
                    <a:pt x="41" y="27"/>
                    <a:pt x="41" y="27"/>
                  </a:cubicBezTo>
                  <a:cubicBezTo>
                    <a:pt x="40" y="27"/>
                    <a:pt x="40" y="27"/>
                    <a:pt x="40" y="27"/>
                  </a:cubicBezTo>
                  <a:cubicBezTo>
                    <a:pt x="39" y="27"/>
                    <a:pt x="38" y="27"/>
                    <a:pt x="37" y="26"/>
                  </a:cubicBezTo>
                  <a:cubicBezTo>
                    <a:pt x="37" y="26"/>
                    <a:pt x="35" y="26"/>
                    <a:pt x="35" y="23"/>
                  </a:cubicBezTo>
                  <a:cubicBezTo>
                    <a:pt x="32" y="23"/>
                    <a:pt x="32" y="23"/>
                    <a:pt x="32" y="23"/>
                  </a:cubicBezTo>
                  <a:cubicBezTo>
                    <a:pt x="35" y="22"/>
                    <a:pt x="35" y="22"/>
                    <a:pt x="35" y="22"/>
                  </a:cubicBezTo>
                  <a:cubicBezTo>
                    <a:pt x="35" y="22"/>
                    <a:pt x="35" y="22"/>
                    <a:pt x="35" y="22"/>
                  </a:cubicBezTo>
                  <a:cubicBezTo>
                    <a:pt x="34" y="20"/>
                    <a:pt x="34" y="18"/>
                    <a:pt x="34" y="16"/>
                  </a:cubicBezTo>
                  <a:cubicBezTo>
                    <a:pt x="34" y="15"/>
                    <a:pt x="34" y="15"/>
                    <a:pt x="34" y="15"/>
                  </a:cubicBezTo>
                  <a:cubicBezTo>
                    <a:pt x="34" y="14"/>
                    <a:pt x="34" y="13"/>
                    <a:pt x="34" y="12"/>
                  </a:cubicBezTo>
                  <a:cubicBezTo>
                    <a:pt x="34" y="10"/>
                    <a:pt x="34" y="9"/>
                    <a:pt x="34" y="7"/>
                  </a:cubicBezTo>
                  <a:cubicBezTo>
                    <a:pt x="32" y="9"/>
                    <a:pt x="30" y="9"/>
                    <a:pt x="28" y="9"/>
                  </a:cubicBezTo>
                  <a:cubicBezTo>
                    <a:pt x="27" y="9"/>
                    <a:pt x="26" y="9"/>
                    <a:pt x="24" y="8"/>
                  </a:cubicBezTo>
                  <a:cubicBezTo>
                    <a:pt x="24" y="8"/>
                    <a:pt x="24" y="8"/>
                    <a:pt x="24" y="8"/>
                  </a:cubicBezTo>
                  <a:cubicBezTo>
                    <a:pt x="22" y="7"/>
                    <a:pt x="21" y="5"/>
                    <a:pt x="20" y="3"/>
                  </a:cubicBezTo>
                  <a:cubicBezTo>
                    <a:pt x="19" y="3"/>
                    <a:pt x="19" y="3"/>
                    <a:pt x="19" y="3"/>
                  </a:cubicBezTo>
                  <a:cubicBezTo>
                    <a:pt x="16" y="3"/>
                    <a:pt x="15" y="3"/>
                    <a:pt x="13" y="2"/>
                  </a:cubicBezTo>
                  <a:cubicBezTo>
                    <a:pt x="12" y="2"/>
                    <a:pt x="12" y="2"/>
                    <a:pt x="12" y="2"/>
                  </a:cubicBezTo>
                  <a:cubicBezTo>
                    <a:pt x="12" y="2"/>
                    <a:pt x="12" y="2"/>
                    <a:pt x="12" y="2"/>
                  </a:cubicBezTo>
                  <a:cubicBezTo>
                    <a:pt x="11" y="2"/>
                    <a:pt x="10" y="1"/>
                    <a:pt x="9"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1544"/>
            <p:cNvSpPr/>
            <p:nvPr/>
          </p:nvSpPr>
          <p:spPr bwMode="auto">
            <a:xfrm>
              <a:off x="2268547" y="3307519"/>
              <a:ext cx="2685" cy="5369"/>
            </a:xfrm>
            <a:custGeom>
              <a:gdLst>
                <a:gd name="T0" fmla="*/ 0 w 1"/>
                <a:gd name="T1" fmla="*/ 0 h 2"/>
                <a:gd name="T2" fmla="*/ 1 w 1"/>
                <a:gd name="T3" fmla="*/ 0 h 2"/>
                <a:gd name="T4" fmla="*/ 1 w 1"/>
                <a:gd name="T5" fmla="*/ 1 h 2"/>
                <a:gd name="T6" fmla="*/ 0 w 1"/>
                <a:gd name="T7" fmla="*/ 2 h 2"/>
                <a:gd name="T8" fmla="*/ 1 w 1"/>
                <a:gd name="T9" fmla="*/ 2 h 2"/>
                <a:gd name="T10" fmla="*/ 1 w 1"/>
                <a:gd name="T11" fmla="*/ 2 h 2"/>
                <a:gd name="T12" fmla="*/ 1 w 1"/>
                <a:gd name="T13" fmla="*/ 1 h 2"/>
                <a:gd name="T14" fmla="*/ 1 w 1"/>
                <a:gd name="T15" fmla="*/ 0 h 2"/>
                <a:gd name="T16" fmla="*/ 0 w 1"/>
                <a:gd name="T17"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0" y="0"/>
                  </a:moveTo>
                  <a:cubicBezTo>
                    <a:pt x="1" y="0"/>
                    <a:pt x="1" y="0"/>
                    <a:pt x="1" y="0"/>
                  </a:cubicBezTo>
                  <a:cubicBezTo>
                    <a:pt x="1" y="1"/>
                    <a:pt x="1" y="1"/>
                    <a:pt x="1" y="1"/>
                  </a:cubicBezTo>
                  <a:cubicBezTo>
                    <a:pt x="0" y="2"/>
                    <a:pt x="0" y="2"/>
                    <a:pt x="0" y="2"/>
                  </a:cubicBezTo>
                  <a:cubicBezTo>
                    <a:pt x="1" y="2"/>
                    <a:pt x="1" y="2"/>
                    <a:pt x="1" y="2"/>
                  </a:cubicBezTo>
                  <a:cubicBezTo>
                    <a:pt x="1" y="2"/>
                    <a:pt x="1" y="2"/>
                    <a:pt x="1" y="2"/>
                  </a:cubicBezTo>
                  <a:cubicBezTo>
                    <a:pt x="1" y="1"/>
                    <a:pt x="1" y="1"/>
                    <a:pt x="1" y="1"/>
                  </a:cubicBezTo>
                  <a:cubicBezTo>
                    <a:pt x="1" y="1"/>
                    <a:pt x="1"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1545"/>
            <p:cNvSpPr/>
            <p:nvPr/>
          </p:nvSpPr>
          <p:spPr bwMode="auto">
            <a:xfrm>
              <a:off x="2275259" y="3316915"/>
              <a:ext cx="12081" cy="21477"/>
            </a:xfrm>
            <a:custGeom>
              <a:gdLst>
                <a:gd name="T0" fmla="*/ 2 w 4"/>
                <a:gd name="T1" fmla="*/ 0 h 7"/>
                <a:gd name="T2" fmla="*/ 0 w 4"/>
                <a:gd name="T3" fmla="*/ 1 h 7"/>
                <a:gd name="T4" fmla="*/ 4 w 4"/>
                <a:gd name="T5" fmla="*/ 7 h 7"/>
                <a:gd name="T6" fmla="*/ 3 w 4"/>
                <a:gd name="T7" fmla="*/ 4 h 7"/>
                <a:gd name="T8" fmla="*/ 3 w 4"/>
                <a:gd name="T9" fmla="*/ 2 h 7"/>
                <a:gd name="T10" fmla="*/ 3 w 4"/>
                <a:gd name="T11" fmla="*/ 2 h 7"/>
                <a:gd name="T12" fmla="*/ 2 w 4"/>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4" h="7">
                  <a:moveTo>
                    <a:pt x="2" y="0"/>
                  </a:moveTo>
                  <a:cubicBezTo>
                    <a:pt x="0" y="1"/>
                    <a:pt x="0" y="1"/>
                    <a:pt x="0" y="1"/>
                  </a:cubicBezTo>
                  <a:cubicBezTo>
                    <a:pt x="2" y="3"/>
                    <a:pt x="3" y="5"/>
                    <a:pt x="4" y="7"/>
                  </a:cubicBezTo>
                  <a:cubicBezTo>
                    <a:pt x="4" y="6"/>
                    <a:pt x="4" y="5"/>
                    <a:pt x="3" y="4"/>
                  </a:cubicBezTo>
                  <a:cubicBezTo>
                    <a:pt x="3" y="3"/>
                    <a:pt x="3" y="3"/>
                    <a:pt x="3" y="2"/>
                  </a:cubicBezTo>
                  <a:cubicBezTo>
                    <a:pt x="3" y="2"/>
                    <a:pt x="3" y="2"/>
                    <a:pt x="3" y="2"/>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Freeform 1546"/>
            <p:cNvSpPr/>
            <p:nvPr/>
          </p:nvSpPr>
          <p:spPr bwMode="auto">
            <a:xfrm>
              <a:off x="2287340" y="2728972"/>
              <a:ext cx="634925" cy="1418850"/>
            </a:xfrm>
            <a:custGeom>
              <a:gdLst>
                <a:gd name="T0" fmla="*/ 116 w 200"/>
                <a:gd name="T1" fmla="*/ 17 h 447"/>
                <a:gd name="T2" fmla="*/ 92 w 200"/>
                <a:gd name="T3" fmla="*/ 34 h 447"/>
                <a:gd name="T4" fmla="*/ 70 w 200"/>
                <a:gd name="T5" fmla="*/ 61 h 447"/>
                <a:gd name="T6" fmla="*/ 49 w 200"/>
                <a:gd name="T7" fmla="*/ 110 h 447"/>
                <a:gd name="T8" fmla="*/ 24 w 200"/>
                <a:gd name="T9" fmla="*/ 138 h 447"/>
                <a:gd name="T10" fmla="*/ 11 w 200"/>
                <a:gd name="T11" fmla="*/ 166 h 447"/>
                <a:gd name="T12" fmla="*/ 1 w 200"/>
                <a:gd name="T13" fmla="*/ 181 h 447"/>
                <a:gd name="T14" fmla="*/ 2 w 200"/>
                <a:gd name="T15" fmla="*/ 190 h 447"/>
                <a:gd name="T16" fmla="*/ 12 w 200"/>
                <a:gd name="T17" fmla="*/ 204 h 447"/>
                <a:gd name="T18" fmla="*/ 16 w 200"/>
                <a:gd name="T19" fmla="*/ 209 h 447"/>
                <a:gd name="T20" fmla="*/ 33 w 200"/>
                <a:gd name="T21" fmla="*/ 213 h 447"/>
                <a:gd name="T22" fmla="*/ 39 w 200"/>
                <a:gd name="T23" fmla="*/ 226 h 447"/>
                <a:gd name="T24" fmla="*/ 32 w 200"/>
                <a:gd name="T25" fmla="*/ 232 h 447"/>
                <a:gd name="T26" fmla="*/ 41 w 200"/>
                <a:gd name="T27" fmla="*/ 226 h 447"/>
                <a:gd name="T28" fmla="*/ 51 w 200"/>
                <a:gd name="T29" fmla="*/ 260 h 447"/>
                <a:gd name="T30" fmla="*/ 52 w 200"/>
                <a:gd name="T31" fmla="*/ 303 h 447"/>
                <a:gd name="T32" fmla="*/ 55 w 200"/>
                <a:gd name="T33" fmla="*/ 308 h 447"/>
                <a:gd name="T34" fmla="*/ 60 w 200"/>
                <a:gd name="T35" fmla="*/ 304 h 447"/>
                <a:gd name="T36" fmla="*/ 67 w 200"/>
                <a:gd name="T37" fmla="*/ 306 h 447"/>
                <a:gd name="T38" fmla="*/ 80 w 200"/>
                <a:gd name="T39" fmla="*/ 303 h 447"/>
                <a:gd name="T40" fmla="*/ 93 w 200"/>
                <a:gd name="T41" fmla="*/ 294 h 447"/>
                <a:gd name="T42" fmla="*/ 108 w 200"/>
                <a:gd name="T43" fmla="*/ 275 h 447"/>
                <a:gd name="T44" fmla="*/ 125 w 200"/>
                <a:gd name="T45" fmla="*/ 294 h 447"/>
                <a:gd name="T46" fmla="*/ 128 w 200"/>
                <a:gd name="T47" fmla="*/ 319 h 447"/>
                <a:gd name="T48" fmla="*/ 134 w 200"/>
                <a:gd name="T49" fmla="*/ 340 h 447"/>
                <a:gd name="T50" fmla="*/ 138 w 200"/>
                <a:gd name="T51" fmla="*/ 355 h 447"/>
                <a:gd name="T52" fmla="*/ 148 w 200"/>
                <a:gd name="T53" fmla="*/ 395 h 447"/>
                <a:gd name="T54" fmla="*/ 144 w 200"/>
                <a:gd name="T55" fmla="*/ 403 h 447"/>
                <a:gd name="T56" fmla="*/ 150 w 200"/>
                <a:gd name="T57" fmla="*/ 411 h 447"/>
                <a:gd name="T58" fmla="*/ 145 w 200"/>
                <a:gd name="T59" fmla="*/ 438 h 447"/>
                <a:gd name="T60" fmla="*/ 169 w 200"/>
                <a:gd name="T61" fmla="*/ 408 h 447"/>
                <a:gd name="T62" fmla="*/ 162 w 200"/>
                <a:gd name="T63" fmla="*/ 386 h 447"/>
                <a:gd name="T64" fmla="*/ 159 w 200"/>
                <a:gd name="T65" fmla="*/ 369 h 447"/>
                <a:gd name="T66" fmla="*/ 150 w 200"/>
                <a:gd name="T67" fmla="*/ 353 h 447"/>
                <a:gd name="T68" fmla="*/ 145 w 200"/>
                <a:gd name="T69" fmla="*/ 320 h 447"/>
                <a:gd name="T70" fmla="*/ 145 w 200"/>
                <a:gd name="T71" fmla="*/ 290 h 447"/>
                <a:gd name="T72" fmla="*/ 137 w 200"/>
                <a:gd name="T73" fmla="*/ 281 h 447"/>
                <a:gd name="T74" fmla="*/ 123 w 200"/>
                <a:gd name="T75" fmla="*/ 255 h 447"/>
                <a:gd name="T76" fmla="*/ 126 w 200"/>
                <a:gd name="T77" fmla="*/ 242 h 447"/>
                <a:gd name="T78" fmla="*/ 136 w 200"/>
                <a:gd name="T79" fmla="*/ 212 h 447"/>
                <a:gd name="T80" fmla="*/ 149 w 200"/>
                <a:gd name="T81" fmla="*/ 214 h 447"/>
                <a:gd name="T82" fmla="*/ 156 w 200"/>
                <a:gd name="T83" fmla="*/ 212 h 447"/>
                <a:gd name="T84" fmla="*/ 171 w 200"/>
                <a:gd name="T85" fmla="*/ 199 h 447"/>
                <a:gd name="T86" fmla="*/ 182 w 200"/>
                <a:gd name="T87" fmla="*/ 195 h 447"/>
                <a:gd name="T88" fmla="*/ 197 w 200"/>
                <a:gd name="T89" fmla="*/ 175 h 447"/>
                <a:gd name="T90" fmla="*/ 180 w 200"/>
                <a:gd name="T91" fmla="*/ 172 h 447"/>
                <a:gd name="T92" fmla="*/ 157 w 200"/>
                <a:gd name="T93" fmla="*/ 160 h 447"/>
                <a:gd name="T94" fmla="*/ 163 w 200"/>
                <a:gd name="T95" fmla="*/ 141 h 447"/>
                <a:gd name="T96" fmla="*/ 165 w 200"/>
                <a:gd name="T97" fmla="*/ 137 h 447"/>
                <a:gd name="T98" fmla="*/ 149 w 200"/>
                <a:gd name="T99" fmla="*/ 122 h 447"/>
                <a:gd name="T100" fmla="*/ 148 w 200"/>
                <a:gd name="T101" fmla="*/ 113 h 447"/>
                <a:gd name="T102" fmla="*/ 138 w 200"/>
                <a:gd name="T103" fmla="*/ 111 h 447"/>
                <a:gd name="T104" fmla="*/ 121 w 200"/>
                <a:gd name="T105" fmla="*/ 111 h 447"/>
                <a:gd name="T106" fmla="*/ 120 w 200"/>
                <a:gd name="T107" fmla="*/ 98 h 447"/>
                <a:gd name="T108" fmla="*/ 126 w 200"/>
                <a:gd name="T109" fmla="*/ 83 h 447"/>
                <a:gd name="T110" fmla="*/ 134 w 200"/>
                <a:gd name="T111" fmla="*/ 75 h 447"/>
                <a:gd name="T112" fmla="*/ 144 w 200"/>
                <a:gd name="T113" fmla="*/ 67 h 447"/>
                <a:gd name="T114" fmla="*/ 146 w 200"/>
                <a:gd name="T115" fmla="*/ 56 h 447"/>
                <a:gd name="T116" fmla="*/ 148 w 200"/>
                <a:gd name="T117" fmla="*/ 24 h 447"/>
                <a:gd name="T118" fmla="*/ 133 w 200"/>
                <a:gd name="T119" fmla="*/ 7 h 4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0" h="447">
                  <a:moveTo>
                    <a:pt x="125" y="0"/>
                  </a:moveTo>
                  <a:cubicBezTo>
                    <a:pt x="124" y="1"/>
                    <a:pt x="123" y="3"/>
                    <a:pt x="122" y="5"/>
                  </a:cubicBezTo>
                  <a:cubicBezTo>
                    <a:pt x="122" y="5"/>
                    <a:pt x="121" y="5"/>
                    <a:pt x="121" y="6"/>
                  </a:cubicBezTo>
                  <a:cubicBezTo>
                    <a:pt x="121" y="6"/>
                    <a:pt x="121" y="6"/>
                    <a:pt x="121" y="6"/>
                  </a:cubicBezTo>
                  <a:cubicBezTo>
                    <a:pt x="122" y="7"/>
                    <a:pt x="122" y="7"/>
                    <a:pt x="122" y="7"/>
                  </a:cubicBezTo>
                  <a:cubicBezTo>
                    <a:pt x="122" y="9"/>
                    <a:pt x="122" y="9"/>
                    <a:pt x="122" y="9"/>
                  </a:cubicBezTo>
                  <a:cubicBezTo>
                    <a:pt x="123" y="13"/>
                    <a:pt x="120" y="15"/>
                    <a:pt x="117" y="17"/>
                  </a:cubicBezTo>
                  <a:cubicBezTo>
                    <a:pt x="116" y="17"/>
                    <a:pt x="116" y="17"/>
                    <a:pt x="116" y="17"/>
                  </a:cubicBezTo>
                  <a:cubicBezTo>
                    <a:pt x="116" y="18"/>
                    <a:pt x="115" y="18"/>
                    <a:pt x="114" y="19"/>
                  </a:cubicBezTo>
                  <a:cubicBezTo>
                    <a:pt x="112" y="20"/>
                    <a:pt x="111" y="22"/>
                    <a:pt x="111" y="22"/>
                  </a:cubicBezTo>
                  <a:cubicBezTo>
                    <a:pt x="112" y="23"/>
                    <a:pt x="113" y="25"/>
                    <a:pt x="113" y="25"/>
                  </a:cubicBezTo>
                  <a:cubicBezTo>
                    <a:pt x="113" y="26"/>
                    <a:pt x="113" y="26"/>
                    <a:pt x="113" y="26"/>
                  </a:cubicBezTo>
                  <a:cubicBezTo>
                    <a:pt x="106" y="38"/>
                    <a:pt x="106" y="38"/>
                    <a:pt x="106" y="38"/>
                  </a:cubicBezTo>
                  <a:cubicBezTo>
                    <a:pt x="104" y="30"/>
                    <a:pt x="104" y="30"/>
                    <a:pt x="104" y="30"/>
                  </a:cubicBezTo>
                  <a:cubicBezTo>
                    <a:pt x="104" y="30"/>
                    <a:pt x="103" y="30"/>
                    <a:pt x="103" y="30"/>
                  </a:cubicBezTo>
                  <a:cubicBezTo>
                    <a:pt x="100" y="30"/>
                    <a:pt x="96" y="32"/>
                    <a:pt x="92" y="34"/>
                  </a:cubicBezTo>
                  <a:cubicBezTo>
                    <a:pt x="89" y="36"/>
                    <a:pt x="88" y="37"/>
                    <a:pt x="86" y="38"/>
                  </a:cubicBezTo>
                  <a:cubicBezTo>
                    <a:pt x="83" y="39"/>
                    <a:pt x="81" y="40"/>
                    <a:pt x="80" y="42"/>
                  </a:cubicBezTo>
                  <a:cubicBezTo>
                    <a:pt x="78" y="43"/>
                    <a:pt x="76" y="45"/>
                    <a:pt x="73" y="46"/>
                  </a:cubicBezTo>
                  <a:cubicBezTo>
                    <a:pt x="73" y="46"/>
                    <a:pt x="73" y="46"/>
                    <a:pt x="73" y="46"/>
                  </a:cubicBezTo>
                  <a:cubicBezTo>
                    <a:pt x="68" y="48"/>
                    <a:pt x="68" y="48"/>
                    <a:pt x="69" y="50"/>
                  </a:cubicBezTo>
                  <a:cubicBezTo>
                    <a:pt x="69" y="51"/>
                    <a:pt x="69" y="52"/>
                    <a:pt x="69" y="53"/>
                  </a:cubicBezTo>
                  <a:cubicBezTo>
                    <a:pt x="69" y="54"/>
                    <a:pt x="69" y="54"/>
                    <a:pt x="69" y="54"/>
                  </a:cubicBezTo>
                  <a:cubicBezTo>
                    <a:pt x="70" y="56"/>
                    <a:pt x="70" y="59"/>
                    <a:pt x="70" y="61"/>
                  </a:cubicBezTo>
                  <a:cubicBezTo>
                    <a:pt x="70" y="62"/>
                    <a:pt x="69" y="63"/>
                    <a:pt x="69" y="63"/>
                  </a:cubicBezTo>
                  <a:cubicBezTo>
                    <a:pt x="68" y="64"/>
                    <a:pt x="68" y="64"/>
                    <a:pt x="68" y="64"/>
                  </a:cubicBezTo>
                  <a:cubicBezTo>
                    <a:pt x="68" y="65"/>
                    <a:pt x="67" y="66"/>
                    <a:pt x="67" y="66"/>
                  </a:cubicBezTo>
                  <a:cubicBezTo>
                    <a:pt x="67" y="68"/>
                    <a:pt x="66" y="71"/>
                    <a:pt x="62" y="74"/>
                  </a:cubicBezTo>
                  <a:cubicBezTo>
                    <a:pt x="57" y="77"/>
                    <a:pt x="57" y="77"/>
                    <a:pt x="58" y="79"/>
                  </a:cubicBezTo>
                  <a:cubicBezTo>
                    <a:pt x="61" y="85"/>
                    <a:pt x="59" y="92"/>
                    <a:pt x="53" y="99"/>
                  </a:cubicBezTo>
                  <a:cubicBezTo>
                    <a:pt x="51" y="103"/>
                    <a:pt x="49" y="109"/>
                    <a:pt x="49" y="109"/>
                  </a:cubicBezTo>
                  <a:cubicBezTo>
                    <a:pt x="49" y="110"/>
                    <a:pt x="49" y="110"/>
                    <a:pt x="49" y="110"/>
                  </a:cubicBezTo>
                  <a:cubicBezTo>
                    <a:pt x="48" y="110"/>
                    <a:pt x="48" y="110"/>
                    <a:pt x="48" y="110"/>
                  </a:cubicBezTo>
                  <a:cubicBezTo>
                    <a:pt x="48" y="111"/>
                    <a:pt x="46" y="113"/>
                    <a:pt x="42" y="116"/>
                  </a:cubicBezTo>
                  <a:cubicBezTo>
                    <a:pt x="41" y="118"/>
                    <a:pt x="41" y="118"/>
                    <a:pt x="41" y="118"/>
                  </a:cubicBezTo>
                  <a:cubicBezTo>
                    <a:pt x="39" y="117"/>
                    <a:pt x="39" y="117"/>
                    <a:pt x="39" y="117"/>
                  </a:cubicBezTo>
                  <a:cubicBezTo>
                    <a:pt x="36" y="115"/>
                    <a:pt x="31" y="114"/>
                    <a:pt x="28" y="114"/>
                  </a:cubicBezTo>
                  <a:cubicBezTo>
                    <a:pt x="28" y="114"/>
                    <a:pt x="28" y="115"/>
                    <a:pt x="28" y="115"/>
                  </a:cubicBezTo>
                  <a:cubicBezTo>
                    <a:pt x="30" y="119"/>
                    <a:pt x="29" y="127"/>
                    <a:pt x="28" y="134"/>
                  </a:cubicBezTo>
                  <a:cubicBezTo>
                    <a:pt x="27" y="137"/>
                    <a:pt x="26" y="138"/>
                    <a:pt x="24" y="138"/>
                  </a:cubicBezTo>
                  <a:cubicBezTo>
                    <a:pt x="24" y="138"/>
                    <a:pt x="23" y="138"/>
                    <a:pt x="23" y="138"/>
                  </a:cubicBezTo>
                  <a:cubicBezTo>
                    <a:pt x="23" y="138"/>
                    <a:pt x="22" y="138"/>
                    <a:pt x="22" y="138"/>
                  </a:cubicBezTo>
                  <a:cubicBezTo>
                    <a:pt x="21" y="142"/>
                    <a:pt x="21" y="142"/>
                    <a:pt x="21" y="142"/>
                  </a:cubicBezTo>
                  <a:cubicBezTo>
                    <a:pt x="21" y="146"/>
                    <a:pt x="21" y="146"/>
                    <a:pt x="21" y="146"/>
                  </a:cubicBezTo>
                  <a:cubicBezTo>
                    <a:pt x="23" y="157"/>
                    <a:pt x="23" y="157"/>
                    <a:pt x="23" y="157"/>
                  </a:cubicBezTo>
                  <a:cubicBezTo>
                    <a:pt x="17" y="164"/>
                    <a:pt x="17" y="164"/>
                    <a:pt x="17" y="164"/>
                  </a:cubicBezTo>
                  <a:cubicBezTo>
                    <a:pt x="14" y="163"/>
                    <a:pt x="14" y="163"/>
                    <a:pt x="14" y="163"/>
                  </a:cubicBezTo>
                  <a:cubicBezTo>
                    <a:pt x="11" y="166"/>
                    <a:pt x="11" y="166"/>
                    <a:pt x="11" y="166"/>
                  </a:cubicBezTo>
                  <a:cubicBezTo>
                    <a:pt x="11" y="174"/>
                    <a:pt x="11" y="174"/>
                    <a:pt x="11" y="174"/>
                  </a:cubicBezTo>
                  <a:cubicBezTo>
                    <a:pt x="11" y="175"/>
                    <a:pt x="11" y="176"/>
                    <a:pt x="11" y="177"/>
                  </a:cubicBezTo>
                  <a:cubicBezTo>
                    <a:pt x="11" y="178"/>
                    <a:pt x="11" y="178"/>
                    <a:pt x="11" y="178"/>
                  </a:cubicBezTo>
                  <a:cubicBezTo>
                    <a:pt x="12" y="184"/>
                    <a:pt x="12" y="184"/>
                    <a:pt x="12" y="184"/>
                  </a:cubicBezTo>
                  <a:cubicBezTo>
                    <a:pt x="7" y="181"/>
                    <a:pt x="7" y="181"/>
                    <a:pt x="7" y="181"/>
                  </a:cubicBezTo>
                  <a:cubicBezTo>
                    <a:pt x="6" y="180"/>
                    <a:pt x="5" y="180"/>
                    <a:pt x="5" y="180"/>
                  </a:cubicBezTo>
                  <a:cubicBezTo>
                    <a:pt x="4" y="180"/>
                    <a:pt x="3" y="179"/>
                    <a:pt x="2" y="179"/>
                  </a:cubicBezTo>
                  <a:cubicBezTo>
                    <a:pt x="1" y="180"/>
                    <a:pt x="1" y="181"/>
                    <a:pt x="1" y="181"/>
                  </a:cubicBezTo>
                  <a:cubicBezTo>
                    <a:pt x="0" y="182"/>
                    <a:pt x="0" y="182"/>
                    <a:pt x="0" y="182"/>
                  </a:cubicBezTo>
                  <a:cubicBezTo>
                    <a:pt x="1" y="183"/>
                    <a:pt x="1" y="183"/>
                    <a:pt x="1" y="183"/>
                  </a:cubicBezTo>
                  <a:cubicBezTo>
                    <a:pt x="2" y="183"/>
                    <a:pt x="2" y="183"/>
                    <a:pt x="2" y="183"/>
                  </a:cubicBezTo>
                  <a:cubicBezTo>
                    <a:pt x="1" y="183"/>
                    <a:pt x="1" y="183"/>
                    <a:pt x="1" y="183"/>
                  </a:cubicBezTo>
                  <a:cubicBezTo>
                    <a:pt x="2" y="185"/>
                    <a:pt x="2" y="185"/>
                    <a:pt x="2" y="185"/>
                  </a:cubicBezTo>
                  <a:cubicBezTo>
                    <a:pt x="0" y="186"/>
                    <a:pt x="0" y="186"/>
                    <a:pt x="0" y="186"/>
                  </a:cubicBezTo>
                  <a:cubicBezTo>
                    <a:pt x="0" y="187"/>
                    <a:pt x="1" y="188"/>
                    <a:pt x="2" y="189"/>
                  </a:cubicBezTo>
                  <a:cubicBezTo>
                    <a:pt x="2" y="190"/>
                    <a:pt x="2" y="190"/>
                    <a:pt x="2" y="190"/>
                  </a:cubicBezTo>
                  <a:cubicBezTo>
                    <a:pt x="3" y="192"/>
                    <a:pt x="4" y="193"/>
                    <a:pt x="5" y="195"/>
                  </a:cubicBezTo>
                  <a:cubicBezTo>
                    <a:pt x="6" y="197"/>
                    <a:pt x="7" y="199"/>
                    <a:pt x="8" y="201"/>
                  </a:cubicBezTo>
                  <a:cubicBezTo>
                    <a:pt x="9" y="202"/>
                    <a:pt x="9" y="203"/>
                    <a:pt x="10" y="204"/>
                  </a:cubicBezTo>
                  <a:cubicBezTo>
                    <a:pt x="10" y="203"/>
                    <a:pt x="10" y="201"/>
                    <a:pt x="9" y="200"/>
                  </a:cubicBezTo>
                  <a:cubicBezTo>
                    <a:pt x="9" y="198"/>
                    <a:pt x="9" y="196"/>
                    <a:pt x="9" y="195"/>
                  </a:cubicBezTo>
                  <a:cubicBezTo>
                    <a:pt x="10" y="196"/>
                    <a:pt x="10" y="197"/>
                    <a:pt x="11" y="198"/>
                  </a:cubicBezTo>
                  <a:cubicBezTo>
                    <a:pt x="12" y="199"/>
                    <a:pt x="12" y="200"/>
                    <a:pt x="13" y="202"/>
                  </a:cubicBezTo>
                  <a:cubicBezTo>
                    <a:pt x="13" y="202"/>
                    <a:pt x="12" y="203"/>
                    <a:pt x="12" y="204"/>
                  </a:cubicBezTo>
                  <a:cubicBezTo>
                    <a:pt x="12" y="204"/>
                    <a:pt x="13" y="205"/>
                    <a:pt x="13" y="205"/>
                  </a:cubicBezTo>
                  <a:cubicBezTo>
                    <a:pt x="14" y="206"/>
                    <a:pt x="14" y="206"/>
                    <a:pt x="14" y="206"/>
                  </a:cubicBezTo>
                  <a:cubicBezTo>
                    <a:pt x="15" y="205"/>
                    <a:pt x="15" y="204"/>
                    <a:pt x="15" y="203"/>
                  </a:cubicBezTo>
                  <a:cubicBezTo>
                    <a:pt x="16" y="201"/>
                    <a:pt x="17" y="200"/>
                    <a:pt x="17" y="198"/>
                  </a:cubicBezTo>
                  <a:cubicBezTo>
                    <a:pt x="17" y="199"/>
                    <a:pt x="17" y="200"/>
                    <a:pt x="17" y="201"/>
                  </a:cubicBezTo>
                  <a:cubicBezTo>
                    <a:pt x="17" y="201"/>
                    <a:pt x="17" y="201"/>
                    <a:pt x="17" y="201"/>
                  </a:cubicBezTo>
                  <a:cubicBezTo>
                    <a:pt x="18" y="201"/>
                    <a:pt x="18" y="201"/>
                    <a:pt x="18" y="201"/>
                  </a:cubicBezTo>
                  <a:cubicBezTo>
                    <a:pt x="18" y="203"/>
                    <a:pt x="16" y="206"/>
                    <a:pt x="16" y="209"/>
                  </a:cubicBezTo>
                  <a:cubicBezTo>
                    <a:pt x="16" y="209"/>
                    <a:pt x="17" y="210"/>
                    <a:pt x="17" y="210"/>
                  </a:cubicBezTo>
                  <a:cubicBezTo>
                    <a:pt x="17" y="210"/>
                    <a:pt x="17" y="210"/>
                    <a:pt x="17" y="210"/>
                  </a:cubicBezTo>
                  <a:cubicBezTo>
                    <a:pt x="18" y="212"/>
                    <a:pt x="19" y="213"/>
                    <a:pt x="19" y="214"/>
                  </a:cubicBezTo>
                  <a:cubicBezTo>
                    <a:pt x="19" y="211"/>
                    <a:pt x="19" y="209"/>
                    <a:pt x="22" y="209"/>
                  </a:cubicBezTo>
                  <a:cubicBezTo>
                    <a:pt x="22" y="209"/>
                    <a:pt x="23" y="209"/>
                    <a:pt x="24" y="209"/>
                  </a:cubicBezTo>
                  <a:cubicBezTo>
                    <a:pt x="25" y="210"/>
                    <a:pt x="26" y="210"/>
                    <a:pt x="27" y="210"/>
                  </a:cubicBezTo>
                  <a:cubicBezTo>
                    <a:pt x="29" y="210"/>
                    <a:pt x="33" y="211"/>
                    <a:pt x="33" y="212"/>
                  </a:cubicBezTo>
                  <a:cubicBezTo>
                    <a:pt x="33" y="213"/>
                    <a:pt x="33" y="213"/>
                    <a:pt x="33" y="213"/>
                  </a:cubicBezTo>
                  <a:cubicBezTo>
                    <a:pt x="33" y="213"/>
                    <a:pt x="33" y="213"/>
                    <a:pt x="33" y="213"/>
                  </a:cubicBezTo>
                  <a:cubicBezTo>
                    <a:pt x="32" y="213"/>
                    <a:pt x="32" y="213"/>
                    <a:pt x="31" y="214"/>
                  </a:cubicBezTo>
                  <a:cubicBezTo>
                    <a:pt x="31" y="215"/>
                    <a:pt x="31" y="215"/>
                    <a:pt x="31" y="215"/>
                  </a:cubicBezTo>
                  <a:cubicBezTo>
                    <a:pt x="30" y="217"/>
                    <a:pt x="33" y="217"/>
                    <a:pt x="36" y="217"/>
                  </a:cubicBezTo>
                  <a:cubicBezTo>
                    <a:pt x="33" y="219"/>
                    <a:pt x="34" y="219"/>
                    <a:pt x="35" y="220"/>
                  </a:cubicBezTo>
                  <a:cubicBezTo>
                    <a:pt x="35" y="221"/>
                    <a:pt x="35" y="221"/>
                    <a:pt x="36" y="222"/>
                  </a:cubicBezTo>
                  <a:cubicBezTo>
                    <a:pt x="36" y="222"/>
                    <a:pt x="38" y="224"/>
                    <a:pt x="39" y="225"/>
                  </a:cubicBezTo>
                  <a:cubicBezTo>
                    <a:pt x="39" y="226"/>
                    <a:pt x="39" y="226"/>
                    <a:pt x="39" y="226"/>
                  </a:cubicBezTo>
                  <a:cubicBezTo>
                    <a:pt x="38" y="227"/>
                    <a:pt x="36" y="228"/>
                    <a:pt x="37" y="229"/>
                  </a:cubicBezTo>
                  <a:cubicBezTo>
                    <a:pt x="37" y="229"/>
                    <a:pt x="36" y="229"/>
                    <a:pt x="35" y="228"/>
                  </a:cubicBezTo>
                  <a:cubicBezTo>
                    <a:pt x="35" y="228"/>
                    <a:pt x="34" y="228"/>
                    <a:pt x="33" y="228"/>
                  </a:cubicBezTo>
                  <a:cubicBezTo>
                    <a:pt x="32" y="227"/>
                    <a:pt x="32" y="226"/>
                    <a:pt x="31" y="226"/>
                  </a:cubicBezTo>
                  <a:cubicBezTo>
                    <a:pt x="31" y="226"/>
                    <a:pt x="30" y="225"/>
                    <a:pt x="30" y="225"/>
                  </a:cubicBezTo>
                  <a:cubicBezTo>
                    <a:pt x="29" y="224"/>
                    <a:pt x="29" y="224"/>
                    <a:pt x="29" y="224"/>
                  </a:cubicBezTo>
                  <a:cubicBezTo>
                    <a:pt x="28" y="224"/>
                    <a:pt x="28" y="225"/>
                    <a:pt x="29" y="226"/>
                  </a:cubicBezTo>
                  <a:cubicBezTo>
                    <a:pt x="29" y="228"/>
                    <a:pt x="31" y="231"/>
                    <a:pt x="32" y="232"/>
                  </a:cubicBezTo>
                  <a:cubicBezTo>
                    <a:pt x="32" y="233"/>
                    <a:pt x="32" y="233"/>
                    <a:pt x="32" y="233"/>
                  </a:cubicBezTo>
                  <a:cubicBezTo>
                    <a:pt x="33" y="234"/>
                    <a:pt x="35" y="236"/>
                    <a:pt x="36" y="237"/>
                  </a:cubicBezTo>
                  <a:cubicBezTo>
                    <a:pt x="37" y="237"/>
                    <a:pt x="37" y="238"/>
                    <a:pt x="38" y="238"/>
                  </a:cubicBezTo>
                  <a:cubicBezTo>
                    <a:pt x="38" y="237"/>
                    <a:pt x="38" y="236"/>
                    <a:pt x="38" y="235"/>
                  </a:cubicBezTo>
                  <a:cubicBezTo>
                    <a:pt x="38" y="234"/>
                    <a:pt x="38" y="232"/>
                    <a:pt x="38" y="231"/>
                  </a:cubicBezTo>
                  <a:cubicBezTo>
                    <a:pt x="38" y="230"/>
                    <a:pt x="37" y="230"/>
                    <a:pt x="37" y="229"/>
                  </a:cubicBezTo>
                  <a:cubicBezTo>
                    <a:pt x="38" y="230"/>
                    <a:pt x="38" y="230"/>
                    <a:pt x="38" y="230"/>
                  </a:cubicBezTo>
                  <a:cubicBezTo>
                    <a:pt x="39" y="229"/>
                    <a:pt x="40" y="227"/>
                    <a:pt x="41" y="226"/>
                  </a:cubicBezTo>
                  <a:cubicBezTo>
                    <a:pt x="42" y="228"/>
                    <a:pt x="41" y="230"/>
                    <a:pt x="41" y="232"/>
                  </a:cubicBezTo>
                  <a:cubicBezTo>
                    <a:pt x="41" y="234"/>
                    <a:pt x="41" y="235"/>
                    <a:pt x="41" y="237"/>
                  </a:cubicBezTo>
                  <a:cubicBezTo>
                    <a:pt x="41" y="239"/>
                    <a:pt x="41" y="238"/>
                    <a:pt x="42" y="240"/>
                  </a:cubicBezTo>
                  <a:cubicBezTo>
                    <a:pt x="42" y="240"/>
                    <a:pt x="42" y="240"/>
                    <a:pt x="42" y="240"/>
                  </a:cubicBezTo>
                  <a:cubicBezTo>
                    <a:pt x="44" y="242"/>
                    <a:pt x="45" y="244"/>
                    <a:pt x="46" y="246"/>
                  </a:cubicBezTo>
                  <a:cubicBezTo>
                    <a:pt x="47" y="248"/>
                    <a:pt x="48" y="250"/>
                    <a:pt x="49" y="252"/>
                  </a:cubicBezTo>
                  <a:cubicBezTo>
                    <a:pt x="49" y="254"/>
                    <a:pt x="50" y="257"/>
                    <a:pt x="51" y="259"/>
                  </a:cubicBezTo>
                  <a:cubicBezTo>
                    <a:pt x="51" y="260"/>
                    <a:pt x="51" y="260"/>
                    <a:pt x="51" y="260"/>
                  </a:cubicBezTo>
                  <a:cubicBezTo>
                    <a:pt x="51" y="261"/>
                    <a:pt x="52" y="264"/>
                    <a:pt x="53" y="266"/>
                  </a:cubicBezTo>
                  <a:cubicBezTo>
                    <a:pt x="53" y="269"/>
                    <a:pt x="54" y="271"/>
                    <a:pt x="53" y="272"/>
                  </a:cubicBezTo>
                  <a:cubicBezTo>
                    <a:pt x="52" y="274"/>
                    <a:pt x="52" y="275"/>
                    <a:pt x="52" y="276"/>
                  </a:cubicBezTo>
                  <a:cubicBezTo>
                    <a:pt x="51" y="279"/>
                    <a:pt x="50" y="282"/>
                    <a:pt x="50" y="285"/>
                  </a:cubicBezTo>
                  <a:cubicBezTo>
                    <a:pt x="50" y="286"/>
                    <a:pt x="49" y="287"/>
                    <a:pt x="49" y="288"/>
                  </a:cubicBezTo>
                  <a:cubicBezTo>
                    <a:pt x="49" y="292"/>
                    <a:pt x="48" y="295"/>
                    <a:pt x="47" y="299"/>
                  </a:cubicBezTo>
                  <a:cubicBezTo>
                    <a:pt x="47" y="302"/>
                    <a:pt x="46" y="305"/>
                    <a:pt x="46" y="308"/>
                  </a:cubicBezTo>
                  <a:cubicBezTo>
                    <a:pt x="48" y="307"/>
                    <a:pt x="50" y="305"/>
                    <a:pt x="52" y="303"/>
                  </a:cubicBezTo>
                  <a:cubicBezTo>
                    <a:pt x="53" y="302"/>
                    <a:pt x="53" y="302"/>
                    <a:pt x="53" y="302"/>
                  </a:cubicBezTo>
                  <a:cubicBezTo>
                    <a:pt x="54" y="301"/>
                    <a:pt x="54" y="301"/>
                    <a:pt x="54" y="301"/>
                  </a:cubicBezTo>
                  <a:cubicBezTo>
                    <a:pt x="55" y="299"/>
                    <a:pt x="56" y="297"/>
                    <a:pt x="56" y="295"/>
                  </a:cubicBezTo>
                  <a:cubicBezTo>
                    <a:pt x="56" y="296"/>
                    <a:pt x="56" y="298"/>
                    <a:pt x="56" y="299"/>
                  </a:cubicBezTo>
                  <a:cubicBezTo>
                    <a:pt x="56" y="300"/>
                    <a:pt x="56" y="301"/>
                    <a:pt x="56" y="302"/>
                  </a:cubicBezTo>
                  <a:cubicBezTo>
                    <a:pt x="55" y="304"/>
                    <a:pt x="53" y="307"/>
                    <a:pt x="53" y="308"/>
                  </a:cubicBezTo>
                  <a:cubicBezTo>
                    <a:pt x="53" y="309"/>
                    <a:pt x="53" y="309"/>
                    <a:pt x="54" y="309"/>
                  </a:cubicBezTo>
                  <a:cubicBezTo>
                    <a:pt x="54" y="309"/>
                    <a:pt x="54" y="309"/>
                    <a:pt x="55" y="308"/>
                  </a:cubicBezTo>
                  <a:cubicBezTo>
                    <a:pt x="57" y="307"/>
                    <a:pt x="56" y="305"/>
                    <a:pt x="58" y="304"/>
                  </a:cubicBezTo>
                  <a:cubicBezTo>
                    <a:pt x="58" y="305"/>
                    <a:pt x="58" y="306"/>
                    <a:pt x="57" y="307"/>
                  </a:cubicBezTo>
                  <a:cubicBezTo>
                    <a:pt x="57" y="308"/>
                    <a:pt x="57" y="310"/>
                    <a:pt x="56" y="311"/>
                  </a:cubicBezTo>
                  <a:cubicBezTo>
                    <a:pt x="57" y="310"/>
                    <a:pt x="58" y="309"/>
                    <a:pt x="59" y="308"/>
                  </a:cubicBezTo>
                  <a:cubicBezTo>
                    <a:pt x="59" y="307"/>
                    <a:pt x="60" y="307"/>
                    <a:pt x="60" y="307"/>
                  </a:cubicBezTo>
                  <a:cubicBezTo>
                    <a:pt x="60" y="306"/>
                    <a:pt x="60" y="305"/>
                    <a:pt x="60" y="304"/>
                  </a:cubicBezTo>
                  <a:cubicBezTo>
                    <a:pt x="60" y="304"/>
                    <a:pt x="60" y="304"/>
                    <a:pt x="60" y="304"/>
                  </a:cubicBezTo>
                  <a:cubicBezTo>
                    <a:pt x="60" y="304"/>
                    <a:pt x="60" y="304"/>
                    <a:pt x="60" y="304"/>
                  </a:cubicBezTo>
                  <a:cubicBezTo>
                    <a:pt x="61" y="307"/>
                    <a:pt x="61" y="309"/>
                    <a:pt x="62" y="311"/>
                  </a:cubicBezTo>
                  <a:cubicBezTo>
                    <a:pt x="62" y="312"/>
                    <a:pt x="62" y="313"/>
                    <a:pt x="63" y="313"/>
                  </a:cubicBezTo>
                  <a:cubicBezTo>
                    <a:pt x="64" y="312"/>
                    <a:pt x="64" y="312"/>
                    <a:pt x="65" y="310"/>
                  </a:cubicBezTo>
                  <a:cubicBezTo>
                    <a:pt x="65" y="309"/>
                    <a:pt x="65" y="309"/>
                    <a:pt x="65" y="309"/>
                  </a:cubicBezTo>
                  <a:cubicBezTo>
                    <a:pt x="65" y="308"/>
                    <a:pt x="65" y="308"/>
                    <a:pt x="65" y="308"/>
                  </a:cubicBezTo>
                  <a:cubicBezTo>
                    <a:pt x="65" y="307"/>
                    <a:pt x="67" y="304"/>
                    <a:pt x="67" y="304"/>
                  </a:cubicBezTo>
                  <a:cubicBezTo>
                    <a:pt x="68" y="304"/>
                    <a:pt x="68" y="304"/>
                    <a:pt x="68" y="305"/>
                  </a:cubicBezTo>
                  <a:cubicBezTo>
                    <a:pt x="67" y="306"/>
                    <a:pt x="67" y="306"/>
                    <a:pt x="67" y="306"/>
                  </a:cubicBezTo>
                  <a:cubicBezTo>
                    <a:pt x="67" y="308"/>
                    <a:pt x="65" y="313"/>
                    <a:pt x="68" y="313"/>
                  </a:cubicBezTo>
                  <a:cubicBezTo>
                    <a:pt x="68" y="313"/>
                    <a:pt x="68" y="313"/>
                    <a:pt x="68" y="313"/>
                  </a:cubicBezTo>
                  <a:cubicBezTo>
                    <a:pt x="70" y="311"/>
                    <a:pt x="70" y="311"/>
                    <a:pt x="70" y="311"/>
                  </a:cubicBezTo>
                  <a:cubicBezTo>
                    <a:pt x="71" y="309"/>
                    <a:pt x="72" y="307"/>
                    <a:pt x="72" y="305"/>
                  </a:cubicBezTo>
                  <a:cubicBezTo>
                    <a:pt x="72" y="307"/>
                    <a:pt x="71" y="310"/>
                    <a:pt x="71" y="312"/>
                  </a:cubicBezTo>
                  <a:cubicBezTo>
                    <a:pt x="71" y="313"/>
                    <a:pt x="71" y="314"/>
                    <a:pt x="71" y="314"/>
                  </a:cubicBezTo>
                  <a:cubicBezTo>
                    <a:pt x="72" y="314"/>
                    <a:pt x="72" y="314"/>
                    <a:pt x="73" y="314"/>
                  </a:cubicBezTo>
                  <a:cubicBezTo>
                    <a:pt x="76" y="312"/>
                    <a:pt x="78" y="307"/>
                    <a:pt x="80" y="303"/>
                  </a:cubicBezTo>
                  <a:cubicBezTo>
                    <a:pt x="80" y="302"/>
                    <a:pt x="81" y="302"/>
                    <a:pt x="82" y="302"/>
                  </a:cubicBezTo>
                  <a:cubicBezTo>
                    <a:pt x="82" y="302"/>
                    <a:pt x="83" y="302"/>
                    <a:pt x="83" y="302"/>
                  </a:cubicBezTo>
                  <a:cubicBezTo>
                    <a:pt x="84" y="302"/>
                    <a:pt x="84" y="302"/>
                    <a:pt x="85" y="302"/>
                  </a:cubicBezTo>
                  <a:cubicBezTo>
                    <a:pt x="85" y="302"/>
                    <a:pt x="86" y="302"/>
                    <a:pt x="86" y="302"/>
                  </a:cubicBezTo>
                  <a:cubicBezTo>
                    <a:pt x="88" y="301"/>
                    <a:pt x="89" y="300"/>
                    <a:pt x="87" y="298"/>
                  </a:cubicBezTo>
                  <a:cubicBezTo>
                    <a:pt x="88" y="298"/>
                    <a:pt x="94" y="298"/>
                    <a:pt x="95" y="297"/>
                  </a:cubicBezTo>
                  <a:cubicBezTo>
                    <a:pt x="95" y="296"/>
                    <a:pt x="94" y="296"/>
                    <a:pt x="94" y="296"/>
                  </a:cubicBezTo>
                  <a:cubicBezTo>
                    <a:pt x="94" y="296"/>
                    <a:pt x="93" y="295"/>
                    <a:pt x="93" y="294"/>
                  </a:cubicBezTo>
                  <a:cubicBezTo>
                    <a:pt x="94" y="294"/>
                    <a:pt x="94" y="294"/>
                    <a:pt x="94" y="294"/>
                  </a:cubicBezTo>
                  <a:cubicBezTo>
                    <a:pt x="95" y="294"/>
                    <a:pt x="96" y="295"/>
                    <a:pt x="97" y="295"/>
                  </a:cubicBezTo>
                  <a:cubicBezTo>
                    <a:pt x="97" y="295"/>
                    <a:pt x="97" y="295"/>
                    <a:pt x="97" y="295"/>
                  </a:cubicBezTo>
                  <a:cubicBezTo>
                    <a:pt x="98" y="295"/>
                    <a:pt x="98" y="295"/>
                    <a:pt x="99" y="295"/>
                  </a:cubicBezTo>
                  <a:cubicBezTo>
                    <a:pt x="102" y="294"/>
                    <a:pt x="103" y="292"/>
                    <a:pt x="104" y="290"/>
                  </a:cubicBezTo>
                  <a:cubicBezTo>
                    <a:pt x="106" y="288"/>
                    <a:pt x="106" y="288"/>
                    <a:pt x="106" y="286"/>
                  </a:cubicBezTo>
                  <a:cubicBezTo>
                    <a:pt x="106" y="285"/>
                    <a:pt x="106" y="285"/>
                    <a:pt x="106" y="285"/>
                  </a:cubicBezTo>
                  <a:cubicBezTo>
                    <a:pt x="107" y="282"/>
                    <a:pt x="108" y="279"/>
                    <a:pt x="108" y="275"/>
                  </a:cubicBezTo>
                  <a:cubicBezTo>
                    <a:pt x="108" y="274"/>
                    <a:pt x="108" y="273"/>
                    <a:pt x="107" y="272"/>
                  </a:cubicBezTo>
                  <a:cubicBezTo>
                    <a:pt x="108" y="273"/>
                    <a:pt x="108" y="273"/>
                    <a:pt x="109" y="274"/>
                  </a:cubicBezTo>
                  <a:cubicBezTo>
                    <a:pt x="110" y="276"/>
                    <a:pt x="112" y="277"/>
                    <a:pt x="113" y="279"/>
                  </a:cubicBezTo>
                  <a:cubicBezTo>
                    <a:pt x="114" y="280"/>
                    <a:pt x="115" y="282"/>
                    <a:pt x="115" y="284"/>
                  </a:cubicBezTo>
                  <a:cubicBezTo>
                    <a:pt x="115" y="285"/>
                    <a:pt x="115" y="285"/>
                    <a:pt x="116" y="285"/>
                  </a:cubicBezTo>
                  <a:cubicBezTo>
                    <a:pt x="116" y="288"/>
                    <a:pt x="117" y="290"/>
                    <a:pt x="118" y="292"/>
                  </a:cubicBezTo>
                  <a:cubicBezTo>
                    <a:pt x="118" y="293"/>
                    <a:pt x="119" y="294"/>
                    <a:pt x="119" y="296"/>
                  </a:cubicBezTo>
                  <a:cubicBezTo>
                    <a:pt x="120" y="295"/>
                    <a:pt x="123" y="294"/>
                    <a:pt x="125" y="294"/>
                  </a:cubicBezTo>
                  <a:cubicBezTo>
                    <a:pt x="126" y="294"/>
                    <a:pt x="126" y="294"/>
                    <a:pt x="127" y="294"/>
                  </a:cubicBezTo>
                  <a:cubicBezTo>
                    <a:pt x="127" y="294"/>
                    <a:pt x="127" y="294"/>
                    <a:pt x="128" y="294"/>
                  </a:cubicBezTo>
                  <a:cubicBezTo>
                    <a:pt x="125" y="295"/>
                    <a:pt x="124" y="300"/>
                    <a:pt x="124" y="304"/>
                  </a:cubicBezTo>
                  <a:cubicBezTo>
                    <a:pt x="125" y="304"/>
                    <a:pt x="125" y="305"/>
                    <a:pt x="125" y="305"/>
                  </a:cubicBezTo>
                  <a:cubicBezTo>
                    <a:pt x="125" y="307"/>
                    <a:pt x="126" y="309"/>
                    <a:pt x="126" y="311"/>
                  </a:cubicBezTo>
                  <a:cubicBezTo>
                    <a:pt x="127" y="312"/>
                    <a:pt x="127" y="313"/>
                    <a:pt x="127" y="315"/>
                  </a:cubicBezTo>
                  <a:cubicBezTo>
                    <a:pt x="128" y="315"/>
                    <a:pt x="128" y="316"/>
                    <a:pt x="128" y="317"/>
                  </a:cubicBezTo>
                  <a:cubicBezTo>
                    <a:pt x="128" y="317"/>
                    <a:pt x="128" y="318"/>
                    <a:pt x="128" y="319"/>
                  </a:cubicBezTo>
                  <a:cubicBezTo>
                    <a:pt x="128" y="321"/>
                    <a:pt x="128" y="324"/>
                    <a:pt x="129" y="327"/>
                  </a:cubicBezTo>
                  <a:cubicBezTo>
                    <a:pt x="129" y="329"/>
                    <a:pt x="129" y="331"/>
                    <a:pt x="129" y="333"/>
                  </a:cubicBezTo>
                  <a:cubicBezTo>
                    <a:pt x="129" y="334"/>
                    <a:pt x="129" y="334"/>
                    <a:pt x="130" y="335"/>
                  </a:cubicBezTo>
                  <a:cubicBezTo>
                    <a:pt x="131" y="337"/>
                    <a:pt x="133" y="338"/>
                    <a:pt x="134" y="340"/>
                  </a:cubicBezTo>
                  <a:cubicBezTo>
                    <a:pt x="134" y="340"/>
                    <a:pt x="134" y="340"/>
                    <a:pt x="134" y="340"/>
                  </a:cubicBezTo>
                  <a:cubicBezTo>
                    <a:pt x="134" y="340"/>
                    <a:pt x="134" y="340"/>
                    <a:pt x="134" y="340"/>
                  </a:cubicBezTo>
                  <a:cubicBezTo>
                    <a:pt x="134" y="340"/>
                    <a:pt x="134" y="340"/>
                    <a:pt x="134" y="340"/>
                  </a:cubicBezTo>
                  <a:cubicBezTo>
                    <a:pt x="134" y="340"/>
                    <a:pt x="134" y="340"/>
                    <a:pt x="134" y="340"/>
                  </a:cubicBezTo>
                  <a:cubicBezTo>
                    <a:pt x="134" y="343"/>
                    <a:pt x="134" y="346"/>
                    <a:pt x="134" y="349"/>
                  </a:cubicBezTo>
                  <a:cubicBezTo>
                    <a:pt x="135" y="351"/>
                    <a:pt x="135" y="354"/>
                    <a:pt x="136" y="357"/>
                  </a:cubicBezTo>
                  <a:cubicBezTo>
                    <a:pt x="136" y="359"/>
                    <a:pt x="136" y="362"/>
                    <a:pt x="137" y="364"/>
                  </a:cubicBezTo>
                  <a:cubicBezTo>
                    <a:pt x="137" y="365"/>
                    <a:pt x="137" y="366"/>
                    <a:pt x="137" y="367"/>
                  </a:cubicBezTo>
                  <a:cubicBezTo>
                    <a:pt x="138" y="367"/>
                    <a:pt x="138" y="367"/>
                    <a:pt x="138" y="367"/>
                  </a:cubicBezTo>
                  <a:cubicBezTo>
                    <a:pt x="138" y="366"/>
                    <a:pt x="138" y="364"/>
                    <a:pt x="138" y="363"/>
                  </a:cubicBezTo>
                  <a:cubicBezTo>
                    <a:pt x="138" y="363"/>
                    <a:pt x="138" y="363"/>
                    <a:pt x="138" y="363"/>
                  </a:cubicBezTo>
                  <a:cubicBezTo>
                    <a:pt x="138" y="360"/>
                    <a:pt x="138" y="357"/>
                    <a:pt x="138" y="355"/>
                  </a:cubicBezTo>
                  <a:cubicBezTo>
                    <a:pt x="139" y="355"/>
                    <a:pt x="140" y="357"/>
                    <a:pt x="141" y="360"/>
                  </a:cubicBezTo>
                  <a:cubicBezTo>
                    <a:pt x="142" y="362"/>
                    <a:pt x="143" y="365"/>
                    <a:pt x="144" y="367"/>
                  </a:cubicBezTo>
                  <a:cubicBezTo>
                    <a:pt x="144" y="369"/>
                    <a:pt x="145" y="371"/>
                    <a:pt x="145" y="372"/>
                  </a:cubicBezTo>
                  <a:cubicBezTo>
                    <a:pt x="145" y="372"/>
                    <a:pt x="146" y="373"/>
                    <a:pt x="146" y="374"/>
                  </a:cubicBezTo>
                  <a:cubicBezTo>
                    <a:pt x="147" y="376"/>
                    <a:pt x="148" y="378"/>
                    <a:pt x="149" y="380"/>
                  </a:cubicBezTo>
                  <a:cubicBezTo>
                    <a:pt x="150" y="382"/>
                    <a:pt x="150" y="384"/>
                    <a:pt x="150" y="386"/>
                  </a:cubicBezTo>
                  <a:cubicBezTo>
                    <a:pt x="150" y="387"/>
                    <a:pt x="150" y="387"/>
                    <a:pt x="150" y="388"/>
                  </a:cubicBezTo>
                  <a:cubicBezTo>
                    <a:pt x="149" y="390"/>
                    <a:pt x="148" y="392"/>
                    <a:pt x="148" y="395"/>
                  </a:cubicBezTo>
                  <a:cubicBezTo>
                    <a:pt x="148" y="396"/>
                    <a:pt x="148" y="397"/>
                    <a:pt x="146" y="397"/>
                  </a:cubicBezTo>
                  <a:cubicBezTo>
                    <a:pt x="147" y="397"/>
                    <a:pt x="149" y="397"/>
                    <a:pt x="149" y="398"/>
                  </a:cubicBezTo>
                  <a:cubicBezTo>
                    <a:pt x="150" y="398"/>
                    <a:pt x="150" y="398"/>
                    <a:pt x="150" y="398"/>
                  </a:cubicBezTo>
                  <a:cubicBezTo>
                    <a:pt x="150" y="398"/>
                    <a:pt x="149" y="402"/>
                    <a:pt x="149" y="402"/>
                  </a:cubicBezTo>
                  <a:cubicBezTo>
                    <a:pt x="149" y="404"/>
                    <a:pt x="149" y="404"/>
                    <a:pt x="149" y="405"/>
                  </a:cubicBezTo>
                  <a:cubicBezTo>
                    <a:pt x="148" y="404"/>
                    <a:pt x="147" y="403"/>
                    <a:pt x="145" y="402"/>
                  </a:cubicBezTo>
                  <a:cubicBezTo>
                    <a:pt x="145" y="402"/>
                    <a:pt x="145" y="402"/>
                    <a:pt x="145" y="402"/>
                  </a:cubicBezTo>
                  <a:cubicBezTo>
                    <a:pt x="144" y="403"/>
                    <a:pt x="144" y="403"/>
                    <a:pt x="144" y="403"/>
                  </a:cubicBezTo>
                  <a:cubicBezTo>
                    <a:pt x="144" y="403"/>
                    <a:pt x="144" y="403"/>
                    <a:pt x="144" y="403"/>
                  </a:cubicBezTo>
                  <a:cubicBezTo>
                    <a:pt x="144" y="405"/>
                    <a:pt x="145" y="406"/>
                    <a:pt x="146" y="406"/>
                  </a:cubicBezTo>
                  <a:cubicBezTo>
                    <a:pt x="147" y="406"/>
                    <a:pt x="148" y="405"/>
                    <a:pt x="149" y="405"/>
                  </a:cubicBezTo>
                  <a:cubicBezTo>
                    <a:pt x="149" y="406"/>
                    <a:pt x="149" y="406"/>
                    <a:pt x="149" y="406"/>
                  </a:cubicBezTo>
                  <a:cubicBezTo>
                    <a:pt x="148" y="406"/>
                    <a:pt x="148" y="406"/>
                    <a:pt x="148" y="406"/>
                  </a:cubicBezTo>
                  <a:cubicBezTo>
                    <a:pt x="147" y="406"/>
                    <a:pt x="147" y="407"/>
                    <a:pt x="147" y="409"/>
                  </a:cubicBezTo>
                  <a:cubicBezTo>
                    <a:pt x="148" y="409"/>
                    <a:pt x="148" y="410"/>
                    <a:pt x="148" y="410"/>
                  </a:cubicBezTo>
                  <a:cubicBezTo>
                    <a:pt x="149" y="410"/>
                    <a:pt x="149" y="411"/>
                    <a:pt x="150" y="411"/>
                  </a:cubicBezTo>
                  <a:cubicBezTo>
                    <a:pt x="151" y="411"/>
                    <a:pt x="152" y="409"/>
                    <a:pt x="153" y="407"/>
                  </a:cubicBezTo>
                  <a:cubicBezTo>
                    <a:pt x="155" y="411"/>
                    <a:pt x="153" y="409"/>
                    <a:pt x="152" y="411"/>
                  </a:cubicBezTo>
                  <a:cubicBezTo>
                    <a:pt x="152" y="412"/>
                    <a:pt x="151" y="412"/>
                    <a:pt x="151" y="414"/>
                  </a:cubicBezTo>
                  <a:cubicBezTo>
                    <a:pt x="151" y="414"/>
                    <a:pt x="151" y="414"/>
                    <a:pt x="151" y="414"/>
                  </a:cubicBezTo>
                  <a:cubicBezTo>
                    <a:pt x="151" y="417"/>
                    <a:pt x="151" y="420"/>
                    <a:pt x="151" y="423"/>
                  </a:cubicBezTo>
                  <a:cubicBezTo>
                    <a:pt x="151" y="424"/>
                    <a:pt x="151" y="425"/>
                    <a:pt x="151" y="426"/>
                  </a:cubicBezTo>
                  <a:cubicBezTo>
                    <a:pt x="150" y="430"/>
                    <a:pt x="148" y="431"/>
                    <a:pt x="145" y="433"/>
                  </a:cubicBezTo>
                  <a:cubicBezTo>
                    <a:pt x="144" y="434"/>
                    <a:pt x="145" y="436"/>
                    <a:pt x="145" y="438"/>
                  </a:cubicBezTo>
                  <a:cubicBezTo>
                    <a:pt x="146" y="440"/>
                    <a:pt x="146" y="441"/>
                    <a:pt x="146" y="442"/>
                  </a:cubicBezTo>
                  <a:cubicBezTo>
                    <a:pt x="146" y="444"/>
                    <a:pt x="146" y="445"/>
                    <a:pt x="146" y="447"/>
                  </a:cubicBezTo>
                  <a:cubicBezTo>
                    <a:pt x="146" y="447"/>
                    <a:pt x="146" y="447"/>
                    <a:pt x="146" y="447"/>
                  </a:cubicBezTo>
                  <a:cubicBezTo>
                    <a:pt x="151" y="436"/>
                    <a:pt x="151" y="436"/>
                    <a:pt x="151" y="436"/>
                  </a:cubicBezTo>
                  <a:cubicBezTo>
                    <a:pt x="152" y="433"/>
                    <a:pt x="154" y="430"/>
                    <a:pt x="157" y="427"/>
                  </a:cubicBezTo>
                  <a:cubicBezTo>
                    <a:pt x="158" y="425"/>
                    <a:pt x="160" y="423"/>
                    <a:pt x="162" y="421"/>
                  </a:cubicBezTo>
                  <a:cubicBezTo>
                    <a:pt x="163" y="418"/>
                    <a:pt x="165" y="416"/>
                    <a:pt x="166" y="413"/>
                  </a:cubicBezTo>
                  <a:cubicBezTo>
                    <a:pt x="167" y="411"/>
                    <a:pt x="168" y="409"/>
                    <a:pt x="169" y="408"/>
                  </a:cubicBezTo>
                  <a:cubicBezTo>
                    <a:pt x="169" y="406"/>
                    <a:pt x="168" y="405"/>
                    <a:pt x="168" y="404"/>
                  </a:cubicBezTo>
                  <a:cubicBezTo>
                    <a:pt x="168" y="403"/>
                    <a:pt x="168" y="403"/>
                    <a:pt x="168" y="403"/>
                  </a:cubicBezTo>
                  <a:cubicBezTo>
                    <a:pt x="168" y="404"/>
                    <a:pt x="168" y="404"/>
                    <a:pt x="168" y="404"/>
                  </a:cubicBezTo>
                  <a:cubicBezTo>
                    <a:pt x="167" y="401"/>
                    <a:pt x="167" y="401"/>
                    <a:pt x="167" y="401"/>
                  </a:cubicBezTo>
                  <a:cubicBezTo>
                    <a:pt x="166" y="399"/>
                    <a:pt x="166" y="396"/>
                    <a:pt x="165" y="394"/>
                  </a:cubicBezTo>
                  <a:cubicBezTo>
                    <a:pt x="165" y="393"/>
                    <a:pt x="165" y="393"/>
                    <a:pt x="165" y="393"/>
                  </a:cubicBezTo>
                  <a:cubicBezTo>
                    <a:pt x="165" y="393"/>
                    <a:pt x="165" y="392"/>
                    <a:pt x="165" y="392"/>
                  </a:cubicBezTo>
                  <a:cubicBezTo>
                    <a:pt x="165" y="390"/>
                    <a:pt x="163" y="388"/>
                    <a:pt x="162" y="386"/>
                  </a:cubicBezTo>
                  <a:cubicBezTo>
                    <a:pt x="161" y="385"/>
                    <a:pt x="161" y="384"/>
                    <a:pt x="160" y="383"/>
                  </a:cubicBezTo>
                  <a:cubicBezTo>
                    <a:pt x="160" y="383"/>
                    <a:pt x="160" y="383"/>
                    <a:pt x="160" y="383"/>
                  </a:cubicBezTo>
                  <a:cubicBezTo>
                    <a:pt x="159" y="381"/>
                    <a:pt x="157" y="379"/>
                    <a:pt x="157" y="377"/>
                  </a:cubicBezTo>
                  <a:cubicBezTo>
                    <a:pt x="157" y="376"/>
                    <a:pt x="158" y="375"/>
                    <a:pt x="159" y="374"/>
                  </a:cubicBezTo>
                  <a:cubicBezTo>
                    <a:pt x="159" y="374"/>
                    <a:pt x="159" y="374"/>
                    <a:pt x="159" y="374"/>
                  </a:cubicBezTo>
                  <a:cubicBezTo>
                    <a:pt x="159" y="373"/>
                    <a:pt x="159" y="373"/>
                    <a:pt x="159" y="373"/>
                  </a:cubicBezTo>
                  <a:cubicBezTo>
                    <a:pt x="159" y="372"/>
                    <a:pt x="159" y="372"/>
                    <a:pt x="159" y="372"/>
                  </a:cubicBezTo>
                  <a:cubicBezTo>
                    <a:pt x="159" y="371"/>
                    <a:pt x="159" y="370"/>
                    <a:pt x="159" y="369"/>
                  </a:cubicBezTo>
                  <a:cubicBezTo>
                    <a:pt x="159" y="366"/>
                    <a:pt x="159" y="364"/>
                    <a:pt x="159" y="364"/>
                  </a:cubicBezTo>
                  <a:cubicBezTo>
                    <a:pt x="159" y="363"/>
                    <a:pt x="159" y="363"/>
                    <a:pt x="159" y="363"/>
                  </a:cubicBezTo>
                  <a:cubicBezTo>
                    <a:pt x="158" y="362"/>
                    <a:pt x="158" y="362"/>
                    <a:pt x="158" y="362"/>
                  </a:cubicBezTo>
                  <a:cubicBezTo>
                    <a:pt x="157" y="361"/>
                    <a:pt x="157" y="361"/>
                    <a:pt x="156" y="360"/>
                  </a:cubicBezTo>
                  <a:cubicBezTo>
                    <a:pt x="156" y="360"/>
                    <a:pt x="156" y="360"/>
                    <a:pt x="156" y="360"/>
                  </a:cubicBezTo>
                  <a:cubicBezTo>
                    <a:pt x="156" y="359"/>
                    <a:pt x="155" y="359"/>
                    <a:pt x="155" y="358"/>
                  </a:cubicBezTo>
                  <a:cubicBezTo>
                    <a:pt x="152" y="355"/>
                    <a:pt x="152" y="355"/>
                    <a:pt x="152" y="355"/>
                  </a:cubicBezTo>
                  <a:cubicBezTo>
                    <a:pt x="151" y="354"/>
                    <a:pt x="150" y="353"/>
                    <a:pt x="150" y="353"/>
                  </a:cubicBezTo>
                  <a:cubicBezTo>
                    <a:pt x="149" y="351"/>
                    <a:pt x="149" y="351"/>
                    <a:pt x="149" y="351"/>
                  </a:cubicBezTo>
                  <a:cubicBezTo>
                    <a:pt x="145" y="347"/>
                    <a:pt x="141" y="343"/>
                    <a:pt x="138" y="337"/>
                  </a:cubicBezTo>
                  <a:cubicBezTo>
                    <a:pt x="137" y="334"/>
                    <a:pt x="136" y="332"/>
                    <a:pt x="136" y="329"/>
                  </a:cubicBezTo>
                  <a:cubicBezTo>
                    <a:pt x="136" y="323"/>
                    <a:pt x="139" y="323"/>
                    <a:pt x="142" y="322"/>
                  </a:cubicBezTo>
                  <a:cubicBezTo>
                    <a:pt x="143" y="322"/>
                    <a:pt x="143" y="322"/>
                    <a:pt x="143" y="322"/>
                  </a:cubicBezTo>
                  <a:cubicBezTo>
                    <a:pt x="143" y="322"/>
                    <a:pt x="144" y="322"/>
                    <a:pt x="145" y="321"/>
                  </a:cubicBezTo>
                  <a:cubicBezTo>
                    <a:pt x="145" y="321"/>
                    <a:pt x="145" y="321"/>
                    <a:pt x="145" y="321"/>
                  </a:cubicBezTo>
                  <a:cubicBezTo>
                    <a:pt x="145" y="321"/>
                    <a:pt x="145" y="321"/>
                    <a:pt x="145" y="320"/>
                  </a:cubicBezTo>
                  <a:cubicBezTo>
                    <a:pt x="145" y="319"/>
                    <a:pt x="145" y="318"/>
                    <a:pt x="145" y="317"/>
                  </a:cubicBezTo>
                  <a:cubicBezTo>
                    <a:pt x="145" y="314"/>
                    <a:pt x="145" y="314"/>
                    <a:pt x="145" y="314"/>
                  </a:cubicBezTo>
                  <a:cubicBezTo>
                    <a:pt x="145" y="312"/>
                    <a:pt x="145" y="310"/>
                    <a:pt x="145" y="307"/>
                  </a:cubicBezTo>
                  <a:cubicBezTo>
                    <a:pt x="145" y="304"/>
                    <a:pt x="147" y="303"/>
                    <a:pt x="148" y="303"/>
                  </a:cubicBezTo>
                  <a:cubicBezTo>
                    <a:pt x="148" y="302"/>
                    <a:pt x="148" y="302"/>
                    <a:pt x="148" y="302"/>
                  </a:cubicBezTo>
                  <a:cubicBezTo>
                    <a:pt x="147" y="300"/>
                    <a:pt x="147" y="299"/>
                    <a:pt x="147" y="298"/>
                  </a:cubicBezTo>
                  <a:cubicBezTo>
                    <a:pt x="147" y="297"/>
                    <a:pt x="146" y="296"/>
                    <a:pt x="146" y="295"/>
                  </a:cubicBezTo>
                  <a:cubicBezTo>
                    <a:pt x="146" y="293"/>
                    <a:pt x="145" y="292"/>
                    <a:pt x="145" y="290"/>
                  </a:cubicBezTo>
                  <a:cubicBezTo>
                    <a:pt x="145" y="289"/>
                    <a:pt x="144" y="288"/>
                    <a:pt x="144" y="287"/>
                  </a:cubicBezTo>
                  <a:cubicBezTo>
                    <a:pt x="144" y="287"/>
                    <a:pt x="144" y="287"/>
                    <a:pt x="144" y="287"/>
                  </a:cubicBezTo>
                  <a:cubicBezTo>
                    <a:pt x="143" y="286"/>
                    <a:pt x="143" y="286"/>
                    <a:pt x="143" y="286"/>
                  </a:cubicBezTo>
                  <a:cubicBezTo>
                    <a:pt x="143" y="285"/>
                    <a:pt x="143" y="285"/>
                    <a:pt x="143" y="285"/>
                  </a:cubicBezTo>
                  <a:cubicBezTo>
                    <a:pt x="142" y="285"/>
                    <a:pt x="142" y="285"/>
                    <a:pt x="142" y="285"/>
                  </a:cubicBezTo>
                  <a:cubicBezTo>
                    <a:pt x="142" y="284"/>
                    <a:pt x="142" y="284"/>
                    <a:pt x="142" y="284"/>
                  </a:cubicBezTo>
                  <a:cubicBezTo>
                    <a:pt x="141" y="284"/>
                    <a:pt x="140" y="284"/>
                    <a:pt x="138" y="282"/>
                  </a:cubicBezTo>
                  <a:cubicBezTo>
                    <a:pt x="137" y="281"/>
                    <a:pt x="137" y="281"/>
                    <a:pt x="137" y="281"/>
                  </a:cubicBezTo>
                  <a:cubicBezTo>
                    <a:pt x="136" y="279"/>
                    <a:pt x="134" y="277"/>
                    <a:pt x="133" y="275"/>
                  </a:cubicBezTo>
                  <a:cubicBezTo>
                    <a:pt x="130" y="272"/>
                    <a:pt x="127" y="268"/>
                    <a:pt x="125" y="265"/>
                  </a:cubicBezTo>
                  <a:cubicBezTo>
                    <a:pt x="123" y="263"/>
                    <a:pt x="124" y="261"/>
                    <a:pt x="125" y="260"/>
                  </a:cubicBezTo>
                  <a:cubicBezTo>
                    <a:pt x="125" y="259"/>
                    <a:pt x="125" y="259"/>
                    <a:pt x="125" y="259"/>
                  </a:cubicBezTo>
                  <a:cubicBezTo>
                    <a:pt x="125" y="259"/>
                    <a:pt x="125" y="259"/>
                    <a:pt x="125" y="259"/>
                  </a:cubicBezTo>
                  <a:cubicBezTo>
                    <a:pt x="124" y="257"/>
                    <a:pt x="124" y="257"/>
                    <a:pt x="124" y="257"/>
                  </a:cubicBezTo>
                  <a:cubicBezTo>
                    <a:pt x="124" y="256"/>
                    <a:pt x="123" y="256"/>
                    <a:pt x="123" y="255"/>
                  </a:cubicBezTo>
                  <a:cubicBezTo>
                    <a:pt x="123" y="255"/>
                    <a:pt x="123" y="255"/>
                    <a:pt x="123" y="255"/>
                  </a:cubicBezTo>
                  <a:cubicBezTo>
                    <a:pt x="122" y="255"/>
                    <a:pt x="122" y="255"/>
                    <a:pt x="122" y="255"/>
                  </a:cubicBezTo>
                  <a:cubicBezTo>
                    <a:pt x="119" y="253"/>
                    <a:pt x="118" y="250"/>
                    <a:pt x="117" y="248"/>
                  </a:cubicBezTo>
                  <a:cubicBezTo>
                    <a:pt x="115" y="242"/>
                    <a:pt x="115" y="242"/>
                    <a:pt x="115" y="242"/>
                  </a:cubicBezTo>
                  <a:cubicBezTo>
                    <a:pt x="119" y="242"/>
                    <a:pt x="119" y="242"/>
                    <a:pt x="119" y="242"/>
                  </a:cubicBezTo>
                  <a:cubicBezTo>
                    <a:pt x="120" y="242"/>
                    <a:pt x="121" y="242"/>
                    <a:pt x="121" y="242"/>
                  </a:cubicBezTo>
                  <a:cubicBezTo>
                    <a:pt x="122" y="242"/>
                    <a:pt x="123" y="243"/>
                    <a:pt x="124" y="243"/>
                  </a:cubicBezTo>
                  <a:cubicBezTo>
                    <a:pt x="125" y="243"/>
                    <a:pt x="125" y="243"/>
                    <a:pt x="126" y="242"/>
                  </a:cubicBezTo>
                  <a:cubicBezTo>
                    <a:pt x="126" y="242"/>
                    <a:pt x="126" y="242"/>
                    <a:pt x="126" y="242"/>
                  </a:cubicBezTo>
                  <a:cubicBezTo>
                    <a:pt x="126" y="241"/>
                    <a:pt x="126" y="241"/>
                    <a:pt x="126" y="241"/>
                  </a:cubicBezTo>
                  <a:cubicBezTo>
                    <a:pt x="125" y="240"/>
                    <a:pt x="125" y="240"/>
                    <a:pt x="125" y="240"/>
                  </a:cubicBezTo>
                  <a:cubicBezTo>
                    <a:pt x="125" y="239"/>
                    <a:pt x="125" y="238"/>
                    <a:pt x="125" y="236"/>
                  </a:cubicBezTo>
                  <a:cubicBezTo>
                    <a:pt x="125" y="236"/>
                    <a:pt x="125" y="235"/>
                    <a:pt x="126" y="234"/>
                  </a:cubicBezTo>
                  <a:cubicBezTo>
                    <a:pt x="126" y="232"/>
                    <a:pt x="127" y="229"/>
                    <a:pt x="127" y="227"/>
                  </a:cubicBezTo>
                  <a:cubicBezTo>
                    <a:pt x="128" y="221"/>
                    <a:pt x="128" y="219"/>
                    <a:pt x="132" y="215"/>
                  </a:cubicBezTo>
                  <a:cubicBezTo>
                    <a:pt x="132" y="214"/>
                    <a:pt x="133" y="214"/>
                    <a:pt x="133" y="213"/>
                  </a:cubicBezTo>
                  <a:cubicBezTo>
                    <a:pt x="134" y="213"/>
                    <a:pt x="135" y="212"/>
                    <a:pt x="136" y="212"/>
                  </a:cubicBezTo>
                  <a:cubicBezTo>
                    <a:pt x="137" y="212"/>
                    <a:pt x="137" y="213"/>
                    <a:pt x="138" y="213"/>
                  </a:cubicBezTo>
                  <a:cubicBezTo>
                    <a:pt x="140" y="214"/>
                    <a:pt x="140" y="214"/>
                    <a:pt x="140" y="214"/>
                  </a:cubicBezTo>
                  <a:cubicBezTo>
                    <a:pt x="141" y="214"/>
                    <a:pt x="142" y="214"/>
                    <a:pt x="144" y="214"/>
                  </a:cubicBezTo>
                  <a:cubicBezTo>
                    <a:pt x="145" y="214"/>
                    <a:pt x="145" y="214"/>
                    <a:pt x="145" y="214"/>
                  </a:cubicBezTo>
                  <a:cubicBezTo>
                    <a:pt x="146" y="214"/>
                    <a:pt x="146" y="214"/>
                    <a:pt x="146" y="214"/>
                  </a:cubicBezTo>
                  <a:cubicBezTo>
                    <a:pt x="146" y="214"/>
                    <a:pt x="147" y="214"/>
                    <a:pt x="147" y="214"/>
                  </a:cubicBezTo>
                  <a:cubicBezTo>
                    <a:pt x="147" y="208"/>
                    <a:pt x="147" y="208"/>
                    <a:pt x="147" y="208"/>
                  </a:cubicBezTo>
                  <a:cubicBezTo>
                    <a:pt x="149" y="214"/>
                    <a:pt x="149" y="214"/>
                    <a:pt x="149" y="214"/>
                  </a:cubicBezTo>
                  <a:cubicBezTo>
                    <a:pt x="149" y="214"/>
                    <a:pt x="149" y="214"/>
                    <a:pt x="149" y="214"/>
                  </a:cubicBezTo>
                  <a:cubicBezTo>
                    <a:pt x="150" y="214"/>
                    <a:pt x="150" y="214"/>
                    <a:pt x="151" y="214"/>
                  </a:cubicBezTo>
                  <a:cubicBezTo>
                    <a:pt x="153" y="213"/>
                    <a:pt x="153" y="213"/>
                    <a:pt x="153" y="213"/>
                  </a:cubicBezTo>
                  <a:cubicBezTo>
                    <a:pt x="153" y="213"/>
                    <a:pt x="154" y="213"/>
                    <a:pt x="155" y="213"/>
                  </a:cubicBezTo>
                  <a:cubicBezTo>
                    <a:pt x="155" y="213"/>
                    <a:pt x="155" y="213"/>
                    <a:pt x="155" y="213"/>
                  </a:cubicBezTo>
                  <a:cubicBezTo>
                    <a:pt x="156" y="212"/>
                    <a:pt x="156" y="212"/>
                    <a:pt x="156" y="212"/>
                  </a:cubicBezTo>
                  <a:cubicBezTo>
                    <a:pt x="157" y="212"/>
                    <a:pt x="157" y="212"/>
                    <a:pt x="157" y="212"/>
                  </a:cubicBezTo>
                  <a:cubicBezTo>
                    <a:pt x="156" y="212"/>
                    <a:pt x="156" y="212"/>
                    <a:pt x="156" y="212"/>
                  </a:cubicBezTo>
                  <a:cubicBezTo>
                    <a:pt x="156" y="211"/>
                    <a:pt x="156" y="211"/>
                    <a:pt x="157" y="210"/>
                  </a:cubicBezTo>
                  <a:cubicBezTo>
                    <a:pt x="157" y="209"/>
                    <a:pt x="158" y="208"/>
                    <a:pt x="158" y="207"/>
                  </a:cubicBezTo>
                  <a:cubicBezTo>
                    <a:pt x="159" y="205"/>
                    <a:pt x="161" y="204"/>
                    <a:pt x="163" y="204"/>
                  </a:cubicBezTo>
                  <a:cubicBezTo>
                    <a:pt x="164" y="204"/>
                    <a:pt x="165" y="204"/>
                    <a:pt x="166" y="204"/>
                  </a:cubicBezTo>
                  <a:cubicBezTo>
                    <a:pt x="165" y="203"/>
                    <a:pt x="165" y="202"/>
                    <a:pt x="165" y="201"/>
                  </a:cubicBezTo>
                  <a:cubicBezTo>
                    <a:pt x="164" y="195"/>
                    <a:pt x="164" y="195"/>
                    <a:pt x="164" y="195"/>
                  </a:cubicBezTo>
                  <a:cubicBezTo>
                    <a:pt x="170" y="198"/>
                    <a:pt x="170" y="198"/>
                    <a:pt x="170" y="198"/>
                  </a:cubicBezTo>
                  <a:cubicBezTo>
                    <a:pt x="170" y="199"/>
                    <a:pt x="170" y="199"/>
                    <a:pt x="171" y="199"/>
                  </a:cubicBezTo>
                  <a:cubicBezTo>
                    <a:pt x="171" y="199"/>
                    <a:pt x="171" y="199"/>
                    <a:pt x="171" y="199"/>
                  </a:cubicBezTo>
                  <a:cubicBezTo>
                    <a:pt x="172" y="199"/>
                    <a:pt x="172" y="199"/>
                    <a:pt x="172" y="199"/>
                  </a:cubicBezTo>
                  <a:cubicBezTo>
                    <a:pt x="173" y="199"/>
                    <a:pt x="173" y="199"/>
                    <a:pt x="173" y="199"/>
                  </a:cubicBezTo>
                  <a:cubicBezTo>
                    <a:pt x="174" y="199"/>
                    <a:pt x="174" y="199"/>
                    <a:pt x="174" y="199"/>
                  </a:cubicBezTo>
                  <a:cubicBezTo>
                    <a:pt x="175" y="198"/>
                    <a:pt x="176" y="198"/>
                    <a:pt x="177" y="197"/>
                  </a:cubicBezTo>
                  <a:cubicBezTo>
                    <a:pt x="178" y="197"/>
                    <a:pt x="178" y="197"/>
                    <a:pt x="179" y="197"/>
                  </a:cubicBezTo>
                  <a:cubicBezTo>
                    <a:pt x="173" y="182"/>
                    <a:pt x="173" y="182"/>
                    <a:pt x="173" y="182"/>
                  </a:cubicBezTo>
                  <a:cubicBezTo>
                    <a:pt x="182" y="195"/>
                    <a:pt x="182" y="195"/>
                    <a:pt x="182" y="195"/>
                  </a:cubicBezTo>
                  <a:cubicBezTo>
                    <a:pt x="183" y="193"/>
                    <a:pt x="184" y="190"/>
                    <a:pt x="186" y="189"/>
                  </a:cubicBezTo>
                  <a:cubicBezTo>
                    <a:pt x="187" y="188"/>
                    <a:pt x="187" y="188"/>
                    <a:pt x="187" y="188"/>
                  </a:cubicBezTo>
                  <a:cubicBezTo>
                    <a:pt x="189" y="187"/>
                    <a:pt x="190" y="187"/>
                    <a:pt x="191" y="187"/>
                  </a:cubicBezTo>
                  <a:cubicBezTo>
                    <a:pt x="191" y="186"/>
                    <a:pt x="191" y="185"/>
                    <a:pt x="192" y="184"/>
                  </a:cubicBezTo>
                  <a:cubicBezTo>
                    <a:pt x="192" y="183"/>
                    <a:pt x="192" y="183"/>
                    <a:pt x="192" y="183"/>
                  </a:cubicBezTo>
                  <a:cubicBezTo>
                    <a:pt x="192" y="183"/>
                    <a:pt x="192" y="183"/>
                    <a:pt x="192" y="183"/>
                  </a:cubicBezTo>
                  <a:cubicBezTo>
                    <a:pt x="194" y="180"/>
                    <a:pt x="194" y="180"/>
                    <a:pt x="194" y="180"/>
                  </a:cubicBezTo>
                  <a:cubicBezTo>
                    <a:pt x="195" y="178"/>
                    <a:pt x="196" y="177"/>
                    <a:pt x="197" y="175"/>
                  </a:cubicBezTo>
                  <a:cubicBezTo>
                    <a:pt x="198" y="174"/>
                    <a:pt x="199" y="174"/>
                    <a:pt x="200" y="173"/>
                  </a:cubicBezTo>
                  <a:cubicBezTo>
                    <a:pt x="198" y="174"/>
                    <a:pt x="197" y="174"/>
                    <a:pt x="196" y="175"/>
                  </a:cubicBezTo>
                  <a:cubicBezTo>
                    <a:pt x="187" y="178"/>
                    <a:pt x="187" y="178"/>
                    <a:pt x="187" y="178"/>
                  </a:cubicBezTo>
                  <a:cubicBezTo>
                    <a:pt x="187" y="178"/>
                    <a:pt x="187" y="178"/>
                    <a:pt x="186" y="178"/>
                  </a:cubicBezTo>
                  <a:cubicBezTo>
                    <a:pt x="185" y="178"/>
                    <a:pt x="184" y="177"/>
                    <a:pt x="183" y="176"/>
                  </a:cubicBezTo>
                  <a:cubicBezTo>
                    <a:pt x="182" y="175"/>
                    <a:pt x="182" y="174"/>
                    <a:pt x="181" y="173"/>
                  </a:cubicBezTo>
                  <a:cubicBezTo>
                    <a:pt x="181" y="172"/>
                    <a:pt x="181" y="172"/>
                    <a:pt x="181" y="172"/>
                  </a:cubicBezTo>
                  <a:cubicBezTo>
                    <a:pt x="180" y="172"/>
                    <a:pt x="180" y="172"/>
                    <a:pt x="180" y="172"/>
                  </a:cubicBezTo>
                  <a:cubicBezTo>
                    <a:pt x="179" y="171"/>
                    <a:pt x="179" y="171"/>
                    <a:pt x="179" y="171"/>
                  </a:cubicBezTo>
                  <a:cubicBezTo>
                    <a:pt x="179" y="169"/>
                    <a:pt x="178" y="168"/>
                    <a:pt x="178" y="167"/>
                  </a:cubicBezTo>
                  <a:cubicBezTo>
                    <a:pt x="177" y="167"/>
                    <a:pt x="177" y="167"/>
                    <a:pt x="177" y="167"/>
                  </a:cubicBezTo>
                  <a:cubicBezTo>
                    <a:pt x="177" y="166"/>
                    <a:pt x="177" y="166"/>
                    <a:pt x="177" y="165"/>
                  </a:cubicBezTo>
                  <a:cubicBezTo>
                    <a:pt x="177" y="165"/>
                    <a:pt x="177" y="164"/>
                    <a:pt x="177" y="163"/>
                  </a:cubicBezTo>
                  <a:cubicBezTo>
                    <a:pt x="177" y="163"/>
                    <a:pt x="177" y="163"/>
                    <a:pt x="177" y="163"/>
                  </a:cubicBezTo>
                  <a:cubicBezTo>
                    <a:pt x="177" y="162"/>
                    <a:pt x="177" y="162"/>
                    <a:pt x="177" y="162"/>
                  </a:cubicBezTo>
                  <a:cubicBezTo>
                    <a:pt x="157" y="160"/>
                    <a:pt x="157" y="160"/>
                    <a:pt x="157" y="160"/>
                  </a:cubicBezTo>
                  <a:cubicBezTo>
                    <a:pt x="159" y="156"/>
                    <a:pt x="159" y="156"/>
                    <a:pt x="159" y="156"/>
                  </a:cubicBezTo>
                  <a:cubicBezTo>
                    <a:pt x="160" y="154"/>
                    <a:pt x="160" y="152"/>
                    <a:pt x="161" y="150"/>
                  </a:cubicBezTo>
                  <a:cubicBezTo>
                    <a:pt x="161" y="149"/>
                    <a:pt x="161" y="149"/>
                    <a:pt x="161" y="149"/>
                  </a:cubicBezTo>
                  <a:cubicBezTo>
                    <a:pt x="161" y="149"/>
                    <a:pt x="162" y="148"/>
                    <a:pt x="162" y="148"/>
                  </a:cubicBezTo>
                  <a:cubicBezTo>
                    <a:pt x="162" y="147"/>
                    <a:pt x="162" y="147"/>
                    <a:pt x="162" y="147"/>
                  </a:cubicBezTo>
                  <a:cubicBezTo>
                    <a:pt x="162" y="146"/>
                    <a:pt x="162" y="145"/>
                    <a:pt x="163" y="144"/>
                  </a:cubicBezTo>
                  <a:cubicBezTo>
                    <a:pt x="163" y="143"/>
                    <a:pt x="163" y="142"/>
                    <a:pt x="163" y="142"/>
                  </a:cubicBezTo>
                  <a:cubicBezTo>
                    <a:pt x="163" y="141"/>
                    <a:pt x="163" y="141"/>
                    <a:pt x="163" y="141"/>
                  </a:cubicBezTo>
                  <a:cubicBezTo>
                    <a:pt x="164" y="141"/>
                    <a:pt x="164" y="140"/>
                    <a:pt x="164" y="140"/>
                  </a:cubicBezTo>
                  <a:cubicBezTo>
                    <a:pt x="164" y="139"/>
                    <a:pt x="165" y="139"/>
                    <a:pt x="165" y="138"/>
                  </a:cubicBezTo>
                  <a:cubicBezTo>
                    <a:pt x="166" y="138"/>
                    <a:pt x="166" y="138"/>
                    <a:pt x="166" y="138"/>
                  </a:cubicBezTo>
                  <a:cubicBezTo>
                    <a:pt x="166" y="138"/>
                    <a:pt x="167" y="137"/>
                    <a:pt x="167" y="137"/>
                  </a:cubicBezTo>
                  <a:cubicBezTo>
                    <a:pt x="167" y="137"/>
                    <a:pt x="167" y="137"/>
                    <a:pt x="167" y="137"/>
                  </a:cubicBezTo>
                  <a:cubicBezTo>
                    <a:pt x="167" y="137"/>
                    <a:pt x="167" y="137"/>
                    <a:pt x="167" y="137"/>
                  </a:cubicBezTo>
                  <a:cubicBezTo>
                    <a:pt x="167" y="137"/>
                    <a:pt x="167" y="137"/>
                    <a:pt x="166" y="137"/>
                  </a:cubicBezTo>
                  <a:cubicBezTo>
                    <a:pt x="166" y="137"/>
                    <a:pt x="165" y="137"/>
                    <a:pt x="165" y="137"/>
                  </a:cubicBezTo>
                  <a:cubicBezTo>
                    <a:pt x="161" y="137"/>
                    <a:pt x="161" y="137"/>
                    <a:pt x="161" y="137"/>
                  </a:cubicBezTo>
                  <a:cubicBezTo>
                    <a:pt x="161" y="137"/>
                    <a:pt x="161" y="137"/>
                    <a:pt x="161" y="137"/>
                  </a:cubicBezTo>
                  <a:cubicBezTo>
                    <a:pt x="161" y="136"/>
                    <a:pt x="160" y="136"/>
                    <a:pt x="159" y="136"/>
                  </a:cubicBezTo>
                  <a:cubicBezTo>
                    <a:pt x="156" y="135"/>
                    <a:pt x="154" y="133"/>
                    <a:pt x="152" y="130"/>
                  </a:cubicBezTo>
                  <a:cubicBezTo>
                    <a:pt x="151" y="128"/>
                    <a:pt x="151" y="128"/>
                    <a:pt x="151" y="128"/>
                  </a:cubicBezTo>
                  <a:cubicBezTo>
                    <a:pt x="151" y="126"/>
                    <a:pt x="150" y="125"/>
                    <a:pt x="150" y="124"/>
                  </a:cubicBezTo>
                  <a:cubicBezTo>
                    <a:pt x="150" y="124"/>
                    <a:pt x="150" y="123"/>
                    <a:pt x="150" y="123"/>
                  </a:cubicBezTo>
                  <a:cubicBezTo>
                    <a:pt x="149" y="122"/>
                    <a:pt x="149" y="122"/>
                    <a:pt x="149" y="122"/>
                  </a:cubicBezTo>
                  <a:cubicBezTo>
                    <a:pt x="149" y="122"/>
                    <a:pt x="149" y="121"/>
                    <a:pt x="149" y="120"/>
                  </a:cubicBezTo>
                  <a:cubicBezTo>
                    <a:pt x="147" y="121"/>
                    <a:pt x="147" y="121"/>
                    <a:pt x="147" y="121"/>
                  </a:cubicBezTo>
                  <a:cubicBezTo>
                    <a:pt x="148" y="120"/>
                    <a:pt x="148" y="120"/>
                    <a:pt x="148" y="120"/>
                  </a:cubicBezTo>
                  <a:cubicBezTo>
                    <a:pt x="148" y="120"/>
                    <a:pt x="148" y="120"/>
                    <a:pt x="148" y="120"/>
                  </a:cubicBezTo>
                  <a:cubicBezTo>
                    <a:pt x="148" y="119"/>
                    <a:pt x="148" y="119"/>
                    <a:pt x="148" y="118"/>
                  </a:cubicBezTo>
                  <a:cubicBezTo>
                    <a:pt x="148" y="118"/>
                    <a:pt x="148" y="118"/>
                    <a:pt x="148" y="118"/>
                  </a:cubicBezTo>
                  <a:cubicBezTo>
                    <a:pt x="148" y="117"/>
                    <a:pt x="147" y="116"/>
                    <a:pt x="147" y="115"/>
                  </a:cubicBezTo>
                  <a:cubicBezTo>
                    <a:pt x="148" y="115"/>
                    <a:pt x="148" y="114"/>
                    <a:pt x="148" y="113"/>
                  </a:cubicBezTo>
                  <a:cubicBezTo>
                    <a:pt x="149" y="112"/>
                    <a:pt x="149" y="112"/>
                    <a:pt x="149" y="112"/>
                  </a:cubicBezTo>
                  <a:cubicBezTo>
                    <a:pt x="148" y="112"/>
                    <a:pt x="147" y="112"/>
                    <a:pt x="146" y="112"/>
                  </a:cubicBezTo>
                  <a:cubicBezTo>
                    <a:pt x="145" y="112"/>
                    <a:pt x="145" y="112"/>
                    <a:pt x="145" y="112"/>
                  </a:cubicBezTo>
                  <a:cubicBezTo>
                    <a:pt x="145" y="112"/>
                    <a:pt x="144" y="112"/>
                    <a:pt x="144" y="112"/>
                  </a:cubicBezTo>
                  <a:cubicBezTo>
                    <a:pt x="143" y="112"/>
                    <a:pt x="143" y="112"/>
                    <a:pt x="143" y="112"/>
                  </a:cubicBezTo>
                  <a:cubicBezTo>
                    <a:pt x="142" y="112"/>
                    <a:pt x="141" y="111"/>
                    <a:pt x="140" y="111"/>
                  </a:cubicBezTo>
                  <a:cubicBezTo>
                    <a:pt x="139" y="111"/>
                    <a:pt x="139" y="111"/>
                    <a:pt x="139" y="111"/>
                  </a:cubicBezTo>
                  <a:cubicBezTo>
                    <a:pt x="138" y="111"/>
                    <a:pt x="138" y="111"/>
                    <a:pt x="138" y="111"/>
                  </a:cubicBezTo>
                  <a:cubicBezTo>
                    <a:pt x="138" y="112"/>
                    <a:pt x="138" y="112"/>
                    <a:pt x="138" y="112"/>
                  </a:cubicBezTo>
                  <a:cubicBezTo>
                    <a:pt x="137" y="112"/>
                    <a:pt x="136" y="112"/>
                    <a:pt x="136" y="113"/>
                  </a:cubicBezTo>
                  <a:cubicBezTo>
                    <a:pt x="131" y="116"/>
                    <a:pt x="128" y="117"/>
                    <a:pt x="125" y="117"/>
                  </a:cubicBezTo>
                  <a:cubicBezTo>
                    <a:pt x="125" y="117"/>
                    <a:pt x="125" y="117"/>
                    <a:pt x="125" y="117"/>
                  </a:cubicBezTo>
                  <a:cubicBezTo>
                    <a:pt x="124" y="117"/>
                    <a:pt x="124" y="117"/>
                    <a:pt x="124" y="117"/>
                  </a:cubicBezTo>
                  <a:cubicBezTo>
                    <a:pt x="123" y="117"/>
                    <a:pt x="123" y="117"/>
                    <a:pt x="123" y="117"/>
                  </a:cubicBezTo>
                  <a:cubicBezTo>
                    <a:pt x="121" y="115"/>
                    <a:pt x="120" y="114"/>
                    <a:pt x="121" y="111"/>
                  </a:cubicBezTo>
                  <a:cubicBezTo>
                    <a:pt x="121" y="111"/>
                    <a:pt x="121" y="111"/>
                    <a:pt x="121" y="111"/>
                  </a:cubicBezTo>
                  <a:cubicBezTo>
                    <a:pt x="121" y="110"/>
                    <a:pt x="122" y="109"/>
                    <a:pt x="122" y="109"/>
                  </a:cubicBezTo>
                  <a:cubicBezTo>
                    <a:pt x="124" y="106"/>
                    <a:pt x="124" y="106"/>
                    <a:pt x="124" y="106"/>
                  </a:cubicBezTo>
                  <a:cubicBezTo>
                    <a:pt x="124" y="105"/>
                    <a:pt x="124" y="105"/>
                    <a:pt x="124" y="104"/>
                  </a:cubicBezTo>
                  <a:cubicBezTo>
                    <a:pt x="124" y="103"/>
                    <a:pt x="124" y="103"/>
                    <a:pt x="124" y="103"/>
                  </a:cubicBezTo>
                  <a:cubicBezTo>
                    <a:pt x="123" y="103"/>
                    <a:pt x="123" y="103"/>
                    <a:pt x="123" y="103"/>
                  </a:cubicBezTo>
                  <a:cubicBezTo>
                    <a:pt x="122" y="103"/>
                    <a:pt x="121" y="102"/>
                    <a:pt x="120" y="100"/>
                  </a:cubicBezTo>
                  <a:cubicBezTo>
                    <a:pt x="120" y="99"/>
                    <a:pt x="120" y="99"/>
                    <a:pt x="120" y="99"/>
                  </a:cubicBezTo>
                  <a:cubicBezTo>
                    <a:pt x="120" y="99"/>
                    <a:pt x="120" y="98"/>
                    <a:pt x="120" y="98"/>
                  </a:cubicBezTo>
                  <a:cubicBezTo>
                    <a:pt x="120" y="95"/>
                    <a:pt x="120" y="92"/>
                    <a:pt x="124" y="90"/>
                  </a:cubicBezTo>
                  <a:cubicBezTo>
                    <a:pt x="124" y="90"/>
                    <a:pt x="125" y="89"/>
                    <a:pt x="125" y="89"/>
                  </a:cubicBezTo>
                  <a:cubicBezTo>
                    <a:pt x="125" y="89"/>
                    <a:pt x="125" y="89"/>
                    <a:pt x="125" y="89"/>
                  </a:cubicBezTo>
                  <a:cubicBezTo>
                    <a:pt x="126" y="89"/>
                    <a:pt x="126" y="89"/>
                    <a:pt x="126" y="89"/>
                  </a:cubicBezTo>
                  <a:cubicBezTo>
                    <a:pt x="126" y="89"/>
                    <a:pt x="126" y="89"/>
                    <a:pt x="126" y="89"/>
                  </a:cubicBezTo>
                  <a:cubicBezTo>
                    <a:pt x="126" y="89"/>
                    <a:pt x="126" y="89"/>
                    <a:pt x="126" y="89"/>
                  </a:cubicBezTo>
                  <a:cubicBezTo>
                    <a:pt x="126" y="87"/>
                    <a:pt x="126" y="87"/>
                    <a:pt x="126" y="87"/>
                  </a:cubicBezTo>
                  <a:cubicBezTo>
                    <a:pt x="126" y="86"/>
                    <a:pt x="126" y="85"/>
                    <a:pt x="126" y="83"/>
                  </a:cubicBezTo>
                  <a:cubicBezTo>
                    <a:pt x="127" y="80"/>
                    <a:pt x="127" y="79"/>
                    <a:pt x="129" y="77"/>
                  </a:cubicBezTo>
                  <a:cubicBezTo>
                    <a:pt x="130" y="77"/>
                    <a:pt x="130" y="77"/>
                    <a:pt x="130" y="77"/>
                  </a:cubicBezTo>
                  <a:cubicBezTo>
                    <a:pt x="130" y="77"/>
                    <a:pt x="130" y="77"/>
                    <a:pt x="130" y="77"/>
                  </a:cubicBezTo>
                  <a:cubicBezTo>
                    <a:pt x="131" y="76"/>
                    <a:pt x="131" y="76"/>
                    <a:pt x="131" y="76"/>
                  </a:cubicBezTo>
                  <a:cubicBezTo>
                    <a:pt x="131" y="76"/>
                    <a:pt x="132" y="76"/>
                    <a:pt x="132" y="76"/>
                  </a:cubicBezTo>
                  <a:cubicBezTo>
                    <a:pt x="132" y="76"/>
                    <a:pt x="132" y="76"/>
                    <a:pt x="132" y="76"/>
                  </a:cubicBezTo>
                  <a:cubicBezTo>
                    <a:pt x="133" y="76"/>
                    <a:pt x="133" y="75"/>
                    <a:pt x="134" y="75"/>
                  </a:cubicBezTo>
                  <a:cubicBezTo>
                    <a:pt x="134" y="75"/>
                    <a:pt x="134" y="75"/>
                    <a:pt x="134" y="75"/>
                  </a:cubicBezTo>
                  <a:cubicBezTo>
                    <a:pt x="134" y="74"/>
                    <a:pt x="134" y="74"/>
                    <a:pt x="134" y="74"/>
                  </a:cubicBezTo>
                  <a:cubicBezTo>
                    <a:pt x="134" y="73"/>
                    <a:pt x="134" y="73"/>
                    <a:pt x="134" y="73"/>
                  </a:cubicBezTo>
                  <a:cubicBezTo>
                    <a:pt x="135" y="72"/>
                    <a:pt x="135" y="70"/>
                    <a:pt x="137" y="69"/>
                  </a:cubicBezTo>
                  <a:cubicBezTo>
                    <a:pt x="137" y="69"/>
                    <a:pt x="138" y="69"/>
                    <a:pt x="138" y="69"/>
                  </a:cubicBezTo>
                  <a:cubicBezTo>
                    <a:pt x="139" y="69"/>
                    <a:pt x="140" y="69"/>
                    <a:pt x="140" y="69"/>
                  </a:cubicBezTo>
                  <a:cubicBezTo>
                    <a:pt x="141" y="69"/>
                    <a:pt x="141" y="70"/>
                    <a:pt x="141" y="70"/>
                  </a:cubicBezTo>
                  <a:cubicBezTo>
                    <a:pt x="141" y="70"/>
                    <a:pt x="141" y="70"/>
                    <a:pt x="141" y="69"/>
                  </a:cubicBezTo>
                  <a:cubicBezTo>
                    <a:pt x="142" y="69"/>
                    <a:pt x="144" y="68"/>
                    <a:pt x="144" y="67"/>
                  </a:cubicBezTo>
                  <a:cubicBezTo>
                    <a:pt x="145" y="66"/>
                    <a:pt x="146" y="66"/>
                    <a:pt x="146" y="65"/>
                  </a:cubicBezTo>
                  <a:cubicBezTo>
                    <a:pt x="147" y="65"/>
                    <a:pt x="147" y="65"/>
                    <a:pt x="147" y="65"/>
                  </a:cubicBezTo>
                  <a:cubicBezTo>
                    <a:pt x="147" y="64"/>
                    <a:pt x="147" y="64"/>
                    <a:pt x="147" y="64"/>
                  </a:cubicBezTo>
                  <a:cubicBezTo>
                    <a:pt x="147" y="64"/>
                    <a:pt x="146" y="63"/>
                    <a:pt x="146" y="62"/>
                  </a:cubicBezTo>
                  <a:cubicBezTo>
                    <a:pt x="146" y="62"/>
                    <a:pt x="146" y="62"/>
                    <a:pt x="146" y="62"/>
                  </a:cubicBezTo>
                  <a:cubicBezTo>
                    <a:pt x="145" y="60"/>
                    <a:pt x="145" y="59"/>
                    <a:pt x="145" y="57"/>
                  </a:cubicBezTo>
                  <a:cubicBezTo>
                    <a:pt x="145" y="56"/>
                    <a:pt x="145" y="56"/>
                    <a:pt x="145" y="56"/>
                  </a:cubicBezTo>
                  <a:cubicBezTo>
                    <a:pt x="146" y="56"/>
                    <a:pt x="146" y="56"/>
                    <a:pt x="146" y="56"/>
                  </a:cubicBezTo>
                  <a:cubicBezTo>
                    <a:pt x="146" y="55"/>
                    <a:pt x="147" y="54"/>
                    <a:pt x="147" y="53"/>
                  </a:cubicBezTo>
                  <a:cubicBezTo>
                    <a:pt x="148" y="52"/>
                    <a:pt x="148" y="52"/>
                    <a:pt x="148" y="52"/>
                  </a:cubicBezTo>
                  <a:cubicBezTo>
                    <a:pt x="148" y="51"/>
                    <a:pt x="148" y="50"/>
                    <a:pt x="148" y="50"/>
                  </a:cubicBezTo>
                  <a:cubicBezTo>
                    <a:pt x="149" y="49"/>
                    <a:pt x="149" y="49"/>
                    <a:pt x="149" y="48"/>
                  </a:cubicBezTo>
                  <a:cubicBezTo>
                    <a:pt x="149" y="46"/>
                    <a:pt x="149" y="43"/>
                    <a:pt x="149" y="39"/>
                  </a:cubicBezTo>
                  <a:cubicBezTo>
                    <a:pt x="149" y="38"/>
                    <a:pt x="149" y="38"/>
                    <a:pt x="149" y="37"/>
                  </a:cubicBezTo>
                  <a:cubicBezTo>
                    <a:pt x="149" y="34"/>
                    <a:pt x="149" y="34"/>
                    <a:pt x="149" y="34"/>
                  </a:cubicBezTo>
                  <a:cubicBezTo>
                    <a:pt x="149" y="31"/>
                    <a:pt x="149" y="27"/>
                    <a:pt x="148" y="24"/>
                  </a:cubicBezTo>
                  <a:cubicBezTo>
                    <a:pt x="148" y="24"/>
                    <a:pt x="148" y="23"/>
                    <a:pt x="148" y="23"/>
                  </a:cubicBezTo>
                  <a:cubicBezTo>
                    <a:pt x="147" y="23"/>
                    <a:pt x="147" y="23"/>
                    <a:pt x="147" y="23"/>
                  </a:cubicBezTo>
                  <a:cubicBezTo>
                    <a:pt x="147" y="23"/>
                    <a:pt x="147" y="23"/>
                    <a:pt x="147" y="23"/>
                  </a:cubicBezTo>
                  <a:cubicBezTo>
                    <a:pt x="143" y="23"/>
                    <a:pt x="143" y="23"/>
                    <a:pt x="143" y="23"/>
                  </a:cubicBezTo>
                  <a:cubicBezTo>
                    <a:pt x="141" y="22"/>
                    <a:pt x="139" y="21"/>
                    <a:pt x="138" y="19"/>
                  </a:cubicBezTo>
                  <a:cubicBezTo>
                    <a:pt x="136" y="17"/>
                    <a:pt x="136" y="15"/>
                    <a:pt x="135" y="13"/>
                  </a:cubicBezTo>
                  <a:cubicBezTo>
                    <a:pt x="135" y="10"/>
                    <a:pt x="135" y="8"/>
                    <a:pt x="133" y="7"/>
                  </a:cubicBezTo>
                  <a:cubicBezTo>
                    <a:pt x="133" y="7"/>
                    <a:pt x="133" y="7"/>
                    <a:pt x="133" y="7"/>
                  </a:cubicBezTo>
                  <a:cubicBezTo>
                    <a:pt x="132" y="6"/>
                    <a:pt x="132" y="5"/>
                    <a:pt x="131" y="5"/>
                  </a:cubicBezTo>
                  <a:cubicBezTo>
                    <a:pt x="131" y="4"/>
                    <a:pt x="130" y="4"/>
                    <a:pt x="130" y="4"/>
                  </a:cubicBezTo>
                  <a:cubicBezTo>
                    <a:pt x="130" y="4"/>
                    <a:pt x="130" y="3"/>
                    <a:pt x="129" y="3"/>
                  </a:cubicBezTo>
                  <a:cubicBezTo>
                    <a:pt x="129" y="3"/>
                    <a:pt x="129" y="3"/>
                    <a:pt x="129" y="3"/>
                  </a:cubicBezTo>
                  <a:cubicBezTo>
                    <a:pt x="128" y="3"/>
                    <a:pt x="127" y="2"/>
                    <a:pt x="126" y="2"/>
                  </a:cubicBezTo>
                  <a:cubicBezTo>
                    <a:pt x="126" y="1"/>
                    <a:pt x="126" y="1"/>
                    <a:pt x="126" y="1"/>
                  </a:cubicBezTo>
                  <a:cubicBezTo>
                    <a:pt x="125" y="0"/>
                    <a:pt x="125" y="0"/>
                    <a:pt x="1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1547"/>
            <p:cNvSpPr/>
            <p:nvPr/>
          </p:nvSpPr>
          <p:spPr bwMode="auto">
            <a:xfrm>
              <a:off x="2883337" y="3377321"/>
              <a:ext cx="9396" cy="25504"/>
            </a:xfrm>
            <a:custGeom>
              <a:gdLst>
                <a:gd name="T0" fmla="*/ 0 w 3"/>
                <a:gd name="T1" fmla="*/ 0 h 8"/>
                <a:gd name="T2" fmla="*/ 0 w 3"/>
                <a:gd name="T3" fmla="*/ 1 h 8"/>
                <a:gd name="T4" fmla="*/ 0 w 3"/>
                <a:gd name="T5" fmla="*/ 1 h 8"/>
                <a:gd name="T6" fmla="*/ 2 w 3"/>
                <a:gd name="T7" fmla="*/ 8 h 8"/>
                <a:gd name="T8" fmla="*/ 3 w 3"/>
                <a:gd name="T9" fmla="*/ 5 h 8"/>
                <a:gd name="T10" fmla="*/ 3 w 3"/>
                <a:gd name="T11" fmla="*/ 3 h 8"/>
                <a:gd name="T12" fmla="*/ 2 w 3"/>
                <a:gd name="T13" fmla="*/ 2 h 8"/>
                <a:gd name="T14" fmla="*/ 1 w 3"/>
                <a:gd name="T15" fmla="*/ 1 h 8"/>
                <a:gd name="T16" fmla="*/ 1 w 3"/>
                <a:gd name="T17" fmla="*/ 1 h 8"/>
                <a:gd name="T18" fmla="*/ 0 w 3"/>
                <a:gd name="T19" fmla="*/ 0 h 8"/>
                <a:gd name="T20" fmla="*/ 0 w 3"/>
                <a:gd name="T2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0" y="0"/>
                  </a:moveTo>
                  <a:cubicBezTo>
                    <a:pt x="0" y="1"/>
                    <a:pt x="0" y="1"/>
                    <a:pt x="0" y="1"/>
                  </a:cubicBezTo>
                  <a:cubicBezTo>
                    <a:pt x="0" y="1"/>
                    <a:pt x="0" y="1"/>
                    <a:pt x="0" y="1"/>
                  </a:cubicBezTo>
                  <a:cubicBezTo>
                    <a:pt x="2" y="8"/>
                    <a:pt x="2" y="8"/>
                    <a:pt x="2" y="8"/>
                  </a:cubicBezTo>
                  <a:cubicBezTo>
                    <a:pt x="3" y="6"/>
                    <a:pt x="3" y="6"/>
                    <a:pt x="3" y="5"/>
                  </a:cubicBezTo>
                  <a:cubicBezTo>
                    <a:pt x="3" y="4"/>
                    <a:pt x="3" y="3"/>
                    <a:pt x="3" y="3"/>
                  </a:cubicBezTo>
                  <a:cubicBezTo>
                    <a:pt x="3" y="3"/>
                    <a:pt x="2" y="2"/>
                    <a:pt x="2" y="2"/>
                  </a:cubicBezTo>
                  <a:cubicBezTo>
                    <a:pt x="1" y="1"/>
                    <a:pt x="1" y="1"/>
                    <a:pt x="1" y="1"/>
                  </a:cubicBezTo>
                  <a:cubicBezTo>
                    <a:pt x="1" y="1"/>
                    <a:pt x="1" y="1"/>
                    <a:pt x="1" y="1"/>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Rectangle 1548"/>
            <p:cNvSpPr>
              <a:spLocks noChangeArrowheads="1"/>
            </p:cNvSpPr>
            <p:nvPr/>
          </p:nvSpPr>
          <p:spPr bwMode="auto">
            <a:xfrm>
              <a:off x="2943742" y="3596121"/>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1549"/>
            <p:cNvSpPr/>
            <p:nvPr/>
          </p:nvSpPr>
          <p:spPr bwMode="auto">
            <a:xfrm flipH="1">
              <a:off x="2943742" y="359612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1550"/>
            <p:cNvSpPr/>
            <p:nvPr/>
          </p:nvSpPr>
          <p:spPr bwMode="auto">
            <a:xfrm>
              <a:off x="2680644" y="3370609"/>
              <a:ext cx="590628" cy="1107428"/>
            </a:xfrm>
            <a:custGeom>
              <a:gdLst>
                <a:gd name="T0" fmla="*/ 48 w 186"/>
                <a:gd name="T1" fmla="*/ 3 h 349"/>
                <a:gd name="T2" fmla="*/ 40 w 186"/>
                <a:gd name="T3" fmla="*/ 8 h 349"/>
                <a:gd name="T4" fmla="*/ 35 w 186"/>
                <a:gd name="T5" fmla="*/ 15 h 349"/>
                <a:gd name="T6" fmla="*/ 28 w 186"/>
                <a:gd name="T7" fmla="*/ 24 h 349"/>
                <a:gd name="T8" fmla="*/ 14 w 186"/>
                <a:gd name="T9" fmla="*/ 17 h 349"/>
                <a:gd name="T10" fmla="*/ 7 w 186"/>
                <a:gd name="T11" fmla="*/ 35 h 349"/>
                <a:gd name="T12" fmla="*/ 8 w 186"/>
                <a:gd name="T13" fmla="*/ 42 h 349"/>
                <a:gd name="T14" fmla="*/ 0 w 186"/>
                <a:gd name="T15" fmla="*/ 47 h 349"/>
                <a:gd name="T16" fmla="*/ 5 w 186"/>
                <a:gd name="T17" fmla="*/ 53 h 349"/>
                <a:gd name="T18" fmla="*/ 19 w 186"/>
                <a:gd name="T19" fmla="*/ 77 h 349"/>
                <a:gd name="T20" fmla="*/ 24 w 186"/>
                <a:gd name="T21" fmla="*/ 81 h 349"/>
                <a:gd name="T22" fmla="*/ 30 w 186"/>
                <a:gd name="T23" fmla="*/ 89 h 349"/>
                <a:gd name="T24" fmla="*/ 32 w 186"/>
                <a:gd name="T25" fmla="*/ 104 h 349"/>
                <a:gd name="T26" fmla="*/ 27 w 186"/>
                <a:gd name="T27" fmla="*/ 118 h 349"/>
                <a:gd name="T28" fmla="*/ 29 w 186"/>
                <a:gd name="T29" fmla="*/ 145 h 349"/>
                <a:gd name="T30" fmla="*/ 38 w 186"/>
                <a:gd name="T31" fmla="*/ 156 h 349"/>
                <a:gd name="T32" fmla="*/ 40 w 186"/>
                <a:gd name="T33" fmla="*/ 175 h 349"/>
                <a:gd name="T34" fmla="*/ 42 w 186"/>
                <a:gd name="T35" fmla="*/ 180 h 349"/>
                <a:gd name="T36" fmla="*/ 50 w 186"/>
                <a:gd name="T37" fmla="*/ 203 h 349"/>
                <a:gd name="T38" fmla="*/ 32 w 186"/>
                <a:gd name="T39" fmla="*/ 237 h 349"/>
                <a:gd name="T40" fmla="*/ 16 w 186"/>
                <a:gd name="T41" fmla="*/ 269 h 349"/>
                <a:gd name="T42" fmla="*/ 16 w 186"/>
                <a:gd name="T43" fmla="*/ 290 h 349"/>
                <a:gd name="T44" fmla="*/ 35 w 186"/>
                <a:gd name="T45" fmla="*/ 298 h 349"/>
                <a:gd name="T46" fmla="*/ 46 w 186"/>
                <a:gd name="T47" fmla="*/ 311 h 349"/>
                <a:gd name="T48" fmla="*/ 59 w 186"/>
                <a:gd name="T49" fmla="*/ 327 h 349"/>
                <a:gd name="T50" fmla="*/ 77 w 186"/>
                <a:gd name="T51" fmla="*/ 331 h 349"/>
                <a:gd name="T52" fmla="*/ 86 w 186"/>
                <a:gd name="T53" fmla="*/ 342 h 349"/>
                <a:gd name="T54" fmla="*/ 92 w 186"/>
                <a:gd name="T55" fmla="*/ 344 h 349"/>
                <a:gd name="T56" fmla="*/ 102 w 186"/>
                <a:gd name="T57" fmla="*/ 334 h 349"/>
                <a:gd name="T58" fmla="*/ 83 w 186"/>
                <a:gd name="T59" fmla="*/ 324 h 349"/>
                <a:gd name="T60" fmla="*/ 66 w 186"/>
                <a:gd name="T61" fmla="*/ 313 h 349"/>
                <a:gd name="T62" fmla="*/ 56 w 186"/>
                <a:gd name="T63" fmla="*/ 277 h 349"/>
                <a:gd name="T64" fmla="*/ 41 w 186"/>
                <a:gd name="T65" fmla="*/ 263 h 349"/>
                <a:gd name="T66" fmla="*/ 56 w 186"/>
                <a:gd name="T67" fmla="*/ 199 h 349"/>
                <a:gd name="T68" fmla="*/ 67 w 186"/>
                <a:gd name="T69" fmla="*/ 165 h 349"/>
                <a:gd name="T70" fmla="*/ 77 w 186"/>
                <a:gd name="T71" fmla="*/ 183 h 349"/>
                <a:gd name="T72" fmla="*/ 110 w 186"/>
                <a:gd name="T73" fmla="*/ 194 h 349"/>
                <a:gd name="T74" fmla="*/ 120 w 186"/>
                <a:gd name="T75" fmla="*/ 194 h 349"/>
                <a:gd name="T76" fmla="*/ 114 w 186"/>
                <a:gd name="T77" fmla="*/ 187 h 349"/>
                <a:gd name="T78" fmla="*/ 112 w 186"/>
                <a:gd name="T79" fmla="*/ 162 h 349"/>
                <a:gd name="T80" fmla="*/ 139 w 186"/>
                <a:gd name="T81" fmla="*/ 141 h 349"/>
                <a:gd name="T82" fmla="*/ 164 w 186"/>
                <a:gd name="T83" fmla="*/ 142 h 349"/>
                <a:gd name="T84" fmla="*/ 177 w 186"/>
                <a:gd name="T85" fmla="*/ 143 h 349"/>
                <a:gd name="T86" fmla="*/ 183 w 186"/>
                <a:gd name="T87" fmla="*/ 124 h 349"/>
                <a:gd name="T88" fmla="*/ 186 w 186"/>
                <a:gd name="T89" fmla="*/ 115 h 349"/>
                <a:gd name="T90" fmla="*/ 171 w 186"/>
                <a:gd name="T91" fmla="*/ 100 h 349"/>
                <a:gd name="T92" fmla="*/ 166 w 186"/>
                <a:gd name="T93" fmla="*/ 90 h 349"/>
                <a:gd name="T94" fmla="*/ 167 w 186"/>
                <a:gd name="T95" fmla="*/ 76 h 349"/>
                <a:gd name="T96" fmla="*/ 154 w 186"/>
                <a:gd name="T97" fmla="*/ 59 h 349"/>
                <a:gd name="T98" fmla="*/ 140 w 186"/>
                <a:gd name="T99" fmla="*/ 50 h 349"/>
                <a:gd name="T100" fmla="*/ 132 w 186"/>
                <a:gd name="T101" fmla="*/ 55 h 349"/>
                <a:gd name="T102" fmla="*/ 123 w 186"/>
                <a:gd name="T103" fmla="*/ 62 h 349"/>
                <a:gd name="T104" fmla="*/ 106 w 186"/>
                <a:gd name="T105" fmla="*/ 56 h 349"/>
                <a:gd name="T106" fmla="*/ 84 w 186"/>
                <a:gd name="T107" fmla="*/ 73 h 349"/>
                <a:gd name="T108" fmla="*/ 79 w 186"/>
                <a:gd name="T109" fmla="*/ 71 h 349"/>
                <a:gd name="T110" fmla="*/ 79 w 186"/>
                <a:gd name="T111" fmla="*/ 59 h 349"/>
                <a:gd name="T112" fmla="*/ 80 w 186"/>
                <a:gd name="T113" fmla="*/ 47 h 349"/>
                <a:gd name="T114" fmla="*/ 85 w 186"/>
                <a:gd name="T115" fmla="*/ 32 h 349"/>
                <a:gd name="T116" fmla="*/ 82 w 186"/>
                <a:gd name="T117" fmla="*/ 23 h 349"/>
                <a:gd name="T118" fmla="*/ 70 w 186"/>
                <a:gd name="T119" fmla="*/ 23 h 349"/>
                <a:gd name="T120" fmla="*/ 64 w 186"/>
                <a:gd name="T121" fmla="*/ 13 h 349"/>
                <a:gd name="T122" fmla="*/ 56 w 186"/>
                <a:gd name="T123" fmla="*/ 1 h 3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349">
                  <a:moveTo>
                    <a:pt x="56" y="0"/>
                  </a:moveTo>
                  <a:cubicBezTo>
                    <a:pt x="54" y="1"/>
                    <a:pt x="53" y="2"/>
                    <a:pt x="52" y="2"/>
                  </a:cubicBezTo>
                  <a:cubicBezTo>
                    <a:pt x="51" y="2"/>
                    <a:pt x="51" y="3"/>
                    <a:pt x="50" y="3"/>
                  </a:cubicBezTo>
                  <a:cubicBezTo>
                    <a:pt x="49" y="3"/>
                    <a:pt x="49" y="3"/>
                    <a:pt x="49" y="3"/>
                  </a:cubicBezTo>
                  <a:cubicBezTo>
                    <a:pt x="48" y="3"/>
                    <a:pt x="48" y="3"/>
                    <a:pt x="48" y="3"/>
                  </a:cubicBezTo>
                  <a:cubicBezTo>
                    <a:pt x="48" y="3"/>
                    <a:pt x="48" y="3"/>
                    <a:pt x="48" y="3"/>
                  </a:cubicBezTo>
                  <a:cubicBezTo>
                    <a:pt x="49" y="7"/>
                    <a:pt x="49" y="7"/>
                    <a:pt x="49" y="7"/>
                  </a:cubicBezTo>
                  <a:cubicBezTo>
                    <a:pt x="46" y="8"/>
                    <a:pt x="46" y="8"/>
                    <a:pt x="46" y="8"/>
                  </a:cubicBezTo>
                  <a:cubicBezTo>
                    <a:pt x="45" y="8"/>
                    <a:pt x="45" y="8"/>
                    <a:pt x="45" y="8"/>
                  </a:cubicBezTo>
                  <a:cubicBezTo>
                    <a:pt x="43" y="8"/>
                    <a:pt x="43" y="8"/>
                    <a:pt x="43" y="8"/>
                  </a:cubicBezTo>
                  <a:cubicBezTo>
                    <a:pt x="43" y="8"/>
                    <a:pt x="42" y="8"/>
                    <a:pt x="42" y="8"/>
                  </a:cubicBezTo>
                  <a:cubicBezTo>
                    <a:pt x="41" y="8"/>
                    <a:pt x="41" y="8"/>
                    <a:pt x="40" y="8"/>
                  </a:cubicBezTo>
                  <a:cubicBezTo>
                    <a:pt x="39" y="8"/>
                    <a:pt x="39" y="8"/>
                    <a:pt x="39" y="8"/>
                  </a:cubicBezTo>
                  <a:cubicBezTo>
                    <a:pt x="39" y="8"/>
                    <a:pt x="39" y="8"/>
                    <a:pt x="39" y="8"/>
                  </a:cubicBezTo>
                  <a:cubicBezTo>
                    <a:pt x="39" y="9"/>
                    <a:pt x="38" y="9"/>
                    <a:pt x="38" y="10"/>
                  </a:cubicBezTo>
                  <a:cubicBezTo>
                    <a:pt x="38" y="11"/>
                    <a:pt x="37" y="12"/>
                    <a:pt x="37" y="13"/>
                  </a:cubicBezTo>
                  <a:cubicBezTo>
                    <a:pt x="37" y="13"/>
                    <a:pt x="36" y="13"/>
                    <a:pt x="36" y="14"/>
                  </a:cubicBezTo>
                  <a:cubicBezTo>
                    <a:pt x="36" y="14"/>
                    <a:pt x="36" y="14"/>
                    <a:pt x="35" y="15"/>
                  </a:cubicBezTo>
                  <a:cubicBezTo>
                    <a:pt x="35" y="15"/>
                    <a:pt x="35" y="15"/>
                    <a:pt x="35" y="15"/>
                  </a:cubicBezTo>
                  <a:cubicBezTo>
                    <a:pt x="34" y="16"/>
                    <a:pt x="34" y="16"/>
                    <a:pt x="33" y="16"/>
                  </a:cubicBezTo>
                  <a:cubicBezTo>
                    <a:pt x="32" y="17"/>
                    <a:pt x="31" y="17"/>
                    <a:pt x="30" y="17"/>
                  </a:cubicBezTo>
                  <a:cubicBezTo>
                    <a:pt x="28" y="17"/>
                    <a:pt x="28" y="17"/>
                    <a:pt x="28" y="17"/>
                  </a:cubicBezTo>
                  <a:cubicBezTo>
                    <a:pt x="28" y="18"/>
                    <a:pt x="27" y="18"/>
                    <a:pt x="27" y="18"/>
                  </a:cubicBezTo>
                  <a:cubicBezTo>
                    <a:pt x="28" y="24"/>
                    <a:pt x="28" y="24"/>
                    <a:pt x="28" y="24"/>
                  </a:cubicBezTo>
                  <a:cubicBezTo>
                    <a:pt x="25" y="18"/>
                    <a:pt x="25" y="18"/>
                    <a:pt x="25" y="18"/>
                  </a:cubicBezTo>
                  <a:cubicBezTo>
                    <a:pt x="25" y="18"/>
                    <a:pt x="25" y="18"/>
                    <a:pt x="25" y="18"/>
                  </a:cubicBezTo>
                  <a:cubicBezTo>
                    <a:pt x="24" y="18"/>
                    <a:pt x="23" y="18"/>
                    <a:pt x="22" y="18"/>
                  </a:cubicBezTo>
                  <a:cubicBezTo>
                    <a:pt x="22" y="18"/>
                    <a:pt x="21" y="18"/>
                    <a:pt x="21" y="18"/>
                  </a:cubicBezTo>
                  <a:cubicBezTo>
                    <a:pt x="21" y="18"/>
                    <a:pt x="20" y="18"/>
                    <a:pt x="20" y="18"/>
                  </a:cubicBezTo>
                  <a:cubicBezTo>
                    <a:pt x="18" y="18"/>
                    <a:pt x="16" y="18"/>
                    <a:pt x="14" y="17"/>
                  </a:cubicBezTo>
                  <a:cubicBezTo>
                    <a:pt x="13" y="21"/>
                    <a:pt x="13" y="21"/>
                    <a:pt x="13" y="21"/>
                  </a:cubicBezTo>
                  <a:cubicBezTo>
                    <a:pt x="13" y="17"/>
                    <a:pt x="13" y="17"/>
                    <a:pt x="13" y="17"/>
                  </a:cubicBezTo>
                  <a:cubicBezTo>
                    <a:pt x="13" y="17"/>
                    <a:pt x="12" y="17"/>
                    <a:pt x="12" y="16"/>
                  </a:cubicBezTo>
                  <a:cubicBezTo>
                    <a:pt x="10" y="20"/>
                    <a:pt x="10" y="20"/>
                    <a:pt x="9" y="25"/>
                  </a:cubicBezTo>
                  <a:cubicBezTo>
                    <a:pt x="9" y="28"/>
                    <a:pt x="8" y="31"/>
                    <a:pt x="7" y="34"/>
                  </a:cubicBezTo>
                  <a:cubicBezTo>
                    <a:pt x="7" y="35"/>
                    <a:pt x="7" y="35"/>
                    <a:pt x="7" y="35"/>
                  </a:cubicBezTo>
                  <a:cubicBezTo>
                    <a:pt x="7" y="35"/>
                    <a:pt x="7" y="36"/>
                    <a:pt x="7" y="37"/>
                  </a:cubicBezTo>
                  <a:cubicBezTo>
                    <a:pt x="7" y="38"/>
                    <a:pt x="7" y="38"/>
                    <a:pt x="7" y="38"/>
                  </a:cubicBezTo>
                  <a:cubicBezTo>
                    <a:pt x="7" y="39"/>
                    <a:pt x="7" y="39"/>
                    <a:pt x="7" y="39"/>
                  </a:cubicBezTo>
                  <a:cubicBezTo>
                    <a:pt x="8" y="40"/>
                    <a:pt x="8" y="40"/>
                    <a:pt x="8" y="40"/>
                  </a:cubicBezTo>
                  <a:cubicBezTo>
                    <a:pt x="8" y="41"/>
                    <a:pt x="8" y="41"/>
                    <a:pt x="8" y="41"/>
                  </a:cubicBezTo>
                  <a:cubicBezTo>
                    <a:pt x="8" y="42"/>
                    <a:pt x="8" y="42"/>
                    <a:pt x="8" y="42"/>
                  </a:cubicBezTo>
                  <a:cubicBezTo>
                    <a:pt x="8" y="42"/>
                    <a:pt x="8" y="42"/>
                    <a:pt x="8" y="42"/>
                  </a:cubicBezTo>
                  <a:cubicBezTo>
                    <a:pt x="8" y="44"/>
                    <a:pt x="6" y="46"/>
                    <a:pt x="5" y="46"/>
                  </a:cubicBezTo>
                  <a:cubicBezTo>
                    <a:pt x="4" y="46"/>
                    <a:pt x="4" y="46"/>
                    <a:pt x="4" y="46"/>
                  </a:cubicBezTo>
                  <a:cubicBezTo>
                    <a:pt x="3" y="46"/>
                    <a:pt x="2" y="46"/>
                    <a:pt x="1" y="46"/>
                  </a:cubicBezTo>
                  <a:cubicBezTo>
                    <a:pt x="0" y="46"/>
                    <a:pt x="0" y="46"/>
                    <a:pt x="0" y="46"/>
                  </a:cubicBezTo>
                  <a:cubicBezTo>
                    <a:pt x="0" y="47"/>
                    <a:pt x="0" y="47"/>
                    <a:pt x="0" y="47"/>
                  </a:cubicBezTo>
                  <a:cubicBezTo>
                    <a:pt x="1" y="47"/>
                    <a:pt x="1" y="47"/>
                    <a:pt x="1" y="47"/>
                  </a:cubicBezTo>
                  <a:cubicBezTo>
                    <a:pt x="2" y="47"/>
                    <a:pt x="2" y="47"/>
                    <a:pt x="2" y="48"/>
                  </a:cubicBezTo>
                  <a:cubicBezTo>
                    <a:pt x="3" y="48"/>
                    <a:pt x="4" y="49"/>
                    <a:pt x="4" y="50"/>
                  </a:cubicBezTo>
                  <a:cubicBezTo>
                    <a:pt x="4" y="50"/>
                    <a:pt x="5" y="51"/>
                    <a:pt x="5" y="52"/>
                  </a:cubicBezTo>
                  <a:cubicBezTo>
                    <a:pt x="5" y="52"/>
                    <a:pt x="5" y="52"/>
                    <a:pt x="5" y="52"/>
                  </a:cubicBezTo>
                  <a:cubicBezTo>
                    <a:pt x="5" y="52"/>
                    <a:pt x="5" y="53"/>
                    <a:pt x="5" y="53"/>
                  </a:cubicBezTo>
                  <a:cubicBezTo>
                    <a:pt x="6" y="55"/>
                    <a:pt x="6" y="55"/>
                    <a:pt x="6" y="55"/>
                  </a:cubicBezTo>
                  <a:cubicBezTo>
                    <a:pt x="6" y="55"/>
                    <a:pt x="7" y="56"/>
                    <a:pt x="7" y="57"/>
                  </a:cubicBezTo>
                  <a:cubicBezTo>
                    <a:pt x="7" y="59"/>
                    <a:pt x="6" y="60"/>
                    <a:pt x="6" y="60"/>
                  </a:cubicBezTo>
                  <a:cubicBezTo>
                    <a:pt x="6" y="61"/>
                    <a:pt x="6" y="61"/>
                    <a:pt x="6" y="61"/>
                  </a:cubicBezTo>
                  <a:cubicBezTo>
                    <a:pt x="9" y="64"/>
                    <a:pt x="11" y="67"/>
                    <a:pt x="13" y="70"/>
                  </a:cubicBezTo>
                  <a:cubicBezTo>
                    <a:pt x="15" y="72"/>
                    <a:pt x="17" y="74"/>
                    <a:pt x="19" y="77"/>
                  </a:cubicBezTo>
                  <a:cubicBezTo>
                    <a:pt x="20" y="77"/>
                    <a:pt x="20" y="77"/>
                    <a:pt x="20" y="77"/>
                  </a:cubicBezTo>
                  <a:cubicBezTo>
                    <a:pt x="20" y="77"/>
                    <a:pt x="21" y="78"/>
                    <a:pt x="22" y="78"/>
                  </a:cubicBezTo>
                  <a:cubicBezTo>
                    <a:pt x="23" y="79"/>
                    <a:pt x="23" y="79"/>
                    <a:pt x="23" y="80"/>
                  </a:cubicBezTo>
                  <a:cubicBezTo>
                    <a:pt x="24" y="80"/>
                    <a:pt x="24" y="80"/>
                    <a:pt x="24" y="80"/>
                  </a:cubicBezTo>
                  <a:cubicBezTo>
                    <a:pt x="24" y="81"/>
                    <a:pt x="24" y="81"/>
                    <a:pt x="24" y="81"/>
                  </a:cubicBezTo>
                  <a:cubicBezTo>
                    <a:pt x="24" y="81"/>
                    <a:pt x="24" y="81"/>
                    <a:pt x="24" y="81"/>
                  </a:cubicBezTo>
                  <a:cubicBezTo>
                    <a:pt x="25" y="82"/>
                    <a:pt x="25" y="82"/>
                    <a:pt x="25" y="82"/>
                  </a:cubicBezTo>
                  <a:cubicBezTo>
                    <a:pt x="26" y="84"/>
                    <a:pt x="26" y="85"/>
                    <a:pt x="27" y="87"/>
                  </a:cubicBezTo>
                  <a:cubicBezTo>
                    <a:pt x="27" y="88"/>
                    <a:pt x="27" y="89"/>
                    <a:pt x="27" y="90"/>
                  </a:cubicBezTo>
                  <a:cubicBezTo>
                    <a:pt x="28" y="91"/>
                    <a:pt x="28" y="91"/>
                    <a:pt x="28" y="91"/>
                  </a:cubicBezTo>
                  <a:cubicBezTo>
                    <a:pt x="28" y="92"/>
                    <a:pt x="28" y="92"/>
                    <a:pt x="28" y="92"/>
                  </a:cubicBezTo>
                  <a:cubicBezTo>
                    <a:pt x="30" y="89"/>
                    <a:pt x="30" y="89"/>
                    <a:pt x="30" y="89"/>
                  </a:cubicBezTo>
                  <a:cubicBezTo>
                    <a:pt x="32" y="92"/>
                    <a:pt x="32" y="92"/>
                    <a:pt x="32" y="92"/>
                  </a:cubicBezTo>
                  <a:cubicBezTo>
                    <a:pt x="33" y="94"/>
                    <a:pt x="34" y="95"/>
                    <a:pt x="34" y="97"/>
                  </a:cubicBezTo>
                  <a:cubicBezTo>
                    <a:pt x="34" y="97"/>
                    <a:pt x="34" y="99"/>
                    <a:pt x="34" y="99"/>
                  </a:cubicBezTo>
                  <a:cubicBezTo>
                    <a:pt x="34" y="100"/>
                    <a:pt x="33" y="102"/>
                    <a:pt x="33" y="103"/>
                  </a:cubicBezTo>
                  <a:cubicBezTo>
                    <a:pt x="32" y="103"/>
                    <a:pt x="32" y="103"/>
                    <a:pt x="32" y="103"/>
                  </a:cubicBezTo>
                  <a:cubicBezTo>
                    <a:pt x="32" y="104"/>
                    <a:pt x="32" y="104"/>
                    <a:pt x="32" y="104"/>
                  </a:cubicBezTo>
                  <a:cubicBezTo>
                    <a:pt x="32" y="104"/>
                    <a:pt x="32" y="104"/>
                    <a:pt x="32" y="104"/>
                  </a:cubicBezTo>
                  <a:cubicBezTo>
                    <a:pt x="30" y="106"/>
                    <a:pt x="28" y="106"/>
                    <a:pt x="27" y="106"/>
                  </a:cubicBezTo>
                  <a:cubicBezTo>
                    <a:pt x="26" y="106"/>
                    <a:pt x="26" y="106"/>
                    <a:pt x="26" y="106"/>
                  </a:cubicBezTo>
                  <a:cubicBezTo>
                    <a:pt x="26" y="108"/>
                    <a:pt x="26" y="110"/>
                    <a:pt x="27" y="112"/>
                  </a:cubicBezTo>
                  <a:cubicBezTo>
                    <a:pt x="27" y="115"/>
                    <a:pt x="27" y="115"/>
                    <a:pt x="27" y="115"/>
                  </a:cubicBezTo>
                  <a:cubicBezTo>
                    <a:pt x="27" y="116"/>
                    <a:pt x="27" y="117"/>
                    <a:pt x="27" y="118"/>
                  </a:cubicBezTo>
                  <a:cubicBezTo>
                    <a:pt x="27" y="120"/>
                    <a:pt x="26" y="122"/>
                    <a:pt x="24" y="124"/>
                  </a:cubicBezTo>
                  <a:cubicBezTo>
                    <a:pt x="23" y="125"/>
                    <a:pt x="21" y="125"/>
                    <a:pt x="19" y="126"/>
                  </a:cubicBezTo>
                  <a:cubicBezTo>
                    <a:pt x="19" y="126"/>
                    <a:pt x="18" y="126"/>
                    <a:pt x="18" y="126"/>
                  </a:cubicBezTo>
                  <a:cubicBezTo>
                    <a:pt x="18" y="127"/>
                    <a:pt x="18" y="127"/>
                    <a:pt x="18" y="127"/>
                  </a:cubicBezTo>
                  <a:cubicBezTo>
                    <a:pt x="18" y="129"/>
                    <a:pt x="18" y="130"/>
                    <a:pt x="20" y="132"/>
                  </a:cubicBezTo>
                  <a:cubicBezTo>
                    <a:pt x="22" y="137"/>
                    <a:pt x="25" y="141"/>
                    <a:pt x="29" y="145"/>
                  </a:cubicBezTo>
                  <a:cubicBezTo>
                    <a:pt x="31" y="147"/>
                    <a:pt x="31" y="147"/>
                    <a:pt x="31" y="147"/>
                  </a:cubicBezTo>
                  <a:cubicBezTo>
                    <a:pt x="31" y="148"/>
                    <a:pt x="32" y="148"/>
                    <a:pt x="32" y="149"/>
                  </a:cubicBezTo>
                  <a:cubicBezTo>
                    <a:pt x="35" y="153"/>
                    <a:pt x="35" y="153"/>
                    <a:pt x="35" y="153"/>
                  </a:cubicBezTo>
                  <a:cubicBezTo>
                    <a:pt x="36" y="153"/>
                    <a:pt x="36" y="153"/>
                    <a:pt x="36" y="153"/>
                  </a:cubicBezTo>
                  <a:cubicBezTo>
                    <a:pt x="36" y="154"/>
                    <a:pt x="36" y="154"/>
                    <a:pt x="36" y="154"/>
                  </a:cubicBezTo>
                  <a:cubicBezTo>
                    <a:pt x="37" y="154"/>
                    <a:pt x="37" y="155"/>
                    <a:pt x="38" y="156"/>
                  </a:cubicBezTo>
                  <a:cubicBezTo>
                    <a:pt x="39" y="157"/>
                    <a:pt x="40" y="158"/>
                    <a:pt x="40" y="159"/>
                  </a:cubicBezTo>
                  <a:cubicBezTo>
                    <a:pt x="41" y="160"/>
                    <a:pt x="41" y="163"/>
                    <a:pt x="41" y="167"/>
                  </a:cubicBezTo>
                  <a:cubicBezTo>
                    <a:pt x="41" y="167"/>
                    <a:pt x="41" y="167"/>
                    <a:pt x="41" y="167"/>
                  </a:cubicBezTo>
                  <a:cubicBezTo>
                    <a:pt x="41" y="168"/>
                    <a:pt x="41" y="169"/>
                    <a:pt x="41" y="169"/>
                  </a:cubicBezTo>
                  <a:cubicBezTo>
                    <a:pt x="41" y="170"/>
                    <a:pt x="41" y="170"/>
                    <a:pt x="41" y="170"/>
                  </a:cubicBezTo>
                  <a:cubicBezTo>
                    <a:pt x="41" y="171"/>
                    <a:pt x="41" y="173"/>
                    <a:pt x="40" y="175"/>
                  </a:cubicBezTo>
                  <a:cubicBezTo>
                    <a:pt x="40" y="175"/>
                    <a:pt x="40" y="175"/>
                    <a:pt x="40" y="175"/>
                  </a:cubicBezTo>
                  <a:cubicBezTo>
                    <a:pt x="39" y="176"/>
                    <a:pt x="39" y="176"/>
                    <a:pt x="39" y="176"/>
                  </a:cubicBezTo>
                  <a:cubicBezTo>
                    <a:pt x="39" y="176"/>
                    <a:pt x="40" y="177"/>
                    <a:pt x="40" y="177"/>
                  </a:cubicBezTo>
                  <a:cubicBezTo>
                    <a:pt x="40" y="177"/>
                    <a:pt x="40" y="177"/>
                    <a:pt x="40" y="177"/>
                  </a:cubicBezTo>
                  <a:cubicBezTo>
                    <a:pt x="41" y="178"/>
                    <a:pt x="41" y="178"/>
                    <a:pt x="41" y="178"/>
                  </a:cubicBezTo>
                  <a:cubicBezTo>
                    <a:pt x="41" y="179"/>
                    <a:pt x="42" y="180"/>
                    <a:pt x="42" y="180"/>
                  </a:cubicBezTo>
                  <a:cubicBezTo>
                    <a:pt x="44" y="183"/>
                    <a:pt x="46" y="186"/>
                    <a:pt x="47" y="189"/>
                  </a:cubicBezTo>
                  <a:cubicBezTo>
                    <a:pt x="47" y="190"/>
                    <a:pt x="47" y="190"/>
                    <a:pt x="47" y="191"/>
                  </a:cubicBezTo>
                  <a:cubicBezTo>
                    <a:pt x="47" y="192"/>
                    <a:pt x="47" y="192"/>
                    <a:pt x="47" y="192"/>
                  </a:cubicBezTo>
                  <a:cubicBezTo>
                    <a:pt x="47" y="193"/>
                    <a:pt x="47" y="194"/>
                    <a:pt x="48" y="196"/>
                  </a:cubicBezTo>
                  <a:cubicBezTo>
                    <a:pt x="50" y="197"/>
                    <a:pt x="50" y="199"/>
                    <a:pt x="50" y="201"/>
                  </a:cubicBezTo>
                  <a:cubicBezTo>
                    <a:pt x="50" y="201"/>
                    <a:pt x="50" y="202"/>
                    <a:pt x="50" y="203"/>
                  </a:cubicBezTo>
                  <a:cubicBezTo>
                    <a:pt x="53" y="204"/>
                    <a:pt x="53" y="204"/>
                    <a:pt x="53" y="204"/>
                  </a:cubicBezTo>
                  <a:cubicBezTo>
                    <a:pt x="51" y="207"/>
                    <a:pt x="51" y="207"/>
                    <a:pt x="51" y="207"/>
                  </a:cubicBezTo>
                  <a:cubicBezTo>
                    <a:pt x="50" y="209"/>
                    <a:pt x="49" y="211"/>
                    <a:pt x="47" y="214"/>
                  </a:cubicBezTo>
                  <a:cubicBezTo>
                    <a:pt x="46" y="217"/>
                    <a:pt x="44" y="219"/>
                    <a:pt x="42" y="222"/>
                  </a:cubicBezTo>
                  <a:cubicBezTo>
                    <a:pt x="40" y="225"/>
                    <a:pt x="39" y="227"/>
                    <a:pt x="37" y="229"/>
                  </a:cubicBezTo>
                  <a:cubicBezTo>
                    <a:pt x="34" y="231"/>
                    <a:pt x="33" y="234"/>
                    <a:pt x="32" y="237"/>
                  </a:cubicBezTo>
                  <a:cubicBezTo>
                    <a:pt x="25" y="252"/>
                    <a:pt x="25" y="252"/>
                    <a:pt x="25" y="252"/>
                  </a:cubicBezTo>
                  <a:cubicBezTo>
                    <a:pt x="24" y="251"/>
                    <a:pt x="24" y="251"/>
                    <a:pt x="24" y="251"/>
                  </a:cubicBezTo>
                  <a:cubicBezTo>
                    <a:pt x="24" y="251"/>
                    <a:pt x="24" y="251"/>
                    <a:pt x="24" y="251"/>
                  </a:cubicBezTo>
                  <a:cubicBezTo>
                    <a:pt x="22" y="256"/>
                    <a:pt x="18" y="263"/>
                    <a:pt x="17" y="268"/>
                  </a:cubicBezTo>
                  <a:cubicBezTo>
                    <a:pt x="17" y="269"/>
                    <a:pt x="17" y="270"/>
                    <a:pt x="17" y="271"/>
                  </a:cubicBezTo>
                  <a:cubicBezTo>
                    <a:pt x="17" y="270"/>
                    <a:pt x="17" y="270"/>
                    <a:pt x="16" y="269"/>
                  </a:cubicBezTo>
                  <a:cubicBezTo>
                    <a:pt x="16" y="269"/>
                    <a:pt x="16" y="269"/>
                    <a:pt x="16" y="269"/>
                  </a:cubicBezTo>
                  <a:cubicBezTo>
                    <a:pt x="16" y="270"/>
                    <a:pt x="17" y="270"/>
                    <a:pt x="17" y="271"/>
                  </a:cubicBezTo>
                  <a:cubicBezTo>
                    <a:pt x="17" y="273"/>
                    <a:pt x="17" y="274"/>
                    <a:pt x="16" y="276"/>
                  </a:cubicBezTo>
                  <a:cubicBezTo>
                    <a:pt x="15" y="279"/>
                    <a:pt x="15" y="281"/>
                    <a:pt x="15" y="284"/>
                  </a:cubicBezTo>
                  <a:cubicBezTo>
                    <a:pt x="15" y="283"/>
                    <a:pt x="15" y="283"/>
                    <a:pt x="15" y="283"/>
                  </a:cubicBezTo>
                  <a:cubicBezTo>
                    <a:pt x="14" y="285"/>
                    <a:pt x="15" y="288"/>
                    <a:pt x="16" y="290"/>
                  </a:cubicBezTo>
                  <a:cubicBezTo>
                    <a:pt x="17" y="292"/>
                    <a:pt x="18" y="293"/>
                    <a:pt x="19" y="293"/>
                  </a:cubicBezTo>
                  <a:cubicBezTo>
                    <a:pt x="20" y="293"/>
                    <a:pt x="21" y="292"/>
                    <a:pt x="20" y="289"/>
                  </a:cubicBezTo>
                  <a:cubicBezTo>
                    <a:pt x="22" y="288"/>
                    <a:pt x="23" y="288"/>
                    <a:pt x="24" y="288"/>
                  </a:cubicBezTo>
                  <a:cubicBezTo>
                    <a:pt x="26" y="288"/>
                    <a:pt x="27" y="289"/>
                    <a:pt x="29" y="292"/>
                  </a:cubicBezTo>
                  <a:cubicBezTo>
                    <a:pt x="30" y="293"/>
                    <a:pt x="33" y="298"/>
                    <a:pt x="35" y="298"/>
                  </a:cubicBezTo>
                  <a:cubicBezTo>
                    <a:pt x="35" y="298"/>
                    <a:pt x="35" y="298"/>
                    <a:pt x="35" y="298"/>
                  </a:cubicBezTo>
                  <a:cubicBezTo>
                    <a:pt x="35" y="299"/>
                    <a:pt x="34" y="303"/>
                    <a:pt x="34" y="303"/>
                  </a:cubicBezTo>
                  <a:cubicBezTo>
                    <a:pt x="36" y="304"/>
                    <a:pt x="39" y="304"/>
                    <a:pt x="40" y="305"/>
                  </a:cubicBezTo>
                  <a:cubicBezTo>
                    <a:pt x="40" y="307"/>
                    <a:pt x="41" y="310"/>
                    <a:pt x="42" y="311"/>
                  </a:cubicBezTo>
                  <a:cubicBezTo>
                    <a:pt x="42" y="312"/>
                    <a:pt x="42" y="312"/>
                    <a:pt x="43" y="312"/>
                  </a:cubicBezTo>
                  <a:cubicBezTo>
                    <a:pt x="43" y="312"/>
                    <a:pt x="44" y="312"/>
                    <a:pt x="45" y="312"/>
                  </a:cubicBezTo>
                  <a:cubicBezTo>
                    <a:pt x="45" y="311"/>
                    <a:pt x="46" y="311"/>
                    <a:pt x="46" y="311"/>
                  </a:cubicBezTo>
                  <a:cubicBezTo>
                    <a:pt x="47" y="311"/>
                    <a:pt x="47" y="311"/>
                    <a:pt x="47" y="311"/>
                  </a:cubicBezTo>
                  <a:cubicBezTo>
                    <a:pt x="46" y="315"/>
                    <a:pt x="46" y="316"/>
                    <a:pt x="51" y="317"/>
                  </a:cubicBezTo>
                  <a:cubicBezTo>
                    <a:pt x="50" y="319"/>
                    <a:pt x="49" y="320"/>
                    <a:pt x="49" y="322"/>
                  </a:cubicBezTo>
                  <a:cubicBezTo>
                    <a:pt x="50" y="325"/>
                    <a:pt x="54" y="329"/>
                    <a:pt x="58" y="331"/>
                  </a:cubicBezTo>
                  <a:cubicBezTo>
                    <a:pt x="58" y="330"/>
                    <a:pt x="58" y="330"/>
                    <a:pt x="58" y="330"/>
                  </a:cubicBezTo>
                  <a:cubicBezTo>
                    <a:pt x="58" y="329"/>
                    <a:pt x="58" y="328"/>
                    <a:pt x="59" y="327"/>
                  </a:cubicBezTo>
                  <a:cubicBezTo>
                    <a:pt x="60" y="321"/>
                    <a:pt x="60" y="321"/>
                    <a:pt x="60" y="321"/>
                  </a:cubicBezTo>
                  <a:cubicBezTo>
                    <a:pt x="64" y="325"/>
                    <a:pt x="64" y="325"/>
                    <a:pt x="64" y="325"/>
                  </a:cubicBezTo>
                  <a:cubicBezTo>
                    <a:pt x="67" y="327"/>
                    <a:pt x="67" y="328"/>
                    <a:pt x="69" y="328"/>
                  </a:cubicBezTo>
                  <a:cubicBezTo>
                    <a:pt x="71" y="328"/>
                    <a:pt x="73" y="328"/>
                    <a:pt x="75" y="329"/>
                  </a:cubicBezTo>
                  <a:cubicBezTo>
                    <a:pt x="76" y="330"/>
                    <a:pt x="76" y="330"/>
                    <a:pt x="76" y="330"/>
                  </a:cubicBezTo>
                  <a:cubicBezTo>
                    <a:pt x="76" y="330"/>
                    <a:pt x="77" y="330"/>
                    <a:pt x="77" y="331"/>
                  </a:cubicBezTo>
                  <a:cubicBezTo>
                    <a:pt x="78" y="331"/>
                    <a:pt x="78" y="331"/>
                    <a:pt x="78" y="331"/>
                  </a:cubicBezTo>
                  <a:cubicBezTo>
                    <a:pt x="79" y="332"/>
                    <a:pt x="79" y="334"/>
                    <a:pt x="80" y="335"/>
                  </a:cubicBezTo>
                  <a:cubicBezTo>
                    <a:pt x="80" y="335"/>
                    <a:pt x="80" y="335"/>
                    <a:pt x="80" y="335"/>
                  </a:cubicBezTo>
                  <a:cubicBezTo>
                    <a:pt x="80" y="335"/>
                    <a:pt x="81" y="335"/>
                    <a:pt x="82" y="335"/>
                  </a:cubicBezTo>
                  <a:cubicBezTo>
                    <a:pt x="83" y="335"/>
                    <a:pt x="84" y="335"/>
                    <a:pt x="85" y="336"/>
                  </a:cubicBezTo>
                  <a:cubicBezTo>
                    <a:pt x="87" y="338"/>
                    <a:pt x="87" y="340"/>
                    <a:pt x="86" y="342"/>
                  </a:cubicBezTo>
                  <a:cubicBezTo>
                    <a:pt x="86" y="343"/>
                    <a:pt x="85" y="344"/>
                    <a:pt x="85" y="346"/>
                  </a:cubicBezTo>
                  <a:cubicBezTo>
                    <a:pt x="84" y="347"/>
                    <a:pt x="84" y="348"/>
                    <a:pt x="84" y="348"/>
                  </a:cubicBezTo>
                  <a:cubicBezTo>
                    <a:pt x="84" y="349"/>
                    <a:pt x="84" y="349"/>
                    <a:pt x="84" y="349"/>
                  </a:cubicBezTo>
                  <a:cubicBezTo>
                    <a:pt x="85" y="348"/>
                    <a:pt x="85" y="348"/>
                    <a:pt x="85" y="348"/>
                  </a:cubicBezTo>
                  <a:cubicBezTo>
                    <a:pt x="87" y="346"/>
                    <a:pt x="87" y="346"/>
                    <a:pt x="87" y="346"/>
                  </a:cubicBezTo>
                  <a:cubicBezTo>
                    <a:pt x="88" y="345"/>
                    <a:pt x="90" y="344"/>
                    <a:pt x="92" y="344"/>
                  </a:cubicBezTo>
                  <a:cubicBezTo>
                    <a:pt x="94" y="344"/>
                    <a:pt x="96" y="345"/>
                    <a:pt x="97" y="346"/>
                  </a:cubicBezTo>
                  <a:cubicBezTo>
                    <a:pt x="97" y="346"/>
                    <a:pt x="97" y="346"/>
                    <a:pt x="97" y="346"/>
                  </a:cubicBezTo>
                  <a:cubicBezTo>
                    <a:pt x="100" y="346"/>
                    <a:pt x="101" y="344"/>
                    <a:pt x="102" y="342"/>
                  </a:cubicBezTo>
                  <a:cubicBezTo>
                    <a:pt x="102" y="341"/>
                    <a:pt x="103" y="338"/>
                    <a:pt x="104" y="337"/>
                  </a:cubicBezTo>
                  <a:cubicBezTo>
                    <a:pt x="104" y="336"/>
                    <a:pt x="104" y="336"/>
                    <a:pt x="104" y="336"/>
                  </a:cubicBezTo>
                  <a:cubicBezTo>
                    <a:pt x="103" y="335"/>
                    <a:pt x="103" y="335"/>
                    <a:pt x="102" y="334"/>
                  </a:cubicBezTo>
                  <a:cubicBezTo>
                    <a:pt x="100" y="332"/>
                    <a:pt x="98" y="331"/>
                    <a:pt x="96" y="329"/>
                  </a:cubicBezTo>
                  <a:cubicBezTo>
                    <a:pt x="94" y="325"/>
                    <a:pt x="92" y="322"/>
                    <a:pt x="87" y="321"/>
                  </a:cubicBezTo>
                  <a:cubicBezTo>
                    <a:pt x="88" y="322"/>
                    <a:pt x="88" y="322"/>
                    <a:pt x="89" y="323"/>
                  </a:cubicBezTo>
                  <a:cubicBezTo>
                    <a:pt x="89" y="323"/>
                    <a:pt x="88" y="323"/>
                    <a:pt x="88" y="323"/>
                  </a:cubicBezTo>
                  <a:cubicBezTo>
                    <a:pt x="87" y="323"/>
                    <a:pt x="86" y="323"/>
                    <a:pt x="85" y="323"/>
                  </a:cubicBezTo>
                  <a:cubicBezTo>
                    <a:pt x="85" y="323"/>
                    <a:pt x="84" y="324"/>
                    <a:pt x="83" y="324"/>
                  </a:cubicBezTo>
                  <a:cubicBezTo>
                    <a:pt x="83" y="324"/>
                    <a:pt x="82" y="323"/>
                    <a:pt x="82" y="323"/>
                  </a:cubicBezTo>
                  <a:cubicBezTo>
                    <a:pt x="80" y="323"/>
                    <a:pt x="73" y="315"/>
                    <a:pt x="71" y="315"/>
                  </a:cubicBezTo>
                  <a:cubicBezTo>
                    <a:pt x="71" y="315"/>
                    <a:pt x="71" y="315"/>
                    <a:pt x="71" y="315"/>
                  </a:cubicBezTo>
                  <a:cubicBezTo>
                    <a:pt x="70" y="316"/>
                    <a:pt x="69" y="316"/>
                    <a:pt x="68" y="316"/>
                  </a:cubicBezTo>
                  <a:cubicBezTo>
                    <a:pt x="68" y="316"/>
                    <a:pt x="67" y="316"/>
                    <a:pt x="67" y="316"/>
                  </a:cubicBezTo>
                  <a:cubicBezTo>
                    <a:pt x="66" y="315"/>
                    <a:pt x="66" y="313"/>
                    <a:pt x="66" y="313"/>
                  </a:cubicBezTo>
                  <a:cubicBezTo>
                    <a:pt x="64" y="311"/>
                    <a:pt x="63" y="310"/>
                    <a:pt x="62" y="309"/>
                  </a:cubicBezTo>
                  <a:cubicBezTo>
                    <a:pt x="60" y="306"/>
                    <a:pt x="61" y="305"/>
                    <a:pt x="62" y="302"/>
                  </a:cubicBezTo>
                  <a:cubicBezTo>
                    <a:pt x="65" y="306"/>
                    <a:pt x="67" y="311"/>
                    <a:pt x="70" y="315"/>
                  </a:cubicBezTo>
                  <a:cubicBezTo>
                    <a:pt x="70" y="314"/>
                    <a:pt x="70" y="314"/>
                    <a:pt x="69" y="313"/>
                  </a:cubicBezTo>
                  <a:cubicBezTo>
                    <a:pt x="66" y="308"/>
                    <a:pt x="67" y="303"/>
                    <a:pt x="65" y="298"/>
                  </a:cubicBezTo>
                  <a:cubicBezTo>
                    <a:pt x="63" y="291"/>
                    <a:pt x="59" y="284"/>
                    <a:pt x="56" y="277"/>
                  </a:cubicBezTo>
                  <a:cubicBezTo>
                    <a:pt x="55" y="273"/>
                    <a:pt x="53" y="270"/>
                    <a:pt x="52" y="266"/>
                  </a:cubicBezTo>
                  <a:cubicBezTo>
                    <a:pt x="52" y="265"/>
                    <a:pt x="51" y="265"/>
                    <a:pt x="50" y="265"/>
                  </a:cubicBezTo>
                  <a:cubicBezTo>
                    <a:pt x="48" y="265"/>
                    <a:pt x="46" y="266"/>
                    <a:pt x="45" y="266"/>
                  </a:cubicBezTo>
                  <a:cubicBezTo>
                    <a:pt x="44" y="267"/>
                    <a:pt x="42" y="267"/>
                    <a:pt x="41" y="267"/>
                  </a:cubicBezTo>
                  <a:cubicBezTo>
                    <a:pt x="39" y="267"/>
                    <a:pt x="38" y="267"/>
                    <a:pt x="39" y="265"/>
                  </a:cubicBezTo>
                  <a:cubicBezTo>
                    <a:pt x="39" y="264"/>
                    <a:pt x="40" y="264"/>
                    <a:pt x="41" y="263"/>
                  </a:cubicBezTo>
                  <a:cubicBezTo>
                    <a:pt x="40" y="262"/>
                    <a:pt x="39" y="261"/>
                    <a:pt x="39" y="259"/>
                  </a:cubicBezTo>
                  <a:cubicBezTo>
                    <a:pt x="38" y="257"/>
                    <a:pt x="37" y="255"/>
                    <a:pt x="37" y="253"/>
                  </a:cubicBezTo>
                  <a:cubicBezTo>
                    <a:pt x="38" y="248"/>
                    <a:pt x="39" y="245"/>
                    <a:pt x="37" y="240"/>
                  </a:cubicBezTo>
                  <a:cubicBezTo>
                    <a:pt x="38" y="240"/>
                    <a:pt x="40" y="236"/>
                    <a:pt x="40" y="234"/>
                  </a:cubicBezTo>
                  <a:cubicBezTo>
                    <a:pt x="43" y="230"/>
                    <a:pt x="45" y="226"/>
                    <a:pt x="47" y="222"/>
                  </a:cubicBezTo>
                  <a:cubicBezTo>
                    <a:pt x="50" y="214"/>
                    <a:pt x="53" y="207"/>
                    <a:pt x="56" y="199"/>
                  </a:cubicBezTo>
                  <a:cubicBezTo>
                    <a:pt x="57" y="197"/>
                    <a:pt x="57" y="197"/>
                    <a:pt x="57" y="195"/>
                  </a:cubicBezTo>
                  <a:cubicBezTo>
                    <a:pt x="57" y="192"/>
                    <a:pt x="56" y="189"/>
                    <a:pt x="56" y="186"/>
                  </a:cubicBezTo>
                  <a:cubicBezTo>
                    <a:pt x="56" y="183"/>
                    <a:pt x="59" y="179"/>
                    <a:pt x="59" y="176"/>
                  </a:cubicBezTo>
                  <a:cubicBezTo>
                    <a:pt x="59" y="173"/>
                    <a:pt x="55" y="171"/>
                    <a:pt x="57" y="170"/>
                  </a:cubicBezTo>
                  <a:cubicBezTo>
                    <a:pt x="59" y="167"/>
                    <a:pt x="61" y="167"/>
                    <a:pt x="65" y="166"/>
                  </a:cubicBezTo>
                  <a:cubicBezTo>
                    <a:pt x="66" y="166"/>
                    <a:pt x="67" y="166"/>
                    <a:pt x="67" y="165"/>
                  </a:cubicBezTo>
                  <a:cubicBezTo>
                    <a:pt x="65" y="164"/>
                    <a:pt x="63" y="162"/>
                    <a:pt x="63" y="160"/>
                  </a:cubicBezTo>
                  <a:cubicBezTo>
                    <a:pt x="63" y="156"/>
                    <a:pt x="66" y="153"/>
                    <a:pt x="70" y="153"/>
                  </a:cubicBezTo>
                  <a:cubicBezTo>
                    <a:pt x="73" y="153"/>
                    <a:pt x="76" y="156"/>
                    <a:pt x="76" y="160"/>
                  </a:cubicBezTo>
                  <a:cubicBezTo>
                    <a:pt x="76" y="162"/>
                    <a:pt x="75" y="164"/>
                    <a:pt x="73" y="165"/>
                  </a:cubicBezTo>
                  <a:cubicBezTo>
                    <a:pt x="75" y="166"/>
                    <a:pt x="78" y="166"/>
                    <a:pt x="80" y="166"/>
                  </a:cubicBezTo>
                  <a:cubicBezTo>
                    <a:pt x="79" y="172"/>
                    <a:pt x="78" y="178"/>
                    <a:pt x="77" y="183"/>
                  </a:cubicBezTo>
                  <a:cubicBezTo>
                    <a:pt x="77" y="186"/>
                    <a:pt x="78" y="186"/>
                    <a:pt x="79" y="186"/>
                  </a:cubicBezTo>
                  <a:cubicBezTo>
                    <a:pt x="80" y="186"/>
                    <a:pt x="81" y="186"/>
                    <a:pt x="81" y="186"/>
                  </a:cubicBezTo>
                  <a:cubicBezTo>
                    <a:pt x="85" y="186"/>
                    <a:pt x="90" y="185"/>
                    <a:pt x="94" y="185"/>
                  </a:cubicBezTo>
                  <a:cubicBezTo>
                    <a:pt x="95" y="185"/>
                    <a:pt x="96" y="185"/>
                    <a:pt x="97" y="185"/>
                  </a:cubicBezTo>
                  <a:cubicBezTo>
                    <a:pt x="98" y="185"/>
                    <a:pt x="99" y="185"/>
                    <a:pt x="100" y="186"/>
                  </a:cubicBezTo>
                  <a:cubicBezTo>
                    <a:pt x="102" y="187"/>
                    <a:pt x="107" y="194"/>
                    <a:pt x="110" y="194"/>
                  </a:cubicBezTo>
                  <a:cubicBezTo>
                    <a:pt x="111" y="194"/>
                    <a:pt x="112" y="193"/>
                    <a:pt x="112" y="193"/>
                  </a:cubicBezTo>
                  <a:cubicBezTo>
                    <a:pt x="110" y="198"/>
                    <a:pt x="111" y="196"/>
                    <a:pt x="114" y="197"/>
                  </a:cubicBezTo>
                  <a:cubicBezTo>
                    <a:pt x="115" y="198"/>
                    <a:pt x="116" y="200"/>
                    <a:pt x="117" y="200"/>
                  </a:cubicBezTo>
                  <a:cubicBezTo>
                    <a:pt x="118" y="200"/>
                    <a:pt x="118" y="200"/>
                    <a:pt x="119" y="200"/>
                  </a:cubicBezTo>
                  <a:cubicBezTo>
                    <a:pt x="119" y="200"/>
                    <a:pt x="120" y="200"/>
                    <a:pt x="120" y="200"/>
                  </a:cubicBezTo>
                  <a:cubicBezTo>
                    <a:pt x="120" y="198"/>
                    <a:pt x="120" y="196"/>
                    <a:pt x="120" y="194"/>
                  </a:cubicBezTo>
                  <a:cubicBezTo>
                    <a:pt x="120" y="194"/>
                    <a:pt x="120" y="193"/>
                    <a:pt x="119" y="193"/>
                  </a:cubicBezTo>
                  <a:cubicBezTo>
                    <a:pt x="119" y="193"/>
                    <a:pt x="119" y="193"/>
                    <a:pt x="119" y="193"/>
                  </a:cubicBezTo>
                  <a:cubicBezTo>
                    <a:pt x="119" y="192"/>
                    <a:pt x="119" y="192"/>
                    <a:pt x="119" y="192"/>
                  </a:cubicBezTo>
                  <a:cubicBezTo>
                    <a:pt x="119" y="191"/>
                    <a:pt x="118" y="191"/>
                    <a:pt x="118" y="190"/>
                  </a:cubicBezTo>
                  <a:cubicBezTo>
                    <a:pt x="115" y="188"/>
                    <a:pt x="115" y="188"/>
                    <a:pt x="115" y="188"/>
                  </a:cubicBezTo>
                  <a:cubicBezTo>
                    <a:pt x="115" y="188"/>
                    <a:pt x="114" y="188"/>
                    <a:pt x="114" y="187"/>
                  </a:cubicBezTo>
                  <a:cubicBezTo>
                    <a:pt x="113" y="185"/>
                    <a:pt x="113" y="183"/>
                    <a:pt x="113" y="181"/>
                  </a:cubicBezTo>
                  <a:cubicBezTo>
                    <a:pt x="113" y="180"/>
                    <a:pt x="113" y="180"/>
                    <a:pt x="113" y="180"/>
                  </a:cubicBezTo>
                  <a:cubicBezTo>
                    <a:pt x="113" y="179"/>
                    <a:pt x="113" y="178"/>
                    <a:pt x="112" y="177"/>
                  </a:cubicBezTo>
                  <a:cubicBezTo>
                    <a:pt x="112" y="176"/>
                    <a:pt x="112" y="176"/>
                    <a:pt x="112" y="176"/>
                  </a:cubicBezTo>
                  <a:cubicBezTo>
                    <a:pt x="110" y="172"/>
                    <a:pt x="107" y="167"/>
                    <a:pt x="111" y="163"/>
                  </a:cubicBezTo>
                  <a:cubicBezTo>
                    <a:pt x="112" y="162"/>
                    <a:pt x="112" y="162"/>
                    <a:pt x="112" y="162"/>
                  </a:cubicBezTo>
                  <a:cubicBezTo>
                    <a:pt x="113" y="162"/>
                    <a:pt x="113" y="161"/>
                    <a:pt x="114" y="161"/>
                  </a:cubicBezTo>
                  <a:cubicBezTo>
                    <a:pt x="117" y="158"/>
                    <a:pt x="119" y="155"/>
                    <a:pt x="121" y="153"/>
                  </a:cubicBezTo>
                  <a:cubicBezTo>
                    <a:pt x="121" y="151"/>
                    <a:pt x="122" y="149"/>
                    <a:pt x="124" y="147"/>
                  </a:cubicBezTo>
                  <a:cubicBezTo>
                    <a:pt x="124" y="147"/>
                    <a:pt x="125" y="146"/>
                    <a:pt x="125" y="146"/>
                  </a:cubicBezTo>
                  <a:cubicBezTo>
                    <a:pt x="128" y="144"/>
                    <a:pt x="132" y="142"/>
                    <a:pt x="136" y="142"/>
                  </a:cubicBezTo>
                  <a:cubicBezTo>
                    <a:pt x="137" y="141"/>
                    <a:pt x="138" y="141"/>
                    <a:pt x="139" y="141"/>
                  </a:cubicBezTo>
                  <a:cubicBezTo>
                    <a:pt x="140" y="141"/>
                    <a:pt x="141" y="141"/>
                    <a:pt x="142" y="141"/>
                  </a:cubicBezTo>
                  <a:cubicBezTo>
                    <a:pt x="144" y="141"/>
                    <a:pt x="147" y="141"/>
                    <a:pt x="150" y="142"/>
                  </a:cubicBezTo>
                  <a:cubicBezTo>
                    <a:pt x="150" y="142"/>
                    <a:pt x="150" y="142"/>
                    <a:pt x="150" y="142"/>
                  </a:cubicBezTo>
                  <a:cubicBezTo>
                    <a:pt x="152" y="142"/>
                    <a:pt x="154" y="142"/>
                    <a:pt x="156" y="142"/>
                  </a:cubicBezTo>
                  <a:cubicBezTo>
                    <a:pt x="156" y="142"/>
                    <a:pt x="157" y="142"/>
                    <a:pt x="157" y="142"/>
                  </a:cubicBezTo>
                  <a:cubicBezTo>
                    <a:pt x="159" y="142"/>
                    <a:pt x="161" y="142"/>
                    <a:pt x="164" y="142"/>
                  </a:cubicBezTo>
                  <a:cubicBezTo>
                    <a:pt x="165" y="141"/>
                    <a:pt x="165" y="141"/>
                    <a:pt x="165" y="141"/>
                  </a:cubicBezTo>
                  <a:cubicBezTo>
                    <a:pt x="167" y="141"/>
                    <a:pt x="169" y="141"/>
                    <a:pt x="171" y="141"/>
                  </a:cubicBezTo>
                  <a:cubicBezTo>
                    <a:pt x="171" y="141"/>
                    <a:pt x="171" y="141"/>
                    <a:pt x="171" y="141"/>
                  </a:cubicBezTo>
                  <a:cubicBezTo>
                    <a:pt x="172" y="141"/>
                    <a:pt x="172" y="141"/>
                    <a:pt x="172" y="141"/>
                  </a:cubicBezTo>
                  <a:cubicBezTo>
                    <a:pt x="173" y="141"/>
                    <a:pt x="175" y="141"/>
                    <a:pt x="176" y="142"/>
                  </a:cubicBezTo>
                  <a:cubicBezTo>
                    <a:pt x="177" y="142"/>
                    <a:pt x="177" y="143"/>
                    <a:pt x="177" y="143"/>
                  </a:cubicBezTo>
                  <a:cubicBezTo>
                    <a:pt x="180" y="142"/>
                    <a:pt x="180" y="142"/>
                    <a:pt x="180" y="142"/>
                  </a:cubicBezTo>
                  <a:cubicBezTo>
                    <a:pt x="180" y="142"/>
                    <a:pt x="180" y="142"/>
                    <a:pt x="180" y="142"/>
                  </a:cubicBezTo>
                  <a:cubicBezTo>
                    <a:pt x="182" y="141"/>
                    <a:pt x="183" y="141"/>
                    <a:pt x="183" y="140"/>
                  </a:cubicBezTo>
                  <a:cubicBezTo>
                    <a:pt x="184" y="140"/>
                    <a:pt x="184" y="140"/>
                    <a:pt x="184" y="140"/>
                  </a:cubicBezTo>
                  <a:cubicBezTo>
                    <a:pt x="185" y="138"/>
                    <a:pt x="184" y="135"/>
                    <a:pt x="184" y="132"/>
                  </a:cubicBezTo>
                  <a:cubicBezTo>
                    <a:pt x="183" y="129"/>
                    <a:pt x="182" y="127"/>
                    <a:pt x="183" y="124"/>
                  </a:cubicBezTo>
                  <a:cubicBezTo>
                    <a:pt x="183" y="122"/>
                    <a:pt x="183" y="121"/>
                    <a:pt x="183" y="120"/>
                  </a:cubicBezTo>
                  <a:cubicBezTo>
                    <a:pt x="184" y="118"/>
                    <a:pt x="185" y="118"/>
                    <a:pt x="186" y="117"/>
                  </a:cubicBezTo>
                  <a:cubicBezTo>
                    <a:pt x="186" y="117"/>
                    <a:pt x="186" y="117"/>
                    <a:pt x="186" y="116"/>
                  </a:cubicBezTo>
                  <a:cubicBezTo>
                    <a:pt x="186" y="116"/>
                    <a:pt x="186" y="115"/>
                    <a:pt x="186" y="115"/>
                  </a:cubicBezTo>
                  <a:cubicBezTo>
                    <a:pt x="186" y="115"/>
                    <a:pt x="186" y="115"/>
                    <a:pt x="186" y="115"/>
                  </a:cubicBezTo>
                  <a:cubicBezTo>
                    <a:pt x="186" y="115"/>
                    <a:pt x="186" y="115"/>
                    <a:pt x="186" y="115"/>
                  </a:cubicBezTo>
                  <a:cubicBezTo>
                    <a:pt x="185" y="114"/>
                    <a:pt x="183" y="114"/>
                    <a:pt x="182" y="113"/>
                  </a:cubicBezTo>
                  <a:cubicBezTo>
                    <a:pt x="181" y="111"/>
                    <a:pt x="180" y="110"/>
                    <a:pt x="180" y="108"/>
                  </a:cubicBezTo>
                  <a:cubicBezTo>
                    <a:pt x="180" y="107"/>
                    <a:pt x="180" y="107"/>
                    <a:pt x="180" y="107"/>
                  </a:cubicBezTo>
                  <a:cubicBezTo>
                    <a:pt x="178" y="107"/>
                    <a:pt x="176" y="107"/>
                    <a:pt x="175" y="105"/>
                  </a:cubicBezTo>
                  <a:cubicBezTo>
                    <a:pt x="174" y="104"/>
                    <a:pt x="173" y="103"/>
                    <a:pt x="173" y="102"/>
                  </a:cubicBezTo>
                  <a:cubicBezTo>
                    <a:pt x="172" y="101"/>
                    <a:pt x="171" y="100"/>
                    <a:pt x="171" y="100"/>
                  </a:cubicBezTo>
                  <a:cubicBezTo>
                    <a:pt x="170" y="99"/>
                    <a:pt x="170" y="99"/>
                    <a:pt x="170" y="99"/>
                  </a:cubicBezTo>
                  <a:cubicBezTo>
                    <a:pt x="170" y="98"/>
                    <a:pt x="169" y="98"/>
                    <a:pt x="168" y="97"/>
                  </a:cubicBezTo>
                  <a:cubicBezTo>
                    <a:pt x="167" y="95"/>
                    <a:pt x="167" y="95"/>
                    <a:pt x="167" y="95"/>
                  </a:cubicBezTo>
                  <a:cubicBezTo>
                    <a:pt x="167" y="95"/>
                    <a:pt x="167" y="95"/>
                    <a:pt x="167" y="95"/>
                  </a:cubicBezTo>
                  <a:cubicBezTo>
                    <a:pt x="167" y="94"/>
                    <a:pt x="166" y="93"/>
                    <a:pt x="166" y="92"/>
                  </a:cubicBezTo>
                  <a:cubicBezTo>
                    <a:pt x="166" y="91"/>
                    <a:pt x="166" y="91"/>
                    <a:pt x="166" y="90"/>
                  </a:cubicBezTo>
                  <a:cubicBezTo>
                    <a:pt x="166" y="90"/>
                    <a:pt x="166" y="90"/>
                    <a:pt x="166" y="90"/>
                  </a:cubicBezTo>
                  <a:cubicBezTo>
                    <a:pt x="165" y="87"/>
                    <a:pt x="165" y="83"/>
                    <a:pt x="166" y="80"/>
                  </a:cubicBezTo>
                  <a:cubicBezTo>
                    <a:pt x="166" y="79"/>
                    <a:pt x="166" y="79"/>
                    <a:pt x="166" y="79"/>
                  </a:cubicBezTo>
                  <a:cubicBezTo>
                    <a:pt x="167" y="79"/>
                    <a:pt x="167" y="78"/>
                    <a:pt x="167" y="77"/>
                  </a:cubicBezTo>
                  <a:cubicBezTo>
                    <a:pt x="167" y="77"/>
                    <a:pt x="167" y="77"/>
                    <a:pt x="167" y="77"/>
                  </a:cubicBezTo>
                  <a:cubicBezTo>
                    <a:pt x="167" y="76"/>
                    <a:pt x="167" y="76"/>
                    <a:pt x="167" y="76"/>
                  </a:cubicBezTo>
                  <a:cubicBezTo>
                    <a:pt x="167" y="75"/>
                    <a:pt x="167" y="75"/>
                    <a:pt x="167" y="75"/>
                  </a:cubicBezTo>
                  <a:cubicBezTo>
                    <a:pt x="167" y="75"/>
                    <a:pt x="167" y="75"/>
                    <a:pt x="167" y="75"/>
                  </a:cubicBezTo>
                  <a:cubicBezTo>
                    <a:pt x="167" y="74"/>
                    <a:pt x="167" y="74"/>
                    <a:pt x="167" y="73"/>
                  </a:cubicBezTo>
                  <a:cubicBezTo>
                    <a:pt x="166" y="72"/>
                    <a:pt x="165" y="72"/>
                    <a:pt x="164" y="71"/>
                  </a:cubicBezTo>
                  <a:cubicBezTo>
                    <a:pt x="163" y="70"/>
                    <a:pt x="163" y="70"/>
                    <a:pt x="163" y="70"/>
                  </a:cubicBezTo>
                  <a:cubicBezTo>
                    <a:pt x="159" y="67"/>
                    <a:pt x="156" y="63"/>
                    <a:pt x="154" y="59"/>
                  </a:cubicBezTo>
                  <a:cubicBezTo>
                    <a:pt x="153" y="58"/>
                    <a:pt x="153" y="58"/>
                    <a:pt x="153" y="57"/>
                  </a:cubicBezTo>
                  <a:cubicBezTo>
                    <a:pt x="152" y="56"/>
                    <a:pt x="152" y="56"/>
                    <a:pt x="152" y="56"/>
                  </a:cubicBezTo>
                  <a:cubicBezTo>
                    <a:pt x="151" y="55"/>
                    <a:pt x="151" y="55"/>
                    <a:pt x="150" y="54"/>
                  </a:cubicBezTo>
                  <a:cubicBezTo>
                    <a:pt x="149" y="52"/>
                    <a:pt x="148" y="52"/>
                    <a:pt x="145" y="51"/>
                  </a:cubicBezTo>
                  <a:cubicBezTo>
                    <a:pt x="144" y="51"/>
                    <a:pt x="143" y="51"/>
                    <a:pt x="141" y="50"/>
                  </a:cubicBezTo>
                  <a:cubicBezTo>
                    <a:pt x="140" y="50"/>
                    <a:pt x="140" y="50"/>
                    <a:pt x="140" y="50"/>
                  </a:cubicBezTo>
                  <a:cubicBezTo>
                    <a:pt x="140" y="50"/>
                    <a:pt x="140" y="50"/>
                    <a:pt x="140" y="50"/>
                  </a:cubicBezTo>
                  <a:cubicBezTo>
                    <a:pt x="139" y="50"/>
                    <a:pt x="139" y="50"/>
                    <a:pt x="139" y="50"/>
                  </a:cubicBezTo>
                  <a:cubicBezTo>
                    <a:pt x="138" y="50"/>
                    <a:pt x="138" y="50"/>
                    <a:pt x="138" y="50"/>
                  </a:cubicBezTo>
                  <a:cubicBezTo>
                    <a:pt x="138" y="50"/>
                    <a:pt x="138" y="50"/>
                    <a:pt x="138" y="50"/>
                  </a:cubicBezTo>
                  <a:cubicBezTo>
                    <a:pt x="137" y="51"/>
                    <a:pt x="137" y="51"/>
                    <a:pt x="137" y="51"/>
                  </a:cubicBezTo>
                  <a:cubicBezTo>
                    <a:pt x="132" y="55"/>
                    <a:pt x="132" y="55"/>
                    <a:pt x="132" y="55"/>
                  </a:cubicBezTo>
                  <a:cubicBezTo>
                    <a:pt x="132" y="56"/>
                    <a:pt x="132" y="56"/>
                    <a:pt x="132" y="57"/>
                  </a:cubicBezTo>
                  <a:cubicBezTo>
                    <a:pt x="132" y="58"/>
                    <a:pt x="131" y="58"/>
                    <a:pt x="131" y="59"/>
                  </a:cubicBezTo>
                  <a:cubicBezTo>
                    <a:pt x="129" y="60"/>
                    <a:pt x="127" y="60"/>
                    <a:pt x="126" y="60"/>
                  </a:cubicBezTo>
                  <a:cubicBezTo>
                    <a:pt x="126" y="60"/>
                    <a:pt x="126" y="60"/>
                    <a:pt x="126" y="60"/>
                  </a:cubicBezTo>
                  <a:cubicBezTo>
                    <a:pt x="125" y="61"/>
                    <a:pt x="125" y="61"/>
                    <a:pt x="125" y="61"/>
                  </a:cubicBezTo>
                  <a:cubicBezTo>
                    <a:pt x="124" y="61"/>
                    <a:pt x="124" y="61"/>
                    <a:pt x="123" y="62"/>
                  </a:cubicBezTo>
                  <a:cubicBezTo>
                    <a:pt x="123" y="62"/>
                    <a:pt x="123" y="62"/>
                    <a:pt x="123" y="62"/>
                  </a:cubicBezTo>
                  <a:cubicBezTo>
                    <a:pt x="126" y="70"/>
                    <a:pt x="126" y="70"/>
                    <a:pt x="126" y="70"/>
                  </a:cubicBezTo>
                  <a:cubicBezTo>
                    <a:pt x="118" y="64"/>
                    <a:pt x="118" y="64"/>
                    <a:pt x="118" y="64"/>
                  </a:cubicBezTo>
                  <a:cubicBezTo>
                    <a:pt x="115" y="62"/>
                    <a:pt x="112" y="59"/>
                    <a:pt x="108" y="57"/>
                  </a:cubicBezTo>
                  <a:cubicBezTo>
                    <a:pt x="107" y="56"/>
                    <a:pt x="107" y="56"/>
                    <a:pt x="107" y="56"/>
                  </a:cubicBezTo>
                  <a:cubicBezTo>
                    <a:pt x="106" y="56"/>
                    <a:pt x="106" y="56"/>
                    <a:pt x="106" y="56"/>
                  </a:cubicBezTo>
                  <a:cubicBezTo>
                    <a:pt x="105" y="57"/>
                    <a:pt x="103" y="58"/>
                    <a:pt x="101" y="59"/>
                  </a:cubicBezTo>
                  <a:cubicBezTo>
                    <a:pt x="100" y="60"/>
                    <a:pt x="100" y="60"/>
                    <a:pt x="100" y="60"/>
                  </a:cubicBezTo>
                  <a:cubicBezTo>
                    <a:pt x="99" y="61"/>
                    <a:pt x="98" y="62"/>
                    <a:pt x="97" y="62"/>
                  </a:cubicBezTo>
                  <a:cubicBezTo>
                    <a:pt x="94" y="65"/>
                    <a:pt x="91" y="67"/>
                    <a:pt x="88" y="70"/>
                  </a:cubicBezTo>
                  <a:cubicBezTo>
                    <a:pt x="87" y="71"/>
                    <a:pt x="86" y="72"/>
                    <a:pt x="85" y="73"/>
                  </a:cubicBezTo>
                  <a:cubicBezTo>
                    <a:pt x="84" y="73"/>
                    <a:pt x="84" y="73"/>
                    <a:pt x="84" y="73"/>
                  </a:cubicBezTo>
                  <a:cubicBezTo>
                    <a:pt x="84" y="73"/>
                    <a:pt x="83" y="73"/>
                    <a:pt x="83" y="73"/>
                  </a:cubicBezTo>
                  <a:cubicBezTo>
                    <a:pt x="83" y="71"/>
                    <a:pt x="83" y="71"/>
                    <a:pt x="83" y="71"/>
                  </a:cubicBezTo>
                  <a:cubicBezTo>
                    <a:pt x="83" y="73"/>
                    <a:pt x="83" y="73"/>
                    <a:pt x="83" y="73"/>
                  </a:cubicBezTo>
                  <a:cubicBezTo>
                    <a:pt x="82" y="72"/>
                    <a:pt x="81" y="72"/>
                    <a:pt x="81" y="72"/>
                  </a:cubicBezTo>
                  <a:cubicBezTo>
                    <a:pt x="80" y="71"/>
                    <a:pt x="80" y="71"/>
                    <a:pt x="79" y="71"/>
                  </a:cubicBezTo>
                  <a:cubicBezTo>
                    <a:pt x="79" y="71"/>
                    <a:pt x="79" y="71"/>
                    <a:pt x="79" y="71"/>
                  </a:cubicBezTo>
                  <a:cubicBezTo>
                    <a:pt x="78" y="70"/>
                    <a:pt x="78" y="70"/>
                    <a:pt x="78" y="70"/>
                  </a:cubicBezTo>
                  <a:cubicBezTo>
                    <a:pt x="77" y="70"/>
                    <a:pt x="77" y="70"/>
                    <a:pt x="77" y="70"/>
                  </a:cubicBezTo>
                  <a:cubicBezTo>
                    <a:pt x="76" y="69"/>
                    <a:pt x="76" y="69"/>
                    <a:pt x="76" y="69"/>
                  </a:cubicBezTo>
                  <a:cubicBezTo>
                    <a:pt x="76" y="67"/>
                    <a:pt x="76" y="67"/>
                    <a:pt x="76" y="67"/>
                  </a:cubicBezTo>
                  <a:cubicBezTo>
                    <a:pt x="76" y="64"/>
                    <a:pt x="77" y="62"/>
                    <a:pt x="79" y="59"/>
                  </a:cubicBezTo>
                  <a:cubicBezTo>
                    <a:pt x="79" y="59"/>
                    <a:pt x="79" y="59"/>
                    <a:pt x="79" y="59"/>
                  </a:cubicBezTo>
                  <a:cubicBezTo>
                    <a:pt x="79" y="58"/>
                    <a:pt x="80" y="58"/>
                    <a:pt x="80" y="58"/>
                  </a:cubicBezTo>
                  <a:cubicBezTo>
                    <a:pt x="80" y="58"/>
                    <a:pt x="80" y="58"/>
                    <a:pt x="80" y="58"/>
                  </a:cubicBezTo>
                  <a:cubicBezTo>
                    <a:pt x="81" y="56"/>
                    <a:pt x="81" y="56"/>
                    <a:pt x="81" y="56"/>
                  </a:cubicBezTo>
                  <a:cubicBezTo>
                    <a:pt x="81" y="55"/>
                    <a:pt x="81" y="55"/>
                    <a:pt x="81" y="55"/>
                  </a:cubicBezTo>
                  <a:cubicBezTo>
                    <a:pt x="81" y="55"/>
                    <a:pt x="81" y="54"/>
                    <a:pt x="81" y="53"/>
                  </a:cubicBezTo>
                  <a:cubicBezTo>
                    <a:pt x="80" y="51"/>
                    <a:pt x="79" y="49"/>
                    <a:pt x="80" y="47"/>
                  </a:cubicBezTo>
                  <a:cubicBezTo>
                    <a:pt x="80" y="45"/>
                    <a:pt x="81" y="43"/>
                    <a:pt x="82" y="42"/>
                  </a:cubicBezTo>
                  <a:cubicBezTo>
                    <a:pt x="83" y="41"/>
                    <a:pt x="83" y="41"/>
                    <a:pt x="83" y="41"/>
                  </a:cubicBezTo>
                  <a:cubicBezTo>
                    <a:pt x="83" y="40"/>
                    <a:pt x="83" y="40"/>
                    <a:pt x="83" y="39"/>
                  </a:cubicBezTo>
                  <a:cubicBezTo>
                    <a:pt x="83" y="38"/>
                    <a:pt x="83" y="38"/>
                    <a:pt x="83" y="37"/>
                  </a:cubicBezTo>
                  <a:cubicBezTo>
                    <a:pt x="83" y="36"/>
                    <a:pt x="84" y="35"/>
                    <a:pt x="84" y="34"/>
                  </a:cubicBezTo>
                  <a:cubicBezTo>
                    <a:pt x="85" y="32"/>
                    <a:pt x="85" y="32"/>
                    <a:pt x="85" y="32"/>
                  </a:cubicBezTo>
                  <a:cubicBezTo>
                    <a:pt x="85" y="32"/>
                    <a:pt x="85" y="32"/>
                    <a:pt x="85" y="31"/>
                  </a:cubicBezTo>
                  <a:cubicBezTo>
                    <a:pt x="85" y="30"/>
                    <a:pt x="85" y="30"/>
                    <a:pt x="85" y="30"/>
                  </a:cubicBezTo>
                  <a:cubicBezTo>
                    <a:pt x="85" y="30"/>
                    <a:pt x="85" y="30"/>
                    <a:pt x="85" y="30"/>
                  </a:cubicBezTo>
                  <a:cubicBezTo>
                    <a:pt x="84" y="29"/>
                    <a:pt x="84" y="29"/>
                    <a:pt x="84" y="28"/>
                  </a:cubicBezTo>
                  <a:cubicBezTo>
                    <a:pt x="83" y="27"/>
                    <a:pt x="83" y="27"/>
                    <a:pt x="83" y="27"/>
                  </a:cubicBezTo>
                  <a:cubicBezTo>
                    <a:pt x="83" y="26"/>
                    <a:pt x="82" y="24"/>
                    <a:pt x="82" y="23"/>
                  </a:cubicBezTo>
                  <a:cubicBezTo>
                    <a:pt x="82" y="23"/>
                    <a:pt x="82" y="23"/>
                    <a:pt x="82" y="23"/>
                  </a:cubicBezTo>
                  <a:cubicBezTo>
                    <a:pt x="81" y="23"/>
                    <a:pt x="79" y="23"/>
                    <a:pt x="78" y="23"/>
                  </a:cubicBezTo>
                  <a:cubicBezTo>
                    <a:pt x="76" y="23"/>
                    <a:pt x="75" y="24"/>
                    <a:pt x="73" y="24"/>
                  </a:cubicBezTo>
                  <a:cubicBezTo>
                    <a:pt x="73" y="24"/>
                    <a:pt x="71" y="24"/>
                    <a:pt x="70" y="23"/>
                  </a:cubicBezTo>
                  <a:cubicBezTo>
                    <a:pt x="71" y="22"/>
                    <a:pt x="71" y="22"/>
                    <a:pt x="71" y="22"/>
                  </a:cubicBezTo>
                  <a:cubicBezTo>
                    <a:pt x="70" y="23"/>
                    <a:pt x="70" y="23"/>
                    <a:pt x="70" y="23"/>
                  </a:cubicBezTo>
                  <a:cubicBezTo>
                    <a:pt x="69" y="23"/>
                    <a:pt x="68" y="22"/>
                    <a:pt x="68" y="21"/>
                  </a:cubicBezTo>
                  <a:cubicBezTo>
                    <a:pt x="67" y="21"/>
                    <a:pt x="67" y="20"/>
                    <a:pt x="67" y="20"/>
                  </a:cubicBezTo>
                  <a:cubicBezTo>
                    <a:pt x="67" y="20"/>
                    <a:pt x="67" y="20"/>
                    <a:pt x="67" y="20"/>
                  </a:cubicBezTo>
                  <a:cubicBezTo>
                    <a:pt x="66" y="19"/>
                    <a:pt x="65" y="18"/>
                    <a:pt x="65" y="17"/>
                  </a:cubicBezTo>
                  <a:cubicBezTo>
                    <a:pt x="64" y="17"/>
                    <a:pt x="64" y="17"/>
                    <a:pt x="64" y="17"/>
                  </a:cubicBezTo>
                  <a:cubicBezTo>
                    <a:pt x="63" y="15"/>
                    <a:pt x="64" y="13"/>
                    <a:pt x="64" y="13"/>
                  </a:cubicBezTo>
                  <a:cubicBezTo>
                    <a:pt x="59" y="5"/>
                    <a:pt x="59" y="5"/>
                    <a:pt x="59" y="5"/>
                  </a:cubicBezTo>
                  <a:cubicBezTo>
                    <a:pt x="59" y="5"/>
                    <a:pt x="59" y="5"/>
                    <a:pt x="59" y="5"/>
                  </a:cubicBezTo>
                  <a:cubicBezTo>
                    <a:pt x="58" y="5"/>
                    <a:pt x="58" y="4"/>
                    <a:pt x="58" y="3"/>
                  </a:cubicBezTo>
                  <a:cubicBezTo>
                    <a:pt x="57" y="2"/>
                    <a:pt x="57" y="2"/>
                    <a:pt x="57" y="2"/>
                  </a:cubicBezTo>
                  <a:cubicBezTo>
                    <a:pt x="57" y="1"/>
                    <a:pt x="57" y="1"/>
                    <a:pt x="57" y="1"/>
                  </a:cubicBezTo>
                  <a:cubicBezTo>
                    <a:pt x="56" y="1"/>
                    <a:pt x="56" y="1"/>
                    <a:pt x="56" y="1"/>
                  </a:cubicBezTo>
                  <a:cubicBezTo>
                    <a:pt x="56" y="1"/>
                    <a:pt x="56" y="1"/>
                    <a:pt x="56" y="1"/>
                  </a:cubicBezTo>
                  <a:cubicBezTo>
                    <a:pt x="56" y="0"/>
                    <a:pt x="56" y="0"/>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1551"/>
            <p:cNvSpPr/>
            <p:nvPr/>
          </p:nvSpPr>
          <p:spPr bwMode="auto">
            <a:xfrm>
              <a:off x="2880652" y="3212213"/>
              <a:ext cx="542304" cy="640295"/>
            </a:xfrm>
            <a:custGeom>
              <a:gdLst>
                <a:gd name="T0" fmla="*/ 35 w 171"/>
                <a:gd name="T1" fmla="*/ 6 h 202"/>
                <a:gd name="T2" fmla="*/ 38 w 171"/>
                <a:gd name="T3" fmla="*/ 25 h 202"/>
                <a:gd name="T4" fmla="*/ 29 w 171"/>
                <a:gd name="T5" fmla="*/ 32 h 202"/>
                <a:gd name="T6" fmla="*/ 24 w 171"/>
                <a:gd name="T7" fmla="*/ 32 h 202"/>
                <a:gd name="T8" fmla="*/ 10 w 171"/>
                <a:gd name="T9" fmla="*/ 35 h 202"/>
                <a:gd name="T10" fmla="*/ 3 w 171"/>
                <a:gd name="T11" fmla="*/ 41 h 202"/>
                <a:gd name="T12" fmla="*/ 8 w 171"/>
                <a:gd name="T13" fmla="*/ 50 h 202"/>
                <a:gd name="T14" fmla="*/ 7 w 171"/>
                <a:gd name="T15" fmla="*/ 64 h 202"/>
                <a:gd name="T16" fmla="*/ 19 w 171"/>
                <a:gd name="T17" fmla="*/ 67 h 202"/>
                <a:gd name="T18" fmla="*/ 26 w 171"/>
                <a:gd name="T19" fmla="*/ 73 h 202"/>
                <a:gd name="T20" fmla="*/ 27 w 171"/>
                <a:gd name="T21" fmla="*/ 85 h 202"/>
                <a:gd name="T22" fmla="*/ 24 w 171"/>
                <a:gd name="T23" fmla="*/ 95 h 202"/>
                <a:gd name="T24" fmla="*/ 27 w 171"/>
                <a:gd name="T25" fmla="*/ 111 h 202"/>
                <a:gd name="T26" fmla="*/ 31 w 171"/>
                <a:gd name="T27" fmla="*/ 108 h 202"/>
                <a:gd name="T28" fmla="*/ 46 w 171"/>
                <a:gd name="T29" fmla="*/ 100 h 202"/>
                <a:gd name="T30" fmla="*/ 63 w 171"/>
                <a:gd name="T31" fmla="*/ 105 h 202"/>
                <a:gd name="T32" fmla="*/ 75 w 171"/>
                <a:gd name="T33" fmla="*/ 94 h 202"/>
                <a:gd name="T34" fmla="*/ 93 w 171"/>
                <a:gd name="T35" fmla="*/ 102 h 202"/>
                <a:gd name="T36" fmla="*/ 108 w 171"/>
                <a:gd name="T37" fmla="*/ 119 h 202"/>
                <a:gd name="T38" fmla="*/ 110 w 171"/>
                <a:gd name="T39" fmla="*/ 128 h 202"/>
                <a:gd name="T40" fmla="*/ 109 w 171"/>
                <a:gd name="T41" fmla="*/ 141 h 202"/>
                <a:gd name="T42" fmla="*/ 116 w 171"/>
                <a:gd name="T43" fmla="*/ 151 h 202"/>
                <a:gd name="T44" fmla="*/ 123 w 171"/>
                <a:gd name="T45" fmla="*/ 158 h 202"/>
                <a:gd name="T46" fmla="*/ 129 w 171"/>
                <a:gd name="T47" fmla="*/ 167 h 202"/>
                <a:gd name="T48" fmla="*/ 126 w 171"/>
                <a:gd name="T49" fmla="*/ 193 h 202"/>
                <a:gd name="T50" fmla="*/ 125 w 171"/>
                <a:gd name="T51" fmla="*/ 198 h 202"/>
                <a:gd name="T52" fmla="*/ 134 w 171"/>
                <a:gd name="T53" fmla="*/ 202 h 202"/>
                <a:gd name="T54" fmla="*/ 136 w 171"/>
                <a:gd name="T55" fmla="*/ 202 h 202"/>
                <a:gd name="T56" fmla="*/ 139 w 171"/>
                <a:gd name="T57" fmla="*/ 190 h 202"/>
                <a:gd name="T58" fmla="*/ 149 w 171"/>
                <a:gd name="T59" fmla="*/ 186 h 202"/>
                <a:gd name="T60" fmla="*/ 158 w 171"/>
                <a:gd name="T61" fmla="*/ 192 h 202"/>
                <a:gd name="T62" fmla="*/ 168 w 171"/>
                <a:gd name="T63" fmla="*/ 183 h 202"/>
                <a:gd name="T64" fmla="*/ 168 w 171"/>
                <a:gd name="T65" fmla="*/ 170 h 202"/>
                <a:gd name="T66" fmla="*/ 165 w 171"/>
                <a:gd name="T67" fmla="*/ 155 h 202"/>
                <a:gd name="T68" fmla="*/ 159 w 171"/>
                <a:gd name="T69" fmla="*/ 151 h 202"/>
                <a:gd name="T70" fmla="*/ 154 w 171"/>
                <a:gd name="T71" fmla="*/ 146 h 202"/>
                <a:gd name="T72" fmla="*/ 147 w 171"/>
                <a:gd name="T73" fmla="*/ 145 h 202"/>
                <a:gd name="T74" fmla="*/ 145 w 171"/>
                <a:gd name="T75" fmla="*/ 139 h 202"/>
                <a:gd name="T76" fmla="*/ 142 w 171"/>
                <a:gd name="T77" fmla="*/ 131 h 202"/>
                <a:gd name="T78" fmla="*/ 135 w 171"/>
                <a:gd name="T79" fmla="*/ 123 h 202"/>
                <a:gd name="T80" fmla="*/ 122 w 171"/>
                <a:gd name="T81" fmla="*/ 108 h 202"/>
                <a:gd name="T82" fmla="*/ 112 w 171"/>
                <a:gd name="T83" fmla="*/ 93 h 202"/>
                <a:gd name="T84" fmla="*/ 85 w 171"/>
                <a:gd name="T85" fmla="*/ 71 h 202"/>
                <a:gd name="T86" fmla="*/ 87 w 171"/>
                <a:gd name="T87" fmla="*/ 63 h 202"/>
                <a:gd name="T88" fmla="*/ 95 w 171"/>
                <a:gd name="T89" fmla="*/ 63 h 202"/>
                <a:gd name="T90" fmla="*/ 102 w 171"/>
                <a:gd name="T91" fmla="*/ 63 h 202"/>
                <a:gd name="T92" fmla="*/ 105 w 171"/>
                <a:gd name="T93" fmla="*/ 53 h 202"/>
                <a:gd name="T94" fmla="*/ 96 w 171"/>
                <a:gd name="T95" fmla="*/ 44 h 202"/>
                <a:gd name="T96" fmla="*/ 94 w 171"/>
                <a:gd name="T97" fmla="*/ 45 h 202"/>
                <a:gd name="T98" fmla="*/ 93 w 171"/>
                <a:gd name="T99" fmla="*/ 39 h 202"/>
                <a:gd name="T100" fmla="*/ 86 w 171"/>
                <a:gd name="T101" fmla="*/ 41 h 202"/>
                <a:gd name="T102" fmla="*/ 81 w 171"/>
                <a:gd name="T103" fmla="*/ 45 h 202"/>
                <a:gd name="T104" fmla="*/ 75 w 171"/>
                <a:gd name="T105" fmla="*/ 43 h 202"/>
                <a:gd name="T106" fmla="*/ 61 w 171"/>
                <a:gd name="T107" fmla="*/ 31 h 202"/>
                <a:gd name="T108" fmla="*/ 60 w 171"/>
                <a:gd name="T109" fmla="*/ 26 h 202"/>
                <a:gd name="T110" fmla="*/ 61 w 171"/>
                <a:gd name="T111" fmla="*/ 20 h 202"/>
                <a:gd name="T112" fmla="*/ 54 w 171"/>
                <a:gd name="T113" fmla="*/ 16 h 202"/>
                <a:gd name="T114" fmla="*/ 43 w 171"/>
                <a:gd name="T115" fmla="*/ 2 h 2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 h="201">
                  <a:moveTo>
                    <a:pt x="36" y="0"/>
                  </a:moveTo>
                  <a:cubicBezTo>
                    <a:pt x="35" y="0"/>
                    <a:pt x="35" y="0"/>
                    <a:pt x="35" y="0"/>
                  </a:cubicBezTo>
                  <a:cubicBezTo>
                    <a:pt x="35" y="1"/>
                    <a:pt x="35" y="1"/>
                    <a:pt x="35" y="1"/>
                  </a:cubicBezTo>
                  <a:cubicBezTo>
                    <a:pt x="34" y="2"/>
                    <a:pt x="34" y="3"/>
                    <a:pt x="34" y="3"/>
                  </a:cubicBezTo>
                  <a:cubicBezTo>
                    <a:pt x="34" y="4"/>
                    <a:pt x="34" y="4"/>
                    <a:pt x="34" y="4"/>
                  </a:cubicBezTo>
                  <a:cubicBezTo>
                    <a:pt x="34" y="4"/>
                    <a:pt x="34" y="5"/>
                    <a:pt x="35" y="6"/>
                  </a:cubicBezTo>
                  <a:cubicBezTo>
                    <a:pt x="35" y="7"/>
                    <a:pt x="35" y="7"/>
                    <a:pt x="35" y="7"/>
                  </a:cubicBezTo>
                  <a:cubicBezTo>
                    <a:pt x="36" y="7"/>
                    <a:pt x="36" y="8"/>
                    <a:pt x="37" y="9"/>
                  </a:cubicBezTo>
                  <a:cubicBezTo>
                    <a:pt x="38" y="12"/>
                    <a:pt x="39" y="14"/>
                    <a:pt x="38" y="18"/>
                  </a:cubicBezTo>
                  <a:cubicBezTo>
                    <a:pt x="38" y="19"/>
                    <a:pt x="38" y="19"/>
                    <a:pt x="38" y="19"/>
                  </a:cubicBezTo>
                  <a:cubicBezTo>
                    <a:pt x="38" y="23"/>
                    <a:pt x="38" y="24"/>
                    <a:pt x="38" y="24"/>
                  </a:cubicBezTo>
                  <a:cubicBezTo>
                    <a:pt x="38" y="25"/>
                    <a:pt x="38" y="25"/>
                    <a:pt x="38" y="25"/>
                  </a:cubicBezTo>
                  <a:cubicBezTo>
                    <a:pt x="38" y="25"/>
                    <a:pt x="38" y="25"/>
                    <a:pt x="39" y="25"/>
                  </a:cubicBezTo>
                  <a:cubicBezTo>
                    <a:pt x="43" y="27"/>
                    <a:pt x="43" y="27"/>
                    <a:pt x="43" y="27"/>
                  </a:cubicBezTo>
                  <a:cubicBezTo>
                    <a:pt x="39" y="30"/>
                    <a:pt x="39" y="30"/>
                    <a:pt x="39" y="30"/>
                  </a:cubicBezTo>
                  <a:cubicBezTo>
                    <a:pt x="37" y="32"/>
                    <a:pt x="36" y="33"/>
                    <a:pt x="34" y="33"/>
                  </a:cubicBezTo>
                  <a:cubicBezTo>
                    <a:pt x="33" y="33"/>
                    <a:pt x="32" y="32"/>
                    <a:pt x="31" y="32"/>
                  </a:cubicBezTo>
                  <a:cubicBezTo>
                    <a:pt x="29" y="32"/>
                    <a:pt x="29" y="32"/>
                    <a:pt x="29" y="32"/>
                  </a:cubicBezTo>
                  <a:cubicBezTo>
                    <a:pt x="29" y="31"/>
                    <a:pt x="28" y="31"/>
                    <a:pt x="28" y="31"/>
                  </a:cubicBezTo>
                  <a:cubicBezTo>
                    <a:pt x="28" y="31"/>
                    <a:pt x="28" y="31"/>
                    <a:pt x="28" y="31"/>
                  </a:cubicBezTo>
                  <a:cubicBezTo>
                    <a:pt x="27" y="31"/>
                    <a:pt x="27" y="31"/>
                    <a:pt x="27" y="31"/>
                  </a:cubicBezTo>
                  <a:cubicBezTo>
                    <a:pt x="26" y="32"/>
                    <a:pt x="26" y="32"/>
                    <a:pt x="26" y="32"/>
                  </a:cubicBezTo>
                  <a:cubicBezTo>
                    <a:pt x="25" y="32"/>
                    <a:pt x="25" y="32"/>
                    <a:pt x="25" y="32"/>
                  </a:cubicBezTo>
                  <a:cubicBezTo>
                    <a:pt x="24" y="32"/>
                    <a:pt x="24" y="32"/>
                    <a:pt x="24" y="32"/>
                  </a:cubicBezTo>
                  <a:cubicBezTo>
                    <a:pt x="21" y="31"/>
                    <a:pt x="20" y="28"/>
                    <a:pt x="19" y="24"/>
                  </a:cubicBezTo>
                  <a:cubicBezTo>
                    <a:pt x="18" y="25"/>
                    <a:pt x="18" y="25"/>
                    <a:pt x="18" y="25"/>
                  </a:cubicBezTo>
                  <a:cubicBezTo>
                    <a:pt x="17" y="25"/>
                    <a:pt x="15" y="26"/>
                    <a:pt x="14" y="28"/>
                  </a:cubicBezTo>
                  <a:cubicBezTo>
                    <a:pt x="13" y="28"/>
                    <a:pt x="13" y="29"/>
                    <a:pt x="12" y="30"/>
                  </a:cubicBezTo>
                  <a:cubicBezTo>
                    <a:pt x="10" y="34"/>
                    <a:pt x="10" y="34"/>
                    <a:pt x="10" y="34"/>
                  </a:cubicBezTo>
                  <a:cubicBezTo>
                    <a:pt x="10" y="34"/>
                    <a:pt x="10" y="34"/>
                    <a:pt x="10" y="35"/>
                  </a:cubicBezTo>
                  <a:cubicBezTo>
                    <a:pt x="11" y="35"/>
                    <a:pt x="11" y="35"/>
                    <a:pt x="11" y="35"/>
                  </a:cubicBezTo>
                  <a:cubicBezTo>
                    <a:pt x="11" y="36"/>
                    <a:pt x="11" y="36"/>
                    <a:pt x="11" y="36"/>
                  </a:cubicBezTo>
                  <a:cubicBezTo>
                    <a:pt x="13" y="40"/>
                    <a:pt x="13" y="40"/>
                    <a:pt x="13" y="40"/>
                  </a:cubicBezTo>
                  <a:cubicBezTo>
                    <a:pt x="9" y="40"/>
                    <a:pt x="9" y="40"/>
                    <a:pt x="9" y="40"/>
                  </a:cubicBezTo>
                  <a:cubicBezTo>
                    <a:pt x="8" y="41"/>
                    <a:pt x="7" y="41"/>
                    <a:pt x="6" y="41"/>
                  </a:cubicBezTo>
                  <a:cubicBezTo>
                    <a:pt x="5" y="41"/>
                    <a:pt x="4" y="41"/>
                    <a:pt x="3" y="41"/>
                  </a:cubicBezTo>
                  <a:cubicBezTo>
                    <a:pt x="3" y="42"/>
                    <a:pt x="3" y="42"/>
                    <a:pt x="3" y="42"/>
                  </a:cubicBezTo>
                  <a:cubicBezTo>
                    <a:pt x="1" y="43"/>
                    <a:pt x="1" y="45"/>
                    <a:pt x="0" y="46"/>
                  </a:cubicBezTo>
                  <a:cubicBezTo>
                    <a:pt x="1" y="46"/>
                    <a:pt x="1" y="46"/>
                    <a:pt x="1" y="46"/>
                  </a:cubicBezTo>
                  <a:cubicBezTo>
                    <a:pt x="1" y="46"/>
                    <a:pt x="1" y="46"/>
                    <a:pt x="1" y="46"/>
                  </a:cubicBezTo>
                  <a:cubicBezTo>
                    <a:pt x="3" y="46"/>
                    <a:pt x="5" y="48"/>
                    <a:pt x="6" y="49"/>
                  </a:cubicBezTo>
                  <a:cubicBezTo>
                    <a:pt x="8" y="50"/>
                    <a:pt x="8" y="50"/>
                    <a:pt x="8" y="50"/>
                  </a:cubicBezTo>
                  <a:cubicBezTo>
                    <a:pt x="8" y="51"/>
                    <a:pt x="8" y="51"/>
                    <a:pt x="9" y="51"/>
                  </a:cubicBezTo>
                  <a:cubicBezTo>
                    <a:pt x="10" y="53"/>
                    <a:pt x="10" y="55"/>
                    <a:pt x="10" y="58"/>
                  </a:cubicBezTo>
                  <a:cubicBezTo>
                    <a:pt x="10" y="59"/>
                    <a:pt x="9" y="61"/>
                    <a:pt x="9" y="62"/>
                  </a:cubicBezTo>
                  <a:cubicBezTo>
                    <a:pt x="8" y="63"/>
                    <a:pt x="8" y="63"/>
                    <a:pt x="8" y="63"/>
                  </a:cubicBezTo>
                  <a:cubicBezTo>
                    <a:pt x="8" y="63"/>
                    <a:pt x="8" y="63"/>
                    <a:pt x="8" y="63"/>
                  </a:cubicBezTo>
                  <a:cubicBezTo>
                    <a:pt x="8" y="63"/>
                    <a:pt x="8" y="64"/>
                    <a:pt x="7" y="64"/>
                  </a:cubicBezTo>
                  <a:cubicBezTo>
                    <a:pt x="7" y="64"/>
                    <a:pt x="7" y="64"/>
                    <a:pt x="7" y="64"/>
                  </a:cubicBezTo>
                  <a:cubicBezTo>
                    <a:pt x="7" y="65"/>
                    <a:pt x="7" y="65"/>
                    <a:pt x="7" y="65"/>
                  </a:cubicBezTo>
                  <a:cubicBezTo>
                    <a:pt x="7" y="65"/>
                    <a:pt x="8" y="66"/>
                    <a:pt x="8" y="66"/>
                  </a:cubicBezTo>
                  <a:cubicBezTo>
                    <a:pt x="8" y="67"/>
                    <a:pt x="9" y="67"/>
                    <a:pt x="9" y="68"/>
                  </a:cubicBezTo>
                  <a:cubicBezTo>
                    <a:pt x="10" y="68"/>
                    <a:pt x="10" y="68"/>
                    <a:pt x="10" y="68"/>
                  </a:cubicBezTo>
                  <a:cubicBezTo>
                    <a:pt x="13" y="68"/>
                    <a:pt x="16" y="67"/>
                    <a:pt x="19" y="67"/>
                  </a:cubicBezTo>
                  <a:cubicBezTo>
                    <a:pt x="21" y="66"/>
                    <a:pt x="23" y="66"/>
                    <a:pt x="24" y="66"/>
                  </a:cubicBezTo>
                  <a:cubicBezTo>
                    <a:pt x="26" y="66"/>
                    <a:pt x="26" y="66"/>
                    <a:pt x="26" y="66"/>
                  </a:cubicBezTo>
                  <a:cubicBezTo>
                    <a:pt x="27" y="68"/>
                    <a:pt x="27" y="68"/>
                    <a:pt x="27" y="68"/>
                  </a:cubicBezTo>
                  <a:cubicBezTo>
                    <a:pt x="27" y="69"/>
                    <a:pt x="27" y="70"/>
                    <a:pt x="27" y="70"/>
                  </a:cubicBezTo>
                  <a:cubicBezTo>
                    <a:pt x="27" y="71"/>
                    <a:pt x="26" y="72"/>
                    <a:pt x="26" y="72"/>
                  </a:cubicBezTo>
                  <a:cubicBezTo>
                    <a:pt x="26" y="73"/>
                    <a:pt x="26" y="73"/>
                    <a:pt x="26" y="73"/>
                  </a:cubicBezTo>
                  <a:cubicBezTo>
                    <a:pt x="25" y="73"/>
                    <a:pt x="25" y="73"/>
                    <a:pt x="25" y="73"/>
                  </a:cubicBezTo>
                  <a:cubicBezTo>
                    <a:pt x="25" y="74"/>
                    <a:pt x="26" y="74"/>
                    <a:pt x="26" y="75"/>
                  </a:cubicBezTo>
                  <a:cubicBezTo>
                    <a:pt x="26" y="76"/>
                    <a:pt x="26" y="76"/>
                    <a:pt x="26" y="76"/>
                  </a:cubicBezTo>
                  <a:cubicBezTo>
                    <a:pt x="26" y="76"/>
                    <a:pt x="27" y="77"/>
                    <a:pt x="27" y="77"/>
                  </a:cubicBezTo>
                  <a:cubicBezTo>
                    <a:pt x="28" y="79"/>
                    <a:pt x="29" y="81"/>
                    <a:pt x="28" y="83"/>
                  </a:cubicBezTo>
                  <a:cubicBezTo>
                    <a:pt x="28" y="84"/>
                    <a:pt x="27" y="85"/>
                    <a:pt x="27" y="85"/>
                  </a:cubicBezTo>
                  <a:cubicBezTo>
                    <a:pt x="26" y="86"/>
                    <a:pt x="26" y="86"/>
                    <a:pt x="26" y="86"/>
                  </a:cubicBezTo>
                  <a:cubicBezTo>
                    <a:pt x="26" y="86"/>
                    <a:pt x="26" y="87"/>
                    <a:pt x="26" y="87"/>
                  </a:cubicBezTo>
                  <a:cubicBezTo>
                    <a:pt x="26" y="88"/>
                    <a:pt x="26" y="88"/>
                    <a:pt x="26" y="88"/>
                  </a:cubicBezTo>
                  <a:cubicBezTo>
                    <a:pt x="26" y="89"/>
                    <a:pt x="26" y="89"/>
                    <a:pt x="26" y="89"/>
                  </a:cubicBezTo>
                  <a:cubicBezTo>
                    <a:pt x="26" y="90"/>
                    <a:pt x="26" y="91"/>
                    <a:pt x="25" y="93"/>
                  </a:cubicBezTo>
                  <a:cubicBezTo>
                    <a:pt x="25" y="94"/>
                    <a:pt x="24" y="94"/>
                    <a:pt x="24" y="95"/>
                  </a:cubicBezTo>
                  <a:cubicBezTo>
                    <a:pt x="23" y="96"/>
                    <a:pt x="23" y="96"/>
                    <a:pt x="23" y="96"/>
                  </a:cubicBezTo>
                  <a:cubicBezTo>
                    <a:pt x="23" y="97"/>
                    <a:pt x="22" y="97"/>
                    <a:pt x="22" y="98"/>
                  </a:cubicBezTo>
                  <a:cubicBezTo>
                    <a:pt x="22" y="99"/>
                    <a:pt x="23" y="100"/>
                    <a:pt x="23" y="101"/>
                  </a:cubicBezTo>
                  <a:cubicBezTo>
                    <a:pt x="24" y="102"/>
                    <a:pt x="24" y="104"/>
                    <a:pt x="24" y="106"/>
                  </a:cubicBezTo>
                  <a:cubicBezTo>
                    <a:pt x="24" y="107"/>
                    <a:pt x="23" y="108"/>
                    <a:pt x="23" y="109"/>
                  </a:cubicBezTo>
                  <a:cubicBezTo>
                    <a:pt x="27" y="111"/>
                    <a:pt x="27" y="111"/>
                    <a:pt x="27" y="111"/>
                  </a:cubicBezTo>
                  <a:cubicBezTo>
                    <a:pt x="22" y="110"/>
                    <a:pt x="22" y="110"/>
                    <a:pt x="22" y="110"/>
                  </a:cubicBezTo>
                  <a:cubicBezTo>
                    <a:pt x="21" y="112"/>
                    <a:pt x="21" y="112"/>
                    <a:pt x="21" y="112"/>
                  </a:cubicBezTo>
                  <a:cubicBezTo>
                    <a:pt x="20" y="114"/>
                    <a:pt x="19" y="115"/>
                    <a:pt x="19" y="116"/>
                  </a:cubicBezTo>
                  <a:cubicBezTo>
                    <a:pt x="20" y="116"/>
                    <a:pt x="20" y="116"/>
                    <a:pt x="21" y="117"/>
                  </a:cubicBezTo>
                  <a:cubicBezTo>
                    <a:pt x="21" y="116"/>
                    <a:pt x="21" y="116"/>
                    <a:pt x="21" y="116"/>
                  </a:cubicBezTo>
                  <a:cubicBezTo>
                    <a:pt x="25" y="113"/>
                    <a:pt x="28" y="110"/>
                    <a:pt x="31" y="108"/>
                  </a:cubicBezTo>
                  <a:cubicBezTo>
                    <a:pt x="31" y="107"/>
                    <a:pt x="32" y="107"/>
                    <a:pt x="33" y="106"/>
                  </a:cubicBezTo>
                  <a:cubicBezTo>
                    <a:pt x="35" y="104"/>
                    <a:pt x="35" y="104"/>
                    <a:pt x="35" y="104"/>
                  </a:cubicBezTo>
                  <a:cubicBezTo>
                    <a:pt x="37" y="103"/>
                    <a:pt x="39" y="102"/>
                    <a:pt x="40" y="101"/>
                  </a:cubicBezTo>
                  <a:cubicBezTo>
                    <a:pt x="41" y="100"/>
                    <a:pt x="42" y="100"/>
                    <a:pt x="43" y="100"/>
                  </a:cubicBezTo>
                  <a:cubicBezTo>
                    <a:pt x="43" y="100"/>
                    <a:pt x="43" y="100"/>
                    <a:pt x="43" y="100"/>
                  </a:cubicBezTo>
                  <a:cubicBezTo>
                    <a:pt x="44" y="100"/>
                    <a:pt x="45" y="100"/>
                    <a:pt x="46" y="100"/>
                  </a:cubicBezTo>
                  <a:cubicBezTo>
                    <a:pt x="46" y="100"/>
                    <a:pt x="46" y="100"/>
                    <a:pt x="46" y="100"/>
                  </a:cubicBezTo>
                  <a:cubicBezTo>
                    <a:pt x="49" y="102"/>
                    <a:pt x="49" y="102"/>
                    <a:pt x="49" y="102"/>
                  </a:cubicBezTo>
                  <a:cubicBezTo>
                    <a:pt x="51" y="104"/>
                    <a:pt x="53" y="106"/>
                    <a:pt x="56" y="108"/>
                  </a:cubicBezTo>
                  <a:cubicBezTo>
                    <a:pt x="57" y="107"/>
                    <a:pt x="57" y="107"/>
                    <a:pt x="57" y="107"/>
                  </a:cubicBezTo>
                  <a:cubicBezTo>
                    <a:pt x="58" y="106"/>
                    <a:pt x="58" y="106"/>
                    <a:pt x="59" y="105"/>
                  </a:cubicBezTo>
                  <a:cubicBezTo>
                    <a:pt x="61" y="105"/>
                    <a:pt x="62" y="105"/>
                    <a:pt x="63" y="105"/>
                  </a:cubicBezTo>
                  <a:cubicBezTo>
                    <a:pt x="64" y="105"/>
                    <a:pt x="64" y="105"/>
                    <a:pt x="64" y="105"/>
                  </a:cubicBezTo>
                  <a:cubicBezTo>
                    <a:pt x="64" y="104"/>
                    <a:pt x="64" y="104"/>
                    <a:pt x="64" y="104"/>
                  </a:cubicBezTo>
                  <a:cubicBezTo>
                    <a:pt x="64" y="104"/>
                    <a:pt x="64" y="102"/>
                    <a:pt x="65" y="101"/>
                  </a:cubicBezTo>
                  <a:cubicBezTo>
                    <a:pt x="67" y="100"/>
                    <a:pt x="68" y="98"/>
                    <a:pt x="69" y="97"/>
                  </a:cubicBezTo>
                  <a:cubicBezTo>
                    <a:pt x="70" y="97"/>
                    <a:pt x="70" y="97"/>
                    <a:pt x="70" y="97"/>
                  </a:cubicBezTo>
                  <a:cubicBezTo>
                    <a:pt x="72" y="95"/>
                    <a:pt x="73" y="94"/>
                    <a:pt x="75" y="94"/>
                  </a:cubicBezTo>
                  <a:cubicBezTo>
                    <a:pt x="76" y="94"/>
                    <a:pt x="76" y="94"/>
                    <a:pt x="76" y="94"/>
                  </a:cubicBezTo>
                  <a:cubicBezTo>
                    <a:pt x="76" y="94"/>
                    <a:pt x="77" y="94"/>
                    <a:pt x="78" y="94"/>
                  </a:cubicBezTo>
                  <a:cubicBezTo>
                    <a:pt x="80" y="95"/>
                    <a:pt x="80" y="95"/>
                    <a:pt x="80" y="95"/>
                  </a:cubicBezTo>
                  <a:cubicBezTo>
                    <a:pt x="81" y="95"/>
                    <a:pt x="82" y="95"/>
                    <a:pt x="83" y="95"/>
                  </a:cubicBezTo>
                  <a:cubicBezTo>
                    <a:pt x="87" y="96"/>
                    <a:pt x="90" y="97"/>
                    <a:pt x="92" y="101"/>
                  </a:cubicBezTo>
                  <a:cubicBezTo>
                    <a:pt x="93" y="102"/>
                    <a:pt x="93" y="102"/>
                    <a:pt x="93" y="102"/>
                  </a:cubicBezTo>
                  <a:cubicBezTo>
                    <a:pt x="96" y="99"/>
                    <a:pt x="96" y="99"/>
                    <a:pt x="96" y="99"/>
                  </a:cubicBezTo>
                  <a:cubicBezTo>
                    <a:pt x="93" y="103"/>
                    <a:pt x="93" y="103"/>
                    <a:pt x="93" y="103"/>
                  </a:cubicBezTo>
                  <a:cubicBezTo>
                    <a:pt x="95" y="105"/>
                    <a:pt x="95" y="105"/>
                    <a:pt x="95" y="105"/>
                  </a:cubicBezTo>
                  <a:cubicBezTo>
                    <a:pt x="95" y="105"/>
                    <a:pt x="95" y="106"/>
                    <a:pt x="96" y="106"/>
                  </a:cubicBezTo>
                  <a:cubicBezTo>
                    <a:pt x="97" y="110"/>
                    <a:pt x="101" y="113"/>
                    <a:pt x="104" y="115"/>
                  </a:cubicBezTo>
                  <a:cubicBezTo>
                    <a:pt x="105" y="117"/>
                    <a:pt x="107" y="118"/>
                    <a:pt x="108" y="119"/>
                  </a:cubicBezTo>
                  <a:cubicBezTo>
                    <a:pt x="109" y="121"/>
                    <a:pt x="110" y="122"/>
                    <a:pt x="110" y="123"/>
                  </a:cubicBezTo>
                  <a:cubicBezTo>
                    <a:pt x="115" y="122"/>
                    <a:pt x="115" y="122"/>
                    <a:pt x="115" y="122"/>
                  </a:cubicBezTo>
                  <a:cubicBezTo>
                    <a:pt x="110" y="124"/>
                    <a:pt x="110" y="124"/>
                    <a:pt x="110" y="124"/>
                  </a:cubicBezTo>
                  <a:cubicBezTo>
                    <a:pt x="110" y="125"/>
                    <a:pt x="110" y="125"/>
                    <a:pt x="110" y="125"/>
                  </a:cubicBezTo>
                  <a:cubicBezTo>
                    <a:pt x="110" y="126"/>
                    <a:pt x="110" y="126"/>
                    <a:pt x="110" y="126"/>
                  </a:cubicBezTo>
                  <a:cubicBezTo>
                    <a:pt x="110" y="127"/>
                    <a:pt x="110" y="127"/>
                    <a:pt x="110" y="128"/>
                  </a:cubicBezTo>
                  <a:cubicBezTo>
                    <a:pt x="110" y="128"/>
                    <a:pt x="110" y="128"/>
                    <a:pt x="110" y="128"/>
                  </a:cubicBezTo>
                  <a:cubicBezTo>
                    <a:pt x="109" y="129"/>
                    <a:pt x="109" y="130"/>
                    <a:pt x="109" y="131"/>
                  </a:cubicBezTo>
                  <a:cubicBezTo>
                    <a:pt x="109" y="132"/>
                    <a:pt x="109" y="132"/>
                    <a:pt x="109" y="132"/>
                  </a:cubicBezTo>
                  <a:cubicBezTo>
                    <a:pt x="108" y="134"/>
                    <a:pt x="108" y="137"/>
                    <a:pt x="108" y="139"/>
                  </a:cubicBezTo>
                  <a:cubicBezTo>
                    <a:pt x="108" y="140"/>
                    <a:pt x="108" y="140"/>
                    <a:pt x="108" y="140"/>
                  </a:cubicBezTo>
                  <a:cubicBezTo>
                    <a:pt x="108" y="140"/>
                    <a:pt x="108" y="141"/>
                    <a:pt x="109" y="141"/>
                  </a:cubicBezTo>
                  <a:cubicBezTo>
                    <a:pt x="109" y="141"/>
                    <a:pt x="109" y="142"/>
                    <a:pt x="109" y="142"/>
                  </a:cubicBezTo>
                  <a:cubicBezTo>
                    <a:pt x="110" y="143"/>
                    <a:pt x="110" y="143"/>
                    <a:pt x="110" y="143"/>
                  </a:cubicBezTo>
                  <a:cubicBezTo>
                    <a:pt x="111" y="144"/>
                    <a:pt x="111" y="145"/>
                    <a:pt x="112" y="146"/>
                  </a:cubicBezTo>
                  <a:cubicBezTo>
                    <a:pt x="113" y="147"/>
                    <a:pt x="114" y="148"/>
                    <a:pt x="115" y="149"/>
                  </a:cubicBezTo>
                  <a:cubicBezTo>
                    <a:pt x="115" y="149"/>
                    <a:pt x="115" y="149"/>
                    <a:pt x="115" y="149"/>
                  </a:cubicBezTo>
                  <a:cubicBezTo>
                    <a:pt x="115" y="150"/>
                    <a:pt x="116" y="151"/>
                    <a:pt x="116" y="151"/>
                  </a:cubicBezTo>
                  <a:cubicBezTo>
                    <a:pt x="116" y="151"/>
                    <a:pt x="118" y="152"/>
                    <a:pt x="120" y="152"/>
                  </a:cubicBezTo>
                  <a:cubicBezTo>
                    <a:pt x="120" y="152"/>
                    <a:pt x="120" y="152"/>
                    <a:pt x="120" y="152"/>
                  </a:cubicBezTo>
                  <a:cubicBezTo>
                    <a:pt x="121" y="152"/>
                    <a:pt x="122" y="152"/>
                    <a:pt x="122" y="153"/>
                  </a:cubicBezTo>
                  <a:cubicBezTo>
                    <a:pt x="129" y="154"/>
                    <a:pt x="129" y="154"/>
                    <a:pt x="129" y="154"/>
                  </a:cubicBezTo>
                  <a:cubicBezTo>
                    <a:pt x="123" y="158"/>
                    <a:pt x="123" y="158"/>
                    <a:pt x="123" y="158"/>
                  </a:cubicBezTo>
                  <a:cubicBezTo>
                    <a:pt x="123" y="158"/>
                    <a:pt x="123" y="158"/>
                    <a:pt x="123" y="158"/>
                  </a:cubicBezTo>
                  <a:cubicBezTo>
                    <a:pt x="124" y="159"/>
                    <a:pt x="124" y="159"/>
                    <a:pt x="124" y="159"/>
                  </a:cubicBezTo>
                  <a:cubicBezTo>
                    <a:pt x="124" y="159"/>
                    <a:pt x="125" y="159"/>
                    <a:pt x="125" y="160"/>
                  </a:cubicBezTo>
                  <a:cubicBezTo>
                    <a:pt x="126" y="160"/>
                    <a:pt x="126" y="160"/>
                    <a:pt x="126" y="160"/>
                  </a:cubicBezTo>
                  <a:cubicBezTo>
                    <a:pt x="126" y="160"/>
                    <a:pt x="127" y="161"/>
                    <a:pt x="127" y="161"/>
                  </a:cubicBezTo>
                  <a:cubicBezTo>
                    <a:pt x="128" y="162"/>
                    <a:pt x="128" y="162"/>
                    <a:pt x="128" y="163"/>
                  </a:cubicBezTo>
                  <a:cubicBezTo>
                    <a:pt x="129" y="164"/>
                    <a:pt x="129" y="166"/>
                    <a:pt x="129" y="167"/>
                  </a:cubicBezTo>
                  <a:cubicBezTo>
                    <a:pt x="128" y="170"/>
                    <a:pt x="127" y="171"/>
                    <a:pt x="126" y="172"/>
                  </a:cubicBezTo>
                  <a:cubicBezTo>
                    <a:pt x="126" y="172"/>
                    <a:pt x="126" y="172"/>
                    <a:pt x="125" y="172"/>
                  </a:cubicBezTo>
                  <a:cubicBezTo>
                    <a:pt x="125" y="172"/>
                    <a:pt x="125" y="173"/>
                    <a:pt x="125" y="174"/>
                  </a:cubicBezTo>
                  <a:cubicBezTo>
                    <a:pt x="125" y="176"/>
                    <a:pt x="126" y="179"/>
                    <a:pt x="126" y="181"/>
                  </a:cubicBezTo>
                  <a:cubicBezTo>
                    <a:pt x="127" y="184"/>
                    <a:pt x="128" y="188"/>
                    <a:pt x="127" y="192"/>
                  </a:cubicBezTo>
                  <a:cubicBezTo>
                    <a:pt x="126" y="192"/>
                    <a:pt x="126" y="192"/>
                    <a:pt x="126" y="193"/>
                  </a:cubicBezTo>
                  <a:cubicBezTo>
                    <a:pt x="125" y="194"/>
                    <a:pt x="125" y="194"/>
                    <a:pt x="124" y="195"/>
                  </a:cubicBezTo>
                  <a:cubicBezTo>
                    <a:pt x="123" y="195"/>
                    <a:pt x="122" y="196"/>
                    <a:pt x="122" y="196"/>
                  </a:cubicBezTo>
                  <a:cubicBezTo>
                    <a:pt x="121" y="196"/>
                    <a:pt x="121" y="196"/>
                    <a:pt x="121" y="196"/>
                  </a:cubicBezTo>
                  <a:cubicBezTo>
                    <a:pt x="122" y="197"/>
                    <a:pt x="122" y="198"/>
                    <a:pt x="123" y="198"/>
                  </a:cubicBezTo>
                  <a:cubicBezTo>
                    <a:pt x="123" y="198"/>
                    <a:pt x="123" y="198"/>
                    <a:pt x="123" y="198"/>
                  </a:cubicBezTo>
                  <a:cubicBezTo>
                    <a:pt x="123" y="198"/>
                    <a:pt x="124" y="198"/>
                    <a:pt x="125" y="198"/>
                  </a:cubicBezTo>
                  <a:cubicBezTo>
                    <a:pt x="125" y="198"/>
                    <a:pt x="126" y="198"/>
                    <a:pt x="127" y="198"/>
                  </a:cubicBezTo>
                  <a:cubicBezTo>
                    <a:pt x="127" y="198"/>
                    <a:pt x="127" y="198"/>
                    <a:pt x="127" y="198"/>
                  </a:cubicBezTo>
                  <a:cubicBezTo>
                    <a:pt x="127" y="198"/>
                    <a:pt x="128" y="198"/>
                    <a:pt x="128" y="198"/>
                  </a:cubicBezTo>
                  <a:cubicBezTo>
                    <a:pt x="130" y="198"/>
                    <a:pt x="131" y="199"/>
                    <a:pt x="132" y="200"/>
                  </a:cubicBezTo>
                  <a:cubicBezTo>
                    <a:pt x="133" y="201"/>
                    <a:pt x="133" y="201"/>
                    <a:pt x="133" y="201"/>
                  </a:cubicBezTo>
                  <a:cubicBezTo>
                    <a:pt x="133" y="201"/>
                    <a:pt x="134" y="202"/>
                    <a:pt x="134" y="202"/>
                  </a:cubicBezTo>
                  <a:cubicBezTo>
                    <a:pt x="134" y="202"/>
                    <a:pt x="134" y="202"/>
                    <a:pt x="134" y="202"/>
                  </a:cubicBezTo>
                  <a:cubicBezTo>
                    <a:pt x="135" y="202"/>
                    <a:pt x="135" y="202"/>
                    <a:pt x="135" y="202"/>
                  </a:cubicBezTo>
                  <a:cubicBezTo>
                    <a:pt x="135" y="202"/>
                    <a:pt x="135" y="202"/>
                    <a:pt x="135" y="202"/>
                  </a:cubicBezTo>
                  <a:cubicBezTo>
                    <a:pt x="136" y="202"/>
                    <a:pt x="136" y="202"/>
                    <a:pt x="136" y="202"/>
                  </a:cubicBezTo>
                  <a:cubicBezTo>
                    <a:pt x="136" y="202"/>
                    <a:pt x="136" y="202"/>
                    <a:pt x="136" y="202"/>
                  </a:cubicBezTo>
                  <a:cubicBezTo>
                    <a:pt x="136" y="202"/>
                    <a:pt x="136" y="202"/>
                    <a:pt x="136" y="202"/>
                  </a:cubicBezTo>
                  <a:cubicBezTo>
                    <a:pt x="136" y="202"/>
                    <a:pt x="136" y="201"/>
                    <a:pt x="134" y="199"/>
                  </a:cubicBezTo>
                  <a:cubicBezTo>
                    <a:pt x="133" y="198"/>
                    <a:pt x="133" y="197"/>
                    <a:pt x="132" y="196"/>
                  </a:cubicBezTo>
                  <a:cubicBezTo>
                    <a:pt x="129" y="189"/>
                    <a:pt x="129" y="189"/>
                    <a:pt x="129" y="189"/>
                  </a:cubicBezTo>
                  <a:cubicBezTo>
                    <a:pt x="136" y="192"/>
                    <a:pt x="136" y="192"/>
                    <a:pt x="136" y="192"/>
                  </a:cubicBezTo>
                  <a:cubicBezTo>
                    <a:pt x="136" y="192"/>
                    <a:pt x="136" y="192"/>
                    <a:pt x="136" y="192"/>
                  </a:cubicBezTo>
                  <a:cubicBezTo>
                    <a:pt x="137" y="192"/>
                    <a:pt x="137" y="192"/>
                    <a:pt x="139" y="190"/>
                  </a:cubicBezTo>
                  <a:cubicBezTo>
                    <a:pt x="140" y="190"/>
                    <a:pt x="140" y="190"/>
                    <a:pt x="140" y="190"/>
                  </a:cubicBezTo>
                  <a:cubicBezTo>
                    <a:pt x="141" y="189"/>
                    <a:pt x="143" y="188"/>
                    <a:pt x="144" y="187"/>
                  </a:cubicBezTo>
                  <a:cubicBezTo>
                    <a:pt x="145" y="187"/>
                    <a:pt x="146" y="187"/>
                    <a:pt x="146" y="187"/>
                  </a:cubicBezTo>
                  <a:cubicBezTo>
                    <a:pt x="146" y="186"/>
                    <a:pt x="146" y="186"/>
                    <a:pt x="146" y="186"/>
                  </a:cubicBezTo>
                  <a:cubicBezTo>
                    <a:pt x="147" y="186"/>
                    <a:pt x="147" y="186"/>
                    <a:pt x="148" y="186"/>
                  </a:cubicBezTo>
                  <a:cubicBezTo>
                    <a:pt x="149" y="186"/>
                    <a:pt x="149" y="186"/>
                    <a:pt x="149" y="186"/>
                  </a:cubicBezTo>
                  <a:cubicBezTo>
                    <a:pt x="150" y="187"/>
                    <a:pt x="151" y="188"/>
                    <a:pt x="151" y="189"/>
                  </a:cubicBezTo>
                  <a:cubicBezTo>
                    <a:pt x="151" y="189"/>
                    <a:pt x="152" y="189"/>
                    <a:pt x="152" y="190"/>
                  </a:cubicBezTo>
                  <a:cubicBezTo>
                    <a:pt x="157" y="192"/>
                    <a:pt x="157" y="192"/>
                    <a:pt x="157" y="192"/>
                  </a:cubicBezTo>
                  <a:cubicBezTo>
                    <a:pt x="157" y="192"/>
                    <a:pt x="158" y="192"/>
                    <a:pt x="158" y="192"/>
                  </a:cubicBezTo>
                  <a:cubicBezTo>
                    <a:pt x="158" y="192"/>
                    <a:pt x="158" y="192"/>
                    <a:pt x="158" y="192"/>
                  </a:cubicBezTo>
                  <a:cubicBezTo>
                    <a:pt x="158" y="192"/>
                    <a:pt x="158" y="192"/>
                    <a:pt x="158" y="192"/>
                  </a:cubicBezTo>
                  <a:cubicBezTo>
                    <a:pt x="160" y="191"/>
                    <a:pt x="162" y="189"/>
                    <a:pt x="164" y="188"/>
                  </a:cubicBezTo>
                  <a:cubicBezTo>
                    <a:pt x="166" y="186"/>
                    <a:pt x="166" y="186"/>
                    <a:pt x="166" y="186"/>
                  </a:cubicBezTo>
                  <a:cubicBezTo>
                    <a:pt x="167" y="186"/>
                    <a:pt x="167" y="186"/>
                    <a:pt x="168" y="185"/>
                  </a:cubicBezTo>
                  <a:cubicBezTo>
                    <a:pt x="168" y="185"/>
                    <a:pt x="168" y="185"/>
                    <a:pt x="168" y="185"/>
                  </a:cubicBezTo>
                  <a:cubicBezTo>
                    <a:pt x="168" y="184"/>
                    <a:pt x="168" y="184"/>
                    <a:pt x="168" y="184"/>
                  </a:cubicBezTo>
                  <a:cubicBezTo>
                    <a:pt x="168" y="184"/>
                    <a:pt x="168" y="183"/>
                    <a:pt x="168" y="183"/>
                  </a:cubicBezTo>
                  <a:cubicBezTo>
                    <a:pt x="168" y="183"/>
                    <a:pt x="168" y="183"/>
                    <a:pt x="168" y="183"/>
                  </a:cubicBezTo>
                  <a:cubicBezTo>
                    <a:pt x="167" y="182"/>
                    <a:pt x="167" y="182"/>
                    <a:pt x="167" y="181"/>
                  </a:cubicBezTo>
                  <a:cubicBezTo>
                    <a:pt x="166" y="178"/>
                    <a:pt x="169" y="176"/>
                    <a:pt x="170" y="175"/>
                  </a:cubicBezTo>
                  <a:cubicBezTo>
                    <a:pt x="171" y="174"/>
                    <a:pt x="171" y="174"/>
                    <a:pt x="171" y="174"/>
                  </a:cubicBezTo>
                  <a:cubicBezTo>
                    <a:pt x="171" y="172"/>
                    <a:pt x="170" y="171"/>
                    <a:pt x="169" y="170"/>
                  </a:cubicBezTo>
                  <a:cubicBezTo>
                    <a:pt x="168" y="170"/>
                    <a:pt x="168" y="170"/>
                    <a:pt x="168" y="170"/>
                  </a:cubicBezTo>
                  <a:cubicBezTo>
                    <a:pt x="166" y="168"/>
                    <a:pt x="163" y="166"/>
                    <a:pt x="161" y="163"/>
                  </a:cubicBezTo>
                  <a:cubicBezTo>
                    <a:pt x="160" y="162"/>
                    <a:pt x="160" y="161"/>
                    <a:pt x="160" y="160"/>
                  </a:cubicBezTo>
                  <a:cubicBezTo>
                    <a:pt x="160" y="158"/>
                    <a:pt x="161" y="157"/>
                    <a:pt x="163" y="156"/>
                  </a:cubicBezTo>
                  <a:cubicBezTo>
                    <a:pt x="163" y="156"/>
                    <a:pt x="163" y="156"/>
                    <a:pt x="164" y="156"/>
                  </a:cubicBezTo>
                  <a:cubicBezTo>
                    <a:pt x="165" y="155"/>
                    <a:pt x="165" y="155"/>
                    <a:pt x="165" y="155"/>
                  </a:cubicBezTo>
                  <a:cubicBezTo>
                    <a:pt x="165" y="155"/>
                    <a:pt x="165" y="155"/>
                    <a:pt x="165" y="155"/>
                  </a:cubicBezTo>
                  <a:cubicBezTo>
                    <a:pt x="166" y="155"/>
                    <a:pt x="166" y="155"/>
                    <a:pt x="166" y="155"/>
                  </a:cubicBezTo>
                  <a:cubicBezTo>
                    <a:pt x="165" y="155"/>
                    <a:pt x="164" y="154"/>
                    <a:pt x="163" y="154"/>
                  </a:cubicBezTo>
                  <a:cubicBezTo>
                    <a:pt x="163" y="153"/>
                    <a:pt x="162" y="153"/>
                    <a:pt x="161" y="153"/>
                  </a:cubicBezTo>
                  <a:cubicBezTo>
                    <a:pt x="161" y="152"/>
                    <a:pt x="160" y="152"/>
                    <a:pt x="160" y="151"/>
                  </a:cubicBezTo>
                  <a:cubicBezTo>
                    <a:pt x="159" y="151"/>
                    <a:pt x="159" y="151"/>
                    <a:pt x="159" y="151"/>
                  </a:cubicBezTo>
                  <a:cubicBezTo>
                    <a:pt x="159" y="151"/>
                    <a:pt x="159" y="151"/>
                    <a:pt x="159" y="151"/>
                  </a:cubicBezTo>
                  <a:cubicBezTo>
                    <a:pt x="159" y="151"/>
                    <a:pt x="158" y="151"/>
                    <a:pt x="157" y="151"/>
                  </a:cubicBezTo>
                  <a:cubicBezTo>
                    <a:pt x="157" y="151"/>
                    <a:pt x="157" y="151"/>
                    <a:pt x="157" y="151"/>
                  </a:cubicBezTo>
                  <a:cubicBezTo>
                    <a:pt x="157" y="150"/>
                    <a:pt x="157" y="150"/>
                    <a:pt x="157" y="150"/>
                  </a:cubicBezTo>
                  <a:cubicBezTo>
                    <a:pt x="156" y="150"/>
                    <a:pt x="156" y="149"/>
                    <a:pt x="155" y="148"/>
                  </a:cubicBezTo>
                  <a:cubicBezTo>
                    <a:pt x="155" y="148"/>
                    <a:pt x="155" y="148"/>
                    <a:pt x="155" y="148"/>
                  </a:cubicBezTo>
                  <a:cubicBezTo>
                    <a:pt x="155" y="147"/>
                    <a:pt x="155" y="147"/>
                    <a:pt x="154" y="146"/>
                  </a:cubicBezTo>
                  <a:cubicBezTo>
                    <a:pt x="154" y="146"/>
                    <a:pt x="154" y="146"/>
                    <a:pt x="154" y="146"/>
                  </a:cubicBezTo>
                  <a:cubicBezTo>
                    <a:pt x="154" y="146"/>
                    <a:pt x="153" y="147"/>
                    <a:pt x="152" y="147"/>
                  </a:cubicBezTo>
                  <a:cubicBezTo>
                    <a:pt x="152" y="147"/>
                    <a:pt x="152" y="147"/>
                    <a:pt x="152" y="147"/>
                  </a:cubicBezTo>
                  <a:cubicBezTo>
                    <a:pt x="152" y="147"/>
                    <a:pt x="152" y="147"/>
                    <a:pt x="152" y="147"/>
                  </a:cubicBezTo>
                  <a:cubicBezTo>
                    <a:pt x="150" y="147"/>
                    <a:pt x="148" y="146"/>
                    <a:pt x="147" y="145"/>
                  </a:cubicBezTo>
                  <a:cubicBezTo>
                    <a:pt x="147" y="145"/>
                    <a:pt x="147" y="145"/>
                    <a:pt x="147" y="145"/>
                  </a:cubicBezTo>
                  <a:cubicBezTo>
                    <a:pt x="147" y="144"/>
                    <a:pt x="147" y="144"/>
                    <a:pt x="147" y="144"/>
                  </a:cubicBezTo>
                  <a:cubicBezTo>
                    <a:pt x="147" y="144"/>
                    <a:pt x="146" y="143"/>
                    <a:pt x="146" y="142"/>
                  </a:cubicBezTo>
                  <a:cubicBezTo>
                    <a:pt x="147" y="141"/>
                    <a:pt x="147" y="141"/>
                    <a:pt x="147" y="141"/>
                  </a:cubicBezTo>
                  <a:cubicBezTo>
                    <a:pt x="147" y="141"/>
                    <a:pt x="147" y="141"/>
                    <a:pt x="147" y="141"/>
                  </a:cubicBezTo>
                  <a:cubicBezTo>
                    <a:pt x="146" y="142"/>
                    <a:pt x="146" y="142"/>
                    <a:pt x="146" y="142"/>
                  </a:cubicBezTo>
                  <a:cubicBezTo>
                    <a:pt x="146" y="141"/>
                    <a:pt x="146" y="140"/>
                    <a:pt x="145" y="139"/>
                  </a:cubicBezTo>
                  <a:cubicBezTo>
                    <a:pt x="145" y="138"/>
                    <a:pt x="145" y="137"/>
                    <a:pt x="145" y="137"/>
                  </a:cubicBezTo>
                  <a:cubicBezTo>
                    <a:pt x="145" y="136"/>
                    <a:pt x="145" y="136"/>
                    <a:pt x="145" y="136"/>
                  </a:cubicBezTo>
                  <a:cubicBezTo>
                    <a:pt x="145" y="135"/>
                    <a:pt x="145" y="135"/>
                    <a:pt x="145" y="134"/>
                  </a:cubicBezTo>
                  <a:cubicBezTo>
                    <a:pt x="144" y="134"/>
                    <a:pt x="143" y="133"/>
                    <a:pt x="143" y="132"/>
                  </a:cubicBezTo>
                  <a:cubicBezTo>
                    <a:pt x="142" y="132"/>
                    <a:pt x="142" y="132"/>
                    <a:pt x="142" y="132"/>
                  </a:cubicBezTo>
                  <a:cubicBezTo>
                    <a:pt x="142" y="131"/>
                    <a:pt x="142" y="131"/>
                    <a:pt x="142" y="131"/>
                  </a:cubicBezTo>
                  <a:cubicBezTo>
                    <a:pt x="142" y="130"/>
                    <a:pt x="142" y="130"/>
                    <a:pt x="142" y="130"/>
                  </a:cubicBezTo>
                  <a:cubicBezTo>
                    <a:pt x="141" y="128"/>
                    <a:pt x="141" y="128"/>
                    <a:pt x="141" y="128"/>
                  </a:cubicBezTo>
                  <a:cubicBezTo>
                    <a:pt x="141" y="127"/>
                    <a:pt x="141" y="127"/>
                    <a:pt x="140" y="127"/>
                  </a:cubicBezTo>
                  <a:cubicBezTo>
                    <a:pt x="140" y="126"/>
                    <a:pt x="139" y="126"/>
                    <a:pt x="138" y="125"/>
                  </a:cubicBezTo>
                  <a:cubicBezTo>
                    <a:pt x="137" y="124"/>
                    <a:pt x="137" y="124"/>
                    <a:pt x="137" y="124"/>
                  </a:cubicBezTo>
                  <a:cubicBezTo>
                    <a:pt x="136" y="124"/>
                    <a:pt x="136" y="123"/>
                    <a:pt x="135" y="123"/>
                  </a:cubicBezTo>
                  <a:cubicBezTo>
                    <a:pt x="135" y="122"/>
                    <a:pt x="135" y="122"/>
                    <a:pt x="135" y="122"/>
                  </a:cubicBezTo>
                  <a:cubicBezTo>
                    <a:pt x="132" y="121"/>
                    <a:pt x="130" y="120"/>
                    <a:pt x="128" y="118"/>
                  </a:cubicBezTo>
                  <a:cubicBezTo>
                    <a:pt x="128" y="117"/>
                    <a:pt x="128" y="117"/>
                    <a:pt x="128" y="117"/>
                  </a:cubicBezTo>
                  <a:cubicBezTo>
                    <a:pt x="127" y="117"/>
                    <a:pt x="126" y="116"/>
                    <a:pt x="126" y="114"/>
                  </a:cubicBezTo>
                  <a:cubicBezTo>
                    <a:pt x="126" y="114"/>
                    <a:pt x="126" y="114"/>
                    <a:pt x="126" y="114"/>
                  </a:cubicBezTo>
                  <a:cubicBezTo>
                    <a:pt x="125" y="111"/>
                    <a:pt x="124" y="110"/>
                    <a:pt x="122" y="108"/>
                  </a:cubicBezTo>
                  <a:cubicBezTo>
                    <a:pt x="122" y="108"/>
                    <a:pt x="122" y="108"/>
                    <a:pt x="122" y="108"/>
                  </a:cubicBezTo>
                  <a:cubicBezTo>
                    <a:pt x="119" y="106"/>
                    <a:pt x="114" y="103"/>
                    <a:pt x="112" y="99"/>
                  </a:cubicBezTo>
                  <a:cubicBezTo>
                    <a:pt x="112" y="98"/>
                    <a:pt x="112" y="97"/>
                    <a:pt x="112" y="97"/>
                  </a:cubicBezTo>
                  <a:cubicBezTo>
                    <a:pt x="112" y="96"/>
                    <a:pt x="112" y="96"/>
                    <a:pt x="112" y="96"/>
                  </a:cubicBezTo>
                  <a:cubicBezTo>
                    <a:pt x="112" y="95"/>
                    <a:pt x="112" y="94"/>
                    <a:pt x="112" y="93"/>
                  </a:cubicBezTo>
                  <a:cubicBezTo>
                    <a:pt x="112" y="93"/>
                    <a:pt x="112" y="93"/>
                    <a:pt x="112" y="93"/>
                  </a:cubicBezTo>
                  <a:cubicBezTo>
                    <a:pt x="111" y="92"/>
                    <a:pt x="109" y="92"/>
                    <a:pt x="107" y="91"/>
                  </a:cubicBezTo>
                  <a:cubicBezTo>
                    <a:pt x="106" y="90"/>
                    <a:pt x="106" y="90"/>
                    <a:pt x="106" y="90"/>
                  </a:cubicBezTo>
                  <a:cubicBezTo>
                    <a:pt x="99" y="87"/>
                    <a:pt x="90" y="82"/>
                    <a:pt x="83" y="77"/>
                  </a:cubicBezTo>
                  <a:cubicBezTo>
                    <a:pt x="79" y="74"/>
                    <a:pt x="79" y="74"/>
                    <a:pt x="79" y="74"/>
                  </a:cubicBezTo>
                  <a:cubicBezTo>
                    <a:pt x="84" y="72"/>
                    <a:pt x="84" y="72"/>
                    <a:pt x="84" y="72"/>
                  </a:cubicBezTo>
                  <a:cubicBezTo>
                    <a:pt x="84" y="72"/>
                    <a:pt x="85" y="72"/>
                    <a:pt x="85" y="71"/>
                  </a:cubicBezTo>
                  <a:cubicBezTo>
                    <a:pt x="86" y="70"/>
                    <a:pt x="86" y="70"/>
                    <a:pt x="86" y="70"/>
                  </a:cubicBezTo>
                  <a:cubicBezTo>
                    <a:pt x="86" y="70"/>
                    <a:pt x="86" y="70"/>
                    <a:pt x="86" y="70"/>
                  </a:cubicBezTo>
                  <a:cubicBezTo>
                    <a:pt x="86" y="70"/>
                    <a:pt x="86" y="69"/>
                    <a:pt x="86" y="69"/>
                  </a:cubicBezTo>
                  <a:cubicBezTo>
                    <a:pt x="86" y="68"/>
                    <a:pt x="86" y="68"/>
                    <a:pt x="86" y="67"/>
                  </a:cubicBezTo>
                  <a:cubicBezTo>
                    <a:pt x="86" y="67"/>
                    <a:pt x="86" y="65"/>
                    <a:pt x="86" y="64"/>
                  </a:cubicBezTo>
                  <a:cubicBezTo>
                    <a:pt x="87" y="63"/>
                    <a:pt x="87" y="63"/>
                    <a:pt x="87" y="63"/>
                  </a:cubicBezTo>
                  <a:cubicBezTo>
                    <a:pt x="89" y="63"/>
                    <a:pt x="89" y="63"/>
                    <a:pt x="89" y="63"/>
                  </a:cubicBezTo>
                  <a:cubicBezTo>
                    <a:pt x="89" y="63"/>
                    <a:pt x="89" y="63"/>
                    <a:pt x="90" y="63"/>
                  </a:cubicBezTo>
                  <a:cubicBezTo>
                    <a:pt x="90" y="63"/>
                    <a:pt x="91" y="63"/>
                    <a:pt x="91" y="63"/>
                  </a:cubicBezTo>
                  <a:cubicBezTo>
                    <a:pt x="92" y="63"/>
                    <a:pt x="92" y="63"/>
                    <a:pt x="92" y="63"/>
                  </a:cubicBezTo>
                  <a:cubicBezTo>
                    <a:pt x="93" y="63"/>
                    <a:pt x="94" y="63"/>
                    <a:pt x="95" y="63"/>
                  </a:cubicBezTo>
                  <a:cubicBezTo>
                    <a:pt x="95" y="63"/>
                    <a:pt x="95" y="63"/>
                    <a:pt x="95" y="63"/>
                  </a:cubicBezTo>
                  <a:cubicBezTo>
                    <a:pt x="96" y="63"/>
                    <a:pt x="97" y="64"/>
                    <a:pt x="98" y="64"/>
                  </a:cubicBezTo>
                  <a:cubicBezTo>
                    <a:pt x="99" y="64"/>
                    <a:pt x="99" y="64"/>
                    <a:pt x="99" y="64"/>
                  </a:cubicBezTo>
                  <a:cubicBezTo>
                    <a:pt x="100" y="64"/>
                    <a:pt x="101" y="65"/>
                    <a:pt x="101" y="65"/>
                  </a:cubicBezTo>
                  <a:cubicBezTo>
                    <a:pt x="101" y="64"/>
                    <a:pt x="101" y="64"/>
                    <a:pt x="101" y="64"/>
                  </a:cubicBezTo>
                  <a:cubicBezTo>
                    <a:pt x="102" y="64"/>
                    <a:pt x="102" y="64"/>
                    <a:pt x="102" y="64"/>
                  </a:cubicBezTo>
                  <a:cubicBezTo>
                    <a:pt x="102" y="63"/>
                    <a:pt x="102" y="63"/>
                    <a:pt x="102" y="63"/>
                  </a:cubicBezTo>
                  <a:cubicBezTo>
                    <a:pt x="103" y="62"/>
                    <a:pt x="104" y="62"/>
                    <a:pt x="104" y="61"/>
                  </a:cubicBezTo>
                  <a:cubicBezTo>
                    <a:pt x="105" y="61"/>
                    <a:pt x="105" y="61"/>
                    <a:pt x="105" y="61"/>
                  </a:cubicBezTo>
                  <a:cubicBezTo>
                    <a:pt x="106" y="60"/>
                    <a:pt x="106" y="60"/>
                    <a:pt x="107" y="59"/>
                  </a:cubicBezTo>
                  <a:cubicBezTo>
                    <a:pt x="107" y="59"/>
                    <a:pt x="108" y="58"/>
                    <a:pt x="107" y="55"/>
                  </a:cubicBezTo>
                  <a:cubicBezTo>
                    <a:pt x="107" y="55"/>
                    <a:pt x="106" y="54"/>
                    <a:pt x="105" y="54"/>
                  </a:cubicBezTo>
                  <a:cubicBezTo>
                    <a:pt x="105" y="53"/>
                    <a:pt x="105" y="53"/>
                    <a:pt x="105" y="53"/>
                  </a:cubicBezTo>
                  <a:cubicBezTo>
                    <a:pt x="104" y="53"/>
                    <a:pt x="104" y="53"/>
                    <a:pt x="104" y="53"/>
                  </a:cubicBezTo>
                  <a:cubicBezTo>
                    <a:pt x="102" y="51"/>
                    <a:pt x="101" y="51"/>
                    <a:pt x="99" y="51"/>
                  </a:cubicBezTo>
                  <a:cubicBezTo>
                    <a:pt x="98" y="50"/>
                    <a:pt x="97" y="50"/>
                    <a:pt x="96" y="50"/>
                  </a:cubicBezTo>
                  <a:cubicBezTo>
                    <a:pt x="92" y="49"/>
                    <a:pt x="92" y="49"/>
                    <a:pt x="92" y="49"/>
                  </a:cubicBezTo>
                  <a:cubicBezTo>
                    <a:pt x="95" y="45"/>
                    <a:pt x="95" y="45"/>
                    <a:pt x="95" y="45"/>
                  </a:cubicBezTo>
                  <a:cubicBezTo>
                    <a:pt x="95" y="45"/>
                    <a:pt x="95" y="45"/>
                    <a:pt x="96" y="44"/>
                  </a:cubicBezTo>
                  <a:cubicBezTo>
                    <a:pt x="97" y="43"/>
                    <a:pt x="98" y="43"/>
                    <a:pt x="99" y="43"/>
                  </a:cubicBezTo>
                  <a:cubicBezTo>
                    <a:pt x="99" y="43"/>
                    <a:pt x="99" y="43"/>
                    <a:pt x="99" y="43"/>
                  </a:cubicBezTo>
                  <a:cubicBezTo>
                    <a:pt x="99" y="42"/>
                    <a:pt x="99" y="42"/>
                    <a:pt x="99" y="42"/>
                  </a:cubicBezTo>
                  <a:cubicBezTo>
                    <a:pt x="98" y="42"/>
                    <a:pt x="98" y="42"/>
                    <a:pt x="98" y="42"/>
                  </a:cubicBezTo>
                  <a:cubicBezTo>
                    <a:pt x="98" y="42"/>
                    <a:pt x="97" y="42"/>
                    <a:pt x="97" y="42"/>
                  </a:cubicBezTo>
                  <a:cubicBezTo>
                    <a:pt x="94" y="45"/>
                    <a:pt x="94" y="45"/>
                    <a:pt x="94" y="45"/>
                  </a:cubicBezTo>
                  <a:cubicBezTo>
                    <a:pt x="95" y="42"/>
                    <a:pt x="95" y="42"/>
                    <a:pt x="95" y="42"/>
                  </a:cubicBezTo>
                  <a:cubicBezTo>
                    <a:pt x="93" y="44"/>
                    <a:pt x="93" y="44"/>
                    <a:pt x="93" y="44"/>
                  </a:cubicBezTo>
                  <a:cubicBezTo>
                    <a:pt x="95" y="40"/>
                    <a:pt x="95" y="40"/>
                    <a:pt x="95" y="40"/>
                  </a:cubicBezTo>
                  <a:cubicBezTo>
                    <a:pt x="94" y="40"/>
                    <a:pt x="94" y="40"/>
                    <a:pt x="94" y="40"/>
                  </a:cubicBezTo>
                  <a:cubicBezTo>
                    <a:pt x="94" y="40"/>
                    <a:pt x="94" y="39"/>
                    <a:pt x="93" y="39"/>
                  </a:cubicBezTo>
                  <a:cubicBezTo>
                    <a:pt x="93" y="39"/>
                    <a:pt x="93" y="39"/>
                    <a:pt x="93" y="39"/>
                  </a:cubicBezTo>
                  <a:cubicBezTo>
                    <a:pt x="93" y="38"/>
                    <a:pt x="92" y="38"/>
                    <a:pt x="92" y="38"/>
                  </a:cubicBezTo>
                  <a:cubicBezTo>
                    <a:pt x="92" y="38"/>
                    <a:pt x="91" y="38"/>
                    <a:pt x="91" y="38"/>
                  </a:cubicBezTo>
                  <a:cubicBezTo>
                    <a:pt x="91" y="38"/>
                    <a:pt x="90" y="38"/>
                    <a:pt x="90" y="38"/>
                  </a:cubicBezTo>
                  <a:cubicBezTo>
                    <a:pt x="89" y="39"/>
                    <a:pt x="89" y="39"/>
                    <a:pt x="89" y="39"/>
                  </a:cubicBezTo>
                  <a:cubicBezTo>
                    <a:pt x="88" y="39"/>
                    <a:pt x="87" y="40"/>
                    <a:pt x="86" y="40"/>
                  </a:cubicBezTo>
                  <a:cubicBezTo>
                    <a:pt x="86" y="41"/>
                    <a:pt x="86" y="41"/>
                    <a:pt x="86" y="41"/>
                  </a:cubicBezTo>
                  <a:cubicBezTo>
                    <a:pt x="85" y="44"/>
                    <a:pt x="85" y="44"/>
                    <a:pt x="85" y="44"/>
                  </a:cubicBezTo>
                  <a:cubicBezTo>
                    <a:pt x="84" y="43"/>
                    <a:pt x="84" y="43"/>
                    <a:pt x="84" y="43"/>
                  </a:cubicBezTo>
                  <a:cubicBezTo>
                    <a:pt x="84" y="44"/>
                    <a:pt x="84" y="44"/>
                    <a:pt x="84" y="44"/>
                  </a:cubicBezTo>
                  <a:cubicBezTo>
                    <a:pt x="83" y="44"/>
                    <a:pt x="83" y="44"/>
                    <a:pt x="83" y="44"/>
                  </a:cubicBezTo>
                  <a:cubicBezTo>
                    <a:pt x="83" y="44"/>
                    <a:pt x="82" y="45"/>
                    <a:pt x="82" y="45"/>
                  </a:cubicBezTo>
                  <a:cubicBezTo>
                    <a:pt x="81" y="45"/>
                    <a:pt x="81" y="45"/>
                    <a:pt x="81" y="45"/>
                  </a:cubicBezTo>
                  <a:cubicBezTo>
                    <a:pt x="80" y="45"/>
                    <a:pt x="80" y="45"/>
                    <a:pt x="80" y="45"/>
                  </a:cubicBezTo>
                  <a:cubicBezTo>
                    <a:pt x="80" y="45"/>
                    <a:pt x="80" y="45"/>
                    <a:pt x="79" y="45"/>
                  </a:cubicBezTo>
                  <a:cubicBezTo>
                    <a:pt x="78" y="44"/>
                    <a:pt x="78" y="44"/>
                    <a:pt x="78" y="44"/>
                  </a:cubicBezTo>
                  <a:cubicBezTo>
                    <a:pt x="77" y="44"/>
                    <a:pt x="77" y="44"/>
                    <a:pt x="77" y="44"/>
                  </a:cubicBezTo>
                  <a:cubicBezTo>
                    <a:pt x="77" y="44"/>
                    <a:pt x="76" y="44"/>
                    <a:pt x="76" y="43"/>
                  </a:cubicBezTo>
                  <a:cubicBezTo>
                    <a:pt x="75" y="43"/>
                    <a:pt x="75" y="43"/>
                    <a:pt x="75" y="43"/>
                  </a:cubicBezTo>
                  <a:cubicBezTo>
                    <a:pt x="75" y="43"/>
                    <a:pt x="74" y="43"/>
                    <a:pt x="74" y="42"/>
                  </a:cubicBezTo>
                  <a:cubicBezTo>
                    <a:pt x="73" y="42"/>
                    <a:pt x="73" y="42"/>
                    <a:pt x="73" y="42"/>
                  </a:cubicBezTo>
                  <a:cubicBezTo>
                    <a:pt x="73" y="42"/>
                    <a:pt x="72" y="41"/>
                    <a:pt x="72" y="41"/>
                  </a:cubicBezTo>
                  <a:cubicBezTo>
                    <a:pt x="72" y="41"/>
                    <a:pt x="71" y="41"/>
                    <a:pt x="71" y="41"/>
                  </a:cubicBezTo>
                  <a:cubicBezTo>
                    <a:pt x="70" y="41"/>
                    <a:pt x="69" y="41"/>
                    <a:pt x="68" y="40"/>
                  </a:cubicBezTo>
                  <a:cubicBezTo>
                    <a:pt x="65" y="38"/>
                    <a:pt x="62" y="35"/>
                    <a:pt x="61" y="31"/>
                  </a:cubicBezTo>
                  <a:cubicBezTo>
                    <a:pt x="60" y="30"/>
                    <a:pt x="60" y="30"/>
                    <a:pt x="60" y="30"/>
                  </a:cubicBezTo>
                  <a:cubicBezTo>
                    <a:pt x="57" y="31"/>
                    <a:pt x="57" y="31"/>
                    <a:pt x="57" y="31"/>
                  </a:cubicBezTo>
                  <a:cubicBezTo>
                    <a:pt x="60" y="29"/>
                    <a:pt x="60" y="29"/>
                    <a:pt x="60" y="29"/>
                  </a:cubicBezTo>
                  <a:cubicBezTo>
                    <a:pt x="60" y="28"/>
                    <a:pt x="60" y="28"/>
                    <a:pt x="60" y="28"/>
                  </a:cubicBezTo>
                  <a:cubicBezTo>
                    <a:pt x="60" y="27"/>
                    <a:pt x="60" y="27"/>
                    <a:pt x="60" y="26"/>
                  </a:cubicBezTo>
                  <a:cubicBezTo>
                    <a:pt x="60" y="26"/>
                    <a:pt x="60" y="26"/>
                    <a:pt x="60" y="26"/>
                  </a:cubicBezTo>
                  <a:cubicBezTo>
                    <a:pt x="59" y="25"/>
                    <a:pt x="59" y="25"/>
                    <a:pt x="59" y="24"/>
                  </a:cubicBezTo>
                  <a:cubicBezTo>
                    <a:pt x="60" y="23"/>
                    <a:pt x="60" y="23"/>
                    <a:pt x="60" y="23"/>
                  </a:cubicBezTo>
                  <a:cubicBezTo>
                    <a:pt x="60" y="22"/>
                    <a:pt x="60" y="21"/>
                    <a:pt x="60" y="21"/>
                  </a:cubicBezTo>
                  <a:cubicBezTo>
                    <a:pt x="60" y="20"/>
                    <a:pt x="60" y="20"/>
                    <a:pt x="60" y="20"/>
                  </a:cubicBezTo>
                  <a:cubicBezTo>
                    <a:pt x="61" y="20"/>
                    <a:pt x="61" y="20"/>
                    <a:pt x="61" y="20"/>
                  </a:cubicBezTo>
                  <a:cubicBezTo>
                    <a:pt x="61" y="20"/>
                    <a:pt x="61" y="20"/>
                    <a:pt x="61" y="20"/>
                  </a:cubicBezTo>
                  <a:cubicBezTo>
                    <a:pt x="60" y="20"/>
                    <a:pt x="60" y="20"/>
                    <a:pt x="59" y="20"/>
                  </a:cubicBezTo>
                  <a:cubicBezTo>
                    <a:pt x="59" y="20"/>
                    <a:pt x="59" y="20"/>
                    <a:pt x="59" y="20"/>
                  </a:cubicBezTo>
                  <a:cubicBezTo>
                    <a:pt x="58" y="20"/>
                    <a:pt x="57" y="20"/>
                    <a:pt x="57" y="20"/>
                  </a:cubicBezTo>
                  <a:cubicBezTo>
                    <a:pt x="55" y="20"/>
                    <a:pt x="55" y="20"/>
                    <a:pt x="55" y="20"/>
                  </a:cubicBezTo>
                  <a:cubicBezTo>
                    <a:pt x="54" y="18"/>
                    <a:pt x="54" y="18"/>
                    <a:pt x="54" y="18"/>
                  </a:cubicBezTo>
                  <a:cubicBezTo>
                    <a:pt x="54" y="18"/>
                    <a:pt x="54" y="17"/>
                    <a:pt x="54" y="16"/>
                  </a:cubicBezTo>
                  <a:cubicBezTo>
                    <a:pt x="54" y="16"/>
                    <a:pt x="54" y="16"/>
                    <a:pt x="54" y="16"/>
                  </a:cubicBezTo>
                  <a:cubicBezTo>
                    <a:pt x="53" y="14"/>
                    <a:pt x="52" y="12"/>
                    <a:pt x="51" y="10"/>
                  </a:cubicBezTo>
                  <a:cubicBezTo>
                    <a:pt x="51" y="10"/>
                    <a:pt x="50" y="10"/>
                    <a:pt x="50" y="9"/>
                  </a:cubicBezTo>
                  <a:cubicBezTo>
                    <a:pt x="50" y="9"/>
                    <a:pt x="50" y="9"/>
                    <a:pt x="50" y="9"/>
                  </a:cubicBezTo>
                  <a:cubicBezTo>
                    <a:pt x="48" y="8"/>
                    <a:pt x="47" y="6"/>
                    <a:pt x="45" y="4"/>
                  </a:cubicBezTo>
                  <a:cubicBezTo>
                    <a:pt x="43" y="2"/>
                    <a:pt x="43" y="2"/>
                    <a:pt x="43" y="2"/>
                  </a:cubicBezTo>
                  <a:cubicBezTo>
                    <a:pt x="42" y="2"/>
                    <a:pt x="42" y="2"/>
                    <a:pt x="42" y="2"/>
                  </a:cubicBezTo>
                  <a:cubicBezTo>
                    <a:pt x="41" y="1"/>
                    <a:pt x="41" y="1"/>
                    <a:pt x="40" y="1"/>
                  </a:cubicBezTo>
                  <a:cubicBezTo>
                    <a:pt x="39" y="0"/>
                    <a:pt x="37"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1552"/>
            <p:cNvSpPr/>
            <p:nvPr/>
          </p:nvSpPr>
          <p:spPr bwMode="auto">
            <a:xfrm flipH="1">
              <a:off x="3346443" y="3621626"/>
              <a:ext cx="0" cy="2685"/>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1553"/>
            <p:cNvSpPr/>
            <p:nvPr/>
          </p:nvSpPr>
          <p:spPr bwMode="auto">
            <a:xfrm flipH="1">
              <a:off x="3346443" y="3621626"/>
              <a:ext cx="0" cy="2685"/>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Freeform 1554"/>
            <p:cNvSpPr/>
            <p:nvPr/>
          </p:nvSpPr>
          <p:spPr bwMode="auto">
            <a:xfrm>
              <a:off x="3032336" y="3145096"/>
              <a:ext cx="536934" cy="996014"/>
            </a:xfrm>
            <a:custGeom>
              <a:gdLst>
                <a:gd name="T0" fmla="*/ 60 w 169"/>
                <a:gd name="T1" fmla="*/ 11 h 314"/>
                <a:gd name="T2" fmla="*/ 46 w 169"/>
                <a:gd name="T3" fmla="*/ 14 h 314"/>
                <a:gd name="T4" fmla="*/ 33 w 169"/>
                <a:gd name="T5" fmla="*/ 16 h 314"/>
                <a:gd name="T6" fmla="*/ 25 w 169"/>
                <a:gd name="T7" fmla="*/ 15 h 314"/>
                <a:gd name="T8" fmla="*/ 18 w 169"/>
                <a:gd name="T9" fmla="*/ 22 h 314"/>
                <a:gd name="T10" fmla="*/ 6 w 169"/>
                <a:gd name="T11" fmla="*/ 15 h 314"/>
                <a:gd name="T12" fmla="*/ 11 w 169"/>
                <a:gd name="T13" fmla="*/ 35 h 314"/>
                <a:gd name="T14" fmla="*/ 17 w 169"/>
                <a:gd name="T15" fmla="*/ 35 h 314"/>
                <a:gd name="T16" fmla="*/ 17 w 169"/>
                <a:gd name="T17" fmla="*/ 46 h 314"/>
                <a:gd name="T18" fmla="*/ 24 w 169"/>
                <a:gd name="T19" fmla="*/ 56 h 314"/>
                <a:gd name="T20" fmla="*/ 31 w 169"/>
                <a:gd name="T21" fmla="*/ 60 h 314"/>
                <a:gd name="T22" fmla="*/ 38 w 169"/>
                <a:gd name="T23" fmla="*/ 55 h 314"/>
                <a:gd name="T24" fmla="*/ 46 w 169"/>
                <a:gd name="T25" fmla="*/ 53 h 314"/>
                <a:gd name="T26" fmla="*/ 52 w 169"/>
                <a:gd name="T27" fmla="*/ 58 h 314"/>
                <a:gd name="T28" fmla="*/ 58 w 169"/>
                <a:gd name="T29" fmla="*/ 64 h 314"/>
                <a:gd name="T30" fmla="*/ 60 w 169"/>
                <a:gd name="T31" fmla="*/ 70 h 314"/>
                <a:gd name="T32" fmla="*/ 58 w 169"/>
                <a:gd name="T33" fmla="*/ 88 h 314"/>
                <a:gd name="T34" fmla="*/ 52 w 169"/>
                <a:gd name="T35" fmla="*/ 91 h 314"/>
                <a:gd name="T36" fmla="*/ 43 w 169"/>
                <a:gd name="T37" fmla="*/ 94 h 314"/>
                <a:gd name="T38" fmla="*/ 73 w 169"/>
                <a:gd name="T39" fmla="*/ 112 h 314"/>
                <a:gd name="T40" fmla="*/ 78 w 169"/>
                <a:gd name="T41" fmla="*/ 125 h 314"/>
                <a:gd name="T42" fmla="*/ 93 w 169"/>
                <a:gd name="T43" fmla="*/ 141 h 314"/>
                <a:gd name="T44" fmla="*/ 103 w 169"/>
                <a:gd name="T45" fmla="*/ 154 h 314"/>
                <a:gd name="T46" fmla="*/ 104 w 169"/>
                <a:gd name="T47" fmla="*/ 161 h 314"/>
                <a:gd name="T48" fmla="*/ 110 w 169"/>
                <a:gd name="T49" fmla="*/ 162 h 314"/>
                <a:gd name="T50" fmla="*/ 114 w 169"/>
                <a:gd name="T51" fmla="*/ 167 h 314"/>
                <a:gd name="T52" fmla="*/ 123 w 169"/>
                <a:gd name="T53" fmla="*/ 173 h 314"/>
                <a:gd name="T54" fmla="*/ 124 w 169"/>
                <a:gd name="T55" fmla="*/ 186 h 314"/>
                <a:gd name="T56" fmla="*/ 125 w 169"/>
                <a:gd name="T57" fmla="*/ 201 h 314"/>
                <a:gd name="T58" fmla="*/ 126 w 169"/>
                <a:gd name="T59" fmla="*/ 209 h 314"/>
                <a:gd name="T60" fmla="*/ 125 w 169"/>
                <a:gd name="T61" fmla="*/ 228 h 314"/>
                <a:gd name="T62" fmla="*/ 126 w 169"/>
                <a:gd name="T63" fmla="*/ 249 h 314"/>
                <a:gd name="T64" fmla="*/ 127 w 169"/>
                <a:gd name="T65" fmla="*/ 262 h 314"/>
                <a:gd name="T66" fmla="*/ 116 w 169"/>
                <a:gd name="T67" fmla="*/ 268 h 314"/>
                <a:gd name="T68" fmla="*/ 100 w 169"/>
                <a:gd name="T69" fmla="*/ 278 h 314"/>
                <a:gd name="T70" fmla="*/ 86 w 169"/>
                <a:gd name="T71" fmla="*/ 284 h 314"/>
                <a:gd name="T72" fmla="*/ 95 w 169"/>
                <a:gd name="T73" fmla="*/ 301 h 314"/>
                <a:gd name="T74" fmla="*/ 81 w 169"/>
                <a:gd name="T75" fmla="*/ 299 h 314"/>
                <a:gd name="T76" fmla="*/ 89 w 169"/>
                <a:gd name="T77" fmla="*/ 313 h 314"/>
                <a:gd name="T78" fmla="*/ 103 w 169"/>
                <a:gd name="T79" fmla="*/ 308 h 314"/>
                <a:gd name="T80" fmla="*/ 109 w 169"/>
                <a:gd name="T81" fmla="*/ 302 h 314"/>
                <a:gd name="T82" fmla="*/ 113 w 169"/>
                <a:gd name="T83" fmla="*/ 312 h 314"/>
                <a:gd name="T84" fmla="*/ 164 w 169"/>
                <a:gd name="T85" fmla="*/ 275 h 314"/>
                <a:gd name="T86" fmla="*/ 166 w 169"/>
                <a:gd name="T87" fmla="*/ 263 h 314"/>
                <a:gd name="T88" fmla="*/ 167 w 169"/>
                <a:gd name="T89" fmla="*/ 254 h 314"/>
                <a:gd name="T90" fmla="*/ 164 w 169"/>
                <a:gd name="T91" fmla="*/ 224 h 314"/>
                <a:gd name="T92" fmla="*/ 142 w 169"/>
                <a:gd name="T93" fmla="*/ 176 h 314"/>
                <a:gd name="T94" fmla="*/ 139 w 169"/>
                <a:gd name="T95" fmla="*/ 171 h 314"/>
                <a:gd name="T96" fmla="*/ 94 w 169"/>
                <a:gd name="T97" fmla="*/ 134 h 314"/>
                <a:gd name="T98" fmla="*/ 78 w 169"/>
                <a:gd name="T99" fmla="*/ 104 h 314"/>
                <a:gd name="T100" fmla="*/ 100 w 169"/>
                <a:gd name="T101" fmla="*/ 72 h 314"/>
                <a:gd name="T102" fmla="*/ 109 w 169"/>
                <a:gd name="T103" fmla="*/ 57 h 314"/>
                <a:gd name="T104" fmla="*/ 115 w 169"/>
                <a:gd name="T105" fmla="*/ 56 h 314"/>
                <a:gd name="T106" fmla="*/ 125 w 169"/>
                <a:gd name="T107" fmla="*/ 50 h 314"/>
                <a:gd name="T108" fmla="*/ 122 w 169"/>
                <a:gd name="T109" fmla="*/ 42 h 314"/>
                <a:gd name="T110" fmla="*/ 110 w 169"/>
                <a:gd name="T111" fmla="*/ 34 h 314"/>
                <a:gd name="T112" fmla="*/ 100 w 169"/>
                <a:gd name="T113" fmla="*/ 31 h 314"/>
                <a:gd name="T114" fmla="*/ 99 w 169"/>
                <a:gd name="T115" fmla="*/ 23 h 314"/>
                <a:gd name="T116" fmla="*/ 101 w 169"/>
                <a:gd name="T117" fmla="*/ 11 h 314"/>
                <a:gd name="T118" fmla="*/ 80 w 169"/>
                <a:gd name="T119" fmla="*/ 8 h 314"/>
                <a:gd name="T120" fmla="*/ 71 w 169"/>
                <a:gd name="T121" fmla="*/ 0 h 3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 h="314">
                  <a:moveTo>
                    <a:pt x="70" y="0"/>
                  </a:moveTo>
                  <a:cubicBezTo>
                    <a:pt x="69" y="0"/>
                    <a:pt x="68" y="1"/>
                    <a:pt x="67" y="2"/>
                  </a:cubicBezTo>
                  <a:cubicBezTo>
                    <a:pt x="66" y="3"/>
                    <a:pt x="66" y="3"/>
                    <a:pt x="66" y="3"/>
                  </a:cubicBezTo>
                  <a:cubicBezTo>
                    <a:pt x="66" y="3"/>
                    <a:pt x="65" y="3"/>
                    <a:pt x="65" y="4"/>
                  </a:cubicBezTo>
                  <a:cubicBezTo>
                    <a:pt x="64" y="6"/>
                    <a:pt x="63" y="7"/>
                    <a:pt x="62" y="9"/>
                  </a:cubicBezTo>
                  <a:cubicBezTo>
                    <a:pt x="61" y="10"/>
                    <a:pt x="61" y="10"/>
                    <a:pt x="60" y="11"/>
                  </a:cubicBezTo>
                  <a:cubicBezTo>
                    <a:pt x="60" y="11"/>
                    <a:pt x="60" y="11"/>
                    <a:pt x="60" y="11"/>
                  </a:cubicBezTo>
                  <a:cubicBezTo>
                    <a:pt x="58" y="12"/>
                    <a:pt x="57" y="13"/>
                    <a:pt x="56" y="13"/>
                  </a:cubicBezTo>
                  <a:cubicBezTo>
                    <a:pt x="55" y="14"/>
                    <a:pt x="55" y="14"/>
                    <a:pt x="55" y="14"/>
                  </a:cubicBezTo>
                  <a:cubicBezTo>
                    <a:pt x="51" y="15"/>
                    <a:pt x="51" y="15"/>
                    <a:pt x="51" y="15"/>
                  </a:cubicBezTo>
                  <a:cubicBezTo>
                    <a:pt x="51" y="15"/>
                    <a:pt x="50" y="15"/>
                    <a:pt x="50" y="15"/>
                  </a:cubicBezTo>
                  <a:cubicBezTo>
                    <a:pt x="48" y="15"/>
                    <a:pt x="47" y="15"/>
                    <a:pt x="46" y="14"/>
                  </a:cubicBezTo>
                  <a:cubicBezTo>
                    <a:pt x="42" y="18"/>
                    <a:pt x="42" y="18"/>
                    <a:pt x="42" y="18"/>
                  </a:cubicBezTo>
                  <a:cubicBezTo>
                    <a:pt x="41" y="20"/>
                    <a:pt x="40" y="20"/>
                    <a:pt x="39" y="20"/>
                  </a:cubicBezTo>
                  <a:cubicBezTo>
                    <a:pt x="37" y="20"/>
                    <a:pt x="35" y="19"/>
                    <a:pt x="34" y="17"/>
                  </a:cubicBezTo>
                  <a:cubicBezTo>
                    <a:pt x="34" y="17"/>
                    <a:pt x="34" y="17"/>
                    <a:pt x="34" y="17"/>
                  </a:cubicBezTo>
                  <a:cubicBezTo>
                    <a:pt x="34" y="16"/>
                    <a:pt x="34" y="16"/>
                    <a:pt x="34" y="16"/>
                  </a:cubicBezTo>
                  <a:cubicBezTo>
                    <a:pt x="33" y="16"/>
                    <a:pt x="33" y="16"/>
                    <a:pt x="33" y="16"/>
                  </a:cubicBezTo>
                  <a:cubicBezTo>
                    <a:pt x="33" y="16"/>
                    <a:pt x="33" y="16"/>
                    <a:pt x="33" y="16"/>
                  </a:cubicBezTo>
                  <a:cubicBezTo>
                    <a:pt x="32" y="16"/>
                    <a:pt x="32" y="17"/>
                    <a:pt x="31" y="18"/>
                  </a:cubicBezTo>
                  <a:cubicBezTo>
                    <a:pt x="28" y="20"/>
                    <a:pt x="28" y="20"/>
                    <a:pt x="28" y="20"/>
                  </a:cubicBezTo>
                  <a:cubicBezTo>
                    <a:pt x="27" y="17"/>
                    <a:pt x="27" y="17"/>
                    <a:pt x="27" y="17"/>
                  </a:cubicBezTo>
                  <a:cubicBezTo>
                    <a:pt x="26" y="17"/>
                    <a:pt x="26" y="17"/>
                    <a:pt x="26" y="16"/>
                  </a:cubicBezTo>
                  <a:cubicBezTo>
                    <a:pt x="25" y="15"/>
                    <a:pt x="25" y="15"/>
                    <a:pt x="25" y="15"/>
                  </a:cubicBezTo>
                  <a:cubicBezTo>
                    <a:pt x="25" y="15"/>
                    <a:pt x="25" y="15"/>
                    <a:pt x="25" y="15"/>
                  </a:cubicBezTo>
                  <a:cubicBezTo>
                    <a:pt x="22" y="17"/>
                    <a:pt x="22" y="17"/>
                    <a:pt x="22" y="17"/>
                  </a:cubicBezTo>
                  <a:cubicBezTo>
                    <a:pt x="22" y="18"/>
                    <a:pt x="22" y="19"/>
                    <a:pt x="21" y="19"/>
                  </a:cubicBezTo>
                  <a:cubicBezTo>
                    <a:pt x="20" y="22"/>
                    <a:pt x="20" y="22"/>
                    <a:pt x="20" y="22"/>
                  </a:cubicBezTo>
                  <a:cubicBezTo>
                    <a:pt x="18" y="22"/>
                    <a:pt x="18" y="22"/>
                    <a:pt x="18" y="22"/>
                  </a:cubicBezTo>
                  <a:cubicBezTo>
                    <a:pt x="18" y="22"/>
                    <a:pt x="18" y="22"/>
                    <a:pt x="18" y="22"/>
                  </a:cubicBezTo>
                  <a:cubicBezTo>
                    <a:pt x="16" y="22"/>
                    <a:pt x="14" y="20"/>
                    <a:pt x="13" y="19"/>
                  </a:cubicBezTo>
                  <a:cubicBezTo>
                    <a:pt x="13" y="19"/>
                    <a:pt x="13" y="19"/>
                    <a:pt x="13" y="19"/>
                  </a:cubicBezTo>
                  <a:cubicBezTo>
                    <a:pt x="12" y="18"/>
                    <a:pt x="12" y="18"/>
                    <a:pt x="11" y="17"/>
                  </a:cubicBezTo>
                  <a:cubicBezTo>
                    <a:pt x="11" y="17"/>
                    <a:pt x="10" y="17"/>
                    <a:pt x="10" y="16"/>
                  </a:cubicBezTo>
                  <a:cubicBezTo>
                    <a:pt x="8" y="15"/>
                    <a:pt x="8" y="15"/>
                    <a:pt x="8" y="15"/>
                  </a:cubicBezTo>
                  <a:cubicBezTo>
                    <a:pt x="7" y="15"/>
                    <a:pt x="6" y="15"/>
                    <a:pt x="6" y="15"/>
                  </a:cubicBezTo>
                  <a:cubicBezTo>
                    <a:pt x="5" y="15"/>
                    <a:pt x="5" y="15"/>
                    <a:pt x="5" y="15"/>
                  </a:cubicBezTo>
                  <a:cubicBezTo>
                    <a:pt x="4" y="17"/>
                    <a:pt x="2" y="19"/>
                    <a:pt x="0" y="20"/>
                  </a:cubicBezTo>
                  <a:cubicBezTo>
                    <a:pt x="1" y="21"/>
                    <a:pt x="1" y="21"/>
                    <a:pt x="1" y="21"/>
                  </a:cubicBezTo>
                  <a:cubicBezTo>
                    <a:pt x="3" y="23"/>
                    <a:pt x="4" y="25"/>
                    <a:pt x="6" y="26"/>
                  </a:cubicBezTo>
                  <a:cubicBezTo>
                    <a:pt x="6" y="27"/>
                    <a:pt x="7" y="27"/>
                    <a:pt x="7" y="28"/>
                  </a:cubicBezTo>
                  <a:cubicBezTo>
                    <a:pt x="9" y="30"/>
                    <a:pt x="10" y="32"/>
                    <a:pt x="11" y="35"/>
                  </a:cubicBezTo>
                  <a:cubicBezTo>
                    <a:pt x="12" y="34"/>
                    <a:pt x="12" y="34"/>
                    <a:pt x="12" y="34"/>
                  </a:cubicBezTo>
                  <a:cubicBezTo>
                    <a:pt x="12" y="34"/>
                    <a:pt x="12" y="34"/>
                    <a:pt x="12" y="34"/>
                  </a:cubicBezTo>
                  <a:cubicBezTo>
                    <a:pt x="13" y="34"/>
                    <a:pt x="13" y="34"/>
                    <a:pt x="13" y="34"/>
                  </a:cubicBezTo>
                  <a:cubicBezTo>
                    <a:pt x="13" y="34"/>
                    <a:pt x="13" y="34"/>
                    <a:pt x="13" y="34"/>
                  </a:cubicBezTo>
                  <a:cubicBezTo>
                    <a:pt x="15" y="34"/>
                    <a:pt x="16" y="34"/>
                    <a:pt x="17" y="34"/>
                  </a:cubicBezTo>
                  <a:cubicBezTo>
                    <a:pt x="17" y="35"/>
                    <a:pt x="17" y="35"/>
                    <a:pt x="17" y="35"/>
                  </a:cubicBezTo>
                  <a:cubicBezTo>
                    <a:pt x="18" y="35"/>
                    <a:pt x="18" y="36"/>
                    <a:pt x="19" y="37"/>
                  </a:cubicBezTo>
                  <a:cubicBezTo>
                    <a:pt x="20" y="39"/>
                    <a:pt x="19" y="40"/>
                    <a:pt x="19" y="41"/>
                  </a:cubicBezTo>
                  <a:cubicBezTo>
                    <a:pt x="18" y="44"/>
                    <a:pt x="18" y="44"/>
                    <a:pt x="18" y="44"/>
                  </a:cubicBezTo>
                  <a:cubicBezTo>
                    <a:pt x="18" y="44"/>
                    <a:pt x="17" y="45"/>
                    <a:pt x="17" y="45"/>
                  </a:cubicBezTo>
                  <a:cubicBezTo>
                    <a:pt x="17" y="46"/>
                    <a:pt x="17" y="46"/>
                    <a:pt x="17" y="46"/>
                  </a:cubicBezTo>
                  <a:cubicBezTo>
                    <a:pt x="17" y="46"/>
                    <a:pt x="17" y="46"/>
                    <a:pt x="17" y="46"/>
                  </a:cubicBezTo>
                  <a:cubicBezTo>
                    <a:pt x="17" y="47"/>
                    <a:pt x="17" y="47"/>
                    <a:pt x="17" y="47"/>
                  </a:cubicBezTo>
                  <a:cubicBezTo>
                    <a:pt x="17" y="47"/>
                    <a:pt x="17" y="48"/>
                    <a:pt x="17" y="48"/>
                  </a:cubicBezTo>
                  <a:cubicBezTo>
                    <a:pt x="18" y="49"/>
                    <a:pt x="18" y="49"/>
                    <a:pt x="18" y="49"/>
                  </a:cubicBezTo>
                  <a:cubicBezTo>
                    <a:pt x="18" y="50"/>
                    <a:pt x="18" y="50"/>
                    <a:pt x="18" y="50"/>
                  </a:cubicBezTo>
                  <a:cubicBezTo>
                    <a:pt x="19" y="53"/>
                    <a:pt x="21" y="55"/>
                    <a:pt x="23" y="56"/>
                  </a:cubicBezTo>
                  <a:cubicBezTo>
                    <a:pt x="24" y="56"/>
                    <a:pt x="24" y="56"/>
                    <a:pt x="24" y="56"/>
                  </a:cubicBezTo>
                  <a:cubicBezTo>
                    <a:pt x="24" y="56"/>
                    <a:pt x="24" y="56"/>
                    <a:pt x="24" y="56"/>
                  </a:cubicBezTo>
                  <a:cubicBezTo>
                    <a:pt x="25" y="57"/>
                    <a:pt x="26" y="57"/>
                    <a:pt x="26" y="57"/>
                  </a:cubicBezTo>
                  <a:cubicBezTo>
                    <a:pt x="27" y="57"/>
                    <a:pt x="28" y="58"/>
                    <a:pt x="28" y="58"/>
                  </a:cubicBezTo>
                  <a:cubicBezTo>
                    <a:pt x="29" y="58"/>
                    <a:pt x="29" y="58"/>
                    <a:pt x="29" y="58"/>
                  </a:cubicBezTo>
                  <a:cubicBezTo>
                    <a:pt x="29" y="59"/>
                    <a:pt x="29" y="59"/>
                    <a:pt x="29" y="59"/>
                  </a:cubicBezTo>
                  <a:cubicBezTo>
                    <a:pt x="30" y="59"/>
                    <a:pt x="31" y="59"/>
                    <a:pt x="31" y="60"/>
                  </a:cubicBezTo>
                  <a:cubicBezTo>
                    <a:pt x="31" y="59"/>
                    <a:pt x="31" y="59"/>
                    <a:pt x="31" y="59"/>
                  </a:cubicBezTo>
                  <a:cubicBezTo>
                    <a:pt x="32" y="60"/>
                    <a:pt x="32" y="60"/>
                    <a:pt x="32" y="60"/>
                  </a:cubicBezTo>
                  <a:cubicBezTo>
                    <a:pt x="32" y="60"/>
                    <a:pt x="32" y="60"/>
                    <a:pt x="32" y="60"/>
                  </a:cubicBezTo>
                  <a:cubicBezTo>
                    <a:pt x="32" y="59"/>
                    <a:pt x="32" y="59"/>
                    <a:pt x="32" y="59"/>
                  </a:cubicBezTo>
                  <a:cubicBezTo>
                    <a:pt x="33" y="58"/>
                    <a:pt x="33" y="58"/>
                    <a:pt x="33" y="58"/>
                  </a:cubicBezTo>
                  <a:cubicBezTo>
                    <a:pt x="34" y="57"/>
                    <a:pt x="36" y="55"/>
                    <a:pt x="38" y="55"/>
                  </a:cubicBezTo>
                  <a:cubicBezTo>
                    <a:pt x="39" y="54"/>
                    <a:pt x="39" y="54"/>
                    <a:pt x="39" y="54"/>
                  </a:cubicBezTo>
                  <a:cubicBezTo>
                    <a:pt x="39" y="54"/>
                    <a:pt x="40" y="54"/>
                    <a:pt x="40" y="54"/>
                  </a:cubicBezTo>
                  <a:cubicBezTo>
                    <a:pt x="40" y="53"/>
                    <a:pt x="40" y="53"/>
                    <a:pt x="40" y="53"/>
                  </a:cubicBezTo>
                  <a:cubicBezTo>
                    <a:pt x="41" y="53"/>
                    <a:pt x="42" y="53"/>
                    <a:pt x="43" y="53"/>
                  </a:cubicBezTo>
                  <a:cubicBezTo>
                    <a:pt x="44" y="53"/>
                    <a:pt x="44" y="53"/>
                    <a:pt x="45" y="53"/>
                  </a:cubicBezTo>
                  <a:cubicBezTo>
                    <a:pt x="46" y="53"/>
                    <a:pt x="46" y="53"/>
                    <a:pt x="46" y="53"/>
                  </a:cubicBezTo>
                  <a:cubicBezTo>
                    <a:pt x="48" y="54"/>
                    <a:pt x="49" y="55"/>
                    <a:pt x="49" y="56"/>
                  </a:cubicBezTo>
                  <a:cubicBezTo>
                    <a:pt x="49" y="56"/>
                    <a:pt x="49" y="56"/>
                    <a:pt x="49" y="56"/>
                  </a:cubicBezTo>
                  <a:cubicBezTo>
                    <a:pt x="50" y="56"/>
                    <a:pt x="50" y="56"/>
                    <a:pt x="50" y="56"/>
                  </a:cubicBezTo>
                  <a:cubicBezTo>
                    <a:pt x="51" y="58"/>
                    <a:pt x="51" y="58"/>
                    <a:pt x="51" y="58"/>
                  </a:cubicBezTo>
                  <a:cubicBezTo>
                    <a:pt x="51" y="58"/>
                    <a:pt x="51" y="58"/>
                    <a:pt x="51" y="58"/>
                  </a:cubicBezTo>
                  <a:cubicBezTo>
                    <a:pt x="52" y="58"/>
                    <a:pt x="52" y="58"/>
                    <a:pt x="52" y="58"/>
                  </a:cubicBezTo>
                  <a:cubicBezTo>
                    <a:pt x="52" y="58"/>
                    <a:pt x="53" y="58"/>
                    <a:pt x="54" y="59"/>
                  </a:cubicBezTo>
                  <a:cubicBezTo>
                    <a:pt x="55" y="60"/>
                    <a:pt x="55" y="60"/>
                    <a:pt x="55" y="60"/>
                  </a:cubicBezTo>
                  <a:cubicBezTo>
                    <a:pt x="55" y="60"/>
                    <a:pt x="55" y="60"/>
                    <a:pt x="55" y="60"/>
                  </a:cubicBezTo>
                  <a:cubicBezTo>
                    <a:pt x="56" y="60"/>
                    <a:pt x="56" y="60"/>
                    <a:pt x="56" y="60"/>
                  </a:cubicBezTo>
                  <a:cubicBezTo>
                    <a:pt x="57" y="61"/>
                    <a:pt x="57" y="62"/>
                    <a:pt x="57" y="62"/>
                  </a:cubicBezTo>
                  <a:cubicBezTo>
                    <a:pt x="58" y="63"/>
                    <a:pt x="58" y="63"/>
                    <a:pt x="58" y="64"/>
                  </a:cubicBezTo>
                  <a:cubicBezTo>
                    <a:pt x="57" y="65"/>
                    <a:pt x="57" y="65"/>
                    <a:pt x="57" y="66"/>
                  </a:cubicBezTo>
                  <a:cubicBezTo>
                    <a:pt x="56" y="67"/>
                    <a:pt x="56" y="67"/>
                    <a:pt x="56" y="67"/>
                  </a:cubicBezTo>
                  <a:cubicBezTo>
                    <a:pt x="56" y="67"/>
                    <a:pt x="56" y="67"/>
                    <a:pt x="56" y="67"/>
                  </a:cubicBezTo>
                  <a:cubicBezTo>
                    <a:pt x="57" y="67"/>
                    <a:pt x="58" y="68"/>
                    <a:pt x="59" y="69"/>
                  </a:cubicBezTo>
                  <a:cubicBezTo>
                    <a:pt x="60" y="70"/>
                    <a:pt x="60" y="70"/>
                    <a:pt x="60" y="70"/>
                  </a:cubicBezTo>
                  <a:cubicBezTo>
                    <a:pt x="60" y="70"/>
                    <a:pt x="60" y="70"/>
                    <a:pt x="60" y="70"/>
                  </a:cubicBezTo>
                  <a:cubicBezTo>
                    <a:pt x="62" y="71"/>
                    <a:pt x="65" y="73"/>
                    <a:pt x="65" y="75"/>
                  </a:cubicBezTo>
                  <a:cubicBezTo>
                    <a:pt x="65" y="76"/>
                    <a:pt x="65" y="76"/>
                    <a:pt x="65" y="76"/>
                  </a:cubicBezTo>
                  <a:cubicBezTo>
                    <a:pt x="66" y="79"/>
                    <a:pt x="65" y="82"/>
                    <a:pt x="63" y="84"/>
                  </a:cubicBezTo>
                  <a:cubicBezTo>
                    <a:pt x="62" y="85"/>
                    <a:pt x="61" y="86"/>
                    <a:pt x="60" y="87"/>
                  </a:cubicBezTo>
                  <a:cubicBezTo>
                    <a:pt x="59" y="87"/>
                    <a:pt x="59" y="88"/>
                    <a:pt x="58" y="88"/>
                  </a:cubicBezTo>
                  <a:cubicBezTo>
                    <a:pt x="58" y="88"/>
                    <a:pt x="58" y="88"/>
                    <a:pt x="58" y="88"/>
                  </a:cubicBezTo>
                  <a:cubicBezTo>
                    <a:pt x="58" y="89"/>
                    <a:pt x="58" y="90"/>
                    <a:pt x="57" y="90"/>
                  </a:cubicBezTo>
                  <a:cubicBezTo>
                    <a:pt x="56" y="91"/>
                    <a:pt x="56" y="91"/>
                    <a:pt x="55" y="91"/>
                  </a:cubicBezTo>
                  <a:cubicBezTo>
                    <a:pt x="55" y="91"/>
                    <a:pt x="55" y="91"/>
                    <a:pt x="55" y="91"/>
                  </a:cubicBezTo>
                  <a:cubicBezTo>
                    <a:pt x="54" y="91"/>
                    <a:pt x="54" y="91"/>
                    <a:pt x="53" y="91"/>
                  </a:cubicBezTo>
                  <a:cubicBezTo>
                    <a:pt x="52" y="91"/>
                    <a:pt x="52" y="91"/>
                    <a:pt x="52" y="91"/>
                  </a:cubicBezTo>
                  <a:cubicBezTo>
                    <a:pt x="52" y="91"/>
                    <a:pt x="52" y="91"/>
                    <a:pt x="52" y="91"/>
                  </a:cubicBezTo>
                  <a:cubicBezTo>
                    <a:pt x="51" y="91"/>
                    <a:pt x="51" y="91"/>
                    <a:pt x="50" y="91"/>
                  </a:cubicBezTo>
                  <a:cubicBezTo>
                    <a:pt x="50" y="91"/>
                    <a:pt x="50" y="91"/>
                    <a:pt x="50" y="91"/>
                  </a:cubicBezTo>
                  <a:cubicBezTo>
                    <a:pt x="48" y="90"/>
                    <a:pt x="48" y="90"/>
                    <a:pt x="48" y="90"/>
                  </a:cubicBezTo>
                  <a:cubicBezTo>
                    <a:pt x="47" y="90"/>
                    <a:pt x="45" y="90"/>
                    <a:pt x="44" y="90"/>
                  </a:cubicBezTo>
                  <a:cubicBezTo>
                    <a:pt x="44" y="90"/>
                    <a:pt x="44" y="90"/>
                    <a:pt x="44" y="90"/>
                  </a:cubicBezTo>
                  <a:cubicBezTo>
                    <a:pt x="44" y="91"/>
                    <a:pt x="44" y="92"/>
                    <a:pt x="43" y="94"/>
                  </a:cubicBezTo>
                  <a:cubicBezTo>
                    <a:pt x="43" y="95"/>
                    <a:pt x="42" y="95"/>
                    <a:pt x="42" y="96"/>
                  </a:cubicBezTo>
                  <a:cubicBezTo>
                    <a:pt x="42" y="96"/>
                    <a:pt x="42" y="96"/>
                    <a:pt x="42" y="96"/>
                  </a:cubicBezTo>
                  <a:cubicBezTo>
                    <a:pt x="48" y="100"/>
                    <a:pt x="55" y="103"/>
                    <a:pt x="61" y="106"/>
                  </a:cubicBezTo>
                  <a:cubicBezTo>
                    <a:pt x="63" y="107"/>
                    <a:pt x="63" y="107"/>
                    <a:pt x="63" y="107"/>
                  </a:cubicBezTo>
                  <a:cubicBezTo>
                    <a:pt x="65" y="108"/>
                    <a:pt x="67" y="109"/>
                    <a:pt x="70" y="110"/>
                  </a:cubicBezTo>
                  <a:cubicBezTo>
                    <a:pt x="73" y="112"/>
                    <a:pt x="73" y="112"/>
                    <a:pt x="73" y="112"/>
                  </a:cubicBezTo>
                  <a:cubicBezTo>
                    <a:pt x="70" y="115"/>
                    <a:pt x="70" y="115"/>
                    <a:pt x="70" y="115"/>
                  </a:cubicBezTo>
                  <a:cubicBezTo>
                    <a:pt x="70" y="115"/>
                    <a:pt x="70" y="115"/>
                    <a:pt x="70" y="116"/>
                  </a:cubicBezTo>
                  <a:cubicBezTo>
                    <a:pt x="69" y="116"/>
                    <a:pt x="69" y="117"/>
                    <a:pt x="69" y="117"/>
                  </a:cubicBezTo>
                  <a:cubicBezTo>
                    <a:pt x="69" y="117"/>
                    <a:pt x="70" y="117"/>
                    <a:pt x="70" y="117"/>
                  </a:cubicBezTo>
                  <a:cubicBezTo>
                    <a:pt x="71" y="120"/>
                    <a:pt x="75" y="123"/>
                    <a:pt x="77" y="124"/>
                  </a:cubicBezTo>
                  <a:cubicBezTo>
                    <a:pt x="78" y="125"/>
                    <a:pt x="78" y="125"/>
                    <a:pt x="78" y="125"/>
                  </a:cubicBezTo>
                  <a:cubicBezTo>
                    <a:pt x="81" y="127"/>
                    <a:pt x="82" y="129"/>
                    <a:pt x="83" y="133"/>
                  </a:cubicBezTo>
                  <a:cubicBezTo>
                    <a:pt x="83" y="133"/>
                    <a:pt x="83" y="133"/>
                    <a:pt x="83" y="133"/>
                  </a:cubicBezTo>
                  <a:cubicBezTo>
                    <a:pt x="83" y="134"/>
                    <a:pt x="84" y="134"/>
                    <a:pt x="84" y="135"/>
                  </a:cubicBezTo>
                  <a:cubicBezTo>
                    <a:pt x="85" y="135"/>
                    <a:pt x="85" y="135"/>
                    <a:pt x="85" y="135"/>
                  </a:cubicBezTo>
                  <a:cubicBezTo>
                    <a:pt x="86" y="136"/>
                    <a:pt x="88" y="137"/>
                    <a:pt x="90" y="139"/>
                  </a:cubicBezTo>
                  <a:cubicBezTo>
                    <a:pt x="93" y="141"/>
                    <a:pt x="93" y="141"/>
                    <a:pt x="93" y="141"/>
                  </a:cubicBezTo>
                  <a:cubicBezTo>
                    <a:pt x="94" y="142"/>
                    <a:pt x="96" y="143"/>
                    <a:pt x="97" y="145"/>
                  </a:cubicBezTo>
                  <a:cubicBezTo>
                    <a:pt x="98" y="145"/>
                    <a:pt x="98" y="146"/>
                    <a:pt x="98" y="147"/>
                  </a:cubicBezTo>
                  <a:cubicBezTo>
                    <a:pt x="99" y="148"/>
                    <a:pt x="99" y="148"/>
                    <a:pt x="99" y="148"/>
                  </a:cubicBezTo>
                  <a:cubicBezTo>
                    <a:pt x="99" y="149"/>
                    <a:pt x="99" y="149"/>
                    <a:pt x="99" y="150"/>
                  </a:cubicBezTo>
                  <a:cubicBezTo>
                    <a:pt x="99" y="150"/>
                    <a:pt x="99" y="150"/>
                    <a:pt x="99" y="150"/>
                  </a:cubicBezTo>
                  <a:cubicBezTo>
                    <a:pt x="103" y="151"/>
                    <a:pt x="103" y="152"/>
                    <a:pt x="103" y="154"/>
                  </a:cubicBezTo>
                  <a:cubicBezTo>
                    <a:pt x="103" y="155"/>
                    <a:pt x="103" y="155"/>
                    <a:pt x="103" y="155"/>
                  </a:cubicBezTo>
                  <a:cubicBezTo>
                    <a:pt x="103" y="155"/>
                    <a:pt x="103" y="156"/>
                    <a:pt x="103" y="157"/>
                  </a:cubicBezTo>
                  <a:cubicBezTo>
                    <a:pt x="103" y="157"/>
                    <a:pt x="103" y="158"/>
                    <a:pt x="103" y="158"/>
                  </a:cubicBezTo>
                  <a:cubicBezTo>
                    <a:pt x="103" y="159"/>
                    <a:pt x="103" y="159"/>
                    <a:pt x="103" y="159"/>
                  </a:cubicBezTo>
                  <a:cubicBezTo>
                    <a:pt x="103" y="159"/>
                    <a:pt x="103" y="160"/>
                    <a:pt x="103" y="161"/>
                  </a:cubicBezTo>
                  <a:cubicBezTo>
                    <a:pt x="104" y="161"/>
                    <a:pt x="104" y="161"/>
                    <a:pt x="104" y="161"/>
                  </a:cubicBezTo>
                  <a:cubicBezTo>
                    <a:pt x="104" y="161"/>
                    <a:pt x="104" y="162"/>
                    <a:pt x="104" y="162"/>
                  </a:cubicBezTo>
                  <a:cubicBezTo>
                    <a:pt x="104" y="162"/>
                    <a:pt x="104" y="162"/>
                    <a:pt x="104" y="162"/>
                  </a:cubicBezTo>
                  <a:cubicBezTo>
                    <a:pt x="104" y="162"/>
                    <a:pt x="104" y="162"/>
                    <a:pt x="104" y="162"/>
                  </a:cubicBezTo>
                  <a:cubicBezTo>
                    <a:pt x="107" y="161"/>
                    <a:pt x="107" y="161"/>
                    <a:pt x="107" y="161"/>
                  </a:cubicBezTo>
                  <a:cubicBezTo>
                    <a:pt x="108" y="161"/>
                    <a:pt x="108" y="161"/>
                    <a:pt x="108" y="161"/>
                  </a:cubicBezTo>
                  <a:cubicBezTo>
                    <a:pt x="109" y="161"/>
                    <a:pt x="109" y="161"/>
                    <a:pt x="110" y="162"/>
                  </a:cubicBezTo>
                  <a:cubicBezTo>
                    <a:pt x="110" y="162"/>
                    <a:pt x="110" y="162"/>
                    <a:pt x="110" y="162"/>
                  </a:cubicBezTo>
                  <a:cubicBezTo>
                    <a:pt x="111" y="163"/>
                    <a:pt x="111" y="164"/>
                    <a:pt x="112" y="165"/>
                  </a:cubicBezTo>
                  <a:cubicBezTo>
                    <a:pt x="112" y="166"/>
                    <a:pt x="112" y="166"/>
                    <a:pt x="112" y="166"/>
                  </a:cubicBezTo>
                  <a:cubicBezTo>
                    <a:pt x="112" y="166"/>
                    <a:pt x="112" y="166"/>
                    <a:pt x="112" y="166"/>
                  </a:cubicBezTo>
                  <a:cubicBezTo>
                    <a:pt x="113" y="166"/>
                    <a:pt x="113" y="166"/>
                    <a:pt x="113" y="166"/>
                  </a:cubicBezTo>
                  <a:cubicBezTo>
                    <a:pt x="114" y="167"/>
                    <a:pt x="114" y="167"/>
                    <a:pt x="114" y="167"/>
                  </a:cubicBezTo>
                  <a:cubicBezTo>
                    <a:pt x="114" y="167"/>
                    <a:pt x="115" y="167"/>
                    <a:pt x="115" y="168"/>
                  </a:cubicBezTo>
                  <a:cubicBezTo>
                    <a:pt x="116" y="168"/>
                    <a:pt x="116" y="168"/>
                    <a:pt x="116" y="168"/>
                  </a:cubicBezTo>
                  <a:cubicBezTo>
                    <a:pt x="116" y="168"/>
                    <a:pt x="116" y="169"/>
                    <a:pt x="116" y="169"/>
                  </a:cubicBezTo>
                  <a:cubicBezTo>
                    <a:pt x="117" y="169"/>
                    <a:pt x="117" y="169"/>
                    <a:pt x="118" y="170"/>
                  </a:cubicBezTo>
                  <a:cubicBezTo>
                    <a:pt x="118" y="170"/>
                    <a:pt x="118" y="170"/>
                    <a:pt x="118" y="170"/>
                  </a:cubicBezTo>
                  <a:cubicBezTo>
                    <a:pt x="120" y="171"/>
                    <a:pt x="122" y="172"/>
                    <a:pt x="123" y="173"/>
                  </a:cubicBezTo>
                  <a:cubicBezTo>
                    <a:pt x="124" y="175"/>
                    <a:pt x="124" y="177"/>
                    <a:pt x="124" y="178"/>
                  </a:cubicBezTo>
                  <a:cubicBezTo>
                    <a:pt x="123" y="178"/>
                    <a:pt x="123" y="179"/>
                    <a:pt x="123" y="179"/>
                  </a:cubicBezTo>
                  <a:cubicBezTo>
                    <a:pt x="122" y="180"/>
                    <a:pt x="121" y="180"/>
                    <a:pt x="121" y="181"/>
                  </a:cubicBezTo>
                  <a:cubicBezTo>
                    <a:pt x="119" y="182"/>
                    <a:pt x="119" y="182"/>
                    <a:pt x="119" y="182"/>
                  </a:cubicBezTo>
                  <a:cubicBezTo>
                    <a:pt x="119" y="182"/>
                    <a:pt x="119" y="182"/>
                    <a:pt x="119" y="182"/>
                  </a:cubicBezTo>
                  <a:cubicBezTo>
                    <a:pt x="120" y="183"/>
                    <a:pt x="123" y="185"/>
                    <a:pt x="124" y="186"/>
                  </a:cubicBezTo>
                  <a:cubicBezTo>
                    <a:pt x="125" y="187"/>
                    <a:pt x="125" y="187"/>
                    <a:pt x="125" y="187"/>
                  </a:cubicBezTo>
                  <a:cubicBezTo>
                    <a:pt x="126" y="188"/>
                    <a:pt x="128" y="190"/>
                    <a:pt x="129" y="193"/>
                  </a:cubicBezTo>
                  <a:cubicBezTo>
                    <a:pt x="129" y="193"/>
                    <a:pt x="129" y="193"/>
                    <a:pt x="129" y="193"/>
                  </a:cubicBezTo>
                  <a:cubicBezTo>
                    <a:pt x="129" y="196"/>
                    <a:pt x="129" y="197"/>
                    <a:pt x="128" y="198"/>
                  </a:cubicBezTo>
                  <a:cubicBezTo>
                    <a:pt x="126" y="200"/>
                    <a:pt x="126" y="200"/>
                    <a:pt x="126" y="200"/>
                  </a:cubicBezTo>
                  <a:cubicBezTo>
                    <a:pt x="125" y="201"/>
                    <a:pt x="125" y="201"/>
                    <a:pt x="125" y="201"/>
                  </a:cubicBezTo>
                  <a:cubicBezTo>
                    <a:pt x="125" y="201"/>
                    <a:pt x="125" y="202"/>
                    <a:pt x="125" y="202"/>
                  </a:cubicBezTo>
                  <a:cubicBezTo>
                    <a:pt x="125" y="203"/>
                    <a:pt x="125" y="203"/>
                    <a:pt x="125" y="203"/>
                  </a:cubicBezTo>
                  <a:cubicBezTo>
                    <a:pt x="126" y="204"/>
                    <a:pt x="126" y="204"/>
                    <a:pt x="126" y="204"/>
                  </a:cubicBezTo>
                  <a:cubicBezTo>
                    <a:pt x="126" y="207"/>
                    <a:pt x="126" y="207"/>
                    <a:pt x="126" y="207"/>
                  </a:cubicBezTo>
                  <a:cubicBezTo>
                    <a:pt x="127" y="208"/>
                    <a:pt x="127" y="208"/>
                    <a:pt x="127" y="208"/>
                  </a:cubicBezTo>
                  <a:cubicBezTo>
                    <a:pt x="126" y="209"/>
                    <a:pt x="126" y="209"/>
                    <a:pt x="126" y="209"/>
                  </a:cubicBezTo>
                  <a:cubicBezTo>
                    <a:pt x="126" y="210"/>
                    <a:pt x="126" y="210"/>
                    <a:pt x="126" y="210"/>
                  </a:cubicBezTo>
                  <a:cubicBezTo>
                    <a:pt x="125" y="213"/>
                    <a:pt x="124" y="216"/>
                    <a:pt x="123" y="218"/>
                  </a:cubicBezTo>
                  <a:cubicBezTo>
                    <a:pt x="122" y="222"/>
                    <a:pt x="122" y="222"/>
                    <a:pt x="122" y="222"/>
                  </a:cubicBezTo>
                  <a:cubicBezTo>
                    <a:pt x="122" y="222"/>
                    <a:pt x="123" y="223"/>
                    <a:pt x="123" y="223"/>
                  </a:cubicBezTo>
                  <a:cubicBezTo>
                    <a:pt x="124" y="224"/>
                    <a:pt x="124" y="224"/>
                    <a:pt x="124" y="224"/>
                  </a:cubicBezTo>
                  <a:cubicBezTo>
                    <a:pt x="124" y="225"/>
                    <a:pt x="125" y="226"/>
                    <a:pt x="125" y="228"/>
                  </a:cubicBezTo>
                  <a:cubicBezTo>
                    <a:pt x="124" y="229"/>
                    <a:pt x="125" y="229"/>
                    <a:pt x="125" y="230"/>
                  </a:cubicBezTo>
                  <a:cubicBezTo>
                    <a:pt x="126" y="232"/>
                    <a:pt x="126" y="232"/>
                    <a:pt x="126" y="232"/>
                  </a:cubicBezTo>
                  <a:cubicBezTo>
                    <a:pt x="127" y="234"/>
                    <a:pt x="129" y="237"/>
                    <a:pt x="128" y="240"/>
                  </a:cubicBezTo>
                  <a:cubicBezTo>
                    <a:pt x="128" y="241"/>
                    <a:pt x="128" y="241"/>
                    <a:pt x="128" y="241"/>
                  </a:cubicBezTo>
                  <a:cubicBezTo>
                    <a:pt x="128" y="243"/>
                    <a:pt x="127" y="246"/>
                    <a:pt x="126" y="248"/>
                  </a:cubicBezTo>
                  <a:cubicBezTo>
                    <a:pt x="126" y="249"/>
                    <a:pt x="126" y="249"/>
                    <a:pt x="126" y="249"/>
                  </a:cubicBezTo>
                  <a:cubicBezTo>
                    <a:pt x="126" y="250"/>
                    <a:pt x="126" y="252"/>
                    <a:pt x="126" y="253"/>
                  </a:cubicBezTo>
                  <a:cubicBezTo>
                    <a:pt x="127" y="254"/>
                    <a:pt x="127" y="254"/>
                    <a:pt x="127" y="254"/>
                  </a:cubicBezTo>
                  <a:cubicBezTo>
                    <a:pt x="127" y="256"/>
                    <a:pt x="127" y="258"/>
                    <a:pt x="127" y="260"/>
                  </a:cubicBezTo>
                  <a:cubicBezTo>
                    <a:pt x="127" y="260"/>
                    <a:pt x="127" y="260"/>
                    <a:pt x="127" y="260"/>
                  </a:cubicBezTo>
                  <a:cubicBezTo>
                    <a:pt x="133" y="260"/>
                    <a:pt x="133" y="260"/>
                    <a:pt x="133" y="260"/>
                  </a:cubicBezTo>
                  <a:cubicBezTo>
                    <a:pt x="127" y="262"/>
                    <a:pt x="127" y="262"/>
                    <a:pt x="127" y="262"/>
                  </a:cubicBezTo>
                  <a:cubicBezTo>
                    <a:pt x="127" y="262"/>
                    <a:pt x="127" y="262"/>
                    <a:pt x="127" y="263"/>
                  </a:cubicBezTo>
                  <a:cubicBezTo>
                    <a:pt x="126" y="267"/>
                    <a:pt x="124" y="268"/>
                    <a:pt x="122" y="269"/>
                  </a:cubicBezTo>
                  <a:cubicBezTo>
                    <a:pt x="121" y="269"/>
                    <a:pt x="121" y="269"/>
                    <a:pt x="121" y="269"/>
                  </a:cubicBezTo>
                  <a:cubicBezTo>
                    <a:pt x="119" y="269"/>
                    <a:pt x="118" y="269"/>
                    <a:pt x="118" y="268"/>
                  </a:cubicBezTo>
                  <a:cubicBezTo>
                    <a:pt x="117" y="268"/>
                    <a:pt x="117" y="268"/>
                    <a:pt x="116" y="268"/>
                  </a:cubicBezTo>
                  <a:cubicBezTo>
                    <a:pt x="116" y="268"/>
                    <a:pt x="116" y="268"/>
                    <a:pt x="116" y="268"/>
                  </a:cubicBezTo>
                  <a:cubicBezTo>
                    <a:pt x="116" y="269"/>
                    <a:pt x="115" y="269"/>
                    <a:pt x="115" y="270"/>
                  </a:cubicBezTo>
                  <a:cubicBezTo>
                    <a:pt x="114" y="271"/>
                    <a:pt x="114" y="271"/>
                    <a:pt x="114" y="271"/>
                  </a:cubicBezTo>
                  <a:cubicBezTo>
                    <a:pt x="113" y="272"/>
                    <a:pt x="110" y="273"/>
                    <a:pt x="108" y="273"/>
                  </a:cubicBezTo>
                  <a:cubicBezTo>
                    <a:pt x="107" y="273"/>
                    <a:pt x="107" y="273"/>
                    <a:pt x="107" y="273"/>
                  </a:cubicBezTo>
                  <a:cubicBezTo>
                    <a:pt x="105" y="274"/>
                    <a:pt x="102" y="275"/>
                    <a:pt x="100" y="275"/>
                  </a:cubicBezTo>
                  <a:cubicBezTo>
                    <a:pt x="100" y="276"/>
                    <a:pt x="100" y="277"/>
                    <a:pt x="100" y="278"/>
                  </a:cubicBezTo>
                  <a:cubicBezTo>
                    <a:pt x="101" y="279"/>
                    <a:pt x="101" y="279"/>
                    <a:pt x="101" y="279"/>
                  </a:cubicBezTo>
                  <a:cubicBezTo>
                    <a:pt x="101" y="279"/>
                    <a:pt x="101" y="280"/>
                    <a:pt x="101" y="280"/>
                  </a:cubicBezTo>
                  <a:cubicBezTo>
                    <a:pt x="101" y="284"/>
                    <a:pt x="101" y="284"/>
                    <a:pt x="101" y="284"/>
                  </a:cubicBezTo>
                  <a:cubicBezTo>
                    <a:pt x="88" y="281"/>
                    <a:pt x="88" y="281"/>
                    <a:pt x="88" y="281"/>
                  </a:cubicBezTo>
                  <a:cubicBezTo>
                    <a:pt x="87" y="281"/>
                    <a:pt x="86" y="282"/>
                    <a:pt x="86" y="283"/>
                  </a:cubicBezTo>
                  <a:cubicBezTo>
                    <a:pt x="86" y="284"/>
                    <a:pt x="86" y="284"/>
                    <a:pt x="86" y="284"/>
                  </a:cubicBezTo>
                  <a:cubicBezTo>
                    <a:pt x="86" y="286"/>
                    <a:pt x="87" y="288"/>
                    <a:pt x="88" y="289"/>
                  </a:cubicBezTo>
                  <a:cubicBezTo>
                    <a:pt x="89" y="290"/>
                    <a:pt x="90" y="291"/>
                    <a:pt x="91" y="292"/>
                  </a:cubicBezTo>
                  <a:cubicBezTo>
                    <a:pt x="92" y="293"/>
                    <a:pt x="93" y="294"/>
                    <a:pt x="94" y="295"/>
                  </a:cubicBezTo>
                  <a:cubicBezTo>
                    <a:pt x="100" y="301"/>
                    <a:pt x="100" y="301"/>
                    <a:pt x="100" y="301"/>
                  </a:cubicBezTo>
                  <a:cubicBezTo>
                    <a:pt x="94" y="300"/>
                    <a:pt x="94" y="300"/>
                    <a:pt x="94" y="300"/>
                  </a:cubicBezTo>
                  <a:cubicBezTo>
                    <a:pt x="95" y="301"/>
                    <a:pt x="95" y="301"/>
                    <a:pt x="95" y="301"/>
                  </a:cubicBezTo>
                  <a:cubicBezTo>
                    <a:pt x="96" y="305"/>
                    <a:pt x="96" y="305"/>
                    <a:pt x="96" y="305"/>
                  </a:cubicBezTo>
                  <a:cubicBezTo>
                    <a:pt x="91" y="304"/>
                    <a:pt x="91" y="304"/>
                    <a:pt x="91" y="304"/>
                  </a:cubicBezTo>
                  <a:cubicBezTo>
                    <a:pt x="88" y="303"/>
                    <a:pt x="85" y="302"/>
                    <a:pt x="83" y="300"/>
                  </a:cubicBezTo>
                  <a:cubicBezTo>
                    <a:pt x="82" y="299"/>
                    <a:pt x="82" y="299"/>
                    <a:pt x="82" y="299"/>
                  </a:cubicBezTo>
                  <a:cubicBezTo>
                    <a:pt x="82" y="299"/>
                    <a:pt x="82" y="299"/>
                    <a:pt x="82" y="299"/>
                  </a:cubicBezTo>
                  <a:cubicBezTo>
                    <a:pt x="82" y="299"/>
                    <a:pt x="82" y="299"/>
                    <a:pt x="81" y="299"/>
                  </a:cubicBezTo>
                  <a:cubicBezTo>
                    <a:pt x="80" y="299"/>
                    <a:pt x="80" y="299"/>
                    <a:pt x="80" y="299"/>
                  </a:cubicBezTo>
                  <a:cubicBezTo>
                    <a:pt x="78" y="300"/>
                    <a:pt x="76" y="300"/>
                    <a:pt x="75" y="300"/>
                  </a:cubicBezTo>
                  <a:cubicBezTo>
                    <a:pt x="74" y="300"/>
                    <a:pt x="74" y="300"/>
                    <a:pt x="74" y="300"/>
                  </a:cubicBezTo>
                  <a:cubicBezTo>
                    <a:pt x="73" y="301"/>
                    <a:pt x="72" y="301"/>
                    <a:pt x="71" y="301"/>
                  </a:cubicBezTo>
                  <a:cubicBezTo>
                    <a:pt x="74" y="304"/>
                    <a:pt x="78" y="308"/>
                    <a:pt x="82" y="311"/>
                  </a:cubicBezTo>
                  <a:cubicBezTo>
                    <a:pt x="84" y="313"/>
                    <a:pt x="86" y="313"/>
                    <a:pt x="89" y="313"/>
                  </a:cubicBezTo>
                  <a:cubicBezTo>
                    <a:pt x="91" y="313"/>
                    <a:pt x="93" y="313"/>
                    <a:pt x="94" y="313"/>
                  </a:cubicBezTo>
                  <a:cubicBezTo>
                    <a:pt x="95" y="313"/>
                    <a:pt x="95" y="313"/>
                    <a:pt x="96" y="313"/>
                  </a:cubicBezTo>
                  <a:cubicBezTo>
                    <a:pt x="98" y="313"/>
                    <a:pt x="100" y="313"/>
                    <a:pt x="102" y="314"/>
                  </a:cubicBezTo>
                  <a:cubicBezTo>
                    <a:pt x="102" y="314"/>
                    <a:pt x="102" y="314"/>
                    <a:pt x="102" y="314"/>
                  </a:cubicBezTo>
                  <a:cubicBezTo>
                    <a:pt x="108" y="314"/>
                    <a:pt x="106" y="312"/>
                    <a:pt x="101" y="310"/>
                  </a:cubicBezTo>
                  <a:cubicBezTo>
                    <a:pt x="102" y="309"/>
                    <a:pt x="103" y="309"/>
                    <a:pt x="103" y="308"/>
                  </a:cubicBezTo>
                  <a:cubicBezTo>
                    <a:pt x="103" y="309"/>
                    <a:pt x="103" y="309"/>
                    <a:pt x="103" y="309"/>
                  </a:cubicBezTo>
                  <a:cubicBezTo>
                    <a:pt x="101" y="307"/>
                    <a:pt x="101" y="307"/>
                    <a:pt x="101" y="307"/>
                  </a:cubicBezTo>
                  <a:cubicBezTo>
                    <a:pt x="102" y="305"/>
                    <a:pt x="102" y="305"/>
                    <a:pt x="102" y="305"/>
                  </a:cubicBezTo>
                  <a:cubicBezTo>
                    <a:pt x="105" y="302"/>
                    <a:pt x="105" y="302"/>
                    <a:pt x="105" y="302"/>
                  </a:cubicBezTo>
                  <a:cubicBezTo>
                    <a:pt x="106" y="304"/>
                    <a:pt x="106" y="304"/>
                    <a:pt x="106" y="304"/>
                  </a:cubicBezTo>
                  <a:cubicBezTo>
                    <a:pt x="109" y="302"/>
                    <a:pt x="109" y="302"/>
                    <a:pt x="109" y="302"/>
                  </a:cubicBezTo>
                  <a:cubicBezTo>
                    <a:pt x="109" y="303"/>
                    <a:pt x="109" y="305"/>
                    <a:pt x="108" y="306"/>
                  </a:cubicBezTo>
                  <a:cubicBezTo>
                    <a:pt x="109" y="307"/>
                    <a:pt x="111" y="308"/>
                    <a:pt x="111" y="308"/>
                  </a:cubicBezTo>
                  <a:cubicBezTo>
                    <a:pt x="111" y="307"/>
                    <a:pt x="111" y="306"/>
                    <a:pt x="112" y="305"/>
                  </a:cubicBezTo>
                  <a:cubicBezTo>
                    <a:pt x="112" y="308"/>
                    <a:pt x="110" y="309"/>
                    <a:pt x="114" y="311"/>
                  </a:cubicBezTo>
                  <a:cubicBezTo>
                    <a:pt x="114" y="311"/>
                    <a:pt x="112" y="311"/>
                    <a:pt x="112" y="312"/>
                  </a:cubicBezTo>
                  <a:cubicBezTo>
                    <a:pt x="113" y="312"/>
                    <a:pt x="113" y="312"/>
                    <a:pt x="113" y="312"/>
                  </a:cubicBezTo>
                  <a:cubicBezTo>
                    <a:pt x="116" y="312"/>
                    <a:pt x="120" y="309"/>
                    <a:pt x="121" y="308"/>
                  </a:cubicBezTo>
                  <a:cubicBezTo>
                    <a:pt x="127" y="305"/>
                    <a:pt x="133" y="301"/>
                    <a:pt x="139" y="298"/>
                  </a:cubicBezTo>
                  <a:cubicBezTo>
                    <a:pt x="146" y="294"/>
                    <a:pt x="154" y="291"/>
                    <a:pt x="157" y="285"/>
                  </a:cubicBezTo>
                  <a:cubicBezTo>
                    <a:pt x="158" y="283"/>
                    <a:pt x="165" y="279"/>
                    <a:pt x="162" y="277"/>
                  </a:cubicBezTo>
                  <a:cubicBezTo>
                    <a:pt x="160" y="276"/>
                    <a:pt x="161" y="272"/>
                    <a:pt x="162" y="269"/>
                  </a:cubicBezTo>
                  <a:cubicBezTo>
                    <a:pt x="162" y="271"/>
                    <a:pt x="163" y="274"/>
                    <a:pt x="164" y="275"/>
                  </a:cubicBezTo>
                  <a:cubicBezTo>
                    <a:pt x="164" y="273"/>
                    <a:pt x="163" y="273"/>
                    <a:pt x="163" y="273"/>
                  </a:cubicBezTo>
                  <a:cubicBezTo>
                    <a:pt x="163" y="271"/>
                    <a:pt x="164" y="268"/>
                    <a:pt x="163" y="266"/>
                  </a:cubicBezTo>
                  <a:cubicBezTo>
                    <a:pt x="163" y="264"/>
                    <a:pt x="162" y="263"/>
                    <a:pt x="161" y="262"/>
                  </a:cubicBezTo>
                  <a:cubicBezTo>
                    <a:pt x="161" y="262"/>
                    <a:pt x="161" y="262"/>
                    <a:pt x="162" y="262"/>
                  </a:cubicBezTo>
                  <a:cubicBezTo>
                    <a:pt x="162" y="262"/>
                    <a:pt x="163" y="262"/>
                    <a:pt x="164" y="262"/>
                  </a:cubicBezTo>
                  <a:cubicBezTo>
                    <a:pt x="164" y="263"/>
                    <a:pt x="165" y="263"/>
                    <a:pt x="166" y="263"/>
                  </a:cubicBezTo>
                  <a:cubicBezTo>
                    <a:pt x="166" y="263"/>
                    <a:pt x="166" y="263"/>
                    <a:pt x="166" y="263"/>
                  </a:cubicBezTo>
                  <a:cubicBezTo>
                    <a:pt x="165" y="263"/>
                    <a:pt x="165" y="262"/>
                    <a:pt x="165" y="262"/>
                  </a:cubicBezTo>
                  <a:cubicBezTo>
                    <a:pt x="164" y="257"/>
                    <a:pt x="162" y="257"/>
                    <a:pt x="166" y="253"/>
                  </a:cubicBezTo>
                  <a:cubicBezTo>
                    <a:pt x="166" y="255"/>
                    <a:pt x="167" y="257"/>
                    <a:pt x="168" y="259"/>
                  </a:cubicBezTo>
                  <a:cubicBezTo>
                    <a:pt x="169" y="257"/>
                    <a:pt x="168" y="257"/>
                    <a:pt x="167" y="256"/>
                  </a:cubicBezTo>
                  <a:cubicBezTo>
                    <a:pt x="167" y="255"/>
                    <a:pt x="167" y="255"/>
                    <a:pt x="167" y="254"/>
                  </a:cubicBezTo>
                  <a:cubicBezTo>
                    <a:pt x="167" y="253"/>
                    <a:pt x="166" y="253"/>
                    <a:pt x="167" y="252"/>
                  </a:cubicBezTo>
                  <a:cubicBezTo>
                    <a:pt x="169" y="251"/>
                    <a:pt x="169" y="251"/>
                    <a:pt x="169" y="251"/>
                  </a:cubicBezTo>
                  <a:cubicBezTo>
                    <a:pt x="168" y="248"/>
                    <a:pt x="167" y="245"/>
                    <a:pt x="166" y="242"/>
                  </a:cubicBezTo>
                  <a:cubicBezTo>
                    <a:pt x="165" y="239"/>
                    <a:pt x="164" y="235"/>
                    <a:pt x="163" y="232"/>
                  </a:cubicBezTo>
                  <a:cubicBezTo>
                    <a:pt x="163" y="231"/>
                    <a:pt x="165" y="229"/>
                    <a:pt x="165" y="228"/>
                  </a:cubicBezTo>
                  <a:cubicBezTo>
                    <a:pt x="165" y="227"/>
                    <a:pt x="164" y="226"/>
                    <a:pt x="164" y="224"/>
                  </a:cubicBezTo>
                  <a:cubicBezTo>
                    <a:pt x="163" y="219"/>
                    <a:pt x="161" y="212"/>
                    <a:pt x="159" y="207"/>
                  </a:cubicBezTo>
                  <a:cubicBezTo>
                    <a:pt x="157" y="202"/>
                    <a:pt x="156" y="200"/>
                    <a:pt x="156" y="196"/>
                  </a:cubicBezTo>
                  <a:cubicBezTo>
                    <a:pt x="156" y="194"/>
                    <a:pt x="156" y="194"/>
                    <a:pt x="155" y="194"/>
                  </a:cubicBezTo>
                  <a:cubicBezTo>
                    <a:pt x="150" y="189"/>
                    <a:pt x="146" y="183"/>
                    <a:pt x="142" y="178"/>
                  </a:cubicBezTo>
                  <a:cubicBezTo>
                    <a:pt x="142" y="177"/>
                    <a:pt x="142" y="177"/>
                    <a:pt x="142" y="177"/>
                  </a:cubicBezTo>
                  <a:cubicBezTo>
                    <a:pt x="142" y="176"/>
                    <a:pt x="142" y="176"/>
                    <a:pt x="142" y="176"/>
                  </a:cubicBezTo>
                  <a:cubicBezTo>
                    <a:pt x="142" y="176"/>
                    <a:pt x="142" y="176"/>
                    <a:pt x="142" y="176"/>
                  </a:cubicBezTo>
                  <a:cubicBezTo>
                    <a:pt x="142" y="174"/>
                    <a:pt x="143" y="173"/>
                    <a:pt x="142" y="173"/>
                  </a:cubicBezTo>
                  <a:cubicBezTo>
                    <a:pt x="142" y="173"/>
                    <a:pt x="141" y="172"/>
                    <a:pt x="141" y="172"/>
                  </a:cubicBezTo>
                  <a:cubicBezTo>
                    <a:pt x="140" y="172"/>
                    <a:pt x="139" y="174"/>
                    <a:pt x="139" y="175"/>
                  </a:cubicBezTo>
                  <a:cubicBezTo>
                    <a:pt x="139" y="175"/>
                    <a:pt x="139" y="175"/>
                    <a:pt x="139" y="175"/>
                  </a:cubicBezTo>
                  <a:cubicBezTo>
                    <a:pt x="138" y="174"/>
                    <a:pt x="138" y="172"/>
                    <a:pt x="139" y="171"/>
                  </a:cubicBezTo>
                  <a:cubicBezTo>
                    <a:pt x="135" y="169"/>
                    <a:pt x="129" y="167"/>
                    <a:pt x="126" y="164"/>
                  </a:cubicBezTo>
                  <a:cubicBezTo>
                    <a:pt x="124" y="162"/>
                    <a:pt x="122" y="159"/>
                    <a:pt x="120" y="158"/>
                  </a:cubicBezTo>
                  <a:cubicBezTo>
                    <a:pt x="118" y="157"/>
                    <a:pt x="116" y="156"/>
                    <a:pt x="114" y="155"/>
                  </a:cubicBezTo>
                  <a:cubicBezTo>
                    <a:pt x="112" y="153"/>
                    <a:pt x="112" y="150"/>
                    <a:pt x="111" y="148"/>
                  </a:cubicBezTo>
                  <a:cubicBezTo>
                    <a:pt x="109" y="147"/>
                    <a:pt x="107" y="145"/>
                    <a:pt x="105" y="143"/>
                  </a:cubicBezTo>
                  <a:cubicBezTo>
                    <a:pt x="101" y="140"/>
                    <a:pt x="97" y="137"/>
                    <a:pt x="94" y="134"/>
                  </a:cubicBezTo>
                  <a:cubicBezTo>
                    <a:pt x="94" y="134"/>
                    <a:pt x="94" y="134"/>
                    <a:pt x="94" y="134"/>
                  </a:cubicBezTo>
                  <a:cubicBezTo>
                    <a:pt x="96" y="134"/>
                    <a:pt x="97" y="135"/>
                    <a:pt x="99" y="135"/>
                  </a:cubicBezTo>
                  <a:cubicBezTo>
                    <a:pt x="97" y="133"/>
                    <a:pt x="97" y="131"/>
                    <a:pt x="99" y="129"/>
                  </a:cubicBezTo>
                  <a:cubicBezTo>
                    <a:pt x="99" y="129"/>
                    <a:pt x="87" y="117"/>
                    <a:pt x="85" y="116"/>
                  </a:cubicBezTo>
                  <a:cubicBezTo>
                    <a:pt x="81" y="112"/>
                    <a:pt x="79" y="109"/>
                    <a:pt x="78" y="104"/>
                  </a:cubicBezTo>
                  <a:cubicBezTo>
                    <a:pt x="78" y="104"/>
                    <a:pt x="78" y="104"/>
                    <a:pt x="78" y="104"/>
                  </a:cubicBezTo>
                  <a:cubicBezTo>
                    <a:pt x="79" y="101"/>
                    <a:pt x="81" y="99"/>
                    <a:pt x="82" y="97"/>
                  </a:cubicBezTo>
                  <a:cubicBezTo>
                    <a:pt x="84" y="95"/>
                    <a:pt x="81" y="91"/>
                    <a:pt x="82" y="89"/>
                  </a:cubicBezTo>
                  <a:cubicBezTo>
                    <a:pt x="83" y="88"/>
                    <a:pt x="85" y="85"/>
                    <a:pt x="85" y="84"/>
                  </a:cubicBezTo>
                  <a:cubicBezTo>
                    <a:pt x="88" y="80"/>
                    <a:pt x="89" y="79"/>
                    <a:pt x="92" y="77"/>
                  </a:cubicBezTo>
                  <a:cubicBezTo>
                    <a:pt x="94" y="75"/>
                    <a:pt x="97" y="72"/>
                    <a:pt x="100" y="72"/>
                  </a:cubicBezTo>
                  <a:cubicBezTo>
                    <a:pt x="100" y="72"/>
                    <a:pt x="100" y="72"/>
                    <a:pt x="100" y="72"/>
                  </a:cubicBezTo>
                  <a:cubicBezTo>
                    <a:pt x="101" y="69"/>
                    <a:pt x="101" y="66"/>
                    <a:pt x="101" y="64"/>
                  </a:cubicBezTo>
                  <a:cubicBezTo>
                    <a:pt x="101" y="63"/>
                    <a:pt x="105" y="63"/>
                    <a:pt x="106" y="62"/>
                  </a:cubicBezTo>
                  <a:cubicBezTo>
                    <a:pt x="105" y="61"/>
                    <a:pt x="105" y="61"/>
                    <a:pt x="105" y="61"/>
                  </a:cubicBezTo>
                  <a:cubicBezTo>
                    <a:pt x="104" y="57"/>
                    <a:pt x="105" y="57"/>
                    <a:pt x="102" y="54"/>
                  </a:cubicBezTo>
                  <a:cubicBezTo>
                    <a:pt x="104" y="56"/>
                    <a:pt x="106" y="57"/>
                    <a:pt x="108" y="57"/>
                  </a:cubicBezTo>
                  <a:cubicBezTo>
                    <a:pt x="108" y="57"/>
                    <a:pt x="109" y="57"/>
                    <a:pt x="109" y="57"/>
                  </a:cubicBezTo>
                  <a:cubicBezTo>
                    <a:pt x="109" y="57"/>
                    <a:pt x="109" y="57"/>
                    <a:pt x="109" y="57"/>
                  </a:cubicBezTo>
                  <a:cubicBezTo>
                    <a:pt x="110" y="56"/>
                    <a:pt x="111" y="56"/>
                    <a:pt x="112" y="56"/>
                  </a:cubicBezTo>
                  <a:cubicBezTo>
                    <a:pt x="112" y="55"/>
                    <a:pt x="112" y="55"/>
                    <a:pt x="112" y="55"/>
                  </a:cubicBezTo>
                  <a:cubicBezTo>
                    <a:pt x="113" y="55"/>
                    <a:pt x="113" y="56"/>
                    <a:pt x="114" y="56"/>
                  </a:cubicBezTo>
                  <a:cubicBezTo>
                    <a:pt x="114" y="56"/>
                    <a:pt x="114" y="56"/>
                    <a:pt x="115" y="56"/>
                  </a:cubicBezTo>
                  <a:cubicBezTo>
                    <a:pt x="115" y="56"/>
                    <a:pt x="115" y="56"/>
                    <a:pt x="115" y="56"/>
                  </a:cubicBezTo>
                  <a:cubicBezTo>
                    <a:pt x="116" y="56"/>
                    <a:pt x="118" y="55"/>
                    <a:pt x="119" y="54"/>
                  </a:cubicBezTo>
                  <a:cubicBezTo>
                    <a:pt x="119" y="54"/>
                    <a:pt x="119" y="54"/>
                    <a:pt x="119" y="53"/>
                  </a:cubicBezTo>
                  <a:cubicBezTo>
                    <a:pt x="119" y="52"/>
                    <a:pt x="120" y="51"/>
                    <a:pt x="119" y="50"/>
                  </a:cubicBezTo>
                  <a:cubicBezTo>
                    <a:pt x="120" y="50"/>
                    <a:pt x="121" y="49"/>
                    <a:pt x="122" y="49"/>
                  </a:cubicBezTo>
                  <a:cubicBezTo>
                    <a:pt x="120" y="50"/>
                    <a:pt x="120" y="52"/>
                    <a:pt x="119" y="53"/>
                  </a:cubicBezTo>
                  <a:cubicBezTo>
                    <a:pt x="121" y="52"/>
                    <a:pt x="123" y="51"/>
                    <a:pt x="125" y="50"/>
                  </a:cubicBezTo>
                  <a:cubicBezTo>
                    <a:pt x="124" y="49"/>
                    <a:pt x="123" y="49"/>
                    <a:pt x="122" y="48"/>
                  </a:cubicBezTo>
                  <a:cubicBezTo>
                    <a:pt x="125" y="47"/>
                    <a:pt x="128" y="45"/>
                    <a:pt x="130" y="43"/>
                  </a:cubicBezTo>
                  <a:cubicBezTo>
                    <a:pt x="130" y="43"/>
                    <a:pt x="130" y="43"/>
                    <a:pt x="130" y="43"/>
                  </a:cubicBezTo>
                  <a:cubicBezTo>
                    <a:pt x="130" y="43"/>
                    <a:pt x="130" y="43"/>
                    <a:pt x="130" y="43"/>
                  </a:cubicBezTo>
                  <a:cubicBezTo>
                    <a:pt x="127" y="43"/>
                    <a:pt x="125" y="42"/>
                    <a:pt x="124" y="42"/>
                  </a:cubicBezTo>
                  <a:cubicBezTo>
                    <a:pt x="123" y="42"/>
                    <a:pt x="123" y="42"/>
                    <a:pt x="122" y="42"/>
                  </a:cubicBezTo>
                  <a:cubicBezTo>
                    <a:pt x="122" y="42"/>
                    <a:pt x="122" y="42"/>
                    <a:pt x="122" y="42"/>
                  </a:cubicBezTo>
                  <a:cubicBezTo>
                    <a:pt x="121" y="42"/>
                    <a:pt x="120" y="42"/>
                    <a:pt x="120" y="42"/>
                  </a:cubicBezTo>
                  <a:cubicBezTo>
                    <a:pt x="117" y="42"/>
                    <a:pt x="115" y="40"/>
                    <a:pt x="114" y="39"/>
                  </a:cubicBezTo>
                  <a:cubicBezTo>
                    <a:pt x="114" y="38"/>
                    <a:pt x="114" y="38"/>
                    <a:pt x="113" y="38"/>
                  </a:cubicBezTo>
                  <a:cubicBezTo>
                    <a:pt x="112" y="36"/>
                    <a:pt x="112" y="36"/>
                    <a:pt x="112" y="36"/>
                  </a:cubicBezTo>
                  <a:cubicBezTo>
                    <a:pt x="110" y="34"/>
                    <a:pt x="110" y="34"/>
                    <a:pt x="110" y="34"/>
                  </a:cubicBezTo>
                  <a:cubicBezTo>
                    <a:pt x="110" y="34"/>
                    <a:pt x="109" y="34"/>
                    <a:pt x="108" y="34"/>
                  </a:cubicBezTo>
                  <a:cubicBezTo>
                    <a:pt x="107" y="34"/>
                    <a:pt x="107" y="34"/>
                    <a:pt x="107" y="34"/>
                  </a:cubicBezTo>
                  <a:cubicBezTo>
                    <a:pt x="106" y="34"/>
                    <a:pt x="104" y="34"/>
                    <a:pt x="102" y="33"/>
                  </a:cubicBezTo>
                  <a:cubicBezTo>
                    <a:pt x="102" y="33"/>
                    <a:pt x="102" y="33"/>
                    <a:pt x="102" y="33"/>
                  </a:cubicBezTo>
                  <a:cubicBezTo>
                    <a:pt x="101" y="33"/>
                    <a:pt x="101" y="33"/>
                    <a:pt x="101" y="33"/>
                  </a:cubicBezTo>
                  <a:cubicBezTo>
                    <a:pt x="100" y="31"/>
                    <a:pt x="100" y="31"/>
                    <a:pt x="100" y="31"/>
                  </a:cubicBezTo>
                  <a:cubicBezTo>
                    <a:pt x="100" y="30"/>
                    <a:pt x="100" y="30"/>
                    <a:pt x="100" y="30"/>
                  </a:cubicBezTo>
                  <a:cubicBezTo>
                    <a:pt x="100" y="30"/>
                    <a:pt x="100" y="30"/>
                    <a:pt x="100" y="30"/>
                  </a:cubicBezTo>
                  <a:cubicBezTo>
                    <a:pt x="100" y="28"/>
                    <a:pt x="100" y="28"/>
                    <a:pt x="100" y="28"/>
                  </a:cubicBezTo>
                  <a:cubicBezTo>
                    <a:pt x="101" y="28"/>
                    <a:pt x="101" y="28"/>
                    <a:pt x="101" y="28"/>
                  </a:cubicBezTo>
                  <a:cubicBezTo>
                    <a:pt x="101" y="28"/>
                    <a:pt x="100" y="27"/>
                    <a:pt x="100" y="27"/>
                  </a:cubicBezTo>
                  <a:cubicBezTo>
                    <a:pt x="100" y="25"/>
                    <a:pt x="99" y="24"/>
                    <a:pt x="99" y="23"/>
                  </a:cubicBezTo>
                  <a:cubicBezTo>
                    <a:pt x="98" y="22"/>
                    <a:pt x="98" y="22"/>
                    <a:pt x="98" y="22"/>
                  </a:cubicBezTo>
                  <a:cubicBezTo>
                    <a:pt x="97" y="19"/>
                    <a:pt x="98" y="17"/>
                    <a:pt x="100" y="15"/>
                  </a:cubicBezTo>
                  <a:cubicBezTo>
                    <a:pt x="101" y="13"/>
                    <a:pt x="101" y="13"/>
                    <a:pt x="101" y="13"/>
                  </a:cubicBezTo>
                  <a:cubicBezTo>
                    <a:pt x="101" y="13"/>
                    <a:pt x="102" y="12"/>
                    <a:pt x="102" y="12"/>
                  </a:cubicBezTo>
                  <a:cubicBezTo>
                    <a:pt x="102" y="12"/>
                    <a:pt x="102" y="12"/>
                    <a:pt x="102" y="12"/>
                  </a:cubicBezTo>
                  <a:cubicBezTo>
                    <a:pt x="101" y="11"/>
                    <a:pt x="101" y="11"/>
                    <a:pt x="101" y="11"/>
                  </a:cubicBezTo>
                  <a:cubicBezTo>
                    <a:pt x="100" y="11"/>
                    <a:pt x="99" y="11"/>
                    <a:pt x="97" y="11"/>
                  </a:cubicBezTo>
                  <a:cubicBezTo>
                    <a:pt x="97" y="11"/>
                    <a:pt x="97" y="11"/>
                    <a:pt x="96" y="11"/>
                  </a:cubicBezTo>
                  <a:cubicBezTo>
                    <a:pt x="96" y="11"/>
                    <a:pt x="95" y="11"/>
                    <a:pt x="95" y="11"/>
                  </a:cubicBezTo>
                  <a:cubicBezTo>
                    <a:pt x="94" y="11"/>
                    <a:pt x="94" y="11"/>
                    <a:pt x="93" y="11"/>
                  </a:cubicBezTo>
                  <a:cubicBezTo>
                    <a:pt x="92" y="11"/>
                    <a:pt x="92" y="11"/>
                    <a:pt x="92" y="11"/>
                  </a:cubicBezTo>
                  <a:cubicBezTo>
                    <a:pt x="88" y="11"/>
                    <a:pt x="84" y="11"/>
                    <a:pt x="80" y="8"/>
                  </a:cubicBezTo>
                  <a:cubicBezTo>
                    <a:pt x="79" y="7"/>
                    <a:pt x="79" y="7"/>
                    <a:pt x="79" y="7"/>
                  </a:cubicBezTo>
                  <a:cubicBezTo>
                    <a:pt x="77" y="6"/>
                    <a:pt x="75" y="4"/>
                    <a:pt x="74" y="3"/>
                  </a:cubicBezTo>
                  <a:cubicBezTo>
                    <a:pt x="73" y="2"/>
                    <a:pt x="73" y="2"/>
                    <a:pt x="73" y="2"/>
                  </a:cubicBezTo>
                  <a:cubicBezTo>
                    <a:pt x="73" y="1"/>
                    <a:pt x="72" y="1"/>
                    <a:pt x="72" y="1"/>
                  </a:cubicBezTo>
                  <a:cubicBezTo>
                    <a:pt x="72" y="0"/>
                    <a:pt x="72" y="0"/>
                    <a:pt x="72" y="0"/>
                  </a:cubicBezTo>
                  <a:cubicBezTo>
                    <a:pt x="71" y="0"/>
                    <a:pt x="71" y="0"/>
                    <a:pt x="71" y="0"/>
                  </a:cubicBezTo>
                  <a:cubicBezTo>
                    <a:pt x="70" y="0"/>
                    <a:pt x="70" y="0"/>
                    <a:pt x="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Freeform 1555"/>
            <p:cNvSpPr/>
            <p:nvPr/>
          </p:nvSpPr>
          <p:spPr bwMode="auto">
            <a:xfrm>
              <a:off x="3197443" y="4100840"/>
              <a:ext cx="124837" cy="165107"/>
            </a:xfrm>
            <a:custGeom>
              <a:gdLst>
                <a:gd name="T0" fmla="*/ 18 w 39"/>
                <a:gd name="T1" fmla="*/ 0 h 52"/>
                <a:gd name="T2" fmla="*/ 16 w 39"/>
                <a:gd name="T3" fmla="*/ 0 h 52"/>
                <a:gd name="T4" fmla="*/ 15 w 39"/>
                <a:gd name="T5" fmla="*/ 0 h 52"/>
                <a:gd name="T6" fmla="*/ 15 w 39"/>
                <a:gd name="T7" fmla="*/ 1 h 52"/>
                <a:gd name="T8" fmla="*/ 5 w 39"/>
                <a:gd name="T9" fmla="*/ 9 h 52"/>
                <a:gd name="T10" fmla="*/ 0 w 39"/>
                <a:gd name="T11" fmla="*/ 11 h 52"/>
                <a:gd name="T12" fmla="*/ 3 w 39"/>
                <a:gd name="T13" fmla="*/ 15 h 52"/>
                <a:gd name="T14" fmla="*/ 14 w 39"/>
                <a:gd name="T15" fmla="*/ 22 h 52"/>
                <a:gd name="T16" fmla="*/ 13 w 39"/>
                <a:gd name="T17" fmla="*/ 21 h 52"/>
                <a:gd name="T18" fmla="*/ 9 w 39"/>
                <a:gd name="T19" fmla="*/ 24 h 52"/>
                <a:gd name="T20" fmla="*/ 7 w 39"/>
                <a:gd name="T21" fmla="*/ 39 h 52"/>
                <a:gd name="T22" fmla="*/ 9 w 39"/>
                <a:gd name="T23" fmla="*/ 50 h 52"/>
                <a:gd name="T24" fmla="*/ 10 w 39"/>
                <a:gd name="T25" fmla="*/ 50 h 52"/>
                <a:gd name="T26" fmla="*/ 5 w 39"/>
                <a:gd name="T27" fmla="*/ 52 h 52"/>
                <a:gd name="T28" fmla="*/ 16 w 39"/>
                <a:gd name="T29" fmla="*/ 49 h 52"/>
                <a:gd name="T30" fmla="*/ 21 w 39"/>
                <a:gd name="T31" fmla="*/ 45 h 52"/>
                <a:gd name="T32" fmla="*/ 34 w 39"/>
                <a:gd name="T33" fmla="*/ 35 h 52"/>
                <a:gd name="T34" fmla="*/ 38 w 39"/>
                <a:gd name="T35" fmla="*/ 30 h 52"/>
                <a:gd name="T36" fmla="*/ 33 w 39"/>
                <a:gd name="T37" fmla="*/ 21 h 52"/>
                <a:gd name="T38" fmla="*/ 31 w 39"/>
                <a:gd name="T39" fmla="*/ 18 h 52"/>
                <a:gd name="T40" fmla="*/ 31 w 39"/>
                <a:gd name="T41" fmla="*/ 18 h 52"/>
                <a:gd name="T42" fmla="*/ 27 w 39"/>
                <a:gd name="T43" fmla="*/ 14 h 52"/>
                <a:gd name="T44" fmla="*/ 27 w 39"/>
                <a:gd name="T45" fmla="*/ 14 h 52"/>
                <a:gd name="T46" fmla="*/ 21 w 39"/>
                <a:gd name="T47" fmla="*/ 9 h 52"/>
                <a:gd name="T48" fmla="*/ 18 w 39"/>
                <a:gd name="T49" fmla="*/ 5 h 52"/>
                <a:gd name="T50" fmla="*/ 19 w 39"/>
                <a:gd name="T51" fmla="*/ 6 h 52"/>
                <a:gd name="T52" fmla="*/ 19 w 39"/>
                <a:gd name="T53" fmla="*/ 6 h 52"/>
                <a:gd name="T54" fmla="*/ 18 w 39"/>
                <a:gd name="T55" fmla="*/ 0 h 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52">
                  <a:moveTo>
                    <a:pt x="18" y="0"/>
                  </a:moveTo>
                  <a:cubicBezTo>
                    <a:pt x="17" y="0"/>
                    <a:pt x="16" y="0"/>
                    <a:pt x="16" y="0"/>
                  </a:cubicBezTo>
                  <a:cubicBezTo>
                    <a:pt x="15" y="0"/>
                    <a:pt x="15" y="0"/>
                    <a:pt x="15" y="0"/>
                  </a:cubicBezTo>
                  <a:cubicBezTo>
                    <a:pt x="15" y="1"/>
                    <a:pt x="15" y="1"/>
                    <a:pt x="15" y="1"/>
                  </a:cubicBezTo>
                  <a:cubicBezTo>
                    <a:pt x="15" y="4"/>
                    <a:pt x="10" y="8"/>
                    <a:pt x="5" y="9"/>
                  </a:cubicBezTo>
                  <a:cubicBezTo>
                    <a:pt x="3" y="10"/>
                    <a:pt x="1" y="11"/>
                    <a:pt x="0" y="11"/>
                  </a:cubicBezTo>
                  <a:cubicBezTo>
                    <a:pt x="1" y="13"/>
                    <a:pt x="2" y="15"/>
                    <a:pt x="3" y="15"/>
                  </a:cubicBezTo>
                  <a:cubicBezTo>
                    <a:pt x="5" y="17"/>
                    <a:pt x="14" y="17"/>
                    <a:pt x="14" y="22"/>
                  </a:cubicBezTo>
                  <a:cubicBezTo>
                    <a:pt x="14" y="21"/>
                    <a:pt x="14" y="21"/>
                    <a:pt x="13" y="21"/>
                  </a:cubicBezTo>
                  <a:cubicBezTo>
                    <a:pt x="12" y="21"/>
                    <a:pt x="10" y="23"/>
                    <a:pt x="9" y="24"/>
                  </a:cubicBezTo>
                  <a:cubicBezTo>
                    <a:pt x="7" y="28"/>
                    <a:pt x="7" y="34"/>
                    <a:pt x="7" y="39"/>
                  </a:cubicBezTo>
                  <a:cubicBezTo>
                    <a:pt x="7" y="41"/>
                    <a:pt x="5" y="50"/>
                    <a:pt x="9" y="50"/>
                  </a:cubicBezTo>
                  <a:cubicBezTo>
                    <a:pt x="10" y="50"/>
                    <a:pt x="10" y="50"/>
                    <a:pt x="10" y="50"/>
                  </a:cubicBezTo>
                  <a:cubicBezTo>
                    <a:pt x="8" y="51"/>
                    <a:pt x="7" y="51"/>
                    <a:pt x="5" y="52"/>
                  </a:cubicBezTo>
                  <a:cubicBezTo>
                    <a:pt x="10" y="52"/>
                    <a:pt x="13" y="52"/>
                    <a:pt x="16" y="49"/>
                  </a:cubicBezTo>
                  <a:cubicBezTo>
                    <a:pt x="19" y="48"/>
                    <a:pt x="19" y="47"/>
                    <a:pt x="21" y="45"/>
                  </a:cubicBezTo>
                  <a:cubicBezTo>
                    <a:pt x="23" y="39"/>
                    <a:pt x="30" y="38"/>
                    <a:pt x="34" y="35"/>
                  </a:cubicBezTo>
                  <a:cubicBezTo>
                    <a:pt x="38" y="33"/>
                    <a:pt x="39" y="34"/>
                    <a:pt x="38" y="30"/>
                  </a:cubicBezTo>
                  <a:cubicBezTo>
                    <a:pt x="36" y="27"/>
                    <a:pt x="34" y="24"/>
                    <a:pt x="33" y="21"/>
                  </a:cubicBezTo>
                  <a:cubicBezTo>
                    <a:pt x="32" y="20"/>
                    <a:pt x="32" y="19"/>
                    <a:pt x="31" y="18"/>
                  </a:cubicBezTo>
                  <a:cubicBezTo>
                    <a:pt x="31" y="18"/>
                    <a:pt x="31" y="18"/>
                    <a:pt x="31" y="18"/>
                  </a:cubicBezTo>
                  <a:cubicBezTo>
                    <a:pt x="29" y="17"/>
                    <a:pt x="28" y="16"/>
                    <a:pt x="27" y="14"/>
                  </a:cubicBezTo>
                  <a:cubicBezTo>
                    <a:pt x="27" y="14"/>
                    <a:pt x="27" y="14"/>
                    <a:pt x="27" y="14"/>
                  </a:cubicBezTo>
                  <a:cubicBezTo>
                    <a:pt x="25" y="13"/>
                    <a:pt x="22" y="11"/>
                    <a:pt x="21" y="9"/>
                  </a:cubicBezTo>
                  <a:cubicBezTo>
                    <a:pt x="20" y="8"/>
                    <a:pt x="19" y="7"/>
                    <a:pt x="18" y="5"/>
                  </a:cubicBezTo>
                  <a:cubicBezTo>
                    <a:pt x="18" y="6"/>
                    <a:pt x="18" y="6"/>
                    <a:pt x="19" y="6"/>
                  </a:cubicBezTo>
                  <a:cubicBezTo>
                    <a:pt x="19" y="6"/>
                    <a:pt x="19" y="6"/>
                    <a:pt x="19" y="6"/>
                  </a:cubicBezTo>
                  <a:cubicBezTo>
                    <a:pt x="21" y="6"/>
                    <a:pt x="19" y="2"/>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1556"/>
            <p:cNvSpPr/>
            <p:nvPr/>
          </p:nvSpPr>
          <p:spPr bwMode="auto">
            <a:xfrm flipH="1">
              <a:off x="3077976" y="4027012"/>
              <a:ext cx="0" cy="9396"/>
            </a:xfrm>
            <a:custGeom>
              <a:gdLst>
                <a:gd name="T0" fmla="*/ 0 h 3"/>
                <a:gd name="T1" fmla="*/ 0 h 3"/>
                <a:gd name="T2" fmla="*/ 0 h 3"/>
                <a:gd name="T3" fmla="*/ 3 h 3"/>
                <a:gd name="T4" fmla="*/ 0 h 3"/>
              </a:gdLst>
              <a:cxnLst>
                <a:cxn ang="0">
                  <a:pos x="0" y="T0"/>
                </a:cxn>
                <a:cxn ang="0">
                  <a:pos x="0" y="T1"/>
                </a:cxn>
                <a:cxn ang="0">
                  <a:pos x="0" y="T2"/>
                </a:cxn>
                <a:cxn ang="0">
                  <a:pos x="0" y="T3"/>
                </a:cxn>
                <a:cxn ang="0">
                  <a:pos x="0" y="T4"/>
                </a:cxn>
              </a:cxnLst>
              <a:rect l="0" t="0" r="r" b="b"/>
              <a:pathLst>
                <a:path h="3">
                  <a:moveTo>
                    <a:pt x="0" y="0"/>
                  </a:moveTo>
                  <a:cubicBezTo>
                    <a:pt x="0" y="0"/>
                    <a:pt x="0" y="0"/>
                    <a:pt x="0" y="0"/>
                  </a:cubicBezTo>
                  <a:cubicBezTo>
                    <a:pt x="0" y="0"/>
                    <a:pt x="0" y="0"/>
                    <a:pt x="0" y="0"/>
                  </a:cubicBezTo>
                  <a:cubicBezTo>
                    <a:pt x="0" y="1"/>
                    <a:pt x="0" y="2"/>
                    <a:pt x="0"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1557"/>
            <p:cNvSpPr>
              <a:spLocks noEditPoints="1"/>
            </p:cNvSpPr>
            <p:nvPr/>
          </p:nvSpPr>
          <p:spPr bwMode="auto">
            <a:xfrm>
              <a:off x="3043075" y="3824319"/>
              <a:ext cx="379881" cy="297999"/>
            </a:xfrm>
            <a:custGeom>
              <a:gdLst>
                <a:gd name="T0" fmla="*/ 14 w 120"/>
                <a:gd name="T1" fmla="*/ 69 h 94"/>
                <a:gd name="T2" fmla="*/ 92 w 120"/>
                <a:gd name="T3" fmla="*/ 2 h 94"/>
                <a:gd name="T4" fmla="*/ 91 w 120"/>
                <a:gd name="T5" fmla="*/ 9 h 94"/>
                <a:gd name="T6" fmla="*/ 85 w 120"/>
                <a:gd name="T7" fmla="*/ 18 h 94"/>
                <a:gd name="T8" fmla="*/ 82 w 120"/>
                <a:gd name="T9" fmla="*/ 15 h 94"/>
                <a:gd name="T10" fmla="*/ 79 w 120"/>
                <a:gd name="T11" fmla="*/ 14 h 94"/>
                <a:gd name="T12" fmla="*/ 77 w 120"/>
                <a:gd name="T13" fmla="*/ 11 h 94"/>
                <a:gd name="T14" fmla="*/ 75 w 120"/>
                <a:gd name="T15" fmla="*/ 11 h 94"/>
                <a:gd name="T16" fmla="*/ 71 w 120"/>
                <a:gd name="T17" fmla="*/ 11 h 94"/>
                <a:gd name="T18" fmla="*/ 66 w 120"/>
                <a:gd name="T19" fmla="*/ 7 h 94"/>
                <a:gd name="T20" fmla="*/ 59 w 120"/>
                <a:gd name="T21" fmla="*/ 5 h 94"/>
                <a:gd name="T22" fmla="*/ 57 w 120"/>
                <a:gd name="T23" fmla="*/ 4 h 94"/>
                <a:gd name="T24" fmla="*/ 50 w 120"/>
                <a:gd name="T25" fmla="*/ 4 h 94"/>
                <a:gd name="T26" fmla="*/ 37 w 120"/>
                <a:gd name="T27" fmla="*/ 4 h 94"/>
                <a:gd name="T28" fmla="*/ 25 w 120"/>
                <a:gd name="T29" fmla="*/ 4 h 94"/>
                <a:gd name="T30" fmla="*/ 14 w 120"/>
                <a:gd name="T31" fmla="*/ 8 h 94"/>
                <a:gd name="T32" fmla="*/ 2 w 120"/>
                <a:gd name="T33" fmla="*/ 23 h 94"/>
                <a:gd name="T34" fmla="*/ 3 w 120"/>
                <a:gd name="T35" fmla="*/ 31 h 94"/>
                <a:gd name="T36" fmla="*/ 5 w 120"/>
                <a:gd name="T37" fmla="*/ 41 h 94"/>
                <a:gd name="T38" fmla="*/ 10 w 120"/>
                <a:gd name="T39" fmla="*/ 46 h 94"/>
                <a:gd name="T40" fmla="*/ 11 w 120"/>
                <a:gd name="T41" fmla="*/ 48 h 94"/>
                <a:gd name="T42" fmla="*/ 13 w 120"/>
                <a:gd name="T43" fmla="*/ 62 h 94"/>
                <a:gd name="T44" fmla="*/ 14 w 120"/>
                <a:gd name="T45" fmla="*/ 69 h 94"/>
                <a:gd name="T46" fmla="*/ 18 w 120"/>
                <a:gd name="T47" fmla="*/ 85 h 94"/>
                <a:gd name="T48" fmla="*/ 27 w 120"/>
                <a:gd name="T49" fmla="*/ 78 h 94"/>
                <a:gd name="T50" fmla="*/ 27 w 120"/>
                <a:gd name="T51" fmla="*/ 93 h 94"/>
                <a:gd name="T52" fmla="*/ 45 w 120"/>
                <a:gd name="T53" fmla="*/ 94 h 94"/>
                <a:gd name="T54" fmla="*/ 58 w 120"/>
                <a:gd name="T55" fmla="*/ 88 h 94"/>
                <a:gd name="T56" fmla="*/ 63 w 120"/>
                <a:gd name="T57" fmla="*/ 81 h 94"/>
                <a:gd name="T58" fmla="*/ 70 w 120"/>
                <a:gd name="T59" fmla="*/ 81 h 94"/>
                <a:gd name="T60" fmla="*/ 77 w 120"/>
                <a:gd name="T61" fmla="*/ 80 h 94"/>
                <a:gd name="T62" fmla="*/ 77 w 120"/>
                <a:gd name="T63" fmla="*/ 71 h 94"/>
                <a:gd name="T64" fmla="*/ 82 w 120"/>
                <a:gd name="T65" fmla="*/ 62 h 94"/>
                <a:gd name="T66" fmla="*/ 91 w 120"/>
                <a:gd name="T67" fmla="*/ 62 h 94"/>
                <a:gd name="T68" fmla="*/ 104 w 120"/>
                <a:gd name="T69" fmla="*/ 53 h 94"/>
                <a:gd name="T70" fmla="*/ 110 w 120"/>
                <a:gd name="T71" fmla="*/ 49 h 94"/>
                <a:gd name="T72" fmla="*/ 117 w 120"/>
                <a:gd name="T73" fmla="*/ 49 h 94"/>
                <a:gd name="T74" fmla="*/ 118 w 120"/>
                <a:gd name="T75" fmla="*/ 48 h 94"/>
                <a:gd name="T76" fmla="*/ 118 w 120"/>
                <a:gd name="T77" fmla="*/ 46 h 94"/>
                <a:gd name="T78" fmla="*/ 118 w 120"/>
                <a:gd name="T79" fmla="*/ 32 h 94"/>
                <a:gd name="T80" fmla="*/ 118 w 120"/>
                <a:gd name="T81" fmla="*/ 21 h 94"/>
                <a:gd name="T82" fmla="*/ 116 w 120"/>
                <a:gd name="T83" fmla="*/ 14 h 94"/>
                <a:gd name="T84" fmla="*/ 114 w 120"/>
                <a:gd name="T85" fmla="*/ 3 h 94"/>
                <a:gd name="T86" fmla="*/ 110 w 120"/>
                <a:gd name="T87" fmla="*/ 4 h 94"/>
                <a:gd name="T88" fmla="*/ 104 w 120"/>
                <a:gd name="T89" fmla="*/ 4 h 94"/>
                <a:gd name="T90" fmla="*/ 96 w 120"/>
                <a:gd name="T91" fmla="*/ 0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 h="94">
                  <a:moveTo>
                    <a:pt x="14" y="69"/>
                  </a:moveTo>
                  <a:cubicBezTo>
                    <a:pt x="14" y="69"/>
                    <a:pt x="13" y="69"/>
                    <a:pt x="13" y="69"/>
                  </a:cubicBezTo>
                  <a:cubicBezTo>
                    <a:pt x="13" y="69"/>
                    <a:pt x="14" y="69"/>
                    <a:pt x="14" y="69"/>
                  </a:cubicBezTo>
                  <a:moveTo>
                    <a:pt x="96" y="0"/>
                  </a:moveTo>
                  <a:cubicBezTo>
                    <a:pt x="94" y="0"/>
                    <a:pt x="93" y="1"/>
                    <a:pt x="92" y="2"/>
                  </a:cubicBezTo>
                  <a:cubicBezTo>
                    <a:pt x="92" y="2"/>
                    <a:pt x="92" y="2"/>
                    <a:pt x="92" y="2"/>
                  </a:cubicBezTo>
                  <a:cubicBezTo>
                    <a:pt x="91" y="2"/>
                    <a:pt x="90" y="3"/>
                    <a:pt x="90" y="3"/>
                  </a:cubicBezTo>
                  <a:cubicBezTo>
                    <a:pt x="89" y="4"/>
                    <a:pt x="89" y="4"/>
                    <a:pt x="89" y="4"/>
                  </a:cubicBezTo>
                  <a:cubicBezTo>
                    <a:pt x="90" y="5"/>
                    <a:pt x="91" y="7"/>
                    <a:pt x="91" y="9"/>
                  </a:cubicBezTo>
                  <a:cubicBezTo>
                    <a:pt x="91" y="10"/>
                    <a:pt x="91" y="11"/>
                    <a:pt x="90" y="12"/>
                  </a:cubicBezTo>
                  <a:cubicBezTo>
                    <a:pt x="89" y="14"/>
                    <a:pt x="87" y="15"/>
                    <a:pt x="85" y="15"/>
                  </a:cubicBezTo>
                  <a:cubicBezTo>
                    <a:pt x="85" y="18"/>
                    <a:pt x="85" y="18"/>
                    <a:pt x="85" y="18"/>
                  </a:cubicBezTo>
                  <a:cubicBezTo>
                    <a:pt x="84" y="15"/>
                    <a:pt x="84" y="15"/>
                    <a:pt x="84" y="15"/>
                  </a:cubicBezTo>
                  <a:cubicBezTo>
                    <a:pt x="83" y="15"/>
                    <a:pt x="83" y="15"/>
                    <a:pt x="83" y="15"/>
                  </a:cubicBezTo>
                  <a:cubicBezTo>
                    <a:pt x="82" y="15"/>
                    <a:pt x="82" y="15"/>
                    <a:pt x="82" y="15"/>
                  </a:cubicBezTo>
                  <a:cubicBezTo>
                    <a:pt x="81" y="15"/>
                    <a:pt x="81" y="15"/>
                    <a:pt x="81" y="15"/>
                  </a:cubicBezTo>
                  <a:cubicBezTo>
                    <a:pt x="81" y="14"/>
                    <a:pt x="81" y="14"/>
                    <a:pt x="81" y="14"/>
                  </a:cubicBezTo>
                  <a:cubicBezTo>
                    <a:pt x="80" y="14"/>
                    <a:pt x="80" y="14"/>
                    <a:pt x="79" y="14"/>
                  </a:cubicBezTo>
                  <a:cubicBezTo>
                    <a:pt x="79" y="13"/>
                    <a:pt x="78" y="12"/>
                    <a:pt x="78" y="12"/>
                  </a:cubicBezTo>
                  <a:cubicBezTo>
                    <a:pt x="77" y="11"/>
                    <a:pt x="77" y="11"/>
                    <a:pt x="77" y="11"/>
                  </a:cubicBezTo>
                  <a:cubicBezTo>
                    <a:pt x="77" y="11"/>
                    <a:pt x="77" y="11"/>
                    <a:pt x="77" y="11"/>
                  </a:cubicBezTo>
                  <a:cubicBezTo>
                    <a:pt x="77" y="11"/>
                    <a:pt x="77" y="11"/>
                    <a:pt x="77" y="11"/>
                  </a:cubicBezTo>
                  <a:cubicBezTo>
                    <a:pt x="76" y="11"/>
                    <a:pt x="76" y="11"/>
                    <a:pt x="76" y="11"/>
                  </a:cubicBezTo>
                  <a:cubicBezTo>
                    <a:pt x="75" y="11"/>
                    <a:pt x="75" y="11"/>
                    <a:pt x="75" y="11"/>
                  </a:cubicBezTo>
                  <a:cubicBezTo>
                    <a:pt x="74" y="11"/>
                    <a:pt x="74" y="11"/>
                    <a:pt x="74" y="11"/>
                  </a:cubicBezTo>
                  <a:cubicBezTo>
                    <a:pt x="73" y="11"/>
                    <a:pt x="73" y="11"/>
                    <a:pt x="72" y="11"/>
                  </a:cubicBezTo>
                  <a:cubicBezTo>
                    <a:pt x="71" y="11"/>
                    <a:pt x="71" y="11"/>
                    <a:pt x="71" y="11"/>
                  </a:cubicBezTo>
                  <a:cubicBezTo>
                    <a:pt x="71" y="11"/>
                    <a:pt x="70" y="11"/>
                    <a:pt x="70" y="11"/>
                  </a:cubicBezTo>
                  <a:cubicBezTo>
                    <a:pt x="70" y="11"/>
                    <a:pt x="68" y="11"/>
                    <a:pt x="67" y="9"/>
                  </a:cubicBezTo>
                  <a:cubicBezTo>
                    <a:pt x="67" y="9"/>
                    <a:pt x="66" y="8"/>
                    <a:pt x="66" y="7"/>
                  </a:cubicBezTo>
                  <a:cubicBezTo>
                    <a:pt x="65" y="7"/>
                    <a:pt x="64" y="8"/>
                    <a:pt x="63" y="8"/>
                  </a:cubicBezTo>
                  <a:cubicBezTo>
                    <a:pt x="61" y="8"/>
                    <a:pt x="60" y="7"/>
                    <a:pt x="60" y="6"/>
                  </a:cubicBezTo>
                  <a:cubicBezTo>
                    <a:pt x="59" y="6"/>
                    <a:pt x="59" y="5"/>
                    <a:pt x="59" y="5"/>
                  </a:cubicBezTo>
                  <a:cubicBezTo>
                    <a:pt x="58" y="4"/>
                    <a:pt x="58" y="4"/>
                    <a:pt x="58" y="4"/>
                  </a:cubicBezTo>
                  <a:cubicBezTo>
                    <a:pt x="58" y="4"/>
                    <a:pt x="58" y="4"/>
                    <a:pt x="58" y="4"/>
                  </a:cubicBezTo>
                  <a:cubicBezTo>
                    <a:pt x="57" y="4"/>
                    <a:pt x="57" y="4"/>
                    <a:pt x="57" y="4"/>
                  </a:cubicBezTo>
                  <a:cubicBezTo>
                    <a:pt x="57" y="4"/>
                    <a:pt x="57" y="4"/>
                    <a:pt x="57" y="4"/>
                  </a:cubicBezTo>
                  <a:cubicBezTo>
                    <a:pt x="56" y="4"/>
                    <a:pt x="54" y="4"/>
                    <a:pt x="52" y="4"/>
                  </a:cubicBezTo>
                  <a:cubicBezTo>
                    <a:pt x="52" y="4"/>
                    <a:pt x="51" y="4"/>
                    <a:pt x="50" y="4"/>
                  </a:cubicBezTo>
                  <a:cubicBezTo>
                    <a:pt x="48" y="5"/>
                    <a:pt x="45" y="5"/>
                    <a:pt x="43" y="5"/>
                  </a:cubicBezTo>
                  <a:cubicBezTo>
                    <a:pt x="43" y="5"/>
                    <a:pt x="42" y="5"/>
                    <a:pt x="42" y="5"/>
                  </a:cubicBezTo>
                  <a:cubicBezTo>
                    <a:pt x="40" y="5"/>
                    <a:pt x="38" y="5"/>
                    <a:pt x="37" y="4"/>
                  </a:cubicBezTo>
                  <a:cubicBezTo>
                    <a:pt x="35" y="4"/>
                    <a:pt x="35" y="4"/>
                    <a:pt x="35" y="4"/>
                  </a:cubicBezTo>
                  <a:cubicBezTo>
                    <a:pt x="33" y="4"/>
                    <a:pt x="30" y="4"/>
                    <a:pt x="27" y="4"/>
                  </a:cubicBezTo>
                  <a:cubicBezTo>
                    <a:pt x="27" y="4"/>
                    <a:pt x="26" y="4"/>
                    <a:pt x="25" y="4"/>
                  </a:cubicBezTo>
                  <a:cubicBezTo>
                    <a:pt x="25" y="4"/>
                    <a:pt x="24" y="4"/>
                    <a:pt x="23" y="4"/>
                  </a:cubicBezTo>
                  <a:cubicBezTo>
                    <a:pt x="20" y="5"/>
                    <a:pt x="17" y="6"/>
                    <a:pt x="15" y="8"/>
                  </a:cubicBezTo>
                  <a:cubicBezTo>
                    <a:pt x="15" y="8"/>
                    <a:pt x="14" y="8"/>
                    <a:pt x="14" y="8"/>
                  </a:cubicBezTo>
                  <a:cubicBezTo>
                    <a:pt x="13" y="9"/>
                    <a:pt x="13" y="11"/>
                    <a:pt x="12" y="12"/>
                  </a:cubicBezTo>
                  <a:cubicBezTo>
                    <a:pt x="9" y="16"/>
                    <a:pt x="7" y="19"/>
                    <a:pt x="4" y="22"/>
                  </a:cubicBezTo>
                  <a:cubicBezTo>
                    <a:pt x="3" y="22"/>
                    <a:pt x="3" y="23"/>
                    <a:pt x="2" y="23"/>
                  </a:cubicBezTo>
                  <a:cubicBezTo>
                    <a:pt x="1" y="25"/>
                    <a:pt x="1" y="25"/>
                    <a:pt x="1" y="25"/>
                  </a:cubicBezTo>
                  <a:cubicBezTo>
                    <a:pt x="0" y="25"/>
                    <a:pt x="1" y="27"/>
                    <a:pt x="3" y="30"/>
                  </a:cubicBezTo>
                  <a:cubicBezTo>
                    <a:pt x="3" y="31"/>
                    <a:pt x="3" y="31"/>
                    <a:pt x="3" y="31"/>
                  </a:cubicBezTo>
                  <a:cubicBezTo>
                    <a:pt x="4" y="34"/>
                    <a:pt x="5" y="35"/>
                    <a:pt x="5" y="37"/>
                  </a:cubicBezTo>
                  <a:cubicBezTo>
                    <a:pt x="5" y="38"/>
                    <a:pt x="5" y="38"/>
                    <a:pt x="5" y="38"/>
                  </a:cubicBezTo>
                  <a:cubicBezTo>
                    <a:pt x="5" y="39"/>
                    <a:pt x="5" y="41"/>
                    <a:pt x="5" y="41"/>
                  </a:cubicBezTo>
                  <a:cubicBezTo>
                    <a:pt x="5" y="41"/>
                    <a:pt x="5" y="41"/>
                    <a:pt x="5" y="41"/>
                  </a:cubicBezTo>
                  <a:cubicBezTo>
                    <a:pt x="7" y="43"/>
                    <a:pt x="7" y="43"/>
                    <a:pt x="7" y="43"/>
                  </a:cubicBezTo>
                  <a:cubicBezTo>
                    <a:pt x="9" y="44"/>
                    <a:pt x="10" y="45"/>
                    <a:pt x="10" y="46"/>
                  </a:cubicBezTo>
                  <a:cubicBezTo>
                    <a:pt x="10" y="46"/>
                    <a:pt x="10" y="46"/>
                    <a:pt x="10" y="46"/>
                  </a:cubicBezTo>
                  <a:cubicBezTo>
                    <a:pt x="11" y="47"/>
                    <a:pt x="11" y="47"/>
                    <a:pt x="11" y="48"/>
                  </a:cubicBezTo>
                  <a:cubicBezTo>
                    <a:pt x="11" y="48"/>
                    <a:pt x="11" y="48"/>
                    <a:pt x="11" y="48"/>
                  </a:cubicBezTo>
                  <a:cubicBezTo>
                    <a:pt x="11" y="49"/>
                    <a:pt x="11" y="49"/>
                    <a:pt x="11" y="49"/>
                  </a:cubicBezTo>
                  <a:cubicBezTo>
                    <a:pt x="11" y="50"/>
                    <a:pt x="11" y="50"/>
                    <a:pt x="11" y="51"/>
                  </a:cubicBezTo>
                  <a:cubicBezTo>
                    <a:pt x="11" y="55"/>
                    <a:pt x="12" y="59"/>
                    <a:pt x="13" y="62"/>
                  </a:cubicBezTo>
                  <a:cubicBezTo>
                    <a:pt x="13" y="64"/>
                    <a:pt x="13" y="64"/>
                    <a:pt x="13" y="64"/>
                  </a:cubicBezTo>
                  <a:cubicBezTo>
                    <a:pt x="12" y="64"/>
                    <a:pt x="12" y="64"/>
                    <a:pt x="12" y="64"/>
                  </a:cubicBezTo>
                  <a:cubicBezTo>
                    <a:pt x="14" y="65"/>
                    <a:pt x="15" y="67"/>
                    <a:pt x="14" y="69"/>
                  </a:cubicBezTo>
                  <a:cubicBezTo>
                    <a:pt x="14" y="69"/>
                    <a:pt x="14" y="69"/>
                    <a:pt x="15" y="69"/>
                  </a:cubicBezTo>
                  <a:cubicBezTo>
                    <a:pt x="17" y="69"/>
                    <a:pt x="18" y="74"/>
                    <a:pt x="17" y="75"/>
                  </a:cubicBezTo>
                  <a:cubicBezTo>
                    <a:pt x="14" y="78"/>
                    <a:pt x="17" y="82"/>
                    <a:pt x="18" y="85"/>
                  </a:cubicBezTo>
                  <a:cubicBezTo>
                    <a:pt x="18" y="85"/>
                    <a:pt x="18" y="85"/>
                    <a:pt x="19" y="85"/>
                  </a:cubicBezTo>
                  <a:cubicBezTo>
                    <a:pt x="20" y="85"/>
                    <a:pt x="23" y="85"/>
                    <a:pt x="23" y="84"/>
                  </a:cubicBezTo>
                  <a:cubicBezTo>
                    <a:pt x="25" y="83"/>
                    <a:pt x="26" y="80"/>
                    <a:pt x="27" y="78"/>
                  </a:cubicBezTo>
                  <a:cubicBezTo>
                    <a:pt x="27" y="82"/>
                    <a:pt x="28" y="85"/>
                    <a:pt x="29" y="88"/>
                  </a:cubicBezTo>
                  <a:cubicBezTo>
                    <a:pt x="30" y="89"/>
                    <a:pt x="28" y="89"/>
                    <a:pt x="27" y="89"/>
                  </a:cubicBezTo>
                  <a:cubicBezTo>
                    <a:pt x="26" y="90"/>
                    <a:pt x="27" y="92"/>
                    <a:pt x="27" y="93"/>
                  </a:cubicBezTo>
                  <a:cubicBezTo>
                    <a:pt x="30" y="92"/>
                    <a:pt x="32" y="92"/>
                    <a:pt x="35" y="92"/>
                  </a:cubicBezTo>
                  <a:cubicBezTo>
                    <a:pt x="38" y="92"/>
                    <a:pt x="42" y="92"/>
                    <a:pt x="45" y="94"/>
                  </a:cubicBezTo>
                  <a:cubicBezTo>
                    <a:pt x="45" y="94"/>
                    <a:pt x="45" y="94"/>
                    <a:pt x="45" y="94"/>
                  </a:cubicBezTo>
                  <a:cubicBezTo>
                    <a:pt x="46" y="93"/>
                    <a:pt x="46" y="93"/>
                    <a:pt x="46" y="93"/>
                  </a:cubicBezTo>
                  <a:cubicBezTo>
                    <a:pt x="48" y="93"/>
                    <a:pt x="50" y="91"/>
                    <a:pt x="53" y="91"/>
                  </a:cubicBezTo>
                  <a:cubicBezTo>
                    <a:pt x="56" y="90"/>
                    <a:pt x="58" y="88"/>
                    <a:pt x="58" y="88"/>
                  </a:cubicBezTo>
                  <a:cubicBezTo>
                    <a:pt x="58" y="86"/>
                    <a:pt x="58" y="83"/>
                    <a:pt x="60" y="82"/>
                  </a:cubicBezTo>
                  <a:cubicBezTo>
                    <a:pt x="60" y="82"/>
                    <a:pt x="61" y="81"/>
                    <a:pt x="62" y="81"/>
                  </a:cubicBezTo>
                  <a:cubicBezTo>
                    <a:pt x="62" y="81"/>
                    <a:pt x="62" y="81"/>
                    <a:pt x="63" y="81"/>
                  </a:cubicBezTo>
                  <a:cubicBezTo>
                    <a:pt x="63" y="81"/>
                    <a:pt x="64" y="81"/>
                    <a:pt x="64" y="81"/>
                  </a:cubicBezTo>
                  <a:cubicBezTo>
                    <a:pt x="64" y="81"/>
                    <a:pt x="65" y="81"/>
                    <a:pt x="65" y="81"/>
                  </a:cubicBezTo>
                  <a:cubicBezTo>
                    <a:pt x="67" y="81"/>
                    <a:pt x="69" y="81"/>
                    <a:pt x="70" y="81"/>
                  </a:cubicBezTo>
                  <a:cubicBezTo>
                    <a:pt x="71" y="81"/>
                    <a:pt x="71" y="81"/>
                    <a:pt x="71" y="81"/>
                  </a:cubicBezTo>
                  <a:cubicBezTo>
                    <a:pt x="73" y="80"/>
                    <a:pt x="77" y="80"/>
                    <a:pt x="77" y="80"/>
                  </a:cubicBezTo>
                  <a:cubicBezTo>
                    <a:pt x="77" y="80"/>
                    <a:pt x="77" y="80"/>
                    <a:pt x="77" y="80"/>
                  </a:cubicBezTo>
                  <a:cubicBezTo>
                    <a:pt x="79" y="80"/>
                    <a:pt x="80" y="80"/>
                    <a:pt x="82" y="80"/>
                  </a:cubicBezTo>
                  <a:cubicBezTo>
                    <a:pt x="81" y="80"/>
                    <a:pt x="81" y="80"/>
                    <a:pt x="80" y="79"/>
                  </a:cubicBezTo>
                  <a:cubicBezTo>
                    <a:pt x="78" y="76"/>
                    <a:pt x="78" y="73"/>
                    <a:pt x="77" y="71"/>
                  </a:cubicBezTo>
                  <a:cubicBezTo>
                    <a:pt x="77" y="70"/>
                    <a:pt x="77" y="70"/>
                    <a:pt x="77" y="70"/>
                  </a:cubicBezTo>
                  <a:cubicBezTo>
                    <a:pt x="77" y="70"/>
                    <a:pt x="77" y="69"/>
                    <a:pt x="77" y="69"/>
                  </a:cubicBezTo>
                  <a:cubicBezTo>
                    <a:pt x="77" y="66"/>
                    <a:pt x="80" y="63"/>
                    <a:pt x="82" y="62"/>
                  </a:cubicBezTo>
                  <a:cubicBezTo>
                    <a:pt x="83" y="61"/>
                    <a:pt x="84" y="61"/>
                    <a:pt x="85" y="61"/>
                  </a:cubicBezTo>
                  <a:cubicBezTo>
                    <a:pt x="85" y="61"/>
                    <a:pt x="85" y="61"/>
                    <a:pt x="86" y="61"/>
                  </a:cubicBezTo>
                  <a:cubicBezTo>
                    <a:pt x="91" y="62"/>
                    <a:pt x="91" y="62"/>
                    <a:pt x="91" y="62"/>
                  </a:cubicBezTo>
                  <a:cubicBezTo>
                    <a:pt x="91" y="60"/>
                    <a:pt x="91" y="57"/>
                    <a:pt x="94" y="56"/>
                  </a:cubicBezTo>
                  <a:cubicBezTo>
                    <a:pt x="97" y="55"/>
                    <a:pt x="100" y="54"/>
                    <a:pt x="103" y="54"/>
                  </a:cubicBezTo>
                  <a:cubicBezTo>
                    <a:pt x="104" y="53"/>
                    <a:pt x="104" y="53"/>
                    <a:pt x="104" y="53"/>
                  </a:cubicBezTo>
                  <a:cubicBezTo>
                    <a:pt x="106" y="53"/>
                    <a:pt x="106" y="53"/>
                    <a:pt x="107" y="53"/>
                  </a:cubicBezTo>
                  <a:cubicBezTo>
                    <a:pt x="107" y="52"/>
                    <a:pt x="107" y="52"/>
                    <a:pt x="107" y="52"/>
                  </a:cubicBezTo>
                  <a:cubicBezTo>
                    <a:pt x="108" y="51"/>
                    <a:pt x="109" y="50"/>
                    <a:pt x="110" y="49"/>
                  </a:cubicBezTo>
                  <a:cubicBezTo>
                    <a:pt x="111" y="49"/>
                    <a:pt x="111" y="49"/>
                    <a:pt x="111" y="49"/>
                  </a:cubicBezTo>
                  <a:cubicBezTo>
                    <a:pt x="112" y="48"/>
                    <a:pt x="113" y="48"/>
                    <a:pt x="114" y="48"/>
                  </a:cubicBezTo>
                  <a:cubicBezTo>
                    <a:pt x="115" y="48"/>
                    <a:pt x="116" y="49"/>
                    <a:pt x="117" y="49"/>
                  </a:cubicBezTo>
                  <a:cubicBezTo>
                    <a:pt x="117" y="49"/>
                    <a:pt x="117" y="49"/>
                    <a:pt x="118" y="49"/>
                  </a:cubicBezTo>
                  <a:cubicBezTo>
                    <a:pt x="118" y="49"/>
                    <a:pt x="118" y="49"/>
                    <a:pt x="118" y="49"/>
                  </a:cubicBezTo>
                  <a:cubicBezTo>
                    <a:pt x="118" y="49"/>
                    <a:pt x="118" y="49"/>
                    <a:pt x="118" y="48"/>
                  </a:cubicBezTo>
                  <a:cubicBezTo>
                    <a:pt x="118" y="47"/>
                    <a:pt x="118" y="47"/>
                    <a:pt x="118" y="47"/>
                  </a:cubicBezTo>
                  <a:cubicBezTo>
                    <a:pt x="118" y="46"/>
                    <a:pt x="118" y="46"/>
                    <a:pt x="118" y="46"/>
                  </a:cubicBezTo>
                  <a:cubicBezTo>
                    <a:pt x="118" y="46"/>
                    <a:pt x="118" y="46"/>
                    <a:pt x="118" y="46"/>
                  </a:cubicBezTo>
                  <a:cubicBezTo>
                    <a:pt x="118" y="44"/>
                    <a:pt x="118" y="42"/>
                    <a:pt x="118" y="40"/>
                  </a:cubicBezTo>
                  <a:cubicBezTo>
                    <a:pt x="117" y="38"/>
                    <a:pt x="117" y="36"/>
                    <a:pt x="117" y="34"/>
                  </a:cubicBezTo>
                  <a:cubicBezTo>
                    <a:pt x="118" y="32"/>
                    <a:pt x="118" y="32"/>
                    <a:pt x="118" y="32"/>
                  </a:cubicBezTo>
                  <a:cubicBezTo>
                    <a:pt x="118" y="30"/>
                    <a:pt x="119" y="28"/>
                    <a:pt x="119" y="26"/>
                  </a:cubicBezTo>
                  <a:cubicBezTo>
                    <a:pt x="120" y="24"/>
                    <a:pt x="120" y="24"/>
                    <a:pt x="120" y="24"/>
                  </a:cubicBezTo>
                  <a:cubicBezTo>
                    <a:pt x="120" y="24"/>
                    <a:pt x="118" y="22"/>
                    <a:pt x="118" y="21"/>
                  </a:cubicBezTo>
                  <a:cubicBezTo>
                    <a:pt x="118" y="20"/>
                    <a:pt x="117" y="20"/>
                    <a:pt x="117" y="19"/>
                  </a:cubicBezTo>
                  <a:cubicBezTo>
                    <a:pt x="116" y="17"/>
                    <a:pt x="116" y="16"/>
                    <a:pt x="116" y="14"/>
                  </a:cubicBezTo>
                  <a:cubicBezTo>
                    <a:pt x="116" y="14"/>
                    <a:pt x="116" y="14"/>
                    <a:pt x="116" y="14"/>
                  </a:cubicBezTo>
                  <a:cubicBezTo>
                    <a:pt x="116" y="13"/>
                    <a:pt x="116" y="13"/>
                    <a:pt x="116" y="13"/>
                  </a:cubicBezTo>
                  <a:cubicBezTo>
                    <a:pt x="114" y="11"/>
                    <a:pt x="112" y="9"/>
                    <a:pt x="113" y="7"/>
                  </a:cubicBezTo>
                  <a:cubicBezTo>
                    <a:pt x="114" y="3"/>
                    <a:pt x="114" y="3"/>
                    <a:pt x="114" y="3"/>
                  </a:cubicBezTo>
                  <a:cubicBezTo>
                    <a:pt x="115" y="2"/>
                    <a:pt x="115" y="1"/>
                    <a:pt x="115" y="1"/>
                  </a:cubicBezTo>
                  <a:cubicBezTo>
                    <a:pt x="115" y="1"/>
                    <a:pt x="114" y="1"/>
                    <a:pt x="114" y="2"/>
                  </a:cubicBezTo>
                  <a:cubicBezTo>
                    <a:pt x="112" y="2"/>
                    <a:pt x="111" y="3"/>
                    <a:pt x="110" y="4"/>
                  </a:cubicBezTo>
                  <a:cubicBezTo>
                    <a:pt x="110" y="4"/>
                    <a:pt x="110" y="4"/>
                    <a:pt x="110" y="4"/>
                  </a:cubicBezTo>
                  <a:cubicBezTo>
                    <a:pt x="109" y="5"/>
                    <a:pt x="108" y="5"/>
                    <a:pt x="107" y="5"/>
                  </a:cubicBezTo>
                  <a:cubicBezTo>
                    <a:pt x="106" y="5"/>
                    <a:pt x="105" y="5"/>
                    <a:pt x="104" y="4"/>
                  </a:cubicBezTo>
                  <a:cubicBezTo>
                    <a:pt x="97" y="2"/>
                    <a:pt x="97" y="2"/>
                    <a:pt x="97" y="2"/>
                  </a:cubicBezTo>
                  <a:cubicBezTo>
                    <a:pt x="97" y="1"/>
                    <a:pt x="96" y="1"/>
                    <a:pt x="96" y="0"/>
                  </a:cubicBezTo>
                  <a:cubicBezTo>
                    <a:pt x="96" y="0"/>
                    <a:pt x="96" y="0"/>
                    <a:pt x="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1558"/>
            <p:cNvSpPr/>
            <p:nvPr/>
          </p:nvSpPr>
          <p:spPr bwMode="auto">
            <a:xfrm>
              <a:off x="579889" y="1479256"/>
              <a:ext cx="797347" cy="332900"/>
            </a:xfrm>
            <a:custGeom>
              <a:gdLst>
                <a:gd name="T0" fmla="*/ 103 w 251"/>
                <a:gd name="T1" fmla="*/ 2 h 105"/>
                <a:gd name="T2" fmla="*/ 95 w 251"/>
                <a:gd name="T3" fmla="*/ 22 h 105"/>
                <a:gd name="T4" fmla="*/ 65 w 251"/>
                <a:gd name="T5" fmla="*/ 12 h 105"/>
                <a:gd name="T6" fmla="*/ 47 w 251"/>
                <a:gd name="T7" fmla="*/ 12 h 105"/>
                <a:gd name="T8" fmla="*/ 43 w 251"/>
                <a:gd name="T9" fmla="*/ 15 h 105"/>
                <a:gd name="T10" fmla="*/ 39 w 251"/>
                <a:gd name="T11" fmla="*/ 21 h 105"/>
                <a:gd name="T12" fmla="*/ 41 w 251"/>
                <a:gd name="T13" fmla="*/ 30 h 105"/>
                <a:gd name="T14" fmla="*/ 25 w 251"/>
                <a:gd name="T15" fmla="*/ 44 h 105"/>
                <a:gd name="T16" fmla="*/ 35 w 251"/>
                <a:gd name="T17" fmla="*/ 50 h 105"/>
                <a:gd name="T18" fmla="*/ 48 w 251"/>
                <a:gd name="T19" fmla="*/ 41 h 105"/>
                <a:gd name="T20" fmla="*/ 63 w 251"/>
                <a:gd name="T21" fmla="*/ 50 h 105"/>
                <a:gd name="T22" fmla="*/ 70 w 251"/>
                <a:gd name="T23" fmla="*/ 56 h 105"/>
                <a:gd name="T24" fmla="*/ 87 w 251"/>
                <a:gd name="T25" fmla="*/ 60 h 105"/>
                <a:gd name="T26" fmla="*/ 86 w 251"/>
                <a:gd name="T27" fmla="*/ 68 h 105"/>
                <a:gd name="T28" fmla="*/ 80 w 251"/>
                <a:gd name="T29" fmla="*/ 71 h 105"/>
                <a:gd name="T30" fmla="*/ 73 w 251"/>
                <a:gd name="T31" fmla="*/ 75 h 105"/>
                <a:gd name="T32" fmla="*/ 64 w 251"/>
                <a:gd name="T33" fmla="*/ 78 h 105"/>
                <a:gd name="T34" fmla="*/ 47 w 251"/>
                <a:gd name="T35" fmla="*/ 82 h 105"/>
                <a:gd name="T36" fmla="*/ 43 w 251"/>
                <a:gd name="T37" fmla="*/ 81 h 105"/>
                <a:gd name="T38" fmla="*/ 37 w 251"/>
                <a:gd name="T39" fmla="*/ 83 h 105"/>
                <a:gd name="T40" fmla="*/ 31 w 251"/>
                <a:gd name="T41" fmla="*/ 87 h 105"/>
                <a:gd name="T42" fmla="*/ 28 w 251"/>
                <a:gd name="T43" fmla="*/ 90 h 105"/>
                <a:gd name="T44" fmla="*/ 24 w 251"/>
                <a:gd name="T45" fmla="*/ 92 h 105"/>
                <a:gd name="T46" fmla="*/ 7 w 251"/>
                <a:gd name="T47" fmla="*/ 85 h 105"/>
                <a:gd name="T48" fmla="*/ 2 w 251"/>
                <a:gd name="T49" fmla="*/ 90 h 105"/>
                <a:gd name="T50" fmla="*/ 36 w 251"/>
                <a:gd name="T51" fmla="*/ 99 h 105"/>
                <a:gd name="T52" fmla="*/ 48 w 251"/>
                <a:gd name="T53" fmla="*/ 95 h 105"/>
                <a:gd name="T54" fmla="*/ 58 w 251"/>
                <a:gd name="T55" fmla="*/ 104 h 105"/>
                <a:gd name="T56" fmla="*/ 80 w 251"/>
                <a:gd name="T57" fmla="*/ 101 h 105"/>
                <a:gd name="T58" fmla="*/ 97 w 251"/>
                <a:gd name="T59" fmla="*/ 99 h 105"/>
                <a:gd name="T60" fmla="*/ 103 w 251"/>
                <a:gd name="T61" fmla="*/ 96 h 105"/>
                <a:gd name="T62" fmla="*/ 104 w 251"/>
                <a:gd name="T63" fmla="*/ 88 h 105"/>
                <a:gd name="T64" fmla="*/ 125 w 251"/>
                <a:gd name="T65" fmla="*/ 76 h 105"/>
                <a:gd name="T66" fmla="*/ 128 w 251"/>
                <a:gd name="T67" fmla="*/ 70 h 105"/>
                <a:gd name="T68" fmla="*/ 138 w 251"/>
                <a:gd name="T69" fmla="*/ 69 h 105"/>
                <a:gd name="T70" fmla="*/ 145 w 251"/>
                <a:gd name="T71" fmla="*/ 66 h 105"/>
                <a:gd name="T72" fmla="*/ 150 w 251"/>
                <a:gd name="T73" fmla="*/ 75 h 105"/>
                <a:gd name="T74" fmla="*/ 156 w 251"/>
                <a:gd name="T75" fmla="*/ 73 h 105"/>
                <a:gd name="T76" fmla="*/ 163 w 251"/>
                <a:gd name="T77" fmla="*/ 73 h 105"/>
                <a:gd name="T78" fmla="*/ 167 w 251"/>
                <a:gd name="T79" fmla="*/ 64 h 105"/>
                <a:gd name="T80" fmla="*/ 191 w 251"/>
                <a:gd name="T81" fmla="*/ 53 h 105"/>
                <a:gd name="T82" fmla="*/ 208 w 251"/>
                <a:gd name="T83" fmla="*/ 50 h 105"/>
                <a:gd name="T84" fmla="*/ 218 w 251"/>
                <a:gd name="T85" fmla="*/ 41 h 105"/>
                <a:gd name="T86" fmla="*/ 250 w 251"/>
                <a:gd name="T87" fmla="*/ 28 h 105"/>
                <a:gd name="T88" fmla="*/ 250 w 251"/>
                <a:gd name="T89" fmla="*/ 26 h 105"/>
                <a:gd name="T90" fmla="*/ 240 w 251"/>
                <a:gd name="T91" fmla="*/ 21 h 105"/>
                <a:gd name="T92" fmla="*/ 228 w 251"/>
                <a:gd name="T93" fmla="*/ 11 h 105"/>
                <a:gd name="T94" fmla="*/ 215 w 251"/>
                <a:gd name="T95" fmla="*/ 9 h 105"/>
                <a:gd name="T96" fmla="*/ 206 w 251"/>
                <a:gd name="T97" fmla="*/ 9 h 105"/>
                <a:gd name="T98" fmla="*/ 188 w 251"/>
                <a:gd name="T99" fmla="*/ 8 h 105"/>
                <a:gd name="T100" fmla="*/ 163 w 251"/>
                <a:gd name="T101" fmla="*/ 7 h 105"/>
                <a:gd name="T102" fmla="*/ 140 w 251"/>
                <a:gd name="T103" fmla="*/ 9 h 105"/>
                <a:gd name="T104" fmla="*/ 129 w 251"/>
                <a:gd name="T105" fmla="*/ 7 h 105"/>
                <a:gd name="T106" fmla="*/ 117 w 251"/>
                <a:gd name="T107" fmla="*/ 1 h 1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1" h="105">
                  <a:moveTo>
                    <a:pt x="110" y="0"/>
                  </a:moveTo>
                  <a:cubicBezTo>
                    <a:pt x="108" y="0"/>
                    <a:pt x="106" y="0"/>
                    <a:pt x="104" y="2"/>
                  </a:cubicBezTo>
                  <a:cubicBezTo>
                    <a:pt x="104" y="2"/>
                    <a:pt x="104" y="2"/>
                    <a:pt x="104" y="2"/>
                  </a:cubicBezTo>
                  <a:cubicBezTo>
                    <a:pt x="103" y="2"/>
                    <a:pt x="103" y="2"/>
                    <a:pt x="103" y="2"/>
                  </a:cubicBezTo>
                  <a:cubicBezTo>
                    <a:pt x="103" y="2"/>
                    <a:pt x="103" y="2"/>
                    <a:pt x="103" y="2"/>
                  </a:cubicBezTo>
                  <a:cubicBezTo>
                    <a:pt x="98" y="4"/>
                    <a:pt x="97" y="10"/>
                    <a:pt x="98" y="14"/>
                  </a:cubicBezTo>
                  <a:cubicBezTo>
                    <a:pt x="98" y="14"/>
                    <a:pt x="98" y="15"/>
                    <a:pt x="98" y="15"/>
                  </a:cubicBezTo>
                  <a:cubicBezTo>
                    <a:pt x="98" y="16"/>
                    <a:pt x="98" y="17"/>
                    <a:pt x="99" y="17"/>
                  </a:cubicBezTo>
                  <a:cubicBezTo>
                    <a:pt x="102" y="24"/>
                    <a:pt x="102" y="24"/>
                    <a:pt x="102" y="24"/>
                  </a:cubicBezTo>
                  <a:cubicBezTo>
                    <a:pt x="95" y="22"/>
                    <a:pt x="95" y="22"/>
                    <a:pt x="95" y="22"/>
                  </a:cubicBezTo>
                  <a:cubicBezTo>
                    <a:pt x="92" y="21"/>
                    <a:pt x="89" y="20"/>
                    <a:pt x="85" y="18"/>
                  </a:cubicBezTo>
                  <a:cubicBezTo>
                    <a:pt x="80" y="17"/>
                    <a:pt x="75" y="15"/>
                    <a:pt x="69" y="14"/>
                  </a:cubicBezTo>
                  <a:cubicBezTo>
                    <a:pt x="68" y="13"/>
                    <a:pt x="67" y="13"/>
                    <a:pt x="66" y="13"/>
                  </a:cubicBezTo>
                  <a:cubicBezTo>
                    <a:pt x="65" y="12"/>
                    <a:pt x="65" y="12"/>
                    <a:pt x="65" y="12"/>
                  </a:cubicBezTo>
                  <a:cubicBezTo>
                    <a:pt x="65" y="12"/>
                    <a:pt x="65" y="12"/>
                    <a:pt x="65" y="12"/>
                  </a:cubicBezTo>
                  <a:cubicBezTo>
                    <a:pt x="64" y="12"/>
                    <a:pt x="63" y="12"/>
                    <a:pt x="63" y="12"/>
                  </a:cubicBezTo>
                  <a:cubicBezTo>
                    <a:pt x="51" y="12"/>
                    <a:pt x="51" y="12"/>
                    <a:pt x="51" y="12"/>
                  </a:cubicBezTo>
                  <a:cubicBezTo>
                    <a:pt x="51" y="12"/>
                    <a:pt x="51" y="12"/>
                    <a:pt x="51" y="12"/>
                  </a:cubicBezTo>
                  <a:cubicBezTo>
                    <a:pt x="51" y="12"/>
                    <a:pt x="50" y="12"/>
                    <a:pt x="50" y="12"/>
                  </a:cubicBezTo>
                  <a:cubicBezTo>
                    <a:pt x="49" y="12"/>
                    <a:pt x="48" y="12"/>
                    <a:pt x="47" y="12"/>
                  </a:cubicBezTo>
                  <a:cubicBezTo>
                    <a:pt x="47" y="12"/>
                    <a:pt x="47" y="12"/>
                    <a:pt x="46" y="12"/>
                  </a:cubicBezTo>
                  <a:cubicBezTo>
                    <a:pt x="46" y="12"/>
                    <a:pt x="46" y="12"/>
                    <a:pt x="46" y="12"/>
                  </a:cubicBezTo>
                  <a:cubicBezTo>
                    <a:pt x="46" y="13"/>
                    <a:pt x="46" y="13"/>
                    <a:pt x="46" y="13"/>
                  </a:cubicBezTo>
                  <a:cubicBezTo>
                    <a:pt x="45" y="13"/>
                    <a:pt x="44" y="14"/>
                    <a:pt x="44" y="15"/>
                  </a:cubicBezTo>
                  <a:cubicBezTo>
                    <a:pt x="43" y="15"/>
                    <a:pt x="43" y="15"/>
                    <a:pt x="43" y="15"/>
                  </a:cubicBezTo>
                  <a:cubicBezTo>
                    <a:pt x="43" y="15"/>
                    <a:pt x="43" y="15"/>
                    <a:pt x="43" y="15"/>
                  </a:cubicBezTo>
                  <a:cubicBezTo>
                    <a:pt x="43" y="16"/>
                    <a:pt x="43" y="16"/>
                    <a:pt x="42" y="17"/>
                  </a:cubicBezTo>
                  <a:cubicBezTo>
                    <a:pt x="41" y="18"/>
                    <a:pt x="41" y="18"/>
                    <a:pt x="41" y="18"/>
                  </a:cubicBezTo>
                  <a:cubicBezTo>
                    <a:pt x="40" y="19"/>
                    <a:pt x="39" y="20"/>
                    <a:pt x="38" y="21"/>
                  </a:cubicBezTo>
                  <a:cubicBezTo>
                    <a:pt x="39" y="21"/>
                    <a:pt x="39" y="21"/>
                    <a:pt x="39" y="21"/>
                  </a:cubicBezTo>
                  <a:cubicBezTo>
                    <a:pt x="39" y="21"/>
                    <a:pt x="39" y="21"/>
                    <a:pt x="39" y="21"/>
                  </a:cubicBezTo>
                  <a:cubicBezTo>
                    <a:pt x="39" y="21"/>
                    <a:pt x="40" y="21"/>
                    <a:pt x="42" y="22"/>
                  </a:cubicBezTo>
                  <a:cubicBezTo>
                    <a:pt x="42" y="22"/>
                    <a:pt x="43" y="22"/>
                    <a:pt x="44" y="22"/>
                  </a:cubicBezTo>
                  <a:cubicBezTo>
                    <a:pt x="50" y="24"/>
                    <a:pt x="50" y="24"/>
                    <a:pt x="50" y="24"/>
                  </a:cubicBezTo>
                  <a:cubicBezTo>
                    <a:pt x="41" y="30"/>
                    <a:pt x="41" y="30"/>
                    <a:pt x="41" y="30"/>
                  </a:cubicBezTo>
                  <a:cubicBezTo>
                    <a:pt x="37" y="32"/>
                    <a:pt x="27" y="38"/>
                    <a:pt x="22" y="42"/>
                  </a:cubicBezTo>
                  <a:cubicBezTo>
                    <a:pt x="23" y="42"/>
                    <a:pt x="23" y="42"/>
                    <a:pt x="23" y="42"/>
                  </a:cubicBezTo>
                  <a:cubicBezTo>
                    <a:pt x="23" y="42"/>
                    <a:pt x="23" y="42"/>
                    <a:pt x="24" y="43"/>
                  </a:cubicBezTo>
                  <a:cubicBezTo>
                    <a:pt x="24" y="43"/>
                    <a:pt x="24" y="43"/>
                    <a:pt x="24" y="43"/>
                  </a:cubicBezTo>
                  <a:cubicBezTo>
                    <a:pt x="25" y="43"/>
                    <a:pt x="25" y="43"/>
                    <a:pt x="25" y="44"/>
                  </a:cubicBezTo>
                  <a:cubicBezTo>
                    <a:pt x="31" y="42"/>
                    <a:pt x="31" y="42"/>
                    <a:pt x="31" y="42"/>
                  </a:cubicBezTo>
                  <a:cubicBezTo>
                    <a:pt x="32" y="45"/>
                    <a:pt x="32" y="45"/>
                    <a:pt x="32" y="45"/>
                  </a:cubicBezTo>
                  <a:cubicBezTo>
                    <a:pt x="32" y="45"/>
                    <a:pt x="33" y="46"/>
                    <a:pt x="33" y="47"/>
                  </a:cubicBezTo>
                  <a:cubicBezTo>
                    <a:pt x="33" y="48"/>
                    <a:pt x="33" y="49"/>
                    <a:pt x="34" y="49"/>
                  </a:cubicBezTo>
                  <a:cubicBezTo>
                    <a:pt x="35" y="50"/>
                    <a:pt x="35" y="50"/>
                    <a:pt x="35" y="50"/>
                  </a:cubicBezTo>
                  <a:cubicBezTo>
                    <a:pt x="37" y="51"/>
                    <a:pt x="41" y="51"/>
                    <a:pt x="44" y="52"/>
                  </a:cubicBezTo>
                  <a:cubicBezTo>
                    <a:pt x="44" y="51"/>
                    <a:pt x="44" y="50"/>
                    <a:pt x="44" y="48"/>
                  </a:cubicBezTo>
                  <a:cubicBezTo>
                    <a:pt x="45" y="45"/>
                    <a:pt x="45" y="45"/>
                    <a:pt x="45" y="45"/>
                  </a:cubicBezTo>
                  <a:cubicBezTo>
                    <a:pt x="48" y="46"/>
                    <a:pt x="48" y="46"/>
                    <a:pt x="48" y="46"/>
                  </a:cubicBezTo>
                  <a:cubicBezTo>
                    <a:pt x="48" y="41"/>
                    <a:pt x="48" y="41"/>
                    <a:pt x="48" y="41"/>
                  </a:cubicBezTo>
                  <a:cubicBezTo>
                    <a:pt x="52" y="42"/>
                    <a:pt x="52" y="42"/>
                    <a:pt x="52" y="42"/>
                  </a:cubicBezTo>
                  <a:cubicBezTo>
                    <a:pt x="57" y="44"/>
                    <a:pt x="59" y="47"/>
                    <a:pt x="61" y="50"/>
                  </a:cubicBezTo>
                  <a:cubicBezTo>
                    <a:pt x="61" y="50"/>
                    <a:pt x="61" y="50"/>
                    <a:pt x="61" y="50"/>
                  </a:cubicBezTo>
                  <a:cubicBezTo>
                    <a:pt x="61" y="50"/>
                    <a:pt x="61" y="50"/>
                    <a:pt x="61" y="50"/>
                  </a:cubicBezTo>
                  <a:cubicBezTo>
                    <a:pt x="62" y="50"/>
                    <a:pt x="62" y="50"/>
                    <a:pt x="63" y="50"/>
                  </a:cubicBezTo>
                  <a:cubicBezTo>
                    <a:pt x="64" y="50"/>
                    <a:pt x="65" y="50"/>
                    <a:pt x="66" y="51"/>
                  </a:cubicBezTo>
                  <a:cubicBezTo>
                    <a:pt x="67" y="52"/>
                    <a:pt x="67" y="54"/>
                    <a:pt x="67" y="55"/>
                  </a:cubicBezTo>
                  <a:cubicBezTo>
                    <a:pt x="68" y="55"/>
                    <a:pt x="68" y="55"/>
                    <a:pt x="69" y="55"/>
                  </a:cubicBezTo>
                  <a:cubicBezTo>
                    <a:pt x="70" y="50"/>
                    <a:pt x="70" y="50"/>
                    <a:pt x="70" y="50"/>
                  </a:cubicBezTo>
                  <a:cubicBezTo>
                    <a:pt x="70" y="56"/>
                    <a:pt x="70" y="56"/>
                    <a:pt x="70" y="56"/>
                  </a:cubicBezTo>
                  <a:cubicBezTo>
                    <a:pt x="72" y="56"/>
                    <a:pt x="72" y="56"/>
                    <a:pt x="72" y="56"/>
                  </a:cubicBezTo>
                  <a:cubicBezTo>
                    <a:pt x="73" y="57"/>
                    <a:pt x="74" y="57"/>
                    <a:pt x="75" y="57"/>
                  </a:cubicBezTo>
                  <a:cubicBezTo>
                    <a:pt x="76" y="58"/>
                    <a:pt x="76" y="59"/>
                    <a:pt x="77" y="59"/>
                  </a:cubicBezTo>
                  <a:cubicBezTo>
                    <a:pt x="78" y="60"/>
                    <a:pt x="81" y="60"/>
                    <a:pt x="84" y="60"/>
                  </a:cubicBezTo>
                  <a:cubicBezTo>
                    <a:pt x="85" y="60"/>
                    <a:pt x="86" y="60"/>
                    <a:pt x="87" y="60"/>
                  </a:cubicBezTo>
                  <a:cubicBezTo>
                    <a:pt x="91" y="61"/>
                    <a:pt x="91" y="61"/>
                    <a:pt x="91" y="61"/>
                  </a:cubicBezTo>
                  <a:cubicBezTo>
                    <a:pt x="90" y="64"/>
                    <a:pt x="90" y="64"/>
                    <a:pt x="90" y="64"/>
                  </a:cubicBezTo>
                  <a:cubicBezTo>
                    <a:pt x="90" y="65"/>
                    <a:pt x="89" y="66"/>
                    <a:pt x="88" y="67"/>
                  </a:cubicBezTo>
                  <a:cubicBezTo>
                    <a:pt x="87" y="68"/>
                    <a:pt x="87" y="68"/>
                    <a:pt x="87" y="68"/>
                  </a:cubicBezTo>
                  <a:cubicBezTo>
                    <a:pt x="87" y="68"/>
                    <a:pt x="86" y="68"/>
                    <a:pt x="86" y="68"/>
                  </a:cubicBezTo>
                  <a:cubicBezTo>
                    <a:pt x="85" y="69"/>
                    <a:pt x="84" y="69"/>
                    <a:pt x="83" y="70"/>
                  </a:cubicBezTo>
                  <a:cubicBezTo>
                    <a:pt x="82" y="70"/>
                    <a:pt x="82" y="70"/>
                    <a:pt x="82" y="70"/>
                  </a:cubicBezTo>
                  <a:cubicBezTo>
                    <a:pt x="81" y="70"/>
                    <a:pt x="81" y="70"/>
                    <a:pt x="81" y="70"/>
                  </a:cubicBezTo>
                  <a:cubicBezTo>
                    <a:pt x="81" y="71"/>
                    <a:pt x="81" y="71"/>
                    <a:pt x="81" y="71"/>
                  </a:cubicBezTo>
                  <a:cubicBezTo>
                    <a:pt x="80" y="71"/>
                    <a:pt x="80" y="71"/>
                    <a:pt x="80" y="71"/>
                  </a:cubicBezTo>
                  <a:cubicBezTo>
                    <a:pt x="80" y="73"/>
                    <a:pt x="78" y="75"/>
                    <a:pt x="76" y="75"/>
                  </a:cubicBezTo>
                  <a:cubicBezTo>
                    <a:pt x="76" y="75"/>
                    <a:pt x="76" y="75"/>
                    <a:pt x="76" y="75"/>
                  </a:cubicBezTo>
                  <a:cubicBezTo>
                    <a:pt x="76" y="75"/>
                    <a:pt x="75" y="75"/>
                    <a:pt x="75" y="75"/>
                  </a:cubicBezTo>
                  <a:cubicBezTo>
                    <a:pt x="74" y="75"/>
                    <a:pt x="73" y="75"/>
                    <a:pt x="73" y="75"/>
                  </a:cubicBezTo>
                  <a:cubicBezTo>
                    <a:pt x="73" y="75"/>
                    <a:pt x="73" y="75"/>
                    <a:pt x="73" y="75"/>
                  </a:cubicBezTo>
                  <a:cubicBezTo>
                    <a:pt x="74" y="81"/>
                    <a:pt x="74" y="81"/>
                    <a:pt x="74" y="81"/>
                  </a:cubicBezTo>
                  <a:cubicBezTo>
                    <a:pt x="68" y="78"/>
                    <a:pt x="68" y="78"/>
                    <a:pt x="68" y="78"/>
                  </a:cubicBezTo>
                  <a:cubicBezTo>
                    <a:pt x="68" y="78"/>
                    <a:pt x="66" y="77"/>
                    <a:pt x="65" y="77"/>
                  </a:cubicBezTo>
                  <a:cubicBezTo>
                    <a:pt x="65" y="78"/>
                    <a:pt x="65" y="78"/>
                    <a:pt x="65" y="78"/>
                  </a:cubicBezTo>
                  <a:cubicBezTo>
                    <a:pt x="64" y="78"/>
                    <a:pt x="64" y="78"/>
                    <a:pt x="64" y="78"/>
                  </a:cubicBezTo>
                  <a:cubicBezTo>
                    <a:pt x="64" y="80"/>
                    <a:pt x="63" y="81"/>
                    <a:pt x="61" y="83"/>
                  </a:cubicBezTo>
                  <a:cubicBezTo>
                    <a:pt x="60" y="83"/>
                    <a:pt x="60" y="83"/>
                    <a:pt x="60" y="83"/>
                  </a:cubicBezTo>
                  <a:cubicBezTo>
                    <a:pt x="58" y="84"/>
                    <a:pt x="56" y="85"/>
                    <a:pt x="54" y="85"/>
                  </a:cubicBezTo>
                  <a:cubicBezTo>
                    <a:pt x="53" y="85"/>
                    <a:pt x="51" y="84"/>
                    <a:pt x="49" y="83"/>
                  </a:cubicBezTo>
                  <a:cubicBezTo>
                    <a:pt x="49" y="83"/>
                    <a:pt x="48" y="83"/>
                    <a:pt x="47" y="82"/>
                  </a:cubicBezTo>
                  <a:cubicBezTo>
                    <a:pt x="46" y="82"/>
                    <a:pt x="46" y="82"/>
                    <a:pt x="46" y="82"/>
                  </a:cubicBezTo>
                  <a:cubicBezTo>
                    <a:pt x="46" y="82"/>
                    <a:pt x="45" y="81"/>
                    <a:pt x="45" y="81"/>
                  </a:cubicBezTo>
                  <a:cubicBezTo>
                    <a:pt x="45" y="81"/>
                    <a:pt x="45" y="81"/>
                    <a:pt x="45" y="81"/>
                  </a:cubicBezTo>
                  <a:cubicBezTo>
                    <a:pt x="45" y="81"/>
                    <a:pt x="44" y="81"/>
                    <a:pt x="44" y="81"/>
                  </a:cubicBezTo>
                  <a:cubicBezTo>
                    <a:pt x="44" y="81"/>
                    <a:pt x="44" y="81"/>
                    <a:pt x="43" y="81"/>
                  </a:cubicBezTo>
                  <a:cubicBezTo>
                    <a:pt x="43" y="81"/>
                    <a:pt x="42" y="81"/>
                    <a:pt x="41" y="81"/>
                  </a:cubicBezTo>
                  <a:cubicBezTo>
                    <a:pt x="41" y="81"/>
                    <a:pt x="40" y="82"/>
                    <a:pt x="39" y="82"/>
                  </a:cubicBezTo>
                  <a:cubicBezTo>
                    <a:pt x="39" y="82"/>
                    <a:pt x="39" y="82"/>
                    <a:pt x="39" y="82"/>
                  </a:cubicBezTo>
                  <a:cubicBezTo>
                    <a:pt x="38" y="82"/>
                    <a:pt x="38" y="82"/>
                    <a:pt x="38" y="82"/>
                  </a:cubicBezTo>
                  <a:cubicBezTo>
                    <a:pt x="37" y="83"/>
                    <a:pt x="37" y="83"/>
                    <a:pt x="37" y="83"/>
                  </a:cubicBezTo>
                  <a:cubicBezTo>
                    <a:pt x="35" y="85"/>
                    <a:pt x="35" y="85"/>
                    <a:pt x="35" y="85"/>
                  </a:cubicBezTo>
                  <a:cubicBezTo>
                    <a:pt x="34" y="85"/>
                    <a:pt x="34" y="85"/>
                    <a:pt x="34" y="85"/>
                  </a:cubicBezTo>
                  <a:cubicBezTo>
                    <a:pt x="33" y="86"/>
                    <a:pt x="33" y="86"/>
                    <a:pt x="33" y="86"/>
                  </a:cubicBezTo>
                  <a:cubicBezTo>
                    <a:pt x="33" y="86"/>
                    <a:pt x="32" y="86"/>
                    <a:pt x="32" y="87"/>
                  </a:cubicBezTo>
                  <a:cubicBezTo>
                    <a:pt x="31" y="87"/>
                    <a:pt x="31" y="87"/>
                    <a:pt x="31" y="87"/>
                  </a:cubicBezTo>
                  <a:cubicBezTo>
                    <a:pt x="31" y="87"/>
                    <a:pt x="31" y="87"/>
                    <a:pt x="31" y="87"/>
                  </a:cubicBezTo>
                  <a:cubicBezTo>
                    <a:pt x="30" y="88"/>
                    <a:pt x="30" y="88"/>
                    <a:pt x="30" y="88"/>
                  </a:cubicBezTo>
                  <a:cubicBezTo>
                    <a:pt x="29" y="89"/>
                    <a:pt x="29" y="89"/>
                    <a:pt x="29" y="89"/>
                  </a:cubicBezTo>
                  <a:cubicBezTo>
                    <a:pt x="28" y="89"/>
                    <a:pt x="28" y="89"/>
                    <a:pt x="28" y="89"/>
                  </a:cubicBezTo>
                  <a:cubicBezTo>
                    <a:pt x="28" y="90"/>
                    <a:pt x="28" y="90"/>
                    <a:pt x="28" y="90"/>
                  </a:cubicBezTo>
                  <a:cubicBezTo>
                    <a:pt x="27" y="90"/>
                    <a:pt x="27" y="90"/>
                    <a:pt x="27" y="90"/>
                  </a:cubicBezTo>
                  <a:cubicBezTo>
                    <a:pt x="27" y="90"/>
                    <a:pt x="27" y="90"/>
                    <a:pt x="27" y="90"/>
                  </a:cubicBezTo>
                  <a:cubicBezTo>
                    <a:pt x="27" y="90"/>
                    <a:pt x="27" y="90"/>
                    <a:pt x="27" y="90"/>
                  </a:cubicBezTo>
                  <a:cubicBezTo>
                    <a:pt x="26" y="91"/>
                    <a:pt x="26" y="91"/>
                    <a:pt x="26" y="91"/>
                  </a:cubicBezTo>
                  <a:cubicBezTo>
                    <a:pt x="25" y="91"/>
                    <a:pt x="25" y="92"/>
                    <a:pt x="24" y="92"/>
                  </a:cubicBezTo>
                  <a:cubicBezTo>
                    <a:pt x="22" y="92"/>
                    <a:pt x="22" y="92"/>
                    <a:pt x="22" y="92"/>
                  </a:cubicBezTo>
                  <a:cubicBezTo>
                    <a:pt x="21" y="89"/>
                    <a:pt x="21" y="89"/>
                    <a:pt x="21" y="89"/>
                  </a:cubicBezTo>
                  <a:cubicBezTo>
                    <a:pt x="21" y="88"/>
                    <a:pt x="21" y="88"/>
                    <a:pt x="21" y="87"/>
                  </a:cubicBezTo>
                  <a:cubicBezTo>
                    <a:pt x="18" y="85"/>
                    <a:pt x="14" y="84"/>
                    <a:pt x="12" y="84"/>
                  </a:cubicBezTo>
                  <a:cubicBezTo>
                    <a:pt x="11" y="84"/>
                    <a:pt x="9" y="84"/>
                    <a:pt x="7" y="85"/>
                  </a:cubicBezTo>
                  <a:cubicBezTo>
                    <a:pt x="6" y="85"/>
                    <a:pt x="6" y="85"/>
                    <a:pt x="6" y="85"/>
                  </a:cubicBezTo>
                  <a:cubicBezTo>
                    <a:pt x="6" y="86"/>
                    <a:pt x="5" y="86"/>
                    <a:pt x="4" y="86"/>
                  </a:cubicBezTo>
                  <a:cubicBezTo>
                    <a:pt x="4" y="86"/>
                    <a:pt x="4" y="86"/>
                    <a:pt x="4" y="86"/>
                  </a:cubicBezTo>
                  <a:cubicBezTo>
                    <a:pt x="4" y="86"/>
                    <a:pt x="4" y="86"/>
                    <a:pt x="3" y="88"/>
                  </a:cubicBezTo>
                  <a:cubicBezTo>
                    <a:pt x="2" y="89"/>
                    <a:pt x="2" y="90"/>
                    <a:pt x="2" y="90"/>
                  </a:cubicBezTo>
                  <a:cubicBezTo>
                    <a:pt x="0" y="92"/>
                    <a:pt x="0" y="92"/>
                    <a:pt x="0" y="92"/>
                  </a:cubicBezTo>
                  <a:cubicBezTo>
                    <a:pt x="0" y="97"/>
                    <a:pt x="0" y="97"/>
                    <a:pt x="0" y="97"/>
                  </a:cubicBezTo>
                  <a:cubicBezTo>
                    <a:pt x="4" y="96"/>
                    <a:pt x="8" y="96"/>
                    <a:pt x="12" y="96"/>
                  </a:cubicBezTo>
                  <a:cubicBezTo>
                    <a:pt x="16" y="96"/>
                    <a:pt x="21" y="96"/>
                    <a:pt x="24" y="97"/>
                  </a:cubicBezTo>
                  <a:cubicBezTo>
                    <a:pt x="29" y="98"/>
                    <a:pt x="33" y="98"/>
                    <a:pt x="36" y="99"/>
                  </a:cubicBezTo>
                  <a:cubicBezTo>
                    <a:pt x="38" y="95"/>
                    <a:pt x="38" y="95"/>
                    <a:pt x="38" y="95"/>
                  </a:cubicBezTo>
                  <a:cubicBezTo>
                    <a:pt x="38" y="100"/>
                    <a:pt x="38" y="100"/>
                    <a:pt x="38" y="100"/>
                  </a:cubicBezTo>
                  <a:cubicBezTo>
                    <a:pt x="39" y="100"/>
                    <a:pt x="43" y="98"/>
                    <a:pt x="44" y="97"/>
                  </a:cubicBezTo>
                  <a:cubicBezTo>
                    <a:pt x="45" y="97"/>
                    <a:pt x="45" y="97"/>
                    <a:pt x="45" y="97"/>
                  </a:cubicBezTo>
                  <a:cubicBezTo>
                    <a:pt x="46" y="96"/>
                    <a:pt x="47" y="95"/>
                    <a:pt x="48" y="95"/>
                  </a:cubicBezTo>
                  <a:cubicBezTo>
                    <a:pt x="51" y="94"/>
                    <a:pt x="51" y="94"/>
                    <a:pt x="51" y="94"/>
                  </a:cubicBezTo>
                  <a:cubicBezTo>
                    <a:pt x="52" y="99"/>
                    <a:pt x="52" y="99"/>
                    <a:pt x="52" y="99"/>
                  </a:cubicBezTo>
                  <a:cubicBezTo>
                    <a:pt x="52" y="99"/>
                    <a:pt x="52" y="99"/>
                    <a:pt x="52" y="99"/>
                  </a:cubicBezTo>
                  <a:cubicBezTo>
                    <a:pt x="57" y="99"/>
                    <a:pt x="57" y="102"/>
                    <a:pt x="57" y="104"/>
                  </a:cubicBezTo>
                  <a:cubicBezTo>
                    <a:pt x="58" y="104"/>
                    <a:pt x="58" y="104"/>
                    <a:pt x="58" y="104"/>
                  </a:cubicBezTo>
                  <a:cubicBezTo>
                    <a:pt x="59" y="104"/>
                    <a:pt x="59" y="104"/>
                    <a:pt x="59" y="104"/>
                  </a:cubicBezTo>
                  <a:cubicBezTo>
                    <a:pt x="61" y="104"/>
                    <a:pt x="63" y="105"/>
                    <a:pt x="65" y="105"/>
                  </a:cubicBezTo>
                  <a:cubicBezTo>
                    <a:pt x="67" y="103"/>
                    <a:pt x="69" y="101"/>
                    <a:pt x="74" y="101"/>
                  </a:cubicBezTo>
                  <a:cubicBezTo>
                    <a:pt x="75" y="101"/>
                    <a:pt x="75" y="101"/>
                    <a:pt x="75" y="101"/>
                  </a:cubicBezTo>
                  <a:cubicBezTo>
                    <a:pt x="80" y="101"/>
                    <a:pt x="80" y="101"/>
                    <a:pt x="80" y="101"/>
                  </a:cubicBezTo>
                  <a:cubicBezTo>
                    <a:pt x="81" y="101"/>
                    <a:pt x="84" y="101"/>
                    <a:pt x="86" y="101"/>
                  </a:cubicBezTo>
                  <a:cubicBezTo>
                    <a:pt x="87" y="101"/>
                    <a:pt x="88" y="100"/>
                    <a:pt x="89" y="100"/>
                  </a:cubicBezTo>
                  <a:cubicBezTo>
                    <a:pt x="92" y="100"/>
                    <a:pt x="92" y="100"/>
                    <a:pt x="92" y="100"/>
                  </a:cubicBezTo>
                  <a:cubicBezTo>
                    <a:pt x="94" y="100"/>
                    <a:pt x="95" y="100"/>
                    <a:pt x="97" y="99"/>
                  </a:cubicBezTo>
                  <a:cubicBezTo>
                    <a:pt x="97" y="99"/>
                    <a:pt x="97" y="99"/>
                    <a:pt x="97" y="99"/>
                  </a:cubicBezTo>
                  <a:cubicBezTo>
                    <a:pt x="98" y="99"/>
                    <a:pt x="98" y="99"/>
                    <a:pt x="98" y="99"/>
                  </a:cubicBezTo>
                  <a:cubicBezTo>
                    <a:pt x="100" y="98"/>
                    <a:pt x="100" y="98"/>
                    <a:pt x="100" y="98"/>
                  </a:cubicBezTo>
                  <a:cubicBezTo>
                    <a:pt x="100" y="98"/>
                    <a:pt x="101" y="98"/>
                    <a:pt x="101" y="97"/>
                  </a:cubicBezTo>
                  <a:cubicBezTo>
                    <a:pt x="103" y="97"/>
                    <a:pt x="103" y="97"/>
                    <a:pt x="103" y="97"/>
                  </a:cubicBezTo>
                  <a:cubicBezTo>
                    <a:pt x="103" y="96"/>
                    <a:pt x="103" y="96"/>
                    <a:pt x="103" y="96"/>
                  </a:cubicBezTo>
                  <a:cubicBezTo>
                    <a:pt x="103" y="95"/>
                    <a:pt x="103" y="94"/>
                    <a:pt x="103" y="93"/>
                  </a:cubicBezTo>
                  <a:cubicBezTo>
                    <a:pt x="103" y="92"/>
                    <a:pt x="103" y="92"/>
                    <a:pt x="103" y="92"/>
                  </a:cubicBezTo>
                  <a:cubicBezTo>
                    <a:pt x="104" y="91"/>
                    <a:pt x="104" y="91"/>
                    <a:pt x="104" y="90"/>
                  </a:cubicBezTo>
                  <a:cubicBezTo>
                    <a:pt x="104" y="89"/>
                    <a:pt x="104" y="89"/>
                    <a:pt x="104" y="89"/>
                  </a:cubicBezTo>
                  <a:cubicBezTo>
                    <a:pt x="104" y="89"/>
                    <a:pt x="104" y="88"/>
                    <a:pt x="104" y="88"/>
                  </a:cubicBezTo>
                  <a:cubicBezTo>
                    <a:pt x="105" y="86"/>
                    <a:pt x="105" y="83"/>
                    <a:pt x="108" y="82"/>
                  </a:cubicBezTo>
                  <a:cubicBezTo>
                    <a:pt x="115" y="79"/>
                    <a:pt x="115" y="79"/>
                    <a:pt x="115" y="79"/>
                  </a:cubicBezTo>
                  <a:cubicBezTo>
                    <a:pt x="115" y="79"/>
                    <a:pt x="116" y="79"/>
                    <a:pt x="116" y="79"/>
                  </a:cubicBezTo>
                  <a:cubicBezTo>
                    <a:pt x="117" y="79"/>
                    <a:pt x="117" y="79"/>
                    <a:pt x="117" y="79"/>
                  </a:cubicBezTo>
                  <a:cubicBezTo>
                    <a:pt x="119" y="78"/>
                    <a:pt x="123" y="77"/>
                    <a:pt x="125" y="76"/>
                  </a:cubicBezTo>
                  <a:cubicBezTo>
                    <a:pt x="125" y="76"/>
                    <a:pt x="125" y="76"/>
                    <a:pt x="125" y="76"/>
                  </a:cubicBezTo>
                  <a:cubicBezTo>
                    <a:pt x="125" y="76"/>
                    <a:pt x="125" y="76"/>
                    <a:pt x="125" y="76"/>
                  </a:cubicBezTo>
                  <a:cubicBezTo>
                    <a:pt x="124" y="74"/>
                    <a:pt x="124" y="73"/>
                    <a:pt x="124" y="73"/>
                  </a:cubicBezTo>
                  <a:cubicBezTo>
                    <a:pt x="124" y="69"/>
                    <a:pt x="124" y="69"/>
                    <a:pt x="124" y="69"/>
                  </a:cubicBezTo>
                  <a:cubicBezTo>
                    <a:pt x="128" y="70"/>
                    <a:pt x="128" y="70"/>
                    <a:pt x="128" y="70"/>
                  </a:cubicBezTo>
                  <a:cubicBezTo>
                    <a:pt x="129" y="70"/>
                    <a:pt x="129" y="70"/>
                    <a:pt x="130" y="70"/>
                  </a:cubicBezTo>
                  <a:cubicBezTo>
                    <a:pt x="130" y="70"/>
                    <a:pt x="131" y="71"/>
                    <a:pt x="131" y="71"/>
                  </a:cubicBezTo>
                  <a:cubicBezTo>
                    <a:pt x="132" y="71"/>
                    <a:pt x="133" y="71"/>
                    <a:pt x="134" y="71"/>
                  </a:cubicBezTo>
                  <a:cubicBezTo>
                    <a:pt x="135" y="71"/>
                    <a:pt x="136" y="71"/>
                    <a:pt x="138" y="69"/>
                  </a:cubicBezTo>
                  <a:cubicBezTo>
                    <a:pt x="138" y="69"/>
                    <a:pt x="138" y="69"/>
                    <a:pt x="138" y="69"/>
                  </a:cubicBezTo>
                  <a:cubicBezTo>
                    <a:pt x="139" y="69"/>
                    <a:pt x="139" y="69"/>
                    <a:pt x="139" y="69"/>
                  </a:cubicBezTo>
                  <a:cubicBezTo>
                    <a:pt x="140" y="68"/>
                    <a:pt x="142" y="67"/>
                    <a:pt x="143" y="66"/>
                  </a:cubicBezTo>
                  <a:cubicBezTo>
                    <a:pt x="144" y="66"/>
                    <a:pt x="144" y="66"/>
                    <a:pt x="144" y="66"/>
                  </a:cubicBezTo>
                  <a:cubicBezTo>
                    <a:pt x="144" y="66"/>
                    <a:pt x="144" y="66"/>
                    <a:pt x="144" y="66"/>
                  </a:cubicBezTo>
                  <a:cubicBezTo>
                    <a:pt x="145" y="66"/>
                    <a:pt x="145" y="66"/>
                    <a:pt x="145" y="66"/>
                  </a:cubicBezTo>
                  <a:cubicBezTo>
                    <a:pt x="145" y="66"/>
                    <a:pt x="145" y="66"/>
                    <a:pt x="145" y="66"/>
                  </a:cubicBezTo>
                  <a:cubicBezTo>
                    <a:pt x="147" y="67"/>
                    <a:pt x="147" y="67"/>
                    <a:pt x="147" y="67"/>
                  </a:cubicBezTo>
                  <a:cubicBezTo>
                    <a:pt x="148" y="68"/>
                    <a:pt x="148" y="70"/>
                    <a:pt x="148" y="70"/>
                  </a:cubicBezTo>
                  <a:cubicBezTo>
                    <a:pt x="149" y="71"/>
                    <a:pt x="149" y="73"/>
                    <a:pt x="149" y="74"/>
                  </a:cubicBezTo>
                  <a:cubicBezTo>
                    <a:pt x="149" y="74"/>
                    <a:pt x="150" y="75"/>
                    <a:pt x="150" y="75"/>
                  </a:cubicBezTo>
                  <a:cubicBezTo>
                    <a:pt x="150" y="76"/>
                    <a:pt x="150" y="76"/>
                    <a:pt x="150" y="76"/>
                  </a:cubicBezTo>
                  <a:cubicBezTo>
                    <a:pt x="151" y="76"/>
                    <a:pt x="151" y="76"/>
                    <a:pt x="151" y="76"/>
                  </a:cubicBezTo>
                  <a:cubicBezTo>
                    <a:pt x="151" y="75"/>
                    <a:pt x="151" y="75"/>
                    <a:pt x="151" y="75"/>
                  </a:cubicBezTo>
                  <a:cubicBezTo>
                    <a:pt x="152" y="75"/>
                    <a:pt x="152" y="74"/>
                    <a:pt x="153" y="74"/>
                  </a:cubicBezTo>
                  <a:cubicBezTo>
                    <a:pt x="154" y="73"/>
                    <a:pt x="155" y="73"/>
                    <a:pt x="156" y="73"/>
                  </a:cubicBezTo>
                  <a:cubicBezTo>
                    <a:pt x="157" y="73"/>
                    <a:pt x="158" y="73"/>
                    <a:pt x="159" y="73"/>
                  </a:cubicBezTo>
                  <a:cubicBezTo>
                    <a:pt x="159" y="73"/>
                    <a:pt x="159" y="73"/>
                    <a:pt x="160" y="73"/>
                  </a:cubicBezTo>
                  <a:cubicBezTo>
                    <a:pt x="161" y="73"/>
                    <a:pt x="162" y="73"/>
                    <a:pt x="162" y="73"/>
                  </a:cubicBezTo>
                  <a:cubicBezTo>
                    <a:pt x="163" y="73"/>
                    <a:pt x="163" y="73"/>
                    <a:pt x="163" y="73"/>
                  </a:cubicBezTo>
                  <a:cubicBezTo>
                    <a:pt x="163" y="73"/>
                    <a:pt x="163" y="73"/>
                    <a:pt x="163" y="73"/>
                  </a:cubicBezTo>
                  <a:cubicBezTo>
                    <a:pt x="164" y="73"/>
                    <a:pt x="164" y="72"/>
                    <a:pt x="165" y="71"/>
                  </a:cubicBezTo>
                  <a:cubicBezTo>
                    <a:pt x="166" y="70"/>
                    <a:pt x="166" y="69"/>
                    <a:pt x="166" y="69"/>
                  </a:cubicBezTo>
                  <a:cubicBezTo>
                    <a:pt x="166" y="68"/>
                    <a:pt x="166" y="68"/>
                    <a:pt x="166" y="68"/>
                  </a:cubicBezTo>
                  <a:cubicBezTo>
                    <a:pt x="166" y="67"/>
                    <a:pt x="166" y="66"/>
                    <a:pt x="167" y="65"/>
                  </a:cubicBezTo>
                  <a:cubicBezTo>
                    <a:pt x="167" y="64"/>
                    <a:pt x="167" y="64"/>
                    <a:pt x="167" y="64"/>
                  </a:cubicBezTo>
                  <a:cubicBezTo>
                    <a:pt x="168" y="63"/>
                    <a:pt x="169" y="62"/>
                    <a:pt x="170" y="62"/>
                  </a:cubicBezTo>
                  <a:cubicBezTo>
                    <a:pt x="170" y="61"/>
                    <a:pt x="171" y="61"/>
                    <a:pt x="171" y="60"/>
                  </a:cubicBezTo>
                  <a:cubicBezTo>
                    <a:pt x="173" y="58"/>
                    <a:pt x="175" y="56"/>
                    <a:pt x="177" y="55"/>
                  </a:cubicBezTo>
                  <a:cubicBezTo>
                    <a:pt x="180" y="54"/>
                    <a:pt x="184" y="54"/>
                    <a:pt x="187" y="53"/>
                  </a:cubicBezTo>
                  <a:cubicBezTo>
                    <a:pt x="188" y="53"/>
                    <a:pt x="189" y="53"/>
                    <a:pt x="191" y="53"/>
                  </a:cubicBezTo>
                  <a:cubicBezTo>
                    <a:pt x="192" y="53"/>
                    <a:pt x="192" y="53"/>
                    <a:pt x="192" y="53"/>
                  </a:cubicBezTo>
                  <a:cubicBezTo>
                    <a:pt x="195" y="53"/>
                    <a:pt x="197" y="53"/>
                    <a:pt x="199" y="52"/>
                  </a:cubicBezTo>
                  <a:cubicBezTo>
                    <a:pt x="206" y="51"/>
                    <a:pt x="206" y="51"/>
                    <a:pt x="206" y="51"/>
                  </a:cubicBezTo>
                  <a:cubicBezTo>
                    <a:pt x="206" y="51"/>
                    <a:pt x="206" y="51"/>
                    <a:pt x="206" y="51"/>
                  </a:cubicBezTo>
                  <a:cubicBezTo>
                    <a:pt x="206" y="51"/>
                    <a:pt x="207" y="50"/>
                    <a:pt x="208" y="50"/>
                  </a:cubicBezTo>
                  <a:cubicBezTo>
                    <a:pt x="208" y="49"/>
                    <a:pt x="208" y="49"/>
                    <a:pt x="208" y="49"/>
                  </a:cubicBezTo>
                  <a:cubicBezTo>
                    <a:pt x="209" y="48"/>
                    <a:pt x="209" y="48"/>
                    <a:pt x="209" y="47"/>
                  </a:cubicBezTo>
                  <a:cubicBezTo>
                    <a:pt x="210" y="47"/>
                    <a:pt x="210" y="46"/>
                    <a:pt x="211" y="46"/>
                  </a:cubicBezTo>
                  <a:cubicBezTo>
                    <a:pt x="213" y="44"/>
                    <a:pt x="215" y="42"/>
                    <a:pt x="217" y="41"/>
                  </a:cubicBezTo>
                  <a:cubicBezTo>
                    <a:pt x="218" y="41"/>
                    <a:pt x="218" y="41"/>
                    <a:pt x="218" y="41"/>
                  </a:cubicBezTo>
                  <a:cubicBezTo>
                    <a:pt x="220" y="39"/>
                    <a:pt x="224" y="38"/>
                    <a:pt x="227" y="36"/>
                  </a:cubicBezTo>
                  <a:cubicBezTo>
                    <a:pt x="228" y="36"/>
                    <a:pt x="228" y="36"/>
                    <a:pt x="228" y="36"/>
                  </a:cubicBezTo>
                  <a:cubicBezTo>
                    <a:pt x="229" y="36"/>
                    <a:pt x="231" y="35"/>
                    <a:pt x="232" y="35"/>
                  </a:cubicBezTo>
                  <a:cubicBezTo>
                    <a:pt x="236" y="33"/>
                    <a:pt x="241" y="31"/>
                    <a:pt x="246" y="29"/>
                  </a:cubicBezTo>
                  <a:cubicBezTo>
                    <a:pt x="250" y="28"/>
                    <a:pt x="250" y="28"/>
                    <a:pt x="250" y="28"/>
                  </a:cubicBezTo>
                  <a:cubicBezTo>
                    <a:pt x="251" y="28"/>
                    <a:pt x="251" y="28"/>
                    <a:pt x="251" y="28"/>
                  </a:cubicBezTo>
                  <a:cubicBezTo>
                    <a:pt x="251" y="27"/>
                    <a:pt x="251" y="27"/>
                    <a:pt x="251" y="27"/>
                  </a:cubicBezTo>
                  <a:cubicBezTo>
                    <a:pt x="251" y="27"/>
                    <a:pt x="251" y="27"/>
                    <a:pt x="251" y="27"/>
                  </a:cubicBezTo>
                  <a:cubicBezTo>
                    <a:pt x="251" y="26"/>
                    <a:pt x="251" y="26"/>
                    <a:pt x="251" y="26"/>
                  </a:cubicBezTo>
                  <a:cubicBezTo>
                    <a:pt x="250" y="26"/>
                    <a:pt x="250" y="26"/>
                    <a:pt x="250" y="26"/>
                  </a:cubicBezTo>
                  <a:cubicBezTo>
                    <a:pt x="250" y="25"/>
                    <a:pt x="250" y="25"/>
                    <a:pt x="249" y="24"/>
                  </a:cubicBezTo>
                  <a:cubicBezTo>
                    <a:pt x="248" y="24"/>
                    <a:pt x="247" y="23"/>
                    <a:pt x="247" y="22"/>
                  </a:cubicBezTo>
                  <a:cubicBezTo>
                    <a:pt x="246" y="22"/>
                    <a:pt x="246" y="22"/>
                    <a:pt x="245" y="21"/>
                  </a:cubicBezTo>
                  <a:cubicBezTo>
                    <a:pt x="245" y="21"/>
                    <a:pt x="244" y="21"/>
                    <a:pt x="243" y="21"/>
                  </a:cubicBezTo>
                  <a:cubicBezTo>
                    <a:pt x="242" y="21"/>
                    <a:pt x="241" y="21"/>
                    <a:pt x="240" y="21"/>
                  </a:cubicBezTo>
                  <a:cubicBezTo>
                    <a:pt x="236" y="20"/>
                    <a:pt x="233" y="20"/>
                    <a:pt x="231" y="16"/>
                  </a:cubicBezTo>
                  <a:cubicBezTo>
                    <a:pt x="230" y="15"/>
                    <a:pt x="230" y="15"/>
                    <a:pt x="230" y="15"/>
                  </a:cubicBezTo>
                  <a:cubicBezTo>
                    <a:pt x="230" y="14"/>
                    <a:pt x="229" y="13"/>
                    <a:pt x="228" y="12"/>
                  </a:cubicBezTo>
                  <a:cubicBezTo>
                    <a:pt x="228" y="11"/>
                    <a:pt x="228" y="11"/>
                    <a:pt x="228" y="11"/>
                  </a:cubicBezTo>
                  <a:cubicBezTo>
                    <a:pt x="228" y="11"/>
                    <a:pt x="228" y="11"/>
                    <a:pt x="228" y="11"/>
                  </a:cubicBezTo>
                  <a:cubicBezTo>
                    <a:pt x="227" y="11"/>
                    <a:pt x="227" y="11"/>
                    <a:pt x="226" y="11"/>
                  </a:cubicBezTo>
                  <a:cubicBezTo>
                    <a:pt x="226" y="11"/>
                    <a:pt x="225" y="12"/>
                    <a:pt x="224" y="12"/>
                  </a:cubicBezTo>
                  <a:cubicBezTo>
                    <a:pt x="223" y="11"/>
                    <a:pt x="221" y="11"/>
                    <a:pt x="219" y="11"/>
                  </a:cubicBezTo>
                  <a:cubicBezTo>
                    <a:pt x="217" y="10"/>
                    <a:pt x="217" y="10"/>
                    <a:pt x="217" y="10"/>
                  </a:cubicBezTo>
                  <a:cubicBezTo>
                    <a:pt x="216" y="10"/>
                    <a:pt x="215" y="9"/>
                    <a:pt x="215" y="9"/>
                  </a:cubicBezTo>
                  <a:cubicBezTo>
                    <a:pt x="214" y="9"/>
                    <a:pt x="213" y="9"/>
                    <a:pt x="212" y="9"/>
                  </a:cubicBezTo>
                  <a:cubicBezTo>
                    <a:pt x="212" y="9"/>
                    <a:pt x="212" y="9"/>
                    <a:pt x="211" y="9"/>
                  </a:cubicBezTo>
                  <a:cubicBezTo>
                    <a:pt x="211" y="9"/>
                    <a:pt x="211" y="9"/>
                    <a:pt x="210" y="9"/>
                  </a:cubicBezTo>
                  <a:cubicBezTo>
                    <a:pt x="209" y="9"/>
                    <a:pt x="209" y="9"/>
                    <a:pt x="209" y="9"/>
                  </a:cubicBezTo>
                  <a:cubicBezTo>
                    <a:pt x="208" y="9"/>
                    <a:pt x="207" y="9"/>
                    <a:pt x="206" y="9"/>
                  </a:cubicBezTo>
                  <a:cubicBezTo>
                    <a:pt x="201" y="9"/>
                    <a:pt x="197" y="9"/>
                    <a:pt x="193" y="8"/>
                  </a:cubicBezTo>
                  <a:cubicBezTo>
                    <a:pt x="192" y="8"/>
                    <a:pt x="192" y="8"/>
                    <a:pt x="192" y="8"/>
                  </a:cubicBezTo>
                  <a:cubicBezTo>
                    <a:pt x="191" y="8"/>
                    <a:pt x="190" y="8"/>
                    <a:pt x="189" y="8"/>
                  </a:cubicBezTo>
                  <a:cubicBezTo>
                    <a:pt x="189" y="12"/>
                    <a:pt x="189" y="12"/>
                    <a:pt x="189" y="12"/>
                  </a:cubicBezTo>
                  <a:cubicBezTo>
                    <a:pt x="188" y="8"/>
                    <a:pt x="188" y="8"/>
                    <a:pt x="188" y="8"/>
                  </a:cubicBezTo>
                  <a:cubicBezTo>
                    <a:pt x="187" y="8"/>
                    <a:pt x="187" y="8"/>
                    <a:pt x="187" y="8"/>
                  </a:cubicBezTo>
                  <a:cubicBezTo>
                    <a:pt x="182" y="8"/>
                    <a:pt x="177" y="8"/>
                    <a:pt x="171" y="7"/>
                  </a:cubicBezTo>
                  <a:cubicBezTo>
                    <a:pt x="170" y="7"/>
                    <a:pt x="170" y="7"/>
                    <a:pt x="170" y="7"/>
                  </a:cubicBezTo>
                  <a:cubicBezTo>
                    <a:pt x="168" y="7"/>
                    <a:pt x="166" y="7"/>
                    <a:pt x="164" y="7"/>
                  </a:cubicBezTo>
                  <a:cubicBezTo>
                    <a:pt x="163" y="7"/>
                    <a:pt x="163" y="7"/>
                    <a:pt x="163" y="7"/>
                  </a:cubicBezTo>
                  <a:cubicBezTo>
                    <a:pt x="161" y="7"/>
                    <a:pt x="158" y="7"/>
                    <a:pt x="156" y="7"/>
                  </a:cubicBezTo>
                  <a:cubicBezTo>
                    <a:pt x="154" y="7"/>
                    <a:pt x="152" y="7"/>
                    <a:pt x="151" y="7"/>
                  </a:cubicBezTo>
                  <a:cubicBezTo>
                    <a:pt x="150" y="7"/>
                    <a:pt x="150" y="7"/>
                    <a:pt x="150" y="7"/>
                  </a:cubicBezTo>
                  <a:cubicBezTo>
                    <a:pt x="149" y="7"/>
                    <a:pt x="148" y="7"/>
                    <a:pt x="148" y="8"/>
                  </a:cubicBezTo>
                  <a:cubicBezTo>
                    <a:pt x="145" y="9"/>
                    <a:pt x="143" y="9"/>
                    <a:pt x="140" y="9"/>
                  </a:cubicBezTo>
                  <a:cubicBezTo>
                    <a:pt x="139" y="9"/>
                    <a:pt x="138" y="9"/>
                    <a:pt x="138" y="9"/>
                  </a:cubicBezTo>
                  <a:cubicBezTo>
                    <a:pt x="136" y="9"/>
                    <a:pt x="136" y="9"/>
                    <a:pt x="136" y="9"/>
                  </a:cubicBezTo>
                  <a:cubicBezTo>
                    <a:pt x="135" y="9"/>
                    <a:pt x="134" y="9"/>
                    <a:pt x="134" y="8"/>
                  </a:cubicBezTo>
                  <a:cubicBezTo>
                    <a:pt x="132" y="8"/>
                    <a:pt x="132" y="8"/>
                    <a:pt x="132" y="8"/>
                  </a:cubicBezTo>
                  <a:cubicBezTo>
                    <a:pt x="131" y="8"/>
                    <a:pt x="130" y="7"/>
                    <a:pt x="129" y="7"/>
                  </a:cubicBezTo>
                  <a:cubicBezTo>
                    <a:pt x="127" y="6"/>
                    <a:pt x="127" y="6"/>
                    <a:pt x="127" y="6"/>
                  </a:cubicBezTo>
                  <a:cubicBezTo>
                    <a:pt x="126" y="6"/>
                    <a:pt x="124" y="5"/>
                    <a:pt x="123" y="4"/>
                  </a:cubicBezTo>
                  <a:cubicBezTo>
                    <a:pt x="122" y="4"/>
                    <a:pt x="122" y="4"/>
                    <a:pt x="122" y="4"/>
                  </a:cubicBezTo>
                  <a:cubicBezTo>
                    <a:pt x="121" y="3"/>
                    <a:pt x="121" y="3"/>
                    <a:pt x="121" y="3"/>
                  </a:cubicBezTo>
                  <a:cubicBezTo>
                    <a:pt x="120" y="3"/>
                    <a:pt x="119" y="2"/>
                    <a:pt x="117" y="1"/>
                  </a:cubicBezTo>
                  <a:cubicBezTo>
                    <a:pt x="116" y="0"/>
                    <a:pt x="114" y="0"/>
                    <a:pt x="112" y="0"/>
                  </a:cubicBezTo>
                  <a:cubicBezTo>
                    <a:pt x="111" y="0"/>
                    <a:pt x="111" y="0"/>
                    <a:pt x="1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Rectangle 1559"/>
            <p:cNvSpPr>
              <a:spLocks noChangeArrowheads="1"/>
            </p:cNvSpPr>
            <p:nvPr/>
          </p:nvSpPr>
          <p:spPr bwMode="auto">
            <a:xfrm>
              <a:off x="726204" y="1514157"/>
              <a:ext cx="1342" cy="2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Rectangle 1560"/>
            <p:cNvSpPr>
              <a:spLocks noChangeArrowheads="1"/>
            </p:cNvSpPr>
            <p:nvPr/>
          </p:nvSpPr>
          <p:spPr bwMode="auto">
            <a:xfrm>
              <a:off x="726204" y="1514157"/>
              <a:ext cx="1342" cy="2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1561"/>
            <p:cNvSpPr/>
            <p:nvPr/>
          </p:nvSpPr>
          <p:spPr bwMode="auto">
            <a:xfrm>
              <a:off x="0" y="1428247"/>
              <a:ext cx="828221" cy="562439"/>
            </a:xfrm>
            <a:custGeom>
              <a:gdLst>
                <a:gd name="T0" fmla="*/ 14 w 261"/>
                <a:gd name="T1" fmla="*/ 87 h 177"/>
                <a:gd name="T2" fmla="*/ 22 w 261"/>
                <a:gd name="T3" fmla="*/ 101 h 177"/>
                <a:gd name="T4" fmla="*/ 48 w 261"/>
                <a:gd name="T5" fmla="*/ 120 h 177"/>
                <a:gd name="T6" fmla="*/ 82 w 261"/>
                <a:gd name="T7" fmla="*/ 140 h 177"/>
                <a:gd name="T8" fmla="*/ 96 w 261"/>
                <a:gd name="T9" fmla="*/ 148 h 177"/>
                <a:gd name="T10" fmla="*/ 113 w 261"/>
                <a:gd name="T11" fmla="*/ 153 h 177"/>
                <a:gd name="T12" fmla="*/ 119 w 261"/>
                <a:gd name="T13" fmla="*/ 166 h 177"/>
                <a:gd name="T14" fmla="*/ 132 w 261"/>
                <a:gd name="T15" fmla="*/ 176 h 177"/>
                <a:gd name="T16" fmla="*/ 138 w 261"/>
                <a:gd name="T17" fmla="*/ 177 h 177"/>
                <a:gd name="T18" fmla="*/ 142 w 261"/>
                <a:gd name="T19" fmla="*/ 173 h 177"/>
                <a:gd name="T20" fmla="*/ 148 w 261"/>
                <a:gd name="T21" fmla="*/ 163 h 177"/>
                <a:gd name="T22" fmla="*/ 152 w 261"/>
                <a:gd name="T23" fmla="*/ 149 h 177"/>
                <a:gd name="T24" fmla="*/ 146 w 261"/>
                <a:gd name="T25" fmla="*/ 133 h 177"/>
                <a:gd name="T26" fmla="*/ 132 w 261"/>
                <a:gd name="T27" fmla="*/ 120 h 177"/>
                <a:gd name="T28" fmla="*/ 146 w 261"/>
                <a:gd name="T29" fmla="*/ 111 h 177"/>
                <a:gd name="T30" fmla="*/ 161 w 261"/>
                <a:gd name="T31" fmla="*/ 108 h 177"/>
                <a:gd name="T32" fmla="*/ 173 w 261"/>
                <a:gd name="T33" fmla="*/ 94 h 177"/>
                <a:gd name="T34" fmla="*/ 178 w 261"/>
                <a:gd name="T35" fmla="*/ 80 h 177"/>
                <a:gd name="T36" fmla="*/ 184 w 261"/>
                <a:gd name="T37" fmla="*/ 79 h 177"/>
                <a:gd name="T38" fmla="*/ 189 w 261"/>
                <a:gd name="T39" fmla="*/ 82 h 177"/>
                <a:gd name="T40" fmla="*/ 199 w 261"/>
                <a:gd name="T41" fmla="*/ 76 h 177"/>
                <a:gd name="T42" fmla="*/ 207 w 261"/>
                <a:gd name="T43" fmla="*/ 70 h 177"/>
                <a:gd name="T44" fmla="*/ 216 w 261"/>
                <a:gd name="T45" fmla="*/ 93 h 177"/>
                <a:gd name="T46" fmla="*/ 226 w 261"/>
                <a:gd name="T47" fmla="*/ 91 h 177"/>
                <a:gd name="T48" fmla="*/ 240 w 261"/>
                <a:gd name="T49" fmla="*/ 94 h 177"/>
                <a:gd name="T50" fmla="*/ 245 w 261"/>
                <a:gd name="T51" fmla="*/ 88 h 177"/>
                <a:gd name="T52" fmla="*/ 248 w 261"/>
                <a:gd name="T53" fmla="*/ 88 h 177"/>
                <a:gd name="T54" fmla="*/ 253 w 261"/>
                <a:gd name="T55" fmla="*/ 83 h 177"/>
                <a:gd name="T56" fmla="*/ 259 w 261"/>
                <a:gd name="T57" fmla="*/ 84 h 177"/>
                <a:gd name="T58" fmla="*/ 255 w 261"/>
                <a:gd name="T59" fmla="*/ 79 h 177"/>
                <a:gd name="T60" fmla="*/ 251 w 261"/>
                <a:gd name="T61" fmla="*/ 77 h 177"/>
                <a:gd name="T62" fmla="*/ 245 w 261"/>
                <a:gd name="T63" fmla="*/ 73 h 177"/>
                <a:gd name="T64" fmla="*/ 239 w 261"/>
                <a:gd name="T65" fmla="*/ 69 h 177"/>
                <a:gd name="T66" fmla="*/ 233 w 261"/>
                <a:gd name="T67" fmla="*/ 69 h 177"/>
                <a:gd name="T68" fmla="*/ 227 w 261"/>
                <a:gd name="T69" fmla="*/ 74 h 177"/>
                <a:gd name="T70" fmla="*/ 209 w 261"/>
                <a:gd name="T71" fmla="*/ 66 h 177"/>
                <a:gd name="T72" fmla="*/ 202 w 261"/>
                <a:gd name="T73" fmla="*/ 63 h 177"/>
                <a:gd name="T74" fmla="*/ 196 w 261"/>
                <a:gd name="T75" fmla="*/ 55 h 177"/>
                <a:gd name="T76" fmla="*/ 180 w 261"/>
                <a:gd name="T77" fmla="*/ 67 h 177"/>
                <a:gd name="T78" fmla="*/ 167 w 261"/>
                <a:gd name="T79" fmla="*/ 80 h 177"/>
                <a:gd name="T80" fmla="*/ 162 w 261"/>
                <a:gd name="T81" fmla="*/ 89 h 177"/>
                <a:gd name="T82" fmla="*/ 159 w 261"/>
                <a:gd name="T83" fmla="*/ 88 h 177"/>
                <a:gd name="T84" fmla="*/ 149 w 261"/>
                <a:gd name="T85" fmla="*/ 74 h 177"/>
                <a:gd name="T86" fmla="*/ 142 w 261"/>
                <a:gd name="T87" fmla="*/ 72 h 177"/>
                <a:gd name="T88" fmla="*/ 115 w 261"/>
                <a:gd name="T89" fmla="*/ 66 h 177"/>
                <a:gd name="T90" fmla="*/ 112 w 261"/>
                <a:gd name="T91" fmla="*/ 49 h 177"/>
                <a:gd name="T92" fmla="*/ 105 w 261"/>
                <a:gd name="T93" fmla="*/ 50 h 177"/>
                <a:gd name="T94" fmla="*/ 102 w 261"/>
                <a:gd name="T95" fmla="*/ 26 h 177"/>
                <a:gd name="T96" fmla="*/ 94 w 261"/>
                <a:gd name="T97" fmla="*/ 18 h 177"/>
                <a:gd name="T98" fmla="*/ 81 w 261"/>
                <a:gd name="T99" fmla="*/ 5 h 177"/>
                <a:gd name="T100" fmla="*/ 72 w 261"/>
                <a:gd name="T101" fmla="*/ 3 h 177"/>
                <a:gd name="T102" fmla="*/ 39 w 261"/>
                <a:gd name="T103" fmla="*/ 3 h 177"/>
                <a:gd name="T104" fmla="*/ 8 w 261"/>
                <a:gd name="T105" fmla="*/ 6 h 177"/>
                <a:gd name="T106" fmla="*/ 0 w 261"/>
                <a:gd name="T107" fmla="*/ 0 h 1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1" h="177">
                  <a:moveTo>
                    <a:pt x="0" y="0"/>
                  </a:moveTo>
                  <a:cubicBezTo>
                    <a:pt x="0" y="64"/>
                    <a:pt x="0" y="64"/>
                    <a:pt x="0" y="64"/>
                  </a:cubicBezTo>
                  <a:cubicBezTo>
                    <a:pt x="1" y="65"/>
                    <a:pt x="3" y="66"/>
                    <a:pt x="4" y="67"/>
                  </a:cubicBezTo>
                  <a:cubicBezTo>
                    <a:pt x="8" y="71"/>
                    <a:pt x="10" y="77"/>
                    <a:pt x="13" y="82"/>
                  </a:cubicBezTo>
                  <a:cubicBezTo>
                    <a:pt x="13" y="83"/>
                    <a:pt x="13" y="83"/>
                    <a:pt x="13" y="83"/>
                  </a:cubicBezTo>
                  <a:cubicBezTo>
                    <a:pt x="13" y="85"/>
                    <a:pt x="14" y="86"/>
                    <a:pt x="14" y="87"/>
                  </a:cubicBezTo>
                  <a:cubicBezTo>
                    <a:pt x="15" y="87"/>
                    <a:pt x="15" y="88"/>
                    <a:pt x="16" y="89"/>
                  </a:cubicBezTo>
                  <a:cubicBezTo>
                    <a:pt x="17" y="90"/>
                    <a:pt x="19" y="91"/>
                    <a:pt x="20" y="94"/>
                  </a:cubicBezTo>
                  <a:cubicBezTo>
                    <a:pt x="20" y="94"/>
                    <a:pt x="20" y="94"/>
                    <a:pt x="20" y="94"/>
                  </a:cubicBezTo>
                  <a:cubicBezTo>
                    <a:pt x="20" y="95"/>
                    <a:pt x="20" y="96"/>
                    <a:pt x="21" y="97"/>
                  </a:cubicBezTo>
                  <a:cubicBezTo>
                    <a:pt x="21" y="97"/>
                    <a:pt x="21" y="97"/>
                    <a:pt x="21" y="97"/>
                  </a:cubicBezTo>
                  <a:cubicBezTo>
                    <a:pt x="21" y="99"/>
                    <a:pt x="21" y="100"/>
                    <a:pt x="22" y="101"/>
                  </a:cubicBezTo>
                  <a:cubicBezTo>
                    <a:pt x="22" y="102"/>
                    <a:pt x="22" y="102"/>
                    <a:pt x="22" y="102"/>
                  </a:cubicBezTo>
                  <a:cubicBezTo>
                    <a:pt x="23" y="103"/>
                    <a:pt x="25" y="104"/>
                    <a:pt x="26" y="105"/>
                  </a:cubicBezTo>
                  <a:cubicBezTo>
                    <a:pt x="27" y="105"/>
                    <a:pt x="28" y="106"/>
                    <a:pt x="29" y="106"/>
                  </a:cubicBezTo>
                  <a:cubicBezTo>
                    <a:pt x="33" y="109"/>
                    <a:pt x="33" y="109"/>
                    <a:pt x="33" y="109"/>
                  </a:cubicBezTo>
                  <a:cubicBezTo>
                    <a:pt x="34" y="110"/>
                    <a:pt x="35" y="111"/>
                    <a:pt x="37" y="112"/>
                  </a:cubicBezTo>
                  <a:cubicBezTo>
                    <a:pt x="40" y="115"/>
                    <a:pt x="44" y="118"/>
                    <a:pt x="48" y="120"/>
                  </a:cubicBezTo>
                  <a:cubicBezTo>
                    <a:pt x="49" y="120"/>
                    <a:pt x="50" y="121"/>
                    <a:pt x="51" y="121"/>
                  </a:cubicBezTo>
                  <a:cubicBezTo>
                    <a:pt x="54" y="123"/>
                    <a:pt x="54" y="123"/>
                    <a:pt x="54" y="123"/>
                  </a:cubicBezTo>
                  <a:cubicBezTo>
                    <a:pt x="58" y="125"/>
                    <a:pt x="64" y="127"/>
                    <a:pt x="68" y="131"/>
                  </a:cubicBezTo>
                  <a:cubicBezTo>
                    <a:pt x="70" y="133"/>
                    <a:pt x="73" y="135"/>
                    <a:pt x="76" y="137"/>
                  </a:cubicBezTo>
                  <a:cubicBezTo>
                    <a:pt x="79" y="138"/>
                    <a:pt x="79" y="138"/>
                    <a:pt x="79" y="138"/>
                  </a:cubicBezTo>
                  <a:cubicBezTo>
                    <a:pt x="80" y="139"/>
                    <a:pt x="81" y="139"/>
                    <a:pt x="82" y="140"/>
                  </a:cubicBezTo>
                  <a:cubicBezTo>
                    <a:pt x="84" y="141"/>
                    <a:pt x="86" y="143"/>
                    <a:pt x="88" y="144"/>
                  </a:cubicBezTo>
                  <a:cubicBezTo>
                    <a:pt x="89" y="145"/>
                    <a:pt x="89" y="145"/>
                    <a:pt x="89" y="145"/>
                  </a:cubicBezTo>
                  <a:cubicBezTo>
                    <a:pt x="89" y="145"/>
                    <a:pt x="90" y="145"/>
                    <a:pt x="91" y="146"/>
                  </a:cubicBezTo>
                  <a:cubicBezTo>
                    <a:pt x="92" y="147"/>
                    <a:pt x="92" y="147"/>
                    <a:pt x="92" y="147"/>
                  </a:cubicBezTo>
                  <a:cubicBezTo>
                    <a:pt x="93" y="148"/>
                    <a:pt x="94" y="149"/>
                    <a:pt x="95" y="149"/>
                  </a:cubicBezTo>
                  <a:cubicBezTo>
                    <a:pt x="96" y="149"/>
                    <a:pt x="96" y="148"/>
                    <a:pt x="96" y="148"/>
                  </a:cubicBezTo>
                  <a:cubicBezTo>
                    <a:pt x="97" y="148"/>
                    <a:pt x="97" y="148"/>
                    <a:pt x="97" y="148"/>
                  </a:cubicBezTo>
                  <a:cubicBezTo>
                    <a:pt x="98" y="148"/>
                    <a:pt x="98" y="148"/>
                    <a:pt x="98" y="148"/>
                  </a:cubicBezTo>
                  <a:cubicBezTo>
                    <a:pt x="99" y="147"/>
                    <a:pt x="99" y="147"/>
                    <a:pt x="100" y="147"/>
                  </a:cubicBezTo>
                  <a:cubicBezTo>
                    <a:pt x="103" y="147"/>
                    <a:pt x="105" y="149"/>
                    <a:pt x="108" y="150"/>
                  </a:cubicBezTo>
                  <a:cubicBezTo>
                    <a:pt x="108" y="151"/>
                    <a:pt x="108" y="151"/>
                    <a:pt x="108" y="151"/>
                  </a:cubicBezTo>
                  <a:cubicBezTo>
                    <a:pt x="110" y="151"/>
                    <a:pt x="111" y="152"/>
                    <a:pt x="113" y="153"/>
                  </a:cubicBezTo>
                  <a:cubicBezTo>
                    <a:pt x="119" y="156"/>
                    <a:pt x="119" y="156"/>
                    <a:pt x="119" y="156"/>
                  </a:cubicBezTo>
                  <a:cubicBezTo>
                    <a:pt x="121" y="157"/>
                    <a:pt x="121" y="159"/>
                    <a:pt x="121" y="159"/>
                  </a:cubicBezTo>
                  <a:cubicBezTo>
                    <a:pt x="120" y="160"/>
                    <a:pt x="120" y="160"/>
                    <a:pt x="120" y="161"/>
                  </a:cubicBezTo>
                  <a:cubicBezTo>
                    <a:pt x="120" y="161"/>
                    <a:pt x="120" y="162"/>
                    <a:pt x="120" y="163"/>
                  </a:cubicBezTo>
                  <a:cubicBezTo>
                    <a:pt x="120" y="164"/>
                    <a:pt x="120" y="164"/>
                    <a:pt x="120" y="164"/>
                  </a:cubicBezTo>
                  <a:cubicBezTo>
                    <a:pt x="120" y="165"/>
                    <a:pt x="119" y="165"/>
                    <a:pt x="119" y="166"/>
                  </a:cubicBezTo>
                  <a:cubicBezTo>
                    <a:pt x="119" y="171"/>
                    <a:pt x="119" y="171"/>
                    <a:pt x="119" y="171"/>
                  </a:cubicBezTo>
                  <a:cubicBezTo>
                    <a:pt x="118" y="171"/>
                    <a:pt x="118" y="172"/>
                    <a:pt x="118" y="172"/>
                  </a:cubicBezTo>
                  <a:cubicBezTo>
                    <a:pt x="122" y="172"/>
                    <a:pt x="122" y="172"/>
                    <a:pt x="122" y="172"/>
                  </a:cubicBezTo>
                  <a:cubicBezTo>
                    <a:pt x="123" y="172"/>
                    <a:pt x="124" y="172"/>
                    <a:pt x="125" y="172"/>
                  </a:cubicBezTo>
                  <a:cubicBezTo>
                    <a:pt x="127" y="173"/>
                    <a:pt x="129" y="174"/>
                    <a:pt x="131" y="176"/>
                  </a:cubicBezTo>
                  <a:cubicBezTo>
                    <a:pt x="132" y="176"/>
                    <a:pt x="132" y="176"/>
                    <a:pt x="132" y="176"/>
                  </a:cubicBezTo>
                  <a:cubicBezTo>
                    <a:pt x="132" y="177"/>
                    <a:pt x="132" y="177"/>
                    <a:pt x="132" y="177"/>
                  </a:cubicBezTo>
                  <a:cubicBezTo>
                    <a:pt x="133" y="177"/>
                    <a:pt x="133" y="177"/>
                    <a:pt x="133" y="177"/>
                  </a:cubicBezTo>
                  <a:cubicBezTo>
                    <a:pt x="133" y="177"/>
                    <a:pt x="133" y="177"/>
                    <a:pt x="133" y="177"/>
                  </a:cubicBezTo>
                  <a:cubicBezTo>
                    <a:pt x="133" y="177"/>
                    <a:pt x="133" y="177"/>
                    <a:pt x="133" y="177"/>
                  </a:cubicBezTo>
                  <a:cubicBezTo>
                    <a:pt x="134" y="177"/>
                    <a:pt x="135" y="177"/>
                    <a:pt x="136" y="177"/>
                  </a:cubicBezTo>
                  <a:cubicBezTo>
                    <a:pt x="137" y="177"/>
                    <a:pt x="137" y="177"/>
                    <a:pt x="138" y="177"/>
                  </a:cubicBezTo>
                  <a:cubicBezTo>
                    <a:pt x="139" y="177"/>
                    <a:pt x="140" y="177"/>
                    <a:pt x="141" y="177"/>
                  </a:cubicBezTo>
                  <a:cubicBezTo>
                    <a:pt x="141" y="175"/>
                    <a:pt x="141" y="175"/>
                    <a:pt x="141" y="175"/>
                  </a:cubicBezTo>
                  <a:cubicBezTo>
                    <a:pt x="142" y="176"/>
                    <a:pt x="142" y="176"/>
                    <a:pt x="142" y="176"/>
                  </a:cubicBezTo>
                  <a:cubicBezTo>
                    <a:pt x="142" y="175"/>
                    <a:pt x="142" y="175"/>
                    <a:pt x="142" y="175"/>
                  </a:cubicBezTo>
                  <a:cubicBezTo>
                    <a:pt x="142" y="174"/>
                    <a:pt x="142" y="174"/>
                    <a:pt x="142" y="174"/>
                  </a:cubicBezTo>
                  <a:cubicBezTo>
                    <a:pt x="142" y="174"/>
                    <a:pt x="142" y="173"/>
                    <a:pt x="142" y="173"/>
                  </a:cubicBezTo>
                  <a:cubicBezTo>
                    <a:pt x="142" y="172"/>
                    <a:pt x="142" y="172"/>
                    <a:pt x="142" y="172"/>
                  </a:cubicBezTo>
                  <a:cubicBezTo>
                    <a:pt x="143" y="171"/>
                    <a:pt x="143" y="171"/>
                    <a:pt x="143" y="171"/>
                  </a:cubicBezTo>
                  <a:cubicBezTo>
                    <a:pt x="143" y="171"/>
                    <a:pt x="143" y="170"/>
                    <a:pt x="143" y="170"/>
                  </a:cubicBezTo>
                  <a:cubicBezTo>
                    <a:pt x="144" y="169"/>
                    <a:pt x="145" y="168"/>
                    <a:pt x="146" y="166"/>
                  </a:cubicBezTo>
                  <a:cubicBezTo>
                    <a:pt x="147" y="164"/>
                    <a:pt x="147" y="164"/>
                    <a:pt x="147" y="164"/>
                  </a:cubicBezTo>
                  <a:cubicBezTo>
                    <a:pt x="147" y="164"/>
                    <a:pt x="147" y="164"/>
                    <a:pt x="148" y="163"/>
                  </a:cubicBezTo>
                  <a:cubicBezTo>
                    <a:pt x="149" y="162"/>
                    <a:pt x="149" y="162"/>
                    <a:pt x="149" y="162"/>
                  </a:cubicBezTo>
                  <a:cubicBezTo>
                    <a:pt x="154" y="155"/>
                    <a:pt x="155" y="153"/>
                    <a:pt x="155" y="153"/>
                  </a:cubicBezTo>
                  <a:cubicBezTo>
                    <a:pt x="155" y="152"/>
                    <a:pt x="155" y="152"/>
                    <a:pt x="155" y="152"/>
                  </a:cubicBezTo>
                  <a:cubicBezTo>
                    <a:pt x="154" y="152"/>
                    <a:pt x="154" y="152"/>
                    <a:pt x="153" y="151"/>
                  </a:cubicBezTo>
                  <a:cubicBezTo>
                    <a:pt x="153" y="151"/>
                    <a:pt x="153" y="150"/>
                    <a:pt x="152" y="150"/>
                  </a:cubicBezTo>
                  <a:cubicBezTo>
                    <a:pt x="152" y="149"/>
                    <a:pt x="152" y="149"/>
                    <a:pt x="152" y="149"/>
                  </a:cubicBezTo>
                  <a:cubicBezTo>
                    <a:pt x="151" y="149"/>
                    <a:pt x="151" y="149"/>
                    <a:pt x="151" y="148"/>
                  </a:cubicBezTo>
                  <a:cubicBezTo>
                    <a:pt x="150" y="147"/>
                    <a:pt x="149" y="146"/>
                    <a:pt x="149" y="145"/>
                  </a:cubicBezTo>
                  <a:cubicBezTo>
                    <a:pt x="149" y="144"/>
                    <a:pt x="149" y="144"/>
                    <a:pt x="149" y="143"/>
                  </a:cubicBezTo>
                  <a:cubicBezTo>
                    <a:pt x="150" y="139"/>
                    <a:pt x="150" y="139"/>
                    <a:pt x="150" y="139"/>
                  </a:cubicBezTo>
                  <a:cubicBezTo>
                    <a:pt x="151" y="135"/>
                    <a:pt x="151" y="134"/>
                    <a:pt x="151" y="134"/>
                  </a:cubicBezTo>
                  <a:cubicBezTo>
                    <a:pt x="150" y="134"/>
                    <a:pt x="148" y="133"/>
                    <a:pt x="146" y="133"/>
                  </a:cubicBezTo>
                  <a:cubicBezTo>
                    <a:pt x="141" y="133"/>
                    <a:pt x="140" y="133"/>
                    <a:pt x="137" y="129"/>
                  </a:cubicBezTo>
                  <a:cubicBezTo>
                    <a:pt x="136" y="129"/>
                    <a:pt x="136" y="129"/>
                    <a:pt x="136" y="129"/>
                  </a:cubicBezTo>
                  <a:cubicBezTo>
                    <a:pt x="135" y="128"/>
                    <a:pt x="135" y="128"/>
                    <a:pt x="135" y="128"/>
                  </a:cubicBezTo>
                  <a:cubicBezTo>
                    <a:pt x="134" y="127"/>
                    <a:pt x="134" y="126"/>
                    <a:pt x="134" y="126"/>
                  </a:cubicBezTo>
                  <a:cubicBezTo>
                    <a:pt x="132" y="125"/>
                    <a:pt x="132" y="123"/>
                    <a:pt x="132" y="121"/>
                  </a:cubicBezTo>
                  <a:cubicBezTo>
                    <a:pt x="132" y="120"/>
                    <a:pt x="132" y="120"/>
                    <a:pt x="132" y="120"/>
                  </a:cubicBezTo>
                  <a:cubicBezTo>
                    <a:pt x="133" y="117"/>
                    <a:pt x="133" y="115"/>
                    <a:pt x="137" y="113"/>
                  </a:cubicBezTo>
                  <a:cubicBezTo>
                    <a:pt x="137" y="113"/>
                    <a:pt x="137" y="113"/>
                    <a:pt x="137" y="113"/>
                  </a:cubicBezTo>
                  <a:cubicBezTo>
                    <a:pt x="139" y="112"/>
                    <a:pt x="140" y="111"/>
                    <a:pt x="141" y="111"/>
                  </a:cubicBezTo>
                  <a:cubicBezTo>
                    <a:pt x="141" y="111"/>
                    <a:pt x="141" y="111"/>
                    <a:pt x="141" y="111"/>
                  </a:cubicBezTo>
                  <a:cubicBezTo>
                    <a:pt x="142" y="110"/>
                    <a:pt x="143" y="110"/>
                    <a:pt x="143" y="110"/>
                  </a:cubicBezTo>
                  <a:cubicBezTo>
                    <a:pt x="144" y="110"/>
                    <a:pt x="145" y="110"/>
                    <a:pt x="146" y="111"/>
                  </a:cubicBezTo>
                  <a:cubicBezTo>
                    <a:pt x="149" y="111"/>
                    <a:pt x="151" y="112"/>
                    <a:pt x="154" y="112"/>
                  </a:cubicBezTo>
                  <a:cubicBezTo>
                    <a:pt x="155" y="112"/>
                    <a:pt x="156" y="112"/>
                    <a:pt x="157" y="112"/>
                  </a:cubicBezTo>
                  <a:cubicBezTo>
                    <a:pt x="158" y="112"/>
                    <a:pt x="158" y="112"/>
                    <a:pt x="158" y="112"/>
                  </a:cubicBezTo>
                  <a:cubicBezTo>
                    <a:pt x="159" y="112"/>
                    <a:pt x="159" y="112"/>
                    <a:pt x="159" y="112"/>
                  </a:cubicBezTo>
                  <a:cubicBezTo>
                    <a:pt x="159" y="112"/>
                    <a:pt x="159" y="112"/>
                    <a:pt x="159" y="112"/>
                  </a:cubicBezTo>
                  <a:cubicBezTo>
                    <a:pt x="160" y="112"/>
                    <a:pt x="160" y="110"/>
                    <a:pt x="161" y="108"/>
                  </a:cubicBezTo>
                  <a:cubicBezTo>
                    <a:pt x="161" y="107"/>
                    <a:pt x="161" y="107"/>
                    <a:pt x="161" y="107"/>
                  </a:cubicBezTo>
                  <a:cubicBezTo>
                    <a:pt x="162" y="105"/>
                    <a:pt x="163" y="104"/>
                    <a:pt x="164" y="103"/>
                  </a:cubicBezTo>
                  <a:cubicBezTo>
                    <a:pt x="164" y="102"/>
                    <a:pt x="164" y="102"/>
                    <a:pt x="165" y="102"/>
                  </a:cubicBezTo>
                  <a:cubicBezTo>
                    <a:pt x="164" y="101"/>
                    <a:pt x="162" y="100"/>
                    <a:pt x="161" y="99"/>
                  </a:cubicBezTo>
                  <a:cubicBezTo>
                    <a:pt x="160" y="95"/>
                    <a:pt x="160" y="95"/>
                    <a:pt x="160" y="95"/>
                  </a:cubicBezTo>
                  <a:cubicBezTo>
                    <a:pt x="173" y="94"/>
                    <a:pt x="173" y="94"/>
                    <a:pt x="173" y="94"/>
                  </a:cubicBezTo>
                  <a:cubicBezTo>
                    <a:pt x="173" y="94"/>
                    <a:pt x="173" y="94"/>
                    <a:pt x="174" y="94"/>
                  </a:cubicBezTo>
                  <a:cubicBezTo>
                    <a:pt x="174" y="94"/>
                    <a:pt x="175" y="94"/>
                    <a:pt x="176" y="94"/>
                  </a:cubicBezTo>
                  <a:cubicBezTo>
                    <a:pt x="175" y="91"/>
                    <a:pt x="174" y="89"/>
                    <a:pt x="175" y="86"/>
                  </a:cubicBezTo>
                  <a:cubicBezTo>
                    <a:pt x="175" y="85"/>
                    <a:pt x="176" y="83"/>
                    <a:pt x="177" y="82"/>
                  </a:cubicBezTo>
                  <a:cubicBezTo>
                    <a:pt x="178" y="81"/>
                    <a:pt x="178" y="81"/>
                    <a:pt x="178" y="81"/>
                  </a:cubicBezTo>
                  <a:cubicBezTo>
                    <a:pt x="178" y="80"/>
                    <a:pt x="178" y="80"/>
                    <a:pt x="178" y="80"/>
                  </a:cubicBezTo>
                  <a:cubicBezTo>
                    <a:pt x="179" y="79"/>
                    <a:pt x="179" y="79"/>
                    <a:pt x="179" y="79"/>
                  </a:cubicBezTo>
                  <a:cubicBezTo>
                    <a:pt x="181" y="79"/>
                    <a:pt x="181" y="79"/>
                    <a:pt x="181" y="79"/>
                  </a:cubicBezTo>
                  <a:cubicBezTo>
                    <a:pt x="181" y="79"/>
                    <a:pt x="181" y="79"/>
                    <a:pt x="181" y="79"/>
                  </a:cubicBezTo>
                  <a:cubicBezTo>
                    <a:pt x="182" y="79"/>
                    <a:pt x="182" y="79"/>
                    <a:pt x="182" y="79"/>
                  </a:cubicBezTo>
                  <a:cubicBezTo>
                    <a:pt x="183" y="79"/>
                    <a:pt x="183" y="79"/>
                    <a:pt x="183" y="79"/>
                  </a:cubicBezTo>
                  <a:cubicBezTo>
                    <a:pt x="183" y="79"/>
                    <a:pt x="184" y="79"/>
                    <a:pt x="184" y="79"/>
                  </a:cubicBezTo>
                  <a:cubicBezTo>
                    <a:pt x="184" y="80"/>
                    <a:pt x="184" y="80"/>
                    <a:pt x="184" y="80"/>
                  </a:cubicBezTo>
                  <a:cubicBezTo>
                    <a:pt x="185" y="80"/>
                    <a:pt x="185" y="80"/>
                    <a:pt x="185" y="80"/>
                  </a:cubicBezTo>
                  <a:cubicBezTo>
                    <a:pt x="186" y="80"/>
                    <a:pt x="187" y="81"/>
                    <a:pt x="187" y="81"/>
                  </a:cubicBezTo>
                  <a:cubicBezTo>
                    <a:pt x="188" y="81"/>
                    <a:pt x="188" y="81"/>
                    <a:pt x="188" y="81"/>
                  </a:cubicBezTo>
                  <a:cubicBezTo>
                    <a:pt x="189" y="81"/>
                    <a:pt x="189" y="82"/>
                    <a:pt x="189" y="82"/>
                  </a:cubicBezTo>
                  <a:cubicBezTo>
                    <a:pt x="189" y="82"/>
                    <a:pt x="189" y="82"/>
                    <a:pt x="189" y="82"/>
                  </a:cubicBezTo>
                  <a:cubicBezTo>
                    <a:pt x="189" y="81"/>
                    <a:pt x="189" y="81"/>
                    <a:pt x="189" y="81"/>
                  </a:cubicBezTo>
                  <a:cubicBezTo>
                    <a:pt x="190" y="81"/>
                    <a:pt x="190" y="81"/>
                    <a:pt x="191" y="81"/>
                  </a:cubicBezTo>
                  <a:cubicBezTo>
                    <a:pt x="192" y="80"/>
                    <a:pt x="193" y="79"/>
                    <a:pt x="195" y="79"/>
                  </a:cubicBezTo>
                  <a:cubicBezTo>
                    <a:pt x="195" y="79"/>
                    <a:pt x="195" y="79"/>
                    <a:pt x="195" y="79"/>
                  </a:cubicBezTo>
                  <a:cubicBezTo>
                    <a:pt x="196" y="79"/>
                    <a:pt x="196" y="79"/>
                    <a:pt x="196" y="79"/>
                  </a:cubicBezTo>
                  <a:cubicBezTo>
                    <a:pt x="197" y="78"/>
                    <a:pt x="198" y="77"/>
                    <a:pt x="199" y="76"/>
                  </a:cubicBezTo>
                  <a:cubicBezTo>
                    <a:pt x="200" y="75"/>
                    <a:pt x="200" y="75"/>
                    <a:pt x="200" y="75"/>
                  </a:cubicBezTo>
                  <a:cubicBezTo>
                    <a:pt x="200" y="75"/>
                    <a:pt x="201" y="75"/>
                    <a:pt x="201" y="74"/>
                  </a:cubicBezTo>
                  <a:cubicBezTo>
                    <a:pt x="202" y="74"/>
                    <a:pt x="202" y="74"/>
                    <a:pt x="203" y="73"/>
                  </a:cubicBezTo>
                  <a:cubicBezTo>
                    <a:pt x="203" y="73"/>
                    <a:pt x="204" y="72"/>
                    <a:pt x="205" y="72"/>
                  </a:cubicBezTo>
                  <a:cubicBezTo>
                    <a:pt x="205" y="72"/>
                    <a:pt x="205" y="72"/>
                    <a:pt x="205" y="72"/>
                  </a:cubicBezTo>
                  <a:cubicBezTo>
                    <a:pt x="207" y="70"/>
                    <a:pt x="207" y="70"/>
                    <a:pt x="207" y="70"/>
                  </a:cubicBezTo>
                  <a:cubicBezTo>
                    <a:pt x="219" y="83"/>
                    <a:pt x="219" y="83"/>
                    <a:pt x="219" y="83"/>
                  </a:cubicBezTo>
                  <a:cubicBezTo>
                    <a:pt x="217" y="85"/>
                    <a:pt x="217" y="85"/>
                    <a:pt x="217" y="85"/>
                  </a:cubicBezTo>
                  <a:cubicBezTo>
                    <a:pt x="214" y="87"/>
                    <a:pt x="212" y="89"/>
                    <a:pt x="209" y="91"/>
                  </a:cubicBezTo>
                  <a:cubicBezTo>
                    <a:pt x="211" y="92"/>
                    <a:pt x="212" y="92"/>
                    <a:pt x="213" y="93"/>
                  </a:cubicBezTo>
                  <a:cubicBezTo>
                    <a:pt x="213" y="93"/>
                    <a:pt x="214" y="93"/>
                    <a:pt x="216" y="93"/>
                  </a:cubicBezTo>
                  <a:cubicBezTo>
                    <a:pt x="216" y="93"/>
                    <a:pt x="216" y="93"/>
                    <a:pt x="216" y="93"/>
                  </a:cubicBezTo>
                  <a:cubicBezTo>
                    <a:pt x="216" y="93"/>
                    <a:pt x="217" y="93"/>
                    <a:pt x="217" y="93"/>
                  </a:cubicBezTo>
                  <a:cubicBezTo>
                    <a:pt x="219" y="92"/>
                    <a:pt x="219" y="92"/>
                    <a:pt x="219" y="92"/>
                  </a:cubicBezTo>
                  <a:cubicBezTo>
                    <a:pt x="219" y="93"/>
                    <a:pt x="219" y="93"/>
                    <a:pt x="219" y="93"/>
                  </a:cubicBezTo>
                  <a:cubicBezTo>
                    <a:pt x="220" y="92"/>
                    <a:pt x="220" y="92"/>
                    <a:pt x="221" y="92"/>
                  </a:cubicBezTo>
                  <a:cubicBezTo>
                    <a:pt x="221" y="92"/>
                    <a:pt x="221" y="92"/>
                    <a:pt x="221" y="92"/>
                  </a:cubicBezTo>
                  <a:cubicBezTo>
                    <a:pt x="223" y="92"/>
                    <a:pt x="225" y="91"/>
                    <a:pt x="226" y="91"/>
                  </a:cubicBezTo>
                  <a:cubicBezTo>
                    <a:pt x="227" y="91"/>
                    <a:pt x="227" y="91"/>
                    <a:pt x="227" y="91"/>
                  </a:cubicBezTo>
                  <a:cubicBezTo>
                    <a:pt x="228" y="91"/>
                    <a:pt x="229" y="92"/>
                    <a:pt x="230" y="92"/>
                  </a:cubicBezTo>
                  <a:cubicBezTo>
                    <a:pt x="231" y="92"/>
                    <a:pt x="231" y="93"/>
                    <a:pt x="232" y="93"/>
                  </a:cubicBezTo>
                  <a:cubicBezTo>
                    <a:pt x="233" y="93"/>
                    <a:pt x="234" y="94"/>
                    <a:pt x="235" y="94"/>
                  </a:cubicBezTo>
                  <a:cubicBezTo>
                    <a:pt x="236" y="95"/>
                    <a:pt x="236" y="95"/>
                    <a:pt x="237" y="95"/>
                  </a:cubicBezTo>
                  <a:cubicBezTo>
                    <a:pt x="238" y="95"/>
                    <a:pt x="239" y="95"/>
                    <a:pt x="240" y="94"/>
                  </a:cubicBezTo>
                  <a:cubicBezTo>
                    <a:pt x="240" y="94"/>
                    <a:pt x="240" y="94"/>
                    <a:pt x="240" y="94"/>
                  </a:cubicBezTo>
                  <a:cubicBezTo>
                    <a:pt x="241" y="94"/>
                    <a:pt x="241" y="94"/>
                    <a:pt x="241" y="94"/>
                  </a:cubicBezTo>
                  <a:cubicBezTo>
                    <a:pt x="242" y="93"/>
                    <a:pt x="242" y="93"/>
                    <a:pt x="242" y="93"/>
                  </a:cubicBezTo>
                  <a:cubicBezTo>
                    <a:pt x="242" y="92"/>
                    <a:pt x="242" y="92"/>
                    <a:pt x="242" y="91"/>
                  </a:cubicBezTo>
                  <a:cubicBezTo>
                    <a:pt x="243" y="90"/>
                    <a:pt x="243" y="89"/>
                    <a:pt x="244" y="89"/>
                  </a:cubicBezTo>
                  <a:cubicBezTo>
                    <a:pt x="245" y="88"/>
                    <a:pt x="245" y="88"/>
                    <a:pt x="245" y="88"/>
                  </a:cubicBezTo>
                  <a:cubicBezTo>
                    <a:pt x="246" y="88"/>
                    <a:pt x="246" y="88"/>
                    <a:pt x="246" y="88"/>
                  </a:cubicBezTo>
                  <a:cubicBezTo>
                    <a:pt x="246" y="88"/>
                    <a:pt x="246" y="88"/>
                    <a:pt x="246" y="88"/>
                  </a:cubicBezTo>
                  <a:cubicBezTo>
                    <a:pt x="247" y="89"/>
                    <a:pt x="247" y="89"/>
                    <a:pt x="247" y="89"/>
                  </a:cubicBezTo>
                  <a:cubicBezTo>
                    <a:pt x="247" y="88"/>
                    <a:pt x="247" y="88"/>
                    <a:pt x="247" y="88"/>
                  </a:cubicBezTo>
                  <a:cubicBezTo>
                    <a:pt x="247" y="88"/>
                    <a:pt x="247" y="88"/>
                    <a:pt x="248" y="88"/>
                  </a:cubicBezTo>
                  <a:cubicBezTo>
                    <a:pt x="248" y="88"/>
                    <a:pt x="248" y="88"/>
                    <a:pt x="248" y="88"/>
                  </a:cubicBezTo>
                  <a:cubicBezTo>
                    <a:pt x="248" y="88"/>
                    <a:pt x="249" y="88"/>
                    <a:pt x="249" y="88"/>
                  </a:cubicBezTo>
                  <a:cubicBezTo>
                    <a:pt x="249" y="87"/>
                    <a:pt x="249" y="87"/>
                    <a:pt x="249" y="87"/>
                  </a:cubicBezTo>
                  <a:cubicBezTo>
                    <a:pt x="249" y="86"/>
                    <a:pt x="249" y="86"/>
                    <a:pt x="249" y="86"/>
                  </a:cubicBezTo>
                  <a:cubicBezTo>
                    <a:pt x="249" y="85"/>
                    <a:pt x="250" y="84"/>
                    <a:pt x="251" y="83"/>
                  </a:cubicBezTo>
                  <a:cubicBezTo>
                    <a:pt x="252" y="83"/>
                    <a:pt x="252" y="83"/>
                    <a:pt x="252" y="83"/>
                  </a:cubicBezTo>
                  <a:cubicBezTo>
                    <a:pt x="252" y="83"/>
                    <a:pt x="252" y="83"/>
                    <a:pt x="253" y="83"/>
                  </a:cubicBezTo>
                  <a:cubicBezTo>
                    <a:pt x="254" y="83"/>
                    <a:pt x="254" y="83"/>
                    <a:pt x="255" y="83"/>
                  </a:cubicBezTo>
                  <a:cubicBezTo>
                    <a:pt x="255" y="84"/>
                    <a:pt x="255" y="84"/>
                    <a:pt x="255" y="84"/>
                  </a:cubicBezTo>
                  <a:cubicBezTo>
                    <a:pt x="256" y="84"/>
                    <a:pt x="256" y="84"/>
                    <a:pt x="257" y="85"/>
                  </a:cubicBezTo>
                  <a:cubicBezTo>
                    <a:pt x="257" y="85"/>
                    <a:pt x="258" y="85"/>
                    <a:pt x="258" y="85"/>
                  </a:cubicBezTo>
                  <a:cubicBezTo>
                    <a:pt x="258" y="85"/>
                    <a:pt x="258" y="85"/>
                    <a:pt x="258" y="85"/>
                  </a:cubicBezTo>
                  <a:cubicBezTo>
                    <a:pt x="259" y="84"/>
                    <a:pt x="259" y="84"/>
                    <a:pt x="259" y="84"/>
                  </a:cubicBezTo>
                  <a:cubicBezTo>
                    <a:pt x="259" y="84"/>
                    <a:pt x="259" y="83"/>
                    <a:pt x="260" y="83"/>
                  </a:cubicBezTo>
                  <a:cubicBezTo>
                    <a:pt x="261" y="82"/>
                    <a:pt x="261" y="82"/>
                    <a:pt x="261" y="82"/>
                  </a:cubicBezTo>
                  <a:cubicBezTo>
                    <a:pt x="261" y="82"/>
                    <a:pt x="261" y="82"/>
                    <a:pt x="261" y="82"/>
                  </a:cubicBezTo>
                  <a:cubicBezTo>
                    <a:pt x="259" y="81"/>
                    <a:pt x="258" y="81"/>
                    <a:pt x="256" y="80"/>
                  </a:cubicBezTo>
                  <a:cubicBezTo>
                    <a:pt x="256" y="80"/>
                    <a:pt x="256" y="80"/>
                    <a:pt x="256" y="80"/>
                  </a:cubicBezTo>
                  <a:cubicBezTo>
                    <a:pt x="255" y="79"/>
                    <a:pt x="255" y="79"/>
                    <a:pt x="255" y="79"/>
                  </a:cubicBezTo>
                  <a:cubicBezTo>
                    <a:pt x="255" y="79"/>
                    <a:pt x="255" y="78"/>
                    <a:pt x="255" y="78"/>
                  </a:cubicBezTo>
                  <a:cubicBezTo>
                    <a:pt x="254" y="78"/>
                    <a:pt x="254" y="78"/>
                    <a:pt x="254" y="78"/>
                  </a:cubicBezTo>
                  <a:cubicBezTo>
                    <a:pt x="253" y="78"/>
                    <a:pt x="253" y="78"/>
                    <a:pt x="253" y="78"/>
                  </a:cubicBezTo>
                  <a:cubicBezTo>
                    <a:pt x="252" y="81"/>
                    <a:pt x="252" y="81"/>
                    <a:pt x="252" y="81"/>
                  </a:cubicBezTo>
                  <a:cubicBezTo>
                    <a:pt x="251" y="77"/>
                    <a:pt x="251" y="77"/>
                    <a:pt x="251" y="77"/>
                  </a:cubicBezTo>
                  <a:cubicBezTo>
                    <a:pt x="251" y="77"/>
                    <a:pt x="251" y="77"/>
                    <a:pt x="251" y="77"/>
                  </a:cubicBezTo>
                  <a:cubicBezTo>
                    <a:pt x="251" y="77"/>
                    <a:pt x="251" y="77"/>
                    <a:pt x="250" y="77"/>
                  </a:cubicBezTo>
                  <a:cubicBezTo>
                    <a:pt x="250" y="77"/>
                    <a:pt x="250" y="77"/>
                    <a:pt x="250" y="77"/>
                  </a:cubicBezTo>
                  <a:cubicBezTo>
                    <a:pt x="249" y="77"/>
                    <a:pt x="249" y="77"/>
                    <a:pt x="249" y="77"/>
                  </a:cubicBezTo>
                  <a:cubicBezTo>
                    <a:pt x="245" y="79"/>
                    <a:pt x="245" y="79"/>
                    <a:pt x="245" y="79"/>
                  </a:cubicBezTo>
                  <a:cubicBezTo>
                    <a:pt x="245" y="75"/>
                    <a:pt x="245" y="75"/>
                    <a:pt x="245" y="75"/>
                  </a:cubicBezTo>
                  <a:cubicBezTo>
                    <a:pt x="245" y="75"/>
                    <a:pt x="245" y="74"/>
                    <a:pt x="245" y="73"/>
                  </a:cubicBezTo>
                  <a:cubicBezTo>
                    <a:pt x="245" y="73"/>
                    <a:pt x="245" y="73"/>
                    <a:pt x="245" y="72"/>
                  </a:cubicBezTo>
                  <a:cubicBezTo>
                    <a:pt x="244" y="72"/>
                    <a:pt x="244" y="72"/>
                    <a:pt x="244" y="72"/>
                  </a:cubicBezTo>
                  <a:cubicBezTo>
                    <a:pt x="243" y="72"/>
                    <a:pt x="243" y="72"/>
                    <a:pt x="243" y="72"/>
                  </a:cubicBezTo>
                  <a:cubicBezTo>
                    <a:pt x="243" y="72"/>
                    <a:pt x="243" y="72"/>
                    <a:pt x="243" y="72"/>
                  </a:cubicBezTo>
                  <a:cubicBezTo>
                    <a:pt x="242" y="72"/>
                    <a:pt x="241" y="72"/>
                    <a:pt x="240" y="71"/>
                  </a:cubicBezTo>
                  <a:cubicBezTo>
                    <a:pt x="240" y="70"/>
                    <a:pt x="239" y="69"/>
                    <a:pt x="239" y="69"/>
                  </a:cubicBezTo>
                  <a:cubicBezTo>
                    <a:pt x="238" y="68"/>
                    <a:pt x="237" y="67"/>
                    <a:pt x="237" y="66"/>
                  </a:cubicBezTo>
                  <a:cubicBezTo>
                    <a:pt x="237" y="69"/>
                    <a:pt x="237" y="69"/>
                    <a:pt x="237" y="69"/>
                  </a:cubicBezTo>
                  <a:cubicBezTo>
                    <a:pt x="234" y="69"/>
                    <a:pt x="234" y="69"/>
                    <a:pt x="234" y="69"/>
                  </a:cubicBezTo>
                  <a:cubicBezTo>
                    <a:pt x="234" y="69"/>
                    <a:pt x="234" y="69"/>
                    <a:pt x="233" y="69"/>
                  </a:cubicBezTo>
                  <a:cubicBezTo>
                    <a:pt x="233" y="69"/>
                    <a:pt x="233" y="69"/>
                    <a:pt x="233" y="69"/>
                  </a:cubicBezTo>
                  <a:cubicBezTo>
                    <a:pt x="233" y="69"/>
                    <a:pt x="233" y="69"/>
                    <a:pt x="233" y="69"/>
                  </a:cubicBezTo>
                  <a:cubicBezTo>
                    <a:pt x="233" y="70"/>
                    <a:pt x="233" y="70"/>
                    <a:pt x="233" y="70"/>
                  </a:cubicBezTo>
                  <a:cubicBezTo>
                    <a:pt x="233" y="70"/>
                    <a:pt x="233" y="71"/>
                    <a:pt x="233" y="71"/>
                  </a:cubicBezTo>
                  <a:cubicBezTo>
                    <a:pt x="233" y="74"/>
                    <a:pt x="233" y="74"/>
                    <a:pt x="233" y="74"/>
                  </a:cubicBezTo>
                  <a:cubicBezTo>
                    <a:pt x="229" y="74"/>
                    <a:pt x="229" y="74"/>
                    <a:pt x="229" y="74"/>
                  </a:cubicBezTo>
                  <a:cubicBezTo>
                    <a:pt x="229" y="74"/>
                    <a:pt x="229" y="74"/>
                    <a:pt x="228" y="74"/>
                  </a:cubicBezTo>
                  <a:cubicBezTo>
                    <a:pt x="228" y="74"/>
                    <a:pt x="227" y="74"/>
                    <a:pt x="227" y="74"/>
                  </a:cubicBezTo>
                  <a:cubicBezTo>
                    <a:pt x="226" y="73"/>
                    <a:pt x="226" y="73"/>
                    <a:pt x="226" y="73"/>
                  </a:cubicBezTo>
                  <a:cubicBezTo>
                    <a:pt x="225" y="73"/>
                    <a:pt x="225" y="73"/>
                    <a:pt x="224" y="73"/>
                  </a:cubicBezTo>
                  <a:cubicBezTo>
                    <a:pt x="221" y="73"/>
                    <a:pt x="218" y="72"/>
                    <a:pt x="215" y="71"/>
                  </a:cubicBezTo>
                  <a:cubicBezTo>
                    <a:pt x="212" y="69"/>
                    <a:pt x="211" y="68"/>
                    <a:pt x="211" y="66"/>
                  </a:cubicBezTo>
                  <a:cubicBezTo>
                    <a:pt x="211" y="65"/>
                    <a:pt x="211" y="65"/>
                    <a:pt x="211" y="65"/>
                  </a:cubicBezTo>
                  <a:cubicBezTo>
                    <a:pt x="209" y="66"/>
                    <a:pt x="209" y="66"/>
                    <a:pt x="209" y="66"/>
                  </a:cubicBezTo>
                  <a:cubicBezTo>
                    <a:pt x="209" y="66"/>
                    <a:pt x="208" y="66"/>
                    <a:pt x="208" y="66"/>
                  </a:cubicBezTo>
                  <a:cubicBezTo>
                    <a:pt x="206" y="66"/>
                    <a:pt x="205" y="66"/>
                    <a:pt x="204" y="64"/>
                  </a:cubicBezTo>
                  <a:cubicBezTo>
                    <a:pt x="204" y="64"/>
                    <a:pt x="204" y="64"/>
                    <a:pt x="204" y="64"/>
                  </a:cubicBezTo>
                  <a:cubicBezTo>
                    <a:pt x="203" y="63"/>
                    <a:pt x="203" y="63"/>
                    <a:pt x="203" y="63"/>
                  </a:cubicBezTo>
                  <a:cubicBezTo>
                    <a:pt x="203" y="63"/>
                    <a:pt x="203" y="63"/>
                    <a:pt x="203" y="63"/>
                  </a:cubicBezTo>
                  <a:cubicBezTo>
                    <a:pt x="202" y="63"/>
                    <a:pt x="202" y="63"/>
                    <a:pt x="202" y="63"/>
                  </a:cubicBezTo>
                  <a:cubicBezTo>
                    <a:pt x="201" y="63"/>
                    <a:pt x="201" y="63"/>
                    <a:pt x="200" y="63"/>
                  </a:cubicBezTo>
                  <a:cubicBezTo>
                    <a:pt x="200" y="63"/>
                    <a:pt x="200" y="63"/>
                    <a:pt x="200" y="63"/>
                  </a:cubicBezTo>
                  <a:cubicBezTo>
                    <a:pt x="199" y="63"/>
                    <a:pt x="198" y="62"/>
                    <a:pt x="198" y="61"/>
                  </a:cubicBezTo>
                  <a:cubicBezTo>
                    <a:pt x="197" y="58"/>
                    <a:pt x="199" y="56"/>
                    <a:pt x="201" y="54"/>
                  </a:cubicBezTo>
                  <a:cubicBezTo>
                    <a:pt x="203" y="52"/>
                    <a:pt x="207" y="50"/>
                    <a:pt x="210" y="48"/>
                  </a:cubicBezTo>
                  <a:cubicBezTo>
                    <a:pt x="196" y="55"/>
                    <a:pt x="196" y="55"/>
                    <a:pt x="196" y="55"/>
                  </a:cubicBezTo>
                  <a:cubicBezTo>
                    <a:pt x="193" y="57"/>
                    <a:pt x="191" y="59"/>
                    <a:pt x="187" y="61"/>
                  </a:cubicBezTo>
                  <a:cubicBezTo>
                    <a:pt x="186" y="62"/>
                    <a:pt x="186" y="62"/>
                    <a:pt x="186" y="62"/>
                  </a:cubicBezTo>
                  <a:cubicBezTo>
                    <a:pt x="185" y="63"/>
                    <a:pt x="183" y="65"/>
                    <a:pt x="181" y="66"/>
                  </a:cubicBezTo>
                  <a:cubicBezTo>
                    <a:pt x="185" y="71"/>
                    <a:pt x="185" y="71"/>
                    <a:pt x="185" y="71"/>
                  </a:cubicBezTo>
                  <a:cubicBezTo>
                    <a:pt x="180" y="66"/>
                    <a:pt x="180" y="66"/>
                    <a:pt x="180" y="66"/>
                  </a:cubicBezTo>
                  <a:cubicBezTo>
                    <a:pt x="180" y="67"/>
                    <a:pt x="180" y="67"/>
                    <a:pt x="180" y="67"/>
                  </a:cubicBezTo>
                  <a:cubicBezTo>
                    <a:pt x="178" y="67"/>
                    <a:pt x="177" y="69"/>
                    <a:pt x="176" y="70"/>
                  </a:cubicBezTo>
                  <a:cubicBezTo>
                    <a:pt x="176" y="70"/>
                    <a:pt x="175" y="71"/>
                    <a:pt x="174" y="72"/>
                  </a:cubicBezTo>
                  <a:cubicBezTo>
                    <a:pt x="172" y="74"/>
                    <a:pt x="172" y="74"/>
                    <a:pt x="172" y="74"/>
                  </a:cubicBezTo>
                  <a:cubicBezTo>
                    <a:pt x="168" y="76"/>
                    <a:pt x="167" y="77"/>
                    <a:pt x="167" y="79"/>
                  </a:cubicBezTo>
                  <a:cubicBezTo>
                    <a:pt x="167" y="80"/>
                    <a:pt x="167" y="80"/>
                    <a:pt x="167" y="80"/>
                  </a:cubicBezTo>
                  <a:cubicBezTo>
                    <a:pt x="167" y="80"/>
                    <a:pt x="167" y="80"/>
                    <a:pt x="167" y="80"/>
                  </a:cubicBezTo>
                  <a:cubicBezTo>
                    <a:pt x="167" y="83"/>
                    <a:pt x="167" y="86"/>
                    <a:pt x="165" y="88"/>
                  </a:cubicBezTo>
                  <a:cubicBezTo>
                    <a:pt x="165" y="88"/>
                    <a:pt x="164" y="88"/>
                    <a:pt x="163" y="88"/>
                  </a:cubicBezTo>
                  <a:cubicBezTo>
                    <a:pt x="163" y="89"/>
                    <a:pt x="163" y="89"/>
                    <a:pt x="163" y="89"/>
                  </a:cubicBezTo>
                  <a:cubicBezTo>
                    <a:pt x="163" y="87"/>
                    <a:pt x="163" y="87"/>
                    <a:pt x="163" y="87"/>
                  </a:cubicBezTo>
                  <a:cubicBezTo>
                    <a:pt x="163" y="89"/>
                    <a:pt x="163" y="89"/>
                    <a:pt x="163" y="89"/>
                  </a:cubicBezTo>
                  <a:cubicBezTo>
                    <a:pt x="162" y="89"/>
                    <a:pt x="162" y="89"/>
                    <a:pt x="162" y="89"/>
                  </a:cubicBezTo>
                  <a:cubicBezTo>
                    <a:pt x="162" y="89"/>
                    <a:pt x="162" y="89"/>
                    <a:pt x="162" y="89"/>
                  </a:cubicBezTo>
                  <a:cubicBezTo>
                    <a:pt x="161" y="89"/>
                    <a:pt x="161" y="89"/>
                    <a:pt x="161" y="89"/>
                  </a:cubicBezTo>
                  <a:cubicBezTo>
                    <a:pt x="161" y="87"/>
                    <a:pt x="161" y="87"/>
                    <a:pt x="161" y="87"/>
                  </a:cubicBezTo>
                  <a:cubicBezTo>
                    <a:pt x="161" y="87"/>
                    <a:pt x="161" y="87"/>
                    <a:pt x="161" y="87"/>
                  </a:cubicBezTo>
                  <a:cubicBezTo>
                    <a:pt x="160" y="89"/>
                    <a:pt x="160" y="89"/>
                    <a:pt x="160" y="89"/>
                  </a:cubicBezTo>
                  <a:cubicBezTo>
                    <a:pt x="160" y="88"/>
                    <a:pt x="159" y="88"/>
                    <a:pt x="159" y="88"/>
                  </a:cubicBezTo>
                  <a:cubicBezTo>
                    <a:pt x="154" y="87"/>
                    <a:pt x="152" y="85"/>
                    <a:pt x="148" y="82"/>
                  </a:cubicBezTo>
                  <a:cubicBezTo>
                    <a:pt x="145" y="80"/>
                    <a:pt x="145" y="80"/>
                    <a:pt x="145" y="80"/>
                  </a:cubicBezTo>
                  <a:cubicBezTo>
                    <a:pt x="147" y="78"/>
                    <a:pt x="147" y="78"/>
                    <a:pt x="147" y="78"/>
                  </a:cubicBezTo>
                  <a:cubicBezTo>
                    <a:pt x="148" y="77"/>
                    <a:pt x="149" y="76"/>
                    <a:pt x="149" y="76"/>
                  </a:cubicBezTo>
                  <a:cubicBezTo>
                    <a:pt x="149" y="75"/>
                    <a:pt x="149" y="75"/>
                    <a:pt x="149" y="75"/>
                  </a:cubicBezTo>
                  <a:cubicBezTo>
                    <a:pt x="149" y="74"/>
                    <a:pt x="149" y="74"/>
                    <a:pt x="149" y="74"/>
                  </a:cubicBezTo>
                  <a:cubicBezTo>
                    <a:pt x="148" y="74"/>
                    <a:pt x="148" y="74"/>
                    <a:pt x="148" y="74"/>
                  </a:cubicBezTo>
                  <a:cubicBezTo>
                    <a:pt x="148" y="74"/>
                    <a:pt x="147" y="74"/>
                    <a:pt x="147" y="74"/>
                  </a:cubicBezTo>
                  <a:cubicBezTo>
                    <a:pt x="146" y="73"/>
                    <a:pt x="146" y="73"/>
                    <a:pt x="146" y="72"/>
                  </a:cubicBezTo>
                  <a:cubicBezTo>
                    <a:pt x="146" y="72"/>
                    <a:pt x="145" y="72"/>
                    <a:pt x="145" y="72"/>
                  </a:cubicBezTo>
                  <a:cubicBezTo>
                    <a:pt x="144" y="72"/>
                    <a:pt x="143" y="72"/>
                    <a:pt x="142" y="72"/>
                  </a:cubicBezTo>
                  <a:cubicBezTo>
                    <a:pt x="142" y="72"/>
                    <a:pt x="142" y="72"/>
                    <a:pt x="142" y="72"/>
                  </a:cubicBezTo>
                  <a:cubicBezTo>
                    <a:pt x="141" y="72"/>
                    <a:pt x="141" y="73"/>
                    <a:pt x="140" y="73"/>
                  </a:cubicBezTo>
                  <a:cubicBezTo>
                    <a:pt x="120" y="73"/>
                    <a:pt x="120" y="73"/>
                    <a:pt x="120" y="73"/>
                  </a:cubicBezTo>
                  <a:cubicBezTo>
                    <a:pt x="120" y="73"/>
                    <a:pt x="120" y="73"/>
                    <a:pt x="120" y="73"/>
                  </a:cubicBezTo>
                  <a:cubicBezTo>
                    <a:pt x="118" y="73"/>
                    <a:pt x="117" y="72"/>
                    <a:pt x="117" y="71"/>
                  </a:cubicBezTo>
                  <a:cubicBezTo>
                    <a:pt x="117" y="69"/>
                    <a:pt x="116" y="68"/>
                    <a:pt x="116" y="67"/>
                  </a:cubicBezTo>
                  <a:cubicBezTo>
                    <a:pt x="115" y="66"/>
                    <a:pt x="115" y="66"/>
                    <a:pt x="115" y="66"/>
                  </a:cubicBezTo>
                  <a:cubicBezTo>
                    <a:pt x="115" y="65"/>
                    <a:pt x="115" y="65"/>
                    <a:pt x="115" y="65"/>
                  </a:cubicBezTo>
                  <a:cubicBezTo>
                    <a:pt x="114" y="62"/>
                    <a:pt x="114" y="62"/>
                    <a:pt x="114" y="62"/>
                  </a:cubicBezTo>
                  <a:cubicBezTo>
                    <a:pt x="113" y="59"/>
                    <a:pt x="112" y="56"/>
                    <a:pt x="112" y="52"/>
                  </a:cubicBezTo>
                  <a:cubicBezTo>
                    <a:pt x="112" y="52"/>
                    <a:pt x="112" y="51"/>
                    <a:pt x="112" y="51"/>
                  </a:cubicBezTo>
                  <a:cubicBezTo>
                    <a:pt x="112" y="50"/>
                    <a:pt x="112" y="50"/>
                    <a:pt x="112" y="50"/>
                  </a:cubicBezTo>
                  <a:cubicBezTo>
                    <a:pt x="112" y="50"/>
                    <a:pt x="112" y="50"/>
                    <a:pt x="112" y="49"/>
                  </a:cubicBezTo>
                  <a:cubicBezTo>
                    <a:pt x="111" y="49"/>
                    <a:pt x="111" y="49"/>
                    <a:pt x="111" y="49"/>
                  </a:cubicBezTo>
                  <a:cubicBezTo>
                    <a:pt x="111" y="49"/>
                    <a:pt x="110" y="49"/>
                    <a:pt x="109" y="49"/>
                  </a:cubicBezTo>
                  <a:cubicBezTo>
                    <a:pt x="108" y="49"/>
                    <a:pt x="108" y="50"/>
                    <a:pt x="107" y="50"/>
                  </a:cubicBezTo>
                  <a:cubicBezTo>
                    <a:pt x="107" y="50"/>
                    <a:pt x="106" y="50"/>
                    <a:pt x="106" y="50"/>
                  </a:cubicBezTo>
                  <a:cubicBezTo>
                    <a:pt x="106" y="50"/>
                    <a:pt x="106" y="50"/>
                    <a:pt x="106" y="50"/>
                  </a:cubicBezTo>
                  <a:cubicBezTo>
                    <a:pt x="105" y="50"/>
                    <a:pt x="105" y="50"/>
                    <a:pt x="105" y="50"/>
                  </a:cubicBezTo>
                  <a:cubicBezTo>
                    <a:pt x="102" y="49"/>
                    <a:pt x="101" y="48"/>
                    <a:pt x="101" y="47"/>
                  </a:cubicBezTo>
                  <a:cubicBezTo>
                    <a:pt x="100" y="45"/>
                    <a:pt x="100" y="44"/>
                    <a:pt x="100" y="41"/>
                  </a:cubicBezTo>
                  <a:cubicBezTo>
                    <a:pt x="100" y="40"/>
                    <a:pt x="100" y="39"/>
                    <a:pt x="100" y="38"/>
                  </a:cubicBezTo>
                  <a:cubicBezTo>
                    <a:pt x="100" y="38"/>
                    <a:pt x="101" y="37"/>
                    <a:pt x="101" y="37"/>
                  </a:cubicBezTo>
                  <a:cubicBezTo>
                    <a:pt x="101" y="35"/>
                    <a:pt x="101" y="33"/>
                    <a:pt x="101" y="31"/>
                  </a:cubicBezTo>
                  <a:cubicBezTo>
                    <a:pt x="101" y="30"/>
                    <a:pt x="102" y="28"/>
                    <a:pt x="102" y="26"/>
                  </a:cubicBezTo>
                  <a:cubicBezTo>
                    <a:pt x="102" y="26"/>
                    <a:pt x="102" y="26"/>
                    <a:pt x="102" y="26"/>
                  </a:cubicBezTo>
                  <a:cubicBezTo>
                    <a:pt x="102" y="25"/>
                    <a:pt x="102" y="24"/>
                    <a:pt x="102" y="23"/>
                  </a:cubicBezTo>
                  <a:cubicBezTo>
                    <a:pt x="102" y="23"/>
                    <a:pt x="101" y="23"/>
                    <a:pt x="101" y="23"/>
                  </a:cubicBezTo>
                  <a:cubicBezTo>
                    <a:pt x="98" y="23"/>
                    <a:pt x="96" y="20"/>
                    <a:pt x="95" y="19"/>
                  </a:cubicBezTo>
                  <a:cubicBezTo>
                    <a:pt x="95" y="19"/>
                    <a:pt x="95" y="19"/>
                    <a:pt x="95" y="19"/>
                  </a:cubicBezTo>
                  <a:cubicBezTo>
                    <a:pt x="94" y="18"/>
                    <a:pt x="94" y="18"/>
                    <a:pt x="94" y="18"/>
                  </a:cubicBezTo>
                  <a:cubicBezTo>
                    <a:pt x="94" y="18"/>
                    <a:pt x="94" y="18"/>
                    <a:pt x="94" y="18"/>
                  </a:cubicBezTo>
                  <a:cubicBezTo>
                    <a:pt x="93" y="16"/>
                    <a:pt x="93" y="16"/>
                    <a:pt x="93" y="16"/>
                  </a:cubicBezTo>
                  <a:cubicBezTo>
                    <a:pt x="91" y="14"/>
                    <a:pt x="88" y="12"/>
                    <a:pt x="86" y="10"/>
                  </a:cubicBezTo>
                  <a:cubicBezTo>
                    <a:pt x="84" y="8"/>
                    <a:pt x="84" y="8"/>
                    <a:pt x="84" y="8"/>
                  </a:cubicBezTo>
                  <a:cubicBezTo>
                    <a:pt x="84" y="8"/>
                    <a:pt x="83" y="7"/>
                    <a:pt x="83" y="7"/>
                  </a:cubicBezTo>
                  <a:cubicBezTo>
                    <a:pt x="81" y="5"/>
                    <a:pt x="81" y="5"/>
                    <a:pt x="81" y="5"/>
                  </a:cubicBezTo>
                  <a:cubicBezTo>
                    <a:pt x="80" y="4"/>
                    <a:pt x="78" y="2"/>
                    <a:pt x="77" y="2"/>
                  </a:cubicBezTo>
                  <a:cubicBezTo>
                    <a:pt x="77" y="1"/>
                    <a:pt x="76" y="1"/>
                    <a:pt x="76" y="0"/>
                  </a:cubicBezTo>
                  <a:cubicBezTo>
                    <a:pt x="75" y="1"/>
                    <a:pt x="74" y="2"/>
                    <a:pt x="74" y="2"/>
                  </a:cubicBezTo>
                  <a:cubicBezTo>
                    <a:pt x="73" y="2"/>
                    <a:pt x="73" y="2"/>
                    <a:pt x="73" y="2"/>
                  </a:cubicBezTo>
                  <a:cubicBezTo>
                    <a:pt x="76" y="7"/>
                    <a:pt x="76" y="7"/>
                    <a:pt x="76" y="7"/>
                  </a:cubicBezTo>
                  <a:cubicBezTo>
                    <a:pt x="72" y="3"/>
                    <a:pt x="72" y="3"/>
                    <a:pt x="72" y="3"/>
                  </a:cubicBezTo>
                  <a:cubicBezTo>
                    <a:pt x="71" y="3"/>
                    <a:pt x="71" y="3"/>
                    <a:pt x="71" y="3"/>
                  </a:cubicBezTo>
                  <a:cubicBezTo>
                    <a:pt x="69" y="4"/>
                    <a:pt x="68" y="4"/>
                    <a:pt x="65" y="4"/>
                  </a:cubicBezTo>
                  <a:cubicBezTo>
                    <a:pt x="65" y="4"/>
                    <a:pt x="65" y="4"/>
                    <a:pt x="65" y="4"/>
                  </a:cubicBezTo>
                  <a:cubicBezTo>
                    <a:pt x="58" y="4"/>
                    <a:pt x="58" y="4"/>
                    <a:pt x="58" y="4"/>
                  </a:cubicBezTo>
                  <a:cubicBezTo>
                    <a:pt x="56" y="4"/>
                    <a:pt x="53" y="4"/>
                    <a:pt x="51" y="4"/>
                  </a:cubicBezTo>
                  <a:cubicBezTo>
                    <a:pt x="47" y="3"/>
                    <a:pt x="43" y="3"/>
                    <a:pt x="39" y="3"/>
                  </a:cubicBezTo>
                  <a:cubicBezTo>
                    <a:pt x="38" y="3"/>
                    <a:pt x="37" y="3"/>
                    <a:pt x="36" y="3"/>
                  </a:cubicBezTo>
                  <a:cubicBezTo>
                    <a:pt x="32" y="3"/>
                    <a:pt x="27" y="4"/>
                    <a:pt x="22" y="5"/>
                  </a:cubicBezTo>
                  <a:cubicBezTo>
                    <a:pt x="19" y="6"/>
                    <a:pt x="15" y="6"/>
                    <a:pt x="12" y="7"/>
                  </a:cubicBezTo>
                  <a:cubicBezTo>
                    <a:pt x="11" y="7"/>
                    <a:pt x="11" y="7"/>
                    <a:pt x="11" y="7"/>
                  </a:cubicBezTo>
                  <a:cubicBezTo>
                    <a:pt x="10" y="7"/>
                    <a:pt x="9" y="7"/>
                    <a:pt x="8" y="7"/>
                  </a:cubicBezTo>
                  <a:cubicBezTo>
                    <a:pt x="8" y="6"/>
                    <a:pt x="8" y="6"/>
                    <a:pt x="8" y="6"/>
                  </a:cubicBezTo>
                  <a:cubicBezTo>
                    <a:pt x="6" y="6"/>
                    <a:pt x="5" y="5"/>
                    <a:pt x="5" y="5"/>
                  </a:cubicBezTo>
                  <a:cubicBezTo>
                    <a:pt x="4" y="4"/>
                    <a:pt x="4" y="4"/>
                    <a:pt x="4" y="4"/>
                  </a:cubicBezTo>
                  <a:cubicBezTo>
                    <a:pt x="3" y="4"/>
                    <a:pt x="3" y="3"/>
                    <a:pt x="2" y="2"/>
                  </a:cubicBezTo>
                  <a:cubicBezTo>
                    <a:pt x="1" y="1"/>
                    <a:pt x="1" y="1"/>
                    <a:pt x="1" y="1"/>
                  </a:cubicBezTo>
                  <a:cubicBezTo>
                    <a:pt x="1" y="1"/>
                    <a:pt x="1"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Freeform 1562"/>
            <p:cNvSpPr/>
            <p:nvPr/>
          </p:nvSpPr>
          <p:spPr bwMode="auto">
            <a:xfrm>
              <a:off x="1957125" y="628215"/>
              <a:ext cx="2379961" cy="974537"/>
            </a:xfrm>
            <a:custGeom>
              <a:gdLst>
                <a:gd name="T0" fmla="*/ 248 w 750"/>
                <a:gd name="T1" fmla="*/ 12 h 307"/>
                <a:gd name="T2" fmla="*/ 239 w 750"/>
                <a:gd name="T3" fmla="*/ 27 h 307"/>
                <a:gd name="T4" fmla="*/ 246 w 750"/>
                <a:gd name="T5" fmla="*/ 54 h 307"/>
                <a:gd name="T6" fmla="*/ 231 w 750"/>
                <a:gd name="T7" fmla="*/ 68 h 307"/>
                <a:gd name="T8" fmla="*/ 203 w 750"/>
                <a:gd name="T9" fmla="*/ 69 h 307"/>
                <a:gd name="T10" fmla="*/ 182 w 750"/>
                <a:gd name="T11" fmla="*/ 68 h 307"/>
                <a:gd name="T12" fmla="*/ 151 w 750"/>
                <a:gd name="T13" fmla="*/ 55 h 307"/>
                <a:gd name="T14" fmla="*/ 124 w 750"/>
                <a:gd name="T15" fmla="*/ 45 h 307"/>
                <a:gd name="T16" fmla="*/ 107 w 750"/>
                <a:gd name="T17" fmla="*/ 40 h 307"/>
                <a:gd name="T18" fmla="*/ 87 w 750"/>
                <a:gd name="T19" fmla="*/ 48 h 307"/>
                <a:gd name="T20" fmla="*/ 46 w 750"/>
                <a:gd name="T21" fmla="*/ 72 h 307"/>
                <a:gd name="T22" fmla="*/ 11 w 750"/>
                <a:gd name="T23" fmla="*/ 82 h 307"/>
                <a:gd name="T24" fmla="*/ 9 w 750"/>
                <a:gd name="T25" fmla="*/ 87 h 307"/>
                <a:gd name="T26" fmla="*/ 2 w 750"/>
                <a:gd name="T27" fmla="*/ 98 h 307"/>
                <a:gd name="T28" fmla="*/ 20 w 750"/>
                <a:gd name="T29" fmla="*/ 114 h 307"/>
                <a:gd name="T30" fmla="*/ 41 w 750"/>
                <a:gd name="T31" fmla="*/ 122 h 307"/>
                <a:gd name="T32" fmla="*/ 63 w 750"/>
                <a:gd name="T33" fmla="*/ 140 h 307"/>
                <a:gd name="T34" fmla="*/ 77 w 750"/>
                <a:gd name="T35" fmla="*/ 181 h 307"/>
                <a:gd name="T36" fmla="*/ 73 w 750"/>
                <a:gd name="T37" fmla="*/ 205 h 307"/>
                <a:gd name="T38" fmla="*/ 155 w 750"/>
                <a:gd name="T39" fmla="*/ 224 h 307"/>
                <a:gd name="T40" fmla="*/ 180 w 750"/>
                <a:gd name="T41" fmla="*/ 235 h 307"/>
                <a:gd name="T42" fmla="*/ 199 w 750"/>
                <a:gd name="T43" fmla="*/ 270 h 307"/>
                <a:gd name="T44" fmla="*/ 217 w 750"/>
                <a:gd name="T45" fmla="*/ 274 h 307"/>
                <a:gd name="T46" fmla="*/ 276 w 750"/>
                <a:gd name="T47" fmla="*/ 279 h 307"/>
                <a:gd name="T48" fmla="*/ 328 w 750"/>
                <a:gd name="T49" fmla="*/ 284 h 307"/>
                <a:gd name="T50" fmla="*/ 372 w 750"/>
                <a:gd name="T51" fmla="*/ 301 h 307"/>
                <a:gd name="T52" fmla="*/ 392 w 750"/>
                <a:gd name="T53" fmla="*/ 303 h 307"/>
                <a:gd name="T54" fmla="*/ 402 w 750"/>
                <a:gd name="T55" fmla="*/ 307 h 307"/>
                <a:gd name="T56" fmla="*/ 442 w 750"/>
                <a:gd name="T57" fmla="*/ 288 h 307"/>
                <a:gd name="T58" fmla="*/ 492 w 750"/>
                <a:gd name="T59" fmla="*/ 283 h 307"/>
                <a:gd name="T60" fmla="*/ 531 w 750"/>
                <a:gd name="T61" fmla="*/ 271 h 307"/>
                <a:gd name="T62" fmla="*/ 563 w 750"/>
                <a:gd name="T63" fmla="*/ 247 h 307"/>
                <a:gd name="T64" fmla="*/ 556 w 750"/>
                <a:gd name="T65" fmla="*/ 217 h 307"/>
                <a:gd name="T66" fmla="*/ 599 w 750"/>
                <a:gd name="T67" fmla="*/ 216 h 307"/>
                <a:gd name="T68" fmla="*/ 621 w 750"/>
                <a:gd name="T69" fmla="*/ 200 h 307"/>
                <a:gd name="T70" fmla="*/ 634 w 750"/>
                <a:gd name="T71" fmla="*/ 197 h 307"/>
                <a:gd name="T72" fmla="*/ 660 w 750"/>
                <a:gd name="T73" fmla="*/ 192 h 307"/>
                <a:gd name="T74" fmla="*/ 685 w 750"/>
                <a:gd name="T75" fmla="*/ 169 h 307"/>
                <a:gd name="T76" fmla="*/ 738 w 750"/>
                <a:gd name="T77" fmla="*/ 161 h 307"/>
                <a:gd name="T78" fmla="*/ 732 w 750"/>
                <a:gd name="T79" fmla="*/ 137 h 307"/>
                <a:gd name="T80" fmla="*/ 719 w 750"/>
                <a:gd name="T81" fmla="*/ 128 h 307"/>
                <a:gd name="T82" fmla="*/ 694 w 750"/>
                <a:gd name="T83" fmla="*/ 137 h 307"/>
                <a:gd name="T84" fmla="*/ 661 w 750"/>
                <a:gd name="T85" fmla="*/ 136 h 307"/>
                <a:gd name="T86" fmla="*/ 653 w 750"/>
                <a:gd name="T87" fmla="*/ 116 h 307"/>
                <a:gd name="T88" fmla="*/ 673 w 750"/>
                <a:gd name="T89" fmla="*/ 69 h 307"/>
                <a:gd name="T90" fmla="*/ 647 w 750"/>
                <a:gd name="T91" fmla="*/ 68 h 307"/>
                <a:gd name="T92" fmla="*/ 612 w 750"/>
                <a:gd name="T93" fmla="*/ 62 h 307"/>
                <a:gd name="T94" fmla="*/ 539 w 750"/>
                <a:gd name="T95" fmla="*/ 92 h 307"/>
                <a:gd name="T96" fmla="*/ 486 w 750"/>
                <a:gd name="T97" fmla="*/ 86 h 307"/>
                <a:gd name="T98" fmla="*/ 463 w 750"/>
                <a:gd name="T99" fmla="*/ 67 h 307"/>
                <a:gd name="T100" fmla="*/ 430 w 750"/>
                <a:gd name="T101" fmla="*/ 56 h 307"/>
                <a:gd name="T102" fmla="*/ 391 w 750"/>
                <a:gd name="T103" fmla="*/ 56 h 307"/>
                <a:gd name="T104" fmla="*/ 342 w 750"/>
                <a:gd name="T105" fmla="*/ 51 h 307"/>
                <a:gd name="T106" fmla="*/ 334 w 750"/>
                <a:gd name="T107" fmla="*/ 30 h 307"/>
                <a:gd name="T108" fmla="*/ 299 w 750"/>
                <a:gd name="T109" fmla="*/ 13 h 307"/>
                <a:gd name="T110" fmla="*/ 262 w 750"/>
                <a:gd name="T111" fmla="*/ 1 h 3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0" h="307">
                  <a:moveTo>
                    <a:pt x="260" y="0"/>
                  </a:moveTo>
                  <a:cubicBezTo>
                    <a:pt x="256" y="4"/>
                    <a:pt x="256" y="4"/>
                    <a:pt x="256" y="4"/>
                  </a:cubicBezTo>
                  <a:cubicBezTo>
                    <a:pt x="254" y="6"/>
                    <a:pt x="252" y="8"/>
                    <a:pt x="250" y="10"/>
                  </a:cubicBezTo>
                  <a:cubicBezTo>
                    <a:pt x="250" y="10"/>
                    <a:pt x="250" y="10"/>
                    <a:pt x="250" y="10"/>
                  </a:cubicBezTo>
                  <a:cubicBezTo>
                    <a:pt x="249" y="11"/>
                    <a:pt x="249" y="11"/>
                    <a:pt x="249" y="11"/>
                  </a:cubicBezTo>
                  <a:cubicBezTo>
                    <a:pt x="249" y="11"/>
                    <a:pt x="249" y="11"/>
                    <a:pt x="249" y="11"/>
                  </a:cubicBezTo>
                  <a:cubicBezTo>
                    <a:pt x="248" y="12"/>
                    <a:pt x="248" y="12"/>
                    <a:pt x="248" y="12"/>
                  </a:cubicBezTo>
                  <a:cubicBezTo>
                    <a:pt x="248" y="12"/>
                    <a:pt x="248" y="12"/>
                    <a:pt x="248" y="12"/>
                  </a:cubicBezTo>
                  <a:cubicBezTo>
                    <a:pt x="248" y="13"/>
                    <a:pt x="248" y="13"/>
                    <a:pt x="248" y="13"/>
                  </a:cubicBezTo>
                  <a:cubicBezTo>
                    <a:pt x="247" y="13"/>
                    <a:pt x="247" y="13"/>
                    <a:pt x="247" y="13"/>
                  </a:cubicBezTo>
                  <a:cubicBezTo>
                    <a:pt x="247" y="14"/>
                    <a:pt x="247" y="14"/>
                    <a:pt x="247" y="15"/>
                  </a:cubicBezTo>
                  <a:cubicBezTo>
                    <a:pt x="247" y="17"/>
                    <a:pt x="246" y="20"/>
                    <a:pt x="242" y="20"/>
                  </a:cubicBezTo>
                  <a:cubicBezTo>
                    <a:pt x="241" y="21"/>
                    <a:pt x="241" y="21"/>
                    <a:pt x="241" y="21"/>
                  </a:cubicBezTo>
                  <a:cubicBezTo>
                    <a:pt x="241" y="22"/>
                    <a:pt x="240" y="24"/>
                    <a:pt x="240" y="25"/>
                  </a:cubicBezTo>
                  <a:cubicBezTo>
                    <a:pt x="239" y="26"/>
                    <a:pt x="239" y="26"/>
                    <a:pt x="239" y="26"/>
                  </a:cubicBezTo>
                  <a:cubicBezTo>
                    <a:pt x="239" y="27"/>
                    <a:pt x="239" y="27"/>
                    <a:pt x="239" y="27"/>
                  </a:cubicBezTo>
                  <a:cubicBezTo>
                    <a:pt x="239" y="28"/>
                    <a:pt x="239" y="28"/>
                    <a:pt x="239" y="29"/>
                  </a:cubicBezTo>
                  <a:cubicBezTo>
                    <a:pt x="239" y="30"/>
                    <a:pt x="238" y="30"/>
                    <a:pt x="238" y="31"/>
                  </a:cubicBezTo>
                  <a:cubicBezTo>
                    <a:pt x="238" y="31"/>
                    <a:pt x="238" y="31"/>
                    <a:pt x="238" y="31"/>
                  </a:cubicBezTo>
                  <a:cubicBezTo>
                    <a:pt x="238" y="34"/>
                    <a:pt x="239" y="36"/>
                    <a:pt x="240" y="38"/>
                  </a:cubicBezTo>
                  <a:cubicBezTo>
                    <a:pt x="240" y="40"/>
                    <a:pt x="241" y="41"/>
                    <a:pt x="242" y="42"/>
                  </a:cubicBezTo>
                  <a:cubicBezTo>
                    <a:pt x="243" y="43"/>
                    <a:pt x="244" y="43"/>
                    <a:pt x="244" y="43"/>
                  </a:cubicBezTo>
                  <a:cubicBezTo>
                    <a:pt x="246" y="44"/>
                    <a:pt x="249" y="46"/>
                    <a:pt x="247" y="51"/>
                  </a:cubicBezTo>
                  <a:cubicBezTo>
                    <a:pt x="247" y="52"/>
                    <a:pt x="247" y="53"/>
                    <a:pt x="246" y="54"/>
                  </a:cubicBezTo>
                  <a:cubicBezTo>
                    <a:pt x="245" y="60"/>
                    <a:pt x="245" y="60"/>
                    <a:pt x="245" y="60"/>
                  </a:cubicBezTo>
                  <a:cubicBezTo>
                    <a:pt x="245" y="60"/>
                    <a:pt x="244" y="61"/>
                    <a:pt x="244" y="61"/>
                  </a:cubicBezTo>
                  <a:cubicBezTo>
                    <a:pt x="242" y="65"/>
                    <a:pt x="238" y="66"/>
                    <a:pt x="235" y="67"/>
                  </a:cubicBezTo>
                  <a:cubicBezTo>
                    <a:pt x="234" y="67"/>
                    <a:pt x="234" y="67"/>
                    <a:pt x="233" y="67"/>
                  </a:cubicBezTo>
                  <a:cubicBezTo>
                    <a:pt x="233" y="67"/>
                    <a:pt x="232" y="67"/>
                    <a:pt x="232" y="68"/>
                  </a:cubicBezTo>
                  <a:cubicBezTo>
                    <a:pt x="231" y="68"/>
                    <a:pt x="231" y="68"/>
                    <a:pt x="231" y="68"/>
                  </a:cubicBezTo>
                  <a:cubicBezTo>
                    <a:pt x="231" y="68"/>
                    <a:pt x="231" y="68"/>
                    <a:pt x="231" y="68"/>
                  </a:cubicBezTo>
                  <a:cubicBezTo>
                    <a:pt x="231" y="68"/>
                    <a:pt x="231" y="68"/>
                    <a:pt x="231" y="68"/>
                  </a:cubicBezTo>
                  <a:cubicBezTo>
                    <a:pt x="230" y="69"/>
                    <a:pt x="230" y="69"/>
                    <a:pt x="230" y="69"/>
                  </a:cubicBezTo>
                  <a:cubicBezTo>
                    <a:pt x="229" y="71"/>
                    <a:pt x="228" y="72"/>
                    <a:pt x="225" y="73"/>
                  </a:cubicBezTo>
                  <a:cubicBezTo>
                    <a:pt x="224" y="74"/>
                    <a:pt x="223" y="74"/>
                    <a:pt x="222" y="74"/>
                  </a:cubicBezTo>
                  <a:cubicBezTo>
                    <a:pt x="220" y="74"/>
                    <a:pt x="218" y="73"/>
                    <a:pt x="216" y="72"/>
                  </a:cubicBezTo>
                  <a:cubicBezTo>
                    <a:pt x="215" y="72"/>
                    <a:pt x="214" y="71"/>
                    <a:pt x="213" y="71"/>
                  </a:cubicBezTo>
                  <a:cubicBezTo>
                    <a:pt x="212" y="71"/>
                    <a:pt x="210" y="71"/>
                    <a:pt x="209" y="70"/>
                  </a:cubicBezTo>
                  <a:cubicBezTo>
                    <a:pt x="204" y="69"/>
                    <a:pt x="204" y="69"/>
                    <a:pt x="204" y="69"/>
                  </a:cubicBezTo>
                  <a:cubicBezTo>
                    <a:pt x="203" y="69"/>
                    <a:pt x="203" y="69"/>
                    <a:pt x="203" y="69"/>
                  </a:cubicBezTo>
                  <a:cubicBezTo>
                    <a:pt x="202" y="69"/>
                    <a:pt x="202" y="69"/>
                    <a:pt x="202" y="69"/>
                  </a:cubicBezTo>
                  <a:cubicBezTo>
                    <a:pt x="201" y="68"/>
                    <a:pt x="199" y="68"/>
                    <a:pt x="198" y="68"/>
                  </a:cubicBezTo>
                  <a:cubicBezTo>
                    <a:pt x="197" y="67"/>
                    <a:pt x="197" y="67"/>
                    <a:pt x="197" y="67"/>
                  </a:cubicBezTo>
                  <a:cubicBezTo>
                    <a:pt x="196" y="67"/>
                    <a:pt x="194" y="67"/>
                    <a:pt x="193" y="66"/>
                  </a:cubicBezTo>
                  <a:cubicBezTo>
                    <a:pt x="192" y="66"/>
                    <a:pt x="191" y="66"/>
                    <a:pt x="191" y="66"/>
                  </a:cubicBezTo>
                  <a:cubicBezTo>
                    <a:pt x="190" y="66"/>
                    <a:pt x="189" y="66"/>
                    <a:pt x="189" y="66"/>
                  </a:cubicBezTo>
                  <a:cubicBezTo>
                    <a:pt x="187" y="66"/>
                    <a:pt x="185" y="67"/>
                    <a:pt x="184" y="67"/>
                  </a:cubicBezTo>
                  <a:cubicBezTo>
                    <a:pt x="182" y="68"/>
                    <a:pt x="182" y="68"/>
                    <a:pt x="182" y="68"/>
                  </a:cubicBezTo>
                  <a:cubicBezTo>
                    <a:pt x="181" y="68"/>
                    <a:pt x="181" y="68"/>
                    <a:pt x="181" y="68"/>
                  </a:cubicBezTo>
                  <a:cubicBezTo>
                    <a:pt x="180" y="69"/>
                    <a:pt x="179" y="69"/>
                    <a:pt x="178" y="69"/>
                  </a:cubicBezTo>
                  <a:cubicBezTo>
                    <a:pt x="178" y="69"/>
                    <a:pt x="177" y="69"/>
                    <a:pt x="177" y="69"/>
                  </a:cubicBezTo>
                  <a:cubicBezTo>
                    <a:pt x="176" y="69"/>
                    <a:pt x="176" y="69"/>
                    <a:pt x="175" y="69"/>
                  </a:cubicBezTo>
                  <a:cubicBezTo>
                    <a:pt x="162" y="66"/>
                    <a:pt x="162" y="66"/>
                    <a:pt x="162" y="66"/>
                  </a:cubicBezTo>
                  <a:cubicBezTo>
                    <a:pt x="157" y="65"/>
                    <a:pt x="156" y="64"/>
                    <a:pt x="153" y="60"/>
                  </a:cubicBezTo>
                  <a:cubicBezTo>
                    <a:pt x="153" y="59"/>
                    <a:pt x="153" y="59"/>
                    <a:pt x="153" y="59"/>
                  </a:cubicBezTo>
                  <a:cubicBezTo>
                    <a:pt x="152" y="58"/>
                    <a:pt x="152" y="56"/>
                    <a:pt x="151" y="55"/>
                  </a:cubicBezTo>
                  <a:cubicBezTo>
                    <a:pt x="151" y="54"/>
                    <a:pt x="151" y="54"/>
                    <a:pt x="151" y="54"/>
                  </a:cubicBezTo>
                  <a:cubicBezTo>
                    <a:pt x="150" y="52"/>
                    <a:pt x="149" y="50"/>
                    <a:pt x="149" y="49"/>
                  </a:cubicBezTo>
                  <a:cubicBezTo>
                    <a:pt x="148" y="49"/>
                    <a:pt x="148" y="49"/>
                    <a:pt x="148" y="49"/>
                  </a:cubicBezTo>
                  <a:cubicBezTo>
                    <a:pt x="148" y="49"/>
                    <a:pt x="147" y="49"/>
                    <a:pt x="147" y="49"/>
                  </a:cubicBezTo>
                  <a:cubicBezTo>
                    <a:pt x="137" y="48"/>
                    <a:pt x="137" y="48"/>
                    <a:pt x="137" y="48"/>
                  </a:cubicBezTo>
                  <a:cubicBezTo>
                    <a:pt x="134" y="47"/>
                    <a:pt x="131" y="47"/>
                    <a:pt x="128" y="46"/>
                  </a:cubicBezTo>
                  <a:cubicBezTo>
                    <a:pt x="128" y="46"/>
                    <a:pt x="127" y="46"/>
                    <a:pt x="127" y="46"/>
                  </a:cubicBezTo>
                  <a:cubicBezTo>
                    <a:pt x="126" y="46"/>
                    <a:pt x="125" y="45"/>
                    <a:pt x="124" y="45"/>
                  </a:cubicBezTo>
                  <a:cubicBezTo>
                    <a:pt x="122" y="44"/>
                    <a:pt x="121" y="44"/>
                    <a:pt x="120" y="43"/>
                  </a:cubicBezTo>
                  <a:cubicBezTo>
                    <a:pt x="120" y="43"/>
                    <a:pt x="119" y="42"/>
                    <a:pt x="118" y="42"/>
                  </a:cubicBezTo>
                  <a:cubicBezTo>
                    <a:pt x="118" y="42"/>
                    <a:pt x="118" y="42"/>
                    <a:pt x="118" y="42"/>
                  </a:cubicBezTo>
                  <a:cubicBezTo>
                    <a:pt x="115" y="42"/>
                    <a:pt x="115" y="42"/>
                    <a:pt x="115" y="42"/>
                  </a:cubicBezTo>
                  <a:cubicBezTo>
                    <a:pt x="114" y="41"/>
                    <a:pt x="113" y="41"/>
                    <a:pt x="111" y="41"/>
                  </a:cubicBezTo>
                  <a:cubicBezTo>
                    <a:pt x="111" y="41"/>
                    <a:pt x="111" y="41"/>
                    <a:pt x="111" y="41"/>
                  </a:cubicBezTo>
                  <a:cubicBezTo>
                    <a:pt x="110" y="41"/>
                    <a:pt x="110" y="41"/>
                    <a:pt x="109" y="41"/>
                  </a:cubicBezTo>
                  <a:cubicBezTo>
                    <a:pt x="108" y="41"/>
                    <a:pt x="107" y="41"/>
                    <a:pt x="107" y="40"/>
                  </a:cubicBezTo>
                  <a:cubicBezTo>
                    <a:pt x="107" y="40"/>
                    <a:pt x="107" y="40"/>
                    <a:pt x="107" y="40"/>
                  </a:cubicBezTo>
                  <a:cubicBezTo>
                    <a:pt x="106" y="42"/>
                    <a:pt x="105" y="43"/>
                    <a:pt x="104" y="44"/>
                  </a:cubicBezTo>
                  <a:cubicBezTo>
                    <a:pt x="104" y="44"/>
                    <a:pt x="103" y="44"/>
                    <a:pt x="103" y="44"/>
                  </a:cubicBezTo>
                  <a:cubicBezTo>
                    <a:pt x="102" y="45"/>
                    <a:pt x="101" y="45"/>
                    <a:pt x="100" y="45"/>
                  </a:cubicBezTo>
                  <a:cubicBezTo>
                    <a:pt x="99" y="45"/>
                    <a:pt x="98" y="45"/>
                    <a:pt x="97" y="45"/>
                  </a:cubicBezTo>
                  <a:cubicBezTo>
                    <a:pt x="95" y="45"/>
                    <a:pt x="95" y="45"/>
                    <a:pt x="95" y="45"/>
                  </a:cubicBezTo>
                  <a:cubicBezTo>
                    <a:pt x="93" y="45"/>
                    <a:pt x="91" y="45"/>
                    <a:pt x="90" y="46"/>
                  </a:cubicBezTo>
                  <a:cubicBezTo>
                    <a:pt x="87" y="48"/>
                    <a:pt x="87" y="48"/>
                    <a:pt x="87" y="48"/>
                  </a:cubicBezTo>
                  <a:cubicBezTo>
                    <a:pt x="85" y="49"/>
                    <a:pt x="82" y="50"/>
                    <a:pt x="80" y="51"/>
                  </a:cubicBezTo>
                  <a:cubicBezTo>
                    <a:pt x="72" y="55"/>
                    <a:pt x="72" y="55"/>
                    <a:pt x="72" y="55"/>
                  </a:cubicBezTo>
                  <a:cubicBezTo>
                    <a:pt x="68" y="57"/>
                    <a:pt x="63" y="59"/>
                    <a:pt x="59" y="61"/>
                  </a:cubicBezTo>
                  <a:cubicBezTo>
                    <a:pt x="59" y="62"/>
                    <a:pt x="58" y="62"/>
                    <a:pt x="57" y="63"/>
                  </a:cubicBezTo>
                  <a:cubicBezTo>
                    <a:pt x="55" y="64"/>
                    <a:pt x="55" y="64"/>
                    <a:pt x="55" y="64"/>
                  </a:cubicBezTo>
                  <a:cubicBezTo>
                    <a:pt x="54" y="65"/>
                    <a:pt x="53" y="65"/>
                    <a:pt x="52" y="66"/>
                  </a:cubicBezTo>
                  <a:cubicBezTo>
                    <a:pt x="45" y="70"/>
                    <a:pt x="45" y="70"/>
                    <a:pt x="45" y="70"/>
                  </a:cubicBezTo>
                  <a:cubicBezTo>
                    <a:pt x="46" y="70"/>
                    <a:pt x="46" y="71"/>
                    <a:pt x="46" y="72"/>
                  </a:cubicBezTo>
                  <a:cubicBezTo>
                    <a:pt x="45" y="74"/>
                    <a:pt x="43" y="75"/>
                    <a:pt x="41" y="76"/>
                  </a:cubicBezTo>
                  <a:cubicBezTo>
                    <a:pt x="36" y="79"/>
                    <a:pt x="31" y="80"/>
                    <a:pt x="26" y="81"/>
                  </a:cubicBezTo>
                  <a:cubicBezTo>
                    <a:pt x="20" y="81"/>
                    <a:pt x="20" y="81"/>
                    <a:pt x="20" y="81"/>
                  </a:cubicBezTo>
                  <a:cubicBezTo>
                    <a:pt x="19" y="82"/>
                    <a:pt x="19" y="82"/>
                    <a:pt x="18" y="82"/>
                  </a:cubicBezTo>
                  <a:cubicBezTo>
                    <a:pt x="16" y="82"/>
                    <a:pt x="15" y="82"/>
                    <a:pt x="14" y="83"/>
                  </a:cubicBezTo>
                  <a:cubicBezTo>
                    <a:pt x="14" y="83"/>
                    <a:pt x="14" y="83"/>
                    <a:pt x="14" y="83"/>
                  </a:cubicBezTo>
                  <a:cubicBezTo>
                    <a:pt x="13" y="83"/>
                    <a:pt x="12" y="82"/>
                    <a:pt x="12" y="82"/>
                  </a:cubicBezTo>
                  <a:cubicBezTo>
                    <a:pt x="11" y="82"/>
                    <a:pt x="11" y="82"/>
                    <a:pt x="11" y="82"/>
                  </a:cubicBezTo>
                  <a:cubicBezTo>
                    <a:pt x="10" y="82"/>
                    <a:pt x="10" y="82"/>
                    <a:pt x="10" y="82"/>
                  </a:cubicBezTo>
                  <a:cubicBezTo>
                    <a:pt x="10" y="82"/>
                    <a:pt x="10" y="82"/>
                    <a:pt x="10" y="82"/>
                  </a:cubicBezTo>
                  <a:cubicBezTo>
                    <a:pt x="10" y="83"/>
                    <a:pt x="10" y="83"/>
                    <a:pt x="10" y="83"/>
                  </a:cubicBezTo>
                  <a:cubicBezTo>
                    <a:pt x="10" y="84"/>
                    <a:pt x="10" y="84"/>
                    <a:pt x="10" y="84"/>
                  </a:cubicBezTo>
                  <a:cubicBezTo>
                    <a:pt x="10" y="87"/>
                    <a:pt x="10" y="87"/>
                    <a:pt x="10" y="87"/>
                  </a:cubicBezTo>
                  <a:cubicBezTo>
                    <a:pt x="10" y="85"/>
                    <a:pt x="10" y="85"/>
                    <a:pt x="10" y="85"/>
                  </a:cubicBezTo>
                  <a:cubicBezTo>
                    <a:pt x="9" y="86"/>
                    <a:pt x="9" y="86"/>
                    <a:pt x="9" y="86"/>
                  </a:cubicBezTo>
                  <a:cubicBezTo>
                    <a:pt x="9" y="87"/>
                    <a:pt x="9" y="87"/>
                    <a:pt x="9" y="87"/>
                  </a:cubicBezTo>
                  <a:cubicBezTo>
                    <a:pt x="6" y="89"/>
                    <a:pt x="6" y="89"/>
                    <a:pt x="6" y="89"/>
                  </a:cubicBezTo>
                  <a:cubicBezTo>
                    <a:pt x="3" y="90"/>
                    <a:pt x="3" y="90"/>
                    <a:pt x="3" y="90"/>
                  </a:cubicBezTo>
                  <a:cubicBezTo>
                    <a:pt x="4" y="92"/>
                    <a:pt x="4" y="92"/>
                    <a:pt x="4" y="92"/>
                  </a:cubicBezTo>
                  <a:cubicBezTo>
                    <a:pt x="2" y="92"/>
                    <a:pt x="2" y="92"/>
                    <a:pt x="2" y="92"/>
                  </a:cubicBezTo>
                  <a:cubicBezTo>
                    <a:pt x="2" y="93"/>
                    <a:pt x="1" y="94"/>
                    <a:pt x="1" y="95"/>
                  </a:cubicBezTo>
                  <a:cubicBezTo>
                    <a:pt x="1" y="96"/>
                    <a:pt x="0" y="97"/>
                    <a:pt x="0" y="98"/>
                  </a:cubicBezTo>
                  <a:cubicBezTo>
                    <a:pt x="1" y="98"/>
                    <a:pt x="1" y="98"/>
                    <a:pt x="1" y="98"/>
                  </a:cubicBezTo>
                  <a:cubicBezTo>
                    <a:pt x="1" y="98"/>
                    <a:pt x="1" y="98"/>
                    <a:pt x="2" y="98"/>
                  </a:cubicBezTo>
                  <a:cubicBezTo>
                    <a:pt x="4" y="99"/>
                    <a:pt x="7" y="100"/>
                    <a:pt x="7" y="103"/>
                  </a:cubicBezTo>
                  <a:cubicBezTo>
                    <a:pt x="8" y="104"/>
                    <a:pt x="7" y="105"/>
                    <a:pt x="7" y="106"/>
                  </a:cubicBezTo>
                  <a:cubicBezTo>
                    <a:pt x="7" y="106"/>
                    <a:pt x="7" y="106"/>
                    <a:pt x="7" y="106"/>
                  </a:cubicBezTo>
                  <a:cubicBezTo>
                    <a:pt x="8" y="106"/>
                    <a:pt x="8" y="106"/>
                    <a:pt x="8" y="106"/>
                  </a:cubicBezTo>
                  <a:cubicBezTo>
                    <a:pt x="8" y="107"/>
                    <a:pt x="8" y="107"/>
                    <a:pt x="8" y="107"/>
                  </a:cubicBezTo>
                  <a:cubicBezTo>
                    <a:pt x="8" y="106"/>
                    <a:pt x="8" y="106"/>
                    <a:pt x="8" y="106"/>
                  </a:cubicBezTo>
                  <a:cubicBezTo>
                    <a:pt x="9" y="106"/>
                    <a:pt x="10" y="107"/>
                    <a:pt x="12" y="107"/>
                  </a:cubicBezTo>
                  <a:cubicBezTo>
                    <a:pt x="15" y="109"/>
                    <a:pt x="18" y="110"/>
                    <a:pt x="20" y="114"/>
                  </a:cubicBezTo>
                  <a:cubicBezTo>
                    <a:pt x="21" y="117"/>
                    <a:pt x="23" y="118"/>
                    <a:pt x="26" y="120"/>
                  </a:cubicBezTo>
                  <a:cubicBezTo>
                    <a:pt x="27" y="120"/>
                    <a:pt x="27" y="120"/>
                    <a:pt x="27" y="120"/>
                  </a:cubicBezTo>
                  <a:cubicBezTo>
                    <a:pt x="28" y="121"/>
                    <a:pt x="28" y="121"/>
                    <a:pt x="28" y="121"/>
                  </a:cubicBezTo>
                  <a:cubicBezTo>
                    <a:pt x="28" y="121"/>
                    <a:pt x="29" y="121"/>
                    <a:pt x="29" y="121"/>
                  </a:cubicBezTo>
                  <a:cubicBezTo>
                    <a:pt x="30" y="121"/>
                    <a:pt x="30" y="121"/>
                    <a:pt x="31" y="121"/>
                  </a:cubicBezTo>
                  <a:cubicBezTo>
                    <a:pt x="32" y="121"/>
                    <a:pt x="32" y="121"/>
                    <a:pt x="33" y="121"/>
                  </a:cubicBezTo>
                  <a:cubicBezTo>
                    <a:pt x="34" y="121"/>
                    <a:pt x="35" y="121"/>
                    <a:pt x="36" y="121"/>
                  </a:cubicBezTo>
                  <a:cubicBezTo>
                    <a:pt x="38" y="121"/>
                    <a:pt x="40" y="121"/>
                    <a:pt x="41" y="122"/>
                  </a:cubicBezTo>
                  <a:cubicBezTo>
                    <a:pt x="42" y="123"/>
                    <a:pt x="42" y="123"/>
                    <a:pt x="42" y="123"/>
                  </a:cubicBezTo>
                  <a:cubicBezTo>
                    <a:pt x="45" y="126"/>
                    <a:pt x="46" y="126"/>
                    <a:pt x="48" y="126"/>
                  </a:cubicBezTo>
                  <a:cubicBezTo>
                    <a:pt x="48" y="126"/>
                    <a:pt x="49" y="126"/>
                    <a:pt x="49" y="126"/>
                  </a:cubicBezTo>
                  <a:cubicBezTo>
                    <a:pt x="50" y="126"/>
                    <a:pt x="50" y="126"/>
                    <a:pt x="50" y="126"/>
                  </a:cubicBezTo>
                  <a:cubicBezTo>
                    <a:pt x="54" y="126"/>
                    <a:pt x="56" y="129"/>
                    <a:pt x="58" y="131"/>
                  </a:cubicBezTo>
                  <a:cubicBezTo>
                    <a:pt x="58" y="131"/>
                    <a:pt x="58" y="131"/>
                    <a:pt x="58" y="131"/>
                  </a:cubicBezTo>
                  <a:cubicBezTo>
                    <a:pt x="59" y="131"/>
                    <a:pt x="59" y="132"/>
                    <a:pt x="59" y="132"/>
                  </a:cubicBezTo>
                  <a:cubicBezTo>
                    <a:pt x="62" y="134"/>
                    <a:pt x="63" y="137"/>
                    <a:pt x="63" y="140"/>
                  </a:cubicBezTo>
                  <a:cubicBezTo>
                    <a:pt x="64" y="141"/>
                    <a:pt x="64" y="141"/>
                    <a:pt x="64" y="141"/>
                  </a:cubicBezTo>
                  <a:cubicBezTo>
                    <a:pt x="65" y="143"/>
                    <a:pt x="66" y="145"/>
                    <a:pt x="67" y="147"/>
                  </a:cubicBezTo>
                  <a:cubicBezTo>
                    <a:pt x="76" y="161"/>
                    <a:pt x="76" y="161"/>
                    <a:pt x="76" y="161"/>
                  </a:cubicBezTo>
                  <a:cubicBezTo>
                    <a:pt x="77" y="163"/>
                    <a:pt x="77" y="166"/>
                    <a:pt x="77" y="168"/>
                  </a:cubicBezTo>
                  <a:cubicBezTo>
                    <a:pt x="77" y="169"/>
                    <a:pt x="77" y="169"/>
                    <a:pt x="77" y="169"/>
                  </a:cubicBezTo>
                  <a:cubicBezTo>
                    <a:pt x="76" y="173"/>
                    <a:pt x="76" y="176"/>
                    <a:pt x="77" y="180"/>
                  </a:cubicBezTo>
                  <a:cubicBezTo>
                    <a:pt x="77" y="180"/>
                    <a:pt x="77" y="180"/>
                    <a:pt x="77" y="180"/>
                  </a:cubicBezTo>
                  <a:cubicBezTo>
                    <a:pt x="77" y="181"/>
                    <a:pt x="77" y="181"/>
                    <a:pt x="77" y="181"/>
                  </a:cubicBezTo>
                  <a:cubicBezTo>
                    <a:pt x="77" y="182"/>
                    <a:pt x="76" y="183"/>
                    <a:pt x="76" y="184"/>
                  </a:cubicBezTo>
                  <a:cubicBezTo>
                    <a:pt x="76" y="185"/>
                    <a:pt x="76" y="185"/>
                    <a:pt x="75" y="186"/>
                  </a:cubicBezTo>
                  <a:cubicBezTo>
                    <a:pt x="75" y="188"/>
                    <a:pt x="74" y="189"/>
                    <a:pt x="73" y="190"/>
                  </a:cubicBezTo>
                  <a:cubicBezTo>
                    <a:pt x="72" y="192"/>
                    <a:pt x="72" y="192"/>
                    <a:pt x="72" y="192"/>
                  </a:cubicBezTo>
                  <a:cubicBezTo>
                    <a:pt x="72" y="193"/>
                    <a:pt x="71" y="194"/>
                    <a:pt x="71" y="194"/>
                  </a:cubicBezTo>
                  <a:cubicBezTo>
                    <a:pt x="69" y="197"/>
                    <a:pt x="69" y="198"/>
                    <a:pt x="69" y="199"/>
                  </a:cubicBezTo>
                  <a:cubicBezTo>
                    <a:pt x="70" y="201"/>
                    <a:pt x="71" y="202"/>
                    <a:pt x="73" y="204"/>
                  </a:cubicBezTo>
                  <a:cubicBezTo>
                    <a:pt x="73" y="205"/>
                    <a:pt x="73" y="205"/>
                    <a:pt x="73" y="205"/>
                  </a:cubicBezTo>
                  <a:cubicBezTo>
                    <a:pt x="74" y="205"/>
                    <a:pt x="74" y="205"/>
                    <a:pt x="74" y="205"/>
                  </a:cubicBezTo>
                  <a:cubicBezTo>
                    <a:pt x="77" y="205"/>
                    <a:pt x="80" y="206"/>
                    <a:pt x="83" y="206"/>
                  </a:cubicBezTo>
                  <a:cubicBezTo>
                    <a:pt x="88" y="207"/>
                    <a:pt x="93" y="207"/>
                    <a:pt x="98" y="207"/>
                  </a:cubicBezTo>
                  <a:cubicBezTo>
                    <a:pt x="106" y="208"/>
                    <a:pt x="116" y="209"/>
                    <a:pt x="125" y="210"/>
                  </a:cubicBezTo>
                  <a:cubicBezTo>
                    <a:pt x="128" y="210"/>
                    <a:pt x="128" y="210"/>
                    <a:pt x="128" y="210"/>
                  </a:cubicBezTo>
                  <a:cubicBezTo>
                    <a:pt x="130" y="210"/>
                    <a:pt x="133" y="211"/>
                    <a:pt x="136" y="212"/>
                  </a:cubicBezTo>
                  <a:cubicBezTo>
                    <a:pt x="152" y="222"/>
                    <a:pt x="152" y="222"/>
                    <a:pt x="152" y="222"/>
                  </a:cubicBezTo>
                  <a:cubicBezTo>
                    <a:pt x="153" y="223"/>
                    <a:pt x="154" y="223"/>
                    <a:pt x="155" y="224"/>
                  </a:cubicBezTo>
                  <a:cubicBezTo>
                    <a:pt x="159" y="226"/>
                    <a:pt x="163" y="229"/>
                    <a:pt x="167" y="230"/>
                  </a:cubicBezTo>
                  <a:cubicBezTo>
                    <a:pt x="168" y="231"/>
                    <a:pt x="169" y="231"/>
                    <a:pt x="170" y="231"/>
                  </a:cubicBezTo>
                  <a:cubicBezTo>
                    <a:pt x="172" y="231"/>
                    <a:pt x="173" y="231"/>
                    <a:pt x="175" y="231"/>
                  </a:cubicBezTo>
                  <a:cubicBezTo>
                    <a:pt x="180" y="230"/>
                    <a:pt x="180" y="230"/>
                    <a:pt x="180" y="230"/>
                  </a:cubicBezTo>
                  <a:cubicBezTo>
                    <a:pt x="180" y="234"/>
                    <a:pt x="180" y="234"/>
                    <a:pt x="180" y="234"/>
                  </a:cubicBezTo>
                  <a:cubicBezTo>
                    <a:pt x="180" y="235"/>
                    <a:pt x="179" y="236"/>
                    <a:pt x="179" y="237"/>
                  </a:cubicBezTo>
                  <a:cubicBezTo>
                    <a:pt x="179" y="237"/>
                    <a:pt x="178" y="238"/>
                    <a:pt x="178" y="238"/>
                  </a:cubicBezTo>
                  <a:cubicBezTo>
                    <a:pt x="180" y="235"/>
                    <a:pt x="180" y="235"/>
                    <a:pt x="180" y="235"/>
                  </a:cubicBezTo>
                  <a:cubicBezTo>
                    <a:pt x="180" y="239"/>
                    <a:pt x="180" y="239"/>
                    <a:pt x="180" y="239"/>
                  </a:cubicBezTo>
                  <a:cubicBezTo>
                    <a:pt x="180" y="239"/>
                    <a:pt x="180" y="239"/>
                    <a:pt x="180" y="239"/>
                  </a:cubicBezTo>
                  <a:cubicBezTo>
                    <a:pt x="182" y="240"/>
                    <a:pt x="183" y="241"/>
                    <a:pt x="183" y="243"/>
                  </a:cubicBezTo>
                  <a:cubicBezTo>
                    <a:pt x="184" y="245"/>
                    <a:pt x="184" y="245"/>
                    <a:pt x="184" y="245"/>
                  </a:cubicBezTo>
                  <a:cubicBezTo>
                    <a:pt x="185" y="246"/>
                    <a:pt x="185" y="247"/>
                    <a:pt x="185" y="248"/>
                  </a:cubicBezTo>
                  <a:cubicBezTo>
                    <a:pt x="190" y="259"/>
                    <a:pt x="190" y="259"/>
                    <a:pt x="190" y="259"/>
                  </a:cubicBezTo>
                  <a:cubicBezTo>
                    <a:pt x="192" y="262"/>
                    <a:pt x="194" y="265"/>
                    <a:pt x="197" y="268"/>
                  </a:cubicBezTo>
                  <a:cubicBezTo>
                    <a:pt x="197" y="269"/>
                    <a:pt x="198" y="269"/>
                    <a:pt x="199" y="270"/>
                  </a:cubicBezTo>
                  <a:cubicBezTo>
                    <a:pt x="199" y="271"/>
                    <a:pt x="199" y="271"/>
                    <a:pt x="199" y="271"/>
                  </a:cubicBezTo>
                  <a:cubicBezTo>
                    <a:pt x="200" y="271"/>
                    <a:pt x="200" y="271"/>
                    <a:pt x="200" y="271"/>
                  </a:cubicBezTo>
                  <a:cubicBezTo>
                    <a:pt x="200" y="271"/>
                    <a:pt x="200" y="272"/>
                    <a:pt x="201" y="272"/>
                  </a:cubicBezTo>
                  <a:cubicBezTo>
                    <a:pt x="201" y="273"/>
                    <a:pt x="202" y="274"/>
                    <a:pt x="202" y="275"/>
                  </a:cubicBezTo>
                  <a:cubicBezTo>
                    <a:pt x="202" y="275"/>
                    <a:pt x="202" y="275"/>
                    <a:pt x="202" y="275"/>
                  </a:cubicBezTo>
                  <a:cubicBezTo>
                    <a:pt x="207" y="275"/>
                    <a:pt x="207" y="275"/>
                    <a:pt x="207" y="275"/>
                  </a:cubicBezTo>
                  <a:cubicBezTo>
                    <a:pt x="209" y="274"/>
                    <a:pt x="211" y="274"/>
                    <a:pt x="214" y="274"/>
                  </a:cubicBezTo>
                  <a:cubicBezTo>
                    <a:pt x="215" y="274"/>
                    <a:pt x="216" y="274"/>
                    <a:pt x="217" y="274"/>
                  </a:cubicBezTo>
                  <a:cubicBezTo>
                    <a:pt x="222" y="274"/>
                    <a:pt x="226" y="274"/>
                    <a:pt x="229" y="275"/>
                  </a:cubicBezTo>
                  <a:cubicBezTo>
                    <a:pt x="234" y="276"/>
                    <a:pt x="234" y="276"/>
                    <a:pt x="234" y="276"/>
                  </a:cubicBezTo>
                  <a:cubicBezTo>
                    <a:pt x="235" y="276"/>
                    <a:pt x="236" y="276"/>
                    <a:pt x="237" y="276"/>
                  </a:cubicBezTo>
                  <a:cubicBezTo>
                    <a:pt x="240" y="277"/>
                    <a:pt x="240" y="277"/>
                    <a:pt x="240" y="277"/>
                  </a:cubicBezTo>
                  <a:cubicBezTo>
                    <a:pt x="242" y="277"/>
                    <a:pt x="243" y="277"/>
                    <a:pt x="245" y="277"/>
                  </a:cubicBezTo>
                  <a:cubicBezTo>
                    <a:pt x="255" y="278"/>
                    <a:pt x="264" y="279"/>
                    <a:pt x="274" y="279"/>
                  </a:cubicBezTo>
                  <a:cubicBezTo>
                    <a:pt x="275" y="279"/>
                    <a:pt x="275" y="279"/>
                    <a:pt x="275" y="279"/>
                  </a:cubicBezTo>
                  <a:cubicBezTo>
                    <a:pt x="276" y="279"/>
                    <a:pt x="276" y="279"/>
                    <a:pt x="276" y="279"/>
                  </a:cubicBezTo>
                  <a:cubicBezTo>
                    <a:pt x="277" y="279"/>
                    <a:pt x="278" y="278"/>
                    <a:pt x="279" y="278"/>
                  </a:cubicBezTo>
                  <a:cubicBezTo>
                    <a:pt x="280" y="277"/>
                    <a:pt x="282" y="276"/>
                    <a:pt x="285" y="276"/>
                  </a:cubicBezTo>
                  <a:cubicBezTo>
                    <a:pt x="285" y="276"/>
                    <a:pt x="285" y="276"/>
                    <a:pt x="286" y="276"/>
                  </a:cubicBezTo>
                  <a:cubicBezTo>
                    <a:pt x="286" y="276"/>
                    <a:pt x="286" y="276"/>
                    <a:pt x="286" y="276"/>
                  </a:cubicBezTo>
                  <a:cubicBezTo>
                    <a:pt x="287" y="276"/>
                    <a:pt x="288" y="277"/>
                    <a:pt x="289" y="277"/>
                  </a:cubicBezTo>
                  <a:cubicBezTo>
                    <a:pt x="321" y="282"/>
                    <a:pt x="321" y="282"/>
                    <a:pt x="321" y="282"/>
                  </a:cubicBezTo>
                  <a:cubicBezTo>
                    <a:pt x="321" y="282"/>
                    <a:pt x="322" y="282"/>
                    <a:pt x="322" y="283"/>
                  </a:cubicBezTo>
                  <a:cubicBezTo>
                    <a:pt x="324" y="283"/>
                    <a:pt x="327" y="283"/>
                    <a:pt x="328" y="284"/>
                  </a:cubicBezTo>
                  <a:cubicBezTo>
                    <a:pt x="329" y="284"/>
                    <a:pt x="330" y="285"/>
                    <a:pt x="330" y="286"/>
                  </a:cubicBezTo>
                  <a:cubicBezTo>
                    <a:pt x="331" y="287"/>
                    <a:pt x="332" y="288"/>
                    <a:pt x="333" y="289"/>
                  </a:cubicBezTo>
                  <a:cubicBezTo>
                    <a:pt x="333" y="290"/>
                    <a:pt x="333" y="290"/>
                    <a:pt x="333" y="290"/>
                  </a:cubicBezTo>
                  <a:cubicBezTo>
                    <a:pt x="333" y="290"/>
                    <a:pt x="333" y="290"/>
                    <a:pt x="333" y="290"/>
                  </a:cubicBezTo>
                  <a:cubicBezTo>
                    <a:pt x="344" y="293"/>
                    <a:pt x="344" y="293"/>
                    <a:pt x="344" y="293"/>
                  </a:cubicBezTo>
                  <a:cubicBezTo>
                    <a:pt x="348" y="294"/>
                    <a:pt x="351" y="295"/>
                    <a:pt x="354" y="295"/>
                  </a:cubicBezTo>
                  <a:cubicBezTo>
                    <a:pt x="358" y="296"/>
                    <a:pt x="361" y="297"/>
                    <a:pt x="364" y="298"/>
                  </a:cubicBezTo>
                  <a:cubicBezTo>
                    <a:pt x="367" y="299"/>
                    <a:pt x="369" y="301"/>
                    <a:pt x="372" y="301"/>
                  </a:cubicBezTo>
                  <a:cubicBezTo>
                    <a:pt x="373" y="301"/>
                    <a:pt x="374" y="301"/>
                    <a:pt x="375" y="301"/>
                  </a:cubicBezTo>
                  <a:cubicBezTo>
                    <a:pt x="376" y="301"/>
                    <a:pt x="377" y="301"/>
                    <a:pt x="378" y="301"/>
                  </a:cubicBezTo>
                  <a:cubicBezTo>
                    <a:pt x="379" y="301"/>
                    <a:pt x="379" y="301"/>
                    <a:pt x="380" y="301"/>
                  </a:cubicBezTo>
                  <a:cubicBezTo>
                    <a:pt x="380" y="301"/>
                    <a:pt x="380" y="301"/>
                    <a:pt x="380" y="301"/>
                  </a:cubicBezTo>
                  <a:cubicBezTo>
                    <a:pt x="382" y="300"/>
                    <a:pt x="384" y="300"/>
                    <a:pt x="386" y="300"/>
                  </a:cubicBezTo>
                  <a:cubicBezTo>
                    <a:pt x="390" y="300"/>
                    <a:pt x="391" y="301"/>
                    <a:pt x="392" y="302"/>
                  </a:cubicBezTo>
                  <a:cubicBezTo>
                    <a:pt x="392" y="303"/>
                    <a:pt x="392" y="303"/>
                    <a:pt x="392" y="303"/>
                  </a:cubicBezTo>
                  <a:cubicBezTo>
                    <a:pt x="392" y="303"/>
                    <a:pt x="392" y="303"/>
                    <a:pt x="392" y="303"/>
                  </a:cubicBezTo>
                  <a:cubicBezTo>
                    <a:pt x="393" y="305"/>
                    <a:pt x="393" y="305"/>
                    <a:pt x="393" y="305"/>
                  </a:cubicBezTo>
                  <a:cubicBezTo>
                    <a:pt x="393" y="305"/>
                    <a:pt x="393" y="305"/>
                    <a:pt x="393" y="305"/>
                  </a:cubicBezTo>
                  <a:cubicBezTo>
                    <a:pt x="394" y="306"/>
                    <a:pt x="394" y="306"/>
                    <a:pt x="394" y="306"/>
                  </a:cubicBezTo>
                  <a:cubicBezTo>
                    <a:pt x="394" y="306"/>
                    <a:pt x="394" y="306"/>
                    <a:pt x="394" y="306"/>
                  </a:cubicBezTo>
                  <a:cubicBezTo>
                    <a:pt x="396" y="306"/>
                    <a:pt x="396" y="306"/>
                    <a:pt x="396" y="306"/>
                  </a:cubicBezTo>
                  <a:cubicBezTo>
                    <a:pt x="397" y="306"/>
                    <a:pt x="400" y="307"/>
                    <a:pt x="401" y="307"/>
                  </a:cubicBezTo>
                  <a:cubicBezTo>
                    <a:pt x="401" y="307"/>
                    <a:pt x="401" y="307"/>
                    <a:pt x="401" y="307"/>
                  </a:cubicBezTo>
                  <a:cubicBezTo>
                    <a:pt x="402" y="307"/>
                    <a:pt x="402" y="307"/>
                    <a:pt x="402" y="307"/>
                  </a:cubicBezTo>
                  <a:cubicBezTo>
                    <a:pt x="404" y="305"/>
                    <a:pt x="406" y="304"/>
                    <a:pt x="408" y="303"/>
                  </a:cubicBezTo>
                  <a:cubicBezTo>
                    <a:pt x="411" y="301"/>
                    <a:pt x="415" y="299"/>
                    <a:pt x="419" y="297"/>
                  </a:cubicBezTo>
                  <a:cubicBezTo>
                    <a:pt x="421" y="297"/>
                    <a:pt x="423" y="296"/>
                    <a:pt x="425" y="295"/>
                  </a:cubicBezTo>
                  <a:cubicBezTo>
                    <a:pt x="428" y="294"/>
                    <a:pt x="428" y="294"/>
                    <a:pt x="428" y="294"/>
                  </a:cubicBezTo>
                  <a:cubicBezTo>
                    <a:pt x="431" y="292"/>
                    <a:pt x="435" y="291"/>
                    <a:pt x="439" y="289"/>
                  </a:cubicBezTo>
                  <a:cubicBezTo>
                    <a:pt x="438" y="285"/>
                    <a:pt x="438" y="285"/>
                    <a:pt x="438" y="285"/>
                  </a:cubicBezTo>
                  <a:cubicBezTo>
                    <a:pt x="441" y="289"/>
                    <a:pt x="441" y="289"/>
                    <a:pt x="441" y="289"/>
                  </a:cubicBezTo>
                  <a:cubicBezTo>
                    <a:pt x="442" y="288"/>
                    <a:pt x="442" y="288"/>
                    <a:pt x="442" y="288"/>
                  </a:cubicBezTo>
                  <a:cubicBezTo>
                    <a:pt x="442" y="288"/>
                    <a:pt x="443" y="288"/>
                    <a:pt x="443" y="288"/>
                  </a:cubicBezTo>
                  <a:cubicBezTo>
                    <a:pt x="449" y="286"/>
                    <a:pt x="454" y="286"/>
                    <a:pt x="460" y="285"/>
                  </a:cubicBezTo>
                  <a:cubicBezTo>
                    <a:pt x="462" y="285"/>
                    <a:pt x="465" y="285"/>
                    <a:pt x="467" y="285"/>
                  </a:cubicBezTo>
                  <a:cubicBezTo>
                    <a:pt x="472" y="284"/>
                    <a:pt x="472" y="284"/>
                    <a:pt x="472" y="284"/>
                  </a:cubicBezTo>
                  <a:cubicBezTo>
                    <a:pt x="476" y="283"/>
                    <a:pt x="480" y="283"/>
                    <a:pt x="483" y="283"/>
                  </a:cubicBezTo>
                  <a:cubicBezTo>
                    <a:pt x="488" y="283"/>
                    <a:pt x="488" y="283"/>
                    <a:pt x="488" y="283"/>
                  </a:cubicBezTo>
                  <a:cubicBezTo>
                    <a:pt x="489" y="283"/>
                    <a:pt x="490" y="283"/>
                    <a:pt x="491" y="283"/>
                  </a:cubicBezTo>
                  <a:cubicBezTo>
                    <a:pt x="492" y="283"/>
                    <a:pt x="492" y="283"/>
                    <a:pt x="492" y="283"/>
                  </a:cubicBezTo>
                  <a:cubicBezTo>
                    <a:pt x="493" y="283"/>
                    <a:pt x="495" y="283"/>
                    <a:pt x="496" y="283"/>
                  </a:cubicBezTo>
                  <a:cubicBezTo>
                    <a:pt x="497" y="283"/>
                    <a:pt x="499" y="284"/>
                    <a:pt x="500" y="284"/>
                  </a:cubicBezTo>
                  <a:cubicBezTo>
                    <a:pt x="503" y="284"/>
                    <a:pt x="506" y="283"/>
                    <a:pt x="508" y="282"/>
                  </a:cubicBezTo>
                  <a:cubicBezTo>
                    <a:pt x="510" y="281"/>
                    <a:pt x="512" y="281"/>
                    <a:pt x="515" y="280"/>
                  </a:cubicBezTo>
                  <a:cubicBezTo>
                    <a:pt x="518" y="279"/>
                    <a:pt x="518" y="279"/>
                    <a:pt x="518" y="279"/>
                  </a:cubicBezTo>
                  <a:cubicBezTo>
                    <a:pt x="521" y="277"/>
                    <a:pt x="521" y="277"/>
                    <a:pt x="521" y="277"/>
                  </a:cubicBezTo>
                  <a:cubicBezTo>
                    <a:pt x="523" y="276"/>
                    <a:pt x="525" y="275"/>
                    <a:pt x="527" y="274"/>
                  </a:cubicBezTo>
                  <a:cubicBezTo>
                    <a:pt x="529" y="274"/>
                    <a:pt x="530" y="273"/>
                    <a:pt x="531" y="271"/>
                  </a:cubicBezTo>
                  <a:cubicBezTo>
                    <a:pt x="532" y="270"/>
                    <a:pt x="533" y="269"/>
                    <a:pt x="534" y="268"/>
                  </a:cubicBezTo>
                  <a:cubicBezTo>
                    <a:pt x="534" y="268"/>
                    <a:pt x="534" y="268"/>
                    <a:pt x="534" y="268"/>
                  </a:cubicBezTo>
                  <a:cubicBezTo>
                    <a:pt x="536" y="265"/>
                    <a:pt x="539" y="261"/>
                    <a:pt x="542" y="259"/>
                  </a:cubicBezTo>
                  <a:cubicBezTo>
                    <a:pt x="544" y="257"/>
                    <a:pt x="548" y="256"/>
                    <a:pt x="551" y="254"/>
                  </a:cubicBezTo>
                  <a:cubicBezTo>
                    <a:pt x="552" y="254"/>
                    <a:pt x="552" y="254"/>
                    <a:pt x="552" y="254"/>
                  </a:cubicBezTo>
                  <a:cubicBezTo>
                    <a:pt x="556" y="252"/>
                    <a:pt x="559" y="250"/>
                    <a:pt x="562" y="248"/>
                  </a:cubicBezTo>
                  <a:cubicBezTo>
                    <a:pt x="563" y="248"/>
                    <a:pt x="563" y="247"/>
                    <a:pt x="563" y="247"/>
                  </a:cubicBezTo>
                  <a:cubicBezTo>
                    <a:pt x="563" y="247"/>
                    <a:pt x="563" y="247"/>
                    <a:pt x="563" y="247"/>
                  </a:cubicBezTo>
                  <a:cubicBezTo>
                    <a:pt x="563" y="247"/>
                    <a:pt x="563" y="247"/>
                    <a:pt x="563" y="247"/>
                  </a:cubicBezTo>
                  <a:cubicBezTo>
                    <a:pt x="562" y="245"/>
                    <a:pt x="561" y="245"/>
                    <a:pt x="560" y="244"/>
                  </a:cubicBezTo>
                  <a:cubicBezTo>
                    <a:pt x="559" y="244"/>
                    <a:pt x="559" y="243"/>
                    <a:pt x="558" y="243"/>
                  </a:cubicBezTo>
                  <a:cubicBezTo>
                    <a:pt x="557" y="242"/>
                    <a:pt x="556" y="240"/>
                    <a:pt x="555" y="239"/>
                  </a:cubicBezTo>
                  <a:cubicBezTo>
                    <a:pt x="554" y="237"/>
                    <a:pt x="552" y="235"/>
                    <a:pt x="552" y="232"/>
                  </a:cubicBezTo>
                  <a:cubicBezTo>
                    <a:pt x="551" y="229"/>
                    <a:pt x="551" y="228"/>
                    <a:pt x="552" y="227"/>
                  </a:cubicBezTo>
                  <a:cubicBezTo>
                    <a:pt x="553" y="225"/>
                    <a:pt x="553" y="225"/>
                    <a:pt x="553" y="225"/>
                  </a:cubicBezTo>
                  <a:cubicBezTo>
                    <a:pt x="554" y="223"/>
                    <a:pt x="555" y="220"/>
                    <a:pt x="556" y="217"/>
                  </a:cubicBezTo>
                  <a:cubicBezTo>
                    <a:pt x="557" y="215"/>
                    <a:pt x="559" y="213"/>
                    <a:pt x="562" y="211"/>
                  </a:cubicBezTo>
                  <a:cubicBezTo>
                    <a:pt x="563" y="210"/>
                    <a:pt x="564" y="209"/>
                    <a:pt x="565" y="208"/>
                  </a:cubicBezTo>
                  <a:cubicBezTo>
                    <a:pt x="566" y="207"/>
                    <a:pt x="568" y="207"/>
                    <a:pt x="569" y="207"/>
                  </a:cubicBezTo>
                  <a:cubicBezTo>
                    <a:pt x="570" y="207"/>
                    <a:pt x="572" y="207"/>
                    <a:pt x="573" y="208"/>
                  </a:cubicBezTo>
                  <a:cubicBezTo>
                    <a:pt x="575" y="208"/>
                    <a:pt x="578" y="208"/>
                    <a:pt x="580" y="209"/>
                  </a:cubicBezTo>
                  <a:cubicBezTo>
                    <a:pt x="584" y="210"/>
                    <a:pt x="588" y="212"/>
                    <a:pt x="591" y="214"/>
                  </a:cubicBezTo>
                  <a:cubicBezTo>
                    <a:pt x="593" y="214"/>
                    <a:pt x="594" y="215"/>
                    <a:pt x="595" y="215"/>
                  </a:cubicBezTo>
                  <a:cubicBezTo>
                    <a:pt x="596" y="216"/>
                    <a:pt x="598" y="216"/>
                    <a:pt x="599" y="216"/>
                  </a:cubicBezTo>
                  <a:cubicBezTo>
                    <a:pt x="600" y="216"/>
                    <a:pt x="600" y="216"/>
                    <a:pt x="601" y="217"/>
                  </a:cubicBezTo>
                  <a:cubicBezTo>
                    <a:pt x="602" y="217"/>
                    <a:pt x="602" y="217"/>
                    <a:pt x="602" y="217"/>
                  </a:cubicBezTo>
                  <a:cubicBezTo>
                    <a:pt x="602" y="217"/>
                    <a:pt x="603" y="217"/>
                    <a:pt x="603" y="217"/>
                  </a:cubicBezTo>
                  <a:cubicBezTo>
                    <a:pt x="605" y="217"/>
                    <a:pt x="607" y="216"/>
                    <a:pt x="608" y="215"/>
                  </a:cubicBezTo>
                  <a:cubicBezTo>
                    <a:pt x="609" y="215"/>
                    <a:pt x="609" y="215"/>
                    <a:pt x="609" y="215"/>
                  </a:cubicBezTo>
                  <a:cubicBezTo>
                    <a:pt x="610" y="214"/>
                    <a:pt x="611" y="213"/>
                    <a:pt x="611" y="213"/>
                  </a:cubicBezTo>
                  <a:cubicBezTo>
                    <a:pt x="616" y="210"/>
                    <a:pt x="620" y="207"/>
                    <a:pt x="623" y="203"/>
                  </a:cubicBezTo>
                  <a:cubicBezTo>
                    <a:pt x="621" y="200"/>
                    <a:pt x="621" y="200"/>
                    <a:pt x="621" y="200"/>
                  </a:cubicBezTo>
                  <a:cubicBezTo>
                    <a:pt x="624" y="202"/>
                    <a:pt x="624" y="202"/>
                    <a:pt x="624" y="202"/>
                  </a:cubicBezTo>
                  <a:cubicBezTo>
                    <a:pt x="625" y="202"/>
                    <a:pt x="625" y="202"/>
                    <a:pt x="625" y="202"/>
                  </a:cubicBezTo>
                  <a:cubicBezTo>
                    <a:pt x="625" y="202"/>
                    <a:pt x="625" y="202"/>
                    <a:pt x="625" y="202"/>
                  </a:cubicBezTo>
                  <a:cubicBezTo>
                    <a:pt x="625" y="202"/>
                    <a:pt x="625" y="202"/>
                    <a:pt x="625" y="202"/>
                  </a:cubicBezTo>
                  <a:cubicBezTo>
                    <a:pt x="626" y="201"/>
                    <a:pt x="626" y="201"/>
                    <a:pt x="626" y="201"/>
                  </a:cubicBezTo>
                  <a:cubicBezTo>
                    <a:pt x="626" y="200"/>
                    <a:pt x="627" y="200"/>
                    <a:pt x="628" y="199"/>
                  </a:cubicBezTo>
                  <a:cubicBezTo>
                    <a:pt x="628" y="198"/>
                    <a:pt x="628" y="198"/>
                    <a:pt x="628" y="198"/>
                  </a:cubicBezTo>
                  <a:cubicBezTo>
                    <a:pt x="630" y="197"/>
                    <a:pt x="631" y="197"/>
                    <a:pt x="634" y="197"/>
                  </a:cubicBezTo>
                  <a:cubicBezTo>
                    <a:pt x="634" y="197"/>
                    <a:pt x="635" y="197"/>
                    <a:pt x="636" y="197"/>
                  </a:cubicBezTo>
                  <a:cubicBezTo>
                    <a:pt x="637" y="197"/>
                    <a:pt x="637" y="197"/>
                    <a:pt x="637" y="197"/>
                  </a:cubicBezTo>
                  <a:cubicBezTo>
                    <a:pt x="637" y="197"/>
                    <a:pt x="637" y="197"/>
                    <a:pt x="637" y="197"/>
                  </a:cubicBezTo>
                  <a:cubicBezTo>
                    <a:pt x="652" y="197"/>
                    <a:pt x="652" y="197"/>
                    <a:pt x="652" y="197"/>
                  </a:cubicBezTo>
                  <a:cubicBezTo>
                    <a:pt x="653" y="197"/>
                    <a:pt x="653" y="197"/>
                    <a:pt x="654" y="196"/>
                  </a:cubicBezTo>
                  <a:cubicBezTo>
                    <a:pt x="654" y="196"/>
                    <a:pt x="654" y="196"/>
                    <a:pt x="655" y="195"/>
                  </a:cubicBezTo>
                  <a:cubicBezTo>
                    <a:pt x="656" y="195"/>
                    <a:pt x="656" y="194"/>
                    <a:pt x="657" y="194"/>
                  </a:cubicBezTo>
                  <a:cubicBezTo>
                    <a:pt x="658" y="193"/>
                    <a:pt x="659" y="193"/>
                    <a:pt x="660" y="192"/>
                  </a:cubicBezTo>
                  <a:cubicBezTo>
                    <a:pt x="660" y="192"/>
                    <a:pt x="660" y="192"/>
                    <a:pt x="661" y="192"/>
                  </a:cubicBezTo>
                  <a:cubicBezTo>
                    <a:pt x="662" y="191"/>
                    <a:pt x="662" y="191"/>
                    <a:pt x="662" y="191"/>
                  </a:cubicBezTo>
                  <a:cubicBezTo>
                    <a:pt x="662" y="191"/>
                    <a:pt x="663" y="190"/>
                    <a:pt x="664" y="190"/>
                  </a:cubicBezTo>
                  <a:cubicBezTo>
                    <a:pt x="664" y="189"/>
                    <a:pt x="664" y="189"/>
                    <a:pt x="664" y="189"/>
                  </a:cubicBezTo>
                  <a:cubicBezTo>
                    <a:pt x="664" y="189"/>
                    <a:pt x="664" y="188"/>
                    <a:pt x="664" y="187"/>
                  </a:cubicBezTo>
                  <a:cubicBezTo>
                    <a:pt x="664" y="187"/>
                    <a:pt x="664" y="187"/>
                    <a:pt x="664" y="186"/>
                  </a:cubicBezTo>
                  <a:cubicBezTo>
                    <a:pt x="664" y="181"/>
                    <a:pt x="671" y="175"/>
                    <a:pt x="672" y="174"/>
                  </a:cubicBezTo>
                  <a:cubicBezTo>
                    <a:pt x="675" y="170"/>
                    <a:pt x="681" y="169"/>
                    <a:pt x="685" y="169"/>
                  </a:cubicBezTo>
                  <a:cubicBezTo>
                    <a:pt x="687" y="169"/>
                    <a:pt x="689" y="170"/>
                    <a:pt x="691" y="170"/>
                  </a:cubicBezTo>
                  <a:cubicBezTo>
                    <a:pt x="693" y="170"/>
                    <a:pt x="693" y="170"/>
                    <a:pt x="693" y="170"/>
                  </a:cubicBezTo>
                  <a:cubicBezTo>
                    <a:pt x="693" y="170"/>
                    <a:pt x="694" y="170"/>
                    <a:pt x="694" y="170"/>
                  </a:cubicBezTo>
                  <a:cubicBezTo>
                    <a:pt x="702" y="167"/>
                    <a:pt x="710" y="164"/>
                    <a:pt x="718" y="161"/>
                  </a:cubicBezTo>
                  <a:cubicBezTo>
                    <a:pt x="720" y="160"/>
                    <a:pt x="723" y="160"/>
                    <a:pt x="726" y="160"/>
                  </a:cubicBezTo>
                  <a:cubicBezTo>
                    <a:pt x="728" y="160"/>
                    <a:pt x="730" y="160"/>
                    <a:pt x="733" y="160"/>
                  </a:cubicBezTo>
                  <a:cubicBezTo>
                    <a:pt x="733" y="160"/>
                    <a:pt x="733" y="160"/>
                    <a:pt x="733" y="160"/>
                  </a:cubicBezTo>
                  <a:cubicBezTo>
                    <a:pt x="735" y="160"/>
                    <a:pt x="737" y="161"/>
                    <a:pt x="738" y="161"/>
                  </a:cubicBezTo>
                  <a:cubicBezTo>
                    <a:pt x="750" y="161"/>
                    <a:pt x="750" y="161"/>
                    <a:pt x="750" y="161"/>
                  </a:cubicBezTo>
                  <a:cubicBezTo>
                    <a:pt x="750" y="158"/>
                    <a:pt x="750" y="155"/>
                    <a:pt x="747" y="152"/>
                  </a:cubicBezTo>
                  <a:cubicBezTo>
                    <a:pt x="747" y="151"/>
                    <a:pt x="746" y="150"/>
                    <a:pt x="745" y="149"/>
                  </a:cubicBezTo>
                  <a:cubicBezTo>
                    <a:pt x="744" y="149"/>
                    <a:pt x="744" y="149"/>
                    <a:pt x="744" y="149"/>
                  </a:cubicBezTo>
                  <a:cubicBezTo>
                    <a:pt x="743" y="148"/>
                    <a:pt x="741" y="147"/>
                    <a:pt x="740" y="145"/>
                  </a:cubicBezTo>
                  <a:cubicBezTo>
                    <a:pt x="739" y="144"/>
                    <a:pt x="738" y="143"/>
                    <a:pt x="737" y="142"/>
                  </a:cubicBezTo>
                  <a:cubicBezTo>
                    <a:pt x="736" y="141"/>
                    <a:pt x="735" y="141"/>
                    <a:pt x="734" y="139"/>
                  </a:cubicBezTo>
                  <a:cubicBezTo>
                    <a:pt x="733" y="138"/>
                    <a:pt x="732" y="137"/>
                    <a:pt x="732" y="137"/>
                  </a:cubicBezTo>
                  <a:cubicBezTo>
                    <a:pt x="731" y="136"/>
                    <a:pt x="730" y="135"/>
                    <a:pt x="728" y="135"/>
                  </a:cubicBezTo>
                  <a:cubicBezTo>
                    <a:pt x="727" y="134"/>
                    <a:pt x="725" y="133"/>
                    <a:pt x="723" y="131"/>
                  </a:cubicBezTo>
                  <a:cubicBezTo>
                    <a:pt x="723" y="131"/>
                    <a:pt x="722" y="130"/>
                    <a:pt x="722" y="130"/>
                  </a:cubicBezTo>
                  <a:cubicBezTo>
                    <a:pt x="722" y="129"/>
                    <a:pt x="722" y="129"/>
                    <a:pt x="722" y="129"/>
                  </a:cubicBezTo>
                  <a:cubicBezTo>
                    <a:pt x="721" y="129"/>
                    <a:pt x="721" y="129"/>
                    <a:pt x="721" y="128"/>
                  </a:cubicBezTo>
                  <a:cubicBezTo>
                    <a:pt x="721" y="128"/>
                    <a:pt x="721" y="128"/>
                    <a:pt x="721" y="128"/>
                  </a:cubicBezTo>
                  <a:cubicBezTo>
                    <a:pt x="720" y="128"/>
                    <a:pt x="720" y="128"/>
                    <a:pt x="720" y="128"/>
                  </a:cubicBezTo>
                  <a:cubicBezTo>
                    <a:pt x="720" y="128"/>
                    <a:pt x="719" y="128"/>
                    <a:pt x="719" y="128"/>
                  </a:cubicBezTo>
                  <a:cubicBezTo>
                    <a:pt x="717" y="128"/>
                    <a:pt x="715" y="128"/>
                    <a:pt x="713" y="128"/>
                  </a:cubicBezTo>
                  <a:cubicBezTo>
                    <a:pt x="712" y="129"/>
                    <a:pt x="710" y="129"/>
                    <a:pt x="709" y="129"/>
                  </a:cubicBezTo>
                  <a:cubicBezTo>
                    <a:pt x="707" y="129"/>
                    <a:pt x="706" y="129"/>
                    <a:pt x="705" y="129"/>
                  </a:cubicBezTo>
                  <a:cubicBezTo>
                    <a:pt x="702" y="130"/>
                    <a:pt x="701" y="131"/>
                    <a:pt x="699" y="133"/>
                  </a:cubicBezTo>
                  <a:cubicBezTo>
                    <a:pt x="699" y="134"/>
                    <a:pt x="699" y="134"/>
                    <a:pt x="699" y="134"/>
                  </a:cubicBezTo>
                  <a:cubicBezTo>
                    <a:pt x="697" y="135"/>
                    <a:pt x="696" y="137"/>
                    <a:pt x="695" y="137"/>
                  </a:cubicBezTo>
                  <a:cubicBezTo>
                    <a:pt x="694" y="137"/>
                    <a:pt x="694" y="137"/>
                    <a:pt x="694" y="137"/>
                  </a:cubicBezTo>
                  <a:cubicBezTo>
                    <a:pt x="694" y="137"/>
                    <a:pt x="694" y="137"/>
                    <a:pt x="694" y="137"/>
                  </a:cubicBezTo>
                  <a:cubicBezTo>
                    <a:pt x="691" y="137"/>
                    <a:pt x="689" y="135"/>
                    <a:pt x="685" y="133"/>
                  </a:cubicBezTo>
                  <a:cubicBezTo>
                    <a:pt x="685" y="133"/>
                    <a:pt x="684" y="132"/>
                    <a:pt x="684" y="132"/>
                  </a:cubicBezTo>
                  <a:cubicBezTo>
                    <a:pt x="683" y="132"/>
                    <a:pt x="683" y="131"/>
                    <a:pt x="682" y="131"/>
                  </a:cubicBezTo>
                  <a:cubicBezTo>
                    <a:pt x="681" y="131"/>
                    <a:pt x="681" y="131"/>
                    <a:pt x="681" y="131"/>
                  </a:cubicBezTo>
                  <a:cubicBezTo>
                    <a:pt x="671" y="133"/>
                    <a:pt x="671" y="133"/>
                    <a:pt x="671" y="133"/>
                  </a:cubicBezTo>
                  <a:cubicBezTo>
                    <a:pt x="669" y="133"/>
                    <a:pt x="666" y="133"/>
                    <a:pt x="664" y="134"/>
                  </a:cubicBezTo>
                  <a:cubicBezTo>
                    <a:pt x="664" y="134"/>
                    <a:pt x="664" y="134"/>
                    <a:pt x="664" y="134"/>
                  </a:cubicBezTo>
                  <a:cubicBezTo>
                    <a:pt x="664" y="135"/>
                    <a:pt x="663" y="136"/>
                    <a:pt x="661" y="136"/>
                  </a:cubicBezTo>
                  <a:cubicBezTo>
                    <a:pt x="661" y="136"/>
                    <a:pt x="661" y="136"/>
                    <a:pt x="661" y="136"/>
                  </a:cubicBezTo>
                  <a:cubicBezTo>
                    <a:pt x="658" y="136"/>
                    <a:pt x="656" y="134"/>
                    <a:pt x="653" y="132"/>
                  </a:cubicBezTo>
                  <a:cubicBezTo>
                    <a:pt x="651" y="130"/>
                    <a:pt x="650" y="129"/>
                    <a:pt x="649" y="127"/>
                  </a:cubicBezTo>
                  <a:cubicBezTo>
                    <a:pt x="649" y="127"/>
                    <a:pt x="649" y="126"/>
                    <a:pt x="649" y="126"/>
                  </a:cubicBezTo>
                  <a:cubicBezTo>
                    <a:pt x="649" y="125"/>
                    <a:pt x="649" y="125"/>
                    <a:pt x="649" y="125"/>
                  </a:cubicBezTo>
                  <a:cubicBezTo>
                    <a:pt x="649" y="125"/>
                    <a:pt x="649" y="125"/>
                    <a:pt x="649" y="125"/>
                  </a:cubicBezTo>
                  <a:cubicBezTo>
                    <a:pt x="648" y="124"/>
                    <a:pt x="648" y="123"/>
                    <a:pt x="648" y="122"/>
                  </a:cubicBezTo>
                  <a:cubicBezTo>
                    <a:pt x="647" y="118"/>
                    <a:pt x="651" y="116"/>
                    <a:pt x="653" y="116"/>
                  </a:cubicBezTo>
                  <a:cubicBezTo>
                    <a:pt x="653" y="115"/>
                    <a:pt x="654" y="115"/>
                    <a:pt x="654" y="115"/>
                  </a:cubicBezTo>
                  <a:cubicBezTo>
                    <a:pt x="654" y="115"/>
                    <a:pt x="654" y="114"/>
                    <a:pt x="654" y="113"/>
                  </a:cubicBezTo>
                  <a:cubicBezTo>
                    <a:pt x="654" y="112"/>
                    <a:pt x="654" y="110"/>
                    <a:pt x="654" y="108"/>
                  </a:cubicBezTo>
                  <a:cubicBezTo>
                    <a:pt x="663" y="91"/>
                    <a:pt x="663" y="91"/>
                    <a:pt x="663" y="91"/>
                  </a:cubicBezTo>
                  <a:cubicBezTo>
                    <a:pt x="665" y="87"/>
                    <a:pt x="667" y="83"/>
                    <a:pt x="669" y="80"/>
                  </a:cubicBezTo>
                  <a:cubicBezTo>
                    <a:pt x="674" y="70"/>
                    <a:pt x="674" y="70"/>
                    <a:pt x="674" y="70"/>
                  </a:cubicBezTo>
                  <a:cubicBezTo>
                    <a:pt x="673" y="69"/>
                    <a:pt x="673" y="69"/>
                    <a:pt x="673" y="69"/>
                  </a:cubicBezTo>
                  <a:cubicBezTo>
                    <a:pt x="673" y="69"/>
                    <a:pt x="673" y="69"/>
                    <a:pt x="673" y="69"/>
                  </a:cubicBezTo>
                  <a:cubicBezTo>
                    <a:pt x="668" y="66"/>
                    <a:pt x="667" y="66"/>
                    <a:pt x="667" y="65"/>
                  </a:cubicBezTo>
                  <a:cubicBezTo>
                    <a:pt x="667" y="66"/>
                    <a:pt x="667" y="66"/>
                    <a:pt x="667" y="66"/>
                  </a:cubicBezTo>
                  <a:cubicBezTo>
                    <a:pt x="652" y="69"/>
                    <a:pt x="652" y="69"/>
                    <a:pt x="652" y="69"/>
                  </a:cubicBezTo>
                  <a:cubicBezTo>
                    <a:pt x="652" y="69"/>
                    <a:pt x="651" y="69"/>
                    <a:pt x="651" y="69"/>
                  </a:cubicBezTo>
                  <a:cubicBezTo>
                    <a:pt x="651" y="69"/>
                    <a:pt x="650" y="69"/>
                    <a:pt x="650" y="69"/>
                  </a:cubicBezTo>
                  <a:cubicBezTo>
                    <a:pt x="650" y="69"/>
                    <a:pt x="650" y="69"/>
                    <a:pt x="650" y="69"/>
                  </a:cubicBezTo>
                  <a:cubicBezTo>
                    <a:pt x="649" y="69"/>
                    <a:pt x="649" y="69"/>
                    <a:pt x="649" y="69"/>
                  </a:cubicBezTo>
                  <a:cubicBezTo>
                    <a:pt x="648" y="69"/>
                    <a:pt x="648" y="68"/>
                    <a:pt x="647" y="68"/>
                  </a:cubicBezTo>
                  <a:cubicBezTo>
                    <a:pt x="633" y="59"/>
                    <a:pt x="633" y="59"/>
                    <a:pt x="633" y="59"/>
                  </a:cubicBezTo>
                  <a:cubicBezTo>
                    <a:pt x="631" y="59"/>
                    <a:pt x="631" y="59"/>
                    <a:pt x="631" y="59"/>
                  </a:cubicBezTo>
                  <a:cubicBezTo>
                    <a:pt x="629" y="59"/>
                    <a:pt x="628" y="59"/>
                    <a:pt x="627" y="59"/>
                  </a:cubicBezTo>
                  <a:cubicBezTo>
                    <a:pt x="625" y="59"/>
                    <a:pt x="624" y="59"/>
                    <a:pt x="623" y="59"/>
                  </a:cubicBezTo>
                  <a:cubicBezTo>
                    <a:pt x="621" y="59"/>
                    <a:pt x="620" y="59"/>
                    <a:pt x="618" y="59"/>
                  </a:cubicBezTo>
                  <a:cubicBezTo>
                    <a:pt x="618" y="59"/>
                    <a:pt x="618" y="59"/>
                    <a:pt x="618" y="59"/>
                  </a:cubicBezTo>
                  <a:cubicBezTo>
                    <a:pt x="617" y="59"/>
                    <a:pt x="614" y="61"/>
                    <a:pt x="612" y="62"/>
                  </a:cubicBezTo>
                  <a:cubicBezTo>
                    <a:pt x="612" y="62"/>
                    <a:pt x="612" y="62"/>
                    <a:pt x="612" y="62"/>
                  </a:cubicBezTo>
                  <a:cubicBezTo>
                    <a:pt x="611" y="63"/>
                    <a:pt x="610" y="63"/>
                    <a:pt x="609" y="64"/>
                  </a:cubicBezTo>
                  <a:cubicBezTo>
                    <a:pt x="606" y="65"/>
                    <a:pt x="606" y="65"/>
                    <a:pt x="606" y="65"/>
                  </a:cubicBezTo>
                  <a:cubicBezTo>
                    <a:pt x="601" y="69"/>
                    <a:pt x="601" y="69"/>
                    <a:pt x="601" y="69"/>
                  </a:cubicBezTo>
                  <a:cubicBezTo>
                    <a:pt x="590" y="80"/>
                    <a:pt x="590" y="80"/>
                    <a:pt x="590" y="80"/>
                  </a:cubicBezTo>
                  <a:cubicBezTo>
                    <a:pt x="589" y="80"/>
                    <a:pt x="588" y="80"/>
                    <a:pt x="587" y="81"/>
                  </a:cubicBezTo>
                  <a:cubicBezTo>
                    <a:pt x="571" y="84"/>
                    <a:pt x="571" y="84"/>
                    <a:pt x="571" y="84"/>
                  </a:cubicBezTo>
                  <a:cubicBezTo>
                    <a:pt x="543" y="91"/>
                    <a:pt x="543" y="91"/>
                    <a:pt x="543" y="91"/>
                  </a:cubicBezTo>
                  <a:cubicBezTo>
                    <a:pt x="541" y="92"/>
                    <a:pt x="540" y="92"/>
                    <a:pt x="539" y="92"/>
                  </a:cubicBezTo>
                  <a:cubicBezTo>
                    <a:pt x="526" y="90"/>
                    <a:pt x="526" y="90"/>
                    <a:pt x="526" y="90"/>
                  </a:cubicBezTo>
                  <a:cubicBezTo>
                    <a:pt x="505" y="87"/>
                    <a:pt x="505" y="87"/>
                    <a:pt x="505" y="87"/>
                  </a:cubicBezTo>
                  <a:cubicBezTo>
                    <a:pt x="505" y="87"/>
                    <a:pt x="504" y="87"/>
                    <a:pt x="504" y="87"/>
                  </a:cubicBezTo>
                  <a:cubicBezTo>
                    <a:pt x="501" y="86"/>
                    <a:pt x="501" y="86"/>
                    <a:pt x="501" y="86"/>
                  </a:cubicBezTo>
                  <a:cubicBezTo>
                    <a:pt x="486" y="86"/>
                    <a:pt x="486" y="86"/>
                    <a:pt x="486" y="86"/>
                  </a:cubicBezTo>
                  <a:cubicBezTo>
                    <a:pt x="486" y="86"/>
                    <a:pt x="486" y="86"/>
                    <a:pt x="486" y="86"/>
                  </a:cubicBezTo>
                  <a:cubicBezTo>
                    <a:pt x="486" y="85"/>
                    <a:pt x="486" y="85"/>
                    <a:pt x="486" y="85"/>
                  </a:cubicBezTo>
                  <a:cubicBezTo>
                    <a:pt x="486" y="86"/>
                    <a:pt x="486" y="86"/>
                    <a:pt x="486" y="86"/>
                  </a:cubicBezTo>
                  <a:cubicBezTo>
                    <a:pt x="485" y="86"/>
                    <a:pt x="484" y="86"/>
                    <a:pt x="484" y="86"/>
                  </a:cubicBezTo>
                  <a:cubicBezTo>
                    <a:pt x="473" y="78"/>
                    <a:pt x="473" y="78"/>
                    <a:pt x="473" y="78"/>
                  </a:cubicBezTo>
                  <a:cubicBezTo>
                    <a:pt x="472" y="78"/>
                    <a:pt x="472" y="77"/>
                    <a:pt x="472" y="77"/>
                  </a:cubicBezTo>
                  <a:cubicBezTo>
                    <a:pt x="471" y="76"/>
                    <a:pt x="471" y="76"/>
                    <a:pt x="471" y="76"/>
                  </a:cubicBezTo>
                  <a:cubicBezTo>
                    <a:pt x="470" y="68"/>
                    <a:pt x="470" y="68"/>
                    <a:pt x="470" y="68"/>
                  </a:cubicBezTo>
                  <a:cubicBezTo>
                    <a:pt x="469" y="67"/>
                    <a:pt x="469" y="67"/>
                    <a:pt x="469" y="67"/>
                  </a:cubicBezTo>
                  <a:cubicBezTo>
                    <a:pt x="469" y="67"/>
                    <a:pt x="468" y="67"/>
                    <a:pt x="467" y="67"/>
                  </a:cubicBezTo>
                  <a:cubicBezTo>
                    <a:pt x="466" y="67"/>
                    <a:pt x="464" y="67"/>
                    <a:pt x="463" y="67"/>
                  </a:cubicBezTo>
                  <a:cubicBezTo>
                    <a:pt x="461" y="67"/>
                    <a:pt x="461" y="67"/>
                    <a:pt x="461" y="67"/>
                  </a:cubicBezTo>
                  <a:cubicBezTo>
                    <a:pt x="456" y="66"/>
                    <a:pt x="453" y="63"/>
                    <a:pt x="450" y="61"/>
                  </a:cubicBezTo>
                  <a:cubicBezTo>
                    <a:pt x="448" y="59"/>
                    <a:pt x="446" y="57"/>
                    <a:pt x="444" y="57"/>
                  </a:cubicBezTo>
                  <a:cubicBezTo>
                    <a:pt x="443" y="56"/>
                    <a:pt x="442" y="56"/>
                    <a:pt x="442" y="56"/>
                  </a:cubicBezTo>
                  <a:cubicBezTo>
                    <a:pt x="441" y="56"/>
                    <a:pt x="440" y="56"/>
                    <a:pt x="440" y="56"/>
                  </a:cubicBezTo>
                  <a:cubicBezTo>
                    <a:pt x="439" y="56"/>
                    <a:pt x="439" y="56"/>
                    <a:pt x="439" y="56"/>
                  </a:cubicBezTo>
                  <a:cubicBezTo>
                    <a:pt x="437" y="56"/>
                    <a:pt x="437" y="56"/>
                    <a:pt x="437" y="56"/>
                  </a:cubicBezTo>
                  <a:cubicBezTo>
                    <a:pt x="430" y="56"/>
                    <a:pt x="430" y="56"/>
                    <a:pt x="430" y="56"/>
                  </a:cubicBezTo>
                  <a:cubicBezTo>
                    <a:pt x="428" y="56"/>
                    <a:pt x="427" y="55"/>
                    <a:pt x="427" y="55"/>
                  </a:cubicBezTo>
                  <a:cubicBezTo>
                    <a:pt x="426" y="54"/>
                    <a:pt x="426" y="54"/>
                    <a:pt x="426" y="54"/>
                  </a:cubicBezTo>
                  <a:cubicBezTo>
                    <a:pt x="424" y="53"/>
                    <a:pt x="420" y="53"/>
                    <a:pt x="418" y="53"/>
                  </a:cubicBezTo>
                  <a:cubicBezTo>
                    <a:pt x="416" y="52"/>
                    <a:pt x="414" y="52"/>
                    <a:pt x="412" y="52"/>
                  </a:cubicBezTo>
                  <a:cubicBezTo>
                    <a:pt x="411" y="52"/>
                    <a:pt x="411" y="52"/>
                    <a:pt x="411" y="52"/>
                  </a:cubicBezTo>
                  <a:cubicBezTo>
                    <a:pt x="408" y="52"/>
                    <a:pt x="405" y="53"/>
                    <a:pt x="402" y="53"/>
                  </a:cubicBezTo>
                  <a:cubicBezTo>
                    <a:pt x="401" y="54"/>
                    <a:pt x="401" y="54"/>
                    <a:pt x="401" y="54"/>
                  </a:cubicBezTo>
                  <a:cubicBezTo>
                    <a:pt x="398" y="54"/>
                    <a:pt x="394" y="55"/>
                    <a:pt x="391" y="56"/>
                  </a:cubicBezTo>
                  <a:cubicBezTo>
                    <a:pt x="391" y="57"/>
                    <a:pt x="390" y="57"/>
                    <a:pt x="389" y="57"/>
                  </a:cubicBezTo>
                  <a:cubicBezTo>
                    <a:pt x="389" y="58"/>
                    <a:pt x="389" y="58"/>
                    <a:pt x="389" y="58"/>
                  </a:cubicBezTo>
                  <a:cubicBezTo>
                    <a:pt x="388" y="58"/>
                    <a:pt x="388" y="58"/>
                    <a:pt x="387" y="59"/>
                  </a:cubicBezTo>
                  <a:cubicBezTo>
                    <a:pt x="386" y="59"/>
                    <a:pt x="386" y="59"/>
                    <a:pt x="386" y="59"/>
                  </a:cubicBezTo>
                  <a:cubicBezTo>
                    <a:pt x="384" y="60"/>
                    <a:pt x="382" y="61"/>
                    <a:pt x="379" y="61"/>
                  </a:cubicBezTo>
                  <a:cubicBezTo>
                    <a:pt x="378" y="61"/>
                    <a:pt x="377" y="61"/>
                    <a:pt x="376" y="61"/>
                  </a:cubicBezTo>
                  <a:cubicBezTo>
                    <a:pt x="350" y="54"/>
                    <a:pt x="350" y="54"/>
                    <a:pt x="350" y="54"/>
                  </a:cubicBezTo>
                  <a:cubicBezTo>
                    <a:pt x="347" y="54"/>
                    <a:pt x="344" y="52"/>
                    <a:pt x="342" y="51"/>
                  </a:cubicBezTo>
                  <a:cubicBezTo>
                    <a:pt x="340" y="50"/>
                    <a:pt x="339" y="49"/>
                    <a:pt x="339" y="48"/>
                  </a:cubicBezTo>
                  <a:cubicBezTo>
                    <a:pt x="338" y="47"/>
                    <a:pt x="338" y="47"/>
                    <a:pt x="338" y="47"/>
                  </a:cubicBezTo>
                  <a:cubicBezTo>
                    <a:pt x="337" y="45"/>
                    <a:pt x="336" y="44"/>
                    <a:pt x="336" y="43"/>
                  </a:cubicBezTo>
                  <a:cubicBezTo>
                    <a:pt x="336" y="42"/>
                    <a:pt x="335" y="41"/>
                    <a:pt x="335" y="39"/>
                  </a:cubicBezTo>
                  <a:cubicBezTo>
                    <a:pt x="335" y="38"/>
                    <a:pt x="335" y="38"/>
                    <a:pt x="335" y="38"/>
                  </a:cubicBezTo>
                  <a:cubicBezTo>
                    <a:pt x="334" y="36"/>
                    <a:pt x="334" y="36"/>
                    <a:pt x="334" y="36"/>
                  </a:cubicBezTo>
                  <a:cubicBezTo>
                    <a:pt x="334" y="35"/>
                    <a:pt x="334" y="34"/>
                    <a:pt x="334" y="34"/>
                  </a:cubicBezTo>
                  <a:cubicBezTo>
                    <a:pt x="334" y="33"/>
                    <a:pt x="334" y="31"/>
                    <a:pt x="334" y="30"/>
                  </a:cubicBezTo>
                  <a:cubicBezTo>
                    <a:pt x="333" y="29"/>
                    <a:pt x="333" y="28"/>
                    <a:pt x="333" y="26"/>
                  </a:cubicBezTo>
                  <a:cubicBezTo>
                    <a:pt x="333" y="26"/>
                    <a:pt x="333" y="25"/>
                    <a:pt x="333" y="24"/>
                  </a:cubicBezTo>
                  <a:cubicBezTo>
                    <a:pt x="332" y="24"/>
                    <a:pt x="331" y="23"/>
                    <a:pt x="330" y="23"/>
                  </a:cubicBezTo>
                  <a:cubicBezTo>
                    <a:pt x="329" y="23"/>
                    <a:pt x="329" y="23"/>
                    <a:pt x="329" y="23"/>
                  </a:cubicBezTo>
                  <a:cubicBezTo>
                    <a:pt x="326" y="22"/>
                    <a:pt x="324" y="22"/>
                    <a:pt x="322" y="21"/>
                  </a:cubicBezTo>
                  <a:cubicBezTo>
                    <a:pt x="316" y="19"/>
                    <a:pt x="316" y="19"/>
                    <a:pt x="316" y="19"/>
                  </a:cubicBezTo>
                  <a:cubicBezTo>
                    <a:pt x="313" y="19"/>
                    <a:pt x="310" y="18"/>
                    <a:pt x="308" y="16"/>
                  </a:cubicBezTo>
                  <a:cubicBezTo>
                    <a:pt x="305" y="15"/>
                    <a:pt x="302" y="14"/>
                    <a:pt x="299" y="13"/>
                  </a:cubicBezTo>
                  <a:cubicBezTo>
                    <a:pt x="299" y="13"/>
                    <a:pt x="298" y="13"/>
                    <a:pt x="297" y="13"/>
                  </a:cubicBezTo>
                  <a:cubicBezTo>
                    <a:pt x="297" y="13"/>
                    <a:pt x="297" y="13"/>
                    <a:pt x="297" y="13"/>
                  </a:cubicBezTo>
                  <a:cubicBezTo>
                    <a:pt x="296" y="13"/>
                    <a:pt x="296" y="13"/>
                    <a:pt x="296" y="13"/>
                  </a:cubicBezTo>
                  <a:cubicBezTo>
                    <a:pt x="295" y="13"/>
                    <a:pt x="295" y="13"/>
                    <a:pt x="295" y="13"/>
                  </a:cubicBezTo>
                  <a:cubicBezTo>
                    <a:pt x="295" y="13"/>
                    <a:pt x="295" y="13"/>
                    <a:pt x="295" y="13"/>
                  </a:cubicBezTo>
                  <a:cubicBezTo>
                    <a:pt x="287" y="12"/>
                    <a:pt x="282" y="11"/>
                    <a:pt x="275" y="8"/>
                  </a:cubicBezTo>
                  <a:cubicBezTo>
                    <a:pt x="262" y="1"/>
                    <a:pt x="262" y="1"/>
                    <a:pt x="262" y="1"/>
                  </a:cubicBezTo>
                  <a:cubicBezTo>
                    <a:pt x="262" y="1"/>
                    <a:pt x="262" y="1"/>
                    <a:pt x="262" y="1"/>
                  </a:cubicBezTo>
                  <a:cubicBezTo>
                    <a:pt x="260" y="0"/>
                    <a:pt x="260" y="0"/>
                    <a:pt x="26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1563"/>
            <p:cNvSpPr/>
            <p:nvPr/>
          </p:nvSpPr>
          <p:spPr bwMode="auto">
            <a:xfrm>
              <a:off x="4676697" y="1495364"/>
              <a:ext cx="463106" cy="460422"/>
            </a:xfrm>
            <a:custGeom>
              <a:gdLst>
                <a:gd name="T0" fmla="*/ 133 w 146"/>
                <a:gd name="T1" fmla="*/ 0 h 145"/>
                <a:gd name="T2" fmla="*/ 131 w 146"/>
                <a:gd name="T3" fmla="*/ 7 h 145"/>
                <a:gd name="T4" fmla="*/ 128 w 146"/>
                <a:gd name="T5" fmla="*/ 13 h 145"/>
                <a:gd name="T6" fmla="*/ 118 w 146"/>
                <a:gd name="T7" fmla="*/ 18 h 145"/>
                <a:gd name="T8" fmla="*/ 112 w 146"/>
                <a:gd name="T9" fmla="*/ 26 h 145"/>
                <a:gd name="T10" fmla="*/ 100 w 146"/>
                <a:gd name="T11" fmla="*/ 27 h 145"/>
                <a:gd name="T12" fmla="*/ 94 w 146"/>
                <a:gd name="T13" fmla="*/ 33 h 145"/>
                <a:gd name="T14" fmla="*/ 96 w 146"/>
                <a:gd name="T15" fmla="*/ 40 h 145"/>
                <a:gd name="T16" fmla="*/ 89 w 146"/>
                <a:gd name="T17" fmla="*/ 46 h 145"/>
                <a:gd name="T18" fmla="*/ 82 w 146"/>
                <a:gd name="T19" fmla="*/ 45 h 145"/>
                <a:gd name="T20" fmla="*/ 68 w 146"/>
                <a:gd name="T21" fmla="*/ 43 h 145"/>
                <a:gd name="T22" fmla="*/ 63 w 146"/>
                <a:gd name="T23" fmla="*/ 38 h 145"/>
                <a:gd name="T24" fmla="*/ 60 w 146"/>
                <a:gd name="T25" fmla="*/ 35 h 145"/>
                <a:gd name="T26" fmla="*/ 59 w 146"/>
                <a:gd name="T27" fmla="*/ 36 h 145"/>
                <a:gd name="T28" fmla="*/ 57 w 146"/>
                <a:gd name="T29" fmla="*/ 38 h 145"/>
                <a:gd name="T30" fmla="*/ 45 w 146"/>
                <a:gd name="T31" fmla="*/ 55 h 145"/>
                <a:gd name="T32" fmla="*/ 40 w 146"/>
                <a:gd name="T33" fmla="*/ 60 h 145"/>
                <a:gd name="T34" fmla="*/ 32 w 146"/>
                <a:gd name="T35" fmla="*/ 62 h 145"/>
                <a:gd name="T36" fmla="*/ 26 w 146"/>
                <a:gd name="T37" fmla="*/ 67 h 145"/>
                <a:gd name="T38" fmla="*/ 3 w 146"/>
                <a:gd name="T39" fmla="*/ 82 h 145"/>
                <a:gd name="T40" fmla="*/ 1 w 146"/>
                <a:gd name="T41" fmla="*/ 83 h 145"/>
                <a:gd name="T42" fmla="*/ 0 w 146"/>
                <a:gd name="T43" fmla="*/ 84 h 145"/>
                <a:gd name="T44" fmla="*/ 10 w 146"/>
                <a:gd name="T45" fmla="*/ 88 h 145"/>
                <a:gd name="T46" fmla="*/ 23 w 146"/>
                <a:gd name="T47" fmla="*/ 94 h 145"/>
                <a:gd name="T48" fmla="*/ 23 w 146"/>
                <a:gd name="T49" fmla="*/ 105 h 145"/>
                <a:gd name="T50" fmla="*/ 31 w 146"/>
                <a:gd name="T51" fmla="*/ 120 h 145"/>
                <a:gd name="T52" fmla="*/ 26 w 146"/>
                <a:gd name="T53" fmla="*/ 118 h 145"/>
                <a:gd name="T54" fmla="*/ 19 w 146"/>
                <a:gd name="T55" fmla="*/ 120 h 145"/>
                <a:gd name="T56" fmla="*/ 15 w 146"/>
                <a:gd name="T57" fmla="*/ 131 h 145"/>
                <a:gd name="T58" fmla="*/ 8 w 146"/>
                <a:gd name="T59" fmla="*/ 133 h 145"/>
                <a:gd name="T60" fmla="*/ 18 w 146"/>
                <a:gd name="T61" fmla="*/ 138 h 145"/>
                <a:gd name="T62" fmla="*/ 22 w 146"/>
                <a:gd name="T63" fmla="*/ 141 h 145"/>
                <a:gd name="T64" fmla="*/ 22 w 146"/>
                <a:gd name="T65" fmla="*/ 142 h 145"/>
                <a:gd name="T66" fmla="*/ 26 w 146"/>
                <a:gd name="T67" fmla="*/ 140 h 145"/>
                <a:gd name="T68" fmla="*/ 25 w 146"/>
                <a:gd name="T69" fmla="*/ 143 h 145"/>
                <a:gd name="T70" fmla="*/ 24 w 146"/>
                <a:gd name="T71" fmla="*/ 145 h 145"/>
                <a:gd name="T72" fmla="*/ 33 w 146"/>
                <a:gd name="T73" fmla="*/ 138 h 145"/>
                <a:gd name="T74" fmla="*/ 40 w 146"/>
                <a:gd name="T75" fmla="*/ 142 h 145"/>
                <a:gd name="T76" fmla="*/ 46 w 146"/>
                <a:gd name="T77" fmla="*/ 142 h 145"/>
                <a:gd name="T78" fmla="*/ 53 w 146"/>
                <a:gd name="T79" fmla="*/ 141 h 145"/>
                <a:gd name="T80" fmla="*/ 54 w 146"/>
                <a:gd name="T81" fmla="*/ 139 h 145"/>
                <a:gd name="T82" fmla="*/ 58 w 146"/>
                <a:gd name="T83" fmla="*/ 133 h 145"/>
                <a:gd name="T84" fmla="*/ 63 w 146"/>
                <a:gd name="T85" fmla="*/ 128 h 145"/>
                <a:gd name="T86" fmla="*/ 72 w 146"/>
                <a:gd name="T87" fmla="*/ 127 h 145"/>
                <a:gd name="T88" fmla="*/ 87 w 146"/>
                <a:gd name="T89" fmla="*/ 125 h 145"/>
                <a:gd name="T90" fmla="*/ 89 w 146"/>
                <a:gd name="T91" fmla="*/ 123 h 145"/>
                <a:gd name="T92" fmla="*/ 92 w 146"/>
                <a:gd name="T93" fmla="*/ 119 h 145"/>
                <a:gd name="T94" fmla="*/ 93 w 146"/>
                <a:gd name="T95" fmla="*/ 118 h 145"/>
                <a:gd name="T96" fmla="*/ 88 w 146"/>
                <a:gd name="T97" fmla="*/ 112 h 145"/>
                <a:gd name="T98" fmla="*/ 74 w 146"/>
                <a:gd name="T99" fmla="*/ 104 h 145"/>
                <a:gd name="T100" fmla="*/ 76 w 146"/>
                <a:gd name="T101" fmla="*/ 101 h 145"/>
                <a:gd name="T102" fmla="*/ 77 w 146"/>
                <a:gd name="T103" fmla="*/ 93 h 145"/>
                <a:gd name="T104" fmla="*/ 94 w 146"/>
                <a:gd name="T105" fmla="*/ 81 h 145"/>
                <a:gd name="T106" fmla="*/ 128 w 146"/>
                <a:gd name="T107" fmla="*/ 56 h 145"/>
                <a:gd name="T108" fmla="*/ 127 w 146"/>
                <a:gd name="T109" fmla="*/ 49 h 145"/>
                <a:gd name="T110" fmla="*/ 128 w 146"/>
                <a:gd name="T111" fmla="*/ 43 h 145"/>
                <a:gd name="T112" fmla="*/ 144 w 146"/>
                <a:gd name="T113" fmla="*/ 17 h 145"/>
                <a:gd name="T114" fmla="*/ 146 w 146"/>
                <a:gd name="T115" fmla="*/ 17 h 145"/>
                <a:gd name="T116" fmla="*/ 144 w 146"/>
                <a:gd name="T117" fmla="*/ 14 h 145"/>
                <a:gd name="T118" fmla="*/ 136 w 146"/>
                <a:gd name="T119" fmla="*/ 7 h 145"/>
                <a:gd name="T120" fmla="*/ 137 w 146"/>
                <a:gd name="T121" fmla="*/ 4 h 145"/>
                <a:gd name="T122" fmla="*/ 134 w 146"/>
                <a:gd name="T123" fmla="*/ 0 h 1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 h="145">
                  <a:moveTo>
                    <a:pt x="133" y="0"/>
                  </a:moveTo>
                  <a:cubicBezTo>
                    <a:pt x="133" y="0"/>
                    <a:pt x="133" y="0"/>
                    <a:pt x="133" y="0"/>
                  </a:cubicBezTo>
                  <a:cubicBezTo>
                    <a:pt x="132" y="1"/>
                    <a:pt x="132" y="3"/>
                    <a:pt x="131" y="6"/>
                  </a:cubicBezTo>
                  <a:cubicBezTo>
                    <a:pt x="131" y="7"/>
                    <a:pt x="131" y="7"/>
                    <a:pt x="131" y="7"/>
                  </a:cubicBezTo>
                  <a:cubicBezTo>
                    <a:pt x="131" y="9"/>
                    <a:pt x="131" y="10"/>
                    <a:pt x="130" y="11"/>
                  </a:cubicBezTo>
                  <a:cubicBezTo>
                    <a:pt x="129" y="12"/>
                    <a:pt x="129" y="12"/>
                    <a:pt x="128" y="13"/>
                  </a:cubicBezTo>
                  <a:cubicBezTo>
                    <a:pt x="127" y="14"/>
                    <a:pt x="125" y="14"/>
                    <a:pt x="122" y="15"/>
                  </a:cubicBezTo>
                  <a:cubicBezTo>
                    <a:pt x="120" y="16"/>
                    <a:pt x="119" y="17"/>
                    <a:pt x="118" y="18"/>
                  </a:cubicBezTo>
                  <a:cubicBezTo>
                    <a:pt x="118" y="18"/>
                    <a:pt x="118" y="18"/>
                    <a:pt x="118" y="18"/>
                  </a:cubicBezTo>
                  <a:cubicBezTo>
                    <a:pt x="118" y="21"/>
                    <a:pt x="113" y="25"/>
                    <a:pt x="112" y="26"/>
                  </a:cubicBezTo>
                  <a:cubicBezTo>
                    <a:pt x="109" y="27"/>
                    <a:pt x="106" y="27"/>
                    <a:pt x="103" y="27"/>
                  </a:cubicBezTo>
                  <a:cubicBezTo>
                    <a:pt x="102" y="27"/>
                    <a:pt x="101" y="27"/>
                    <a:pt x="100" y="27"/>
                  </a:cubicBezTo>
                  <a:cubicBezTo>
                    <a:pt x="91" y="29"/>
                    <a:pt x="91" y="29"/>
                    <a:pt x="91" y="29"/>
                  </a:cubicBezTo>
                  <a:cubicBezTo>
                    <a:pt x="92" y="30"/>
                    <a:pt x="93" y="31"/>
                    <a:pt x="94" y="33"/>
                  </a:cubicBezTo>
                  <a:cubicBezTo>
                    <a:pt x="94" y="33"/>
                    <a:pt x="94" y="33"/>
                    <a:pt x="94" y="33"/>
                  </a:cubicBezTo>
                  <a:cubicBezTo>
                    <a:pt x="95" y="34"/>
                    <a:pt x="97" y="36"/>
                    <a:pt x="96" y="40"/>
                  </a:cubicBezTo>
                  <a:cubicBezTo>
                    <a:pt x="96" y="42"/>
                    <a:pt x="95" y="43"/>
                    <a:pt x="93" y="44"/>
                  </a:cubicBezTo>
                  <a:cubicBezTo>
                    <a:pt x="92" y="46"/>
                    <a:pt x="90" y="46"/>
                    <a:pt x="89" y="46"/>
                  </a:cubicBezTo>
                  <a:cubicBezTo>
                    <a:pt x="88" y="46"/>
                    <a:pt x="88" y="46"/>
                    <a:pt x="88" y="46"/>
                  </a:cubicBezTo>
                  <a:cubicBezTo>
                    <a:pt x="86" y="46"/>
                    <a:pt x="84" y="46"/>
                    <a:pt x="82" y="45"/>
                  </a:cubicBezTo>
                  <a:cubicBezTo>
                    <a:pt x="80" y="45"/>
                    <a:pt x="80" y="45"/>
                    <a:pt x="80" y="45"/>
                  </a:cubicBezTo>
                  <a:cubicBezTo>
                    <a:pt x="76" y="45"/>
                    <a:pt x="71" y="45"/>
                    <a:pt x="68" y="43"/>
                  </a:cubicBezTo>
                  <a:cubicBezTo>
                    <a:pt x="67" y="42"/>
                    <a:pt x="67" y="42"/>
                    <a:pt x="67" y="42"/>
                  </a:cubicBezTo>
                  <a:cubicBezTo>
                    <a:pt x="65" y="41"/>
                    <a:pt x="64" y="39"/>
                    <a:pt x="63" y="38"/>
                  </a:cubicBezTo>
                  <a:cubicBezTo>
                    <a:pt x="62" y="37"/>
                    <a:pt x="61" y="36"/>
                    <a:pt x="61" y="35"/>
                  </a:cubicBezTo>
                  <a:cubicBezTo>
                    <a:pt x="60" y="35"/>
                    <a:pt x="60" y="35"/>
                    <a:pt x="60" y="35"/>
                  </a:cubicBezTo>
                  <a:cubicBezTo>
                    <a:pt x="60" y="35"/>
                    <a:pt x="60" y="35"/>
                    <a:pt x="60" y="35"/>
                  </a:cubicBezTo>
                  <a:cubicBezTo>
                    <a:pt x="59" y="36"/>
                    <a:pt x="59" y="36"/>
                    <a:pt x="59" y="36"/>
                  </a:cubicBezTo>
                  <a:cubicBezTo>
                    <a:pt x="59" y="36"/>
                    <a:pt x="59" y="36"/>
                    <a:pt x="59" y="36"/>
                  </a:cubicBezTo>
                  <a:cubicBezTo>
                    <a:pt x="58" y="36"/>
                    <a:pt x="57" y="37"/>
                    <a:pt x="57" y="38"/>
                  </a:cubicBezTo>
                  <a:cubicBezTo>
                    <a:pt x="54" y="44"/>
                    <a:pt x="50" y="50"/>
                    <a:pt x="46" y="54"/>
                  </a:cubicBezTo>
                  <a:cubicBezTo>
                    <a:pt x="45" y="54"/>
                    <a:pt x="45" y="55"/>
                    <a:pt x="45" y="55"/>
                  </a:cubicBezTo>
                  <a:cubicBezTo>
                    <a:pt x="43" y="57"/>
                    <a:pt x="42" y="59"/>
                    <a:pt x="40" y="60"/>
                  </a:cubicBezTo>
                  <a:cubicBezTo>
                    <a:pt x="40" y="60"/>
                    <a:pt x="40" y="60"/>
                    <a:pt x="40" y="60"/>
                  </a:cubicBezTo>
                  <a:cubicBezTo>
                    <a:pt x="38" y="60"/>
                    <a:pt x="37" y="60"/>
                    <a:pt x="36" y="61"/>
                  </a:cubicBezTo>
                  <a:cubicBezTo>
                    <a:pt x="34" y="61"/>
                    <a:pt x="33" y="61"/>
                    <a:pt x="32" y="62"/>
                  </a:cubicBezTo>
                  <a:cubicBezTo>
                    <a:pt x="31" y="63"/>
                    <a:pt x="31" y="63"/>
                    <a:pt x="31" y="63"/>
                  </a:cubicBezTo>
                  <a:cubicBezTo>
                    <a:pt x="30" y="64"/>
                    <a:pt x="28" y="66"/>
                    <a:pt x="26" y="67"/>
                  </a:cubicBezTo>
                  <a:cubicBezTo>
                    <a:pt x="19" y="71"/>
                    <a:pt x="12" y="76"/>
                    <a:pt x="5" y="80"/>
                  </a:cubicBezTo>
                  <a:cubicBezTo>
                    <a:pt x="4" y="81"/>
                    <a:pt x="4" y="82"/>
                    <a:pt x="3" y="82"/>
                  </a:cubicBezTo>
                  <a:cubicBezTo>
                    <a:pt x="3" y="83"/>
                    <a:pt x="3" y="83"/>
                    <a:pt x="3" y="83"/>
                  </a:cubicBezTo>
                  <a:cubicBezTo>
                    <a:pt x="1" y="83"/>
                    <a:pt x="1" y="83"/>
                    <a:pt x="1" y="83"/>
                  </a:cubicBezTo>
                  <a:cubicBezTo>
                    <a:pt x="1" y="83"/>
                    <a:pt x="1" y="83"/>
                    <a:pt x="1" y="83"/>
                  </a:cubicBezTo>
                  <a:cubicBezTo>
                    <a:pt x="1" y="84"/>
                    <a:pt x="0" y="84"/>
                    <a:pt x="0" y="84"/>
                  </a:cubicBezTo>
                  <a:cubicBezTo>
                    <a:pt x="1" y="88"/>
                    <a:pt x="9" y="88"/>
                    <a:pt x="7" y="93"/>
                  </a:cubicBezTo>
                  <a:cubicBezTo>
                    <a:pt x="9" y="92"/>
                    <a:pt x="11" y="90"/>
                    <a:pt x="10" y="88"/>
                  </a:cubicBezTo>
                  <a:cubicBezTo>
                    <a:pt x="12" y="89"/>
                    <a:pt x="15" y="91"/>
                    <a:pt x="17" y="93"/>
                  </a:cubicBezTo>
                  <a:cubicBezTo>
                    <a:pt x="19" y="93"/>
                    <a:pt x="21" y="94"/>
                    <a:pt x="23" y="94"/>
                  </a:cubicBezTo>
                  <a:cubicBezTo>
                    <a:pt x="24" y="94"/>
                    <a:pt x="25" y="94"/>
                    <a:pt x="27" y="94"/>
                  </a:cubicBezTo>
                  <a:cubicBezTo>
                    <a:pt x="25" y="97"/>
                    <a:pt x="24" y="101"/>
                    <a:pt x="23" y="105"/>
                  </a:cubicBezTo>
                  <a:cubicBezTo>
                    <a:pt x="22" y="107"/>
                    <a:pt x="20" y="110"/>
                    <a:pt x="20" y="112"/>
                  </a:cubicBezTo>
                  <a:cubicBezTo>
                    <a:pt x="20" y="118"/>
                    <a:pt x="29" y="116"/>
                    <a:pt x="31" y="120"/>
                  </a:cubicBezTo>
                  <a:cubicBezTo>
                    <a:pt x="29" y="119"/>
                    <a:pt x="28" y="118"/>
                    <a:pt x="26" y="118"/>
                  </a:cubicBezTo>
                  <a:cubicBezTo>
                    <a:pt x="26" y="118"/>
                    <a:pt x="26" y="118"/>
                    <a:pt x="26" y="118"/>
                  </a:cubicBezTo>
                  <a:cubicBezTo>
                    <a:pt x="24" y="118"/>
                    <a:pt x="22" y="118"/>
                    <a:pt x="21" y="119"/>
                  </a:cubicBezTo>
                  <a:cubicBezTo>
                    <a:pt x="19" y="119"/>
                    <a:pt x="20" y="118"/>
                    <a:pt x="19" y="120"/>
                  </a:cubicBezTo>
                  <a:cubicBezTo>
                    <a:pt x="17" y="121"/>
                    <a:pt x="16" y="125"/>
                    <a:pt x="15" y="127"/>
                  </a:cubicBezTo>
                  <a:cubicBezTo>
                    <a:pt x="14" y="128"/>
                    <a:pt x="13" y="131"/>
                    <a:pt x="15" y="131"/>
                  </a:cubicBezTo>
                  <a:cubicBezTo>
                    <a:pt x="15" y="131"/>
                    <a:pt x="15" y="131"/>
                    <a:pt x="16" y="131"/>
                  </a:cubicBezTo>
                  <a:cubicBezTo>
                    <a:pt x="13" y="132"/>
                    <a:pt x="11" y="132"/>
                    <a:pt x="8" y="133"/>
                  </a:cubicBezTo>
                  <a:cubicBezTo>
                    <a:pt x="12" y="135"/>
                    <a:pt x="16" y="136"/>
                    <a:pt x="19" y="138"/>
                  </a:cubicBezTo>
                  <a:cubicBezTo>
                    <a:pt x="19" y="138"/>
                    <a:pt x="18" y="138"/>
                    <a:pt x="18" y="138"/>
                  </a:cubicBezTo>
                  <a:cubicBezTo>
                    <a:pt x="16" y="138"/>
                    <a:pt x="16" y="138"/>
                    <a:pt x="16" y="139"/>
                  </a:cubicBezTo>
                  <a:cubicBezTo>
                    <a:pt x="17" y="140"/>
                    <a:pt x="21" y="141"/>
                    <a:pt x="22" y="141"/>
                  </a:cubicBezTo>
                  <a:cubicBezTo>
                    <a:pt x="22" y="142"/>
                    <a:pt x="22" y="142"/>
                    <a:pt x="22" y="142"/>
                  </a:cubicBezTo>
                  <a:cubicBezTo>
                    <a:pt x="22" y="142"/>
                    <a:pt x="22" y="142"/>
                    <a:pt x="22" y="142"/>
                  </a:cubicBezTo>
                  <a:cubicBezTo>
                    <a:pt x="23" y="142"/>
                    <a:pt x="24" y="141"/>
                    <a:pt x="24" y="141"/>
                  </a:cubicBezTo>
                  <a:cubicBezTo>
                    <a:pt x="25" y="141"/>
                    <a:pt x="26" y="140"/>
                    <a:pt x="26" y="140"/>
                  </a:cubicBezTo>
                  <a:cubicBezTo>
                    <a:pt x="27" y="140"/>
                    <a:pt x="28" y="140"/>
                    <a:pt x="28" y="141"/>
                  </a:cubicBezTo>
                  <a:cubicBezTo>
                    <a:pt x="28" y="142"/>
                    <a:pt x="26" y="142"/>
                    <a:pt x="25" y="143"/>
                  </a:cubicBezTo>
                  <a:cubicBezTo>
                    <a:pt x="26" y="143"/>
                    <a:pt x="26" y="143"/>
                    <a:pt x="26" y="143"/>
                  </a:cubicBezTo>
                  <a:cubicBezTo>
                    <a:pt x="25" y="143"/>
                    <a:pt x="24" y="144"/>
                    <a:pt x="24" y="145"/>
                  </a:cubicBezTo>
                  <a:cubicBezTo>
                    <a:pt x="27" y="144"/>
                    <a:pt x="29" y="143"/>
                    <a:pt x="31" y="141"/>
                  </a:cubicBezTo>
                  <a:cubicBezTo>
                    <a:pt x="32" y="140"/>
                    <a:pt x="30" y="139"/>
                    <a:pt x="33" y="138"/>
                  </a:cubicBezTo>
                  <a:cubicBezTo>
                    <a:pt x="32" y="138"/>
                    <a:pt x="30" y="138"/>
                    <a:pt x="30" y="136"/>
                  </a:cubicBezTo>
                  <a:cubicBezTo>
                    <a:pt x="33" y="138"/>
                    <a:pt x="36" y="140"/>
                    <a:pt x="40" y="142"/>
                  </a:cubicBezTo>
                  <a:cubicBezTo>
                    <a:pt x="41" y="143"/>
                    <a:pt x="42" y="143"/>
                    <a:pt x="43" y="143"/>
                  </a:cubicBezTo>
                  <a:cubicBezTo>
                    <a:pt x="43" y="143"/>
                    <a:pt x="44" y="143"/>
                    <a:pt x="46" y="142"/>
                  </a:cubicBezTo>
                  <a:cubicBezTo>
                    <a:pt x="48" y="141"/>
                    <a:pt x="49" y="140"/>
                    <a:pt x="50" y="140"/>
                  </a:cubicBezTo>
                  <a:cubicBezTo>
                    <a:pt x="51" y="140"/>
                    <a:pt x="52" y="140"/>
                    <a:pt x="53" y="141"/>
                  </a:cubicBezTo>
                  <a:cubicBezTo>
                    <a:pt x="53" y="141"/>
                    <a:pt x="53" y="141"/>
                    <a:pt x="53" y="141"/>
                  </a:cubicBezTo>
                  <a:cubicBezTo>
                    <a:pt x="54" y="139"/>
                    <a:pt x="54" y="139"/>
                    <a:pt x="54" y="139"/>
                  </a:cubicBezTo>
                  <a:cubicBezTo>
                    <a:pt x="54" y="138"/>
                    <a:pt x="56" y="136"/>
                    <a:pt x="57" y="135"/>
                  </a:cubicBezTo>
                  <a:cubicBezTo>
                    <a:pt x="58" y="134"/>
                    <a:pt x="58" y="133"/>
                    <a:pt x="58" y="133"/>
                  </a:cubicBezTo>
                  <a:cubicBezTo>
                    <a:pt x="59" y="132"/>
                    <a:pt x="59" y="132"/>
                    <a:pt x="59" y="132"/>
                  </a:cubicBezTo>
                  <a:cubicBezTo>
                    <a:pt x="60" y="130"/>
                    <a:pt x="61" y="129"/>
                    <a:pt x="63" y="128"/>
                  </a:cubicBezTo>
                  <a:cubicBezTo>
                    <a:pt x="65" y="127"/>
                    <a:pt x="67" y="127"/>
                    <a:pt x="70" y="127"/>
                  </a:cubicBezTo>
                  <a:cubicBezTo>
                    <a:pt x="70" y="127"/>
                    <a:pt x="71" y="127"/>
                    <a:pt x="72" y="127"/>
                  </a:cubicBezTo>
                  <a:cubicBezTo>
                    <a:pt x="87" y="126"/>
                    <a:pt x="87" y="126"/>
                    <a:pt x="87" y="126"/>
                  </a:cubicBezTo>
                  <a:cubicBezTo>
                    <a:pt x="87" y="125"/>
                    <a:pt x="87" y="125"/>
                    <a:pt x="87" y="125"/>
                  </a:cubicBezTo>
                  <a:cubicBezTo>
                    <a:pt x="88" y="125"/>
                    <a:pt x="88" y="125"/>
                    <a:pt x="88" y="125"/>
                  </a:cubicBezTo>
                  <a:cubicBezTo>
                    <a:pt x="89" y="124"/>
                    <a:pt x="89" y="124"/>
                    <a:pt x="89" y="123"/>
                  </a:cubicBezTo>
                  <a:cubicBezTo>
                    <a:pt x="92" y="120"/>
                    <a:pt x="92" y="120"/>
                    <a:pt x="92" y="120"/>
                  </a:cubicBezTo>
                  <a:cubicBezTo>
                    <a:pt x="92" y="119"/>
                    <a:pt x="92" y="119"/>
                    <a:pt x="92" y="119"/>
                  </a:cubicBezTo>
                  <a:cubicBezTo>
                    <a:pt x="93" y="118"/>
                    <a:pt x="93" y="118"/>
                    <a:pt x="93" y="118"/>
                  </a:cubicBezTo>
                  <a:cubicBezTo>
                    <a:pt x="93" y="118"/>
                    <a:pt x="93" y="118"/>
                    <a:pt x="93" y="118"/>
                  </a:cubicBezTo>
                  <a:cubicBezTo>
                    <a:pt x="93" y="117"/>
                    <a:pt x="93" y="117"/>
                    <a:pt x="93" y="117"/>
                  </a:cubicBezTo>
                  <a:cubicBezTo>
                    <a:pt x="91" y="115"/>
                    <a:pt x="89" y="113"/>
                    <a:pt x="88" y="112"/>
                  </a:cubicBezTo>
                  <a:cubicBezTo>
                    <a:pt x="85" y="110"/>
                    <a:pt x="83" y="108"/>
                    <a:pt x="81" y="106"/>
                  </a:cubicBezTo>
                  <a:cubicBezTo>
                    <a:pt x="80" y="105"/>
                    <a:pt x="76" y="105"/>
                    <a:pt x="74" y="104"/>
                  </a:cubicBezTo>
                  <a:cubicBezTo>
                    <a:pt x="71" y="103"/>
                    <a:pt x="73" y="101"/>
                    <a:pt x="73" y="98"/>
                  </a:cubicBezTo>
                  <a:cubicBezTo>
                    <a:pt x="75" y="99"/>
                    <a:pt x="75" y="100"/>
                    <a:pt x="76" y="101"/>
                  </a:cubicBezTo>
                  <a:cubicBezTo>
                    <a:pt x="76" y="99"/>
                    <a:pt x="75" y="98"/>
                    <a:pt x="76" y="96"/>
                  </a:cubicBezTo>
                  <a:cubicBezTo>
                    <a:pt x="76" y="96"/>
                    <a:pt x="77" y="94"/>
                    <a:pt x="77" y="93"/>
                  </a:cubicBezTo>
                  <a:cubicBezTo>
                    <a:pt x="76" y="91"/>
                    <a:pt x="75" y="92"/>
                    <a:pt x="75" y="90"/>
                  </a:cubicBezTo>
                  <a:cubicBezTo>
                    <a:pt x="75" y="86"/>
                    <a:pt x="90" y="83"/>
                    <a:pt x="94" y="81"/>
                  </a:cubicBezTo>
                  <a:cubicBezTo>
                    <a:pt x="102" y="78"/>
                    <a:pt x="107" y="71"/>
                    <a:pt x="114" y="66"/>
                  </a:cubicBezTo>
                  <a:cubicBezTo>
                    <a:pt x="118" y="64"/>
                    <a:pt x="127" y="60"/>
                    <a:pt x="128" y="56"/>
                  </a:cubicBezTo>
                  <a:cubicBezTo>
                    <a:pt x="128" y="55"/>
                    <a:pt x="127" y="54"/>
                    <a:pt x="127" y="53"/>
                  </a:cubicBezTo>
                  <a:cubicBezTo>
                    <a:pt x="127" y="52"/>
                    <a:pt x="127" y="50"/>
                    <a:pt x="127" y="49"/>
                  </a:cubicBezTo>
                  <a:cubicBezTo>
                    <a:pt x="128" y="47"/>
                    <a:pt x="128" y="46"/>
                    <a:pt x="129" y="45"/>
                  </a:cubicBezTo>
                  <a:cubicBezTo>
                    <a:pt x="129" y="44"/>
                    <a:pt x="128" y="43"/>
                    <a:pt x="128" y="43"/>
                  </a:cubicBezTo>
                  <a:cubicBezTo>
                    <a:pt x="129" y="34"/>
                    <a:pt x="132" y="27"/>
                    <a:pt x="139" y="21"/>
                  </a:cubicBezTo>
                  <a:cubicBezTo>
                    <a:pt x="140" y="20"/>
                    <a:pt x="143" y="17"/>
                    <a:pt x="144" y="17"/>
                  </a:cubicBezTo>
                  <a:cubicBezTo>
                    <a:pt x="144" y="17"/>
                    <a:pt x="145" y="17"/>
                    <a:pt x="145" y="17"/>
                  </a:cubicBezTo>
                  <a:cubicBezTo>
                    <a:pt x="145" y="17"/>
                    <a:pt x="145" y="17"/>
                    <a:pt x="146" y="17"/>
                  </a:cubicBezTo>
                  <a:cubicBezTo>
                    <a:pt x="145" y="16"/>
                    <a:pt x="144" y="15"/>
                    <a:pt x="144" y="14"/>
                  </a:cubicBezTo>
                  <a:cubicBezTo>
                    <a:pt x="144" y="14"/>
                    <a:pt x="144" y="14"/>
                    <a:pt x="144" y="14"/>
                  </a:cubicBezTo>
                  <a:cubicBezTo>
                    <a:pt x="142" y="12"/>
                    <a:pt x="140" y="10"/>
                    <a:pt x="138" y="8"/>
                  </a:cubicBezTo>
                  <a:cubicBezTo>
                    <a:pt x="136" y="7"/>
                    <a:pt x="136" y="7"/>
                    <a:pt x="136" y="7"/>
                  </a:cubicBezTo>
                  <a:cubicBezTo>
                    <a:pt x="137" y="6"/>
                    <a:pt x="137" y="6"/>
                    <a:pt x="137" y="6"/>
                  </a:cubicBezTo>
                  <a:cubicBezTo>
                    <a:pt x="137" y="5"/>
                    <a:pt x="137" y="4"/>
                    <a:pt x="137" y="4"/>
                  </a:cubicBezTo>
                  <a:cubicBezTo>
                    <a:pt x="137" y="3"/>
                    <a:pt x="137" y="2"/>
                    <a:pt x="136" y="2"/>
                  </a:cubicBezTo>
                  <a:cubicBezTo>
                    <a:pt x="136" y="2"/>
                    <a:pt x="135" y="1"/>
                    <a:pt x="134" y="0"/>
                  </a:cubicBezTo>
                  <a:cubicBezTo>
                    <a:pt x="133" y="0"/>
                    <a:pt x="133" y="0"/>
                    <a:pt x="1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1564"/>
            <p:cNvSpPr>
              <a:spLocks noEditPoints="1"/>
            </p:cNvSpPr>
            <p:nvPr/>
          </p:nvSpPr>
          <p:spPr bwMode="auto">
            <a:xfrm>
              <a:off x="4812273" y="1885984"/>
              <a:ext cx="257728" cy="361089"/>
            </a:xfrm>
            <a:custGeom>
              <a:gdLst>
                <a:gd name="T0" fmla="*/ 54 w 81"/>
                <a:gd name="T1" fmla="*/ 98 h 114"/>
                <a:gd name="T2" fmla="*/ 54 w 81"/>
                <a:gd name="T3" fmla="*/ 0 h 114"/>
                <a:gd name="T4" fmla="*/ 52 w 81"/>
                <a:gd name="T5" fmla="*/ 2 h 114"/>
                <a:gd name="T6" fmla="*/ 50 w 81"/>
                <a:gd name="T7" fmla="*/ 5 h 114"/>
                <a:gd name="T8" fmla="*/ 44 w 81"/>
                <a:gd name="T9" fmla="*/ 8 h 114"/>
                <a:gd name="T10" fmla="*/ 27 w 81"/>
                <a:gd name="T11" fmla="*/ 10 h 114"/>
                <a:gd name="T12" fmla="*/ 21 w 81"/>
                <a:gd name="T13" fmla="*/ 12 h 114"/>
                <a:gd name="T14" fmla="*/ 19 w 81"/>
                <a:gd name="T15" fmla="*/ 15 h 114"/>
                <a:gd name="T16" fmla="*/ 16 w 81"/>
                <a:gd name="T17" fmla="*/ 19 h 114"/>
                <a:gd name="T18" fmla="*/ 15 w 81"/>
                <a:gd name="T19" fmla="*/ 20 h 114"/>
                <a:gd name="T20" fmla="*/ 14 w 81"/>
                <a:gd name="T21" fmla="*/ 24 h 114"/>
                <a:gd name="T22" fmla="*/ 10 w 81"/>
                <a:gd name="T23" fmla="*/ 22 h 114"/>
                <a:gd name="T24" fmla="*/ 10 w 81"/>
                <a:gd name="T25" fmla="*/ 21 h 114"/>
                <a:gd name="T26" fmla="*/ 11 w 81"/>
                <a:gd name="T27" fmla="*/ 25 h 114"/>
                <a:gd name="T28" fmla="*/ 17 w 81"/>
                <a:gd name="T29" fmla="*/ 34 h 114"/>
                <a:gd name="T30" fmla="*/ 13 w 81"/>
                <a:gd name="T31" fmla="*/ 37 h 114"/>
                <a:gd name="T32" fmla="*/ 14 w 81"/>
                <a:gd name="T33" fmla="*/ 37 h 114"/>
                <a:gd name="T34" fmla="*/ 17 w 81"/>
                <a:gd name="T35" fmla="*/ 37 h 114"/>
                <a:gd name="T36" fmla="*/ 17 w 81"/>
                <a:gd name="T37" fmla="*/ 40 h 114"/>
                <a:gd name="T38" fmla="*/ 16 w 81"/>
                <a:gd name="T39" fmla="*/ 47 h 114"/>
                <a:gd name="T40" fmla="*/ 15 w 81"/>
                <a:gd name="T41" fmla="*/ 44 h 114"/>
                <a:gd name="T42" fmla="*/ 14 w 81"/>
                <a:gd name="T43" fmla="*/ 43 h 114"/>
                <a:gd name="T44" fmla="*/ 12 w 81"/>
                <a:gd name="T45" fmla="*/ 43 h 114"/>
                <a:gd name="T46" fmla="*/ 9 w 81"/>
                <a:gd name="T47" fmla="*/ 40 h 114"/>
                <a:gd name="T48" fmla="*/ 6 w 81"/>
                <a:gd name="T49" fmla="*/ 41 h 114"/>
                <a:gd name="T50" fmla="*/ 3 w 81"/>
                <a:gd name="T51" fmla="*/ 47 h 114"/>
                <a:gd name="T52" fmla="*/ 1 w 81"/>
                <a:gd name="T53" fmla="*/ 46 h 114"/>
                <a:gd name="T54" fmla="*/ 0 w 81"/>
                <a:gd name="T55" fmla="*/ 47 h 114"/>
                <a:gd name="T56" fmla="*/ 7 w 81"/>
                <a:gd name="T57" fmla="*/ 48 h 114"/>
                <a:gd name="T58" fmla="*/ 8 w 81"/>
                <a:gd name="T59" fmla="*/ 56 h 114"/>
                <a:gd name="T60" fmla="*/ 17 w 81"/>
                <a:gd name="T61" fmla="*/ 66 h 114"/>
                <a:gd name="T62" fmla="*/ 11 w 81"/>
                <a:gd name="T63" fmla="*/ 71 h 114"/>
                <a:gd name="T64" fmla="*/ 12 w 81"/>
                <a:gd name="T65" fmla="*/ 71 h 114"/>
                <a:gd name="T66" fmla="*/ 15 w 81"/>
                <a:gd name="T67" fmla="*/ 74 h 114"/>
                <a:gd name="T68" fmla="*/ 8 w 81"/>
                <a:gd name="T69" fmla="*/ 79 h 114"/>
                <a:gd name="T70" fmla="*/ 4 w 81"/>
                <a:gd name="T71" fmla="*/ 88 h 114"/>
                <a:gd name="T72" fmla="*/ 3 w 81"/>
                <a:gd name="T73" fmla="*/ 92 h 114"/>
                <a:gd name="T74" fmla="*/ 7 w 81"/>
                <a:gd name="T75" fmla="*/ 100 h 114"/>
                <a:gd name="T76" fmla="*/ 9 w 81"/>
                <a:gd name="T77" fmla="*/ 100 h 114"/>
                <a:gd name="T78" fmla="*/ 12 w 81"/>
                <a:gd name="T79" fmla="*/ 100 h 114"/>
                <a:gd name="T80" fmla="*/ 6 w 81"/>
                <a:gd name="T81" fmla="*/ 102 h 114"/>
                <a:gd name="T82" fmla="*/ 11 w 81"/>
                <a:gd name="T83" fmla="*/ 105 h 114"/>
                <a:gd name="T84" fmla="*/ 9 w 81"/>
                <a:gd name="T85" fmla="*/ 105 h 114"/>
                <a:gd name="T86" fmla="*/ 3 w 81"/>
                <a:gd name="T87" fmla="*/ 104 h 114"/>
                <a:gd name="T88" fmla="*/ 5 w 81"/>
                <a:gd name="T89" fmla="*/ 106 h 114"/>
                <a:gd name="T90" fmla="*/ 19 w 81"/>
                <a:gd name="T91" fmla="*/ 104 h 114"/>
                <a:gd name="T92" fmla="*/ 28 w 81"/>
                <a:gd name="T93" fmla="*/ 102 h 114"/>
                <a:gd name="T94" fmla="*/ 29 w 81"/>
                <a:gd name="T95" fmla="*/ 109 h 114"/>
                <a:gd name="T96" fmla="*/ 32 w 81"/>
                <a:gd name="T97" fmla="*/ 105 h 114"/>
                <a:gd name="T98" fmla="*/ 33 w 81"/>
                <a:gd name="T99" fmla="*/ 98 h 114"/>
                <a:gd name="T100" fmla="*/ 38 w 81"/>
                <a:gd name="T101" fmla="*/ 100 h 114"/>
                <a:gd name="T102" fmla="*/ 45 w 81"/>
                <a:gd name="T103" fmla="*/ 93 h 114"/>
                <a:gd name="T104" fmla="*/ 53 w 81"/>
                <a:gd name="T105" fmla="*/ 99 h 114"/>
                <a:gd name="T106" fmla="*/ 54 w 81"/>
                <a:gd name="T107" fmla="*/ 98 h 114"/>
                <a:gd name="T108" fmla="*/ 59 w 81"/>
                <a:gd name="T109" fmla="*/ 93 h 114"/>
                <a:gd name="T110" fmla="*/ 66 w 81"/>
                <a:gd name="T111" fmla="*/ 91 h 114"/>
                <a:gd name="T112" fmla="*/ 68 w 81"/>
                <a:gd name="T113" fmla="*/ 92 h 114"/>
                <a:gd name="T114" fmla="*/ 81 w 81"/>
                <a:gd name="T115" fmla="*/ 66 h 114"/>
                <a:gd name="T116" fmla="*/ 76 w 81"/>
                <a:gd name="T117" fmla="*/ 67 h 114"/>
                <a:gd name="T118" fmla="*/ 73 w 81"/>
                <a:gd name="T119" fmla="*/ 32 h 114"/>
                <a:gd name="T120" fmla="*/ 54 w 81"/>
                <a:gd name="T121" fmla="*/ 0 h 1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 h="114">
                  <a:moveTo>
                    <a:pt x="54" y="98"/>
                  </a:moveTo>
                  <a:cubicBezTo>
                    <a:pt x="54" y="98"/>
                    <a:pt x="54" y="98"/>
                    <a:pt x="54" y="98"/>
                  </a:cubicBezTo>
                  <a:cubicBezTo>
                    <a:pt x="54" y="98"/>
                    <a:pt x="54" y="98"/>
                    <a:pt x="54" y="98"/>
                  </a:cubicBezTo>
                  <a:moveTo>
                    <a:pt x="54" y="0"/>
                  </a:moveTo>
                  <a:cubicBezTo>
                    <a:pt x="54" y="0"/>
                    <a:pt x="54" y="0"/>
                    <a:pt x="54" y="0"/>
                  </a:cubicBezTo>
                  <a:cubicBezTo>
                    <a:pt x="53" y="1"/>
                    <a:pt x="53" y="2"/>
                    <a:pt x="52" y="2"/>
                  </a:cubicBezTo>
                  <a:cubicBezTo>
                    <a:pt x="50" y="5"/>
                    <a:pt x="50" y="5"/>
                    <a:pt x="50" y="5"/>
                  </a:cubicBezTo>
                  <a:cubicBezTo>
                    <a:pt x="50" y="5"/>
                    <a:pt x="50" y="5"/>
                    <a:pt x="50" y="5"/>
                  </a:cubicBezTo>
                  <a:cubicBezTo>
                    <a:pt x="49" y="6"/>
                    <a:pt x="48" y="7"/>
                    <a:pt x="47" y="7"/>
                  </a:cubicBezTo>
                  <a:cubicBezTo>
                    <a:pt x="46" y="8"/>
                    <a:pt x="45" y="8"/>
                    <a:pt x="44" y="8"/>
                  </a:cubicBezTo>
                  <a:cubicBezTo>
                    <a:pt x="29" y="10"/>
                    <a:pt x="29" y="10"/>
                    <a:pt x="29" y="10"/>
                  </a:cubicBezTo>
                  <a:cubicBezTo>
                    <a:pt x="29" y="10"/>
                    <a:pt x="28" y="10"/>
                    <a:pt x="27" y="10"/>
                  </a:cubicBezTo>
                  <a:cubicBezTo>
                    <a:pt x="25" y="10"/>
                    <a:pt x="23" y="10"/>
                    <a:pt x="22" y="10"/>
                  </a:cubicBezTo>
                  <a:cubicBezTo>
                    <a:pt x="22" y="10"/>
                    <a:pt x="21" y="11"/>
                    <a:pt x="21" y="12"/>
                  </a:cubicBezTo>
                  <a:cubicBezTo>
                    <a:pt x="21" y="12"/>
                    <a:pt x="20" y="13"/>
                    <a:pt x="20" y="13"/>
                  </a:cubicBezTo>
                  <a:cubicBezTo>
                    <a:pt x="20" y="14"/>
                    <a:pt x="19" y="14"/>
                    <a:pt x="19" y="15"/>
                  </a:cubicBezTo>
                  <a:cubicBezTo>
                    <a:pt x="18" y="15"/>
                    <a:pt x="18" y="15"/>
                    <a:pt x="18" y="15"/>
                  </a:cubicBezTo>
                  <a:cubicBezTo>
                    <a:pt x="17" y="16"/>
                    <a:pt x="16" y="18"/>
                    <a:pt x="16" y="19"/>
                  </a:cubicBezTo>
                  <a:cubicBezTo>
                    <a:pt x="15" y="20"/>
                    <a:pt x="15" y="20"/>
                    <a:pt x="15" y="20"/>
                  </a:cubicBezTo>
                  <a:cubicBezTo>
                    <a:pt x="15" y="20"/>
                    <a:pt x="15" y="20"/>
                    <a:pt x="15" y="20"/>
                  </a:cubicBezTo>
                  <a:cubicBezTo>
                    <a:pt x="15" y="21"/>
                    <a:pt x="14" y="21"/>
                    <a:pt x="13" y="21"/>
                  </a:cubicBezTo>
                  <a:cubicBezTo>
                    <a:pt x="14" y="22"/>
                    <a:pt x="14" y="23"/>
                    <a:pt x="14" y="24"/>
                  </a:cubicBezTo>
                  <a:cubicBezTo>
                    <a:pt x="13" y="24"/>
                    <a:pt x="12" y="23"/>
                    <a:pt x="11" y="22"/>
                  </a:cubicBezTo>
                  <a:cubicBezTo>
                    <a:pt x="10" y="22"/>
                    <a:pt x="10" y="22"/>
                    <a:pt x="10" y="22"/>
                  </a:cubicBezTo>
                  <a:cubicBezTo>
                    <a:pt x="11" y="21"/>
                    <a:pt x="11" y="21"/>
                    <a:pt x="11" y="21"/>
                  </a:cubicBezTo>
                  <a:cubicBezTo>
                    <a:pt x="10" y="21"/>
                    <a:pt x="10" y="21"/>
                    <a:pt x="10" y="21"/>
                  </a:cubicBezTo>
                  <a:cubicBezTo>
                    <a:pt x="10" y="21"/>
                    <a:pt x="9" y="21"/>
                    <a:pt x="9" y="22"/>
                  </a:cubicBezTo>
                  <a:cubicBezTo>
                    <a:pt x="9" y="23"/>
                    <a:pt x="11" y="24"/>
                    <a:pt x="11" y="25"/>
                  </a:cubicBezTo>
                  <a:cubicBezTo>
                    <a:pt x="13" y="26"/>
                    <a:pt x="13" y="29"/>
                    <a:pt x="14" y="30"/>
                  </a:cubicBezTo>
                  <a:cubicBezTo>
                    <a:pt x="15" y="32"/>
                    <a:pt x="16" y="33"/>
                    <a:pt x="17" y="34"/>
                  </a:cubicBezTo>
                  <a:cubicBezTo>
                    <a:pt x="17" y="34"/>
                    <a:pt x="17" y="34"/>
                    <a:pt x="17" y="34"/>
                  </a:cubicBezTo>
                  <a:cubicBezTo>
                    <a:pt x="16" y="34"/>
                    <a:pt x="12" y="36"/>
                    <a:pt x="13" y="37"/>
                  </a:cubicBezTo>
                  <a:cubicBezTo>
                    <a:pt x="13" y="37"/>
                    <a:pt x="13" y="37"/>
                    <a:pt x="13" y="37"/>
                  </a:cubicBezTo>
                  <a:cubicBezTo>
                    <a:pt x="13" y="37"/>
                    <a:pt x="13" y="37"/>
                    <a:pt x="14" y="37"/>
                  </a:cubicBezTo>
                  <a:cubicBezTo>
                    <a:pt x="15" y="37"/>
                    <a:pt x="15" y="37"/>
                    <a:pt x="16" y="37"/>
                  </a:cubicBezTo>
                  <a:cubicBezTo>
                    <a:pt x="16" y="37"/>
                    <a:pt x="17" y="37"/>
                    <a:pt x="17" y="37"/>
                  </a:cubicBezTo>
                  <a:cubicBezTo>
                    <a:pt x="16" y="38"/>
                    <a:pt x="15" y="39"/>
                    <a:pt x="15" y="40"/>
                  </a:cubicBezTo>
                  <a:cubicBezTo>
                    <a:pt x="15" y="40"/>
                    <a:pt x="16" y="40"/>
                    <a:pt x="17" y="40"/>
                  </a:cubicBezTo>
                  <a:cubicBezTo>
                    <a:pt x="15" y="42"/>
                    <a:pt x="19" y="43"/>
                    <a:pt x="20" y="43"/>
                  </a:cubicBezTo>
                  <a:cubicBezTo>
                    <a:pt x="18" y="44"/>
                    <a:pt x="17" y="44"/>
                    <a:pt x="16" y="47"/>
                  </a:cubicBezTo>
                  <a:cubicBezTo>
                    <a:pt x="16" y="46"/>
                    <a:pt x="17" y="44"/>
                    <a:pt x="16" y="44"/>
                  </a:cubicBezTo>
                  <a:cubicBezTo>
                    <a:pt x="16" y="44"/>
                    <a:pt x="15" y="44"/>
                    <a:pt x="15" y="44"/>
                  </a:cubicBezTo>
                  <a:cubicBezTo>
                    <a:pt x="15" y="43"/>
                    <a:pt x="15" y="42"/>
                    <a:pt x="15" y="42"/>
                  </a:cubicBezTo>
                  <a:cubicBezTo>
                    <a:pt x="14" y="42"/>
                    <a:pt x="14" y="42"/>
                    <a:pt x="14" y="43"/>
                  </a:cubicBezTo>
                  <a:cubicBezTo>
                    <a:pt x="13" y="42"/>
                    <a:pt x="13" y="42"/>
                    <a:pt x="13" y="41"/>
                  </a:cubicBezTo>
                  <a:cubicBezTo>
                    <a:pt x="13" y="42"/>
                    <a:pt x="12" y="43"/>
                    <a:pt x="12" y="43"/>
                  </a:cubicBezTo>
                  <a:cubicBezTo>
                    <a:pt x="12" y="42"/>
                    <a:pt x="11" y="41"/>
                    <a:pt x="10" y="40"/>
                  </a:cubicBezTo>
                  <a:cubicBezTo>
                    <a:pt x="10" y="40"/>
                    <a:pt x="9" y="40"/>
                    <a:pt x="9" y="40"/>
                  </a:cubicBezTo>
                  <a:cubicBezTo>
                    <a:pt x="8" y="40"/>
                    <a:pt x="8" y="43"/>
                    <a:pt x="8" y="45"/>
                  </a:cubicBezTo>
                  <a:cubicBezTo>
                    <a:pt x="8" y="44"/>
                    <a:pt x="7" y="41"/>
                    <a:pt x="6" y="41"/>
                  </a:cubicBezTo>
                  <a:cubicBezTo>
                    <a:pt x="6" y="41"/>
                    <a:pt x="6" y="41"/>
                    <a:pt x="6" y="41"/>
                  </a:cubicBezTo>
                  <a:cubicBezTo>
                    <a:pt x="3" y="41"/>
                    <a:pt x="5" y="45"/>
                    <a:pt x="3" y="47"/>
                  </a:cubicBezTo>
                  <a:cubicBezTo>
                    <a:pt x="3" y="45"/>
                    <a:pt x="4" y="43"/>
                    <a:pt x="4" y="42"/>
                  </a:cubicBezTo>
                  <a:cubicBezTo>
                    <a:pt x="3" y="46"/>
                    <a:pt x="1" y="42"/>
                    <a:pt x="1" y="46"/>
                  </a:cubicBezTo>
                  <a:cubicBezTo>
                    <a:pt x="0" y="45"/>
                    <a:pt x="0" y="45"/>
                    <a:pt x="0" y="45"/>
                  </a:cubicBezTo>
                  <a:cubicBezTo>
                    <a:pt x="0" y="46"/>
                    <a:pt x="0" y="47"/>
                    <a:pt x="0" y="47"/>
                  </a:cubicBezTo>
                  <a:cubicBezTo>
                    <a:pt x="2" y="48"/>
                    <a:pt x="5" y="47"/>
                    <a:pt x="7" y="49"/>
                  </a:cubicBezTo>
                  <a:cubicBezTo>
                    <a:pt x="7" y="49"/>
                    <a:pt x="7" y="48"/>
                    <a:pt x="7" y="48"/>
                  </a:cubicBezTo>
                  <a:cubicBezTo>
                    <a:pt x="8" y="48"/>
                    <a:pt x="8" y="49"/>
                    <a:pt x="8" y="51"/>
                  </a:cubicBezTo>
                  <a:cubicBezTo>
                    <a:pt x="8" y="53"/>
                    <a:pt x="8" y="54"/>
                    <a:pt x="8" y="56"/>
                  </a:cubicBezTo>
                  <a:cubicBezTo>
                    <a:pt x="9" y="58"/>
                    <a:pt x="11" y="63"/>
                    <a:pt x="8" y="64"/>
                  </a:cubicBezTo>
                  <a:cubicBezTo>
                    <a:pt x="11" y="65"/>
                    <a:pt x="14" y="66"/>
                    <a:pt x="17" y="66"/>
                  </a:cubicBezTo>
                  <a:cubicBezTo>
                    <a:pt x="16" y="67"/>
                    <a:pt x="11" y="69"/>
                    <a:pt x="11" y="70"/>
                  </a:cubicBezTo>
                  <a:cubicBezTo>
                    <a:pt x="11" y="71"/>
                    <a:pt x="11" y="71"/>
                    <a:pt x="11" y="71"/>
                  </a:cubicBezTo>
                  <a:cubicBezTo>
                    <a:pt x="11" y="71"/>
                    <a:pt x="12" y="71"/>
                    <a:pt x="12" y="71"/>
                  </a:cubicBezTo>
                  <a:cubicBezTo>
                    <a:pt x="12" y="71"/>
                    <a:pt x="12" y="71"/>
                    <a:pt x="12" y="71"/>
                  </a:cubicBezTo>
                  <a:cubicBezTo>
                    <a:pt x="12" y="71"/>
                    <a:pt x="12" y="71"/>
                    <a:pt x="12" y="71"/>
                  </a:cubicBezTo>
                  <a:cubicBezTo>
                    <a:pt x="12" y="71"/>
                    <a:pt x="15" y="74"/>
                    <a:pt x="15" y="74"/>
                  </a:cubicBezTo>
                  <a:cubicBezTo>
                    <a:pt x="15" y="74"/>
                    <a:pt x="15" y="74"/>
                    <a:pt x="14" y="74"/>
                  </a:cubicBezTo>
                  <a:cubicBezTo>
                    <a:pt x="12" y="74"/>
                    <a:pt x="7" y="77"/>
                    <a:pt x="8" y="79"/>
                  </a:cubicBezTo>
                  <a:cubicBezTo>
                    <a:pt x="8" y="79"/>
                    <a:pt x="11" y="79"/>
                    <a:pt x="12" y="80"/>
                  </a:cubicBezTo>
                  <a:cubicBezTo>
                    <a:pt x="9" y="81"/>
                    <a:pt x="5" y="84"/>
                    <a:pt x="4" y="88"/>
                  </a:cubicBezTo>
                  <a:cubicBezTo>
                    <a:pt x="4" y="90"/>
                    <a:pt x="6" y="92"/>
                    <a:pt x="7" y="94"/>
                  </a:cubicBezTo>
                  <a:cubicBezTo>
                    <a:pt x="6" y="93"/>
                    <a:pt x="4" y="92"/>
                    <a:pt x="3" y="92"/>
                  </a:cubicBezTo>
                  <a:cubicBezTo>
                    <a:pt x="3" y="94"/>
                    <a:pt x="4" y="96"/>
                    <a:pt x="5" y="97"/>
                  </a:cubicBezTo>
                  <a:cubicBezTo>
                    <a:pt x="6" y="101"/>
                    <a:pt x="5" y="99"/>
                    <a:pt x="7" y="100"/>
                  </a:cubicBezTo>
                  <a:cubicBezTo>
                    <a:pt x="7" y="100"/>
                    <a:pt x="7" y="100"/>
                    <a:pt x="8" y="100"/>
                  </a:cubicBezTo>
                  <a:cubicBezTo>
                    <a:pt x="8" y="100"/>
                    <a:pt x="9" y="100"/>
                    <a:pt x="9" y="100"/>
                  </a:cubicBezTo>
                  <a:cubicBezTo>
                    <a:pt x="10" y="99"/>
                    <a:pt x="10" y="99"/>
                    <a:pt x="10" y="99"/>
                  </a:cubicBezTo>
                  <a:cubicBezTo>
                    <a:pt x="11" y="99"/>
                    <a:pt x="11" y="99"/>
                    <a:pt x="12" y="100"/>
                  </a:cubicBezTo>
                  <a:cubicBezTo>
                    <a:pt x="11" y="100"/>
                    <a:pt x="10" y="100"/>
                    <a:pt x="9" y="101"/>
                  </a:cubicBezTo>
                  <a:cubicBezTo>
                    <a:pt x="9" y="102"/>
                    <a:pt x="7" y="101"/>
                    <a:pt x="6" y="102"/>
                  </a:cubicBezTo>
                  <a:cubicBezTo>
                    <a:pt x="6" y="102"/>
                    <a:pt x="6" y="102"/>
                    <a:pt x="6" y="102"/>
                  </a:cubicBezTo>
                  <a:cubicBezTo>
                    <a:pt x="8" y="102"/>
                    <a:pt x="10" y="103"/>
                    <a:pt x="11" y="105"/>
                  </a:cubicBezTo>
                  <a:cubicBezTo>
                    <a:pt x="10" y="105"/>
                    <a:pt x="10" y="105"/>
                    <a:pt x="10" y="105"/>
                  </a:cubicBezTo>
                  <a:cubicBezTo>
                    <a:pt x="9" y="105"/>
                    <a:pt x="9" y="105"/>
                    <a:pt x="9" y="105"/>
                  </a:cubicBezTo>
                  <a:cubicBezTo>
                    <a:pt x="7" y="106"/>
                    <a:pt x="7" y="106"/>
                    <a:pt x="7" y="106"/>
                  </a:cubicBezTo>
                  <a:cubicBezTo>
                    <a:pt x="6" y="106"/>
                    <a:pt x="5" y="104"/>
                    <a:pt x="3" y="104"/>
                  </a:cubicBezTo>
                  <a:cubicBezTo>
                    <a:pt x="3" y="104"/>
                    <a:pt x="3" y="104"/>
                    <a:pt x="3" y="104"/>
                  </a:cubicBezTo>
                  <a:cubicBezTo>
                    <a:pt x="3" y="106"/>
                    <a:pt x="4" y="105"/>
                    <a:pt x="5" y="106"/>
                  </a:cubicBezTo>
                  <a:cubicBezTo>
                    <a:pt x="7" y="108"/>
                    <a:pt x="8" y="111"/>
                    <a:pt x="9" y="114"/>
                  </a:cubicBezTo>
                  <a:cubicBezTo>
                    <a:pt x="12" y="109"/>
                    <a:pt x="14" y="106"/>
                    <a:pt x="19" y="104"/>
                  </a:cubicBezTo>
                  <a:cubicBezTo>
                    <a:pt x="20" y="104"/>
                    <a:pt x="25" y="101"/>
                    <a:pt x="27" y="101"/>
                  </a:cubicBezTo>
                  <a:cubicBezTo>
                    <a:pt x="28" y="101"/>
                    <a:pt x="28" y="101"/>
                    <a:pt x="28" y="102"/>
                  </a:cubicBezTo>
                  <a:cubicBezTo>
                    <a:pt x="28" y="103"/>
                    <a:pt x="23" y="105"/>
                    <a:pt x="23" y="107"/>
                  </a:cubicBezTo>
                  <a:cubicBezTo>
                    <a:pt x="23" y="107"/>
                    <a:pt x="28" y="109"/>
                    <a:pt x="29" y="109"/>
                  </a:cubicBezTo>
                  <a:cubicBezTo>
                    <a:pt x="29" y="109"/>
                    <a:pt x="29" y="109"/>
                    <a:pt x="29" y="109"/>
                  </a:cubicBezTo>
                  <a:cubicBezTo>
                    <a:pt x="30" y="109"/>
                    <a:pt x="32" y="105"/>
                    <a:pt x="32" y="105"/>
                  </a:cubicBezTo>
                  <a:cubicBezTo>
                    <a:pt x="32" y="104"/>
                    <a:pt x="31" y="104"/>
                    <a:pt x="31" y="104"/>
                  </a:cubicBezTo>
                  <a:cubicBezTo>
                    <a:pt x="30" y="102"/>
                    <a:pt x="31" y="100"/>
                    <a:pt x="33" y="98"/>
                  </a:cubicBezTo>
                  <a:cubicBezTo>
                    <a:pt x="32" y="100"/>
                    <a:pt x="34" y="104"/>
                    <a:pt x="35" y="104"/>
                  </a:cubicBezTo>
                  <a:cubicBezTo>
                    <a:pt x="35" y="103"/>
                    <a:pt x="38" y="102"/>
                    <a:pt x="38" y="100"/>
                  </a:cubicBezTo>
                  <a:cubicBezTo>
                    <a:pt x="39" y="99"/>
                    <a:pt x="38" y="98"/>
                    <a:pt x="38" y="96"/>
                  </a:cubicBezTo>
                  <a:cubicBezTo>
                    <a:pt x="38" y="95"/>
                    <a:pt x="44" y="93"/>
                    <a:pt x="45" y="93"/>
                  </a:cubicBezTo>
                  <a:cubicBezTo>
                    <a:pt x="44" y="95"/>
                    <a:pt x="48" y="96"/>
                    <a:pt x="49" y="97"/>
                  </a:cubicBezTo>
                  <a:cubicBezTo>
                    <a:pt x="51" y="97"/>
                    <a:pt x="52" y="99"/>
                    <a:pt x="53" y="99"/>
                  </a:cubicBezTo>
                  <a:cubicBezTo>
                    <a:pt x="54" y="99"/>
                    <a:pt x="54" y="98"/>
                    <a:pt x="54" y="98"/>
                  </a:cubicBezTo>
                  <a:cubicBezTo>
                    <a:pt x="54" y="98"/>
                    <a:pt x="54" y="98"/>
                    <a:pt x="54" y="98"/>
                  </a:cubicBezTo>
                  <a:cubicBezTo>
                    <a:pt x="54" y="98"/>
                    <a:pt x="54" y="96"/>
                    <a:pt x="54" y="96"/>
                  </a:cubicBezTo>
                  <a:cubicBezTo>
                    <a:pt x="54" y="95"/>
                    <a:pt x="58" y="94"/>
                    <a:pt x="59" y="93"/>
                  </a:cubicBezTo>
                  <a:cubicBezTo>
                    <a:pt x="58" y="92"/>
                    <a:pt x="58" y="90"/>
                    <a:pt x="58" y="89"/>
                  </a:cubicBezTo>
                  <a:cubicBezTo>
                    <a:pt x="60" y="91"/>
                    <a:pt x="64" y="91"/>
                    <a:pt x="66" y="91"/>
                  </a:cubicBezTo>
                  <a:cubicBezTo>
                    <a:pt x="67" y="91"/>
                    <a:pt x="67" y="93"/>
                    <a:pt x="68" y="93"/>
                  </a:cubicBezTo>
                  <a:cubicBezTo>
                    <a:pt x="68" y="93"/>
                    <a:pt x="68" y="93"/>
                    <a:pt x="68" y="92"/>
                  </a:cubicBezTo>
                  <a:cubicBezTo>
                    <a:pt x="69" y="92"/>
                    <a:pt x="72" y="91"/>
                    <a:pt x="73" y="89"/>
                  </a:cubicBezTo>
                  <a:cubicBezTo>
                    <a:pt x="76" y="81"/>
                    <a:pt x="79" y="75"/>
                    <a:pt x="81" y="66"/>
                  </a:cubicBezTo>
                  <a:cubicBezTo>
                    <a:pt x="79" y="66"/>
                    <a:pt x="78" y="67"/>
                    <a:pt x="76" y="67"/>
                  </a:cubicBezTo>
                  <a:cubicBezTo>
                    <a:pt x="76" y="67"/>
                    <a:pt x="76" y="67"/>
                    <a:pt x="76" y="67"/>
                  </a:cubicBezTo>
                  <a:cubicBezTo>
                    <a:pt x="77" y="57"/>
                    <a:pt x="76" y="47"/>
                    <a:pt x="76" y="38"/>
                  </a:cubicBezTo>
                  <a:cubicBezTo>
                    <a:pt x="76" y="36"/>
                    <a:pt x="74" y="34"/>
                    <a:pt x="73" y="32"/>
                  </a:cubicBezTo>
                  <a:cubicBezTo>
                    <a:pt x="70" y="27"/>
                    <a:pt x="68" y="23"/>
                    <a:pt x="65" y="18"/>
                  </a:cubicBezTo>
                  <a:cubicBezTo>
                    <a:pt x="61" y="12"/>
                    <a:pt x="58" y="6"/>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1565"/>
            <p:cNvSpPr/>
            <p:nvPr/>
          </p:nvSpPr>
          <p:spPr bwMode="auto">
            <a:xfrm>
              <a:off x="4727706" y="5534456"/>
              <a:ext cx="170477" cy="79198"/>
            </a:xfrm>
            <a:custGeom>
              <a:gdLst>
                <a:gd name="T0" fmla="*/ 52 w 54"/>
                <a:gd name="T1" fmla="*/ 0 h 25"/>
                <a:gd name="T2" fmla="*/ 18 w 54"/>
                <a:gd name="T3" fmla="*/ 4 h 25"/>
                <a:gd name="T4" fmla="*/ 7 w 54"/>
                <a:gd name="T5" fmla="*/ 6 h 25"/>
                <a:gd name="T6" fmla="*/ 0 w 54"/>
                <a:gd name="T7" fmla="*/ 12 h 25"/>
                <a:gd name="T8" fmla="*/ 1 w 54"/>
                <a:gd name="T9" fmla="*/ 12 h 25"/>
                <a:gd name="T10" fmla="*/ 1 w 54"/>
                <a:gd name="T11" fmla="*/ 12 h 25"/>
                <a:gd name="T12" fmla="*/ 4 w 54"/>
                <a:gd name="T13" fmla="*/ 13 h 25"/>
                <a:gd name="T14" fmla="*/ 5 w 54"/>
                <a:gd name="T15" fmla="*/ 13 h 25"/>
                <a:gd name="T16" fmla="*/ 5 w 54"/>
                <a:gd name="T17" fmla="*/ 13 h 25"/>
                <a:gd name="T18" fmla="*/ 6 w 54"/>
                <a:gd name="T19" fmla="*/ 15 h 25"/>
                <a:gd name="T20" fmla="*/ 6 w 54"/>
                <a:gd name="T21" fmla="*/ 15 h 25"/>
                <a:gd name="T22" fmla="*/ 7 w 54"/>
                <a:gd name="T23" fmla="*/ 16 h 25"/>
                <a:gd name="T24" fmla="*/ 7 w 54"/>
                <a:gd name="T25" fmla="*/ 18 h 25"/>
                <a:gd name="T26" fmla="*/ 7 w 54"/>
                <a:gd name="T27" fmla="*/ 19 h 25"/>
                <a:gd name="T28" fmla="*/ 6 w 54"/>
                <a:gd name="T29" fmla="*/ 20 h 25"/>
                <a:gd name="T30" fmla="*/ 6 w 54"/>
                <a:gd name="T31" fmla="*/ 20 h 25"/>
                <a:gd name="T32" fmla="*/ 5 w 54"/>
                <a:gd name="T33" fmla="*/ 24 h 25"/>
                <a:gd name="T34" fmla="*/ 5 w 54"/>
                <a:gd name="T35" fmla="*/ 25 h 25"/>
                <a:gd name="T36" fmla="*/ 33 w 54"/>
                <a:gd name="T37" fmla="*/ 14 h 25"/>
                <a:gd name="T38" fmla="*/ 46 w 54"/>
                <a:gd name="T39" fmla="*/ 8 h 25"/>
                <a:gd name="T40" fmla="*/ 53 w 54"/>
                <a:gd name="T41" fmla="*/ 3 h 25"/>
                <a:gd name="T42" fmla="*/ 52 w 54"/>
                <a:gd name="T43"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25">
                  <a:moveTo>
                    <a:pt x="52" y="0"/>
                  </a:moveTo>
                  <a:cubicBezTo>
                    <a:pt x="41" y="1"/>
                    <a:pt x="29" y="3"/>
                    <a:pt x="18" y="4"/>
                  </a:cubicBezTo>
                  <a:cubicBezTo>
                    <a:pt x="14" y="5"/>
                    <a:pt x="11" y="5"/>
                    <a:pt x="7" y="6"/>
                  </a:cubicBezTo>
                  <a:cubicBezTo>
                    <a:pt x="3" y="7"/>
                    <a:pt x="2" y="9"/>
                    <a:pt x="0" y="12"/>
                  </a:cubicBezTo>
                  <a:cubicBezTo>
                    <a:pt x="1" y="12"/>
                    <a:pt x="1" y="12"/>
                    <a:pt x="1" y="12"/>
                  </a:cubicBezTo>
                  <a:cubicBezTo>
                    <a:pt x="1" y="12"/>
                    <a:pt x="1" y="12"/>
                    <a:pt x="1" y="12"/>
                  </a:cubicBezTo>
                  <a:cubicBezTo>
                    <a:pt x="2" y="12"/>
                    <a:pt x="3" y="12"/>
                    <a:pt x="4" y="13"/>
                  </a:cubicBezTo>
                  <a:cubicBezTo>
                    <a:pt x="5" y="13"/>
                    <a:pt x="5" y="13"/>
                    <a:pt x="5" y="13"/>
                  </a:cubicBezTo>
                  <a:cubicBezTo>
                    <a:pt x="5" y="13"/>
                    <a:pt x="5" y="13"/>
                    <a:pt x="5" y="13"/>
                  </a:cubicBezTo>
                  <a:cubicBezTo>
                    <a:pt x="5" y="14"/>
                    <a:pt x="6" y="14"/>
                    <a:pt x="6" y="15"/>
                  </a:cubicBezTo>
                  <a:cubicBezTo>
                    <a:pt x="6" y="15"/>
                    <a:pt x="6" y="15"/>
                    <a:pt x="6" y="15"/>
                  </a:cubicBezTo>
                  <a:cubicBezTo>
                    <a:pt x="7" y="16"/>
                    <a:pt x="7" y="16"/>
                    <a:pt x="7" y="16"/>
                  </a:cubicBezTo>
                  <a:cubicBezTo>
                    <a:pt x="7" y="17"/>
                    <a:pt x="7" y="17"/>
                    <a:pt x="7" y="18"/>
                  </a:cubicBezTo>
                  <a:cubicBezTo>
                    <a:pt x="7" y="19"/>
                    <a:pt x="7" y="19"/>
                    <a:pt x="7" y="19"/>
                  </a:cubicBezTo>
                  <a:cubicBezTo>
                    <a:pt x="7" y="19"/>
                    <a:pt x="6" y="20"/>
                    <a:pt x="6" y="20"/>
                  </a:cubicBezTo>
                  <a:cubicBezTo>
                    <a:pt x="6" y="20"/>
                    <a:pt x="6" y="20"/>
                    <a:pt x="6" y="20"/>
                  </a:cubicBezTo>
                  <a:cubicBezTo>
                    <a:pt x="6" y="21"/>
                    <a:pt x="5" y="23"/>
                    <a:pt x="5" y="24"/>
                  </a:cubicBezTo>
                  <a:cubicBezTo>
                    <a:pt x="5" y="25"/>
                    <a:pt x="5" y="25"/>
                    <a:pt x="5" y="25"/>
                  </a:cubicBezTo>
                  <a:cubicBezTo>
                    <a:pt x="14" y="21"/>
                    <a:pt x="23" y="17"/>
                    <a:pt x="33" y="14"/>
                  </a:cubicBezTo>
                  <a:cubicBezTo>
                    <a:pt x="38" y="13"/>
                    <a:pt x="42" y="10"/>
                    <a:pt x="46" y="8"/>
                  </a:cubicBezTo>
                  <a:cubicBezTo>
                    <a:pt x="48" y="7"/>
                    <a:pt x="52" y="5"/>
                    <a:pt x="53" y="3"/>
                  </a:cubicBezTo>
                  <a:cubicBezTo>
                    <a:pt x="54" y="1"/>
                    <a:pt x="54" y="1"/>
                    <a:pt x="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1566"/>
            <p:cNvSpPr/>
            <p:nvPr/>
          </p:nvSpPr>
          <p:spPr bwMode="auto">
            <a:xfrm>
              <a:off x="4613608" y="5582780"/>
              <a:ext cx="119468" cy="104702"/>
            </a:xfrm>
            <a:custGeom>
              <a:gdLst>
                <a:gd name="T0" fmla="*/ 34 w 38"/>
                <a:gd name="T1" fmla="*/ 0 h 33"/>
                <a:gd name="T2" fmla="*/ 27 w 38"/>
                <a:gd name="T3" fmla="*/ 3 h 33"/>
                <a:gd name="T4" fmla="*/ 27 w 38"/>
                <a:gd name="T5" fmla="*/ 3 h 33"/>
                <a:gd name="T6" fmla="*/ 27 w 38"/>
                <a:gd name="T7" fmla="*/ 4 h 33"/>
                <a:gd name="T8" fmla="*/ 25 w 38"/>
                <a:gd name="T9" fmla="*/ 10 h 33"/>
                <a:gd name="T10" fmla="*/ 23 w 38"/>
                <a:gd name="T11" fmla="*/ 14 h 33"/>
                <a:gd name="T12" fmla="*/ 22 w 38"/>
                <a:gd name="T13" fmla="*/ 15 h 33"/>
                <a:gd name="T14" fmla="*/ 8 w 38"/>
                <a:gd name="T15" fmla="*/ 13 h 33"/>
                <a:gd name="T16" fmla="*/ 8 w 38"/>
                <a:gd name="T17" fmla="*/ 13 h 33"/>
                <a:gd name="T18" fmla="*/ 5 w 38"/>
                <a:gd name="T19" fmla="*/ 15 h 33"/>
                <a:gd name="T20" fmla="*/ 5 w 38"/>
                <a:gd name="T21" fmla="*/ 21 h 33"/>
                <a:gd name="T22" fmla="*/ 6 w 38"/>
                <a:gd name="T23" fmla="*/ 25 h 33"/>
                <a:gd name="T24" fmla="*/ 7 w 38"/>
                <a:gd name="T25" fmla="*/ 26 h 33"/>
                <a:gd name="T26" fmla="*/ 0 w 38"/>
                <a:gd name="T27" fmla="*/ 33 h 33"/>
                <a:gd name="T28" fmla="*/ 14 w 38"/>
                <a:gd name="T29" fmla="*/ 29 h 33"/>
                <a:gd name="T30" fmla="*/ 23 w 38"/>
                <a:gd name="T31" fmla="*/ 28 h 33"/>
                <a:gd name="T32" fmla="*/ 37 w 38"/>
                <a:gd name="T33" fmla="*/ 13 h 33"/>
                <a:gd name="T34" fmla="*/ 36 w 38"/>
                <a:gd name="T35" fmla="*/ 12 h 33"/>
                <a:gd name="T36" fmla="*/ 36 w 38"/>
                <a:gd name="T37" fmla="*/ 11 h 33"/>
                <a:gd name="T38" fmla="*/ 36 w 38"/>
                <a:gd name="T39" fmla="*/ 10 h 33"/>
                <a:gd name="T40" fmla="*/ 36 w 38"/>
                <a:gd name="T41" fmla="*/ 9 h 33"/>
                <a:gd name="T42" fmla="*/ 37 w 38"/>
                <a:gd name="T43" fmla="*/ 4 h 33"/>
                <a:gd name="T44" fmla="*/ 37 w 38"/>
                <a:gd name="T45" fmla="*/ 3 h 33"/>
                <a:gd name="T46" fmla="*/ 37 w 38"/>
                <a:gd name="T47" fmla="*/ 3 h 33"/>
                <a:gd name="T48" fmla="*/ 38 w 38"/>
                <a:gd name="T49" fmla="*/ 2 h 33"/>
                <a:gd name="T50" fmla="*/ 37 w 38"/>
                <a:gd name="T51" fmla="*/ 2 h 33"/>
                <a:gd name="T52" fmla="*/ 37 w 38"/>
                <a:gd name="T53" fmla="*/ 2 h 33"/>
                <a:gd name="T54" fmla="*/ 36 w 38"/>
                <a:gd name="T55" fmla="*/ 2 h 33"/>
                <a:gd name="T56" fmla="*/ 34 w 38"/>
                <a:gd name="T57" fmla="*/ 1 h 33"/>
                <a:gd name="T58" fmla="*/ 33 w 38"/>
                <a:gd name="T59" fmla="*/ 1 h 33"/>
                <a:gd name="T60" fmla="*/ 34 w 38"/>
                <a:gd name="T61"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33">
                  <a:moveTo>
                    <a:pt x="34" y="0"/>
                  </a:moveTo>
                  <a:cubicBezTo>
                    <a:pt x="31" y="1"/>
                    <a:pt x="29" y="2"/>
                    <a:pt x="27" y="3"/>
                  </a:cubicBezTo>
                  <a:cubicBezTo>
                    <a:pt x="27" y="3"/>
                    <a:pt x="27" y="3"/>
                    <a:pt x="27" y="3"/>
                  </a:cubicBezTo>
                  <a:cubicBezTo>
                    <a:pt x="27" y="4"/>
                    <a:pt x="27" y="4"/>
                    <a:pt x="27" y="4"/>
                  </a:cubicBezTo>
                  <a:cubicBezTo>
                    <a:pt x="27" y="5"/>
                    <a:pt x="26" y="7"/>
                    <a:pt x="25" y="10"/>
                  </a:cubicBezTo>
                  <a:cubicBezTo>
                    <a:pt x="24" y="10"/>
                    <a:pt x="23" y="14"/>
                    <a:pt x="23" y="14"/>
                  </a:cubicBezTo>
                  <a:cubicBezTo>
                    <a:pt x="22" y="15"/>
                    <a:pt x="22" y="15"/>
                    <a:pt x="22" y="15"/>
                  </a:cubicBezTo>
                  <a:cubicBezTo>
                    <a:pt x="8" y="13"/>
                    <a:pt x="8" y="13"/>
                    <a:pt x="8" y="13"/>
                  </a:cubicBezTo>
                  <a:cubicBezTo>
                    <a:pt x="8" y="13"/>
                    <a:pt x="8" y="13"/>
                    <a:pt x="8" y="13"/>
                  </a:cubicBezTo>
                  <a:cubicBezTo>
                    <a:pt x="7" y="13"/>
                    <a:pt x="6" y="14"/>
                    <a:pt x="5" y="15"/>
                  </a:cubicBezTo>
                  <a:cubicBezTo>
                    <a:pt x="4" y="17"/>
                    <a:pt x="5" y="19"/>
                    <a:pt x="5" y="21"/>
                  </a:cubicBezTo>
                  <a:cubicBezTo>
                    <a:pt x="5" y="23"/>
                    <a:pt x="6" y="24"/>
                    <a:pt x="6" y="25"/>
                  </a:cubicBezTo>
                  <a:cubicBezTo>
                    <a:pt x="6" y="26"/>
                    <a:pt x="8" y="25"/>
                    <a:pt x="7" y="26"/>
                  </a:cubicBezTo>
                  <a:cubicBezTo>
                    <a:pt x="5" y="28"/>
                    <a:pt x="2" y="31"/>
                    <a:pt x="0" y="33"/>
                  </a:cubicBezTo>
                  <a:cubicBezTo>
                    <a:pt x="5" y="32"/>
                    <a:pt x="10" y="30"/>
                    <a:pt x="14" y="29"/>
                  </a:cubicBezTo>
                  <a:cubicBezTo>
                    <a:pt x="17" y="29"/>
                    <a:pt x="22" y="29"/>
                    <a:pt x="23" y="28"/>
                  </a:cubicBezTo>
                  <a:cubicBezTo>
                    <a:pt x="27" y="24"/>
                    <a:pt x="34" y="18"/>
                    <a:pt x="37" y="13"/>
                  </a:cubicBezTo>
                  <a:cubicBezTo>
                    <a:pt x="36" y="12"/>
                    <a:pt x="36" y="12"/>
                    <a:pt x="36" y="12"/>
                  </a:cubicBezTo>
                  <a:cubicBezTo>
                    <a:pt x="36" y="11"/>
                    <a:pt x="36" y="11"/>
                    <a:pt x="36" y="11"/>
                  </a:cubicBezTo>
                  <a:cubicBezTo>
                    <a:pt x="36" y="10"/>
                    <a:pt x="36" y="10"/>
                    <a:pt x="36" y="10"/>
                  </a:cubicBezTo>
                  <a:cubicBezTo>
                    <a:pt x="36" y="9"/>
                    <a:pt x="36" y="9"/>
                    <a:pt x="36" y="9"/>
                  </a:cubicBezTo>
                  <a:cubicBezTo>
                    <a:pt x="36" y="7"/>
                    <a:pt x="37" y="5"/>
                    <a:pt x="37" y="4"/>
                  </a:cubicBezTo>
                  <a:cubicBezTo>
                    <a:pt x="37" y="3"/>
                    <a:pt x="37" y="3"/>
                    <a:pt x="37" y="3"/>
                  </a:cubicBezTo>
                  <a:cubicBezTo>
                    <a:pt x="37" y="3"/>
                    <a:pt x="37" y="3"/>
                    <a:pt x="37" y="3"/>
                  </a:cubicBezTo>
                  <a:cubicBezTo>
                    <a:pt x="38" y="2"/>
                    <a:pt x="38" y="2"/>
                    <a:pt x="38" y="2"/>
                  </a:cubicBezTo>
                  <a:cubicBezTo>
                    <a:pt x="37" y="2"/>
                    <a:pt x="37" y="2"/>
                    <a:pt x="37" y="2"/>
                  </a:cubicBezTo>
                  <a:cubicBezTo>
                    <a:pt x="38" y="2"/>
                    <a:pt x="37" y="2"/>
                    <a:pt x="37" y="2"/>
                  </a:cubicBezTo>
                  <a:cubicBezTo>
                    <a:pt x="36" y="2"/>
                    <a:pt x="36" y="2"/>
                    <a:pt x="36" y="2"/>
                  </a:cubicBezTo>
                  <a:cubicBezTo>
                    <a:pt x="35" y="2"/>
                    <a:pt x="35" y="1"/>
                    <a:pt x="34" y="1"/>
                  </a:cubicBezTo>
                  <a:cubicBezTo>
                    <a:pt x="33" y="1"/>
                    <a:pt x="33" y="1"/>
                    <a:pt x="33" y="1"/>
                  </a:cubicBez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1567"/>
            <p:cNvSpPr>
              <a:spLocks noEditPoints="1"/>
            </p:cNvSpPr>
            <p:nvPr/>
          </p:nvSpPr>
          <p:spPr bwMode="auto">
            <a:xfrm>
              <a:off x="2873941" y="4424343"/>
              <a:ext cx="314107" cy="390620"/>
            </a:xfrm>
            <a:custGeom>
              <a:gdLst>
                <a:gd name="T0" fmla="*/ 31 w 99"/>
                <a:gd name="T1" fmla="*/ 17 h 123"/>
                <a:gd name="T2" fmla="*/ 2 w 99"/>
                <a:gd name="T3" fmla="*/ 0 h 123"/>
                <a:gd name="T4" fmla="*/ 0 w 99"/>
                <a:gd name="T5" fmla="*/ 4 h 123"/>
                <a:gd name="T6" fmla="*/ 4 w 99"/>
                <a:gd name="T7" fmla="*/ 12 h 123"/>
                <a:gd name="T8" fmla="*/ 5 w 99"/>
                <a:gd name="T9" fmla="*/ 32 h 123"/>
                <a:gd name="T10" fmla="*/ 10 w 99"/>
                <a:gd name="T11" fmla="*/ 49 h 123"/>
                <a:gd name="T12" fmla="*/ 12 w 99"/>
                <a:gd name="T13" fmla="*/ 61 h 123"/>
                <a:gd name="T14" fmla="*/ 21 w 99"/>
                <a:gd name="T15" fmla="*/ 70 h 123"/>
                <a:gd name="T16" fmla="*/ 28 w 99"/>
                <a:gd name="T17" fmla="*/ 87 h 123"/>
                <a:gd name="T18" fmla="*/ 45 w 99"/>
                <a:gd name="T19" fmla="*/ 98 h 123"/>
                <a:gd name="T20" fmla="*/ 69 w 99"/>
                <a:gd name="T21" fmla="*/ 114 h 123"/>
                <a:gd name="T22" fmla="*/ 84 w 99"/>
                <a:gd name="T23" fmla="*/ 119 h 123"/>
                <a:gd name="T24" fmla="*/ 87 w 99"/>
                <a:gd name="T25" fmla="*/ 119 h 123"/>
                <a:gd name="T26" fmla="*/ 90 w 99"/>
                <a:gd name="T27" fmla="*/ 115 h 123"/>
                <a:gd name="T28" fmla="*/ 94 w 99"/>
                <a:gd name="T29" fmla="*/ 121 h 123"/>
                <a:gd name="T30" fmla="*/ 92 w 99"/>
                <a:gd name="T31" fmla="*/ 108 h 123"/>
                <a:gd name="T32" fmla="*/ 77 w 99"/>
                <a:gd name="T33" fmla="*/ 83 h 123"/>
                <a:gd name="T34" fmla="*/ 77 w 99"/>
                <a:gd name="T35" fmla="*/ 52 h 123"/>
                <a:gd name="T36" fmla="*/ 59 w 99"/>
                <a:gd name="T37" fmla="*/ 18 h 123"/>
                <a:gd name="T38" fmla="*/ 48 w 99"/>
                <a:gd name="T39" fmla="*/ 7 h 123"/>
                <a:gd name="T40" fmla="*/ 47 w 99"/>
                <a:gd name="T41" fmla="*/ 10 h 123"/>
                <a:gd name="T42" fmla="*/ 46 w 99"/>
                <a:gd name="T43" fmla="*/ 13 h 123"/>
                <a:gd name="T44" fmla="*/ 36 w 99"/>
                <a:gd name="T45" fmla="*/ 20 h 123"/>
                <a:gd name="T46" fmla="*/ 31 w 99"/>
                <a:gd name="T47" fmla="*/ 17 h 123"/>
                <a:gd name="T48" fmla="*/ 29 w 99"/>
                <a:gd name="T49" fmla="*/ 20 h 123"/>
                <a:gd name="T50" fmla="*/ 27 w 99"/>
                <a:gd name="T51" fmla="*/ 21 h 123"/>
                <a:gd name="T52" fmla="*/ 25 w 99"/>
                <a:gd name="T53" fmla="*/ 22 h 123"/>
                <a:gd name="T54" fmla="*/ 22 w 99"/>
                <a:gd name="T55" fmla="*/ 22 h 123"/>
                <a:gd name="T56" fmla="*/ 18 w 99"/>
                <a:gd name="T57" fmla="*/ 11 h 123"/>
                <a:gd name="T58" fmla="*/ 18 w 99"/>
                <a:gd name="T59" fmla="*/ 9 h 123"/>
                <a:gd name="T60" fmla="*/ 13 w 99"/>
                <a:gd name="T61" fmla="*/ 6 h 123"/>
                <a:gd name="T62" fmla="*/ 13 w 99"/>
                <a:gd name="T63" fmla="*/ 3 h 123"/>
                <a:gd name="T64" fmla="*/ 11 w 99"/>
                <a:gd name="T65" fmla="*/ 2 h 123"/>
                <a:gd name="T66" fmla="*/ 8 w 99"/>
                <a:gd name="T67" fmla="*/ 2 h 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123">
                  <a:moveTo>
                    <a:pt x="31" y="17"/>
                  </a:moveTo>
                  <a:cubicBezTo>
                    <a:pt x="31" y="17"/>
                    <a:pt x="31" y="17"/>
                    <a:pt x="31" y="17"/>
                  </a:cubicBezTo>
                  <a:cubicBezTo>
                    <a:pt x="31" y="17"/>
                    <a:pt x="31" y="17"/>
                    <a:pt x="31" y="17"/>
                  </a:cubicBezTo>
                  <a:moveTo>
                    <a:pt x="2" y="0"/>
                  </a:moveTo>
                  <a:cubicBezTo>
                    <a:pt x="1" y="4"/>
                    <a:pt x="1" y="4"/>
                    <a:pt x="1" y="4"/>
                  </a:cubicBezTo>
                  <a:cubicBezTo>
                    <a:pt x="0" y="4"/>
                    <a:pt x="0" y="4"/>
                    <a:pt x="0" y="4"/>
                  </a:cubicBezTo>
                  <a:cubicBezTo>
                    <a:pt x="0" y="5"/>
                    <a:pt x="0" y="5"/>
                    <a:pt x="0" y="5"/>
                  </a:cubicBezTo>
                  <a:cubicBezTo>
                    <a:pt x="1" y="7"/>
                    <a:pt x="3" y="9"/>
                    <a:pt x="4" y="12"/>
                  </a:cubicBezTo>
                  <a:cubicBezTo>
                    <a:pt x="5" y="15"/>
                    <a:pt x="4" y="19"/>
                    <a:pt x="4" y="21"/>
                  </a:cubicBezTo>
                  <a:cubicBezTo>
                    <a:pt x="4" y="25"/>
                    <a:pt x="5" y="29"/>
                    <a:pt x="5" y="32"/>
                  </a:cubicBezTo>
                  <a:cubicBezTo>
                    <a:pt x="6" y="35"/>
                    <a:pt x="7" y="38"/>
                    <a:pt x="9" y="41"/>
                  </a:cubicBezTo>
                  <a:cubicBezTo>
                    <a:pt x="10" y="45"/>
                    <a:pt x="10" y="45"/>
                    <a:pt x="10" y="49"/>
                  </a:cubicBezTo>
                  <a:cubicBezTo>
                    <a:pt x="9" y="53"/>
                    <a:pt x="12" y="55"/>
                    <a:pt x="15" y="58"/>
                  </a:cubicBezTo>
                  <a:cubicBezTo>
                    <a:pt x="14" y="58"/>
                    <a:pt x="12" y="59"/>
                    <a:pt x="12" y="61"/>
                  </a:cubicBezTo>
                  <a:cubicBezTo>
                    <a:pt x="13" y="62"/>
                    <a:pt x="16" y="62"/>
                    <a:pt x="17" y="64"/>
                  </a:cubicBezTo>
                  <a:cubicBezTo>
                    <a:pt x="18" y="66"/>
                    <a:pt x="20" y="68"/>
                    <a:pt x="21" y="70"/>
                  </a:cubicBezTo>
                  <a:cubicBezTo>
                    <a:pt x="24" y="74"/>
                    <a:pt x="27" y="77"/>
                    <a:pt x="27" y="81"/>
                  </a:cubicBezTo>
                  <a:cubicBezTo>
                    <a:pt x="26" y="84"/>
                    <a:pt x="26" y="85"/>
                    <a:pt x="28" y="87"/>
                  </a:cubicBezTo>
                  <a:cubicBezTo>
                    <a:pt x="30" y="88"/>
                    <a:pt x="32" y="90"/>
                    <a:pt x="34" y="91"/>
                  </a:cubicBezTo>
                  <a:cubicBezTo>
                    <a:pt x="38" y="93"/>
                    <a:pt x="41" y="96"/>
                    <a:pt x="45" y="98"/>
                  </a:cubicBezTo>
                  <a:cubicBezTo>
                    <a:pt x="49" y="101"/>
                    <a:pt x="53" y="103"/>
                    <a:pt x="57" y="106"/>
                  </a:cubicBezTo>
                  <a:cubicBezTo>
                    <a:pt x="61" y="109"/>
                    <a:pt x="65" y="111"/>
                    <a:pt x="69" y="114"/>
                  </a:cubicBezTo>
                  <a:cubicBezTo>
                    <a:pt x="73" y="116"/>
                    <a:pt x="76" y="120"/>
                    <a:pt x="79" y="123"/>
                  </a:cubicBezTo>
                  <a:cubicBezTo>
                    <a:pt x="80" y="121"/>
                    <a:pt x="82" y="119"/>
                    <a:pt x="84" y="119"/>
                  </a:cubicBezTo>
                  <a:cubicBezTo>
                    <a:pt x="85" y="119"/>
                    <a:pt x="85" y="119"/>
                    <a:pt x="86" y="119"/>
                  </a:cubicBezTo>
                  <a:cubicBezTo>
                    <a:pt x="86" y="119"/>
                    <a:pt x="87" y="119"/>
                    <a:pt x="87" y="119"/>
                  </a:cubicBezTo>
                  <a:cubicBezTo>
                    <a:pt x="88" y="119"/>
                    <a:pt x="88" y="119"/>
                    <a:pt x="89" y="119"/>
                  </a:cubicBezTo>
                  <a:cubicBezTo>
                    <a:pt x="90" y="119"/>
                    <a:pt x="90" y="118"/>
                    <a:pt x="90" y="115"/>
                  </a:cubicBezTo>
                  <a:cubicBezTo>
                    <a:pt x="94" y="117"/>
                    <a:pt x="92" y="117"/>
                    <a:pt x="93" y="121"/>
                  </a:cubicBezTo>
                  <a:cubicBezTo>
                    <a:pt x="93" y="121"/>
                    <a:pt x="93" y="121"/>
                    <a:pt x="94" y="121"/>
                  </a:cubicBezTo>
                  <a:cubicBezTo>
                    <a:pt x="95" y="121"/>
                    <a:pt x="96" y="120"/>
                    <a:pt x="96" y="120"/>
                  </a:cubicBezTo>
                  <a:cubicBezTo>
                    <a:pt x="99" y="116"/>
                    <a:pt x="93" y="110"/>
                    <a:pt x="92" y="108"/>
                  </a:cubicBezTo>
                  <a:cubicBezTo>
                    <a:pt x="90" y="101"/>
                    <a:pt x="85" y="96"/>
                    <a:pt x="81" y="90"/>
                  </a:cubicBezTo>
                  <a:cubicBezTo>
                    <a:pt x="80" y="88"/>
                    <a:pt x="77" y="85"/>
                    <a:pt x="77" y="83"/>
                  </a:cubicBezTo>
                  <a:cubicBezTo>
                    <a:pt x="76" y="79"/>
                    <a:pt x="76" y="75"/>
                    <a:pt x="76" y="71"/>
                  </a:cubicBezTo>
                  <a:cubicBezTo>
                    <a:pt x="76" y="64"/>
                    <a:pt x="77" y="58"/>
                    <a:pt x="77" y="52"/>
                  </a:cubicBezTo>
                  <a:cubicBezTo>
                    <a:pt x="77" y="44"/>
                    <a:pt x="76" y="39"/>
                    <a:pt x="73" y="32"/>
                  </a:cubicBezTo>
                  <a:cubicBezTo>
                    <a:pt x="69" y="25"/>
                    <a:pt x="65" y="22"/>
                    <a:pt x="59" y="18"/>
                  </a:cubicBezTo>
                  <a:cubicBezTo>
                    <a:pt x="56" y="16"/>
                    <a:pt x="54" y="14"/>
                    <a:pt x="53" y="11"/>
                  </a:cubicBezTo>
                  <a:cubicBezTo>
                    <a:pt x="52" y="10"/>
                    <a:pt x="50" y="8"/>
                    <a:pt x="48" y="7"/>
                  </a:cubicBezTo>
                  <a:cubicBezTo>
                    <a:pt x="48" y="8"/>
                    <a:pt x="48" y="8"/>
                    <a:pt x="48" y="8"/>
                  </a:cubicBezTo>
                  <a:cubicBezTo>
                    <a:pt x="48" y="8"/>
                    <a:pt x="47" y="9"/>
                    <a:pt x="47" y="10"/>
                  </a:cubicBezTo>
                  <a:cubicBezTo>
                    <a:pt x="47" y="10"/>
                    <a:pt x="47" y="10"/>
                    <a:pt x="47" y="10"/>
                  </a:cubicBezTo>
                  <a:cubicBezTo>
                    <a:pt x="47" y="11"/>
                    <a:pt x="46" y="12"/>
                    <a:pt x="46" y="13"/>
                  </a:cubicBezTo>
                  <a:cubicBezTo>
                    <a:pt x="45" y="15"/>
                    <a:pt x="43" y="18"/>
                    <a:pt x="38" y="20"/>
                  </a:cubicBezTo>
                  <a:cubicBezTo>
                    <a:pt x="37" y="20"/>
                    <a:pt x="37" y="20"/>
                    <a:pt x="36" y="20"/>
                  </a:cubicBezTo>
                  <a:cubicBezTo>
                    <a:pt x="34" y="20"/>
                    <a:pt x="33" y="19"/>
                    <a:pt x="32" y="18"/>
                  </a:cubicBezTo>
                  <a:cubicBezTo>
                    <a:pt x="31" y="17"/>
                    <a:pt x="31" y="17"/>
                    <a:pt x="31" y="17"/>
                  </a:cubicBezTo>
                  <a:cubicBezTo>
                    <a:pt x="31" y="17"/>
                    <a:pt x="31" y="18"/>
                    <a:pt x="30" y="19"/>
                  </a:cubicBezTo>
                  <a:cubicBezTo>
                    <a:pt x="29" y="20"/>
                    <a:pt x="29" y="20"/>
                    <a:pt x="29" y="20"/>
                  </a:cubicBezTo>
                  <a:cubicBezTo>
                    <a:pt x="28" y="20"/>
                    <a:pt x="28" y="20"/>
                    <a:pt x="28" y="20"/>
                  </a:cubicBezTo>
                  <a:cubicBezTo>
                    <a:pt x="27" y="21"/>
                    <a:pt x="27" y="21"/>
                    <a:pt x="27" y="21"/>
                  </a:cubicBezTo>
                  <a:cubicBezTo>
                    <a:pt x="26" y="21"/>
                    <a:pt x="26" y="22"/>
                    <a:pt x="26" y="22"/>
                  </a:cubicBezTo>
                  <a:cubicBezTo>
                    <a:pt x="25" y="22"/>
                    <a:pt x="25" y="22"/>
                    <a:pt x="25" y="22"/>
                  </a:cubicBezTo>
                  <a:cubicBezTo>
                    <a:pt x="24" y="23"/>
                    <a:pt x="24" y="23"/>
                    <a:pt x="23" y="23"/>
                  </a:cubicBezTo>
                  <a:cubicBezTo>
                    <a:pt x="22" y="22"/>
                    <a:pt x="22" y="22"/>
                    <a:pt x="22" y="22"/>
                  </a:cubicBezTo>
                  <a:cubicBezTo>
                    <a:pt x="21" y="22"/>
                    <a:pt x="20" y="21"/>
                    <a:pt x="18" y="20"/>
                  </a:cubicBezTo>
                  <a:cubicBezTo>
                    <a:pt x="15" y="17"/>
                    <a:pt x="17" y="13"/>
                    <a:pt x="18" y="11"/>
                  </a:cubicBezTo>
                  <a:cubicBezTo>
                    <a:pt x="19" y="10"/>
                    <a:pt x="19" y="9"/>
                    <a:pt x="19" y="9"/>
                  </a:cubicBezTo>
                  <a:cubicBezTo>
                    <a:pt x="19" y="9"/>
                    <a:pt x="18" y="9"/>
                    <a:pt x="18" y="9"/>
                  </a:cubicBezTo>
                  <a:cubicBezTo>
                    <a:pt x="18" y="9"/>
                    <a:pt x="18" y="9"/>
                    <a:pt x="18" y="9"/>
                  </a:cubicBezTo>
                  <a:cubicBezTo>
                    <a:pt x="15" y="9"/>
                    <a:pt x="14" y="7"/>
                    <a:pt x="13" y="6"/>
                  </a:cubicBezTo>
                  <a:cubicBezTo>
                    <a:pt x="13" y="5"/>
                    <a:pt x="13" y="5"/>
                    <a:pt x="13" y="4"/>
                  </a:cubicBezTo>
                  <a:cubicBezTo>
                    <a:pt x="13" y="3"/>
                    <a:pt x="13" y="3"/>
                    <a:pt x="13" y="3"/>
                  </a:cubicBezTo>
                  <a:cubicBezTo>
                    <a:pt x="12" y="3"/>
                    <a:pt x="12" y="3"/>
                    <a:pt x="12" y="3"/>
                  </a:cubicBezTo>
                  <a:cubicBezTo>
                    <a:pt x="11" y="2"/>
                    <a:pt x="11" y="2"/>
                    <a:pt x="11" y="2"/>
                  </a:cubicBezTo>
                  <a:cubicBezTo>
                    <a:pt x="11" y="2"/>
                    <a:pt x="9" y="2"/>
                    <a:pt x="8" y="2"/>
                  </a:cubicBezTo>
                  <a:cubicBezTo>
                    <a:pt x="8" y="2"/>
                    <a:pt x="8" y="2"/>
                    <a:pt x="8" y="2"/>
                  </a:cubicBezTo>
                  <a:cubicBezTo>
                    <a:pt x="5" y="2"/>
                    <a:pt x="4"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1568"/>
            <p:cNvSpPr/>
            <p:nvPr/>
          </p:nvSpPr>
          <p:spPr bwMode="auto">
            <a:xfrm>
              <a:off x="0" y="520828"/>
              <a:ext cx="9396" cy="2685"/>
            </a:xfrm>
            <a:custGeom>
              <a:gdLst>
                <a:gd name="T0" fmla="*/ 0 w 3"/>
                <a:gd name="T1" fmla="*/ 0 h 1"/>
                <a:gd name="T2" fmla="*/ 0 w 3"/>
                <a:gd name="T3" fmla="*/ 1 h 1"/>
                <a:gd name="T4" fmla="*/ 0 w 3"/>
                <a:gd name="T5" fmla="*/ 1 h 1"/>
                <a:gd name="T6" fmla="*/ 1 w 3"/>
                <a:gd name="T7" fmla="*/ 1 h 1"/>
                <a:gd name="T8" fmla="*/ 2 w 3"/>
                <a:gd name="T9" fmla="*/ 1 h 1"/>
                <a:gd name="T10" fmla="*/ 2 w 3"/>
                <a:gd name="T11" fmla="*/ 1 h 1"/>
                <a:gd name="T12" fmla="*/ 3 w 3"/>
                <a:gd name="T13" fmla="*/ 1 h 1"/>
                <a:gd name="T14" fmla="*/ 1 w 3"/>
                <a:gd name="T15" fmla="*/ 0 h 1"/>
                <a:gd name="T16" fmla="*/ 0 w 3"/>
                <a:gd name="T17"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0" y="0"/>
                  </a:moveTo>
                  <a:cubicBezTo>
                    <a:pt x="0" y="1"/>
                    <a:pt x="0" y="1"/>
                    <a:pt x="0" y="1"/>
                  </a:cubicBezTo>
                  <a:cubicBezTo>
                    <a:pt x="0" y="1"/>
                    <a:pt x="0" y="1"/>
                    <a:pt x="0" y="1"/>
                  </a:cubicBezTo>
                  <a:cubicBezTo>
                    <a:pt x="0" y="1"/>
                    <a:pt x="0" y="1"/>
                    <a:pt x="1" y="1"/>
                  </a:cubicBezTo>
                  <a:cubicBezTo>
                    <a:pt x="1" y="1"/>
                    <a:pt x="1" y="1"/>
                    <a:pt x="2" y="1"/>
                  </a:cubicBezTo>
                  <a:cubicBezTo>
                    <a:pt x="2" y="1"/>
                    <a:pt x="2" y="1"/>
                    <a:pt x="2" y="1"/>
                  </a:cubicBezTo>
                  <a:cubicBezTo>
                    <a:pt x="3" y="1"/>
                    <a:pt x="3" y="1"/>
                    <a:pt x="3" y="1"/>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1569"/>
            <p:cNvSpPr/>
            <p:nvPr/>
          </p:nvSpPr>
          <p:spPr bwMode="auto">
            <a:xfrm>
              <a:off x="304710" y="355720"/>
              <a:ext cx="2685" cy="2685"/>
            </a:xfrm>
            <a:custGeom>
              <a:gdLst>
                <a:gd name="T0" fmla="*/ 0 w 2"/>
                <a:gd name="T1" fmla="*/ 0 h 2"/>
                <a:gd name="T2" fmla="*/ 0 w 2"/>
                <a:gd name="T3" fmla="*/ 2 h 2"/>
                <a:gd name="T4" fmla="*/ 2 w 2"/>
                <a:gd name="T5" fmla="*/ 2 h 2"/>
                <a:gd name="T6" fmla="*/ 2 w 2"/>
                <a:gd name="T7" fmla="*/ 2 h 2"/>
                <a:gd name="T8" fmla="*/ 0 w 2"/>
                <a:gd name="T9" fmla="*/ 0 h 2"/>
              </a:gd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Freeform 1570"/>
            <p:cNvSpPr/>
            <p:nvPr/>
          </p:nvSpPr>
          <p:spPr bwMode="auto">
            <a:xfrm>
              <a:off x="304710" y="355720"/>
              <a:ext cx="2685" cy="2685"/>
            </a:xfrm>
            <a:custGeom>
              <a:gdLst>
                <a:gd name="T0" fmla="*/ 0 w 2"/>
                <a:gd name="T1" fmla="*/ 0 h 2"/>
                <a:gd name="T2" fmla="*/ 0 w 2"/>
                <a:gd name="T3" fmla="*/ 2 h 2"/>
                <a:gd name="T4" fmla="*/ 2 w 2"/>
                <a:gd name="T5" fmla="*/ 2 h 2"/>
                <a:gd name="T6" fmla="*/ 2 w 2"/>
                <a:gd name="T7" fmla="*/ 2 h 2"/>
                <a:gd name="T8" fmla="*/ 0 w 2"/>
                <a:gd name="T9" fmla="*/ 0 h 2"/>
              </a:gd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Freeform 1571"/>
            <p:cNvSpPr>
              <a:spLocks noEditPoints="1"/>
            </p:cNvSpPr>
            <p:nvPr/>
          </p:nvSpPr>
          <p:spPr bwMode="auto">
            <a:xfrm>
              <a:off x="0" y="1"/>
              <a:ext cx="7594935" cy="1542345"/>
            </a:xfrm>
            <a:custGeom>
              <a:gdLst>
                <a:gd name="T0" fmla="*/ 1124 w 2394"/>
                <a:gd name="T1" fmla="*/ 135 h 486"/>
                <a:gd name="T2" fmla="*/ 1053 w 2394"/>
                <a:gd name="T3" fmla="*/ 189 h 486"/>
                <a:gd name="T4" fmla="*/ 1129 w 2394"/>
                <a:gd name="T5" fmla="*/ 78 h 486"/>
                <a:gd name="T6" fmla="*/ 17 w 2394"/>
                <a:gd name="T7" fmla="*/ 132 h 486"/>
                <a:gd name="T8" fmla="*/ 50 w 2394"/>
                <a:gd name="T9" fmla="*/ 124 h 486"/>
                <a:gd name="T10" fmla="*/ 69 w 2394"/>
                <a:gd name="T11" fmla="*/ 120 h 486"/>
                <a:gd name="T12" fmla="*/ 98 w 2394"/>
                <a:gd name="T13" fmla="*/ 110 h 486"/>
                <a:gd name="T14" fmla="*/ 142 w 2394"/>
                <a:gd name="T15" fmla="*/ 103 h 486"/>
                <a:gd name="T16" fmla="*/ 168 w 2394"/>
                <a:gd name="T17" fmla="*/ 88 h 486"/>
                <a:gd name="T18" fmla="*/ 201 w 2394"/>
                <a:gd name="T19" fmla="*/ 95 h 486"/>
                <a:gd name="T20" fmla="*/ 226 w 2394"/>
                <a:gd name="T21" fmla="*/ 127 h 486"/>
                <a:gd name="T22" fmla="*/ 255 w 2394"/>
                <a:gd name="T23" fmla="*/ 129 h 486"/>
                <a:gd name="T24" fmla="*/ 276 w 2394"/>
                <a:gd name="T25" fmla="*/ 146 h 486"/>
                <a:gd name="T26" fmla="*/ 358 w 2394"/>
                <a:gd name="T27" fmla="*/ 124 h 486"/>
                <a:gd name="T28" fmla="*/ 434 w 2394"/>
                <a:gd name="T29" fmla="*/ 233 h 486"/>
                <a:gd name="T30" fmla="*/ 443 w 2394"/>
                <a:gd name="T31" fmla="*/ 221 h 486"/>
                <a:gd name="T32" fmla="*/ 469 w 2394"/>
                <a:gd name="T33" fmla="*/ 236 h 486"/>
                <a:gd name="T34" fmla="*/ 506 w 2394"/>
                <a:gd name="T35" fmla="*/ 228 h 486"/>
                <a:gd name="T36" fmla="*/ 553 w 2394"/>
                <a:gd name="T37" fmla="*/ 259 h 486"/>
                <a:gd name="T38" fmla="*/ 558 w 2394"/>
                <a:gd name="T39" fmla="*/ 271 h 486"/>
                <a:gd name="T40" fmla="*/ 609 w 2394"/>
                <a:gd name="T41" fmla="*/ 285 h 486"/>
                <a:gd name="T42" fmla="*/ 629 w 2394"/>
                <a:gd name="T43" fmla="*/ 275 h 486"/>
                <a:gd name="T44" fmla="*/ 668 w 2394"/>
                <a:gd name="T45" fmla="*/ 258 h 486"/>
                <a:gd name="T46" fmla="*/ 723 w 2394"/>
                <a:gd name="T47" fmla="*/ 232 h 486"/>
                <a:gd name="T48" fmla="*/ 764 w 2394"/>
                <a:gd name="T49" fmla="*/ 241 h 486"/>
                <a:gd name="T50" fmla="*/ 808 w 2394"/>
                <a:gd name="T51" fmla="*/ 258 h 486"/>
                <a:gd name="T52" fmla="*/ 847 w 2394"/>
                <a:gd name="T53" fmla="*/ 260 h 486"/>
                <a:gd name="T54" fmla="*/ 853 w 2394"/>
                <a:gd name="T55" fmla="*/ 216 h 486"/>
                <a:gd name="T56" fmla="*/ 895 w 2394"/>
                <a:gd name="T57" fmla="*/ 201 h 486"/>
                <a:gd name="T58" fmla="*/ 957 w 2394"/>
                <a:gd name="T59" fmla="*/ 236 h 486"/>
                <a:gd name="T60" fmla="*/ 1017 w 2394"/>
                <a:gd name="T61" fmla="*/ 246 h 486"/>
                <a:gd name="T62" fmla="*/ 1083 w 2394"/>
                <a:gd name="T63" fmla="*/ 258 h 486"/>
                <a:gd name="T64" fmla="*/ 1203 w 2394"/>
                <a:gd name="T65" fmla="*/ 273 h 486"/>
                <a:gd name="T66" fmla="*/ 1268 w 2394"/>
                <a:gd name="T67" fmla="*/ 261 h 486"/>
                <a:gd name="T68" fmla="*/ 1348 w 2394"/>
                <a:gd name="T69" fmla="*/ 259 h 486"/>
                <a:gd name="T70" fmla="*/ 1385 w 2394"/>
                <a:gd name="T71" fmla="*/ 188 h 486"/>
                <a:gd name="T72" fmla="*/ 1389 w 2394"/>
                <a:gd name="T73" fmla="*/ 159 h 486"/>
                <a:gd name="T74" fmla="*/ 1455 w 2394"/>
                <a:gd name="T75" fmla="*/ 147 h 486"/>
                <a:gd name="T76" fmla="*/ 1501 w 2394"/>
                <a:gd name="T77" fmla="*/ 162 h 486"/>
                <a:gd name="T78" fmla="*/ 1516 w 2394"/>
                <a:gd name="T79" fmla="*/ 180 h 486"/>
                <a:gd name="T80" fmla="*/ 1542 w 2394"/>
                <a:gd name="T81" fmla="*/ 231 h 486"/>
                <a:gd name="T82" fmla="*/ 1581 w 2394"/>
                <a:gd name="T83" fmla="*/ 274 h 486"/>
                <a:gd name="T84" fmla="*/ 1629 w 2394"/>
                <a:gd name="T85" fmla="*/ 317 h 486"/>
                <a:gd name="T86" fmla="*/ 1665 w 2394"/>
                <a:gd name="T87" fmla="*/ 327 h 486"/>
                <a:gd name="T88" fmla="*/ 1721 w 2394"/>
                <a:gd name="T89" fmla="*/ 317 h 486"/>
                <a:gd name="T90" fmla="*/ 1707 w 2394"/>
                <a:gd name="T91" fmla="*/ 356 h 486"/>
                <a:gd name="T92" fmla="*/ 1692 w 2394"/>
                <a:gd name="T93" fmla="*/ 392 h 486"/>
                <a:gd name="T94" fmla="*/ 1652 w 2394"/>
                <a:gd name="T95" fmla="*/ 406 h 486"/>
                <a:gd name="T96" fmla="*/ 1625 w 2394"/>
                <a:gd name="T97" fmla="*/ 481 h 486"/>
                <a:gd name="T98" fmla="*/ 1646 w 2394"/>
                <a:gd name="T99" fmla="*/ 465 h 486"/>
                <a:gd name="T100" fmla="*/ 1686 w 2394"/>
                <a:gd name="T101" fmla="*/ 475 h 486"/>
                <a:gd name="T102" fmla="*/ 1849 w 2394"/>
                <a:gd name="T103" fmla="*/ 291 h 486"/>
                <a:gd name="T104" fmla="*/ 1872 w 2394"/>
                <a:gd name="T105" fmla="*/ 172 h 486"/>
                <a:gd name="T106" fmla="*/ 1812 w 2394"/>
                <a:gd name="T107" fmla="*/ 133 h 486"/>
                <a:gd name="T108" fmla="*/ 1784 w 2394"/>
                <a:gd name="T109" fmla="*/ 135 h 486"/>
                <a:gd name="T110" fmla="*/ 1767 w 2394"/>
                <a:gd name="T111" fmla="*/ 122 h 486"/>
                <a:gd name="T112" fmla="*/ 1799 w 2394"/>
                <a:gd name="T113" fmla="*/ 53 h 486"/>
                <a:gd name="T114" fmla="*/ 2255 w 2394"/>
                <a:gd name="T115" fmla="*/ 9 h 486"/>
                <a:gd name="T116" fmla="*/ 2228 w 2394"/>
                <a:gd name="T117" fmla="*/ 184 h 486"/>
                <a:gd name="T118" fmla="*/ 2296 w 2394"/>
                <a:gd name="T119" fmla="*/ 163 h 486"/>
                <a:gd name="T120" fmla="*/ 2339 w 2394"/>
                <a:gd name="T121" fmla="*/ 116 h 486"/>
                <a:gd name="T122" fmla="*/ 2382 w 2394"/>
                <a:gd name="T123" fmla="*/ 57 h 486"/>
                <a:gd name="T124" fmla="*/ 2359 w 2394"/>
                <a:gd name="T125" fmla="*/ 0 h 4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94" h="486">
                  <a:moveTo>
                    <a:pt x="1133" y="79"/>
                  </a:moveTo>
                  <a:cubicBezTo>
                    <a:pt x="1131" y="78"/>
                    <a:pt x="1130" y="78"/>
                    <a:pt x="1128" y="77"/>
                  </a:cubicBezTo>
                  <a:cubicBezTo>
                    <a:pt x="1129" y="77"/>
                    <a:pt x="1129" y="77"/>
                    <a:pt x="1129" y="77"/>
                  </a:cubicBezTo>
                  <a:cubicBezTo>
                    <a:pt x="1132" y="77"/>
                    <a:pt x="1135" y="78"/>
                    <a:pt x="1136" y="81"/>
                  </a:cubicBezTo>
                  <a:cubicBezTo>
                    <a:pt x="1135" y="83"/>
                    <a:pt x="1134" y="83"/>
                    <a:pt x="1134" y="85"/>
                  </a:cubicBezTo>
                  <a:cubicBezTo>
                    <a:pt x="1134" y="86"/>
                    <a:pt x="1135" y="87"/>
                    <a:pt x="1135" y="88"/>
                  </a:cubicBezTo>
                  <a:cubicBezTo>
                    <a:pt x="1135" y="88"/>
                    <a:pt x="1134" y="88"/>
                    <a:pt x="1134" y="88"/>
                  </a:cubicBezTo>
                  <a:cubicBezTo>
                    <a:pt x="1134" y="89"/>
                    <a:pt x="1133" y="90"/>
                    <a:pt x="1133" y="91"/>
                  </a:cubicBezTo>
                  <a:cubicBezTo>
                    <a:pt x="1132" y="92"/>
                    <a:pt x="1133" y="94"/>
                    <a:pt x="1132" y="96"/>
                  </a:cubicBezTo>
                  <a:cubicBezTo>
                    <a:pt x="1132" y="96"/>
                    <a:pt x="1131" y="96"/>
                    <a:pt x="1131" y="97"/>
                  </a:cubicBezTo>
                  <a:cubicBezTo>
                    <a:pt x="1131" y="98"/>
                    <a:pt x="1132" y="100"/>
                    <a:pt x="1132" y="101"/>
                  </a:cubicBezTo>
                  <a:cubicBezTo>
                    <a:pt x="1132" y="102"/>
                    <a:pt x="1131" y="104"/>
                    <a:pt x="1131" y="105"/>
                  </a:cubicBezTo>
                  <a:cubicBezTo>
                    <a:pt x="1130" y="107"/>
                    <a:pt x="1129" y="108"/>
                    <a:pt x="1129" y="109"/>
                  </a:cubicBezTo>
                  <a:cubicBezTo>
                    <a:pt x="1128" y="111"/>
                    <a:pt x="1129" y="112"/>
                    <a:pt x="1128" y="114"/>
                  </a:cubicBezTo>
                  <a:cubicBezTo>
                    <a:pt x="1127" y="115"/>
                    <a:pt x="1126" y="115"/>
                    <a:pt x="1126" y="117"/>
                  </a:cubicBezTo>
                  <a:cubicBezTo>
                    <a:pt x="1126" y="120"/>
                    <a:pt x="1126" y="122"/>
                    <a:pt x="1126" y="124"/>
                  </a:cubicBezTo>
                  <a:cubicBezTo>
                    <a:pt x="1126" y="128"/>
                    <a:pt x="1126" y="131"/>
                    <a:pt x="1124" y="135"/>
                  </a:cubicBezTo>
                  <a:cubicBezTo>
                    <a:pt x="1123" y="138"/>
                    <a:pt x="1119" y="147"/>
                    <a:pt x="1116" y="148"/>
                  </a:cubicBezTo>
                  <a:cubicBezTo>
                    <a:pt x="1116" y="148"/>
                    <a:pt x="1115" y="148"/>
                    <a:pt x="1115" y="148"/>
                  </a:cubicBezTo>
                  <a:cubicBezTo>
                    <a:pt x="1113" y="148"/>
                    <a:pt x="1116" y="145"/>
                    <a:pt x="1115" y="144"/>
                  </a:cubicBezTo>
                  <a:cubicBezTo>
                    <a:pt x="1114" y="143"/>
                    <a:pt x="1113" y="142"/>
                    <a:pt x="1112" y="142"/>
                  </a:cubicBezTo>
                  <a:cubicBezTo>
                    <a:pt x="1108" y="142"/>
                    <a:pt x="1104" y="149"/>
                    <a:pt x="1103" y="152"/>
                  </a:cubicBezTo>
                  <a:cubicBezTo>
                    <a:pt x="1105" y="151"/>
                    <a:pt x="1108" y="148"/>
                    <a:pt x="1110" y="148"/>
                  </a:cubicBezTo>
                  <a:cubicBezTo>
                    <a:pt x="1111" y="148"/>
                    <a:pt x="1111" y="149"/>
                    <a:pt x="1111" y="149"/>
                  </a:cubicBezTo>
                  <a:cubicBezTo>
                    <a:pt x="1113" y="150"/>
                    <a:pt x="1114" y="155"/>
                    <a:pt x="1113" y="156"/>
                  </a:cubicBezTo>
                  <a:cubicBezTo>
                    <a:pt x="1112" y="158"/>
                    <a:pt x="1109" y="158"/>
                    <a:pt x="1107" y="159"/>
                  </a:cubicBezTo>
                  <a:cubicBezTo>
                    <a:pt x="1105" y="160"/>
                    <a:pt x="1103" y="160"/>
                    <a:pt x="1101" y="162"/>
                  </a:cubicBezTo>
                  <a:cubicBezTo>
                    <a:pt x="1098" y="164"/>
                    <a:pt x="1095" y="168"/>
                    <a:pt x="1093" y="171"/>
                  </a:cubicBezTo>
                  <a:cubicBezTo>
                    <a:pt x="1089" y="175"/>
                    <a:pt x="1086" y="177"/>
                    <a:pt x="1081" y="177"/>
                  </a:cubicBezTo>
                  <a:cubicBezTo>
                    <a:pt x="1075" y="178"/>
                    <a:pt x="1069" y="184"/>
                    <a:pt x="1064" y="188"/>
                  </a:cubicBezTo>
                  <a:cubicBezTo>
                    <a:pt x="1062" y="189"/>
                    <a:pt x="1061" y="189"/>
                    <a:pt x="1060" y="189"/>
                  </a:cubicBezTo>
                  <a:cubicBezTo>
                    <a:pt x="1059" y="189"/>
                    <a:pt x="1058" y="189"/>
                    <a:pt x="1058" y="189"/>
                  </a:cubicBezTo>
                  <a:cubicBezTo>
                    <a:pt x="1057" y="189"/>
                    <a:pt x="1056" y="189"/>
                    <a:pt x="1055" y="189"/>
                  </a:cubicBezTo>
                  <a:cubicBezTo>
                    <a:pt x="1054" y="189"/>
                    <a:pt x="1054" y="189"/>
                    <a:pt x="1053" y="189"/>
                  </a:cubicBezTo>
                  <a:cubicBezTo>
                    <a:pt x="1050" y="189"/>
                    <a:pt x="1049" y="190"/>
                    <a:pt x="1049" y="192"/>
                  </a:cubicBezTo>
                  <a:cubicBezTo>
                    <a:pt x="1049" y="195"/>
                    <a:pt x="1050" y="194"/>
                    <a:pt x="1049" y="197"/>
                  </a:cubicBezTo>
                  <a:cubicBezTo>
                    <a:pt x="1048" y="199"/>
                    <a:pt x="1046" y="200"/>
                    <a:pt x="1045" y="202"/>
                  </a:cubicBezTo>
                  <a:cubicBezTo>
                    <a:pt x="1042" y="206"/>
                    <a:pt x="1042" y="207"/>
                    <a:pt x="1037" y="209"/>
                  </a:cubicBezTo>
                  <a:cubicBezTo>
                    <a:pt x="1028" y="211"/>
                    <a:pt x="1018" y="215"/>
                    <a:pt x="1008" y="215"/>
                  </a:cubicBezTo>
                  <a:cubicBezTo>
                    <a:pt x="1006" y="215"/>
                    <a:pt x="1005" y="215"/>
                    <a:pt x="1003" y="215"/>
                  </a:cubicBezTo>
                  <a:cubicBezTo>
                    <a:pt x="1000" y="214"/>
                    <a:pt x="997" y="213"/>
                    <a:pt x="994" y="212"/>
                  </a:cubicBezTo>
                  <a:cubicBezTo>
                    <a:pt x="993" y="211"/>
                    <a:pt x="991" y="211"/>
                    <a:pt x="990" y="210"/>
                  </a:cubicBezTo>
                  <a:cubicBezTo>
                    <a:pt x="988" y="207"/>
                    <a:pt x="996" y="207"/>
                    <a:pt x="998" y="207"/>
                  </a:cubicBezTo>
                  <a:cubicBezTo>
                    <a:pt x="1011" y="204"/>
                    <a:pt x="1026" y="204"/>
                    <a:pt x="1035" y="193"/>
                  </a:cubicBezTo>
                  <a:cubicBezTo>
                    <a:pt x="1040" y="188"/>
                    <a:pt x="1043" y="183"/>
                    <a:pt x="1050" y="180"/>
                  </a:cubicBezTo>
                  <a:cubicBezTo>
                    <a:pt x="1053" y="179"/>
                    <a:pt x="1054" y="179"/>
                    <a:pt x="1056" y="177"/>
                  </a:cubicBezTo>
                  <a:cubicBezTo>
                    <a:pt x="1057" y="175"/>
                    <a:pt x="1064" y="170"/>
                    <a:pt x="1061" y="167"/>
                  </a:cubicBezTo>
                  <a:cubicBezTo>
                    <a:pt x="1073" y="156"/>
                    <a:pt x="1089" y="149"/>
                    <a:pt x="1097" y="135"/>
                  </a:cubicBezTo>
                  <a:cubicBezTo>
                    <a:pt x="1104" y="122"/>
                    <a:pt x="1112" y="110"/>
                    <a:pt x="1116" y="96"/>
                  </a:cubicBezTo>
                  <a:cubicBezTo>
                    <a:pt x="1117" y="91"/>
                    <a:pt x="1118" y="86"/>
                    <a:pt x="1122" y="82"/>
                  </a:cubicBezTo>
                  <a:cubicBezTo>
                    <a:pt x="1124" y="80"/>
                    <a:pt x="1125" y="78"/>
                    <a:pt x="1129" y="78"/>
                  </a:cubicBezTo>
                  <a:cubicBezTo>
                    <a:pt x="1129" y="78"/>
                    <a:pt x="1129" y="78"/>
                    <a:pt x="1129" y="78"/>
                  </a:cubicBezTo>
                  <a:cubicBezTo>
                    <a:pt x="1131" y="78"/>
                    <a:pt x="1132" y="79"/>
                    <a:pt x="1133" y="79"/>
                  </a:cubicBezTo>
                  <a:moveTo>
                    <a:pt x="1857" y="0"/>
                  </a:moveTo>
                  <a:cubicBezTo>
                    <a:pt x="0" y="0"/>
                    <a:pt x="0" y="0"/>
                    <a:pt x="0" y="0"/>
                  </a:cubicBezTo>
                  <a:cubicBezTo>
                    <a:pt x="0" y="132"/>
                    <a:pt x="0" y="132"/>
                    <a:pt x="0" y="132"/>
                  </a:cubicBezTo>
                  <a:cubicBezTo>
                    <a:pt x="1" y="132"/>
                    <a:pt x="1" y="132"/>
                    <a:pt x="2" y="132"/>
                  </a:cubicBezTo>
                  <a:cubicBezTo>
                    <a:pt x="3" y="132"/>
                    <a:pt x="3" y="132"/>
                    <a:pt x="3" y="132"/>
                  </a:cubicBezTo>
                  <a:cubicBezTo>
                    <a:pt x="4" y="132"/>
                    <a:pt x="4" y="132"/>
                    <a:pt x="4" y="132"/>
                  </a:cubicBezTo>
                  <a:cubicBezTo>
                    <a:pt x="4" y="132"/>
                    <a:pt x="4" y="132"/>
                    <a:pt x="4" y="132"/>
                  </a:cubicBezTo>
                  <a:cubicBezTo>
                    <a:pt x="10" y="132"/>
                    <a:pt x="10" y="132"/>
                    <a:pt x="10" y="132"/>
                  </a:cubicBezTo>
                  <a:cubicBezTo>
                    <a:pt x="11" y="128"/>
                    <a:pt x="11" y="128"/>
                    <a:pt x="11" y="128"/>
                  </a:cubicBezTo>
                  <a:cubicBezTo>
                    <a:pt x="11" y="132"/>
                    <a:pt x="11" y="132"/>
                    <a:pt x="11" y="132"/>
                  </a:cubicBezTo>
                  <a:cubicBezTo>
                    <a:pt x="12" y="132"/>
                    <a:pt x="12" y="132"/>
                    <a:pt x="12" y="132"/>
                  </a:cubicBezTo>
                  <a:cubicBezTo>
                    <a:pt x="12" y="132"/>
                    <a:pt x="13" y="132"/>
                    <a:pt x="14" y="132"/>
                  </a:cubicBezTo>
                  <a:cubicBezTo>
                    <a:pt x="15" y="132"/>
                    <a:pt x="15" y="132"/>
                    <a:pt x="15" y="132"/>
                  </a:cubicBezTo>
                  <a:cubicBezTo>
                    <a:pt x="15" y="132"/>
                    <a:pt x="15" y="132"/>
                    <a:pt x="15" y="132"/>
                  </a:cubicBezTo>
                  <a:cubicBezTo>
                    <a:pt x="16" y="132"/>
                    <a:pt x="17" y="132"/>
                    <a:pt x="17" y="132"/>
                  </a:cubicBezTo>
                  <a:cubicBezTo>
                    <a:pt x="18" y="131"/>
                    <a:pt x="18" y="131"/>
                    <a:pt x="18" y="131"/>
                  </a:cubicBezTo>
                  <a:cubicBezTo>
                    <a:pt x="20" y="131"/>
                    <a:pt x="20" y="131"/>
                    <a:pt x="20" y="131"/>
                  </a:cubicBezTo>
                  <a:cubicBezTo>
                    <a:pt x="20" y="130"/>
                    <a:pt x="20" y="130"/>
                    <a:pt x="20" y="130"/>
                  </a:cubicBezTo>
                  <a:cubicBezTo>
                    <a:pt x="22" y="131"/>
                    <a:pt x="22" y="131"/>
                    <a:pt x="22" y="131"/>
                  </a:cubicBezTo>
                  <a:cubicBezTo>
                    <a:pt x="22" y="130"/>
                    <a:pt x="22" y="130"/>
                    <a:pt x="22" y="130"/>
                  </a:cubicBezTo>
                  <a:cubicBezTo>
                    <a:pt x="23" y="130"/>
                    <a:pt x="23" y="130"/>
                    <a:pt x="24" y="130"/>
                  </a:cubicBezTo>
                  <a:cubicBezTo>
                    <a:pt x="25" y="130"/>
                    <a:pt x="25" y="130"/>
                    <a:pt x="25" y="130"/>
                  </a:cubicBezTo>
                  <a:cubicBezTo>
                    <a:pt x="25" y="130"/>
                    <a:pt x="25" y="130"/>
                    <a:pt x="25" y="130"/>
                  </a:cubicBezTo>
                  <a:cubicBezTo>
                    <a:pt x="26" y="130"/>
                    <a:pt x="26" y="130"/>
                    <a:pt x="26" y="130"/>
                  </a:cubicBezTo>
                  <a:cubicBezTo>
                    <a:pt x="26" y="129"/>
                    <a:pt x="26" y="129"/>
                    <a:pt x="26" y="129"/>
                  </a:cubicBezTo>
                  <a:cubicBezTo>
                    <a:pt x="22" y="129"/>
                    <a:pt x="22" y="129"/>
                    <a:pt x="22" y="129"/>
                  </a:cubicBezTo>
                  <a:cubicBezTo>
                    <a:pt x="35" y="127"/>
                    <a:pt x="35" y="127"/>
                    <a:pt x="35" y="127"/>
                  </a:cubicBezTo>
                  <a:cubicBezTo>
                    <a:pt x="35" y="121"/>
                    <a:pt x="35" y="121"/>
                    <a:pt x="35" y="121"/>
                  </a:cubicBezTo>
                  <a:cubicBezTo>
                    <a:pt x="36" y="126"/>
                    <a:pt x="36" y="126"/>
                    <a:pt x="36" y="126"/>
                  </a:cubicBezTo>
                  <a:cubicBezTo>
                    <a:pt x="47" y="125"/>
                    <a:pt x="47" y="125"/>
                    <a:pt x="47" y="125"/>
                  </a:cubicBezTo>
                  <a:cubicBezTo>
                    <a:pt x="47" y="124"/>
                    <a:pt x="48" y="124"/>
                    <a:pt x="48" y="124"/>
                  </a:cubicBezTo>
                  <a:cubicBezTo>
                    <a:pt x="50" y="124"/>
                    <a:pt x="50" y="124"/>
                    <a:pt x="50" y="124"/>
                  </a:cubicBezTo>
                  <a:cubicBezTo>
                    <a:pt x="50" y="124"/>
                    <a:pt x="50" y="124"/>
                    <a:pt x="50" y="124"/>
                  </a:cubicBezTo>
                  <a:cubicBezTo>
                    <a:pt x="53" y="123"/>
                    <a:pt x="53" y="123"/>
                    <a:pt x="53" y="123"/>
                  </a:cubicBezTo>
                  <a:cubicBezTo>
                    <a:pt x="54" y="123"/>
                    <a:pt x="54" y="123"/>
                    <a:pt x="54" y="123"/>
                  </a:cubicBezTo>
                  <a:cubicBezTo>
                    <a:pt x="55" y="123"/>
                    <a:pt x="55" y="123"/>
                    <a:pt x="55" y="123"/>
                  </a:cubicBezTo>
                  <a:cubicBezTo>
                    <a:pt x="56" y="122"/>
                    <a:pt x="56" y="122"/>
                    <a:pt x="56" y="122"/>
                  </a:cubicBezTo>
                  <a:cubicBezTo>
                    <a:pt x="57" y="122"/>
                    <a:pt x="57" y="122"/>
                    <a:pt x="57" y="122"/>
                  </a:cubicBezTo>
                  <a:cubicBezTo>
                    <a:pt x="59" y="122"/>
                    <a:pt x="59" y="122"/>
                    <a:pt x="59" y="122"/>
                  </a:cubicBezTo>
                  <a:cubicBezTo>
                    <a:pt x="59" y="122"/>
                    <a:pt x="59" y="122"/>
                    <a:pt x="59" y="122"/>
                  </a:cubicBezTo>
                  <a:cubicBezTo>
                    <a:pt x="62" y="121"/>
                    <a:pt x="62" y="121"/>
                    <a:pt x="62" y="121"/>
                  </a:cubicBezTo>
                  <a:cubicBezTo>
                    <a:pt x="63" y="121"/>
                    <a:pt x="63" y="121"/>
                    <a:pt x="63" y="121"/>
                  </a:cubicBezTo>
                  <a:cubicBezTo>
                    <a:pt x="63" y="121"/>
                    <a:pt x="63" y="121"/>
                    <a:pt x="64" y="121"/>
                  </a:cubicBezTo>
                  <a:cubicBezTo>
                    <a:pt x="64" y="121"/>
                    <a:pt x="64" y="121"/>
                    <a:pt x="64" y="121"/>
                  </a:cubicBezTo>
                  <a:cubicBezTo>
                    <a:pt x="64" y="121"/>
                    <a:pt x="65" y="121"/>
                    <a:pt x="66" y="121"/>
                  </a:cubicBezTo>
                  <a:cubicBezTo>
                    <a:pt x="66" y="121"/>
                    <a:pt x="66" y="121"/>
                    <a:pt x="66" y="121"/>
                  </a:cubicBezTo>
                  <a:cubicBezTo>
                    <a:pt x="67" y="121"/>
                    <a:pt x="67" y="121"/>
                    <a:pt x="67" y="120"/>
                  </a:cubicBezTo>
                  <a:cubicBezTo>
                    <a:pt x="68" y="120"/>
                    <a:pt x="68" y="120"/>
                    <a:pt x="69" y="120"/>
                  </a:cubicBezTo>
                  <a:cubicBezTo>
                    <a:pt x="69" y="120"/>
                    <a:pt x="69" y="120"/>
                    <a:pt x="69" y="120"/>
                  </a:cubicBezTo>
                  <a:cubicBezTo>
                    <a:pt x="69" y="120"/>
                    <a:pt x="70" y="120"/>
                    <a:pt x="70" y="120"/>
                  </a:cubicBezTo>
                  <a:cubicBezTo>
                    <a:pt x="70" y="120"/>
                    <a:pt x="70" y="120"/>
                    <a:pt x="71" y="121"/>
                  </a:cubicBezTo>
                  <a:cubicBezTo>
                    <a:pt x="72" y="121"/>
                    <a:pt x="72" y="121"/>
                    <a:pt x="72" y="121"/>
                  </a:cubicBezTo>
                  <a:cubicBezTo>
                    <a:pt x="73" y="121"/>
                    <a:pt x="73" y="121"/>
                    <a:pt x="73" y="121"/>
                  </a:cubicBezTo>
                  <a:cubicBezTo>
                    <a:pt x="73" y="121"/>
                    <a:pt x="73" y="121"/>
                    <a:pt x="73" y="121"/>
                  </a:cubicBezTo>
                  <a:cubicBezTo>
                    <a:pt x="74" y="120"/>
                    <a:pt x="75" y="119"/>
                    <a:pt x="77" y="119"/>
                  </a:cubicBezTo>
                  <a:cubicBezTo>
                    <a:pt x="78" y="119"/>
                    <a:pt x="78" y="120"/>
                    <a:pt x="79" y="120"/>
                  </a:cubicBezTo>
                  <a:cubicBezTo>
                    <a:pt x="79" y="119"/>
                    <a:pt x="80" y="119"/>
                    <a:pt x="80" y="119"/>
                  </a:cubicBezTo>
                  <a:cubicBezTo>
                    <a:pt x="80" y="119"/>
                    <a:pt x="80" y="119"/>
                    <a:pt x="80" y="119"/>
                  </a:cubicBezTo>
                  <a:cubicBezTo>
                    <a:pt x="81" y="117"/>
                    <a:pt x="81" y="117"/>
                    <a:pt x="81" y="117"/>
                  </a:cubicBezTo>
                  <a:cubicBezTo>
                    <a:pt x="81" y="117"/>
                    <a:pt x="81" y="117"/>
                    <a:pt x="81" y="117"/>
                  </a:cubicBezTo>
                  <a:cubicBezTo>
                    <a:pt x="82" y="116"/>
                    <a:pt x="82" y="116"/>
                    <a:pt x="82" y="116"/>
                  </a:cubicBezTo>
                  <a:cubicBezTo>
                    <a:pt x="74" y="114"/>
                    <a:pt x="74" y="114"/>
                    <a:pt x="74" y="114"/>
                  </a:cubicBezTo>
                  <a:cubicBezTo>
                    <a:pt x="90" y="112"/>
                    <a:pt x="90" y="112"/>
                    <a:pt x="90" y="112"/>
                  </a:cubicBezTo>
                  <a:cubicBezTo>
                    <a:pt x="92" y="112"/>
                    <a:pt x="92" y="112"/>
                    <a:pt x="92" y="112"/>
                  </a:cubicBezTo>
                  <a:cubicBezTo>
                    <a:pt x="96" y="112"/>
                    <a:pt x="96" y="112"/>
                    <a:pt x="96" y="112"/>
                  </a:cubicBezTo>
                  <a:cubicBezTo>
                    <a:pt x="98" y="110"/>
                    <a:pt x="98" y="110"/>
                    <a:pt x="98" y="110"/>
                  </a:cubicBezTo>
                  <a:cubicBezTo>
                    <a:pt x="99" y="110"/>
                    <a:pt x="99" y="110"/>
                    <a:pt x="100" y="110"/>
                  </a:cubicBezTo>
                  <a:cubicBezTo>
                    <a:pt x="100" y="110"/>
                    <a:pt x="101" y="110"/>
                    <a:pt x="101" y="110"/>
                  </a:cubicBezTo>
                  <a:cubicBezTo>
                    <a:pt x="101" y="110"/>
                    <a:pt x="101" y="110"/>
                    <a:pt x="101" y="110"/>
                  </a:cubicBezTo>
                  <a:cubicBezTo>
                    <a:pt x="102" y="110"/>
                    <a:pt x="102" y="110"/>
                    <a:pt x="103" y="110"/>
                  </a:cubicBezTo>
                  <a:cubicBezTo>
                    <a:pt x="103" y="110"/>
                    <a:pt x="104" y="111"/>
                    <a:pt x="104" y="112"/>
                  </a:cubicBezTo>
                  <a:cubicBezTo>
                    <a:pt x="107" y="111"/>
                    <a:pt x="107" y="111"/>
                    <a:pt x="107" y="111"/>
                  </a:cubicBezTo>
                  <a:cubicBezTo>
                    <a:pt x="108" y="111"/>
                    <a:pt x="109" y="110"/>
                    <a:pt x="111" y="110"/>
                  </a:cubicBezTo>
                  <a:cubicBezTo>
                    <a:pt x="112" y="109"/>
                    <a:pt x="112" y="109"/>
                    <a:pt x="112" y="109"/>
                  </a:cubicBezTo>
                  <a:cubicBezTo>
                    <a:pt x="114" y="109"/>
                    <a:pt x="115" y="109"/>
                    <a:pt x="116" y="109"/>
                  </a:cubicBezTo>
                  <a:cubicBezTo>
                    <a:pt x="114" y="108"/>
                    <a:pt x="114" y="108"/>
                    <a:pt x="114" y="108"/>
                  </a:cubicBezTo>
                  <a:cubicBezTo>
                    <a:pt x="123" y="107"/>
                    <a:pt x="123" y="107"/>
                    <a:pt x="123" y="107"/>
                  </a:cubicBezTo>
                  <a:cubicBezTo>
                    <a:pt x="125" y="107"/>
                    <a:pt x="125" y="107"/>
                    <a:pt x="125" y="107"/>
                  </a:cubicBezTo>
                  <a:cubicBezTo>
                    <a:pt x="127" y="106"/>
                    <a:pt x="128" y="106"/>
                    <a:pt x="129" y="106"/>
                  </a:cubicBezTo>
                  <a:cubicBezTo>
                    <a:pt x="131" y="105"/>
                    <a:pt x="131" y="105"/>
                    <a:pt x="131" y="105"/>
                  </a:cubicBezTo>
                  <a:cubicBezTo>
                    <a:pt x="133" y="104"/>
                    <a:pt x="133" y="104"/>
                    <a:pt x="133" y="104"/>
                  </a:cubicBezTo>
                  <a:cubicBezTo>
                    <a:pt x="133" y="104"/>
                    <a:pt x="133" y="104"/>
                    <a:pt x="133" y="104"/>
                  </a:cubicBezTo>
                  <a:cubicBezTo>
                    <a:pt x="142" y="103"/>
                    <a:pt x="142" y="103"/>
                    <a:pt x="142" y="103"/>
                  </a:cubicBezTo>
                  <a:cubicBezTo>
                    <a:pt x="143" y="102"/>
                    <a:pt x="143" y="102"/>
                    <a:pt x="143" y="102"/>
                  </a:cubicBezTo>
                  <a:cubicBezTo>
                    <a:pt x="144" y="102"/>
                    <a:pt x="144" y="102"/>
                    <a:pt x="144" y="102"/>
                  </a:cubicBezTo>
                  <a:cubicBezTo>
                    <a:pt x="144" y="101"/>
                    <a:pt x="145" y="101"/>
                    <a:pt x="146" y="101"/>
                  </a:cubicBezTo>
                  <a:cubicBezTo>
                    <a:pt x="146" y="101"/>
                    <a:pt x="147" y="101"/>
                    <a:pt x="147" y="101"/>
                  </a:cubicBezTo>
                  <a:cubicBezTo>
                    <a:pt x="148" y="101"/>
                    <a:pt x="149" y="101"/>
                    <a:pt x="149" y="101"/>
                  </a:cubicBezTo>
                  <a:cubicBezTo>
                    <a:pt x="150" y="102"/>
                    <a:pt x="150" y="102"/>
                    <a:pt x="150" y="102"/>
                  </a:cubicBezTo>
                  <a:cubicBezTo>
                    <a:pt x="150" y="102"/>
                    <a:pt x="150" y="102"/>
                    <a:pt x="150" y="102"/>
                  </a:cubicBezTo>
                  <a:cubicBezTo>
                    <a:pt x="151" y="102"/>
                    <a:pt x="151" y="101"/>
                    <a:pt x="152" y="101"/>
                  </a:cubicBezTo>
                  <a:cubicBezTo>
                    <a:pt x="154" y="100"/>
                    <a:pt x="154" y="100"/>
                    <a:pt x="154" y="100"/>
                  </a:cubicBezTo>
                  <a:cubicBezTo>
                    <a:pt x="154" y="99"/>
                    <a:pt x="154" y="99"/>
                    <a:pt x="154" y="99"/>
                  </a:cubicBezTo>
                  <a:cubicBezTo>
                    <a:pt x="155" y="99"/>
                    <a:pt x="155" y="99"/>
                    <a:pt x="155" y="99"/>
                  </a:cubicBezTo>
                  <a:cubicBezTo>
                    <a:pt x="155" y="98"/>
                    <a:pt x="156" y="98"/>
                    <a:pt x="157" y="97"/>
                  </a:cubicBezTo>
                  <a:cubicBezTo>
                    <a:pt x="158" y="97"/>
                    <a:pt x="161" y="95"/>
                    <a:pt x="161" y="95"/>
                  </a:cubicBezTo>
                  <a:cubicBezTo>
                    <a:pt x="162" y="94"/>
                    <a:pt x="162" y="93"/>
                    <a:pt x="163" y="92"/>
                  </a:cubicBezTo>
                  <a:cubicBezTo>
                    <a:pt x="163" y="90"/>
                    <a:pt x="163" y="90"/>
                    <a:pt x="163" y="90"/>
                  </a:cubicBezTo>
                  <a:cubicBezTo>
                    <a:pt x="164" y="89"/>
                    <a:pt x="166" y="88"/>
                    <a:pt x="168" y="88"/>
                  </a:cubicBezTo>
                  <a:cubicBezTo>
                    <a:pt x="168" y="88"/>
                    <a:pt x="168" y="88"/>
                    <a:pt x="168" y="88"/>
                  </a:cubicBezTo>
                  <a:cubicBezTo>
                    <a:pt x="168" y="89"/>
                    <a:pt x="168" y="89"/>
                    <a:pt x="168" y="89"/>
                  </a:cubicBezTo>
                  <a:cubicBezTo>
                    <a:pt x="168" y="88"/>
                    <a:pt x="168" y="88"/>
                    <a:pt x="168" y="88"/>
                  </a:cubicBezTo>
                  <a:cubicBezTo>
                    <a:pt x="174" y="88"/>
                    <a:pt x="174" y="88"/>
                    <a:pt x="174" y="88"/>
                  </a:cubicBezTo>
                  <a:cubicBezTo>
                    <a:pt x="175" y="89"/>
                    <a:pt x="175" y="89"/>
                    <a:pt x="175" y="89"/>
                  </a:cubicBezTo>
                  <a:cubicBezTo>
                    <a:pt x="175" y="88"/>
                    <a:pt x="175" y="88"/>
                    <a:pt x="175" y="88"/>
                  </a:cubicBezTo>
                  <a:cubicBezTo>
                    <a:pt x="178" y="88"/>
                    <a:pt x="178" y="88"/>
                    <a:pt x="178" y="88"/>
                  </a:cubicBezTo>
                  <a:cubicBezTo>
                    <a:pt x="178" y="88"/>
                    <a:pt x="178" y="88"/>
                    <a:pt x="178" y="88"/>
                  </a:cubicBezTo>
                  <a:cubicBezTo>
                    <a:pt x="179" y="88"/>
                    <a:pt x="179" y="88"/>
                    <a:pt x="179" y="88"/>
                  </a:cubicBezTo>
                  <a:cubicBezTo>
                    <a:pt x="179" y="88"/>
                    <a:pt x="179" y="88"/>
                    <a:pt x="179" y="88"/>
                  </a:cubicBezTo>
                  <a:cubicBezTo>
                    <a:pt x="188" y="89"/>
                    <a:pt x="188" y="89"/>
                    <a:pt x="188" y="89"/>
                  </a:cubicBezTo>
                  <a:cubicBezTo>
                    <a:pt x="190" y="89"/>
                    <a:pt x="190" y="89"/>
                    <a:pt x="191" y="90"/>
                  </a:cubicBezTo>
                  <a:cubicBezTo>
                    <a:pt x="193" y="91"/>
                    <a:pt x="193" y="91"/>
                    <a:pt x="193" y="91"/>
                  </a:cubicBezTo>
                  <a:cubicBezTo>
                    <a:pt x="194" y="92"/>
                    <a:pt x="195" y="93"/>
                    <a:pt x="196" y="93"/>
                  </a:cubicBezTo>
                  <a:cubicBezTo>
                    <a:pt x="196" y="94"/>
                    <a:pt x="196" y="94"/>
                    <a:pt x="196" y="94"/>
                  </a:cubicBezTo>
                  <a:cubicBezTo>
                    <a:pt x="197" y="94"/>
                    <a:pt x="197" y="94"/>
                    <a:pt x="197" y="94"/>
                  </a:cubicBezTo>
                  <a:cubicBezTo>
                    <a:pt x="198" y="94"/>
                    <a:pt x="199" y="95"/>
                    <a:pt x="200" y="95"/>
                  </a:cubicBezTo>
                  <a:cubicBezTo>
                    <a:pt x="201" y="95"/>
                    <a:pt x="201" y="95"/>
                    <a:pt x="201" y="95"/>
                  </a:cubicBezTo>
                  <a:cubicBezTo>
                    <a:pt x="202" y="94"/>
                    <a:pt x="205" y="92"/>
                    <a:pt x="208" y="90"/>
                  </a:cubicBezTo>
                  <a:cubicBezTo>
                    <a:pt x="209" y="90"/>
                    <a:pt x="209" y="90"/>
                    <a:pt x="209" y="90"/>
                  </a:cubicBezTo>
                  <a:cubicBezTo>
                    <a:pt x="214" y="90"/>
                    <a:pt x="214" y="90"/>
                    <a:pt x="214" y="90"/>
                  </a:cubicBezTo>
                  <a:cubicBezTo>
                    <a:pt x="215" y="90"/>
                    <a:pt x="215" y="90"/>
                    <a:pt x="215" y="90"/>
                  </a:cubicBezTo>
                  <a:cubicBezTo>
                    <a:pt x="216" y="91"/>
                    <a:pt x="218" y="92"/>
                    <a:pt x="219" y="93"/>
                  </a:cubicBezTo>
                  <a:cubicBezTo>
                    <a:pt x="220" y="96"/>
                    <a:pt x="222" y="99"/>
                    <a:pt x="223" y="103"/>
                  </a:cubicBezTo>
                  <a:cubicBezTo>
                    <a:pt x="228" y="112"/>
                    <a:pt x="228" y="112"/>
                    <a:pt x="228" y="112"/>
                  </a:cubicBezTo>
                  <a:cubicBezTo>
                    <a:pt x="228" y="113"/>
                    <a:pt x="228" y="114"/>
                    <a:pt x="228" y="115"/>
                  </a:cubicBezTo>
                  <a:cubicBezTo>
                    <a:pt x="228" y="116"/>
                    <a:pt x="228" y="116"/>
                    <a:pt x="228" y="116"/>
                  </a:cubicBezTo>
                  <a:cubicBezTo>
                    <a:pt x="226" y="117"/>
                    <a:pt x="226" y="117"/>
                    <a:pt x="226" y="117"/>
                  </a:cubicBezTo>
                  <a:cubicBezTo>
                    <a:pt x="226" y="119"/>
                    <a:pt x="226" y="119"/>
                    <a:pt x="226" y="119"/>
                  </a:cubicBezTo>
                  <a:cubicBezTo>
                    <a:pt x="227" y="119"/>
                    <a:pt x="227" y="119"/>
                    <a:pt x="227" y="119"/>
                  </a:cubicBezTo>
                  <a:cubicBezTo>
                    <a:pt x="227" y="120"/>
                    <a:pt x="227" y="120"/>
                    <a:pt x="227" y="120"/>
                  </a:cubicBezTo>
                  <a:cubicBezTo>
                    <a:pt x="227" y="121"/>
                    <a:pt x="227" y="121"/>
                    <a:pt x="227" y="121"/>
                  </a:cubicBezTo>
                  <a:cubicBezTo>
                    <a:pt x="227" y="121"/>
                    <a:pt x="227" y="121"/>
                    <a:pt x="227" y="121"/>
                  </a:cubicBezTo>
                  <a:cubicBezTo>
                    <a:pt x="228" y="123"/>
                    <a:pt x="228" y="123"/>
                    <a:pt x="228" y="123"/>
                  </a:cubicBezTo>
                  <a:cubicBezTo>
                    <a:pt x="227" y="125"/>
                    <a:pt x="227" y="126"/>
                    <a:pt x="226" y="127"/>
                  </a:cubicBezTo>
                  <a:cubicBezTo>
                    <a:pt x="225" y="127"/>
                    <a:pt x="225" y="128"/>
                    <a:pt x="224" y="128"/>
                  </a:cubicBezTo>
                  <a:cubicBezTo>
                    <a:pt x="225" y="129"/>
                    <a:pt x="225" y="129"/>
                    <a:pt x="225" y="129"/>
                  </a:cubicBezTo>
                  <a:cubicBezTo>
                    <a:pt x="227" y="129"/>
                    <a:pt x="227" y="129"/>
                    <a:pt x="227" y="129"/>
                  </a:cubicBezTo>
                  <a:cubicBezTo>
                    <a:pt x="227" y="129"/>
                    <a:pt x="227" y="129"/>
                    <a:pt x="227" y="129"/>
                  </a:cubicBezTo>
                  <a:cubicBezTo>
                    <a:pt x="228" y="129"/>
                    <a:pt x="228" y="129"/>
                    <a:pt x="228" y="129"/>
                  </a:cubicBezTo>
                  <a:cubicBezTo>
                    <a:pt x="230" y="129"/>
                    <a:pt x="231" y="129"/>
                    <a:pt x="232" y="129"/>
                  </a:cubicBezTo>
                  <a:cubicBezTo>
                    <a:pt x="236" y="128"/>
                    <a:pt x="236" y="128"/>
                    <a:pt x="236" y="128"/>
                  </a:cubicBezTo>
                  <a:cubicBezTo>
                    <a:pt x="242" y="127"/>
                    <a:pt x="242" y="127"/>
                    <a:pt x="242" y="127"/>
                  </a:cubicBezTo>
                  <a:cubicBezTo>
                    <a:pt x="243" y="127"/>
                    <a:pt x="243" y="127"/>
                    <a:pt x="243" y="127"/>
                  </a:cubicBezTo>
                  <a:cubicBezTo>
                    <a:pt x="242" y="126"/>
                    <a:pt x="242" y="125"/>
                    <a:pt x="242" y="124"/>
                  </a:cubicBezTo>
                  <a:cubicBezTo>
                    <a:pt x="241" y="121"/>
                    <a:pt x="241" y="121"/>
                    <a:pt x="241" y="121"/>
                  </a:cubicBezTo>
                  <a:cubicBezTo>
                    <a:pt x="247" y="120"/>
                    <a:pt x="247" y="120"/>
                    <a:pt x="247" y="120"/>
                  </a:cubicBezTo>
                  <a:cubicBezTo>
                    <a:pt x="249" y="121"/>
                    <a:pt x="249" y="121"/>
                    <a:pt x="249" y="121"/>
                  </a:cubicBezTo>
                  <a:cubicBezTo>
                    <a:pt x="249" y="121"/>
                    <a:pt x="249" y="121"/>
                    <a:pt x="249" y="121"/>
                  </a:cubicBezTo>
                  <a:cubicBezTo>
                    <a:pt x="253" y="126"/>
                    <a:pt x="253" y="126"/>
                    <a:pt x="253" y="126"/>
                  </a:cubicBezTo>
                  <a:cubicBezTo>
                    <a:pt x="254" y="127"/>
                    <a:pt x="254" y="128"/>
                    <a:pt x="255" y="129"/>
                  </a:cubicBezTo>
                  <a:cubicBezTo>
                    <a:pt x="255" y="129"/>
                    <a:pt x="255" y="129"/>
                    <a:pt x="255" y="129"/>
                  </a:cubicBezTo>
                  <a:cubicBezTo>
                    <a:pt x="256" y="129"/>
                    <a:pt x="256" y="129"/>
                    <a:pt x="256" y="129"/>
                  </a:cubicBezTo>
                  <a:cubicBezTo>
                    <a:pt x="256" y="128"/>
                    <a:pt x="257" y="128"/>
                    <a:pt x="258" y="128"/>
                  </a:cubicBezTo>
                  <a:cubicBezTo>
                    <a:pt x="258" y="128"/>
                    <a:pt x="259" y="128"/>
                    <a:pt x="259" y="129"/>
                  </a:cubicBezTo>
                  <a:cubicBezTo>
                    <a:pt x="260" y="129"/>
                    <a:pt x="260" y="129"/>
                    <a:pt x="260" y="129"/>
                  </a:cubicBezTo>
                  <a:cubicBezTo>
                    <a:pt x="261" y="129"/>
                    <a:pt x="261" y="129"/>
                    <a:pt x="261" y="129"/>
                  </a:cubicBezTo>
                  <a:cubicBezTo>
                    <a:pt x="262" y="129"/>
                    <a:pt x="262" y="130"/>
                    <a:pt x="263" y="130"/>
                  </a:cubicBezTo>
                  <a:cubicBezTo>
                    <a:pt x="264" y="131"/>
                    <a:pt x="264" y="131"/>
                    <a:pt x="264" y="131"/>
                  </a:cubicBezTo>
                  <a:cubicBezTo>
                    <a:pt x="266" y="132"/>
                    <a:pt x="268" y="133"/>
                    <a:pt x="270" y="133"/>
                  </a:cubicBezTo>
                  <a:cubicBezTo>
                    <a:pt x="270" y="133"/>
                    <a:pt x="270" y="133"/>
                    <a:pt x="270" y="133"/>
                  </a:cubicBezTo>
                  <a:cubicBezTo>
                    <a:pt x="290" y="130"/>
                    <a:pt x="290" y="130"/>
                    <a:pt x="290" y="130"/>
                  </a:cubicBezTo>
                  <a:cubicBezTo>
                    <a:pt x="287" y="135"/>
                    <a:pt x="287" y="135"/>
                    <a:pt x="287" y="135"/>
                  </a:cubicBezTo>
                  <a:cubicBezTo>
                    <a:pt x="287" y="135"/>
                    <a:pt x="286" y="136"/>
                    <a:pt x="286" y="136"/>
                  </a:cubicBezTo>
                  <a:cubicBezTo>
                    <a:pt x="284" y="139"/>
                    <a:pt x="284" y="139"/>
                    <a:pt x="284" y="139"/>
                  </a:cubicBezTo>
                  <a:cubicBezTo>
                    <a:pt x="283" y="140"/>
                    <a:pt x="282" y="141"/>
                    <a:pt x="280" y="141"/>
                  </a:cubicBezTo>
                  <a:cubicBezTo>
                    <a:pt x="279" y="142"/>
                    <a:pt x="279" y="142"/>
                    <a:pt x="279" y="142"/>
                  </a:cubicBezTo>
                  <a:cubicBezTo>
                    <a:pt x="278" y="143"/>
                    <a:pt x="278" y="143"/>
                    <a:pt x="278" y="143"/>
                  </a:cubicBezTo>
                  <a:cubicBezTo>
                    <a:pt x="277" y="144"/>
                    <a:pt x="277" y="145"/>
                    <a:pt x="276" y="146"/>
                  </a:cubicBezTo>
                  <a:cubicBezTo>
                    <a:pt x="276" y="147"/>
                    <a:pt x="276" y="147"/>
                    <a:pt x="276" y="147"/>
                  </a:cubicBezTo>
                  <a:cubicBezTo>
                    <a:pt x="278" y="150"/>
                    <a:pt x="278" y="150"/>
                    <a:pt x="278" y="150"/>
                  </a:cubicBezTo>
                  <a:cubicBezTo>
                    <a:pt x="280" y="148"/>
                    <a:pt x="280" y="148"/>
                    <a:pt x="280" y="148"/>
                  </a:cubicBezTo>
                  <a:cubicBezTo>
                    <a:pt x="282" y="147"/>
                    <a:pt x="284" y="146"/>
                    <a:pt x="286" y="146"/>
                  </a:cubicBezTo>
                  <a:cubicBezTo>
                    <a:pt x="286" y="146"/>
                    <a:pt x="287" y="146"/>
                    <a:pt x="287" y="146"/>
                  </a:cubicBezTo>
                  <a:cubicBezTo>
                    <a:pt x="293" y="146"/>
                    <a:pt x="293" y="146"/>
                    <a:pt x="293" y="146"/>
                  </a:cubicBezTo>
                  <a:cubicBezTo>
                    <a:pt x="296" y="147"/>
                    <a:pt x="296" y="147"/>
                    <a:pt x="296" y="147"/>
                  </a:cubicBezTo>
                  <a:cubicBezTo>
                    <a:pt x="297" y="147"/>
                    <a:pt x="297" y="147"/>
                    <a:pt x="298" y="148"/>
                  </a:cubicBezTo>
                  <a:cubicBezTo>
                    <a:pt x="298" y="147"/>
                    <a:pt x="298" y="147"/>
                    <a:pt x="298" y="147"/>
                  </a:cubicBezTo>
                  <a:cubicBezTo>
                    <a:pt x="298" y="146"/>
                    <a:pt x="298" y="146"/>
                    <a:pt x="298" y="146"/>
                  </a:cubicBezTo>
                  <a:cubicBezTo>
                    <a:pt x="298" y="145"/>
                    <a:pt x="299" y="144"/>
                    <a:pt x="300" y="143"/>
                  </a:cubicBezTo>
                  <a:cubicBezTo>
                    <a:pt x="301" y="143"/>
                    <a:pt x="301" y="143"/>
                    <a:pt x="301" y="143"/>
                  </a:cubicBezTo>
                  <a:cubicBezTo>
                    <a:pt x="311" y="138"/>
                    <a:pt x="311" y="138"/>
                    <a:pt x="311" y="138"/>
                  </a:cubicBezTo>
                  <a:cubicBezTo>
                    <a:pt x="315" y="137"/>
                    <a:pt x="318" y="135"/>
                    <a:pt x="321" y="133"/>
                  </a:cubicBezTo>
                  <a:cubicBezTo>
                    <a:pt x="324" y="132"/>
                    <a:pt x="327" y="130"/>
                    <a:pt x="331" y="128"/>
                  </a:cubicBezTo>
                  <a:cubicBezTo>
                    <a:pt x="375" y="110"/>
                    <a:pt x="375" y="110"/>
                    <a:pt x="375" y="110"/>
                  </a:cubicBezTo>
                  <a:cubicBezTo>
                    <a:pt x="358" y="124"/>
                    <a:pt x="358" y="124"/>
                    <a:pt x="358" y="124"/>
                  </a:cubicBezTo>
                  <a:cubicBezTo>
                    <a:pt x="359" y="127"/>
                    <a:pt x="359" y="127"/>
                    <a:pt x="359" y="127"/>
                  </a:cubicBezTo>
                  <a:cubicBezTo>
                    <a:pt x="359" y="128"/>
                    <a:pt x="358" y="129"/>
                    <a:pt x="358" y="130"/>
                  </a:cubicBezTo>
                  <a:cubicBezTo>
                    <a:pt x="357" y="131"/>
                    <a:pt x="357" y="131"/>
                    <a:pt x="357" y="131"/>
                  </a:cubicBezTo>
                  <a:cubicBezTo>
                    <a:pt x="357" y="132"/>
                    <a:pt x="357" y="132"/>
                    <a:pt x="357" y="132"/>
                  </a:cubicBezTo>
                  <a:cubicBezTo>
                    <a:pt x="357" y="132"/>
                    <a:pt x="357" y="132"/>
                    <a:pt x="357" y="132"/>
                  </a:cubicBezTo>
                  <a:cubicBezTo>
                    <a:pt x="356" y="132"/>
                    <a:pt x="356" y="132"/>
                    <a:pt x="356" y="132"/>
                  </a:cubicBezTo>
                  <a:cubicBezTo>
                    <a:pt x="356" y="133"/>
                    <a:pt x="356" y="133"/>
                    <a:pt x="355" y="133"/>
                  </a:cubicBezTo>
                  <a:cubicBezTo>
                    <a:pt x="354" y="134"/>
                    <a:pt x="354" y="134"/>
                    <a:pt x="354" y="134"/>
                  </a:cubicBezTo>
                  <a:cubicBezTo>
                    <a:pt x="356" y="135"/>
                    <a:pt x="357" y="136"/>
                    <a:pt x="358" y="136"/>
                  </a:cubicBezTo>
                  <a:cubicBezTo>
                    <a:pt x="363" y="141"/>
                    <a:pt x="363" y="141"/>
                    <a:pt x="363" y="141"/>
                  </a:cubicBezTo>
                  <a:cubicBezTo>
                    <a:pt x="376" y="150"/>
                    <a:pt x="376" y="150"/>
                    <a:pt x="376" y="150"/>
                  </a:cubicBezTo>
                  <a:cubicBezTo>
                    <a:pt x="380" y="153"/>
                    <a:pt x="383" y="157"/>
                    <a:pt x="385" y="159"/>
                  </a:cubicBezTo>
                  <a:cubicBezTo>
                    <a:pt x="396" y="174"/>
                    <a:pt x="396" y="174"/>
                    <a:pt x="396" y="174"/>
                  </a:cubicBezTo>
                  <a:cubicBezTo>
                    <a:pt x="400" y="180"/>
                    <a:pt x="400" y="180"/>
                    <a:pt x="400" y="180"/>
                  </a:cubicBezTo>
                  <a:cubicBezTo>
                    <a:pt x="406" y="189"/>
                    <a:pt x="412" y="198"/>
                    <a:pt x="417" y="207"/>
                  </a:cubicBezTo>
                  <a:cubicBezTo>
                    <a:pt x="422" y="215"/>
                    <a:pt x="427" y="223"/>
                    <a:pt x="432" y="231"/>
                  </a:cubicBezTo>
                  <a:cubicBezTo>
                    <a:pt x="434" y="233"/>
                    <a:pt x="434" y="233"/>
                    <a:pt x="434" y="233"/>
                  </a:cubicBezTo>
                  <a:cubicBezTo>
                    <a:pt x="434" y="232"/>
                    <a:pt x="435" y="232"/>
                    <a:pt x="436" y="231"/>
                  </a:cubicBezTo>
                  <a:cubicBezTo>
                    <a:pt x="436" y="231"/>
                    <a:pt x="436" y="231"/>
                    <a:pt x="436" y="231"/>
                  </a:cubicBezTo>
                  <a:cubicBezTo>
                    <a:pt x="437" y="231"/>
                    <a:pt x="438" y="230"/>
                    <a:pt x="439" y="230"/>
                  </a:cubicBezTo>
                  <a:cubicBezTo>
                    <a:pt x="440" y="230"/>
                    <a:pt x="440" y="230"/>
                    <a:pt x="440" y="230"/>
                  </a:cubicBezTo>
                  <a:cubicBezTo>
                    <a:pt x="440" y="230"/>
                    <a:pt x="440" y="230"/>
                    <a:pt x="440" y="230"/>
                  </a:cubicBezTo>
                  <a:cubicBezTo>
                    <a:pt x="440" y="229"/>
                    <a:pt x="440" y="229"/>
                    <a:pt x="440" y="229"/>
                  </a:cubicBezTo>
                  <a:cubicBezTo>
                    <a:pt x="439" y="229"/>
                    <a:pt x="439" y="229"/>
                    <a:pt x="439" y="229"/>
                  </a:cubicBezTo>
                  <a:cubicBezTo>
                    <a:pt x="439" y="228"/>
                    <a:pt x="439" y="227"/>
                    <a:pt x="439" y="227"/>
                  </a:cubicBezTo>
                  <a:cubicBezTo>
                    <a:pt x="439" y="226"/>
                    <a:pt x="439" y="226"/>
                    <a:pt x="439" y="226"/>
                  </a:cubicBezTo>
                  <a:cubicBezTo>
                    <a:pt x="439" y="226"/>
                    <a:pt x="439" y="226"/>
                    <a:pt x="439" y="226"/>
                  </a:cubicBezTo>
                  <a:cubicBezTo>
                    <a:pt x="439" y="225"/>
                    <a:pt x="439" y="225"/>
                    <a:pt x="439" y="225"/>
                  </a:cubicBezTo>
                  <a:cubicBezTo>
                    <a:pt x="439" y="225"/>
                    <a:pt x="439" y="225"/>
                    <a:pt x="439" y="225"/>
                  </a:cubicBezTo>
                  <a:cubicBezTo>
                    <a:pt x="439" y="223"/>
                    <a:pt x="439" y="223"/>
                    <a:pt x="439" y="223"/>
                  </a:cubicBezTo>
                  <a:cubicBezTo>
                    <a:pt x="439" y="223"/>
                    <a:pt x="440" y="222"/>
                    <a:pt x="440" y="222"/>
                  </a:cubicBezTo>
                  <a:cubicBezTo>
                    <a:pt x="441" y="221"/>
                    <a:pt x="442" y="221"/>
                    <a:pt x="443" y="221"/>
                  </a:cubicBezTo>
                  <a:cubicBezTo>
                    <a:pt x="443" y="221"/>
                    <a:pt x="443" y="221"/>
                    <a:pt x="443" y="221"/>
                  </a:cubicBezTo>
                  <a:cubicBezTo>
                    <a:pt x="443" y="221"/>
                    <a:pt x="443" y="221"/>
                    <a:pt x="443" y="221"/>
                  </a:cubicBezTo>
                  <a:cubicBezTo>
                    <a:pt x="444" y="221"/>
                    <a:pt x="444" y="221"/>
                    <a:pt x="444" y="221"/>
                  </a:cubicBezTo>
                  <a:cubicBezTo>
                    <a:pt x="444" y="221"/>
                    <a:pt x="444" y="221"/>
                    <a:pt x="444" y="221"/>
                  </a:cubicBezTo>
                  <a:cubicBezTo>
                    <a:pt x="445" y="220"/>
                    <a:pt x="446" y="218"/>
                    <a:pt x="448" y="218"/>
                  </a:cubicBezTo>
                  <a:cubicBezTo>
                    <a:pt x="448" y="218"/>
                    <a:pt x="449" y="218"/>
                    <a:pt x="449" y="218"/>
                  </a:cubicBezTo>
                  <a:cubicBezTo>
                    <a:pt x="457" y="221"/>
                    <a:pt x="457" y="221"/>
                    <a:pt x="457" y="221"/>
                  </a:cubicBezTo>
                  <a:cubicBezTo>
                    <a:pt x="461" y="222"/>
                    <a:pt x="461" y="224"/>
                    <a:pt x="461" y="225"/>
                  </a:cubicBezTo>
                  <a:cubicBezTo>
                    <a:pt x="461" y="227"/>
                    <a:pt x="461" y="227"/>
                    <a:pt x="461" y="227"/>
                  </a:cubicBezTo>
                  <a:cubicBezTo>
                    <a:pt x="461" y="228"/>
                    <a:pt x="460" y="228"/>
                    <a:pt x="460" y="228"/>
                  </a:cubicBezTo>
                  <a:cubicBezTo>
                    <a:pt x="460" y="229"/>
                    <a:pt x="460" y="229"/>
                    <a:pt x="460" y="229"/>
                  </a:cubicBezTo>
                  <a:cubicBezTo>
                    <a:pt x="460" y="229"/>
                    <a:pt x="460" y="229"/>
                    <a:pt x="460" y="229"/>
                  </a:cubicBezTo>
                  <a:cubicBezTo>
                    <a:pt x="461" y="230"/>
                    <a:pt x="461" y="230"/>
                    <a:pt x="461" y="230"/>
                  </a:cubicBezTo>
                  <a:cubicBezTo>
                    <a:pt x="462" y="231"/>
                    <a:pt x="463" y="232"/>
                    <a:pt x="463" y="232"/>
                  </a:cubicBezTo>
                  <a:cubicBezTo>
                    <a:pt x="464" y="233"/>
                    <a:pt x="464" y="233"/>
                    <a:pt x="464" y="233"/>
                  </a:cubicBezTo>
                  <a:cubicBezTo>
                    <a:pt x="465" y="234"/>
                    <a:pt x="466" y="235"/>
                    <a:pt x="467" y="235"/>
                  </a:cubicBezTo>
                  <a:cubicBezTo>
                    <a:pt x="467" y="236"/>
                    <a:pt x="467" y="236"/>
                    <a:pt x="467" y="236"/>
                  </a:cubicBezTo>
                  <a:cubicBezTo>
                    <a:pt x="468" y="236"/>
                    <a:pt x="468" y="236"/>
                    <a:pt x="468" y="236"/>
                  </a:cubicBezTo>
                  <a:cubicBezTo>
                    <a:pt x="468" y="236"/>
                    <a:pt x="469" y="236"/>
                    <a:pt x="469" y="236"/>
                  </a:cubicBezTo>
                  <a:cubicBezTo>
                    <a:pt x="469" y="236"/>
                    <a:pt x="469" y="236"/>
                    <a:pt x="470" y="236"/>
                  </a:cubicBezTo>
                  <a:cubicBezTo>
                    <a:pt x="470" y="236"/>
                    <a:pt x="470" y="236"/>
                    <a:pt x="470" y="236"/>
                  </a:cubicBezTo>
                  <a:cubicBezTo>
                    <a:pt x="471" y="235"/>
                    <a:pt x="471" y="235"/>
                    <a:pt x="471" y="235"/>
                  </a:cubicBezTo>
                  <a:cubicBezTo>
                    <a:pt x="472" y="235"/>
                    <a:pt x="472" y="235"/>
                    <a:pt x="472" y="235"/>
                  </a:cubicBezTo>
                  <a:cubicBezTo>
                    <a:pt x="473" y="235"/>
                    <a:pt x="474" y="235"/>
                    <a:pt x="475" y="235"/>
                  </a:cubicBezTo>
                  <a:cubicBezTo>
                    <a:pt x="476" y="235"/>
                    <a:pt x="476" y="235"/>
                    <a:pt x="477" y="235"/>
                  </a:cubicBezTo>
                  <a:cubicBezTo>
                    <a:pt x="490" y="236"/>
                    <a:pt x="490" y="236"/>
                    <a:pt x="490" y="236"/>
                  </a:cubicBezTo>
                  <a:cubicBezTo>
                    <a:pt x="490" y="236"/>
                    <a:pt x="490" y="236"/>
                    <a:pt x="490" y="236"/>
                  </a:cubicBezTo>
                  <a:cubicBezTo>
                    <a:pt x="491" y="236"/>
                    <a:pt x="491" y="235"/>
                    <a:pt x="492" y="235"/>
                  </a:cubicBezTo>
                  <a:cubicBezTo>
                    <a:pt x="493" y="235"/>
                    <a:pt x="493" y="235"/>
                    <a:pt x="493" y="235"/>
                  </a:cubicBezTo>
                  <a:cubicBezTo>
                    <a:pt x="493" y="235"/>
                    <a:pt x="493" y="235"/>
                    <a:pt x="493" y="235"/>
                  </a:cubicBezTo>
                  <a:cubicBezTo>
                    <a:pt x="493" y="234"/>
                    <a:pt x="493" y="234"/>
                    <a:pt x="493" y="234"/>
                  </a:cubicBezTo>
                  <a:cubicBezTo>
                    <a:pt x="494" y="232"/>
                    <a:pt x="495" y="231"/>
                    <a:pt x="496" y="230"/>
                  </a:cubicBezTo>
                  <a:cubicBezTo>
                    <a:pt x="497" y="230"/>
                    <a:pt x="497" y="230"/>
                    <a:pt x="497" y="230"/>
                  </a:cubicBezTo>
                  <a:cubicBezTo>
                    <a:pt x="504" y="228"/>
                    <a:pt x="504" y="228"/>
                    <a:pt x="504" y="228"/>
                  </a:cubicBezTo>
                  <a:cubicBezTo>
                    <a:pt x="505" y="228"/>
                    <a:pt x="505" y="228"/>
                    <a:pt x="506" y="228"/>
                  </a:cubicBezTo>
                  <a:cubicBezTo>
                    <a:pt x="506" y="228"/>
                    <a:pt x="506" y="228"/>
                    <a:pt x="506" y="228"/>
                  </a:cubicBezTo>
                  <a:cubicBezTo>
                    <a:pt x="507" y="228"/>
                    <a:pt x="507" y="228"/>
                    <a:pt x="507" y="228"/>
                  </a:cubicBezTo>
                  <a:cubicBezTo>
                    <a:pt x="517" y="230"/>
                    <a:pt x="517" y="230"/>
                    <a:pt x="517" y="230"/>
                  </a:cubicBezTo>
                  <a:cubicBezTo>
                    <a:pt x="518" y="231"/>
                    <a:pt x="520" y="231"/>
                    <a:pt x="521" y="231"/>
                  </a:cubicBezTo>
                  <a:cubicBezTo>
                    <a:pt x="522" y="231"/>
                    <a:pt x="523" y="232"/>
                    <a:pt x="524" y="232"/>
                  </a:cubicBezTo>
                  <a:cubicBezTo>
                    <a:pt x="524" y="232"/>
                    <a:pt x="524" y="232"/>
                    <a:pt x="524" y="232"/>
                  </a:cubicBezTo>
                  <a:cubicBezTo>
                    <a:pt x="525" y="234"/>
                    <a:pt x="525" y="234"/>
                    <a:pt x="525" y="234"/>
                  </a:cubicBezTo>
                  <a:cubicBezTo>
                    <a:pt x="527" y="235"/>
                    <a:pt x="527" y="235"/>
                    <a:pt x="527" y="235"/>
                  </a:cubicBezTo>
                  <a:cubicBezTo>
                    <a:pt x="530" y="239"/>
                    <a:pt x="530" y="239"/>
                    <a:pt x="530" y="239"/>
                  </a:cubicBezTo>
                  <a:cubicBezTo>
                    <a:pt x="531" y="241"/>
                    <a:pt x="532" y="243"/>
                    <a:pt x="532" y="245"/>
                  </a:cubicBezTo>
                  <a:cubicBezTo>
                    <a:pt x="533" y="246"/>
                    <a:pt x="533" y="246"/>
                    <a:pt x="533" y="246"/>
                  </a:cubicBezTo>
                  <a:cubicBezTo>
                    <a:pt x="533" y="247"/>
                    <a:pt x="533" y="248"/>
                    <a:pt x="533" y="249"/>
                  </a:cubicBezTo>
                  <a:cubicBezTo>
                    <a:pt x="534" y="249"/>
                    <a:pt x="534" y="249"/>
                    <a:pt x="534" y="249"/>
                  </a:cubicBezTo>
                  <a:cubicBezTo>
                    <a:pt x="534" y="250"/>
                    <a:pt x="534" y="250"/>
                    <a:pt x="534" y="250"/>
                  </a:cubicBezTo>
                  <a:cubicBezTo>
                    <a:pt x="534" y="250"/>
                    <a:pt x="534" y="250"/>
                    <a:pt x="534" y="250"/>
                  </a:cubicBezTo>
                  <a:cubicBezTo>
                    <a:pt x="537" y="251"/>
                    <a:pt x="537" y="251"/>
                    <a:pt x="537" y="251"/>
                  </a:cubicBezTo>
                  <a:cubicBezTo>
                    <a:pt x="537" y="251"/>
                    <a:pt x="538" y="251"/>
                    <a:pt x="538" y="251"/>
                  </a:cubicBezTo>
                  <a:cubicBezTo>
                    <a:pt x="553" y="259"/>
                    <a:pt x="553" y="259"/>
                    <a:pt x="553" y="259"/>
                  </a:cubicBezTo>
                  <a:cubicBezTo>
                    <a:pt x="553" y="260"/>
                    <a:pt x="553" y="260"/>
                    <a:pt x="553" y="260"/>
                  </a:cubicBezTo>
                  <a:cubicBezTo>
                    <a:pt x="553" y="261"/>
                    <a:pt x="553" y="261"/>
                    <a:pt x="553" y="261"/>
                  </a:cubicBezTo>
                  <a:cubicBezTo>
                    <a:pt x="557" y="261"/>
                    <a:pt x="557" y="261"/>
                    <a:pt x="557" y="261"/>
                  </a:cubicBezTo>
                  <a:cubicBezTo>
                    <a:pt x="553" y="262"/>
                    <a:pt x="553" y="262"/>
                    <a:pt x="553" y="262"/>
                  </a:cubicBezTo>
                  <a:cubicBezTo>
                    <a:pt x="553" y="263"/>
                    <a:pt x="553" y="263"/>
                    <a:pt x="553" y="263"/>
                  </a:cubicBezTo>
                  <a:cubicBezTo>
                    <a:pt x="552" y="263"/>
                    <a:pt x="552" y="263"/>
                    <a:pt x="552" y="263"/>
                  </a:cubicBezTo>
                  <a:cubicBezTo>
                    <a:pt x="553" y="264"/>
                    <a:pt x="553" y="264"/>
                    <a:pt x="553" y="264"/>
                  </a:cubicBezTo>
                  <a:cubicBezTo>
                    <a:pt x="554" y="265"/>
                    <a:pt x="554" y="265"/>
                    <a:pt x="554" y="265"/>
                  </a:cubicBezTo>
                  <a:cubicBezTo>
                    <a:pt x="554" y="266"/>
                    <a:pt x="554" y="266"/>
                    <a:pt x="554" y="266"/>
                  </a:cubicBezTo>
                  <a:cubicBezTo>
                    <a:pt x="555" y="266"/>
                    <a:pt x="555" y="266"/>
                    <a:pt x="555" y="266"/>
                  </a:cubicBezTo>
                  <a:cubicBezTo>
                    <a:pt x="555" y="267"/>
                    <a:pt x="555" y="267"/>
                    <a:pt x="555" y="267"/>
                  </a:cubicBezTo>
                  <a:cubicBezTo>
                    <a:pt x="555" y="267"/>
                    <a:pt x="555" y="267"/>
                    <a:pt x="555" y="267"/>
                  </a:cubicBezTo>
                  <a:cubicBezTo>
                    <a:pt x="555" y="268"/>
                    <a:pt x="556" y="268"/>
                    <a:pt x="557" y="270"/>
                  </a:cubicBezTo>
                  <a:cubicBezTo>
                    <a:pt x="557" y="270"/>
                    <a:pt x="557" y="270"/>
                    <a:pt x="557" y="270"/>
                  </a:cubicBezTo>
                  <a:cubicBezTo>
                    <a:pt x="557" y="271"/>
                    <a:pt x="557" y="271"/>
                    <a:pt x="557" y="271"/>
                  </a:cubicBezTo>
                  <a:cubicBezTo>
                    <a:pt x="561" y="269"/>
                    <a:pt x="561" y="269"/>
                    <a:pt x="561" y="269"/>
                  </a:cubicBezTo>
                  <a:cubicBezTo>
                    <a:pt x="558" y="271"/>
                    <a:pt x="558" y="271"/>
                    <a:pt x="558" y="271"/>
                  </a:cubicBezTo>
                  <a:cubicBezTo>
                    <a:pt x="569" y="272"/>
                    <a:pt x="569" y="272"/>
                    <a:pt x="569" y="272"/>
                  </a:cubicBezTo>
                  <a:cubicBezTo>
                    <a:pt x="570" y="272"/>
                    <a:pt x="570" y="272"/>
                    <a:pt x="570" y="272"/>
                  </a:cubicBezTo>
                  <a:cubicBezTo>
                    <a:pt x="576" y="273"/>
                    <a:pt x="576" y="273"/>
                    <a:pt x="576" y="273"/>
                  </a:cubicBezTo>
                  <a:cubicBezTo>
                    <a:pt x="575" y="274"/>
                    <a:pt x="575" y="274"/>
                    <a:pt x="575" y="274"/>
                  </a:cubicBezTo>
                  <a:cubicBezTo>
                    <a:pt x="576" y="274"/>
                    <a:pt x="576" y="274"/>
                    <a:pt x="576" y="274"/>
                  </a:cubicBezTo>
                  <a:cubicBezTo>
                    <a:pt x="579" y="272"/>
                    <a:pt x="579" y="272"/>
                    <a:pt x="579" y="272"/>
                  </a:cubicBezTo>
                  <a:cubicBezTo>
                    <a:pt x="580" y="271"/>
                    <a:pt x="581" y="269"/>
                    <a:pt x="583" y="268"/>
                  </a:cubicBezTo>
                  <a:cubicBezTo>
                    <a:pt x="590" y="261"/>
                    <a:pt x="590" y="261"/>
                    <a:pt x="590" y="261"/>
                  </a:cubicBezTo>
                  <a:cubicBezTo>
                    <a:pt x="590" y="267"/>
                    <a:pt x="590" y="267"/>
                    <a:pt x="590" y="267"/>
                  </a:cubicBezTo>
                  <a:cubicBezTo>
                    <a:pt x="590" y="268"/>
                    <a:pt x="590" y="269"/>
                    <a:pt x="590" y="270"/>
                  </a:cubicBezTo>
                  <a:cubicBezTo>
                    <a:pt x="590" y="271"/>
                    <a:pt x="590" y="272"/>
                    <a:pt x="590" y="273"/>
                  </a:cubicBezTo>
                  <a:cubicBezTo>
                    <a:pt x="590" y="273"/>
                    <a:pt x="590" y="273"/>
                    <a:pt x="590" y="273"/>
                  </a:cubicBezTo>
                  <a:cubicBezTo>
                    <a:pt x="591" y="274"/>
                    <a:pt x="591" y="274"/>
                    <a:pt x="591" y="274"/>
                  </a:cubicBezTo>
                  <a:cubicBezTo>
                    <a:pt x="595" y="277"/>
                    <a:pt x="599" y="281"/>
                    <a:pt x="603" y="284"/>
                  </a:cubicBezTo>
                  <a:cubicBezTo>
                    <a:pt x="604" y="285"/>
                    <a:pt x="604" y="285"/>
                    <a:pt x="604" y="285"/>
                  </a:cubicBezTo>
                  <a:cubicBezTo>
                    <a:pt x="605" y="285"/>
                    <a:pt x="605" y="285"/>
                    <a:pt x="606" y="285"/>
                  </a:cubicBezTo>
                  <a:cubicBezTo>
                    <a:pt x="607" y="285"/>
                    <a:pt x="608" y="285"/>
                    <a:pt x="609" y="285"/>
                  </a:cubicBezTo>
                  <a:cubicBezTo>
                    <a:pt x="609" y="285"/>
                    <a:pt x="610" y="285"/>
                    <a:pt x="611" y="285"/>
                  </a:cubicBezTo>
                  <a:cubicBezTo>
                    <a:pt x="611" y="285"/>
                    <a:pt x="611" y="285"/>
                    <a:pt x="611" y="285"/>
                  </a:cubicBezTo>
                  <a:cubicBezTo>
                    <a:pt x="615" y="284"/>
                    <a:pt x="615" y="284"/>
                    <a:pt x="615" y="284"/>
                  </a:cubicBezTo>
                  <a:cubicBezTo>
                    <a:pt x="621" y="281"/>
                    <a:pt x="621" y="281"/>
                    <a:pt x="621" y="281"/>
                  </a:cubicBezTo>
                  <a:cubicBezTo>
                    <a:pt x="621" y="281"/>
                    <a:pt x="621" y="280"/>
                    <a:pt x="621" y="280"/>
                  </a:cubicBezTo>
                  <a:cubicBezTo>
                    <a:pt x="622" y="278"/>
                    <a:pt x="622" y="278"/>
                    <a:pt x="622" y="278"/>
                  </a:cubicBezTo>
                  <a:cubicBezTo>
                    <a:pt x="622" y="277"/>
                    <a:pt x="623" y="276"/>
                    <a:pt x="623" y="276"/>
                  </a:cubicBezTo>
                  <a:cubicBezTo>
                    <a:pt x="624" y="275"/>
                    <a:pt x="624" y="275"/>
                    <a:pt x="624" y="275"/>
                  </a:cubicBezTo>
                  <a:cubicBezTo>
                    <a:pt x="624" y="275"/>
                    <a:pt x="624" y="275"/>
                    <a:pt x="624" y="275"/>
                  </a:cubicBezTo>
                  <a:cubicBezTo>
                    <a:pt x="626" y="275"/>
                    <a:pt x="626" y="275"/>
                    <a:pt x="626" y="275"/>
                  </a:cubicBezTo>
                  <a:cubicBezTo>
                    <a:pt x="626" y="275"/>
                    <a:pt x="626" y="275"/>
                    <a:pt x="626" y="275"/>
                  </a:cubicBezTo>
                  <a:cubicBezTo>
                    <a:pt x="626" y="275"/>
                    <a:pt x="626" y="275"/>
                    <a:pt x="626" y="275"/>
                  </a:cubicBezTo>
                  <a:cubicBezTo>
                    <a:pt x="626" y="275"/>
                    <a:pt x="627" y="275"/>
                    <a:pt x="628" y="274"/>
                  </a:cubicBezTo>
                  <a:cubicBezTo>
                    <a:pt x="628" y="274"/>
                    <a:pt x="628" y="274"/>
                    <a:pt x="628" y="274"/>
                  </a:cubicBezTo>
                  <a:cubicBezTo>
                    <a:pt x="628" y="274"/>
                    <a:pt x="628" y="274"/>
                    <a:pt x="628" y="274"/>
                  </a:cubicBezTo>
                  <a:cubicBezTo>
                    <a:pt x="628" y="274"/>
                    <a:pt x="628" y="274"/>
                    <a:pt x="628" y="274"/>
                  </a:cubicBezTo>
                  <a:cubicBezTo>
                    <a:pt x="629" y="275"/>
                    <a:pt x="629" y="275"/>
                    <a:pt x="629" y="275"/>
                  </a:cubicBezTo>
                  <a:cubicBezTo>
                    <a:pt x="630" y="275"/>
                    <a:pt x="630" y="275"/>
                    <a:pt x="631" y="275"/>
                  </a:cubicBezTo>
                  <a:cubicBezTo>
                    <a:pt x="631" y="275"/>
                    <a:pt x="631" y="275"/>
                    <a:pt x="631" y="275"/>
                  </a:cubicBezTo>
                  <a:cubicBezTo>
                    <a:pt x="632" y="275"/>
                    <a:pt x="632" y="274"/>
                    <a:pt x="633" y="274"/>
                  </a:cubicBezTo>
                  <a:cubicBezTo>
                    <a:pt x="634" y="274"/>
                    <a:pt x="635" y="274"/>
                    <a:pt x="637" y="274"/>
                  </a:cubicBezTo>
                  <a:cubicBezTo>
                    <a:pt x="642" y="273"/>
                    <a:pt x="642" y="273"/>
                    <a:pt x="642" y="273"/>
                  </a:cubicBezTo>
                  <a:cubicBezTo>
                    <a:pt x="647" y="272"/>
                    <a:pt x="651" y="271"/>
                    <a:pt x="656" y="269"/>
                  </a:cubicBezTo>
                  <a:cubicBezTo>
                    <a:pt x="656" y="270"/>
                    <a:pt x="656" y="270"/>
                    <a:pt x="656" y="270"/>
                  </a:cubicBezTo>
                  <a:cubicBezTo>
                    <a:pt x="656" y="269"/>
                    <a:pt x="656" y="269"/>
                    <a:pt x="656" y="269"/>
                  </a:cubicBezTo>
                  <a:cubicBezTo>
                    <a:pt x="656" y="269"/>
                    <a:pt x="656" y="269"/>
                    <a:pt x="656" y="269"/>
                  </a:cubicBezTo>
                  <a:cubicBezTo>
                    <a:pt x="656" y="269"/>
                    <a:pt x="656" y="269"/>
                    <a:pt x="656" y="269"/>
                  </a:cubicBezTo>
                  <a:cubicBezTo>
                    <a:pt x="655" y="265"/>
                    <a:pt x="655" y="265"/>
                    <a:pt x="655" y="265"/>
                  </a:cubicBezTo>
                  <a:cubicBezTo>
                    <a:pt x="652" y="256"/>
                    <a:pt x="652" y="256"/>
                    <a:pt x="652" y="256"/>
                  </a:cubicBezTo>
                  <a:cubicBezTo>
                    <a:pt x="659" y="261"/>
                    <a:pt x="659" y="261"/>
                    <a:pt x="659" y="261"/>
                  </a:cubicBezTo>
                  <a:cubicBezTo>
                    <a:pt x="660" y="260"/>
                    <a:pt x="662" y="260"/>
                    <a:pt x="664" y="260"/>
                  </a:cubicBezTo>
                  <a:cubicBezTo>
                    <a:pt x="664" y="260"/>
                    <a:pt x="665" y="259"/>
                    <a:pt x="665" y="259"/>
                  </a:cubicBezTo>
                  <a:cubicBezTo>
                    <a:pt x="666" y="259"/>
                    <a:pt x="666" y="258"/>
                    <a:pt x="667" y="258"/>
                  </a:cubicBezTo>
                  <a:cubicBezTo>
                    <a:pt x="668" y="258"/>
                    <a:pt x="668" y="258"/>
                    <a:pt x="668" y="258"/>
                  </a:cubicBezTo>
                  <a:cubicBezTo>
                    <a:pt x="667" y="257"/>
                    <a:pt x="667" y="257"/>
                    <a:pt x="667" y="257"/>
                  </a:cubicBezTo>
                  <a:cubicBezTo>
                    <a:pt x="669" y="256"/>
                    <a:pt x="669" y="256"/>
                    <a:pt x="669" y="256"/>
                  </a:cubicBezTo>
                  <a:cubicBezTo>
                    <a:pt x="669" y="257"/>
                    <a:pt x="669" y="257"/>
                    <a:pt x="669" y="257"/>
                  </a:cubicBezTo>
                  <a:cubicBezTo>
                    <a:pt x="671" y="256"/>
                    <a:pt x="671" y="256"/>
                    <a:pt x="671" y="256"/>
                  </a:cubicBezTo>
                  <a:cubicBezTo>
                    <a:pt x="672" y="255"/>
                    <a:pt x="673" y="255"/>
                    <a:pt x="673" y="254"/>
                  </a:cubicBezTo>
                  <a:cubicBezTo>
                    <a:pt x="678" y="252"/>
                    <a:pt x="682" y="250"/>
                    <a:pt x="687" y="248"/>
                  </a:cubicBezTo>
                  <a:cubicBezTo>
                    <a:pt x="694" y="244"/>
                    <a:pt x="694" y="244"/>
                    <a:pt x="694" y="244"/>
                  </a:cubicBezTo>
                  <a:cubicBezTo>
                    <a:pt x="697" y="243"/>
                    <a:pt x="699" y="241"/>
                    <a:pt x="702" y="240"/>
                  </a:cubicBezTo>
                  <a:cubicBezTo>
                    <a:pt x="705" y="239"/>
                    <a:pt x="705" y="239"/>
                    <a:pt x="705" y="239"/>
                  </a:cubicBezTo>
                  <a:cubicBezTo>
                    <a:pt x="707" y="238"/>
                    <a:pt x="709" y="238"/>
                    <a:pt x="712" y="238"/>
                  </a:cubicBezTo>
                  <a:cubicBezTo>
                    <a:pt x="713" y="237"/>
                    <a:pt x="713" y="237"/>
                    <a:pt x="713" y="237"/>
                  </a:cubicBezTo>
                  <a:cubicBezTo>
                    <a:pt x="714" y="237"/>
                    <a:pt x="715" y="237"/>
                    <a:pt x="716" y="237"/>
                  </a:cubicBezTo>
                  <a:cubicBezTo>
                    <a:pt x="717" y="237"/>
                    <a:pt x="717" y="237"/>
                    <a:pt x="718" y="237"/>
                  </a:cubicBezTo>
                  <a:cubicBezTo>
                    <a:pt x="718" y="237"/>
                    <a:pt x="718" y="236"/>
                    <a:pt x="718" y="236"/>
                  </a:cubicBezTo>
                  <a:cubicBezTo>
                    <a:pt x="719" y="235"/>
                    <a:pt x="719" y="234"/>
                    <a:pt x="720" y="234"/>
                  </a:cubicBezTo>
                  <a:cubicBezTo>
                    <a:pt x="721" y="232"/>
                    <a:pt x="722" y="232"/>
                    <a:pt x="723" y="232"/>
                  </a:cubicBezTo>
                  <a:cubicBezTo>
                    <a:pt x="723" y="232"/>
                    <a:pt x="723" y="232"/>
                    <a:pt x="723" y="232"/>
                  </a:cubicBezTo>
                  <a:cubicBezTo>
                    <a:pt x="724" y="232"/>
                    <a:pt x="725" y="232"/>
                    <a:pt x="726" y="233"/>
                  </a:cubicBezTo>
                  <a:cubicBezTo>
                    <a:pt x="726" y="233"/>
                    <a:pt x="727" y="233"/>
                    <a:pt x="727" y="233"/>
                  </a:cubicBezTo>
                  <a:cubicBezTo>
                    <a:pt x="727" y="233"/>
                    <a:pt x="727" y="233"/>
                    <a:pt x="727" y="233"/>
                  </a:cubicBezTo>
                  <a:cubicBezTo>
                    <a:pt x="727" y="233"/>
                    <a:pt x="728" y="233"/>
                    <a:pt x="728" y="233"/>
                  </a:cubicBezTo>
                  <a:cubicBezTo>
                    <a:pt x="729" y="233"/>
                    <a:pt x="729" y="233"/>
                    <a:pt x="729" y="233"/>
                  </a:cubicBezTo>
                  <a:cubicBezTo>
                    <a:pt x="730" y="234"/>
                    <a:pt x="731" y="234"/>
                    <a:pt x="732" y="234"/>
                  </a:cubicBezTo>
                  <a:cubicBezTo>
                    <a:pt x="733" y="234"/>
                    <a:pt x="733" y="234"/>
                    <a:pt x="733" y="234"/>
                  </a:cubicBezTo>
                  <a:cubicBezTo>
                    <a:pt x="733" y="234"/>
                    <a:pt x="734" y="234"/>
                    <a:pt x="734" y="234"/>
                  </a:cubicBezTo>
                  <a:cubicBezTo>
                    <a:pt x="735" y="234"/>
                    <a:pt x="735" y="234"/>
                    <a:pt x="735" y="234"/>
                  </a:cubicBezTo>
                  <a:cubicBezTo>
                    <a:pt x="737" y="234"/>
                    <a:pt x="738" y="234"/>
                    <a:pt x="738" y="235"/>
                  </a:cubicBezTo>
                  <a:cubicBezTo>
                    <a:pt x="739" y="235"/>
                    <a:pt x="740" y="236"/>
                    <a:pt x="740" y="236"/>
                  </a:cubicBezTo>
                  <a:cubicBezTo>
                    <a:pt x="741" y="237"/>
                    <a:pt x="742" y="237"/>
                    <a:pt x="743" y="238"/>
                  </a:cubicBezTo>
                  <a:cubicBezTo>
                    <a:pt x="744" y="238"/>
                    <a:pt x="744" y="238"/>
                    <a:pt x="745" y="238"/>
                  </a:cubicBezTo>
                  <a:cubicBezTo>
                    <a:pt x="745" y="238"/>
                    <a:pt x="745" y="238"/>
                    <a:pt x="745" y="238"/>
                  </a:cubicBezTo>
                  <a:cubicBezTo>
                    <a:pt x="746" y="239"/>
                    <a:pt x="746" y="239"/>
                    <a:pt x="747" y="239"/>
                  </a:cubicBezTo>
                  <a:cubicBezTo>
                    <a:pt x="749" y="239"/>
                    <a:pt x="752" y="240"/>
                    <a:pt x="754" y="240"/>
                  </a:cubicBezTo>
                  <a:cubicBezTo>
                    <a:pt x="764" y="241"/>
                    <a:pt x="764" y="241"/>
                    <a:pt x="764" y="241"/>
                  </a:cubicBezTo>
                  <a:cubicBezTo>
                    <a:pt x="766" y="241"/>
                    <a:pt x="767" y="241"/>
                    <a:pt x="768" y="241"/>
                  </a:cubicBezTo>
                  <a:cubicBezTo>
                    <a:pt x="769" y="242"/>
                    <a:pt x="770" y="243"/>
                    <a:pt x="771" y="244"/>
                  </a:cubicBezTo>
                  <a:cubicBezTo>
                    <a:pt x="772" y="246"/>
                    <a:pt x="773" y="248"/>
                    <a:pt x="773" y="250"/>
                  </a:cubicBezTo>
                  <a:cubicBezTo>
                    <a:pt x="774" y="251"/>
                    <a:pt x="774" y="251"/>
                    <a:pt x="774" y="251"/>
                  </a:cubicBezTo>
                  <a:cubicBezTo>
                    <a:pt x="774" y="252"/>
                    <a:pt x="774" y="253"/>
                    <a:pt x="775" y="254"/>
                  </a:cubicBezTo>
                  <a:cubicBezTo>
                    <a:pt x="775" y="255"/>
                    <a:pt x="775" y="255"/>
                    <a:pt x="775" y="255"/>
                  </a:cubicBezTo>
                  <a:cubicBezTo>
                    <a:pt x="777" y="258"/>
                    <a:pt x="777" y="258"/>
                    <a:pt x="780" y="258"/>
                  </a:cubicBezTo>
                  <a:cubicBezTo>
                    <a:pt x="793" y="261"/>
                    <a:pt x="793" y="261"/>
                    <a:pt x="793" y="261"/>
                  </a:cubicBezTo>
                  <a:cubicBezTo>
                    <a:pt x="794" y="261"/>
                    <a:pt x="795" y="261"/>
                    <a:pt x="795" y="261"/>
                  </a:cubicBezTo>
                  <a:cubicBezTo>
                    <a:pt x="796" y="261"/>
                    <a:pt x="796" y="261"/>
                    <a:pt x="796" y="261"/>
                  </a:cubicBezTo>
                  <a:cubicBezTo>
                    <a:pt x="797" y="261"/>
                    <a:pt x="797" y="261"/>
                    <a:pt x="797" y="261"/>
                  </a:cubicBezTo>
                  <a:cubicBezTo>
                    <a:pt x="797" y="261"/>
                    <a:pt x="797" y="261"/>
                    <a:pt x="797" y="261"/>
                  </a:cubicBezTo>
                  <a:cubicBezTo>
                    <a:pt x="798" y="260"/>
                    <a:pt x="798" y="260"/>
                    <a:pt x="798" y="260"/>
                  </a:cubicBezTo>
                  <a:cubicBezTo>
                    <a:pt x="801" y="259"/>
                    <a:pt x="803" y="258"/>
                    <a:pt x="805" y="258"/>
                  </a:cubicBezTo>
                  <a:cubicBezTo>
                    <a:pt x="806" y="258"/>
                    <a:pt x="806" y="258"/>
                    <a:pt x="806" y="258"/>
                  </a:cubicBezTo>
                  <a:cubicBezTo>
                    <a:pt x="806" y="258"/>
                    <a:pt x="806" y="258"/>
                    <a:pt x="806" y="258"/>
                  </a:cubicBezTo>
                  <a:cubicBezTo>
                    <a:pt x="807" y="258"/>
                    <a:pt x="808" y="258"/>
                    <a:pt x="808" y="258"/>
                  </a:cubicBezTo>
                  <a:cubicBezTo>
                    <a:pt x="809" y="258"/>
                    <a:pt x="810" y="258"/>
                    <a:pt x="811" y="259"/>
                  </a:cubicBezTo>
                  <a:cubicBezTo>
                    <a:pt x="813" y="259"/>
                    <a:pt x="814" y="259"/>
                    <a:pt x="816" y="260"/>
                  </a:cubicBezTo>
                  <a:cubicBezTo>
                    <a:pt x="816" y="260"/>
                    <a:pt x="816" y="260"/>
                    <a:pt x="816" y="260"/>
                  </a:cubicBezTo>
                  <a:cubicBezTo>
                    <a:pt x="818" y="260"/>
                    <a:pt x="819" y="261"/>
                    <a:pt x="820" y="261"/>
                  </a:cubicBezTo>
                  <a:cubicBezTo>
                    <a:pt x="821" y="261"/>
                    <a:pt x="821" y="261"/>
                    <a:pt x="822" y="261"/>
                  </a:cubicBezTo>
                  <a:cubicBezTo>
                    <a:pt x="825" y="262"/>
                    <a:pt x="825" y="262"/>
                    <a:pt x="825" y="262"/>
                  </a:cubicBezTo>
                  <a:cubicBezTo>
                    <a:pt x="827" y="263"/>
                    <a:pt x="829" y="263"/>
                    <a:pt x="832" y="264"/>
                  </a:cubicBezTo>
                  <a:cubicBezTo>
                    <a:pt x="833" y="264"/>
                    <a:pt x="834" y="264"/>
                    <a:pt x="835" y="265"/>
                  </a:cubicBezTo>
                  <a:cubicBezTo>
                    <a:pt x="835" y="265"/>
                    <a:pt x="835" y="265"/>
                    <a:pt x="835" y="265"/>
                  </a:cubicBezTo>
                  <a:cubicBezTo>
                    <a:pt x="837" y="266"/>
                    <a:pt x="838" y="266"/>
                    <a:pt x="839" y="266"/>
                  </a:cubicBezTo>
                  <a:cubicBezTo>
                    <a:pt x="840" y="266"/>
                    <a:pt x="840" y="266"/>
                    <a:pt x="840" y="266"/>
                  </a:cubicBezTo>
                  <a:cubicBezTo>
                    <a:pt x="841" y="266"/>
                    <a:pt x="841" y="265"/>
                    <a:pt x="842" y="264"/>
                  </a:cubicBezTo>
                  <a:cubicBezTo>
                    <a:pt x="842" y="264"/>
                    <a:pt x="843" y="263"/>
                    <a:pt x="843" y="263"/>
                  </a:cubicBezTo>
                  <a:cubicBezTo>
                    <a:pt x="843" y="262"/>
                    <a:pt x="844" y="262"/>
                    <a:pt x="844" y="261"/>
                  </a:cubicBezTo>
                  <a:cubicBezTo>
                    <a:pt x="845" y="261"/>
                    <a:pt x="845" y="261"/>
                    <a:pt x="845" y="261"/>
                  </a:cubicBezTo>
                  <a:cubicBezTo>
                    <a:pt x="846" y="261"/>
                    <a:pt x="846" y="260"/>
                    <a:pt x="846" y="260"/>
                  </a:cubicBezTo>
                  <a:cubicBezTo>
                    <a:pt x="847" y="260"/>
                    <a:pt x="847" y="260"/>
                    <a:pt x="847" y="260"/>
                  </a:cubicBezTo>
                  <a:cubicBezTo>
                    <a:pt x="847" y="260"/>
                    <a:pt x="848" y="260"/>
                    <a:pt x="848" y="260"/>
                  </a:cubicBezTo>
                  <a:cubicBezTo>
                    <a:pt x="849" y="259"/>
                    <a:pt x="850" y="259"/>
                    <a:pt x="851" y="259"/>
                  </a:cubicBezTo>
                  <a:cubicBezTo>
                    <a:pt x="853" y="258"/>
                    <a:pt x="855" y="258"/>
                    <a:pt x="856" y="256"/>
                  </a:cubicBezTo>
                  <a:cubicBezTo>
                    <a:pt x="857" y="252"/>
                    <a:pt x="857" y="252"/>
                    <a:pt x="857" y="252"/>
                  </a:cubicBezTo>
                  <a:cubicBezTo>
                    <a:pt x="858" y="251"/>
                    <a:pt x="858" y="250"/>
                    <a:pt x="858" y="250"/>
                  </a:cubicBezTo>
                  <a:cubicBezTo>
                    <a:pt x="859" y="247"/>
                    <a:pt x="859" y="247"/>
                    <a:pt x="859" y="247"/>
                  </a:cubicBezTo>
                  <a:cubicBezTo>
                    <a:pt x="859" y="247"/>
                    <a:pt x="859" y="247"/>
                    <a:pt x="859" y="247"/>
                  </a:cubicBezTo>
                  <a:cubicBezTo>
                    <a:pt x="859" y="247"/>
                    <a:pt x="859" y="247"/>
                    <a:pt x="859" y="247"/>
                  </a:cubicBezTo>
                  <a:cubicBezTo>
                    <a:pt x="858" y="246"/>
                    <a:pt x="857" y="246"/>
                    <a:pt x="855" y="244"/>
                  </a:cubicBezTo>
                  <a:cubicBezTo>
                    <a:pt x="854" y="243"/>
                    <a:pt x="852" y="241"/>
                    <a:pt x="851" y="238"/>
                  </a:cubicBezTo>
                  <a:cubicBezTo>
                    <a:pt x="850" y="235"/>
                    <a:pt x="850" y="232"/>
                    <a:pt x="850" y="229"/>
                  </a:cubicBezTo>
                  <a:cubicBezTo>
                    <a:pt x="850" y="228"/>
                    <a:pt x="850" y="228"/>
                    <a:pt x="850" y="228"/>
                  </a:cubicBezTo>
                  <a:cubicBezTo>
                    <a:pt x="850" y="228"/>
                    <a:pt x="850" y="227"/>
                    <a:pt x="850" y="226"/>
                  </a:cubicBezTo>
                  <a:cubicBezTo>
                    <a:pt x="850" y="225"/>
                    <a:pt x="850" y="224"/>
                    <a:pt x="851" y="224"/>
                  </a:cubicBezTo>
                  <a:cubicBezTo>
                    <a:pt x="851" y="223"/>
                    <a:pt x="851" y="223"/>
                    <a:pt x="851" y="223"/>
                  </a:cubicBezTo>
                  <a:cubicBezTo>
                    <a:pt x="851" y="222"/>
                    <a:pt x="851" y="222"/>
                    <a:pt x="851" y="222"/>
                  </a:cubicBezTo>
                  <a:cubicBezTo>
                    <a:pt x="852" y="220"/>
                    <a:pt x="852" y="217"/>
                    <a:pt x="853" y="216"/>
                  </a:cubicBezTo>
                  <a:cubicBezTo>
                    <a:pt x="854" y="215"/>
                    <a:pt x="854" y="215"/>
                    <a:pt x="854" y="214"/>
                  </a:cubicBezTo>
                  <a:cubicBezTo>
                    <a:pt x="856" y="213"/>
                    <a:pt x="857" y="213"/>
                    <a:pt x="858" y="213"/>
                  </a:cubicBezTo>
                  <a:cubicBezTo>
                    <a:pt x="858" y="213"/>
                    <a:pt x="858" y="213"/>
                    <a:pt x="858" y="213"/>
                  </a:cubicBezTo>
                  <a:cubicBezTo>
                    <a:pt x="858" y="212"/>
                    <a:pt x="858" y="212"/>
                    <a:pt x="858" y="212"/>
                  </a:cubicBezTo>
                  <a:cubicBezTo>
                    <a:pt x="858" y="211"/>
                    <a:pt x="859" y="210"/>
                    <a:pt x="859" y="209"/>
                  </a:cubicBezTo>
                  <a:cubicBezTo>
                    <a:pt x="860" y="208"/>
                    <a:pt x="860" y="208"/>
                    <a:pt x="860" y="208"/>
                  </a:cubicBezTo>
                  <a:cubicBezTo>
                    <a:pt x="860" y="207"/>
                    <a:pt x="860" y="207"/>
                    <a:pt x="861" y="206"/>
                  </a:cubicBezTo>
                  <a:cubicBezTo>
                    <a:pt x="861" y="206"/>
                    <a:pt x="861" y="206"/>
                    <a:pt x="861" y="206"/>
                  </a:cubicBezTo>
                  <a:cubicBezTo>
                    <a:pt x="861" y="206"/>
                    <a:pt x="861" y="206"/>
                    <a:pt x="861" y="206"/>
                  </a:cubicBezTo>
                  <a:cubicBezTo>
                    <a:pt x="862" y="205"/>
                    <a:pt x="862" y="205"/>
                    <a:pt x="863" y="204"/>
                  </a:cubicBezTo>
                  <a:cubicBezTo>
                    <a:pt x="863" y="204"/>
                    <a:pt x="863" y="204"/>
                    <a:pt x="863" y="204"/>
                  </a:cubicBezTo>
                  <a:cubicBezTo>
                    <a:pt x="865" y="202"/>
                    <a:pt x="867" y="200"/>
                    <a:pt x="869" y="198"/>
                  </a:cubicBezTo>
                  <a:cubicBezTo>
                    <a:pt x="877" y="191"/>
                    <a:pt x="877" y="191"/>
                    <a:pt x="877" y="191"/>
                  </a:cubicBezTo>
                  <a:cubicBezTo>
                    <a:pt x="880" y="193"/>
                    <a:pt x="880" y="193"/>
                    <a:pt x="880" y="193"/>
                  </a:cubicBezTo>
                  <a:cubicBezTo>
                    <a:pt x="882" y="189"/>
                    <a:pt x="882" y="189"/>
                    <a:pt x="882" y="189"/>
                  </a:cubicBezTo>
                  <a:cubicBezTo>
                    <a:pt x="881" y="194"/>
                    <a:pt x="881" y="194"/>
                    <a:pt x="881" y="194"/>
                  </a:cubicBezTo>
                  <a:cubicBezTo>
                    <a:pt x="895" y="201"/>
                    <a:pt x="895" y="201"/>
                    <a:pt x="895" y="201"/>
                  </a:cubicBezTo>
                  <a:cubicBezTo>
                    <a:pt x="901" y="204"/>
                    <a:pt x="905" y="204"/>
                    <a:pt x="912" y="205"/>
                  </a:cubicBezTo>
                  <a:cubicBezTo>
                    <a:pt x="913" y="205"/>
                    <a:pt x="913" y="205"/>
                    <a:pt x="913" y="205"/>
                  </a:cubicBezTo>
                  <a:cubicBezTo>
                    <a:pt x="914" y="205"/>
                    <a:pt x="914" y="205"/>
                    <a:pt x="914" y="205"/>
                  </a:cubicBezTo>
                  <a:cubicBezTo>
                    <a:pt x="915" y="205"/>
                    <a:pt x="915" y="205"/>
                    <a:pt x="915" y="205"/>
                  </a:cubicBezTo>
                  <a:cubicBezTo>
                    <a:pt x="916" y="206"/>
                    <a:pt x="916" y="206"/>
                    <a:pt x="917" y="206"/>
                  </a:cubicBezTo>
                  <a:cubicBezTo>
                    <a:pt x="921" y="206"/>
                    <a:pt x="924" y="208"/>
                    <a:pt x="927" y="209"/>
                  </a:cubicBezTo>
                  <a:cubicBezTo>
                    <a:pt x="930" y="210"/>
                    <a:pt x="932" y="211"/>
                    <a:pt x="934" y="212"/>
                  </a:cubicBezTo>
                  <a:cubicBezTo>
                    <a:pt x="947" y="215"/>
                    <a:pt x="947" y="215"/>
                    <a:pt x="947" y="215"/>
                  </a:cubicBezTo>
                  <a:cubicBezTo>
                    <a:pt x="947" y="215"/>
                    <a:pt x="948" y="215"/>
                    <a:pt x="948" y="216"/>
                  </a:cubicBezTo>
                  <a:cubicBezTo>
                    <a:pt x="954" y="217"/>
                    <a:pt x="956" y="217"/>
                    <a:pt x="957" y="219"/>
                  </a:cubicBezTo>
                  <a:cubicBezTo>
                    <a:pt x="957" y="220"/>
                    <a:pt x="957" y="220"/>
                    <a:pt x="957" y="220"/>
                  </a:cubicBezTo>
                  <a:cubicBezTo>
                    <a:pt x="958" y="222"/>
                    <a:pt x="956" y="223"/>
                    <a:pt x="956" y="224"/>
                  </a:cubicBezTo>
                  <a:cubicBezTo>
                    <a:pt x="956" y="224"/>
                    <a:pt x="956" y="224"/>
                    <a:pt x="956" y="224"/>
                  </a:cubicBezTo>
                  <a:cubicBezTo>
                    <a:pt x="956" y="225"/>
                    <a:pt x="956" y="226"/>
                    <a:pt x="956" y="227"/>
                  </a:cubicBezTo>
                  <a:cubicBezTo>
                    <a:pt x="956" y="229"/>
                    <a:pt x="957" y="230"/>
                    <a:pt x="957" y="231"/>
                  </a:cubicBezTo>
                  <a:cubicBezTo>
                    <a:pt x="957" y="231"/>
                    <a:pt x="957" y="233"/>
                    <a:pt x="957" y="234"/>
                  </a:cubicBezTo>
                  <a:cubicBezTo>
                    <a:pt x="957" y="236"/>
                    <a:pt x="957" y="236"/>
                    <a:pt x="957" y="236"/>
                  </a:cubicBezTo>
                  <a:cubicBezTo>
                    <a:pt x="958" y="237"/>
                    <a:pt x="958" y="239"/>
                    <a:pt x="958" y="240"/>
                  </a:cubicBezTo>
                  <a:cubicBezTo>
                    <a:pt x="959" y="240"/>
                    <a:pt x="959" y="241"/>
                    <a:pt x="959" y="241"/>
                  </a:cubicBezTo>
                  <a:cubicBezTo>
                    <a:pt x="960" y="242"/>
                    <a:pt x="960" y="242"/>
                    <a:pt x="960" y="242"/>
                  </a:cubicBezTo>
                  <a:cubicBezTo>
                    <a:pt x="961" y="243"/>
                    <a:pt x="961" y="244"/>
                    <a:pt x="962" y="244"/>
                  </a:cubicBezTo>
                  <a:cubicBezTo>
                    <a:pt x="964" y="245"/>
                    <a:pt x="966" y="246"/>
                    <a:pt x="968" y="247"/>
                  </a:cubicBezTo>
                  <a:cubicBezTo>
                    <a:pt x="995" y="253"/>
                    <a:pt x="995" y="253"/>
                    <a:pt x="995" y="253"/>
                  </a:cubicBezTo>
                  <a:cubicBezTo>
                    <a:pt x="995" y="253"/>
                    <a:pt x="996" y="253"/>
                    <a:pt x="996" y="253"/>
                  </a:cubicBezTo>
                  <a:cubicBezTo>
                    <a:pt x="997" y="253"/>
                    <a:pt x="997" y="253"/>
                    <a:pt x="997" y="253"/>
                  </a:cubicBezTo>
                  <a:cubicBezTo>
                    <a:pt x="997" y="253"/>
                    <a:pt x="997" y="253"/>
                    <a:pt x="997" y="253"/>
                  </a:cubicBezTo>
                  <a:cubicBezTo>
                    <a:pt x="998" y="253"/>
                    <a:pt x="998" y="253"/>
                    <a:pt x="998" y="253"/>
                  </a:cubicBezTo>
                  <a:cubicBezTo>
                    <a:pt x="999" y="253"/>
                    <a:pt x="999" y="253"/>
                    <a:pt x="999" y="253"/>
                  </a:cubicBezTo>
                  <a:cubicBezTo>
                    <a:pt x="999" y="253"/>
                    <a:pt x="1000" y="252"/>
                    <a:pt x="1001" y="252"/>
                  </a:cubicBezTo>
                  <a:cubicBezTo>
                    <a:pt x="1001" y="252"/>
                    <a:pt x="1001" y="252"/>
                    <a:pt x="1001" y="252"/>
                  </a:cubicBezTo>
                  <a:cubicBezTo>
                    <a:pt x="1002" y="251"/>
                    <a:pt x="1003" y="251"/>
                    <a:pt x="1003" y="251"/>
                  </a:cubicBezTo>
                  <a:cubicBezTo>
                    <a:pt x="1004" y="250"/>
                    <a:pt x="1004" y="250"/>
                    <a:pt x="1004" y="250"/>
                  </a:cubicBezTo>
                  <a:cubicBezTo>
                    <a:pt x="1005" y="250"/>
                    <a:pt x="1005" y="250"/>
                    <a:pt x="1005" y="249"/>
                  </a:cubicBezTo>
                  <a:cubicBezTo>
                    <a:pt x="1009" y="247"/>
                    <a:pt x="1013" y="247"/>
                    <a:pt x="1017" y="246"/>
                  </a:cubicBezTo>
                  <a:cubicBezTo>
                    <a:pt x="1021" y="245"/>
                    <a:pt x="1024" y="244"/>
                    <a:pt x="1028" y="244"/>
                  </a:cubicBezTo>
                  <a:cubicBezTo>
                    <a:pt x="1028" y="244"/>
                    <a:pt x="1029" y="244"/>
                    <a:pt x="1029" y="244"/>
                  </a:cubicBezTo>
                  <a:cubicBezTo>
                    <a:pt x="1031" y="244"/>
                    <a:pt x="1034" y="244"/>
                    <a:pt x="1036" y="245"/>
                  </a:cubicBezTo>
                  <a:cubicBezTo>
                    <a:pt x="1039" y="245"/>
                    <a:pt x="1043" y="246"/>
                    <a:pt x="1046" y="247"/>
                  </a:cubicBezTo>
                  <a:cubicBezTo>
                    <a:pt x="1047" y="247"/>
                    <a:pt x="1047" y="248"/>
                    <a:pt x="1047" y="248"/>
                  </a:cubicBezTo>
                  <a:cubicBezTo>
                    <a:pt x="1054" y="248"/>
                    <a:pt x="1054" y="248"/>
                    <a:pt x="1054" y="248"/>
                  </a:cubicBezTo>
                  <a:cubicBezTo>
                    <a:pt x="1055" y="248"/>
                    <a:pt x="1055" y="248"/>
                    <a:pt x="1055" y="248"/>
                  </a:cubicBezTo>
                  <a:cubicBezTo>
                    <a:pt x="1055" y="248"/>
                    <a:pt x="1056" y="248"/>
                    <a:pt x="1056" y="248"/>
                  </a:cubicBezTo>
                  <a:cubicBezTo>
                    <a:pt x="1057" y="248"/>
                    <a:pt x="1057" y="248"/>
                    <a:pt x="1057" y="248"/>
                  </a:cubicBezTo>
                  <a:cubicBezTo>
                    <a:pt x="1058" y="248"/>
                    <a:pt x="1058" y="248"/>
                    <a:pt x="1058" y="248"/>
                  </a:cubicBezTo>
                  <a:cubicBezTo>
                    <a:pt x="1059" y="249"/>
                    <a:pt x="1059" y="249"/>
                    <a:pt x="1059" y="249"/>
                  </a:cubicBezTo>
                  <a:cubicBezTo>
                    <a:pt x="1061" y="249"/>
                    <a:pt x="1062" y="249"/>
                    <a:pt x="1063" y="249"/>
                  </a:cubicBezTo>
                  <a:cubicBezTo>
                    <a:pt x="1066" y="250"/>
                    <a:pt x="1068" y="252"/>
                    <a:pt x="1070" y="254"/>
                  </a:cubicBezTo>
                  <a:cubicBezTo>
                    <a:pt x="1073" y="256"/>
                    <a:pt x="1076" y="259"/>
                    <a:pt x="1079" y="259"/>
                  </a:cubicBezTo>
                  <a:cubicBezTo>
                    <a:pt x="1080" y="259"/>
                    <a:pt x="1080" y="259"/>
                    <a:pt x="1080" y="259"/>
                  </a:cubicBezTo>
                  <a:cubicBezTo>
                    <a:pt x="1081" y="259"/>
                    <a:pt x="1082" y="259"/>
                    <a:pt x="1082" y="259"/>
                  </a:cubicBezTo>
                  <a:cubicBezTo>
                    <a:pt x="1083" y="258"/>
                    <a:pt x="1083" y="258"/>
                    <a:pt x="1083" y="258"/>
                  </a:cubicBezTo>
                  <a:cubicBezTo>
                    <a:pt x="1088" y="260"/>
                    <a:pt x="1088" y="260"/>
                    <a:pt x="1088" y="260"/>
                  </a:cubicBezTo>
                  <a:cubicBezTo>
                    <a:pt x="1088" y="260"/>
                    <a:pt x="1088" y="260"/>
                    <a:pt x="1088" y="260"/>
                  </a:cubicBezTo>
                  <a:cubicBezTo>
                    <a:pt x="1089" y="260"/>
                    <a:pt x="1089" y="260"/>
                    <a:pt x="1089" y="260"/>
                  </a:cubicBezTo>
                  <a:cubicBezTo>
                    <a:pt x="1090" y="260"/>
                    <a:pt x="1090" y="260"/>
                    <a:pt x="1090" y="260"/>
                  </a:cubicBezTo>
                  <a:cubicBezTo>
                    <a:pt x="1091" y="260"/>
                    <a:pt x="1091" y="260"/>
                    <a:pt x="1091" y="260"/>
                  </a:cubicBezTo>
                  <a:cubicBezTo>
                    <a:pt x="1092" y="262"/>
                    <a:pt x="1092" y="262"/>
                    <a:pt x="1092" y="262"/>
                  </a:cubicBezTo>
                  <a:cubicBezTo>
                    <a:pt x="1093" y="266"/>
                    <a:pt x="1093" y="266"/>
                    <a:pt x="1093" y="266"/>
                  </a:cubicBezTo>
                  <a:cubicBezTo>
                    <a:pt x="1094" y="272"/>
                    <a:pt x="1094" y="272"/>
                    <a:pt x="1094" y="272"/>
                  </a:cubicBezTo>
                  <a:cubicBezTo>
                    <a:pt x="1104" y="279"/>
                    <a:pt x="1104" y="279"/>
                    <a:pt x="1104" y="279"/>
                  </a:cubicBezTo>
                  <a:cubicBezTo>
                    <a:pt x="1119" y="278"/>
                    <a:pt x="1119" y="278"/>
                    <a:pt x="1119" y="278"/>
                  </a:cubicBezTo>
                  <a:cubicBezTo>
                    <a:pt x="1123" y="279"/>
                    <a:pt x="1123" y="279"/>
                    <a:pt x="1123" y="279"/>
                  </a:cubicBezTo>
                  <a:cubicBezTo>
                    <a:pt x="1123" y="279"/>
                    <a:pt x="1123" y="279"/>
                    <a:pt x="1123" y="279"/>
                  </a:cubicBezTo>
                  <a:cubicBezTo>
                    <a:pt x="1124" y="280"/>
                    <a:pt x="1124" y="280"/>
                    <a:pt x="1124" y="280"/>
                  </a:cubicBezTo>
                  <a:cubicBezTo>
                    <a:pt x="1156" y="284"/>
                    <a:pt x="1156" y="284"/>
                    <a:pt x="1156" y="284"/>
                  </a:cubicBezTo>
                  <a:cubicBezTo>
                    <a:pt x="1157" y="284"/>
                    <a:pt x="1157" y="284"/>
                    <a:pt x="1158" y="284"/>
                  </a:cubicBezTo>
                  <a:cubicBezTo>
                    <a:pt x="1187" y="276"/>
                    <a:pt x="1187" y="276"/>
                    <a:pt x="1187" y="276"/>
                  </a:cubicBezTo>
                  <a:cubicBezTo>
                    <a:pt x="1203" y="273"/>
                    <a:pt x="1203" y="273"/>
                    <a:pt x="1203" y="273"/>
                  </a:cubicBezTo>
                  <a:cubicBezTo>
                    <a:pt x="1204" y="273"/>
                    <a:pt x="1204" y="273"/>
                    <a:pt x="1204" y="273"/>
                  </a:cubicBezTo>
                  <a:cubicBezTo>
                    <a:pt x="1215" y="262"/>
                    <a:pt x="1215" y="262"/>
                    <a:pt x="1215" y="262"/>
                  </a:cubicBezTo>
                  <a:cubicBezTo>
                    <a:pt x="1220" y="259"/>
                    <a:pt x="1220" y="259"/>
                    <a:pt x="1220" y="259"/>
                  </a:cubicBezTo>
                  <a:cubicBezTo>
                    <a:pt x="1224" y="257"/>
                    <a:pt x="1224" y="257"/>
                    <a:pt x="1224" y="257"/>
                  </a:cubicBezTo>
                  <a:cubicBezTo>
                    <a:pt x="1224" y="256"/>
                    <a:pt x="1225" y="256"/>
                    <a:pt x="1226" y="256"/>
                  </a:cubicBezTo>
                  <a:cubicBezTo>
                    <a:pt x="1226" y="255"/>
                    <a:pt x="1226" y="255"/>
                    <a:pt x="1226" y="255"/>
                  </a:cubicBezTo>
                  <a:cubicBezTo>
                    <a:pt x="1227" y="255"/>
                    <a:pt x="1227" y="254"/>
                    <a:pt x="1228" y="254"/>
                  </a:cubicBezTo>
                  <a:cubicBezTo>
                    <a:pt x="1230" y="253"/>
                    <a:pt x="1232" y="252"/>
                    <a:pt x="1234" y="251"/>
                  </a:cubicBezTo>
                  <a:cubicBezTo>
                    <a:pt x="1235" y="251"/>
                    <a:pt x="1235" y="251"/>
                    <a:pt x="1235" y="251"/>
                  </a:cubicBezTo>
                  <a:cubicBezTo>
                    <a:pt x="1236" y="251"/>
                    <a:pt x="1237" y="251"/>
                    <a:pt x="1238" y="251"/>
                  </a:cubicBezTo>
                  <a:cubicBezTo>
                    <a:pt x="1240" y="251"/>
                    <a:pt x="1240" y="251"/>
                    <a:pt x="1240" y="251"/>
                  </a:cubicBezTo>
                  <a:cubicBezTo>
                    <a:pt x="1241" y="251"/>
                    <a:pt x="1242" y="251"/>
                    <a:pt x="1244" y="251"/>
                  </a:cubicBezTo>
                  <a:cubicBezTo>
                    <a:pt x="1245" y="251"/>
                    <a:pt x="1247" y="251"/>
                    <a:pt x="1248" y="251"/>
                  </a:cubicBezTo>
                  <a:cubicBezTo>
                    <a:pt x="1251" y="251"/>
                    <a:pt x="1251" y="251"/>
                    <a:pt x="1251" y="251"/>
                  </a:cubicBezTo>
                  <a:cubicBezTo>
                    <a:pt x="1267" y="261"/>
                    <a:pt x="1267" y="261"/>
                    <a:pt x="1267" y="261"/>
                  </a:cubicBezTo>
                  <a:cubicBezTo>
                    <a:pt x="1268" y="261"/>
                    <a:pt x="1268" y="261"/>
                    <a:pt x="1268" y="261"/>
                  </a:cubicBezTo>
                  <a:cubicBezTo>
                    <a:pt x="1268" y="261"/>
                    <a:pt x="1268" y="261"/>
                    <a:pt x="1268" y="261"/>
                  </a:cubicBezTo>
                  <a:cubicBezTo>
                    <a:pt x="1268" y="261"/>
                    <a:pt x="1268" y="261"/>
                    <a:pt x="1268" y="261"/>
                  </a:cubicBezTo>
                  <a:cubicBezTo>
                    <a:pt x="1268" y="261"/>
                    <a:pt x="1268" y="261"/>
                    <a:pt x="1268" y="261"/>
                  </a:cubicBezTo>
                  <a:cubicBezTo>
                    <a:pt x="1284" y="257"/>
                    <a:pt x="1284" y="257"/>
                    <a:pt x="1284" y="257"/>
                  </a:cubicBezTo>
                  <a:cubicBezTo>
                    <a:pt x="1285" y="258"/>
                    <a:pt x="1285" y="258"/>
                    <a:pt x="1285" y="258"/>
                  </a:cubicBezTo>
                  <a:cubicBezTo>
                    <a:pt x="1287" y="258"/>
                    <a:pt x="1289" y="260"/>
                    <a:pt x="1293" y="262"/>
                  </a:cubicBezTo>
                  <a:cubicBezTo>
                    <a:pt x="1293" y="262"/>
                    <a:pt x="1293" y="262"/>
                    <a:pt x="1293" y="262"/>
                  </a:cubicBezTo>
                  <a:cubicBezTo>
                    <a:pt x="1294" y="263"/>
                    <a:pt x="1294" y="263"/>
                    <a:pt x="1295" y="263"/>
                  </a:cubicBezTo>
                  <a:cubicBezTo>
                    <a:pt x="1295" y="263"/>
                    <a:pt x="1295" y="263"/>
                    <a:pt x="1295" y="263"/>
                  </a:cubicBezTo>
                  <a:cubicBezTo>
                    <a:pt x="1296" y="264"/>
                    <a:pt x="1296" y="264"/>
                    <a:pt x="1296" y="264"/>
                  </a:cubicBezTo>
                  <a:cubicBezTo>
                    <a:pt x="1298" y="265"/>
                    <a:pt x="1300" y="265"/>
                    <a:pt x="1301" y="266"/>
                  </a:cubicBezTo>
                  <a:cubicBezTo>
                    <a:pt x="1314" y="270"/>
                    <a:pt x="1314" y="270"/>
                    <a:pt x="1314" y="270"/>
                  </a:cubicBezTo>
                  <a:cubicBezTo>
                    <a:pt x="1314" y="270"/>
                    <a:pt x="1314" y="270"/>
                    <a:pt x="1314" y="270"/>
                  </a:cubicBezTo>
                  <a:cubicBezTo>
                    <a:pt x="1322" y="272"/>
                    <a:pt x="1322" y="272"/>
                    <a:pt x="1322" y="272"/>
                  </a:cubicBezTo>
                  <a:cubicBezTo>
                    <a:pt x="1329" y="267"/>
                    <a:pt x="1329" y="267"/>
                    <a:pt x="1329" y="267"/>
                  </a:cubicBezTo>
                  <a:cubicBezTo>
                    <a:pt x="1331" y="265"/>
                    <a:pt x="1334" y="262"/>
                    <a:pt x="1338" y="261"/>
                  </a:cubicBezTo>
                  <a:cubicBezTo>
                    <a:pt x="1339" y="261"/>
                    <a:pt x="1339" y="261"/>
                    <a:pt x="1339" y="261"/>
                  </a:cubicBezTo>
                  <a:cubicBezTo>
                    <a:pt x="1348" y="259"/>
                    <a:pt x="1348" y="259"/>
                    <a:pt x="1348" y="259"/>
                  </a:cubicBezTo>
                  <a:cubicBezTo>
                    <a:pt x="1354" y="256"/>
                    <a:pt x="1354" y="256"/>
                    <a:pt x="1354" y="256"/>
                  </a:cubicBezTo>
                  <a:cubicBezTo>
                    <a:pt x="1354" y="255"/>
                    <a:pt x="1354" y="255"/>
                    <a:pt x="1354" y="255"/>
                  </a:cubicBezTo>
                  <a:cubicBezTo>
                    <a:pt x="1354" y="254"/>
                    <a:pt x="1354" y="254"/>
                    <a:pt x="1354" y="253"/>
                  </a:cubicBezTo>
                  <a:cubicBezTo>
                    <a:pt x="1354" y="253"/>
                    <a:pt x="1354" y="253"/>
                    <a:pt x="1354" y="253"/>
                  </a:cubicBezTo>
                  <a:cubicBezTo>
                    <a:pt x="1354" y="249"/>
                    <a:pt x="1354" y="249"/>
                    <a:pt x="1354" y="249"/>
                  </a:cubicBezTo>
                  <a:cubicBezTo>
                    <a:pt x="1355" y="240"/>
                    <a:pt x="1355" y="240"/>
                    <a:pt x="1355" y="240"/>
                  </a:cubicBezTo>
                  <a:cubicBezTo>
                    <a:pt x="1359" y="232"/>
                    <a:pt x="1359" y="232"/>
                    <a:pt x="1359" y="232"/>
                  </a:cubicBezTo>
                  <a:cubicBezTo>
                    <a:pt x="1364" y="224"/>
                    <a:pt x="1364" y="224"/>
                    <a:pt x="1364" y="224"/>
                  </a:cubicBezTo>
                  <a:cubicBezTo>
                    <a:pt x="1365" y="222"/>
                    <a:pt x="1367" y="219"/>
                    <a:pt x="1368" y="216"/>
                  </a:cubicBezTo>
                  <a:cubicBezTo>
                    <a:pt x="1370" y="213"/>
                    <a:pt x="1370" y="213"/>
                    <a:pt x="1370" y="213"/>
                  </a:cubicBezTo>
                  <a:cubicBezTo>
                    <a:pt x="1382" y="200"/>
                    <a:pt x="1382" y="200"/>
                    <a:pt x="1382" y="200"/>
                  </a:cubicBezTo>
                  <a:cubicBezTo>
                    <a:pt x="1384" y="198"/>
                    <a:pt x="1386" y="196"/>
                    <a:pt x="1388" y="194"/>
                  </a:cubicBezTo>
                  <a:cubicBezTo>
                    <a:pt x="1387" y="193"/>
                    <a:pt x="1387" y="193"/>
                    <a:pt x="1387" y="193"/>
                  </a:cubicBezTo>
                  <a:cubicBezTo>
                    <a:pt x="1387" y="193"/>
                    <a:pt x="1387" y="193"/>
                    <a:pt x="1387" y="193"/>
                  </a:cubicBezTo>
                  <a:cubicBezTo>
                    <a:pt x="1385" y="192"/>
                    <a:pt x="1385" y="192"/>
                    <a:pt x="1385" y="192"/>
                  </a:cubicBezTo>
                  <a:cubicBezTo>
                    <a:pt x="1385" y="190"/>
                    <a:pt x="1385" y="190"/>
                    <a:pt x="1385" y="190"/>
                  </a:cubicBezTo>
                  <a:cubicBezTo>
                    <a:pt x="1385" y="188"/>
                    <a:pt x="1385" y="188"/>
                    <a:pt x="1385" y="188"/>
                  </a:cubicBezTo>
                  <a:cubicBezTo>
                    <a:pt x="1386" y="184"/>
                    <a:pt x="1386" y="184"/>
                    <a:pt x="1386" y="184"/>
                  </a:cubicBezTo>
                  <a:cubicBezTo>
                    <a:pt x="1386" y="184"/>
                    <a:pt x="1385" y="184"/>
                    <a:pt x="1385" y="183"/>
                  </a:cubicBezTo>
                  <a:cubicBezTo>
                    <a:pt x="1384" y="183"/>
                    <a:pt x="1384" y="183"/>
                    <a:pt x="1384" y="183"/>
                  </a:cubicBezTo>
                  <a:cubicBezTo>
                    <a:pt x="1384" y="183"/>
                    <a:pt x="1384" y="183"/>
                    <a:pt x="1384" y="183"/>
                  </a:cubicBezTo>
                  <a:cubicBezTo>
                    <a:pt x="1383" y="183"/>
                    <a:pt x="1383" y="183"/>
                    <a:pt x="1383" y="183"/>
                  </a:cubicBezTo>
                  <a:cubicBezTo>
                    <a:pt x="1383" y="183"/>
                    <a:pt x="1381" y="183"/>
                    <a:pt x="1381" y="183"/>
                  </a:cubicBezTo>
                  <a:cubicBezTo>
                    <a:pt x="1380" y="183"/>
                    <a:pt x="1380" y="183"/>
                    <a:pt x="1380" y="183"/>
                  </a:cubicBezTo>
                  <a:cubicBezTo>
                    <a:pt x="1379" y="183"/>
                    <a:pt x="1378" y="183"/>
                    <a:pt x="1377" y="183"/>
                  </a:cubicBezTo>
                  <a:cubicBezTo>
                    <a:pt x="1372" y="184"/>
                    <a:pt x="1372" y="184"/>
                    <a:pt x="1372" y="184"/>
                  </a:cubicBezTo>
                  <a:cubicBezTo>
                    <a:pt x="1372" y="181"/>
                    <a:pt x="1372" y="181"/>
                    <a:pt x="1372" y="181"/>
                  </a:cubicBezTo>
                  <a:cubicBezTo>
                    <a:pt x="1371" y="180"/>
                    <a:pt x="1370" y="179"/>
                    <a:pt x="1371" y="175"/>
                  </a:cubicBezTo>
                  <a:cubicBezTo>
                    <a:pt x="1371" y="173"/>
                    <a:pt x="1371" y="173"/>
                    <a:pt x="1371" y="173"/>
                  </a:cubicBezTo>
                  <a:cubicBezTo>
                    <a:pt x="1373" y="172"/>
                    <a:pt x="1373" y="172"/>
                    <a:pt x="1373" y="172"/>
                  </a:cubicBezTo>
                  <a:cubicBezTo>
                    <a:pt x="1374" y="171"/>
                    <a:pt x="1376" y="170"/>
                    <a:pt x="1377" y="169"/>
                  </a:cubicBezTo>
                  <a:cubicBezTo>
                    <a:pt x="1378" y="168"/>
                    <a:pt x="1378" y="168"/>
                    <a:pt x="1379" y="167"/>
                  </a:cubicBezTo>
                  <a:cubicBezTo>
                    <a:pt x="1383" y="163"/>
                    <a:pt x="1383" y="163"/>
                    <a:pt x="1383" y="163"/>
                  </a:cubicBezTo>
                  <a:cubicBezTo>
                    <a:pt x="1385" y="162"/>
                    <a:pt x="1387" y="160"/>
                    <a:pt x="1389" y="159"/>
                  </a:cubicBezTo>
                  <a:cubicBezTo>
                    <a:pt x="1390" y="157"/>
                    <a:pt x="1390" y="157"/>
                    <a:pt x="1390" y="157"/>
                  </a:cubicBezTo>
                  <a:cubicBezTo>
                    <a:pt x="1391" y="157"/>
                    <a:pt x="1391" y="157"/>
                    <a:pt x="1392" y="156"/>
                  </a:cubicBezTo>
                  <a:cubicBezTo>
                    <a:pt x="1393" y="156"/>
                    <a:pt x="1393" y="156"/>
                    <a:pt x="1393" y="156"/>
                  </a:cubicBezTo>
                  <a:cubicBezTo>
                    <a:pt x="1394" y="156"/>
                    <a:pt x="1394" y="156"/>
                    <a:pt x="1394" y="156"/>
                  </a:cubicBezTo>
                  <a:cubicBezTo>
                    <a:pt x="1395" y="156"/>
                    <a:pt x="1395" y="156"/>
                    <a:pt x="1395" y="156"/>
                  </a:cubicBezTo>
                  <a:cubicBezTo>
                    <a:pt x="1396" y="155"/>
                    <a:pt x="1397" y="155"/>
                    <a:pt x="1398" y="155"/>
                  </a:cubicBezTo>
                  <a:cubicBezTo>
                    <a:pt x="1399" y="155"/>
                    <a:pt x="1400" y="155"/>
                    <a:pt x="1401" y="155"/>
                  </a:cubicBezTo>
                  <a:cubicBezTo>
                    <a:pt x="1406" y="155"/>
                    <a:pt x="1411" y="154"/>
                    <a:pt x="1416" y="152"/>
                  </a:cubicBezTo>
                  <a:cubicBezTo>
                    <a:pt x="1420" y="152"/>
                    <a:pt x="1420" y="152"/>
                    <a:pt x="1420" y="152"/>
                  </a:cubicBezTo>
                  <a:cubicBezTo>
                    <a:pt x="1432" y="151"/>
                    <a:pt x="1432" y="151"/>
                    <a:pt x="1432" y="151"/>
                  </a:cubicBezTo>
                  <a:cubicBezTo>
                    <a:pt x="1436" y="150"/>
                    <a:pt x="1439" y="150"/>
                    <a:pt x="1442" y="149"/>
                  </a:cubicBezTo>
                  <a:cubicBezTo>
                    <a:pt x="1444" y="149"/>
                    <a:pt x="1444" y="149"/>
                    <a:pt x="1444" y="149"/>
                  </a:cubicBezTo>
                  <a:cubicBezTo>
                    <a:pt x="1445" y="148"/>
                    <a:pt x="1446" y="148"/>
                    <a:pt x="1446" y="148"/>
                  </a:cubicBezTo>
                  <a:cubicBezTo>
                    <a:pt x="1447" y="147"/>
                    <a:pt x="1448" y="147"/>
                    <a:pt x="1449" y="147"/>
                  </a:cubicBezTo>
                  <a:cubicBezTo>
                    <a:pt x="1450" y="147"/>
                    <a:pt x="1450" y="147"/>
                    <a:pt x="1450" y="147"/>
                  </a:cubicBezTo>
                  <a:cubicBezTo>
                    <a:pt x="1453" y="147"/>
                    <a:pt x="1453" y="147"/>
                    <a:pt x="1453" y="147"/>
                  </a:cubicBezTo>
                  <a:cubicBezTo>
                    <a:pt x="1455" y="147"/>
                    <a:pt x="1455" y="147"/>
                    <a:pt x="1455" y="147"/>
                  </a:cubicBezTo>
                  <a:cubicBezTo>
                    <a:pt x="1459" y="148"/>
                    <a:pt x="1459" y="148"/>
                    <a:pt x="1459" y="148"/>
                  </a:cubicBezTo>
                  <a:cubicBezTo>
                    <a:pt x="1461" y="149"/>
                    <a:pt x="1461" y="149"/>
                    <a:pt x="1461" y="149"/>
                  </a:cubicBezTo>
                  <a:cubicBezTo>
                    <a:pt x="1464" y="150"/>
                    <a:pt x="1468" y="151"/>
                    <a:pt x="1471" y="153"/>
                  </a:cubicBezTo>
                  <a:cubicBezTo>
                    <a:pt x="1482" y="159"/>
                    <a:pt x="1482" y="159"/>
                    <a:pt x="1482" y="159"/>
                  </a:cubicBezTo>
                  <a:cubicBezTo>
                    <a:pt x="1487" y="159"/>
                    <a:pt x="1487" y="159"/>
                    <a:pt x="1487" y="159"/>
                  </a:cubicBezTo>
                  <a:cubicBezTo>
                    <a:pt x="1487" y="159"/>
                    <a:pt x="1487" y="159"/>
                    <a:pt x="1487" y="159"/>
                  </a:cubicBezTo>
                  <a:cubicBezTo>
                    <a:pt x="1488" y="159"/>
                    <a:pt x="1488" y="159"/>
                    <a:pt x="1488" y="159"/>
                  </a:cubicBezTo>
                  <a:cubicBezTo>
                    <a:pt x="1490" y="159"/>
                    <a:pt x="1491" y="158"/>
                    <a:pt x="1493" y="158"/>
                  </a:cubicBezTo>
                  <a:cubicBezTo>
                    <a:pt x="1493" y="158"/>
                    <a:pt x="1494" y="158"/>
                    <a:pt x="1494" y="159"/>
                  </a:cubicBezTo>
                  <a:cubicBezTo>
                    <a:pt x="1494" y="159"/>
                    <a:pt x="1494" y="159"/>
                    <a:pt x="1494" y="159"/>
                  </a:cubicBezTo>
                  <a:cubicBezTo>
                    <a:pt x="1496" y="159"/>
                    <a:pt x="1496" y="159"/>
                    <a:pt x="1496" y="159"/>
                  </a:cubicBezTo>
                  <a:cubicBezTo>
                    <a:pt x="1496" y="159"/>
                    <a:pt x="1496" y="159"/>
                    <a:pt x="1496" y="159"/>
                  </a:cubicBezTo>
                  <a:cubicBezTo>
                    <a:pt x="1497" y="160"/>
                    <a:pt x="1497" y="160"/>
                    <a:pt x="1498" y="160"/>
                  </a:cubicBezTo>
                  <a:cubicBezTo>
                    <a:pt x="1498" y="160"/>
                    <a:pt x="1498" y="160"/>
                    <a:pt x="1498" y="160"/>
                  </a:cubicBezTo>
                  <a:cubicBezTo>
                    <a:pt x="1498" y="160"/>
                    <a:pt x="1498" y="160"/>
                    <a:pt x="1498" y="160"/>
                  </a:cubicBezTo>
                  <a:cubicBezTo>
                    <a:pt x="1500" y="161"/>
                    <a:pt x="1500" y="161"/>
                    <a:pt x="1500" y="161"/>
                  </a:cubicBezTo>
                  <a:cubicBezTo>
                    <a:pt x="1500" y="161"/>
                    <a:pt x="1501" y="162"/>
                    <a:pt x="1501" y="162"/>
                  </a:cubicBezTo>
                  <a:cubicBezTo>
                    <a:pt x="1502" y="162"/>
                    <a:pt x="1502" y="162"/>
                    <a:pt x="1502" y="162"/>
                  </a:cubicBezTo>
                  <a:cubicBezTo>
                    <a:pt x="1503" y="163"/>
                    <a:pt x="1503" y="163"/>
                    <a:pt x="1503" y="163"/>
                  </a:cubicBezTo>
                  <a:cubicBezTo>
                    <a:pt x="1503" y="163"/>
                    <a:pt x="1503" y="163"/>
                    <a:pt x="1503" y="163"/>
                  </a:cubicBezTo>
                  <a:cubicBezTo>
                    <a:pt x="1505" y="163"/>
                    <a:pt x="1505" y="163"/>
                    <a:pt x="1505" y="163"/>
                  </a:cubicBezTo>
                  <a:cubicBezTo>
                    <a:pt x="1506" y="164"/>
                    <a:pt x="1506" y="164"/>
                    <a:pt x="1506" y="164"/>
                  </a:cubicBezTo>
                  <a:cubicBezTo>
                    <a:pt x="1512" y="169"/>
                    <a:pt x="1512" y="169"/>
                    <a:pt x="1512" y="169"/>
                  </a:cubicBezTo>
                  <a:cubicBezTo>
                    <a:pt x="1515" y="166"/>
                    <a:pt x="1515" y="166"/>
                    <a:pt x="1515" y="166"/>
                  </a:cubicBezTo>
                  <a:cubicBezTo>
                    <a:pt x="1513" y="170"/>
                    <a:pt x="1513" y="170"/>
                    <a:pt x="1513" y="170"/>
                  </a:cubicBezTo>
                  <a:cubicBezTo>
                    <a:pt x="1513" y="170"/>
                    <a:pt x="1513" y="170"/>
                    <a:pt x="1513" y="170"/>
                  </a:cubicBezTo>
                  <a:cubicBezTo>
                    <a:pt x="1514" y="170"/>
                    <a:pt x="1514" y="171"/>
                    <a:pt x="1515" y="171"/>
                  </a:cubicBezTo>
                  <a:cubicBezTo>
                    <a:pt x="1515" y="171"/>
                    <a:pt x="1515" y="171"/>
                    <a:pt x="1515" y="171"/>
                  </a:cubicBezTo>
                  <a:cubicBezTo>
                    <a:pt x="1516" y="172"/>
                    <a:pt x="1516" y="172"/>
                    <a:pt x="1516" y="172"/>
                  </a:cubicBezTo>
                  <a:cubicBezTo>
                    <a:pt x="1518" y="173"/>
                    <a:pt x="1518" y="173"/>
                    <a:pt x="1518" y="173"/>
                  </a:cubicBezTo>
                  <a:cubicBezTo>
                    <a:pt x="1519" y="175"/>
                    <a:pt x="1519" y="175"/>
                    <a:pt x="1519" y="175"/>
                  </a:cubicBezTo>
                  <a:cubicBezTo>
                    <a:pt x="1518" y="177"/>
                    <a:pt x="1518" y="177"/>
                    <a:pt x="1518" y="177"/>
                  </a:cubicBezTo>
                  <a:cubicBezTo>
                    <a:pt x="1518" y="177"/>
                    <a:pt x="1517" y="179"/>
                    <a:pt x="1517" y="179"/>
                  </a:cubicBezTo>
                  <a:cubicBezTo>
                    <a:pt x="1516" y="180"/>
                    <a:pt x="1516" y="180"/>
                    <a:pt x="1516" y="180"/>
                  </a:cubicBezTo>
                  <a:cubicBezTo>
                    <a:pt x="1517" y="181"/>
                    <a:pt x="1517" y="181"/>
                    <a:pt x="1517" y="181"/>
                  </a:cubicBezTo>
                  <a:cubicBezTo>
                    <a:pt x="1518" y="181"/>
                    <a:pt x="1519" y="182"/>
                    <a:pt x="1519" y="183"/>
                  </a:cubicBezTo>
                  <a:cubicBezTo>
                    <a:pt x="1522" y="185"/>
                    <a:pt x="1526" y="189"/>
                    <a:pt x="1527" y="193"/>
                  </a:cubicBezTo>
                  <a:cubicBezTo>
                    <a:pt x="1528" y="194"/>
                    <a:pt x="1528" y="194"/>
                    <a:pt x="1528" y="194"/>
                  </a:cubicBezTo>
                  <a:cubicBezTo>
                    <a:pt x="1528" y="197"/>
                    <a:pt x="1528" y="197"/>
                    <a:pt x="1528" y="197"/>
                  </a:cubicBezTo>
                  <a:cubicBezTo>
                    <a:pt x="1528" y="199"/>
                    <a:pt x="1528" y="199"/>
                    <a:pt x="1528" y="199"/>
                  </a:cubicBezTo>
                  <a:cubicBezTo>
                    <a:pt x="1527" y="200"/>
                    <a:pt x="1527" y="200"/>
                    <a:pt x="1527" y="200"/>
                  </a:cubicBezTo>
                  <a:cubicBezTo>
                    <a:pt x="1527" y="200"/>
                    <a:pt x="1527" y="200"/>
                    <a:pt x="1527" y="200"/>
                  </a:cubicBezTo>
                  <a:cubicBezTo>
                    <a:pt x="1528" y="201"/>
                    <a:pt x="1528" y="201"/>
                    <a:pt x="1528" y="201"/>
                  </a:cubicBezTo>
                  <a:cubicBezTo>
                    <a:pt x="1530" y="206"/>
                    <a:pt x="1532" y="211"/>
                    <a:pt x="1534" y="215"/>
                  </a:cubicBezTo>
                  <a:cubicBezTo>
                    <a:pt x="1535" y="219"/>
                    <a:pt x="1535" y="219"/>
                    <a:pt x="1535" y="219"/>
                  </a:cubicBezTo>
                  <a:cubicBezTo>
                    <a:pt x="1536" y="218"/>
                    <a:pt x="1536" y="218"/>
                    <a:pt x="1536" y="218"/>
                  </a:cubicBezTo>
                  <a:cubicBezTo>
                    <a:pt x="1539" y="218"/>
                    <a:pt x="1539" y="218"/>
                    <a:pt x="1539" y="218"/>
                  </a:cubicBezTo>
                  <a:cubicBezTo>
                    <a:pt x="1541" y="230"/>
                    <a:pt x="1541" y="230"/>
                    <a:pt x="1541" y="230"/>
                  </a:cubicBezTo>
                  <a:cubicBezTo>
                    <a:pt x="1542" y="231"/>
                    <a:pt x="1542" y="231"/>
                    <a:pt x="1542" y="231"/>
                  </a:cubicBezTo>
                  <a:cubicBezTo>
                    <a:pt x="1542" y="231"/>
                    <a:pt x="1542" y="231"/>
                    <a:pt x="1542" y="231"/>
                  </a:cubicBezTo>
                  <a:cubicBezTo>
                    <a:pt x="1542" y="231"/>
                    <a:pt x="1542" y="231"/>
                    <a:pt x="1542" y="231"/>
                  </a:cubicBezTo>
                  <a:cubicBezTo>
                    <a:pt x="1543" y="233"/>
                    <a:pt x="1543" y="233"/>
                    <a:pt x="1543" y="233"/>
                  </a:cubicBezTo>
                  <a:cubicBezTo>
                    <a:pt x="1550" y="249"/>
                    <a:pt x="1550" y="249"/>
                    <a:pt x="1550" y="249"/>
                  </a:cubicBezTo>
                  <a:cubicBezTo>
                    <a:pt x="1550" y="249"/>
                    <a:pt x="1551" y="250"/>
                    <a:pt x="1551" y="251"/>
                  </a:cubicBezTo>
                  <a:cubicBezTo>
                    <a:pt x="1551" y="252"/>
                    <a:pt x="1551" y="252"/>
                    <a:pt x="1551" y="252"/>
                  </a:cubicBezTo>
                  <a:cubicBezTo>
                    <a:pt x="1551" y="251"/>
                    <a:pt x="1551" y="251"/>
                    <a:pt x="1551" y="251"/>
                  </a:cubicBezTo>
                  <a:cubicBezTo>
                    <a:pt x="1552" y="252"/>
                    <a:pt x="1552" y="252"/>
                    <a:pt x="1553" y="253"/>
                  </a:cubicBezTo>
                  <a:cubicBezTo>
                    <a:pt x="1553" y="253"/>
                    <a:pt x="1553" y="253"/>
                    <a:pt x="1553" y="253"/>
                  </a:cubicBezTo>
                  <a:cubicBezTo>
                    <a:pt x="1554" y="255"/>
                    <a:pt x="1554" y="255"/>
                    <a:pt x="1554" y="255"/>
                  </a:cubicBezTo>
                  <a:cubicBezTo>
                    <a:pt x="1553" y="258"/>
                    <a:pt x="1553" y="258"/>
                    <a:pt x="1553" y="258"/>
                  </a:cubicBezTo>
                  <a:cubicBezTo>
                    <a:pt x="1553" y="258"/>
                    <a:pt x="1553" y="259"/>
                    <a:pt x="1553" y="260"/>
                  </a:cubicBezTo>
                  <a:cubicBezTo>
                    <a:pt x="1553" y="261"/>
                    <a:pt x="1553" y="261"/>
                    <a:pt x="1553" y="261"/>
                  </a:cubicBezTo>
                  <a:cubicBezTo>
                    <a:pt x="1552" y="262"/>
                    <a:pt x="1552" y="263"/>
                    <a:pt x="1553" y="263"/>
                  </a:cubicBezTo>
                  <a:cubicBezTo>
                    <a:pt x="1558" y="271"/>
                    <a:pt x="1558" y="271"/>
                    <a:pt x="1558" y="271"/>
                  </a:cubicBezTo>
                  <a:cubicBezTo>
                    <a:pt x="1558" y="271"/>
                    <a:pt x="1558" y="271"/>
                    <a:pt x="1561" y="271"/>
                  </a:cubicBezTo>
                  <a:cubicBezTo>
                    <a:pt x="1573" y="271"/>
                    <a:pt x="1573" y="271"/>
                    <a:pt x="1573" y="271"/>
                  </a:cubicBezTo>
                  <a:cubicBezTo>
                    <a:pt x="1575" y="271"/>
                    <a:pt x="1578" y="273"/>
                    <a:pt x="1580" y="274"/>
                  </a:cubicBezTo>
                  <a:cubicBezTo>
                    <a:pt x="1581" y="274"/>
                    <a:pt x="1581" y="274"/>
                    <a:pt x="1581" y="274"/>
                  </a:cubicBezTo>
                  <a:cubicBezTo>
                    <a:pt x="1582" y="274"/>
                    <a:pt x="1582" y="275"/>
                    <a:pt x="1583" y="275"/>
                  </a:cubicBezTo>
                  <a:cubicBezTo>
                    <a:pt x="1590" y="277"/>
                    <a:pt x="1590" y="277"/>
                    <a:pt x="1590" y="277"/>
                  </a:cubicBezTo>
                  <a:cubicBezTo>
                    <a:pt x="1593" y="276"/>
                    <a:pt x="1593" y="276"/>
                    <a:pt x="1593" y="276"/>
                  </a:cubicBezTo>
                  <a:cubicBezTo>
                    <a:pt x="1597" y="277"/>
                    <a:pt x="1597" y="277"/>
                    <a:pt x="1597" y="277"/>
                  </a:cubicBezTo>
                  <a:cubicBezTo>
                    <a:pt x="1614" y="293"/>
                    <a:pt x="1614" y="293"/>
                    <a:pt x="1614" y="293"/>
                  </a:cubicBezTo>
                  <a:cubicBezTo>
                    <a:pt x="1615" y="293"/>
                    <a:pt x="1615" y="293"/>
                    <a:pt x="1615" y="293"/>
                  </a:cubicBezTo>
                  <a:cubicBezTo>
                    <a:pt x="1616" y="293"/>
                    <a:pt x="1616" y="293"/>
                    <a:pt x="1616" y="293"/>
                  </a:cubicBezTo>
                  <a:cubicBezTo>
                    <a:pt x="1617" y="293"/>
                    <a:pt x="1617" y="293"/>
                    <a:pt x="1617" y="293"/>
                  </a:cubicBezTo>
                  <a:cubicBezTo>
                    <a:pt x="1626" y="293"/>
                    <a:pt x="1626" y="293"/>
                    <a:pt x="1626" y="293"/>
                  </a:cubicBezTo>
                  <a:cubicBezTo>
                    <a:pt x="1624" y="302"/>
                    <a:pt x="1624" y="302"/>
                    <a:pt x="1624" y="302"/>
                  </a:cubicBezTo>
                  <a:cubicBezTo>
                    <a:pt x="1624" y="303"/>
                    <a:pt x="1624" y="303"/>
                    <a:pt x="1624" y="303"/>
                  </a:cubicBezTo>
                  <a:cubicBezTo>
                    <a:pt x="1624" y="303"/>
                    <a:pt x="1625" y="304"/>
                    <a:pt x="1625" y="304"/>
                  </a:cubicBezTo>
                  <a:cubicBezTo>
                    <a:pt x="1626" y="304"/>
                    <a:pt x="1626" y="305"/>
                    <a:pt x="1627" y="305"/>
                  </a:cubicBezTo>
                  <a:cubicBezTo>
                    <a:pt x="1627" y="305"/>
                    <a:pt x="1628" y="306"/>
                    <a:pt x="1628" y="307"/>
                  </a:cubicBezTo>
                  <a:cubicBezTo>
                    <a:pt x="1629" y="308"/>
                    <a:pt x="1629" y="309"/>
                    <a:pt x="1629" y="310"/>
                  </a:cubicBezTo>
                  <a:cubicBezTo>
                    <a:pt x="1630" y="310"/>
                    <a:pt x="1630" y="311"/>
                    <a:pt x="1630" y="311"/>
                  </a:cubicBezTo>
                  <a:cubicBezTo>
                    <a:pt x="1630" y="312"/>
                    <a:pt x="1630" y="314"/>
                    <a:pt x="1629" y="317"/>
                  </a:cubicBezTo>
                  <a:cubicBezTo>
                    <a:pt x="1628" y="317"/>
                    <a:pt x="1628" y="317"/>
                    <a:pt x="1628" y="318"/>
                  </a:cubicBezTo>
                  <a:cubicBezTo>
                    <a:pt x="1627" y="319"/>
                    <a:pt x="1627" y="319"/>
                    <a:pt x="1627" y="319"/>
                  </a:cubicBezTo>
                  <a:cubicBezTo>
                    <a:pt x="1627" y="320"/>
                    <a:pt x="1628" y="320"/>
                    <a:pt x="1628" y="321"/>
                  </a:cubicBezTo>
                  <a:cubicBezTo>
                    <a:pt x="1628" y="321"/>
                    <a:pt x="1629" y="321"/>
                    <a:pt x="1629" y="322"/>
                  </a:cubicBezTo>
                  <a:cubicBezTo>
                    <a:pt x="1629" y="322"/>
                    <a:pt x="1629" y="322"/>
                    <a:pt x="1629" y="322"/>
                  </a:cubicBezTo>
                  <a:cubicBezTo>
                    <a:pt x="1630" y="322"/>
                    <a:pt x="1630" y="323"/>
                    <a:pt x="1631" y="324"/>
                  </a:cubicBezTo>
                  <a:cubicBezTo>
                    <a:pt x="1631" y="324"/>
                    <a:pt x="1631" y="324"/>
                    <a:pt x="1631" y="324"/>
                  </a:cubicBezTo>
                  <a:cubicBezTo>
                    <a:pt x="1632" y="324"/>
                    <a:pt x="1632" y="325"/>
                    <a:pt x="1632" y="325"/>
                  </a:cubicBezTo>
                  <a:cubicBezTo>
                    <a:pt x="1632" y="326"/>
                    <a:pt x="1632" y="326"/>
                    <a:pt x="1633" y="326"/>
                  </a:cubicBezTo>
                  <a:cubicBezTo>
                    <a:pt x="1633" y="327"/>
                    <a:pt x="1633" y="328"/>
                    <a:pt x="1633" y="328"/>
                  </a:cubicBezTo>
                  <a:cubicBezTo>
                    <a:pt x="1633" y="328"/>
                    <a:pt x="1633" y="328"/>
                    <a:pt x="1633" y="328"/>
                  </a:cubicBezTo>
                  <a:cubicBezTo>
                    <a:pt x="1635" y="329"/>
                    <a:pt x="1637" y="329"/>
                    <a:pt x="1639" y="329"/>
                  </a:cubicBezTo>
                  <a:cubicBezTo>
                    <a:pt x="1639" y="329"/>
                    <a:pt x="1639" y="329"/>
                    <a:pt x="1640" y="329"/>
                  </a:cubicBezTo>
                  <a:cubicBezTo>
                    <a:pt x="1640" y="329"/>
                    <a:pt x="1641" y="329"/>
                    <a:pt x="1642" y="329"/>
                  </a:cubicBezTo>
                  <a:cubicBezTo>
                    <a:pt x="1644" y="329"/>
                    <a:pt x="1647" y="329"/>
                    <a:pt x="1649" y="329"/>
                  </a:cubicBezTo>
                  <a:cubicBezTo>
                    <a:pt x="1654" y="329"/>
                    <a:pt x="1658" y="329"/>
                    <a:pt x="1664" y="328"/>
                  </a:cubicBezTo>
                  <a:cubicBezTo>
                    <a:pt x="1665" y="328"/>
                    <a:pt x="1665" y="328"/>
                    <a:pt x="1665" y="327"/>
                  </a:cubicBezTo>
                  <a:cubicBezTo>
                    <a:pt x="1666" y="326"/>
                    <a:pt x="1666" y="325"/>
                    <a:pt x="1667" y="324"/>
                  </a:cubicBezTo>
                  <a:cubicBezTo>
                    <a:pt x="1669" y="321"/>
                    <a:pt x="1672" y="320"/>
                    <a:pt x="1674" y="319"/>
                  </a:cubicBezTo>
                  <a:cubicBezTo>
                    <a:pt x="1676" y="318"/>
                    <a:pt x="1679" y="316"/>
                    <a:pt x="1681" y="316"/>
                  </a:cubicBezTo>
                  <a:cubicBezTo>
                    <a:pt x="1684" y="316"/>
                    <a:pt x="1686" y="316"/>
                    <a:pt x="1688" y="315"/>
                  </a:cubicBezTo>
                  <a:cubicBezTo>
                    <a:pt x="1694" y="313"/>
                    <a:pt x="1694" y="313"/>
                    <a:pt x="1694" y="313"/>
                  </a:cubicBezTo>
                  <a:cubicBezTo>
                    <a:pt x="1697" y="312"/>
                    <a:pt x="1700" y="310"/>
                    <a:pt x="1703" y="309"/>
                  </a:cubicBezTo>
                  <a:cubicBezTo>
                    <a:pt x="1702" y="309"/>
                    <a:pt x="1702" y="309"/>
                    <a:pt x="1702" y="309"/>
                  </a:cubicBezTo>
                  <a:cubicBezTo>
                    <a:pt x="1713" y="307"/>
                    <a:pt x="1713" y="307"/>
                    <a:pt x="1713" y="307"/>
                  </a:cubicBezTo>
                  <a:cubicBezTo>
                    <a:pt x="1717" y="307"/>
                    <a:pt x="1720" y="306"/>
                    <a:pt x="1723" y="306"/>
                  </a:cubicBezTo>
                  <a:cubicBezTo>
                    <a:pt x="1723" y="306"/>
                    <a:pt x="1724" y="306"/>
                    <a:pt x="1724" y="306"/>
                  </a:cubicBezTo>
                  <a:cubicBezTo>
                    <a:pt x="1724" y="306"/>
                    <a:pt x="1724" y="306"/>
                    <a:pt x="1725" y="306"/>
                  </a:cubicBezTo>
                  <a:cubicBezTo>
                    <a:pt x="1725" y="306"/>
                    <a:pt x="1725" y="306"/>
                    <a:pt x="1725" y="306"/>
                  </a:cubicBezTo>
                  <a:cubicBezTo>
                    <a:pt x="1734" y="306"/>
                    <a:pt x="1734" y="306"/>
                    <a:pt x="1734" y="306"/>
                  </a:cubicBezTo>
                  <a:cubicBezTo>
                    <a:pt x="1727" y="311"/>
                    <a:pt x="1727" y="311"/>
                    <a:pt x="1727" y="311"/>
                  </a:cubicBezTo>
                  <a:cubicBezTo>
                    <a:pt x="1727" y="312"/>
                    <a:pt x="1726" y="312"/>
                    <a:pt x="1726" y="313"/>
                  </a:cubicBezTo>
                  <a:cubicBezTo>
                    <a:pt x="1724" y="315"/>
                    <a:pt x="1723" y="316"/>
                    <a:pt x="1721" y="316"/>
                  </a:cubicBezTo>
                  <a:cubicBezTo>
                    <a:pt x="1721" y="317"/>
                    <a:pt x="1721" y="317"/>
                    <a:pt x="1721" y="317"/>
                  </a:cubicBezTo>
                  <a:cubicBezTo>
                    <a:pt x="1720" y="318"/>
                    <a:pt x="1718" y="321"/>
                    <a:pt x="1718" y="322"/>
                  </a:cubicBezTo>
                  <a:cubicBezTo>
                    <a:pt x="1718" y="323"/>
                    <a:pt x="1719" y="324"/>
                    <a:pt x="1720" y="325"/>
                  </a:cubicBezTo>
                  <a:cubicBezTo>
                    <a:pt x="1721" y="325"/>
                    <a:pt x="1721" y="327"/>
                    <a:pt x="1722" y="328"/>
                  </a:cubicBezTo>
                  <a:cubicBezTo>
                    <a:pt x="1722" y="328"/>
                    <a:pt x="1722" y="328"/>
                    <a:pt x="1722" y="328"/>
                  </a:cubicBezTo>
                  <a:cubicBezTo>
                    <a:pt x="1723" y="329"/>
                    <a:pt x="1723" y="329"/>
                    <a:pt x="1723" y="329"/>
                  </a:cubicBezTo>
                  <a:cubicBezTo>
                    <a:pt x="1723" y="330"/>
                    <a:pt x="1723" y="331"/>
                    <a:pt x="1723" y="331"/>
                  </a:cubicBezTo>
                  <a:cubicBezTo>
                    <a:pt x="1723" y="336"/>
                    <a:pt x="1717" y="338"/>
                    <a:pt x="1714" y="340"/>
                  </a:cubicBezTo>
                  <a:cubicBezTo>
                    <a:pt x="1713" y="341"/>
                    <a:pt x="1713" y="341"/>
                    <a:pt x="1713" y="341"/>
                  </a:cubicBezTo>
                  <a:cubicBezTo>
                    <a:pt x="1713" y="341"/>
                    <a:pt x="1713" y="341"/>
                    <a:pt x="1712" y="341"/>
                  </a:cubicBezTo>
                  <a:cubicBezTo>
                    <a:pt x="1712" y="342"/>
                    <a:pt x="1711" y="342"/>
                    <a:pt x="1711" y="342"/>
                  </a:cubicBezTo>
                  <a:cubicBezTo>
                    <a:pt x="1710" y="343"/>
                    <a:pt x="1710" y="343"/>
                    <a:pt x="1710" y="343"/>
                  </a:cubicBezTo>
                  <a:cubicBezTo>
                    <a:pt x="1710" y="343"/>
                    <a:pt x="1710" y="344"/>
                    <a:pt x="1710" y="345"/>
                  </a:cubicBezTo>
                  <a:cubicBezTo>
                    <a:pt x="1710" y="345"/>
                    <a:pt x="1709" y="346"/>
                    <a:pt x="1709" y="348"/>
                  </a:cubicBezTo>
                  <a:cubicBezTo>
                    <a:pt x="1709" y="348"/>
                    <a:pt x="1709" y="348"/>
                    <a:pt x="1709" y="348"/>
                  </a:cubicBezTo>
                  <a:cubicBezTo>
                    <a:pt x="1709" y="350"/>
                    <a:pt x="1708" y="352"/>
                    <a:pt x="1707" y="354"/>
                  </a:cubicBezTo>
                  <a:cubicBezTo>
                    <a:pt x="1707" y="354"/>
                    <a:pt x="1707" y="354"/>
                    <a:pt x="1707" y="354"/>
                  </a:cubicBezTo>
                  <a:cubicBezTo>
                    <a:pt x="1707" y="355"/>
                    <a:pt x="1707" y="356"/>
                    <a:pt x="1707" y="356"/>
                  </a:cubicBezTo>
                  <a:cubicBezTo>
                    <a:pt x="1706" y="358"/>
                    <a:pt x="1706" y="358"/>
                    <a:pt x="1706" y="358"/>
                  </a:cubicBezTo>
                  <a:cubicBezTo>
                    <a:pt x="1706" y="359"/>
                    <a:pt x="1706" y="361"/>
                    <a:pt x="1705" y="362"/>
                  </a:cubicBezTo>
                  <a:cubicBezTo>
                    <a:pt x="1705" y="362"/>
                    <a:pt x="1705" y="363"/>
                    <a:pt x="1705" y="363"/>
                  </a:cubicBezTo>
                  <a:cubicBezTo>
                    <a:pt x="1704" y="365"/>
                    <a:pt x="1703" y="366"/>
                    <a:pt x="1703" y="366"/>
                  </a:cubicBezTo>
                  <a:cubicBezTo>
                    <a:pt x="1703" y="367"/>
                    <a:pt x="1703" y="367"/>
                    <a:pt x="1703" y="367"/>
                  </a:cubicBezTo>
                  <a:cubicBezTo>
                    <a:pt x="1702" y="367"/>
                    <a:pt x="1702" y="367"/>
                    <a:pt x="1702" y="367"/>
                  </a:cubicBezTo>
                  <a:cubicBezTo>
                    <a:pt x="1702" y="368"/>
                    <a:pt x="1702" y="368"/>
                    <a:pt x="1702" y="369"/>
                  </a:cubicBezTo>
                  <a:cubicBezTo>
                    <a:pt x="1702" y="369"/>
                    <a:pt x="1702" y="369"/>
                    <a:pt x="1702" y="369"/>
                  </a:cubicBezTo>
                  <a:cubicBezTo>
                    <a:pt x="1702" y="372"/>
                    <a:pt x="1702" y="374"/>
                    <a:pt x="1701" y="376"/>
                  </a:cubicBezTo>
                  <a:cubicBezTo>
                    <a:pt x="1700" y="379"/>
                    <a:pt x="1698" y="382"/>
                    <a:pt x="1696" y="384"/>
                  </a:cubicBezTo>
                  <a:cubicBezTo>
                    <a:pt x="1695" y="384"/>
                    <a:pt x="1695" y="385"/>
                    <a:pt x="1694" y="386"/>
                  </a:cubicBezTo>
                  <a:cubicBezTo>
                    <a:pt x="1693" y="387"/>
                    <a:pt x="1693" y="388"/>
                    <a:pt x="1693" y="390"/>
                  </a:cubicBezTo>
                  <a:cubicBezTo>
                    <a:pt x="1693" y="390"/>
                    <a:pt x="1693" y="390"/>
                    <a:pt x="1693" y="390"/>
                  </a:cubicBezTo>
                  <a:cubicBezTo>
                    <a:pt x="1698" y="390"/>
                    <a:pt x="1698" y="390"/>
                    <a:pt x="1698" y="390"/>
                  </a:cubicBezTo>
                  <a:cubicBezTo>
                    <a:pt x="1693" y="391"/>
                    <a:pt x="1693" y="391"/>
                    <a:pt x="1693" y="391"/>
                  </a:cubicBezTo>
                  <a:cubicBezTo>
                    <a:pt x="1693" y="392"/>
                    <a:pt x="1693" y="392"/>
                    <a:pt x="1693" y="392"/>
                  </a:cubicBezTo>
                  <a:cubicBezTo>
                    <a:pt x="1692" y="392"/>
                    <a:pt x="1692" y="392"/>
                    <a:pt x="1692" y="392"/>
                  </a:cubicBezTo>
                  <a:cubicBezTo>
                    <a:pt x="1692" y="393"/>
                    <a:pt x="1692" y="393"/>
                    <a:pt x="1692" y="393"/>
                  </a:cubicBezTo>
                  <a:cubicBezTo>
                    <a:pt x="1692" y="394"/>
                    <a:pt x="1692" y="394"/>
                    <a:pt x="1692" y="394"/>
                  </a:cubicBezTo>
                  <a:cubicBezTo>
                    <a:pt x="1691" y="394"/>
                    <a:pt x="1691" y="395"/>
                    <a:pt x="1691" y="395"/>
                  </a:cubicBezTo>
                  <a:cubicBezTo>
                    <a:pt x="1690" y="396"/>
                    <a:pt x="1688" y="398"/>
                    <a:pt x="1686" y="399"/>
                  </a:cubicBezTo>
                  <a:cubicBezTo>
                    <a:pt x="1685" y="399"/>
                    <a:pt x="1685" y="399"/>
                    <a:pt x="1685" y="399"/>
                  </a:cubicBezTo>
                  <a:cubicBezTo>
                    <a:pt x="1684" y="400"/>
                    <a:pt x="1684" y="401"/>
                    <a:pt x="1684" y="401"/>
                  </a:cubicBezTo>
                  <a:cubicBezTo>
                    <a:pt x="1684" y="402"/>
                    <a:pt x="1684" y="403"/>
                    <a:pt x="1684" y="403"/>
                  </a:cubicBezTo>
                  <a:cubicBezTo>
                    <a:pt x="1684" y="406"/>
                    <a:pt x="1684" y="406"/>
                    <a:pt x="1684" y="406"/>
                  </a:cubicBezTo>
                  <a:cubicBezTo>
                    <a:pt x="1684" y="406"/>
                    <a:pt x="1684" y="408"/>
                    <a:pt x="1682" y="409"/>
                  </a:cubicBezTo>
                  <a:cubicBezTo>
                    <a:pt x="1681" y="411"/>
                    <a:pt x="1677" y="412"/>
                    <a:pt x="1675" y="412"/>
                  </a:cubicBezTo>
                  <a:cubicBezTo>
                    <a:pt x="1675" y="412"/>
                    <a:pt x="1674" y="412"/>
                    <a:pt x="1674" y="412"/>
                  </a:cubicBezTo>
                  <a:cubicBezTo>
                    <a:pt x="1674" y="412"/>
                    <a:pt x="1674" y="412"/>
                    <a:pt x="1674" y="412"/>
                  </a:cubicBezTo>
                  <a:cubicBezTo>
                    <a:pt x="1672" y="412"/>
                    <a:pt x="1669" y="411"/>
                    <a:pt x="1666" y="410"/>
                  </a:cubicBezTo>
                  <a:cubicBezTo>
                    <a:pt x="1666" y="410"/>
                    <a:pt x="1666" y="410"/>
                    <a:pt x="1666" y="410"/>
                  </a:cubicBezTo>
                  <a:cubicBezTo>
                    <a:pt x="1666" y="410"/>
                    <a:pt x="1665" y="410"/>
                    <a:pt x="1665" y="409"/>
                  </a:cubicBezTo>
                  <a:cubicBezTo>
                    <a:pt x="1664" y="409"/>
                    <a:pt x="1663" y="409"/>
                    <a:pt x="1662" y="409"/>
                  </a:cubicBezTo>
                  <a:cubicBezTo>
                    <a:pt x="1658" y="408"/>
                    <a:pt x="1654" y="408"/>
                    <a:pt x="1652" y="406"/>
                  </a:cubicBezTo>
                  <a:cubicBezTo>
                    <a:pt x="1652" y="405"/>
                    <a:pt x="1652" y="405"/>
                    <a:pt x="1652" y="405"/>
                  </a:cubicBezTo>
                  <a:cubicBezTo>
                    <a:pt x="1652" y="406"/>
                    <a:pt x="1652" y="406"/>
                    <a:pt x="1652" y="406"/>
                  </a:cubicBezTo>
                  <a:cubicBezTo>
                    <a:pt x="1655" y="410"/>
                    <a:pt x="1655" y="410"/>
                    <a:pt x="1655" y="410"/>
                  </a:cubicBezTo>
                  <a:cubicBezTo>
                    <a:pt x="1651" y="407"/>
                    <a:pt x="1651" y="407"/>
                    <a:pt x="1651" y="407"/>
                  </a:cubicBezTo>
                  <a:cubicBezTo>
                    <a:pt x="1649" y="409"/>
                    <a:pt x="1648" y="411"/>
                    <a:pt x="1646" y="412"/>
                  </a:cubicBezTo>
                  <a:cubicBezTo>
                    <a:pt x="1645" y="413"/>
                    <a:pt x="1645" y="413"/>
                    <a:pt x="1645" y="413"/>
                  </a:cubicBezTo>
                  <a:cubicBezTo>
                    <a:pt x="1643" y="415"/>
                    <a:pt x="1639" y="416"/>
                    <a:pt x="1635" y="417"/>
                  </a:cubicBezTo>
                  <a:cubicBezTo>
                    <a:pt x="1635" y="417"/>
                    <a:pt x="1635" y="417"/>
                    <a:pt x="1635" y="417"/>
                  </a:cubicBezTo>
                  <a:cubicBezTo>
                    <a:pt x="1637" y="424"/>
                    <a:pt x="1640" y="431"/>
                    <a:pt x="1640" y="440"/>
                  </a:cubicBezTo>
                  <a:cubicBezTo>
                    <a:pt x="1640" y="443"/>
                    <a:pt x="1640" y="446"/>
                    <a:pt x="1640" y="449"/>
                  </a:cubicBezTo>
                  <a:cubicBezTo>
                    <a:pt x="1640" y="450"/>
                    <a:pt x="1641" y="452"/>
                    <a:pt x="1641" y="453"/>
                  </a:cubicBezTo>
                  <a:cubicBezTo>
                    <a:pt x="1641" y="458"/>
                    <a:pt x="1640" y="462"/>
                    <a:pt x="1639" y="465"/>
                  </a:cubicBezTo>
                  <a:cubicBezTo>
                    <a:pt x="1638" y="467"/>
                    <a:pt x="1638" y="467"/>
                    <a:pt x="1638" y="467"/>
                  </a:cubicBezTo>
                  <a:cubicBezTo>
                    <a:pt x="1637" y="472"/>
                    <a:pt x="1635" y="475"/>
                    <a:pt x="1629" y="475"/>
                  </a:cubicBezTo>
                  <a:cubicBezTo>
                    <a:pt x="1627" y="476"/>
                    <a:pt x="1626" y="476"/>
                    <a:pt x="1624" y="477"/>
                  </a:cubicBezTo>
                  <a:cubicBezTo>
                    <a:pt x="1624" y="478"/>
                    <a:pt x="1625" y="479"/>
                    <a:pt x="1625" y="480"/>
                  </a:cubicBezTo>
                  <a:cubicBezTo>
                    <a:pt x="1625" y="481"/>
                    <a:pt x="1625" y="481"/>
                    <a:pt x="1625" y="481"/>
                  </a:cubicBezTo>
                  <a:cubicBezTo>
                    <a:pt x="1622" y="481"/>
                    <a:pt x="1622" y="481"/>
                    <a:pt x="1622" y="481"/>
                  </a:cubicBezTo>
                  <a:cubicBezTo>
                    <a:pt x="1624" y="483"/>
                    <a:pt x="1625" y="485"/>
                    <a:pt x="1626" y="486"/>
                  </a:cubicBezTo>
                  <a:cubicBezTo>
                    <a:pt x="1627" y="485"/>
                    <a:pt x="1628" y="483"/>
                    <a:pt x="1628" y="481"/>
                  </a:cubicBezTo>
                  <a:cubicBezTo>
                    <a:pt x="1628" y="480"/>
                    <a:pt x="1625" y="479"/>
                    <a:pt x="1624" y="477"/>
                  </a:cubicBezTo>
                  <a:cubicBezTo>
                    <a:pt x="1625" y="477"/>
                    <a:pt x="1625" y="477"/>
                    <a:pt x="1626" y="477"/>
                  </a:cubicBezTo>
                  <a:cubicBezTo>
                    <a:pt x="1626" y="477"/>
                    <a:pt x="1627" y="477"/>
                    <a:pt x="1627" y="477"/>
                  </a:cubicBezTo>
                  <a:cubicBezTo>
                    <a:pt x="1626" y="479"/>
                    <a:pt x="1626" y="479"/>
                    <a:pt x="1626" y="479"/>
                  </a:cubicBezTo>
                  <a:cubicBezTo>
                    <a:pt x="1628" y="479"/>
                    <a:pt x="1629" y="479"/>
                    <a:pt x="1630" y="479"/>
                  </a:cubicBezTo>
                  <a:cubicBezTo>
                    <a:pt x="1629" y="479"/>
                    <a:pt x="1629" y="479"/>
                    <a:pt x="1628" y="479"/>
                  </a:cubicBezTo>
                  <a:cubicBezTo>
                    <a:pt x="1628" y="479"/>
                    <a:pt x="1628" y="479"/>
                    <a:pt x="1627" y="479"/>
                  </a:cubicBezTo>
                  <a:cubicBezTo>
                    <a:pt x="1628" y="479"/>
                    <a:pt x="1628" y="480"/>
                    <a:pt x="1629" y="480"/>
                  </a:cubicBezTo>
                  <a:cubicBezTo>
                    <a:pt x="1629" y="480"/>
                    <a:pt x="1630" y="479"/>
                    <a:pt x="1631" y="479"/>
                  </a:cubicBezTo>
                  <a:cubicBezTo>
                    <a:pt x="1632" y="478"/>
                    <a:pt x="1633" y="478"/>
                    <a:pt x="1633" y="478"/>
                  </a:cubicBezTo>
                  <a:cubicBezTo>
                    <a:pt x="1635" y="478"/>
                    <a:pt x="1634" y="479"/>
                    <a:pt x="1637" y="481"/>
                  </a:cubicBezTo>
                  <a:cubicBezTo>
                    <a:pt x="1636" y="478"/>
                    <a:pt x="1641" y="474"/>
                    <a:pt x="1643" y="471"/>
                  </a:cubicBezTo>
                  <a:cubicBezTo>
                    <a:pt x="1644" y="469"/>
                    <a:pt x="1645" y="467"/>
                    <a:pt x="1646" y="466"/>
                  </a:cubicBezTo>
                  <a:cubicBezTo>
                    <a:pt x="1646" y="465"/>
                    <a:pt x="1646" y="465"/>
                    <a:pt x="1646" y="465"/>
                  </a:cubicBezTo>
                  <a:cubicBezTo>
                    <a:pt x="1646" y="461"/>
                    <a:pt x="1649" y="458"/>
                    <a:pt x="1652" y="458"/>
                  </a:cubicBezTo>
                  <a:cubicBezTo>
                    <a:pt x="1654" y="458"/>
                    <a:pt x="1655" y="459"/>
                    <a:pt x="1656" y="459"/>
                  </a:cubicBezTo>
                  <a:cubicBezTo>
                    <a:pt x="1656" y="459"/>
                    <a:pt x="1656" y="459"/>
                    <a:pt x="1656" y="459"/>
                  </a:cubicBezTo>
                  <a:cubicBezTo>
                    <a:pt x="1657" y="460"/>
                    <a:pt x="1658" y="462"/>
                    <a:pt x="1659" y="463"/>
                  </a:cubicBezTo>
                  <a:cubicBezTo>
                    <a:pt x="1660" y="462"/>
                    <a:pt x="1662" y="460"/>
                    <a:pt x="1662" y="459"/>
                  </a:cubicBezTo>
                  <a:cubicBezTo>
                    <a:pt x="1662" y="462"/>
                    <a:pt x="1660" y="471"/>
                    <a:pt x="1663" y="473"/>
                  </a:cubicBezTo>
                  <a:cubicBezTo>
                    <a:pt x="1663" y="473"/>
                    <a:pt x="1663" y="473"/>
                    <a:pt x="1663" y="473"/>
                  </a:cubicBezTo>
                  <a:cubicBezTo>
                    <a:pt x="1663" y="473"/>
                    <a:pt x="1663" y="471"/>
                    <a:pt x="1663" y="471"/>
                  </a:cubicBezTo>
                  <a:cubicBezTo>
                    <a:pt x="1663" y="471"/>
                    <a:pt x="1663" y="471"/>
                    <a:pt x="1663" y="471"/>
                  </a:cubicBezTo>
                  <a:cubicBezTo>
                    <a:pt x="1664" y="471"/>
                    <a:pt x="1666" y="472"/>
                    <a:pt x="1667" y="472"/>
                  </a:cubicBezTo>
                  <a:cubicBezTo>
                    <a:pt x="1667" y="472"/>
                    <a:pt x="1667" y="472"/>
                    <a:pt x="1667" y="472"/>
                  </a:cubicBezTo>
                  <a:cubicBezTo>
                    <a:pt x="1669" y="472"/>
                    <a:pt x="1671" y="471"/>
                    <a:pt x="1672" y="471"/>
                  </a:cubicBezTo>
                  <a:cubicBezTo>
                    <a:pt x="1672" y="471"/>
                    <a:pt x="1672" y="471"/>
                    <a:pt x="1672" y="471"/>
                  </a:cubicBezTo>
                  <a:cubicBezTo>
                    <a:pt x="1673" y="471"/>
                    <a:pt x="1675" y="473"/>
                    <a:pt x="1676" y="474"/>
                  </a:cubicBezTo>
                  <a:cubicBezTo>
                    <a:pt x="1678" y="476"/>
                    <a:pt x="1679" y="477"/>
                    <a:pt x="1681" y="477"/>
                  </a:cubicBezTo>
                  <a:cubicBezTo>
                    <a:pt x="1681" y="477"/>
                    <a:pt x="1681" y="477"/>
                    <a:pt x="1681" y="477"/>
                  </a:cubicBezTo>
                  <a:cubicBezTo>
                    <a:pt x="1683" y="477"/>
                    <a:pt x="1684" y="476"/>
                    <a:pt x="1686" y="475"/>
                  </a:cubicBezTo>
                  <a:cubicBezTo>
                    <a:pt x="1689" y="474"/>
                    <a:pt x="1693" y="473"/>
                    <a:pt x="1697" y="473"/>
                  </a:cubicBezTo>
                  <a:cubicBezTo>
                    <a:pt x="1703" y="471"/>
                    <a:pt x="1709" y="466"/>
                    <a:pt x="1714" y="463"/>
                  </a:cubicBezTo>
                  <a:cubicBezTo>
                    <a:pt x="1718" y="460"/>
                    <a:pt x="1724" y="458"/>
                    <a:pt x="1729" y="454"/>
                  </a:cubicBezTo>
                  <a:cubicBezTo>
                    <a:pt x="1732" y="451"/>
                    <a:pt x="1736" y="446"/>
                    <a:pt x="1738" y="442"/>
                  </a:cubicBezTo>
                  <a:cubicBezTo>
                    <a:pt x="1739" y="440"/>
                    <a:pt x="1741" y="435"/>
                    <a:pt x="1742" y="434"/>
                  </a:cubicBezTo>
                  <a:cubicBezTo>
                    <a:pt x="1745" y="431"/>
                    <a:pt x="1748" y="428"/>
                    <a:pt x="1752" y="426"/>
                  </a:cubicBezTo>
                  <a:cubicBezTo>
                    <a:pt x="1756" y="421"/>
                    <a:pt x="1759" y="416"/>
                    <a:pt x="1764" y="411"/>
                  </a:cubicBezTo>
                  <a:cubicBezTo>
                    <a:pt x="1769" y="405"/>
                    <a:pt x="1775" y="400"/>
                    <a:pt x="1780" y="395"/>
                  </a:cubicBezTo>
                  <a:cubicBezTo>
                    <a:pt x="1785" y="391"/>
                    <a:pt x="1789" y="387"/>
                    <a:pt x="1792" y="382"/>
                  </a:cubicBezTo>
                  <a:cubicBezTo>
                    <a:pt x="1796" y="376"/>
                    <a:pt x="1802" y="370"/>
                    <a:pt x="1805" y="364"/>
                  </a:cubicBezTo>
                  <a:cubicBezTo>
                    <a:pt x="1807" y="359"/>
                    <a:pt x="1807" y="353"/>
                    <a:pt x="1811" y="349"/>
                  </a:cubicBezTo>
                  <a:cubicBezTo>
                    <a:pt x="1814" y="345"/>
                    <a:pt x="1819" y="342"/>
                    <a:pt x="1822" y="336"/>
                  </a:cubicBezTo>
                  <a:cubicBezTo>
                    <a:pt x="1824" y="332"/>
                    <a:pt x="1826" y="328"/>
                    <a:pt x="1829" y="325"/>
                  </a:cubicBezTo>
                  <a:cubicBezTo>
                    <a:pt x="1834" y="321"/>
                    <a:pt x="1840" y="317"/>
                    <a:pt x="1843" y="312"/>
                  </a:cubicBezTo>
                  <a:cubicBezTo>
                    <a:pt x="1846" y="308"/>
                    <a:pt x="1848" y="301"/>
                    <a:pt x="1851" y="296"/>
                  </a:cubicBezTo>
                  <a:cubicBezTo>
                    <a:pt x="1852" y="294"/>
                    <a:pt x="1853" y="291"/>
                    <a:pt x="1850" y="291"/>
                  </a:cubicBezTo>
                  <a:cubicBezTo>
                    <a:pt x="1850" y="291"/>
                    <a:pt x="1850" y="291"/>
                    <a:pt x="1849" y="291"/>
                  </a:cubicBezTo>
                  <a:cubicBezTo>
                    <a:pt x="1851" y="287"/>
                    <a:pt x="1856" y="280"/>
                    <a:pt x="1856" y="275"/>
                  </a:cubicBezTo>
                  <a:cubicBezTo>
                    <a:pt x="1856" y="273"/>
                    <a:pt x="1855" y="271"/>
                    <a:pt x="1856" y="269"/>
                  </a:cubicBezTo>
                  <a:cubicBezTo>
                    <a:pt x="1856" y="267"/>
                    <a:pt x="1852" y="267"/>
                    <a:pt x="1854" y="264"/>
                  </a:cubicBezTo>
                  <a:cubicBezTo>
                    <a:pt x="1855" y="261"/>
                    <a:pt x="1858" y="261"/>
                    <a:pt x="1859" y="259"/>
                  </a:cubicBezTo>
                  <a:cubicBezTo>
                    <a:pt x="1859" y="259"/>
                    <a:pt x="1858" y="259"/>
                    <a:pt x="1858" y="259"/>
                  </a:cubicBezTo>
                  <a:cubicBezTo>
                    <a:pt x="1856" y="259"/>
                    <a:pt x="1856" y="258"/>
                    <a:pt x="1856" y="255"/>
                  </a:cubicBezTo>
                  <a:cubicBezTo>
                    <a:pt x="1856" y="252"/>
                    <a:pt x="1855" y="250"/>
                    <a:pt x="1855" y="247"/>
                  </a:cubicBezTo>
                  <a:cubicBezTo>
                    <a:pt x="1854" y="242"/>
                    <a:pt x="1854" y="239"/>
                    <a:pt x="1857" y="235"/>
                  </a:cubicBezTo>
                  <a:cubicBezTo>
                    <a:pt x="1859" y="231"/>
                    <a:pt x="1858" y="225"/>
                    <a:pt x="1859" y="221"/>
                  </a:cubicBezTo>
                  <a:cubicBezTo>
                    <a:pt x="1860" y="220"/>
                    <a:pt x="1862" y="219"/>
                    <a:pt x="1863" y="218"/>
                  </a:cubicBezTo>
                  <a:cubicBezTo>
                    <a:pt x="1865" y="217"/>
                    <a:pt x="1862" y="217"/>
                    <a:pt x="1862" y="216"/>
                  </a:cubicBezTo>
                  <a:cubicBezTo>
                    <a:pt x="1863" y="210"/>
                    <a:pt x="1873" y="205"/>
                    <a:pt x="1877" y="201"/>
                  </a:cubicBezTo>
                  <a:cubicBezTo>
                    <a:pt x="1872" y="197"/>
                    <a:pt x="1876" y="196"/>
                    <a:pt x="1879" y="192"/>
                  </a:cubicBezTo>
                  <a:cubicBezTo>
                    <a:pt x="1879" y="193"/>
                    <a:pt x="1878" y="193"/>
                    <a:pt x="1878" y="193"/>
                  </a:cubicBezTo>
                  <a:cubicBezTo>
                    <a:pt x="1874" y="193"/>
                    <a:pt x="1871" y="188"/>
                    <a:pt x="1870" y="186"/>
                  </a:cubicBezTo>
                  <a:cubicBezTo>
                    <a:pt x="1868" y="184"/>
                    <a:pt x="1871" y="184"/>
                    <a:pt x="1871" y="184"/>
                  </a:cubicBezTo>
                  <a:cubicBezTo>
                    <a:pt x="1873" y="180"/>
                    <a:pt x="1873" y="176"/>
                    <a:pt x="1872" y="172"/>
                  </a:cubicBezTo>
                  <a:cubicBezTo>
                    <a:pt x="1872" y="172"/>
                    <a:pt x="1872" y="172"/>
                    <a:pt x="1872" y="172"/>
                  </a:cubicBezTo>
                  <a:cubicBezTo>
                    <a:pt x="1870" y="172"/>
                    <a:pt x="1868" y="171"/>
                    <a:pt x="1867" y="170"/>
                  </a:cubicBezTo>
                  <a:cubicBezTo>
                    <a:pt x="1866" y="169"/>
                    <a:pt x="1866" y="168"/>
                    <a:pt x="1865" y="167"/>
                  </a:cubicBezTo>
                  <a:cubicBezTo>
                    <a:pt x="1863" y="166"/>
                    <a:pt x="1861" y="165"/>
                    <a:pt x="1860" y="164"/>
                  </a:cubicBezTo>
                  <a:cubicBezTo>
                    <a:pt x="1863" y="165"/>
                    <a:pt x="1867" y="167"/>
                    <a:pt x="1871" y="168"/>
                  </a:cubicBezTo>
                  <a:cubicBezTo>
                    <a:pt x="1871" y="168"/>
                    <a:pt x="1871" y="168"/>
                    <a:pt x="1871" y="168"/>
                  </a:cubicBezTo>
                  <a:cubicBezTo>
                    <a:pt x="1872" y="168"/>
                    <a:pt x="1872" y="167"/>
                    <a:pt x="1872" y="167"/>
                  </a:cubicBezTo>
                  <a:cubicBezTo>
                    <a:pt x="1875" y="165"/>
                    <a:pt x="1876" y="164"/>
                    <a:pt x="1876" y="161"/>
                  </a:cubicBezTo>
                  <a:cubicBezTo>
                    <a:pt x="1876" y="156"/>
                    <a:pt x="1868" y="153"/>
                    <a:pt x="1864" y="151"/>
                  </a:cubicBezTo>
                  <a:cubicBezTo>
                    <a:pt x="1860" y="149"/>
                    <a:pt x="1857" y="147"/>
                    <a:pt x="1854" y="145"/>
                  </a:cubicBezTo>
                  <a:cubicBezTo>
                    <a:pt x="1848" y="140"/>
                    <a:pt x="1844" y="133"/>
                    <a:pt x="1840" y="128"/>
                  </a:cubicBezTo>
                  <a:cubicBezTo>
                    <a:pt x="1839" y="127"/>
                    <a:pt x="1837" y="126"/>
                    <a:pt x="1836" y="126"/>
                  </a:cubicBezTo>
                  <a:cubicBezTo>
                    <a:pt x="1834" y="126"/>
                    <a:pt x="1833" y="127"/>
                    <a:pt x="1832" y="127"/>
                  </a:cubicBezTo>
                  <a:cubicBezTo>
                    <a:pt x="1830" y="127"/>
                    <a:pt x="1829" y="127"/>
                    <a:pt x="1828" y="127"/>
                  </a:cubicBezTo>
                  <a:cubicBezTo>
                    <a:pt x="1828" y="127"/>
                    <a:pt x="1828" y="127"/>
                    <a:pt x="1828" y="127"/>
                  </a:cubicBezTo>
                  <a:cubicBezTo>
                    <a:pt x="1822" y="127"/>
                    <a:pt x="1817" y="126"/>
                    <a:pt x="1811" y="126"/>
                  </a:cubicBezTo>
                  <a:cubicBezTo>
                    <a:pt x="1815" y="127"/>
                    <a:pt x="1813" y="131"/>
                    <a:pt x="1812" y="133"/>
                  </a:cubicBezTo>
                  <a:cubicBezTo>
                    <a:pt x="1813" y="133"/>
                    <a:pt x="1813" y="132"/>
                    <a:pt x="1814" y="132"/>
                  </a:cubicBezTo>
                  <a:cubicBezTo>
                    <a:pt x="1816" y="132"/>
                    <a:pt x="1812" y="138"/>
                    <a:pt x="1812" y="139"/>
                  </a:cubicBezTo>
                  <a:cubicBezTo>
                    <a:pt x="1812" y="140"/>
                    <a:pt x="1813" y="141"/>
                    <a:pt x="1812" y="142"/>
                  </a:cubicBezTo>
                  <a:cubicBezTo>
                    <a:pt x="1812" y="144"/>
                    <a:pt x="1810" y="146"/>
                    <a:pt x="1808" y="148"/>
                  </a:cubicBezTo>
                  <a:cubicBezTo>
                    <a:pt x="1806" y="152"/>
                    <a:pt x="1805" y="151"/>
                    <a:pt x="1801" y="152"/>
                  </a:cubicBezTo>
                  <a:cubicBezTo>
                    <a:pt x="1802" y="150"/>
                    <a:pt x="1803" y="148"/>
                    <a:pt x="1804" y="147"/>
                  </a:cubicBezTo>
                  <a:cubicBezTo>
                    <a:pt x="1805" y="146"/>
                    <a:pt x="1807" y="144"/>
                    <a:pt x="1808" y="143"/>
                  </a:cubicBezTo>
                  <a:cubicBezTo>
                    <a:pt x="1809" y="141"/>
                    <a:pt x="1811" y="137"/>
                    <a:pt x="1808" y="136"/>
                  </a:cubicBezTo>
                  <a:cubicBezTo>
                    <a:pt x="1808" y="136"/>
                    <a:pt x="1808" y="136"/>
                    <a:pt x="1808" y="136"/>
                  </a:cubicBezTo>
                  <a:cubicBezTo>
                    <a:pt x="1805" y="136"/>
                    <a:pt x="1799" y="144"/>
                    <a:pt x="1798" y="145"/>
                  </a:cubicBezTo>
                  <a:cubicBezTo>
                    <a:pt x="1795" y="148"/>
                    <a:pt x="1793" y="150"/>
                    <a:pt x="1789" y="150"/>
                  </a:cubicBezTo>
                  <a:cubicBezTo>
                    <a:pt x="1788" y="150"/>
                    <a:pt x="1787" y="150"/>
                    <a:pt x="1785" y="150"/>
                  </a:cubicBezTo>
                  <a:cubicBezTo>
                    <a:pt x="1782" y="150"/>
                    <a:pt x="1777" y="150"/>
                    <a:pt x="1778" y="148"/>
                  </a:cubicBezTo>
                  <a:cubicBezTo>
                    <a:pt x="1778" y="147"/>
                    <a:pt x="1783" y="146"/>
                    <a:pt x="1784" y="146"/>
                  </a:cubicBezTo>
                  <a:cubicBezTo>
                    <a:pt x="1786" y="144"/>
                    <a:pt x="1785" y="143"/>
                    <a:pt x="1787" y="141"/>
                  </a:cubicBezTo>
                  <a:cubicBezTo>
                    <a:pt x="1787" y="140"/>
                    <a:pt x="1793" y="138"/>
                    <a:pt x="1791" y="138"/>
                  </a:cubicBezTo>
                  <a:cubicBezTo>
                    <a:pt x="1788" y="137"/>
                    <a:pt x="1786" y="136"/>
                    <a:pt x="1784" y="135"/>
                  </a:cubicBezTo>
                  <a:cubicBezTo>
                    <a:pt x="1781" y="134"/>
                    <a:pt x="1777" y="133"/>
                    <a:pt x="1783" y="133"/>
                  </a:cubicBezTo>
                  <a:cubicBezTo>
                    <a:pt x="1784" y="133"/>
                    <a:pt x="1786" y="130"/>
                    <a:pt x="1785" y="129"/>
                  </a:cubicBezTo>
                  <a:cubicBezTo>
                    <a:pt x="1784" y="127"/>
                    <a:pt x="1782" y="127"/>
                    <a:pt x="1782" y="127"/>
                  </a:cubicBezTo>
                  <a:cubicBezTo>
                    <a:pt x="1780" y="127"/>
                    <a:pt x="1779" y="127"/>
                    <a:pt x="1777" y="128"/>
                  </a:cubicBezTo>
                  <a:cubicBezTo>
                    <a:pt x="1775" y="130"/>
                    <a:pt x="1774" y="131"/>
                    <a:pt x="1776" y="133"/>
                  </a:cubicBezTo>
                  <a:cubicBezTo>
                    <a:pt x="1777" y="134"/>
                    <a:pt x="1779" y="134"/>
                    <a:pt x="1779" y="136"/>
                  </a:cubicBezTo>
                  <a:cubicBezTo>
                    <a:pt x="1778" y="138"/>
                    <a:pt x="1770" y="142"/>
                    <a:pt x="1767" y="142"/>
                  </a:cubicBezTo>
                  <a:cubicBezTo>
                    <a:pt x="1766" y="142"/>
                    <a:pt x="1766" y="142"/>
                    <a:pt x="1766" y="142"/>
                  </a:cubicBezTo>
                  <a:cubicBezTo>
                    <a:pt x="1762" y="140"/>
                    <a:pt x="1766" y="135"/>
                    <a:pt x="1767" y="133"/>
                  </a:cubicBezTo>
                  <a:cubicBezTo>
                    <a:pt x="1768" y="131"/>
                    <a:pt x="1767" y="130"/>
                    <a:pt x="1767" y="129"/>
                  </a:cubicBezTo>
                  <a:cubicBezTo>
                    <a:pt x="1768" y="127"/>
                    <a:pt x="1768" y="127"/>
                    <a:pt x="1768" y="127"/>
                  </a:cubicBezTo>
                  <a:cubicBezTo>
                    <a:pt x="1768" y="127"/>
                    <a:pt x="1767" y="127"/>
                    <a:pt x="1767" y="126"/>
                  </a:cubicBezTo>
                  <a:cubicBezTo>
                    <a:pt x="1767" y="126"/>
                    <a:pt x="1768" y="126"/>
                    <a:pt x="1768" y="126"/>
                  </a:cubicBezTo>
                  <a:cubicBezTo>
                    <a:pt x="1767" y="125"/>
                    <a:pt x="1767" y="125"/>
                    <a:pt x="1767" y="125"/>
                  </a:cubicBezTo>
                  <a:cubicBezTo>
                    <a:pt x="1767" y="124"/>
                    <a:pt x="1766" y="123"/>
                    <a:pt x="1766" y="122"/>
                  </a:cubicBezTo>
                  <a:cubicBezTo>
                    <a:pt x="1766" y="122"/>
                    <a:pt x="1767" y="122"/>
                    <a:pt x="1767" y="122"/>
                  </a:cubicBezTo>
                  <a:cubicBezTo>
                    <a:pt x="1767" y="122"/>
                    <a:pt x="1767" y="122"/>
                    <a:pt x="1767" y="122"/>
                  </a:cubicBezTo>
                  <a:cubicBezTo>
                    <a:pt x="1767" y="122"/>
                    <a:pt x="1768" y="122"/>
                    <a:pt x="1768" y="122"/>
                  </a:cubicBezTo>
                  <a:cubicBezTo>
                    <a:pt x="1768" y="122"/>
                    <a:pt x="1768" y="122"/>
                    <a:pt x="1768" y="122"/>
                  </a:cubicBezTo>
                  <a:cubicBezTo>
                    <a:pt x="1768" y="121"/>
                    <a:pt x="1768" y="121"/>
                    <a:pt x="1768" y="121"/>
                  </a:cubicBezTo>
                  <a:cubicBezTo>
                    <a:pt x="1769" y="119"/>
                    <a:pt x="1768" y="117"/>
                    <a:pt x="1767" y="115"/>
                  </a:cubicBezTo>
                  <a:cubicBezTo>
                    <a:pt x="1765" y="114"/>
                    <a:pt x="1762" y="113"/>
                    <a:pt x="1759" y="113"/>
                  </a:cubicBezTo>
                  <a:cubicBezTo>
                    <a:pt x="1758" y="113"/>
                    <a:pt x="1757" y="113"/>
                    <a:pt x="1756" y="113"/>
                  </a:cubicBezTo>
                  <a:cubicBezTo>
                    <a:pt x="1755" y="114"/>
                    <a:pt x="1754" y="114"/>
                    <a:pt x="1753" y="114"/>
                  </a:cubicBezTo>
                  <a:cubicBezTo>
                    <a:pt x="1752" y="114"/>
                    <a:pt x="1752" y="114"/>
                    <a:pt x="1752" y="114"/>
                  </a:cubicBezTo>
                  <a:cubicBezTo>
                    <a:pt x="1745" y="113"/>
                    <a:pt x="1738" y="114"/>
                    <a:pt x="1731" y="113"/>
                  </a:cubicBezTo>
                  <a:cubicBezTo>
                    <a:pt x="1732" y="111"/>
                    <a:pt x="1729" y="110"/>
                    <a:pt x="1729" y="108"/>
                  </a:cubicBezTo>
                  <a:cubicBezTo>
                    <a:pt x="1729" y="106"/>
                    <a:pt x="1732" y="104"/>
                    <a:pt x="1733" y="103"/>
                  </a:cubicBezTo>
                  <a:cubicBezTo>
                    <a:pt x="1737" y="100"/>
                    <a:pt x="1740" y="99"/>
                    <a:pt x="1744" y="97"/>
                  </a:cubicBezTo>
                  <a:cubicBezTo>
                    <a:pt x="1749" y="94"/>
                    <a:pt x="1752" y="93"/>
                    <a:pt x="1756" y="89"/>
                  </a:cubicBezTo>
                  <a:cubicBezTo>
                    <a:pt x="1760" y="84"/>
                    <a:pt x="1769" y="81"/>
                    <a:pt x="1775" y="77"/>
                  </a:cubicBezTo>
                  <a:cubicBezTo>
                    <a:pt x="1780" y="74"/>
                    <a:pt x="1784" y="70"/>
                    <a:pt x="1789" y="66"/>
                  </a:cubicBezTo>
                  <a:cubicBezTo>
                    <a:pt x="1791" y="65"/>
                    <a:pt x="1802" y="57"/>
                    <a:pt x="1802" y="54"/>
                  </a:cubicBezTo>
                  <a:cubicBezTo>
                    <a:pt x="1802" y="54"/>
                    <a:pt x="1799" y="54"/>
                    <a:pt x="1799" y="53"/>
                  </a:cubicBezTo>
                  <a:cubicBezTo>
                    <a:pt x="1799" y="52"/>
                    <a:pt x="1803" y="48"/>
                    <a:pt x="1804" y="47"/>
                  </a:cubicBezTo>
                  <a:cubicBezTo>
                    <a:pt x="1808" y="41"/>
                    <a:pt x="1811" y="37"/>
                    <a:pt x="1816" y="34"/>
                  </a:cubicBezTo>
                  <a:cubicBezTo>
                    <a:pt x="1824" y="28"/>
                    <a:pt x="1831" y="22"/>
                    <a:pt x="1839" y="17"/>
                  </a:cubicBezTo>
                  <a:cubicBezTo>
                    <a:pt x="1843" y="13"/>
                    <a:pt x="1848" y="12"/>
                    <a:pt x="1853" y="9"/>
                  </a:cubicBezTo>
                  <a:cubicBezTo>
                    <a:pt x="1855" y="8"/>
                    <a:pt x="1855" y="7"/>
                    <a:pt x="1856" y="5"/>
                  </a:cubicBezTo>
                  <a:cubicBezTo>
                    <a:pt x="1856" y="3"/>
                    <a:pt x="1857" y="1"/>
                    <a:pt x="1857" y="0"/>
                  </a:cubicBezTo>
                  <a:moveTo>
                    <a:pt x="2359" y="0"/>
                  </a:moveTo>
                  <a:cubicBezTo>
                    <a:pt x="2274" y="0"/>
                    <a:pt x="2274" y="0"/>
                    <a:pt x="2274" y="0"/>
                  </a:cubicBezTo>
                  <a:cubicBezTo>
                    <a:pt x="2273" y="1"/>
                    <a:pt x="2273" y="1"/>
                    <a:pt x="2272" y="2"/>
                  </a:cubicBezTo>
                  <a:cubicBezTo>
                    <a:pt x="2273" y="2"/>
                    <a:pt x="2274" y="3"/>
                    <a:pt x="2274" y="4"/>
                  </a:cubicBezTo>
                  <a:cubicBezTo>
                    <a:pt x="2273" y="3"/>
                    <a:pt x="2272" y="2"/>
                    <a:pt x="2271" y="2"/>
                  </a:cubicBezTo>
                  <a:cubicBezTo>
                    <a:pt x="2270" y="2"/>
                    <a:pt x="2269" y="3"/>
                    <a:pt x="2268" y="3"/>
                  </a:cubicBezTo>
                  <a:cubicBezTo>
                    <a:pt x="2267" y="3"/>
                    <a:pt x="2266" y="3"/>
                    <a:pt x="2264" y="3"/>
                  </a:cubicBezTo>
                  <a:cubicBezTo>
                    <a:pt x="2264" y="3"/>
                    <a:pt x="2264" y="3"/>
                    <a:pt x="2264" y="3"/>
                  </a:cubicBezTo>
                  <a:cubicBezTo>
                    <a:pt x="2263" y="3"/>
                    <a:pt x="2261" y="3"/>
                    <a:pt x="2260" y="3"/>
                  </a:cubicBezTo>
                  <a:cubicBezTo>
                    <a:pt x="2260" y="3"/>
                    <a:pt x="2260" y="3"/>
                    <a:pt x="2259" y="3"/>
                  </a:cubicBezTo>
                  <a:cubicBezTo>
                    <a:pt x="2256" y="3"/>
                    <a:pt x="2257" y="7"/>
                    <a:pt x="2255" y="9"/>
                  </a:cubicBezTo>
                  <a:cubicBezTo>
                    <a:pt x="2253" y="10"/>
                    <a:pt x="2248" y="10"/>
                    <a:pt x="2246" y="10"/>
                  </a:cubicBezTo>
                  <a:cubicBezTo>
                    <a:pt x="2243" y="11"/>
                    <a:pt x="2240" y="11"/>
                    <a:pt x="2237" y="12"/>
                  </a:cubicBezTo>
                  <a:cubicBezTo>
                    <a:pt x="2239" y="15"/>
                    <a:pt x="2241" y="19"/>
                    <a:pt x="2242" y="23"/>
                  </a:cubicBezTo>
                  <a:cubicBezTo>
                    <a:pt x="2242" y="24"/>
                    <a:pt x="2241" y="26"/>
                    <a:pt x="2240" y="27"/>
                  </a:cubicBezTo>
                  <a:cubicBezTo>
                    <a:pt x="2238" y="29"/>
                    <a:pt x="2237" y="33"/>
                    <a:pt x="2235" y="35"/>
                  </a:cubicBezTo>
                  <a:cubicBezTo>
                    <a:pt x="2235" y="34"/>
                    <a:pt x="2234" y="34"/>
                    <a:pt x="2234" y="34"/>
                  </a:cubicBezTo>
                  <a:cubicBezTo>
                    <a:pt x="2233" y="34"/>
                    <a:pt x="2231" y="37"/>
                    <a:pt x="2230" y="38"/>
                  </a:cubicBezTo>
                  <a:cubicBezTo>
                    <a:pt x="2229" y="39"/>
                    <a:pt x="2228" y="40"/>
                    <a:pt x="2226" y="40"/>
                  </a:cubicBezTo>
                  <a:cubicBezTo>
                    <a:pt x="2225" y="42"/>
                    <a:pt x="2224" y="43"/>
                    <a:pt x="2222" y="45"/>
                  </a:cubicBezTo>
                  <a:cubicBezTo>
                    <a:pt x="2217" y="49"/>
                    <a:pt x="2217" y="54"/>
                    <a:pt x="2215" y="60"/>
                  </a:cubicBezTo>
                  <a:cubicBezTo>
                    <a:pt x="2210" y="79"/>
                    <a:pt x="2209" y="99"/>
                    <a:pt x="2212" y="118"/>
                  </a:cubicBezTo>
                  <a:cubicBezTo>
                    <a:pt x="2215" y="130"/>
                    <a:pt x="2218" y="142"/>
                    <a:pt x="2220" y="154"/>
                  </a:cubicBezTo>
                  <a:cubicBezTo>
                    <a:pt x="2221" y="162"/>
                    <a:pt x="2221" y="171"/>
                    <a:pt x="2224" y="178"/>
                  </a:cubicBezTo>
                  <a:cubicBezTo>
                    <a:pt x="2225" y="180"/>
                    <a:pt x="2226" y="181"/>
                    <a:pt x="2227" y="182"/>
                  </a:cubicBezTo>
                  <a:cubicBezTo>
                    <a:pt x="2228" y="183"/>
                    <a:pt x="2229" y="183"/>
                    <a:pt x="2230" y="184"/>
                  </a:cubicBezTo>
                  <a:cubicBezTo>
                    <a:pt x="2230" y="185"/>
                    <a:pt x="2230" y="185"/>
                    <a:pt x="2229" y="185"/>
                  </a:cubicBezTo>
                  <a:cubicBezTo>
                    <a:pt x="2229" y="185"/>
                    <a:pt x="2228" y="184"/>
                    <a:pt x="2228" y="184"/>
                  </a:cubicBezTo>
                  <a:cubicBezTo>
                    <a:pt x="2229" y="192"/>
                    <a:pt x="2231" y="200"/>
                    <a:pt x="2231" y="208"/>
                  </a:cubicBezTo>
                  <a:cubicBezTo>
                    <a:pt x="2231" y="212"/>
                    <a:pt x="2231" y="218"/>
                    <a:pt x="2232" y="222"/>
                  </a:cubicBezTo>
                  <a:cubicBezTo>
                    <a:pt x="2233" y="223"/>
                    <a:pt x="2235" y="225"/>
                    <a:pt x="2236" y="226"/>
                  </a:cubicBezTo>
                  <a:cubicBezTo>
                    <a:pt x="2238" y="229"/>
                    <a:pt x="2236" y="231"/>
                    <a:pt x="2235" y="234"/>
                  </a:cubicBezTo>
                  <a:cubicBezTo>
                    <a:pt x="2241" y="230"/>
                    <a:pt x="2247" y="225"/>
                    <a:pt x="2253" y="220"/>
                  </a:cubicBezTo>
                  <a:cubicBezTo>
                    <a:pt x="2257" y="217"/>
                    <a:pt x="2260" y="212"/>
                    <a:pt x="2264" y="208"/>
                  </a:cubicBezTo>
                  <a:cubicBezTo>
                    <a:pt x="2269" y="202"/>
                    <a:pt x="2274" y="196"/>
                    <a:pt x="2279" y="190"/>
                  </a:cubicBezTo>
                  <a:cubicBezTo>
                    <a:pt x="2281" y="188"/>
                    <a:pt x="2278" y="185"/>
                    <a:pt x="2279" y="183"/>
                  </a:cubicBezTo>
                  <a:cubicBezTo>
                    <a:pt x="2279" y="182"/>
                    <a:pt x="2278" y="182"/>
                    <a:pt x="2278" y="181"/>
                  </a:cubicBezTo>
                  <a:cubicBezTo>
                    <a:pt x="2278" y="180"/>
                    <a:pt x="2277" y="180"/>
                    <a:pt x="2278" y="179"/>
                  </a:cubicBezTo>
                  <a:cubicBezTo>
                    <a:pt x="2278" y="178"/>
                    <a:pt x="2280" y="178"/>
                    <a:pt x="2281" y="177"/>
                  </a:cubicBezTo>
                  <a:cubicBezTo>
                    <a:pt x="2281" y="177"/>
                    <a:pt x="2281" y="175"/>
                    <a:pt x="2281" y="173"/>
                  </a:cubicBezTo>
                  <a:cubicBezTo>
                    <a:pt x="2278" y="173"/>
                    <a:pt x="2275" y="170"/>
                    <a:pt x="2275" y="167"/>
                  </a:cubicBezTo>
                  <a:cubicBezTo>
                    <a:pt x="2275" y="164"/>
                    <a:pt x="2278" y="161"/>
                    <a:pt x="2282" y="161"/>
                  </a:cubicBezTo>
                  <a:cubicBezTo>
                    <a:pt x="2285" y="161"/>
                    <a:pt x="2288" y="163"/>
                    <a:pt x="2288" y="167"/>
                  </a:cubicBezTo>
                  <a:cubicBezTo>
                    <a:pt x="2289" y="166"/>
                    <a:pt x="2289" y="166"/>
                    <a:pt x="2289" y="166"/>
                  </a:cubicBezTo>
                  <a:cubicBezTo>
                    <a:pt x="2291" y="165"/>
                    <a:pt x="2293" y="164"/>
                    <a:pt x="2296" y="163"/>
                  </a:cubicBezTo>
                  <a:cubicBezTo>
                    <a:pt x="2298" y="162"/>
                    <a:pt x="2300" y="161"/>
                    <a:pt x="2303" y="160"/>
                  </a:cubicBezTo>
                  <a:cubicBezTo>
                    <a:pt x="2305" y="159"/>
                    <a:pt x="2307" y="160"/>
                    <a:pt x="2309" y="159"/>
                  </a:cubicBezTo>
                  <a:cubicBezTo>
                    <a:pt x="2306" y="161"/>
                    <a:pt x="2313" y="164"/>
                    <a:pt x="2315" y="164"/>
                  </a:cubicBezTo>
                  <a:cubicBezTo>
                    <a:pt x="2315" y="163"/>
                    <a:pt x="2314" y="161"/>
                    <a:pt x="2314" y="160"/>
                  </a:cubicBezTo>
                  <a:cubicBezTo>
                    <a:pt x="2313" y="160"/>
                    <a:pt x="2313" y="161"/>
                    <a:pt x="2313" y="161"/>
                  </a:cubicBezTo>
                  <a:cubicBezTo>
                    <a:pt x="2312" y="161"/>
                    <a:pt x="2313" y="159"/>
                    <a:pt x="2313" y="158"/>
                  </a:cubicBezTo>
                  <a:cubicBezTo>
                    <a:pt x="2313" y="157"/>
                    <a:pt x="2313" y="157"/>
                    <a:pt x="2313" y="157"/>
                  </a:cubicBezTo>
                  <a:cubicBezTo>
                    <a:pt x="2312" y="156"/>
                    <a:pt x="2312" y="156"/>
                    <a:pt x="2312" y="156"/>
                  </a:cubicBezTo>
                  <a:cubicBezTo>
                    <a:pt x="2311" y="155"/>
                    <a:pt x="2309" y="153"/>
                    <a:pt x="2309" y="151"/>
                  </a:cubicBezTo>
                  <a:cubicBezTo>
                    <a:pt x="2310" y="151"/>
                    <a:pt x="2311" y="151"/>
                    <a:pt x="2312" y="151"/>
                  </a:cubicBezTo>
                  <a:cubicBezTo>
                    <a:pt x="2313" y="151"/>
                    <a:pt x="2314" y="151"/>
                    <a:pt x="2312" y="148"/>
                  </a:cubicBezTo>
                  <a:cubicBezTo>
                    <a:pt x="2312" y="148"/>
                    <a:pt x="2311" y="148"/>
                    <a:pt x="2310" y="147"/>
                  </a:cubicBezTo>
                  <a:cubicBezTo>
                    <a:pt x="2310" y="147"/>
                    <a:pt x="2310" y="144"/>
                    <a:pt x="2310" y="143"/>
                  </a:cubicBezTo>
                  <a:cubicBezTo>
                    <a:pt x="2310" y="139"/>
                    <a:pt x="2312" y="134"/>
                    <a:pt x="2314" y="130"/>
                  </a:cubicBezTo>
                  <a:cubicBezTo>
                    <a:pt x="2316" y="128"/>
                    <a:pt x="2320" y="126"/>
                    <a:pt x="2323" y="124"/>
                  </a:cubicBezTo>
                  <a:cubicBezTo>
                    <a:pt x="2327" y="121"/>
                    <a:pt x="2332" y="118"/>
                    <a:pt x="2337" y="117"/>
                  </a:cubicBezTo>
                  <a:cubicBezTo>
                    <a:pt x="2338" y="117"/>
                    <a:pt x="2339" y="116"/>
                    <a:pt x="2339" y="116"/>
                  </a:cubicBezTo>
                  <a:cubicBezTo>
                    <a:pt x="2340" y="116"/>
                    <a:pt x="2340" y="116"/>
                    <a:pt x="2340" y="116"/>
                  </a:cubicBezTo>
                  <a:cubicBezTo>
                    <a:pt x="2342" y="117"/>
                    <a:pt x="2341" y="118"/>
                    <a:pt x="2342" y="118"/>
                  </a:cubicBezTo>
                  <a:cubicBezTo>
                    <a:pt x="2344" y="119"/>
                    <a:pt x="2345" y="119"/>
                    <a:pt x="2346" y="119"/>
                  </a:cubicBezTo>
                  <a:cubicBezTo>
                    <a:pt x="2347" y="119"/>
                    <a:pt x="2348" y="119"/>
                    <a:pt x="2349" y="119"/>
                  </a:cubicBezTo>
                  <a:cubicBezTo>
                    <a:pt x="2353" y="118"/>
                    <a:pt x="2358" y="115"/>
                    <a:pt x="2362" y="112"/>
                  </a:cubicBezTo>
                  <a:cubicBezTo>
                    <a:pt x="2365" y="109"/>
                    <a:pt x="2364" y="108"/>
                    <a:pt x="2362" y="105"/>
                  </a:cubicBezTo>
                  <a:cubicBezTo>
                    <a:pt x="2361" y="104"/>
                    <a:pt x="2360" y="102"/>
                    <a:pt x="2358" y="101"/>
                  </a:cubicBezTo>
                  <a:cubicBezTo>
                    <a:pt x="2354" y="98"/>
                    <a:pt x="2355" y="88"/>
                    <a:pt x="2355" y="83"/>
                  </a:cubicBezTo>
                  <a:cubicBezTo>
                    <a:pt x="2355" y="80"/>
                    <a:pt x="2358" y="76"/>
                    <a:pt x="2359" y="73"/>
                  </a:cubicBezTo>
                  <a:cubicBezTo>
                    <a:pt x="2361" y="70"/>
                    <a:pt x="2362" y="67"/>
                    <a:pt x="2366" y="65"/>
                  </a:cubicBezTo>
                  <a:cubicBezTo>
                    <a:pt x="2368" y="64"/>
                    <a:pt x="2374" y="63"/>
                    <a:pt x="2374" y="60"/>
                  </a:cubicBezTo>
                  <a:cubicBezTo>
                    <a:pt x="2373" y="57"/>
                    <a:pt x="2368" y="58"/>
                    <a:pt x="2373" y="56"/>
                  </a:cubicBezTo>
                  <a:cubicBezTo>
                    <a:pt x="2376" y="54"/>
                    <a:pt x="2376" y="55"/>
                    <a:pt x="2379" y="54"/>
                  </a:cubicBezTo>
                  <a:cubicBezTo>
                    <a:pt x="2381" y="54"/>
                    <a:pt x="2381" y="54"/>
                    <a:pt x="2382" y="53"/>
                  </a:cubicBezTo>
                  <a:cubicBezTo>
                    <a:pt x="2383" y="53"/>
                    <a:pt x="2384" y="52"/>
                    <a:pt x="2384" y="52"/>
                  </a:cubicBezTo>
                  <a:cubicBezTo>
                    <a:pt x="2385" y="52"/>
                    <a:pt x="2385" y="53"/>
                    <a:pt x="2385" y="54"/>
                  </a:cubicBezTo>
                  <a:cubicBezTo>
                    <a:pt x="2386" y="54"/>
                    <a:pt x="2383" y="57"/>
                    <a:pt x="2382" y="57"/>
                  </a:cubicBezTo>
                  <a:cubicBezTo>
                    <a:pt x="2379" y="59"/>
                    <a:pt x="2376" y="59"/>
                    <a:pt x="2374" y="63"/>
                  </a:cubicBezTo>
                  <a:cubicBezTo>
                    <a:pt x="2376" y="63"/>
                    <a:pt x="2377" y="66"/>
                    <a:pt x="2379" y="67"/>
                  </a:cubicBezTo>
                  <a:cubicBezTo>
                    <a:pt x="2380" y="68"/>
                    <a:pt x="2381" y="68"/>
                    <a:pt x="2382" y="68"/>
                  </a:cubicBezTo>
                  <a:cubicBezTo>
                    <a:pt x="2385" y="68"/>
                    <a:pt x="2388" y="66"/>
                    <a:pt x="2390" y="65"/>
                  </a:cubicBezTo>
                  <a:cubicBezTo>
                    <a:pt x="2394" y="63"/>
                    <a:pt x="2392" y="61"/>
                    <a:pt x="2391" y="57"/>
                  </a:cubicBezTo>
                  <a:cubicBezTo>
                    <a:pt x="2391" y="54"/>
                    <a:pt x="2390" y="50"/>
                    <a:pt x="2389" y="47"/>
                  </a:cubicBezTo>
                  <a:cubicBezTo>
                    <a:pt x="2388" y="44"/>
                    <a:pt x="2383" y="46"/>
                    <a:pt x="2381" y="44"/>
                  </a:cubicBezTo>
                  <a:cubicBezTo>
                    <a:pt x="2379" y="42"/>
                    <a:pt x="2379" y="41"/>
                    <a:pt x="2380" y="38"/>
                  </a:cubicBezTo>
                  <a:cubicBezTo>
                    <a:pt x="2380" y="35"/>
                    <a:pt x="2379" y="31"/>
                    <a:pt x="2379" y="27"/>
                  </a:cubicBezTo>
                  <a:cubicBezTo>
                    <a:pt x="2378" y="21"/>
                    <a:pt x="2387" y="18"/>
                    <a:pt x="2389" y="12"/>
                  </a:cubicBezTo>
                  <a:cubicBezTo>
                    <a:pt x="2391" y="7"/>
                    <a:pt x="2387" y="9"/>
                    <a:pt x="2384" y="8"/>
                  </a:cubicBezTo>
                  <a:cubicBezTo>
                    <a:pt x="2381" y="7"/>
                    <a:pt x="2379" y="4"/>
                    <a:pt x="2376" y="4"/>
                  </a:cubicBezTo>
                  <a:cubicBezTo>
                    <a:pt x="2375" y="4"/>
                    <a:pt x="2375" y="4"/>
                    <a:pt x="2374" y="5"/>
                  </a:cubicBezTo>
                  <a:cubicBezTo>
                    <a:pt x="2370" y="7"/>
                    <a:pt x="2374" y="11"/>
                    <a:pt x="2369" y="13"/>
                  </a:cubicBezTo>
                  <a:cubicBezTo>
                    <a:pt x="2370" y="9"/>
                    <a:pt x="2370" y="10"/>
                    <a:pt x="2366" y="8"/>
                  </a:cubicBezTo>
                  <a:cubicBezTo>
                    <a:pt x="2363" y="6"/>
                    <a:pt x="2359" y="4"/>
                    <a:pt x="2359" y="1"/>
                  </a:cubicBezTo>
                  <a:cubicBezTo>
                    <a:pt x="2359" y="1"/>
                    <a:pt x="2359" y="0"/>
                    <a:pt x="23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436" name="Picture 1572"/>
            <p:cNvPicPr>
              <a:picLocks noChangeAspect="1" noChangeArrowheads="1"/>
            </p:cNvPicPr>
            <p:nvPr/>
          </p:nvPicPr>
          <p:blipFill>
            <a:blip r:embed="rId1">
              <a:extLst>
                <a:ext uri="{28A0092B-C50C-407E-A947-70E740481C1C}">
                  <a14:useLocalDpi xmlns:a14="http://schemas.microsoft.com/office/drawing/2010/main" val="0"/>
                </a:ext>
              </a:extLst>
            </a:blip>
            <a:stretch>
              <a:fillRect/>
            </a:stretch>
          </p:blipFill>
          <p:spPr bwMode="auto">
            <a:xfrm>
              <a:off x="3071264" y="3263222"/>
              <a:ext cx="16108" cy="308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1437" name="Freeform 1577"/>
            <p:cNvSpPr/>
            <p:nvPr/>
          </p:nvSpPr>
          <p:spPr bwMode="auto">
            <a:xfrm>
              <a:off x="2034724" y="2741469"/>
              <a:ext cx="233566" cy="120810"/>
            </a:xfrm>
            <a:custGeom>
              <a:gdLst>
                <a:gd name="T0" fmla="*/ 60 w 71"/>
                <a:gd name="T1" fmla="*/ 11 h 35"/>
                <a:gd name="T2" fmla="*/ 60 w 71"/>
                <a:gd name="T3" fmla="*/ 11 h 35"/>
                <a:gd name="T4" fmla="*/ 60 w 71"/>
                <a:gd name="T5" fmla="*/ 13 h 35"/>
                <a:gd name="T6" fmla="*/ 60 w 71"/>
                <a:gd name="T7" fmla="*/ 16 h 35"/>
                <a:gd name="T8" fmla="*/ 61 w 71"/>
                <a:gd name="T9" fmla="*/ 18 h 35"/>
                <a:gd name="T10" fmla="*/ 62 w 71"/>
                <a:gd name="T11" fmla="*/ 20 h 35"/>
                <a:gd name="T12" fmla="*/ 69 w 71"/>
                <a:gd name="T13" fmla="*/ 22 h 35"/>
                <a:gd name="T14" fmla="*/ 69 w 71"/>
                <a:gd name="T15" fmla="*/ 26 h 35"/>
                <a:gd name="T16" fmla="*/ 71 w 71"/>
                <a:gd name="T17" fmla="*/ 31 h 35"/>
                <a:gd name="T18" fmla="*/ 70 w 71"/>
                <a:gd name="T19" fmla="*/ 31 h 35"/>
                <a:gd name="T20" fmla="*/ 68 w 71"/>
                <a:gd name="T21" fmla="*/ 31 h 35"/>
                <a:gd name="T22" fmla="*/ 67 w 71"/>
                <a:gd name="T23" fmla="*/ 31 h 35"/>
                <a:gd name="T24" fmla="*/ 62 w 71"/>
                <a:gd name="T25" fmla="*/ 32 h 35"/>
                <a:gd name="T26" fmla="*/ 57 w 71"/>
                <a:gd name="T27" fmla="*/ 32 h 35"/>
                <a:gd name="T28" fmla="*/ 51 w 71"/>
                <a:gd name="T29" fmla="*/ 32 h 35"/>
                <a:gd name="T30" fmla="*/ 43 w 71"/>
                <a:gd name="T31" fmla="*/ 33 h 35"/>
                <a:gd name="T32" fmla="*/ 42 w 71"/>
                <a:gd name="T33" fmla="*/ 32 h 35"/>
                <a:gd name="T34" fmla="*/ 38 w 71"/>
                <a:gd name="T35" fmla="*/ 32 h 35"/>
                <a:gd name="T36" fmla="*/ 31 w 71"/>
                <a:gd name="T37" fmla="*/ 30 h 35"/>
                <a:gd name="T38" fmla="*/ 29 w 71"/>
                <a:gd name="T39" fmla="*/ 31 h 35"/>
                <a:gd name="T40" fmla="*/ 21 w 71"/>
                <a:gd name="T41" fmla="*/ 35 h 35"/>
                <a:gd name="T42" fmla="*/ 19 w 71"/>
                <a:gd name="T43" fmla="*/ 34 h 35"/>
                <a:gd name="T44" fmla="*/ 19 w 71"/>
                <a:gd name="T45" fmla="*/ 27 h 35"/>
                <a:gd name="T46" fmla="*/ 17 w 71"/>
                <a:gd name="T47" fmla="*/ 33 h 35"/>
                <a:gd name="T48" fmla="*/ 11 w 71"/>
                <a:gd name="T49" fmla="*/ 31 h 35"/>
                <a:gd name="T50" fmla="*/ 9 w 71"/>
                <a:gd name="T51" fmla="*/ 31 h 35"/>
                <a:gd name="T52" fmla="*/ 7 w 71"/>
                <a:gd name="T53" fmla="*/ 31 h 35"/>
                <a:gd name="T54" fmla="*/ 6 w 71"/>
                <a:gd name="T55" fmla="*/ 31 h 35"/>
                <a:gd name="T56" fmla="*/ 4 w 71"/>
                <a:gd name="T57" fmla="*/ 31 h 35"/>
                <a:gd name="T58" fmla="*/ 2 w 71"/>
                <a:gd name="T59" fmla="*/ 29 h 35"/>
                <a:gd name="T60" fmla="*/ 0 w 71"/>
                <a:gd name="T61" fmla="*/ 26 h 35"/>
                <a:gd name="T62" fmla="*/ 2 w 71"/>
                <a:gd name="T63" fmla="*/ 23 h 35"/>
                <a:gd name="T64" fmla="*/ 5 w 71"/>
                <a:gd name="T65" fmla="*/ 18 h 35"/>
                <a:gd name="T66" fmla="*/ 13 w 71"/>
                <a:gd name="T67" fmla="*/ 8 h 35"/>
                <a:gd name="T68" fmla="*/ 15 w 71"/>
                <a:gd name="T69" fmla="*/ 5 h 35"/>
                <a:gd name="T70" fmla="*/ 27 w 71"/>
                <a:gd name="T71" fmla="*/ 0 h 35"/>
                <a:gd name="T72" fmla="*/ 29 w 71"/>
                <a:gd name="T73" fmla="*/ 0 h 35"/>
                <a:gd name="T74" fmla="*/ 31 w 71"/>
                <a:gd name="T75" fmla="*/ 1 h 35"/>
                <a:gd name="T76" fmla="*/ 35 w 71"/>
                <a:gd name="T77" fmla="*/ 6 h 35"/>
                <a:gd name="T78" fmla="*/ 38 w 71"/>
                <a:gd name="T79" fmla="*/ 6 h 35"/>
                <a:gd name="T80" fmla="*/ 43 w 71"/>
                <a:gd name="T81" fmla="*/ 6 h 35"/>
                <a:gd name="T82" fmla="*/ 44 w 71"/>
                <a:gd name="T83" fmla="*/ 7 h 35"/>
                <a:gd name="T84" fmla="*/ 48 w 71"/>
                <a:gd name="T85" fmla="*/ 8 h 35"/>
                <a:gd name="T86" fmla="*/ 52 w 71"/>
                <a:gd name="T87" fmla="*/ 7 h 35"/>
                <a:gd name="T88" fmla="*/ 58 w 71"/>
                <a:gd name="T89" fmla="*/ 7 h 35"/>
                <a:gd name="T90" fmla="*/ 61 w 71"/>
                <a:gd name="T91" fmla="*/ 8 h 35"/>
                <a:gd name="T92" fmla="*/ 61 w 71"/>
                <a:gd name="T93" fmla="*/ 1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 h="35">
                  <a:moveTo>
                    <a:pt x="61" y="10"/>
                  </a:moveTo>
                  <a:cubicBezTo>
                    <a:pt x="60" y="11"/>
                    <a:pt x="60" y="11"/>
                    <a:pt x="60" y="11"/>
                  </a:cubicBezTo>
                  <a:cubicBezTo>
                    <a:pt x="61" y="11"/>
                    <a:pt x="61" y="11"/>
                    <a:pt x="61" y="11"/>
                  </a:cubicBezTo>
                  <a:cubicBezTo>
                    <a:pt x="60" y="11"/>
                    <a:pt x="60" y="11"/>
                    <a:pt x="60" y="11"/>
                  </a:cubicBezTo>
                  <a:cubicBezTo>
                    <a:pt x="60" y="11"/>
                    <a:pt x="60" y="12"/>
                    <a:pt x="60" y="12"/>
                  </a:cubicBezTo>
                  <a:cubicBezTo>
                    <a:pt x="60" y="12"/>
                    <a:pt x="60" y="13"/>
                    <a:pt x="60" y="13"/>
                  </a:cubicBezTo>
                  <a:cubicBezTo>
                    <a:pt x="60" y="13"/>
                    <a:pt x="60" y="13"/>
                    <a:pt x="60" y="14"/>
                  </a:cubicBezTo>
                  <a:cubicBezTo>
                    <a:pt x="60" y="14"/>
                    <a:pt x="60" y="15"/>
                    <a:pt x="60" y="16"/>
                  </a:cubicBezTo>
                  <a:cubicBezTo>
                    <a:pt x="60" y="16"/>
                    <a:pt x="60" y="16"/>
                    <a:pt x="60" y="16"/>
                  </a:cubicBezTo>
                  <a:cubicBezTo>
                    <a:pt x="60" y="17"/>
                    <a:pt x="60" y="17"/>
                    <a:pt x="61" y="18"/>
                  </a:cubicBezTo>
                  <a:cubicBezTo>
                    <a:pt x="61" y="18"/>
                    <a:pt x="61" y="18"/>
                    <a:pt x="61" y="19"/>
                  </a:cubicBezTo>
                  <a:cubicBezTo>
                    <a:pt x="62" y="19"/>
                    <a:pt x="62" y="19"/>
                    <a:pt x="62" y="20"/>
                  </a:cubicBezTo>
                  <a:cubicBezTo>
                    <a:pt x="63" y="20"/>
                    <a:pt x="64" y="21"/>
                    <a:pt x="65" y="21"/>
                  </a:cubicBezTo>
                  <a:cubicBezTo>
                    <a:pt x="67" y="22"/>
                    <a:pt x="68" y="22"/>
                    <a:pt x="69" y="22"/>
                  </a:cubicBezTo>
                  <a:cubicBezTo>
                    <a:pt x="70" y="22"/>
                    <a:pt x="70" y="23"/>
                    <a:pt x="71" y="23"/>
                  </a:cubicBezTo>
                  <a:cubicBezTo>
                    <a:pt x="70" y="23"/>
                    <a:pt x="69" y="24"/>
                    <a:pt x="69" y="26"/>
                  </a:cubicBezTo>
                  <a:cubicBezTo>
                    <a:pt x="69" y="26"/>
                    <a:pt x="69" y="27"/>
                    <a:pt x="69" y="28"/>
                  </a:cubicBezTo>
                  <a:cubicBezTo>
                    <a:pt x="70" y="30"/>
                    <a:pt x="70" y="31"/>
                    <a:pt x="71" y="31"/>
                  </a:cubicBezTo>
                  <a:cubicBezTo>
                    <a:pt x="71" y="32"/>
                    <a:pt x="71" y="32"/>
                    <a:pt x="70" y="32"/>
                  </a:cubicBezTo>
                  <a:cubicBezTo>
                    <a:pt x="70" y="32"/>
                    <a:pt x="70" y="31"/>
                    <a:pt x="70" y="31"/>
                  </a:cubicBezTo>
                  <a:cubicBezTo>
                    <a:pt x="69" y="31"/>
                    <a:pt x="69" y="31"/>
                    <a:pt x="68" y="31"/>
                  </a:cubicBezTo>
                  <a:cubicBezTo>
                    <a:pt x="68" y="31"/>
                    <a:pt x="68" y="31"/>
                    <a:pt x="68" y="31"/>
                  </a:cubicBezTo>
                  <a:cubicBezTo>
                    <a:pt x="68" y="31"/>
                    <a:pt x="68" y="31"/>
                    <a:pt x="68" y="31"/>
                  </a:cubicBezTo>
                  <a:cubicBezTo>
                    <a:pt x="68" y="31"/>
                    <a:pt x="67" y="31"/>
                    <a:pt x="67" y="31"/>
                  </a:cubicBezTo>
                  <a:cubicBezTo>
                    <a:pt x="65" y="32"/>
                    <a:pt x="64" y="32"/>
                    <a:pt x="63" y="32"/>
                  </a:cubicBezTo>
                  <a:cubicBezTo>
                    <a:pt x="62" y="32"/>
                    <a:pt x="62" y="32"/>
                    <a:pt x="62" y="32"/>
                  </a:cubicBezTo>
                  <a:cubicBezTo>
                    <a:pt x="61" y="32"/>
                    <a:pt x="61" y="32"/>
                    <a:pt x="61" y="32"/>
                  </a:cubicBezTo>
                  <a:cubicBezTo>
                    <a:pt x="60" y="32"/>
                    <a:pt x="59" y="32"/>
                    <a:pt x="57" y="32"/>
                  </a:cubicBezTo>
                  <a:cubicBezTo>
                    <a:pt x="56" y="32"/>
                    <a:pt x="54" y="32"/>
                    <a:pt x="52" y="32"/>
                  </a:cubicBezTo>
                  <a:cubicBezTo>
                    <a:pt x="51" y="32"/>
                    <a:pt x="51" y="32"/>
                    <a:pt x="51" y="32"/>
                  </a:cubicBezTo>
                  <a:cubicBezTo>
                    <a:pt x="49" y="33"/>
                    <a:pt x="47" y="33"/>
                    <a:pt x="46" y="33"/>
                  </a:cubicBezTo>
                  <a:cubicBezTo>
                    <a:pt x="45" y="33"/>
                    <a:pt x="44" y="33"/>
                    <a:pt x="43" y="33"/>
                  </a:cubicBezTo>
                  <a:cubicBezTo>
                    <a:pt x="43" y="33"/>
                    <a:pt x="42" y="33"/>
                    <a:pt x="42" y="33"/>
                  </a:cubicBezTo>
                  <a:cubicBezTo>
                    <a:pt x="42" y="32"/>
                    <a:pt x="42" y="32"/>
                    <a:pt x="42" y="32"/>
                  </a:cubicBezTo>
                  <a:cubicBezTo>
                    <a:pt x="41" y="32"/>
                    <a:pt x="40" y="32"/>
                    <a:pt x="39" y="32"/>
                  </a:cubicBezTo>
                  <a:cubicBezTo>
                    <a:pt x="38" y="32"/>
                    <a:pt x="38" y="32"/>
                    <a:pt x="38" y="32"/>
                  </a:cubicBezTo>
                  <a:cubicBezTo>
                    <a:pt x="37" y="31"/>
                    <a:pt x="37" y="31"/>
                    <a:pt x="36" y="31"/>
                  </a:cubicBezTo>
                  <a:cubicBezTo>
                    <a:pt x="35" y="30"/>
                    <a:pt x="33" y="30"/>
                    <a:pt x="31" y="30"/>
                  </a:cubicBezTo>
                  <a:cubicBezTo>
                    <a:pt x="31" y="30"/>
                    <a:pt x="30" y="31"/>
                    <a:pt x="29" y="31"/>
                  </a:cubicBezTo>
                  <a:cubicBezTo>
                    <a:pt x="29" y="31"/>
                    <a:pt x="29" y="31"/>
                    <a:pt x="29" y="31"/>
                  </a:cubicBezTo>
                  <a:cubicBezTo>
                    <a:pt x="27" y="32"/>
                    <a:pt x="27" y="32"/>
                    <a:pt x="27" y="32"/>
                  </a:cubicBezTo>
                  <a:cubicBezTo>
                    <a:pt x="26" y="33"/>
                    <a:pt x="23" y="35"/>
                    <a:pt x="21" y="35"/>
                  </a:cubicBezTo>
                  <a:cubicBezTo>
                    <a:pt x="21" y="35"/>
                    <a:pt x="21" y="35"/>
                    <a:pt x="21" y="35"/>
                  </a:cubicBezTo>
                  <a:cubicBezTo>
                    <a:pt x="20" y="34"/>
                    <a:pt x="19" y="34"/>
                    <a:pt x="19" y="34"/>
                  </a:cubicBezTo>
                  <a:cubicBezTo>
                    <a:pt x="18" y="34"/>
                    <a:pt x="18" y="34"/>
                    <a:pt x="18" y="34"/>
                  </a:cubicBezTo>
                  <a:cubicBezTo>
                    <a:pt x="19" y="27"/>
                    <a:pt x="19" y="27"/>
                    <a:pt x="19" y="27"/>
                  </a:cubicBezTo>
                  <a:cubicBezTo>
                    <a:pt x="17" y="33"/>
                    <a:pt x="17" y="33"/>
                    <a:pt x="17" y="33"/>
                  </a:cubicBezTo>
                  <a:cubicBezTo>
                    <a:pt x="17" y="33"/>
                    <a:pt x="17" y="33"/>
                    <a:pt x="17" y="33"/>
                  </a:cubicBezTo>
                  <a:cubicBezTo>
                    <a:pt x="16" y="33"/>
                    <a:pt x="15" y="32"/>
                    <a:pt x="13" y="32"/>
                  </a:cubicBezTo>
                  <a:cubicBezTo>
                    <a:pt x="12" y="31"/>
                    <a:pt x="11" y="31"/>
                    <a:pt x="11" y="31"/>
                  </a:cubicBezTo>
                  <a:cubicBezTo>
                    <a:pt x="11" y="31"/>
                    <a:pt x="11" y="31"/>
                    <a:pt x="11" y="31"/>
                  </a:cubicBezTo>
                  <a:cubicBezTo>
                    <a:pt x="10" y="31"/>
                    <a:pt x="10" y="31"/>
                    <a:pt x="9" y="31"/>
                  </a:cubicBezTo>
                  <a:cubicBezTo>
                    <a:pt x="9" y="31"/>
                    <a:pt x="9" y="31"/>
                    <a:pt x="9" y="31"/>
                  </a:cubicBezTo>
                  <a:cubicBezTo>
                    <a:pt x="7" y="31"/>
                    <a:pt x="7" y="31"/>
                    <a:pt x="7" y="31"/>
                  </a:cubicBezTo>
                  <a:cubicBezTo>
                    <a:pt x="7" y="31"/>
                    <a:pt x="7" y="31"/>
                    <a:pt x="7" y="31"/>
                  </a:cubicBezTo>
                  <a:cubicBezTo>
                    <a:pt x="6" y="31"/>
                    <a:pt x="6" y="31"/>
                    <a:pt x="6" y="31"/>
                  </a:cubicBezTo>
                  <a:cubicBezTo>
                    <a:pt x="6" y="31"/>
                    <a:pt x="5" y="31"/>
                    <a:pt x="5" y="31"/>
                  </a:cubicBezTo>
                  <a:cubicBezTo>
                    <a:pt x="5" y="31"/>
                    <a:pt x="4" y="31"/>
                    <a:pt x="4" y="31"/>
                  </a:cubicBezTo>
                  <a:cubicBezTo>
                    <a:pt x="3" y="30"/>
                    <a:pt x="3" y="30"/>
                    <a:pt x="2" y="29"/>
                  </a:cubicBezTo>
                  <a:cubicBezTo>
                    <a:pt x="2" y="29"/>
                    <a:pt x="2" y="29"/>
                    <a:pt x="2" y="29"/>
                  </a:cubicBezTo>
                  <a:cubicBezTo>
                    <a:pt x="1" y="28"/>
                    <a:pt x="1" y="27"/>
                    <a:pt x="0" y="26"/>
                  </a:cubicBezTo>
                  <a:cubicBezTo>
                    <a:pt x="0" y="26"/>
                    <a:pt x="0" y="26"/>
                    <a:pt x="0" y="26"/>
                  </a:cubicBezTo>
                  <a:cubicBezTo>
                    <a:pt x="2" y="24"/>
                    <a:pt x="2" y="24"/>
                    <a:pt x="2" y="24"/>
                  </a:cubicBezTo>
                  <a:cubicBezTo>
                    <a:pt x="2" y="23"/>
                    <a:pt x="2" y="23"/>
                    <a:pt x="2" y="23"/>
                  </a:cubicBezTo>
                  <a:cubicBezTo>
                    <a:pt x="2" y="22"/>
                    <a:pt x="2" y="22"/>
                    <a:pt x="2" y="22"/>
                  </a:cubicBezTo>
                  <a:cubicBezTo>
                    <a:pt x="3" y="20"/>
                    <a:pt x="4" y="19"/>
                    <a:pt x="5" y="18"/>
                  </a:cubicBezTo>
                  <a:cubicBezTo>
                    <a:pt x="6" y="16"/>
                    <a:pt x="7" y="15"/>
                    <a:pt x="8" y="14"/>
                  </a:cubicBezTo>
                  <a:cubicBezTo>
                    <a:pt x="9" y="12"/>
                    <a:pt x="11" y="9"/>
                    <a:pt x="13" y="8"/>
                  </a:cubicBezTo>
                  <a:cubicBezTo>
                    <a:pt x="13" y="7"/>
                    <a:pt x="13" y="7"/>
                    <a:pt x="13" y="7"/>
                  </a:cubicBezTo>
                  <a:cubicBezTo>
                    <a:pt x="14" y="7"/>
                    <a:pt x="15" y="6"/>
                    <a:pt x="15" y="5"/>
                  </a:cubicBezTo>
                  <a:cubicBezTo>
                    <a:pt x="17" y="3"/>
                    <a:pt x="21" y="1"/>
                    <a:pt x="26" y="0"/>
                  </a:cubicBezTo>
                  <a:cubicBezTo>
                    <a:pt x="27" y="0"/>
                    <a:pt x="27" y="0"/>
                    <a:pt x="27" y="0"/>
                  </a:cubicBezTo>
                  <a:cubicBezTo>
                    <a:pt x="27" y="0"/>
                    <a:pt x="28" y="0"/>
                    <a:pt x="28" y="0"/>
                  </a:cubicBezTo>
                  <a:cubicBezTo>
                    <a:pt x="29" y="0"/>
                    <a:pt x="29" y="0"/>
                    <a:pt x="29" y="0"/>
                  </a:cubicBezTo>
                  <a:cubicBezTo>
                    <a:pt x="30" y="0"/>
                    <a:pt x="31" y="0"/>
                    <a:pt x="31" y="0"/>
                  </a:cubicBezTo>
                  <a:cubicBezTo>
                    <a:pt x="31" y="0"/>
                    <a:pt x="31" y="1"/>
                    <a:pt x="31" y="1"/>
                  </a:cubicBezTo>
                  <a:cubicBezTo>
                    <a:pt x="31" y="2"/>
                    <a:pt x="32" y="4"/>
                    <a:pt x="34" y="5"/>
                  </a:cubicBezTo>
                  <a:cubicBezTo>
                    <a:pt x="35" y="6"/>
                    <a:pt x="35" y="6"/>
                    <a:pt x="35" y="6"/>
                  </a:cubicBezTo>
                  <a:cubicBezTo>
                    <a:pt x="36" y="6"/>
                    <a:pt x="36" y="6"/>
                    <a:pt x="37" y="6"/>
                  </a:cubicBezTo>
                  <a:cubicBezTo>
                    <a:pt x="38" y="6"/>
                    <a:pt x="38" y="6"/>
                    <a:pt x="38" y="6"/>
                  </a:cubicBezTo>
                  <a:cubicBezTo>
                    <a:pt x="38" y="6"/>
                    <a:pt x="38" y="6"/>
                    <a:pt x="39" y="6"/>
                  </a:cubicBezTo>
                  <a:cubicBezTo>
                    <a:pt x="40" y="6"/>
                    <a:pt x="41" y="6"/>
                    <a:pt x="43" y="6"/>
                  </a:cubicBezTo>
                  <a:cubicBezTo>
                    <a:pt x="43" y="7"/>
                    <a:pt x="43" y="7"/>
                    <a:pt x="43" y="7"/>
                  </a:cubicBezTo>
                  <a:cubicBezTo>
                    <a:pt x="43" y="7"/>
                    <a:pt x="44" y="7"/>
                    <a:pt x="44" y="7"/>
                  </a:cubicBezTo>
                  <a:cubicBezTo>
                    <a:pt x="46" y="7"/>
                    <a:pt x="46" y="7"/>
                    <a:pt x="46" y="7"/>
                  </a:cubicBezTo>
                  <a:cubicBezTo>
                    <a:pt x="47" y="8"/>
                    <a:pt x="47" y="8"/>
                    <a:pt x="48" y="8"/>
                  </a:cubicBezTo>
                  <a:cubicBezTo>
                    <a:pt x="49" y="8"/>
                    <a:pt x="50" y="8"/>
                    <a:pt x="51" y="7"/>
                  </a:cubicBezTo>
                  <a:cubicBezTo>
                    <a:pt x="52" y="7"/>
                    <a:pt x="52" y="7"/>
                    <a:pt x="52" y="7"/>
                  </a:cubicBezTo>
                  <a:cubicBezTo>
                    <a:pt x="52" y="6"/>
                    <a:pt x="54" y="6"/>
                    <a:pt x="54" y="6"/>
                  </a:cubicBezTo>
                  <a:cubicBezTo>
                    <a:pt x="54" y="6"/>
                    <a:pt x="56" y="6"/>
                    <a:pt x="58" y="7"/>
                  </a:cubicBezTo>
                  <a:cubicBezTo>
                    <a:pt x="60" y="7"/>
                    <a:pt x="61" y="8"/>
                    <a:pt x="61" y="8"/>
                  </a:cubicBezTo>
                  <a:cubicBezTo>
                    <a:pt x="61" y="8"/>
                    <a:pt x="61" y="8"/>
                    <a:pt x="61" y="8"/>
                  </a:cubicBezTo>
                  <a:cubicBezTo>
                    <a:pt x="61" y="8"/>
                    <a:pt x="61" y="9"/>
                    <a:pt x="61" y="10"/>
                  </a:cubicBezTo>
                  <a:cubicBezTo>
                    <a:pt x="61" y="10"/>
                    <a:pt x="61" y="10"/>
                    <a:pt x="61" y="10"/>
                  </a:cubicBezTo>
                  <a:cubicBezTo>
                    <a:pt x="61" y="10"/>
                    <a:pt x="61" y="10"/>
                    <a:pt x="61"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05175990"/>
      </p:ext>
    </p:extLst>
  </p:cSld>
  <p:clrMapOvr>
    <a:masterClrMapping/>
  </p:clrMapOvr>
  <p:transition/>
  <p:timing/>
</p:sldLayout>
</file>

<file path=ppt/slideLayouts/slideLayout18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ustrali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1199" name="Text Placeholder 377"/>
          <p:cNvSpPr>
            <a:spLocks noGrp="1"/>
          </p:cNvSpPr>
          <p:nvPr>
            <p:ph type="body" sz="quarter" idx="12" hasCustomPrompt="1"/>
          </p:nvPr>
        </p:nvSpPr>
        <p:spPr>
          <a:xfrm>
            <a:off x="8201602"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grpSp>
        <p:nvGrpSpPr>
          <p:cNvPr id="627" name="Group 1134"/>
          <p:cNvGrpSpPr>
            <a:grpSpLocks noChangeAspect="1"/>
          </p:cNvGrpSpPr>
          <p:nvPr userDrawn="1"/>
        </p:nvGrpSpPr>
        <p:grpSpPr>
          <a:xfrm>
            <a:off x="0" y="0"/>
            <a:ext cx="8362947" cy="6689558"/>
            <a:chOff x="20" y="0"/>
            <a:chExt cx="6277" cy="5021"/>
          </a:xfrm>
          <a:gradFill>
            <a:gsLst>
              <a:gs pos="0">
                <a:schemeClr val="accent5"/>
              </a:gs>
              <a:gs pos="100000">
                <a:schemeClr val="accent1"/>
              </a:gs>
            </a:gsLst>
            <a:lin ang="18900000" scaled="1"/>
          </a:gradFill>
        </p:grpSpPr>
        <p:grpSp>
          <p:nvGrpSpPr>
            <p:cNvPr id="628" name="Group 1335"/>
            <p:cNvGrpSpPr/>
            <p:nvPr/>
          </p:nvGrpSpPr>
          <p:grpSpPr>
            <a:xfrm>
              <a:off x="202" y="0"/>
              <a:ext cx="6095" cy="5021"/>
              <a:chOff x="202" y="0"/>
              <a:chExt cx="6095" cy="5021"/>
            </a:xfrm>
            <a:grpFill/>
          </p:grpSpPr>
          <p:sp>
            <p:nvSpPr>
              <p:cNvPr id="934" name="Oval 1135"/>
              <p:cNvSpPr>
                <a:spLocks noChangeArrowheads="1"/>
              </p:cNvSpPr>
              <p:nvPr/>
            </p:nvSpPr>
            <p:spPr bwMode="auto">
              <a:xfrm>
                <a:off x="6039" y="2177"/>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Freeform 1136"/>
              <p:cNvSpPr/>
              <p:nvPr/>
            </p:nvSpPr>
            <p:spPr bwMode="auto">
              <a:xfrm>
                <a:off x="415" y="284"/>
                <a:ext cx="12" cy="17"/>
              </a:xfrm>
              <a:custGeom>
                <a:gdLst>
                  <a:gd name="T0" fmla="*/ 1 w 5"/>
                  <a:gd name="T1" fmla="*/ 0 h 7"/>
                  <a:gd name="T2" fmla="*/ 0 w 5"/>
                  <a:gd name="T3" fmla="*/ 1 h 7"/>
                  <a:gd name="T4" fmla="*/ 5 w 5"/>
                  <a:gd name="T5" fmla="*/ 7 h 7"/>
                  <a:gd name="T6" fmla="*/ 3 w 5"/>
                  <a:gd name="T7" fmla="*/ 1 h 7"/>
                  <a:gd name="T8" fmla="*/ 2 w 5"/>
                  <a:gd name="T9" fmla="*/ 0 h 7"/>
                  <a:gd name="T10" fmla="*/ 1 w 5"/>
                  <a:gd name="T11" fmla="*/ 0 h 7"/>
                  <a:gd name="T12" fmla="*/ 1 w 5"/>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5" h="7">
                    <a:moveTo>
                      <a:pt x="1" y="0"/>
                    </a:moveTo>
                    <a:cubicBezTo>
                      <a:pt x="0" y="0"/>
                      <a:pt x="0" y="1"/>
                      <a:pt x="0" y="1"/>
                    </a:cubicBezTo>
                    <a:cubicBezTo>
                      <a:pt x="0" y="3"/>
                      <a:pt x="5" y="7"/>
                      <a:pt x="5" y="7"/>
                    </a:cubicBezTo>
                    <a:cubicBezTo>
                      <a:pt x="5" y="6"/>
                      <a:pt x="4" y="1"/>
                      <a:pt x="3" y="1"/>
                    </a:cubicBezTo>
                    <a:cubicBezTo>
                      <a:pt x="3" y="0"/>
                      <a:pt x="2" y="0"/>
                      <a:pt x="2" y="0"/>
                    </a:cubicBezTo>
                    <a:cubicBezTo>
                      <a:pt x="2" y="0"/>
                      <a:pt x="2"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Freeform 1137"/>
              <p:cNvSpPr/>
              <p:nvPr/>
            </p:nvSpPr>
            <p:spPr bwMode="auto">
              <a:xfrm>
                <a:off x="3551" y="1785"/>
                <a:ext cx="2" cy="0"/>
              </a:xfrm>
              <a:custGeom>
                <a:gdLst>
                  <a:gd name="T0" fmla="*/ 1 w 1"/>
                  <a:gd name="T1" fmla="*/ 0 w 1"/>
                  <a:gd name="T2" fmla="*/ 1 w 1"/>
                </a:gdLst>
                <a:cxnLst>
                  <a:cxn ang="0">
                    <a:pos x="T0" y="0"/>
                  </a:cxn>
                  <a:cxn ang="0">
                    <a:pos x="T1" y="0"/>
                  </a:cxn>
                  <a:cxn ang="0">
                    <a:pos x="T2" y="0"/>
                  </a:cxn>
                </a:cxnLst>
                <a:rect l="0" t="0" r="r" b="b"/>
                <a:pathLst>
                  <a:path w="1">
                    <a:moveTo>
                      <a:pt x="1" y="0"/>
                    </a:moveTo>
                    <a:cubicBezTo>
                      <a:pt x="1"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7" name="Freeform 1138"/>
              <p:cNvSpPr/>
              <p:nvPr/>
            </p:nvSpPr>
            <p:spPr bwMode="auto">
              <a:xfrm>
                <a:off x="3541" y="1740"/>
                <a:ext cx="3" cy="2"/>
              </a:xfrm>
              <a:custGeom>
                <a:gdLst>
                  <a:gd name="T0" fmla="*/ 0 w 1"/>
                  <a:gd name="T1" fmla="*/ 0 h 1"/>
                  <a:gd name="T2" fmla="*/ 0 w 1"/>
                  <a:gd name="T3" fmla="*/ 1 h 1"/>
                  <a:gd name="T4" fmla="*/ 1 w 1"/>
                  <a:gd name="T5" fmla="*/ 1 h 1"/>
                  <a:gd name="T6" fmla="*/ 1 w 1"/>
                  <a:gd name="T7" fmla="*/ 1 h 1"/>
                  <a:gd name="T8" fmla="*/ 0 w 1"/>
                  <a:gd name="T9" fmla="*/ 0 h 1"/>
                </a:gd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0" y="1"/>
                      <a:pt x="1" y="1"/>
                    </a:cubicBezTo>
                    <a:cubicBezTo>
                      <a:pt x="1" y="1"/>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Freeform 1139"/>
              <p:cNvSpPr/>
              <p:nvPr/>
            </p:nvSpPr>
            <p:spPr bwMode="auto">
              <a:xfrm>
                <a:off x="3496" y="1773"/>
                <a:ext cx="3" cy="0"/>
              </a:xfrm>
              <a:custGeom>
                <a:gdLst>
                  <a:gd name="T0" fmla="*/ 0 w 1"/>
                  <a:gd name="T1" fmla="*/ 1 w 1"/>
                  <a:gd name="T2" fmla="*/ 0 w 1"/>
                </a:gdLst>
                <a:cxnLst>
                  <a:cxn ang="0">
                    <a:pos x="T0" y="0"/>
                  </a:cxn>
                  <a:cxn ang="0">
                    <a:pos x="T1" y="0"/>
                  </a:cxn>
                  <a:cxn ang="0">
                    <a:pos x="T2" y="0"/>
                  </a:cxn>
                </a:cxnLst>
                <a:rect l="0" t="0" r="r" b="b"/>
                <a:pathLst>
                  <a:path w="1">
                    <a:moveTo>
                      <a:pt x="0" y="0"/>
                    </a:moveTo>
                    <a:cubicBezTo>
                      <a:pt x="0" y="0"/>
                      <a:pt x="0"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9" name="Freeform 1140"/>
              <p:cNvSpPr/>
              <p:nvPr/>
            </p:nvSpPr>
            <p:spPr bwMode="auto">
              <a:xfrm flipH="1">
                <a:off x="3997" y="438"/>
                <a:ext cx="0" cy="0"/>
              </a:xfrm>
              <a:custGeom>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Oval 1141"/>
              <p:cNvSpPr>
                <a:spLocks noChangeArrowheads="1"/>
              </p:cNvSpPr>
              <p:nvPr/>
            </p:nvSpPr>
            <p:spPr bwMode="auto">
              <a:xfrm>
                <a:off x="4080" y="530"/>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1" name="Freeform 1142"/>
              <p:cNvSpPr/>
              <p:nvPr/>
            </p:nvSpPr>
            <p:spPr bwMode="auto">
              <a:xfrm flipH="1">
                <a:off x="4090" y="535"/>
                <a:ext cx="0" cy="0"/>
              </a:xfrm>
              <a:custGeom>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Freeform 1143"/>
              <p:cNvSpPr>
                <a:spLocks noEditPoints="1"/>
              </p:cNvSpPr>
              <p:nvPr/>
            </p:nvSpPr>
            <p:spPr bwMode="auto">
              <a:xfrm flipH="1">
                <a:off x="4101" y="546"/>
                <a:ext cx="0" cy="0"/>
              </a:xfrm>
              <a:custGeom>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3" name="Freeform 1144"/>
              <p:cNvSpPr/>
              <p:nvPr/>
            </p:nvSpPr>
            <p:spPr bwMode="auto">
              <a:xfrm>
                <a:off x="6290" y="4288"/>
                <a:ext cx="7" cy="10"/>
              </a:xfrm>
              <a:custGeom>
                <a:gdLst>
                  <a:gd name="T0" fmla="*/ 1 w 3"/>
                  <a:gd name="T1" fmla="*/ 0 h 4"/>
                  <a:gd name="T2" fmla="*/ 0 w 3"/>
                  <a:gd name="T3" fmla="*/ 1 h 4"/>
                  <a:gd name="T4" fmla="*/ 0 w 3"/>
                  <a:gd name="T5" fmla="*/ 4 h 4"/>
                  <a:gd name="T6" fmla="*/ 1 w 3"/>
                  <a:gd name="T7" fmla="*/ 0 h 4"/>
                </a:gdLst>
                <a:cxnLst>
                  <a:cxn ang="0">
                    <a:pos x="T0" y="T1"/>
                  </a:cxn>
                  <a:cxn ang="0">
                    <a:pos x="T2" y="T3"/>
                  </a:cxn>
                  <a:cxn ang="0">
                    <a:pos x="T4" y="T5"/>
                  </a:cxn>
                  <a:cxn ang="0">
                    <a:pos x="T6" y="T7"/>
                  </a:cxn>
                </a:cxnLst>
                <a:rect l="0" t="0" r="r" b="b"/>
                <a:pathLst>
                  <a:path w="3" h="4">
                    <a:moveTo>
                      <a:pt x="1" y="0"/>
                    </a:moveTo>
                    <a:cubicBezTo>
                      <a:pt x="1" y="0"/>
                      <a:pt x="1" y="0"/>
                      <a:pt x="0" y="1"/>
                    </a:cubicBezTo>
                    <a:cubicBezTo>
                      <a:pt x="0" y="2"/>
                      <a:pt x="1" y="3"/>
                      <a:pt x="0" y="4"/>
                    </a:cubicBezTo>
                    <a:cubicBezTo>
                      <a:pt x="2"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1145"/>
              <p:cNvSpPr/>
              <p:nvPr/>
            </p:nvSpPr>
            <p:spPr bwMode="auto">
              <a:xfrm>
                <a:off x="6247" y="4246"/>
                <a:ext cx="47" cy="33"/>
              </a:xfrm>
              <a:custGeom>
                <a:gdLst>
                  <a:gd name="T0" fmla="*/ 9 w 20"/>
                  <a:gd name="T1" fmla="*/ 0 h 14"/>
                  <a:gd name="T2" fmla="*/ 4 w 20"/>
                  <a:gd name="T3" fmla="*/ 2 h 14"/>
                  <a:gd name="T4" fmla="*/ 3 w 20"/>
                  <a:gd name="T5" fmla="*/ 2 h 14"/>
                  <a:gd name="T6" fmla="*/ 3 w 20"/>
                  <a:gd name="T7" fmla="*/ 2 h 14"/>
                  <a:gd name="T8" fmla="*/ 2 w 20"/>
                  <a:gd name="T9" fmla="*/ 2 h 14"/>
                  <a:gd name="T10" fmla="*/ 0 w 20"/>
                  <a:gd name="T11" fmla="*/ 4 h 14"/>
                  <a:gd name="T12" fmla="*/ 2 w 20"/>
                  <a:gd name="T13" fmla="*/ 4 h 14"/>
                  <a:gd name="T14" fmla="*/ 5 w 20"/>
                  <a:gd name="T15" fmla="*/ 4 h 14"/>
                  <a:gd name="T16" fmla="*/ 6 w 20"/>
                  <a:gd name="T17" fmla="*/ 3 h 14"/>
                  <a:gd name="T18" fmla="*/ 7 w 20"/>
                  <a:gd name="T19" fmla="*/ 3 h 14"/>
                  <a:gd name="T20" fmla="*/ 8 w 20"/>
                  <a:gd name="T21" fmla="*/ 4 h 14"/>
                  <a:gd name="T22" fmla="*/ 7 w 20"/>
                  <a:gd name="T23" fmla="*/ 9 h 14"/>
                  <a:gd name="T24" fmla="*/ 8 w 20"/>
                  <a:gd name="T25" fmla="*/ 14 h 14"/>
                  <a:gd name="T26" fmla="*/ 10 w 20"/>
                  <a:gd name="T27" fmla="*/ 14 h 14"/>
                  <a:gd name="T28" fmla="*/ 16 w 20"/>
                  <a:gd name="T29" fmla="*/ 12 h 14"/>
                  <a:gd name="T30" fmla="*/ 14 w 20"/>
                  <a:gd name="T31" fmla="*/ 10 h 14"/>
                  <a:gd name="T32" fmla="*/ 13 w 20"/>
                  <a:gd name="T33" fmla="*/ 3 h 14"/>
                  <a:gd name="T34" fmla="*/ 13 w 20"/>
                  <a:gd name="T35" fmla="*/ 3 h 14"/>
                  <a:gd name="T36" fmla="*/ 10 w 20"/>
                  <a:gd name="T37" fmla="*/ 2 h 14"/>
                  <a:gd name="T38" fmla="*/ 11 w 20"/>
                  <a:gd name="T39" fmla="*/ 1 h 14"/>
                  <a:gd name="T40" fmla="*/ 12 w 20"/>
                  <a:gd name="T41" fmla="*/ 1 h 14"/>
                  <a:gd name="T42" fmla="*/ 13 w 20"/>
                  <a:gd name="T43" fmla="*/ 1 h 14"/>
                  <a:gd name="T44" fmla="*/ 17 w 20"/>
                  <a:gd name="T45" fmla="*/ 2 h 14"/>
                  <a:gd name="T46" fmla="*/ 20 w 20"/>
                  <a:gd name="T47" fmla="*/ 1 h 14"/>
                  <a:gd name="T48" fmla="*/ 19 w 20"/>
                  <a:gd name="T49" fmla="*/ 1 h 14"/>
                  <a:gd name="T50" fmla="*/ 13 w 20"/>
                  <a:gd name="T51" fmla="*/ 0 h 14"/>
                  <a:gd name="T52" fmla="*/ 9 w 20"/>
                  <a:gd name="T53" fmla="*/ 0 h 14"/>
                  <a:gd name="T54" fmla="*/ 9 w 20"/>
                  <a:gd name="T55"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9" y="0"/>
                    </a:moveTo>
                    <a:cubicBezTo>
                      <a:pt x="7" y="0"/>
                      <a:pt x="6" y="0"/>
                      <a:pt x="4" y="2"/>
                    </a:cubicBezTo>
                    <a:cubicBezTo>
                      <a:pt x="4" y="2"/>
                      <a:pt x="3" y="2"/>
                      <a:pt x="3" y="2"/>
                    </a:cubicBezTo>
                    <a:cubicBezTo>
                      <a:pt x="3" y="2"/>
                      <a:pt x="3" y="2"/>
                      <a:pt x="3" y="2"/>
                    </a:cubicBezTo>
                    <a:cubicBezTo>
                      <a:pt x="2" y="2"/>
                      <a:pt x="2" y="2"/>
                      <a:pt x="2" y="2"/>
                    </a:cubicBezTo>
                    <a:cubicBezTo>
                      <a:pt x="2" y="2"/>
                      <a:pt x="1" y="2"/>
                      <a:pt x="0" y="4"/>
                    </a:cubicBezTo>
                    <a:cubicBezTo>
                      <a:pt x="0" y="4"/>
                      <a:pt x="1" y="4"/>
                      <a:pt x="2" y="4"/>
                    </a:cubicBezTo>
                    <a:cubicBezTo>
                      <a:pt x="3" y="4"/>
                      <a:pt x="4" y="4"/>
                      <a:pt x="5" y="4"/>
                    </a:cubicBezTo>
                    <a:cubicBezTo>
                      <a:pt x="5" y="3"/>
                      <a:pt x="6" y="3"/>
                      <a:pt x="6" y="3"/>
                    </a:cubicBezTo>
                    <a:cubicBezTo>
                      <a:pt x="7" y="3"/>
                      <a:pt x="7" y="3"/>
                      <a:pt x="7" y="3"/>
                    </a:cubicBezTo>
                    <a:cubicBezTo>
                      <a:pt x="8" y="3"/>
                      <a:pt x="8" y="4"/>
                      <a:pt x="8" y="4"/>
                    </a:cubicBezTo>
                    <a:cubicBezTo>
                      <a:pt x="9" y="5"/>
                      <a:pt x="8" y="7"/>
                      <a:pt x="7" y="9"/>
                    </a:cubicBezTo>
                    <a:cubicBezTo>
                      <a:pt x="7" y="13"/>
                      <a:pt x="7" y="14"/>
                      <a:pt x="8" y="14"/>
                    </a:cubicBezTo>
                    <a:cubicBezTo>
                      <a:pt x="9" y="14"/>
                      <a:pt x="10" y="14"/>
                      <a:pt x="10" y="14"/>
                    </a:cubicBezTo>
                    <a:cubicBezTo>
                      <a:pt x="12" y="13"/>
                      <a:pt x="14" y="12"/>
                      <a:pt x="16" y="12"/>
                    </a:cubicBezTo>
                    <a:cubicBezTo>
                      <a:pt x="16" y="11"/>
                      <a:pt x="15" y="11"/>
                      <a:pt x="14" y="10"/>
                    </a:cubicBezTo>
                    <a:cubicBezTo>
                      <a:pt x="12" y="7"/>
                      <a:pt x="9" y="4"/>
                      <a:pt x="13" y="3"/>
                    </a:cubicBezTo>
                    <a:cubicBezTo>
                      <a:pt x="13" y="3"/>
                      <a:pt x="13" y="3"/>
                      <a:pt x="13" y="3"/>
                    </a:cubicBezTo>
                    <a:cubicBezTo>
                      <a:pt x="11" y="3"/>
                      <a:pt x="11" y="3"/>
                      <a:pt x="10" y="2"/>
                    </a:cubicBezTo>
                    <a:cubicBezTo>
                      <a:pt x="11" y="1"/>
                      <a:pt x="11" y="1"/>
                      <a:pt x="11" y="1"/>
                    </a:cubicBezTo>
                    <a:cubicBezTo>
                      <a:pt x="12" y="1"/>
                      <a:pt x="12" y="1"/>
                      <a:pt x="12" y="1"/>
                    </a:cubicBezTo>
                    <a:cubicBezTo>
                      <a:pt x="12" y="1"/>
                      <a:pt x="13" y="1"/>
                      <a:pt x="13" y="1"/>
                    </a:cubicBezTo>
                    <a:cubicBezTo>
                      <a:pt x="14" y="1"/>
                      <a:pt x="16" y="2"/>
                      <a:pt x="17" y="2"/>
                    </a:cubicBezTo>
                    <a:cubicBezTo>
                      <a:pt x="18" y="2"/>
                      <a:pt x="19" y="2"/>
                      <a:pt x="20" y="1"/>
                    </a:cubicBezTo>
                    <a:cubicBezTo>
                      <a:pt x="19" y="1"/>
                      <a:pt x="19" y="1"/>
                      <a:pt x="19" y="1"/>
                    </a:cubicBezTo>
                    <a:cubicBezTo>
                      <a:pt x="16" y="1"/>
                      <a:pt x="14" y="0"/>
                      <a:pt x="13" y="0"/>
                    </a:cubicBezTo>
                    <a:cubicBezTo>
                      <a:pt x="11" y="0"/>
                      <a:pt x="10"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5" name="Freeform 1146"/>
              <p:cNvSpPr/>
              <p:nvPr/>
            </p:nvSpPr>
            <p:spPr bwMode="auto">
              <a:xfrm>
                <a:off x="6101" y="2229"/>
                <a:ext cx="4" cy="7"/>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1" y="1"/>
                      <a:pt x="1" y="2"/>
                      <a:pt x="2" y="3"/>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Freeform 1147"/>
              <p:cNvSpPr/>
              <p:nvPr/>
            </p:nvSpPr>
            <p:spPr bwMode="auto">
              <a:xfrm>
                <a:off x="6025" y="2199"/>
                <a:ext cx="21" cy="16"/>
              </a:xfrm>
              <a:custGeom>
                <a:gdLst>
                  <a:gd name="T0" fmla="*/ 7 w 9"/>
                  <a:gd name="T1" fmla="*/ 0 h 7"/>
                  <a:gd name="T2" fmla="*/ 5 w 9"/>
                  <a:gd name="T3" fmla="*/ 1 h 7"/>
                  <a:gd name="T4" fmla="*/ 4 w 9"/>
                  <a:gd name="T5" fmla="*/ 3 h 7"/>
                  <a:gd name="T6" fmla="*/ 4 w 9"/>
                  <a:gd name="T7" fmla="*/ 2 h 7"/>
                  <a:gd name="T8" fmla="*/ 0 w 9"/>
                  <a:gd name="T9" fmla="*/ 7 h 7"/>
                  <a:gd name="T10" fmla="*/ 3 w 9"/>
                  <a:gd name="T11" fmla="*/ 7 h 7"/>
                  <a:gd name="T12" fmla="*/ 4 w 9"/>
                  <a:gd name="T13" fmla="*/ 7 h 7"/>
                  <a:gd name="T14" fmla="*/ 4 w 9"/>
                  <a:gd name="T15" fmla="*/ 7 h 7"/>
                  <a:gd name="T16" fmla="*/ 9 w 9"/>
                  <a:gd name="T17" fmla="*/ 1 h 7"/>
                  <a:gd name="T18" fmla="*/ 7 w 9"/>
                  <a:gd name="T1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7" y="0"/>
                    </a:moveTo>
                    <a:cubicBezTo>
                      <a:pt x="6" y="0"/>
                      <a:pt x="5" y="0"/>
                      <a:pt x="5" y="1"/>
                    </a:cubicBezTo>
                    <a:cubicBezTo>
                      <a:pt x="4" y="1"/>
                      <a:pt x="4" y="2"/>
                      <a:pt x="4" y="3"/>
                    </a:cubicBezTo>
                    <a:cubicBezTo>
                      <a:pt x="4" y="2"/>
                      <a:pt x="4" y="2"/>
                      <a:pt x="4" y="2"/>
                    </a:cubicBezTo>
                    <a:cubicBezTo>
                      <a:pt x="3" y="3"/>
                      <a:pt x="1" y="5"/>
                      <a:pt x="0" y="7"/>
                    </a:cubicBezTo>
                    <a:cubicBezTo>
                      <a:pt x="1" y="7"/>
                      <a:pt x="2" y="7"/>
                      <a:pt x="3" y="7"/>
                    </a:cubicBezTo>
                    <a:cubicBezTo>
                      <a:pt x="3" y="7"/>
                      <a:pt x="3" y="7"/>
                      <a:pt x="4" y="7"/>
                    </a:cubicBezTo>
                    <a:cubicBezTo>
                      <a:pt x="4" y="7"/>
                      <a:pt x="4" y="7"/>
                      <a:pt x="4" y="7"/>
                    </a:cubicBezTo>
                    <a:cubicBezTo>
                      <a:pt x="4" y="6"/>
                      <a:pt x="9" y="2"/>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7" name="Freeform 1148"/>
              <p:cNvSpPr/>
              <p:nvPr/>
            </p:nvSpPr>
            <p:spPr bwMode="auto">
              <a:xfrm>
                <a:off x="5061" y="1773"/>
                <a:ext cx="23" cy="12"/>
              </a:xfrm>
              <a:custGeom>
                <a:gdLst>
                  <a:gd name="T0" fmla="*/ 5 w 10"/>
                  <a:gd name="T1" fmla="*/ 0 h 5"/>
                  <a:gd name="T2" fmla="*/ 4 w 10"/>
                  <a:gd name="T3" fmla="*/ 0 h 5"/>
                  <a:gd name="T4" fmla="*/ 0 w 10"/>
                  <a:gd name="T5" fmla="*/ 5 h 5"/>
                  <a:gd name="T6" fmla="*/ 4 w 10"/>
                  <a:gd name="T7" fmla="*/ 3 h 5"/>
                  <a:gd name="T8" fmla="*/ 5 w 10"/>
                  <a:gd name="T9" fmla="*/ 4 h 5"/>
                  <a:gd name="T10" fmla="*/ 5 w 10"/>
                  <a:gd name="T11" fmla="*/ 3 h 5"/>
                  <a:gd name="T12" fmla="*/ 7 w 10"/>
                  <a:gd name="T13" fmla="*/ 4 h 5"/>
                  <a:gd name="T14" fmla="*/ 9 w 10"/>
                  <a:gd name="T15" fmla="*/ 3 h 5"/>
                  <a:gd name="T16" fmla="*/ 10 w 10"/>
                  <a:gd name="T17" fmla="*/ 1 h 5"/>
                  <a:gd name="T18" fmla="*/ 5 w 10"/>
                  <a:gd name="T19"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5">
                    <a:moveTo>
                      <a:pt x="5" y="0"/>
                    </a:moveTo>
                    <a:cubicBezTo>
                      <a:pt x="4" y="0"/>
                      <a:pt x="4" y="0"/>
                      <a:pt x="4" y="0"/>
                    </a:cubicBezTo>
                    <a:cubicBezTo>
                      <a:pt x="2" y="0"/>
                      <a:pt x="1" y="1"/>
                      <a:pt x="0" y="5"/>
                    </a:cubicBezTo>
                    <a:cubicBezTo>
                      <a:pt x="2" y="5"/>
                      <a:pt x="3" y="3"/>
                      <a:pt x="4" y="3"/>
                    </a:cubicBezTo>
                    <a:cubicBezTo>
                      <a:pt x="4" y="3"/>
                      <a:pt x="5" y="3"/>
                      <a:pt x="5" y="4"/>
                    </a:cubicBezTo>
                    <a:cubicBezTo>
                      <a:pt x="5" y="3"/>
                      <a:pt x="5" y="3"/>
                      <a:pt x="5" y="3"/>
                    </a:cubicBezTo>
                    <a:cubicBezTo>
                      <a:pt x="6" y="3"/>
                      <a:pt x="6" y="4"/>
                      <a:pt x="7" y="4"/>
                    </a:cubicBezTo>
                    <a:cubicBezTo>
                      <a:pt x="7" y="4"/>
                      <a:pt x="8" y="3"/>
                      <a:pt x="9" y="3"/>
                    </a:cubicBezTo>
                    <a:cubicBezTo>
                      <a:pt x="9" y="2"/>
                      <a:pt x="9" y="1"/>
                      <a:pt x="10"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Freeform 1149"/>
              <p:cNvSpPr/>
              <p:nvPr/>
            </p:nvSpPr>
            <p:spPr bwMode="auto">
              <a:xfrm>
                <a:off x="5129" y="1839"/>
                <a:ext cx="12" cy="7"/>
              </a:xfrm>
              <a:custGeom>
                <a:gdLst>
                  <a:gd name="T0" fmla="*/ 1 w 5"/>
                  <a:gd name="T1" fmla="*/ 0 h 3"/>
                  <a:gd name="T2" fmla="*/ 0 w 5"/>
                  <a:gd name="T3" fmla="*/ 0 h 3"/>
                  <a:gd name="T4" fmla="*/ 0 w 5"/>
                  <a:gd name="T5" fmla="*/ 0 h 3"/>
                  <a:gd name="T6" fmla="*/ 0 w 5"/>
                  <a:gd name="T7" fmla="*/ 0 h 3"/>
                  <a:gd name="T8" fmla="*/ 1 w 5"/>
                  <a:gd name="T9" fmla="*/ 3 h 3"/>
                  <a:gd name="T10" fmla="*/ 2 w 5"/>
                  <a:gd name="T11" fmla="*/ 3 h 3"/>
                  <a:gd name="T12" fmla="*/ 5 w 5"/>
                  <a:gd name="T13" fmla="*/ 3 h 3"/>
                  <a:gd name="T14" fmla="*/ 1 w 5"/>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1" y="0"/>
                    </a:moveTo>
                    <a:cubicBezTo>
                      <a:pt x="1" y="0"/>
                      <a:pt x="0" y="0"/>
                      <a:pt x="0" y="0"/>
                    </a:cubicBezTo>
                    <a:cubicBezTo>
                      <a:pt x="0" y="0"/>
                      <a:pt x="0" y="0"/>
                      <a:pt x="0" y="0"/>
                    </a:cubicBezTo>
                    <a:cubicBezTo>
                      <a:pt x="0" y="0"/>
                      <a:pt x="0" y="0"/>
                      <a:pt x="0" y="0"/>
                    </a:cubicBezTo>
                    <a:cubicBezTo>
                      <a:pt x="0" y="1"/>
                      <a:pt x="1" y="2"/>
                      <a:pt x="1" y="3"/>
                    </a:cubicBezTo>
                    <a:cubicBezTo>
                      <a:pt x="2" y="3"/>
                      <a:pt x="2" y="3"/>
                      <a:pt x="2" y="3"/>
                    </a:cubicBezTo>
                    <a:cubicBezTo>
                      <a:pt x="3" y="3"/>
                      <a:pt x="4" y="3"/>
                      <a:pt x="5" y="3"/>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Freeform 1150"/>
              <p:cNvSpPr/>
              <p:nvPr/>
            </p:nvSpPr>
            <p:spPr bwMode="auto">
              <a:xfrm>
                <a:off x="795" y="943"/>
                <a:ext cx="22" cy="5"/>
              </a:xfrm>
              <a:custGeom>
                <a:gdLst>
                  <a:gd name="T0" fmla="*/ 7 w 9"/>
                  <a:gd name="T1" fmla="*/ 0 h 2"/>
                  <a:gd name="T2" fmla="*/ 0 w 9"/>
                  <a:gd name="T3" fmla="*/ 2 h 2"/>
                  <a:gd name="T4" fmla="*/ 9 w 9"/>
                  <a:gd name="T5" fmla="*/ 1 h 2"/>
                  <a:gd name="T6" fmla="*/ 7 w 9"/>
                  <a:gd name="T7" fmla="*/ 0 h 2"/>
                </a:gdLst>
                <a:cxnLst>
                  <a:cxn ang="0">
                    <a:pos x="T0" y="T1"/>
                  </a:cxn>
                  <a:cxn ang="0">
                    <a:pos x="T2" y="T3"/>
                  </a:cxn>
                  <a:cxn ang="0">
                    <a:pos x="T4" y="T5"/>
                  </a:cxn>
                  <a:cxn ang="0">
                    <a:pos x="T6" y="T7"/>
                  </a:cxn>
                </a:cxnLst>
                <a:rect l="0" t="0" r="r" b="b"/>
                <a:pathLst>
                  <a:path w="9" h="2">
                    <a:moveTo>
                      <a:pt x="7" y="0"/>
                    </a:moveTo>
                    <a:cubicBezTo>
                      <a:pt x="5" y="0"/>
                      <a:pt x="1" y="0"/>
                      <a:pt x="0" y="2"/>
                    </a:cubicBezTo>
                    <a:cubicBezTo>
                      <a:pt x="3" y="2"/>
                      <a:pt x="6" y="1"/>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Freeform 1151"/>
              <p:cNvSpPr>
                <a:spLocks noEditPoints="1"/>
              </p:cNvSpPr>
              <p:nvPr/>
            </p:nvSpPr>
            <p:spPr bwMode="auto">
              <a:xfrm>
                <a:off x="2175" y="338"/>
                <a:ext cx="60" cy="43"/>
              </a:xfrm>
              <a:custGeom>
                <a:gdLst>
                  <a:gd name="T0" fmla="*/ 2 w 25"/>
                  <a:gd name="T1" fmla="*/ 15 h 18"/>
                  <a:gd name="T2" fmla="*/ 2 w 25"/>
                  <a:gd name="T3" fmla="*/ 15 h 18"/>
                  <a:gd name="T4" fmla="*/ 2 w 25"/>
                  <a:gd name="T5" fmla="*/ 15 h 18"/>
                  <a:gd name="T6" fmla="*/ 1 w 25"/>
                  <a:gd name="T7" fmla="*/ 12 h 18"/>
                  <a:gd name="T8" fmla="*/ 1 w 25"/>
                  <a:gd name="T9" fmla="*/ 12 h 18"/>
                  <a:gd name="T10" fmla="*/ 1 w 25"/>
                  <a:gd name="T11" fmla="*/ 12 h 18"/>
                  <a:gd name="T12" fmla="*/ 14 w 25"/>
                  <a:gd name="T13" fmla="*/ 0 h 18"/>
                  <a:gd name="T14" fmla="*/ 8 w 25"/>
                  <a:gd name="T15" fmla="*/ 5 h 18"/>
                  <a:gd name="T16" fmla="*/ 1 w 25"/>
                  <a:gd name="T17" fmla="*/ 12 h 18"/>
                  <a:gd name="T18" fmla="*/ 1 w 25"/>
                  <a:gd name="T19" fmla="*/ 12 h 18"/>
                  <a:gd name="T20" fmla="*/ 2 w 25"/>
                  <a:gd name="T21" fmla="*/ 14 h 18"/>
                  <a:gd name="T22" fmla="*/ 2 w 25"/>
                  <a:gd name="T23" fmla="*/ 15 h 18"/>
                  <a:gd name="T24" fmla="*/ 2 w 25"/>
                  <a:gd name="T25" fmla="*/ 15 h 18"/>
                  <a:gd name="T26" fmla="*/ 9 w 25"/>
                  <a:gd name="T27" fmla="*/ 18 h 18"/>
                  <a:gd name="T28" fmla="*/ 22 w 25"/>
                  <a:gd name="T29" fmla="*/ 13 h 18"/>
                  <a:gd name="T30" fmla="*/ 24 w 25"/>
                  <a:gd name="T31" fmla="*/ 11 h 18"/>
                  <a:gd name="T32" fmla="*/ 23 w 25"/>
                  <a:gd name="T33" fmla="*/ 10 h 18"/>
                  <a:gd name="T34" fmla="*/ 23 w 25"/>
                  <a:gd name="T35" fmla="*/ 9 h 18"/>
                  <a:gd name="T36" fmla="*/ 22 w 25"/>
                  <a:gd name="T37" fmla="*/ 4 h 18"/>
                  <a:gd name="T38" fmla="*/ 15 w 25"/>
                  <a:gd name="T39" fmla="*/ 0 h 18"/>
                  <a:gd name="T40" fmla="*/ 14 w 25"/>
                  <a:gd name="T4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8">
                    <a:moveTo>
                      <a:pt x="2" y="15"/>
                    </a:moveTo>
                    <a:cubicBezTo>
                      <a:pt x="2" y="15"/>
                      <a:pt x="2" y="15"/>
                      <a:pt x="2" y="15"/>
                    </a:cubicBezTo>
                    <a:cubicBezTo>
                      <a:pt x="2" y="15"/>
                      <a:pt x="2" y="15"/>
                      <a:pt x="2" y="15"/>
                    </a:cubicBezTo>
                    <a:moveTo>
                      <a:pt x="1" y="12"/>
                    </a:moveTo>
                    <a:cubicBezTo>
                      <a:pt x="1" y="12"/>
                      <a:pt x="1" y="12"/>
                      <a:pt x="1" y="12"/>
                    </a:cubicBezTo>
                    <a:cubicBezTo>
                      <a:pt x="1" y="12"/>
                      <a:pt x="1" y="12"/>
                      <a:pt x="1" y="12"/>
                    </a:cubicBezTo>
                    <a:moveTo>
                      <a:pt x="14" y="0"/>
                    </a:moveTo>
                    <a:cubicBezTo>
                      <a:pt x="11" y="0"/>
                      <a:pt x="10" y="3"/>
                      <a:pt x="8" y="5"/>
                    </a:cubicBezTo>
                    <a:cubicBezTo>
                      <a:pt x="6" y="7"/>
                      <a:pt x="0" y="8"/>
                      <a:pt x="1" y="12"/>
                    </a:cubicBezTo>
                    <a:cubicBezTo>
                      <a:pt x="1" y="12"/>
                      <a:pt x="1" y="12"/>
                      <a:pt x="1" y="12"/>
                    </a:cubicBezTo>
                    <a:cubicBezTo>
                      <a:pt x="1" y="12"/>
                      <a:pt x="1" y="13"/>
                      <a:pt x="2" y="14"/>
                    </a:cubicBezTo>
                    <a:cubicBezTo>
                      <a:pt x="2" y="14"/>
                      <a:pt x="3" y="15"/>
                      <a:pt x="2" y="15"/>
                    </a:cubicBezTo>
                    <a:cubicBezTo>
                      <a:pt x="2" y="15"/>
                      <a:pt x="2" y="15"/>
                      <a:pt x="2" y="15"/>
                    </a:cubicBezTo>
                    <a:cubicBezTo>
                      <a:pt x="4" y="17"/>
                      <a:pt x="6" y="17"/>
                      <a:pt x="9" y="18"/>
                    </a:cubicBezTo>
                    <a:cubicBezTo>
                      <a:pt x="13" y="16"/>
                      <a:pt x="19" y="16"/>
                      <a:pt x="22" y="13"/>
                    </a:cubicBezTo>
                    <a:cubicBezTo>
                      <a:pt x="25" y="12"/>
                      <a:pt x="23" y="13"/>
                      <a:pt x="24" y="11"/>
                    </a:cubicBezTo>
                    <a:cubicBezTo>
                      <a:pt x="23" y="10"/>
                      <a:pt x="23" y="10"/>
                      <a:pt x="23" y="10"/>
                    </a:cubicBezTo>
                    <a:cubicBezTo>
                      <a:pt x="23" y="9"/>
                      <a:pt x="23" y="9"/>
                      <a:pt x="23" y="9"/>
                    </a:cubicBezTo>
                    <a:cubicBezTo>
                      <a:pt x="23" y="7"/>
                      <a:pt x="23" y="5"/>
                      <a:pt x="22" y="4"/>
                    </a:cubicBezTo>
                    <a:cubicBezTo>
                      <a:pt x="22" y="3"/>
                      <a:pt x="17" y="1"/>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1" name="Freeform 1152"/>
              <p:cNvSpPr/>
              <p:nvPr/>
            </p:nvSpPr>
            <p:spPr bwMode="auto">
              <a:xfrm>
                <a:off x="2209" y="171"/>
                <a:ext cx="96" cy="106"/>
              </a:xfrm>
              <a:custGeom>
                <a:gdLst>
                  <a:gd name="T0" fmla="*/ 23 w 41"/>
                  <a:gd name="T1" fmla="*/ 0 h 45"/>
                  <a:gd name="T2" fmla="*/ 18 w 41"/>
                  <a:gd name="T3" fmla="*/ 1 h 45"/>
                  <a:gd name="T4" fmla="*/ 0 w 41"/>
                  <a:gd name="T5" fmla="*/ 1 h 45"/>
                  <a:gd name="T6" fmla="*/ 11 w 41"/>
                  <a:gd name="T7" fmla="*/ 15 h 45"/>
                  <a:gd name="T8" fmla="*/ 23 w 41"/>
                  <a:gd name="T9" fmla="*/ 26 h 45"/>
                  <a:gd name="T10" fmla="*/ 22 w 41"/>
                  <a:gd name="T11" fmla="*/ 29 h 45"/>
                  <a:gd name="T12" fmla="*/ 23 w 41"/>
                  <a:gd name="T13" fmla="*/ 37 h 45"/>
                  <a:gd name="T14" fmla="*/ 28 w 41"/>
                  <a:gd name="T15" fmla="*/ 44 h 45"/>
                  <a:gd name="T16" fmla="*/ 29 w 41"/>
                  <a:gd name="T17" fmla="*/ 44 h 45"/>
                  <a:gd name="T18" fmla="*/ 30 w 41"/>
                  <a:gd name="T19" fmla="*/ 44 h 45"/>
                  <a:gd name="T20" fmla="*/ 31 w 41"/>
                  <a:gd name="T21" fmla="*/ 44 h 45"/>
                  <a:gd name="T22" fmla="*/ 32 w 41"/>
                  <a:gd name="T23" fmla="*/ 44 h 45"/>
                  <a:gd name="T24" fmla="*/ 37 w 41"/>
                  <a:gd name="T25" fmla="*/ 45 h 45"/>
                  <a:gd name="T26" fmla="*/ 37 w 41"/>
                  <a:gd name="T27" fmla="*/ 43 h 45"/>
                  <a:gd name="T28" fmla="*/ 38 w 41"/>
                  <a:gd name="T29" fmla="*/ 43 h 45"/>
                  <a:gd name="T30" fmla="*/ 39 w 41"/>
                  <a:gd name="T31" fmla="*/ 43 h 45"/>
                  <a:gd name="T32" fmla="*/ 41 w 41"/>
                  <a:gd name="T33" fmla="*/ 43 h 45"/>
                  <a:gd name="T34" fmla="*/ 37 w 41"/>
                  <a:gd name="T35" fmla="*/ 41 h 45"/>
                  <a:gd name="T36" fmla="*/ 40 w 41"/>
                  <a:gd name="T37" fmla="*/ 37 h 45"/>
                  <a:gd name="T38" fmla="*/ 38 w 41"/>
                  <a:gd name="T39" fmla="*/ 24 h 45"/>
                  <a:gd name="T40" fmla="*/ 37 w 41"/>
                  <a:gd name="T41" fmla="*/ 12 h 45"/>
                  <a:gd name="T42" fmla="*/ 37 w 41"/>
                  <a:gd name="T43" fmla="*/ 12 h 45"/>
                  <a:gd name="T44" fmla="*/ 33 w 41"/>
                  <a:gd name="T45" fmla="*/ 10 h 45"/>
                  <a:gd name="T46" fmla="*/ 31 w 41"/>
                  <a:gd name="T47" fmla="*/ 6 h 45"/>
                  <a:gd name="T48" fmla="*/ 32 w 41"/>
                  <a:gd name="T49" fmla="*/ 6 h 45"/>
                  <a:gd name="T50" fmla="*/ 27 w 41"/>
                  <a:gd name="T51" fmla="*/ 1 h 45"/>
                  <a:gd name="T52" fmla="*/ 23 w 41"/>
                  <a:gd name="T53"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45">
                    <a:moveTo>
                      <a:pt x="23" y="0"/>
                    </a:moveTo>
                    <a:cubicBezTo>
                      <a:pt x="21" y="0"/>
                      <a:pt x="19" y="1"/>
                      <a:pt x="18" y="1"/>
                    </a:cubicBezTo>
                    <a:cubicBezTo>
                      <a:pt x="12" y="1"/>
                      <a:pt x="6" y="1"/>
                      <a:pt x="0" y="1"/>
                    </a:cubicBezTo>
                    <a:cubicBezTo>
                      <a:pt x="3" y="9"/>
                      <a:pt x="4" y="10"/>
                      <a:pt x="11" y="15"/>
                    </a:cubicBezTo>
                    <a:cubicBezTo>
                      <a:pt x="14" y="18"/>
                      <a:pt x="20" y="22"/>
                      <a:pt x="23" y="26"/>
                    </a:cubicBezTo>
                    <a:cubicBezTo>
                      <a:pt x="21" y="26"/>
                      <a:pt x="22" y="27"/>
                      <a:pt x="22" y="29"/>
                    </a:cubicBezTo>
                    <a:cubicBezTo>
                      <a:pt x="21" y="31"/>
                      <a:pt x="21" y="34"/>
                      <a:pt x="23" y="37"/>
                    </a:cubicBezTo>
                    <a:cubicBezTo>
                      <a:pt x="25" y="39"/>
                      <a:pt x="26" y="42"/>
                      <a:pt x="28" y="44"/>
                    </a:cubicBezTo>
                    <a:cubicBezTo>
                      <a:pt x="28" y="44"/>
                      <a:pt x="29" y="44"/>
                      <a:pt x="29" y="44"/>
                    </a:cubicBezTo>
                    <a:cubicBezTo>
                      <a:pt x="29" y="44"/>
                      <a:pt x="30" y="44"/>
                      <a:pt x="30" y="44"/>
                    </a:cubicBezTo>
                    <a:cubicBezTo>
                      <a:pt x="31" y="44"/>
                      <a:pt x="31" y="44"/>
                      <a:pt x="31" y="44"/>
                    </a:cubicBezTo>
                    <a:cubicBezTo>
                      <a:pt x="31" y="44"/>
                      <a:pt x="31" y="44"/>
                      <a:pt x="32" y="44"/>
                    </a:cubicBezTo>
                    <a:cubicBezTo>
                      <a:pt x="33" y="44"/>
                      <a:pt x="36" y="44"/>
                      <a:pt x="37" y="45"/>
                    </a:cubicBezTo>
                    <a:cubicBezTo>
                      <a:pt x="37" y="43"/>
                      <a:pt x="37" y="43"/>
                      <a:pt x="37" y="43"/>
                    </a:cubicBezTo>
                    <a:cubicBezTo>
                      <a:pt x="38" y="43"/>
                      <a:pt x="38" y="43"/>
                      <a:pt x="38" y="43"/>
                    </a:cubicBezTo>
                    <a:cubicBezTo>
                      <a:pt x="39" y="43"/>
                      <a:pt x="39" y="43"/>
                      <a:pt x="39" y="43"/>
                    </a:cubicBezTo>
                    <a:cubicBezTo>
                      <a:pt x="40" y="43"/>
                      <a:pt x="40" y="43"/>
                      <a:pt x="41" y="43"/>
                    </a:cubicBezTo>
                    <a:cubicBezTo>
                      <a:pt x="39" y="42"/>
                      <a:pt x="39" y="42"/>
                      <a:pt x="37" y="41"/>
                    </a:cubicBezTo>
                    <a:cubicBezTo>
                      <a:pt x="38" y="40"/>
                      <a:pt x="40" y="39"/>
                      <a:pt x="40" y="37"/>
                    </a:cubicBezTo>
                    <a:cubicBezTo>
                      <a:pt x="41" y="34"/>
                      <a:pt x="39" y="27"/>
                      <a:pt x="38" y="24"/>
                    </a:cubicBezTo>
                    <a:cubicBezTo>
                      <a:pt x="37" y="22"/>
                      <a:pt x="36" y="13"/>
                      <a:pt x="37" y="12"/>
                    </a:cubicBezTo>
                    <a:cubicBezTo>
                      <a:pt x="37" y="12"/>
                      <a:pt x="37" y="12"/>
                      <a:pt x="37" y="12"/>
                    </a:cubicBezTo>
                    <a:cubicBezTo>
                      <a:pt x="36" y="11"/>
                      <a:pt x="34" y="11"/>
                      <a:pt x="33" y="10"/>
                    </a:cubicBezTo>
                    <a:cubicBezTo>
                      <a:pt x="29" y="9"/>
                      <a:pt x="32" y="9"/>
                      <a:pt x="31" y="6"/>
                    </a:cubicBezTo>
                    <a:cubicBezTo>
                      <a:pt x="31" y="6"/>
                      <a:pt x="31" y="6"/>
                      <a:pt x="32" y="6"/>
                    </a:cubicBezTo>
                    <a:cubicBezTo>
                      <a:pt x="30" y="4"/>
                      <a:pt x="29" y="2"/>
                      <a:pt x="27" y="1"/>
                    </a:cubicBezTo>
                    <a:cubicBezTo>
                      <a:pt x="26" y="1"/>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Freeform 1153"/>
              <p:cNvSpPr/>
              <p:nvPr/>
            </p:nvSpPr>
            <p:spPr bwMode="auto">
              <a:xfrm>
                <a:off x="2211" y="246"/>
                <a:ext cx="66" cy="102"/>
              </a:xfrm>
              <a:custGeom>
                <a:gdLst>
                  <a:gd name="T0" fmla="*/ 0 w 28"/>
                  <a:gd name="T1" fmla="*/ 0 h 43"/>
                  <a:gd name="T2" fmla="*/ 3 w 28"/>
                  <a:gd name="T3" fmla="*/ 7 h 43"/>
                  <a:gd name="T4" fmla="*/ 3 w 28"/>
                  <a:gd name="T5" fmla="*/ 13 h 43"/>
                  <a:gd name="T6" fmla="*/ 3 w 28"/>
                  <a:gd name="T7" fmla="*/ 17 h 43"/>
                  <a:gd name="T8" fmla="*/ 4 w 28"/>
                  <a:gd name="T9" fmla="*/ 17 h 43"/>
                  <a:gd name="T10" fmla="*/ 5 w 28"/>
                  <a:gd name="T11" fmla="*/ 19 h 43"/>
                  <a:gd name="T12" fmla="*/ 7 w 28"/>
                  <a:gd name="T13" fmla="*/ 17 h 43"/>
                  <a:gd name="T14" fmla="*/ 9 w 28"/>
                  <a:gd name="T15" fmla="*/ 15 h 43"/>
                  <a:gd name="T16" fmla="*/ 9 w 28"/>
                  <a:gd name="T17" fmla="*/ 15 h 43"/>
                  <a:gd name="T18" fmla="*/ 14 w 28"/>
                  <a:gd name="T19" fmla="*/ 39 h 43"/>
                  <a:gd name="T20" fmla="*/ 22 w 28"/>
                  <a:gd name="T21" fmla="*/ 43 h 43"/>
                  <a:gd name="T22" fmla="*/ 21 w 28"/>
                  <a:gd name="T23" fmla="*/ 33 h 43"/>
                  <a:gd name="T24" fmla="*/ 25 w 28"/>
                  <a:gd name="T25" fmla="*/ 40 h 43"/>
                  <a:gd name="T26" fmla="*/ 28 w 28"/>
                  <a:gd name="T27" fmla="*/ 34 h 43"/>
                  <a:gd name="T28" fmla="*/ 25 w 28"/>
                  <a:gd name="T29" fmla="*/ 26 h 43"/>
                  <a:gd name="T30" fmla="*/ 20 w 28"/>
                  <a:gd name="T31" fmla="*/ 3 h 43"/>
                  <a:gd name="T32" fmla="*/ 11 w 28"/>
                  <a:gd name="T33" fmla="*/ 6 h 43"/>
                  <a:gd name="T34" fmla="*/ 8 w 28"/>
                  <a:gd name="T35" fmla="*/ 5 h 43"/>
                  <a:gd name="T36" fmla="*/ 0 w 28"/>
                  <a:gd name="T37"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43">
                    <a:moveTo>
                      <a:pt x="0" y="0"/>
                    </a:moveTo>
                    <a:cubicBezTo>
                      <a:pt x="1" y="2"/>
                      <a:pt x="2" y="5"/>
                      <a:pt x="3" y="7"/>
                    </a:cubicBezTo>
                    <a:cubicBezTo>
                      <a:pt x="3" y="9"/>
                      <a:pt x="3" y="11"/>
                      <a:pt x="3" y="13"/>
                    </a:cubicBezTo>
                    <a:cubicBezTo>
                      <a:pt x="3" y="14"/>
                      <a:pt x="2" y="17"/>
                      <a:pt x="3" y="17"/>
                    </a:cubicBezTo>
                    <a:cubicBezTo>
                      <a:pt x="3" y="17"/>
                      <a:pt x="4" y="17"/>
                      <a:pt x="4" y="17"/>
                    </a:cubicBezTo>
                    <a:cubicBezTo>
                      <a:pt x="4" y="18"/>
                      <a:pt x="5" y="19"/>
                      <a:pt x="5" y="19"/>
                    </a:cubicBezTo>
                    <a:cubicBezTo>
                      <a:pt x="6" y="19"/>
                      <a:pt x="6" y="18"/>
                      <a:pt x="7" y="17"/>
                    </a:cubicBezTo>
                    <a:cubicBezTo>
                      <a:pt x="8" y="16"/>
                      <a:pt x="9" y="15"/>
                      <a:pt x="9" y="15"/>
                    </a:cubicBezTo>
                    <a:cubicBezTo>
                      <a:pt x="9" y="15"/>
                      <a:pt x="9" y="15"/>
                      <a:pt x="9" y="15"/>
                    </a:cubicBezTo>
                    <a:cubicBezTo>
                      <a:pt x="17" y="16"/>
                      <a:pt x="14" y="36"/>
                      <a:pt x="14" y="39"/>
                    </a:cubicBezTo>
                    <a:cubicBezTo>
                      <a:pt x="16" y="41"/>
                      <a:pt x="19" y="42"/>
                      <a:pt x="22" y="43"/>
                    </a:cubicBezTo>
                    <a:cubicBezTo>
                      <a:pt x="22" y="39"/>
                      <a:pt x="20" y="37"/>
                      <a:pt x="21" y="33"/>
                    </a:cubicBezTo>
                    <a:cubicBezTo>
                      <a:pt x="22" y="35"/>
                      <a:pt x="23" y="37"/>
                      <a:pt x="25" y="40"/>
                    </a:cubicBezTo>
                    <a:cubicBezTo>
                      <a:pt x="26" y="38"/>
                      <a:pt x="28" y="36"/>
                      <a:pt x="28" y="34"/>
                    </a:cubicBezTo>
                    <a:cubicBezTo>
                      <a:pt x="28" y="32"/>
                      <a:pt x="26" y="27"/>
                      <a:pt x="25" y="26"/>
                    </a:cubicBezTo>
                    <a:cubicBezTo>
                      <a:pt x="19" y="20"/>
                      <a:pt x="21" y="12"/>
                      <a:pt x="20" y="3"/>
                    </a:cubicBezTo>
                    <a:cubicBezTo>
                      <a:pt x="17" y="4"/>
                      <a:pt x="14" y="6"/>
                      <a:pt x="11" y="6"/>
                    </a:cubicBezTo>
                    <a:cubicBezTo>
                      <a:pt x="10" y="6"/>
                      <a:pt x="9" y="6"/>
                      <a:pt x="8" y="5"/>
                    </a:cubicBezTo>
                    <a:cubicBezTo>
                      <a:pt x="5" y="4"/>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Freeform 1154"/>
              <p:cNvSpPr/>
              <p:nvPr/>
            </p:nvSpPr>
            <p:spPr bwMode="auto">
              <a:xfrm>
                <a:off x="1920" y="0"/>
                <a:ext cx="284" cy="173"/>
              </a:xfrm>
              <a:custGeom>
                <a:gdLst>
                  <a:gd name="T0" fmla="*/ 0 w 120"/>
                  <a:gd name="T1" fmla="*/ 0 h 73"/>
                  <a:gd name="T2" fmla="*/ 2 w 120"/>
                  <a:gd name="T3" fmla="*/ 7 h 73"/>
                  <a:gd name="T4" fmla="*/ 10 w 120"/>
                  <a:gd name="T5" fmla="*/ 13 h 73"/>
                  <a:gd name="T6" fmla="*/ 12 w 120"/>
                  <a:gd name="T7" fmla="*/ 18 h 73"/>
                  <a:gd name="T8" fmla="*/ 15 w 120"/>
                  <a:gd name="T9" fmla="*/ 6 h 73"/>
                  <a:gd name="T10" fmla="*/ 28 w 120"/>
                  <a:gd name="T11" fmla="*/ 5 h 73"/>
                  <a:gd name="T12" fmla="*/ 28 w 120"/>
                  <a:gd name="T13" fmla="*/ 21 h 73"/>
                  <a:gd name="T14" fmla="*/ 16 w 120"/>
                  <a:gd name="T15" fmla="*/ 25 h 73"/>
                  <a:gd name="T16" fmla="*/ 20 w 120"/>
                  <a:gd name="T17" fmla="*/ 33 h 73"/>
                  <a:gd name="T18" fmla="*/ 24 w 120"/>
                  <a:gd name="T19" fmla="*/ 39 h 73"/>
                  <a:gd name="T20" fmla="*/ 35 w 120"/>
                  <a:gd name="T21" fmla="*/ 42 h 73"/>
                  <a:gd name="T22" fmla="*/ 42 w 120"/>
                  <a:gd name="T23" fmla="*/ 35 h 73"/>
                  <a:gd name="T24" fmla="*/ 55 w 120"/>
                  <a:gd name="T25" fmla="*/ 35 h 73"/>
                  <a:gd name="T26" fmla="*/ 66 w 120"/>
                  <a:gd name="T27" fmla="*/ 43 h 73"/>
                  <a:gd name="T28" fmla="*/ 66 w 120"/>
                  <a:gd name="T29" fmla="*/ 43 h 73"/>
                  <a:gd name="T30" fmla="*/ 71 w 120"/>
                  <a:gd name="T31" fmla="*/ 40 h 73"/>
                  <a:gd name="T32" fmla="*/ 71 w 120"/>
                  <a:gd name="T33" fmla="*/ 32 h 73"/>
                  <a:gd name="T34" fmla="*/ 91 w 120"/>
                  <a:gd name="T35" fmla="*/ 50 h 73"/>
                  <a:gd name="T36" fmla="*/ 101 w 120"/>
                  <a:gd name="T37" fmla="*/ 61 h 73"/>
                  <a:gd name="T38" fmla="*/ 111 w 120"/>
                  <a:gd name="T39" fmla="*/ 62 h 73"/>
                  <a:gd name="T40" fmla="*/ 113 w 120"/>
                  <a:gd name="T41" fmla="*/ 61 h 73"/>
                  <a:gd name="T42" fmla="*/ 115 w 120"/>
                  <a:gd name="T43" fmla="*/ 61 h 73"/>
                  <a:gd name="T44" fmla="*/ 113 w 120"/>
                  <a:gd name="T45" fmla="*/ 65 h 73"/>
                  <a:gd name="T46" fmla="*/ 112 w 120"/>
                  <a:gd name="T47" fmla="*/ 64 h 73"/>
                  <a:gd name="T48" fmla="*/ 110 w 120"/>
                  <a:gd name="T49" fmla="*/ 65 h 73"/>
                  <a:gd name="T50" fmla="*/ 120 w 120"/>
                  <a:gd name="T51" fmla="*/ 59 h 73"/>
                  <a:gd name="T52" fmla="*/ 112 w 120"/>
                  <a:gd name="T53" fmla="*/ 57 h 73"/>
                  <a:gd name="T54" fmla="*/ 111 w 120"/>
                  <a:gd name="T55" fmla="*/ 53 h 73"/>
                  <a:gd name="T56" fmla="*/ 102 w 120"/>
                  <a:gd name="T57" fmla="*/ 39 h 73"/>
                  <a:gd name="T58" fmla="*/ 107 w 120"/>
                  <a:gd name="T59" fmla="*/ 39 h 73"/>
                  <a:gd name="T60" fmla="*/ 110 w 120"/>
                  <a:gd name="T61" fmla="*/ 39 h 73"/>
                  <a:gd name="T62" fmla="*/ 114 w 120"/>
                  <a:gd name="T63" fmla="*/ 39 h 73"/>
                  <a:gd name="T64" fmla="*/ 96 w 120"/>
                  <a:gd name="T65" fmla="*/ 28 h 73"/>
                  <a:gd name="T66" fmla="*/ 95 w 120"/>
                  <a:gd name="T67" fmla="*/ 35 h 73"/>
                  <a:gd name="T68" fmla="*/ 87 w 120"/>
                  <a:gd name="T69" fmla="*/ 29 h 73"/>
                  <a:gd name="T70" fmla="*/ 73 w 120"/>
                  <a:gd name="T71" fmla="*/ 20 h 73"/>
                  <a:gd name="T72" fmla="*/ 64 w 120"/>
                  <a:gd name="T73" fmla="*/ 31 h 73"/>
                  <a:gd name="T74" fmla="*/ 63 w 120"/>
                  <a:gd name="T75" fmla="*/ 34 h 73"/>
                  <a:gd name="T76" fmla="*/ 49 w 120"/>
                  <a:gd name="T77" fmla="*/ 21 h 73"/>
                  <a:gd name="T78" fmla="*/ 44 w 120"/>
                  <a:gd name="T79" fmla="*/ 1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0" h="73">
                    <a:moveTo>
                      <a:pt x="43" y="0"/>
                    </a:moveTo>
                    <a:cubicBezTo>
                      <a:pt x="0" y="0"/>
                      <a:pt x="0" y="0"/>
                      <a:pt x="0" y="0"/>
                    </a:cubicBezTo>
                    <a:cubicBezTo>
                      <a:pt x="0" y="2"/>
                      <a:pt x="1" y="5"/>
                      <a:pt x="1" y="7"/>
                    </a:cubicBezTo>
                    <a:cubicBezTo>
                      <a:pt x="2" y="7"/>
                      <a:pt x="2" y="7"/>
                      <a:pt x="2" y="7"/>
                    </a:cubicBezTo>
                    <a:cubicBezTo>
                      <a:pt x="4" y="7"/>
                      <a:pt x="6" y="7"/>
                      <a:pt x="7" y="7"/>
                    </a:cubicBezTo>
                    <a:cubicBezTo>
                      <a:pt x="4" y="12"/>
                      <a:pt x="8" y="10"/>
                      <a:pt x="10" y="13"/>
                    </a:cubicBezTo>
                    <a:cubicBezTo>
                      <a:pt x="10" y="14"/>
                      <a:pt x="9" y="15"/>
                      <a:pt x="10" y="16"/>
                    </a:cubicBezTo>
                    <a:cubicBezTo>
                      <a:pt x="10" y="17"/>
                      <a:pt x="10" y="17"/>
                      <a:pt x="12" y="18"/>
                    </a:cubicBezTo>
                    <a:cubicBezTo>
                      <a:pt x="12" y="18"/>
                      <a:pt x="13" y="18"/>
                      <a:pt x="13" y="18"/>
                    </a:cubicBezTo>
                    <a:cubicBezTo>
                      <a:pt x="17" y="18"/>
                      <a:pt x="15" y="9"/>
                      <a:pt x="15" y="6"/>
                    </a:cubicBezTo>
                    <a:cubicBezTo>
                      <a:pt x="17" y="7"/>
                      <a:pt x="19" y="8"/>
                      <a:pt x="21" y="9"/>
                    </a:cubicBezTo>
                    <a:cubicBezTo>
                      <a:pt x="23" y="7"/>
                      <a:pt x="25" y="5"/>
                      <a:pt x="28" y="5"/>
                    </a:cubicBezTo>
                    <a:cubicBezTo>
                      <a:pt x="32" y="5"/>
                      <a:pt x="36" y="9"/>
                      <a:pt x="36" y="13"/>
                    </a:cubicBezTo>
                    <a:cubicBezTo>
                      <a:pt x="36" y="18"/>
                      <a:pt x="32" y="21"/>
                      <a:pt x="28" y="21"/>
                    </a:cubicBezTo>
                    <a:cubicBezTo>
                      <a:pt x="26" y="21"/>
                      <a:pt x="24" y="20"/>
                      <a:pt x="23" y="19"/>
                    </a:cubicBezTo>
                    <a:cubicBezTo>
                      <a:pt x="20" y="21"/>
                      <a:pt x="16" y="23"/>
                      <a:pt x="16" y="25"/>
                    </a:cubicBezTo>
                    <a:cubicBezTo>
                      <a:pt x="17" y="29"/>
                      <a:pt x="17" y="33"/>
                      <a:pt x="18" y="37"/>
                    </a:cubicBezTo>
                    <a:cubicBezTo>
                      <a:pt x="19" y="35"/>
                      <a:pt x="20" y="33"/>
                      <a:pt x="20" y="33"/>
                    </a:cubicBezTo>
                    <a:cubicBezTo>
                      <a:pt x="21" y="33"/>
                      <a:pt x="22" y="34"/>
                      <a:pt x="25" y="36"/>
                    </a:cubicBezTo>
                    <a:cubicBezTo>
                      <a:pt x="27" y="38"/>
                      <a:pt x="23" y="38"/>
                      <a:pt x="24" y="39"/>
                    </a:cubicBezTo>
                    <a:cubicBezTo>
                      <a:pt x="25" y="40"/>
                      <a:pt x="29" y="42"/>
                      <a:pt x="31" y="42"/>
                    </a:cubicBezTo>
                    <a:cubicBezTo>
                      <a:pt x="32" y="42"/>
                      <a:pt x="33" y="42"/>
                      <a:pt x="35" y="42"/>
                    </a:cubicBezTo>
                    <a:cubicBezTo>
                      <a:pt x="35" y="42"/>
                      <a:pt x="36" y="42"/>
                      <a:pt x="36" y="42"/>
                    </a:cubicBezTo>
                    <a:cubicBezTo>
                      <a:pt x="39" y="41"/>
                      <a:pt x="40" y="37"/>
                      <a:pt x="42" y="35"/>
                    </a:cubicBezTo>
                    <a:cubicBezTo>
                      <a:pt x="45" y="34"/>
                      <a:pt x="47" y="33"/>
                      <a:pt x="49" y="33"/>
                    </a:cubicBezTo>
                    <a:cubicBezTo>
                      <a:pt x="50" y="33"/>
                      <a:pt x="52" y="33"/>
                      <a:pt x="55" y="35"/>
                    </a:cubicBezTo>
                    <a:cubicBezTo>
                      <a:pt x="56" y="36"/>
                      <a:pt x="58" y="36"/>
                      <a:pt x="60" y="38"/>
                    </a:cubicBezTo>
                    <a:cubicBezTo>
                      <a:pt x="62" y="39"/>
                      <a:pt x="62" y="43"/>
                      <a:pt x="66" y="43"/>
                    </a:cubicBezTo>
                    <a:cubicBezTo>
                      <a:pt x="66" y="43"/>
                      <a:pt x="66" y="43"/>
                      <a:pt x="66" y="43"/>
                    </a:cubicBezTo>
                    <a:cubicBezTo>
                      <a:pt x="66" y="43"/>
                      <a:pt x="66" y="43"/>
                      <a:pt x="66" y="43"/>
                    </a:cubicBezTo>
                    <a:cubicBezTo>
                      <a:pt x="71" y="43"/>
                      <a:pt x="71" y="53"/>
                      <a:pt x="74" y="55"/>
                    </a:cubicBezTo>
                    <a:cubicBezTo>
                      <a:pt x="73" y="50"/>
                      <a:pt x="72" y="45"/>
                      <a:pt x="71" y="40"/>
                    </a:cubicBezTo>
                    <a:cubicBezTo>
                      <a:pt x="71" y="38"/>
                      <a:pt x="71" y="34"/>
                      <a:pt x="69" y="33"/>
                    </a:cubicBezTo>
                    <a:cubicBezTo>
                      <a:pt x="70" y="33"/>
                      <a:pt x="71" y="32"/>
                      <a:pt x="71" y="32"/>
                    </a:cubicBezTo>
                    <a:cubicBezTo>
                      <a:pt x="74" y="32"/>
                      <a:pt x="75" y="34"/>
                      <a:pt x="77" y="36"/>
                    </a:cubicBezTo>
                    <a:cubicBezTo>
                      <a:pt x="82" y="41"/>
                      <a:pt x="87" y="45"/>
                      <a:pt x="91" y="50"/>
                    </a:cubicBezTo>
                    <a:cubicBezTo>
                      <a:pt x="94" y="53"/>
                      <a:pt x="95" y="53"/>
                      <a:pt x="94" y="58"/>
                    </a:cubicBezTo>
                    <a:cubicBezTo>
                      <a:pt x="94" y="59"/>
                      <a:pt x="100" y="61"/>
                      <a:pt x="101" y="61"/>
                    </a:cubicBezTo>
                    <a:cubicBezTo>
                      <a:pt x="105" y="62"/>
                      <a:pt x="107" y="63"/>
                      <a:pt x="108" y="63"/>
                    </a:cubicBezTo>
                    <a:cubicBezTo>
                      <a:pt x="109" y="63"/>
                      <a:pt x="110" y="63"/>
                      <a:pt x="111" y="62"/>
                    </a:cubicBezTo>
                    <a:cubicBezTo>
                      <a:pt x="112" y="62"/>
                      <a:pt x="111" y="61"/>
                      <a:pt x="112" y="61"/>
                    </a:cubicBezTo>
                    <a:cubicBezTo>
                      <a:pt x="112" y="61"/>
                      <a:pt x="112" y="61"/>
                      <a:pt x="113" y="61"/>
                    </a:cubicBezTo>
                    <a:cubicBezTo>
                      <a:pt x="113" y="61"/>
                      <a:pt x="113" y="61"/>
                      <a:pt x="114" y="61"/>
                    </a:cubicBezTo>
                    <a:cubicBezTo>
                      <a:pt x="114" y="61"/>
                      <a:pt x="115" y="61"/>
                      <a:pt x="115" y="61"/>
                    </a:cubicBezTo>
                    <a:cubicBezTo>
                      <a:pt x="115" y="61"/>
                      <a:pt x="115" y="61"/>
                      <a:pt x="115" y="61"/>
                    </a:cubicBezTo>
                    <a:cubicBezTo>
                      <a:pt x="115" y="62"/>
                      <a:pt x="114" y="64"/>
                      <a:pt x="113" y="65"/>
                    </a:cubicBezTo>
                    <a:cubicBezTo>
                      <a:pt x="113" y="65"/>
                      <a:pt x="112" y="65"/>
                      <a:pt x="112" y="65"/>
                    </a:cubicBezTo>
                    <a:cubicBezTo>
                      <a:pt x="112" y="65"/>
                      <a:pt x="112" y="65"/>
                      <a:pt x="112" y="64"/>
                    </a:cubicBezTo>
                    <a:cubicBezTo>
                      <a:pt x="111" y="64"/>
                      <a:pt x="111" y="64"/>
                      <a:pt x="111" y="64"/>
                    </a:cubicBezTo>
                    <a:cubicBezTo>
                      <a:pt x="111" y="64"/>
                      <a:pt x="111" y="64"/>
                      <a:pt x="110" y="65"/>
                    </a:cubicBezTo>
                    <a:cubicBezTo>
                      <a:pt x="109" y="68"/>
                      <a:pt x="116" y="72"/>
                      <a:pt x="118" y="73"/>
                    </a:cubicBezTo>
                    <a:cubicBezTo>
                      <a:pt x="118" y="71"/>
                      <a:pt x="120" y="59"/>
                      <a:pt x="120" y="59"/>
                    </a:cubicBezTo>
                    <a:cubicBezTo>
                      <a:pt x="118" y="58"/>
                      <a:pt x="116" y="57"/>
                      <a:pt x="114" y="57"/>
                    </a:cubicBezTo>
                    <a:cubicBezTo>
                      <a:pt x="113" y="57"/>
                      <a:pt x="113" y="57"/>
                      <a:pt x="112" y="57"/>
                    </a:cubicBezTo>
                    <a:cubicBezTo>
                      <a:pt x="109" y="59"/>
                      <a:pt x="109" y="59"/>
                      <a:pt x="109" y="59"/>
                    </a:cubicBezTo>
                    <a:cubicBezTo>
                      <a:pt x="107" y="58"/>
                      <a:pt x="109" y="53"/>
                      <a:pt x="111" y="53"/>
                    </a:cubicBezTo>
                    <a:cubicBezTo>
                      <a:pt x="111" y="53"/>
                      <a:pt x="111" y="53"/>
                      <a:pt x="111" y="53"/>
                    </a:cubicBezTo>
                    <a:cubicBezTo>
                      <a:pt x="109" y="51"/>
                      <a:pt x="99" y="42"/>
                      <a:pt x="102" y="39"/>
                    </a:cubicBezTo>
                    <a:cubicBezTo>
                      <a:pt x="103" y="39"/>
                      <a:pt x="103" y="39"/>
                      <a:pt x="104" y="39"/>
                    </a:cubicBezTo>
                    <a:cubicBezTo>
                      <a:pt x="105" y="39"/>
                      <a:pt x="106" y="39"/>
                      <a:pt x="107" y="39"/>
                    </a:cubicBezTo>
                    <a:cubicBezTo>
                      <a:pt x="107" y="39"/>
                      <a:pt x="107" y="39"/>
                      <a:pt x="107" y="39"/>
                    </a:cubicBezTo>
                    <a:cubicBezTo>
                      <a:pt x="108" y="39"/>
                      <a:pt x="109" y="39"/>
                      <a:pt x="110" y="39"/>
                    </a:cubicBezTo>
                    <a:cubicBezTo>
                      <a:pt x="111" y="39"/>
                      <a:pt x="112" y="39"/>
                      <a:pt x="113" y="39"/>
                    </a:cubicBezTo>
                    <a:cubicBezTo>
                      <a:pt x="113" y="39"/>
                      <a:pt x="114" y="39"/>
                      <a:pt x="114" y="39"/>
                    </a:cubicBezTo>
                    <a:cubicBezTo>
                      <a:pt x="113" y="32"/>
                      <a:pt x="99" y="32"/>
                      <a:pt x="96" y="30"/>
                    </a:cubicBezTo>
                    <a:cubicBezTo>
                      <a:pt x="96" y="29"/>
                      <a:pt x="96" y="29"/>
                      <a:pt x="96" y="28"/>
                    </a:cubicBezTo>
                    <a:cubicBezTo>
                      <a:pt x="95" y="29"/>
                      <a:pt x="95" y="31"/>
                      <a:pt x="95" y="33"/>
                    </a:cubicBezTo>
                    <a:cubicBezTo>
                      <a:pt x="95" y="35"/>
                      <a:pt x="95" y="35"/>
                      <a:pt x="95" y="35"/>
                    </a:cubicBezTo>
                    <a:cubicBezTo>
                      <a:pt x="94" y="38"/>
                      <a:pt x="91" y="38"/>
                      <a:pt x="89" y="40"/>
                    </a:cubicBezTo>
                    <a:cubicBezTo>
                      <a:pt x="86" y="36"/>
                      <a:pt x="89" y="33"/>
                      <a:pt x="87" y="29"/>
                    </a:cubicBezTo>
                    <a:cubicBezTo>
                      <a:pt x="86" y="28"/>
                      <a:pt x="85" y="25"/>
                      <a:pt x="83" y="24"/>
                    </a:cubicBezTo>
                    <a:cubicBezTo>
                      <a:pt x="80" y="22"/>
                      <a:pt x="77" y="20"/>
                      <a:pt x="73" y="20"/>
                    </a:cubicBezTo>
                    <a:cubicBezTo>
                      <a:pt x="73" y="20"/>
                      <a:pt x="72" y="20"/>
                      <a:pt x="71" y="21"/>
                    </a:cubicBezTo>
                    <a:cubicBezTo>
                      <a:pt x="67" y="22"/>
                      <a:pt x="67" y="31"/>
                      <a:pt x="64" y="31"/>
                    </a:cubicBezTo>
                    <a:cubicBezTo>
                      <a:pt x="63" y="31"/>
                      <a:pt x="63" y="31"/>
                      <a:pt x="62" y="31"/>
                    </a:cubicBezTo>
                    <a:cubicBezTo>
                      <a:pt x="63" y="31"/>
                      <a:pt x="63" y="33"/>
                      <a:pt x="63" y="34"/>
                    </a:cubicBezTo>
                    <a:cubicBezTo>
                      <a:pt x="60" y="33"/>
                      <a:pt x="57" y="32"/>
                      <a:pt x="54" y="30"/>
                    </a:cubicBezTo>
                    <a:cubicBezTo>
                      <a:pt x="50" y="28"/>
                      <a:pt x="50" y="25"/>
                      <a:pt x="49" y="21"/>
                    </a:cubicBezTo>
                    <a:cubicBezTo>
                      <a:pt x="49" y="18"/>
                      <a:pt x="49" y="13"/>
                      <a:pt x="49" y="10"/>
                    </a:cubicBezTo>
                    <a:cubicBezTo>
                      <a:pt x="48" y="7"/>
                      <a:pt x="45" y="4"/>
                      <a:pt x="44" y="1"/>
                    </a:cubicBezTo>
                    <a:cubicBezTo>
                      <a:pt x="44" y="1"/>
                      <a:pt x="44" y="0"/>
                      <a:pt x="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1155"/>
              <p:cNvSpPr/>
              <p:nvPr/>
            </p:nvSpPr>
            <p:spPr bwMode="auto">
              <a:xfrm>
                <a:off x="1724" y="251"/>
                <a:ext cx="173" cy="215"/>
              </a:xfrm>
              <a:custGeom>
                <a:gdLst>
                  <a:gd name="T0" fmla="*/ 66 w 73"/>
                  <a:gd name="T1" fmla="*/ 0 h 91"/>
                  <a:gd name="T2" fmla="*/ 62 w 73"/>
                  <a:gd name="T3" fmla="*/ 15 h 91"/>
                  <a:gd name="T4" fmla="*/ 66 w 73"/>
                  <a:gd name="T5" fmla="*/ 21 h 91"/>
                  <a:gd name="T6" fmla="*/ 65 w 73"/>
                  <a:gd name="T7" fmla="*/ 21 h 91"/>
                  <a:gd name="T8" fmla="*/ 61 w 73"/>
                  <a:gd name="T9" fmla="*/ 17 h 91"/>
                  <a:gd name="T10" fmla="*/ 59 w 73"/>
                  <a:gd name="T11" fmla="*/ 15 h 91"/>
                  <a:gd name="T12" fmla="*/ 59 w 73"/>
                  <a:gd name="T13" fmla="*/ 17 h 91"/>
                  <a:gd name="T14" fmla="*/ 60 w 73"/>
                  <a:gd name="T15" fmla="*/ 26 h 91"/>
                  <a:gd name="T16" fmla="*/ 56 w 73"/>
                  <a:gd name="T17" fmla="*/ 31 h 91"/>
                  <a:gd name="T18" fmla="*/ 56 w 73"/>
                  <a:gd name="T19" fmla="*/ 29 h 91"/>
                  <a:gd name="T20" fmla="*/ 48 w 73"/>
                  <a:gd name="T21" fmla="*/ 40 h 91"/>
                  <a:gd name="T22" fmla="*/ 46 w 73"/>
                  <a:gd name="T23" fmla="*/ 42 h 91"/>
                  <a:gd name="T24" fmla="*/ 46 w 73"/>
                  <a:gd name="T25" fmla="*/ 40 h 91"/>
                  <a:gd name="T26" fmla="*/ 32 w 73"/>
                  <a:gd name="T27" fmla="*/ 56 h 91"/>
                  <a:gd name="T28" fmla="*/ 24 w 73"/>
                  <a:gd name="T29" fmla="*/ 64 h 91"/>
                  <a:gd name="T30" fmla="*/ 23 w 73"/>
                  <a:gd name="T31" fmla="*/ 64 h 91"/>
                  <a:gd name="T32" fmla="*/ 12 w 73"/>
                  <a:gd name="T33" fmla="*/ 73 h 91"/>
                  <a:gd name="T34" fmla="*/ 3 w 73"/>
                  <a:gd name="T35" fmla="*/ 82 h 91"/>
                  <a:gd name="T36" fmla="*/ 0 w 73"/>
                  <a:gd name="T37" fmla="*/ 91 h 91"/>
                  <a:gd name="T38" fmla="*/ 20 w 73"/>
                  <a:gd name="T39" fmla="*/ 76 h 91"/>
                  <a:gd name="T40" fmla="*/ 38 w 73"/>
                  <a:gd name="T41" fmla="*/ 63 h 91"/>
                  <a:gd name="T42" fmla="*/ 42 w 73"/>
                  <a:gd name="T43" fmla="*/ 56 h 91"/>
                  <a:gd name="T44" fmla="*/ 45 w 73"/>
                  <a:gd name="T45" fmla="*/ 52 h 91"/>
                  <a:gd name="T46" fmla="*/ 50 w 73"/>
                  <a:gd name="T47" fmla="*/ 43 h 91"/>
                  <a:gd name="T48" fmla="*/ 55 w 73"/>
                  <a:gd name="T49" fmla="*/ 42 h 91"/>
                  <a:gd name="T50" fmla="*/ 64 w 73"/>
                  <a:gd name="T51" fmla="*/ 32 h 91"/>
                  <a:gd name="T52" fmla="*/ 73 w 73"/>
                  <a:gd name="T53" fmla="*/ 27 h 91"/>
                  <a:gd name="T54" fmla="*/ 72 w 73"/>
                  <a:gd name="T55" fmla="*/ 26 h 91"/>
                  <a:gd name="T56" fmla="*/ 71 w 73"/>
                  <a:gd name="T57" fmla="*/ 22 h 91"/>
                  <a:gd name="T58" fmla="*/ 69 w 73"/>
                  <a:gd name="T59" fmla="*/ 23 h 91"/>
                  <a:gd name="T60" fmla="*/ 70 w 73"/>
                  <a:gd name="T61" fmla="*/ 20 h 91"/>
                  <a:gd name="T62" fmla="*/ 69 w 73"/>
                  <a:gd name="T63" fmla="*/ 18 h 91"/>
                  <a:gd name="T64" fmla="*/ 69 w 73"/>
                  <a:gd name="T65" fmla="*/ 18 h 91"/>
                  <a:gd name="T66" fmla="*/ 68 w 73"/>
                  <a:gd name="T67" fmla="*/ 18 h 91"/>
                  <a:gd name="T68" fmla="*/ 68 w 73"/>
                  <a:gd name="T69" fmla="*/ 18 h 91"/>
                  <a:gd name="T70" fmla="*/ 67 w 73"/>
                  <a:gd name="T71" fmla="*/ 17 h 91"/>
                  <a:gd name="T72" fmla="*/ 69 w 73"/>
                  <a:gd name="T73" fmla="*/ 11 h 91"/>
                  <a:gd name="T74" fmla="*/ 68 w 73"/>
                  <a:gd name="T75" fmla="*/ 11 h 91"/>
                  <a:gd name="T76" fmla="*/ 69 w 73"/>
                  <a:gd name="T77" fmla="*/ 7 h 91"/>
                  <a:gd name="T78" fmla="*/ 66 w 73"/>
                  <a:gd name="T79" fmla="*/ 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91">
                    <a:moveTo>
                      <a:pt x="66" y="0"/>
                    </a:moveTo>
                    <a:cubicBezTo>
                      <a:pt x="65" y="4"/>
                      <a:pt x="61" y="10"/>
                      <a:pt x="62" y="15"/>
                    </a:cubicBezTo>
                    <a:cubicBezTo>
                      <a:pt x="62" y="16"/>
                      <a:pt x="65" y="19"/>
                      <a:pt x="66" y="21"/>
                    </a:cubicBezTo>
                    <a:cubicBezTo>
                      <a:pt x="65" y="21"/>
                      <a:pt x="65" y="21"/>
                      <a:pt x="65" y="21"/>
                    </a:cubicBezTo>
                    <a:cubicBezTo>
                      <a:pt x="65" y="20"/>
                      <a:pt x="62" y="17"/>
                      <a:pt x="61" y="17"/>
                    </a:cubicBezTo>
                    <a:cubicBezTo>
                      <a:pt x="60" y="16"/>
                      <a:pt x="60" y="15"/>
                      <a:pt x="59" y="15"/>
                    </a:cubicBezTo>
                    <a:cubicBezTo>
                      <a:pt x="59" y="15"/>
                      <a:pt x="59" y="16"/>
                      <a:pt x="59" y="17"/>
                    </a:cubicBezTo>
                    <a:cubicBezTo>
                      <a:pt x="58" y="19"/>
                      <a:pt x="60" y="24"/>
                      <a:pt x="60" y="26"/>
                    </a:cubicBezTo>
                    <a:cubicBezTo>
                      <a:pt x="60" y="28"/>
                      <a:pt x="57" y="31"/>
                      <a:pt x="56" y="31"/>
                    </a:cubicBezTo>
                    <a:cubicBezTo>
                      <a:pt x="56" y="31"/>
                      <a:pt x="56" y="30"/>
                      <a:pt x="56" y="29"/>
                    </a:cubicBezTo>
                    <a:cubicBezTo>
                      <a:pt x="54" y="32"/>
                      <a:pt x="51" y="38"/>
                      <a:pt x="48" y="40"/>
                    </a:cubicBezTo>
                    <a:cubicBezTo>
                      <a:pt x="47" y="41"/>
                      <a:pt x="46" y="42"/>
                      <a:pt x="46" y="42"/>
                    </a:cubicBezTo>
                    <a:cubicBezTo>
                      <a:pt x="46" y="42"/>
                      <a:pt x="46" y="41"/>
                      <a:pt x="46" y="40"/>
                    </a:cubicBezTo>
                    <a:cubicBezTo>
                      <a:pt x="41" y="45"/>
                      <a:pt x="36" y="51"/>
                      <a:pt x="32" y="56"/>
                    </a:cubicBezTo>
                    <a:cubicBezTo>
                      <a:pt x="31" y="57"/>
                      <a:pt x="26" y="64"/>
                      <a:pt x="24" y="64"/>
                    </a:cubicBezTo>
                    <a:cubicBezTo>
                      <a:pt x="23" y="64"/>
                      <a:pt x="23" y="64"/>
                      <a:pt x="23" y="64"/>
                    </a:cubicBezTo>
                    <a:cubicBezTo>
                      <a:pt x="19" y="64"/>
                      <a:pt x="16" y="70"/>
                      <a:pt x="12" y="73"/>
                    </a:cubicBezTo>
                    <a:cubicBezTo>
                      <a:pt x="9" y="76"/>
                      <a:pt x="6" y="79"/>
                      <a:pt x="3" y="82"/>
                    </a:cubicBezTo>
                    <a:cubicBezTo>
                      <a:pt x="1" y="85"/>
                      <a:pt x="1" y="88"/>
                      <a:pt x="0" y="91"/>
                    </a:cubicBezTo>
                    <a:cubicBezTo>
                      <a:pt x="7" y="86"/>
                      <a:pt x="13" y="81"/>
                      <a:pt x="20" y="76"/>
                    </a:cubicBezTo>
                    <a:cubicBezTo>
                      <a:pt x="25" y="72"/>
                      <a:pt x="34" y="68"/>
                      <a:pt x="38" y="63"/>
                    </a:cubicBezTo>
                    <a:cubicBezTo>
                      <a:pt x="39" y="60"/>
                      <a:pt x="41" y="58"/>
                      <a:pt x="42" y="56"/>
                    </a:cubicBezTo>
                    <a:cubicBezTo>
                      <a:pt x="43" y="55"/>
                      <a:pt x="47" y="52"/>
                      <a:pt x="45" y="52"/>
                    </a:cubicBezTo>
                    <a:cubicBezTo>
                      <a:pt x="49" y="48"/>
                      <a:pt x="43" y="45"/>
                      <a:pt x="50" y="43"/>
                    </a:cubicBezTo>
                    <a:cubicBezTo>
                      <a:pt x="51" y="43"/>
                      <a:pt x="53" y="42"/>
                      <a:pt x="55" y="42"/>
                    </a:cubicBezTo>
                    <a:cubicBezTo>
                      <a:pt x="60" y="40"/>
                      <a:pt x="59" y="34"/>
                      <a:pt x="64" y="32"/>
                    </a:cubicBezTo>
                    <a:cubicBezTo>
                      <a:pt x="66" y="31"/>
                      <a:pt x="73" y="29"/>
                      <a:pt x="73" y="27"/>
                    </a:cubicBezTo>
                    <a:cubicBezTo>
                      <a:pt x="73" y="27"/>
                      <a:pt x="72" y="26"/>
                      <a:pt x="72" y="26"/>
                    </a:cubicBezTo>
                    <a:cubicBezTo>
                      <a:pt x="72" y="24"/>
                      <a:pt x="72" y="22"/>
                      <a:pt x="71" y="22"/>
                    </a:cubicBezTo>
                    <a:cubicBezTo>
                      <a:pt x="71" y="22"/>
                      <a:pt x="70" y="23"/>
                      <a:pt x="69" y="23"/>
                    </a:cubicBezTo>
                    <a:cubicBezTo>
                      <a:pt x="70" y="22"/>
                      <a:pt x="70" y="21"/>
                      <a:pt x="70" y="20"/>
                    </a:cubicBezTo>
                    <a:cubicBezTo>
                      <a:pt x="69" y="18"/>
                      <a:pt x="69" y="18"/>
                      <a:pt x="69" y="18"/>
                    </a:cubicBezTo>
                    <a:cubicBezTo>
                      <a:pt x="69" y="18"/>
                      <a:pt x="69" y="18"/>
                      <a:pt x="69" y="18"/>
                    </a:cubicBezTo>
                    <a:cubicBezTo>
                      <a:pt x="69" y="18"/>
                      <a:pt x="68" y="18"/>
                      <a:pt x="68" y="18"/>
                    </a:cubicBezTo>
                    <a:cubicBezTo>
                      <a:pt x="68" y="18"/>
                      <a:pt x="68" y="18"/>
                      <a:pt x="68" y="18"/>
                    </a:cubicBezTo>
                    <a:cubicBezTo>
                      <a:pt x="68" y="18"/>
                      <a:pt x="67" y="17"/>
                      <a:pt x="67" y="17"/>
                    </a:cubicBezTo>
                    <a:cubicBezTo>
                      <a:pt x="67" y="14"/>
                      <a:pt x="70" y="13"/>
                      <a:pt x="69" y="11"/>
                    </a:cubicBezTo>
                    <a:cubicBezTo>
                      <a:pt x="69" y="11"/>
                      <a:pt x="68" y="11"/>
                      <a:pt x="68" y="11"/>
                    </a:cubicBezTo>
                    <a:cubicBezTo>
                      <a:pt x="66" y="11"/>
                      <a:pt x="68" y="8"/>
                      <a:pt x="69" y="7"/>
                    </a:cubicBezTo>
                    <a:cubicBezTo>
                      <a:pt x="69" y="2"/>
                      <a:pt x="67" y="5"/>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Freeform 1156"/>
              <p:cNvSpPr/>
              <p:nvPr/>
            </p:nvSpPr>
            <p:spPr bwMode="auto">
              <a:xfrm>
                <a:off x="2142" y="263"/>
                <a:ext cx="55" cy="130"/>
              </a:xfrm>
              <a:custGeom>
                <a:gdLst>
                  <a:gd name="T0" fmla="*/ 22 w 23"/>
                  <a:gd name="T1" fmla="*/ 0 h 55"/>
                  <a:gd name="T2" fmla="*/ 18 w 23"/>
                  <a:gd name="T3" fmla="*/ 8 h 55"/>
                  <a:gd name="T4" fmla="*/ 15 w 23"/>
                  <a:gd name="T5" fmla="*/ 17 h 55"/>
                  <a:gd name="T6" fmla="*/ 7 w 23"/>
                  <a:gd name="T7" fmla="*/ 32 h 55"/>
                  <a:gd name="T8" fmla="*/ 3 w 23"/>
                  <a:gd name="T9" fmla="*/ 41 h 55"/>
                  <a:gd name="T10" fmla="*/ 1 w 23"/>
                  <a:gd name="T11" fmla="*/ 55 h 55"/>
                  <a:gd name="T12" fmla="*/ 13 w 23"/>
                  <a:gd name="T13" fmla="*/ 33 h 55"/>
                  <a:gd name="T14" fmla="*/ 22 w 23"/>
                  <a:gd name="T15" fmla="*/ 23 h 55"/>
                  <a:gd name="T16" fmla="*/ 21 w 23"/>
                  <a:gd name="T17" fmla="*/ 17 h 55"/>
                  <a:gd name="T18" fmla="*/ 22 w 23"/>
                  <a:gd name="T19" fmla="*/ 0 h 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55">
                    <a:moveTo>
                      <a:pt x="22" y="0"/>
                    </a:moveTo>
                    <a:cubicBezTo>
                      <a:pt x="19" y="0"/>
                      <a:pt x="19" y="6"/>
                      <a:pt x="18" y="8"/>
                    </a:cubicBezTo>
                    <a:cubicBezTo>
                      <a:pt x="18" y="11"/>
                      <a:pt x="16" y="14"/>
                      <a:pt x="15" y="17"/>
                    </a:cubicBezTo>
                    <a:cubicBezTo>
                      <a:pt x="12" y="22"/>
                      <a:pt x="10" y="28"/>
                      <a:pt x="7" y="32"/>
                    </a:cubicBezTo>
                    <a:cubicBezTo>
                      <a:pt x="4" y="36"/>
                      <a:pt x="3" y="38"/>
                      <a:pt x="3" y="41"/>
                    </a:cubicBezTo>
                    <a:cubicBezTo>
                      <a:pt x="2" y="46"/>
                      <a:pt x="0" y="50"/>
                      <a:pt x="1" y="55"/>
                    </a:cubicBezTo>
                    <a:cubicBezTo>
                      <a:pt x="5" y="48"/>
                      <a:pt x="7" y="38"/>
                      <a:pt x="13" y="33"/>
                    </a:cubicBezTo>
                    <a:cubicBezTo>
                      <a:pt x="16" y="29"/>
                      <a:pt x="21" y="28"/>
                      <a:pt x="22" y="23"/>
                    </a:cubicBezTo>
                    <a:cubicBezTo>
                      <a:pt x="22" y="21"/>
                      <a:pt x="21" y="19"/>
                      <a:pt x="21" y="17"/>
                    </a:cubicBezTo>
                    <a:cubicBezTo>
                      <a:pt x="21" y="11"/>
                      <a:pt x="23" y="6"/>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1157"/>
              <p:cNvSpPr/>
              <p:nvPr/>
            </p:nvSpPr>
            <p:spPr bwMode="auto">
              <a:xfrm>
                <a:off x="2131" y="171"/>
                <a:ext cx="66" cy="61"/>
              </a:xfrm>
              <a:custGeom>
                <a:gdLst>
                  <a:gd name="T0" fmla="*/ 4 w 28"/>
                  <a:gd name="T1" fmla="*/ 0 h 26"/>
                  <a:gd name="T2" fmla="*/ 4 w 28"/>
                  <a:gd name="T3" fmla="*/ 7 h 26"/>
                  <a:gd name="T4" fmla="*/ 3 w 28"/>
                  <a:gd name="T5" fmla="*/ 11 h 26"/>
                  <a:gd name="T6" fmla="*/ 4 w 28"/>
                  <a:gd name="T7" fmla="*/ 11 h 26"/>
                  <a:gd name="T8" fmla="*/ 4 w 28"/>
                  <a:gd name="T9" fmla="*/ 11 h 26"/>
                  <a:gd name="T10" fmla="*/ 4 w 28"/>
                  <a:gd name="T11" fmla="*/ 11 h 26"/>
                  <a:gd name="T12" fmla="*/ 4 w 28"/>
                  <a:gd name="T13" fmla="*/ 11 h 26"/>
                  <a:gd name="T14" fmla="*/ 5 w 28"/>
                  <a:gd name="T15" fmla="*/ 11 h 26"/>
                  <a:gd name="T16" fmla="*/ 5 w 28"/>
                  <a:gd name="T17" fmla="*/ 12 h 26"/>
                  <a:gd name="T18" fmla="*/ 5 w 28"/>
                  <a:gd name="T19" fmla="*/ 13 h 26"/>
                  <a:gd name="T20" fmla="*/ 2 w 28"/>
                  <a:gd name="T21" fmla="*/ 20 h 26"/>
                  <a:gd name="T22" fmla="*/ 4 w 28"/>
                  <a:gd name="T23" fmla="*/ 19 h 26"/>
                  <a:gd name="T24" fmla="*/ 11 w 28"/>
                  <a:gd name="T25" fmla="*/ 12 h 26"/>
                  <a:gd name="T26" fmla="*/ 13 w 28"/>
                  <a:gd name="T27" fmla="*/ 13 h 26"/>
                  <a:gd name="T28" fmla="*/ 15 w 28"/>
                  <a:gd name="T29" fmla="*/ 16 h 26"/>
                  <a:gd name="T30" fmla="*/ 18 w 28"/>
                  <a:gd name="T31" fmla="*/ 20 h 26"/>
                  <a:gd name="T32" fmla="*/ 22 w 28"/>
                  <a:gd name="T33" fmla="*/ 21 h 26"/>
                  <a:gd name="T34" fmla="*/ 28 w 28"/>
                  <a:gd name="T35" fmla="*/ 26 h 26"/>
                  <a:gd name="T36" fmla="*/ 22 w 28"/>
                  <a:gd name="T37" fmla="*/ 11 h 26"/>
                  <a:gd name="T38" fmla="*/ 18 w 28"/>
                  <a:gd name="T39" fmla="*/ 9 h 26"/>
                  <a:gd name="T40" fmla="*/ 4 w 28"/>
                  <a:gd name="T41"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6">
                    <a:moveTo>
                      <a:pt x="4" y="0"/>
                    </a:moveTo>
                    <a:cubicBezTo>
                      <a:pt x="4" y="3"/>
                      <a:pt x="5" y="4"/>
                      <a:pt x="4" y="7"/>
                    </a:cubicBezTo>
                    <a:cubicBezTo>
                      <a:pt x="4" y="8"/>
                      <a:pt x="3" y="10"/>
                      <a:pt x="3" y="11"/>
                    </a:cubicBezTo>
                    <a:cubicBezTo>
                      <a:pt x="3" y="11"/>
                      <a:pt x="4" y="11"/>
                      <a:pt x="4" y="11"/>
                    </a:cubicBezTo>
                    <a:cubicBezTo>
                      <a:pt x="4" y="11"/>
                      <a:pt x="4" y="11"/>
                      <a:pt x="4" y="11"/>
                    </a:cubicBezTo>
                    <a:cubicBezTo>
                      <a:pt x="4" y="11"/>
                      <a:pt x="4" y="11"/>
                      <a:pt x="4" y="11"/>
                    </a:cubicBezTo>
                    <a:cubicBezTo>
                      <a:pt x="4" y="11"/>
                      <a:pt x="4" y="11"/>
                      <a:pt x="4" y="11"/>
                    </a:cubicBezTo>
                    <a:cubicBezTo>
                      <a:pt x="4" y="11"/>
                      <a:pt x="4" y="11"/>
                      <a:pt x="5" y="11"/>
                    </a:cubicBezTo>
                    <a:cubicBezTo>
                      <a:pt x="5" y="11"/>
                      <a:pt x="5" y="11"/>
                      <a:pt x="5" y="12"/>
                    </a:cubicBezTo>
                    <a:cubicBezTo>
                      <a:pt x="5" y="13"/>
                      <a:pt x="5" y="12"/>
                      <a:pt x="5" y="13"/>
                    </a:cubicBezTo>
                    <a:cubicBezTo>
                      <a:pt x="4" y="14"/>
                      <a:pt x="0" y="20"/>
                      <a:pt x="2" y="20"/>
                    </a:cubicBezTo>
                    <a:cubicBezTo>
                      <a:pt x="2" y="20"/>
                      <a:pt x="3" y="20"/>
                      <a:pt x="4" y="19"/>
                    </a:cubicBezTo>
                    <a:cubicBezTo>
                      <a:pt x="6" y="17"/>
                      <a:pt x="8" y="12"/>
                      <a:pt x="11" y="12"/>
                    </a:cubicBezTo>
                    <a:cubicBezTo>
                      <a:pt x="12" y="12"/>
                      <a:pt x="12" y="12"/>
                      <a:pt x="13" y="13"/>
                    </a:cubicBezTo>
                    <a:cubicBezTo>
                      <a:pt x="14" y="13"/>
                      <a:pt x="15" y="16"/>
                      <a:pt x="15" y="16"/>
                    </a:cubicBezTo>
                    <a:cubicBezTo>
                      <a:pt x="16" y="17"/>
                      <a:pt x="18" y="19"/>
                      <a:pt x="18" y="20"/>
                    </a:cubicBezTo>
                    <a:cubicBezTo>
                      <a:pt x="19" y="20"/>
                      <a:pt x="20" y="20"/>
                      <a:pt x="22" y="21"/>
                    </a:cubicBezTo>
                    <a:cubicBezTo>
                      <a:pt x="24" y="22"/>
                      <a:pt x="26" y="24"/>
                      <a:pt x="28" y="26"/>
                    </a:cubicBezTo>
                    <a:cubicBezTo>
                      <a:pt x="26" y="22"/>
                      <a:pt x="25" y="14"/>
                      <a:pt x="22" y="11"/>
                    </a:cubicBezTo>
                    <a:cubicBezTo>
                      <a:pt x="22" y="11"/>
                      <a:pt x="19" y="10"/>
                      <a:pt x="18" y="9"/>
                    </a:cubicBezTo>
                    <a:cubicBezTo>
                      <a:pt x="14"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Freeform 1158"/>
              <p:cNvSpPr/>
              <p:nvPr/>
            </p:nvSpPr>
            <p:spPr bwMode="auto">
              <a:xfrm>
                <a:off x="1911" y="213"/>
                <a:ext cx="12" cy="24"/>
              </a:xfrm>
              <a:custGeom>
                <a:gdLst>
                  <a:gd name="T0" fmla="*/ 0 w 5"/>
                  <a:gd name="T1" fmla="*/ 0 h 10"/>
                  <a:gd name="T2" fmla="*/ 1 w 5"/>
                  <a:gd name="T3" fmla="*/ 10 h 10"/>
                  <a:gd name="T4" fmla="*/ 4 w 5"/>
                  <a:gd name="T5" fmla="*/ 4 h 10"/>
                  <a:gd name="T6" fmla="*/ 5 w 5"/>
                  <a:gd name="T7" fmla="*/ 4 h 10"/>
                  <a:gd name="T8" fmla="*/ 3 w 5"/>
                  <a:gd name="T9" fmla="*/ 2 h 10"/>
                  <a:gd name="T10" fmla="*/ 3 w 5"/>
                  <a:gd name="T11" fmla="*/ 2 h 10"/>
                  <a:gd name="T12" fmla="*/ 0 w 5"/>
                  <a:gd name="T13" fmla="*/ 0 h 10"/>
                </a:gdLst>
                <a:cxnLst>
                  <a:cxn ang="0">
                    <a:pos x="T0" y="T1"/>
                  </a:cxn>
                  <a:cxn ang="0">
                    <a:pos x="T2" y="T3"/>
                  </a:cxn>
                  <a:cxn ang="0">
                    <a:pos x="T4" y="T5"/>
                  </a:cxn>
                  <a:cxn ang="0">
                    <a:pos x="T6" y="T7"/>
                  </a:cxn>
                  <a:cxn ang="0">
                    <a:pos x="T8" y="T9"/>
                  </a:cxn>
                  <a:cxn ang="0">
                    <a:pos x="T10" y="T11"/>
                  </a:cxn>
                  <a:cxn ang="0">
                    <a:pos x="T12" y="T13"/>
                  </a:cxn>
                </a:cxnLst>
                <a:rect l="0" t="0" r="r" b="b"/>
                <a:pathLst>
                  <a:path w="5" h="10">
                    <a:moveTo>
                      <a:pt x="0" y="0"/>
                    </a:moveTo>
                    <a:cubicBezTo>
                      <a:pt x="0" y="3"/>
                      <a:pt x="1" y="7"/>
                      <a:pt x="1" y="10"/>
                    </a:cubicBezTo>
                    <a:cubicBezTo>
                      <a:pt x="4" y="8"/>
                      <a:pt x="5" y="6"/>
                      <a:pt x="4" y="4"/>
                    </a:cubicBezTo>
                    <a:cubicBezTo>
                      <a:pt x="5" y="4"/>
                      <a:pt x="5" y="4"/>
                      <a:pt x="5" y="4"/>
                    </a:cubicBezTo>
                    <a:cubicBezTo>
                      <a:pt x="4" y="3"/>
                      <a:pt x="3" y="3"/>
                      <a:pt x="3" y="2"/>
                    </a:cubicBezTo>
                    <a:cubicBezTo>
                      <a:pt x="3" y="2"/>
                      <a:pt x="3" y="2"/>
                      <a:pt x="3"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1159"/>
              <p:cNvSpPr/>
              <p:nvPr/>
            </p:nvSpPr>
            <p:spPr bwMode="auto">
              <a:xfrm>
                <a:off x="2239" y="402"/>
                <a:ext cx="7" cy="12"/>
              </a:xfrm>
              <a:custGeom>
                <a:gdLst>
                  <a:gd name="T0" fmla="*/ 0 w 3"/>
                  <a:gd name="T1" fmla="*/ 0 h 5"/>
                  <a:gd name="T2" fmla="*/ 2 w 3"/>
                  <a:gd name="T3" fmla="*/ 5 h 5"/>
                  <a:gd name="T4" fmla="*/ 0 w 3"/>
                  <a:gd name="T5" fmla="*/ 0 h 5"/>
                </a:gdLst>
                <a:cxnLst>
                  <a:cxn ang="0">
                    <a:pos x="T0" y="T1"/>
                  </a:cxn>
                  <a:cxn ang="0">
                    <a:pos x="T2" y="T3"/>
                  </a:cxn>
                  <a:cxn ang="0">
                    <a:pos x="T4" y="T5"/>
                  </a:cxn>
                </a:cxnLst>
                <a:rect l="0" t="0" r="r" b="b"/>
                <a:pathLst>
                  <a:path w="3" h="5">
                    <a:moveTo>
                      <a:pt x="0" y="0"/>
                    </a:moveTo>
                    <a:cubicBezTo>
                      <a:pt x="0" y="2"/>
                      <a:pt x="1" y="4"/>
                      <a:pt x="2" y="5"/>
                    </a:cubicBezTo>
                    <a:cubicBezTo>
                      <a:pt x="3"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Freeform 1160"/>
              <p:cNvSpPr/>
              <p:nvPr/>
            </p:nvSpPr>
            <p:spPr bwMode="auto">
              <a:xfrm>
                <a:off x="2076" y="282"/>
                <a:ext cx="85" cy="134"/>
              </a:xfrm>
              <a:custGeom>
                <a:gdLst>
                  <a:gd name="T0" fmla="*/ 26 w 36"/>
                  <a:gd name="T1" fmla="*/ 0 h 57"/>
                  <a:gd name="T2" fmla="*/ 24 w 36"/>
                  <a:gd name="T3" fmla="*/ 1 h 57"/>
                  <a:gd name="T4" fmla="*/ 10 w 36"/>
                  <a:gd name="T5" fmla="*/ 25 h 57"/>
                  <a:gd name="T6" fmla="*/ 8 w 36"/>
                  <a:gd name="T7" fmla="*/ 30 h 57"/>
                  <a:gd name="T8" fmla="*/ 8 w 36"/>
                  <a:gd name="T9" fmla="*/ 30 h 57"/>
                  <a:gd name="T10" fmla="*/ 7 w 36"/>
                  <a:gd name="T11" fmla="*/ 30 h 57"/>
                  <a:gd name="T12" fmla="*/ 6 w 36"/>
                  <a:gd name="T13" fmla="*/ 30 h 57"/>
                  <a:gd name="T14" fmla="*/ 6 w 36"/>
                  <a:gd name="T15" fmla="*/ 30 h 57"/>
                  <a:gd name="T16" fmla="*/ 4 w 36"/>
                  <a:gd name="T17" fmla="*/ 31 h 57"/>
                  <a:gd name="T18" fmla="*/ 8 w 36"/>
                  <a:gd name="T19" fmla="*/ 46 h 57"/>
                  <a:gd name="T20" fmla="*/ 14 w 36"/>
                  <a:gd name="T21" fmla="*/ 48 h 57"/>
                  <a:gd name="T22" fmla="*/ 16 w 36"/>
                  <a:gd name="T23" fmla="*/ 51 h 57"/>
                  <a:gd name="T24" fmla="*/ 21 w 36"/>
                  <a:gd name="T25" fmla="*/ 57 h 57"/>
                  <a:gd name="T26" fmla="*/ 22 w 36"/>
                  <a:gd name="T27" fmla="*/ 57 h 57"/>
                  <a:gd name="T28" fmla="*/ 23 w 36"/>
                  <a:gd name="T29" fmla="*/ 42 h 57"/>
                  <a:gd name="T30" fmla="*/ 28 w 36"/>
                  <a:gd name="T31" fmla="*/ 23 h 57"/>
                  <a:gd name="T32" fmla="*/ 36 w 36"/>
                  <a:gd name="T33" fmla="*/ 5 h 57"/>
                  <a:gd name="T34" fmla="*/ 35 w 36"/>
                  <a:gd name="T35" fmla="*/ 3 h 57"/>
                  <a:gd name="T36" fmla="*/ 31 w 36"/>
                  <a:gd name="T37" fmla="*/ 2 h 57"/>
                  <a:gd name="T38" fmla="*/ 26 w 36"/>
                  <a:gd name="T39" fmla="*/ 0 h 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57">
                    <a:moveTo>
                      <a:pt x="26" y="0"/>
                    </a:moveTo>
                    <a:cubicBezTo>
                      <a:pt x="25" y="0"/>
                      <a:pt x="25" y="0"/>
                      <a:pt x="24" y="1"/>
                    </a:cubicBezTo>
                    <a:cubicBezTo>
                      <a:pt x="15" y="3"/>
                      <a:pt x="14" y="16"/>
                      <a:pt x="10" y="25"/>
                    </a:cubicBezTo>
                    <a:cubicBezTo>
                      <a:pt x="10" y="26"/>
                      <a:pt x="9" y="29"/>
                      <a:pt x="8" y="30"/>
                    </a:cubicBezTo>
                    <a:cubicBezTo>
                      <a:pt x="8" y="30"/>
                      <a:pt x="8" y="30"/>
                      <a:pt x="8" y="30"/>
                    </a:cubicBezTo>
                    <a:cubicBezTo>
                      <a:pt x="7" y="30"/>
                      <a:pt x="7" y="30"/>
                      <a:pt x="7" y="30"/>
                    </a:cubicBezTo>
                    <a:cubicBezTo>
                      <a:pt x="7" y="30"/>
                      <a:pt x="7" y="30"/>
                      <a:pt x="6" y="30"/>
                    </a:cubicBezTo>
                    <a:cubicBezTo>
                      <a:pt x="6" y="30"/>
                      <a:pt x="6" y="30"/>
                      <a:pt x="6" y="30"/>
                    </a:cubicBezTo>
                    <a:cubicBezTo>
                      <a:pt x="5" y="30"/>
                      <a:pt x="5" y="30"/>
                      <a:pt x="4" y="31"/>
                    </a:cubicBezTo>
                    <a:cubicBezTo>
                      <a:pt x="0" y="34"/>
                      <a:pt x="6" y="43"/>
                      <a:pt x="8" y="46"/>
                    </a:cubicBezTo>
                    <a:cubicBezTo>
                      <a:pt x="10" y="48"/>
                      <a:pt x="12" y="47"/>
                      <a:pt x="14" y="48"/>
                    </a:cubicBezTo>
                    <a:cubicBezTo>
                      <a:pt x="16" y="49"/>
                      <a:pt x="15" y="49"/>
                      <a:pt x="16" y="51"/>
                    </a:cubicBezTo>
                    <a:cubicBezTo>
                      <a:pt x="17" y="54"/>
                      <a:pt x="17" y="57"/>
                      <a:pt x="21" y="57"/>
                    </a:cubicBezTo>
                    <a:cubicBezTo>
                      <a:pt x="21" y="57"/>
                      <a:pt x="21" y="57"/>
                      <a:pt x="22" y="57"/>
                    </a:cubicBezTo>
                    <a:cubicBezTo>
                      <a:pt x="29" y="57"/>
                      <a:pt x="24" y="47"/>
                      <a:pt x="23" y="42"/>
                    </a:cubicBezTo>
                    <a:cubicBezTo>
                      <a:pt x="22" y="37"/>
                      <a:pt x="26" y="29"/>
                      <a:pt x="28" y="23"/>
                    </a:cubicBezTo>
                    <a:cubicBezTo>
                      <a:pt x="30" y="17"/>
                      <a:pt x="33" y="11"/>
                      <a:pt x="36" y="5"/>
                    </a:cubicBezTo>
                    <a:cubicBezTo>
                      <a:pt x="35" y="4"/>
                      <a:pt x="36" y="4"/>
                      <a:pt x="35" y="3"/>
                    </a:cubicBezTo>
                    <a:cubicBezTo>
                      <a:pt x="34" y="2"/>
                      <a:pt x="33" y="2"/>
                      <a:pt x="31" y="2"/>
                    </a:cubicBezTo>
                    <a:cubicBezTo>
                      <a:pt x="29" y="1"/>
                      <a:pt x="28"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1161"/>
              <p:cNvSpPr/>
              <p:nvPr/>
            </p:nvSpPr>
            <p:spPr bwMode="auto">
              <a:xfrm>
                <a:off x="2041" y="364"/>
                <a:ext cx="331" cy="293"/>
              </a:xfrm>
              <a:custGeom>
                <a:gdLst>
                  <a:gd name="T0" fmla="*/ 108 w 140"/>
                  <a:gd name="T1" fmla="*/ 17 h 124"/>
                  <a:gd name="T2" fmla="*/ 99 w 140"/>
                  <a:gd name="T3" fmla="*/ 21 h 124"/>
                  <a:gd name="T4" fmla="*/ 93 w 140"/>
                  <a:gd name="T5" fmla="*/ 26 h 124"/>
                  <a:gd name="T6" fmla="*/ 89 w 140"/>
                  <a:gd name="T7" fmla="*/ 23 h 124"/>
                  <a:gd name="T8" fmla="*/ 77 w 140"/>
                  <a:gd name="T9" fmla="*/ 35 h 124"/>
                  <a:gd name="T10" fmla="*/ 68 w 140"/>
                  <a:gd name="T11" fmla="*/ 45 h 124"/>
                  <a:gd name="T12" fmla="*/ 54 w 140"/>
                  <a:gd name="T13" fmla="*/ 53 h 124"/>
                  <a:gd name="T14" fmla="*/ 57 w 140"/>
                  <a:gd name="T15" fmla="*/ 36 h 124"/>
                  <a:gd name="T16" fmla="*/ 46 w 140"/>
                  <a:gd name="T17" fmla="*/ 32 h 124"/>
                  <a:gd name="T18" fmla="*/ 34 w 140"/>
                  <a:gd name="T19" fmla="*/ 42 h 124"/>
                  <a:gd name="T20" fmla="*/ 28 w 140"/>
                  <a:gd name="T21" fmla="*/ 49 h 124"/>
                  <a:gd name="T22" fmla="*/ 9 w 140"/>
                  <a:gd name="T23" fmla="*/ 65 h 124"/>
                  <a:gd name="T24" fmla="*/ 5 w 140"/>
                  <a:gd name="T25" fmla="*/ 84 h 124"/>
                  <a:gd name="T26" fmla="*/ 11 w 140"/>
                  <a:gd name="T27" fmla="*/ 82 h 124"/>
                  <a:gd name="T28" fmla="*/ 17 w 140"/>
                  <a:gd name="T29" fmla="*/ 71 h 124"/>
                  <a:gd name="T30" fmla="*/ 18 w 140"/>
                  <a:gd name="T31" fmla="*/ 65 h 124"/>
                  <a:gd name="T32" fmla="*/ 29 w 140"/>
                  <a:gd name="T33" fmla="*/ 63 h 124"/>
                  <a:gd name="T34" fmla="*/ 37 w 140"/>
                  <a:gd name="T35" fmla="*/ 62 h 124"/>
                  <a:gd name="T36" fmla="*/ 40 w 140"/>
                  <a:gd name="T37" fmla="*/ 65 h 124"/>
                  <a:gd name="T38" fmla="*/ 40 w 140"/>
                  <a:gd name="T39" fmla="*/ 68 h 124"/>
                  <a:gd name="T40" fmla="*/ 46 w 140"/>
                  <a:gd name="T41" fmla="*/ 71 h 124"/>
                  <a:gd name="T42" fmla="*/ 51 w 140"/>
                  <a:gd name="T43" fmla="*/ 58 h 124"/>
                  <a:gd name="T44" fmla="*/ 69 w 140"/>
                  <a:gd name="T45" fmla="*/ 75 h 124"/>
                  <a:gd name="T46" fmla="*/ 65 w 140"/>
                  <a:gd name="T47" fmla="*/ 94 h 124"/>
                  <a:gd name="T48" fmla="*/ 87 w 140"/>
                  <a:gd name="T49" fmla="*/ 113 h 124"/>
                  <a:gd name="T50" fmla="*/ 96 w 140"/>
                  <a:gd name="T51" fmla="*/ 113 h 124"/>
                  <a:gd name="T52" fmla="*/ 100 w 140"/>
                  <a:gd name="T53" fmla="*/ 108 h 124"/>
                  <a:gd name="T54" fmla="*/ 103 w 140"/>
                  <a:gd name="T55" fmla="*/ 124 h 124"/>
                  <a:gd name="T56" fmla="*/ 112 w 140"/>
                  <a:gd name="T57" fmla="*/ 113 h 124"/>
                  <a:gd name="T58" fmla="*/ 105 w 140"/>
                  <a:gd name="T59" fmla="*/ 93 h 124"/>
                  <a:gd name="T60" fmla="*/ 105 w 140"/>
                  <a:gd name="T61" fmla="*/ 88 h 124"/>
                  <a:gd name="T62" fmla="*/ 116 w 140"/>
                  <a:gd name="T63" fmla="*/ 72 h 124"/>
                  <a:gd name="T64" fmla="*/ 124 w 140"/>
                  <a:gd name="T65" fmla="*/ 86 h 124"/>
                  <a:gd name="T66" fmla="*/ 127 w 140"/>
                  <a:gd name="T67" fmla="*/ 103 h 124"/>
                  <a:gd name="T68" fmla="*/ 128 w 140"/>
                  <a:gd name="T69" fmla="*/ 85 h 124"/>
                  <a:gd name="T70" fmla="*/ 130 w 140"/>
                  <a:gd name="T71" fmla="*/ 86 h 124"/>
                  <a:gd name="T72" fmla="*/ 133 w 140"/>
                  <a:gd name="T73" fmla="*/ 85 h 124"/>
                  <a:gd name="T74" fmla="*/ 138 w 140"/>
                  <a:gd name="T75" fmla="*/ 76 h 124"/>
                  <a:gd name="T76" fmla="*/ 132 w 140"/>
                  <a:gd name="T77" fmla="*/ 56 h 124"/>
                  <a:gd name="T78" fmla="*/ 132 w 140"/>
                  <a:gd name="T79" fmla="*/ 47 h 124"/>
                  <a:gd name="T80" fmla="*/ 130 w 140"/>
                  <a:gd name="T81" fmla="*/ 37 h 124"/>
                  <a:gd name="T82" fmla="*/ 127 w 140"/>
                  <a:gd name="T83" fmla="*/ 38 h 124"/>
                  <a:gd name="T84" fmla="*/ 130 w 140"/>
                  <a:gd name="T85" fmla="*/ 30 h 124"/>
                  <a:gd name="T86" fmla="*/ 124 w 140"/>
                  <a:gd name="T87" fmla="*/ 16 h 124"/>
                  <a:gd name="T88" fmla="*/ 105 w 140"/>
                  <a:gd name="T89" fmla="*/ 0 h 1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24">
                    <a:moveTo>
                      <a:pt x="105" y="0"/>
                    </a:moveTo>
                    <a:cubicBezTo>
                      <a:pt x="106" y="6"/>
                      <a:pt x="107" y="11"/>
                      <a:pt x="108" y="17"/>
                    </a:cubicBezTo>
                    <a:cubicBezTo>
                      <a:pt x="108" y="19"/>
                      <a:pt x="108" y="22"/>
                      <a:pt x="108" y="23"/>
                    </a:cubicBezTo>
                    <a:cubicBezTo>
                      <a:pt x="105" y="23"/>
                      <a:pt x="102" y="22"/>
                      <a:pt x="99" y="21"/>
                    </a:cubicBezTo>
                    <a:cubicBezTo>
                      <a:pt x="98" y="25"/>
                      <a:pt x="98" y="27"/>
                      <a:pt x="97" y="27"/>
                    </a:cubicBezTo>
                    <a:cubicBezTo>
                      <a:pt x="96" y="27"/>
                      <a:pt x="95" y="27"/>
                      <a:pt x="93" y="26"/>
                    </a:cubicBezTo>
                    <a:cubicBezTo>
                      <a:pt x="92" y="25"/>
                      <a:pt x="90" y="23"/>
                      <a:pt x="89" y="23"/>
                    </a:cubicBezTo>
                    <a:cubicBezTo>
                      <a:pt x="89" y="23"/>
                      <a:pt x="89" y="23"/>
                      <a:pt x="89" y="23"/>
                    </a:cubicBezTo>
                    <a:cubicBezTo>
                      <a:pt x="85" y="24"/>
                      <a:pt x="86" y="35"/>
                      <a:pt x="85" y="38"/>
                    </a:cubicBezTo>
                    <a:cubicBezTo>
                      <a:pt x="84" y="38"/>
                      <a:pt x="77" y="35"/>
                      <a:pt x="77" y="35"/>
                    </a:cubicBezTo>
                    <a:cubicBezTo>
                      <a:pt x="77" y="35"/>
                      <a:pt x="77" y="35"/>
                      <a:pt x="77" y="35"/>
                    </a:cubicBezTo>
                    <a:cubicBezTo>
                      <a:pt x="74" y="39"/>
                      <a:pt x="72" y="43"/>
                      <a:pt x="68" y="45"/>
                    </a:cubicBezTo>
                    <a:cubicBezTo>
                      <a:pt x="66" y="47"/>
                      <a:pt x="58" y="53"/>
                      <a:pt x="55" y="53"/>
                    </a:cubicBezTo>
                    <a:cubicBezTo>
                      <a:pt x="54" y="53"/>
                      <a:pt x="54" y="53"/>
                      <a:pt x="54" y="53"/>
                    </a:cubicBezTo>
                    <a:cubicBezTo>
                      <a:pt x="57" y="51"/>
                      <a:pt x="59" y="50"/>
                      <a:pt x="60" y="47"/>
                    </a:cubicBezTo>
                    <a:cubicBezTo>
                      <a:pt x="60" y="44"/>
                      <a:pt x="59" y="38"/>
                      <a:pt x="57" y="36"/>
                    </a:cubicBezTo>
                    <a:cubicBezTo>
                      <a:pt x="56" y="35"/>
                      <a:pt x="56" y="35"/>
                      <a:pt x="54" y="35"/>
                    </a:cubicBezTo>
                    <a:cubicBezTo>
                      <a:pt x="50" y="35"/>
                      <a:pt x="49" y="33"/>
                      <a:pt x="46" y="32"/>
                    </a:cubicBezTo>
                    <a:cubicBezTo>
                      <a:pt x="46" y="32"/>
                      <a:pt x="46" y="32"/>
                      <a:pt x="47" y="32"/>
                    </a:cubicBezTo>
                    <a:cubicBezTo>
                      <a:pt x="41" y="36"/>
                      <a:pt x="37" y="37"/>
                      <a:pt x="34" y="42"/>
                    </a:cubicBezTo>
                    <a:cubicBezTo>
                      <a:pt x="34" y="43"/>
                      <a:pt x="33" y="47"/>
                      <a:pt x="32" y="49"/>
                    </a:cubicBezTo>
                    <a:cubicBezTo>
                      <a:pt x="31" y="49"/>
                      <a:pt x="29" y="49"/>
                      <a:pt x="28" y="49"/>
                    </a:cubicBezTo>
                    <a:cubicBezTo>
                      <a:pt x="21" y="51"/>
                      <a:pt x="14" y="52"/>
                      <a:pt x="10" y="58"/>
                    </a:cubicBezTo>
                    <a:cubicBezTo>
                      <a:pt x="9" y="60"/>
                      <a:pt x="8" y="63"/>
                      <a:pt x="9" y="65"/>
                    </a:cubicBezTo>
                    <a:cubicBezTo>
                      <a:pt x="8" y="66"/>
                      <a:pt x="8" y="67"/>
                      <a:pt x="8" y="67"/>
                    </a:cubicBezTo>
                    <a:cubicBezTo>
                      <a:pt x="6" y="70"/>
                      <a:pt x="0" y="81"/>
                      <a:pt x="5" y="84"/>
                    </a:cubicBezTo>
                    <a:cubicBezTo>
                      <a:pt x="7" y="84"/>
                      <a:pt x="8" y="85"/>
                      <a:pt x="8" y="85"/>
                    </a:cubicBezTo>
                    <a:cubicBezTo>
                      <a:pt x="9" y="85"/>
                      <a:pt x="10" y="84"/>
                      <a:pt x="11" y="82"/>
                    </a:cubicBezTo>
                    <a:cubicBezTo>
                      <a:pt x="12" y="81"/>
                      <a:pt x="13" y="79"/>
                      <a:pt x="13" y="79"/>
                    </a:cubicBezTo>
                    <a:cubicBezTo>
                      <a:pt x="14" y="76"/>
                      <a:pt x="13" y="73"/>
                      <a:pt x="17" y="71"/>
                    </a:cubicBezTo>
                    <a:cubicBezTo>
                      <a:pt x="13" y="70"/>
                      <a:pt x="19" y="66"/>
                      <a:pt x="20" y="65"/>
                    </a:cubicBezTo>
                    <a:cubicBezTo>
                      <a:pt x="20" y="65"/>
                      <a:pt x="19" y="65"/>
                      <a:pt x="18" y="65"/>
                    </a:cubicBezTo>
                    <a:cubicBezTo>
                      <a:pt x="20" y="63"/>
                      <a:pt x="22" y="61"/>
                      <a:pt x="24" y="61"/>
                    </a:cubicBezTo>
                    <a:cubicBezTo>
                      <a:pt x="26" y="61"/>
                      <a:pt x="27" y="61"/>
                      <a:pt x="29" y="63"/>
                    </a:cubicBezTo>
                    <a:cubicBezTo>
                      <a:pt x="31" y="66"/>
                      <a:pt x="28" y="68"/>
                      <a:pt x="29" y="69"/>
                    </a:cubicBezTo>
                    <a:cubicBezTo>
                      <a:pt x="32" y="68"/>
                      <a:pt x="34" y="64"/>
                      <a:pt x="37" y="62"/>
                    </a:cubicBezTo>
                    <a:cubicBezTo>
                      <a:pt x="37" y="62"/>
                      <a:pt x="38" y="62"/>
                      <a:pt x="38" y="62"/>
                    </a:cubicBezTo>
                    <a:cubicBezTo>
                      <a:pt x="39" y="62"/>
                      <a:pt x="40" y="63"/>
                      <a:pt x="40" y="65"/>
                    </a:cubicBezTo>
                    <a:cubicBezTo>
                      <a:pt x="40" y="66"/>
                      <a:pt x="37" y="65"/>
                      <a:pt x="38" y="67"/>
                    </a:cubicBezTo>
                    <a:cubicBezTo>
                      <a:pt x="39" y="68"/>
                      <a:pt x="39" y="68"/>
                      <a:pt x="40" y="68"/>
                    </a:cubicBezTo>
                    <a:cubicBezTo>
                      <a:pt x="41" y="68"/>
                      <a:pt x="43" y="68"/>
                      <a:pt x="43" y="67"/>
                    </a:cubicBezTo>
                    <a:cubicBezTo>
                      <a:pt x="43" y="69"/>
                      <a:pt x="45" y="70"/>
                      <a:pt x="46" y="71"/>
                    </a:cubicBezTo>
                    <a:cubicBezTo>
                      <a:pt x="47" y="67"/>
                      <a:pt x="43" y="64"/>
                      <a:pt x="47" y="59"/>
                    </a:cubicBezTo>
                    <a:cubicBezTo>
                      <a:pt x="48" y="58"/>
                      <a:pt x="50" y="58"/>
                      <a:pt x="51" y="58"/>
                    </a:cubicBezTo>
                    <a:cubicBezTo>
                      <a:pt x="57" y="58"/>
                      <a:pt x="64" y="65"/>
                      <a:pt x="67" y="68"/>
                    </a:cubicBezTo>
                    <a:cubicBezTo>
                      <a:pt x="70" y="71"/>
                      <a:pt x="72" y="70"/>
                      <a:pt x="69" y="75"/>
                    </a:cubicBezTo>
                    <a:cubicBezTo>
                      <a:pt x="68" y="76"/>
                      <a:pt x="66" y="77"/>
                      <a:pt x="65" y="78"/>
                    </a:cubicBezTo>
                    <a:cubicBezTo>
                      <a:pt x="62" y="83"/>
                      <a:pt x="65" y="89"/>
                      <a:pt x="65" y="94"/>
                    </a:cubicBezTo>
                    <a:cubicBezTo>
                      <a:pt x="65" y="96"/>
                      <a:pt x="64" y="98"/>
                      <a:pt x="66" y="100"/>
                    </a:cubicBezTo>
                    <a:cubicBezTo>
                      <a:pt x="72" y="107"/>
                      <a:pt x="78" y="109"/>
                      <a:pt x="87" y="113"/>
                    </a:cubicBezTo>
                    <a:cubicBezTo>
                      <a:pt x="89" y="114"/>
                      <a:pt x="91" y="115"/>
                      <a:pt x="93" y="115"/>
                    </a:cubicBezTo>
                    <a:cubicBezTo>
                      <a:pt x="94" y="115"/>
                      <a:pt x="95" y="115"/>
                      <a:pt x="96" y="113"/>
                    </a:cubicBezTo>
                    <a:cubicBezTo>
                      <a:pt x="97" y="112"/>
                      <a:pt x="97" y="108"/>
                      <a:pt x="99" y="108"/>
                    </a:cubicBezTo>
                    <a:cubicBezTo>
                      <a:pt x="99" y="108"/>
                      <a:pt x="100" y="108"/>
                      <a:pt x="100" y="108"/>
                    </a:cubicBezTo>
                    <a:cubicBezTo>
                      <a:pt x="100" y="114"/>
                      <a:pt x="97" y="116"/>
                      <a:pt x="100" y="121"/>
                    </a:cubicBezTo>
                    <a:cubicBezTo>
                      <a:pt x="101" y="123"/>
                      <a:pt x="102" y="124"/>
                      <a:pt x="103" y="124"/>
                    </a:cubicBezTo>
                    <a:cubicBezTo>
                      <a:pt x="104" y="124"/>
                      <a:pt x="105" y="122"/>
                      <a:pt x="107" y="120"/>
                    </a:cubicBezTo>
                    <a:cubicBezTo>
                      <a:pt x="108" y="118"/>
                      <a:pt x="111" y="115"/>
                      <a:pt x="112" y="113"/>
                    </a:cubicBezTo>
                    <a:cubicBezTo>
                      <a:pt x="114" y="109"/>
                      <a:pt x="111" y="99"/>
                      <a:pt x="108" y="96"/>
                    </a:cubicBezTo>
                    <a:cubicBezTo>
                      <a:pt x="108" y="95"/>
                      <a:pt x="106" y="94"/>
                      <a:pt x="105" y="93"/>
                    </a:cubicBezTo>
                    <a:cubicBezTo>
                      <a:pt x="105" y="94"/>
                      <a:pt x="105" y="94"/>
                      <a:pt x="105" y="94"/>
                    </a:cubicBezTo>
                    <a:cubicBezTo>
                      <a:pt x="104" y="94"/>
                      <a:pt x="105" y="89"/>
                      <a:pt x="105" y="88"/>
                    </a:cubicBezTo>
                    <a:cubicBezTo>
                      <a:pt x="107" y="85"/>
                      <a:pt x="111" y="73"/>
                      <a:pt x="115" y="72"/>
                    </a:cubicBezTo>
                    <a:cubicBezTo>
                      <a:pt x="116" y="72"/>
                      <a:pt x="116" y="72"/>
                      <a:pt x="116" y="72"/>
                    </a:cubicBezTo>
                    <a:cubicBezTo>
                      <a:pt x="119" y="72"/>
                      <a:pt x="120" y="78"/>
                      <a:pt x="121" y="81"/>
                    </a:cubicBezTo>
                    <a:cubicBezTo>
                      <a:pt x="122" y="84"/>
                      <a:pt x="123" y="85"/>
                      <a:pt x="124" y="86"/>
                    </a:cubicBezTo>
                    <a:cubicBezTo>
                      <a:pt x="125" y="89"/>
                      <a:pt x="124" y="93"/>
                      <a:pt x="124" y="96"/>
                    </a:cubicBezTo>
                    <a:cubicBezTo>
                      <a:pt x="125" y="99"/>
                      <a:pt x="128" y="100"/>
                      <a:pt x="127" y="103"/>
                    </a:cubicBezTo>
                    <a:cubicBezTo>
                      <a:pt x="128" y="99"/>
                      <a:pt x="127" y="94"/>
                      <a:pt x="127" y="89"/>
                    </a:cubicBezTo>
                    <a:cubicBezTo>
                      <a:pt x="127" y="88"/>
                      <a:pt x="126" y="85"/>
                      <a:pt x="128" y="85"/>
                    </a:cubicBezTo>
                    <a:cubicBezTo>
                      <a:pt x="128" y="85"/>
                      <a:pt x="129" y="85"/>
                      <a:pt x="129" y="85"/>
                    </a:cubicBezTo>
                    <a:cubicBezTo>
                      <a:pt x="130" y="85"/>
                      <a:pt x="129" y="86"/>
                      <a:pt x="130" y="86"/>
                    </a:cubicBezTo>
                    <a:cubicBezTo>
                      <a:pt x="131" y="86"/>
                      <a:pt x="131" y="88"/>
                      <a:pt x="132" y="88"/>
                    </a:cubicBezTo>
                    <a:cubicBezTo>
                      <a:pt x="132" y="88"/>
                      <a:pt x="132" y="87"/>
                      <a:pt x="133" y="85"/>
                    </a:cubicBezTo>
                    <a:cubicBezTo>
                      <a:pt x="133" y="83"/>
                      <a:pt x="135" y="83"/>
                      <a:pt x="135" y="82"/>
                    </a:cubicBezTo>
                    <a:cubicBezTo>
                      <a:pt x="136" y="81"/>
                      <a:pt x="138" y="77"/>
                      <a:pt x="138" y="76"/>
                    </a:cubicBezTo>
                    <a:cubicBezTo>
                      <a:pt x="140" y="72"/>
                      <a:pt x="139" y="67"/>
                      <a:pt x="138" y="63"/>
                    </a:cubicBezTo>
                    <a:cubicBezTo>
                      <a:pt x="138" y="60"/>
                      <a:pt x="135" y="58"/>
                      <a:pt x="132" y="56"/>
                    </a:cubicBezTo>
                    <a:cubicBezTo>
                      <a:pt x="136" y="53"/>
                      <a:pt x="134" y="49"/>
                      <a:pt x="135" y="46"/>
                    </a:cubicBezTo>
                    <a:cubicBezTo>
                      <a:pt x="134" y="47"/>
                      <a:pt x="133" y="47"/>
                      <a:pt x="132" y="47"/>
                    </a:cubicBezTo>
                    <a:cubicBezTo>
                      <a:pt x="130" y="47"/>
                      <a:pt x="134" y="43"/>
                      <a:pt x="133" y="39"/>
                    </a:cubicBezTo>
                    <a:cubicBezTo>
                      <a:pt x="133" y="38"/>
                      <a:pt x="131" y="37"/>
                      <a:pt x="130" y="37"/>
                    </a:cubicBezTo>
                    <a:cubicBezTo>
                      <a:pt x="129" y="37"/>
                      <a:pt x="129" y="37"/>
                      <a:pt x="128" y="37"/>
                    </a:cubicBezTo>
                    <a:cubicBezTo>
                      <a:pt x="128" y="38"/>
                      <a:pt x="127" y="38"/>
                      <a:pt x="127" y="38"/>
                    </a:cubicBezTo>
                    <a:cubicBezTo>
                      <a:pt x="126" y="38"/>
                      <a:pt x="126" y="37"/>
                      <a:pt x="126" y="37"/>
                    </a:cubicBezTo>
                    <a:cubicBezTo>
                      <a:pt x="123" y="34"/>
                      <a:pt x="130" y="32"/>
                      <a:pt x="130" y="30"/>
                    </a:cubicBezTo>
                    <a:cubicBezTo>
                      <a:pt x="133" y="25"/>
                      <a:pt x="128" y="20"/>
                      <a:pt x="128" y="15"/>
                    </a:cubicBezTo>
                    <a:cubicBezTo>
                      <a:pt x="126" y="16"/>
                      <a:pt x="125" y="16"/>
                      <a:pt x="124" y="16"/>
                    </a:cubicBezTo>
                    <a:cubicBezTo>
                      <a:pt x="123" y="16"/>
                      <a:pt x="122" y="14"/>
                      <a:pt x="120" y="11"/>
                    </a:cubicBezTo>
                    <a:cubicBezTo>
                      <a:pt x="118" y="6"/>
                      <a:pt x="110" y="3"/>
                      <a:pt x="1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Freeform 1162"/>
              <p:cNvSpPr/>
              <p:nvPr/>
            </p:nvSpPr>
            <p:spPr bwMode="auto">
              <a:xfrm>
                <a:off x="2083" y="178"/>
                <a:ext cx="19" cy="16"/>
              </a:xfrm>
              <a:custGeom>
                <a:gdLst>
                  <a:gd name="T0" fmla="*/ 4 w 8"/>
                  <a:gd name="T1" fmla="*/ 0 h 7"/>
                  <a:gd name="T2" fmla="*/ 0 w 8"/>
                  <a:gd name="T3" fmla="*/ 1 h 7"/>
                  <a:gd name="T4" fmla="*/ 6 w 8"/>
                  <a:gd name="T5" fmla="*/ 7 h 7"/>
                  <a:gd name="T6" fmla="*/ 6 w 8"/>
                  <a:gd name="T7" fmla="*/ 0 h 7"/>
                  <a:gd name="T8" fmla="*/ 4 w 8"/>
                  <a:gd name="T9" fmla="*/ 0 h 7"/>
                </a:gdLst>
                <a:cxnLst>
                  <a:cxn ang="0">
                    <a:pos x="T0" y="T1"/>
                  </a:cxn>
                  <a:cxn ang="0">
                    <a:pos x="T2" y="T3"/>
                  </a:cxn>
                  <a:cxn ang="0">
                    <a:pos x="T4" y="T5"/>
                  </a:cxn>
                  <a:cxn ang="0">
                    <a:pos x="T6" y="T7"/>
                  </a:cxn>
                  <a:cxn ang="0">
                    <a:pos x="T8" y="T9"/>
                  </a:cxn>
                </a:cxnLst>
                <a:rect l="0" t="0" r="r" b="b"/>
                <a:pathLst>
                  <a:path w="8" h="7">
                    <a:moveTo>
                      <a:pt x="4" y="0"/>
                    </a:moveTo>
                    <a:cubicBezTo>
                      <a:pt x="3" y="0"/>
                      <a:pt x="0" y="0"/>
                      <a:pt x="0" y="1"/>
                    </a:cubicBezTo>
                    <a:cubicBezTo>
                      <a:pt x="0" y="2"/>
                      <a:pt x="6" y="6"/>
                      <a:pt x="6" y="7"/>
                    </a:cubicBezTo>
                    <a:cubicBezTo>
                      <a:pt x="7" y="4"/>
                      <a:pt x="8" y="1"/>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Freeform 1163"/>
              <p:cNvSpPr/>
              <p:nvPr/>
            </p:nvSpPr>
            <p:spPr bwMode="auto">
              <a:xfrm>
                <a:off x="2036" y="0"/>
                <a:ext cx="26" cy="29"/>
              </a:xfrm>
              <a:custGeom>
                <a:gdLst>
                  <a:gd name="T0" fmla="*/ 8 w 11"/>
                  <a:gd name="T1" fmla="*/ 0 h 12"/>
                  <a:gd name="T2" fmla="*/ 4 w 11"/>
                  <a:gd name="T3" fmla="*/ 0 h 12"/>
                  <a:gd name="T4" fmla="*/ 6 w 11"/>
                  <a:gd name="T5" fmla="*/ 12 h 12"/>
                  <a:gd name="T6" fmla="*/ 7 w 11"/>
                  <a:gd name="T7" fmla="*/ 5 h 12"/>
                  <a:gd name="T8" fmla="*/ 8 w 11"/>
                  <a:gd name="T9" fmla="*/ 2 h 12"/>
                  <a:gd name="T10" fmla="*/ 8 w 11"/>
                  <a:gd name="T11" fmla="*/ 0 h 12"/>
                </a:gdLst>
                <a:cxnLst>
                  <a:cxn ang="0">
                    <a:pos x="T0" y="T1"/>
                  </a:cxn>
                  <a:cxn ang="0">
                    <a:pos x="T2" y="T3"/>
                  </a:cxn>
                  <a:cxn ang="0">
                    <a:pos x="T4" y="T5"/>
                  </a:cxn>
                  <a:cxn ang="0">
                    <a:pos x="T6" y="T7"/>
                  </a:cxn>
                  <a:cxn ang="0">
                    <a:pos x="T8" y="T9"/>
                  </a:cxn>
                  <a:cxn ang="0">
                    <a:pos x="T10" y="T11"/>
                  </a:cxn>
                </a:cxnLst>
                <a:rect l="0" t="0" r="r" b="b"/>
                <a:pathLst>
                  <a:path w="11" h="12">
                    <a:moveTo>
                      <a:pt x="8" y="0"/>
                    </a:moveTo>
                    <a:cubicBezTo>
                      <a:pt x="4" y="0"/>
                      <a:pt x="4" y="0"/>
                      <a:pt x="4" y="0"/>
                    </a:cubicBezTo>
                    <a:cubicBezTo>
                      <a:pt x="0" y="2"/>
                      <a:pt x="5" y="9"/>
                      <a:pt x="6" y="12"/>
                    </a:cubicBezTo>
                    <a:cubicBezTo>
                      <a:pt x="11" y="8"/>
                      <a:pt x="7" y="8"/>
                      <a:pt x="7" y="5"/>
                    </a:cubicBezTo>
                    <a:cubicBezTo>
                      <a:pt x="7" y="4"/>
                      <a:pt x="8" y="3"/>
                      <a:pt x="8" y="2"/>
                    </a:cubicBezTo>
                    <a:cubicBezTo>
                      <a:pt x="8" y="2"/>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Freeform 1164"/>
              <p:cNvSpPr>
                <a:spLocks noEditPoints="1"/>
              </p:cNvSpPr>
              <p:nvPr/>
            </p:nvSpPr>
            <p:spPr bwMode="auto">
              <a:xfrm flipH="1">
                <a:off x="1880" y="702"/>
                <a:ext cx="0" cy="5"/>
              </a:xfrm>
              <a:custGeom>
                <a:gdLst>
                  <a:gd name="T0" fmla="*/ 2 h 2"/>
                  <a:gd name="T1" fmla="*/ 2 h 2"/>
                  <a:gd name="T2" fmla="*/ 2 h 2"/>
                  <a:gd name="T3" fmla="*/ 0 h 2"/>
                  <a:gd name="T4" fmla="*/ 2 h 2"/>
                  <a:gd name="T5" fmla="*/ 0 h 2"/>
                </a:gdLst>
                <a:cxnLst>
                  <a:cxn ang="0">
                    <a:pos x="0" y="T0"/>
                  </a:cxn>
                  <a:cxn ang="0">
                    <a:pos x="0" y="T1"/>
                  </a:cxn>
                  <a:cxn ang="0">
                    <a:pos x="0" y="T2"/>
                  </a:cxn>
                  <a:cxn ang="0">
                    <a:pos x="0" y="T3"/>
                  </a:cxn>
                  <a:cxn ang="0">
                    <a:pos x="0" y="T4"/>
                  </a:cxn>
                  <a:cxn ang="0">
                    <a:pos x="0" y="T5"/>
                  </a:cxn>
                </a:cxnLst>
                <a:rect l="0" t="0" r="r" b="b"/>
                <a:pathLst>
                  <a:path h="2">
                    <a:moveTo>
                      <a:pt x="0" y="2"/>
                    </a:moveTo>
                    <a:cubicBezTo>
                      <a:pt x="0" y="2"/>
                      <a:pt x="0" y="2"/>
                      <a:pt x="0" y="2"/>
                    </a:cubicBezTo>
                    <a:cubicBezTo>
                      <a:pt x="0" y="2"/>
                      <a:pt x="0" y="2"/>
                      <a:pt x="0" y="2"/>
                    </a:cubicBezTo>
                    <a:moveTo>
                      <a:pt x="0" y="0"/>
                    </a:moveTo>
                    <a:cubicBezTo>
                      <a:pt x="0" y="1"/>
                      <a:pt x="0" y="1"/>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1165"/>
              <p:cNvSpPr/>
              <p:nvPr/>
            </p:nvSpPr>
            <p:spPr bwMode="auto">
              <a:xfrm>
                <a:off x="2086" y="298"/>
                <a:ext cx="16" cy="26"/>
              </a:xfrm>
              <a:custGeom>
                <a:gdLst>
                  <a:gd name="T0" fmla="*/ 6 w 7"/>
                  <a:gd name="T1" fmla="*/ 0 h 11"/>
                  <a:gd name="T2" fmla="*/ 2 w 7"/>
                  <a:gd name="T3" fmla="*/ 6 h 11"/>
                  <a:gd name="T4" fmla="*/ 2 w 7"/>
                  <a:gd name="T5" fmla="*/ 11 h 11"/>
                  <a:gd name="T6" fmla="*/ 6 w 7"/>
                  <a:gd name="T7" fmla="*/ 0 h 11"/>
                </a:gdLst>
                <a:cxnLst>
                  <a:cxn ang="0">
                    <a:pos x="T0" y="T1"/>
                  </a:cxn>
                  <a:cxn ang="0">
                    <a:pos x="T2" y="T3"/>
                  </a:cxn>
                  <a:cxn ang="0">
                    <a:pos x="T4" y="T5"/>
                  </a:cxn>
                  <a:cxn ang="0">
                    <a:pos x="T6" y="T7"/>
                  </a:cxn>
                </a:cxnLst>
                <a:rect l="0" t="0" r="r" b="b"/>
                <a:pathLst>
                  <a:path w="7" h="11">
                    <a:moveTo>
                      <a:pt x="6" y="0"/>
                    </a:moveTo>
                    <a:cubicBezTo>
                      <a:pt x="5" y="2"/>
                      <a:pt x="1" y="4"/>
                      <a:pt x="2" y="6"/>
                    </a:cubicBezTo>
                    <a:cubicBezTo>
                      <a:pt x="0" y="8"/>
                      <a:pt x="1" y="9"/>
                      <a:pt x="2" y="11"/>
                    </a:cubicBezTo>
                    <a:cubicBezTo>
                      <a:pt x="5" y="7"/>
                      <a:pt x="7"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Freeform 1166"/>
              <p:cNvSpPr/>
              <p:nvPr/>
            </p:nvSpPr>
            <p:spPr bwMode="auto">
              <a:xfrm>
                <a:off x="2322" y="348"/>
                <a:ext cx="19" cy="21"/>
              </a:xfrm>
              <a:custGeom>
                <a:gdLst>
                  <a:gd name="T0" fmla="*/ 4 w 8"/>
                  <a:gd name="T1" fmla="*/ 0 h 9"/>
                  <a:gd name="T2" fmla="*/ 4 w 8"/>
                  <a:gd name="T3" fmla="*/ 9 h 9"/>
                  <a:gd name="T4" fmla="*/ 8 w 8"/>
                  <a:gd name="T5" fmla="*/ 7 h 9"/>
                  <a:gd name="T6" fmla="*/ 4 w 8"/>
                  <a:gd name="T7" fmla="*/ 0 h 9"/>
                </a:gdLst>
                <a:cxnLst>
                  <a:cxn ang="0">
                    <a:pos x="T0" y="T1"/>
                  </a:cxn>
                  <a:cxn ang="0">
                    <a:pos x="T2" y="T3"/>
                  </a:cxn>
                  <a:cxn ang="0">
                    <a:pos x="T4" y="T5"/>
                  </a:cxn>
                  <a:cxn ang="0">
                    <a:pos x="T6" y="T7"/>
                  </a:cxn>
                </a:cxnLst>
                <a:rect l="0" t="0" r="r" b="b"/>
                <a:pathLst>
                  <a:path w="8" h="9">
                    <a:moveTo>
                      <a:pt x="4" y="0"/>
                    </a:moveTo>
                    <a:cubicBezTo>
                      <a:pt x="3" y="3"/>
                      <a:pt x="0" y="6"/>
                      <a:pt x="4" y="9"/>
                    </a:cubicBezTo>
                    <a:cubicBezTo>
                      <a:pt x="5" y="8"/>
                      <a:pt x="7" y="8"/>
                      <a:pt x="8" y="7"/>
                    </a:cubicBezTo>
                    <a:cubicBezTo>
                      <a:pt x="6" y="5"/>
                      <a:pt x="6"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1167"/>
              <p:cNvSpPr/>
              <p:nvPr/>
            </p:nvSpPr>
            <p:spPr bwMode="auto">
              <a:xfrm>
                <a:off x="2154" y="400"/>
                <a:ext cx="19" cy="14"/>
              </a:xfrm>
              <a:custGeom>
                <a:gdLst>
                  <a:gd name="T0" fmla="*/ 4 w 8"/>
                  <a:gd name="T1" fmla="*/ 0 h 6"/>
                  <a:gd name="T2" fmla="*/ 0 w 8"/>
                  <a:gd name="T3" fmla="*/ 3 h 6"/>
                  <a:gd name="T4" fmla="*/ 4 w 8"/>
                  <a:gd name="T5" fmla="*/ 6 h 6"/>
                  <a:gd name="T6" fmla="*/ 4 w 8"/>
                  <a:gd name="T7" fmla="*/ 0 h 6"/>
                </a:gdLst>
                <a:cxnLst>
                  <a:cxn ang="0">
                    <a:pos x="T0" y="T1"/>
                  </a:cxn>
                  <a:cxn ang="0">
                    <a:pos x="T2" y="T3"/>
                  </a:cxn>
                  <a:cxn ang="0">
                    <a:pos x="T4" y="T5"/>
                  </a:cxn>
                  <a:cxn ang="0">
                    <a:pos x="T6" y="T7"/>
                  </a:cxn>
                </a:cxnLst>
                <a:rect l="0" t="0" r="r" b="b"/>
                <a:pathLst>
                  <a:path w="8" h="6">
                    <a:moveTo>
                      <a:pt x="4" y="0"/>
                    </a:moveTo>
                    <a:cubicBezTo>
                      <a:pt x="4" y="2"/>
                      <a:pt x="0" y="2"/>
                      <a:pt x="0" y="3"/>
                    </a:cubicBezTo>
                    <a:cubicBezTo>
                      <a:pt x="0" y="4"/>
                      <a:pt x="3" y="6"/>
                      <a:pt x="4" y="6"/>
                    </a:cubicBezTo>
                    <a:cubicBezTo>
                      <a:pt x="8" y="5"/>
                      <a:pt x="7"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Freeform 1168"/>
              <p:cNvSpPr/>
              <p:nvPr/>
            </p:nvSpPr>
            <p:spPr bwMode="auto">
              <a:xfrm>
                <a:off x="1708" y="483"/>
                <a:ext cx="11" cy="21"/>
              </a:xfrm>
              <a:custGeom>
                <a:gdLst>
                  <a:gd name="T0" fmla="*/ 2 w 5"/>
                  <a:gd name="T1" fmla="*/ 0 h 9"/>
                  <a:gd name="T2" fmla="*/ 2 w 5"/>
                  <a:gd name="T3" fmla="*/ 9 h 9"/>
                  <a:gd name="T4" fmla="*/ 3 w 5"/>
                  <a:gd name="T5" fmla="*/ 3 h 9"/>
                  <a:gd name="T6" fmla="*/ 4 w 5"/>
                  <a:gd name="T7" fmla="*/ 1 h 9"/>
                  <a:gd name="T8" fmla="*/ 2 w 5"/>
                  <a:gd name="T9" fmla="*/ 0 h 9"/>
                </a:gdLst>
                <a:cxnLst>
                  <a:cxn ang="0">
                    <a:pos x="T0" y="T1"/>
                  </a:cxn>
                  <a:cxn ang="0">
                    <a:pos x="T2" y="T3"/>
                  </a:cxn>
                  <a:cxn ang="0">
                    <a:pos x="T4" y="T5"/>
                  </a:cxn>
                  <a:cxn ang="0">
                    <a:pos x="T6" y="T7"/>
                  </a:cxn>
                  <a:cxn ang="0">
                    <a:pos x="T8" y="T9"/>
                  </a:cxn>
                </a:cxnLst>
                <a:rect l="0" t="0" r="r" b="b"/>
                <a:pathLst>
                  <a:path w="5" h="9">
                    <a:moveTo>
                      <a:pt x="2" y="0"/>
                    </a:moveTo>
                    <a:cubicBezTo>
                      <a:pt x="0" y="0"/>
                      <a:pt x="2" y="7"/>
                      <a:pt x="2" y="9"/>
                    </a:cubicBezTo>
                    <a:cubicBezTo>
                      <a:pt x="3" y="6"/>
                      <a:pt x="5" y="5"/>
                      <a:pt x="3" y="3"/>
                    </a:cubicBezTo>
                    <a:cubicBezTo>
                      <a:pt x="3" y="3"/>
                      <a:pt x="4" y="1"/>
                      <a:pt x="4" y="1"/>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1169"/>
              <p:cNvSpPr/>
              <p:nvPr/>
            </p:nvSpPr>
            <p:spPr bwMode="auto">
              <a:xfrm>
                <a:off x="2043" y="575"/>
                <a:ext cx="38" cy="23"/>
              </a:xfrm>
              <a:custGeom>
                <a:gdLst>
                  <a:gd name="T0" fmla="*/ 7 w 16"/>
                  <a:gd name="T1" fmla="*/ 0 h 10"/>
                  <a:gd name="T2" fmla="*/ 4 w 16"/>
                  <a:gd name="T3" fmla="*/ 2 h 10"/>
                  <a:gd name="T4" fmla="*/ 1 w 16"/>
                  <a:gd name="T5" fmla="*/ 3 h 10"/>
                  <a:gd name="T6" fmla="*/ 0 w 16"/>
                  <a:gd name="T7" fmla="*/ 2 h 10"/>
                  <a:gd name="T8" fmla="*/ 4 w 16"/>
                  <a:gd name="T9" fmla="*/ 10 h 10"/>
                  <a:gd name="T10" fmla="*/ 10 w 16"/>
                  <a:gd name="T11" fmla="*/ 9 h 10"/>
                  <a:gd name="T12" fmla="*/ 11 w 16"/>
                  <a:gd name="T13" fmla="*/ 6 h 10"/>
                  <a:gd name="T14" fmla="*/ 11 w 16"/>
                  <a:gd name="T15" fmla="*/ 3 h 10"/>
                  <a:gd name="T16" fmla="*/ 7 w 16"/>
                  <a:gd name="T17" fmla="*/ 0 h 10"/>
                  <a:gd name="T18" fmla="*/ 7 w 16"/>
                  <a:gd name="T1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7" y="0"/>
                    </a:moveTo>
                    <a:cubicBezTo>
                      <a:pt x="5" y="0"/>
                      <a:pt x="5" y="1"/>
                      <a:pt x="4" y="2"/>
                    </a:cubicBezTo>
                    <a:cubicBezTo>
                      <a:pt x="3" y="2"/>
                      <a:pt x="2" y="3"/>
                      <a:pt x="1" y="3"/>
                    </a:cubicBezTo>
                    <a:cubicBezTo>
                      <a:pt x="1" y="3"/>
                      <a:pt x="0" y="3"/>
                      <a:pt x="0" y="2"/>
                    </a:cubicBezTo>
                    <a:cubicBezTo>
                      <a:pt x="1" y="5"/>
                      <a:pt x="3" y="8"/>
                      <a:pt x="4" y="10"/>
                    </a:cubicBezTo>
                    <a:cubicBezTo>
                      <a:pt x="5" y="10"/>
                      <a:pt x="9" y="10"/>
                      <a:pt x="10" y="9"/>
                    </a:cubicBezTo>
                    <a:cubicBezTo>
                      <a:pt x="10" y="8"/>
                      <a:pt x="10" y="7"/>
                      <a:pt x="11" y="6"/>
                    </a:cubicBezTo>
                    <a:cubicBezTo>
                      <a:pt x="13" y="5"/>
                      <a:pt x="16" y="4"/>
                      <a:pt x="11" y="3"/>
                    </a:cubicBezTo>
                    <a:cubicBezTo>
                      <a:pt x="9" y="3"/>
                      <a:pt x="9" y="1"/>
                      <a:pt x="7"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1170"/>
              <p:cNvSpPr/>
              <p:nvPr/>
            </p:nvSpPr>
            <p:spPr bwMode="auto">
              <a:xfrm>
                <a:off x="2305" y="546"/>
                <a:ext cx="7" cy="19"/>
              </a:xfrm>
              <a:custGeom>
                <a:gdLst>
                  <a:gd name="T0" fmla="*/ 1 w 3"/>
                  <a:gd name="T1" fmla="*/ 0 h 8"/>
                  <a:gd name="T2" fmla="*/ 3 w 3"/>
                  <a:gd name="T3" fmla="*/ 8 h 8"/>
                  <a:gd name="T4" fmla="*/ 1 w 3"/>
                  <a:gd name="T5" fmla="*/ 0 h 8"/>
                </a:gdLst>
                <a:cxnLst>
                  <a:cxn ang="0">
                    <a:pos x="T0" y="T1"/>
                  </a:cxn>
                  <a:cxn ang="0">
                    <a:pos x="T2" y="T3"/>
                  </a:cxn>
                  <a:cxn ang="0">
                    <a:pos x="T4" y="T5"/>
                  </a:cxn>
                </a:cxnLst>
                <a:rect l="0" t="0" r="r" b="b"/>
                <a:pathLst>
                  <a:path w="3" h="8">
                    <a:moveTo>
                      <a:pt x="1" y="0"/>
                    </a:moveTo>
                    <a:cubicBezTo>
                      <a:pt x="0" y="2"/>
                      <a:pt x="2" y="5"/>
                      <a:pt x="3" y="8"/>
                    </a:cubicBezTo>
                    <a:cubicBezTo>
                      <a:pt x="2" y="5"/>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1171"/>
              <p:cNvSpPr/>
              <p:nvPr/>
            </p:nvSpPr>
            <p:spPr bwMode="auto">
              <a:xfrm>
                <a:off x="2159" y="163"/>
                <a:ext cx="19" cy="24"/>
              </a:xfrm>
              <a:custGeom>
                <a:gdLst>
                  <a:gd name="T0" fmla="*/ 2 w 8"/>
                  <a:gd name="T1" fmla="*/ 0 h 10"/>
                  <a:gd name="T2" fmla="*/ 8 w 8"/>
                  <a:gd name="T3" fmla="*/ 10 h 10"/>
                  <a:gd name="T4" fmla="*/ 2 w 8"/>
                  <a:gd name="T5" fmla="*/ 0 h 10"/>
                </a:gdLst>
                <a:cxnLst>
                  <a:cxn ang="0">
                    <a:pos x="T0" y="T1"/>
                  </a:cxn>
                  <a:cxn ang="0">
                    <a:pos x="T2" y="T3"/>
                  </a:cxn>
                  <a:cxn ang="0">
                    <a:pos x="T4" y="T5"/>
                  </a:cxn>
                </a:cxnLst>
                <a:rect l="0" t="0" r="r" b="b"/>
                <a:pathLst>
                  <a:path w="8" h="10">
                    <a:moveTo>
                      <a:pt x="2" y="0"/>
                    </a:moveTo>
                    <a:cubicBezTo>
                      <a:pt x="0" y="3"/>
                      <a:pt x="6" y="9"/>
                      <a:pt x="8" y="10"/>
                    </a:cubicBezTo>
                    <a:cubicBezTo>
                      <a:pt x="6" y="7"/>
                      <a:pt x="5"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Freeform 1172"/>
              <p:cNvSpPr/>
              <p:nvPr/>
            </p:nvSpPr>
            <p:spPr bwMode="auto">
              <a:xfrm>
                <a:off x="2043" y="218"/>
                <a:ext cx="90" cy="101"/>
              </a:xfrm>
              <a:custGeom>
                <a:gdLst>
                  <a:gd name="T0" fmla="*/ 3 w 38"/>
                  <a:gd name="T1" fmla="*/ 0 h 43"/>
                  <a:gd name="T2" fmla="*/ 1 w 38"/>
                  <a:gd name="T3" fmla="*/ 4 h 43"/>
                  <a:gd name="T4" fmla="*/ 2 w 38"/>
                  <a:gd name="T5" fmla="*/ 5 h 43"/>
                  <a:gd name="T6" fmla="*/ 7 w 38"/>
                  <a:gd name="T7" fmla="*/ 13 h 43"/>
                  <a:gd name="T8" fmla="*/ 6 w 38"/>
                  <a:gd name="T9" fmla="*/ 21 h 43"/>
                  <a:gd name="T10" fmla="*/ 4 w 38"/>
                  <a:gd name="T11" fmla="*/ 31 h 43"/>
                  <a:gd name="T12" fmla="*/ 4 w 38"/>
                  <a:gd name="T13" fmla="*/ 43 h 43"/>
                  <a:gd name="T14" fmla="*/ 6 w 38"/>
                  <a:gd name="T15" fmla="*/ 43 h 43"/>
                  <a:gd name="T16" fmla="*/ 29 w 38"/>
                  <a:gd name="T17" fmla="*/ 30 h 43"/>
                  <a:gd name="T18" fmla="*/ 37 w 38"/>
                  <a:gd name="T19" fmla="*/ 22 h 43"/>
                  <a:gd name="T20" fmla="*/ 37 w 38"/>
                  <a:gd name="T21" fmla="*/ 20 h 43"/>
                  <a:gd name="T22" fmla="*/ 38 w 38"/>
                  <a:gd name="T23" fmla="*/ 15 h 43"/>
                  <a:gd name="T24" fmla="*/ 36 w 38"/>
                  <a:gd name="T25" fmla="*/ 12 h 43"/>
                  <a:gd name="T26" fmla="*/ 30 w 38"/>
                  <a:gd name="T27" fmla="*/ 14 h 43"/>
                  <a:gd name="T28" fmla="*/ 20 w 38"/>
                  <a:gd name="T29" fmla="*/ 10 h 43"/>
                  <a:gd name="T30" fmla="*/ 3 w 38"/>
                  <a:gd name="T31"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43">
                    <a:moveTo>
                      <a:pt x="3" y="0"/>
                    </a:moveTo>
                    <a:cubicBezTo>
                      <a:pt x="1" y="0"/>
                      <a:pt x="1" y="2"/>
                      <a:pt x="1" y="4"/>
                    </a:cubicBezTo>
                    <a:cubicBezTo>
                      <a:pt x="1" y="4"/>
                      <a:pt x="2" y="5"/>
                      <a:pt x="2" y="5"/>
                    </a:cubicBezTo>
                    <a:cubicBezTo>
                      <a:pt x="8" y="7"/>
                      <a:pt x="8" y="7"/>
                      <a:pt x="7" y="13"/>
                    </a:cubicBezTo>
                    <a:cubicBezTo>
                      <a:pt x="7" y="15"/>
                      <a:pt x="6" y="18"/>
                      <a:pt x="6" y="21"/>
                    </a:cubicBezTo>
                    <a:cubicBezTo>
                      <a:pt x="6" y="26"/>
                      <a:pt x="5" y="27"/>
                      <a:pt x="4" y="31"/>
                    </a:cubicBezTo>
                    <a:cubicBezTo>
                      <a:pt x="4" y="34"/>
                      <a:pt x="0" y="43"/>
                      <a:pt x="4" y="43"/>
                    </a:cubicBezTo>
                    <a:cubicBezTo>
                      <a:pt x="4" y="43"/>
                      <a:pt x="5" y="43"/>
                      <a:pt x="6" y="43"/>
                    </a:cubicBezTo>
                    <a:cubicBezTo>
                      <a:pt x="13" y="39"/>
                      <a:pt x="23" y="36"/>
                      <a:pt x="29" y="30"/>
                    </a:cubicBezTo>
                    <a:cubicBezTo>
                      <a:pt x="31" y="28"/>
                      <a:pt x="36" y="25"/>
                      <a:pt x="37" y="22"/>
                    </a:cubicBezTo>
                    <a:cubicBezTo>
                      <a:pt x="38" y="21"/>
                      <a:pt x="36" y="21"/>
                      <a:pt x="37" y="20"/>
                    </a:cubicBezTo>
                    <a:cubicBezTo>
                      <a:pt x="37" y="18"/>
                      <a:pt x="38" y="17"/>
                      <a:pt x="38" y="15"/>
                    </a:cubicBezTo>
                    <a:cubicBezTo>
                      <a:pt x="38" y="13"/>
                      <a:pt x="37" y="12"/>
                      <a:pt x="36" y="12"/>
                    </a:cubicBezTo>
                    <a:cubicBezTo>
                      <a:pt x="35" y="12"/>
                      <a:pt x="33" y="13"/>
                      <a:pt x="30" y="14"/>
                    </a:cubicBezTo>
                    <a:cubicBezTo>
                      <a:pt x="28" y="12"/>
                      <a:pt x="23" y="12"/>
                      <a:pt x="20" y="10"/>
                    </a:cubicBezTo>
                    <a:cubicBezTo>
                      <a:pt x="14" y="6"/>
                      <a:pt x="9"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1173"/>
              <p:cNvSpPr/>
              <p:nvPr/>
            </p:nvSpPr>
            <p:spPr bwMode="auto">
              <a:xfrm>
                <a:off x="2119" y="137"/>
                <a:ext cx="7" cy="5"/>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0" y="1"/>
                      <a:pt x="1"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1174"/>
              <p:cNvSpPr/>
              <p:nvPr/>
            </p:nvSpPr>
            <p:spPr bwMode="auto">
              <a:xfrm>
                <a:off x="1908" y="674"/>
                <a:ext cx="26" cy="19"/>
              </a:xfrm>
              <a:custGeom>
                <a:gdLst>
                  <a:gd name="T0" fmla="*/ 9 w 11"/>
                  <a:gd name="T1" fmla="*/ 1 h 8"/>
                  <a:gd name="T2" fmla="*/ 0 w 11"/>
                  <a:gd name="T3" fmla="*/ 8 h 8"/>
                  <a:gd name="T4" fmla="*/ 4 w 11"/>
                  <a:gd name="T5" fmla="*/ 6 h 8"/>
                  <a:gd name="T6" fmla="*/ 4 w 11"/>
                  <a:gd name="T7" fmla="*/ 4 h 8"/>
                  <a:gd name="T8" fmla="*/ 5 w 11"/>
                  <a:gd name="T9" fmla="*/ 4 h 8"/>
                  <a:gd name="T10" fmla="*/ 6 w 11"/>
                  <a:gd name="T11" fmla="*/ 4 h 8"/>
                  <a:gd name="T12" fmla="*/ 7 w 11"/>
                  <a:gd name="T13" fmla="*/ 4 h 8"/>
                  <a:gd name="T14" fmla="*/ 7 w 11"/>
                  <a:gd name="T15" fmla="*/ 3 h 8"/>
                  <a:gd name="T16" fmla="*/ 8 w 11"/>
                  <a:gd name="T17" fmla="*/ 4 h 8"/>
                  <a:gd name="T18" fmla="*/ 10 w 11"/>
                  <a:gd name="T19" fmla="*/ 6 h 8"/>
                  <a:gd name="T20" fmla="*/ 11 w 11"/>
                  <a:gd name="T21" fmla="*/ 2 h 8"/>
                  <a:gd name="T22" fmla="*/ 9 w 11"/>
                  <a:gd name="T23" fmla="*/ 1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9" y="1"/>
                    </a:moveTo>
                    <a:cubicBezTo>
                      <a:pt x="7" y="0"/>
                      <a:pt x="1" y="6"/>
                      <a:pt x="0" y="8"/>
                    </a:cubicBezTo>
                    <a:cubicBezTo>
                      <a:pt x="1" y="7"/>
                      <a:pt x="3" y="6"/>
                      <a:pt x="4" y="6"/>
                    </a:cubicBezTo>
                    <a:cubicBezTo>
                      <a:pt x="4" y="6"/>
                      <a:pt x="4" y="5"/>
                      <a:pt x="4" y="4"/>
                    </a:cubicBezTo>
                    <a:cubicBezTo>
                      <a:pt x="5" y="4"/>
                      <a:pt x="5" y="4"/>
                      <a:pt x="5" y="4"/>
                    </a:cubicBezTo>
                    <a:cubicBezTo>
                      <a:pt x="5" y="4"/>
                      <a:pt x="6" y="4"/>
                      <a:pt x="6" y="4"/>
                    </a:cubicBezTo>
                    <a:cubicBezTo>
                      <a:pt x="6" y="4"/>
                      <a:pt x="6" y="4"/>
                      <a:pt x="7" y="4"/>
                    </a:cubicBezTo>
                    <a:cubicBezTo>
                      <a:pt x="7" y="4"/>
                      <a:pt x="7" y="4"/>
                      <a:pt x="7" y="3"/>
                    </a:cubicBezTo>
                    <a:cubicBezTo>
                      <a:pt x="8" y="3"/>
                      <a:pt x="8" y="4"/>
                      <a:pt x="8" y="4"/>
                    </a:cubicBezTo>
                    <a:cubicBezTo>
                      <a:pt x="9" y="4"/>
                      <a:pt x="9" y="5"/>
                      <a:pt x="10" y="6"/>
                    </a:cubicBezTo>
                    <a:cubicBezTo>
                      <a:pt x="10" y="5"/>
                      <a:pt x="11" y="3"/>
                      <a:pt x="11" y="2"/>
                    </a:cubicBezTo>
                    <a:cubicBezTo>
                      <a:pt x="11" y="1"/>
                      <a:pt x="10" y="1"/>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1175"/>
              <p:cNvSpPr/>
              <p:nvPr/>
            </p:nvSpPr>
            <p:spPr bwMode="auto">
              <a:xfrm>
                <a:off x="2216" y="234"/>
                <a:ext cx="23" cy="15"/>
              </a:xfrm>
              <a:custGeom>
                <a:gdLst>
                  <a:gd name="T0" fmla="*/ 2 w 10"/>
                  <a:gd name="T1" fmla="*/ 0 h 6"/>
                  <a:gd name="T2" fmla="*/ 0 w 10"/>
                  <a:gd name="T3" fmla="*/ 0 h 6"/>
                  <a:gd name="T4" fmla="*/ 4 w 10"/>
                  <a:gd name="T5" fmla="*/ 6 h 6"/>
                  <a:gd name="T6" fmla="*/ 2 w 10"/>
                  <a:gd name="T7" fmla="*/ 0 h 6"/>
                </a:gdLst>
                <a:cxnLst>
                  <a:cxn ang="0">
                    <a:pos x="T0" y="T1"/>
                  </a:cxn>
                  <a:cxn ang="0">
                    <a:pos x="T2" y="T3"/>
                  </a:cxn>
                  <a:cxn ang="0">
                    <a:pos x="T4" y="T5"/>
                  </a:cxn>
                  <a:cxn ang="0">
                    <a:pos x="T6" y="T7"/>
                  </a:cxn>
                </a:cxnLst>
                <a:rect l="0" t="0" r="r" b="b"/>
                <a:pathLst>
                  <a:path w="10" h="6">
                    <a:moveTo>
                      <a:pt x="2" y="0"/>
                    </a:moveTo>
                    <a:cubicBezTo>
                      <a:pt x="1" y="0"/>
                      <a:pt x="0" y="0"/>
                      <a:pt x="0" y="0"/>
                    </a:cubicBezTo>
                    <a:cubicBezTo>
                      <a:pt x="2" y="2"/>
                      <a:pt x="1" y="5"/>
                      <a:pt x="4" y="6"/>
                    </a:cubicBezTo>
                    <a:cubicBezTo>
                      <a:pt x="10" y="4"/>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Freeform 1176"/>
              <p:cNvSpPr/>
              <p:nvPr/>
            </p:nvSpPr>
            <p:spPr bwMode="auto">
              <a:xfrm>
                <a:off x="2041" y="104"/>
                <a:ext cx="26" cy="24"/>
              </a:xfrm>
              <a:custGeom>
                <a:gdLst>
                  <a:gd name="T0" fmla="*/ 2 w 11"/>
                  <a:gd name="T1" fmla="*/ 0 h 10"/>
                  <a:gd name="T2" fmla="*/ 1 w 11"/>
                  <a:gd name="T3" fmla="*/ 4 h 10"/>
                  <a:gd name="T4" fmla="*/ 7 w 11"/>
                  <a:gd name="T5" fmla="*/ 10 h 10"/>
                  <a:gd name="T6" fmla="*/ 7 w 11"/>
                  <a:gd name="T7" fmla="*/ 1 h 10"/>
                  <a:gd name="T8" fmla="*/ 2 w 11"/>
                  <a:gd name="T9" fmla="*/ 0 h 10"/>
                </a:gdLst>
                <a:cxnLst>
                  <a:cxn ang="0">
                    <a:pos x="T0" y="T1"/>
                  </a:cxn>
                  <a:cxn ang="0">
                    <a:pos x="T2" y="T3"/>
                  </a:cxn>
                  <a:cxn ang="0">
                    <a:pos x="T4" y="T5"/>
                  </a:cxn>
                  <a:cxn ang="0">
                    <a:pos x="T6" y="T7"/>
                  </a:cxn>
                  <a:cxn ang="0">
                    <a:pos x="T8" y="T9"/>
                  </a:cxn>
                </a:cxnLst>
                <a:rect l="0" t="0" r="r" b="b"/>
                <a:pathLst>
                  <a:path w="11" h="10">
                    <a:moveTo>
                      <a:pt x="2" y="0"/>
                    </a:moveTo>
                    <a:cubicBezTo>
                      <a:pt x="2" y="1"/>
                      <a:pt x="0" y="2"/>
                      <a:pt x="1" y="4"/>
                    </a:cubicBezTo>
                    <a:cubicBezTo>
                      <a:pt x="1" y="8"/>
                      <a:pt x="4" y="8"/>
                      <a:pt x="7" y="10"/>
                    </a:cubicBezTo>
                    <a:cubicBezTo>
                      <a:pt x="8" y="6"/>
                      <a:pt x="11" y="3"/>
                      <a:pt x="7" y="1"/>
                    </a:cubicBezTo>
                    <a:cubicBezTo>
                      <a:pt x="6"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1177"/>
              <p:cNvSpPr/>
              <p:nvPr/>
            </p:nvSpPr>
            <p:spPr bwMode="auto">
              <a:xfrm>
                <a:off x="1906" y="192"/>
                <a:ext cx="33" cy="23"/>
              </a:xfrm>
              <a:custGeom>
                <a:gdLst>
                  <a:gd name="T0" fmla="*/ 1 w 14"/>
                  <a:gd name="T1" fmla="*/ 0 h 10"/>
                  <a:gd name="T2" fmla="*/ 1 w 14"/>
                  <a:gd name="T3" fmla="*/ 0 h 10"/>
                  <a:gd name="T4" fmla="*/ 0 w 14"/>
                  <a:gd name="T5" fmla="*/ 3 h 10"/>
                  <a:gd name="T6" fmla="*/ 1 w 14"/>
                  <a:gd name="T7" fmla="*/ 3 h 10"/>
                  <a:gd name="T8" fmla="*/ 3 w 14"/>
                  <a:gd name="T9" fmla="*/ 6 h 10"/>
                  <a:gd name="T10" fmla="*/ 7 w 14"/>
                  <a:gd name="T11" fmla="*/ 10 h 10"/>
                  <a:gd name="T12" fmla="*/ 14 w 14"/>
                  <a:gd name="T13" fmla="*/ 6 h 10"/>
                  <a:gd name="T14" fmla="*/ 11 w 14"/>
                  <a:gd name="T15" fmla="*/ 2 h 10"/>
                  <a:gd name="T16" fmla="*/ 11 w 14"/>
                  <a:gd name="T17" fmla="*/ 5 h 10"/>
                  <a:gd name="T18" fmla="*/ 11 w 14"/>
                  <a:gd name="T19" fmla="*/ 5 h 10"/>
                  <a:gd name="T20" fmla="*/ 6 w 14"/>
                  <a:gd name="T21" fmla="*/ 2 h 10"/>
                  <a:gd name="T22" fmla="*/ 1 w 14"/>
                  <a:gd name="T23"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0">
                    <a:moveTo>
                      <a:pt x="1" y="0"/>
                    </a:moveTo>
                    <a:cubicBezTo>
                      <a:pt x="1" y="0"/>
                      <a:pt x="1" y="0"/>
                      <a:pt x="1" y="0"/>
                    </a:cubicBezTo>
                    <a:cubicBezTo>
                      <a:pt x="1" y="2"/>
                      <a:pt x="1" y="2"/>
                      <a:pt x="0" y="3"/>
                    </a:cubicBezTo>
                    <a:cubicBezTo>
                      <a:pt x="1" y="3"/>
                      <a:pt x="1" y="3"/>
                      <a:pt x="1" y="3"/>
                    </a:cubicBezTo>
                    <a:cubicBezTo>
                      <a:pt x="2" y="3"/>
                      <a:pt x="2" y="5"/>
                      <a:pt x="3" y="6"/>
                    </a:cubicBezTo>
                    <a:cubicBezTo>
                      <a:pt x="4" y="8"/>
                      <a:pt x="5" y="9"/>
                      <a:pt x="7" y="10"/>
                    </a:cubicBezTo>
                    <a:cubicBezTo>
                      <a:pt x="10" y="8"/>
                      <a:pt x="12" y="7"/>
                      <a:pt x="14" y="6"/>
                    </a:cubicBezTo>
                    <a:cubicBezTo>
                      <a:pt x="13" y="5"/>
                      <a:pt x="12" y="3"/>
                      <a:pt x="11" y="2"/>
                    </a:cubicBezTo>
                    <a:cubicBezTo>
                      <a:pt x="11" y="3"/>
                      <a:pt x="11" y="4"/>
                      <a:pt x="11" y="5"/>
                    </a:cubicBezTo>
                    <a:cubicBezTo>
                      <a:pt x="11" y="5"/>
                      <a:pt x="11" y="5"/>
                      <a:pt x="11" y="5"/>
                    </a:cubicBezTo>
                    <a:cubicBezTo>
                      <a:pt x="10" y="5"/>
                      <a:pt x="8" y="4"/>
                      <a:pt x="6" y="2"/>
                    </a:cubicBezTo>
                    <a:cubicBezTo>
                      <a:pt x="4"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Freeform 1178"/>
              <p:cNvSpPr/>
              <p:nvPr/>
            </p:nvSpPr>
            <p:spPr bwMode="auto">
              <a:xfrm>
                <a:off x="2294" y="319"/>
                <a:ext cx="11" cy="36"/>
              </a:xfrm>
              <a:custGeom>
                <a:gdLst>
                  <a:gd name="T0" fmla="*/ 4 w 5"/>
                  <a:gd name="T1" fmla="*/ 0 h 15"/>
                  <a:gd name="T2" fmla="*/ 0 w 5"/>
                  <a:gd name="T3" fmla="*/ 7 h 15"/>
                  <a:gd name="T4" fmla="*/ 1 w 5"/>
                  <a:gd name="T5" fmla="*/ 11 h 15"/>
                  <a:gd name="T6" fmla="*/ 2 w 5"/>
                  <a:gd name="T7" fmla="*/ 14 h 15"/>
                  <a:gd name="T8" fmla="*/ 3 w 5"/>
                  <a:gd name="T9" fmla="*/ 14 h 15"/>
                  <a:gd name="T10" fmla="*/ 3 w 5"/>
                  <a:gd name="T11" fmla="*/ 15 h 15"/>
                  <a:gd name="T12" fmla="*/ 4 w 5"/>
                  <a:gd name="T13" fmla="*/ 15 h 15"/>
                  <a:gd name="T14" fmla="*/ 4 w 5"/>
                  <a:gd name="T15" fmla="*/ 0 h 1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5">
                    <a:moveTo>
                      <a:pt x="4" y="0"/>
                    </a:moveTo>
                    <a:cubicBezTo>
                      <a:pt x="3" y="3"/>
                      <a:pt x="1" y="4"/>
                      <a:pt x="0" y="7"/>
                    </a:cubicBezTo>
                    <a:cubicBezTo>
                      <a:pt x="0" y="9"/>
                      <a:pt x="0" y="10"/>
                      <a:pt x="1" y="11"/>
                    </a:cubicBezTo>
                    <a:cubicBezTo>
                      <a:pt x="1" y="12"/>
                      <a:pt x="5" y="11"/>
                      <a:pt x="2" y="14"/>
                    </a:cubicBezTo>
                    <a:cubicBezTo>
                      <a:pt x="3" y="14"/>
                      <a:pt x="3" y="14"/>
                      <a:pt x="3" y="14"/>
                    </a:cubicBezTo>
                    <a:cubicBezTo>
                      <a:pt x="3" y="14"/>
                      <a:pt x="3" y="14"/>
                      <a:pt x="3" y="15"/>
                    </a:cubicBezTo>
                    <a:cubicBezTo>
                      <a:pt x="4" y="15"/>
                      <a:pt x="4" y="15"/>
                      <a:pt x="4" y="15"/>
                    </a:cubicBezTo>
                    <a:cubicBezTo>
                      <a:pt x="4" y="10"/>
                      <a:pt x="5" y="5"/>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1179"/>
              <p:cNvSpPr/>
              <p:nvPr/>
            </p:nvSpPr>
            <p:spPr bwMode="auto">
              <a:xfrm>
                <a:off x="1939" y="107"/>
                <a:ext cx="85" cy="90"/>
              </a:xfrm>
              <a:custGeom>
                <a:gdLst>
                  <a:gd name="T0" fmla="*/ 3 w 36"/>
                  <a:gd name="T1" fmla="*/ 0 h 38"/>
                  <a:gd name="T2" fmla="*/ 0 w 36"/>
                  <a:gd name="T3" fmla="*/ 2 h 38"/>
                  <a:gd name="T4" fmla="*/ 13 w 36"/>
                  <a:gd name="T5" fmla="*/ 19 h 38"/>
                  <a:gd name="T6" fmla="*/ 27 w 36"/>
                  <a:gd name="T7" fmla="*/ 38 h 38"/>
                  <a:gd name="T8" fmla="*/ 30 w 36"/>
                  <a:gd name="T9" fmla="*/ 35 h 38"/>
                  <a:gd name="T10" fmla="*/ 31 w 36"/>
                  <a:gd name="T11" fmla="*/ 36 h 38"/>
                  <a:gd name="T12" fmla="*/ 32 w 36"/>
                  <a:gd name="T13" fmla="*/ 34 h 38"/>
                  <a:gd name="T14" fmla="*/ 33 w 36"/>
                  <a:gd name="T15" fmla="*/ 34 h 38"/>
                  <a:gd name="T16" fmla="*/ 34 w 36"/>
                  <a:gd name="T17" fmla="*/ 29 h 38"/>
                  <a:gd name="T18" fmla="*/ 35 w 36"/>
                  <a:gd name="T19" fmla="*/ 20 h 38"/>
                  <a:gd name="T20" fmla="*/ 34 w 36"/>
                  <a:gd name="T21" fmla="*/ 15 h 38"/>
                  <a:gd name="T22" fmla="*/ 36 w 36"/>
                  <a:gd name="T23" fmla="*/ 12 h 38"/>
                  <a:gd name="T24" fmla="*/ 30 w 36"/>
                  <a:gd name="T25" fmla="*/ 8 h 38"/>
                  <a:gd name="T26" fmla="*/ 17 w 36"/>
                  <a:gd name="T27" fmla="*/ 0 h 38"/>
                  <a:gd name="T28" fmla="*/ 12 w 36"/>
                  <a:gd name="T29" fmla="*/ 1 h 38"/>
                  <a:gd name="T30" fmla="*/ 10 w 36"/>
                  <a:gd name="T31" fmla="*/ 1 h 38"/>
                  <a:gd name="T32" fmla="*/ 6 w 36"/>
                  <a:gd name="T33" fmla="*/ 0 h 38"/>
                  <a:gd name="T34" fmla="*/ 3 w 36"/>
                  <a:gd name="T35" fmla="*/ 0 h 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38">
                    <a:moveTo>
                      <a:pt x="3" y="0"/>
                    </a:moveTo>
                    <a:cubicBezTo>
                      <a:pt x="2" y="0"/>
                      <a:pt x="0" y="0"/>
                      <a:pt x="0" y="2"/>
                    </a:cubicBezTo>
                    <a:cubicBezTo>
                      <a:pt x="8" y="3"/>
                      <a:pt x="10" y="12"/>
                      <a:pt x="13" y="19"/>
                    </a:cubicBezTo>
                    <a:cubicBezTo>
                      <a:pt x="15" y="27"/>
                      <a:pt x="21" y="32"/>
                      <a:pt x="27" y="38"/>
                    </a:cubicBezTo>
                    <a:cubicBezTo>
                      <a:pt x="28" y="37"/>
                      <a:pt x="29" y="35"/>
                      <a:pt x="30" y="35"/>
                    </a:cubicBezTo>
                    <a:cubicBezTo>
                      <a:pt x="30" y="35"/>
                      <a:pt x="31" y="36"/>
                      <a:pt x="31" y="36"/>
                    </a:cubicBezTo>
                    <a:cubicBezTo>
                      <a:pt x="31" y="35"/>
                      <a:pt x="31" y="34"/>
                      <a:pt x="32" y="34"/>
                    </a:cubicBezTo>
                    <a:cubicBezTo>
                      <a:pt x="32" y="34"/>
                      <a:pt x="32" y="34"/>
                      <a:pt x="33" y="34"/>
                    </a:cubicBezTo>
                    <a:cubicBezTo>
                      <a:pt x="31" y="31"/>
                      <a:pt x="33" y="31"/>
                      <a:pt x="34" y="29"/>
                    </a:cubicBezTo>
                    <a:cubicBezTo>
                      <a:pt x="36" y="25"/>
                      <a:pt x="36" y="25"/>
                      <a:pt x="35" y="20"/>
                    </a:cubicBezTo>
                    <a:cubicBezTo>
                      <a:pt x="34" y="19"/>
                      <a:pt x="34" y="16"/>
                      <a:pt x="34" y="15"/>
                    </a:cubicBezTo>
                    <a:cubicBezTo>
                      <a:pt x="34" y="14"/>
                      <a:pt x="36" y="13"/>
                      <a:pt x="36" y="12"/>
                    </a:cubicBezTo>
                    <a:cubicBezTo>
                      <a:pt x="36" y="11"/>
                      <a:pt x="31" y="9"/>
                      <a:pt x="30" y="8"/>
                    </a:cubicBezTo>
                    <a:cubicBezTo>
                      <a:pt x="25" y="5"/>
                      <a:pt x="21" y="3"/>
                      <a:pt x="17" y="0"/>
                    </a:cubicBezTo>
                    <a:cubicBezTo>
                      <a:pt x="17" y="1"/>
                      <a:pt x="14" y="1"/>
                      <a:pt x="12" y="1"/>
                    </a:cubicBezTo>
                    <a:cubicBezTo>
                      <a:pt x="11" y="1"/>
                      <a:pt x="10" y="1"/>
                      <a:pt x="10" y="1"/>
                    </a:cubicBezTo>
                    <a:cubicBezTo>
                      <a:pt x="9" y="1"/>
                      <a:pt x="8" y="0"/>
                      <a:pt x="6"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Freeform 1180"/>
              <p:cNvSpPr/>
              <p:nvPr/>
            </p:nvSpPr>
            <p:spPr bwMode="auto">
              <a:xfrm>
                <a:off x="2045" y="166"/>
                <a:ext cx="22" cy="40"/>
              </a:xfrm>
              <a:custGeom>
                <a:gdLst>
                  <a:gd name="T0" fmla="*/ 7 w 9"/>
                  <a:gd name="T1" fmla="*/ 0 h 17"/>
                  <a:gd name="T2" fmla="*/ 6 w 9"/>
                  <a:gd name="T3" fmla="*/ 0 h 17"/>
                  <a:gd name="T4" fmla="*/ 4 w 9"/>
                  <a:gd name="T5" fmla="*/ 17 h 17"/>
                  <a:gd name="T6" fmla="*/ 8 w 9"/>
                  <a:gd name="T7" fmla="*/ 3 h 17"/>
                  <a:gd name="T8" fmla="*/ 7 w 9"/>
                  <a:gd name="T9" fmla="*/ 0 h 17"/>
                </a:gdLst>
                <a:cxnLst>
                  <a:cxn ang="0">
                    <a:pos x="T0" y="T1"/>
                  </a:cxn>
                  <a:cxn ang="0">
                    <a:pos x="T2" y="T3"/>
                  </a:cxn>
                  <a:cxn ang="0">
                    <a:pos x="T4" y="T5"/>
                  </a:cxn>
                  <a:cxn ang="0">
                    <a:pos x="T6" y="T7"/>
                  </a:cxn>
                  <a:cxn ang="0">
                    <a:pos x="T8" y="T9"/>
                  </a:cxn>
                </a:cxnLst>
                <a:rect l="0" t="0" r="r" b="b"/>
                <a:pathLst>
                  <a:path w="9" h="17">
                    <a:moveTo>
                      <a:pt x="7" y="0"/>
                    </a:moveTo>
                    <a:cubicBezTo>
                      <a:pt x="7" y="0"/>
                      <a:pt x="7" y="0"/>
                      <a:pt x="6" y="0"/>
                    </a:cubicBezTo>
                    <a:cubicBezTo>
                      <a:pt x="0" y="3"/>
                      <a:pt x="2" y="12"/>
                      <a:pt x="4" y="17"/>
                    </a:cubicBezTo>
                    <a:cubicBezTo>
                      <a:pt x="6" y="15"/>
                      <a:pt x="7" y="6"/>
                      <a:pt x="8" y="3"/>
                    </a:cubicBezTo>
                    <a:cubicBezTo>
                      <a:pt x="8"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Freeform 1181"/>
              <p:cNvSpPr/>
              <p:nvPr/>
            </p:nvSpPr>
            <p:spPr bwMode="auto">
              <a:xfrm>
                <a:off x="2192" y="69"/>
                <a:ext cx="31" cy="38"/>
              </a:xfrm>
              <a:custGeom>
                <a:gdLst>
                  <a:gd name="T0" fmla="*/ 5 w 13"/>
                  <a:gd name="T1" fmla="*/ 0 h 16"/>
                  <a:gd name="T2" fmla="*/ 4 w 13"/>
                  <a:gd name="T3" fmla="*/ 5 h 16"/>
                  <a:gd name="T4" fmla="*/ 1 w 13"/>
                  <a:gd name="T5" fmla="*/ 11 h 16"/>
                  <a:gd name="T6" fmla="*/ 6 w 13"/>
                  <a:gd name="T7" fmla="*/ 16 h 16"/>
                  <a:gd name="T8" fmla="*/ 11 w 13"/>
                  <a:gd name="T9" fmla="*/ 5 h 16"/>
                  <a:gd name="T10" fmla="*/ 10 w 13"/>
                  <a:gd name="T11" fmla="*/ 4 h 16"/>
                  <a:gd name="T12" fmla="*/ 9 w 13"/>
                  <a:gd name="T13" fmla="*/ 4 h 16"/>
                  <a:gd name="T14" fmla="*/ 5 w 13"/>
                  <a:gd name="T15" fmla="*/ 0 h 1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
                    <a:moveTo>
                      <a:pt x="5" y="0"/>
                    </a:moveTo>
                    <a:cubicBezTo>
                      <a:pt x="4" y="0"/>
                      <a:pt x="4" y="2"/>
                      <a:pt x="4" y="5"/>
                    </a:cubicBezTo>
                    <a:cubicBezTo>
                      <a:pt x="4" y="9"/>
                      <a:pt x="3" y="8"/>
                      <a:pt x="1" y="11"/>
                    </a:cubicBezTo>
                    <a:cubicBezTo>
                      <a:pt x="0" y="13"/>
                      <a:pt x="5" y="15"/>
                      <a:pt x="6" y="16"/>
                    </a:cubicBezTo>
                    <a:cubicBezTo>
                      <a:pt x="8" y="13"/>
                      <a:pt x="13" y="8"/>
                      <a:pt x="11" y="5"/>
                    </a:cubicBezTo>
                    <a:cubicBezTo>
                      <a:pt x="11" y="4"/>
                      <a:pt x="10" y="4"/>
                      <a:pt x="10" y="4"/>
                    </a:cubicBezTo>
                    <a:cubicBezTo>
                      <a:pt x="10" y="4"/>
                      <a:pt x="9" y="4"/>
                      <a:pt x="9" y="4"/>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1" name="Freeform 1182"/>
              <p:cNvSpPr/>
              <p:nvPr/>
            </p:nvSpPr>
            <p:spPr bwMode="auto">
              <a:xfrm>
                <a:off x="1977" y="622"/>
                <a:ext cx="42" cy="14"/>
              </a:xfrm>
              <a:custGeom>
                <a:gdLst>
                  <a:gd name="T0" fmla="*/ 6 w 18"/>
                  <a:gd name="T1" fmla="*/ 0 h 6"/>
                  <a:gd name="T2" fmla="*/ 3 w 18"/>
                  <a:gd name="T3" fmla="*/ 1 h 6"/>
                  <a:gd name="T4" fmla="*/ 0 w 18"/>
                  <a:gd name="T5" fmla="*/ 2 h 6"/>
                  <a:gd name="T6" fmla="*/ 12 w 18"/>
                  <a:gd name="T7" fmla="*/ 6 h 6"/>
                  <a:gd name="T8" fmla="*/ 13 w 18"/>
                  <a:gd name="T9" fmla="*/ 2 h 6"/>
                  <a:gd name="T10" fmla="*/ 13 w 18"/>
                  <a:gd name="T11" fmla="*/ 2 h 6"/>
                  <a:gd name="T12" fmla="*/ 11 w 18"/>
                  <a:gd name="T13" fmla="*/ 2 h 6"/>
                  <a:gd name="T14" fmla="*/ 10 w 18"/>
                  <a:gd name="T15" fmla="*/ 2 h 6"/>
                  <a:gd name="T16" fmla="*/ 10 w 18"/>
                  <a:gd name="T17" fmla="*/ 2 h 6"/>
                  <a:gd name="T18" fmla="*/ 9 w 18"/>
                  <a:gd name="T19" fmla="*/ 1 h 6"/>
                  <a:gd name="T20" fmla="*/ 6 w 18"/>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6">
                    <a:moveTo>
                      <a:pt x="6" y="0"/>
                    </a:moveTo>
                    <a:cubicBezTo>
                      <a:pt x="5" y="0"/>
                      <a:pt x="4" y="0"/>
                      <a:pt x="3" y="1"/>
                    </a:cubicBezTo>
                    <a:cubicBezTo>
                      <a:pt x="2" y="1"/>
                      <a:pt x="1" y="2"/>
                      <a:pt x="0" y="2"/>
                    </a:cubicBezTo>
                    <a:cubicBezTo>
                      <a:pt x="0" y="5"/>
                      <a:pt x="11" y="6"/>
                      <a:pt x="12" y="6"/>
                    </a:cubicBezTo>
                    <a:cubicBezTo>
                      <a:pt x="16" y="5"/>
                      <a:pt x="18" y="3"/>
                      <a:pt x="13" y="2"/>
                    </a:cubicBezTo>
                    <a:cubicBezTo>
                      <a:pt x="13" y="2"/>
                      <a:pt x="13" y="2"/>
                      <a:pt x="13" y="2"/>
                    </a:cubicBezTo>
                    <a:cubicBezTo>
                      <a:pt x="12" y="2"/>
                      <a:pt x="12" y="2"/>
                      <a:pt x="11" y="2"/>
                    </a:cubicBezTo>
                    <a:cubicBezTo>
                      <a:pt x="11" y="2"/>
                      <a:pt x="10" y="2"/>
                      <a:pt x="10" y="2"/>
                    </a:cubicBezTo>
                    <a:cubicBezTo>
                      <a:pt x="10" y="2"/>
                      <a:pt x="10" y="2"/>
                      <a:pt x="10" y="2"/>
                    </a:cubicBezTo>
                    <a:cubicBezTo>
                      <a:pt x="9" y="2"/>
                      <a:pt x="9" y="1"/>
                      <a:pt x="9" y="1"/>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Freeform 1183"/>
              <p:cNvSpPr/>
              <p:nvPr/>
            </p:nvSpPr>
            <p:spPr bwMode="auto">
              <a:xfrm>
                <a:off x="2913" y="511"/>
                <a:ext cx="9" cy="24"/>
              </a:xfrm>
              <a:custGeom>
                <a:gdLst>
                  <a:gd name="T0" fmla="*/ 4 w 4"/>
                  <a:gd name="T1" fmla="*/ 0 h 10"/>
                  <a:gd name="T2" fmla="*/ 4 w 4"/>
                  <a:gd name="T3" fmla="*/ 0 h 10"/>
                  <a:gd name="T4" fmla="*/ 2 w 4"/>
                  <a:gd name="T5" fmla="*/ 2 h 10"/>
                  <a:gd name="T6" fmla="*/ 0 w 4"/>
                  <a:gd name="T7" fmla="*/ 8 h 10"/>
                  <a:gd name="T8" fmla="*/ 1 w 4"/>
                  <a:gd name="T9" fmla="*/ 10 h 10"/>
                  <a:gd name="T10" fmla="*/ 1 w 4"/>
                  <a:gd name="T11" fmla="*/ 9 h 10"/>
                  <a:gd name="T12" fmla="*/ 4 w 4"/>
                  <a:gd name="T13" fmla="*/ 2 h 10"/>
                  <a:gd name="T14" fmla="*/ 4 w 4"/>
                  <a:gd name="T15" fmla="*/ 0 h 10"/>
                  <a:gd name="T16" fmla="*/ 4 w 4"/>
                  <a:gd name="T1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4" y="0"/>
                    </a:moveTo>
                    <a:cubicBezTo>
                      <a:pt x="4" y="0"/>
                      <a:pt x="4" y="0"/>
                      <a:pt x="4" y="0"/>
                    </a:cubicBezTo>
                    <a:cubicBezTo>
                      <a:pt x="3" y="1"/>
                      <a:pt x="3" y="1"/>
                      <a:pt x="2" y="2"/>
                    </a:cubicBezTo>
                    <a:cubicBezTo>
                      <a:pt x="1" y="4"/>
                      <a:pt x="0" y="6"/>
                      <a:pt x="0" y="8"/>
                    </a:cubicBezTo>
                    <a:cubicBezTo>
                      <a:pt x="0" y="8"/>
                      <a:pt x="0" y="9"/>
                      <a:pt x="1" y="10"/>
                    </a:cubicBezTo>
                    <a:cubicBezTo>
                      <a:pt x="1" y="9"/>
                      <a:pt x="1" y="9"/>
                      <a:pt x="1" y="9"/>
                    </a:cubicBezTo>
                    <a:cubicBezTo>
                      <a:pt x="3" y="7"/>
                      <a:pt x="4" y="5"/>
                      <a:pt x="4" y="2"/>
                    </a:cubicBezTo>
                    <a:cubicBezTo>
                      <a:pt x="4" y="2"/>
                      <a:pt x="4"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3" name="Freeform 1184"/>
              <p:cNvSpPr/>
              <p:nvPr/>
            </p:nvSpPr>
            <p:spPr bwMode="auto">
              <a:xfrm>
                <a:off x="2903" y="537"/>
                <a:ext cx="5" cy="7"/>
              </a:xfrm>
              <a:custGeom>
                <a:gdLst>
                  <a:gd name="T0" fmla="*/ 2 w 2"/>
                  <a:gd name="T1" fmla="*/ 0 h 3"/>
                  <a:gd name="T2" fmla="*/ 2 w 2"/>
                  <a:gd name="T3" fmla="*/ 1 h 3"/>
                  <a:gd name="T4" fmla="*/ 0 w 2"/>
                  <a:gd name="T5" fmla="*/ 3 h 3"/>
                  <a:gd name="T6" fmla="*/ 2 w 2"/>
                  <a:gd name="T7" fmla="*/ 1 h 3"/>
                  <a:gd name="T8" fmla="*/ 2 w 2"/>
                  <a:gd name="T9" fmla="*/ 0 h 3"/>
                </a:gdLst>
                <a:cxnLst>
                  <a:cxn ang="0">
                    <a:pos x="T0" y="T1"/>
                  </a:cxn>
                  <a:cxn ang="0">
                    <a:pos x="T2" y="T3"/>
                  </a:cxn>
                  <a:cxn ang="0">
                    <a:pos x="T4" y="T5"/>
                  </a:cxn>
                  <a:cxn ang="0">
                    <a:pos x="T6" y="T7"/>
                  </a:cxn>
                  <a:cxn ang="0">
                    <a:pos x="T8" y="T9"/>
                  </a:cxn>
                </a:cxnLst>
                <a:rect l="0" t="0" r="r" b="b"/>
                <a:pathLst>
                  <a:path w="2" h="3">
                    <a:moveTo>
                      <a:pt x="2" y="0"/>
                    </a:moveTo>
                    <a:cubicBezTo>
                      <a:pt x="2" y="1"/>
                      <a:pt x="2" y="1"/>
                      <a:pt x="2" y="1"/>
                    </a:cubicBezTo>
                    <a:cubicBezTo>
                      <a:pt x="1" y="1"/>
                      <a:pt x="0" y="2"/>
                      <a:pt x="0" y="3"/>
                    </a:cubicBezTo>
                    <a:cubicBezTo>
                      <a:pt x="1" y="2"/>
                      <a:pt x="1" y="2"/>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Freeform 1185"/>
              <p:cNvSpPr/>
              <p:nvPr/>
            </p:nvSpPr>
            <p:spPr bwMode="auto">
              <a:xfrm>
                <a:off x="5177" y="4496"/>
                <a:ext cx="49" cy="52"/>
              </a:xfrm>
              <a:custGeom>
                <a:gdLst>
                  <a:gd name="T0" fmla="*/ 10 w 21"/>
                  <a:gd name="T1" fmla="*/ 0 h 22"/>
                  <a:gd name="T2" fmla="*/ 6 w 21"/>
                  <a:gd name="T3" fmla="*/ 2 h 22"/>
                  <a:gd name="T4" fmla="*/ 7 w 21"/>
                  <a:gd name="T5" fmla="*/ 8 h 22"/>
                  <a:gd name="T6" fmla="*/ 0 w 21"/>
                  <a:gd name="T7" fmla="*/ 22 h 22"/>
                  <a:gd name="T8" fmla="*/ 5 w 21"/>
                  <a:gd name="T9" fmla="*/ 18 h 22"/>
                  <a:gd name="T10" fmla="*/ 6 w 21"/>
                  <a:gd name="T11" fmla="*/ 18 h 22"/>
                  <a:gd name="T12" fmla="*/ 8 w 21"/>
                  <a:gd name="T13" fmla="*/ 18 h 22"/>
                  <a:gd name="T14" fmla="*/ 10 w 21"/>
                  <a:gd name="T15" fmla="*/ 18 h 22"/>
                  <a:gd name="T16" fmla="*/ 12 w 21"/>
                  <a:gd name="T17" fmla="*/ 18 h 22"/>
                  <a:gd name="T18" fmla="*/ 20 w 21"/>
                  <a:gd name="T19" fmla="*/ 15 h 22"/>
                  <a:gd name="T20" fmla="*/ 20 w 21"/>
                  <a:gd name="T21" fmla="*/ 9 h 22"/>
                  <a:gd name="T22" fmla="*/ 18 w 21"/>
                  <a:gd name="T23" fmla="*/ 11 h 22"/>
                  <a:gd name="T24" fmla="*/ 13 w 21"/>
                  <a:gd name="T25" fmla="*/ 8 h 22"/>
                  <a:gd name="T26" fmla="*/ 15 w 21"/>
                  <a:gd name="T27" fmla="*/ 3 h 22"/>
                  <a:gd name="T28" fmla="*/ 10 w 21"/>
                  <a:gd name="T29"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2">
                    <a:moveTo>
                      <a:pt x="10" y="0"/>
                    </a:moveTo>
                    <a:cubicBezTo>
                      <a:pt x="8" y="0"/>
                      <a:pt x="7" y="1"/>
                      <a:pt x="6" y="2"/>
                    </a:cubicBezTo>
                    <a:cubicBezTo>
                      <a:pt x="5" y="3"/>
                      <a:pt x="8" y="6"/>
                      <a:pt x="7" y="8"/>
                    </a:cubicBezTo>
                    <a:cubicBezTo>
                      <a:pt x="7" y="13"/>
                      <a:pt x="1" y="17"/>
                      <a:pt x="0" y="22"/>
                    </a:cubicBezTo>
                    <a:cubicBezTo>
                      <a:pt x="3" y="22"/>
                      <a:pt x="3" y="19"/>
                      <a:pt x="5" y="18"/>
                    </a:cubicBezTo>
                    <a:cubicBezTo>
                      <a:pt x="6" y="18"/>
                      <a:pt x="6" y="18"/>
                      <a:pt x="6" y="18"/>
                    </a:cubicBezTo>
                    <a:cubicBezTo>
                      <a:pt x="7" y="18"/>
                      <a:pt x="8" y="18"/>
                      <a:pt x="8" y="18"/>
                    </a:cubicBezTo>
                    <a:cubicBezTo>
                      <a:pt x="9" y="18"/>
                      <a:pt x="9" y="18"/>
                      <a:pt x="10" y="18"/>
                    </a:cubicBezTo>
                    <a:cubicBezTo>
                      <a:pt x="10" y="18"/>
                      <a:pt x="11" y="18"/>
                      <a:pt x="12" y="18"/>
                    </a:cubicBezTo>
                    <a:cubicBezTo>
                      <a:pt x="14" y="16"/>
                      <a:pt x="19" y="17"/>
                      <a:pt x="20" y="15"/>
                    </a:cubicBezTo>
                    <a:cubicBezTo>
                      <a:pt x="21" y="14"/>
                      <a:pt x="20" y="11"/>
                      <a:pt x="20" y="9"/>
                    </a:cubicBezTo>
                    <a:cubicBezTo>
                      <a:pt x="19" y="10"/>
                      <a:pt x="19" y="11"/>
                      <a:pt x="18" y="11"/>
                    </a:cubicBezTo>
                    <a:cubicBezTo>
                      <a:pt x="17" y="11"/>
                      <a:pt x="15" y="9"/>
                      <a:pt x="13" y="8"/>
                    </a:cubicBezTo>
                    <a:cubicBezTo>
                      <a:pt x="20" y="8"/>
                      <a:pt x="18" y="7"/>
                      <a:pt x="15" y="3"/>
                    </a:cubicBezTo>
                    <a:cubicBezTo>
                      <a:pt x="13" y="2"/>
                      <a:pt x="12"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Freeform 1186"/>
              <p:cNvSpPr/>
              <p:nvPr/>
            </p:nvSpPr>
            <p:spPr bwMode="auto">
              <a:xfrm>
                <a:off x="5531" y="3496"/>
                <a:ext cx="404" cy="572"/>
              </a:xfrm>
              <a:custGeom>
                <a:gdLst>
                  <a:gd name="T0" fmla="*/ 4 w 171"/>
                  <a:gd name="T1" fmla="*/ 1 h 242"/>
                  <a:gd name="T2" fmla="*/ 0 w 171"/>
                  <a:gd name="T3" fmla="*/ 1 h 242"/>
                  <a:gd name="T4" fmla="*/ 20 w 171"/>
                  <a:gd name="T5" fmla="*/ 37 h 242"/>
                  <a:gd name="T6" fmla="*/ 25 w 171"/>
                  <a:gd name="T7" fmla="*/ 34 h 242"/>
                  <a:gd name="T8" fmla="*/ 28 w 171"/>
                  <a:gd name="T9" fmla="*/ 43 h 242"/>
                  <a:gd name="T10" fmla="*/ 42 w 171"/>
                  <a:gd name="T11" fmla="*/ 66 h 242"/>
                  <a:gd name="T12" fmla="*/ 38 w 171"/>
                  <a:gd name="T13" fmla="*/ 57 h 242"/>
                  <a:gd name="T14" fmla="*/ 45 w 171"/>
                  <a:gd name="T15" fmla="*/ 61 h 242"/>
                  <a:gd name="T16" fmla="*/ 47 w 171"/>
                  <a:gd name="T17" fmla="*/ 59 h 242"/>
                  <a:gd name="T18" fmla="*/ 48 w 171"/>
                  <a:gd name="T19" fmla="*/ 62 h 242"/>
                  <a:gd name="T20" fmla="*/ 46 w 171"/>
                  <a:gd name="T21" fmla="*/ 65 h 242"/>
                  <a:gd name="T22" fmla="*/ 44 w 171"/>
                  <a:gd name="T23" fmla="*/ 69 h 242"/>
                  <a:gd name="T24" fmla="*/ 47 w 171"/>
                  <a:gd name="T25" fmla="*/ 75 h 242"/>
                  <a:gd name="T26" fmla="*/ 53 w 171"/>
                  <a:gd name="T27" fmla="*/ 87 h 242"/>
                  <a:gd name="T28" fmla="*/ 57 w 171"/>
                  <a:gd name="T29" fmla="*/ 84 h 242"/>
                  <a:gd name="T30" fmla="*/ 57 w 171"/>
                  <a:gd name="T31" fmla="*/ 95 h 242"/>
                  <a:gd name="T32" fmla="*/ 61 w 171"/>
                  <a:gd name="T33" fmla="*/ 122 h 242"/>
                  <a:gd name="T34" fmla="*/ 63 w 171"/>
                  <a:gd name="T35" fmla="*/ 122 h 242"/>
                  <a:gd name="T36" fmla="*/ 64 w 171"/>
                  <a:gd name="T37" fmla="*/ 122 h 242"/>
                  <a:gd name="T38" fmla="*/ 46 w 171"/>
                  <a:gd name="T39" fmla="*/ 155 h 242"/>
                  <a:gd name="T40" fmla="*/ 42 w 171"/>
                  <a:gd name="T41" fmla="*/ 175 h 242"/>
                  <a:gd name="T42" fmla="*/ 61 w 171"/>
                  <a:gd name="T43" fmla="*/ 183 h 242"/>
                  <a:gd name="T44" fmla="*/ 69 w 171"/>
                  <a:gd name="T45" fmla="*/ 216 h 242"/>
                  <a:gd name="T46" fmla="*/ 57 w 171"/>
                  <a:gd name="T47" fmla="*/ 232 h 242"/>
                  <a:gd name="T48" fmla="*/ 61 w 171"/>
                  <a:gd name="T49" fmla="*/ 232 h 242"/>
                  <a:gd name="T50" fmla="*/ 63 w 171"/>
                  <a:gd name="T51" fmla="*/ 232 h 242"/>
                  <a:gd name="T52" fmla="*/ 66 w 171"/>
                  <a:gd name="T53" fmla="*/ 236 h 242"/>
                  <a:gd name="T54" fmla="*/ 72 w 171"/>
                  <a:gd name="T55" fmla="*/ 236 h 242"/>
                  <a:gd name="T56" fmla="*/ 96 w 171"/>
                  <a:gd name="T57" fmla="*/ 229 h 242"/>
                  <a:gd name="T58" fmla="*/ 117 w 171"/>
                  <a:gd name="T59" fmla="*/ 198 h 242"/>
                  <a:gd name="T60" fmla="*/ 127 w 171"/>
                  <a:gd name="T61" fmla="*/ 175 h 242"/>
                  <a:gd name="T62" fmla="*/ 134 w 171"/>
                  <a:gd name="T63" fmla="*/ 156 h 242"/>
                  <a:gd name="T64" fmla="*/ 150 w 171"/>
                  <a:gd name="T65" fmla="*/ 156 h 242"/>
                  <a:gd name="T66" fmla="*/ 152 w 171"/>
                  <a:gd name="T67" fmla="*/ 159 h 242"/>
                  <a:gd name="T68" fmla="*/ 159 w 171"/>
                  <a:gd name="T69" fmla="*/ 141 h 242"/>
                  <a:gd name="T70" fmla="*/ 166 w 171"/>
                  <a:gd name="T71" fmla="*/ 107 h 242"/>
                  <a:gd name="T72" fmla="*/ 154 w 171"/>
                  <a:gd name="T73" fmla="*/ 107 h 242"/>
                  <a:gd name="T74" fmla="*/ 132 w 171"/>
                  <a:gd name="T75" fmla="*/ 119 h 242"/>
                  <a:gd name="T76" fmla="*/ 101 w 171"/>
                  <a:gd name="T77" fmla="*/ 109 h 242"/>
                  <a:gd name="T78" fmla="*/ 93 w 171"/>
                  <a:gd name="T79" fmla="*/ 90 h 242"/>
                  <a:gd name="T80" fmla="*/ 87 w 171"/>
                  <a:gd name="T81" fmla="*/ 76 h 242"/>
                  <a:gd name="T82" fmla="*/ 87 w 171"/>
                  <a:gd name="T83" fmla="*/ 76 h 242"/>
                  <a:gd name="T84" fmla="*/ 82 w 171"/>
                  <a:gd name="T85" fmla="*/ 71 h 242"/>
                  <a:gd name="T86" fmla="*/ 83 w 171"/>
                  <a:gd name="T87" fmla="*/ 90 h 242"/>
                  <a:gd name="T88" fmla="*/ 67 w 171"/>
                  <a:gd name="T89" fmla="*/ 82 h 242"/>
                  <a:gd name="T90" fmla="*/ 66 w 171"/>
                  <a:gd name="T91" fmla="*/ 82 h 242"/>
                  <a:gd name="T92" fmla="*/ 64 w 171"/>
                  <a:gd name="T93" fmla="*/ 82 h 242"/>
                  <a:gd name="T94" fmla="*/ 58 w 171"/>
                  <a:gd name="T95" fmla="*/ 82 h 242"/>
                  <a:gd name="T96" fmla="*/ 60 w 171"/>
                  <a:gd name="T97" fmla="*/ 70 h 242"/>
                  <a:gd name="T98" fmla="*/ 57 w 171"/>
                  <a:gd name="T99" fmla="*/ 58 h 242"/>
                  <a:gd name="T100" fmla="*/ 48 w 171"/>
                  <a:gd name="T101" fmla="*/ 45 h 242"/>
                  <a:gd name="T102" fmla="*/ 50 w 171"/>
                  <a:gd name="T103" fmla="*/ 45 h 242"/>
                  <a:gd name="T104" fmla="*/ 45 w 171"/>
                  <a:gd name="T105" fmla="*/ 31 h 242"/>
                  <a:gd name="T106" fmla="*/ 31 w 171"/>
                  <a:gd name="T107" fmla="*/ 19 h 242"/>
                  <a:gd name="T108" fmla="*/ 26 w 171"/>
                  <a:gd name="T109" fmla="*/ 17 h 242"/>
                  <a:gd name="T110" fmla="*/ 21 w 171"/>
                  <a:gd name="T111" fmla="*/ 13 h 242"/>
                  <a:gd name="T112" fmla="*/ 18 w 171"/>
                  <a:gd name="T113" fmla="*/ 18 h 242"/>
                  <a:gd name="T114" fmla="*/ 13 w 171"/>
                  <a:gd name="T115" fmla="*/ 14 h 242"/>
                  <a:gd name="T116" fmla="*/ 7 w 171"/>
                  <a:gd name="T117" fmla="*/ 3 h 242"/>
                  <a:gd name="T118" fmla="*/ 9 w 171"/>
                  <a:gd name="T119" fmla="*/ 0 h 2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 h="241">
                    <a:moveTo>
                      <a:pt x="8" y="0"/>
                    </a:moveTo>
                    <a:cubicBezTo>
                      <a:pt x="7" y="0"/>
                      <a:pt x="6" y="0"/>
                      <a:pt x="4" y="1"/>
                    </a:cubicBezTo>
                    <a:cubicBezTo>
                      <a:pt x="2" y="1"/>
                      <a:pt x="1" y="1"/>
                      <a:pt x="0" y="1"/>
                    </a:cubicBezTo>
                    <a:cubicBezTo>
                      <a:pt x="0" y="1"/>
                      <a:pt x="0" y="1"/>
                      <a:pt x="0" y="1"/>
                    </a:cubicBezTo>
                    <a:cubicBezTo>
                      <a:pt x="4" y="7"/>
                      <a:pt x="9" y="12"/>
                      <a:pt x="12" y="19"/>
                    </a:cubicBezTo>
                    <a:cubicBezTo>
                      <a:pt x="15" y="24"/>
                      <a:pt x="17" y="31"/>
                      <a:pt x="20" y="37"/>
                    </a:cubicBezTo>
                    <a:cubicBezTo>
                      <a:pt x="21" y="32"/>
                      <a:pt x="23" y="33"/>
                      <a:pt x="26" y="32"/>
                    </a:cubicBezTo>
                    <a:cubicBezTo>
                      <a:pt x="25" y="32"/>
                      <a:pt x="25" y="33"/>
                      <a:pt x="25" y="34"/>
                    </a:cubicBezTo>
                    <a:cubicBezTo>
                      <a:pt x="24" y="33"/>
                      <a:pt x="24" y="33"/>
                      <a:pt x="24" y="33"/>
                    </a:cubicBezTo>
                    <a:cubicBezTo>
                      <a:pt x="24" y="36"/>
                      <a:pt x="27" y="40"/>
                      <a:pt x="28" y="43"/>
                    </a:cubicBezTo>
                    <a:cubicBezTo>
                      <a:pt x="32" y="50"/>
                      <a:pt x="35" y="56"/>
                      <a:pt x="38" y="63"/>
                    </a:cubicBezTo>
                    <a:cubicBezTo>
                      <a:pt x="39" y="64"/>
                      <a:pt x="40" y="66"/>
                      <a:pt x="42" y="66"/>
                    </a:cubicBezTo>
                    <a:cubicBezTo>
                      <a:pt x="42" y="66"/>
                      <a:pt x="43" y="66"/>
                      <a:pt x="43" y="65"/>
                    </a:cubicBezTo>
                    <a:cubicBezTo>
                      <a:pt x="44" y="63"/>
                      <a:pt x="39" y="58"/>
                      <a:pt x="38" y="57"/>
                    </a:cubicBezTo>
                    <a:cubicBezTo>
                      <a:pt x="39" y="58"/>
                      <a:pt x="40" y="57"/>
                      <a:pt x="41" y="58"/>
                    </a:cubicBezTo>
                    <a:cubicBezTo>
                      <a:pt x="43" y="59"/>
                      <a:pt x="43" y="60"/>
                      <a:pt x="45" y="61"/>
                    </a:cubicBezTo>
                    <a:cubicBezTo>
                      <a:pt x="45" y="60"/>
                      <a:pt x="44" y="59"/>
                      <a:pt x="44" y="58"/>
                    </a:cubicBezTo>
                    <a:cubicBezTo>
                      <a:pt x="45" y="58"/>
                      <a:pt x="46" y="59"/>
                      <a:pt x="47" y="59"/>
                    </a:cubicBezTo>
                    <a:cubicBezTo>
                      <a:pt x="48" y="59"/>
                      <a:pt x="49" y="59"/>
                      <a:pt x="49" y="58"/>
                    </a:cubicBezTo>
                    <a:cubicBezTo>
                      <a:pt x="48" y="61"/>
                      <a:pt x="47" y="62"/>
                      <a:pt x="48" y="62"/>
                    </a:cubicBezTo>
                    <a:cubicBezTo>
                      <a:pt x="49" y="62"/>
                      <a:pt x="50" y="62"/>
                      <a:pt x="52" y="61"/>
                    </a:cubicBezTo>
                    <a:cubicBezTo>
                      <a:pt x="50" y="62"/>
                      <a:pt x="47" y="63"/>
                      <a:pt x="46" y="65"/>
                    </a:cubicBezTo>
                    <a:cubicBezTo>
                      <a:pt x="49" y="65"/>
                      <a:pt x="50" y="71"/>
                      <a:pt x="50" y="73"/>
                    </a:cubicBezTo>
                    <a:cubicBezTo>
                      <a:pt x="48" y="72"/>
                      <a:pt x="47" y="69"/>
                      <a:pt x="44" y="69"/>
                    </a:cubicBezTo>
                    <a:cubicBezTo>
                      <a:pt x="44" y="69"/>
                      <a:pt x="44" y="69"/>
                      <a:pt x="43" y="69"/>
                    </a:cubicBezTo>
                    <a:cubicBezTo>
                      <a:pt x="44" y="71"/>
                      <a:pt x="46" y="73"/>
                      <a:pt x="47" y="75"/>
                    </a:cubicBezTo>
                    <a:cubicBezTo>
                      <a:pt x="50" y="79"/>
                      <a:pt x="50" y="83"/>
                      <a:pt x="53" y="87"/>
                    </a:cubicBezTo>
                    <a:cubicBezTo>
                      <a:pt x="53" y="87"/>
                      <a:pt x="53" y="87"/>
                      <a:pt x="53" y="87"/>
                    </a:cubicBezTo>
                    <a:cubicBezTo>
                      <a:pt x="54" y="87"/>
                      <a:pt x="56" y="85"/>
                      <a:pt x="57" y="85"/>
                    </a:cubicBezTo>
                    <a:cubicBezTo>
                      <a:pt x="57" y="84"/>
                      <a:pt x="57" y="84"/>
                      <a:pt x="57" y="84"/>
                    </a:cubicBezTo>
                    <a:cubicBezTo>
                      <a:pt x="59" y="84"/>
                      <a:pt x="62" y="87"/>
                      <a:pt x="64" y="88"/>
                    </a:cubicBezTo>
                    <a:cubicBezTo>
                      <a:pt x="60" y="89"/>
                      <a:pt x="60" y="91"/>
                      <a:pt x="57" y="95"/>
                    </a:cubicBezTo>
                    <a:cubicBezTo>
                      <a:pt x="63" y="98"/>
                      <a:pt x="64" y="107"/>
                      <a:pt x="66" y="113"/>
                    </a:cubicBezTo>
                    <a:cubicBezTo>
                      <a:pt x="63" y="113"/>
                      <a:pt x="62" y="119"/>
                      <a:pt x="61" y="122"/>
                    </a:cubicBezTo>
                    <a:cubicBezTo>
                      <a:pt x="61" y="122"/>
                      <a:pt x="62" y="122"/>
                      <a:pt x="62" y="122"/>
                    </a:cubicBezTo>
                    <a:cubicBezTo>
                      <a:pt x="62" y="122"/>
                      <a:pt x="62" y="122"/>
                      <a:pt x="63" y="122"/>
                    </a:cubicBezTo>
                    <a:cubicBezTo>
                      <a:pt x="63" y="122"/>
                      <a:pt x="64" y="122"/>
                      <a:pt x="64" y="122"/>
                    </a:cubicBezTo>
                    <a:cubicBezTo>
                      <a:pt x="64" y="122"/>
                      <a:pt x="64" y="122"/>
                      <a:pt x="64" y="122"/>
                    </a:cubicBezTo>
                    <a:cubicBezTo>
                      <a:pt x="58" y="128"/>
                      <a:pt x="60" y="137"/>
                      <a:pt x="56" y="144"/>
                    </a:cubicBezTo>
                    <a:cubicBezTo>
                      <a:pt x="53" y="149"/>
                      <a:pt x="51" y="152"/>
                      <a:pt x="46" y="155"/>
                    </a:cubicBezTo>
                    <a:cubicBezTo>
                      <a:pt x="41" y="158"/>
                      <a:pt x="36" y="161"/>
                      <a:pt x="31" y="163"/>
                    </a:cubicBezTo>
                    <a:cubicBezTo>
                      <a:pt x="34" y="169"/>
                      <a:pt x="37" y="172"/>
                      <a:pt x="42" y="175"/>
                    </a:cubicBezTo>
                    <a:cubicBezTo>
                      <a:pt x="46" y="177"/>
                      <a:pt x="51" y="179"/>
                      <a:pt x="55" y="181"/>
                    </a:cubicBezTo>
                    <a:cubicBezTo>
                      <a:pt x="56" y="182"/>
                      <a:pt x="60" y="182"/>
                      <a:pt x="61" y="183"/>
                    </a:cubicBezTo>
                    <a:cubicBezTo>
                      <a:pt x="67" y="186"/>
                      <a:pt x="73" y="189"/>
                      <a:pt x="74" y="197"/>
                    </a:cubicBezTo>
                    <a:cubicBezTo>
                      <a:pt x="75" y="204"/>
                      <a:pt x="72" y="211"/>
                      <a:pt x="69" y="216"/>
                    </a:cubicBezTo>
                    <a:cubicBezTo>
                      <a:pt x="67" y="219"/>
                      <a:pt x="64" y="222"/>
                      <a:pt x="62" y="225"/>
                    </a:cubicBezTo>
                    <a:cubicBezTo>
                      <a:pt x="61" y="226"/>
                      <a:pt x="56" y="231"/>
                      <a:pt x="57" y="232"/>
                    </a:cubicBezTo>
                    <a:cubicBezTo>
                      <a:pt x="57" y="234"/>
                      <a:pt x="58" y="234"/>
                      <a:pt x="58" y="234"/>
                    </a:cubicBezTo>
                    <a:cubicBezTo>
                      <a:pt x="60" y="234"/>
                      <a:pt x="61" y="233"/>
                      <a:pt x="61" y="232"/>
                    </a:cubicBezTo>
                    <a:cubicBezTo>
                      <a:pt x="62" y="231"/>
                      <a:pt x="62" y="230"/>
                      <a:pt x="62" y="230"/>
                    </a:cubicBezTo>
                    <a:cubicBezTo>
                      <a:pt x="63" y="230"/>
                      <a:pt x="63" y="231"/>
                      <a:pt x="63" y="232"/>
                    </a:cubicBezTo>
                    <a:cubicBezTo>
                      <a:pt x="63" y="235"/>
                      <a:pt x="63" y="236"/>
                      <a:pt x="66" y="236"/>
                    </a:cubicBezTo>
                    <a:cubicBezTo>
                      <a:pt x="66" y="236"/>
                      <a:pt x="66" y="236"/>
                      <a:pt x="66" y="236"/>
                    </a:cubicBezTo>
                    <a:cubicBezTo>
                      <a:pt x="67" y="236"/>
                      <a:pt x="69" y="235"/>
                      <a:pt x="70" y="235"/>
                    </a:cubicBezTo>
                    <a:cubicBezTo>
                      <a:pt x="71" y="235"/>
                      <a:pt x="72" y="235"/>
                      <a:pt x="72" y="236"/>
                    </a:cubicBezTo>
                    <a:cubicBezTo>
                      <a:pt x="74" y="237"/>
                      <a:pt x="74" y="240"/>
                      <a:pt x="74" y="242"/>
                    </a:cubicBezTo>
                    <a:cubicBezTo>
                      <a:pt x="82" y="238"/>
                      <a:pt x="89" y="234"/>
                      <a:pt x="96" y="229"/>
                    </a:cubicBezTo>
                    <a:cubicBezTo>
                      <a:pt x="100" y="226"/>
                      <a:pt x="102" y="218"/>
                      <a:pt x="105" y="214"/>
                    </a:cubicBezTo>
                    <a:cubicBezTo>
                      <a:pt x="108" y="208"/>
                      <a:pt x="114" y="204"/>
                      <a:pt x="117" y="198"/>
                    </a:cubicBezTo>
                    <a:cubicBezTo>
                      <a:pt x="121" y="190"/>
                      <a:pt x="125" y="183"/>
                      <a:pt x="128" y="175"/>
                    </a:cubicBezTo>
                    <a:cubicBezTo>
                      <a:pt x="127" y="175"/>
                      <a:pt x="127" y="175"/>
                      <a:pt x="127" y="175"/>
                    </a:cubicBezTo>
                    <a:cubicBezTo>
                      <a:pt x="122" y="175"/>
                      <a:pt x="123" y="166"/>
                      <a:pt x="125" y="163"/>
                    </a:cubicBezTo>
                    <a:cubicBezTo>
                      <a:pt x="127" y="160"/>
                      <a:pt x="130" y="158"/>
                      <a:pt x="134" y="156"/>
                    </a:cubicBezTo>
                    <a:cubicBezTo>
                      <a:pt x="136" y="156"/>
                      <a:pt x="141" y="155"/>
                      <a:pt x="145" y="155"/>
                    </a:cubicBezTo>
                    <a:cubicBezTo>
                      <a:pt x="147" y="155"/>
                      <a:pt x="149" y="155"/>
                      <a:pt x="150" y="156"/>
                    </a:cubicBezTo>
                    <a:cubicBezTo>
                      <a:pt x="151" y="156"/>
                      <a:pt x="149" y="160"/>
                      <a:pt x="151" y="160"/>
                    </a:cubicBezTo>
                    <a:cubicBezTo>
                      <a:pt x="151" y="160"/>
                      <a:pt x="152" y="160"/>
                      <a:pt x="152" y="159"/>
                    </a:cubicBezTo>
                    <a:cubicBezTo>
                      <a:pt x="155" y="158"/>
                      <a:pt x="154" y="156"/>
                      <a:pt x="153" y="155"/>
                    </a:cubicBezTo>
                    <a:cubicBezTo>
                      <a:pt x="149" y="151"/>
                      <a:pt x="155" y="144"/>
                      <a:pt x="159" y="141"/>
                    </a:cubicBezTo>
                    <a:cubicBezTo>
                      <a:pt x="168" y="133"/>
                      <a:pt x="162" y="123"/>
                      <a:pt x="167" y="114"/>
                    </a:cubicBezTo>
                    <a:cubicBezTo>
                      <a:pt x="169" y="110"/>
                      <a:pt x="171" y="109"/>
                      <a:pt x="166" y="107"/>
                    </a:cubicBezTo>
                    <a:cubicBezTo>
                      <a:pt x="162" y="106"/>
                      <a:pt x="160" y="105"/>
                      <a:pt x="158" y="105"/>
                    </a:cubicBezTo>
                    <a:cubicBezTo>
                      <a:pt x="157" y="105"/>
                      <a:pt x="156" y="105"/>
                      <a:pt x="154" y="107"/>
                    </a:cubicBezTo>
                    <a:cubicBezTo>
                      <a:pt x="151" y="109"/>
                      <a:pt x="147" y="112"/>
                      <a:pt x="143" y="115"/>
                    </a:cubicBezTo>
                    <a:cubicBezTo>
                      <a:pt x="140" y="118"/>
                      <a:pt x="136" y="119"/>
                      <a:pt x="132" y="119"/>
                    </a:cubicBezTo>
                    <a:cubicBezTo>
                      <a:pt x="122" y="119"/>
                      <a:pt x="111" y="111"/>
                      <a:pt x="102" y="108"/>
                    </a:cubicBezTo>
                    <a:cubicBezTo>
                      <a:pt x="101" y="109"/>
                      <a:pt x="101" y="109"/>
                      <a:pt x="101" y="109"/>
                    </a:cubicBezTo>
                    <a:cubicBezTo>
                      <a:pt x="99" y="109"/>
                      <a:pt x="96" y="105"/>
                      <a:pt x="95" y="103"/>
                    </a:cubicBezTo>
                    <a:cubicBezTo>
                      <a:pt x="95" y="99"/>
                      <a:pt x="93" y="95"/>
                      <a:pt x="93" y="90"/>
                    </a:cubicBezTo>
                    <a:cubicBezTo>
                      <a:pt x="93" y="86"/>
                      <a:pt x="93" y="82"/>
                      <a:pt x="89" y="80"/>
                    </a:cubicBezTo>
                    <a:cubicBezTo>
                      <a:pt x="87" y="78"/>
                      <a:pt x="96" y="76"/>
                      <a:pt x="87" y="76"/>
                    </a:cubicBezTo>
                    <a:cubicBezTo>
                      <a:pt x="87" y="76"/>
                      <a:pt x="87" y="76"/>
                      <a:pt x="87" y="76"/>
                    </a:cubicBezTo>
                    <a:cubicBezTo>
                      <a:pt x="87" y="76"/>
                      <a:pt x="87" y="76"/>
                      <a:pt x="87" y="76"/>
                    </a:cubicBezTo>
                    <a:cubicBezTo>
                      <a:pt x="82" y="76"/>
                      <a:pt x="86" y="73"/>
                      <a:pt x="82" y="71"/>
                    </a:cubicBezTo>
                    <a:cubicBezTo>
                      <a:pt x="82" y="71"/>
                      <a:pt x="82" y="71"/>
                      <a:pt x="82" y="71"/>
                    </a:cubicBezTo>
                    <a:cubicBezTo>
                      <a:pt x="80" y="71"/>
                      <a:pt x="81" y="81"/>
                      <a:pt x="81" y="83"/>
                    </a:cubicBezTo>
                    <a:cubicBezTo>
                      <a:pt x="81" y="85"/>
                      <a:pt x="82" y="88"/>
                      <a:pt x="83" y="90"/>
                    </a:cubicBezTo>
                    <a:cubicBezTo>
                      <a:pt x="82" y="91"/>
                      <a:pt x="81" y="91"/>
                      <a:pt x="81" y="91"/>
                    </a:cubicBezTo>
                    <a:cubicBezTo>
                      <a:pt x="75" y="91"/>
                      <a:pt x="72" y="85"/>
                      <a:pt x="67" y="82"/>
                    </a:cubicBezTo>
                    <a:cubicBezTo>
                      <a:pt x="67" y="83"/>
                      <a:pt x="67" y="83"/>
                      <a:pt x="66" y="83"/>
                    </a:cubicBezTo>
                    <a:cubicBezTo>
                      <a:pt x="66" y="83"/>
                      <a:pt x="66" y="83"/>
                      <a:pt x="66" y="82"/>
                    </a:cubicBezTo>
                    <a:cubicBezTo>
                      <a:pt x="65" y="82"/>
                      <a:pt x="65" y="82"/>
                      <a:pt x="65" y="82"/>
                    </a:cubicBezTo>
                    <a:cubicBezTo>
                      <a:pt x="64" y="82"/>
                      <a:pt x="64" y="82"/>
                      <a:pt x="64" y="82"/>
                    </a:cubicBezTo>
                    <a:cubicBezTo>
                      <a:pt x="63" y="81"/>
                      <a:pt x="62" y="81"/>
                      <a:pt x="61" y="81"/>
                    </a:cubicBezTo>
                    <a:cubicBezTo>
                      <a:pt x="60" y="81"/>
                      <a:pt x="59" y="81"/>
                      <a:pt x="58" y="82"/>
                    </a:cubicBezTo>
                    <a:cubicBezTo>
                      <a:pt x="61" y="79"/>
                      <a:pt x="64" y="78"/>
                      <a:pt x="62" y="73"/>
                    </a:cubicBezTo>
                    <a:cubicBezTo>
                      <a:pt x="61" y="71"/>
                      <a:pt x="58" y="74"/>
                      <a:pt x="60" y="70"/>
                    </a:cubicBezTo>
                    <a:cubicBezTo>
                      <a:pt x="60" y="68"/>
                      <a:pt x="61" y="66"/>
                      <a:pt x="63" y="65"/>
                    </a:cubicBezTo>
                    <a:cubicBezTo>
                      <a:pt x="62" y="62"/>
                      <a:pt x="59" y="60"/>
                      <a:pt x="57" y="58"/>
                    </a:cubicBezTo>
                    <a:cubicBezTo>
                      <a:pt x="55" y="55"/>
                      <a:pt x="55" y="51"/>
                      <a:pt x="52" y="49"/>
                    </a:cubicBezTo>
                    <a:cubicBezTo>
                      <a:pt x="51" y="47"/>
                      <a:pt x="48" y="48"/>
                      <a:pt x="48" y="45"/>
                    </a:cubicBezTo>
                    <a:cubicBezTo>
                      <a:pt x="48" y="45"/>
                      <a:pt x="48" y="45"/>
                      <a:pt x="48" y="45"/>
                    </a:cubicBezTo>
                    <a:cubicBezTo>
                      <a:pt x="49" y="45"/>
                      <a:pt x="49" y="45"/>
                      <a:pt x="50" y="45"/>
                    </a:cubicBezTo>
                    <a:cubicBezTo>
                      <a:pt x="50" y="39"/>
                      <a:pt x="49" y="32"/>
                      <a:pt x="47" y="26"/>
                    </a:cubicBezTo>
                    <a:cubicBezTo>
                      <a:pt x="46" y="28"/>
                      <a:pt x="43" y="28"/>
                      <a:pt x="45" y="31"/>
                    </a:cubicBezTo>
                    <a:cubicBezTo>
                      <a:pt x="42" y="30"/>
                      <a:pt x="40" y="28"/>
                      <a:pt x="38" y="27"/>
                    </a:cubicBezTo>
                    <a:cubicBezTo>
                      <a:pt x="45" y="22"/>
                      <a:pt x="33" y="21"/>
                      <a:pt x="31" y="19"/>
                    </a:cubicBezTo>
                    <a:cubicBezTo>
                      <a:pt x="30" y="18"/>
                      <a:pt x="27" y="17"/>
                      <a:pt x="26" y="17"/>
                    </a:cubicBezTo>
                    <a:cubicBezTo>
                      <a:pt x="26" y="17"/>
                      <a:pt x="26" y="17"/>
                      <a:pt x="26" y="17"/>
                    </a:cubicBezTo>
                    <a:cubicBezTo>
                      <a:pt x="24" y="17"/>
                      <a:pt x="23" y="18"/>
                      <a:pt x="22" y="18"/>
                    </a:cubicBezTo>
                    <a:cubicBezTo>
                      <a:pt x="21" y="18"/>
                      <a:pt x="21" y="17"/>
                      <a:pt x="21" y="13"/>
                    </a:cubicBezTo>
                    <a:cubicBezTo>
                      <a:pt x="21" y="14"/>
                      <a:pt x="19" y="14"/>
                      <a:pt x="19" y="15"/>
                    </a:cubicBezTo>
                    <a:cubicBezTo>
                      <a:pt x="18" y="16"/>
                      <a:pt x="19" y="17"/>
                      <a:pt x="18" y="18"/>
                    </a:cubicBezTo>
                    <a:cubicBezTo>
                      <a:pt x="18" y="18"/>
                      <a:pt x="18" y="19"/>
                      <a:pt x="17" y="19"/>
                    </a:cubicBezTo>
                    <a:cubicBezTo>
                      <a:pt x="15" y="19"/>
                      <a:pt x="14" y="15"/>
                      <a:pt x="13" y="14"/>
                    </a:cubicBezTo>
                    <a:cubicBezTo>
                      <a:pt x="11" y="11"/>
                      <a:pt x="7" y="7"/>
                      <a:pt x="6" y="4"/>
                    </a:cubicBezTo>
                    <a:cubicBezTo>
                      <a:pt x="6" y="4"/>
                      <a:pt x="7" y="3"/>
                      <a:pt x="7" y="3"/>
                    </a:cubicBezTo>
                    <a:cubicBezTo>
                      <a:pt x="8" y="3"/>
                      <a:pt x="8" y="4"/>
                      <a:pt x="9" y="4"/>
                    </a:cubicBezTo>
                    <a:cubicBezTo>
                      <a:pt x="10" y="4"/>
                      <a:pt x="11"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Freeform 1187"/>
              <p:cNvSpPr>
                <a:spLocks noEditPoints="1"/>
              </p:cNvSpPr>
              <p:nvPr/>
            </p:nvSpPr>
            <p:spPr bwMode="auto">
              <a:xfrm>
                <a:off x="5101" y="3978"/>
                <a:ext cx="544" cy="518"/>
              </a:xfrm>
              <a:custGeom>
                <a:gdLst>
                  <a:gd name="T0" fmla="*/ 187 w 230"/>
                  <a:gd name="T1" fmla="*/ 1 h 219"/>
                  <a:gd name="T2" fmla="*/ 166 w 230"/>
                  <a:gd name="T3" fmla="*/ 18 h 219"/>
                  <a:gd name="T4" fmla="*/ 150 w 230"/>
                  <a:gd name="T5" fmla="*/ 43 h 219"/>
                  <a:gd name="T6" fmla="*/ 148 w 230"/>
                  <a:gd name="T7" fmla="*/ 43 h 219"/>
                  <a:gd name="T8" fmla="*/ 138 w 230"/>
                  <a:gd name="T9" fmla="*/ 70 h 219"/>
                  <a:gd name="T10" fmla="*/ 80 w 230"/>
                  <a:gd name="T11" fmla="*/ 115 h 219"/>
                  <a:gd name="T12" fmla="*/ 49 w 230"/>
                  <a:gd name="T13" fmla="*/ 134 h 219"/>
                  <a:gd name="T14" fmla="*/ 28 w 230"/>
                  <a:gd name="T15" fmla="*/ 153 h 219"/>
                  <a:gd name="T16" fmla="*/ 24 w 230"/>
                  <a:gd name="T17" fmla="*/ 158 h 219"/>
                  <a:gd name="T18" fmla="*/ 25 w 230"/>
                  <a:gd name="T19" fmla="*/ 160 h 219"/>
                  <a:gd name="T20" fmla="*/ 20 w 230"/>
                  <a:gd name="T21" fmla="*/ 169 h 219"/>
                  <a:gd name="T22" fmla="*/ 16 w 230"/>
                  <a:gd name="T23" fmla="*/ 173 h 219"/>
                  <a:gd name="T24" fmla="*/ 10 w 230"/>
                  <a:gd name="T25" fmla="*/ 179 h 219"/>
                  <a:gd name="T26" fmla="*/ 16 w 230"/>
                  <a:gd name="T27" fmla="*/ 178 h 219"/>
                  <a:gd name="T28" fmla="*/ 15 w 230"/>
                  <a:gd name="T29" fmla="*/ 181 h 219"/>
                  <a:gd name="T30" fmla="*/ 16 w 230"/>
                  <a:gd name="T31" fmla="*/ 185 h 219"/>
                  <a:gd name="T32" fmla="*/ 8 w 230"/>
                  <a:gd name="T33" fmla="*/ 190 h 219"/>
                  <a:gd name="T34" fmla="*/ 10 w 230"/>
                  <a:gd name="T35" fmla="*/ 197 h 219"/>
                  <a:gd name="T36" fmla="*/ 18 w 230"/>
                  <a:gd name="T37" fmla="*/ 202 h 219"/>
                  <a:gd name="T38" fmla="*/ 42 w 230"/>
                  <a:gd name="T39" fmla="*/ 208 h 219"/>
                  <a:gd name="T40" fmla="*/ 59 w 230"/>
                  <a:gd name="T41" fmla="*/ 216 h 219"/>
                  <a:gd name="T42" fmla="*/ 93 w 230"/>
                  <a:gd name="T43" fmla="*/ 213 h 219"/>
                  <a:gd name="T44" fmla="*/ 123 w 230"/>
                  <a:gd name="T45" fmla="*/ 189 h 219"/>
                  <a:gd name="T46" fmla="*/ 138 w 230"/>
                  <a:gd name="T47" fmla="*/ 147 h 219"/>
                  <a:gd name="T48" fmla="*/ 154 w 230"/>
                  <a:gd name="T49" fmla="*/ 128 h 219"/>
                  <a:gd name="T50" fmla="*/ 181 w 230"/>
                  <a:gd name="T51" fmla="*/ 115 h 219"/>
                  <a:gd name="T52" fmla="*/ 178 w 230"/>
                  <a:gd name="T53" fmla="*/ 117 h 219"/>
                  <a:gd name="T54" fmla="*/ 189 w 230"/>
                  <a:gd name="T55" fmla="*/ 119 h 219"/>
                  <a:gd name="T56" fmla="*/ 189 w 230"/>
                  <a:gd name="T57" fmla="*/ 111 h 219"/>
                  <a:gd name="T58" fmla="*/ 185 w 230"/>
                  <a:gd name="T59" fmla="*/ 109 h 219"/>
                  <a:gd name="T60" fmla="*/ 193 w 230"/>
                  <a:gd name="T61" fmla="*/ 89 h 219"/>
                  <a:gd name="T62" fmla="*/ 228 w 230"/>
                  <a:gd name="T63" fmla="*/ 43 h 219"/>
                  <a:gd name="T64" fmla="*/ 228 w 230"/>
                  <a:gd name="T65" fmla="*/ 26 h 219"/>
                  <a:gd name="T66" fmla="*/ 219 w 230"/>
                  <a:gd name="T67" fmla="*/ 26 h 219"/>
                  <a:gd name="T68" fmla="*/ 226 w 230"/>
                  <a:gd name="T69" fmla="*/ 21 h 219"/>
                  <a:gd name="T70" fmla="*/ 227 w 230"/>
                  <a:gd name="T71" fmla="*/ 21 h 219"/>
                  <a:gd name="T72" fmla="*/ 228 w 230"/>
                  <a:gd name="T73" fmla="*/ 21 h 219"/>
                  <a:gd name="T74" fmla="*/ 217 w 230"/>
                  <a:gd name="T75" fmla="*/ 23 h 219"/>
                  <a:gd name="T76" fmla="*/ 223 w 230"/>
                  <a:gd name="T77" fmla="*/ 23 h 219"/>
                  <a:gd name="T78" fmla="*/ 217 w 230"/>
                  <a:gd name="T79" fmla="*/ 20 h 219"/>
                  <a:gd name="T80" fmla="*/ 193 w 230"/>
                  <a:gd name="T81" fmla="*/ 16 h 219"/>
                  <a:gd name="T82" fmla="*/ 187 w 230"/>
                  <a:gd name="T83" fmla="*/ 1 h 2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0" h="219">
                    <a:moveTo>
                      <a:pt x="187" y="1"/>
                    </a:moveTo>
                    <a:cubicBezTo>
                      <a:pt x="187" y="1"/>
                      <a:pt x="187" y="1"/>
                      <a:pt x="188" y="1"/>
                    </a:cubicBezTo>
                    <a:cubicBezTo>
                      <a:pt x="187" y="1"/>
                      <a:pt x="187" y="1"/>
                      <a:pt x="187" y="1"/>
                    </a:cubicBezTo>
                    <a:moveTo>
                      <a:pt x="182" y="0"/>
                    </a:moveTo>
                    <a:cubicBezTo>
                      <a:pt x="178" y="3"/>
                      <a:pt x="174" y="6"/>
                      <a:pt x="170" y="9"/>
                    </a:cubicBezTo>
                    <a:cubicBezTo>
                      <a:pt x="168" y="11"/>
                      <a:pt x="167" y="15"/>
                      <a:pt x="166" y="18"/>
                    </a:cubicBezTo>
                    <a:cubicBezTo>
                      <a:pt x="165" y="22"/>
                      <a:pt x="166" y="25"/>
                      <a:pt x="165" y="28"/>
                    </a:cubicBezTo>
                    <a:cubicBezTo>
                      <a:pt x="164" y="34"/>
                      <a:pt x="158" y="38"/>
                      <a:pt x="153" y="41"/>
                    </a:cubicBezTo>
                    <a:cubicBezTo>
                      <a:pt x="152" y="42"/>
                      <a:pt x="151" y="43"/>
                      <a:pt x="150" y="43"/>
                    </a:cubicBezTo>
                    <a:cubicBezTo>
                      <a:pt x="150" y="43"/>
                      <a:pt x="150" y="43"/>
                      <a:pt x="149" y="43"/>
                    </a:cubicBezTo>
                    <a:cubicBezTo>
                      <a:pt x="149" y="43"/>
                      <a:pt x="149" y="43"/>
                      <a:pt x="149" y="43"/>
                    </a:cubicBezTo>
                    <a:cubicBezTo>
                      <a:pt x="148" y="43"/>
                      <a:pt x="148" y="43"/>
                      <a:pt x="148" y="43"/>
                    </a:cubicBezTo>
                    <a:cubicBezTo>
                      <a:pt x="148" y="43"/>
                      <a:pt x="148" y="43"/>
                      <a:pt x="148" y="43"/>
                    </a:cubicBezTo>
                    <a:cubicBezTo>
                      <a:pt x="146" y="45"/>
                      <a:pt x="146" y="49"/>
                      <a:pt x="145" y="52"/>
                    </a:cubicBezTo>
                    <a:cubicBezTo>
                      <a:pt x="143" y="58"/>
                      <a:pt x="141" y="64"/>
                      <a:pt x="138" y="70"/>
                    </a:cubicBezTo>
                    <a:cubicBezTo>
                      <a:pt x="137" y="75"/>
                      <a:pt x="129" y="79"/>
                      <a:pt x="125" y="83"/>
                    </a:cubicBezTo>
                    <a:cubicBezTo>
                      <a:pt x="118" y="88"/>
                      <a:pt x="111" y="94"/>
                      <a:pt x="104" y="99"/>
                    </a:cubicBezTo>
                    <a:cubicBezTo>
                      <a:pt x="96" y="104"/>
                      <a:pt x="88" y="110"/>
                      <a:pt x="80" y="115"/>
                    </a:cubicBezTo>
                    <a:cubicBezTo>
                      <a:pt x="74" y="119"/>
                      <a:pt x="70" y="122"/>
                      <a:pt x="64" y="123"/>
                    </a:cubicBezTo>
                    <a:cubicBezTo>
                      <a:pt x="61" y="123"/>
                      <a:pt x="56" y="123"/>
                      <a:pt x="55" y="126"/>
                    </a:cubicBezTo>
                    <a:cubicBezTo>
                      <a:pt x="53" y="129"/>
                      <a:pt x="51" y="132"/>
                      <a:pt x="49" y="134"/>
                    </a:cubicBezTo>
                    <a:cubicBezTo>
                      <a:pt x="45" y="139"/>
                      <a:pt x="38" y="141"/>
                      <a:pt x="43" y="147"/>
                    </a:cubicBezTo>
                    <a:cubicBezTo>
                      <a:pt x="40" y="147"/>
                      <a:pt x="38" y="149"/>
                      <a:pt x="35" y="150"/>
                    </a:cubicBezTo>
                    <a:cubicBezTo>
                      <a:pt x="33" y="151"/>
                      <a:pt x="29" y="152"/>
                      <a:pt x="28" y="153"/>
                    </a:cubicBezTo>
                    <a:cubicBezTo>
                      <a:pt x="27" y="154"/>
                      <a:pt x="30" y="156"/>
                      <a:pt x="28" y="158"/>
                    </a:cubicBezTo>
                    <a:cubicBezTo>
                      <a:pt x="28" y="158"/>
                      <a:pt x="27" y="158"/>
                      <a:pt x="25" y="158"/>
                    </a:cubicBezTo>
                    <a:cubicBezTo>
                      <a:pt x="25" y="158"/>
                      <a:pt x="24" y="158"/>
                      <a:pt x="24" y="158"/>
                    </a:cubicBezTo>
                    <a:cubicBezTo>
                      <a:pt x="23" y="158"/>
                      <a:pt x="23" y="158"/>
                      <a:pt x="22" y="158"/>
                    </a:cubicBezTo>
                    <a:cubicBezTo>
                      <a:pt x="22" y="158"/>
                      <a:pt x="22" y="158"/>
                      <a:pt x="21" y="158"/>
                    </a:cubicBezTo>
                    <a:cubicBezTo>
                      <a:pt x="23" y="159"/>
                      <a:pt x="24" y="160"/>
                      <a:pt x="25" y="160"/>
                    </a:cubicBezTo>
                    <a:cubicBezTo>
                      <a:pt x="22" y="162"/>
                      <a:pt x="16" y="160"/>
                      <a:pt x="21" y="165"/>
                    </a:cubicBezTo>
                    <a:cubicBezTo>
                      <a:pt x="20" y="164"/>
                      <a:pt x="19" y="164"/>
                      <a:pt x="19" y="164"/>
                    </a:cubicBezTo>
                    <a:cubicBezTo>
                      <a:pt x="16" y="164"/>
                      <a:pt x="17" y="169"/>
                      <a:pt x="20" y="169"/>
                    </a:cubicBezTo>
                    <a:cubicBezTo>
                      <a:pt x="14" y="170"/>
                      <a:pt x="25" y="174"/>
                      <a:pt x="19" y="176"/>
                    </a:cubicBezTo>
                    <a:cubicBezTo>
                      <a:pt x="21" y="174"/>
                      <a:pt x="20" y="173"/>
                      <a:pt x="18" y="173"/>
                    </a:cubicBezTo>
                    <a:cubicBezTo>
                      <a:pt x="18" y="173"/>
                      <a:pt x="17" y="173"/>
                      <a:pt x="16" y="173"/>
                    </a:cubicBezTo>
                    <a:cubicBezTo>
                      <a:pt x="18" y="172"/>
                      <a:pt x="16" y="171"/>
                      <a:pt x="15" y="171"/>
                    </a:cubicBezTo>
                    <a:cubicBezTo>
                      <a:pt x="12" y="171"/>
                      <a:pt x="8" y="173"/>
                      <a:pt x="8" y="177"/>
                    </a:cubicBezTo>
                    <a:cubicBezTo>
                      <a:pt x="8" y="179"/>
                      <a:pt x="9" y="179"/>
                      <a:pt x="10" y="179"/>
                    </a:cubicBezTo>
                    <a:cubicBezTo>
                      <a:pt x="10" y="179"/>
                      <a:pt x="11" y="179"/>
                      <a:pt x="12" y="178"/>
                    </a:cubicBezTo>
                    <a:cubicBezTo>
                      <a:pt x="13" y="178"/>
                      <a:pt x="13" y="178"/>
                      <a:pt x="14" y="178"/>
                    </a:cubicBezTo>
                    <a:cubicBezTo>
                      <a:pt x="15" y="178"/>
                      <a:pt x="16" y="178"/>
                      <a:pt x="16" y="178"/>
                    </a:cubicBezTo>
                    <a:cubicBezTo>
                      <a:pt x="15" y="179"/>
                      <a:pt x="9" y="180"/>
                      <a:pt x="9" y="181"/>
                    </a:cubicBezTo>
                    <a:cubicBezTo>
                      <a:pt x="10" y="182"/>
                      <a:pt x="10" y="182"/>
                      <a:pt x="11" y="182"/>
                    </a:cubicBezTo>
                    <a:cubicBezTo>
                      <a:pt x="12" y="182"/>
                      <a:pt x="14" y="181"/>
                      <a:pt x="15" y="181"/>
                    </a:cubicBezTo>
                    <a:cubicBezTo>
                      <a:pt x="13" y="182"/>
                      <a:pt x="11" y="183"/>
                      <a:pt x="10" y="184"/>
                    </a:cubicBezTo>
                    <a:cubicBezTo>
                      <a:pt x="11" y="184"/>
                      <a:pt x="11" y="184"/>
                      <a:pt x="12" y="184"/>
                    </a:cubicBezTo>
                    <a:cubicBezTo>
                      <a:pt x="13" y="184"/>
                      <a:pt x="14" y="184"/>
                      <a:pt x="16" y="185"/>
                    </a:cubicBezTo>
                    <a:cubicBezTo>
                      <a:pt x="13" y="186"/>
                      <a:pt x="10" y="186"/>
                      <a:pt x="8" y="187"/>
                    </a:cubicBezTo>
                    <a:cubicBezTo>
                      <a:pt x="2" y="189"/>
                      <a:pt x="0" y="188"/>
                      <a:pt x="2" y="195"/>
                    </a:cubicBezTo>
                    <a:cubicBezTo>
                      <a:pt x="4" y="193"/>
                      <a:pt x="6" y="192"/>
                      <a:pt x="8" y="190"/>
                    </a:cubicBezTo>
                    <a:cubicBezTo>
                      <a:pt x="9" y="193"/>
                      <a:pt x="5" y="194"/>
                      <a:pt x="5" y="197"/>
                    </a:cubicBezTo>
                    <a:cubicBezTo>
                      <a:pt x="8" y="196"/>
                      <a:pt x="10" y="194"/>
                      <a:pt x="13" y="193"/>
                    </a:cubicBezTo>
                    <a:cubicBezTo>
                      <a:pt x="11" y="194"/>
                      <a:pt x="11" y="196"/>
                      <a:pt x="10" y="197"/>
                    </a:cubicBezTo>
                    <a:cubicBezTo>
                      <a:pt x="9" y="198"/>
                      <a:pt x="6" y="199"/>
                      <a:pt x="6" y="200"/>
                    </a:cubicBezTo>
                    <a:cubicBezTo>
                      <a:pt x="6" y="202"/>
                      <a:pt x="10" y="203"/>
                      <a:pt x="13" y="203"/>
                    </a:cubicBezTo>
                    <a:cubicBezTo>
                      <a:pt x="15" y="203"/>
                      <a:pt x="17" y="202"/>
                      <a:pt x="18" y="202"/>
                    </a:cubicBezTo>
                    <a:cubicBezTo>
                      <a:pt x="24" y="202"/>
                      <a:pt x="29" y="202"/>
                      <a:pt x="35" y="202"/>
                    </a:cubicBezTo>
                    <a:cubicBezTo>
                      <a:pt x="35" y="202"/>
                      <a:pt x="35" y="202"/>
                      <a:pt x="35" y="202"/>
                    </a:cubicBezTo>
                    <a:cubicBezTo>
                      <a:pt x="37" y="202"/>
                      <a:pt x="38" y="208"/>
                      <a:pt x="42" y="208"/>
                    </a:cubicBezTo>
                    <a:cubicBezTo>
                      <a:pt x="45" y="209"/>
                      <a:pt x="52" y="209"/>
                      <a:pt x="55" y="211"/>
                    </a:cubicBezTo>
                    <a:cubicBezTo>
                      <a:pt x="58" y="213"/>
                      <a:pt x="56" y="213"/>
                      <a:pt x="56" y="217"/>
                    </a:cubicBezTo>
                    <a:cubicBezTo>
                      <a:pt x="57" y="216"/>
                      <a:pt x="57" y="216"/>
                      <a:pt x="59" y="216"/>
                    </a:cubicBezTo>
                    <a:cubicBezTo>
                      <a:pt x="61" y="216"/>
                      <a:pt x="65" y="217"/>
                      <a:pt x="67" y="218"/>
                    </a:cubicBezTo>
                    <a:cubicBezTo>
                      <a:pt x="70" y="218"/>
                      <a:pt x="72" y="219"/>
                      <a:pt x="74" y="219"/>
                    </a:cubicBezTo>
                    <a:cubicBezTo>
                      <a:pt x="81" y="219"/>
                      <a:pt x="87" y="216"/>
                      <a:pt x="93" y="213"/>
                    </a:cubicBezTo>
                    <a:cubicBezTo>
                      <a:pt x="102" y="209"/>
                      <a:pt x="105" y="200"/>
                      <a:pt x="112" y="195"/>
                    </a:cubicBezTo>
                    <a:cubicBezTo>
                      <a:pt x="116" y="192"/>
                      <a:pt x="121" y="192"/>
                      <a:pt x="125" y="190"/>
                    </a:cubicBezTo>
                    <a:cubicBezTo>
                      <a:pt x="125" y="189"/>
                      <a:pt x="124" y="189"/>
                      <a:pt x="123" y="189"/>
                    </a:cubicBezTo>
                    <a:cubicBezTo>
                      <a:pt x="122" y="189"/>
                      <a:pt x="121" y="190"/>
                      <a:pt x="120" y="190"/>
                    </a:cubicBezTo>
                    <a:cubicBezTo>
                      <a:pt x="120" y="180"/>
                      <a:pt x="130" y="168"/>
                      <a:pt x="136" y="159"/>
                    </a:cubicBezTo>
                    <a:cubicBezTo>
                      <a:pt x="138" y="156"/>
                      <a:pt x="139" y="152"/>
                      <a:pt x="138" y="147"/>
                    </a:cubicBezTo>
                    <a:cubicBezTo>
                      <a:pt x="138" y="145"/>
                      <a:pt x="138" y="143"/>
                      <a:pt x="139" y="141"/>
                    </a:cubicBezTo>
                    <a:cubicBezTo>
                      <a:pt x="140" y="139"/>
                      <a:pt x="140" y="137"/>
                      <a:pt x="141" y="135"/>
                    </a:cubicBezTo>
                    <a:cubicBezTo>
                      <a:pt x="143" y="132"/>
                      <a:pt x="150" y="129"/>
                      <a:pt x="154" y="128"/>
                    </a:cubicBezTo>
                    <a:cubicBezTo>
                      <a:pt x="159" y="125"/>
                      <a:pt x="164" y="122"/>
                      <a:pt x="169" y="119"/>
                    </a:cubicBezTo>
                    <a:cubicBezTo>
                      <a:pt x="172" y="117"/>
                      <a:pt x="175" y="114"/>
                      <a:pt x="178" y="114"/>
                    </a:cubicBezTo>
                    <a:cubicBezTo>
                      <a:pt x="179" y="114"/>
                      <a:pt x="180" y="115"/>
                      <a:pt x="181" y="115"/>
                    </a:cubicBezTo>
                    <a:cubicBezTo>
                      <a:pt x="179" y="117"/>
                      <a:pt x="176" y="116"/>
                      <a:pt x="174" y="117"/>
                    </a:cubicBezTo>
                    <a:cubicBezTo>
                      <a:pt x="174" y="117"/>
                      <a:pt x="175" y="117"/>
                      <a:pt x="175" y="117"/>
                    </a:cubicBezTo>
                    <a:cubicBezTo>
                      <a:pt x="176" y="117"/>
                      <a:pt x="177" y="117"/>
                      <a:pt x="178" y="117"/>
                    </a:cubicBezTo>
                    <a:cubicBezTo>
                      <a:pt x="179" y="117"/>
                      <a:pt x="180" y="117"/>
                      <a:pt x="181" y="117"/>
                    </a:cubicBezTo>
                    <a:cubicBezTo>
                      <a:pt x="182" y="117"/>
                      <a:pt x="182" y="117"/>
                      <a:pt x="183" y="117"/>
                    </a:cubicBezTo>
                    <a:cubicBezTo>
                      <a:pt x="185" y="117"/>
                      <a:pt x="187" y="119"/>
                      <a:pt x="189" y="119"/>
                    </a:cubicBezTo>
                    <a:cubicBezTo>
                      <a:pt x="189" y="119"/>
                      <a:pt x="189" y="119"/>
                      <a:pt x="189" y="119"/>
                    </a:cubicBezTo>
                    <a:cubicBezTo>
                      <a:pt x="196" y="118"/>
                      <a:pt x="193" y="110"/>
                      <a:pt x="190" y="110"/>
                    </a:cubicBezTo>
                    <a:cubicBezTo>
                      <a:pt x="190" y="110"/>
                      <a:pt x="189" y="110"/>
                      <a:pt x="189" y="111"/>
                    </a:cubicBezTo>
                    <a:cubicBezTo>
                      <a:pt x="189" y="110"/>
                      <a:pt x="188" y="109"/>
                      <a:pt x="188" y="109"/>
                    </a:cubicBezTo>
                    <a:cubicBezTo>
                      <a:pt x="187" y="109"/>
                      <a:pt x="187" y="109"/>
                      <a:pt x="186" y="110"/>
                    </a:cubicBezTo>
                    <a:cubicBezTo>
                      <a:pt x="186" y="109"/>
                      <a:pt x="185" y="109"/>
                      <a:pt x="185" y="109"/>
                    </a:cubicBezTo>
                    <a:cubicBezTo>
                      <a:pt x="184" y="109"/>
                      <a:pt x="183" y="110"/>
                      <a:pt x="182" y="110"/>
                    </a:cubicBezTo>
                    <a:cubicBezTo>
                      <a:pt x="182" y="108"/>
                      <a:pt x="182" y="103"/>
                      <a:pt x="183" y="101"/>
                    </a:cubicBezTo>
                    <a:cubicBezTo>
                      <a:pt x="184" y="97"/>
                      <a:pt x="190" y="92"/>
                      <a:pt x="193" y="89"/>
                    </a:cubicBezTo>
                    <a:cubicBezTo>
                      <a:pt x="200" y="80"/>
                      <a:pt x="207" y="72"/>
                      <a:pt x="214" y="63"/>
                    </a:cubicBezTo>
                    <a:cubicBezTo>
                      <a:pt x="217" y="58"/>
                      <a:pt x="220" y="54"/>
                      <a:pt x="223" y="50"/>
                    </a:cubicBezTo>
                    <a:cubicBezTo>
                      <a:pt x="224" y="48"/>
                      <a:pt x="228" y="45"/>
                      <a:pt x="228" y="43"/>
                    </a:cubicBezTo>
                    <a:cubicBezTo>
                      <a:pt x="229" y="41"/>
                      <a:pt x="225" y="36"/>
                      <a:pt x="224" y="34"/>
                    </a:cubicBezTo>
                    <a:cubicBezTo>
                      <a:pt x="221" y="27"/>
                      <a:pt x="226" y="30"/>
                      <a:pt x="229" y="26"/>
                    </a:cubicBezTo>
                    <a:cubicBezTo>
                      <a:pt x="229" y="26"/>
                      <a:pt x="229" y="26"/>
                      <a:pt x="228" y="26"/>
                    </a:cubicBezTo>
                    <a:cubicBezTo>
                      <a:pt x="227" y="26"/>
                      <a:pt x="226" y="26"/>
                      <a:pt x="225" y="26"/>
                    </a:cubicBezTo>
                    <a:cubicBezTo>
                      <a:pt x="223" y="27"/>
                      <a:pt x="222" y="27"/>
                      <a:pt x="221" y="27"/>
                    </a:cubicBezTo>
                    <a:cubicBezTo>
                      <a:pt x="220" y="27"/>
                      <a:pt x="220" y="27"/>
                      <a:pt x="219" y="26"/>
                    </a:cubicBezTo>
                    <a:cubicBezTo>
                      <a:pt x="221" y="25"/>
                      <a:pt x="223" y="26"/>
                      <a:pt x="224" y="25"/>
                    </a:cubicBezTo>
                    <a:cubicBezTo>
                      <a:pt x="227" y="23"/>
                      <a:pt x="224" y="23"/>
                      <a:pt x="226" y="21"/>
                    </a:cubicBezTo>
                    <a:cubicBezTo>
                      <a:pt x="226" y="21"/>
                      <a:pt x="226" y="21"/>
                      <a:pt x="226" y="21"/>
                    </a:cubicBezTo>
                    <a:cubicBezTo>
                      <a:pt x="226" y="21"/>
                      <a:pt x="226" y="21"/>
                      <a:pt x="226" y="21"/>
                    </a:cubicBezTo>
                    <a:cubicBezTo>
                      <a:pt x="226" y="22"/>
                      <a:pt x="226" y="22"/>
                      <a:pt x="227" y="22"/>
                    </a:cubicBezTo>
                    <a:cubicBezTo>
                      <a:pt x="227" y="22"/>
                      <a:pt x="227" y="22"/>
                      <a:pt x="227" y="21"/>
                    </a:cubicBezTo>
                    <a:cubicBezTo>
                      <a:pt x="227" y="22"/>
                      <a:pt x="227" y="22"/>
                      <a:pt x="227" y="22"/>
                    </a:cubicBezTo>
                    <a:cubicBezTo>
                      <a:pt x="227" y="22"/>
                      <a:pt x="227" y="21"/>
                      <a:pt x="227" y="21"/>
                    </a:cubicBezTo>
                    <a:cubicBezTo>
                      <a:pt x="228" y="21"/>
                      <a:pt x="228" y="21"/>
                      <a:pt x="228" y="21"/>
                    </a:cubicBezTo>
                    <a:cubicBezTo>
                      <a:pt x="228" y="21"/>
                      <a:pt x="228" y="21"/>
                      <a:pt x="228" y="21"/>
                    </a:cubicBezTo>
                    <a:cubicBezTo>
                      <a:pt x="229" y="20"/>
                      <a:pt x="229" y="19"/>
                      <a:pt x="230" y="18"/>
                    </a:cubicBezTo>
                    <a:cubicBezTo>
                      <a:pt x="228" y="18"/>
                      <a:pt x="218" y="22"/>
                      <a:pt x="217" y="23"/>
                    </a:cubicBezTo>
                    <a:cubicBezTo>
                      <a:pt x="217" y="24"/>
                      <a:pt x="218" y="24"/>
                      <a:pt x="219" y="24"/>
                    </a:cubicBezTo>
                    <a:cubicBezTo>
                      <a:pt x="220" y="24"/>
                      <a:pt x="221" y="24"/>
                      <a:pt x="222" y="24"/>
                    </a:cubicBezTo>
                    <a:cubicBezTo>
                      <a:pt x="222" y="24"/>
                      <a:pt x="223" y="23"/>
                      <a:pt x="223" y="23"/>
                    </a:cubicBezTo>
                    <a:cubicBezTo>
                      <a:pt x="223" y="23"/>
                      <a:pt x="223" y="23"/>
                      <a:pt x="224" y="23"/>
                    </a:cubicBezTo>
                    <a:cubicBezTo>
                      <a:pt x="221" y="25"/>
                      <a:pt x="218" y="24"/>
                      <a:pt x="216" y="27"/>
                    </a:cubicBezTo>
                    <a:cubicBezTo>
                      <a:pt x="216" y="24"/>
                      <a:pt x="217" y="22"/>
                      <a:pt x="217" y="20"/>
                    </a:cubicBezTo>
                    <a:cubicBezTo>
                      <a:pt x="218" y="19"/>
                      <a:pt x="217" y="17"/>
                      <a:pt x="219" y="15"/>
                    </a:cubicBezTo>
                    <a:cubicBezTo>
                      <a:pt x="210" y="18"/>
                      <a:pt x="204" y="23"/>
                      <a:pt x="197" y="28"/>
                    </a:cubicBezTo>
                    <a:cubicBezTo>
                      <a:pt x="196" y="24"/>
                      <a:pt x="195" y="19"/>
                      <a:pt x="193" y="16"/>
                    </a:cubicBezTo>
                    <a:cubicBezTo>
                      <a:pt x="192" y="12"/>
                      <a:pt x="191" y="13"/>
                      <a:pt x="187" y="12"/>
                    </a:cubicBezTo>
                    <a:cubicBezTo>
                      <a:pt x="185" y="11"/>
                      <a:pt x="184" y="10"/>
                      <a:pt x="184" y="7"/>
                    </a:cubicBezTo>
                    <a:cubicBezTo>
                      <a:pt x="185" y="5"/>
                      <a:pt x="185" y="1"/>
                      <a:pt x="187" y="1"/>
                    </a:cubicBezTo>
                    <a:cubicBezTo>
                      <a:pt x="187" y="1"/>
                      <a:pt x="187" y="1"/>
                      <a:pt x="187" y="1"/>
                    </a:cubicBezTo>
                    <a:cubicBezTo>
                      <a:pt x="186" y="1"/>
                      <a:pt x="184"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7" name="Freeform 1188"/>
              <p:cNvSpPr/>
              <p:nvPr/>
            </p:nvSpPr>
            <p:spPr bwMode="auto">
              <a:xfrm>
                <a:off x="5947" y="4758"/>
                <a:ext cx="7" cy="5"/>
              </a:xfrm>
              <a:custGeom>
                <a:gdLst>
                  <a:gd name="T0" fmla="*/ 1 w 3"/>
                  <a:gd name="T1" fmla="*/ 0 h 2"/>
                  <a:gd name="T2" fmla="*/ 0 w 3"/>
                  <a:gd name="T3" fmla="*/ 1 h 2"/>
                  <a:gd name="T4" fmla="*/ 0 w 3"/>
                  <a:gd name="T5" fmla="*/ 2 h 2"/>
                  <a:gd name="T6" fmla="*/ 3 w 3"/>
                  <a:gd name="T7" fmla="*/ 0 h 2"/>
                  <a:gd name="T8" fmla="*/ 1 w 3"/>
                  <a:gd name="T9" fmla="*/ 0 h 2"/>
                </a:gdLst>
                <a:cxnLst>
                  <a:cxn ang="0">
                    <a:pos x="T0" y="T1"/>
                  </a:cxn>
                  <a:cxn ang="0">
                    <a:pos x="T2" y="T3"/>
                  </a:cxn>
                  <a:cxn ang="0">
                    <a:pos x="T4" y="T5"/>
                  </a:cxn>
                  <a:cxn ang="0">
                    <a:pos x="T6" y="T7"/>
                  </a:cxn>
                  <a:cxn ang="0">
                    <a:pos x="T8" y="T9"/>
                  </a:cxn>
                </a:cxnLst>
                <a:rect l="0" t="0" r="r" b="b"/>
                <a:pathLst>
                  <a:path w="3" h="2">
                    <a:moveTo>
                      <a:pt x="1" y="0"/>
                    </a:moveTo>
                    <a:cubicBezTo>
                      <a:pt x="0" y="0"/>
                      <a:pt x="0" y="1"/>
                      <a:pt x="0" y="1"/>
                    </a:cubicBezTo>
                    <a:cubicBezTo>
                      <a:pt x="0" y="1"/>
                      <a:pt x="0" y="2"/>
                      <a:pt x="0" y="2"/>
                    </a:cubicBezTo>
                    <a:cubicBezTo>
                      <a:pt x="1" y="2"/>
                      <a:pt x="2" y="1"/>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Freeform 1189"/>
              <p:cNvSpPr/>
              <p:nvPr/>
            </p:nvSpPr>
            <p:spPr bwMode="auto">
              <a:xfrm>
                <a:off x="5056" y="4836"/>
                <a:ext cx="38" cy="31"/>
              </a:xfrm>
              <a:custGeom>
                <a:gdLst>
                  <a:gd name="T0" fmla="*/ 12 w 16"/>
                  <a:gd name="T1" fmla="*/ 0 h 13"/>
                  <a:gd name="T2" fmla="*/ 10 w 16"/>
                  <a:gd name="T3" fmla="*/ 4 h 13"/>
                  <a:gd name="T4" fmla="*/ 7 w 16"/>
                  <a:gd name="T5" fmla="*/ 7 h 13"/>
                  <a:gd name="T6" fmla="*/ 13 w 16"/>
                  <a:gd name="T7" fmla="*/ 13 h 13"/>
                  <a:gd name="T8" fmla="*/ 12 w 16"/>
                  <a:gd name="T9" fmla="*/ 7 h 13"/>
                  <a:gd name="T10" fmla="*/ 16 w 16"/>
                  <a:gd name="T11" fmla="*/ 2 h 13"/>
                  <a:gd name="T12" fmla="*/ 12 w 16"/>
                  <a:gd name="T13" fmla="*/ 0 h 13"/>
                </a:gdLst>
                <a:cxnLst>
                  <a:cxn ang="0">
                    <a:pos x="T0" y="T1"/>
                  </a:cxn>
                  <a:cxn ang="0">
                    <a:pos x="T2" y="T3"/>
                  </a:cxn>
                  <a:cxn ang="0">
                    <a:pos x="T4" y="T5"/>
                  </a:cxn>
                  <a:cxn ang="0">
                    <a:pos x="T6" y="T7"/>
                  </a:cxn>
                  <a:cxn ang="0">
                    <a:pos x="T8" y="T9"/>
                  </a:cxn>
                  <a:cxn ang="0">
                    <a:pos x="T10" y="T11"/>
                  </a:cxn>
                  <a:cxn ang="0">
                    <a:pos x="T12" y="T13"/>
                  </a:cxn>
                </a:cxnLst>
                <a:rect l="0" t="0" r="r" b="b"/>
                <a:pathLst>
                  <a:path w="16" h="13">
                    <a:moveTo>
                      <a:pt x="12" y="0"/>
                    </a:moveTo>
                    <a:cubicBezTo>
                      <a:pt x="11" y="0"/>
                      <a:pt x="10" y="1"/>
                      <a:pt x="10" y="4"/>
                    </a:cubicBezTo>
                    <a:cubicBezTo>
                      <a:pt x="10" y="6"/>
                      <a:pt x="8" y="6"/>
                      <a:pt x="7" y="7"/>
                    </a:cubicBezTo>
                    <a:cubicBezTo>
                      <a:pt x="0" y="13"/>
                      <a:pt x="9" y="10"/>
                      <a:pt x="13" y="13"/>
                    </a:cubicBezTo>
                    <a:cubicBezTo>
                      <a:pt x="13" y="11"/>
                      <a:pt x="12" y="9"/>
                      <a:pt x="12" y="7"/>
                    </a:cubicBezTo>
                    <a:cubicBezTo>
                      <a:pt x="12" y="5"/>
                      <a:pt x="14" y="3"/>
                      <a:pt x="16" y="2"/>
                    </a:cubicBezTo>
                    <a:cubicBezTo>
                      <a:pt x="14"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9" name="Freeform 1190"/>
              <p:cNvSpPr/>
              <p:nvPr/>
            </p:nvSpPr>
            <p:spPr bwMode="auto">
              <a:xfrm>
                <a:off x="5281" y="5014"/>
                <a:ext cx="11" cy="7"/>
              </a:xfrm>
              <a:custGeom>
                <a:gdLst>
                  <a:gd name="T0" fmla="*/ 5 w 5"/>
                  <a:gd name="T1" fmla="*/ 0 h 3"/>
                  <a:gd name="T2" fmla="*/ 0 w 5"/>
                  <a:gd name="T3" fmla="*/ 1 h 3"/>
                  <a:gd name="T4" fmla="*/ 0 w 5"/>
                  <a:gd name="T5" fmla="*/ 1 h 3"/>
                  <a:gd name="T6" fmla="*/ 3 w 5"/>
                  <a:gd name="T7" fmla="*/ 3 h 3"/>
                  <a:gd name="T8" fmla="*/ 5 w 5"/>
                  <a:gd name="T9" fmla="*/ 0 h 3"/>
                </a:gdLst>
                <a:cxnLst>
                  <a:cxn ang="0">
                    <a:pos x="T0" y="T1"/>
                  </a:cxn>
                  <a:cxn ang="0">
                    <a:pos x="T2" y="T3"/>
                  </a:cxn>
                  <a:cxn ang="0">
                    <a:pos x="T4" y="T5"/>
                  </a:cxn>
                  <a:cxn ang="0">
                    <a:pos x="T6" y="T7"/>
                  </a:cxn>
                  <a:cxn ang="0">
                    <a:pos x="T8" y="T9"/>
                  </a:cxn>
                </a:cxnLst>
                <a:rect l="0" t="0" r="r" b="b"/>
                <a:pathLst>
                  <a:path w="5" h="3">
                    <a:moveTo>
                      <a:pt x="5" y="0"/>
                    </a:moveTo>
                    <a:cubicBezTo>
                      <a:pt x="3" y="0"/>
                      <a:pt x="2" y="1"/>
                      <a:pt x="0" y="1"/>
                    </a:cubicBezTo>
                    <a:cubicBezTo>
                      <a:pt x="0" y="1"/>
                      <a:pt x="0" y="1"/>
                      <a:pt x="0" y="1"/>
                    </a:cubicBezTo>
                    <a:cubicBezTo>
                      <a:pt x="1" y="2"/>
                      <a:pt x="2" y="3"/>
                      <a:pt x="3" y="3"/>
                    </a:cubicBezTo>
                    <a:cubicBezTo>
                      <a:pt x="4"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Freeform 1191"/>
              <p:cNvSpPr/>
              <p:nvPr/>
            </p:nvSpPr>
            <p:spPr bwMode="auto">
              <a:xfrm>
                <a:off x="5167" y="2017"/>
                <a:ext cx="17" cy="11"/>
              </a:xfrm>
              <a:custGeom>
                <a:gdLst>
                  <a:gd name="T0" fmla="*/ 4 w 7"/>
                  <a:gd name="T1" fmla="*/ 0 h 5"/>
                  <a:gd name="T2" fmla="*/ 2 w 7"/>
                  <a:gd name="T3" fmla="*/ 5 h 5"/>
                  <a:gd name="T4" fmla="*/ 3 w 7"/>
                  <a:gd name="T5" fmla="*/ 5 h 5"/>
                  <a:gd name="T6" fmla="*/ 4 w 7"/>
                  <a:gd name="T7" fmla="*/ 5 h 5"/>
                  <a:gd name="T8" fmla="*/ 5 w 7"/>
                  <a:gd name="T9" fmla="*/ 5 h 5"/>
                  <a:gd name="T10" fmla="*/ 5 w 7"/>
                  <a:gd name="T11" fmla="*/ 0 h 5"/>
                  <a:gd name="T12" fmla="*/ 4 w 7"/>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7" h="5">
                    <a:moveTo>
                      <a:pt x="4" y="0"/>
                    </a:moveTo>
                    <a:cubicBezTo>
                      <a:pt x="2" y="0"/>
                      <a:pt x="0" y="3"/>
                      <a:pt x="2" y="5"/>
                    </a:cubicBezTo>
                    <a:cubicBezTo>
                      <a:pt x="2" y="5"/>
                      <a:pt x="2" y="5"/>
                      <a:pt x="3" y="5"/>
                    </a:cubicBezTo>
                    <a:cubicBezTo>
                      <a:pt x="4" y="5"/>
                      <a:pt x="4" y="5"/>
                      <a:pt x="4" y="5"/>
                    </a:cubicBezTo>
                    <a:cubicBezTo>
                      <a:pt x="5" y="5"/>
                      <a:pt x="5" y="5"/>
                      <a:pt x="5" y="5"/>
                    </a:cubicBezTo>
                    <a:cubicBezTo>
                      <a:pt x="6" y="3"/>
                      <a:pt x="7" y="1"/>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1" name="Freeform 1192"/>
              <p:cNvSpPr>
                <a:spLocks noEditPoints="1"/>
              </p:cNvSpPr>
              <p:nvPr/>
            </p:nvSpPr>
            <p:spPr bwMode="auto">
              <a:xfrm>
                <a:off x="5186" y="1981"/>
                <a:ext cx="5" cy="5"/>
              </a:xfrm>
              <a:custGeom>
                <a:gdLst>
                  <a:gd name="T0" fmla="*/ 0 w 2"/>
                  <a:gd name="T1" fmla="*/ 1 h 2"/>
                  <a:gd name="T2" fmla="*/ 0 w 2"/>
                  <a:gd name="T3" fmla="*/ 2 h 2"/>
                  <a:gd name="T4" fmla="*/ 0 w 2"/>
                  <a:gd name="T5" fmla="*/ 1 h 2"/>
                  <a:gd name="T6" fmla="*/ 1 w 2"/>
                  <a:gd name="T7" fmla="*/ 0 h 2"/>
                  <a:gd name="T8" fmla="*/ 0 w 2"/>
                  <a:gd name="T9" fmla="*/ 1 h 2"/>
                  <a:gd name="T10" fmla="*/ 2 w 2"/>
                  <a:gd name="T11" fmla="*/ 0 h 2"/>
                  <a:gd name="T12" fmla="*/ 1 w 2"/>
                  <a:gd name="T13" fmla="*/ 0 h 2"/>
                </a:gd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2"/>
                      <a:pt x="0" y="2"/>
                    </a:cubicBezTo>
                    <a:cubicBezTo>
                      <a:pt x="0" y="2"/>
                      <a:pt x="0" y="1"/>
                      <a:pt x="0" y="1"/>
                    </a:cubicBezTo>
                    <a:moveTo>
                      <a:pt x="1" y="0"/>
                    </a:moveTo>
                    <a:cubicBezTo>
                      <a:pt x="1" y="0"/>
                      <a:pt x="1" y="1"/>
                      <a:pt x="0" y="1"/>
                    </a:cubicBezTo>
                    <a:cubicBezTo>
                      <a:pt x="1" y="1"/>
                      <a:pt x="1" y="1"/>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Freeform 1193"/>
              <p:cNvSpPr/>
              <p:nvPr/>
            </p:nvSpPr>
            <p:spPr bwMode="auto">
              <a:xfrm>
                <a:off x="5148" y="2121"/>
                <a:ext cx="12" cy="9"/>
              </a:xfrm>
              <a:custGeom>
                <a:gdLst>
                  <a:gd name="T0" fmla="*/ 2 w 5"/>
                  <a:gd name="T1" fmla="*/ 0 h 4"/>
                  <a:gd name="T2" fmla="*/ 1 w 5"/>
                  <a:gd name="T3" fmla="*/ 0 h 4"/>
                  <a:gd name="T4" fmla="*/ 0 w 5"/>
                  <a:gd name="T5" fmla="*/ 0 h 4"/>
                  <a:gd name="T6" fmla="*/ 0 w 5"/>
                  <a:gd name="T7" fmla="*/ 1 h 4"/>
                  <a:gd name="T8" fmla="*/ 3 w 5"/>
                  <a:gd name="T9" fmla="*/ 4 h 4"/>
                  <a:gd name="T10" fmla="*/ 2 w 5"/>
                  <a:gd name="T11" fmla="*/ 0 h 4"/>
                </a:gdLst>
                <a:cxnLst>
                  <a:cxn ang="0">
                    <a:pos x="T0" y="T1"/>
                  </a:cxn>
                  <a:cxn ang="0">
                    <a:pos x="T2" y="T3"/>
                  </a:cxn>
                  <a:cxn ang="0">
                    <a:pos x="T4" y="T5"/>
                  </a:cxn>
                  <a:cxn ang="0">
                    <a:pos x="T6" y="T7"/>
                  </a:cxn>
                  <a:cxn ang="0">
                    <a:pos x="T8" y="T9"/>
                  </a:cxn>
                  <a:cxn ang="0">
                    <a:pos x="T10" y="T11"/>
                  </a:cxn>
                </a:cxnLst>
                <a:rect l="0" t="0" r="r" b="b"/>
                <a:pathLst>
                  <a:path w="5" h="4">
                    <a:moveTo>
                      <a:pt x="2" y="0"/>
                    </a:moveTo>
                    <a:cubicBezTo>
                      <a:pt x="1" y="0"/>
                      <a:pt x="1" y="0"/>
                      <a:pt x="1" y="0"/>
                    </a:cubicBezTo>
                    <a:cubicBezTo>
                      <a:pt x="0" y="0"/>
                      <a:pt x="0" y="0"/>
                      <a:pt x="0" y="0"/>
                    </a:cubicBezTo>
                    <a:cubicBezTo>
                      <a:pt x="0" y="1"/>
                      <a:pt x="0" y="1"/>
                      <a:pt x="0" y="1"/>
                    </a:cubicBezTo>
                    <a:cubicBezTo>
                      <a:pt x="1" y="2"/>
                      <a:pt x="2" y="3"/>
                      <a:pt x="3" y="4"/>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3" name="Freeform 1194"/>
              <p:cNvSpPr/>
              <p:nvPr/>
            </p:nvSpPr>
            <p:spPr bwMode="auto">
              <a:xfrm>
                <a:off x="5219" y="2187"/>
                <a:ext cx="24" cy="19"/>
              </a:xfrm>
              <a:custGeom>
                <a:gdLst>
                  <a:gd name="T0" fmla="*/ 0 w 10"/>
                  <a:gd name="T1" fmla="*/ 0 h 8"/>
                  <a:gd name="T2" fmla="*/ 0 w 10"/>
                  <a:gd name="T3" fmla="*/ 4 h 8"/>
                  <a:gd name="T4" fmla="*/ 0 w 10"/>
                  <a:gd name="T5" fmla="*/ 5 h 8"/>
                  <a:gd name="T6" fmla="*/ 10 w 10"/>
                  <a:gd name="T7" fmla="*/ 8 h 8"/>
                  <a:gd name="T8" fmla="*/ 5 w 10"/>
                  <a:gd name="T9" fmla="*/ 4 h 8"/>
                  <a:gd name="T10" fmla="*/ 5 w 10"/>
                  <a:gd name="T11" fmla="*/ 4 h 8"/>
                  <a:gd name="T12" fmla="*/ 4 w 10"/>
                  <a:gd name="T13" fmla="*/ 4 h 8"/>
                  <a:gd name="T14" fmla="*/ 3 w 10"/>
                  <a:gd name="T15" fmla="*/ 4 h 8"/>
                  <a:gd name="T16" fmla="*/ 3 w 10"/>
                  <a:gd name="T17" fmla="*/ 2 h 8"/>
                  <a:gd name="T18" fmla="*/ 0 w 10"/>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0" y="0"/>
                    </a:moveTo>
                    <a:cubicBezTo>
                      <a:pt x="0" y="0"/>
                      <a:pt x="0" y="1"/>
                      <a:pt x="0" y="4"/>
                    </a:cubicBezTo>
                    <a:cubicBezTo>
                      <a:pt x="0" y="5"/>
                      <a:pt x="0" y="5"/>
                      <a:pt x="0" y="5"/>
                    </a:cubicBezTo>
                    <a:cubicBezTo>
                      <a:pt x="1" y="8"/>
                      <a:pt x="7" y="8"/>
                      <a:pt x="10" y="8"/>
                    </a:cubicBezTo>
                    <a:cubicBezTo>
                      <a:pt x="9" y="7"/>
                      <a:pt x="7" y="5"/>
                      <a:pt x="5" y="4"/>
                    </a:cubicBezTo>
                    <a:cubicBezTo>
                      <a:pt x="5" y="4"/>
                      <a:pt x="5" y="4"/>
                      <a:pt x="5" y="4"/>
                    </a:cubicBezTo>
                    <a:cubicBezTo>
                      <a:pt x="4" y="4"/>
                      <a:pt x="4" y="4"/>
                      <a:pt x="4" y="4"/>
                    </a:cubicBezTo>
                    <a:cubicBezTo>
                      <a:pt x="4" y="4"/>
                      <a:pt x="3" y="4"/>
                      <a:pt x="3" y="4"/>
                    </a:cubicBezTo>
                    <a:cubicBezTo>
                      <a:pt x="3" y="3"/>
                      <a:pt x="3" y="2"/>
                      <a:pt x="3" y="2"/>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Freeform 1195"/>
              <p:cNvSpPr/>
              <p:nvPr/>
            </p:nvSpPr>
            <p:spPr bwMode="auto">
              <a:xfrm>
                <a:off x="5108" y="2052"/>
                <a:ext cx="50" cy="69"/>
              </a:xfrm>
              <a:custGeom>
                <a:gdLst>
                  <a:gd name="T0" fmla="*/ 2 w 21"/>
                  <a:gd name="T1" fmla="*/ 0 h 29"/>
                  <a:gd name="T2" fmla="*/ 0 w 21"/>
                  <a:gd name="T3" fmla="*/ 4 h 29"/>
                  <a:gd name="T4" fmla="*/ 1 w 21"/>
                  <a:gd name="T5" fmla="*/ 7 h 29"/>
                  <a:gd name="T6" fmla="*/ 3 w 21"/>
                  <a:gd name="T7" fmla="*/ 13 h 29"/>
                  <a:gd name="T8" fmla="*/ 4 w 21"/>
                  <a:gd name="T9" fmla="*/ 20 h 29"/>
                  <a:gd name="T10" fmla="*/ 7 w 21"/>
                  <a:gd name="T11" fmla="*/ 29 h 29"/>
                  <a:gd name="T12" fmla="*/ 14 w 21"/>
                  <a:gd name="T13" fmla="*/ 28 h 29"/>
                  <a:gd name="T14" fmla="*/ 14 w 21"/>
                  <a:gd name="T15" fmla="*/ 28 h 29"/>
                  <a:gd name="T16" fmla="*/ 15 w 21"/>
                  <a:gd name="T17" fmla="*/ 28 h 29"/>
                  <a:gd name="T18" fmla="*/ 16 w 21"/>
                  <a:gd name="T19" fmla="*/ 28 h 29"/>
                  <a:gd name="T20" fmla="*/ 16 w 21"/>
                  <a:gd name="T21" fmla="*/ 28 h 29"/>
                  <a:gd name="T22" fmla="*/ 20 w 21"/>
                  <a:gd name="T23" fmla="*/ 26 h 29"/>
                  <a:gd name="T24" fmla="*/ 21 w 21"/>
                  <a:gd name="T25" fmla="*/ 26 h 29"/>
                  <a:gd name="T26" fmla="*/ 21 w 21"/>
                  <a:gd name="T27" fmla="*/ 26 h 29"/>
                  <a:gd name="T28" fmla="*/ 21 w 21"/>
                  <a:gd name="T29" fmla="*/ 26 h 29"/>
                  <a:gd name="T30" fmla="*/ 17 w 21"/>
                  <a:gd name="T31" fmla="*/ 14 h 29"/>
                  <a:gd name="T32" fmla="*/ 16 w 21"/>
                  <a:gd name="T33" fmla="*/ 8 h 29"/>
                  <a:gd name="T34" fmla="*/ 15 w 21"/>
                  <a:gd name="T35" fmla="*/ 8 h 29"/>
                  <a:gd name="T36" fmla="*/ 12 w 21"/>
                  <a:gd name="T37" fmla="*/ 15 h 29"/>
                  <a:gd name="T38" fmla="*/ 11 w 21"/>
                  <a:gd name="T39" fmla="*/ 15 h 29"/>
                  <a:gd name="T40" fmla="*/ 8 w 21"/>
                  <a:gd name="T41" fmla="*/ 13 h 29"/>
                  <a:gd name="T42" fmla="*/ 7 w 21"/>
                  <a:gd name="T43" fmla="*/ 7 h 29"/>
                  <a:gd name="T44" fmla="*/ 5 w 21"/>
                  <a:gd name="T45" fmla="*/ 4 h 29"/>
                  <a:gd name="T46" fmla="*/ 5 w 21"/>
                  <a:gd name="T47" fmla="*/ 3 h 29"/>
                  <a:gd name="T48" fmla="*/ 2 w 21"/>
                  <a:gd name="T49"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28">
                    <a:moveTo>
                      <a:pt x="2" y="0"/>
                    </a:moveTo>
                    <a:cubicBezTo>
                      <a:pt x="1" y="0"/>
                      <a:pt x="1" y="1"/>
                      <a:pt x="0" y="4"/>
                    </a:cubicBezTo>
                    <a:cubicBezTo>
                      <a:pt x="0" y="5"/>
                      <a:pt x="1" y="6"/>
                      <a:pt x="1" y="7"/>
                    </a:cubicBezTo>
                    <a:cubicBezTo>
                      <a:pt x="1" y="9"/>
                      <a:pt x="2" y="11"/>
                      <a:pt x="3" y="13"/>
                    </a:cubicBezTo>
                    <a:cubicBezTo>
                      <a:pt x="3" y="16"/>
                      <a:pt x="3" y="17"/>
                      <a:pt x="4" y="20"/>
                    </a:cubicBezTo>
                    <a:cubicBezTo>
                      <a:pt x="4" y="23"/>
                      <a:pt x="8" y="27"/>
                      <a:pt x="7" y="29"/>
                    </a:cubicBezTo>
                    <a:cubicBezTo>
                      <a:pt x="9" y="29"/>
                      <a:pt x="11" y="28"/>
                      <a:pt x="14" y="28"/>
                    </a:cubicBezTo>
                    <a:cubicBezTo>
                      <a:pt x="14" y="28"/>
                      <a:pt x="14" y="28"/>
                      <a:pt x="14" y="28"/>
                    </a:cubicBezTo>
                    <a:cubicBezTo>
                      <a:pt x="14" y="28"/>
                      <a:pt x="14" y="28"/>
                      <a:pt x="15" y="28"/>
                    </a:cubicBezTo>
                    <a:cubicBezTo>
                      <a:pt x="15" y="28"/>
                      <a:pt x="15" y="28"/>
                      <a:pt x="16" y="28"/>
                    </a:cubicBezTo>
                    <a:cubicBezTo>
                      <a:pt x="16" y="28"/>
                      <a:pt x="16" y="28"/>
                      <a:pt x="16" y="28"/>
                    </a:cubicBezTo>
                    <a:cubicBezTo>
                      <a:pt x="17" y="28"/>
                      <a:pt x="18" y="26"/>
                      <a:pt x="20" y="26"/>
                    </a:cubicBezTo>
                    <a:cubicBezTo>
                      <a:pt x="20" y="26"/>
                      <a:pt x="20" y="26"/>
                      <a:pt x="21" y="26"/>
                    </a:cubicBezTo>
                    <a:cubicBezTo>
                      <a:pt x="21" y="26"/>
                      <a:pt x="21" y="26"/>
                      <a:pt x="21" y="26"/>
                    </a:cubicBezTo>
                    <a:cubicBezTo>
                      <a:pt x="21" y="26"/>
                      <a:pt x="21" y="26"/>
                      <a:pt x="21" y="26"/>
                    </a:cubicBezTo>
                    <a:cubicBezTo>
                      <a:pt x="20" y="22"/>
                      <a:pt x="19" y="18"/>
                      <a:pt x="17" y="14"/>
                    </a:cubicBezTo>
                    <a:cubicBezTo>
                      <a:pt x="16" y="12"/>
                      <a:pt x="15" y="10"/>
                      <a:pt x="16" y="8"/>
                    </a:cubicBezTo>
                    <a:cubicBezTo>
                      <a:pt x="16" y="8"/>
                      <a:pt x="15" y="8"/>
                      <a:pt x="15" y="8"/>
                    </a:cubicBezTo>
                    <a:cubicBezTo>
                      <a:pt x="12" y="8"/>
                      <a:pt x="14" y="14"/>
                      <a:pt x="12" y="15"/>
                    </a:cubicBezTo>
                    <a:cubicBezTo>
                      <a:pt x="11" y="15"/>
                      <a:pt x="11" y="15"/>
                      <a:pt x="11" y="15"/>
                    </a:cubicBezTo>
                    <a:cubicBezTo>
                      <a:pt x="9" y="15"/>
                      <a:pt x="9" y="14"/>
                      <a:pt x="8" y="13"/>
                    </a:cubicBezTo>
                    <a:cubicBezTo>
                      <a:pt x="7" y="11"/>
                      <a:pt x="8" y="9"/>
                      <a:pt x="7" y="7"/>
                    </a:cubicBezTo>
                    <a:cubicBezTo>
                      <a:pt x="7" y="6"/>
                      <a:pt x="6" y="5"/>
                      <a:pt x="5" y="4"/>
                    </a:cubicBezTo>
                    <a:cubicBezTo>
                      <a:pt x="5" y="4"/>
                      <a:pt x="5" y="4"/>
                      <a:pt x="5" y="3"/>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Freeform 1196"/>
              <p:cNvSpPr/>
              <p:nvPr/>
            </p:nvSpPr>
            <p:spPr bwMode="auto">
              <a:xfrm>
                <a:off x="5151" y="2139"/>
                <a:ext cx="47" cy="50"/>
              </a:xfrm>
              <a:custGeom>
                <a:gdLst>
                  <a:gd name="T0" fmla="*/ 3 w 20"/>
                  <a:gd name="T1" fmla="*/ 0 h 21"/>
                  <a:gd name="T2" fmla="*/ 1 w 20"/>
                  <a:gd name="T3" fmla="*/ 2 h 21"/>
                  <a:gd name="T4" fmla="*/ 3 w 20"/>
                  <a:gd name="T5" fmla="*/ 8 h 21"/>
                  <a:gd name="T6" fmla="*/ 4 w 20"/>
                  <a:gd name="T7" fmla="*/ 8 h 21"/>
                  <a:gd name="T8" fmla="*/ 5 w 20"/>
                  <a:gd name="T9" fmla="*/ 8 h 21"/>
                  <a:gd name="T10" fmla="*/ 5 w 20"/>
                  <a:gd name="T11" fmla="*/ 7 h 21"/>
                  <a:gd name="T12" fmla="*/ 7 w 20"/>
                  <a:gd name="T13" fmla="*/ 9 h 21"/>
                  <a:gd name="T14" fmla="*/ 7 w 20"/>
                  <a:gd name="T15" fmla="*/ 12 h 21"/>
                  <a:gd name="T16" fmla="*/ 11 w 20"/>
                  <a:gd name="T17" fmla="*/ 21 h 21"/>
                  <a:gd name="T18" fmla="*/ 17 w 20"/>
                  <a:gd name="T19" fmla="*/ 18 h 21"/>
                  <a:gd name="T20" fmla="*/ 20 w 20"/>
                  <a:gd name="T21" fmla="*/ 16 h 21"/>
                  <a:gd name="T22" fmla="*/ 19 w 20"/>
                  <a:gd name="T23" fmla="*/ 16 h 21"/>
                  <a:gd name="T24" fmla="*/ 15 w 20"/>
                  <a:gd name="T25" fmla="*/ 10 h 21"/>
                  <a:gd name="T26" fmla="*/ 10 w 20"/>
                  <a:gd name="T27" fmla="*/ 6 h 21"/>
                  <a:gd name="T28" fmla="*/ 10 w 20"/>
                  <a:gd name="T29" fmla="*/ 7 h 21"/>
                  <a:gd name="T30" fmla="*/ 5 w 20"/>
                  <a:gd name="T31" fmla="*/ 1 h 21"/>
                  <a:gd name="T32" fmla="*/ 3 w 20"/>
                  <a:gd name="T33"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1">
                    <a:moveTo>
                      <a:pt x="3" y="0"/>
                    </a:moveTo>
                    <a:cubicBezTo>
                      <a:pt x="2" y="0"/>
                      <a:pt x="2" y="1"/>
                      <a:pt x="1" y="2"/>
                    </a:cubicBezTo>
                    <a:cubicBezTo>
                      <a:pt x="0" y="5"/>
                      <a:pt x="0" y="7"/>
                      <a:pt x="3" y="8"/>
                    </a:cubicBezTo>
                    <a:cubicBezTo>
                      <a:pt x="3" y="8"/>
                      <a:pt x="3" y="8"/>
                      <a:pt x="4" y="8"/>
                    </a:cubicBezTo>
                    <a:cubicBezTo>
                      <a:pt x="4" y="8"/>
                      <a:pt x="4" y="8"/>
                      <a:pt x="5" y="8"/>
                    </a:cubicBezTo>
                    <a:cubicBezTo>
                      <a:pt x="5" y="7"/>
                      <a:pt x="5" y="7"/>
                      <a:pt x="5" y="7"/>
                    </a:cubicBezTo>
                    <a:cubicBezTo>
                      <a:pt x="6" y="7"/>
                      <a:pt x="6" y="8"/>
                      <a:pt x="7" y="9"/>
                    </a:cubicBezTo>
                    <a:cubicBezTo>
                      <a:pt x="7" y="10"/>
                      <a:pt x="7" y="11"/>
                      <a:pt x="7" y="12"/>
                    </a:cubicBezTo>
                    <a:cubicBezTo>
                      <a:pt x="8" y="15"/>
                      <a:pt x="8" y="20"/>
                      <a:pt x="11" y="21"/>
                    </a:cubicBezTo>
                    <a:cubicBezTo>
                      <a:pt x="12" y="20"/>
                      <a:pt x="15" y="19"/>
                      <a:pt x="17" y="18"/>
                    </a:cubicBezTo>
                    <a:cubicBezTo>
                      <a:pt x="18" y="17"/>
                      <a:pt x="19" y="17"/>
                      <a:pt x="20" y="16"/>
                    </a:cubicBezTo>
                    <a:cubicBezTo>
                      <a:pt x="20" y="16"/>
                      <a:pt x="20" y="16"/>
                      <a:pt x="19" y="16"/>
                    </a:cubicBezTo>
                    <a:cubicBezTo>
                      <a:pt x="19" y="14"/>
                      <a:pt x="17" y="12"/>
                      <a:pt x="15" y="10"/>
                    </a:cubicBezTo>
                    <a:cubicBezTo>
                      <a:pt x="13" y="9"/>
                      <a:pt x="11" y="8"/>
                      <a:pt x="10" y="6"/>
                    </a:cubicBezTo>
                    <a:cubicBezTo>
                      <a:pt x="10" y="7"/>
                      <a:pt x="10" y="7"/>
                      <a:pt x="10" y="7"/>
                    </a:cubicBezTo>
                    <a:cubicBezTo>
                      <a:pt x="8" y="6"/>
                      <a:pt x="7" y="3"/>
                      <a:pt x="5"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Freeform 1197"/>
              <p:cNvSpPr/>
              <p:nvPr/>
            </p:nvSpPr>
            <p:spPr bwMode="auto">
              <a:xfrm>
                <a:off x="5174" y="1986"/>
                <a:ext cx="7" cy="16"/>
              </a:xfrm>
              <a:custGeom>
                <a:gdLst>
                  <a:gd name="T0" fmla="*/ 0 w 3"/>
                  <a:gd name="T1" fmla="*/ 0 h 7"/>
                  <a:gd name="T2" fmla="*/ 0 w 3"/>
                  <a:gd name="T3" fmla="*/ 3 h 7"/>
                  <a:gd name="T4" fmla="*/ 0 w 3"/>
                  <a:gd name="T5" fmla="*/ 7 h 7"/>
                  <a:gd name="T6" fmla="*/ 2 w 3"/>
                  <a:gd name="T7" fmla="*/ 3 h 7"/>
                  <a:gd name="T8" fmla="*/ 0 w 3"/>
                  <a:gd name="T9" fmla="*/ 0 h 7"/>
                </a:gdLst>
                <a:cxnLst>
                  <a:cxn ang="0">
                    <a:pos x="T0" y="T1"/>
                  </a:cxn>
                  <a:cxn ang="0">
                    <a:pos x="T2" y="T3"/>
                  </a:cxn>
                  <a:cxn ang="0">
                    <a:pos x="T4" y="T5"/>
                  </a:cxn>
                  <a:cxn ang="0">
                    <a:pos x="T6" y="T7"/>
                  </a:cxn>
                  <a:cxn ang="0">
                    <a:pos x="T8" y="T9"/>
                  </a:cxn>
                </a:cxnLst>
                <a:rect l="0" t="0" r="r" b="b"/>
                <a:pathLst>
                  <a:path w="3" h="7">
                    <a:moveTo>
                      <a:pt x="0" y="0"/>
                    </a:moveTo>
                    <a:cubicBezTo>
                      <a:pt x="0" y="1"/>
                      <a:pt x="0" y="2"/>
                      <a:pt x="0" y="3"/>
                    </a:cubicBezTo>
                    <a:cubicBezTo>
                      <a:pt x="0" y="4"/>
                      <a:pt x="0" y="6"/>
                      <a:pt x="0" y="7"/>
                    </a:cubicBezTo>
                    <a:cubicBezTo>
                      <a:pt x="2" y="6"/>
                      <a:pt x="3" y="4"/>
                      <a:pt x="2" y="3"/>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Freeform 1198"/>
              <p:cNvSpPr/>
              <p:nvPr/>
            </p:nvSpPr>
            <p:spPr bwMode="auto">
              <a:xfrm>
                <a:off x="5188" y="2097"/>
                <a:ext cx="22" cy="14"/>
              </a:xfrm>
              <a:custGeom>
                <a:gdLst>
                  <a:gd name="T0" fmla="*/ 8 w 9"/>
                  <a:gd name="T1" fmla="*/ 0 h 6"/>
                  <a:gd name="T2" fmla="*/ 2 w 9"/>
                  <a:gd name="T3" fmla="*/ 3 h 6"/>
                  <a:gd name="T4" fmla="*/ 0 w 9"/>
                  <a:gd name="T5" fmla="*/ 4 h 6"/>
                  <a:gd name="T6" fmla="*/ 3 w 9"/>
                  <a:gd name="T7" fmla="*/ 5 h 6"/>
                  <a:gd name="T8" fmla="*/ 4 w 9"/>
                  <a:gd name="T9" fmla="*/ 6 h 6"/>
                  <a:gd name="T10" fmla="*/ 5 w 9"/>
                  <a:gd name="T11" fmla="*/ 6 h 6"/>
                  <a:gd name="T12" fmla="*/ 9 w 9"/>
                  <a:gd name="T13" fmla="*/ 0 h 6"/>
                  <a:gd name="T14" fmla="*/ 9 w 9"/>
                  <a:gd name="T15" fmla="*/ 0 h 6"/>
                  <a:gd name="T16" fmla="*/ 8 w 9"/>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6">
                    <a:moveTo>
                      <a:pt x="8" y="0"/>
                    </a:moveTo>
                    <a:cubicBezTo>
                      <a:pt x="5" y="0"/>
                      <a:pt x="4" y="1"/>
                      <a:pt x="2" y="3"/>
                    </a:cubicBezTo>
                    <a:cubicBezTo>
                      <a:pt x="1" y="3"/>
                      <a:pt x="1" y="4"/>
                      <a:pt x="0" y="4"/>
                    </a:cubicBezTo>
                    <a:cubicBezTo>
                      <a:pt x="1" y="5"/>
                      <a:pt x="2" y="5"/>
                      <a:pt x="3" y="5"/>
                    </a:cubicBezTo>
                    <a:cubicBezTo>
                      <a:pt x="4" y="6"/>
                      <a:pt x="4" y="6"/>
                      <a:pt x="4" y="6"/>
                    </a:cubicBezTo>
                    <a:cubicBezTo>
                      <a:pt x="4" y="6"/>
                      <a:pt x="4" y="6"/>
                      <a:pt x="5" y="6"/>
                    </a:cubicBezTo>
                    <a:cubicBezTo>
                      <a:pt x="7" y="4"/>
                      <a:pt x="7" y="2"/>
                      <a:pt x="9" y="0"/>
                    </a:cubicBezTo>
                    <a:cubicBezTo>
                      <a:pt x="9" y="0"/>
                      <a:pt x="9"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Freeform 1199"/>
              <p:cNvSpPr/>
              <p:nvPr/>
            </p:nvSpPr>
            <p:spPr bwMode="auto">
              <a:xfrm>
                <a:off x="5219" y="2071"/>
                <a:ext cx="5" cy="33"/>
              </a:xfrm>
              <a:custGeom>
                <a:gdLst>
                  <a:gd name="T0" fmla="*/ 0 w 2"/>
                  <a:gd name="T1" fmla="*/ 0 h 14"/>
                  <a:gd name="T2" fmla="*/ 0 w 2"/>
                  <a:gd name="T3" fmla="*/ 2 h 14"/>
                  <a:gd name="T4" fmla="*/ 0 w 2"/>
                  <a:gd name="T5" fmla="*/ 11 h 14"/>
                  <a:gd name="T6" fmla="*/ 0 w 2"/>
                  <a:gd name="T7" fmla="*/ 14 h 14"/>
                  <a:gd name="T8" fmla="*/ 2 w 2"/>
                  <a:gd name="T9" fmla="*/ 11 h 14"/>
                  <a:gd name="T10" fmla="*/ 1 w 2"/>
                  <a:gd name="T11" fmla="*/ 3 h 14"/>
                  <a:gd name="T12" fmla="*/ 0 w 2"/>
                  <a:gd name="T13" fmla="*/ 0 h 14"/>
                </a:gdLst>
                <a:cxnLst>
                  <a:cxn ang="0">
                    <a:pos x="T0" y="T1"/>
                  </a:cxn>
                  <a:cxn ang="0">
                    <a:pos x="T2" y="T3"/>
                  </a:cxn>
                  <a:cxn ang="0">
                    <a:pos x="T4" y="T5"/>
                  </a:cxn>
                  <a:cxn ang="0">
                    <a:pos x="T6" y="T7"/>
                  </a:cxn>
                  <a:cxn ang="0">
                    <a:pos x="T8" y="T9"/>
                  </a:cxn>
                  <a:cxn ang="0">
                    <a:pos x="T10" y="T11"/>
                  </a:cxn>
                  <a:cxn ang="0">
                    <a:pos x="T12" y="T13"/>
                  </a:cxn>
                </a:cxnLst>
                <a:rect l="0" t="0" r="r" b="b"/>
                <a:pathLst>
                  <a:path w="2" h="14">
                    <a:moveTo>
                      <a:pt x="0" y="0"/>
                    </a:moveTo>
                    <a:cubicBezTo>
                      <a:pt x="0" y="1"/>
                      <a:pt x="0" y="2"/>
                      <a:pt x="0" y="2"/>
                    </a:cubicBezTo>
                    <a:cubicBezTo>
                      <a:pt x="0" y="5"/>
                      <a:pt x="0" y="8"/>
                      <a:pt x="0" y="11"/>
                    </a:cubicBezTo>
                    <a:cubicBezTo>
                      <a:pt x="0" y="12"/>
                      <a:pt x="0" y="13"/>
                      <a:pt x="0" y="14"/>
                    </a:cubicBezTo>
                    <a:cubicBezTo>
                      <a:pt x="1" y="13"/>
                      <a:pt x="1" y="12"/>
                      <a:pt x="2" y="11"/>
                    </a:cubicBezTo>
                    <a:cubicBezTo>
                      <a:pt x="2" y="8"/>
                      <a:pt x="1" y="6"/>
                      <a:pt x="1"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9" name="Freeform 1200"/>
              <p:cNvSpPr/>
              <p:nvPr/>
            </p:nvSpPr>
            <p:spPr bwMode="auto">
              <a:xfrm>
                <a:off x="5222" y="2113"/>
                <a:ext cx="7" cy="34"/>
              </a:xfrm>
              <a:custGeom>
                <a:gdLst>
                  <a:gd name="T0" fmla="*/ 0 w 3"/>
                  <a:gd name="T1" fmla="*/ 0 h 14"/>
                  <a:gd name="T2" fmla="*/ 1 w 3"/>
                  <a:gd name="T3" fmla="*/ 3 h 14"/>
                  <a:gd name="T4" fmla="*/ 1 w 3"/>
                  <a:gd name="T5" fmla="*/ 5 h 14"/>
                  <a:gd name="T6" fmla="*/ 1 w 3"/>
                  <a:gd name="T7" fmla="*/ 8 h 14"/>
                  <a:gd name="T8" fmla="*/ 1 w 3"/>
                  <a:gd name="T9" fmla="*/ 14 h 14"/>
                  <a:gd name="T10" fmla="*/ 2 w 3"/>
                  <a:gd name="T11" fmla="*/ 8 h 14"/>
                  <a:gd name="T12" fmla="*/ 2 w 3"/>
                  <a:gd name="T13" fmla="*/ 4 h 14"/>
                  <a:gd name="T14" fmla="*/ 2 w 3"/>
                  <a:gd name="T15" fmla="*/ 3 h 14"/>
                  <a:gd name="T16" fmla="*/ 2 w 3"/>
                  <a:gd name="T17" fmla="*/ 3 h 14"/>
                  <a:gd name="T18" fmla="*/ 0 w 3"/>
                  <a:gd name="T1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4">
                    <a:moveTo>
                      <a:pt x="0" y="0"/>
                    </a:moveTo>
                    <a:cubicBezTo>
                      <a:pt x="0" y="1"/>
                      <a:pt x="1" y="2"/>
                      <a:pt x="1" y="3"/>
                    </a:cubicBezTo>
                    <a:cubicBezTo>
                      <a:pt x="1" y="4"/>
                      <a:pt x="1" y="5"/>
                      <a:pt x="1" y="5"/>
                    </a:cubicBezTo>
                    <a:cubicBezTo>
                      <a:pt x="1" y="6"/>
                      <a:pt x="1" y="7"/>
                      <a:pt x="1" y="8"/>
                    </a:cubicBezTo>
                    <a:cubicBezTo>
                      <a:pt x="1" y="10"/>
                      <a:pt x="1" y="12"/>
                      <a:pt x="1" y="14"/>
                    </a:cubicBezTo>
                    <a:cubicBezTo>
                      <a:pt x="2" y="13"/>
                      <a:pt x="3" y="11"/>
                      <a:pt x="2" y="8"/>
                    </a:cubicBezTo>
                    <a:cubicBezTo>
                      <a:pt x="2" y="7"/>
                      <a:pt x="2" y="5"/>
                      <a:pt x="2" y="4"/>
                    </a:cubicBezTo>
                    <a:cubicBezTo>
                      <a:pt x="2" y="3"/>
                      <a:pt x="2" y="3"/>
                      <a:pt x="2" y="3"/>
                    </a:cubicBezTo>
                    <a:cubicBezTo>
                      <a:pt x="2" y="3"/>
                      <a:pt x="2" y="3"/>
                      <a:pt x="2" y="3"/>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Freeform 1201"/>
              <p:cNvSpPr/>
              <p:nvPr/>
            </p:nvSpPr>
            <p:spPr bwMode="auto">
              <a:xfrm>
                <a:off x="5205" y="2154"/>
                <a:ext cx="28" cy="19"/>
              </a:xfrm>
              <a:custGeom>
                <a:gdLst>
                  <a:gd name="T0" fmla="*/ 7 w 12"/>
                  <a:gd name="T1" fmla="*/ 0 h 8"/>
                  <a:gd name="T2" fmla="*/ 5 w 12"/>
                  <a:gd name="T3" fmla="*/ 2 h 8"/>
                  <a:gd name="T4" fmla="*/ 2 w 12"/>
                  <a:gd name="T5" fmla="*/ 3 h 8"/>
                  <a:gd name="T6" fmla="*/ 2 w 12"/>
                  <a:gd name="T7" fmla="*/ 3 h 8"/>
                  <a:gd name="T8" fmla="*/ 2 w 12"/>
                  <a:gd name="T9" fmla="*/ 3 h 8"/>
                  <a:gd name="T10" fmla="*/ 1 w 12"/>
                  <a:gd name="T11" fmla="*/ 5 h 8"/>
                  <a:gd name="T12" fmla="*/ 2 w 12"/>
                  <a:gd name="T13" fmla="*/ 6 h 8"/>
                  <a:gd name="T14" fmla="*/ 2 w 12"/>
                  <a:gd name="T15" fmla="*/ 7 h 8"/>
                  <a:gd name="T16" fmla="*/ 2 w 12"/>
                  <a:gd name="T17" fmla="*/ 6 h 8"/>
                  <a:gd name="T18" fmla="*/ 6 w 12"/>
                  <a:gd name="T19" fmla="*/ 8 h 8"/>
                  <a:gd name="T20" fmla="*/ 10 w 12"/>
                  <a:gd name="T21" fmla="*/ 4 h 8"/>
                  <a:gd name="T22" fmla="*/ 9 w 12"/>
                  <a:gd name="T23" fmla="*/ 3 h 8"/>
                  <a:gd name="T24" fmla="*/ 9 w 12"/>
                  <a:gd name="T25" fmla="*/ 3 h 8"/>
                  <a:gd name="T26" fmla="*/ 7 w 12"/>
                  <a:gd name="T2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8">
                    <a:moveTo>
                      <a:pt x="7" y="0"/>
                    </a:moveTo>
                    <a:cubicBezTo>
                      <a:pt x="6" y="0"/>
                      <a:pt x="6" y="1"/>
                      <a:pt x="5" y="2"/>
                    </a:cubicBezTo>
                    <a:cubicBezTo>
                      <a:pt x="4" y="2"/>
                      <a:pt x="3" y="3"/>
                      <a:pt x="2" y="3"/>
                    </a:cubicBezTo>
                    <a:cubicBezTo>
                      <a:pt x="2" y="3"/>
                      <a:pt x="2" y="3"/>
                      <a:pt x="2" y="3"/>
                    </a:cubicBezTo>
                    <a:cubicBezTo>
                      <a:pt x="2" y="3"/>
                      <a:pt x="2" y="3"/>
                      <a:pt x="2" y="3"/>
                    </a:cubicBezTo>
                    <a:cubicBezTo>
                      <a:pt x="0" y="3"/>
                      <a:pt x="0" y="4"/>
                      <a:pt x="1" y="5"/>
                    </a:cubicBezTo>
                    <a:cubicBezTo>
                      <a:pt x="2" y="6"/>
                      <a:pt x="2" y="6"/>
                      <a:pt x="2" y="6"/>
                    </a:cubicBezTo>
                    <a:cubicBezTo>
                      <a:pt x="2" y="7"/>
                      <a:pt x="2" y="7"/>
                      <a:pt x="2" y="7"/>
                    </a:cubicBezTo>
                    <a:cubicBezTo>
                      <a:pt x="2" y="6"/>
                      <a:pt x="2" y="6"/>
                      <a:pt x="2" y="6"/>
                    </a:cubicBezTo>
                    <a:cubicBezTo>
                      <a:pt x="4" y="7"/>
                      <a:pt x="5" y="7"/>
                      <a:pt x="6" y="8"/>
                    </a:cubicBezTo>
                    <a:cubicBezTo>
                      <a:pt x="12" y="6"/>
                      <a:pt x="12" y="6"/>
                      <a:pt x="10" y="4"/>
                    </a:cubicBezTo>
                    <a:cubicBezTo>
                      <a:pt x="9" y="3"/>
                      <a:pt x="9" y="3"/>
                      <a:pt x="9" y="3"/>
                    </a:cubicBezTo>
                    <a:cubicBezTo>
                      <a:pt x="9" y="3"/>
                      <a:pt x="9" y="3"/>
                      <a:pt x="9" y="3"/>
                    </a:cubicBezTo>
                    <a:cubicBezTo>
                      <a:pt x="8" y="1"/>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1" name="Freeform 1202"/>
              <p:cNvSpPr/>
              <p:nvPr/>
            </p:nvSpPr>
            <p:spPr bwMode="auto">
              <a:xfrm>
                <a:off x="5278" y="2331"/>
                <a:ext cx="24" cy="24"/>
              </a:xfrm>
              <a:custGeom>
                <a:gdLst>
                  <a:gd name="T0" fmla="*/ 2 w 10"/>
                  <a:gd name="T1" fmla="*/ 0 h 10"/>
                  <a:gd name="T2" fmla="*/ 0 w 10"/>
                  <a:gd name="T3" fmla="*/ 7 h 10"/>
                  <a:gd name="T4" fmla="*/ 10 w 10"/>
                  <a:gd name="T5" fmla="*/ 10 h 10"/>
                  <a:gd name="T6" fmla="*/ 8 w 10"/>
                  <a:gd name="T7" fmla="*/ 6 h 10"/>
                  <a:gd name="T8" fmla="*/ 5 w 10"/>
                  <a:gd name="T9" fmla="*/ 1 h 10"/>
                  <a:gd name="T10" fmla="*/ 2 w 10"/>
                  <a:gd name="T11" fmla="*/ 0 h 10"/>
                </a:gdLst>
                <a:cxnLst>
                  <a:cxn ang="0">
                    <a:pos x="T0" y="T1"/>
                  </a:cxn>
                  <a:cxn ang="0">
                    <a:pos x="T2" y="T3"/>
                  </a:cxn>
                  <a:cxn ang="0">
                    <a:pos x="T4" y="T5"/>
                  </a:cxn>
                  <a:cxn ang="0">
                    <a:pos x="T6" y="T7"/>
                  </a:cxn>
                  <a:cxn ang="0">
                    <a:pos x="T8" y="T9"/>
                  </a:cxn>
                  <a:cxn ang="0">
                    <a:pos x="T10" y="T11"/>
                  </a:cxn>
                </a:cxnLst>
                <a:rect l="0" t="0" r="r" b="b"/>
                <a:pathLst>
                  <a:path w="10" h="10">
                    <a:moveTo>
                      <a:pt x="2" y="0"/>
                    </a:moveTo>
                    <a:cubicBezTo>
                      <a:pt x="0" y="0"/>
                      <a:pt x="0" y="4"/>
                      <a:pt x="0" y="7"/>
                    </a:cubicBezTo>
                    <a:cubicBezTo>
                      <a:pt x="3" y="8"/>
                      <a:pt x="7" y="9"/>
                      <a:pt x="10" y="10"/>
                    </a:cubicBezTo>
                    <a:cubicBezTo>
                      <a:pt x="9" y="9"/>
                      <a:pt x="8" y="7"/>
                      <a:pt x="8" y="6"/>
                    </a:cubicBezTo>
                    <a:cubicBezTo>
                      <a:pt x="8" y="5"/>
                      <a:pt x="6" y="2"/>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Freeform 1203"/>
              <p:cNvSpPr/>
              <p:nvPr/>
            </p:nvSpPr>
            <p:spPr bwMode="auto">
              <a:xfrm>
                <a:off x="5328" y="2442"/>
                <a:ext cx="7" cy="7"/>
              </a:xfrm>
              <a:custGeom>
                <a:gdLst>
                  <a:gd name="T0" fmla="*/ 1 w 3"/>
                  <a:gd name="T1" fmla="*/ 0 h 3"/>
                  <a:gd name="T2" fmla="*/ 3 w 3"/>
                  <a:gd name="T3" fmla="*/ 3 h 3"/>
                  <a:gd name="T4" fmla="*/ 1 w 3"/>
                  <a:gd name="T5" fmla="*/ 0 h 3"/>
                </a:gdLst>
                <a:cxnLst>
                  <a:cxn ang="0">
                    <a:pos x="T0" y="T1"/>
                  </a:cxn>
                  <a:cxn ang="0">
                    <a:pos x="T2" y="T3"/>
                  </a:cxn>
                  <a:cxn ang="0">
                    <a:pos x="T4" y="T5"/>
                  </a:cxn>
                </a:cxnLst>
                <a:rect l="0" t="0" r="r" b="b"/>
                <a:pathLst>
                  <a:path w="3" h="3">
                    <a:moveTo>
                      <a:pt x="1" y="0"/>
                    </a:moveTo>
                    <a:cubicBezTo>
                      <a:pt x="0" y="1"/>
                      <a:pt x="2" y="2"/>
                      <a:pt x="3" y="3"/>
                    </a:cubicBezTo>
                    <a:cubicBezTo>
                      <a:pt x="3"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3" name="Freeform 1204"/>
              <p:cNvSpPr/>
              <p:nvPr/>
            </p:nvSpPr>
            <p:spPr bwMode="auto">
              <a:xfrm>
                <a:off x="5292" y="2383"/>
                <a:ext cx="24" cy="24"/>
              </a:xfrm>
              <a:custGeom>
                <a:gdLst>
                  <a:gd name="T0" fmla="*/ 1 w 10"/>
                  <a:gd name="T1" fmla="*/ 0 h 10"/>
                  <a:gd name="T2" fmla="*/ 1 w 10"/>
                  <a:gd name="T3" fmla="*/ 5 h 10"/>
                  <a:gd name="T4" fmla="*/ 7 w 10"/>
                  <a:gd name="T5" fmla="*/ 10 h 10"/>
                  <a:gd name="T6" fmla="*/ 1 w 10"/>
                  <a:gd name="T7" fmla="*/ 0 h 10"/>
                </a:gdLst>
                <a:cxnLst>
                  <a:cxn ang="0">
                    <a:pos x="T0" y="T1"/>
                  </a:cxn>
                  <a:cxn ang="0">
                    <a:pos x="T2" y="T3"/>
                  </a:cxn>
                  <a:cxn ang="0">
                    <a:pos x="T4" y="T5"/>
                  </a:cxn>
                  <a:cxn ang="0">
                    <a:pos x="T6" y="T7"/>
                  </a:cxn>
                </a:cxnLst>
                <a:rect l="0" t="0" r="r" b="b"/>
                <a:pathLst>
                  <a:path w="10" h="10">
                    <a:moveTo>
                      <a:pt x="1" y="0"/>
                    </a:moveTo>
                    <a:cubicBezTo>
                      <a:pt x="1" y="2"/>
                      <a:pt x="0" y="3"/>
                      <a:pt x="1" y="5"/>
                    </a:cubicBezTo>
                    <a:cubicBezTo>
                      <a:pt x="2" y="7"/>
                      <a:pt x="5" y="9"/>
                      <a:pt x="7" y="10"/>
                    </a:cubicBezTo>
                    <a:cubicBezTo>
                      <a:pt x="10"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Freeform 1205"/>
              <p:cNvSpPr/>
              <p:nvPr/>
            </p:nvSpPr>
            <p:spPr bwMode="auto">
              <a:xfrm>
                <a:off x="5219" y="2255"/>
                <a:ext cx="31" cy="22"/>
              </a:xfrm>
              <a:custGeom>
                <a:gdLst>
                  <a:gd name="T0" fmla="*/ 7 w 13"/>
                  <a:gd name="T1" fmla="*/ 0 h 9"/>
                  <a:gd name="T2" fmla="*/ 1 w 13"/>
                  <a:gd name="T3" fmla="*/ 6 h 9"/>
                  <a:gd name="T4" fmla="*/ 3 w 13"/>
                  <a:gd name="T5" fmla="*/ 5 h 9"/>
                  <a:gd name="T6" fmla="*/ 4 w 13"/>
                  <a:gd name="T7" fmla="*/ 7 h 9"/>
                  <a:gd name="T8" fmla="*/ 5 w 13"/>
                  <a:gd name="T9" fmla="*/ 7 h 9"/>
                  <a:gd name="T10" fmla="*/ 7 w 13"/>
                  <a:gd name="T11" fmla="*/ 9 h 9"/>
                  <a:gd name="T12" fmla="*/ 13 w 13"/>
                  <a:gd name="T13" fmla="*/ 5 h 9"/>
                  <a:gd name="T14" fmla="*/ 9 w 13"/>
                  <a:gd name="T15" fmla="*/ 0 h 9"/>
                  <a:gd name="T16" fmla="*/ 7 w 13"/>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9">
                    <a:moveTo>
                      <a:pt x="7" y="0"/>
                    </a:moveTo>
                    <a:cubicBezTo>
                      <a:pt x="4" y="0"/>
                      <a:pt x="0" y="4"/>
                      <a:pt x="1" y="6"/>
                    </a:cubicBezTo>
                    <a:cubicBezTo>
                      <a:pt x="2" y="5"/>
                      <a:pt x="3" y="5"/>
                      <a:pt x="3" y="5"/>
                    </a:cubicBezTo>
                    <a:cubicBezTo>
                      <a:pt x="4" y="5"/>
                      <a:pt x="5" y="6"/>
                      <a:pt x="4" y="7"/>
                    </a:cubicBezTo>
                    <a:cubicBezTo>
                      <a:pt x="4" y="7"/>
                      <a:pt x="4" y="7"/>
                      <a:pt x="5" y="7"/>
                    </a:cubicBezTo>
                    <a:cubicBezTo>
                      <a:pt x="6" y="7"/>
                      <a:pt x="7" y="8"/>
                      <a:pt x="7" y="9"/>
                    </a:cubicBezTo>
                    <a:cubicBezTo>
                      <a:pt x="9" y="7"/>
                      <a:pt x="11" y="6"/>
                      <a:pt x="13" y="5"/>
                    </a:cubicBezTo>
                    <a:cubicBezTo>
                      <a:pt x="11" y="4"/>
                      <a:pt x="11" y="1"/>
                      <a:pt x="9"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5" name="Freeform 1206"/>
              <p:cNvSpPr/>
              <p:nvPr/>
            </p:nvSpPr>
            <p:spPr bwMode="auto">
              <a:xfrm flipH="1">
                <a:off x="533" y="610"/>
                <a:ext cx="0" cy="5"/>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cubicBezTo>
                      <a:pt x="0" y="0"/>
                      <a:pt x="0" y="1"/>
                      <a:pt x="0" y="2"/>
                    </a:cubicBezTo>
                    <a:cubicBezTo>
                      <a:pt x="0" y="2"/>
                      <a:pt x="0" y="2"/>
                      <a:pt x="0" y="2"/>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Freeform 1207"/>
              <p:cNvSpPr/>
              <p:nvPr/>
            </p:nvSpPr>
            <p:spPr bwMode="auto">
              <a:xfrm>
                <a:off x="1826" y="731"/>
                <a:ext cx="4" cy="2"/>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1" y="0"/>
                      <a:pt x="1" y="1"/>
                      <a:pt x="2" y="1"/>
                    </a:cubicBezTo>
                    <a:cubicBezTo>
                      <a:pt x="2" y="1"/>
                      <a:pt x="2"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7" name="Freeform 1208"/>
              <p:cNvSpPr/>
              <p:nvPr/>
            </p:nvSpPr>
            <p:spPr bwMode="auto">
              <a:xfrm>
                <a:off x="1585" y="669"/>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2"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8" name="Freeform 1209"/>
              <p:cNvSpPr/>
              <p:nvPr/>
            </p:nvSpPr>
            <p:spPr bwMode="auto">
              <a:xfrm>
                <a:off x="521" y="596"/>
                <a:ext cx="19" cy="12"/>
              </a:xfrm>
              <a:custGeom>
                <a:gdLst>
                  <a:gd name="T0" fmla="*/ 6 w 8"/>
                  <a:gd name="T1" fmla="*/ 0 h 5"/>
                  <a:gd name="T2" fmla="*/ 2 w 8"/>
                  <a:gd name="T3" fmla="*/ 1 h 5"/>
                  <a:gd name="T4" fmla="*/ 0 w 8"/>
                  <a:gd name="T5" fmla="*/ 1 h 5"/>
                  <a:gd name="T6" fmla="*/ 4 w 8"/>
                  <a:gd name="T7" fmla="*/ 5 h 5"/>
                  <a:gd name="T8" fmla="*/ 6 w 8"/>
                  <a:gd name="T9" fmla="*/ 0 h 5"/>
                </a:gdLst>
                <a:cxnLst>
                  <a:cxn ang="0">
                    <a:pos x="T0" y="T1"/>
                  </a:cxn>
                  <a:cxn ang="0">
                    <a:pos x="T2" y="T3"/>
                  </a:cxn>
                  <a:cxn ang="0">
                    <a:pos x="T4" y="T5"/>
                  </a:cxn>
                  <a:cxn ang="0">
                    <a:pos x="T6" y="T7"/>
                  </a:cxn>
                  <a:cxn ang="0">
                    <a:pos x="T8" y="T9"/>
                  </a:cxn>
                </a:cxnLst>
                <a:rect l="0" t="0" r="r" b="b"/>
                <a:pathLst>
                  <a:path w="8" h="5">
                    <a:moveTo>
                      <a:pt x="6" y="0"/>
                    </a:moveTo>
                    <a:cubicBezTo>
                      <a:pt x="4" y="1"/>
                      <a:pt x="3" y="1"/>
                      <a:pt x="2" y="1"/>
                    </a:cubicBezTo>
                    <a:cubicBezTo>
                      <a:pt x="1" y="1"/>
                      <a:pt x="1" y="1"/>
                      <a:pt x="0" y="1"/>
                    </a:cubicBezTo>
                    <a:cubicBezTo>
                      <a:pt x="0" y="4"/>
                      <a:pt x="2" y="5"/>
                      <a:pt x="4" y="5"/>
                    </a:cubicBezTo>
                    <a:cubicBezTo>
                      <a:pt x="6" y="5"/>
                      <a:pt x="8"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9" name="Freeform 1210"/>
              <p:cNvSpPr/>
              <p:nvPr/>
            </p:nvSpPr>
            <p:spPr bwMode="auto">
              <a:xfrm>
                <a:off x="1736" y="579"/>
                <a:ext cx="12" cy="5"/>
              </a:xfrm>
              <a:custGeom>
                <a:gdLst>
                  <a:gd name="T0" fmla="*/ 4 w 5"/>
                  <a:gd name="T1" fmla="*/ 0 h 2"/>
                  <a:gd name="T2" fmla="*/ 0 w 5"/>
                  <a:gd name="T3" fmla="*/ 1 h 2"/>
                  <a:gd name="T4" fmla="*/ 2 w 5"/>
                  <a:gd name="T5" fmla="*/ 2 h 2"/>
                  <a:gd name="T6" fmla="*/ 5 w 5"/>
                  <a:gd name="T7" fmla="*/ 0 h 2"/>
                  <a:gd name="T8" fmla="*/ 4 w 5"/>
                  <a:gd name="T9" fmla="*/ 0 h 2"/>
                </a:gdLst>
                <a:cxnLst>
                  <a:cxn ang="0">
                    <a:pos x="T0" y="T1"/>
                  </a:cxn>
                  <a:cxn ang="0">
                    <a:pos x="T2" y="T3"/>
                  </a:cxn>
                  <a:cxn ang="0">
                    <a:pos x="T4" y="T5"/>
                  </a:cxn>
                  <a:cxn ang="0">
                    <a:pos x="T6" y="T7"/>
                  </a:cxn>
                  <a:cxn ang="0">
                    <a:pos x="T8" y="T9"/>
                  </a:cxn>
                </a:cxnLst>
                <a:rect l="0" t="0" r="r" b="b"/>
                <a:pathLst>
                  <a:path w="5" h="2">
                    <a:moveTo>
                      <a:pt x="4" y="0"/>
                    </a:moveTo>
                    <a:cubicBezTo>
                      <a:pt x="2" y="0"/>
                      <a:pt x="1" y="0"/>
                      <a:pt x="0" y="1"/>
                    </a:cubicBezTo>
                    <a:cubicBezTo>
                      <a:pt x="0" y="1"/>
                      <a:pt x="1" y="2"/>
                      <a:pt x="2" y="2"/>
                    </a:cubicBezTo>
                    <a:cubicBezTo>
                      <a:pt x="3" y="2"/>
                      <a:pt x="4" y="1"/>
                      <a:pt x="5"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0" name="Freeform 1211"/>
              <p:cNvSpPr/>
              <p:nvPr/>
            </p:nvSpPr>
            <p:spPr bwMode="auto">
              <a:xfrm>
                <a:off x="1715" y="535"/>
                <a:ext cx="16" cy="16"/>
              </a:xfrm>
              <a:custGeom>
                <a:gdLst>
                  <a:gd name="T0" fmla="*/ 6 w 7"/>
                  <a:gd name="T1" fmla="*/ 0 h 7"/>
                  <a:gd name="T2" fmla="*/ 1 w 7"/>
                  <a:gd name="T3" fmla="*/ 1 h 7"/>
                  <a:gd name="T4" fmla="*/ 0 w 7"/>
                  <a:gd name="T5" fmla="*/ 7 h 7"/>
                  <a:gd name="T6" fmla="*/ 6 w 7"/>
                  <a:gd name="T7" fmla="*/ 4 h 7"/>
                  <a:gd name="T8" fmla="*/ 6 w 7"/>
                  <a:gd name="T9" fmla="*/ 0 h 7"/>
                </a:gdLst>
                <a:cxnLst>
                  <a:cxn ang="0">
                    <a:pos x="T0" y="T1"/>
                  </a:cxn>
                  <a:cxn ang="0">
                    <a:pos x="T2" y="T3"/>
                  </a:cxn>
                  <a:cxn ang="0">
                    <a:pos x="T4" y="T5"/>
                  </a:cxn>
                  <a:cxn ang="0">
                    <a:pos x="T6" y="T7"/>
                  </a:cxn>
                  <a:cxn ang="0">
                    <a:pos x="T8" y="T9"/>
                  </a:cxn>
                </a:cxnLst>
                <a:rect l="0" t="0" r="r" b="b"/>
                <a:pathLst>
                  <a:path w="7" h="7">
                    <a:moveTo>
                      <a:pt x="6" y="0"/>
                    </a:moveTo>
                    <a:cubicBezTo>
                      <a:pt x="5" y="0"/>
                      <a:pt x="3" y="1"/>
                      <a:pt x="1" y="1"/>
                    </a:cubicBezTo>
                    <a:cubicBezTo>
                      <a:pt x="0" y="3"/>
                      <a:pt x="0" y="5"/>
                      <a:pt x="0" y="7"/>
                    </a:cubicBezTo>
                    <a:cubicBezTo>
                      <a:pt x="1" y="7"/>
                      <a:pt x="6" y="5"/>
                      <a:pt x="6" y="4"/>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1" name="Freeform 1212"/>
              <p:cNvSpPr/>
              <p:nvPr/>
            </p:nvSpPr>
            <p:spPr bwMode="auto">
              <a:xfrm>
                <a:off x="826" y="842"/>
                <a:ext cx="7" cy="12"/>
              </a:xfrm>
              <a:custGeom>
                <a:gdLst>
                  <a:gd name="T0" fmla="*/ 3 w 3"/>
                  <a:gd name="T1" fmla="*/ 0 h 5"/>
                  <a:gd name="T2" fmla="*/ 2 w 3"/>
                  <a:gd name="T3" fmla="*/ 5 h 5"/>
                  <a:gd name="T4" fmla="*/ 3 w 3"/>
                  <a:gd name="T5" fmla="*/ 0 h 5"/>
                </a:gdLst>
                <a:cxnLst>
                  <a:cxn ang="0">
                    <a:pos x="T0" y="T1"/>
                  </a:cxn>
                  <a:cxn ang="0">
                    <a:pos x="T2" y="T3"/>
                  </a:cxn>
                  <a:cxn ang="0">
                    <a:pos x="T4" y="T5"/>
                  </a:cxn>
                </a:cxnLst>
                <a:rect l="0" t="0" r="r" b="b"/>
                <a:pathLst>
                  <a:path w="3" h="5">
                    <a:moveTo>
                      <a:pt x="3" y="0"/>
                    </a:moveTo>
                    <a:cubicBezTo>
                      <a:pt x="1" y="2"/>
                      <a:pt x="0" y="3"/>
                      <a:pt x="2"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2" name="Freeform 1213"/>
              <p:cNvSpPr/>
              <p:nvPr/>
            </p:nvSpPr>
            <p:spPr bwMode="auto">
              <a:xfrm>
                <a:off x="1320" y="849"/>
                <a:ext cx="9" cy="26"/>
              </a:xfrm>
              <a:custGeom>
                <a:gdLst>
                  <a:gd name="T0" fmla="*/ 1 w 4"/>
                  <a:gd name="T1" fmla="*/ 0 h 11"/>
                  <a:gd name="T2" fmla="*/ 0 w 4"/>
                  <a:gd name="T3" fmla="*/ 8 h 11"/>
                  <a:gd name="T4" fmla="*/ 2 w 4"/>
                  <a:gd name="T5" fmla="*/ 11 h 11"/>
                  <a:gd name="T6" fmla="*/ 1 w 4"/>
                  <a:gd name="T7" fmla="*/ 0 h 11"/>
                </a:gdLst>
                <a:cxnLst>
                  <a:cxn ang="0">
                    <a:pos x="T0" y="T1"/>
                  </a:cxn>
                  <a:cxn ang="0">
                    <a:pos x="T2" y="T3"/>
                  </a:cxn>
                  <a:cxn ang="0">
                    <a:pos x="T4" y="T5"/>
                  </a:cxn>
                  <a:cxn ang="0">
                    <a:pos x="T6" y="T7"/>
                  </a:cxn>
                </a:cxnLst>
                <a:rect l="0" t="0" r="r" b="b"/>
                <a:pathLst>
                  <a:path w="4" h="11">
                    <a:moveTo>
                      <a:pt x="1" y="0"/>
                    </a:moveTo>
                    <a:cubicBezTo>
                      <a:pt x="0" y="3"/>
                      <a:pt x="1" y="5"/>
                      <a:pt x="0" y="8"/>
                    </a:cubicBezTo>
                    <a:cubicBezTo>
                      <a:pt x="1" y="10"/>
                      <a:pt x="2" y="11"/>
                      <a:pt x="2" y="11"/>
                    </a:cubicBezTo>
                    <a:cubicBezTo>
                      <a:pt x="4" y="11"/>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3" name="Freeform 1214"/>
              <p:cNvSpPr/>
              <p:nvPr/>
            </p:nvSpPr>
            <p:spPr bwMode="auto">
              <a:xfrm>
                <a:off x="1807" y="719"/>
                <a:ext cx="14" cy="5"/>
              </a:xfrm>
              <a:custGeom>
                <a:gdLst>
                  <a:gd name="T0" fmla="*/ 0 w 6"/>
                  <a:gd name="T1" fmla="*/ 0 h 2"/>
                  <a:gd name="T2" fmla="*/ 4 w 6"/>
                  <a:gd name="T3" fmla="*/ 2 h 2"/>
                  <a:gd name="T4" fmla="*/ 6 w 6"/>
                  <a:gd name="T5" fmla="*/ 1 h 2"/>
                  <a:gd name="T6" fmla="*/ 0 w 6"/>
                  <a:gd name="T7" fmla="*/ 0 h 2"/>
                </a:gdLst>
                <a:cxnLst>
                  <a:cxn ang="0">
                    <a:pos x="T0" y="T1"/>
                  </a:cxn>
                  <a:cxn ang="0">
                    <a:pos x="T2" y="T3"/>
                  </a:cxn>
                  <a:cxn ang="0">
                    <a:pos x="T4" y="T5"/>
                  </a:cxn>
                  <a:cxn ang="0">
                    <a:pos x="T6" y="T7"/>
                  </a:cxn>
                </a:cxnLst>
                <a:rect l="0" t="0" r="r" b="b"/>
                <a:pathLst>
                  <a:path w="6" h="2">
                    <a:moveTo>
                      <a:pt x="0" y="0"/>
                    </a:moveTo>
                    <a:cubicBezTo>
                      <a:pt x="1" y="1"/>
                      <a:pt x="3" y="2"/>
                      <a:pt x="4" y="2"/>
                    </a:cubicBezTo>
                    <a:cubicBezTo>
                      <a:pt x="5" y="2"/>
                      <a:pt x="5" y="2"/>
                      <a:pt x="6" y="1"/>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Freeform 1215"/>
              <p:cNvSpPr/>
              <p:nvPr/>
            </p:nvSpPr>
            <p:spPr bwMode="auto">
              <a:xfrm>
                <a:off x="202" y="646"/>
                <a:ext cx="7" cy="2"/>
              </a:xfrm>
              <a:custGeom>
                <a:gdLst>
                  <a:gd name="T0" fmla="*/ 1 w 3"/>
                  <a:gd name="T1" fmla="*/ 0 h 1"/>
                  <a:gd name="T2" fmla="*/ 0 w 3"/>
                  <a:gd name="T3" fmla="*/ 0 h 1"/>
                  <a:gd name="T4" fmla="*/ 3 w 3"/>
                  <a:gd name="T5" fmla="*/ 1 h 1"/>
                  <a:gd name="T6" fmla="*/ 1 w 3"/>
                  <a:gd name="T7" fmla="*/ 0 h 1"/>
                </a:gdLst>
                <a:cxnLst>
                  <a:cxn ang="0">
                    <a:pos x="T0" y="T1"/>
                  </a:cxn>
                  <a:cxn ang="0">
                    <a:pos x="T2" y="T3"/>
                  </a:cxn>
                  <a:cxn ang="0">
                    <a:pos x="T4" y="T5"/>
                  </a:cxn>
                  <a:cxn ang="0">
                    <a:pos x="T6" y="T7"/>
                  </a:cxn>
                </a:cxnLst>
                <a:rect l="0" t="0" r="r" b="b"/>
                <a:pathLst>
                  <a:path w="3" h="1">
                    <a:moveTo>
                      <a:pt x="1" y="0"/>
                    </a:moveTo>
                    <a:cubicBezTo>
                      <a:pt x="1" y="0"/>
                      <a:pt x="0" y="0"/>
                      <a:pt x="0" y="0"/>
                    </a:cubicBezTo>
                    <a:cubicBezTo>
                      <a:pt x="1" y="0"/>
                      <a:pt x="2" y="1"/>
                      <a:pt x="3" y="1"/>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5" name="Freeform 1216"/>
              <p:cNvSpPr/>
              <p:nvPr/>
            </p:nvSpPr>
            <p:spPr bwMode="auto">
              <a:xfrm>
                <a:off x="847" y="1029"/>
                <a:ext cx="5" cy="9"/>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1" y="1"/>
                      <a:pt x="1" y="3"/>
                      <a:pt x="2"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6" name="Freeform 1217"/>
              <p:cNvSpPr/>
              <p:nvPr/>
            </p:nvSpPr>
            <p:spPr bwMode="auto">
              <a:xfrm>
                <a:off x="2617" y="1040"/>
                <a:ext cx="81" cy="31"/>
              </a:xfrm>
              <a:custGeom>
                <a:gdLst>
                  <a:gd name="T0" fmla="*/ 18 w 34"/>
                  <a:gd name="T1" fmla="*/ 0 h 13"/>
                  <a:gd name="T2" fmla="*/ 0 w 34"/>
                  <a:gd name="T3" fmla="*/ 6 h 13"/>
                  <a:gd name="T4" fmla="*/ 6 w 34"/>
                  <a:gd name="T5" fmla="*/ 7 h 13"/>
                  <a:gd name="T6" fmla="*/ 6 w 34"/>
                  <a:gd name="T7" fmla="*/ 7 h 13"/>
                  <a:gd name="T8" fmla="*/ 7 w 34"/>
                  <a:gd name="T9" fmla="*/ 7 h 13"/>
                  <a:gd name="T10" fmla="*/ 8 w 34"/>
                  <a:gd name="T11" fmla="*/ 7 h 13"/>
                  <a:gd name="T12" fmla="*/ 8 w 34"/>
                  <a:gd name="T13" fmla="*/ 7 h 13"/>
                  <a:gd name="T14" fmla="*/ 10 w 34"/>
                  <a:gd name="T15" fmla="*/ 12 h 13"/>
                  <a:gd name="T16" fmla="*/ 11 w 34"/>
                  <a:gd name="T17" fmla="*/ 9 h 13"/>
                  <a:gd name="T18" fmla="*/ 12 w 34"/>
                  <a:gd name="T19" fmla="*/ 9 h 13"/>
                  <a:gd name="T20" fmla="*/ 16 w 34"/>
                  <a:gd name="T21" fmla="*/ 13 h 13"/>
                  <a:gd name="T22" fmla="*/ 17 w 34"/>
                  <a:gd name="T23" fmla="*/ 13 h 13"/>
                  <a:gd name="T24" fmla="*/ 21 w 34"/>
                  <a:gd name="T25" fmla="*/ 9 h 13"/>
                  <a:gd name="T26" fmla="*/ 22 w 34"/>
                  <a:gd name="T27" fmla="*/ 10 h 13"/>
                  <a:gd name="T28" fmla="*/ 23 w 34"/>
                  <a:gd name="T29" fmla="*/ 10 h 13"/>
                  <a:gd name="T30" fmla="*/ 25 w 34"/>
                  <a:gd name="T31" fmla="*/ 10 h 13"/>
                  <a:gd name="T32" fmla="*/ 25 w 34"/>
                  <a:gd name="T33" fmla="*/ 10 h 13"/>
                  <a:gd name="T34" fmla="*/ 30 w 34"/>
                  <a:gd name="T35" fmla="*/ 11 h 13"/>
                  <a:gd name="T36" fmla="*/ 30 w 34"/>
                  <a:gd name="T37" fmla="*/ 11 h 13"/>
                  <a:gd name="T38" fmla="*/ 31 w 34"/>
                  <a:gd name="T39" fmla="*/ 4 h 13"/>
                  <a:gd name="T40" fmla="*/ 25 w 34"/>
                  <a:gd name="T41" fmla="*/ 2 h 13"/>
                  <a:gd name="T42" fmla="*/ 23 w 34"/>
                  <a:gd name="T43" fmla="*/ 1 h 13"/>
                  <a:gd name="T44" fmla="*/ 18 w 34"/>
                  <a:gd name="T4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13">
                    <a:moveTo>
                      <a:pt x="18" y="0"/>
                    </a:moveTo>
                    <a:cubicBezTo>
                      <a:pt x="12" y="2"/>
                      <a:pt x="6" y="3"/>
                      <a:pt x="0" y="6"/>
                    </a:cubicBezTo>
                    <a:cubicBezTo>
                      <a:pt x="3" y="6"/>
                      <a:pt x="4" y="7"/>
                      <a:pt x="6" y="7"/>
                    </a:cubicBezTo>
                    <a:cubicBezTo>
                      <a:pt x="6" y="7"/>
                      <a:pt x="6" y="7"/>
                      <a:pt x="6" y="7"/>
                    </a:cubicBezTo>
                    <a:cubicBezTo>
                      <a:pt x="6" y="7"/>
                      <a:pt x="6" y="7"/>
                      <a:pt x="7" y="7"/>
                    </a:cubicBezTo>
                    <a:cubicBezTo>
                      <a:pt x="7" y="7"/>
                      <a:pt x="8" y="7"/>
                      <a:pt x="8" y="7"/>
                    </a:cubicBezTo>
                    <a:cubicBezTo>
                      <a:pt x="8" y="7"/>
                      <a:pt x="8" y="7"/>
                      <a:pt x="8" y="7"/>
                    </a:cubicBezTo>
                    <a:cubicBezTo>
                      <a:pt x="10" y="8"/>
                      <a:pt x="9" y="10"/>
                      <a:pt x="10" y="12"/>
                    </a:cubicBezTo>
                    <a:cubicBezTo>
                      <a:pt x="10" y="11"/>
                      <a:pt x="10" y="9"/>
                      <a:pt x="11" y="9"/>
                    </a:cubicBezTo>
                    <a:cubicBezTo>
                      <a:pt x="12" y="9"/>
                      <a:pt x="12" y="9"/>
                      <a:pt x="12" y="9"/>
                    </a:cubicBezTo>
                    <a:cubicBezTo>
                      <a:pt x="14" y="9"/>
                      <a:pt x="14" y="12"/>
                      <a:pt x="16" y="13"/>
                    </a:cubicBezTo>
                    <a:cubicBezTo>
                      <a:pt x="16" y="13"/>
                      <a:pt x="16" y="13"/>
                      <a:pt x="17" y="13"/>
                    </a:cubicBezTo>
                    <a:cubicBezTo>
                      <a:pt x="19" y="13"/>
                      <a:pt x="22" y="11"/>
                      <a:pt x="21" y="9"/>
                    </a:cubicBezTo>
                    <a:cubicBezTo>
                      <a:pt x="21" y="10"/>
                      <a:pt x="22" y="10"/>
                      <a:pt x="22" y="10"/>
                    </a:cubicBezTo>
                    <a:cubicBezTo>
                      <a:pt x="23" y="10"/>
                      <a:pt x="23" y="10"/>
                      <a:pt x="23" y="10"/>
                    </a:cubicBezTo>
                    <a:cubicBezTo>
                      <a:pt x="24" y="10"/>
                      <a:pt x="24" y="10"/>
                      <a:pt x="25" y="10"/>
                    </a:cubicBezTo>
                    <a:cubicBezTo>
                      <a:pt x="25" y="10"/>
                      <a:pt x="25" y="10"/>
                      <a:pt x="25" y="10"/>
                    </a:cubicBezTo>
                    <a:cubicBezTo>
                      <a:pt x="26" y="10"/>
                      <a:pt x="29" y="11"/>
                      <a:pt x="30" y="11"/>
                    </a:cubicBezTo>
                    <a:cubicBezTo>
                      <a:pt x="30" y="11"/>
                      <a:pt x="30" y="11"/>
                      <a:pt x="30" y="11"/>
                    </a:cubicBezTo>
                    <a:cubicBezTo>
                      <a:pt x="34" y="10"/>
                      <a:pt x="32" y="6"/>
                      <a:pt x="31" y="4"/>
                    </a:cubicBezTo>
                    <a:cubicBezTo>
                      <a:pt x="30" y="3"/>
                      <a:pt x="27" y="2"/>
                      <a:pt x="25" y="2"/>
                    </a:cubicBezTo>
                    <a:cubicBezTo>
                      <a:pt x="24" y="1"/>
                      <a:pt x="24" y="1"/>
                      <a:pt x="23" y="1"/>
                    </a:cubicBezTo>
                    <a:cubicBezTo>
                      <a:pt x="22" y="1"/>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7" name="Freeform 1218"/>
              <p:cNvSpPr/>
              <p:nvPr/>
            </p:nvSpPr>
            <p:spPr bwMode="auto">
              <a:xfrm>
                <a:off x="2183" y="1605"/>
                <a:ext cx="30" cy="24"/>
              </a:xfrm>
              <a:custGeom>
                <a:gdLst>
                  <a:gd name="T0" fmla="*/ 13 w 13"/>
                  <a:gd name="T1" fmla="*/ 0 h 10"/>
                  <a:gd name="T2" fmla="*/ 3 w 13"/>
                  <a:gd name="T3" fmla="*/ 3 h 10"/>
                  <a:gd name="T4" fmla="*/ 5 w 13"/>
                  <a:gd name="T5" fmla="*/ 8 h 10"/>
                  <a:gd name="T6" fmla="*/ 7 w 13"/>
                  <a:gd name="T7" fmla="*/ 10 h 10"/>
                  <a:gd name="T8" fmla="*/ 8 w 13"/>
                  <a:gd name="T9" fmla="*/ 9 h 10"/>
                  <a:gd name="T10" fmla="*/ 13 w 13"/>
                  <a:gd name="T11" fmla="*/ 0 h 10"/>
                </a:gdLst>
                <a:cxnLst>
                  <a:cxn ang="0">
                    <a:pos x="T0" y="T1"/>
                  </a:cxn>
                  <a:cxn ang="0">
                    <a:pos x="T2" y="T3"/>
                  </a:cxn>
                  <a:cxn ang="0">
                    <a:pos x="T4" y="T5"/>
                  </a:cxn>
                  <a:cxn ang="0">
                    <a:pos x="T6" y="T7"/>
                  </a:cxn>
                  <a:cxn ang="0">
                    <a:pos x="T8" y="T9"/>
                  </a:cxn>
                  <a:cxn ang="0">
                    <a:pos x="T10" y="T11"/>
                  </a:cxn>
                </a:cxnLst>
                <a:rect l="0" t="0" r="r" b="b"/>
                <a:pathLst>
                  <a:path w="13" h="10">
                    <a:moveTo>
                      <a:pt x="13" y="0"/>
                    </a:moveTo>
                    <a:cubicBezTo>
                      <a:pt x="9" y="0"/>
                      <a:pt x="6" y="2"/>
                      <a:pt x="3" y="3"/>
                    </a:cubicBezTo>
                    <a:cubicBezTo>
                      <a:pt x="0" y="8"/>
                      <a:pt x="2" y="7"/>
                      <a:pt x="5" y="8"/>
                    </a:cubicBezTo>
                    <a:cubicBezTo>
                      <a:pt x="6" y="8"/>
                      <a:pt x="6" y="10"/>
                      <a:pt x="7" y="10"/>
                    </a:cubicBezTo>
                    <a:cubicBezTo>
                      <a:pt x="7" y="10"/>
                      <a:pt x="7" y="10"/>
                      <a:pt x="8" y="9"/>
                    </a:cubicBezTo>
                    <a:cubicBezTo>
                      <a:pt x="10" y="8"/>
                      <a:pt x="13"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8" name="Freeform 1219"/>
              <p:cNvSpPr/>
              <p:nvPr/>
            </p:nvSpPr>
            <p:spPr bwMode="auto">
              <a:xfrm>
                <a:off x="838" y="1064"/>
                <a:ext cx="24" cy="21"/>
              </a:xfrm>
              <a:custGeom>
                <a:gdLst>
                  <a:gd name="T0" fmla="*/ 6 w 10"/>
                  <a:gd name="T1" fmla="*/ 0 h 9"/>
                  <a:gd name="T2" fmla="*/ 2 w 10"/>
                  <a:gd name="T3" fmla="*/ 2 h 9"/>
                  <a:gd name="T4" fmla="*/ 1 w 10"/>
                  <a:gd name="T5" fmla="*/ 1 h 9"/>
                  <a:gd name="T6" fmla="*/ 0 w 10"/>
                  <a:gd name="T7" fmla="*/ 2 h 9"/>
                  <a:gd name="T8" fmla="*/ 2 w 10"/>
                  <a:gd name="T9" fmla="*/ 7 h 9"/>
                  <a:gd name="T10" fmla="*/ 2 w 10"/>
                  <a:gd name="T11" fmla="*/ 9 h 9"/>
                  <a:gd name="T12" fmla="*/ 3 w 10"/>
                  <a:gd name="T13" fmla="*/ 9 h 9"/>
                  <a:gd name="T14" fmla="*/ 7 w 10"/>
                  <a:gd name="T15" fmla="*/ 7 h 9"/>
                  <a:gd name="T16" fmla="*/ 6 w 10"/>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9">
                    <a:moveTo>
                      <a:pt x="6" y="0"/>
                    </a:moveTo>
                    <a:cubicBezTo>
                      <a:pt x="4" y="1"/>
                      <a:pt x="3" y="1"/>
                      <a:pt x="2" y="2"/>
                    </a:cubicBezTo>
                    <a:cubicBezTo>
                      <a:pt x="2" y="1"/>
                      <a:pt x="1" y="1"/>
                      <a:pt x="1" y="1"/>
                    </a:cubicBezTo>
                    <a:cubicBezTo>
                      <a:pt x="0" y="1"/>
                      <a:pt x="0" y="1"/>
                      <a:pt x="0" y="2"/>
                    </a:cubicBezTo>
                    <a:cubicBezTo>
                      <a:pt x="0" y="4"/>
                      <a:pt x="1" y="6"/>
                      <a:pt x="2" y="7"/>
                    </a:cubicBezTo>
                    <a:cubicBezTo>
                      <a:pt x="3" y="7"/>
                      <a:pt x="2" y="9"/>
                      <a:pt x="2" y="9"/>
                    </a:cubicBezTo>
                    <a:cubicBezTo>
                      <a:pt x="3" y="9"/>
                      <a:pt x="3" y="9"/>
                      <a:pt x="3" y="9"/>
                    </a:cubicBezTo>
                    <a:cubicBezTo>
                      <a:pt x="4" y="9"/>
                      <a:pt x="6" y="8"/>
                      <a:pt x="7" y="7"/>
                    </a:cubicBezTo>
                    <a:cubicBezTo>
                      <a:pt x="10" y="5"/>
                      <a:pt x="8"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9" name="Freeform 1220"/>
              <p:cNvSpPr/>
              <p:nvPr/>
            </p:nvSpPr>
            <p:spPr bwMode="auto">
              <a:xfrm>
                <a:off x="921" y="1445"/>
                <a:ext cx="626" cy="198"/>
              </a:xfrm>
              <a:custGeom>
                <a:gdLst>
                  <a:gd name="T0" fmla="*/ 0 w 265"/>
                  <a:gd name="T1" fmla="*/ 26 h 84"/>
                  <a:gd name="T2" fmla="*/ 27 w 265"/>
                  <a:gd name="T3" fmla="*/ 43 h 84"/>
                  <a:gd name="T4" fmla="*/ 34 w 265"/>
                  <a:gd name="T5" fmla="*/ 44 h 84"/>
                  <a:gd name="T6" fmla="*/ 75 w 265"/>
                  <a:gd name="T7" fmla="*/ 54 h 84"/>
                  <a:gd name="T8" fmla="*/ 87 w 265"/>
                  <a:gd name="T9" fmla="*/ 54 h 84"/>
                  <a:gd name="T10" fmla="*/ 98 w 265"/>
                  <a:gd name="T11" fmla="*/ 52 h 84"/>
                  <a:gd name="T12" fmla="*/ 148 w 265"/>
                  <a:gd name="T13" fmla="*/ 65 h 84"/>
                  <a:gd name="T14" fmla="*/ 173 w 265"/>
                  <a:gd name="T15" fmla="*/ 69 h 84"/>
                  <a:gd name="T16" fmla="*/ 183 w 265"/>
                  <a:gd name="T17" fmla="*/ 70 h 84"/>
                  <a:gd name="T18" fmla="*/ 193 w 265"/>
                  <a:gd name="T19" fmla="*/ 71 h 84"/>
                  <a:gd name="T20" fmla="*/ 209 w 265"/>
                  <a:gd name="T21" fmla="*/ 74 h 84"/>
                  <a:gd name="T22" fmla="*/ 223 w 265"/>
                  <a:gd name="T23" fmla="*/ 71 h 84"/>
                  <a:gd name="T24" fmla="*/ 265 w 265"/>
                  <a:gd name="T25" fmla="*/ 84 h 84"/>
                  <a:gd name="T26" fmla="*/ 260 w 265"/>
                  <a:gd name="T27" fmla="*/ 63 h 84"/>
                  <a:gd name="T28" fmla="*/ 248 w 265"/>
                  <a:gd name="T29" fmla="*/ 50 h 84"/>
                  <a:gd name="T30" fmla="*/ 235 w 265"/>
                  <a:gd name="T31" fmla="*/ 53 h 84"/>
                  <a:gd name="T32" fmla="*/ 214 w 265"/>
                  <a:gd name="T33" fmla="*/ 49 h 84"/>
                  <a:gd name="T34" fmla="*/ 209 w 265"/>
                  <a:gd name="T35" fmla="*/ 40 h 84"/>
                  <a:gd name="T36" fmla="*/ 204 w 265"/>
                  <a:gd name="T37" fmla="*/ 28 h 84"/>
                  <a:gd name="T38" fmla="*/ 196 w 265"/>
                  <a:gd name="T39" fmla="*/ 29 h 84"/>
                  <a:gd name="T40" fmla="*/ 168 w 265"/>
                  <a:gd name="T41" fmla="*/ 24 h 84"/>
                  <a:gd name="T42" fmla="*/ 158 w 265"/>
                  <a:gd name="T43" fmla="*/ 15 h 84"/>
                  <a:gd name="T44" fmla="*/ 144 w 265"/>
                  <a:gd name="T45" fmla="*/ 31 h 84"/>
                  <a:gd name="T46" fmla="*/ 120 w 265"/>
                  <a:gd name="T47" fmla="*/ 28 h 84"/>
                  <a:gd name="T48" fmla="*/ 114 w 265"/>
                  <a:gd name="T49" fmla="*/ 28 h 84"/>
                  <a:gd name="T50" fmla="*/ 109 w 265"/>
                  <a:gd name="T51" fmla="*/ 28 h 84"/>
                  <a:gd name="T52" fmla="*/ 90 w 265"/>
                  <a:gd name="T53" fmla="*/ 23 h 84"/>
                  <a:gd name="T54" fmla="*/ 81 w 265"/>
                  <a:gd name="T55" fmla="*/ 11 h 84"/>
                  <a:gd name="T56" fmla="*/ 78 w 265"/>
                  <a:gd name="T57" fmla="*/ 11 h 84"/>
                  <a:gd name="T58" fmla="*/ 65 w 265"/>
                  <a:gd name="T59" fmla="*/ 10 h 84"/>
                  <a:gd name="T60" fmla="*/ 48 w 265"/>
                  <a:gd name="T61" fmla="*/ 1 h 84"/>
                  <a:gd name="T62" fmla="*/ 44 w 265"/>
                  <a:gd name="T63" fmla="*/ 16 h 84"/>
                  <a:gd name="T64" fmla="*/ 37 w 265"/>
                  <a:gd name="T65" fmla="*/ 5 h 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5" h="84">
                    <a:moveTo>
                      <a:pt x="16" y="0"/>
                    </a:moveTo>
                    <a:cubicBezTo>
                      <a:pt x="10" y="8"/>
                      <a:pt x="6" y="18"/>
                      <a:pt x="0" y="26"/>
                    </a:cubicBezTo>
                    <a:cubicBezTo>
                      <a:pt x="10" y="27"/>
                      <a:pt x="19" y="29"/>
                      <a:pt x="27" y="32"/>
                    </a:cubicBezTo>
                    <a:cubicBezTo>
                      <a:pt x="33" y="34"/>
                      <a:pt x="29" y="37"/>
                      <a:pt x="27" y="43"/>
                    </a:cubicBezTo>
                    <a:cubicBezTo>
                      <a:pt x="28" y="43"/>
                      <a:pt x="28" y="43"/>
                      <a:pt x="28" y="43"/>
                    </a:cubicBezTo>
                    <a:cubicBezTo>
                      <a:pt x="30" y="43"/>
                      <a:pt x="32" y="44"/>
                      <a:pt x="34" y="44"/>
                    </a:cubicBezTo>
                    <a:cubicBezTo>
                      <a:pt x="41" y="45"/>
                      <a:pt x="49" y="46"/>
                      <a:pt x="56" y="47"/>
                    </a:cubicBezTo>
                    <a:cubicBezTo>
                      <a:pt x="62" y="48"/>
                      <a:pt x="68" y="53"/>
                      <a:pt x="75" y="54"/>
                    </a:cubicBezTo>
                    <a:cubicBezTo>
                      <a:pt x="78" y="55"/>
                      <a:pt x="80" y="55"/>
                      <a:pt x="83" y="55"/>
                    </a:cubicBezTo>
                    <a:cubicBezTo>
                      <a:pt x="84" y="55"/>
                      <a:pt x="85" y="55"/>
                      <a:pt x="87" y="54"/>
                    </a:cubicBezTo>
                    <a:cubicBezTo>
                      <a:pt x="90" y="53"/>
                      <a:pt x="94" y="52"/>
                      <a:pt x="97" y="52"/>
                    </a:cubicBezTo>
                    <a:cubicBezTo>
                      <a:pt x="97" y="52"/>
                      <a:pt x="98" y="52"/>
                      <a:pt x="98" y="52"/>
                    </a:cubicBezTo>
                    <a:cubicBezTo>
                      <a:pt x="108" y="53"/>
                      <a:pt x="117" y="54"/>
                      <a:pt x="126" y="56"/>
                    </a:cubicBezTo>
                    <a:cubicBezTo>
                      <a:pt x="134" y="58"/>
                      <a:pt x="140" y="62"/>
                      <a:pt x="148" y="65"/>
                    </a:cubicBezTo>
                    <a:cubicBezTo>
                      <a:pt x="151" y="66"/>
                      <a:pt x="155" y="68"/>
                      <a:pt x="160" y="68"/>
                    </a:cubicBezTo>
                    <a:cubicBezTo>
                      <a:pt x="164" y="68"/>
                      <a:pt x="169" y="68"/>
                      <a:pt x="173" y="69"/>
                    </a:cubicBezTo>
                    <a:cubicBezTo>
                      <a:pt x="176" y="70"/>
                      <a:pt x="178" y="72"/>
                      <a:pt x="180" y="72"/>
                    </a:cubicBezTo>
                    <a:cubicBezTo>
                      <a:pt x="181" y="72"/>
                      <a:pt x="182" y="71"/>
                      <a:pt x="183" y="70"/>
                    </a:cubicBezTo>
                    <a:cubicBezTo>
                      <a:pt x="183" y="69"/>
                      <a:pt x="183" y="69"/>
                      <a:pt x="184" y="69"/>
                    </a:cubicBezTo>
                    <a:cubicBezTo>
                      <a:pt x="187" y="69"/>
                      <a:pt x="192" y="71"/>
                      <a:pt x="193" y="71"/>
                    </a:cubicBezTo>
                    <a:cubicBezTo>
                      <a:pt x="198" y="71"/>
                      <a:pt x="203" y="72"/>
                      <a:pt x="208" y="74"/>
                    </a:cubicBezTo>
                    <a:cubicBezTo>
                      <a:pt x="208" y="74"/>
                      <a:pt x="209" y="74"/>
                      <a:pt x="209" y="74"/>
                    </a:cubicBezTo>
                    <a:cubicBezTo>
                      <a:pt x="212" y="74"/>
                      <a:pt x="215" y="72"/>
                      <a:pt x="217" y="71"/>
                    </a:cubicBezTo>
                    <a:cubicBezTo>
                      <a:pt x="219" y="71"/>
                      <a:pt x="221" y="71"/>
                      <a:pt x="223" y="71"/>
                    </a:cubicBezTo>
                    <a:cubicBezTo>
                      <a:pt x="230" y="71"/>
                      <a:pt x="235" y="74"/>
                      <a:pt x="242" y="77"/>
                    </a:cubicBezTo>
                    <a:cubicBezTo>
                      <a:pt x="249" y="80"/>
                      <a:pt x="258" y="82"/>
                      <a:pt x="265" y="84"/>
                    </a:cubicBezTo>
                    <a:cubicBezTo>
                      <a:pt x="261" y="80"/>
                      <a:pt x="258" y="77"/>
                      <a:pt x="258" y="71"/>
                    </a:cubicBezTo>
                    <a:cubicBezTo>
                      <a:pt x="258" y="69"/>
                      <a:pt x="259" y="66"/>
                      <a:pt x="260" y="63"/>
                    </a:cubicBezTo>
                    <a:cubicBezTo>
                      <a:pt x="260" y="57"/>
                      <a:pt x="262" y="56"/>
                      <a:pt x="256" y="54"/>
                    </a:cubicBezTo>
                    <a:cubicBezTo>
                      <a:pt x="254" y="53"/>
                      <a:pt x="251" y="50"/>
                      <a:pt x="248" y="50"/>
                    </a:cubicBezTo>
                    <a:cubicBezTo>
                      <a:pt x="248" y="50"/>
                      <a:pt x="248" y="50"/>
                      <a:pt x="248" y="50"/>
                    </a:cubicBezTo>
                    <a:cubicBezTo>
                      <a:pt x="245" y="50"/>
                      <a:pt x="239" y="52"/>
                      <a:pt x="235" y="53"/>
                    </a:cubicBezTo>
                    <a:cubicBezTo>
                      <a:pt x="233" y="53"/>
                      <a:pt x="230" y="53"/>
                      <a:pt x="228" y="53"/>
                    </a:cubicBezTo>
                    <a:cubicBezTo>
                      <a:pt x="223" y="53"/>
                      <a:pt x="219" y="52"/>
                      <a:pt x="214" y="49"/>
                    </a:cubicBezTo>
                    <a:cubicBezTo>
                      <a:pt x="212" y="48"/>
                      <a:pt x="213" y="46"/>
                      <a:pt x="213" y="43"/>
                    </a:cubicBezTo>
                    <a:cubicBezTo>
                      <a:pt x="213" y="41"/>
                      <a:pt x="211" y="41"/>
                      <a:pt x="209" y="40"/>
                    </a:cubicBezTo>
                    <a:cubicBezTo>
                      <a:pt x="206" y="37"/>
                      <a:pt x="207" y="34"/>
                      <a:pt x="207" y="30"/>
                    </a:cubicBezTo>
                    <a:cubicBezTo>
                      <a:pt x="207" y="29"/>
                      <a:pt x="206" y="28"/>
                      <a:pt x="204" y="28"/>
                    </a:cubicBezTo>
                    <a:cubicBezTo>
                      <a:pt x="203" y="28"/>
                      <a:pt x="201" y="28"/>
                      <a:pt x="200" y="29"/>
                    </a:cubicBezTo>
                    <a:cubicBezTo>
                      <a:pt x="198" y="29"/>
                      <a:pt x="197" y="29"/>
                      <a:pt x="196" y="29"/>
                    </a:cubicBezTo>
                    <a:cubicBezTo>
                      <a:pt x="195" y="29"/>
                      <a:pt x="195" y="29"/>
                      <a:pt x="195" y="29"/>
                    </a:cubicBezTo>
                    <a:cubicBezTo>
                      <a:pt x="185" y="26"/>
                      <a:pt x="178" y="24"/>
                      <a:pt x="168" y="24"/>
                    </a:cubicBezTo>
                    <a:cubicBezTo>
                      <a:pt x="164" y="23"/>
                      <a:pt x="161" y="18"/>
                      <a:pt x="159" y="15"/>
                    </a:cubicBezTo>
                    <a:cubicBezTo>
                      <a:pt x="159" y="15"/>
                      <a:pt x="159" y="15"/>
                      <a:pt x="158" y="15"/>
                    </a:cubicBezTo>
                    <a:cubicBezTo>
                      <a:pt x="157" y="15"/>
                      <a:pt x="152" y="17"/>
                      <a:pt x="151" y="18"/>
                    </a:cubicBezTo>
                    <a:cubicBezTo>
                      <a:pt x="151" y="21"/>
                      <a:pt x="148" y="31"/>
                      <a:pt x="144" y="31"/>
                    </a:cubicBezTo>
                    <a:cubicBezTo>
                      <a:pt x="144" y="31"/>
                      <a:pt x="144" y="31"/>
                      <a:pt x="144" y="31"/>
                    </a:cubicBezTo>
                    <a:cubicBezTo>
                      <a:pt x="136" y="30"/>
                      <a:pt x="128" y="29"/>
                      <a:pt x="120" y="28"/>
                    </a:cubicBezTo>
                    <a:cubicBezTo>
                      <a:pt x="120" y="28"/>
                      <a:pt x="119" y="28"/>
                      <a:pt x="118" y="28"/>
                    </a:cubicBezTo>
                    <a:cubicBezTo>
                      <a:pt x="117" y="28"/>
                      <a:pt x="116" y="28"/>
                      <a:pt x="114" y="28"/>
                    </a:cubicBezTo>
                    <a:cubicBezTo>
                      <a:pt x="113" y="28"/>
                      <a:pt x="112" y="28"/>
                      <a:pt x="110" y="28"/>
                    </a:cubicBezTo>
                    <a:cubicBezTo>
                      <a:pt x="110" y="28"/>
                      <a:pt x="109" y="28"/>
                      <a:pt x="109" y="28"/>
                    </a:cubicBezTo>
                    <a:cubicBezTo>
                      <a:pt x="106" y="28"/>
                      <a:pt x="102" y="27"/>
                      <a:pt x="99" y="27"/>
                    </a:cubicBezTo>
                    <a:cubicBezTo>
                      <a:pt x="96" y="26"/>
                      <a:pt x="91" y="27"/>
                      <a:pt x="90" y="23"/>
                    </a:cubicBezTo>
                    <a:cubicBezTo>
                      <a:pt x="89" y="18"/>
                      <a:pt x="87" y="16"/>
                      <a:pt x="84" y="12"/>
                    </a:cubicBezTo>
                    <a:cubicBezTo>
                      <a:pt x="83" y="11"/>
                      <a:pt x="82" y="11"/>
                      <a:pt x="81" y="11"/>
                    </a:cubicBezTo>
                    <a:cubicBezTo>
                      <a:pt x="80" y="11"/>
                      <a:pt x="80" y="11"/>
                      <a:pt x="79" y="11"/>
                    </a:cubicBezTo>
                    <a:cubicBezTo>
                      <a:pt x="79" y="11"/>
                      <a:pt x="79" y="11"/>
                      <a:pt x="78" y="11"/>
                    </a:cubicBezTo>
                    <a:cubicBezTo>
                      <a:pt x="78" y="11"/>
                      <a:pt x="78" y="11"/>
                      <a:pt x="78" y="11"/>
                    </a:cubicBezTo>
                    <a:cubicBezTo>
                      <a:pt x="74" y="11"/>
                      <a:pt x="69" y="11"/>
                      <a:pt x="65" y="10"/>
                    </a:cubicBezTo>
                    <a:cubicBezTo>
                      <a:pt x="61" y="10"/>
                      <a:pt x="58" y="7"/>
                      <a:pt x="55" y="6"/>
                    </a:cubicBezTo>
                    <a:cubicBezTo>
                      <a:pt x="54" y="5"/>
                      <a:pt x="51" y="3"/>
                      <a:pt x="48" y="1"/>
                    </a:cubicBezTo>
                    <a:cubicBezTo>
                      <a:pt x="50" y="3"/>
                      <a:pt x="52" y="5"/>
                      <a:pt x="52" y="8"/>
                    </a:cubicBezTo>
                    <a:cubicBezTo>
                      <a:pt x="52" y="13"/>
                      <a:pt x="49" y="16"/>
                      <a:pt x="44" y="16"/>
                    </a:cubicBezTo>
                    <a:cubicBezTo>
                      <a:pt x="40" y="16"/>
                      <a:pt x="36" y="13"/>
                      <a:pt x="36" y="8"/>
                    </a:cubicBezTo>
                    <a:cubicBezTo>
                      <a:pt x="36" y="7"/>
                      <a:pt x="37" y="6"/>
                      <a:pt x="37" y="5"/>
                    </a:cubicBezTo>
                    <a:cubicBezTo>
                      <a:pt x="30" y="4"/>
                      <a:pt x="23" y="2"/>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0" name="Freeform 1221"/>
              <p:cNvSpPr/>
              <p:nvPr/>
            </p:nvSpPr>
            <p:spPr bwMode="auto">
              <a:xfrm>
                <a:off x="689" y="943"/>
                <a:ext cx="28" cy="34"/>
              </a:xfrm>
              <a:custGeom>
                <a:gdLst>
                  <a:gd name="T0" fmla="*/ 4 w 12"/>
                  <a:gd name="T1" fmla="*/ 0 h 14"/>
                  <a:gd name="T2" fmla="*/ 8 w 12"/>
                  <a:gd name="T3" fmla="*/ 14 h 14"/>
                  <a:gd name="T4" fmla="*/ 8 w 12"/>
                  <a:gd name="T5" fmla="*/ 2 h 14"/>
                  <a:gd name="T6" fmla="*/ 4 w 12"/>
                  <a:gd name="T7" fmla="*/ 0 h 14"/>
                </a:gdLst>
                <a:cxnLst>
                  <a:cxn ang="0">
                    <a:pos x="T0" y="T1"/>
                  </a:cxn>
                  <a:cxn ang="0">
                    <a:pos x="T2" y="T3"/>
                  </a:cxn>
                  <a:cxn ang="0">
                    <a:pos x="T4" y="T5"/>
                  </a:cxn>
                  <a:cxn ang="0">
                    <a:pos x="T6" y="T7"/>
                  </a:cxn>
                </a:cxnLst>
                <a:rect l="0" t="0" r="r" b="b"/>
                <a:pathLst>
                  <a:path w="12" h="14">
                    <a:moveTo>
                      <a:pt x="4" y="0"/>
                    </a:moveTo>
                    <a:cubicBezTo>
                      <a:pt x="0" y="2"/>
                      <a:pt x="6" y="11"/>
                      <a:pt x="8" y="14"/>
                    </a:cubicBezTo>
                    <a:cubicBezTo>
                      <a:pt x="10" y="9"/>
                      <a:pt x="12" y="6"/>
                      <a:pt x="8" y="2"/>
                    </a:cubicBezTo>
                    <a:cubicBezTo>
                      <a:pt x="7"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1" name="Freeform 1222"/>
              <p:cNvSpPr/>
              <p:nvPr/>
            </p:nvSpPr>
            <p:spPr bwMode="auto">
              <a:xfrm>
                <a:off x="2218" y="1151"/>
                <a:ext cx="64" cy="26"/>
              </a:xfrm>
              <a:custGeom>
                <a:gdLst>
                  <a:gd name="T0" fmla="*/ 5 w 27"/>
                  <a:gd name="T1" fmla="*/ 0 h 11"/>
                  <a:gd name="T2" fmla="*/ 1 w 27"/>
                  <a:gd name="T3" fmla="*/ 1 h 11"/>
                  <a:gd name="T4" fmla="*/ 1 w 27"/>
                  <a:gd name="T5" fmla="*/ 11 h 11"/>
                  <a:gd name="T6" fmla="*/ 9 w 27"/>
                  <a:gd name="T7" fmla="*/ 10 h 11"/>
                  <a:gd name="T8" fmla="*/ 13 w 27"/>
                  <a:gd name="T9" fmla="*/ 8 h 11"/>
                  <a:gd name="T10" fmla="*/ 13 w 27"/>
                  <a:gd name="T11" fmla="*/ 8 h 11"/>
                  <a:gd name="T12" fmla="*/ 19 w 27"/>
                  <a:gd name="T13" fmla="*/ 9 h 11"/>
                  <a:gd name="T14" fmla="*/ 25 w 27"/>
                  <a:gd name="T15" fmla="*/ 8 h 11"/>
                  <a:gd name="T16" fmla="*/ 27 w 27"/>
                  <a:gd name="T17" fmla="*/ 5 h 11"/>
                  <a:gd name="T18" fmla="*/ 26 w 27"/>
                  <a:gd name="T19" fmla="*/ 3 h 11"/>
                  <a:gd name="T20" fmla="*/ 26 w 27"/>
                  <a:gd name="T21" fmla="*/ 3 h 11"/>
                  <a:gd name="T22" fmla="*/ 25 w 27"/>
                  <a:gd name="T23" fmla="*/ 4 h 11"/>
                  <a:gd name="T24" fmla="*/ 24 w 27"/>
                  <a:gd name="T25" fmla="*/ 5 h 11"/>
                  <a:gd name="T26" fmla="*/ 24 w 27"/>
                  <a:gd name="T27" fmla="*/ 5 h 11"/>
                  <a:gd name="T28" fmla="*/ 24 w 27"/>
                  <a:gd name="T29" fmla="*/ 3 h 11"/>
                  <a:gd name="T30" fmla="*/ 24 w 27"/>
                  <a:gd name="T31" fmla="*/ 3 h 11"/>
                  <a:gd name="T32" fmla="*/ 21 w 27"/>
                  <a:gd name="T33" fmla="*/ 2 h 11"/>
                  <a:gd name="T34" fmla="*/ 21 w 27"/>
                  <a:gd name="T35" fmla="*/ 2 h 11"/>
                  <a:gd name="T36" fmla="*/ 19 w 27"/>
                  <a:gd name="T37" fmla="*/ 4 h 11"/>
                  <a:gd name="T38" fmla="*/ 19 w 27"/>
                  <a:gd name="T39" fmla="*/ 4 h 11"/>
                  <a:gd name="T40" fmla="*/ 18 w 27"/>
                  <a:gd name="T41" fmla="*/ 3 h 11"/>
                  <a:gd name="T42" fmla="*/ 5 w 27"/>
                  <a:gd name="T4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11">
                    <a:moveTo>
                      <a:pt x="5" y="0"/>
                    </a:moveTo>
                    <a:cubicBezTo>
                      <a:pt x="4" y="0"/>
                      <a:pt x="2" y="0"/>
                      <a:pt x="1" y="1"/>
                    </a:cubicBezTo>
                    <a:cubicBezTo>
                      <a:pt x="1" y="4"/>
                      <a:pt x="0" y="8"/>
                      <a:pt x="1" y="11"/>
                    </a:cubicBezTo>
                    <a:cubicBezTo>
                      <a:pt x="4" y="11"/>
                      <a:pt x="6" y="11"/>
                      <a:pt x="9" y="10"/>
                    </a:cubicBezTo>
                    <a:cubicBezTo>
                      <a:pt x="11" y="9"/>
                      <a:pt x="11" y="8"/>
                      <a:pt x="13" y="8"/>
                    </a:cubicBezTo>
                    <a:cubicBezTo>
                      <a:pt x="13" y="8"/>
                      <a:pt x="13" y="8"/>
                      <a:pt x="13" y="8"/>
                    </a:cubicBezTo>
                    <a:cubicBezTo>
                      <a:pt x="15" y="9"/>
                      <a:pt x="17" y="9"/>
                      <a:pt x="19" y="9"/>
                    </a:cubicBezTo>
                    <a:cubicBezTo>
                      <a:pt x="21" y="9"/>
                      <a:pt x="23" y="8"/>
                      <a:pt x="25" y="8"/>
                    </a:cubicBezTo>
                    <a:cubicBezTo>
                      <a:pt x="27" y="7"/>
                      <a:pt x="27" y="7"/>
                      <a:pt x="27" y="5"/>
                    </a:cubicBezTo>
                    <a:cubicBezTo>
                      <a:pt x="26" y="3"/>
                      <a:pt x="26" y="3"/>
                      <a:pt x="26" y="3"/>
                    </a:cubicBezTo>
                    <a:cubicBezTo>
                      <a:pt x="26" y="3"/>
                      <a:pt x="26" y="3"/>
                      <a:pt x="26" y="3"/>
                    </a:cubicBezTo>
                    <a:cubicBezTo>
                      <a:pt x="25" y="3"/>
                      <a:pt x="24" y="3"/>
                      <a:pt x="25" y="4"/>
                    </a:cubicBezTo>
                    <a:cubicBezTo>
                      <a:pt x="25" y="4"/>
                      <a:pt x="24" y="5"/>
                      <a:pt x="24" y="5"/>
                    </a:cubicBezTo>
                    <a:cubicBezTo>
                      <a:pt x="24" y="5"/>
                      <a:pt x="24" y="5"/>
                      <a:pt x="24" y="5"/>
                    </a:cubicBezTo>
                    <a:cubicBezTo>
                      <a:pt x="24" y="4"/>
                      <a:pt x="24" y="3"/>
                      <a:pt x="24" y="3"/>
                    </a:cubicBezTo>
                    <a:cubicBezTo>
                      <a:pt x="24" y="3"/>
                      <a:pt x="24" y="3"/>
                      <a:pt x="24" y="3"/>
                    </a:cubicBezTo>
                    <a:cubicBezTo>
                      <a:pt x="22" y="3"/>
                      <a:pt x="22" y="2"/>
                      <a:pt x="21" y="2"/>
                    </a:cubicBezTo>
                    <a:cubicBezTo>
                      <a:pt x="21" y="2"/>
                      <a:pt x="21" y="2"/>
                      <a:pt x="21" y="2"/>
                    </a:cubicBezTo>
                    <a:cubicBezTo>
                      <a:pt x="21" y="2"/>
                      <a:pt x="20" y="4"/>
                      <a:pt x="19" y="4"/>
                    </a:cubicBezTo>
                    <a:cubicBezTo>
                      <a:pt x="19" y="4"/>
                      <a:pt x="19" y="4"/>
                      <a:pt x="19" y="4"/>
                    </a:cubicBezTo>
                    <a:cubicBezTo>
                      <a:pt x="18" y="4"/>
                      <a:pt x="19" y="3"/>
                      <a:pt x="18" y="3"/>
                    </a:cubicBezTo>
                    <a:cubicBezTo>
                      <a:pt x="15" y="2"/>
                      <a:pt x="9"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Freeform 1223"/>
              <p:cNvSpPr/>
              <p:nvPr/>
            </p:nvSpPr>
            <p:spPr bwMode="auto">
              <a:xfrm>
                <a:off x="2138" y="1603"/>
                <a:ext cx="49" cy="26"/>
              </a:xfrm>
              <a:custGeom>
                <a:gdLst>
                  <a:gd name="T0" fmla="*/ 17 w 21"/>
                  <a:gd name="T1" fmla="*/ 0 h 11"/>
                  <a:gd name="T2" fmla="*/ 14 w 21"/>
                  <a:gd name="T3" fmla="*/ 2 h 11"/>
                  <a:gd name="T4" fmla="*/ 14 w 21"/>
                  <a:gd name="T5" fmla="*/ 2 h 11"/>
                  <a:gd name="T6" fmla="*/ 13 w 21"/>
                  <a:gd name="T7" fmla="*/ 1 h 11"/>
                  <a:gd name="T8" fmla="*/ 13 w 21"/>
                  <a:gd name="T9" fmla="*/ 1 h 11"/>
                  <a:gd name="T10" fmla="*/ 13 w 21"/>
                  <a:gd name="T11" fmla="*/ 1 h 11"/>
                  <a:gd name="T12" fmla="*/ 12 w 21"/>
                  <a:gd name="T13" fmla="*/ 3 h 11"/>
                  <a:gd name="T14" fmla="*/ 10 w 21"/>
                  <a:gd name="T15" fmla="*/ 5 h 11"/>
                  <a:gd name="T16" fmla="*/ 10 w 21"/>
                  <a:gd name="T17" fmla="*/ 5 h 11"/>
                  <a:gd name="T18" fmla="*/ 9 w 21"/>
                  <a:gd name="T19" fmla="*/ 2 h 11"/>
                  <a:gd name="T20" fmla="*/ 5 w 21"/>
                  <a:gd name="T21" fmla="*/ 2 h 11"/>
                  <a:gd name="T22" fmla="*/ 0 w 21"/>
                  <a:gd name="T23" fmla="*/ 10 h 11"/>
                  <a:gd name="T24" fmla="*/ 6 w 21"/>
                  <a:gd name="T25" fmla="*/ 11 h 11"/>
                  <a:gd name="T26" fmla="*/ 8 w 21"/>
                  <a:gd name="T27" fmla="*/ 11 h 11"/>
                  <a:gd name="T28" fmla="*/ 11 w 21"/>
                  <a:gd name="T29" fmla="*/ 11 h 11"/>
                  <a:gd name="T30" fmla="*/ 11 w 21"/>
                  <a:gd name="T31" fmla="*/ 9 h 11"/>
                  <a:gd name="T32" fmla="*/ 11 w 21"/>
                  <a:gd name="T33" fmla="*/ 9 h 11"/>
                  <a:gd name="T34" fmla="*/ 11 w 21"/>
                  <a:gd name="T35" fmla="*/ 8 h 11"/>
                  <a:gd name="T36" fmla="*/ 14 w 21"/>
                  <a:gd name="T37" fmla="*/ 7 h 11"/>
                  <a:gd name="T38" fmla="*/ 21 w 21"/>
                  <a:gd name="T39" fmla="*/ 1 h 11"/>
                  <a:gd name="T40" fmla="*/ 17 w 21"/>
                  <a:gd name="T41"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1">
                    <a:moveTo>
                      <a:pt x="17" y="0"/>
                    </a:moveTo>
                    <a:cubicBezTo>
                      <a:pt x="16" y="0"/>
                      <a:pt x="15" y="1"/>
                      <a:pt x="14" y="2"/>
                    </a:cubicBezTo>
                    <a:cubicBezTo>
                      <a:pt x="14" y="2"/>
                      <a:pt x="14" y="2"/>
                      <a:pt x="14" y="2"/>
                    </a:cubicBezTo>
                    <a:cubicBezTo>
                      <a:pt x="14" y="2"/>
                      <a:pt x="13" y="2"/>
                      <a:pt x="13" y="1"/>
                    </a:cubicBezTo>
                    <a:cubicBezTo>
                      <a:pt x="13" y="1"/>
                      <a:pt x="13" y="1"/>
                      <a:pt x="13" y="1"/>
                    </a:cubicBezTo>
                    <a:cubicBezTo>
                      <a:pt x="13" y="1"/>
                      <a:pt x="13" y="1"/>
                      <a:pt x="13" y="1"/>
                    </a:cubicBezTo>
                    <a:cubicBezTo>
                      <a:pt x="12" y="2"/>
                      <a:pt x="13" y="3"/>
                      <a:pt x="12" y="3"/>
                    </a:cubicBezTo>
                    <a:cubicBezTo>
                      <a:pt x="11" y="4"/>
                      <a:pt x="11" y="5"/>
                      <a:pt x="10" y="5"/>
                    </a:cubicBezTo>
                    <a:cubicBezTo>
                      <a:pt x="10" y="5"/>
                      <a:pt x="10" y="5"/>
                      <a:pt x="10" y="5"/>
                    </a:cubicBezTo>
                    <a:cubicBezTo>
                      <a:pt x="7" y="5"/>
                      <a:pt x="11" y="2"/>
                      <a:pt x="9" y="2"/>
                    </a:cubicBezTo>
                    <a:cubicBezTo>
                      <a:pt x="8" y="2"/>
                      <a:pt x="7" y="2"/>
                      <a:pt x="5" y="2"/>
                    </a:cubicBezTo>
                    <a:cubicBezTo>
                      <a:pt x="11" y="6"/>
                      <a:pt x="3" y="8"/>
                      <a:pt x="0" y="10"/>
                    </a:cubicBezTo>
                    <a:cubicBezTo>
                      <a:pt x="2" y="11"/>
                      <a:pt x="5" y="11"/>
                      <a:pt x="6" y="11"/>
                    </a:cubicBezTo>
                    <a:cubicBezTo>
                      <a:pt x="7" y="11"/>
                      <a:pt x="8" y="11"/>
                      <a:pt x="8" y="11"/>
                    </a:cubicBezTo>
                    <a:cubicBezTo>
                      <a:pt x="9" y="11"/>
                      <a:pt x="10" y="11"/>
                      <a:pt x="11" y="11"/>
                    </a:cubicBezTo>
                    <a:cubicBezTo>
                      <a:pt x="11" y="10"/>
                      <a:pt x="11" y="9"/>
                      <a:pt x="11" y="9"/>
                    </a:cubicBezTo>
                    <a:cubicBezTo>
                      <a:pt x="11" y="9"/>
                      <a:pt x="11" y="9"/>
                      <a:pt x="11" y="9"/>
                    </a:cubicBezTo>
                    <a:cubicBezTo>
                      <a:pt x="11" y="9"/>
                      <a:pt x="11" y="8"/>
                      <a:pt x="11" y="8"/>
                    </a:cubicBezTo>
                    <a:cubicBezTo>
                      <a:pt x="12" y="7"/>
                      <a:pt x="13" y="7"/>
                      <a:pt x="14" y="7"/>
                    </a:cubicBezTo>
                    <a:cubicBezTo>
                      <a:pt x="16" y="6"/>
                      <a:pt x="19" y="3"/>
                      <a:pt x="21" y="1"/>
                    </a:cubicBezTo>
                    <a:cubicBezTo>
                      <a:pt x="19" y="1"/>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3" name="Freeform 1224"/>
              <p:cNvSpPr/>
              <p:nvPr/>
            </p:nvSpPr>
            <p:spPr bwMode="auto">
              <a:xfrm>
                <a:off x="502" y="1177"/>
                <a:ext cx="33" cy="26"/>
              </a:xfrm>
              <a:custGeom>
                <a:gdLst>
                  <a:gd name="T0" fmla="*/ 7 w 14"/>
                  <a:gd name="T1" fmla="*/ 0 h 11"/>
                  <a:gd name="T2" fmla="*/ 6 w 14"/>
                  <a:gd name="T3" fmla="*/ 1 h 11"/>
                  <a:gd name="T4" fmla="*/ 14 w 14"/>
                  <a:gd name="T5" fmla="*/ 11 h 11"/>
                  <a:gd name="T6" fmla="*/ 9 w 14"/>
                  <a:gd name="T7" fmla="*/ 2 h 11"/>
                  <a:gd name="T8" fmla="*/ 7 w 14"/>
                  <a:gd name="T9" fmla="*/ 0 h 11"/>
                </a:gdLst>
                <a:cxnLst>
                  <a:cxn ang="0">
                    <a:pos x="T0" y="T1"/>
                  </a:cxn>
                  <a:cxn ang="0">
                    <a:pos x="T2" y="T3"/>
                  </a:cxn>
                  <a:cxn ang="0">
                    <a:pos x="T4" y="T5"/>
                  </a:cxn>
                  <a:cxn ang="0">
                    <a:pos x="T6" y="T7"/>
                  </a:cxn>
                  <a:cxn ang="0">
                    <a:pos x="T8" y="T9"/>
                  </a:cxn>
                </a:cxnLst>
                <a:rect l="0" t="0" r="r" b="b"/>
                <a:pathLst>
                  <a:path w="14" h="11">
                    <a:moveTo>
                      <a:pt x="7" y="0"/>
                    </a:moveTo>
                    <a:cubicBezTo>
                      <a:pt x="6" y="0"/>
                      <a:pt x="6" y="0"/>
                      <a:pt x="6" y="1"/>
                    </a:cubicBezTo>
                    <a:cubicBezTo>
                      <a:pt x="0" y="5"/>
                      <a:pt x="13" y="10"/>
                      <a:pt x="14" y="11"/>
                    </a:cubicBezTo>
                    <a:cubicBezTo>
                      <a:pt x="13" y="9"/>
                      <a:pt x="10" y="3"/>
                      <a:pt x="9" y="2"/>
                    </a:cubicBezTo>
                    <a:cubicBezTo>
                      <a:pt x="8" y="1"/>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Freeform 1225"/>
              <p:cNvSpPr/>
              <p:nvPr/>
            </p:nvSpPr>
            <p:spPr bwMode="auto">
              <a:xfrm>
                <a:off x="1752" y="757"/>
                <a:ext cx="8" cy="9"/>
              </a:xfrm>
              <a:custGeom>
                <a:gdLst>
                  <a:gd name="T0" fmla="*/ 0 w 3"/>
                  <a:gd name="T1" fmla="*/ 0 h 4"/>
                  <a:gd name="T2" fmla="*/ 1 w 3"/>
                  <a:gd name="T3" fmla="*/ 3 h 4"/>
                  <a:gd name="T4" fmla="*/ 1 w 3"/>
                  <a:gd name="T5" fmla="*/ 3 h 4"/>
                  <a:gd name="T6" fmla="*/ 2 w 3"/>
                  <a:gd name="T7" fmla="*/ 4 h 4"/>
                  <a:gd name="T8" fmla="*/ 3 w 3"/>
                  <a:gd name="T9" fmla="*/ 4 h 4"/>
                  <a:gd name="T10" fmla="*/ 0 w 3"/>
                  <a:gd name="T11" fmla="*/ 0 h 4"/>
                </a:gdLst>
                <a:cxnLst>
                  <a:cxn ang="0">
                    <a:pos x="T0" y="T1"/>
                  </a:cxn>
                  <a:cxn ang="0">
                    <a:pos x="T2" y="T3"/>
                  </a:cxn>
                  <a:cxn ang="0">
                    <a:pos x="T4" y="T5"/>
                  </a:cxn>
                  <a:cxn ang="0">
                    <a:pos x="T6" y="T7"/>
                  </a:cxn>
                  <a:cxn ang="0">
                    <a:pos x="T8" y="T9"/>
                  </a:cxn>
                  <a:cxn ang="0">
                    <a:pos x="T10" y="T11"/>
                  </a:cxn>
                </a:cxnLst>
                <a:rect l="0" t="0" r="r" b="b"/>
                <a:pathLst>
                  <a:path w="3" h="4">
                    <a:moveTo>
                      <a:pt x="0" y="0"/>
                    </a:moveTo>
                    <a:cubicBezTo>
                      <a:pt x="0" y="1"/>
                      <a:pt x="1" y="2"/>
                      <a:pt x="1" y="3"/>
                    </a:cubicBezTo>
                    <a:cubicBezTo>
                      <a:pt x="1" y="3"/>
                      <a:pt x="1" y="3"/>
                      <a:pt x="1" y="3"/>
                    </a:cubicBezTo>
                    <a:cubicBezTo>
                      <a:pt x="2" y="4"/>
                      <a:pt x="2" y="4"/>
                      <a:pt x="2" y="4"/>
                    </a:cubicBezTo>
                    <a:cubicBezTo>
                      <a:pt x="2" y="4"/>
                      <a:pt x="3" y="4"/>
                      <a:pt x="3" y="4"/>
                    </a:cubicBezTo>
                    <a:cubicBezTo>
                      <a:pt x="3" y="3"/>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Freeform 1226"/>
              <p:cNvSpPr/>
              <p:nvPr/>
            </p:nvSpPr>
            <p:spPr bwMode="auto">
              <a:xfrm>
                <a:off x="3128" y="1546"/>
                <a:ext cx="97" cy="73"/>
              </a:xfrm>
              <a:custGeom>
                <a:gdLst>
                  <a:gd name="T0" fmla="*/ 30 w 41"/>
                  <a:gd name="T1" fmla="*/ 0 h 31"/>
                  <a:gd name="T2" fmla="*/ 19 w 41"/>
                  <a:gd name="T3" fmla="*/ 2 h 31"/>
                  <a:gd name="T4" fmla="*/ 6 w 41"/>
                  <a:gd name="T5" fmla="*/ 15 h 31"/>
                  <a:gd name="T6" fmla="*/ 0 w 41"/>
                  <a:gd name="T7" fmla="*/ 31 h 31"/>
                  <a:gd name="T8" fmla="*/ 3 w 41"/>
                  <a:gd name="T9" fmla="*/ 30 h 31"/>
                  <a:gd name="T10" fmla="*/ 9 w 41"/>
                  <a:gd name="T11" fmla="*/ 30 h 31"/>
                  <a:gd name="T12" fmla="*/ 12 w 41"/>
                  <a:gd name="T13" fmla="*/ 30 h 31"/>
                  <a:gd name="T14" fmla="*/ 19 w 41"/>
                  <a:gd name="T15" fmla="*/ 31 h 31"/>
                  <a:gd name="T16" fmla="*/ 23 w 41"/>
                  <a:gd name="T17" fmla="*/ 30 h 31"/>
                  <a:gd name="T18" fmla="*/ 28 w 41"/>
                  <a:gd name="T19" fmla="*/ 25 h 31"/>
                  <a:gd name="T20" fmla="*/ 31 w 41"/>
                  <a:gd name="T21" fmla="*/ 23 h 31"/>
                  <a:gd name="T22" fmla="*/ 36 w 41"/>
                  <a:gd name="T23" fmla="*/ 20 h 31"/>
                  <a:gd name="T24" fmla="*/ 36 w 41"/>
                  <a:gd name="T25" fmla="*/ 17 h 31"/>
                  <a:gd name="T26" fmla="*/ 39 w 41"/>
                  <a:gd name="T27" fmla="*/ 14 h 31"/>
                  <a:gd name="T28" fmla="*/ 39 w 41"/>
                  <a:gd name="T29" fmla="*/ 11 h 31"/>
                  <a:gd name="T30" fmla="*/ 40 w 41"/>
                  <a:gd name="T31" fmla="*/ 7 h 31"/>
                  <a:gd name="T32" fmla="*/ 36 w 41"/>
                  <a:gd name="T33" fmla="*/ 4 h 31"/>
                  <a:gd name="T34" fmla="*/ 30 w 41"/>
                  <a:gd name="T35" fmla="*/ 0 h 31"/>
                  <a:gd name="T36" fmla="*/ 30 w 41"/>
                  <a:gd name="T37"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31">
                    <a:moveTo>
                      <a:pt x="30" y="0"/>
                    </a:moveTo>
                    <a:cubicBezTo>
                      <a:pt x="27" y="0"/>
                      <a:pt x="22" y="1"/>
                      <a:pt x="19" y="2"/>
                    </a:cubicBezTo>
                    <a:cubicBezTo>
                      <a:pt x="13" y="6"/>
                      <a:pt x="10" y="8"/>
                      <a:pt x="6" y="15"/>
                    </a:cubicBezTo>
                    <a:cubicBezTo>
                      <a:pt x="4" y="20"/>
                      <a:pt x="1" y="26"/>
                      <a:pt x="0" y="31"/>
                    </a:cubicBezTo>
                    <a:cubicBezTo>
                      <a:pt x="1" y="31"/>
                      <a:pt x="2" y="30"/>
                      <a:pt x="3" y="30"/>
                    </a:cubicBezTo>
                    <a:cubicBezTo>
                      <a:pt x="5" y="30"/>
                      <a:pt x="7" y="30"/>
                      <a:pt x="9" y="30"/>
                    </a:cubicBezTo>
                    <a:cubicBezTo>
                      <a:pt x="10" y="30"/>
                      <a:pt x="11" y="30"/>
                      <a:pt x="12" y="30"/>
                    </a:cubicBezTo>
                    <a:cubicBezTo>
                      <a:pt x="14" y="30"/>
                      <a:pt x="17" y="31"/>
                      <a:pt x="19" y="31"/>
                    </a:cubicBezTo>
                    <a:cubicBezTo>
                      <a:pt x="20" y="31"/>
                      <a:pt x="21" y="30"/>
                      <a:pt x="23" y="30"/>
                    </a:cubicBezTo>
                    <a:cubicBezTo>
                      <a:pt x="24" y="29"/>
                      <a:pt x="26" y="27"/>
                      <a:pt x="28" y="25"/>
                    </a:cubicBezTo>
                    <a:cubicBezTo>
                      <a:pt x="29" y="24"/>
                      <a:pt x="29" y="24"/>
                      <a:pt x="31" y="23"/>
                    </a:cubicBezTo>
                    <a:cubicBezTo>
                      <a:pt x="32" y="22"/>
                      <a:pt x="35" y="23"/>
                      <a:pt x="36" y="20"/>
                    </a:cubicBezTo>
                    <a:cubicBezTo>
                      <a:pt x="37" y="20"/>
                      <a:pt x="36" y="18"/>
                      <a:pt x="36" y="17"/>
                    </a:cubicBezTo>
                    <a:cubicBezTo>
                      <a:pt x="36" y="15"/>
                      <a:pt x="38" y="15"/>
                      <a:pt x="39" y="14"/>
                    </a:cubicBezTo>
                    <a:cubicBezTo>
                      <a:pt x="39" y="13"/>
                      <a:pt x="38" y="12"/>
                      <a:pt x="39" y="11"/>
                    </a:cubicBezTo>
                    <a:cubicBezTo>
                      <a:pt x="40" y="10"/>
                      <a:pt x="41" y="8"/>
                      <a:pt x="40" y="7"/>
                    </a:cubicBezTo>
                    <a:cubicBezTo>
                      <a:pt x="39" y="5"/>
                      <a:pt x="37" y="5"/>
                      <a:pt x="36" y="4"/>
                    </a:cubicBezTo>
                    <a:cubicBezTo>
                      <a:pt x="34" y="1"/>
                      <a:pt x="34" y="0"/>
                      <a:pt x="30" y="0"/>
                    </a:cubicBez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Freeform 1227"/>
              <p:cNvSpPr/>
              <p:nvPr/>
            </p:nvSpPr>
            <p:spPr bwMode="auto">
              <a:xfrm>
                <a:off x="2880" y="1463"/>
                <a:ext cx="42" cy="50"/>
              </a:xfrm>
              <a:custGeom>
                <a:gdLst>
                  <a:gd name="T0" fmla="*/ 3 w 18"/>
                  <a:gd name="T1" fmla="*/ 0 h 21"/>
                  <a:gd name="T2" fmla="*/ 5 w 18"/>
                  <a:gd name="T3" fmla="*/ 9 h 21"/>
                  <a:gd name="T4" fmla="*/ 4 w 18"/>
                  <a:gd name="T5" fmla="*/ 9 h 21"/>
                  <a:gd name="T6" fmla="*/ 2 w 18"/>
                  <a:gd name="T7" fmla="*/ 20 h 21"/>
                  <a:gd name="T8" fmla="*/ 5 w 18"/>
                  <a:gd name="T9" fmla="*/ 21 h 21"/>
                  <a:gd name="T10" fmla="*/ 12 w 18"/>
                  <a:gd name="T11" fmla="*/ 14 h 21"/>
                  <a:gd name="T12" fmla="*/ 12 w 18"/>
                  <a:gd name="T13" fmla="*/ 14 h 21"/>
                  <a:gd name="T14" fmla="*/ 3 w 18"/>
                  <a:gd name="T15" fmla="*/ 0 h 2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3" y="0"/>
                    </a:moveTo>
                    <a:cubicBezTo>
                      <a:pt x="2" y="4"/>
                      <a:pt x="2" y="8"/>
                      <a:pt x="5" y="9"/>
                    </a:cubicBezTo>
                    <a:cubicBezTo>
                      <a:pt x="5" y="9"/>
                      <a:pt x="5" y="9"/>
                      <a:pt x="4" y="9"/>
                    </a:cubicBezTo>
                    <a:cubicBezTo>
                      <a:pt x="0" y="9"/>
                      <a:pt x="0" y="17"/>
                      <a:pt x="2" y="20"/>
                    </a:cubicBezTo>
                    <a:cubicBezTo>
                      <a:pt x="3" y="21"/>
                      <a:pt x="4" y="21"/>
                      <a:pt x="5" y="21"/>
                    </a:cubicBezTo>
                    <a:cubicBezTo>
                      <a:pt x="8" y="21"/>
                      <a:pt x="11" y="17"/>
                      <a:pt x="12" y="14"/>
                    </a:cubicBezTo>
                    <a:cubicBezTo>
                      <a:pt x="12" y="14"/>
                      <a:pt x="12" y="14"/>
                      <a:pt x="12" y="14"/>
                    </a:cubicBezTo>
                    <a:cubicBezTo>
                      <a:pt x="18" y="14"/>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Freeform 1228"/>
              <p:cNvSpPr/>
              <p:nvPr/>
            </p:nvSpPr>
            <p:spPr bwMode="auto">
              <a:xfrm>
                <a:off x="1415" y="1511"/>
                <a:ext cx="99" cy="23"/>
              </a:xfrm>
              <a:custGeom>
                <a:gdLst>
                  <a:gd name="T0" fmla="*/ 16 w 42"/>
                  <a:gd name="T1" fmla="*/ 0 h 10"/>
                  <a:gd name="T2" fmla="*/ 2 w 42"/>
                  <a:gd name="T3" fmla="*/ 6 h 10"/>
                  <a:gd name="T4" fmla="*/ 5 w 42"/>
                  <a:gd name="T5" fmla="*/ 9 h 10"/>
                  <a:gd name="T6" fmla="*/ 14 w 42"/>
                  <a:gd name="T7" fmla="*/ 10 h 10"/>
                  <a:gd name="T8" fmla="*/ 42 w 42"/>
                  <a:gd name="T9" fmla="*/ 3 h 10"/>
                  <a:gd name="T10" fmla="*/ 34 w 42"/>
                  <a:gd name="T11" fmla="*/ 0 h 10"/>
                  <a:gd name="T12" fmla="*/ 28 w 42"/>
                  <a:gd name="T13" fmla="*/ 1 h 10"/>
                  <a:gd name="T14" fmla="*/ 16 w 42"/>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0">
                    <a:moveTo>
                      <a:pt x="16" y="0"/>
                    </a:moveTo>
                    <a:cubicBezTo>
                      <a:pt x="10" y="0"/>
                      <a:pt x="4" y="1"/>
                      <a:pt x="2" y="6"/>
                    </a:cubicBezTo>
                    <a:cubicBezTo>
                      <a:pt x="0" y="10"/>
                      <a:pt x="2" y="8"/>
                      <a:pt x="5" y="9"/>
                    </a:cubicBezTo>
                    <a:cubicBezTo>
                      <a:pt x="8" y="10"/>
                      <a:pt x="11" y="10"/>
                      <a:pt x="14" y="10"/>
                    </a:cubicBezTo>
                    <a:cubicBezTo>
                      <a:pt x="24" y="10"/>
                      <a:pt x="33" y="7"/>
                      <a:pt x="42" y="3"/>
                    </a:cubicBezTo>
                    <a:cubicBezTo>
                      <a:pt x="39" y="1"/>
                      <a:pt x="37" y="0"/>
                      <a:pt x="34" y="0"/>
                    </a:cubicBezTo>
                    <a:cubicBezTo>
                      <a:pt x="32" y="0"/>
                      <a:pt x="30" y="1"/>
                      <a:pt x="28" y="1"/>
                    </a:cubicBezTo>
                    <a:cubicBezTo>
                      <a:pt x="25" y="1"/>
                      <a:pt x="20"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1229"/>
              <p:cNvSpPr/>
              <p:nvPr/>
            </p:nvSpPr>
            <p:spPr bwMode="auto">
              <a:xfrm>
                <a:off x="2809" y="1402"/>
                <a:ext cx="12" cy="24"/>
              </a:xfrm>
              <a:custGeom>
                <a:gdLst>
                  <a:gd name="T0" fmla="*/ 5 w 5"/>
                  <a:gd name="T1" fmla="*/ 0 h 10"/>
                  <a:gd name="T2" fmla="*/ 0 w 5"/>
                  <a:gd name="T3" fmla="*/ 10 h 10"/>
                  <a:gd name="T4" fmla="*/ 5 w 5"/>
                  <a:gd name="T5" fmla="*/ 0 h 10"/>
                </a:gdLst>
                <a:cxnLst>
                  <a:cxn ang="0">
                    <a:pos x="T0" y="T1"/>
                  </a:cxn>
                  <a:cxn ang="0">
                    <a:pos x="T2" y="T3"/>
                  </a:cxn>
                  <a:cxn ang="0">
                    <a:pos x="T4" y="T5"/>
                  </a:cxn>
                </a:cxnLst>
                <a:rect l="0" t="0" r="r" b="b"/>
                <a:pathLst>
                  <a:path w="5" h="10">
                    <a:moveTo>
                      <a:pt x="5" y="0"/>
                    </a:moveTo>
                    <a:cubicBezTo>
                      <a:pt x="2" y="0"/>
                      <a:pt x="0" y="8"/>
                      <a:pt x="0" y="10"/>
                    </a:cubicBezTo>
                    <a:cubicBezTo>
                      <a:pt x="2" y="7"/>
                      <a:pt x="3"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Freeform 1230"/>
              <p:cNvSpPr/>
              <p:nvPr/>
            </p:nvSpPr>
            <p:spPr bwMode="auto">
              <a:xfrm>
                <a:off x="2797" y="1428"/>
                <a:ext cx="12" cy="24"/>
              </a:xfrm>
              <a:custGeom>
                <a:gdLst>
                  <a:gd name="T0" fmla="*/ 5 w 5"/>
                  <a:gd name="T1" fmla="*/ 0 h 10"/>
                  <a:gd name="T2" fmla="*/ 0 w 5"/>
                  <a:gd name="T3" fmla="*/ 10 h 10"/>
                  <a:gd name="T4" fmla="*/ 5 w 5"/>
                  <a:gd name="T5" fmla="*/ 0 h 10"/>
                  <a:gd name="T6" fmla="*/ 5 w 5"/>
                  <a:gd name="T7" fmla="*/ 0 h 10"/>
                </a:gdLst>
                <a:cxnLst>
                  <a:cxn ang="0">
                    <a:pos x="T0" y="T1"/>
                  </a:cxn>
                  <a:cxn ang="0">
                    <a:pos x="T2" y="T3"/>
                  </a:cxn>
                  <a:cxn ang="0">
                    <a:pos x="T4" y="T5"/>
                  </a:cxn>
                  <a:cxn ang="0">
                    <a:pos x="T6" y="T7"/>
                  </a:cxn>
                </a:cxnLst>
                <a:rect l="0" t="0" r="r" b="b"/>
                <a:pathLst>
                  <a:path w="5" h="10">
                    <a:moveTo>
                      <a:pt x="5" y="0"/>
                    </a:moveTo>
                    <a:cubicBezTo>
                      <a:pt x="3" y="0"/>
                      <a:pt x="1" y="8"/>
                      <a:pt x="0" y="10"/>
                    </a:cubicBezTo>
                    <a:cubicBezTo>
                      <a:pt x="2" y="7"/>
                      <a:pt x="4" y="3"/>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1231"/>
              <p:cNvSpPr/>
              <p:nvPr/>
            </p:nvSpPr>
            <p:spPr bwMode="auto">
              <a:xfrm>
                <a:off x="1899" y="1593"/>
                <a:ext cx="227" cy="62"/>
              </a:xfrm>
              <a:custGeom>
                <a:gdLst>
                  <a:gd name="T0" fmla="*/ 91 w 96"/>
                  <a:gd name="T1" fmla="*/ 0 h 26"/>
                  <a:gd name="T2" fmla="*/ 93 w 96"/>
                  <a:gd name="T3" fmla="*/ 4 h 26"/>
                  <a:gd name="T4" fmla="*/ 80 w 96"/>
                  <a:gd name="T5" fmla="*/ 13 h 26"/>
                  <a:gd name="T6" fmla="*/ 80 w 96"/>
                  <a:gd name="T7" fmla="*/ 16 h 26"/>
                  <a:gd name="T8" fmla="*/ 76 w 96"/>
                  <a:gd name="T9" fmla="*/ 17 h 26"/>
                  <a:gd name="T10" fmla="*/ 72 w 96"/>
                  <a:gd name="T11" fmla="*/ 16 h 26"/>
                  <a:gd name="T12" fmla="*/ 59 w 96"/>
                  <a:gd name="T13" fmla="*/ 12 h 26"/>
                  <a:gd name="T14" fmla="*/ 55 w 96"/>
                  <a:gd name="T15" fmla="*/ 12 h 26"/>
                  <a:gd name="T16" fmla="*/ 51 w 96"/>
                  <a:gd name="T17" fmla="*/ 16 h 26"/>
                  <a:gd name="T18" fmla="*/ 51 w 96"/>
                  <a:gd name="T19" fmla="*/ 16 h 26"/>
                  <a:gd name="T20" fmla="*/ 40 w 96"/>
                  <a:gd name="T21" fmla="*/ 10 h 26"/>
                  <a:gd name="T22" fmla="*/ 23 w 96"/>
                  <a:gd name="T23" fmla="*/ 8 h 26"/>
                  <a:gd name="T24" fmla="*/ 17 w 96"/>
                  <a:gd name="T25" fmla="*/ 8 h 26"/>
                  <a:gd name="T26" fmla="*/ 2 w 96"/>
                  <a:gd name="T27" fmla="*/ 15 h 26"/>
                  <a:gd name="T28" fmla="*/ 12 w 96"/>
                  <a:gd name="T29" fmla="*/ 23 h 26"/>
                  <a:gd name="T30" fmla="*/ 16 w 96"/>
                  <a:gd name="T31" fmla="*/ 22 h 26"/>
                  <a:gd name="T32" fmla="*/ 27 w 96"/>
                  <a:gd name="T33" fmla="*/ 22 h 26"/>
                  <a:gd name="T34" fmla="*/ 31 w 96"/>
                  <a:gd name="T35" fmla="*/ 22 h 26"/>
                  <a:gd name="T36" fmla="*/ 35 w 96"/>
                  <a:gd name="T37" fmla="*/ 26 h 26"/>
                  <a:gd name="T38" fmla="*/ 37 w 96"/>
                  <a:gd name="T39" fmla="*/ 26 h 26"/>
                  <a:gd name="T40" fmla="*/ 47 w 96"/>
                  <a:gd name="T41" fmla="*/ 22 h 26"/>
                  <a:gd name="T42" fmla="*/ 48 w 96"/>
                  <a:gd name="T43" fmla="*/ 22 h 26"/>
                  <a:gd name="T44" fmla="*/ 52 w 96"/>
                  <a:gd name="T45" fmla="*/ 23 h 26"/>
                  <a:gd name="T46" fmla="*/ 56 w 96"/>
                  <a:gd name="T47" fmla="*/ 25 h 26"/>
                  <a:gd name="T48" fmla="*/ 56 w 96"/>
                  <a:gd name="T49" fmla="*/ 25 h 26"/>
                  <a:gd name="T50" fmla="*/ 66 w 96"/>
                  <a:gd name="T51" fmla="*/ 22 h 26"/>
                  <a:gd name="T52" fmla="*/ 82 w 96"/>
                  <a:gd name="T53" fmla="*/ 18 h 26"/>
                  <a:gd name="T54" fmla="*/ 89 w 96"/>
                  <a:gd name="T55" fmla="*/ 16 h 26"/>
                  <a:gd name="T56" fmla="*/ 91 w 96"/>
                  <a:gd name="T57" fmla="*/ 13 h 26"/>
                  <a:gd name="T58" fmla="*/ 94 w 96"/>
                  <a:gd name="T59" fmla="*/ 9 h 26"/>
                  <a:gd name="T60" fmla="*/ 94 w 96"/>
                  <a:gd name="T61" fmla="*/ 9 h 26"/>
                  <a:gd name="T62" fmla="*/ 96 w 96"/>
                  <a:gd name="T63" fmla="*/ 8 h 26"/>
                  <a:gd name="T64" fmla="*/ 91 w 96"/>
                  <a:gd name="T65"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26">
                    <a:moveTo>
                      <a:pt x="91" y="0"/>
                    </a:moveTo>
                    <a:cubicBezTo>
                      <a:pt x="91" y="2"/>
                      <a:pt x="92" y="4"/>
                      <a:pt x="93" y="4"/>
                    </a:cubicBezTo>
                    <a:cubicBezTo>
                      <a:pt x="89" y="7"/>
                      <a:pt x="83" y="9"/>
                      <a:pt x="80" y="13"/>
                    </a:cubicBezTo>
                    <a:cubicBezTo>
                      <a:pt x="80" y="14"/>
                      <a:pt x="81" y="15"/>
                      <a:pt x="80" y="16"/>
                    </a:cubicBezTo>
                    <a:cubicBezTo>
                      <a:pt x="79" y="17"/>
                      <a:pt x="78" y="17"/>
                      <a:pt x="76" y="17"/>
                    </a:cubicBezTo>
                    <a:cubicBezTo>
                      <a:pt x="75" y="17"/>
                      <a:pt x="73" y="16"/>
                      <a:pt x="72" y="16"/>
                    </a:cubicBezTo>
                    <a:cubicBezTo>
                      <a:pt x="68" y="14"/>
                      <a:pt x="63" y="12"/>
                      <a:pt x="59" y="12"/>
                    </a:cubicBezTo>
                    <a:cubicBezTo>
                      <a:pt x="57" y="12"/>
                      <a:pt x="56" y="12"/>
                      <a:pt x="55" y="12"/>
                    </a:cubicBezTo>
                    <a:cubicBezTo>
                      <a:pt x="54" y="13"/>
                      <a:pt x="53" y="16"/>
                      <a:pt x="51" y="16"/>
                    </a:cubicBezTo>
                    <a:cubicBezTo>
                      <a:pt x="51" y="16"/>
                      <a:pt x="51" y="16"/>
                      <a:pt x="51" y="16"/>
                    </a:cubicBezTo>
                    <a:cubicBezTo>
                      <a:pt x="47" y="14"/>
                      <a:pt x="44" y="12"/>
                      <a:pt x="40" y="10"/>
                    </a:cubicBezTo>
                    <a:cubicBezTo>
                      <a:pt x="34" y="8"/>
                      <a:pt x="29" y="8"/>
                      <a:pt x="23" y="8"/>
                    </a:cubicBezTo>
                    <a:cubicBezTo>
                      <a:pt x="21" y="8"/>
                      <a:pt x="19" y="8"/>
                      <a:pt x="17" y="8"/>
                    </a:cubicBezTo>
                    <a:cubicBezTo>
                      <a:pt x="10" y="8"/>
                      <a:pt x="3" y="9"/>
                      <a:pt x="2" y="15"/>
                    </a:cubicBezTo>
                    <a:cubicBezTo>
                      <a:pt x="0" y="22"/>
                      <a:pt x="6" y="23"/>
                      <a:pt x="12" y="23"/>
                    </a:cubicBezTo>
                    <a:cubicBezTo>
                      <a:pt x="13" y="23"/>
                      <a:pt x="15" y="22"/>
                      <a:pt x="16" y="22"/>
                    </a:cubicBezTo>
                    <a:cubicBezTo>
                      <a:pt x="19" y="22"/>
                      <a:pt x="23" y="22"/>
                      <a:pt x="27" y="22"/>
                    </a:cubicBezTo>
                    <a:cubicBezTo>
                      <a:pt x="28" y="22"/>
                      <a:pt x="30" y="22"/>
                      <a:pt x="31" y="22"/>
                    </a:cubicBezTo>
                    <a:cubicBezTo>
                      <a:pt x="33" y="23"/>
                      <a:pt x="33" y="25"/>
                      <a:pt x="35" y="26"/>
                    </a:cubicBezTo>
                    <a:cubicBezTo>
                      <a:pt x="36" y="26"/>
                      <a:pt x="36" y="26"/>
                      <a:pt x="37" y="26"/>
                    </a:cubicBezTo>
                    <a:cubicBezTo>
                      <a:pt x="40" y="26"/>
                      <a:pt x="44" y="23"/>
                      <a:pt x="47" y="22"/>
                    </a:cubicBezTo>
                    <a:cubicBezTo>
                      <a:pt x="47" y="22"/>
                      <a:pt x="48" y="22"/>
                      <a:pt x="48" y="22"/>
                    </a:cubicBezTo>
                    <a:cubicBezTo>
                      <a:pt x="49" y="22"/>
                      <a:pt x="51" y="23"/>
                      <a:pt x="52" y="23"/>
                    </a:cubicBezTo>
                    <a:cubicBezTo>
                      <a:pt x="53" y="24"/>
                      <a:pt x="55" y="25"/>
                      <a:pt x="56" y="25"/>
                    </a:cubicBezTo>
                    <a:cubicBezTo>
                      <a:pt x="56" y="25"/>
                      <a:pt x="56" y="25"/>
                      <a:pt x="56" y="25"/>
                    </a:cubicBezTo>
                    <a:cubicBezTo>
                      <a:pt x="59" y="25"/>
                      <a:pt x="63" y="23"/>
                      <a:pt x="66" y="22"/>
                    </a:cubicBezTo>
                    <a:cubicBezTo>
                      <a:pt x="71" y="21"/>
                      <a:pt x="76" y="19"/>
                      <a:pt x="82" y="18"/>
                    </a:cubicBezTo>
                    <a:cubicBezTo>
                      <a:pt x="84" y="18"/>
                      <a:pt x="87" y="17"/>
                      <a:pt x="89" y="16"/>
                    </a:cubicBezTo>
                    <a:cubicBezTo>
                      <a:pt x="90" y="15"/>
                      <a:pt x="91" y="15"/>
                      <a:pt x="91" y="13"/>
                    </a:cubicBezTo>
                    <a:cubicBezTo>
                      <a:pt x="92" y="12"/>
                      <a:pt x="94" y="9"/>
                      <a:pt x="94" y="9"/>
                    </a:cubicBezTo>
                    <a:cubicBezTo>
                      <a:pt x="94" y="9"/>
                      <a:pt x="94" y="9"/>
                      <a:pt x="94" y="9"/>
                    </a:cubicBezTo>
                    <a:cubicBezTo>
                      <a:pt x="94" y="8"/>
                      <a:pt x="95" y="8"/>
                      <a:pt x="96" y="8"/>
                    </a:cubicBezTo>
                    <a:cubicBezTo>
                      <a:pt x="96" y="6"/>
                      <a:pt x="92" y="1"/>
                      <a:pt x="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Freeform 1232"/>
              <p:cNvSpPr/>
              <p:nvPr/>
            </p:nvSpPr>
            <p:spPr bwMode="auto">
              <a:xfrm>
                <a:off x="1537" y="1593"/>
                <a:ext cx="85" cy="55"/>
              </a:xfrm>
              <a:custGeom>
                <a:gdLst>
                  <a:gd name="T0" fmla="*/ 18 w 36"/>
                  <a:gd name="T1" fmla="*/ 0 h 23"/>
                  <a:gd name="T2" fmla="*/ 0 w 36"/>
                  <a:gd name="T3" fmla="*/ 3 h 23"/>
                  <a:gd name="T4" fmla="*/ 13 w 36"/>
                  <a:gd name="T5" fmla="*/ 12 h 23"/>
                  <a:gd name="T6" fmla="*/ 18 w 36"/>
                  <a:gd name="T7" fmla="*/ 17 h 23"/>
                  <a:gd name="T8" fmla="*/ 19 w 36"/>
                  <a:gd name="T9" fmla="*/ 23 h 23"/>
                  <a:gd name="T10" fmla="*/ 19 w 36"/>
                  <a:gd name="T11" fmla="*/ 23 h 23"/>
                  <a:gd name="T12" fmla="*/ 25 w 36"/>
                  <a:gd name="T13" fmla="*/ 17 h 23"/>
                  <a:gd name="T14" fmla="*/ 36 w 36"/>
                  <a:gd name="T15" fmla="*/ 9 h 23"/>
                  <a:gd name="T16" fmla="*/ 32 w 36"/>
                  <a:gd name="T17" fmla="*/ 5 h 23"/>
                  <a:gd name="T18" fmla="*/ 18 w 36"/>
                  <a:gd name="T19"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23">
                    <a:moveTo>
                      <a:pt x="18" y="0"/>
                    </a:moveTo>
                    <a:cubicBezTo>
                      <a:pt x="12" y="0"/>
                      <a:pt x="6" y="2"/>
                      <a:pt x="0" y="3"/>
                    </a:cubicBezTo>
                    <a:cubicBezTo>
                      <a:pt x="4" y="9"/>
                      <a:pt x="5" y="10"/>
                      <a:pt x="13" y="12"/>
                    </a:cubicBezTo>
                    <a:cubicBezTo>
                      <a:pt x="14" y="12"/>
                      <a:pt x="18" y="16"/>
                      <a:pt x="18" y="17"/>
                    </a:cubicBezTo>
                    <a:cubicBezTo>
                      <a:pt x="18" y="18"/>
                      <a:pt x="18" y="23"/>
                      <a:pt x="19" y="23"/>
                    </a:cubicBezTo>
                    <a:cubicBezTo>
                      <a:pt x="19" y="23"/>
                      <a:pt x="19" y="23"/>
                      <a:pt x="19" y="23"/>
                    </a:cubicBezTo>
                    <a:cubicBezTo>
                      <a:pt x="21" y="23"/>
                      <a:pt x="23" y="18"/>
                      <a:pt x="25" y="17"/>
                    </a:cubicBezTo>
                    <a:cubicBezTo>
                      <a:pt x="27" y="15"/>
                      <a:pt x="36" y="12"/>
                      <a:pt x="36" y="9"/>
                    </a:cubicBezTo>
                    <a:cubicBezTo>
                      <a:pt x="32" y="5"/>
                      <a:pt x="32" y="5"/>
                      <a:pt x="32" y="5"/>
                    </a:cubicBezTo>
                    <a:cubicBezTo>
                      <a:pt x="28" y="2"/>
                      <a:pt x="23"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1233"/>
              <p:cNvSpPr/>
              <p:nvPr/>
            </p:nvSpPr>
            <p:spPr bwMode="auto">
              <a:xfrm>
                <a:off x="436" y="922"/>
                <a:ext cx="12" cy="5"/>
              </a:xfrm>
              <a:custGeom>
                <a:gdLst>
                  <a:gd name="T0" fmla="*/ 1 w 5"/>
                  <a:gd name="T1" fmla="*/ 0 h 2"/>
                  <a:gd name="T2" fmla="*/ 0 w 5"/>
                  <a:gd name="T3" fmla="*/ 1 h 2"/>
                  <a:gd name="T4" fmla="*/ 5 w 5"/>
                  <a:gd name="T5" fmla="*/ 2 h 2"/>
                  <a:gd name="T6" fmla="*/ 1 w 5"/>
                  <a:gd name="T7" fmla="*/ 0 h 2"/>
                </a:gdLst>
                <a:cxnLst>
                  <a:cxn ang="0">
                    <a:pos x="T0" y="T1"/>
                  </a:cxn>
                  <a:cxn ang="0">
                    <a:pos x="T2" y="T3"/>
                  </a:cxn>
                  <a:cxn ang="0">
                    <a:pos x="T4" y="T5"/>
                  </a:cxn>
                  <a:cxn ang="0">
                    <a:pos x="T6" y="T7"/>
                  </a:cxn>
                </a:cxnLst>
                <a:rect l="0" t="0" r="r" b="b"/>
                <a:pathLst>
                  <a:path w="5" h="2">
                    <a:moveTo>
                      <a:pt x="1" y="0"/>
                    </a:moveTo>
                    <a:cubicBezTo>
                      <a:pt x="1" y="0"/>
                      <a:pt x="1" y="0"/>
                      <a:pt x="0" y="1"/>
                    </a:cubicBezTo>
                    <a:cubicBezTo>
                      <a:pt x="2" y="1"/>
                      <a:pt x="3" y="2"/>
                      <a:pt x="5" y="2"/>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Freeform 1234"/>
              <p:cNvSpPr/>
              <p:nvPr/>
            </p:nvSpPr>
            <p:spPr bwMode="auto">
              <a:xfrm>
                <a:off x="1611" y="1636"/>
                <a:ext cx="4" cy="9"/>
              </a:xfrm>
              <a:custGeom>
                <a:gdLst>
                  <a:gd name="T0" fmla="*/ 0 w 2"/>
                  <a:gd name="T1" fmla="*/ 0 h 4"/>
                  <a:gd name="T2" fmla="*/ 0 w 2"/>
                  <a:gd name="T3" fmla="*/ 0 h 4"/>
                  <a:gd name="T4" fmla="*/ 2 w 2"/>
                  <a:gd name="T5" fmla="*/ 4 h 4"/>
                  <a:gd name="T6" fmla="*/ 0 w 2"/>
                  <a:gd name="T7" fmla="*/ 0 h 4"/>
                </a:gdLst>
                <a:cxnLst>
                  <a:cxn ang="0">
                    <a:pos x="T0" y="T1"/>
                  </a:cxn>
                  <a:cxn ang="0">
                    <a:pos x="T2" y="T3"/>
                  </a:cxn>
                  <a:cxn ang="0">
                    <a:pos x="T4" y="T5"/>
                  </a:cxn>
                  <a:cxn ang="0">
                    <a:pos x="T6" y="T7"/>
                  </a:cxn>
                </a:cxnLst>
                <a:rect l="0" t="0" r="r" b="b"/>
                <a:pathLst>
                  <a:path w="2" h="4">
                    <a:moveTo>
                      <a:pt x="0" y="0"/>
                    </a:moveTo>
                    <a:cubicBezTo>
                      <a:pt x="0" y="0"/>
                      <a:pt x="0" y="0"/>
                      <a:pt x="0" y="0"/>
                    </a:cubicBezTo>
                    <a:cubicBezTo>
                      <a:pt x="0" y="1"/>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1235"/>
              <p:cNvSpPr/>
              <p:nvPr/>
            </p:nvSpPr>
            <p:spPr bwMode="auto">
              <a:xfrm>
                <a:off x="1006" y="1239"/>
                <a:ext cx="11" cy="7"/>
              </a:xfrm>
              <a:custGeom>
                <a:gdLst>
                  <a:gd name="T0" fmla="*/ 3 w 5"/>
                  <a:gd name="T1" fmla="*/ 0 h 3"/>
                  <a:gd name="T2" fmla="*/ 0 w 5"/>
                  <a:gd name="T3" fmla="*/ 1 h 3"/>
                  <a:gd name="T4" fmla="*/ 4 w 5"/>
                  <a:gd name="T5" fmla="*/ 3 h 3"/>
                  <a:gd name="T6" fmla="*/ 3 w 5"/>
                  <a:gd name="T7" fmla="*/ 0 h 3"/>
                </a:gdLst>
                <a:cxnLst>
                  <a:cxn ang="0">
                    <a:pos x="T0" y="T1"/>
                  </a:cxn>
                  <a:cxn ang="0">
                    <a:pos x="T2" y="T3"/>
                  </a:cxn>
                  <a:cxn ang="0">
                    <a:pos x="T4" y="T5"/>
                  </a:cxn>
                  <a:cxn ang="0">
                    <a:pos x="T6" y="T7"/>
                  </a:cxn>
                </a:cxnLst>
                <a:rect l="0" t="0" r="r" b="b"/>
                <a:pathLst>
                  <a:path w="5" h="3">
                    <a:moveTo>
                      <a:pt x="3" y="0"/>
                    </a:moveTo>
                    <a:cubicBezTo>
                      <a:pt x="2" y="0"/>
                      <a:pt x="1" y="1"/>
                      <a:pt x="0" y="1"/>
                    </a:cubicBezTo>
                    <a:cubicBezTo>
                      <a:pt x="1" y="3"/>
                      <a:pt x="3" y="3"/>
                      <a:pt x="4" y="3"/>
                    </a:cubicBezTo>
                    <a:cubicBezTo>
                      <a:pt x="5" y="3"/>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5" name="Freeform 1236"/>
              <p:cNvSpPr/>
              <p:nvPr/>
            </p:nvSpPr>
            <p:spPr bwMode="auto">
              <a:xfrm>
                <a:off x="781" y="1055"/>
                <a:ext cx="19" cy="9"/>
              </a:xfrm>
              <a:custGeom>
                <a:gdLst>
                  <a:gd name="T0" fmla="*/ 4 w 8"/>
                  <a:gd name="T1" fmla="*/ 0 h 4"/>
                  <a:gd name="T2" fmla="*/ 0 w 8"/>
                  <a:gd name="T3" fmla="*/ 4 h 4"/>
                  <a:gd name="T4" fmla="*/ 8 w 8"/>
                  <a:gd name="T5" fmla="*/ 2 h 4"/>
                  <a:gd name="T6" fmla="*/ 4 w 8"/>
                  <a:gd name="T7" fmla="*/ 0 h 4"/>
                </a:gdLst>
                <a:cxnLst>
                  <a:cxn ang="0">
                    <a:pos x="T0" y="T1"/>
                  </a:cxn>
                  <a:cxn ang="0">
                    <a:pos x="T2" y="T3"/>
                  </a:cxn>
                  <a:cxn ang="0">
                    <a:pos x="T4" y="T5"/>
                  </a:cxn>
                  <a:cxn ang="0">
                    <a:pos x="T6" y="T7"/>
                  </a:cxn>
                </a:cxnLst>
                <a:rect l="0" t="0" r="r" b="b"/>
                <a:pathLst>
                  <a:path w="8" h="4">
                    <a:moveTo>
                      <a:pt x="4" y="0"/>
                    </a:moveTo>
                    <a:cubicBezTo>
                      <a:pt x="2" y="0"/>
                      <a:pt x="1" y="1"/>
                      <a:pt x="0" y="4"/>
                    </a:cubicBezTo>
                    <a:cubicBezTo>
                      <a:pt x="3" y="3"/>
                      <a:pt x="6" y="2"/>
                      <a:pt x="8" y="2"/>
                    </a:cubicBezTo>
                    <a:cubicBezTo>
                      <a:pt x="7"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Freeform 1237"/>
              <p:cNvSpPr/>
              <p:nvPr/>
            </p:nvSpPr>
            <p:spPr bwMode="auto">
              <a:xfrm>
                <a:off x="890" y="1142"/>
                <a:ext cx="125" cy="111"/>
              </a:xfrm>
              <a:custGeom>
                <a:gdLst>
                  <a:gd name="T0" fmla="*/ 25 w 53"/>
                  <a:gd name="T1" fmla="*/ 0 h 47"/>
                  <a:gd name="T2" fmla="*/ 20 w 53"/>
                  <a:gd name="T3" fmla="*/ 1 h 47"/>
                  <a:gd name="T4" fmla="*/ 22 w 53"/>
                  <a:gd name="T5" fmla="*/ 9 h 47"/>
                  <a:gd name="T6" fmla="*/ 15 w 53"/>
                  <a:gd name="T7" fmla="*/ 1 h 47"/>
                  <a:gd name="T8" fmla="*/ 12 w 53"/>
                  <a:gd name="T9" fmla="*/ 2 h 47"/>
                  <a:gd name="T10" fmla="*/ 9 w 53"/>
                  <a:gd name="T11" fmla="*/ 5 h 47"/>
                  <a:gd name="T12" fmla="*/ 9 w 53"/>
                  <a:gd name="T13" fmla="*/ 10 h 47"/>
                  <a:gd name="T14" fmla="*/ 7 w 53"/>
                  <a:gd name="T15" fmla="*/ 17 h 47"/>
                  <a:gd name="T16" fmla="*/ 9 w 53"/>
                  <a:gd name="T17" fmla="*/ 18 h 47"/>
                  <a:gd name="T18" fmla="*/ 10 w 53"/>
                  <a:gd name="T19" fmla="*/ 18 h 47"/>
                  <a:gd name="T20" fmla="*/ 13 w 53"/>
                  <a:gd name="T21" fmla="*/ 18 h 47"/>
                  <a:gd name="T22" fmla="*/ 16 w 53"/>
                  <a:gd name="T23" fmla="*/ 17 h 47"/>
                  <a:gd name="T24" fmla="*/ 17 w 53"/>
                  <a:gd name="T25" fmla="*/ 18 h 47"/>
                  <a:gd name="T26" fmla="*/ 18 w 53"/>
                  <a:gd name="T27" fmla="*/ 18 h 47"/>
                  <a:gd name="T28" fmla="*/ 19 w 53"/>
                  <a:gd name="T29" fmla="*/ 18 h 47"/>
                  <a:gd name="T30" fmla="*/ 19 w 53"/>
                  <a:gd name="T31" fmla="*/ 18 h 47"/>
                  <a:gd name="T32" fmla="*/ 21 w 53"/>
                  <a:gd name="T33" fmla="*/ 19 h 47"/>
                  <a:gd name="T34" fmla="*/ 23 w 53"/>
                  <a:gd name="T35" fmla="*/ 25 h 47"/>
                  <a:gd name="T36" fmla="*/ 26 w 53"/>
                  <a:gd name="T37" fmla="*/ 30 h 47"/>
                  <a:gd name="T38" fmla="*/ 27 w 53"/>
                  <a:gd name="T39" fmla="*/ 37 h 47"/>
                  <a:gd name="T40" fmla="*/ 29 w 53"/>
                  <a:gd name="T41" fmla="*/ 39 h 47"/>
                  <a:gd name="T42" fmla="*/ 33 w 53"/>
                  <a:gd name="T43" fmla="*/ 40 h 47"/>
                  <a:gd name="T44" fmla="*/ 48 w 53"/>
                  <a:gd name="T45" fmla="*/ 47 h 47"/>
                  <a:gd name="T46" fmla="*/ 50 w 53"/>
                  <a:gd name="T47" fmla="*/ 46 h 47"/>
                  <a:gd name="T48" fmla="*/ 46 w 53"/>
                  <a:gd name="T49" fmla="*/ 42 h 47"/>
                  <a:gd name="T50" fmla="*/ 53 w 53"/>
                  <a:gd name="T51" fmla="*/ 31 h 47"/>
                  <a:gd name="T52" fmla="*/ 37 w 53"/>
                  <a:gd name="T53" fmla="*/ 26 h 47"/>
                  <a:gd name="T54" fmla="*/ 32 w 53"/>
                  <a:gd name="T55" fmla="*/ 14 h 47"/>
                  <a:gd name="T56" fmla="*/ 29 w 53"/>
                  <a:gd name="T57" fmla="*/ 2 h 47"/>
                  <a:gd name="T58" fmla="*/ 25 w 53"/>
                  <a:gd name="T59"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47">
                    <a:moveTo>
                      <a:pt x="25" y="0"/>
                    </a:moveTo>
                    <a:cubicBezTo>
                      <a:pt x="23" y="0"/>
                      <a:pt x="21" y="1"/>
                      <a:pt x="20" y="1"/>
                    </a:cubicBezTo>
                    <a:cubicBezTo>
                      <a:pt x="21" y="3"/>
                      <a:pt x="21" y="6"/>
                      <a:pt x="22" y="9"/>
                    </a:cubicBezTo>
                    <a:cubicBezTo>
                      <a:pt x="20" y="5"/>
                      <a:pt x="18" y="1"/>
                      <a:pt x="15" y="1"/>
                    </a:cubicBezTo>
                    <a:cubicBezTo>
                      <a:pt x="14" y="1"/>
                      <a:pt x="13" y="2"/>
                      <a:pt x="12" y="2"/>
                    </a:cubicBezTo>
                    <a:cubicBezTo>
                      <a:pt x="11" y="3"/>
                      <a:pt x="9" y="4"/>
                      <a:pt x="9" y="5"/>
                    </a:cubicBezTo>
                    <a:cubicBezTo>
                      <a:pt x="9" y="7"/>
                      <a:pt x="12" y="8"/>
                      <a:pt x="9" y="10"/>
                    </a:cubicBezTo>
                    <a:cubicBezTo>
                      <a:pt x="4" y="14"/>
                      <a:pt x="0" y="16"/>
                      <a:pt x="7" y="17"/>
                    </a:cubicBezTo>
                    <a:cubicBezTo>
                      <a:pt x="7" y="17"/>
                      <a:pt x="8" y="18"/>
                      <a:pt x="9" y="18"/>
                    </a:cubicBezTo>
                    <a:cubicBezTo>
                      <a:pt x="9" y="18"/>
                      <a:pt x="10" y="18"/>
                      <a:pt x="10" y="18"/>
                    </a:cubicBezTo>
                    <a:cubicBezTo>
                      <a:pt x="11" y="18"/>
                      <a:pt x="12" y="18"/>
                      <a:pt x="13" y="18"/>
                    </a:cubicBezTo>
                    <a:cubicBezTo>
                      <a:pt x="14" y="18"/>
                      <a:pt x="15" y="17"/>
                      <a:pt x="16" y="17"/>
                    </a:cubicBezTo>
                    <a:cubicBezTo>
                      <a:pt x="17" y="18"/>
                      <a:pt x="17" y="18"/>
                      <a:pt x="17" y="18"/>
                    </a:cubicBezTo>
                    <a:cubicBezTo>
                      <a:pt x="17" y="18"/>
                      <a:pt x="18" y="18"/>
                      <a:pt x="18" y="18"/>
                    </a:cubicBezTo>
                    <a:cubicBezTo>
                      <a:pt x="18" y="18"/>
                      <a:pt x="18" y="18"/>
                      <a:pt x="19" y="18"/>
                    </a:cubicBezTo>
                    <a:cubicBezTo>
                      <a:pt x="19" y="18"/>
                      <a:pt x="19" y="18"/>
                      <a:pt x="19" y="18"/>
                    </a:cubicBezTo>
                    <a:cubicBezTo>
                      <a:pt x="20" y="18"/>
                      <a:pt x="21" y="18"/>
                      <a:pt x="21" y="19"/>
                    </a:cubicBezTo>
                    <a:cubicBezTo>
                      <a:pt x="22" y="21"/>
                      <a:pt x="22" y="24"/>
                      <a:pt x="23" y="25"/>
                    </a:cubicBezTo>
                    <a:cubicBezTo>
                      <a:pt x="24" y="27"/>
                      <a:pt x="26" y="28"/>
                      <a:pt x="26" y="30"/>
                    </a:cubicBezTo>
                    <a:cubicBezTo>
                      <a:pt x="27" y="32"/>
                      <a:pt x="27" y="34"/>
                      <a:pt x="27" y="37"/>
                    </a:cubicBezTo>
                    <a:cubicBezTo>
                      <a:pt x="28" y="38"/>
                      <a:pt x="28" y="38"/>
                      <a:pt x="29" y="39"/>
                    </a:cubicBezTo>
                    <a:cubicBezTo>
                      <a:pt x="29" y="39"/>
                      <a:pt x="32" y="40"/>
                      <a:pt x="33" y="40"/>
                    </a:cubicBezTo>
                    <a:cubicBezTo>
                      <a:pt x="34" y="41"/>
                      <a:pt x="43" y="47"/>
                      <a:pt x="48" y="47"/>
                    </a:cubicBezTo>
                    <a:cubicBezTo>
                      <a:pt x="49" y="47"/>
                      <a:pt x="49" y="47"/>
                      <a:pt x="50" y="46"/>
                    </a:cubicBezTo>
                    <a:cubicBezTo>
                      <a:pt x="51" y="43"/>
                      <a:pt x="46" y="43"/>
                      <a:pt x="46" y="42"/>
                    </a:cubicBezTo>
                    <a:cubicBezTo>
                      <a:pt x="44" y="38"/>
                      <a:pt x="51" y="33"/>
                      <a:pt x="53" y="31"/>
                    </a:cubicBezTo>
                    <a:cubicBezTo>
                      <a:pt x="48" y="30"/>
                      <a:pt x="39" y="31"/>
                      <a:pt x="37" y="26"/>
                    </a:cubicBezTo>
                    <a:cubicBezTo>
                      <a:pt x="35" y="22"/>
                      <a:pt x="34" y="18"/>
                      <a:pt x="32" y="14"/>
                    </a:cubicBezTo>
                    <a:cubicBezTo>
                      <a:pt x="31" y="11"/>
                      <a:pt x="31" y="5"/>
                      <a:pt x="29" y="2"/>
                    </a:cubicBezTo>
                    <a:cubicBezTo>
                      <a:pt x="27" y="1"/>
                      <a:pt x="26"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Freeform 1238"/>
              <p:cNvSpPr/>
              <p:nvPr/>
            </p:nvSpPr>
            <p:spPr bwMode="auto">
              <a:xfrm>
                <a:off x="1060" y="1213"/>
                <a:ext cx="54" cy="47"/>
              </a:xfrm>
              <a:custGeom>
                <a:gdLst>
                  <a:gd name="T0" fmla="*/ 8 w 23"/>
                  <a:gd name="T1" fmla="*/ 0 h 20"/>
                  <a:gd name="T2" fmla="*/ 4 w 23"/>
                  <a:gd name="T3" fmla="*/ 1 h 20"/>
                  <a:gd name="T4" fmla="*/ 4 w 23"/>
                  <a:gd name="T5" fmla="*/ 5 h 20"/>
                  <a:gd name="T6" fmla="*/ 2 w 23"/>
                  <a:gd name="T7" fmla="*/ 11 h 20"/>
                  <a:gd name="T8" fmla="*/ 2 w 23"/>
                  <a:gd name="T9" fmla="*/ 11 h 20"/>
                  <a:gd name="T10" fmla="*/ 3 w 23"/>
                  <a:gd name="T11" fmla="*/ 20 h 20"/>
                  <a:gd name="T12" fmla="*/ 4 w 23"/>
                  <a:gd name="T13" fmla="*/ 20 h 20"/>
                  <a:gd name="T14" fmla="*/ 11 w 23"/>
                  <a:gd name="T15" fmla="*/ 15 h 20"/>
                  <a:gd name="T16" fmla="*/ 17 w 23"/>
                  <a:gd name="T17" fmla="*/ 20 h 20"/>
                  <a:gd name="T18" fmla="*/ 20 w 23"/>
                  <a:gd name="T19" fmla="*/ 18 h 20"/>
                  <a:gd name="T20" fmla="*/ 22 w 23"/>
                  <a:gd name="T21" fmla="*/ 8 h 20"/>
                  <a:gd name="T22" fmla="*/ 19 w 23"/>
                  <a:gd name="T23" fmla="*/ 4 h 20"/>
                  <a:gd name="T24" fmla="*/ 8 w 23"/>
                  <a:gd name="T25"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0">
                    <a:moveTo>
                      <a:pt x="8" y="0"/>
                    </a:moveTo>
                    <a:cubicBezTo>
                      <a:pt x="7" y="0"/>
                      <a:pt x="5" y="0"/>
                      <a:pt x="4" y="1"/>
                    </a:cubicBezTo>
                    <a:cubicBezTo>
                      <a:pt x="4" y="2"/>
                      <a:pt x="4" y="4"/>
                      <a:pt x="4" y="5"/>
                    </a:cubicBezTo>
                    <a:cubicBezTo>
                      <a:pt x="3" y="6"/>
                      <a:pt x="0" y="11"/>
                      <a:pt x="2" y="11"/>
                    </a:cubicBezTo>
                    <a:cubicBezTo>
                      <a:pt x="2" y="11"/>
                      <a:pt x="2" y="11"/>
                      <a:pt x="2" y="11"/>
                    </a:cubicBezTo>
                    <a:cubicBezTo>
                      <a:pt x="2" y="12"/>
                      <a:pt x="2" y="19"/>
                      <a:pt x="3" y="20"/>
                    </a:cubicBezTo>
                    <a:cubicBezTo>
                      <a:pt x="3" y="20"/>
                      <a:pt x="4" y="20"/>
                      <a:pt x="4" y="20"/>
                    </a:cubicBezTo>
                    <a:cubicBezTo>
                      <a:pt x="6" y="20"/>
                      <a:pt x="10" y="16"/>
                      <a:pt x="11" y="15"/>
                    </a:cubicBezTo>
                    <a:cubicBezTo>
                      <a:pt x="12" y="17"/>
                      <a:pt x="14" y="19"/>
                      <a:pt x="17" y="20"/>
                    </a:cubicBezTo>
                    <a:cubicBezTo>
                      <a:pt x="17" y="19"/>
                      <a:pt x="19" y="18"/>
                      <a:pt x="20" y="18"/>
                    </a:cubicBezTo>
                    <a:cubicBezTo>
                      <a:pt x="19" y="15"/>
                      <a:pt x="23" y="11"/>
                      <a:pt x="22" y="8"/>
                    </a:cubicBezTo>
                    <a:cubicBezTo>
                      <a:pt x="22" y="6"/>
                      <a:pt x="20" y="5"/>
                      <a:pt x="19" y="4"/>
                    </a:cubicBezTo>
                    <a:cubicBezTo>
                      <a:pt x="16" y="2"/>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Freeform 1239"/>
              <p:cNvSpPr/>
              <p:nvPr/>
            </p:nvSpPr>
            <p:spPr bwMode="auto">
              <a:xfrm>
                <a:off x="2700" y="1312"/>
                <a:ext cx="2" cy="7"/>
              </a:xfrm>
              <a:custGeom>
                <a:gdLst>
                  <a:gd name="T0" fmla="*/ 0 w 1"/>
                  <a:gd name="T1" fmla="*/ 0 h 3"/>
                  <a:gd name="T2" fmla="*/ 0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0"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Freeform 1240"/>
              <p:cNvSpPr/>
              <p:nvPr/>
            </p:nvSpPr>
            <p:spPr bwMode="auto">
              <a:xfrm>
                <a:off x="2454" y="1232"/>
                <a:ext cx="211" cy="73"/>
              </a:xfrm>
              <a:custGeom>
                <a:gdLst>
                  <a:gd name="T0" fmla="*/ 48 w 89"/>
                  <a:gd name="T1" fmla="*/ 0 h 31"/>
                  <a:gd name="T2" fmla="*/ 43 w 89"/>
                  <a:gd name="T3" fmla="*/ 2 h 31"/>
                  <a:gd name="T4" fmla="*/ 39 w 89"/>
                  <a:gd name="T5" fmla="*/ 4 h 31"/>
                  <a:gd name="T6" fmla="*/ 36 w 89"/>
                  <a:gd name="T7" fmla="*/ 3 h 31"/>
                  <a:gd name="T8" fmla="*/ 35 w 89"/>
                  <a:gd name="T9" fmla="*/ 0 h 31"/>
                  <a:gd name="T10" fmla="*/ 35 w 89"/>
                  <a:gd name="T11" fmla="*/ 0 h 31"/>
                  <a:gd name="T12" fmla="*/ 32 w 89"/>
                  <a:gd name="T13" fmla="*/ 2 h 31"/>
                  <a:gd name="T14" fmla="*/ 26 w 89"/>
                  <a:gd name="T15" fmla="*/ 2 h 31"/>
                  <a:gd name="T16" fmla="*/ 21 w 89"/>
                  <a:gd name="T17" fmla="*/ 2 h 31"/>
                  <a:gd name="T18" fmla="*/ 17 w 89"/>
                  <a:gd name="T19" fmla="*/ 2 h 31"/>
                  <a:gd name="T20" fmla="*/ 15 w 89"/>
                  <a:gd name="T21" fmla="*/ 2 h 31"/>
                  <a:gd name="T22" fmla="*/ 7 w 89"/>
                  <a:gd name="T23" fmla="*/ 5 h 31"/>
                  <a:gd name="T24" fmla="*/ 0 w 89"/>
                  <a:gd name="T25" fmla="*/ 10 h 31"/>
                  <a:gd name="T26" fmla="*/ 3 w 89"/>
                  <a:gd name="T27" fmla="*/ 17 h 31"/>
                  <a:gd name="T28" fmla="*/ 2 w 89"/>
                  <a:gd name="T29" fmla="*/ 22 h 31"/>
                  <a:gd name="T30" fmla="*/ 6 w 89"/>
                  <a:gd name="T31" fmla="*/ 16 h 31"/>
                  <a:gd name="T32" fmla="*/ 7 w 89"/>
                  <a:gd name="T33" fmla="*/ 11 h 31"/>
                  <a:gd name="T34" fmla="*/ 9 w 89"/>
                  <a:gd name="T35" fmla="*/ 8 h 31"/>
                  <a:gd name="T36" fmla="*/ 10 w 89"/>
                  <a:gd name="T37" fmla="*/ 8 h 31"/>
                  <a:gd name="T38" fmla="*/ 10 w 89"/>
                  <a:gd name="T39" fmla="*/ 10 h 31"/>
                  <a:gd name="T40" fmla="*/ 10 w 89"/>
                  <a:gd name="T41" fmla="*/ 12 h 31"/>
                  <a:gd name="T42" fmla="*/ 13 w 89"/>
                  <a:gd name="T43" fmla="*/ 13 h 31"/>
                  <a:gd name="T44" fmla="*/ 18 w 89"/>
                  <a:gd name="T45" fmla="*/ 19 h 31"/>
                  <a:gd name="T46" fmla="*/ 19 w 89"/>
                  <a:gd name="T47" fmla="*/ 19 h 31"/>
                  <a:gd name="T48" fmla="*/ 28 w 89"/>
                  <a:gd name="T49" fmla="*/ 13 h 31"/>
                  <a:gd name="T50" fmla="*/ 30 w 89"/>
                  <a:gd name="T51" fmla="*/ 12 h 31"/>
                  <a:gd name="T52" fmla="*/ 31 w 89"/>
                  <a:gd name="T53" fmla="*/ 14 h 31"/>
                  <a:gd name="T54" fmla="*/ 45 w 89"/>
                  <a:gd name="T55" fmla="*/ 17 h 31"/>
                  <a:gd name="T56" fmla="*/ 47 w 89"/>
                  <a:gd name="T57" fmla="*/ 17 h 31"/>
                  <a:gd name="T58" fmla="*/ 49 w 89"/>
                  <a:gd name="T59" fmla="*/ 17 h 31"/>
                  <a:gd name="T60" fmla="*/ 50 w 89"/>
                  <a:gd name="T61" fmla="*/ 17 h 31"/>
                  <a:gd name="T62" fmla="*/ 51 w 89"/>
                  <a:gd name="T63" fmla="*/ 15 h 31"/>
                  <a:gd name="T64" fmla="*/ 55 w 89"/>
                  <a:gd name="T65" fmla="*/ 15 h 31"/>
                  <a:gd name="T66" fmla="*/ 87 w 89"/>
                  <a:gd name="T67" fmla="*/ 31 h 31"/>
                  <a:gd name="T68" fmla="*/ 86 w 89"/>
                  <a:gd name="T69" fmla="*/ 20 h 31"/>
                  <a:gd name="T70" fmla="*/ 84 w 89"/>
                  <a:gd name="T71" fmla="*/ 17 h 31"/>
                  <a:gd name="T72" fmla="*/ 81 w 89"/>
                  <a:gd name="T73" fmla="*/ 14 h 31"/>
                  <a:gd name="T74" fmla="*/ 71 w 89"/>
                  <a:gd name="T75" fmla="*/ 5 h 31"/>
                  <a:gd name="T76" fmla="*/ 58 w 89"/>
                  <a:gd name="T77" fmla="*/ 3 h 31"/>
                  <a:gd name="T78" fmla="*/ 51 w 89"/>
                  <a:gd name="T79" fmla="*/ 0 h 31"/>
                  <a:gd name="T80" fmla="*/ 48 w 89"/>
                  <a:gd name="T81"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9" h="31">
                    <a:moveTo>
                      <a:pt x="48" y="0"/>
                    </a:moveTo>
                    <a:cubicBezTo>
                      <a:pt x="46" y="0"/>
                      <a:pt x="45" y="1"/>
                      <a:pt x="43" y="2"/>
                    </a:cubicBezTo>
                    <a:cubicBezTo>
                      <a:pt x="41" y="3"/>
                      <a:pt x="40" y="4"/>
                      <a:pt x="39" y="4"/>
                    </a:cubicBezTo>
                    <a:cubicBezTo>
                      <a:pt x="38" y="4"/>
                      <a:pt x="37" y="4"/>
                      <a:pt x="36" y="3"/>
                    </a:cubicBezTo>
                    <a:cubicBezTo>
                      <a:pt x="35" y="2"/>
                      <a:pt x="37" y="0"/>
                      <a:pt x="35" y="0"/>
                    </a:cubicBezTo>
                    <a:cubicBezTo>
                      <a:pt x="35" y="0"/>
                      <a:pt x="35" y="0"/>
                      <a:pt x="35" y="0"/>
                    </a:cubicBezTo>
                    <a:cubicBezTo>
                      <a:pt x="34" y="0"/>
                      <a:pt x="32" y="1"/>
                      <a:pt x="32" y="2"/>
                    </a:cubicBezTo>
                    <a:cubicBezTo>
                      <a:pt x="30" y="2"/>
                      <a:pt x="28" y="2"/>
                      <a:pt x="26" y="2"/>
                    </a:cubicBezTo>
                    <a:cubicBezTo>
                      <a:pt x="25" y="2"/>
                      <a:pt x="23" y="2"/>
                      <a:pt x="21" y="2"/>
                    </a:cubicBezTo>
                    <a:cubicBezTo>
                      <a:pt x="20" y="2"/>
                      <a:pt x="18" y="2"/>
                      <a:pt x="17" y="2"/>
                    </a:cubicBezTo>
                    <a:cubicBezTo>
                      <a:pt x="16" y="2"/>
                      <a:pt x="16" y="2"/>
                      <a:pt x="15" y="2"/>
                    </a:cubicBezTo>
                    <a:cubicBezTo>
                      <a:pt x="12" y="2"/>
                      <a:pt x="8" y="1"/>
                      <a:pt x="7" y="5"/>
                    </a:cubicBezTo>
                    <a:cubicBezTo>
                      <a:pt x="6" y="8"/>
                      <a:pt x="3" y="10"/>
                      <a:pt x="0" y="10"/>
                    </a:cubicBezTo>
                    <a:cubicBezTo>
                      <a:pt x="1" y="13"/>
                      <a:pt x="3" y="15"/>
                      <a:pt x="3" y="17"/>
                    </a:cubicBezTo>
                    <a:cubicBezTo>
                      <a:pt x="3" y="19"/>
                      <a:pt x="1" y="20"/>
                      <a:pt x="2" y="22"/>
                    </a:cubicBezTo>
                    <a:cubicBezTo>
                      <a:pt x="3" y="20"/>
                      <a:pt x="5" y="18"/>
                      <a:pt x="6" y="16"/>
                    </a:cubicBezTo>
                    <a:cubicBezTo>
                      <a:pt x="6" y="15"/>
                      <a:pt x="6" y="13"/>
                      <a:pt x="7" y="11"/>
                    </a:cubicBezTo>
                    <a:cubicBezTo>
                      <a:pt x="7" y="11"/>
                      <a:pt x="8" y="9"/>
                      <a:pt x="9" y="8"/>
                    </a:cubicBezTo>
                    <a:cubicBezTo>
                      <a:pt x="9" y="8"/>
                      <a:pt x="9" y="8"/>
                      <a:pt x="10" y="8"/>
                    </a:cubicBezTo>
                    <a:cubicBezTo>
                      <a:pt x="10" y="8"/>
                      <a:pt x="9" y="9"/>
                      <a:pt x="10" y="10"/>
                    </a:cubicBezTo>
                    <a:cubicBezTo>
                      <a:pt x="10" y="12"/>
                      <a:pt x="10" y="12"/>
                      <a:pt x="10" y="12"/>
                    </a:cubicBezTo>
                    <a:cubicBezTo>
                      <a:pt x="11" y="12"/>
                      <a:pt x="12" y="12"/>
                      <a:pt x="13" y="13"/>
                    </a:cubicBezTo>
                    <a:cubicBezTo>
                      <a:pt x="15" y="14"/>
                      <a:pt x="16" y="18"/>
                      <a:pt x="18" y="19"/>
                    </a:cubicBezTo>
                    <a:cubicBezTo>
                      <a:pt x="18" y="19"/>
                      <a:pt x="19" y="19"/>
                      <a:pt x="19" y="19"/>
                    </a:cubicBezTo>
                    <a:cubicBezTo>
                      <a:pt x="23" y="19"/>
                      <a:pt x="25" y="15"/>
                      <a:pt x="28" y="13"/>
                    </a:cubicBezTo>
                    <a:cubicBezTo>
                      <a:pt x="29" y="13"/>
                      <a:pt x="30" y="12"/>
                      <a:pt x="30" y="12"/>
                    </a:cubicBezTo>
                    <a:cubicBezTo>
                      <a:pt x="31" y="12"/>
                      <a:pt x="31" y="13"/>
                      <a:pt x="31" y="14"/>
                    </a:cubicBezTo>
                    <a:cubicBezTo>
                      <a:pt x="33" y="17"/>
                      <a:pt x="39" y="17"/>
                      <a:pt x="45" y="17"/>
                    </a:cubicBezTo>
                    <a:cubicBezTo>
                      <a:pt x="46" y="17"/>
                      <a:pt x="46" y="17"/>
                      <a:pt x="47" y="17"/>
                    </a:cubicBezTo>
                    <a:cubicBezTo>
                      <a:pt x="48" y="17"/>
                      <a:pt x="49" y="17"/>
                      <a:pt x="49" y="17"/>
                    </a:cubicBezTo>
                    <a:cubicBezTo>
                      <a:pt x="50" y="17"/>
                      <a:pt x="50" y="17"/>
                      <a:pt x="50" y="17"/>
                    </a:cubicBezTo>
                    <a:cubicBezTo>
                      <a:pt x="47" y="15"/>
                      <a:pt x="49" y="15"/>
                      <a:pt x="51" y="15"/>
                    </a:cubicBezTo>
                    <a:cubicBezTo>
                      <a:pt x="52" y="15"/>
                      <a:pt x="54" y="15"/>
                      <a:pt x="55" y="15"/>
                    </a:cubicBezTo>
                    <a:cubicBezTo>
                      <a:pt x="67" y="16"/>
                      <a:pt x="77" y="25"/>
                      <a:pt x="87" y="31"/>
                    </a:cubicBezTo>
                    <a:cubicBezTo>
                      <a:pt x="87" y="27"/>
                      <a:pt x="89" y="23"/>
                      <a:pt x="86" y="20"/>
                    </a:cubicBezTo>
                    <a:cubicBezTo>
                      <a:pt x="86" y="18"/>
                      <a:pt x="85" y="19"/>
                      <a:pt x="84" y="17"/>
                    </a:cubicBezTo>
                    <a:cubicBezTo>
                      <a:pt x="82" y="16"/>
                      <a:pt x="82" y="17"/>
                      <a:pt x="81" y="14"/>
                    </a:cubicBezTo>
                    <a:cubicBezTo>
                      <a:pt x="80" y="10"/>
                      <a:pt x="76" y="6"/>
                      <a:pt x="71" y="5"/>
                    </a:cubicBezTo>
                    <a:cubicBezTo>
                      <a:pt x="66" y="5"/>
                      <a:pt x="62" y="5"/>
                      <a:pt x="58" y="3"/>
                    </a:cubicBezTo>
                    <a:cubicBezTo>
                      <a:pt x="56" y="2"/>
                      <a:pt x="54" y="1"/>
                      <a:pt x="51" y="0"/>
                    </a:cubicBezTo>
                    <a:cubicBezTo>
                      <a:pt x="50" y="0"/>
                      <a:pt x="49"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Freeform 1241"/>
              <p:cNvSpPr/>
              <p:nvPr/>
            </p:nvSpPr>
            <p:spPr bwMode="auto">
              <a:xfrm>
                <a:off x="774" y="962"/>
                <a:ext cx="7" cy="7"/>
              </a:xfrm>
              <a:custGeom>
                <a:gdLst>
                  <a:gd name="T0" fmla="*/ 1 w 3"/>
                  <a:gd name="T1" fmla="*/ 0 h 3"/>
                  <a:gd name="T2" fmla="*/ 0 w 3"/>
                  <a:gd name="T3" fmla="*/ 0 h 3"/>
                  <a:gd name="T4" fmla="*/ 3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0" y="0"/>
                      <a:pt x="0" y="0"/>
                      <a:pt x="0" y="0"/>
                    </a:cubicBezTo>
                    <a:cubicBezTo>
                      <a:pt x="1" y="1"/>
                      <a:pt x="2" y="2"/>
                      <a:pt x="3" y="3"/>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Freeform 1242"/>
              <p:cNvSpPr/>
              <p:nvPr/>
            </p:nvSpPr>
            <p:spPr bwMode="auto">
              <a:xfrm>
                <a:off x="800" y="979"/>
                <a:ext cx="7" cy="7"/>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2"/>
                      <a:pt x="3" y="3"/>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1243"/>
              <p:cNvSpPr/>
              <p:nvPr/>
            </p:nvSpPr>
            <p:spPr bwMode="auto">
              <a:xfrm>
                <a:off x="2320" y="1251"/>
                <a:ext cx="96" cy="52"/>
              </a:xfrm>
              <a:custGeom>
                <a:gdLst>
                  <a:gd name="T0" fmla="*/ 20 w 41"/>
                  <a:gd name="T1" fmla="*/ 0 h 22"/>
                  <a:gd name="T2" fmla="*/ 16 w 41"/>
                  <a:gd name="T3" fmla="*/ 0 h 22"/>
                  <a:gd name="T4" fmla="*/ 5 w 41"/>
                  <a:gd name="T5" fmla="*/ 10 h 22"/>
                  <a:gd name="T6" fmla="*/ 10 w 41"/>
                  <a:gd name="T7" fmla="*/ 15 h 22"/>
                  <a:gd name="T8" fmla="*/ 24 w 41"/>
                  <a:gd name="T9" fmla="*/ 22 h 22"/>
                  <a:gd name="T10" fmla="*/ 24 w 41"/>
                  <a:gd name="T11" fmla="*/ 22 h 22"/>
                  <a:gd name="T12" fmla="*/ 40 w 41"/>
                  <a:gd name="T13" fmla="*/ 15 h 22"/>
                  <a:gd name="T14" fmla="*/ 40 w 41"/>
                  <a:gd name="T15" fmla="*/ 8 h 22"/>
                  <a:gd name="T16" fmla="*/ 37 w 41"/>
                  <a:gd name="T17" fmla="*/ 6 h 22"/>
                  <a:gd name="T18" fmla="*/ 33 w 41"/>
                  <a:gd name="T19" fmla="*/ 2 h 22"/>
                  <a:gd name="T20" fmla="*/ 20 w 41"/>
                  <a:gd name="T21"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2">
                    <a:moveTo>
                      <a:pt x="20" y="0"/>
                    </a:moveTo>
                    <a:cubicBezTo>
                      <a:pt x="18" y="0"/>
                      <a:pt x="17" y="0"/>
                      <a:pt x="16" y="0"/>
                    </a:cubicBezTo>
                    <a:cubicBezTo>
                      <a:pt x="10" y="1"/>
                      <a:pt x="0" y="1"/>
                      <a:pt x="5" y="10"/>
                    </a:cubicBezTo>
                    <a:cubicBezTo>
                      <a:pt x="6" y="11"/>
                      <a:pt x="9" y="14"/>
                      <a:pt x="10" y="15"/>
                    </a:cubicBezTo>
                    <a:cubicBezTo>
                      <a:pt x="12" y="18"/>
                      <a:pt x="20" y="22"/>
                      <a:pt x="24" y="22"/>
                    </a:cubicBezTo>
                    <a:cubicBezTo>
                      <a:pt x="24" y="22"/>
                      <a:pt x="24" y="22"/>
                      <a:pt x="24" y="22"/>
                    </a:cubicBezTo>
                    <a:cubicBezTo>
                      <a:pt x="27" y="22"/>
                      <a:pt x="38" y="18"/>
                      <a:pt x="40" y="15"/>
                    </a:cubicBezTo>
                    <a:cubicBezTo>
                      <a:pt x="41" y="14"/>
                      <a:pt x="40" y="9"/>
                      <a:pt x="40" y="8"/>
                    </a:cubicBezTo>
                    <a:cubicBezTo>
                      <a:pt x="39" y="7"/>
                      <a:pt x="38" y="8"/>
                      <a:pt x="37" y="6"/>
                    </a:cubicBezTo>
                    <a:cubicBezTo>
                      <a:pt x="36" y="4"/>
                      <a:pt x="35" y="3"/>
                      <a:pt x="33" y="2"/>
                    </a:cubicBezTo>
                    <a:cubicBezTo>
                      <a:pt x="29" y="0"/>
                      <a:pt x="25"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1244"/>
              <p:cNvSpPr/>
              <p:nvPr/>
            </p:nvSpPr>
            <p:spPr bwMode="auto">
              <a:xfrm>
                <a:off x="1845" y="1679"/>
                <a:ext cx="132" cy="70"/>
              </a:xfrm>
              <a:custGeom>
                <a:gdLst>
                  <a:gd name="T0" fmla="*/ 28 w 56"/>
                  <a:gd name="T1" fmla="*/ 1 h 30"/>
                  <a:gd name="T2" fmla="*/ 27 w 56"/>
                  <a:gd name="T3" fmla="*/ 2 h 30"/>
                  <a:gd name="T4" fmla="*/ 0 w 56"/>
                  <a:gd name="T5" fmla="*/ 8 h 30"/>
                  <a:gd name="T6" fmla="*/ 2 w 56"/>
                  <a:gd name="T7" fmla="*/ 11 h 30"/>
                  <a:gd name="T8" fmla="*/ 13 w 56"/>
                  <a:gd name="T9" fmla="*/ 14 h 30"/>
                  <a:gd name="T10" fmla="*/ 13 w 56"/>
                  <a:gd name="T11" fmla="*/ 14 h 30"/>
                  <a:gd name="T12" fmla="*/ 15 w 56"/>
                  <a:gd name="T13" fmla="*/ 14 h 30"/>
                  <a:gd name="T14" fmla="*/ 17 w 56"/>
                  <a:gd name="T15" fmla="*/ 14 h 30"/>
                  <a:gd name="T16" fmla="*/ 22 w 56"/>
                  <a:gd name="T17" fmla="*/ 16 h 30"/>
                  <a:gd name="T18" fmla="*/ 44 w 56"/>
                  <a:gd name="T19" fmla="*/ 30 h 30"/>
                  <a:gd name="T20" fmla="*/ 44 w 56"/>
                  <a:gd name="T21" fmla="*/ 30 h 30"/>
                  <a:gd name="T22" fmla="*/ 47 w 56"/>
                  <a:gd name="T23" fmla="*/ 28 h 30"/>
                  <a:gd name="T24" fmla="*/ 55 w 56"/>
                  <a:gd name="T25" fmla="*/ 21 h 30"/>
                  <a:gd name="T26" fmla="*/ 49 w 56"/>
                  <a:gd name="T27" fmla="*/ 17 h 30"/>
                  <a:gd name="T28" fmla="*/ 45 w 56"/>
                  <a:gd name="T29" fmla="*/ 11 h 30"/>
                  <a:gd name="T30" fmla="*/ 42 w 56"/>
                  <a:gd name="T31" fmla="*/ 10 h 30"/>
                  <a:gd name="T32" fmla="*/ 42 w 56"/>
                  <a:gd name="T33" fmla="*/ 10 h 30"/>
                  <a:gd name="T34" fmla="*/ 41 w 56"/>
                  <a:gd name="T35" fmla="*/ 11 h 30"/>
                  <a:gd name="T36" fmla="*/ 40 w 56"/>
                  <a:gd name="T37" fmla="*/ 11 h 30"/>
                  <a:gd name="T38" fmla="*/ 39 w 56"/>
                  <a:gd name="T39" fmla="*/ 11 h 30"/>
                  <a:gd name="T40" fmla="*/ 38 w 56"/>
                  <a:gd name="T41" fmla="*/ 7 h 30"/>
                  <a:gd name="T42" fmla="*/ 35 w 56"/>
                  <a:gd name="T43" fmla="*/ 6 h 30"/>
                  <a:gd name="T44" fmla="*/ 28 w 56"/>
                  <a:gd name="T45" fmla="*/ 1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30">
                    <a:moveTo>
                      <a:pt x="28" y="1"/>
                    </a:moveTo>
                    <a:cubicBezTo>
                      <a:pt x="28" y="1"/>
                      <a:pt x="27" y="1"/>
                      <a:pt x="27" y="2"/>
                    </a:cubicBezTo>
                    <a:cubicBezTo>
                      <a:pt x="17" y="2"/>
                      <a:pt x="8" y="0"/>
                      <a:pt x="0" y="8"/>
                    </a:cubicBezTo>
                    <a:cubicBezTo>
                      <a:pt x="0" y="8"/>
                      <a:pt x="2" y="11"/>
                      <a:pt x="2" y="11"/>
                    </a:cubicBezTo>
                    <a:cubicBezTo>
                      <a:pt x="5" y="13"/>
                      <a:pt x="10" y="14"/>
                      <a:pt x="13" y="14"/>
                    </a:cubicBezTo>
                    <a:cubicBezTo>
                      <a:pt x="13" y="14"/>
                      <a:pt x="13" y="14"/>
                      <a:pt x="13" y="14"/>
                    </a:cubicBezTo>
                    <a:cubicBezTo>
                      <a:pt x="13" y="14"/>
                      <a:pt x="14" y="14"/>
                      <a:pt x="15" y="14"/>
                    </a:cubicBezTo>
                    <a:cubicBezTo>
                      <a:pt x="15" y="14"/>
                      <a:pt x="16" y="14"/>
                      <a:pt x="17" y="14"/>
                    </a:cubicBezTo>
                    <a:cubicBezTo>
                      <a:pt x="18" y="14"/>
                      <a:pt x="20" y="15"/>
                      <a:pt x="22" y="16"/>
                    </a:cubicBezTo>
                    <a:cubicBezTo>
                      <a:pt x="29" y="21"/>
                      <a:pt x="36" y="25"/>
                      <a:pt x="44" y="30"/>
                    </a:cubicBezTo>
                    <a:cubicBezTo>
                      <a:pt x="44" y="30"/>
                      <a:pt x="44" y="30"/>
                      <a:pt x="44" y="30"/>
                    </a:cubicBezTo>
                    <a:cubicBezTo>
                      <a:pt x="44" y="30"/>
                      <a:pt x="46" y="28"/>
                      <a:pt x="47" y="28"/>
                    </a:cubicBezTo>
                    <a:cubicBezTo>
                      <a:pt x="50" y="27"/>
                      <a:pt x="56" y="27"/>
                      <a:pt x="55" y="21"/>
                    </a:cubicBezTo>
                    <a:cubicBezTo>
                      <a:pt x="54" y="19"/>
                      <a:pt x="51" y="18"/>
                      <a:pt x="49" y="17"/>
                    </a:cubicBezTo>
                    <a:cubicBezTo>
                      <a:pt x="48" y="15"/>
                      <a:pt x="48" y="13"/>
                      <a:pt x="45" y="11"/>
                    </a:cubicBezTo>
                    <a:cubicBezTo>
                      <a:pt x="43" y="11"/>
                      <a:pt x="44" y="11"/>
                      <a:pt x="42" y="10"/>
                    </a:cubicBezTo>
                    <a:cubicBezTo>
                      <a:pt x="42" y="10"/>
                      <a:pt x="42" y="10"/>
                      <a:pt x="42" y="10"/>
                    </a:cubicBezTo>
                    <a:cubicBezTo>
                      <a:pt x="41" y="10"/>
                      <a:pt x="41" y="11"/>
                      <a:pt x="41" y="11"/>
                    </a:cubicBezTo>
                    <a:cubicBezTo>
                      <a:pt x="40" y="11"/>
                      <a:pt x="40" y="11"/>
                      <a:pt x="40" y="11"/>
                    </a:cubicBezTo>
                    <a:cubicBezTo>
                      <a:pt x="40" y="11"/>
                      <a:pt x="39" y="11"/>
                      <a:pt x="39" y="11"/>
                    </a:cubicBezTo>
                    <a:cubicBezTo>
                      <a:pt x="37" y="10"/>
                      <a:pt x="39" y="8"/>
                      <a:pt x="38" y="7"/>
                    </a:cubicBezTo>
                    <a:cubicBezTo>
                      <a:pt x="36" y="5"/>
                      <a:pt x="36" y="6"/>
                      <a:pt x="35" y="6"/>
                    </a:cubicBezTo>
                    <a:cubicBezTo>
                      <a:pt x="32" y="4"/>
                      <a:pt x="31" y="1"/>
                      <a:pt x="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1245"/>
              <p:cNvSpPr/>
              <p:nvPr/>
            </p:nvSpPr>
            <p:spPr bwMode="auto">
              <a:xfrm>
                <a:off x="2093" y="1343"/>
                <a:ext cx="47" cy="85"/>
              </a:xfrm>
              <a:custGeom>
                <a:gdLst>
                  <a:gd name="T0" fmla="*/ 13 w 20"/>
                  <a:gd name="T1" fmla="*/ 0 h 36"/>
                  <a:gd name="T2" fmla="*/ 10 w 20"/>
                  <a:gd name="T3" fmla="*/ 2 h 36"/>
                  <a:gd name="T4" fmla="*/ 8 w 20"/>
                  <a:gd name="T5" fmla="*/ 10 h 36"/>
                  <a:gd name="T6" fmla="*/ 6 w 20"/>
                  <a:gd name="T7" fmla="*/ 20 h 36"/>
                  <a:gd name="T8" fmla="*/ 2 w 20"/>
                  <a:gd name="T9" fmla="*/ 29 h 36"/>
                  <a:gd name="T10" fmla="*/ 2 w 20"/>
                  <a:gd name="T11" fmla="*/ 33 h 36"/>
                  <a:gd name="T12" fmla="*/ 6 w 20"/>
                  <a:gd name="T13" fmla="*/ 36 h 36"/>
                  <a:gd name="T14" fmla="*/ 7 w 20"/>
                  <a:gd name="T15" fmla="*/ 36 h 36"/>
                  <a:gd name="T16" fmla="*/ 9 w 20"/>
                  <a:gd name="T17" fmla="*/ 35 h 36"/>
                  <a:gd name="T18" fmla="*/ 19 w 20"/>
                  <a:gd name="T19" fmla="*/ 25 h 36"/>
                  <a:gd name="T20" fmla="*/ 15 w 20"/>
                  <a:gd name="T21" fmla="*/ 22 h 36"/>
                  <a:gd name="T22" fmla="*/ 14 w 20"/>
                  <a:gd name="T23" fmla="*/ 10 h 36"/>
                  <a:gd name="T24" fmla="*/ 16 w 20"/>
                  <a:gd name="T25" fmla="*/ 9 h 36"/>
                  <a:gd name="T26" fmla="*/ 19 w 20"/>
                  <a:gd name="T27" fmla="*/ 11 h 36"/>
                  <a:gd name="T28" fmla="*/ 13 w 20"/>
                  <a:gd name="T29"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6">
                    <a:moveTo>
                      <a:pt x="13" y="0"/>
                    </a:moveTo>
                    <a:cubicBezTo>
                      <a:pt x="12" y="0"/>
                      <a:pt x="11" y="0"/>
                      <a:pt x="10" y="2"/>
                    </a:cubicBezTo>
                    <a:cubicBezTo>
                      <a:pt x="8" y="5"/>
                      <a:pt x="9" y="8"/>
                      <a:pt x="8" y="10"/>
                    </a:cubicBezTo>
                    <a:cubicBezTo>
                      <a:pt x="8" y="13"/>
                      <a:pt x="6" y="17"/>
                      <a:pt x="6" y="20"/>
                    </a:cubicBezTo>
                    <a:cubicBezTo>
                      <a:pt x="5" y="23"/>
                      <a:pt x="4" y="26"/>
                      <a:pt x="2" y="29"/>
                    </a:cubicBezTo>
                    <a:cubicBezTo>
                      <a:pt x="1" y="31"/>
                      <a:pt x="0" y="32"/>
                      <a:pt x="2" y="33"/>
                    </a:cubicBezTo>
                    <a:cubicBezTo>
                      <a:pt x="3" y="34"/>
                      <a:pt x="5" y="36"/>
                      <a:pt x="6" y="36"/>
                    </a:cubicBezTo>
                    <a:cubicBezTo>
                      <a:pt x="7" y="36"/>
                      <a:pt x="7" y="36"/>
                      <a:pt x="7" y="36"/>
                    </a:cubicBezTo>
                    <a:cubicBezTo>
                      <a:pt x="8" y="36"/>
                      <a:pt x="8" y="36"/>
                      <a:pt x="9" y="35"/>
                    </a:cubicBezTo>
                    <a:cubicBezTo>
                      <a:pt x="11" y="33"/>
                      <a:pt x="20" y="28"/>
                      <a:pt x="19" y="25"/>
                    </a:cubicBezTo>
                    <a:cubicBezTo>
                      <a:pt x="18" y="24"/>
                      <a:pt x="15" y="22"/>
                      <a:pt x="15" y="22"/>
                    </a:cubicBezTo>
                    <a:cubicBezTo>
                      <a:pt x="12" y="19"/>
                      <a:pt x="12" y="12"/>
                      <a:pt x="14" y="10"/>
                    </a:cubicBezTo>
                    <a:cubicBezTo>
                      <a:pt x="15" y="9"/>
                      <a:pt x="16" y="9"/>
                      <a:pt x="16" y="9"/>
                    </a:cubicBezTo>
                    <a:cubicBezTo>
                      <a:pt x="17" y="9"/>
                      <a:pt x="18" y="10"/>
                      <a:pt x="19" y="11"/>
                    </a:cubicBezTo>
                    <a:cubicBezTo>
                      <a:pt x="19" y="7"/>
                      <a:pt x="17"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1246"/>
              <p:cNvSpPr/>
              <p:nvPr/>
            </p:nvSpPr>
            <p:spPr bwMode="auto">
              <a:xfrm>
                <a:off x="559" y="1229"/>
                <a:ext cx="28" cy="38"/>
              </a:xfrm>
              <a:custGeom>
                <a:gdLst>
                  <a:gd name="T0" fmla="*/ 0 w 12"/>
                  <a:gd name="T1" fmla="*/ 0 h 16"/>
                  <a:gd name="T2" fmla="*/ 7 w 12"/>
                  <a:gd name="T3" fmla="*/ 16 h 16"/>
                  <a:gd name="T4" fmla="*/ 5 w 12"/>
                  <a:gd name="T5" fmla="*/ 11 h 16"/>
                  <a:gd name="T6" fmla="*/ 0 w 12"/>
                  <a:gd name="T7" fmla="*/ 0 h 16"/>
                </a:gdLst>
                <a:cxnLst>
                  <a:cxn ang="0">
                    <a:pos x="T0" y="T1"/>
                  </a:cxn>
                  <a:cxn ang="0">
                    <a:pos x="T2" y="T3"/>
                  </a:cxn>
                  <a:cxn ang="0">
                    <a:pos x="T4" y="T5"/>
                  </a:cxn>
                  <a:cxn ang="0">
                    <a:pos x="T6" y="T7"/>
                  </a:cxn>
                </a:cxnLst>
                <a:rect l="0" t="0" r="r" b="b"/>
                <a:pathLst>
                  <a:path w="12" h="16">
                    <a:moveTo>
                      <a:pt x="0" y="0"/>
                    </a:moveTo>
                    <a:cubicBezTo>
                      <a:pt x="2" y="6"/>
                      <a:pt x="5" y="11"/>
                      <a:pt x="7" y="16"/>
                    </a:cubicBezTo>
                    <a:cubicBezTo>
                      <a:pt x="7" y="15"/>
                      <a:pt x="6" y="12"/>
                      <a:pt x="5" y="11"/>
                    </a:cubicBezTo>
                    <a:cubicBezTo>
                      <a:pt x="12" y="10"/>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1247"/>
              <p:cNvSpPr/>
              <p:nvPr/>
            </p:nvSpPr>
            <p:spPr bwMode="auto">
              <a:xfrm>
                <a:off x="1663" y="1272"/>
                <a:ext cx="9" cy="17"/>
              </a:xfrm>
              <a:custGeom>
                <a:gdLst>
                  <a:gd name="T0" fmla="*/ 4 w 4"/>
                  <a:gd name="T1" fmla="*/ 0 h 7"/>
                  <a:gd name="T2" fmla="*/ 2 w 4"/>
                  <a:gd name="T3" fmla="*/ 2 h 7"/>
                  <a:gd name="T4" fmla="*/ 2 w 4"/>
                  <a:gd name="T5" fmla="*/ 2 h 7"/>
                  <a:gd name="T6" fmla="*/ 2 w 4"/>
                  <a:gd name="T7" fmla="*/ 3 h 7"/>
                  <a:gd name="T8" fmla="*/ 2 w 4"/>
                  <a:gd name="T9" fmla="*/ 7 h 7"/>
                  <a:gd name="T10" fmla="*/ 4 w 4"/>
                  <a:gd name="T11" fmla="*/ 0 h 7"/>
                </a:gdLst>
                <a:cxnLst>
                  <a:cxn ang="0">
                    <a:pos x="T0" y="T1"/>
                  </a:cxn>
                  <a:cxn ang="0">
                    <a:pos x="T2" y="T3"/>
                  </a:cxn>
                  <a:cxn ang="0">
                    <a:pos x="T4" y="T5"/>
                  </a:cxn>
                  <a:cxn ang="0">
                    <a:pos x="T6" y="T7"/>
                  </a:cxn>
                  <a:cxn ang="0">
                    <a:pos x="T8" y="T9"/>
                  </a:cxn>
                  <a:cxn ang="0">
                    <a:pos x="T10" y="T11"/>
                  </a:cxn>
                </a:cxnLst>
                <a:rect l="0" t="0" r="r" b="b"/>
                <a:pathLst>
                  <a:path w="4" h="7">
                    <a:moveTo>
                      <a:pt x="4" y="0"/>
                    </a:moveTo>
                    <a:cubicBezTo>
                      <a:pt x="3" y="1"/>
                      <a:pt x="3" y="2"/>
                      <a:pt x="2" y="2"/>
                    </a:cubicBezTo>
                    <a:cubicBezTo>
                      <a:pt x="2" y="2"/>
                      <a:pt x="2" y="2"/>
                      <a:pt x="2" y="2"/>
                    </a:cubicBezTo>
                    <a:cubicBezTo>
                      <a:pt x="2" y="3"/>
                      <a:pt x="2" y="3"/>
                      <a:pt x="2" y="3"/>
                    </a:cubicBezTo>
                    <a:cubicBezTo>
                      <a:pt x="0" y="4"/>
                      <a:pt x="1" y="6"/>
                      <a:pt x="2" y="7"/>
                    </a:cubicBezTo>
                    <a:cubicBezTo>
                      <a:pt x="3" y="5"/>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1248"/>
              <p:cNvSpPr/>
              <p:nvPr/>
            </p:nvSpPr>
            <p:spPr bwMode="auto">
              <a:xfrm>
                <a:off x="2889" y="1414"/>
                <a:ext cx="43" cy="61"/>
              </a:xfrm>
              <a:custGeom>
                <a:gdLst>
                  <a:gd name="T0" fmla="*/ 11 w 18"/>
                  <a:gd name="T1" fmla="*/ 0 h 26"/>
                  <a:gd name="T2" fmla="*/ 9 w 18"/>
                  <a:gd name="T3" fmla="*/ 1 h 26"/>
                  <a:gd name="T4" fmla="*/ 10 w 18"/>
                  <a:gd name="T5" fmla="*/ 3 h 26"/>
                  <a:gd name="T6" fmla="*/ 9 w 18"/>
                  <a:gd name="T7" fmla="*/ 3 h 26"/>
                  <a:gd name="T8" fmla="*/ 8 w 18"/>
                  <a:gd name="T9" fmla="*/ 4 h 26"/>
                  <a:gd name="T10" fmla="*/ 5 w 18"/>
                  <a:gd name="T11" fmla="*/ 7 h 26"/>
                  <a:gd name="T12" fmla="*/ 3 w 18"/>
                  <a:gd name="T13" fmla="*/ 9 h 26"/>
                  <a:gd name="T14" fmla="*/ 6 w 18"/>
                  <a:gd name="T15" fmla="*/ 11 h 26"/>
                  <a:gd name="T16" fmla="*/ 4 w 18"/>
                  <a:gd name="T17" fmla="*/ 14 h 26"/>
                  <a:gd name="T18" fmla="*/ 3 w 18"/>
                  <a:gd name="T19" fmla="*/ 19 h 26"/>
                  <a:gd name="T20" fmla="*/ 13 w 18"/>
                  <a:gd name="T21" fmla="*/ 26 h 26"/>
                  <a:gd name="T22" fmla="*/ 13 w 18"/>
                  <a:gd name="T23" fmla="*/ 26 h 26"/>
                  <a:gd name="T24" fmla="*/ 16 w 18"/>
                  <a:gd name="T25" fmla="*/ 21 h 26"/>
                  <a:gd name="T26" fmla="*/ 15 w 18"/>
                  <a:gd name="T27" fmla="*/ 22 h 26"/>
                  <a:gd name="T28" fmla="*/ 15 w 18"/>
                  <a:gd name="T29" fmla="*/ 16 h 26"/>
                  <a:gd name="T30" fmla="*/ 15 w 18"/>
                  <a:gd name="T31" fmla="*/ 2 h 26"/>
                  <a:gd name="T32" fmla="*/ 12 w 18"/>
                  <a:gd name="T33" fmla="*/ 0 h 26"/>
                  <a:gd name="T34" fmla="*/ 11 w 18"/>
                  <a:gd name="T35"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6">
                    <a:moveTo>
                      <a:pt x="11" y="0"/>
                    </a:moveTo>
                    <a:cubicBezTo>
                      <a:pt x="10" y="0"/>
                      <a:pt x="10" y="0"/>
                      <a:pt x="9" y="1"/>
                    </a:cubicBezTo>
                    <a:cubicBezTo>
                      <a:pt x="9" y="1"/>
                      <a:pt x="10" y="2"/>
                      <a:pt x="10" y="3"/>
                    </a:cubicBezTo>
                    <a:cubicBezTo>
                      <a:pt x="10" y="3"/>
                      <a:pt x="10" y="3"/>
                      <a:pt x="9" y="3"/>
                    </a:cubicBezTo>
                    <a:cubicBezTo>
                      <a:pt x="9" y="3"/>
                      <a:pt x="8" y="3"/>
                      <a:pt x="8" y="4"/>
                    </a:cubicBezTo>
                    <a:cubicBezTo>
                      <a:pt x="7" y="5"/>
                      <a:pt x="7" y="6"/>
                      <a:pt x="5" y="7"/>
                    </a:cubicBezTo>
                    <a:cubicBezTo>
                      <a:pt x="2" y="9"/>
                      <a:pt x="0" y="7"/>
                      <a:pt x="3" y="9"/>
                    </a:cubicBezTo>
                    <a:cubicBezTo>
                      <a:pt x="4" y="10"/>
                      <a:pt x="6" y="9"/>
                      <a:pt x="6" y="11"/>
                    </a:cubicBezTo>
                    <a:cubicBezTo>
                      <a:pt x="6" y="12"/>
                      <a:pt x="4" y="12"/>
                      <a:pt x="4" y="14"/>
                    </a:cubicBezTo>
                    <a:cubicBezTo>
                      <a:pt x="3" y="19"/>
                      <a:pt x="3" y="19"/>
                      <a:pt x="3" y="19"/>
                    </a:cubicBezTo>
                    <a:cubicBezTo>
                      <a:pt x="3" y="22"/>
                      <a:pt x="9" y="26"/>
                      <a:pt x="13" y="26"/>
                    </a:cubicBezTo>
                    <a:cubicBezTo>
                      <a:pt x="13" y="26"/>
                      <a:pt x="13" y="26"/>
                      <a:pt x="13" y="26"/>
                    </a:cubicBezTo>
                    <a:cubicBezTo>
                      <a:pt x="15" y="26"/>
                      <a:pt x="18" y="21"/>
                      <a:pt x="16" y="21"/>
                    </a:cubicBezTo>
                    <a:cubicBezTo>
                      <a:pt x="15" y="21"/>
                      <a:pt x="15" y="22"/>
                      <a:pt x="15" y="22"/>
                    </a:cubicBezTo>
                    <a:cubicBezTo>
                      <a:pt x="18" y="20"/>
                      <a:pt x="17" y="18"/>
                      <a:pt x="15" y="16"/>
                    </a:cubicBezTo>
                    <a:cubicBezTo>
                      <a:pt x="16" y="11"/>
                      <a:pt x="18" y="6"/>
                      <a:pt x="15" y="2"/>
                    </a:cubicBezTo>
                    <a:cubicBezTo>
                      <a:pt x="13" y="1"/>
                      <a:pt x="14" y="0"/>
                      <a:pt x="12" y="0"/>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1249"/>
              <p:cNvSpPr>
                <a:spLocks noEditPoints="1"/>
              </p:cNvSpPr>
              <p:nvPr/>
            </p:nvSpPr>
            <p:spPr bwMode="auto">
              <a:xfrm>
                <a:off x="2634" y="1069"/>
                <a:ext cx="14" cy="4"/>
              </a:xfrm>
              <a:custGeom>
                <a:gdLst>
                  <a:gd name="T0" fmla="*/ 5 w 6"/>
                  <a:gd name="T1" fmla="*/ 0 h 2"/>
                  <a:gd name="T2" fmla="*/ 0 w 6"/>
                  <a:gd name="T3" fmla="*/ 1 h 2"/>
                  <a:gd name="T4" fmla="*/ 0 w 6"/>
                  <a:gd name="T5" fmla="*/ 2 h 2"/>
                  <a:gd name="T6" fmla="*/ 5 w 6"/>
                  <a:gd name="T7" fmla="*/ 0 h 2"/>
                  <a:gd name="T8" fmla="*/ 6 w 6"/>
                  <a:gd name="T9" fmla="*/ 0 h 2"/>
                  <a:gd name="T10" fmla="*/ 5 w 6"/>
                  <a:gd name="T11" fmla="*/ 0 h 2"/>
                  <a:gd name="T12" fmla="*/ 6 w 6"/>
                  <a:gd name="T13" fmla="*/ 0 h 2"/>
                </a:gdLst>
                <a:cxnLst>
                  <a:cxn ang="0">
                    <a:pos x="T0" y="T1"/>
                  </a:cxn>
                  <a:cxn ang="0">
                    <a:pos x="T2" y="T3"/>
                  </a:cxn>
                  <a:cxn ang="0">
                    <a:pos x="T4" y="T5"/>
                  </a:cxn>
                  <a:cxn ang="0">
                    <a:pos x="T6" y="T7"/>
                  </a:cxn>
                  <a:cxn ang="0">
                    <a:pos x="T8" y="T9"/>
                  </a:cxn>
                  <a:cxn ang="0">
                    <a:pos x="T10" y="T11"/>
                  </a:cxn>
                  <a:cxn ang="0">
                    <a:pos x="T12" y="T13"/>
                  </a:cxn>
                </a:cxnLst>
                <a:rect l="0" t="0" r="r" b="b"/>
                <a:pathLst>
                  <a:path w="6" h="2">
                    <a:moveTo>
                      <a:pt x="5" y="0"/>
                    </a:moveTo>
                    <a:cubicBezTo>
                      <a:pt x="3" y="1"/>
                      <a:pt x="2" y="1"/>
                      <a:pt x="0" y="1"/>
                    </a:cubicBezTo>
                    <a:cubicBezTo>
                      <a:pt x="0" y="2"/>
                      <a:pt x="0" y="2"/>
                      <a:pt x="0" y="2"/>
                    </a:cubicBezTo>
                    <a:cubicBezTo>
                      <a:pt x="2" y="2"/>
                      <a:pt x="4" y="1"/>
                      <a:pt x="5" y="0"/>
                    </a:cubicBezTo>
                    <a:moveTo>
                      <a:pt x="6" y="0"/>
                    </a:moveTo>
                    <a:cubicBezTo>
                      <a:pt x="5" y="0"/>
                      <a:pt x="5" y="0"/>
                      <a:pt x="5" y="0"/>
                    </a:cubicBezTo>
                    <a:cubicBezTo>
                      <a:pt x="5" y="0"/>
                      <a:pt x="5"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1250"/>
              <p:cNvSpPr/>
              <p:nvPr/>
            </p:nvSpPr>
            <p:spPr bwMode="auto">
              <a:xfrm>
                <a:off x="2109" y="1118"/>
                <a:ext cx="52" cy="33"/>
              </a:xfrm>
              <a:custGeom>
                <a:gdLst>
                  <a:gd name="T0" fmla="*/ 11 w 22"/>
                  <a:gd name="T1" fmla="*/ 0 h 14"/>
                  <a:gd name="T2" fmla="*/ 8 w 22"/>
                  <a:gd name="T3" fmla="*/ 0 h 14"/>
                  <a:gd name="T4" fmla="*/ 8 w 22"/>
                  <a:gd name="T5" fmla="*/ 0 h 14"/>
                  <a:gd name="T6" fmla="*/ 2 w 22"/>
                  <a:gd name="T7" fmla="*/ 2 h 14"/>
                  <a:gd name="T8" fmla="*/ 1 w 22"/>
                  <a:gd name="T9" fmla="*/ 9 h 14"/>
                  <a:gd name="T10" fmla="*/ 3 w 22"/>
                  <a:gd name="T11" fmla="*/ 12 h 14"/>
                  <a:gd name="T12" fmla="*/ 10 w 22"/>
                  <a:gd name="T13" fmla="*/ 5 h 14"/>
                  <a:gd name="T14" fmla="*/ 11 w 22"/>
                  <a:gd name="T15" fmla="*/ 9 h 14"/>
                  <a:gd name="T16" fmla="*/ 13 w 22"/>
                  <a:gd name="T17" fmla="*/ 14 h 14"/>
                  <a:gd name="T18" fmla="*/ 22 w 22"/>
                  <a:gd name="T19" fmla="*/ 4 h 14"/>
                  <a:gd name="T20" fmla="*/ 17 w 22"/>
                  <a:gd name="T21" fmla="*/ 2 h 14"/>
                  <a:gd name="T22" fmla="*/ 15 w 22"/>
                  <a:gd name="T23" fmla="*/ 4 h 14"/>
                  <a:gd name="T24" fmla="*/ 11 w 22"/>
                  <a:gd name="T25"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4">
                    <a:moveTo>
                      <a:pt x="11" y="0"/>
                    </a:moveTo>
                    <a:cubicBezTo>
                      <a:pt x="12" y="0"/>
                      <a:pt x="9" y="0"/>
                      <a:pt x="8" y="0"/>
                    </a:cubicBezTo>
                    <a:cubicBezTo>
                      <a:pt x="8" y="0"/>
                      <a:pt x="8" y="0"/>
                      <a:pt x="8" y="0"/>
                    </a:cubicBezTo>
                    <a:cubicBezTo>
                      <a:pt x="6" y="1"/>
                      <a:pt x="4" y="1"/>
                      <a:pt x="2" y="2"/>
                    </a:cubicBezTo>
                    <a:cubicBezTo>
                      <a:pt x="0" y="4"/>
                      <a:pt x="0" y="7"/>
                      <a:pt x="1" y="9"/>
                    </a:cubicBezTo>
                    <a:cubicBezTo>
                      <a:pt x="1" y="12"/>
                      <a:pt x="2" y="12"/>
                      <a:pt x="3" y="12"/>
                    </a:cubicBezTo>
                    <a:cubicBezTo>
                      <a:pt x="5" y="12"/>
                      <a:pt x="8" y="6"/>
                      <a:pt x="10" y="5"/>
                    </a:cubicBezTo>
                    <a:cubicBezTo>
                      <a:pt x="10" y="6"/>
                      <a:pt x="11" y="8"/>
                      <a:pt x="11" y="9"/>
                    </a:cubicBezTo>
                    <a:cubicBezTo>
                      <a:pt x="10" y="13"/>
                      <a:pt x="8" y="12"/>
                      <a:pt x="13" y="14"/>
                    </a:cubicBezTo>
                    <a:cubicBezTo>
                      <a:pt x="14" y="7"/>
                      <a:pt x="15" y="8"/>
                      <a:pt x="22" y="4"/>
                    </a:cubicBezTo>
                    <a:cubicBezTo>
                      <a:pt x="20" y="3"/>
                      <a:pt x="19" y="2"/>
                      <a:pt x="17" y="2"/>
                    </a:cubicBezTo>
                    <a:cubicBezTo>
                      <a:pt x="16" y="2"/>
                      <a:pt x="15" y="3"/>
                      <a:pt x="15" y="4"/>
                    </a:cubicBezTo>
                    <a:cubicBezTo>
                      <a:pt x="14" y="3"/>
                      <a:pt x="13"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1251"/>
              <p:cNvSpPr/>
              <p:nvPr/>
            </p:nvSpPr>
            <p:spPr bwMode="auto">
              <a:xfrm>
                <a:off x="2499" y="1525"/>
                <a:ext cx="10" cy="9"/>
              </a:xfrm>
              <a:custGeom>
                <a:gdLst>
                  <a:gd name="T0" fmla="*/ 4 w 4"/>
                  <a:gd name="T1" fmla="*/ 0 h 4"/>
                  <a:gd name="T2" fmla="*/ 4 w 4"/>
                  <a:gd name="T3" fmla="*/ 4 h 4"/>
                  <a:gd name="T4" fmla="*/ 4 w 4"/>
                  <a:gd name="T5" fmla="*/ 0 h 4"/>
                </a:gdLst>
                <a:cxnLst>
                  <a:cxn ang="0">
                    <a:pos x="T0" y="T1"/>
                  </a:cxn>
                  <a:cxn ang="0">
                    <a:pos x="T2" y="T3"/>
                  </a:cxn>
                  <a:cxn ang="0">
                    <a:pos x="T4" y="T5"/>
                  </a:cxn>
                </a:cxnLst>
                <a:rect l="0" t="0" r="r" b="b"/>
                <a:pathLst>
                  <a:path w="4" h="4">
                    <a:moveTo>
                      <a:pt x="4" y="0"/>
                    </a:moveTo>
                    <a:cubicBezTo>
                      <a:pt x="0" y="1"/>
                      <a:pt x="1" y="3"/>
                      <a:pt x="4" y="4"/>
                    </a:cubicBezTo>
                    <a:cubicBezTo>
                      <a:pt x="4" y="3"/>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1" name="Freeform 1252"/>
              <p:cNvSpPr/>
              <p:nvPr/>
            </p:nvSpPr>
            <p:spPr bwMode="auto">
              <a:xfrm>
                <a:off x="2421" y="1135"/>
                <a:ext cx="57" cy="24"/>
              </a:xfrm>
              <a:custGeom>
                <a:gdLst>
                  <a:gd name="T0" fmla="*/ 11 w 24"/>
                  <a:gd name="T1" fmla="*/ 0 h 10"/>
                  <a:gd name="T2" fmla="*/ 3 w 24"/>
                  <a:gd name="T3" fmla="*/ 1 h 10"/>
                  <a:gd name="T4" fmla="*/ 1 w 24"/>
                  <a:gd name="T5" fmla="*/ 7 h 10"/>
                  <a:gd name="T6" fmla="*/ 6 w 24"/>
                  <a:gd name="T7" fmla="*/ 10 h 10"/>
                  <a:gd name="T8" fmla="*/ 9 w 24"/>
                  <a:gd name="T9" fmla="*/ 9 h 10"/>
                  <a:gd name="T10" fmla="*/ 16 w 24"/>
                  <a:gd name="T11" fmla="*/ 9 h 10"/>
                  <a:gd name="T12" fmla="*/ 18 w 24"/>
                  <a:gd name="T13" fmla="*/ 9 h 10"/>
                  <a:gd name="T14" fmla="*/ 20 w 24"/>
                  <a:gd name="T15" fmla="*/ 9 h 10"/>
                  <a:gd name="T16" fmla="*/ 19 w 24"/>
                  <a:gd name="T17" fmla="*/ 3 h 10"/>
                  <a:gd name="T18" fmla="*/ 11 w 24"/>
                  <a:gd name="T1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0">
                    <a:moveTo>
                      <a:pt x="11" y="0"/>
                    </a:moveTo>
                    <a:cubicBezTo>
                      <a:pt x="9" y="0"/>
                      <a:pt x="6" y="0"/>
                      <a:pt x="3" y="1"/>
                    </a:cubicBezTo>
                    <a:cubicBezTo>
                      <a:pt x="2" y="3"/>
                      <a:pt x="0" y="6"/>
                      <a:pt x="1" y="7"/>
                    </a:cubicBezTo>
                    <a:cubicBezTo>
                      <a:pt x="2" y="9"/>
                      <a:pt x="4" y="10"/>
                      <a:pt x="6" y="10"/>
                    </a:cubicBezTo>
                    <a:cubicBezTo>
                      <a:pt x="7" y="10"/>
                      <a:pt x="8" y="10"/>
                      <a:pt x="9" y="9"/>
                    </a:cubicBezTo>
                    <a:cubicBezTo>
                      <a:pt x="11" y="9"/>
                      <a:pt x="13" y="9"/>
                      <a:pt x="16" y="9"/>
                    </a:cubicBezTo>
                    <a:cubicBezTo>
                      <a:pt x="16" y="9"/>
                      <a:pt x="17" y="9"/>
                      <a:pt x="18" y="9"/>
                    </a:cubicBezTo>
                    <a:cubicBezTo>
                      <a:pt x="18" y="9"/>
                      <a:pt x="19" y="9"/>
                      <a:pt x="20" y="9"/>
                    </a:cubicBezTo>
                    <a:cubicBezTo>
                      <a:pt x="24" y="9"/>
                      <a:pt x="24" y="8"/>
                      <a:pt x="19" y="3"/>
                    </a:cubicBezTo>
                    <a:cubicBezTo>
                      <a:pt x="16" y="1"/>
                      <a:pt x="13"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1253"/>
              <p:cNvSpPr/>
              <p:nvPr/>
            </p:nvSpPr>
            <p:spPr bwMode="auto">
              <a:xfrm>
                <a:off x="344" y="934"/>
                <a:ext cx="59" cy="66"/>
              </a:xfrm>
              <a:custGeom>
                <a:gdLst>
                  <a:gd name="T0" fmla="*/ 8 w 25"/>
                  <a:gd name="T1" fmla="*/ 0 h 28"/>
                  <a:gd name="T2" fmla="*/ 0 w 25"/>
                  <a:gd name="T3" fmla="*/ 4 h 28"/>
                  <a:gd name="T4" fmla="*/ 13 w 25"/>
                  <a:gd name="T5" fmla="*/ 18 h 28"/>
                  <a:gd name="T6" fmla="*/ 22 w 25"/>
                  <a:gd name="T7" fmla="*/ 28 h 28"/>
                  <a:gd name="T8" fmla="*/ 24 w 25"/>
                  <a:gd name="T9" fmla="*/ 22 h 28"/>
                  <a:gd name="T10" fmla="*/ 22 w 25"/>
                  <a:gd name="T11" fmla="*/ 15 h 28"/>
                  <a:gd name="T12" fmla="*/ 8 w 25"/>
                  <a:gd name="T13" fmla="*/ 0 h 28"/>
                </a:gdLst>
                <a:cxnLst>
                  <a:cxn ang="0">
                    <a:pos x="T0" y="T1"/>
                  </a:cxn>
                  <a:cxn ang="0">
                    <a:pos x="T2" y="T3"/>
                  </a:cxn>
                  <a:cxn ang="0">
                    <a:pos x="T4" y="T5"/>
                  </a:cxn>
                  <a:cxn ang="0">
                    <a:pos x="T6" y="T7"/>
                  </a:cxn>
                  <a:cxn ang="0">
                    <a:pos x="T8" y="T9"/>
                  </a:cxn>
                  <a:cxn ang="0">
                    <a:pos x="T10" y="T11"/>
                  </a:cxn>
                  <a:cxn ang="0">
                    <a:pos x="T12" y="T13"/>
                  </a:cxn>
                </a:cxnLst>
                <a:rect l="0" t="0" r="r" b="b"/>
                <a:pathLst>
                  <a:path w="25" h="28">
                    <a:moveTo>
                      <a:pt x="8" y="0"/>
                    </a:moveTo>
                    <a:cubicBezTo>
                      <a:pt x="8" y="4"/>
                      <a:pt x="2" y="2"/>
                      <a:pt x="0" y="4"/>
                    </a:cubicBezTo>
                    <a:cubicBezTo>
                      <a:pt x="5" y="5"/>
                      <a:pt x="8" y="14"/>
                      <a:pt x="13" y="18"/>
                    </a:cubicBezTo>
                    <a:cubicBezTo>
                      <a:pt x="16" y="22"/>
                      <a:pt x="18" y="25"/>
                      <a:pt x="22" y="28"/>
                    </a:cubicBezTo>
                    <a:cubicBezTo>
                      <a:pt x="24" y="27"/>
                      <a:pt x="23" y="25"/>
                      <a:pt x="24" y="22"/>
                    </a:cubicBezTo>
                    <a:cubicBezTo>
                      <a:pt x="24" y="19"/>
                      <a:pt x="25" y="18"/>
                      <a:pt x="22" y="15"/>
                    </a:cubicBezTo>
                    <a:cubicBezTo>
                      <a:pt x="17" y="10"/>
                      <a:pt x="13" y="5"/>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3" name="Freeform 1254"/>
              <p:cNvSpPr/>
              <p:nvPr/>
            </p:nvSpPr>
            <p:spPr bwMode="auto">
              <a:xfrm>
                <a:off x="2899" y="1177"/>
                <a:ext cx="7" cy="10"/>
              </a:xfrm>
              <a:custGeom>
                <a:gdLst>
                  <a:gd name="T0" fmla="*/ 3 w 3"/>
                  <a:gd name="T1" fmla="*/ 0 h 4"/>
                  <a:gd name="T2" fmla="*/ 1 w 3"/>
                  <a:gd name="T3" fmla="*/ 4 h 4"/>
                  <a:gd name="T4" fmla="*/ 3 w 3"/>
                  <a:gd name="T5" fmla="*/ 0 h 4"/>
                </a:gdLst>
                <a:cxnLst>
                  <a:cxn ang="0">
                    <a:pos x="T0" y="T1"/>
                  </a:cxn>
                  <a:cxn ang="0">
                    <a:pos x="T2" y="T3"/>
                  </a:cxn>
                  <a:cxn ang="0">
                    <a:pos x="T4" y="T5"/>
                  </a:cxn>
                </a:cxnLst>
                <a:rect l="0" t="0" r="r" b="b"/>
                <a:pathLst>
                  <a:path w="3" h="4">
                    <a:moveTo>
                      <a:pt x="3" y="0"/>
                    </a:moveTo>
                    <a:cubicBezTo>
                      <a:pt x="1" y="1"/>
                      <a:pt x="0" y="2"/>
                      <a:pt x="1" y="4"/>
                    </a:cubicBezTo>
                    <a:cubicBezTo>
                      <a:pt x="2"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1255"/>
              <p:cNvSpPr/>
              <p:nvPr/>
            </p:nvSpPr>
            <p:spPr bwMode="auto">
              <a:xfrm>
                <a:off x="2419" y="981"/>
                <a:ext cx="2" cy="5"/>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0" y="1"/>
                      <a:pt x="0" y="2"/>
                      <a:pt x="0" y="2"/>
                    </a:cubicBezTo>
                    <a:cubicBezTo>
                      <a:pt x="0" y="2"/>
                      <a:pt x="0"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Freeform 1256"/>
              <p:cNvSpPr/>
              <p:nvPr/>
            </p:nvSpPr>
            <p:spPr bwMode="auto">
              <a:xfrm>
                <a:off x="2414" y="1062"/>
                <a:ext cx="45" cy="37"/>
              </a:xfrm>
              <a:custGeom>
                <a:gdLst>
                  <a:gd name="T0" fmla="*/ 8 w 19"/>
                  <a:gd name="T1" fmla="*/ 0 h 16"/>
                  <a:gd name="T2" fmla="*/ 6 w 19"/>
                  <a:gd name="T3" fmla="*/ 3 h 16"/>
                  <a:gd name="T4" fmla="*/ 6 w 19"/>
                  <a:gd name="T5" fmla="*/ 3 h 16"/>
                  <a:gd name="T6" fmla="*/ 5 w 19"/>
                  <a:gd name="T7" fmla="*/ 1 h 16"/>
                  <a:gd name="T8" fmla="*/ 4 w 19"/>
                  <a:gd name="T9" fmla="*/ 0 h 16"/>
                  <a:gd name="T10" fmla="*/ 4 w 19"/>
                  <a:gd name="T11" fmla="*/ 0 h 16"/>
                  <a:gd name="T12" fmla="*/ 3 w 19"/>
                  <a:gd name="T13" fmla="*/ 8 h 16"/>
                  <a:gd name="T14" fmla="*/ 6 w 19"/>
                  <a:gd name="T15" fmla="*/ 10 h 16"/>
                  <a:gd name="T16" fmla="*/ 6 w 19"/>
                  <a:gd name="T17" fmla="*/ 11 h 16"/>
                  <a:gd name="T18" fmla="*/ 7 w 19"/>
                  <a:gd name="T19" fmla="*/ 14 h 16"/>
                  <a:gd name="T20" fmla="*/ 8 w 19"/>
                  <a:gd name="T21" fmla="*/ 14 h 16"/>
                  <a:gd name="T22" fmla="*/ 11 w 19"/>
                  <a:gd name="T23" fmla="*/ 13 h 16"/>
                  <a:gd name="T24" fmla="*/ 14 w 19"/>
                  <a:gd name="T25" fmla="*/ 16 h 16"/>
                  <a:gd name="T26" fmla="*/ 15 w 19"/>
                  <a:gd name="T27" fmla="*/ 16 h 16"/>
                  <a:gd name="T28" fmla="*/ 18 w 19"/>
                  <a:gd name="T29" fmla="*/ 14 h 16"/>
                  <a:gd name="T30" fmla="*/ 13 w 19"/>
                  <a:gd name="T31" fmla="*/ 11 h 16"/>
                  <a:gd name="T32" fmla="*/ 13 w 19"/>
                  <a:gd name="T33" fmla="*/ 11 h 16"/>
                  <a:gd name="T34" fmla="*/ 13 w 19"/>
                  <a:gd name="T35" fmla="*/ 11 h 16"/>
                  <a:gd name="T36" fmla="*/ 12 w 19"/>
                  <a:gd name="T37" fmla="*/ 11 h 16"/>
                  <a:gd name="T38" fmla="*/ 12 w 19"/>
                  <a:gd name="T39" fmla="*/ 10 h 16"/>
                  <a:gd name="T40" fmla="*/ 8 w 19"/>
                  <a:gd name="T41"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16">
                    <a:moveTo>
                      <a:pt x="8" y="0"/>
                    </a:moveTo>
                    <a:cubicBezTo>
                      <a:pt x="8" y="0"/>
                      <a:pt x="7" y="3"/>
                      <a:pt x="6" y="3"/>
                    </a:cubicBezTo>
                    <a:cubicBezTo>
                      <a:pt x="6" y="3"/>
                      <a:pt x="6" y="3"/>
                      <a:pt x="6" y="3"/>
                    </a:cubicBezTo>
                    <a:cubicBezTo>
                      <a:pt x="5" y="3"/>
                      <a:pt x="5" y="2"/>
                      <a:pt x="5" y="1"/>
                    </a:cubicBezTo>
                    <a:cubicBezTo>
                      <a:pt x="4" y="1"/>
                      <a:pt x="4" y="0"/>
                      <a:pt x="4" y="0"/>
                    </a:cubicBezTo>
                    <a:cubicBezTo>
                      <a:pt x="4" y="0"/>
                      <a:pt x="4" y="0"/>
                      <a:pt x="4" y="0"/>
                    </a:cubicBezTo>
                    <a:cubicBezTo>
                      <a:pt x="0" y="1"/>
                      <a:pt x="2" y="6"/>
                      <a:pt x="3" y="8"/>
                    </a:cubicBezTo>
                    <a:cubicBezTo>
                      <a:pt x="4" y="8"/>
                      <a:pt x="6" y="9"/>
                      <a:pt x="6" y="10"/>
                    </a:cubicBezTo>
                    <a:cubicBezTo>
                      <a:pt x="7" y="10"/>
                      <a:pt x="6" y="11"/>
                      <a:pt x="6" y="11"/>
                    </a:cubicBezTo>
                    <a:cubicBezTo>
                      <a:pt x="6" y="13"/>
                      <a:pt x="5" y="14"/>
                      <a:pt x="7" y="14"/>
                    </a:cubicBezTo>
                    <a:cubicBezTo>
                      <a:pt x="7" y="14"/>
                      <a:pt x="7" y="14"/>
                      <a:pt x="8" y="14"/>
                    </a:cubicBezTo>
                    <a:cubicBezTo>
                      <a:pt x="9" y="13"/>
                      <a:pt x="10" y="13"/>
                      <a:pt x="11" y="13"/>
                    </a:cubicBezTo>
                    <a:cubicBezTo>
                      <a:pt x="13" y="13"/>
                      <a:pt x="11" y="16"/>
                      <a:pt x="14" y="16"/>
                    </a:cubicBezTo>
                    <a:cubicBezTo>
                      <a:pt x="14" y="16"/>
                      <a:pt x="15" y="16"/>
                      <a:pt x="15" y="16"/>
                    </a:cubicBezTo>
                    <a:cubicBezTo>
                      <a:pt x="16" y="16"/>
                      <a:pt x="17" y="15"/>
                      <a:pt x="18" y="14"/>
                    </a:cubicBezTo>
                    <a:cubicBezTo>
                      <a:pt x="19" y="13"/>
                      <a:pt x="14" y="12"/>
                      <a:pt x="13" y="11"/>
                    </a:cubicBezTo>
                    <a:cubicBezTo>
                      <a:pt x="13" y="11"/>
                      <a:pt x="13" y="11"/>
                      <a:pt x="13" y="11"/>
                    </a:cubicBezTo>
                    <a:cubicBezTo>
                      <a:pt x="13" y="11"/>
                      <a:pt x="13" y="11"/>
                      <a:pt x="13" y="11"/>
                    </a:cubicBezTo>
                    <a:cubicBezTo>
                      <a:pt x="12" y="11"/>
                      <a:pt x="12" y="11"/>
                      <a:pt x="12" y="11"/>
                    </a:cubicBezTo>
                    <a:cubicBezTo>
                      <a:pt x="12" y="11"/>
                      <a:pt x="12" y="11"/>
                      <a:pt x="12" y="10"/>
                    </a:cubicBezTo>
                    <a:cubicBezTo>
                      <a:pt x="11" y="5"/>
                      <a:pt x="11"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1257"/>
              <p:cNvSpPr/>
              <p:nvPr/>
            </p:nvSpPr>
            <p:spPr bwMode="auto">
              <a:xfrm>
                <a:off x="1407" y="1433"/>
                <a:ext cx="10" cy="7"/>
              </a:xfrm>
              <a:custGeom>
                <a:gdLst>
                  <a:gd name="T0" fmla="*/ 4 w 4"/>
                  <a:gd name="T1" fmla="*/ 0 h 3"/>
                  <a:gd name="T2" fmla="*/ 0 w 4"/>
                  <a:gd name="T3" fmla="*/ 3 h 3"/>
                  <a:gd name="T4" fmla="*/ 4 w 4"/>
                  <a:gd name="T5" fmla="*/ 0 h 3"/>
                </a:gdLst>
                <a:cxnLst>
                  <a:cxn ang="0">
                    <a:pos x="T0" y="T1"/>
                  </a:cxn>
                  <a:cxn ang="0">
                    <a:pos x="T2" y="T3"/>
                  </a:cxn>
                  <a:cxn ang="0">
                    <a:pos x="T4" y="T5"/>
                  </a:cxn>
                </a:cxnLst>
                <a:rect l="0" t="0" r="r" b="b"/>
                <a:pathLst>
                  <a:path w="4" h="3">
                    <a:moveTo>
                      <a:pt x="4" y="0"/>
                    </a:moveTo>
                    <a:cubicBezTo>
                      <a:pt x="2" y="1"/>
                      <a:pt x="0" y="1"/>
                      <a:pt x="0" y="3"/>
                    </a:cubicBezTo>
                    <a:cubicBezTo>
                      <a:pt x="2" y="2"/>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7" name="Freeform 1258"/>
              <p:cNvSpPr/>
              <p:nvPr/>
            </p:nvSpPr>
            <p:spPr bwMode="auto">
              <a:xfrm>
                <a:off x="214" y="653"/>
                <a:ext cx="747" cy="794"/>
              </a:xfrm>
              <a:custGeom>
                <a:gdLst>
                  <a:gd name="T0" fmla="*/ 2 w 316"/>
                  <a:gd name="T1" fmla="*/ 6 h 336"/>
                  <a:gd name="T2" fmla="*/ 55 w 316"/>
                  <a:gd name="T3" fmla="*/ 63 h 336"/>
                  <a:gd name="T4" fmla="*/ 71 w 316"/>
                  <a:gd name="T5" fmla="*/ 87 h 336"/>
                  <a:gd name="T6" fmla="*/ 91 w 316"/>
                  <a:gd name="T7" fmla="*/ 104 h 336"/>
                  <a:gd name="T8" fmla="*/ 104 w 316"/>
                  <a:gd name="T9" fmla="*/ 117 h 336"/>
                  <a:gd name="T10" fmla="*/ 124 w 316"/>
                  <a:gd name="T11" fmla="*/ 159 h 336"/>
                  <a:gd name="T12" fmla="*/ 162 w 316"/>
                  <a:gd name="T13" fmla="*/ 215 h 336"/>
                  <a:gd name="T14" fmla="*/ 204 w 316"/>
                  <a:gd name="T15" fmla="*/ 272 h 336"/>
                  <a:gd name="T16" fmla="*/ 239 w 316"/>
                  <a:gd name="T17" fmla="*/ 302 h 336"/>
                  <a:gd name="T18" fmla="*/ 274 w 316"/>
                  <a:gd name="T19" fmla="*/ 336 h 336"/>
                  <a:gd name="T20" fmla="*/ 276 w 316"/>
                  <a:gd name="T21" fmla="*/ 324 h 336"/>
                  <a:gd name="T22" fmla="*/ 289 w 316"/>
                  <a:gd name="T23" fmla="*/ 331 h 336"/>
                  <a:gd name="T24" fmla="*/ 295 w 316"/>
                  <a:gd name="T25" fmla="*/ 324 h 336"/>
                  <a:gd name="T26" fmla="*/ 310 w 316"/>
                  <a:gd name="T27" fmla="*/ 291 h 336"/>
                  <a:gd name="T28" fmla="*/ 311 w 316"/>
                  <a:gd name="T29" fmla="*/ 264 h 336"/>
                  <a:gd name="T30" fmla="*/ 293 w 316"/>
                  <a:gd name="T31" fmla="*/ 232 h 336"/>
                  <a:gd name="T32" fmla="*/ 279 w 316"/>
                  <a:gd name="T33" fmla="*/ 233 h 336"/>
                  <a:gd name="T34" fmla="*/ 274 w 316"/>
                  <a:gd name="T35" fmla="*/ 233 h 336"/>
                  <a:gd name="T36" fmla="*/ 270 w 316"/>
                  <a:gd name="T37" fmla="*/ 217 h 336"/>
                  <a:gd name="T38" fmla="*/ 265 w 316"/>
                  <a:gd name="T39" fmla="*/ 194 h 336"/>
                  <a:gd name="T40" fmla="*/ 261 w 316"/>
                  <a:gd name="T41" fmla="*/ 194 h 336"/>
                  <a:gd name="T42" fmla="*/ 238 w 316"/>
                  <a:gd name="T43" fmla="*/ 177 h 336"/>
                  <a:gd name="T44" fmla="*/ 237 w 316"/>
                  <a:gd name="T45" fmla="*/ 174 h 336"/>
                  <a:gd name="T46" fmla="*/ 235 w 316"/>
                  <a:gd name="T47" fmla="*/ 171 h 336"/>
                  <a:gd name="T48" fmla="*/ 245 w 316"/>
                  <a:gd name="T49" fmla="*/ 165 h 336"/>
                  <a:gd name="T50" fmla="*/ 245 w 316"/>
                  <a:gd name="T51" fmla="*/ 154 h 336"/>
                  <a:gd name="T52" fmla="*/ 226 w 316"/>
                  <a:gd name="T53" fmla="*/ 153 h 336"/>
                  <a:gd name="T54" fmla="*/ 215 w 316"/>
                  <a:gd name="T55" fmla="*/ 158 h 336"/>
                  <a:gd name="T56" fmla="*/ 230 w 316"/>
                  <a:gd name="T57" fmla="*/ 151 h 336"/>
                  <a:gd name="T58" fmla="*/ 209 w 316"/>
                  <a:gd name="T59" fmla="*/ 139 h 336"/>
                  <a:gd name="T60" fmla="*/ 183 w 316"/>
                  <a:gd name="T61" fmla="*/ 114 h 336"/>
                  <a:gd name="T62" fmla="*/ 165 w 316"/>
                  <a:gd name="T63" fmla="*/ 99 h 336"/>
                  <a:gd name="T64" fmla="*/ 167 w 316"/>
                  <a:gd name="T65" fmla="*/ 111 h 336"/>
                  <a:gd name="T66" fmla="*/ 152 w 316"/>
                  <a:gd name="T67" fmla="*/ 97 h 336"/>
                  <a:gd name="T68" fmla="*/ 140 w 316"/>
                  <a:gd name="T69" fmla="*/ 87 h 336"/>
                  <a:gd name="T70" fmla="*/ 109 w 316"/>
                  <a:gd name="T71" fmla="*/ 58 h 336"/>
                  <a:gd name="T72" fmla="*/ 93 w 316"/>
                  <a:gd name="T73" fmla="*/ 60 h 336"/>
                  <a:gd name="T74" fmla="*/ 94 w 316"/>
                  <a:gd name="T75" fmla="*/ 46 h 336"/>
                  <a:gd name="T76" fmla="*/ 89 w 316"/>
                  <a:gd name="T77" fmla="*/ 38 h 336"/>
                  <a:gd name="T78" fmla="*/ 69 w 316"/>
                  <a:gd name="T79" fmla="*/ 12 h 336"/>
                  <a:gd name="T80" fmla="*/ 58 w 316"/>
                  <a:gd name="T81" fmla="*/ 13 h 336"/>
                  <a:gd name="T82" fmla="*/ 39 w 316"/>
                  <a:gd name="T83" fmla="*/ 11 h 3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6" h="336">
                    <a:moveTo>
                      <a:pt x="12" y="0"/>
                    </a:moveTo>
                    <a:cubicBezTo>
                      <a:pt x="8" y="0"/>
                      <a:pt x="6" y="0"/>
                      <a:pt x="3" y="2"/>
                    </a:cubicBezTo>
                    <a:cubicBezTo>
                      <a:pt x="0" y="3"/>
                      <a:pt x="1" y="3"/>
                      <a:pt x="2" y="6"/>
                    </a:cubicBezTo>
                    <a:cubicBezTo>
                      <a:pt x="3" y="12"/>
                      <a:pt x="4" y="15"/>
                      <a:pt x="8" y="20"/>
                    </a:cubicBezTo>
                    <a:cubicBezTo>
                      <a:pt x="18" y="33"/>
                      <a:pt x="29" y="48"/>
                      <a:pt x="44" y="56"/>
                    </a:cubicBezTo>
                    <a:cubicBezTo>
                      <a:pt x="47" y="58"/>
                      <a:pt x="52" y="60"/>
                      <a:pt x="55" y="63"/>
                    </a:cubicBezTo>
                    <a:cubicBezTo>
                      <a:pt x="58" y="67"/>
                      <a:pt x="61" y="71"/>
                      <a:pt x="65" y="75"/>
                    </a:cubicBezTo>
                    <a:cubicBezTo>
                      <a:pt x="66" y="77"/>
                      <a:pt x="69" y="79"/>
                      <a:pt x="70" y="80"/>
                    </a:cubicBezTo>
                    <a:cubicBezTo>
                      <a:pt x="71" y="82"/>
                      <a:pt x="71" y="85"/>
                      <a:pt x="71" y="87"/>
                    </a:cubicBezTo>
                    <a:cubicBezTo>
                      <a:pt x="72" y="90"/>
                      <a:pt x="72" y="95"/>
                      <a:pt x="74" y="97"/>
                    </a:cubicBezTo>
                    <a:cubicBezTo>
                      <a:pt x="76" y="98"/>
                      <a:pt x="78" y="98"/>
                      <a:pt x="80" y="99"/>
                    </a:cubicBezTo>
                    <a:cubicBezTo>
                      <a:pt x="84" y="100"/>
                      <a:pt x="87" y="102"/>
                      <a:pt x="91" y="104"/>
                    </a:cubicBezTo>
                    <a:cubicBezTo>
                      <a:pt x="96" y="107"/>
                      <a:pt x="99" y="110"/>
                      <a:pt x="103" y="113"/>
                    </a:cubicBezTo>
                    <a:cubicBezTo>
                      <a:pt x="103" y="113"/>
                      <a:pt x="103" y="112"/>
                      <a:pt x="103" y="112"/>
                    </a:cubicBezTo>
                    <a:cubicBezTo>
                      <a:pt x="105" y="112"/>
                      <a:pt x="104" y="115"/>
                      <a:pt x="104" y="117"/>
                    </a:cubicBezTo>
                    <a:cubicBezTo>
                      <a:pt x="105" y="122"/>
                      <a:pt x="106" y="125"/>
                      <a:pt x="108" y="130"/>
                    </a:cubicBezTo>
                    <a:cubicBezTo>
                      <a:pt x="110" y="137"/>
                      <a:pt x="112" y="145"/>
                      <a:pt x="114" y="152"/>
                    </a:cubicBezTo>
                    <a:cubicBezTo>
                      <a:pt x="116" y="158"/>
                      <a:pt x="118" y="157"/>
                      <a:pt x="124" y="159"/>
                    </a:cubicBezTo>
                    <a:cubicBezTo>
                      <a:pt x="128" y="160"/>
                      <a:pt x="129" y="161"/>
                      <a:pt x="131" y="166"/>
                    </a:cubicBezTo>
                    <a:cubicBezTo>
                      <a:pt x="136" y="175"/>
                      <a:pt x="149" y="183"/>
                      <a:pt x="150" y="193"/>
                    </a:cubicBezTo>
                    <a:cubicBezTo>
                      <a:pt x="151" y="201"/>
                      <a:pt x="158" y="208"/>
                      <a:pt x="162" y="215"/>
                    </a:cubicBezTo>
                    <a:cubicBezTo>
                      <a:pt x="166" y="221"/>
                      <a:pt x="167" y="228"/>
                      <a:pt x="169" y="234"/>
                    </a:cubicBezTo>
                    <a:cubicBezTo>
                      <a:pt x="171" y="242"/>
                      <a:pt x="180" y="249"/>
                      <a:pt x="185" y="255"/>
                    </a:cubicBezTo>
                    <a:cubicBezTo>
                      <a:pt x="190" y="261"/>
                      <a:pt x="198" y="266"/>
                      <a:pt x="204" y="272"/>
                    </a:cubicBezTo>
                    <a:cubicBezTo>
                      <a:pt x="207" y="274"/>
                      <a:pt x="205" y="278"/>
                      <a:pt x="207" y="279"/>
                    </a:cubicBezTo>
                    <a:cubicBezTo>
                      <a:pt x="211" y="282"/>
                      <a:pt x="215" y="286"/>
                      <a:pt x="219" y="289"/>
                    </a:cubicBezTo>
                    <a:cubicBezTo>
                      <a:pt x="226" y="293"/>
                      <a:pt x="232" y="298"/>
                      <a:pt x="239" y="302"/>
                    </a:cubicBezTo>
                    <a:cubicBezTo>
                      <a:pt x="245" y="307"/>
                      <a:pt x="250" y="312"/>
                      <a:pt x="256" y="318"/>
                    </a:cubicBezTo>
                    <a:cubicBezTo>
                      <a:pt x="260" y="323"/>
                      <a:pt x="265" y="327"/>
                      <a:pt x="269" y="332"/>
                    </a:cubicBezTo>
                    <a:cubicBezTo>
                      <a:pt x="270" y="334"/>
                      <a:pt x="272" y="336"/>
                      <a:pt x="274" y="336"/>
                    </a:cubicBezTo>
                    <a:cubicBezTo>
                      <a:pt x="274" y="336"/>
                      <a:pt x="275" y="336"/>
                      <a:pt x="275" y="336"/>
                    </a:cubicBezTo>
                    <a:cubicBezTo>
                      <a:pt x="274" y="333"/>
                      <a:pt x="271" y="323"/>
                      <a:pt x="275" y="323"/>
                    </a:cubicBezTo>
                    <a:cubicBezTo>
                      <a:pt x="275" y="323"/>
                      <a:pt x="276" y="324"/>
                      <a:pt x="276" y="324"/>
                    </a:cubicBezTo>
                    <a:cubicBezTo>
                      <a:pt x="277" y="324"/>
                      <a:pt x="279" y="326"/>
                      <a:pt x="280" y="327"/>
                    </a:cubicBezTo>
                    <a:cubicBezTo>
                      <a:pt x="281" y="328"/>
                      <a:pt x="283" y="329"/>
                      <a:pt x="285" y="329"/>
                    </a:cubicBezTo>
                    <a:cubicBezTo>
                      <a:pt x="286" y="330"/>
                      <a:pt x="287" y="331"/>
                      <a:pt x="289" y="331"/>
                    </a:cubicBezTo>
                    <a:cubicBezTo>
                      <a:pt x="289" y="331"/>
                      <a:pt x="290" y="330"/>
                      <a:pt x="290" y="329"/>
                    </a:cubicBezTo>
                    <a:cubicBezTo>
                      <a:pt x="291" y="327"/>
                      <a:pt x="292" y="324"/>
                      <a:pt x="294" y="324"/>
                    </a:cubicBezTo>
                    <a:cubicBezTo>
                      <a:pt x="295" y="324"/>
                      <a:pt x="295" y="324"/>
                      <a:pt x="295" y="324"/>
                    </a:cubicBezTo>
                    <a:cubicBezTo>
                      <a:pt x="299" y="324"/>
                      <a:pt x="303" y="332"/>
                      <a:pt x="307" y="335"/>
                    </a:cubicBezTo>
                    <a:cubicBezTo>
                      <a:pt x="308" y="333"/>
                      <a:pt x="308" y="331"/>
                      <a:pt x="309" y="329"/>
                    </a:cubicBezTo>
                    <a:cubicBezTo>
                      <a:pt x="311" y="317"/>
                      <a:pt x="311" y="303"/>
                      <a:pt x="310" y="291"/>
                    </a:cubicBezTo>
                    <a:cubicBezTo>
                      <a:pt x="309" y="286"/>
                      <a:pt x="309" y="284"/>
                      <a:pt x="312" y="279"/>
                    </a:cubicBezTo>
                    <a:cubicBezTo>
                      <a:pt x="312" y="277"/>
                      <a:pt x="313" y="276"/>
                      <a:pt x="313" y="274"/>
                    </a:cubicBezTo>
                    <a:cubicBezTo>
                      <a:pt x="311" y="269"/>
                      <a:pt x="308" y="270"/>
                      <a:pt x="311" y="264"/>
                    </a:cubicBezTo>
                    <a:cubicBezTo>
                      <a:pt x="312" y="262"/>
                      <a:pt x="316" y="259"/>
                      <a:pt x="316" y="258"/>
                    </a:cubicBezTo>
                    <a:cubicBezTo>
                      <a:pt x="315" y="249"/>
                      <a:pt x="309" y="242"/>
                      <a:pt x="304" y="235"/>
                    </a:cubicBezTo>
                    <a:cubicBezTo>
                      <a:pt x="302" y="232"/>
                      <a:pt x="296" y="232"/>
                      <a:pt x="293" y="232"/>
                    </a:cubicBezTo>
                    <a:cubicBezTo>
                      <a:pt x="289" y="231"/>
                      <a:pt x="285" y="231"/>
                      <a:pt x="281" y="230"/>
                    </a:cubicBezTo>
                    <a:cubicBezTo>
                      <a:pt x="281" y="230"/>
                      <a:pt x="281" y="230"/>
                      <a:pt x="281" y="230"/>
                    </a:cubicBezTo>
                    <a:cubicBezTo>
                      <a:pt x="281" y="230"/>
                      <a:pt x="279" y="232"/>
                      <a:pt x="279" y="233"/>
                    </a:cubicBezTo>
                    <a:cubicBezTo>
                      <a:pt x="278" y="234"/>
                      <a:pt x="279" y="235"/>
                      <a:pt x="278" y="237"/>
                    </a:cubicBezTo>
                    <a:cubicBezTo>
                      <a:pt x="277" y="240"/>
                      <a:pt x="274" y="242"/>
                      <a:pt x="272" y="244"/>
                    </a:cubicBezTo>
                    <a:cubicBezTo>
                      <a:pt x="272" y="237"/>
                      <a:pt x="281" y="240"/>
                      <a:pt x="274" y="233"/>
                    </a:cubicBezTo>
                    <a:cubicBezTo>
                      <a:pt x="275" y="232"/>
                      <a:pt x="277" y="232"/>
                      <a:pt x="279" y="230"/>
                    </a:cubicBezTo>
                    <a:cubicBezTo>
                      <a:pt x="284" y="225"/>
                      <a:pt x="274" y="226"/>
                      <a:pt x="273" y="222"/>
                    </a:cubicBezTo>
                    <a:cubicBezTo>
                      <a:pt x="271" y="220"/>
                      <a:pt x="271" y="220"/>
                      <a:pt x="270" y="217"/>
                    </a:cubicBezTo>
                    <a:cubicBezTo>
                      <a:pt x="270" y="215"/>
                      <a:pt x="271" y="213"/>
                      <a:pt x="271" y="210"/>
                    </a:cubicBezTo>
                    <a:cubicBezTo>
                      <a:pt x="270" y="206"/>
                      <a:pt x="269" y="202"/>
                      <a:pt x="268" y="197"/>
                    </a:cubicBezTo>
                    <a:cubicBezTo>
                      <a:pt x="267" y="194"/>
                      <a:pt x="266" y="194"/>
                      <a:pt x="265" y="194"/>
                    </a:cubicBezTo>
                    <a:cubicBezTo>
                      <a:pt x="265" y="194"/>
                      <a:pt x="264" y="194"/>
                      <a:pt x="263" y="194"/>
                    </a:cubicBezTo>
                    <a:cubicBezTo>
                      <a:pt x="263" y="194"/>
                      <a:pt x="262" y="194"/>
                      <a:pt x="262" y="194"/>
                    </a:cubicBezTo>
                    <a:cubicBezTo>
                      <a:pt x="261" y="194"/>
                      <a:pt x="261" y="194"/>
                      <a:pt x="261" y="194"/>
                    </a:cubicBezTo>
                    <a:cubicBezTo>
                      <a:pt x="259" y="194"/>
                      <a:pt x="257" y="193"/>
                      <a:pt x="255" y="192"/>
                    </a:cubicBezTo>
                    <a:cubicBezTo>
                      <a:pt x="252" y="192"/>
                      <a:pt x="250" y="192"/>
                      <a:pt x="247" y="191"/>
                    </a:cubicBezTo>
                    <a:cubicBezTo>
                      <a:pt x="240" y="188"/>
                      <a:pt x="239" y="184"/>
                      <a:pt x="238" y="177"/>
                    </a:cubicBezTo>
                    <a:cubicBezTo>
                      <a:pt x="238" y="178"/>
                      <a:pt x="239" y="179"/>
                      <a:pt x="240" y="179"/>
                    </a:cubicBezTo>
                    <a:cubicBezTo>
                      <a:pt x="241" y="179"/>
                      <a:pt x="243" y="177"/>
                      <a:pt x="244" y="176"/>
                    </a:cubicBezTo>
                    <a:cubicBezTo>
                      <a:pt x="242" y="174"/>
                      <a:pt x="240" y="175"/>
                      <a:pt x="237" y="174"/>
                    </a:cubicBezTo>
                    <a:cubicBezTo>
                      <a:pt x="239" y="173"/>
                      <a:pt x="240" y="172"/>
                      <a:pt x="241" y="170"/>
                    </a:cubicBezTo>
                    <a:cubicBezTo>
                      <a:pt x="240" y="170"/>
                      <a:pt x="238" y="171"/>
                      <a:pt x="236" y="171"/>
                    </a:cubicBezTo>
                    <a:cubicBezTo>
                      <a:pt x="236" y="171"/>
                      <a:pt x="236" y="171"/>
                      <a:pt x="235" y="171"/>
                    </a:cubicBezTo>
                    <a:cubicBezTo>
                      <a:pt x="239" y="170"/>
                      <a:pt x="239" y="170"/>
                      <a:pt x="242" y="167"/>
                    </a:cubicBezTo>
                    <a:cubicBezTo>
                      <a:pt x="243" y="166"/>
                      <a:pt x="243" y="164"/>
                      <a:pt x="244" y="164"/>
                    </a:cubicBezTo>
                    <a:cubicBezTo>
                      <a:pt x="245" y="165"/>
                      <a:pt x="245" y="165"/>
                      <a:pt x="245" y="165"/>
                    </a:cubicBezTo>
                    <a:cubicBezTo>
                      <a:pt x="247" y="165"/>
                      <a:pt x="249" y="164"/>
                      <a:pt x="251" y="164"/>
                    </a:cubicBezTo>
                    <a:cubicBezTo>
                      <a:pt x="250" y="162"/>
                      <a:pt x="249" y="154"/>
                      <a:pt x="246" y="154"/>
                    </a:cubicBezTo>
                    <a:cubicBezTo>
                      <a:pt x="246" y="154"/>
                      <a:pt x="245" y="154"/>
                      <a:pt x="245" y="154"/>
                    </a:cubicBezTo>
                    <a:cubicBezTo>
                      <a:pt x="244" y="152"/>
                      <a:pt x="242" y="150"/>
                      <a:pt x="240" y="149"/>
                    </a:cubicBezTo>
                    <a:cubicBezTo>
                      <a:pt x="239" y="149"/>
                      <a:pt x="238" y="148"/>
                      <a:pt x="237" y="148"/>
                    </a:cubicBezTo>
                    <a:cubicBezTo>
                      <a:pt x="234" y="148"/>
                      <a:pt x="230" y="151"/>
                      <a:pt x="226" y="153"/>
                    </a:cubicBezTo>
                    <a:cubicBezTo>
                      <a:pt x="223" y="156"/>
                      <a:pt x="219" y="158"/>
                      <a:pt x="215" y="158"/>
                    </a:cubicBezTo>
                    <a:cubicBezTo>
                      <a:pt x="214" y="158"/>
                      <a:pt x="212" y="158"/>
                      <a:pt x="211" y="156"/>
                    </a:cubicBezTo>
                    <a:cubicBezTo>
                      <a:pt x="213" y="157"/>
                      <a:pt x="214" y="158"/>
                      <a:pt x="215" y="158"/>
                    </a:cubicBezTo>
                    <a:cubicBezTo>
                      <a:pt x="216" y="158"/>
                      <a:pt x="217" y="157"/>
                      <a:pt x="219" y="156"/>
                    </a:cubicBezTo>
                    <a:cubicBezTo>
                      <a:pt x="221" y="155"/>
                      <a:pt x="223" y="154"/>
                      <a:pt x="224" y="154"/>
                    </a:cubicBezTo>
                    <a:cubicBezTo>
                      <a:pt x="225" y="153"/>
                      <a:pt x="229" y="151"/>
                      <a:pt x="230" y="151"/>
                    </a:cubicBezTo>
                    <a:cubicBezTo>
                      <a:pt x="230" y="149"/>
                      <a:pt x="226" y="144"/>
                      <a:pt x="225" y="144"/>
                    </a:cubicBezTo>
                    <a:cubicBezTo>
                      <a:pt x="221" y="143"/>
                      <a:pt x="218" y="142"/>
                      <a:pt x="214" y="142"/>
                    </a:cubicBezTo>
                    <a:cubicBezTo>
                      <a:pt x="211" y="141"/>
                      <a:pt x="211" y="140"/>
                      <a:pt x="209" y="139"/>
                    </a:cubicBezTo>
                    <a:cubicBezTo>
                      <a:pt x="205" y="136"/>
                      <a:pt x="204" y="134"/>
                      <a:pt x="203" y="129"/>
                    </a:cubicBezTo>
                    <a:cubicBezTo>
                      <a:pt x="202" y="125"/>
                      <a:pt x="197" y="121"/>
                      <a:pt x="194" y="118"/>
                    </a:cubicBezTo>
                    <a:cubicBezTo>
                      <a:pt x="191" y="116"/>
                      <a:pt x="187" y="115"/>
                      <a:pt x="183" y="114"/>
                    </a:cubicBezTo>
                    <a:cubicBezTo>
                      <a:pt x="180" y="113"/>
                      <a:pt x="181" y="113"/>
                      <a:pt x="179" y="111"/>
                    </a:cubicBezTo>
                    <a:cubicBezTo>
                      <a:pt x="178" y="109"/>
                      <a:pt x="177" y="106"/>
                      <a:pt x="175" y="104"/>
                    </a:cubicBezTo>
                    <a:cubicBezTo>
                      <a:pt x="172" y="100"/>
                      <a:pt x="171" y="100"/>
                      <a:pt x="165" y="99"/>
                    </a:cubicBezTo>
                    <a:cubicBezTo>
                      <a:pt x="165" y="99"/>
                      <a:pt x="165" y="99"/>
                      <a:pt x="164" y="99"/>
                    </a:cubicBezTo>
                    <a:cubicBezTo>
                      <a:pt x="163" y="99"/>
                      <a:pt x="163" y="100"/>
                      <a:pt x="164" y="102"/>
                    </a:cubicBezTo>
                    <a:cubicBezTo>
                      <a:pt x="165" y="105"/>
                      <a:pt x="167" y="106"/>
                      <a:pt x="167" y="111"/>
                    </a:cubicBezTo>
                    <a:cubicBezTo>
                      <a:pt x="166" y="109"/>
                      <a:pt x="166" y="107"/>
                      <a:pt x="165" y="106"/>
                    </a:cubicBezTo>
                    <a:cubicBezTo>
                      <a:pt x="162" y="103"/>
                      <a:pt x="159" y="103"/>
                      <a:pt x="156" y="101"/>
                    </a:cubicBezTo>
                    <a:cubicBezTo>
                      <a:pt x="154" y="100"/>
                      <a:pt x="153" y="98"/>
                      <a:pt x="152" y="97"/>
                    </a:cubicBezTo>
                    <a:cubicBezTo>
                      <a:pt x="149" y="93"/>
                      <a:pt x="151" y="88"/>
                      <a:pt x="143" y="88"/>
                    </a:cubicBezTo>
                    <a:cubicBezTo>
                      <a:pt x="144" y="89"/>
                      <a:pt x="144" y="90"/>
                      <a:pt x="144" y="90"/>
                    </a:cubicBezTo>
                    <a:cubicBezTo>
                      <a:pt x="142" y="89"/>
                      <a:pt x="141" y="88"/>
                      <a:pt x="140" y="87"/>
                    </a:cubicBezTo>
                    <a:cubicBezTo>
                      <a:pt x="138" y="82"/>
                      <a:pt x="141" y="81"/>
                      <a:pt x="137" y="78"/>
                    </a:cubicBezTo>
                    <a:cubicBezTo>
                      <a:pt x="130" y="72"/>
                      <a:pt x="123" y="65"/>
                      <a:pt x="115" y="61"/>
                    </a:cubicBezTo>
                    <a:cubicBezTo>
                      <a:pt x="114" y="60"/>
                      <a:pt x="111" y="59"/>
                      <a:pt x="109" y="58"/>
                    </a:cubicBezTo>
                    <a:cubicBezTo>
                      <a:pt x="109" y="58"/>
                      <a:pt x="109" y="59"/>
                      <a:pt x="109" y="60"/>
                    </a:cubicBezTo>
                    <a:cubicBezTo>
                      <a:pt x="109" y="64"/>
                      <a:pt x="106" y="67"/>
                      <a:pt x="101" y="67"/>
                    </a:cubicBezTo>
                    <a:cubicBezTo>
                      <a:pt x="97" y="67"/>
                      <a:pt x="93" y="64"/>
                      <a:pt x="93" y="60"/>
                    </a:cubicBezTo>
                    <a:cubicBezTo>
                      <a:pt x="93" y="55"/>
                      <a:pt x="97" y="52"/>
                      <a:pt x="101" y="52"/>
                    </a:cubicBezTo>
                    <a:cubicBezTo>
                      <a:pt x="102" y="52"/>
                      <a:pt x="102" y="52"/>
                      <a:pt x="102" y="52"/>
                    </a:cubicBezTo>
                    <a:cubicBezTo>
                      <a:pt x="100" y="49"/>
                      <a:pt x="98" y="48"/>
                      <a:pt x="94" y="46"/>
                    </a:cubicBezTo>
                    <a:cubicBezTo>
                      <a:pt x="92" y="45"/>
                      <a:pt x="90" y="44"/>
                      <a:pt x="88" y="44"/>
                    </a:cubicBezTo>
                    <a:cubicBezTo>
                      <a:pt x="88" y="44"/>
                      <a:pt x="88" y="44"/>
                      <a:pt x="87" y="44"/>
                    </a:cubicBezTo>
                    <a:cubicBezTo>
                      <a:pt x="88" y="42"/>
                      <a:pt x="90" y="40"/>
                      <a:pt x="89" y="38"/>
                    </a:cubicBezTo>
                    <a:cubicBezTo>
                      <a:pt x="88" y="37"/>
                      <a:pt x="86" y="32"/>
                      <a:pt x="84" y="32"/>
                    </a:cubicBezTo>
                    <a:cubicBezTo>
                      <a:pt x="80" y="31"/>
                      <a:pt x="82" y="27"/>
                      <a:pt x="81" y="24"/>
                    </a:cubicBezTo>
                    <a:cubicBezTo>
                      <a:pt x="79" y="19"/>
                      <a:pt x="73" y="16"/>
                      <a:pt x="69" y="12"/>
                    </a:cubicBezTo>
                    <a:cubicBezTo>
                      <a:pt x="68" y="11"/>
                      <a:pt x="67" y="11"/>
                      <a:pt x="66" y="11"/>
                    </a:cubicBezTo>
                    <a:cubicBezTo>
                      <a:pt x="65" y="11"/>
                      <a:pt x="63" y="12"/>
                      <a:pt x="61" y="13"/>
                    </a:cubicBezTo>
                    <a:cubicBezTo>
                      <a:pt x="60" y="13"/>
                      <a:pt x="59" y="13"/>
                      <a:pt x="58" y="13"/>
                    </a:cubicBezTo>
                    <a:cubicBezTo>
                      <a:pt x="57" y="13"/>
                      <a:pt x="57" y="13"/>
                      <a:pt x="55" y="12"/>
                    </a:cubicBezTo>
                    <a:cubicBezTo>
                      <a:pt x="53" y="11"/>
                      <a:pt x="51" y="10"/>
                      <a:pt x="49" y="10"/>
                    </a:cubicBezTo>
                    <a:cubicBezTo>
                      <a:pt x="45" y="10"/>
                      <a:pt x="42" y="11"/>
                      <a:pt x="39" y="11"/>
                    </a:cubicBezTo>
                    <a:cubicBezTo>
                      <a:pt x="39" y="11"/>
                      <a:pt x="38" y="11"/>
                      <a:pt x="38" y="11"/>
                    </a:cubicBezTo>
                    <a:cubicBezTo>
                      <a:pt x="28" y="11"/>
                      <a:pt x="21" y="3"/>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1259"/>
              <p:cNvSpPr/>
              <p:nvPr/>
            </p:nvSpPr>
            <p:spPr bwMode="auto">
              <a:xfrm>
                <a:off x="2972" y="1083"/>
                <a:ext cx="33" cy="14"/>
              </a:xfrm>
              <a:custGeom>
                <a:gdLst>
                  <a:gd name="T0" fmla="*/ 0 w 14"/>
                  <a:gd name="T1" fmla="*/ 0 h 6"/>
                  <a:gd name="T2" fmla="*/ 9 w 14"/>
                  <a:gd name="T3" fmla="*/ 6 h 6"/>
                  <a:gd name="T4" fmla="*/ 0 w 14"/>
                  <a:gd name="T5" fmla="*/ 0 h 6"/>
                </a:gdLst>
                <a:cxnLst>
                  <a:cxn ang="0">
                    <a:pos x="T0" y="T1"/>
                  </a:cxn>
                  <a:cxn ang="0">
                    <a:pos x="T2" y="T3"/>
                  </a:cxn>
                  <a:cxn ang="0">
                    <a:pos x="T4" y="T5"/>
                  </a:cxn>
                </a:cxnLst>
                <a:rect l="0" t="0" r="r" b="b"/>
                <a:pathLst>
                  <a:path w="14" h="6">
                    <a:moveTo>
                      <a:pt x="0" y="0"/>
                    </a:moveTo>
                    <a:cubicBezTo>
                      <a:pt x="3" y="2"/>
                      <a:pt x="6" y="4"/>
                      <a:pt x="9" y="6"/>
                    </a:cubicBezTo>
                    <a:cubicBezTo>
                      <a:pt x="14"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9" name="Freeform 1260"/>
              <p:cNvSpPr/>
              <p:nvPr/>
            </p:nvSpPr>
            <p:spPr bwMode="auto">
              <a:xfrm>
                <a:off x="2424" y="889"/>
                <a:ext cx="104" cy="213"/>
              </a:xfrm>
              <a:custGeom>
                <a:gdLst>
                  <a:gd name="T0" fmla="*/ 20 w 44"/>
                  <a:gd name="T1" fmla="*/ 0 h 90"/>
                  <a:gd name="T2" fmla="*/ 10 w 44"/>
                  <a:gd name="T3" fmla="*/ 7 h 90"/>
                  <a:gd name="T4" fmla="*/ 5 w 44"/>
                  <a:gd name="T5" fmla="*/ 14 h 90"/>
                  <a:gd name="T6" fmla="*/ 2 w 44"/>
                  <a:gd name="T7" fmla="*/ 26 h 90"/>
                  <a:gd name="T8" fmla="*/ 2 w 44"/>
                  <a:gd name="T9" fmla="*/ 34 h 90"/>
                  <a:gd name="T10" fmla="*/ 6 w 44"/>
                  <a:gd name="T11" fmla="*/ 39 h 90"/>
                  <a:gd name="T12" fmla="*/ 5 w 44"/>
                  <a:gd name="T13" fmla="*/ 45 h 90"/>
                  <a:gd name="T14" fmla="*/ 10 w 44"/>
                  <a:gd name="T15" fmla="*/ 56 h 90"/>
                  <a:gd name="T16" fmla="*/ 8 w 44"/>
                  <a:gd name="T17" fmla="*/ 70 h 90"/>
                  <a:gd name="T18" fmla="*/ 17 w 44"/>
                  <a:gd name="T19" fmla="*/ 81 h 90"/>
                  <a:gd name="T20" fmla="*/ 31 w 44"/>
                  <a:gd name="T21" fmla="*/ 90 h 90"/>
                  <a:gd name="T22" fmla="*/ 16 w 44"/>
                  <a:gd name="T23" fmla="*/ 66 h 90"/>
                  <a:gd name="T24" fmla="*/ 15 w 44"/>
                  <a:gd name="T25" fmla="*/ 57 h 90"/>
                  <a:gd name="T26" fmla="*/ 17 w 44"/>
                  <a:gd name="T27" fmla="*/ 51 h 90"/>
                  <a:gd name="T28" fmla="*/ 18 w 44"/>
                  <a:gd name="T29" fmla="*/ 51 h 90"/>
                  <a:gd name="T30" fmla="*/ 36 w 44"/>
                  <a:gd name="T31" fmla="*/ 55 h 90"/>
                  <a:gd name="T32" fmla="*/ 44 w 44"/>
                  <a:gd name="T33" fmla="*/ 58 h 90"/>
                  <a:gd name="T34" fmla="*/ 31 w 44"/>
                  <a:gd name="T35" fmla="*/ 46 h 90"/>
                  <a:gd name="T36" fmla="*/ 28 w 44"/>
                  <a:gd name="T37" fmla="*/ 45 h 90"/>
                  <a:gd name="T38" fmla="*/ 35 w 44"/>
                  <a:gd name="T39" fmla="*/ 34 h 90"/>
                  <a:gd name="T40" fmla="*/ 38 w 44"/>
                  <a:gd name="T41" fmla="*/ 28 h 90"/>
                  <a:gd name="T42" fmla="*/ 40 w 44"/>
                  <a:gd name="T43" fmla="*/ 24 h 90"/>
                  <a:gd name="T44" fmla="*/ 39 w 44"/>
                  <a:gd name="T45" fmla="*/ 19 h 90"/>
                  <a:gd name="T46" fmla="*/ 36 w 44"/>
                  <a:gd name="T47" fmla="*/ 19 h 90"/>
                  <a:gd name="T48" fmla="*/ 29 w 44"/>
                  <a:gd name="T49" fmla="*/ 20 h 90"/>
                  <a:gd name="T50" fmla="*/ 23 w 44"/>
                  <a:gd name="T51" fmla="*/ 24 h 90"/>
                  <a:gd name="T52" fmla="*/ 21 w 44"/>
                  <a:gd name="T53" fmla="*/ 27 h 90"/>
                  <a:gd name="T54" fmla="*/ 23 w 44"/>
                  <a:gd name="T55" fmla="*/ 31 h 90"/>
                  <a:gd name="T56" fmla="*/ 17 w 44"/>
                  <a:gd name="T57" fmla="*/ 34 h 90"/>
                  <a:gd name="T58" fmla="*/ 14 w 44"/>
                  <a:gd name="T59" fmla="*/ 40 h 90"/>
                  <a:gd name="T60" fmla="*/ 12 w 44"/>
                  <a:gd name="T61" fmla="*/ 40 h 90"/>
                  <a:gd name="T62" fmla="*/ 8 w 44"/>
                  <a:gd name="T63" fmla="*/ 37 h 90"/>
                  <a:gd name="T64" fmla="*/ 13 w 44"/>
                  <a:gd name="T65" fmla="*/ 31 h 90"/>
                  <a:gd name="T66" fmla="*/ 13 w 44"/>
                  <a:gd name="T67" fmla="*/ 30 h 90"/>
                  <a:gd name="T68" fmla="*/ 14 w 44"/>
                  <a:gd name="T69" fmla="*/ 30 h 90"/>
                  <a:gd name="T70" fmla="*/ 14 w 44"/>
                  <a:gd name="T71" fmla="*/ 31 h 90"/>
                  <a:gd name="T72" fmla="*/ 15 w 44"/>
                  <a:gd name="T73" fmla="*/ 30 h 90"/>
                  <a:gd name="T74" fmla="*/ 15 w 44"/>
                  <a:gd name="T75" fmla="*/ 29 h 90"/>
                  <a:gd name="T76" fmla="*/ 17 w 44"/>
                  <a:gd name="T77" fmla="*/ 26 h 90"/>
                  <a:gd name="T78" fmla="*/ 16 w 44"/>
                  <a:gd name="T79" fmla="*/ 12 h 90"/>
                  <a:gd name="T80" fmla="*/ 16 w 44"/>
                  <a:gd name="T81" fmla="*/ 6 h 90"/>
                  <a:gd name="T82" fmla="*/ 20 w 44"/>
                  <a:gd name="T83" fmla="*/ 0 h 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 h="90">
                    <a:moveTo>
                      <a:pt x="20" y="0"/>
                    </a:moveTo>
                    <a:cubicBezTo>
                      <a:pt x="16" y="2"/>
                      <a:pt x="13" y="5"/>
                      <a:pt x="10" y="7"/>
                    </a:cubicBezTo>
                    <a:cubicBezTo>
                      <a:pt x="8" y="9"/>
                      <a:pt x="6" y="12"/>
                      <a:pt x="5" y="14"/>
                    </a:cubicBezTo>
                    <a:cubicBezTo>
                      <a:pt x="4" y="18"/>
                      <a:pt x="3" y="22"/>
                      <a:pt x="2" y="26"/>
                    </a:cubicBezTo>
                    <a:cubicBezTo>
                      <a:pt x="1" y="29"/>
                      <a:pt x="0" y="31"/>
                      <a:pt x="2" y="34"/>
                    </a:cubicBezTo>
                    <a:cubicBezTo>
                      <a:pt x="3" y="35"/>
                      <a:pt x="6" y="38"/>
                      <a:pt x="6" y="39"/>
                    </a:cubicBezTo>
                    <a:cubicBezTo>
                      <a:pt x="7" y="40"/>
                      <a:pt x="5" y="42"/>
                      <a:pt x="5" y="45"/>
                    </a:cubicBezTo>
                    <a:cubicBezTo>
                      <a:pt x="4" y="49"/>
                      <a:pt x="10" y="51"/>
                      <a:pt x="10" y="56"/>
                    </a:cubicBezTo>
                    <a:cubicBezTo>
                      <a:pt x="10" y="60"/>
                      <a:pt x="7" y="66"/>
                      <a:pt x="8" y="70"/>
                    </a:cubicBezTo>
                    <a:cubicBezTo>
                      <a:pt x="9" y="74"/>
                      <a:pt x="15" y="78"/>
                      <a:pt x="17" y="81"/>
                    </a:cubicBezTo>
                    <a:cubicBezTo>
                      <a:pt x="21" y="86"/>
                      <a:pt x="26" y="87"/>
                      <a:pt x="31" y="90"/>
                    </a:cubicBezTo>
                    <a:cubicBezTo>
                      <a:pt x="26" y="82"/>
                      <a:pt x="21" y="74"/>
                      <a:pt x="16" y="66"/>
                    </a:cubicBezTo>
                    <a:cubicBezTo>
                      <a:pt x="14" y="63"/>
                      <a:pt x="16" y="60"/>
                      <a:pt x="15" y="57"/>
                    </a:cubicBezTo>
                    <a:cubicBezTo>
                      <a:pt x="15" y="55"/>
                      <a:pt x="13" y="51"/>
                      <a:pt x="17" y="51"/>
                    </a:cubicBezTo>
                    <a:cubicBezTo>
                      <a:pt x="17" y="51"/>
                      <a:pt x="18" y="51"/>
                      <a:pt x="18" y="51"/>
                    </a:cubicBezTo>
                    <a:cubicBezTo>
                      <a:pt x="25" y="51"/>
                      <a:pt x="30" y="53"/>
                      <a:pt x="36" y="55"/>
                    </a:cubicBezTo>
                    <a:cubicBezTo>
                      <a:pt x="39" y="56"/>
                      <a:pt x="42" y="56"/>
                      <a:pt x="44" y="58"/>
                    </a:cubicBezTo>
                    <a:cubicBezTo>
                      <a:pt x="40" y="53"/>
                      <a:pt x="37" y="48"/>
                      <a:pt x="31" y="46"/>
                    </a:cubicBezTo>
                    <a:cubicBezTo>
                      <a:pt x="30" y="46"/>
                      <a:pt x="29" y="45"/>
                      <a:pt x="28" y="45"/>
                    </a:cubicBezTo>
                    <a:cubicBezTo>
                      <a:pt x="20" y="40"/>
                      <a:pt x="31" y="36"/>
                      <a:pt x="35" y="34"/>
                    </a:cubicBezTo>
                    <a:cubicBezTo>
                      <a:pt x="39" y="32"/>
                      <a:pt x="38" y="32"/>
                      <a:pt x="38" y="28"/>
                    </a:cubicBezTo>
                    <a:cubicBezTo>
                      <a:pt x="39" y="26"/>
                      <a:pt x="40" y="25"/>
                      <a:pt x="40" y="24"/>
                    </a:cubicBezTo>
                    <a:cubicBezTo>
                      <a:pt x="40" y="22"/>
                      <a:pt x="37" y="20"/>
                      <a:pt x="39" y="19"/>
                    </a:cubicBezTo>
                    <a:cubicBezTo>
                      <a:pt x="38" y="19"/>
                      <a:pt x="37" y="19"/>
                      <a:pt x="36" y="19"/>
                    </a:cubicBezTo>
                    <a:cubicBezTo>
                      <a:pt x="34" y="19"/>
                      <a:pt x="31" y="19"/>
                      <a:pt x="29" y="20"/>
                    </a:cubicBezTo>
                    <a:cubicBezTo>
                      <a:pt x="27" y="20"/>
                      <a:pt x="25" y="23"/>
                      <a:pt x="23" y="24"/>
                    </a:cubicBezTo>
                    <a:cubicBezTo>
                      <a:pt x="21" y="27"/>
                      <a:pt x="21" y="27"/>
                      <a:pt x="21" y="27"/>
                    </a:cubicBezTo>
                    <a:cubicBezTo>
                      <a:pt x="21" y="29"/>
                      <a:pt x="25" y="28"/>
                      <a:pt x="23" y="31"/>
                    </a:cubicBezTo>
                    <a:cubicBezTo>
                      <a:pt x="21" y="32"/>
                      <a:pt x="18" y="31"/>
                      <a:pt x="17" y="34"/>
                    </a:cubicBezTo>
                    <a:cubicBezTo>
                      <a:pt x="15" y="36"/>
                      <a:pt x="16" y="39"/>
                      <a:pt x="14" y="40"/>
                    </a:cubicBezTo>
                    <a:cubicBezTo>
                      <a:pt x="13" y="40"/>
                      <a:pt x="13" y="40"/>
                      <a:pt x="12" y="40"/>
                    </a:cubicBezTo>
                    <a:cubicBezTo>
                      <a:pt x="10" y="40"/>
                      <a:pt x="8" y="39"/>
                      <a:pt x="8" y="37"/>
                    </a:cubicBezTo>
                    <a:cubicBezTo>
                      <a:pt x="9" y="34"/>
                      <a:pt x="11" y="32"/>
                      <a:pt x="13" y="31"/>
                    </a:cubicBezTo>
                    <a:cubicBezTo>
                      <a:pt x="13" y="31"/>
                      <a:pt x="13" y="30"/>
                      <a:pt x="13" y="30"/>
                    </a:cubicBezTo>
                    <a:cubicBezTo>
                      <a:pt x="13" y="30"/>
                      <a:pt x="14" y="30"/>
                      <a:pt x="14" y="30"/>
                    </a:cubicBezTo>
                    <a:cubicBezTo>
                      <a:pt x="14" y="31"/>
                      <a:pt x="14" y="31"/>
                      <a:pt x="14" y="31"/>
                    </a:cubicBezTo>
                    <a:cubicBezTo>
                      <a:pt x="14" y="31"/>
                      <a:pt x="14" y="30"/>
                      <a:pt x="15" y="30"/>
                    </a:cubicBezTo>
                    <a:cubicBezTo>
                      <a:pt x="15" y="30"/>
                      <a:pt x="15" y="29"/>
                      <a:pt x="15" y="29"/>
                    </a:cubicBezTo>
                    <a:cubicBezTo>
                      <a:pt x="16" y="28"/>
                      <a:pt x="17" y="27"/>
                      <a:pt x="17" y="26"/>
                    </a:cubicBezTo>
                    <a:cubicBezTo>
                      <a:pt x="20" y="21"/>
                      <a:pt x="18" y="17"/>
                      <a:pt x="16" y="12"/>
                    </a:cubicBezTo>
                    <a:cubicBezTo>
                      <a:pt x="14" y="8"/>
                      <a:pt x="15" y="9"/>
                      <a:pt x="16" y="6"/>
                    </a:cubicBezTo>
                    <a:cubicBezTo>
                      <a:pt x="17" y="4"/>
                      <a:pt x="19" y="2"/>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1261"/>
              <p:cNvSpPr/>
              <p:nvPr/>
            </p:nvSpPr>
            <p:spPr bwMode="auto">
              <a:xfrm>
                <a:off x="1150" y="1567"/>
                <a:ext cx="14" cy="8"/>
              </a:xfrm>
              <a:custGeom>
                <a:gdLst>
                  <a:gd name="T0" fmla="*/ 0 w 6"/>
                  <a:gd name="T1" fmla="*/ 0 h 3"/>
                  <a:gd name="T2" fmla="*/ 6 w 6"/>
                  <a:gd name="T3" fmla="*/ 3 h 3"/>
                  <a:gd name="T4" fmla="*/ 0 w 6"/>
                  <a:gd name="T5" fmla="*/ 0 h 3"/>
                </a:gdLst>
                <a:cxnLst>
                  <a:cxn ang="0">
                    <a:pos x="T0" y="T1"/>
                  </a:cxn>
                  <a:cxn ang="0">
                    <a:pos x="T2" y="T3"/>
                  </a:cxn>
                  <a:cxn ang="0">
                    <a:pos x="T4" y="T5"/>
                  </a:cxn>
                </a:cxnLst>
                <a:rect l="0" t="0" r="r" b="b"/>
                <a:pathLst>
                  <a:path w="6" h="3">
                    <a:moveTo>
                      <a:pt x="0" y="0"/>
                    </a:moveTo>
                    <a:cubicBezTo>
                      <a:pt x="2" y="2"/>
                      <a:pt x="4" y="3"/>
                      <a:pt x="6" y="3"/>
                    </a:cubicBezTo>
                    <a:cubicBezTo>
                      <a:pt x="5"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1" name="Freeform 1262"/>
              <p:cNvSpPr/>
              <p:nvPr/>
            </p:nvSpPr>
            <p:spPr bwMode="auto">
              <a:xfrm>
                <a:off x="2783" y="1426"/>
                <a:ext cx="9" cy="21"/>
              </a:xfrm>
              <a:custGeom>
                <a:gdLst>
                  <a:gd name="T0" fmla="*/ 0 w 4"/>
                  <a:gd name="T1" fmla="*/ 0 h 9"/>
                  <a:gd name="T2" fmla="*/ 3 w 4"/>
                  <a:gd name="T3" fmla="*/ 9 h 9"/>
                  <a:gd name="T4" fmla="*/ 4 w 4"/>
                  <a:gd name="T5" fmla="*/ 2 h 9"/>
                  <a:gd name="T6" fmla="*/ 0 w 4"/>
                  <a:gd name="T7" fmla="*/ 0 h 9"/>
                </a:gdLst>
                <a:cxnLst>
                  <a:cxn ang="0">
                    <a:pos x="T0" y="T1"/>
                  </a:cxn>
                  <a:cxn ang="0">
                    <a:pos x="T2" y="T3"/>
                  </a:cxn>
                  <a:cxn ang="0">
                    <a:pos x="T4" y="T5"/>
                  </a:cxn>
                  <a:cxn ang="0">
                    <a:pos x="T6" y="T7"/>
                  </a:cxn>
                </a:cxnLst>
                <a:rect l="0" t="0" r="r" b="b"/>
                <a:pathLst>
                  <a:path w="4" h="9">
                    <a:moveTo>
                      <a:pt x="0" y="0"/>
                    </a:moveTo>
                    <a:cubicBezTo>
                      <a:pt x="1" y="2"/>
                      <a:pt x="1" y="9"/>
                      <a:pt x="3" y="9"/>
                    </a:cubicBezTo>
                    <a:cubicBezTo>
                      <a:pt x="4" y="7"/>
                      <a:pt x="3" y="4"/>
                      <a:pt x="4"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1263"/>
              <p:cNvSpPr/>
              <p:nvPr/>
            </p:nvSpPr>
            <p:spPr bwMode="auto">
              <a:xfrm>
                <a:off x="446" y="1102"/>
                <a:ext cx="49" cy="61"/>
              </a:xfrm>
              <a:custGeom>
                <a:gdLst>
                  <a:gd name="T0" fmla="*/ 8 w 21"/>
                  <a:gd name="T1" fmla="*/ 0 h 26"/>
                  <a:gd name="T2" fmla="*/ 3 w 21"/>
                  <a:gd name="T3" fmla="*/ 3 h 26"/>
                  <a:gd name="T4" fmla="*/ 6 w 21"/>
                  <a:gd name="T5" fmla="*/ 16 h 26"/>
                  <a:gd name="T6" fmla="*/ 16 w 21"/>
                  <a:gd name="T7" fmla="*/ 26 h 26"/>
                  <a:gd name="T8" fmla="*/ 18 w 21"/>
                  <a:gd name="T9" fmla="*/ 15 h 26"/>
                  <a:gd name="T10" fmla="*/ 11 w 21"/>
                  <a:gd name="T11" fmla="*/ 2 h 26"/>
                  <a:gd name="T12" fmla="*/ 8 w 21"/>
                  <a:gd name="T13" fmla="*/ 0 h 26"/>
                </a:gdLst>
                <a:cxnLst>
                  <a:cxn ang="0">
                    <a:pos x="T0" y="T1"/>
                  </a:cxn>
                  <a:cxn ang="0">
                    <a:pos x="T2" y="T3"/>
                  </a:cxn>
                  <a:cxn ang="0">
                    <a:pos x="T4" y="T5"/>
                  </a:cxn>
                  <a:cxn ang="0">
                    <a:pos x="T6" y="T7"/>
                  </a:cxn>
                  <a:cxn ang="0">
                    <a:pos x="T8" y="T9"/>
                  </a:cxn>
                  <a:cxn ang="0">
                    <a:pos x="T10" y="T11"/>
                  </a:cxn>
                  <a:cxn ang="0">
                    <a:pos x="T12" y="T13"/>
                  </a:cxn>
                </a:cxnLst>
                <a:rect l="0" t="0" r="r" b="b"/>
                <a:pathLst>
                  <a:path w="21" h="26">
                    <a:moveTo>
                      <a:pt x="8" y="0"/>
                    </a:moveTo>
                    <a:cubicBezTo>
                      <a:pt x="6" y="0"/>
                      <a:pt x="4" y="2"/>
                      <a:pt x="3" y="3"/>
                    </a:cubicBezTo>
                    <a:cubicBezTo>
                      <a:pt x="0" y="8"/>
                      <a:pt x="3" y="12"/>
                      <a:pt x="6" y="16"/>
                    </a:cubicBezTo>
                    <a:cubicBezTo>
                      <a:pt x="9" y="20"/>
                      <a:pt x="10" y="24"/>
                      <a:pt x="16" y="26"/>
                    </a:cubicBezTo>
                    <a:cubicBezTo>
                      <a:pt x="21" y="20"/>
                      <a:pt x="21" y="21"/>
                      <a:pt x="18" y="15"/>
                    </a:cubicBezTo>
                    <a:cubicBezTo>
                      <a:pt x="16" y="11"/>
                      <a:pt x="13" y="6"/>
                      <a:pt x="11" y="2"/>
                    </a:cubicBezTo>
                    <a:cubicBezTo>
                      <a:pt x="11"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3" name="Freeform 1264"/>
              <p:cNvSpPr/>
              <p:nvPr/>
            </p:nvSpPr>
            <p:spPr bwMode="auto">
              <a:xfrm>
                <a:off x="2315" y="1560"/>
                <a:ext cx="75" cy="31"/>
              </a:xfrm>
              <a:custGeom>
                <a:gdLst>
                  <a:gd name="T0" fmla="*/ 23 w 32"/>
                  <a:gd name="T1" fmla="*/ 0 h 13"/>
                  <a:gd name="T2" fmla="*/ 21 w 32"/>
                  <a:gd name="T3" fmla="*/ 0 h 13"/>
                  <a:gd name="T4" fmla="*/ 17 w 32"/>
                  <a:gd name="T5" fmla="*/ 2 h 13"/>
                  <a:gd name="T6" fmla="*/ 11 w 32"/>
                  <a:gd name="T7" fmla="*/ 4 h 13"/>
                  <a:gd name="T8" fmla="*/ 10 w 32"/>
                  <a:gd name="T9" fmla="*/ 4 h 13"/>
                  <a:gd name="T10" fmla="*/ 6 w 32"/>
                  <a:gd name="T11" fmla="*/ 3 h 13"/>
                  <a:gd name="T12" fmla="*/ 3 w 32"/>
                  <a:gd name="T13" fmla="*/ 5 h 13"/>
                  <a:gd name="T14" fmla="*/ 0 w 32"/>
                  <a:gd name="T15" fmla="*/ 13 h 13"/>
                  <a:gd name="T16" fmla="*/ 10 w 32"/>
                  <a:gd name="T17" fmla="*/ 10 h 13"/>
                  <a:gd name="T18" fmla="*/ 14 w 32"/>
                  <a:gd name="T19" fmla="*/ 10 h 13"/>
                  <a:gd name="T20" fmla="*/ 18 w 32"/>
                  <a:gd name="T21" fmla="*/ 11 h 13"/>
                  <a:gd name="T22" fmla="*/ 27 w 32"/>
                  <a:gd name="T23" fmla="*/ 6 h 13"/>
                  <a:gd name="T24" fmla="*/ 25 w 32"/>
                  <a:gd name="T25" fmla="*/ 1 h 13"/>
                  <a:gd name="T26" fmla="*/ 23 w 32"/>
                  <a:gd name="T27"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3">
                    <a:moveTo>
                      <a:pt x="23" y="0"/>
                    </a:moveTo>
                    <a:cubicBezTo>
                      <a:pt x="22" y="0"/>
                      <a:pt x="22" y="0"/>
                      <a:pt x="21" y="0"/>
                    </a:cubicBezTo>
                    <a:cubicBezTo>
                      <a:pt x="20" y="1"/>
                      <a:pt x="18" y="1"/>
                      <a:pt x="17" y="2"/>
                    </a:cubicBezTo>
                    <a:cubicBezTo>
                      <a:pt x="15" y="3"/>
                      <a:pt x="13" y="4"/>
                      <a:pt x="11" y="4"/>
                    </a:cubicBezTo>
                    <a:cubicBezTo>
                      <a:pt x="11" y="4"/>
                      <a:pt x="10" y="4"/>
                      <a:pt x="10" y="4"/>
                    </a:cubicBezTo>
                    <a:cubicBezTo>
                      <a:pt x="8" y="4"/>
                      <a:pt x="7" y="3"/>
                      <a:pt x="6" y="3"/>
                    </a:cubicBezTo>
                    <a:cubicBezTo>
                      <a:pt x="5" y="3"/>
                      <a:pt x="4" y="4"/>
                      <a:pt x="3" y="5"/>
                    </a:cubicBezTo>
                    <a:cubicBezTo>
                      <a:pt x="1" y="7"/>
                      <a:pt x="1" y="9"/>
                      <a:pt x="0" y="13"/>
                    </a:cubicBezTo>
                    <a:cubicBezTo>
                      <a:pt x="4" y="11"/>
                      <a:pt x="6" y="10"/>
                      <a:pt x="10" y="10"/>
                    </a:cubicBezTo>
                    <a:cubicBezTo>
                      <a:pt x="11" y="10"/>
                      <a:pt x="12" y="10"/>
                      <a:pt x="14" y="10"/>
                    </a:cubicBezTo>
                    <a:cubicBezTo>
                      <a:pt x="15" y="10"/>
                      <a:pt x="17" y="11"/>
                      <a:pt x="18" y="11"/>
                    </a:cubicBezTo>
                    <a:cubicBezTo>
                      <a:pt x="21" y="11"/>
                      <a:pt x="23" y="9"/>
                      <a:pt x="27" y="6"/>
                    </a:cubicBezTo>
                    <a:cubicBezTo>
                      <a:pt x="32" y="3"/>
                      <a:pt x="28" y="2"/>
                      <a:pt x="25" y="1"/>
                    </a:cubicBezTo>
                    <a:cubicBezTo>
                      <a:pt x="24" y="0"/>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1265"/>
              <p:cNvSpPr/>
              <p:nvPr/>
            </p:nvSpPr>
            <p:spPr bwMode="auto">
              <a:xfrm>
                <a:off x="2679" y="1530"/>
                <a:ext cx="42" cy="61"/>
              </a:xfrm>
              <a:custGeom>
                <a:gdLst>
                  <a:gd name="T0" fmla="*/ 16 w 18"/>
                  <a:gd name="T1" fmla="*/ 0 h 26"/>
                  <a:gd name="T2" fmla="*/ 4 w 18"/>
                  <a:gd name="T3" fmla="*/ 12 h 26"/>
                  <a:gd name="T4" fmla="*/ 1 w 18"/>
                  <a:gd name="T5" fmla="*/ 17 h 26"/>
                  <a:gd name="T6" fmla="*/ 0 w 18"/>
                  <a:gd name="T7" fmla="*/ 17 h 26"/>
                  <a:gd name="T8" fmla="*/ 0 w 18"/>
                  <a:gd name="T9" fmla="*/ 17 h 26"/>
                  <a:gd name="T10" fmla="*/ 0 w 18"/>
                  <a:gd name="T11" fmla="*/ 17 h 26"/>
                  <a:gd name="T12" fmla="*/ 1 w 18"/>
                  <a:gd name="T13" fmla="*/ 18 h 26"/>
                  <a:gd name="T14" fmla="*/ 1 w 18"/>
                  <a:gd name="T15" fmla="*/ 18 h 26"/>
                  <a:gd name="T16" fmla="*/ 1 w 18"/>
                  <a:gd name="T17" fmla="*/ 23 h 26"/>
                  <a:gd name="T18" fmla="*/ 2 w 18"/>
                  <a:gd name="T19" fmla="*/ 25 h 26"/>
                  <a:gd name="T20" fmla="*/ 4 w 18"/>
                  <a:gd name="T21" fmla="*/ 26 h 26"/>
                  <a:gd name="T22" fmla="*/ 7 w 18"/>
                  <a:gd name="T23" fmla="*/ 25 h 26"/>
                  <a:gd name="T24" fmla="*/ 8 w 18"/>
                  <a:gd name="T25" fmla="*/ 22 h 26"/>
                  <a:gd name="T26" fmla="*/ 10 w 18"/>
                  <a:gd name="T27" fmla="*/ 20 h 26"/>
                  <a:gd name="T28" fmla="*/ 15 w 18"/>
                  <a:gd name="T29" fmla="*/ 15 h 26"/>
                  <a:gd name="T30" fmla="*/ 17 w 18"/>
                  <a:gd name="T31" fmla="*/ 8 h 26"/>
                  <a:gd name="T32" fmla="*/ 18 w 18"/>
                  <a:gd name="T33" fmla="*/ 2 h 26"/>
                  <a:gd name="T34" fmla="*/ 16 w 18"/>
                  <a:gd name="T35"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6">
                    <a:moveTo>
                      <a:pt x="16" y="0"/>
                    </a:moveTo>
                    <a:cubicBezTo>
                      <a:pt x="12" y="3"/>
                      <a:pt x="6" y="7"/>
                      <a:pt x="4" y="12"/>
                    </a:cubicBezTo>
                    <a:cubicBezTo>
                      <a:pt x="3" y="14"/>
                      <a:pt x="4" y="17"/>
                      <a:pt x="1" y="17"/>
                    </a:cubicBezTo>
                    <a:cubicBezTo>
                      <a:pt x="1" y="17"/>
                      <a:pt x="1" y="17"/>
                      <a:pt x="0" y="17"/>
                    </a:cubicBezTo>
                    <a:cubicBezTo>
                      <a:pt x="0" y="17"/>
                      <a:pt x="0" y="17"/>
                      <a:pt x="0" y="17"/>
                    </a:cubicBezTo>
                    <a:cubicBezTo>
                      <a:pt x="0" y="17"/>
                      <a:pt x="0" y="17"/>
                      <a:pt x="0" y="17"/>
                    </a:cubicBezTo>
                    <a:cubicBezTo>
                      <a:pt x="0" y="17"/>
                      <a:pt x="1" y="18"/>
                      <a:pt x="1" y="18"/>
                    </a:cubicBezTo>
                    <a:cubicBezTo>
                      <a:pt x="1" y="18"/>
                      <a:pt x="1" y="18"/>
                      <a:pt x="1" y="18"/>
                    </a:cubicBezTo>
                    <a:cubicBezTo>
                      <a:pt x="1" y="23"/>
                      <a:pt x="1" y="23"/>
                      <a:pt x="1" y="23"/>
                    </a:cubicBezTo>
                    <a:cubicBezTo>
                      <a:pt x="1" y="26"/>
                      <a:pt x="0" y="25"/>
                      <a:pt x="2" y="25"/>
                    </a:cubicBezTo>
                    <a:cubicBezTo>
                      <a:pt x="2" y="26"/>
                      <a:pt x="3" y="26"/>
                      <a:pt x="4" y="26"/>
                    </a:cubicBezTo>
                    <a:cubicBezTo>
                      <a:pt x="5" y="26"/>
                      <a:pt x="6" y="26"/>
                      <a:pt x="7" y="25"/>
                    </a:cubicBezTo>
                    <a:cubicBezTo>
                      <a:pt x="8" y="22"/>
                      <a:pt x="8" y="22"/>
                      <a:pt x="8" y="22"/>
                    </a:cubicBezTo>
                    <a:cubicBezTo>
                      <a:pt x="9" y="21"/>
                      <a:pt x="9" y="21"/>
                      <a:pt x="10" y="20"/>
                    </a:cubicBezTo>
                    <a:cubicBezTo>
                      <a:pt x="11" y="18"/>
                      <a:pt x="13" y="17"/>
                      <a:pt x="15" y="15"/>
                    </a:cubicBezTo>
                    <a:cubicBezTo>
                      <a:pt x="16" y="13"/>
                      <a:pt x="16" y="10"/>
                      <a:pt x="17" y="8"/>
                    </a:cubicBezTo>
                    <a:cubicBezTo>
                      <a:pt x="15" y="7"/>
                      <a:pt x="15" y="3"/>
                      <a:pt x="18" y="2"/>
                    </a:cubicBezTo>
                    <a:cubicBezTo>
                      <a:pt x="18" y="1"/>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Freeform 1266"/>
              <p:cNvSpPr/>
              <p:nvPr/>
            </p:nvSpPr>
            <p:spPr bwMode="auto">
              <a:xfrm>
                <a:off x="2981" y="1149"/>
                <a:ext cx="95" cy="21"/>
              </a:xfrm>
              <a:custGeom>
                <a:gdLst>
                  <a:gd name="T0" fmla="*/ 0 w 40"/>
                  <a:gd name="T1" fmla="*/ 0 h 9"/>
                  <a:gd name="T2" fmla="*/ 28 w 40"/>
                  <a:gd name="T3" fmla="*/ 9 h 9"/>
                  <a:gd name="T4" fmla="*/ 30 w 40"/>
                  <a:gd name="T5" fmla="*/ 8 h 9"/>
                  <a:gd name="T6" fmla="*/ 31 w 40"/>
                  <a:gd name="T7" fmla="*/ 8 h 9"/>
                  <a:gd name="T8" fmla="*/ 40 w 40"/>
                  <a:gd name="T9" fmla="*/ 6 h 9"/>
                  <a:gd name="T10" fmla="*/ 36 w 40"/>
                  <a:gd name="T11" fmla="*/ 4 h 9"/>
                  <a:gd name="T12" fmla="*/ 27 w 40"/>
                  <a:gd name="T13" fmla="*/ 4 h 9"/>
                  <a:gd name="T14" fmla="*/ 20 w 40"/>
                  <a:gd name="T15" fmla="*/ 2 h 9"/>
                  <a:gd name="T16" fmla="*/ 0 w 40"/>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9">
                    <a:moveTo>
                      <a:pt x="0" y="0"/>
                    </a:moveTo>
                    <a:cubicBezTo>
                      <a:pt x="1" y="1"/>
                      <a:pt x="21" y="9"/>
                      <a:pt x="28" y="9"/>
                    </a:cubicBezTo>
                    <a:cubicBezTo>
                      <a:pt x="29" y="9"/>
                      <a:pt x="30" y="9"/>
                      <a:pt x="30" y="8"/>
                    </a:cubicBezTo>
                    <a:cubicBezTo>
                      <a:pt x="30" y="8"/>
                      <a:pt x="31" y="8"/>
                      <a:pt x="31" y="8"/>
                    </a:cubicBezTo>
                    <a:cubicBezTo>
                      <a:pt x="34" y="8"/>
                      <a:pt x="38" y="7"/>
                      <a:pt x="40" y="6"/>
                    </a:cubicBezTo>
                    <a:cubicBezTo>
                      <a:pt x="39" y="5"/>
                      <a:pt x="38" y="5"/>
                      <a:pt x="36" y="4"/>
                    </a:cubicBezTo>
                    <a:cubicBezTo>
                      <a:pt x="33" y="4"/>
                      <a:pt x="30" y="4"/>
                      <a:pt x="27" y="4"/>
                    </a:cubicBezTo>
                    <a:cubicBezTo>
                      <a:pt x="25" y="3"/>
                      <a:pt x="22" y="2"/>
                      <a:pt x="20" y="2"/>
                    </a:cubicBezTo>
                    <a:cubicBezTo>
                      <a:pt x="13" y="1"/>
                      <a:pt x="6"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Freeform 1267"/>
              <p:cNvSpPr/>
              <p:nvPr/>
            </p:nvSpPr>
            <p:spPr bwMode="auto">
              <a:xfrm>
                <a:off x="2041" y="1388"/>
                <a:ext cx="12" cy="28"/>
              </a:xfrm>
              <a:custGeom>
                <a:gdLst>
                  <a:gd name="T0" fmla="*/ 4 w 5"/>
                  <a:gd name="T1" fmla="*/ 0 h 12"/>
                  <a:gd name="T2" fmla="*/ 0 w 5"/>
                  <a:gd name="T3" fmla="*/ 6 h 12"/>
                  <a:gd name="T4" fmla="*/ 4 w 5"/>
                  <a:gd name="T5" fmla="*/ 12 h 12"/>
                  <a:gd name="T6" fmla="*/ 5 w 5"/>
                  <a:gd name="T7" fmla="*/ 0 h 12"/>
                  <a:gd name="T8" fmla="*/ 4 w 5"/>
                  <a:gd name="T9" fmla="*/ 0 h 12"/>
                </a:gdLst>
                <a:cxnLst>
                  <a:cxn ang="0">
                    <a:pos x="T0" y="T1"/>
                  </a:cxn>
                  <a:cxn ang="0">
                    <a:pos x="T2" y="T3"/>
                  </a:cxn>
                  <a:cxn ang="0">
                    <a:pos x="T4" y="T5"/>
                  </a:cxn>
                  <a:cxn ang="0">
                    <a:pos x="T6" y="T7"/>
                  </a:cxn>
                  <a:cxn ang="0">
                    <a:pos x="T8" y="T9"/>
                  </a:cxn>
                </a:cxnLst>
                <a:rect l="0" t="0" r="r" b="b"/>
                <a:pathLst>
                  <a:path w="5" h="12">
                    <a:moveTo>
                      <a:pt x="4" y="0"/>
                    </a:moveTo>
                    <a:cubicBezTo>
                      <a:pt x="2" y="0"/>
                      <a:pt x="0" y="3"/>
                      <a:pt x="0" y="6"/>
                    </a:cubicBezTo>
                    <a:cubicBezTo>
                      <a:pt x="1" y="9"/>
                      <a:pt x="4" y="10"/>
                      <a:pt x="4" y="12"/>
                    </a:cubicBezTo>
                    <a:cubicBezTo>
                      <a:pt x="5" y="8"/>
                      <a:pt x="5" y="4"/>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Freeform 1268"/>
              <p:cNvSpPr/>
              <p:nvPr/>
            </p:nvSpPr>
            <p:spPr bwMode="auto">
              <a:xfrm>
                <a:off x="1833" y="920"/>
                <a:ext cx="444" cy="510"/>
              </a:xfrm>
              <a:custGeom>
                <a:gdLst>
                  <a:gd name="T0" fmla="*/ 168 w 188"/>
                  <a:gd name="T1" fmla="*/ 11 h 216"/>
                  <a:gd name="T2" fmla="*/ 150 w 188"/>
                  <a:gd name="T3" fmla="*/ 26 h 216"/>
                  <a:gd name="T4" fmla="*/ 121 w 188"/>
                  <a:gd name="T5" fmla="*/ 26 h 216"/>
                  <a:gd name="T6" fmla="*/ 91 w 188"/>
                  <a:gd name="T7" fmla="*/ 20 h 216"/>
                  <a:gd name="T8" fmla="*/ 85 w 188"/>
                  <a:gd name="T9" fmla="*/ 20 h 216"/>
                  <a:gd name="T10" fmla="*/ 74 w 188"/>
                  <a:gd name="T11" fmla="*/ 14 h 216"/>
                  <a:gd name="T12" fmla="*/ 59 w 188"/>
                  <a:gd name="T13" fmla="*/ 19 h 216"/>
                  <a:gd name="T14" fmla="*/ 49 w 188"/>
                  <a:gd name="T15" fmla="*/ 27 h 216"/>
                  <a:gd name="T16" fmla="*/ 45 w 188"/>
                  <a:gd name="T17" fmla="*/ 22 h 216"/>
                  <a:gd name="T18" fmla="*/ 36 w 188"/>
                  <a:gd name="T19" fmla="*/ 31 h 216"/>
                  <a:gd name="T20" fmla="*/ 28 w 188"/>
                  <a:gd name="T21" fmla="*/ 51 h 216"/>
                  <a:gd name="T22" fmla="*/ 30 w 188"/>
                  <a:gd name="T23" fmla="*/ 57 h 216"/>
                  <a:gd name="T24" fmla="*/ 18 w 188"/>
                  <a:gd name="T25" fmla="*/ 84 h 216"/>
                  <a:gd name="T26" fmla="*/ 3 w 188"/>
                  <a:gd name="T27" fmla="*/ 128 h 216"/>
                  <a:gd name="T28" fmla="*/ 2 w 188"/>
                  <a:gd name="T29" fmla="*/ 133 h 216"/>
                  <a:gd name="T30" fmla="*/ 8 w 188"/>
                  <a:gd name="T31" fmla="*/ 153 h 216"/>
                  <a:gd name="T32" fmla="*/ 24 w 188"/>
                  <a:gd name="T33" fmla="*/ 164 h 216"/>
                  <a:gd name="T34" fmla="*/ 19 w 188"/>
                  <a:gd name="T35" fmla="*/ 213 h 216"/>
                  <a:gd name="T36" fmla="*/ 26 w 188"/>
                  <a:gd name="T37" fmla="*/ 216 h 216"/>
                  <a:gd name="T38" fmla="*/ 44 w 188"/>
                  <a:gd name="T39" fmla="*/ 211 h 216"/>
                  <a:gd name="T40" fmla="*/ 48 w 188"/>
                  <a:gd name="T41" fmla="*/ 184 h 216"/>
                  <a:gd name="T42" fmla="*/ 43 w 188"/>
                  <a:gd name="T43" fmla="*/ 138 h 216"/>
                  <a:gd name="T44" fmla="*/ 62 w 188"/>
                  <a:gd name="T45" fmla="*/ 127 h 216"/>
                  <a:gd name="T46" fmla="*/ 63 w 188"/>
                  <a:gd name="T47" fmla="*/ 154 h 216"/>
                  <a:gd name="T48" fmla="*/ 71 w 188"/>
                  <a:gd name="T49" fmla="*/ 161 h 216"/>
                  <a:gd name="T50" fmla="*/ 77 w 188"/>
                  <a:gd name="T51" fmla="*/ 166 h 216"/>
                  <a:gd name="T52" fmla="*/ 79 w 188"/>
                  <a:gd name="T53" fmla="*/ 184 h 216"/>
                  <a:gd name="T54" fmla="*/ 94 w 188"/>
                  <a:gd name="T55" fmla="*/ 192 h 216"/>
                  <a:gd name="T56" fmla="*/ 110 w 188"/>
                  <a:gd name="T57" fmla="*/ 179 h 216"/>
                  <a:gd name="T58" fmla="*/ 117 w 188"/>
                  <a:gd name="T59" fmla="*/ 170 h 216"/>
                  <a:gd name="T60" fmla="*/ 109 w 188"/>
                  <a:gd name="T61" fmla="*/ 166 h 216"/>
                  <a:gd name="T62" fmla="*/ 105 w 188"/>
                  <a:gd name="T63" fmla="*/ 159 h 216"/>
                  <a:gd name="T64" fmla="*/ 105 w 188"/>
                  <a:gd name="T65" fmla="*/ 159 h 216"/>
                  <a:gd name="T66" fmla="*/ 105 w 188"/>
                  <a:gd name="T67" fmla="*/ 144 h 216"/>
                  <a:gd name="T68" fmla="*/ 94 w 188"/>
                  <a:gd name="T69" fmla="*/ 129 h 216"/>
                  <a:gd name="T70" fmla="*/ 84 w 188"/>
                  <a:gd name="T71" fmla="*/ 114 h 216"/>
                  <a:gd name="T72" fmla="*/ 79 w 188"/>
                  <a:gd name="T73" fmla="*/ 110 h 216"/>
                  <a:gd name="T74" fmla="*/ 75 w 188"/>
                  <a:gd name="T75" fmla="*/ 105 h 216"/>
                  <a:gd name="T76" fmla="*/ 112 w 188"/>
                  <a:gd name="T77" fmla="*/ 85 h 216"/>
                  <a:gd name="T78" fmla="*/ 125 w 188"/>
                  <a:gd name="T79" fmla="*/ 76 h 216"/>
                  <a:gd name="T80" fmla="*/ 128 w 188"/>
                  <a:gd name="T81" fmla="*/ 67 h 216"/>
                  <a:gd name="T82" fmla="*/ 115 w 188"/>
                  <a:gd name="T83" fmla="*/ 73 h 216"/>
                  <a:gd name="T84" fmla="*/ 101 w 188"/>
                  <a:gd name="T85" fmla="*/ 73 h 216"/>
                  <a:gd name="T86" fmla="*/ 84 w 188"/>
                  <a:gd name="T87" fmla="*/ 75 h 216"/>
                  <a:gd name="T88" fmla="*/ 76 w 188"/>
                  <a:gd name="T89" fmla="*/ 79 h 216"/>
                  <a:gd name="T90" fmla="*/ 65 w 188"/>
                  <a:gd name="T91" fmla="*/ 92 h 216"/>
                  <a:gd name="T92" fmla="*/ 55 w 188"/>
                  <a:gd name="T93" fmla="*/ 91 h 216"/>
                  <a:gd name="T94" fmla="*/ 47 w 188"/>
                  <a:gd name="T95" fmla="*/ 77 h 216"/>
                  <a:gd name="T96" fmla="*/ 45 w 188"/>
                  <a:gd name="T97" fmla="*/ 78 h 216"/>
                  <a:gd name="T98" fmla="*/ 36 w 188"/>
                  <a:gd name="T99" fmla="*/ 57 h 216"/>
                  <a:gd name="T100" fmla="*/ 65 w 188"/>
                  <a:gd name="T101" fmla="*/ 36 h 216"/>
                  <a:gd name="T102" fmla="*/ 96 w 188"/>
                  <a:gd name="T103" fmla="*/ 37 h 216"/>
                  <a:gd name="T104" fmla="*/ 107 w 188"/>
                  <a:gd name="T105" fmla="*/ 36 h 216"/>
                  <a:gd name="T106" fmla="*/ 136 w 188"/>
                  <a:gd name="T107" fmla="*/ 42 h 216"/>
                  <a:gd name="T108" fmla="*/ 160 w 188"/>
                  <a:gd name="T109" fmla="*/ 39 h 216"/>
                  <a:gd name="T110" fmla="*/ 184 w 188"/>
                  <a:gd name="T111" fmla="*/ 10 h 2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216">
                    <a:moveTo>
                      <a:pt x="182" y="0"/>
                    </a:moveTo>
                    <a:cubicBezTo>
                      <a:pt x="179" y="0"/>
                      <a:pt x="177" y="3"/>
                      <a:pt x="176" y="5"/>
                    </a:cubicBezTo>
                    <a:cubicBezTo>
                      <a:pt x="174" y="9"/>
                      <a:pt x="173" y="9"/>
                      <a:pt x="168" y="11"/>
                    </a:cubicBezTo>
                    <a:cubicBezTo>
                      <a:pt x="170" y="14"/>
                      <a:pt x="170" y="14"/>
                      <a:pt x="168" y="17"/>
                    </a:cubicBezTo>
                    <a:cubicBezTo>
                      <a:pt x="165" y="19"/>
                      <a:pt x="160" y="21"/>
                      <a:pt x="157" y="23"/>
                    </a:cubicBezTo>
                    <a:cubicBezTo>
                      <a:pt x="155" y="23"/>
                      <a:pt x="151" y="25"/>
                      <a:pt x="150" y="26"/>
                    </a:cubicBezTo>
                    <a:cubicBezTo>
                      <a:pt x="145" y="26"/>
                      <a:pt x="140" y="25"/>
                      <a:pt x="134" y="25"/>
                    </a:cubicBezTo>
                    <a:cubicBezTo>
                      <a:pt x="132" y="25"/>
                      <a:pt x="130" y="24"/>
                      <a:pt x="129" y="24"/>
                    </a:cubicBezTo>
                    <a:cubicBezTo>
                      <a:pt x="126" y="24"/>
                      <a:pt x="124" y="25"/>
                      <a:pt x="121" y="26"/>
                    </a:cubicBezTo>
                    <a:cubicBezTo>
                      <a:pt x="120" y="26"/>
                      <a:pt x="119" y="26"/>
                      <a:pt x="117" y="26"/>
                    </a:cubicBezTo>
                    <a:cubicBezTo>
                      <a:pt x="112" y="26"/>
                      <a:pt x="105" y="23"/>
                      <a:pt x="99" y="21"/>
                    </a:cubicBezTo>
                    <a:cubicBezTo>
                      <a:pt x="97" y="20"/>
                      <a:pt x="94" y="20"/>
                      <a:pt x="91" y="20"/>
                    </a:cubicBezTo>
                    <a:cubicBezTo>
                      <a:pt x="90" y="20"/>
                      <a:pt x="89" y="20"/>
                      <a:pt x="88" y="20"/>
                    </a:cubicBezTo>
                    <a:cubicBezTo>
                      <a:pt x="87" y="20"/>
                      <a:pt x="86" y="20"/>
                      <a:pt x="86" y="20"/>
                    </a:cubicBezTo>
                    <a:cubicBezTo>
                      <a:pt x="85" y="20"/>
                      <a:pt x="85" y="20"/>
                      <a:pt x="85" y="20"/>
                    </a:cubicBezTo>
                    <a:cubicBezTo>
                      <a:pt x="80" y="20"/>
                      <a:pt x="81" y="17"/>
                      <a:pt x="78" y="14"/>
                    </a:cubicBezTo>
                    <a:cubicBezTo>
                      <a:pt x="77" y="14"/>
                      <a:pt x="77" y="13"/>
                      <a:pt x="76" y="13"/>
                    </a:cubicBezTo>
                    <a:cubicBezTo>
                      <a:pt x="76" y="13"/>
                      <a:pt x="75" y="13"/>
                      <a:pt x="74" y="14"/>
                    </a:cubicBezTo>
                    <a:cubicBezTo>
                      <a:pt x="73" y="14"/>
                      <a:pt x="72" y="14"/>
                      <a:pt x="71" y="14"/>
                    </a:cubicBezTo>
                    <a:cubicBezTo>
                      <a:pt x="67" y="14"/>
                      <a:pt x="64" y="13"/>
                      <a:pt x="60" y="12"/>
                    </a:cubicBezTo>
                    <a:cubicBezTo>
                      <a:pt x="60" y="14"/>
                      <a:pt x="60" y="17"/>
                      <a:pt x="59" y="19"/>
                    </a:cubicBezTo>
                    <a:cubicBezTo>
                      <a:pt x="58" y="21"/>
                      <a:pt x="56" y="22"/>
                      <a:pt x="54" y="25"/>
                    </a:cubicBezTo>
                    <a:cubicBezTo>
                      <a:pt x="53" y="26"/>
                      <a:pt x="53" y="27"/>
                      <a:pt x="52" y="27"/>
                    </a:cubicBezTo>
                    <a:cubicBezTo>
                      <a:pt x="51" y="27"/>
                      <a:pt x="50" y="27"/>
                      <a:pt x="49" y="27"/>
                    </a:cubicBezTo>
                    <a:cubicBezTo>
                      <a:pt x="47" y="26"/>
                      <a:pt x="46" y="25"/>
                      <a:pt x="46" y="24"/>
                    </a:cubicBezTo>
                    <a:cubicBezTo>
                      <a:pt x="45" y="24"/>
                      <a:pt x="46" y="22"/>
                      <a:pt x="46" y="22"/>
                    </a:cubicBezTo>
                    <a:cubicBezTo>
                      <a:pt x="45" y="22"/>
                      <a:pt x="45" y="22"/>
                      <a:pt x="45" y="22"/>
                    </a:cubicBezTo>
                    <a:cubicBezTo>
                      <a:pt x="44" y="22"/>
                      <a:pt x="44" y="23"/>
                      <a:pt x="43" y="24"/>
                    </a:cubicBezTo>
                    <a:cubicBezTo>
                      <a:pt x="42" y="26"/>
                      <a:pt x="41" y="28"/>
                      <a:pt x="39" y="29"/>
                    </a:cubicBezTo>
                    <a:cubicBezTo>
                      <a:pt x="38" y="29"/>
                      <a:pt x="37" y="30"/>
                      <a:pt x="36" y="31"/>
                    </a:cubicBezTo>
                    <a:cubicBezTo>
                      <a:pt x="36" y="33"/>
                      <a:pt x="35" y="35"/>
                      <a:pt x="35" y="36"/>
                    </a:cubicBezTo>
                    <a:cubicBezTo>
                      <a:pt x="34" y="37"/>
                      <a:pt x="33" y="37"/>
                      <a:pt x="33" y="37"/>
                    </a:cubicBezTo>
                    <a:cubicBezTo>
                      <a:pt x="30" y="41"/>
                      <a:pt x="29" y="46"/>
                      <a:pt x="28" y="51"/>
                    </a:cubicBezTo>
                    <a:cubicBezTo>
                      <a:pt x="27" y="50"/>
                      <a:pt x="27" y="50"/>
                      <a:pt x="26" y="50"/>
                    </a:cubicBezTo>
                    <a:cubicBezTo>
                      <a:pt x="26" y="50"/>
                      <a:pt x="25" y="50"/>
                      <a:pt x="25" y="51"/>
                    </a:cubicBezTo>
                    <a:cubicBezTo>
                      <a:pt x="28" y="53"/>
                      <a:pt x="29" y="53"/>
                      <a:pt x="30" y="57"/>
                    </a:cubicBezTo>
                    <a:cubicBezTo>
                      <a:pt x="31" y="61"/>
                      <a:pt x="33" y="71"/>
                      <a:pt x="30" y="73"/>
                    </a:cubicBezTo>
                    <a:cubicBezTo>
                      <a:pt x="29" y="72"/>
                      <a:pt x="28" y="71"/>
                      <a:pt x="28" y="69"/>
                    </a:cubicBezTo>
                    <a:cubicBezTo>
                      <a:pt x="23" y="73"/>
                      <a:pt x="21" y="79"/>
                      <a:pt x="18" y="84"/>
                    </a:cubicBezTo>
                    <a:cubicBezTo>
                      <a:pt x="17" y="85"/>
                      <a:pt x="16" y="86"/>
                      <a:pt x="16" y="87"/>
                    </a:cubicBezTo>
                    <a:cubicBezTo>
                      <a:pt x="14" y="93"/>
                      <a:pt x="18" y="100"/>
                      <a:pt x="15" y="106"/>
                    </a:cubicBezTo>
                    <a:cubicBezTo>
                      <a:pt x="11" y="113"/>
                      <a:pt x="7" y="120"/>
                      <a:pt x="3" y="128"/>
                    </a:cubicBezTo>
                    <a:cubicBezTo>
                      <a:pt x="2" y="127"/>
                      <a:pt x="2" y="127"/>
                      <a:pt x="1" y="127"/>
                    </a:cubicBezTo>
                    <a:cubicBezTo>
                      <a:pt x="1" y="127"/>
                      <a:pt x="1" y="127"/>
                      <a:pt x="1" y="128"/>
                    </a:cubicBezTo>
                    <a:cubicBezTo>
                      <a:pt x="0" y="129"/>
                      <a:pt x="2" y="132"/>
                      <a:pt x="2" y="133"/>
                    </a:cubicBezTo>
                    <a:cubicBezTo>
                      <a:pt x="4" y="137"/>
                      <a:pt x="1" y="137"/>
                      <a:pt x="1" y="140"/>
                    </a:cubicBezTo>
                    <a:cubicBezTo>
                      <a:pt x="0" y="142"/>
                      <a:pt x="3" y="146"/>
                      <a:pt x="4" y="149"/>
                    </a:cubicBezTo>
                    <a:cubicBezTo>
                      <a:pt x="6" y="152"/>
                      <a:pt x="6" y="153"/>
                      <a:pt x="8" y="153"/>
                    </a:cubicBezTo>
                    <a:cubicBezTo>
                      <a:pt x="9" y="153"/>
                      <a:pt x="10" y="153"/>
                      <a:pt x="11" y="153"/>
                    </a:cubicBezTo>
                    <a:cubicBezTo>
                      <a:pt x="14" y="153"/>
                      <a:pt x="17" y="152"/>
                      <a:pt x="21" y="152"/>
                    </a:cubicBezTo>
                    <a:cubicBezTo>
                      <a:pt x="20" y="158"/>
                      <a:pt x="20" y="159"/>
                      <a:pt x="24" y="164"/>
                    </a:cubicBezTo>
                    <a:cubicBezTo>
                      <a:pt x="26" y="168"/>
                      <a:pt x="24" y="177"/>
                      <a:pt x="24" y="182"/>
                    </a:cubicBezTo>
                    <a:cubicBezTo>
                      <a:pt x="24" y="187"/>
                      <a:pt x="22" y="193"/>
                      <a:pt x="20" y="198"/>
                    </a:cubicBezTo>
                    <a:cubicBezTo>
                      <a:pt x="18" y="204"/>
                      <a:pt x="17" y="208"/>
                      <a:pt x="19" y="213"/>
                    </a:cubicBezTo>
                    <a:cubicBezTo>
                      <a:pt x="20" y="212"/>
                      <a:pt x="21" y="212"/>
                      <a:pt x="21" y="212"/>
                    </a:cubicBezTo>
                    <a:cubicBezTo>
                      <a:pt x="23" y="212"/>
                      <a:pt x="24" y="215"/>
                      <a:pt x="26" y="216"/>
                    </a:cubicBezTo>
                    <a:cubicBezTo>
                      <a:pt x="26" y="216"/>
                      <a:pt x="26" y="216"/>
                      <a:pt x="26" y="216"/>
                    </a:cubicBezTo>
                    <a:cubicBezTo>
                      <a:pt x="28" y="216"/>
                      <a:pt x="29" y="215"/>
                      <a:pt x="30" y="214"/>
                    </a:cubicBezTo>
                    <a:cubicBezTo>
                      <a:pt x="34" y="213"/>
                      <a:pt x="37" y="214"/>
                      <a:pt x="41" y="212"/>
                    </a:cubicBezTo>
                    <a:cubicBezTo>
                      <a:pt x="43" y="212"/>
                      <a:pt x="44" y="211"/>
                      <a:pt x="44" y="211"/>
                    </a:cubicBezTo>
                    <a:cubicBezTo>
                      <a:pt x="46" y="211"/>
                      <a:pt x="47" y="212"/>
                      <a:pt x="49" y="214"/>
                    </a:cubicBezTo>
                    <a:cubicBezTo>
                      <a:pt x="47" y="208"/>
                      <a:pt x="43" y="202"/>
                      <a:pt x="45" y="196"/>
                    </a:cubicBezTo>
                    <a:cubicBezTo>
                      <a:pt x="46" y="192"/>
                      <a:pt x="49" y="187"/>
                      <a:pt x="48" y="184"/>
                    </a:cubicBezTo>
                    <a:cubicBezTo>
                      <a:pt x="47" y="176"/>
                      <a:pt x="47" y="171"/>
                      <a:pt x="48" y="164"/>
                    </a:cubicBezTo>
                    <a:cubicBezTo>
                      <a:pt x="49" y="158"/>
                      <a:pt x="49" y="152"/>
                      <a:pt x="47" y="146"/>
                    </a:cubicBezTo>
                    <a:cubicBezTo>
                      <a:pt x="47" y="143"/>
                      <a:pt x="43" y="141"/>
                      <a:pt x="43" y="138"/>
                    </a:cubicBezTo>
                    <a:cubicBezTo>
                      <a:pt x="44" y="135"/>
                      <a:pt x="45" y="135"/>
                      <a:pt x="48" y="133"/>
                    </a:cubicBezTo>
                    <a:cubicBezTo>
                      <a:pt x="52" y="130"/>
                      <a:pt x="55" y="127"/>
                      <a:pt x="60" y="127"/>
                    </a:cubicBezTo>
                    <a:cubicBezTo>
                      <a:pt x="60" y="127"/>
                      <a:pt x="61" y="127"/>
                      <a:pt x="62" y="127"/>
                    </a:cubicBezTo>
                    <a:cubicBezTo>
                      <a:pt x="69" y="128"/>
                      <a:pt x="67" y="137"/>
                      <a:pt x="66" y="142"/>
                    </a:cubicBezTo>
                    <a:cubicBezTo>
                      <a:pt x="66" y="145"/>
                      <a:pt x="63" y="146"/>
                      <a:pt x="62" y="149"/>
                    </a:cubicBezTo>
                    <a:cubicBezTo>
                      <a:pt x="61" y="151"/>
                      <a:pt x="60" y="151"/>
                      <a:pt x="63" y="154"/>
                    </a:cubicBezTo>
                    <a:cubicBezTo>
                      <a:pt x="65" y="156"/>
                      <a:pt x="67" y="159"/>
                      <a:pt x="70" y="161"/>
                    </a:cubicBezTo>
                    <a:cubicBezTo>
                      <a:pt x="70" y="161"/>
                      <a:pt x="70" y="161"/>
                      <a:pt x="70" y="161"/>
                    </a:cubicBezTo>
                    <a:cubicBezTo>
                      <a:pt x="70" y="161"/>
                      <a:pt x="70" y="161"/>
                      <a:pt x="71" y="161"/>
                    </a:cubicBezTo>
                    <a:cubicBezTo>
                      <a:pt x="71" y="161"/>
                      <a:pt x="71" y="161"/>
                      <a:pt x="71" y="161"/>
                    </a:cubicBezTo>
                    <a:cubicBezTo>
                      <a:pt x="71" y="161"/>
                      <a:pt x="71" y="161"/>
                      <a:pt x="72" y="161"/>
                    </a:cubicBezTo>
                    <a:cubicBezTo>
                      <a:pt x="74" y="163"/>
                      <a:pt x="74" y="165"/>
                      <a:pt x="77" y="166"/>
                    </a:cubicBezTo>
                    <a:cubicBezTo>
                      <a:pt x="78" y="167"/>
                      <a:pt x="79" y="167"/>
                      <a:pt x="80" y="167"/>
                    </a:cubicBezTo>
                    <a:cubicBezTo>
                      <a:pt x="82" y="169"/>
                      <a:pt x="83" y="168"/>
                      <a:pt x="82" y="172"/>
                    </a:cubicBezTo>
                    <a:cubicBezTo>
                      <a:pt x="81" y="175"/>
                      <a:pt x="77" y="182"/>
                      <a:pt x="79" y="184"/>
                    </a:cubicBezTo>
                    <a:cubicBezTo>
                      <a:pt x="83" y="188"/>
                      <a:pt x="84" y="191"/>
                      <a:pt x="89" y="191"/>
                    </a:cubicBezTo>
                    <a:cubicBezTo>
                      <a:pt x="90" y="192"/>
                      <a:pt x="91" y="192"/>
                      <a:pt x="93" y="192"/>
                    </a:cubicBezTo>
                    <a:cubicBezTo>
                      <a:pt x="93" y="192"/>
                      <a:pt x="94" y="192"/>
                      <a:pt x="94" y="192"/>
                    </a:cubicBezTo>
                    <a:cubicBezTo>
                      <a:pt x="98" y="190"/>
                      <a:pt x="98" y="186"/>
                      <a:pt x="99" y="181"/>
                    </a:cubicBezTo>
                    <a:cubicBezTo>
                      <a:pt x="99" y="181"/>
                      <a:pt x="105" y="180"/>
                      <a:pt x="107" y="179"/>
                    </a:cubicBezTo>
                    <a:cubicBezTo>
                      <a:pt x="110" y="179"/>
                      <a:pt x="110" y="179"/>
                      <a:pt x="110" y="179"/>
                    </a:cubicBezTo>
                    <a:cubicBezTo>
                      <a:pt x="113" y="179"/>
                      <a:pt x="113" y="181"/>
                      <a:pt x="115" y="181"/>
                    </a:cubicBezTo>
                    <a:cubicBezTo>
                      <a:pt x="115" y="181"/>
                      <a:pt x="116" y="180"/>
                      <a:pt x="118" y="179"/>
                    </a:cubicBezTo>
                    <a:cubicBezTo>
                      <a:pt x="121" y="177"/>
                      <a:pt x="121" y="170"/>
                      <a:pt x="117" y="170"/>
                    </a:cubicBezTo>
                    <a:cubicBezTo>
                      <a:pt x="116" y="170"/>
                      <a:pt x="115" y="170"/>
                      <a:pt x="114" y="171"/>
                    </a:cubicBezTo>
                    <a:cubicBezTo>
                      <a:pt x="113" y="169"/>
                      <a:pt x="113" y="166"/>
                      <a:pt x="110" y="166"/>
                    </a:cubicBezTo>
                    <a:cubicBezTo>
                      <a:pt x="110" y="166"/>
                      <a:pt x="110" y="166"/>
                      <a:pt x="109" y="166"/>
                    </a:cubicBezTo>
                    <a:cubicBezTo>
                      <a:pt x="111" y="166"/>
                      <a:pt x="111" y="165"/>
                      <a:pt x="112" y="165"/>
                    </a:cubicBezTo>
                    <a:cubicBezTo>
                      <a:pt x="111" y="163"/>
                      <a:pt x="108" y="160"/>
                      <a:pt x="106" y="159"/>
                    </a:cubicBezTo>
                    <a:cubicBezTo>
                      <a:pt x="106" y="159"/>
                      <a:pt x="106" y="159"/>
                      <a:pt x="105" y="159"/>
                    </a:cubicBezTo>
                    <a:cubicBezTo>
                      <a:pt x="105" y="159"/>
                      <a:pt x="105" y="159"/>
                      <a:pt x="105" y="159"/>
                    </a:cubicBezTo>
                    <a:cubicBezTo>
                      <a:pt x="105" y="159"/>
                      <a:pt x="105" y="159"/>
                      <a:pt x="105" y="159"/>
                    </a:cubicBezTo>
                    <a:cubicBezTo>
                      <a:pt x="105" y="159"/>
                      <a:pt x="105" y="159"/>
                      <a:pt x="105" y="159"/>
                    </a:cubicBezTo>
                    <a:cubicBezTo>
                      <a:pt x="104" y="159"/>
                      <a:pt x="102" y="158"/>
                      <a:pt x="101" y="157"/>
                    </a:cubicBezTo>
                    <a:cubicBezTo>
                      <a:pt x="99" y="153"/>
                      <a:pt x="103" y="154"/>
                      <a:pt x="104" y="151"/>
                    </a:cubicBezTo>
                    <a:cubicBezTo>
                      <a:pt x="106" y="148"/>
                      <a:pt x="102" y="145"/>
                      <a:pt x="105" y="144"/>
                    </a:cubicBezTo>
                    <a:cubicBezTo>
                      <a:pt x="106" y="144"/>
                      <a:pt x="107" y="143"/>
                      <a:pt x="107" y="143"/>
                    </a:cubicBezTo>
                    <a:cubicBezTo>
                      <a:pt x="102" y="139"/>
                      <a:pt x="103" y="139"/>
                      <a:pt x="99" y="134"/>
                    </a:cubicBezTo>
                    <a:cubicBezTo>
                      <a:pt x="98" y="131"/>
                      <a:pt x="96" y="131"/>
                      <a:pt x="94" y="129"/>
                    </a:cubicBezTo>
                    <a:cubicBezTo>
                      <a:pt x="92" y="124"/>
                      <a:pt x="90" y="117"/>
                      <a:pt x="85" y="114"/>
                    </a:cubicBezTo>
                    <a:cubicBezTo>
                      <a:pt x="85" y="114"/>
                      <a:pt x="85" y="114"/>
                      <a:pt x="84" y="114"/>
                    </a:cubicBezTo>
                    <a:cubicBezTo>
                      <a:pt x="84" y="114"/>
                      <a:pt x="84" y="114"/>
                      <a:pt x="84" y="114"/>
                    </a:cubicBezTo>
                    <a:cubicBezTo>
                      <a:pt x="83" y="114"/>
                      <a:pt x="83" y="114"/>
                      <a:pt x="83" y="114"/>
                    </a:cubicBezTo>
                    <a:cubicBezTo>
                      <a:pt x="82" y="114"/>
                      <a:pt x="82" y="114"/>
                      <a:pt x="82" y="114"/>
                    </a:cubicBezTo>
                    <a:cubicBezTo>
                      <a:pt x="80" y="113"/>
                      <a:pt x="79" y="110"/>
                      <a:pt x="79" y="110"/>
                    </a:cubicBezTo>
                    <a:cubicBezTo>
                      <a:pt x="78" y="108"/>
                      <a:pt x="77" y="107"/>
                      <a:pt x="76" y="107"/>
                    </a:cubicBezTo>
                    <a:cubicBezTo>
                      <a:pt x="76" y="107"/>
                      <a:pt x="75" y="107"/>
                      <a:pt x="75" y="108"/>
                    </a:cubicBezTo>
                    <a:cubicBezTo>
                      <a:pt x="74" y="107"/>
                      <a:pt x="74" y="106"/>
                      <a:pt x="75" y="105"/>
                    </a:cubicBezTo>
                    <a:cubicBezTo>
                      <a:pt x="78" y="105"/>
                      <a:pt x="80" y="106"/>
                      <a:pt x="82" y="106"/>
                    </a:cubicBezTo>
                    <a:cubicBezTo>
                      <a:pt x="83" y="106"/>
                      <a:pt x="85" y="106"/>
                      <a:pt x="88" y="103"/>
                    </a:cubicBezTo>
                    <a:cubicBezTo>
                      <a:pt x="96" y="96"/>
                      <a:pt x="106" y="92"/>
                      <a:pt x="112" y="85"/>
                    </a:cubicBezTo>
                    <a:cubicBezTo>
                      <a:pt x="114" y="83"/>
                      <a:pt x="115" y="81"/>
                      <a:pt x="117" y="79"/>
                    </a:cubicBezTo>
                    <a:cubicBezTo>
                      <a:pt x="119" y="77"/>
                      <a:pt x="119" y="77"/>
                      <a:pt x="123" y="76"/>
                    </a:cubicBezTo>
                    <a:cubicBezTo>
                      <a:pt x="124" y="76"/>
                      <a:pt x="124" y="76"/>
                      <a:pt x="125" y="76"/>
                    </a:cubicBezTo>
                    <a:cubicBezTo>
                      <a:pt x="128" y="76"/>
                      <a:pt x="130" y="78"/>
                      <a:pt x="133" y="80"/>
                    </a:cubicBezTo>
                    <a:cubicBezTo>
                      <a:pt x="134" y="75"/>
                      <a:pt x="137" y="70"/>
                      <a:pt x="131" y="68"/>
                    </a:cubicBezTo>
                    <a:cubicBezTo>
                      <a:pt x="130" y="67"/>
                      <a:pt x="129" y="67"/>
                      <a:pt x="128" y="67"/>
                    </a:cubicBezTo>
                    <a:cubicBezTo>
                      <a:pt x="128" y="67"/>
                      <a:pt x="127" y="67"/>
                      <a:pt x="127" y="67"/>
                    </a:cubicBezTo>
                    <a:cubicBezTo>
                      <a:pt x="124" y="67"/>
                      <a:pt x="122" y="68"/>
                      <a:pt x="120" y="72"/>
                    </a:cubicBezTo>
                    <a:cubicBezTo>
                      <a:pt x="124" y="73"/>
                      <a:pt x="118" y="73"/>
                      <a:pt x="115" y="73"/>
                    </a:cubicBezTo>
                    <a:cubicBezTo>
                      <a:pt x="114" y="73"/>
                      <a:pt x="114" y="73"/>
                      <a:pt x="113" y="73"/>
                    </a:cubicBezTo>
                    <a:cubicBezTo>
                      <a:pt x="111" y="73"/>
                      <a:pt x="108" y="72"/>
                      <a:pt x="105" y="72"/>
                    </a:cubicBezTo>
                    <a:cubicBezTo>
                      <a:pt x="103" y="72"/>
                      <a:pt x="102" y="72"/>
                      <a:pt x="101" y="73"/>
                    </a:cubicBezTo>
                    <a:cubicBezTo>
                      <a:pt x="97" y="73"/>
                      <a:pt x="94" y="76"/>
                      <a:pt x="91" y="78"/>
                    </a:cubicBezTo>
                    <a:cubicBezTo>
                      <a:pt x="90" y="78"/>
                      <a:pt x="90" y="78"/>
                      <a:pt x="89" y="78"/>
                    </a:cubicBezTo>
                    <a:cubicBezTo>
                      <a:pt x="88" y="78"/>
                      <a:pt x="86" y="76"/>
                      <a:pt x="84" y="75"/>
                    </a:cubicBezTo>
                    <a:cubicBezTo>
                      <a:pt x="83" y="75"/>
                      <a:pt x="84" y="74"/>
                      <a:pt x="83" y="74"/>
                    </a:cubicBezTo>
                    <a:cubicBezTo>
                      <a:pt x="83" y="74"/>
                      <a:pt x="83" y="74"/>
                      <a:pt x="82" y="75"/>
                    </a:cubicBezTo>
                    <a:cubicBezTo>
                      <a:pt x="80" y="76"/>
                      <a:pt x="78" y="78"/>
                      <a:pt x="76" y="79"/>
                    </a:cubicBezTo>
                    <a:cubicBezTo>
                      <a:pt x="75" y="81"/>
                      <a:pt x="73" y="82"/>
                      <a:pt x="72" y="84"/>
                    </a:cubicBezTo>
                    <a:cubicBezTo>
                      <a:pt x="71" y="86"/>
                      <a:pt x="70" y="89"/>
                      <a:pt x="68" y="90"/>
                    </a:cubicBezTo>
                    <a:cubicBezTo>
                      <a:pt x="68" y="91"/>
                      <a:pt x="66" y="92"/>
                      <a:pt x="65" y="92"/>
                    </a:cubicBezTo>
                    <a:cubicBezTo>
                      <a:pt x="64" y="92"/>
                      <a:pt x="63" y="91"/>
                      <a:pt x="62" y="91"/>
                    </a:cubicBezTo>
                    <a:cubicBezTo>
                      <a:pt x="61" y="91"/>
                      <a:pt x="59" y="90"/>
                      <a:pt x="58" y="90"/>
                    </a:cubicBezTo>
                    <a:cubicBezTo>
                      <a:pt x="57" y="90"/>
                      <a:pt x="56" y="90"/>
                      <a:pt x="55" y="91"/>
                    </a:cubicBezTo>
                    <a:cubicBezTo>
                      <a:pt x="53" y="87"/>
                      <a:pt x="53" y="80"/>
                      <a:pt x="48" y="78"/>
                    </a:cubicBezTo>
                    <a:cubicBezTo>
                      <a:pt x="48" y="78"/>
                      <a:pt x="48" y="77"/>
                      <a:pt x="47" y="77"/>
                    </a:cubicBezTo>
                    <a:cubicBezTo>
                      <a:pt x="47" y="77"/>
                      <a:pt x="47" y="77"/>
                      <a:pt x="47" y="77"/>
                    </a:cubicBezTo>
                    <a:cubicBezTo>
                      <a:pt x="46" y="77"/>
                      <a:pt x="46" y="77"/>
                      <a:pt x="46" y="77"/>
                    </a:cubicBezTo>
                    <a:cubicBezTo>
                      <a:pt x="46" y="78"/>
                      <a:pt x="45" y="78"/>
                      <a:pt x="45" y="78"/>
                    </a:cubicBezTo>
                    <a:cubicBezTo>
                      <a:pt x="45" y="78"/>
                      <a:pt x="45" y="78"/>
                      <a:pt x="45" y="78"/>
                    </a:cubicBezTo>
                    <a:cubicBezTo>
                      <a:pt x="43" y="77"/>
                      <a:pt x="41" y="74"/>
                      <a:pt x="40" y="72"/>
                    </a:cubicBezTo>
                    <a:cubicBezTo>
                      <a:pt x="38" y="70"/>
                      <a:pt x="38" y="68"/>
                      <a:pt x="37" y="65"/>
                    </a:cubicBezTo>
                    <a:cubicBezTo>
                      <a:pt x="37" y="63"/>
                      <a:pt x="36" y="60"/>
                      <a:pt x="36" y="57"/>
                    </a:cubicBezTo>
                    <a:cubicBezTo>
                      <a:pt x="36" y="51"/>
                      <a:pt x="40" y="41"/>
                      <a:pt x="46" y="37"/>
                    </a:cubicBezTo>
                    <a:cubicBezTo>
                      <a:pt x="49" y="35"/>
                      <a:pt x="52" y="35"/>
                      <a:pt x="55" y="35"/>
                    </a:cubicBezTo>
                    <a:cubicBezTo>
                      <a:pt x="58" y="35"/>
                      <a:pt x="61" y="35"/>
                      <a:pt x="65" y="36"/>
                    </a:cubicBezTo>
                    <a:cubicBezTo>
                      <a:pt x="68" y="37"/>
                      <a:pt x="71" y="37"/>
                      <a:pt x="74" y="37"/>
                    </a:cubicBezTo>
                    <a:cubicBezTo>
                      <a:pt x="74" y="37"/>
                      <a:pt x="74" y="37"/>
                      <a:pt x="74" y="37"/>
                    </a:cubicBezTo>
                    <a:cubicBezTo>
                      <a:pt x="82" y="37"/>
                      <a:pt x="89" y="37"/>
                      <a:pt x="96" y="37"/>
                    </a:cubicBezTo>
                    <a:cubicBezTo>
                      <a:pt x="97" y="37"/>
                      <a:pt x="98" y="37"/>
                      <a:pt x="99" y="37"/>
                    </a:cubicBezTo>
                    <a:cubicBezTo>
                      <a:pt x="99" y="37"/>
                      <a:pt x="99" y="37"/>
                      <a:pt x="100" y="37"/>
                    </a:cubicBezTo>
                    <a:cubicBezTo>
                      <a:pt x="102" y="37"/>
                      <a:pt x="104" y="37"/>
                      <a:pt x="107" y="36"/>
                    </a:cubicBezTo>
                    <a:cubicBezTo>
                      <a:pt x="109" y="36"/>
                      <a:pt x="112" y="36"/>
                      <a:pt x="114" y="36"/>
                    </a:cubicBezTo>
                    <a:cubicBezTo>
                      <a:pt x="118" y="36"/>
                      <a:pt x="122" y="36"/>
                      <a:pt x="125" y="38"/>
                    </a:cubicBezTo>
                    <a:cubicBezTo>
                      <a:pt x="129" y="39"/>
                      <a:pt x="133" y="41"/>
                      <a:pt x="136" y="42"/>
                    </a:cubicBezTo>
                    <a:cubicBezTo>
                      <a:pt x="138" y="42"/>
                      <a:pt x="140" y="43"/>
                      <a:pt x="141" y="43"/>
                    </a:cubicBezTo>
                    <a:cubicBezTo>
                      <a:pt x="143" y="43"/>
                      <a:pt x="145" y="42"/>
                      <a:pt x="148" y="42"/>
                    </a:cubicBezTo>
                    <a:cubicBezTo>
                      <a:pt x="151" y="41"/>
                      <a:pt x="158" y="41"/>
                      <a:pt x="160" y="39"/>
                    </a:cubicBezTo>
                    <a:cubicBezTo>
                      <a:pt x="164" y="35"/>
                      <a:pt x="167" y="31"/>
                      <a:pt x="171" y="28"/>
                    </a:cubicBezTo>
                    <a:cubicBezTo>
                      <a:pt x="173" y="25"/>
                      <a:pt x="177" y="24"/>
                      <a:pt x="178" y="21"/>
                    </a:cubicBezTo>
                    <a:cubicBezTo>
                      <a:pt x="180" y="18"/>
                      <a:pt x="183" y="14"/>
                      <a:pt x="184" y="10"/>
                    </a:cubicBezTo>
                    <a:cubicBezTo>
                      <a:pt x="186" y="5"/>
                      <a:pt x="188" y="3"/>
                      <a:pt x="182" y="1"/>
                    </a:cubicBezTo>
                    <a:cubicBezTo>
                      <a:pt x="182" y="0"/>
                      <a:pt x="182"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Freeform 1269"/>
              <p:cNvSpPr/>
              <p:nvPr/>
            </p:nvSpPr>
            <p:spPr bwMode="auto">
              <a:xfrm>
                <a:off x="2584" y="1118"/>
                <a:ext cx="10" cy="5"/>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3" y="0"/>
                      <a:pt x="1" y="0"/>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1270"/>
              <p:cNvSpPr/>
              <p:nvPr/>
            </p:nvSpPr>
            <p:spPr bwMode="auto">
              <a:xfrm>
                <a:off x="1632" y="1608"/>
                <a:ext cx="73" cy="47"/>
              </a:xfrm>
              <a:custGeom>
                <a:gdLst>
                  <a:gd name="T0" fmla="*/ 18 w 31"/>
                  <a:gd name="T1" fmla="*/ 0 h 20"/>
                  <a:gd name="T2" fmla="*/ 7 w 31"/>
                  <a:gd name="T3" fmla="*/ 8 h 20"/>
                  <a:gd name="T4" fmla="*/ 0 w 31"/>
                  <a:gd name="T5" fmla="*/ 16 h 20"/>
                  <a:gd name="T6" fmla="*/ 3 w 31"/>
                  <a:gd name="T7" fmla="*/ 17 h 20"/>
                  <a:gd name="T8" fmla="*/ 3 w 31"/>
                  <a:gd name="T9" fmla="*/ 17 h 20"/>
                  <a:gd name="T10" fmla="*/ 4 w 31"/>
                  <a:gd name="T11" fmla="*/ 18 h 20"/>
                  <a:gd name="T12" fmla="*/ 5 w 31"/>
                  <a:gd name="T13" fmla="*/ 18 h 20"/>
                  <a:gd name="T14" fmla="*/ 5 w 31"/>
                  <a:gd name="T15" fmla="*/ 18 h 20"/>
                  <a:gd name="T16" fmla="*/ 12 w 31"/>
                  <a:gd name="T17" fmla="*/ 19 h 20"/>
                  <a:gd name="T18" fmla="*/ 15 w 31"/>
                  <a:gd name="T19" fmla="*/ 20 h 20"/>
                  <a:gd name="T20" fmla="*/ 17 w 31"/>
                  <a:gd name="T21" fmla="*/ 19 h 20"/>
                  <a:gd name="T22" fmla="*/ 18 w 31"/>
                  <a:gd name="T23" fmla="*/ 17 h 20"/>
                  <a:gd name="T24" fmla="*/ 19 w 31"/>
                  <a:gd name="T25" fmla="*/ 17 h 20"/>
                  <a:gd name="T26" fmla="*/ 22 w 31"/>
                  <a:gd name="T27" fmla="*/ 18 h 20"/>
                  <a:gd name="T28" fmla="*/ 23 w 31"/>
                  <a:gd name="T29" fmla="*/ 0 h 20"/>
                  <a:gd name="T30" fmla="*/ 18 w 31"/>
                  <a:gd name="T31"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20">
                    <a:moveTo>
                      <a:pt x="18" y="0"/>
                    </a:moveTo>
                    <a:cubicBezTo>
                      <a:pt x="12" y="0"/>
                      <a:pt x="5" y="2"/>
                      <a:pt x="7" y="8"/>
                    </a:cubicBezTo>
                    <a:cubicBezTo>
                      <a:pt x="9" y="13"/>
                      <a:pt x="3" y="15"/>
                      <a:pt x="0" y="16"/>
                    </a:cubicBezTo>
                    <a:cubicBezTo>
                      <a:pt x="1" y="17"/>
                      <a:pt x="2" y="17"/>
                      <a:pt x="3" y="17"/>
                    </a:cubicBezTo>
                    <a:cubicBezTo>
                      <a:pt x="3" y="17"/>
                      <a:pt x="3" y="17"/>
                      <a:pt x="3" y="17"/>
                    </a:cubicBezTo>
                    <a:cubicBezTo>
                      <a:pt x="3" y="17"/>
                      <a:pt x="3" y="18"/>
                      <a:pt x="4" y="18"/>
                    </a:cubicBezTo>
                    <a:cubicBezTo>
                      <a:pt x="4" y="18"/>
                      <a:pt x="5" y="18"/>
                      <a:pt x="5" y="18"/>
                    </a:cubicBezTo>
                    <a:cubicBezTo>
                      <a:pt x="5" y="18"/>
                      <a:pt x="5" y="18"/>
                      <a:pt x="5" y="18"/>
                    </a:cubicBezTo>
                    <a:cubicBezTo>
                      <a:pt x="6" y="19"/>
                      <a:pt x="9" y="18"/>
                      <a:pt x="12" y="19"/>
                    </a:cubicBezTo>
                    <a:cubicBezTo>
                      <a:pt x="14" y="20"/>
                      <a:pt x="14" y="20"/>
                      <a:pt x="15" y="20"/>
                    </a:cubicBezTo>
                    <a:cubicBezTo>
                      <a:pt x="15" y="20"/>
                      <a:pt x="16" y="20"/>
                      <a:pt x="17" y="19"/>
                    </a:cubicBezTo>
                    <a:cubicBezTo>
                      <a:pt x="19" y="19"/>
                      <a:pt x="16" y="17"/>
                      <a:pt x="18" y="17"/>
                    </a:cubicBezTo>
                    <a:cubicBezTo>
                      <a:pt x="18" y="17"/>
                      <a:pt x="19" y="17"/>
                      <a:pt x="19" y="17"/>
                    </a:cubicBezTo>
                    <a:cubicBezTo>
                      <a:pt x="20" y="17"/>
                      <a:pt x="21" y="18"/>
                      <a:pt x="22" y="18"/>
                    </a:cubicBezTo>
                    <a:cubicBezTo>
                      <a:pt x="18" y="16"/>
                      <a:pt x="31" y="4"/>
                      <a:pt x="23" y="0"/>
                    </a:cubicBezTo>
                    <a:cubicBezTo>
                      <a:pt x="22"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1271"/>
              <p:cNvSpPr/>
              <p:nvPr/>
            </p:nvSpPr>
            <p:spPr bwMode="auto">
              <a:xfrm>
                <a:off x="1691" y="1596"/>
                <a:ext cx="170" cy="71"/>
              </a:xfrm>
              <a:custGeom>
                <a:gdLst>
                  <a:gd name="T0" fmla="*/ 37 w 72"/>
                  <a:gd name="T1" fmla="*/ 0 h 30"/>
                  <a:gd name="T2" fmla="*/ 31 w 72"/>
                  <a:gd name="T3" fmla="*/ 2 h 30"/>
                  <a:gd name="T4" fmla="*/ 35 w 72"/>
                  <a:gd name="T5" fmla="*/ 9 h 30"/>
                  <a:gd name="T6" fmla="*/ 46 w 72"/>
                  <a:gd name="T7" fmla="*/ 15 h 30"/>
                  <a:gd name="T8" fmla="*/ 33 w 72"/>
                  <a:gd name="T9" fmla="*/ 18 h 30"/>
                  <a:gd name="T10" fmla="*/ 31 w 72"/>
                  <a:gd name="T11" fmla="*/ 18 h 30"/>
                  <a:gd name="T12" fmla="*/ 30 w 72"/>
                  <a:gd name="T13" fmla="*/ 16 h 30"/>
                  <a:gd name="T14" fmla="*/ 19 w 72"/>
                  <a:gd name="T15" fmla="*/ 11 h 30"/>
                  <a:gd name="T16" fmla="*/ 13 w 72"/>
                  <a:gd name="T17" fmla="*/ 9 h 30"/>
                  <a:gd name="T18" fmla="*/ 7 w 72"/>
                  <a:gd name="T19" fmla="*/ 11 h 30"/>
                  <a:gd name="T20" fmla="*/ 3 w 72"/>
                  <a:gd name="T21" fmla="*/ 15 h 30"/>
                  <a:gd name="T22" fmla="*/ 2 w 72"/>
                  <a:gd name="T23" fmla="*/ 21 h 30"/>
                  <a:gd name="T24" fmla="*/ 7 w 72"/>
                  <a:gd name="T25" fmla="*/ 29 h 30"/>
                  <a:gd name="T26" fmla="*/ 11 w 72"/>
                  <a:gd name="T27" fmla="*/ 30 h 30"/>
                  <a:gd name="T28" fmla="*/ 12 w 72"/>
                  <a:gd name="T29" fmla="*/ 30 h 30"/>
                  <a:gd name="T30" fmla="*/ 31 w 72"/>
                  <a:gd name="T31" fmla="*/ 26 h 30"/>
                  <a:gd name="T32" fmla="*/ 42 w 72"/>
                  <a:gd name="T33" fmla="*/ 21 h 30"/>
                  <a:gd name="T34" fmla="*/ 50 w 72"/>
                  <a:gd name="T35" fmla="*/ 15 h 30"/>
                  <a:gd name="T36" fmla="*/ 50 w 72"/>
                  <a:gd name="T37" fmla="*/ 18 h 30"/>
                  <a:gd name="T38" fmla="*/ 52 w 72"/>
                  <a:gd name="T39" fmla="*/ 23 h 30"/>
                  <a:gd name="T40" fmla="*/ 52 w 72"/>
                  <a:gd name="T41" fmla="*/ 23 h 30"/>
                  <a:gd name="T42" fmla="*/ 59 w 72"/>
                  <a:gd name="T43" fmla="*/ 21 h 30"/>
                  <a:gd name="T44" fmla="*/ 72 w 72"/>
                  <a:gd name="T45" fmla="*/ 18 h 30"/>
                  <a:gd name="T46" fmla="*/ 72 w 72"/>
                  <a:gd name="T47" fmla="*/ 15 h 30"/>
                  <a:gd name="T48" fmla="*/ 69 w 72"/>
                  <a:gd name="T49" fmla="*/ 16 h 30"/>
                  <a:gd name="T50" fmla="*/ 67 w 72"/>
                  <a:gd name="T51" fmla="*/ 14 h 30"/>
                  <a:gd name="T52" fmla="*/ 68 w 72"/>
                  <a:gd name="T53" fmla="*/ 11 h 30"/>
                  <a:gd name="T54" fmla="*/ 64 w 72"/>
                  <a:gd name="T55" fmla="*/ 7 h 30"/>
                  <a:gd name="T56" fmla="*/ 64 w 72"/>
                  <a:gd name="T57" fmla="*/ 7 h 30"/>
                  <a:gd name="T58" fmla="*/ 58 w 72"/>
                  <a:gd name="T59" fmla="*/ 12 h 30"/>
                  <a:gd name="T60" fmla="*/ 53 w 72"/>
                  <a:gd name="T61" fmla="*/ 5 h 30"/>
                  <a:gd name="T62" fmla="*/ 47 w 72"/>
                  <a:gd name="T63" fmla="*/ 8 h 30"/>
                  <a:gd name="T64" fmla="*/ 37 w 72"/>
                  <a:gd name="T65"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30">
                    <a:moveTo>
                      <a:pt x="37" y="0"/>
                    </a:moveTo>
                    <a:cubicBezTo>
                      <a:pt x="35" y="0"/>
                      <a:pt x="33" y="1"/>
                      <a:pt x="31" y="2"/>
                    </a:cubicBezTo>
                    <a:cubicBezTo>
                      <a:pt x="32" y="5"/>
                      <a:pt x="32" y="7"/>
                      <a:pt x="35" y="9"/>
                    </a:cubicBezTo>
                    <a:cubicBezTo>
                      <a:pt x="36" y="11"/>
                      <a:pt x="46" y="14"/>
                      <a:pt x="46" y="15"/>
                    </a:cubicBezTo>
                    <a:cubicBezTo>
                      <a:pt x="46" y="16"/>
                      <a:pt x="36" y="18"/>
                      <a:pt x="33" y="18"/>
                    </a:cubicBezTo>
                    <a:cubicBezTo>
                      <a:pt x="32" y="18"/>
                      <a:pt x="32" y="18"/>
                      <a:pt x="31" y="18"/>
                    </a:cubicBezTo>
                    <a:cubicBezTo>
                      <a:pt x="31" y="18"/>
                      <a:pt x="30" y="16"/>
                      <a:pt x="30" y="16"/>
                    </a:cubicBezTo>
                    <a:cubicBezTo>
                      <a:pt x="26" y="14"/>
                      <a:pt x="23" y="12"/>
                      <a:pt x="19" y="11"/>
                    </a:cubicBezTo>
                    <a:cubicBezTo>
                      <a:pt x="16" y="9"/>
                      <a:pt x="15" y="9"/>
                      <a:pt x="13" y="9"/>
                    </a:cubicBezTo>
                    <a:cubicBezTo>
                      <a:pt x="12" y="9"/>
                      <a:pt x="10" y="9"/>
                      <a:pt x="7" y="11"/>
                    </a:cubicBezTo>
                    <a:cubicBezTo>
                      <a:pt x="5" y="12"/>
                      <a:pt x="4" y="13"/>
                      <a:pt x="3" y="15"/>
                    </a:cubicBezTo>
                    <a:cubicBezTo>
                      <a:pt x="2" y="17"/>
                      <a:pt x="2" y="18"/>
                      <a:pt x="2" y="21"/>
                    </a:cubicBezTo>
                    <a:cubicBezTo>
                      <a:pt x="2" y="27"/>
                      <a:pt x="0" y="27"/>
                      <a:pt x="7" y="29"/>
                    </a:cubicBezTo>
                    <a:cubicBezTo>
                      <a:pt x="9" y="29"/>
                      <a:pt x="10" y="30"/>
                      <a:pt x="11" y="30"/>
                    </a:cubicBezTo>
                    <a:cubicBezTo>
                      <a:pt x="11" y="30"/>
                      <a:pt x="11" y="30"/>
                      <a:pt x="12" y="30"/>
                    </a:cubicBezTo>
                    <a:cubicBezTo>
                      <a:pt x="18" y="29"/>
                      <a:pt x="25" y="27"/>
                      <a:pt x="31" y="26"/>
                    </a:cubicBezTo>
                    <a:cubicBezTo>
                      <a:pt x="35" y="25"/>
                      <a:pt x="38" y="23"/>
                      <a:pt x="42" y="21"/>
                    </a:cubicBezTo>
                    <a:cubicBezTo>
                      <a:pt x="46" y="19"/>
                      <a:pt x="47" y="18"/>
                      <a:pt x="50" y="15"/>
                    </a:cubicBezTo>
                    <a:cubicBezTo>
                      <a:pt x="50" y="16"/>
                      <a:pt x="50" y="17"/>
                      <a:pt x="50" y="18"/>
                    </a:cubicBezTo>
                    <a:cubicBezTo>
                      <a:pt x="51" y="19"/>
                      <a:pt x="51" y="23"/>
                      <a:pt x="52" y="23"/>
                    </a:cubicBezTo>
                    <a:cubicBezTo>
                      <a:pt x="52" y="23"/>
                      <a:pt x="52" y="23"/>
                      <a:pt x="52" y="23"/>
                    </a:cubicBezTo>
                    <a:cubicBezTo>
                      <a:pt x="54" y="22"/>
                      <a:pt x="57" y="22"/>
                      <a:pt x="59" y="21"/>
                    </a:cubicBezTo>
                    <a:cubicBezTo>
                      <a:pt x="62" y="21"/>
                      <a:pt x="70" y="20"/>
                      <a:pt x="72" y="18"/>
                    </a:cubicBezTo>
                    <a:cubicBezTo>
                      <a:pt x="72" y="17"/>
                      <a:pt x="72" y="15"/>
                      <a:pt x="72" y="15"/>
                    </a:cubicBezTo>
                    <a:cubicBezTo>
                      <a:pt x="71" y="16"/>
                      <a:pt x="70" y="16"/>
                      <a:pt x="69" y="16"/>
                    </a:cubicBezTo>
                    <a:cubicBezTo>
                      <a:pt x="68" y="16"/>
                      <a:pt x="68" y="15"/>
                      <a:pt x="67" y="14"/>
                    </a:cubicBezTo>
                    <a:cubicBezTo>
                      <a:pt x="67" y="13"/>
                      <a:pt x="68" y="11"/>
                      <a:pt x="68" y="11"/>
                    </a:cubicBezTo>
                    <a:cubicBezTo>
                      <a:pt x="68" y="8"/>
                      <a:pt x="67" y="7"/>
                      <a:pt x="64" y="7"/>
                    </a:cubicBezTo>
                    <a:cubicBezTo>
                      <a:pt x="64" y="7"/>
                      <a:pt x="64" y="7"/>
                      <a:pt x="64" y="7"/>
                    </a:cubicBezTo>
                    <a:cubicBezTo>
                      <a:pt x="59" y="7"/>
                      <a:pt x="59" y="7"/>
                      <a:pt x="58" y="12"/>
                    </a:cubicBezTo>
                    <a:cubicBezTo>
                      <a:pt x="57" y="8"/>
                      <a:pt x="55" y="5"/>
                      <a:pt x="53" y="5"/>
                    </a:cubicBezTo>
                    <a:cubicBezTo>
                      <a:pt x="51" y="5"/>
                      <a:pt x="49" y="6"/>
                      <a:pt x="47" y="8"/>
                    </a:cubicBezTo>
                    <a:cubicBezTo>
                      <a:pt x="43" y="3"/>
                      <a:pt x="41"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1272"/>
              <p:cNvSpPr/>
              <p:nvPr/>
            </p:nvSpPr>
            <p:spPr bwMode="auto">
              <a:xfrm>
                <a:off x="2421" y="1556"/>
                <a:ext cx="5" cy="9"/>
              </a:xfrm>
              <a:custGeom>
                <a:gdLst>
                  <a:gd name="T0" fmla="*/ 2 w 2"/>
                  <a:gd name="T1" fmla="*/ 0 h 4"/>
                  <a:gd name="T2" fmla="*/ 0 w 2"/>
                  <a:gd name="T3" fmla="*/ 4 h 4"/>
                  <a:gd name="T4" fmla="*/ 2 w 2"/>
                  <a:gd name="T5" fmla="*/ 0 h 4"/>
                </a:gdLst>
                <a:cxnLst>
                  <a:cxn ang="0">
                    <a:pos x="T0" y="T1"/>
                  </a:cxn>
                  <a:cxn ang="0">
                    <a:pos x="T2" y="T3"/>
                  </a:cxn>
                  <a:cxn ang="0">
                    <a:pos x="T4" y="T5"/>
                  </a:cxn>
                </a:cxnLst>
                <a:rect l="0" t="0" r="r" b="b"/>
                <a:pathLst>
                  <a:path w="2" h="4">
                    <a:moveTo>
                      <a:pt x="2" y="0"/>
                    </a:moveTo>
                    <a:cubicBezTo>
                      <a:pt x="1" y="2"/>
                      <a:pt x="0" y="3"/>
                      <a:pt x="0"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Freeform 1273"/>
              <p:cNvSpPr/>
              <p:nvPr/>
            </p:nvSpPr>
            <p:spPr bwMode="auto">
              <a:xfrm>
                <a:off x="1585" y="1508"/>
                <a:ext cx="28" cy="12"/>
              </a:xfrm>
              <a:custGeom>
                <a:gdLst>
                  <a:gd name="T0" fmla="*/ 4 w 12"/>
                  <a:gd name="T1" fmla="*/ 0 h 5"/>
                  <a:gd name="T2" fmla="*/ 5 w 12"/>
                  <a:gd name="T3" fmla="*/ 5 h 5"/>
                  <a:gd name="T4" fmla="*/ 7 w 12"/>
                  <a:gd name="T5" fmla="*/ 5 h 5"/>
                  <a:gd name="T6" fmla="*/ 10 w 12"/>
                  <a:gd name="T7" fmla="*/ 3 h 5"/>
                  <a:gd name="T8" fmla="*/ 12 w 12"/>
                  <a:gd name="T9" fmla="*/ 3 h 5"/>
                  <a:gd name="T10" fmla="*/ 4 w 12"/>
                  <a:gd name="T11" fmla="*/ 0 h 5"/>
                </a:gdLst>
                <a:cxnLst>
                  <a:cxn ang="0">
                    <a:pos x="T0" y="T1"/>
                  </a:cxn>
                  <a:cxn ang="0">
                    <a:pos x="T2" y="T3"/>
                  </a:cxn>
                  <a:cxn ang="0">
                    <a:pos x="T4" y="T5"/>
                  </a:cxn>
                  <a:cxn ang="0">
                    <a:pos x="T6" y="T7"/>
                  </a:cxn>
                  <a:cxn ang="0">
                    <a:pos x="T8" y="T9"/>
                  </a:cxn>
                  <a:cxn ang="0">
                    <a:pos x="T10" y="T11"/>
                  </a:cxn>
                </a:cxnLst>
                <a:rect l="0" t="0" r="r" b="b"/>
                <a:pathLst>
                  <a:path w="12" h="5">
                    <a:moveTo>
                      <a:pt x="4" y="0"/>
                    </a:moveTo>
                    <a:cubicBezTo>
                      <a:pt x="0" y="3"/>
                      <a:pt x="3" y="5"/>
                      <a:pt x="5" y="5"/>
                    </a:cubicBezTo>
                    <a:cubicBezTo>
                      <a:pt x="6" y="5"/>
                      <a:pt x="6" y="5"/>
                      <a:pt x="7" y="5"/>
                    </a:cubicBezTo>
                    <a:cubicBezTo>
                      <a:pt x="10" y="3"/>
                      <a:pt x="10" y="3"/>
                      <a:pt x="10" y="3"/>
                    </a:cubicBezTo>
                    <a:cubicBezTo>
                      <a:pt x="12" y="3"/>
                      <a:pt x="12" y="3"/>
                      <a:pt x="12" y="3"/>
                    </a:cubicBezTo>
                    <a:cubicBezTo>
                      <a:pt x="9"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1274"/>
              <p:cNvSpPr/>
              <p:nvPr/>
            </p:nvSpPr>
            <p:spPr bwMode="auto">
              <a:xfrm>
                <a:off x="1849" y="1598"/>
                <a:ext cx="5" cy="10"/>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1" y="1"/>
                      <a:pt x="0" y="3"/>
                      <a:pt x="1"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1275"/>
              <p:cNvSpPr/>
              <p:nvPr/>
            </p:nvSpPr>
            <p:spPr bwMode="auto">
              <a:xfrm>
                <a:off x="1147" y="1147"/>
                <a:ext cx="12" cy="0"/>
              </a:xfrm>
              <a:custGeom>
                <a:gdLst>
                  <a:gd name="T0" fmla="*/ 2 w 5"/>
                  <a:gd name="T1" fmla="*/ 0 w 5"/>
                  <a:gd name="T2" fmla="*/ 2 w 5"/>
                  <a:gd name="T3" fmla="*/ 5 w 5"/>
                  <a:gd name="T4" fmla="*/ 2 w 5"/>
                </a:gd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1" y="0"/>
                      <a:pt x="2" y="0"/>
                    </a:cubicBezTo>
                    <a:cubicBezTo>
                      <a:pt x="3" y="0"/>
                      <a:pt x="4"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5" name="Freeform 1276"/>
              <p:cNvSpPr/>
              <p:nvPr/>
            </p:nvSpPr>
            <p:spPr bwMode="auto">
              <a:xfrm>
                <a:off x="2655" y="1596"/>
                <a:ext cx="29" cy="19"/>
              </a:xfrm>
              <a:custGeom>
                <a:gdLst>
                  <a:gd name="T0" fmla="*/ 9 w 12"/>
                  <a:gd name="T1" fmla="*/ 0 h 8"/>
                  <a:gd name="T2" fmla="*/ 0 w 12"/>
                  <a:gd name="T3" fmla="*/ 8 h 8"/>
                  <a:gd name="T4" fmla="*/ 7 w 12"/>
                  <a:gd name="T5" fmla="*/ 4 h 8"/>
                  <a:gd name="T6" fmla="*/ 12 w 12"/>
                  <a:gd name="T7" fmla="*/ 1 h 8"/>
                  <a:gd name="T8" fmla="*/ 9 w 12"/>
                  <a:gd name="T9" fmla="*/ 0 h 8"/>
                </a:gdLst>
                <a:cxnLst>
                  <a:cxn ang="0">
                    <a:pos x="T0" y="T1"/>
                  </a:cxn>
                  <a:cxn ang="0">
                    <a:pos x="T2" y="T3"/>
                  </a:cxn>
                  <a:cxn ang="0">
                    <a:pos x="T4" y="T5"/>
                  </a:cxn>
                  <a:cxn ang="0">
                    <a:pos x="T6" y="T7"/>
                  </a:cxn>
                  <a:cxn ang="0">
                    <a:pos x="T8" y="T9"/>
                  </a:cxn>
                </a:cxnLst>
                <a:rect l="0" t="0" r="r" b="b"/>
                <a:pathLst>
                  <a:path w="12" h="8">
                    <a:moveTo>
                      <a:pt x="9" y="0"/>
                    </a:moveTo>
                    <a:cubicBezTo>
                      <a:pt x="5" y="0"/>
                      <a:pt x="3" y="4"/>
                      <a:pt x="0" y="8"/>
                    </a:cubicBezTo>
                    <a:cubicBezTo>
                      <a:pt x="4" y="6"/>
                      <a:pt x="4" y="5"/>
                      <a:pt x="7" y="4"/>
                    </a:cubicBezTo>
                    <a:cubicBezTo>
                      <a:pt x="9" y="3"/>
                      <a:pt x="11" y="2"/>
                      <a:pt x="12" y="1"/>
                    </a:cubicBezTo>
                    <a:cubicBezTo>
                      <a:pt x="11"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1277"/>
              <p:cNvSpPr/>
              <p:nvPr/>
            </p:nvSpPr>
            <p:spPr bwMode="auto">
              <a:xfrm>
                <a:off x="2421" y="988"/>
                <a:ext cx="7" cy="10"/>
              </a:xfrm>
              <a:custGeom>
                <a:gdLst>
                  <a:gd name="T0" fmla="*/ 3 w 3"/>
                  <a:gd name="T1" fmla="*/ 0 h 4"/>
                  <a:gd name="T2" fmla="*/ 1 w 3"/>
                  <a:gd name="T3" fmla="*/ 4 h 4"/>
                  <a:gd name="T4" fmla="*/ 3 w 3"/>
                  <a:gd name="T5" fmla="*/ 0 h 4"/>
                </a:gdLst>
                <a:cxnLst>
                  <a:cxn ang="0">
                    <a:pos x="T0" y="T1"/>
                  </a:cxn>
                  <a:cxn ang="0">
                    <a:pos x="T2" y="T3"/>
                  </a:cxn>
                  <a:cxn ang="0">
                    <a:pos x="T4" y="T5"/>
                  </a:cxn>
                </a:cxnLst>
                <a:rect l="0" t="0" r="r" b="b"/>
                <a:pathLst>
                  <a:path w="3" h="4">
                    <a:moveTo>
                      <a:pt x="3" y="0"/>
                    </a:moveTo>
                    <a:cubicBezTo>
                      <a:pt x="1" y="1"/>
                      <a:pt x="0" y="2"/>
                      <a:pt x="1" y="4"/>
                    </a:cubicBezTo>
                    <a:cubicBezTo>
                      <a:pt x="2" y="3"/>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Freeform 1278"/>
              <p:cNvSpPr/>
              <p:nvPr/>
            </p:nvSpPr>
            <p:spPr bwMode="auto">
              <a:xfrm>
                <a:off x="2459" y="1286"/>
                <a:ext cx="26" cy="10"/>
              </a:xfrm>
              <a:custGeom>
                <a:gdLst>
                  <a:gd name="T0" fmla="*/ 6 w 11"/>
                  <a:gd name="T1" fmla="*/ 0 h 4"/>
                  <a:gd name="T2" fmla="*/ 1 w 11"/>
                  <a:gd name="T3" fmla="*/ 2 h 4"/>
                  <a:gd name="T4" fmla="*/ 2 w 11"/>
                  <a:gd name="T5" fmla="*/ 4 h 4"/>
                  <a:gd name="T6" fmla="*/ 5 w 11"/>
                  <a:gd name="T7" fmla="*/ 3 h 4"/>
                  <a:gd name="T8" fmla="*/ 11 w 11"/>
                  <a:gd name="T9" fmla="*/ 1 h 4"/>
                  <a:gd name="T10" fmla="*/ 6 w 11"/>
                  <a:gd name="T11" fmla="*/ 0 h 4"/>
                </a:gdLst>
                <a:cxnLst>
                  <a:cxn ang="0">
                    <a:pos x="T0" y="T1"/>
                  </a:cxn>
                  <a:cxn ang="0">
                    <a:pos x="T2" y="T3"/>
                  </a:cxn>
                  <a:cxn ang="0">
                    <a:pos x="T4" y="T5"/>
                  </a:cxn>
                  <a:cxn ang="0">
                    <a:pos x="T6" y="T7"/>
                  </a:cxn>
                  <a:cxn ang="0">
                    <a:pos x="T8" y="T9"/>
                  </a:cxn>
                  <a:cxn ang="0">
                    <a:pos x="T10" y="T11"/>
                  </a:cxn>
                </a:cxnLst>
                <a:rect l="0" t="0" r="r" b="b"/>
                <a:pathLst>
                  <a:path w="11" h="4">
                    <a:moveTo>
                      <a:pt x="6" y="0"/>
                    </a:moveTo>
                    <a:cubicBezTo>
                      <a:pt x="4" y="0"/>
                      <a:pt x="2" y="0"/>
                      <a:pt x="1" y="2"/>
                    </a:cubicBezTo>
                    <a:cubicBezTo>
                      <a:pt x="0" y="4"/>
                      <a:pt x="1" y="4"/>
                      <a:pt x="2" y="4"/>
                    </a:cubicBezTo>
                    <a:cubicBezTo>
                      <a:pt x="3" y="4"/>
                      <a:pt x="4" y="4"/>
                      <a:pt x="5" y="3"/>
                    </a:cubicBezTo>
                    <a:cubicBezTo>
                      <a:pt x="7" y="2"/>
                      <a:pt x="9" y="2"/>
                      <a:pt x="11" y="1"/>
                    </a:cubicBezTo>
                    <a:cubicBezTo>
                      <a:pt x="9"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1279"/>
              <p:cNvSpPr/>
              <p:nvPr/>
            </p:nvSpPr>
            <p:spPr bwMode="auto">
              <a:xfrm>
                <a:off x="2379" y="728"/>
                <a:ext cx="11" cy="38"/>
              </a:xfrm>
              <a:custGeom>
                <a:gdLst>
                  <a:gd name="T0" fmla="*/ 1 w 5"/>
                  <a:gd name="T1" fmla="*/ 0 h 16"/>
                  <a:gd name="T2" fmla="*/ 1 w 5"/>
                  <a:gd name="T3" fmla="*/ 16 h 16"/>
                  <a:gd name="T4" fmla="*/ 4 w 5"/>
                  <a:gd name="T5" fmla="*/ 10 h 16"/>
                  <a:gd name="T6" fmla="*/ 5 w 5"/>
                  <a:gd name="T7" fmla="*/ 7 h 16"/>
                  <a:gd name="T8" fmla="*/ 4 w 5"/>
                  <a:gd name="T9" fmla="*/ 5 h 16"/>
                  <a:gd name="T10" fmla="*/ 4 w 5"/>
                  <a:gd name="T11" fmla="*/ 3 h 16"/>
                  <a:gd name="T12" fmla="*/ 1 w 5"/>
                  <a:gd name="T13" fmla="*/ 0 h 16"/>
                </a:gdLst>
                <a:cxnLst>
                  <a:cxn ang="0">
                    <a:pos x="T0" y="T1"/>
                  </a:cxn>
                  <a:cxn ang="0">
                    <a:pos x="T2" y="T3"/>
                  </a:cxn>
                  <a:cxn ang="0">
                    <a:pos x="T4" y="T5"/>
                  </a:cxn>
                  <a:cxn ang="0">
                    <a:pos x="T6" y="T7"/>
                  </a:cxn>
                  <a:cxn ang="0">
                    <a:pos x="T8" y="T9"/>
                  </a:cxn>
                  <a:cxn ang="0">
                    <a:pos x="T10" y="T11"/>
                  </a:cxn>
                  <a:cxn ang="0">
                    <a:pos x="T12" y="T13"/>
                  </a:cxn>
                </a:cxnLst>
                <a:rect l="0" t="0" r="r" b="b"/>
                <a:pathLst>
                  <a:path w="5" h="16">
                    <a:moveTo>
                      <a:pt x="1" y="0"/>
                    </a:moveTo>
                    <a:cubicBezTo>
                      <a:pt x="0" y="5"/>
                      <a:pt x="1" y="11"/>
                      <a:pt x="1" y="16"/>
                    </a:cubicBezTo>
                    <a:cubicBezTo>
                      <a:pt x="2" y="14"/>
                      <a:pt x="2" y="12"/>
                      <a:pt x="4" y="10"/>
                    </a:cubicBezTo>
                    <a:cubicBezTo>
                      <a:pt x="4" y="9"/>
                      <a:pt x="5" y="8"/>
                      <a:pt x="5" y="7"/>
                    </a:cubicBezTo>
                    <a:cubicBezTo>
                      <a:pt x="5" y="6"/>
                      <a:pt x="4" y="6"/>
                      <a:pt x="4" y="5"/>
                    </a:cubicBezTo>
                    <a:cubicBezTo>
                      <a:pt x="4" y="5"/>
                      <a:pt x="4" y="3"/>
                      <a:pt x="4" y="3"/>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1280"/>
              <p:cNvSpPr/>
              <p:nvPr/>
            </p:nvSpPr>
            <p:spPr bwMode="auto">
              <a:xfrm>
                <a:off x="1093" y="750"/>
                <a:ext cx="31" cy="37"/>
              </a:xfrm>
              <a:custGeom>
                <a:gdLst>
                  <a:gd name="T0" fmla="*/ 7 w 13"/>
                  <a:gd name="T1" fmla="*/ 0 h 16"/>
                  <a:gd name="T2" fmla="*/ 1 w 13"/>
                  <a:gd name="T3" fmla="*/ 5 h 16"/>
                  <a:gd name="T4" fmla="*/ 2 w 13"/>
                  <a:gd name="T5" fmla="*/ 11 h 16"/>
                  <a:gd name="T6" fmla="*/ 8 w 13"/>
                  <a:gd name="T7" fmla="*/ 14 h 16"/>
                  <a:gd name="T8" fmla="*/ 3 w 13"/>
                  <a:gd name="T9" fmla="*/ 16 h 16"/>
                  <a:gd name="T10" fmla="*/ 6 w 13"/>
                  <a:gd name="T11" fmla="*/ 16 h 16"/>
                  <a:gd name="T12" fmla="*/ 8 w 13"/>
                  <a:gd name="T13" fmla="*/ 16 h 16"/>
                  <a:gd name="T14" fmla="*/ 12 w 13"/>
                  <a:gd name="T15" fmla="*/ 11 h 16"/>
                  <a:gd name="T16" fmla="*/ 7 w 13"/>
                  <a:gd name="T17"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6">
                    <a:moveTo>
                      <a:pt x="7" y="0"/>
                    </a:moveTo>
                    <a:cubicBezTo>
                      <a:pt x="6" y="1"/>
                      <a:pt x="2" y="3"/>
                      <a:pt x="1" y="5"/>
                    </a:cubicBezTo>
                    <a:cubicBezTo>
                      <a:pt x="0" y="7"/>
                      <a:pt x="1" y="8"/>
                      <a:pt x="2" y="11"/>
                    </a:cubicBezTo>
                    <a:cubicBezTo>
                      <a:pt x="4" y="12"/>
                      <a:pt x="8" y="11"/>
                      <a:pt x="8" y="14"/>
                    </a:cubicBezTo>
                    <a:cubicBezTo>
                      <a:pt x="7" y="14"/>
                      <a:pt x="3" y="14"/>
                      <a:pt x="3" y="16"/>
                    </a:cubicBezTo>
                    <a:cubicBezTo>
                      <a:pt x="4" y="16"/>
                      <a:pt x="5" y="16"/>
                      <a:pt x="6" y="16"/>
                    </a:cubicBezTo>
                    <a:cubicBezTo>
                      <a:pt x="7" y="16"/>
                      <a:pt x="8" y="16"/>
                      <a:pt x="8" y="16"/>
                    </a:cubicBezTo>
                    <a:cubicBezTo>
                      <a:pt x="10" y="15"/>
                      <a:pt x="11" y="13"/>
                      <a:pt x="12" y="11"/>
                    </a:cubicBezTo>
                    <a:cubicBezTo>
                      <a:pt x="13" y="6"/>
                      <a:pt x="8"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1281"/>
              <p:cNvSpPr/>
              <p:nvPr/>
            </p:nvSpPr>
            <p:spPr bwMode="auto">
              <a:xfrm>
                <a:off x="760" y="991"/>
                <a:ext cx="12" cy="9"/>
              </a:xfrm>
              <a:custGeom>
                <a:gdLst>
                  <a:gd name="T0" fmla="*/ 2 w 5"/>
                  <a:gd name="T1" fmla="*/ 0 h 4"/>
                  <a:gd name="T2" fmla="*/ 0 w 5"/>
                  <a:gd name="T3" fmla="*/ 4 h 4"/>
                  <a:gd name="T4" fmla="*/ 5 w 5"/>
                  <a:gd name="T5" fmla="*/ 3 h 4"/>
                  <a:gd name="T6" fmla="*/ 2 w 5"/>
                  <a:gd name="T7" fmla="*/ 0 h 4"/>
                </a:gdLst>
                <a:cxnLst>
                  <a:cxn ang="0">
                    <a:pos x="T0" y="T1"/>
                  </a:cxn>
                  <a:cxn ang="0">
                    <a:pos x="T2" y="T3"/>
                  </a:cxn>
                  <a:cxn ang="0">
                    <a:pos x="T4" y="T5"/>
                  </a:cxn>
                  <a:cxn ang="0">
                    <a:pos x="T6" y="T7"/>
                  </a:cxn>
                </a:cxnLst>
                <a:rect l="0" t="0" r="r" b="b"/>
                <a:pathLst>
                  <a:path w="5" h="4">
                    <a:moveTo>
                      <a:pt x="2" y="0"/>
                    </a:moveTo>
                    <a:cubicBezTo>
                      <a:pt x="1" y="0"/>
                      <a:pt x="0" y="2"/>
                      <a:pt x="0" y="4"/>
                    </a:cubicBezTo>
                    <a:cubicBezTo>
                      <a:pt x="2" y="4"/>
                      <a:pt x="3" y="4"/>
                      <a:pt x="5"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1282"/>
              <p:cNvSpPr/>
              <p:nvPr/>
            </p:nvSpPr>
            <p:spPr bwMode="auto">
              <a:xfrm>
                <a:off x="710" y="960"/>
                <a:ext cx="52" cy="26"/>
              </a:xfrm>
              <a:custGeom>
                <a:gdLst>
                  <a:gd name="T0" fmla="*/ 11 w 22"/>
                  <a:gd name="T1" fmla="*/ 0 h 11"/>
                  <a:gd name="T2" fmla="*/ 11 w 22"/>
                  <a:gd name="T3" fmla="*/ 0 h 11"/>
                  <a:gd name="T4" fmla="*/ 6 w 22"/>
                  <a:gd name="T5" fmla="*/ 4 h 11"/>
                  <a:gd name="T6" fmla="*/ 6 w 22"/>
                  <a:gd name="T7" fmla="*/ 3 h 11"/>
                  <a:gd name="T8" fmla="*/ 4 w 22"/>
                  <a:gd name="T9" fmla="*/ 1 h 11"/>
                  <a:gd name="T10" fmla="*/ 3 w 22"/>
                  <a:gd name="T11" fmla="*/ 1 h 11"/>
                  <a:gd name="T12" fmla="*/ 3 w 22"/>
                  <a:gd name="T13" fmla="*/ 6 h 11"/>
                  <a:gd name="T14" fmla="*/ 0 w 22"/>
                  <a:gd name="T15" fmla="*/ 8 h 11"/>
                  <a:gd name="T16" fmla="*/ 10 w 22"/>
                  <a:gd name="T17" fmla="*/ 11 h 11"/>
                  <a:gd name="T18" fmla="*/ 15 w 22"/>
                  <a:gd name="T19" fmla="*/ 11 h 11"/>
                  <a:gd name="T20" fmla="*/ 19 w 22"/>
                  <a:gd name="T21" fmla="*/ 11 h 11"/>
                  <a:gd name="T22" fmla="*/ 19 w 22"/>
                  <a:gd name="T23" fmla="*/ 11 h 11"/>
                  <a:gd name="T24" fmla="*/ 7 w 22"/>
                  <a:gd name="T25" fmla="*/ 5 h 11"/>
                  <a:gd name="T26" fmla="*/ 6 w 22"/>
                  <a:gd name="T27" fmla="*/ 4 h 11"/>
                  <a:gd name="T28" fmla="*/ 8 w 22"/>
                  <a:gd name="T29" fmla="*/ 5 h 11"/>
                  <a:gd name="T30" fmla="*/ 9 w 22"/>
                  <a:gd name="T31" fmla="*/ 4 h 11"/>
                  <a:gd name="T32" fmla="*/ 22 w 22"/>
                  <a:gd name="T33" fmla="*/ 9 h 11"/>
                  <a:gd name="T34" fmla="*/ 15 w 22"/>
                  <a:gd name="T35" fmla="*/ 1 h 11"/>
                  <a:gd name="T36" fmla="*/ 11 w 22"/>
                  <a:gd name="T3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1">
                    <a:moveTo>
                      <a:pt x="11" y="0"/>
                    </a:moveTo>
                    <a:cubicBezTo>
                      <a:pt x="11" y="0"/>
                      <a:pt x="11" y="0"/>
                      <a:pt x="11" y="0"/>
                    </a:cubicBezTo>
                    <a:cubicBezTo>
                      <a:pt x="8" y="0"/>
                      <a:pt x="8" y="2"/>
                      <a:pt x="6" y="4"/>
                    </a:cubicBezTo>
                    <a:cubicBezTo>
                      <a:pt x="6" y="3"/>
                      <a:pt x="6" y="3"/>
                      <a:pt x="6" y="3"/>
                    </a:cubicBezTo>
                    <a:cubicBezTo>
                      <a:pt x="5" y="2"/>
                      <a:pt x="4" y="1"/>
                      <a:pt x="4" y="1"/>
                    </a:cubicBezTo>
                    <a:cubicBezTo>
                      <a:pt x="3" y="1"/>
                      <a:pt x="3" y="1"/>
                      <a:pt x="3" y="1"/>
                    </a:cubicBezTo>
                    <a:cubicBezTo>
                      <a:pt x="0" y="1"/>
                      <a:pt x="3" y="4"/>
                      <a:pt x="3" y="6"/>
                    </a:cubicBezTo>
                    <a:cubicBezTo>
                      <a:pt x="2" y="7"/>
                      <a:pt x="0" y="6"/>
                      <a:pt x="0" y="8"/>
                    </a:cubicBezTo>
                    <a:cubicBezTo>
                      <a:pt x="0" y="11"/>
                      <a:pt x="5" y="11"/>
                      <a:pt x="10" y="11"/>
                    </a:cubicBezTo>
                    <a:cubicBezTo>
                      <a:pt x="12" y="11"/>
                      <a:pt x="14" y="11"/>
                      <a:pt x="15" y="11"/>
                    </a:cubicBezTo>
                    <a:cubicBezTo>
                      <a:pt x="17" y="11"/>
                      <a:pt x="18" y="11"/>
                      <a:pt x="19" y="11"/>
                    </a:cubicBezTo>
                    <a:cubicBezTo>
                      <a:pt x="19" y="11"/>
                      <a:pt x="19" y="11"/>
                      <a:pt x="19" y="11"/>
                    </a:cubicBezTo>
                    <a:cubicBezTo>
                      <a:pt x="15" y="6"/>
                      <a:pt x="12" y="7"/>
                      <a:pt x="7" y="5"/>
                    </a:cubicBezTo>
                    <a:cubicBezTo>
                      <a:pt x="7" y="4"/>
                      <a:pt x="7" y="4"/>
                      <a:pt x="6" y="4"/>
                    </a:cubicBezTo>
                    <a:cubicBezTo>
                      <a:pt x="7" y="4"/>
                      <a:pt x="8" y="4"/>
                      <a:pt x="8" y="5"/>
                    </a:cubicBezTo>
                    <a:cubicBezTo>
                      <a:pt x="8" y="4"/>
                      <a:pt x="9" y="4"/>
                      <a:pt x="9" y="4"/>
                    </a:cubicBezTo>
                    <a:cubicBezTo>
                      <a:pt x="12" y="4"/>
                      <a:pt x="20" y="8"/>
                      <a:pt x="22" y="9"/>
                    </a:cubicBezTo>
                    <a:cubicBezTo>
                      <a:pt x="20" y="5"/>
                      <a:pt x="18" y="3"/>
                      <a:pt x="15" y="1"/>
                    </a:cubicBezTo>
                    <a:cubicBezTo>
                      <a:pt x="14"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1283"/>
              <p:cNvSpPr/>
              <p:nvPr/>
            </p:nvSpPr>
            <p:spPr bwMode="auto">
              <a:xfrm>
                <a:off x="2832" y="1322"/>
                <a:ext cx="12" cy="9"/>
              </a:xfrm>
              <a:custGeom>
                <a:gdLst>
                  <a:gd name="T0" fmla="*/ 0 w 5"/>
                  <a:gd name="T1" fmla="*/ 0 h 4"/>
                  <a:gd name="T2" fmla="*/ 4 w 5"/>
                  <a:gd name="T3" fmla="*/ 4 h 4"/>
                  <a:gd name="T4" fmla="*/ 5 w 5"/>
                  <a:gd name="T5" fmla="*/ 4 h 4"/>
                  <a:gd name="T6" fmla="*/ 0 w 5"/>
                  <a:gd name="T7" fmla="*/ 0 h 4"/>
                </a:gdLst>
                <a:cxnLst>
                  <a:cxn ang="0">
                    <a:pos x="T0" y="T1"/>
                  </a:cxn>
                  <a:cxn ang="0">
                    <a:pos x="T2" y="T3"/>
                  </a:cxn>
                  <a:cxn ang="0">
                    <a:pos x="T4" y="T5"/>
                  </a:cxn>
                  <a:cxn ang="0">
                    <a:pos x="T6" y="T7"/>
                  </a:cxn>
                </a:cxnLst>
                <a:rect l="0" t="0" r="r" b="b"/>
                <a:pathLst>
                  <a:path w="5" h="4">
                    <a:moveTo>
                      <a:pt x="0" y="0"/>
                    </a:moveTo>
                    <a:cubicBezTo>
                      <a:pt x="0" y="2"/>
                      <a:pt x="2" y="4"/>
                      <a:pt x="4" y="4"/>
                    </a:cubicBezTo>
                    <a:cubicBezTo>
                      <a:pt x="5" y="4"/>
                      <a:pt x="5" y="4"/>
                      <a:pt x="5"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1284"/>
              <p:cNvSpPr/>
              <p:nvPr/>
            </p:nvSpPr>
            <p:spPr bwMode="auto">
              <a:xfrm>
                <a:off x="2045" y="1062"/>
                <a:ext cx="10" cy="2"/>
              </a:xfrm>
              <a:custGeom>
                <a:gdLst>
                  <a:gd name="T0" fmla="*/ 3 w 4"/>
                  <a:gd name="T1" fmla="*/ 0 h 1"/>
                  <a:gd name="T2" fmla="*/ 0 w 4"/>
                  <a:gd name="T3" fmla="*/ 1 h 1"/>
                  <a:gd name="T4" fmla="*/ 4 w 4"/>
                  <a:gd name="T5" fmla="*/ 0 h 1"/>
                  <a:gd name="T6" fmla="*/ 3 w 4"/>
                  <a:gd name="T7" fmla="*/ 0 h 1"/>
                </a:gdLst>
                <a:cxnLst>
                  <a:cxn ang="0">
                    <a:pos x="T0" y="T1"/>
                  </a:cxn>
                  <a:cxn ang="0">
                    <a:pos x="T2" y="T3"/>
                  </a:cxn>
                  <a:cxn ang="0">
                    <a:pos x="T4" y="T5"/>
                  </a:cxn>
                  <a:cxn ang="0">
                    <a:pos x="T6" y="T7"/>
                  </a:cxn>
                </a:cxnLst>
                <a:rect l="0" t="0" r="r" b="b"/>
                <a:pathLst>
                  <a:path w="4" h="1">
                    <a:moveTo>
                      <a:pt x="3" y="0"/>
                    </a:moveTo>
                    <a:cubicBezTo>
                      <a:pt x="1" y="0"/>
                      <a:pt x="0" y="0"/>
                      <a:pt x="0" y="1"/>
                    </a:cubicBezTo>
                    <a:cubicBezTo>
                      <a:pt x="1" y="1"/>
                      <a:pt x="3"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Freeform 1285"/>
              <p:cNvSpPr/>
              <p:nvPr/>
            </p:nvSpPr>
            <p:spPr bwMode="auto">
              <a:xfrm>
                <a:off x="2421" y="1014"/>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1" y="1"/>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1286"/>
              <p:cNvSpPr/>
              <p:nvPr/>
            </p:nvSpPr>
            <p:spPr bwMode="auto">
              <a:xfrm>
                <a:off x="2175" y="1170"/>
                <a:ext cx="8" cy="3"/>
              </a:xfrm>
              <a:custGeom>
                <a:gdLst>
                  <a:gd name="T0" fmla="*/ 0 w 3"/>
                  <a:gd name="T1" fmla="*/ 0 h 1"/>
                  <a:gd name="T2" fmla="*/ 3 w 3"/>
                  <a:gd name="T3" fmla="*/ 1 h 1"/>
                  <a:gd name="T4" fmla="*/ 0 w 3"/>
                  <a:gd name="T5" fmla="*/ 0 h 1"/>
                </a:gdLst>
                <a:cxnLst>
                  <a:cxn ang="0">
                    <a:pos x="T0" y="T1"/>
                  </a:cxn>
                  <a:cxn ang="0">
                    <a:pos x="T2" y="T3"/>
                  </a:cxn>
                  <a:cxn ang="0">
                    <a:pos x="T4" y="T5"/>
                  </a:cxn>
                </a:cxnLst>
                <a:rect l="0" t="0" r="r" b="b"/>
                <a:pathLst>
                  <a:path w="3" h="1">
                    <a:moveTo>
                      <a:pt x="0" y="0"/>
                    </a:moveTo>
                    <a:cubicBezTo>
                      <a:pt x="1" y="0"/>
                      <a:pt x="2"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1287"/>
              <p:cNvSpPr/>
              <p:nvPr/>
            </p:nvSpPr>
            <p:spPr bwMode="auto">
              <a:xfrm>
                <a:off x="807" y="979"/>
                <a:ext cx="7" cy="7"/>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2"/>
                      <a:pt x="3" y="3"/>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Freeform 1288"/>
              <p:cNvSpPr/>
              <p:nvPr/>
            </p:nvSpPr>
            <p:spPr bwMode="auto">
              <a:xfrm>
                <a:off x="833" y="986"/>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0" y="1"/>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1289"/>
              <p:cNvSpPr/>
              <p:nvPr/>
            </p:nvSpPr>
            <p:spPr bwMode="auto">
              <a:xfrm>
                <a:off x="774" y="979"/>
                <a:ext cx="12" cy="14"/>
              </a:xfrm>
              <a:custGeom>
                <a:gdLst>
                  <a:gd name="T0" fmla="*/ 1 w 5"/>
                  <a:gd name="T1" fmla="*/ 0 h 6"/>
                  <a:gd name="T2" fmla="*/ 2 w 5"/>
                  <a:gd name="T3" fmla="*/ 6 h 6"/>
                  <a:gd name="T4" fmla="*/ 5 w 5"/>
                  <a:gd name="T5" fmla="*/ 4 h 6"/>
                  <a:gd name="T6" fmla="*/ 1 w 5"/>
                  <a:gd name="T7" fmla="*/ 0 h 6"/>
                </a:gdLst>
                <a:cxnLst>
                  <a:cxn ang="0">
                    <a:pos x="T0" y="T1"/>
                  </a:cxn>
                  <a:cxn ang="0">
                    <a:pos x="T2" y="T3"/>
                  </a:cxn>
                  <a:cxn ang="0">
                    <a:pos x="T4" y="T5"/>
                  </a:cxn>
                  <a:cxn ang="0">
                    <a:pos x="T6" y="T7"/>
                  </a:cxn>
                </a:cxnLst>
                <a:rect l="0" t="0" r="r" b="b"/>
                <a:pathLst>
                  <a:path w="5" h="6">
                    <a:moveTo>
                      <a:pt x="1" y="0"/>
                    </a:moveTo>
                    <a:cubicBezTo>
                      <a:pt x="0" y="2"/>
                      <a:pt x="0" y="6"/>
                      <a:pt x="2" y="6"/>
                    </a:cubicBezTo>
                    <a:cubicBezTo>
                      <a:pt x="3" y="6"/>
                      <a:pt x="4" y="5"/>
                      <a:pt x="5" y="4"/>
                    </a:cubicBezTo>
                    <a:cubicBezTo>
                      <a:pt x="4"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1290"/>
              <p:cNvSpPr/>
              <p:nvPr/>
            </p:nvSpPr>
            <p:spPr bwMode="auto">
              <a:xfrm>
                <a:off x="2452" y="1596"/>
                <a:ext cx="21" cy="12"/>
              </a:xfrm>
              <a:custGeom>
                <a:gdLst>
                  <a:gd name="T0" fmla="*/ 0 w 9"/>
                  <a:gd name="T1" fmla="*/ 0 h 5"/>
                  <a:gd name="T2" fmla="*/ 5 w 9"/>
                  <a:gd name="T3" fmla="*/ 5 h 5"/>
                  <a:gd name="T4" fmla="*/ 5 w 9"/>
                  <a:gd name="T5" fmla="*/ 5 h 5"/>
                  <a:gd name="T6" fmla="*/ 9 w 9"/>
                  <a:gd name="T7" fmla="*/ 3 h 5"/>
                  <a:gd name="T8" fmla="*/ 0 w 9"/>
                  <a:gd name="T9" fmla="*/ 0 h 5"/>
                </a:gdLst>
                <a:cxnLst>
                  <a:cxn ang="0">
                    <a:pos x="T0" y="T1"/>
                  </a:cxn>
                  <a:cxn ang="0">
                    <a:pos x="T2" y="T3"/>
                  </a:cxn>
                  <a:cxn ang="0">
                    <a:pos x="T4" y="T5"/>
                  </a:cxn>
                  <a:cxn ang="0">
                    <a:pos x="T6" y="T7"/>
                  </a:cxn>
                  <a:cxn ang="0">
                    <a:pos x="T8" y="T9"/>
                  </a:cxn>
                </a:cxnLst>
                <a:rect l="0" t="0" r="r" b="b"/>
                <a:pathLst>
                  <a:path w="9" h="5">
                    <a:moveTo>
                      <a:pt x="0" y="0"/>
                    </a:moveTo>
                    <a:cubicBezTo>
                      <a:pt x="0" y="3"/>
                      <a:pt x="3" y="5"/>
                      <a:pt x="5" y="5"/>
                    </a:cubicBezTo>
                    <a:cubicBezTo>
                      <a:pt x="5" y="5"/>
                      <a:pt x="5" y="5"/>
                      <a:pt x="5" y="5"/>
                    </a:cubicBezTo>
                    <a:cubicBezTo>
                      <a:pt x="7" y="5"/>
                      <a:pt x="7" y="4"/>
                      <a:pt x="9" y="3"/>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Freeform 1291"/>
              <p:cNvSpPr/>
              <p:nvPr/>
            </p:nvSpPr>
            <p:spPr bwMode="auto">
              <a:xfrm>
                <a:off x="1944" y="1437"/>
                <a:ext cx="7" cy="48"/>
              </a:xfrm>
              <a:custGeom>
                <a:gdLst>
                  <a:gd name="T0" fmla="*/ 3 w 3"/>
                  <a:gd name="T1" fmla="*/ 0 h 20"/>
                  <a:gd name="T2" fmla="*/ 2 w 3"/>
                  <a:gd name="T3" fmla="*/ 20 h 20"/>
                  <a:gd name="T4" fmla="*/ 3 w 3"/>
                  <a:gd name="T5" fmla="*/ 0 h 20"/>
                </a:gdLst>
                <a:cxnLst>
                  <a:cxn ang="0">
                    <a:pos x="T0" y="T1"/>
                  </a:cxn>
                  <a:cxn ang="0">
                    <a:pos x="T2" y="T3"/>
                  </a:cxn>
                  <a:cxn ang="0">
                    <a:pos x="T4" y="T5"/>
                  </a:cxn>
                </a:cxnLst>
                <a:rect l="0" t="0" r="r" b="b"/>
                <a:pathLst>
                  <a:path w="3" h="20">
                    <a:moveTo>
                      <a:pt x="3" y="0"/>
                    </a:moveTo>
                    <a:cubicBezTo>
                      <a:pt x="0" y="5"/>
                      <a:pt x="2" y="15"/>
                      <a:pt x="2" y="20"/>
                    </a:cubicBezTo>
                    <a:cubicBezTo>
                      <a:pt x="3" y="13"/>
                      <a:pt x="3" y="6"/>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1292"/>
              <p:cNvSpPr/>
              <p:nvPr/>
            </p:nvSpPr>
            <p:spPr bwMode="auto">
              <a:xfrm>
                <a:off x="857" y="1026"/>
                <a:ext cx="9" cy="12"/>
              </a:xfrm>
              <a:custGeom>
                <a:gdLst>
                  <a:gd name="T0" fmla="*/ 0 w 4"/>
                  <a:gd name="T1" fmla="*/ 0 h 5"/>
                  <a:gd name="T2" fmla="*/ 4 w 4"/>
                  <a:gd name="T3" fmla="*/ 5 h 5"/>
                  <a:gd name="T4" fmla="*/ 0 w 4"/>
                  <a:gd name="T5" fmla="*/ 0 h 5"/>
                </a:gdLst>
                <a:cxnLst>
                  <a:cxn ang="0">
                    <a:pos x="T0" y="T1"/>
                  </a:cxn>
                  <a:cxn ang="0">
                    <a:pos x="T2" y="T3"/>
                  </a:cxn>
                  <a:cxn ang="0">
                    <a:pos x="T4" y="T5"/>
                  </a:cxn>
                </a:cxnLst>
                <a:rect l="0" t="0" r="r" b="b"/>
                <a:pathLst>
                  <a:path w="4" h="5">
                    <a:moveTo>
                      <a:pt x="0" y="0"/>
                    </a:moveTo>
                    <a:cubicBezTo>
                      <a:pt x="0" y="3"/>
                      <a:pt x="2" y="3"/>
                      <a:pt x="4"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1293"/>
              <p:cNvSpPr/>
              <p:nvPr/>
            </p:nvSpPr>
            <p:spPr bwMode="auto">
              <a:xfrm>
                <a:off x="2733" y="1534"/>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1"/>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294"/>
              <p:cNvSpPr>
                <a:spLocks noEditPoints="1"/>
              </p:cNvSpPr>
              <p:nvPr/>
            </p:nvSpPr>
            <p:spPr bwMode="auto">
              <a:xfrm>
                <a:off x="2724" y="1530"/>
                <a:ext cx="9" cy="4"/>
              </a:xfrm>
              <a:custGeom>
                <a:gdLst>
                  <a:gd name="T0" fmla="*/ 0 w 4"/>
                  <a:gd name="T1" fmla="*/ 0 h 2"/>
                  <a:gd name="T2" fmla="*/ 4 w 4"/>
                  <a:gd name="T3" fmla="*/ 2 h 2"/>
                  <a:gd name="T4" fmla="*/ 0 w 4"/>
                  <a:gd name="T5" fmla="*/ 0 h 2"/>
                  <a:gd name="T6" fmla="*/ 0 w 4"/>
                  <a:gd name="T7" fmla="*/ 0 h 2"/>
                  <a:gd name="T8" fmla="*/ 0 w 4"/>
                  <a:gd name="T9" fmla="*/ 0 h 2"/>
                  <a:gd name="T10" fmla="*/ 0 w 4"/>
                  <a:gd name="T11" fmla="*/ 0 h 2"/>
                </a:gdLst>
                <a:cxnLst>
                  <a:cxn ang="0">
                    <a:pos x="T0" y="T1"/>
                  </a:cxn>
                  <a:cxn ang="0">
                    <a:pos x="T2" y="T3"/>
                  </a:cxn>
                  <a:cxn ang="0">
                    <a:pos x="T4" y="T5"/>
                  </a:cxn>
                  <a:cxn ang="0">
                    <a:pos x="T6" y="T7"/>
                  </a:cxn>
                  <a:cxn ang="0">
                    <a:pos x="T8" y="T9"/>
                  </a:cxn>
                  <a:cxn ang="0">
                    <a:pos x="T10" y="T11"/>
                  </a:cxn>
                </a:cxnLst>
                <a:rect l="0" t="0" r="r" b="b"/>
                <a:pathLst>
                  <a:path w="4" h="2">
                    <a:moveTo>
                      <a:pt x="0" y="0"/>
                    </a:moveTo>
                    <a:cubicBezTo>
                      <a:pt x="1" y="0"/>
                      <a:pt x="3" y="1"/>
                      <a:pt x="4" y="2"/>
                    </a:cubicBezTo>
                    <a:cubicBezTo>
                      <a:pt x="4" y="0"/>
                      <a:pt x="2"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295"/>
              <p:cNvSpPr/>
              <p:nvPr/>
            </p:nvSpPr>
            <p:spPr bwMode="auto">
              <a:xfrm>
                <a:off x="2071" y="1357"/>
                <a:ext cx="38" cy="54"/>
              </a:xfrm>
              <a:custGeom>
                <a:gdLst>
                  <a:gd name="T0" fmla="*/ 13 w 16"/>
                  <a:gd name="T1" fmla="*/ 0 h 23"/>
                  <a:gd name="T2" fmla="*/ 8 w 16"/>
                  <a:gd name="T3" fmla="*/ 2 h 23"/>
                  <a:gd name="T4" fmla="*/ 3 w 16"/>
                  <a:gd name="T5" fmla="*/ 4 h 23"/>
                  <a:gd name="T6" fmla="*/ 2 w 16"/>
                  <a:gd name="T7" fmla="*/ 16 h 23"/>
                  <a:gd name="T8" fmla="*/ 5 w 16"/>
                  <a:gd name="T9" fmla="*/ 23 h 23"/>
                  <a:gd name="T10" fmla="*/ 8 w 16"/>
                  <a:gd name="T11" fmla="*/ 23 h 23"/>
                  <a:gd name="T12" fmla="*/ 11 w 16"/>
                  <a:gd name="T13" fmla="*/ 21 h 23"/>
                  <a:gd name="T14" fmla="*/ 12 w 16"/>
                  <a:gd name="T15" fmla="*/ 19 h 23"/>
                  <a:gd name="T16" fmla="*/ 12 w 16"/>
                  <a:gd name="T17" fmla="*/ 14 h 23"/>
                  <a:gd name="T18" fmla="*/ 15 w 16"/>
                  <a:gd name="T19" fmla="*/ 10 h 23"/>
                  <a:gd name="T20" fmla="*/ 13 w 16"/>
                  <a:gd name="T21"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3">
                    <a:moveTo>
                      <a:pt x="13" y="0"/>
                    </a:moveTo>
                    <a:cubicBezTo>
                      <a:pt x="11" y="0"/>
                      <a:pt x="10" y="2"/>
                      <a:pt x="8" y="2"/>
                    </a:cubicBezTo>
                    <a:cubicBezTo>
                      <a:pt x="7" y="3"/>
                      <a:pt x="4" y="3"/>
                      <a:pt x="3" y="4"/>
                    </a:cubicBezTo>
                    <a:cubicBezTo>
                      <a:pt x="1" y="8"/>
                      <a:pt x="6" y="11"/>
                      <a:pt x="2" y="16"/>
                    </a:cubicBezTo>
                    <a:cubicBezTo>
                      <a:pt x="1" y="22"/>
                      <a:pt x="0" y="22"/>
                      <a:pt x="5" y="23"/>
                    </a:cubicBezTo>
                    <a:cubicBezTo>
                      <a:pt x="7" y="23"/>
                      <a:pt x="8" y="23"/>
                      <a:pt x="8" y="23"/>
                    </a:cubicBezTo>
                    <a:cubicBezTo>
                      <a:pt x="9" y="23"/>
                      <a:pt x="10" y="23"/>
                      <a:pt x="11" y="21"/>
                    </a:cubicBezTo>
                    <a:cubicBezTo>
                      <a:pt x="11" y="20"/>
                      <a:pt x="11" y="21"/>
                      <a:pt x="12" y="19"/>
                    </a:cubicBezTo>
                    <a:cubicBezTo>
                      <a:pt x="12" y="16"/>
                      <a:pt x="10" y="17"/>
                      <a:pt x="12" y="14"/>
                    </a:cubicBezTo>
                    <a:cubicBezTo>
                      <a:pt x="13" y="13"/>
                      <a:pt x="14" y="12"/>
                      <a:pt x="15" y="10"/>
                    </a:cubicBezTo>
                    <a:cubicBezTo>
                      <a:pt x="16" y="7"/>
                      <a:pt x="14"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296"/>
              <p:cNvSpPr/>
              <p:nvPr/>
            </p:nvSpPr>
            <p:spPr bwMode="auto">
              <a:xfrm>
                <a:off x="2121" y="1610"/>
                <a:ext cx="28" cy="7"/>
              </a:xfrm>
              <a:custGeom>
                <a:gdLst>
                  <a:gd name="T0" fmla="*/ 6 w 12"/>
                  <a:gd name="T1" fmla="*/ 0 h 3"/>
                  <a:gd name="T2" fmla="*/ 3 w 12"/>
                  <a:gd name="T3" fmla="*/ 0 h 3"/>
                  <a:gd name="T4" fmla="*/ 5 w 12"/>
                  <a:gd name="T5" fmla="*/ 3 h 3"/>
                  <a:gd name="T6" fmla="*/ 8 w 12"/>
                  <a:gd name="T7" fmla="*/ 3 h 3"/>
                  <a:gd name="T8" fmla="*/ 8 w 12"/>
                  <a:gd name="T9" fmla="*/ 3 h 3"/>
                  <a:gd name="T10" fmla="*/ 9 w 12"/>
                  <a:gd name="T11" fmla="*/ 3 h 3"/>
                  <a:gd name="T12" fmla="*/ 9 w 12"/>
                  <a:gd name="T13" fmla="*/ 3 h 3"/>
                  <a:gd name="T14" fmla="*/ 10 w 12"/>
                  <a:gd name="T15" fmla="*/ 3 h 3"/>
                  <a:gd name="T16" fmla="*/ 6 w 12"/>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
                    <a:moveTo>
                      <a:pt x="6" y="0"/>
                    </a:moveTo>
                    <a:cubicBezTo>
                      <a:pt x="5" y="0"/>
                      <a:pt x="4" y="0"/>
                      <a:pt x="3" y="0"/>
                    </a:cubicBezTo>
                    <a:cubicBezTo>
                      <a:pt x="0" y="3"/>
                      <a:pt x="2" y="3"/>
                      <a:pt x="5" y="3"/>
                    </a:cubicBezTo>
                    <a:cubicBezTo>
                      <a:pt x="6" y="3"/>
                      <a:pt x="7" y="3"/>
                      <a:pt x="8" y="3"/>
                    </a:cubicBezTo>
                    <a:cubicBezTo>
                      <a:pt x="8" y="3"/>
                      <a:pt x="8" y="3"/>
                      <a:pt x="8" y="3"/>
                    </a:cubicBezTo>
                    <a:cubicBezTo>
                      <a:pt x="8" y="3"/>
                      <a:pt x="8" y="3"/>
                      <a:pt x="9" y="3"/>
                    </a:cubicBezTo>
                    <a:cubicBezTo>
                      <a:pt x="9" y="3"/>
                      <a:pt x="9" y="3"/>
                      <a:pt x="9" y="3"/>
                    </a:cubicBezTo>
                    <a:cubicBezTo>
                      <a:pt x="9" y="3"/>
                      <a:pt x="10" y="3"/>
                      <a:pt x="10" y="3"/>
                    </a:cubicBezTo>
                    <a:cubicBezTo>
                      <a:pt x="12" y="0"/>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Freeform 1297"/>
              <p:cNvSpPr/>
              <p:nvPr/>
            </p:nvSpPr>
            <p:spPr bwMode="auto">
              <a:xfrm>
                <a:off x="2036" y="1759"/>
                <a:ext cx="19" cy="9"/>
              </a:xfrm>
              <a:custGeom>
                <a:gdLst>
                  <a:gd name="T0" fmla="*/ 8 w 8"/>
                  <a:gd name="T1" fmla="*/ 0 h 4"/>
                  <a:gd name="T2" fmla="*/ 0 w 8"/>
                  <a:gd name="T3" fmla="*/ 3 h 4"/>
                  <a:gd name="T4" fmla="*/ 4 w 8"/>
                  <a:gd name="T5" fmla="*/ 4 h 4"/>
                  <a:gd name="T6" fmla="*/ 8 w 8"/>
                  <a:gd name="T7" fmla="*/ 0 h 4"/>
                </a:gdLst>
                <a:cxnLst>
                  <a:cxn ang="0">
                    <a:pos x="T0" y="T1"/>
                  </a:cxn>
                  <a:cxn ang="0">
                    <a:pos x="T2" y="T3"/>
                  </a:cxn>
                  <a:cxn ang="0">
                    <a:pos x="T4" y="T5"/>
                  </a:cxn>
                  <a:cxn ang="0">
                    <a:pos x="T6" y="T7"/>
                  </a:cxn>
                </a:cxnLst>
                <a:rect l="0" t="0" r="r" b="b"/>
                <a:pathLst>
                  <a:path w="8" h="4">
                    <a:moveTo>
                      <a:pt x="8" y="0"/>
                    </a:moveTo>
                    <a:cubicBezTo>
                      <a:pt x="5" y="1"/>
                      <a:pt x="2" y="2"/>
                      <a:pt x="0" y="3"/>
                    </a:cubicBezTo>
                    <a:cubicBezTo>
                      <a:pt x="1" y="4"/>
                      <a:pt x="2" y="4"/>
                      <a:pt x="4" y="4"/>
                    </a:cubicBezTo>
                    <a:cubicBezTo>
                      <a:pt x="6" y="4"/>
                      <a:pt x="8" y="3"/>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Freeform 1298"/>
              <p:cNvSpPr/>
              <p:nvPr/>
            </p:nvSpPr>
            <p:spPr bwMode="auto">
              <a:xfrm>
                <a:off x="2407" y="1081"/>
                <a:ext cx="12" cy="14"/>
              </a:xfrm>
              <a:custGeom>
                <a:gdLst>
                  <a:gd name="T0" fmla="*/ 3 w 5"/>
                  <a:gd name="T1" fmla="*/ 0 h 6"/>
                  <a:gd name="T2" fmla="*/ 0 w 5"/>
                  <a:gd name="T3" fmla="*/ 5 h 6"/>
                  <a:gd name="T4" fmla="*/ 3 w 5"/>
                  <a:gd name="T5" fmla="*/ 6 h 6"/>
                  <a:gd name="T6" fmla="*/ 4 w 5"/>
                  <a:gd name="T7" fmla="*/ 6 h 6"/>
                  <a:gd name="T8" fmla="*/ 3 w 5"/>
                  <a:gd name="T9" fmla="*/ 0 h 6"/>
                </a:gdLst>
                <a:cxnLst>
                  <a:cxn ang="0">
                    <a:pos x="T0" y="T1"/>
                  </a:cxn>
                  <a:cxn ang="0">
                    <a:pos x="T2" y="T3"/>
                  </a:cxn>
                  <a:cxn ang="0">
                    <a:pos x="T4" y="T5"/>
                  </a:cxn>
                  <a:cxn ang="0">
                    <a:pos x="T6" y="T7"/>
                  </a:cxn>
                  <a:cxn ang="0">
                    <a:pos x="T8" y="T9"/>
                  </a:cxn>
                </a:cxnLst>
                <a:rect l="0" t="0" r="r" b="b"/>
                <a:pathLst>
                  <a:path w="5" h="6">
                    <a:moveTo>
                      <a:pt x="3" y="0"/>
                    </a:moveTo>
                    <a:cubicBezTo>
                      <a:pt x="2" y="1"/>
                      <a:pt x="0" y="4"/>
                      <a:pt x="0" y="5"/>
                    </a:cubicBezTo>
                    <a:cubicBezTo>
                      <a:pt x="1" y="6"/>
                      <a:pt x="3" y="6"/>
                      <a:pt x="3" y="6"/>
                    </a:cubicBezTo>
                    <a:cubicBezTo>
                      <a:pt x="4" y="6"/>
                      <a:pt x="4" y="6"/>
                      <a:pt x="4" y="6"/>
                    </a:cubicBezTo>
                    <a:cubicBezTo>
                      <a:pt x="5" y="5"/>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1299"/>
              <p:cNvSpPr/>
              <p:nvPr/>
            </p:nvSpPr>
            <p:spPr bwMode="auto">
              <a:xfrm>
                <a:off x="2556" y="1036"/>
                <a:ext cx="16" cy="19"/>
              </a:xfrm>
              <a:custGeom>
                <a:gdLst>
                  <a:gd name="T0" fmla="*/ 0 w 7"/>
                  <a:gd name="T1" fmla="*/ 0 h 8"/>
                  <a:gd name="T2" fmla="*/ 7 w 7"/>
                  <a:gd name="T3" fmla="*/ 8 h 8"/>
                  <a:gd name="T4" fmla="*/ 0 w 7"/>
                  <a:gd name="T5" fmla="*/ 0 h 8"/>
                </a:gdLst>
                <a:cxnLst>
                  <a:cxn ang="0">
                    <a:pos x="T0" y="T1"/>
                  </a:cxn>
                  <a:cxn ang="0">
                    <a:pos x="T2" y="T3"/>
                  </a:cxn>
                  <a:cxn ang="0">
                    <a:pos x="T4" y="T5"/>
                  </a:cxn>
                </a:cxnLst>
                <a:rect l="0" t="0" r="r" b="b"/>
                <a:pathLst>
                  <a:path w="7" h="8">
                    <a:moveTo>
                      <a:pt x="0" y="0"/>
                    </a:moveTo>
                    <a:cubicBezTo>
                      <a:pt x="2" y="3"/>
                      <a:pt x="4" y="6"/>
                      <a:pt x="7" y="8"/>
                    </a:cubicBezTo>
                    <a:cubicBezTo>
                      <a:pt x="7" y="5"/>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Freeform 1300"/>
              <p:cNvSpPr/>
              <p:nvPr/>
            </p:nvSpPr>
            <p:spPr bwMode="auto">
              <a:xfrm>
                <a:off x="219" y="634"/>
                <a:ext cx="9" cy="5"/>
              </a:xfrm>
              <a:custGeom>
                <a:gdLst>
                  <a:gd name="T0" fmla="*/ 0 w 4"/>
                  <a:gd name="T1" fmla="*/ 0 h 2"/>
                  <a:gd name="T2" fmla="*/ 4 w 4"/>
                  <a:gd name="T3" fmla="*/ 2 h 2"/>
                  <a:gd name="T4" fmla="*/ 4 w 4"/>
                  <a:gd name="T5" fmla="*/ 2 h 2"/>
                  <a:gd name="T6" fmla="*/ 0 w 4"/>
                  <a:gd name="T7" fmla="*/ 0 h 2"/>
                </a:gdLst>
                <a:cxnLst>
                  <a:cxn ang="0">
                    <a:pos x="T0" y="T1"/>
                  </a:cxn>
                  <a:cxn ang="0">
                    <a:pos x="T2" y="T3"/>
                  </a:cxn>
                  <a:cxn ang="0">
                    <a:pos x="T4" y="T5"/>
                  </a:cxn>
                  <a:cxn ang="0">
                    <a:pos x="T6" y="T7"/>
                  </a:cxn>
                </a:cxnLst>
                <a:rect l="0" t="0" r="r" b="b"/>
                <a:pathLst>
                  <a:path w="4" h="2">
                    <a:moveTo>
                      <a:pt x="0" y="0"/>
                    </a:moveTo>
                    <a:cubicBezTo>
                      <a:pt x="1" y="1"/>
                      <a:pt x="2" y="2"/>
                      <a:pt x="4" y="2"/>
                    </a:cubicBezTo>
                    <a:cubicBezTo>
                      <a:pt x="4" y="2"/>
                      <a:pt x="4" y="2"/>
                      <a:pt x="4" y="2"/>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1301"/>
              <p:cNvSpPr/>
              <p:nvPr/>
            </p:nvSpPr>
            <p:spPr bwMode="auto">
              <a:xfrm>
                <a:off x="637" y="894"/>
                <a:ext cx="31" cy="28"/>
              </a:xfrm>
              <a:custGeom>
                <a:gdLst>
                  <a:gd name="T0" fmla="*/ 8 w 13"/>
                  <a:gd name="T1" fmla="*/ 0 h 12"/>
                  <a:gd name="T2" fmla="*/ 8 w 13"/>
                  <a:gd name="T3" fmla="*/ 0 h 12"/>
                  <a:gd name="T4" fmla="*/ 5 w 13"/>
                  <a:gd name="T5" fmla="*/ 2 h 12"/>
                  <a:gd name="T6" fmla="*/ 4 w 13"/>
                  <a:gd name="T7" fmla="*/ 2 h 12"/>
                  <a:gd name="T8" fmla="*/ 4 w 13"/>
                  <a:gd name="T9" fmla="*/ 2 h 12"/>
                  <a:gd name="T10" fmla="*/ 3 w 13"/>
                  <a:gd name="T11" fmla="*/ 2 h 12"/>
                  <a:gd name="T12" fmla="*/ 2 w 13"/>
                  <a:gd name="T13" fmla="*/ 2 h 12"/>
                  <a:gd name="T14" fmla="*/ 3 w 13"/>
                  <a:gd name="T15" fmla="*/ 11 h 12"/>
                  <a:gd name="T16" fmla="*/ 6 w 13"/>
                  <a:gd name="T17" fmla="*/ 12 h 12"/>
                  <a:gd name="T18" fmla="*/ 13 w 13"/>
                  <a:gd name="T19" fmla="*/ 5 h 12"/>
                  <a:gd name="T20" fmla="*/ 8 w 13"/>
                  <a:gd name="T21"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2">
                    <a:moveTo>
                      <a:pt x="8" y="0"/>
                    </a:moveTo>
                    <a:cubicBezTo>
                      <a:pt x="8" y="0"/>
                      <a:pt x="8" y="0"/>
                      <a:pt x="8" y="0"/>
                    </a:cubicBezTo>
                    <a:cubicBezTo>
                      <a:pt x="5" y="2"/>
                      <a:pt x="5" y="2"/>
                      <a:pt x="5" y="2"/>
                    </a:cubicBezTo>
                    <a:cubicBezTo>
                      <a:pt x="5" y="2"/>
                      <a:pt x="4" y="2"/>
                      <a:pt x="4" y="2"/>
                    </a:cubicBezTo>
                    <a:cubicBezTo>
                      <a:pt x="4" y="2"/>
                      <a:pt x="4" y="2"/>
                      <a:pt x="4" y="2"/>
                    </a:cubicBezTo>
                    <a:cubicBezTo>
                      <a:pt x="4" y="2"/>
                      <a:pt x="3" y="2"/>
                      <a:pt x="3" y="2"/>
                    </a:cubicBezTo>
                    <a:cubicBezTo>
                      <a:pt x="3" y="2"/>
                      <a:pt x="3" y="2"/>
                      <a:pt x="2" y="2"/>
                    </a:cubicBezTo>
                    <a:cubicBezTo>
                      <a:pt x="0" y="4"/>
                      <a:pt x="2" y="9"/>
                      <a:pt x="3" y="11"/>
                    </a:cubicBezTo>
                    <a:cubicBezTo>
                      <a:pt x="4" y="11"/>
                      <a:pt x="5" y="12"/>
                      <a:pt x="6" y="12"/>
                    </a:cubicBezTo>
                    <a:cubicBezTo>
                      <a:pt x="9" y="12"/>
                      <a:pt x="11" y="7"/>
                      <a:pt x="13" y="5"/>
                    </a:cubicBezTo>
                    <a:cubicBezTo>
                      <a:pt x="12"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Freeform 1302"/>
              <p:cNvSpPr/>
              <p:nvPr/>
            </p:nvSpPr>
            <p:spPr bwMode="auto">
              <a:xfrm>
                <a:off x="2287" y="851"/>
                <a:ext cx="4"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0" y="0"/>
                      <a:pt x="0" y="1"/>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Freeform 1303"/>
              <p:cNvSpPr/>
              <p:nvPr/>
            </p:nvSpPr>
            <p:spPr bwMode="auto">
              <a:xfrm>
                <a:off x="1162" y="865"/>
                <a:ext cx="7" cy="3"/>
              </a:xfrm>
              <a:custGeom>
                <a:gdLst>
                  <a:gd name="T0" fmla="*/ 0 w 3"/>
                  <a:gd name="T1" fmla="*/ 0 h 1"/>
                  <a:gd name="T2" fmla="*/ 2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0" y="1"/>
                      <a:pt x="1" y="1"/>
                      <a:pt x="2" y="1"/>
                    </a:cubicBezTo>
                    <a:cubicBezTo>
                      <a:pt x="3"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3" name="Freeform 1304"/>
              <p:cNvSpPr/>
              <p:nvPr/>
            </p:nvSpPr>
            <p:spPr bwMode="auto">
              <a:xfrm>
                <a:off x="682" y="929"/>
                <a:ext cx="38" cy="24"/>
              </a:xfrm>
              <a:custGeom>
                <a:gdLst>
                  <a:gd name="T0" fmla="*/ 1 w 16"/>
                  <a:gd name="T1" fmla="*/ 0 h 10"/>
                  <a:gd name="T2" fmla="*/ 0 w 16"/>
                  <a:gd name="T3" fmla="*/ 0 h 10"/>
                  <a:gd name="T4" fmla="*/ 7 w 16"/>
                  <a:gd name="T5" fmla="*/ 6 h 10"/>
                  <a:gd name="T6" fmla="*/ 14 w 16"/>
                  <a:gd name="T7" fmla="*/ 10 h 10"/>
                  <a:gd name="T8" fmla="*/ 7 w 16"/>
                  <a:gd name="T9" fmla="*/ 1 h 10"/>
                  <a:gd name="T10" fmla="*/ 1 w 16"/>
                  <a:gd name="T11" fmla="*/ 0 h 10"/>
                </a:gdLst>
                <a:cxnLst>
                  <a:cxn ang="0">
                    <a:pos x="T0" y="T1"/>
                  </a:cxn>
                  <a:cxn ang="0">
                    <a:pos x="T2" y="T3"/>
                  </a:cxn>
                  <a:cxn ang="0">
                    <a:pos x="T4" y="T5"/>
                  </a:cxn>
                  <a:cxn ang="0">
                    <a:pos x="T6" y="T7"/>
                  </a:cxn>
                  <a:cxn ang="0">
                    <a:pos x="T8" y="T9"/>
                  </a:cxn>
                  <a:cxn ang="0">
                    <a:pos x="T10" y="T11"/>
                  </a:cxn>
                </a:cxnLst>
                <a:rect l="0" t="0" r="r" b="b"/>
                <a:pathLst>
                  <a:path w="16" h="10">
                    <a:moveTo>
                      <a:pt x="1" y="0"/>
                    </a:moveTo>
                    <a:cubicBezTo>
                      <a:pt x="1" y="0"/>
                      <a:pt x="0" y="0"/>
                      <a:pt x="0" y="0"/>
                    </a:cubicBezTo>
                    <a:cubicBezTo>
                      <a:pt x="2" y="3"/>
                      <a:pt x="3" y="4"/>
                      <a:pt x="7" y="6"/>
                    </a:cubicBezTo>
                    <a:cubicBezTo>
                      <a:pt x="10" y="6"/>
                      <a:pt x="12" y="8"/>
                      <a:pt x="14" y="10"/>
                    </a:cubicBezTo>
                    <a:cubicBezTo>
                      <a:pt x="16" y="2"/>
                      <a:pt x="12" y="2"/>
                      <a:pt x="7" y="1"/>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305"/>
              <p:cNvSpPr/>
              <p:nvPr/>
            </p:nvSpPr>
            <p:spPr bwMode="auto">
              <a:xfrm>
                <a:off x="2492" y="1281"/>
                <a:ext cx="12" cy="8"/>
              </a:xfrm>
              <a:custGeom>
                <a:gdLst>
                  <a:gd name="T0" fmla="*/ 2 w 5"/>
                  <a:gd name="T1" fmla="*/ 0 h 3"/>
                  <a:gd name="T2" fmla="*/ 0 w 5"/>
                  <a:gd name="T3" fmla="*/ 3 h 3"/>
                  <a:gd name="T4" fmla="*/ 1 w 5"/>
                  <a:gd name="T5" fmla="*/ 3 h 3"/>
                  <a:gd name="T6" fmla="*/ 5 w 5"/>
                  <a:gd name="T7" fmla="*/ 2 h 3"/>
                  <a:gd name="T8" fmla="*/ 2 w 5"/>
                  <a:gd name="T9" fmla="*/ 0 h 3"/>
                </a:gdLst>
                <a:cxnLst>
                  <a:cxn ang="0">
                    <a:pos x="T0" y="T1"/>
                  </a:cxn>
                  <a:cxn ang="0">
                    <a:pos x="T2" y="T3"/>
                  </a:cxn>
                  <a:cxn ang="0">
                    <a:pos x="T4" y="T5"/>
                  </a:cxn>
                  <a:cxn ang="0">
                    <a:pos x="T6" y="T7"/>
                  </a:cxn>
                  <a:cxn ang="0">
                    <a:pos x="T8" y="T9"/>
                  </a:cxn>
                </a:cxnLst>
                <a:rect l="0" t="0" r="r" b="b"/>
                <a:pathLst>
                  <a:path w="5" h="3">
                    <a:moveTo>
                      <a:pt x="2" y="0"/>
                    </a:moveTo>
                    <a:cubicBezTo>
                      <a:pt x="1" y="1"/>
                      <a:pt x="1" y="2"/>
                      <a:pt x="0" y="3"/>
                    </a:cubicBezTo>
                    <a:cubicBezTo>
                      <a:pt x="0" y="3"/>
                      <a:pt x="1" y="3"/>
                      <a:pt x="1" y="3"/>
                    </a:cubicBezTo>
                    <a:cubicBezTo>
                      <a:pt x="2" y="3"/>
                      <a:pt x="4" y="3"/>
                      <a:pt x="5" y="2"/>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Freeform 1306"/>
              <p:cNvSpPr/>
              <p:nvPr/>
            </p:nvSpPr>
            <p:spPr bwMode="auto">
              <a:xfrm>
                <a:off x="2929" y="1104"/>
                <a:ext cx="17" cy="12"/>
              </a:xfrm>
              <a:custGeom>
                <a:gdLst>
                  <a:gd name="T0" fmla="*/ 4 w 7"/>
                  <a:gd name="T1" fmla="*/ 0 h 5"/>
                  <a:gd name="T2" fmla="*/ 5 w 7"/>
                  <a:gd name="T3" fmla="*/ 5 h 5"/>
                  <a:gd name="T4" fmla="*/ 4 w 7"/>
                  <a:gd name="T5" fmla="*/ 0 h 5"/>
                </a:gdLst>
                <a:cxnLst>
                  <a:cxn ang="0">
                    <a:pos x="T0" y="T1"/>
                  </a:cxn>
                  <a:cxn ang="0">
                    <a:pos x="T2" y="T3"/>
                  </a:cxn>
                  <a:cxn ang="0">
                    <a:pos x="T4" y="T5"/>
                  </a:cxn>
                </a:cxnLst>
                <a:rect l="0" t="0" r="r" b="b"/>
                <a:pathLst>
                  <a:path w="7" h="5">
                    <a:moveTo>
                      <a:pt x="4" y="0"/>
                    </a:moveTo>
                    <a:cubicBezTo>
                      <a:pt x="0" y="2"/>
                      <a:pt x="3" y="5"/>
                      <a:pt x="5" y="5"/>
                    </a:cubicBezTo>
                    <a:cubicBezTo>
                      <a:pt x="6" y="5"/>
                      <a:pt x="7"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1307"/>
              <p:cNvSpPr/>
              <p:nvPr/>
            </p:nvSpPr>
            <p:spPr bwMode="auto">
              <a:xfrm>
                <a:off x="2915" y="1199"/>
                <a:ext cx="2" cy="9"/>
              </a:xfrm>
              <a:custGeom>
                <a:gdLst>
                  <a:gd name="T0" fmla="*/ 1 w 1"/>
                  <a:gd name="T1" fmla="*/ 0 h 4"/>
                  <a:gd name="T2" fmla="*/ 0 w 1"/>
                  <a:gd name="T3" fmla="*/ 4 h 4"/>
                  <a:gd name="T4" fmla="*/ 1 w 1"/>
                  <a:gd name="T5" fmla="*/ 0 h 4"/>
                </a:gdLst>
                <a:cxnLst>
                  <a:cxn ang="0">
                    <a:pos x="T0" y="T1"/>
                  </a:cxn>
                  <a:cxn ang="0">
                    <a:pos x="T2" y="T3"/>
                  </a:cxn>
                  <a:cxn ang="0">
                    <a:pos x="T4" y="T5"/>
                  </a:cxn>
                </a:cxnLst>
                <a:rect l="0" t="0" r="r" b="b"/>
                <a:pathLst>
                  <a:path w="1" h="4">
                    <a:moveTo>
                      <a:pt x="1" y="0"/>
                    </a:moveTo>
                    <a:cubicBezTo>
                      <a:pt x="0" y="1"/>
                      <a:pt x="0" y="3"/>
                      <a:pt x="0" y="4"/>
                    </a:cubicBezTo>
                    <a:cubicBezTo>
                      <a:pt x="0"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Freeform 1308"/>
              <p:cNvSpPr/>
              <p:nvPr/>
            </p:nvSpPr>
            <p:spPr bwMode="auto">
              <a:xfrm>
                <a:off x="812" y="960"/>
                <a:ext cx="19" cy="12"/>
              </a:xfrm>
              <a:custGeom>
                <a:gdLst>
                  <a:gd name="T0" fmla="*/ 3 w 8"/>
                  <a:gd name="T1" fmla="*/ 0 h 5"/>
                  <a:gd name="T2" fmla="*/ 1 w 8"/>
                  <a:gd name="T3" fmla="*/ 2 h 5"/>
                  <a:gd name="T4" fmla="*/ 0 w 8"/>
                  <a:gd name="T5" fmla="*/ 2 h 5"/>
                  <a:gd name="T6" fmla="*/ 4 w 8"/>
                  <a:gd name="T7" fmla="*/ 5 h 5"/>
                  <a:gd name="T8" fmla="*/ 8 w 8"/>
                  <a:gd name="T9" fmla="*/ 1 h 5"/>
                  <a:gd name="T10" fmla="*/ 3 w 8"/>
                  <a:gd name="T11" fmla="*/ 0 h 5"/>
                </a:gdLst>
                <a:cxnLst>
                  <a:cxn ang="0">
                    <a:pos x="T0" y="T1"/>
                  </a:cxn>
                  <a:cxn ang="0">
                    <a:pos x="T2" y="T3"/>
                  </a:cxn>
                  <a:cxn ang="0">
                    <a:pos x="T4" y="T5"/>
                  </a:cxn>
                  <a:cxn ang="0">
                    <a:pos x="T6" y="T7"/>
                  </a:cxn>
                  <a:cxn ang="0">
                    <a:pos x="T8" y="T9"/>
                  </a:cxn>
                  <a:cxn ang="0">
                    <a:pos x="T10" y="T11"/>
                  </a:cxn>
                </a:cxnLst>
                <a:rect l="0" t="0" r="r" b="b"/>
                <a:pathLst>
                  <a:path w="8" h="5">
                    <a:moveTo>
                      <a:pt x="3" y="0"/>
                    </a:moveTo>
                    <a:cubicBezTo>
                      <a:pt x="2" y="0"/>
                      <a:pt x="1" y="0"/>
                      <a:pt x="1" y="2"/>
                    </a:cubicBezTo>
                    <a:cubicBezTo>
                      <a:pt x="1" y="2"/>
                      <a:pt x="1" y="2"/>
                      <a:pt x="0" y="2"/>
                    </a:cubicBezTo>
                    <a:cubicBezTo>
                      <a:pt x="2" y="4"/>
                      <a:pt x="3" y="5"/>
                      <a:pt x="4" y="5"/>
                    </a:cubicBezTo>
                    <a:cubicBezTo>
                      <a:pt x="5" y="5"/>
                      <a:pt x="6" y="3"/>
                      <a:pt x="8" y="1"/>
                    </a:cubicBezTo>
                    <a:cubicBezTo>
                      <a:pt x="6" y="0"/>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309"/>
              <p:cNvSpPr/>
              <p:nvPr/>
            </p:nvSpPr>
            <p:spPr bwMode="auto">
              <a:xfrm>
                <a:off x="836" y="955"/>
                <a:ext cx="28" cy="26"/>
              </a:xfrm>
              <a:custGeom>
                <a:gdLst>
                  <a:gd name="T0" fmla="*/ 9 w 12"/>
                  <a:gd name="T1" fmla="*/ 0 h 11"/>
                  <a:gd name="T2" fmla="*/ 0 w 12"/>
                  <a:gd name="T3" fmla="*/ 4 h 11"/>
                  <a:gd name="T4" fmla="*/ 4 w 12"/>
                  <a:gd name="T5" fmla="*/ 6 h 11"/>
                  <a:gd name="T6" fmla="*/ 9 w 12"/>
                  <a:gd name="T7" fmla="*/ 11 h 11"/>
                  <a:gd name="T8" fmla="*/ 11 w 12"/>
                  <a:gd name="T9" fmla="*/ 10 h 11"/>
                  <a:gd name="T10" fmla="*/ 12 w 12"/>
                  <a:gd name="T11" fmla="*/ 8 h 11"/>
                  <a:gd name="T12" fmla="*/ 12 w 12"/>
                  <a:gd name="T13" fmla="*/ 4 h 11"/>
                  <a:gd name="T14" fmla="*/ 12 w 12"/>
                  <a:gd name="T15" fmla="*/ 4 h 11"/>
                  <a:gd name="T16" fmla="*/ 11 w 12"/>
                  <a:gd name="T17" fmla="*/ 2 h 11"/>
                  <a:gd name="T18" fmla="*/ 10 w 12"/>
                  <a:gd name="T19" fmla="*/ 0 h 11"/>
                  <a:gd name="T20" fmla="*/ 10 w 12"/>
                  <a:gd name="T21" fmla="*/ 0 h 11"/>
                  <a:gd name="T22" fmla="*/ 9 w 12"/>
                  <a:gd name="T2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1">
                    <a:moveTo>
                      <a:pt x="9" y="0"/>
                    </a:moveTo>
                    <a:cubicBezTo>
                      <a:pt x="6" y="0"/>
                      <a:pt x="3" y="2"/>
                      <a:pt x="0" y="4"/>
                    </a:cubicBezTo>
                    <a:cubicBezTo>
                      <a:pt x="1" y="5"/>
                      <a:pt x="3" y="5"/>
                      <a:pt x="4" y="6"/>
                    </a:cubicBezTo>
                    <a:cubicBezTo>
                      <a:pt x="7" y="7"/>
                      <a:pt x="7" y="11"/>
                      <a:pt x="9" y="11"/>
                    </a:cubicBezTo>
                    <a:cubicBezTo>
                      <a:pt x="9" y="11"/>
                      <a:pt x="10" y="11"/>
                      <a:pt x="11" y="10"/>
                    </a:cubicBezTo>
                    <a:cubicBezTo>
                      <a:pt x="12" y="9"/>
                      <a:pt x="12" y="9"/>
                      <a:pt x="12" y="8"/>
                    </a:cubicBezTo>
                    <a:cubicBezTo>
                      <a:pt x="12" y="7"/>
                      <a:pt x="12" y="5"/>
                      <a:pt x="12" y="4"/>
                    </a:cubicBezTo>
                    <a:cubicBezTo>
                      <a:pt x="12" y="4"/>
                      <a:pt x="12" y="4"/>
                      <a:pt x="12" y="4"/>
                    </a:cubicBezTo>
                    <a:cubicBezTo>
                      <a:pt x="12" y="4"/>
                      <a:pt x="11" y="3"/>
                      <a:pt x="11" y="2"/>
                    </a:cubicBezTo>
                    <a:cubicBezTo>
                      <a:pt x="10" y="1"/>
                      <a:pt x="9" y="0"/>
                      <a:pt x="10" y="0"/>
                    </a:cubicBezTo>
                    <a:cubicBezTo>
                      <a:pt x="10" y="0"/>
                      <a:pt x="10" y="0"/>
                      <a:pt x="10" y="0"/>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Freeform 1310"/>
              <p:cNvSpPr/>
              <p:nvPr/>
            </p:nvSpPr>
            <p:spPr bwMode="auto">
              <a:xfrm>
                <a:off x="429" y="1040"/>
                <a:ext cx="17" cy="26"/>
              </a:xfrm>
              <a:custGeom>
                <a:gdLst>
                  <a:gd name="T0" fmla="*/ 0 w 7"/>
                  <a:gd name="T1" fmla="*/ 0 h 11"/>
                  <a:gd name="T2" fmla="*/ 7 w 7"/>
                  <a:gd name="T3" fmla="*/ 11 h 11"/>
                  <a:gd name="T4" fmla="*/ 0 w 7"/>
                  <a:gd name="T5" fmla="*/ 0 h 11"/>
                </a:gdLst>
                <a:cxnLst>
                  <a:cxn ang="0">
                    <a:pos x="T0" y="T1"/>
                  </a:cxn>
                  <a:cxn ang="0">
                    <a:pos x="T2" y="T3"/>
                  </a:cxn>
                  <a:cxn ang="0">
                    <a:pos x="T4" y="T5"/>
                  </a:cxn>
                </a:cxnLst>
                <a:rect l="0" t="0" r="r" b="b"/>
                <a:pathLst>
                  <a:path w="7" h="11">
                    <a:moveTo>
                      <a:pt x="0" y="0"/>
                    </a:moveTo>
                    <a:cubicBezTo>
                      <a:pt x="2" y="4"/>
                      <a:pt x="4" y="7"/>
                      <a:pt x="7" y="11"/>
                    </a:cubicBezTo>
                    <a:cubicBezTo>
                      <a:pt x="6" y="9"/>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Freeform 1311"/>
              <p:cNvSpPr/>
              <p:nvPr/>
            </p:nvSpPr>
            <p:spPr bwMode="auto">
              <a:xfrm>
                <a:off x="2291" y="785"/>
                <a:ext cx="17" cy="24"/>
              </a:xfrm>
              <a:custGeom>
                <a:gdLst>
                  <a:gd name="T0" fmla="*/ 0 w 7"/>
                  <a:gd name="T1" fmla="*/ 0 h 10"/>
                  <a:gd name="T2" fmla="*/ 0 w 7"/>
                  <a:gd name="T3" fmla="*/ 0 h 10"/>
                  <a:gd name="T4" fmla="*/ 6 w 7"/>
                  <a:gd name="T5" fmla="*/ 10 h 10"/>
                  <a:gd name="T6" fmla="*/ 4 w 7"/>
                  <a:gd name="T7" fmla="*/ 4 h 10"/>
                  <a:gd name="T8" fmla="*/ 0 w 7"/>
                  <a:gd name="T9" fmla="*/ 0 h 10"/>
                </a:gdLst>
                <a:cxnLst>
                  <a:cxn ang="0">
                    <a:pos x="T0" y="T1"/>
                  </a:cxn>
                  <a:cxn ang="0">
                    <a:pos x="T2" y="T3"/>
                  </a:cxn>
                  <a:cxn ang="0">
                    <a:pos x="T4" y="T5"/>
                  </a:cxn>
                  <a:cxn ang="0">
                    <a:pos x="T6" y="T7"/>
                  </a:cxn>
                  <a:cxn ang="0">
                    <a:pos x="T8" y="T9"/>
                  </a:cxn>
                </a:cxnLst>
                <a:rect l="0" t="0" r="r" b="b"/>
                <a:pathLst>
                  <a:path w="7" h="10">
                    <a:moveTo>
                      <a:pt x="0" y="0"/>
                    </a:moveTo>
                    <a:cubicBezTo>
                      <a:pt x="0" y="0"/>
                      <a:pt x="0" y="0"/>
                      <a:pt x="0" y="0"/>
                    </a:cubicBezTo>
                    <a:cubicBezTo>
                      <a:pt x="1" y="4"/>
                      <a:pt x="4" y="7"/>
                      <a:pt x="6" y="10"/>
                    </a:cubicBezTo>
                    <a:cubicBezTo>
                      <a:pt x="7" y="7"/>
                      <a:pt x="7" y="6"/>
                      <a:pt x="4" y="4"/>
                    </a:cubicBezTo>
                    <a:cubicBezTo>
                      <a:pt x="5"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1312"/>
              <p:cNvSpPr/>
              <p:nvPr/>
            </p:nvSpPr>
            <p:spPr bwMode="auto">
              <a:xfrm>
                <a:off x="2031" y="1071"/>
                <a:ext cx="17" cy="5"/>
              </a:xfrm>
              <a:custGeom>
                <a:gdLst>
                  <a:gd name="T0" fmla="*/ 1 w 7"/>
                  <a:gd name="T1" fmla="*/ 0 h 2"/>
                  <a:gd name="T2" fmla="*/ 0 w 7"/>
                  <a:gd name="T3" fmla="*/ 2 h 2"/>
                  <a:gd name="T4" fmla="*/ 7 w 7"/>
                  <a:gd name="T5" fmla="*/ 1 h 2"/>
                  <a:gd name="T6" fmla="*/ 1 w 7"/>
                  <a:gd name="T7" fmla="*/ 0 h 2"/>
                </a:gdLst>
                <a:cxnLst>
                  <a:cxn ang="0">
                    <a:pos x="T0" y="T1"/>
                  </a:cxn>
                  <a:cxn ang="0">
                    <a:pos x="T2" y="T3"/>
                  </a:cxn>
                  <a:cxn ang="0">
                    <a:pos x="T4" y="T5"/>
                  </a:cxn>
                  <a:cxn ang="0">
                    <a:pos x="T6" y="T7"/>
                  </a:cxn>
                </a:cxnLst>
                <a:rect l="0" t="0" r="r" b="b"/>
                <a:pathLst>
                  <a:path w="7" h="2">
                    <a:moveTo>
                      <a:pt x="1" y="0"/>
                    </a:moveTo>
                    <a:cubicBezTo>
                      <a:pt x="0" y="1"/>
                      <a:pt x="0" y="1"/>
                      <a:pt x="0" y="2"/>
                    </a:cubicBezTo>
                    <a:cubicBezTo>
                      <a:pt x="2" y="2"/>
                      <a:pt x="5" y="2"/>
                      <a:pt x="7" y="1"/>
                    </a:cubicBezTo>
                    <a:cubicBezTo>
                      <a:pt x="5"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313"/>
              <p:cNvSpPr/>
              <p:nvPr/>
            </p:nvSpPr>
            <p:spPr bwMode="auto">
              <a:xfrm>
                <a:off x="1147" y="835"/>
                <a:ext cx="10" cy="7"/>
              </a:xfrm>
              <a:custGeom>
                <a:gdLst>
                  <a:gd name="T0" fmla="*/ 3 w 4"/>
                  <a:gd name="T1" fmla="*/ 0 h 3"/>
                  <a:gd name="T2" fmla="*/ 0 w 4"/>
                  <a:gd name="T3" fmla="*/ 2 h 3"/>
                  <a:gd name="T4" fmla="*/ 2 w 4"/>
                  <a:gd name="T5" fmla="*/ 3 h 3"/>
                  <a:gd name="T6" fmla="*/ 3 w 4"/>
                  <a:gd name="T7" fmla="*/ 0 h 3"/>
                </a:gdLst>
                <a:cxnLst>
                  <a:cxn ang="0">
                    <a:pos x="T0" y="T1"/>
                  </a:cxn>
                  <a:cxn ang="0">
                    <a:pos x="T2" y="T3"/>
                  </a:cxn>
                  <a:cxn ang="0">
                    <a:pos x="T4" y="T5"/>
                  </a:cxn>
                  <a:cxn ang="0">
                    <a:pos x="T6" y="T7"/>
                  </a:cxn>
                </a:cxnLst>
                <a:rect l="0" t="0" r="r" b="b"/>
                <a:pathLst>
                  <a:path w="4" h="3">
                    <a:moveTo>
                      <a:pt x="3" y="0"/>
                    </a:moveTo>
                    <a:cubicBezTo>
                      <a:pt x="2" y="1"/>
                      <a:pt x="1" y="1"/>
                      <a:pt x="0" y="2"/>
                    </a:cubicBezTo>
                    <a:cubicBezTo>
                      <a:pt x="1" y="3"/>
                      <a:pt x="1" y="3"/>
                      <a:pt x="2" y="3"/>
                    </a:cubicBezTo>
                    <a:cubicBezTo>
                      <a:pt x="3"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314"/>
              <p:cNvSpPr>
                <a:spLocks noEditPoints="1"/>
              </p:cNvSpPr>
              <p:nvPr/>
            </p:nvSpPr>
            <p:spPr bwMode="auto">
              <a:xfrm>
                <a:off x="1819" y="882"/>
                <a:ext cx="4" cy="7"/>
              </a:xfrm>
              <a:custGeom>
                <a:gdLst>
                  <a:gd name="T0" fmla="*/ 2 w 2"/>
                  <a:gd name="T1" fmla="*/ 3 h 3"/>
                  <a:gd name="T2" fmla="*/ 2 w 2"/>
                  <a:gd name="T3" fmla="*/ 3 h 3"/>
                  <a:gd name="T4" fmla="*/ 2 w 2"/>
                  <a:gd name="T5" fmla="*/ 3 h 3"/>
                  <a:gd name="T6" fmla="*/ 0 w 2"/>
                  <a:gd name="T7" fmla="*/ 0 h 3"/>
                  <a:gd name="T8" fmla="*/ 2 w 2"/>
                  <a:gd name="T9" fmla="*/ 3 h 3"/>
                  <a:gd name="T10" fmla="*/ 0 w 2"/>
                  <a:gd name="T11" fmla="*/ 0 h 3"/>
                </a:gdLst>
                <a:cxnLst>
                  <a:cxn ang="0">
                    <a:pos x="T0" y="T1"/>
                  </a:cxn>
                  <a:cxn ang="0">
                    <a:pos x="T2" y="T3"/>
                  </a:cxn>
                  <a:cxn ang="0">
                    <a:pos x="T4" y="T5"/>
                  </a:cxn>
                  <a:cxn ang="0">
                    <a:pos x="T6" y="T7"/>
                  </a:cxn>
                  <a:cxn ang="0">
                    <a:pos x="T8" y="T9"/>
                  </a:cxn>
                  <a:cxn ang="0">
                    <a:pos x="T10" y="T11"/>
                  </a:cxn>
                </a:cxnLst>
                <a:rect l="0" t="0" r="r" b="b"/>
                <a:pathLst>
                  <a:path w="2" h="3">
                    <a:moveTo>
                      <a:pt x="2" y="3"/>
                    </a:moveTo>
                    <a:cubicBezTo>
                      <a:pt x="2" y="3"/>
                      <a:pt x="2" y="3"/>
                      <a:pt x="2" y="3"/>
                    </a:cubicBezTo>
                    <a:cubicBezTo>
                      <a:pt x="2" y="3"/>
                      <a:pt x="2" y="3"/>
                      <a:pt x="2" y="3"/>
                    </a:cubicBezTo>
                    <a:moveTo>
                      <a:pt x="0" y="0"/>
                    </a:moveTo>
                    <a:cubicBezTo>
                      <a:pt x="1" y="1"/>
                      <a:pt x="2" y="2"/>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315"/>
              <p:cNvSpPr/>
              <p:nvPr/>
            </p:nvSpPr>
            <p:spPr bwMode="auto">
              <a:xfrm>
                <a:off x="1190" y="1107"/>
                <a:ext cx="26" cy="18"/>
              </a:xfrm>
              <a:custGeom>
                <a:gdLst>
                  <a:gd name="T0" fmla="*/ 4 w 11"/>
                  <a:gd name="T1" fmla="*/ 0 h 8"/>
                  <a:gd name="T2" fmla="*/ 3 w 11"/>
                  <a:gd name="T3" fmla="*/ 0 h 8"/>
                  <a:gd name="T4" fmla="*/ 2 w 11"/>
                  <a:gd name="T5" fmla="*/ 0 h 8"/>
                  <a:gd name="T6" fmla="*/ 2 w 11"/>
                  <a:gd name="T7" fmla="*/ 0 h 8"/>
                  <a:gd name="T8" fmla="*/ 2 w 11"/>
                  <a:gd name="T9" fmla="*/ 0 h 8"/>
                  <a:gd name="T10" fmla="*/ 2 w 11"/>
                  <a:gd name="T11" fmla="*/ 0 h 8"/>
                  <a:gd name="T12" fmla="*/ 2 w 11"/>
                  <a:gd name="T13" fmla="*/ 1 h 8"/>
                  <a:gd name="T14" fmla="*/ 0 w 11"/>
                  <a:gd name="T15" fmla="*/ 8 h 8"/>
                  <a:gd name="T16" fmla="*/ 10 w 11"/>
                  <a:gd name="T17" fmla="*/ 5 h 8"/>
                  <a:gd name="T18" fmla="*/ 10 w 11"/>
                  <a:gd name="T19" fmla="*/ 4 h 8"/>
                  <a:gd name="T20" fmla="*/ 11 w 11"/>
                  <a:gd name="T21" fmla="*/ 3 h 8"/>
                  <a:gd name="T22" fmla="*/ 11 w 11"/>
                  <a:gd name="T23" fmla="*/ 3 h 8"/>
                  <a:gd name="T24" fmla="*/ 10 w 11"/>
                  <a:gd name="T25" fmla="*/ 2 h 8"/>
                  <a:gd name="T26" fmla="*/ 7 w 11"/>
                  <a:gd name="T27" fmla="*/ 1 h 8"/>
                  <a:gd name="T28" fmla="*/ 6 w 11"/>
                  <a:gd name="T29" fmla="*/ 0 h 8"/>
                  <a:gd name="T30" fmla="*/ 4 w 11"/>
                  <a:gd name="T3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8">
                    <a:moveTo>
                      <a:pt x="4" y="0"/>
                    </a:move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1"/>
                      <a:pt x="2" y="1"/>
                      <a:pt x="2" y="1"/>
                    </a:cubicBezTo>
                    <a:cubicBezTo>
                      <a:pt x="1" y="2"/>
                      <a:pt x="1" y="6"/>
                      <a:pt x="0" y="8"/>
                    </a:cubicBezTo>
                    <a:cubicBezTo>
                      <a:pt x="3" y="8"/>
                      <a:pt x="8" y="7"/>
                      <a:pt x="10" y="5"/>
                    </a:cubicBezTo>
                    <a:cubicBezTo>
                      <a:pt x="10" y="4"/>
                      <a:pt x="10" y="4"/>
                      <a:pt x="10" y="4"/>
                    </a:cubicBezTo>
                    <a:cubicBezTo>
                      <a:pt x="10" y="4"/>
                      <a:pt x="11" y="3"/>
                      <a:pt x="11" y="3"/>
                    </a:cubicBezTo>
                    <a:cubicBezTo>
                      <a:pt x="11" y="3"/>
                      <a:pt x="11" y="3"/>
                      <a:pt x="11" y="3"/>
                    </a:cubicBezTo>
                    <a:cubicBezTo>
                      <a:pt x="11" y="2"/>
                      <a:pt x="10" y="2"/>
                      <a:pt x="10" y="2"/>
                    </a:cubicBezTo>
                    <a:cubicBezTo>
                      <a:pt x="10" y="1"/>
                      <a:pt x="8" y="1"/>
                      <a:pt x="7" y="1"/>
                    </a:cubicBezTo>
                    <a:cubicBezTo>
                      <a:pt x="6" y="0"/>
                      <a:pt x="6" y="0"/>
                      <a:pt x="6"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316"/>
              <p:cNvSpPr/>
              <p:nvPr/>
            </p:nvSpPr>
            <p:spPr bwMode="auto">
              <a:xfrm>
                <a:off x="2402" y="1057"/>
                <a:ext cx="12" cy="19"/>
              </a:xfrm>
              <a:custGeom>
                <a:gdLst>
                  <a:gd name="T0" fmla="*/ 4 w 5"/>
                  <a:gd name="T1" fmla="*/ 0 h 8"/>
                  <a:gd name="T2" fmla="*/ 1 w 5"/>
                  <a:gd name="T3" fmla="*/ 5 h 8"/>
                  <a:gd name="T4" fmla="*/ 1 w 5"/>
                  <a:gd name="T5" fmla="*/ 5 h 8"/>
                  <a:gd name="T6" fmla="*/ 1 w 5"/>
                  <a:gd name="T7" fmla="*/ 6 h 8"/>
                  <a:gd name="T8" fmla="*/ 1 w 5"/>
                  <a:gd name="T9" fmla="*/ 7 h 8"/>
                  <a:gd name="T10" fmla="*/ 1 w 5"/>
                  <a:gd name="T11" fmla="*/ 7 h 8"/>
                  <a:gd name="T12" fmla="*/ 3 w 5"/>
                  <a:gd name="T13" fmla="*/ 8 h 8"/>
                  <a:gd name="T14" fmla="*/ 5 w 5"/>
                  <a:gd name="T15" fmla="*/ 0 h 8"/>
                  <a:gd name="T16" fmla="*/ 4 w 5"/>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4" y="0"/>
                    </a:moveTo>
                    <a:cubicBezTo>
                      <a:pt x="1" y="0"/>
                      <a:pt x="0" y="2"/>
                      <a:pt x="1" y="5"/>
                    </a:cubicBezTo>
                    <a:cubicBezTo>
                      <a:pt x="1" y="5"/>
                      <a:pt x="1" y="5"/>
                      <a:pt x="1" y="5"/>
                    </a:cubicBezTo>
                    <a:cubicBezTo>
                      <a:pt x="1" y="5"/>
                      <a:pt x="1" y="6"/>
                      <a:pt x="1" y="6"/>
                    </a:cubicBezTo>
                    <a:cubicBezTo>
                      <a:pt x="1" y="7"/>
                      <a:pt x="1" y="7"/>
                      <a:pt x="1" y="7"/>
                    </a:cubicBezTo>
                    <a:cubicBezTo>
                      <a:pt x="1" y="7"/>
                      <a:pt x="1" y="7"/>
                      <a:pt x="1" y="7"/>
                    </a:cubicBezTo>
                    <a:cubicBezTo>
                      <a:pt x="2" y="8"/>
                      <a:pt x="2" y="8"/>
                      <a:pt x="3" y="8"/>
                    </a:cubicBezTo>
                    <a:cubicBezTo>
                      <a:pt x="5" y="8"/>
                      <a:pt x="5" y="2"/>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1317"/>
              <p:cNvSpPr/>
              <p:nvPr/>
            </p:nvSpPr>
            <p:spPr bwMode="auto">
              <a:xfrm>
                <a:off x="689" y="1402"/>
                <a:ext cx="21" cy="14"/>
              </a:xfrm>
              <a:custGeom>
                <a:gdLst>
                  <a:gd name="T0" fmla="*/ 2 w 9"/>
                  <a:gd name="T1" fmla="*/ 0 h 6"/>
                  <a:gd name="T2" fmla="*/ 0 w 9"/>
                  <a:gd name="T3" fmla="*/ 1 h 6"/>
                  <a:gd name="T4" fmla="*/ 8 w 9"/>
                  <a:gd name="T5" fmla="*/ 6 h 6"/>
                  <a:gd name="T6" fmla="*/ 2 w 9"/>
                  <a:gd name="T7" fmla="*/ 0 h 6"/>
                </a:gdLst>
                <a:cxnLst>
                  <a:cxn ang="0">
                    <a:pos x="T0" y="T1"/>
                  </a:cxn>
                  <a:cxn ang="0">
                    <a:pos x="T2" y="T3"/>
                  </a:cxn>
                  <a:cxn ang="0">
                    <a:pos x="T4" y="T5"/>
                  </a:cxn>
                  <a:cxn ang="0">
                    <a:pos x="T6" y="T7"/>
                  </a:cxn>
                </a:cxnLst>
                <a:rect l="0" t="0" r="r" b="b"/>
                <a:pathLst>
                  <a:path w="9" h="6">
                    <a:moveTo>
                      <a:pt x="2" y="0"/>
                    </a:moveTo>
                    <a:cubicBezTo>
                      <a:pt x="2" y="0"/>
                      <a:pt x="1" y="1"/>
                      <a:pt x="0" y="1"/>
                    </a:cubicBezTo>
                    <a:cubicBezTo>
                      <a:pt x="3" y="3"/>
                      <a:pt x="5" y="5"/>
                      <a:pt x="8" y="6"/>
                    </a:cubicBezTo>
                    <a:cubicBezTo>
                      <a:pt x="9" y="3"/>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1318"/>
              <p:cNvSpPr/>
              <p:nvPr/>
            </p:nvSpPr>
            <p:spPr bwMode="auto">
              <a:xfrm>
                <a:off x="2955" y="1142"/>
                <a:ext cx="14" cy="2"/>
              </a:xfrm>
              <a:custGeom>
                <a:gdLst>
                  <a:gd name="T0" fmla="*/ 0 w 6"/>
                  <a:gd name="T1" fmla="*/ 0 h 1"/>
                  <a:gd name="T2" fmla="*/ 4 w 6"/>
                  <a:gd name="T3" fmla="*/ 1 h 1"/>
                  <a:gd name="T4" fmla="*/ 6 w 6"/>
                  <a:gd name="T5" fmla="*/ 0 h 1"/>
                  <a:gd name="T6" fmla="*/ 0 w 6"/>
                  <a:gd name="T7" fmla="*/ 0 h 1"/>
                </a:gdLst>
                <a:cxnLst>
                  <a:cxn ang="0">
                    <a:pos x="T0" y="T1"/>
                  </a:cxn>
                  <a:cxn ang="0">
                    <a:pos x="T2" y="T3"/>
                  </a:cxn>
                  <a:cxn ang="0">
                    <a:pos x="T4" y="T5"/>
                  </a:cxn>
                  <a:cxn ang="0">
                    <a:pos x="T6" y="T7"/>
                  </a:cxn>
                </a:cxnLst>
                <a:rect l="0" t="0" r="r" b="b"/>
                <a:pathLst>
                  <a:path w="6" h="1">
                    <a:moveTo>
                      <a:pt x="0" y="0"/>
                    </a:moveTo>
                    <a:cubicBezTo>
                      <a:pt x="1" y="0"/>
                      <a:pt x="2" y="1"/>
                      <a:pt x="4" y="1"/>
                    </a:cubicBezTo>
                    <a:cubicBezTo>
                      <a:pt x="4" y="1"/>
                      <a:pt x="5" y="1"/>
                      <a:pt x="6" y="0"/>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Freeform 1319"/>
              <p:cNvSpPr>
                <a:spLocks noEditPoints="1"/>
              </p:cNvSpPr>
              <p:nvPr/>
            </p:nvSpPr>
            <p:spPr bwMode="auto">
              <a:xfrm>
                <a:off x="2142" y="1738"/>
                <a:ext cx="10" cy="14"/>
              </a:xfrm>
              <a:custGeom>
                <a:gdLst>
                  <a:gd name="T0" fmla="*/ 4 w 4"/>
                  <a:gd name="T1" fmla="*/ 0 h 6"/>
                  <a:gd name="T2" fmla="*/ 1 w 4"/>
                  <a:gd name="T3" fmla="*/ 6 h 6"/>
                  <a:gd name="T4" fmla="*/ 4 w 4"/>
                  <a:gd name="T5" fmla="*/ 0 h 6"/>
                  <a:gd name="T6" fmla="*/ 4 w 4"/>
                  <a:gd name="T7" fmla="*/ 0 h 6"/>
                  <a:gd name="T8" fmla="*/ 4 w 4"/>
                  <a:gd name="T9" fmla="*/ 0 h 6"/>
                  <a:gd name="T10" fmla="*/ 4 w 4"/>
                  <a:gd name="T11" fmla="*/ 0 h 6"/>
                </a:gdLst>
                <a:cxnLst>
                  <a:cxn ang="0">
                    <a:pos x="T0" y="T1"/>
                  </a:cxn>
                  <a:cxn ang="0">
                    <a:pos x="T2" y="T3"/>
                  </a:cxn>
                  <a:cxn ang="0">
                    <a:pos x="T4" y="T5"/>
                  </a:cxn>
                  <a:cxn ang="0">
                    <a:pos x="T6" y="T7"/>
                  </a:cxn>
                  <a:cxn ang="0">
                    <a:pos x="T8" y="T9"/>
                  </a:cxn>
                  <a:cxn ang="0">
                    <a:pos x="T10" y="T11"/>
                  </a:cxn>
                </a:cxnLst>
                <a:rect l="0" t="0" r="r" b="b"/>
                <a:pathLst>
                  <a:path w="4" h="6">
                    <a:moveTo>
                      <a:pt x="4" y="0"/>
                    </a:moveTo>
                    <a:cubicBezTo>
                      <a:pt x="3" y="2"/>
                      <a:pt x="0" y="3"/>
                      <a:pt x="1" y="6"/>
                    </a:cubicBezTo>
                    <a:cubicBezTo>
                      <a:pt x="2" y="4"/>
                      <a:pt x="3" y="2"/>
                      <a:pt x="4" y="0"/>
                    </a:cubicBezTo>
                    <a:moveTo>
                      <a:pt x="4" y="0"/>
                    </a:move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9" name="Freeform 1320"/>
              <p:cNvSpPr/>
              <p:nvPr/>
            </p:nvSpPr>
            <p:spPr bwMode="auto">
              <a:xfrm>
                <a:off x="810" y="969"/>
                <a:ext cx="4" cy="8"/>
              </a:xfrm>
              <a:custGeom>
                <a:gdLst>
                  <a:gd name="T0" fmla="*/ 0 w 2"/>
                  <a:gd name="T1" fmla="*/ 0 h 3"/>
                  <a:gd name="T2" fmla="*/ 0 w 2"/>
                  <a:gd name="T3" fmla="*/ 0 h 3"/>
                  <a:gd name="T4" fmla="*/ 2 w 2"/>
                  <a:gd name="T5" fmla="*/ 3 h 3"/>
                  <a:gd name="T6" fmla="*/ 0 w 2"/>
                  <a:gd name="T7" fmla="*/ 0 h 3"/>
                </a:gdLst>
                <a:cxnLst>
                  <a:cxn ang="0">
                    <a:pos x="T0" y="T1"/>
                  </a:cxn>
                  <a:cxn ang="0">
                    <a:pos x="T2" y="T3"/>
                  </a:cxn>
                  <a:cxn ang="0">
                    <a:pos x="T4" y="T5"/>
                  </a:cxn>
                  <a:cxn ang="0">
                    <a:pos x="T6" y="T7"/>
                  </a:cxn>
                </a:cxnLst>
                <a:rect l="0" t="0" r="r" b="b"/>
                <a:pathLst>
                  <a:path w="2" h="3">
                    <a:moveTo>
                      <a:pt x="0" y="0"/>
                    </a:moveTo>
                    <a:cubicBezTo>
                      <a:pt x="0" y="0"/>
                      <a:pt x="0" y="0"/>
                      <a:pt x="0" y="0"/>
                    </a:cubicBezTo>
                    <a:cubicBezTo>
                      <a:pt x="0" y="1"/>
                      <a:pt x="1" y="2"/>
                      <a:pt x="2" y="3"/>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Freeform 1321"/>
              <p:cNvSpPr/>
              <p:nvPr/>
            </p:nvSpPr>
            <p:spPr bwMode="auto">
              <a:xfrm>
                <a:off x="2887" y="1159"/>
                <a:ext cx="7" cy="14"/>
              </a:xfrm>
              <a:custGeom>
                <a:gdLst>
                  <a:gd name="T0" fmla="*/ 3 w 3"/>
                  <a:gd name="T1" fmla="*/ 0 h 6"/>
                  <a:gd name="T2" fmla="*/ 1 w 3"/>
                  <a:gd name="T3" fmla="*/ 6 h 6"/>
                  <a:gd name="T4" fmla="*/ 3 w 3"/>
                  <a:gd name="T5" fmla="*/ 0 h 6"/>
                </a:gdLst>
                <a:cxnLst>
                  <a:cxn ang="0">
                    <a:pos x="T0" y="T1"/>
                  </a:cxn>
                  <a:cxn ang="0">
                    <a:pos x="T2" y="T3"/>
                  </a:cxn>
                  <a:cxn ang="0">
                    <a:pos x="T4" y="T5"/>
                  </a:cxn>
                </a:cxnLst>
                <a:rect l="0" t="0" r="r" b="b"/>
                <a:pathLst>
                  <a:path w="3" h="6">
                    <a:moveTo>
                      <a:pt x="3" y="0"/>
                    </a:moveTo>
                    <a:cubicBezTo>
                      <a:pt x="1" y="2"/>
                      <a:pt x="0" y="4"/>
                      <a:pt x="1" y="6"/>
                    </a:cubicBezTo>
                    <a:cubicBezTo>
                      <a:pt x="2"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1" name="Freeform 1322"/>
              <p:cNvSpPr/>
              <p:nvPr/>
            </p:nvSpPr>
            <p:spPr bwMode="auto">
              <a:xfrm>
                <a:off x="895" y="1489"/>
                <a:ext cx="11" cy="5"/>
              </a:xfrm>
              <a:custGeom>
                <a:gdLst>
                  <a:gd name="T0" fmla="*/ 5 w 5"/>
                  <a:gd name="T1" fmla="*/ 0 h 2"/>
                  <a:gd name="T2" fmla="*/ 0 w 5"/>
                  <a:gd name="T3" fmla="*/ 2 h 2"/>
                  <a:gd name="T4" fmla="*/ 5 w 5"/>
                  <a:gd name="T5" fmla="*/ 0 h 2"/>
                </a:gdLst>
                <a:cxnLst>
                  <a:cxn ang="0">
                    <a:pos x="T0" y="T1"/>
                  </a:cxn>
                  <a:cxn ang="0">
                    <a:pos x="T2" y="T3"/>
                  </a:cxn>
                  <a:cxn ang="0">
                    <a:pos x="T4" y="T5"/>
                  </a:cxn>
                </a:cxnLst>
                <a:rect l="0" t="0" r="r" b="b"/>
                <a:pathLst>
                  <a:path w="5" h="2">
                    <a:moveTo>
                      <a:pt x="5" y="0"/>
                    </a:moveTo>
                    <a:cubicBezTo>
                      <a:pt x="3" y="0"/>
                      <a:pt x="2" y="1"/>
                      <a:pt x="0" y="2"/>
                    </a:cubicBezTo>
                    <a:cubicBezTo>
                      <a:pt x="2" y="1"/>
                      <a:pt x="3"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Freeform 1323"/>
              <p:cNvSpPr/>
              <p:nvPr/>
            </p:nvSpPr>
            <p:spPr bwMode="auto">
              <a:xfrm>
                <a:off x="826" y="974"/>
                <a:ext cx="12" cy="12"/>
              </a:xfrm>
              <a:custGeom>
                <a:gdLst>
                  <a:gd name="T0" fmla="*/ 0 w 5"/>
                  <a:gd name="T1" fmla="*/ 0 h 5"/>
                  <a:gd name="T2" fmla="*/ 2 w 5"/>
                  <a:gd name="T3" fmla="*/ 5 h 5"/>
                  <a:gd name="T4" fmla="*/ 5 w 5"/>
                  <a:gd name="T5" fmla="*/ 3 h 5"/>
                  <a:gd name="T6" fmla="*/ 0 w 5"/>
                  <a:gd name="T7" fmla="*/ 0 h 5"/>
                </a:gdLst>
                <a:cxnLst>
                  <a:cxn ang="0">
                    <a:pos x="T0" y="T1"/>
                  </a:cxn>
                  <a:cxn ang="0">
                    <a:pos x="T2" y="T3"/>
                  </a:cxn>
                  <a:cxn ang="0">
                    <a:pos x="T4" y="T5"/>
                  </a:cxn>
                  <a:cxn ang="0">
                    <a:pos x="T6" y="T7"/>
                  </a:cxn>
                </a:cxnLst>
                <a:rect l="0" t="0" r="r" b="b"/>
                <a:pathLst>
                  <a:path w="5" h="5">
                    <a:moveTo>
                      <a:pt x="0" y="0"/>
                    </a:moveTo>
                    <a:cubicBezTo>
                      <a:pt x="1" y="2"/>
                      <a:pt x="1" y="3"/>
                      <a:pt x="2" y="5"/>
                    </a:cubicBezTo>
                    <a:cubicBezTo>
                      <a:pt x="3" y="4"/>
                      <a:pt x="4" y="4"/>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1324"/>
              <p:cNvSpPr/>
              <p:nvPr/>
            </p:nvSpPr>
            <p:spPr bwMode="auto">
              <a:xfrm>
                <a:off x="2572" y="1575"/>
                <a:ext cx="24" cy="18"/>
              </a:xfrm>
              <a:custGeom>
                <a:gdLst>
                  <a:gd name="T0" fmla="*/ 2 w 10"/>
                  <a:gd name="T1" fmla="*/ 0 h 8"/>
                  <a:gd name="T2" fmla="*/ 4 w 10"/>
                  <a:gd name="T3" fmla="*/ 7 h 8"/>
                  <a:gd name="T4" fmla="*/ 5 w 10"/>
                  <a:gd name="T5" fmla="*/ 8 h 8"/>
                  <a:gd name="T6" fmla="*/ 9 w 10"/>
                  <a:gd name="T7" fmla="*/ 5 h 8"/>
                  <a:gd name="T8" fmla="*/ 2 w 10"/>
                  <a:gd name="T9" fmla="*/ 0 h 8"/>
                </a:gdLst>
                <a:cxnLst>
                  <a:cxn ang="0">
                    <a:pos x="T0" y="T1"/>
                  </a:cxn>
                  <a:cxn ang="0">
                    <a:pos x="T2" y="T3"/>
                  </a:cxn>
                  <a:cxn ang="0">
                    <a:pos x="T4" y="T5"/>
                  </a:cxn>
                  <a:cxn ang="0">
                    <a:pos x="T6" y="T7"/>
                  </a:cxn>
                  <a:cxn ang="0">
                    <a:pos x="T8" y="T9"/>
                  </a:cxn>
                </a:cxnLst>
                <a:rect l="0" t="0" r="r" b="b"/>
                <a:pathLst>
                  <a:path w="10" h="8">
                    <a:moveTo>
                      <a:pt x="2" y="0"/>
                    </a:moveTo>
                    <a:cubicBezTo>
                      <a:pt x="0" y="2"/>
                      <a:pt x="1" y="6"/>
                      <a:pt x="4" y="7"/>
                    </a:cubicBezTo>
                    <a:cubicBezTo>
                      <a:pt x="4" y="8"/>
                      <a:pt x="5" y="8"/>
                      <a:pt x="5" y="8"/>
                    </a:cubicBezTo>
                    <a:cubicBezTo>
                      <a:pt x="7" y="8"/>
                      <a:pt x="8" y="7"/>
                      <a:pt x="9" y="5"/>
                    </a:cubicBezTo>
                    <a:cubicBezTo>
                      <a:pt x="10" y="1"/>
                      <a:pt x="6"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325"/>
              <p:cNvSpPr/>
              <p:nvPr/>
            </p:nvSpPr>
            <p:spPr bwMode="auto">
              <a:xfrm>
                <a:off x="2506" y="1279"/>
                <a:ext cx="10" cy="10"/>
              </a:xfrm>
              <a:custGeom>
                <a:gdLst>
                  <a:gd name="T0" fmla="*/ 0 w 4"/>
                  <a:gd name="T1" fmla="*/ 0 h 4"/>
                  <a:gd name="T2" fmla="*/ 2 w 4"/>
                  <a:gd name="T3" fmla="*/ 4 h 4"/>
                  <a:gd name="T4" fmla="*/ 4 w 4"/>
                  <a:gd name="T5" fmla="*/ 4 h 4"/>
                  <a:gd name="T6" fmla="*/ 0 w 4"/>
                  <a:gd name="T7" fmla="*/ 0 h 4"/>
                </a:gdLst>
                <a:cxnLst>
                  <a:cxn ang="0">
                    <a:pos x="T0" y="T1"/>
                  </a:cxn>
                  <a:cxn ang="0">
                    <a:pos x="T2" y="T3"/>
                  </a:cxn>
                  <a:cxn ang="0">
                    <a:pos x="T4" y="T5"/>
                  </a:cxn>
                  <a:cxn ang="0">
                    <a:pos x="T6" y="T7"/>
                  </a:cxn>
                </a:cxnLst>
                <a:rect l="0" t="0" r="r" b="b"/>
                <a:pathLst>
                  <a:path w="4" h="4">
                    <a:moveTo>
                      <a:pt x="0" y="0"/>
                    </a:moveTo>
                    <a:cubicBezTo>
                      <a:pt x="0" y="2"/>
                      <a:pt x="1" y="4"/>
                      <a:pt x="2" y="4"/>
                    </a:cubicBezTo>
                    <a:cubicBezTo>
                      <a:pt x="3" y="4"/>
                      <a:pt x="3" y="4"/>
                      <a:pt x="4"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326"/>
              <p:cNvSpPr/>
              <p:nvPr/>
            </p:nvSpPr>
            <p:spPr bwMode="auto">
              <a:xfrm>
                <a:off x="935" y="830"/>
                <a:ext cx="12" cy="14"/>
              </a:xfrm>
              <a:custGeom>
                <a:gdLst>
                  <a:gd name="T0" fmla="*/ 1 w 5"/>
                  <a:gd name="T1" fmla="*/ 0 h 6"/>
                  <a:gd name="T2" fmla="*/ 1 w 5"/>
                  <a:gd name="T3" fmla="*/ 6 h 6"/>
                  <a:gd name="T4" fmla="*/ 5 w 5"/>
                  <a:gd name="T5" fmla="*/ 2 h 6"/>
                  <a:gd name="T6" fmla="*/ 1 w 5"/>
                  <a:gd name="T7" fmla="*/ 0 h 6"/>
                </a:gdLst>
                <a:cxnLst>
                  <a:cxn ang="0">
                    <a:pos x="T0" y="T1"/>
                  </a:cxn>
                  <a:cxn ang="0">
                    <a:pos x="T2" y="T3"/>
                  </a:cxn>
                  <a:cxn ang="0">
                    <a:pos x="T4" y="T5"/>
                  </a:cxn>
                  <a:cxn ang="0">
                    <a:pos x="T6" y="T7"/>
                  </a:cxn>
                </a:cxnLst>
                <a:rect l="0" t="0" r="r" b="b"/>
                <a:pathLst>
                  <a:path w="5" h="6">
                    <a:moveTo>
                      <a:pt x="1" y="0"/>
                    </a:moveTo>
                    <a:cubicBezTo>
                      <a:pt x="0" y="2"/>
                      <a:pt x="1" y="4"/>
                      <a:pt x="1" y="6"/>
                    </a:cubicBezTo>
                    <a:cubicBezTo>
                      <a:pt x="3" y="4"/>
                      <a:pt x="4" y="4"/>
                      <a:pt x="5" y="2"/>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327"/>
              <p:cNvSpPr/>
              <p:nvPr/>
            </p:nvSpPr>
            <p:spPr bwMode="auto">
              <a:xfrm>
                <a:off x="2428" y="1121"/>
                <a:ext cx="17" cy="4"/>
              </a:xfrm>
              <a:custGeom>
                <a:gdLst>
                  <a:gd name="T0" fmla="*/ 3 w 7"/>
                  <a:gd name="T1" fmla="*/ 0 h 2"/>
                  <a:gd name="T2" fmla="*/ 0 w 7"/>
                  <a:gd name="T3" fmla="*/ 1 h 2"/>
                  <a:gd name="T4" fmla="*/ 6 w 7"/>
                  <a:gd name="T5" fmla="*/ 2 h 2"/>
                  <a:gd name="T6" fmla="*/ 7 w 7"/>
                  <a:gd name="T7" fmla="*/ 2 h 2"/>
                  <a:gd name="T8" fmla="*/ 3 w 7"/>
                  <a:gd name="T9" fmla="*/ 0 h 2"/>
                </a:gdLst>
                <a:cxnLst>
                  <a:cxn ang="0">
                    <a:pos x="T0" y="T1"/>
                  </a:cxn>
                  <a:cxn ang="0">
                    <a:pos x="T2" y="T3"/>
                  </a:cxn>
                  <a:cxn ang="0">
                    <a:pos x="T4" y="T5"/>
                  </a:cxn>
                  <a:cxn ang="0">
                    <a:pos x="T6" y="T7"/>
                  </a:cxn>
                  <a:cxn ang="0">
                    <a:pos x="T8" y="T9"/>
                  </a:cxn>
                </a:cxnLst>
                <a:rect l="0" t="0" r="r" b="b"/>
                <a:pathLst>
                  <a:path w="7" h="2">
                    <a:moveTo>
                      <a:pt x="3" y="0"/>
                    </a:moveTo>
                    <a:cubicBezTo>
                      <a:pt x="2" y="0"/>
                      <a:pt x="1" y="1"/>
                      <a:pt x="0" y="1"/>
                    </a:cubicBezTo>
                    <a:cubicBezTo>
                      <a:pt x="2" y="2"/>
                      <a:pt x="4" y="2"/>
                      <a:pt x="6" y="2"/>
                    </a:cubicBezTo>
                    <a:cubicBezTo>
                      <a:pt x="6" y="2"/>
                      <a:pt x="6" y="2"/>
                      <a:pt x="7" y="2"/>
                    </a:cubicBezTo>
                    <a:cubicBezTo>
                      <a:pt x="6" y="1"/>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328"/>
              <p:cNvSpPr/>
              <p:nvPr/>
            </p:nvSpPr>
            <p:spPr bwMode="auto">
              <a:xfrm>
                <a:off x="545" y="1211"/>
                <a:ext cx="16" cy="23"/>
              </a:xfrm>
              <a:custGeom>
                <a:gdLst>
                  <a:gd name="T0" fmla="*/ 0 w 7"/>
                  <a:gd name="T1" fmla="*/ 0 h 10"/>
                  <a:gd name="T2" fmla="*/ 1 w 7"/>
                  <a:gd name="T3" fmla="*/ 10 h 10"/>
                  <a:gd name="T4" fmla="*/ 1 w 7"/>
                  <a:gd name="T5" fmla="*/ 10 h 10"/>
                  <a:gd name="T6" fmla="*/ 5 w 7"/>
                  <a:gd name="T7" fmla="*/ 5 h 10"/>
                  <a:gd name="T8" fmla="*/ 0 w 7"/>
                  <a:gd name="T9" fmla="*/ 0 h 10"/>
                </a:gdLst>
                <a:cxnLst>
                  <a:cxn ang="0">
                    <a:pos x="T0" y="T1"/>
                  </a:cxn>
                  <a:cxn ang="0">
                    <a:pos x="T2" y="T3"/>
                  </a:cxn>
                  <a:cxn ang="0">
                    <a:pos x="T4" y="T5"/>
                  </a:cxn>
                  <a:cxn ang="0">
                    <a:pos x="T6" y="T7"/>
                  </a:cxn>
                  <a:cxn ang="0">
                    <a:pos x="T8" y="T9"/>
                  </a:cxn>
                </a:cxnLst>
                <a:rect l="0" t="0" r="r" b="b"/>
                <a:pathLst>
                  <a:path w="7" h="10">
                    <a:moveTo>
                      <a:pt x="0" y="0"/>
                    </a:moveTo>
                    <a:cubicBezTo>
                      <a:pt x="0" y="3"/>
                      <a:pt x="0" y="7"/>
                      <a:pt x="1" y="10"/>
                    </a:cubicBezTo>
                    <a:cubicBezTo>
                      <a:pt x="1" y="10"/>
                      <a:pt x="1" y="10"/>
                      <a:pt x="1" y="10"/>
                    </a:cubicBezTo>
                    <a:cubicBezTo>
                      <a:pt x="4" y="10"/>
                      <a:pt x="7" y="8"/>
                      <a:pt x="5" y="5"/>
                    </a:cubicBezTo>
                    <a:cubicBezTo>
                      <a:pt x="4"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329"/>
              <p:cNvSpPr/>
              <p:nvPr/>
            </p:nvSpPr>
            <p:spPr bwMode="auto">
              <a:xfrm>
                <a:off x="427" y="1057"/>
                <a:ext cx="16" cy="19"/>
              </a:xfrm>
              <a:custGeom>
                <a:gdLst>
                  <a:gd name="T0" fmla="*/ 5 w 7"/>
                  <a:gd name="T1" fmla="*/ 0 h 8"/>
                  <a:gd name="T2" fmla="*/ 3 w 7"/>
                  <a:gd name="T3" fmla="*/ 4 h 8"/>
                  <a:gd name="T4" fmla="*/ 0 w 7"/>
                  <a:gd name="T5" fmla="*/ 8 h 8"/>
                  <a:gd name="T6" fmla="*/ 2 w 7"/>
                  <a:gd name="T7" fmla="*/ 8 h 8"/>
                  <a:gd name="T8" fmla="*/ 7 w 7"/>
                  <a:gd name="T9" fmla="*/ 6 h 8"/>
                  <a:gd name="T10" fmla="*/ 5 w 7"/>
                  <a:gd name="T11" fmla="*/ 0 h 8"/>
                </a:gdLst>
                <a:cxnLst>
                  <a:cxn ang="0">
                    <a:pos x="T0" y="T1"/>
                  </a:cxn>
                  <a:cxn ang="0">
                    <a:pos x="T2" y="T3"/>
                  </a:cxn>
                  <a:cxn ang="0">
                    <a:pos x="T4" y="T5"/>
                  </a:cxn>
                  <a:cxn ang="0">
                    <a:pos x="T6" y="T7"/>
                  </a:cxn>
                  <a:cxn ang="0">
                    <a:pos x="T8" y="T9"/>
                  </a:cxn>
                  <a:cxn ang="0">
                    <a:pos x="T10" y="T11"/>
                  </a:cxn>
                </a:cxnLst>
                <a:rect l="0" t="0" r="r" b="b"/>
                <a:pathLst>
                  <a:path w="7" h="8">
                    <a:moveTo>
                      <a:pt x="5" y="0"/>
                    </a:moveTo>
                    <a:cubicBezTo>
                      <a:pt x="4" y="0"/>
                      <a:pt x="3" y="1"/>
                      <a:pt x="3" y="4"/>
                    </a:cubicBezTo>
                    <a:cubicBezTo>
                      <a:pt x="2" y="6"/>
                      <a:pt x="3" y="8"/>
                      <a:pt x="0" y="8"/>
                    </a:cubicBezTo>
                    <a:cubicBezTo>
                      <a:pt x="1" y="8"/>
                      <a:pt x="2" y="8"/>
                      <a:pt x="2" y="8"/>
                    </a:cubicBezTo>
                    <a:cubicBezTo>
                      <a:pt x="4" y="8"/>
                      <a:pt x="5" y="8"/>
                      <a:pt x="7" y="6"/>
                    </a:cubicBezTo>
                    <a:cubicBezTo>
                      <a:pt x="7" y="4"/>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330"/>
              <p:cNvSpPr/>
              <p:nvPr/>
            </p:nvSpPr>
            <p:spPr bwMode="auto">
              <a:xfrm>
                <a:off x="2315" y="1175"/>
                <a:ext cx="16" cy="36"/>
              </a:xfrm>
              <a:custGeom>
                <a:gdLst>
                  <a:gd name="T0" fmla="*/ 5 w 7"/>
                  <a:gd name="T1" fmla="*/ 0 h 15"/>
                  <a:gd name="T2" fmla="*/ 4 w 7"/>
                  <a:gd name="T3" fmla="*/ 8 h 15"/>
                  <a:gd name="T4" fmla="*/ 7 w 7"/>
                  <a:gd name="T5" fmla="*/ 15 h 15"/>
                  <a:gd name="T6" fmla="*/ 5 w 7"/>
                  <a:gd name="T7" fmla="*/ 0 h 15"/>
                </a:gdLst>
                <a:cxnLst>
                  <a:cxn ang="0">
                    <a:pos x="T0" y="T1"/>
                  </a:cxn>
                  <a:cxn ang="0">
                    <a:pos x="T2" y="T3"/>
                  </a:cxn>
                  <a:cxn ang="0">
                    <a:pos x="T4" y="T5"/>
                  </a:cxn>
                  <a:cxn ang="0">
                    <a:pos x="T6" y="T7"/>
                  </a:cxn>
                </a:cxnLst>
                <a:rect l="0" t="0" r="r" b="b"/>
                <a:pathLst>
                  <a:path w="7" h="15">
                    <a:moveTo>
                      <a:pt x="5" y="0"/>
                    </a:moveTo>
                    <a:cubicBezTo>
                      <a:pt x="0" y="2"/>
                      <a:pt x="3" y="5"/>
                      <a:pt x="4" y="8"/>
                    </a:cubicBezTo>
                    <a:cubicBezTo>
                      <a:pt x="5" y="11"/>
                      <a:pt x="5" y="14"/>
                      <a:pt x="7" y="15"/>
                    </a:cubicBezTo>
                    <a:cubicBezTo>
                      <a:pt x="7" y="10"/>
                      <a:pt x="6" y="5"/>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331"/>
              <p:cNvSpPr/>
              <p:nvPr/>
            </p:nvSpPr>
            <p:spPr bwMode="auto">
              <a:xfrm>
                <a:off x="346" y="887"/>
                <a:ext cx="17" cy="12"/>
              </a:xfrm>
              <a:custGeom>
                <a:gdLst>
                  <a:gd name="T0" fmla="*/ 2 w 7"/>
                  <a:gd name="T1" fmla="*/ 0 h 5"/>
                  <a:gd name="T2" fmla="*/ 0 w 7"/>
                  <a:gd name="T3" fmla="*/ 0 h 5"/>
                  <a:gd name="T4" fmla="*/ 7 w 7"/>
                  <a:gd name="T5" fmla="*/ 5 h 5"/>
                  <a:gd name="T6" fmla="*/ 2 w 7"/>
                  <a:gd name="T7" fmla="*/ 0 h 5"/>
                </a:gdLst>
                <a:cxnLst>
                  <a:cxn ang="0">
                    <a:pos x="T0" y="T1"/>
                  </a:cxn>
                  <a:cxn ang="0">
                    <a:pos x="T2" y="T3"/>
                  </a:cxn>
                  <a:cxn ang="0">
                    <a:pos x="T4" y="T5"/>
                  </a:cxn>
                  <a:cxn ang="0">
                    <a:pos x="T6" y="T7"/>
                  </a:cxn>
                </a:cxnLst>
                <a:rect l="0" t="0" r="r" b="b"/>
                <a:pathLst>
                  <a:path w="7" h="5">
                    <a:moveTo>
                      <a:pt x="2" y="0"/>
                    </a:moveTo>
                    <a:cubicBezTo>
                      <a:pt x="2" y="0"/>
                      <a:pt x="1" y="0"/>
                      <a:pt x="0" y="0"/>
                    </a:cubicBezTo>
                    <a:cubicBezTo>
                      <a:pt x="2" y="2"/>
                      <a:pt x="5" y="3"/>
                      <a:pt x="7" y="5"/>
                    </a:cubicBezTo>
                    <a:cubicBezTo>
                      <a:pt x="7" y="1"/>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Freeform 1332"/>
              <p:cNvSpPr/>
              <p:nvPr/>
            </p:nvSpPr>
            <p:spPr bwMode="auto">
              <a:xfrm>
                <a:off x="2154" y="1142"/>
                <a:ext cx="7" cy="17"/>
              </a:xfrm>
              <a:custGeom>
                <a:gdLst>
                  <a:gd name="T0" fmla="*/ 2 w 3"/>
                  <a:gd name="T1" fmla="*/ 0 h 7"/>
                  <a:gd name="T2" fmla="*/ 1 w 3"/>
                  <a:gd name="T3" fmla="*/ 6 h 7"/>
                  <a:gd name="T4" fmla="*/ 2 w 3"/>
                  <a:gd name="T5" fmla="*/ 7 h 7"/>
                  <a:gd name="T6" fmla="*/ 2 w 3"/>
                  <a:gd name="T7" fmla="*/ 0 h 7"/>
                </a:gdLst>
                <a:cxnLst>
                  <a:cxn ang="0">
                    <a:pos x="T0" y="T1"/>
                  </a:cxn>
                  <a:cxn ang="0">
                    <a:pos x="T2" y="T3"/>
                  </a:cxn>
                  <a:cxn ang="0">
                    <a:pos x="T4" y="T5"/>
                  </a:cxn>
                  <a:cxn ang="0">
                    <a:pos x="T6" y="T7"/>
                  </a:cxn>
                </a:cxnLst>
                <a:rect l="0" t="0" r="r" b="b"/>
                <a:pathLst>
                  <a:path w="3" h="7">
                    <a:moveTo>
                      <a:pt x="2" y="0"/>
                    </a:moveTo>
                    <a:cubicBezTo>
                      <a:pt x="1" y="1"/>
                      <a:pt x="0" y="4"/>
                      <a:pt x="1" y="6"/>
                    </a:cubicBezTo>
                    <a:cubicBezTo>
                      <a:pt x="1" y="7"/>
                      <a:pt x="2" y="7"/>
                      <a:pt x="2" y="7"/>
                    </a:cubicBezTo>
                    <a:cubicBezTo>
                      <a:pt x="3" y="7"/>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Freeform 1333"/>
              <p:cNvSpPr/>
              <p:nvPr/>
            </p:nvSpPr>
            <p:spPr bwMode="auto">
              <a:xfrm>
                <a:off x="2119" y="1312"/>
                <a:ext cx="21" cy="19"/>
              </a:xfrm>
              <a:custGeom>
                <a:gdLst>
                  <a:gd name="T0" fmla="*/ 3 w 9"/>
                  <a:gd name="T1" fmla="*/ 0 h 8"/>
                  <a:gd name="T2" fmla="*/ 3 w 9"/>
                  <a:gd name="T3" fmla="*/ 7 h 8"/>
                  <a:gd name="T4" fmla="*/ 5 w 9"/>
                  <a:gd name="T5" fmla="*/ 8 h 8"/>
                  <a:gd name="T6" fmla="*/ 8 w 9"/>
                  <a:gd name="T7" fmla="*/ 5 h 8"/>
                  <a:gd name="T8" fmla="*/ 3 w 9"/>
                  <a:gd name="T9" fmla="*/ 0 h 8"/>
                </a:gdLst>
                <a:cxnLst>
                  <a:cxn ang="0">
                    <a:pos x="T0" y="T1"/>
                  </a:cxn>
                  <a:cxn ang="0">
                    <a:pos x="T2" y="T3"/>
                  </a:cxn>
                  <a:cxn ang="0">
                    <a:pos x="T4" y="T5"/>
                  </a:cxn>
                  <a:cxn ang="0">
                    <a:pos x="T6" y="T7"/>
                  </a:cxn>
                  <a:cxn ang="0">
                    <a:pos x="T8" y="T9"/>
                  </a:cxn>
                </a:cxnLst>
                <a:rect l="0" t="0" r="r" b="b"/>
                <a:pathLst>
                  <a:path w="9" h="8">
                    <a:moveTo>
                      <a:pt x="3" y="0"/>
                    </a:moveTo>
                    <a:cubicBezTo>
                      <a:pt x="0" y="2"/>
                      <a:pt x="0" y="6"/>
                      <a:pt x="3" y="7"/>
                    </a:cubicBezTo>
                    <a:cubicBezTo>
                      <a:pt x="4" y="8"/>
                      <a:pt x="4" y="8"/>
                      <a:pt x="5" y="8"/>
                    </a:cubicBezTo>
                    <a:cubicBezTo>
                      <a:pt x="7" y="8"/>
                      <a:pt x="8" y="7"/>
                      <a:pt x="8" y="5"/>
                    </a:cubicBezTo>
                    <a:cubicBezTo>
                      <a:pt x="9" y="2"/>
                      <a:pt x="7"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1334"/>
              <p:cNvSpPr/>
              <p:nvPr/>
            </p:nvSpPr>
            <p:spPr bwMode="auto">
              <a:xfrm>
                <a:off x="1873" y="1619"/>
                <a:ext cx="16" cy="22"/>
              </a:xfrm>
              <a:custGeom>
                <a:gdLst>
                  <a:gd name="T0" fmla="*/ 3 w 7"/>
                  <a:gd name="T1" fmla="*/ 0 h 9"/>
                  <a:gd name="T2" fmla="*/ 1 w 7"/>
                  <a:gd name="T3" fmla="*/ 7 h 9"/>
                  <a:gd name="T4" fmla="*/ 2 w 7"/>
                  <a:gd name="T5" fmla="*/ 9 h 9"/>
                  <a:gd name="T6" fmla="*/ 4 w 7"/>
                  <a:gd name="T7" fmla="*/ 8 h 9"/>
                  <a:gd name="T8" fmla="*/ 3 w 7"/>
                  <a:gd name="T9" fmla="*/ 0 h 9"/>
                </a:gdLst>
                <a:cxnLst>
                  <a:cxn ang="0">
                    <a:pos x="T0" y="T1"/>
                  </a:cxn>
                  <a:cxn ang="0">
                    <a:pos x="T2" y="T3"/>
                  </a:cxn>
                  <a:cxn ang="0">
                    <a:pos x="T4" y="T5"/>
                  </a:cxn>
                  <a:cxn ang="0">
                    <a:pos x="T6" y="T7"/>
                  </a:cxn>
                  <a:cxn ang="0">
                    <a:pos x="T8" y="T9"/>
                  </a:cxn>
                </a:cxnLst>
                <a:rect l="0" t="0" r="r" b="b"/>
                <a:pathLst>
                  <a:path w="7" h="9">
                    <a:moveTo>
                      <a:pt x="3" y="0"/>
                    </a:moveTo>
                    <a:cubicBezTo>
                      <a:pt x="2" y="4"/>
                      <a:pt x="0" y="4"/>
                      <a:pt x="1" y="7"/>
                    </a:cubicBezTo>
                    <a:cubicBezTo>
                      <a:pt x="1" y="8"/>
                      <a:pt x="1" y="9"/>
                      <a:pt x="2" y="9"/>
                    </a:cubicBezTo>
                    <a:cubicBezTo>
                      <a:pt x="2" y="9"/>
                      <a:pt x="3" y="9"/>
                      <a:pt x="4" y="8"/>
                    </a:cubicBezTo>
                    <a:cubicBezTo>
                      <a:pt x="7" y="4"/>
                      <a:pt x="7" y="4"/>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9" name="Freeform 1336"/>
            <p:cNvSpPr/>
            <p:nvPr/>
          </p:nvSpPr>
          <p:spPr bwMode="auto">
            <a:xfrm>
              <a:off x="3187" y="1601"/>
              <a:ext cx="31" cy="16"/>
            </a:xfrm>
            <a:custGeom>
              <a:gdLst>
                <a:gd name="T0" fmla="*/ 9 w 13"/>
                <a:gd name="T1" fmla="*/ 0 h 7"/>
                <a:gd name="T2" fmla="*/ 1 w 13"/>
                <a:gd name="T3" fmla="*/ 5 h 7"/>
                <a:gd name="T4" fmla="*/ 8 w 13"/>
                <a:gd name="T5" fmla="*/ 7 h 7"/>
                <a:gd name="T6" fmla="*/ 8 w 13"/>
                <a:gd name="T7" fmla="*/ 7 h 7"/>
                <a:gd name="T8" fmla="*/ 9 w 13"/>
                <a:gd name="T9" fmla="*/ 0 h 7"/>
              </a:gdLst>
              <a:cxnLst>
                <a:cxn ang="0">
                  <a:pos x="T0" y="T1"/>
                </a:cxn>
                <a:cxn ang="0">
                  <a:pos x="T2" y="T3"/>
                </a:cxn>
                <a:cxn ang="0">
                  <a:pos x="T4" y="T5"/>
                </a:cxn>
                <a:cxn ang="0">
                  <a:pos x="T6" y="T7"/>
                </a:cxn>
                <a:cxn ang="0">
                  <a:pos x="T8" y="T9"/>
                </a:cxn>
              </a:cxnLst>
              <a:rect l="0" t="0" r="r" b="b"/>
              <a:pathLst>
                <a:path w="13" h="7">
                  <a:moveTo>
                    <a:pt x="9" y="0"/>
                  </a:moveTo>
                  <a:cubicBezTo>
                    <a:pt x="8" y="0"/>
                    <a:pt x="0" y="3"/>
                    <a:pt x="1" y="5"/>
                  </a:cubicBezTo>
                  <a:cubicBezTo>
                    <a:pt x="1" y="6"/>
                    <a:pt x="6" y="7"/>
                    <a:pt x="8" y="7"/>
                  </a:cubicBezTo>
                  <a:cubicBezTo>
                    <a:pt x="8" y="7"/>
                    <a:pt x="8" y="7"/>
                    <a:pt x="8" y="7"/>
                  </a:cubicBezTo>
                  <a:cubicBezTo>
                    <a:pt x="13" y="7"/>
                    <a:pt x="11" y="5"/>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337"/>
            <p:cNvSpPr/>
            <p:nvPr/>
          </p:nvSpPr>
          <p:spPr bwMode="auto">
            <a:xfrm>
              <a:off x="3000" y="1090"/>
              <a:ext cx="40" cy="33"/>
            </a:xfrm>
            <a:custGeom>
              <a:gdLst>
                <a:gd name="T0" fmla="*/ 1 w 17"/>
                <a:gd name="T1" fmla="*/ 0 h 14"/>
                <a:gd name="T2" fmla="*/ 0 w 17"/>
                <a:gd name="T3" fmla="*/ 0 h 14"/>
                <a:gd name="T4" fmla="*/ 3 w 17"/>
                <a:gd name="T5" fmla="*/ 14 h 14"/>
                <a:gd name="T6" fmla="*/ 5 w 17"/>
                <a:gd name="T7" fmla="*/ 13 h 14"/>
                <a:gd name="T8" fmla="*/ 7 w 17"/>
                <a:gd name="T9" fmla="*/ 14 h 14"/>
                <a:gd name="T10" fmla="*/ 8 w 17"/>
                <a:gd name="T11" fmla="*/ 14 h 14"/>
                <a:gd name="T12" fmla="*/ 8 w 17"/>
                <a:gd name="T13" fmla="*/ 14 h 14"/>
                <a:gd name="T14" fmla="*/ 10 w 17"/>
                <a:gd name="T15" fmla="*/ 14 h 14"/>
                <a:gd name="T16" fmla="*/ 17 w 17"/>
                <a:gd name="T17" fmla="*/ 11 h 14"/>
                <a:gd name="T18" fmla="*/ 17 w 17"/>
                <a:gd name="T19" fmla="*/ 11 h 14"/>
                <a:gd name="T20" fmla="*/ 15 w 17"/>
                <a:gd name="T21" fmla="*/ 10 h 14"/>
                <a:gd name="T22" fmla="*/ 12 w 17"/>
                <a:gd name="T23" fmla="*/ 10 h 14"/>
                <a:gd name="T24" fmla="*/ 8 w 17"/>
                <a:gd name="T25" fmla="*/ 5 h 14"/>
                <a:gd name="T26" fmla="*/ 1 w 17"/>
                <a:gd name="T2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4">
                  <a:moveTo>
                    <a:pt x="1" y="0"/>
                  </a:moveTo>
                  <a:cubicBezTo>
                    <a:pt x="0" y="0"/>
                    <a:pt x="0" y="0"/>
                    <a:pt x="0" y="0"/>
                  </a:cubicBezTo>
                  <a:cubicBezTo>
                    <a:pt x="0" y="3"/>
                    <a:pt x="1" y="12"/>
                    <a:pt x="3" y="14"/>
                  </a:cubicBezTo>
                  <a:cubicBezTo>
                    <a:pt x="3" y="14"/>
                    <a:pt x="4" y="13"/>
                    <a:pt x="5" y="13"/>
                  </a:cubicBezTo>
                  <a:cubicBezTo>
                    <a:pt x="5" y="13"/>
                    <a:pt x="6" y="14"/>
                    <a:pt x="7" y="14"/>
                  </a:cubicBezTo>
                  <a:cubicBezTo>
                    <a:pt x="7" y="14"/>
                    <a:pt x="8" y="14"/>
                    <a:pt x="8" y="14"/>
                  </a:cubicBezTo>
                  <a:cubicBezTo>
                    <a:pt x="8" y="14"/>
                    <a:pt x="8" y="14"/>
                    <a:pt x="8" y="14"/>
                  </a:cubicBezTo>
                  <a:cubicBezTo>
                    <a:pt x="9" y="14"/>
                    <a:pt x="9" y="14"/>
                    <a:pt x="10" y="14"/>
                  </a:cubicBezTo>
                  <a:cubicBezTo>
                    <a:pt x="13" y="14"/>
                    <a:pt x="15" y="13"/>
                    <a:pt x="17" y="11"/>
                  </a:cubicBezTo>
                  <a:cubicBezTo>
                    <a:pt x="17" y="11"/>
                    <a:pt x="17" y="11"/>
                    <a:pt x="17" y="11"/>
                  </a:cubicBezTo>
                  <a:cubicBezTo>
                    <a:pt x="16" y="11"/>
                    <a:pt x="15" y="10"/>
                    <a:pt x="15" y="10"/>
                  </a:cubicBezTo>
                  <a:cubicBezTo>
                    <a:pt x="12" y="10"/>
                    <a:pt x="12" y="10"/>
                    <a:pt x="12" y="10"/>
                  </a:cubicBezTo>
                  <a:cubicBezTo>
                    <a:pt x="10" y="9"/>
                    <a:pt x="10" y="6"/>
                    <a:pt x="8" y="5"/>
                  </a:cubicBezTo>
                  <a:cubicBezTo>
                    <a:pt x="8"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338"/>
            <p:cNvSpPr/>
            <p:nvPr/>
          </p:nvSpPr>
          <p:spPr bwMode="auto">
            <a:xfrm>
              <a:off x="2213" y="1598"/>
              <a:ext cx="59" cy="24"/>
            </a:xfrm>
            <a:custGeom>
              <a:gdLst>
                <a:gd name="T0" fmla="*/ 14 w 25"/>
                <a:gd name="T1" fmla="*/ 0 h 10"/>
                <a:gd name="T2" fmla="*/ 9 w 25"/>
                <a:gd name="T3" fmla="*/ 0 h 10"/>
                <a:gd name="T4" fmla="*/ 5 w 25"/>
                <a:gd name="T5" fmla="*/ 0 h 10"/>
                <a:gd name="T6" fmla="*/ 5 w 25"/>
                <a:gd name="T7" fmla="*/ 0 h 10"/>
                <a:gd name="T8" fmla="*/ 3 w 25"/>
                <a:gd name="T9" fmla="*/ 4 h 10"/>
                <a:gd name="T10" fmla="*/ 6 w 25"/>
                <a:gd name="T11" fmla="*/ 3 h 10"/>
                <a:gd name="T12" fmla="*/ 2 w 25"/>
                <a:gd name="T13" fmla="*/ 6 h 10"/>
                <a:gd name="T14" fmla="*/ 4 w 25"/>
                <a:gd name="T15" fmla="*/ 10 h 10"/>
                <a:gd name="T16" fmla="*/ 6 w 25"/>
                <a:gd name="T17" fmla="*/ 9 h 10"/>
                <a:gd name="T18" fmla="*/ 14 w 25"/>
                <a:gd name="T19" fmla="*/ 8 h 10"/>
                <a:gd name="T20" fmla="*/ 22 w 25"/>
                <a:gd name="T21" fmla="*/ 7 h 10"/>
                <a:gd name="T22" fmla="*/ 23 w 25"/>
                <a:gd name="T23" fmla="*/ 2 h 10"/>
                <a:gd name="T24" fmla="*/ 14 w 25"/>
                <a:gd name="T25"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0">
                  <a:moveTo>
                    <a:pt x="14" y="0"/>
                  </a:moveTo>
                  <a:cubicBezTo>
                    <a:pt x="13" y="0"/>
                    <a:pt x="11" y="0"/>
                    <a:pt x="9" y="0"/>
                  </a:cubicBezTo>
                  <a:cubicBezTo>
                    <a:pt x="8" y="0"/>
                    <a:pt x="6" y="0"/>
                    <a:pt x="5" y="0"/>
                  </a:cubicBezTo>
                  <a:cubicBezTo>
                    <a:pt x="5" y="0"/>
                    <a:pt x="5" y="0"/>
                    <a:pt x="5" y="0"/>
                  </a:cubicBezTo>
                  <a:cubicBezTo>
                    <a:pt x="2" y="2"/>
                    <a:pt x="2" y="4"/>
                    <a:pt x="3" y="4"/>
                  </a:cubicBezTo>
                  <a:cubicBezTo>
                    <a:pt x="4" y="4"/>
                    <a:pt x="5" y="4"/>
                    <a:pt x="6" y="3"/>
                  </a:cubicBezTo>
                  <a:cubicBezTo>
                    <a:pt x="5" y="4"/>
                    <a:pt x="3" y="5"/>
                    <a:pt x="2" y="6"/>
                  </a:cubicBezTo>
                  <a:cubicBezTo>
                    <a:pt x="0" y="9"/>
                    <a:pt x="1" y="10"/>
                    <a:pt x="4" y="10"/>
                  </a:cubicBezTo>
                  <a:cubicBezTo>
                    <a:pt x="4" y="10"/>
                    <a:pt x="5" y="9"/>
                    <a:pt x="6" y="9"/>
                  </a:cubicBezTo>
                  <a:cubicBezTo>
                    <a:pt x="9" y="9"/>
                    <a:pt x="11" y="9"/>
                    <a:pt x="14" y="8"/>
                  </a:cubicBezTo>
                  <a:cubicBezTo>
                    <a:pt x="16" y="8"/>
                    <a:pt x="21" y="8"/>
                    <a:pt x="22" y="7"/>
                  </a:cubicBezTo>
                  <a:cubicBezTo>
                    <a:pt x="24" y="6"/>
                    <a:pt x="25" y="4"/>
                    <a:pt x="23" y="2"/>
                  </a:cubicBezTo>
                  <a:cubicBezTo>
                    <a:pt x="22" y="0"/>
                    <a:pt x="18"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1339"/>
            <p:cNvSpPr/>
            <p:nvPr/>
          </p:nvSpPr>
          <p:spPr bwMode="auto">
            <a:xfrm>
              <a:off x="2648" y="1102"/>
              <a:ext cx="28" cy="28"/>
            </a:xfrm>
            <a:custGeom>
              <a:gdLst>
                <a:gd name="T0" fmla="*/ 7 w 12"/>
                <a:gd name="T1" fmla="*/ 0 h 12"/>
                <a:gd name="T2" fmla="*/ 6 w 12"/>
                <a:gd name="T3" fmla="*/ 0 h 12"/>
                <a:gd name="T4" fmla="*/ 2 w 12"/>
                <a:gd name="T5" fmla="*/ 6 h 12"/>
                <a:gd name="T6" fmla="*/ 6 w 12"/>
                <a:gd name="T7" fmla="*/ 12 h 12"/>
                <a:gd name="T8" fmla="*/ 6 w 12"/>
                <a:gd name="T9" fmla="*/ 12 h 12"/>
                <a:gd name="T10" fmla="*/ 12 w 12"/>
                <a:gd name="T11" fmla="*/ 3 h 12"/>
                <a:gd name="T12" fmla="*/ 7 w 12"/>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12" h="12">
                  <a:moveTo>
                    <a:pt x="7" y="0"/>
                  </a:moveTo>
                  <a:cubicBezTo>
                    <a:pt x="7" y="0"/>
                    <a:pt x="6" y="0"/>
                    <a:pt x="6" y="0"/>
                  </a:cubicBezTo>
                  <a:cubicBezTo>
                    <a:pt x="1" y="0"/>
                    <a:pt x="0" y="2"/>
                    <a:pt x="2" y="6"/>
                  </a:cubicBezTo>
                  <a:cubicBezTo>
                    <a:pt x="2" y="7"/>
                    <a:pt x="4" y="12"/>
                    <a:pt x="6" y="12"/>
                  </a:cubicBezTo>
                  <a:cubicBezTo>
                    <a:pt x="6" y="12"/>
                    <a:pt x="6" y="12"/>
                    <a:pt x="6" y="12"/>
                  </a:cubicBezTo>
                  <a:cubicBezTo>
                    <a:pt x="10" y="12"/>
                    <a:pt x="12" y="6"/>
                    <a:pt x="12" y="3"/>
                  </a:cubicBezTo>
                  <a:cubicBezTo>
                    <a:pt x="11" y="0"/>
                    <a:pt x="11"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340"/>
            <p:cNvSpPr/>
            <p:nvPr/>
          </p:nvSpPr>
          <p:spPr bwMode="auto">
            <a:xfrm>
              <a:off x="2632" y="1095"/>
              <a:ext cx="18" cy="7"/>
            </a:xfrm>
            <a:custGeom>
              <a:gdLst>
                <a:gd name="T0" fmla="*/ 4 w 8"/>
                <a:gd name="T1" fmla="*/ 0 h 3"/>
                <a:gd name="T2" fmla="*/ 3 w 8"/>
                <a:gd name="T3" fmla="*/ 1 h 3"/>
                <a:gd name="T4" fmla="*/ 2 w 8"/>
                <a:gd name="T5" fmla="*/ 1 h 3"/>
                <a:gd name="T6" fmla="*/ 2 w 8"/>
                <a:gd name="T7" fmla="*/ 0 h 3"/>
                <a:gd name="T8" fmla="*/ 1 w 8"/>
                <a:gd name="T9" fmla="*/ 0 h 3"/>
                <a:gd name="T10" fmla="*/ 0 w 8"/>
                <a:gd name="T11" fmla="*/ 3 h 3"/>
                <a:gd name="T12" fmla="*/ 8 w 8"/>
                <a:gd name="T13" fmla="*/ 0 h 3"/>
                <a:gd name="T14" fmla="*/ 7 w 8"/>
                <a:gd name="T15" fmla="*/ 0 h 3"/>
                <a:gd name="T16" fmla="*/ 7 w 8"/>
                <a:gd name="T17" fmla="*/ 0 h 3"/>
                <a:gd name="T18" fmla="*/ 6 w 8"/>
                <a:gd name="T19" fmla="*/ 0 h 3"/>
                <a:gd name="T20" fmla="*/ 4 w 8"/>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4" y="0"/>
                  </a:moveTo>
                  <a:cubicBezTo>
                    <a:pt x="4" y="1"/>
                    <a:pt x="4" y="1"/>
                    <a:pt x="3" y="1"/>
                  </a:cubicBezTo>
                  <a:cubicBezTo>
                    <a:pt x="3" y="1"/>
                    <a:pt x="3" y="1"/>
                    <a:pt x="2" y="1"/>
                  </a:cubicBezTo>
                  <a:cubicBezTo>
                    <a:pt x="2" y="0"/>
                    <a:pt x="2" y="0"/>
                    <a:pt x="2" y="0"/>
                  </a:cubicBezTo>
                  <a:cubicBezTo>
                    <a:pt x="2" y="0"/>
                    <a:pt x="1" y="0"/>
                    <a:pt x="1" y="0"/>
                  </a:cubicBezTo>
                  <a:cubicBezTo>
                    <a:pt x="1" y="1"/>
                    <a:pt x="1" y="2"/>
                    <a:pt x="0" y="3"/>
                  </a:cubicBezTo>
                  <a:cubicBezTo>
                    <a:pt x="3" y="2"/>
                    <a:pt x="5" y="1"/>
                    <a:pt x="8" y="0"/>
                  </a:cubicBezTo>
                  <a:cubicBezTo>
                    <a:pt x="8" y="0"/>
                    <a:pt x="8" y="0"/>
                    <a:pt x="7" y="0"/>
                  </a:cubicBezTo>
                  <a:cubicBezTo>
                    <a:pt x="7" y="0"/>
                    <a:pt x="7" y="0"/>
                    <a:pt x="7" y="0"/>
                  </a:cubicBezTo>
                  <a:cubicBezTo>
                    <a:pt x="6" y="0"/>
                    <a:pt x="6" y="0"/>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341"/>
            <p:cNvSpPr/>
            <p:nvPr/>
          </p:nvSpPr>
          <p:spPr bwMode="auto">
            <a:xfrm>
              <a:off x="850" y="1038"/>
              <a:ext cx="33" cy="24"/>
            </a:xfrm>
            <a:custGeom>
              <a:gdLst>
                <a:gd name="T0" fmla="*/ 2 w 14"/>
                <a:gd name="T1" fmla="*/ 0 h 10"/>
                <a:gd name="T2" fmla="*/ 0 w 14"/>
                <a:gd name="T3" fmla="*/ 7 h 10"/>
                <a:gd name="T4" fmla="*/ 4 w 14"/>
                <a:gd name="T5" fmla="*/ 8 h 10"/>
                <a:gd name="T6" fmla="*/ 4 w 14"/>
                <a:gd name="T7" fmla="*/ 8 h 10"/>
                <a:gd name="T8" fmla="*/ 8 w 14"/>
                <a:gd name="T9" fmla="*/ 7 h 10"/>
                <a:gd name="T10" fmla="*/ 8 w 14"/>
                <a:gd name="T11" fmla="*/ 7 h 10"/>
                <a:gd name="T12" fmla="*/ 14 w 14"/>
                <a:gd name="T13" fmla="*/ 10 h 10"/>
                <a:gd name="T14" fmla="*/ 2 w 14"/>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0">
                  <a:moveTo>
                    <a:pt x="2" y="0"/>
                  </a:moveTo>
                  <a:cubicBezTo>
                    <a:pt x="2" y="3"/>
                    <a:pt x="0" y="5"/>
                    <a:pt x="0" y="7"/>
                  </a:cubicBezTo>
                  <a:cubicBezTo>
                    <a:pt x="0" y="8"/>
                    <a:pt x="3" y="8"/>
                    <a:pt x="4" y="8"/>
                  </a:cubicBezTo>
                  <a:cubicBezTo>
                    <a:pt x="4" y="8"/>
                    <a:pt x="4" y="8"/>
                    <a:pt x="4" y="8"/>
                  </a:cubicBezTo>
                  <a:cubicBezTo>
                    <a:pt x="5" y="8"/>
                    <a:pt x="6" y="7"/>
                    <a:pt x="8" y="7"/>
                  </a:cubicBezTo>
                  <a:cubicBezTo>
                    <a:pt x="8" y="7"/>
                    <a:pt x="8" y="7"/>
                    <a:pt x="8" y="7"/>
                  </a:cubicBezTo>
                  <a:cubicBezTo>
                    <a:pt x="10" y="7"/>
                    <a:pt x="12" y="10"/>
                    <a:pt x="14" y="10"/>
                  </a:cubicBezTo>
                  <a:cubicBezTo>
                    <a:pt x="10" y="7"/>
                    <a:pt x="6"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1342"/>
            <p:cNvSpPr/>
            <p:nvPr/>
          </p:nvSpPr>
          <p:spPr bwMode="auto">
            <a:xfrm>
              <a:off x="2480" y="858"/>
              <a:ext cx="31" cy="45"/>
            </a:xfrm>
            <a:custGeom>
              <a:gdLst>
                <a:gd name="T0" fmla="*/ 10 w 13"/>
                <a:gd name="T1" fmla="*/ 0 h 19"/>
                <a:gd name="T2" fmla="*/ 1 w 13"/>
                <a:gd name="T3" fmla="*/ 10 h 19"/>
                <a:gd name="T4" fmla="*/ 1 w 13"/>
                <a:gd name="T5" fmla="*/ 14 h 19"/>
                <a:gd name="T6" fmla="*/ 2 w 13"/>
                <a:gd name="T7" fmla="*/ 19 h 19"/>
                <a:gd name="T8" fmla="*/ 9 w 13"/>
                <a:gd name="T9" fmla="*/ 16 h 19"/>
                <a:gd name="T10" fmla="*/ 10 w 13"/>
                <a:gd name="T11" fmla="*/ 0 h 19"/>
              </a:gdLst>
              <a:cxnLst>
                <a:cxn ang="0">
                  <a:pos x="T0" y="T1"/>
                </a:cxn>
                <a:cxn ang="0">
                  <a:pos x="T2" y="T3"/>
                </a:cxn>
                <a:cxn ang="0">
                  <a:pos x="T4" y="T5"/>
                </a:cxn>
                <a:cxn ang="0">
                  <a:pos x="T6" y="T7"/>
                </a:cxn>
                <a:cxn ang="0">
                  <a:pos x="T8" y="T9"/>
                </a:cxn>
                <a:cxn ang="0">
                  <a:pos x="T10" y="T11"/>
                </a:cxn>
              </a:cxnLst>
              <a:rect l="0" t="0" r="r" b="b"/>
              <a:pathLst>
                <a:path w="13" h="19">
                  <a:moveTo>
                    <a:pt x="10" y="0"/>
                  </a:moveTo>
                  <a:cubicBezTo>
                    <a:pt x="7" y="2"/>
                    <a:pt x="2" y="5"/>
                    <a:pt x="1" y="10"/>
                  </a:cubicBezTo>
                  <a:cubicBezTo>
                    <a:pt x="0" y="11"/>
                    <a:pt x="0" y="12"/>
                    <a:pt x="1" y="14"/>
                  </a:cubicBezTo>
                  <a:cubicBezTo>
                    <a:pt x="2" y="16"/>
                    <a:pt x="2" y="17"/>
                    <a:pt x="2" y="19"/>
                  </a:cubicBezTo>
                  <a:cubicBezTo>
                    <a:pt x="4" y="18"/>
                    <a:pt x="8" y="18"/>
                    <a:pt x="9" y="16"/>
                  </a:cubicBezTo>
                  <a:cubicBezTo>
                    <a:pt x="13" y="14"/>
                    <a:pt x="12"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343"/>
            <p:cNvSpPr/>
            <p:nvPr/>
          </p:nvSpPr>
          <p:spPr bwMode="auto">
            <a:xfrm>
              <a:off x="2275" y="1161"/>
              <a:ext cx="78" cy="12"/>
            </a:xfrm>
            <a:custGeom>
              <a:gdLst>
                <a:gd name="T0" fmla="*/ 6 w 33"/>
                <a:gd name="T1" fmla="*/ 0 h 5"/>
                <a:gd name="T2" fmla="*/ 6 w 33"/>
                <a:gd name="T3" fmla="*/ 5 h 5"/>
                <a:gd name="T4" fmla="*/ 15 w 33"/>
                <a:gd name="T5" fmla="*/ 4 h 5"/>
                <a:gd name="T6" fmla="*/ 15 w 33"/>
                <a:gd name="T7" fmla="*/ 4 h 5"/>
                <a:gd name="T8" fmla="*/ 18 w 33"/>
                <a:gd name="T9" fmla="*/ 5 h 5"/>
                <a:gd name="T10" fmla="*/ 20 w 33"/>
                <a:gd name="T11" fmla="*/ 5 h 5"/>
                <a:gd name="T12" fmla="*/ 21 w 33"/>
                <a:gd name="T13" fmla="*/ 5 h 5"/>
                <a:gd name="T14" fmla="*/ 33 w 33"/>
                <a:gd name="T15" fmla="*/ 2 h 5"/>
                <a:gd name="T16" fmla="*/ 6 w 33"/>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
                  <a:moveTo>
                    <a:pt x="6" y="0"/>
                  </a:moveTo>
                  <a:cubicBezTo>
                    <a:pt x="0" y="3"/>
                    <a:pt x="7" y="3"/>
                    <a:pt x="6" y="5"/>
                  </a:cubicBezTo>
                  <a:cubicBezTo>
                    <a:pt x="9" y="5"/>
                    <a:pt x="12" y="5"/>
                    <a:pt x="15" y="4"/>
                  </a:cubicBezTo>
                  <a:cubicBezTo>
                    <a:pt x="15" y="4"/>
                    <a:pt x="15" y="4"/>
                    <a:pt x="15" y="4"/>
                  </a:cubicBezTo>
                  <a:cubicBezTo>
                    <a:pt x="16" y="4"/>
                    <a:pt x="17" y="4"/>
                    <a:pt x="18" y="5"/>
                  </a:cubicBezTo>
                  <a:cubicBezTo>
                    <a:pt x="19" y="5"/>
                    <a:pt x="19" y="5"/>
                    <a:pt x="20" y="5"/>
                  </a:cubicBezTo>
                  <a:cubicBezTo>
                    <a:pt x="20" y="5"/>
                    <a:pt x="20" y="5"/>
                    <a:pt x="21" y="5"/>
                  </a:cubicBezTo>
                  <a:cubicBezTo>
                    <a:pt x="24" y="4"/>
                    <a:pt x="31" y="4"/>
                    <a:pt x="33" y="2"/>
                  </a:cubicBezTo>
                  <a:cubicBezTo>
                    <a:pt x="24" y="1"/>
                    <a:pt x="1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1344"/>
            <p:cNvSpPr/>
            <p:nvPr/>
          </p:nvSpPr>
          <p:spPr bwMode="auto">
            <a:xfrm>
              <a:off x="2107" y="1759"/>
              <a:ext cx="45" cy="31"/>
            </a:xfrm>
            <a:custGeom>
              <a:gdLst>
                <a:gd name="T0" fmla="*/ 18 w 19"/>
                <a:gd name="T1" fmla="*/ 0 h 13"/>
                <a:gd name="T2" fmla="*/ 8 w 19"/>
                <a:gd name="T3" fmla="*/ 6 h 13"/>
                <a:gd name="T4" fmla="*/ 2 w 19"/>
                <a:gd name="T5" fmla="*/ 9 h 13"/>
                <a:gd name="T6" fmla="*/ 2 w 19"/>
                <a:gd name="T7" fmla="*/ 13 h 13"/>
                <a:gd name="T8" fmla="*/ 10 w 19"/>
                <a:gd name="T9" fmla="*/ 11 h 13"/>
                <a:gd name="T10" fmla="*/ 14 w 19"/>
                <a:gd name="T11" fmla="*/ 10 h 13"/>
                <a:gd name="T12" fmla="*/ 18 w 19"/>
                <a:gd name="T13" fmla="*/ 0 h 13"/>
              </a:gdLst>
              <a:cxnLst>
                <a:cxn ang="0">
                  <a:pos x="T0" y="T1"/>
                </a:cxn>
                <a:cxn ang="0">
                  <a:pos x="T2" y="T3"/>
                </a:cxn>
                <a:cxn ang="0">
                  <a:pos x="T4" y="T5"/>
                </a:cxn>
                <a:cxn ang="0">
                  <a:pos x="T6" y="T7"/>
                </a:cxn>
                <a:cxn ang="0">
                  <a:pos x="T8" y="T9"/>
                </a:cxn>
                <a:cxn ang="0">
                  <a:pos x="T10" y="T11"/>
                </a:cxn>
                <a:cxn ang="0">
                  <a:pos x="T12" y="T13"/>
                </a:cxn>
              </a:cxnLst>
              <a:rect l="0" t="0" r="r" b="b"/>
              <a:pathLst>
                <a:path w="19" h="13">
                  <a:moveTo>
                    <a:pt x="18" y="0"/>
                  </a:moveTo>
                  <a:cubicBezTo>
                    <a:pt x="15" y="2"/>
                    <a:pt x="11" y="4"/>
                    <a:pt x="8" y="6"/>
                  </a:cubicBezTo>
                  <a:cubicBezTo>
                    <a:pt x="6" y="7"/>
                    <a:pt x="3" y="8"/>
                    <a:pt x="2" y="9"/>
                  </a:cubicBezTo>
                  <a:cubicBezTo>
                    <a:pt x="0" y="12"/>
                    <a:pt x="1" y="13"/>
                    <a:pt x="2" y="13"/>
                  </a:cubicBezTo>
                  <a:cubicBezTo>
                    <a:pt x="5" y="13"/>
                    <a:pt x="9" y="12"/>
                    <a:pt x="10" y="11"/>
                  </a:cubicBezTo>
                  <a:cubicBezTo>
                    <a:pt x="12" y="11"/>
                    <a:pt x="12" y="11"/>
                    <a:pt x="14" y="10"/>
                  </a:cubicBezTo>
                  <a:cubicBezTo>
                    <a:pt x="19" y="6"/>
                    <a:pt x="18" y="7"/>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1345"/>
            <p:cNvSpPr/>
            <p:nvPr/>
          </p:nvSpPr>
          <p:spPr bwMode="auto">
            <a:xfrm>
              <a:off x="2584" y="1154"/>
              <a:ext cx="50" cy="28"/>
            </a:xfrm>
            <a:custGeom>
              <a:gdLst>
                <a:gd name="T0" fmla="*/ 17 w 21"/>
                <a:gd name="T1" fmla="*/ 0 h 12"/>
                <a:gd name="T2" fmla="*/ 7 w 21"/>
                <a:gd name="T3" fmla="*/ 3 h 12"/>
                <a:gd name="T4" fmla="*/ 0 w 21"/>
                <a:gd name="T5" fmla="*/ 6 h 12"/>
                <a:gd name="T6" fmla="*/ 11 w 21"/>
                <a:gd name="T7" fmla="*/ 12 h 12"/>
                <a:gd name="T8" fmla="*/ 15 w 21"/>
                <a:gd name="T9" fmla="*/ 11 h 12"/>
                <a:gd name="T10" fmla="*/ 17 w 21"/>
                <a:gd name="T11" fmla="*/ 9 h 12"/>
                <a:gd name="T12" fmla="*/ 17 w 21"/>
                <a:gd name="T13" fmla="*/ 9 h 12"/>
                <a:gd name="T14" fmla="*/ 18 w 21"/>
                <a:gd name="T15" fmla="*/ 9 h 12"/>
                <a:gd name="T16" fmla="*/ 19 w 21"/>
                <a:gd name="T17" fmla="*/ 10 h 12"/>
                <a:gd name="T18" fmla="*/ 20 w 21"/>
                <a:gd name="T19" fmla="*/ 9 h 12"/>
                <a:gd name="T20" fmla="*/ 21 w 21"/>
                <a:gd name="T21" fmla="*/ 5 h 12"/>
                <a:gd name="T22" fmla="*/ 18 w 21"/>
                <a:gd name="T23" fmla="*/ 1 h 12"/>
                <a:gd name="T24" fmla="*/ 18 w 21"/>
                <a:gd name="T25" fmla="*/ 1 h 12"/>
                <a:gd name="T26" fmla="*/ 17 w 21"/>
                <a:gd name="T27"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2">
                  <a:moveTo>
                    <a:pt x="17" y="0"/>
                  </a:moveTo>
                  <a:cubicBezTo>
                    <a:pt x="15" y="0"/>
                    <a:pt x="9" y="2"/>
                    <a:pt x="7" y="3"/>
                  </a:cubicBezTo>
                  <a:cubicBezTo>
                    <a:pt x="5" y="4"/>
                    <a:pt x="2" y="5"/>
                    <a:pt x="0" y="6"/>
                  </a:cubicBezTo>
                  <a:cubicBezTo>
                    <a:pt x="4" y="8"/>
                    <a:pt x="8" y="10"/>
                    <a:pt x="11" y="12"/>
                  </a:cubicBezTo>
                  <a:cubicBezTo>
                    <a:pt x="12" y="12"/>
                    <a:pt x="14" y="12"/>
                    <a:pt x="15" y="11"/>
                  </a:cubicBezTo>
                  <a:cubicBezTo>
                    <a:pt x="16" y="11"/>
                    <a:pt x="16" y="9"/>
                    <a:pt x="17" y="9"/>
                  </a:cubicBezTo>
                  <a:cubicBezTo>
                    <a:pt x="17" y="9"/>
                    <a:pt x="17" y="9"/>
                    <a:pt x="17" y="9"/>
                  </a:cubicBezTo>
                  <a:cubicBezTo>
                    <a:pt x="18" y="9"/>
                    <a:pt x="18" y="9"/>
                    <a:pt x="18" y="9"/>
                  </a:cubicBezTo>
                  <a:cubicBezTo>
                    <a:pt x="18" y="10"/>
                    <a:pt x="19" y="10"/>
                    <a:pt x="19" y="10"/>
                  </a:cubicBezTo>
                  <a:cubicBezTo>
                    <a:pt x="19" y="10"/>
                    <a:pt x="19" y="10"/>
                    <a:pt x="20" y="9"/>
                  </a:cubicBezTo>
                  <a:cubicBezTo>
                    <a:pt x="20" y="9"/>
                    <a:pt x="21" y="5"/>
                    <a:pt x="21" y="5"/>
                  </a:cubicBezTo>
                  <a:cubicBezTo>
                    <a:pt x="20" y="4"/>
                    <a:pt x="18" y="1"/>
                    <a:pt x="18" y="1"/>
                  </a:cubicBezTo>
                  <a:cubicBezTo>
                    <a:pt x="18" y="1"/>
                    <a:pt x="18" y="1"/>
                    <a:pt x="18" y="1"/>
                  </a:cubicBezTo>
                  <a:cubicBezTo>
                    <a:pt x="18" y="0"/>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1346"/>
            <p:cNvSpPr/>
            <p:nvPr/>
          </p:nvSpPr>
          <p:spPr bwMode="auto">
            <a:xfrm>
              <a:off x="247" y="839"/>
              <a:ext cx="52" cy="41"/>
            </a:xfrm>
            <a:custGeom>
              <a:gdLst>
                <a:gd name="T0" fmla="*/ 4 w 22"/>
                <a:gd name="T1" fmla="*/ 0 h 17"/>
                <a:gd name="T2" fmla="*/ 2 w 22"/>
                <a:gd name="T3" fmla="*/ 4 h 17"/>
                <a:gd name="T4" fmla="*/ 2 w 22"/>
                <a:gd name="T5" fmla="*/ 4 h 17"/>
                <a:gd name="T6" fmla="*/ 5 w 22"/>
                <a:gd name="T7" fmla="*/ 8 h 17"/>
                <a:gd name="T8" fmla="*/ 10 w 22"/>
                <a:gd name="T9" fmla="*/ 9 h 17"/>
                <a:gd name="T10" fmla="*/ 22 w 22"/>
                <a:gd name="T11" fmla="*/ 17 h 17"/>
                <a:gd name="T12" fmla="*/ 22 w 22"/>
                <a:gd name="T13" fmla="*/ 17 h 17"/>
                <a:gd name="T14" fmla="*/ 17 w 22"/>
                <a:gd name="T15" fmla="*/ 9 h 17"/>
                <a:gd name="T16" fmla="*/ 4 w 22"/>
                <a:gd name="T17"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7">
                  <a:moveTo>
                    <a:pt x="4" y="0"/>
                  </a:moveTo>
                  <a:cubicBezTo>
                    <a:pt x="3" y="1"/>
                    <a:pt x="0" y="4"/>
                    <a:pt x="2" y="4"/>
                  </a:cubicBezTo>
                  <a:cubicBezTo>
                    <a:pt x="2" y="4"/>
                    <a:pt x="2" y="4"/>
                    <a:pt x="2" y="4"/>
                  </a:cubicBezTo>
                  <a:cubicBezTo>
                    <a:pt x="3" y="5"/>
                    <a:pt x="4" y="7"/>
                    <a:pt x="5" y="8"/>
                  </a:cubicBezTo>
                  <a:cubicBezTo>
                    <a:pt x="6" y="9"/>
                    <a:pt x="8" y="9"/>
                    <a:pt x="10" y="9"/>
                  </a:cubicBezTo>
                  <a:cubicBezTo>
                    <a:pt x="13" y="11"/>
                    <a:pt x="19" y="17"/>
                    <a:pt x="22" y="17"/>
                  </a:cubicBezTo>
                  <a:cubicBezTo>
                    <a:pt x="22" y="17"/>
                    <a:pt x="22" y="17"/>
                    <a:pt x="22" y="17"/>
                  </a:cubicBezTo>
                  <a:cubicBezTo>
                    <a:pt x="22" y="11"/>
                    <a:pt x="21" y="12"/>
                    <a:pt x="17" y="9"/>
                  </a:cubicBezTo>
                  <a:cubicBezTo>
                    <a:pt x="12" y="6"/>
                    <a:pt x="8"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347"/>
            <p:cNvSpPr/>
            <p:nvPr/>
          </p:nvSpPr>
          <p:spPr bwMode="auto">
            <a:xfrm>
              <a:off x="1644" y="1265"/>
              <a:ext cx="19" cy="54"/>
            </a:xfrm>
            <a:custGeom>
              <a:gdLst>
                <a:gd name="T0" fmla="*/ 7 w 8"/>
                <a:gd name="T1" fmla="*/ 0 h 23"/>
                <a:gd name="T2" fmla="*/ 5 w 8"/>
                <a:gd name="T3" fmla="*/ 0 h 23"/>
                <a:gd name="T4" fmla="*/ 4 w 8"/>
                <a:gd name="T5" fmla="*/ 1 h 23"/>
                <a:gd name="T6" fmla="*/ 4 w 8"/>
                <a:gd name="T7" fmla="*/ 1 h 23"/>
                <a:gd name="T8" fmla="*/ 3 w 8"/>
                <a:gd name="T9" fmla="*/ 2 h 23"/>
                <a:gd name="T10" fmla="*/ 2 w 8"/>
                <a:gd name="T11" fmla="*/ 3 h 23"/>
                <a:gd name="T12" fmla="*/ 2 w 8"/>
                <a:gd name="T13" fmla="*/ 4 h 23"/>
                <a:gd name="T14" fmla="*/ 0 w 8"/>
                <a:gd name="T15" fmla="*/ 13 h 23"/>
                <a:gd name="T16" fmla="*/ 2 w 8"/>
                <a:gd name="T17" fmla="*/ 19 h 23"/>
                <a:gd name="T18" fmla="*/ 2 w 8"/>
                <a:gd name="T19" fmla="*/ 19 h 23"/>
                <a:gd name="T20" fmla="*/ 1 w 8"/>
                <a:gd name="T21" fmla="*/ 20 h 23"/>
                <a:gd name="T22" fmla="*/ 1 w 8"/>
                <a:gd name="T23" fmla="*/ 22 h 23"/>
                <a:gd name="T24" fmla="*/ 2 w 8"/>
                <a:gd name="T25" fmla="*/ 23 h 23"/>
                <a:gd name="T26" fmla="*/ 2 w 8"/>
                <a:gd name="T27" fmla="*/ 22 h 23"/>
                <a:gd name="T28" fmla="*/ 2 w 8"/>
                <a:gd name="T29" fmla="*/ 22 h 23"/>
                <a:gd name="T30" fmla="*/ 2 w 8"/>
                <a:gd name="T31" fmla="*/ 22 h 23"/>
                <a:gd name="T32" fmla="*/ 8 w 8"/>
                <a:gd name="T33" fmla="*/ 18 h 23"/>
                <a:gd name="T34" fmla="*/ 7 w 8"/>
                <a:gd name="T35"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3">
                  <a:moveTo>
                    <a:pt x="7" y="0"/>
                  </a:moveTo>
                  <a:cubicBezTo>
                    <a:pt x="7" y="0"/>
                    <a:pt x="6" y="0"/>
                    <a:pt x="5" y="0"/>
                  </a:cubicBezTo>
                  <a:cubicBezTo>
                    <a:pt x="5" y="1"/>
                    <a:pt x="4" y="1"/>
                    <a:pt x="4" y="1"/>
                  </a:cubicBezTo>
                  <a:cubicBezTo>
                    <a:pt x="4" y="1"/>
                    <a:pt x="4" y="1"/>
                    <a:pt x="4" y="1"/>
                  </a:cubicBezTo>
                  <a:cubicBezTo>
                    <a:pt x="3" y="2"/>
                    <a:pt x="3" y="2"/>
                    <a:pt x="3" y="2"/>
                  </a:cubicBezTo>
                  <a:cubicBezTo>
                    <a:pt x="2" y="3"/>
                    <a:pt x="2" y="3"/>
                    <a:pt x="2" y="3"/>
                  </a:cubicBezTo>
                  <a:cubicBezTo>
                    <a:pt x="2" y="4"/>
                    <a:pt x="2" y="4"/>
                    <a:pt x="2" y="4"/>
                  </a:cubicBezTo>
                  <a:cubicBezTo>
                    <a:pt x="0" y="7"/>
                    <a:pt x="0" y="11"/>
                    <a:pt x="0" y="13"/>
                  </a:cubicBezTo>
                  <a:cubicBezTo>
                    <a:pt x="1" y="15"/>
                    <a:pt x="1" y="17"/>
                    <a:pt x="2" y="19"/>
                  </a:cubicBezTo>
                  <a:cubicBezTo>
                    <a:pt x="2" y="19"/>
                    <a:pt x="2" y="19"/>
                    <a:pt x="2" y="19"/>
                  </a:cubicBezTo>
                  <a:cubicBezTo>
                    <a:pt x="2" y="20"/>
                    <a:pt x="1" y="20"/>
                    <a:pt x="1" y="20"/>
                  </a:cubicBezTo>
                  <a:cubicBezTo>
                    <a:pt x="1" y="21"/>
                    <a:pt x="1" y="22"/>
                    <a:pt x="1" y="22"/>
                  </a:cubicBezTo>
                  <a:cubicBezTo>
                    <a:pt x="1" y="22"/>
                    <a:pt x="1" y="23"/>
                    <a:pt x="2" y="23"/>
                  </a:cubicBezTo>
                  <a:cubicBezTo>
                    <a:pt x="2" y="23"/>
                    <a:pt x="2" y="23"/>
                    <a:pt x="2" y="22"/>
                  </a:cubicBezTo>
                  <a:cubicBezTo>
                    <a:pt x="2" y="22"/>
                    <a:pt x="2" y="22"/>
                    <a:pt x="2" y="22"/>
                  </a:cubicBezTo>
                  <a:cubicBezTo>
                    <a:pt x="2" y="22"/>
                    <a:pt x="2" y="22"/>
                    <a:pt x="2" y="22"/>
                  </a:cubicBezTo>
                  <a:cubicBezTo>
                    <a:pt x="4" y="22"/>
                    <a:pt x="7" y="19"/>
                    <a:pt x="8" y="18"/>
                  </a:cubicBezTo>
                  <a:cubicBezTo>
                    <a:pt x="8" y="12"/>
                    <a:pt x="8" y="6"/>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1348"/>
            <p:cNvSpPr/>
            <p:nvPr/>
          </p:nvSpPr>
          <p:spPr bwMode="auto">
            <a:xfrm>
              <a:off x="3605" y="102"/>
              <a:ext cx="24" cy="24"/>
            </a:xfrm>
            <a:custGeom>
              <a:gdLst>
                <a:gd name="T0" fmla="*/ 10 w 10"/>
                <a:gd name="T1" fmla="*/ 0 h 10"/>
                <a:gd name="T2" fmla="*/ 6 w 10"/>
                <a:gd name="T3" fmla="*/ 1 h 10"/>
                <a:gd name="T4" fmla="*/ 1 w 10"/>
                <a:gd name="T5" fmla="*/ 4 h 10"/>
                <a:gd name="T6" fmla="*/ 1 w 10"/>
                <a:gd name="T7" fmla="*/ 4 h 10"/>
                <a:gd name="T8" fmla="*/ 2 w 10"/>
                <a:gd name="T9" fmla="*/ 10 h 10"/>
                <a:gd name="T10" fmla="*/ 2 w 10"/>
                <a:gd name="T11" fmla="*/ 10 h 10"/>
                <a:gd name="T12" fmla="*/ 10 w 10"/>
                <a:gd name="T13" fmla="*/ 0 h 10"/>
              </a:gdLst>
              <a:cxnLst>
                <a:cxn ang="0">
                  <a:pos x="T0" y="T1"/>
                </a:cxn>
                <a:cxn ang="0">
                  <a:pos x="T2" y="T3"/>
                </a:cxn>
                <a:cxn ang="0">
                  <a:pos x="T4" y="T5"/>
                </a:cxn>
                <a:cxn ang="0">
                  <a:pos x="T6" y="T7"/>
                </a:cxn>
                <a:cxn ang="0">
                  <a:pos x="T8" y="T9"/>
                </a:cxn>
                <a:cxn ang="0">
                  <a:pos x="T10" y="T11"/>
                </a:cxn>
                <a:cxn ang="0">
                  <a:pos x="T12" y="T13"/>
                </a:cxn>
              </a:cxnLst>
              <a:rect l="0" t="0" r="r" b="b"/>
              <a:pathLst>
                <a:path w="10" h="10">
                  <a:moveTo>
                    <a:pt x="10" y="0"/>
                  </a:moveTo>
                  <a:cubicBezTo>
                    <a:pt x="9" y="0"/>
                    <a:pt x="7" y="1"/>
                    <a:pt x="6" y="1"/>
                  </a:cubicBezTo>
                  <a:cubicBezTo>
                    <a:pt x="4" y="2"/>
                    <a:pt x="2" y="4"/>
                    <a:pt x="1" y="4"/>
                  </a:cubicBezTo>
                  <a:cubicBezTo>
                    <a:pt x="1" y="4"/>
                    <a:pt x="1" y="4"/>
                    <a:pt x="1" y="4"/>
                  </a:cubicBezTo>
                  <a:cubicBezTo>
                    <a:pt x="1" y="5"/>
                    <a:pt x="0" y="9"/>
                    <a:pt x="2" y="10"/>
                  </a:cubicBezTo>
                  <a:cubicBezTo>
                    <a:pt x="2" y="10"/>
                    <a:pt x="2" y="10"/>
                    <a:pt x="2" y="10"/>
                  </a:cubicBezTo>
                  <a:cubicBezTo>
                    <a:pt x="4" y="10"/>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349"/>
            <p:cNvSpPr/>
            <p:nvPr/>
          </p:nvSpPr>
          <p:spPr bwMode="auto">
            <a:xfrm>
              <a:off x="3156" y="383"/>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1350"/>
            <p:cNvSpPr/>
            <p:nvPr/>
          </p:nvSpPr>
          <p:spPr bwMode="auto">
            <a:xfrm>
              <a:off x="4862" y="672"/>
              <a:ext cx="7" cy="7"/>
            </a:xfrm>
            <a:custGeom>
              <a:gdLst>
                <a:gd name="T0" fmla="*/ 3 w 3"/>
                <a:gd name="T1" fmla="*/ 0 h 3"/>
                <a:gd name="T2" fmla="*/ 0 w 3"/>
                <a:gd name="T3" fmla="*/ 1 h 3"/>
                <a:gd name="T4" fmla="*/ 2 w 3"/>
                <a:gd name="T5" fmla="*/ 3 h 3"/>
                <a:gd name="T6" fmla="*/ 3 w 3"/>
                <a:gd name="T7" fmla="*/ 0 h 3"/>
              </a:gdLst>
              <a:cxnLst>
                <a:cxn ang="0">
                  <a:pos x="T0" y="T1"/>
                </a:cxn>
                <a:cxn ang="0">
                  <a:pos x="T2" y="T3"/>
                </a:cxn>
                <a:cxn ang="0">
                  <a:pos x="T4" y="T5"/>
                </a:cxn>
                <a:cxn ang="0">
                  <a:pos x="T6" y="T7"/>
                </a:cxn>
              </a:cxnLst>
              <a:rect l="0" t="0" r="r" b="b"/>
              <a:pathLst>
                <a:path w="3" h="3">
                  <a:moveTo>
                    <a:pt x="3" y="0"/>
                  </a:moveTo>
                  <a:cubicBezTo>
                    <a:pt x="2" y="0"/>
                    <a:pt x="1" y="0"/>
                    <a:pt x="0" y="1"/>
                  </a:cubicBezTo>
                  <a:cubicBezTo>
                    <a:pt x="1" y="2"/>
                    <a:pt x="1" y="2"/>
                    <a:pt x="2" y="3"/>
                  </a:cubicBezTo>
                  <a:cubicBezTo>
                    <a:pt x="3"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1351"/>
            <p:cNvSpPr/>
            <p:nvPr/>
          </p:nvSpPr>
          <p:spPr bwMode="auto">
            <a:xfrm>
              <a:off x="4539" y="561"/>
              <a:ext cx="11" cy="11"/>
            </a:xfrm>
            <a:custGeom>
              <a:gdLst>
                <a:gd name="T0" fmla="*/ 0 w 5"/>
                <a:gd name="T1" fmla="*/ 0 h 5"/>
                <a:gd name="T2" fmla="*/ 1 w 5"/>
                <a:gd name="T3" fmla="*/ 5 h 5"/>
                <a:gd name="T4" fmla="*/ 3 w 5"/>
                <a:gd name="T5" fmla="*/ 3 h 5"/>
                <a:gd name="T6" fmla="*/ 0 w 5"/>
                <a:gd name="T7" fmla="*/ 0 h 5"/>
              </a:gdLst>
              <a:cxnLst>
                <a:cxn ang="0">
                  <a:pos x="T0" y="T1"/>
                </a:cxn>
                <a:cxn ang="0">
                  <a:pos x="T2" y="T3"/>
                </a:cxn>
                <a:cxn ang="0">
                  <a:pos x="T4" y="T5"/>
                </a:cxn>
                <a:cxn ang="0">
                  <a:pos x="T6" y="T7"/>
                </a:cxn>
              </a:cxnLst>
              <a:rect l="0" t="0" r="r" b="b"/>
              <a:pathLst>
                <a:path w="5" h="5">
                  <a:moveTo>
                    <a:pt x="0" y="0"/>
                  </a:moveTo>
                  <a:cubicBezTo>
                    <a:pt x="0" y="2"/>
                    <a:pt x="0" y="4"/>
                    <a:pt x="1" y="5"/>
                  </a:cubicBezTo>
                  <a:cubicBezTo>
                    <a:pt x="2" y="5"/>
                    <a:pt x="3" y="4"/>
                    <a:pt x="3" y="3"/>
                  </a:cubicBezTo>
                  <a:cubicBezTo>
                    <a:pt x="5"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1352"/>
            <p:cNvSpPr/>
            <p:nvPr/>
          </p:nvSpPr>
          <p:spPr bwMode="auto">
            <a:xfrm>
              <a:off x="5871" y="2324"/>
              <a:ext cx="3" cy="7"/>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1"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1353"/>
            <p:cNvSpPr/>
            <p:nvPr/>
          </p:nvSpPr>
          <p:spPr bwMode="auto">
            <a:xfrm>
              <a:off x="5836" y="2239"/>
              <a:ext cx="109" cy="66"/>
            </a:xfrm>
            <a:custGeom>
              <a:gdLst>
                <a:gd name="T0" fmla="*/ 31 w 46"/>
                <a:gd name="T1" fmla="*/ 0 h 28"/>
                <a:gd name="T2" fmla="*/ 19 w 46"/>
                <a:gd name="T3" fmla="*/ 3 h 28"/>
                <a:gd name="T4" fmla="*/ 5 w 46"/>
                <a:gd name="T5" fmla="*/ 22 h 28"/>
                <a:gd name="T6" fmla="*/ 11 w 46"/>
                <a:gd name="T7" fmla="*/ 26 h 28"/>
                <a:gd name="T8" fmla="*/ 19 w 46"/>
                <a:gd name="T9" fmla="*/ 28 h 28"/>
                <a:gd name="T10" fmla="*/ 20 w 46"/>
                <a:gd name="T11" fmla="*/ 28 h 28"/>
                <a:gd name="T12" fmla="*/ 41 w 46"/>
                <a:gd name="T13" fmla="*/ 24 h 28"/>
                <a:gd name="T14" fmla="*/ 46 w 46"/>
                <a:gd name="T15" fmla="*/ 21 h 28"/>
                <a:gd name="T16" fmla="*/ 45 w 46"/>
                <a:gd name="T17" fmla="*/ 21 h 28"/>
                <a:gd name="T18" fmla="*/ 43 w 46"/>
                <a:gd name="T19" fmla="*/ 14 h 28"/>
                <a:gd name="T20" fmla="*/ 42 w 46"/>
                <a:gd name="T21" fmla="*/ 13 h 28"/>
                <a:gd name="T22" fmla="*/ 43 w 46"/>
                <a:gd name="T23" fmla="*/ 10 h 28"/>
                <a:gd name="T24" fmla="*/ 40 w 46"/>
                <a:gd name="T25" fmla="*/ 9 h 28"/>
                <a:gd name="T26" fmla="*/ 31 w 46"/>
                <a:gd name="T27"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8">
                  <a:moveTo>
                    <a:pt x="31" y="0"/>
                  </a:moveTo>
                  <a:cubicBezTo>
                    <a:pt x="30" y="3"/>
                    <a:pt x="21" y="2"/>
                    <a:pt x="19" y="3"/>
                  </a:cubicBezTo>
                  <a:cubicBezTo>
                    <a:pt x="13" y="6"/>
                    <a:pt x="0" y="14"/>
                    <a:pt x="5" y="22"/>
                  </a:cubicBezTo>
                  <a:cubicBezTo>
                    <a:pt x="6" y="24"/>
                    <a:pt x="8" y="25"/>
                    <a:pt x="11" y="26"/>
                  </a:cubicBezTo>
                  <a:cubicBezTo>
                    <a:pt x="13" y="26"/>
                    <a:pt x="17" y="28"/>
                    <a:pt x="19" y="28"/>
                  </a:cubicBezTo>
                  <a:cubicBezTo>
                    <a:pt x="20" y="28"/>
                    <a:pt x="20" y="28"/>
                    <a:pt x="20" y="28"/>
                  </a:cubicBezTo>
                  <a:cubicBezTo>
                    <a:pt x="27" y="28"/>
                    <a:pt x="34" y="25"/>
                    <a:pt x="41" y="24"/>
                  </a:cubicBezTo>
                  <a:cubicBezTo>
                    <a:pt x="43" y="23"/>
                    <a:pt x="46" y="24"/>
                    <a:pt x="46" y="21"/>
                  </a:cubicBezTo>
                  <a:cubicBezTo>
                    <a:pt x="46" y="21"/>
                    <a:pt x="46" y="21"/>
                    <a:pt x="45" y="21"/>
                  </a:cubicBezTo>
                  <a:cubicBezTo>
                    <a:pt x="43" y="21"/>
                    <a:pt x="43" y="16"/>
                    <a:pt x="43" y="14"/>
                  </a:cubicBezTo>
                  <a:cubicBezTo>
                    <a:pt x="43" y="14"/>
                    <a:pt x="42" y="13"/>
                    <a:pt x="42" y="13"/>
                  </a:cubicBezTo>
                  <a:cubicBezTo>
                    <a:pt x="42" y="12"/>
                    <a:pt x="43" y="11"/>
                    <a:pt x="43" y="10"/>
                  </a:cubicBezTo>
                  <a:cubicBezTo>
                    <a:pt x="43" y="9"/>
                    <a:pt x="41" y="9"/>
                    <a:pt x="40" y="9"/>
                  </a:cubicBezTo>
                  <a:cubicBezTo>
                    <a:pt x="37" y="6"/>
                    <a:pt x="34" y="3"/>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1354"/>
            <p:cNvSpPr/>
            <p:nvPr/>
          </p:nvSpPr>
          <p:spPr bwMode="auto">
            <a:xfrm>
              <a:off x="5947" y="2260"/>
              <a:ext cx="5" cy="9"/>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0" y="1"/>
                    <a:pt x="0" y="3"/>
                    <a:pt x="1" y="4"/>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1355"/>
            <p:cNvSpPr/>
            <p:nvPr/>
          </p:nvSpPr>
          <p:spPr bwMode="auto">
            <a:xfrm>
              <a:off x="5930" y="2158"/>
              <a:ext cx="104" cy="59"/>
            </a:xfrm>
            <a:custGeom>
              <a:gdLst>
                <a:gd name="T0" fmla="*/ 44 w 44"/>
                <a:gd name="T1" fmla="*/ 0 h 25"/>
                <a:gd name="T2" fmla="*/ 39 w 44"/>
                <a:gd name="T3" fmla="*/ 2 h 25"/>
                <a:gd name="T4" fmla="*/ 37 w 44"/>
                <a:gd name="T5" fmla="*/ 1 h 25"/>
                <a:gd name="T6" fmla="*/ 37 w 44"/>
                <a:gd name="T7" fmla="*/ 1 h 25"/>
                <a:gd name="T8" fmla="*/ 33 w 44"/>
                <a:gd name="T9" fmla="*/ 3 h 25"/>
                <a:gd name="T10" fmla="*/ 31 w 44"/>
                <a:gd name="T11" fmla="*/ 2 h 25"/>
                <a:gd name="T12" fmla="*/ 30 w 44"/>
                <a:gd name="T13" fmla="*/ 3 h 25"/>
                <a:gd name="T14" fmla="*/ 30 w 44"/>
                <a:gd name="T15" fmla="*/ 3 h 25"/>
                <a:gd name="T16" fmla="*/ 25 w 44"/>
                <a:gd name="T17" fmla="*/ 7 h 25"/>
                <a:gd name="T18" fmla="*/ 17 w 44"/>
                <a:gd name="T19" fmla="*/ 8 h 25"/>
                <a:gd name="T20" fmla="*/ 13 w 44"/>
                <a:gd name="T21" fmla="*/ 9 h 25"/>
                <a:gd name="T22" fmla="*/ 10 w 44"/>
                <a:gd name="T23" fmla="*/ 12 h 25"/>
                <a:gd name="T24" fmla="*/ 9 w 44"/>
                <a:gd name="T25" fmla="*/ 14 h 25"/>
                <a:gd name="T26" fmla="*/ 8 w 44"/>
                <a:gd name="T27" fmla="*/ 13 h 25"/>
                <a:gd name="T28" fmla="*/ 6 w 44"/>
                <a:gd name="T29" fmla="*/ 14 h 25"/>
                <a:gd name="T30" fmla="*/ 6 w 44"/>
                <a:gd name="T31" fmla="*/ 14 h 25"/>
                <a:gd name="T32" fmla="*/ 5 w 44"/>
                <a:gd name="T33" fmla="*/ 14 h 25"/>
                <a:gd name="T34" fmla="*/ 4 w 44"/>
                <a:gd name="T35" fmla="*/ 14 h 25"/>
                <a:gd name="T36" fmla="*/ 4 w 44"/>
                <a:gd name="T37" fmla="*/ 14 h 25"/>
                <a:gd name="T38" fmla="*/ 4 w 44"/>
                <a:gd name="T39" fmla="*/ 14 h 25"/>
                <a:gd name="T40" fmla="*/ 3 w 44"/>
                <a:gd name="T41" fmla="*/ 14 h 25"/>
                <a:gd name="T42" fmla="*/ 2 w 44"/>
                <a:gd name="T43" fmla="*/ 14 h 25"/>
                <a:gd name="T44" fmla="*/ 1 w 44"/>
                <a:gd name="T45" fmla="*/ 14 h 25"/>
                <a:gd name="T46" fmla="*/ 0 w 44"/>
                <a:gd name="T47" fmla="*/ 18 h 25"/>
                <a:gd name="T48" fmla="*/ 5 w 44"/>
                <a:gd name="T49" fmla="*/ 23 h 25"/>
                <a:gd name="T50" fmla="*/ 6 w 44"/>
                <a:gd name="T51" fmla="*/ 25 h 25"/>
                <a:gd name="T52" fmla="*/ 7 w 44"/>
                <a:gd name="T53" fmla="*/ 25 h 25"/>
                <a:gd name="T54" fmla="*/ 15 w 44"/>
                <a:gd name="T55" fmla="*/ 22 h 25"/>
                <a:gd name="T56" fmla="*/ 30 w 44"/>
                <a:gd name="T57" fmla="*/ 19 h 25"/>
                <a:gd name="T58" fmla="*/ 38 w 44"/>
                <a:gd name="T59" fmla="*/ 17 h 25"/>
                <a:gd name="T60" fmla="*/ 39 w 44"/>
                <a:gd name="T61" fmla="*/ 17 h 25"/>
                <a:gd name="T62" fmla="*/ 40 w 44"/>
                <a:gd name="T63" fmla="*/ 18 h 25"/>
                <a:gd name="T64" fmla="*/ 39 w 44"/>
                <a:gd name="T65" fmla="*/ 11 h 25"/>
                <a:gd name="T66" fmla="*/ 29 w 44"/>
                <a:gd name="T67" fmla="*/ 18 h 25"/>
                <a:gd name="T68" fmla="*/ 29 w 44"/>
                <a:gd name="T69" fmla="*/ 18 h 25"/>
                <a:gd name="T70" fmla="*/ 44 w 44"/>
                <a:gd name="T71"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25">
                  <a:moveTo>
                    <a:pt x="44" y="0"/>
                  </a:moveTo>
                  <a:cubicBezTo>
                    <a:pt x="43" y="0"/>
                    <a:pt x="40" y="2"/>
                    <a:pt x="39" y="2"/>
                  </a:cubicBezTo>
                  <a:cubicBezTo>
                    <a:pt x="37" y="1"/>
                    <a:pt x="37" y="1"/>
                    <a:pt x="37" y="1"/>
                  </a:cubicBezTo>
                  <a:cubicBezTo>
                    <a:pt x="37" y="1"/>
                    <a:pt x="37" y="1"/>
                    <a:pt x="37" y="1"/>
                  </a:cubicBezTo>
                  <a:cubicBezTo>
                    <a:pt x="35" y="1"/>
                    <a:pt x="33" y="2"/>
                    <a:pt x="33" y="3"/>
                  </a:cubicBezTo>
                  <a:cubicBezTo>
                    <a:pt x="32" y="2"/>
                    <a:pt x="32" y="2"/>
                    <a:pt x="31" y="2"/>
                  </a:cubicBezTo>
                  <a:cubicBezTo>
                    <a:pt x="30" y="3"/>
                    <a:pt x="30" y="3"/>
                    <a:pt x="30" y="3"/>
                  </a:cubicBezTo>
                  <a:cubicBezTo>
                    <a:pt x="30" y="3"/>
                    <a:pt x="30" y="3"/>
                    <a:pt x="30" y="3"/>
                  </a:cubicBezTo>
                  <a:cubicBezTo>
                    <a:pt x="28" y="3"/>
                    <a:pt x="26" y="6"/>
                    <a:pt x="25" y="7"/>
                  </a:cubicBezTo>
                  <a:cubicBezTo>
                    <a:pt x="23" y="7"/>
                    <a:pt x="20" y="7"/>
                    <a:pt x="17" y="8"/>
                  </a:cubicBezTo>
                  <a:cubicBezTo>
                    <a:pt x="16" y="8"/>
                    <a:pt x="13" y="9"/>
                    <a:pt x="13" y="9"/>
                  </a:cubicBezTo>
                  <a:cubicBezTo>
                    <a:pt x="12" y="9"/>
                    <a:pt x="12" y="11"/>
                    <a:pt x="10" y="12"/>
                  </a:cubicBezTo>
                  <a:cubicBezTo>
                    <a:pt x="10" y="12"/>
                    <a:pt x="10" y="12"/>
                    <a:pt x="9" y="14"/>
                  </a:cubicBezTo>
                  <a:cubicBezTo>
                    <a:pt x="8" y="13"/>
                    <a:pt x="8" y="13"/>
                    <a:pt x="8" y="13"/>
                  </a:cubicBezTo>
                  <a:cubicBezTo>
                    <a:pt x="8" y="13"/>
                    <a:pt x="8" y="14"/>
                    <a:pt x="6" y="14"/>
                  </a:cubicBezTo>
                  <a:cubicBezTo>
                    <a:pt x="6" y="14"/>
                    <a:pt x="6" y="14"/>
                    <a:pt x="6" y="14"/>
                  </a:cubicBezTo>
                  <a:cubicBezTo>
                    <a:pt x="6" y="14"/>
                    <a:pt x="6" y="14"/>
                    <a:pt x="5" y="14"/>
                  </a:cubicBezTo>
                  <a:cubicBezTo>
                    <a:pt x="5" y="14"/>
                    <a:pt x="5" y="14"/>
                    <a:pt x="4" y="14"/>
                  </a:cubicBezTo>
                  <a:cubicBezTo>
                    <a:pt x="4" y="14"/>
                    <a:pt x="4" y="14"/>
                    <a:pt x="4" y="14"/>
                  </a:cubicBezTo>
                  <a:cubicBezTo>
                    <a:pt x="4" y="14"/>
                    <a:pt x="4" y="14"/>
                    <a:pt x="4" y="14"/>
                  </a:cubicBezTo>
                  <a:cubicBezTo>
                    <a:pt x="3" y="14"/>
                    <a:pt x="3" y="14"/>
                    <a:pt x="3" y="14"/>
                  </a:cubicBezTo>
                  <a:cubicBezTo>
                    <a:pt x="3" y="14"/>
                    <a:pt x="2" y="14"/>
                    <a:pt x="2" y="14"/>
                  </a:cubicBezTo>
                  <a:cubicBezTo>
                    <a:pt x="2" y="14"/>
                    <a:pt x="2" y="14"/>
                    <a:pt x="1" y="14"/>
                  </a:cubicBezTo>
                  <a:cubicBezTo>
                    <a:pt x="1" y="14"/>
                    <a:pt x="1" y="17"/>
                    <a:pt x="0" y="18"/>
                  </a:cubicBezTo>
                  <a:cubicBezTo>
                    <a:pt x="4" y="19"/>
                    <a:pt x="3" y="20"/>
                    <a:pt x="5" y="23"/>
                  </a:cubicBezTo>
                  <a:cubicBezTo>
                    <a:pt x="6" y="24"/>
                    <a:pt x="5" y="24"/>
                    <a:pt x="6" y="25"/>
                  </a:cubicBezTo>
                  <a:cubicBezTo>
                    <a:pt x="7" y="25"/>
                    <a:pt x="7" y="25"/>
                    <a:pt x="7" y="25"/>
                  </a:cubicBezTo>
                  <a:cubicBezTo>
                    <a:pt x="9" y="25"/>
                    <a:pt x="14" y="23"/>
                    <a:pt x="15" y="22"/>
                  </a:cubicBezTo>
                  <a:cubicBezTo>
                    <a:pt x="20" y="21"/>
                    <a:pt x="25" y="20"/>
                    <a:pt x="30" y="19"/>
                  </a:cubicBezTo>
                  <a:cubicBezTo>
                    <a:pt x="32" y="18"/>
                    <a:pt x="35" y="17"/>
                    <a:pt x="38" y="17"/>
                  </a:cubicBezTo>
                  <a:cubicBezTo>
                    <a:pt x="38" y="17"/>
                    <a:pt x="39" y="17"/>
                    <a:pt x="39" y="17"/>
                  </a:cubicBezTo>
                  <a:cubicBezTo>
                    <a:pt x="40" y="18"/>
                    <a:pt x="40" y="17"/>
                    <a:pt x="40" y="18"/>
                  </a:cubicBezTo>
                  <a:cubicBezTo>
                    <a:pt x="40" y="16"/>
                    <a:pt x="40" y="13"/>
                    <a:pt x="39" y="11"/>
                  </a:cubicBezTo>
                  <a:cubicBezTo>
                    <a:pt x="36" y="13"/>
                    <a:pt x="32" y="18"/>
                    <a:pt x="29" y="18"/>
                  </a:cubicBezTo>
                  <a:cubicBezTo>
                    <a:pt x="29" y="18"/>
                    <a:pt x="29" y="18"/>
                    <a:pt x="29" y="18"/>
                  </a:cubicBezTo>
                  <a:cubicBezTo>
                    <a:pt x="28" y="11"/>
                    <a:pt x="42" y="6"/>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1356"/>
            <p:cNvSpPr/>
            <p:nvPr/>
          </p:nvSpPr>
          <p:spPr bwMode="auto">
            <a:xfrm>
              <a:off x="5841" y="2222"/>
              <a:ext cx="7" cy="7"/>
            </a:xfrm>
            <a:custGeom>
              <a:gdLst>
                <a:gd name="T0" fmla="*/ 3 w 3"/>
                <a:gd name="T1" fmla="*/ 0 h 3"/>
                <a:gd name="T2" fmla="*/ 0 w 3"/>
                <a:gd name="T3" fmla="*/ 3 h 3"/>
                <a:gd name="T4" fmla="*/ 3 w 3"/>
                <a:gd name="T5" fmla="*/ 0 h 3"/>
                <a:gd name="T6" fmla="*/ 3 w 3"/>
                <a:gd name="T7" fmla="*/ 0 h 3"/>
              </a:gdLst>
              <a:cxnLst>
                <a:cxn ang="0">
                  <a:pos x="T0" y="T1"/>
                </a:cxn>
                <a:cxn ang="0">
                  <a:pos x="T2" y="T3"/>
                </a:cxn>
                <a:cxn ang="0">
                  <a:pos x="T4" y="T5"/>
                </a:cxn>
                <a:cxn ang="0">
                  <a:pos x="T6" y="T7"/>
                </a:cxn>
              </a:cxnLst>
              <a:rect l="0" t="0" r="r" b="b"/>
              <a:pathLst>
                <a:path w="3" h="3">
                  <a:moveTo>
                    <a:pt x="3" y="0"/>
                  </a:moveTo>
                  <a:cubicBezTo>
                    <a:pt x="1" y="0"/>
                    <a:pt x="0" y="1"/>
                    <a:pt x="0" y="3"/>
                  </a:cubicBezTo>
                  <a:cubicBezTo>
                    <a:pt x="1" y="2"/>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1357"/>
            <p:cNvSpPr/>
            <p:nvPr/>
          </p:nvSpPr>
          <p:spPr bwMode="auto">
            <a:xfrm>
              <a:off x="5992" y="2234"/>
              <a:ext cx="5" cy="12"/>
            </a:xfrm>
            <a:custGeom>
              <a:gdLst>
                <a:gd name="T0" fmla="*/ 1 w 2"/>
                <a:gd name="T1" fmla="*/ 0 h 5"/>
                <a:gd name="T2" fmla="*/ 0 w 2"/>
                <a:gd name="T3" fmla="*/ 5 h 5"/>
                <a:gd name="T4" fmla="*/ 1 w 2"/>
                <a:gd name="T5" fmla="*/ 0 h 5"/>
              </a:gdLst>
              <a:cxnLst>
                <a:cxn ang="0">
                  <a:pos x="T0" y="T1"/>
                </a:cxn>
                <a:cxn ang="0">
                  <a:pos x="T2" y="T3"/>
                </a:cxn>
                <a:cxn ang="0">
                  <a:pos x="T4" y="T5"/>
                </a:cxn>
              </a:cxnLst>
              <a:rect l="0" t="0" r="r" b="b"/>
              <a:pathLst>
                <a:path w="2" h="5">
                  <a:moveTo>
                    <a:pt x="1" y="0"/>
                  </a:moveTo>
                  <a:cubicBezTo>
                    <a:pt x="1" y="2"/>
                    <a:pt x="0" y="3"/>
                    <a:pt x="0" y="5"/>
                  </a:cubicBezTo>
                  <a:cubicBezTo>
                    <a:pt x="1"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1358"/>
            <p:cNvSpPr/>
            <p:nvPr/>
          </p:nvSpPr>
          <p:spPr bwMode="auto">
            <a:xfrm>
              <a:off x="5982" y="2284"/>
              <a:ext cx="8" cy="11"/>
            </a:xfrm>
            <a:custGeom>
              <a:gdLst>
                <a:gd name="T0" fmla="*/ 1 w 3"/>
                <a:gd name="T1" fmla="*/ 0 h 5"/>
                <a:gd name="T2" fmla="*/ 2 w 3"/>
                <a:gd name="T3" fmla="*/ 5 h 5"/>
                <a:gd name="T4" fmla="*/ 1 w 3"/>
                <a:gd name="T5" fmla="*/ 0 h 5"/>
              </a:gdLst>
              <a:cxnLst>
                <a:cxn ang="0">
                  <a:pos x="T0" y="T1"/>
                </a:cxn>
                <a:cxn ang="0">
                  <a:pos x="T2" y="T3"/>
                </a:cxn>
                <a:cxn ang="0">
                  <a:pos x="T4" y="T5"/>
                </a:cxn>
              </a:cxnLst>
              <a:rect l="0" t="0" r="r" b="b"/>
              <a:pathLst>
                <a:path w="3" h="5">
                  <a:moveTo>
                    <a:pt x="1" y="0"/>
                  </a:moveTo>
                  <a:cubicBezTo>
                    <a:pt x="0" y="0"/>
                    <a:pt x="0" y="2"/>
                    <a:pt x="2" y="5"/>
                  </a:cubicBezTo>
                  <a:cubicBezTo>
                    <a:pt x="3" y="3"/>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1359"/>
            <p:cNvSpPr/>
            <p:nvPr/>
          </p:nvSpPr>
          <p:spPr bwMode="auto">
            <a:xfrm>
              <a:off x="5857" y="2199"/>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1360"/>
            <p:cNvSpPr/>
            <p:nvPr/>
          </p:nvSpPr>
          <p:spPr bwMode="auto">
            <a:xfrm>
              <a:off x="5893" y="2355"/>
              <a:ext cx="40" cy="16"/>
            </a:xfrm>
            <a:custGeom>
              <a:gdLst>
                <a:gd name="T0" fmla="*/ 12 w 17"/>
                <a:gd name="T1" fmla="*/ 0 h 7"/>
                <a:gd name="T2" fmla="*/ 0 w 17"/>
                <a:gd name="T3" fmla="*/ 5 h 7"/>
                <a:gd name="T4" fmla="*/ 4 w 17"/>
                <a:gd name="T5" fmla="*/ 7 h 7"/>
                <a:gd name="T6" fmla="*/ 5 w 17"/>
                <a:gd name="T7" fmla="*/ 7 h 7"/>
                <a:gd name="T8" fmla="*/ 9 w 17"/>
                <a:gd name="T9" fmla="*/ 3 h 7"/>
                <a:gd name="T10" fmla="*/ 10 w 17"/>
                <a:gd name="T11" fmla="*/ 2 h 7"/>
                <a:gd name="T12" fmla="*/ 12 w 17"/>
                <a:gd name="T13" fmla="*/ 3 h 7"/>
                <a:gd name="T14" fmla="*/ 13 w 17"/>
                <a:gd name="T15" fmla="*/ 3 h 7"/>
                <a:gd name="T16" fmla="*/ 14 w 17"/>
                <a:gd name="T17" fmla="*/ 3 h 7"/>
                <a:gd name="T18" fmla="*/ 12 w 17"/>
                <a:gd name="T19" fmla="*/ 0 h 7"/>
                <a:gd name="T20" fmla="*/ 12 w 17"/>
                <a:gd name="T2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7">
                  <a:moveTo>
                    <a:pt x="12" y="0"/>
                  </a:moveTo>
                  <a:cubicBezTo>
                    <a:pt x="8" y="0"/>
                    <a:pt x="4" y="4"/>
                    <a:pt x="0" y="5"/>
                  </a:cubicBezTo>
                  <a:cubicBezTo>
                    <a:pt x="2" y="6"/>
                    <a:pt x="3" y="6"/>
                    <a:pt x="4" y="7"/>
                  </a:cubicBezTo>
                  <a:cubicBezTo>
                    <a:pt x="4" y="7"/>
                    <a:pt x="5" y="7"/>
                    <a:pt x="5" y="7"/>
                  </a:cubicBezTo>
                  <a:cubicBezTo>
                    <a:pt x="8" y="7"/>
                    <a:pt x="6" y="3"/>
                    <a:pt x="9" y="3"/>
                  </a:cubicBezTo>
                  <a:cubicBezTo>
                    <a:pt x="9" y="2"/>
                    <a:pt x="10" y="2"/>
                    <a:pt x="10" y="2"/>
                  </a:cubicBezTo>
                  <a:cubicBezTo>
                    <a:pt x="11" y="2"/>
                    <a:pt x="11" y="3"/>
                    <a:pt x="12" y="3"/>
                  </a:cubicBezTo>
                  <a:cubicBezTo>
                    <a:pt x="12" y="3"/>
                    <a:pt x="13" y="3"/>
                    <a:pt x="13" y="3"/>
                  </a:cubicBezTo>
                  <a:cubicBezTo>
                    <a:pt x="13" y="3"/>
                    <a:pt x="14" y="3"/>
                    <a:pt x="14" y="3"/>
                  </a:cubicBezTo>
                  <a:cubicBezTo>
                    <a:pt x="17" y="3"/>
                    <a:pt x="16"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1361"/>
            <p:cNvSpPr/>
            <p:nvPr/>
          </p:nvSpPr>
          <p:spPr bwMode="auto">
            <a:xfrm>
              <a:off x="3645" y="59"/>
              <a:ext cx="7" cy="5"/>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1"/>
                    <a:pt x="1" y="2"/>
                    <a:pt x="0" y="2"/>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1362"/>
            <p:cNvSpPr/>
            <p:nvPr/>
          </p:nvSpPr>
          <p:spPr bwMode="auto">
            <a:xfrm flipH="1">
              <a:off x="3676" y="0"/>
              <a:ext cx="0" cy="10"/>
            </a:xfrm>
            <a:custGeom>
              <a:gdLst>
                <a:gd name="T0" fmla="*/ 0 h 4"/>
                <a:gd name="T1" fmla="*/ 0 h 4"/>
                <a:gd name="T2" fmla="*/ 4 h 4"/>
                <a:gd name="T3" fmla="*/ 0 h 4"/>
              </a:gdLst>
              <a:cxnLst>
                <a:cxn ang="0">
                  <a:pos x="0" y="T0"/>
                </a:cxn>
                <a:cxn ang="0">
                  <a:pos x="0" y="T1"/>
                </a:cxn>
                <a:cxn ang="0">
                  <a:pos x="0" y="T2"/>
                </a:cxn>
                <a:cxn ang="0">
                  <a:pos x="0" y="T3"/>
                </a:cxn>
              </a:cxnLst>
              <a:rect l="0" t="0" r="r" b="b"/>
              <a:pathLst>
                <a:path h="4">
                  <a:moveTo>
                    <a:pt x="0" y="0"/>
                  </a:moveTo>
                  <a:cubicBezTo>
                    <a:pt x="0" y="0"/>
                    <a:pt x="0" y="0"/>
                    <a:pt x="0" y="0"/>
                  </a:cubicBezTo>
                  <a:cubicBezTo>
                    <a:pt x="0" y="1"/>
                    <a:pt x="0" y="2"/>
                    <a:pt x="0" y="4"/>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1363"/>
            <p:cNvSpPr/>
            <p:nvPr/>
          </p:nvSpPr>
          <p:spPr bwMode="auto">
            <a:xfrm>
              <a:off x="748" y="253"/>
              <a:ext cx="5" cy="12"/>
            </a:xfrm>
            <a:custGeom>
              <a:gdLst>
                <a:gd name="T0" fmla="*/ 2 w 2"/>
                <a:gd name="T1" fmla="*/ 0 h 5"/>
                <a:gd name="T2" fmla="*/ 2 w 2"/>
                <a:gd name="T3" fmla="*/ 5 h 5"/>
                <a:gd name="T4" fmla="*/ 2 w 2"/>
                <a:gd name="T5" fmla="*/ 0 h 5"/>
              </a:gdLst>
              <a:cxnLst>
                <a:cxn ang="0">
                  <a:pos x="T0" y="T1"/>
                </a:cxn>
                <a:cxn ang="0">
                  <a:pos x="T2" y="T3"/>
                </a:cxn>
                <a:cxn ang="0">
                  <a:pos x="T4" y="T5"/>
                </a:cxn>
              </a:cxnLst>
              <a:rect l="0" t="0" r="r" b="b"/>
              <a:pathLst>
                <a:path w="2" h="5">
                  <a:moveTo>
                    <a:pt x="2" y="0"/>
                  </a:moveTo>
                  <a:cubicBezTo>
                    <a:pt x="1" y="2"/>
                    <a:pt x="0" y="4"/>
                    <a:pt x="2" y="5"/>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1364"/>
            <p:cNvSpPr/>
            <p:nvPr/>
          </p:nvSpPr>
          <p:spPr bwMode="auto">
            <a:xfrm>
              <a:off x="4553" y="1558"/>
              <a:ext cx="101" cy="69"/>
            </a:xfrm>
            <a:custGeom>
              <a:gdLst>
                <a:gd name="T0" fmla="*/ 2 w 43"/>
                <a:gd name="T1" fmla="*/ 0 h 29"/>
                <a:gd name="T2" fmla="*/ 1 w 43"/>
                <a:gd name="T3" fmla="*/ 0 h 29"/>
                <a:gd name="T4" fmla="*/ 2 w 43"/>
                <a:gd name="T5" fmla="*/ 1 h 29"/>
                <a:gd name="T6" fmla="*/ 5 w 43"/>
                <a:gd name="T7" fmla="*/ 3 h 29"/>
                <a:gd name="T8" fmla="*/ 5 w 43"/>
                <a:gd name="T9" fmla="*/ 7 h 29"/>
                <a:gd name="T10" fmla="*/ 8 w 43"/>
                <a:gd name="T11" fmla="*/ 8 h 29"/>
                <a:gd name="T12" fmla="*/ 20 w 43"/>
                <a:gd name="T13" fmla="*/ 17 h 29"/>
                <a:gd name="T14" fmla="*/ 34 w 43"/>
                <a:gd name="T15" fmla="*/ 25 h 29"/>
                <a:gd name="T16" fmla="*/ 35 w 43"/>
                <a:gd name="T17" fmla="*/ 25 h 29"/>
                <a:gd name="T18" fmla="*/ 43 w 43"/>
                <a:gd name="T19" fmla="*/ 29 h 29"/>
                <a:gd name="T20" fmla="*/ 41 w 43"/>
                <a:gd name="T21" fmla="*/ 27 h 29"/>
                <a:gd name="T22" fmla="*/ 40 w 43"/>
                <a:gd name="T23" fmla="*/ 26 h 29"/>
                <a:gd name="T24" fmla="*/ 41 w 43"/>
                <a:gd name="T25" fmla="*/ 24 h 29"/>
                <a:gd name="T26" fmla="*/ 39 w 43"/>
                <a:gd name="T27" fmla="*/ 21 h 29"/>
                <a:gd name="T28" fmla="*/ 32 w 43"/>
                <a:gd name="T29" fmla="*/ 16 h 29"/>
                <a:gd name="T30" fmla="*/ 22 w 43"/>
                <a:gd name="T31" fmla="*/ 11 h 29"/>
                <a:gd name="T32" fmla="*/ 22 w 43"/>
                <a:gd name="T33" fmla="*/ 11 h 29"/>
                <a:gd name="T34" fmla="*/ 21 w 43"/>
                <a:gd name="T35" fmla="*/ 11 h 29"/>
                <a:gd name="T36" fmla="*/ 21 w 43"/>
                <a:gd name="T37" fmla="*/ 11 h 29"/>
                <a:gd name="T38" fmla="*/ 20 w 43"/>
                <a:gd name="T39" fmla="*/ 11 h 29"/>
                <a:gd name="T40" fmla="*/ 15 w 43"/>
                <a:gd name="T41" fmla="*/ 6 h 29"/>
                <a:gd name="T42" fmla="*/ 7 w 43"/>
                <a:gd name="T43" fmla="*/ 1 h 29"/>
                <a:gd name="T44" fmla="*/ 2 w 43"/>
                <a:gd name="T45"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28">
                  <a:moveTo>
                    <a:pt x="2" y="0"/>
                  </a:moveTo>
                  <a:cubicBezTo>
                    <a:pt x="1" y="0"/>
                    <a:pt x="1" y="0"/>
                    <a:pt x="1" y="0"/>
                  </a:cubicBezTo>
                  <a:cubicBezTo>
                    <a:pt x="0" y="1"/>
                    <a:pt x="2" y="1"/>
                    <a:pt x="2" y="1"/>
                  </a:cubicBezTo>
                  <a:cubicBezTo>
                    <a:pt x="2" y="2"/>
                    <a:pt x="4" y="3"/>
                    <a:pt x="5" y="3"/>
                  </a:cubicBezTo>
                  <a:cubicBezTo>
                    <a:pt x="5" y="5"/>
                    <a:pt x="4" y="5"/>
                    <a:pt x="5" y="7"/>
                  </a:cubicBezTo>
                  <a:cubicBezTo>
                    <a:pt x="6" y="8"/>
                    <a:pt x="7" y="8"/>
                    <a:pt x="8" y="8"/>
                  </a:cubicBezTo>
                  <a:cubicBezTo>
                    <a:pt x="12" y="11"/>
                    <a:pt x="15" y="14"/>
                    <a:pt x="20" y="17"/>
                  </a:cubicBezTo>
                  <a:cubicBezTo>
                    <a:pt x="25" y="20"/>
                    <a:pt x="29" y="22"/>
                    <a:pt x="34" y="25"/>
                  </a:cubicBezTo>
                  <a:cubicBezTo>
                    <a:pt x="34" y="25"/>
                    <a:pt x="35" y="25"/>
                    <a:pt x="35" y="25"/>
                  </a:cubicBezTo>
                  <a:cubicBezTo>
                    <a:pt x="38" y="27"/>
                    <a:pt x="40" y="28"/>
                    <a:pt x="43" y="29"/>
                  </a:cubicBezTo>
                  <a:cubicBezTo>
                    <a:pt x="42" y="28"/>
                    <a:pt x="42" y="28"/>
                    <a:pt x="41" y="27"/>
                  </a:cubicBezTo>
                  <a:cubicBezTo>
                    <a:pt x="41" y="26"/>
                    <a:pt x="40" y="26"/>
                    <a:pt x="40" y="26"/>
                  </a:cubicBezTo>
                  <a:cubicBezTo>
                    <a:pt x="39" y="25"/>
                    <a:pt x="41" y="24"/>
                    <a:pt x="41" y="24"/>
                  </a:cubicBezTo>
                  <a:cubicBezTo>
                    <a:pt x="41" y="23"/>
                    <a:pt x="41" y="23"/>
                    <a:pt x="39" y="21"/>
                  </a:cubicBezTo>
                  <a:cubicBezTo>
                    <a:pt x="38" y="19"/>
                    <a:pt x="34" y="18"/>
                    <a:pt x="32" y="16"/>
                  </a:cubicBezTo>
                  <a:cubicBezTo>
                    <a:pt x="28" y="13"/>
                    <a:pt x="26" y="12"/>
                    <a:pt x="22" y="11"/>
                  </a:cubicBezTo>
                  <a:cubicBezTo>
                    <a:pt x="22" y="11"/>
                    <a:pt x="22" y="11"/>
                    <a:pt x="22" y="11"/>
                  </a:cubicBezTo>
                  <a:cubicBezTo>
                    <a:pt x="22" y="11"/>
                    <a:pt x="21" y="11"/>
                    <a:pt x="21" y="11"/>
                  </a:cubicBezTo>
                  <a:cubicBezTo>
                    <a:pt x="21" y="11"/>
                    <a:pt x="21" y="11"/>
                    <a:pt x="21" y="11"/>
                  </a:cubicBezTo>
                  <a:cubicBezTo>
                    <a:pt x="20" y="11"/>
                    <a:pt x="20" y="11"/>
                    <a:pt x="20" y="11"/>
                  </a:cubicBezTo>
                  <a:cubicBezTo>
                    <a:pt x="18" y="10"/>
                    <a:pt x="16" y="7"/>
                    <a:pt x="15" y="6"/>
                  </a:cubicBezTo>
                  <a:cubicBezTo>
                    <a:pt x="12" y="4"/>
                    <a:pt x="10" y="2"/>
                    <a:pt x="7" y="1"/>
                  </a:cubicBezTo>
                  <a:cubicBezTo>
                    <a:pt x="6"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1365"/>
            <p:cNvSpPr/>
            <p:nvPr/>
          </p:nvSpPr>
          <p:spPr bwMode="auto">
            <a:xfrm>
              <a:off x="4470" y="1589"/>
              <a:ext cx="47" cy="40"/>
            </a:xfrm>
            <a:custGeom>
              <a:gdLst>
                <a:gd name="T0" fmla="*/ 9 w 20"/>
                <a:gd name="T1" fmla="*/ 0 h 17"/>
                <a:gd name="T2" fmla="*/ 1 w 20"/>
                <a:gd name="T3" fmla="*/ 6 h 17"/>
                <a:gd name="T4" fmla="*/ 1 w 20"/>
                <a:gd name="T5" fmla="*/ 10 h 17"/>
                <a:gd name="T6" fmla="*/ 2 w 20"/>
                <a:gd name="T7" fmla="*/ 10 h 17"/>
                <a:gd name="T8" fmla="*/ 4 w 20"/>
                <a:gd name="T9" fmla="*/ 9 h 17"/>
                <a:gd name="T10" fmla="*/ 8 w 20"/>
                <a:gd name="T11" fmla="*/ 8 h 17"/>
                <a:gd name="T12" fmla="*/ 8 w 20"/>
                <a:gd name="T13" fmla="*/ 8 h 17"/>
                <a:gd name="T14" fmla="*/ 10 w 20"/>
                <a:gd name="T15" fmla="*/ 10 h 17"/>
                <a:gd name="T16" fmla="*/ 17 w 20"/>
                <a:gd name="T17" fmla="*/ 17 h 17"/>
                <a:gd name="T18" fmla="*/ 16 w 20"/>
                <a:gd name="T19" fmla="*/ 7 h 17"/>
                <a:gd name="T20" fmla="*/ 11 w 20"/>
                <a:gd name="T21" fmla="*/ 1 h 17"/>
                <a:gd name="T22" fmla="*/ 9 w 20"/>
                <a:gd name="T2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7">
                  <a:moveTo>
                    <a:pt x="9" y="0"/>
                  </a:moveTo>
                  <a:cubicBezTo>
                    <a:pt x="6" y="0"/>
                    <a:pt x="3" y="3"/>
                    <a:pt x="1" y="6"/>
                  </a:cubicBezTo>
                  <a:cubicBezTo>
                    <a:pt x="0" y="7"/>
                    <a:pt x="0" y="9"/>
                    <a:pt x="1" y="10"/>
                  </a:cubicBezTo>
                  <a:cubicBezTo>
                    <a:pt x="1" y="10"/>
                    <a:pt x="2" y="10"/>
                    <a:pt x="2" y="10"/>
                  </a:cubicBezTo>
                  <a:cubicBezTo>
                    <a:pt x="3" y="10"/>
                    <a:pt x="4" y="9"/>
                    <a:pt x="4" y="9"/>
                  </a:cubicBezTo>
                  <a:cubicBezTo>
                    <a:pt x="5" y="8"/>
                    <a:pt x="7" y="8"/>
                    <a:pt x="8" y="8"/>
                  </a:cubicBezTo>
                  <a:cubicBezTo>
                    <a:pt x="8" y="8"/>
                    <a:pt x="8" y="8"/>
                    <a:pt x="8" y="8"/>
                  </a:cubicBezTo>
                  <a:cubicBezTo>
                    <a:pt x="11" y="8"/>
                    <a:pt x="9" y="8"/>
                    <a:pt x="10" y="10"/>
                  </a:cubicBezTo>
                  <a:cubicBezTo>
                    <a:pt x="12" y="15"/>
                    <a:pt x="12" y="14"/>
                    <a:pt x="17" y="17"/>
                  </a:cubicBezTo>
                  <a:cubicBezTo>
                    <a:pt x="20" y="13"/>
                    <a:pt x="19" y="11"/>
                    <a:pt x="16" y="7"/>
                  </a:cubicBezTo>
                  <a:cubicBezTo>
                    <a:pt x="15" y="6"/>
                    <a:pt x="13" y="2"/>
                    <a:pt x="11" y="1"/>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1366"/>
            <p:cNvSpPr/>
            <p:nvPr/>
          </p:nvSpPr>
          <p:spPr bwMode="auto">
            <a:xfrm>
              <a:off x="4747" y="1742"/>
              <a:ext cx="78" cy="45"/>
            </a:xfrm>
            <a:custGeom>
              <a:gdLst>
                <a:gd name="T0" fmla="*/ 4 w 33"/>
                <a:gd name="T1" fmla="*/ 0 h 19"/>
                <a:gd name="T2" fmla="*/ 4 w 33"/>
                <a:gd name="T3" fmla="*/ 0 h 19"/>
                <a:gd name="T4" fmla="*/ 3 w 33"/>
                <a:gd name="T5" fmla="*/ 4 h 19"/>
                <a:gd name="T6" fmla="*/ 3 w 33"/>
                <a:gd name="T7" fmla="*/ 4 h 19"/>
                <a:gd name="T8" fmla="*/ 4 w 33"/>
                <a:gd name="T9" fmla="*/ 4 h 19"/>
                <a:gd name="T10" fmla="*/ 5 w 33"/>
                <a:gd name="T11" fmla="*/ 4 h 19"/>
                <a:gd name="T12" fmla="*/ 7 w 33"/>
                <a:gd name="T13" fmla="*/ 4 h 19"/>
                <a:gd name="T14" fmla="*/ 9 w 33"/>
                <a:gd name="T15" fmla="*/ 11 h 19"/>
                <a:gd name="T16" fmla="*/ 12 w 33"/>
                <a:gd name="T17" fmla="*/ 12 h 19"/>
                <a:gd name="T18" fmla="*/ 18 w 33"/>
                <a:gd name="T19" fmla="*/ 16 h 19"/>
                <a:gd name="T20" fmla="*/ 24 w 33"/>
                <a:gd name="T21" fmla="*/ 18 h 19"/>
                <a:gd name="T22" fmla="*/ 32 w 33"/>
                <a:gd name="T23" fmla="*/ 19 h 19"/>
                <a:gd name="T24" fmla="*/ 33 w 33"/>
                <a:gd name="T25" fmla="*/ 19 h 19"/>
                <a:gd name="T26" fmla="*/ 25 w 33"/>
                <a:gd name="T27" fmla="*/ 8 h 19"/>
                <a:gd name="T28" fmla="*/ 25 w 33"/>
                <a:gd name="T29" fmla="*/ 7 h 19"/>
                <a:gd name="T30" fmla="*/ 24 w 33"/>
                <a:gd name="T31" fmla="*/ 7 h 19"/>
                <a:gd name="T32" fmla="*/ 23 w 33"/>
                <a:gd name="T33" fmla="*/ 8 h 19"/>
                <a:gd name="T34" fmla="*/ 23 w 33"/>
                <a:gd name="T35" fmla="*/ 8 h 19"/>
                <a:gd name="T36" fmla="*/ 11 w 33"/>
                <a:gd name="T37" fmla="*/ 3 h 19"/>
                <a:gd name="T38" fmla="*/ 4 w 33"/>
                <a:gd name="T3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19">
                  <a:moveTo>
                    <a:pt x="4" y="0"/>
                  </a:moveTo>
                  <a:cubicBezTo>
                    <a:pt x="4" y="0"/>
                    <a:pt x="4" y="0"/>
                    <a:pt x="4" y="0"/>
                  </a:cubicBezTo>
                  <a:cubicBezTo>
                    <a:pt x="1" y="0"/>
                    <a:pt x="0" y="2"/>
                    <a:pt x="3" y="4"/>
                  </a:cubicBezTo>
                  <a:cubicBezTo>
                    <a:pt x="3" y="4"/>
                    <a:pt x="3" y="4"/>
                    <a:pt x="3" y="4"/>
                  </a:cubicBezTo>
                  <a:cubicBezTo>
                    <a:pt x="3" y="4"/>
                    <a:pt x="4" y="4"/>
                    <a:pt x="4" y="4"/>
                  </a:cubicBezTo>
                  <a:cubicBezTo>
                    <a:pt x="5" y="4"/>
                    <a:pt x="5" y="4"/>
                    <a:pt x="5" y="4"/>
                  </a:cubicBezTo>
                  <a:cubicBezTo>
                    <a:pt x="6" y="4"/>
                    <a:pt x="6" y="4"/>
                    <a:pt x="7" y="4"/>
                  </a:cubicBezTo>
                  <a:cubicBezTo>
                    <a:pt x="8" y="5"/>
                    <a:pt x="8" y="9"/>
                    <a:pt x="9" y="11"/>
                  </a:cubicBezTo>
                  <a:cubicBezTo>
                    <a:pt x="10" y="11"/>
                    <a:pt x="12" y="12"/>
                    <a:pt x="12" y="12"/>
                  </a:cubicBezTo>
                  <a:cubicBezTo>
                    <a:pt x="14" y="14"/>
                    <a:pt x="16" y="15"/>
                    <a:pt x="18" y="16"/>
                  </a:cubicBezTo>
                  <a:cubicBezTo>
                    <a:pt x="20" y="16"/>
                    <a:pt x="22" y="17"/>
                    <a:pt x="24" y="18"/>
                  </a:cubicBezTo>
                  <a:cubicBezTo>
                    <a:pt x="26" y="18"/>
                    <a:pt x="29" y="19"/>
                    <a:pt x="32" y="19"/>
                  </a:cubicBezTo>
                  <a:cubicBezTo>
                    <a:pt x="32" y="19"/>
                    <a:pt x="33" y="19"/>
                    <a:pt x="33" y="19"/>
                  </a:cubicBezTo>
                  <a:cubicBezTo>
                    <a:pt x="32" y="15"/>
                    <a:pt x="28" y="11"/>
                    <a:pt x="25" y="8"/>
                  </a:cubicBezTo>
                  <a:cubicBezTo>
                    <a:pt x="25" y="7"/>
                    <a:pt x="25" y="7"/>
                    <a:pt x="25" y="7"/>
                  </a:cubicBezTo>
                  <a:cubicBezTo>
                    <a:pt x="24" y="7"/>
                    <a:pt x="24" y="7"/>
                    <a:pt x="24" y="7"/>
                  </a:cubicBezTo>
                  <a:cubicBezTo>
                    <a:pt x="24" y="8"/>
                    <a:pt x="24" y="8"/>
                    <a:pt x="23" y="8"/>
                  </a:cubicBezTo>
                  <a:cubicBezTo>
                    <a:pt x="23" y="8"/>
                    <a:pt x="23" y="8"/>
                    <a:pt x="23" y="8"/>
                  </a:cubicBezTo>
                  <a:cubicBezTo>
                    <a:pt x="19" y="7"/>
                    <a:pt x="15" y="4"/>
                    <a:pt x="11" y="3"/>
                  </a:cubicBezTo>
                  <a:cubicBezTo>
                    <a:pt x="9" y="2"/>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1367"/>
            <p:cNvSpPr/>
            <p:nvPr/>
          </p:nvSpPr>
          <p:spPr bwMode="auto">
            <a:xfrm>
              <a:off x="4463" y="1601"/>
              <a:ext cx="7" cy="9"/>
            </a:xfrm>
            <a:custGeom>
              <a:gdLst>
                <a:gd name="T0" fmla="*/ 1 w 3"/>
                <a:gd name="T1" fmla="*/ 0 h 4"/>
                <a:gd name="T2" fmla="*/ 0 w 3"/>
                <a:gd name="T3" fmla="*/ 0 h 4"/>
                <a:gd name="T4" fmla="*/ 3 w 3"/>
                <a:gd name="T5" fmla="*/ 4 h 4"/>
                <a:gd name="T6" fmla="*/ 1 w 3"/>
                <a:gd name="T7" fmla="*/ 0 h 4"/>
              </a:gdLst>
              <a:cxnLst>
                <a:cxn ang="0">
                  <a:pos x="T0" y="T1"/>
                </a:cxn>
                <a:cxn ang="0">
                  <a:pos x="T2" y="T3"/>
                </a:cxn>
                <a:cxn ang="0">
                  <a:pos x="T4" y="T5"/>
                </a:cxn>
                <a:cxn ang="0">
                  <a:pos x="T6" y="T7"/>
                </a:cxn>
              </a:cxnLst>
              <a:rect l="0" t="0" r="r" b="b"/>
              <a:pathLst>
                <a:path w="3" h="4">
                  <a:moveTo>
                    <a:pt x="1" y="0"/>
                  </a:moveTo>
                  <a:cubicBezTo>
                    <a:pt x="0" y="0"/>
                    <a:pt x="0" y="0"/>
                    <a:pt x="0" y="0"/>
                  </a:cubicBezTo>
                  <a:cubicBezTo>
                    <a:pt x="1" y="1"/>
                    <a:pt x="2" y="3"/>
                    <a:pt x="3" y="4"/>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1368"/>
            <p:cNvSpPr/>
            <p:nvPr/>
          </p:nvSpPr>
          <p:spPr bwMode="auto">
            <a:xfrm>
              <a:off x="4699" y="1610"/>
              <a:ext cx="57" cy="92"/>
            </a:xfrm>
            <a:custGeom>
              <a:gdLst>
                <a:gd name="T0" fmla="*/ 5 w 24"/>
                <a:gd name="T1" fmla="*/ 0 h 39"/>
                <a:gd name="T2" fmla="*/ 5 w 24"/>
                <a:gd name="T3" fmla="*/ 2 h 39"/>
                <a:gd name="T4" fmla="*/ 2 w 24"/>
                <a:gd name="T5" fmla="*/ 1 h 39"/>
                <a:gd name="T6" fmla="*/ 3 w 24"/>
                <a:gd name="T7" fmla="*/ 5 h 39"/>
                <a:gd name="T8" fmla="*/ 3 w 24"/>
                <a:gd name="T9" fmla="*/ 10 h 39"/>
                <a:gd name="T10" fmla="*/ 9 w 24"/>
                <a:gd name="T11" fmla="*/ 25 h 39"/>
                <a:gd name="T12" fmla="*/ 24 w 24"/>
                <a:gd name="T13" fmla="*/ 39 h 39"/>
                <a:gd name="T14" fmla="*/ 24 w 24"/>
                <a:gd name="T15" fmla="*/ 35 h 39"/>
                <a:gd name="T16" fmla="*/ 22 w 24"/>
                <a:gd name="T17" fmla="*/ 32 h 39"/>
                <a:gd name="T18" fmla="*/ 21 w 24"/>
                <a:gd name="T19" fmla="*/ 28 h 39"/>
                <a:gd name="T20" fmla="*/ 18 w 24"/>
                <a:gd name="T21" fmla="*/ 21 h 39"/>
                <a:gd name="T22" fmla="*/ 15 w 24"/>
                <a:gd name="T23" fmla="*/ 18 h 39"/>
                <a:gd name="T24" fmla="*/ 10 w 24"/>
                <a:gd name="T25" fmla="*/ 7 h 39"/>
                <a:gd name="T26" fmla="*/ 5 w 24"/>
                <a:gd name="T27" fmla="*/ 0 h 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9">
                  <a:moveTo>
                    <a:pt x="5" y="0"/>
                  </a:moveTo>
                  <a:cubicBezTo>
                    <a:pt x="5" y="1"/>
                    <a:pt x="5" y="1"/>
                    <a:pt x="5" y="2"/>
                  </a:cubicBezTo>
                  <a:cubicBezTo>
                    <a:pt x="3" y="1"/>
                    <a:pt x="2" y="1"/>
                    <a:pt x="2" y="1"/>
                  </a:cubicBezTo>
                  <a:cubicBezTo>
                    <a:pt x="0" y="1"/>
                    <a:pt x="2" y="3"/>
                    <a:pt x="3" y="5"/>
                  </a:cubicBezTo>
                  <a:cubicBezTo>
                    <a:pt x="5" y="8"/>
                    <a:pt x="4" y="8"/>
                    <a:pt x="3" y="10"/>
                  </a:cubicBezTo>
                  <a:cubicBezTo>
                    <a:pt x="3" y="14"/>
                    <a:pt x="7" y="22"/>
                    <a:pt x="9" y="25"/>
                  </a:cubicBezTo>
                  <a:cubicBezTo>
                    <a:pt x="14" y="30"/>
                    <a:pt x="19" y="35"/>
                    <a:pt x="24" y="39"/>
                  </a:cubicBezTo>
                  <a:cubicBezTo>
                    <a:pt x="24" y="38"/>
                    <a:pt x="24" y="36"/>
                    <a:pt x="24" y="35"/>
                  </a:cubicBezTo>
                  <a:cubicBezTo>
                    <a:pt x="23" y="34"/>
                    <a:pt x="22" y="33"/>
                    <a:pt x="22" y="32"/>
                  </a:cubicBezTo>
                  <a:cubicBezTo>
                    <a:pt x="21" y="30"/>
                    <a:pt x="21" y="30"/>
                    <a:pt x="21" y="28"/>
                  </a:cubicBezTo>
                  <a:cubicBezTo>
                    <a:pt x="20" y="26"/>
                    <a:pt x="20" y="23"/>
                    <a:pt x="18" y="21"/>
                  </a:cubicBezTo>
                  <a:cubicBezTo>
                    <a:pt x="17" y="20"/>
                    <a:pt x="16" y="18"/>
                    <a:pt x="15" y="18"/>
                  </a:cubicBezTo>
                  <a:cubicBezTo>
                    <a:pt x="13" y="15"/>
                    <a:pt x="13" y="10"/>
                    <a:pt x="10" y="7"/>
                  </a:cubicBezTo>
                  <a:cubicBezTo>
                    <a:pt x="9" y="5"/>
                    <a:pt x="8"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1369"/>
            <p:cNvSpPr/>
            <p:nvPr/>
          </p:nvSpPr>
          <p:spPr bwMode="auto">
            <a:xfrm>
              <a:off x="4425" y="1586"/>
              <a:ext cx="5" cy="17"/>
            </a:xfrm>
            <a:custGeom>
              <a:gdLst>
                <a:gd name="T0" fmla="*/ 0 w 2"/>
                <a:gd name="T1" fmla="*/ 0 h 7"/>
                <a:gd name="T2" fmla="*/ 1 w 2"/>
                <a:gd name="T3" fmla="*/ 7 h 7"/>
                <a:gd name="T4" fmla="*/ 0 w 2"/>
                <a:gd name="T5" fmla="*/ 0 h 7"/>
              </a:gdLst>
              <a:cxnLst>
                <a:cxn ang="0">
                  <a:pos x="T0" y="T1"/>
                </a:cxn>
                <a:cxn ang="0">
                  <a:pos x="T2" y="T3"/>
                </a:cxn>
                <a:cxn ang="0">
                  <a:pos x="T4" y="T5"/>
                </a:cxn>
              </a:cxnLst>
              <a:rect l="0" t="0" r="r" b="b"/>
              <a:pathLst>
                <a:path w="2" h="7">
                  <a:moveTo>
                    <a:pt x="0" y="0"/>
                  </a:moveTo>
                  <a:cubicBezTo>
                    <a:pt x="0" y="2"/>
                    <a:pt x="1" y="5"/>
                    <a:pt x="1" y="7"/>
                  </a:cubicBezTo>
                  <a:cubicBezTo>
                    <a:pt x="2" y="5"/>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1370"/>
            <p:cNvSpPr/>
            <p:nvPr/>
          </p:nvSpPr>
          <p:spPr bwMode="auto">
            <a:xfrm>
              <a:off x="4487" y="1638"/>
              <a:ext cx="11" cy="7"/>
            </a:xfrm>
            <a:custGeom>
              <a:gdLst>
                <a:gd name="T0" fmla="*/ 2 w 5"/>
                <a:gd name="T1" fmla="*/ 0 h 3"/>
                <a:gd name="T2" fmla="*/ 0 w 5"/>
                <a:gd name="T3" fmla="*/ 0 h 3"/>
                <a:gd name="T4" fmla="*/ 5 w 5"/>
                <a:gd name="T5" fmla="*/ 3 h 3"/>
                <a:gd name="T6" fmla="*/ 2 w 5"/>
                <a:gd name="T7" fmla="*/ 0 h 3"/>
              </a:gdLst>
              <a:cxnLst>
                <a:cxn ang="0">
                  <a:pos x="T0" y="T1"/>
                </a:cxn>
                <a:cxn ang="0">
                  <a:pos x="T2" y="T3"/>
                </a:cxn>
                <a:cxn ang="0">
                  <a:pos x="T4" y="T5"/>
                </a:cxn>
                <a:cxn ang="0">
                  <a:pos x="T6" y="T7"/>
                </a:cxn>
              </a:cxnLst>
              <a:rect l="0" t="0" r="r" b="b"/>
              <a:pathLst>
                <a:path w="5" h="3">
                  <a:moveTo>
                    <a:pt x="2" y="0"/>
                  </a:moveTo>
                  <a:cubicBezTo>
                    <a:pt x="2" y="0"/>
                    <a:pt x="1" y="0"/>
                    <a:pt x="0" y="0"/>
                  </a:cubicBezTo>
                  <a:cubicBezTo>
                    <a:pt x="2" y="1"/>
                    <a:pt x="3" y="2"/>
                    <a:pt x="5" y="3"/>
                  </a:cubicBezTo>
                  <a:cubicBezTo>
                    <a:pt x="4"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1371"/>
            <p:cNvSpPr/>
            <p:nvPr/>
          </p:nvSpPr>
          <p:spPr bwMode="auto">
            <a:xfrm>
              <a:off x="4468" y="1619"/>
              <a:ext cx="21" cy="22"/>
            </a:xfrm>
            <a:custGeom>
              <a:gdLst>
                <a:gd name="T0" fmla="*/ 5 w 9"/>
                <a:gd name="T1" fmla="*/ 0 h 9"/>
                <a:gd name="T2" fmla="*/ 2 w 9"/>
                <a:gd name="T3" fmla="*/ 2 h 9"/>
                <a:gd name="T4" fmla="*/ 6 w 9"/>
                <a:gd name="T5" fmla="*/ 9 h 9"/>
                <a:gd name="T6" fmla="*/ 6 w 9"/>
                <a:gd name="T7" fmla="*/ 0 h 9"/>
                <a:gd name="T8" fmla="*/ 5 w 9"/>
                <a:gd name="T9" fmla="*/ 0 h 9"/>
              </a:gdLst>
              <a:cxnLst>
                <a:cxn ang="0">
                  <a:pos x="T0" y="T1"/>
                </a:cxn>
                <a:cxn ang="0">
                  <a:pos x="T2" y="T3"/>
                </a:cxn>
                <a:cxn ang="0">
                  <a:pos x="T4" y="T5"/>
                </a:cxn>
                <a:cxn ang="0">
                  <a:pos x="T6" y="T7"/>
                </a:cxn>
                <a:cxn ang="0">
                  <a:pos x="T8" y="T9"/>
                </a:cxn>
              </a:cxnLst>
              <a:rect l="0" t="0" r="r" b="b"/>
              <a:pathLst>
                <a:path w="9" h="9">
                  <a:moveTo>
                    <a:pt x="5" y="0"/>
                  </a:moveTo>
                  <a:cubicBezTo>
                    <a:pt x="4" y="0"/>
                    <a:pt x="2" y="1"/>
                    <a:pt x="2" y="2"/>
                  </a:cubicBezTo>
                  <a:cubicBezTo>
                    <a:pt x="0" y="5"/>
                    <a:pt x="3" y="7"/>
                    <a:pt x="6" y="9"/>
                  </a:cubicBezTo>
                  <a:cubicBezTo>
                    <a:pt x="2" y="4"/>
                    <a:pt x="9" y="4"/>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1372"/>
            <p:cNvSpPr/>
            <p:nvPr/>
          </p:nvSpPr>
          <p:spPr bwMode="auto">
            <a:xfrm>
              <a:off x="4416" y="1494"/>
              <a:ext cx="80" cy="52"/>
            </a:xfrm>
            <a:custGeom>
              <a:gdLst>
                <a:gd name="T0" fmla="*/ 3 w 34"/>
                <a:gd name="T1" fmla="*/ 0 h 22"/>
                <a:gd name="T2" fmla="*/ 1 w 34"/>
                <a:gd name="T3" fmla="*/ 3 h 22"/>
                <a:gd name="T4" fmla="*/ 7 w 34"/>
                <a:gd name="T5" fmla="*/ 8 h 22"/>
                <a:gd name="T6" fmla="*/ 12 w 34"/>
                <a:gd name="T7" fmla="*/ 15 h 22"/>
                <a:gd name="T8" fmla="*/ 24 w 34"/>
                <a:gd name="T9" fmla="*/ 22 h 22"/>
                <a:gd name="T10" fmla="*/ 27 w 34"/>
                <a:gd name="T11" fmla="*/ 22 h 22"/>
                <a:gd name="T12" fmla="*/ 32 w 34"/>
                <a:gd name="T13" fmla="*/ 20 h 22"/>
                <a:gd name="T14" fmla="*/ 26 w 34"/>
                <a:gd name="T15" fmla="*/ 19 h 22"/>
                <a:gd name="T16" fmla="*/ 22 w 34"/>
                <a:gd name="T17" fmla="*/ 16 h 22"/>
                <a:gd name="T18" fmla="*/ 17 w 34"/>
                <a:gd name="T19" fmla="*/ 8 h 22"/>
                <a:gd name="T20" fmla="*/ 10 w 34"/>
                <a:gd name="T21" fmla="*/ 4 h 22"/>
                <a:gd name="T22" fmla="*/ 5 w 34"/>
                <a:gd name="T23" fmla="*/ 1 h 22"/>
                <a:gd name="T24" fmla="*/ 3 w 34"/>
                <a:gd name="T25"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22">
                  <a:moveTo>
                    <a:pt x="3" y="0"/>
                  </a:moveTo>
                  <a:cubicBezTo>
                    <a:pt x="1" y="0"/>
                    <a:pt x="0" y="1"/>
                    <a:pt x="1" y="3"/>
                  </a:cubicBezTo>
                  <a:cubicBezTo>
                    <a:pt x="2" y="5"/>
                    <a:pt x="5" y="6"/>
                    <a:pt x="7" y="8"/>
                  </a:cubicBezTo>
                  <a:cubicBezTo>
                    <a:pt x="9" y="10"/>
                    <a:pt x="10" y="12"/>
                    <a:pt x="12" y="15"/>
                  </a:cubicBezTo>
                  <a:cubicBezTo>
                    <a:pt x="17" y="18"/>
                    <a:pt x="19" y="20"/>
                    <a:pt x="24" y="22"/>
                  </a:cubicBezTo>
                  <a:cubicBezTo>
                    <a:pt x="25" y="22"/>
                    <a:pt x="26" y="22"/>
                    <a:pt x="27" y="22"/>
                  </a:cubicBezTo>
                  <a:cubicBezTo>
                    <a:pt x="30" y="22"/>
                    <a:pt x="34" y="22"/>
                    <a:pt x="32" y="20"/>
                  </a:cubicBezTo>
                  <a:cubicBezTo>
                    <a:pt x="31" y="20"/>
                    <a:pt x="28" y="20"/>
                    <a:pt x="26" y="19"/>
                  </a:cubicBezTo>
                  <a:cubicBezTo>
                    <a:pt x="25" y="19"/>
                    <a:pt x="23" y="17"/>
                    <a:pt x="22" y="16"/>
                  </a:cubicBezTo>
                  <a:cubicBezTo>
                    <a:pt x="20" y="13"/>
                    <a:pt x="21" y="10"/>
                    <a:pt x="17" y="8"/>
                  </a:cubicBezTo>
                  <a:cubicBezTo>
                    <a:pt x="15" y="7"/>
                    <a:pt x="12" y="6"/>
                    <a:pt x="10" y="4"/>
                  </a:cubicBezTo>
                  <a:cubicBezTo>
                    <a:pt x="8" y="3"/>
                    <a:pt x="7" y="2"/>
                    <a:pt x="5"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1373"/>
            <p:cNvSpPr/>
            <p:nvPr/>
          </p:nvSpPr>
          <p:spPr bwMode="auto">
            <a:xfrm>
              <a:off x="4543" y="1553"/>
              <a:ext cx="10" cy="7"/>
            </a:xfrm>
            <a:custGeom>
              <a:gdLst>
                <a:gd name="T0" fmla="*/ 0 w 4"/>
                <a:gd name="T1" fmla="*/ 0 h 3"/>
                <a:gd name="T2" fmla="*/ 4 w 4"/>
                <a:gd name="T3" fmla="*/ 3 h 3"/>
                <a:gd name="T4" fmla="*/ 0 w 4"/>
                <a:gd name="T5" fmla="*/ 0 h 3"/>
              </a:gdLst>
              <a:cxnLst>
                <a:cxn ang="0">
                  <a:pos x="T0" y="T1"/>
                </a:cxn>
                <a:cxn ang="0">
                  <a:pos x="T2" y="T3"/>
                </a:cxn>
                <a:cxn ang="0">
                  <a:pos x="T4" y="T5"/>
                </a:cxn>
              </a:cxnLst>
              <a:rect l="0" t="0" r="r" b="b"/>
              <a:pathLst>
                <a:path w="4" h="3">
                  <a:moveTo>
                    <a:pt x="0" y="0"/>
                  </a:moveTo>
                  <a:cubicBezTo>
                    <a:pt x="2" y="1"/>
                    <a:pt x="3" y="2"/>
                    <a:pt x="4" y="3"/>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1374"/>
            <p:cNvSpPr/>
            <p:nvPr/>
          </p:nvSpPr>
          <p:spPr bwMode="auto">
            <a:xfrm>
              <a:off x="4794" y="1707"/>
              <a:ext cx="2" cy="12"/>
            </a:xfrm>
            <a:custGeom>
              <a:gdLst>
                <a:gd name="T0" fmla="*/ 1 w 1"/>
                <a:gd name="T1" fmla="*/ 0 h 5"/>
                <a:gd name="T2" fmla="*/ 1 w 1"/>
                <a:gd name="T3" fmla="*/ 5 h 5"/>
                <a:gd name="T4" fmla="*/ 1 w 1"/>
                <a:gd name="T5" fmla="*/ 0 h 5"/>
              </a:gdLst>
              <a:cxnLst>
                <a:cxn ang="0">
                  <a:pos x="T0" y="T1"/>
                </a:cxn>
                <a:cxn ang="0">
                  <a:pos x="T2" y="T3"/>
                </a:cxn>
                <a:cxn ang="0">
                  <a:pos x="T4" y="T5"/>
                </a:cxn>
              </a:cxnLst>
              <a:rect l="0" t="0" r="r" b="b"/>
              <a:pathLst>
                <a:path w="1" h="5">
                  <a:moveTo>
                    <a:pt x="1" y="0"/>
                  </a:moveTo>
                  <a:cubicBezTo>
                    <a:pt x="0" y="1"/>
                    <a:pt x="1" y="3"/>
                    <a:pt x="1" y="5"/>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1375"/>
            <p:cNvSpPr/>
            <p:nvPr/>
          </p:nvSpPr>
          <p:spPr bwMode="auto">
            <a:xfrm>
              <a:off x="4631" y="1676"/>
              <a:ext cx="85" cy="47"/>
            </a:xfrm>
            <a:custGeom>
              <a:gdLst>
                <a:gd name="T0" fmla="*/ 4 w 36"/>
                <a:gd name="T1" fmla="*/ 0 h 20"/>
                <a:gd name="T2" fmla="*/ 1 w 36"/>
                <a:gd name="T3" fmla="*/ 2 h 20"/>
                <a:gd name="T4" fmla="*/ 3 w 36"/>
                <a:gd name="T5" fmla="*/ 10 h 20"/>
                <a:gd name="T6" fmla="*/ 14 w 36"/>
                <a:gd name="T7" fmla="*/ 17 h 20"/>
                <a:gd name="T8" fmla="*/ 15 w 36"/>
                <a:gd name="T9" fmla="*/ 17 h 20"/>
                <a:gd name="T10" fmla="*/ 17 w 36"/>
                <a:gd name="T11" fmla="*/ 16 h 20"/>
                <a:gd name="T12" fmla="*/ 20 w 36"/>
                <a:gd name="T13" fmla="*/ 16 h 20"/>
                <a:gd name="T14" fmla="*/ 23 w 36"/>
                <a:gd name="T15" fmla="*/ 17 h 20"/>
                <a:gd name="T16" fmla="*/ 25 w 36"/>
                <a:gd name="T17" fmla="*/ 19 h 20"/>
                <a:gd name="T18" fmla="*/ 32 w 36"/>
                <a:gd name="T19" fmla="*/ 20 h 20"/>
                <a:gd name="T20" fmla="*/ 35 w 36"/>
                <a:gd name="T21" fmla="*/ 14 h 20"/>
                <a:gd name="T22" fmla="*/ 34 w 36"/>
                <a:gd name="T23" fmla="*/ 13 h 20"/>
                <a:gd name="T24" fmla="*/ 30 w 36"/>
                <a:gd name="T25" fmla="*/ 9 h 20"/>
                <a:gd name="T26" fmla="*/ 18 w 36"/>
                <a:gd name="T27" fmla="*/ 5 h 20"/>
                <a:gd name="T28" fmla="*/ 18 w 36"/>
                <a:gd name="T29" fmla="*/ 5 h 20"/>
                <a:gd name="T30" fmla="*/ 16 w 36"/>
                <a:gd name="T31" fmla="*/ 5 h 20"/>
                <a:gd name="T32" fmla="*/ 15 w 36"/>
                <a:gd name="T33" fmla="*/ 5 h 20"/>
                <a:gd name="T34" fmla="*/ 14 w 36"/>
                <a:gd name="T35" fmla="*/ 5 h 20"/>
                <a:gd name="T36" fmla="*/ 4 w 36"/>
                <a:gd name="T37"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20">
                  <a:moveTo>
                    <a:pt x="4" y="0"/>
                  </a:moveTo>
                  <a:cubicBezTo>
                    <a:pt x="3" y="0"/>
                    <a:pt x="2" y="1"/>
                    <a:pt x="1" y="2"/>
                  </a:cubicBezTo>
                  <a:cubicBezTo>
                    <a:pt x="0" y="5"/>
                    <a:pt x="2" y="8"/>
                    <a:pt x="3" y="10"/>
                  </a:cubicBezTo>
                  <a:cubicBezTo>
                    <a:pt x="6" y="15"/>
                    <a:pt x="9" y="16"/>
                    <a:pt x="14" y="17"/>
                  </a:cubicBezTo>
                  <a:cubicBezTo>
                    <a:pt x="14" y="17"/>
                    <a:pt x="15" y="17"/>
                    <a:pt x="15" y="17"/>
                  </a:cubicBezTo>
                  <a:cubicBezTo>
                    <a:pt x="16" y="17"/>
                    <a:pt x="17" y="17"/>
                    <a:pt x="17" y="16"/>
                  </a:cubicBezTo>
                  <a:cubicBezTo>
                    <a:pt x="18" y="16"/>
                    <a:pt x="19" y="16"/>
                    <a:pt x="20" y="16"/>
                  </a:cubicBezTo>
                  <a:cubicBezTo>
                    <a:pt x="21" y="16"/>
                    <a:pt x="22" y="16"/>
                    <a:pt x="23" y="17"/>
                  </a:cubicBezTo>
                  <a:cubicBezTo>
                    <a:pt x="24" y="17"/>
                    <a:pt x="25" y="18"/>
                    <a:pt x="25" y="19"/>
                  </a:cubicBezTo>
                  <a:cubicBezTo>
                    <a:pt x="27" y="19"/>
                    <a:pt x="30" y="19"/>
                    <a:pt x="32" y="20"/>
                  </a:cubicBezTo>
                  <a:cubicBezTo>
                    <a:pt x="34" y="18"/>
                    <a:pt x="36" y="16"/>
                    <a:pt x="35" y="14"/>
                  </a:cubicBezTo>
                  <a:cubicBezTo>
                    <a:pt x="34" y="13"/>
                    <a:pt x="34" y="13"/>
                    <a:pt x="34" y="13"/>
                  </a:cubicBezTo>
                  <a:cubicBezTo>
                    <a:pt x="33" y="12"/>
                    <a:pt x="31" y="10"/>
                    <a:pt x="30" y="9"/>
                  </a:cubicBezTo>
                  <a:cubicBezTo>
                    <a:pt x="26" y="5"/>
                    <a:pt x="22" y="5"/>
                    <a:pt x="18" y="5"/>
                  </a:cubicBezTo>
                  <a:cubicBezTo>
                    <a:pt x="18" y="5"/>
                    <a:pt x="18" y="5"/>
                    <a:pt x="18" y="5"/>
                  </a:cubicBezTo>
                  <a:cubicBezTo>
                    <a:pt x="17" y="5"/>
                    <a:pt x="17" y="5"/>
                    <a:pt x="16" y="5"/>
                  </a:cubicBezTo>
                  <a:cubicBezTo>
                    <a:pt x="16" y="5"/>
                    <a:pt x="16" y="5"/>
                    <a:pt x="15" y="5"/>
                  </a:cubicBezTo>
                  <a:cubicBezTo>
                    <a:pt x="15" y="5"/>
                    <a:pt x="15" y="5"/>
                    <a:pt x="14" y="5"/>
                  </a:cubicBezTo>
                  <a:cubicBezTo>
                    <a:pt x="12" y="4"/>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1376"/>
            <p:cNvSpPr/>
            <p:nvPr/>
          </p:nvSpPr>
          <p:spPr bwMode="auto">
            <a:xfrm>
              <a:off x="4754" y="1683"/>
              <a:ext cx="14" cy="31"/>
            </a:xfrm>
            <a:custGeom>
              <a:gdLst>
                <a:gd name="T0" fmla="*/ 0 w 6"/>
                <a:gd name="T1" fmla="*/ 0 h 13"/>
                <a:gd name="T2" fmla="*/ 6 w 6"/>
                <a:gd name="T3" fmla="*/ 13 h 13"/>
                <a:gd name="T4" fmla="*/ 0 w 6"/>
                <a:gd name="T5" fmla="*/ 0 h 13"/>
              </a:gdLst>
              <a:cxnLst>
                <a:cxn ang="0">
                  <a:pos x="T0" y="T1"/>
                </a:cxn>
                <a:cxn ang="0">
                  <a:pos x="T2" y="T3"/>
                </a:cxn>
                <a:cxn ang="0">
                  <a:pos x="T4" y="T5"/>
                </a:cxn>
              </a:cxnLst>
              <a:rect l="0" t="0" r="r" b="b"/>
              <a:pathLst>
                <a:path w="6" h="13">
                  <a:moveTo>
                    <a:pt x="0" y="0"/>
                  </a:moveTo>
                  <a:cubicBezTo>
                    <a:pt x="2" y="4"/>
                    <a:pt x="4" y="9"/>
                    <a:pt x="6" y="13"/>
                  </a:cubicBezTo>
                  <a:cubicBezTo>
                    <a:pt x="6" y="8"/>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1377"/>
            <p:cNvSpPr/>
            <p:nvPr/>
          </p:nvSpPr>
          <p:spPr bwMode="auto">
            <a:xfrm>
              <a:off x="4633" y="1617"/>
              <a:ext cx="7" cy="10"/>
            </a:xfrm>
            <a:custGeom>
              <a:gdLst>
                <a:gd name="T0" fmla="*/ 0 w 3"/>
                <a:gd name="T1" fmla="*/ 0 h 4"/>
                <a:gd name="T2" fmla="*/ 3 w 3"/>
                <a:gd name="T3" fmla="*/ 4 h 4"/>
                <a:gd name="T4" fmla="*/ 1 w 3"/>
                <a:gd name="T5" fmla="*/ 0 h 4"/>
                <a:gd name="T6" fmla="*/ 0 w 3"/>
                <a:gd name="T7" fmla="*/ 0 h 4"/>
                <a:gd name="T8" fmla="*/ 0 w 3"/>
                <a:gd name="T9" fmla="*/ 0 h 4"/>
              </a:gdLst>
              <a:cxnLst>
                <a:cxn ang="0">
                  <a:pos x="T0" y="T1"/>
                </a:cxn>
                <a:cxn ang="0">
                  <a:pos x="T2" y="T3"/>
                </a:cxn>
                <a:cxn ang="0">
                  <a:pos x="T4" y="T5"/>
                </a:cxn>
                <a:cxn ang="0">
                  <a:pos x="T6" y="T7"/>
                </a:cxn>
                <a:cxn ang="0">
                  <a:pos x="T8" y="T9"/>
                </a:cxn>
              </a:cxnLst>
              <a:rect l="0" t="0" r="r" b="b"/>
              <a:pathLst>
                <a:path w="3" h="4">
                  <a:moveTo>
                    <a:pt x="0" y="0"/>
                  </a:moveTo>
                  <a:cubicBezTo>
                    <a:pt x="0" y="1"/>
                    <a:pt x="2" y="3"/>
                    <a:pt x="3" y="4"/>
                  </a:cubicBezTo>
                  <a:cubicBezTo>
                    <a:pt x="2" y="3"/>
                    <a:pt x="2" y="1"/>
                    <a:pt x="1" y="0"/>
                  </a:cubicBezTo>
                  <a:cubicBezTo>
                    <a:pt x="1"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1378"/>
            <p:cNvSpPr/>
            <p:nvPr/>
          </p:nvSpPr>
          <p:spPr bwMode="auto">
            <a:xfrm>
              <a:off x="4546" y="1560"/>
              <a:ext cx="14" cy="5"/>
            </a:xfrm>
            <a:custGeom>
              <a:gdLst>
                <a:gd name="T0" fmla="*/ 1 w 6"/>
                <a:gd name="T1" fmla="*/ 0 h 2"/>
                <a:gd name="T2" fmla="*/ 0 w 6"/>
                <a:gd name="T3" fmla="*/ 0 h 2"/>
                <a:gd name="T4" fmla="*/ 6 w 6"/>
                <a:gd name="T5" fmla="*/ 2 h 2"/>
                <a:gd name="T6" fmla="*/ 1 w 6"/>
                <a:gd name="T7" fmla="*/ 0 h 2"/>
              </a:gdLst>
              <a:cxnLst>
                <a:cxn ang="0">
                  <a:pos x="T0" y="T1"/>
                </a:cxn>
                <a:cxn ang="0">
                  <a:pos x="T2" y="T3"/>
                </a:cxn>
                <a:cxn ang="0">
                  <a:pos x="T4" y="T5"/>
                </a:cxn>
                <a:cxn ang="0">
                  <a:pos x="T6" y="T7"/>
                </a:cxn>
              </a:cxnLst>
              <a:rect l="0" t="0" r="r" b="b"/>
              <a:pathLst>
                <a:path w="6" h="2">
                  <a:moveTo>
                    <a:pt x="1" y="0"/>
                  </a:moveTo>
                  <a:cubicBezTo>
                    <a:pt x="1" y="0"/>
                    <a:pt x="1" y="0"/>
                    <a:pt x="0" y="0"/>
                  </a:cubicBezTo>
                  <a:cubicBezTo>
                    <a:pt x="2" y="1"/>
                    <a:pt x="4" y="2"/>
                    <a:pt x="6" y="2"/>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1379"/>
            <p:cNvSpPr/>
            <p:nvPr/>
          </p:nvSpPr>
          <p:spPr bwMode="auto">
            <a:xfrm>
              <a:off x="4449" y="1579"/>
              <a:ext cx="21" cy="22"/>
            </a:xfrm>
            <a:custGeom>
              <a:gdLst>
                <a:gd name="T0" fmla="*/ 5 w 9"/>
                <a:gd name="T1" fmla="*/ 0 h 9"/>
                <a:gd name="T2" fmla="*/ 2 w 9"/>
                <a:gd name="T3" fmla="*/ 3 h 9"/>
                <a:gd name="T4" fmla="*/ 7 w 9"/>
                <a:gd name="T5" fmla="*/ 9 h 9"/>
                <a:gd name="T6" fmla="*/ 7 w 9"/>
                <a:gd name="T7" fmla="*/ 1 h 9"/>
                <a:gd name="T8" fmla="*/ 5 w 9"/>
                <a:gd name="T9" fmla="*/ 0 h 9"/>
              </a:gdLst>
              <a:cxnLst>
                <a:cxn ang="0">
                  <a:pos x="T0" y="T1"/>
                </a:cxn>
                <a:cxn ang="0">
                  <a:pos x="T2" y="T3"/>
                </a:cxn>
                <a:cxn ang="0">
                  <a:pos x="T4" y="T5"/>
                </a:cxn>
                <a:cxn ang="0">
                  <a:pos x="T6" y="T7"/>
                </a:cxn>
                <a:cxn ang="0">
                  <a:pos x="T8" y="T9"/>
                </a:cxn>
              </a:cxnLst>
              <a:rect l="0" t="0" r="r" b="b"/>
              <a:pathLst>
                <a:path w="9" h="9">
                  <a:moveTo>
                    <a:pt x="5" y="0"/>
                  </a:moveTo>
                  <a:cubicBezTo>
                    <a:pt x="4" y="0"/>
                    <a:pt x="3" y="1"/>
                    <a:pt x="2" y="3"/>
                  </a:cubicBezTo>
                  <a:cubicBezTo>
                    <a:pt x="0" y="5"/>
                    <a:pt x="6" y="8"/>
                    <a:pt x="7" y="9"/>
                  </a:cubicBezTo>
                  <a:cubicBezTo>
                    <a:pt x="9" y="7"/>
                    <a:pt x="9" y="2"/>
                    <a:pt x="7" y="1"/>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380"/>
            <p:cNvSpPr/>
            <p:nvPr/>
          </p:nvSpPr>
          <p:spPr bwMode="auto">
            <a:xfrm>
              <a:off x="4536" y="1638"/>
              <a:ext cx="3" cy="10"/>
            </a:xfrm>
            <a:custGeom>
              <a:gdLst>
                <a:gd name="T0" fmla="*/ 1 w 1"/>
                <a:gd name="T1" fmla="*/ 0 h 4"/>
                <a:gd name="T2" fmla="*/ 0 w 1"/>
                <a:gd name="T3" fmla="*/ 4 h 4"/>
                <a:gd name="T4" fmla="*/ 1 w 1"/>
                <a:gd name="T5" fmla="*/ 0 h 4"/>
              </a:gdLst>
              <a:cxnLst>
                <a:cxn ang="0">
                  <a:pos x="T0" y="T1"/>
                </a:cxn>
                <a:cxn ang="0">
                  <a:pos x="T2" y="T3"/>
                </a:cxn>
                <a:cxn ang="0">
                  <a:pos x="T4" y="T5"/>
                </a:cxn>
              </a:cxnLst>
              <a:rect l="0" t="0" r="r" b="b"/>
              <a:pathLst>
                <a:path w="1" h="4">
                  <a:moveTo>
                    <a:pt x="1" y="0"/>
                  </a:moveTo>
                  <a:cubicBezTo>
                    <a:pt x="1" y="1"/>
                    <a:pt x="1" y="2"/>
                    <a:pt x="0" y="4"/>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381"/>
            <p:cNvSpPr/>
            <p:nvPr/>
          </p:nvSpPr>
          <p:spPr bwMode="auto">
            <a:xfrm>
              <a:off x="4368" y="1518"/>
              <a:ext cx="17" cy="12"/>
            </a:xfrm>
            <a:custGeom>
              <a:gdLst>
                <a:gd name="T0" fmla="*/ 0 w 7"/>
                <a:gd name="T1" fmla="*/ 0 h 5"/>
                <a:gd name="T2" fmla="*/ 1 w 7"/>
                <a:gd name="T3" fmla="*/ 5 h 5"/>
                <a:gd name="T4" fmla="*/ 0 w 7"/>
                <a:gd name="T5" fmla="*/ 0 h 5"/>
              </a:gdLst>
              <a:cxnLst>
                <a:cxn ang="0">
                  <a:pos x="T0" y="T1"/>
                </a:cxn>
                <a:cxn ang="0">
                  <a:pos x="T2" y="T3"/>
                </a:cxn>
                <a:cxn ang="0">
                  <a:pos x="T4" y="T5"/>
                </a:cxn>
              </a:cxnLst>
              <a:rect l="0" t="0" r="r" b="b"/>
              <a:pathLst>
                <a:path w="7" h="5">
                  <a:moveTo>
                    <a:pt x="0" y="0"/>
                  </a:moveTo>
                  <a:cubicBezTo>
                    <a:pt x="0" y="2"/>
                    <a:pt x="1" y="3"/>
                    <a:pt x="1" y="5"/>
                  </a:cubicBezTo>
                  <a:cubicBezTo>
                    <a:pt x="7"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382"/>
            <p:cNvSpPr/>
            <p:nvPr/>
          </p:nvSpPr>
          <p:spPr bwMode="auto">
            <a:xfrm>
              <a:off x="4678" y="1667"/>
              <a:ext cx="9" cy="4"/>
            </a:xfrm>
            <a:custGeom>
              <a:gdLst>
                <a:gd name="T0" fmla="*/ 3 w 4"/>
                <a:gd name="T1" fmla="*/ 0 h 2"/>
                <a:gd name="T2" fmla="*/ 0 w 4"/>
                <a:gd name="T3" fmla="*/ 2 h 2"/>
                <a:gd name="T4" fmla="*/ 1 w 4"/>
                <a:gd name="T5" fmla="*/ 2 h 2"/>
                <a:gd name="T6" fmla="*/ 4 w 4"/>
                <a:gd name="T7" fmla="*/ 1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1" y="1"/>
                    <a:pt x="0" y="2"/>
                  </a:cubicBezTo>
                  <a:cubicBezTo>
                    <a:pt x="0" y="2"/>
                    <a:pt x="1" y="2"/>
                    <a:pt x="1" y="2"/>
                  </a:cubicBezTo>
                  <a:cubicBezTo>
                    <a:pt x="3" y="2"/>
                    <a:pt x="4" y="2"/>
                    <a:pt x="4" y="1"/>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1383"/>
            <p:cNvSpPr/>
            <p:nvPr/>
          </p:nvSpPr>
          <p:spPr bwMode="auto">
            <a:xfrm>
              <a:off x="4458" y="1603"/>
              <a:ext cx="7" cy="9"/>
            </a:xfrm>
            <a:custGeom>
              <a:gdLst>
                <a:gd name="T0" fmla="*/ 0 w 3"/>
                <a:gd name="T1" fmla="*/ 0 h 4"/>
                <a:gd name="T2" fmla="*/ 0 w 3"/>
                <a:gd name="T3" fmla="*/ 0 h 4"/>
                <a:gd name="T4" fmla="*/ 3 w 3"/>
                <a:gd name="T5" fmla="*/ 4 h 4"/>
                <a:gd name="T6" fmla="*/ 0 w 3"/>
                <a:gd name="T7" fmla="*/ 0 h 4"/>
              </a:gdLst>
              <a:cxnLst>
                <a:cxn ang="0">
                  <a:pos x="T0" y="T1"/>
                </a:cxn>
                <a:cxn ang="0">
                  <a:pos x="T2" y="T3"/>
                </a:cxn>
                <a:cxn ang="0">
                  <a:pos x="T4" y="T5"/>
                </a:cxn>
                <a:cxn ang="0">
                  <a:pos x="T6" y="T7"/>
                </a:cxn>
              </a:cxnLst>
              <a:rect l="0" t="0" r="r" b="b"/>
              <a:pathLst>
                <a:path w="3" h="4">
                  <a:moveTo>
                    <a:pt x="0" y="0"/>
                  </a:moveTo>
                  <a:cubicBezTo>
                    <a:pt x="0" y="0"/>
                    <a:pt x="0" y="0"/>
                    <a:pt x="0" y="0"/>
                  </a:cubicBezTo>
                  <a:cubicBezTo>
                    <a:pt x="1" y="2"/>
                    <a:pt x="2" y="3"/>
                    <a:pt x="3"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384"/>
            <p:cNvSpPr/>
            <p:nvPr/>
          </p:nvSpPr>
          <p:spPr bwMode="auto">
            <a:xfrm>
              <a:off x="4666" y="1660"/>
              <a:ext cx="17" cy="7"/>
            </a:xfrm>
            <a:custGeom>
              <a:gdLst>
                <a:gd name="T0" fmla="*/ 3 w 7"/>
                <a:gd name="T1" fmla="*/ 0 h 3"/>
                <a:gd name="T2" fmla="*/ 0 w 7"/>
                <a:gd name="T3" fmla="*/ 1 h 3"/>
                <a:gd name="T4" fmla="*/ 6 w 7"/>
                <a:gd name="T5" fmla="*/ 3 h 3"/>
                <a:gd name="T6" fmla="*/ 3 w 7"/>
                <a:gd name="T7" fmla="*/ 0 h 3"/>
              </a:gdLst>
              <a:cxnLst>
                <a:cxn ang="0">
                  <a:pos x="T0" y="T1"/>
                </a:cxn>
                <a:cxn ang="0">
                  <a:pos x="T2" y="T3"/>
                </a:cxn>
                <a:cxn ang="0">
                  <a:pos x="T4" y="T5"/>
                </a:cxn>
                <a:cxn ang="0">
                  <a:pos x="T6" y="T7"/>
                </a:cxn>
              </a:cxnLst>
              <a:rect l="0" t="0" r="r" b="b"/>
              <a:pathLst>
                <a:path w="7" h="3">
                  <a:moveTo>
                    <a:pt x="3" y="0"/>
                  </a:moveTo>
                  <a:cubicBezTo>
                    <a:pt x="2" y="0"/>
                    <a:pt x="1" y="0"/>
                    <a:pt x="0" y="1"/>
                  </a:cubicBezTo>
                  <a:cubicBezTo>
                    <a:pt x="2" y="2"/>
                    <a:pt x="4" y="3"/>
                    <a:pt x="6" y="3"/>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385"/>
            <p:cNvSpPr>
              <a:spLocks noEditPoints="1"/>
            </p:cNvSpPr>
            <p:nvPr/>
          </p:nvSpPr>
          <p:spPr bwMode="auto">
            <a:xfrm>
              <a:off x="4517" y="1624"/>
              <a:ext cx="17" cy="19"/>
            </a:xfrm>
            <a:custGeom>
              <a:gdLst>
                <a:gd name="T0" fmla="*/ 7 w 7"/>
                <a:gd name="T1" fmla="*/ 2 h 8"/>
                <a:gd name="T2" fmla="*/ 7 w 7"/>
                <a:gd name="T3" fmla="*/ 2 h 8"/>
                <a:gd name="T4" fmla="*/ 7 w 7"/>
                <a:gd name="T5" fmla="*/ 2 h 8"/>
                <a:gd name="T6" fmla="*/ 4 w 7"/>
                <a:gd name="T7" fmla="*/ 0 h 8"/>
                <a:gd name="T8" fmla="*/ 0 w 7"/>
                <a:gd name="T9" fmla="*/ 2 h 8"/>
                <a:gd name="T10" fmla="*/ 3 w 7"/>
                <a:gd name="T11" fmla="*/ 8 h 8"/>
                <a:gd name="T12" fmla="*/ 6 w 7"/>
                <a:gd name="T13" fmla="*/ 4 h 8"/>
                <a:gd name="T14" fmla="*/ 6 w 7"/>
                <a:gd name="T15" fmla="*/ 4 h 8"/>
                <a:gd name="T16" fmla="*/ 6 w 7"/>
                <a:gd name="T17" fmla="*/ 3 h 8"/>
                <a:gd name="T18" fmla="*/ 7 w 7"/>
                <a:gd name="T19" fmla="*/ 2 h 8"/>
                <a:gd name="T20" fmla="*/ 7 w 7"/>
                <a:gd name="T21" fmla="*/ 2 h 8"/>
                <a:gd name="T22" fmla="*/ 4 w 7"/>
                <a:gd name="T23"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2"/>
                  </a:moveTo>
                  <a:cubicBezTo>
                    <a:pt x="7" y="2"/>
                    <a:pt x="7" y="2"/>
                    <a:pt x="7" y="2"/>
                  </a:cubicBezTo>
                  <a:cubicBezTo>
                    <a:pt x="7" y="2"/>
                    <a:pt x="7" y="2"/>
                    <a:pt x="7" y="2"/>
                  </a:cubicBezTo>
                  <a:moveTo>
                    <a:pt x="4" y="0"/>
                  </a:moveTo>
                  <a:cubicBezTo>
                    <a:pt x="3" y="0"/>
                    <a:pt x="1" y="1"/>
                    <a:pt x="0" y="2"/>
                  </a:cubicBezTo>
                  <a:cubicBezTo>
                    <a:pt x="1" y="4"/>
                    <a:pt x="2" y="6"/>
                    <a:pt x="3" y="8"/>
                  </a:cubicBezTo>
                  <a:cubicBezTo>
                    <a:pt x="6" y="6"/>
                    <a:pt x="5" y="6"/>
                    <a:pt x="6" y="4"/>
                  </a:cubicBezTo>
                  <a:cubicBezTo>
                    <a:pt x="6" y="4"/>
                    <a:pt x="6" y="4"/>
                    <a:pt x="6" y="4"/>
                  </a:cubicBezTo>
                  <a:cubicBezTo>
                    <a:pt x="6" y="4"/>
                    <a:pt x="6" y="4"/>
                    <a:pt x="6" y="3"/>
                  </a:cubicBezTo>
                  <a:cubicBezTo>
                    <a:pt x="6" y="2"/>
                    <a:pt x="7" y="2"/>
                    <a:pt x="7" y="2"/>
                  </a:cubicBezTo>
                  <a:cubicBezTo>
                    <a:pt x="7" y="2"/>
                    <a:pt x="7" y="2"/>
                    <a:pt x="7"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386"/>
            <p:cNvSpPr/>
            <p:nvPr/>
          </p:nvSpPr>
          <p:spPr bwMode="auto">
            <a:xfrm>
              <a:off x="4428" y="1560"/>
              <a:ext cx="16" cy="26"/>
            </a:xfrm>
            <a:custGeom>
              <a:gdLst>
                <a:gd name="T0" fmla="*/ 0 w 7"/>
                <a:gd name="T1" fmla="*/ 0 h 11"/>
                <a:gd name="T2" fmla="*/ 3 w 7"/>
                <a:gd name="T3" fmla="*/ 11 h 11"/>
                <a:gd name="T4" fmla="*/ 5 w 7"/>
                <a:gd name="T5" fmla="*/ 4 h 11"/>
                <a:gd name="T6" fmla="*/ 0 w 7"/>
                <a:gd name="T7" fmla="*/ 0 h 11"/>
              </a:gdLst>
              <a:cxnLst>
                <a:cxn ang="0">
                  <a:pos x="T0" y="T1"/>
                </a:cxn>
                <a:cxn ang="0">
                  <a:pos x="T2" y="T3"/>
                </a:cxn>
                <a:cxn ang="0">
                  <a:pos x="T4" y="T5"/>
                </a:cxn>
                <a:cxn ang="0">
                  <a:pos x="T6" y="T7"/>
                </a:cxn>
              </a:cxnLst>
              <a:rect l="0" t="0" r="r" b="b"/>
              <a:pathLst>
                <a:path w="7" h="11">
                  <a:moveTo>
                    <a:pt x="0" y="0"/>
                  </a:moveTo>
                  <a:cubicBezTo>
                    <a:pt x="0" y="4"/>
                    <a:pt x="2" y="7"/>
                    <a:pt x="3" y="11"/>
                  </a:cubicBezTo>
                  <a:cubicBezTo>
                    <a:pt x="3" y="7"/>
                    <a:pt x="7" y="7"/>
                    <a:pt x="5" y="4"/>
                  </a:cubicBezTo>
                  <a:cubicBezTo>
                    <a:pt x="5" y="3"/>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387"/>
            <p:cNvSpPr/>
            <p:nvPr/>
          </p:nvSpPr>
          <p:spPr bwMode="auto">
            <a:xfrm>
              <a:off x="4659" y="1830"/>
              <a:ext cx="47" cy="26"/>
            </a:xfrm>
            <a:custGeom>
              <a:gdLst>
                <a:gd name="T0" fmla="*/ 1 w 20"/>
                <a:gd name="T1" fmla="*/ 0 h 11"/>
                <a:gd name="T2" fmla="*/ 0 w 20"/>
                <a:gd name="T3" fmla="*/ 1 h 11"/>
                <a:gd name="T4" fmla="*/ 15 w 20"/>
                <a:gd name="T5" fmla="*/ 11 h 11"/>
                <a:gd name="T6" fmla="*/ 8 w 20"/>
                <a:gd name="T7" fmla="*/ 4 h 11"/>
                <a:gd name="T8" fmla="*/ 1 w 20"/>
                <a:gd name="T9" fmla="*/ 0 h 11"/>
              </a:gdLst>
              <a:cxnLst>
                <a:cxn ang="0">
                  <a:pos x="T0" y="T1"/>
                </a:cxn>
                <a:cxn ang="0">
                  <a:pos x="T2" y="T3"/>
                </a:cxn>
                <a:cxn ang="0">
                  <a:pos x="T4" y="T5"/>
                </a:cxn>
                <a:cxn ang="0">
                  <a:pos x="T6" y="T7"/>
                </a:cxn>
                <a:cxn ang="0">
                  <a:pos x="T8" y="T9"/>
                </a:cxn>
              </a:cxnLst>
              <a:rect l="0" t="0" r="r" b="b"/>
              <a:pathLst>
                <a:path w="20" h="11">
                  <a:moveTo>
                    <a:pt x="1" y="0"/>
                  </a:moveTo>
                  <a:cubicBezTo>
                    <a:pt x="1" y="0"/>
                    <a:pt x="1" y="1"/>
                    <a:pt x="0" y="1"/>
                  </a:cubicBezTo>
                  <a:cubicBezTo>
                    <a:pt x="5" y="5"/>
                    <a:pt x="10" y="8"/>
                    <a:pt x="15" y="11"/>
                  </a:cubicBezTo>
                  <a:cubicBezTo>
                    <a:pt x="20" y="8"/>
                    <a:pt x="10" y="5"/>
                    <a:pt x="8" y="4"/>
                  </a:cubicBezTo>
                  <a:cubicBezTo>
                    <a:pt x="7" y="3"/>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388"/>
            <p:cNvSpPr/>
            <p:nvPr/>
          </p:nvSpPr>
          <p:spPr bwMode="auto">
            <a:xfrm>
              <a:off x="420" y="338"/>
              <a:ext cx="4" cy="10"/>
            </a:xfrm>
            <a:custGeom>
              <a:gdLst>
                <a:gd name="T0" fmla="*/ 1 w 2"/>
                <a:gd name="T1" fmla="*/ 0 h 4"/>
                <a:gd name="T2" fmla="*/ 0 w 2"/>
                <a:gd name="T3" fmla="*/ 4 h 4"/>
                <a:gd name="T4" fmla="*/ 1 w 2"/>
                <a:gd name="T5" fmla="*/ 0 h 4"/>
              </a:gdLst>
              <a:cxnLst>
                <a:cxn ang="0">
                  <a:pos x="T0" y="T1"/>
                </a:cxn>
                <a:cxn ang="0">
                  <a:pos x="T2" y="T3"/>
                </a:cxn>
                <a:cxn ang="0">
                  <a:pos x="T4" y="T5"/>
                </a:cxn>
              </a:cxnLst>
              <a:rect l="0" t="0" r="r" b="b"/>
              <a:pathLst>
                <a:path w="2" h="4">
                  <a:moveTo>
                    <a:pt x="1" y="0"/>
                  </a:moveTo>
                  <a:cubicBezTo>
                    <a:pt x="0" y="1"/>
                    <a:pt x="0" y="3"/>
                    <a:pt x="0" y="4"/>
                  </a:cubicBezTo>
                  <a:cubicBezTo>
                    <a:pt x="1"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389"/>
            <p:cNvSpPr/>
            <p:nvPr/>
          </p:nvSpPr>
          <p:spPr bwMode="auto">
            <a:xfrm>
              <a:off x="422" y="348"/>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390"/>
            <p:cNvSpPr/>
            <p:nvPr/>
          </p:nvSpPr>
          <p:spPr bwMode="auto">
            <a:xfrm>
              <a:off x="410" y="225"/>
              <a:ext cx="3" cy="12"/>
            </a:xfrm>
            <a:custGeom>
              <a:gdLst>
                <a:gd name="T0" fmla="*/ 0 w 1"/>
                <a:gd name="T1" fmla="*/ 0 h 5"/>
                <a:gd name="T2" fmla="*/ 0 w 1"/>
                <a:gd name="T3" fmla="*/ 5 h 5"/>
                <a:gd name="T4" fmla="*/ 0 w 1"/>
                <a:gd name="T5" fmla="*/ 0 h 5"/>
              </a:gdLst>
              <a:cxnLst>
                <a:cxn ang="0">
                  <a:pos x="T0" y="T1"/>
                </a:cxn>
                <a:cxn ang="0">
                  <a:pos x="T2" y="T3"/>
                </a:cxn>
                <a:cxn ang="0">
                  <a:pos x="T4" y="T5"/>
                </a:cxn>
              </a:cxnLst>
              <a:rect l="0" t="0" r="r" b="b"/>
              <a:pathLst>
                <a:path w="1" h="5">
                  <a:moveTo>
                    <a:pt x="0" y="0"/>
                  </a:moveTo>
                  <a:cubicBezTo>
                    <a:pt x="0" y="2"/>
                    <a:pt x="0" y="3"/>
                    <a:pt x="0" y="5"/>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391"/>
            <p:cNvSpPr/>
            <p:nvPr/>
          </p:nvSpPr>
          <p:spPr bwMode="auto">
            <a:xfrm>
              <a:off x="424" y="128"/>
              <a:ext cx="5" cy="17"/>
            </a:xfrm>
            <a:custGeom>
              <a:gdLst>
                <a:gd name="T0" fmla="*/ 0 w 2"/>
                <a:gd name="T1" fmla="*/ 0 h 7"/>
                <a:gd name="T2" fmla="*/ 1 w 2"/>
                <a:gd name="T3" fmla="*/ 6 h 7"/>
                <a:gd name="T4" fmla="*/ 1 w 2"/>
                <a:gd name="T5" fmla="*/ 7 h 7"/>
                <a:gd name="T6" fmla="*/ 2 w 2"/>
                <a:gd name="T7" fmla="*/ 4 h 7"/>
                <a:gd name="T8" fmla="*/ 0 w 2"/>
                <a:gd name="T9" fmla="*/ 0 h 7"/>
              </a:gdLst>
              <a:cxnLst>
                <a:cxn ang="0">
                  <a:pos x="T0" y="T1"/>
                </a:cxn>
                <a:cxn ang="0">
                  <a:pos x="T2" y="T3"/>
                </a:cxn>
                <a:cxn ang="0">
                  <a:pos x="T4" y="T5"/>
                </a:cxn>
                <a:cxn ang="0">
                  <a:pos x="T6" y="T7"/>
                </a:cxn>
                <a:cxn ang="0">
                  <a:pos x="T8" y="T9"/>
                </a:cxn>
              </a:cxnLst>
              <a:rect l="0" t="0" r="r" b="b"/>
              <a:pathLst>
                <a:path w="2" h="7">
                  <a:moveTo>
                    <a:pt x="0" y="0"/>
                  </a:moveTo>
                  <a:cubicBezTo>
                    <a:pt x="0" y="2"/>
                    <a:pt x="1" y="4"/>
                    <a:pt x="1" y="6"/>
                  </a:cubicBezTo>
                  <a:cubicBezTo>
                    <a:pt x="1" y="6"/>
                    <a:pt x="1" y="6"/>
                    <a:pt x="1" y="7"/>
                  </a:cubicBezTo>
                  <a:cubicBezTo>
                    <a:pt x="2" y="6"/>
                    <a:pt x="2" y="5"/>
                    <a:pt x="2" y="4"/>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1392"/>
            <p:cNvSpPr/>
            <p:nvPr/>
          </p:nvSpPr>
          <p:spPr bwMode="auto">
            <a:xfrm>
              <a:off x="429" y="166"/>
              <a:ext cx="14" cy="21"/>
            </a:xfrm>
            <a:custGeom>
              <a:gdLst>
                <a:gd name="T0" fmla="*/ 0 w 6"/>
                <a:gd name="T1" fmla="*/ 0 h 9"/>
                <a:gd name="T2" fmla="*/ 0 w 6"/>
                <a:gd name="T3" fmla="*/ 0 h 9"/>
                <a:gd name="T4" fmla="*/ 0 w 6"/>
                <a:gd name="T5" fmla="*/ 9 h 9"/>
                <a:gd name="T6" fmla="*/ 0 w 6"/>
                <a:gd name="T7" fmla="*/ 0 h 9"/>
                <a:gd name="T8" fmla="*/ 0 w 6"/>
                <a:gd name="T9" fmla="*/ 0 h 9"/>
              </a:gdLst>
              <a:cxnLst>
                <a:cxn ang="0">
                  <a:pos x="T0" y="T1"/>
                </a:cxn>
                <a:cxn ang="0">
                  <a:pos x="T2" y="T3"/>
                </a:cxn>
                <a:cxn ang="0">
                  <a:pos x="T4" y="T5"/>
                </a:cxn>
                <a:cxn ang="0">
                  <a:pos x="T6" y="T7"/>
                </a:cxn>
                <a:cxn ang="0">
                  <a:pos x="T8" y="T9"/>
                </a:cxn>
              </a:cxnLst>
              <a:rect l="0" t="0" r="r" b="b"/>
              <a:pathLst>
                <a:path w="6" h="9">
                  <a:moveTo>
                    <a:pt x="0" y="0"/>
                  </a:moveTo>
                  <a:cubicBezTo>
                    <a:pt x="0" y="0"/>
                    <a:pt x="0" y="0"/>
                    <a:pt x="0" y="0"/>
                  </a:cubicBezTo>
                  <a:cubicBezTo>
                    <a:pt x="0" y="3"/>
                    <a:pt x="0" y="6"/>
                    <a:pt x="0" y="9"/>
                  </a:cubicBezTo>
                  <a:cubicBezTo>
                    <a:pt x="6" y="9"/>
                    <a:pt x="5"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393"/>
            <p:cNvSpPr/>
            <p:nvPr/>
          </p:nvSpPr>
          <p:spPr bwMode="auto">
            <a:xfrm>
              <a:off x="420" y="227"/>
              <a:ext cx="11" cy="24"/>
            </a:xfrm>
            <a:custGeom>
              <a:gdLst>
                <a:gd name="T0" fmla="*/ 4 w 5"/>
                <a:gd name="T1" fmla="*/ 0 h 10"/>
                <a:gd name="T2" fmla="*/ 0 w 5"/>
                <a:gd name="T3" fmla="*/ 10 h 10"/>
                <a:gd name="T4" fmla="*/ 3 w 5"/>
                <a:gd name="T5" fmla="*/ 5 h 10"/>
                <a:gd name="T6" fmla="*/ 4 w 5"/>
                <a:gd name="T7" fmla="*/ 0 h 10"/>
              </a:gdLst>
              <a:cxnLst>
                <a:cxn ang="0">
                  <a:pos x="T0" y="T1"/>
                </a:cxn>
                <a:cxn ang="0">
                  <a:pos x="T2" y="T3"/>
                </a:cxn>
                <a:cxn ang="0">
                  <a:pos x="T4" y="T5"/>
                </a:cxn>
                <a:cxn ang="0">
                  <a:pos x="T6" y="T7"/>
                </a:cxn>
              </a:cxnLst>
              <a:rect l="0" t="0" r="r" b="b"/>
              <a:pathLst>
                <a:path w="5" h="10">
                  <a:moveTo>
                    <a:pt x="4" y="0"/>
                  </a:moveTo>
                  <a:cubicBezTo>
                    <a:pt x="2" y="3"/>
                    <a:pt x="1" y="6"/>
                    <a:pt x="0" y="10"/>
                  </a:cubicBezTo>
                  <a:cubicBezTo>
                    <a:pt x="4" y="9"/>
                    <a:pt x="3" y="8"/>
                    <a:pt x="3" y="5"/>
                  </a:cubicBezTo>
                  <a:cubicBezTo>
                    <a:pt x="4" y="3"/>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394"/>
            <p:cNvSpPr/>
            <p:nvPr/>
          </p:nvSpPr>
          <p:spPr bwMode="auto">
            <a:xfrm>
              <a:off x="431" y="227"/>
              <a:ext cx="15" cy="17"/>
            </a:xfrm>
            <a:custGeom>
              <a:gdLst>
                <a:gd name="T0" fmla="*/ 4 w 6"/>
                <a:gd name="T1" fmla="*/ 0 h 7"/>
                <a:gd name="T2" fmla="*/ 2 w 6"/>
                <a:gd name="T3" fmla="*/ 0 h 7"/>
                <a:gd name="T4" fmla="*/ 2 w 6"/>
                <a:gd name="T5" fmla="*/ 5 h 7"/>
                <a:gd name="T6" fmla="*/ 2 w 6"/>
                <a:gd name="T7" fmla="*/ 5 h 7"/>
                <a:gd name="T8" fmla="*/ 5 w 6"/>
                <a:gd name="T9" fmla="*/ 7 h 7"/>
                <a:gd name="T10" fmla="*/ 6 w 6"/>
                <a:gd name="T11" fmla="*/ 1 h 7"/>
                <a:gd name="T12" fmla="*/ 6 w 6"/>
                <a:gd name="T13" fmla="*/ 0 h 7"/>
                <a:gd name="T14" fmla="*/ 4 w 6"/>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4" y="0"/>
                  </a:moveTo>
                  <a:cubicBezTo>
                    <a:pt x="3" y="0"/>
                    <a:pt x="3" y="0"/>
                    <a:pt x="2" y="0"/>
                  </a:cubicBezTo>
                  <a:cubicBezTo>
                    <a:pt x="0" y="0"/>
                    <a:pt x="1" y="3"/>
                    <a:pt x="2" y="5"/>
                  </a:cubicBezTo>
                  <a:cubicBezTo>
                    <a:pt x="2" y="5"/>
                    <a:pt x="2" y="5"/>
                    <a:pt x="2" y="5"/>
                  </a:cubicBezTo>
                  <a:cubicBezTo>
                    <a:pt x="3" y="6"/>
                    <a:pt x="4" y="6"/>
                    <a:pt x="5" y="7"/>
                  </a:cubicBezTo>
                  <a:cubicBezTo>
                    <a:pt x="5" y="7"/>
                    <a:pt x="6" y="2"/>
                    <a:pt x="6" y="1"/>
                  </a:cubicBezTo>
                  <a:cubicBezTo>
                    <a:pt x="6" y="0"/>
                    <a:pt x="6" y="0"/>
                    <a:pt x="6"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395"/>
            <p:cNvSpPr/>
            <p:nvPr/>
          </p:nvSpPr>
          <p:spPr bwMode="auto">
            <a:xfrm>
              <a:off x="408" y="182"/>
              <a:ext cx="7" cy="10"/>
            </a:xfrm>
            <a:custGeom>
              <a:gdLst>
                <a:gd name="T0" fmla="*/ 3 w 3"/>
                <a:gd name="T1" fmla="*/ 0 h 4"/>
                <a:gd name="T2" fmla="*/ 0 w 3"/>
                <a:gd name="T3" fmla="*/ 4 h 4"/>
                <a:gd name="T4" fmla="*/ 3 w 3"/>
                <a:gd name="T5" fmla="*/ 0 h 4"/>
              </a:gdLst>
              <a:cxnLst>
                <a:cxn ang="0">
                  <a:pos x="T0" y="T1"/>
                </a:cxn>
                <a:cxn ang="0">
                  <a:pos x="T2" y="T3"/>
                </a:cxn>
                <a:cxn ang="0">
                  <a:pos x="T4" y="T5"/>
                </a:cxn>
              </a:cxnLst>
              <a:rect l="0" t="0" r="r" b="b"/>
              <a:pathLst>
                <a:path w="3" h="4">
                  <a:moveTo>
                    <a:pt x="3" y="0"/>
                  </a:moveTo>
                  <a:cubicBezTo>
                    <a:pt x="1" y="1"/>
                    <a:pt x="1" y="3"/>
                    <a:pt x="0" y="4"/>
                  </a:cubicBezTo>
                  <a:cubicBezTo>
                    <a:pt x="1" y="2"/>
                    <a:pt x="3"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396"/>
            <p:cNvSpPr/>
            <p:nvPr/>
          </p:nvSpPr>
          <p:spPr bwMode="auto">
            <a:xfrm>
              <a:off x="3038" y="1983"/>
              <a:ext cx="43" cy="43"/>
            </a:xfrm>
            <a:custGeom>
              <a:gdLst>
                <a:gd name="T0" fmla="*/ 11 w 18"/>
                <a:gd name="T1" fmla="*/ 0 h 18"/>
                <a:gd name="T2" fmla="*/ 8 w 18"/>
                <a:gd name="T3" fmla="*/ 1 h 18"/>
                <a:gd name="T4" fmla="*/ 7 w 18"/>
                <a:gd name="T5" fmla="*/ 1 h 18"/>
                <a:gd name="T6" fmla="*/ 2 w 18"/>
                <a:gd name="T7" fmla="*/ 5 h 18"/>
                <a:gd name="T8" fmla="*/ 1 w 18"/>
                <a:gd name="T9" fmla="*/ 15 h 18"/>
                <a:gd name="T10" fmla="*/ 17 w 18"/>
                <a:gd name="T11" fmla="*/ 18 h 18"/>
                <a:gd name="T12" fmla="*/ 18 w 18"/>
                <a:gd name="T13" fmla="*/ 18 h 18"/>
                <a:gd name="T14" fmla="*/ 18 w 18"/>
                <a:gd name="T15" fmla="*/ 14 h 18"/>
                <a:gd name="T16" fmla="*/ 14 w 18"/>
                <a:gd name="T17" fmla="*/ 16 h 18"/>
                <a:gd name="T18" fmla="*/ 12 w 18"/>
                <a:gd name="T19" fmla="*/ 15 h 18"/>
                <a:gd name="T20" fmla="*/ 14 w 18"/>
                <a:gd name="T21" fmla="*/ 10 h 18"/>
                <a:gd name="T22" fmla="*/ 13 w 18"/>
                <a:gd name="T23" fmla="*/ 10 h 18"/>
                <a:gd name="T24" fmla="*/ 16 w 18"/>
                <a:gd name="T25" fmla="*/ 3 h 18"/>
                <a:gd name="T26" fmla="*/ 16 w 18"/>
                <a:gd name="T27" fmla="*/ 2 h 18"/>
                <a:gd name="T28" fmla="*/ 14 w 18"/>
                <a:gd name="T29" fmla="*/ 5 h 18"/>
                <a:gd name="T30" fmla="*/ 13 w 18"/>
                <a:gd name="T31" fmla="*/ 5 h 18"/>
                <a:gd name="T32" fmla="*/ 11 w 18"/>
                <a:gd name="T33"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8">
                  <a:moveTo>
                    <a:pt x="11" y="0"/>
                  </a:moveTo>
                  <a:cubicBezTo>
                    <a:pt x="10" y="0"/>
                    <a:pt x="9" y="1"/>
                    <a:pt x="8" y="1"/>
                  </a:cubicBezTo>
                  <a:cubicBezTo>
                    <a:pt x="7" y="1"/>
                    <a:pt x="7" y="1"/>
                    <a:pt x="7" y="1"/>
                  </a:cubicBezTo>
                  <a:cubicBezTo>
                    <a:pt x="10" y="5"/>
                    <a:pt x="4" y="3"/>
                    <a:pt x="2" y="5"/>
                  </a:cubicBezTo>
                  <a:cubicBezTo>
                    <a:pt x="0" y="8"/>
                    <a:pt x="5" y="13"/>
                    <a:pt x="1" y="15"/>
                  </a:cubicBezTo>
                  <a:cubicBezTo>
                    <a:pt x="6" y="16"/>
                    <a:pt x="12" y="18"/>
                    <a:pt x="17" y="18"/>
                  </a:cubicBezTo>
                  <a:cubicBezTo>
                    <a:pt x="17" y="18"/>
                    <a:pt x="17" y="18"/>
                    <a:pt x="18" y="18"/>
                  </a:cubicBezTo>
                  <a:cubicBezTo>
                    <a:pt x="17" y="16"/>
                    <a:pt x="18" y="15"/>
                    <a:pt x="18" y="14"/>
                  </a:cubicBezTo>
                  <a:cubicBezTo>
                    <a:pt x="17" y="15"/>
                    <a:pt x="15" y="16"/>
                    <a:pt x="14" y="16"/>
                  </a:cubicBezTo>
                  <a:cubicBezTo>
                    <a:pt x="13" y="16"/>
                    <a:pt x="12" y="16"/>
                    <a:pt x="12" y="15"/>
                  </a:cubicBezTo>
                  <a:cubicBezTo>
                    <a:pt x="10" y="13"/>
                    <a:pt x="11" y="13"/>
                    <a:pt x="14" y="10"/>
                  </a:cubicBezTo>
                  <a:cubicBezTo>
                    <a:pt x="13" y="10"/>
                    <a:pt x="13" y="10"/>
                    <a:pt x="13" y="10"/>
                  </a:cubicBezTo>
                  <a:cubicBezTo>
                    <a:pt x="13" y="9"/>
                    <a:pt x="17" y="3"/>
                    <a:pt x="16" y="3"/>
                  </a:cubicBezTo>
                  <a:cubicBezTo>
                    <a:pt x="16" y="2"/>
                    <a:pt x="16" y="2"/>
                    <a:pt x="16" y="2"/>
                  </a:cubicBezTo>
                  <a:cubicBezTo>
                    <a:pt x="15" y="2"/>
                    <a:pt x="14" y="5"/>
                    <a:pt x="14" y="5"/>
                  </a:cubicBezTo>
                  <a:cubicBezTo>
                    <a:pt x="14" y="5"/>
                    <a:pt x="13" y="5"/>
                    <a:pt x="13" y="5"/>
                  </a:cubicBezTo>
                  <a:cubicBezTo>
                    <a:pt x="11" y="5"/>
                    <a:pt x="11"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397"/>
            <p:cNvSpPr/>
            <p:nvPr/>
          </p:nvSpPr>
          <p:spPr bwMode="auto">
            <a:xfrm>
              <a:off x="3026" y="1830"/>
              <a:ext cx="21" cy="16"/>
            </a:xfrm>
            <a:custGeom>
              <a:gdLst>
                <a:gd name="T0" fmla="*/ 9 w 9"/>
                <a:gd name="T1" fmla="*/ 0 h 7"/>
                <a:gd name="T2" fmla="*/ 0 w 9"/>
                <a:gd name="T3" fmla="*/ 7 h 7"/>
                <a:gd name="T4" fmla="*/ 9 w 9"/>
                <a:gd name="T5" fmla="*/ 0 h 7"/>
              </a:gdLst>
              <a:cxnLst>
                <a:cxn ang="0">
                  <a:pos x="T0" y="T1"/>
                </a:cxn>
                <a:cxn ang="0">
                  <a:pos x="T2" y="T3"/>
                </a:cxn>
                <a:cxn ang="0">
                  <a:pos x="T4" y="T5"/>
                </a:cxn>
              </a:cxnLst>
              <a:rect l="0" t="0" r="r" b="b"/>
              <a:pathLst>
                <a:path w="9" h="7">
                  <a:moveTo>
                    <a:pt x="9" y="0"/>
                  </a:moveTo>
                  <a:cubicBezTo>
                    <a:pt x="6" y="2"/>
                    <a:pt x="3" y="4"/>
                    <a:pt x="0" y="7"/>
                  </a:cubicBezTo>
                  <a:cubicBezTo>
                    <a:pt x="2" y="6"/>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398"/>
            <p:cNvSpPr/>
            <p:nvPr/>
          </p:nvSpPr>
          <p:spPr bwMode="auto">
            <a:xfrm>
              <a:off x="3437" y="1733"/>
              <a:ext cx="3" cy="7"/>
            </a:xfrm>
            <a:custGeom>
              <a:gdLst>
                <a:gd name="T0" fmla="*/ 0 w 1"/>
                <a:gd name="T1" fmla="*/ 0 h 3"/>
                <a:gd name="T2" fmla="*/ 0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0"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399"/>
            <p:cNvSpPr/>
            <p:nvPr/>
          </p:nvSpPr>
          <p:spPr bwMode="auto">
            <a:xfrm>
              <a:off x="3707" y="2303"/>
              <a:ext cx="21" cy="21"/>
            </a:xfrm>
            <a:custGeom>
              <a:gdLst>
                <a:gd name="T0" fmla="*/ 4 w 9"/>
                <a:gd name="T1" fmla="*/ 0 h 9"/>
                <a:gd name="T2" fmla="*/ 0 w 9"/>
                <a:gd name="T3" fmla="*/ 1 h 9"/>
                <a:gd name="T4" fmla="*/ 6 w 9"/>
                <a:gd name="T5" fmla="*/ 9 h 9"/>
                <a:gd name="T6" fmla="*/ 6 w 9"/>
                <a:gd name="T7" fmla="*/ 1 h 9"/>
                <a:gd name="T8" fmla="*/ 4 w 9"/>
                <a:gd name="T9" fmla="*/ 0 h 9"/>
              </a:gdLst>
              <a:cxnLst>
                <a:cxn ang="0">
                  <a:pos x="T0" y="T1"/>
                </a:cxn>
                <a:cxn ang="0">
                  <a:pos x="T2" y="T3"/>
                </a:cxn>
                <a:cxn ang="0">
                  <a:pos x="T4" y="T5"/>
                </a:cxn>
                <a:cxn ang="0">
                  <a:pos x="T6" y="T7"/>
                </a:cxn>
                <a:cxn ang="0">
                  <a:pos x="T8" y="T9"/>
                </a:cxn>
              </a:cxnLst>
              <a:rect l="0" t="0" r="r" b="b"/>
              <a:pathLst>
                <a:path w="9" h="9">
                  <a:moveTo>
                    <a:pt x="4" y="0"/>
                  </a:moveTo>
                  <a:cubicBezTo>
                    <a:pt x="3" y="0"/>
                    <a:pt x="2" y="1"/>
                    <a:pt x="0" y="1"/>
                  </a:cubicBezTo>
                  <a:cubicBezTo>
                    <a:pt x="2" y="4"/>
                    <a:pt x="4" y="6"/>
                    <a:pt x="6" y="9"/>
                  </a:cubicBezTo>
                  <a:cubicBezTo>
                    <a:pt x="9" y="5"/>
                    <a:pt x="4" y="4"/>
                    <a:pt x="6"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400"/>
            <p:cNvSpPr/>
            <p:nvPr/>
          </p:nvSpPr>
          <p:spPr bwMode="auto">
            <a:xfrm>
              <a:off x="3839" y="3967"/>
              <a:ext cx="31" cy="14"/>
            </a:xfrm>
            <a:custGeom>
              <a:gdLst>
                <a:gd name="T0" fmla="*/ 9 w 13"/>
                <a:gd name="T1" fmla="*/ 0 h 6"/>
                <a:gd name="T2" fmla="*/ 5 w 13"/>
                <a:gd name="T3" fmla="*/ 1 h 6"/>
                <a:gd name="T4" fmla="*/ 4 w 13"/>
                <a:gd name="T5" fmla="*/ 1 h 6"/>
                <a:gd name="T6" fmla="*/ 3 w 13"/>
                <a:gd name="T7" fmla="*/ 1 h 6"/>
                <a:gd name="T8" fmla="*/ 3 w 13"/>
                <a:gd name="T9" fmla="*/ 1 h 6"/>
                <a:gd name="T10" fmla="*/ 0 w 13"/>
                <a:gd name="T11" fmla="*/ 2 h 6"/>
                <a:gd name="T12" fmla="*/ 9 w 13"/>
                <a:gd name="T13" fmla="*/ 6 h 6"/>
                <a:gd name="T14" fmla="*/ 13 w 13"/>
                <a:gd name="T15" fmla="*/ 4 h 6"/>
                <a:gd name="T16" fmla="*/ 13 w 13"/>
                <a:gd name="T17" fmla="*/ 4 h 6"/>
                <a:gd name="T18" fmla="*/ 9 w 13"/>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
                  <a:moveTo>
                    <a:pt x="9" y="0"/>
                  </a:moveTo>
                  <a:cubicBezTo>
                    <a:pt x="8" y="0"/>
                    <a:pt x="7" y="0"/>
                    <a:pt x="5" y="1"/>
                  </a:cubicBezTo>
                  <a:cubicBezTo>
                    <a:pt x="4" y="1"/>
                    <a:pt x="4" y="1"/>
                    <a:pt x="4" y="1"/>
                  </a:cubicBezTo>
                  <a:cubicBezTo>
                    <a:pt x="3" y="1"/>
                    <a:pt x="3" y="1"/>
                    <a:pt x="3" y="1"/>
                  </a:cubicBezTo>
                  <a:cubicBezTo>
                    <a:pt x="3" y="1"/>
                    <a:pt x="3" y="1"/>
                    <a:pt x="3" y="1"/>
                  </a:cubicBezTo>
                  <a:cubicBezTo>
                    <a:pt x="2" y="1"/>
                    <a:pt x="1" y="1"/>
                    <a:pt x="0" y="2"/>
                  </a:cubicBezTo>
                  <a:cubicBezTo>
                    <a:pt x="3" y="3"/>
                    <a:pt x="6" y="4"/>
                    <a:pt x="9" y="6"/>
                  </a:cubicBezTo>
                  <a:cubicBezTo>
                    <a:pt x="11" y="5"/>
                    <a:pt x="12" y="4"/>
                    <a:pt x="13" y="4"/>
                  </a:cubicBezTo>
                  <a:cubicBezTo>
                    <a:pt x="13" y="4"/>
                    <a:pt x="13" y="4"/>
                    <a:pt x="13" y="4"/>
                  </a:cubicBezTo>
                  <a:cubicBezTo>
                    <a:pt x="13" y="1"/>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401"/>
            <p:cNvSpPr/>
            <p:nvPr/>
          </p:nvSpPr>
          <p:spPr bwMode="auto">
            <a:xfrm>
              <a:off x="3903" y="2435"/>
              <a:ext cx="2"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1402"/>
            <p:cNvSpPr/>
            <p:nvPr/>
          </p:nvSpPr>
          <p:spPr bwMode="auto">
            <a:xfrm>
              <a:off x="2773" y="1794"/>
              <a:ext cx="10" cy="26"/>
            </a:xfrm>
            <a:custGeom>
              <a:gdLst>
                <a:gd name="T0" fmla="*/ 3 w 4"/>
                <a:gd name="T1" fmla="*/ 0 h 11"/>
                <a:gd name="T2" fmla="*/ 0 w 4"/>
                <a:gd name="T3" fmla="*/ 2 h 11"/>
                <a:gd name="T4" fmla="*/ 3 w 4"/>
                <a:gd name="T5" fmla="*/ 11 h 11"/>
                <a:gd name="T6" fmla="*/ 4 w 4"/>
                <a:gd name="T7" fmla="*/ 5 h 11"/>
                <a:gd name="T8" fmla="*/ 3 w 4"/>
                <a:gd name="T9" fmla="*/ 0 h 11"/>
              </a:gdLst>
              <a:cxnLst>
                <a:cxn ang="0">
                  <a:pos x="T0" y="T1"/>
                </a:cxn>
                <a:cxn ang="0">
                  <a:pos x="T2" y="T3"/>
                </a:cxn>
                <a:cxn ang="0">
                  <a:pos x="T4" y="T5"/>
                </a:cxn>
                <a:cxn ang="0">
                  <a:pos x="T6" y="T7"/>
                </a:cxn>
                <a:cxn ang="0">
                  <a:pos x="T8" y="T9"/>
                </a:cxn>
              </a:cxnLst>
              <a:rect l="0" t="0" r="r" b="b"/>
              <a:pathLst>
                <a:path w="4" h="11">
                  <a:moveTo>
                    <a:pt x="3" y="0"/>
                  </a:moveTo>
                  <a:cubicBezTo>
                    <a:pt x="2" y="1"/>
                    <a:pt x="1" y="2"/>
                    <a:pt x="0" y="2"/>
                  </a:cubicBezTo>
                  <a:cubicBezTo>
                    <a:pt x="1" y="5"/>
                    <a:pt x="2" y="8"/>
                    <a:pt x="3" y="11"/>
                  </a:cubicBezTo>
                  <a:cubicBezTo>
                    <a:pt x="4" y="8"/>
                    <a:pt x="4" y="6"/>
                    <a:pt x="4" y="5"/>
                  </a:cubicBezTo>
                  <a:cubicBezTo>
                    <a:pt x="3"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403"/>
            <p:cNvSpPr/>
            <p:nvPr/>
          </p:nvSpPr>
          <p:spPr bwMode="auto">
            <a:xfrm>
              <a:off x="3047" y="3588"/>
              <a:ext cx="114" cy="38"/>
            </a:xfrm>
            <a:custGeom>
              <a:gdLst>
                <a:gd name="T0" fmla="*/ 30 w 48"/>
                <a:gd name="T1" fmla="*/ 0 h 16"/>
                <a:gd name="T2" fmla="*/ 24 w 48"/>
                <a:gd name="T3" fmla="*/ 0 h 16"/>
                <a:gd name="T4" fmla="*/ 16 w 48"/>
                <a:gd name="T5" fmla="*/ 3 h 16"/>
                <a:gd name="T6" fmla="*/ 7 w 48"/>
                <a:gd name="T7" fmla="*/ 5 h 16"/>
                <a:gd name="T8" fmla="*/ 3 w 48"/>
                <a:gd name="T9" fmla="*/ 12 h 16"/>
                <a:gd name="T10" fmla="*/ 6 w 48"/>
                <a:gd name="T11" fmla="*/ 15 h 16"/>
                <a:gd name="T12" fmla="*/ 8 w 48"/>
                <a:gd name="T13" fmla="*/ 15 h 16"/>
                <a:gd name="T14" fmla="*/ 10 w 48"/>
                <a:gd name="T15" fmla="*/ 15 h 16"/>
                <a:gd name="T16" fmla="*/ 14 w 48"/>
                <a:gd name="T17" fmla="*/ 15 h 16"/>
                <a:gd name="T18" fmla="*/ 18 w 48"/>
                <a:gd name="T19" fmla="*/ 15 h 16"/>
                <a:gd name="T20" fmla="*/ 24 w 48"/>
                <a:gd name="T21" fmla="*/ 14 h 16"/>
                <a:gd name="T22" fmla="*/ 28 w 48"/>
                <a:gd name="T23" fmla="*/ 16 h 16"/>
                <a:gd name="T24" fmla="*/ 37 w 48"/>
                <a:gd name="T25" fmla="*/ 10 h 16"/>
                <a:gd name="T26" fmla="*/ 48 w 48"/>
                <a:gd name="T27" fmla="*/ 9 h 16"/>
                <a:gd name="T28" fmla="*/ 44 w 48"/>
                <a:gd name="T29" fmla="*/ 5 h 16"/>
                <a:gd name="T30" fmla="*/ 43 w 48"/>
                <a:gd name="T31" fmla="*/ 5 h 16"/>
                <a:gd name="T32" fmla="*/ 40 w 48"/>
                <a:gd name="T33" fmla="*/ 7 h 16"/>
                <a:gd name="T34" fmla="*/ 40 w 48"/>
                <a:gd name="T35" fmla="*/ 7 h 16"/>
                <a:gd name="T36" fmla="*/ 37 w 48"/>
                <a:gd name="T37" fmla="*/ 5 h 16"/>
                <a:gd name="T38" fmla="*/ 35 w 48"/>
                <a:gd name="T39" fmla="*/ 4 h 16"/>
                <a:gd name="T40" fmla="*/ 32 w 48"/>
                <a:gd name="T41" fmla="*/ 0 h 16"/>
                <a:gd name="T42" fmla="*/ 30 w 48"/>
                <a:gd name="T43"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16">
                  <a:moveTo>
                    <a:pt x="30" y="0"/>
                  </a:moveTo>
                  <a:cubicBezTo>
                    <a:pt x="28" y="0"/>
                    <a:pt x="25" y="0"/>
                    <a:pt x="24" y="0"/>
                  </a:cubicBezTo>
                  <a:cubicBezTo>
                    <a:pt x="22" y="1"/>
                    <a:pt x="19" y="3"/>
                    <a:pt x="16" y="3"/>
                  </a:cubicBezTo>
                  <a:cubicBezTo>
                    <a:pt x="13" y="4"/>
                    <a:pt x="10" y="4"/>
                    <a:pt x="7" y="5"/>
                  </a:cubicBezTo>
                  <a:cubicBezTo>
                    <a:pt x="3" y="6"/>
                    <a:pt x="0" y="9"/>
                    <a:pt x="3" y="12"/>
                  </a:cubicBezTo>
                  <a:cubicBezTo>
                    <a:pt x="6" y="15"/>
                    <a:pt x="6" y="15"/>
                    <a:pt x="6" y="15"/>
                  </a:cubicBezTo>
                  <a:cubicBezTo>
                    <a:pt x="7" y="15"/>
                    <a:pt x="8" y="15"/>
                    <a:pt x="8" y="15"/>
                  </a:cubicBezTo>
                  <a:cubicBezTo>
                    <a:pt x="8" y="15"/>
                    <a:pt x="9" y="15"/>
                    <a:pt x="10" y="15"/>
                  </a:cubicBezTo>
                  <a:cubicBezTo>
                    <a:pt x="11" y="15"/>
                    <a:pt x="13" y="15"/>
                    <a:pt x="14" y="15"/>
                  </a:cubicBezTo>
                  <a:cubicBezTo>
                    <a:pt x="16" y="15"/>
                    <a:pt x="17" y="15"/>
                    <a:pt x="18" y="15"/>
                  </a:cubicBezTo>
                  <a:cubicBezTo>
                    <a:pt x="20" y="15"/>
                    <a:pt x="22" y="14"/>
                    <a:pt x="24" y="14"/>
                  </a:cubicBezTo>
                  <a:cubicBezTo>
                    <a:pt x="25" y="14"/>
                    <a:pt x="27" y="14"/>
                    <a:pt x="28" y="16"/>
                  </a:cubicBezTo>
                  <a:cubicBezTo>
                    <a:pt x="31" y="14"/>
                    <a:pt x="34" y="11"/>
                    <a:pt x="37" y="10"/>
                  </a:cubicBezTo>
                  <a:cubicBezTo>
                    <a:pt x="40" y="9"/>
                    <a:pt x="44" y="9"/>
                    <a:pt x="48" y="9"/>
                  </a:cubicBezTo>
                  <a:cubicBezTo>
                    <a:pt x="47" y="8"/>
                    <a:pt x="46" y="6"/>
                    <a:pt x="44" y="5"/>
                  </a:cubicBezTo>
                  <a:cubicBezTo>
                    <a:pt x="44" y="5"/>
                    <a:pt x="44" y="5"/>
                    <a:pt x="43" y="5"/>
                  </a:cubicBezTo>
                  <a:cubicBezTo>
                    <a:pt x="41" y="5"/>
                    <a:pt x="42" y="7"/>
                    <a:pt x="40" y="7"/>
                  </a:cubicBezTo>
                  <a:cubicBezTo>
                    <a:pt x="40" y="7"/>
                    <a:pt x="40" y="7"/>
                    <a:pt x="40" y="7"/>
                  </a:cubicBezTo>
                  <a:cubicBezTo>
                    <a:pt x="38" y="7"/>
                    <a:pt x="38" y="6"/>
                    <a:pt x="37" y="5"/>
                  </a:cubicBezTo>
                  <a:cubicBezTo>
                    <a:pt x="36" y="5"/>
                    <a:pt x="36" y="6"/>
                    <a:pt x="35" y="4"/>
                  </a:cubicBezTo>
                  <a:cubicBezTo>
                    <a:pt x="33" y="2"/>
                    <a:pt x="34" y="1"/>
                    <a:pt x="32" y="0"/>
                  </a:cubicBezTo>
                  <a:cubicBezTo>
                    <a:pt x="31" y="0"/>
                    <a:pt x="31"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404"/>
            <p:cNvSpPr/>
            <p:nvPr/>
          </p:nvSpPr>
          <p:spPr bwMode="auto">
            <a:xfrm>
              <a:off x="2847" y="3331"/>
              <a:ext cx="9" cy="7"/>
            </a:xfrm>
            <a:custGeom>
              <a:gdLst>
                <a:gd name="T0" fmla="*/ 4 w 4"/>
                <a:gd name="T1" fmla="*/ 0 h 3"/>
                <a:gd name="T2" fmla="*/ 0 w 4"/>
                <a:gd name="T3" fmla="*/ 3 h 3"/>
                <a:gd name="T4" fmla="*/ 4 w 4"/>
                <a:gd name="T5" fmla="*/ 0 h 3"/>
              </a:gdLst>
              <a:cxnLst>
                <a:cxn ang="0">
                  <a:pos x="T0" y="T1"/>
                </a:cxn>
                <a:cxn ang="0">
                  <a:pos x="T2" y="T3"/>
                </a:cxn>
                <a:cxn ang="0">
                  <a:pos x="T4" y="T5"/>
                </a:cxn>
              </a:cxnLst>
              <a:rect l="0" t="0" r="r" b="b"/>
              <a:pathLst>
                <a:path w="4" h="3">
                  <a:moveTo>
                    <a:pt x="4" y="0"/>
                  </a:moveTo>
                  <a:cubicBezTo>
                    <a:pt x="2" y="1"/>
                    <a:pt x="1" y="2"/>
                    <a:pt x="0" y="3"/>
                  </a:cubicBezTo>
                  <a:cubicBezTo>
                    <a:pt x="1" y="2"/>
                    <a:pt x="2"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405"/>
            <p:cNvSpPr/>
            <p:nvPr/>
          </p:nvSpPr>
          <p:spPr bwMode="auto">
            <a:xfrm>
              <a:off x="3652" y="3804"/>
              <a:ext cx="15" cy="9"/>
            </a:xfrm>
            <a:custGeom>
              <a:gdLst>
                <a:gd name="T0" fmla="*/ 1 w 6"/>
                <a:gd name="T1" fmla="*/ 0 h 4"/>
                <a:gd name="T2" fmla="*/ 2 w 6"/>
                <a:gd name="T3" fmla="*/ 4 h 4"/>
                <a:gd name="T4" fmla="*/ 6 w 6"/>
                <a:gd name="T5" fmla="*/ 2 h 4"/>
                <a:gd name="T6" fmla="*/ 6 w 6"/>
                <a:gd name="T7" fmla="*/ 2 h 4"/>
                <a:gd name="T8" fmla="*/ 1 w 6"/>
                <a:gd name="T9" fmla="*/ 0 h 4"/>
              </a:gdLst>
              <a:cxnLst>
                <a:cxn ang="0">
                  <a:pos x="T0" y="T1"/>
                </a:cxn>
                <a:cxn ang="0">
                  <a:pos x="T2" y="T3"/>
                </a:cxn>
                <a:cxn ang="0">
                  <a:pos x="T4" y="T5"/>
                </a:cxn>
                <a:cxn ang="0">
                  <a:pos x="T6" y="T7"/>
                </a:cxn>
                <a:cxn ang="0">
                  <a:pos x="T8" y="T9"/>
                </a:cxn>
              </a:cxnLst>
              <a:rect l="0" t="0" r="r" b="b"/>
              <a:pathLst>
                <a:path w="6" h="4">
                  <a:moveTo>
                    <a:pt x="1" y="0"/>
                  </a:moveTo>
                  <a:cubicBezTo>
                    <a:pt x="0" y="1"/>
                    <a:pt x="1" y="3"/>
                    <a:pt x="2" y="4"/>
                  </a:cubicBezTo>
                  <a:cubicBezTo>
                    <a:pt x="3" y="3"/>
                    <a:pt x="4" y="2"/>
                    <a:pt x="6" y="2"/>
                  </a:cubicBezTo>
                  <a:cubicBezTo>
                    <a:pt x="6" y="2"/>
                    <a:pt x="6" y="2"/>
                    <a:pt x="6" y="2"/>
                  </a:cubicBezTo>
                  <a:cubicBezTo>
                    <a:pt x="4"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1406"/>
            <p:cNvSpPr/>
            <p:nvPr/>
          </p:nvSpPr>
          <p:spPr bwMode="auto">
            <a:xfrm>
              <a:off x="1599" y="2477"/>
              <a:ext cx="9" cy="17"/>
            </a:xfrm>
            <a:custGeom>
              <a:gdLst>
                <a:gd name="T0" fmla="*/ 3 w 4"/>
                <a:gd name="T1" fmla="*/ 0 h 7"/>
                <a:gd name="T2" fmla="*/ 0 w 4"/>
                <a:gd name="T3" fmla="*/ 7 h 7"/>
                <a:gd name="T4" fmla="*/ 3 w 4"/>
                <a:gd name="T5" fmla="*/ 0 h 7"/>
              </a:gdLst>
              <a:cxnLst>
                <a:cxn ang="0">
                  <a:pos x="T0" y="T1"/>
                </a:cxn>
                <a:cxn ang="0">
                  <a:pos x="T2" y="T3"/>
                </a:cxn>
                <a:cxn ang="0">
                  <a:pos x="T4" y="T5"/>
                </a:cxn>
              </a:cxnLst>
              <a:rect l="0" t="0" r="r" b="b"/>
              <a:pathLst>
                <a:path w="4" h="7">
                  <a:moveTo>
                    <a:pt x="3" y="0"/>
                  </a:moveTo>
                  <a:cubicBezTo>
                    <a:pt x="2" y="2"/>
                    <a:pt x="1" y="5"/>
                    <a:pt x="0" y="7"/>
                  </a:cubicBezTo>
                  <a:cubicBezTo>
                    <a:pt x="2" y="5"/>
                    <a:pt x="4"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1407"/>
            <p:cNvSpPr/>
            <p:nvPr/>
          </p:nvSpPr>
          <p:spPr bwMode="auto">
            <a:xfrm>
              <a:off x="4009" y="2589"/>
              <a:ext cx="3" cy="9"/>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2"/>
                    <a:pt x="0" y="3"/>
                    <a:pt x="0" y="4"/>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408"/>
            <p:cNvSpPr>
              <a:spLocks noEditPoints="1"/>
            </p:cNvSpPr>
            <p:nvPr/>
          </p:nvSpPr>
          <p:spPr bwMode="auto">
            <a:xfrm>
              <a:off x="3823" y="3917"/>
              <a:ext cx="47" cy="43"/>
            </a:xfrm>
            <a:custGeom>
              <a:gdLst>
                <a:gd name="T0" fmla="*/ 14 w 20"/>
                <a:gd name="T1" fmla="*/ 17 h 18"/>
                <a:gd name="T2" fmla="*/ 14 w 20"/>
                <a:gd name="T3" fmla="*/ 17 h 18"/>
                <a:gd name="T4" fmla="*/ 14 w 20"/>
                <a:gd name="T5" fmla="*/ 17 h 18"/>
                <a:gd name="T6" fmla="*/ 5 w 20"/>
                <a:gd name="T7" fmla="*/ 0 h 18"/>
                <a:gd name="T8" fmla="*/ 2 w 20"/>
                <a:gd name="T9" fmla="*/ 4 h 18"/>
                <a:gd name="T10" fmla="*/ 0 w 20"/>
                <a:gd name="T11" fmla="*/ 5 h 18"/>
                <a:gd name="T12" fmla="*/ 7 w 20"/>
                <a:gd name="T13" fmla="*/ 16 h 18"/>
                <a:gd name="T14" fmla="*/ 10 w 20"/>
                <a:gd name="T15" fmla="*/ 18 h 18"/>
                <a:gd name="T16" fmla="*/ 12 w 20"/>
                <a:gd name="T17" fmla="*/ 18 h 18"/>
                <a:gd name="T18" fmla="*/ 12 w 20"/>
                <a:gd name="T19" fmla="*/ 18 h 18"/>
                <a:gd name="T20" fmla="*/ 13 w 20"/>
                <a:gd name="T21" fmla="*/ 17 h 18"/>
                <a:gd name="T22" fmla="*/ 14 w 20"/>
                <a:gd name="T23" fmla="*/ 17 h 18"/>
                <a:gd name="T24" fmla="*/ 14 w 20"/>
                <a:gd name="T25" fmla="*/ 17 h 18"/>
                <a:gd name="T26" fmla="*/ 14 w 20"/>
                <a:gd name="T27" fmla="*/ 17 h 18"/>
                <a:gd name="T28" fmla="*/ 15 w 20"/>
                <a:gd name="T29" fmla="*/ 17 h 18"/>
                <a:gd name="T30" fmla="*/ 15 w 20"/>
                <a:gd name="T31" fmla="*/ 18 h 18"/>
                <a:gd name="T32" fmla="*/ 16 w 20"/>
                <a:gd name="T33" fmla="*/ 17 h 18"/>
                <a:gd name="T34" fmla="*/ 5 w 20"/>
                <a:gd name="T3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8">
                  <a:moveTo>
                    <a:pt x="14" y="17"/>
                  </a:moveTo>
                  <a:cubicBezTo>
                    <a:pt x="14" y="17"/>
                    <a:pt x="14" y="17"/>
                    <a:pt x="14" y="17"/>
                  </a:cubicBezTo>
                  <a:cubicBezTo>
                    <a:pt x="14" y="17"/>
                    <a:pt x="14" y="17"/>
                    <a:pt x="14" y="17"/>
                  </a:cubicBezTo>
                  <a:moveTo>
                    <a:pt x="5" y="0"/>
                  </a:moveTo>
                  <a:cubicBezTo>
                    <a:pt x="3" y="0"/>
                    <a:pt x="2" y="2"/>
                    <a:pt x="2" y="4"/>
                  </a:cubicBezTo>
                  <a:cubicBezTo>
                    <a:pt x="1" y="4"/>
                    <a:pt x="0" y="4"/>
                    <a:pt x="0" y="5"/>
                  </a:cubicBezTo>
                  <a:cubicBezTo>
                    <a:pt x="0" y="8"/>
                    <a:pt x="6" y="14"/>
                    <a:pt x="7" y="16"/>
                  </a:cubicBezTo>
                  <a:cubicBezTo>
                    <a:pt x="8" y="18"/>
                    <a:pt x="9" y="18"/>
                    <a:pt x="10" y="18"/>
                  </a:cubicBezTo>
                  <a:cubicBezTo>
                    <a:pt x="10" y="18"/>
                    <a:pt x="11" y="18"/>
                    <a:pt x="12" y="18"/>
                  </a:cubicBezTo>
                  <a:cubicBezTo>
                    <a:pt x="12" y="18"/>
                    <a:pt x="12" y="18"/>
                    <a:pt x="12" y="18"/>
                  </a:cubicBezTo>
                  <a:cubicBezTo>
                    <a:pt x="12" y="18"/>
                    <a:pt x="12" y="17"/>
                    <a:pt x="13" y="17"/>
                  </a:cubicBezTo>
                  <a:cubicBezTo>
                    <a:pt x="13" y="17"/>
                    <a:pt x="14" y="17"/>
                    <a:pt x="14" y="17"/>
                  </a:cubicBezTo>
                  <a:cubicBezTo>
                    <a:pt x="14" y="17"/>
                    <a:pt x="14" y="17"/>
                    <a:pt x="14" y="17"/>
                  </a:cubicBezTo>
                  <a:cubicBezTo>
                    <a:pt x="14" y="17"/>
                    <a:pt x="14" y="17"/>
                    <a:pt x="14" y="17"/>
                  </a:cubicBezTo>
                  <a:cubicBezTo>
                    <a:pt x="14" y="17"/>
                    <a:pt x="14" y="17"/>
                    <a:pt x="15" y="17"/>
                  </a:cubicBezTo>
                  <a:cubicBezTo>
                    <a:pt x="15" y="17"/>
                    <a:pt x="15" y="18"/>
                    <a:pt x="15" y="18"/>
                  </a:cubicBezTo>
                  <a:cubicBezTo>
                    <a:pt x="16" y="18"/>
                    <a:pt x="16" y="17"/>
                    <a:pt x="16" y="17"/>
                  </a:cubicBezTo>
                  <a:cubicBezTo>
                    <a:pt x="20" y="13"/>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409"/>
            <p:cNvSpPr/>
            <p:nvPr/>
          </p:nvSpPr>
          <p:spPr bwMode="auto">
            <a:xfrm>
              <a:off x="3615" y="3974"/>
              <a:ext cx="4" cy="14"/>
            </a:xfrm>
            <a:custGeom>
              <a:gdLst>
                <a:gd name="T0" fmla="*/ 1 w 2"/>
                <a:gd name="T1" fmla="*/ 0 h 6"/>
                <a:gd name="T2" fmla="*/ 0 w 2"/>
                <a:gd name="T3" fmla="*/ 6 h 6"/>
                <a:gd name="T4" fmla="*/ 1 w 2"/>
                <a:gd name="T5" fmla="*/ 0 h 6"/>
              </a:gdLst>
              <a:cxnLst>
                <a:cxn ang="0">
                  <a:pos x="T0" y="T1"/>
                </a:cxn>
                <a:cxn ang="0">
                  <a:pos x="T2" y="T3"/>
                </a:cxn>
                <a:cxn ang="0">
                  <a:pos x="T4" y="T5"/>
                </a:cxn>
              </a:cxnLst>
              <a:rect l="0" t="0" r="r" b="b"/>
              <a:pathLst>
                <a:path w="2" h="6">
                  <a:moveTo>
                    <a:pt x="1" y="0"/>
                  </a:moveTo>
                  <a:cubicBezTo>
                    <a:pt x="1" y="2"/>
                    <a:pt x="0" y="4"/>
                    <a:pt x="0" y="6"/>
                  </a:cubicBezTo>
                  <a:cubicBezTo>
                    <a:pt x="1"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1410"/>
            <p:cNvSpPr>
              <a:spLocks noEditPoints="1"/>
            </p:cNvSpPr>
            <p:nvPr/>
          </p:nvSpPr>
          <p:spPr bwMode="auto">
            <a:xfrm>
              <a:off x="3605" y="3993"/>
              <a:ext cx="258" cy="243"/>
            </a:xfrm>
            <a:custGeom>
              <a:gdLst>
                <a:gd name="T0" fmla="*/ 109 w 109"/>
                <a:gd name="T1" fmla="*/ 54 h 103"/>
                <a:gd name="T2" fmla="*/ 109 w 109"/>
                <a:gd name="T3" fmla="*/ 54 h 103"/>
                <a:gd name="T4" fmla="*/ 109 w 109"/>
                <a:gd name="T5" fmla="*/ 54 h 103"/>
                <a:gd name="T6" fmla="*/ 3 w 109"/>
                <a:gd name="T7" fmla="*/ 0 h 103"/>
                <a:gd name="T8" fmla="*/ 2 w 109"/>
                <a:gd name="T9" fmla="*/ 18 h 103"/>
                <a:gd name="T10" fmla="*/ 5 w 109"/>
                <a:gd name="T11" fmla="*/ 28 h 103"/>
                <a:gd name="T12" fmla="*/ 11 w 109"/>
                <a:gd name="T13" fmla="*/ 38 h 103"/>
                <a:gd name="T14" fmla="*/ 18 w 109"/>
                <a:gd name="T15" fmla="*/ 49 h 103"/>
                <a:gd name="T16" fmla="*/ 21 w 109"/>
                <a:gd name="T17" fmla="*/ 56 h 103"/>
                <a:gd name="T18" fmla="*/ 25 w 109"/>
                <a:gd name="T19" fmla="*/ 65 h 103"/>
                <a:gd name="T20" fmla="*/ 17 w 109"/>
                <a:gd name="T21" fmla="*/ 54 h 103"/>
                <a:gd name="T22" fmla="*/ 18 w 109"/>
                <a:gd name="T23" fmla="*/ 63 h 103"/>
                <a:gd name="T24" fmla="*/ 25 w 109"/>
                <a:gd name="T25" fmla="*/ 78 h 103"/>
                <a:gd name="T26" fmla="*/ 29 w 109"/>
                <a:gd name="T27" fmla="*/ 81 h 103"/>
                <a:gd name="T28" fmla="*/ 33 w 109"/>
                <a:gd name="T29" fmla="*/ 87 h 103"/>
                <a:gd name="T30" fmla="*/ 36 w 109"/>
                <a:gd name="T31" fmla="*/ 92 h 103"/>
                <a:gd name="T32" fmla="*/ 38 w 109"/>
                <a:gd name="T33" fmla="*/ 90 h 103"/>
                <a:gd name="T34" fmla="*/ 40 w 109"/>
                <a:gd name="T35" fmla="*/ 90 h 103"/>
                <a:gd name="T36" fmla="*/ 47 w 109"/>
                <a:gd name="T37" fmla="*/ 95 h 103"/>
                <a:gd name="T38" fmla="*/ 46 w 109"/>
                <a:gd name="T39" fmla="*/ 95 h 103"/>
                <a:gd name="T40" fmla="*/ 45 w 109"/>
                <a:gd name="T41" fmla="*/ 96 h 103"/>
                <a:gd name="T42" fmla="*/ 44 w 109"/>
                <a:gd name="T43" fmla="*/ 95 h 103"/>
                <a:gd name="T44" fmla="*/ 41 w 109"/>
                <a:gd name="T45" fmla="*/ 101 h 103"/>
                <a:gd name="T46" fmla="*/ 55 w 109"/>
                <a:gd name="T47" fmla="*/ 98 h 103"/>
                <a:gd name="T48" fmla="*/ 56 w 109"/>
                <a:gd name="T49" fmla="*/ 99 h 103"/>
                <a:gd name="T50" fmla="*/ 68 w 109"/>
                <a:gd name="T51" fmla="*/ 103 h 103"/>
                <a:gd name="T52" fmla="*/ 72 w 109"/>
                <a:gd name="T53" fmla="*/ 92 h 103"/>
                <a:gd name="T54" fmla="*/ 70 w 109"/>
                <a:gd name="T55" fmla="*/ 85 h 103"/>
                <a:gd name="T56" fmla="*/ 75 w 109"/>
                <a:gd name="T57" fmla="*/ 92 h 103"/>
                <a:gd name="T58" fmla="*/ 78 w 109"/>
                <a:gd name="T59" fmla="*/ 82 h 103"/>
                <a:gd name="T60" fmla="*/ 78 w 109"/>
                <a:gd name="T61" fmla="*/ 74 h 103"/>
                <a:gd name="T62" fmla="*/ 85 w 109"/>
                <a:gd name="T63" fmla="*/ 82 h 103"/>
                <a:gd name="T64" fmla="*/ 86 w 109"/>
                <a:gd name="T65" fmla="*/ 76 h 103"/>
                <a:gd name="T66" fmla="*/ 86 w 109"/>
                <a:gd name="T67" fmla="*/ 76 h 103"/>
                <a:gd name="T68" fmla="*/ 96 w 109"/>
                <a:gd name="T69" fmla="*/ 83 h 103"/>
                <a:gd name="T70" fmla="*/ 90 w 109"/>
                <a:gd name="T71" fmla="*/ 88 h 103"/>
                <a:gd name="T72" fmla="*/ 94 w 109"/>
                <a:gd name="T73" fmla="*/ 90 h 103"/>
                <a:gd name="T74" fmla="*/ 98 w 109"/>
                <a:gd name="T75" fmla="*/ 89 h 103"/>
                <a:gd name="T76" fmla="*/ 97 w 109"/>
                <a:gd name="T77" fmla="*/ 83 h 103"/>
                <a:gd name="T78" fmla="*/ 97 w 109"/>
                <a:gd name="T79" fmla="*/ 77 h 103"/>
                <a:gd name="T80" fmla="*/ 95 w 109"/>
                <a:gd name="T81" fmla="*/ 78 h 103"/>
                <a:gd name="T82" fmla="*/ 97 w 109"/>
                <a:gd name="T83" fmla="*/ 61 h 103"/>
                <a:gd name="T84" fmla="*/ 103 w 109"/>
                <a:gd name="T85" fmla="*/ 49 h 103"/>
                <a:gd name="T86" fmla="*/ 109 w 109"/>
                <a:gd name="T87" fmla="*/ 54 h 103"/>
                <a:gd name="T88" fmla="*/ 108 w 109"/>
                <a:gd name="T89" fmla="*/ 49 h 103"/>
                <a:gd name="T90" fmla="*/ 107 w 109"/>
                <a:gd name="T91" fmla="*/ 46 h 103"/>
                <a:gd name="T92" fmla="*/ 107 w 109"/>
                <a:gd name="T93" fmla="*/ 29 h 103"/>
                <a:gd name="T94" fmla="*/ 108 w 109"/>
                <a:gd name="T95" fmla="*/ 11 h 103"/>
                <a:gd name="T96" fmla="*/ 105 w 109"/>
                <a:gd name="T97" fmla="*/ 8 h 103"/>
                <a:gd name="T98" fmla="*/ 98 w 109"/>
                <a:gd name="T99" fmla="*/ 3 h 103"/>
                <a:gd name="T100" fmla="*/ 98 w 109"/>
                <a:gd name="T101" fmla="*/ 3 h 103"/>
                <a:gd name="T102" fmla="*/ 90 w 109"/>
                <a:gd name="T103" fmla="*/ 7 h 103"/>
                <a:gd name="T104" fmla="*/ 67 w 109"/>
                <a:gd name="T105" fmla="*/ 13 h 103"/>
                <a:gd name="T106" fmla="*/ 68 w 109"/>
                <a:gd name="T107" fmla="*/ 18 h 103"/>
                <a:gd name="T108" fmla="*/ 59 w 109"/>
                <a:gd name="T109" fmla="*/ 16 h 103"/>
                <a:gd name="T110" fmla="*/ 59 w 109"/>
                <a:gd name="T111" fmla="*/ 16 h 103"/>
                <a:gd name="T112" fmla="*/ 52 w 109"/>
                <a:gd name="T113" fmla="*/ 18 h 103"/>
                <a:gd name="T114" fmla="*/ 51 w 109"/>
                <a:gd name="T115" fmla="*/ 18 h 103"/>
                <a:gd name="T116" fmla="*/ 37 w 109"/>
                <a:gd name="T117" fmla="*/ 14 h 103"/>
                <a:gd name="T118" fmla="*/ 25 w 109"/>
                <a:gd name="T119" fmla="*/ 7 h 103"/>
                <a:gd name="T120" fmla="*/ 10 w 109"/>
                <a:gd name="T121" fmla="*/ 2 h 103"/>
                <a:gd name="T122" fmla="*/ 8 w 109"/>
                <a:gd name="T123" fmla="*/ 3 h 103"/>
                <a:gd name="T124" fmla="*/ 3 w 109"/>
                <a:gd name="T125" fmla="*/ 0 h 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 h="103">
                  <a:moveTo>
                    <a:pt x="109" y="54"/>
                  </a:moveTo>
                  <a:cubicBezTo>
                    <a:pt x="109" y="54"/>
                    <a:pt x="109" y="54"/>
                    <a:pt x="109" y="54"/>
                  </a:cubicBezTo>
                  <a:cubicBezTo>
                    <a:pt x="109" y="54"/>
                    <a:pt x="109" y="54"/>
                    <a:pt x="109" y="54"/>
                  </a:cubicBezTo>
                  <a:moveTo>
                    <a:pt x="3" y="0"/>
                  </a:moveTo>
                  <a:cubicBezTo>
                    <a:pt x="1" y="7"/>
                    <a:pt x="0" y="11"/>
                    <a:pt x="2" y="18"/>
                  </a:cubicBezTo>
                  <a:cubicBezTo>
                    <a:pt x="3" y="21"/>
                    <a:pt x="3" y="25"/>
                    <a:pt x="5" y="28"/>
                  </a:cubicBezTo>
                  <a:cubicBezTo>
                    <a:pt x="7" y="31"/>
                    <a:pt x="9" y="34"/>
                    <a:pt x="11" y="38"/>
                  </a:cubicBezTo>
                  <a:cubicBezTo>
                    <a:pt x="14" y="41"/>
                    <a:pt x="19" y="45"/>
                    <a:pt x="18" y="49"/>
                  </a:cubicBezTo>
                  <a:cubicBezTo>
                    <a:pt x="18" y="53"/>
                    <a:pt x="18" y="54"/>
                    <a:pt x="21" y="56"/>
                  </a:cubicBezTo>
                  <a:cubicBezTo>
                    <a:pt x="24" y="59"/>
                    <a:pt x="28" y="60"/>
                    <a:pt x="25" y="65"/>
                  </a:cubicBezTo>
                  <a:cubicBezTo>
                    <a:pt x="23" y="61"/>
                    <a:pt x="20" y="57"/>
                    <a:pt x="17" y="54"/>
                  </a:cubicBezTo>
                  <a:cubicBezTo>
                    <a:pt x="18" y="56"/>
                    <a:pt x="18" y="60"/>
                    <a:pt x="18" y="63"/>
                  </a:cubicBezTo>
                  <a:cubicBezTo>
                    <a:pt x="19" y="67"/>
                    <a:pt x="22" y="75"/>
                    <a:pt x="25" y="78"/>
                  </a:cubicBezTo>
                  <a:cubicBezTo>
                    <a:pt x="27" y="80"/>
                    <a:pt x="28" y="80"/>
                    <a:pt x="29" y="81"/>
                  </a:cubicBezTo>
                  <a:cubicBezTo>
                    <a:pt x="30" y="83"/>
                    <a:pt x="32" y="85"/>
                    <a:pt x="33" y="87"/>
                  </a:cubicBezTo>
                  <a:cubicBezTo>
                    <a:pt x="34" y="88"/>
                    <a:pt x="35" y="92"/>
                    <a:pt x="36" y="92"/>
                  </a:cubicBezTo>
                  <a:cubicBezTo>
                    <a:pt x="37" y="92"/>
                    <a:pt x="37" y="91"/>
                    <a:pt x="38" y="90"/>
                  </a:cubicBezTo>
                  <a:cubicBezTo>
                    <a:pt x="38" y="90"/>
                    <a:pt x="39" y="90"/>
                    <a:pt x="40" y="90"/>
                  </a:cubicBezTo>
                  <a:cubicBezTo>
                    <a:pt x="43" y="90"/>
                    <a:pt x="48" y="93"/>
                    <a:pt x="47" y="95"/>
                  </a:cubicBezTo>
                  <a:cubicBezTo>
                    <a:pt x="47" y="95"/>
                    <a:pt x="46" y="95"/>
                    <a:pt x="46" y="95"/>
                  </a:cubicBezTo>
                  <a:cubicBezTo>
                    <a:pt x="46" y="95"/>
                    <a:pt x="45" y="95"/>
                    <a:pt x="45" y="96"/>
                  </a:cubicBezTo>
                  <a:cubicBezTo>
                    <a:pt x="45" y="95"/>
                    <a:pt x="44" y="95"/>
                    <a:pt x="44" y="95"/>
                  </a:cubicBezTo>
                  <a:cubicBezTo>
                    <a:pt x="42" y="95"/>
                    <a:pt x="42" y="99"/>
                    <a:pt x="41" y="101"/>
                  </a:cubicBezTo>
                  <a:cubicBezTo>
                    <a:pt x="45" y="100"/>
                    <a:pt x="50" y="98"/>
                    <a:pt x="55" y="98"/>
                  </a:cubicBezTo>
                  <a:cubicBezTo>
                    <a:pt x="55" y="98"/>
                    <a:pt x="55" y="98"/>
                    <a:pt x="56" y="99"/>
                  </a:cubicBezTo>
                  <a:cubicBezTo>
                    <a:pt x="60" y="99"/>
                    <a:pt x="64" y="101"/>
                    <a:pt x="68" y="103"/>
                  </a:cubicBezTo>
                  <a:cubicBezTo>
                    <a:pt x="68" y="98"/>
                    <a:pt x="68" y="95"/>
                    <a:pt x="72" y="92"/>
                  </a:cubicBezTo>
                  <a:cubicBezTo>
                    <a:pt x="71" y="90"/>
                    <a:pt x="68" y="87"/>
                    <a:pt x="70" y="85"/>
                  </a:cubicBezTo>
                  <a:cubicBezTo>
                    <a:pt x="71" y="87"/>
                    <a:pt x="73" y="90"/>
                    <a:pt x="75" y="92"/>
                  </a:cubicBezTo>
                  <a:cubicBezTo>
                    <a:pt x="77" y="88"/>
                    <a:pt x="78" y="86"/>
                    <a:pt x="78" y="82"/>
                  </a:cubicBezTo>
                  <a:cubicBezTo>
                    <a:pt x="78" y="79"/>
                    <a:pt x="77" y="77"/>
                    <a:pt x="78" y="74"/>
                  </a:cubicBezTo>
                  <a:cubicBezTo>
                    <a:pt x="81" y="77"/>
                    <a:pt x="82" y="79"/>
                    <a:pt x="85" y="82"/>
                  </a:cubicBezTo>
                  <a:cubicBezTo>
                    <a:pt x="86" y="80"/>
                    <a:pt x="83" y="77"/>
                    <a:pt x="86" y="76"/>
                  </a:cubicBezTo>
                  <a:cubicBezTo>
                    <a:pt x="86" y="76"/>
                    <a:pt x="86" y="76"/>
                    <a:pt x="86" y="76"/>
                  </a:cubicBezTo>
                  <a:cubicBezTo>
                    <a:pt x="88" y="76"/>
                    <a:pt x="94" y="81"/>
                    <a:pt x="96" y="83"/>
                  </a:cubicBezTo>
                  <a:cubicBezTo>
                    <a:pt x="94" y="83"/>
                    <a:pt x="90" y="85"/>
                    <a:pt x="90" y="88"/>
                  </a:cubicBezTo>
                  <a:cubicBezTo>
                    <a:pt x="90" y="89"/>
                    <a:pt x="92" y="90"/>
                    <a:pt x="94" y="90"/>
                  </a:cubicBezTo>
                  <a:cubicBezTo>
                    <a:pt x="96" y="90"/>
                    <a:pt x="98" y="89"/>
                    <a:pt x="98" y="89"/>
                  </a:cubicBezTo>
                  <a:cubicBezTo>
                    <a:pt x="99" y="87"/>
                    <a:pt x="97" y="86"/>
                    <a:pt x="97" y="83"/>
                  </a:cubicBezTo>
                  <a:cubicBezTo>
                    <a:pt x="98" y="82"/>
                    <a:pt x="99" y="77"/>
                    <a:pt x="97" y="77"/>
                  </a:cubicBezTo>
                  <a:cubicBezTo>
                    <a:pt x="97" y="77"/>
                    <a:pt x="96" y="77"/>
                    <a:pt x="95" y="78"/>
                  </a:cubicBezTo>
                  <a:cubicBezTo>
                    <a:pt x="95" y="73"/>
                    <a:pt x="97" y="66"/>
                    <a:pt x="97" y="61"/>
                  </a:cubicBezTo>
                  <a:cubicBezTo>
                    <a:pt x="98" y="56"/>
                    <a:pt x="103" y="53"/>
                    <a:pt x="103" y="49"/>
                  </a:cubicBezTo>
                  <a:cubicBezTo>
                    <a:pt x="106" y="49"/>
                    <a:pt x="108" y="52"/>
                    <a:pt x="109" y="54"/>
                  </a:cubicBezTo>
                  <a:cubicBezTo>
                    <a:pt x="108" y="52"/>
                    <a:pt x="108" y="50"/>
                    <a:pt x="108" y="49"/>
                  </a:cubicBezTo>
                  <a:cubicBezTo>
                    <a:pt x="108" y="48"/>
                    <a:pt x="107" y="47"/>
                    <a:pt x="107" y="46"/>
                  </a:cubicBezTo>
                  <a:cubicBezTo>
                    <a:pt x="107" y="40"/>
                    <a:pt x="106" y="35"/>
                    <a:pt x="107" y="29"/>
                  </a:cubicBezTo>
                  <a:cubicBezTo>
                    <a:pt x="107" y="24"/>
                    <a:pt x="109" y="16"/>
                    <a:pt x="108" y="11"/>
                  </a:cubicBezTo>
                  <a:cubicBezTo>
                    <a:pt x="107" y="10"/>
                    <a:pt x="106" y="8"/>
                    <a:pt x="105" y="8"/>
                  </a:cubicBezTo>
                  <a:cubicBezTo>
                    <a:pt x="105" y="7"/>
                    <a:pt x="98" y="3"/>
                    <a:pt x="98" y="3"/>
                  </a:cubicBezTo>
                  <a:cubicBezTo>
                    <a:pt x="98" y="3"/>
                    <a:pt x="98" y="3"/>
                    <a:pt x="98" y="3"/>
                  </a:cubicBezTo>
                  <a:cubicBezTo>
                    <a:pt x="95" y="5"/>
                    <a:pt x="93" y="7"/>
                    <a:pt x="90" y="7"/>
                  </a:cubicBezTo>
                  <a:cubicBezTo>
                    <a:pt x="83" y="10"/>
                    <a:pt x="75" y="12"/>
                    <a:pt x="67" y="13"/>
                  </a:cubicBezTo>
                  <a:cubicBezTo>
                    <a:pt x="63" y="14"/>
                    <a:pt x="64" y="16"/>
                    <a:pt x="68" y="18"/>
                  </a:cubicBezTo>
                  <a:cubicBezTo>
                    <a:pt x="65" y="17"/>
                    <a:pt x="62" y="16"/>
                    <a:pt x="59" y="16"/>
                  </a:cubicBezTo>
                  <a:cubicBezTo>
                    <a:pt x="59" y="16"/>
                    <a:pt x="59" y="16"/>
                    <a:pt x="59" y="16"/>
                  </a:cubicBezTo>
                  <a:cubicBezTo>
                    <a:pt x="57" y="16"/>
                    <a:pt x="54" y="18"/>
                    <a:pt x="52" y="18"/>
                  </a:cubicBezTo>
                  <a:cubicBezTo>
                    <a:pt x="52" y="18"/>
                    <a:pt x="52" y="18"/>
                    <a:pt x="51" y="18"/>
                  </a:cubicBezTo>
                  <a:cubicBezTo>
                    <a:pt x="46" y="18"/>
                    <a:pt x="42" y="15"/>
                    <a:pt x="37" y="14"/>
                  </a:cubicBezTo>
                  <a:cubicBezTo>
                    <a:pt x="33" y="12"/>
                    <a:pt x="29" y="9"/>
                    <a:pt x="25" y="7"/>
                  </a:cubicBezTo>
                  <a:cubicBezTo>
                    <a:pt x="22" y="6"/>
                    <a:pt x="15" y="2"/>
                    <a:pt x="10" y="2"/>
                  </a:cubicBezTo>
                  <a:cubicBezTo>
                    <a:pt x="9" y="2"/>
                    <a:pt x="9" y="2"/>
                    <a:pt x="8" y="3"/>
                  </a:cubicBezTo>
                  <a:cubicBezTo>
                    <a:pt x="9"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1411"/>
            <p:cNvSpPr/>
            <p:nvPr/>
          </p:nvSpPr>
          <p:spPr bwMode="auto">
            <a:xfrm>
              <a:off x="2629" y="1811"/>
              <a:ext cx="81" cy="52"/>
            </a:xfrm>
            <a:custGeom>
              <a:gdLst>
                <a:gd name="T0" fmla="*/ 26 w 34"/>
                <a:gd name="T1" fmla="*/ 0 h 22"/>
                <a:gd name="T2" fmla="*/ 25 w 34"/>
                <a:gd name="T3" fmla="*/ 6 h 22"/>
                <a:gd name="T4" fmla="*/ 22 w 34"/>
                <a:gd name="T5" fmla="*/ 2 h 22"/>
                <a:gd name="T6" fmla="*/ 20 w 34"/>
                <a:gd name="T7" fmla="*/ 3 h 22"/>
                <a:gd name="T8" fmla="*/ 10 w 34"/>
                <a:gd name="T9" fmla="*/ 6 h 22"/>
                <a:gd name="T10" fmla="*/ 8 w 34"/>
                <a:gd name="T11" fmla="*/ 6 h 22"/>
                <a:gd name="T12" fmla="*/ 0 w 34"/>
                <a:gd name="T13" fmla="*/ 1 h 22"/>
                <a:gd name="T14" fmla="*/ 5 w 34"/>
                <a:gd name="T15" fmla="*/ 14 h 22"/>
                <a:gd name="T16" fmla="*/ 10 w 34"/>
                <a:gd name="T17" fmla="*/ 18 h 22"/>
                <a:gd name="T18" fmla="*/ 16 w 34"/>
                <a:gd name="T19" fmla="*/ 22 h 22"/>
                <a:gd name="T20" fmla="*/ 17 w 34"/>
                <a:gd name="T21" fmla="*/ 22 h 22"/>
                <a:gd name="T22" fmla="*/ 29 w 34"/>
                <a:gd name="T23" fmla="*/ 13 h 22"/>
                <a:gd name="T24" fmla="*/ 34 w 34"/>
                <a:gd name="T25" fmla="*/ 7 h 22"/>
                <a:gd name="T26" fmla="*/ 31 w 34"/>
                <a:gd name="T27" fmla="*/ 3 h 22"/>
                <a:gd name="T28" fmla="*/ 26 w 34"/>
                <a:gd name="T29"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22">
                  <a:moveTo>
                    <a:pt x="26" y="0"/>
                  </a:moveTo>
                  <a:cubicBezTo>
                    <a:pt x="24" y="0"/>
                    <a:pt x="23" y="2"/>
                    <a:pt x="25" y="6"/>
                  </a:cubicBezTo>
                  <a:cubicBezTo>
                    <a:pt x="23" y="3"/>
                    <a:pt x="23" y="2"/>
                    <a:pt x="22" y="2"/>
                  </a:cubicBezTo>
                  <a:cubicBezTo>
                    <a:pt x="21" y="2"/>
                    <a:pt x="21" y="2"/>
                    <a:pt x="20" y="3"/>
                  </a:cubicBezTo>
                  <a:cubicBezTo>
                    <a:pt x="16" y="3"/>
                    <a:pt x="13" y="5"/>
                    <a:pt x="10" y="6"/>
                  </a:cubicBezTo>
                  <a:cubicBezTo>
                    <a:pt x="9" y="6"/>
                    <a:pt x="9" y="6"/>
                    <a:pt x="8" y="6"/>
                  </a:cubicBezTo>
                  <a:cubicBezTo>
                    <a:pt x="5" y="6"/>
                    <a:pt x="4" y="2"/>
                    <a:pt x="0" y="1"/>
                  </a:cubicBezTo>
                  <a:cubicBezTo>
                    <a:pt x="1" y="5"/>
                    <a:pt x="2" y="11"/>
                    <a:pt x="5" y="14"/>
                  </a:cubicBezTo>
                  <a:cubicBezTo>
                    <a:pt x="7" y="15"/>
                    <a:pt x="8" y="17"/>
                    <a:pt x="10" y="18"/>
                  </a:cubicBezTo>
                  <a:cubicBezTo>
                    <a:pt x="11" y="19"/>
                    <a:pt x="16" y="21"/>
                    <a:pt x="16" y="22"/>
                  </a:cubicBezTo>
                  <a:cubicBezTo>
                    <a:pt x="17" y="22"/>
                    <a:pt x="17" y="22"/>
                    <a:pt x="17" y="22"/>
                  </a:cubicBezTo>
                  <a:cubicBezTo>
                    <a:pt x="20" y="22"/>
                    <a:pt x="26" y="14"/>
                    <a:pt x="29" y="13"/>
                  </a:cubicBezTo>
                  <a:cubicBezTo>
                    <a:pt x="31" y="12"/>
                    <a:pt x="34" y="10"/>
                    <a:pt x="34" y="7"/>
                  </a:cubicBezTo>
                  <a:cubicBezTo>
                    <a:pt x="34" y="5"/>
                    <a:pt x="32" y="5"/>
                    <a:pt x="31" y="3"/>
                  </a:cubicBezTo>
                  <a:cubicBezTo>
                    <a:pt x="30" y="1"/>
                    <a:pt x="28"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1412"/>
            <p:cNvSpPr/>
            <p:nvPr/>
          </p:nvSpPr>
          <p:spPr bwMode="auto">
            <a:xfrm>
              <a:off x="4177" y="2771"/>
              <a:ext cx="33" cy="78"/>
            </a:xfrm>
            <a:custGeom>
              <a:gdLst>
                <a:gd name="T0" fmla="*/ 9 w 14"/>
                <a:gd name="T1" fmla="*/ 0 h 33"/>
                <a:gd name="T2" fmla="*/ 6 w 14"/>
                <a:gd name="T3" fmla="*/ 3 h 33"/>
                <a:gd name="T4" fmla="*/ 2 w 14"/>
                <a:gd name="T5" fmla="*/ 16 h 33"/>
                <a:gd name="T6" fmla="*/ 1 w 14"/>
                <a:gd name="T7" fmla="*/ 24 h 33"/>
                <a:gd name="T8" fmla="*/ 4 w 14"/>
                <a:gd name="T9" fmla="*/ 33 h 33"/>
                <a:gd name="T10" fmla="*/ 11 w 14"/>
                <a:gd name="T11" fmla="*/ 13 h 33"/>
                <a:gd name="T12" fmla="*/ 11 w 14"/>
                <a:gd name="T13" fmla="*/ 5 h 33"/>
                <a:gd name="T14" fmla="*/ 9 w 14"/>
                <a:gd name="T15" fmla="*/ 0 h 3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3">
                  <a:moveTo>
                    <a:pt x="9" y="0"/>
                  </a:moveTo>
                  <a:cubicBezTo>
                    <a:pt x="8" y="0"/>
                    <a:pt x="7" y="1"/>
                    <a:pt x="6" y="3"/>
                  </a:cubicBezTo>
                  <a:cubicBezTo>
                    <a:pt x="14" y="7"/>
                    <a:pt x="4" y="12"/>
                    <a:pt x="2" y="16"/>
                  </a:cubicBezTo>
                  <a:cubicBezTo>
                    <a:pt x="5" y="16"/>
                    <a:pt x="2" y="22"/>
                    <a:pt x="1" y="24"/>
                  </a:cubicBezTo>
                  <a:cubicBezTo>
                    <a:pt x="0" y="26"/>
                    <a:pt x="0" y="31"/>
                    <a:pt x="4" y="33"/>
                  </a:cubicBezTo>
                  <a:cubicBezTo>
                    <a:pt x="6" y="27"/>
                    <a:pt x="9" y="20"/>
                    <a:pt x="11" y="13"/>
                  </a:cubicBezTo>
                  <a:cubicBezTo>
                    <a:pt x="13" y="9"/>
                    <a:pt x="12" y="9"/>
                    <a:pt x="11" y="5"/>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1413"/>
            <p:cNvSpPr/>
            <p:nvPr/>
          </p:nvSpPr>
          <p:spPr bwMode="auto">
            <a:xfrm>
              <a:off x="3021" y="1962"/>
              <a:ext cx="8" cy="12"/>
            </a:xfrm>
            <a:custGeom>
              <a:gdLst>
                <a:gd name="T0" fmla="*/ 0 w 3"/>
                <a:gd name="T1" fmla="*/ 0 h 5"/>
                <a:gd name="T2" fmla="*/ 2 w 3"/>
                <a:gd name="T3" fmla="*/ 5 h 5"/>
                <a:gd name="T4" fmla="*/ 0 w 3"/>
                <a:gd name="T5" fmla="*/ 0 h 5"/>
              </a:gdLst>
              <a:cxnLst>
                <a:cxn ang="0">
                  <a:pos x="T0" y="T1"/>
                </a:cxn>
                <a:cxn ang="0">
                  <a:pos x="T2" y="T3"/>
                </a:cxn>
                <a:cxn ang="0">
                  <a:pos x="T4" y="T5"/>
                </a:cxn>
              </a:cxnLst>
              <a:rect l="0" t="0" r="r" b="b"/>
              <a:pathLst>
                <a:path w="3" h="5">
                  <a:moveTo>
                    <a:pt x="0" y="0"/>
                  </a:moveTo>
                  <a:cubicBezTo>
                    <a:pt x="1" y="2"/>
                    <a:pt x="1" y="3"/>
                    <a:pt x="2"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1414"/>
            <p:cNvSpPr/>
            <p:nvPr/>
          </p:nvSpPr>
          <p:spPr bwMode="auto">
            <a:xfrm>
              <a:off x="3251" y="2217"/>
              <a:ext cx="9" cy="10"/>
            </a:xfrm>
            <a:custGeom>
              <a:gdLst>
                <a:gd name="T0" fmla="*/ 2 w 4"/>
                <a:gd name="T1" fmla="*/ 0 h 4"/>
                <a:gd name="T2" fmla="*/ 0 w 4"/>
                <a:gd name="T3" fmla="*/ 4 h 4"/>
                <a:gd name="T4" fmla="*/ 4 w 4"/>
                <a:gd name="T5" fmla="*/ 2 h 4"/>
                <a:gd name="T6" fmla="*/ 2 w 4"/>
                <a:gd name="T7" fmla="*/ 0 h 4"/>
              </a:gdLst>
              <a:cxnLst>
                <a:cxn ang="0">
                  <a:pos x="T0" y="T1"/>
                </a:cxn>
                <a:cxn ang="0">
                  <a:pos x="T2" y="T3"/>
                </a:cxn>
                <a:cxn ang="0">
                  <a:pos x="T4" y="T5"/>
                </a:cxn>
                <a:cxn ang="0">
                  <a:pos x="T6" y="T7"/>
                </a:cxn>
              </a:cxnLst>
              <a:rect l="0" t="0" r="r" b="b"/>
              <a:pathLst>
                <a:path w="4" h="4">
                  <a:moveTo>
                    <a:pt x="2" y="0"/>
                  </a:moveTo>
                  <a:cubicBezTo>
                    <a:pt x="1" y="0"/>
                    <a:pt x="0" y="3"/>
                    <a:pt x="0" y="4"/>
                  </a:cubicBezTo>
                  <a:cubicBezTo>
                    <a:pt x="1" y="4"/>
                    <a:pt x="4" y="4"/>
                    <a:pt x="4" y="2"/>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1415"/>
            <p:cNvSpPr/>
            <p:nvPr/>
          </p:nvSpPr>
          <p:spPr bwMode="auto">
            <a:xfrm>
              <a:off x="3440" y="1768"/>
              <a:ext cx="9" cy="12"/>
            </a:xfrm>
            <a:custGeom>
              <a:gdLst>
                <a:gd name="T0" fmla="*/ 0 w 4"/>
                <a:gd name="T1" fmla="*/ 0 h 5"/>
                <a:gd name="T2" fmla="*/ 0 w 4"/>
                <a:gd name="T3" fmla="*/ 5 h 5"/>
                <a:gd name="T4" fmla="*/ 0 w 4"/>
                <a:gd name="T5" fmla="*/ 0 h 5"/>
              </a:gdLst>
              <a:cxnLst>
                <a:cxn ang="0">
                  <a:pos x="T0" y="T1"/>
                </a:cxn>
                <a:cxn ang="0">
                  <a:pos x="T2" y="T3"/>
                </a:cxn>
                <a:cxn ang="0">
                  <a:pos x="T4" y="T5"/>
                </a:cxn>
              </a:cxnLst>
              <a:rect l="0" t="0" r="r" b="b"/>
              <a:pathLst>
                <a:path w="4" h="5">
                  <a:moveTo>
                    <a:pt x="0" y="0"/>
                  </a:moveTo>
                  <a:cubicBezTo>
                    <a:pt x="0" y="2"/>
                    <a:pt x="0" y="4"/>
                    <a:pt x="0" y="5"/>
                  </a:cubicBezTo>
                  <a:cubicBezTo>
                    <a:pt x="4" y="5"/>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1416"/>
            <p:cNvSpPr/>
            <p:nvPr/>
          </p:nvSpPr>
          <p:spPr bwMode="auto">
            <a:xfrm>
              <a:off x="4208" y="2967"/>
              <a:ext cx="12" cy="26"/>
            </a:xfrm>
            <a:custGeom>
              <a:gdLst>
                <a:gd name="T0" fmla="*/ 3 w 5"/>
                <a:gd name="T1" fmla="*/ 0 h 11"/>
                <a:gd name="T2" fmla="*/ 1 w 5"/>
                <a:gd name="T3" fmla="*/ 11 h 11"/>
                <a:gd name="T4" fmla="*/ 4 w 5"/>
                <a:gd name="T5" fmla="*/ 3 h 11"/>
                <a:gd name="T6" fmla="*/ 3 w 5"/>
                <a:gd name="T7" fmla="*/ 0 h 11"/>
                <a:gd name="T8" fmla="*/ 3 w 5"/>
                <a:gd name="T9" fmla="*/ 0 h 11"/>
              </a:gdLst>
              <a:cxnLst>
                <a:cxn ang="0">
                  <a:pos x="T0" y="T1"/>
                </a:cxn>
                <a:cxn ang="0">
                  <a:pos x="T2" y="T3"/>
                </a:cxn>
                <a:cxn ang="0">
                  <a:pos x="T4" y="T5"/>
                </a:cxn>
                <a:cxn ang="0">
                  <a:pos x="T6" y="T7"/>
                </a:cxn>
                <a:cxn ang="0">
                  <a:pos x="T8" y="T9"/>
                </a:cxn>
              </a:cxnLst>
              <a:rect l="0" t="0" r="r" b="b"/>
              <a:pathLst>
                <a:path w="5" h="11">
                  <a:moveTo>
                    <a:pt x="3" y="0"/>
                  </a:moveTo>
                  <a:cubicBezTo>
                    <a:pt x="0" y="0"/>
                    <a:pt x="1" y="9"/>
                    <a:pt x="1" y="11"/>
                  </a:cubicBezTo>
                  <a:cubicBezTo>
                    <a:pt x="2" y="9"/>
                    <a:pt x="4" y="5"/>
                    <a:pt x="4" y="3"/>
                  </a:cubicBezTo>
                  <a:cubicBezTo>
                    <a:pt x="4" y="2"/>
                    <a:pt x="5"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1417"/>
            <p:cNvSpPr/>
            <p:nvPr/>
          </p:nvSpPr>
          <p:spPr bwMode="auto">
            <a:xfrm>
              <a:off x="3624" y="3971"/>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1418"/>
            <p:cNvSpPr/>
            <p:nvPr/>
          </p:nvSpPr>
          <p:spPr bwMode="auto">
            <a:xfrm>
              <a:off x="3021" y="3539"/>
              <a:ext cx="8" cy="9"/>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1" y="2"/>
                    <a:pt x="2" y="3"/>
                    <a:pt x="3" y="4"/>
                  </a:cubicBezTo>
                  <a:cubicBezTo>
                    <a:pt x="2"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419"/>
            <p:cNvSpPr/>
            <p:nvPr/>
          </p:nvSpPr>
          <p:spPr bwMode="auto">
            <a:xfrm>
              <a:off x="3905" y="2442"/>
              <a:ext cx="10" cy="12"/>
            </a:xfrm>
            <a:custGeom>
              <a:gdLst>
                <a:gd name="T0" fmla="*/ 0 w 4"/>
                <a:gd name="T1" fmla="*/ 0 h 5"/>
                <a:gd name="T2" fmla="*/ 0 w 4"/>
                <a:gd name="T3" fmla="*/ 5 h 5"/>
                <a:gd name="T4" fmla="*/ 0 w 4"/>
                <a:gd name="T5" fmla="*/ 5 h 5"/>
                <a:gd name="T6" fmla="*/ 0 w 4"/>
                <a:gd name="T7" fmla="*/ 0 h 5"/>
              </a:gdLst>
              <a:cxnLst>
                <a:cxn ang="0">
                  <a:pos x="T0" y="T1"/>
                </a:cxn>
                <a:cxn ang="0">
                  <a:pos x="T2" y="T3"/>
                </a:cxn>
                <a:cxn ang="0">
                  <a:pos x="T4" y="T5"/>
                </a:cxn>
                <a:cxn ang="0">
                  <a:pos x="T6" y="T7"/>
                </a:cxn>
              </a:cxnLst>
              <a:rect l="0" t="0" r="r" b="b"/>
              <a:pathLst>
                <a:path w="4" h="5">
                  <a:moveTo>
                    <a:pt x="0" y="0"/>
                  </a:moveTo>
                  <a:cubicBezTo>
                    <a:pt x="0" y="2"/>
                    <a:pt x="0" y="3"/>
                    <a:pt x="0" y="5"/>
                  </a:cubicBezTo>
                  <a:cubicBezTo>
                    <a:pt x="0" y="5"/>
                    <a:pt x="0" y="5"/>
                    <a:pt x="0" y="5"/>
                  </a:cubicBezTo>
                  <a:cubicBezTo>
                    <a:pt x="4" y="5"/>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420"/>
            <p:cNvSpPr/>
            <p:nvPr/>
          </p:nvSpPr>
          <p:spPr bwMode="auto">
            <a:xfrm>
              <a:off x="3050" y="2113"/>
              <a:ext cx="7" cy="8"/>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2"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421"/>
            <p:cNvSpPr/>
            <p:nvPr/>
          </p:nvSpPr>
          <p:spPr bwMode="auto">
            <a:xfrm>
              <a:off x="3029" y="1983"/>
              <a:ext cx="7" cy="15"/>
            </a:xfrm>
            <a:custGeom>
              <a:gdLst>
                <a:gd name="T0" fmla="*/ 1 w 3"/>
                <a:gd name="T1" fmla="*/ 0 h 6"/>
                <a:gd name="T2" fmla="*/ 0 w 3"/>
                <a:gd name="T3" fmla="*/ 6 h 6"/>
                <a:gd name="T4" fmla="*/ 1 w 3"/>
                <a:gd name="T5" fmla="*/ 0 h 6"/>
              </a:gdLst>
              <a:cxnLst>
                <a:cxn ang="0">
                  <a:pos x="T0" y="T1"/>
                </a:cxn>
                <a:cxn ang="0">
                  <a:pos x="T2" y="T3"/>
                </a:cxn>
                <a:cxn ang="0">
                  <a:pos x="T4" y="T5"/>
                </a:cxn>
              </a:cxnLst>
              <a:rect l="0" t="0" r="r" b="b"/>
              <a:pathLst>
                <a:path w="3" h="6">
                  <a:moveTo>
                    <a:pt x="1" y="0"/>
                  </a:moveTo>
                  <a:cubicBezTo>
                    <a:pt x="1" y="0"/>
                    <a:pt x="0" y="2"/>
                    <a:pt x="0" y="6"/>
                  </a:cubicBezTo>
                  <a:cubicBezTo>
                    <a:pt x="3" y="4"/>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422"/>
            <p:cNvSpPr/>
            <p:nvPr/>
          </p:nvSpPr>
          <p:spPr bwMode="auto">
            <a:xfrm>
              <a:off x="3085" y="2118"/>
              <a:ext cx="5" cy="17"/>
            </a:xfrm>
            <a:custGeom>
              <a:gdLst>
                <a:gd name="T0" fmla="*/ 0 w 2"/>
                <a:gd name="T1" fmla="*/ 0 h 7"/>
                <a:gd name="T2" fmla="*/ 1 w 2"/>
                <a:gd name="T3" fmla="*/ 7 h 7"/>
                <a:gd name="T4" fmla="*/ 0 w 2"/>
                <a:gd name="T5" fmla="*/ 0 h 7"/>
              </a:gdLst>
              <a:cxnLst>
                <a:cxn ang="0">
                  <a:pos x="T0" y="T1"/>
                </a:cxn>
                <a:cxn ang="0">
                  <a:pos x="T2" y="T3"/>
                </a:cxn>
                <a:cxn ang="0">
                  <a:pos x="T4" y="T5"/>
                </a:cxn>
              </a:cxnLst>
              <a:rect l="0" t="0" r="r" b="b"/>
              <a:pathLst>
                <a:path w="2" h="7">
                  <a:moveTo>
                    <a:pt x="0" y="0"/>
                  </a:moveTo>
                  <a:cubicBezTo>
                    <a:pt x="0" y="2"/>
                    <a:pt x="0" y="5"/>
                    <a:pt x="1" y="7"/>
                  </a:cubicBezTo>
                  <a:cubicBezTo>
                    <a:pt x="1"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1423"/>
            <p:cNvSpPr/>
            <p:nvPr/>
          </p:nvSpPr>
          <p:spPr bwMode="auto">
            <a:xfrm>
              <a:off x="3641" y="3815"/>
              <a:ext cx="16" cy="10"/>
            </a:xfrm>
            <a:custGeom>
              <a:gdLst>
                <a:gd name="T0" fmla="*/ 3 w 7"/>
                <a:gd name="T1" fmla="*/ 0 h 4"/>
                <a:gd name="T2" fmla="*/ 0 w 7"/>
                <a:gd name="T3" fmla="*/ 2 h 4"/>
                <a:gd name="T4" fmla="*/ 7 w 7"/>
                <a:gd name="T5" fmla="*/ 4 h 4"/>
                <a:gd name="T6" fmla="*/ 3 w 7"/>
                <a:gd name="T7" fmla="*/ 0 h 4"/>
              </a:gdLst>
              <a:cxnLst>
                <a:cxn ang="0">
                  <a:pos x="T0" y="T1"/>
                </a:cxn>
                <a:cxn ang="0">
                  <a:pos x="T2" y="T3"/>
                </a:cxn>
                <a:cxn ang="0">
                  <a:pos x="T4" y="T5"/>
                </a:cxn>
                <a:cxn ang="0">
                  <a:pos x="T6" y="T7"/>
                </a:cxn>
              </a:cxnLst>
              <a:rect l="0" t="0" r="r" b="b"/>
              <a:pathLst>
                <a:path w="7" h="4">
                  <a:moveTo>
                    <a:pt x="3" y="0"/>
                  </a:moveTo>
                  <a:cubicBezTo>
                    <a:pt x="2" y="0"/>
                    <a:pt x="1" y="1"/>
                    <a:pt x="0" y="2"/>
                  </a:cubicBezTo>
                  <a:cubicBezTo>
                    <a:pt x="2" y="3"/>
                    <a:pt x="4" y="3"/>
                    <a:pt x="7" y="4"/>
                  </a:cubicBezTo>
                  <a:cubicBezTo>
                    <a:pt x="6"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1424"/>
            <p:cNvSpPr/>
            <p:nvPr/>
          </p:nvSpPr>
          <p:spPr bwMode="auto">
            <a:xfrm>
              <a:off x="3442" y="1738"/>
              <a:ext cx="10" cy="9"/>
            </a:xfrm>
            <a:custGeom>
              <a:gdLst>
                <a:gd name="T0" fmla="*/ 2 w 4"/>
                <a:gd name="T1" fmla="*/ 0 h 4"/>
                <a:gd name="T2" fmla="*/ 2 w 4"/>
                <a:gd name="T3" fmla="*/ 4 h 4"/>
                <a:gd name="T4" fmla="*/ 2 w 4"/>
                <a:gd name="T5" fmla="*/ 0 h 4"/>
              </a:gdLst>
              <a:cxnLst>
                <a:cxn ang="0">
                  <a:pos x="T0" y="T1"/>
                </a:cxn>
                <a:cxn ang="0">
                  <a:pos x="T2" y="T3"/>
                </a:cxn>
                <a:cxn ang="0">
                  <a:pos x="T4" y="T5"/>
                </a:cxn>
              </a:cxnLst>
              <a:rect l="0" t="0" r="r" b="b"/>
              <a:pathLst>
                <a:path w="4" h="4">
                  <a:moveTo>
                    <a:pt x="2" y="0"/>
                  </a:moveTo>
                  <a:cubicBezTo>
                    <a:pt x="1" y="0"/>
                    <a:pt x="0" y="1"/>
                    <a:pt x="2" y="4"/>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1425"/>
            <p:cNvSpPr/>
            <p:nvPr/>
          </p:nvSpPr>
          <p:spPr bwMode="auto">
            <a:xfrm>
              <a:off x="3969" y="2579"/>
              <a:ext cx="2" cy="12"/>
            </a:xfrm>
            <a:custGeom>
              <a:gdLst>
                <a:gd name="T0" fmla="*/ 0 w 1"/>
                <a:gd name="T1" fmla="*/ 0 h 5"/>
                <a:gd name="T2" fmla="*/ 0 w 1"/>
                <a:gd name="T3" fmla="*/ 5 h 5"/>
                <a:gd name="T4" fmla="*/ 0 w 1"/>
                <a:gd name="T5" fmla="*/ 0 h 5"/>
              </a:gdLst>
              <a:cxnLst>
                <a:cxn ang="0">
                  <a:pos x="T0" y="T1"/>
                </a:cxn>
                <a:cxn ang="0">
                  <a:pos x="T2" y="T3"/>
                </a:cxn>
                <a:cxn ang="0">
                  <a:pos x="T4" y="T5"/>
                </a:cxn>
              </a:cxnLst>
              <a:rect l="0" t="0" r="r" b="b"/>
              <a:pathLst>
                <a:path w="1" h="5">
                  <a:moveTo>
                    <a:pt x="0" y="0"/>
                  </a:moveTo>
                  <a:cubicBezTo>
                    <a:pt x="0" y="1"/>
                    <a:pt x="0" y="3"/>
                    <a:pt x="0" y="5"/>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1426"/>
            <p:cNvSpPr/>
            <p:nvPr/>
          </p:nvSpPr>
          <p:spPr bwMode="auto">
            <a:xfrm>
              <a:off x="3775" y="4194"/>
              <a:ext cx="24" cy="35"/>
            </a:xfrm>
            <a:custGeom>
              <a:gdLst>
                <a:gd name="T0" fmla="*/ 8 w 10"/>
                <a:gd name="T1" fmla="*/ 0 h 15"/>
                <a:gd name="T2" fmla="*/ 4 w 10"/>
                <a:gd name="T3" fmla="*/ 10 h 15"/>
                <a:gd name="T4" fmla="*/ 4 w 10"/>
                <a:gd name="T5" fmla="*/ 9 h 15"/>
                <a:gd name="T6" fmla="*/ 3 w 10"/>
                <a:gd name="T7" fmla="*/ 11 h 15"/>
                <a:gd name="T8" fmla="*/ 3 w 10"/>
                <a:gd name="T9" fmla="*/ 13 h 15"/>
                <a:gd name="T10" fmla="*/ 0 w 10"/>
                <a:gd name="T11" fmla="*/ 12 h 15"/>
                <a:gd name="T12" fmla="*/ 3 w 10"/>
                <a:gd name="T13" fmla="*/ 14 h 15"/>
                <a:gd name="T14" fmla="*/ 5 w 10"/>
                <a:gd name="T15" fmla="*/ 15 h 15"/>
                <a:gd name="T16" fmla="*/ 8 w 10"/>
                <a:gd name="T17" fmla="*/ 6 h 15"/>
                <a:gd name="T18" fmla="*/ 8 w 10"/>
                <a:gd name="T1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5">
                  <a:moveTo>
                    <a:pt x="8" y="0"/>
                  </a:moveTo>
                  <a:cubicBezTo>
                    <a:pt x="6" y="3"/>
                    <a:pt x="5" y="7"/>
                    <a:pt x="4" y="10"/>
                  </a:cubicBezTo>
                  <a:cubicBezTo>
                    <a:pt x="4" y="9"/>
                    <a:pt x="4" y="9"/>
                    <a:pt x="4" y="9"/>
                  </a:cubicBezTo>
                  <a:cubicBezTo>
                    <a:pt x="4" y="9"/>
                    <a:pt x="3" y="10"/>
                    <a:pt x="3" y="11"/>
                  </a:cubicBezTo>
                  <a:cubicBezTo>
                    <a:pt x="2" y="11"/>
                    <a:pt x="3" y="12"/>
                    <a:pt x="3" y="13"/>
                  </a:cubicBezTo>
                  <a:cubicBezTo>
                    <a:pt x="3" y="12"/>
                    <a:pt x="1" y="12"/>
                    <a:pt x="0" y="12"/>
                  </a:cubicBezTo>
                  <a:cubicBezTo>
                    <a:pt x="0" y="12"/>
                    <a:pt x="0" y="12"/>
                    <a:pt x="3" y="14"/>
                  </a:cubicBezTo>
                  <a:cubicBezTo>
                    <a:pt x="3" y="14"/>
                    <a:pt x="4" y="15"/>
                    <a:pt x="5" y="15"/>
                  </a:cubicBezTo>
                  <a:cubicBezTo>
                    <a:pt x="8" y="15"/>
                    <a:pt x="8" y="9"/>
                    <a:pt x="8" y="6"/>
                  </a:cubicBezTo>
                  <a:cubicBezTo>
                    <a:pt x="9" y="4"/>
                    <a:pt x="10"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1427"/>
            <p:cNvSpPr/>
            <p:nvPr/>
          </p:nvSpPr>
          <p:spPr bwMode="auto">
            <a:xfrm>
              <a:off x="3846" y="3981"/>
              <a:ext cx="7" cy="7"/>
            </a:xfrm>
            <a:custGeom>
              <a:gdLst>
                <a:gd name="T0" fmla="*/ 3 w 3"/>
                <a:gd name="T1" fmla="*/ 0 h 3"/>
                <a:gd name="T2" fmla="*/ 0 w 3"/>
                <a:gd name="T3" fmla="*/ 1 h 3"/>
                <a:gd name="T4" fmla="*/ 2 w 3"/>
                <a:gd name="T5" fmla="*/ 3 h 3"/>
                <a:gd name="T6" fmla="*/ 3 w 3"/>
                <a:gd name="T7" fmla="*/ 0 h 3"/>
                <a:gd name="T8" fmla="*/ 3 w 3"/>
                <a:gd name="T9" fmla="*/ 0 h 3"/>
              </a:gdLst>
              <a:cxnLst>
                <a:cxn ang="0">
                  <a:pos x="T0" y="T1"/>
                </a:cxn>
                <a:cxn ang="0">
                  <a:pos x="T2" y="T3"/>
                </a:cxn>
                <a:cxn ang="0">
                  <a:pos x="T4" y="T5"/>
                </a:cxn>
                <a:cxn ang="0">
                  <a:pos x="T6" y="T7"/>
                </a:cxn>
                <a:cxn ang="0">
                  <a:pos x="T8" y="T9"/>
                </a:cxn>
              </a:cxnLst>
              <a:rect l="0" t="0" r="r" b="b"/>
              <a:pathLst>
                <a:path w="3" h="3">
                  <a:moveTo>
                    <a:pt x="3" y="0"/>
                  </a:moveTo>
                  <a:cubicBezTo>
                    <a:pt x="2" y="0"/>
                    <a:pt x="1" y="0"/>
                    <a:pt x="0" y="1"/>
                  </a:cubicBezTo>
                  <a:cubicBezTo>
                    <a:pt x="0" y="2"/>
                    <a:pt x="1" y="3"/>
                    <a:pt x="2" y="3"/>
                  </a:cubicBezTo>
                  <a:cubicBezTo>
                    <a:pt x="3" y="2"/>
                    <a:pt x="3"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1428"/>
            <p:cNvSpPr/>
            <p:nvPr/>
          </p:nvSpPr>
          <p:spPr bwMode="auto">
            <a:xfrm>
              <a:off x="3029" y="1865"/>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1"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Freeform 1429"/>
            <p:cNvSpPr/>
            <p:nvPr/>
          </p:nvSpPr>
          <p:spPr bwMode="auto">
            <a:xfrm>
              <a:off x="4047" y="2678"/>
              <a:ext cx="17" cy="24"/>
            </a:xfrm>
            <a:custGeom>
              <a:gdLst>
                <a:gd name="T0" fmla="*/ 0 w 7"/>
                <a:gd name="T1" fmla="*/ 0 h 10"/>
                <a:gd name="T2" fmla="*/ 4 w 7"/>
                <a:gd name="T3" fmla="*/ 8 h 10"/>
                <a:gd name="T4" fmla="*/ 6 w 7"/>
                <a:gd name="T5" fmla="*/ 10 h 10"/>
                <a:gd name="T6" fmla="*/ 5 w 7"/>
                <a:gd name="T7" fmla="*/ 3 h 10"/>
                <a:gd name="T8" fmla="*/ 0 w 7"/>
                <a:gd name="T9" fmla="*/ 0 h 10"/>
              </a:gdLst>
              <a:cxnLst>
                <a:cxn ang="0">
                  <a:pos x="T0" y="T1"/>
                </a:cxn>
                <a:cxn ang="0">
                  <a:pos x="T2" y="T3"/>
                </a:cxn>
                <a:cxn ang="0">
                  <a:pos x="T4" y="T5"/>
                </a:cxn>
                <a:cxn ang="0">
                  <a:pos x="T6" y="T7"/>
                </a:cxn>
                <a:cxn ang="0">
                  <a:pos x="T8" y="T9"/>
                </a:cxn>
              </a:cxnLst>
              <a:rect l="0" t="0" r="r" b="b"/>
              <a:pathLst>
                <a:path w="7" h="10">
                  <a:moveTo>
                    <a:pt x="0" y="0"/>
                  </a:moveTo>
                  <a:cubicBezTo>
                    <a:pt x="1" y="3"/>
                    <a:pt x="3" y="6"/>
                    <a:pt x="4" y="8"/>
                  </a:cubicBezTo>
                  <a:cubicBezTo>
                    <a:pt x="5" y="9"/>
                    <a:pt x="5" y="9"/>
                    <a:pt x="6" y="10"/>
                  </a:cubicBezTo>
                  <a:cubicBezTo>
                    <a:pt x="7" y="9"/>
                    <a:pt x="6" y="4"/>
                    <a:pt x="5" y="3"/>
                  </a:cubicBezTo>
                  <a:cubicBezTo>
                    <a:pt x="4"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1430"/>
            <p:cNvSpPr/>
            <p:nvPr/>
          </p:nvSpPr>
          <p:spPr bwMode="auto">
            <a:xfrm>
              <a:off x="4210" y="2945"/>
              <a:ext cx="2" cy="19"/>
            </a:xfrm>
            <a:custGeom>
              <a:gdLst>
                <a:gd name="T0" fmla="*/ 1 w 1"/>
                <a:gd name="T1" fmla="*/ 0 h 8"/>
                <a:gd name="T2" fmla="*/ 0 w 1"/>
                <a:gd name="T3" fmla="*/ 8 h 8"/>
                <a:gd name="T4" fmla="*/ 1 w 1"/>
                <a:gd name="T5" fmla="*/ 0 h 8"/>
              </a:gdLst>
              <a:cxnLst>
                <a:cxn ang="0">
                  <a:pos x="T0" y="T1"/>
                </a:cxn>
                <a:cxn ang="0">
                  <a:pos x="T2" y="T3"/>
                </a:cxn>
                <a:cxn ang="0">
                  <a:pos x="T4" y="T5"/>
                </a:cxn>
              </a:cxnLst>
              <a:rect l="0" t="0" r="r" b="b"/>
              <a:pathLst>
                <a:path w="1" h="8">
                  <a:moveTo>
                    <a:pt x="1" y="0"/>
                  </a:moveTo>
                  <a:cubicBezTo>
                    <a:pt x="0" y="3"/>
                    <a:pt x="0" y="5"/>
                    <a:pt x="0" y="8"/>
                  </a:cubicBezTo>
                  <a:cubicBezTo>
                    <a:pt x="0" y="5"/>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1431"/>
            <p:cNvSpPr/>
            <p:nvPr/>
          </p:nvSpPr>
          <p:spPr bwMode="auto">
            <a:xfrm>
              <a:off x="3050" y="1799"/>
              <a:ext cx="19" cy="31"/>
            </a:xfrm>
            <a:custGeom>
              <a:gdLst>
                <a:gd name="T0" fmla="*/ 8 w 8"/>
                <a:gd name="T1" fmla="*/ 0 h 13"/>
                <a:gd name="T2" fmla="*/ 0 w 8"/>
                <a:gd name="T3" fmla="*/ 13 h 13"/>
                <a:gd name="T4" fmla="*/ 8 w 8"/>
                <a:gd name="T5" fmla="*/ 0 h 13"/>
              </a:gdLst>
              <a:cxnLst>
                <a:cxn ang="0">
                  <a:pos x="T0" y="T1"/>
                </a:cxn>
                <a:cxn ang="0">
                  <a:pos x="T2" y="T3"/>
                </a:cxn>
                <a:cxn ang="0">
                  <a:pos x="T4" y="T5"/>
                </a:cxn>
              </a:cxnLst>
              <a:rect l="0" t="0" r="r" b="b"/>
              <a:pathLst>
                <a:path w="8" h="13">
                  <a:moveTo>
                    <a:pt x="8" y="0"/>
                  </a:moveTo>
                  <a:cubicBezTo>
                    <a:pt x="5" y="4"/>
                    <a:pt x="2" y="8"/>
                    <a:pt x="0" y="13"/>
                  </a:cubicBezTo>
                  <a:cubicBezTo>
                    <a:pt x="4" y="9"/>
                    <a:pt x="6" y="5"/>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1432"/>
            <p:cNvSpPr/>
            <p:nvPr/>
          </p:nvSpPr>
          <p:spPr bwMode="auto">
            <a:xfrm>
              <a:off x="2601" y="1820"/>
              <a:ext cx="45" cy="36"/>
            </a:xfrm>
            <a:custGeom>
              <a:gdLst>
                <a:gd name="T0" fmla="*/ 10 w 19"/>
                <a:gd name="T1" fmla="*/ 0 h 15"/>
                <a:gd name="T2" fmla="*/ 6 w 19"/>
                <a:gd name="T3" fmla="*/ 4 h 15"/>
                <a:gd name="T4" fmla="*/ 7 w 19"/>
                <a:gd name="T5" fmla="*/ 10 h 15"/>
                <a:gd name="T6" fmla="*/ 5 w 19"/>
                <a:gd name="T7" fmla="*/ 11 h 15"/>
                <a:gd name="T8" fmla="*/ 5 w 19"/>
                <a:gd name="T9" fmla="*/ 10 h 15"/>
                <a:gd name="T10" fmla="*/ 4 w 19"/>
                <a:gd name="T11" fmla="*/ 10 h 15"/>
                <a:gd name="T12" fmla="*/ 4 w 19"/>
                <a:gd name="T13" fmla="*/ 10 h 15"/>
                <a:gd name="T14" fmla="*/ 2 w 19"/>
                <a:gd name="T15" fmla="*/ 13 h 15"/>
                <a:gd name="T16" fmla="*/ 3 w 19"/>
                <a:gd name="T17" fmla="*/ 14 h 15"/>
                <a:gd name="T18" fmla="*/ 15 w 19"/>
                <a:gd name="T19" fmla="*/ 15 h 15"/>
                <a:gd name="T20" fmla="*/ 16 w 19"/>
                <a:gd name="T21" fmla="*/ 15 h 15"/>
                <a:gd name="T22" fmla="*/ 19 w 19"/>
                <a:gd name="T23" fmla="*/ 13 h 15"/>
                <a:gd name="T24" fmla="*/ 15 w 19"/>
                <a:gd name="T25" fmla="*/ 11 h 15"/>
                <a:gd name="T26" fmla="*/ 14 w 19"/>
                <a:gd name="T27" fmla="*/ 11 h 15"/>
                <a:gd name="T28" fmla="*/ 12 w 19"/>
                <a:gd name="T29" fmla="*/ 4 h 15"/>
                <a:gd name="T30" fmla="*/ 11 w 19"/>
                <a:gd name="T31" fmla="*/ 1 h 15"/>
                <a:gd name="T32" fmla="*/ 10 w 19"/>
                <a:gd name="T3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5">
                  <a:moveTo>
                    <a:pt x="10" y="0"/>
                  </a:moveTo>
                  <a:cubicBezTo>
                    <a:pt x="8" y="0"/>
                    <a:pt x="6" y="2"/>
                    <a:pt x="6" y="4"/>
                  </a:cubicBezTo>
                  <a:cubicBezTo>
                    <a:pt x="5" y="5"/>
                    <a:pt x="8" y="8"/>
                    <a:pt x="7" y="10"/>
                  </a:cubicBezTo>
                  <a:cubicBezTo>
                    <a:pt x="6" y="10"/>
                    <a:pt x="6" y="11"/>
                    <a:pt x="5" y="11"/>
                  </a:cubicBezTo>
                  <a:cubicBezTo>
                    <a:pt x="5" y="11"/>
                    <a:pt x="5" y="10"/>
                    <a:pt x="5" y="10"/>
                  </a:cubicBezTo>
                  <a:cubicBezTo>
                    <a:pt x="4" y="10"/>
                    <a:pt x="4" y="10"/>
                    <a:pt x="4" y="10"/>
                  </a:cubicBezTo>
                  <a:cubicBezTo>
                    <a:pt x="4" y="10"/>
                    <a:pt x="4" y="10"/>
                    <a:pt x="4" y="10"/>
                  </a:cubicBezTo>
                  <a:cubicBezTo>
                    <a:pt x="2" y="13"/>
                    <a:pt x="2" y="13"/>
                    <a:pt x="2" y="13"/>
                  </a:cubicBezTo>
                  <a:cubicBezTo>
                    <a:pt x="2" y="13"/>
                    <a:pt x="0" y="13"/>
                    <a:pt x="3" y="14"/>
                  </a:cubicBezTo>
                  <a:cubicBezTo>
                    <a:pt x="7" y="14"/>
                    <a:pt x="11" y="14"/>
                    <a:pt x="15" y="15"/>
                  </a:cubicBezTo>
                  <a:cubicBezTo>
                    <a:pt x="15" y="15"/>
                    <a:pt x="15" y="15"/>
                    <a:pt x="16" y="15"/>
                  </a:cubicBezTo>
                  <a:cubicBezTo>
                    <a:pt x="19" y="15"/>
                    <a:pt x="19" y="14"/>
                    <a:pt x="19" y="13"/>
                  </a:cubicBezTo>
                  <a:cubicBezTo>
                    <a:pt x="18" y="12"/>
                    <a:pt x="16" y="11"/>
                    <a:pt x="15" y="11"/>
                  </a:cubicBezTo>
                  <a:cubicBezTo>
                    <a:pt x="15" y="11"/>
                    <a:pt x="14" y="11"/>
                    <a:pt x="14" y="11"/>
                  </a:cubicBezTo>
                  <a:cubicBezTo>
                    <a:pt x="15" y="8"/>
                    <a:pt x="13" y="6"/>
                    <a:pt x="12" y="4"/>
                  </a:cubicBezTo>
                  <a:cubicBezTo>
                    <a:pt x="12" y="3"/>
                    <a:pt x="12" y="1"/>
                    <a:pt x="11" y="1"/>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433"/>
            <p:cNvSpPr>
              <a:spLocks noEditPoints="1"/>
            </p:cNvSpPr>
            <p:nvPr/>
          </p:nvSpPr>
          <p:spPr bwMode="auto">
            <a:xfrm>
              <a:off x="3232" y="2175"/>
              <a:ext cx="40" cy="24"/>
            </a:xfrm>
            <a:custGeom>
              <a:gdLst>
                <a:gd name="T0" fmla="*/ 7 w 17"/>
                <a:gd name="T1" fmla="*/ 8 h 10"/>
                <a:gd name="T2" fmla="*/ 7 w 17"/>
                <a:gd name="T3" fmla="*/ 8 h 10"/>
                <a:gd name="T4" fmla="*/ 7 w 17"/>
                <a:gd name="T5" fmla="*/ 8 h 10"/>
                <a:gd name="T6" fmla="*/ 7 w 17"/>
                <a:gd name="T7" fmla="*/ 8 h 10"/>
                <a:gd name="T8" fmla="*/ 7 w 17"/>
                <a:gd name="T9" fmla="*/ 8 h 10"/>
                <a:gd name="T10" fmla="*/ 7 w 17"/>
                <a:gd name="T11" fmla="*/ 8 h 10"/>
                <a:gd name="T12" fmla="*/ 13 w 17"/>
                <a:gd name="T13" fmla="*/ 0 h 10"/>
                <a:gd name="T14" fmla="*/ 7 w 17"/>
                <a:gd name="T15" fmla="*/ 1 h 10"/>
                <a:gd name="T16" fmla="*/ 0 w 17"/>
                <a:gd name="T17" fmla="*/ 8 h 10"/>
                <a:gd name="T18" fmla="*/ 3 w 17"/>
                <a:gd name="T19" fmla="*/ 10 h 10"/>
                <a:gd name="T20" fmla="*/ 5 w 17"/>
                <a:gd name="T21" fmla="*/ 9 h 10"/>
                <a:gd name="T22" fmla="*/ 8 w 17"/>
                <a:gd name="T23" fmla="*/ 8 h 10"/>
                <a:gd name="T24" fmla="*/ 7 w 17"/>
                <a:gd name="T25" fmla="*/ 8 h 10"/>
                <a:gd name="T26" fmla="*/ 11 w 17"/>
                <a:gd name="T27" fmla="*/ 3 h 10"/>
                <a:gd name="T28" fmla="*/ 11 w 17"/>
                <a:gd name="T29" fmla="*/ 3 h 10"/>
                <a:gd name="T30" fmla="*/ 12 w 17"/>
                <a:gd name="T31" fmla="*/ 4 h 10"/>
                <a:gd name="T32" fmla="*/ 13 w 17"/>
                <a:gd name="T33" fmla="*/ 4 h 10"/>
                <a:gd name="T34" fmla="*/ 13 w 17"/>
                <a:gd name="T35" fmla="*/ 4 h 10"/>
                <a:gd name="T36" fmla="*/ 14 w 17"/>
                <a:gd name="T37" fmla="*/ 4 h 10"/>
                <a:gd name="T38" fmla="*/ 17 w 17"/>
                <a:gd name="T39" fmla="*/ 2 h 10"/>
                <a:gd name="T40" fmla="*/ 13 w 17"/>
                <a:gd name="T4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0">
                  <a:moveTo>
                    <a:pt x="7" y="8"/>
                  </a:moveTo>
                  <a:cubicBezTo>
                    <a:pt x="7" y="8"/>
                    <a:pt x="7" y="8"/>
                    <a:pt x="7" y="8"/>
                  </a:cubicBezTo>
                  <a:cubicBezTo>
                    <a:pt x="7" y="8"/>
                    <a:pt x="7" y="8"/>
                    <a:pt x="7" y="8"/>
                  </a:cubicBezTo>
                  <a:moveTo>
                    <a:pt x="7" y="8"/>
                  </a:moveTo>
                  <a:cubicBezTo>
                    <a:pt x="7" y="8"/>
                    <a:pt x="7" y="8"/>
                    <a:pt x="7" y="8"/>
                  </a:cubicBezTo>
                  <a:cubicBezTo>
                    <a:pt x="7" y="8"/>
                    <a:pt x="7" y="8"/>
                    <a:pt x="7" y="8"/>
                  </a:cubicBezTo>
                  <a:moveTo>
                    <a:pt x="13" y="0"/>
                  </a:moveTo>
                  <a:cubicBezTo>
                    <a:pt x="11" y="0"/>
                    <a:pt x="9" y="1"/>
                    <a:pt x="7" y="1"/>
                  </a:cubicBezTo>
                  <a:cubicBezTo>
                    <a:pt x="3" y="3"/>
                    <a:pt x="3" y="4"/>
                    <a:pt x="0" y="8"/>
                  </a:cubicBezTo>
                  <a:cubicBezTo>
                    <a:pt x="1" y="9"/>
                    <a:pt x="2" y="10"/>
                    <a:pt x="3" y="10"/>
                  </a:cubicBezTo>
                  <a:cubicBezTo>
                    <a:pt x="3" y="10"/>
                    <a:pt x="4" y="9"/>
                    <a:pt x="5" y="9"/>
                  </a:cubicBezTo>
                  <a:cubicBezTo>
                    <a:pt x="5" y="9"/>
                    <a:pt x="7" y="8"/>
                    <a:pt x="8" y="8"/>
                  </a:cubicBezTo>
                  <a:cubicBezTo>
                    <a:pt x="8" y="8"/>
                    <a:pt x="8" y="8"/>
                    <a:pt x="7" y="8"/>
                  </a:cubicBezTo>
                  <a:cubicBezTo>
                    <a:pt x="8" y="7"/>
                    <a:pt x="10" y="3"/>
                    <a:pt x="11" y="3"/>
                  </a:cubicBezTo>
                  <a:cubicBezTo>
                    <a:pt x="11" y="3"/>
                    <a:pt x="11" y="3"/>
                    <a:pt x="11" y="3"/>
                  </a:cubicBezTo>
                  <a:cubicBezTo>
                    <a:pt x="12" y="3"/>
                    <a:pt x="12" y="3"/>
                    <a:pt x="12" y="4"/>
                  </a:cubicBezTo>
                  <a:cubicBezTo>
                    <a:pt x="12" y="4"/>
                    <a:pt x="13" y="4"/>
                    <a:pt x="13" y="4"/>
                  </a:cubicBezTo>
                  <a:cubicBezTo>
                    <a:pt x="13" y="4"/>
                    <a:pt x="13" y="4"/>
                    <a:pt x="13" y="4"/>
                  </a:cubicBezTo>
                  <a:cubicBezTo>
                    <a:pt x="13" y="4"/>
                    <a:pt x="14" y="4"/>
                    <a:pt x="14" y="4"/>
                  </a:cubicBezTo>
                  <a:cubicBezTo>
                    <a:pt x="15" y="4"/>
                    <a:pt x="17" y="3"/>
                    <a:pt x="17" y="2"/>
                  </a:cubicBezTo>
                  <a:cubicBezTo>
                    <a:pt x="16" y="1"/>
                    <a:pt x="15"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434"/>
            <p:cNvSpPr/>
            <p:nvPr/>
          </p:nvSpPr>
          <p:spPr bwMode="auto">
            <a:xfrm>
              <a:off x="3553" y="3905"/>
              <a:ext cx="19" cy="40"/>
            </a:xfrm>
            <a:custGeom>
              <a:gdLst>
                <a:gd name="T0" fmla="*/ 4 w 8"/>
                <a:gd name="T1" fmla="*/ 0 h 17"/>
                <a:gd name="T2" fmla="*/ 0 w 8"/>
                <a:gd name="T3" fmla="*/ 12 h 17"/>
                <a:gd name="T4" fmla="*/ 1 w 8"/>
                <a:gd name="T5" fmla="*/ 17 h 17"/>
                <a:gd name="T6" fmla="*/ 3 w 8"/>
                <a:gd name="T7" fmla="*/ 17 h 17"/>
                <a:gd name="T8" fmla="*/ 8 w 8"/>
                <a:gd name="T9" fmla="*/ 16 h 17"/>
                <a:gd name="T10" fmla="*/ 8 w 8"/>
                <a:gd name="T11" fmla="*/ 6 h 17"/>
                <a:gd name="T12" fmla="*/ 4 w 8"/>
                <a:gd name="T13" fmla="*/ 0 h 17"/>
              </a:gdLst>
              <a:cxnLst>
                <a:cxn ang="0">
                  <a:pos x="T0" y="T1"/>
                </a:cxn>
                <a:cxn ang="0">
                  <a:pos x="T2" y="T3"/>
                </a:cxn>
                <a:cxn ang="0">
                  <a:pos x="T4" y="T5"/>
                </a:cxn>
                <a:cxn ang="0">
                  <a:pos x="T6" y="T7"/>
                </a:cxn>
                <a:cxn ang="0">
                  <a:pos x="T8" y="T9"/>
                </a:cxn>
                <a:cxn ang="0">
                  <a:pos x="T10" y="T11"/>
                </a:cxn>
                <a:cxn ang="0">
                  <a:pos x="T12" y="T13"/>
                </a:cxn>
              </a:cxnLst>
              <a:rect l="0" t="0" r="r" b="b"/>
              <a:pathLst>
                <a:path w="8" h="17">
                  <a:moveTo>
                    <a:pt x="4" y="0"/>
                  </a:moveTo>
                  <a:cubicBezTo>
                    <a:pt x="1" y="4"/>
                    <a:pt x="0" y="7"/>
                    <a:pt x="0" y="12"/>
                  </a:cubicBezTo>
                  <a:cubicBezTo>
                    <a:pt x="0" y="13"/>
                    <a:pt x="0" y="16"/>
                    <a:pt x="1" y="17"/>
                  </a:cubicBezTo>
                  <a:cubicBezTo>
                    <a:pt x="1" y="17"/>
                    <a:pt x="2" y="17"/>
                    <a:pt x="3" y="17"/>
                  </a:cubicBezTo>
                  <a:cubicBezTo>
                    <a:pt x="5" y="17"/>
                    <a:pt x="7" y="16"/>
                    <a:pt x="8" y="16"/>
                  </a:cubicBezTo>
                  <a:cubicBezTo>
                    <a:pt x="8" y="15"/>
                    <a:pt x="8" y="7"/>
                    <a:pt x="8" y="6"/>
                  </a:cubicBezTo>
                  <a:cubicBezTo>
                    <a:pt x="7" y="3"/>
                    <a:pt x="6"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1435"/>
            <p:cNvSpPr/>
            <p:nvPr/>
          </p:nvSpPr>
          <p:spPr bwMode="auto">
            <a:xfrm>
              <a:off x="3626" y="3990"/>
              <a:ext cx="10" cy="7"/>
            </a:xfrm>
            <a:custGeom>
              <a:gdLst>
                <a:gd name="T0" fmla="*/ 1 w 4"/>
                <a:gd name="T1" fmla="*/ 0 h 3"/>
                <a:gd name="T2" fmla="*/ 0 w 4"/>
                <a:gd name="T3" fmla="*/ 3 h 3"/>
                <a:gd name="T4" fmla="*/ 1 w 4"/>
                <a:gd name="T5" fmla="*/ 3 h 3"/>
                <a:gd name="T6" fmla="*/ 2 w 4"/>
                <a:gd name="T7" fmla="*/ 3 h 3"/>
                <a:gd name="T8" fmla="*/ 3 w 4"/>
                <a:gd name="T9" fmla="*/ 3 h 3"/>
                <a:gd name="T10" fmla="*/ 4 w 4"/>
                <a:gd name="T11" fmla="*/ 3 h 3"/>
                <a:gd name="T12" fmla="*/ 1 w 4"/>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4" h="3">
                  <a:moveTo>
                    <a:pt x="1" y="0"/>
                  </a:moveTo>
                  <a:cubicBezTo>
                    <a:pt x="0" y="0"/>
                    <a:pt x="0" y="1"/>
                    <a:pt x="0" y="3"/>
                  </a:cubicBezTo>
                  <a:cubicBezTo>
                    <a:pt x="0" y="3"/>
                    <a:pt x="1" y="3"/>
                    <a:pt x="1" y="3"/>
                  </a:cubicBezTo>
                  <a:cubicBezTo>
                    <a:pt x="1" y="3"/>
                    <a:pt x="2" y="3"/>
                    <a:pt x="2" y="3"/>
                  </a:cubicBezTo>
                  <a:cubicBezTo>
                    <a:pt x="2" y="3"/>
                    <a:pt x="2" y="3"/>
                    <a:pt x="3" y="3"/>
                  </a:cubicBezTo>
                  <a:cubicBezTo>
                    <a:pt x="3" y="3"/>
                    <a:pt x="4" y="3"/>
                    <a:pt x="4" y="3"/>
                  </a:cubicBezTo>
                  <a:cubicBezTo>
                    <a:pt x="3"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1436"/>
            <p:cNvSpPr/>
            <p:nvPr/>
          </p:nvSpPr>
          <p:spPr bwMode="auto">
            <a:xfrm>
              <a:off x="3839" y="4151"/>
              <a:ext cx="14" cy="14"/>
            </a:xfrm>
            <a:custGeom>
              <a:gdLst>
                <a:gd name="T0" fmla="*/ 3 w 6"/>
                <a:gd name="T1" fmla="*/ 0 h 6"/>
                <a:gd name="T2" fmla="*/ 0 w 6"/>
                <a:gd name="T3" fmla="*/ 6 h 6"/>
                <a:gd name="T4" fmla="*/ 3 w 6"/>
                <a:gd name="T5" fmla="*/ 3 h 6"/>
                <a:gd name="T6" fmla="*/ 3 w 6"/>
                <a:gd name="T7" fmla="*/ 0 h 6"/>
              </a:gdLst>
              <a:cxnLst>
                <a:cxn ang="0">
                  <a:pos x="T0" y="T1"/>
                </a:cxn>
                <a:cxn ang="0">
                  <a:pos x="T2" y="T3"/>
                </a:cxn>
                <a:cxn ang="0">
                  <a:pos x="T4" y="T5"/>
                </a:cxn>
                <a:cxn ang="0">
                  <a:pos x="T6" y="T7"/>
                </a:cxn>
              </a:cxnLst>
              <a:rect l="0" t="0" r="r" b="b"/>
              <a:pathLst>
                <a:path w="6" h="6">
                  <a:moveTo>
                    <a:pt x="3" y="0"/>
                  </a:moveTo>
                  <a:cubicBezTo>
                    <a:pt x="2" y="2"/>
                    <a:pt x="1" y="4"/>
                    <a:pt x="0" y="6"/>
                  </a:cubicBezTo>
                  <a:cubicBezTo>
                    <a:pt x="2" y="6"/>
                    <a:pt x="3" y="4"/>
                    <a:pt x="3" y="3"/>
                  </a:cubicBezTo>
                  <a:cubicBezTo>
                    <a:pt x="3" y="2"/>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1437"/>
            <p:cNvSpPr/>
            <p:nvPr/>
          </p:nvSpPr>
          <p:spPr bwMode="auto">
            <a:xfrm>
              <a:off x="3508" y="1619"/>
              <a:ext cx="31" cy="22"/>
            </a:xfrm>
            <a:custGeom>
              <a:gdLst>
                <a:gd name="T0" fmla="*/ 0 w 13"/>
                <a:gd name="T1" fmla="*/ 0 h 9"/>
                <a:gd name="T2" fmla="*/ 13 w 13"/>
                <a:gd name="T3" fmla="*/ 9 h 9"/>
                <a:gd name="T4" fmla="*/ 0 w 13"/>
                <a:gd name="T5" fmla="*/ 0 h 9"/>
              </a:gdLst>
              <a:cxnLst>
                <a:cxn ang="0">
                  <a:pos x="T0" y="T1"/>
                </a:cxn>
                <a:cxn ang="0">
                  <a:pos x="T2" y="T3"/>
                </a:cxn>
                <a:cxn ang="0">
                  <a:pos x="T4" y="T5"/>
                </a:cxn>
              </a:cxnLst>
              <a:rect l="0" t="0" r="r" b="b"/>
              <a:pathLst>
                <a:path w="13" h="9">
                  <a:moveTo>
                    <a:pt x="0" y="0"/>
                  </a:moveTo>
                  <a:cubicBezTo>
                    <a:pt x="4" y="3"/>
                    <a:pt x="9" y="6"/>
                    <a:pt x="13" y="9"/>
                  </a:cubicBezTo>
                  <a:cubicBezTo>
                    <a:pt x="12" y="3"/>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1438"/>
            <p:cNvSpPr>
              <a:spLocks noEditPoints="1"/>
            </p:cNvSpPr>
            <p:nvPr/>
          </p:nvSpPr>
          <p:spPr bwMode="auto">
            <a:xfrm>
              <a:off x="4038" y="1619"/>
              <a:ext cx="16" cy="29"/>
            </a:xfrm>
            <a:custGeom>
              <a:gdLst>
                <a:gd name="T0" fmla="*/ 6 w 7"/>
                <a:gd name="T1" fmla="*/ 10 h 12"/>
                <a:gd name="T2" fmla="*/ 7 w 7"/>
                <a:gd name="T3" fmla="*/ 12 h 12"/>
                <a:gd name="T4" fmla="*/ 6 w 7"/>
                <a:gd name="T5" fmla="*/ 10 h 12"/>
                <a:gd name="T6" fmla="*/ 6 w 7"/>
                <a:gd name="T7" fmla="*/ 0 h 12"/>
                <a:gd name="T8" fmla="*/ 6 w 7"/>
                <a:gd name="T9" fmla="*/ 10 h 12"/>
                <a:gd name="T10" fmla="*/ 7 w 7"/>
                <a:gd name="T11" fmla="*/ 4 h 12"/>
                <a:gd name="T12" fmla="*/ 6 w 7"/>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7" h="12">
                  <a:moveTo>
                    <a:pt x="6" y="10"/>
                  </a:moveTo>
                  <a:cubicBezTo>
                    <a:pt x="6" y="11"/>
                    <a:pt x="7" y="11"/>
                    <a:pt x="7" y="12"/>
                  </a:cubicBezTo>
                  <a:cubicBezTo>
                    <a:pt x="7" y="11"/>
                    <a:pt x="6" y="11"/>
                    <a:pt x="6" y="10"/>
                  </a:cubicBezTo>
                  <a:moveTo>
                    <a:pt x="6" y="0"/>
                  </a:moveTo>
                  <a:cubicBezTo>
                    <a:pt x="0" y="2"/>
                    <a:pt x="4" y="6"/>
                    <a:pt x="6" y="10"/>
                  </a:cubicBezTo>
                  <a:cubicBezTo>
                    <a:pt x="5" y="8"/>
                    <a:pt x="7" y="7"/>
                    <a:pt x="7" y="4"/>
                  </a:cubicBezTo>
                  <a:cubicBezTo>
                    <a:pt x="7" y="2"/>
                    <a:pt x="6"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1439"/>
            <p:cNvSpPr/>
            <p:nvPr/>
          </p:nvSpPr>
          <p:spPr bwMode="auto">
            <a:xfrm>
              <a:off x="4151" y="1771"/>
              <a:ext cx="21" cy="7"/>
            </a:xfrm>
            <a:custGeom>
              <a:gdLst>
                <a:gd name="T0" fmla="*/ 0 w 9"/>
                <a:gd name="T1" fmla="*/ 0 h 3"/>
                <a:gd name="T2" fmla="*/ 5 w 9"/>
                <a:gd name="T3" fmla="*/ 3 h 3"/>
                <a:gd name="T4" fmla="*/ 9 w 9"/>
                <a:gd name="T5" fmla="*/ 2 h 3"/>
                <a:gd name="T6" fmla="*/ 0 w 9"/>
                <a:gd name="T7" fmla="*/ 0 h 3"/>
              </a:gdLst>
              <a:cxnLst>
                <a:cxn ang="0">
                  <a:pos x="T0" y="T1"/>
                </a:cxn>
                <a:cxn ang="0">
                  <a:pos x="T2" y="T3"/>
                </a:cxn>
                <a:cxn ang="0">
                  <a:pos x="T4" y="T5"/>
                </a:cxn>
                <a:cxn ang="0">
                  <a:pos x="T6" y="T7"/>
                </a:cxn>
              </a:cxnLst>
              <a:rect l="0" t="0" r="r" b="b"/>
              <a:pathLst>
                <a:path w="9" h="3">
                  <a:moveTo>
                    <a:pt x="0" y="0"/>
                  </a:moveTo>
                  <a:cubicBezTo>
                    <a:pt x="1" y="1"/>
                    <a:pt x="3" y="2"/>
                    <a:pt x="5" y="3"/>
                  </a:cubicBezTo>
                  <a:cubicBezTo>
                    <a:pt x="7" y="3"/>
                    <a:pt x="8" y="2"/>
                    <a:pt x="9"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1440"/>
            <p:cNvSpPr/>
            <p:nvPr/>
          </p:nvSpPr>
          <p:spPr bwMode="auto">
            <a:xfrm>
              <a:off x="3979" y="1674"/>
              <a:ext cx="23" cy="21"/>
            </a:xfrm>
            <a:custGeom>
              <a:gdLst>
                <a:gd name="T0" fmla="*/ 5 w 10"/>
                <a:gd name="T1" fmla="*/ 0 h 9"/>
                <a:gd name="T2" fmla="*/ 2 w 10"/>
                <a:gd name="T3" fmla="*/ 2 h 9"/>
                <a:gd name="T4" fmla="*/ 8 w 10"/>
                <a:gd name="T5" fmla="*/ 9 h 9"/>
                <a:gd name="T6" fmla="*/ 7 w 10"/>
                <a:gd name="T7" fmla="*/ 1 h 9"/>
                <a:gd name="T8" fmla="*/ 5 w 10"/>
                <a:gd name="T9" fmla="*/ 0 h 9"/>
              </a:gdLst>
              <a:cxnLst>
                <a:cxn ang="0">
                  <a:pos x="T0" y="T1"/>
                </a:cxn>
                <a:cxn ang="0">
                  <a:pos x="T2" y="T3"/>
                </a:cxn>
                <a:cxn ang="0">
                  <a:pos x="T4" y="T5"/>
                </a:cxn>
                <a:cxn ang="0">
                  <a:pos x="T6" y="T7"/>
                </a:cxn>
                <a:cxn ang="0">
                  <a:pos x="T8" y="T9"/>
                </a:cxn>
              </a:cxnLst>
              <a:rect l="0" t="0" r="r" b="b"/>
              <a:pathLst>
                <a:path w="10" h="9">
                  <a:moveTo>
                    <a:pt x="5" y="0"/>
                  </a:moveTo>
                  <a:cubicBezTo>
                    <a:pt x="4" y="0"/>
                    <a:pt x="3" y="0"/>
                    <a:pt x="2" y="2"/>
                  </a:cubicBezTo>
                  <a:cubicBezTo>
                    <a:pt x="0" y="5"/>
                    <a:pt x="6" y="7"/>
                    <a:pt x="8" y="9"/>
                  </a:cubicBezTo>
                  <a:cubicBezTo>
                    <a:pt x="9" y="6"/>
                    <a:pt x="10" y="3"/>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1441"/>
            <p:cNvSpPr/>
            <p:nvPr/>
          </p:nvSpPr>
          <p:spPr bwMode="auto">
            <a:xfrm>
              <a:off x="4196" y="1820"/>
              <a:ext cx="38" cy="22"/>
            </a:xfrm>
            <a:custGeom>
              <a:gdLst>
                <a:gd name="T0" fmla="*/ 0 w 16"/>
                <a:gd name="T1" fmla="*/ 0 h 9"/>
                <a:gd name="T2" fmla="*/ 10 w 16"/>
                <a:gd name="T3" fmla="*/ 9 h 9"/>
                <a:gd name="T4" fmla="*/ 16 w 16"/>
                <a:gd name="T5" fmla="*/ 8 h 9"/>
                <a:gd name="T6" fmla="*/ 0 w 16"/>
                <a:gd name="T7" fmla="*/ 0 h 9"/>
              </a:gdLst>
              <a:cxnLst>
                <a:cxn ang="0">
                  <a:pos x="T0" y="T1"/>
                </a:cxn>
                <a:cxn ang="0">
                  <a:pos x="T2" y="T3"/>
                </a:cxn>
                <a:cxn ang="0">
                  <a:pos x="T4" y="T5"/>
                </a:cxn>
                <a:cxn ang="0">
                  <a:pos x="T6" y="T7"/>
                </a:cxn>
              </a:cxnLst>
              <a:rect l="0" t="0" r="r" b="b"/>
              <a:pathLst>
                <a:path w="16" h="9">
                  <a:moveTo>
                    <a:pt x="0" y="0"/>
                  </a:moveTo>
                  <a:cubicBezTo>
                    <a:pt x="3" y="3"/>
                    <a:pt x="7" y="6"/>
                    <a:pt x="10" y="9"/>
                  </a:cubicBezTo>
                  <a:cubicBezTo>
                    <a:pt x="12" y="9"/>
                    <a:pt x="14" y="8"/>
                    <a:pt x="16" y="8"/>
                  </a:cubicBezTo>
                  <a:cubicBezTo>
                    <a:pt x="13" y="4"/>
                    <a:pt x="5"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1442"/>
            <p:cNvSpPr/>
            <p:nvPr/>
          </p:nvSpPr>
          <p:spPr bwMode="auto">
            <a:xfrm>
              <a:off x="4028" y="1215"/>
              <a:ext cx="166" cy="156"/>
            </a:xfrm>
            <a:custGeom>
              <a:gdLst>
                <a:gd name="T0" fmla="*/ 1 w 70"/>
                <a:gd name="T1" fmla="*/ 0 h 66"/>
                <a:gd name="T2" fmla="*/ 0 w 70"/>
                <a:gd name="T3" fmla="*/ 6 h 66"/>
                <a:gd name="T4" fmla="*/ 1 w 70"/>
                <a:gd name="T5" fmla="*/ 6 h 66"/>
                <a:gd name="T6" fmla="*/ 2 w 70"/>
                <a:gd name="T7" fmla="*/ 7 h 66"/>
                <a:gd name="T8" fmla="*/ 3 w 70"/>
                <a:gd name="T9" fmla="*/ 6 h 66"/>
                <a:gd name="T10" fmla="*/ 4 w 70"/>
                <a:gd name="T11" fmla="*/ 6 h 66"/>
                <a:gd name="T12" fmla="*/ 5 w 70"/>
                <a:gd name="T13" fmla="*/ 7 h 66"/>
                <a:gd name="T14" fmla="*/ 32 w 70"/>
                <a:gd name="T15" fmla="*/ 23 h 66"/>
                <a:gd name="T16" fmla="*/ 53 w 70"/>
                <a:gd name="T17" fmla="*/ 41 h 66"/>
                <a:gd name="T18" fmla="*/ 56 w 70"/>
                <a:gd name="T19" fmla="*/ 49 h 66"/>
                <a:gd name="T20" fmla="*/ 56 w 70"/>
                <a:gd name="T21" fmla="*/ 53 h 66"/>
                <a:gd name="T22" fmla="*/ 62 w 70"/>
                <a:gd name="T23" fmla="*/ 66 h 66"/>
                <a:gd name="T24" fmla="*/ 69 w 70"/>
                <a:gd name="T25" fmla="*/ 49 h 66"/>
                <a:gd name="T26" fmla="*/ 67 w 70"/>
                <a:gd name="T27" fmla="*/ 47 h 66"/>
                <a:gd name="T28" fmla="*/ 59 w 70"/>
                <a:gd name="T29" fmla="*/ 38 h 66"/>
                <a:gd name="T30" fmla="*/ 59 w 70"/>
                <a:gd name="T31" fmla="*/ 38 h 66"/>
                <a:gd name="T32" fmla="*/ 58 w 70"/>
                <a:gd name="T33" fmla="*/ 38 h 66"/>
                <a:gd name="T34" fmla="*/ 57 w 70"/>
                <a:gd name="T35" fmla="*/ 39 h 66"/>
                <a:gd name="T36" fmla="*/ 56 w 70"/>
                <a:gd name="T37" fmla="*/ 38 h 66"/>
                <a:gd name="T38" fmla="*/ 48 w 70"/>
                <a:gd name="T39" fmla="*/ 31 h 66"/>
                <a:gd name="T40" fmla="*/ 40 w 70"/>
                <a:gd name="T41" fmla="*/ 23 h 66"/>
                <a:gd name="T42" fmla="*/ 29 w 70"/>
                <a:gd name="T43" fmla="*/ 17 h 66"/>
                <a:gd name="T44" fmla="*/ 19 w 70"/>
                <a:gd name="T45" fmla="*/ 10 h 66"/>
                <a:gd name="T46" fmla="*/ 14 w 70"/>
                <a:gd name="T47" fmla="*/ 9 h 66"/>
                <a:gd name="T48" fmla="*/ 1 w 70"/>
                <a:gd name="T49" fmla="*/ 0 h 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0" h="66">
                  <a:moveTo>
                    <a:pt x="1" y="0"/>
                  </a:moveTo>
                  <a:cubicBezTo>
                    <a:pt x="4" y="5"/>
                    <a:pt x="4" y="3"/>
                    <a:pt x="0" y="6"/>
                  </a:cubicBezTo>
                  <a:cubicBezTo>
                    <a:pt x="0" y="6"/>
                    <a:pt x="1" y="6"/>
                    <a:pt x="1" y="6"/>
                  </a:cubicBezTo>
                  <a:cubicBezTo>
                    <a:pt x="1" y="7"/>
                    <a:pt x="2" y="7"/>
                    <a:pt x="2" y="7"/>
                  </a:cubicBezTo>
                  <a:cubicBezTo>
                    <a:pt x="2" y="7"/>
                    <a:pt x="3" y="6"/>
                    <a:pt x="3" y="6"/>
                  </a:cubicBezTo>
                  <a:cubicBezTo>
                    <a:pt x="3" y="6"/>
                    <a:pt x="4" y="6"/>
                    <a:pt x="4" y="6"/>
                  </a:cubicBezTo>
                  <a:cubicBezTo>
                    <a:pt x="4" y="6"/>
                    <a:pt x="5" y="6"/>
                    <a:pt x="5" y="7"/>
                  </a:cubicBezTo>
                  <a:cubicBezTo>
                    <a:pt x="14" y="12"/>
                    <a:pt x="23" y="18"/>
                    <a:pt x="32" y="23"/>
                  </a:cubicBezTo>
                  <a:cubicBezTo>
                    <a:pt x="41" y="28"/>
                    <a:pt x="48" y="32"/>
                    <a:pt x="53" y="41"/>
                  </a:cubicBezTo>
                  <a:cubicBezTo>
                    <a:pt x="54" y="44"/>
                    <a:pt x="56" y="46"/>
                    <a:pt x="56" y="49"/>
                  </a:cubicBezTo>
                  <a:cubicBezTo>
                    <a:pt x="56" y="50"/>
                    <a:pt x="56" y="52"/>
                    <a:pt x="56" y="53"/>
                  </a:cubicBezTo>
                  <a:cubicBezTo>
                    <a:pt x="56" y="58"/>
                    <a:pt x="59" y="62"/>
                    <a:pt x="62" y="66"/>
                  </a:cubicBezTo>
                  <a:cubicBezTo>
                    <a:pt x="64" y="62"/>
                    <a:pt x="70" y="54"/>
                    <a:pt x="69" y="49"/>
                  </a:cubicBezTo>
                  <a:cubicBezTo>
                    <a:pt x="68" y="48"/>
                    <a:pt x="67" y="48"/>
                    <a:pt x="67" y="47"/>
                  </a:cubicBezTo>
                  <a:cubicBezTo>
                    <a:pt x="65" y="44"/>
                    <a:pt x="63" y="39"/>
                    <a:pt x="59" y="38"/>
                  </a:cubicBezTo>
                  <a:cubicBezTo>
                    <a:pt x="59" y="38"/>
                    <a:pt x="59" y="38"/>
                    <a:pt x="59" y="38"/>
                  </a:cubicBezTo>
                  <a:cubicBezTo>
                    <a:pt x="59" y="38"/>
                    <a:pt x="59" y="38"/>
                    <a:pt x="58" y="38"/>
                  </a:cubicBezTo>
                  <a:cubicBezTo>
                    <a:pt x="58" y="38"/>
                    <a:pt x="58" y="39"/>
                    <a:pt x="57" y="39"/>
                  </a:cubicBezTo>
                  <a:cubicBezTo>
                    <a:pt x="57" y="39"/>
                    <a:pt x="57" y="39"/>
                    <a:pt x="56" y="38"/>
                  </a:cubicBezTo>
                  <a:cubicBezTo>
                    <a:pt x="54" y="37"/>
                    <a:pt x="50" y="33"/>
                    <a:pt x="48" y="31"/>
                  </a:cubicBezTo>
                  <a:cubicBezTo>
                    <a:pt x="46" y="28"/>
                    <a:pt x="43" y="26"/>
                    <a:pt x="40" y="23"/>
                  </a:cubicBezTo>
                  <a:cubicBezTo>
                    <a:pt x="37" y="19"/>
                    <a:pt x="33" y="19"/>
                    <a:pt x="29" y="17"/>
                  </a:cubicBezTo>
                  <a:cubicBezTo>
                    <a:pt x="26" y="15"/>
                    <a:pt x="22" y="11"/>
                    <a:pt x="19" y="10"/>
                  </a:cubicBezTo>
                  <a:cubicBezTo>
                    <a:pt x="18" y="9"/>
                    <a:pt x="15" y="10"/>
                    <a:pt x="14" y="9"/>
                  </a:cubicBezTo>
                  <a:cubicBezTo>
                    <a:pt x="10" y="6"/>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1443"/>
            <p:cNvSpPr/>
            <p:nvPr/>
          </p:nvSpPr>
          <p:spPr bwMode="auto">
            <a:xfrm>
              <a:off x="4255" y="1818"/>
              <a:ext cx="14" cy="9"/>
            </a:xfrm>
            <a:custGeom>
              <a:gdLst>
                <a:gd name="T0" fmla="*/ 2 w 6"/>
                <a:gd name="T1" fmla="*/ 0 h 4"/>
                <a:gd name="T2" fmla="*/ 1 w 6"/>
                <a:gd name="T3" fmla="*/ 4 h 4"/>
                <a:gd name="T4" fmla="*/ 6 w 6"/>
                <a:gd name="T5" fmla="*/ 3 h 4"/>
                <a:gd name="T6" fmla="*/ 2 w 6"/>
                <a:gd name="T7" fmla="*/ 0 h 4"/>
              </a:gdLst>
              <a:cxnLst>
                <a:cxn ang="0">
                  <a:pos x="T0" y="T1"/>
                </a:cxn>
                <a:cxn ang="0">
                  <a:pos x="T2" y="T3"/>
                </a:cxn>
                <a:cxn ang="0">
                  <a:pos x="T4" y="T5"/>
                </a:cxn>
                <a:cxn ang="0">
                  <a:pos x="T6" y="T7"/>
                </a:cxn>
              </a:cxnLst>
              <a:rect l="0" t="0" r="r" b="b"/>
              <a:pathLst>
                <a:path w="6" h="4">
                  <a:moveTo>
                    <a:pt x="2" y="0"/>
                  </a:moveTo>
                  <a:cubicBezTo>
                    <a:pt x="1" y="0"/>
                    <a:pt x="0" y="1"/>
                    <a:pt x="1" y="4"/>
                  </a:cubicBezTo>
                  <a:cubicBezTo>
                    <a:pt x="2" y="3"/>
                    <a:pt x="6" y="4"/>
                    <a:pt x="6" y="3"/>
                  </a:cubicBezTo>
                  <a:cubicBezTo>
                    <a:pt x="6"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1444"/>
            <p:cNvSpPr/>
            <p:nvPr/>
          </p:nvSpPr>
          <p:spPr bwMode="auto">
            <a:xfrm>
              <a:off x="4005" y="1683"/>
              <a:ext cx="35" cy="26"/>
            </a:xfrm>
            <a:custGeom>
              <a:gdLst>
                <a:gd name="T0" fmla="*/ 2 w 15"/>
                <a:gd name="T1" fmla="*/ 0 h 11"/>
                <a:gd name="T2" fmla="*/ 2 w 15"/>
                <a:gd name="T3" fmla="*/ 6 h 11"/>
                <a:gd name="T4" fmla="*/ 0 w 15"/>
                <a:gd name="T5" fmla="*/ 7 h 11"/>
                <a:gd name="T6" fmla="*/ 12 w 15"/>
                <a:gd name="T7" fmla="*/ 11 h 11"/>
                <a:gd name="T8" fmla="*/ 13 w 15"/>
                <a:gd name="T9" fmla="*/ 6 h 11"/>
                <a:gd name="T10" fmla="*/ 11 w 15"/>
                <a:gd name="T11" fmla="*/ 2 h 11"/>
                <a:gd name="T12" fmla="*/ 10 w 15"/>
                <a:gd name="T13" fmla="*/ 2 h 11"/>
                <a:gd name="T14" fmla="*/ 9 w 15"/>
                <a:gd name="T15" fmla="*/ 2 h 11"/>
                <a:gd name="T16" fmla="*/ 7 w 15"/>
                <a:gd name="T17" fmla="*/ 2 h 11"/>
                <a:gd name="T18" fmla="*/ 7 w 15"/>
                <a:gd name="T19" fmla="*/ 2 h 11"/>
                <a:gd name="T20" fmla="*/ 4 w 15"/>
                <a:gd name="T21" fmla="*/ 1 h 11"/>
                <a:gd name="T22" fmla="*/ 2 w 15"/>
                <a:gd name="T2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2" y="0"/>
                  </a:moveTo>
                  <a:cubicBezTo>
                    <a:pt x="0" y="0"/>
                    <a:pt x="2" y="2"/>
                    <a:pt x="2" y="6"/>
                  </a:cubicBezTo>
                  <a:cubicBezTo>
                    <a:pt x="2" y="7"/>
                    <a:pt x="0" y="7"/>
                    <a:pt x="0" y="7"/>
                  </a:cubicBezTo>
                  <a:cubicBezTo>
                    <a:pt x="1" y="10"/>
                    <a:pt x="10" y="10"/>
                    <a:pt x="12" y="11"/>
                  </a:cubicBezTo>
                  <a:cubicBezTo>
                    <a:pt x="15" y="10"/>
                    <a:pt x="15" y="8"/>
                    <a:pt x="13" y="6"/>
                  </a:cubicBezTo>
                  <a:cubicBezTo>
                    <a:pt x="13" y="5"/>
                    <a:pt x="12" y="3"/>
                    <a:pt x="11" y="2"/>
                  </a:cubicBezTo>
                  <a:cubicBezTo>
                    <a:pt x="10" y="2"/>
                    <a:pt x="10" y="2"/>
                    <a:pt x="10" y="2"/>
                  </a:cubicBezTo>
                  <a:cubicBezTo>
                    <a:pt x="9" y="2"/>
                    <a:pt x="9" y="2"/>
                    <a:pt x="9" y="2"/>
                  </a:cubicBezTo>
                  <a:cubicBezTo>
                    <a:pt x="8" y="2"/>
                    <a:pt x="8" y="2"/>
                    <a:pt x="7" y="2"/>
                  </a:cubicBezTo>
                  <a:cubicBezTo>
                    <a:pt x="7" y="2"/>
                    <a:pt x="7" y="2"/>
                    <a:pt x="7" y="2"/>
                  </a:cubicBezTo>
                  <a:cubicBezTo>
                    <a:pt x="6" y="2"/>
                    <a:pt x="5" y="1"/>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1445"/>
            <p:cNvSpPr/>
            <p:nvPr/>
          </p:nvSpPr>
          <p:spPr bwMode="auto">
            <a:xfrm>
              <a:off x="3858" y="1326"/>
              <a:ext cx="286" cy="149"/>
            </a:xfrm>
            <a:custGeom>
              <a:gdLst>
                <a:gd name="T0" fmla="*/ 111 w 121"/>
                <a:gd name="T1" fmla="*/ 0 h 63"/>
                <a:gd name="T2" fmla="*/ 110 w 121"/>
                <a:gd name="T3" fmla="*/ 1 h 63"/>
                <a:gd name="T4" fmla="*/ 109 w 121"/>
                <a:gd name="T5" fmla="*/ 1 h 63"/>
                <a:gd name="T6" fmla="*/ 108 w 121"/>
                <a:gd name="T7" fmla="*/ 0 h 63"/>
                <a:gd name="T8" fmla="*/ 95 w 121"/>
                <a:gd name="T9" fmla="*/ 0 h 63"/>
                <a:gd name="T10" fmla="*/ 93 w 121"/>
                <a:gd name="T11" fmla="*/ 21 h 63"/>
                <a:gd name="T12" fmla="*/ 73 w 121"/>
                <a:gd name="T13" fmla="*/ 37 h 63"/>
                <a:gd name="T14" fmla="*/ 68 w 121"/>
                <a:gd name="T15" fmla="*/ 40 h 63"/>
                <a:gd name="T16" fmla="*/ 63 w 121"/>
                <a:gd name="T17" fmla="*/ 37 h 63"/>
                <a:gd name="T18" fmla="*/ 57 w 121"/>
                <a:gd name="T19" fmla="*/ 40 h 63"/>
                <a:gd name="T20" fmla="*/ 52 w 121"/>
                <a:gd name="T21" fmla="*/ 36 h 63"/>
                <a:gd name="T22" fmla="*/ 53 w 121"/>
                <a:gd name="T23" fmla="*/ 24 h 63"/>
                <a:gd name="T24" fmla="*/ 49 w 121"/>
                <a:gd name="T25" fmla="*/ 32 h 63"/>
                <a:gd name="T26" fmla="*/ 49 w 121"/>
                <a:gd name="T27" fmla="*/ 37 h 63"/>
                <a:gd name="T28" fmla="*/ 41 w 121"/>
                <a:gd name="T29" fmla="*/ 40 h 63"/>
                <a:gd name="T30" fmla="*/ 40 w 121"/>
                <a:gd name="T31" fmla="*/ 38 h 63"/>
                <a:gd name="T32" fmla="*/ 30 w 121"/>
                <a:gd name="T33" fmla="*/ 41 h 63"/>
                <a:gd name="T34" fmla="*/ 23 w 121"/>
                <a:gd name="T35" fmla="*/ 39 h 63"/>
                <a:gd name="T36" fmla="*/ 16 w 121"/>
                <a:gd name="T37" fmla="*/ 39 h 63"/>
                <a:gd name="T38" fmla="*/ 13 w 121"/>
                <a:gd name="T39" fmla="*/ 38 h 63"/>
                <a:gd name="T40" fmla="*/ 11 w 121"/>
                <a:gd name="T41" fmla="*/ 39 h 63"/>
                <a:gd name="T42" fmla="*/ 9 w 121"/>
                <a:gd name="T43" fmla="*/ 39 h 63"/>
                <a:gd name="T44" fmla="*/ 4 w 121"/>
                <a:gd name="T45" fmla="*/ 37 h 63"/>
                <a:gd name="T46" fmla="*/ 3 w 121"/>
                <a:gd name="T47" fmla="*/ 46 h 63"/>
                <a:gd name="T48" fmla="*/ 22 w 121"/>
                <a:gd name="T49" fmla="*/ 55 h 63"/>
                <a:gd name="T50" fmla="*/ 30 w 121"/>
                <a:gd name="T51" fmla="*/ 56 h 63"/>
                <a:gd name="T52" fmla="*/ 37 w 121"/>
                <a:gd name="T53" fmla="*/ 61 h 63"/>
                <a:gd name="T54" fmla="*/ 54 w 121"/>
                <a:gd name="T55" fmla="*/ 61 h 63"/>
                <a:gd name="T56" fmla="*/ 80 w 121"/>
                <a:gd name="T57" fmla="*/ 54 h 63"/>
                <a:gd name="T58" fmla="*/ 89 w 121"/>
                <a:gd name="T59" fmla="*/ 48 h 63"/>
                <a:gd name="T60" fmla="*/ 99 w 121"/>
                <a:gd name="T61" fmla="*/ 40 h 63"/>
                <a:gd name="T62" fmla="*/ 103 w 121"/>
                <a:gd name="T63" fmla="*/ 41 h 63"/>
                <a:gd name="T64" fmla="*/ 111 w 121"/>
                <a:gd name="T65" fmla="*/ 37 h 63"/>
                <a:gd name="T66" fmla="*/ 108 w 121"/>
                <a:gd name="T67" fmla="*/ 23 h 63"/>
                <a:gd name="T68" fmla="*/ 112 w 121"/>
                <a:gd name="T69" fmla="*/ 24 h 63"/>
                <a:gd name="T70" fmla="*/ 118 w 121"/>
                <a:gd name="T71" fmla="*/ 19 h 63"/>
                <a:gd name="T72" fmla="*/ 113 w 121"/>
                <a:gd name="T73" fmla="*/ 1 h 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62">
                  <a:moveTo>
                    <a:pt x="114" y="0"/>
                  </a:moveTo>
                  <a:cubicBezTo>
                    <a:pt x="113" y="0"/>
                    <a:pt x="112" y="0"/>
                    <a:pt x="111" y="0"/>
                  </a:cubicBezTo>
                  <a:cubicBezTo>
                    <a:pt x="111" y="1"/>
                    <a:pt x="110" y="1"/>
                    <a:pt x="110" y="1"/>
                  </a:cubicBezTo>
                  <a:cubicBezTo>
                    <a:pt x="110" y="1"/>
                    <a:pt x="110" y="1"/>
                    <a:pt x="110" y="1"/>
                  </a:cubicBezTo>
                  <a:cubicBezTo>
                    <a:pt x="110" y="1"/>
                    <a:pt x="110" y="1"/>
                    <a:pt x="110" y="1"/>
                  </a:cubicBezTo>
                  <a:cubicBezTo>
                    <a:pt x="109" y="1"/>
                    <a:pt x="109" y="1"/>
                    <a:pt x="109" y="1"/>
                  </a:cubicBezTo>
                  <a:cubicBezTo>
                    <a:pt x="109" y="1"/>
                    <a:pt x="109" y="0"/>
                    <a:pt x="108" y="0"/>
                  </a:cubicBezTo>
                  <a:cubicBezTo>
                    <a:pt x="108" y="0"/>
                    <a:pt x="108" y="0"/>
                    <a:pt x="108" y="0"/>
                  </a:cubicBezTo>
                  <a:cubicBezTo>
                    <a:pt x="107" y="1"/>
                    <a:pt x="105" y="2"/>
                    <a:pt x="104" y="3"/>
                  </a:cubicBezTo>
                  <a:cubicBezTo>
                    <a:pt x="104" y="0"/>
                    <a:pt x="97" y="1"/>
                    <a:pt x="95" y="0"/>
                  </a:cubicBezTo>
                  <a:cubicBezTo>
                    <a:pt x="95" y="8"/>
                    <a:pt x="96" y="15"/>
                    <a:pt x="97" y="22"/>
                  </a:cubicBezTo>
                  <a:cubicBezTo>
                    <a:pt x="96" y="22"/>
                    <a:pt x="94" y="21"/>
                    <a:pt x="93" y="21"/>
                  </a:cubicBezTo>
                  <a:cubicBezTo>
                    <a:pt x="85" y="21"/>
                    <a:pt x="80" y="31"/>
                    <a:pt x="75" y="38"/>
                  </a:cubicBezTo>
                  <a:cubicBezTo>
                    <a:pt x="74" y="37"/>
                    <a:pt x="74" y="37"/>
                    <a:pt x="73" y="37"/>
                  </a:cubicBezTo>
                  <a:cubicBezTo>
                    <a:pt x="72" y="37"/>
                    <a:pt x="72" y="38"/>
                    <a:pt x="71" y="38"/>
                  </a:cubicBezTo>
                  <a:cubicBezTo>
                    <a:pt x="70" y="39"/>
                    <a:pt x="69" y="40"/>
                    <a:pt x="68" y="40"/>
                  </a:cubicBezTo>
                  <a:cubicBezTo>
                    <a:pt x="68" y="40"/>
                    <a:pt x="68" y="40"/>
                    <a:pt x="68" y="40"/>
                  </a:cubicBezTo>
                  <a:cubicBezTo>
                    <a:pt x="66" y="40"/>
                    <a:pt x="66" y="37"/>
                    <a:pt x="63" y="37"/>
                  </a:cubicBezTo>
                  <a:cubicBezTo>
                    <a:pt x="63" y="37"/>
                    <a:pt x="63" y="37"/>
                    <a:pt x="63" y="37"/>
                  </a:cubicBezTo>
                  <a:cubicBezTo>
                    <a:pt x="60" y="37"/>
                    <a:pt x="59" y="40"/>
                    <a:pt x="57" y="40"/>
                  </a:cubicBezTo>
                  <a:cubicBezTo>
                    <a:pt x="57" y="40"/>
                    <a:pt x="56" y="40"/>
                    <a:pt x="56" y="40"/>
                  </a:cubicBezTo>
                  <a:cubicBezTo>
                    <a:pt x="53" y="40"/>
                    <a:pt x="54" y="39"/>
                    <a:pt x="52" y="36"/>
                  </a:cubicBezTo>
                  <a:cubicBezTo>
                    <a:pt x="51" y="33"/>
                    <a:pt x="50" y="29"/>
                    <a:pt x="53" y="28"/>
                  </a:cubicBezTo>
                  <a:cubicBezTo>
                    <a:pt x="56" y="26"/>
                    <a:pt x="54" y="24"/>
                    <a:pt x="53" y="24"/>
                  </a:cubicBezTo>
                  <a:cubicBezTo>
                    <a:pt x="51" y="24"/>
                    <a:pt x="50" y="25"/>
                    <a:pt x="50" y="28"/>
                  </a:cubicBezTo>
                  <a:cubicBezTo>
                    <a:pt x="50" y="31"/>
                    <a:pt x="49" y="31"/>
                    <a:pt x="49" y="32"/>
                  </a:cubicBezTo>
                  <a:cubicBezTo>
                    <a:pt x="48" y="33"/>
                    <a:pt x="48" y="33"/>
                    <a:pt x="47" y="34"/>
                  </a:cubicBezTo>
                  <a:cubicBezTo>
                    <a:pt x="47" y="35"/>
                    <a:pt x="49" y="36"/>
                    <a:pt x="49" y="37"/>
                  </a:cubicBezTo>
                  <a:cubicBezTo>
                    <a:pt x="48" y="40"/>
                    <a:pt x="44" y="39"/>
                    <a:pt x="43" y="39"/>
                  </a:cubicBezTo>
                  <a:cubicBezTo>
                    <a:pt x="43" y="39"/>
                    <a:pt x="42" y="40"/>
                    <a:pt x="41" y="40"/>
                  </a:cubicBezTo>
                  <a:cubicBezTo>
                    <a:pt x="41" y="40"/>
                    <a:pt x="40" y="40"/>
                    <a:pt x="40" y="39"/>
                  </a:cubicBezTo>
                  <a:cubicBezTo>
                    <a:pt x="40" y="39"/>
                    <a:pt x="40" y="38"/>
                    <a:pt x="40" y="38"/>
                  </a:cubicBezTo>
                  <a:cubicBezTo>
                    <a:pt x="39" y="38"/>
                    <a:pt x="38" y="39"/>
                    <a:pt x="37" y="39"/>
                  </a:cubicBezTo>
                  <a:cubicBezTo>
                    <a:pt x="34" y="41"/>
                    <a:pt x="32" y="41"/>
                    <a:pt x="30" y="41"/>
                  </a:cubicBezTo>
                  <a:cubicBezTo>
                    <a:pt x="29" y="41"/>
                    <a:pt x="29" y="41"/>
                    <a:pt x="29" y="41"/>
                  </a:cubicBezTo>
                  <a:cubicBezTo>
                    <a:pt x="27" y="41"/>
                    <a:pt x="26" y="40"/>
                    <a:pt x="23" y="39"/>
                  </a:cubicBezTo>
                  <a:cubicBezTo>
                    <a:pt x="22" y="39"/>
                    <a:pt x="21" y="38"/>
                    <a:pt x="21" y="38"/>
                  </a:cubicBezTo>
                  <a:cubicBezTo>
                    <a:pt x="19" y="38"/>
                    <a:pt x="18" y="39"/>
                    <a:pt x="16" y="39"/>
                  </a:cubicBezTo>
                  <a:cubicBezTo>
                    <a:pt x="16" y="39"/>
                    <a:pt x="16" y="40"/>
                    <a:pt x="16" y="40"/>
                  </a:cubicBezTo>
                  <a:cubicBezTo>
                    <a:pt x="15" y="40"/>
                    <a:pt x="14" y="38"/>
                    <a:pt x="13" y="38"/>
                  </a:cubicBezTo>
                  <a:cubicBezTo>
                    <a:pt x="13" y="38"/>
                    <a:pt x="13" y="38"/>
                    <a:pt x="12" y="38"/>
                  </a:cubicBezTo>
                  <a:cubicBezTo>
                    <a:pt x="12" y="38"/>
                    <a:pt x="11" y="38"/>
                    <a:pt x="11" y="39"/>
                  </a:cubicBezTo>
                  <a:cubicBezTo>
                    <a:pt x="10" y="39"/>
                    <a:pt x="10" y="39"/>
                    <a:pt x="9" y="39"/>
                  </a:cubicBezTo>
                  <a:cubicBezTo>
                    <a:pt x="9" y="39"/>
                    <a:pt x="9" y="39"/>
                    <a:pt x="9" y="39"/>
                  </a:cubicBezTo>
                  <a:cubicBezTo>
                    <a:pt x="7" y="39"/>
                    <a:pt x="8" y="38"/>
                    <a:pt x="6" y="38"/>
                  </a:cubicBezTo>
                  <a:cubicBezTo>
                    <a:pt x="5" y="38"/>
                    <a:pt x="5" y="37"/>
                    <a:pt x="4" y="37"/>
                  </a:cubicBezTo>
                  <a:cubicBezTo>
                    <a:pt x="4" y="37"/>
                    <a:pt x="3" y="37"/>
                    <a:pt x="3" y="38"/>
                  </a:cubicBezTo>
                  <a:cubicBezTo>
                    <a:pt x="0" y="39"/>
                    <a:pt x="1" y="45"/>
                    <a:pt x="3" y="46"/>
                  </a:cubicBezTo>
                  <a:cubicBezTo>
                    <a:pt x="5" y="49"/>
                    <a:pt x="11" y="49"/>
                    <a:pt x="14" y="50"/>
                  </a:cubicBezTo>
                  <a:cubicBezTo>
                    <a:pt x="16" y="52"/>
                    <a:pt x="18" y="53"/>
                    <a:pt x="22" y="55"/>
                  </a:cubicBezTo>
                  <a:cubicBezTo>
                    <a:pt x="22" y="55"/>
                    <a:pt x="23" y="57"/>
                    <a:pt x="22" y="58"/>
                  </a:cubicBezTo>
                  <a:cubicBezTo>
                    <a:pt x="25" y="57"/>
                    <a:pt x="27" y="56"/>
                    <a:pt x="30" y="56"/>
                  </a:cubicBezTo>
                  <a:cubicBezTo>
                    <a:pt x="31" y="56"/>
                    <a:pt x="33" y="56"/>
                    <a:pt x="36" y="58"/>
                  </a:cubicBezTo>
                  <a:cubicBezTo>
                    <a:pt x="36" y="59"/>
                    <a:pt x="37" y="60"/>
                    <a:pt x="37" y="61"/>
                  </a:cubicBezTo>
                  <a:cubicBezTo>
                    <a:pt x="39" y="62"/>
                    <a:pt x="42" y="63"/>
                    <a:pt x="45" y="63"/>
                  </a:cubicBezTo>
                  <a:cubicBezTo>
                    <a:pt x="48" y="63"/>
                    <a:pt x="52" y="62"/>
                    <a:pt x="54" y="61"/>
                  </a:cubicBezTo>
                  <a:cubicBezTo>
                    <a:pt x="61" y="60"/>
                    <a:pt x="69" y="59"/>
                    <a:pt x="75" y="56"/>
                  </a:cubicBezTo>
                  <a:cubicBezTo>
                    <a:pt x="76" y="55"/>
                    <a:pt x="79" y="55"/>
                    <a:pt x="80" y="54"/>
                  </a:cubicBezTo>
                  <a:cubicBezTo>
                    <a:pt x="81" y="54"/>
                    <a:pt x="84" y="52"/>
                    <a:pt x="85" y="51"/>
                  </a:cubicBezTo>
                  <a:cubicBezTo>
                    <a:pt x="86" y="49"/>
                    <a:pt x="88" y="49"/>
                    <a:pt x="89" y="48"/>
                  </a:cubicBezTo>
                  <a:cubicBezTo>
                    <a:pt x="92" y="46"/>
                    <a:pt x="94" y="42"/>
                    <a:pt x="96" y="41"/>
                  </a:cubicBezTo>
                  <a:cubicBezTo>
                    <a:pt x="97" y="40"/>
                    <a:pt x="98" y="40"/>
                    <a:pt x="99" y="40"/>
                  </a:cubicBezTo>
                  <a:cubicBezTo>
                    <a:pt x="100" y="40"/>
                    <a:pt x="100" y="40"/>
                    <a:pt x="101" y="40"/>
                  </a:cubicBezTo>
                  <a:cubicBezTo>
                    <a:pt x="101" y="41"/>
                    <a:pt x="102" y="41"/>
                    <a:pt x="103" y="41"/>
                  </a:cubicBezTo>
                  <a:cubicBezTo>
                    <a:pt x="103" y="41"/>
                    <a:pt x="103" y="41"/>
                    <a:pt x="104" y="41"/>
                  </a:cubicBezTo>
                  <a:cubicBezTo>
                    <a:pt x="105" y="41"/>
                    <a:pt x="110" y="38"/>
                    <a:pt x="111" y="37"/>
                  </a:cubicBezTo>
                  <a:cubicBezTo>
                    <a:pt x="114" y="31"/>
                    <a:pt x="104" y="29"/>
                    <a:pt x="107" y="24"/>
                  </a:cubicBezTo>
                  <a:cubicBezTo>
                    <a:pt x="107" y="23"/>
                    <a:pt x="108" y="23"/>
                    <a:pt x="108" y="23"/>
                  </a:cubicBezTo>
                  <a:cubicBezTo>
                    <a:pt x="109" y="23"/>
                    <a:pt x="110" y="23"/>
                    <a:pt x="110" y="24"/>
                  </a:cubicBezTo>
                  <a:cubicBezTo>
                    <a:pt x="111" y="24"/>
                    <a:pt x="112" y="24"/>
                    <a:pt x="112" y="24"/>
                  </a:cubicBezTo>
                  <a:cubicBezTo>
                    <a:pt x="112" y="24"/>
                    <a:pt x="113" y="24"/>
                    <a:pt x="113" y="24"/>
                  </a:cubicBezTo>
                  <a:cubicBezTo>
                    <a:pt x="115" y="23"/>
                    <a:pt x="117" y="22"/>
                    <a:pt x="118" y="19"/>
                  </a:cubicBezTo>
                  <a:cubicBezTo>
                    <a:pt x="121" y="14"/>
                    <a:pt x="117" y="10"/>
                    <a:pt x="120" y="5"/>
                  </a:cubicBezTo>
                  <a:cubicBezTo>
                    <a:pt x="118" y="4"/>
                    <a:pt x="109" y="4"/>
                    <a:pt x="113" y="1"/>
                  </a:cubicBezTo>
                  <a:cubicBezTo>
                    <a:pt x="114" y="0"/>
                    <a:pt x="114" y="0"/>
                    <a:pt x="1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1446"/>
            <p:cNvSpPr/>
            <p:nvPr/>
          </p:nvSpPr>
          <p:spPr bwMode="auto">
            <a:xfrm>
              <a:off x="4286" y="1385"/>
              <a:ext cx="14" cy="29"/>
            </a:xfrm>
            <a:custGeom>
              <a:gdLst>
                <a:gd name="T0" fmla="*/ 4 w 6"/>
                <a:gd name="T1" fmla="*/ 0 h 12"/>
                <a:gd name="T2" fmla="*/ 0 w 6"/>
                <a:gd name="T3" fmla="*/ 2 h 12"/>
                <a:gd name="T4" fmla="*/ 3 w 6"/>
                <a:gd name="T5" fmla="*/ 12 h 12"/>
                <a:gd name="T6" fmla="*/ 6 w 6"/>
                <a:gd name="T7" fmla="*/ 6 h 12"/>
                <a:gd name="T8" fmla="*/ 5 w 6"/>
                <a:gd name="T9" fmla="*/ 3 h 12"/>
                <a:gd name="T10" fmla="*/ 4 w 6"/>
                <a:gd name="T11" fmla="*/ 0 h 12"/>
                <a:gd name="T12" fmla="*/ 4 w 6"/>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6" h="12">
                  <a:moveTo>
                    <a:pt x="4" y="0"/>
                  </a:moveTo>
                  <a:cubicBezTo>
                    <a:pt x="3" y="0"/>
                    <a:pt x="0" y="2"/>
                    <a:pt x="0" y="2"/>
                  </a:cubicBezTo>
                  <a:cubicBezTo>
                    <a:pt x="0" y="5"/>
                    <a:pt x="3" y="10"/>
                    <a:pt x="3" y="12"/>
                  </a:cubicBezTo>
                  <a:cubicBezTo>
                    <a:pt x="5" y="11"/>
                    <a:pt x="6" y="8"/>
                    <a:pt x="6" y="6"/>
                  </a:cubicBezTo>
                  <a:cubicBezTo>
                    <a:pt x="6" y="5"/>
                    <a:pt x="5" y="5"/>
                    <a:pt x="5" y="3"/>
                  </a:cubicBezTo>
                  <a:cubicBezTo>
                    <a:pt x="4" y="2"/>
                    <a:pt x="5"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1447"/>
            <p:cNvSpPr/>
            <p:nvPr/>
          </p:nvSpPr>
          <p:spPr bwMode="auto">
            <a:xfrm>
              <a:off x="4031" y="1766"/>
              <a:ext cx="7" cy="7"/>
            </a:xfrm>
            <a:custGeom>
              <a:gdLst>
                <a:gd name="T0" fmla="*/ 1 w 3"/>
                <a:gd name="T1" fmla="*/ 0 h 3"/>
                <a:gd name="T2" fmla="*/ 0 w 3"/>
                <a:gd name="T3" fmla="*/ 0 h 3"/>
                <a:gd name="T4" fmla="*/ 2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1" y="0"/>
                    <a:pt x="0" y="0"/>
                    <a:pt x="0" y="0"/>
                  </a:cubicBezTo>
                  <a:cubicBezTo>
                    <a:pt x="0" y="1"/>
                    <a:pt x="1" y="2"/>
                    <a:pt x="2" y="3"/>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1448"/>
            <p:cNvSpPr/>
            <p:nvPr/>
          </p:nvSpPr>
          <p:spPr bwMode="auto">
            <a:xfrm>
              <a:off x="4298" y="1411"/>
              <a:ext cx="87" cy="102"/>
            </a:xfrm>
            <a:custGeom>
              <a:gdLst>
                <a:gd name="T0" fmla="*/ 1 w 37"/>
                <a:gd name="T1" fmla="*/ 0 h 43"/>
                <a:gd name="T2" fmla="*/ 1 w 37"/>
                <a:gd name="T3" fmla="*/ 12 h 43"/>
                <a:gd name="T4" fmla="*/ 14 w 37"/>
                <a:gd name="T5" fmla="*/ 32 h 43"/>
                <a:gd name="T6" fmla="*/ 13 w 37"/>
                <a:gd name="T7" fmla="*/ 32 h 43"/>
                <a:gd name="T8" fmla="*/ 15 w 37"/>
                <a:gd name="T9" fmla="*/ 34 h 43"/>
                <a:gd name="T10" fmla="*/ 29 w 37"/>
                <a:gd name="T11" fmla="*/ 43 h 43"/>
                <a:gd name="T12" fmla="*/ 34 w 37"/>
                <a:gd name="T13" fmla="*/ 39 h 43"/>
                <a:gd name="T14" fmla="*/ 36 w 37"/>
                <a:gd name="T15" fmla="*/ 39 h 43"/>
                <a:gd name="T16" fmla="*/ 36 w 37"/>
                <a:gd name="T17" fmla="*/ 39 h 43"/>
                <a:gd name="T18" fmla="*/ 36 w 37"/>
                <a:gd name="T19" fmla="*/ 32 h 43"/>
                <a:gd name="T20" fmla="*/ 30 w 37"/>
                <a:gd name="T21" fmla="*/ 26 h 43"/>
                <a:gd name="T22" fmla="*/ 27 w 37"/>
                <a:gd name="T23" fmla="*/ 22 h 43"/>
                <a:gd name="T24" fmla="*/ 24 w 37"/>
                <a:gd name="T25" fmla="*/ 21 h 43"/>
                <a:gd name="T26" fmla="*/ 21 w 37"/>
                <a:gd name="T27" fmla="*/ 19 h 43"/>
                <a:gd name="T28" fmla="*/ 19 w 37"/>
                <a:gd name="T29" fmla="*/ 16 h 43"/>
                <a:gd name="T30" fmla="*/ 15 w 37"/>
                <a:gd name="T31" fmla="*/ 13 h 43"/>
                <a:gd name="T32" fmla="*/ 14 w 37"/>
                <a:gd name="T33" fmla="*/ 9 h 43"/>
                <a:gd name="T34" fmla="*/ 9 w 37"/>
                <a:gd name="T35" fmla="*/ 4 h 43"/>
                <a:gd name="T36" fmla="*/ 1 w 37"/>
                <a:gd name="T37"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3">
                  <a:moveTo>
                    <a:pt x="1" y="0"/>
                  </a:moveTo>
                  <a:cubicBezTo>
                    <a:pt x="0" y="4"/>
                    <a:pt x="0" y="8"/>
                    <a:pt x="1" y="12"/>
                  </a:cubicBezTo>
                  <a:cubicBezTo>
                    <a:pt x="2" y="19"/>
                    <a:pt x="10" y="26"/>
                    <a:pt x="14" y="32"/>
                  </a:cubicBezTo>
                  <a:cubicBezTo>
                    <a:pt x="14" y="32"/>
                    <a:pt x="14" y="32"/>
                    <a:pt x="13" y="32"/>
                  </a:cubicBezTo>
                  <a:cubicBezTo>
                    <a:pt x="13" y="32"/>
                    <a:pt x="14" y="33"/>
                    <a:pt x="15" y="34"/>
                  </a:cubicBezTo>
                  <a:cubicBezTo>
                    <a:pt x="19" y="38"/>
                    <a:pt x="24" y="40"/>
                    <a:pt x="29" y="43"/>
                  </a:cubicBezTo>
                  <a:cubicBezTo>
                    <a:pt x="31" y="40"/>
                    <a:pt x="32" y="40"/>
                    <a:pt x="34" y="39"/>
                  </a:cubicBezTo>
                  <a:cubicBezTo>
                    <a:pt x="34" y="39"/>
                    <a:pt x="35" y="39"/>
                    <a:pt x="36" y="39"/>
                  </a:cubicBezTo>
                  <a:cubicBezTo>
                    <a:pt x="36" y="39"/>
                    <a:pt x="36" y="39"/>
                    <a:pt x="36" y="39"/>
                  </a:cubicBezTo>
                  <a:cubicBezTo>
                    <a:pt x="37" y="38"/>
                    <a:pt x="36" y="33"/>
                    <a:pt x="36" y="32"/>
                  </a:cubicBezTo>
                  <a:cubicBezTo>
                    <a:pt x="35" y="30"/>
                    <a:pt x="32" y="28"/>
                    <a:pt x="30" y="26"/>
                  </a:cubicBezTo>
                  <a:cubicBezTo>
                    <a:pt x="30" y="26"/>
                    <a:pt x="27" y="22"/>
                    <a:pt x="27" y="22"/>
                  </a:cubicBezTo>
                  <a:cubicBezTo>
                    <a:pt x="26" y="21"/>
                    <a:pt x="25" y="21"/>
                    <a:pt x="24" y="21"/>
                  </a:cubicBezTo>
                  <a:cubicBezTo>
                    <a:pt x="23" y="21"/>
                    <a:pt x="22" y="21"/>
                    <a:pt x="21" y="19"/>
                  </a:cubicBezTo>
                  <a:cubicBezTo>
                    <a:pt x="20" y="17"/>
                    <a:pt x="20" y="17"/>
                    <a:pt x="19" y="16"/>
                  </a:cubicBezTo>
                  <a:cubicBezTo>
                    <a:pt x="18" y="15"/>
                    <a:pt x="16" y="14"/>
                    <a:pt x="15" y="13"/>
                  </a:cubicBezTo>
                  <a:cubicBezTo>
                    <a:pt x="14" y="12"/>
                    <a:pt x="15" y="11"/>
                    <a:pt x="14" y="9"/>
                  </a:cubicBezTo>
                  <a:cubicBezTo>
                    <a:pt x="12" y="7"/>
                    <a:pt x="11" y="4"/>
                    <a:pt x="9" y="4"/>
                  </a:cubicBezTo>
                  <a:cubicBezTo>
                    <a:pt x="5" y="2"/>
                    <a:pt x="3"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1449"/>
            <p:cNvSpPr/>
            <p:nvPr/>
          </p:nvSpPr>
          <p:spPr bwMode="auto">
            <a:xfrm>
              <a:off x="4108" y="1225"/>
              <a:ext cx="5" cy="9"/>
            </a:xfrm>
            <a:custGeom>
              <a:gdLst>
                <a:gd name="T0" fmla="*/ 0 w 2"/>
                <a:gd name="T1" fmla="*/ 0 h 4"/>
                <a:gd name="T2" fmla="*/ 1 w 2"/>
                <a:gd name="T3" fmla="*/ 4 h 4"/>
                <a:gd name="T4" fmla="*/ 0 w 2"/>
                <a:gd name="T5" fmla="*/ 0 h 4"/>
              </a:gdLst>
              <a:cxnLst>
                <a:cxn ang="0">
                  <a:pos x="T0" y="T1"/>
                </a:cxn>
                <a:cxn ang="0">
                  <a:pos x="T2" y="T3"/>
                </a:cxn>
                <a:cxn ang="0">
                  <a:pos x="T4" y="T5"/>
                </a:cxn>
              </a:cxnLst>
              <a:rect l="0" t="0" r="r" b="b"/>
              <a:pathLst>
                <a:path w="2" h="4">
                  <a:moveTo>
                    <a:pt x="0" y="0"/>
                  </a:moveTo>
                  <a:cubicBezTo>
                    <a:pt x="0" y="2"/>
                    <a:pt x="0" y="3"/>
                    <a:pt x="1" y="4"/>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1450"/>
            <p:cNvSpPr/>
            <p:nvPr/>
          </p:nvSpPr>
          <p:spPr bwMode="auto">
            <a:xfrm>
              <a:off x="3766" y="1397"/>
              <a:ext cx="21" cy="17"/>
            </a:xfrm>
            <a:custGeom>
              <a:gdLst>
                <a:gd name="T0" fmla="*/ 5 w 9"/>
                <a:gd name="T1" fmla="*/ 0 h 7"/>
                <a:gd name="T2" fmla="*/ 3 w 9"/>
                <a:gd name="T3" fmla="*/ 1 h 7"/>
                <a:gd name="T4" fmla="*/ 5 w 9"/>
                <a:gd name="T5" fmla="*/ 7 h 7"/>
                <a:gd name="T6" fmla="*/ 7 w 9"/>
                <a:gd name="T7" fmla="*/ 1 h 7"/>
                <a:gd name="T8" fmla="*/ 5 w 9"/>
                <a:gd name="T9" fmla="*/ 0 h 7"/>
              </a:gdLst>
              <a:cxnLst>
                <a:cxn ang="0">
                  <a:pos x="T0" y="T1"/>
                </a:cxn>
                <a:cxn ang="0">
                  <a:pos x="T2" y="T3"/>
                </a:cxn>
                <a:cxn ang="0">
                  <a:pos x="T4" y="T5"/>
                </a:cxn>
                <a:cxn ang="0">
                  <a:pos x="T6" y="T7"/>
                </a:cxn>
                <a:cxn ang="0">
                  <a:pos x="T8" y="T9"/>
                </a:cxn>
              </a:cxnLst>
              <a:rect l="0" t="0" r="r" b="b"/>
              <a:pathLst>
                <a:path w="9" h="7">
                  <a:moveTo>
                    <a:pt x="5" y="0"/>
                  </a:moveTo>
                  <a:cubicBezTo>
                    <a:pt x="4" y="0"/>
                    <a:pt x="4" y="0"/>
                    <a:pt x="3" y="1"/>
                  </a:cubicBezTo>
                  <a:cubicBezTo>
                    <a:pt x="0" y="2"/>
                    <a:pt x="5" y="6"/>
                    <a:pt x="5" y="7"/>
                  </a:cubicBezTo>
                  <a:cubicBezTo>
                    <a:pt x="9" y="6"/>
                    <a:pt x="9" y="2"/>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1451"/>
            <p:cNvSpPr/>
            <p:nvPr/>
          </p:nvSpPr>
          <p:spPr bwMode="auto">
            <a:xfrm>
              <a:off x="3823" y="1196"/>
              <a:ext cx="7" cy="5"/>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1"/>
                    <a:pt x="1" y="1"/>
                    <a:pt x="0" y="2"/>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1452"/>
            <p:cNvSpPr/>
            <p:nvPr/>
          </p:nvSpPr>
          <p:spPr bwMode="auto">
            <a:xfrm>
              <a:off x="4146" y="1248"/>
              <a:ext cx="12" cy="12"/>
            </a:xfrm>
            <a:custGeom>
              <a:gdLst>
                <a:gd name="T0" fmla="*/ 4 w 5"/>
                <a:gd name="T1" fmla="*/ 0 h 5"/>
                <a:gd name="T2" fmla="*/ 4 w 5"/>
                <a:gd name="T3" fmla="*/ 5 h 5"/>
                <a:gd name="T4" fmla="*/ 4 w 5"/>
                <a:gd name="T5" fmla="*/ 0 h 5"/>
              </a:gdLst>
              <a:cxnLst>
                <a:cxn ang="0">
                  <a:pos x="T0" y="T1"/>
                </a:cxn>
                <a:cxn ang="0">
                  <a:pos x="T2" y="T3"/>
                </a:cxn>
                <a:cxn ang="0">
                  <a:pos x="T4" y="T5"/>
                </a:cxn>
              </a:cxnLst>
              <a:rect l="0" t="0" r="r" b="b"/>
              <a:pathLst>
                <a:path w="5" h="5">
                  <a:moveTo>
                    <a:pt x="4" y="0"/>
                  </a:moveTo>
                  <a:cubicBezTo>
                    <a:pt x="0" y="0"/>
                    <a:pt x="3" y="4"/>
                    <a:pt x="4" y="5"/>
                  </a:cubicBezTo>
                  <a:cubicBezTo>
                    <a:pt x="5"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1453"/>
            <p:cNvSpPr/>
            <p:nvPr/>
          </p:nvSpPr>
          <p:spPr bwMode="auto">
            <a:xfrm>
              <a:off x="3697" y="1350"/>
              <a:ext cx="10" cy="17"/>
            </a:xfrm>
            <a:custGeom>
              <a:gdLst>
                <a:gd name="T0" fmla="*/ 1 w 4"/>
                <a:gd name="T1" fmla="*/ 0 h 7"/>
                <a:gd name="T2" fmla="*/ 0 w 4"/>
                <a:gd name="T3" fmla="*/ 7 h 7"/>
                <a:gd name="T4" fmla="*/ 1 w 4"/>
                <a:gd name="T5" fmla="*/ 0 h 7"/>
              </a:gdLst>
              <a:cxnLst>
                <a:cxn ang="0">
                  <a:pos x="T0" y="T1"/>
                </a:cxn>
                <a:cxn ang="0">
                  <a:pos x="T2" y="T3"/>
                </a:cxn>
                <a:cxn ang="0">
                  <a:pos x="T4" y="T5"/>
                </a:cxn>
              </a:cxnLst>
              <a:rect l="0" t="0" r="r" b="b"/>
              <a:pathLst>
                <a:path w="4" h="7">
                  <a:moveTo>
                    <a:pt x="1" y="0"/>
                  </a:moveTo>
                  <a:cubicBezTo>
                    <a:pt x="0" y="2"/>
                    <a:pt x="0" y="5"/>
                    <a:pt x="0" y="7"/>
                  </a:cubicBezTo>
                  <a:cubicBezTo>
                    <a:pt x="3" y="6"/>
                    <a:pt x="4"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1454"/>
            <p:cNvSpPr/>
            <p:nvPr/>
          </p:nvSpPr>
          <p:spPr bwMode="auto">
            <a:xfrm>
              <a:off x="3945" y="1133"/>
              <a:ext cx="15" cy="16"/>
            </a:xfrm>
            <a:custGeom>
              <a:gdLst>
                <a:gd name="T0" fmla="*/ 0 w 6"/>
                <a:gd name="T1" fmla="*/ 0 h 7"/>
                <a:gd name="T2" fmla="*/ 5 w 6"/>
                <a:gd name="T3" fmla="*/ 7 h 7"/>
                <a:gd name="T4" fmla="*/ 0 w 6"/>
                <a:gd name="T5" fmla="*/ 0 h 7"/>
              </a:gdLst>
              <a:cxnLst>
                <a:cxn ang="0">
                  <a:pos x="T0" y="T1"/>
                </a:cxn>
                <a:cxn ang="0">
                  <a:pos x="T2" y="T3"/>
                </a:cxn>
                <a:cxn ang="0">
                  <a:pos x="T4" y="T5"/>
                </a:cxn>
              </a:cxnLst>
              <a:rect l="0" t="0" r="r" b="b"/>
              <a:pathLst>
                <a:path w="6" h="7">
                  <a:moveTo>
                    <a:pt x="0" y="0"/>
                  </a:moveTo>
                  <a:cubicBezTo>
                    <a:pt x="1" y="2"/>
                    <a:pt x="3" y="5"/>
                    <a:pt x="5" y="7"/>
                  </a:cubicBezTo>
                  <a:cubicBezTo>
                    <a:pt x="6" y="3"/>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1455"/>
            <p:cNvSpPr/>
            <p:nvPr/>
          </p:nvSpPr>
          <p:spPr bwMode="auto">
            <a:xfrm>
              <a:off x="3518" y="1615"/>
              <a:ext cx="19" cy="9"/>
            </a:xfrm>
            <a:custGeom>
              <a:gdLst>
                <a:gd name="T0" fmla="*/ 4 w 8"/>
                <a:gd name="T1" fmla="*/ 0 h 4"/>
                <a:gd name="T2" fmla="*/ 0 w 8"/>
                <a:gd name="T3" fmla="*/ 0 h 4"/>
                <a:gd name="T4" fmla="*/ 7 w 8"/>
                <a:gd name="T5" fmla="*/ 4 h 4"/>
                <a:gd name="T6" fmla="*/ 4 w 8"/>
                <a:gd name="T7" fmla="*/ 0 h 4"/>
              </a:gdLst>
              <a:cxnLst>
                <a:cxn ang="0">
                  <a:pos x="T0" y="T1"/>
                </a:cxn>
                <a:cxn ang="0">
                  <a:pos x="T2" y="T3"/>
                </a:cxn>
                <a:cxn ang="0">
                  <a:pos x="T4" y="T5"/>
                </a:cxn>
                <a:cxn ang="0">
                  <a:pos x="T6" y="T7"/>
                </a:cxn>
              </a:cxnLst>
              <a:rect l="0" t="0" r="r" b="b"/>
              <a:pathLst>
                <a:path w="8" h="4">
                  <a:moveTo>
                    <a:pt x="4" y="0"/>
                  </a:moveTo>
                  <a:cubicBezTo>
                    <a:pt x="2" y="0"/>
                    <a:pt x="1" y="0"/>
                    <a:pt x="0" y="0"/>
                  </a:cubicBezTo>
                  <a:cubicBezTo>
                    <a:pt x="2" y="2"/>
                    <a:pt x="5" y="3"/>
                    <a:pt x="7" y="4"/>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1456"/>
            <p:cNvSpPr/>
            <p:nvPr/>
          </p:nvSpPr>
          <p:spPr bwMode="auto">
            <a:xfrm>
              <a:off x="3825" y="1416"/>
              <a:ext cx="26" cy="26"/>
            </a:xfrm>
            <a:custGeom>
              <a:gdLst>
                <a:gd name="T0" fmla="*/ 0 w 11"/>
                <a:gd name="T1" fmla="*/ 0 h 11"/>
                <a:gd name="T2" fmla="*/ 0 w 11"/>
                <a:gd name="T3" fmla="*/ 0 h 11"/>
                <a:gd name="T4" fmla="*/ 5 w 11"/>
                <a:gd name="T5" fmla="*/ 11 h 11"/>
                <a:gd name="T6" fmla="*/ 0 w 11"/>
                <a:gd name="T7" fmla="*/ 0 h 11"/>
              </a:gdLst>
              <a:cxnLst>
                <a:cxn ang="0">
                  <a:pos x="T0" y="T1"/>
                </a:cxn>
                <a:cxn ang="0">
                  <a:pos x="T2" y="T3"/>
                </a:cxn>
                <a:cxn ang="0">
                  <a:pos x="T4" y="T5"/>
                </a:cxn>
                <a:cxn ang="0">
                  <a:pos x="T6" y="T7"/>
                </a:cxn>
              </a:cxnLst>
              <a:rect l="0" t="0" r="r" b="b"/>
              <a:pathLst>
                <a:path w="11" h="11">
                  <a:moveTo>
                    <a:pt x="0" y="0"/>
                  </a:moveTo>
                  <a:cubicBezTo>
                    <a:pt x="0" y="0"/>
                    <a:pt x="0" y="0"/>
                    <a:pt x="0" y="0"/>
                  </a:cubicBezTo>
                  <a:cubicBezTo>
                    <a:pt x="1" y="4"/>
                    <a:pt x="3" y="7"/>
                    <a:pt x="5" y="11"/>
                  </a:cubicBezTo>
                  <a:cubicBezTo>
                    <a:pt x="11" y="6"/>
                    <a:pt x="5"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457"/>
            <p:cNvSpPr/>
            <p:nvPr/>
          </p:nvSpPr>
          <p:spPr bwMode="auto">
            <a:xfrm>
              <a:off x="3938" y="1359"/>
              <a:ext cx="7" cy="5"/>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1"/>
                    <a:pt x="2" y="1"/>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1458"/>
            <p:cNvSpPr/>
            <p:nvPr/>
          </p:nvSpPr>
          <p:spPr bwMode="auto">
            <a:xfrm>
              <a:off x="4146" y="1657"/>
              <a:ext cx="38" cy="17"/>
            </a:xfrm>
            <a:custGeom>
              <a:gdLst>
                <a:gd name="T0" fmla="*/ 5 w 16"/>
                <a:gd name="T1" fmla="*/ 0 h 7"/>
                <a:gd name="T2" fmla="*/ 0 w 16"/>
                <a:gd name="T3" fmla="*/ 1 h 7"/>
                <a:gd name="T4" fmla="*/ 10 w 16"/>
                <a:gd name="T5" fmla="*/ 7 h 7"/>
                <a:gd name="T6" fmla="*/ 12 w 16"/>
                <a:gd name="T7" fmla="*/ 7 h 7"/>
                <a:gd name="T8" fmla="*/ 14 w 16"/>
                <a:gd name="T9" fmla="*/ 7 h 7"/>
                <a:gd name="T10" fmla="*/ 14 w 16"/>
                <a:gd name="T11" fmla="*/ 5 h 7"/>
                <a:gd name="T12" fmla="*/ 15 w 16"/>
                <a:gd name="T13" fmla="*/ 5 h 7"/>
                <a:gd name="T14" fmla="*/ 13 w 16"/>
                <a:gd name="T15" fmla="*/ 2 h 7"/>
                <a:gd name="T16" fmla="*/ 13 w 16"/>
                <a:gd name="T17" fmla="*/ 2 h 7"/>
                <a:gd name="T18" fmla="*/ 11 w 16"/>
                <a:gd name="T19" fmla="*/ 1 h 7"/>
                <a:gd name="T20" fmla="*/ 10 w 16"/>
                <a:gd name="T21" fmla="*/ 0 h 7"/>
                <a:gd name="T22" fmla="*/ 10 w 16"/>
                <a:gd name="T23" fmla="*/ 0 h 7"/>
                <a:gd name="T24" fmla="*/ 5 w 16"/>
                <a:gd name="T25"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7">
                  <a:moveTo>
                    <a:pt x="5" y="0"/>
                  </a:moveTo>
                  <a:cubicBezTo>
                    <a:pt x="3" y="0"/>
                    <a:pt x="2" y="0"/>
                    <a:pt x="0" y="1"/>
                  </a:cubicBezTo>
                  <a:cubicBezTo>
                    <a:pt x="3" y="4"/>
                    <a:pt x="7" y="5"/>
                    <a:pt x="10" y="7"/>
                  </a:cubicBezTo>
                  <a:cubicBezTo>
                    <a:pt x="11" y="7"/>
                    <a:pt x="12" y="7"/>
                    <a:pt x="12" y="7"/>
                  </a:cubicBezTo>
                  <a:cubicBezTo>
                    <a:pt x="13" y="7"/>
                    <a:pt x="13" y="7"/>
                    <a:pt x="14" y="7"/>
                  </a:cubicBezTo>
                  <a:cubicBezTo>
                    <a:pt x="14" y="7"/>
                    <a:pt x="14" y="6"/>
                    <a:pt x="14" y="5"/>
                  </a:cubicBezTo>
                  <a:cubicBezTo>
                    <a:pt x="14" y="5"/>
                    <a:pt x="14" y="5"/>
                    <a:pt x="15" y="5"/>
                  </a:cubicBezTo>
                  <a:cubicBezTo>
                    <a:pt x="16" y="5"/>
                    <a:pt x="14" y="3"/>
                    <a:pt x="13" y="2"/>
                  </a:cubicBezTo>
                  <a:cubicBezTo>
                    <a:pt x="13" y="2"/>
                    <a:pt x="13" y="2"/>
                    <a:pt x="13" y="2"/>
                  </a:cubicBezTo>
                  <a:cubicBezTo>
                    <a:pt x="13" y="2"/>
                    <a:pt x="12" y="1"/>
                    <a:pt x="11" y="1"/>
                  </a:cubicBezTo>
                  <a:cubicBezTo>
                    <a:pt x="10" y="1"/>
                    <a:pt x="10" y="0"/>
                    <a:pt x="10" y="0"/>
                  </a:cubicBezTo>
                  <a:cubicBezTo>
                    <a:pt x="10" y="0"/>
                    <a:pt x="10" y="0"/>
                    <a:pt x="10"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1459"/>
            <p:cNvSpPr/>
            <p:nvPr/>
          </p:nvSpPr>
          <p:spPr bwMode="auto">
            <a:xfrm>
              <a:off x="3730" y="1173"/>
              <a:ext cx="67" cy="21"/>
            </a:xfrm>
            <a:custGeom>
              <a:gdLst>
                <a:gd name="T0" fmla="*/ 17 w 28"/>
                <a:gd name="T1" fmla="*/ 0 h 9"/>
                <a:gd name="T2" fmla="*/ 10 w 28"/>
                <a:gd name="T3" fmla="*/ 1 h 9"/>
                <a:gd name="T4" fmla="*/ 10 w 28"/>
                <a:gd name="T5" fmla="*/ 1 h 9"/>
                <a:gd name="T6" fmla="*/ 9 w 28"/>
                <a:gd name="T7" fmla="*/ 1 h 9"/>
                <a:gd name="T8" fmla="*/ 7 w 28"/>
                <a:gd name="T9" fmla="*/ 1 h 9"/>
                <a:gd name="T10" fmla="*/ 4 w 28"/>
                <a:gd name="T11" fmla="*/ 2 h 9"/>
                <a:gd name="T12" fmla="*/ 6 w 28"/>
                <a:gd name="T13" fmla="*/ 5 h 9"/>
                <a:gd name="T14" fmla="*/ 4 w 28"/>
                <a:gd name="T15" fmla="*/ 9 h 9"/>
                <a:gd name="T16" fmla="*/ 11 w 28"/>
                <a:gd name="T17" fmla="*/ 6 h 9"/>
                <a:gd name="T18" fmla="*/ 18 w 28"/>
                <a:gd name="T19" fmla="*/ 6 h 9"/>
                <a:gd name="T20" fmla="*/ 21 w 28"/>
                <a:gd name="T21" fmla="*/ 7 h 9"/>
                <a:gd name="T22" fmla="*/ 28 w 28"/>
                <a:gd name="T23" fmla="*/ 3 h 9"/>
                <a:gd name="T24" fmla="*/ 22 w 28"/>
                <a:gd name="T25" fmla="*/ 2 h 9"/>
                <a:gd name="T26" fmla="*/ 21 w 28"/>
                <a:gd name="T27" fmla="*/ 2 h 9"/>
                <a:gd name="T28" fmla="*/ 17 w 28"/>
                <a:gd name="T2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9">
                  <a:moveTo>
                    <a:pt x="17" y="0"/>
                  </a:moveTo>
                  <a:cubicBezTo>
                    <a:pt x="14" y="0"/>
                    <a:pt x="12" y="1"/>
                    <a:pt x="10" y="1"/>
                  </a:cubicBezTo>
                  <a:cubicBezTo>
                    <a:pt x="10" y="1"/>
                    <a:pt x="10" y="1"/>
                    <a:pt x="10" y="1"/>
                  </a:cubicBezTo>
                  <a:cubicBezTo>
                    <a:pt x="10" y="1"/>
                    <a:pt x="9" y="1"/>
                    <a:pt x="9" y="1"/>
                  </a:cubicBezTo>
                  <a:cubicBezTo>
                    <a:pt x="8" y="1"/>
                    <a:pt x="8" y="1"/>
                    <a:pt x="7" y="1"/>
                  </a:cubicBezTo>
                  <a:cubicBezTo>
                    <a:pt x="6" y="1"/>
                    <a:pt x="5" y="1"/>
                    <a:pt x="4" y="2"/>
                  </a:cubicBezTo>
                  <a:cubicBezTo>
                    <a:pt x="4" y="3"/>
                    <a:pt x="6" y="4"/>
                    <a:pt x="6" y="5"/>
                  </a:cubicBezTo>
                  <a:cubicBezTo>
                    <a:pt x="5" y="6"/>
                    <a:pt x="0" y="5"/>
                    <a:pt x="4" y="9"/>
                  </a:cubicBezTo>
                  <a:cubicBezTo>
                    <a:pt x="7" y="6"/>
                    <a:pt x="9" y="6"/>
                    <a:pt x="11" y="6"/>
                  </a:cubicBezTo>
                  <a:cubicBezTo>
                    <a:pt x="13" y="6"/>
                    <a:pt x="15" y="6"/>
                    <a:pt x="18" y="6"/>
                  </a:cubicBezTo>
                  <a:cubicBezTo>
                    <a:pt x="19" y="7"/>
                    <a:pt x="20" y="7"/>
                    <a:pt x="21" y="7"/>
                  </a:cubicBezTo>
                  <a:cubicBezTo>
                    <a:pt x="24" y="7"/>
                    <a:pt x="25" y="6"/>
                    <a:pt x="28" y="3"/>
                  </a:cubicBezTo>
                  <a:cubicBezTo>
                    <a:pt x="27" y="3"/>
                    <a:pt x="24" y="2"/>
                    <a:pt x="22" y="2"/>
                  </a:cubicBezTo>
                  <a:cubicBezTo>
                    <a:pt x="22" y="2"/>
                    <a:pt x="21" y="2"/>
                    <a:pt x="21" y="2"/>
                  </a:cubicBezTo>
                  <a:cubicBezTo>
                    <a:pt x="20" y="1"/>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1460"/>
            <p:cNvSpPr/>
            <p:nvPr/>
          </p:nvSpPr>
          <p:spPr bwMode="auto">
            <a:xfrm>
              <a:off x="3971" y="1203"/>
              <a:ext cx="38" cy="22"/>
            </a:xfrm>
            <a:custGeom>
              <a:gdLst>
                <a:gd name="T0" fmla="*/ 7 w 16"/>
                <a:gd name="T1" fmla="*/ 0 h 9"/>
                <a:gd name="T2" fmla="*/ 4 w 16"/>
                <a:gd name="T3" fmla="*/ 1 h 9"/>
                <a:gd name="T4" fmla="*/ 1 w 16"/>
                <a:gd name="T5" fmla="*/ 2 h 9"/>
                <a:gd name="T6" fmla="*/ 0 w 16"/>
                <a:gd name="T7" fmla="*/ 2 h 9"/>
                <a:gd name="T8" fmla="*/ 12 w 16"/>
                <a:gd name="T9" fmla="*/ 9 h 9"/>
                <a:gd name="T10" fmla="*/ 15 w 16"/>
                <a:gd name="T11" fmla="*/ 3 h 9"/>
                <a:gd name="T12" fmla="*/ 9 w 16"/>
                <a:gd name="T13" fmla="*/ 0 h 9"/>
                <a:gd name="T14" fmla="*/ 7 w 16"/>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9">
                  <a:moveTo>
                    <a:pt x="7" y="0"/>
                  </a:moveTo>
                  <a:cubicBezTo>
                    <a:pt x="6" y="0"/>
                    <a:pt x="5" y="0"/>
                    <a:pt x="4" y="1"/>
                  </a:cubicBezTo>
                  <a:cubicBezTo>
                    <a:pt x="3" y="1"/>
                    <a:pt x="2" y="2"/>
                    <a:pt x="1" y="2"/>
                  </a:cubicBezTo>
                  <a:cubicBezTo>
                    <a:pt x="1" y="2"/>
                    <a:pt x="0" y="2"/>
                    <a:pt x="0" y="2"/>
                  </a:cubicBezTo>
                  <a:cubicBezTo>
                    <a:pt x="4" y="5"/>
                    <a:pt x="8" y="7"/>
                    <a:pt x="12" y="9"/>
                  </a:cubicBezTo>
                  <a:cubicBezTo>
                    <a:pt x="15" y="8"/>
                    <a:pt x="16" y="5"/>
                    <a:pt x="15" y="3"/>
                  </a:cubicBezTo>
                  <a:cubicBezTo>
                    <a:pt x="14" y="2"/>
                    <a:pt x="11"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1461"/>
            <p:cNvSpPr/>
            <p:nvPr/>
          </p:nvSpPr>
          <p:spPr bwMode="auto">
            <a:xfrm>
              <a:off x="4040" y="1244"/>
              <a:ext cx="2" cy="0"/>
            </a:xfrm>
            <a:custGeom>
              <a:gdLst>
                <a:gd name="T0" fmla="*/ 1 w 1"/>
                <a:gd name="T1" fmla="*/ 0 w 1"/>
                <a:gd name="T2" fmla="*/ 1 w 1"/>
              </a:gdLst>
              <a:cxnLst>
                <a:cxn ang="0">
                  <a:pos x="T0" y="0"/>
                </a:cxn>
                <a:cxn ang="0">
                  <a:pos x="T1" y="0"/>
                </a:cxn>
                <a:cxn ang="0">
                  <a:pos x="T2" y="0"/>
                </a:cxn>
              </a:cxnLst>
              <a:rect l="0" t="0" r="r" b="b"/>
              <a:pathLst>
                <a:path w="1">
                  <a:moveTo>
                    <a:pt x="1" y="0"/>
                  </a:moveTo>
                  <a:cubicBezTo>
                    <a:pt x="1" y="0"/>
                    <a:pt x="1" y="0"/>
                    <a:pt x="0"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1462"/>
            <p:cNvSpPr/>
            <p:nvPr/>
          </p:nvSpPr>
          <p:spPr bwMode="auto">
            <a:xfrm>
              <a:off x="4028" y="1244"/>
              <a:ext cx="10" cy="0"/>
            </a:xfrm>
            <a:custGeom>
              <a:gdLst>
                <a:gd name="T0" fmla="*/ 3 w 4"/>
                <a:gd name="T1" fmla="*/ 0 w 4"/>
                <a:gd name="T2" fmla="*/ 4 w 4"/>
                <a:gd name="T3" fmla="*/ 3 w 4"/>
              </a:gdLst>
              <a:cxnLst>
                <a:cxn ang="0">
                  <a:pos x="T0" y="0"/>
                </a:cxn>
                <a:cxn ang="0">
                  <a:pos x="T1" y="0"/>
                </a:cxn>
                <a:cxn ang="0">
                  <a:pos x="T2" y="0"/>
                </a:cxn>
                <a:cxn ang="0">
                  <a:pos x="T3" y="0"/>
                </a:cxn>
              </a:cxnLst>
              <a:rect l="0" t="0" r="r" b="b"/>
              <a:pathLst>
                <a:path w="4">
                  <a:moveTo>
                    <a:pt x="3" y="0"/>
                  </a:moveTo>
                  <a:cubicBezTo>
                    <a:pt x="2" y="0"/>
                    <a:pt x="1" y="0"/>
                    <a:pt x="0" y="0"/>
                  </a:cubicBezTo>
                  <a:cubicBezTo>
                    <a:pt x="1" y="0"/>
                    <a:pt x="3" y="0"/>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1463"/>
            <p:cNvSpPr/>
            <p:nvPr/>
          </p:nvSpPr>
          <p:spPr bwMode="auto">
            <a:xfrm>
              <a:off x="4042" y="1244"/>
              <a:ext cx="3" cy="0"/>
            </a:xfrm>
            <a:custGeom>
              <a:gdLst>
                <a:gd name="T0" fmla="*/ 0 w 1"/>
                <a:gd name="T1" fmla="*/ 1 w 1"/>
                <a:gd name="T2" fmla="*/ 1 w 1"/>
                <a:gd name="T3" fmla="*/ 0 w 1"/>
              </a:gd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1464"/>
            <p:cNvSpPr/>
            <p:nvPr/>
          </p:nvSpPr>
          <p:spPr bwMode="auto">
            <a:xfrm>
              <a:off x="4028" y="1707"/>
              <a:ext cx="38" cy="35"/>
            </a:xfrm>
            <a:custGeom>
              <a:gdLst>
                <a:gd name="T0" fmla="*/ 0 w 16"/>
                <a:gd name="T1" fmla="*/ 0 h 15"/>
                <a:gd name="T2" fmla="*/ 5 w 16"/>
                <a:gd name="T3" fmla="*/ 11 h 15"/>
                <a:gd name="T4" fmla="*/ 13 w 16"/>
                <a:gd name="T5" fmla="*/ 15 h 15"/>
                <a:gd name="T6" fmla="*/ 15 w 16"/>
                <a:gd name="T7" fmla="*/ 7 h 15"/>
                <a:gd name="T8" fmla="*/ 14 w 16"/>
                <a:gd name="T9" fmla="*/ 6 h 15"/>
                <a:gd name="T10" fmla="*/ 11 w 16"/>
                <a:gd name="T11" fmla="*/ 8 h 15"/>
                <a:gd name="T12" fmla="*/ 10 w 16"/>
                <a:gd name="T13" fmla="*/ 10 h 15"/>
                <a:gd name="T14" fmla="*/ 10 w 16"/>
                <a:gd name="T15" fmla="*/ 10 h 15"/>
                <a:gd name="T16" fmla="*/ 8 w 16"/>
                <a:gd name="T17" fmla="*/ 8 h 15"/>
                <a:gd name="T18" fmla="*/ 6 w 16"/>
                <a:gd name="T19" fmla="*/ 6 h 15"/>
                <a:gd name="T20" fmla="*/ 4 w 16"/>
                <a:gd name="T21" fmla="*/ 4 h 15"/>
                <a:gd name="T22" fmla="*/ 0 w 16"/>
                <a:gd name="T2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5">
                  <a:moveTo>
                    <a:pt x="0" y="0"/>
                  </a:moveTo>
                  <a:cubicBezTo>
                    <a:pt x="1" y="4"/>
                    <a:pt x="3" y="8"/>
                    <a:pt x="5" y="11"/>
                  </a:cubicBezTo>
                  <a:cubicBezTo>
                    <a:pt x="7" y="13"/>
                    <a:pt x="10" y="14"/>
                    <a:pt x="13" y="15"/>
                  </a:cubicBezTo>
                  <a:cubicBezTo>
                    <a:pt x="13" y="14"/>
                    <a:pt x="16" y="8"/>
                    <a:pt x="15" y="7"/>
                  </a:cubicBezTo>
                  <a:cubicBezTo>
                    <a:pt x="15" y="7"/>
                    <a:pt x="14" y="6"/>
                    <a:pt x="14" y="6"/>
                  </a:cubicBezTo>
                  <a:cubicBezTo>
                    <a:pt x="13" y="6"/>
                    <a:pt x="12" y="7"/>
                    <a:pt x="11" y="8"/>
                  </a:cubicBezTo>
                  <a:cubicBezTo>
                    <a:pt x="11" y="9"/>
                    <a:pt x="10" y="10"/>
                    <a:pt x="10" y="10"/>
                  </a:cubicBezTo>
                  <a:cubicBezTo>
                    <a:pt x="10" y="10"/>
                    <a:pt x="10" y="10"/>
                    <a:pt x="10" y="10"/>
                  </a:cubicBezTo>
                  <a:cubicBezTo>
                    <a:pt x="8" y="10"/>
                    <a:pt x="8" y="9"/>
                    <a:pt x="8" y="8"/>
                  </a:cubicBezTo>
                  <a:cubicBezTo>
                    <a:pt x="6" y="6"/>
                    <a:pt x="6" y="6"/>
                    <a:pt x="6" y="6"/>
                  </a:cubicBezTo>
                  <a:cubicBezTo>
                    <a:pt x="6" y="5"/>
                    <a:pt x="5" y="5"/>
                    <a:pt x="4" y="4"/>
                  </a:cubicBezTo>
                  <a:cubicBezTo>
                    <a:pt x="3"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1465"/>
            <p:cNvSpPr/>
            <p:nvPr/>
          </p:nvSpPr>
          <p:spPr bwMode="auto">
            <a:xfrm>
              <a:off x="4040" y="1771"/>
              <a:ext cx="9" cy="4"/>
            </a:xfrm>
            <a:custGeom>
              <a:gdLst>
                <a:gd name="T0" fmla="*/ 4 w 4"/>
                <a:gd name="T1" fmla="*/ 0 h 2"/>
                <a:gd name="T2" fmla="*/ 0 w 4"/>
                <a:gd name="T3" fmla="*/ 2 h 2"/>
                <a:gd name="T4" fmla="*/ 0 w 4"/>
                <a:gd name="T5" fmla="*/ 2 h 2"/>
                <a:gd name="T6" fmla="*/ 4 w 4"/>
                <a:gd name="T7" fmla="*/ 0 h 2"/>
              </a:gdLst>
              <a:cxnLst>
                <a:cxn ang="0">
                  <a:pos x="T0" y="T1"/>
                </a:cxn>
                <a:cxn ang="0">
                  <a:pos x="T2" y="T3"/>
                </a:cxn>
                <a:cxn ang="0">
                  <a:pos x="T4" y="T5"/>
                </a:cxn>
                <a:cxn ang="0">
                  <a:pos x="T6" y="T7"/>
                </a:cxn>
              </a:cxnLst>
              <a:rect l="0" t="0" r="r" b="b"/>
              <a:pathLst>
                <a:path w="4" h="2">
                  <a:moveTo>
                    <a:pt x="4" y="0"/>
                  </a:moveTo>
                  <a:cubicBezTo>
                    <a:pt x="2" y="0"/>
                    <a:pt x="1" y="1"/>
                    <a:pt x="0" y="2"/>
                  </a:cubicBezTo>
                  <a:cubicBezTo>
                    <a:pt x="0" y="2"/>
                    <a:pt x="0" y="2"/>
                    <a:pt x="0" y="2"/>
                  </a:cubicBezTo>
                  <a:cubicBezTo>
                    <a:pt x="2"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1466"/>
            <p:cNvSpPr/>
            <p:nvPr/>
          </p:nvSpPr>
          <p:spPr bwMode="auto">
            <a:xfrm>
              <a:off x="810" y="322"/>
              <a:ext cx="16" cy="26"/>
            </a:xfrm>
            <a:custGeom>
              <a:gdLst>
                <a:gd name="T0" fmla="*/ 5 w 7"/>
                <a:gd name="T1" fmla="*/ 0 h 11"/>
                <a:gd name="T2" fmla="*/ 3 w 7"/>
                <a:gd name="T3" fmla="*/ 1 h 11"/>
                <a:gd name="T4" fmla="*/ 0 w 7"/>
                <a:gd name="T5" fmla="*/ 1 h 11"/>
                <a:gd name="T6" fmla="*/ 0 w 7"/>
                <a:gd name="T7" fmla="*/ 1 h 11"/>
                <a:gd name="T8" fmla="*/ 4 w 7"/>
                <a:gd name="T9" fmla="*/ 11 h 11"/>
                <a:gd name="T10" fmla="*/ 7 w 7"/>
                <a:gd name="T11" fmla="*/ 2 h 11"/>
                <a:gd name="T12" fmla="*/ 5 w 7"/>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7" h="11">
                  <a:moveTo>
                    <a:pt x="5" y="0"/>
                  </a:moveTo>
                  <a:cubicBezTo>
                    <a:pt x="4" y="0"/>
                    <a:pt x="3" y="0"/>
                    <a:pt x="3" y="1"/>
                  </a:cubicBezTo>
                  <a:cubicBezTo>
                    <a:pt x="2" y="1"/>
                    <a:pt x="1" y="1"/>
                    <a:pt x="0" y="1"/>
                  </a:cubicBezTo>
                  <a:cubicBezTo>
                    <a:pt x="0" y="1"/>
                    <a:pt x="0" y="1"/>
                    <a:pt x="0" y="1"/>
                  </a:cubicBezTo>
                  <a:cubicBezTo>
                    <a:pt x="1" y="5"/>
                    <a:pt x="3" y="8"/>
                    <a:pt x="4" y="11"/>
                  </a:cubicBezTo>
                  <a:cubicBezTo>
                    <a:pt x="5" y="9"/>
                    <a:pt x="7" y="5"/>
                    <a:pt x="7" y="2"/>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1467"/>
            <p:cNvSpPr>
              <a:spLocks noEditPoints="1"/>
            </p:cNvSpPr>
            <p:nvPr/>
          </p:nvSpPr>
          <p:spPr bwMode="auto">
            <a:xfrm>
              <a:off x="911" y="315"/>
              <a:ext cx="104" cy="66"/>
            </a:xfrm>
            <a:custGeom>
              <a:gdLst>
                <a:gd name="T0" fmla="*/ 0 w 44"/>
                <a:gd name="T1" fmla="*/ 0 h 28"/>
                <a:gd name="T2" fmla="*/ 4 w 44"/>
                <a:gd name="T3" fmla="*/ 6 h 28"/>
                <a:gd name="T4" fmla="*/ 9 w 44"/>
                <a:gd name="T5" fmla="*/ 10 h 28"/>
                <a:gd name="T6" fmla="*/ 9 w 44"/>
                <a:gd name="T7" fmla="*/ 10 h 28"/>
                <a:gd name="T8" fmla="*/ 14 w 44"/>
                <a:gd name="T9" fmla="*/ 14 h 28"/>
                <a:gd name="T10" fmla="*/ 14 w 44"/>
                <a:gd name="T11" fmla="*/ 14 h 28"/>
                <a:gd name="T12" fmla="*/ 25 w 44"/>
                <a:gd name="T13" fmla="*/ 22 h 28"/>
                <a:gd name="T14" fmla="*/ 34 w 44"/>
                <a:gd name="T15" fmla="*/ 28 h 28"/>
                <a:gd name="T16" fmla="*/ 35 w 44"/>
                <a:gd name="T17" fmla="*/ 27 h 28"/>
                <a:gd name="T18" fmla="*/ 0 w 44"/>
                <a:gd name="T19" fmla="*/ 0 h 28"/>
                <a:gd name="T20" fmla="*/ 0 w 44"/>
                <a:gd name="T21" fmla="*/ 0 h 28"/>
                <a:gd name="T22" fmla="*/ 0 w 44"/>
                <a:gd name="T23" fmla="*/ 0 h 28"/>
                <a:gd name="T24" fmla="*/ 0 w 44"/>
                <a:gd name="T25"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28">
                  <a:moveTo>
                    <a:pt x="0" y="0"/>
                  </a:moveTo>
                  <a:cubicBezTo>
                    <a:pt x="1" y="2"/>
                    <a:pt x="3" y="3"/>
                    <a:pt x="4" y="6"/>
                  </a:cubicBezTo>
                  <a:cubicBezTo>
                    <a:pt x="6" y="7"/>
                    <a:pt x="7" y="8"/>
                    <a:pt x="9" y="10"/>
                  </a:cubicBezTo>
                  <a:cubicBezTo>
                    <a:pt x="9" y="10"/>
                    <a:pt x="9" y="10"/>
                    <a:pt x="9" y="10"/>
                  </a:cubicBezTo>
                  <a:cubicBezTo>
                    <a:pt x="11" y="11"/>
                    <a:pt x="12" y="13"/>
                    <a:pt x="14" y="14"/>
                  </a:cubicBezTo>
                  <a:cubicBezTo>
                    <a:pt x="14" y="14"/>
                    <a:pt x="14" y="14"/>
                    <a:pt x="14" y="14"/>
                  </a:cubicBezTo>
                  <a:cubicBezTo>
                    <a:pt x="17" y="17"/>
                    <a:pt x="21" y="20"/>
                    <a:pt x="25" y="22"/>
                  </a:cubicBezTo>
                  <a:cubicBezTo>
                    <a:pt x="27" y="24"/>
                    <a:pt x="31" y="28"/>
                    <a:pt x="34" y="28"/>
                  </a:cubicBezTo>
                  <a:cubicBezTo>
                    <a:pt x="34" y="28"/>
                    <a:pt x="35" y="27"/>
                    <a:pt x="35" y="27"/>
                  </a:cubicBezTo>
                  <a:cubicBezTo>
                    <a:pt x="44" y="19"/>
                    <a:pt x="1"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1468"/>
            <p:cNvSpPr/>
            <p:nvPr/>
          </p:nvSpPr>
          <p:spPr bwMode="auto">
            <a:xfrm>
              <a:off x="994" y="438"/>
              <a:ext cx="7" cy="7"/>
            </a:xfrm>
            <a:custGeom>
              <a:gdLst>
                <a:gd name="T0" fmla="*/ 3 w 3"/>
                <a:gd name="T1" fmla="*/ 0 h 3"/>
                <a:gd name="T2" fmla="*/ 1 w 3"/>
                <a:gd name="T3" fmla="*/ 3 h 3"/>
                <a:gd name="T4" fmla="*/ 3 w 3"/>
                <a:gd name="T5" fmla="*/ 0 h 3"/>
              </a:gdLst>
              <a:cxnLst>
                <a:cxn ang="0">
                  <a:pos x="T0" y="T1"/>
                </a:cxn>
                <a:cxn ang="0">
                  <a:pos x="T2" y="T3"/>
                </a:cxn>
                <a:cxn ang="0">
                  <a:pos x="T4" y="T5"/>
                </a:cxn>
              </a:cxnLst>
              <a:rect l="0" t="0" r="r" b="b"/>
              <a:pathLst>
                <a:path w="3" h="3">
                  <a:moveTo>
                    <a:pt x="3" y="0"/>
                  </a:moveTo>
                  <a:cubicBezTo>
                    <a:pt x="2" y="0"/>
                    <a:pt x="0" y="1"/>
                    <a:pt x="1" y="3"/>
                  </a:cubicBezTo>
                  <a:cubicBezTo>
                    <a:pt x="2"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Freeform 1469"/>
            <p:cNvSpPr/>
            <p:nvPr/>
          </p:nvSpPr>
          <p:spPr bwMode="auto">
            <a:xfrm>
              <a:off x="961" y="331"/>
              <a:ext cx="42" cy="33"/>
            </a:xfrm>
            <a:custGeom>
              <a:gdLst>
                <a:gd name="T0" fmla="*/ 0 w 18"/>
                <a:gd name="T1" fmla="*/ 0 h 14"/>
                <a:gd name="T2" fmla="*/ 12 w 18"/>
                <a:gd name="T3" fmla="*/ 11 h 14"/>
                <a:gd name="T4" fmla="*/ 17 w 18"/>
                <a:gd name="T5" fmla="*/ 14 h 14"/>
                <a:gd name="T6" fmla="*/ 18 w 18"/>
                <a:gd name="T7" fmla="*/ 12 h 14"/>
                <a:gd name="T8" fmla="*/ 16 w 18"/>
                <a:gd name="T9" fmla="*/ 10 h 14"/>
                <a:gd name="T10" fmla="*/ 12 w 18"/>
                <a:gd name="T11" fmla="*/ 8 h 14"/>
                <a:gd name="T12" fmla="*/ 7 w 18"/>
                <a:gd name="T13" fmla="*/ 1 h 14"/>
                <a:gd name="T14" fmla="*/ 6 w 18"/>
                <a:gd name="T15" fmla="*/ 1 h 14"/>
                <a:gd name="T16" fmla="*/ 6 w 18"/>
                <a:gd name="T17" fmla="*/ 1 h 14"/>
                <a:gd name="T18" fmla="*/ 4 w 18"/>
                <a:gd name="T19" fmla="*/ 2 h 14"/>
                <a:gd name="T20" fmla="*/ 4 w 18"/>
                <a:gd name="T21" fmla="*/ 2 h 14"/>
                <a:gd name="T22" fmla="*/ 0 w 18"/>
                <a:gd name="T23"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4">
                  <a:moveTo>
                    <a:pt x="0" y="0"/>
                  </a:moveTo>
                  <a:cubicBezTo>
                    <a:pt x="2" y="5"/>
                    <a:pt x="9" y="8"/>
                    <a:pt x="12" y="11"/>
                  </a:cubicBezTo>
                  <a:cubicBezTo>
                    <a:pt x="13" y="11"/>
                    <a:pt x="16" y="14"/>
                    <a:pt x="17" y="14"/>
                  </a:cubicBezTo>
                  <a:cubicBezTo>
                    <a:pt x="18" y="14"/>
                    <a:pt x="18" y="13"/>
                    <a:pt x="18" y="12"/>
                  </a:cubicBezTo>
                  <a:cubicBezTo>
                    <a:pt x="18" y="11"/>
                    <a:pt x="16" y="11"/>
                    <a:pt x="16" y="10"/>
                  </a:cubicBezTo>
                  <a:cubicBezTo>
                    <a:pt x="15" y="9"/>
                    <a:pt x="13" y="9"/>
                    <a:pt x="12" y="8"/>
                  </a:cubicBezTo>
                  <a:cubicBezTo>
                    <a:pt x="10" y="6"/>
                    <a:pt x="9" y="2"/>
                    <a:pt x="7" y="1"/>
                  </a:cubicBezTo>
                  <a:cubicBezTo>
                    <a:pt x="6" y="1"/>
                    <a:pt x="6" y="1"/>
                    <a:pt x="6" y="1"/>
                  </a:cubicBezTo>
                  <a:cubicBezTo>
                    <a:pt x="6" y="1"/>
                    <a:pt x="6" y="1"/>
                    <a:pt x="6" y="1"/>
                  </a:cubicBezTo>
                  <a:cubicBezTo>
                    <a:pt x="6" y="1"/>
                    <a:pt x="5" y="2"/>
                    <a:pt x="4" y="2"/>
                  </a:cubicBezTo>
                  <a:cubicBezTo>
                    <a:pt x="4" y="2"/>
                    <a:pt x="4" y="2"/>
                    <a:pt x="4"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1470"/>
            <p:cNvSpPr/>
            <p:nvPr/>
          </p:nvSpPr>
          <p:spPr bwMode="auto">
            <a:xfrm>
              <a:off x="968" y="331"/>
              <a:ext cx="40" cy="24"/>
            </a:xfrm>
            <a:custGeom>
              <a:gdLst>
                <a:gd name="T0" fmla="*/ 2 w 17"/>
                <a:gd name="T1" fmla="*/ 0 h 10"/>
                <a:gd name="T2" fmla="*/ 0 w 17"/>
                <a:gd name="T3" fmla="*/ 1 h 10"/>
                <a:gd name="T4" fmla="*/ 3 w 17"/>
                <a:gd name="T5" fmla="*/ 1 h 10"/>
                <a:gd name="T6" fmla="*/ 3 w 17"/>
                <a:gd name="T7" fmla="*/ 1 h 10"/>
                <a:gd name="T8" fmla="*/ 6 w 17"/>
                <a:gd name="T9" fmla="*/ 3 h 10"/>
                <a:gd name="T10" fmla="*/ 14 w 17"/>
                <a:gd name="T11" fmla="*/ 10 h 10"/>
                <a:gd name="T12" fmla="*/ 14 w 17"/>
                <a:gd name="T13" fmla="*/ 4 h 10"/>
                <a:gd name="T14" fmla="*/ 14 w 17"/>
                <a:gd name="T15" fmla="*/ 4 h 10"/>
                <a:gd name="T16" fmla="*/ 17 w 17"/>
                <a:gd name="T17" fmla="*/ 3 h 10"/>
                <a:gd name="T18" fmla="*/ 2 w 17"/>
                <a:gd name="T1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0">
                  <a:moveTo>
                    <a:pt x="2" y="0"/>
                  </a:moveTo>
                  <a:cubicBezTo>
                    <a:pt x="1" y="0"/>
                    <a:pt x="1" y="0"/>
                    <a:pt x="0" y="1"/>
                  </a:cubicBezTo>
                  <a:cubicBezTo>
                    <a:pt x="1" y="1"/>
                    <a:pt x="2" y="1"/>
                    <a:pt x="3" y="1"/>
                  </a:cubicBezTo>
                  <a:cubicBezTo>
                    <a:pt x="3" y="1"/>
                    <a:pt x="3" y="1"/>
                    <a:pt x="3" y="1"/>
                  </a:cubicBezTo>
                  <a:cubicBezTo>
                    <a:pt x="4" y="1"/>
                    <a:pt x="5" y="1"/>
                    <a:pt x="6" y="3"/>
                  </a:cubicBezTo>
                  <a:cubicBezTo>
                    <a:pt x="8" y="6"/>
                    <a:pt x="11" y="8"/>
                    <a:pt x="14" y="10"/>
                  </a:cubicBezTo>
                  <a:cubicBezTo>
                    <a:pt x="14" y="8"/>
                    <a:pt x="14" y="6"/>
                    <a:pt x="14" y="4"/>
                  </a:cubicBezTo>
                  <a:cubicBezTo>
                    <a:pt x="14" y="4"/>
                    <a:pt x="14" y="4"/>
                    <a:pt x="14" y="4"/>
                  </a:cubicBezTo>
                  <a:cubicBezTo>
                    <a:pt x="15" y="4"/>
                    <a:pt x="16" y="4"/>
                    <a:pt x="17" y="3"/>
                  </a:cubicBezTo>
                  <a:cubicBezTo>
                    <a:pt x="13" y="1"/>
                    <a:pt x="7"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1471"/>
            <p:cNvSpPr/>
            <p:nvPr/>
          </p:nvSpPr>
          <p:spPr bwMode="auto">
            <a:xfrm>
              <a:off x="1013" y="312"/>
              <a:ext cx="4" cy="12"/>
            </a:xfrm>
            <a:custGeom>
              <a:gdLst>
                <a:gd name="T0" fmla="*/ 1 w 2"/>
                <a:gd name="T1" fmla="*/ 0 h 5"/>
                <a:gd name="T2" fmla="*/ 0 w 2"/>
                <a:gd name="T3" fmla="*/ 1 h 5"/>
                <a:gd name="T4" fmla="*/ 2 w 2"/>
                <a:gd name="T5" fmla="*/ 5 h 5"/>
                <a:gd name="T6" fmla="*/ 1 w 2"/>
                <a:gd name="T7" fmla="*/ 0 h 5"/>
              </a:gdLst>
              <a:cxnLst>
                <a:cxn ang="0">
                  <a:pos x="T0" y="T1"/>
                </a:cxn>
                <a:cxn ang="0">
                  <a:pos x="T2" y="T3"/>
                </a:cxn>
                <a:cxn ang="0">
                  <a:pos x="T4" y="T5"/>
                </a:cxn>
                <a:cxn ang="0">
                  <a:pos x="T6" y="T7"/>
                </a:cxn>
              </a:cxnLst>
              <a:rect l="0" t="0" r="r" b="b"/>
              <a:pathLst>
                <a:path w="2" h="5">
                  <a:moveTo>
                    <a:pt x="1" y="0"/>
                  </a:moveTo>
                  <a:cubicBezTo>
                    <a:pt x="1" y="0"/>
                    <a:pt x="0" y="1"/>
                    <a:pt x="0" y="1"/>
                  </a:cubicBezTo>
                  <a:cubicBezTo>
                    <a:pt x="0" y="2"/>
                    <a:pt x="1" y="4"/>
                    <a:pt x="2" y="5"/>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1472"/>
            <p:cNvSpPr/>
            <p:nvPr/>
          </p:nvSpPr>
          <p:spPr bwMode="auto">
            <a:xfrm>
              <a:off x="424" y="478"/>
              <a:ext cx="15" cy="28"/>
            </a:xfrm>
            <a:custGeom>
              <a:gdLst>
                <a:gd name="T0" fmla="*/ 3 w 6"/>
                <a:gd name="T1" fmla="*/ 0 h 12"/>
                <a:gd name="T2" fmla="*/ 1 w 6"/>
                <a:gd name="T3" fmla="*/ 8 h 12"/>
                <a:gd name="T4" fmla="*/ 2 w 6"/>
                <a:gd name="T5" fmla="*/ 12 h 12"/>
                <a:gd name="T6" fmla="*/ 2 w 6"/>
                <a:gd name="T7" fmla="*/ 12 h 12"/>
                <a:gd name="T8" fmla="*/ 6 w 6"/>
                <a:gd name="T9" fmla="*/ 8 h 12"/>
                <a:gd name="T10" fmla="*/ 3 w 6"/>
                <a:gd name="T11" fmla="*/ 0 h 12"/>
              </a:gdLst>
              <a:cxnLst>
                <a:cxn ang="0">
                  <a:pos x="T0" y="T1"/>
                </a:cxn>
                <a:cxn ang="0">
                  <a:pos x="T2" y="T3"/>
                </a:cxn>
                <a:cxn ang="0">
                  <a:pos x="T4" y="T5"/>
                </a:cxn>
                <a:cxn ang="0">
                  <a:pos x="T6" y="T7"/>
                </a:cxn>
                <a:cxn ang="0">
                  <a:pos x="T8" y="T9"/>
                </a:cxn>
                <a:cxn ang="0">
                  <a:pos x="T10" y="T11"/>
                </a:cxn>
              </a:cxnLst>
              <a:rect l="0" t="0" r="r" b="b"/>
              <a:pathLst>
                <a:path w="6" h="12">
                  <a:moveTo>
                    <a:pt x="3" y="0"/>
                  </a:moveTo>
                  <a:cubicBezTo>
                    <a:pt x="1" y="2"/>
                    <a:pt x="0" y="7"/>
                    <a:pt x="1" y="8"/>
                  </a:cubicBezTo>
                  <a:cubicBezTo>
                    <a:pt x="1" y="9"/>
                    <a:pt x="1" y="12"/>
                    <a:pt x="2" y="12"/>
                  </a:cubicBezTo>
                  <a:cubicBezTo>
                    <a:pt x="2" y="12"/>
                    <a:pt x="2" y="12"/>
                    <a:pt x="2" y="12"/>
                  </a:cubicBezTo>
                  <a:cubicBezTo>
                    <a:pt x="2" y="12"/>
                    <a:pt x="5" y="9"/>
                    <a:pt x="6" y="8"/>
                  </a:cubicBezTo>
                  <a:cubicBezTo>
                    <a:pt x="6" y="6"/>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1473"/>
            <p:cNvSpPr/>
            <p:nvPr/>
          </p:nvSpPr>
          <p:spPr bwMode="auto">
            <a:xfrm flipH="1">
              <a:off x="450" y="478"/>
              <a:ext cx="0" cy="5"/>
            </a:xfrm>
            <a:custGeom>
              <a:gdLst>
                <a:gd name="T0" fmla="*/ 0 h 2"/>
                <a:gd name="T1" fmla="*/ 2 h 2"/>
                <a:gd name="T2" fmla="*/ 0 h 2"/>
                <a:gd name="T3" fmla="*/ 0 h 2"/>
              </a:gdLst>
              <a:cxnLst>
                <a:cxn ang="0">
                  <a:pos x="0" y="T0"/>
                </a:cxn>
                <a:cxn ang="0">
                  <a:pos x="0" y="T1"/>
                </a:cxn>
                <a:cxn ang="0">
                  <a:pos x="0" y="T2"/>
                </a:cxn>
                <a:cxn ang="0">
                  <a:pos x="0" y="T3"/>
                </a:cxn>
              </a:cxnLst>
              <a:rect l="0" t="0" r="r" b="b"/>
              <a:pathLst>
                <a:path h="2">
                  <a:moveTo>
                    <a:pt x="0" y="0"/>
                  </a:moveTo>
                  <a:cubicBezTo>
                    <a:pt x="0" y="1"/>
                    <a:pt x="0" y="2"/>
                    <a:pt x="0" y="2"/>
                  </a:cubicBezTo>
                  <a:cubicBezTo>
                    <a:pt x="0" y="2"/>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1474"/>
            <p:cNvSpPr/>
            <p:nvPr/>
          </p:nvSpPr>
          <p:spPr bwMode="auto">
            <a:xfrm>
              <a:off x="559" y="665"/>
              <a:ext cx="12" cy="9"/>
            </a:xfrm>
            <a:custGeom>
              <a:gdLst>
                <a:gd name="T0" fmla="*/ 3 w 5"/>
                <a:gd name="T1" fmla="*/ 0 h 4"/>
                <a:gd name="T2" fmla="*/ 0 w 5"/>
                <a:gd name="T3" fmla="*/ 3 h 4"/>
                <a:gd name="T4" fmla="*/ 1 w 5"/>
                <a:gd name="T5" fmla="*/ 4 h 4"/>
                <a:gd name="T6" fmla="*/ 3 w 5"/>
                <a:gd name="T7" fmla="*/ 1 h 4"/>
                <a:gd name="T8" fmla="*/ 3 w 5"/>
                <a:gd name="T9" fmla="*/ 0 h 4"/>
              </a:gdLst>
              <a:cxnLst>
                <a:cxn ang="0">
                  <a:pos x="T0" y="T1"/>
                </a:cxn>
                <a:cxn ang="0">
                  <a:pos x="T2" y="T3"/>
                </a:cxn>
                <a:cxn ang="0">
                  <a:pos x="T4" y="T5"/>
                </a:cxn>
                <a:cxn ang="0">
                  <a:pos x="T6" y="T7"/>
                </a:cxn>
                <a:cxn ang="0">
                  <a:pos x="T8" y="T9"/>
                </a:cxn>
              </a:cxnLst>
              <a:rect l="0" t="0" r="r" b="b"/>
              <a:pathLst>
                <a:path w="5" h="4">
                  <a:moveTo>
                    <a:pt x="3" y="0"/>
                  </a:moveTo>
                  <a:cubicBezTo>
                    <a:pt x="2" y="0"/>
                    <a:pt x="0" y="2"/>
                    <a:pt x="0" y="3"/>
                  </a:cubicBezTo>
                  <a:cubicBezTo>
                    <a:pt x="0" y="4"/>
                    <a:pt x="1" y="4"/>
                    <a:pt x="1" y="4"/>
                  </a:cubicBezTo>
                  <a:cubicBezTo>
                    <a:pt x="3" y="4"/>
                    <a:pt x="5" y="2"/>
                    <a:pt x="3" y="1"/>
                  </a:cubicBezTo>
                  <a:cubicBezTo>
                    <a:pt x="3"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1475"/>
            <p:cNvSpPr/>
            <p:nvPr/>
          </p:nvSpPr>
          <p:spPr bwMode="auto">
            <a:xfrm>
              <a:off x="698" y="201"/>
              <a:ext cx="12" cy="14"/>
            </a:xfrm>
            <a:custGeom>
              <a:gdLst>
                <a:gd name="T0" fmla="*/ 0 w 5"/>
                <a:gd name="T1" fmla="*/ 0 h 6"/>
                <a:gd name="T2" fmla="*/ 2 w 5"/>
                <a:gd name="T3" fmla="*/ 6 h 6"/>
                <a:gd name="T4" fmla="*/ 5 w 5"/>
                <a:gd name="T5" fmla="*/ 5 h 6"/>
                <a:gd name="T6" fmla="*/ 0 w 5"/>
                <a:gd name="T7" fmla="*/ 0 h 6"/>
              </a:gdLst>
              <a:cxnLst>
                <a:cxn ang="0">
                  <a:pos x="T0" y="T1"/>
                </a:cxn>
                <a:cxn ang="0">
                  <a:pos x="T2" y="T3"/>
                </a:cxn>
                <a:cxn ang="0">
                  <a:pos x="T4" y="T5"/>
                </a:cxn>
                <a:cxn ang="0">
                  <a:pos x="T6" y="T7"/>
                </a:cxn>
              </a:cxnLst>
              <a:rect l="0" t="0" r="r" b="b"/>
              <a:pathLst>
                <a:path w="5" h="6">
                  <a:moveTo>
                    <a:pt x="0" y="0"/>
                  </a:moveTo>
                  <a:cubicBezTo>
                    <a:pt x="1" y="2"/>
                    <a:pt x="1" y="4"/>
                    <a:pt x="2" y="6"/>
                  </a:cubicBezTo>
                  <a:cubicBezTo>
                    <a:pt x="3" y="5"/>
                    <a:pt x="4" y="5"/>
                    <a:pt x="5" y="5"/>
                  </a:cubicBezTo>
                  <a:cubicBezTo>
                    <a:pt x="4"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1476"/>
            <p:cNvSpPr/>
            <p:nvPr/>
          </p:nvSpPr>
          <p:spPr bwMode="auto">
            <a:xfrm>
              <a:off x="479" y="513"/>
              <a:ext cx="4" cy="14"/>
            </a:xfrm>
            <a:custGeom>
              <a:gdLst>
                <a:gd name="T0" fmla="*/ 0 w 2"/>
                <a:gd name="T1" fmla="*/ 0 h 6"/>
                <a:gd name="T2" fmla="*/ 2 w 2"/>
                <a:gd name="T3" fmla="*/ 6 h 6"/>
                <a:gd name="T4" fmla="*/ 0 w 2"/>
                <a:gd name="T5" fmla="*/ 0 h 6"/>
              </a:gdLst>
              <a:cxnLst>
                <a:cxn ang="0">
                  <a:pos x="T0" y="T1"/>
                </a:cxn>
                <a:cxn ang="0">
                  <a:pos x="T2" y="T3"/>
                </a:cxn>
                <a:cxn ang="0">
                  <a:pos x="T4" y="T5"/>
                </a:cxn>
              </a:cxnLst>
              <a:rect l="0" t="0" r="r" b="b"/>
              <a:pathLst>
                <a:path w="2" h="6">
                  <a:moveTo>
                    <a:pt x="0" y="0"/>
                  </a:moveTo>
                  <a:cubicBezTo>
                    <a:pt x="0" y="2"/>
                    <a:pt x="1" y="4"/>
                    <a:pt x="2" y="6"/>
                  </a:cubicBezTo>
                  <a:cubicBezTo>
                    <a:pt x="1"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1477"/>
            <p:cNvSpPr/>
            <p:nvPr/>
          </p:nvSpPr>
          <p:spPr bwMode="auto">
            <a:xfrm>
              <a:off x="545" y="364"/>
              <a:ext cx="7" cy="10"/>
            </a:xfrm>
            <a:custGeom>
              <a:gdLst>
                <a:gd name="T0" fmla="*/ 0 w 3"/>
                <a:gd name="T1" fmla="*/ 0 h 4"/>
                <a:gd name="T2" fmla="*/ 0 w 3"/>
                <a:gd name="T3" fmla="*/ 0 h 4"/>
                <a:gd name="T4" fmla="*/ 3 w 3"/>
                <a:gd name="T5" fmla="*/ 4 h 4"/>
                <a:gd name="T6" fmla="*/ 0 w 3"/>
                <a:gd name="T7" fmla="*/ 0 h 4"/>
              </a:gdLst>
              <a:cxnLst>
                <a:cxn ang="0">
                  <a:pos x="T0" y="T1"/>
                </a:cxn>
                <a:cxn ang="0">
                  <a:pos x="T2" y="T3"/>
                </a:cxn>
                <a:cxn ang="0">
                  <a:pos x="T4" y="T5"/>
                </a:cxn>
                <a:cxn ang="0">
                  <a:pos x="T6" y="T7"/>
                </a:cxn>
              </a:cxnLst>
              <a:rect l="0" t="0" r="r" b="b"/>
              <a:pathLst>
                <a:path w="3" h="4">
                  <a:moveTo>
                    <a:pt x="0" y="0"/>
                  </a:moveTo>
                  <a:cubicBezTo>
                    <a:pt x="0" y="0"/>
                    <a:pt x="0" y="0"/>
                    <a:pt x="0" y="0"/>
                  </a:cubicBezTo>
                  <a:cubicBezTo>
                    <a:pt x="1" y="2"/>
                    <a:pt x="2" y="3"/>
                    <a:pt x="3" y="4"/>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1478"/>
            <p:cNvSpPr/>
            <p:nvPr/>
          </p:nvSpPr>
          <p:spPr bwMode="auto">
            <a:xfrm>
              <a:off x="517" y="579"/>
              <a:ext cx="4" cy="15"/>
            </a:xfrm>
            <a:custGeom>
              <a:gdLst>
                <a:gd name="T0" fmla="*/ 2 w 2"/>
                <a:gd name="T1" fmla="*/ 0 h 6"/>
                <a:gd name="T2" fmla="*/ 2 w 2"/>
                <a:gd name="T3" fmla="*/ 6 h 6"/>
                <a:gd name="T4" fmla="*/ 2 w 2"/>
                <a:gd name="T5" fmla="*/ 0 h 6"/>
              </a:gdLst>
              <a:cxnLst>
                <a:cxn ang="0">
                  <a:pos x="T0" y="T1"/>
                </a:cxn>
                <a:cxn ang="0">
                  <a:pos x="T2" y="T3"/>
                </a:cxn>
                <a:cxn ang="0">
                  <a:pos x="T4" y="T5"/>
                </a:cxn>
              </a:cxnLst>
              <a:rect l="0" t="0" r="r" b="b"/>
              <a:pathLst>
                <a:path w="2" h="6">
                  <a:moveTo>
                    <a:pt x="2" y="0"/>
                  </a:moveTo>
                  <a:cubicBezTo>
                    <a:pt x="1" y="3"/>
                    <a:pt x="0" y="3"/>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1479"/>
            <p:cNvSpPr/>
            <p:nvPr/>
          </p:nvSpPr>
          <p:spPr bwMode="auto">
            <a:xfrm>
              <a:off x="446" y="490"/>
              <a:ext cx="2" cy="7"/>
            </a:xfrm>
            <a:custGeom>
              <a:gdLst>
                <a:gd name="T0" fmla="*/ 1 w 1"/>
                <a:gd name="T1" fmla="*/ 0 h 3"/>
                <a:gd name="T2" fmla="*/ 1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Freeform 1480"/>
            <p:cNvSpPr/>
            <p:nvPr/>
          </p:nvSpPr>
          <p:spPr bwMode="auto">
            <a:xfrm>
              <a:off x="538" y="381"/>
              <a:ext cx="14" cy="9"/>
            </a:xfrm>
            <a:custGeom>
              <a:gdLst>
                <a:gd name="T0" fmla="*/ 4 w 6"/>
                <a:gd name="T1" fmla="*/ 0 h 4"/>
                <a:gd name="T2" fmla="*/ 2 w 6"/>
                <a:gd name="T3" fmla="*/ 0 h 4"/>
                <a:gd name="T4" fmla="*/ 2 w 6"/>
                <a:gd name="T5" fmla="*/ 4 h 4"/>
                <a:gd name="T6" fmla="*/ 6 w 6"/>
                <a:gd name="T7" fmla="*/ 0 h 4"/>
                <a:gd name="T8" fmla="*/ 4 w 6"/>
                <a:gd name="T9" fmla="*/ 0 h 4"/>
              </a:gdLst>
              <a:cxnLst>
                <a:cxn ang="0">
                  <a:pos x="T0" y="T1"/>
                </a:cxn>
                <a:cxn ang="0">
                  <a:pos x="T2" y="T3"/>
                </a:cxn>
                <a:cxn ang="0">
                  <a:pos x="T4" y="T5"/>
                </a:cxn>
                <a:cxn ang="0">
                  <a:pos x="T6" y="T7"/>
                </a:cxn>
                <a:cxn ang="0">
                  <a:pos x="T8" y="T9"/>
                </a:cxn>
              </a:cxnLst>
              <a:rect l="0" t="0" r="r" b="b"/>
              <a:pathLst>
                <a:path w="6" h="4">
                  <a:moveTo>
                    <a:pt x="4" y="0"/>
                  </a:moveTo>
                  <a:cubicBezTo>
                    <a:pt x="3" y="0"/>
                    <a:pt x="3" y="0"/>
                    <a:pt x="2" y="0"/>
                  </a:cubicBezTo>
                  <a:cubicBezTo>
                    <a:pt x="0" y="0"/>
                    <a:pt x="2" y="3"/>
                    <a:pt x="2" y="4"/>
                  </a:cubicBezTo>
                  <a:cubicBezTo>
                    <a:pt x="3" y="4"/>
                    <a:pt x="6" y="2"/>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1481"/>
            <p:cNvSpPr/>
            <p:nvPr/>
          </p:nvSpPr>
          <p:spPr bwMode="auto">
            <a:xfrm>
              <a:off x="717" y="230"/>
              <a:ext cx="5" cy="11"/>
            </a:xfrm>
            <a:custGeom>
              <a:gdLst>
                <a:gd name="T0" fmla="*/ 1 w 2"/>
                <a:gd name="T1" fmla="*/ 0 h 5"/>
                <a:gd name="T2" fmla="*/ 2 w 2"/>
                <a:gd name="T3" fmla="*/ 5 h 5"/>
                <a:gd name="T4" fmla="*/ 1 w 2"/>
                <a:gd name="T5" fmla="*/ 0 h 5"/>
              </a:gdLst>
              <a:cxnLst>
                <a:cxn ang="0">
                  <a:pos x="T0" y="T1"/>
                </a:cxn>
                <a:cxn ang="0">
                  <a:pos x="T2" y="T3"/>
                </a:cxn>
                <a:cxn ang="0">
                  <a:pos x="T4" y="T5"/>
                </a:cxn>
              </a:cxnLst>
              <a:rect l="0" t="0" r="r" b="b"/>
              <a:pathLst>
                <a:path w="2" h="5">
                  <a:moveTo>
                    <a:pt x="1" y="0"/>
                  </a:moveTo>
                  <a:cubicBezTo>
                    <a:pt x="0" y="2"/>
                    <a:pt x="0" y="4"/>
                    <a:pt x="2" y="5"/>
                  </a:cubicBezTo>
                  <a:cubicBezTo>
                    <a:pt x="2" y="3"/>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1482"/>
            <p:cNvSpPr/>
            <p:nvPr/>
          </p:nvSpPr>
          <p:spPr bwMode="auto">
            <a:xfrm>
              <a:off x="2294" y="1598"/>
              <a:ext cx="9" cy="12"/>
            </a:xfrm>
            <a:custGeom>
              <a:gdLst>
                <a:gd name="T0" fmla="*/ 4 w 4"/>
                <a:gd name="T1" fmla="*/ 0 h 5"/>
                <a:gd name="T2" fmla="*/ 1 w 4"/>
                <a:gd name="T3" fmla="*/ 5 h 5"/>
                <a:gd name="T4" fmla="*/ 4 w 4"/>
                <a:gd name="T5" fmla="*/ 0 h 5"/>
              </a:gdLst>
              <a:cxnLst>
                <a:cxn ang="0">
                  <a:pos x="T0" y="T1"/>
                </a:cxn>
                <a:cxn ang="0">
                  <a:pos x="T2" y="T3"/>
                </a:cxn>
                <a:cxn ang="0">
                  <a:pos x="T4" y="T5"/>
                </a:cxn>
              </a:cxnLst>
              <a:rect l="0" t="0" r="r" b="b"/>
              <a:pathLst>
                <a:path w="4" h="5">
                  <a:moveTo>
                    <a:pt x="4" y="0"/>
                  </a:moveTo>
                  <a:cubicBezTo>
                    <a:pt x="3" y="2"/>
                    <a:pt x="0" y="3"/>
                    <a:pt x="1" y="5"/>
                  </a:cubicBezTo>
                  <a:cubicBezTo>
                    <a:pt x="2"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1483"/>
            <p:cNvSpPr/>
            <p:nvPr/>
          </p:nvSpPr>
          <p:spPr bwMode="auto">
            <a:xfrm>
              <a:off x="5108" y="2459"/>
              <a:ext cx="14" cy="23"/>
            </a:xfrm>
            <a:custGeom>
              <a:gdLst>
                <a:gd name="T0" fmla="*/ 3 w 6"/>
                <a:gd name="T1" fmla="*/ 0 h 10"/>
                <a:gd name="T2" fmla="*/ 0 w 6"/>
                <a:gd name="T3" fmla="*/ 10 h 10"/>
                <a:gd name="T4" fmla="*/ 3 w 6"/>
                <a:gd name="T5" fmla="*/ 3 h 10"/>
                <a:gd name="T6" fmla="*/ 3 w 6"/>
                <a:gd name="T7" fmla="*/ 0 h 10"/>
              </a:gdLst>
              <a:cxnLst>
                <a:cxn ang="0">
                  <a:pos x="T0" y="T1"/>
                </a:cxn>
                <a:cxn ang="0">
                  <a:pos x="T2" y="T3"/>
                </a:cxn>
                <a:cxn ang="0">
                  <a:pos x="T4" y="T5"/>
                </a:cxn>
                <a:cxn ang="0">
                  <a:pos x="T6" y="T7"/>
                </a:cxn>
              </a:cxnLst>
              <a:rect l="0" t="0" r="r" b="b"/>
              <a:pathLst>
                <a:path w="6" h="10">
                  <a:moveTo>
                    <a:pt x="3" y="0"/>
                  </a:moveTo>
                  <a:cubicBezTo>
                    <a:pt x="1" y="3"/>
                    <a:pt x="1" y="6"/>
                    <a:pt x="0" y="10"/>
                  </a:cubicBezTo>
                  <a:cubicBezTo>
                    <a:pt x="4" y="7"/>
                    <a:pt x="2" y="7"/>
                    <a:pt x="3" y="3"/>
                  </a:cubicBezTo>
                  <a:cubicBezTo>
                    <a:pt x="3" y="1"/>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1484"/>
            <p:cNvSpPr/>
            <p:nvPr/>
          </p:nvSpPr>
          <p:spPr bwMode="auto">
            <a:xfrm>
              <a:off x="4910" y="2404"/>
              <a:ext cx="2" cy="5"/>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1"/>
                    <a:pt x="1" y="1"/>
                    <a:pt x="1"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1485"/>
            <p:cNvSpPr/>
            <p:nvPr/>
          </p:nvSpPr>
          <p:spPr bwMode="auto">
            <a:xfrm>
              <a:off x="5170" y="2612"/>
              <a:ext cx="7" cy="10"/>
            </a:xfrm>
            <a:custGeom>
              <a:gdLst>
                <a:gd name="T0" fmla="*/ 1 w 3"/>
                <a:gd name="T1" fmla="*/ 0 h 4"/>
                <a:gd name="T2" fmla="*/ 3 w 3"/>
                <a:gd name="T3" fmla="*/ 4 h 4"/>
                <a:gd name="T4" fmla="*/ 1 w 3"/>
                <a:gd name="T5" fmla="*/ 0 h 4"/>
              </a:gdLst>
              <a:cxnLst>
                <a:cxn ang="0">
                  <a:pos x="T0" y="T1"/>
                </a:cxn>
                <a:cxn ang="0">
                  <a:pos x="T2" y="T3"/>
                </a:cxn>
                <a:cxn ang="0">
                  <a:pos x="T4" y="T5"/>
                </a:cxn>
              </a:cxnLst>
              <a:rect l="0" t="0" r="r" b="b"/>
              <a:pathLst>
                <a:path w="3" h="4">
                  <a:moveTo>
                    <a:pt x="1" y="0"/>
                  </a:moveTo>
                  <a:cubicBezTo>
                    <a:pt x="0" y="2"/>
                    <a:pt x="1" y="3"/>
                    <a:pt x="3" y="4"/>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1486"/>
            <p:cNvSpPr/>
            <p:nvPr/>
          </p:nvSpPr>
          <p:spPr bwMode="auto">
            <a:xfrm>
              <a:off x="4657" y="2366"/>
              <a:ext cx="2" cy="17"/>
            </a:xfrm>
            <a:custGeom>
              <a:gdLst>
                <a:gd name="T0" fmla="*/ 0 w 1"/>
                <a:gd name="T1" fmla="*/ 0 h 7"/>
                <a:gd name="T2" fmla="*/ 0 w 1"/>
                <a:gd name="T3" fmla="*/ 7 h 7"/>
                <a:gd name="T4" fmla="*/ 0 w 1"/>
                <a:gd name="T5" fmla="*/ 0 h 7"/>
              </a:gdLst>
              <a:cxnLst>
                <a:cxn ang="0">
                  <a:pos x="T0" y="T1"/>
                </a:cxn>
                <a:cxn ang="0">
                  <a:pos x="T2" y="T3"/>
                </a:cxn>
                <a:cxn ang="0">
                  <a:pos x="T4" y="T5"/>
                </a:cxn>
              </a:cxnLst>
              <a:rect l="0" t="0" r="r" b="b"/>
              <a:pathLst>
                <a:path w="1" h="7">
                  <a:moveTo>
                    <a:pt x="0" y="0"/>
                  </a:moveTo>
                  <a:cubicBezTo>
                    <a:pt x="0" y="3"/>
                    <a:pt x="0" y="5"/>
                    <a:pt x="0" y="7"/>
                  </a:cubicBezTo>
                  <a:cubicBezTo>
                    <a:pt x="0" y="5"/>
                    <a:pt x="1"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1487"/>
            <p:cNvSpPr/>
            <p:nvPr/>
          </p:nvSpPr>
          <p:spPr bwMode="auto">
            <a:xfrm>
              <a:off x="5198" y="2527"/>
              <a:ext cx="21" cy="21"/>
            </a:xfrm>
            <a:custGeom>
              <a:gdLst>
                <a:gd name="T0" fmla="*/ 5 w 9"/>
                <a:gd name="T1" fmla="*/ 0 h 9"/>
                <a:gd name="T2" fmla="*/ 0 w 9"/>
                <a:gd name="T3" fmla="*/ 1 h 9"/>
                <a:gd name="T4" fmla="*/ 1 w 9"/>
                <a:gd name="T5" fmla="*/ 7 h 9"/>
                <a:gd name="T6" fmla="*/ 2 w 9"/>
                <a:gd name="T7" fmla="*/ 7 h 9"/>
                <a:gd name="T8" fmla="*/ 5 w 9"/>
                <a:gd name="T9" fmla="*/ 9 h 9"/>
                <a:gd name="T10" fmla="*/ 9 w 9"/>
                <a:gd name="T11" fmla="*/ 3 h 9"/>
                <a:gd name="T12" fmla="*/ 8 w 9"/>
                <a:gd name="T13" fmla="*/ 3 h 9"/>
                <a:gd name="T14" fmla="*/ 5 w 9"/>
                <a:gd name="T15" fmla="*/ 0 h 9"/>
                <a:gd name="T16" fmla="*/ 5 w 9"/>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5" y="0"/>
                  </a:moveTo>
                  <a:cubicBezTo>
                    <a:pt x="4" y="0"/>
                    <a:pt x="0" y="1"/>
                    <a:pt x="0" y="1"/>
                  </a:cubicBezTo>
                  <a:cubicBezTo>
                    <a:pt x="1" y="3"/>
                    <a:pt x="2" y="6"/>
                    <a:pt x="1" y="7"/>
                  </a:cubicBezTo>
                  <a:cubicBezTo>
                    <a:pt x="1" y="7"/>
                    <a:pt x="1" y="7"/>
                    <a:pt x="2" y="7"/>
                  </a:cubicBezTo>
                  <a:cubicBezTo>
                    <a:pt x="3" y="7"/>
                    <a:pt x="4" y="8"/>
                    <a:pt x="5" y="9"/>
                  </a:cubicBezTo>
                  <a:cubicBezTo>
                    <a:pt x="6" y="7"/>
                    <a:pt x="8" y="5"/>
                    <a:pt x="9" y="3"/>
                  </a:cubicBezTo>
                  <a:cubicBezTo>
                    <a:pt x="9" y="3"/>
                    <a:pt x="8" y="3"/>
                    <a:pt x="8" y="3"/>
                  </a:cubicBezTo>
                  <a:cubicBezTo>
                    <a:pt x="7" y="3"/>
                    <a:pt x="6"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1488"/>
            <p:cNvSpPr/>
            <p:nvPr/>
          </p:nvSpPr>
          <p:spPr bwMode="auto">
            <a:xfrm>
              <a:off x="5144" y="2480"/>
              <a:ext cx="30" cy="35"/>
            </a:xfrm>
            <a:custGeom>
              <a:gdLst>
                <a:gd name="T0" fmla="*/ 5 w 13"/>
                <a:gd name="T1" fmla="*/ 0 h 15"/>
                <a:gd name="T2" fmla="*/ 0 w 13"/>
                <a:gd name="T3" fmla="*/ 2 h 15"/>
                <a:gd name="T4" fmla="*/ 4 w 13"/>
                <a:gd name="T5" fmla="*/ 3 h 15"/>
                <a:gd name="T6" fmla="*/ 0 w 13"/>
                <a:gd name="T7" fmla="*/ 7 h 15"/>
                <a:gd name="T8" fmla="*/ 3 w 13"/>
                <a:gd name="T9" fmla="*/ 11 h 15"/>
                <a:gd name="T10" fmla="*/ 6 w 13"/>
                <a:gd name="T11" fmla="*/ 12 h 15"/>
                <a:gd name="T12" fmla="*/ 10 w 13"/>
                <a:gd name="T13" fmla="*/ 15 h 15"/>
                <a:gd name="T14" fmla="*/ 9 w 13"/>
                <a:gd name="T15" fmla="*/ 3 h 15"/>
                <a:gd name="T16" fmla="*/ 6 w 13"/>
                <a:gd name="T17" fmla="*/ 0 h 15"/>
                <a:gd name="T18" fmla="*/ 5 w 13"/>
                <a:gd name="T1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5" y="0"/>
                  </a:moveTo>
                  <a:cubicBezTo>
                    <a:pt x="3" y="0"/>
                    <a:pt x="0" y="1"/>
                    <a:pt x="0" y="2"/>
                  </a:cubicBezTo>
                  <a:cubicBezTo>
                    <a:pt x="0" y="2"/>
                    <a:pt x="4" y="2"/>
                    <a:pt x="4" y="3"/>
                  </a:cubicBezTo>
                  <a:cubicBezTo>
                    <a:pt x="6" y="5"/>
                    <a:pt x="1" y="6"/>
                    <a:pt x="0" y="7"/>
                  </a:cubicBezTo>
                  <a:cubicBezTo>
                    <a:pt x="1" y="8"/>
                    <a:pt x="1" y="10"/>
                    <a:pt x="3" y="11"/>
                  </a:cubicBezTo>
                  <a:cubicBezTo>
                    <a:pt x="4" y="12"/>
                    <a:pt x="5" y="11"/>
                    <a:pt x="6" y="12"/>
                  </a:cubicBezTo>
                  <a:cubicBezTo>
                    <a:pt x="7" y="13"/>
                    <a:pt x="8" y="14"/>
                    <a:pt x="10" y="15"/>
                  </a:cubicBezTo>
                  <a:cubicBezTo>
                    <a:pt x="13" y="10"/>
                    <a:pt x="11" y="8"/>
                    <a:pt x="9" y="3"/>
                  </a:cubicBezTo>
                  <a:cubicBezTo>
                    <a:pt x="8" y="1"/>
                    <a:pt x="8" y="0"/>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1489"/>
            <p:cNvSpPr/>
            <p:nvPr/>
          </p:nvSpPr>
          <p:spPr bwMode="auto">
            <a:xfrm>
              <a:off x="4933" y="2437"/>
              <a:ext cx="211" cy="163"/>
            </a:xfrm>
            <a:custGeom>
              <a:gdLst>
                <a:gd name="T0" fmla="*/ 1 w 89"/>
                <a:gd name="T1" fmla="*/ 0 h 69"/>
                <a:gd name="T2" fmla="*/ 1 w 89"/>
                <a:gd name="T3" fmla="*/ 0 h 69"/>
                <a:gd name="T4" fmla="*/ 10 w 89"/>
                <a:gd name="T5" fmla="*/ 16 h 69"/>
                <a:gd name="T6" fmla="*/ 47 w 89"/>
                <a:gd name="T7" fmla="*/ 49 h 69"/>
                <a:gd name="T8" fmla="*/ 49 w 89"/>
                <a:gd name="T9" fmla="*/ 50 h 69"/>
                <a:gd name="T10" fmla="*/ 50 w 89"/>
                <a:gd name="T11" fmla="*/ 50 h 69"/>
                <a:gd name="T12" fmla="*/ 51 w 89"/>
                <a:gd name="T13" fmla="*/ 50 h 69"/>
                <a:gd name="T14" fmla="*/ 52 w 89"/>
                <a:gd name="T15" fmla="*/ 50 h 69"/>
                <a:gd name="T16" fmla="*/ 56 w 89"/>
                <a:gd name="T17" fmla="*/ 54 h 69"/>
                <a:gd name="T18" fmla="*/ 68 w 89"/>
                <a:gd name="T19" fmla="*/ 62 h 69"/>
                <a:gd name="T20" fmla="*/ 85 w 89"/>
                <a:gd name="T21" fmla="*/ 69 h 69"/>
                <a:gd name="T22" fmla="*/ 89 w 89"/>
                <a:gd name="T23" fmla="*/ 66 h 69"/>
                <a:gd name="T24" fmla="*/ 79 w 89"/>
                <a:gd name="T25" fmla="*/ 55 h 69"/>
                <a:gd name="T26" fmla="*/ 61 w 89"/>
                <a:gd name="T27" fmla="*/ 42 h 69"/>
                <a:gd name="T28" fmla="*/ 41 w 89"/>
                <a:gd name="T29" fmla="*/ 27 h 69"/>
                <a:gd name="T30" fmla="*/ 22 w 89"/>
                <a:gd name="T31" fmla="*/ 12 h 69"/>
                <a:gd name="T32" fmla="*/ 14 w 89"/>
                <a:gd name="T33" fmla="*/ 6 h 69"/>
                <a:gd name="T34" fmla="*/ 13 w 89"/>
                <a:gd name="T35" fmla="*/ 6 h 69"/>
                <a:gd name="T36" fmla="*/ 12 w 89"/>
                <a:gd name="T37" fmla="*/ 6 h 69"/>
                <a:gd name="T38" fmla="*/ 11 w 89"/>
                <a:gd name="T39" fmla="*/ 7 h 69"/>
                <a:gd name="T40" fmla="*/ 11 w 89"/>
                <a:gd name="T41" fmla="*/ 7 h 69"/>
                <a:gd name="T42" fmla="*/ 6 w 89"/>
                <a:gd name="T43" fmla="*/ 5 h 69"/>
                <a:gd name="T44" fmla="*/ 4 w 89"/>
                <a:gd name="T45" fmla="*/ 2 h 69"/>
                <a:gd name="T46" fmla="*/ 1 w 89"/>
                <a:gd name="T47" fmla="*/ 0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 h="69">
                  <a:moveTo>
                    <a:pt x="1" y="0"/>
                  </a:moveTo>
                  <a:cubicBezTo>
                    <a:pt x="1" y="0"/>
                    <a:pt x="1" y="0"/>
                    <a:pt x="1" y="0"/>
                  </a:cubicBezTo>
                  <a:cubicBezTo>
                    <a:pt x="0" y="0"/>
                    <a:pt x="9" y="14"/>
                    <a:pt x="10" y="16"/>
                  </a:cubicBezTo>
                  <a:cubicBezTo>
                    <a:pt x="22" y="28"/>
                    <a:pt x="31" y="42"/>
                    <a:pt x="47" y="49"/>
                  </a:cubicBezTo>
                  <a:cubicBezTo>
                    <a:pt x="48" y="50"/>
                    <a:pt x="49" y="50"/>
                    <a:pt x="49" y="50"/>
                  </a:cubicBezTo>
                  <a:cubicBezTo>
                    <a:pt x="50" y="50"/>
                    <a:pt x="50" y="50"/>
                    <a:pt x="50" y="50"/>
                  </a:cubicBezTo>
                  <a:cubicBezTo>
                    <a:pt x="50" y="50"/>
                    <a:pt x="50" y="50"/>
                    <a:pt x="51" y="50"/>
                  </a:cubicBezTo>
                  <a:cubicBezTo>
                    <a:pt x="51" y="50"/>
                    <a:pt x="52" y="50"/>
                    <a:pt x="52" y="50"/>
                  </a:cubicBezTo>
                  <a:cubicBezTo>
                    <a:pt x="54" y="52"/>
                    <a:pt x="55" y="53"/>
                    <a:pt x="56" y="54"/>
                  </a:cubicBezTo>
                  <a:cubicBezTo>
                    <a:pt x="61" y="56"/>
                    <a:pt x="65" y="59"/>
                    <a:pt x="68" y="62"/>
                  </a:cubicBezTo>
                  <a:cubicBezTo>
                    <a:pt x="71" y="63"/>
                    <a:pt x="79" y="69"/>
                    <a:pt x="85" y="69"/>
                  </a:cubicBezTo>
                  <a:cubicBezTo>
                    <a:pt x="87" y="69"/>
                    <a:pt x="88" y="68"/>
                    <a:pt x="89" y="66"/>
                  </a:cubicBezTo>
                  <a:cubicBezTo>
                    <a:pt x="89" y="61"/>
                    <a:pt x="82" y="57"/>
                    <a:pt x="79" y="55"/>
                  </a:cubicBezTo>
                  <a:cubicBezTo>
                    <a:pt x="73" y="51"/>
                    <a:pt x="67" y="46"/>
                    <a:pt x="61" y="42"/>
                  </a:cubicBezTo>
                  <a:cubicBezTo>
                    <a:pt x="53" y="38"/>
                    <a:pt x="46" y="33"/>
                    <a:pt x="41" y="27"/>
                  </a:cubicBezTo>
                  <a:cubicBezTo>
                    <a:pt x="36" y="20"/>
                    <a:pt x="28" y="16"/>
                    <a:pt x="22" y="12"/>
                  </a:cubicBezTo>
                  <a:cubicBezTo>
                    <a:pt x="19" y="10"/>
                    <a:pt x="17" y="8"/>
                    <a:pt x="14" y="6"/>
                  </a:cubicBezTo>
                  <a:cubicBezTo>
                    <a:pt x="14" y="6"/>
                    <a:pt x="13" y="6"/>
                    <a:pt x="13" y="6"/>
                  </a:cubicBezTo>
                  <a:cubicBezTo>
                    <a:pt x="13" y="6"/>
                    <a:pt x="12" y="6"/>
                    <a:pt x="12" y="6"/>
                  </a:cubicBezTo>
                  <a:cubicBezTo>
                    <a:pt x="12" y="7"/>
                    <a:pt x="12" y="7"/>
                    <a:pt x="11" y="7"/>
                  </a:cubicBezTo>
                  <a:cubicBezTo>
                    <a:pt x="11" y="7"/>
                    <a:pt x="11" y="7"/>
                    <a:pt x="11" y="7"/>
                  </a:cubicBezTo>
                  <a:cubicBezTo>
                    <a:pt x="9" y="7"/>
                    <a:pt x="8" y="5"/>
                    <a:pt x="6" y="5"/>
                  </a:cubicBezTo>
                  <a:cubicBezTo>
                    <a:pt x="5" y="4"/>
                    <a:pt x="5" y="3"/>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1490"/>
            <p:cNvSpPr/>
            <p:nvPr/>
          </p:nvSpPr>
          <p:spPr bwMode="auto">
            <a:xfrm flipH="1">
              <a:off x="4066" y="3437"/>
              <a:ext cx="0" cy="2"/>
            </a:xfrm>
            <a:custGeom>
              <a:gdLst>
                <a:gd name="T0" fmla="*/ 0 h 1"/>
                <a:gd name="T1" fmla="*/ 1 h 1"/>
                <a:gd name="T2" fmla="*/ 1 h 1"/>
                <a:gd name="T3" fmla="*/ 0 h 1"/>
              </a:gd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1491"/>
            <p:cNvSpPr/>
            <p:nvPr/>
          </p:nvSpPr>
          <p:spPr bwMode="auto">
            <a:xfrm>
              <a:off x="1440" y="2794"/>
              <a:ext cx="5" cy="17"/>
            </a:xfrm>
            <a:custGeom>
              <a:gdLst>
                <a:gd name="T0" fmla="*/ 2 w 2"/>
                <a:gd name="T1" fmla="*/ 0 h 7"/>
                <a:gd name="T2" fmla="*/ 0 w 2"/>
                <a:gd name="T3" fmla="*/ 7 h 7"/>
                <a:gd name="T4" fmla="*/ 2 w 2"/>
                <a:gd name="T5" fmla="*/ 0 h 7"/>
              </a:gdLst>
              <a:cxnLst>
                <a:cxn ang="0">
                  <a:pos x="T0" y="T1"/>
                </a:cxn>
                <a:cxn ang="0">
                  <a:pos x="T2" y="T3"/>
                </a:cxn>
                <a:cxn ang="0">
                  <a:pos x="T4" y="T5"/>
                </a:cxn>
              </a:cxnLst>
              <a:rect l="0" t="0" r="r" b="b"/>
              <a:pathLst>
                <a:path w="2" h="7">
                  <a:moveTo>
                    <a:pt x="2" y="0"/>
                  </a:moveTo>
                  <a:cubicBezTo>
                    <a:pt x="1" y="2"/>
                    <a:pt x="1" y="5"/>
                    <a:pt x="0" y="7"/>
                  </a:cubicBezTo>
                  <a:cubicBezTo>
                    <a:pt x="1" y="5"/>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1492"/>
            <p:cNvSpPr/>
            <p:nvPr/>
          </p:nvSpPr>
          <p:spPr bwMode="auto">
            <a:xfrm>
              <a:off x="1431" y="2827"/>
              <a:ext cx="21" cy="48"/>
            </a:xfrm>
            <a:custGeom>
              <a:gdLst>
                <a:gd name="T0" fmla="*/ 1 w 9"/>
                <a:gd name="T1" fmla="*/ 0 h 20"/>
                <a:gd name="T2" fmla="*/ 8 w 9"/>
                <a:gd name="T3" fmla="*/ 20 h 20"/>
                <a:gd name="T4" fmla="*/ 6 w 9"/>
                <a:gd name="T5" fmla="*/ 14 h 20"/>
                <a:gd name="T6" fmla="*/ 5 w 9"/>
                <a:gd name="T7" fmla="*/ 12 h 20"/>
                <a:gd name="T8" fmla="*/ 5 w 9"/>
                <a:gd name="T9" fmla="*/ 9 h 20"/>
                <a:gd name="T10" fmla="*/ 3 w 9"/>
                <a:gd name="T11" fmla="*/ 0 h 20"/>
                <a:gd name="T12" fmla="*/ 1 w 9"/>
                <a:gd name="T13" fmla="*/ 0 h 20"/>
              </a:gdLst>
              <a:cxnLst>
                <a:cxn ang="0">
                  <a:pos x="T0" y="T1"/>
                </a:cxn>
                <a:cxn ang="0">
                  <a:pos x="T2" y="T3"/>
                </a:cxn>
                <a:cxn ang="0">
                  <a:pos x="T4" y="T5"/>
                </a:cxn>
                <a:cxn ang="0">
                  <a:pos x="T6" y="T7"/>
                </a:cxn>
                <a:cxn ang="0">
                  <a:pos x="T8" y="T9"/>
                </a:cxn>
                <a:cxn ang="0">
                  <a:pos x="T10" y="T11"/>
                </a:cxn>
                <a:cxn ang="0">
                  <a:pos x="T12" y="T13"/>
                </a:cxn>
              </a:cxnLst>
              <a:rect l="0" t="0" r="r" b="b"/>
              <a:pathLst>
                <a:path w="9" h="20">
                  <a:moveTo>
                    <a:pt x="1" y="0"/>
                  </a:moveTo>
                  <a:cubicBezTo>
                    <a:pt x="0" y="8"/>
                    <a:pt x="4" y="13"/>
                    <a:pt x="8" y="20"/>
                  </a:cubicBezTo>
                  <a:cubicBezTo>
                    <a:pt x="9" y="15"/>
                    <a:pt x="7" y="16"/>
                    <a:pt x="6" y="14"/>
                  </a:cubicBezTo>
                  <a:cubicBezTo>
                    <a:pt x="5" y="13"/>
                    <a:pt x="6" y="12"/>
                    <a:pt x="5" y="12"/>
                  </a:cubicBezTo>
                  <a:cubicBezTo>
                    <a:pt x="5" y="11"/>
                    <a:pt x="5" y="10"/>
                    <a:pt x="5" y="9"/>
                  </a:cubicBezTo>
                  <a:cubicBezTo>
                    <a:pt x="4" y="7"/>
                    <a:pt x="1" y="2"/>
                    <a:pt x="3"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1493"/>
            <p:cNvSpPr/>
            <p:nvPr/>
          </p:nvSpPr>
          <p:spPr bwMode="auto">
            <a:xfrm>
              <a:off x="1445" y="1778"/>
              <a:ext cx="2779" cy="2092"/>
            </a:xfrm>
            <a:custGeom>
              <a:gdLst>
                <a:gd name="T0" fmla="*/ 828 w 1176"/>
                <a:gd name="T1" fmla="*/ 64 h 885"/>
                <a:gd name="T2" fmla="*/ 811 w 1176"/>
                <a:gd name="T3" fmla="*/ 183 h 885"/>
                <a:gd name="T4" fmla="*/ 691 w 1176"/>
                <a:gd name="T5" fmla="*/ 154 h 885"/>
                <a:gd name="T6" fmla="*/ 664 w 1176"/>
                <a:gd name="T7" fmla="*/ 76 h 885"/>
                <a:gd name="T8" fmla="*/ 693 w 1176"/>
                <a:gd name="T9" fmla="*/ 48 h 885"/>
                <a:gd name="T10" fmla="*/ 656 w 1176"/>
                <a:gd name="T11" fmla="*/ 46 h 885"/>
                <a:gd name="T12" fmla="*/ 628 w 1176"/>
                <a:gd name="T13" fmla="*/ 36 h 885"/>
                <a:gd name="T14" fmla="*/ 572 w 1176"/>
                <a:gd name="T15" fmla="*/ 20 h 885"/>
                <a:gd name="T16" fmla="*/ 548 w 1176"/>
                <a:gd name="T17" fmla="*/ 21 h 885"/>
                <a:gd name="T18" fmla="*/ 559 w 1176"/>
                <a:gd name="T19" fmla="*/ 49 h 885"/>
                <a:gd name="T20" fmla="*/ 517 w 1176"/>
                <a:gd name="T21" fmla="*/ 52 h 885"/>
                <a:gd name="T22" fmla="*/ 489 w 1176"/>
                <a:gd name="T23" fmla="*/ 83 h 885"/>
                <a:gd name="T24" fmla="*/ 481 w 1176"/>
                <a:gd name="T25" fmla="*/ 132 h 885"/>
                <a:gd name="T26" fmla="*/ 445 w 1176"/>
                <a:gd name="T27" fmla="*/ 122 h 885"/>
                <a:gd name="T28" fmla="*/ 433 w 1176"/>
                <a:gd name="T29" fmla="*/ 112 h 885"/>
                <a:gd name="T30" fmla="*/ 389 w 1176"/>
                <a:gd name="T31" fmla="*/ 99 h 885"/>
                <a:gd name="T32" fmla="*/ 377 w 1176"/>
                <a:gd name="T33" fmla="*/ 103 h 885"/>
                <a:gd name="T34" fmla="*/ 356 w 1176"/>
                <a:gd name="T35" fmla="*/ 113 h 885"/>
                <a:gd name="T36" fmla="*/ 357 w 1176"/>
                <a:gd name="T37" fmla="*/ 130 h 885"/>
                <a:gd name="T38" fmla="*/ 340 w 1176"/>
                <a:gd name="T39" fmla="*/ 137 h 885"/>
                <a:gd name="T40" fmla="*/ 328 w 1176"/>
                <a:gd name="T41" fmla="*/ 166 h 885"/>
                <a:gd name="T42" fmla="*/ 316 w 1176"/>
                <a:gd name="T43" fmla="*/ 167 h 885"/>
                <a:gd name="T44" fmla="*/ 306 w 1176"/>
                <a:gd name="T45" fmla="*/ 170 h 885"/>
                <a:gd name="T46" fmla="*/ 314 w 1176"/>
                <a:gd name="T47" fmla="*/ 180 h 885"/>
                <a:gd name="T48" fmla="*/ 286 w 1176"/>
                <a:gd name="T49" fmla="*/ 167 h 885"/>
                <a:gd name="T50" fmla="*/ 192 w 1176"/>
                <a:gd name="T51" fmla="*/ 276 h 885"/>
                <a:gd name="T52" fmla="*/ 117 w 1176"/>
                <a:gd name="T53" fmla="*/ 295 h 885"/>
                <a:gd name="T54" fmla="*/ 30 w 1176"/>
                <a:gd name="T55" fmla="*/ 353 h 885"/>
                <a:gd name="T56" fmla="*/ 26 w 1176"/>
                <a:gd name="T57" fmla="*/ 472 h 885"/>
                <a:gd name="T58" fmla="*/ 18 w 1176"/>
                <a:gd name="T59" fmla="*/ 478 h 885"/>
                <a:gd name="T60" fmla="*/ 0 w 1176"/>
                <a:gd name="T61" fmla="*/ 464 h 885"/>
                <a:gd name="T62" fmla="*/ 75 w 1176"/>
                <a:gd name="T63" fmla="*/ 674 h 885"/>
                <a:gd name="T64" fmla="*/ 110 w 1176"/>
                <a:gd name="T65" fmla="*/ 748 h 885"/>
                <a:gd name="T66" fmla="*/ 197 w 1176"/>
                <a:gd name="T67" fmla="*/ 715 h 885"/>
                <a:gd name="T68" fmla="*/ 291 w 1176"/>
                <a:gd name="T69" fmla="*/ 714 h 885"/>
                <a:gd name="T70" fmla="*/ 378 w 1176"/>
                <a:gd name="T71" fmla="*/ 658 h 885"/>
                <a:gd name="T72" fmla="*/ 528 w 1176"/>
                <a:gd name="T73" fmla="*/ 635 h 885"/>
                <a:gd name="T74" fmla="*/ 594 w 1176"/>
                <a:gd name="T75" fmla="*/ 653 h 885"/>
                <a:gd name="T76" fmla="*/ 622 w 1176"/>
                <a:gd name="T77" fmla="*/ 689 h 885"/>
                <a:gd name="T78" fmla="*/ 645 w 1176"/>
                <a:gd name="T79" fmla="*/ 736 h 885"/>
                <a:gd name="T80" fmla="*/ 697 w 1176"/>
                <a:gd name="T81" fmla="*/ 705 h 885"/>
                <a:gd name="T82" fmla="*/ 709 w 1176"/>
                <a:gd name="T83" fmla="*/ 717 h 885"/>
                <a:gd name="T84" fmla="*/ 708 w 1176"/>
                <a:gd name="T85" fmla="*/ 751 h 885"/>
                <a:gd name="T86" fmla="*/ 733 w 1176"/>
                <a:gd name="T87" fmla="*/ 768 h 885"/>
                <a:gd name="T88" fmla="*/ 749 w 1176"/>
                <a:gd name="T89" fmla="*/ 766 h 885"/>
                <a:gd name="T90" fmla="*/ 835 w 1176"/>
                <a:gd name="T91" fmla="*/ 857 h 885"/>
                <a:gd name="T92" fmla="*/ 909 w 1176"/>
                <a:gd name="T93" fmla="*/ 852 h 885"/>
                <a:gd name="T94" fmla="*/ 939 w 1176"/>
                <a:gd name="T95" fmla="*/ 855 h 885"/>
                <a:gd name="T96" fmla="*/ 963 w 1176"/>
                <a:gd name="T97" fmla="*/ 877 h 885"/>
                <a:gd name="T98" fmla="*/ 1067 w 1176"/>
                <a:gd name="T99" fmla="*/ 831 h 885"/>
                <a:gd name="T100" fmla="*/ 1094 w 1176"/>
                <a:gd name="T101" fmla="*/ 733 h 885"/>
                <a:gd name="T102" fmla="*/ 1144 w 1176"/>
                <a:gd name="T103" fmla="*/ 658 h 885"/>
                <a:gd name="T104" fmla="*/ 1161 w 1176"/>
                <a:gd name="T105" fmla="*/ 494 h 885"/>
                <a:gd name="T106" fmla="*/ 1141 w 1176"/>
                <a:gd name="T107" fmla="*/ 421 h 885"/>
                <a:gd name="T108" fmla="*/ 1093 w 1176"/>
                <a:gd name="T109" fmla="*/ 353 h 885"/>
                <a:gd name="T110" fmla="*/ 1064 w 1176"/>
                <a:gd name="T111" fmla="*/ 351 h 885"/>
                <a:gd name="T112" fmla="*/ 1025 w 1176"/>
                <a:gd name="T113" fmla="*/ 282 h 885"/>
                <a:gd name="T114" fmla="*/ 984 w 1176"/>
                <a:gd name="T115" fmla="*/ 252 h 885"/>
                <a:gd name="T116" fmla="*/ 939 w 1176"/>
                <a:gd name="T117" fmla="*/ 171 h 885"/>
                <a:gd name="T118" fmla="*/ 904 w 1176"/>
                <a:gd name="T119" fmla="*/ 105 h 885"/>
                <a:gd name="T120" fmla="*/ 872 w 1176"/>
                <a:gd name="T121" fmla="*/ 48 h 8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6" h="885">
                  <a:moveTo>
                    <a:pt x="853" y="0"/>
                  </a:moveTo>
                  <a:cubicBezTo>
                    <a:pt x="851" y="0"/>
                    <a:pt x="843" y="6"/>
                    <a:pt x="842" y="7"/>
                  </a:cubicBezTo>
                  <a:cubicBezTo>
                    <a:pt x="840" y="17"/>
                    <a:pt x="838" y="28"/>
                    <a:pt x="835" y="38"/>
                  </a:cubicBezTo>
                  <a:cubicBezTo>
                    <a:pt x="835" y="37"/>
                    <a:pt x="835" y="37"/>
                    <a:pt x="835" y="37"/>
                  </a:cubicBezTo>
                  <a:cubicBezTo>
                    <a:pt x="830" y="39"/>
                    <a:pt x="829" y="49"/>
                    <a:pt x="827" y="53"/>
                  </a:cubicBezTo>
                  <a:cubicBezTo>
                    <a:pt x="827" y="52"/>
                    <a:pt x="828" y="51"/>
                    <a:pt x="829" y="51"/>
                  </a:cubicBezTo>
                  <a:cubicBezTo>
                    <a:pt x="830" y="51"/>
                    <a:pt x="831" y="51"/>
                    <a:pt x="832" y="52"/>
                  </a:cubicBezTo>
                  <a:cubicBezTo>
                    <a:pt x="834" y="54"/>
                    <a:pt x="836" y="54"/>
                    <a:pt x="836" y="58"/>
                  </a:cubicBezTo>
                  <a:cubicBezTo>
                    <a:pt x="835" y="60"/>
                    <a:pt x="837" y="62"/>
                    <a:pt x="836" y="64"/>
                  </a:cubicBezTo>
                  <a:cubicBezTo>
                    <a:pt x="836" y="62"/>
                    <a:pt x="836" y="58"/>
                    <a:pt x="834" y="58"/>
                  </a:cubicBezTo>
                  <a:cubicBezTo>
                    <a:pt x="833" y="58"/>
                    <a:pt x="833" y="58"/>
                    <a:pt x="833" y="58"/>
                  </a:cubicBezTo>
                  <a:cubicBezTo>
                    <a:pt x="833" y="58"/>
                    <a:pt x="833" y="58"/>
                    <a:pt x="833" y="57"/>
                  </a:cubicBezTo>
                  <a:cubicBezTo>
                    <a:pt x="831" y="60"/>
                    <a:pt x="830" y="63"/>
                    <a:pt x="828" y="64"/>
                  </a:cubicBezTo>
                  <a:cubicBezTo>
                    <a:pt x="828" y="67"/>
                    <a:pt x="830" y="71"/>
                    <a:pt x="829" y="74"/>
                  </a:cubicBezTo>
                  <a:cubicBezTo>
                    <a:pt x="829" y="77"/>
                    <a:pt x="826" y="80"/>
                    <a:pt x="825" y="82"/>
                  </a:cubicBezTo>
                  <a:cubicBezTo>
                    <a:pt x="825" y="84"/>
                    <a:pt x="824" y="85"/>
                    <a:pt x="824" y="86"/>
                  </a:cubicBezTo>
                  <a:cubicBezTo>
                    <a:pt x="824" y="87"/>
                    <a:pt x="823" y="89"/>
                    <a:pt x="823" y="91"/>
                  </a:cubicBezTo>
                  <a:cubicBezTo>
                    <a:pt x="823" y="93"/>
                    <a:pt x="824" y="95"/>
                    <a:pt x="825" y="97"/>
                  </a:cubicBezTo>
                  <a:cubicBezTo>
                    <a:pt x="827" y="101"/>
                    <a:pt x="827" y="104"/>
                    <a:pt x="826" y="109"/>
                  </a:cubicBezTo>
                  <a:cubicBezTo>
                    <a:pt x="826" y="113"/>
                    <a:pt x="826" y="117"/>
                    <a:pt x="827" y="121"/>
                  </a:cubicBezTo>
                  <a:cubicBezTo>
                    <a:pt x="827" y="123"/>
                    <a:pt x="828" y="124"/>
                    <a:pt x="828" y="125"/>
                  </a:cubicBezTo>
                  <a:cubicBezTo>
                    <a:pt x="829" y="128"/>
                    <a:pt x="828" y="130"/>
                    <a:pt x="827" y="134"/>
                  </a:cubicBezTo>
                  <a:cubicBezTo>
                    <a:pt x="825" y="141"/>
                    <a:pt x="822" y="147"/>
                    <a:pt x="821" y="154"/>
                  </a:cubicBezTo>
                  <a:cubicBezTo>
                    <a:pt x="820" y="156"/>
                    <a:pt x="822" y="157"/>
                    <a:pt x="822" y="158"/>
                  </a:cubicBezTo>
                  <a:cubicBezTo>
                    <a:pt x="822" y="160"/>
                    <a:pt x="820" y="164"/>
                    <a:pt x="819" y="166"/>
                  </a:cubicBezTo>
                  <a:cubicBezTo>
                    <a:pt x="816" y="172"/>
                    <a:pt x="814" y="177"/>
                    <a:pt x="811" y="183"/>
                  </a:cubicBezTo>
                  <a:cubicBezTo>
                    <a:pt x="809" y="188"/>
                    <a:pt x="808" y="194"/>
                    <a:pt x="805" y="198"/>
                  </a:cubicBezTo>
                  <a:cubicBezTo>
                    <a:pt x="801" y="202"/>
                    <a:pt x="796" y="205"/>
                    <a:pt x="791" y="206"/>
                  </a:cubicBezTo>
                  <a:cubicBezTo>
                    <a:pt x="789" y="207"/>
                    <a:pt x="786" y="207"/>
                    <a:pt x="783" y="207"/>
                  </a:cubicBezTo>
                  <a:cubicBezTo>
                    <a:pt x="783" y="207"/>
                    <a:pt x="782" y="207"/>
                    <a:pt x="782" y="207"/>
                  </a:cubicBezTo>
                  <a:cubicBezTo>
                    <a:pt x="777" y="207"/>
                    <a:pt x="773" y="202"/>
                    <a:pt x="769" y="199"/>
                  </a:cubicBezTo>
                  <a:cubicBezTo>
                    <a:pt x="765" y="196"/>
                    <a:pt x="761" y="193"/>
                    <a:pt x="757" y="190"/>
                  </a:cubicBezTo>
                  <a:cubicBezTo>
                    <a:pt x="755" y="188"/>
                    <a:pt x="756" y="187"/>
                    <a:pt x="754" y="186"/>
                  </a:cubicBezTo>
                  <a:cubicBezTo>
                    <a:pt x="751" y="184"/>
                    <a:pt x="751" y="182"/>
                    <a:pt x="747" y="181"/>
                  </a:cubicBezTo>
                  <a:cubicBezTo>
                    <a:pt x="738" y="178"/>
                    <a:pt x="730" y="175"/>
                    <a:pt x="722" y="173"/>
                  </a:cubicBezTo>
                  <a:cubicBezTo>
                    <a:pt x="722" y="173"/>
                    <a:pt x="722" y="173"/>
                    <a:pt x="722" y="173"/>
                  </a:cubicBezTo>
                  <a:cubicBezTo>
                    <a:pt x="722" y="171"/>
                    <a:pt x="709" y="165"/>
                    <a:pt x="708" y="164"/>
                  </a:cubicBezTo>
                  <a:cubicBezTo>
                    <a:pt x="702" y="160"/>
                    <a:pt x="697" y="157"/>
                    <a:pt x="691" y="153"/>
                  </a:cubicBezTo>
                  <a:cubicBezTo>
                    <a:pt x="691" y="154"/>
                    <a:pt x="691" y="154"/>
                    <a:pt x="691" y="154"/>
                  </a:cubicBezTo>
                  <a:cubicBezTo>
                    <a:pt x="690" y="154"/>
                    <a:pt x="689" y="154"/>
                    <a:pt x="688" y="154"/>
                  </a:cubicBezTo>
                  <a:cubicBezTo>
                    <a:pt x="688" y="154"/>
                    <a:pt x="687" y="154"/>
                    <a:pt x="687" y="154"/>
                  </a:cubicBezTo>
                  <a:cubicBezTo>
                    <a:pt x="686" y="154"/>
                    <a:pt x="686" y="154"/>
                    <a:pt x="686" y="154"/>
                  </a:cubicBezTo>
                  <a:cubicBezTo>
                    <a:pt x="685" y="154"/>
                    <a:pt x="684" y="154"/>
                    <a:pt x="683" y="153"/>
                  </a:cubicBezTo>
                  <a:cubicBezTo>
                    <a:pt x="673" y="144"/>
                    <a:pt x="663" y="135"/>
                    <a:pt x="652" y="127"/>
                  </a:cubicBezTo>
                  <a:cubicBezTo>
                    <a:pt x="651" y="127"/>
                    <a:pt x="650" y="126"/>
                    <a:pt x="649" y="125"/>
                  </a:cubicBezTo>
                  <a:cubicBezTo>
                    <a:pt x="647" y="117"/>
                    <a:pt x="652" y="113"/>
                    <a:pt x="656" y="107"/>
                  </a:cubicBezTo>
                  <a:cubicBezTo>
                    <a:pt x="660" y="103"/>
                    <a:pt x="661" y="98"/>
                    <a:pt x="663" y="93"/>
                  </a:cubicBezTo>
                  <a:cubicBezTo>
                    <a:pt x="664" y="91"/>
                    <a:pt x="666" y="88"/>
                    <a:pt x="666" y="86"/>
                  </a:cubicBezTo>
                  <a:cubicBezTo>
                    <a:pt x="664" y="87"/>
                    <a:pt x="664" y="89"/>
                    <a:pt x="663" y="89"/>
                  </a:cubicBezTo>
                  <a:cubicBezTo>
                    <a:pt x="662" y="89"/>
                    <a:pt x="662" y="89"/>
                    <a:pt x="661" y="88"/>
                  </a:cubicBezTo>
                  <a:cubicBezTo>
                    <a:pt x="660" y="88"/>
                    <a:pt x="660" y="84"/>
                    <a:pt x="660" y="83"/>
                  </a:cubicBezTo>
                  <a:cubicBezTo>
                    <a:pt x="660" y="80"/>
                    <a:pt x="660" y="76"/>
                    <a:pt x="664" y="76"/>
                  </a:cubicBezTo>
                  <a:cubicBezTo>
                    <a:pt x="664" y="76"/>
                    <a:pt x="664" y="76"/>
                    <a:pt x="664" y="76"/>
                  </a:cubicBezTo>
                  <a:cubicBezTo>
                    <a:pt x="664" y="76"/>
                    <a:pt x="664" y="76"/>
                    <a:pt x="664" y="76"/>
                  </a:cubicBezTo>
                  <a:cubicBezTo>
                    <a:pt x="668" y="76"/>
                    <a:pt x="672" y="73"/>
                    <a:pt x="675" y="71"/>
                  </a:cubicBezTo>
                  <a:cubicBezTo>
                    <a:pt x="676" y="73"/>
                    <a:pt x="674" y="74"/>
                    <a:pt x="674" y="77"/>
                  </a:cubicBezTo>
                  <a:cubicBezTo>
                    <a:pt x="675" y="76"/>
                    <a:pt x="676" y="75"/>
                    <a:pt x="678" y="75"/>
                  </a:cubicBezTo>
                  <a:cubicBezTo>
                    <a:pt x="678" y="72"/>
                    <a:pt x="678" y="66"/>
                    <a:pt x="680" y="66"/>
                  </a:cubicBezTo>
                  <a:cubicBezTo>
                    <a:pt x="681" y="66"/>
                    <a:pt x="682" y="66"/>
                    <a:pt x="683" y="68"/>
                  </a:cubicBezTo>
                  <a:cubicBezTo>
                    <a:pt x="682" y="66"/>
                    <a:pt x="681" y="65"/>
                    <a:pt x="680" y="65"/>
                  </a:cubicBezTo>
                  <a:cubicBezTo>
                    <a:pt x="680" y="65"/>
                    <a:pt x="680" y="65"/>
                    <a:pt x="680" y="65"/>
                  </a:cubicBezTo>
                  <a:cubicBezTo>
                    <a:pt x="679" y="64"/>
                    <a:pt x="678" y="62"/>
                    <a:pt x="678" y="61"/>
                  </a:cubicBezTo>
                  <a:cubicBezTo>
                    <a:pt x="680" y="61"/>
                    <a:pt x="681" y="62"/>
                    <a:pt x="682" y="62"/>
                  </a:cubicBezTo>
                  <a:cubicBezTo>
                    <a:pt x="682" y="62"/>
                    <a:pt x="682" y="61"/>
                    <a:pt x="683" y="59"/>
                  </a:cubicBezTo>
                  <a:cubicBezTo>
                    <a:pt x="686" y="52"/>
                    <a:pt x="686" y="52"/>
                    <a:pt x="693" y="48"/>
                  </a:cubicBezTo>
                  <a:cubicBezTo>
                    <a:pt x="691" y="45"/>
                    <a:pt x="689" y="44"/>
                    <a:pt x="687" y="43"/>
                  </a:cubicBezTo>
                  <a:cubicBezTo>
                    <a:pt x="686" y="45"/>
                    <a:pt x="685" y="46"/>
                    <a:pt x="685" y="46"/>
                  </a:cubicBezTo>
                  <a:cubicBezTo>
                    <a:pt x="682" y="46"/>
                    <a:pt x="681" y="38"/>
                    <a:pt x="678" y="37"/>
                  </a:cubicBezTo>
                  <a:cubicBezTo>
                    <a:pt x="680" y="37"/>
                    <a:pt x="682" y="36"/>
                    <a:pt x="681" y="34"/>
                  </a:cubicBezTo>
                  <a:cubicBezTo>
                    <a:pt x="678" y="36"/>
                    <a:pt x="674" y="39"/>
                    <a:pt x="671" y="41"/>
                  </a:cubicBezTo>
                  <a:cubicBezTo>
                    <a:pt x="667" y="45"/>
                    <a:pt x="674" y="42"/>
                    <a:pt x="675" y="45"/>
                  </a:cubicBezTo>
                  <a:cubicBezTo>
                    <a:pt x="675" y="46"/>
                    <a:pt x="673" y="50"/>
                    <a:pt x="672" y="51"/>
                  </a:cubicBezTo>
                  <a:cubicBezTo>
                    <a:pt x="671" y="51"/>
                    <a:pt x="671" y="51"/>
                    <a:pt x="670" y="51"/>
                  </a:cubicBezTo>
                  <a:cubicBezTo>
                    <a:pt x="668" y="51"/>
                    <a:pt x="666" y="48"/>
                    <a:pt x="665" y="46"/>
                  </a:cubicBezTo>
                  <a:cubicBezTo>
                    <a:pt x="665" y="46"/>
                    <a:pt x="667" y="46"/>
                    <a:pt x="666" y="45"/>
                  </a:cubicBezTo>
                  <a:cubicBezTo>
                    <a:pt x="665" y="44"/>
                    <a:pt x="664" y="44"/>
                    <a:pt x="663" y="43"/>
                  </a:cubicBezTo>
                  <a:cubicBezTo>
                    <a:pt x="664" y="42"/>
                    <a:pt x="665" y="41"/>
                    <a:pt x="666" y="40"/>
                  </a:cubicBezTo>
                  <a:cubicBezTo>
                    <a:pt x="662" y="42"/>
                    <a:pt x="659" y="44"/>
                    <a:pt x="656" y="46"/>
                  </a:cubicBezTo>
                  <a:cubicBezTo>
                    <a:pt x="652" y="43"/>
                    <a:pt x="658" y="38"/>
                    <a:pt x="662" y="37"/>
                  </a:cubicBezTo>
                  <a:cubicBezTo>
                    <a:pt x="657" y="36"/>
                    <a:pt x="661" y="35"/>
                    <a:pt x="661" y="33"/>
                  </a:cubicBezTo>
                  <a:cubicBezTo>
                    <a:pt x="662" y="32"/>
                    <a:pt x="663" y="31"/>
                    <a:pt x="662" y="31"/>
                  </a:cubicBezTo>
                  <a:cubicBezTo>
                    <a:pt x="662" y="31"/>
                    <a:pt x="661" y="31"/>
                    <a:pt x="661" y="31"/>
                  </a:cubicBezTo>
                  <a:cubicBezTo>
                    <a:pt x="660" y="32"/>
                    <a:pt x="659" y="34"/>
                    <a:pt x="658" y="35"/>
                  </a:cubicBezTo>
                  <a:cubicBezTo>
                    <a:pt x="657" y="36"/>
                    <a:pt x="656" y="36"/>
                    <a:pt x="655" y="36"/>
                  </a:cubicBezTo>
                  <a:cubicBezTo>
                    <a:pt x="654" y="37"/>
                    <a:pt x="651" y="40"/>
                    <a:pt x="652" y="40"/>
                  </a:cubicBezTo>
                  <a:cubicBezTo>
                    <a:pt x="653" y="40"/>
                    <a:pt x="653" y="39"/>
                    <a:pt x="654" y="39"/>
                  </a:cubicBezTo>
                  <a:cubicBezTo>
                    <a:pt x="651" y="42"/>
                    <a:pt x="646" y="42"/>
                    <a:pt x="643" y="43"/>
                  </a:cubicBezTo>
                  <a:cubicBezTo>
                    <a:pt x="644" y="44"/>
                    <a:pt x="644" y="44"/>
                    <a:pt x="645" y="45"/>
                  </a:cubicBezTo>
                  <a:cubicBezTo>
                    <a:pt x="644" y="45"/>
                    <a:pt x="643" y="45"/>
                    <a:pt x="642" y="45"/>
                  </a:cubicBezTo>
                  <a:cubicBezTo>
                    <a:pt x="639" y="45"/>
                    <a:pt x="637" y="43"/>
                    <a:pt x="633" y="41"/>
                  </a:cubicBezTo>
                  <a:cubicBezTo>
                    <a:pt x="632" y="40"/>
                    <a:pt x="628" y="39"/>
                    <a:pt x="628" y="36"/>
                  </a:cubicBezTo>
                  <a:cubicBezTo>
                    <a:pt x="625" y="38"/>
                    <a:pt x="624" y="39"/>
                    <a:pt x="620" y="39"/>
                  </a:cubicBezTo>
                  <a:cubicBezTo>
                    <a:pt x="620" y="39"/>
                    <a:pt x="620" y="39"/>
                    <a:pt x="620" y="39"/>
                  </a:cubicBezTo>
                  <a:cubicBezTo>
                    <a:pt x="618" y="39"/>
                    <a:pt x="617" y="39"/>
                    <a:pt x="615" y="39"/>
                  </a:cubicBezTo>
                  <a:cubicBezTo>
                    <a:pt x="614" y="39"/>
                    <a:pt x="613" y="39"/>
                    <a:pt x="612" y="40"/>
                  </a:cubicBezTo>
                  <a:cubicBezTo>
                    <a:pt x="610" y="38"/>
                    <a:pt x="612" y="37"/>
                    <a:pt x="611" y="36"/>
                  </a:cubicBezTo>
                  <a:cubicBezTo>
                    <a:pt x="609" y="33"/>
                    <a:pt x="606" y="33"/>
                    <a:pt x="603" y="31"/>
                  </a:cubicBezTo>
                  <a:cubicBezTo>
                    <a:pt x="604" y="30"/>
                    <a:pt x="604" y="30"/>
                    <a:pt x="603" y="30"/>
                  </a:cubicBezTo>
                  <a:cubicBezTo>
                    <a:pt x="601" y="30"/>
                    <a:pt x="598" y="31"/>
                    <a:pt x="597" y="31"/>
                  </a:cubicBezTo>
                  <a:cubicBezTo>
                    <a:pt x="593" y="34"/>
                    <a:pt x="593" y="34"/>
                    <a:pt x="593" y="34"/>
                  </a:cubicBezTo>
                  <a:cubicBezTo>
                    <a:pt x="594" y="29"/>
                    <a:pt x="585" y="28"/>
                    <a:pt x="582" y="26"/>
                  </a:cubicBezTo>
                  <a:cubicBezTo>
                    <a:pt x="579" y="25"/>
                    <a:pt x="580" y="24"/>
                    <a:pt x="578" y="22"/>
                  </a:cubicBezTo>
                  <a:cubicBezTo>
                    <a:pt x="577" y="21"/>
                    <a:pt x="576" y="19"/>
                    <a:pt x="575" y="19"/>
                  </a:cubicBezTo>
                  <a:cubicBezTo>
                    <a:pt x="574" y="19"/>
                    <a:pt x="573" y="19"/>
                    <a:pt x="572" y="20"/>
                  </a:cubicBezTo>
                  <a:cubicBezTo>
                    <a:pt x="572" y="21"/>
                    <a:pt x="571" y="23"/>
                    <a:pt x="570" y="23"/>
                  </a:cubicBezTo>
                  <a:cubicBezTo>
                    <a:pt x="570" y="23"/>
                    <a:pt x="569" y="23"/>
                    <a:pt x="569" y="23"/>
                  </a:cubicBezTo>
                  <a:cubicBezTo>
                    <a:pt x="567" y="23"/>
                    <a:pt x="566" y="20"/>
                    <a:pt x="564" y="18"/>
                  </a:cubicBezTo>
                  <a:cubicBezTo>
                    <a:pt x="563" y="17"/>
                    <a:pt x="559" y="14"/>
                    <a:pt x="558" y="12"/>
                  </a:cubicBezTo>
                  <a:cubicBezTo>
                    <a:pt x="557" y="13"/>
                    <a:pt x="556" y="15"/>
                    <a:pt x="556" y="16"/>
                  </a:cubicBezTo>
                  <a:cubicBezTo>
                    <a:pt x="555" y="15"/>
                    <a:pt x="554" y="14"/>
                    <a:pt x="553" y="12"/>
                  </a:cubicBezTo>
                  <a:cubicBezTo>
                    <a:pt x="553" y="16"/>
                    <a:pt x="555" y="18"/>
                    <a:pt x="554" y="20"/>
                  </a:cubicBezTo>
                  <a:cubicBezTo>
                    <a:pt x="551" y="16"/>
                    <a:pt x="550" y="13"/>
                    <a:pt x="547" y="13"/>
                  </a:cubicBezTo>
                  <a:cubicBezTo>
                    <a:pt x="546" y="13"/>
                    <a:pt x="545" y="13"/>
                    <a:pt x="543" y="14"/>
                  </a:cubicBezTo>
                  <a:cubicBezTo>
                    <a:pt x="544" y="17"/>
                    <a:pt x="546" y="18"/>
                    <a:pt x="547" y="19"/>
                  </a:cubicBezTo>
                  <a:cubicBezTo>
                    <a:pt x="548" y="21"/>
                    <a:pt x="548" y="21"/>
                    <a:pt x="548" y="21"/>
                  </a:cubicBezTo>
                  <a:cubicBezTo>
                    <a:pt x="548" y="21"/>
                    <a:pt x="548" y="21"/>
                    <a:pt x="548" y="21"/>
                  </a:cubicBezTo>
                  <a:cubicBezTo>
                    <a:pt x="548" y="21"/>
                    <a:pt x="548" y="21"/>
                    <a:pt x="548" y="21"/>
                  </a:cubicBezTo>
                  <a:cubicBezTo>
                    <a:pt x="549" y="21"/>
                    <a:pt x="549" y="21"/>
                    <a:pt x="549" y="21"/>
                  </a:cubicBezTo>
                  <a:cubicBezTo>
                    <a:pt x="549" y="21"/>
                    <a:pt x="549" y="21"/>
                    <a:pt x="549" y="21"/>
                  </a:cubicBezTo>
                  <a:cubicBezTo>
                    <a:pt x="551" y="22"/>
                    <a:pt x="549" y="23"/>
                    <a:pt x="552" y="24"/>
                  </a:cubicBezTo>
                  <a:cubicBezTo>
                    <a:pt x="552" y="24"/>
                    <a:pt x="552" y="24"/>
                    <a:pt x="552" y="24"/>
                  </a:cubicBezTo>
                  <a:cubicBezTo>
                    <a:pt x="552" y="24"/>
                    <a:pt x="554" y="22"/>
                    <a:pt x="555" y="22"/>
                  </a:cubicBezTo>
                  <a:cubicBezTo>
                    <a:pt x="556" y="21"/>
                    <a:pt x="557" y="21"/>
                    <a:pt x="558" y="21"/>
                  </a:cubicBezTo>
                  <a:cubicBezTo>
                    <a:pt x="560" y="21"/>
                    <a:pt x="561" y="22"/>
                    <a:pt x="562" y="22"/>
                  </a:cubicBezTo>
                  <a:cubicBezTo>
                    <a:pt x="563" y="23"/>
                    <a:pt x="564" y="25"/>
                    <a:pt x="564" y="26"/>
                  </a:cubicBezTo>
                  <a:cubicBezTo>
                    <a:pt x="565" y="26"/>
                    <a:pt x="567" y="27"/>
                    <a:pt x="568" y="27"/>
                  </a:cubicBezTo>
                  <a:cubicBezTo>
                    <a:pt x="568" y="29"/>
                    <a:pt x="566" y="35"/>
                    <a:pt x="566" y="37"/>
                  </a:cubicBezTo>
                  <a:cubicBezTo>
                    <a:pt x="567" y="40"/>
                    <a:pt x="567" y="41"/>
                    <a:pt x="570" y="41"/>
                  </a:cubicBezTo>
                  <a:cubicBezTo>
                    <a:pt x="567" y="43"/>
                    <a:pt x="563" y="45"/>
                    <a:pt x="561" y="47"/>
                  </a:cubicBezTo>
                  <a:cubicBezTo>
                    <a:pt x="561" y="47"/>
                    <a:pt x="560" y="48"/>
                    <a:pt x="559" y="49"/>
                  </a:cubicBezTo>
                  <a:cubicBezTo>
                    <a:pt x="560" y="47"/>
                    <a:pt x="560" y="44"/>
                    <a:pt x="558" y="43"/>
                  </a:cubicBezTo>
                  <a:cubicBezTo>
                    <a:pt x="557" y="43"/>
                    <a:pt x="557" y="43"/>
                    <a:pt x="556" y="43"/>
                  </a:cubicBezTo>
                  <a:cubicBezTo>
                    <a:pt x="554" y="43"/>
                    <a:pt x="554" y="45"/>
                    <a:pt x="550" y="46"/>
                  </a:cubicBezTo>
                  <a:cubicBezTo>
                    <a:pt x="549" y="47"/>
                    <a:pt x="547" y="47"/>
                    <a:pt x="544" y="47"/>
                  </a:cubicBezTo>
                  <a:cubicBezTo>
                    <a:pt x="539" y="47"/>
                    <a:pt x="530" y="46"/>
                    <a:pt x="530" y="44"/>
                  </a:cubicBezTo>
                  <a:cubicBezTo>
                    <a:pt x="529" y="43"/>
                    <a:pt x="528" y="41"/>
                    <a:pt x="528" y="39"/>
                  </a:cubicBezTo>
                  <a:cubicBezTo>
                    <a:pt x="527" y="41"/>
                    <a:pt x="526" y="43"/>
                    <a:pt x="526" y="44"/>
                  </a:cubicBezTo>
                  <a:cubicBezTo>
                    <a:pt x="526" y="44"/>
                    <a:pt x="522" y="42"/>
                    <a:pt x="521" y="42"/>
                  </a:cubicBezTo>
                  <a:cubicBezTo>
                    <a:pt x="521" y="42"/>
                    <a:pt x="520" y="42"/>
                    <a:pt x="520" y="42"/>
                  </a:cubicBezTo>
                  <a:cubicBezTo>
                    <a:pt x="519" y="43"/>
                    <a:pt x="519" y="47"/>
                    <a:pt x="520" y="48"/>
                  </a:cubicBezTo>
                  <a:cubicBezTo>
                    <a:pt x="519" y="48"/>
                    <a:pt x="518" y="48"/>
                    <a:pt x="517" y="48"/>
                  </a:cubicBezTo>
                  <a:cubicBezTo>
                    <a:pt x="517" y="48"/>
                    <a:pt x="516" y="48"/>
                    <a:pt x="516" y="49"/>
                  </a:cubicBezTo>
                  <a:cubicBezTo>
                    <a:pt x="516" y="52"/>
                    <a:pt x="517" y="51"/>
                    <a:pt x="517" y="52"/>
                  </a:cubicBezTo>
                  <a:cubicBezTo>
                    <a:pt x="518" y="54"/>
                    <a:pt x="517" y="54"/>
                    <a:pt x="518" y="56"/>
                  </a:cubicBezTo>
                  <a:cubicBezTo>
                    <a:pt x="517" y="56"/>
                    <a:pt x="514" y="54"/>
                    <a:pt x="514" y="54"/>
                  </a:cubicBezTo>
                  <a:cubicBezTo>
                    <a:pt x="513" y="53"/>
                    <a:pt x="513" y="52"/>
                    <a:pt x="513" y="52"/>
                  </a:cubicBezTo>
                  <a:cubicBezTo>
                    <a:pt x="512" y="51"/>
                    <a:pt x="512" y="49"/>
                    <a:pt x="509" y="49"/>
                  </a:cubicBezTo>
                  <a:cubicBezTo>
                    <a:pt x="509" y="49"/>
                    <a:pt x="509" y="49"/>
                    <a:pt x="509" y="49"/>
                  </a:cubicBezTo>
                  <a:cubicBezTo>
                    <a:pt x="506" y="49"/>
                    <a:pt x="507" y="53"/>
                    <a:pt x="508" y="55"/>
                  </a:cubicBezTo>
                  <a:cubicBezTo>
                    <a:pt x="508" y="56"/>
                    <a:pt x="507" y="57"/>
                    <a:pt x="508" y="58"/>
                  </a:cubicBezTo>
                  <a:cubicBezTo>
                    <a:pt x="507" y="57"/>
                    <a:pt x="506" y="56"/>
                    <a:pt x="505" y="56"/>
                  </a:cubicBezTo>
                  <a:cubicBezTo>
                    <a:pt x="504" y="56"/>
                    <a:pt x="504" y="56"/>
                    <a:pt x="504" y="56"/>
                  </a:cubicBezTo>
                  <a:cubicBezTo>
                    <a:pt x="501" y="57"/>
                    <a:pt x="494" y="64"/>
                    <a:pt x="494" y="66"/>
                  </a:cubicBezTo>
                  <a:cubicBezTo>
                    <a:pt x="493" y="70"/>
                    <a:pt x="497" y="75"/>
                    <a:pt x="500" y="77"/>
                  </a:cubicBezTo>
                  <a:cubicBezTo>
                    <a:pt x="496" y="78"/>
                    <a:pt x="495" y="80"/>
                    <a:pt x="492" y="81"/>
                  </a:cubicBezTo>
                  <a:cubicBezTo>
                    <a:pt x="491" y="82"/>
                    <a:pt x="490" y="83"/>
                    <a:pt x="489" y="83"/>
                  </a:cubicBezTo>
                  <a:cubicBezTo>
                    <a:pt x="488" y="83"/>
                    <a:pt x="487" y="82"/>
                    <a:pt x="487" y="80"/>
                  </a:cubicBezTo>
                  <a:cubicBezTo>
                    <a:pt x="484" y="83"/>
                    <a:pt x="484" y="87"/>
                    <a:pt x="483" y="91"/>
                  </a:cubicBezTo>
                  <a:cubicBezTo>
                    <a:pt x="483" y="92"/>
                    <a:pt x="481" y="98"/>
                    <a:pt x="479" y="98"/>
                  </a:cubicBezTo>
                  <a:cubicBezTo>
                    <a:pt x="479" y="98"/>
                    <a:pt x="479" y="97"/>
                    <a:pt x="478" y="97"/>
                  </a:cubicBezTo>
                  <a:cubicBezTo>
                    <a:pt x="478" y="98"/>
                    <a:pt x="478" y="99"/>
                    <a:pt x="477" y="99"/>
                  </a:cubicBezTo>
                  <a:cubicBezTo>
                    <a:pt x="476" y="99"/>
                    <a:pt x="476" y="99"/>
                    <a:pt x="475" y="98"/>
                  </a:cubicBezTo>
                  <a:cubicBezTo>
                    <a:pt x="474" y="100"/>
                    <a:pt x="473" y="102"/>
                    <a:pt x="473" y="104"/>
                  </a:cubicBezTo>
                  <a:cubicBezTo>
                    <a:pt x="472" y="108"/>
                    <a:pt x="473" y="109"/>
                    <a:pt x="476" y="113"/>
                  </a:cubicBezTo>
                  <a:cubicBezTo>
                    <a:pt x="477" y="115"/>
                    <a:pt x="478" y="116"/>
                    <a:pt x="480" y="118"/>
                  </a:cubicBezTo>
                  <a:cubicBezTo>
                    <a:pt x="482" y="121"/>
                    <a:pt x="486" y="120"/>
                    <a:pt x="489" y="121"/>
                  </a:cubicBezTo>
                  <a:cubicBezTo>
                    <a:pt x="486" y="122"/>
                    <a:pt x="479" y="122"/>
                    <a:pt x="479" y="126"/>
                  </a:cubicBezTo>
                  <a:cubicBezTo>
                    <a:pt x="479" y="127"/>
                    <a:pt x="480" y="129"/>
                    <a:pt x="480" y="130"/>
                  </a:cubicBezTo>
                  <a:cubicBezTo>
                    <a:pt x="481" y="130"/>
                    <a:pt x="484" y="132"/>
                    <a:pt x="481" y="132"/>
                  </a:cubicBezTo>
                  <a:cubicBezTo>
                    <a:pt x="481" y="132"/>
                    <a:pt x="481" y="132"/>
                    <a:pt x="481" y="132"/>
                  </a:cubicBezTo>
                  <a:cubicBezTo>
                    <a:pt x="479" y="132"/>
                    <a:pt x="477" y="126"/>
                    <a:pt x="475" y="125"/>
                  </a:cubicBezTo>
                  <a:cubicBezTo>
                    <a:pt x="474" y="124"/>
                    <a:pt x="473" y="124"/>
                    <a:pt x="472" y="124"/>
                  </a:cubicBezTo>
                  <a:cubicBezTo>
                    <a:pt x="470" y="124"/>
                    <a:pt x="469" y="125"/>
                    <a:pt x="468" y="126"/>
                  </a:cubicBezTo>
                  <a:cubicBezTo>
                    <a:pt x="468" y="130"/>
                    <a:pt x="468" y="130"/>
                    <a:pt x="468" y="130"/>
                  </a:cubicBezTo>
                  <a:cubicBezTo>
                    <a:pt x="468" y="131"/>
                    <a:pt x="467" y="133"/>
                    <a:pt x="467" y="133"/>
                  </a:cubicBezTo>
                  <a:cubicBezTo>
                    <a:pt x="466" y="133"/>
                    <a:pt x="466" y="133"/>
                    <a:pt x="466" y="133"/>
                  </a:cubicBezTo>
                  <a:cubicBezTo>
                    <a:pt x="465" y="131"/>
                    <a:pt x="467" y="128"/>
                    <a:pt x="466" y="126"/>
                  </a:cubicBezTo>
                  <a:cubicBezTo>
                    <a:pt x="466" y="125"/>
                    <a:pt x="463" y="123"/>
                    <a:pt x="461" y="122"/>
                  </a:cubicBezTo>
                  <a:cubicBezTo>
                    <a:pt x="461" y="123"/>
                    <a:pt x="461" y="124"/>
                    <a:pt x="461" y="125"/>
                  </a:cubicBezTo>
                  <a:cubicBezTo>
                    <a:pt x="461" y="120"/>
                    <a:pt x="456" y="121"/>
                    <a:pt x="452" y="120"/>
                  </a:cubicBezTo>
                  <a:cubicBezTo>
                    <a:pt x="451" y="120"/>
                    <a:pt x="449" y="120"/>
                    <a:pt x="447" y="120"/>
                  </a:cubicBezTo>
                  <a:cubicBezTo>
                    <a:pt x="444" y="120"/>
                    <a:pt x="442" y="120"/>
                    <a:pt x="445" y="122"/>
                  </a:cubicBezTo>
                  <a:cubicBezTo>
                    <a:pt x="443" y="123"/>
                    <a:pt x="446" y="128"/>
                    <a:pt x="444" y="128"/>
                  </a:cubicBezTo>
                  <a:cubicBezTo>
                    <a:pt x="444" y="128"/>
                    <a:pt x="443" y="128"/>
                    <a:pt x="442" y="127"/>
                  </a:cubicBezTo>
                  <a:cubicBezTo>
                    <a:pt x="442" y="128"/>
                    <a:pt x="442" y="128"/>
                    <a:pt x="442" y="128"/>
                  </a:cubicBezTo>
                  <a:cubicBezTo>
                    <a:pt x="441" y="127"/>
                    <a:pt x="440" y="127"/>
                    <a:pt x="439" y="127"/>
                  </a:cubicBezTo>
                  <a:cubicBezTo>
                    <a:pt x="435" y="127"/>
                    <a:pt x="441" y="135"/>
                    <a:pt x="440" y="138"/>
                  </a:cubicBezTo>
                  <a:cubicBezTo>
                    <a:pt x="439" y="138"/>
                    <a:pt x="437" y="137"/>
                    <a:pt x="435" y="136"/>
                  </a:cubicBezTo>
                  <a:cubicBezTo>
                    <a:pt x="435" y="138"/>
                    <a:pt x="435" y="140"/>
                    <a:pt x="433" y="141"/>
                  </a:cubicBezTo>
                  <a:cubicBezTo>
                    <a:pt x="434" y="136"/>
                    <a:pt x="434" y="133"/>
                    <a:pt x="434" y="127"/>
                  </a:cubicBezTo>
                  <a:cubicBezTo>
                    <a:pt x="435" y="126"/>
                    <a:pt x="435" y="123"/>
                    <a:pt x="436" y="122"/>
                  </a:cubicBezTo>
                  <a:cubicBezTo>
                    <a:pt x="437" y="120"/>
                    <a:pt x="437" y="120"/>
                    <a:pt x="437" y="120"/>
                  </a:cubicBezTo>
                  <a:cubicBezTo>
                    <a:pt x="438" y="119"/>
                    <a:pt x="437" y="119"/>
                    <a:pt x="438" y="119"/>
                  </a:cubicBezTo>
                  <a:cubicBezTo>
                    <a:pt x="438" y="119"/>
                    <a:pt x="438" y="119"/>
                    <a:pt x="438" y="119"/>
                  </a:cubicBezTo>
                  <a:cubicBezTo>
                    <a:pt x="438" y="116"/>
                    <a:pt x="435" y="114"/>
                    <a:pt x="433" y="112"/>
                  </a:cubicBezTo>
                  <a:cubicBezTo>
                    <a:pt x="427" y="107"/>
                    <a:pt x="422" y="102"/>
                    <a:pt x="416" y="96"/>
                  </a:cubicBezTo>
                  <a:cubicBezTo>
                    <a:pt x="415" y="95"/>
                    <a:pt x="414" y="95"/>
                    <a:pt x="413" y="95"/>
                  </a:cubicBezTo>
                  <a:cubicBezTo>
                    <a:pt x="412" y="95"/>
                    <a:pt x="412" y="95"/>
                    <a:pt x="411" y="95"/>
                  </a:cubicBezTo>
                  <a:cubicBezTo>
                    <a:pt x="410" y="95"/>
                    <a:pt x="410" y="95"/>
                    <a:pt x="409" y="95"/>
                  </a:cubicBezTo>
                  <a:cubicBezTo>
                    <a:pt x="409" y="95"/>
                    <a:pt x="408" y="95"/>
                    <a:pt x="407" y="95"/>
                  </a:cubicBezTo>
                  <a:cubicBezTo>
                    <a:pt x="407" y="95"/>
                    <a:pt x="407" y="95"/>
                    <a:pt x="407" y="95"/>
                  </a:cubicBezTo>
                  <a:cubicBezTo>
                    <a:pt x="407" y="95"/>
                    <a:pt x="407" y="95"/>
                    <a:pt x="407" y="95"/>
                  </a:cubicBezTo>
                  <a:cubicBezTo>
                    <a:pt x="407" y="95"/>
                    <a:pt x="407" y="96"/>
                    <a:pt x="407" y="96"/>
                  </a:cubicBezTo>
                  <a:cubicBezTo>
                    <a:pt x="407" y="96"/>
                    <a:pt x="407" y="95"/>
                    <a:pt x="406" y="95"/>
                  </a:cubicBezTo>
                  <a:cubicBezTo>
                    <a:pt x="404" y="94"/>
                    <a:pt x="403" y="90"/>
                    <a:pt x="402" y="89"/>
                  </a:cubicBezTo>
                  <a:cubicBezTo>
                    <a:pt x="400" y="92"/>
                    <a:pt x="396" y="102"/>
                    <a:pt x="392" y="103"/>
                  </a:cubicBezTo>
                  <a:cubicBezTo>
                    <a:pt x="391" y="103"/>
                    <a:pt x="391" y="103"/>
                    <a:pt x="391" y="103"/>
                  </a:cubicBezTo>
                  <a:cubicBezTo>
                    <a:pt x="390" y="103"/>
                    <a:pt x="388" y="100"/>
                    <a:pt x="389" y="99"/>
                  </a:cubicBezTo>
                  <a:cubicBezTo>
                    <a:pt x="388" y="99"/>
                    <a:pt x="388" y="99"/>
                    <a:pt x="387" y="99"/>
                  </a:cubicBezTo>
                  <a:cubicBezTo>
                    <a:pt x="386" y="99"/>
                    <a:pt x="390" y="95"/>
                    <a:pt x="390" y="95"/>
                  </a:cubicBezTo>
                  <a:cubicBezTo>
                    <a:pt x="390" y="95"/>
                    <a:pt x="389" y="95"/>
                    <a:pt x="389" y="95"/>
                  </a:cubicBezTo>
                  <a:cubicBezTo>
                    <a:pt x="387" y="95"/>
                    <a:pt x="380" y="101"/>
                    <a:pt x="379" y="102"/>
                  </a:cubicBezTo>
                  <a:cubicBezTo>
                    <a:pt x="380" y="99"/>
                    <a:pt x="378" y="99"/>
                    <a:pt x="379" y="97"/>
                  </a:cubicBezTo>
                  <a:cubicBezTo>
                    <a:pt x="379" y="97"/>
                    <a:pt x="379" y="97"/>
                    <a:pt x="379" y="96"/>
                  </a:cubicBezTo>
                  <a:cubicBezTo>
                    <a:pt x="379" y="96"/>
                    <a:pt x="378" y="97"/>
                    <a:pt x="377" y="97"/>
                  </a:cubicBezTo>
                  <a:cubicBezTo>
                    <a:pt x="378" y="96"/>
                    <a:pt x="378" y="95"/>
                    <a:pt x="378" y="95"/>
                  </a:cubicBezTo>
                  <a:cubicBezTo>
                    <a:pt x="376" y="94"/>
                    <a:pt x="377" y="95"/>
                    <a:pt x="377" y="94"/>
                  </a:cubicBezTo>
                  <a:cubicBezTo>
                    <a:pt x="376" y="94"/>
                    <a:pt x="375" y="94"/>
                    <a:pt x="375" y="94"/>
                  </a:cubicBezTo>
                  <a:cubicBezTo>
                    <a:pt x="375" y="95"/>
                    <a:pt x="376" y="96"/>
                    <a:pt x="376" y="97"/>
                  </a:cubicBezTo>
                  <a:cubicBezTo>
                    <a:pt x="376" y="97"/>
                    <a:pt x="374" y="97"/>
                    <a:pt x="374" y="97"/>
                  </a:cubicBezTo>
                  <a:cubicBezTo>
                    <a:pt x="374" y="101"/>
                    <a:pt x="379" y="97"/>
                    <a:pt x="377" y="103"/>
                  </a:cubicBezTo>
                  <a:cubicBezTo>
                    <a:pt x="377" y="105"/>
                    <a:pt x="375" y="109"/>
                    <a:pt x="374" y="110"/>
                  </a:cubicBezTo>
                  <a:cubicBezTo>
                    <a:pt x="375" y="112"/>
                    <a:pt x="375" y="112"/>
                    <a:pt x="375" y="112"/>
                  </a:cubicBezTo>
                  <a:cubicBezTo>
                    <a:pt x="374" y="113"/>
                    <a:pt x="370" y="113"/>
                    <a:pt x="369" y="114"/>
                  </a:cubicBezTo>
                  <a:cubicBezTo>
                    <a:pt x="369" y="112"/>
                    <a:pt x="369" y="111"/>
                    <a:pt x="369" y="110"/>
                  </a:cubicBezTo>
                  <a:cubicBezTo>
                    <a:pt x="368" y="110"/>
                    <a:pt x="369" y="110"/>
                    <a:pt x="368" y="110"/>
                  </a:cubicBezTo>
                  <a:cubicBezTo>
                    <a:pt x="368" y="110"/>
                    <a:pt x="367" y="110"/>
                    <a:pt x="366" y="111"/>
                  </a:cubicBezTo>
                  <a:cubicBezTo>
                    <a:pt x="366" y="109"/>
                    <a:pt x="366" y="109"/>
                    <a:pt x="366" y="109"/>
                  </a:cubicBezTo>
                  <a:cubicBezTo>
                    <a:pt x="365" y="109"/>
                    <a:pt x="365" y="109"/>
                    <a:pt x="364" y="110"/>
                  </a:cubicBezTo>
                  <a:cubicBezTo>
                    <a:pt x="364" y="108"/>
                    <a:pt x="364" y="106"/>
                    <a:pt x="365" y="105"/>
                  </a:cubicBezTo>
                  <a:cubicBezTo>
                    <a:pt x="364" y="104"/>
                    <a:pt x="363" y="104"/>
                    <a:pt x="363" y="104"/>
                  </a:cubicBezTo>
                  <a:cubicBezTo>
                    <a:pt x="362" y="104"/>
                    <a:pt x="362" y="105"/>
                    <a:pt x="363" y="108"/>
                  </a:cubicBezTo>
                  <a:cubicBezTo>
                    <a:pt x="363" y="114"/>
                    <a:pt x="360" y="110"/>
                    <a:pt x="357" y="114"/>
                  </a:cubicBezTo>
                  <a:cubicBezTo>
                    <a:pt x="356" y="113"/>
                    <a:pt x="356" y="113"/>
                    <a:pt x="356" y="113"/>
                  </a:cubicBezTo>
                  <a:cubicBezTo>
                    <a:pt x="356" y="113"/>
                    <a:pt x="355" y="114"/>
                    <a:pt x="355" y="114"/>
                  </a:cubicBezTo>
                  <a:cubicBezTo>
                    <a:pt x="355" y="113"/>
                    <a:pt x="355" y="112"/>
                    <a:pt x="355" y="111"/>
                  </a:cubicBezTo>
                  <a:cubicBezTo>
                    <a:pt x="354" y="113"/>
                    <a:pt x="351" y="115"/>
                    <a:pt x="350" y="117"/>
                  </a:cubicBezTo>
                  <a:cubicBezTo>
                    <a:pt x="349" y="119"/>
                    <a:pt x="350" y="121"/>
                    <a:pt x="351" y="122"/>
                  </a:cubicBezTo>
                  <a:cubicBezTo>
                    <a:pt x="352" y="122"/>
                    <a:pt x="352" y="122"/>
                    <a:pt x="352" y="122"/>
                  </a:cubicBezTo>
                  <a:cubicBezTo>
                    <a:pt x="353" y="122"/>
                    <a:pt x="354" y="122"/>
                    <a:pt x="354" y="123"/>
                  </a:cubicBezTo>
                  <a:cubicBezTo>
                    <a:pt x="354" y="124"/>
                    <a:pt x="353" y="125"/>
                    <a:pt x="353" y="126"/>
                  </a:cubicBezTo>
                  <a:cubicBezTo>
                    <a:pt x="355" y="126"/>
                    <a:pt x="355" y="126"/>
                    <a:pt x="355" y="126"/>
                  </a:cubicBezTo>
                  <a:cubicBezTo>
                    <a:pt x="356" y="126"/>
                    <a:pt x="356" y="127"/>
                    <a:pt x="357" y="127"/>
                  </a:cubicBezTo>
                  <a:cubicBezTo>
                    <a:pt x="357" y="127"/>
                    <a:pt x="357" y="127"/>
                    <a:pt x="357" y="127"/>
                  </a:cubicBezTo>
                  <a:cubicBezTo>
                    <a:pt x="357" y="128"/>
                    <a:pt x="356" y="129"/>
                    <a:pt x="356" y="130"/>
                  </a:cubicBezTo>
                  <a:cubicBezTo>
                    <a:pt x="356" y="130"/>
                    <a:pt x="357" y="130"/>
                    <a:pt x="357" y="130"/>
                  </a:cubicBezTo>
                  <a:cubicBezTo>
                    <a:pt x="357" y="130"/>
                    <a:pt x="357" y="130"/>
                    <a:pt x="357" y="130"/>
                  </a:cubicBezTo>
                  <a:cubicBezTo>
                    <a:pt x="357" y="130"/>
                    <a:pt x="356" y="130"/>
                    <a:pt x="356" y="130"/>
                  </a:cubicBezTo>
                  <a:cubicBezTo>
                    <a:pt x="353" y="130"/>
                    <a:pt x="351" y="129"/>
                    <a:pt x="349" y="127"/>
                  </a:cubicBezTo>
                  <a:cubicBezTo>
                    <a:pt x="349" y="127"/>
                    <a:pt x="348" y="128"/>
                    <a:pt x="348" y="128"/>
                  </a:cubicBezTo>
                  <a:cubicBezTo>
                    <a:pt x="347" y="128"/>
                    <a:pt x="347" y="127"/>
                    <a:pt x="347" y="127"/>
                  </a:cubicBezTo>
                  <a:cubicBezTo>
                    <a:pt x="347" y="126"/>
                    <a:pt x="346" y="126"/>
                    <a:pt x="346" y="126"/>
                  </a:cubicBezTo>
                  <a:cubicBezTo>
                    <a:pt x="345" y="126"/>
                    <a:pt x="345" y="126"/>
                    <a:pt x="345" y="126"/>
                  </a:cubicBezTo>
                  <a:cubicBezTo>
                    <a:pt x="345" y="130"/>
                    <a:pt x="346" y="131"/>
                    <a:pt x="345" y="135"/>
                  </a:cubicBezTo>
                  <a:cubicBezTo>
                    <a:pt x="346" y="135"/>
                    <a:pt x="346" y="135"/>
                    <a:pt x="347" y="135"/>
                  </a:cubicBezTo>
                  <a:cubicBezTo>
                    <a:pt x="349" y="135"/>
                    <a:pt x="347" y="139"/>
                    <a:pt x="349" y="141"/>
                  </a:cubicBezTo>
                  <a:cubicBezTo>
                    <a:pt x="348" y="140"/>
                    <a:pt x="346" y="141"/>
                    <a:pt x="345" y="140"/>
                  </a:cubicBezTo>
                  <a:cubicBezTo>
                    <a:pt x="343" y="139"/>
                    <a:pt x="346" y="140"/>
                    <a:pt x="344" y="139"/>
                  </a:cubicBezTo>
                  <a:cubicBezTo>
                    <a:pt x="343" y="138"/>
                    <a:pt x="342" y="137"/>
                    <a:pt x="341" y="137"/>
                  </a:cubicBezTo>
                  <a:cubicBezTo>
                    <a:pt x="340" y="137"/>
                    <a:pt x="340" y="137"/>
                    <a:pt x="340" y="137"/>
                  </a:cubicBezTo>
                  <a:cubicBezTo>
                    <a:pt x="340" y="135"/>
                    <a:pt x="339" y="136"/>
                    <a:pt x="338" y="135"/>
                  </a:cubicBezTo>
                  <a:cubicBezTo>
                    <a:pt x="337" y="135"/>
                    <a:pt x="336" y="134"/>
                    <a:pt x="336" y="134"/>
                  </a:cubicBezTo>
                  <a:cubicBezTo>
                    <a:pt x="335" y="134"/>
                    <a:pt x="335" y="135"/>
                    <a:pt x="334" y="136"/>
                  </a:cubicBezTo>
                  <a:cubicBezTo>
                    <a:pt x="333" y="138"/>
                    <a:pt x="335" y="138"/>
                    <a:pt x="333" y="139"/>
                  </a:cubicBezTo>
                  <a:cubicBezTo>
                    <a:pt x="332" y="139"/>
                    <a:pt x="331" y="140"/>
                    <a:pt x="331" y="140"/>
                  </a:cubicBezTo>
                  <a:cubicBezTo>
                    <a:pt x="330" y="141"/>
                    <a:pt x="327" y="142"/>
                    <a:pt x="327" y="142"/>
                  </a:cubicBezTo>
                  <a:cubicBezTo>
                    <a:pt x="326" y="147"/>
                    <a:pt x="327" y="152"/>
                    <a:pt x="330" y="156"/>
                  </a:cubicBezTo>
                  <a:cubicBezTo>
                    <a:pt x="331" y="154"/>
                    <a:pt x="333" y="151"/>
                    <a:pt x="335" y="150"/>
                  </a:cubicBezTo>
                  <a:cubicBezTo>
                    <a:pt x="334" y="153"/>
                    <a:pt x="333" y="156"/>
                    <a:pt x="333" y="159"/>
                  </a:cubicBezTo>
                  <a:cubicBezTo>
                    <a:pt x="332" y="159"/>
                    <a:pt x="330" y="158"/>
                    <a:pt x="329" y="158"/>
                  </a:cubicBezTo>
                  <a:cubicBezTo>
                    <a:pt x="329" y="158"/>
                    <a:pt x="328" y="158"/>
                    <a:pt x="328" y="159"/>
                  </a:cubicBezTo>
                  <a:cubicBezTo>
                    <a:pt x="328" y="160"/>
                    <a:pt x="327" y="163"/>
                    <a:pt x="327" y="165"/>
                  </a:cubicBezTo>
                  <a:cubicBezTo>
                    <a:pt x="327" y="166"/>
                    <a:pt x="328" y="166"/>
                    <a:pt x="328" y="166"/>
                  </a:cubicBezTo>
                  <a:cubicBezTo>
                    <a:pt x="329" y="166"/>
                    <a:pt x="329" y="166"/>
                    <a:pt x="329" y="166"/>
                  </a:cubicBezTo>
                  <a:cubicBezTo>
                    <a:pt x="330" y="166"/>
                    <a:pt x="330" y="166"/>
                    <a:pt x="331" y="166"/>
                  </a:cubicBezTo>
                  <a:cubicBezTo>
                    <a:pt x="331" y="166"/>
                    <a:pt x="331" y="166"/>
                    <a:pt x="331" y="166"/>
                  </a:cubicBezTo>
                  <a:cubicBezTo>
                    <a:pt x="334" y="166"/>
                    <a:pt x="338" y="168"/>
                    <a:pt x="341" y="168"/>
                  </a:cubicBezTo>
                  <a:cubicBezTo>
                    <a:pt x="340" y="168"/>
                    <a:pt x="339" y="168"/>
                    <a:pt x="338" y="168"/>
                  </a:cubicBezTo>
                  <a:cubicBezTo>
                    <a:pt x="336" y="168"/>
                    <a:pt x="333" y="168"/>
                    <a:pt x="331" y="168"/>
                  </a:cubicBezTo>
                  <a:cubicBezTo>
                    <a:pt x="330" y="168"/>
                    <a:pt x="329" y="168"/>
                    <a:pt x="328" y="167"/>
                  </a:cubicBezTo>
                  <a:cubicBezTo>
                    <a:pt x="328" y="167"/>
                    <a:pt x="328" y="167"/>
                    <a:pt x="327" y="167"/>
                  </a:cubicBezTo>
                  <a:cubicBezTo>
                    <a:pt x="326" y="167"/>
                    <a:pt x="324" y="168"/>
                    <a:pt x="323" y="168"/>
                  </a:cubicBezTo>
                  <a:cubicBezTo>
                    <a:pt x="323" y="168"/>
                    <a:pt x="323" y="168"/>
                    <a:pt x="323" y="168"/>
                  </a:cubicBezTo>
                  <a:cubicBezTo>
                    <a:pt x="321" y="168"/>
                    <a:pt x="321" y="165"/>
                    <a:pt x="319" y="164"/>
                  </a:cubicBezTo>
                  <a:cubicBezTo>
                    <a:pt x="318" y="163"/>
                    <a:pt x="315" y="163"/>
                    <a:pt x="313" y="163"/>
                  </a:cubicBezTo>
                  <a:cubicBezTo>
                    <a:pt x="315" y="164"/>
                    <a:pt x="315" y="166"/>
                    <a:pt x="316" y="167"/>
                  </a:cubicBezTo>
                  <a:cubicBezTo>
                    <a:pt x="315" y="167"/>
                    <a:pt x="314" y="167"/>
                    <a:pt x="313" y="167"/>
                  </a:cubicBezTo>
                  <a:cubicBezTo>
                    <a:pt x="313" y="167"/>
                    <a:pt x="312" y="167"/>
                    <a:pt x="311" y="167"/>
                  </a:cubicBezTo>
                  <a:cubicBezTo>
                    <a:pt x="313" y="165"/>
                    <a:pt x="310" y="166"/>
                    <a:pt x="310" y="165"/>
                  </a:cubicBezTo>
                  <a:cubicBezTo>
                    <a:pt x="310" y="165"/>
                    <a:pt x="309" y="165"/>
                    <a:pt x="309" y="164"/>
                  </a:cubicBezTo>
                  <a:cubicBezTo>
                    <a:pt x="308" y="163"/>
                    <a:pt x="309" y="163"/>
                    <a:pt x="309" y="163"/>
                  </a:cubicBezTo>
                  <a:cubicBezTo>
                    <a:pt x="309" y="161"/>
                    <a:pt x="308" y="161"/>
                    <a:pt x="307" y="161"/>
                  </a:cubicBezTo>
                  <a:cubicBezTo>
                    <a:pt x="306" y="161"/>
                    <a:pt x="305" y="161"/>
                    <a:pt x="305" y="161"/>
                  </a:cubicBezTo>
                  <a:cubicBezTo>
                    <a:pt x="305" y="163"/>
                    <a:pt x="308" y="166"/>
                    <a:pt x="307" y="167"/>
                  </a:cubicBezTo>
                  <a:cubicBezTo>
                    <a:pt x="307" y="168"/>
                    <a:pt x="306" y="168"/>
                    <a:pt x="305" y="168"/>
                  </a:cubicBezTo>
                  <a:cubicBezTo>
                    <a:pt x="305" y="168"/>
                    <a:pt x="304" y="168"/>
                    <a:pt x="304" y="168"/>
                  </a:cubicBezTo>
                  <a:cubicBezTo>
                    <a:pt x="303" y="168"/>
                    <a:pt x="303" y="168"/>
                    <a:pt x="302" y="168"/>
                  </a:cubicBezTo>
                  <a:cubicBezTo>
                    <a:pt x="302" y="168"/>
                    <a:pt x="302" y="168"/>
                    <a:pt x="302" y="168"/>
                  </a:cubicBezTo>
                  <a:cubicBezTo>
                    <a:pt x="303" y="169"/>
                    <a:pt x="304" y="170"/>
                    <a:pt x="306" y="170"/>
                  </a:cubicBezTo>
                  <a:cubicBezTo>
                    <a:pt x="305" y="171"/>
                    <a:pt x="304" y="171"/>
                    <a:pt x="304" y="171"/>
                  </a:cubicBezTo>
                  <a:cubicBezTo>
                    <a:pt x="303" y="171"/>
                    <a:pt x="303" y="171"/>
                    <a:pt x="302" y="170"/>
                  </a:cubicBezTo>
                  <a:cubicBezTo>
                    <a:pt x="302" y="170"/>
                    <a:pt x="301" y="170"/>
                    <a:pt x="301" y="170"/>
                  </a:cubicBezTo>
                  <a:cubicBezTo>
                    <a:pt x="300" y="170"/>
                    <a:pt x="300" y="170"/>
                    <a:pt x="299" y="171"/>
                  </a:cubicBezTo>
                  <a:cubicBezTo>
                    <a:pt x="300" y="172"/>
                    <a:pt x="301" y="172"/>
                    <a:pt x="302" y="172"/>
                  </a:cubicBezTo>
                  <a:cubicBezTo>
                    <a:pt x="303" y="172"/>
                    <a:pt x="303" y="172"/>
                    <a:pt x="303" y="172"/>
                  </a:cubicBezTo>
                  <a:cubicBezTo>
                    <a:pt x="303" y="172"/>
                    <a:pt x="303" y="172"/>
                    <a:pt x="303" y="172"/>
                  </a:cubicBezTo>
                  <a:cubicBezTo>
                    <a:pt x="303" y="172"/>
                    <a:pt x="303" y="172"/>
                    <a:pt x="303" y="172"/>
                  </a:cubicBezTo>
                  <a:cubicBezTo>
                    <a:pt x="305" y="174"/>
                    <a:pt x="303" y="173"/>
                    <a:pt x="304" y="176"/>
                  </a:cubicBezTo>
                  <a:cubicBezTo>
                    <a:pt x="305" y="177"/>
                    <a:pt x="307" y="178"/>
                    <a:pt x="307" y="179"/>
                  </a:cubicBezTo>
                  <a:cubicBezTo>
                    <a:pt x="308" y="180"/>
                    <a:pt x="308" y="182"/>
                    <a:pt x="310" y="183"/>
                  </a:cubicBezTo>
                  <a:cubicBezTo>
                    <a:pt x="310" y="183"/>
                    <a:pt x="310" y="183"/>
                    <a:pt x="310" y="183"/>
                  </a:cubicBezTo>
                  <a:cubicBezTo>
                    <a:pt x="311" y="183"/>
                    <a:pt x="314" y="181"/>
                    <a:pt x="314" y="180"/>
                  </a:cubicBezTo>
                  <a:cubicBezTo>
                    <a:pt x="314" y="185"/>
                    <a:pt x="307" y="189"/>
                    <a:pt x="313" y="192"/>
                  </a:cubicBezTo>
                  <a:cubicBezTo>
                    <a:pt x="311" y="191"/>
                    <a:pt x="307" y="188"/>
                    <a:pt x="306" y="186"/>
                  </a:cubicBezTo>
                  <a:cubicBezTo>
                    <a:pt x="303" y="189"/>
                    <a:pt x="306" y="189"/>
                    <a:pt x="305" y="191"/>
                  </a:cubicBezTo>
                  <a:cubicBezTo>
                    <a:pt x="305" y="193"/>
                    <a:pt x="304" y="195"/>
                    <a:pt x="304" y="196"/>
                  </a:cubicBezTo>
                  <a:cubicBezTo>
                    <a:pt x="303" y="199"/>
                    <a:pt x="304" y="201"/>
                    <a:pt x="304" y="204"/>
                  </a:cubicBezTo>
                  <a:cubicBezTo>
                    <a:pt x="300" y="198"/>
                    <a:pt x="298" y="191"/>
                    <a:pt x="294" y="186"/>
                  </a:cubicBezTo>
                  <a:cubicBezTo>
                    <a:pt x="293" y="185"/>
                    <a:pt x="292" y="184"/>
                    <a:pt x="292" y="184"/>
                  </a:cubicBezTo>
                  <a:cubicBezTo>
                    <a:pt x="291" y="182"/>
                    <a:pt x="289" y="178"/>
                    <a:pt x="290" y="177"/>
                  </a:cubicBezTo>
                  <a:cubicBezTo>
                    <a:pt x="290" y="177"/>
                    <a:pt x="290" y="177"/>
                    <a:pt x="289" y="177"/>
                  </a:cubicBezTo>
                  <a:cubicBezTo>
                    <a:pt x="288" y="177"/>
                    <a:pt x="288" y="176"/>
                    <a:pt x="288" y="175"/>
                  </a:cubicBezTo>
                  <a:cubicBezTo>
                    <a:pt x="286" y="173"/>
                    <a:pt x="286" y="175"/>
                    <a:pt x="286" y="172"/>
                  </a:cubicBezTo>
                  <a:cubicBezTo>
                    <a:pt x="287" y="171"/>
                    <a:pt x="288" y="168"/>
                    <a:pt x="287" y="167"/>
                  </a:cubicBezTo>
                  <a:cubicBezTo>
                    <a:pt x="287" y="167"/>
                    <a:pt x="287" y="167"/>
                    <a:pt x="286" y="167"/>
                  </a:cubicBezTo>
                  <a:cubicBezTo>
                    <a:pt x="284" y="167"/>
                    <a:pt x="281" y="178"/>
                    <a:pt x="281" y="179"/>
                  </a:cubicBezTo>
                  <a:cubicBezTo>
                    <a:pt x="277" y="180"/>
                    <a:pt x="271" y="178"/>
                    <a:pt x="275" y="185"/>
                  </a:cubicBezTo>
                  <a:cubicBezTo>
                    <a:pt x="274" y="184"/>
                    <a:pt x="273" y="184"/>
                    <a:pt x="272" y="184"/>
                  </a:cubicBezTo>
                  <a:cubicBezTo>
                    <a:pt x="266" y="184"/>
                    <a:pt x="261" y="199"/>
                    <a:pt x="262" y="203"/>
                  </a:cubicBezTo>
                  <a:cubicBezTo>
                    <a:pt x="262" y="205"/>
                    <a:pt x="263" y="207"/>
                    <a:pt x="263" y="209"/>
                  </a:cubicBezTo>
                  <a:cubicBezTo>
                    <a:pt x="264" y="211"/>
                    <a:pt x="263" y="213"/>
                    <a:pt x="263" y="216"/>
                  </a:cubicBezTo>
                  <a:cubicBezTo>
                    <a:pt x="264" y="215"/>
                    <a:pt x="265" y="215"/>
                    <a:pt x="266" y="215"/>
                  </a:cubicBezTo>
                  <a:cubicBezTo>
                    <a:pt x="267" y="215"/>
                    <a:pt x="269" y="216"/>
                    <a:pt x="268" y="218"/>
                  </a:cubicBezTo>
                  <a:cubicBezTo>
                    <a:pt x="267" y="222"/>
                    <a:pt x="257" y="226"/>
                    <a:pt x="254" y="229"/>
                  </a:cubicBezTo>
                  <a:cubicBezTo>
                    <a:pt x="252" y="231"/>
                    <a:pt x="252" y="231"/>
                    <a:pt x="251" y="234"/>
                  </a:cubicBezTo>
                  <a:cubicBezTo>
                    <a:pt x="251" y="237"/>
                    <a:pt x="248" y="238"/>
                    <a:pt x="247" y="240"/>
                  </a:cubicBezTo>
                  <a:cubicBezTo>
                    <a:pt x="244" y="245"/>
                    <a:pt x="243" y="250"/>
                    <a:pt x="239" y="254"/>
                  </a:cubicBezTo>
                  <a:cubicBezTo>
                    <a:pt x="229" y="268"/>
                    <a:pt x="208" y="271"/>
                    <a:pt x="192" y="276"/>
                  </a:cubicBezTo>
                  <a:cubicBezTo>
                    <a:pt x="191" y="276"/>
                    <a:pt x="189" y="278"/>
                    <a:pt x="188" y="278"/>
                  </a:cubicBezTo>
                  <a:cubicBezTo>
                    <a:pt x="188" y="278"/>
                    <a:pt x="188" y="278"/>
                    <a:pt x="187" y="278"/>
                  </a:cubicBezTo>
                  <a:cubicBezTo>
                    <a:pt x="185" y="278"/>
                    <a:pt x="182" y="276"/>
                    <a:pt x="180" y="276"/>
                  </a:cubicBezTo>
                  <a:cubicBezTo>
                    <a:pt x="179" y="276"/>
                    <a:pt x="179" y="276"/>
                    <a:pt x="178" y="276"/>
                  </a:cubicBezTo>
                  <a:cubicBezTo>
                    <a:pt x="175" y="276"/>
                    <a:pt x="173" y="279"/>
                    <a:pt x="170" y="281"/>
                  </a:cubicBezTo>
                  <a:cubicBezTo>
                    <a:pt x="165" y="284"/>
                    <a:pt x="162" y="285"/>
                    <a:pt x="156" y="286"/>
                  </a:cubicBezTo>
                  <a:cubicBezTo>
                    <a:pt x="154" y="286"/>
                    <a:pt x="151" y="287"/>
                    <a:pt x="148" y="287"/>
                  </a:cubicBezTo>
                  <a:cubicBezTo>
                    <a:pt x="148" y="287"/>
                    <a:pt x="147" y="287"/>
                    <a:pt x="147" y="287"/>
                  </a:cubicBezTo>
                  <a:cubicBezTo>
                    <a:pt x="143" y="289"/>
                    <a:pt x="140" y="292"/>
                    <a:pt x="136" y="295"/>
                  </a:cubicBezTo>
                  <a:cubicBezTo>
                    <a:pt x="133" y="297"/>
                    <a:pt x="126" y="297"/>
                    <a:pt x="122" y="297"/>
                  </a:cubicBezTo>
                  <a:cubicBezTo>
                    <a:pt x="122" y="297"/>
                    <a:pt x="121" y="297"/>
                    <a:pt x="121" y="297"/>
                  </a:cubicBezTo>
                  <a:cubicBezTo>
                    <a:pt x="120" y="297"/>
                    <a:pt x="119" y="297"/>
                    <a:pt x="118" y="296"/>
                  </a:cubicBezTo>
                  <a:cubicBezTo>
                    <a:pt x="117" y="296"/>
                    <a:pt x="117" y="295"/>
                    <a:pt x="117" y="295"/>
                  </a:cubicBezTo>
                  <a:cubicBezTo>
                    <a:pt x="117" y="295"/>
                    <a:pt x="117" y="295"/>
                    <a:pt x="117" y="295"/>
                  </a:cubicBezTo>
                  <a:cubicBezTo>
                    <a:pt x="117" y="294"/>
                    <a:pt x="117" y="294"/>
                    <a:pt x="117" y="294"/>
                  </a:cubicBezTo>
                  <a:cubicBezTo>
                    <a:pt x="116" y="294"/>
                    <a:pt x="114" y="295"/>
                    <a:pt x="112" y="295"/>
                  </a:cubicBezTo>
                  <a:cubicBezTo>
                    <a:pt x="111" y="296"/>
                    <a:pt x="109" y="296"/>
                    <a:pt x="108" y="296"/>
                  </a:cubicBezTo>
                  <a:cubicBezTo>
                    <a:pt x="106" y="296"/>
                    <a:pt x="106" y="295"/>
                    <a:pt x="108" y="292"/>
                  </a:cubicBezTo>
                  <a:cubicBezTo>
                    <a:pt x="108" y="292"/>
                    <a:pt x="108" y="292"/>
                    <a:pt x="108" y="292"/>
                  </a:cubicBezTo>
                  <a:cubicBezTo>
                    <a:pt x="105" y="292"/>
                    <a:pt x="101" y="296"/>
                    <a:pt x="99" y="298"/>
                  </a:cubicBezTo>
                  <a:cubicBezTo>
                    <a:pt x="91" y="304"/>
                    <a:pt x="82" y="310"/>
                    <a:pt x="74" y="316"/>
                  </a:cubicBezTo>
                  <a:cubicBezTo>
                    <a:pt x="67" y="321"/>
                    <a:pt x="59" y="324"/>
                    <a:pt x="52" y="328"/>
                  </a:cubicBezTo>
                  <a:cubicBezTo>
                    <a:pt x="50" y="329"/>
                    <a:pt x="46" y="330"/>
                    <a:pt x="45" y="332"/>
                  </a:cubicBezTo>
                  <a:cubicBezTo>
                    <a:pt x="40" y="335"/>
                    <a:pt x="39" y="344"/>
                    <a:pt x="37" y="349"/>
                  </a:cubicBezTo>
                  <a:cubicBezTo>
                    <a:pt x="36" y="349"/>
                    <a:pt x="37" y="350"/>
                    <a:pt x="36" y="351"/>
                  </a:cubicBezTo>
                  <a:cubicBezTo>
                    <a:pt x="35" y="352"/>
                    <a:pt x="31" y="352"/>
                    <a:pt x="30" y="353"/>
                  </a:cubicBezTo>
                  <a:cubicBezTo>
                    <a:pt x="28" y="346"/>
                    <a:pt x="28" y="339"/>
                    <a:pt x="26" y="332"/>
                  </a:cubicBezTo>
                  <a:cubicBezTo>
                    <a:pt x="23" y="336"/>
                    <a:pt x="22" y="341"/>
                    <a:pt x="20" y="347"/>
                  </a:cubicBezTo>
                  <a:cubicBezTo>
                    <a:pt x="19" y="349"/>
                    <a:pt x="16" y="352"/>
                    <a:pt x="16" y="354"/>
                  </a:cubicBezTo>
                  <a:cubicBezTo>
                    <a:pt x="15" y="357"/>
                    <a:pt x="19" y="362"/>
                    <a:pt x="20" y="366"/>
                  </a:cubicBezTo>
                  <a:cubicBezTo>
                    <a:pt x="20" y="370"/>
                    <a:pt x="20" y="380"/>
                    <a:pt x="18" y="383"/>
                  </a:cubicBezTo>
                  <a:cubicBezTo>
                    <a:pt x="17" y="386"/>
                    <a:pt x="14" y="386"/>
                    <a:pt x="13" y="389"/>
                  </a:cubicBezTo>
                  <a:cubicBezTo>
                    <a:pt x="11" y="392"/>
                    <a:pt x="11" y="395"/>
                    <a:pt x="9" y="398"/>
                  </a:cubicBezTo>
                  <a:cubicBezTo>
                    <a:pt x="9" y="400"/>
                    <a:pt x="8" y="402"/>
                    <a:pt x="8" y="405"/>
                  </a:cubicBezTo>
                  <a:cubicBezTo>
                    <a:pt x="8" y="411"/>
                    <a:pt x="13" y="418"/>
                    <a:pt x="16" y="424"/>
                  </a:cubicBezTo>
                  <a:cubicBezTo>
                    <a:pt x="20" y="432"/>
                    <a:pt x="24" y="441"/>
                    <a:pt x="27" y="449"/>
                  </a:cubicBezTo>
                  <a:cubicBezTo>
                    <a:pt x="28" y="451"/>
                    <a:pt x="31" y="452"/>
                    <a:pt x="32" y="454"/>
                  </a:cubicBezTo>
                  <a:cubicBezTo>
                    <a:pt x="33" y="456"/>
                    <a:pt x="32" y="457"/>
                    <a:pt x="32" y="460"/>
                  </a:cubicBezTo>
                  <a:cubicBezTo>
                    <a:pt x="31" y="465"/>
                    <a:pt x="29" y="468"/>
                    <a:pt x="26" y="472"/>
                  </a:cubicBezTo>
                  <a:cubicBezTo>
                    <a:pt x="22" y="468"/>
                    <a:pt x="23" y="462"/>
                    <a:pt x="21" y="458"/>
                  </a:cubicBezTo>
                  <a:cubicBezTo>
                    <a:pt x="21" y="460"/>
                    <a:pt x="20" y="466"/>
                    <a:pt x="18" y="466"/>
                  </a:cubicBezTo>
                  <a:cubicBezTo>
                    <a:pt x="18" y="466"/>
                    <a:pt x="17" y="465"/>
                    <a:pt x="17" y="465"/>
                  </a:cubicBezTo>
                  <a:cubicBezTo>
                    <a:pt x="14" y="462"/>
                    <a:pt x="18" y="457"/>
                    <a:pt x="17" y="454"/>
                  </a:cubicBezTo>
                  <a:cubicBezTo>
                    <a:pt x="15" y="450"/>
                    <a:pt x="11" y="449"/>
                    <a:pt x="11" y="444"/>
                  </a:cubicBezTo>
                  <a:cubicBezTo>
                    <a:pt x="9" y="448"/>
                    <a:pt x="7" y="448"/>
                    <a:pt x="9" y="452"/>
                  </a:cubicBezTo>
                  <a:cubicBezTo>
                    <a:pt x="12" y="457"/>
                    <a:pt x="14" y="463"/>
                    <a:pt x="18" y="466"/>
                  </a:cubicBezTo>
                  <a:cubicBezTo>
                    <a:pt x="18" y="467"/>
                    <a:pt x="19" y="467"/>
                    <a:pt x="20" y="468"/>
                  </a:cubicBezTo>
                  <a:cubicBezTo>
                    <a:pt x="21" y="469"/>
                    <a:pt x="21" y="470"/>
                    <a:pt x="21" y="471"/>
                  </a:cubicBezTo>
                  <a:cubicBezTo>
                    <a:pt x="21" y="473"/>
                    <a:pt x="20" y="477"/>
                    <a:pt x="19" y="478"/>
                  </a:cubicBezTo>
                  <a:cubicBezTo>
                    <a:pt x="19" y="478"/>
                    <a:pt x="19" y="478"/>
                    <a:pt x="19" y="478"/>
                  </a:cubicBezTo>
                  <a:cubicBezTo>
                    <a:pt x="19" y="478"/>
                    <a:pt x="19" y="478"/>
                    <a:pt x="19" y="478"/>
                  </a:cubicBezTo>
                  <a:cubicBezTo>
                    <a:pt x="19" y="478"/>
                    <a:pt x="18" y="478"/>
                    <a:pt x="18" y="478"/>
                  </a:cubicBezTo>
                  <a:cubicBezTo>
                    <a:pt x="18" y="478"/>
                    <a:pt x="18" y="478"/>
                    <a:pt x="18" y="478"/>
                  </a:cubicBezTo>
                  <a:cubicBezTo>
                    <a:pt x="17" y="479"/>
                    <a:pt x="16" y="479"/>
                    <a:pt x="16" y="479"/>
                  </a:cubicBezTo>
                  <a:cubicBezTo>
                    <a:pt x="14" y="479"/>
                    <a:pt x="14" y="478"/>
                    <a:pt x="14" y="475"/>
                  </a:cubicBezTo>
                  <a:cubicBezTo>
                    <a:pt x="13" y="476"/>
                    <a:pt x="13" y="477"/>
                    <a:pt x="13" y="479"/>
                  </a:cubicBezTo>
                  <a:cubicBezTo>
                    <a:pt x="11" y="475"/>
                    <a:pt x="12" y="472"/>
                    <a:pt x="11" y="468"/>
                  </a:cubicBezTo>
                  <a:cubicBezTo>
                    <a:pt x="11" y="469"/>
                    <a:pt x="10" y="471"/>
                    <a:pt x="10" y="472"/>
                  </a:cubicBezTo>
                  <a:cubicBezTo>
                    <a:pt x="10" y="469"/>
                    <a:pt x="9" y="466"/>
                    <a:pt x="8" y="464"/>
                  </a:cubicBezTo>
                  <a:cubicBezTo>
                    <a:pt x="8" y="465"/>
                    <a:pt x="8" y="465"/>
                    <a:pt x="8" y="465"/>
                  </a:cubicBezTo>
                  <a:cubicBezTo>
                    <a:pt x="7" y="463"/>
                    <a:pt x="7" y="462"/>
                    <a:pt x="7" y="460"/>
                  </a:cubicBezTo>
                  <a:cubicBezTo>
                    <a:pt x="6" y="464"/>
                    <a:pt x="6" y="468"/>
                    <a:pt x="7" y="472"/>
                  </a:cubicBezTo>
                  <a:cubicBezTo>
                    <a:pt x="4" y="469"/>
                    <a:pt x="5" y="464"/>
                    <a:pt x="5" y="460"/>
                  </a:cubicBezTo>
                  <a:cubicBezTo>
                    <a:pt x="4" y="462"/>
                    <a:pt x="4" y="464"/>
                    <a:pt x="4" y="466"/>
                  </a:cubicBezTo>
                  <a:cubicBezTo>
                    <a:pt x="3" y="465"/>
                    <a:pt x="2" y="464"/>
                    <a:pt x="0" y="464"/>
                  </a:cubicBezTo>
                  <a:cubicBezTo>
                    <a:pt x="6" y="472"/>
                    <a:pt x="11" y="480"/>
                    <a:pt x="16" y="487"/>
                  </a:cubicBezTo>
                  <a:cubicBezTo>
                    <a:pt x="19" y="491"/>
                    <a:pt x="21" y="495"/>
                    <a:pt x="24" y="498"/>
                  </a:cubicBezTo>
                  <a:cubicBezTo>
                    <a:pt x="26" y="501"/>
                    <a:pt x="26" y="506"/>
                    <a:pt x="27" y="509"/>
                  </a:cubicBezTo>
                  <a:cubicBezTo>
                    <a:pt x="28" y="514"/>
                    <a:pt x="28" y="519"/>
                    <a:pt x="30" y="523"/>
                  </a:cubicBezTo>
                  <a:cubicBezTo>
                    <a:pt x="34" y="536"/>
                    <a:pt x="48" y="546"/>
                    <a:pt x="50" y="560"/>
                  </a:cubicBezTo>
                  <a:cubicBezTo>
                    <a:pt x="52" y="569"/>
                    <a:pt x="52" y="578"/>
                    <a:pt x="53" y="587"/>
                  </a:cubicBezTo>
                  <a:cubicBezTo>
                    <a:pt x="55" y="596"/>
                    <a:pt x="59" y="604"/>
                    <a:pt x="61" y="613"/>
                  </a:cubicBezTo>
                  <a:cubicBezTo>
                    <a:pt x="65" y="622"/>
                    <a:pt x="70" y="631"/>
                    <a:pt x="74" y="641"/>
                  </a:cubicBezTo>
                  <a:cubicBezTo>
                    <a:pt x="75" y="640"/>
                    <a:pt x="77" y="639"/>
                    <a:pt x="79" y="639"/>
                  </a:cubicBezTo>
                  <a:cubicBezTo>
                    <a:pt x="83" y="639"/>
                    <a:pt x="87" y="643"/>
                    <a:pt x="87" y="647"/>
                  </a:cubicBezTo>
                  <a:cubicBezTo>
                    <a:pt x="87" y="651"/>
                    <a:pt x="83" y="655"/>
                    <a:pt x="79" y="655"/>
                  </a:cubicBezTo>
                  <a:cubicBezTo>
                    <a:pt x="78" y="655"/>
                    <a:pt x="77" y="655"/>
                    <a:pt x="77" y="655"/>
                  </a:cubicBezTo>
                  <a:cubicBezTo>
                    <a:pt x="77" y="661"/>
                    <a:pt x="77" y="669"/>
                    <a:pt x="75" y="674"/>
                  </a:cubicBezTo>
                  <a:cubicBezTo>
                    <a:pt x="74" y="672"/>
                    <a:pt x="73" y="671"/>
                    <a:pt x="73" y="668"/>
                  </a:cubicBezTo>
                  <a:cubicBezTo>
                    <a:pt x="71" y="671"/>
                    <a:pt x="72" y="674"/>
                    <a:pt x="73" y="676"/>
                  </a:cubicBezTo>
                  <a:cubicBezTo>
                    <a:pt x="74" y="682"/>
                    <a:pt x="76" y="691"/>
                    <a:pt x="71" y="695"/>
                  </a:cubicBezTo>
                  <a:cubicBezTo>
                    <a:pt x="69" y="697"/>
                    <a:pt x="61" y="701"/>
                    <a:pt x="58" y="701"/>
                  </a:cubicBezTo>
                  <a:cubicBezTo>
                    <a:pt x="58" y="701"/>
                    <a:pt x="57" y="701"/>
                    <a:pt x="57" y="701"/>
                  </a:cubicBezTo>
                  <a:cubicBezTo>
                    <a:pt x="57" y="701"/>
                    <a:pt x="56" y="699"/>
                    <a:pt x="55" y="698"/>
                  </a:cubicBezTo>
                  <a:cubicBezTo>
                    <a:pt x="53" y="704"/>
                    <a:pt x="53" y="712"/>
                    <a:pt x="54" y="717"/>
                  </a:cubicBezTo>
                  <a:cubicBezTo>
                    <a:pt x="54" y="718"/>
                    <a:pt x="54" y="721"/>
                    <a:pt x="55" y="721"/>
                  </a:cubicBezTo>
                  <a:cubicBezTo>
                    <a:pt x="56" y="724"/>
                    <a:pt x="61" y="726"/>
                    <a:pt x="65" y="728"/>
                  </a:cubicBezTo>
                  <a:cubicBezTo>
                    <a:pt x="72" y="731"/>
                    <a:pt x="78" y="734"/>
                    <a:pt x="83" y="740"/>
                  </a:cubicBezTo>
                  <a:cubicBezTo>
                    <a:pt x="87" y="744"/>
                    <a:pt x="95" y="746"/>
                    <a:pt x="101" y="748"/>
                  </a:cubicBezTo>
                  <a:cubicBezTo>
                    <a:pt x="102" y="748"/>
                    <a:pt x="103" y="748"/>
                    <a:pt x="105" y="748"/>
                  </a:cubicBezTo>
                  <a:cubicBezTo>
                    <a:pt x="106" y="748"/>
                    <a:pt x="108" y="748"/>
                    <a:pt x="110" y="748"/>
                  </a:cubicBezTo>
                  <a:cubicBezTo>
                    <a:pt x="112" y="748"/>
                    <a:pt x="114" y="747"/>
                    <a:pt x="116" y="747"/>
                  </a:cubicBezTo>
                  <a:cubicBezTo>
                    <a:pt x="117" y="747"/>
                    <a:pt x="117" y="747"/>
                    <a:pt x="118" y="747"/>
                  </a:cubicBezTo>
                  <a:cubicBezTo>
                    <a:pt x="126" y="748"/>
                    <a:pt x="134" y="749"/>
                    <a:pt x="142" y="750"/>
                  </a:cubicBezTo>
                  <a:cubicBezTo>
                    <a:pt x="140" y="749"/>
                    <a:pt x="138" y="749"/>
                    <a:pt x="137" y="748"/>
                  </a:cubicBezTo>
                  <a:cubicBezTo>
                    <a:pt x="141" y="747"/>
                    <a:pt x="146" y="748"/>
                    <a:pt x="150" y="746"/>
                  </a:cubicBezTo>
                  <a:cubicBezTo>
                    <a:pt x="157" y="740"/>
                    <a:pt x="164" y="735"/>
                    <a:pt x="171" y="729"/>
                  </a:cubicBezTo>
                  <a:cubicBezTo>
                    <a:pt x="171" y="729"/>
                    <a:pt x="171" y="729"/>
                    <a:pt x="171" y="729"/>
                  </a:cubicBezTo>
                  <a:cubicBezTo>
                    <a:pt x="172" y="729"/>
                    <a:pt x="174" y="729"/>
                    <a:pt x="175" y="730"/>
                  </a:cubicBezTo>
                  <a:cubicBezTo>
                    <a:pt x="176" y="731"/>
                    <a:pt x="177" y="731"/>
                    <a:pt x="178" y="731"/>
                  </a:cubicBezTo>
                  <a:cubicBezTo>
                    <a:pt x="178" y="731"/>
                    <a:pt x="178" y="731"/>
                    <a:pt x="178" y="731"/>
                  </a:cubicBezTo>
                  <a:cubicBezTo>
                    <a:pt x="179" y="731"/>
                    <a:pt x="181" y="730"/>
                    <a:pt x="182" y="730"/>
                  </a:cubicBezTo>
                  <a:cubicBezTo>
                    <a:pt x="187" y="727"/>
                    <a:pt x="184" y="727"/>
                    <a:pt x="184" y="724"/>
                  </a:cubicBezTo>
                  <a:cubicBezTo>
                    <a:pt x="186" y="718"/>
                    <a:pt x="192" y="716"/>
                    <a:pt x="197" y="715"/>
                  </a:cubicBezTo>
                  <a:cubicBezTo>
                    <a:pt x="206" y="713"/>
                    <a:pt x="215" y="710"/>
                    <a:pt x="225" y="709"/>
                  </a:cubicBezTo>
                  <a:cubicBezTo>
                    <a:pt x="229" y="709"/>
                    <a:pt x="234" y="709"/>
                    <a:pt x="238" y="709"/>
                  </a:cubicBezTo>
                  <a:cubicBezTo>
                    <a:pt x="242" y="709"/>
                    <a:pt x="245" y="709"/>
                    <a:pt x="249" y="710"/>
                  </a:cubicBezTo>
                  <a:cubicBezTo>
                    <a:pt x="250" y="710"/>
                    <a:pt x="250" y="710"/>
                    <a:pt x="251" y="710"/>
                  </a:cubicBezTo>
                  <a:cubicBezTo>
                    <a:pt x="252" y="710"/>
                    <a:pt x="253" y="710"/>
                    <a:pt x="254" y="710"/>
                  </a:cubicBezTo>
                  <a:cubicBezTo>
                    <a:pt x="255" y="710"/>
                    <a:pt x="255" y="710"/>
                    <a:pt x="256" y="710"/>
                  </a:cubicBezTo>
                  <a:cubicBezTo>
                    <a:pt x="258" y="710"/>
                    <a:pt x="259" y="710"/>
                    <a:pt x="260" y="712"/>
                  </a:cubicBezTo>
                  <a:cubicBezTo>
                    <a:pt x="261" y="715"/>
                    <a:pt x="259" y="714"/>
                    <a:pt x="262" y="715"/>
                  </a:cubicBezTo>
                  <a:cubicBezTo>
                    <a:pt x="262" y="715"/>
                    <a:pt x="263" y="715"/>
                    <a:pt x="264" y="715"/>
                  </a:cubicBezTo>
                  <a:cubicBezTo>
                    <a:pt x="268" y="715"/>
                    <a:pt x="275" y="712"/>
                    <a:pt x="279" y="711"/>
                  </a:cubicBezTo>
                  <a:cubicBezTo>
                    <a:pt x="281" y="711"/>
                    <a:pt x="285" y="710"/>
                    <a:pt x="287" y="710"/>
                  </a:cubicBezTo>
                  <a:cubicBezTo>
                    <a:pt x="288" y="710"/>
                    <a:pt x="289" y="710"/>
                    <a:pt x="289" y="710"/>
                  </a:cubicBezTo>
                  <a:cubicBezTo>
                    <a:pt x="290" y="711"/>
                    <a:pt x="290" y="713"/>
                    <a:pt x="291" y="714"/>
                  </a:cubicBezTo>
                  <a:cubicBezTo>
                    <a:pt x="291" y="714"/>
                    <a:pt x="292" y="714"/>
                    <a:pt x="292" y="714"/>
                  </a:cubicBezTo>
                  <a:cubicBezTo>
                    <a:pt x="294" y="714"/>
                    <a:pt x="298" y="712"/>
                    <a:pt x="300" y="711"/>
                  </a:cubicBezTo>
                  <a:cubicBezTo>
                    <a:pt x="300" y="711"/>
                    <a:pt x="300" y="711"/>
                    <a:pt x="301" y="711"/>
                  </a:cubicBezTo>
                  <a:cubicBezTo>
                    <a:pt x="301" y="711"/>
                    <a:pt x="301" y="711"/>
                    <a:pt x="301" y="711"/>
                  </a:cubicBezTo>
                  <a:cubicBezTo>
                    <a:pt x="301" y="711"/>
                    <a:pt x="301" y="711"/>
                    <a:pt x="301" y="711"/>
                  </a:cubicBezTo>
                  <a:cubicBezTo>
                    <a:pt x="302" y="711"/>
                    <a:pt x="302" y="711"/>
                    <a:pt x="303" y="711"/>
                  </a:cubicBezTo>
                  <a:cubicBezTo>
                    <a:pt x="306" y="710"/>
                    <a:pt x="310" y="704"/>
                    <a:pt x="312" y="702"/>
                  </a:cubicBezTo>
                  <a:cubicBezTo>
                    <a:pt x="315" y="699"/>
                    <a:pt x="316" y="696"/>
                    <a:pt x="318" y="693"/>
                  </a:cubicBezTo>
                  <a:cubicBezTo>
                    <a:pt x="319" y="691"/>
                    <a:pt x="321" y="683"/>
                    <a:pt x="323" y="682"/>
                  </a:cubicBezTo>
                  <a:cubicBezTo>
                    <a:pt x="332" y="678"/>
                    <a:pt x="341" y="674"/>
                    <a:pt x="350" y="670"/>
                  </a:cubicBezTo>
                  <a:cubicBezTo>
                    <a:pt x="355" y="668"/>
                    <a:pt x="359" y="667"/>
                    <a:pt x="363" y="664"/>
                  </a:cubicBezTo>
                  <a:cubicBezTo>
                    <a:pt x="365" y="662"/>
                    <a:pt x="368" y="660"/>
                    <a:pt x="371" y="659"/>
                  </a:cubicBezTo>
                  <a:cubicBezTo>
                    <a:pt x="373" y="658"/>
                    <a:pt x="375" y="658"/>
                    <a:pt x="378" y="658"/>
                  </a:cubicBezTo>
                  <a:cubicBezTo>
                    <a:pt x="382" y="658"/>
                    <a:pt x="386" y="659"/>
                    <a:pt x="390" y="659"/>
                  </a:cubicBezTo>
                  <a:cubicBezTo>
                    <a:pt x="392" y="659"/>
                    <a:pt x="395" y="659"/>
                    <a:pt x="398" y="659"/>
                  </a:cubicBezTo>
                  <a:cubicBezTo>
                    <a:pt x="403" y="659"/>
                    <a:pt x="408" y="659"/>
                    <a:pt x="412" y="658"/>
                  </a:cubicBezTo>
                  <a:cubicBezTo>
                    <a:pt x="429" y="653"/>
                    <a:pt x="445" y="645"/>
                    <a:pt x="461" y="639"/>
                  </a:cubicBezTo>
                  <a:cubicBezTo>
                    <a:pt x="461" y="639"/>
                    <a:pt x="461" y="639"/>
                    <a:pt x="461" y="639"/>
                  </a:cubicBezTo>
                  <a:cubicBezTo>
                    <a:pt x="461" y="639"/>
                    <a:pt x="461" y="639"/>
                    <a:pt x="461" y="639"/>
                  </a:cubicBezTo>
                  <a:cubicBezTo>
                    <a:pt x="471" y="638"/>
                    <a:pt x="480" y="637"/>
                    <a:pt x="490" y="636"/>
                  </a:cubicBezTo>
                  <a:cubicBezTo>
                    <a:pt x="491" y="636"/>
                    <a:pt x="492" y="636"/>
                    <a:pt x="493" y="636"/>
                  </a:cubicBezTo>
                  <a:cubicBezTo>
                    <a:pt x="496" y="636"/>
                    <a:pt x="498" y="636"/>
                    <a:pt x="501" y="636"/>
                  </a:cubicBezTo>
                  <a:cubicBezTo>
                    <a:pt x="503" y="637"/>
                    <a:pt x="506" y="637"/>
                    <a:pt x="508" y="637"/>
                  </a:cubicBezTo>
                  <a:cubicBezTo>
                    <a:pt x="511" y="637"/>
                    <a:pt x="514" y="636"/>
                    <a:pt x="517" y="635"/>
                  </a:cubicBezTo>
                  <a:cubicBezTo>
                    <a:pt x="520" y="634"/>
                    <a:pt x="521" y="633"/>
                    <a:pt x="523" y="633"/>
                  </a:cubicBezTo>
                  <a:cubicBezTo>
                    <a:pt x="524" y="633"/>
                    <a:pt x="526" y="634"/>
                    <a:pt x="528" y="635"/>
                  </a:cubicBezTo>
                  <a:cubicBezTo>
                    <a:pt x="535" y="638"/>
                    <a:pt x="545" y="641"/>
                    <a:pt x="551" y="647"/>
                  </a:cubicBezTo>
                  <a:cubicBezTo>
                    <a:pt x="552" y="648"/>
                    <a:pt x="552" y="649"/>
                    <a:pt x="553" y="650"/>
                  </a:cubicBezTo>
                  <a:cubicBezTo>
                    <a:pt x="554" y="650"/>
                    <a:pt x="554" y="650"/>
                    <a:pt x="555" y="650"/>
                  </a:cubicBezTo>
                  <a:cubicBezTo>
                    <a:pt x="557" y="650"/>
                    <a:pt x="561" y="648"/>
                    <a:pt x="563" y="647"/>
                  </a:cubicBezTo>
                  <a:cubicBezTo>
                    <a:pt x="564" y="647"/>
                    <a:pt x="565" y="647"/>
                    <a:pt x="565" y="647"/>
                  </a:cubicBezTo>
                  <a:cubicBezTo>
                    <a:pt x="568" y="647"/>
                    <a:pt x="571" y="648"/>
                    <a:pt x="573" y="649"/>
                  </a:cubicBezTo>
                  <a:cubicBezTo>
                    <a:pt x="578" y="651"/>
                    <a:pt x="582" y="653"/>
                    <a:pt x="587" y="655"/>
                  </a:cubicBezTo>
                  <a:cubicBezTo>
                    <a:pt x="587" y="655"/>
                    <a:pt x="587" y="655"/>
                    <a:pt x="587" y="655"/>
                  </a:cubicBezTo>
                  <a:cubicBezTo>
                    <a:pt x="588" y="655"/>
                    <a:pt x="589" y="655"/>
                    <a:pt x="589" y="654"/>
                  </a:cubicBezTo>
                  <a:cubicBezTo>
                    <a:pt x="590" y="654"/>
                    <a:pt x="591" y="653"/>
                    <a:pt x="592" y="653"/>
                  </a:cubicBezTo>
                  <a:cubicBezTo>
                    <a:pt x="592" y="653"/>
                    <a:pt x="592" y="653"/>
                    <a:pt x="592" y="653"/>
                  </a:cubicBezTo>
                  <a:cubicBezTo>
                    <a:pt x="593" y="653"/>
                    <a:pt x="593" y="653"/>
                    <a:pt x="593" y="653"/>
                  </a:cubicBezTo>
                  <a:cubicBezTo>
                    <a:pt x="593" y="653"/>
                    <a:pt x="594" y="653"/>
                    <a:pt x="594" y="653"/>
                  </a:cubicBezTo>
                  <a:cubicBezTo>
                    <a:pt x="594" y="653"/>
                    <a:pt x="595" y="652"/>
                    <a:pt x="595" y="652"/>
                  </a:cubicBezTo>
                  <a:cubicBezTo>
                    <a:pt x="595" y="652"/>
                    <a:pt x="596" y="652"/>
                    <a:pt x="596" y="653"/>
                  </a:cubicBezTo>
                  <a:cubicBezTo>
                    <a:pt x="599" y="654"/>
                    <a:pt x="602" y="660"/>
                    <a:pt x="603" y="663"/>
                  </a:cubicBezTo>
                  <a:cubicBezTo>
                    <a:pt x="603" y="663"/>
                    <a:pt x="603" y="663"/>
                    <a:pt x="603" y="663"/>
                  </a:cubicBezTo>
                  <a:cubicBezTo>
                    <a:pt x="602" y="663"/>
                    <a:pt x="602" y="665"/>
                    <a:pt x="602" y="666"/>
                  </a:cubicBezTo>
                  <a:cubicBezTo>
                    <a:pt x="602" y="666"/>
                    <a:pt x="602" y="666"/>
                    <a:pt x="603" y="666"/>
                  </a:cubicBezTo>
                  <a:cubicBezTo>
                    <a:pt x="606" y="666"/>
                    <a:pt x="609" y="666"/>
                    <a:pt x="612" y="665"/>
                  </a:cubicBezTo>
                  <a:cubicBezTo>
                    <a:pt x="612" y="668"/>
                    <a:pt x="614" y="672"/>
                    <a:pt x="612" y="675"/>
                  </a:cubicBezTo>
                  <a:cubicBezTo>
                    <a:pt x="612" y="675"/>
                    <a:pt x="609" y="672"/>
                    <a:pt x="608" y="672"/>
                  </a:cubicBezTo>
                  <a:cubicBezTo>
                    <a:pt x="608" y="672"/>
                    <a:pt x="608" y="673"/>
                    <a:pt x="608" y="673"/>
                  </a:cubicBezTo>
                  <a:cubicBezTo>
                    <a:pt x="610" y="677"/>
                    <a:pt x="608" y="676"/>
                    <a:pt x="608" y="678"/>
                  </a:cubicBezTo>
                  <a:cubicBezTo>
                    <a:pt x="608" y="680"/>
                    <a:pt x="613" y="686"/>
                    <a:pt x="614" y="687"/>
                  </a:cubicBezTo>
                  <a:cubicBezTo>
                    <a:pt x="616" y="688"/>
                    <a:pt x="619" y="689"/>
                    <a:pt x="622" y="689"/>
                  </a:cubicBezTo>
                  <a:cubicBezTo>
                    <a:pt x="623" y="689"/>
                    <a:pt x="623" y="689"/>
                    <a:pt x="624" y="689"/>
                  </a:cubicBezTo>
                  <a:cubicBezTo>
                    <a:pt x="624" y="688"/>
                    <a:pt x="624" y="687"/>
                    <a:pt x="624" y="687"/>
                  </a:cubicBezTo>
                  <a:cubicBezTo>
                    <a:pt x="626" y="692"/>
                    <a:pt x="628" y="698"/>
                    <a:pt x="631" y="702"/>
                  </a:cubicBezTo>
                  <a:cubicBezTo>
                    <a:pt x="634" y="707"/>
                    <a:pt x="641" y="708"/>
                    <a:pt x="642" y="715"/>
                  </a:cubicBezTo>
                  <a:cubicBezTo>
                    <a:pt x="643" y="716"/>
                    <a:pt x="643" y="717"/>
                    <a:pt x="643" y="718"/>
                  </a:cubicBezTo>
                  <a:cubicBezTo>
                    <a:pt x="643" y="718"/>
                    <a:pt x="642" y="718"/>
                    <a:pt x="642" y="719"/>
                  </a:cubicBezTo>
                  <a:cubicBezTo>
                    <a:pt x="643" y="720"/>
                    <a:pt x="644" y="720"/>
                    <a:pt x="645" y="721"/>
                  </a:cubicBezTo>
                  <a:cubicBezTo>
                    <a:pt x="647" y="725"/>
                    <a:pt x="645" y="732"/>
                    <a:pt x="648" y="735"/>
                  </a:cubicBezTo>
                  <a:cubicBezTo>
                    <a:pt x="648" y="735"/>
                    <a:pt x="648" y="735"/>
                    <a:pt x="647" y="735"/>
                  </a:cubicBezTo>
                  <a:cubicBezTo>
                    <a:pt x="645" y="735"/>
                    <a:pt x="643" y="733"/>
                    <a:pt x="645" y="731"/>
                  </a:cubicBezTo>
                  <a:cubicBezTo>
                    <a:pt x="643" y="731"/>
                    <a:pt x="641" y="731"/>
                    <a:pt x="641" y="728"/>
                  </a:cubicBezTo>
                  <a:cubicBezTo>
                    <a:pt x="641" y="729"/>
                    <a:pt x="638" y="732"/>
                    <a:pt x="639" y="733"/>
                  </a:cubicBezTo>
                  <a:cubicBezTo>
                    <a:pt x="639" y="735"/>
                    <a:pt x="643" y="735"/>
                    <a:pt x="645" y="736"/>
                  </a:cubicBezTo>
                  <a:cubicBezTo>
                    <a:pt x="644" y="737"/>
                    <a:pt x="646" y="736"/>
                    <a:pt x="647" y="737"/>
                  </a:cubicBezTo>
                  <a:cubicBezTo>
                    <a:pt x="648" y="738"/>
                    <a:pt x="649" y="739"/>
                    <a:pt x="650" y="740"/>
                  </a:cubicBezTo>
                  <a:cubicBezTo>
                    <a:pt x="651" y="741"/>
                    <a:pt x="653" y="743"/>
                    <a:pt x="653" y="745"/>
                  </a:cubicBezTo>
                  <a:cubicBezTo>
                    <a:pt x="655" y="745"/>
                    <a:pt x="657" y="743"/>
                    <a:pt x="659" y="743"/>
                  </a:cubicBezTo>
                  <a:cubicBezTo>
                    <a:pt x="659" y="743"/>
                    <a:pt x="660" y="744"/>
                    <a:pt x="660" y="744"/>
                  </a:cubicBezTo>
                  <a:cubicBezTo>
                    <a:pt x="660" y="744"/>
                    <a:pt x="661" y="745"/>
                    <a:pt x="662" y="746"/>
                  </a:cubicBezTo>
                  <a:cubicBezTo>
                    <a:pt x="663" y="746"/>
                    <a:pt x="662" y="747"/>
                    <a:pt x="663" y="747"/>
                  </a:cubicBezTo>
                  <a:cubicBezTo>
                    <a:pt x="663" y="747"/>
                    <a:pt x="663" y="747"/>
                    <a:pt x="663" y="747"/>
                  </a:cubicBezTo>
                  <a:cubicBezTo>
                    <a:pt x="665" y="746"/>
                    <a:pt x="663" y="741"/>
                    <a:pt x="662" y="739"/>
                  </a:cubicBezTo>
                  <a:cubicBezTo>
                    <a:pt x="662" y="740"/>
                    <a:pt x="661" y="741"/>
                    <a:pt x="659" y="741"/>
                  </a:cubicBezTo>
                  <a:cubicBezTo>
                    <a:pt x="659" y="741"/>
                    <a:pt x="659" y="741"/>
                    <a:pt x="659" y="741"/>
                  </a:cubicBezTo>
                  <a:cubicBezTo>
                    <a:pt x="664" y="731"/>
                    <a:pt x="672" y="722"/>
                    <a:pt x="680" y="713"/>
                  </a:cubicBezTo>
                  <a:cubicBezTo>
                    <a:pt x="684" y="708"/>
                    <a:pt x="692" y="707"/>
                    <a:pt x="697" y="705"/>
                  </a:cubicBezTo>
                  <a:cubicBezTo>
                    <a:pt x="699" y="703"/>
                    <a:pt x="700" y="701"/>
                    <a:pt x="701" y="698"/>
                  </a:cubicBezTo>
                  <a:cubicBezTo>
                    <a:pt x="704" y="692"/>
                    <a:pt x="707" y="687"/>
                    <a:pt x="711" y="682"/>
                  </a:cubicBezTo>
                  <a:cubicBezTo>
                    <a:pt x="712" y="680"/>
                    <a:pt x="713" y="681"/>
                    <a:pt x="714" y="678"/>
                  </a:cubicBezTo>
                  <a:cubicBezTo>
                    <a:pt x="715" y="676"/>
                    <a:pt x="716" y="675"/>
                    <a:pt x="716" y="673"/>
                  </a:cubicBezTo>
                  <a:cubicBezTo>
                    <a:pt x="717" y="672"/>
                    <a:pt x="715" y="671"/>
                    <a:pt x="715" y="670"/>
                  </a:cubicBezTo>
                  <a:cubicBezTo>
                    <a:pt x="715" y="669"/>
                    <a:pt x="715" y="668"/>
                    <a:pt x="715" y="667"/>
                  </a:cubicBezTo>
                  <a:cubicBezTo>
                    <a:pt x="717" y="669"/>
                    <a:pt x="718" y="673"/>
                    <a:pt x="720" y="676"/>
                  </a:cubicBezTo>
                  <a:cubicBezTo>
                    <a:pt x="721" y="678"/>
                    <a:pt x="722" y="681"/>
                    <a:pt x="723" y="683"/>
                  </a:cubicBezTo>
                  <a:cubicBezTo>
                    <a:pt x="724" y="685"/>
                    <a:pt x="720" y="686"/>
                    <a:pt x="719" y="687"/>
                  </a:cubicBezTo>
                  <a:cubicBezTo>
                    <a:pt x="719" y="688"/>
                    <a:pt x="718" y="688"/>
                    <a:pt x="717" y="689"/>
                  </a:cubicBezTo>
                  <a:cubicBezTo>
                    <a:pt x="717" y="691"/>
                    <a:pt x="720" y="694"/>
                    <a:pt x="719" y="696"/>
                  </a:cubicBezTo>
                  <a:cubicBezTo>
                    <a:pt x="718" y="700"/>
                    <a:pt x="717" y="703"/>
                    <a:pt x="714" y="706"/>
                  </a:cubicBezTo>
                  <a:cubicBezTo>
                    <a:pt x="712" y="709"/>
                    <a:pt x="710" y="713"/>
                    <a:pt x="709" y="717"/>
                  </a:cubicBezTo>
                  <a:cubicBezTo>
                    <a:pt x="706" y="725"/>
                    <a:pt x="710" y="734"/>
                    <a:pt x="706" y="742"/>
                  </a:cubicBezTo>
                  <a:cubicBezTo>
                    <a:pt x="706" y="744"/>
                    <a:pt x="704" y="744"/>
                    <a:pt x="702" y="744"/>
                  </a:cubicBezTo>
                  <a:cubicBezTo>
                    <a:pt x="701" y="744"/>
                    <a:pt x="700" y="744"/>
                    <a:pt x="700" y="744"/>
                  </a:cubicBezTo>
                  <a:cubicBezTo>
                    <a:pt x="699" y="744"/>
                    <a:pt x="699" y="744"/>
                    <a:pt x="698" y="744"/>
                  </a:cubicBezTo>
                  <a:cubicBezTo>
                    <a:pt x="697" y="744"/>
                    <a:pt x="697" y="744"/>
                    <a:pt x="696" y="744"/>
                  </a:cubicBezTo>
                  <a:cubicBezTo>
                    <a:pt x="696" y="744"/>
                    <a:pt x="696" y="744"/>
                    <a:pt x="696" y="744"/>
                  </a:cubicBezTo>
                  <a:cubicBezTo>
                    <a:pt x="695" y="744"/>
                    <a:pt x="695" y="744"/>
                    <a:pt x="695" y="744"/>
                  </a:cubicBezTo>
                  <a:cubicBezTo>
                    <a:pt x="694" y="744"/>
                    <a:pt x="694" y="744"/>
                    <a:pt x="694" y="744"/>
                  </a:cubicBezTo>
                  <a:cubicBezTo>
                    <a:pt x="694" y="744"/>
                    <a:pt x="694" y="744"/>
                    <a:pt x="693" y="745"/>
                  </a:cubicBezTo>
                  <a:cubicBezTo>
                    <a:pt x="692" y="746"/>
                    <a:pt x="691" y="749"/>
                    <a:pt x="691" y="750"/>
                  </a:cubicBezTo>
                  <a:cubicBezTo>
                    <a:pt x="692" y="752"/>
                    <a:pt x="689" y="753"/>
                    <a:pt x="688" y="755"/>
                  </a:cubicBezTo>
                  <a:cubicBezTo>
                    <a:pt x="695" y="754"/>
                    <a:pt x="701" y="752"/>
                    <a:pt x="707" y="751"/>
                  </a:cubicBezTo>
                  <a:cubicBezTo>
                    <a:pt x="708" y="751"/>
                    <a:pt x="708" y="751"/>
                    <a:pt x="708" y="751"/>
                  </a:cubicBezTo>
                  <a:cubicBezTo>
                    <a:pt x="709" y="751"/>
                    <a:pt x="710" y="751"/>
                    <a:pt x="710" y="752"/>
                  </a:cubicBezTo>
                  <a:cubicBezTo>
                    <a:pt x="711" y="752"/>
                    <a:pt x="712" y="753"/>
                    <a:pt x="712" y="753"/>
                  </a:cubicBezTo>
                  <a:cubicBezTo>
                    <a:pt x="713" y="753"/>
                    <a:pt x="713" y="752"/>
                    <a:pt x="714" y="752"/>
                  </a:cubicBezTo>
                  <a:cubicBezTo>
                    <a:pt x="717" y="750"/>
                    <a:pt x="718" y="741"/>
                    <a:pt x="718" y="737"/>
                  </a:cubicBezTo>
                  <a:cubicBezTo>
                    <a:pt x="719" y="731"/>
                    <a:pt x="721" y="726"/>
                    <a:pt x="724" y="721"/>
                  </a:cubicBezTo>
                  <a:cubicBezTo>
                    <a:pt x="725" y="720"/>
                    <a:pt x="725" y="720"/>
                    <a:pt x="725" y="719"/>
                  </a:cubicBezTo>
                  <a:cubicBezTo>
                    <a:pt x="728" y="723"/>
                    <a:pt x="730" y="727"/>
                    <a:pt x="732" y="731"/>
                  </a:cubicBezTo>
                  <a:cubicBezTo>
                    <a:pt x="733" y="733"/>
                    <a:pt x="734" y="735"/>
                    <a:pt x="735" y="736"/>
                  </a:cubicBezTo>
                  <a:cubicBezTo>
                    <a:pt x="736" y="737"/>
                    <a:pt x="738" y="738"/>
                    <a:pt x="738" y="739"/>
                  </a:cubicBezTo>
                  <a:cubicBezTo>
                    <a:pt x="739" y="742"/>
                    <a:pt x="737" y="747"/>
                    <a:pt x="737" y="750"/>
                  </a:cubicBezTo>
                  <a:cubicBezTo>
                    <a:pt x="736" y="755"/>
                    <a:pt x="736" y="757"/>
                    <a:pt x="732" y="760"/>
                  </a:cubicBezTo>
                  <a:cubicBezTo>
                    <a:pt x="730" y="762"/>
                    <a:pt x="726" y="764"/>
                    <a:pt x="725" y="767"/>
                  </a:cubicBezTo>
                  <a:cubicBezTo>
                    <a:pt x="728" y="768"/>
                    <a:pt x="730" y="768"/>
                    <a:pt x="733" y="768"/>
                  </a:cubicBezTo>
                  <a:cubicBezTo>
                    <a:pt x="733" y="768"/>
                    <a:pt x="734" y="768"/>
                    <a:pt x="734" y="768"/>
                  </a:cubicBezTo>
                  <a:cubicBezTo>
                    <a:pt x="736" y="768"/>
                    <a:pt x="739" y="766"/>
                    <a:pt x="741" y="765"/>
                  </a:cubicBezTo>
                  <a:cubicBezTo>
                    <a:pt x="744" y="765"/>
                    <a:pt x="748" y="764"/>
                    <a:pt x="751" y="762"/>
                  </a:cubicBezTo>
                  <a:cubicBezTo>
                    <a:pt x="754" y="760"/>
                    <a:pt x="756" y="759"/>
                    <a:pt x="760" y="758"/>
                  </a:cubicBezTo>
                  <a:cubicBezTo>
                    <a:pt x="759" y="762"/>
                    <a:pt x="757" y="763"/>
                    <a:pt x="758" y="766"/>
                  </a:cubicBezTo>
                  <a:cubicBezTo>
                    <a:pt x="758" y="767"/>
                    <a:pt x="759" y="770"/>
                    <a:pt x="759" y="770"/>
                  </a:cubicBezTo>
                  <a:cubicBezTo>
                    <a:pt x="759" y="770"/>
                    <a:pt x="758" y="770"/>
                    <a:pt x="758" y="770"/>
                  </a:cubicBezTo>
                  <a:cubicBezTo>
                    <a:pt x="758" y="769"/>
                    <a:pt x="758" y="767"/>
                    <a:pt x="758" y="766"/>
                  </a:cubicBezTo>
                  <a:cubicBezTo>
                    <a:pt x="758" y="764"/>
                    <a:pt x="757" y="763"/>
                    <a:pt x="756" y="763"/>
                  </a:cubicBezTo>
                  <a:cubicBezTo>
                    <a:pt x="755" y="763"/>
                    <a:pt x="753" y="766"/>
                    <a:pt x="752" y="766"/>
                  </a:cubicBezTo>
                  <a:cubicBezTo>
                    <a:pt x="754" y="767"/>
                    <a:pt x="755" y="769"/>
                    <a:pt x="757" y="770"/>
                  </a:cubicBezTo>
                  <a:cubicBezTo>
                    <a:pt x="754" y="768"/>
                    <a:pt x="751" y="766"/>
                    <a:pt x="749" y="766"/>
                  </a:cubicBezTo>
                  <a:cubicBezTo>
                    <a:pt x="749" y="766"/>
                    <a:pt x="749" y="766"/>
                    <a:pt x="749" y="766"/>
                  </a:cubicBezTo>
                  <a:cubicBezTo>
                    <a:pt x="753" y="770"/>
                    <a:pt x="757" y="775"/>
                    <a:pt x="762" y="779"/>
                  </a:cubicBezTo>
                  <a:cubicBezTo>
                    <a:pt x="765" y="783"/>
                    <a:pt x="770" y="787"/>
                    <a:pt x="772" y="792"/>
                  </a:cubicBezTo>
                  <a:cubicBezTo>
                    <a:pt x="773" y="794"/>
                    <a:pt x="776" y="798"/>
                    <a:pt x="776" y="802"/>
                  </a:cubicBezTo>
                  <a:cubicBezTo>
                    <a:pt x="776" y="806"/>
                    <a:pt x="772" y="811"/>
                    <a:pt x="773" y="815"/>
                  </a:cubicBezTo>
                  <a:cubicBezTo>
                    <a:pt x="773" y="822"/>
                    <a:pt x="778" y="826"/>
                    <a:pt x="783" y="830"/>
                  </a:cubicBezTo>
                  <a:cubicBezTo>
                    <a:pt x="787" y="833"/>
                    <a:pt x="790" y="840"/>
                    <a:pt x="793" y="844"/>
                  </a:cubicBezTo>
                  <a:cubicBezTo>
                    <a:pt x="795" y="848"/>
                    <a:pt x="805" y="848"/>
                    <a:pt x="808" y="849"/>
                  </a:cubicBezTo>
                  <a:cubicBezTo>
                    <a:pt x="808" y="849"/>
                    <a:pt x="808" y="849"/>
                    <a:pt x="808" y="849"/>
                  </a:cubicBezTo>
                  <a:cubicBezTo>
                    <a:pt x="808" y="851"/>
                    <a:pt x="818" y="853"/>
                    <a:pt x="820" y="856"/>
                  </a:cubicBezTo>
                  <a:cubicBezTo>
                    <a:pt x="821" y="858"/>
                    <a:pt x="820" y="859"/>
                    <a:pt x="821" y="860"/>
                  </a:cubicBezTo>
                  <a:cubicBezTo>
                    <a:pt x="821" y="861"/>
                    <a:pt x="822" y="861"/>
                    <a:pt x="823" y="861"/>
                  </a:cubicBezTo>
                  <a:cubicBezTo>
                    <a:pt x="825" y="861"/>
                    <a:pt x="828" y="859"/>
                    <a:pt x="829" y="859"/>
                  </a:cubicBezTo>
                  <a:cubicBezTo>
                    <a:pt x="832" y="858"/>
                    <a:pt x="834" y="857"/>
                    <a:pt x="835" y="857"/>
                  </a:cubicBezTo>
                  <a:cubicBezTo>
                    <a:pt x="837" y="857"/>
                    <a:pt x="839" y="858"/>
                    <a:pt x="842" y="859"/>
                  </a:cubicBezTo>
                  <a:cubicBezTo>
                    <a:pt x="843" y="859"/>
                    <a:pt x="844" y="860"/>
                    <a:pt x="845" y="860"/>
                  </a:cubicBezTo>
                  <a:cubicBezTo>
                    <a:pt x="846" y="860"/>
                    <a:pt x="847" y="859"/>
                    <a:pt x="848" y="859"/>
                  </a:cubicBezTo>
                  <a:cubicBezTo>
                    <a:pt x="849" y="859"/>
                    <a:pt x="850" y="859"/>
                    <a:pt x="851" y="859"/>
                  </a:cubicBezTo>
                  <a:cubicBezTo>
                    <a:pt x="851" y="859"/>
                    <a:pt x="852" y="859"/>
                    <a:pt x="852" y="859"/>
                  </a:cubicBezTo>
                  <a:cubicBezTo>
                    <a:pt x="855" y="860"/>
                    <a:pt x="861" y="865"/>
                    <a:pt x="863" y="866"/>
                  </a:cubicBezTo>
                  <a:cubicBezTo>
                    <a:pt x="866" y="868"/>
                    <a:pt x="881" y="875"/>
                    <a:pt x="884" y="875"/>
                  </a:cubicBezTo>
                  <a:cubicBezTo>
                    <a:pt x="884" y="875"/>
                    <a:pt x="884" y="875"/>
                    <a:pt x="884" y="875"/>
                  </a:cubicBezTo>
                  <a:cubicBezTo>
                    <a:pt x="892" y="869"/>
                    <a:pt x="898" y="863"/>
                    <a:pt x="906" y="858"/>
                  </a:cubicBezTo>
                  <a:cubicBezTo>
                    <a:pt x="909" y="857"/>
                    <a:pt x="913" y="857"/>
                    <a:pt x="915" y="855"/>
                  </a:cubicBezTo>
                  <a:cubicBezTo>
                    <a:pt x="917" y="854"/>
                    <a:pt x="918" y="851"/>
                    <a:pt x="916" y="851"/>
                  </a:cubicBezTo>
                  <a:cubicBezTo>
                    <a:pt x="915" y="851"/>
                    <a:pt x="915" y="851"/>
                    <a:pt x="915" y="851"/>
                  </a:cubicBezTo>
                  <a:cubicBezTo>
                    <a:pt x="915" y="851"/>
                    <a:pt x="911" y="852"/>
                    <a:pt x="909" y="852"/>
                  </a:cubicBezTo>
                  <a:cubicBezTo>
                    <a:pt x="908" y="852"/>
                    <a:pt x="907" y="852"/>
                    <a:pt x="907" y="850"/>
                  </a:cubicBezTo>
                  <a:cubicBezTo>
                    <a:pt x="909" y="849"/>
                    <a:pt x="916" y="847"/>
                    <a:pt x="919" y="845"/>
                  </a:cubicBezTo>
                  <a:cubicBezTo>
                    <a:pt x="920" y="844"/>
                    <a:pt x="922" y="843"/>
                    <a:pt x="923" y="842"/>
                  </a:cubicBezTo>
                  <a:cubicBezTo>
                    <a:pt x="926" y="845"/>
                    <a:pt x="929" y="849"/>
                    <a:pt x="928" y="853"/>
                  </a:cubicBezTo>
                  <a:cubicBezTo>
                    <a:pt x="928" y="854"/>
                    <a:pt x="926" y="856"/>
                    <a:pt x="926" y="856"/>
                  </a:cubicBezTo>
                  <a:cubicBezTo>
                    <a:pt x="924" y="858"/>
                    <a:pt x="923" y="860"/>
                    <a:pt x="921" y="860"/>
                  </a:cubicBezTo>
                  <a:cubicBezTo>
                    <a:pt x="920" y="860"/>
                    <a:pt x="919" y="859"/>
                    <a:pt x="918" y="859"/>
                  </a:cubicBezTo>
                  <a:cubicBezTo>
                    <a:pt x="919" y="860"/>
                    <a:pt x="920" y="862"/>
                    <a:pt x="921" y="862"/>
                  </a:cubicBezTo>
                  <a:cubicBezTo>
                    <a:pt x="922" y="863"/>
                    <a:pt x="922" y="863"/>
                    <a:pt x="923" y="863"/>
                  </a:cubicBezTo>
                  <a:cubicBezTo>
                    <a:pt x="923" y="863"/>
                    <a:pt x="923" y="863"/>
                    <a:pt x="924" y="863"/>
                  </a:cubicBezTo>
                  <a:cubicBezTo>
                    <a:pt x="927" y="862"/>
                    <a:pt x="934" y="859"/>
                    <a:pt x="934" y="857"/>
                  </a:cubicBezTo>
                  <a:cubicBezTo>
                    <a:pt x="935" y="857"/>
                    <a:pt x="935" y="857"/>
                    <a:pt x="935" y="857"/>
                  </a:cubicBezTo>
                  <a:cubicBezTo>
                    <a:pt x="936" y="857"/>
                    <a:pt x="938" y="856"/>
                    <a:pt x="939" y="855"/>
                  </a:cubicBezTo>
                  <a:cubicBezTo>
                    <a:pt x="940" y="856"/>
                    <a:pt x="940" y="858"/>
                    <a:pt x="940" y="859"/>
                  </a:cubicBezTo>
                  <a:cubicBezTo>
                    <a:pt x="940" y="859"/>
                    <a:pt x="940" y="859"/>
                    <a:pt x="940" y="859"/>
                  </a:cubicBezTo>
                  <a:cubicBezTo>
                    <a:pt x="940" y="859"/>
                    <a:pt x="940" y="859"/>
                    <a:pt x="940" y="859"/>
                  </a:cubicBezTo>
                  <a:cubicBezTo>
                    <a:pt x="939" y="861"/>
                    <a:pt x="938" y="863"/>
                    <a:pt x="937" y="864"/>
                  </a:cubicBezTo>
                  <a:cubicBezTo>
                    <a:pt x="938" y="865"/>
                    <a:pt x="939" y="866"/>
                    <a:pt x="940" y="866"/>
                  </a:cubicBezTo>
                  <a:cubicBezTo>
                    <a:pt x="942" y="868"/>
                    <a:pt x="943" y="870"/>
                    <a:pt x="944" y="871"/>
                  </a:cubicBezTo>
                  <a:cubicBezTo>
                    <a:pt x="945" y="872"/>
                    <a:pt x="950" y="877"/>
                    <a:pt x="952" y="877"/>
                  </a:cubicBezTo>
                  <a:cubicBezTo>
                    <a:pt x="953" y="877"/>
                    <a:pt x="953" y="877"/>
                    <a:pt x="953" y="876"/>
                  </a:cubicBezTo>
                  <a:cubicBezTo>
                    <a:pt x="954" y="875"/>
                    <a:pt x="955" y="875"/>
                    <a:pt x="956" y="875"/>
                  </a:cubicBezTo>
                  <a:cubicBezTo>
                    <a:pt x="958" y="875"/>
                    <a:pt x="960" y="877"/>
                    <a:pt x="962" y="879"/>
                  </a:cubicBezTo>
                  <a:cubicBezTo>
                    <a:pt x="964" y="881"/>
                    <a:pt x="963" y="885"/>
                    <a:pt x="966" y="885"/>
                  </a:cubicBezTo>
                  <a:cubicBezTo>
                    <a:pt x="966" y="882"/>
                    <a:pt x="966" y="879"/>
                    <a:pt x="965" y="876"/>
                  </a:cubicBezTo>
                  <a:cubicBezTo>
                    <a:pt x="964" y="877"/>
                    <a:pt x="964" y="877"/>
                    <a:pt x="963" y="877"/>
                  </a:cubicBezTo>
                  <a:cubicBezTo>
                    <a:pt x="962" y="877"/>
                    <a:pt x="961" y="874"/>
                    <a:pt x="960" y="872"/>
                  </a:cubicBezTo>
                  <a:cubicBezTo>
                    <a:pt x="963" y="871"/>
                    <a:pt x="971" y="869"/>
                    <a:pt x="976" y="869"/>
                  </a:cubicBezTo>
                  <a:cubicBezTo>
                    <a:pt x="977" y="869"/>
                    <a:pt x="978" y="869"/>
                    <a:pt x="979" y="870"/>
                  </a:cubicBezTo>
                  <a:cubicBezTo>
                    <a:pt x="984" y="865"/>
                    <a:pt x="989" y="860"/>
                    <a:pt x="995" y="855"/>
                  </a:cubicBezTo>
                  <a:cubicBezTo>
                    <a:pt x="1001" y="851"/>
                    <a:pt x="1009" y="842"/>
                    <a:pt x="1017" y="842"/>
                  </a:cubicBezTo>
                  <a:cubicBezTo>
                    <a:pt x="1026" y="841"/>
                    <a:pt x="1034" y="840"/>
                    <a:pt x="1043" y="840"/>
                  </a:cubicBezTo>
                  <a:cubicBezTo>
                    <a:pt x="1043" y="840"/>
                    <a:pt x="1043" y="840"/>
                    <a:pt x="1044" y="840"/>
                  </a:cubicBezTo>
                  <a:cubicBezTo>
                    <a:pt x="1046" y="840"/>
                    <a:pt x="1048" y="840"/>
                    <a:pt x="1049" y="840"/>
                  </a:cubicBezTo>
                  <a:cubicBezTo>
                    <a:pt x="1049" y="840"/>
                    <a:pt x="1049" y="840"/>
                    <a:pt x="1049" y="840"/>
                  </a:cubicBezTo>
                  <a:cubicBezTo>
                    <a:pt x="1052" y="840"/>
                    <a:pt x="1055" y="839"/>
                    <a:pt x="1057" y="837"/>
                  </a:cubicBezTo>
                  <a:cubicBezTo>
                    <a:pt x="1059" y="836"/>
                    <a:pt x="1062" y="831"/>
                    <a:pt x="1063" y="831"/>
                  </a:cubicBezTo>
                  <a:cubicBezTo>
                    <a:pt x="1064" y="830"/>
                    <a:pt x="1064" y="830"/>
                    <a:pt x="1065" y="830"/>
                  </a:cubicBezTo>
                  <a:cubicBezTo>
                    <a:pt x="1066" y="830"/>
                    <a:pt x="1066" y="830"/>
                    <a:pt x="1067" y="831"/>
                  </a:cubicBezTo>
                  <a:cubicBezTo>
                    <a:pt x="1067" y="831"/>
                    <a:pt x="1068" y="831"/>
                    <a:pt x="1068" y="831"/>
                  </a:cubicBezTo>
                  <a:cubicBezTo>
                    <a:pt x="1069" y="831"/>
                    <a:pt x="1070" y="830"/>
                    <a:pt x="1071" y="828"/>
                  </a:cubicBezTo>
                  <a:cubicBezTo>
                    <a:pt x="1071" y="825"/>
                    <a:pt x="1072" y="823"/>
                    <a:pt x="1071" y="821"/>
                  </a:cubicBezTo>
                  <a:cubicBezTo>
                    <a:pt x="1071" y="818"/>
                    <a:pt x="1069" y="819"/>
                    <a:pt x="1068" y="817"/>
                  </a:cubicBezTo>
                  <a:cubicBezTo>
                    <a:pt x="1067" y="815"/>
                    <a:pt x="1068" y="813"/>
                    <a:pt x="1068" y="811"/>
                  </a:cubicBezTo>
                  <a:cubicBezTo>
                    <a:pt x="1068" y="807"/>
                    <a:pt x="1071" y="802"/>
                    <a:pt x="1072" y="797"/>
                  </a:cubicBezTo>
                  <a:cubicBezTo>
                    <a:pt x="1074" y="789"/>
                    <a:pt x="1075" y="778"/>
                    <a:pt x="1080" y="770"/>
                  </a:cubicBezTo>
                  <a:cubicBezTo>
                    <a:pt x="1082" y="765"/>
                    <a:pt x="1085" y="759"/>
                    <a:pt x="1088" y="754"/>
                  </a:cubicBezTo>
                  <a:cubicBezTo>
                    <a:pt x="1089" y="752"/>
                    <a:pt x="1096" y="753"/>
                    <a:pt x="1091" y="749"/>
                  </a:cubicBezTo>
                  <a:cubicBezTo>
                    <a:pt x="1096" y="749"/>
                    <a:pt x="1094" y="749"/>
                    <a:pt x="1094" y="747"/>
                  </a:cubicBezTo>
                  <a:cubicBezTo>
                    <a:pt x="1094" y="745"/>
                    <a:pt x="1093" y="743"/>
                    <a:pt x="1093" y="741"/>
                  </a:cubicBezTo>
                  <a:cubicBezTo>
                    <a:pt x="1093" y="739"/>
                    <a:pt x="1096" y="736"/>
                    <a:pt x="1097" y="734"/>
                  </a:cubicBezTo>
                  <a:cubicBezTo>
                    <a:pt x="1096" y="734"/>
                    <a:pt x="1095" y="733"/>
                    <a:pt x="1094" y="733"/>
                  </a:cubicBezTo>
                  <a:cubicBezTo>
                    <a:pt x="1096" y="729"/>
                    <a:pt x="1099" y="725"/>
                    <a:pt x="1101" y="721"/>
                  </a:cubicBezTo>
                  <a:cubicBezTo>
                    <a:pt x="1101" y="720"/>
                    <a:pt x="1102" y="719"/>
                    <a:pt x="1103" y="718"/>
                  </a:cubicBezTo>
                  <a:cubicBezTo>
                    <a:pt x="1100" y="716"/>
                    <a:pt x="1098" y="714"/>
                    <a:pt x="1098" y="710"/>
                  </a:cubicBezTo>
                  <a:cubicBezTo>
                    <a:pt x="1098" y="706"/>
                    <a:pt x="1102" y="702"/>
                    <a:pt x="1106" y="702"/>
                  </a:cubicBezTo>
                  <a:cubicBezTo>
                    <a:pt x="1107" y="702"/>
                    <a:pt x="1108" y="703"/>
                    <a:pt x="1109" y="703"/>
                  </a:cubicBezTo>
                  <a:cubicBezTo>
                    <a:pt x="1109" y="701"/>
                    <a:pt x="1108" y="700"/>
                    <a:pt x="1107" y="699"/>
                  </a:cubicBezTo>
                  <a:cubicBezTo>
                    <a:pt x="1107" y="700"/>
                    <a:pt x="1108" y="700"/>
                    <a:pt x="1108" y="700"/>
                  </a:cubicBezTo>
                  <a:cubicBezTo>
                    <a:pt x="1109" y="700"/>
                    <a:pt x="1109" y="698"/>
                    <a:pt x="1110" y="697"/>
                  </a:cubicBezTo>
                  <a:cubicBezTo>
                    <a:pt x="1113" y="693"/>
                    <a:pt x="1116" y="690"/>
                    <a:pt x="1119" y="685"/>
                  </a:cubicBezTo>
                  <a:cubicBezTo>
                    <a:pt x="1121" y="681"/>
                    <a:pt x="1122" y="678"/>
                    <a:pt x="1128" y="676"/>
                  </a:cubicBezTo>
                  <a:cubicBezTo>
                    <a:pt x="1130" y="675"/>
                    <a:pt x="1138" y="673"/>
                    <a:pt x="1131" y="672"/>
                  </a:cubicBezTo>
                  <a:cubicBezTo>
                    <a:pt x="1135" y="669"/>
                    <a:pt x="1143" y="666"/>
                    <a:pt x="1144" y="663"/>
                  </a:cubicBezTo>
                  <a:cubicBezTo>
                    <a:pt x="1145" y="661"/>
                    <a:pt x="1144" y="659"/>
                    <a:pt x="1144" y="658"/>
                  </a:cubicBezTo>
                  <a:cubicBezTo>
                    <a:pt x="1145" y="657"/>
                    <a:pt x="1144" y="652"/>
                    <a:pt x="1144" y="652"/>
                  </a:cubicBezTo>
                  <a:cubicBezTo>
                    <a:pt x="1144" y="652"/>
                    <a:pt x="1144" y="652"/>
                    <a:pt x="1144" y="652"/>
                  </a:cubicBezTo>
                  <a:cubicBezTo>
                    <a:pt x="1147" y="649"/>
                    <a:pt x="1149" y="645"/>
                    <a:pt x="1151" y="642"/>
                  </a:cubicBezTo>
                  <a:cubicBezTo>
                    <a:pt x="1155" y="637"/>
                    <a:pt x="1157" y="629"/>
                    <a:pt x="1157" y="623"/>
                  </a:cubicBezTo>
                  <a:cubicBezTo>
                    <a:pt x="1158" y="616"/>
                    <a:pt x="1157" y="608"/>
                    <a:pt x="1159" y="600"/>
                  </a:cubicBezTo>
                  <a:cubicBezTo>
                    <a:pt x="1162" y="593"/>
                    <a:pt x="1164" y="586"/>
                    <a:pt x="1166" y="579"/>
                  </a:cubicBezTo>
                  <a:cubicBezTo>
                    <a:pt x="1168" y="572"/>
                    <a:pt x="1167" y="565"/>
                    <a:pt x="1170" y="558"/>
                  </a:cubicBezTo>
                  <a:cubicBezTo>
                    <a:pt x="1171" y="554"/>
                    <a:pt x="1173" y="551"/>
                    <a:pt x="1174" y="548"/>
                  </a:cubicBezTo>
                  <a:cubicBezTo>
                    <a:pt x="1176" y="545"/>
                    <a:pt x="1175" y="541"/>
                    <a:pt x="1174" y="538"/>
                  </a:cubicBezTo>
                  <a:cubicBezTo>
                    <a:pt x="1173" y="529"/>
                    <a:pt x="1172" y="520"/>
                    <a:pt x="1167" y="512"/>
                  </a:cubicBezTo>
                  <a:cubicBezTo>
                    <a:pt x="1165" y="509"/>
                    <a:pt x="1159" y="502"/>
                    <a:pt x="1160" y="499"/>
                  </a:cubicBezTo>
                  <a:cubicBezTo>
                    <a:pt x="1160" y="498"/>
                    <a:pt x="1160" y="497"/>
                    <a:pt x="1160" y="495"/>
                  </a:cubicBezTo>
                  <a:cubicBezTo>
                    <a:pt x="1160" y="494"/>
                    <a:pt x="1160" y="494"/>
                    <a:pt x="1161" y="494"/>
                  </a:cubicBezTo>
                  <a:cubicBezTo>
                    <a:pt x="1161" y="494"/>
                    <a:pt x="1161" y="494"/>
                    <a:pt x="1161" y="494"/>
                  </a:cubicBezTo>
                  <a:cubicBezTo>
                    <a:pt x="1161" y="494"/>
                    <a:pt x="1161" y="494"/>
                    <a:pt x="1161" y="494"/>
                  </a:cubicBezTo>
                  <a:cubicBezTo>
                    <a:pt x="1161" y="494"/>
                    <a:pt x="1162" y="494"/>
                    <a:pt x="1162" y="494"/>
                  </a:cubicBezTo>
                  <a:cubicBezTo>
                    <a:pt x="1163" y="493"/>
                    <a:pt x="1163" y="494"/>
                    <a:pt x="1164" y="492"/>
                  </a:cubicBezTo>
                  <a:cubicBezTo>
                    <a:pt x="1165" y="490"/>
                    <a:pt x="1162" y="483"/>
                    <a:pt x="1161" y="480"/>
                  </a:cubicBezTo>
                  <a:cubicBezTo>
                    <a:pt x="1161" y="476"/>
                    <a:pt x="1159" y="470"/>
                    <a:pt x="1161" y="466"/>
                  </a:cubicBezTo>
                  <a:cubicBezTo>
                    <a:pt x="1161" y="463"/>
                    <a:pt x="1162" y="461"/>
                    <a:pt x="1164" y="458"/>
                  </a:cubicBezTo>
                  <a:cubicBezTo>
                    <a:pt x="1162" y="458"/>
                    <a:pt x="1159" y="458"/>
                    <a:pt x="1158" y="457"/>
                  </a:cubicBezTo>
                  <a:cubicBezTo>
                    <a:pt x="1157" y="454"/>
                    <a:pt x="1156" y="452"/>
                    <a:pt x="1155" y="450"/>
                  </a:cubicBezTo>
                  <a:cubicBezTo>
                    <a:pt x="1155" y="447"/>
                    <a:pt x="1154" y="444"/>
                    <a:pt x="1155" y="442"/>
                  </a:cubicBezTo>
                  <a:cubicBezTo>
                    <a:pt x="1155" y="441"/>
                    <a:pt x="1156" y="440"/>
                    <a:pt x="1155" y="439"/>
                  </a:cubicBezTo>
                  <a:cubicBezTo>
                    <a:pt x="1155" y="436"/>
                    <a:pt x="1150" y="436"/>
                    <a:pt x="1147" y="435"/>
                  </a:cubicBezTo>
                  <a:cubicBezTo>
                    <a:pt x="1144" y="434"/>
                    <a:pt x="1143" y="424"/>
                    <a:pt x="1141" y="421"/>
                  </a:cubicBezTo>
                  <a:cubicBezTo>
                    <a:pt x="1139" y="419"/>
                    <a:pt x="1135" y="417"/>
                    <a:pt x="1133" y="416"/>
                  </a:cubicBezTo>
                  <a:cubicBezTo>
                    <a:pt x="1130" y="414"/>
                    <a:pt x="1130" y="412"/>
                    <a:pt x="1129" y="409"/>
                  </a:cubicBezTo>
                  <a:cubicBezTo>
                    <a:pt x="1128" y="407"/>
                    <a:pt x="1128" y="405"/>
                    <a:pt x="1126" y="404"/>
                  </a:cubicBezTo>
                  <a:cubicBezTo>
                    <a:pt x="1124" y="401"/>
                    <a:pt x="1123" y="399"/>
                    <a:pt x="1119" y="399"/>
                  </a:cubicBezTo>
                  <a:cubicBezTo>
                    <a:pt x="1119" y="399"/>
                    <a:pt x="1119" y="399"/>
                    <a:pt x="1119" y="399"/>
                  </a:cubicBezTo>
                  <a:cubicBezTo>
                    <a:pt x="1119" y="399"/>
                    <a:pt x="1118" y="399"/>
                    <a:pt x="1118" y="399"/>
                  </a:cubicBezTo>
                  <a:cubicBezTo>
                    <a:pt x="1116" y="399"/>
                    <a:pt x="1114" y="397"/>
                    <a:pt x="1112" y="395"/>
                  </a:cubicBezTo>
                  <a:cubicBezTo>
                    <a:pt x="1110" y="393"/>
                    <a:pt x="1109" y="391"/>
                    <a:pt x="1107" y="391"/>
                  </a:cubicBezTo>
                  <a:cubicBezTo>
                    <a:pt x="1107" y="391"/>
                    <a:pt x="1106" y="391"/>
                    <a:pt x="1106" y="391"/>
                  </a:cubicBezTo>
                  <a:cubicBezTo>
                    <a:pt x="1104" y="386"/>
                    <a:pt x="1098" y="387"/>
                    <a:pt x="1095" y="383"/>
                  </a:cubicBezTo>
                  <a:cubicBezTo>
                    <a:pt x="1093" y="381"/>
                    <a:pt x="1093" y="375"/>
                    <a:pt x="1093" y="371"/>
                  </a:cubicBezTo>
                  <a:cubicBezTo>
                    <a:pt x="1092" y="369"/>
                    <a:pt x="1093" y="367"/>
                    <a:pt x="1092" y="365"/>
                  </a:cubicBezTo>
                  <a:cubicBezTo>
                    <a:pt x="1096" y="365"/>
                    <a:pt x="1093" y="355"/>
                    <a:pt x="1093" y="353"/>
                  </a:cubicBezTo>
                  <a:cubicBezTo>
                    <a:pt x="1093" y="354"/>
                    <a:pt x="1092" y="355"/>
                    <a:pt x="1092" y="355"/>
                  </a:cubicBezTo>
                  <a:cubicBezTo>
                    <a:pt x="1091" y="355"/>
                    <a:pt x="1091" y="354"/>
                    <a:pt x="1090" y="353"/>
                  </a:cubicBezTo>
                  <a:cubicBezTo>
                    <a:pt x="1090" y="352"/>
                    <a:pt x="1090" y="352"/>
                    <a:pt x="1091" y="352"/>
                  </a:cubicBezTo>
                  <a:cubicBezTo>
                    <a:pt x="1091" y="352"/>
                    <a:pt x="1091" y="352"/>
                    <a:pt x="1091" y="352"/>
                  </a:cubicBezTo>
                  <a:cubicBezTo>
                    <a:pt x="1091" y="352"/>
                    <a:pt x="1092" y="352"/>
                    <a:pt x="1092" y="352"/>
                  </a:cubicBezTo>
                  <a:cubicBezTo>
                    <a:pt x="1092" y="352"/>
                    <a:pt x="1092" y="352"/>
                    <a:pt x="1092" y="352"/>
                  </a:cubicBezTo>
                  <a:cubicBezTo>
                    <a:pt x="1092" y="350"/>
                    <a:pt x="1091" y="350"/>
                    <a:pt x="1090" y="348"/>
                  </a:cubicBezTo>
                  <a:cubicBezTo>
                    <a:pt x="1087" y="350"/>
                    <a:pt x="1087" y="352"/>
                    <a:pt x="1088" y="355"/>
                  </a:cubicBezTo>
                  <a:cubicBezTo>
                    <a:pt x="1085" y="353"/>
                    <a:pt x="1083" y="351"/>
                    <a:pt x="1080" y="350"/>
                  </a:cubicBezTo>
                  <a:cubicBezTo>
                    <a:pt x="1077" y="348"/>
                    <a:pt x="1077" y="348"/>
                    <a:pt x="1076" y="347"/>
                  </a:cubicBezTo>
                  <a:cubicBezTo>
                    <a:pt x="1075" y="345"/>
                    <a:pt x="1074" y="343"/>
                    <a:pt x="1072" y="341"/>
                  </a:cubicBezTo>
                  <a:cubicBezTo>
                    <a:pt x="1071" y="346"/>
                    <a:pt x="1070" y="351"/>
                    <a:pt x="1072" y="356"/>
                  </a:cubicBezTo>
                  <a:cubicBezTo>
                    <a:pt x="1069" y="354"/>
                    <a:pt x="1067" y="351"/>
                    <a:pt x="1064" y="351"/>
                  </a:cubicBezTo>
                  <a:cubicBezTo>
                    <a:pt x="1063" y="351"/>
                    <a:pt x="1062" y="351"/>
                    <a:pt x="1061" y="352"/>
                  </a:cubicBezTo>
                  <a:cubicBezTo>
                    <a:pt x="1058" y="343"/>
                    <a:pt x="1058" y="334"/>
                    <a:pt x="1054" y="326"/>
                  </a:cubicBezTo>
                  <a:cubicBezTo>
                    <a:pt x="1053" y="321"/>
                    <a:pt x="1049" y="318"/>
                    <a:pt x="1048" y="313"/>
                  </a:cubicBezTo>
                  <a:cubicBezTo>
                    <a:pt x="1048" y="309"/>
                    <a:pt x="1048" y="309"/>
                    <a:pt x="1044" y="307"/>
                  </a:cubicBezTo>
                  <a:cubicBezTo>
                    <a:pt x="1039" y="304"/>
                    <a:pt x="1037" y="302"/>
                    <a:pt x="1034" y="297"/>
                  </a:cubicBezTo>
                  <a:cubicBezTo>
                    <a:pt x="1033" y="296"/>
                    <a:pt x="1035" y="289"/>
                    <a:pt x="1036" y="289"/>
                  </a:cubicBezTo>
                  <a:cubicBezTo>
                    <a:pt x="1036" y="289"/>
                    <a:pt x="1036" y="289"/>
                    <a:pt x="1036" y="289"/>
                  </a:cubicBezTo>
                  <a:cubicBezTo>
                    <a:pt x="1036" y="289"/>
                    <a:pt x="1037" y="290"/>
                    <a:pt x="1037" y="291"/>
                  </a:cubicBezTo>
                  <a:cubicBezTo>
                    <a:pt x="1038" y="291"/>
                    <a:pt x="1038" y="292"/>
                    <a:pt x="1039" y="292"/>
                  </a:cubicBezTo>
                  <a:cubicBezTo>
                    <a:pt x="1039" y="292"/>
                    <a:pt x="1039" y="292"/>
                    <a:pt x="1039" y="292"/>
                  </a:cubicBezTo>
                  <a:cubicBezTo>
                    <a:pt x="1036" y="287"/>
                    <a:pt x="1031" y="283"/>
                    <a:pt x="1029" y="278"/>
                  </a:cubicBezTo>
                  <a:cubicBezTo>
                    <a:pt x="1027" y="279"/>
                    <a:pt x="1024" y="280"/>
                    <a:pt x="1026" y="282"/>
                  </a:cubicBezTo>
                  <a:cubicBezTo>
                    <a:pt x="1026" y="282"/>
                    <a:pt x="1025" y="282"/>
                    <a:pt x="1025" y="282"/>
                  </a:cubicBezTo>
                  <a:cubicBezTo>
                    <a:pt x="1023" y="282"/>
                    <a:pt x="1022" y="276"/>
                    <a:pt x="1020" y="275"/>
                  </a:cubicBezTo>
                  <a:cubicBezTo>
                    <a:pt x="1017" y="273"/>
                    <a:pt x="1013" y="271"/>
                    <a:pt x="1009" y="269"/>
                  </a:cubicBezTo>
                  <a:cubicBezTo>
                    <a:pt x="1008" y="269"/>
                    <a:pt x="1007" y="268"/>
                    <a:pt x="1007" y="268"/>
                  </a:cubicBezTo>
                  <a:cubicBezTo>
                    <a:pt x="1006" y="268"/>
                    <a:pt x="1006" y="269"/>
                    <a:pt x="1004" y="271"/>
                  </a:cubicBezTo>
                  <a:cubicBezTo>
                    <a:pt x="1002" y="267"/>
                    <a:pt x="1000" y="263"/>
                    <a:pt x="998" y="260"/>
                  </a:cubicBezTo>
                  <a:cubicBezTo>
                    <a:pt x="997" y="259"/>
                    <a:pt x="997" y="256"/>
                    <a:pt x="996" y="256"/>
                  </a:cubicBezTo>
                  <a:cubicBezTo>
                    <a:pt x="996" y="256"/>
                    <a:pt x="996" y="256"/>
                    <a:pt x="996" y="256"/>
                  </a:cubicBezTo>
                  <a:cubicBezTo>
                    <a:pt x="995" y="256"/>
                    <a:pt x="994" y="256"/>
                    <a:pt x="993" y="257"/>
                  </a:cubicBezTo>
                  <a:cubicBezTo>
                    <a:pt x="993" y="258"/>
                    <a:pt x="992" y="259"/>
                    <a:pt x="991" y="259"/>
                  </a:cubicBezTo>
                  <a:cubicBezTo>
                    <a:pt x="991" y="259"/>
                    <a:pt x="991" y="258"/>
                    <a:pt x="991" y="258"/>
                  </a:cubicBezTo>
                  <a:cubicBezTo>
                    <a:pt x="989" y="258"/>
                    <a:pt x="986" y="257"/>
                    <a:pt x="985" y="255"/>
                  </a:cubicBezTo>
                  <a:cubicBezTo>
                    <a:pt x="985" y="255"/>
                    <a:pt x="986" y="252"/>
                    <a:pt x="985" y="252"/>
                  </a:cubicBezTo>
                  <a:cubicBezTo>
                    <a:pt x="984" y="252"/>
                    <a:pt x="984" y="252"/>
                    <a:pt x="984" y="252"/>
                  </a:cubicBezTo>
                  <a:cubicBezTo>
                    <a:pt x="983" y="252"/>
                    <a:pt x="983" y="253"/>
                    <a:pt x="982" y="253"/>
                  </a:cubicBezTo>
                  <a:cubicBezTo>
                    <a:pt x="981" y="254"/>
                    <a:pt x="981" y="255"/>
                    <a:pt x="980" y="255"/>
                  </a:cubicBezTo>
                  <a:cubicBezTo>
                    <a:pt x="980" y="255"/>
                    <a:pt x="980" y="255"/>
                    <a:pt x="980" y="255"/>
                  </a:cubicBezTo>
                  <a:cubicBezTo>
                    <a:pt x="976" y="253"/>
                    <a:pt x="972" y="251"/>
                    <a:pt x="969" y="248"/>
                  </a:cubicBezTo>
                  <a:cubicBezTo>
                    <a:pt x="964" y="244"/>
                    <a:pt x="963" y="244"/>
                    <a:pt x="963" y="237"/>
                  </a:cubicBezTo>
                  <a:cubicBezTo>
                    <a:pt x="964" y="236"/>
                    <a:pt x="964" y="235"/>
                    <a:pt x="964" y="234"/>
                  </a:cubicBezTo>
                  <a:cubicBezTo>
                    <a:pt x="964" y="230"/>
                    <a:pt x="957" y="228"/>
                    <a:pt x="957" y="225"/>
                  </a:cubicBezTo>
                  <a:cubicBezTo>
                    <a:pt x="957" y="216"/>
                    <a:pt x="958" y="207"/>
                    <a:pt x="956" y="199"/>
                  </a:cubicBezTo>
                  <a:cubicBezTo>
                    <a:pt x="956" y="195"/>
                    <a:pt x="953" y="192"/>
                    <a:pt x="953" y="188"/>
                  </a:cubicBezTo>
                  <a:cubicBezTo>
                    <a:pt x="952" y="187"/>
                    <a:pt x="953" y="184"/>
                    <a:pt x="953" y="184"/>
                  </a:cubicBezTo>
                  <a:cubicBezTo>
                    <a:pt x="952" y="183"/>
                    <a:pt x="953" y="183"/>
                    <a:pt x="953" y="183"/>
                  </a:cubicBezTo>
                  <a:cubicBezTo>
                    <a:pt x="951" y="183"/>
                    <a:pt x="950" y="184"/>
                    <a:pt x="948" y="185"/>
                  </a:cubicBezTo>
                  <a:cubicBezTo>
                    <a:pt x="949" y="181"/>
                    <a:pt x="941" y="174"/>
                    <a:pt x="939" y="171"/>
                  </a:cubicBezTo>
                  <a:cubicBezTo>
                    <a:pt x="938" y="170"/>
                    <a:pt x="938" y="171"/>
                    <a:pt x="937" y="168"/>
                  </a:cubicBezTo>
                  <a:cubicBezTo>
                    <a:pt x="936" y="164"/>
                    <a:pt x="937" y="159"/>
                    <a:pt x="937" y="155"/>
                  </a:cubicBezTo>
                  <a:cubicBezTo>
                    <a:pt x="936" y="148"/>
                    <a:pt x="932" y="141"/>
                    <a:pt x="934" y="135"/>
                  </a:cubicBezTo>
                  <a:cubicBezTo>
                    <a:pt x="935" y="133"/>
                    <a:pt x="936" y="135"/>
                    <a:pt x="934" y="131"/>
                  </a:cubicBezTo>
                  <a:cubicBezTo>
                    <a:pt x="933" y="128"/>
                    <a:pt x="935" y="129"/>
                    <a:pt x="935" y="126"/>
                  </a:cubicBezTo>
                  <a:cubicBezTo>
                    <a:pt x="934" y="124"/>
                    <a:pt x="933" y="123"/>
                    <a:pt x="929" y="121"/>
                  </a:cubicBezTo>
                  <a:cubicBezTo>
                    <a:pt x="928" y="121"/>
                    <a:pt x="927" y="120"/>
                    <a:pt x="925" y="119"/>
                  </a:cubicBezTo>
                  <a:cubicBezTo>
                    <a:pt x="923" y="118"/>
                    <a:pt x="920" y="116"/>
                    <a:pt x="918" y="114"/>
                  </a:cubicBezTo>
                  <a:cubicBezTo>
                    <a:pt x="918" y="113"/>
                    <a:pt x="916" y="113"/>
                    <a:pt x="915" y="112"/>
                  </a:cubicBezTo>
                  <a:cubicBezTo>
                    <a:pt x="913" y="110"/>
                    <a:pt x="912" y="106"/>
                    <a:pt x="909" y="104"/>
                  </a:cubicBezTo>
                  <a:cubicBezTo>
                    <a:pt x="908" y="105"/>
                    <a:pt x="907" y="106"/>
                    <a:pt x="906" y="106"/>
                  </a:cubicBezTo>
                  <a:cubicBezTo>
                    <a:pt x="906" y="106"/>
                    <a:pt x="906" y="106"/>
                    <a:pt x="906" y="106"/>
                  </a:cubicBezTo>
                  <a:cubicBezTo>
                    <a:pt x="905" y="106"/>
                    <a:pt x="905" y="105"/>
                    <a:pt x="904" y="105"/>
                  </a:cubicBezTo>
                  <a:cubicBezTo>
                    <a:pt x="904" y="105"/>
                    <a:pt x="903" y="104"/>
                    <a:pt x="903" y="104"/>
                  </a:cubicBezTo>
                  <a:cubicBezTo>
                    <a:pt x="903" y="104"/>
                    <a:pt x="903" y="104"/>
                    <a:pt x="902" y="105"/>
                  </a:cubicBezTo>
                  <a:cubicBezTo>
                    <a:pt x="902" y="105"/>
                    <a:pt x="901" y="108"/>
                    <a:pt x="899" y="110"/>
                  </a:cubicBezTo>
                  <a:cubicBezTo>
                    <a:pt x="898" y="111"/>
                    <a:pt x="896" y="111"/>
                    <a:pt x="895" y="111"/>
                  </a:cubicBezTo>
                  <a:cubicBezTo>
                    <a:pt x="894" y="111"/>
                    <a:pt x="893" y="111"/>
                    <a:pt x="892" y="110"/>
                  </a:cubicBezTo>
                  <a:cubicBezTo>
                    <a:pt x="889" y="108"/>
                    <a:pt x="889" y="102"/>
                    <a:pt x="888" y="99"/>
                  </a:cubicBezTo>
                  <a:cubicBezTo>
                    <a:pt x="887" y="91"/>
                    <a:pt x="885" y="83"/>
                    <a:pt x="883" y="75"/>
                  </a:cubicBezTo>
                  <a:cubicBezTo>
                    <a:pt x="882" y="72"/>
                    <a:pt x="881" y="65"/>
                    <a:pt x="883" y="63"/>
                  </a:cubicBezTo>
                  <a:cubicBezTo>
                    <a:pt x="883" y="63"/>
                    <a:pt x="883" y="63"/>
                    <a:pt x="882" y="63"/>
                  </a:cubicBezTo>
                  <a:cubicBezTo>
                    <a:pt x="881" y="63"/>
                    <a:pt x="879" y="63"/>
                    <a:pt x="878" y="63"/>
                  </a:cubicBezTo>
                  <a:cubicBezTo>
                    <a:pt x="879" y="58"/>
                    <a:pt x="881" y="57"/>
                    <a:pt x="877" y="53"/>
                  </a:cubicBezTo>
                  <a:cubicBezTo>
                    <a:pt x="876" y="51"/>
                    <a:pt x="874" y="49"/>
                    <a:pt x="872" y="48"/>
                  </a:cubicBezTo>
                  <a:cubicBezTo>
                    <a:pt x="872" y="48"/>
                    <a:pt x="872" y="48"/>
                    <a:pt x="872" y="48"/>
                  </a:cubicBezTo>
                  <a:cubicBezTo>
                    <a:pt x="872" y="48"/>
                    <a:pt x="872" y="48"/>
                    <a:pt x="872" y="48"/>
                  </a:cubicBezTo>
                  <a:cubicBezTo>
                    <a:pt x="871" y="48"/>
                    <a:pt x="871" y="48"/>
                    <a:pt x="871" y="48"/>
                  </a:cubicBezTo>
                  <a:cubicBezTo>
                    <a:pt x="871" y="48"/>
                    <a:pt x="871" y="48"/>
                    <a:pt x="870" y="48"/>
                  </a:cubicBezTo>
                  <a:cubicBezTo>
                    <a:pt x="869" y="46"/>
                    <a:pt x="871" y="38"/>
                    <a:pt x="874" y="37"/>
                  </a:cubicBezTo>
                  <a:cubicBezTo>
                    <a:pt x="871" y="34"/>
                    <a:pt x="867" y="37"/>
                    <a:pt x="865" y="34"/>
                  </a:cubicBezTo>
                  <a:cubicBezTo>
                    <a:pt x="861" y="30"/>
                    <a:pt x="862" y="22"/>
                    <a:pt x="861" y="17"/>
                  </a:cubicBezTo>
                  <a:cubicBezTo>
                    <a:pt x="861" y="15"/>
                    <a:pt x="860" y="5"/>
                    <a:pt x="856" y="5"/>
                  </a:cubicBezTo>
                  <a:cubicBezTo>
                    <a:pt x="855" y="5"/>
                    <a:pt x="854" y="6"/>
                    <a:pt x="853" y="7"/>
                  </a:cubicBezTo>
                  <a:cubicBezTo>
                    <a:pt x="855" y="3"/>
                    <a:pt x="858" y="2"/>
                    <a:pt x="854" y="0"/>
                  </a:cubicBezTo>
                  <a:cubicBezTo>
                    <a:pt x="854" y="0"/>
                    <a:pt x="853" y="0"/>
                    <a:pt x="8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1494"/>
            <p:cNvSpPr/>
            <p:nvPr/>
          </p:nvSpPr>
          <p:spPr bwMode="auto">
            <a:xfrm>
              <a:off x="91" y="475"/>
              <a:ext cx="10" cy="15"/>
            </a:xfrm>
            <a:custGeom>
              <a:gdLst>
                <a:gd name="T0" fmla="*/ 4 w 4"/>
                <a:gd name="T1" fmla="*/ 0 h 6"/>
                <a:gd name="T2" fmla="*/ 3 w 4"/>
                <a:gd name="T3" fmla="*/ 6 h 6"/>
                <a:gd name="T4" fmla="*/ 4 w 4"/>
                <a:gd name="T5" fmla="*/ 0 h 6"/>
              </a:gdLst>
              <a:cxnLst>
                <a:cxn ang="0">
                  <a:pos x="T0" y="T1"/>
                </a:cxn>
                <a:cxn ang="0">
                  <a:pos x="T2" y="T3"/>
                </a:cxn>
                <a:cxn ang="0">
                  <a:pos x="T4" y="T5"/>
                </a:cxn>
              </a:cxnLst>
              <a:rect l="0" t="0" r="r" b="b"/>
              <a:pathLst>
                <a:path w="4" h="6">
                  <a:moveTo>
                    <a:pt x="4" y="0"/>
                  </a:moveTo>
                  <a:cubicBezTo>
                    <a:pt x="0" y="1"/>
                    <a:pt x="3" y="4"/>
                    <a:pt x="3" y="6"/>
                  </a:cubicBezTo>
                  <a:cubicBezTo>
                    <a:pt x="3" y="4"/>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1495"/>
            <p:cNvSpPr/>
            <p:nvPr/>
          </p:nvSpPr>
          <p:spPr bwMode="auto">
            <a:xfrm>
              <a:off x="105" y="530"/>
              <a:ext cx="7" cy="12"/>
            </a:xfrm>
            <a:custGeom>
              <a:gdLst>
                <a:gd name="T0" fmla="*/ 3 w 3"/>
                <a:gd name="T1" fmla="*/ 0 h 5"/>
                <a:gd name="T2" fmla="*/ 1 w 3"/>
                <a:gd name="T3" fmla="*/ 5 h 5"/>
                <a:gd name="T4" fmla="*/ 3 w 3"/>
                <a:gd name="T5" fmla="*/ 0 h 5"/>
              </a:gdLst>
              <a:cxnLst>
                <a:cxn ang="0">
                  <a:pos x="T0" y="T1"/>
                </a:cxn>
                <a:cxn ang="0">
                  <a:pos x="T2" y="T3"/>
                </a:cxn>
                <a:cxn ang="0">
                  <a:pos x="T4" y="T5"/>
                </a:cxn>
              </a:cxnLst>
              <a:rect l="0" t="0" r="r" b="b"/>
              <a:pathLst>
                <a:path w="3" h="5">
                  <a:moveTo>
                    <a:pt x="3" y="0"/>
                  </a:moveTo>
                  <a:cubicBezTo>
                    <a:pt x="1" y="1"/>
                    <a:pt x="0" y="3"/>
                    <a:pt x="1"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1496"/>
            <p:cNvSpPr/>
            <p:nvPr/>
          </p:nvSpPr>
          <p:spPr bwMode="auto">
            <a:xfrm>
              <a:off x="42" y="145"/>
              <a:ext cx="4" cy="11"/>
            </a:xfrm>
            <a:custGeom>
              <a:gdLst>
                <a:gd name="T0" fmla="*/ 2 w 2"/>
                <a:gd name="T1" fmla="*/ 0 h 5"/>
                <a:gd name="T2" fmla="*/ 0 w 2"/>
                <a:gd name="T3" fmla="*/ 4 h 5"/>
                <a:gd name="T4" fmla="*/ 1 w 2"/>
                <a:gd name="T5" fmla="*/ 5 h 5"/>
                <a:gd name="T6" fmla="*/ 1 w 2"/>
                <a:gd name="T7" fmla="*/ 3 h 5"/>
                <a:gd name="T8" fmla="*/ 2 w 2"/>
                <a:gd name="T9" fmla="*/ 0 h 5"/>
              </a:gdLst>
              <a:cxnLst>
                <a:cxn ang="0">
                  <a:pos x="T0" y="T1"/>
                </a:cxn>
                <a:cxn ang="0">
                  <a:pos x="T2" y="T3"/>
                </a:cxn>
                <a:cxn ang="0">
                  <a:pos x="T4" y="T5"/>
                </a:cxn>
                <a:cxn ang="0">
                  <a:pos x="T6" y="T7"/>
                </a:cxn>
                <a:cxn ang="0">
                  <a:pos x="T8" y="T9"/>
                </a:cxn>
              </a:cxnLst>
              <a:rect l="0" t="0" r="r" b="b"/>
              <a:pathLst>
                <a:path w="2" h="5">
                  <a:moveTo>
                    <a:pt x="2" y="0"/>
                  </a:moveTo>
                  <a:cubicBezTo>
                    <a:pt x="1" y="1"/>
                    <a:pt x="0" y="2"/>
                    <a:pt x="0" y="4"/>
                  </a:cubicBezTo>
                  <a:cubicBezTo>
                    <a:pt x="0" y="4"/>
                    <a:pt x="0" y="5"/>
                    <a:pt x="1" y="5"/>
                  </a:cubicBezTo>
                  <a:cubicBezTo>
                    <a:pt x="1" y="4"/>
                    <a:pt x="1" y="3"/>
                    <a:pt x="1"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1497"/>
            <p:cNvSpPr/>
            <p:nvPr/>
          </p:nvSpPr>
          <p:spPr bwMode="auto">
            <a:xfrm>
              <a:off x="72" y="466"/>
              <a:ext cx="5" cy="9"/>
            </a:xfrm>
            <a:custGeom>
              <a:gdLst>
                <a:gd name="T0" fmla="*/ 0 w 2"/>
                <a:gd name="T1" fmla="*/ 0 h 4"/>
                <a:gd name="T2" fmla="*/ 0 w 2"/>
                <a:gd name="T3" fmla="*/ 1 h 4"/>
                <a:gd name="T4" fmla="*/ 2 w 2"/>
                <a:gd name="T5" fmla="*/ 4 h 4"/>
                <a:gd name="T6" fmla="*/ 0 w 2"/>
                <a:gd name="T7" fmla="*/ 1 h 4"/>
                <a:gd name="T8" fmla="*/ 0 w 2"/>
                <a:gd name="T9" fmla="*/ 0 h 4"/>
              </a:gdLst>
              <a:cxnLst>
                <a:cxn ang="0">
                  <a:pos x="T0" y="T1"/>
                </a:cxn>
                <a:cxn ang="0">
                  <a:pos x="T2" y="T3"/>
                </a:cxn>
                <a:cxn ang="0">
                  <a:pos x="T4" y="T5"/>
                </a:cxn>
                <a:cxn ang="0">
                  <a:pos x="T6" y="T7"/>
                </a:cxn>
                <a:cxn ang="0">
                  <a:pos x="T8" y="T9"/>
                </a:cxn>
              </a:cxnLst>
              <a:rect l="0" t="0" r="r" b="b"/>
              <a:pathLst>
                <a:path w="2" h="4">
                  <a:moveTo>
                    <a:pt x="0" y="0"/>
                  </a:moveTo>
                  <a:cubicBezTo>
                    <a:pt x="0" y="1"/>
                    <a:pt x="0" y="1"/>
                    <a:pt x="0" y="1"/>
                  </a:cubicBezTo>
                  <a:cubicBezTo>
                    <a:pt x="1" y="2"/>
                    <a:pt x="1" y="3"/>
                    <a:pt x="2" y="4"/>
                  </a:cubicBezTo>
                  <a:cubicBezTo>
                    <a:pt x="1" y="3"/>
                    <a:pt x="1" y="2"/>
                    <a:pt x="0" y="1"/>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1498"/>
            <p:cNvSpPr/>
            <p:nvPr/>
          </p:nvSpPr>
          <p:spPr bwMode="auto">
            <a:xfrm>
              <a:off x="20" y="291"/>
              <a:ext cx="14" cy="24"/>
            </a:xfrm>
            <a:custGeom>
              <a:gdLst>
                <a:gd name="T0" fmla="*/ 4 w 6"/>
                <a:gd name="T1" fmla="*/ 0 h 10"/>
                <a:gd name="T2" fmla="*/ 0 w 6"/>
                <a:gd name="T3" fmla="*/ 3 h 10"/>
                <a:gd name="T4" fmla="*/ 0 w 6"/>
                <a:gd name="T5" fmla="*/ 7 h 10"/>
                <a:gd name="T6" fmla="*/ 0 w 6"/>
                <a:gd name="T7" fmla="*/ 9 h 10"/>
                <a:gd name="T8" fmla="*/ 3 w 6"/>
                <a:gd name="T9" fmla="*/ 10 h 10"/>
                <a:gd name="T10" fmla="*/ 6 w 6"/>
                <a:gd name="T11" fmla="*/ 2 h 10"/>
                <a:gd name="T12" fmla="*/ 6 w 6"/>
                <a:gd name="T13" fmla="*/ 2 h 10"/>
                <a:gd name="T14" fmla="*/ 4 w 6"/>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4" y="0"/>
                  </a:moveTo>
                  <a:cubicBezTo>
                    <a:pt x="2" y="0"/>
                    <a:pt x="0" y="2"/>
                    <a:pt x="0" y="3"/>
                  </a:cubicBezTo>
                  <a:cubicBezTo>
                    <a:pt x="0" y="4"/>
                    <a:pt x="0" y="6"/>
                    <a:pt x="0" y="7"/>
                  </a:cubicBezTo>
                  <a:cubicBezTo>
                    <a:pt x="0" y="8"/>
                    <a:pt x="0" y="9"/>
                    <a:pt x="0" y="9"/>
                  </a:cubicBezTo>
                  <a:cubicBezTo>
                    <a:pt x="1" y="10"/>
                    <a:pt x="2" y="10"/>
                    <a:pt x="3" y="10"/>
                  </a:cubicBezTo>
                  <a:cubicBezTo>
                    <a:pt x="5" y="10"/>
                    <a:pt x="6" y="5"/>
                    <a:pt x="6" y="2"/>
                  </a:cubicBezTo>
                  <a:cubicBezTo>
                    <a:pt x="6" y="2"/>
                    <a:pt x="6" y="2"/>
                    <a:pt x="6" y="2"/>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1499"/>
            <p:cNvSpPr/>
            <p:nvPr/>
          </p:nvSpPr>
          <p:spPr bwMode="auto">
            <a:xfrm>
              <a:off x="82" y="490"/>
              <a:ext cx="14" cy="9"/>
            </a:xfrm>
            <a:custGeom>
              <a:gdLst>
                <a:gd name="T0" fmla="*/ 4 w 6"/>
                <a:gd name="T1" fmla="*/ 0 h 4"/>
                <a:gd name="T2" fmla="*/ 5 w 6"/>
                <a:gd name="T3" fmla="*/ 4 h 4"/>
                <a:gd name="T4" fmla="*/ 6 w 6"/>
                <a:gd name="T5" fmla="*/ 4 h 4"/>
                <a:gd name="T6" fmla="*/ 4 w 6"/>
                <a:gd name="T7" fmla="*/ 0 h 4"/>
              </a:gdLst>
              <a:cxnLst>
                <a:cxn ang="0">
                  <a:pos x="T0" y="T1"/>
                </a:cxn>
                <a:cxn ang="0">
                  <a:pos x="T2" y="T3"/>
                </a:cxn>
                <a:cxn ang="0">
                  <a:pos x="T4" y="T5"/>
                </a:cxn>
                <a:cxn ang="0">
                  <a:pos x="T6" y="T7"/>
                </a:cxn>
              </a:cxnLst>
              <a:rect l="0" t="0" r="r" b="b"/>
              <a:pathLst>
                <a:path w="6" h="4">
                  <a:moveTo>
                    <a:pt x="4" y="0"/>
                  </a:moveTo>
                  <a:cubicBezTo>
                    <a:pt x="0" y="1"/>
                    <a:pt x="2" y="4"/>
                    <a:pt x="5" y="4"/>
                  </a:cubicBezTo>
                  <a:cubicBezTo>
                    <a:pt x="5" y="4"/>
                    <a:pt x="5" y="4"/>
                    <a:pt x="6" y="4"/>
                  </a:cubicBezTo>
                  <a:cubicBezTo>
                    <a:pt x="5"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1500"/>
            <p:cNvSpPr>
              <a:spLocks noEditPoints="1"/>
            </p:cNvSpPr>
            <p:nvPr/>
          </p:nvSpPr>
          <p:spPr bwMode="auto">
            <a:xfrm>
              <a:off x="49" y="102"/>
              <a:ext cx="21" cy="90"/>
            </a:xfrm>
            <a:custGeom>
              <a:gdLst>
                <a:gd name="T0" fmla="*/ 6 w 9"/>
                <a:gd name="T1" fmla="*/ 7 h 38"/>
                <a:gd name="T2" fmla="*/ 6 w 9"/>
                <a:gd name="T3" fmla="*/ 7 h 38"/>
                <a:gd name="T4" fmla="*/ 6 w 9"/>
                <a:gd name="T5" fmla="*/ 7 h 38"/>
                <a:gd name="T6" fmla="*/ 8 w 9"/>
                <a:gd name="T7" fmla="*/ 0 h 38"/>
                <a:gd name="T8" fmla="*/ 3 w 9"/>
                <a:gd name="T9" fmla="*/ 17 h 38"/>
                <a:gd name="T10" fmla="*/ 1 w 9"/>
                <a:gd name="T11" fmla="*/ 20 h 38"/>
                <a:gd name="T12" fmla="*/ 2 w 9"/>
                <a:gd name="T13" fmla="*/ 20 h 38"/>
                <a:gd name="T14" fmla="*/ 0 w 9"/>
                <a:gd name="T15" fmla="*/ 30 h 38"/>
                <a:gd name="T16" fmla="*/ 0 w 9"/>
                <a:gd name="T17" fmla="*/ 38 h 38"/>
                <a:gd name="T18" fmla="*/ 1 w 9"/>
                <a:gd name="T19" fmla="*/ 38 h 38"/>
                <a:gd name="T20" fmla="*/ 1 w 9"/>
                <a:gd name="T21" fmla="*/ 38 h 38"/>
                <a:gd name="T22" fmla="*/ 2 w 9"/>
                <a:gd name="T23" fmla="*/ 37 h 38"/>
                <a:gd name="T24" fmla="*/ 6 w 9"/>
                <a:gd name="T25" fmla="*/ 31 h 38"/>
                <a:gd name="T26" fmla="*/ 5 w 9"/>
                <a:gd name="T27" fmla="*/ 25 h 38"/>
                <a:gd name="T28" fmla="*/ 3 w 9"/>
                <a:gd name="T29" fmla="*/ 20 h 38"/>
                <a:gd name="T30" fmla="*/ 3 w 9"/>
                <a:gd name="T31" fmla="*/ 20 h 38"/>
                <a:gd name="T32" fmla="*/ 5 w 9"/>
                <a:gd name="T33" fmla="*/ 15 h 38"/>
                <a:gd name="T34" fmla="*/ 8 w 9"/>
                <a:gd name="T35" fmla="*/ 13 h 38"/>
                <a:gd name="T36" fmla="*/ 9 w 9"/>
                <a:gd name="T37" fmla="*/ 10 h 38"/>
                <a:gd name="T38" fmla="*/ 8 w 9"/>
                <a:gd name="T39" fmla="*/ 8 h 38"/>
                <a:gd name="T40" fmla="*/ 6 w 9"/>
                <a:gd name="T41" fmla="*/ 7 h 38"/>
                <a:gd name="T42" fmla="*/ 7 w 9"/>
                <a:gd name="T43" fmla="*/ 7 h 38"/>
                <a:gd name="T44" fmla="*/ 8 w 9"/>
                <a:gd name="T45" fmla="*/ 6 h 38"/>
                <a:gd name="T46" fmla="*/ 9 w 9"/>
                <a:gd name="T47" fmla="*/ 5 h 38"/>
                <a:gd name="T48" fmla="*/ 9 w 9"/>
                <a:gd name="T49" fmla="*/ 5 h 38"/>
                <a:gd name="T50" fmla="*/ 8 w 9"/>
                <a:gd name="T51" fmla="*/ 0 h 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38">
                  <a:moveTo>
                    <a:pt x="6" y="7"/>
                  </a:moveTo>
                  <a:cubicBezTo>
                    <a:pt x="6" y="7"/>
                    <a:pt x="6" y="7"/>
                    <a:pt x="6" y="7"/>
                  </a:cubicBezTo>
                  <a:cubicBezTo>
                    <a:pt x="6" y="7"/>
                    <a:pt x="6" y="7"/>
                    <a:pt x="6" y="7"/>
                  </a:cubicBezTo>
                  <a:moveTo>
                    <a:pt x="8" y="0"/>
                  </a:moveTo>
                  <a:cubicBezTo>
                    <a:pt x="6" y="6"/>
                    <a:pt x="4" y="11"/>
                    <a:pt x="3" y="17"/>
                  </a:cubicBezTo>
                  <a:cubicBezTo>
                    <a:pt x="2" y="18"/>
                    <a:pt x="2" y="19"/>
                    <a:pt x="1" y="20"/>
                  </a:cubicBezTo>
                  <a:cubicBezTo>
                    <a:pt x="2" y="20"/>
                    <a:pt x="2" y="20"/>
                    <a:pt x="2" y="20"/>
                  </a:cubicBezTo>
                  <a:cubicBezTo>
                    <a:pt x="1" y="21"/>
                    <a:pt x="0" y="26"/>
                    <a:pt x="0" y="30"/>
                  </a:cubicBezTo>
                  <a:cubicBezTo>
                    <a:pt x="0" y="33"/>
                    <a:pt x="0" y="36"/>
                    <a:pt x="0" y="38"/>
                  </a:cubicBezTo>
                  <a:cubicBezTo>
                    <a:pt x="1" y="38"/>
                    <a:pt x="1" y="38"/>
                    <a:pt x="1" y="38"/>
                  </a:cubicBezTo>
                  <a:cubicBezTo>
                    <a:pt x="1" y="38"/>
                    <a:pt x="1" y="38"/>
                    <a:pt x="1" y="38"/>
                  </a:cubicBezTo>
                  <a:cubicBezTo>
                    <a:pt x="2" y="37"/>
                    <a:pt x="2" y="37"/>
                    <a:pt x="2" y="37"/>
                  </a:cubicBezTo>
                  <a:cubicBezTo>
                    <a:pt x="4" y="37"/>
                    <a:pt x="6" y="34"/>
                    <a:pt x="6" y="31"/>
                  </a:cubicBezTo>
                  <a:cubicBezTo>
                    <a:pt x="7" y="30"/>
                    <a:pt x="6" y="27"/>
                    <a:pt x="5" y="25"/>
                  </a:cubicBezTo>
                  <a:cubicBezTo>
                    <a:pt x="5" y="23"/>
                    <a:pt x="4" y="22"/>
                    <a:pt x="3" y="20"/>
                  </a:cubicBezTo>
                  <a:cubicBezTo>
                    <a:pt x="3" y="20"/>
                    <a:pt x="3" y="20"/>
                    <a:pt x="3" y="20"/>
                  </a:cubicBezTo>
                  <a:cubicBezTo>
                    <a:pt x="5" y="19"/>
                    <a:pt x="4" y="16"/>
                    <a:pt x="5" y="15"/>
                  </a:cubicBezTo>
                  <a:cubicBezTo>
                    <a:pt x="6" y="14"/>
                    <a:pt x="7" y="15"/>
                    <a:pt x="8" y="13"/>
                  </a:cubicBezTo>
                  <a:cubicBezTo>
                    <a:pt x="9" y="12"/>
                    <a:pt x="9" y="11"/>
                    <a:pt x="9" y="10"/>
                  </a:cubicBezTo>
                  <a:cubicBezTo>
                    <a:pt x="8" y="10"/>
                    <a:pt x="8" y="9"/>
                    <a:pt x="8" y="8"/>
                  </a:cubicBezTo>
                  <a:cubicBezTo>
                    <a:pt x="8" y="7"/>
                    <a:pt x="6" y="8"/>
                    <a:pt x="6" y="7"/>
                  </a:cubicBezTo>
                  <a:cubicBezTo>
                    <a:pt x="6" y="7"/>
                    <a:pt x="6" y="7"/>
                    <a:pt x="7" y="7"/>
                  </a:cubicBezTo>
                  <a:cubicBezTo>
                    <a:pt x="7" y="7"/>
                    <a:pt x="7" y="6"/>
                    <a:pt x="8" y="6"/>
                  </a:cubicBezTo>
                  <a:cubicBezTo>
                    <a:pt x="8" y="5"/>
                    <a:pt x="8" y="5"/>
                    <a:pt x="9" y="5"/>
                  </a:cubicBezTo>
                  <a:cubicBezTo>
                    <a:pt x="9" y="5"/>
                    <a:pt x="9" y="5"/>
                    <a:pt x="9" y="5"/>
                  </a:cubicBezTo>
                  <a:cubicBezTo>
                    <a:pt x="9" y="4"/>
                    <a:pt x="8"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1501"/>
            <p:cNvSpPr/>
            <p:nvPr/>
          </p:nvSpPr>
          <p:spPr bwMode="auto">
            <a:xfrm>
              <a:off x="30" y="189"/>
              <a:ext cx="26" cy="57"/>
            </a:xfrm>
            <a:custGeom>
              <a:gdLst>
                <a:gd name="T0" fmla="*/ 10 w 11"/>
                <a:gd name="T1" fmla="*/ 0 h 24"/>
                <a:gd name="T2" fmla="*/ 9 w 11"/>
                <a:gd name="T3" fmla="*/ 1 h 24"/>
                <a:gd name="T4" fmla="*/ 9 w 11"/>
                <a:gd name="T5" fmla="*/ 1 h 24"/>
                <a:gd name="T6" fmla="*/ 8 w 11"/>
                <a:gd name="T7" fmla="*/ 5 h 24"/>
                <a:gd name="T8" fmla="*/ 8 w 11"/>
                <a:gd name="T9" fmla="*/ 5 h 24"/>
                <a:gd name="T10" fmla="*/ 6 w 11"/>
                <a:gd name="T11" fmla="*/ 4 h 24"/>
                <a:gd name="T12" fmla="*/ 4 w 11"/>
                <a:gd name="T13" fmla="*/ 6 h 24"/>
                <a:gd name="T14" fmla="*/ 4 w 11"/>
                <a:gd name="T15" fmla="*/ 9 h 24"/>
                <a:gd name="T16" fmla="*/ 3 w 11"/>
                <a:gd name="T17" fmla="*/ 13 h 24"/>
                <a:gd name="T18" fmla="*/ 2 w 11"/>
                <a:gd name="T19" fmla="*/ 12 h 24"/>
                <a:gd name="T20" fmla="*/ 1 w 11"/>
                <a:gd name="T21" fmla="*/ 13 h 24"/>
                <a:gd name="T22" fmla="*/ 3 w 11"/>
                <a:gd name="T23" fmla="*/ 19 h 24"/>
                <a:gd name="T24" fmla="*/ 4 w 11"/>
                <a:gd name="T25" fmla="*/ 20 h 24"/>
                <a:gd name="T26" fmla="*/ 6 w 11"/>
                <a:gd name="T27" fmla="*/ 24 h 24"/>
                <a:gd name="T28" fmla="*/ 7 w 11"/>
                <a:gd name="T29" fmla="*/ 17 h 24"/>
                <a:gd name="T30" fmla="*/ 8 w 11"/>
                <a:gd name="T31" fmla="*/ 8 h 24"/>
                <a:gd name="T32" fmla="*/ 10 w 11"/>
                <a:gd name="T33" fmla="*/ 2 h 24"/>
                <a:gd name="T34" fmla="*/ 11 w 11"/>
                <a:gd name="T35" fmla="*/ 1 h 24"/>
                <a:gd name="T36" fmla="*/ 10 w 11"/>
                <a:gd name="T37"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4">
                  <a:moveTo>
                    <a:pt x="10" y="0"/>
                  </a:moveTo>
                  <a:cubicBezTo>
                    <a:pt x="9" y="1"/>
                    <a:pt x="9" y="1"/>
                    <a:pt x="9" y="1"/>
                  </a:cubicBezTo>
                  <a:cubicBezTo>
                    <a:pt x="9" y="1"/>
                    <a:pt x="9" y="1"/>
                    <a:pt x="9" y="1"/>
                  </a:cubicBezTo>
                  <a:cubicBezTo>
                    <a:pt x="8" y="1"/>
                    <a:pt x="8" y="3"/>
                    <a:pt x="8" y="5"/>
                  </a:cubicBezTo>
                  <a:cubicBezTo>
                    <a:pt x="8" y="5"/>
                    <a:pt x="8" y="5"/>
                    <a:pt x="8" y="5"/>
                  </a:cubicBezTo>
                  <a:cubicBezTo>
                    <a:pt x="7" y="4"/>
                    <a:pt x="7" y="4"/>
                    <a:pt x="6" y="4"/>
                  </a:cubicBezTo>
                  <a:cubicBezTo>
                    <a:pt x="5" y="4"/>
                    <a:pt x="4" y="5"/>
                    <a:pt x="4" y="6"/>
                  </a:cubicBezTo>
                  <a:cubicBezTo>
                    <a:pt x="4" y="7"/>
                    <a:pt x="4" y="8"/>
                    <a:pt x="4" y="9"/>
                  </a:cubicBezTo>
                  <a:cubicBezTo>
                    <a:pt x="4" y="10"/>
                    <a:pt x="4" y="12"/>
                    <a:pt x="3" y="13"/>
                  </a:cubicBezTo>
                  <a:cubicBezTo>
                    <a:pt x="3" y="12"/>
                    <a:pt x="3" y="12"/>
                    <a:pt x="2" y="12"/>
                  </a:cubicBezTo>
                  <a:cubicBezTo>
                    <a:pt x="2" y="12"/>
                    <a:pt x="1" y="12"/>
                    <a:pt x="1" y="13"/>
                  </a:cubicBezTo>
                  <a:cubicBezTo>
                    <a:pt x="0" y="16"/>
                    <a:pt x="3" y="18"/>
                    <a:pt x="3" y="19"/>
                  </a:cubicBezTo>
                  <a:cubicBezTo>
                    <a:pt x="4" y="19"/>
                    <a:pt x="4" y="20"/>
                    <a:pt x="4" y="20"/>
                  </a:cubicBezTo>
                  <a:cubicBezTo>
                    <a:pt x="4" y="22"/>
                    <a:pt x="5" y="23"/>
                    <a:pt x="6" y="24"/>
                  </a:cubicBezTo>
                  <a:cubicBezTo>
                    <a:pt x="7" y="22"/>
                    <a:pt x="7" y="19"/>
                    <a:pt x="7" y="17"/>
                  </a:cubicBezTo>
                  <a:cubicBezTo>
                    <a:pt x="7" y="14"/>
                    <a:pt x="7" y="11"/>
                    <a:pt x="8" y="8"/>
                  </a:cubicBezTo>
                  <a:cubicBezTo>
                    <a:pt x="9" y="6"/>
                    <a:pt x="9" y="4"/>
                    <a:pt x="10" y="2"/>
                  </a:cubicBezTo>
                  <a:cubicBezTo>
                    <a:pt x="11" y="2"/>
                    <a:pt x="11" y="1"/>
                    <a:pt x="11" y="1"/>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1502"/>
            <p:cNvSpPr/>
            <p:nvPr/>
          </p:nvSpPr>
          <p:spPr bwMode="auto">
            <a:xfrm>
              <a:off x="39" y="246"/>
              <a:ext cx="7" cy="12"/>
            </a:xfrm>
            <a:custGeom>
              <a:gdLst>
                <a:gd name="T0" fmla="*/ 1 w 3"/>
                <a:gd name="T1" fmla="*/ 0 h 5"/>
                <a:gd name="T2" fmla="*/ 0 w 3"/>
                <a:gd name="T3" fmla="*/ 5 h 5"/>
                <a:gd name="T4" fmla="*/ 1 w 3"/>
                <a:gd name="T5" fmla="*/ 0 h 5"/>
              </a:gdLst>
              <a:cxnLst>
                <a:cxn ang="0">
                  <a:pos x="T0" y="T1"/>
                </a:cxn>
                <a:cxn ang="0">
                  <a:pos x="T2" y="T3"/>
                </a:cxn>
                <a:cxn ang="0">
                  <a:pos x="T4" y="T5"/>
                </a:cxn>
              </a:cxnLst>
              <a:rect l="0" t="0" r="r" b="b"/>
              <a:pathLst>
                <a:path w="3" h="5">
                  <a:moveTo>
                    <a:pt x="1" y="0"/>
                  </a:moveTo>
                  <a:cubicBezTo>
                    <a:pt x="0" y="2"/>
                    <a:pt x="0" y="3"/>
                    <a:pt x="0" y="5"/>
                  </a:cubicBezTo>
                  <a:cubicBezTo>
                    <a:pt x="1" y="3"/>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1503"/>
            <p:cNvSpPr/>
            <p:nvPr/>
          </p:nvSpPr>
          <p:spPr bwMode="auto">
            <a:xfrm>
              <a:off x="44" y="405"/>
              <a:ext cx="7" cy="7"/>
            </a:xfrm>
            <a:custGeom>
              <a:gdLst>
                <a:gd name="T0" fmla="*/ 3 w 3"/>
                <a:gd name="T1" fmla="*/ 0 h 3"/>
                <a:gd name="T2" fmla="*/ 1 w 3"/>
                <a:gd name="T3" fmla="*/ 3 h 3"/>
                <a:gd name="T4" fmla="*/ 3 w 3"/>
                <a:gd name="T5" fmla="*/ 0 h 3"/>
              </a:gdLst>
              <a:cxnLst>
                <a:cxn ang="0">
                  <a:pos x="T0" y="T1"/>
                </a:cxn>
                <a:cxn ang="0">
                  <a:pos x="T2" y="T3"/>
                </a:cxn>
                <a:cxn ang="0">
                  <a:pos x="T4" y="T5"/>
                </a:cxn>
              </a:cxnLst>
              <a:rect l="0" t="0" r="r" b="b"/>
              <a:pathLst>
                <a:path w="3" h="3">
                  <a:moveTo>
                    <a:pt x="3" y="0"/>
                  </a:moveTo>
                  <a:cubicBezTo>
                    <a:pt x="1" y="0"/>
                    <a:pt x="0" y="1"/>
                    <a:pt x="1"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1504"/>
            <p:cNvSpPr/>
            <p:nvPr/>
          </p:nvSpPr>
          <p:spPr bwMode="auto">
            <a:xfrm>
              <a:off x="105" y="544"/>
              <a:ext cx="19" cy="31"/>
            </a:xfrm>
            <a:custGeom>
              <a:gdLst>
                <a:gd name="T0" fmla="*/ 5 w 8"/>
                <a:gd name="T1" fmla="*/ 0 h 13"/>
                <a:gd name="T2" fmla="*/ 2 w 8"/>
                <a:gd name="T3" fmla="*/ 5 h 13"/>
                <a:gd name="T4" fmla="*/ 3 w 8"/>
                <a:gd name="T5" fmla="*/ 7 h 13"/>
                <a:gd name="T6" fmla="*/ 5 w 8"/>
                <a:gd name="T7" fmla="*/ 10 h 13"/>
                <a:gd name="T8" fmla="*/ 6 w 8"/>
                <a:gd name="T9" fmla="*/ 13 h 13"/>
                <a:gd name="T10" fmla="*/ 8 w 8"/>
                <a:gd name="T11" fmla="*/ 3 h 13"/>
                <a:gd name="T12" fmla="*/ 8 w 8"/>
                <a:gd name="T13" fmla="*/ 1 h 13"/>
                <a:gd name="T14" fmla="*/ 5 w 8"/>
                <a:gd name="T15" fmla="*/ 0 h 1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3">
                  <a:moveTo>
                    <a:pt x="5" y="0"/>
                  </a:moveTo>
                  <a:cubicBezTo>
                    <a:pt x="3" y="0"/>
                    <a:pt x="0" y="2"/>
                    <a:pt x="2" y="5"/>
                  </a:cubicBezTo>
                  <a:cubicBezTo>
                    <a:pt x="2" y="6"/>
                    <a:pt x="3" y="7"/>
                    <a:pt x="3" y="7"/>
                  </a:cubicBezTo>
                  <a:cubicBezTo>
                    <a:pt x="4" y="8"/>
                    <a:pt x="5" y="9"/>
                    <a:pt x="5" y="10"/>
                  </a:cubicBezTo>
                  <a:cubicBezTo>
                    <a:pt x="6" y="11"/>
                    <a:pt x="6" y="12"/>
                    <a:pt x="6" y="13"/>
                  </a:cubicBezTo>
                  <a:cubicBezTo>
                    <a:pt x="7" y="10"/>
                    <a:pt x="7" y="6"/>
                    <a:pt x="8" y="3"/>
                  </a:cubicBezTo>
                  <a:cubicBezTo>
                    <a:pt x="8" y="2"/>
                    <a:pt x="8" y="1"/>
                    <a:pt x="8"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1505"/>
            <p:cNvSpPr/>
            <p:nvPr/>
          </p:nvSpPr>
          <p:spPr bwMode="auto">
            <a:xfrm>
              <a:off x="2778" y="1844"/>
              <a:ext cx="7" cy="5"/>
            </a:xfrm>
            <a:custGeom>
              <a:gdLst>
                <a:gd name="T0" fmla="*/ 3 w 3"/>
                <a:gd name="T1" fmla="*/ 0 h 2"/>
                <a:gd name="T2" fmla="*/ 2 w 3"/>
                <a:gd name="T3" fmla="*/ 0 h 2"/>
                <a:gd name="T4" fmla="*/ 0 w 3"/>
                <a:gd name="T5" fmla="*/ 2 h 2"/>
                <a:gd name="T6" fmla="*/ 0 w 3"/>
                <a:gd name="T7" fmla="*/ 1 h 2"/>
                <a:gd name="T8" fmla="*/ 3 w 3"/>
                <a:gd name="T9" fmla="*/ 0 h 2"/>
              </a:gdLst>
              <a:cxnLst>
                <a:cxn ang="0">
                  <a:pos x="T0" y="T1"/>
                </a:cxn>
                <a:cxn ang="0">
                  <a:pos x="T2" y="T3"/>
                </a:cxn>
                <a:cxn ang="0">
                  <a:pos x="T4" y="T5"/>
                </a:cxn>
                <a:cxn ang="0">
                  <a:pos x="T6" y="T7"/>
                </a:cxn>
                <a:cxn ang="0">
                  <a:pos x="T8" y="T9"/>
                </a:cxn>
              </a:cxnLst>
              <a:rect l="0" t="0" r="r" b="b"/>
              <a:pathLst>
                <a:path w="3" h="2">
                  <a:moveTo>
                    <a:pt x="3" y="0"/>
                  </a:moveTo>
                  <a:cubicBezTo>
                    <a:pt x="2" y="0"/>
                    <a:pt x="2" y="0"/>
                    <a:pt x="2" y="0"/>
                  </a:cubicBezTo>
                  <a:cubicBezTo>
                    <a:pt x="1" y="1"/>
                    <a:pt x="1" y="1"/>
                    <a:pt x="0" y="2"/>
                  </a:cubicBezTo>
                  <a:cubicBezTo>
                    <a:pt x="0" y="1"/>
                    <a:pt x="0" y="1"/>
                    <a:pt x="0" y="1"/>
                  </a:cubicBezTo>
                  <a:cubicBezTo>
                    <a:pt x="1" y="1"/>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1506"/>
            <p:cNvSpPr/>
            <p:nvPr/>
          </p:nvSpPr>
          <p:spPr bwMode="auto">
            <a:xfrm>
              <a:off x="2270" y="2038"/>
              <a:ext cx="5" cy="14"/>
            </a:xfrm>
            <a:custGeom>
              <a:gdLst>
                <a:gd name="T0" fmla="*/ 1 w 2"/>
                <a:gd name="T1" fmla="*/ 0 h 6"/>
                <a:gd name="T2" fmla="*/ 0 w 2"/>
                <a:gd name="T3" fmla="*/ 6 h 6"/>
                <a:gd name="T4" fmla="*/ 1 w 2"/>
                <a:gd name="T5" fmla="*/ 3 h 6"/>
                <a:gd name="T6" fmla="*/ 1 w 2"/>
                <a:gd name="T7" fmla="*/ 3 h 6"/>
                <a:gd name="T8" fmla="*/ 2 w 2"/>
                <a:gd name="T9" fmla="*/ 1 h 6"/>
                <a:gd name="T10" fmla="*/ 2 w 2"/>
                <a:gd name="T11" fmla="*/ 1 h 6"/>
                <a:gd name="T12" fmla="*/ 1 w 2"/>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2" h="6">
                  <a:moveTo>
                    <a:pt x="1" y="0"/>
                  </a:moveTo>
                  <a:cubicBezTo>
                    <a:pt x="0" y="2"/>
                    <a:pt x="0" y="4"/>
                    <a:pt x="0" y="6"/>
                  </a:cubicBezTo>
                  <a:cubicBezTo>
                    <a:pt x="0" y="5"/>
                    <a:pt x="1" y="4"/>
                    <a:pt x="1" y="3"/>
                  </a:cubicBezTo>
                  <a:cubicBezTo>
                    <a:pt x="1" y="3"/>
                    <a:pt x="1" y="3"/>
                    <a:pt x="1" y="3"/>
                  </a:cubicBezTo>
                  <a:cubicBezTo>
                    <a:pt x="1" y="3"/>
                    <a:pt x="2" y="2"/>
                    <a:pt x="2" y="1"/>
                  </a:cubicBezTo>
                  <a:cubicBezTo>
                    <a:pt x="2" y="1"/>
                    <a:pt x="2" y="1"/>
                    <a:pt x="2" y="1"/>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1507"/>
            <p:cNvSpPr/>
            <p:nvPr/>
          </p:nvSpPr>
          <p:spPr bwMode="auto">
            <a:xfrm>
              <a:off x="2227" y="2097"/>
              <a:ext cx="5" cy="12"/>
            </a:xfrm>
            <a:custGeom>
              <a:gdLst>
                <a:gd name="T0" fmla="*/ 1 w 2"/>
                <a:gd name="T1" fmla="*/ 0 h 5"/>
                <a:gd name="T2" fmla="*/ 0 w 2"/>
                <a:gd name="T3" fmla="*/ 5 h 5"/>
                <a:gd name="T4" fmla="*/ 1 w 2"/>
                <a:gd name="T5" fmla="*/ 4 h 5"/>
                <a:gd name="T6" fmla="*/ 2 w 2"/>
                <a:gd name="T7" fmla="*/ 4 h 5"/>
                <a:gd name="T8" fmla="*/ 2 w 2"/>
                <a:gd name="T9" fmla="*/ 3 h 5"/>
                <a:gd name="T10" fmla="*/ 2 w 2"/>
                <a:gd name="T11" fmla="*/ 3 h 5"/>
                <a:gd name="T12" fmla="*/ 2 w 2"/>
                <a:gd name="T13" fmla="*/ 1 h 5"/>
                <a:gd name="T14" fmla="*/ 2 w 2"/>
                <a:gd name="T15" fmla="*/ 1 h 5"/>
                <a:gd name="T16" fmla="*/ 1 w 2"/>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1" y="0"/>
                  </a:moveTo>
                  <a:cubicBezTo>
                    <a:pt x="1" y="2"/>
                    <a:pt x="0" y="3"/>
                    <a:pt x="0" y="5"/>
                  </a:cubicBezTo>
                  <a:cubicBezTo>
                    <a:pt x="0" y="4"/>
                    <a:pt x="1" y="4"/>
                    <a:pt x="1" y="4"/>
                  </a:cubicBezTo>
                  <a:cubicBezTo>
                    <a:pt x="2" y="4"/>
                    <a:pt x="2" y="4"/>
                    <a:pt x="2" y="4"/>
                  </a:cubicBezTo>
                  <a:cubicBezTo>
                    <a:pt x="2" y="3"/>
                    <a:pt x="2" y="3"/>
                    <a:pt x="2" y="3"/>
                  </a:cubicBezTo>
                  <a:cubicBezTo>
                    <a:pt x="2" y="3"/>
                    <a:pt x="2" y="3"/>
                    <a:pt x="2" y="3"/>
                  </a:cubicBezTo>
                  <a:cubicBezTo>
                    <a:pt x="2" y="2"/>
                    <a:pt x="2" y="2"/>
                    <a:pt x="2" y="1"/>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1508"/>
            <p:cNvSpPr/>
            <p:nvPr/>
          </p:nvSpPr>
          <p:spPr bwMode="auto">
            <a:xfrm>
              <a:off x="1757" y="752"/>
              <a:ext cx="17" cy="9"/>
            </a:xfrm>
            <a:custGeom>
              <a:gdLst>
                <a:gd name="T0" fmla="*/ 7 w 7"/>
                <a:gd name="T1" fmla="*/ 0 h 4"/>
                <a:gd name="T2" fmla="*/ 0 w 7"/>
                <a:gd name="T3" fmla="*/ 1 h 4"/>
                <a:gd name="T4" fmla="*/ 4 w 7"/>
                <a:gd name="T5" fmla="*/ 4 h 4"/>
                <a:gd name="T6" fmla="*/ 5 w 7"/>
                <a:gd name="T7" fmla="*/ 4 h 4"/>
                <a:gd name="T8" fmla="*/ 7 w 7"/>
                <a:gd name="T9" fmla="*/ 0 h 4"/>
              </a:gdLst>
              <a:cxnLst>
                <a:cxn ang="0">
                  <a:pos x="T0" y="T1"/>
                </a:cxn>
                <a:cxn ang="0">
                  <a:pos x="T2" y="T3"/>
                </a:cxn>
                <a:cxn ang="0">
                  <a:pos x="T4" y="T5"/>
                </a:cxn>
                <a:cxn ang="0">
                  <a:pos x="T6" y="T7"/>
                </a:cxn>
                <a:cxn ang="0">
                  <a:pos x="T8" y="T9"/>
                </a:cxn>
              </a:cxnLst>
              <a:rect l="0" t="0" r="r" b="b"/>
              <a:pathLst>
                <a:path w="7" h="4">
                  <a:moveTo>
                    <a:pt x="7" y="0"/>
                  </a:moveTo>
                  <a:cubicBezTo>
                    <a:pt x="5" y="0"/>
                    <a:pt x="3" y="0"/>
                    <a:pt x="0" y="1"/>
                  </a:cubicBezTo>
                  <a:cubicBezTo>
                    <a:pt x="2" y="2"/>
                    <a:pt x="3" y="3"/>
                    <a:pt x="4" y="4"/>
                  </a:cubicBezTo>
                  <a:cubicBezTo>
                    <a:pt x="5" y="4"/>
                    <a:pt x="5" y="4"/>
                    <a:pt x="5" y="4"/>
                  </a:cubicBezTo>
                  <a:cubicBezTo>
                    <a:pt x="6" y="4"/>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1509"/>
            <p:cNvSpPr/>
            <p:nvPr/>
          </p:nvSpPr>
          <p:spPr bwMode="auto">
            <a:xfrm>
              <a:off x="1764" y="795"/>
              <a:ext cx="7" cy="7"/>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3"/>
                    <a:pt x="3"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1510"/>
            <p:cNvSpPr/>
            <p:nvPr/>
          </p:nvSpPr>
          <p:spPr bwMode="auto">
            <a:xfrm>
              <a:off x="1748" y="804"/>
              <a:ext cx="7" cy="12"/>
            </a:xfrm>
            <a:custGeom>
              <a:gdLst>
                <a:gd name="T0" fmla="*/ 1 w 3"/>
                <a:gd name="T1" fmla="*/ 0 h 5"/>
                <a:gd name="T2" fmla="*/ 3 w 3"/>
                <a:gd name="T3" fmla="*/ 5 h 5"/>
                <a:gd name="T4" fmla="*/ 1 w 3"/>
                <a:gd name="T5" fmla="*/ 0 h 5"/>
              </a:gdLst>
              <a:cxnLst>
                <a:cxn ang="0">
                  <a:pos x="T0" y="T1"/>
                </a:cxn>
                <a:cxn ang="0">
                  <a:pos x="T2" y="T3"/>
                </a:cxn>
                <a:cxn ang="0">
                  <a:pos x="T4" y="T5"/>
                </a:cxn>
              </a:cxnLst>
              <a:rect l="0" t="0" r="r" b="b"/>
              <a:pathLst>
                <a:path w="3" h="5">
                  <a:moveTo>
                    <a:pt x="1" y="0"/>
                  </a:moveTo>
                  <a:cubicBezTo>
                    <a:pt x="0" y="3"/>
                    <a:pt x="2" y="4"/>
                    <a:pt x="3" y="5"/>
                  </a:cubicBezTo>
                  <a:cubicBezTo>
                    <a:pt x="3" y="3"/>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1511"/>
            <p:cNvSpPr/>
            <p:nvPr/>
          </p:nvSpPr>
          <p:spPr bwMode="auto">
            <a:xfrm>
              <a:off x="1726" y="795"/>
              <a:ext cx="22" cy="7"/>
            </a:xfrm>
            <a:custGeom>
              <a:gdLst>
                <a:gd name="T0" fmla="*/ 0 w 9"/>
                <a:gd name="T1" fmla="*/ 0 h 3"/>
                <a:gd name="T2" fmla="*/ 2 w 9"/>
                <a:gd name="T3" fmla="*/ 2 h 3"/>
                <a:gd name="T4" fmla="*/ 3 w 9"/>
                <a:gd name="T5" fmla="*/ 2 h 3"/>
                <a:gd name="T6" fmla="*/ 4 w 9"/>
                <a:gd name="T7" fmla="*/ 2 h 3"/>
                <a:gd name="T8" fmla="*/ 7 w 9"/>
                <a:gd name="T9" fmla="*/ 3 h 3"/>
                <a:gd name="T10" fmla="*/ 8 w 9"/>
                <a:gd name="T11" fmla="*/ 3 h 3"/>
                <a:gd name="T12" fmla="*/ 9 w 9"/>
                <a:gd name="T13" fmla="*/ 3 h 3"/>
                <a:gd name="T14" fmla="*/ 0 w 9"/>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
                  <a:moveTo>
                    <a:pt x="0" y="0"/>
                  </a:moveTo>
                  <a:cubicBezTo>
                    <a:pt x="1" y="0"/>
                    <a:pt x="2" y="1"/>
                    <a:pt x="2" y="2"/>
                  </a:cubicBezTo>
                  <a:cubicBezTo>
                    <a:pt x="3" y="2"/>
                    <a:pt x="3" y="2"/>
                    <a:pt x="3" y="2"/>
                  </a:cubicBezTo>
                  <a:cubicBezTo>
                    <a:pt x="3" y="2"/>
                    <a:pt x="4" y="2"/>
                    <a:pt x="4" y="2"/>
                  </a:cubicBezTo>
                  <a:cubicBezTo>
                    <a:pt x="5" y="3"/>
                    <a:pt x="6" y="3"/>
                    <a:pt x="7" y="3"/>
                  </a:cubicBezTo>
                  <a:cubicBezTo>
                    <a:pt x="7" y="3"/>
                    <a:pt x="7" y="3"/>
                    <a:pt x="8" y="3"/>
                  </a:cubicBezTo>
                  <a:cubicBezTo>
                    <a:pt x="8" y="3"/>
                    <a:pt x="8" y="3"/>
                    <a:pt x="9" y="3"/>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1512"/>
            <p:cNvSpPr/>
            <p:nvPr/>
          </p:nvSpPr>
          <p:spPr bwMode="auto">
            <a:xfrm>
              <a:off x="2185" y="1669"/>
              <a:ext cx="40" cy="24"/>
            </a:xfrm>
            <a:custGeom>
              <a:gdLst>
                <a:gd name="T0" fmla="*/ 17 w 17"/>
                <a:gd name="T1" fmla="*/ 0 h 10"/>
                <a:gd name="T2" fmla="*/ 0 w 17"/>
                <a:gd name="T3" fmla="*/ 9 h 10"/>
                <a:gd name="T4" fmla="*/ 12 w 17"/>
                <a:gd name="T5" fmla="*/ 10 h 10"/>
                <a:gd name="T6" fmla="*/ 15 w 17"/>
                <a:gd name="T7" fmla="*/ 5 h 10"/>
                <a:gd name="T8" fmla="*/ 17 w 17"/>
                <a:gd name="T9" fmla="*/ 0 h 10"/>
              </a:gdLst>
              <a:cxnLst>
                <a:cxn ang="0">
                  <a:pos x="T0" y="T1"/>
                </a:cxn>
                <a:cxn ang="0">
                  <a:pos x="T2" y="T3"/>
                </a:cxn>
                <a:cxn ang="0">
                  <a:pos x="T4" y="T5"/>
                </a:cxn>
                <a:cxn ang="0">
                  <a:pos x="T6" y="T7"/>
                </a:cxn>
                <a:cxn ang="0">
                  <a:pos x="T8" y="T9"/>
                </a:cxn>
              </a:cxnLst>
              <a:rect l="0" t="0" r="r" b="b"/>
              <a:pathLst>
                <a:path w="17" h="10">
                  <a:moveTo>
                    <a:pt x="17" y="0"/>
                  </a:moveTo>
                  <a:cubicBezTo>
                    <a:pt x="17" y="0"/>
                    <a:pt x="0" y="7"/>
                    <a:pt x="0" y="9"/>
                  </a:cubicBezTo>
                  <a:cubicBezTo>
                    <a:pt x="12" y="10"/>
                    <a:pt x="12" y="10"/>
                    <a:pt x="12" y="10"/>
                  </a:cubicBezTo>
                  <a:cubicBezTo>
                    <a:pt x="12" y="10"/>
                    <a:pt x="14" y="6"/>
                    <a:pt x="15" y="5"/>
                  </a:cubicBezTo>
                  <a:cubicBezTo>
                    <a:pt x="16" y="2"/>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1513"/>
            <p:cNvSpPr/>
            <p:nvPr/>
          </p:nvSpPr>
          <p:spPr bwMode="auto">
            <a:xfrm>
              <a:off x="3359" y="1222"/>
              <a:ext cx="676" cy="556"/>
            </a:xfrm>
            <a:custGeom>
              <a:gdLst>
                <a:gd name="T0" fmla="*/ 3 w 286"/>
                <a:gd name="T1" fmla="*/ 64 h 235"/>
                <a:gd name="T2" fmla="*/ 3 w 286"/>
                <a:gd name="T3" fmla="*/ 76 h 235"/>
                <a:gd name="T4" fmla="*/ 2 w 286"/>
                <a:gd name="T5" fmla="*/ 120 h 235"/>
                <a:gd name="T6" fmla="*/ 10 w 286"/>
                <a:gd name="T7" fmla="*/ 191 h 235"/>
                <a:gd name="T8" fmla="*/ 36 w 286"/>
                <a:gd name="T9" fmla="*/ 190 h 235"/>
                <a:gd name="T10" fmla="*/ 59 w 286"/>
                <a:gd name="T11" fmla="*/ 189 h 235"/>
                <a:gd name="T12" fmla="*/ 54 w 286"/>
                <a:gd name="T13" fmla="*/ 168 h 235"/>
                <a:gd name="T14" fmla="*/ 45 w 286"/>
                <a:gd name="T15" fmla="*/ 165 h 235"/>
                <a:gd name="T16" fmla="*/ 42 w 286"/>
                <a:gd name="T17" fmla="*/ 165 h 235"/>
                <a:gd name="T18" fmla="*/ 53 w 286"/>
                <a:gd name="T19" fmla="*/ 164 h 235"/>
                <a:gd name="T20" fmla="*/ 68 w 286"/>
                <a:gd name="T21" fmla="*/ 163 h 235"/>
                <a:gd name="T22" fmla="*/ 69 w 286"/>
                <a:gd name="T23" fmla="*/ 152 h 235"/>
                <a:gd name="T24" fmla="*/ 73 w 286"/>
                <a:gd name="T25" fmla="*/ 155 h 235"/>
                <a:gd name="T26" fmla="*/ 79 w 286"/>
                <a:gd name="T27" fmla="*/ 156 h 235"/>
                <a:gd name="T28" fmla="*/ 85 w 286"/>
                <a:gd name="T29" fmla="*/ 155 h 235"/>
                <a:gd name="T30" fmla="*/ 84 w 286"/>
                <a:gd name="T31" fmla="*/ 146 h 235"/>
                <a:gd name="T32" fmla="*/ 94 w 286"/>
                <a:gd name="T33" fmla="*/ 144 h 235"/>
                <a:gd name="T34" fmla="*/ 97 w 286"/>
                <a:gd name="T35" fmla="*/ 148 h 235"/>
                <a:gd name="T36" fmla="*/ 102 w 286"/>
                <a:gd name="T37" fmla="*/ 145 h 235"/>
                <a:gd name="T38" fmla="*/ 108 w 286"/>
                <a:gd name="T39" fmla="*/ 143 h 235"/>
                <a:gd name="T40" fmla="*/ 111 w 286"/>
                <a:gd name="T41" fmla="*/ 148 h 235"/>
                <a:gd name="T42" fmla="*/ 147 w 286"/>
                <a:gd name="T43" fmla="*/ 158 h 235"/>
                <a:gd name="T44" fmla="*/ 161 w 286"/>
                <a:gd name="T45" fmla="*/ 179 h 235"/>
                <a:gd name="T46" fmla="*/ 173 w 286"/>
                <a:gd name="T47" fmla="*/ 186 h 235"/>
                <a:gd name="T48" fmla="*/ 185 w 286"/>
                <a:gd name="T49" fmla="*/ 204 h 235"/>
                <a:gd name="T50" fmla="*/ 204 w 286"/>
                <a:gd name="T51" fmla="*/ 218 h 235"/>
                <a:gd name="T52" fmla="*/ 215 w 286"/>
                <a:gd name="T53" fmla="*/ 220 h 235"/>
                <a:gd name="T54" fmla="*/ 218 w 286"/>
                <a:gd name="T55" fmla="*/ 219 h 235"/>
                <a:gd name="T56" fmla="*/ 232 w 286"/>
                <a:gd name="T57" fmla="*/ 221 h 235"/>
                <a:gd name="T58" fmla="*/ 271 w 286"/>
                <a:gd name="T59" fmla="*/ 234 h 235"/>
                <a:gd name="T60" fmla="*/ 271 w 286"/>
                <a:gd name="T61" fmla="*/ 223 h 235"/>
                <a:gd name="T62" fmla="*/ 278 w 286"/>
                <a:gd name="T63" fmla="*/ 224 h 235"/>
                <a:gd name="T64" fmla="*/ 277 w 286"/>
                <a:gd name="T65" fmla="*/ 220 h 235"/>
                <a:gd name="T66" fmla="*/ 273 w 286"/>
                <a:gd name="T67" fmla="*/ 220 h 235"/>
                <a:gd name="T68" fmla="*/ 254 w 286"/>
                <a:gd name="T69" fmla="*/ 208 h 235"/>
                <a:gd name="T70" fmla="*/ 257 w 286"/>
                <a:gd name="T71" fmla="*/ 203 h 235"/>
                <a:gd name="T72" fmla="*/ 238 w 286"/>
                <a:gd name="T73" fmla="*/ 194 h 235"/>
                <a:gd name="T74" fmla="*/ 227 w 286"/>
                <a:gd name="T75" fmla="*/ 187 h 235"/>
                <a:gd name="T76" fmla="*/ 209 w 286"/>
                <a:gd name="T77" fmla="*/ 170 h 235"/>
                <a:gd name="T78" fmla="*/ 178 w 286"/>
                <a:gd name="T79" fmla="*/ 136 h 235"/>
                <a:gd name="T80" fmla="*/ 183 w 286"/>
                <a:gd name="T81" fmla="*/ 118 h 235"/>
                <a:gd name="T82" fmla="*/ 198 w 286"/>
                <a:gd name="T83" fmla="*/ 116 h 235"/>
                <a:gd name="T84" fmla="*/ 185 w 286"/>
                <a:gd name="T85" fmla="*/ 96 h 235"/>
                <a:gd name="T86" fmla="*/ 179 w 286"/>
                <a:gd name="T87" fmla="*/ 96 h 235"/>
                <a:gd name="T88" fmla="*/ 146 w 286"/>
                <a:gd name="T89" fmla="*/ 83 h 235"/>
                <a:gd name="T90" fmla="*/ 138 w 286"/>
                <a:gd name="T91" fmla="*/ 68 h 235"/>
                <a:gd name="T92" fmla="*/ 102 w 286"/>
                <a:gd name="T93" fmla="*/ 35 h 2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6" h="235">
                  <a:moveTo>
                    <a:pt x="3" y="0"/>
                  </a:moveTo>
                  <a:cubicBezTo>
                    <a:pt x="3" y="7"/>
                    <a:pt x="3" y="15"/>
                    <a:pt x="3" y="24"/>
                  </a:cubicBezTo>
                  <a:cubicBezTo>
                    <a:pt x="3" y="36"/>
                    <a:pt x="3" y="51"/>
                    <a:pt x="3" y="64"/>
                  </a:cubicBezTo>
                  <a:cubicBezTo>
                    <a:pt x="3" y="68"/>
                    <a:pt x="3" y="68"/>
                    <a:pt x="3" y="68"/>
                  </a:cubicBezTo>
                  <a:cubicBezTo>
                    <a:pt x="3" y="70"/>
                    <a:pt x="3" y="72"/>
                    <a:pt x="3" y="73"/>
                  </a:cubicBezTo>
                  <a:cubicBezTo>
                    <a:pt x="3" y="76"/>
                    <a:pt x="3" y="76"/>
                    <a:pt x="3" y="76"/>
                  </a:cubicBezTo>
                  <a:cubicBezTo>
                    <a:pt x="3" y="81"/>
                    <a:pt x="2" y="86"/>
                    <a:pt x="2" y="91"/>
                  </a:cubicBezTo>
                  <a:cubicBezTo>
                    <a:pt x="0" y="119"/>
                    <a:pt x="0" y="119"/>
                    <a:pt x="0" y="119"/>
                  </a:cubicBezTo>
                  <a:cubicBezTo>
                    <a:pt x="1" y="119"/>
                    <a:pt x="1" y="120"/>
                    <a:pt x="2" y="120"/>
                  </a:cubicBezTo>
                  <a:cubicBezTo>
                    <a:pt x="3" y="122"/>
                    <a:pt x="3" y="123"/>
                    <a:pt x="3" y="124"/>
                  </a:cubicBezTo>
                  <a:cubicBezTo>
                    <a:pt x="3" y="191"/>
                    <a:pt x="3" y="191"/>
                    <a:pt x="3" y="191"/>
                  </a:cubicBezTo>
                  <a:cubicBezTo>
                    <a:pt x="5" y="191"/>
                    <a:pt x="7" y="191"/>
                    <a:pt x="10" y="191"/>
                  </a:cubicBezTo>
                  <a:cubicBezTo>
                    <a:pt x="14" y="191"/>
                    <a:pt x="19" y="191"/>
                    <a:pt x="24" y="191"/>
                  </a:cubicBezTo>
                  <a:cubicBezTo>
                    <a:pt x="28" y="190"/>
                    <a:pt x="32" y="190"/>
                    <a:pt x="35" y="190"/>
                  </a:cubicBezTo>
                  <a:cubicBezTo>
                    <a:pt x="35" y="190"/>
                    <a:pt x="36" y="190"/>
                    <a:pt x="36" y="190"/>
                  </a:cubicBezTo>
                  <a:cubicBezTo>
                    <a:pt x="40" y="191"/>
                    <a:pt x="43" y="193"/>
                    <a:pt x="47" y="194"/>
                  </a:cubicBezTo>
                  <a:cubicBezTo>
                    <a:pt x="47" y="194"/>
                    <a:pt x="47" y="194"/>
                    <a:pt x="48" y="194"/>
                  </a:cubicBezTo>
                  <a:cubicBezTo>
                    <a:pt x="50" y="194"/>
                    <a:pt x="57" y="190"/>
                    <a:pt x="59" y="189"/>
                  </a:cubicBezTo>
                  <a:cubicBezTo>
                    <a:pt x="61" y="188"/>
                    <a:pt x="67" y="186"/>
                    <a:pt x="68" y="185"/>
                  </a:cubicBezTo>
                  <a:cubicBezTo>
                    <a:pt x="70" y="182"/>
                    <a:pt x="69" y="178"/>
                    <a:pt x="67" y="175"/>
                  </a:cubicBezTo>
                  <a:cubicBezTo>
                    <a:pt x="63" y="170"/>
                    <a:pt x="60" y="170"/>
                    <a:pt x="54" y="168"/>
                  </a:cubicBezTo>
                  <a:cubicBezTo>
                    <a:pt x="52" y="167"/>
                    <a:pt x="51" y="165"/>
                    <a:pt x="48" y="165"/>
                  </a:cubicBezTo>
                  <a:cubicBezTo>
                    <a:pt x="48" y="165"/>
                    <a:pt x="48" y="165"/>
                    <a:pt x="48" y="165"/>
                  </a:cubicBezTo>
                  <a:cubicBezTo>
                    <a:pt x="47" y="165"/>
                    <a:pt x="46" y="165"/>
                    <a:pt x="45" y="165"/>
                  </a:cubicBezTo>
                  <a:cubicBezTo>
                    <a:pt x="44" y="166"/>
                    <a:pt x="43" y="166"/>
                    <a:pt x="42" y="166"/>
                  </a:cubicBezTo>
                  <a:cubicBezTo>
                    <a:pt x="41" y="166"/>
                    <a:pt x="41" y="166"/>
                    <a:pt x="40" y="165"/>
                  </a:cubicBezTo>
                  <a:cubicBezTo>
                    <a:pt x="41" y="165"/>
                    <a:pt x="42" y="165"/>
                    <a:pt x="42" y="165"/>
                  </a:cubicBezTo>
                  <a:cubicBezTo>
                    <a:pt x="44" y="165"/>
                    <a:pt x="45" y="165"/>
                    <a:pt x="47" y="164"/>
                  </a:cubicBezTo>
                  <a:cubicBezTo>
                    <a:pt x="48" y="164"/>
                    <a:pt x="50" y="164"/>
                    <a:pt x="51" y="164"/>
                  </a:cubicBezTo>
                  <a:cubicBezTo>
                    <a:pt x="52" y="164"/>
                    <a:pt x="53" y="164"/>
                    <a:pt x="53" y="164"/>
                  </a:cubicBezTo>
                  <a:cubicBezTo>
                    <a:pt x="55" y="164"/>
                    <a:pt x="56" y="165"/>
                    <a:pt x="57" y="165"/>
                  </a:cubicBezTo>
                  <a:cubicBezTo>
                    <a:pt x="58" y="165"/>
                    <a:pt x="59" y="165"/>
                    <a:pt x="60" y="164"/>
                  </a:cubicBezTo>
                  <a:cubicBezTo>
                    <a:pt x="63" y="164"/>
                    <a:pt x="66" y="163"/>
                    <a:pt x="68" y="163"/>
                  </a:cubicBezTo>
                  <a:cubicBezTo>
                    <a:pt x="72" y="162"/>
                    <a:pt x="77" y="164"/>
                    <a:pt x="74" y="158"/>
                  </a:cubicBezTo>
                  <a:cubicBezTo>
                    <a:pt x="73" y="156"/>
                    <a:pt x="70" y="154"/>
                    <a:pt x="68" y="152"/>
                  </a:cubicBezTo>
                  <a:cubicBezTo>
                    <a:pt x="68" y="152"/>
                    <a:pt x="68" y="152"/>
                    <a:pt x="69" y="152"/>
                  </a:cubicBezTo>
                  <a:cubicBezTo>
                    <a:pt x="71" y="152"/>
                    <a:pt x="70" y="154"/>
                    <a:pt x="71" y="155"/>
                  </a:cubicBezTo>
                  <a:cubicBezTo>
                    <a:pt x="72" y="155"/>
                    <a:pt x="72" y="155"/>
                    <a:pt x="73" y="155"/>
                  </a:cubicBezTo>
                  <a:cubicBezTo>
                    <a:pt x="73" y="155"/>
                    <a:pt x="73" y="155"/>
                    <a:pt x="73" y="155"/>
                  </a:cubicBezTo>
                  <a:cubicBezTo>
                    <a:pt x="74" y="155"/>
                    <a:pt x="74" y="155"/>
                    <a:pt x="74" y="155"/>
                  </a:cubicBezTo>
                  <a:cubicBezTo>
                    <a:pt x="74" y="155"/>
                    <a:pt x="75" y="155"/>
                    <a:pt x="75" y="155"/>
                  </a:cubicBezTo>
                  <a:cubicBezTo>
                    <a:pt x="76" y="155"/>
                    <a:pt x="77" y="156"/>
                    <a:pt x="79" y="156"/>
                  </a:cubicBezTo>
                  <a:cubicBezTo>
                    <a:pt x="79" y="156"/>
                    <a:pt x="80" y="156"/>
                    <a:pt x="81" y="156"/>
                  </a:cubicBezTo>
                  <a:cubicBezTo>
                    <a:pt x="83" y="156"/>
                    <a:pt x="85" y="155"/>
                    <a:pt x="83" y="154"/>
                  </a:cubicBezTo>
                  <a:cubicBezTo>
                    <a:pt x="83" y="155"/>
                    <a:pt x="84" y="155"/>
                    <a:pt x="85" y="155"/>
                  </a:cubicBezTo>
                  <a:cubicBezTo>
                    <a:pt x="82" y="150"/>
                    <a:pt x="79" y="145"/>
                    <a:pt x="76" y="139"/>
                  </a:cubicBezTo>
                  <a:cubicBezTo>
                    <a:pt x="77" y="141"/>
                    <a:pt x="79" y="141"/>
                    <a:pt x="80" y="143"/>
                  </a:cubicBezTo>
                  <a:cubicBezTo>
                    <a:pt x="82" y="144"/>
                    <a:pt x="82" y="145"/>
                    <a:pt x="84" y="146"/>
                  </a:cubicBezTo>
                  <a:cubicBezTo>
                    <a:pt x="85" y="147"/>
                    <a:pt x="85" y="147"/>
                    <a:pt x="86" y="147"/>
                  </a:cubicBezTo>
                  <a:cubicBezTo>
                    <a:pt x="88" y="147"/>
                    <a:pt x="89" y="146"/>
                    <a:pt x="90" y="146"/>
                  </a:cubicBezTo>
                  <a:cubicBezTo>
                    <a:pt x="91" y="145"/>
                    <a:pt x="93" y="144"/>
                    <a:pt x="94" y="144"/>
                  </a:cubicBezTo>
                  <a:cubicBezTo>
                    <a:pt x="94" y="144"/>
                    <a:pt x="95" y="144"/>
                    <a:pt x="95" y="145"/>
                  </a:cubicBezTo>
                  <a:cubicBezTo>
                    <a:pt x="96" y="145"/>
                    <a:pt x="96" y="145"/>
                    <a:pt x="97" y="146"/>
                  </a:cubicBezTo>
                  <a:cubicBezTo>
                    <a:pt x="97" y="148"/>
                    <a:pt x="97" y="148"/>
                    <a:pt x="97" y="148"/>
                  </a:cubicBezTo>
                  <a:cubicBezTo>
                    <a:pt x="98" y="148"/>
                    <a:pt x="100" y="148"/>
                    <a:pt x="101" y="149"/>
                  </a:cubicBezTo>
                  <a:cubicBezTo>
                    <a:pt x="99" y="147"/>
                    <a:pt x="99" y="144"/>
                    <a:pt x="98" y="141"/>
                  </a:cubicBezTo>
                  <a:cubicBezTo>
                    <a:pt x="99" y="143"/>
                    <a:pt x="100" y="144"/>
                    <a:pt x="102" y="145"/>
                  </a:cubicBezTo>
                  <a:cubicBezTo>
                    <a:pt x="101" y="144"/>
                    <a:pt x="101" y="142"/>
                    <a:pt x="102" y="141"/>
                  </a:cubicBezTo>
                  <a:cubicBezTo>
                    <a:pt x="102" y="143"/>
                    <a:pt x="103" y="144"/>
                    <a:pt x="105" y="144"/>
                  </a:cubicBezTo>
                  <a:cubicBezTo>
                    <a:pt x="106" y="144"/>
                    <a:pt x="107" y="143"/>
                    <a:pt x="108" y="143"/>
                  </a:cubicBezTo>
                  <a:cubicBezTo>
                    <a:pt x="109" y="143"/>
                    <a:pt x="110" y="143"/>
                    <a:pt x="111" y="143"/>
                  </a:cubicBezTo>
                  <a:cubicBezTo>
                    <a:pt x="111" y="143"/>
                    <a:pt x="111" y="143"/>
                    <a:pt x="111" y="143"/>
                  </a:cubicBezTo>
                  <a:cubicBezTo>
                    <a:pt x="113" y="143"/>
                    <a:pt x="111" y="147"/>
                    <a:pt x="111" y="148"/>
                  </a:cubicBezTo>
                  <a:cubicBezTo>
                    <a:pt x="112" y="149"/>
                    <a:pt x="116" y="149"/>
                    <a:pt x="118" y="150"/>
                  </a:cubicBezTo>
                  <a:cubicBezTo>
                    <a:pt x="125" y="151"/>
                    <a:pt x="132" y="152"/>
                    <a:pt x="138" y="153"/>
                  </a:cubicBezTo>
                  <a:cubicBezTo>
                    <a:pt x="136" y="157"/>
                    <a:pt x="145" y="157"/>
                    <a:pt x="147" y="158"/>
                  </a:cubicBezTo>
                  <a:cubicBezTo>
                    <a:pt x="147" y="160"/>
                    <a:pt x="148" y="161"/>
                    <a:pt x="150" y="163"/>
                  </a:cubicBezTo>
                  <a:cubicBezTo>
                    <a:pt x="151" y="165"/>
                    <a:pt x="151" y="165"/>
                    <a:pt x="152" y="168"/>
                  </a:cubicBezTo>
                  <a:cubicBezTo>
                    <a:pt x="154" y="172"/>
                    <a:pt x="158" y="176"/>
                    <a:pt x="161" y="179"/>
                  </a:cubicBezTo>
                  <a:cubicBezTo>
                    <a:pt x="163" y="182"/>
                    <a:pt x="161" y="184"/>
                    <a:pt x="165" y="186"/>
                  </a:cubicBezTo>
                  <a:cubicBezTo>
                    <a:pt x="166" y="187"/>
                    <a:pt x="168" y="187"/>
                    <a:pt x="169" y="187"/>
                  </a:cubicBezTo>
                  <a:cubicBezTo>
                    <a:pt x="171" y="187"/>
                    <a:pt x="172" y="187"/>
                    <a:pt x="173" y="186"/>
                  </a:cubicBezTo>
                  <a:cubicBezTo>
                    <a:pt x="172" y="187"/>
                    <a:pt x="172" y="188"/>
                    <a:pt x="173" y="190"/>
                  </a:cubicBezTo>
                  <a:cubicBezTo>
                    <a:pt x="174" y="193"/>
                    <a:pt x="175" y="198"/>
                    <a:pt x="178" y="199"/>
                  </a:cubicBezTo>
                  <a:cubicBezTo>
                    <a:pt x="182" y="200"/>
                    <a:pt x="182" y="200"/>
                    <a:pt x="185" y="204"/>
                  </a:cubicBezTo>
                  <a:cubicBezTo>
                    <a:pt x="188" y="209"/>
                    <a:pt x="192" y="215"/>
                    <a:pt x="197" y="217"/>
                  </a:cubicBezTo>
                  <a:cubicBezTo>
                    <a:pt x="199" y="218"/>
                    <a:pt x="201" y="218"/>
                    <a:pt x="202" y="218"/>
                  </a:cubicBezTo>
                  <a:cubicBezTo>
                    <a:pt x="203" y="218"/>
                    <a:pt x="203" y="218"/>
                    <a:pt x="204" y="218"/>
                  </a:cubicBezTo>
                  <a:cubicBezTo>
                    <a:pt x="204" y="218"/>
                    <a:pt x="205" y="218"/>
                    <a:pt x="205" y="218"/>
                  </a:cubicBezTo>
                  <a:cubicBezTo>
                    <a:pt x="208" y="218"/>
                    <a:pt x="211" y="219"/>
                    <a:pt x="214" y="220"/>
                  </a:cubicBezTo>
                  <a:cubicBezTo>
                    <a:pt x="214" y="220"/>
                    <a:pt x="214" y="220"/>
                    <a:pt x="215" y="220"/>
                  </a:cubicBezTo>
                  <a:cubicBezTo>
                    <a:pt x="215" y="220"/>
                    <a:pt x="216" y="220"/>
                    <a:pt x="216" y="219"/>
                  </a:cubicBezTo>
                  <a:cubicBezTo>
                    <a:pt x="217" y="219"/>
                    <a:pt x="218" y="219"/>
                    <a:pt x="218" y="219"/>
                  </a:cubicBezTo>
                  <a:cubicBezTo>
                    <a:pt x="218" y="219"/>
                    <a:pt x="218" y="219"/>
                    <a:pt x="218" y="219"/>
                  </a:cubicBezTo>
                  <a:cubicBezTo>
                    <a:pt x="221" y="219"/>
                    <a:pt x="223" y="220"/>
                    <a:pt x="225" y="221"/>
                  </a:cubicBezTo>
                  <a:cubicBezTo>
                    <a:pt x="227" y="221"/>
                    <a:pt x="228" y="221"/>
                    <a:pt x="229" y="221"/>
                  </a:cubicBezTo>
                  <a:cubicBezTo>
                    <a:pt x="230" y="221"/>
                    <a:pt x="231" y="221"/>
                    <a:pt x="232" y="221"/>
                  </a:cubicBezTo>
                  <a:cubicBezTo>
                    <a:pt x="232" y="221"/>
                    <a:pt x="233" y="221"/>
                    <a:pt x="233" y="221"/>
                  </a:cubicBezTo>
                  <a:cubicBezTo>
                    <a:pt x="242" y="221"/>
                    <a:pt x="259" y="223"/>
                    <a:pt x="264" y="230"/>
                  </a:cubicBezTo>
                  <a:cubicBezTo>
                    <a:pt x="267" y="235"/>
                    <a:pt x="266" y="233"/>
                    <a:pt x="271" y="234"/>
                  </a:cubicBezTo>
                  <a:cubicBezTo>
                    <a:pt x="271" y="234"/>
                    <a:pt x="271" y="234"/>
                    <a:pt x="271" y="234"/>
                  </a:cubicBezTo>
                  <a:cubicBezTo>
                    <a:pt x="274" y="234"/>
                    <a:pt x="277" y="232"/>
                    <a:pt x="279" y="231"/>
                  </a:cubicBezTo>
                  <a:cubicBezTo>
                    <a:pt x="276" y="229"/>
                    <a:pt x="273" y="226"/>
                    <a:pt x="271" y="223"/>
                  </a:cubicBezTo>
                  <a:cubicBezTo>
                    <a:pt x="272" y="223"/>
                    <a:pt x="272" y="223"/>
                    <a:pt x="273" y="223"/>
                  </a:cubicBezTo>
                  <a:cubicBezTo>
                    <a:pt x="274" y="223"/>
                    <a:pt x="275" y="224"/>
                    <a:pt x="277" y="224"/>
                  </a:cubicBezTo>
                  <a:cubicBezTo>
                    <a:pt x="277" y="224"/>
                    <a:pt x="277" y="224"/>
                    <a:pt x="278" y="224"/>
                  </a:cubicBezTo>
                  <a:cubicBezTo>
                    <a:pt x="281" y="224"/>
                    <a:pt x="283" y="222"/>
                    <a:pt x="286" y="220"/>
                  </a:cubicBezTo>
                  <a:cubicBezTo>
                    <a:pt x="284" y="221"/>
                    <a:pt x="283" y="221"/>
                    <a:pt x="282" y="221"/>
                  </a:cubicBezTo>
                  <a:cubicBezTo>
                    <a:pt x="281" y="221"/>
                    <a:pt x="280" y="221"/>
                    <a:pt x="277" y="220"/>
                  </a:cubicBezTo>
                  <a:cubicBezTo>
                    <a:pt x="277" y="220"/>
                    <a:pt x="276" y="220"/>
                    <a:pt x="275" y="220"/>
                  </a:cubicBezTo>
                  <a:cubicBezTo>
                    <a:pt x="275" y="220"/>
                    <a:pt x="275" y="220"/>
                    <a:pt x="274" y="220"/>
                  </a:cubicBezTo>
                  <a:cubicBezTo>
                    <a:pt x="274" y="220"/>
                    <a:pt x="273" y="220"/>
                    <a:pt x="273" y="220"/>
                  </a:cubicBezTo>
                  <a:cubicBezTo>
                    <a:pt x="272" y="220"/>
                    <a:pt x="271" y="220"/>
                    <a:pt x="270" y="220"/>
                  </a:cubicBezTo>
                  <a:cubicBezTo>
                    <a:pt x="266" y="218"/>
                    <a:pt x="261" y="214"/>
                    <a:pt x="257" y="212"/>
                  </a:cubicBezTo>
                  <a:cubicBezTo>
                    <a:pt x="253" y="210"/>
                    <a:pt x="252" y="210"/>
                    <a:pt x="254" y="208"/>
                  </a:cubicBezTo>
                  <a:cubicBezTo>
                    <a:pt x="257" y="206"/>
                    <a:pt x="260" y="209"/>
                    <a:pt x="261" y="203"/>
                  </a:cubicBezTo>
                  <a:cubicBezTo>
                    <a:pt x="260" y="203"/>
                    <a:pt x="259" y="203"/>
                    <a:pt x="258" y="203"/>
                  </a:cubicBezTo>
                  <a:cubicBezTo>
                    <a:pt x="258" y="203"/>
                    <a:pt x="257" y="203"/>
                    <a:pt x="257" y="203"/>
                  </a:cubicBezTo>
                  <a:cubicBezTo>
                    <a:pt x="253" y="203"/>
                    <a:pt x="245" y="203"/>
                    <a:pt x="243" y="201"/>
                  </a:cubicBezTo>
                  <a:cubicBezTo>
                    <a:pt x="241" y="200"/>
                    <a:pt x="237" y="197"/>
                    <a:pt x="237" y="195"/>
                  </a:cubicBezTo>
                  <a:cubicBezTo>
                    <a:pt x="237" y="194"/>
                    <a:pt x="238" y="194"/>
                    <a:pt x="238" y="194"/>
                  </a:cubicBezTo>
                  <a:cubicBezTo>
                    <a:pt x="239" y="192"/>
                    <a:pt x="241" y="187"/>
                    <a:pt x="240" y="186"/>
                  </a:cubicBezTo>
                  <a:cubicBezTo>
                    <a:pt x="240" y="185"/>
                    <a:pt x="239" y="184"/>
                    <a:pt x="238" y="184"/>
                  </a:cubicBezTo>
                  <a:cubicBezTo>
                    <a:pt x="234" y="184"/>
                    <a:pt x="229" y="187"/>
                    <a:pt x="227" y="187"/>
                  </a:cubicBezTo>
                  <a:cubicBezTo>
                    <a:pt x="226" y="187"/>
                    <a:pt x="225" y="187"/>
                    <a:pt x="224" y="187"/>
                  </a:cubicBezTo>
                  <a:cubicBezTo>
                    <a:pt x="220" y="187"/>
                    <a:pt x="219" y="185"/>
                    <a:pt x="217" y="181"/>
                  </a:cubicBezTo>
                  <a:cubicBezTo>
                    <a:pt x="215" y="177"/>
                    <a:pt x="210" y="174"/>
                    <a:pt x="209" y="170"/>
                  </a:cubicBezTo>
                  <a:cubicBezTo>
                    <a:pt x="209" y="169"/>
                    <a:pt x="210" y="169"/>
                    <a:pt x="209" y="168"/>
                  </a:cubicBezTo>
                  <a:cubicBezTo>
                    <a:pt x="208" y="165"/>
                    <a:pt x="206" y="162"/>
                    <a:pt x="204" y="159"/>
                  </a:cubicBezTo>
                  <a:cubicBezTo>
                    <a:pt x="198" y="149"/>
                    <a:pt x="182" y="147"/>
                    <a:pt x="178" y="136"/>
                  </a:cubicBezTo>
                  <a:cubicBezTo>
                    <a:pt x="176" y="132"/>
                    <a:pt x="169" y="122"/>
                    <a:pt x="173" y="119"/>
                  </a:cubicBezTo>
                  <a:cubicBezTo>
                    <a:pt x="175" y="118"/>
                    <a:pt x="176" y="118"/>
                    <a:pt x="177" y="118"/>
                  </a:cubicBezTo>
                  <a:cubicBezTo>
                    <a:pt x="179" y="118"/>
                    <a:pt x="181" y="118"/>
                    <a:pt x="183" y="118"/>
                  </a:cubicBezTo>
                  <a:cubicBezTo>
                    <a:pt x="185" y="119"/>
                    <a:pt x="187" y="119"/>
                    <a:pt x="188" y="119"/>
                  </a:cubicBezTo>
                  <a:cubicBezTo>
                    <a:pt x="188" y="119"/>
                    <a:pt x="188" y="119"/>
                    <a:pt x="189" y="119"/>
                  </a:cubicBezTo>
                  <a:cubicBezTo>
                    <a:pt x="191" y="119"/>
                    <a:pt x="196" y="118"/>
                    <a:pt x="198" y="116"/>
                  </a:cubicBezTo>
                  <a:cubicBezTo>
                    <a:pt x="199" y="115"/>
                    <a:pt x="198" y="109"/>
                    <a:pt x="197" y="107"/>
                  </a:cubicBezTo>
                  <a:cubicBezTo>
                    <a:pt x="197" y="106"/>
                    <a:pt x="195" y="105"/>
                    <a:pt x="194" y="104"/>
                  </a:cubicBezTo>
                  <a:cubicBezTo>
                    <a:pt x="192" y="101"/>
                    <a:pt x="189" y="97"/>
                    <a:pt x="185" y="96"/>
                  </a:cubicBezTo>
                  <a:cubicBezTo>
                    <a:pt x="184" y="96"/>
                    <a:pt x="184" y="95"/>
                    <a:pt x="183" y="95"/>
                  </a:cubicBezTo>
                  <a:cubicBezTo>
                    <a:pt x="182" y="95"/>
                    <a:pt x="182" y="96"/>
                    <a:pt x="181" y="96"/>
                  </a:cubicBezTo>
                  <a:cubicBezTo>
                    <a:pt x="180" y="96"/>
                    <a:pt x="180" y="96"/>
                    <a:pt x="179" y="96"/>
                  </a:cubicBezTo>
                  <a:cubicBezTo>
                    <a:pt x="179" y="96"/>
                    <a:pt x="178" y="96"/>
                    <a:pt x="178" y="96"/>
                  </a:cubicBezTo>
                  <a:cubicBezTo>
                    <a:pt x="171" y="96"/>
                    <a:pt x="165" y="88"/>
                    <a:pt x="159" y="86"/>
                  </a:cubicBezTo>
                  <a:cubicBezTo>
                    <a:pt x="155" y="85"/>
                    <a:pt x="150" y="84"/>
                    <a:pt x="146" y="83"/>
                  </a:cubicBezTo>
                  <a:cubicBezTo>
                    <a:pt x="144" y="83"/>
                    <a:pt x="138" y="83"/>
                    <a:pt x="137" y="81"/>
                  </a:cubicBezTo>
                  <a:cubicBezTo>
                    <a:pt x="135" y="79"/>
                    <a:pt x="138" y="77"/>
                    <a:pt x="138" y="75"/>
                  </a:cubicBezTo>
                  <a:cubicBezTo>
                    <a:pt x="139" y="73"/>
                    <a:pt x="139" y="70"/>
                    <a:pt x="138" y="68"/>
                  </a:cubicBezTo>
                  <a:cubicBezTo>
                    <a:pt x="136" y="62"/>
                    <a:pt x="130" y="57"/>
                    <a:pt x="127" y="52"/>
                  </a:cubicBezTo>
                  <a:cubicBezTo>
                    <a:pt x="124" y="49"/>
                    <a:pt x="124" y="51"/>
                    <a:pt x="121" y="49"/>
                  </a:cubicBezTo>
                  <a:cubicBezTo>
                    <a:pt x="114" y="46"/>
                    <a:pt x="105" y="42"/>
                    <a:pt x="102" y="35"/>
                  </a:cubicBezTo>
                  <a:cubicBezTo>
                    <a:pt x="101" y="33"/>
                    <a:pt x="99" y="34"/>
                    <a:pt x="97" y="33"/>
                  </a:cubicBezTo>
                  <a:cubicBezTo>
                    <a:pt x="66" y="22"/>
                    <a:pt x="34" y="1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1514"/>
            <p:cNvSpPr/>
            <p:nvPr/>
          </p:nvSpPr>
          <p:spPr bwMode="auto">
            <a:xfrm>
              <a:off x="2667" y="1064"/>
              <a:ext cx="683" cy="596"/>
            </a:xfrm>
            <a:custGeom>
              <a:gdLst>
                <a:gd name="T0" fmla="*/ 15 w 289"/>
                <a:gd name="T1" fmla="*/ 12 h 252"/>
                <a:gd name="T2" fmla="*/ 21 w 289"/>
                <a:gd name="T3" fmla="*/ 33 h 252"/>
                <a:gd name="T4" fmla="*/ 29 w 289"/>
                <a:gd name="T5" fmla="*/ 43 h 252"/>
                <a:gd name="T6" fmla="*/ 41 w 289"/>
                <a:gd name="T7" fmla="*/ 55 h 252"/>
                <a:gd name="T8" fmla="*/ 53 w 289"/>
                <a:gd name="T9" fmla="*/ 55 h 252"/>
                <a:gd name="T10" fmla="*/ 67 w 289"/>
                <a:gd name="T11" fmla="*/ 54 h 252"/>
                <a:gd name="T12" fmla="*/ 77 w 289"/>
                <a:gd name="T13" fmla="*/ 54 h 252"/>
                <a:gd name="T14" fmla="*/ 83 w 289"/>
                <a:gd name="T15" fmla="*/ 56 h 252"/>
                <a:gd name="T16" fmla="*/ 85 w 289"/>
                <a:gd name="T17" fmla="*/ 56 h 252"/>
                <a:gd name="T18" fmla="*/ 86 w 289"/>
                <a:gd name="T19" fmla="*/ 58 h 252"/>
                <a:gd name="T20" fmla="*/ 89 w 289"/>
                <a:gd name="T21" fmla="*/ 59 h 252"/>
                <a:gd name="T22" fmla="*/ 78 w 289"/>
                <a:gd name="T23" fmla="*/ 64 h 252"/>
                <a:gd name="T24" fmla="*/ 71 w 289"/>
                <a:gd name="T25" fmla="*/ 67 h 252"/>
                <a:gd name="T26" fmla="*/ 52 w 289"/>
                <a:gd name="T27" fmla="*/ 71 h 252"/>
                <a:gd name="T28" fmla="*/ 45 w 289"/>
                <a:gd name="T29" fmla="*/ 69 h 252"/>
                <a:gd name="T30" fmla="*/ 39 w 289"/>
                <a:gd name="T31" fmla="*/ 67 h 252"/>
                <a:gd name="T32" fmla="*/ 52 w 289"/>
                <a:gd name="T33" fmla="*/ 86 h 252"/>
                <a:gd name="T34" fmla="*/ 53 w 289"/>
                <a:gd name="T35" fmla="*/ 95 h 252"/>
                <a:gd name="T36" fmla="*/ 62 w 289"/>
                <a:gd name="T37" fmla="*/ 108 h 252"/>
                <a:gd name="T38" fmla="*/ 66 w 289"/>
                <a:gd name="T39" fmla="*/ 108 h 252"/>
                <a:gd name="T40" fmla="*/ 81 w 289"/>
                <a:gd name="T41" fmla="*/ 83 h 252"/>
                <a:gd name="T42" fmla="*/ 82 w 289"/>
                <a:gd name="T43" fmla="*/ 95 h 252"/>
                <a:gd name="T44" fmla="*/ 90 w 289"/>
                <a:gd name="T45" fmla="*/ 101 h 252"/>
                <a:gd name="T46" fmla="*/ 107 w 289"/>
                <a:gd name="T47" fmla="*/ 105 h 252"/>
                <a:gd name="T48" fmla="*/ 116 w 289"/>
                <a:gd name="T49" fmla="*/ 104 h 252"/>
                <a:gd name="T50" fmla="*/ 108 w 289"/>
                <a:gd name="T51" fmla="*/ 108 h 252"/>
                <a:gd name="T52" fmla="*/ 206 w 289"/>
                <a:gd name="T53" fmla="*/ 148 h 252"/>
                <a:gd name="T54" fmla="*/ 215 w 289"/>
                <a:gd name="T55" fmla="*/ 154 h 252"/>
                <a:gd name="T56" fmla="*/ 217 w 289"/>
                <a:gd name="T57" fmla="*/ 170 h 252"/>
                <a:gd name="T58" fmla="*/ 233 w 289"/>
                <a:gd name="T59" fmla="*/ 189 h 252"/>
                <a:gd name="T60" fmla="*/ 224 w 289"/>
                <a:gd name="T61" fmla="*/ 193 h 252"/>
                <a:gd name="T62" fmla="*/ 229 w 289"/>
                <a:gd name="T63" fmla="*/ 199 h 252"/>
                <a:gd name="T64" fmla="*/ 225 w 289"/>
                <a:gd name="T65" fmla="*/ 199 h 252"/>
                <a:gd name="T66" fmla="*/ 236 w 289"/>
                <a:gd name="T67" fmla="*/ 210 h 252"/>
                <a:gd name="T68" fmla="*/ 230 w 289"/>
                <a:gd name="T69" fmla="*/ 227 h 252"/>
                <a:gd name="T70" fmla="*/ 240 w 289"/>
                <a:gd name="T71" fmla="*/ 222 h 252"/>
                <a:gd name="T72" fmla="*/ 254 w 289"/>
                <a:gd name="T73" fmla="*/ 226 h 252"/>
                <a:gd name="T74" fmla="*/ 263 w 289"/>
                <a:gd name="T75" fmla="*/ 225 h 252"/>
                <a:gd name="T76" fmla="*/ 271 w 289"/>
                <a:gd name="T77" fmla="*/ 235 h 252"/>
                <a:gd name="T78" fmla="*/ 287 w 289"/>
                <a:gd name="T79" fmla="*/ 190 h 252"/>
                <a:gd name="T80" fmla="*/ 289 w 289"/>
                <a:gd name="T81" fmla="*/ 139 h 252"/>
                <a:gd name="T82" fmla="*/ 289 w 289"/>
                <a:gd name="T83" fmla="*/ 65 h 252"/>
                <a:gd name="T84" fmla="*/ 266 w 289"/>
                <a:gd name="T85" fmla="*/ 58 h 252"/>
                <a:gd name="T86" fmla="*/ 250 w 289"/>
                <a:gd name="T87" fmla="*/ 55 h 252"/>
                <a:gd name="T88" fmla="*/ 195 w 289"/>
                <a:gd name="T89" fmla="*/ 35 h 252"/>
                <a:gd name="T90" fmla="*/ 183 w 289"/>
                <a:gd name="T91" fmla="*/ 49 h 252"/>
                <a:gd name="T92" fmla="*/ 162 w 289"/>
                <a:gd name="T93" fmla="*/ 53 h 252"/>
                <a:gd name="T94" fmla="*/ 140 w 289"/>
                <a:gd name="T95" fmla="*/ 79 h 252"/>
                <a:gd name="T96" fmla="*/ 127 w 289"/>
                <a:gd name="T97" fmla="*/ 88 h 252"/>
                <a:gd name="T98" fmla="*/ 108 w 289"/>
                <a:gd name="T99" fmla="*/ 72 h 252"/>
                <a:gd name="T100" fmla="*/ 104 w 289"/>
                <a:gd name="T101" fmla="*/ 72 h 252"/>
                <a:gd name="T102" fmla="*/ 92 w 289"/>
                <a:gd name="T103" fmla="*/ 40 h 252"/>
                <a:gd name="T104" fmla="*/ 92 w 289"/>
                <a:gd name="T105" fmla="*/ 21 h 252"/>
                <a:gd name="T106" fmla="*/ 48 w 289"/>
                <a:gd name="T107" fmla="*/ 0 h 2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9" h="251">
                  <a:moveTo>
                    <a:pt x="46" y="0"/>
                  </a:moveTo>
                  <a:cubicBezTo>
                    <a:pt x="43" y="0"/>
                    <a:pt x="41" y="1"/>
                    <a:pt x="39" y="2"/>
                  </a:cubicBezTo>
                  <a:cubicBezTo>
                    <a:pt x="35" y="4"/>
                    <a:pt x="31" y="8"/>
                    <a:pt x="28" y="10"/>
                  </a:cubicBezTo>
                  <a:cubicBezTo>
                    <a:pt x="24" y="11"/>
                    <a:pt x="19" y="11"/>
                    <a:pt x="15" y="12"/>
                  </a:cubicBezTo>
                  <a:cubicBezTo>
                    <a:pt x="14" y="12"/>
                    <a:pt x="10" y="13"/>
                    <a:pt x="9" y="13"/>
                  </a:cubicBezTo>
                  <a:cubicBezTo>
                    <a:pt x="8" y="15"/>
                    <a:pt x="10" y="17"/>
                    <a:pt x="10" y="18"/>
                  </a:cubicBezTo>
                  <a:cubicBezTo>
                    <a:pt x="9" y="22"/>
                    <a:pt x="3" y="28"/>
                    <a:pt x="0" y="31"/>
                  </a:cubicBezTo>
                  <a:cubicBezTo>
                    <a:pt x="7" y="32"/>
                    <a:pt x="14" y="32"/>
                    <a:pt x="21" y="33"/>
                  </a:cubicBezTo>
                  <a:cubicBezTo>
                    <a:pt x="23" y="34"/>
                    <a:pt x="26" y="35"/>
                    <a:pt x="29" y="35"/>
                  </a:cubicBezTo>
                  <a:cubicBezTo>
                    <a:pt x="29" y="35"/>
                    <a:pt x="29" y="35"/>
                    <a:pt x="30" y="35"/>
                  </a:cubicBezTo>
                  <a:cubicBezTo>
                    <a:pt x="28" y="36"/>
                    <a:pt x="27" y="37"/>
                    <a:pt x="29" y="39"/>
                  </a:cubicBezTo>
                  <a:cubicBezTo>
                    <a:pt x="30" y="42"/>
                    <a:pt x="29" y="41"/>
                    <a:pt x="29" y="43"/>
                  </a:cubicBezTo>
                  <a:cubicBezTo>
                    <a:pt x="31" y="49"/>
                    <a:pt x="34" y="51"/>
                    <a:pt x="39" y="55"/>
                  </a:cubicBezTo>
                  <a:cubicBezTo>
                    <a:pt x="39" y="55"/>
                    <a:pt x="40" y="55"/>
                    <a:pt x="40" y="55"/>
                  </a:cubicBezTo>
                  <a:cubicBezTo>
                    <a:pt x="40" y="55"/>
                    <a:pt x="40" y="55"/>
                    <a:pt x="40" y="55"/>
                  </a:cubicBezTo>
                  <a:cubicBezTo>
                    <a:pt x="41" y="55"/>
                    <a:pt x="41" y="55"/>
                    <a:pt x="41" y="55"/>
                  </a:cubicBezTo>
                  <a:cubicBezTo>
                    <a:pt x="41" y="55"/>
                    <a:pt x="41" y="55"/>
                    <a:pt x="41" y="55"/>
                  </a:cubicBezTo>
                  <a:cubicBezTo>
                    <a:pt x="43" y="55"/>
                    <a:pt x="45" y="53"/>
                    <a:pt x="47" y="53"/>
                  </a:cubicBezTo>
                  <a:cubicBezTo>
                    <a:pt x="47" y="53"/>
                    <a:pt x="47" y="53"/>
                    <a:pt x="47" y="53"/>
                  </a:cubicBezTo>
                  <a:cubicBezTo>
                    <a:pt x="49" y="53"/>
                    <a:pt x="52" y="54"/>
                    <a:pt x="53" y="55"/>
                  </a:cubicBezTo>
                  <a:cubicBezTo>
                    <a:pt x="55" y="55"/>
                    <a:pt x="57" y="56"/>
                    <a:pt x="59" y="56"/>
                  </a:cubicBezTo>
                  <a:cubicBezTo>
                    <a:pt x="59" y="56"/>
                    <a:pt x="59" y="56"/>
                    <a:pt x="59" y="56"/>
                  </a:cubicBezTo>
                  <a:cubicBezTo>
                    <a:pt x="61" y="56"/>
                    <a:pt x="64" y="54"/>
                    <a:pt x="66" y="54"/>
                  </a:cubicBezTo>
                  <a:cubicBezTo>
                    <a:pt x="66" y="54"/>
                    <a:pt x="67" y="54"/>
                    <a:pt x="67" y="54"/>
                  </a:cubicBezTo>
                  <a:cubicBezTo>
                    <a:pt x="67" y="54"/>
                    <a:pt x="68" y="54"/>
                    <a:pt x="70" y="54"/>
                  </a:cubicBezTo>
                  <a:cubicBezTo>
                    <a:pt x="71" y="54"/>
                    <a:pt x="72" y="54"/>
                    <a:pt x="73" y="54"/>
                  </a:cubicBezTo>
                  <a:cubicBezTo>
                    <a:pt x="74" y="54"/>
                    <a:pt x="75" y="54"/>
                    <a:pt x="75" y="54"/>
                  </a:cubicBezTo>
                  <a:cubicBezTo>
                    <a:pt x="75" y="54"/>
                    <a:pt x="76" y="54"/>
                    <a:pt x="77" y="54"/>
                  </a:cubicBezTo>
                  <a:cubicBezTo>
                    <a:pt x="78" y="54"/>
                    <a:pt x="80" y="53"/>
                    <a:pt x="82" y="52"/>
                  </a:cubicBezTo>
                  <a:cubicBezTo>
                    <a:pt x="83" y="52"/>
                    <a:pt x="85" y="51"/>
                    <a:pt x="87" y="51"/>
                  </a:cubicBezTo>
                  <a:cubicBezTo>
                    <a:pt x="87" y="51"/>
                    <a:pt x="87" y="51"/>
                    <a:pt x="87" y="51"/>
                  </a:cubicBezTo>
                  <a:cubicBezTo>
                    <a:pt x="86" y="52"/>
                    <a:pt x="83" y="55"/>
                    <a:pt x="83" y="56"/>
                  </a:cubicBezTo>
                  <a:cubicBezTo>
                    <a:pt x="84" y="56"/>
                    <a:pt x="84" y="56"/>
                    <a:pt x="84" y="56"/>
                  </a:cubicBezTo>
                  <a:cubicBezTo>
                    <a:pt x="84" y="56"/>
                    <a:pt x="84" y="56"/>
                    <a:pt x="85" y="56"/>
                  </a:cubicBezTo>
                  <a:cubicBezTo>
                    <a:pt x="85" y="56"/>
                    <a:pt x="85" y="56"/>
                    <a:pt x="85" y="56"/>
                  </a:cubicBezTo>
                  <a:cubicBezTo>
                    <a:pt x="85" y="56"/>
                    <a:pt x="85" y="56"/>
                    <a:pt x="85" y="56"/>
                  </a:cubicBezTo>
                  <a:cubicBezTo>
                    <a:pt x="85" y="56"/>
                    <a:pt x="85" y="56"/>
                    <a:pt x="85" y="56"/>
                  </a:cubicBezTo>
                  <a:cubicBezTo>
                    <a:pt x="86" y="56"/>
                    <a:pt x="86" y="56"/>
                    <a:pt x="86" y="56"/>
                  </a:cubicBezTo>
                  <a:cubicBezTo>
                    <a:pt x="86" y="56"/>
                    <a:pt x="87" y="56"/>
                    <a:pt x="87" y="56"/>
                  </a:cubicBezTo>
                  <a:cubicBezTo>
                    <a:pt x="88" y="56"/>
                    <a:pt x="88" y="56"/>
                    <a:pt x="86" y="58"/>
                  </a:cubicBezTo>
                  <a:cubicBezTo>
                    <a:pt x="87" y="57"/>
                    <a:pt x="87" y="58"/>
                    <a:pt x="88" y="57"/>
                  </a:cubicBezTo>
                  <a:cubicBezTo>
                    <a:pt x="87" y="58"/>
                    <a:pt x="87" y="58"/>
                    <a:pt x="86" y="59"/>
                  </a:cubicBezTo>
                  <a:cubicBezTo>
                    <a:pt x="87" y="59"/>
                    <a:pt x="88" y="59"/>
                    <a:pt x="89" y="59"/>
                  </a:cubicBezTo>
                  <a:cubicBezTo>
                    <a:pt x="89" y="59"/>
                    <a:pt x="89" y="59"/>
                    <a:pt x="89" y="59"/>
                  </a:cubicBezTo>
                  <a:cubicBezTo>
                    <a:pt x="86" y="61"/>
                    <a:pt x="84" y="63"/>
                    <a:pt x="84" y="66"/>
                  </a:cubicBezTo>
                  <a:cubicBezTo>
                    <a:pt x="83" y="65"/>
                    <a:pt x="82" y="64"/>
                    <a:pt x="81" y="63"/>
                  </a:cubicBezTo>
                  <a:cubicBezTo>
                    <a:pt x="81" y="65"/>
                    <a:pt x="80" y="66"/>
                    <a:pt x="80" y="68"/>
                  </a:cubicBezTo>
                  <a:cubicBezTo>
                    <a:pt x="79" y="65"/>
                    <a:pt x="79" y="64"/>
                    <a:pt x="78" y="64"/>
                  </a:cubicBezTo>
                  <a:cubicBezTo>
                    <a:pt x="77" y="64"/>
                    <a:pt x="76" y="65"/>
                    <a:pt x="74" y="66"/>
                  </a:cubicBezTo>
                  <a:cubicBezTo>
                    <a:pt x="73" y="65"/>
                    <a:pt x="73" y="64"/>
                    <a:pt x="73" y="62"/>
                  </a:cubicBezTo>
                  <a:cubicBezTo>
                    <a:pt x="72" y="64"/>
                    <a:pt x="72" y="66"/>
                    <a:pt x="72" y="67"/>
                  </a:cubicBezTo>
                  <a:cubicBezTo>
                    <a:pt x="71" y="67"/>
                    <a:pt x="71" y="67"/>
                    <a:pt x="71" y="67"/>
                  </a:cubicBezTo>
                  <a:cubicBezTo>
                    <a:pt x="71" y="64"/>
                    <a:pt x="72" y="62"/>
                    <a:pt x="68" y="61"/>
                  </a:cubicBezTo>
                  <a:cubicBezTo>
                    <a:pt x="67" y="61"/>
                    <a:pt x="67" y="61"/>
                    <a:pt x="66" y="61"/>
                  </a:cubicBezTo>
                  <a:cubicBezTo>
                    <a:pt x="61" y="61"/>
                    <a:pt x="59" y="65"/>
                    <a:pt x="56" y="68"/>
                  </a:cubicBezTo>
                  <a:cubicBezTo>
                    <a:pt x="54" y="70"/>
                    <a:pt x="54" y="71"/>
                    <a:pt x="52" y="71"/>
                  </a:cubicBezTo>
                  <a:cubicBezTo>
                    <a:pt x="52" y="71"/>
                    <a:pt x="51" y="71"/>
                    <a:pt x="50" y="70"/>
                  </a:cubicBezTo>
                  <a:cubicBezTo>
                    <a:pt x="49" y="70"/>
                    <a:pt x="48" y="69"/>
                    <a:pt x="47" y="68"/>
                  </a:cubicBezTo>
                  <a:cubicBezTo>
                    <a:pt x="47" y="68"/>
                    <a:pt x="47" y="68"/>
                    <a:pt x="47" y="68"/>
                  </a:cubicBezTo>
                  <a:cubicBezTo>
                    <a:pt x="46" y="68"/>
                    <a:pt x="45" y="69"/>
                    <a:pt x="45" y="69"/>
                  </a:cubicBezTo>
                  <a:cubicBezTo>
                    <a:pt x="44" y="69"/>
                    <a:pt x="44" y="69"/>
                    <a:pt x="44" y="69"/>
                  </a:cubicBezTo>
                  <a:cubicBezTo>
                    <a:pt x="44" y="69"/>
                    <a:pt x="44" y="69"/>
                    <a:pt x="44" y="69"/>
                  </a:cubicBezTo>
                  <a:cubicBezTo>
                    <a:pt x="43" y="69"/>
                    <a:pt x="41" y="68"/>
                    <a:pt x="40" y="68"/>
                  </a:cubicBezTo>
                  <a:cubicBezTo>
                    <a:pt x="40" y="67"/>
                    <a:pt x="39" y="67"/>
                    <a:pt x="39" y="67"/>
                  </a:cubicBezTo>
                  <a:cubicBezTo>
                    <a:pt x="38" y="67"/>
                    <a:pt x="37" y="67"/>
                    <a:pt x="36" y="68"/>
                  </a:cubicBezTo>
                  <a:cubicBezTo>
                    <a:pt x="34" y="68"/>
                    <a:pt x="32" y="69"/>
                    <a:pt x="30" y="70"/>
                  </a:cubicBezTo>
                  <a:cubicBezTo>
                    <a:pt x="34" y="74"/>
                    <a:pt x="39" y="74"/>
                    <a:pt x="43" y="77"/>
                  </a:cubicBezTo>
                  <a:cubicBezTo>
                    <a:pt x="47" y="80"/>
                    <a:pt x="49" y="83"/>
                    <a:pt x="52" y="86"/>
                  </a:cubicBezTo>
                  <a:cubicBezTo>
                    <a:pt x="52" y="85"/>
                    <a:pt x="53" y="85"/>
                    <a:pt x="53" y="85"/>
                  </a:cubicBezTo>
                  <a:cubicBezTo>
                    <a:pt x="54" y="85"/>
                    <a:pt x="54" y="85"/>
                    <a:pt x="55" y="86"/>
                  </a:cubicBezTo>
                  <a:cubicBezTo>
                    <a:pt x="55" y="88"/>
                    <a:pt x="58" y="92"/>
                    <a:pt x="58" y="93"/>
                  </a:cubicBezTo>
                  <a:cubicBezTo>
                    <a:pt x="57" y="94"/>
                    <a:pt x="54" y="94"/>
                    <a:pt x="53" y="95"/>
                  </a:cubicBezTo>
                  <a:cubicBezTo>
                    <a:pt x="52" y="97"/>
                    <a:pt x="54" y="103"/>
                    <a:pt x="56" y="106"/>
                  </a:cubicBezTo>
                  <a:cubicBezTo>
                    <a:pt x="57" y="109"/>
                    <a:pt x="57" y="109"/>
                    <a:pt x="57" y="109"/>
                  </a:cubicBezTo>
                  <a:cubicBezTo>
                    <a:pt x="58" y="109"/>
                    <a:pt x="58" y="109"/>
                    <a:pt x="59" y="109"/>
                  </a:cubicBezTo>
                  <a:cubicBezTo>
                    <a:pt x="60" y="109"/>
                    <a:pt x="61" y="108"/>
                    <a:pt x="62" y="108"/>
                  </a:cubicBezTo>
                  <a:cubicBezTo>
                    <a:pt x="62" y="108"/>
                    <a:pt x="62" y="108"/>
                    <a:pt x="63" y="108"/>
                  </a:cubicBezTo>
                  <a:cubicBezTo>
                    <a:pt x="63" y="108"/>
                    <a:pt x="64" y="108"/>
                    <a:pt x="64" y="108"/>
                  </a:cubicBezTo>
                  <a:cubicBezTo>
                    <a:pt x="65" y="108"/>
                    <a:pt x="65" y="108"/>
                    <a:pt x="66" y="108"/>
                  </a:cubicBezTo>
                  <a:cubicBezTo>
                    <a:pt x="66" y="108"/>
                    <a:pt x="66" y="108"/>
                    <a:pt x="66" y="108"/>
                  </a:cubicBezTo>
                  <a:cubicBezTo>
                    <a:pt x="71" y="107"/>
                    <a:pt x="72" y="100"/>
                    <a:pt x="74" y="96"/>
                  </a:cubicBezTo>
                  <a:cubicBezTo>
                    <a:pt x="77" y="89"/>
                    <a:pt x="79" y="80"/>
                    <a:pt x="86" y="76"/>
                  </a:cubicBezTo>
                  <a:cubicBezTo>
                    <a:pt x="85" y="78"/>
                    <a:pt x="84" y="79"/>
                    <a:pt x="83" y="81"/>
                  </a:cubicBezTo>
                  <a:cubicBezTo>
                    <a:pt x="82" y="82"/>
                    <a:pt x="81" y="82"/>
                    <a:pt x="81" y="83"/>
                  </a:cubicBezTo>
                  <a:cubicBezTo>
                    <a:pt x="80" y="85"/>
                    <a:pt x="81" y="86"/>
                    <a:pt x="80" y="89"/>
                  </a:cubicBezTo>
                  <a:cubicBezTo>
                    <a:pt x="80" y="90"/>
                    <a:pt x="79" y="90"/>
                    <a:pt x="79" y="91"/>
                  </a:cubicBezTo>
                  <a:cubicBezTo>
                    <a:pt x="79" y="94"/>
                    <a:pt x="79" y="95"/>
                    <a:pt x="80" y="95"/>
                  </a:cubicBezTo>
                  <a:cubicBezTo>
                    <a:pt x="80" y="95"/>
                    <a:pt x="81" y="95"/>
                    <a:pt x="82" y="95"/>
                  </a:cubicBezTo>
                  <a:cubicBezTo>
                    <a:pt x="82" y="94"/>
                    <a:pt x="83" y="94"/>
                    <a:pt x="83" y="94"/>
                  </a:cubicBezTo>
                  <a:cubicBezTo>
                    <a:pt x="84" y="94"/>
                    <a:pt x="84" y="94"/>
                    <a:pt x="84" y="94"/>
                  </a:cubicBezTo>
                  <a:cubicBezTo>
                    <a:pt x="87" y="95"/>
                    <a:pt x="86" y="101"/>
                    <a:pt x="89" y="101"/>
                  </a:cubicBezTo>
                  <a:cubicBezTo>
                    <a:pt x="89" y="101"/>
                    <a:pt x="90" y="101"/>
                    <a:pt x="90" y="101"/>
                  </a:cubicBezTo>
                  <a:cubicBezTo>
                    <a:pt x="92" y="101"/>
                    <a:pt x="93" y="101"/>
                    <a:pt x="93" y="99"/>
                  </a:cubicBezTo>
                  <a:cubicBezTo>
                    <a:pt x="95" y="101"/>
                    <a:pt x="96" y="104"/>
                    <a:pt x="98" y="106"/>
                  </a:cubicBezTo>
                  <a:cubicBezTo>
                    <a:pt x="99" y="105"/>
                    <a:pt x="100" y="104"/>
                    <a:pt x="99" y="102"/>
                  </a:cubicBezTo>
                  <a:cubicBezTo>
                    <a:pt x="101" y="103"/>
                    <a:pt x="104" y="105"/>
                    <a:pt x="107" y="105"/>
                  </a:cubicBezTo>
                  <a:cubicBezTo>
                    <a:pt x="107" y="105"/>
                    <a:pt x="107" y="105"/>
                    <a:pt x="107" y="105"/>
                  </a:cubicBezTo>
                  <a:cubicBezTo>
                    <a:pt x="108" y="105"/>
                    <a:pt x="108" y="103"/>
                    <a:pt x="109" y="103"/>
                  </a:cubicBezTo>
                  <a:cubicBezTo>
                    <a:pt x="109" y="103"/>
                    <a:pt x="110" y="103"/>
                    <a:pt x="110" y="103"/>
                  </a:cubicBezTo>
                  <a:cubicBezTo>
                    <a:pt x="112" y="103"/>
                    <a:pt x="115" y="104"/>
                    <a:pt x="116" y="104"/>
                  </a:cubicBezTo>
                  <a:cubicBezTo>
                    <a:pt x="115" y="104"/>
                    <a:pt x="114" y="104"/>
                    <a:pt x="113" y="104"/>
                  </a:cubicBezTo>
                  <a:cubicBezTo>
                    <a:pt x="113" y="104"/>
                    <a:pt x="112" y="104"/>
                    <a:pt x="112" y="104"/>
                  </a:cubicBezTo>
                  <a:cubicBezTo>
                    <a:pt x="112" y="104"/>
                    <a:pt x="111" y="104"/>
                    <a:pt x="111" y="104"/>
                  </a:cubicBezTo>
                  <a:cubicBezTo>
                    <a:pt x="110" y="104"/>
                    <a:pt x="109" y="105"/>
                    <a:pt x="108" y="108"/>
                  </a:cubicBezTo>
                  <a:cubicBezTo>
                    <a:pt x="107" y="112"/>
                    <a:pt x="133" y="119"/>
                    <a:pt x="134" y="120"/>
                  </a:cubicBezTo>
                  <a:cubicBezTo>
                    <a:pt x="152" y="125"/>
                    <a:pt x="170" y="131"/>
                    <a:pt x="187" y="136"/>
                  </a:cubicBezTo>
                  <a:cubicBezTo>
                    <a:pt x="195" y="139"/>
                    <a:pt x="201" y="143"/>
                    <a:pt x="206" y="148"/>
                  </a:cubicBezTo>
                  <a:cubicBezTo>
                    <a:pt x="206" y="148"/>
                    <a:pt x="206" y="148"/>
                    <a:pt x="206" y="148"/>
                  </a:cubicBezTo>
                  <a:cubicBezTo>
                    <a:pt x="207" y="147"/>
                    <a:pt x="207" y="148"/>
                    <a:pt x="207" y="147"/>
                  </a:cubicBezTo>
                  <a:cubicBezTo>
                    <a:pt x="207" y="149"/>
                    <a:pt x="205" y="156"/>
                    <a:pt x="209" y="156"/>
                  </a:cubicBezTo>
                  <a:cubicBezTo>
                    <a:pt x="209" y="156"/>
                    <a:pt x="209" y="156"/>
                    <a:pt x="209" y="156"/>
                  </a:cubicBezTo>
                  <a:cubicBezTo>
                    <a:pt x="211" y="155"/>
                    <a:pt x="213" y="155"/>
                    <a:pt x="215" y="154"/>
                  </a:cubicBezTo>
                  <a:cubicBezTo>
                    <a:pt x="214" y="155"/>
                    <a:pt x="212" y="156"/>
                    <a:pt x="210" y="157"/>
                  </a:cubicBezTo>
                  <a:cubicBezTo>
                    <a:pt x="212" y="158"/>
                    <a:pt x="214" y="159"/>
                    <a:pt x="216" y="159"/>
                  </a:cubicBezTo>
                  <a:cubicBezTo>
                    <a:pt x="216" y="159"/>
                    <a:pt x="217" y="159"/>
                    <a:pt x="217" y="159"/>
                  </a:cubicBezTo>
                  <a:cubicBezTo>
                    <a:pt x="210" y="162"/>
                    <a:pt x="214" y="164"/>
                    <a:pt x="217" y="170"/>
                  </a:cubicBezTo>
                  <a:cubicBezTo>
                    <a:pt x="219" y="176"/>
                    <a:pt x="224" y="180"/>
                    <a:pt x="229" y="184"/>
                  </a:cubicBezTo>
                  <a:cubicBezTo>
                    <a:pt x="228" y="184"/>
                    <a:pt x="226" y="184"/>
                    <a:pt x="225" y="184"/>
                  </a:cubicBezTo>
                  <a:cubicBezTo>
                    <a:pt x="225" y="184"/>
                    <a:pt x="225" y="184"/>
                    <a:pt x="225" y="184"/>
                  </a:cubicBezTo>
                  <a:cubicBezTo>
                    <a:pt x="225" y="184"/>
                    <a:pt x="229" y="187"/>
                    <a:pt x="233" y="189"/>
                  </a:cubicBezTo>
                  <a:cubicBezTo>
                    <a:pt x="232" y="189"/>
                    <a:pt x="232" y="189"/>
                    <a:pt x="231" y="189"/>
                  </a:cubicBezTo>
                  <a:cubicBezTo>
                    <a:pt x="230" y="189"/>
                    <a:pt x="229" y="189"/>
                    <a:pt x="228" y="189"/>
                  </a:cubicBezTo>
                  <a:cubicBezTo>
                    <a:pt x="227" y="189"/>
                    <a:pt x="223" y="189"/>
                    <a:pt x="222" y="190"/>
                  </a:cubicBezTo>
                  <a:cubicBezTo>
                    <a:pt x="220" y="191"/>
                    <a:pt x="223" y="192"/>
                    <a:pt x="224" y="193"/>
                  </a:cubicBezTo>
                  <a:cubicBezTo>
                    <a:pt x="229" y="195"/>
                    <a:pt x="234" y="197"/>
                    <a:pt x="240" y="200"/>
                  </a:cubicBezTo>
                  <a:cubicBezTo>
                    <a:pt x="239" y="200"/>
                    <a:pt x="238" y="200"/>
                    <a:pt x="237" y="200"/>
                  </a:cubicBezTo>
                  <a:cubicBezTo>
                    <a:pt x="236" y="200"/>
                    <a:pt x="235" y="200"/>
                    <a:pt x="233" y="199"/>
                  </a:cubicBezTo>
                  <a:cubicBezTo>
                    <a:pt x="232" y="199"/>
                    <a:pt x="231" y="199"/>
                    <a:pt x="229" y="199"/>
                  </a:cubicBezTo>
                  <a:cubicBezTo>
                    <a:pt x="228" y="199"/>
                    <a:pt x="228" y="199"/>
                    <a:pt x="227" y="199"/>
                  </a:cubicBezTo>
                  <a:cubicBezTo>
                    <a:pt x="227" y="199"/>
                    <a:pt x="227" y="199"/>
                    <a:pt x="227" y="199"/>
                  </a:cubicBezTo>
                  <a:cubicBezTo>
                    <a:pt x="227" y="199"/>
                    <a:pt x="226" y="199"/>
                    <a:pt x="226" y="199"/>
                  </a:cubicBezTo>
                  <a:cubicBezTo>
                    <a:pt x="226" y="199"/>
                    <a:pt x="225" y="199"/>
                    <a:pt x="225" y="199"/>
                  </a:cubicBezTo>
                  <a:cubicBezTo>
                    <a:pt x="225" y="199"/>
                    <a:pt x="225" y="199"/>
                    <a:pt x="225" y="199"/>
                  </a:cubicBezTo>
                  <a:cubicBezTo>
                    <a:pt x="224" y="200"/>
                    <a:pt x="228" y="204"/>
                    <a:pt x="229" y="205"/>
                  </a:cubicBezTo>
                  <a:cubicBezTo>
                    <a:pt x="231" y="206"/>
                    <a:pt x="233" y="208"/>
                    <a:pt x="234" y="209"/>
                  </a:cubicBezTo>
                  <a:cubicBezTo>
                    <a:pt x="235" y="210"/>
                    <a:pt x="236" y="209"/>
                    <a:pt x="236" y="210"/>
                  </a:cubicBezTo>
                  <a:cubicBezTo>
                    <a:pt x="236" y="211"/>
                    <a:pt x="234" y="217"/>
                    <a:pt x="234" y="218"/>
                  </a:cubicBezTo>
                  <a:cubicBezTo>
                    <a:pt x="233" y="220"/>
                    <a:pt x="232" y="219"/>
                    <a:pt x="232" y="221"/>
                  </a:cubicBezTo>
                  <a:cubicBezTo>
                    <a:pt x="231" y="222"/>
                    <a:pt x="232" y="224"/>
                    <a:pt x="232" y="225"/>
                  </a:cubicBezTo>
                  <a:cubicBezTo>
                    <a:pt x="231" y="226"/>
                    <a:pt x="230" y="225"/>
                    <a:pt x="230" y="227"/>
                  </a:cubicBezTo>
                  <a:cubicBezTo>
                    <a:pt x="230" y="228"/>
                    <a:pt x="231" y="230"/>
                    <a:pt x="232" y="231"/>
                  </a:cubicBezTo>
                  <a:cubicBezTo>
                    <a:pt x="233" y="229"/>
                    <a:pt x="235" y="228"/>
                    <a:pt x="237" y="227"/>
                  </a:cubicBezTo>
                  <a:cubicBezTo>
                    <a:pt x="237" y="226"/>
                    <a:pt x="240" y="226"/>
                    <a:pt x="241" y="225"/>
                  </a:cubicBezTo>
                  <a:cubicBezTo>
                    <a:pt x="241" y="224"/>
                    <a:pt x="240" y="222"/>
                    <a:pt x="240" y="222"/>
                  </a:cubicBezTo>
                  <a:cubicBezTo>
                    <a:pt x="240" y="221"/>
                    <a:pt x="241" y="221"/>
                    <a:pt x="241" y="221"/>
                  </a:cubicBezTo>
                  <a:cubicBezTo>
                    <a:pt x="242" y="221"/>
                    <a:pt x="241" y="226"/>
                    <a:pt x="242" y="226"/>
                  </a:cubicBezTo>
                  <a:cubicBezTo>
                    <a:pt x="243" y="228"/>
                    <a:pt x="244" y="228"/>
                    <a:pt x="245" y="228"/>
                  </a:cubicBezTo>
                  <a:cubicBezTo>
                    <a:pt x="248" y="228"/>
                    <a:pt x="252" y="226"/>
                    <a:pt x="254" y="226"/>
                  </a:cubicBezTo>
                  <a:cubicBezTo>
                    <a:pt x="255" y="226"/>
                    <a:pt x="255" y="226"/>
                    <a:pt x="256" y="226"/>
                  </a:cubicBezTo>
                  <a:cubicBezTo>
                    <a:pt x="256" y="226"/>
                    <a:pt x="257" y="226"/>
                    <a:pt x="257" y="226"/>
                  </a:cubicBezTo>
                  <a:cubicBezTo>
                    <a:pt x="258" y="226"/>
                    <a:pt x="259" y="226"/>
                    <a:pt x="259" y="226"/>
                  </a:cubicBezTo>
                  <a:cubicBezTo>
                    <a:pt x="260" y="226"/>
                    <a:pt x="262" y="226"/>
                    <a:pt x="263" y="225"/>
                  </a:cubicBezTo>
                  <a:cubicBezTo>
                    <a:pt x="265" y="224"/>
                    <a:pt x="264" y="220"/>
                    <a:pt x="266" y="220"/>
                  </a:cubicBezTo>
                  <a:cubicBezTo>
                    <a:pt x="264" y="222"/>
                    <a:pt x="266" y="222"/>
                    <a:pt x="265" y="224"/>
                  </a:cubicBezTo>
                  <a:cubicBezTo>
                    <a:pt x="265" y="225"/>
                    <a:pt x="263" y="225"/>
                    <a:pt x="263" y="226"/>
                  </a:cubicBezTo>
                  <a:cubicBezTo>
                    <a:pt x="262" y="229"/>
                    <a:pt x="269" y="233"/>
                    <a:pt x="271" y="235"/>
                  </a:cubicBezTo>
                  <a:cubicBezTo>
                    <a:pt x="277" y="241"/>
                    <a:pt x="283" y="246"/>
                    <a:pt x="289" y="252"/>
                  </a:cubicBezTo>
                  <a:cubicBezTo>
                    <a:pt x="289" y="192"/>
                    <a:pt x="289" y="192"/>
                    <a:pt x="289" y="192"/>
                  </a:cubicBezTo>
                  <a:cubicBezTo>
                    <a:pt x="288" y="192"/>
                    <a:pt x="288" y="192"/>
                    <a:pt x="288" y="192"/>
                  </a:cubicBezTo>
                  <a:cubicBezTo>
                    <a:pt x="288" y="191"/>
                    <a:pt x="287" y="191"/>
                    <a:pt x="287" y="190"/>
                  </a:cubicBezTo>
                  <a:cubicBezTo>
                    <a:pt x="286" y="189"/>
                    <a:pt x="286" y="188"/>
                    <a:pt x="286" y="187"/>
                  </a:cubicBezTo>
                  <a:cubicBezTo>
                    <a:pt x="288" y="158"/>
                    <a:pt x="288" y="158"/>
                    <a:pt x="288" y="158"/>
                  </a:cubicBezTo>
                  <a:cubicBezTo>
                    <a:pt x="288" y="153"/>
                    <a:pt x="289" y="148"/>
                    <a:pt x="289" y="143"/>
                  </a:cubicBezTo>
                  <a:cubicBezTo>
                    <a:pt x="289" y="139"/>
                    <a:pt x="289" y="139"/>
                    <a:pt x="289" y="139"/>
                  </a:cubicBezTo>
                  <a:cubicBezTo>
                    <a:pt x="289" y="137"/>
                    <a:pt x="289" y="136"/>
                    <a:pt x="289" y="135"/>
                  </a:cubicBezTo>
                  <a:cubicBezTo>
                    <a:pt x="289" y="131"/>
                    <a:pt x="289" y="131"/>
                    <a:pt x="289" y="131"/>
                  </a:cubicBezTo>
                  <a:cubicBezTo>
                    <a:pt x="289" y="118"/>
                    <a:pt x="289" y="103"/>
                    <a:pt x="289" y="91"/>
                  </a:cubicBezTo>
                  <a:cubicBezTo>
                    <a:pt x="289" y="82"/>
                    <a:pt x="289" y="74"/>
                    <a:pt x="289" y="65"/>
                  </a:cubicBezTo>
                  <a:cubicBezTo>
                    <a:pt x="287" y="65"/>
                    <a:pt x="286" y="65"/>
                    <a:pt x="285" y="66"/>
                  </a:cubicBezTo>
                  <a:cubicBezTo>
                    <a:pt x="284" y="65"/>
                    <a:pt x="283" y="61"/>
                    <a:pt x="282" y="61"/>
                  </a:cubicBezTo>
                  <a:cubicBezTo>
                    <a:pt x="278" y="60"/>
                    <a:pt x="273" y="59"/>
                    <a:pt x="269" y="59"/>
                  </a:cubicBezTo>
                  <a:cubicBezTo>
                    <a:pt x="268" y="58"/>
                    <a:pt x="267" y="58"/>
                    <a:pt x="266" y="58"/>
                  </a:cubicBezTo>
                  <a:cubicBezTo>
                    <a:pt x="265" y="58"/>
                    <a:pt x="264" y="58"/>
                    <a:pt x="263" y="58"/>
                  </a:cubicBezTo>
                  <a:cubicBezTo>
                    <a:pt x="262" y="59"/>
                    <a:pt x="261" y="59"/>
                    <a:pt x="260" y="59"/>
                  </a:cubicBezTo>
                  <a:cubicBezTo>
                    <a:pt x="260" y="59"/>
                    <a:pt x="259" y="59"/>
                    <a:pt x="258" y="58"/>
                  </a:cubicBezTo>
                  <a:cubicBezTo>
                    <a:pt x="255" y="58"/>
                    <a:pt x="253" y="56"/>
                    <a:pt x="250" y="55"/>
                  </a:cubicBezTo>
                  <a:cubicBezTo>
                    <a:pt x="242" y="51"/>
                    <a:pt x="234" y="48"/>
                    <a:pt x="226" y="44"/>
                  </a:cubicBezTo>
                  <a:cubicBezTo>
                    <a:pt x="219" y="40"/>
                    <a:pt x="212" y="37"/>
                    <a:pt x="204" y="34"/>
                  </a:cubicBezTo>
                  <a:cubicBezTo>
                    <a:pt x="204" y="33"/>
                    <a:pt x="203" y="33"/>
                    <a:pt x="202" y="33"/>
                  </a:cubicBezTo>
                  <a:cubicBezTo>
                    <a:pt x="199" y="33"/>
                    <a:pt x="197" y="34"/>
                    <a:pt x="195" y="35"/>
                  </a:cubicBezTo>
                  <a:cubicBezTo>
                    <a:pt x="191" y="36"/>
                    <a:pt x="188" y="38"/>
                    <a:pt x="185" y="40"/>
                  </a:cubicBezTo>
                  <a:cubicBezTo>
                    <a:pt x="183" y="41"/>
                    <a:pt x="180" y="41"/>
                    <a:pt x="180" y="43"/>
                  </a:cubicBezTo>
                  <a:cubicBezTo>
                    <a:pt x="181" y="45"/>
                    <a:pt x="182" y="46"/>
                    <a:pt x="182" y="48"/>
                  </a:cubicBezTo>
                  <a:cubicBezTo>
                    <a:pt x="183" y="49"/>
                    <a:pt x="183" y="49"/>
                    <a:pt x="183" y="49"/>
                  </a:cubicBezTo>
                  <a:cubicBezTo>
                    <a:pt x="182" y="51"/>
                    <a:pt x="179" y="51"/>
                    <a:pt x="177" y="52"/>
                  </a:cubicBezTo>
                  <a:cubicBezTo>
                    <a:pt x="173" y="53"/>
                    <a:pt x="169" y="55"/>
                    <a:pt x="166" y="55"/>
                  </a:cubicBezTo>
                  <a:cubicBezTo>
                    <a:pt x="165" y="55"/>
                    <a:pt x="165" y="55"/>
                    <a:pt x="165" y="55"/>
                  </a:cubicBezTo>
                  <a:cubicBezTo>
                    <a:pt x="163" y="55"/>
                    <a:pt x="163" y="53"/>
                    <a:pt x="162" y="53"/>
                  </a:cubicBezTo>
                  <a:cubicBezTo>
                    <a:pt x="158" y="53"/>
                    <a:pt x="157" y="57"/>
                    <a:pt x="155" y="60"/>
                  </a:cubicBezTo>
                  <a:cubicBezTo>
                    <a:pt x="152" y="64"/>
                    <a:pt x="147" y="69"/>
                    <a:pt x="145" y="74"/>
                  </a:cubicBezTo>
                  <a:cubicBezTo>
                    <a:pt x="145" y="74"/>
                    <a:pt x="145" y="75"/>
                    <a:pt x="144" y="77"/>
                  </a:cubicBezTo>
                  <a:cubicBezTo>
                    <a:pt x="143" y="78"/>
                    <a:pt x="141" y="78"/>
                    <a:pt x="140" y="79"/>
                  </a:cubicBezTo>
                  <a:cubicBezTo>
                    <a:pt x="139" y="79"/>
                    <a:pt x="141" y="80"/>
                    <a:pt x="139" y="81"/>
                  </a:cubicBezTo>
                  <a:cubicBezTo>
                    <a:pt x="138" y="82"/>
                    <a:pt x="137" y="82"/>
                    <a:pt x="136" y="82"/>
                  </a:cubicBezTo>
                  <a:cubicBezTo>
                    <a:pt x="135" y="83"/>
                    <a:pt x="135" y="85"/>
                    <a:pt x="134" y="86"/>
                  </a:cubicBezTo>
                  <a:cubicBezTo>
                    <a:pt x="132" y="87"/>
                    <a:pt x="130" y="88"/>
                    <a:pt x="127" y="88"/>
                  </a:cubicBezTo>
                  <a:cubicBezTo>
                    <a:pt x="125" y="88"/>
                    <a:pt x="123" y="88"/>
                    <a:pt x="121" y="87"/>
                  </a:cubicBezTo>
                  <a:cubicBezTo>
                    <a:pt x="115" y="86"/>
                    <a:pt x="114" y="81"/>
                    <a:pt x="114" y="74"/>
                  </a:cubicBezTo>
                  <a:cubicBezTo>
                    <a:pt x="112" y="75"/>
                    <a:pt x="111" y="76"/>
                    <a:pt x="111" y="76"/>
                  </a:cubicBezTo>
                  <a:cubicBezTo>
                    <a:pt x="110" y="76"/>
                    <a:pt x="109" y="75"/>
                    <a:pt x="108" y="72"/>
                  </a:cubicBezTo>
                  <a:cubicBezTo>
                    <a:pt x="108" y="71"/>
                    <a:pt x="109" y="65"/>
                    <a:pt x="108" y="64"/>
                  </a:cubicBezTo>
                  <a:cubicBezTo>
                    <a:pt x="107" y="63"/>
                    <a:pt x="106" y="62"/>
                    <a:pt x="106" y="62"/>
                  </a:cubicBezTo>
                  <a:cubicBezTo>
                    <a:pt x="104" y="62"/>
                    <a:pt x="103" y="64"/>
                    <a:pt x="103" y="66"/>
                  </a:cubicBezTo>
                  <a:cubicBezTo>
                    <a:pt x="103" y="68"/>
                    <a:pt x="105" y="71"/>
                    <a:pt x="104" y="72"/>
                  </a:cubicBezTo>
                  <a:cubicBezTo>
                    <a:pt x="104" y="73"/>
                    <a:pt x="104" y="73"/>
                    <a:pt x="103" y="73"/>
                  </a:cubicBezTo>
                  <a:cubicBezTo>
                    <a:pt x="103" y="73"/>
                    <a:pt x="102" y="72"/>
                    <a:pt x="102" y="71"/>
                  </a:cubicBezTo>
                  <a:cubicBezTo>
                    <a:pt x="100" y="65"/>
                    <a:pt x="98" y="60"/>
                    <a:pt x="96" y="54"/>
                  </a:cubicBezTo>
                  <a:cubicBezTo>
                    <a:pt x="94" y="50"/>
                    <a:pt x="92" y="45"/>
                    <a:pt x="92" y="40"/>
                  </a:cubicBezTo>
                  <a:cubicBezTo>
                    <a:pt x="92" y="38"/>
                    <a:pt x="92" y="39"/>
                    <a:pt x="93" y="37"/>
                  </a:cubicBezTo>
                  <a:cubicBezTo>
                    <a:pt x="95" y="35"/>
                    <a:pt x="96" y="34"/>
                    <a:pt x="96" y="31"/>
                  </a:cubicBezTo>
                  <a:cubicBezTo>
                    <a:pt x="96" y="28"/>
                    <a:pt x="97" y="30"/>
                    <a:pt x="96" y="27"/>
                  </a:cubicBezTo>
                  <a:cubicBezTo>
                    <a:pt x="95" y="25"/>
                    <a:pt x="93" y="23"/>
                    <a:pt x="92" y="21"/>
                  </a:cubicBezTo>
                  <a:cubicBezTo>
                    <a:pt x="90" y="18"/>
                    <a:pt x="90" y="15"/>
                    <a:pt x="94" y="15"/>
                  </a:cubicBezTo>
                  <a:cubicBezTo>
                    <a:pt x="94" y="15"/>
                    <a:pt x="94" y="15"/>
                    <a:pt x="94" y="15"/>
                  </a:cubicBezTo>
                  <a:cubicBezTo>
                    <a:pt x="86" y="13"/>
                    <a:pt x="77" y="13"/>
                    <a:pt x="70" y="10"/>
                  </a:cubicBezTo>
                  <a:cubicBezTo>
                    <a:pt x="62" y="6"/>
                    <a:pt x="56" y="1"/>
                    <a:pt x="48" y="0"/>
                  </a:cubicBezTo>
                  <a:cubicBezTo>
                    <a:pt x="47" y="0"/>
                    <a:pt x="46"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Freeform 1515"/>
            <p:cNvSpPr/>
            <p:nvPr/>
          </p:nvSpPr>
          <p:spPr bwMode="auto">
            <a:xfrm>
              <a:off x="1155" y="745"/>
              <a:ext cx="694" cy="581"/>
            </a:xfrm>
            <a:custGeom>
              <a:gdLst>
                <a:gd name="T0" fmla="*/ 206 w 294"/>
                <a:gd name="T1" fmla="*/ 2 h 246"/>
                <a:gd name="T2" fmla="*/ 190 w 294"/>
                <a:gd name="T3" fmla="*/ 40 h 246"/>
                <a:gd name="T4" fmla="*/ 184 w 294"/>
                <a:gd name="T5" fmla="*/ 46 h 246"/>
                <a:gd name="T6" fmla="*/ 188 w 294"/>
                <a:gd name="T7" fmla="*/ 50 h 246"/>
                <a:gd name="T8" fmla="*/ 179 w 294"/>
                <a:gd name="T9" fmla="*/ 59 h 246"/>
                <a:gd name="T10" fmla="*/ 176 w 294"/>
                <a:gd name="T11" fmla="*/ 62 h 246"/>
                <a:gd name="T12" fmla="*/ 173 w 294"/>
                <a:gd name="T13" fmla="*/ 74 h 246"/>
                <a:gd name="T14" fmla="*/ 162 w 294"/>
                <a:gd name="T15" fmla="*/ 87 h 246"/>
                <a:gd name="T16" fmla="*/ 159 w 294"/>
                <a:gd name="T17" fmla="*/ 86 h 246"/>
                <a:gd name="T18" fmla="*/ 153 w 294"/>
                <a:gd name="T19" fmla="*/ 87 h 246"/>
                <a:gd name="T20" fmla="*/ 138 w 294"/>
                <a:gd name="T21" fmla="*/ 92 h 246"/>
                <a:gd name="T22" fmla="*/ 113 w 294"/>
                <a:gd name="T23" fmla="*/ 84 h 246"/>
                <a:gd name="T24" fmla="*/ 99 w 294"/>
                <a:gd name="T25" fmla="*/ 86 h 246"/>
                <a:gd name="T26" fmla="*/ 82 w 294"/>
                <a:gd name="T27" fmla="*/ 99 h 246"/>
                <a:gd name="T28" fmla="*/ 64 w 294"/>
                <a:gd name="T29" fmla="*/ 99 h 246"/>
                <a:gd name="T30" fmla="*/ 48 w 294"/>
                <a:gd name="T31" fmla="*/ 103 h 246"/>
                <a:gd name="T32" fmla="*/ 39 w 294"/>
                <a:gd name="T33" fmla="*/ 97 h 246"/>
                <a:gd name="T34" fmla="*/ 17 w 294"/>
                <a:gd name="T35" fmla="*/ 67 h 246"/>
                <a:gd name="T36" fmla="*/ 1 w 294"/>
                <a:gd name="T37" fmla="*/ 90 h 246"/>
                <a:gd name="T38" fmla="*/ 8 w 294"/>
                <a:gd name="T39" fmla="*/ 120 h 246"/>
                <a:gd name="T40" fmla="*/ 9 w 294"/>
                <a:gd name="T41" fmla="*/ 131 h 246"/>
                <a:gd name="T42" fmla="*/ 14 w 294"/>
                <a:gd name="T43" fmla="*/ 150 h 246"/>
                <a:gd name="T44" fmla="*/ 32 w 294"/>
                <a:gd name="T45" fmla="*/ 175 h 246"/>
                <a:gd name="T46" fmla="*/ 36 w 294"/>
                <a:gd name="T47" fmla="*/ 184 h 246"/>
                <a:gd name="T48" fmla="*/ 48 w 294"/>
                <a:gd name="T49" fmla="*/ 213 h 246"/>
                <a:gd name="T50" fmla="*/ 54 w 294"/>
                <a:gd name="T51" fmla="*/ 213 h 246"/>
                <a:gd name="T52" fmla="*/ 61 w 294"/>
                <a:gd name="T53" fmla="*/ 214 h 246"/>
                <a:gd name="T54" fmla="*/ 75 w 294"/>
                <a:gd name="T55" fmla="*/ 211 h 246"/>
                <a:gd name="T56" fmla="*/ 83 w 294"/>
                <a:gd name="T57" fmla="*/ 205 h 246"/>
                <a:gd name="T58" fmla="*/ 121 w 294"/>
                <a:gd name="T59" fmla="*/ 210 h 246"/>
                <a:gd name="T60" fmla="*/ 137 w 294"/>
                <a:gd name="T61" fmla="*/ 217 h 246"/>
                <a:gd name="T62" fmla="*/ 152 w 294"/>
                <a:gd name="T63" fmla="*/ 218 h 246"/>
                <a:gd name="T64" fmla="*/ 162 w 294"/>
                <a:gd name="T65" fmla="*/ 226 h 246"/>
                <a:gd name="T66" fmla="*/ 167 w 294"/>
                <a:gd name="T67" fmla="*/ 246 h 246"/>
                <a:gd name="T68" fmla="*/ 184 w 294"/>
                <a:gd name="T69" fmla="*/ 238 h 246"/>
                <a:gd name="T70" fmla="*/ 214 w 294"/>
                <a:gd name="T71" fmla="*/ 215 h 246"/>
                <a:gd name="T72" fmla="*/ 215 w 294"/>
                <a:gd name="T73" fmla="*/ 198 h 246"/>
                <a:gd name="T74" fmla="*/ 213 w 294"/>
                <a:gd name="T75" fmla="*/ 176 h 246"/>
                <a:gd name="T76" fmla="*/ 232 w 294"/>
                <a:gd name="T77" fmla="*/ 161 h 246"/>
                <a:gd name="T78" fmla="*/ 254 w 294"/>
                <a:gd name="T79" fmla="*/ 147 h 246"/>
                <a:gd name="T80" fmla="*/ 250 w 294"/>
                <a:gd name="T81" fmla="*/ 125 h 246"/>
                <a:gd name="T82" fmla="*/ 263 w 294"/>
                <a:gd name="T83" fmla="*/ 101 h 246"/>
                <a:gd name="T84" fmla="*/ 262 w 294"/>
                <a:gd name="T85" fmla="*/ 92 h 246"/>
                <a:gd name="T86" fmla="*/ 294 w 294"/>
                <a:gd name="T87" fmla="*/ 94 h 246"/>
                <a:gd name="T88" fmla="*/ 260 w 294"/>
                <a:gd name="T89" fmla="*/ 63 h 246"/>
                <a:gd name="T90" fmla="*/ 253 w 294"/>
                <a:gd name="T91" fmla="*/ 42 h 246"/>
                <a:gd name="T92" fmla="*/ 249 w 294"/>
                <a:gd name="T93" fmla="*/ 34 h 246"/>
                <a:gd name="T94" fmla="*/ 244 w 294"/>
                <a:gd name="T95" fmla="*/ 30 h 246"/>
                <a:gd name="T96" fmla="*/ 246 w 294"/>
                <a:gd name="T97" fmla="*/ 30 h 246"/>
                <a:gd name="T98" fmla="*/ 245 w 294"/>
                <a:gd name="T99" fmla="*/ 24 h 246"/>
                <a:gd name="T100" fmla="*/ 240 w 294"/>
                <a:gd name="T101" fmla="*/ 20 h 246"/>
                <a:gd name="T102" fmla="*/ 246 w 294"/>
                <a:gd name="T103" fmla="*/ 20 h 246"/>
                <a:gd name="T104" fmla="*/ 255 w 294"/>
                <a:gd name="T105" fmla="*/ 12 h 246"/>
                <a:gd name="T106" fmla="*/ 246 w 294"/>
                <a:gd name="T107" fmla="*/ 5 h 2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46">
                  <a:moveTo>
                    <a:pt x="224" y="0"/>
                  </a:moveTo>
                  <a:cubicBezTo>
                    <a:pt x="223" y="0"/>
                    <a:pt x="222" y="0"/>
                    <a:pt x="221" y="1"/>
                  </a:cubicBezTo>
                  <a:cubicBezTo>
                    <a:pt x="216" y="1"/>
                    <a:pt x="212" y="2"/>
                    <a:pt x="209" y="2"/>
                  </a:cubicBezTo>
                  <a:cubicBezTo>
                    <a:pt x="207" y="2"/>
                    <a:pt x="207" y="2"/>
                    <a:pt x="206" y="2"/>
                  </a:cubicBezTo>
                  <a:cubicBezTo>
                    <a:pt x="205" y="2"/>
                    <a:pt x="205" y="1"/>
                    <a:pt x="204" y="1"/>
                  </a:cubicBezTo>
                  <a:cubicBezTo>
                    <a:pt x="200" y="5"/>
                    <a:pt x="197" y="10"/>
                    <a:pt x="198" y="13"/>
                  </a:cubicBezTo>
                  <a:cubicBezTo>
                    <a:pt x="199" y="21"/>
                    <a:pt x="199" y="27"/>
                    <a:pt x="197" y="34"/>
                  </a:cubicBezTo>
                  <a:cubicBezTo>
                    <a:pt x="196" y="36"/>
                    <a:pt x="195" y="40"/>
                    <a:pt x="190" y="40"/>
                  </a:cubicBezTo>
                  <a:cubicBezTo>
                    <a:pt x="190" y="40"/>
                    <a:pt x="189" y="40"/>
                    <a:pt x="189" y="40"/>
                  </a:cubicBezTo>
                  <a:cubicBezTo>
                    <a:pt x="189" y="40"/>
                    <a:pt x="189" y="40"/>
                    <a:pt x="189" y="40"/>
                  </a:cubicBezTo>
                  <a:cubicBezTo>
                    <a:pt x="187" y="40"/>
                    <a:pt x="186" y="40"/>
                    <a:pt x="185" y="42"/>
                  </a:cubicBezTo>
                  <a:cubicBezTo>
                    <a:pt x="184" y="43"/>
                    <a:pt x="184" y="44"/>
                    <a:pt x="184" y="46"/>
                  </a:cubicBezTo>
                  <a:cubicBezTo>
                    <a:pt x="185" y="46"/>
                    <a:pt x="186" y="47"/>
                    <a:pt x="187" y="48"/>
                  </a:cubicBezTo>
                  <a:cubicBezTo>
                    <a:pt x="190" y="47"/>
                    <a:pt x="190" y="47"/>
                    <a:pt x="190" y="47"/>
                  </a:cubicBezTo>
                  <a:cubicBezTo>
                    <a:pt x="187" y="49"/>
                    <a:pt x="187" y="49"/>
                    <a:pt x="187" y="49"/>
                  </a:cubicBezTo>
                  <a:cubicBezTo>
                    <a:pt x="188" y="50"/>
                    <a:pt x="188" y="50"/>
                    <a:pt x="188" y="50"/>
                  </a:cubicBezTo>
                  <a:cubicBezTo>
                    <a:pt x="189" y="52"/>
                    <a:pt x="189" y="52"/>
                    <a:pt x="189" y="52"/>
                  </a:cubicBezTo>
                  <a:cubicBezTo>
                    <a:pt x="187" y="54"/>
                    <a:pt x="187" y="54"/>
                    <a:pt x="187" y="54"/>
                  </a:cubicBezTo>
                  <a:cubicBezTo>
                    <a:pt x="185" y="55"/>
                    <a:pt x="183" y="56"/>
                    <a:pt x="181" y="58"/>
                  </a:cubicBezTo>
                  <a:cubicBezTo>
                    <a:pt x="180" y="58"/>
                    <a:pt x="179" y="58"/>
                    <a:pt x="179" y="59"/>
                  </a:cubicBezTo>
                  <a:cubicBezTo>
                    <a:pt x="179" y="59"/>
                    <a:pt x="178" y="59"/>
                    <a:pt x="177" y="60"/>
                  </a:cubicBezTo>
                  <a:cubicBezTo>
                    <a:pt x="177" y="60"/>
                    <a:pt x="177" y="60"/>
                    <a:pt x="177" y="60"/>
                  </a:cubicBezTo>
                  <a:cubicBezTo>
                    <a:pt x="176" y="60"/>
                    <a:pt x="176" y="61"/>
                    <a:pt x="176" y="61"/>
                  </a:cubicBezTo>
                  <a:cubicBezTo>
                    <a:pt x="176" y="61"/>
                    <a:pt x="176" y="62"/>
                    <a:pt x="176" y="62"/>
                  </a:cubicBezTo>
                  <a:cubicBezTo>
                    <a:pt x="176" y="63"/>
                    <a:pt x="177" y="64"/>
                    <a:pt x="177" y="64"/>
                  </a:cubicBezTo>
                  <a:cubicBezTo>
                    <a:pt x="177" y="66"/>
                    <a:pt x="178" y="68"/>
                    <a:pt x="177" y="70"/>
                  </a:cubicBezTo>
                  <a:cubicBezTo>
                    <a:pt x="176" y="72"/>
                    <a:pt x="174" y="73"/>
                    <a:pt x="173" y="74"/>
                  </a:cubicBezTo>
                  <a:cubicBezTo>
                    <a:pt x="173" y="74"/>
                    <a:pt x="173" y="74"/>
                    <a:pt x="173" y="74"/>
                  </a:cubicBezTo>
                  <a:cubicBezTo>
                    <a:pt x="172" y="74"/>
                    <a:pt x="172" y="75"/>
                    <a:pt x="172" y="75"/>
                  </a:cubicBezTo>
                  <a:cubicBezTo>
                    <a:pt x="172" y="75"/>
                    <a:pt x="171" y="76"/>
                    <a:pt x="171" y="77"/>
                  </a:cubicBezTo>
                  <a:cubicBezTo>
                    <a:pt x="170" y="81"/>
                    <a:pt x="170" y="81"/>
                    <a:pt x="170" y="81"/>
                  </a:cubicBezTo>
                  <a:cubicBezTo>
                    <a:pt x="168" y="85"/>
                    <a:pt x="166" y="86"/>
                    <a:pt x="162" y="87"/>
                  </a:cubicBezTo>
                  <a:cubicBezTo>
                    <a:pt x="162" y="87"/>
                    <a:pt x="162" y="87"/>
                    <a:pt x="161" y="87"/>
                  </a:cubicBezTo>
                  <a:cubicBezTo>
                    <a:pt x="161" y="87"/>
                    <a:pt x="160" y="87"/>
                    <a:pt x="160" y="86"/>
                  </a:cubicBezTo>
                  <a:cubicBezTo>
                    <a:pt x="159" y="85"/>
                    <a:pt x="159" y="85"/>
                    <a:pt x="159" y="85"/>
                  </a:cubicBezTo>
                  <a:cubicBezTo>
                    <a:pt x="159" y="86"/>
                    <a:pt x="159" y="86"/>
                    <a:pt x="159" y="86"/>
                  </a:cubicBezTo>
                  <a:cubicBezTo>
                    <a:pt x="159" y="86"/>
                    <a:pt x="158" y="86"/>
                    <a:pt x="158" y="86"/>
                  </a:cubicBezTo>
                  <a:cubicBezTo>
                    <a:pt x="158" y="86"/>
                    <a:pt x="157" y="86"/>
                    <a:pt x="157" y="87"/>
                  </a:cubicBezTo>
                  <a:cubicBezTo>
                    <a:pt x="156" y="87"/>
                    <a:pt x="156" y="87"/>
                    <a:pt x="156" y="87"/>
                  </a:cubicBezTo>
                  <a:cubicBezTo>
                    <a:pt x="153" y="87"/>
                    <a:pt x="153" y="87"/>
                    <a:pt x="153" y="87"/>
                  </a:cubicBezTo>
                  <a:cubicBezTo>
                    <a:pt x="149" y="88"/>
                    <a:pt x="147" y="88"/>
                    <a:pt x="144" y="90"/>
                  </a:cubicBezTo>
                  <a:cubicBezTo>
                    <a:pt x="144" y="90"/>
                    <a:pt x="144" y="90"/>
                    <a:pt x="144" y="90"/>
                  </a:cubicBezTo>
                  <a:cubicBezTo>
                    <a:pt x="143" y="90"/>
                    <a:pt x="142" y="91"/>
                    <a:pt x="141" y="92"/>
                  </a:cubicBezTo>
                  <a:cubicBezTo>
                    <a:pt x="140" y="92"/>
                    <a:pt x="139" y="92"/>
                    <a:pt x="138" y="92"/>
                  </a:cubicBezTo>
                  <a:cubicBezTo>
                    <a:pt x="134" y="92"/>
                    <a:pt x="130" y="90"/>
                    <a:pt x="126" y="88"/>
                  </a:cubicBezTo>
                  <a:cubicBezTo>
                    <a:pt x="125" y="88"/>
                    <a:pt x="125" y="88"/>
                    <a:pt x="125" y="88"/>
                  </a:cubicBezTo>
                  <a:cubicBezTo>
                    <a:pt x="123" y="87"/>
                    <a:pt x="121" y="86"/>
                    <a:pt x="119" y="86"/>
                  </a:cubicBezTo>
                  <a:cubicBezTo>
                    <a:pt x="113" y="84"/>
                    <a:pt x="113" y="84"/>
                    <a:pt x="113" y="84"/>
                  </a:cubicBezTo>
                  <a:cubicBezTo>
                    <a:pt x="113" y="83"/>
                    <a:pt x="113" y="83"/>
                    <a:pt x="113" y="83"/>
                  </a:cubicBezTo>
                  <a:cubicBezTo>
                    <a:pt x="111" y="84"/>
                    <a:pt x="108" y="84"/>
                    <a:pt x="103" y="85"/>
                  </a:cubicBezTo>
                  <a:cubicBezTo>
                    <a:pt x="100" y="86"/>
                    <a:pt x="100" y="86"/>
                    <a:pt x="100" y="86"/>
                  </a:cubicBezTo>
                  <a:cubicBezTo>
                    <a:pt x="100" y="86"/>
                    <a:pt x="100" y="86"/>
                    <a:pt x="99" y="86"/>
                  </a:cubicBezTo>
                  <a:cubicBezTo>
                    <a:pt x="99" y="86"/>
                    <a:pt x="99" y="87"/>
                    <a:pt x="99" y="88"/>
                  </a:cubicBezTo>
                  <a:cubicBezTo>
                    <a:pt x="99" y="88"/>
                    <a:pt x="99" y="88"/>
                    <a:pt x="99" y="88"/>
                  </a:cubicBezTo>
                  <a:cubicBezTo>
                    <a:pt x="99" y="88"/>
                    <a:pt x="98" y="90"/>
                    <a:pt x="98" y="91"/>
                  </a:cubicBezTo>
                  <a:cubicBezTo>
                    <a:pt x="95" y="95"/>
                    <a:pt x="87" y="99"/>
                    <a:pt x="82" y="99"/>
                  </a:cubicBezTo>
                  <a:cubicBezTo>
                    <a:pt x="82" y="99"/>
                    <a:pt x="81" y="99"/>
                    <a:pt x="81" y="99"/>
                  </a:cubicBezTo>
                  <a:cubicBezTo>
                    <a:pt x="80" y="98"/>
                    <a:pt x="78" y="98"/>
                    <a:pt x="77" y="98"/>
                  </a:cubicBezTo>
                  <a:cubicBezTo>
                    <a:pt x="74" y="98"/>
                    <a:pt x="72" y="97"/>
                    <a:pt x="70" y="97"/>
                  </a:cubicBezTo>
                  <a:cubicBezTo>
                    <a:pt x="68" y="97"/>
                    <a:pt x="66" y="98"/>
                    <a:pt x="64" y="99"/>
                  </a:cubicBezTo>
                  <a:cubicBezTo>
                    <a:pt x="64" y="99"/>
                    <a:pt x="63" y="99"/>
                    <a:pt x="62" y="100"/>
                  </a:cubicBezTo>
                  <a:cubicBezTo>
                    <a:pt x="61" y="100"/>
                    <a:pt x="61" y="100"/>
                    <a:pt x="61" y="100"/>
                  </a:cubicBezTo>
                  <a:cubicBezTo>
                    <a:pt x="58" y="102"/>
                    <a:pt x="54" y="103"/>
                    <a:pt x="50" y="103"/>
                  </a:cubicBezTo>
                  <a:cubicBezTo>
                    <a:pt x="49" y="103"/>
                    <a:pt x="48" y="103"/>
                    <a:pt x="48" y="103"/>
                  </a:cubicBezTo>
                  <a:cubicBezTo>
                    <a:pt x="45" y="103"/>
                    <a:pt x="43" y="101"/>
                    <a:pt x="41" y="99"/>
                  </a:cubicBezTo>
                  <a:cubicBezTo>
                    <a:pt x="41" y="98"/>
                    <a:pt x="41" y="98"/>
                    <a:pt x="41" y="98"/>
                  </a:cubicBezTo>
                  <a:cubicBezTo>
                    <a:pt x="40" y="98"/>
                    <a:pt x="40" y="98"/>
                    <a:pt x="40" y="98"/>
                  </a:cubicBezTo>
                  <a:cubicBezTo>
                    <a:pt x="39" y="97"/>
                    <a:pt x="39" y="97"/>
                    <a:pt x="39" y="97"/>
                  </a:cubicBezTo>
                  <a:cubicBezTo>
                    <a:pt x="36" y="94"/>
                    <a:pt x="33" y="92"/>
                    <a:pt x="30" y="89"/>
                  </a:cubicBezTo>
                  <a:cubicBezTo>
                    <a:pt x="28" y="88"/>
                    <a:pt x="28" y="88"/>
                    <a:pt x="28" y="88"/>
                  </a:cubicBezTo>
                  <a:cubicBezTo>
                    <a:pt x="24" y="84"/>
                    <a:pt x="18" y="79"/>
                    <a:pt x="17" y="73"/>
                  </a:cubicBezTo>
                  <a:cubicBezTo>
                    <a:pt x="16" y="70"/>
                    <a:pt x="17" y="68"/>
                    <a:pt x="17" y="67"/>
                  </a:cubicBezTo>
                  <a:cubicBezTo>
                    <a:pt x="15" y="68"/>
                    <a:pt x="13" y="69"/>
                    <a:pt x="12" y="71"/>
                  </a:cubicBezTo>
                  <a:cubicBezTo>
                    <a:pt x="7" y="78"/>
                    <a:pt x="5" y="79"/>
                    <a:pt x="7" y="87"/>
                  </a:cubicBezTo>
                  <a:cubicBezTo>
                    <a:pt x="5" y="88"/>
                    <a:pt x="4" y="90"/>
                    <a:pt x="1" y="90"/>
                  </a:cubicBezTo>
                  <a:cubicBezTo>
                    <a:pt x="1" y="90"/>
                    <a:pt x="1" y="90"/>
                    <a:pt x="1" y="90"/>
                  </a:cubicBezTo>
                  <a:cubicBezTo>
                    <a:pt x="1" y="92"/>
                    <a:pt x="3" y="95"/>
                    <a:pt x="3" y="96"/>
                  </a:cubicBezTo>
                  <a:cubicBezTo>
                    <a:pt x="0" y="100"/>
                    <a:pt x="0" y="101"/>
                    <a:pt x="1" y="105"/>
                  </a:cubicBezTo>
                  <a:cubicBezTo>
                    <a:pt x="1" y="107"/>
                    <a:pt x="0" y="115"/>
                    <a:pt x="1" y="115"/>
                  </a:cubicBezTo>
                  <a:cubicBezTo>
                    <a:pt x="4" y="117"/>
                    <a:pt x="6" y="117"/>
                    <a:pt x="8" y="120"/>
                  </a:cubicBezTo>
                  <a:cubicBezTo>
                    <a:pt x="9" y="122"/>
                    <a:pt x="10" y="123"/>
                    <a:pt x="12" y="124"/>
                  </a:cubicBezTo>
                  <a:cubicBezTo>
                    <a:pt x="10" y="124"/>
                    <a:pt x="9" y="124"/>
                    <a:pt x="9" y="124"/>
                  </a:cubicBezTo>
                  <a:cubicBezTo>
                    <a:pt x="8" y="124"/>
                    <a:pt x="8" y="125"/>
                    <a:pt x="8" y="127"/>
                  </a:cubicBezTo>
                  <a:cubicBezTo>
                    <a:pt x="8" y="128"/>
                    <a:pt x="9" y="130"/>
                    <a:pt x="9" y="131"/>
                  </a:cubicBezTo>
                  <a:cubicBezTo>
                    <a:pt x="8" y="131"/>
                    <a:pt x="7" y="131"/>
                    <a:pt x="7" y="131"/>
                  </a:cubicBezTo>
                  <a:cubicBezTo>
                    <a:pt x="4" y="131"/>
                    <a:pt x="6" y="135"/>
                    <a:pt x="7" y="138"/>
                  </a:cubicBezTo>
                  <a:cubicBezTo>
                    <a:pt x="8" y="141"/>
                    <a:pt x="9" y="145"/>
                    <a:pt x="11" y="148"/>
                  </a:cubicBezTo>
                  <a:cubicBezTo>
                    <a:pt x="12" y="149"/>
                    <a:pt x="11" y="149"/>
                    <a:pt x="14" y="150"/>
                  </a:cubicBezTo>
                  <a:cubicBezTo>
                    <a:pt x="16" y="151"/>
                    <a:pt x="19" y="152"/>
                    <a:pt x="21" y="152"/>
                  </a:cubicBezTo>
                  <a:cubicBezTo>
                    <a:pt x="23" y="152"/>
                    <a:pt x="25" y="152"/>
                    <a:pt x="26" y="150"/>
                  </a:cubicBezTo>
                  <a:cubicBezTo>
                    <a:pt x="29" y="155"/>
                    <a:pt x="35" y="161"/>
                    <a:pt x="34" y="167"/>
                  </a:cubicBezTo>
                  <a:cubicBezTo>
                    <a:pt x="33" y="170"/>
                    <a:pt x="33" y="173"/>
                    <a:pt x="32" y="175"/>
                  </a:cubicBezTo>
                  <a:cubicBezTo>
                    <a:pt x="32" y="175"/>
                    <a:pt x="31" y="175"/>
                    <a:pt x="31" y="176"/>
                  </a:cubicBezTo>
                  <a:cubicBezTo>
                    <a:pt x="31" y="176"/>
                    <a:pt x="29" y="176"/>
                    <a:pt x="30" y="177"/>
                  </a:cubicBezTo>
                  <a:cubicBezTo>
                    <a:pt x="31" y="179"/>
                    <a:pt x="33" y="179"/>
                    <a:pt x="34" y="180"/>
                  </a:cubicBezTo>
                  <a:cubicBezTo>
                    <a:pt x="35" y="181"/>
                    <a:pt x="36" y="183"/>
                    <a:pt x="36" y="184"/>
                  </a:cubicBezTo>
                  <a:cubicBezTo>
                    <a:pt x="37" y="188"/>
                    <a:pt x="39" y="191"/>
                    <a:pt x="39" y="195"/>
                  </a:cubicBezTo>
                  <a:cubicBezTo>
                    <a:pt x="40" y="199"/>
                    <a:pt x="38" y="198"/>
                    <a:pt x="37" y="200"/>
                  </a:cubicBezTo>
                  <a:cubicBezTo>
                    <a:pt x="37" y="203"/>
                    <a:pt x="39" y="207"/>
                    <a:pt x="39" y="209"/>
                  </a:cubicBezTo>
                  <a:cubicBezTo>
                    <a:pt x="41" y="214"/>
                    <a:pt x="43" y="212"/>
                    <a:pt x="48" y="213"/>
                  </a:cubicBezTo>
                  <a:cubicBezTo>
                    <a:pt x="49" y="213"/>
                    <a:pt x="51" y="214"/>
                    <a:pt x="51" y="214"/>
                  </a:cubicBezTo>
                  <a:cubicBezTo>
                    <a:pt x="51" y="214"/>
                    <a:pt x="51" y="214"/>
                    <a:pt x="51" y="214"/>
                  </a:cubicBezTo>
                  <a:cubicBezTo>
                    <a:pt x="52" y="214"/>
                    <a:pt x="53" y="213"/>
                    <a:pt x="55" y="212"/>
                  </a:cubicBezTo>
                  <a:cubicBezTo>
                    <a:pt x="54" y="213"/>
                    <a:pt x="54" y="213"/>
                    <a:pt x="54" y="213"/>
                  </a:cubicBezTo>
                  <a:cubicBezTo>
                    <a:pt x="54" y="213"/>
                    <a:pt x="55" y="213"/>
                    <a:pt x="55" y="213"/>
                  </a:cubicBezTo>
                  <a:cubicBezTo>
                    <a:pt x="56" y="213"/>
                    <a:pt x="57" y="213"/>
                    <a:pt x="58" y="213"/>
                  </a:cubicBezTo>
                  <a:cubicBezTo>
                    <a:pt x="59" y="214"/>
                    <a:pt x="60" y="214"/>
                    <a:pt x="61" y="214"/>
                  </a:cubicBezTo>
                  <a:cubicBezTo>
                    <a:pt x="61" y="214"/>
                    <a:pt x="61" y="214"/>
                    <a:pt x="61" y="214"/>
                  </a:cubicBezTo>
                  <a:cubicBezTo>
                    <a:pt x="63" y="214"/>
                    <a:pt x="65" y="213"/>
                    <a:pt x="66" y="212"/>
                  </a:cubicBezTo>
                  <a:cubicBezTo>
                    <a:pt x="68" y="211"/>
                    <a:pt x="70" y="210"/>
                    <a:pt x="72" y="210"/>
                  </a:cubicBezTo>
                  <a:cubicBezTo>
                    <a:pt x="72" y="210"/>
                    <a:pt x="72" y="210"/>
                    <a:pt x="72" y="210"/>
                  </a:cubicBezTo>
                  <a:cubicBezTo>
                    <a:pt x="73" y="210"/>
                    <a:pt x="74" y="210"/>
                    <a:pt x="75" y="211"/>
                  </a:cubicBezTo>
                  <a:cubicBezTo>
                    <a:pt x="76" y="211"/>
                    <a:pt x="77" y="212"/>
                    <a:pt x="78" y="212"/>
                  </a:cubicBezTo>
                  <a:cubicBezTo>
                    <a:pt x="78" y="212"/>
                    <a:pt x="78" y="212"/>
                    <a:pt x="78" y="212"/>
                  </a:cubicBezTo>
                  <a:cubicBezTo>
                    <a:pt x="79" y="212"/>
                    <a:pt x="79" y="211"/>
                    <a:pt x="81" y="211"/>
                  </a:cubicBezTo>
                  <a:cubicBezTo>
                    <a:pt x="82" y="210"/>
                    <a:pt x="82" y="207"/>
                    <a:pt x="83" y="205"/>
                  </a:cubicBezTo>
                  <a:cubicBezTo>
                    <a:pt x="83" y="208"/>
                    <a:pt x="85" y="210"/>
                    <a:pt x="86" y="214"/>
                  </a:cubicBezTo>
                  <a:cubicBezTo>
                    <a:pt x="86" y="218"/>
                    <a:pt x="86" y="224"/>
                    <a:pt x="86" y="228"/>
                  </a:cubicBezTo>
                  <a:cubicBezTo>
                    <a:pt x="91" y="225"/>
                    <a:pt x="95" y="221"/>
                    <a:pt x="101" y="221"/>
                  </a:cubicBezTo>
                  <a:cubicBezTo>
                    <a:pt x="111" y="220"/>
                    <a:pt x="119" y="221"/>
                    <a:pt x="121" y="210"/>
                  </a:cubicBezTo>
                  <a:cubicBezTo>
                    <a:pt x="121" y="212"/>
                    <a:pt x="122" y="213"/>
                    <a:pt x="124" y="214"/>
                  </a:cubicBezTo>
                  <a:cubicBezTo>
                    <a:pt x="126" y="215"/>
                    <a:pt x="128" y="219"/>
                    <a:pt x="131" y="219"/>
                  </a:cubicBezTo>
                  <a:cubicBezTo>
                    <a:pt x="131" y="219"/>
                    <a:pt x="131" y="219"/>
                    <a:pt x="131" y="219"/>
                  </a:cubicBezTo>
                  <a:cubicBezTo>
                    <a:pt x="133" y="219"/>
                    <a:pt x="136" y="217"/>
                    <a:pt x="137" y="217"/>
                  </a:cubicBezTo>
                  <a:cubicBezTo>
                    <a:pt x="138" y="221"/>
                    <a:pt x="137" y="225"/>
                    <a:pt x="142" y="225"/>
                  </a:cubicBezTo>
                  <a:cubicBezTo>
                    <a:pt x="142" y="225"/>
                    <a:pt x="142" y="225"/>
                    <a:pt x="142" y="225"/>
                  </a:cubicBezTo>
                  <a:cubicBezTo>
                    <a:pt x="143" y="225"/>
                    <a:pt x="144" y="225"/>
                    <a:pt x="146" y="224"/>
                  </a:cubicBezTo>
                  <a:cubicBezTo>
                    <a:pt x="149" y="223"/>
                    <a:pt x="150" y="221"/>
                    <a:pt x="152" y="218"/>
                  </a:cubicBezTo>
                  <a:cubicBezTo>
                    <a:pt x="152" y="220"/>
                    <a:pt x="154" y="221"/>
                    <a:pt x="155" y="223"/>
                  </a:cubicBezTo>
                  <a:cubicBezTo>
                    <a:pt x="156" y="221"/>
                    <a:pt x="157" y="220"/>
                    <a:pt x="159" y="218"/>
                  </a:cubicBezTo>
                  <a:cubicBezTo>
                    <a:pt x="157" y="220"/>
                    <a:pt x="157" y="222"/>
                    <a:pt x="157" y="224"/>
                  </a:cubicBezTo>
                  <a:cubicBezTo>
                    <a:pt x="158" y="225"/>
                    <a:pt x="161" y="226"/>
                    <a:pt x="162" y="226"/>
                  </a:cubicBezTo>
                  <a:cubicBezTo>
                    <a:pt x="162" y="226"/>
                    <a:pt x="162" y="226"/>
                    <a:pt x="162" y="226"/>
                  </a:cubicBezTo>
                  <a:cubicBezTo>
                    <a:pt x="163" y="226"/>
                    <a:pt x="163" y="224"/>
                    <a:pt x="163" y="223"/>
                  </a:cubicBezTo>
                  <a:cubicBezTo>
                    <a:pt x="165" y="225"/>
                    <a:pt x="164" y="230"/>
                    <a:pt x="165" y="233"/>
                  </a:cubicBezTo>
                  <a:cubicBezTo>
                    <a:pt x="165" y="235"/>
                    <a:pt x="165" y="245"/>
                    <a:pt x="167" y="246"/>
                  </a:cubicBezTo>
                  <a:cubicBezTo>
                    <a:pt x="167" y="246"/>
                    <a:pt x="168" y="246"/>
                    <a:pt x="168" y="246"/>
                  </a:cubicBezTo>
                  <a:cubicBezTo>
                    <a:pt x="169" y="246"/>
                    <a:pt x="170" y="245"/>
                    <a:pt x="171" y="245"/>
                  </a:cubicBezTo>
                  <a:cubicBezTo>
                    <a:pt x="173" y="244"/>
                    <a:pt x="175" y="242"/>
                    <a:pt x="177" y="241"/>
                  </a:cubicBezTo>
                  <a:cubicBezTo>
                    <a:pt x="179" y="240"/>
                    <a:pt x="181" y="239"/>
                    <a:pt x="184" y="238"/>
                  </a:cubicBezTo>
                  <a:cubicBezTo>
                    <a:pt x="186" y="237"/>
                    <a:pt x="189" y="237"/>
                    <a:pt x="192" y="235"/>
                  </a:cubicBezTo>
                  <a:cubicBezTo>
                    <a:pt x="195" y="234"/>
                    <a:pt x="203" y="232"/>
                    <a:pt x="206" y="229"/>
                  </a:cubicBezTo>
                  <a:cubicBezTo>
                    <a:pt x="208" y="227"/>
                    <a:pt x="208" y="221"/>
                    <a:pt x="210" y="219"/>
                  </a:cubicBezTo>
                  <a:cubicBezTo>
                    <a:pt x="212" y="217"/>
                    <a:pt x="214" y="217"/>
                    <a:pt x="214" y="215"/>
                  </a:cubicBezTo>
                  <a:cubicBezTo>
                    <a:pt x="214" y="213"/>
                    <a:pt x="212" y="210"/>
                    <a:pt x="211" y="208"/>
                  </a:cubicBezTo>
                  <a:cubicBezTo>
                    <a:pt x="212" y="209"/>
                    <a:pt x="213" y="209"/>
                    <a:pt x="214" y="209"/>
                  </a:cubicBezTo>
                  <a:cubicBezTo>
                    <a:pt x="215" y="209"/>
                    <a:pt x="216" y="209"/>
                    <a:pt x="217" y="207"/>
                  </a:cubicBezTo>
                  <a:cubicBezTo>
                    <a:pt x="218" y="205"/>
                    <a:pt x="217" y="199"/>
                    <a:pt x="215" y="198"/>
                  </a:cubicBezTo>
                  <a:cubicBezTo>
                    <a:pt x="218" y="198"/>
                    <a:pt x="219" y="196"/>
                    <a:pt x="221" y="195"/>
                  </a:cubicBezTo>
                  <a:cubicBezTo>
                    <a:pt x="227" y="190"/>
                    <a:pt x="219" y="190"/>
                    <a:pt x="215" y="187"/>
                  </a:cubicBezTo>
                  <a:cubicBezTo>
                    <a:pt x="216" y="186"/>
                    <a:pt x="219" y="186"/>
                    <a:pt x="219" y="183"/>
                  </a:cubicBezTo>
                  <a:cubicBezTo>
                    <a:pt x="220" y="175"/>
                    <a:pt x="219" y="176"/>
                    <a:pt x="213" y="176"/>
                  </a:cubicBezTo>
                  <a:cubicBezTo>
                    <a:pt x="215" y="176"/>
                    <a:pt x="216" y="174"/>
                    <a:pt x="218" y="173"/>
                  </a:cubicBezTo>
                  <a:cubicBezTo>
                    <a:pt x="220" y="172"/>
                    <a:pt x="221" y="172"/>
                    <a:pt x="223" y="170"/>
                  </a:cubicBezTo>
                  <a:cubicBezTo>
                    <a:pt x="228" y="166"/>
                    <a:pt x="229" y="163"/>
                    <a:pt x="228" y="157"/>
                  </a:cubicBezTo>
                  <a:cubicBezTo>
                    <a:pt x="229" y="159"/>
                    <a:pt x="230" y="161"/>
                    <a:pt x="232" y="161"/>
                  </a:cubicBezTo>
                  <a:cubicBezTo>
                    <a:pt x="232" y="161"/>
                    <a:pt x="233" y="161"/>
                    <a:pt x="234" y="161"/>
                  </a:cubicBezTo>
                  <a:cubicBezTo>
                    <a:pt x="238" y="159"/>
                    <a:pt x="241" y="152"/>
                    <a:pt x="244" y="148"/>
                  </a:cubicBezTo>
                  <a:cubicBezTo>
                    <a:pt x="245" y="149"/>
                    <a:pt x="245" y="149"/>
                    <a:pt x="246" y="149"/>
                  </a:cubicBezTo>
                  <a:cubicBezTo>
                    <a:pt x="249" y="149"/>
                    <a:pt x="252" y="147"/>
                    <a:pt x="254" y="147"/>
                  </a:cubicBezTo>
                  <a:cubicBezTo>
                    <a:pt x="249" y="145"/>
                    <a:pt x="256" y="138"/>
                    <a:pt x="254" y="137"/>
                  </a:cubicBezTo>
                  <a:cubicBezTo>
                    <a:pt x="254" y="137"/>
                    <a:pt x="254" y="137"/>
                    <a:pt x="253" y="137"/>
                  </a:cubicBezTo>
                  <a:cubicBezTo>
                    <a:pt x="252" y="137"/>
                    <a:pt x="249" y="139"/>
                    <a:pt x="249" y="140"/>
                  </a:cubicBezTo>
                  <a:cubicBezTo>
                    <a:pt x="249" y="134"/>
                    <a:pt x="249" y="131"/>
                    <a:pt x="250" y="125"/>
                  </a:cubicBezTo>
                  <a:cubicBezTo>
                    <a:pt x="250" y="120"/>
                    <a:pt x="251" y="114"/>
                    <a:pt x="254" y="110"/>
                  </a:cubicBezTo>
                  <a:cubicBezTo>
                    <a:pt x="255" y="108"/>
                    <a:pt x="257" y="102"/>
                    <a:pt x="260" y="101"/>
                  </a:cubicBezTo>
                  <a:cubicBezTo>
                    <a:pt x="260" y="101"/>
                    <a:pt x="261" y="101"/>
                    <a:pt x="261" y="101"/>
                  </a:cubicBezTo>
                  <a:cubicBezTo>
                    <a:pt x="262" y="101"/>
                    <a:pt x="262" y="101"/>
                    <a:pt x="263" y="101"/>
                  </a:cubicBezTo>
                  <a:cubicBezTo>
                    <a:pt x="264" y="101"/>
                    <a:pt x="264" y="101"/>
                    <a:pt x="265" y="101"/>
                  </a:cubicBezTo>
                  <a:cubicBezTo>
                    <a:pt x="265" y="101"/>
                    <a:pt x="265" y="101"/>
                    <a:pt x="265" y="101"/>
                  </a:cubicBezTo>
                  <a:cubicBezTo>
                    <a:pt x="266" y="100"/>
                    <a:pt x="265" y="100"/>
                    <a:pt x="265" y="99"/>
                  </a:cubicBezTo>
                  <a:cubicBezTo>
                    <a:pt x="264" y="96"/>
                    <a:pt x="262" y="94"/>
                    <a:pt x="262" y="92"/>
                  </a:cubicBezTo>
                  <a:cubicBezTo>
                    <a:pt x="266" y="94"/>
                    <a:pt x="265" y="98"/>
                    <a:pt x="270" y="99"/>
                  </a:cubicBezTo>
                  <a:cubicBezTo>
                    <a:pt x="273" y="100"/>
                    <a:pt x="276" y="100"/>
                    <a:pt x="279" y="100"/>
                  </a:cubicBezTo>
                  <a:cubicBezTo>
                    <a:pt x="281" y="100"/>
                    <a:pt x="283" y="101"/>
                    <a:pt x="285" y="101"/>
                  </a:cubicBezTo>
                  <a:cubicBezTo>
                    <a:pt x="289" y="101"/>
                    <a:pt x="291" y="100"/>
                    <a:pt x="294" y="94"/>
                  </a:cubicBezTo>
                  <a:cubicBezTo>
                    <a:pt x="291" y="93"/>
                    <a:pt x="289" y="92"/>
                    <a:pt x="287" y="91"/>
                  </a:cubicBezTo>
                  <a:cubicBezTo>
                    <a:pt x="277" y="83"/>
                    <a:pt x="266" y="75"/>
                    <a:pt x="257" y="65"/>
                  </a:cubicBezTo>
                  <a:cubicBezTo>
                    <a:pt x="258" y="65"/>
                    <a:pt x="258" y="66"/>
                    <a:pt x="259" y="66"/>
                  </a:cubicBezTo>
                  <a:cubicBezTo>
                    <a:pt x="260" y="66"/>
                    <a:pt x="261" y="65"/>
                    <a:pt x="260" y="63"/>
                  </a:cubicBezTo>
                  <a:cubicBezTo>
                    <a:pt x="260" y="64"/>
                    <a:pt x="261" y="64"/>
                    <a:pt x="261" y="64"/>
                  </a:cubicBezTo>
                  <a:cubicBezTo>
                    <a:pt x="263" y="64"/>
                    <a:pt x="264" y="62"/>
                    <a:pt x="264" y="61"/>
                  </a:cubicBezTo>
                  <a:cubicBezTo>
                    <a:pt x="266" y="56"/>
                    <a:pt x="263" y="52"/>
                    <a:pt x="259" y="49"/>
                  </a:cubicBezTo>
                  <a:cubicBezTo>
                    <a:pt x="259" y="48"/>
                    <a:pt x="253" y="44"/>
                    <a:pt x="253" y="42"/>
                  </a:cubicBezTo>
                  <a:cubicBezTo>
                    <a:pt x="256" y="40"/>
                    <a:pt x="256" y="40"/>
                    <a:pt x="256" y="40"/>
                  </a:cubicBezTo>
                  <a:cubicBezTo>
                    <a:pt x="255" y="40"/>
                    <a:pt x="253" y="40"/>
                    <a:pt x="251" y="40"/>
                  </a:cubicBezTo>
                  <a:cubicBezTo>
                    <a:pt x="253" y="39"/>
                    <a:pt x="253" y="37"/>
                    <a:pt x="253" y="35"/>
                  </a:cubicBezTo>
                  <a:cubicBezTo>
                    <a:pt x="252" y="35"/>
                    <a:pt x="250" y="34"/>
                    <a:pt x="249" y="34"/>
                  </a:cubicBezTo>
                  <a:cubicBezTo>
                    <a:pt x="248" y="33"/>
                    <a:pt x="243" y="31"/>
                    <a:pt x="243" y="30"/>
                  </a:cubicBezTo>
                  <a:cubicBezTo>
                    <a:pt x="243" y="30"/>
                    <a:pt x="243" y="30"/>
                    <a:pt x="243" y="30"/>
                  </a:cubicBezTo>
                  <a:cubicBezTo>
                    <a:pt x="244" y="30"/>
                    <a:pt x="244" y="30"/>
                    <a:pt x="244" y="30"/>
                  </a:cubicBezTo>
                  <a:cubicBezTo>
                    <a:pt x="244" y="30"/>
                    <a:pt x="244" y="30"/>
                    <a:pt x="244" y="30"/>
                  </a:cubicBezTo>
                  <a:cubicBezTo>
                    <a:pt x="244" y="30"/>
                    <a:pt x="244" y="30"/>
                    <a:pt x="244" y="30"/>
                  </a:cubicBezTo>
                  <a:cubicBezTo>
                    <a:pt x="244" y="31"/>
                    <a:pt x="244" y="31"/>
                    <a:pt x="244" y="31"/>
                  </a:cubicBezTo>
                  <a:cubicBezTo>
                    <a:pt x="245" y="31"/>
                    <a:pt x="245" y="30"/>
                    <a:pt x="245" y="30"/>
                  </a:cubicBezTo>
                  <a:cubicBezTo>
                    <a:pt x="246" y="30"/>
                    <a:pt x="246" y="30"/>
                    <a:pt x="246" y="30"/>
                  </a:cubicBezTo>
                  <a:cubicBezTo>
                    <a:pt x="246" y="30"/>
                    <a:pt x="246" y="30"/>
                    <a:pt x="246" y="30"/>
                  </a:cubicBezTo>
                  <a:cubicBezTo>
                    <a:pt x="247" y="29"/>
                    <a:pt x="248" y="26"/>
                    <a:pt x="248" y="25"/>
                  </a:cubicBezTo>
                  <a:cubicBezTo>
                    <a:pt x="248" y="25"/>
                    <a:pt x="248" y="25"/>
                    <a:pt x="248" y="25"/>
                  </a:cubicBezTo>
                  <a:cubicBezTo>
                    <a:pt x="247" y="25"/>
                    <a:pt x="246" y="25"/>
                    <a:pt x="245" y="24"/>
                  </a:cubicBezTo>
                  <a:cubicBezTo>
                    <a:pt x="245" y="24"/>
                    <a:pt x="244" y="23"/>
                    <a:pt x="244" y="23"/>
                  </a:cubicBezTo>
                  <a:cubicBezTo>
                    <a:pt x="244" y="22"/>
                    <a:pt x="243" y="22"/>
                    <a:pt x="243" y="22"/>
                  </a:cubicBezTo>
                  <a:cubicBezTo>
                    <a:pt x="243" y="22"/>
                    <a:pt x="244" y="22"/>
                    <a:pt x="244" y="23"/>
                  </a:cubicBezTo>
                  <a:cubicBezTo>
                    <a:pt x="242" y="21"/>
                    <a:pt x="242" y="21"/>
                    <a:pt x="240" y="20"/>
                  </a:cubicBezTo>
                  <a:cubicBezTo>
                    <a:pt x="241" y="20"/>
                    <a:pt x="241" y="20"/>
                    <a:pt x="241" y="20"/>
                  </a:cubicBezTo>
                  <a:cubicBezTo>
                    <a:pt x="241" y="20"/>
                    <a:pt x="241" y="20"/>
                    <a:pt x="241" y="20"/>
                  </a:cubicBezTo>
                  <a:cubicBezTo>
                    <a:pt x="242" y="20"/>
                    <a:pt x="243" y="20"/>
                    <a:pt x="244" y="20"/>
                  </a:cubicBezTo>
                  <a:cubicBezTo>
                    <a:pt x="245" y="20"/>
                    <a:pt x="246" y="20"/>
                    <a:pt x="246" y="20"/>
                  </a:cubicBezTo>
                  <a:cubicBezTo>
                    <a:pt x="247" y="20"/>
                    <a:pt x="249" y="20"/>
                    <a:pt x="250" y="20"/>
                  </a:cubicBezTo>
                  <a:cubicBezTo>
                    <a:pt x="252" y="20"/>
                    <a:pt x="250" y="16"/>
                    <a:pt x="249" y="15"/>
                  </a:cubicBezTo>
                  <a:cubicBezTo>
                    <a:pt x="252" y="16"/>
                    <a:pt x="256" y="17"/>
                    <a:pt x="260" y="17"/>
                  </a:cubicBezTo>
                  <a:cubicBezTo>
                    <a:pt x="258" y="16"/>
                    <a:pt x="258" y="13"/>
                    <a:pt x="255" y="12"/>
                  </a:cubicBezTo>
                  <a:cubicBezTo>
                    <a:pt x="256" y="11"/>
                    <a:pt x="252" y="7"/>
                    <a:pt x="250" y="7"/>
                  </a:cubicBezTo>
                  <a:cubicBezTo>
                    <a:pt x="249" y="7"/>
                    <a:pt x="249" y="7"/>
                    <a:pt x="249" y="7"/>
                  </a:cubicBezTo>
                  <a:cubicBezTo>
                    <a:pt x="249" y="7"/>
                    <a:pt x="249" y="6"/>
                    <a:pt x="249" y="6"/>
                  </a:cubicBezTo>
                  <a:cubicBezTo>
                    <a:pt x="248" y="6"/>
                    <a:pt x="247" y="5"/>
                    <a:pt x="246" y="5"/>
                  </a:cubicBezTo>
                  <a:cubicBezTo>
                    <a:pt x="239" y="3"/>
                    <a:pt x="230" y="0"/>
                    <a:pt x="2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Freeform 1516"/>
            <p:cNvSpPr>
              <a:spLocks noEditPoints="1"/>
            </p:cNvSpPr>
            <p:nvPr/>
          </p:nvSpPr>
          <p:spPr bwMode="auto">
            <a:xfrm>
              <a:off x="1592" y="556"/>
              <a:ext cx="276" cy="194"/>
            </a:xfrm>
            <a:custGeom>
              <a:gdLst>
                <a:gd name="T0" fmla="*/ 94 w 117"/>
                <a:gd name="T1" fmla="*/ 72 h 82"/>
                <a:gd name="T2" fmla="*/ 94 w 117"/>
                <a:gd name="T3" fmla="*/ 72 h 82"/>
                <a:gd name="T4" fmla="*/ 39 w 117"/>
                <a:gd name="T5" fmla="*/ 11 h 82"/>
                <a:gd name="T6" fmla="*/ 16 w 117"/>
                <a:gd name="T7" fmla="*/ 44 h 82"/>
                <a:gd name="T8" fmla="*/ 7 w 117"/>
                <a:gd name="T9" fmla="*/ 44 h 82"/>
                <a:gd name="T10" fmla="*/ 4 w 117"/>
                <a:gd name="T11" fmla="*/ 50 h 82"/>
                <a:gd name="T12" fmla="*/ 5 w 117"/>
                <a:gd name="T13" fmla="*/ 58 h 82"/>
                <a:gd name="T14" fmla="*/ 3 w 117"/>
                <a:gd name="T15" fmla="*/ 68 h 82"/>
                <a:gd name="T16" fmla="*/ 6 w 117"/>
                <a:gd name="T17" fmla="*/ 77 h 82"/>
                <a:gd name="T18" fmla="*/ 16 w 117"/>
                <a:gd name="T19" fmla="*/ 74 h 82"/>
                <a:gd name="T20" fmla="*/ 21 w 117"/>
                <a:gd name="T21" fmla="*/ 74 h 82"/>
                <a:gd name="T22" fmla="*/ 23 w 117"/>
                <a:gd name="T23" fmla="*/ 75 h 82"/>
                <a:gd name="T24" fmla="*/ 35 w 117"/>
                <a:gd name="T25" fmla="*/ 73 h 82"/>
                <a:gd name="T26" fmla="*/ 39 w 117"/>
                <a:gd name="T27" fmla="*/ 73 h 82"/>
                <a:gd name="T28" fmla="*/ 69 w 117"/>
                <a:gd name="T29" fmla="*/ 80 h 82"/>
                <a:gd name="T30" fmla="*/ 76 w 117"/>
                <a:gd name="T31" fmla="*/ 79 h 82"/>
                <a:gd name="T32" fmla="*/ 98 w 117"/>
                <a:gd name="T33" fmla="*/ 75 h 82"/>
                <a:gd name="T34" fmla="*/ 95 w 117"/>
                <a:gd name="T35" fmla="*/ 74 h 82"/>
                <a:gd name="T36" fmla="*/ 94 w 117"/>
                <a:gd name="T37" fmla="*/ 74 h 82"/>
                <a:gd name="T38" fmla="*/ 91 w 117"/>
                <a:gd name="T39" fmla="*/ 71 h 82"/>
                <a:gd name="T40" fmla="*/ 90 w 117"/>
                <a:gd name="T41" fmla="*/ 59 h 82"/>
                <a:gd name="T42" fmla="*/ 95 w 117"/>
                <a:gd name="T43" fmla="*/ 61 h 82"/>
                <a:gd name="T44" fmla="*/ 110 w 117"/>
                <a:gd name="T45" fmla="*/ 54 h 82"/>
                <a:gd name="T46" fmla="*/ 115 w 117"/>
                <a:gd name="T47" fmla="*/ 48 h 82"/>
                <a:gd name="T48" fmla="*/ 107 w 117"/>
                <a:gd name="T49" fmla="*/ 48 h 82"/>
                <a:gd name="T50" fmla="*/ 96 w 117"/>
                <a:gd name="T51" fmla="*/ 44 h 82"/>
                <a:gd name="T52" fmla="*/ 86 w 117"/>
                <a:gd name="T53" fmla="*/ 36 h 82"/>
                <a:gd name="T54" fmla="*/ 80 w 117"/>
                <a:gd name="T55" fmla="*/ 39 h 82"/>
                <a:gd name="T56" fmla="*/ 78 w 117"/>
                <a:gd name="T57" fmla="*/ 36 h 82"/>
                <a:gd name="T58" fmla="*/ 81 w 117"/>
                <a:gd name="T59" fmla="*/ 36 h 82"/>
                <a:gd name="T60" fmla="*/ 79 w 117"/>
                <a:gd name="T61" fmla="*/ 29 h 82"/>
                <a:gd name="T62" fmla="*/ 77 w 117"/>
                <a:gd name="T63" fmla="*/ 31 h 82"/>
                <a:gd name="T64" fmla="*/ 68 w 117"/>
                <a:gd name="T65" fmla="*/ 32 h 82"/>
                <a:gd name="T66" fmla="*/ 69 w 117"/>
                <a:gd name="T67" fmla="*/ 26 h 82"/>
                <a:gd name="T68" fmla="*/ 72 w 117"/>
                <a:gd name="T69" fmla="*/ 21 h 82"/>
                <a:gd name="T70" fmla="*/ 62 w 117"/>
                <a:gd name="T71" fmla="*/ 12 h 82"/>
                <a:gd name="T72" fmla="*/ 53 w 117"/>
                <a:gd name="T73" fmla="*/ 1 h 82"/>
                <a:gd name="T74" fmla="*/ 44 w 117"/>
                <a:gd name="T75" fmla="*/ 13 h 82"/>
                <a:gd name="T76" fmla="*/ 44 w 117"/>
                <a:gd name="T77" fmla="*/ 0 h 8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7" h="82">
                  <a:moveTo>
                    <a:pt x="94" y="72"/>
                  </a:moveTo>
                  <a:cubicBezTo>
                    <a:pt x="94" y="72"/>
                    <a:pt x="94" y="72"/>
                    <a:pt x="94" y="72"/>
                  </a:cubicBezTo>
                  <a:cubicBezTo>
                    <a:pt x="94" y="72"/>
                    <a:pt x="94" y="72"/>
                    <a:pt x="94" y="72"/>
                  </a:cubicBezTo>
                  <a:cubicBezTo>
                    <a:pt x="94" y="72"/>
                    <a:pt x="94" y="72"/>
                    <a:pt x="94" y="72"/>
                  </a:cubicBezTo>
                  <a:moveTo>
                    <a:pt x="44" y="0"/>
                  </a:moveTo>
                  <a:cubicBezTo>
                    <a:pt x="42" y="3"/>
                    <a:pt x="42" y="8"/>
                    <a:pt x="39" y="11"/>
                  </a:cubicBezTo>
                  <a:cubicBezTo>
                    <a:pt x="35" y="15"/>
                    <a:pt x="32" y="19"/>
                    <a:pt x="28" y="23"/>
                  </a:cubicBezTo>
                  <a:cubicBezTo>
                    <a:pt x="22" y="29"/>
                    <a:pt x="19" y="37"/>
                    <a:pt x="16" y="44"/>
                  </a:cubicBezTo>
                  <a:cubicBezTo>
                    <a:pt x="13" y="43"/>
                    <a:pt x="12" y="42"/>
                    <a:pt x="11" y="42"/>
                  </a:cubicBezTo>
                  <a:cubicBezTo>
                    <a:pt x="10" y="42"/>
                    <a:pt x="9" y="42"/>
                    <a:pt x="7" y="44"/>
                  </a:cubicBezTo>
                  <a:cubicBezTo>
                    <a:pt x="6" y="46"/>
                    <a:pt x="3" y="47"/>
                    <a:pt x="3" y="50"/>
                  </a:cubicBezTo>
                  <a:cubicBezTo>
                    <a:pt x="4" y="50"/>
                    <a:pt x="4" y="50"/>
                    <a:pt x="4" y="50"/>
                  </a:cubicBezTo>
                  <a:cubicBezTo>
                    <a:pt x="4" y="51"/>
                    <a:pt x="6" y="51"/>
                    <a:pt x="6" y="52"/>
                  </a:cubicBezTo>
                  <a:cubicBezTo>
                    <a:pt x="6" y="54"/>
                    <a:pt x="6" y="56"/>
                    <a:pt x="5" y="58"/>
                  </a:cubicBezTo>
                  <a:cubicBezTo>
                    <a:pt x="5" y="61"/>
                    <a:pt x="3" y="61"/>
                    <a:pt x="0" y="62"/>
                  </a:cubicBezTo>
                  <a:cubicBezTo>
                    <a:pt x="1" y="64"/>
                    <a:pt x="2" y="66"/>
                    <a:pt x="3" y="68"/>
                  </a:cubicBezTo>
                  <a:cubicBezTo>
                    <a:pt x="3" y="69"/>
                    <a:pt x="3" y="69"/>
                    <a:pt x="3" y="69"/>
                  </a:cubicBezTo>
                  <a:cubicBezTo>
                    <a:pt x="4" y="72"/>
                    <a:pt x="5" y="75"/>
                    <a:pt x="6" y="77"/>
                  </a:cubicBezTo>
                  <a:cubicBezTo>
                    <a:pt x="9" y="82"/>
                    <a:pt x="9" y="82"/>
                    <a:pt x="9" y="82"/>
                  </a:cubicBezTo>
                  <a:cubicBezTo>
                    <a:pt x="11" y="79"/>
                    <a:pt x="14" y="77"/>
                    <a:pt x="16" y="74"/>
                  </a:cubicBezTo>
                  <a:cubicBezTo>
                    <a:pt x="20" y="71"/>
                    <a:pt x="20" y="71"/>
                    <a:pt x="20" y="71"/>
                  </a:cubicBezTo>
                  <a:cubicBezTo>
                    <a:pt x="21" y="74"/>
                    <a:pt x="21" y="74"/>
                    <a:pt x="21" y="74"/>
                  </a:cubicBezTo>
                  <a:cubicBezTo>
                    <a:pt x="21" y="74"/>
                    <a:pt x="21" y="74"/>
                    <a:pt x="21" y="74"/>
                  </a:cubicBezTo>
                  <a:cubicBezTo>
                    <a:pt x="22" y="75"/>
                    <a:pt x="22" y="75"/>
                    <a:pt x="23" y="75"/>
                  </a:cubicBezTo>
                  <a:cubicBezTo>
                    <a:pt x="23" y="75"/>
                    <a:pt x="23" y="75"/>
                    <a:pt x="23" y="75"/>
                  </a:cubicBezTo>
                  <a:cubicBezTo>
                    <a:pt x="25" y="74"/>
                    <a:pt x="29" y="74"/>
                    <a:pt x="35" y="73"/>
                  </a:cubicBezTo>
                  <a:cubicBezTo>
                    <a:pt x="35" y="73"/>
                    <a:pt x="35" y="73"/>
                    <a:pt x="35" y="73"/>
                  </a:cubicBezTo>
                  <a:cubicBezTo>
                    <a:pt x="36" y="73"/>
                    <a:pt x="37" y="73"/>
                    <a:pt x="39" y="73"/>
                  </a:cubicBezTo>
                  <a:cubicBezTo>
                    <a:pt x="47" y="73"/>
                    <a:pt x="55" y="76"/>
                    <a:pt x="63" y="78"/>
                  </a:cubicBezTo>
                  <a:cubicBezTo>
                    <a:pt x="65" y="79"/>
                    <a:pt x="67" y="80"/>
                    <a:pt x="69" y="80"/>
                  </a:cubicBezTo>
                  <a:cubicBezTo>
                    <a:pt x="69" y="79"/>
                    <a:pt x="69" y="77"/>
                    <a:pt x="70" y="76"/>
                  </a:cubicBezTo>
                  <a:cubicBezTo>
                    <a:pt x="71" y="78"/>
                    <a:pt x="73" y="79"/>
                    <a:pt x="76" y="79"/>
                  </a:cubicBezTo>
                  <a:cubicBezTo>
                    <a:pt x="77" y="79"/>
                    <a:pt x="80" y="79"/>
                    <a:pt x="83" y="79"/>
                  </a:cubicBezTo>
                  <a:cubicBezTo>
                    <a:pt x="90" y="79"/>
                    <a:pt x="98" y="79"/>
                    <a:pt x="98" y="75"/>
                  </a:cubicBezTo>
                  <a:cubicBezTo>
                    <a:pt x="98" y="74"/>
                    <a:pt x="97" y="74"/>
                    <a:pt x="96" y="74"/>
                  </a:cubicBezTo>
                  <a:cubicBezTo>
                    <a:pt x="96" y="74"/>
                    <a:pt x="95" y="74"/>
                    <a:pt x="95" y="74"/>
                  </a:cubicBezTo>
                  <a:cubicBezTo>
                    <a:pt x="95" y="74"/>
                    <a:pt x="95" y="74"/>
                    <a:pt x="94" y="74"/>
                  </a:cubicBezTo>
                  <a:cubicBezTo>
                    <a:pt x="94" y="74"/>
                    <a:pt x="94" y="74"/>
                    <a:pt x="94" y="74"/>
                  </a:cubicBezTo>
                  <a:cubicBezTo>
                    <a:pt x="94" y="73"/>
                    <a:pt x="94" y="72"/>
                    <a:pt x="94" y="72"/>
                  </a:cubicBezTo>
                  <a:cubicBezTo>
                    <a:pt x="93" y="71"/>
                    <a:pt x="92" y="71"/>
                    <a:pt x="91" y="71"/>
                  </a:cubicBezTo>
                  <a:cubicBezTo>
                    <a:pt x="90" y="70"/>
                    <a:pt x="87" y="68"/>
                    <a:pt x="86" y="66"/>
                  </a:cubicBezTo>
                  <a:cubicBezTo>
                    <a:pt x="84" y="62"/>
                    <a:pt x="87" y="59"/>
                    <a:pt x="90" y="59"/>
                  </a:cubicBezTo>
                  <a:cubicBezTo>
                    <a:pt x="91" y="59"/>
                    <a:pt x="92" y="59"/>
                    <a:pt x="92" y="59"/>
                  </a:cubicBezTo>
                  <a:cubicBezTo>
                    <a:pt x="94" y="60"/>
                    <a:pt x="93" y="61"/>
                    <a:pt x="95" y="61"/>
                  </a:cubicBezTo>
                  <a:cubicBezTo>
                    <a:pt x="95" y="61"/>
                    <a:pt x="95" y="61"/>
                    <a:pt x="96" y="61"/>
                  </a:cubicBezTo>
                  <a:cubicBezTo>
                    <a:pt x="100" y="61"/>
                    <a:pt x="107" y="56"/>
                    <a:pt x="110" y="54"/>
                  </a:cubicBezTo>
                  <a:cubicBezTo>
                    <a:pt x="111" y="54"/>
                    <a:pt x="116" y="53"/>
                    <a:pt x="116" y="52"/>
                  </a:cubicBezTo>
                  <a:cubicBezTo>
                    <a:pt x="117" y="50"/>
                    <a:pt x="116" y="48"/>
                    <a:pt x="115" y="48"/>
                  </a:cubicBezTo>
                  <a:cubicBezTo>
                    <a:pt x="113" y="48"/>
                    <a:pt x="112" y="48"/>
                    <a:pt x="110" y="48"/>
                  </a:cubicBezTo>
                  <a:cubicBezTo>
                    <a:pt x="109" y="48"/>
                    <a:pt x="107" y="48"/>
                    <a:pt x="107" y="48"/>
                  </a:cubicBezTo>
                  <a:cubicBezTo>
                    <a:pt x="104" y="46"/>
                    <a:pt x="101" y="41"/>
                    <a:pt x="98" y="41"/>
                  </a:cubicBezTo>
                  <a:cubicBezTo>
                    <a:pt x="97" y="41"/>
                    <a:pt x="97" y="42"/>
                    <a:pt x="96" y="44"/>
                  </a:cubicBezTo>
                  <a:cubicBezTo>
                    <a:pt x="97" y="40"/>
                    <a:pt x="91" y="36"/>
                    <a:pt x="87" y="36"/>
                  </a:cubicBezTo>
                  <a:cubicBezTo>
                    <a:pt x="87" y="36"/>
                    <a:pt x="86" y="36"/>
                    <a:pt x="86" y="36"/>
                  </a:cubicBezTo>
                  <a:cubicBezTo>
                    <a:pt x="84" y="36"/>
                    <a:pt x="85" y="38"/>
                    <a:pt x="82" y="38"/>
                  </a:cubicBezTo>
                  <a:cubicBezTo>
                    <a:pt x="82" y="38"/>
                    <a:pt x="81" y="39"/>
                    <a:pt x="80" y="39"/>
                  </a:cubicBezTo>
                  <a:cubicBezTo>
                    <a:pt x="78" y="39"/>
                    <a:pt x="76" y="38"/>
                    <a:pt x="77" y="36"/>
                  </a:cubicBezTo>
                  <a:cubicBezTo>
                    <a:pt x="77" y="36"/>
                    <a:pt x="78" y="36"/>
                    <a:pt x="78" y="36"/>
                  </a:cubicBezTo>
                  <a:cubicBezTo>
                    <a:pt x="79" y="36"/>
                    <a:pt x="79" y="36"/>
                    <a:pt x="80" y="36"/>
                  </a:cubicBezTo>
                  <a:cubicBezTo>
                    <a:pt x="80" y="36"/>
                    <a:pt x="80" y="36"/>
                    <a:pt x="81" y="36"/>
                  </a:cubicBezTo>
                  <a:cubicBezTo>
                    <a:pt x="82" y="36"/>
                    <a:pt x="83" y="36"/>
                    <a:pt x="83" y="34"/>
                  </a:cubicBezTo>
                  <a:cubicBezTo>
                    <a:pt x="84" y="33"/>
                    <a:pt x="80" y="29"/>
                    <a:pt x="79" y="29"/>
                  </a:cubicBezTo>
                  <a:cubicBezTo>
                    <a:pt x="79" y="29"/>
                    <a:pt x="79" y="29"/>
                    <a:pt x="79" y="29"/>
                  </a:cubicBezTo>
                  <a:cubicBezTo>
                    <a:pt x="78" y="29"/>
                    <a:pt x="77" y="31"/>
                    <a:pt x="77" y="31"/>
                  </a:cubicBezTo>
                  <a:cubicBezTo>
                    <a:pt x="73" y="33"/>
                    <a:pt x="70" y="33"/>
                    <a:pt x="64" y="34"/>
                  </a:cubicBezTo>
                  <a:cubicBezTo>
                    <a:pt x="65" y="33"/>
                    <a:pt x="67" y="33"/>
                    <a:pt x="68" y="32"/>
                  </a:cubicBezTo>
                  <a:cubicBezTo>
                    <a:pt x="70" y="31"/>
                    <a:pt x="69" y="32"/>
                    <a:pt x="69" y="30"/>
                  </a:cubicBezTo>
                  <a:cubicBezTo>
                    <a:pt x="69" y="28"/>
                    <a:pt x="69" y="27"/>
                    <a:pt x="69" y="26"/>
                  </a:cubicBezTo>
                  <a:cubicBezTo>
                    <a:pt x="69" y="24"/>
                    <a:pt x="68" y="25"/>
                    <a:pt x="70" y="23"/>
                  </a:cubicBezTo>
                  <a:cubicBezTo>
                    <a:pt x="71" y="22"/>
                    <a:pt x="72" y="23"/>
                    <a:pt x="72" y="21"/>
                  </a:cubicBezTo>
                  <a:cubicBezTo>
                    <a:pt x="72" y="19"/>
                    <a:pt x="69" y="16"/>
                    <a:pt x="68" y="14"/>
                  </a:cubicBezTo>
                  <a:cubicBezTo>
                    <a:pt x="66" y="12"/>
                    <a:pt x="65" y="12"/>
                    <a:pt x="62" y="12"/>
                  </a:cubicBezTo>
                  <a:cubicBezTo>
                    <a:pt x="57" y="12"/>
                    <a:pt x="57" y="1"/>
                    <a:pt x="54" y="1"/>
                  </a:cubicBezTo>
                  <a:cubicBezTo>
                    <a:pt x="53" y="1"/>
                    <a:pt x="53" y="1"/>
                    <a:pt x="53" y="1"/>
                  </a:cubicBezTo>
                  <a:cubicBezTo>
                    <a:pt x="52" y="2"/>
                    <a:pt x="52" y="4"/>
                    <a:pt x="52" y="5"/>
                  </a:cubicBezTo>
                  <a:cubicBezTo>
                    <a:pt x="50" y="9"/>
                    <a:pt x="49" y="11"/>
                    <a:pt x="44" y="13"/>
                  </a:cubicBezTo>
                  <a:cubicBezTo>
                    <a:pt x="44" y="11"/>
                    <a:pt x="45" y="10"/>
                    <a:pt x="46" y="9"/>
                  </a:cubicBezTo>
                  <a:cubicBezTo>
                    <a:pt x="46" y="6"/>
                    <a:pt x="45" y="4"/>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1517"/>
            <p:cNvSpPr/>
            <p:nvPr/>
          </p:nvSpPr>
          <p:spPr bwMode="auto">
            <a:xfrm>
              <a:off x="1209" y="717"/>
              <a:ext cx="404" cy="255"/>
            </a:xfrm>
            <a:custGeom>
              <a:gdLst>
                <a:gd name="T0" fmla="*/ 152 w 171"/>
                <a:gd name="T1" fmla="*/ 1 h 108"/>
                <a:gd name="T2" fmla="*/ 153 w 171"/>
                <a:gd name="T3" fmla="*/ 8 h 108"/>
                <a:gd name="T4" fmla="*/ 153 w 171"/>
                <a:gd name="T5" fmla="*/ 11 h 108"/>
                <a:gd name="T6" fmla="*/ 151 w 171"/>
                <a:gd name="T7" fmla="*/ 19 h 108"/>
                <a:gd name="T8" fmla="*/ 143 w 171"/>
                <a:gd name="T9" fmla="*/ 23 h 108"/>
                <a:gd name="T10" fmla="*/ 133 w 171"/>
                <a:gd name="T11" fmla="*/ 13 h 108"/>
                <a:gd name="T12" fmla="*/ 131 w 171"/>
                <a:gd name="T13" fmla="*/ 11 h 108"/>
                <a:gd name="T14" fmla="*/ 126 w 171"/>
                <a:gd name="T15" fmla="*/ 7 h 108"/>
                <a:gd name="T16" fmla="*/ 99 w 171"/>
                <a:gd name="T17" fmla="*/ 43 h 108"/>
                <a:gd name="T18" fmla="*/ 60 w 171"/>
                <a:gd name="T19" fmla="*/ 54 h 108"/>
                <a:gd name="T20" fmla="*/ 51 w 171"/>
                <a:gd name="T21" fmla="*/ 68 h 108"/>
                <a:gd name="T22" fmla="*/ 46 w 171"/>
                <a:gd name="T23" fmla="*/ 67 h 108"/>
                <a:gd name="T24" fmla="*/ 45 w 171"/>
                <a:gd name="T25" fmla="*/ 67 h 108"/>
                <a:gd name="T26" fmla="*/ 45 w 171"/>
                <a:gd name="T27" fmla="*/ 69 h 108"/>
                <a:gd name="T28" fmla="*/ 46 w 171"/>
                <a:gd name="T29" fmla="*/ 90 h 108"/>
                <a:gd name="T30" fmla="*/ 49 w 171"/>
                <a:gd name="T31" fmla="*/ 98 h 108"/>
                <a:gd name="T32" fmla="*/ 39 w 171"/>
                <a:gd name="T33" fmla="*/ 96 h 108"/>
                <a:gd name="T34" fmla="*/ 29 w 171"/>
                <a:gd name="T35" fmla="*/ 95 h 108"/>
                <a:gd name="T36" fmla="*/ 24 w 171"/>
                <a:gd name="T37" fmla="*/ 86 h 108"/>
                <a:gd name="T38" fmla="*/ 23 w 171"/>
                <a:gd name="T39" fmla="*/ 86 h 108"/>
                <a:gd name="T40" fmla="*/ 13 w 171"/>
                <a:gd name="T41" fmla="*/ 88 h 108"/>
                <a:gd name="T42" fmla="*/ 1 w 171"/>
                <a:gd name="T43" fmla="*/ 80 h 108"/>
                <a:gd name="T44" fmla="*/ 1 w 171"/>
                <a:gd name="T45" fmla="*/ 83 h 108"/>
                <a:gd name="T46" fmla="*/ 12 w 171"/>
                <a:gd name="T47" fmla="*/ 96 h 108"/>
                <a:gd name="T48" fmla="*/ 21 w 171"/>
                <a:gd name="T49" fmla="*/ 104 h 108"/>
                <a:gd name="T50" fmla="*/ 26 w 171"/>
                <a:gd name="T51" fmla="*/ 108 h 108"/>
                <a:gd name="T52" fmla="*/ 35 w 171"/>
                <a:gd name="T53" fmla="*/ 105 h 108"/>
                <a:gd name="T54" fmla="*/ 39 w 171"/>
                <a:gd name="T55" fmla="*/ 104 h 108"/>
                <a:gd name="T56" fmla="*/ 55 w 171"/>
                <a:gd name="T57" fmla="*/ 103 h 108"/>
                <a:gd name="T58" fmla="*/ 59 w 171"/>
                <a:gd name="T59" fmla="*/ 104 h 108"/>
                <a:gd name="T60" fmla="*/ 68 w 171"/>
                <a:gd name="T61" fmla="*/ 100 h 108"/>
                <a:gd name="T62" fmla="*/ 69 w 171"/>
                <a:gd name="T63" fmla="*/ 99 h 108"/>
                <a:gd name="T64" fmla="*/ 78 w 171"/>
                <a:gd name="T65" fmla="*/ 90 h 108"/>
                <a:gd name="T66" fmla="*/ 101 w 171"/>
                <a:gd name="T67" fmla="*/ 91 h 108"/>
                <a:gd name="T68" fmla="*/ 105 w 171"/>
                <a:gd name="T69" fmla="*/ 93 h 108"/>
                <a:gd name="T70" fmla="*/ 115 w 171"/>
                <a:gd name="T71" fmla="*/ 97 h 108"/>
                <a:gd name="T72" fmla="*/ 116 w 171"/>
                <a:gd name="T73" fmla="*/ 97 h 108"/>
                <a:gd name="T74" fmla="*/ 118 w 171"/>
                <a:gd name="T75" fmla="*/ 95 h 108"/>
                <a:gd name="T76" fmla="*/ 130 w 171"/>
                <a:gd name="T77" fmla="*/ 92 h 108"/>
                <a:gd name="T78" fmla="*/ 136 w 171"/>
                <a:gd name="T79" fmla="*/ 91 h 108"/>
                <a:gd name="T80" fmla="*/ 137 w 171"/>
                <a:gd name="T81" fmla="*/ 91 h 108"/>
                <a:gd name="T82" fmla="*/ 140 w 171"/>
                <a:gd name="T83" fmla="*/ 90 h 108"/>
                <a:gd name="T84" fmla="*/ 142 w 171"/>
                <a:gd name="T85" fmla="*/ 84 h 108"/>
                <a:gd name="T86" fmla="*/ 145 w 171"/>
                <a:gd name="T87" fmla="*/ 80 h 108"/>
                <a:gd name="T88" fmla="*/ 147 w 171"/>
                <a:gd name="T89" fmla="*/ 79 h 108"/>
                <a:gd name="T90" fmla="*/ 146 w 171"/>
                <a:gd name="T91" fmla="*/ 77 h 108"/>
                <a:gd name="T92" fmla="*/ 151 w 171"/>
                <a:gd name="T93" fmla="*/ 66 h 108"/>
                <a:gd name="T94" fmla="*/ 154 w 171"/>
                <a:gd name="T95" fmla="*/ 63 h 108"/>
                <a:gd name="T96" fmla="*/ 155 w 171"/>
                <a:gd name="T97" fmla="*/ 62 h 108"/>
                <a:gd name="T98" fmla="*/ 166 w 171"/>
                <a:gd name="T99" fmla="*/ 45 h 108"/>
                <a:gd name="T100" fmla="*/ 167 w 171"/>
                <a:gd name="T101" fmla="*/ 44 h 108"/>
                <a:gd name="T102" fmla="*/ 171 w 171"/>
                <a:gd name="T103" fmla="*/ 15 h 108"/>
                <a:gd name="T104" fmla="*/ 162 w 171"/>
                <a:gd name="T105" fmla="*/ 14 h 108"/>
                <a:gd name="T106" fmla="*/ 154 w 171"/>
                <a:gd name="T107" fmla="*/ 10 h 108"/>
                <a:gd name="T108" fmla="*/ 152 w 171"/>
                <a:gd name="T109" fmla="*/ 0 h 1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1" h="108">
                  <a:moveTo>
                    <a:pt x="152" y="0"/>
                  </a:moveTo>
                  <a:cubicBezTo>
                    <a:pt x="152" y="1"/>
                    <a:pt x="152" y="1"/>
                    <a:pt x="152" y="1"/>
                  </a:cubicBezTo>
                  <a:cubicBezTo>
                    <a:pt x="152" y="1"/>
                    <a:pt x="152" y="1"/>
                    <a:pt x="152" y="2"/>
                  </a:cubicBezTo>
                  <a:cubicBezTo>
                    <a:pt x="153" y="4"/>
                    <a:pt x="153" y="6"/>
                    <a:pt x="153" y="8"/>
                  </a:cubicBezTo>
                  <a:cubicBezTo>
                    <a:pt x="153" y="8"/>
                    <a:pt x="153" y="8"/>
                    <a:pt x="153" y="8"/>
                  </a:cubicBezTo>
                  <a:cubicBezTo>
                    <a:pt x="153" y="9"/>
                    <a:pt x="153" y="10"/>
                    <a:pt x="153" y="11"/>
                  </a:cubicBezTo>
                  <a:cubicBezTo>
                    <a:pt x="153" y="12"/>
                    <a:pt x="153" y="14"/>
                    <a:pt x="153" y="15"/>
                  </a:cubicBezTo>
                  <a:cubicBezTo>
                    <a:pt x="152" y="17"/>
                    <a:pt x="152" y="18"/>
                    <a:pt x="151" y="19"/>
                  </a:cubicBezTo>
                  <a:cubicBezTo>
                    <a:pt x="149" y="22"/>
                    <a:pt x="146" y="23"/>
                    <a:pt x="144" y="23"/>
                  </a:cubicBezTo>
                  <a:cubicBezTo>
                    <a:pt x="144" y="23"/>
                    <a:pt x="143" y="23"/>
                    <a:pt x="143" y="23"/>
                  </a:cubicBezTo>
                  <a:cubicBezTo>
                    <a:pt x="140" y="23"/>
                    <a:pt x="137" y="19"/>
                    <a:pt x="134" y="15"/>
                  </a:cubicBezTo>
                  <a:cubicBezTo>
                    <a:pt x="133" y="14"/>
                    <a:pt x="133" y="13"/>
                    <a:pt x="133" y="13"/>
                  </a:cubicBezTo>
                  <a:cubicBezTo>
                    <a:pt x="132" y="13"/>
                    <a:pt x="132" y="12"/>
                    <a:pt x="132" y="12"/>
                  </a:cubicBezTo>
                  <a:cubicBezTo>
                    <a:pt x="131" y="11"/>
                    <a:pt x="131" y="11"/>
                    <a:pt x="131" y="11"/>
                  </a:cubicBezTo>
                  <a:cubicBezTo>
                    <a:pt x="131" y="11"/>
                    <a:pt x="131" y="10"/>
                    <a:pt x="130" y="9"/>
                  </a:cubicBezTo>
                  <a:cubicBezTo>
                    <a:pt x="130" y="9"/>
                    <a:pt x="129" y="8"/>
                    <a:pt x="126" y="7"/>
                  </a:cubicBezTo>
                  <a:cubicBezTo>
                    <a:pt x="121" y="13"/>
                    <a:pt x="115" y="20"/>
                    <a:pt x="110" y="27"/>
                  </a:cubicBezTo>
                  <a:cubicBezTo>
                    <a:pt x="106" y="32"/>
                    <a:pt x="103" y="38"/>
                    <a:pt x="99" y="43"/>
                  </a:cubicBezTo>
                  <a:cubicBezTo>
                    <a:pt x="96" y="45"/>
                    <a:pt x="92" y="46"/>
                    <a:pt x="89" y="48"/>
                  </a:cubicBezTo>
                  <a:cubicBezTo>
                    <a:pt x="79" y="50"/>
                    <a:pt x="70" y="52"/>
                    <a:pt x="60" y="54"/>
                  </a:cubicBezTo>
                  <a:cubicBezTo>
                    <a:pt x="55" y="55"/>
                    <a:pt x="56" y="56"/>
                    <a:pt x="54" y="61"/>
                  </a:cubicBezTo>
                  <a:cubicBezTo>
                    <a:pt x="54" y="64"/>
                    <a:pt x="54" y="68"/>
                    <a:pt x="51" y="68"/>
                  </a:cubicBezTo>
                  <a:cubicBezTo>
                    <a:pt x="49" y="68"/>
                    <a:pt x="48" y="67"/>
                    <a:pt x="46" y="67"/>
                  </a:cubicBezTo>
                  <a:cubicBezTo>
                    <a:pt x="46" y="67"/>
                    <a:pt x="46" y="67"/>
                    <a:pt x="46" y="67"/>
                  </a:cubicBezTo>
                  <a:cubicBezTo>
                    <a:pt x="46" y="67"/>
                    <a:pt x="46" y="67"/>
                    <a:pt x="46" y="67"/>
                  </a:cubicBezTo>
                  <a:cubicBezTo>
                    <a:pt x="45" y="67"/>
                    <a:pt x="45" y="67"/>
                    <a:pt x="45" y="67"/>
                  </a:cubicBezTo>
                  <a:cubicBezTo>
                    <a:pt x="45" y="67"/>
                    <a:pt x="45" y="67"/>
                    <a:pt x="45" y="67"/>
                  </a:cubicBezTo>
                  <a:cubicBezTo>
                    <a:pt x="45" y="67"/>
                    <a:pt x="45" y="67"/>
                    <a:pt x="45" y="69"/>
                  </a:cubicBezTo>
                  <a:cubicBezTo>
                    <a:pt x="46" y="71"/>
                    <a:pt x="47" y="74"/>
                    <a:pt x="48" y="75"/>
                  </a:cubicBezTo>
                  <a:cubicBezTo>
                    <a:pt x="43" y="78"/>
                    <a:pt x="37" y="88"/>
                    <a:pt x="46" y="90"/>
                  </a:cubicBezTo>
                  <a:cubicBezTo>
                    <a:pt x="42" y="90"/>
                    <a:pt x="36" y="89"/>
                    <a:pt x="40" y="94"/>
                  </a:cubicBezTo>
                  <a:cubicBezTo>
                    <a:pt x="42" y="97"/>
                    <a:pt x="47" y="96"/>
                    <a:pt x="49" y="98"/>
                  </a:cubicBezTo>
                  <a:cubicBezTo>
                    <a:pt x="48" y="98"/>
                    <a:pt x="48" y="98"/>
                    <a:pt x="47" y="98"/>
                  </a:cubicBezTo>
                  <a:cubicBezTo>
                    <a:pt x="44" y="98"/>
                    <a:pt x="42" y="97"/>
                    <a:pt x="39" y="96"/>
                  </a:cubicBezTo>
                  <a:cubicBezTo>
                    <a:pt x="37" y="95"/>
                    <a:pt x="34" y="94"/>
                    <a:pt x="32" y="94"/>
                  </a:cubicBezTo>
                  <a:cubicBezTo>
                    <a:pt x="31" y="94"/>
                    <a:pt x="30" y="94"/>
                    <a:pt x="29" y="95"/>
                  </a:cubicBezTo>
                  <a:cubicBezTo>
                    <a:pt x="32" y="92"/>
                    <a:pt x="30" y="92"/>
                    <a:pt x="28" y="90"/>
                  </a:cubicBezTo>
                  <a:cubicBezTo>
                    <a:pt x="28" y="90"/>
                    <a:pt x="24" y="86"/>
                    <a:pt x="24" y="86"/>
                  </a:cubicBezTo>
                  <a:cubicBezTo>
                    <a:pt x="24" y="86"/>
                    <a:pt x="24" y="86"/>
                    <a:pt x="24" y="86"/>
                  </a:cubicBezTo>
                  <a:cubicBezTo>
                    <a:pt x="24" y="86"/>
                    <a:pt x="23" y="86"/>
                    <a:pt x="23" y="86"/>
                  </a:cubicBezTo>
                  <a:cubicBezTo>
                    <a:pt x="20" y="86"/>
                    <a:pt x="17" y="88"/>
                    <a:pt x="15" y="88"/>
                  </a:cubicBezTo>
                  <a:cubicBezTo>
                    <a:pt x="14" y="88"/>
                    <a:pt x="14" y="88"/>
                    <a:pt x="13" y="88"/>
                  </a:cubicBezTo>
                  <a:cubicBezTo>
                    <a:pt x="11" y="88"/>
                    <a:pt x="10" y="88"/>
                    <a:pt x="9" y="88"/>
                  </a:cubicBezTo>
                  <a:cubicBezTo>
                    <a:pt x="6" y="87"/>
                    <a:pt x="4" y="83"/>
                    <a:pt x="1" y="80"/>
                  </a:cubicBezTo>
                  <a:cubicBezTo>
                    <a:pt x="1" y="80"/>
                    <a:pt x="1" y="80"/>
                    <a:pt x="1" y="80"/>
                  </a:cubicBezTo>
                  <a:cubicBezTo>
                    <a:pt x="1" y="81"/>
                    <a:pt x="0" y="83"/>
                    <a:pt x="1" y="83"/>
                  </a:cubicBezTo>
                  <a:cubicBezTo>
                    <a:pt x="1" y="87"/>
                    <a:pt x="6" y="91"/>
                    <a:pt x="10" y="94"/>
                  </a:cubicBezTo>
                  <a:cubicBezTo>
                    <a:pt x="12" y="96"/>
                    <a:pt x="12" y="96"/>
                    <a:pt x="12" y="96"/>
                  </a:cubicBezTo>
                  <a:cubicBezTo>
                    <a:pt x="14" y="98"/>
                    <a:pt x="17" y="100"/>
                    <a:pt x="19" y="102"/>
                  </a:cubicBezTo>
                  <a:cubicBezTo>
                    <a:pt x="21" y="104"/>
                    <a:pt x="21" y="104"/>
                    <a:pt x="21" y="104"/>
                  </a:cubicBezTo>
                  <a:cubicBezTo>
                    <a:pt x="22" y="105"/>
                    <a:pt x="22" y="105"/>
                    <a:pt x="23" y="106"/>
                  </a:cubicBezTo>
                  <a:cubicBezTo>
                    <a:pt x="24" y="106"/>
                    <a:pt x="26" y="108"/>
                    <a:pt x="26" y="108"/>
                  </a:cubicBezTo>
                  <a:cubicBezTo>
                    <a:pt x="26" y="108"/>
                    <a:pt x="27" y="108"/>
                    <a:pt x="27" y="108"/>
                  </a:cubicBezTo>
                  <a:cubicBezTo>
                    <a:pt x="29" y="108"/>
                    <a:pt x="33" y="106"/>
                    <a:pt x="35" y="105"/>
                  </a:cubicBezTo>
                  <a:cubicBezTo>
                    <a:pt x="36" y="105"/>
                    <a:pt x="36" y="105"/>
                    <a:pt x="36" y="105"/>
                  </a:cubicBezTo>
                  <a:cubicBezTo>
                    <a:pt x="37" y="105"/>
                    <a:pt x="38" y="104"/>
                    <a:pt x="39" y="104"/>
                  </a:cubicBezTo>
                  <a:cubicBezTo>
                    <a:pt x="42" y="103"/>
                    <a:pt x="45" y="102"/>
                    <a:pt x="47" y="102"/>
                  </a:cubicBezTo>
                  <a:cubicBezTo>
                    <a:pt x="50" y="102"/>
                    <a:pt x="52" y="103"/>
                    <a:pt x="55" y="103"/>
                  </a:cubicBezTo>
                  <a:cubicBezTo>
                    <a:pt x="56" y="103"/>
                    <a:pt x="56" y="103"/>
                    <a:pt x="56" y="103"/>
                  </a:cubicBezTo>
                  <a:cubicBezTo>
                    <a:pt x="57" y="103"/>
                    <a:pt x="58" y="103"/>
                    <a:pt x="59" y="104"/>
                  </a:cubicBezTo>
                  <a:cubicBezTo>
                    <a:pt x="59" y="104"/>
                    <a:pt x="59" y="104"/>
                    <a:pt x="59" y="104"/>
                  </a:cubicBezTo>
                  <a:cubicBezTo>
                    <a:pt x="62" y="104"/>
                    <a:pt x="67" y="101"/>
                    <a:pt x="68" y="100"/>
                  </a:cubicBezTo>
                  <a:cubicBezTo>
                    <a:pt x="68" y="100"/>
                    <a:pt x="68" y="100"/>
                    <a:pt x="68" y="100"/>
                  </a:cubicBezTo>
                  <a:cubicBezTo>
                    <a:pt x="69" y="99"/>
                    <a:pt x="69" y="99"/>
                    <a:pt x="69" y="99"/>
                  </a:cubicBezTo>
                  <a:cubicBezTo>
                    <a:pt x="70" y="93"/>
                    <a:pt x="71" y="91"/>
                    <a:pt x="76" y="91"/>
                  </a:cubicBezTo>
                  <a:cubicBezTo>
                    <a:pt x="78" y="90"/>
                    <a:pt x="78" y="90"/>
                    <a:pt x="78" y="90"/>
                  </a:cubicBezTo>
                  <a:cubicBezTo>
                    <a:pt x="86" y="89"/>
                    <a:pt x="91" y="88"/>
                    <a:pt x="94" y="88"/>
                  </a:cubicBezTo>
                  <a:cubicBezTo>
                    <a:pt x="99" y="88"/>
                    <a:pt x="100" y="89"/>
                    <a:pt x="101" y="91"/>
                  </a:cubicBezTo>
                  <a:cubicBezTo>
                    <a:pt x="101" y="91"/>
                    <a:pt x="101" y="91"/>
                    <a:pt x="101" y="92"/>
                  </a:cubicBezTo>
                  <a:cubicBezTo>
                    <a:pt x="103" y="92"/>
                    <a:pt x="104" y="93"/>
                    <a:pt x="105" y="93"/>
                  </a:cubicBezTo>
                  <a:cubicBezTo>
                    <a:pt x="106" y="94"/>
                    <a:pt x="106" y="94"/>
                    <a:pt x="106" y="94"/>
                  </a:cubicBezTo>
                  <a:cubicBezTo>
                    <a:pt x="109" y="95"/>
                    <a:pt x="112" y="97"/>
                    <a:pt x="115" y="97"/>
                  </a:cubicBezTo>
                  <a:cubicBezTo>
                    <a:pt x="115" y="97"/>
                    <a:pt x="116" y="97"/>
                    <a:pt x="116" y="97"/>
                  </a:cubicBezTo>
                  <a:cubicBezTo>
                    <a:pt x="116" y="97"/>
                    <a:pt x="116" y="97"/>
                    <a:pt x="116" y="97"/>
                  </a:cubicBezTo>
                  <a:cubicBezTo>
                    <a:pt x="116" y="97"/>
                    <a:pt x="116" y="97"/>
                    <a:pt x="117" y="96"/>
                  </a:cubicBezTo>
                  <a:cubicBezTo>
                    <a:pt x="117" y="96"/>
                    <a:pt x="118" y="95"/>
                    <a:pt x="118" y="95"/>
                  </a:cubicBezTo>
                  <a:cubicBezTo>
                    <a:pt x="121" y="94"/>
                    <a:pt x="125" y="93"/>
                    <a:pt x="129" y="92"/>
                  </a:cubicBezTo>
                  <a:cubicBezTo>
                    <a:pt x="129" y="92"/>
                    <a:pt x="130" y="92"/>
                    <a:pt x="130" y="92"/>
                  </a:cubicBezTo>
                  <a:cubicBezTo>
                    <a:pt x="136" y="90"/>
                    <a:pt x="136" y="90"/>
                    <a:pt x="136" y="90"/>
                  </a:cubicBezTo>
                  <a:cubicBezTo>
                    <a:pt x="136" y="91"/>
                    <a:pt x="136" y="91"/>
                    <a:pt x="136" y="91"/>
                  </a:cubicBezTo>
                  <a:cubicBezTo>
                    <a:pt x="136" y="91"/>
                    <a:pt x="136" y="91"/>
                    <a:pt x="136" y="91"/>
                  </a:cubicBezTo>
                  <a:cubicBezTo>
                    <a:pt x="137" y="91"/>
                    <a:pt x="137" y="91"/>
                    <a:pt x="137" y="91"/>
                  </a:cubicBezTo>
                  <a:cubicBezTo>
                    <a:pt x="137" y="91"/>
                    <a:pt x="138" y="91"/>
                    <a:pt x="139" y="91"/>
                  </a:cubicBezTo>
                  <a:cubicBezTo>
                    <a:pt x="140" y="91"/>
                    <a:pt x="140" y="91"/>
                    <a:pt x="140" y="90"/>
                  </a:cubicBezTo>
                  <a:cubicBezTo>
                    <a:pt x="141" y="87"/>
                    <a:pt x="141" y="87"/>
                    <a:pt x="141" y="87"/>
                  </a:cubicBezTo>
                  <a:cubicBezTo>
                    <a:pt x="142" y="86"/>
                    <a:pt x="142" y="85"/>
                    <a:pt x="142" y="84"/>
                  </a:cubicBezTo>
                  <a:cubicBezTo>
                    <a:pt x="142" y="83"/>
                    <a:pt x="143" y="83"/>
                    <a:pt x="143" y="83"/>
                  </a:cubicBezTo>
                  <a:cubicBezTo>
                    <a:pt x="144" y="82"/>
                    <a:pt x="145" y="81"/>
                    <a:pt x="145" y="80"/>
                  </a:cubicBezTo>
                  <a:cubicBezTo>
                    <a:pt x="146" y="80"/>
                    <a:pt x="146" y="80"/>
                    <a:pt x="146" y="80"/>
                  </a:cubicBezTo>
                  <a:cubicBezTo>
                    <a:pt x="147" y="79"/>
                    <a:pt x="147" y="79"/>
                    <a:pt x="147" y="79"/>
                  </a:cubicBezTo>
                  <a:cubicBezTo>
                    <a:pt x="147" y="79"/>
                    <a:pt x="147" y="79"/>
                    <a:pt x="147" y="78"/>
                  </a:cubicBezTo>
                  <a:cubicBezTo>
                    <a:pt x="147" y="78"/>
                    <a:pt x="147" y="77"/>
                    <a:pt x="146" y="77"/>
                  </a:cubicBezTo>
                  <a:cubicBezTo>
                    <a:pt x="146" y="75"/>
                    <a:pt x="145" y="72"/>
                    <a:pt x="146" y="70"/>
                  </a:cubicBezTo>
                  <a:cubicBezTo>
                    <a:pt x="146" y="68"/>
                    <a:pt x="147" y="68"/>
                    <a:pt x="151" y="66"/>
                  </a:cubicBezTo>
                  <a:cubicBezTo>
                    <a:pt x="152" y="65"/>
                    <a:pt x="152" y="65"/>
                    <a:pt x="152" y="65"/>
                  </a:cubicBezTo>
                  <a:cubicBezTo>
                    <a:pt x="152" y="64"/>
                    <a:pt x="153" y="64"/>
                    <a:pt x="154" y="63"/>
                  </a:cubicBezTo>
                  <a:cubicBezTo>
                    <a:pt x="155" y="63"/>
                    <a:pt x="155" y="63"/>
                    <a:pt x="155" y="63"/>
                  </a:cubicBezTo>
                  <a:cubicBezTo>
                    <a:pt x="155" y="62"/>
                    <a:pt x="155" y="62"/>
                    <a:pt x="155" y="62"/>
                  </a:cubicBezTo>
                  <a:cubicBezTo>
                    <a:pt x="153" y="57"/>
                    <a:pt x="154" y="53"/>
                    <a:pt x="157" y="49"/>
                  </a:cubicBezTo>
                  <a:cubicBezTo>
                    <a:pt x="159" y="46"/>
                    <a:pt x="162" y="45"/>
                    <a:pt x="166" y="45"/>
                  </a:cubicBezTo>
                  <a:cubicBezTo>
                    <a:pt x="166" y="45"/>
                    <a:pt x="166" y="45"/>
                    <a:pt x="167" y="45"/>
                  </a:cubicBezTo>
                  <a:cubicBezTo>
                    <a:pt x="167" y="45"/>
                    <a:pt x="167" y="44"/>
                    <a:pt x="167" y="44"/>
                  </a:cubicBezTo>
                  <a:cubicBezTo>
                    <a:pt x="169" y="38"/>
                    <a:pt x="169" y="33"/>
                    <a:pt x="168" y="26"/>
                  </a:cubicBezTo>
                  <a:cubicBezTo>
                    <a:pt x="167" y="22"/>
                    <a:pt x="169" y="18"/>
                    <a:pt x="171" y="15"/>
                  </a:cubicBezTo>
                  <a:cubicBezTo>
                    <a:pt x="164" y="14"/>
                    <a:pt x="164" y="14"/>
                    <a:pt x="164" y="14"/>
                  </a:cubicBezTo>
                  <a:cubicBezTo>
                    <a:pt x="164" y="14"/>
                    <a:pt x="163" y="14"/>
                    <a:pt x="162" y="14"/>
                  </a:cubicBezTo>
                  <a:cubicBezTo>
                    <a:pt x="161" y="14"/>
                    <a:pt x="161" y="14"/>
                    <a:pt x="161" y="14"/>
                  </a:cubicBezTo>
                  <a:cubicBezTo>
                    <a:pt x="158" y="14"/>
                    <a:pt x="155" y="12"/>
                    <a:pt x="154" y="10"/>
                  </a:cubicBezTo>
                  <a:cubicBezTo>
                    <a:pt x="154" y="8"/>
                    <a:pt x="154" y="8"/>
                    <a:pt x="154" y="8"/>
                  </a:cubicBezTo>
                  <a:cubicBezTo>
                    <a:pt x="153" y="6"/>
                    <a:pt x="152" y="3"/>
                    <a:pt x="1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1518"/>
            <p:cNvSpPr/>
            <p:nvPr/>
          </p:nvSpPr>
          <p:spPr bwMode="auto">
            <a:xfrm>
              <a:off x="1502" y="714"/>
              <a:ext cx="2" cy="3"/>
            </a:xfrm>
            <a:custGeom>
              <a:gdLst>
                <a:gd name="T0" fmla="*/ 0 w 2"/>
                <a:gd name="T1" fmla="*/ 0 h 3"/>
                <a:gd name="T2" fmla="*/ 0 w 2"/>
                <a:gd name="T3" fmla="*/ 3 h 3"/>
                <a:gd name="T4" fmla="*/ 2 w 2"/>
                <a:gd name="T5" fmla="*/ 0 h 3"/>
                <a:gd name="T6" fmla="*/ 0 w 2"/>
                <a:gd name="T7" fmla="*/ 0 h 3"/>
              </a:gdLst>
              <a:cxnLst>
                <a:cxn ang="0">
                  <a:pos x="T0" y="T1"/>
                </a:cxn>
                <a:cxn ang="0">
                  <a:pos x="T2" y="T3"/>
                </a:cxn>
                <a:cxn ang="0">
                  <a:pos x="T4" y="T5"/>
                </a:cxn>
                <a:cxn ang="0">
                  <a:pos x="T6" y="T7"/>
                </a:cxn>
              </a:cxnLst>
              <a:rect l="0" t="0" r="r" b="b"/>
              <a:pathLst>
                <a:path w="2" h="3">
                  <a:moveTo>
                    <a:pt x="0" y="0"/>
                  </a:moveTo>
                  <a:lnTo>
                    <a:pt x="0" y="3"/>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1519"/>
            <p:cNvSpPr/>
            <p:nvPr/>
          </p:nvSpPr>
          <p:spPr bwMode="auto">
            <a:xfrm>
              <a:off x="1502" y="714"/>
              <a:ext cx="2" cy="3"/>
            </a:xfrm>
            <a:custGeom>
              <a:gdLst>
                <a:gd name="T0" fmla="*/ 0 w 2"/>
                <a:gd name="T1" fmla="*/ 0 h 3"/>
                <a:gd name="T2" fmla="*/ 0 w 2"/>
                <a:gd name="T3" fmla="*/ 3 h 3"/>
                <a:gd name="T4" fmla="*/ 2 w 2"/>
                <a:gd name="T5" fmla="*/ 0 h 3"/>
                <a:gd name="T6" fmla="*/ 0 w 2"/>
                <a:gd name="T7" fmla="*/ 0 h 3"/>
              </a:gdLst>
              <a:cxnLst>
                <a:cxn ang="0">
                  <a:pos x="T0" y="T1"/>
                </a:cxn>
                <a:cxn ang="0">
                  <a:pos x="T2" y="T3"/>
                </a:cxn>
                <a:cxn ang="0">
                  <a:pos x="T4" y="T5"/>
                </a:cxn>
                <a:cxn ang="0">
                  <a:pos x="T6" y="T7"/>
                </a:cxn>
              </a:cxnLst>
              <a:rect l="0" t="0" r="r" b="b"/>
              <a:pathLst>
                <a:path w="2" h="3">
                  <a:moveTo>
                    <a:pt x="0" y="0"/>
                  </a:moveTo>
                  <a:lnTo>
                    <a:pt x="0" y="3"/>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1520"/>
            <p:cNvSpPr/>
            <p:nvPr/>
          </p:nvSpPr>
          <p:spPr bwMode="auto">
            <a:xfrm>
              <a:off x="1523" y="695"/>
              <a:ext cx="47" cy="59"/>
            </a:xfrm>
            <a:custGeom>
              <a:gdLst>
                <a:gd name="T0" fmla="*/ 20 w 20"/>
                <a:gd name="T1" fmla="*/ 0 h 25"/>
                <a:gd name="T2" fmla="*/ 10 w 20"/>
                <a:gd name="T3" fmla="*/ 7 h 25"/>
                <a:gd name="T4" fmla="*/ 0 w 20"/>
                <a:gd name="T5" fmla="*/ 12 h 25"/>
                <a:gd name="T6" fmla="*/ 3 w 20"/>
                <a:gd name="T7" fmla="*/ 14 h 25"/>
                <a:gd name="T8" fmla="*/ 5 w 20"/>
                <a:gd name="T9" fmla="*/ 17 h 25"/>
                <a:gd name="T10" fmla="*/ 5 w 20"/>
                <a:gd name="T11" fmla="*/ 17 h 25"/>
                <a:gd name="T12" fmla="*/ 7 w 20"/>
                <a:gd name="T13" fmla="*/ 19 h 25"/>
                <a:gd name="T14" fmla="*/ 11 w 20"/>
                <a:gd name="T15" fmla="*/ 25 h 25"/>
                <a:gd name="T16" fmla="*/ 12 w 20"/>
                <a:gd name="T17" fmla="*/ 24 h 25"/>
                <a:gd name="T18" fmla="*/ 13 w 20"/>
                <a:gd name="T19" fmla="*/ 23 h 25"/>
                <a:gd name="T20" fmla="*/ 13 w 20"/>
                <a:gd name="T21" fmla="*/ 22 h 25"/>
                <a:gd name="T22" fmla="*/ 13 w 20"/>
                <a:gd name="T23" fmla="*/ 20 h 25"/>
                <a:gd name="T24" fmla="*/ 13 w 20"/>
                <a:gd name="T25" fmla="*/ 18 h 25"/>
                <a:gd name="T26" fmla="*/ 12 w 20"/>
                <a:gd name="T27" fmla="*/ 12 h 25"/>
                <a:gd name="T28" fmla="*/ 12 w 20"/>
                <a:gd name="T29" fmla="*/ 11 h 25"/>
                <a:gd name="T30" fmla="*/ 12 w 20"/>
                <a:gd name="T31" fmla="*/ 7 h 25"/>
                <a:gd name="T32" fmla="*/ 12 w 20"/>
                <a:gd name="T33" fmla="*/ 6 h 25"/>
                <a:gd name="T34" fmla="*/ 13 w 20"/>
                <a:gd name="T35" fmla="*/ 5 h 25"/>
                <a:gd name="T36" fmla="*/ 14 w 20"/>
                <a:gd name="T37" fmla="*/ 4 h 25"/>
                <a:gd name="T38" fmla="*/ 16 w 20"/>
                <a:gd name="T39" fmla="*/ 3 h 25"/>
                <a:gd name="T40" fmla="*/ 17 w 20"/>
                <a:gd name="T41" fmla="*/ 2 h 25"/>
                <a:gd name="T42" fmla="*/ 19 w 20"/>
                <a:gd name="T43" fmla="*/ 1 h 25"/>
                <a:gd name="T44" fmla="*/ 20 w 20"/>
                <a:gd name="T45"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5">
                  <a:moveTo>
                    <a:pt x="20" y="0"/>
                  </a:moveTo>
                  <a:cubicBezTo>
                    <a:pt x="16" y="2"/>
                    <a:pt x="12" y="4"/>
                    <a:pt x="10" y="7"/>
                  </a:cubicBezTo>
                  <a:cubicBezTo>
                    <a:pt x="7" y="10"/>
                    <a:pt x="4" y="11"/>
                    <a:pt x="0" y="12"/>
                  </a:cubicBezTo>
                  <a:cubicBezTo>
                    <a:pt x="2" y="13"/>
                    <a:pt x="3" y="14"/>
                    <a:pt x="3" y="14"/>
                  </a:cubicBezTo>
                  <a:cubicBezTo>
                    <a:pt x="4" y="15"/>
                    <a:pt x="4" y="16"/>
                    <a:pt x="5" y="17"/>
                  </a:cubicBezTo>
                  <a:cubicBezTo>
                    <a:pt x="5" y="17"/>
                    <a:pt x="5" y="17"/>
                    <a:pt x="5" y="17"/>
                  </a:cubicBezTo>
                  <a:cubicBezTo>
                    <a:pt x="5" y="18"/>
                    <a:pt x="6" y="18"/>
                    <a:pt x="7" y="19"/>
                  </a:cubicBezTo>
                  <a:cubicBezTo>
                    <a:pt x="9" y="23"/>
                    <a:pt x="11" y="24"/>
                    <a:pt x="11" y="25"/>
                  </a:cubicBezTo>
                  <a:cubicBezTo>
                    <a:pt x="12" y="24"/>
                    <a:pt x="12" y="24"/>
                    <a:pt x="12" y="24"/>
                  </a:cubicBezTo>
                  <a:cubicBezTo>
                    <a:pt x="13" y="23"/>
                    <a:pt x="13" y="23"/>
                    <a:pt x="13" y="23"/>
                  </a:cubicBezTo>
                  <a:cubicBezTo>
                    <a:pt x="13" y="22"/>
                    <a:pt x="13" y="22"/>
                    <a:pt x="13" y="22"/>
                  </a:cubicBezTo>
                  <a:cubicBezTo>
                    <a:pt x="13" y="21"/>
                    <a:pt x="13" y="20"/>
                    <a:pt x="13" y="20"/>
                  </a:cubicBezTo>
                  <a:cubicBezTo>
                    <a:pt x="13" y="20"/>
                    <a:pt x="13" y="19"/>
                    <a:pt x="13" y="18"/>
                  </a:cubicBezTo>
                  <a:cubicBezTo>
                    <a:pt x="13" y="16"/>
                    <a:pt x="13" y="14"/>
                    <a:pt x="12" y="12"/>
                  </a:cubicBezTo>
                  <a:cubicBezTo>
                    <a:pt x="12" y="12"/>
                    <a:pt x="12" y="11"/>
                    <a:pt x="12" y="11"/>
                  </a:cubicBezTo>
                  <a:cubicBezTo>
                    <a:pt x="11" y="10"/>
                    <a:pt x="11" y="8"/>
                    <a:pt x="12" y="7"/>
                  </a:cubicBezTo>
                  <a:cubicBezTo>
                    <a:pt x="12" y="7"/>
                    <a:pt x="12" y="6"/>
                    <a:pt x="12" y="6"/>
                  </a:cubicBezTo>
                  <a:cubicBezTo>
                    <a:pt x="13" y="5"/>
                    <a:pt x="13" y="5"/>
                    <a:pt x="13" y="5"/>
                  </a:cubicBezTo>
                  <a:cubicBezTo>
                    <a:pt x="14" y="4"/>
                    <a:pt x="14" y="4"/>
                    <a:pt x="14" y="4"/>
                  </a:cubicBezTo>
                  <a:cubicBezTo>
                    <a:pt x="15" y="4"/>
                    <a:pt x="15" y="3"/>
                    <a:pt x="16" y="3"/>
                  </a:cubicBezTo>
                  <a:cubicBezTo>
                    <a:pt x="17" y="2"/>
                    <a:pt x="17" y="2"/>
                    <a:pt x="17" y="2"/>
                  </a:cubicBezTo>
                  <a:cubicBezTo>
                    <a:pt x="18" y="2"/>
                    <a:pt x="19" y="2"/>
                    <a:pt x="19" y="1"/>
                  </a:cubicBezTo>
                  <a:cubicBezTo>
                    <a:pt x="20" y="0"/>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1521"/>
            <p:cNvSpPr/>
            <p:nvPr/>
          </p:nvSpPr>
          <p:spPr bwMode="auto">
            <a:xfrm>
              <a:off x="394" y="0"/>
              <a:ext cx="118" cy="338"/>
            </a:xfrm>
            <a:custGeom>
              <a:gdLst>
                <a:gd name="T0" fmla="*/ 0 w 50"/>
                <a:gd name="T1" fmla="*/ 0 h 143"/>
                <a:gd name="T2" fmla="*/ 1 w 50"/>
                <a:gd name="T3" fmla="*/ 5 h 143"/>
                <a:gd name="T4" fmla="*/ 7 w 50"/>
                <a:gd name="T5" fmla="*/ 11 h 143"/>
                <a:gd name="T6" fmla="*/ 6 w 50"/>
                <a:gd name="T7" fmla="*/ 11 h 143"/>
                <a:gd name="T8" fmla="*/ 7 w 50"/>
                <a:gd name="T9" fmla="*/ 22 h 143"/>
                <a:gd name="T10" fmla="*/ 10 w 50"/>
                <a:gd name="T11" fmla="*/ 42 h 143"/>
                <a:gd name="T12" fmla="*/ 11 w 50"/>
                <a:gd name="T13" fmla="*/ 44 h 143"/>
                <a:gd name="T14" fmla="*/ 11 w 50"/>
                <a:gd name="T15" fmla="*/ 39 h 143"/>
                <a:gd name="T16" fmla="*/ 15 w 50"/>
                <a:gd name="T17" fmla="*/ 36 h 143"/>
                <a:gd name="T18" fmla="*/ 20 w 50"/>
                <a:gd name="T19" fmla="*/ 50 h 143"/>
                <a:gd name="T20" fmla="*/ 24 w 50"/>
                <a:gd name="T21" fmla="*/ 61 h 143"/>
                <a:gd name="T22" fmla="*/ 26 w 50"/>
                <a:gd name="T23" fmla="*/ 70 h 143"/>
                <a:gd name="T24" fmla="*/ 21 w 50"/>
                <a:gd name="T25" fmla="*/ 82 h 143"/>
                <a:gd name="T26" fmla="*/ 26 w 50"/>
                <a:gd name="T27" fmla="*/ 83 h 143"/>
                <a:gd name="T28" fmla="*/ 25 w 50"/>
                <a:gd name="T29" fmla="*/ 88 h 143"/>
                <a:gd name="T30" fmla="*/ 20 w 50"/>
                <a:gd name="T31" fmla="*/ 88 h 143"/>
                <a:gd name="T32" fmla="*/ 19 w 50"/>
                <a:gd name="T33" fmla="*/ 89 h 143"/>
                <a:gd name="T34" fmla="*/ 20 w 50"/>
                <a:gd name="T35" fmla="*/ 93 h 143"/>
                <a:gd name="T36" fmla="*/ 25 w 50"/>
                <a:gd name="T37" fmla="*/ 92 h 143"/>
                <a:gd name="T38" fmla="*/ 23 w 50"/>
                <a:gd name="T39" fmla="*/ 96 h 143"/>
                <a:gd name="T40" fmla="*/ 26 w 50"/>
                <a:gd name="T41" fmla="*/ 99 h 143"/>
                <a:gd name="T42" fmla="*/ 29 w 50"/>
                <a:gd name="T43" fmla="*/ 99 h 143"/>
                <a:gd name="T44" fmla="*/ 28 w 50"/>
                <a:gd name="T45" fmla="*/ 103 h 143"/>
                <a:gd name="T46" fmla="*/ 27 w 50"/>
                <a:gd name="T47" fmla="*/ 118 h 143"/>
                <a:gd name="T48" fmla="*/ 20 w 50"/>
                <a:gd name="T49" fmla="*/ 133 h 143"/>
                <a:gd name="T50" fmla="*/ 21 w 50"/>
                <a:gd name="T51" fmla="*/ 143 h 143"/>
                <a:gd name="T52" fmla="*/ 27 w 50"/>
                <a:gd name="T53" fmla="*/ 130 h 143"/>
                <a:gd name="T54" fmla="*/ 40 w 50"/>
                <a:gd name="T55" fmla="*/ 111 h 143"/>
                <a:gd name="T56" fmla="*/ 50 w 50"/>
                <a:gd name="T57" fmla="*/ 95 h 143"/>
                <a:gd name="T58" fmla="*/ 48 w 50"/>
                <a:gd name="T59" fmla="*/ 90 h 143"/>
                <a:gd name="T60" fmla="*/ 46 w 50"/>
                <a:gd name="T61" fmla="*/ 87 h 143"/>
                <a:gd name="T62" fmla="*/ 45 w 50"/>
                <a:gd name="T63" fmla="*/ 77 h 143"/>
                <a:gd name="T64" fmla="*/ 40 w 50"/>
                <a:gd name="T65" fmla="*/ 68 h 143"/>
                <a:gd name="T66" fmla="*/ 38 w 50"/>
                <a:gd name="T67" fmla="*/ 64 h 143"/>
                <a:gd name="T68" fmla="*/ 37 w 50"/>
                <a:gd name="T69" fmla="*/ 53 h 143"/>
                <a:gd name="T70" fmla="*/ 37 w 50"/>
                <a:gd name="T71" fmla="*/ 52 h 143"/>
                <a:gd name="T72" fmla="*/ 37 w 50"/>
                <a:gd name="T73" fmla="*/ 47 h 143"/>
                <a:gd name="T74" fmla="*/ 36 w 50"/>
                <a:gd name="T75" fmla="*/ 39 h 143"/>
                <a:gd name="T76" fmla="*/ 34 w 50"/>
                <a:gd name="T77" fmla="*/ 36 h 143"/>
                <a:gd name="T78" fmla="*/ 32 w 50"/>
                <a:gd name="T79" fmla="*/ 34 h 143"/>
                <a:gd name="T80" fmla="*/ 26 w 50"/>
                <a:gd name="T81" fmla="*/ 27 h 143"/>
                <a:gd name="T82" fmla="*/ 12 w 50"/>
                <a:gd name="T83" fmla="*/ 8 h 1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143">
                  <a:moveTo>
                    <a:pt x="9" y="0"/>
                  </a:moveTo>
                  <a:cubicBezTo>
                    <a:pt x="0" y="0"/>
                    <a:pt x="0" y="0"/>
                    <a:pt x="0" y="0"/>
                  </a:cubicBezTo>
                  <a:cubicBezTo>
                    <a:pt x="0" y="1"/>
                    <a:pt x="0" y="2"/>
                    <a:pt x="0" y="2"/>
                  </a:cubicBezTo>
                  <a:cubicBezTo>
                    <a:pt x="0" y="4"/>
                    <a:pt x="0" y="4"/>
                    <a:pt x="1" y="5"/>
                  </a:cubicBezTo>
                  <a:cubicBezTo>
                    <a:pt x="2" y="7"/>
                    <a:pt x="5" y="9"/>
                    <a:pt x="6" y="11"/>
                  </a:cubicBezTo>
                  <a:cubicBezTo>
                    <a:pt x="7" y="11"/>
                    <a:pt x="7" y="11"/>
                    <a:pt x="7" y="11"/>
                  </a:cubicBezTo>
                  <a:cubicBezTo>
                    <a:pt x="6" y="11"/>
                    <a:pt x="6" y="11"/>
                    <a:pt x="6" y="11"/>
                  </a:cubicBezTo>
                  <a:cubicBezTo>
                    <a:pt x="6" y="11"/>
                    <a:pt x="6" y="11"/>
                    <a:pt x="6" y="11"/>
                  </a:cubicBezTo>
                  <a:cubicBezTo>
                    <a:pt x="6" y="12"/>
                    <a:pt x="6" y="12"/>
                    <a:pt x="6" y="12"/>
                  </a:cubicBezTo>
                  <a:cubicBezTo>
                    <a:pt x="6" y="15"/>
                    <a:pt x="6" y="19"/>
                    <a:pt x="7" y="22"/>
                  </a:cubicBezTo>
                  <a:cubicBezTo>
                    <a:pt x="7" y="25"/>
                    <a:pt x="7" y="29"/>
                    <a:pt x="8" y="32"/>
                  </a:cubicBezTo>
                  <a:cubicBezTo>
                    <a:pt x="8" y="35"/>
                    <a:pt x="9" y="38"/>
                    <a:pt x="10" y="42"/>
                  </a:cubicBezTo>
                  <a:cubicBezTo>
                    <a:pt x="10" y="42"/>
                    <a:pt x="10" y="43"/>
                    <a:pt x="10" y="44"/>
                  </a:cubicBezTo>
                  <a:cubicBezTo>
                    <a:pt x="10" y="44"/>
                    <a:pt x="11" y="44"/>
                    <a:pt x="11" y="44"/>
                  </a:cubicBezTo>
                  <a:cubicBezTo>
                    <a:pt x="10" y="43"/>
                    <a:pt x="11" y="41"/>
                    <a:pt x="11" y="40"/>
                  </a:cubicBezTo>
                  <a:cubicBezTo>
                    <a:pt x="11" y="39"/>
                    <a:pt x="11" y="39"/>
                    <a:pt x="11" y="39"/>
                  </a:cubicBezTo>
                  <a:cubicBezTo>
                    <a:pt x="12" y="36"/>
                    <a:pt x="11" y="33"/>
                    <a:pt x="11" y="30"/>
                  </a:cubicBezTo>
                  <a:cubicBezTo>
                    <a:pt x="13" y="30"/>
                    <a:pt x="14" y="33"/>
                    <a:pt x="15" y="36"/>
                  </a:cubicBezTo>
                  <a:cubicBezTo>
                    <a:pt x="16" y="39"/>
                    <a:pt x="17" y="42"/>
                    <a:pt x="18" y="45"/>
                  </a:cubicBezTo>
                  <a:cubicBezTo>
                    <a:pt x="19" y="47"/>
                    <a:pt x="19" y="49"/>
                    <a:pt x="20" y="50"/>
                  </a:cubicBezTo>
                  <a:cubicBezTo>
                    <a:pt x="20" y="51"/>
                    <a:pt x="21" y="52"/>
                    <a:pt x="21" y="53"/>
                  </a:cubicBezTo>
                  <a:cubicBezTo>
                    <a:pt x="22" y="55"/>
                    <a:pt x="23" y="58"/>
                    <a:pt x="24" y="61"/>
                  </a:cubicBezTo>
                  <a:cubicBezTo>
                    <a:pt x="25" y="64"/>
                    <a:pt x="26" y="66"/>
                    <a:pt x="26" y="68"/>
                  </a:cubicBezTo>
                  <a:cubicBezTo>
                    <a:pt x="26" y="69"/>
                    <a:pt x="26" y="70"/>
                    <a:pt x="26" y="70"/>
                  </a:cubicBezTo>
                  <a:cubicBezTo>
                    <a:pt x="25" y="73"/>
                    <a:pt x="23" y="76"/>
                    <a:pt x="24" y="79"/>
                  </a:cubicBezTo>
                  <a:cubicBezTo>
                    <a:pt x="24" y="80"/>
                    <a:pt x="23" y="81"/>
                    <a:pt x="21" y="82"/>
                  </a:cubicBezTo>
                  <a:cubicBezTo>
                    <a:pt x="22" y="82"/>
                    <a:pt x="24" y="82"/>
                    <a:pt x="25" y="82"/>
                  </a:cubicBezTo>
                  <a:cubicBezTo>
                    <a:pt x="26" y="83"/>
                    <a:pt x="26" y="83"/>
                    <a:pt x="26" y="83"/>
                  </a:cubicBezTo>
                  <a:cubicBezTo>
                    <a:pt x="26" y="83"/>
                    <a:pt x="26" y="83"/>
                    <a:pt x="26" y="83"/>
                  </a:cubicBezTo>
                  <a:cubicBezTo>
                    <a:pt x="26" y="83"/>
                    <a:pt x="25" y="88"/>
                    <a:pt x="25" y="88"/>
                  </a:cubicBezTo>
                  <a:cubicBezTo>
                    <a:pt x="25" y="90"/>
                    <a:pt x="25" y="91"/>
                    <a:pt x="25" y="91"/>
                  </a:cubicBezTo>
                  <a:cubicBezTo>
                    <a:pt x="23" y="90"/>
                    <a:pt x="22" y="89"/>
                    <a:pt x="20" y="88"/>
                  </a:cubicBezTo>
                  <a:cubicBezTo>
                    <a:pt x="19" y="87"/>
                    <a:pt x="19" y="87"/>
                    <a:pt x="19" y="87"/>
                  </a:cubicBezTo>
                  <a:cubicBezTo>
                    <a:pt x="19" y="88"/>
                    <a:pt x="19" y="88"/>
                    <a:pt x="19" y="89"/>
                  </a:cubicBezTo>
                  <a:cubicBezTo>
                    <a:pt x="19" y="90"/>
                    <a:pt x="19" y="90"/>
                    <a:pt x="19" y="90"/>
                  </a:cubicBezTo>
                  <a:cubicBezTo>
                    <a:pt x="19" y="92"/>
                    <a:pt x="19" y="93"/>
                    <a:pt x="20" y="93"/>
                  </a:cubicBezTo>
                  <a:cubicBezTo>
                    <a:pt x="22" y="93"/>
                    <a:pt x="23" y="92"/>
                    <a:pt x="25" y="91"/>
                  </a:cubicBezTo>
                  <a:cubicBezTo>
                    <a:pt x="25" y="92"/>
                    <a:pt x="25" y="92"/>
                    <a:pt x="25" y="92"/>
                  </a:cubicBezTo>
                  <a:cubicBezTo>
                    <a:pt x="23" y="92"/>
                    <a:pt x="23" y="92"/>
                    <a:pt x="23" y="92"/>
                  </a:cubicBezTo>
                  <a:cubicBezTo>
                    <a:pt x="23" y="93"/>
                    <a:pt x="22" y="95"/>
                    <a:pt x="23" y="96"/>
                  </a:cubicBezTo>
                  <a:cubicBezTo>
                    <a:pt x="23" y="97"/>
                    <a:pt x="23" y="97"/>
                    <a:pt x="24" y="98"/>
                  </a:cubicBezTo>
                  <a:cubicBezTo>
                    <a:pt x="24" y="98"/>
                    <a:pt x="25" y="99"/>
                    <a:pt x="26" y="99"/>
                  </a:cubicBezTo>
                  <a:cubicBezTo>
                    <a:pt x="27" y="99"/>
                    <a:pt x="28" y="96"/>
                    <a:pt x="30" y="95"/>
                  </a:cubicBezTo>
                  <a:cubicBezTo>
                    <a:pt x="32" y="99"/>
                    <a:pt x="30" y="97"/>
                    <a:pt x="29" y="99"/>
                  </a:cubicBezTo>
                  <a:cubicBezTo>
                    <a:pt x="28" y="100"/>
                    <a:pt x="28" y="101"/>
                    <a:pt x="28" y="103"/>
                  </a:cubicBezTo>
                  <a:cubicBezTo>
                    <a:pt x="28" y="103"/>
                    <a:pt x="28" y="103"/>
                    <a:pt x="28" y="103"/>
                  </a:cubicBezTo>
                  <a:cubicBezTo>
                    <a:pt x="27" y="107"/>
                    <a:pt x="27" y="110"/>
                    <a:pt x="27" y="114"/>
                  </a:cubicBezTo>
                  <a:cubicBezTo>
                    <a:pt x="27" y="115"/>
                    <a:pt x="27" y="117"/>
                    <a:pt x="27" y="118"/>
                  </a:cubicBezTo>
                  <a:cubicBezTo>
                    <a:pt x="26" y="122"/>
                    <a:pt x="24" y="124"/>
                    <a:pt x="20" y="127"/>
                  </a:cubicBezTo>
                  <a:cubicBezTo>
                    <a:pt x="19" y="127"/>
                    <a:pt x="19" y="130"/>
                    <a:pt x="20" y="133"/>
                  </a:cubicBezTo>
                  <a:cubicBezTo>
                    <a:pt x="21" y="135"/>
                    <a:pt x="21" y="136"/>
                    <a:pt x="21" y="137"/>
                  </a:cubicBezTo>
                  <a:cubicBezTo>
                    <a:pt x="21" y="139"/>
                    <a:pt x="21" y="141"/>
                    <a:pt x="21" y="143"/>
                  </a:cubicBezTo>
                  <a:cubicBezTo>
                    <a:pt x="21" y="143"/>
                    <a:pt x="21" y="143"/>
                    <a:pt x="21" y="143"/>
                  </a:cubicBezTo>
                  <a:cubicBezTo>
                    <a:pt x="27" y="130"/>
                    <a:pt x="27" y="130"/>
                    <a:pt x="27" y="130"/>
                  </a:cubicBezTo>
                  <a:cubicBezTo>
                    <a:pt x="28" y="126"/>
                    <a:pt x="30" y="122"/>
                    <a:pt x="34" y="118"/>
                  </a:cubicBezTo>
                  <a:cubicBezTo>
                    <a:pt x="36" y="116"/>
                    <a:pt x="38" y="114"/>
                    <a:pt x="40" y="111"/>
                  </a:cubicBezTo>
                  <a:cubicBezTo>
                    <a:pt x="42" y="108"/>
                    <a:pt x="44" y="105"/>
                    <a:pt x="46" y="102"/>
                  </a:cubicBezTo>
                  <a:cubicBezTo>
                    <a:pt x="47" y="99"/>
                    <a:pt x="49" y="97"/>
                    <a:pt x="50" y="95"/>
                  </a:cubicBezTo>
                  <a:cubicBezTo>
                    <a:pt x="49" y="93"/>
                    <a:pt x="49" y="91"/>
                    <a:pt x="48" y="90"/>
                  </a:cubicBezTo>
                  <a:cubicBezTo>
                    <a:pt x="48" y="90"/>
                    <a:pt x="48" y="90"/>
                    <a:pt x="48" y="90"/>
                  </a:cubicBezTo>
                  <a:cubicBezTo>
                    <a:pt x="48" y="90"/>
                    <a:pt x="48" y="90"/>
                    <a:pt x="48" y="90"/>
                  </a:cubicBezTo>
                  <a:cubicBezTo>
                    <a:pt x="46" y="87"/>
                    <a:pt x="46" y="87"/>
                    <a:pt x="46" y="87"/>
                  </a:cubicBezTo>
                  <a:cubicBezTo>
                    <a:pt x="46" y="84"/>
                    <a:pt x="45" y="81"/>
                    <a:pt x="45" y="78"/>
                  </a:cubicBezTo>
                  <a:cubicBezTo>
                    <a:pt x="45" y="77"/>
                    <a:pt x="45" y="77"/>
                    <a:pt x="45" y="77"/>
                  </a:cubicBezTo>
                  <a:cubicBezTo>
                    <a:pt x="45" y="77"/>
                    <a:pt x="44" y="76"/>
                    <a:pt x="44" y="75"/>
                  </a:cubicBezTo>
                  <a:cubicBezTo>
                    <a:pt x="44" y="73"/>
                    <a:pt x="42" y="70"/>
                    <a:pt x="40" y="68"/>
                  </a:cubicBezTo>
                  <a:cubicBezTo>
                    <a:pt x="40" y="67"/>
                    <a:pt x="39" y="66"/>
                    <a:pt x="38" y="65"/>
                  </a:cubicBezTo>
                  <a:cubicBezTo>
                    <a:pt x="38" y="64"/>
                    <a:pt x="38" y="64"/>
                    <a:pt x="38" y="64"/>
                  </a:cubicBezTo>
                  <a:cubicBezTo>
                    <a:pt x="36" y="62"/>
                    <a:pt x="35" y="60"/>
                    <a:pt x="35" y="57"/>
                  </a:cubicBezTo>
                  <a:cubicBezTo>
                    <a:pt x="35" y="55"/>
                    <a:pt x="36" y="54"/>
                    <a:pt x="37" y="53"/>
                  </a:cubicBezTo>
                  <a:cubicBezTo>
                    <a:pt x="37" y="53"/>
                    <a:pt x="37" y="53"/>
                    <a:pt x="37" y="53"/>
                  </a:cubicBezTo>
                  <a:cubicBezTo>
                    <a:pt x="37" y="53"/>
                    <a:pt x="37" y="52"/>
                    <a:pt x="37" y="52"/>
                  </a:cubicBezTo>
                  <a:cubicBezTo>
                    <a:pt x="37" y="51"/>
                    <a:pt x="37" y="51"/>
                    <a:pt x="37" y="50"/>
                  </a:cubicBezTo>
                  <a:cubicBezTo>
                    <a:pt x="37" y="49"/>
                    <a:pt x="37" y="48"/>
                    <a:pt x="37" y="47"/>
                  </a:cubicBezTo>
                  <a:cubicBezTo>
                    <a:pt x="37" y="43"/>
                    <a:pt x="37" y="41"/>
                    <a:pt x="37" y="40"/>
                  </a:cubicBezTo>
                  <a:cubicBezTo>
                    <a:pt x="36" y="39"/>
                    <a:pt x="36" y="39"/>
                    <a:pt x="36" y="39"/>
                  </a:cubicBezTo>
                  <a:cubicBezTo>
                    <a:pt x="36" y="39"/>
                    <a:pt x="36" y="39"/>
                    <a:pt x="35" y="38"/>
                  </a:cubicBezTo>
                  <a:cubicBezTo>
                    <a:pt x="35" y="37"/>
                    <a:pt x="34" y="37"/>
                    <a:pt x="34" y="36"/>
                  </a:cubicBezTo>
                  <a:cubicBezTo>
                    <a:pt x="33" y="36"/>
                    <a:pt x="33" y="36"/>
                    <a:pt x="33" y="36"/>
                  </a:cubicBezTo>
                  <a:cubicBezTo>
                    <a:pt x="33" y="35"/>
                    <a:pt x="32" y="35"/>
                    <a:pt x="32" y="34"/>
                  </a:cubicBezTo>
                  <a:cubicBezTo>
                    <a:pt x="28" y="30"/>
                    <a:pt x="28" y="30"/>
                    <a:pt x="28" y="30"/>
                  </a:cubicBezTo>
                  <a:cubicBezTo>
                    <a:pt x="27" y="29"/>
                    <a:pt x="26" y="28"/>
                    <a:pt x="26" y="27"/>
                  </a:cubicBezTo>
                  <a:cubicBezTo>
                    <a:pt x="24" y="25"/>
                    <a:pt x="24" y="25"/>
                    <a:pt x="24" y="25"/>
                  </a:cubicBezTo>
                  <a:cubicBezTo>
                    <a:pt x="20" y="20"/>
                    <a:pt x="15" y="15"/>
                    <a:pt x="12" y="8"/>
                  </a:cubicBezTo>
                  <a:cubicBezTo>
                    <a:pt x="10" y="5"/>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1522"/>
            <p:cNvSpPr/>
            <p:nvPr/>
          </p:nvSpPr>
          <p:spPr bwMode="auto">
            <a:xfrm>
              <a:off x="420" y="0"/>
              <a:ext cx="498" cy="641"/>
            </a:xfrm>
            <a:custGeom>
              <a:gdLst>
                <a:gd name="T0" fmla="*/ 7 w 211"/>
                <a:gd name="T1" fmla="*/ 5 h 271"/>
                <a:gd name="T2" fmla="*/ 22 w 211"/>
                <a:gd name="T3" fmla="*/ 25 h 271"/>
                <a:gd name="T4" fmla="*/ 27 w 211"/>
                <a:gd name="T5" fmla="*/ 31 h 271"/>
                <a:gd name="T6" fmla="*/ 33 w 211"/>
                <a:gd name="T7" fmla="*/ 47 h 271"/>
                <a:gd name="T8" fmla="*/ 33 w 211"/>
                <a:gd name="T9" fmla="*/ 51 h 271"/>
                <a:gd name="T10" fmla="*/ 31 w 211"/>
                <a:gd name="T11" fmla="*/ 58 h 271"/>
                <a:gd name="T12" fmla="*/ 33 w 211"/>
                <a:gd name="T13" fmla="*/ 61 h 271"/>
                <a:gd name="T14" fmla="*/ 41 w 211"/>
                <a:gd name="T15" fmla="*/ 77 h 271"/>
                <a:gd name="T16" fmla="*/ 45 w 211"/>
                <a:gd name="T17" fmla="*/ 89 h 271"/>
                <a:gd name="T18" fmla="*/ 46 w 211"/>
                <a:gd name="T19" fmla="*/ 96 h 271"/>
                <a:gd name="T20" fmla="*/ 28 w 211"/>
                <a:gd name="T21" fmla="*/ 123 h 271"/>
                <a:gd name="T22" fmla="*/ 12 w 211"/>
                <a:gd name="T23" fmla="*/ 151 h 271"/>
                <a:gd name="T24" fmla="*/ 4 w 211"/>
                <a:gd name="T25" fmla="*/ 175 h 271"/>
                <a:gd name="T26" fmla="*/ 4 w 211"/>
                <a:gd name="T27" fmla="*/ 175 h 271"/>
                <a:gd name="T28" fmla="*/ 1 w 211"/>
                <a:gd name="T29" fmla="*/ 190 h 271"/>
                <a:gd name="T30" fmla="*/ 7 w 211"/>
                <a:gd name="T31" fmla="*/ 198 h 271"/>
                <a:gd name="T32" fmla="*/ 26 w 211"/>
                <a:gd name="T33" fmla="*/ 209 h 271"/>
                <a:gd name="T34" fmla="*/ 32 w 211"/>
                <a:gd name="T35" fmla="*/ 218 h 271"/>
                <a:gd name="T36" fmla="*/ 38 w 211"/>
                <a:gd name="T37" fmla="*/ 226 h 271"/>
                <a:gd name="T38" fmla="*/ 45 w 211"/>
                <a:gd name="T39" fmla="*/ 232 h 271"/>
                <a:gd name="T40" fmla="*/ 54 w 211"/>
                <a:gd name="T41" fmla="*/ 248 h 271"/>
                <a:gd name="T42" fmla="*/ 61 w 211"/>
                <a:gd name="T43" fmla="*/ 242 h 271"/>
                <a:gd name="T44" fmla="*/ 76 w 211"/>
                <a:gd name="T45" fmla="*/ 248 h 271"/>
                <a:gd name="T46" fmla="*/ 81 w 211"/>
                <a:gd name="T47" fmla="*/ 255 h 271"/>
                <a:gd name="T48" fmla="*/ 88 w 211"/>
                <a:gd name="T49" fmla="*/ 256 h 271"/>
                <a:gd name="T50" fmla="*/ 86 w 211"/>
                <a:gd name="T51" fmla="*/ 270 h 271"/>
                <a:gd name="T52" fmla="*/ 90 w 211"/>
                <a:gd name="T53" fmla="*/ 268 h 271"/>
                <a:gd name="T54" fmla="*/ 103 w 211"/>
                <a:gd name="T55" fmla="*/ 268 h 271"/>
                <a:gd name="T56" fmla="*/ 111 w 211"/>
                <a:gd name="T57" fmla="*/ 256 h 271"/>
                <a:gd name="T58" fmla="*/ 90 w 211"/>
                <a:gd name="T59" fmla="*/ 237 h 271"/>
                <a:gd name="T60" fmla="*/ 88 w 211"/>
                <a:gd name="T61" fmla="*/ 240 h 271"/>
                <a:gd name="T62" fmla="*/ 70 w 211"/>
                <a:gd name="T63" fmla="*/ 230 h 271"/>
                <a:gd name="T64" fmla="*/ 65 w 211"/>
                <a:gd name="T65" fmla="*/ 231 h 271"/>
                <a:gd name="T66" fmla="*/ 59 w 211"/>
                <a:gd name="T67" fmla="*/ 214 h 271"/>
                <a:gd name="T68" fmla="*/ 63 w 211"/>
                <a:gd name="T69" fmla="*/ 209 h 271"/>
                <a:gd name="T70" fmla="*/ 45 w 211"/>
                <a:gd name="T71" fmla="*/ 168 h 271"/>
                <a:gd name="T72" fmla="*/ 30 w 211"/>
                <a:gd name="T73" fmla="*/ 168 h 271"/>
                <a:gd name="T74" fmla="*/ 28 w 211"/>
                <a:gd name="T75" fmla="*/ 153 h 271"/>
                <a:gd name="T76" fmla="*/ 40 w 211"/>
                <a:gd name="T77" fmla="*/ 115 h 271"/>
                <a:gd name="T78" fmla="*/ 52 w 211"/>
                <a:gd name="T79" fmla="*/ 71 h 271"/>
                <a:gd name="T80" fmla="*/ 64 w 211"/>
                <a:gd name="T81" fmla="*/ 46 h 271"/>
                <a:gd name="T82" fmla="*/ 69 w 211"/>
                <a:gd name="T83" fmla="*/ 30 h 271"/>
                <a:gd name="T84" fmla="*/ 81 w 211"/>
                <a:gd name="T85" fmla="*/ 46 h 271"/>
                <a:gd name="T86" fmla="*/ 83 w 211"/>
                <a:gd name="T87" fmla="*/ 71 h 271"/>
                <a:gd name="T88" fmla="*/ 106 w 211"/>
                <a:gd name="T89" fmla="*/ 70 h 271"/>
                <a:gd name="T90" fmla="*/ 123 w 211"/>
                <a:gd name="T91" fmla="*/ 85 h 271"/>
                <a:gd name="T92" fmla="*/ 131 w 211"/>
                <a:gd name="T93" fmla="*/ 88 h 271"/>
                <a:gd name="T94" fmla="*/ 130 w 211"/>
                <a:gd name="T95" fmla="*/ 79 h 271"/>
                <a:gd name="T96" fmla="*/ 125 w 211"/>
                <a:gd name="T97" fmla="*/ 74 h 271"/>
                <a:gd name="T98" fmla="*/ 123 w 211"/>
                <a:gd name="T99" fmla="*/ 63 h 271"/>
                <a:gd name="T100" fmla="*/ 120 w 211"/>
                <a:gd name="T101" fmla="*/ 43 h 271"/>
                <a:gd name="T102" fmla="*/ 132 w 211"/>
                <a:gd name="T103" fmla="*/ 29 h 271"/>
                <a:gd name="T104" fmla="*/ 151 w 211"/>
                <a:gd name="T105" fmla="*/ 16 h 271"/>
                <a:gd name="T106" fmla="*/ 167 w 211"/>
                <a:gd name="T107" fmla="*/ 16 h 271"/>
                <a:gd name="T108" fmla="*/ 176 w 211"/>
                <a:gd name="T109" fmla="*/ 16 h 271"/>
                <a:gd name="T110" fmla="*/ 194 w 211"/>
                <a:gd name="T111" fmla="*/ 15 h 271"/>
                <a:gd name="T112" fmla="*/ 200 w 211"/>
                <a:gd name="T113" fmla="*/ 16 h 271"/>
                <a:gd name="T114" fmla="*/ 205 w 211"/>
                <a:gd name="T115" fmla="*/ 16 h 271"/>
                <a:gd name="T116" fmla="*/ 209 w 211"/>
                <a:gd name="T117" fmla="*/ 4 h 2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 h="271">
                  <a:moveTo>
                    <a:pt x="208" y="0"/>
                  </a:moveTo>
                  <a:cubicBezTo>
                    <a:pt x="5" y="0"/>
                    <a:pt x="5" y="0"/>
                    <a:pt x="5" y="0"/>
                  </a:cubicBezTo>
                  <a:cubicBezTo>
                    <a:pt x="5" y="1"/>
                    <a:pt x="6" y="3"/>
                    <a:pt x="7" y="5"/>
                  </a:cubicBezTo>
                  <a:cubicBezTo>
                    <a:pt x="10" y="10"/>
                    <a:pt x="14" y="15"/>
                    <a:pt x="19" y="21"/>
                  </a:cubicBezTo>
                  <a:cubicBezTo>
                    <a:pt x="20" y="23"/>
                    <a:pt x="20" y="23"/>
                    <a:pt x="20" y="23"/>
                  </a:cubicBezTo>
                  <a:cubicBezTo>
                    <a:pt x="21" y="23"/>
                    <a:pt x="22" y="24"/>
                    <a:pt x="22" y="25"/>
                  </a:cubicBezTo>
                  <a:cubicBezTo>
                    <a:pt x="26" y="29"/>
                    <a:pt x="26" y="29"/>
                    <a:pt x="26" y="29"/>
                  </a:cubicBezTo>
                  <a:cubicBezTo>
                    <a:pt x="27" y="30"/>
                    <a:pt x="27" y="30"/>
                    <a:pt x="27" y="30"/>
                  </a:cubicBezTo>
                  <a:cubicBezTo>
                    <a:pt x="27" y="31"/>
                    <a:pt x="27" y="31"/>
                    <a:pt x="27" y="31"/>
                  </a:cubicBezTo>
                  <a:cubicBezTo>
                    <a:pt x="28" y="32"/>
                    <a:pt x="29" y="32"/>
                    <a:pt x="30" y="33"/>
                  </a:cubicBezTo>
                  <a:cubicBezTo>
                    <a:pt x="31" y="35"/>
                    <a:pt x="32" y="36"/>
                    <a:pt x="32" y="37"/>
                  </a:cubicBezTo>
                  <a:cubicBezTo>
                    <a:pt x="33" y="39"/>
                    <a:pt x="33" y="42"/>
                    <a:pt x="33" y="47"/>
                  </a:cubicBezTo>
                  <a:cubicBezTo>
                    <a:pt x="33" y="48"/>
                    <a:pt x="33" y="48"/>
                    <a:pt x="33" y="48"/>
                  </a:cubicBezTo>
                  <a:cubicBezTo>
                    <a:pt x="33" y="48"/>
                    <a:pt x="33" y="49"/>
                    <a:pt x="33" y="50"/>
                  </a:cubicBezTo>
                  <a:cubicBezTo>
                    <a:pt x="33" y="51"/>
                    <a:pt x="33" y="51"/>
                    <a:pt x="33" y="51"/>
                  </a:cubicBezTo>
                  <a:cubicBezTo>
                    <a:pt x="34" y="52"/>
                    <a:pt x="34" y="55"/>
                    <a:pt x="32" y="57"/>
                  </a:cubicBezTo>
                  <a:cubicBezTo>
                    <a:pt x="32" y="58"/>
                    <a:pt x="32" y="58"/>
                    <a:pt x="32" y="58"/>
                  </a:cubicBezTo>
                  <a:cubicBezTo>
                    <a:pt x="31" y="58"/>
                    <a:pt x="31" y="58"/>
                    <a:pt x="31" y="58"/>
                  </a:cubicBezTo>
                  <a:cubicBezTo>
                    <a:pt x="31" y="59"/>
                    <a:pt x="32" y="59"/>
                    <a:pt x="32" y="60"/>
                  </a:cubicBezTo>
                  <a:cubicBezTo>
                    <a:pt x="32" y="60"/>
                    <a:pt x="32" y="60"/>
                    <a:pt x="32" y="60"/>
                  </a:cubicBezTo>
                  <a:cubicBezTo>
                    <a:pt x="33" y="60"/>
                    <a:pt x="33" y="61"/>
                    <a:pt x="33" y="61"/>
                  </a:cubicBezTo>
                  <a:cubicBezTo>
                    <a:pt x="34" y="62"/>
                    <a:pt x="34" y="63"/>
                    <a:pt x="35" y="64"/>
                  </a:cubicBezTo>
                  <a:cubicBezTo>
                    <a:pt x="37" y="67"/>
                    <a:pt x="40" y="70"/>
                    <a:pt x="40" y="74"/>
                  </a:cubicBezTo>
                  <a:cubicBezTo>
                    <a:pt x="41" y="75"/>
                    <a:pt x="41" y="76"/>
                    <a:pt x="41" y="77"/>
                  </a:cubicBezTo>
                  <a:cubicBezTo>
                    <a:pt x="41" y="78"/>
                    <a:pt x="41" y="78"/>
                    <a:pt x="41" y="78"/>
                  </a:cubicBezTo>
                  <a:cubicBezTo>
                    <a:pt x="41" y="79"/>
                    <a:pt x="41" y="81"/>
                    <a:pt x="42" y="83"/>
                  </a:cubicBezTo>
                  <a:cubicBezTo>
                    <a:pt x="44" y="84"/>
                    <a:pt x="44" y="87"/>
                    <a:pt x="45" y="89"/>
                  </a:cubicBezTo>
                  <a:cubicBezTo>
                    <a:pt x="45" y="90"/>
                    <a:pt x="45" y="91"/>
                    <a:pt x="45" y="92"/>
                  </a:cubicBezTo>
                  <a:cubicBezTo>
                    <a:pt x="48" y="93"/>
                    <a:pt x="48" y="93"/>
                    <a:pt x="48" y="93"/>
                  </a:cubicBezTo>
                  <a:cubicBezTo>
                    <a:pt x="46" y="96"/>
                    <a:pt x="46" y="96"/>
                    <a:pt x="46" y="96"/>
                  </a:cubicBezTo>
                  <a:cubicBezTo>
                    <a:pt x="45" y="99"/>
                    <a:pt x="43" y="102"/>
                    <a:pt x="41" y="106"/>
                  </a:cubicBezTo>
                  <a:cubicBezTo>
                    <a:pt x="39" y="109"/>
                    <a:pt x="37" y="112"/>
                    <a:pt x="35" y="115"/>
                  </a:cubicBezTo>
                  <a:cubicBezTo>
                    <a:pt x="32" y="118"/>
                    <a:pt x="30" y="121"/>
                    <a:pt x="28" y="123"/>
                  </a:cubicBezTo>
                  <a:cubicBezTo>
                    <a:pt x="25" y="126"/>
                    <a:pt x="24" y="130"/>
                    <a:pt x="22" y="133"/>
                  </a:cubicBezTo>
                  <a:cubicBezTo>
                    <a:pt x="14" y="152"/>
                    <a:pt x="14" y="152"/>
                    <a:pt x="14" y="152"/>
                  </a:cubicBezTo>
                  <a:cubicBezTo>
                    <a:pt x="12" y="151"/>
                    <a:pt x="12" y="151"/>
                    <a:pt x="12" y="151"/>
                  </a:cubicBezTo>
                  <a:cubicBezTo>
                    <a:pt x="12" y="151"/>
                    <a:pt x="12" y="151"/>
                    <a:pt x="12" y="151"/>
                  </a:cubicBezTo>
                  <a:cubicBezTo>
                    <a:pt x="10" y="157"/>
                    <a:pt x="5" y="165"/>
                    <a:pt x="4" y="172"/>
                  </a:cubicBezTo>
                  <a:cubicBezTo>
                    <a:pt x="4" y="173"/>
                    <a:pt x="4" y="174"/>
                    <a:pt x="4" y="175"/>
                  </a:cubicBezTo>
                  <a:cubicBezTo>
                    <a:pt x="4" y="175"/>
                    <a:pt x="3" y="174"/>
                    <a:pt x="3" y="173"/>
                  </a:cubicBezTo>
                  <a:cubicBezTo>
                    <a:pt x="3" y="173"/>
                    <a:pt x="3" y="173"/>
                    <a:pt x="3" y="173"/>
                  </a:cubicBezTo>
                  <a:cubicBezTo>
                    <a:pt x="3" y="174"/>
                    <a:pt x="4" y="175"/>
                    <a:pt x="4" y="175"/>
                  </a:cubicBezTo>
                  <a:cubicBezTo>
                    <a:pt x="4" y="177"/>
                    <a:pt x="4" y="179"/>
                    <a:pt x="3" y="182"/>
                  </a:cubicBezTo>
                  <a:cubicBezTo>
                    <a:pt x="1" y="185"/>
                    <a:pt x="2" y="188"/>
                    <a:pt x="1" y="191"/>
                  </a:cubicBezTo>
                  <a:cubicBezTo>
                    <a:pt x="1" y="190"/>
                    <a:pt x="1" y="190"/>
                    <a:pt x="1" y="190"/>
                  </a:cubicBezTo>
                  <a:cubicBezTo>
                    <a:pt x="0" y="192"/>
                    <a:pt x="2" y="197"/>
                    <a:pt x="3" y="199"/>
                  </a:cubicBezTo>
                  <a:cubicBezTo>
                    <a:pt x="4" y="201"/>
                    <a:pt x="6" y="202"/>
                    <a:pt x="7" y="202"/>
                  </a:cubicBezTo>
                  <a:cubicBezTo>
                    <a:pt x="8" y="202"/>
                    <a:pt x="8" y="201"/>
                    <a:pt x="7" y="198"/>
                  </a:cubicBezTo>
                  <a:cubicBezTo>
                    <a:pt x="9" y="197"/>
                    <a:pt x="11" y="197"/>
                    <a:pt x="12" y="197"/>
                  </a:cubicBezTo>
                  <a:cubicBezTo>
                    <a:pt x="14" y="197"/>
                    <a:pt x="16" y="198"/>
                    <a:pt x="18" y="201"/>
                  </a:cubicBezTo>
                  <a:cubicBezTo>
                    <a:pt x="19" y="203"/>
                    <a:pt x="24" y="209"/>
                    <a:pt x="26" y="209"/>
                  </a:cubicBezTo>
                  <a:cubicBezTo>
                    <a:pt x="26" y="209"/>
                    <a:pt x="26" y="209"/>
                    <a:pt x="26" y="209"/>
                  </a:cubicBezTo>
                  <a:cubicBezTo>
                    <a:pt x="26" y="211"/>
                    <a:pt x="25" y="215"/>
                    <a:pt x="25" y="215"/>
                  </a:cubicBezTo>
                  <a:cubicBezTo>
                    <a:pt x="27" y="216"/>
                    <a:pt x="31" y="216"/>
                    <a:pt x="32" y="218"/>
                  </a:cubicBezTo>
                  <a:cubicBezTo>
                    <a:pt x="32" y="220"/>
                    <a:pt x="33" y="224"/>
                    <a:pt x="34" y="225"/>
                  </a:cubicBezTo>
                  <a:cubicBezTo>
                    <a:pt x="35" y="226"/>
                    <a:pt x="35" y="226"/>
                    <a:pt x="36" y="226"/>
                  </a:cubicBezTo>
                  <a:cubicBezTo>
                    <a:pt x="36" y="226"/>
                    <a:pt x="37" y="226"/>
                    <a:pt x="38" y="226"/>
                  </a:cubicBezTo>
                  <a:cubicBezTo>
                    <a:pt x="38" y="225"/>
                    <a:pt x="39" y="225"/>
                    <a:pt x="40" y="225"/>
                  </a:cubicBezTo>
                  <a:cubicBezTo>
                    <a:pt x="40" y="225"/>
                    <a:pt x="41" y="225"/>
                    <a:pt x="41" y="225"/>
                  </a:cubicBezTo>
                  <a:cubicBezTo>
                    <a:pt x="39" y="230"/>
                    <a:pt x="40" y="232"/>
                    <a:pt x="45" y="232"/>
                  </a:cubicBezTo>
                  <a:cubicBezTo>
                    <a:pt x="44" y="234"/>
                    <a:pt x="43" y="236"/>
                    <a:pt x="44" y="239"/>
                  </a:cubicBezTo>
                  <a:cubicBezTo>
                    <a:pt x="45" y="242"/>
                    <a:pt x="50" y="247"/>
                    <a:pt x="54" y="250"/>
                  </a:cubicBezTo>
                  <a:cubicBezTo>
                    <a:pt x="54" y="248"/>
                    <a:pt x="54" y="248"/>
                    <a:pt x="54" y="248"/>
                  </a:cubicBezTo>
                  <a:cubicBezTo>
                    <a:pt x="54" y="247"/>
                    <a:pt x="55" y="246"/>
                    <a:pt x="55" y="245"/>
                  </a:cubicBezTo>
                  <a:cubicBezTo>
                    <a:pt x="57" y="238"/>
                    <a:pt x="57" y="238"/>
                    <a:pt x="57" y="238"/>
                  </a:cubicBezTo>
                  <a:cubicBezTo>
                    <a:pt x="61" y="242"/>
                    <a:pt x="61" y="242"/>
                    <a:pt x="61" y="242"/>
                  </a:cubicBezTo>
                  <a:cubicBezTo>
                    <a:pt x="65" y="245"/>
                    <a:pt x="66" y="246"/>
                    <a:pt x="68" y="246"/>
                  </a:cubicBezTo>
                  <a:cubicBezTo>
                    <a:pt x="71" y="246"/>
                    <a:pt x="73" y="246"/>
                    <a:pt x="75" y="247"/>
                  </a:cubicBezTo>
                  <a:cubicBezTo>
                    <a:pt x="76" y="248"/>
                    <a:pt x="76" y="248"/>
                    <a:pt x="76" y="248"/>
                  </a:cubicBezTo>
                  <a:cubicBezTo>
                    <a:pt x="77" y="248"/>
                    <a:pt x="77" y="248"/>
                    <a:pt x="78" y="249"/>
                  </a:cubicBezTo>
                  <a:cubicBezTo>
                    <a:pt x="78" y="249"/>
                    <a:pt x="78" y="249"/>
                    <a:pt x="78" y="249"/>
                  </a:cubicBezTo>
                  <a:cubicBezTo>
                    <a:pt x="80" y="251"/>
                    <a:pt x="81" y="253"/>
                    <a:pt x="81" y="255"/>
                  </a:cubicBezTo>
                  <a:cubicBezTo>
                    <a:pt x="81" y="255"/>
                    <a:pt x="81" y="255"/>
                    <a:pt x="81" y="255"/>
                  </a:cubicBezTo>
                  <a:cubicBezTo>
                    <a:pt x="82" y="254"/>
                    <a:pt x="83" y="254"/>
                    <a:pt x="84" y="254"/>
                  </a:cubicBezTo>
                  <a:cubicBezTo>
                    <a:pt x="85" y="254"/>
                    <a:pt x="87" y="255"/>
                    <a:pt x="88" y="256"/>
                  </a:cubicBezTo>
                  <a:cubicBezTo>
                    <a:pt x="90" y="258"/>
                    <a:pt x="90" y="260"/>
                    <a:pt x="89" y="263"/>
                  </a:cubicBezTo>
                  <a:cubicBezTo>
                    <a:pt x="89" y="265"/>
                    <a:pt x="88" y="266"/>
                    <a:pt x="87" y="268"/>
                  </a:cubicBezTo>
                  <a:cubicBezTo>
                    <a:pt x="86" y="269"/>
                    <a:pt x="86" y="270"/>
                    <a:pt x="86" y="270"/>
                  </a:cubicBezTo>
                  <a:cubicBezTo>
                    <a:pt x="87" y="271"/>
                    <a:pt x="87" y="271"/>
                    <a:pt x="87" y="271"/>
                  </a:cubicBezTo>
                  <a:cubicBezTo>
                    <a:pt x="87" y="271"/>
                    <a:pt x="88" y="271"/>
                    <a:pt x="88" y="270"/>
                  </a:cubicBezTo>
                  <a:cubicBezTo>
                    <a:pt x="90" y="268"/>
                    <a:pt x="90" y="268"/>
                    <a:pt x="90" y="268"/>
                  </a:cubicBezTo>
                  <a:cubicBezTo>
                    <a:pt x="91" y="267"/>
                    <a:pt x="94" y="265"/>
                    <a:pt x="97" y="265"/>
                  </a:cubicBezTo>
                  <a:cubicBezTo>
                    <a:pt x="99" y="265"/>
                    <a:pt x="101" y="267"/>
                    <a:pt x="102" y="268"/>
                  </a:cubicBezTo>
                  <a:cubicBezTo>
                    <a:pt x="103" y="268"/>
                    <a:pt x="103" y="268"/>
                    <a:pt x="103" y="268"/>
                  </a:cubicBezTo>
                  <a:cubicBezTo>
                    <a:pt x="106" y="267"/>
                    <a:pt x="107" y="266"/>
                    <a:pt x="108" y="264"/>
                  </a:cubicBezTo>
                  <a:cubicBezTo>
                    <a:pt x="109" y="262"/>
                    <a:pt x="110" y="259"/>
                    <a:pt x="111" y="256"/>
                  </a:cubicBezTo>
                  <a:cubicBezTo>
                    <a:pt x="111" y="256"/>
                    <a:pt x="111" y="256"/>
                    <a:pt x="111" y="256"/>
                  </a:cubicBezTo>
                  <a:cubicBezTo>
                    <a:pt x="110" y="255"/>
                    <a:pt x="109" y="254"/>
                    <a:pt x="108" y="253"/>
                  </a:cubicBezTo>
                  <a:cubicBezTo>
                    <a:pt x="106" y="251"/>
                    <a:pt x="103" y="249"/>
                    <a:pt x="102" y="247"/>
                  </a:cubicBezTo>
                  <a:cubicBezTo>
                    <a:pt x="99" y="242"/>
                    <a:pt x="96" y="238"/>
                    <a:pt x="90" y="237"/>
                  </a:cubicBezTo>
                  <a:cubicBezTo>
                    <a:pt x="91" y="238"/>
                    <a:pt x="92" y="239"/>
                    <a:pt x="92" y="240"/>
                  </a:cubicBezTo>
                  <a:cubicBezTo>
                    <a:pt x="92" y="239"/>
                    <a:pt x="92" y="239"/>
                    <a:pt x="91" y="239"/>
                  </a:cubicBezTo>
                  <a:cubicBezTo>
                    <a:pt x="90" y="239"/>
                    <a:pt x="89" y="240"/>
                    <a:pt x="88" y="240"/>
                  </a:cubicBezTo>
                  <a:cubicBezTo>
                    <a:pt x="87" y="240"/>
                    <a:pt x="86" y="240"/>
                    <a:pt x="85" y="240"/>
                  </a:cubicBezTo>
                  <a:cubicBezTo>
                    <a:pt x="85" y="240"/>
                    <a:pt x="84" y="240"/>
                    <a:pt x="84" y="240"/>
                  </a:cubicBezTo>
                  <a:cubicBezTo>
                    <a:pt x="82" y="240"/>
                    <a:pt x="73" y="230"/>
                    <a:pt x="70" y="230"/>
                  </a:cubicBezTo>
                  <a:cubicBezTo>
                    <a:pt x="70" y="230"/>
                    <a:pt x="70" y="230"/>
                    <a:pt x="70" y="230"/>
                  </a:cubicBezTo>
                  <a:cubicBezTo>
                    <a:pt x="69" y="231"/>
                    <a:pt x="68" y="231"/>
                    <a:pt x="67" y="231"/>
                  </a:cubicBezTo>
                  <a:cubicBezTo>
                    <a:pt x="66" y="231"/>
                    <a:pt x="66" y="231"/>
                    <a:pt x="65" y="231"/>
                  </a:cubicBezTo>
                  <a:cubicBezTo>
                    <a:pt x="64" y="230"/>
                    <a:pt x="65" y="228"/>
                    <a:pt x="64" y="227"/>
                  </a:cubicBezTo>
                  <a:cubicBezTo>
                    <a:pt x="62" y="225"/>
                    <a:pt x="61" y="224"/>
                    <a:pt x="59" y="222"/>
                  </a:cubicBezTo>
                  <a:cubicBezTo>
                    <a:pt x="57" y="219"/>
                    <a:pt x="58" y="217"/>
                    <a:pt x="59" y="214"/>
                  </a:cubicBezTo>
                  <a:cubicBezTo>
                    <a:pt x="62" y="219"/>
                    <a:pt x="66" y="225"/>
                    <a:pt x="70" y="230"/>
                  </a:cubicBezTo>
                  <a:cubicBezTo>
                    <a:pt x="69" y="229"/>
                    <a:pt x="69" y="229"/>
                    <a:pt x="68" y="227"/>
                  </a:cubicBezTo>
                  <a:cubicBezTo>
                    <a:pt x="65" y="221"/>
                    <a:pt x="65" y="215"/>
                    <a:pt x="63" y="209"/>
                  </a:cubicBezTo>
                  <a:cubicBezTo>
                    <a:pt x="60" y="200"/>
                    <a:pt x="56" y="191"/>
                    <a:pt x="52" y="183"/>
                  </a:cubicBezTo>
                  <a:cubicBezTo>
                    <a:pt x="50" y="178"/>
                    <a:pt x="49" y="174"/>
                    <a:pt x="47" y="169"/>
                  </a:cubicBezTo>
                  <a:cubicBezTo>
                    <a:pt x="47" y="169"/>
                    <a:pt x="46" y="168"/>
                    <a:pt x="45" y="168"/>
                  </a:cubicBezTo>
                  <a:cubicBezTo>
                    <a:pt x="43" y="168"/>
                    <a:pt x="39" y="170"/>
                    <a:pt x="38" y="170"/>
                  </a:cubicBezTo>
                  <a:cubicBezTo>
                    <a:pt x="37" y="170"/>
                    <a:pt x="35" y="171"/>
                    <a:pt x="33" y="171"/>
                  </a:cubicBezTo>
                  <a:cubicBezTo>
                    <a:pt x="31" y="171"/>
                    <a:pt x="30" y="170"/>
                    <a:pt x="30" y="168"/>
                  </a:cubicBezTo>
                  <a:cubicBezTo>
                    <a:pt x="31" y="167"/>
                    <a:pt x="32" y="166"/>
                    <a:pt x="33" y="166"/>
                  </a:cubicBezTo>
                  <a:cubicBezTo>
                    <a:pt x="32" y="165"/>
                    <a:pt x="31" y="163"/>
                    <a:pt x="30" y="161"/>
                  </a:cubicBezTo>
                  <a:cubicBezTo>
                    <a:pt x="29" y="159"/>
                    <a:pt x="28" y="156"/>
                    <a:pt x="28" y="153"/>
                  </a:cubicBezTo>
                  <a:cubicBezTo>
                    <a:pt x="30" y="148"/>
                    <a:pt x="31" y="143"/>
                    <a:pt x="29" y="137"/>
                  </a:cubicBezTo>
                  <a:cubicBezTo>
                    <a:pt x="30" y="137"/>
                    <a:pt x="32" y="132"/>
                    <a:pt x="33" y="130"/>
                  </a:cubicBezTo>
                  <a:cubicBezTo>
                    <a:pt x="35" y="125"/>
                    <a:pt x="38" y="120"/>
                    <a:pt x="40" y="115"/>
                  </a:cubicBezTo>
                  <a:cubicBezTo>
                    <a:pt x="44" y="106"/>
                    <a:pt x="48" y="96"/>
                    <a:pt x="52" y="87"/>
                  </a:cubicBezTo>
                  <a:cubicBezTo>
                    <a:pt x="54" y="84"/>
                    <a:pt x="53" y="84"/>
                    <a:pt x="53" y="82"/>
                  </a:cubicBezTo>
                  <a:cubicBezTo>
                    <a:pt x="53" y="78"/>
                    <a:pt x="52" y="74"/>
                    <a:pt x="52" y="71"/>
                  </a:cubicBezTo>
                  <a:cubicBezTo>
                    <a:pt x="52" y="66"/>
                    <a:pt x="56" y="62"/>
                    <a:pt x="55" y="58"/>
                  </a:cubicBezTo>
                  <a:cubicBezTo>
                    <a:pt x="55" y="55"/>
                    <a:pt x="51" y="52"/>
                    <a:pt x="53" y="50"/>
                  </a:cubicBezTo>
                  <a:cubicBezTo>
                    <a:pt x="56" y="47"/>
                    <a:pt x="59" y="47"/>
                    <a:pt x="64" y="46"/>
                  </a:cubicBezTo>
                  <a:cubicBezTo>
                    <a:pt x="64" y="46"/>
                    <a:pt x="65" y="46"/>
                    <a:pt x="66" y="45"/>
                  </a:cubicBezTo>
                  <a:cubicBezTo>
                    <a:pt x="63" y="44"/>
                    <a:pt x="61" y="41"/>
                    <a:pt x="61" y="38"/>
                  </a:cubicBezTo>
                  <a:cubicBezTo>
                    <a:pt x="61" y="34"/>
                    <a:pt x="64" y="30"/>
                    <a:pt x="69" y="30"/>
                  </a:cubicBezTo>
                  <a:cubicBezTo>
                    <a:pt x="73" y="30"/>
                    <a:pt x="77" y="34"/>
                    <a:pt x="77" y="38"/>
                  </a:cubicBezTo>
                  <a:cubicBezTo>
                    <a:pt x="77" y="41"/>
                    <a:pt x="75" y="43"/>
                    <a:pt x="73" y="44"/>
                  </a:cubicBezTo>
                  <a:cubicBezTo>
                    <a:pt x="76" y="46"/>
                    <a:pt x="79" y="46"/>
                    <a:pt x="81" y="46"/>
                  </a:cubicBezTo>
                  <a:cubicBezTo>
                    <a:pt x="80" y="53"/>
                    <a:pt x="79" y="60"/>
                    <a:pt x="78" y="67"/>
                  </a:cubicBezTo>
                  <a:cubicBezTo>
                    <a:pt x="77" y="70"/>
                    <a:pt x="79" y="71"/>
                    <a:pt x="80" y="71"/>
                  </a:cubicBezTo>
                  <a:cubicBezTo>
                    <a:pt x="81" y="71"/>
                    <a:pt x="82" y="71"/>
                    <a:pt x="83" y="71"/>
                  </a:cubicBezTo>
                  <a:cubicBezTo>
                    <a:pt x="88" y="70"/>
                    <a:pt x="93" y="70"/>
                    <a:pt x="98" y="70"/>
                  </a:cubicBezTo>
                  <a:cubicBezTo>
                    <a:pt x="100" y="69"/>
                    <a:pt x="101" y="69"/>
                    <a:pt x="103" y="69"/>
                  </a:cubicBezTo>
                  <a:cubicBezTo>
                    <a:pt x="104" y="69"/>
                    <a:pt x="105" y="69"/>
                    <a:pt x="106" y="70"/>
                  </a:cubicBezTo>
                  <a:cubicBezTo>
                    <a:pt x="109" y="72"/>
                    <a:pt x="115" y="80"/>
                    <a:pt x="119" y="80"/>
                  </a:cubicBezTo>
                  <a:cubicBezTo>
                    <a:pt x="120" y="80"/>
                    <a:pt x="121" y="80"/>
                    <a:pt x="121" y="79"/>
                  </a:cubicBezTo>
                  <a:cubicBezTo>
                    <a:pt x="119" y="85"/>
                    <a:pt x="119" y="83"/>
                    <a:pt x="123" y="85"/>
                  </a:cubicBezTo>
                  <a:cubicBezTo>
                    <a:pt x="125" y="86"/>
                    <a:pt x="126" y="87"/>
                    <a:pt x="127" y="88"/>
                  </a:cubicBezTo>
                  <a:cubicBezTo>
                    <a:pt x="128" y="88"/>
                    <a:pt x="129" y="88"/>
                    <a:pt x="129" y="88"/>
                  </a:cubicBezTo>
                  <a:cubicBezTo>
                    <a:pt x="130" y="88"/>
                    <a:pt x="130" y="88"/>
                    <a:pt x="131" y="88"/>
                  </a:cubicBezTo>
                  <a:cubicBezTo>
                    <a:pt x="130" y="86"/>
                    <a:pt x="130" y="83"/>
                    <a:pt x="130" y="81"/>
                  </a:cubicBezTo>
                  <a:cubicBezTo>
                    <a:pt x="130" y="80"/>
                    <a:pt x="130" y="80"/>
                    <a:pt x="130" y="79"/>
                  </a:cubicBezTo>
                  <a:cubicBezTo>
                    <a:pt x="130" y="79"/>
                    <a:pt x="130" y="79"/>
                    <a:pt x="130" y="79"/>
                  </a:cubicBezTo>
                  <a:cubicBezTo>
                    <a:pt x="130" y="78"/>
                    <a:pt x="130" y="78"/>
                    <a:pt x="130" y="78"/>
                  </a:cubicBezTo>
                  <a:cubicBezTo>
                    <a:pt x="130" y="77"/>
                    <a:pt x="129" y="77"/>
                    <a:pt x="128" y="76"/>
                  </a:cubicBezTo>
                  <a:cubicBezTo>
                    <a:pt x="125" y="74"/>
                    <a:pt x="125" y="74"/>
                    <a:pt x="125" y="74"/>
                  </a:cubicBezTo>
                  <a:cubicBezTo>
                    <a:pt x="125" y="73"/>
                    <a:pt x="124" y="72"/>
                    <a:pt x="124" y="72"/>
                  </a:cubicBezTo>
                  <a:cubicBezTo>
                    <a:pt x="122" y="69"/>
                    <a:pt x="122" y="67"/>
                    <a:pt x="123" y="64"/>
                  </a:cubicBezTo>
                  <a:cubicBezTo>
                    <a:pt x="123" y="63"/>
                    <a:pt x="123" y="63"/>
                    <a:pt x="123" y="63"/>
                  </a:cubicBezTo>
                  <a:cubicBezTo>
                    <a:pt x="122" y="62"/>
                    <a:pt x="122" y="61"/>
                    <a:pt x="121" y="59"/>
                  </a:cubicBezTo>
                  <a:cubicBezTo>
                    <a:pt x="121" y="58"/>
                    <a:pt x="121" y="58"/>
                    <a:pt x="121" y="58"/>
                  </a:cubicBezTo>
                  <a:cubicBezTo>
                    <a:pt x="118" y="54"/>
                    <a:pt x="115" y="47"/>
                    <a:pt x="120" y="43"/>
                  </a:cubicBezTo>
                  <a:cubicBezTo>
                    <a:pt x="121" y="41"/>
                    <a:pt x="121" y="41"/>
                    <a:pt x="121" y="41"/>
                  </a:cubicBezTo>
                  <a:cubicBezTo>
                    <a:pt x="122" y="41"/>
                    <a:pt x="123" y="40"/>
                    <a:pt x="123" y="39"/>
                  </a:cubicBezTo>
                  <a:cubicBezTo>
                    <a:pt x="127" y="36"/>
                    <a:pt x="129" y="33"/>
                    <a:pt x="132" y="29"/>
                  </a:cubicBezTo>
                  <a:cubicBezTo>
                    <a:pt x="133" y="27"/>
                    <a:pt x="134" y="25"/>
                    <a:pt x="136" y="23"/>
                  </a:cubicBezTo>
                  <a:cubicBezTo>
                    <a:pt x="136" y="22"/>
                    <a:pt x="137" y="22"/>
                    <a:pt x="138" y="21"/>
                  </a:cubicBezTo>
                  <a:cubicBezTo>
                    <a:pt x="140" y="18"/>
                    <a:pt x="145" y="16"/>
                    <a:pt x="151" y="16"/>
                  </a:cubicBezTo>
                  <a:cubicBezTo>
                    <a:pt x="152" y="16"/>
                    <a:pt x="153" y="16"/>
                    <a:pt x="155" y="15"/>
                  </a:cubicBezTo>
                  <a:cubicBezTo>
                    <a:pt x="156" y="15"/>
                    <a:pt x="157" y="15"/>
                    <a:pt x="158" y="15"/>
                  </a:cubicBezTo>
                  <a:cubicBezTo>
                    <a:pt x="161" y="15"/>
                    <a:pt x="164" y="16"/>
                    <a:pt x="167" y="16"/>
                  </a:cubicBezTo>
                  <a:cubicBezTo>
                    <a:pt x="168" y="16"/>
                    <a:pt x="168" y="16"/>
                    <a:pt x="168" y="16"/>
                  </a:cubicBezTo>
                  <a:cubicBezTo>
                    <a:pt x="171" y="16"/>
                    <a:pt x="173" y="16"/>
                    <a:pt x="175" y="16"/>
                  </a:cubicBezTo>
                  <a:cubicBezTo>
                    <a:pt x="176" y="16"/>
                    <a:pt x="176" y="16"/>
                    <a:pt x="176" y="16"/>
                  </a:cubicBezTo>
                  <a:cubicBezTo>
                    <a:pt x="179" y="16"/>
                    <a:pt x="182" y="16"/>
                    <a:pt x="185" y="16"/>
                  </a:cubicBezTo>
                  <a:cubicBezTo>
                    <a:pt x="187" y="16"/>
                    <a:pt x="187" y="16"/>
                    <a:pt x="187" y="16"/>
                  </a:cubicBezTo>
                  <a:cubicBezTo>
                    <a:pt x="189" y="15"/>
                    <a:pt x="191" y="15"/>
                    <a:pt x="194" y="15"/>
                  </a:cubicBezTo>
                  <a:cubicBezTo>
                    <a:pt x="194" y="15"/>
                    <a:pt x="194" y="15"/>
                    <a:pt x="194" y="15"/>
                  </a:cubicBezTo>
                  <a:cubicBezTo>
                    <a:pt x="195" y="15"/>
                    <a:pt x="195" y="15"/>
                    <a:pt x="195" y="15"/>
                  </a:cubicBezTo>
                  <a:cubicBezTo>
                    <a:pt x="197" y="15"/>
                    <a:pt x="199" y="15"/>
                    <a:pt x="200" y="16"/>
                  </a:cubicBezTo>
                  <a:cubicBezTo>
                    <a:pt x="201" y="17"/>
                    <a:pt x="201" y="17"/>
                    <a:pt x="201" y="18"/>
                  </a:cubicBezTo>
                  <a:cubicBezTo>
                    <a:pt x="205" y="16"/>
                    <a:pt x="205" y="16"/>
                    <a:pt x="205" y="16"/>
                  </a:cubicBezTo>
                  <a:cubicBezTo>
                    <a:pt x="205" y="16"/>
                    <a:pt x="205" y="16"/>
                    <a:pt x="205" y="16"/>
                  </a:cubicBezTo>
                  <a:cubicBezTo>
                    <a:pt x="207" y="15"/>
                    <a:pt x="208" y="15"/>
                    <a:pt x="209" y="14"/>
                  </a:cubicBezTo>
                  <a:cubicBezTo>
                    <a:pt x="210" y="14"/>
                    <a:pt x="210" y="14"/>
                    <a:pt x="210" y="14"/>
                  </a:cubicBezTo>
                  <a:cubicBezTo>
                    <a:pt x="211" y="11"/>
                    <a:pt x="210" y="8"/>
                    <a:pt x="209" y="4"/>
                  </a:cubicBezTo>
                  <a:cubicBezTo>
                    <a:pt x="209" y="3"/>
                    <a:pt x="209" y="1"/>
                    <a:pt x="2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1523"/>
            <p:cNvSpPr/>
            <p:nvPr/>
          </p:nvSpPr>
          <p:spPr bwMode="auto">
            <a:xfrm>
              <a:off x="916" y="0"/>
              <a:ext cx="137" cy="69"/>
            </a:xfrm>
            <a:custGeom>
              <a:gdLst>
                <a:gd name="T0" fmla="*/ 57 w 58"/>
                <a:gd name="T1" fmla="*/ 0 h 29"/>
                <a:gd name="T2" fmla="*/ 6 w 58"/>
                <a:gd name="T3" fmla="*/ 0 h 29"/>
                <a:gd name="T4" fmla="*/ 6 w 58"/>
                <a:gd name="T5" fmla="*/ 3 h 29"/>
                <a:gd name="T6" fmla="*/ 7 w 58"/>
                <a:gd name="T7" fmla="*/ 16 h 29"/>
                <a:gd name="T8" fmla="*/ 6 w 58"/>
                <a:gd name="T9" fmla="*/ 17 h 29"/>
                <a:gd name="T10" fmla="*/ 3 w 58"/>
                <a:gd name="T11" fmla="*/ 20 h 29"/>
                <a:gd name="T12" fmla="*/ 0 w 58"/>
                <a:gd name="T13" fmla="*/ 22 h 29"/>
                <a:gd name="T14" fmla="*/ 0 w 58"/>
                <a:gd name="T15" fmla="*/ 22 h 29"/>
                <a:gd name="T16" fmla="*/ 2 w 58"/>
                <a:gd name="T17" fmla="*/ 24 h 29"/>
                <a:gd name="T18" fmla="*/ 2 w 58"/>
                <a:gd name="T19" fmla="*/ 24 h 29"/>
                <a:gd name="T20" fmla="*/ 4 w 58"/>
                <a:gd name="T21" fmla="*/ 24 h 29"/>
                <a:gd name="T22" fmla="*/ 7 w 58"/>
                <a:gd name="T23" fmla="*/ 24 h 29"/>
                <a:gd name="T24" fmla="*/ 7 w 58"/>
                <a:gd name="T25" fmla="*/ 24 h 29"/>
                <a:gd name="T26" fmla="*/ 9 w 58"/>
                <a:gd name="T27" fmla="*/ 24 h 29"/>
                <a:gd name="T28" fmla="*/ 14 w 58"/>
                <a:gd name="T29" fmla="*/ 26 h 29"/>
                <a:gd name="T30" fmla="*/ 15 w 58"/>
                <a:gd name="T31" fmla="*/ 27 h 29"/>
                <a:gd name="T32" fmla="*/ 16 w 58"/>
                <a:gd name="T33" fmla="*/ 29 h 29"/>
                <a:gd name="T34" fmla="*/ 16 w 58"/>
                <a:gd name="T35" fmla="*/ 29 h 29"/>
                <a:gd name="T36" fmla="*/ 17 w 58"/>
                <a:gd name="T37" fmla="*/ 29 h 29"/>
                <a:gd name="T38" fmla="*/ 17 w 58"/>
                <a:gd name="T39" fmla="*/ 29 h 29"/>
                <a:gd name="T40" fmla="*/ 18 w 58"/>
                <a:gd name="T41" fmla="*/ 29 h 29"/>
                <a:gd name="T42" fmla="*/ 18 w 58"/>
                <a:gd name="T43" fmla="*/ 29 h 29"/>
                <a:gd name="T44" fmla="*/ 18 w 58"/>
                <a:gd name="T45" fmla="*/ 29 h 29"/>
                <a:gd name="T46" fmla="*/ 16 w 58"/>
                <a:gd name="T47" fmla="*/ 25 h 29"/>
                <a:gd name="T48" fmla="*/ 14 w 58"/>
                <a:gd name="T49" fmla="*/ 21 h 29"/>
                <a:gd name="T50" fmla="*/ 9 w 58"/>
                <a:gd name="T51" fmla="*/ 12 h 29"/>
                <a:gd name="T52" fmla="*/ 19 w 58"/>
                <a:gd name="T53" fmla="*/ 16 h 29"/>
                <a:gd name="T54" fmla="*/ 19 w 58"/>
                <a:gd name="T55" fmla="*/ 16 h 29"/>
                <a:gd name="T56" fmla="*/ 22 w 58"/>
                <a:gd name="T57" fmla="*/ 14 h 29"/>
                <a:gd name="T58" fmla="*/ 23 w 58"/>
                <a:gd name="T59" fmla="*/ 14 h 29"/>
                <a:gd name="T60" fmla="*/ 29 w 58"/>
                <a:gd name="T61" fmla="*/ 10 h 29"/>
                <a:gd name="T62" fmla="*/ 31 w 58"/>
                <a:gd name="T63" fmla="*/ 10 h 29"/>
                <a:gd name="T64" fmla="*/ 31 w 58"/>
                <a:gd name="T65" fmla="*/ 9 h 29"/>
                <a:gd name="T66" fmla="*/ 33 w 58"/>
                <a:gd name="T67" fmla="*/ 9 h 29"/>
                <a:gd name="T68" fmla="*/ 34 w 58"/>
                <a:gd name="T69" fmla="*/ 9 h 29"/>
                <a:gd name="T70" fmla="*/ 37 w 58"/>
                <a:gd name="T71" fmla="*/ 13 h 29"/>
                <a:gd name="T72" fmla="*/ 38 w 58"/>
                <a:gd name="T73" fmla="*/ 14 h 29"/>
                <a:gd name="T74" fmla="*/ 44 w 58"/>
                <a:gd name="T75" fmla="*/ 16 h 29"/>
                <a:gd name="T76" fmla="*/ 45 w 58"/>
                <a:gd name="T77" fmla="*/ 16 h 29"/>
                <a:gd name="T78" fmla="*/ 46 w 58"/>
                <a:gd name="T79" fmla="*/ 16 h 29"/>
                <a:gd name="T80" fmla="*/ 46 w 58"/>
                <a:gd name="T81" fmla="*/ 16 h 29"/>
                <a:gd name="T82" fmla="*/ 52 w 58"/>
                <a:gd name="T83" fmla="*/ 12 h 29"/>
                <a:gd name="T84" fmla="*/ 56 w 58"/>
                <a:gd name="T85" fmla="*/ 9 h 29"/>
                <a:gd name="T86" fmla="*/ 57 w 58"/>
                <a:gd name="T87" fmla="*/ 8 h 29"/>
                <a:gd name="T88" fmla="*/ 58 w 58"/>
                <a:gd name="T89" fmla="*/ 8 h 29"/>
                <a:gd name="T90" fmla="*/ 58 w 58"/>
                <a:gd name="T91" fmla="*/ 7 h 29"/>
                <a:gd name="T92" fmla="*/ 57 w 58"/>
                <a:gd name="T93" fmla="*/ 5 h 29"/>
                <a:gd name="T94" fmla="*/ 57 w 58"/>
                <a:gd name="T95" fmla="*/ 5 h 29"/>
                <a:gd name="T96" fmla="*/ 57 w 58"/>
                <a:gd name="T97" fmla="*/ 3 h 29"/>
                <a:gd name="T98" fmla="*/ 57 w 58"/>
                <a:gd name="T99"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28">
                  <a:moveTo>
                    <a:pt x="57" y="0"/>
                  </a:moveTo>
                  <a:cubicBezTo>
                    <a:pt x="6" y="0"/>
                    <a:pt x="6" y="0"/>
                    <a:pt x="6" y="0"/>
                  </a:cubicBezTo>
                  <a:cubicBezTo>
                    <a:pt x="6" y="1"/>
                    <a:pt x="6" y="2"/>
                    <a:pt x="6" y="3"/>
                  </a:cubicBezTo>
                  <a:cubicBezTo>
                    <a:pt x="7" y="7"/>
                    <a:pt x="8" y="12"/>
                    <a:pt x="7" y="16"/>
                  </a:cubicBezTo>
                  <a:cubicBezTo>
                    <a:pt x="6" y="16"/>
                    <a:pt x="6" y="17"/>
                    <a:pt x="6" y="17"/>
                  </a:cubicBezTo>
                  <a:cubicBezTo>
                    <a:pt x="5" y="18"/>
                    <a:pt x="4" y="19"/>
                    <a:pt x="3" y="20"/>
                  </a:cubicBezTo>
                  <a:cubicBezTo>
                    <a:pt x="2" y="21"/>
                    <a:pt x="1" y="21"/>
                    <a:pt x="0" y="22"/>
                  </a:cubicBezTo>
                  <a:cubicBezTo>
                    <a:pt x="0" y="22"/>
                    <a:pt x="0" y="22"/>
                    <a:pt x="0" y="22"/>
                  </a:cubicBezTo>
                  <a:cubicBezTo>
                    <a:pt x="1" y="23"/>
                    <a:pt x="1" y="23"/>
                    <a:pt x="2" y="24"/>
                  </a:cubicBezTo>
                  <a:cubicBezTo>
                    <a:pt x="2" y="24"/>
                    <a:pt x="2" y="24"/>
                    <a:pt x="2" y="24"/>
                  </a:cubicBezTo>
                  <a:cubicBezTo>
                    <a:pt x="2" y="24"/>
                    <a:pt x="3" y="24"/>
                    <a:pt x="4" y="24"/>
                  </a:cubicBezTo>
                  <a:cubicBezTo>
                    <a:pt x="5" y="24"/>
                    <a:pt x="6" y="24"/>
                    <a:pt x="7" y="24"/>
                  </a:cubicBezTo>
                  <a:cubicBezTo>
                    <a:pt x="7" y="24"/>
                    <a:pt x="7" y="24"/>
                    <a:pt x="7" y="24"/>
                  </a:cubicBezTo>
                  <a:cubicBezTo>
                    <a:pt x="8" y="24"/>
                    <a:pt x="8" y="24"/>
                    <a:pt x="9" y="24"/>
                  </a:cubicBezTo>
                  <a:cubicBezTo>
                    <a:pt x="11" y="24"/>
                    <a:pt x="12" y="25"/>
                    <a:pt x="14" y="26"/>
                  </a:cubicBezTo>
                  <a:cubicBezTo>
                    <a:pt x="15" y="27"/>
                    <a:pt x="15" y="27"/>
                    <a:pt x="15" y="27"/>
                  </a:cubicBezTo>
                  <a:cubicBezTo>
                    <a:pt x="15" y="28"/>
                    <a:pt x="16" y="28"/>
                    <a:pt x="16" y="29"/>
                  </a:cubicBezTo>
                  <a:cubicBezTo>
                    <a:pt x="16" y="29"/>
                    <a:pt x="16" y="29"/>
                    <a:pt x="16" y="29"/>
                  </a:cubicBezTo>
                  <a:cubicBezTo>
                    <a:pt x="17" y="29"/>
                    <a:pt x="17" y="29"/>
                    <a:pt x="17" y="29"/>
                  </a:cubicBezTo>
                  <a:cubicBezTo>
                    <a:pt x="17" y="29"/>
                    <a:pt x="17" y="29"/>
                    <a:pt x="17" y="29"/>
                  </a:cubicBezTo>
                  <a:cubicBezTo>
                    <a:pt x="18" y="29"/>
                    <a:pt x="18" y="29"/>
                    <a:pt x="18" y="29"/>
                  </a:cubicBezTo>
                  <a:cubicBezTo>
                    <a:pt x="18" y="29"/>
                    <a:pt x="18" y="29"/>
                    <a:pt x="18" y="29"/>
                  </a:cubicBezTo>
                  <a:cubicBezTo>
                    <a:pt x="18" y="29"/>
                    <a:pt x="18" y="29"/>
                    <a:pt x="18" y="29"/>
                  </a:cubicBezTo>
                  <a:cubicBezTo>
                    <a:pt x="18" y="28"/>
                    <a:pt x="18" y="27"/>
                    <a:pt x="16" y="25"/>
                  </a:cubicBezTo>
                  <a:cubicBezTo>
                    <a:pt x="15" y="23"/>
                    <a:pt x="14" y="22"/>
                    <a:pt x="14" y="21"/>
                  </a:cubicBezTo>
                  <a:cubicBezTo>
                    <a:pt x="9" y="12"/>
                    <a:pt x="9" y="12"/>
                    <a:pt x="9" y="12"/>
                  </a:cubicBezTo>
                  <a:cubicBezTo>
                    <a:pt x="19" y="16"/>
                    <a:pt x="19" y="16"/>
                    <a:pt x="19" y="16"/>
                  </a:cubicBezTo>
                  <a:cubicBezTo>
                    <a:pt x="19" y="16"/>
                    <a:pt x="19" y="16"/>
                    <a:pt x="19" y="16"/>
                  </a:cubicBezTo>
                  <a:cubicBezTo>
                    <a:pt x="19" y="16"/>
                    <a:pt x="20" y="16"/>
                    <a:pt x="22" y="14"/>
                  </a:cubicBezTo>
                  <a:cubicBezTo>
                    <a:pt x="23" y="14"/>
                    <a:pt x="23" y="14"/>
                    <a:pt x="23" y="14"/>
                  </a:cubicBezTo>
                  <a:cubicBezTo>
                    <a:pt x="24" y="13"/>
                    <a:pt x="26" y="11"/>
                    <a:pt x="29" y="10"/>
                  </a:cubicBezTo>
                  <a:cubicBezTo>
                    <a:pt x="29" y="10"/>
                    <a:pt x="30" y="10"/>
                    <a:pt x="31" y="10"/>
                  </a:cubicBezTo>
                  <a:cubicBezTo>
                    <a:pt x="31" y="9"/>
                    <a:pt x="31" y="9"/>
                    <a:pt x="31" y="9"/>
                  </a:cubicBezTo>
                  <a:cubicBezTo>
                    <a:pt x="32" y="9"/>
                    <a:pt x="32" y="9"/>
                    <a:pt x="33" y="9"/>
                  </a:cubicBezTo>
                  <a:cubicBezTo>
                    <a:pt x="34" y="9"/>
                    <a:pt x="34" y="9"/>
                    <a:pt x="34" y="9"/>
                  </a:cubicBezTo>
                  <a:cubicBezTo>
                    <a:pt x="36" y="10"/>
                    <a:pt x="37" y="12"/>
                    <a:pt x="37" y="13"/>
                  </a:cubicBezTo>
                  <a:cubicBezTo>
                    <a:pt x="37" y="13"/>
                    <a:pt x="38" y="13"/>
                    <a:pt x="38" y="14"/>
                  </a:cubicBezTo>
                  <a:cubicBezTo>
                    <a:pt x="44" y="16"/>
                    <a:pt x="44" y="16"/>
                    <a:pt x="44" y="16"/>
                  </a:cubicBezTo>
                  <a:cubicBezTo>
                    <a:pt x="45" y="16"/>
                    <a:pt x="45" y="16"/>
                    <a:pt x="45" y="16"/>
                  </a:cubicBezTo>
                  <a:cubicBezTo>
                    <a:pt x="45" y="16"/>
                    <a:pt x="46" y="16"/>
                    <a:pt x="46" y="16"/>
                  </a:cubicBezTo>
                  <a:cubicBezTo>
                    <a:pt x="46" y="16"/>
                    <a:pt x="46" y="16"/>
                    <a:pt x="46" y="16"/>
                  </a:cubicBezTo>
                  <a:cubicBezTo>
                    <a:pt x="48" y="15"/>
                    <a:pt x="50" y="13"/>
                    <a:pt x="52" y="12"/>
                  </a:cubicBezTo>
                  <a:cubicBezTo>
                    <a:pt x="56" y="9"/>
                    <a:pt x="56" y="9"/>
                    <a:pt x="56" y="9"/>
                  </a:cubicBezTo>
                  <a:cubicBezTo>
                    <a:pt x="56" y="9"/>
                    <a:pt x="57" y="9"/>
                    <a:pt x="57" y="8"/>
                  </a:cubicBezTo>
                  <a:cubicBezTo>
                    <a:pt x="58" y="8"/>
                    <a:pt x="58" y="8"/>
                    <a:pt x="58" y="8"/>
                  </a:cubicBezTo>
                  <a:cubicBezTo>
                    <a:pt x="58" y="7"/>
                    <a:pt x="58" y="7"/>
                    <a:pt x="58" y="7"/>
                  </a:cubicBezTo>
                  <a:cubicBezTo>
                    <a:pt x="58" y="6"/>
                    <a:pt x="58" y="6"/>
                    <a:pt x="57" y="5"/>
                  </a:cubicBezTo>
                  <a:cubicBezTo>
                    <a:pt x="57" y="5"/>
                    <a:pt x="57" y="5"/>
                    <a:pt x="57" y="5"/>
                  </a:cubicBezTo>
                  <a:cubicBezTo>
                    <a:pt x="57" y="4"/>
                    <a:pt x="57" y="4"/>
                    <a:pt x="57" y="3"/>
                  </a:cubicBezTo>
                  <a:cubicBezTo>
                    <a:pt x="57" y="2"/>
                    <a:pt x="57" y="1"/>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7" name="Freeform 1524"/>
            <p:cNvSpPr/>
            <p:nvPr/>
          </p:nvSpPr>
          <p:spPr bwMode="auto">
            <a:xfrm>
              <a:off x="909" y="0"/>
              <a:ext cx="286" cy="331"/>
            </a:xfrm>
            <a:custGeom>
              <a:gdLst>
                <a:gd name="T0" fmla="*/ 69 w 121"/>
                <a:gd name="T1" fmla="*/ 0 h 140"/>
                <a:gd name="T2" fmla="*/ 67 w 121"/>
                <a:gd name="T3" fmla="*/ 2 h 140"/>
                <a:gd name="T4" fmla="*/ 67 w 121"/>
                <a:gd name="T5" fmla="*/ 4 h 140"/>
                <a:gd name="T6" fmla="*/ 68 w 121"/>
                <a:gd name="T7" fmla="*/ 8 h 140"/>
                <a:gd name="T8" fmla="*/ 68 w 121"/>
                <a:gd name="T9" fmla="*/ 12 h 140"/>
                <a:gd name="T10" fmla="*/ 64 w 121"/>
                <a:gd name="T11" fmla="*/ 23 h 140"/>
                <a:gd name="T12" fmla="*/ 65 w 121"/>
                <a:gd name="T13" fmla="*/ 29 h 140"/>
                <a:gd name="T14" fmla="*/ 66 w 121"/>
                <a:gd name="T15" fmla="*/ 34 h 140"/>
                <a:gd name="T16" fmla="*/ 68 w 121"/>
                <a:gd name="T17" fmla="*/ 40 h 140"/>
                <a:gd name="T18" fmla="*/ 71 w 121"/>
                <a:gd name="T19" fmla="*/ 51 h 140"/>
                <a:gd name="T20" fmla="*/ 68 w 121"/>
                <a:gd name="T21" fmla="*/ 61 h 140"/>
                <a:gd name="T22" fmla="*/ 69 w 121"/>
                <a:gd name="T23" fmla="*/ 67 h 140"/>
                <a:gd name="T24" fmla="*/ 70 w 121"/>
                <a:gd name="T25" fmla="*/ 74 h 140"/>
                <a:gd name="T26" fmla="*/ 70 w 121"/>
                <a:gd name="T27" fmla="*/ 76 h 140"/>
                <a:gd name="T28" fmla="*/ 63 w 121"/>
                <a:gd name="T29" fmla="*/ 85 h 140"/>
                <a:gd name="T30" fmla="*/ 58 w 121"/>
                <a:gd name="T31" fmla="*/ 85 h 140"/>
                <a:gd name="T32" fmla="*/ 56 w 121"/>
                <a:gd name="T33" fmla="*/ 84 h 140"/>
                <a:gd name="T34" fmla="*/ 54 w 121"/>
                <a:gd name="T35" fmla="*/ 88 h 140"/>
                <a:gd name="T36" fmla="*/ 45 w 121"/>
                <a:gd name="T37" fmla="*/ 91 h 140"/>
                <a:gd name="T38" fmla="*/ 37 w 121"/>
                <a:gd name="T39" fmla="*/ 96 h 140"/>
                <a:gd name="T40" fmla="*/ 37 w 121"/>
                <a:gd name="T41" fmla="*/ 99 h 140"/>
                <a:gd name="T42" fmla="*/ 21 w 121"/>
                <a:gd name="T43" fmla="*/ 100 h 140"/>
                <a:gd name="T44" fmla="*/ 19 w 121"/>
                <a:gd name="T45" fmla="*/ 104 h 140"/>
                <a:gd name="T46" fmla="*/ 25 w 121"/>
                <a:gd name="T47" fmla="*/ 114 h 140"/>
                <a:gd name="T48" fmla="*/ 37 w 121"/>
                <a:gd name="T49" fmla="*/ 125 h 140"/>
                <a:gd name="T50" fmla="*/ 29 w 121"/>
                <a:gd name="T51" fmla="*/ 124 h 140"/>
                <a:gd name="T52" fmla="*/ 25 w 121"/>
                <a:gd name="T53" fmla="*/ 129 h 140"/>
                <a:gd name="T54" fmla="*/ 14 w 121"/>
                <a:gd name="T55" fmla="*/ 123 h 140"/>
                <a:gd name="T56" fmla="*/ 12 w 121"/>
                <a:gd name="T57" fmla="*/ 123 h 140"/>
                <a:gd name="T58" fmla="*/ 5 w 121"/>
                <a:gd name="T59" fmla="*/ 124 h 140"/>
                <a:gd name="T60" fmla="*/ 0 w 121"/>
                <a:gd name="T61" fmla="*/ 125 h 140"/>
                <a:gd name="T62" fmla="*/ 23 w 121"/>
                <a:gd name="T63" fmla="*/ 140 h 140"/>
                <a:gd name="T64" fmla="*/ 31 w 121"/>
                <a:gd name="T65" fmla="*/ 139 h 140"/>
                <a:gd name="T66" fmla="*/ 39 w 121"/>
                <a:gd name="T67" fmla="*/ 140 h 140"/>
                <a:gd name="T68" fmla="*/ 40 w 121"/>
                <a:gd name="T69" fmla="*/ 134 h 140"/>
                <a:gd name="T70" fmla="*/ 37 w 121"/>
                <a:gd name="T71" fmla="*/ 132 h 140"/>
                <a:gd name="T72" fmla="*/ 42 w 121"/>
                <a:gd name="T73" fmla="*/ 126 h 140"/>
                <a:gd name="T74" fmla="*/ 47 w 121"/>
                <a:gd name="T75" fmla="*/ 126 h 140"/>
                <a:gd name="T76" fmla="*/ 50 w 121"/>
                <a:gd name="T77" fmla="*/ 134 h 140"/>
                <a:gd name="T78" fmla="*/ 53 w 121"/>
                <a:gd name="T79" fmla="*/ 137 h 140"/>
                <a:gd name="T80" fmla="*/ 53 w 121"/>
                <a:gd name="T81" fmla="*/ 138 h 140"/>
                <a:gd name="T82" fmla="*/ 85 w 121"/>
                <a:gd name="T83" fmla="*/ 121 h 140"/>
                <a:gd name="T84" fmla="*/ 113 w 121"/>
                <a:gd name="T85" fmla="*/ 96 h 140"/>
                <a:gd name="T86" fmla="*/ 116 w 121"/>
                <a:gd name="T87" fmla="*/ 93 h 140"/>
                <a:gd name="T88" fmla="*/ 114 w 121"/>
                <a:gd name="T89" fmla="*/ 82 h 140"/>
                <a:gd name="T90" fmla="*/ 112 w 121"/>
                <a:gd name="T91" fmla="*/ 76 h 140"/>
                <a:gd name="T92" fmla="*/ 117 w 121"/>
                <a:gd name="T93" fmla="*/ 78 h 140"/>
                <a:gd name="T94" fmla="*/ 116 w 121"/>
                <a:gd name="T95" fmla="*/ 76 h 140"/>
                <a:gd name="T96" fmla="*/ 120 w 121"/>
                <a:gd name="T97" fmla="*/ 73 h 140"/>
                <a:gd name="T98" fmla="*/ 119 w 121"/>
                <a:gd name="T99" fmla="*/ 67 h 140"/>
                <a:gd name="T100" fmla="*/ 121 w 121"/>
                <a:gd name="T101" fmla="*/ 64 h 140"/>
                <a:gd name="T102" fmla="*/ 114 w 121"/>
                <a:gd name="T103" fmla="*/ 40 h 140"/>
                <a:gd name="T104" fmla="*/ 115 w 121"/>
                <a:gd name="T105" fmla="*/ 31 h 140"/>
                <a:gd name="T106" fmla="*/ 106 w 121"/>
                <a:gd name="T107" fmla="*/ 0 h 1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140">
                  <a:moveTo>
                    <a:pt x="106" y="0"/>
                  </a:moveTo>
                  <a:cubicBezTo>
                    <a:pt x="69" y="0"/>
                    <a:pt x="69" y="0"/>
                    <a:pt x="69" y="0"/>
                  </a:cubicBezTo>
                  <a:cubicBezTo>
                    <a:pt x="68" y="0"/>
                    <a:pt x="68" y="0"/>
                    <a:pt x="68" y="0"/>
                  </a:cubicBezTo>
                  <a:cubicBezTo>
                    <a:pt x="68" y="0"/>
                    <a:pt x="67" y="1"/>
                    <a:pt x="67" y="2"/>
                  </a:cubicBezTo>
                  <a:cubicBezTo>
                    <a:pt x="67" y="2"/>
                    <a:pt x="67" y="3"/>
                    <a:pt x="67" y="3"/>
                  </a:cubicBezTo>
                  <a:cubicBezTo>
                    <a:pt x="67" y="4"/>
                    <a:pt x="67" y="4"/>
                    <a:pt x="67" y="4"/>
                  </a:cubicBezTo>
                  <a:cubicBezTo>
                    <a:pt x="68" y="4"/>
                    <a:pt x="68" y="5"/>
                    <a:pt x="68" y="5"/>
                  </a:cubicBezTo>
                  <a:cubicBezTo>
                    <a:pt x="68" y="8"/>
                    <a:pt x="68" y="8"/>
                    <a:pt x="68" y="8"/>
                  </a:cubicBezTo>
                  <a:cubicBezTo>
                    <a:pt x="70" y="10"/>
                    <a:pt x="70" y="10"/>
                    <a:pt x="70" y="10"/>
                  </a:cubicBezTo>
                  <a:cubicBezTo>
                    <a:pt x="68" y="12"/>
                    <a:pt x="68" y="12"/>
                    <a:pt x="68" y="12"/>
                  </a:cubicBezTo>
                  <a:cubicBezTo>
                    <a:pt x="68" y="13"/>
                    <a:pt x="68" y="13"/>
                    <a:pt x="68" y="13"/>
                  </a:cubicBezTo>
                  <a:cubicBezTo>
                    <a:pt x="67" y="17"/>
                    <a:pt x="65" y="20"/>
                    <a:pt x="64" y="23"/>
                  </a:cubicBezTo>
                  <a:cubicBezTo>
                    <a:pt x="63" y="27"/>
                    <a:pt x="63" y="27"/>
                    <a:pt x="63" y="27"/>
                  </a:cubicBezTo>
                  <a:cubicBezTo>
                    <a:pt x="63" y="28"/>
                    <a:pt x="64" y="28"/>
                    <a:pt x="65" y="29"/>
                  </a:cubicBezTo>
                  <a:cubicBezTo>
                    <a:pt x="65" y="30"/>
                    <a:pt x="65" y="30"/>
                    <a:pt x="65" y="30"/>
                  </a:cubicBezTo>
                  <a:cubicBezTo>
                    <a:pt x="66" y="31"/>
                    <a:pt x="67" y="33"/>
                    <a:pt x="66" y="34"/>
                  </a:cubicBezTo>
                  <a:cubicBezTo>
                    <a:pt x="66" y="36"/>
                    <a:pt x="67" y="37"/>
                    <a:pt x="67" y="38"/>
                  </a:cubicBezTo>
                  <a:cubicBezTo>
                    <a:pt x="68" y="40"/>
                    <a:pt x="68" y="40"/>
                    <a:pt x="68" y="40"/>
                  </a:cubicBezTo>
                  <a:cubicBezTo>
                    <a:pt x="70" y="43"/>
                    <a:pt x="72" y="46"/>
                    <a:pt x="71" y="49"/>
                  </a:cubicBezTo>
                  <a:cubicBezTo>
                    <a:pt x="71" y="51"/>
                    <a:pt x="71" y="51"/>
                    <a:pt x="71" y="51"/>
                  </a:cubicBezTo>
                  <a:cubicBezTo>
                    <a:pt x="70" y="53"/>
                    <a:pt x="69" y="57"/>
                    <a:pt x="69" y="59"/>
                  </a:cubicBezTo>
                  <a:cubicBezTo>
                    <a:pt x="68" y="61"/>
                    <a:pt x="68" y="61"/>
                    <a:pt x="68" y="61"/>
                  </a:cubicBezTo>
                  <a:cubicBezTo>
                    <a:pt x="68" y="62"/>
                    <a:pt x="69" y="65"/>
                    <a:pt x="69" y="66"/>
                  </a:cubicBezTo>
                  <a:cubicBezTo>
                    <a:pt x="69" y="67"/>
                    <a:pt x="69" y="67"/>
                    <a:pt x="69" y="67"/>
                  </a:cubicBezTo>
                  <a:cubicBezTo>
                    <a:pt x="69" y="69"/>
                    <a:pt x="70" y="72"/>
                    <a:pt x="70" y="74"/>
                  </a:cubicBezTo>
                  <a:cubicBezTo>
                    <a:pt x="70" y="74"/>
                    <a:pt x="70" y="74"/>
                    <a:pt x="70" y="74"/>
                  </a:cubicBezTo>
                  <a:cubicBezTo>
                    <a:pt x="77" y="75"/>
                    <a:pt x="77" y="75"/>
                    <a:pt x="77" y="75"/>
                  </a:cubicBezTo>
                  <a:cubicBezTo>
                    <a:pt x="70" y="76"/>
                    <a:pt x="70" y="76"/>
                    <a:pt x="70" y="76"/>
                  </a:cubicBezTo>
                  <a:cubicBezTo>
                    <a:pt x="70" y="77"/>
                    <a:pt x="70" y="77"/>
                    <a:pt x="69" y="78"/>
                  </a:cubicBezTo>
                  <a:cubicBezTo>
                    <a:pt x="69" y="83"/>
                    <a:pt x="66" y="85"/>
                    <a:pt x="63" y="85"/>
                  </a:cubicBezTo>
                  <a:cubicBezTo>
                    <a:pt x="63" y="85"/>
                    <a:pt x="62" y="86"/>
                    <a:pt x="62" y="86"/>
                  </a:cubicBezTo>
                  <a:cubicBezTo>
                    <a:pt x="60" y="86"/>
                    <a:pt x="59" y="85"/>
                    <a:pt x="58" y="85"/>
                  </a:cubicBezTo>
                  <a:cubicBezTo>
                    <a:pt x="57" y="85"/>
                    <a:pt x="57" y="84"/>
                    <a:pt x="56" y="84"/>
                  </a:cubicBezTo>
                  <a:cubicBezTo>
                    <a:pt x="56" y="84"/>
                    <a:pt x="56" y="84"/>
                    <a:pt x="56" y="84"/>
                  </a:cubicBezTo>
                  <a:cubicBezTo>
                    <a:pt x="56" y="85"/>
                    <a:pt x="55" y="86"/>
                    <a:pt x="55" y="86"/>
                  </a:cubicBezTo>
                  <a:cubicBezTo>
                    <a:pt x="54" y="88"/>
                    <a:pt x="54" y="88"/>
                    <a:pt x="54" y="88"/>
                  </a:cubicBezTo>
                  <a:cubicBezTo>
                    <a:pt x="52" y="90"/>
                    <a:pt x="48" y="90"/>
                    <a:pt x="46" y="91"/>
                  </a:cubicBezTo>
                  <a:cubicBezTo>
                    <a:pt x="45" y="91"/>
                    <a:pt x="45" y="91"/>
                    <a:pt x="45" y="91"/>
                  </a:cubicBezTo>
                  <a:cubicBezTo>
                    <a:pt x="42" y="91"/>
                    <a:pt x="39" y="92"/>
                    <a:pt x="36" y="93"/>
                  </a:cubicBezTo>
                  <a:cubicBezTo>
                    <a:pt x="36" y="94"/>
                    <a:pt x="36" y="95"/>
                    <a:pt x="37" y="96"/>
                  </a:cubicBezTo>
                  <a:cubicBezTo>
                    <a:pt x="37" y="97"/>
                    <a:pt x="37" y="97"/>
                    <a:pt x="37" y="97"/>
                  </a:cubicBezTo>
                  <a:cubicBezTo>
                    <a:pt x="37" y="98"/>
                    <a:pt x="37" y="99"/>
                    <a:pt x="37" y="99"/>
                  </a:cubicBezTo>
                  <a:cubicBezTo>
                    <a:pt x="37" y="104"/>
                    <a:pt x="37" y="104"/>
                    <a:pt x="37" y="104"/>
                  </a:cubicBezTo>
                  <a:cubicBezTo>
                    <a:pt x="21" y="100"/>
                    <a:pt x="21" y="100"/>
                    <a:pt x="21" y="100"/>
                  </a:cubicBezTo>
                  <a:cubicBezTo>
                    <a:pt x="20" y="101"/>
                    <a:pt x="19" y="102"/>
                    <a:pt x="19" y="102"/>
                  </a:cubicBezTo>
                  <a:cubicBezTo>
                    <a:pt x="19" y="104"/>
                    <a:pt x="19" y="104"/>
                    <a:pt x="19" y="104"/>
                  </a:cubicBezTo>
                  <a:cubicBezTo>
                    <a:pt x="19" y="107"/>
                    <a:pt x="20" y="109"/>
                    <a:pt x="21" y="110"/>
                  </a:cubicBezTo>
                  <a:cubicBezTo>
                    <a:pt x="22" y="112"/>
                    <a:pt x="23" y="113"/>
                    <a:pt x="25" y="114"/>
                  </a:cubicBezTo>
                  <a:cubicBezTo>
                    <a:pt x="26" y="115"/>
                    <a:pt x="28" y="116"/>
                    <a:pt x="29" y="117"/>
                  </a:cubicBezTo>
                  <a:cubicBezTo>
                    <a:pt x="37" y="125"/>
                    <a:pt x="37" y="125"/>
                    <a:pt x="37" y="125"/>
                  </a:cubicBezTo>
                  <a:cubicBezTo>
                    <a:pt x="29" y="124"/>
                    <a:pt x="29" y="124"/>
                    <a:pt x="29" y="124"/>
                  </a:cubicBezTo>
                  <a:cubicBezTo>
                    <a:pt x="29" y="124"/>
                    <a:pt x="29" y="124"/>
                    <a:pt x="29" y="124"/>
                  </a:cubicBezTo>
                  <a:cubicBezTo>
                    <a:pt x="31" y="130"/>
                    <a:pt x="31" y="130"/>
                    <a:pt x="31" y="130"/>
                  </a:cubicBezTo>
                  <a:cubicBezTo>
                    <a:pt x="25" y="129"/>
                    <a:pt x="25" y="129"/>
                    <a:pt x="25" y="129"/>
                  </a:cubicBezTo>
                  <a:cubicBezTo>
                    <a:pt x="21" y="128"/>
                    <a:pt x="18" y="126"/>
                    <a:pt x="15" y="124"/>
                  </a:cubicBezTo>
                  <a:cubicBezTo>
                    <a:pt x="14" y="123"/>
                    <a:pt x="14" y="123"/>
                    <a:pt x="14" y="123"/>
                  </a:cubicBezTo>
                  <a:cubicBezTo>
                    <a:pt x="14" y="123"/>
                    <a:pt x="14" y="123"/>
                    <a:pt x="14" y="123"/>
                  </a:cubicBezTo>
                  <a:cubicBezTo>
                    <a:pt x="14" y="123"/>
                    <a:pt x="14" y="123"/>
                    <a:pt x="12" y="123"/>
                  </a:cubicBezTo>
                  <a:cubicBezTo>
                    <a:pt x="12" y="123"/>
                    <a:pt x="11" y="123"/>
                    <a:pt x="11" y="123"/>
                  </a:cubicBezTo>
                  <a:cubicBezTo>
                    <a:pt x="9" y="123"/>
                    <a:pt x="7" y="124"/>
                    <a:pt x="5" y="124"/>
                  </a:cubicBezTo>
                  <a:cubicBezTo>
                    <a:pt x="5" y="124"/>
                    <a:pt x="5" y="124"/>
                    <a:pt x="5" y="124"/>
                  </a:cubicBezTo>
                  <a:cubicBezTo>
                    <a:pt x="3" y="124"/>
                    <a:pt x="2" y="125"/>
                    <a:pt x="0" y="125"/>
                  </a:cubicBezTo>
                  <a:cubicBezTo>
                    <a:pt x="5" y="129"/>
                    <a:pt x="9" y="133"/>
                    <a:pt x="14" y="138"/>
                  </a:cubicBezTo>
                  <a:cubicBezTo>
                    <a:pt x="16" y="139"/>
                    <a:pt x="19" y="140"/>
                    <a:pt x="23" y="140"/>
                  </a:cubicBezTo>
                  <a:cubicBezTo>
                    <a:pt x="25" y="140"/>
                    <a:pt x="27" y="140"/>
                    <a:pt x="29" y="139"/>
                  </a:cubicBezTo>
                  <a:cubicBezTo>
                    <a:pt x="30" y="139"/>
                    <a:pt x="30" y="139"/>
                    <a:pt x="31" y="139"/>
                  </a:cubicBezTo>
                  <a:cubicBezTo>
                    <a:pt x="33" y="139"/>
                    <a:pt x="36" y="140"/>
                    <a:pt x="39" y="140"/>
                  </a:cubicBezTo>
                  <a:cubicBezTo>
                    <a:pt x="39" y="140"/>
                    <a:pt x="39" y="140"/>
                    <a:pt x="39" y="140"/>
                  </a:cubicBezTo>
                  <a:cubicBezTo>
                    <a:pt x="46" y="140"/>
                    <a:pt x="43" y="138"/>
                    <a:pt x="38" y="136"/>
                  </a:cubicBezTo>
                  <a:cubicBezTo>
                    <a:pt x="39" y="135"/>
                    <a:pt x="39" y="135"/>
                    <a:pt x="40" y="134"/>
                  </a:cubicBezTo>
                  <a:cubicBezTo>
                    <a:pt x="40" y="134"/>
                    <a:pt x="40" y="134"/>
                    <a:pt x="40" y="134"/>
                  </a:cubicBezTo>
                  <a:cubicBezTo>
                    <a:pt x="37" y="132"/>
                    <a:pt x="37" y="132"/>
                    <a:pt x="37" y="132"/>
                  </a:cubicBezTo>
                  <a:cubicBezTo>
                    <a:pt x="39" y="130"/>
                    <a:pt x="39" y="130"/>
                    <a:pt x="39" y="130"/>
                  </a:cubicBezTo>
                  <a:cubicBezTo>
                    <a:pt x="42" y="126"/>
                    <a:pt x="42" y="126"/>
                    <a:pt x="42" y="126"/>
                  </a:cubicBezTo>
                  <a:cubicBezTo>
                    <a:pt x="44" y="128"/>
                    <a:pt x="44" y="128"/>
                    <a:pt x="44" y="128"/>
                  </a:cubicBezTo>
                  <a:cubicBezTo>
                    <a:pt x="47" y="126"/>
                    <a:pt x="47" y="126"/>
                    <a:pt x="47" y="126"/>
                  </a:cubicBezTo>
                  <a:cubicBezTo>
                    <a:pt x="47" y="128"/>
                    <a:pt x="47" y="129"/>
                    <a:pt x="46" y="131"/>
                  </a:cubicBezTo>
                  <a:cubicBezTo>
                    <a:pt x="48" y="132"/>
                    <a:pt x="49" y="133"/>
                    <a:pt x="50" y="134"/>
                  </a:cubicBezTo>
                  <a:cubicBezTo>
                    <a:pt x="50" y="132"/>
                    <a:pt x="50" y="131"/>
                    <a:pt x="50" y="130"/>
                  </a:cubicBezTo>
                  <a:cubicBezTo>
                    <a:pt x="51" y="134"/>
                    <a:pt x="49" y="135"/>
                    <a:pt x="53" y="137"/>
                  </a:cubicBezTo>
                  <a:cubicBezTo>
                    <a:pt x="53" y="137"/>
                    <a:pt x="51" y="138"/>
                    <a:pt x="52" y="138"/>
                  </a:cubicBezTo>
                  <a:cubicBezTo>
                    <a:pt x="52" y="138"/>
                    <a:pt x="52" y="138"/>
                    <a:pt x="53" y="138"/>
                  </a:cubicBezTo>
                  <a:cubicBezTo>
                    <a:pt x="55" y="138"/>
                    <a:pt x="60" y="135"/>
                    <a:pt x="62" y="134"/>
                  </a:cubicBezTo>
                  <a:cubicBezTo>
                    <a:pt x="70" y="130"/>
                    <a:pt x="77" y="125"/>
                    <a:pt x="85" y="121"/>
                  </a:cubicBezTo>
                  <a:cubicBezTo>
                    <a:pt x="93" y="116"/>
                    <a:pt x="103" y="113"/>
                    <a:pt x="107" y="105"/>
                  </a:cubicBezTo>
                  <a:cubicBezTo>
                    <a:pt x="108" y="103"/>
                    <a:pt x="116" y="98"/>
                    <a:pt x="113" y="96"/>
                  </a:cubicBezTo>
                  <a:cubicBezTo>
                    <a:pt x="110" y="94"/>
                    <a:pt x="112" y="89"/>
                    <a:pt x="113" y="86"/>
                  </a:cubicBezTo>
                  <a:cubicBezTo>
                    <a:pt x="113" y="88"/>
                    <a:pt x="114" y="91"/>
                    <a:pt x="116" y="93"/>
                  </a:cubicBezTo>
                  <a:cubicBezTo>
                    <a:pt x="116" y="91"/>
                    <a:pt x="114" y="91"/>
                    <a:pt x="114" y="90"/>
                  </a:cubicBezTo>
                  <a:cubicBezTo>
                    <a:pt x="114" y="87"/>
                    <a:pt x="115" y="84"/>
                    <a:pt x="114" y="82"/>
                  </a:cubicBezTo>
                  <a:cubicBezTo>
                    <a:pt x="114" y="80"/>
                    <a:pt x="112" y="78"/>
                    <a:pt x="112" y="77"/>
                  </a:cubicBezTo>
                  <a:cubicBezTo>
                    <a:pt x="112" y="77"/>
                    <a:pt x="112" y="76"/>
                    <a:pt x="112" y="76"/>
                  </a:cubicBezTo>
                  <a:cubicBezTo>
                    <a:pt x="113" y="76"/>
                    <a:pt x="114" y="77"/>
                    <a:pt x="115" y="77"/>
                  </a:cubicBezTo>
                  <a:cubicBezTo>
                    <a:pt x="116" y="77"/>
                    <a:pt x="117" y="78"/>
                    <a:pt x="117" y="78"/>
                  </a:cubicBezTo>
                  <a:cubicBezTo>
                    <a:pt x="117" y="78"/>
                    <a:pt x="117" y="78"/>
                    <a:pt x="117" y="78"/>
                  </a:cubicBezTo>
                  <a:cubicBezTo>
                    <a:pt x="117" y="78"/>
                    <a:pt x="116" y="77"/>
                    <a:pt x="116" y="76"/>
                  </a:cubicBezTo>
                  <a:cubicBezTo>
                    <a:pt x="116" y="71"/>
                    <a:pt x="112" y="70"/>
                    <a:pt x="118" y="66"/>
                  </a:cubicBezTo>
                  <a:cubicBezTo>
                    <a:pt x="118" y="68"/>
                    <a:pt x="119" y="71"/>
                    <a:pt x="120" y="73"/>
                  </a:cubicBezTo>
                  <a:cubicBezTo>
                    <a:pt x="121" y="70"/>
                    <a:pt x="120" y="71"/>
                    <a:pt x="119" y="69"/>
                  </a:cubicBezTo>
                  <a:cubicBezTo>
                    <a:pt x="119" y="68"/>
                    <a:pt x="119" y="68"/>
                    <a:pt x="119" y="67"/>
                  </a:cubicBezTo>
                  <a:cubicBezTo>
                    <a:pt x="119" y="66"/>
                    <a:pt x="118" y="65"/>
                    <a:pt x="119" y="65"/>
                  </a:cubicBezTo>
                  <a:cubicBezTo>
                    <a:pt x="121" y="64"/>
                    <a:pt x="121" y="64"/>
                    <a:pt x="121" y="64"/>
                  </a:cubicBezTo>
                  <a:cubicBezTo>
                    <a:pt x="120" y="60"/>
                    <a:pt x="119" y="56"/>
                    <a:pt x="118" y="52"/>
                  </a:cubicBezTo>
                  <a:cubicBezTo>
                    <a:pt x="116" y="48"/>
                    <a:pt x="115" y="44"/>
                    <a:pt x="114" y="40"/>
                  </a:cubicBezTo>
                  <a:cubicBezTo>
                    <a:pt x="114" y="38"/>
                    <a:pt x="116" y="36"/>
                    <a:pt x="116" y="35"/>
                  </a:cubicBezTo>
                  <a:cubicBezTo>
                    <a:pt x="116" y="34"/>
                    <a:pt x="115" y="32"/>
                    <a:pt x="115" y="31"/>
                  </a:cubicBezTo>
                  <a:cubicBezTo>
                    <a:pt x="114" y="23"/>
                    <a:pt x="111" y="15"/>
                    <a:pt x="108" y="8"/>
                  </a:cubicBezTo>
                  <a:cubicBezTo>
                    <a:pt x="107" y="5"/>
                    <a:pt x="106" y="3"/>
                    <a:pt x="10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1525"/>
            <p:cNvSpPr/>
            <p:nvPr/>
          </p:nvSpPr>
          <p:spPr bwMode="auto">
            <a:xfrm>
              <a:off x="854" y="296"/>
              <a:ext cx="116" cy="151"/>
            </a:xfrm>
            <a:custGeom>
              <a:gdLst>
                <a:gd name="T0" fmla="*/ 22 w 49"/>
                <a:gd name="T1" fmla="*/ 0 h 64"/>
                <a:gd name="T2" fmla="*/ 19 w 49"/>
                <a:gd name="T3" fmla="*/ 0 h 64"/>
                <a:gd name="T4" fmla="*/ 18 w 49"/>
                <a:gd name="T5" fmla="*/ 0 h 64"/>
                <a:gd name="T6" fmla="*/ 18 w 49"/>
                <a:gd name="T7" fmla="*/ 1 h 64"/>
                <a:gd name="T8" fmla="*/ 7 w 49"/>
                <a:gd name="T9" fmla="*/ 11 h 64"/>
                <a:gd name="T10" fmla="*/ 0 w 49"/>
                <a:gd name="T11" fmla="*/ 14 h 64"/>
                <a:gd name="T12" fmla="*/ 3 w 49"/>
                <a:gd name="T13" fmla="*/ 19 h 64"/>
                <a:gd name="T14" fmla="*/ 17 w 49"/>
                <a:gd name="T15" fmla="*/ 27 h 64"/>
                <a:gd name="T16" fmla="*/ 16 w 49"/>
                <a:gd name="T17" fmla="*/ 26 h 64"/>
                <a:gd name="T18" fmla="*/ 11 w 49"/>
                <a:gd name="T19" fmla="*/ 29 h 64"/>
                <a:gd name="T20" fmla="*/ 9 w 49"/>
                <a:gd name="T21" fmla="*/ 47 h 64"/>
                <a:gd name="T22" fmla="*/ 11 w 49"/>
                <a:gd name="T23" fmla="*/ 62 h 64"/>
                <a:gd name="T24" fmla="*/ 13 w 49"/>
                <a:gd name="T25" fmla="*/ 61 h 64"/>
                <a:gd name="T26" fmla="*/ 6 w 49"/>
                <a:gd name="T27" fmla="*/ 64 h 64"/>
                <a:gd name="T28" fmla="*/ 20 w 49"/>
                <a:gd name="T29" fmla="*/ 61 h 64"/>
                <a:gd name="T30" fmla="*/ 25 w 49"/>
                <a:gd name="T31" fmla="*/ 55 h 64"/>
                <a:gd name="T32" fmla="*/ 42 w 49"/>
                <a:gd name="T33" fmla="*/ 44 h 64"/>
                <a:gd name="T34" fmla="*/ 46 w 49"/>
                <a:gd name="T35" fmla="*/ 37 h 64"/>
                <a:gd name="T36" fmla="*/ 40 w 49"/>
                <a:gd name="T37" fmla="*/ 26 h 64"/>
                <a:gd name="T38" fmla="*/ 38 w 49"/>
                <a:gd name="T39" fmla="*/ 22 h 64"/>
                <a:gd name="T40" fmla="*/ 38 w 49"/>
                <a:gd name="T41" fmla="*/ 22 h 64"/>
                <a:gd name="T42" fmla="*/ 33 w 49"/>
                <a:gd name="T43" fmla="*/ 18 h 64"/>
                <a:gd name="T44" fmla="*/ 33 w 49"/>
                <a:gd name="T45" fmla="*/ 18 h 64"/>
                <a:gd name="T46" fmla="*/ 26 w 49"/>
                <a:gd name="T47" fmla="*/ 11 h 64"/>
                <a:gd name="T48" fmla="*/ 22 w 49"/>
                <a:gd name="T49" fmla="*/ 7 h 64"/>
                <a:gd name="T50" fmla="*/ 23 w 49"/>
                <a:gd name="T51" fmla="*/ 7 h 64"/>
                <a:gd name="T52" fmla="*/ 23 w 49"/>
                <a:gd name="T53" fmla="*/ 7 h 64"/>
                <a:gd name="T54" fmla="*/ 22 w 49"/>
                <a:gd name="T55" fmla="*/ 0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64">
                  <a:moveTo>
                    <a:pt x="22" y="0"/>
                  </a:moveTo>
                  <a:cubicBezTo>
                    <a:pt x="21" y="0"/>
                    <a:pt x="20" y="0"/>
                    <a:pt x="19" y="0"/>
                  </a:cubicBezTo>
                  <a:cubicBezTo>
                    <a:pt x="19" y="0"/>
                    <a:pt x="19" y="0"/>
                    <a:pt x="18" y="0"/>
                  </a:cubicBezTo>
                  <a:cubicBezTo>
                    <a:pt x="18" y="1"/>
                    <a:pt x="18" y="1"/>
                    <a:pt x="18" y="1"/>
                  </a:cubicBezTo>
                  <a:cubicBezTo>
                    <a:pt x="19" y="5"/>
                    <a:pt x="12" y="10"/>
                    <a:pt x="7" y="11"/>
                  </a:cubicBezTo>
                  <a:cubicBezTo>
                    <a:pt x="3" y="12"/>
                    <a:pt x="1" y="14"/>
                    <a:pt x="0" y="14"/>
                  </a:cubicBezTo>
                  <a:cubicBezTo>
                    <a:pt x="1" y="16"/>
                    <a:pt x="2" y="18"/>
                    <a:pt x="3" y="19"/>
                  </a:cubicBezTo>
                  <a:cubicBezTo>
                    <a:pt x="7" y="21"/>
                    <a:pt x="18" y="21"/>
                    <a:pt x="17" y="27"/>
                  </a:cubicBezTo>
                  <a:cubicBezTo>
                    <a:pt x="17" y="26"/>
                    <a:pt x="17" y="26"/>
                    <a:pt x="16" y="26"/>
                  </a:cubicBezTo>
                  <a:cubicBezTo>
                    <a:pt x="14" y="26"/>
                    <a:pt x="12" y="28"/>
                    <a:pt x="11" y="29"/>
                  </a:cubicBezTo>
                  <a:cubicBezTo>
                    <a:pt x="8" y="34"/>
                    <a:pt x="9" y="42"/>
                    <a:pt x="9" y="47"/>
                  </a:cubicBezTo>
                  <a:cubicBezTo>
                    <a:pt x="9" y="50"/>
                    <a:pt x="6" y="62"/>
                    <a:pt x="11" y="62"/>
                  </a:cubicBezTo>
                  <a:cubicBezTo>
                    <a:pt x="12" y="62"/>
                    <a:pt x="12" y="61"/>
                    <a:pt x="13" y="61"/>
                  </a:cubicBezTo>
                  <a:cubicBezTo>
                    <a:pt x="10" y="62"/>
                    <a:pt x="9" y="63"/>
                    <a:pt x="6" y="64"/>
                  </a:cubicBezTo>
                  <a:cubicBezTo>
                    <a:pt x="13" y="64"/>
                    <a:pt x="16" y="64"/>
                    <a:pt x="20" y="61"/>
                  </a:cubicBezTo>
                  <a:cubicBezTo>
                    <a:pt x="23" y="59"/>
                    <a:pt x="24" y="58"/>
                    <a:pt x="25" y="55"/>
                  </a:cubicBezTo>
                  <a:cubicBezTo>
                    <a:pt x="28" y="48"/>
                    <a:pt x="37" y="47"/>
                    <a:pt x="42" y="44"/>
                  </a:cubicBezTo>
                  <a:cubicBezTo>
                    <a:pt x="47" y="41"/>
                    <a:pt x="49" y="42"/>
                    <a:pt x="46" y="37"/>
                  </a:cubicBezTo>
                  <a:cubicBezTo>
                    <a:pt x="44" y="34"/>
                    <a:pt x="42" y="30"/>
                    <a:pt x="40" y="26"/>
                  </a:cubicBezTo>
                  <a:cubicBezTo>
                    <a:pt x="40" y="25"/>
                    <a:pt x="39" y="23"/>
                    <a:pt x="38" y="22"/>
                  </a:cubicBezTo>
                  <a:cubicBezTo>
                    <a:pt x="38" y="22"/>
                    <a:pt x="38" y="22"/>
                    <a:pt x="38" y="22"/>
                  </a:cubicBezTo>
                  <a:cubicBezTo>
                    <a:pt x="36" y="21"/>
                    <a:pt x="35" y="19"/>
                    <a:pt x="33" y="18"/>
                  </a:cubicBezTo>
                  <a:cubicBezTo>
                    <a:pt x="33" y="18"/>
                    <a:pt x="33" y="18"/>
                    <a:pt x="33" y="18"/>
                  </a:cubicBezTo>
                  <a:cubicBezTo>
                    <a:pt x="30" y="16"/>
                    <a:pt x="28" y="13"/>
                    <a:pt x="26" y="11"/>
                  </a:cubicBezTo>
                  <a:cubicBezTo>
                    <a:pt x="24" y="9"/>
                    <a:pt x="23" y="8"/>
                    <a:pt x="22" y="7"/>
                  </a:cubicBezTo>
                  <a:cubicBezTo>
                    <a:pt x="22" y="7"/>
                    <a:pt x="23" y="7"/>
                    <a:pt x="23" y="7"/>
                  </a:cubicBezTo>
                  <a:cubicBezTo>
                    <a:pt x="23" y="7"/>
                    <a:pt x="23" y="7"/>
                    <a:pt x="23" y="7"/>
                  </a:cubicBezTo>
                  <a:cubicBezTo>
                    <a:pt x="26" y="7"/>
                    <a:pt x="24" y="3"/>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Freeform 1526"/>
            <p:cNvSpPr/>
            <p:nvPr/>
          </p:nvSpPr>
          <p:spPr bwMode="auto">
            <a:xfrm>
              <a:off x="743" y="230"/>
              <a:ext cx="3" cy="7"/>
            </a:xfrm>
            <a:custGeom>
              <a:gdLst>
                <a:gd name="T0" fmla="*/ 0 w 1"/>
                <a:gd name="T1" fmla="*/ 0 h 3"/>
                <a:gd name="T2" fmla="*/ 0 w 1"/>
                <a:gd name="T3" fmla="*/ 0 h 3"/>
                <a:gd name="T4" fmla="*/ 0 w 1"/>
                <a:gd name="T5" fmla="*/ 0 h 3"/>
                <a:gd name="T6" fmla="*/ 1 w 1"/>
                <a:gd name="T7" fmla="*/ 3 h 3"/>
                <a:gd name="T8" fmla="*/ 0 w 1"/>
                <a:gd name="T9" fmla="*/ 0 h 3"/>
              </a:gd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0" y="0"/>
                    <a:pt x="0" y="0"/>
                    <a:pt x="0" y="0"/>
                  </a:cubicBezTo>
                  <a:cubicBezTo>
                    <a:pt x="0" y="1"/>
                    <a:pt x="0" y="2"/>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1527"/>
            <p:cNvSpPr>
              <a:spLocks noEditPoints="1"/>
            </p:cNvSpPr>
            <p:nvPr/>
          </p:nvSpPr>
          <p:spPr bwMode="auto">
            <a:xfrm>
              <a:off x="713" y="41"/>
              <a:ext cx="347" cy="276"/>
            </a:xfrm>
            <a:custGeom>
              <a:gdLst>
                <a:gd name="T0" fmla="*/ 16 w 147"/>
                <a:gd name="T1" fmla="*/ 86 h 117"/>
                <a:gd name="T2" fmla="*/ 112 w 147"/>
                <a:gd name="T3" fmla="*/ 3 h 117"/>
                <a:gd name="T4" fmla="*/ 112 w 147"/>
                <a:gd name="T5" fmla="*/ 12 h 117"/>
                <a:gd name="T6" fmla="*/ 105 w 147"/>
                <a:gd name="T7" fmla="*/ 23 h 117"/>
                <a:gd name="T8" fmla="*/ 101 w 147"/>
                <a:gd name="T9" fmla="*/ 19 h 117"/>
                <a:gd name="T10" fmla="*/ 97 w 147"/>
                <a:gd name="T11" fmla="*/ 17 h 117"/>
                <a:gd name="T12" fmla="*/ 94 w 147"/>
                <a:gd name="T13" fmla="*/ 14 h 117"/>
                <a:gd name="T14" fmla="*/ 91 w 147"/>
                <a:gd name="T15" fmla="*/ 14 h 117"/>
                <a:gd name="T16" fmla="*/ 87 w 147"/>
                <a:gd name="T17" fmla="*/ 14 h 117"/>
                <a:gd name="T18" fmla="*/ 80 w 147"/>
                <a:gd name="T19" fmla="*/ 9 h 117"/>
                <a:gd name="T20" fmla="*/ 72 w 147"/>
                <a:gd name="T21" fmla="*/ 6 h 117"/>
                <a:gd name="T22" fmla="*/ 71 w 147"/>
                <a:gd name="T23" fmla="*/ 5 h 117"/>
                <a:gd name="T24" fmla="*/ 64 w 147"/>
                <a:gd name="T25" fmla="*/ 6 h 117"/>
                <a:gd name="T26" fmla="*/ 51 w 147"/>
                <a:gd name="T27" fmla="*/ 6 h 117"/>
                <a:gd name="T28" fmla="*/ 33 w 147"/>
                <a:gd name="T29" fmla="*/ 6 h 117"/>
                <a:gd name="T30" fmla="*/ 18 w 147"/>
                <a:gd name="T31" fmla="*/ 10 h 117"/>
                <a:gd name="T32" fmla="*/ 4 w 147"/>
                <a:gd name="T33" fmla="*/ 28 h 117"/>
                <a:gd name="T34" fmla="*/ 3 w 147"/>
                <a:gd name="T35" fmla="*/ 38 h 117"/>
                <a:gd name="T36" fmla="*/ 6 w 147"/>
                <a:gd name="T37" fmla="*/ 48 h 117"/>
                <a:gd name="T38" fmla="*/ 8 w 147"/>
                <a:gd name="T39" fmla="*/ 54 h 117"/>
                <a:gd name="T40" fmla="*/ 13 w 147"/>
                <a:gd name="T41" fmla="*/ 60 h 117"/>
                <a:gd name="T42" fmla="*/ 13 w 147"/>
                <a:gd name="T43" fmla="*/ 64 h 117"/>
                <a:gd name="T44" fmla="*/ 15 w 147"/>
                <a:gd name="T45" fmla="*/ 79 h 117"/>
                <a:gd name="T46" fmla="*/ 20 w 147"/>
                <a:gd name="T47" fmla="*/ 94 h 117"/>
                <a:gd name="T48" fmla="*/ 28 w 147"/>
                <a:gd name="T49" fmla="*/ 105 h 117"/>
                <a:gd name="T50" fmla="*/ 33 w 147"/>
                <a:gd name="T51" fmla="*/ 111 h 117"/>
                <a:gd name="T52" fmla="*/ 55 w 147"/>
                <a:gd name="T53" fmla="*/ 117 h 117"/>
                <a:gd name="T54" fmla="*/ 65 w 147"/>
                <a:gd name="T55" fmla="*/ 112 h 117"/>
                <a:gd name="T56" fmla="*/ 75 w 147"/>
                <a:gd name="T57" fmla="*/ 101 h 117"/>
                <a:gd name="T58" fmla="*/ 80 w 147"/>
                <a:gd name="T59" fmla="*/ 101 h 117"/>
                <a:gd name="T60" fmla="*/ 95 w 147"/>
                <a:gd name="T61" fmla="*/ 99 h 117"/>
                <a:gd name="T62" fmla="*/ 99 w 147"/>
                <a:gd name="T63" fmla="*/ 98 h 117"/>
                <a:gd name="T64" fmla="*/ 94 w 147"/>
                <a:gd name="T65" fmla="*/ 85 h 117"/>
                <a:gd name="T66" fmla="*/ 105 w 147"/>
                <a:gd name="T67" fmla="*/ 76 h 117"/>
                <a:gd name="T68" fmla="*/ 127 w 147"/>
                <a:gd name="T69" fmla="*/ 67 h 117"/>
                <a:gd name="T70" fmla="*/ 132 w 147"/>
                <a:gd name="T71" fmla="*/ 65 h 117"/>
                <a:gd name="T72" fmla="*/ 140 w 147"/>
                <a:gd name="T73" fmla="*/ 60 h 117"/>
                <a:gd name="T74" fmla="*/ 145 w 147"/>
                <a:gd name="T75" fmla="*/ 61 h 117"/>
                <a:gd name="T76" fmla="*/ 146 w 147"/>
                <a:gd name="T77" fmla="*/ 58 h 117"/>
                <a:gd name="T78" fmla="*/ 144 w 147"/>
                <a:gd name="T79" fmla="*/ 42 h 117"/>
                <a:gd name="T80" fmla="*/ 147 w 147"/>
                <a:gd name="T81" fmla="*/ 30 h 117"/>
                <a:gd name="T82" fmla="*/ 142 w 147"/>
                <a:gd name="T83" fmla="*/ 18 h 117"/>
                <a:gd name="T84" fmla="*/ 139 w 147"/>
                <a:gd name="T85" fmla="*/ 9 h 117"/>
                <a:gd name="T86" fmla="*/ 140 w 147"/>
                <a:gd name="T87" fmla="*/ 3 h 117"/>
                <a:gd name="T88" fmla="*/ 131 w 147"/>
                <a:gd name="T89" fmla="*/ 6 h 117"/>
                <a:gd name="T90" fmla="*/ 118 w 147"/>
                <a:gd name="T91" fmla="*/ 1 h 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7" h="117">
                  <a:moveTo>
                    <a:pt x="16" y="86"/>
                  </a:moveTo>
                  <a:cubicBezTo>
                    <a:pt x="16" y="86"/>
                    <a:pt x="16" y="86"/>
                    <a:pt x="16" y="86"/>
                  </a:cubicBezTo>
                  <a:cubicBezTo>
                    <a:pt x="16" y="86"/>
                    <a:pt x="16" y="86"/>
                    <a:pt x="16" y="86"/>
                  </a:cubicBezTo>
                  <a:moveTo>
                    <a:pt x="117" y="0"/>
                  </a:moveTo>
                  <a:cubicBezTo>
                    <a:pt x="116" y="1"/>
                    <a:pt x="114" y="2"/>
                    <a:pt x="113" y="3"/>
                  </a:cubicBezTo>
                  <a:cubicBezTo>
                    <a:pt x="112" y="3"/>
                    <a:pt x="112" y="3"/>
                    <a:pt x="112" y="3"/>
                  </a:cubicBezTo>
                  <a:cubicBezTo>
                    <a:pt x="112" y="4"/>
                    <a:pt x="111" y="4"/>
                    <a:pt x="110" y="5"/>
                  </a:cubicBezTo>
                  <a:cubicBezTo>
                    <a:pt x="110" y="5"/>
                    <a:pt x="110" y="5"/>
                    <a:pt x="109" y="5"/>
                  </a:cubicBezTo>
                  <a:cubicBezTo>
                    <a:pt x="110" y="7"/>
                    <a:pt x="112" y="10"/>
                    <a:pt x="112" y="12"/>
                  </a:cubicBezTo>
                  <a:cubicBezTo>
                    <a:pt x="112" y="13"/>
                    <a:pt x="111" y="14"/>
                    <a:pt x="111" y="15"/>
                  </a:cubicBezTo>
                  <a:cubicBezTo>
                    <a:pt x="109" y="18"/>
                    <a:pt x="107" y="19"/>
                    <a:pt x="105" y="19"/>
                  </a:cubicBezTo>
                  <a:cubicBezTo>
                    <a:pt x="105" y="23"/>
                    <a:pt x="105" y="23"/>
                    <a:pt x="105" y="23"/>
                  </a:cubicBezTo>
                  <a:cubicBezTo>
                    <a:pt x="103" y="19"/>
                    <a:pt x="103" y="19"/>
                    <a:pt x="103" y="19"/>
                  </a:cubicBezTo>
                  <a:cubicBezTo>
                    <a:pt x="102" y="19"/>
                    <a:pt x="102" y="19"/>
                    <a:pt x="102" y="19"/>
                  </a:cubicBezTo>
                  <a:cubicBezTo>
                    <a:pt x="101" y="19"/>
                    <a:pt x="101" y="19"/>
                    <a:pt x="101" y="19"/>
                  </a:cubicBezTo>
                  <a:cubicBezTo>
                    <a:pt x="101" y="19"/>
                    <a:pt x="100" y="19"/>
                    <a:pt x="100" y="19"/>
                  </a:cubicBezTo>
                  <a:cubicBezTo>
                    <a:pt x="99" y="18"/>
                    <a:pt x="99" y="18"/>
                    <a:pt x="99" y="18"/>
                  </a:cubicBezTo>
                  <a:cubicBezTo>
                    <a:pt x="98" y="18"/>
                    <a:pt x="98" y="18"/>
                    <a:pt x="97" y="17"/>
                  </a:cubicBezTo>
                  <a:cubicBezTo>
                    <a:pt x="97" y="16"/>
                    <a:pt x="96" y="16"/>
                    <a:pt x="96" y="15"/>
                  </a:cubicBezTo>
                  <a:cubicBezTo>
                    <a:pt x="95" y="14"/>
                    <a:pt x="95" y="14"/>
                    <a:pt x="95" y="14"/>
                  </a:cubicBezTo>
                  <a:cubicBezTo>
                    <a:pt x="94" y="14"/>
                    <a:pt x="94" y="14"/>
                    <a:pt x="94" y="14"/>
                  </a:cubicBezTo>
                  <a:cubicBezTo>
                    <a:pt x="94" y="14"/>
                    <a:pt x="94" y="14"/>
                    <a:pt x="94" y="14"/>
                  </a:cubicBezTo>
                  <a:cubicBezTo>
                    <a:pt x="93" y="14"/>
                    <a:pt x="93" y="14"/>
                    <a:pt x="93" y="14"/>
                  </a:cubicBezTo>
                  <a:cubicBezTo>
                    <a:pt x="93" y="14"/>
                    <a:pt x="92" y="14"/>
                    <a:pt x="91" y="14"/>
                  </a:cubicBezTo>
                  <a:cubicBezTo>
                    <a:pt x="91" y="14"/>
                    <a:pt x="91" y="14"/>
                    <a:pt x="91" y="14"/>
                  </a:cubicBezTo>
                  <a:cubicBezTo>
                    <a:pt x="90" y="14"/>
                    <a:pt x="89" y="14"/>
                    <a:pt x="88" y="14"/>
                  </a:cubicBezTo>
                  <a:cubicBezTo>
                    <a:pt x="87" y="14"/>
                    <a:pt x="87" y="14"/>
                    <a:pt x="87" y="14"/>
                  </a:cubicBezTo>
                  <a:cubicBezTo>
                    <a:pt x="87" y="14"/>
                    <a:pt x="86" y="14"/>
                    <a:pt x="86" y="14"/>
                  </a:cubicBezTo>
                  <a:cubicBezTo>
                    <a:pt x="86" y="14"/>
                    <a:pt x="84" y="14"/>
                    <a:pt x="83" y="12"/>
                  </a:cubicBezTo>
                  <a:cubicBezTo>
                    <a:pt x="82" y="11"/>
                    <a:pt x="81" y="10"/>
                    <a:pt x="80" y="9"/>
                  </a:cubicBezTo>
                  <a:cubicBezTo>
                    <a:pt x="80" y="10"/>
                    <a:pt x="79" y="10"/>
                    <a:pt x="77" y="10"/>
                  </a:cubicBezTo>
                  <a:cubicBezTo>
                    <a:pt x="75" y="10"/>
                    <a:pt x="74" y="9"/>
                    <a:pt x="73" y="8"/>
                  </a:cubicBezTo>
                  <a:cubicBezTo>
                    <a:pt x="72" y="8"/>
                    <a:pt x="72" y="7"/>
                    <a:pt x="72" y="6"/>
                  </a:cubicBezTo>
                  <a:cubicBezTo>
                    <a:pt x="71" y="6"/>
                    <a:pt x="71" y="6"/>
                    <a:pt x="71" y="6"/>
                  </a:cubicBezTo>
                  <a:cubicBezTo>
                    <a:pt x="71" y="5"/>
                    <a:pt x="71" y="5"/>
                    <a:pt x="71" y="5"/>
                  </a:cubicBezTo>
                  <a:cubicBezTo>
                    <a:pt x="71" y="5"/>
                    <a:pt x="71" y="5"/>
                    <a:pt x="71" y="5"/>
                  </a:cubicBezTo>
                  <a:cubicBezTo>
                    <a:pt x="71" y="5"/>
                    <a:pt x="70" y="5"/>
                    <a:pt x="70" y="5"/>
                  </a:cubicBezTo>
                  <a:cubicBezTo>
                    <a:pt x="70" y="5"/>
                    <a:pt x="70" y="5"/>
                    <a:pt x="70" y="5"/>
                  </a:cubicBezTo>
                  <a:cubicBezTo>
                    <a:pt x="68" y="5"/>
                    <a:pt x="66" y="5"/>
                    <a:pt x="64" y="6"/>
                  </a:cubicBezTo>
                  <a:cubicBezTo>
                    <a:pt x="63" y="6"/>
                    <a:pt x="62" y="6"/>
                    <a:pt x="62" y="6"/>
                  </a:cubicBezTo>
                  <a:cubicBezTo>
                    <a:pt x="58" y="6"/>
                    <a:pt x="56" y="6"/>
                    <a:pt x="53" y="6"/>
                  </a:cubicBezTo>
                  <a:cubicBezTo>
                    <a:pt x="52" y="6"/>
                    <a:pt x="51" y="6"/>
                    <a:pt x="51" y="6"/>
                  </a:cubicBezTo>
                  <a:cubicBezTo>
                    <a:pt x="49" y="6"/>
                    <a:pt x="47" y="6"/>
                    <a:pt x="45" y="6"/>
                  </a:cubicBezTo>
                  <a:cubicBezTo>
                    <a:pt x="43" y="6"/>
                    <a:pt x="43" y="6"/>
                    <a:pt x="43" y="6"/>
                  </a:cubicBezTo>
                  <a:cubicBezTo>
                    <a:pt x="40" y="6"/>
                    <a:pt x="37" y="6"/>
                    <a:pt x="33" y="6"/>
                  </a:cubicBezTo>
                  <a:cubicBezTo>
                    <a:pt x="32" y="6"/>
                    <a:pt x="32" y="6"/>
                    <a:pt x="31" y="6"/>
                  </a:cubicBezTo>
                  <a:cubicBezTo>
                    <a:pt x="30" y="6"/>
                    <a:pt x="29" y="6"/>
                    <a:pt x="28" y="6"/>
                  </a:cubicBezTo>
                  <a:cubicBezTo>
                    <a:pt x="24" y="6"/>
                    <a:pt x="20" y="8"/>
                    <a:pt x="18" y="10"/>
                  </a:cubicBezTo>
                  <a:cubicBezTo>
                    <a:pt x="17" y="10"/>
                    <a:pt x="17" y="11"/>
                    <a:pt x="17" y="11"/>
                  </a:cubicBezTo>
                  <a:cubicBezTo>
                    <a:pt x="16" y="12"/>
                    <a:pt x="15" y="14"/>
                    <a:pt x="14" y="16"/>
                  </a:cubicBezTo>
                  <a:cubicBezTo>
                    <a:pt x="11" y="20"/>
                    <a:pt x="8" y="24"/>
                    <a:pt x="4" y="28"/>
                  </a:cubicBezTo>
                  <a:cubicBezTo>
                    <a:pt x="3" y="28"/>
                    <a:pt x="3" y="29"/>
                    <a:pt x="2" y="29"/>
                  </a:cubicBezTo>
                  <a:cubicBezTo>
                    <a:pt x="0" y="31"/>
                    <a:pt x="0" y="31"/>
                    <a:pt x="0" y="31"/>
                  </a:cubicBezTo>
                  <a:cubicBezTo>
                    <a:pt x="0" y="31"/>
                    <a:pt x="1" y="34"/>
                    <a:pt x="3" y="38"/>
                  </a:cubicBezTo>
                  <a:cubicBezTo>
                    <a:pt x="4" y="39"/>
                    <a:pt x="4" y="39"/>
                    <a:pt x="4" y="39"/>
                  </a:cubicBezTo>
                  <a:cubicBezTo>
                    <a:pt x="5" y="42"/>
                    <a:pt x="5" y="44"/>
                    <a:pt x="6" y="46"/>
                  </a:cubicBezTo>
                  <a:cubicBezTo>
                    <a:pt x="6" y="48"/>
                    <a:pt x="6" y="48"/>
                    <a:pt x="6" y="48"/>
                  </a:cubicBezTo>
                  <a:cubicBezTo>
                    <a:pt x="6" y="49"/>
                    <a:pt x="6" y="51"/>
                    <a:pt x="6" y="51"/>
                  </a:cubicBezTo>
                  <a:cubicBezTo>
                    <a:pt x="6" y="52"/>
                    <a:pt x="6" y="52"/>
                    <a:pt x="6" y="52"/>
                  </a:cubicBezTo>
                  <a:cubicBezTo>
                    <a:pt x="8" y="54"/>
                    <a:pt x="8" y="54"/>
                    <a:pt x="8" y="54"/>
                  </a:cubicBezTo>
                  <a:cubicBezTo>
                    <a:pt x="10" y="55"/>
                    <a:pt x="11" y="56"/>
                    <a:pt x="12" y="57"/>
                  </a:cubicBezTo>
                  <a:cubicBezTo>
                    <a:pt x="12" y="58"/>
                    <a:pt x="12" y="58"/>
                    <a:pt x="12" y="58"/>
                  </a:cubicBezTo>
                  <a:cubicBezTo>
                    <a:pt x="13" y="59"/>
                    <a:pt x="13" y="59"/>
                    <a:pt x="13" y="60"/>
                  </a:cubicBezTo>
                  <a:cubicBezTo>
                    <a:pt x="13" y="60"/>
                    <a:pt x="13" y="60"/>
                    <a:pt x="13" y="60"/>
                  </a:cubicBezTo>
                  <a:cubicBezTo>
                    <a:pt x="13" y="61"/>
                    <a:pt x="13" y="61"/>
                    <a:pt x="13" y="62"/>
                  </a:cubicBezTo>
                  <a:cubicBezTo>
                    <a:pt x="13" y="62"/>
                    <a:pt x="13" y="63"/>
                    <a:pt x="13" y="64"/>
                  </a:cubicBezTo>
                  <a:cubicBezTo>
                    <a:pt x="13" y="68"/>
                    <a:pt x="14" y="73"/>
                    <a:pt x="15" y="77"/>
                  </a:cubicBezTo>
                  <a:cubicBezTo>
                    <a:pt x="15" y="79"/>
                    <a:pt x="15" y="79"/>
                    <a:pt x="15" y="79"/>
                  </a:cubicBezTo>
                  <a:cubicBezTo>
                    <a:pt x="15" y="79"/>
                    <a:pt x="15" y="79"/>
                    <a:pt x="15" y="79"/>
                  </a:cubicBezTo>
                  <a:cubicBezTo>
                    <a:pt x="16" y="81"/>
                    <a:pt x="18" y="84"/>
                    <a:pt x="16" y="86"/>
                  </a:cubicBezTo>
                  <a:cubicBezTo>
                    <a:pt x="17" y="85"/>
                    <a:pt x="17" y="85"/>
                    <a:pt x="17" y="85"/>
                  </a:cubicBezTo>
                  <a:cubicBezTo>
                    <a:pt x="20" y="85"/>
                    <a:pt x="22" y="92"/>
                    <a:pt x="20" y="94"/>
                  </a:cubicBezTo>
                  <a:cubicBezTo>
                    <a:pt x="16" y="96"/>
                    <a:pt x="20" y="102"/>
                    <a:pt x="21" y="106"/>
                  </a:cubicBezTo>
                  <a:cubicBezTo>
                    <a:pt x="21" y="106"/>
                    <a:pt x="22" y="106"/>
                    <a:pt x="22" y="106"/>
                  </a:cubicBezTo>
                  <a:cubicBezTo>
                    <a:pt x="24" y="106"/>
                    <a:pt x="28" y="105"/>
                    <a:pt x="28" y="105"/>
                  </a:cubicBezTo>
                  <a:cubicBezTo>
                    <a:pt x="30" y="104"/>
                    <a:pt x="31" y="99"/>
                    <a:pt x="32" y="97"/>
                  </a:cubicBezTo>
                  <a:cubicBezTo>
                    <a:pt x="33" y="101"/>
                    <a:pt x="35" y="105"/>
                    <a:pt x="36" y="109"/>
                  </a:cubicBezTo>
                  <a:cubicBezTo>
                    <a:pt x="36" y="110"/>
                    <a:pt x="34" y="110"/>
                    <a:pt x="33" y="111"/>
                  </a:cubicBezTo>
                  <a:cubicBezTo>
                    <a:pt x="31" y="111"/>
                    <a:pt x="32" y="114"/>
                    <a:pt x="32" y="115"/>
                  </a:cubicBezTo>
                  <a:cubicBezTo>
                    <a:pt x="36" y="114"/>
                    <a:pt x="39" y="114"/>
                    <a:pt x="42" y="114"/>
                  </a:cubicBezTo>
                  <a:cubicBezTo>
                    <a:pt x="47" y="114"/>
                    <a:pt x="51" y="115"/>
                    <a:pt x="55" y="117"/>
                  </a:cubicBezTo>
                  <a:cubicBezTo>
                    <a:pt x="55" y="117"/>
                    <a:pt x="55" y="117"/>
                    <a:pt x="55" y="117"/>
                  </a:cubicBezTo>
                  <a:cubicBezTo>
                    <a:pt x="56" y="116"/>
                    <a:pt x="56" y="116"/>
                    <a:pt x="56" y="116"/>
                  </a:cubicBezTo>
                  <a:cubicBezTo>
                    <a:pt x="58" y="115"/>
                    <a:pt x="61" y="113"/>
                    <a:pt x="65" y="112"/>
                  </a:cubicBezTo>
                  <a:cubicBezTo>
                    <a:pt x="69" y="112"/>
                    <a:pt x="71" y="109"/>
                    <a:pt x="71" y="109"/>
                  </a:cubicBezTo>
                  <a:cubicBezTo>
                    <a:pt x="71" y="106"/>
                    <a:pt x="71" y="104"/>
                    <a:pt x="73" y="102"/>
                  </a:cubicBezTo>
                  <a:cubicBezTo>
                    <a:pt x="74" y="101"/>
                    <a:pt x="75" y="101"/>
                    <a:pt x="75" y="101"/>
                  </a:cubicBezTo>
                  <a:cubicBezTo>
                    <a:pt x="76" y="101"/>
                    <a:pt x="76" y="101"/>
                    <a:pt x="77" y="101"/>
                  </a:cubicBezTo>
                  <a:cubicBezTo>
                    <a:pt x="77" y="101"/>
                    <a:pt x="78" y="101"/>
                    <a:pt x="78" y="101"/>
                  </a:cubicBezTo>
                  <a:cubicBezTo>
                    <a:pt x="79" y="101"/>
                    <a:pt x="79" y="101"/>
                    <a:pt x="80" y="101"/>
                  </a:cubicBezTo>
                  <a:cubicBezTo>
                    <a:pt x="82" y="101"/>
                    <a:pt x="85" y="100"/>
                    <a:pt x="86" y="100"/>
                  </a:cubicBezTo>
                  <a:cubicBezTo>
                    <a:pt x="87" y="100"/>
                    <a:pt x="87" y="100"/>
                    <a:pt x="87" y="100"/>
                  </a:cubicBezTo>
                  <a:cubicBezTo>
                    <a:pt x="89" y="100"/>
                    <a:pt x="95" y="99"/>
                    <a:pt x="95" y="99"/>
                  </a:cubicBezTo>
                  <a:cubicBezTo>
                    <a:pt x="95" y="99"/>
                    <a:pt x="95" y="99"/>
                    <a:pt x="95" y="99"/>
                  </a:cubicBezTo>
                  <a:cubicBezTo>
                    <a:pt x="97" y="99"/>
                    <a:pt x="99" y="99"/>
                    <a:pt x="100" y="100"/>
                  </a:cubicBezTo>
                  <a:cubicBezTo>
                    <a:pt x="100" y="99"/>
                    <a:pt x="99" y="99"/>
                    <a:pt x="99" y="98"/>
                  </a:cubicBezTo>
                  <a:cubicBezTo>
                    <a:pt x="96" y="95"/>
                    <a:pt x="95" y="91"/>
                    <a:pt x="95" y="88"/>
                  </a:cubicBezTo>
                  <a:cubicBezTo>
                    <a:pt x="95" y="87"/>
                    <a:pt x="95" y="87"/>
                    <a:pt x="95" y="87"/>
                  </a:cubicBezTo>
                  <a:cubicBezTo>
                    <a:pt x="95" y="87"/>
                    <a:pt x="95" y="86"/>
                    <a:pt x="94" y="85"/>
                  </a:cubicBezTo>
                  <a:cubicBezTo>
                    <a:pt x="94" y="82"/>
                    <a:pt x="99" y="78"/>
                    <a:pt x="101" y="77"/>
                  </a:cubicBezTo>
                  <a:cubicBezTo>
                    <a:pt x="102" y="76"/>
                    <a:pt x="103" y="76"/>
                    <a:pt x="104" y="76"/>
                  </a:cubicBezTo>
                  <a:cubicBezTo>
                    <a:pt x="104" y="76"/>
                    <a:pt x="105" y="76"/>
                    <a:pt x="105" y="76"/>
                  </a:cubicBezTo>
                  <a:cubicBezTo>
                    <a:pt x="112" y="78"/>
                    <a:pt x="112" y="78"/>
                    <a:pt x="112" y="78"/>
                  </a:cubicBezTo>
                  <a:cubicBezTo>
                    <a:pt x="112" y="75"/>
                    <a:pt x="112" y="71"/>
                    <a:pt x="115" y="70"/>
                  </a:cubicBezTo>
                  <a:cubicBezTo>
                    <a:pt x="119" y="69"/>
                    <a:pt x="123" y="68"/>
                    <a:pt x="127" y="67"/>
                  </a:cubicBezTo>
                  <a:cubicBezTo>
                    <a:pt x="128" y="67"/>
                    <a:pt x="128" y="67"/>
                    <a:pt x="128" y="67"/>
                  </a:cubicBezTo>
                  <a:cubicBezTo>
                    <a:pt x="130" y="66"/>
                    <a:pt x="131" y="66"/>
                    <a:pt x="131" y="66"/>
                  </a:cubicBezTo>
                  <a:cubicBezTo>
                    <a:pt x="132" y="65"/>
                    <a:pt x="132" y="65"/>
                    <a:pt x="132" y="65"/>
                  </a:cubicBezTo>
                  <a:cubicBezTo>
                    <a:pt x="133" y="64"/>
                    <a:pt x="134" y="63"/>
                    <a:pt x="135" y="62"/>
                  </a:cubicBezTo>
                  <a:cubicBezTo>
                    <a:pt x="136" y="61"/>
                    <a:pt x="137" y="61"/>
                    <a:pt x="137" y="61"/>
                  </a:cubicBezTo>
                  <a:cubicBezTo>
                    <a:pt x="138" y="60"/>
                    <a:pt x="139" y="60"/>
                    <a:pt x="140" y="60"/>
                  </a:cubicBezTo>
                  <a:cubicBezTo>
                    <a:pt x="141" y="60"/>
                    <a:pt x="142" y="61"/>
                    <a:pt x="143" y="61"/>
                  </a:cubicBezTo>
                  <a:cubicBezTo>
                    <a:pt x="144" y="61"/>
                    <a:pt x="144" y="61"/>
                    <a:pt x="145" y="61"/>
                  </a:cubicBezTo>
                  <a:cubicBezTo>
                    <a:pt x="145" y="61"/>
                    <a:pt x="145" y="61"/>
                    <a:pt x="145" y="61"/>
                  </a:cubicBezTo>
                  <a:cubicBezTo>
                    <a:pt x="145" y="61"/>
                    <a:pt x="145" y="61"/>
                    <a:pt x="145" y="59"/>
                  </a:cubicBezTo>
                  <a:cubicBezTo>
                    <a:pt x="146" y="59"/>
                    <a:pt x="146" y="59"/>
                    <a:pt x="146" y="59"/>
                  </a:cubicBezTo>
                  <a:cubicBezTo>
                    <a:pt x="146" y="58"/>
                    <a:pt x="146" y="58"/>
                    <a:pt x="146" y="58"/>
                  </a:cubicBezTo>
                  <a:cubicBezTo>
                    <a:pt x="146" y="57"/>
                    <a:pt x="146" y="57"/>
                    <a:pt x="146" y="57"/>
                  </a:cubicBezTo>
                  <a:cubicBezTo>
                    <a:pt x="145" y="55"/>
                    <a:pt x="145" y="53"/>
                    <a:pt x="145" y="51"/>
                  </a:cubicBezTo>
                  <a:cubicBezTo>
                    <a:pt x="144" y="47"/>
                    <a:pt x="144" y="45"/>
                    <a:pt x="144" y="42"/>
                  </a:cubicBezTo>
                  <a:cubicBezTo>
                    <a:pt x="145" y="40"/>
                    <a:pt x="145" y="40"/>
                    <a:pt x="145" y="40"/>
                  </a:cubicBezTo>
                  <a:cubicBezTo>
                    <a:pt x="145" y="38"/>
                    <a:pt x="146" y="35"/>
                    <a:pt x="146" y="33"/>
                  </a:cubicBezTo>
                  <a:cubicBezTo>
                    <a:pt x="147" y="30"/>
                    <a:pt x="147" y="30"/>
                    <a:pt x="147" y="30"/>
                  </a:cubicBezTo>
                  <a:cubicBezTo>
                    <a:pt x="147" y="30"/>
                    <a:pt x="146" y="27"/>
                    <a:pt x="145" y="26"/>
                  </a:cubicBezTo>
                  <a:cubicBezTo>
                    <a:pt x="144" y="25"/>
                    <a:pt x="144" y="25"/>
                    <a:pt x="144" y="24"/>
                  </a:cubicBezTo>
                  <a:cubicBezTo>
                    <a:pt x="143" y="22"/>
                    <a:pt x="142" y="20"/>
                    <a:pt x="142" y="18"/>
                  </a:cubicBezTo>
                  <a:cubicBezTo>
                    <a:pt x="142" y="17"/>
                    <a:pt x="142" y="17"/>
                    <a:pt x="142" y="17"/>
                  </a:cubicBezTo>
                  <a:cubicBezTo>
                    <a:pt x="142" y="17"/>
                    <a:pt x="142" y="17"/>
                    <a:pt x="142" y="17"/>
                  </a:cubicBezTo>
                  <a:cubicBezTo>
                    <a:pt x="140" y="14"/>
                    <a:pt x="138" y="11"/>
                    <a:pt x="139" y="9"/>
                  </a:cubicBezTo>
                  <a:cubicBezTo>
                    <a:pt x="140" y="4"/>
                    <a:pt x="140" y="4"/>
                    <a:pt x="140" y="4"/>
                  </a:cubicBezTo>
                  <a:cubicBezTo>
                    <a:pt x="141" y="3"/>
                    <a:pt x="141" y="2"/>
                    <a:pt x="142" y="1"/>
                  </a:cubicBezTo>
                  <a:cubicBezTo>
                    <a:pt x="141" y="2"/>
                    <a:pt x="140" y="2"/>
                    <a:pt x="140" y="3"/>
                  </a:cubicBezTo>
                  <a:cubicBezTo>
                    <a:pt x="138" y="4"/>
                    <a:pt x="137" y="4"/>
                    <a:pt x="136" y="5"/>
                  </a:cubicBezTo>
                  <a:cubicBezTo>
                    <a:pt x="135" y="6"/>
                    <a:pt x="135" y="6"/>
                    <a:pt x="135" y="6"/>
                  </a:cubicBezTo>
                  <a:cubicBezTo>
                    <a:pt x="134" y="6"/>
                    <a:pt x="132" y="6"/>
                    <a:pt x="131" y="6"/>
                  </a:cubicBezTo>
                  <a:cubicBezTo>
                    <a:pt x="130" y="6"/>
                    <a:pt x="129" y="6"/>
                    <a:pt x="127" y="6"/>
                  </a:cubicBezTo>
                  <a:cubicBezTo>
                    <a:pt x="119" y="2"/>
                    <a:pt x="119" y="2"/>
                    <a:pt x="119" y="2"/>
                  </a:cubicBezTo>
                  <a:cubicBezTo>
                    <a:pt x="119" y="2"/>
                    <a:pt x="118" y="2"/>
                    <a:pt x="118" y="1"/>
                  </a:cubicBezTo>
                  <a:cubicBezTo>
                    <a:pt x="117" y="0"/>
                    <a:pt x="117" y="0"/>
                    <a:pt x="1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1" name="Freeform 1528"/>
            <p:cNvSpPr/>
            <p:nvPr/>
          </p:nvSpPr>
          <p:spPr bwMode="auto">
            <a:xfrm>
              <a:off x="2261" y="1612"/>
              <a:ext cx="158" cy="76"/>
            </a:xfrm>
            <a:custGeom>
              <a:gdLst>
                <a:gd name="T0" fmla="*/ 64 w 67"/>
                <a:gd name="T1" fmla="*/ 0 h 32"/>
                <a:gd name="T2" fmla="*/ 22 w 67"/>
                <a:gd name="T3" fmla="*/ 6 h 32"/>
                <a:gd name="T4" fmla="*/ 8 w 67"/>
                <a:gd name="T5" fmla="*/ 8 h 32"/>
                <a:gd name="T6" fmla="*/ 0 w 67"/>
                <a:gd name="T7" fmla="*/ 15 h 32"/>
                <a:gd name="T8" fmla="*/ 1 w 67"/>
                <a:gd name="T9" fmla="*/ 15 h 32"/>
                <a:gd name="T10" fmla="*/ 1 w 67"/>
                <a:gd name="T11" fmla="*/ 15 h 32"/>
                <a:gd name="T12" fmla="*/ 5 w 67"/>
                <a:gd name="T13" fmla="*/ 16 h 32"/>
                <a:gd name="T14" fmla="*/ 5 w 67"/>
                <a:gd name="T15" fmla="*/ 17 h 32"/>
                <a:gd name="T16" fmla="*/ 6 w 67"/>
                <a:gd name="T17" fmla="*/ 17 h 32"/>
                <a:gd name="T18" fmla="*/ 7 w 67"/>
                <a:gd name="T19" fmla="*/ 19 h 32"/>
                <a:gd name="T20" fmla="*/ 8 w 67"/>
                <a:gd name="T21" fmla="*/ 19 h 32"/>
                <a:gd name="T22" fmla="*/ 8 w 67"/>
                <a:gd name="T23" fmla="*/ 20 h 32"/>
                <a:gd name="T24" fmla="*/ 8 w 67"/>
                <a:gd name="T25" fmla="*/ 23 h 32"/>
                <a:gd name="T26" fmla="*/ 8 w 67"/>
                <a:gd name="T27" fmla="*/ 24 h 32"/>
                <a:gd name="T28" fmla="*/ 7 w 67"/>
                <a:gd name="T29" fmla="*/ 26 h 32"/>
                <a:gd name="T30" fmla="*/ 7 w 67"/>
                <a:gd name="T31" fmla="*/ 26 h 32"/>
                <a:gd name="T32" fmla="*/ 6 w 67"/>
                <a:gd name="T33" fmla="*/ 30 h 32"/>
                <a:gd name="T34" fmla="*/ 6 w 67"/>
                <a:gd name="T35" fmla="*/ 32 h 32"/>
                <a:gd name="T36" fmla="*/ 40 w 67"/>
                <a:gd name="T37" fmla="*/ 18 h 32"/>
                <a:gd name="T38" fmla="*/ 57 w 67"/>
                <a:gd name="T39" fmla="*/ 11 h 32"/>
                <a:gd name="T40" fmla="*/ 65 w 67"/>
                <a:gd name="T41" fmla="*/ 4 h 32"/>
                <a:gd name="T42" fmla="*/ 64 w 67"/>
                <a:gd name="T43"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32">
                  <a:moveTo>
                    <a:pt x="64" y="0"/>
                  </a:moveTo>
                  <a:cubicBezTo>
                    <a:pt x="50" y="2"/>
                    <a:pt x="36" y="4"/>
                    <a:pt x="22" y="6"/>
                  </a:cubicBezTo>
                  <a:cubicBezTo>
                    <a:pt x="17" y="6"/>
                    <a:pt x="13" y="7"/>
                    <a:pt x="8" y="8"/>
                  </a:cubicBezTo>
                  <a:cubicBezTo>
                    <a:pt x="4" y="9"/>
                    <a:pt x="2" y="12"/>
                    <a:pt x="0" y="15"/>
                  </a:cubicBezTo>
                  <a:cubicBezTo>
                    <a:pt x="1" y="15"/>
                    <a:pt x="1" y="15"/>
                    <a:pt x="1" y="15"/>
                  </a:cubicBezTo>
                  <a:cubicBezTo>
                    <a:pt x="1" y="15"/>
                    <a:pt x="1" y="15"/>
                    <a:pt x="1" y="15"/>
                  </a:cubicBezTo>
                  <a:cubicBezTo>
                    <a:pt x="3" y="16"/>
                    <a:pt x="4" y="16"/>
                    <a:pt x="5" y="16"/>
                  </a:cubicBezTo>
                  <a:cubicBezTo>
                    <a:pt x="5" y="17"/>
                    <a:pt x="5" y="17"/>
                    <a:pt x="5" y="17"/>
                  </a:cubicBezTo>
                  <a:cubicBezTo>
                    <a:pt x="6" y="17"/>
                    <a:pt x="6" y="17"/>
                    <a:pt x="6" y="17"/>
                  </a:cubicBezTo>
                  <a:cubicBezTo>
                    <a:pt x="6" y="17"/>
                    <a:pt x="7" y="18"/>
                    <a:pt x="7" y="19"/>
                  </a:cubicBezTo>
                  <a:cubicBezTo>
                    <a:pt x="8" y="19"/>
                    <a:pt x="8" y="19"/>
                    <a:pt x="8" y="19"/>
                  </a:cubicBezTo>
                  <a:cubicBezTo>
                    <a:pt x="8" y="20"/>
                    <a:pt x="8" y="20"/>
                    <a:pt x="8" y="20"/>
                  </a:cubicBezTo>
                  <a:cubicBezTo>
                    <a:pt x="8" y="21"/>
                    <a:pt x="8" y="22"/>
                    <a:pt x="8" y="23"/>
                  </a:cubicBezTo>
                  <a:cubicBezTo>
                    <a:pt x="8" y="24"/>
                    <a:pt x="8" y="24"/>
                    <a:pt x="8" y="24"/>
                  </a:cubicBezTo>
                  <a:cubicBezTo>
                    <a:pt x="8" y="24"/>
                    <a:pt x="8" y="25"/>
                    <a:pt x="7" y="26"/>
                  </a:cubicBezTo>
                  <a:cubicBezTo>
                    <a:pt x="7" y="26"/>
                    <a:pt x="7" y="26"/>
                    <a:pt x="7" y="26"/>
                  </a:cubicBezTo>
                  <a:cubicBezTo>
                    <a:pt x="7" y="27"/>
                    <a:pt x="6" y="29"/>
                    <a:pt x="6" y="30"/>
                  </a:cubicBezTo>
                  <a:cubicBezTo>
                    <a:pt x="6" y="32"/>
                    <a:pt x="6" y="32"/>
                    <a:pt x="6" y="32"/>
                  </a:cubicBezTo>
                  <a:cubicBezTo>
                    <a:pt x="17" y="27"/>
                    <a:pt x="29" y="21"/>
                    <a:pt x="40" y="18"/>
                  </a:cubicBezTo>
                  <a:cubicBezTo>
                    <a:pt x="46" y="17"/>
                    <a:pt x="51" y="13"/>
                    <a:pt x="57" y="11"/>
                  </a:cubicBezTo>
                  <a:cubicBezTo>
                    <a:pt x="59" y="10"/>
                    <a:pt x="64" y="7"/>
                    <a:pt x="65" y="4"/>
                  </a:cubicBezTo>
                  <a:cubicBezTo>
                    <a:pt x="66" y="2"/>
                    <a:pt x="67" y="2"/>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Freeform 1529"/>
            <p:cNvSpPr/>
            <p:nvPr/>
          </p:nvSpPr>
          <p:spPr bwMode="auto">
            <a:xfrm>
              <a:off x="2154" y="1657"/>
              <a:ext cx="111" cy="97"/>
            </a:xfrm>
            <a:custGeom>
              <a:gdLst>
                <a:gd name="T0" fmla="*/ 42 w 47"/>
                <a:gd name="T1" fmla="*/ 0 h 41"/>
                <a:gd name="T2" fmla="*/ 33 w 47"/>
                <a:gd name="T3" fmla="*/ 4 h 41"/>
                <a:gd name="T4" fmla="*/ 34 w 47"/>
                <a:gd name="T5" fmla="*/ 4 h 41"/>
                <a:gd name="T6" fmla="*/ 33 w 47"/>
                <a:gd name="T7" fmla="*/ 5 h 41"/>
                <a:gd name="T8" fmla="*/ 31 w 47"/>
                <a:gd name="T9" fmla="*/ 12 h 41"/>
                <a:gd name="T10" fmla="*/ 28 w 47"/>
                <a:gd name="T11" fmla="*/ 17 h 41"/>
                <a:gd name="T12" fmla="*/ 27 w 47"/>
                <a:gd name="T13" fmla="*/ 19 h 41"/>
                <a:gd name="T14" fmla="*/ 10 w 47"/>
                <a:gd name="T15" fmla="*/ 16 h 41"/>
                <a:gd name="T16" fmla="*/ 10 w 47"/>
                <a:gd name="T17" fmla="*/ 16 h 41"/>
                <a:gd name="T18" fmla="*/ 7 w 47"/>
                <a:gd name="T19" fmla="*/ 19 h 41"/>
                <a:gd name="T20" fmla="*/ 6 w 47"/>
                <a:gd name="T21" fmla="*/ 26 h 41"/>
                <a:gd name="T22" fmla="*/ 7 w 47"/>
                <a:gd name="T23" fmla="*/ 31 h 41"/>
                <a:gd name="T24" fmla="*/ 9 w 47"/>
                <a:gd name="T25" fmla="*/ 32 h 41"/>
                <a:gd name="T26" fmla="*/ 0 w 47"/>
                <a:gd name="T27" fmla="*/ 41 h 41"/>
                <a:gd name="T28" fmla="*/ 18 w 47"/>
                <a:gd name="T29" fmla="*/ 36 h 41"/>
                <a:gd name="T30" fmla="*/ 29 w 47"/>
                <a:gd name="T31" fmla="*/ 34 h 41"/>
                <a:gd name="T32" fmla="*/ 46 w 47"/>
                <a:gd name="T33" fmla="*/ 16 h 41"/>
                <a:gd name="T34" fmla="*/ 44 w 47"/>
                <a:gd name="T35" fmla="*/ 15 h 41"/>
                <a:gd name="T36" fmla="*/ 44 w 47"/>
                <a:gd name="T37" fmla="*/ 14 h 41"/>
                <a:gd name="T38" fmla="*/ 44 w 47"/>
                <a:gd name="T39" fmla="*/ 13 h 41"/>
                <a:gd name="T40" fmla="*/ 44 w 47"/>
                <a:gd name="T41" fmla="*/ 11 h 41"/>
                <a:gd name="T42" fmla="*/ 46 w 47"/>
                <a:gd name="T43" fmla="*/ 5 h 41"/>
                <a:gd name="T44" fmla="*/ 46 w 47"/>
                <a:gd name="T45" fmla="*/ 4 h 41"/>
                <a:gd name="T46" fmla="*/ 46 w 47"/>
                <a:gd name="T47" fmla="*/ 4 h 41"/>
                <a:gd name="T48" fmla="*/ 47 w 47"/>
                <a:gd name="T49" fmla="*/ 3 h 41"/>
                <a:gd name="T50" fmla="*/ 47 w 47"/>
                <a:gd name="T51" fmla="*/ 3 h 41"/>
                <a:gd name="T52" fmla="*/ 45 w 47"/>
                <a:gd name="T53" fmla="*/ 3 h 41"/>
                <a:gd name="T54" fmla="*/ 44 w 47"/>
                <a:gd name="T55" fmla="*/ 2 h 41"/>
                <a:gd name="T56" fmla="*/ 43 w 47"/>
                <a:gd name="T57" fmla="*/ 2 h 41"/>
                <a:gd name="T58" fmla="*/ 41 w 47"/>
                <a:gd name="T59" fmla="*/ 1 h 41"/>
                <a:gd name="T60" fmla="*/ 42 w 47"/>
                <a:gd name="T61" fmla="*/ 0 h 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41">
                  <a:moveTo>
                    <a:pt x="42" y="0"/>
                  </a:moveTo>
                  <a:cubicBezTo>
                    <a:pt x="39" y="1"/>
                    <a:pt x="36" y="3"/>
                    <a:pt x="33" y="4"/>
                  </a:cubicBezTo>
                  <a:cubicBezTo>
                    <a:pt x="34" y="4"/>
                    <a:pt x="34" y="4"/>
                    <a:pt x="34" y="4"/>
                  </a:cubicBezTo>
                  <a:cubicBezTo>
                    <a:pt x="33" y="5"/>
                    <a:pt x="33" y="5"/>
                    <a:pt x="33" y="5"/>
                  </a:cubicBezTo>
                  <a:cubicBezTo>
                    <a:pt x="33" y="6"/>
                    <a:pt x="32" y="9"/>
                    <a:pt x="31" y="12"/>
                  </a:cubicBezTo>
                  <a:cubicBezTo>
                    <a:pt x="30" y="13"/>
                    <a:pt x="28" y="17"/>
                    <a:pt x="28" y="17"/>
                  </a:cubicBezTo>
                  <a:cubicBezTo>
                    <a:pt x="27" y="19"/>
                    <a:pt x="27" y="19"/>
                    <a:pt x="27" y="19"/>
                  </a:cubicBezTo>
                  <a:cubicBezTo>
                    <a:pt x="10" y="16"/>
                    <a:pt x="10" y="16"/>
                    <a:pt x="10" y="16"/>
                  </a:cubicBezTo>
                  <a:cubicBezTo>
                    <a:pt x="10" y="16"/>
                    <a:pt x="10" y="16"/>
                    <a:pt x="10" y="16"/>
                  </a:cubicBezTo>
                  <a:cubicBezTo>
                    <a:pt x="9" y="16"/>
                    <a:pt x="7" y="18"/>
                    <a:pt x="7" y="19"/>
                  </a:cubicBezTo>
                  <a:cubicBezTo>
                    <a:pt x="6" y="21"/>
                    <a:pt x="6" y="24"/>
                    <a:pt x="6" y="26"/>
                  </a:cubicBezTo>
                  <a:cubicBezTo>
                    <a:pt x="6" y="28"/>
                    <a:pt x="7" y="30"/>
                    <a:pt x="7" y="31"/>
                  </a:cubicBezTo>
                  <a:cubicBezTo>
                    <a:pt x="8" y="32"/>
                    <a:pt x="10" y="31"/>
                    <a:pt x="9" y="32"/>
                  </a:cubicBezTo>
                  <a:cubicBezTo>
                    <a:pt x="6" y="35"/>
                    <a:pt x="3" y="38"/>
                    <a:pt x="0" y="41"/>
                  </a:cubicBezTo>
                  <a:cubicBezTo>
                    <a:pt x="6" y="39"/>
                    <a:pt x="12" y="38"/>
                    <a:pt x="18" y="36"/>
                  </a:cubicBezTo>
                  <a:cubicBezTo>
                    <a:pt x="21" y="35"/>
                    <a:pt x="27" y="36"/>
                    <a:pt x="29" y="34"/>
                  </a:cubicBezTo>
                  <a:cubicBezTo>
                    <a:pt x="33" y="30"/>
                    <a:pt x="43" y="23"/>
                    <a:pt x="46" y="16"/>
                  </a:cubicBezTo>
                  <a:cubicBezTo>
                    <a:pt x="44" y="15"/>
                    <a:pt x="44" y="15"/>
                    <a:pt x="44" y="15"/>
                  </a:cubicBezTo>
                  <a:cubicBezTo>
                    <a:pt x="44" y="14"/>
                    <a:pt x="44" y="14"/>
                    <a:pt x="44" y="14"/>
                  </a:cubicBezTo>
                  <a:cubicBezTo>
                    <a:pt x="44" y="14"/>
                    <a:pt x="44" y="13"/>
                    <a:pt x="44" y="13"/>
                  </a:cubicBezTo>
                  <a:cubicBezTo>
                    <a:pt x="44" y="11"/>
                    <a:pt x="44" y="11"/>
                    <a:pt x="44" y="11"/>
                  </a:cubicBezTo>
                  <a:cubicBezTo>
                    <a:pt x="45" y="9"/>
                    <a:pt x="45" y="7"/>
                    <a:pt x="46" y="5"/>
                  </a:cubicBezTo>
                  <a:cubicBezTo>
                    <a:pt x="46" y="4"/>
                    <a:pt x="46" y="4"/>
                    <a:pt x="46" y="4"/>
                  </a:cubicBezTo>
                  <a:cubicBezTo>
                    <a:pt x="46" y="4"/>
                    <a:pt x="46" y="4"/>
                    <a:pt x="46" y="4"/>
                  </a:cubicBezTo>
                  <a:cubicBezTo>
                    <a:pt x="47" y="3"/>
                    <a:pt x="47" y="3"/>
                    <a:pt x="47" y="3"/>
                  </a:cubicBezTo>
                  <a:cubicBezTo>
                    <a:pt x="47" y="3"/>
                    <a:pt x="47" y="3"/>
                    <a:pt x="47" y="3"/>
                  </a:cubicBezTo>
                  <a:cubicBezTo>
                    <a:pt x="47" y="3"/>
                    <a:pt x="46" y="3"/>
                    <a:pt x="45" y="3"/>
                  </a:cubicBezTo>
                  <a:cubicBezTo>
                    <a:pt x="44" y="2"/>
                    <a:pt x="44" y="2"/>
                    <a:pt x="44" y="2"/>
                  </a:cubicBezTo>
                  <a:cubicBezTo>
                    <a:pt x="44" y="2"/>
                    <a:pt x="43" y="2"/>
                    <a:pt x="43" y="2"/>
                  </a:cubicBezTo>
                  <a:cubicBezTo>
                    <a:pt x="41" y="1"/>
                    <a:pt x="41" y="1"/>
                    <a:pt x="41" y="1"/>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3" name="Freeform 1530"/>
            <p:cNvSpPr>
              <a:spLocks noEditPoints="1"/>
            </p:cNvSpPr>
            <p:nvPr/>
          </p:nvSpPr>
          <p:spPr bwMode="auto">
            <a:xfrm>
              <a:off x="557" y="594"/>
              <a:ext cx="288" cy="359"/>
            </a:xfrm>
            <a:custGeom>
              <a:gdLst>
                <a:gd name="T0" fmla="*/ 38 w 122"/>
                <a:gd name="T1" fmla="*/ 21 h 152"/>
                <a:gd name="T2" fmla="*/ 3 w 122"/>
                <a:gd name="T3" fmla="*/ 0 h 152"/>
                <a:gd name="T4" fmla="*/ 0 w 122"/>
                <a:gd name="T5" fmla="*/ 5 h 152"/>
                <a:gd name="T6" fmla="*/ 5 w 122"/>
                <a:gd name="T7" fmla="*/ 15 h 152"/>
                <a:gd name="T8" fmla="*/ 7 w 122"/>
                <a:gd name="T9" fmla="*/ 39 h 152"/>
                <a:gd name="T10" fmla="*/ 12 w 122"/>
                <a:gd name="T11" fmla="*/ 61 h 152"/>
                <a:gd name="T12" fmla="*/ 15 w 122"/>
                <a:gd name="T13" fmla="*/ 75 h 152"/>
                <a:gd name="T14" fmla="*/ 26 w 122"/>
                <a:gd name="T15" fmla="*/ 87 h 152"/>
                <a:gd name="T16" fmla="*/ 35 w 122"/>
                <a:gd name="T17" fmla="*/ 107 h 152"/>
                <a:gd name="T18" fmla="*/ 55 w 122"/>
                <a:gd name="T19" fmla="*/ 121 h 152"/>
                <a:gd name="T20" fmla="*/ 85 w 122"/>
                <a:gd name="T21" fmla="*/ 140 h 152"/>
                <a:gd name="T22" fmla="*/ 104 w 122"/>
                <a:gd name="T23" fmla="*/ 147 h 152"/>
                <a:gd name="T24" fmla="*/ 108 w 122"/>
                <a:gd name="T25" fmla="*/ 147 h 152"/>
                <a:gd name="T26" fmla="*/ 111 w 122"/>
                <a:gd name="T27" fmla="*/ 142 h 152"/>
                <a:gd name="T28" fmla="*/ 116 w 122"/>
                <a:gd name="T29" fmla="*/ 150 h 152"/>
                <a:gd name="T30" fmla="*/ 114 w 122"/>
                <a:gd name="T31" fmla="*/ 133 h 152"/>
                <a:gd name="T32" fmla="*/ 95 w 122"/>
                <a:gd name="T33" fmla="*/ 102 h 152"/>
                <a:gd name="T34" fmla="*/ 95 w 122"/>
                <a:gd name="T35" fmla="*/ 64 h 152"/>
                <a:gd name="T36" fmla="*/ 73 w 122"/>
                <a:gd name="T37" fmla="*/ 22 h 152"/>
                <a:gd name="T38" fmla="*/ 59 w 122"/>
                <a:gd name="T39" fmla="*/ 9 h 152"/>
                <a:gd name="T40" fmla="*/ 58 w 122"/>
                <a:gd name="T41" fmla="*/ 12 h 152"/>
                <a:gd name="T42" fmla="*/ 57 w 122"/>
                <a:gd name="T43" fmla="*/ 15 h 152"/>
                <a:gd name="T44" fmla="*/ 45 w 122"/>
                <a:gd name="T45" fmla="*/ 25 h 152"/>
                <a:gd name="T46" fmla="*/ 38 w 122"/>
                <a:gd name="T47" fmla="*/ 21 h 152"/>
                <a:gd name="T48" fmla="*/ 35 w 122"/>
                <a:gd name="T49" fmla="*/ 24 h 152"/>
                <a:gd name="T50" fmla="*/ 33 w 122"/>
                <a:gd name="T51" fmla="*/ 26 h 152"/>
                <a:gd name="T52" fmla="*/ 31 w 122"/>
                <a:gd name="T53" fmla="*/ 27 h 152"/>
                <a:gd name="T54" fmla="*/ 27 w 122"/>
                <a:gd name="T55" fmla="*/ 28 h 152"/>
                <a:gd name="T56" fmla="*/ 23 w 122"/>
                <a:gd name="T57" fmla="*/ 14 h 152"/>
                <a:gd name="T58" fmla="*/ 22 w 122"/>
                <a:gd name="T59" fmla="*/ 11 h 152"/>
                <a:gd name="T60" fmla="*/ 16 w 122"/>
                <a:gd name="T61" fmla="*/ 7 h 152"/>
                <a:gd name="T62" fmla="*/ 16 w 122"/>
                <a:gd name="T63" fmla="*/ 3 h 152"/>
                <a:gd name="T64" fmla="*/ 14 w 122"/>
                <a:gd name="T65" fmla="*/ 3 h 152"/>
                <a:gd name="T66" fmla="*/ 10 w 122"/>
                <a:gd name="T67" fmla="*/ 2 h 1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152">
                  <a:moveTo>
                    <a:pt x="38" y="21"/>
                  </a:moveTo>
                  <a:cubicBezTo>
                    <a:pt x="38" y="21"/>
                    <a:pt x="38" y="21"/>
                    <a:pt x="38" y="21"/>
                  </a:cubicBezTo>
                  <a:cubicBezTo>
                    <a:pt x="38" y="21"/>
                    <a:pt x="38" y="21"/>
                    <a:pt x="38" y="21"/>
                  </a:cubicBezTo>
                  <a:moveTo>
                    <a:pt x="3" y="0"/>
                  </a:moveTo>
                  <a:cubicBezTo>
                    <a:pt x="2" y="5"/>
                    <a:pt x="2" y="5"/>
                    <a:pt x="2" y="5"/>
                  </a:cubicBezTo>
                  <a:cubicBezTo>
                    <a:pt x="0" y="5"/>
                    <a:pt x="0" y="5"/>
                    <a:pt x="0" y="5"/>
                  </a:cubicBezTo>
                  <a:cubicBezTo>
                    <a:pt x="0" y="5"/>
                    <a:pt x="0" y="5"/>
                    <a:pt x="0" y="5"/>
                  </a:cubicBezTo>
                  <a:cubicBezTo>
                    <a:pt x="1" y="9"/>
                    <a:pt x="4" y="11"/>
                    <a:pt x="5" y="15"/>
                  </a:cubicBezTo>
                  <a:cubicBezTo>
                    <a:pt x="6" y="18"/>
                    <a:pt x="6" y="23"/>
                    <a:pt x="5" y="26"/>
                  </a:cubicBezTo>
                  <a:cubicBezTo>
                    <a:pt x="5" y="30"/>
                    <a:pt x="6" y="35"/>
                    <a:pt x="7" y="39"/>
                  </a:cubicBezTo>
                  <a:cubicBezTo>
                    <a:pt x="7" y="43"/>
                    <a:pt x="9" y="46"/>
                    <a:pt x="11" y="50"/>
                  </a:cubicBezTo>
                  <a:cubicBezTo>
                    <a:pt x="13" y="55"/>
                    <a:pt x="13" y="56"/>
                    <a:pt x="12" y="61"/>
                  </a:cubicBezTo>
                  <a:cubicBezTo>
                    <a:pt x="11" y="65"/>
                    <a:pt x="15" y="68"/>
                    <a:pt x="19" y="72"/>
                  </a:cubicBezTo>
                  <a:cubicBezTo>
                    <a:pt x="17" y="72"/>
                    <a:pt x="14" y="73"/>
                    <a:pt x="15" y="75"/>
                  </a:cubicBezTo>
                  <a:cubicBezTo>
                    <a:pt x="16" y="76"/>
                    <a:pt x="19" y="77"/>
                    <a:pt x="21" y="78"/>
                  </a:cubicBezTo>
                  <a:cubicBezTo>
                    <a:pt x="23" y="81"/>
                    <a:pt x="25" y="84"/>
                    <a:pt x="26" y="87"/>
                  </a:cubicBezTo>
                  <a:cubicBezTo>
                    <a:pt x="29" y="91"/>
                    <a:pt x="33" y="94"/>
                    <a:pt x="33" y="100"/>
                  </a:cubicBezTo>
                  <a:cubicBezTo>
                    <a:pt x="33" y="103"/>
                    <a:pt x="32" y="104"/>
                    <a:pt x="35" y="107"/>
                  </a:cubicBezTo>
                  <a:cubicBezTo>
                    <a:pt x="37" y="108"/>
                    <a:pt x="39" y="111"/>
                    <a:pt x="42" y="112"/>
                  </a:cubicBezTo>
                  <a:cubicBezTo>
                    <a:pt x="46" y="115"/>
                    <a:pt x="51" y="118"/>
                    <a:pt x="55" y="121"/>
                  </a:cubicBezTo>
                  <a:cubicBezTo>
                    <a:pt x="60" y="124"/>
                    <a:pt x="65" y="127"/>
                    <a:pt x="70" y="130"/>
                  </a:cubicBezTo>
                  <a:cubicBezTo>
                    <a:pt x="75" y="134"/>
                    <a:pt x="80" y="137"/>
                    <a:pt x="85" y="140"/>
                  </a:cubicBezTo>
                  <a:cubicBezTo>
                    <a:pt x="90" y="143"/>
                    <a:pt x="93" y="148"/>
                    <a:pt x="97" y="152"/>
                  </a:cubicBezTo>
                  <a:cubicBezTo>
                    <a:pt x="98" y="150"/>
                    <a:pt x="102" y="147"/>
                    <a:pt x="104" y="147"/>
                  </a:cubicBezTo>
                  <a:cubicBezTo>
                    <a:pt x="105" y="146"/>
                    <a:pt x="105" y="146"/>
                    <a:pt x="106" y="146"/>
                  </a:cubicBezTo>
                  <a:cubicBezTo>
                    <a:pt x="106" y="146"/>
                    <a:pt x="107" y="147"/>
                    <a:pt x="108" y="147"/>
                  </a:cubicBezTo>
                  <a:cubicBezTo>
                    <a:pt x="108" y="147"/>
                    <a:pt x="109" y="147"/>
                    <a:pt x="109" y="147"/>
                  </a:cubicBezTo>
                  <a:cubicBezTo>
                    <a:pt x="111" y="147"/>
                    <a:pt x="112" y="146"/>
                    <a:pt x="111" y="142"/>
                  </a:cubicBezTo>
                  <a:cubicBezTo>
                    <a:pt x="116" y="144"/>
                    <a:pt x="114" y="144"/>
                    <a:pt x="115" y="149"/>
                  </a:cubicBezTo>
                  <a:cubicBezTo>
                    <a:pt x="115" y="149"/>
                    <a:pt x="115" y="150"/>
                    <a:pt x="116" y="150"/>
                  </a:cubicBezTo>
                  <a:cubicBezTo>
                    <a:pt x="117" y="150"/>
                    <a:pt x="118" y="148"/>
                    <a:pt x="119" y="148"/>
                  </a:cubicBezTo>
                  <a:cubicBezTo>
                    <a:pt x="122" y="143"/>
                    <a:pt x="115" y="136"/>
                    <a:pt x="114" y="133"/>
                  </a:cubicBezTo>
                  <a:cubicBezTo>
                    <a:pt x="111" y="125"/>
                    <a:pt x="105" y="118"/>
                    <a:pt x="101" y="111"/>
                  </a:cubicBezTo>
                  <a:cubicBezTo>
                    <a:pt x="99" y="109"/>
                    <a:pt x="95" y="105"/>
                    <a:pt x="95" y="102"/>
                  </a:cubicBezTo>
                  <a:cubicBezTo>
                    <a:pt x="94" y="97"/>
                    <a:pt x="94" y="92"/>
                    <a:pt x="94" y="87"/>
                  </a:cubicBezTo>
                  <a:cubicBezTo>
                    <a:pt x="93" y="79"/>
                    <a:pt x="95" y="72"/>
                    <a:pt x="95" y="64"/>
                  </a:cubicBezTo>
                  <a:cubicBezTo>
                    <a:pt x="96" y="54"/>
                    <a:pt x="94" y="48"/>
                    <a:pt x="90" y="39"/>
                  </a:cubicBezTo>
                  <a:cubicBezTo>
                    <a:pt x="85" y="31"/>
                    <a:pt x="80" y="27"/>
                    <a:pt x="73" y="22"/>
                  </a:cubicBezTo>
                  <a:cubicBezTo>
                    <a:pt x="69" y="20"/>
                    <a:pt x="67" y="17"/>
                    <a:pt x="65" y="13"/>
                  </a:cubicBezTo>
                  <a:cubicBezTo>
                    <a:pt x="65" y="12"/>
                    <a:pt x="62" y="10"/>
                    <a:pt x="59" y="9"/>
                  </a:cubicBezTo>
                  <a:cubicBezTo>
                    <a:pt x="59" y="9"/>
                    <a:pt x="59" y="9"/>
                    <a:pt x="59" y="9"/>
                  </a:cubicBezTo>
                  <a:cubicBezTo>
                    <a:pt x="59" y="10"/>
                    <a:pt x="58" y="11"/>
                    <a:pt x="58" y="12"/>
                  </a:cubicBezTo>
                  <a:cubicBezTo>
                    <a:pt x="58" y="12"/>
                    <a:pt x="58" y="12"/>
                    <a:pt x="58" y="12"/>
                  </a:cubicBezTo>
                  <a:cubicBezTo>
                    <a:pt x="58" y="13"/>
                    <a:pt x="57" y="15"/>
                    <a:pt x="57" y="15"/>
                  </a:cubicBezTo>
                  <a:cubicBezTo>
                    <a:pt x="55" y="18"/>
                    <a:pt x="53" y="23"/>
                    <a:pt x="47" y="24"/>
                  </a:cubicBezTo>
                  <a:cubicBezTo>
                    <a:pt x="46" y="24"/>
                    <a:pt x="45" y="25"/>
                    <a:pt x="45" y="25"/>
                  </a:cubicBezTo>
                  <a:cubicBezTo>
                    <a:pt x="42" y="25"/>
                    <a:pt x="41" y="23"/>
                    <a:pt x="39" y="22"/>
                  </a:cubicBezTo>
                  <a:cubicBezTo>
                    <a:pt x="38" y="21"/>
                    <a:pt x="38" y="21"/>
                    <a:pt x="38" y="21"/>
                  </a:cubicBezTo>
                  <a:cubicBezTo>
                    <a:pt x="39" y="21"/>
                    <a:pt x="38" y="21"/>
                    <a:pt x="37" y="23"/>
                  </a:cubicBezTo>
                  <a:cubicBezTo>
                    <a:pt x="35" y="24"/>
                    <a:pt x="35" y="24"/>
                    <a:pt x="35" y="24"/>
                  </a:cubicBezTo>
                  <a:cubicBezTo>
                    <a:pt x="34" y="25"/>
                    <a:pt x="34" y="25"/>
                    <a:pt x="34" y="25"/>
                  </a:cubicBezTo>
                  <a:cubicBezTo>
                    <a:pt x="33" y="26"/>
                    <a:pt x="33" y="26"/>
                    <a:pt x="33" y="26"/>
                  </a:cubicBezTo>
                  <a:cubicBezTo>
                    <a:pt x="33" y="26"/>
                    <a:pt x="32" y="27"/>
                    <a:pt x="32" y="27"/>
                  </a:cubicBezTo>
                  <a:cubicBezTo>
                    <a:pt x="31" y="27"/>
                    <a:pt x="31" y="27"/>
                    <a:pt x="31" y="27"/>
                  </a:cubicBezTo>
                  <a:cubicBezTo>
                    <a:pt x="30" y="28"/>
                    <a:pt x="29" y="28"/>
                    <a:pt x="28" y="28"/>
                  </a:cubicBezTo>
                  <a:cubicBezTo>
                    <a:pt x="27" y="28"/>
                    <a:pt x="27" y="28"/>
                    <a:pt x="27" y="28"/>
                  </a:cubicBezTo>
                  <a:cubicBezTo>
                    <a:pt x="26" y="27"/>
                    <a:pt x="24" y="26"/>
                    <a:pt x="23" y="24"/>
                  </a:cubicBezTo>
                  <a:cubicBezTo>
                    <a:pt x="19" y="21"/>
                    <a:pt x="21" y="16"/>
                    <a:pt x="23" y="14"/>
                  </a:cubicBezTo>
                  <a:cubicBezTo>
                    <a:pt x="23" y="12"/>
                    <a:pt x="24" y="11"/>
                    <a:pt x="24" y="11"/>
                  </a:cubicBezTo>
                  <a:cubicBezTo>
                    <a:pt x="23" y="11"/>
                    <a:pt x="23" y="11"/>
                    <a:pt x="22" y="11"/>
                  </a:cubicBezTo>
                  <a:cubicBezTo>
                    <a:pt x="22" y="11"/>
                    <a:pt x="22" y="11"/>
                    <a:pt x="22" y="11"/>
                  </a:cubicBezTo>
                  <a:cubicBezTo>
                    <a:pt x="18" y="11"/>
                    <a:pt x="17" y="8"/>
                    <a:pt x="16" y="7"/>
                  </a:cubicBezTo>
                  <a:cubicBezTo>
                    <a:pt x="16" y="6"/>
                    <a:pt x="16" y="6"/>
                    <a:pt x="16" y="5"/>
                  </a:cubicBezTo>
                  <a:cubicBezTo>
                    <a:pt x="16" y="4"/>
                    <a:pt x="16" y="4"/>
                    <a:pt x="16" y="3"/>
                  </a:cubicBezTo>
                  <a:cubicBezTo>
                    <a:pt x="15" y="3"/>
                    <a:pt x="15" y="3"/>
                    <a:pt x="15" y="3"/>
                  </a:cubicBezTo>
                  <a:cubicBezTo>
                    <a:pt x="14" y="3"/>
                    <a:pt x="14" y="3"/>
                    <a:pt x="14" y="3"/>
                  </a:cubicBezTo>
                  <a:cubicBezTo>
                    <a:pt x="13" y="3"/>
                    <a:pt x="12" y="2"/>
                    <a:pt x="10" y="2"/>
                  </a:cubicBezTo>
                  <a:cubicBezTo>
                    <a:pt x="10" y="2"/>
                    <a:pt x="10" y="2"/>
                    <a:pt x="10" y="2"/>
                  </a:cubicBezTo>
                  <a:cubicBezTo>
                    <a:pt x="7" y="2"/>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37305821"/>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Title Only">
    <p:spTree>
      <p:nvGrpSpPr>
        <p:cNvPr id="1" name=""/>
        <p:cNvGrpSpPr/>
        <p:nvPr/>
      </p:nvGrpSpPr>
      <p:grpSpPr>
        <a:xfrm>
          <a:off x="0" y="0"/>
          <a:ext cx="0" cy="0"/>
        </a:xfrm>
      </p:grpSpPr>
      <p:sp>
        <p:nvSpPr>
          <p:cNvPr id="11" name="Title 10"/>
          <p:cNvSpPr>
            <a:spLocks noGrp="1"/>
          </p:cNvSpPr>
          <p:nvPr>
            <p:ph type="title"/>
          </p:nvPr>
        </p:nvSpPr>
        <p:spPr/>
        <p:txBody>
          <a:bodyPr/>
          <a:lstStyle>
            <a:lvl1pPr>
              <a:defRPr sz="2800">
                <a:latin typeface="+mj-lt"/>
              </a:defRPr>
            </a:lvl1pPr>
          </a:lstStyle>
          <a:p>
            <a:r>
              <a:rPr lang="en-US"/>
              <a:t>Click to edit Master title style</a:t>
            </a:r>
          </a:p>
        </p:txBody>
      </p:sp>
    </p:spTree>
    <p:extLst>
      <p:ext uri="{BB962C8B-B14F-4D97-AF65-F5344CB8AC3E}">
        <p14:creationId xmlns:p14="http://schemas.microsoft.com/office/powerpoint/2010/main" val="2055255854"/>
      </p:ext>
    </p:extLst>
  </p:cSld>
  <p:clrMapOvr>
    <a:masterClrMapping/>
  </p:clrMapOvr>
  <p:transition/>
  <p:timing/>
</p:sldLayout>
</file>

<file path=ppt/slideLayouts/slideLayout19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Tree>
    <p:extLst>
      <p:ext uri="{BB962C8B-B14F-4D97-AF65-F5344CB8AC3E}">
        <p14:creationId xmlns:p14="http://schemas.microsoft.com/office/powerpoint/2010/main" val="2343248592"/>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9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Tree>
    <p:extLst>
      <p:ext uri="{BB962C8B-B14F-4D97-AF65-F5344CB8AC3E}">
        <p14:creationId xmlns:p14="http://schemas.microsoft.com/office/powerpoint/2010/main" val="2214610900"/>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9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Tree>
    <p:extLst>
      <p:ext uri="{BB962C8B-B14F-4D97-AF65-F5344CB8AC3E}">
        <p14:creationId xmlns:p14="http://schemas.microsoft.com/office/powerpoint/2010/main" val="3975043304"/>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9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_Light_Full Bleed Image">
    <p:bg>
      <p:bgPr>
        <a:solidFill>
          <a:schemeClr val="bg1"/>
        </a:solidFill>
        <a:effectLst/>
      </p:bgPr>
    </p:bg>
    <p:spTree>
      <p:nvGrpSpPr>
        <p:cNvPr id="1" name=""/>
        <p:cNvGrpSpPr/>
        <p:nvPr/>
      </p:nvGrpSpPr>
      <p:grpSpPr>
        <a:xfrm>
          <a:off x="0" y="0"/>
          <a:ext cx="0" cy="0"/>
        </a:xfrm>
      </p:grpSpPr>
      <p:sp>
        <p:nvSpPr>
          <p:cNvPr id="7" name="Picture Placeholder 13"/>
          <p:cNvSpPr>
            <a:spLocks noGrp="1"/>
          </p:cNvSpPr>
          <p:nvPr>
            <p:ph type="pic" sz="quarter" idx="12" hasCustomPrompt="1"/>
          </p:nvPr>
        </p:nvSpPr>
        <p:spPr>
          <a:xfrm>
            <a:off x="0" y="0"/>
            <a:ext cx="12192000" cy="6874525"/>
          </a:xfrm>
          <a:solidFill>
            <a:schemeClr val="tx2">
              <a:lumMod val="20000"/>
              <a:lumOff val="80000"/>
            </a:schemeClr>
          </a:solidFill>
        </p:spPr>
        <p:txBody>
          <a:bodyPr lIns="720000" rIns="720000" anchor="ctr" anchorCtr="0"/>
          <a:lstStyle>
            <a:lvl1pPr algn="ctr">
              <a:defRPr sz="1000" cap="all" baseline="0"/>
            </a:lvl1pPr>
          </a:lstStyle>
          <a:p>
            <a:r>
              <a:rPr lang="en-US"/>
              <a:t>Click on the icon to Insert image in placeholder and USE THE CROP TOOL TO CENTER THE IMAGE</a:t>
            </a:r>
          </a:p>
        </p:txBody>
      </p:sp>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Tree>
    <p:extLst>
      <p:ext uri="{BB962C8B-B14F-4D97-AF65-F5344CB8AC3E}">
        <p14:creationId xmlns:p14="http://schemas.microsoft.com/office/powerpoint/2010/main" val="2664864028"/>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9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_Dark_Full Bleed Image">
    <p:bg>
      <p:bgPr>
        <a:solidFill>
          <a:schemeClr val="bg1"/>
        </a:solidFill>
        <a:effectLst/>
      </p:bgPr>
    </p:bg>
    <p:spTree>
      <p:nvGrpSpPr>
        <p:cNvPr id="1" name=""/>
        <p:cNvGrpSpPr/>
        <p:nvPr/>
      </p:nvGrpSpPr>
      <p:grpSpPr>
        <a:xfrm>
          <a:off x="0" y="0"/>
          <a:ext cx="0" cy="0"/>
        </a:xfrm>
      </p:grpSpPr>
      <p:sp>
        <p:nvSpPr>
          <p:cNvPr id="7" name="Picture Placeholder 13"/>
          <p:cNvSpPr>
            <a:spLocks noGrp="1"/>
          </p:cNvSpPr>
          <p:nvPr>
            <p:ph type="pic" sz="quarter" idx="12" hasCustomPrompt="1"/>
          </p:nvPr>
        </p:nvSpPr>
        <p:spPr>
          <a:xfrm>
            <a:off x="0" y="0"/>
            <a:ext cx="12192000" cy="6874525"/>
          </a:xfrm>
          <a:solidFill>
            <a:schemeClr val="accent6"/>
          </a:solidFill>
        </p:spPr>
        <p:txBody>
          <a:bodyPr lIns="720000" rIns="720000" anchor="ctr" anchorCtr="0"/>
          <a:lstStyle>
            <a:lvl1pPr algn="ctr">
              <a:defRPr sz="1000" cap="all" baseline="0">
                <a:solidFill>
                  <a:schemeClr val="bg1"/>
                </a:solidFill>
              </a:defRPr>
            </a:lvl1pPr>
          </a:lstStyle>
          <a:p>
            <a:r>
              <a:rPr lang="en-US"/>
              <a:t>Click on the icon to Insert image in placeholder and USE THE CROP TOOL TO CENTER THE IMAGE</a:t>
            </a:r>
          </a:p>
        </p:txBody>
      </p:sp>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Tree>
    <p:extLst>
      <p:ext uri="{BB962C8B-B14F-4D97-AF65-F5344CB8AC3E}">
        <p14:creationId xmlns:p14="http://schemas.microsoft.com/office/powerpoint/2010/main" val="351433753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9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Subtitle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2840154643"/>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9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Subtitle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4101620596"/>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9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Subtitle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4284339659"/>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9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Light_Full Bleed Image">
    <p:bg>
      <p:bgPr>
        <a:solidFill>
          <a:schemeClr val="bg1"/>
        </a:solidFill>
        <a:effectLst/>
      </p:bgPr>
    </p:bg>
    <p:spTree>
      <p:nvGrpSpPr>
        <p:cNvPr id="1" name=""/>
        <p:cNvGrpSpPr/>
        <p:nvPr/>
      </p:nvGrpSpPr>
      <p:grpSpPr>
        <a:xfrm>
          <a:off x="0" y="0"/>
          <a:ext cx="0" cy="0"/>
        </a:xfrm>
      </p:grpSpPr>
      <p:sp>
        <p:nvSpPr>
          <p:cNvPr id="7" name="Picture Placeholder 13"/>
          <p:cNvSpPr>
            <a:spLocks noGrp="1"/>
          </p:cNvSpPr>
          <p:nvPr>
            <p:ph type="pic" sz="quarter" idx="12" hasCustomPrompt="1"/>
          </p:nvPr>
        </p:nvSpPr>
        <p:spPr>
          <a:xfrm>
            <a:off x="0" y="0"/>
            <a:ext cx="12192000" cy="6874525"/>
          </a:xfrm>
          <a:solidFill>
            <a:schemeClr val="tx2">
              <a:lumMod val="20000"/>
              <a:lumOff val="80000"/>
            </a:schemeClr>
          </a:solidFill>
        </p:spPr>
        <p:txBody>
          <a:bodyPr lIns="720000" rIns="720000" anchor="ctr" anchorCtr="0"/>
          <a:lstStyle>
            <a:lvl1pPr algn="ctr">
              <a:defRPr sz="1000" cap="all" baseline="0"/>
            </a:lvl1pPr>
          </a:lstStyle>
          <a:p>
            <a:r>
              <a:rPr lang="en-US"/>
              <a:t>Click on the icon to Insert image in placeholder and USE THE CROP TOOL TO CENTER THE IMAGE</a:t>
            </a:r>
          </a:p>
        </p:txBody>
      </p:sp>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
        <p:nvSpPr>
          <p:cNvPr id="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accent3"/>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1883006443"/>
      </p:ext>
    </p:extLst>
  </p:cSld>
  <p:clrMapOvr>
    <a:overrideClrMapping bg1="lt1" tx1="dk1" bg2="lt2" tx2="dk2" accent1="accent1" accent2="accent2" accent3="accent3" accent4="accent4" accent5="accent5" accent6="accent6" hlink="hlink" folHlink="folHlink"/>
  </p:clrMapOvr>
  <p:transition/>
  <p:timing/>
</p:sldLayout>
</file>

<file path=ppt/slideLayouts/slideLayout19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Dark_Full Bleed Image">
    <p:bg>
      <p:bgPr>
        <a:solidFill>
          <a:schemeClr val="bg1"/>
        </a:solidFill>
        <a:effectLst/>
      </p:bgPr>
    </p:bg>
    <p:spTree>
      <p:nvGrpSpPr>
        <p:cNvPr id="1" name=""/>
        <p:cNvGrpSpPr/>
        <p:nvPr/>
      </p:nvGrpSpPr>
      <p:grpSpPr>
        <a:xfrm>
          <a:off x="0" y="0"/>
          <a:ext cx="0" cy="0"/>
        </a:xfrm>
      </p:grpSpPr>
      <p:sp>
        <p:nvSpPr>
          <p:cNvPr id="7" name="Picture Placeholder 13"/>
          <p:cNvSpPr>
            <a:spLocks noGrp="1"/>
          </p:cNvSpPr>
          <p:nvPr>
            <p:ph type="pic" sz="quarter" idx="12" hasCustomPrompt="1"/>
          </p:nvPr>
        </p:nvSpPr>
        <p:spPr>
          <a:xfrm>
            <a:off x="0" y="0"/>
            <a:ext cx="12192000" cy="6874525"/>
          </a:xfrm>
          <a:solidFill>
            <a:schemeClr val="accent6"/>
          </a:solidFill>
        </p:spPr>
        <p:txBody>
          <a:bodyPr lIns="720000" rIns="720000" anchor="ctr" anchorCtr="0"/>
          <a:lstStyle>
            <a:lvl1pPr algn="ctr">
              <a:defRPr sz="1000" cap="all" baseline="0">
                <a:solidFill>
                  <a:schemeClr val="bg1"/>
                </a:solidFill>
                <a:latin typeface="+mn-lt"/>
              </a:defRPr>
            </a:lvl1pPr>
          </a:lstStyle>
          <a:p>
            <a:r>
              <a:rPr lang="en-US"/>
              <a:t>Click on the icon to Insert image in placeholder and USE THE CROP TOOL TO CENTER THE IMAGE</a:t>
            </a:r>
          </a:p>
        </p:txBody>
      </p:sp>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551747236"/>
      </p:ext>
    </p:extLst>
  </p:cSld>
  <p:clrMapOvr>
    <a:overrideClrMapping bg1="lt1" tx1="dk1" bg2="lt2" tx2="dk2" accent1="accent1" accent2="accent2" accent3="accent3" accent4="accent4" accent5="accent5" accent6="accent6" hlink="hlink" folHlink="folHlink"/>
  </p:clrMapOvr>
  <p:transition/>
  <p:timing/>
</p:sldLayout>
</file>

<file path=ppt/slideLayouts/slideLayout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5_Blank">
    <p:spTree>
      <p:nvGrpSpPr>
        <p:cNvPr id="1" name=""/>
        <p:cNvGrpSpPr/>
        <p:nvPr/>
      </p:nvGrpSpPr>
      <p:grpSpPr>
        <a:xfrm>
          <a:off x="0" y="0"/>
          <a:ext cx="0" cy="0"/>
        </a:xfrm>
      </p:grpSpPr>
      <p:pic>
        <p:nvPicPr>
          <p:cNvPr id="3" name="Picture 2">
            <a:extLst>
              <a:ext uri="{FF2B5EF4-FFF2-40B4-BE49-F238E27FC236}">
                <a16:creationId xmlns:a16="http://schemas.microsoft.com/office/drawing/2014/main" id="{A3150DEC-B01E-44A8-97CF-C229CCAE445F}"/>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p:cNvSpPr/>
          <p:nvPr userDrawn="1"/>
        </p:nvSpPr>
        <p:spPr>
          <a:xfrm>
            <a:off x="0" y="5373216"/>
            <a:ext cx="12192000" cy="1484784"/>
          </a:xfrm>
          <a:prstGeom prst="rect">
            <a:avLst/>
          </a:prstGeom>
          <a:gradFill>
            <a:gsLst>
              <a:gs pos="0">
                <a:schemeClr val="tx1">
                  <a:alpha val="0"/>
                </a:schemeClr>
              </a:gs>
              <a:gs pos="100000">
                <a:schemeClr val="tx1">
                  <a:alpha val="60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7092125"/>
      </p:ext>
    </p:extLst>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4_Title Slide">
    <p:spTree>
      <p:nvGrpSpPr>
        <p:cNvPr id="1" name=""/>
        <p:cNvGrpSpPr/>
        <p:nvPr/>
      </p:nvGrpSpPr>
      <p:grpSpPr>
        <a:xfrm>
          <a:off x="0" y="0"/>
          <a:ext cx="0" cy="0"/>
        </a:xfrm>
      </p:grpSpPr>
      <p:sp>
        <p:nvSpPr>
          <p:cNvPr id="9" name="Title 8"/>
          <p:cNvSpPr>
            <a:spLocks noGrp="1"/>
          </p:cNvSpPr>
          <p:nvPr>
            <p:ph type="title" hasCustomPrompt="1"/>
          </p:nvPr>
        </p:nvSpPr>
        <p:spPr/>
        <p:txBody>
          <a:bodyPr anchor="t"/>
          <a:lstStyle>
            <a:lvl1pPr>
              <a:defRPr b="1" i="0"/>
            </a:lvl1pPr>
          </a:lstStyle>
          <a:p>
            <a:r>
              <a:rPr lang="en-GB"/>
              <a:t>CLICK TO EDIT MASTER TITLE STYLE</a:t>
            </a:r>
            <a:endParaRPr lang="en-US"/>
          </a:p>
        </p:txBody>
      </p:sp>
      <p:sp>
        <p:nvSpPr>
          <p:cNvPr id="3" name="Content Placeholder 2"/>
          <p:cNvSpPr>
            <a:spLocks noGrp="1"/>
          </p:cNvSpPr>
          <p:nvPr>
            <p:ph sz="quarter" idx="10" hasCustomPrompt="1"/>
          </p:nvPr>
        </p:nvSpPr>
        <p:spPr>
          <a:xfrm>
            <a:off x="356615" y="803497"/>
            <a:ext cx="11458384" cy="1428083"/>
          </a:xfrm>
        </p:spPr>
        <p:txBody>
          <a:bodyPr anchor="t"/>
          <a:lstStyle>
            <a:lvl1pPr marL="0" indent="0">
              <a:buNone/>
              <a:defRPr b="0" i="0">
                <a:solidFill>
                  <a:schemeClr val="tx1"/>
                </a:solidFill>
                <a:latin typeface="Graphik Extralight" panose="020b0303030202060203" pitchFamily="34" charset="77"/>
              </a:defRPr>
            </a:lvl1pPr>
            <a:lvl2pPr marL="609494" indent="0">
              <a:buNone/>
              <a:defRPr b="0" i="0">
                <a:solidFill>
                  <a:schemeClr val="tx1"/>
                </a:solidFill>
                <a:latin typeface="Graphik Extralight" panose="020b0303030202060203" pitchFamily="34" charset="77"/>
              </a:defRPr>
            </a:lvl2pPr>
            <a:lvl3pPr marL="1218986" indent="0">
              <a:buNone/>
              <a:defRPr b="0" i="0">
                <a:solidFill>
                  <a:schemeClr val="tx1"/>
                </a:solidFill>
                <a:latin typeface="Graphik Extralight" panose="020b0303030202060203" pitchFamily="34" charset="77"/>
              </a:defRPr>
            </a:lvl3pPr>
            <a:lvl4pPr marL="1828480" indent="0">
              <a:buNone/>
              <a:defRPr b="0" i="0">
                <a:solidFill>
                  <a:schemeClr val="tx1"/>
                </a:solidFill>
                <a:latin typeface="Graphik Extralight" panose="020b0303030202060203" pitchFamily="34" charset="77"/>
              </a:defRPr>
            </a:lvl4pPr>
            <a:lvl5pPr marL="2437973" indent="0">
              <a:buNone/>
              <a:defRPr b="0" i="0">
                <a:solidFill>
                  <a:schemeClr val="tx1"/>
                </a:solidFill>
                <a:latin typeface="Graphik Extralight" panose="020b0303030202060203" pitchFamily="34"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3EE2776D-0AC8-4D4C-BB82-FD022762F9D8}"/>
              </a:ext>
            </a:extLst>
          </p:cNvPr>
          <p:cNvSpPr>
            <a:spLocks noGrp="1"/>
          </p:cNvSpPr>
          <p:nvPr>
            <p:ph type="sldNum" sz="quarter" idx="4"/>
          </p:nvPr>
        </p:nvSpPr>
        <p:spPr>
          <a:xfrm>
            <a:off x="10826891" y="6577699"/>
            <a:ext cx="989034" cy="123111"/>
          </a:xfrm>
          <a:prstGeom prst="rect">
            <a:avLst/>
          </a:prstGeom>
        </p:spPr>
        <p:txBody>
          <a:bodyPr vert="horz" wrap="square" lIns="0" tIns="0" rIns="0" bIns="0" rtlCol="0" anchor="ctr">
            <a:spAutoFit/>
          </a:bodyPr>
          <a:lstStyle>
            <a:lvl1pPr algn="r">
              <a:defRPr sz="800" b="0" i="0">
                <a:solidFill>
                  <a:schemeClr val="tx2">
                    <a:lumMod val="75000"/>
                  </a:schemeClr>
                </a:solidFill>
                <a:latin typeface="Graphik Light" panose="020b0403030202060203" pitchFamily="34" charset="77"/>
              </a:defRPr>
            </a:lvl1pPr>
          </a:lstStyle>
          <a:p>
            <a:fld id="{9953BA9C-3965-C049-A037-AFDFDBBD05C4}" type="slidenum">
              <a:rPr lang="en-US" smtClean="0"/>
              <a:t>‹#›</a:t>
            </a:fld>
            <a:endParaRPr lang="en-US"/>
          </a:p>
        </p:txBody>
      </p:sp>
    </p:spTree>
    <p:extLst>
      <p:ext uri="{BB962C8B-B14F-4D97-AF65-F5344CB8AC3E}">
        <p14:creationId xmlns:p14="http://schemas.microsoft.com/office/powerpoint/2010/main" val="487854856"/>
      </p:ext>
    </p:extLst>
  </p:cSld>
  <p:clrMapOvr>
    <a:masterClrMapping/>
  </p:clrMapOvr>
  <p:transition/>
  <p:timing/>
</p:sldLayout>
</file>

<file path=ppt/slideLayouts/slideLayout20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_Blue3">
    <p:bg>
      <p:bgPr>
        <a:solidFill>
          <a:schemeClr val="accent3"/>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5" name="Slide Number Placeholder 4"/>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1765604458"/>
      </p:ext>
    </p:extLst>
  </p:cSld>
  <p:clrMapOvr>
    <a:masterClrMapping/>
  </p:clrMapOvr>
  <p:transition/>
  <p:timing/>
</p:sldLayout>
</file>

<file path=ppt/slideLayouts/slideLayout20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_Blue6">
    <p:bg>
      <p:bgPr>
        <a:solidFill>
          <a:schemeClr val="accent6"/>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5" name="Slide Number Placeholder 4"/>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1188118485"/>
      </p:ext>
    </p:extLst>
  </p:cSld>
  <p:clrMapOvr>
    <a:masterClrMapping/>
  </p:clrMapOvr>
  <p:transition/>
  <p:timing/>
</p:sldLayout>
</file>

<file path=ppt/slideLayouts/slideLayout20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_Gradient">
    <p:bg>
      <p:bgPr>
        <a:gradFill>
          <a:gsLst>
            <a:gs pos="0">
              <a:schemeClr val="accent2"/>
            </a:gs>
            <a:gs pos="100000">
              <a:schemeClr val="accent5"/>
            </a:gs>
          </a:gsLst>
          <a:lin ang="1200000" scaled="0"/>
        </a:gra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5" name="Slide Number Placeholder 4"/>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1082481910"/>
      </p:ext>
    </p:extLst>
  </p:cSld>
  <p:clrMapOvr>
    <a:masterClrMapping/>
  </p:clrMapOvr>
  <p:transition/>
  <p:timing/>
</p:sldLayout>
</file>

<file path=ppt/slideLayouts/slideLayout20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Full Bleed Image">
    <p:bg>
      <p:bgPr>
        <a:solidFill>
          <a:schemeClr val="bg1"/>
        </a:solidFill>
        <a:effectLst/>
      </p:bgPr>
    </p:bg>
    <p:spTree>
      <p:nvGrpSpPr>
        <p:cNvPr id="1" name=""/>
        <p:cNvGrpSpPr/>
        <p:nvPr/>
      </p:nvGrpSpPr>
      <p:grpSpPr>
        <a:xfrm>
          <a:off x="0" y="0"/>
          <a:ext cx="0" cy="0"/>
        </a:xfrm>
      </p:grpSpPr>
      <p:sp>
        <p:nvSpPr>
          <p:cNvPr id="7" name="Picture Placeholder 13"/>
          <p:cNvSpPr>
            <a:spLocks noGrp="1"/>
          </p:cNvSpPr>
          <p:nvPr>
            <p:ph type="pic" sz="quarter" idx="12" hasCustomPrompt="1"/>
          </p:nvPr>
        </p:nvSpPr>
        <p:spPr>
          <a:xfrm>
            <a:off x="0" y="0"/>
            <a:ext cx="12192000" cy="6874525"/>
          </a:xfrm>
          <a:solidFill>
            <a:schemeClr val="tx2">
              <a:lumMod val="20000"/>
              <a:lumOff val="80000"/>
            </a:schemeClr>
          </a:solidFill>
        </p:spPr>
        <p:txBody>
          <a:bodyPr lIns="720000" rIns="720000" anchor="ctr" anchorCtr="0"/>
          <a:lstStyle>
            <a:lvl1pPr algn="ctr">
              <a:defRPr sz="1000" cap="all" baseline="0"/>
            </a:lvl1pPr>
          </a:lstStyle>
          <a:p>
            <a:r>
              <a:rPr lang="en-US"/>
              <a:t>Click on the icon to Insert image in placeholder and USE THE CROP TOOL TO CENTER THE IMAGE</a:t>
            </a:r>
          </a:p>
        </p:txBody>
      </p:sp>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409287649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20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ection_Intro_White">
    <p:spTree>
      <p:nvGrpSpPr>
        <p:cNvPr id="1" name=""/>
        <p:cNvGrpSpPr/>
        <p:nvPr/>
      </p:nvGrpSpPr>
      <p:grpSpPr>
        <a:xfrm>
          <a:off x="0" y="0"/>
          <a:ext cx="0" cy="0"/>
        </a:xfrm>
      </p:grpSpPr>
      <p:sp>
        <p:nvSpPr>
          <p:cNvPr id="2" name="Title 1"/>
          <p:cNvSpPr>
            <a:spLocks noGrp="1"/>
          </p:cNvSpPr>
          <p:nvPr>
            <p:ph type="title" hasCustomPrompt="1"/>
          </p:nvPr>
        </p:nvSpPr>
        <p:spPr>
          <a:xfrm>
            <a:off x="345019" y="1763714"/>
            <a:ext cx="5589056" cy="4294187"/>
          </a:xfrm>
        </p:spPr>
        <p:txBody>
          <a:bodyPr anchor="t" anchorCtr="0"/>
          <a:lstStyle>
            <a:lvl1pPr algn="l">
              <a:lnSpc>
                <a:spcPct val="80000"/>
              </a:lnSpc>
              <a:defRPr sz="5064" cap="all" baseline="0">
                <a:solidFill>
                  <a:schemeClr val="accent1"/>
                </a:solidFill>
              </a:defRPr>
            </a:lvl1pPr>
          </a:lstStyle>
          <a:p>
            <a:r>
              <a:rPr lang="en-US"/>
              <a:t>SECTION INTRO</a:t>
            </a:r>
          </a:p>
        </p:txBody>
      </p:sp>
      <p:sp>
        <p:nvSpPr>
          <p:cNvPr id="4" name="Footer Placeholder 3"/>
          <p:cNvSpPr>
            <a:spLocks noGrp="1"/>
          </p:cNvSpPr>
          <p:nvPr>
            <p:ph type="ftr" sz="quarter" idx="31"/>
          </p:nvPr>
        </p:nvSpPr>
        <p:spPr/>
        <p:txBody>
          <a:body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5" name="Text Placeholder 4"/>
          <p:cNvSpPr>
            <a:spLocks noGrp="1"/>
          </p:cNvSpPr>
          <p:nvPr>
            <p:ph type="body" sz="quarter" idx="33" hasCustomPrompt="1"/>
          </p:nvPr>
        </p:nvSpPr>
        <p:spPr>
          <a:xfrm>
            <a:off x="6276975" y="1763713"/>
            <a:ext cx="5578475" cy="4294187"/>
          </a:xfrm>
        </p:spPr>
        <p:txBody>
          <a:bodyPr/>
          <a:lstStyle>
            <a:lvl1pPr>
              <a:defRPr b="1"/>
            </a:lvl1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74522822"/>
      </p:ext>
    </p:extLst>
  </p:cSld>
  <p:clrMapOvr>
    <a:masterClrMapping/>
  </p:clrMapOvr>
  <p:transition/>
  <p:timing/>
</p:sldLayout>
</file>

<file path=ppt/slideLayouts/slideLayout20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ection_Intro_Blue3">
    <p:bg>
      <p:bgPr>
        <a:solidFill>
          <a:schemeClr val="accent3"/>
        </a:solidFill>
        <a:effectLst/>
      </p:bgPr>
    </p:bg>
    <p:spTree>
      <p:nvGrpSpPr>
        <p:cNvPr id="1" name=""/>
        <p:cNvGrpSpPr/>
        <p:nvPr/>
      </p:nvGrpSpPr>
      <p:grpSpPr>
        <a:xfrm>
          <a:off x="0" y="0"/>
          <a:ext cx="0" cy="0"/>
        </a:xfrm>
      </p:grpSpPr>
      <p:sp>
        <p:nvSpPr>
          <p:cNvPr id="2" name="Title 1"/>
          <p:cNvSpPr>
            <a:spLocks noGrp="1"/>
          </p:cNvSpPr>
          <p:nvPr>
            <p:ph type="title" hasCustomPrompt="1"/>
          </p:nvPr>
        </p:nvSpPr>
        <p:spPr>
          <a:xfrm>
            <a:off x="345019" y="1763714"/>
            <a:ext cx="5589056" cy="4294187"/>
          </a:xfrm>
        </p:spPr>
        <p:txBody>
          <a:bodyPr anchor="t" anchorCtr="0"/>
          <a:lstStyle>
            <a:lvl1pPr algn="l">
              <a:lnSpc>
                <a:spcPct val="80000"/>
              </a:lnSpc>
              <a:defRPr sz="5064" cap="all" baseline="0">
                <a:solidFill>
                  <a:schemeClr val="bg1"/>
                </a:solidFill>
              </a:defRPr>
            </a:lvl1pPr>
          </a:lstStyle>
          <a:p>
            <a:r>
              <a:rPr lang="en-US"/>
              <a:t>SECTION INTRO</a:t>
            </a:r>
          </a:p>
        </p:txBody>
      </p:sp>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5" name="Text Placeholder 4"/>
          <p:cNvSpPr>
            <a:spLocks noGrp="1"/>
          </p:cNvSpPr>
          <p:nvPr>
            <p:ph type="body" sz="quarter" idx="33" hasCustomPrompt="1"/>
          </p:nvPr>
        </p:nvSpPr>
        <p:spPr>
          <a:xfrm>
            <a:off x="6276975" y="1763713"/>
            <a:ext cx="5578475" cy="4294187"/>
          </a:xfrm>
        </p:spPr>
        <p:txBody>
          <a:bodyPr/>
          <a:lstStyle>
            <a:lvl1pPr>
              <a:defRPr b="1">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06574675"/>
      </p:ext>
    </p:extLst>
  </p:cSld>
  <p:clrMapOvr>
    <a:masterClrMapping/>
  </p:clrMapOvr>
  <p:transition/>
  <p:timing/>
</p:sldLayout>
</file>

<file path=ppt/slideLayouts/slideLayout20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Keypoint_Blue3">
    <p:bg>
      <p:bgPr>
        <a:solidFill>
          <a:schemeClr val="accent3"/>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2331879"/>
            <a:ext cx="11474082" cy="1096328"/>
          </a:xfrm>
        </p:spPr>
        <p:txBody>
          <a:bodyPr anchor="b">
            <a:spAutoFit/>
          </a:bodyPr>
          <a:lstStyle>
            <a:lvl1pPr algn="ctr">
              <a:lnSpc>
                <a:spcPct val="80000"/>
              </a:lnSpc>
              <a:spcBef>
                <a:spcPct val="0"/>
              </a:spcBef>
              <a:defRPr sz="4399" b="0"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at </a:t>
            </a:r>
            <a:br>
              <a:rPr lang="en-US"/>
            </a:br>
            <a:r>
              <a:rPr lang="en-US"/>
              <a:t>44pt min 36pt MAX 3 LINES</a:t>
            </a:r>
          </a:p>
        </p:txBody>
      </p:sp>
      <p:sp>
        <p:nvSpPr>
          <p:cNvPr id="5" name="Text Placeholder 3"/>
          <p:cNvSpPr>
            <a:spLocks noGrp="1"/>
          </p:cNvSpPr>
          <p:nvPr>
            <p:ph type="body" sz="quarter" idx="13" hasCustomPrompt="1"/>
          </p:nvPr>
        </p:nvSpPr>
        <p:spPr>
          <a:xfrm>
            <a:off x="355739" y="3496772"/>
            <a:ext cx="11474082" cy="1292277"/>
          </a:xfrm>
        </p:spPr>
        <p:txBody>
          <a:bodyPr>
            <a:spAutoFit/>
          </a:bodyPr>
          <a:lstStyle>
            <a:lvl1pPr algn="ctr">
              <a:defRPr sz="2799" b="0" cap="none" baseline="0">
                <a:solidFill>
                  <a:schemeClr val="accent6"/>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maximum 3 lines to support </a:t>
            </a:r>
            <a:br>
              <a:rPr lang="en-US"/>
            </a:br>
            <a:r>
              <a:rPr lang="en-US"/>
              <a:t>main title. Text here should be 28pt, </a:t>
            </a:r>
            <a:br>
              <a:rPr lang="en-US"/>
            </a:br>
            <a:r>
              <a:rPr lang="en-US"/>
              <a:t>minimum 20pt and sentence case.</a:t>
            </a:r>
          </a:p>
        </p:txBody>
      </p:sp>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2754815389"/>
      </p:ext>
    </p:extLst>
  </p:cSld>
  <p:clrMapOvr>
    <a:masterClrMapping/>
  </p:clrMapOvr>
  <p:transition/>
  <p:timing/>
</p:sldLayout>
</file>

<file path=ppt/slideLayouts/slideLayout20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Divider_LargeFont_Image">
    <p:bg>
      <p:bgPr>
        <a:solidFill>
          <a:schemeClr val="bg1"/>
        </a:solidFill>
        <a:effectLst/>
      </p:bgPr>
    </p:bg>
    <p:spTree>
      <p:nvGrpSpPr>
        <p:cNvPr id="1" name=""/>
        <p:cNvGrpSpPr/>
        <p:nvPr/>
      </p:nvGrpSpPr>
      <p:grpSpPr>
        <a:xfrm>
          <a:off x="0" y="0"/>
          <a:ext cx="0" cy="0"/>
        </a:xfrm>
      </p:grpSpPr>
      <p:sp>
        <p:nvSpPr>
          <p:cNvPr id="5" name="Picture Placeholder 13"/>
          <p:cNvSpPr>
            <a:spLocks noGrp="1"/>
          </p:cNvSpPr>
          <p:nvPr>
            <p:ph type="pic" sz="quarter" idx="33" hasCustomPrompt="1"/>
          </p:nvPr>
        </p:nvSpPr>
        <p:spPr>
          <a:xfrm>
            <a:off x="0" y="0"/>
            <a:ext cx="12192000" cy="6874525"/>
          </a:xfrm>
          <a:solidFill>
            <a:schemeClr val="tx2">
              <a:lumMod val="20000"/>
              <a:lumOff val="80000"/>
            </a:schemeClr>
          </a:solidFill>
        </p:spPr>
        <p:txBody>
          <a:bodyPr lIns="720000" tIns="1800000" rIns="720000" anchor="ctr" anchorCtr="0"/>
          <a:lstStyle>
            <a:lvl1pPr algn="ctr">
              <a:defRPr sz="1000" cap="all" baseline="0"/>
            </a:lvl1pPr>
          </a:lstStyle>
          <a:p>
            <a:r>
              <a:rPr lang="en-US"/>
              <a:t>Click on the icon to Insert image in placeholder and USE THE CROP TOOL TO CENTER THE IMAGE</a:t>
            </a:r>
          </a:p>
        </p:txBody>
      </p:sp>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accent6"/>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1080374856"/>
      </p:ext>
    </p:extLst>
  </p:cSld>
  <p:clrMapOvr>
    <a:masterClrMapping/>
  </p:clrMapOvr>
  <p:transition/>
  <p:timing/>
</p:sldLayout>
</file>

<file path=ppt/slideLayouts/slideLayout20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Divider_LargeFont_Dark_Image">
    <p:bg>
      <p:bgPr>
        <a:solidFill>
          <a:schemeClr val="bg1"/>
        </a:solidFill>
        <a:effectLst/>
      </p:bgPr>
    </p:bg>
    <p:spTree>
      <p:nvGrpSpPr>
        <p:cNvPr id="1" name=""/>
        <p:cNvGrpSpPr/>
        <p:nvPr/>
      </p:nvGrpSpPr>
      <p:grpSpPr>
        <a:xfrm>
          <a:off x="0" y="0"/>
          <a:ext cx="0" cy="0"/>
        </a:xfrm>
      </p:grpSpPr>
      <p:sp>
        <p:nvSpPr>
          <p:cNvPr id="5" name="Picture Placeholder 13"/>
          <p:cNvSpPr>
            <a:spLocks noGrp="1"/>
          </p:cNvSpPr>
          <p:nvPr>
            <p:ph type="pic" sz="quarter" idx="33" hasCustomPrompt="1"/>
          </p:nvPr>
        </p:nvSpPr>
        <p:spPr>
          <a:xfrm>
            <a:off x="0" y="0"/>
            <a:ext cx="12192000" cy="6874525"/>
          </a:xfrm>
          <a:solidFill>
            <a:schemeClr val="accent6"/>
          </a:solidFill>
        </p:spPr>
        <p:txBody>
          <a:bodyPr lIns="720000" tIns="1800000" rIns="720000" anchor="ctr" anchorCtr="0"/>
          <a:lstStyle>
            <a:lvl1pPr algn="ctr">
              <a:defRPr sz="1000" cap="all" baseline="0">
                <a:solidFill>
                  <a:schemeClr val="bg1"/>
                </a:solidFill>
              </a:defRPr>
            </a:lvl1pPr>
          </a:lstStyle>
          <a:p>
            <a:r>
              <a:rPr lang="en-US"/>
              <a:t>Click on the icon to Insert image in placeholder and USE THE CROP TOOL TO CENTER THE IMAGE</a:t>
            </a:r>
          </a:p>
        </p:txBody>
      </p:sp>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1496947581"/>
      </p:ext>
    </p:extLst>
  </p:cSld>
  <p:clrMapOvr>
    <a:masterClrMapping/>
  </p:clrMapOvr>
  <p:transition/>
  <p:timing/>
</p:sldLayout>
</file>

<file path=ppt/slideLayouts/slideLayout20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Divider_LargeFont_Blue2">
    <p:bg>
      <p:bgPr>
        <a:solidFill>
          <a:schemeClr val="accent2"/>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accent6"/>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5" name="Footer Placeholder 1"/>
          <p:cNvSpPr>
            <a:spLocks noGrp="1"/>
          </p:cNvSpPr>
          <p:nvPr>
            <p:ph type="ftr" sz="quarter" idx="34"/>
          </p:nvPr>
        </p:nvSpPr>
        <p:spPr>
          <a:xfrm>
            <a:off x="7410450" y="6386400"/>
            <a:ext cx="4114800" cy="140400"/>
          </a:xfrm>
        </p:spPr>
        <p:txBody>
          <a:bodyPr/>
          <a:lstStyle>
            <a:lvl1pPr>
              <a:defRPr>
                <a:solidFill>
                  <a:schemeClr val="tx1">
                    <a:alpha val="50000"/>
                  </a:schemeClr>
                </a:solidFill>
              </a:defRPr>
            </a:lvl1pPr>
          </a:lstStyle>
          <a:p>
            <a:r>
              <a:rPr lang="en-US"/>
              <a:t>Copyright © 2017 Accenture. All rights reserved.</a:t>
            </a:r>
            <a:endParaRPr lang="en-AU"/>
          </a:p>
        </p:txBody>
      </p:sp>
      <p:sp>
        <p:nvSpPr>
          <p:cNvPr id="9" name="Slide Number Placeholder 2"/>
          <p:cNvSpPr>
            <a:spLocks noGrp="1"/>
          </p:cNvSpPr>
          <p:nvPr>
            <p:ph type="sldNum" sz="quarter" idx="35"/>
          </p:nvPr>
        </p:nvSpPr>
        <p:spPr>
          <a:xfrm>
            <a:off x="11639450" y="6386400"/>
            <a:ext cx="216000" cy="140400"/>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3235262625"/>
      </p:ext>
    </p:extLst>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Blank">
    <p:spTree>
      <p:nvGrpSpPr>
        <p:cNvPr id="1" name=""/>
        <p:cNvGrpSpPr/>
        <p:nvPr/>
      </p:nvGrpSpPr>
      <p:grpSpPr>
        <a:xfrm>
          <a:off x="0" y="0"/>
          <a:ext cx="0" cy="0"/>
        </a:xfrm>
      </p:grpSpPr>
      <p:sp>
        <p:nvSpPr>
          <p:cNvPr id="6" name="Date Placeholder 5">
            <a:extLst>
              <a:ext uri="{FF2B5EF4-FFF2-40B4-BE49-F238E27FC236}">
                <a16:creationId xmlns:a16="http://schemas.microsoft.com/office/drawing/2014/main" id="{FED9FCD2-4DC9-49ED-BC06-F72EA3B0DAB6}"/>
              </a:ext>
            </a:extLst>
          </p:cNvPr>
          <p:cNvSpPr>
            <a:spLocks noGrp="1"/>
          </p:cNvSpPr>
          <p:nvPr>
            <p:ph type="dt" sz="half" idx="10"/>
          </p:nvPr>
        </p:nvSpPr>
        <p:spPr/>
        <p:txBody>
          <a:bodyPr/>
          <a:lstStyle/>
          <a:p>
            <a:fld id="{3FC91652-B8FB-4C16-8EB8-9DEDDA0AB8D2}" type="datetimeFigureOut">
              <a:rPr lang="en-US" smtClean="0"/>
              <a:t>9/27/2021</a:t>
            </a:fld>
            <a:endParaRPr lang="en-US"/>
          </a:p>
        </p:txBody>
      </p:sp>
      <p:sp>
        <p:nvSpPr>
          <p:cNvPr id="8" name="Footer Placeholder 7">
            <a:extLst>
              <a:ext uri="{FF2B5EF4-FFF2-40B4-BE49-F238E27FC236}">
                <a16:creationId xmlns:a16="http://schemas.microsoft.com/office/drawing/2014/main" id="{42552B5F-DC6B-478C-9C58-EC30E68CDAC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B76C618-7A89-4CFD-BB67-F5CAFE8531D0}"/>
              </a:ext>
            </a:extLst>
          </p:cNvPr>
          <p:cNvSpPr>
            <a:spLocks noGrp="1"/>
          </p:cNvSpPr>
          <p:nvPr>
            <p:ph type="sldNum" sz="quarter" idx="12"/>
          </p:nvPr>
        </p:nvSpPr>
        <p:spPr/>
        <p:txBody>
          <a:bodyPr/>
          <a:lstStyle/>
          <a:p>
            <a:fld id="{4DA8C32A-CDF2-4CA4-9162-7087E97F787D}" type="slidenum">
              <a:rPr lang="en-US" smtClean="0"/>
              <a:t>‹#›</a:t>
            </a:fld>
            <a:endParaRPr lang="en-US"/>
          </a:p>
        </p:txBody>
      </p:sp>
    </p:spTree>
    <p:extLst>
      <p:ext uri="{BB962C8B-B14F-4D97-AF65-F5344CB8AC3E}">
        <p14:creationId xmlns:p14="http://schemas.microsoft.com/office/powerpoint/2010/main" val="4205239195"/>
      </p:ext>
    </p:extLst>
  </p:cSld>
  <p:clrMapOvr>
    <a:masterClrMapping/>
  </p:clrMapOvr>
  <p:transition/>
  <p:timing/>
</p:sldLayout>
</file>

<file path=ppt/slideLayouts/slideLayout2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Divider_LargeFont_HeroBlue">
    <p:bg>
      <p:bgPr>
        <a:solidFill>
          <a:schemeClr val="accent1"/>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763521634"/>
      </p:ext>
    </p:extLst>
  </p:cSld>
  <p:clrMapOvr>
    <a:masterClrMapping/>
  </p:clrMapOvr>
  <p:transition/>
  <p:timing/>
</p:sldLayout>
</file>

<file path=ppt/slideLayouts/slideLayout2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Divider_LargeFont_Blue3">
    <p:bg>
      <p:bgPr>
        <a:solidFill>
          <a:schemeClr val="accent3"/>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5" name="Footer Placeholder 1"/>
          <p:cNvSpPr>
            <a:spLocks noGrp="1"/>
          </p:cNvSpPr>
          <p:nvPr>
            <p:ph type="ftr" sz="quarter" idx="34"/>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p>
        </p:txBody>
      </p:sp>
      <p:sp>
        <p:nvSpPr>
          <p:cNvPr id="9" name="Slide Number Placeholder 2"/>
          <p:cNvSpPr>
            <a:spLocks noGrp="1"/>
          </p:cNvSpPr>
          <p:nvPr>
            <p:ph type="sldNum" sz="quarter" idx="35"/>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302753606"/>
      </p:ext>
    </p:extLst>
  </p:cSld>
  <p:clrMapOvr>
    <a:masterClrMapping/>
  </p:clrMapOvr>
  <p:transition/>
  <p:timing/>
</p:sldLayout>
</file>

<file path=ppt/slideLayouts/slideLayout2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Divider_LargeFont_Blue4">
    <p:bg>
      <p:bgPr>
        <a:solidFill>
          <a:schemeClr val="accent4"/>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ct val="0"/>
              </a:spcBef>
              <a:defRPr sz="5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5" name="Footer Placeholder 1"/>
          <p:cNvSpPr>
            <a:spLocks noGrp="1"/>
          </p:cNvSpPr>
          <p:nvPr>
            <p:ph type="ftr" sz="quarter" idx="34"/>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p>
        </p:txBody>
      </p:sp>
      <p:sp>
        <p:nvSpPr>
          <p:cNvPr id="9" name="Slide Number Placeholder 2"/>
          <p:cNvSpPr>
            <a:spLocks noGrp="1"/>
          </p:cNvSpPr>
          <p:nvPr>
            <p:ph type="sldNum" sz="quarter" idx="35"/>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3543700716"/>
      </p:ext>
    </p:extLst>
  </p:cSld>
  <p:clrMapOvr>
    <a:masterClrMapping/>
  </p:clrMapOvr>
  <p:transition/>
  <p:timing/>
</p:sldLayout>
</file>

<file path=ppt/slideLayouts/slideLayout2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STATEMENT SLIDE">
    <p:bg>
      <p:bgPr>
        <a:solidFill>
          <a:schemeClr val="bg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9" name="Text Placeholder 7"/>
          <p:cNvSpPr>
            <a:spLocks noGrp="1"/>
          </p:cNvSpPr>
          <p:nvPr>
            <p:ph type="body" sz="quarter" idx="36" hasCustomPrompt="1"/>
          </p:nvPr>
        </p:nvSpPr>
        <p:spPr>
          <a:xfrm>
            <a:off x="4800600" y="2586278"/>
            <a:ext cx="7054850" cy="2025650"/>
          </a:xfrm>
        </p:spPr>
        <p:txBody>
          <a:bodyPr/>
          <a:lstStyle>
            <a:lvl1pPr marL="0" marR="0" indent="0" algn="l" defTabSz="1734634" rtl="0" eaLnBrk="1" fontAlgn="auto" latinLnBrk="0" hangingPunct="1">
              <a:lnSpc>
                <a:spcPct val="80000"/>
              </a:lnSpc>
              <a:spcBef>
                <a:spcPts val="800"/>
              </a:spcBef>
              <a:spcAft>
                <a:spcPct val="0"/>
              </a:spcAft>
              <a:buClrTx/>
              <a:buSzTx/>
              <a:buFont typeface="Arial"/>
              <a:buNone/>
              <a:defRPr lang="en-US" sz="4799" b="1" kern="0" smtClean="0">
                <a:solidFill>
                  <a:srgbClr val="000088"/>
                </a:solidFill>
                <a:latin typeface="+mj-lt"/>
                <a:ea typeface="Gotham Black"/>
                <a:cs typeface="Gotham Black"/>
                <a:sym typeface="Gotham Black"/>
              </a:defRPr>
            </a:lvl1pPr>
          </a:lstStyle>
          <a:p>
            <a:pPr marL="0" marR="0" lvl="0" indent="0" algn="l" defTabSz="1734634" rtl="0" eaLnBrk="1" fontAlgn="auto" latinLnBrk="0" hangingPunct="1">
              <a:lnSpc>
                <a:spcPct val="80000"/>
              </a:lnSpc>
              <a:spcBef>
                <a:spcPts val="800"/>
              </a:spcBef>
              <a:spcAft>
                <a:spcPct val="0"/>
              </a:spcAft>
              <a:buClrTx/>
              <a:buSzTx/>
              <a:buFont typeface="Arial"/>
              <a:buNone/>
              <a:defRPr/>
            </a:pPr>
            <a:r>
              <a:rPr lang="en-US" sz="4799" kern="0">
                <a:solidFill>
                  <a:schemeClr val="accent6"/>
                </a:solidFill>
                <a:latin typeface="+mj-lt"/>
              </a:rPr>
              <a:t>MAXIMUM 48PT MINIMUM 44PT </a:t>
            </a:r>
            <a:br>
              <a:rPr lang="en-US" sz="4799" kern="0">
                <a:solidFill>
                  <a:schemeClr val="accent6"/>
                </a:solidFill>
                <a:latin typeface="+mj-lt"/>
              </a:rPr>
            </a:br>
            <a:r>
              <a:rPr lang="en-US" sz="4799" kern="0">
                <a:solidFill>
                  <a:schemeClr val="accent6"/>
                </a:solidFill>
                <a:latin typeface="+mj-lt"/>
              </a:rPr>
              <a:t>MAX 3 LINES.</a:t>
            </a:r>
          </a:p>
          <a:p>
            <a:pPr lvl="0"/>
            <a:endParaRPr lang="en-US"/>
          </a:p>
        </p:txBody>
      </p:sp>
    </p:spTree>
    <p:extLst>
      <p:ext uri="{BB962C8B-B14F-4D97-AF65-F5344CB8AC3E}">
        <p14:creationId xmlns:p14="http://schemas.microsoft.com/office/powerpoint/2010/main" val="3372520934"/>
      </p:ext>
    </p:extLst>
  </p:cSld>
  <p:clrMapOvr>
    <a:masterClrMapping/>
  </p:clrMapOvr>
  <p:transition/>
  <p:timing/>
</p:sldLayout>
</file>

<file path=ppt/slideLayouts/slideLayout2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_STATEMENT SLIDE_WHITE_TEXT">
    <p:bg>
      <p:bgPr>
        <a:solidFill>
          <a:schemeClr val="accent6"/>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8" name="Text Placeholder 5"/>
          <p:cNvSpPr>
            <a:spLocks noGrp="1"/>
          </p:cNvSpPr>
          <p:nvPr>
            <p:ph type="body" sz="quarter" idx="36" hasCustomPrompt="1"/>
          </p:nvPr>
        </p:nvSpPr>
        <p:spPr>
          <a:xfrm>
            <a:off x="936625" y="2353157"/>
            <a:ext cx="6975475" cy="1905000"/>
          </a:xfrm>
        </p:spPr>
        <p:txBody>
          <a:bodyPr/>
          <a:lstStyle>
            <a:lvl1pPr>
              <a:lnSpc>
                <a:spcPct val="80000"/>
              </a:lnSpc>
              <a:defRPr lang="en-US" sz="4799" b="1" kern="0" baseline="0" smtClean="0">
                <a:solidFill>
                  <a:schemeClr val="bg1"/>
                </a:solidFill>
                <a:latin typeface="+mj-lt"/>
                <a:ea typeface="Gotham Black"/>
                <a:cs typeface="Gotham Black"/>
                <a:sym typeface="Gotham Black"/>
              </a:defRPr>
            </a:lvl1pPr>
          </a:lstStyle>
          <a:p>
            <a:pPr lvl="0"/>
            <a:r>
              <a:rPr lang="en-US"/>
              <a:t>MAXIMUM 48PT</a:t>
            </a:r>
            <a:br>
              <a:rPr lang="en-US"/>
            </a:br>
            <a:r>
              <a:rPr lang="en-US"/>
              <a:t>MINIMUM 44PT</a:t>
            </a:r>
            <a:br>
              <a:rPr lang="en-US"/>
            </a:br>
            <a:r>
              <a:rPr lang="en-US"/>
              <a:t>MAX 3 LINES</a:t>
            </a:r>
          </a:p>
        </p:txBody>
      </p:sp>
    </p:spTree>
    <p:extLst>
      <p:ext uri="{BB962C8B-B14F-4D97-AF65-F5344CB8AC3E}">
        <p14:creationId xmlns:p14="http://schemas.microsoft.com/office/powerpoint/2010/main" val="461399022"/>
      </p:ext>
    </p:extLst>
  </p:cSld>
  <p:clrMapOvr>
    <a:masterClrMapping/>
  </p:clrMapOvr>
  <p:transition/>
  <p:timing/>
</p:sldLayout>
</file>

<file path=ppt/slideLayouts/slideLayout2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Keypoint_Top_Left_Image_ DARK_GREY_PAGE NUMBER">
    <p:bg>
      <p:bgPr>
        <a:solidFill>
          <a:schemeClr val="bg1"/>
        </a:solidFill>
        <a:effectLst/>
      </p:bgPr>
    </p:bg>
    <p:spTree>
      <p:nvGrpSpPr>
        <p:cNvPr id="1" name=""/>
        <p:cNvGrpSpPr/>
        <p:nvPr/>
      </p:nvGrpSpPr>
      <p:grpSpPr>
        <a:xfrm>
          <a:off x="0" y="0"/>
          <a:ext cx="0" cy="0"/>
        </a:xfrm>
      </p:grpSpPr>
      <p:sp>
        <p:nvSpPr>
          <p:cNvPr id="6" name="Text Placeholder 5"/>
          <p:cNvSpPr>
            <a:spLocks noGrp="1"/>
          </p:cNvSpPr>
          <p:nvPr>
            <p:ph type="body" sz="quarter" idx="12" hasCustomPrompt="1"/>
          </p:nvPr>
        </p:nvSpPr>
        <p:spPr>
          <a:xfrm>
            <a:off x="355739" y="618028"/>
            <a:ext cx="7544947" cy="1637949"/>
          </a:xfrm>
        </p:spPr>
        <p:txBody>
          <a:bodyPr wrap="square" anchor="t">
            <a:spAutoFit/>
          </a:bodyPr>
          <a:lstStyle>
            <a:lvl1pPr marL="0" marR="0" indent="0" algn="l" defTabSz="1734634" rtl="0" eaLnBrk="1" fontAlgn="auto" latinLnBrk="0" hangingPunct="1">
              <a:lnSpc>
                <a:spcPct val="80000"/>
              </a:lnSpc>
              <a:spcBef>
                <a:spcPct val="0"/>
              </a:spcBef>
              <a:spcAft>
                <a:spcPct val="0"/>
              </a:spcAft>
              <a:buClrTx/>
              <a:buSzTx/>
              <a:buFont typeface="Arial"/>
              <a:buNone/>
              <a:defRPr sz="4399" b="0" cap="all" baseline="0">
                <a:solidFill>
                  <a:schemeClr val="accent6"/>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pPr marL="0" marR="0" lvl="0" indent="0" algn="l" defTabSz="1734634" rtl="0" eaLnBrk="1" fontAlgn="auto" latinLnBrk="0" hangingPunct="1">
              <a:lnSpc>
                <a:spcPct val="80000"/>
              </a:lnSpc>
              <a:spcBef>
                <a:spcPct val="0"/>
              </a:spcBef>
              <a:spcAft>
                <a:spcPct val="0"/>
              </a:spcAft>
              <a:buClrTx/>
              <a:buSzTx/>
              <a:buFont typeface="Arial"/>
              <a:buNone/>
              <a:defRPr/>
            </a:pPr>
            <a:r>
              <a:rPr lang="en-US"/>
              <a:t>INSERT STATEMENT TEXT at 44pt minimum 36pt max 3 lines</a:t>
            </a:r>
          </a:p>
        </p:txBody>
      </p:sp>
      <p:sp>
        <p:nvSpPr>
          <p:cNvPr id="5" name="Footer Placeholder 3"/>
          <p:cNvSpPr>
            <a:spLocks noGrp="1"/>
          </p:cNvSpPr>
          <p:nvPr>
            <p:ph type="ftr" sz="quarter" idx="34"/>
          </p:nvPr>
        </p:nvSpPr>
        <p:spPr>
          <a:xfrm>
            <a:off x="7410450" y="6386400"/>
            <a:ext cx="4114800" cy="140400"/>
          </a:xfrm>
        </p:spPr>
        <p:txBody>
          <a:bodyPr/>
          <a:lstStyle/>
          <a:p>
            <a:r>
              <a:rPr lang="en-US">
                <a:solidFill>
                  <a:schemeClr val="tx1">
                    <a:lumMod val="50000"/>
                    <a:lumOff val="50000"/>
                  </a:schemeClr>
                </a:solidFill>
              </a:rPr>
              <a:t>Copyright © 2017 Accenture. All rights reserved.</a:t>
            </a:r>
          </a:p>
        </p:txBody>
      </p:sp>
      <p:sp>
        <p:nvSpPr>
          <p:cNvPr id="8" name="Slide Number Placeholder 4"/>
          <p:cNvSpPr>
            <a:spLocks noGrp="1"/>
          </p:cNvSpPr>
          <p:nvPr>
            <p:ph type="sldNum" sz="quarter" idx="35"/>
          </p:nvPr>
        </p:nvSpPr>
        <p:spPr>
          <a:xfrm>
            <a:off x="11639450" y="6386400"/>
            <a:ext cx="216000" cy="140400"/>
          </a:xfrm>
        </p:spPr>
        <p:txBody>
          <a:bodyPr/>
          <a:lstStyle/>
          <a:p>
            <a:fld id="{90CBDC3A-D49F-4631-A8C7-55D59B33E5FA}" type="slidenum">
              <a:rPr lang="en-US" smtClean="0">
                <a:solidFill>
                  <a:schemeClr val="tx1">
                    <a:lumMod val="50000"/>
                    <a:lumOff val="50000"/>
                  </a:schemeClr>
                </a:solidFill>
              </a:rPr>
              <a:t>‹#›</a:t>
            </a:fld>
            <a:endParaRPr lang="en-US">
              <a:solidFill>
                <a:schemeClr val="tx1">
                  <a:lumMod val="50000"/>
                  <a:lumOff val="50000"/>
                </a:schemeClr>
              </a:solidFill>
            </a:endParaRPr>
          </a:p>
        </p:txBody>
      </p:sp>
    </p:spTree>
    <p:extLst>
      <p:ext uri="{BB962C8B-B14F-4D97-AF65-F5344CB8AC3E}">
        <p14:creationId xmlns:p14="http://schemas.microsoft.com/office/powerpoint/2010/main" val="451726937"/>
      </p:ext>
    </p:extLst>
  </p:cSld>
  <p:clrMapOvr>
    <a:masterClrMapping/>
  </p:clrMapOvr>
  <p:transition/>
  <p:timing/>
</p:sldLayout>
</file>

<file path=ppt/slideLayouts/slideLayout2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Keypoint_Top_Left_Dark_Image">
    <p:bg>
      <p:bgPr>
        <a:solidFill>
          <a:schemeClr val="bg1"/>
        </a:solidFill>
        <a:effectLst/>
      </p:bgPr>
    </p:bg>
    <p:spTree>
      <p:nvGrpSpPr>
        <p:cNvPr id="1" name=""/>
        <p:cNvGrpSpPr/>
        <p:nvPr/>
      </p:nvGrpSpPr>
      <p:grpSpPr>
        <a:xfrm>
          <a:off x="0" y="0"/>
          <a:ext cx="0" cy="0"/>
        </a:xfrm>
      </p:grpSpPr>
      <p:sp>
        <p:nvSpPr>
          <p:cNvPr id="5" name="Picture Placeholder 13"/>
          <p:cNvSpPr>
            <a:spLocks noGrp="1"/>
          </p:cNvSpPr>
          <p:nvPr>
            <p:ph type="pic" sz="quarter" idx="33" hasCustomPrompt="1"/>
          </p:nvPr>
        </p:nvSpPr>
        <p:spPr>
          <a:xfrm>
            <a:off x="0" y="0"/>
            <a:ext cx="12192000" cy="6874525"/>
          </a:xfrm>
          <a:solidFill>
            <a:schemeClr val="accent6"/>
          </a:solidFill>
        </p:spPr>
        <p:txBody>
          <a:bodyPr lIns="720000" rIns="720000" anchor="ctr" anchorCtr="0"/>
          <a:lstStyle>
            <a:lvl1pPr algn="ctr">
              <a:defRPr sz="1000" cap="all" baseline="0">
                <a:solidFill>
                  <a:schemeClr val="bg1"/>
                </a:solidFill>
              </a:defRPr>
            </a:lvl1pPr>
          </a:lstStyle>
          <a:p>
            <a:r>
              <a:rPr lang="en-US"/>
              <a:t>Click on the icon to Insert image in placeholder and USE THE CROP TOOL TO CENTER THE IMAGE</a:t>
            </a:r>
          </a:p>
        </p:txBody>
      </p:sp>
      <p:sp>
        <p:nvSpPr>
          <p:cNvPr id="6" name="Text Placeholder 5"/>
          <p:cNvSpPr>
            <a:spLocks noGrp="1"/>
          </p:cNvSpPr>
          <p:nvPr>
            <p:ph type="body" sz="quarter" idx="12" hasCustomPrompt="1"/>
          </p:nvPr>
        </p:nvSpPr>
        <p:spPr>
          <a:xfrm>
            <a:off x="355739" y="618028"/>
            <a:ext cx="7544947" cy="1637949"/>
          </a:xfrm>
        </p:spPr>
        <p:txBody>
          <a:bodyPr wrap="square" anchor="t">
            <a:spAutoFit/>
          </a:bodyPr>
          <a:lstStyle>
            <a:lvl1pPr marL="0" marR="0" indent="0" algn="l" defTabSz="1734634" rtl="0" eaLnBrk="1" fontAlgn="auto" latinLnBrk="0" hangingPunct="1">
              <a:lnSpc>
                <a:spcPct val="80000"/>
              </a:lnSpc>
              <a:spcBef>
                <a:spcPct val="0"/>
              </a:spcBef>
              <a:spcAft>
                <a:spcPct val="0"/>
              </a:spcAft>
              <a:buClrTx/>
              <a:buSzTx/>
              <a:buFont typeface="Arial"/>
              <a:buNone/>
              <a:defRPr sz="43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pPr marL="0" marR="0" lvl="0" indent="0" algn="l" defTabSz="1734634" rtl="0" eaLnBrk="1" fontAlgn="auto" latinLnBrk="0" hangingPunct="1">
              <a:lnSpc>
                <a:spcPct val="80000"/>
              </a:lnSpc>
              <a:spcBef>
                <a:spcPct val="0"/>
              </a:spcBef>
              <a:spcAft>
                <a:spcPct val="0"/>
              </a:spcAft>
              <a:buClrTx/>
              <a:buSzTx/>
              <a:buFont typeface="Arial"/>
              <a:buNone/>
              <a:defRPr/>
            </a:pPr>
            <a:r>
              <a:rPr lang="en-US"/>
              <a:t>INSERT STATEMENT TEXT at 44pt minimum 36pt max 3 lines</a:t>
            </a:r>
          </a:p>
        </p:txBody>
      </p:sp>
      <p:sp>
        <p:nvSpPr>
          <p:cNvPr id="4" name="Footer Placeholder 3"/>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350935907"/>
      </p:ext>
    </p:extLst>
  </p:cSld>
  <p:clrMapOvr>
    <a:masterClrMapping/>
  </p:clrMapOvr>
  <p:transition/>
  <p:timing/>
</p:sldLayout>
</file>

<file path=ppt/slideLayouts/slideLayout2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Large_Keypoint_HeroBlue">
    <p:bg>
      <p:bgPr>
        <a:solidFill>
          <a:schemeClr val="accent1"/>
        </a:solidFill>
        <a:effectLst/>
      </p:bgPr>
    </p:bg>
    <p:spTree>
      <p:nvGrpSpPr>
        <p:cNvPr id="1" name=""/>
        <p:cNvGrpSpPr/>
        <p:nvPr/>
      </p:nvGrpSpPr>
      <p:grpSpPr>
        <a:xfrm>
          <a:off x="0" y="0"/>
          <a:ext cx="0" cy="0"/>
        </a:xfrm>
      </p:grpSpPr>
      <p:sp>
        <p:nvSpPr>
          <p:cNvPr id="2" name="Title 1"/>
          <p:cNvSpPr>
            <a:spLocks noGrp="1"/>
          </p:cNvSpPr>
          <p:nvPr>
            <p:ph type="title" hasCustomPrompt="1"/>
          </p:nvPr>
        </p:nvSpPr>
        <p:spPr>
          <a:xfrm>
            <a:off x="355740" y="2267421"/>
            <a:ext cx="7556276" cy="2323159"/>
          </a:xfrm>
        </p:spPr>
        <p:txBody>
          <a:bodyPr>
            <a:spAutoFit/>
          </a:bodyPr>
          <a:lstStyle>
            <a:lvl1pPr algn="l">
              <a:lnSpc>
                <a:spcPct val="70000"/>
              </a:lnSpc>
              <a:defRPr sz="6999">
                <a:solidFill>
                  <a:schemeClr val="bg1"/>
                </a:solidFill>
              </a:defRPr>
            </a:lvl1pPr>
          </a:lstStyle>
          <a:p>
            <a:r>
              <a:rPr lang="en-AU"/>
              <a:t>MAX 70pt</a:t>
            </a:r>
            <a:br>
              <a:rPr lang="en-AU"/>
            </a:br>
            <a:r>
              <a:rPr lang="en-AU"/>
              <a:t>MIN 50pt </a:t>
            </a:r>
            <a:br>
              <a:rPr lang="en-AU"/>
            </a:br>
            <a:r>
              <a:rPr lang="en-AU"/>
              <a:t>MAX 3 LINES</a:t>
            </a:r>
            <a:endParaRPr lang="en-US"/>
          </a:p>
        </p:txBody>
      </p:sp>
      <p:sp>
        <p:nvSpPr>
          <p:cNvPr id="5" name="Footer Placeholder 1"/>
          <p:cNvSpPr>
            <a:spLocks noGrp="1"/>
          </p:cNvSpPr>
          <p:nvPr>
            <p:ph type="ftr" sz="quarter" idx="34"/>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p>
        </p:txBody>
      </p:sp>
      <p:sp>
        <p:nvSpPr>
          <p:cNvPr id="8" name="Slide Number Placeholder 2"/>
          <p:cNvSpPr>
            <a:spLocks noGrp="1"/>
          </p:cNvSpPr>
          <p:nvPr>
            <p:ph type="sldNum" sz="quarter" idx="35"/>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1439967097"/>
      </p:ext>
    </p:extLst>
  </p:cSld>
  <p:clrMapOvr>
    <a:masterClrMapping/>
  </p:clrMapOvr>
  <p:transition/>
  <p:timing/>
</p:sldLayout>
</file>

<file path=ppt/slideLayouts/slideLayout2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Quote_HeroBlue">
    <p:bg>
      <p:bgPr>
        <a:solidFill>
          <a:schemeClr val="accent1"/>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ext Placeholder 5"/>
          <p:cNvSpPr>
            <a:spLocks noGrp="1"/>
          </p:cNvSpPr>
          <p:nvPr>
            <p:ph type="body" sz="quarter" idx="12" hasCustomPrompt="1"/>
          </p:nvPr>
        </p:nvSpPr>
        <p:spPr>
          <a:xfrm>
            <a:off x="877822" y="2272934"/>
            <a:ext cx="10433304" cy="1969257"/>
          </a:xfrm>
        </p:spPr>
        <p:txBody>
          <a:bodyPr wrap="square"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9" name="Text Placeholder 5"/>
          <p:cNvSpPr>
            <a:spLocks noGrp="1"/>
          </p:cNvSpPr>
          <p:nvPr>
            <p:ph type="body" sz="quarter" idx="35" hasCustomPrompt="1"/>
          </p:nvPr>
        </p:nvSpPr>
        <p:spPr>
          <a:xfrm>
            <a:off x="4800600" y="4543961"/>
            <a:ext cx="6510526"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bg1">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Tree>
    <p:extLst>
      <p:ext uri="{BB962C8B-B14F-4D97-AF65-F5344CB8AC3E}">
        <p14:creationId xmlns:p14="http://schemas.microsoft.com/office/powerpoint/2010/main" val="2521760201"/>
      </p:ext>
    </p:extLst>
  </p:cSld>
  <p:clrMapOvr>
    <a:masterClrMapping/>
  </p:clrMapOvr>
  <p:transition/>
  <p:timing/>
</p:sldLayout>
</file>

<file path=ppt/slideLayouts/slideLayout2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Quote_Blue3">
    <p:bg>
      <p:bgPr>
        <a:solidFill>
          <a:schemeClr val="accent3"/>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ext Placeholder 5"/>
          <p:cNvSpPr>
            <a:spLocks noGrp="1"/>
          </p:cNvSpPr>
          <p:nvPr>
            <p:ph type="body" sz="quarter" idx="12" hasCustomPrompt="1"/>
          </p:nvPr>
        </p:nvSpPr>
        <p:spPr>
          <a:xfrm>
            <a:off x="877822" y="2272934"/>
            <a:ext cx="10433304" cy="1969257"/>
          </a:xfrm>
        </p:spPr>
        <p:txBody>
          <a:bodyPr wrap="square"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9" name="Text Placeholder 5"/>
          <p:cNvSpPr>
            <a:spLocks noGrp="1"/>
          </p:cNvSpPr>
          <p:nvPr>
            <p:ph type="body" sz="quarter" idx="35" hasCustomPrompt="1"/>
          </p:nvPr>
        </p:nvSpPr>
        <p:spPr>
          <a:xfrm>
            <a:off x="4800600" y="4543961"/>
            <a:ext cx="6510526"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bg1">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Tree>
    <p:extLst>
      <p:ext uri="{BB962C8B-B14F-4D97-AF65-F5344CB8AC3E}">
        <p14:creationId xmlns:p14="http://schemas.microsoft.com/office/powerpoint/2010/main" val="912346527"/>
      </p:ext>
    </p:extLst>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Mine">
    <p:spTree>
      <p:nvGrpSpPr>
        <p:cNvPr id="1" name=""/>
        <p:cNvGrpSpPr/>
        <p:nvPr/>
      </p:nvGrpSpPr>
      <p:grpSpPr>
        <a:xfrm>
          <a:off x="0" y="0"/>
          <a: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912218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2" progId="TCLayout.ActiveDocument.1">
                  <p:embed/>
                </p:oleObj>
              </mc:Choice>
              <mc:Fallback>
                <p:oleObj name="think-cell Slide" r:id="rId2" progId="TCLayout.ActiveDocument.1">
                  <p:embed/>
                  <p:pic>
                    <p:nvPicPr>
                      <p:cNvPr id="0" name="OLE substitute image"/>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D783679-94F1-4678-B0EA-71852EEAC0B7}"/>
              </a:ext>
            </a:extLst>
          </p:cNvPr>
          <p:cNvSpPr>
            <a:spLocks noGrp="1"/>
          </p:cNvSpPr>
          <p:nvPr>
            <p:ph type="title"/>
          </p:nvPr>
        </p:nvSpPr>
        <p:spPr bwMode="auto">
          <a:xfrm>
            <a:off x="0" y="23930"/>
            <a:ext cx="11376026" cy="614023"/>
          </a:xfrm>
        </p:spPr>
        <p:txBody>
          <a:bodyPr anchor="ctr" anchorCtr="0"/>
          <a:lstStyle>
            <a:lvl1pPr>
              <a:defRPr lang="en-US" sz="3200" b="0" kern="1200" cap="all" spc="-150" baseline="0">
                <a:solidFill>
                  <a:schemeClr val="accent1"/>
                </a:solidFill>
                <a:latin typeface="Graphik Black" panose="020b0503030202060203" pitchFamily="34" charset="77"/>
                <a:ea typeface="+mj-ea"/>
                <a:cs typeface="+mj-cs"/>
              </a:defRPr>
            </a:lvl1pPr>
          </a:lstStyle>
          <a:p>
            <a:r>
              <a:rPr lang="en-US"/>
              <a:t>Click to edit Master title style</a:t>
            </a:r>
          </a:p>
        </p:txBody>
      </p:sp>
    </p:spTree>
    <p:extLst>
      <p:ext uri="{BB962C8B-B14F-4D97-AF65-F5344CB8AC3E}">
        <p14:creationId xmlns:p14="http://schemas.microsoft.com/office/powerpoint/2010/main" val="3875065387"/>
      </p:ext>
    </p:extLst>
  </p:cSld>
  <p:clrMapOvr>
    <a:masterClrMapping/>
  </p:clrMapOvr>
  <p:transition/>
  <p:timing/>
</p:sldLayout>
</file>

<file path=ppt/slideLayouts/slideLayout2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Quote_Blue4">
    <p:bg>
      <p:bgPr>
        <a:solidFill>
          <a:schemeClr val="accent4"/>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ext Placeholder 5"/>
          <p:cNvSpPr>
            <a:spLocks noGrp="1"/>
          </p:cNvSpPr>
          <p:nvPr>
            <p:ph type="body" sz="quarter" idx="12" hasCustomPrompt="1"/>
          </p:nvPr>
        </p:nvSpPr>
        <p:spPr>
          <a:xfrm>
            <a:off x="877289" y="2272934"/>
            <a:ext cx="10430983" cy="1969314"/>
          </a:xfrm>
        </p:spPr>
        <p:txBody>
          <a:bodyPr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9" name="Text Placeholder 5"/>
          <p:cNvSpPr>
            <a:spLocks noGrp="1"/>
          </p:cNvSpPr>
          <p:nvPr>
            <p:ph type="body" sz="quarter" idx="35" hasCustomPrompt="1"/>
          </p:nvPr>
        </p:nvSpPr>
        <p:spPr>
          <a:xfrm>
            <a:off x="4800600" y="4543961"/>
            <a:ext cx="6507817"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bg1">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Tree>
    <p:extLst>
      <p:ext uri="{BB962C8B-B14F-4D97-AF65-F5344CB8AC3E}">
        <p14:creationId xmlns:p14="http://schemas.microsoft.com/office/powerpoint/2010/main" val="1093702331"/>
      </p:ext>
    </p:extLst>
  </p:cSld>
  <p:clrMapOvr>
    <a:masterClrMapping/>
  </p:clrMapOvr>
  <p:transition/>
  <p:timing/>
</p:sldLayout>
</file>

<file path=ppt/slideLayouts/slideLayout2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Quote_White4">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21" name="Text Placeholder 5"/>
          <p:cNvSpPr>
            <a:spLocks noGrp="1"/>
          </p:cNvSpPr>
          <p:nvPr>
            <p:ph type="body" sz="quarter" idx="12" hasCustomPrompt="1"/>
          </p:nvPr>
        </p:nvSpPr>
        <p:spPr>
          <a:xfrm>
            <a:off x="1827644" y="2221159"/>
            <a:ext cx="7427874" cy="2461571"/>
          </a:xfrm>
        </p:spPr>
        <p:txBody>
          <a:bodyPr wrap="square"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accent4"/>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22" name="Text Placeholder 5"/>
          <p:cNvSpPr>
            <a:spLocks noGrp="1"/>
          </p:cNvSpPr>
          <p:nvPr>
            <p:ph type="body" sz="quarter" idx="35" hasCustomPrompt="1"/>
          </p:nvPr>
        </p:nvSpPr>
        <p:spPr>
          <a:xfrm>
            <a:off x="1838795" y="4975957"/>
            <a:ext cx="6507817"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accent6">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Tree>
    <p:extLst>
      <p:ext uri="{BB962C8B-B14F-4D97-AF65-F5344CB8AC3E}">
        <p14:creationId xmlns:p14="http://schemas.microsoft.com/office/powerpoint/2010/main" val="371587715"/>
      </p:ext>
    </p:extLst>
  </p:cSld>
  <p:clrMapOvr>
    <a:masterClrMapping/>
  </p:clrMapOvr>
  <p:transition/>
  <p:timing/>
</p:sldLayout>
</file>

<file path=ppt/slideLayouts/slideLayout2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Quote_HeroBlue_2">
    <p:bg>
      <p:bgPr>
        <a:solidFill>
          <a:schemeClr val="accent1"/>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ext Placeholder 5"/>
          <p:cNvSpPr>
            <a:spLocks noGrp="1"/>
          </p:cNvSpPr>
          <p:nvPr>
            <p:ph type="body" sz="quarter" idx="12" hasCustomPrompt="1"/>
          </p:nvPr>
        </p:nvSpPr>
        <p:spPr>
          <a:xfrm>
            <a:off x="877822" y="2272934"/>
            <a:ext cx="10433304" cy="1969257"/>
          </a:xfrm>
        </p:spPr>
        <p:txBody>
          <a:bodyPr wrap="square"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9" name="Text Placeholder 5"/>
          <p:cNvSpPr>
            <a:spLocks noGrp="1"/>
          </p:cNvSpPr>
          <p:nvPr>
            <p:ph type="body" sz="quarter" idx="35" hasCustomPrompt="1"/>
          </p:nvPr>
        </p:nvSpPr>
        <p:spPr>
          <a:xfrm>
            <a:off x="4800600" y="4543961"/>
            <a:ext cx="6510526"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bg1">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grpSp>
        <p:nvGrpSpPr>
          <p:cNvPr id="8" name="Group 4"/>
          <p:cNvGrpSpPr>
            <a:grpSpLocks noChangeAspect="1"/>
          </p:cNvGrpSpPr>
          <p:nvPr userDrawn="1"/>
        </p:nvGrpSpPr>
        <p:grpSpPr>
          <a:xfrm>
            <a:off x="3175" y="1030919"/>
            <a:ext cx="12193200" cy="692579"/>
            <a:chOff x="2" y="233"/>
            <a:chExt cx="7676" cy="436"/>
          </a:xfrm>
        </p:grpSpPr>
        <p:sp>
          <p:nvSpPr>
            <p:cNvPr id="10" name="Freeform 5"/>
            <p:cNvSpPr/>
            <p:nvPr/>
          </p:nvSpPr>
          <p:spPr bwMode="auto">
            <a:xfrm>
              <a:off x="2" y="233"/>
              <a:ext cx="883" cy="436"/>
            </a:xfrm>
            <a:custGeom>
              <a:gdLst>
                <a:gd name="T0" fmla="*/ 0 w 563"/>
                <a:gd name="T1" fmla="*/ 275 h 275"/>
                <a:gd name="T2" fmla="*/ 367 w 563"/>
                <a:gd name="T3" fmla="*/ 275 h 275"/>
                <a:gd name="T4" fmla="*/ 367 w 563"/>
                <a:gd name="T5" fmla="*/ 214 h 275"/>
                <a:gd name="T6" fmla="*/ 403 w 563"/>
                <a:gd name="T7" fmla="*/ 84 h 275"/>
                <a:gd name="T8" fmla="*/ 520 w 563"/>
                <a:gd name="T9" fmla="*/ 0 h 275"/>
                <a:gd name="T10" fmla="*/ 563 w 563"/>
                <a:gd name="T11" fmla="*/ 79 h 275"/>
                <a:gd name="T12" fmla="*/ 492 w 563"/>
                <a:gd name="T13" fmla="*/ 128 h 275"/>
                <a:gd name="T14" fmla="*/ 469 w 563"/>
                <a:gd name="T15" fmla="*/ 184 h 275"/>
                <a:gd name="T16" fmla="*/ 563 w 563"/>
                <a:gd name="T17" fmla="*/ 184 h 275"/>
                <a:gd name="T18" fmla="*/ 563 w 563"/>
                <a:gd name="T19" fmla="*/ 275 h 2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3" h="275">
                  <a:moveTo>
                    <a:pt x="0" y="275"/>
                  </a:moveTo>
                  <a:cubicBezTo>
                    <a:pt x="367" y="275"/>
                    <a:pt x="367" y="275"/>
                    <a:pt x="367" y="275"/>
                  </a:cubicBezTo>
                  <a:cubicBezTo>
                    <a:pt x="367" y="214"/>
                    <a:pt x="367" y="214"/>
                    <a:pt x="367" y="214"/>
                  </a:cubicBezTo>
                  <a:cubicBezTo>
                    <a:pt x="367" y="160"/>
                    <a:pt x="378" y="116"/>
                    <a:pt x="403" y="84"/>
                  </a:cubicBezTo>
                  <a:cubicBezTo>
                    <a:pt x="425" y="52"/>
                    <a:pt x="465" y="24"/>
                    <a:pt x="520" y="0"/>
                  </a:cubicBezTo>
                  <a:cubicBezTo>
                    <a:pt x="520" y="0"/>
                    <a:pt x="520" y="0"/>
                    <a:pt x="563" y="79"/>
                  </a:cubicBezTo>
                  <a:cubicBezTo>
                    <a:pt x="529" y="96"/>
                    <a:pt x="505" y="111"/>
                    <a:pt x="492" y="128"/>
                  </a:cubicBezTo>
                  <a:cubicBezTo>
                    <a:pt x="478" y="143"/>
                    <a:pt x="471" y="161"/>
                    <a:pt x="469" y="184"/>
                  </a:cubicBezTo>
                  <a:cubicBezTo>
                    <a:pt x="469" y="184"/>
                    <a:pt x="469" y="184"/>
                    <a:pt x="563" y="184"/>
                  </a:cubicBezTo>
                  <a:cubicBezTo>
                    <a:pt x="563" y="275"/>
                    <a:pt x="563" y="275"/>
                    <a:pt x="563" y="275"/>
                  </a:cubicBezTo>
                </a:path>
              </a:pathLst>
            </a:custGeom>
            <a:noFill/>
            <a:ln w="19050" cap="flat">
              <a:solidFill>
                <a:schemeClr val="accent2"/>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p:nvPr/>
          </p:nvSpPr>
          <p:spPr bwMode="auto">
            <a:xfrm>
              <a:off x="935" y="233"/>
              <a:ext cx="6743" cy="436"/>
            </a:xfrm>
            <a:custGeom>
              <a:gdLst>
                <a:gd name="T0" fmla="*/ 4299 w 4299"/>
                <a:gd name="T1" fmla="*/ 275 h 275"/>
                <a:gd name="T2" fmla="*/ 197 w 4299"/>
                <a:gd name="T3" fmla="*/ 275 h 275"/>
                <a:gd name="T4" fmla="*/ 197 w 4299"/>
                <a:gd name="T5" fmla="*/ 184 h 275"/>
                <a:gd name="T6" fmla="*/ 103 w 4299"/>
                <a:gd name="T7" fmla="*/ 184 h 275"/>
                <a:gd name="T8" fmla="*/ 125 w 4299"/>
                <a:gd name="T9" fmla="*/ 128 h 275"/>
                <a:gd name="T10" fmla="*/ 197 w 4299"/>
                <a:gd name="T11" fmla="*/ 79 h 275"/>
                <a:gd name="T12" fmla="*/ 154 w 4299"/>
                <a:gd name="T13" fmla="*/ 0 h 275"/>
                <a:gd name="T14" fmla="*/ 35 w 4299"/>
                <a:gd name="T15" fmla="*/ 84 h 275"/>
                <a:gd name="T16" fmla="*/ 0 w 4299"/>
                <a:gd name="T17" fmla="*/ 214 h 275"/>
                <a:gd name="T18" fmla="*/ 0 w 4299"/>
                <a:gd name="T19" fmla="*/ 275 h 2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99" h="275">
                  <a:moveTo>
                    <a:pt x="4299" y="275"/>
                  </a:moveTo>
                  <a:cubicBezTo>
                    <a:pt x="197" y="275"/>
                    <a:pt x="197" y="275"/>
                    <a:pt x="197" y="275"/>
                  </a:cubicBezTo>
                  <a:cubicBezTo>
                    <a:pt x="197" y="184"/>
                    <a:pt x="197" y="184"/>
                    <a:pt x="197" y="184"/>
                  </a:cubicBezTo>
                  <a:cubicBezTo>
                    <a:pt x="103" y="184"/>
                    <a:pt x="103" y="184"/>
                    <a:pt x="103" y="184"/>
                  </a:cubicBezTo>
                  <a:cubicBezTo>
                    <a:pt x="104" y="161"/>
                    <a:pt x="112" y="143"/>
                    <a:pt x="125" y="128"/>
                  </a:cubicBezTo>
                  <a:cubicBezTo>
                    <a:pt x="138" y="111"/>
                    <a:pt x="161" y="96"/>
                    <a:pt x="197" y="79"/>
                  </a:cubicBezTo>
                  <a:cubicBezTo>
                    <a:pt x="154" y="0"/>
                    <a:pt x="154" y="0"/>
                    <a:pt x="154" y="0"/>
                  </a:cubicBezTo>
                  <a:cubicBezTo>
                    <a:pt x="99" y="24"/>
                    <a:pt x="59" y="52"/>
                    <a:pt x="35" y="84"/>
                  </a:cubicBezTo>
                  <a:cubicBezTo>
                    <a:pt x="12" y="116"/>
                    <a:pt x="0" y="160"/>
                    <a:pt x="0" y="214"/>
                  </a:cubicBezTo>
                  <a:cubicBezTo>
                    <a:pt x="0" y="237"/>
                    <a:pt x="0" y="275"/>
                    <a:pt x="0" y="275"/>
                  </a:cubicBezTo>
                </a:path>
              </a:pathLst>
            </a:custGeom>
            <a:noFill/>
            <a:ln w="19050" cap="flat">
              <a:solidFill>
                <a:schemeClr val="accent2"/>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nvGrpSpPr>
          <p:cNvPr id="12" name="Group 4"/>
          <p:cNvGrpSpPr>
            <a:grpSpLocks noChangeAspect="1"/>
          </p:cNvGrpSpPr>
          <p:nvPr userDrawn="1"/>
        </p:nvGrpSpPr>
        <p:grpSpPr>
          <a:xfrm flipH="1" flipV="1">
            <a:off x="-600" y="5340438"/>
            <a:ext cx="12193200" cy="692579"/>
            <a:chOff x="2" y="233"/>
            <a:chExt cx="7676" cy="436"/>
          </a:xfrm>
        </p:grpSpPr>
        <p:sp>
          <p:nvSpPr>
            <p:cNvPr id="13" name="Freeform 5"/>
            <p:cNvSpPr/>
            <p:nvPr/>
          </p:nvSpPr>
          <p:spPr bwMode="auto">
            <a:xfrm>
              <a:off x="2" y="233"/>
              <a:ext cx="883" cy="436"/>
            </a:xfrm>
            <a:custGeom>
              <a:gdLst>
                <a:gd name="T0" fmla="*/ 0 w 563"/>
                <a:gd name="T1" fmla="*/ 275 h 275"/>
                <a:gd name="T2" fmla="*/ 367 w 563"/>
                <a:gd name="T3" fmla="*/ 275 h 275"/>
                <a:gd name="T4" fmla="*/ 367 w 563"/>
                <a:gd name="T5" fmla="*/ 214 h 275"/>
                <a:gd name="T6" fmla="*/ 403 w 563"/>
                <a:gd name="T7" fmla="*/ 84 h 275"/>
                <a:gd name="T8" fmla="*/ 520 w 563"/>
                <a:gd name="T9" fmla="*/ 0 h 275"/>
                <a:gd name="T10" fmla="*/ 563 w 563"/>
                <a:gd name="T11" fmla="*/ 79 h 275"/>
                <a:gd name="T12" fmla="*/ 492 w 563"/>
                <a:gd name="T13" fmla="*/ 128 h 275"/>
                <a:gd name="T14" fmla="*/ 469 w 563"/>
                <a:gd name="T15" fmla="*/ 184 h 275"/>
                <a:gd name="T16" fmla="*/ 563 w 563"/>
                <a:gd name="T17" fmla="*/ 184 h 275"/>
                <a:gd name="T18" fmla="*/ 563 w 563"/>
                <a:gd name="T19" fmla="*/ 275 h 2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3" h="275">
                  <a:moveTo>
                    <a:pt x="0" y="275"/>
                  </a:moveTo>
                  <a:cubicBezTo>
                    <a:pt x="367" y="275"/>
                    <a:pt x="367" y="275"/>
                    <a:pt x="367" y="275"/>
                  </a:cubicBezTo>
                  <a:cubicBezTo>
                    <a:pt x="367" y="214"/>
                    <a:pt x="367" y="214"/>
                    <a:pt x="367" y="214"/>
                  </a:cubicBezTo>
                  <a:cubicBezTo>
                    <a:pt x="367" y="160"/>
                    <a:pt x="378" y="116"/>
                    <a:pt x="403" y="84"/>
                  </a:cubicBezTo>
                  <a:cubicBezTo>
                    <a:pt x="425" y="52"/>
                    <a:pt x="465" y="24"/>
                    <a:pt x="520" y="0"/>
                  </a:cubicBezTo>
                  <a:cubicBezTo>
                    <a:pt x="520" y="0"/>
                    <a:pt x="520" y="0"/>
                    <a:pt x="563" y="79"/>
                  </a:cubicBezTo>
                  <a:cubicBezTo>
                    <a:pt x="529" y="96"/>
                    <a:pt x="505" y="111"/>
                    <a:pt x="492" y="128"/>
                  </a:cubicBezTo>
                  <a:cubicBezTo>
                    <a:pt x="478" y="143"/>
                    <a:pt x="471" y="161"/>
                    <a:pt x="469" y="184"/>
                  </a:cubicBezTo>
                  <a:cubicBezTo>
                    <a:pt x="469" y="184"/>
                    <a:pt x="469" y="184"/>
                    <a:pt x="563" y="184"/>
                  </a:cubicBezTo>
                  <a:cubicBezTo>
                    <a:pt x="563" y="275"/>
                    <a:pt x="563" y="275"/>
                    <a:pt x="563" y="275"/>
                  </a:cubicBezTo>
                </a:path>
              </a:pathLst>
            </a:custGeom>
            <a:noFill/>
            <a:ln w="19050" cap="flat">
              <a:solidFill>
                <a:schemeClr val="accent2"/>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 name="Freeform 6"/>
            <p:cNvSpPr/>
            <p:nvPr/>
          </p:nvSpPr>
          <p:spPr bwMode="auto">
            <a:xfrm>
              <a:off x="935" y="233"/>
              <a:ext cx="6743" cy="436"/>
            </a:xfrm>
            <a:custGeom>
              <a:gdLst>
                <a:gd name="T0" fmla="*/ 4299 w 4299"/>
                <a:gd name="T1" fmla="*/ 275 h 275"/>
                <a:gd name="T2" fmla="*/ 197 w 4299"/>
                <a:gd name="T3" fmla="*/ 275 h 275"/>
                <a:gd name="T4" fmla="*/ 197 w 4299"/>
                <a:gd name="T5" fmla="*/ 184 h 275"/>
                <a:gd name="T6" fmla="*/ 103 w 4299"/>
                <a:gd name="T7" fmla="*/ 184 h 275"/>
                <a:gd name="T8" fmla="*/ 125 w 4299"/>
                <a:gd name="T9" fmla="*/ 128 h 275"/>
                <a:gd name="T10" fmla="*/ 197 w 4299"/>
                <a:gd name="T11" fmla="*/ 79 h 275"/>
                <a:gd name="T12" fmla="*/ 154 w 4299"/>
                <a:gd name="T13" fmla="*/ 0 h 275"/>
                <a:gd name="T14" fmla="*/ 35 w 4299"/>
                <a:gd name="T15" fmla="*/ 84 h 275"/>
                <a:gd name="T16" fmla="*/ 0 w 4299"/>
                <a:gd name="T17" fmla="*/ 214 h 275"/>
                <a:gd name="T18" fmla="*/ 0 w 4299"/>
                <a:gd name="T19" fmla="*/ 275 h 2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99" h="275">
                  <a:moveTo>
                    <a:pt x="4299" y="275"/>
                  </a:moveTo>
                  <a:cubicBezTo>
                    <a:pt x="197" y="275"/>
                    <a:pt x="197" y="275"/>
                    <a:pt x="197" y="275"/>
                  </a:cubicBezTo>
                  <a:cubicBezTo>
                    <a:pt x="197" y="184"/>
                    <a:pt x="197" y="184"/>
                    <a:pt x="197" y="184"/>
                  </a:cubicBezTo>
                  <a:cubicBezTo>
                    <a:pt x="103" y="184"/>
                    <a:pt x="103" y="184"/>
                    <a:pt x="103" y="184"/>
                  </a:cubicBezTo>
                  <a:cubicBezTo>
                    <a:pt x="104" y="161"/>
                    <a:pt x="112" y="143"/>
                    <a:pt x="125" y="128"/>
                  </a:cubicBezTo>
                  <a:cubicBezTo>
                    <a:pt x="138" y="111"/>
                    <a:pt x="161" y="96"/>
                    <a:pt x="197" y="79"/>
                  </a:cubicBezTo>
                  <a:cubicBezTo>
                    <a:pt x="154" y="0"/>
                    <a:pt x="154" y="0"/>
                    <a:pt x="154" y="0"/>
                  </a:cubicBezTo>
                  <a:cubicBezTo>
                    <a:pt x="99" y="24"/>
                    <a:pt x="59" y="52"/>
                    <a:pt x="35" y="84"/>
                  </a:cubicBezTo>
                  <a:cubicBezTo>
                    <a:pt x="12" y="116"/>
                    <a:pt x="0" y="160"/>
                    <a:pt x="0" y="214"/>
                  </a:cubicBezTo>
                  <a:cubicBezTo>
                    <a:pt x="0" y="237"/>
                    <a:pt x="0" y="275"/>
                    <a:pt x="0" y="275"/>
                  </a:cubicBezTo>
                </a:path>
              </a:pathLst>
            </a:custGeom>
            <a:noFill/>
            <a:ln w="19050" cap="flat">
              <a:solidFill>
                <a:schemeClr val="accent2"/>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22425276"/>
      </p:ext>
    </p:extLst>
  </p:cSld>
  <p:clrMapOvr>
    <a:masterClrMapping/>
  </p:clrMapOvr>
  <p:transition/>
  <p:timing/>
</p:sldLayout>
</file>

<file path=ppt/slideLayouts/slideLayout2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Quote_Blue4_2">
    <p:bg>
      <p:bgPr>
        <a:solidFill>
          <a:schemeClr val="accent4"/>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ext Placeholder 5"/>
          <p:cNvSpPr>
            <a:spLocks noGrp="1"/>
          </p:cNvSpPr>
          <p:nvPr>
            <p:ph type="body" sz="quarter" idx="12" hasCustomPrompt="1"/>
          </p:nvPr>
        </p:nvSpPr>
        <p:spPr>
          <a:xfrm>
            <a:off x="1872869" y="2272934"/>
            <a:ext cx="7461631" cy="2461571"/>
          </a:xfrm>
        </p:spPr>
        <p:txBody>
          <a:bodyPr wrap="square" anchor="t">
            <a:spAutoFit/>
          </a:bodyPr>
          <a:lstStyle>
            <a:lvl1pPr marL="0" marR="0" indent="0" algn="l" defTabSz="914217" rtl="0" eaLnBrk="1" fontAlgn="base" latinLnBrk="0" hangingPunct="1">
              <a:lnSpc>
                <a:spcPct val="80000"/>
              </a:lnSpc>
              <a:spcBef>
                <a:spcPts val="800"/>
              </a:spcBef>
              <a:spcAft>
                <a:spcPct val="0"/>
              </a:spcAft>
              <a:buClrTx/>
              <a:buSzTx/>
              <a:buFont typeface="Arial" panose="020b0604020202020204" pitchFamily="34" charset="0"/>
              <a:buNone/>
              <a:defRPr sz="3999" b="0"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ENIOLESTOTATE CON RAERUM ES INI EREPUDI ODIT EHENDIAM EUM.</a:t>
            </a:r>
          </a:p>
        </p:txBody>
      </p:sp>
      <p:sp>
        <p:nvSpPr>
          <p:cNvPr id="9" name="Text Placeholder 5"/>
          <p:cNvSpPr>
            <a:spLocks noGrp="1"/>
          </p:cNvSpPr>
          <p:nvPr>
            <p:ph type="body" sz="quarter" idx="35" hasCustomPrompt="1"/>
          </p:nvPr>
        </p:nvSpPr>
        <p:spPr>
          <a:xfrm>
            <a:off x="1872869" y="5029721"/>
            <a:ext cx="6507817" cy="443095"/>
          </a:xfrm>
        </p:spPr>
        <p:txBody>
          <a:bodyPr wrap="square" anchor="t">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sz="1600" b="0" cap="all" baseline="0">
                <a:solidFill>
                  <a:schemeClr val="bg1">
                    <a:alpha val="80000"/>
                  </a:schemeClr>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cxnSp>
        <p:nvCxnSpPr>
          <p:cNvPr id="8" name="Straight Connector 7"/>
          <p:cNvCxnSpPr/>
          <p:nvPr userDrawn="1"/>
        </p:nvCxnSpPr>
        <p:spPr>
          <a:xfrm>
            <a:off x="357824" y="0"/>
            <a:ext cx="1300150" cy="2604521"/>
          </a:xfrm>
          <a:prstGeom prst="line">
            <a:avLst/>
          </a:prstGeom>
          <a:noFill/>
          <a:ln w="9525" cap="flat" cmpd="sng" algn="ctr">
            <a:solidFill>
              <a:schemeClr val="accent2"/>
            </a:solidFill>
            <a:prstDash val="dash"/>
            <a:tailEnd type="oval" w="med" len="med"/>
          </a:ln>
          <a:effectLst/>
        </p:spPr>
      </p:cxnSp>
      <p:cxnSp>
        <p:nvCxnSpPr>
          <p:cNvPr id="12" name="Straight Connector 11"/>
          <p:cNvCxnSpPr/>
          <p:nvPr userDrawn="1"/>
        </p:nvCxnSpPr>
        <p:spPr>
          <a:xfrm>
            <a:off x="8222896" y="-12700"/>
            <a:ext cx="2878228" cy="5765800"/>
          </a:xfrm>
          <a:prstGeom prst="line">
            <a:avLst/>
          </a:prstGeom>
          <a:noFill/>
          <a:ln w="9525" cap="flat" cmpd="sng" algn="ctr">
            <a:solidFill>
              <a:schemeClr val="accent2"/>
            </a:solidFill>
            <a:prstDash val="dash"/>
            <a:tailEnd type="oval" w="med" len="med"/>
          </a:ln>
          <a:effectLst/>
        </p:spPr>
      </p:cxnSp>
      <p:sp>
        <p:nvSpPr>
          <p:cNvPr id="16" name="Rectangle 15"/>
          <p:cNvSpPr/>
          <p:nvPr userDrawn="1"/>
        </p:nvSpPr>
        <p:spPr>
          <a:xfrm>
            <a:off x="748895" y="1316422"/>
            <a:ext cx="1079905" cy="83031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18" name="Rectangle 17"/>
          <p:cNvSpPr/>
          <p:nvPr userDrawn="1"/>
        </p:nvSpPr>
        <p:spPr>
          <a:xfrm>
            <a:off x="10012981" y="4187715"/>
            <a:ext cx="1079905" cy="83031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grpSp>
        <p:nvGrpSpPr>
          <p:cNvPr id="26" name="Group 25"/>
          <p:cNvGrpSpPr/>
          <p:nvPr userDrawn="1"/>
        </p:nvGrpSpPr>
        <p:grpSpPr>
          <a:xfrm>
            <a:off x="10185111" y="4307976"/>
            <a:ext cx="716400" cy="619200"/>
            <a:chOff x="9351169" y="-647749"/>
            <a:chExt cx="5011737" cy="4341813"/>
          </a:xfrm>
        </p:grpSpPr>
        <p:sp>
          <p:nvSpPr>
            <p:cNvPr id="27" name="Freeform 10"/>
            <p:cNvSpPr>
              <a:spLocks noEditPoints="1"/>
            </p:cNvSpPr>
            <p:nvPr userDrawn="1"/>
          </p:nvSpPr>
          <p:spPr bwMode="auto">
            <a:xfrm>
              <a:off x="9351169" y="-647749"/>
              <a:ext cx="2424112" cy="4341813"/>
            </a:xfrm>
            <a:custGeom>
              <a:gdLst>
                <a:gd name="T0" fmla="*/ 28 w 117"/>
                <a:gd name="T1" fmla="*/ 209 h 209"/>
                <a:gd name="T2" fmla="*/ 24 w 117"/>
                <a:gd name="T3" fmla="*/ 206 h 209"/>
                <a:gd name="T4" fmla="*/ 0 w 117"/>
                <a:gd name="T5" fmla="*/ 163 h 209"/>
                <a:gd name="T6" fmla="*/ 0 w 117"/>
                <a:gd name="T7" fmla="*/ 160 h 209"/>
                <a:gd name="T8" fmla="*/ 3 w 117"/>
                <a:gd name="T9" fmla="*/ 157 h 209"/>
                <a:gd name="T10" fmla="*/ 40 w 117"/>
                <a:gd name="T11" fmla="*/ 131 h 209"/>
                <a:gd name="T12" fmla="*/ 51 w 117"/>
                <a:gd name="T13" fmla="*/ 108 h 209"/>
                <a:gd name="T14" fmla="*/ 4 w 117"/>
                <a:gd name="T15" fmla="*/ 108 h 209"/>
                <a:gd name="T16" fmla="*/ 0 w 117"/>
                <a:gd name="T17" fmla="*/ 104 h 209"/>
                <a:gd name="T18" fmla="*/ 0 w 117"/>
                <a:gd name="T19" fmla="*/ 5 h 209"/>
                <a:gd name="T20" fmla="*/ 4 w 117"/>
                <a:gd name="T21" fmla="*/ 0 h 209"/>
                <a:gd name="T22" fmla="*/ 112 w 117"/>
                <a:gd name="T23" fmla="*/ 0 h 209"/>
                <a:gd name="T24" fmla="*/ 117 w 117"/>
                <a:gd name="T25" fmla="*/ 5 h 209"/>
                <a:gd name="T26" fmla="*/ 117 w 117"/>
                <a:gd name="T27" fmla="*/ 87 h 209"/>
                <a:gd name="T28" fmla="*/ 97 w 117"/>
                <a:gd name="T29" fmla="*/ 161 h 209"/>
                <a:gd name="T30" fmla="*/ 30 w 117"/>
                <a:gd name="T31" fmla="*/ 208 h 209"/>
                <a:gd name="T32" fmla="*/ 28 w 117"/>
                <a:gd name="T33" fmla="*/ 209 h 209"/>
                <a:gd name="T34" fmla="*/ 11 w 117"/>
                <a:gd name="T35" fmla="*/ 163 h 209"/>
                <a:gd name="T36" fmla="*/ 30 w 117"/>
                <a:gd name="T37" fmla="*/ 198 h 209"/>
                <a:gd name="T38" fmla="*/ 90 w 117"/>
                <a:gd name="T39" fmla="*/ 155 h 209"/>
                <a:gd name="T40" fmla="*/ 107 w 117"/>
                <a:gd name="T41" fmla="*/ 87 h 209"/>
                <a:gd name="T42" fmla="*/ 107 w 117"/>
                <a:gd name="T43" fmla="*/ 10 h 209"/>
                <a:gd name="T44" fmla="*/ 9 w 117"/>
                <a:gd name="T45" fmla="*/ 10 h 209"/>
                <a:gd name="T46" fmla="*/ 9 w 117"/>
                <a:gd name="T47" fmla="*/ 99 h 209"/>
                <a:gd name="T48" fmla="*/ 56 w 117"/>
                <a:gd name="T49" fmla="*/ 99 h 209"/>
                <a:gd name="T50" fmla="*/ 60 w 117"/>
                <a:gd name="T51" fmla="*/ 100 h 209"/>
                <a:gd name="T52" fmla="*/ 61 w 117"/>
                <a:gd name="T53" fmla="*/ 104 h 209"/>
                <a:gd name="T54" fmla="*/ 47 w 117"/>
                <a:gd name="T55" fmla="*/ 137 h 209"/>
                <a:gd name="T56" fmla="*/ 11 w 117"/>
                <a:gd name="T57" fmla="*/ 163 h 2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209">
                  <a:moveTo>
                    <a:pt x="28" y="209"/>
                  </a:moveTo>
                  <a:cubicBezTo>
                    <a:pt x="27" y="209"/>
                    <a:pt x="25" y="208"/>
                    <a:pt x="24" y="206"/>
                  </a:cubicBezTo>
                  <a:cubicBezTo>
                    <a:pt x="0" y="163"/>
                    <a:pt x="0" y="163"/>
                    <a:pt x="0" y="163"/>
                  </a:cubicBezTo>
                  <a:cubicBezTo>
                    <a:pt x="0" y="162"/>
                    <a:pt x="0" y="161"/>
                    <a:pt x="0" y="160"/>
                  </a:cubicBezTo>
                  <a:cubicBezTo>
                    <a:pt x="1" y="158"/>
                    <a:pt x="1" y="157"/>
                    <a:pt x="3" y="157"/>
                  </a:cubicBezTo>
                  <a:cubicBezTo>
                    <a:pt x="22" y="148"/>
                    <a:pt x="34" y="140"/>
                    <a:pt x="40" y="131"/>
                  </a:cubicBezTo>
                  <a:cubicBezTo>
                    <a:pt x="46" y="125"/>
                    <a:pt x="49" y="117"/>
                    <a:pt x="51" y="108"/>
                  </a:cubicBezTo>
                  <a:cubicBezTo>
                    <a:pt x="4" y="108"/>
                    <a:pt x="4" y="108"/>
                    <a:pt x="4" y="108"/>
                  </a:cubicBezTo>
                  <a:cubicBezTo>
                    <a:pt x="2" y="108"/>
                    <a:pt x="0" y="106"/>
                    <a:pt x="0" y="104"/>
                  </a:cubicBezTo>
                  <a:cubicBezTo>
                    <a:pt x="0" y="5"/>
                    <a:pt x="0" y="5"/>
                    <a:pt x="0" y="5"/>
                  </a:cubicBezTo>
                  <a:cubicBezTo>
                    <a:pt x="0" y="3"/>
                    <a:pt x="2" y="0"/>
                    <a:pt x="4" y="0"/>
                  </a:cubicBezTo>
                  <a:cubicBezTo>
                    <a:pt x="112" y="0"/>
                    <a:pt x="112" y="0"/>
                    <a:pt x="112" y="0"/>
                  </a:cubicBezTo>
                  <a:cubicBezTo>
                    <a:pt x="114" y="0"/>
                    <a:pt x="117" y="3"/>
                    <a:pt x="117" y="5"/>
                  </a:cubicBezTo>
                  <a:cubicBezTo>
                    <a:pt x="117" y="87"/>
                    <a:pt x="117" y="87"/>
                    <a:pt x="117" y="87"/>
                  </a:cubicBezTo>
                  <a:cubicBezTo>
                    <a:pt x="117" y="118"/>
                    <a:pt x="110" y="142"/>
                    <a:pt x="97" y="161"/>
                  </a:cubicBezTo>
                  <a:cubicBezTo>
                    <a:pt x="83" y="179"/>
                    <a:pt x="61" y="195"/>
                    <a:pt x="30" y="208"/>
                  </a:cubicBezTo>
                  <a:cubicBezTo>
                    <a:pt x="30" y="209"/>
                    <a:pt x="29" y="209"/>
                    <a:pt x="28" y="209"/>
                  </a:cubicBezTo>
                  <a:close/>
                  <a:moveTo>
                    <a:pt x="11" y="163"/>
                  </a:moveTo>
                  <a:cubicBezTo>
                    <a:pt x="30" y="198"/>
                    <a:pt x="30" y="198"/>
                    <a:pt x="30" y="198"/>
                  </a:cubicBezTo>
                  <a:cubicBezTo>
                    <a:pt x="57" y="186"/>
                    <a:pt x="77" y="171"/>
                    <a:pt x="90" y="155"/>
                  </a:cubicBezTo>
                  <a:cubicBezTo>
                    <a:pt x="101" y="139"/>
                    <a:pt x="107" y="116"/>
                    <a:pt x="107" y="87"/>
                  </a:cubicBezTo>
                  <a:cubicBezTo>
                    <a:pt x="107" y="10"/>
                    <a:pt x="107" y="10"/>
                    <a:pt x="107" y="10"/>
                  </a:cubicBezTo>
                  <a:cubicBezTo>
                    <a:pt x="9" y="10"/>
                    <a:pt x="9" y="10"/>
                    <a:pt x="9" y="10"/>
                  </a:cubicBezTo>
                  <a:cubicBezTo>
                    <a:pt x="9" y="99"/>
                    <a:pt x="9" y="99"/>
                    <a:pt x="9" y="99"/>
                  </a:cubicBezTo>
                  <a:cubicBezTo>
                    <a:pt x="56" y="99"/>
                    <a:pt x="56" y="99"/>
                    <a:pt x="56" y="99"/>
                  </a:cubicBezTo>
                  <a:cubicBezTo>
                    <a:pt x="57" y="99"/>
                    <a:pt x="59" y="99"/>
                    <a:pt x="60" y="100"/>
                  </a:cubicBezTo>
                  <a:cubicBezTo>
                    <a:pt x="60" y="101"/>
                    <a:pt x="61" y="103"/>
                    <a:pt x="61" y="104"/>
                  </a:cubicBezTo>
                  <a:cubicBezTo>
                    <a:pt x="60" y="117"/>
                    <a:pt x="55" y="128"/>
                    <a:pt x="47" y="137"/>
                  </a:cubicBezTo>
                  <a:cubicBezTo>
                    <a:pt x="40" y="146"/>
                    <a:pt x="29" y="154"/>
                    <a:pt x="11" y="163"/>
                  </a:cubicBezTo>
                  <a:close/>
                </a:path>
              </a:pathLst>
            </a:cu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11"/>
            <p:cNvSpPr>
              <a:spLocks noEditPoints="1"/>
            </p:cNvSpPr>
            <p:nvPr userDrawn="1"/>
          </p:nvSpPr>
          <p:spPr bwMode="auto">
            <a:xfrm>
              <a:off x="11940381" y="-647749"/>
              <a:ext cx="2422525" cy="4341813"/>
            </a:xfrm>
            <a:custGeom>
              <a:gdLst>
                <a:gd name="T0" fmla="*/ 28 w 117"/>
                <a:gd name="T1" fmla="*/ 209 h 209"/>
                <a:gd name="T2" fmla="*/ 24 w 117"/>
                <a:gd name="T3" fmla="*/ 206 h 209"/>
                <a:gd name="T4" fmla="*/ 1 w 117"/>
                <a:gd name="T5" fmla="*/ 163 h 209"/>
                <a:gd name="T6" fmla="*/ 0 w 117"/>
                <a:gd name="T7" fmla="*/ 160 h 209"/>
                <a:gd name="T8" fmla="*/ 3 w 117"/>
                <a:gd name="T9" fmla="*/ 157 h 209"/>
                <a:gd name="T10" fmla="*/ 40 w 117"/>
                <a:gd name="T11" fmla="*/ 131 h 209"/>
                <a:gd name="T12" fmla="*/ 51 w 117"/>
                <a:gd name="T13" fmla="*/ 108 h 209"/>
                <a:gd name="T14" fmla="*/ 5 w 117"/>
                <a:gd name="T15" fmla="*/ 108 h 209"/>
                <a:gd name="T16" fmla="*/ 0 w 117"/>
                <a:gd name="T17" fmla="*/ 104 h 209"/>
                <a:gd name="T18" fmla="*/ 0 w 117"/>
                <a:gd name="T19" fmla="*/ 5 h 209"/>
                <a:gd name="T20" fmla="*/ 5 w 117"/>
                <a:gd name="T21" fmla="*/ 0 h 209"/>
                <a:gd name="T22" fmla="*/ 112 w 117"/>
                <a:gd name="T23" fmla="*/ 0 h 209"/>
                <a:gd name="T24" fmla="*/ 117 w 117"/>
                <a:gd name="T25" fmla="*/ 5 h 209"/>
                <a:gd name="T26" fmla="*/ 117 w 117"/>
                <a:gd name="T27" fmla="*/ 87 h 209"/>
                <a:gd name="T28" fmla="*/ 97 w 117"/>
                <a:gd name="T29" fmla="*/ 161 h 209"/>
                <a:gd name="T30" fmla="*/ 30 w 117"/>
                <a:gd name="T31" fmla="*/ 208 h 209"/>
                <a:gd name="T32" fmla="*/ 28 w 117"/>
                <a:gd name="T33" fmla="*/ 209 h 209"/>
                <a:gd name="T34" fmla="*/ 11 w 117"/>
                <a:gd name="T35" fmla="*/ 163 h 209"/>
                <a:gd name="T36" fmla="*/ 30 w 117"/>
                <a:gd name="T37" fmla="*/ 198 h 209"/>
                <a:gd name="T38" fmla="*/ 90 w 117"/>
                <a:gd name="T39" fmla="*/ 155 h 209"/>
                <a:gd name="T40" fmla="*/ 107 w 117"/>
                <a:gd name="T41" fmla="*/ 87 h 209"/>
                <a:gd name="T42" fmla="*/ 107 w 117"/>
                <a:gd name="T43" fmla="*/ 10 h 209"/>
                <a:gd name="T44" fmla="*/ 9 w 117"/>
                <a:gd name="T45" fmla="*/ 10 h 209"/>
                <a:gd name="T46" fmla="*/ 9 w 117"/>
                <a:gd name="T47" fmla="*/ 99 h 209"/>
                <a:gd name="T48" fmla="*/ 56 w 117"/>
                <a:gd name="T49" fmla="*/ 99 h 209"/>
                <a:gd name="T50" fmla="*/ 60 w 117"/>
                <a:gd name="T51" fmla="*/ 100 h 209"/>
                <a:gd name="T52" fmla="*/ 61 w 117"/>
                <a:gd name="T53" fmla="*/ 104 h 209"/>
                <a:gd name="T54" fmla="*/ 47 w 117"/>
                <a:gd name="T55" fmla="*/ 137 h 209"/>
                <a:gd name="T56" fmla="*/ 11 w 117"/>
                <a:gd name="T57" fmla="*/ 163 h 2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209">
                  <a:moveTo>
                    <a:pt x="28" y="209"/>
                  </a:moveTo>
                  <a:cubicBezTo>
                    <a:pt x="27" y="209"/>
                    <a:pt x="25" y="208"/>
                    <a:pt x="24" y="206"/>
                  </a:cubicBezTo>
                  <a:cubicBezTo>
                    <a:pt x="1" y="163"/>
                    <a:pt x="1" y="163"/>
                    <a:pt x="1" y="163"/>
                  </a:cubicBezTo>
                  <a:cubicBezTo>
                    <a:pt x="0" y="162"/>
                    <a:pt x="0" y="161"/>
                    <a:pt x="0" y="160"/>
                  </a:cubicBezTo>
                  <a:cubicBezTo>
                    <a:pt x="1" y="158"/>
                    <a:pt x="1" y="157"/>
                    <a:pt x="3" y="157"/>
                  </a:cubicBezTo>
                  <a:cubicBezTo>
                    <a:pt x="22" y="148"/>
                    <a:pt x="34" y="140"/>
                    <a:pt x="40" y="131"/>
                  </a:cubicBezTo>
                  <a:cubicBezTo>
                    <a:pt x="46" y="125"/>
                    <a:pt x="49" y="117"/>
                    <a:pt x="51" y="108"/>
                  </a:cubicBezTo>
                  <a:cubicBezTo>
                    <a:pt x="5" y="108"/>
                    <a:pt x="5" y="108"/>
                    <a:pt x="5" y="108"/>
                  </a:cubicBezTo>
                  <a:cubicBezTo>
                    <a:pt x="2" y="108"/>
                    <a:pt x="0" y="106"/>
                    <a:pt x="0" y="104"/>
                  </a:cubicBezTo>
                  <a:cubicBezTo>
                    <a:pt x="0" y="5"/>
                    <a:pt x="0" y="5"/>
                    <a:pt x="0" y="5"/>
                  </a:cubicBezTo>
                  <a:cubicBezTo>
                    <a:pt x="0" y="3"/>
                    <a:pt x="2" y="0"/>
                    <a:pt x="5" y="0"/>
                  </a:cubicBezTo>
                  <a:cubicBezTo>
                    <a:pt x="112" y="0"/>
                    <a:pt x="112" y="0"/>
                    <a:pt x="112" y="0"/>
                  </a:cubicBezTo>
                  <a:cubicBezTo>
                    <a:pt x="115" y="0"/>
                    <a:pt x="117" y="3"/>
                    <a:pt x="117" y="5"/>
                  </a:cubicBezTo>
                  <a:cubicBezTo>
                    <a:pt x="117" y="87"/>
                    <a:pt x="117" y="87"/>
                    <a:pt x="117" y="87"/>
                  </a:cubicBezTo>
                  <a:cubicBezTo>
                    <a:pt x="117" y="118"/>
                    <a:pt x="110" y="142"/>
                    <a:pt x="97" y="161"/>
                  </a:cubicBezTo>
                  <a:cubicBezTo>
                    <a:pt x="83" y="179"/>
                    <a:pt x="61" y="195"/>
                    <a:pt x="30" y="208"/>
                  </a:cubicBezTo>
                  <a:cubicBezTo>
                    <a:pt x="30" y="209"/>
                    <a:pt x="29" y="209"/>
                    <a:pt x="28" y="209"/>
                  </a:cubicBezTo>
                  <a:close/>
                  <a:moveTo>
                    <a:pt x="11" y="163"/>
                  </a:moveTo>
                  <a:cubicBezTo>
                    <a:pt x="30" y="198"/>
                    <a:pt x="30" y="198"/>
                    <a:pt x="30" y="198"/>
                  </a:cubicBezTo>
                  <a:cubicBezTo>
                    <a:pt x="57" y="186"/>
                    <a:pt x="77" y="171"/>
                    <a:pt x="90" y="155"/>
                  </a:cubicBezTo>
                  <a:cubicBezTo>
                    <a:pt x="101" y="139"/>
                    <a:pt x="107" y="116"/>
                    <a:pt x="107" y="87"/>
                  </a:cubicBezTo>
                  <a:cubicBezTo>
                    <a:pt x="107" y="10"/>
                    <a:pt x="107" y="10"/>
                    <a:pt x="107" y="10"/>
                  </a:cubicBezTo>
                  <a:cubicBezTo>
                    <a:pt x="9" y="10"/>
                    <a:pt x="9" y="10"/>
                    <a:pt x="9" y="10"/>
                  </a:cubicBezTo>
                  <a:cubicBezTo>
                    <a:pt x="9" y="99"/>
                    <a:pt x="9" y="99"/>
                    <a:pt x="9" y="99"/>
                  </a:cubicBezTo>
                  <a:cubicBezTo>
                    <a:pt x="56" y="99"/>
                    <a:pt x="56" y="99"/>
                    <a:pt x="56" y="99"/>
                  </a:cubicBezTo>
                  <a:cubicBezTo>
                    <a:pt x="57" y="99"/>
                    <a:pt x="59" y="99"/>
                    <a:pt x="60" y="100"/>
                  </a:cubicBezTo>
                  <a:cubicBezTo>
                    <a:pt x="60" y="101"/>
                    <a:pt x="61" y="103"/>
                    <a:pt x="61" y="104"/>
                  </a:cubicBezTo>
                  <a:cubicBezTo>
                    <a:pt x="60" y="117"/>
                    <a:pt x="55" y="128"/>
                    <a:pt x="47" y="137"/>
                  </a:cubicBezTo>
                  <a:cubicBezTo>
                    <a:pt x="40" y="146"/>
                    <a:pt x="29" y="154"/>
                    <a:pt x="11" y="163"/>
                  </a:cubicBezTo>
                  <a:close/>
                </a:path>
              </a:pathLst>
            </a:cu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2" name="Group 31"/>
          <p:cNvGrpSpPr/>
          <p:nvPr userDrawn="1"/>
        </p:nvGrpSpPr>
        <p:grpSpPr>
          <a:xfrm flipH="1" flipV="1">
            <a:off x="919483" y="1421981"/>
            <a:ext cx="716400" cy="619200"/>
            <a:chOff x="9351169" y="-647749"/>
            <a:chExt cx="5011737" cy="4341813"/>
          </a:xfrm>
        </p:grpSpPr>
        <p:sp>
          <p:nvSpPr>
            <p:cNvPr id="33" name="Freeform 10"/>
            <p:cNvSpPr>
              <a:spLocks noEditPoints="1"/>
            </p:cNvSpPr>
            <p:nvPr userDrawn="1"/>
          </p:nvSpPr>
          <p:spPr bwMode="auto">
            <a:xfrm>
              <a:off x="9351169" y="-647749"/>
              <a:ext cx="2424112" cy="4341813"/>
            </a:xfrm>
            <a:custGeom>
              <a:gdLst>
                <a:gd name="T0" fmla="*/ 28 w 117"/>
                <a:gd name="T1" fmla="*/ 209 h 209"/>
                <a:gd name="T2" fmla="*/ 24 w 117"/>
                <a:gd name="T3" fmla="*/ 206 h 209"/>
                <a:gd name="T4" fmla="*/ 0 w 117"/>
                <a:gd name="T5" fmla="*/ 163 h 209"/>
                <a:gd name="T6" fmla="*/ 0 w 117"/>
                <a:gd name="T7" fmla="*/ 160 h 209"/>
                <a:gd name="T8" fmla="*/ 3 w 117"/>
                <a:gd name="T9" fmla="*/ 157 h 209"/>
                <a:gd name="T10" fmla="*/ 40 w 117"/>
                <a:gd name="T11" fmla="*/ 131 h 209"/>
                <a:gd name="T12" fmla="*/ 51 w 117"/>
                <a:gd name="T13" fmla="*/ 108 h 209"/>
                <a:gd name="T14" fmla="*/ 4 w 117"/>
                <a:gd name="T15" fmla="*/ 108 h 209"/>
                <a:gd name="T16" fmla="*/ 0 w 117"/>
                <a:gd name="T17" fmla="*/ 104 h 209"/>
                <a:gd name="T18" fmla="*/ 0 w 117"/>
                <a:gd name="T19" fmla="*/ 5 h 209"/>
                <a:gd name="T20" fmla="*/ 4 w 117"/>
                <a:gd name="T21" fmla="*/ 0 h 209"/>
                <a:gd name="T22" fmla="*/ 112 w 117"/>
                <a:gd name="T23" fmla="*/ 0 h 209"/>
                <a:gd name="T24" fmla="*/ 117 w 117"/>
                <a:gd name="T25" fmla="*/ 5 h 209"/>
                <a:gd name="T26" fmla="*/ 117 w 117"/>
                <a:gd name="T27" fmla="*/ 87 h 209"/>
                <a:gd name="T28" fmla="*/ 97 w 117"/>
                <a:gd name="T29" fmla="*/ 161 h 209"/>
                <a:gd name="T30" fmla="*/ 30 w 117"/>
                <a:gd name="T31" fmla="*/ 208 h 209"/>
                <a:gd name="T32" fmla="*/ 28 w 117"/>
                <a:gd name="T33" fmla="*/ 209 h 209"/>
                <a:gd name="T34" fmla="*/ 11 w 117"/>
                <a:gd name="T35" fmla="*/ 163 h 209"/>
                <a:gd name="T36" fmla="*/ 30 w 117"/>
                <a:gd name="T37" fmla="*/ 198 h 209"/>
                <a:gd name="T38" fmla="*/ 90 w 117"/>
                <a:gd name="T39" fmla="*/ 155 h 209"/>
                <a:gd name="T40" fmla="*/ 107 w 117"/>
                <a:gd name="T41" fmla="*/ 87 h 209"/>
                <a:gd name="T42" fmla="*/ 107 w 117"/>
                <a:gd name="T43" fmla="*/ 10 h 209"/>
                <a:gd name="T44" fmla="*/ 9 w 117"/>
                <a:gd name="T45" fmla="*/ 10 h 209"/>
                <a:gd name="T46" fmla="*/ 9 w 117"/>
                <a:gd name="T47" fmla="*/ 99 h 209"/>
                <a:gd name="T48" fmla="*/ 56 w 117"/>
                <a:gd name="T49" fmla="*/ 99 h 209"/>
                <a:gd name="T50" fmla="*/ 60 w 117"/>
                <a:gd name="T51" fmla="*/ 100 h 209"/>
                <a:gd name="T52" fmla="*/ 61 w 117"/>
                <a:gd name="T53" fmla="*/ 104 h 209"/>
                <a:gd name="T54" fmla="*/ 47 w 117"/>
                <a:gd name="T55" fmla="*/ 137 h 209"/>
                <a:gd name="T56" fmla="*/ 11 w 117"/>
                <a:gd name="T57" fmla="*/ 163 h 2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209">
                  <a:moveTo>
                    <a:pt x="28" y="209"/>
                  </a:moveTo>
                  <a:cubicBezTo>
                    <a:pt x="27" y="209"/>
                    <a:pt x="25" y="208"/>
                    <a:pt x="24" y="206"/>
                  </a:cubicBezTo>
                  <a:cubicBezTo>
                    <a:pt x="0" y="163"/>
                    <a:pt x="0" y="163"/>
                    <a:pt x="0" y="163"/>
                  </a:cubicBezTo>
                  <a:cubicBezTo>
                    <a:pt x="0" y="162"/>
                    <a:pt x="0" y="161"/>
                    <a:pt x="0" y="160"/>
                  </a:cubicBezTo>
                  <a:cubicBezTo>
                    <a:pt x="1" y="158"/>
                    <a:pt x="1" y="157"/>
                    <a:pt x="3" y="157"/>
                  </a:cubicBezTo>
                  <a:cubicBezTo>
                    <a:pt x="22" y="148"/>
                    <a:pt x="34" y="140"/>
                    <a:pt x="40" y="131"/>
                  </a:cubicBezTo>
                  <a:cubicBezTo>
                    <a:pt x="46" y="125"/>
                    <a:pt x="49" y="117"/>
                    <a:pt x="51" y="108"/>
                  </a:cubicBezTo>
                  <a:cubicBezTo>
                    <a:pt x="4" y="108"/>
                    <a:pt x="4" y="108"/>
                    <a:pt x="4" y="108"/>
                  </a:cubicBezTo>
                  <a:cubicBezTo>
                    <a:pt x="2" y="108"/>
                    <a:pt x="0" y="106"/>
                    <a:pt x="0" y="104"/>
                  </a:cubicBezTo>
                  <a:cubicBezTo>
                    <a:pt x="0" y="5"/>
                    <a:pt x="0" y="5"/>
                    <a:pt x="0" y="5"/>
                  </a:cubicBezTo>
                  <a:cubicBezTo>
                    <a:pt x="0" y="3"/>
                    <a:pt x="2" y="0"/>
                    <a:pt x="4" y="0"/>
                  </a:cubicBezTo>
                  <a:cubicBezTo>
                    <a:pt x="112" y="0"/>
                    <a:pt x="112" y="0"/>
                    <a:pt x="112" y="0"/>
                  </a:cubicBezTo>
                  <a:cubicBezTo>
                    <a:pt x="114" y="0"/>
                    <a:pt x="117" y="3"/>
                    <a:pt x="117" y="5"/>
                  </a:cubicBezTo>
                  <a:cubicBezTo>
                    <a:pt x="117" y="87"/>
                    <a:pt x="117" y="87"/>
                    <a:pt x="117" y="87"/>
                  </a:cubicBezTo>
                  <a:cubicBezTo>
                    <a:pt x="117" y="118"/>
                    <a:pt x="110" y="142"/>
                    <a:pt x="97" y="161"/>
                  </a:cubicBezTo>
                  <a:cubicBezTo>
                    <a:pt x="83" y="179"/>
                    <a:pt x="61" y="195"/>
                    <a:pt x="30" y="208"/>
                  </a:cubicBezTo>
                  <a:cubicBezTo>
                    <a:pt x="30" y="209"/>
                    <a:pt x="29" y="209"/>
                    <a:pt x="28" y="209"/>
                  </a:cubicBezTo>
                  <a:close/>
                  <a:moveTo>
                    <a:pt x="11" y="163"/>
                  </a:moveTo>
                  <a:cubicBezTo>
                    <a:pt x="30" y="198"/>
                    <a:pt x="30" y="198"/>
                    <a:pt x="30" y="198"/>
                  </a:cubicBezTo>
                  <a:cubicBezTo>
                    <a:pt x="57" y="186"/>
                    <a:pt x="77" y="171"/>
                    <a:pt x="90" y="155"/>
                  </a:cubicBezTo>
                  <a:cubicBezTo>
                    <a:pt x="101" y="139"/>
                    <a:pt x="107" y="116"/>
                    <a:pt x="107" y="87"/>
                  </a:cubicBezTo>
                  <a:cubicBezTo>
                    <a:pt x="107" y="10"/>
                    <a:pt x="107" y="10"/>
                    <a:pt x="107" y="10"/>
                  </a:cubicBezTo>
                  <a:cubicBezTo>
                    <a:pt x="9" y="10"/>
                    <a:pt x="9" y="10"/>
                    <a:pt x="9" y="10"/>
                  </a:cubicBezTo>
                  <a:cubicBezTo>
                    <a:pt x="9" y="99"/>
                    <a:pt x="9" y="99"/>
                    <a:pt x="9" y="99"/>
                  </a:cubicBezTo>
                  <a:cubicBezTo>
                    <a:pt x="56" y="99"/>
                    <a:pt x="56" y="99"/>
                    <a:pt x="56" y="99"/>
                  </a:cubicBezTo>
                  <a:cubicBezTo>
                    <a:pt x="57" y="99"/>
                    <a:pt x="59" y="99"/>
                    <a:pt x="60" y="100"/>
                  </a:cubicBezTo>
                  <a:cubicBezTo>
                    <a:pt x="60" y="101"/>
                    <a:pt x="61" y="103"/>
                    <a:pt x="61" y="104"/>
                  </a:cubicBezTo>
                  <a:cubicBezTo>
                    <a:pt x="60" y="117"/>
                    <a:pt x="55" y="128"/>
                    <a:pt x="47" y="137"/>
                  </a:cubicBezTo>
                  <a:cubicBezTo>
                    <a:pt x="40" y="146"/>
                    <a:pt x="29" y="154"/>
                    <a:pt x="11" y="163"/>
                  </a:cubicBezTo>
                  <a:close/>
                </a:path>
              </a:pathLst>
            </a:cu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11"/>
            <p:cNvSpPr>
              <a:spLocks noEditPoints="1"/>
            </p:cNvSpPr>
            <p:nvPr userDrawn="1"/>
          </p:nvSpPr>
          <p:spPr bwMode="auto">
            <a:xfrm>
              <a:off x="11940381" y="-647749"/>
              <a:ext cx="2422525" cy="4341813"/>
            </a:xfrm>
            <a:custGeom>
              <a:gdLst>
                <a:gd name="T0" fmla="*/ 28 w 117"/>
                <a:gd name="T1" fmla="*/ 209 h 209"/>
                <a:gd name="T2" fmla="*/ 24 w 117"/>
                <a:gd name="T3" fmla="*/ 206 h 209"/>
                <a:gd name="T4" fmla="*/ 1 w 117"/>
                <a:gd name="T5" fmla="*/ 163 h 209"/>
                <a:gd name="T6" fmla="*/ 0 w 117"/>
                <a:gd name="T7" fmla="*/ 160 h 209"/>
                <a:gd name="T8" fmla="*/ 3 w 117"/>
                <a:gd name="T9" fmla="*/ 157 h 209"/>
                <a:gd name="T10" fmla="*/ 40 w 117"/>
                <a:gd name="T11" fmla="*/ 131 h 209"/>
                <a:gd name="T12" fmla="*/ 51 w 117"/>
                <a:gd name="T13" fmla="*/ 108 h 209"/>
                <a:gd name="T14" fmla="*/ 5 w 117"/>
                <a:gd name="T15" fmla="*/ 108 h 209"/>
                <a:gd name="T16" fmla="*/ 0 w 117"/>
                <a:gd name="T17" fmla="*/ 104 h 209"/>
                <a:gd name="T18" fmla="*/ 0 w 117"/>
                <a:gd name="T19" fmla="*/ 5 h 209"/>
                <a:gd name="T20" fmla="*/ 5 w 117"/>
                <a:gd name="T21" fmla="*/ 0 h 209"/>
                <a:gd name="T22" fmla="*/ 112 w 117"/>
                <a:gd name="T23" fmla="*/ 0 h 209"/>
                <a:gd name="T24" fmla="*/ 117 w 117"/>
                <a:gd name="T25" fmla="*/ 5 h 209"/>
                <a:gd name="T26" fmla="*/ 117 w 117"/>
                <a:gd name="T27" fmla="*/ 87 h 209"/>
                <a:gd name="T28" fmla="*/ 97 w 117"/>
                <a:gd name="T29" fmla="*/ 161 h 209"/>
                <a:gd name="T30" fmla="*/ 30 w 117"/>
                <a:gd name="T31" fmla="*/ 208 h 209"/>
                <a:gd name="T32" fmla="*/ 28 w 117"/>
                <a:gd name="T33" fmla="*/ 209 h 209"/>
                <a:gd name="T34" fmla="*/ 11 w 117"/>
                <a:gd name="T35" fmla="*/ 163 h 209"/>
                <a:gd name="T36" fmla="*/ 30 w 117"/>
                <a:gd name="T37" fmla="*/ 198 h 209"/>
                <a:gd name="T38" fmla="*/ 90 w 117"/>
                <a:gd name="T39" fmla="*/ 155 h 209"/>
                <a:gd name="T40" fmla="*/ 107 w 117"/>
                <a:gd name="T41" fmla="*/ 87 h 209"/>
                <a:gd name="T42" fmla="*/ 107 w 117"/>
                <a:gd name="T43" fmla="*/ 10 h 209"/>
                <a:gd name="T44" fmla="*/ 9 w 117"/>
                <a:gd name="T45" fmla="*/ 10 h 209"/>
                <a:gd name="T46" fmla="*/ 9 w 117"/>
                <a:gd name="T47" fmla="*/ 99 h 209"/>
                <a:gd name="T48" fmla="*/ 56 w 117"/>
                <a:gd name="T49" fmla="*/ 99 h 209"/>
                <a:gd name="T50" fmla="*/ 60 w 117"/>
                <a:gd name="T51" fmla="*/ 100 h 209"/>
                <a:gd name="T52" fmla="*/ 61 w 117"/>
                <a:gd name="T53" fmla="*/ 104 h 209"/>
                <a:gd name="T54" fmla="*/ 47 w 117"/>
                <a:gd name="T55" fmla="*/ 137 h 209"/>
                <a:gd name="T56" fmla="*/ 11 w 117"/>
                <a:gd name="T57" fmla="*/ 163 h 2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209">
                  <a:moveTo>
                    <a:pt x="28" y="209"/>
                  </a:moveTo>
                  <a:cubicBezTo>
                    <a:pt x="27" y="209"/>
                    <a:pt x="25" y="208"/>
                    <a:pt x="24" y="206"/>
                  </a:cubicBezTo>
                  <a:cubicBezTo>
                    <a:pt x="1" y="163"/>
                    <a:pt x="1" y="163"/>
                    <a:pt x="1" y="163"/>
                  </a:cubicBezTo>
                  <a:cubicBezTo>
                    <a:pt x="0" y="162"/>
                    <a:pt x="0" y="161"/>
                    <a:pt x="0" y="160"/>
                  </a:cubicBezTo>
                  <a:cubicBezTo>
                    <a:pt x="1" y="158"/>
                    <a:pt x="1" y="157"/>
                    <a:pt x="3" y="157"/>
                  </a:cubicBezTo>
                  <a:cubicBezTo>
                    <a:pt x="22" y="148"/>
                    <a:pt x="34" y="140"/>
                    <a:pt x="40" y="131"/>
                  </a:cubicBezTo>
                  <a:cubicBezTo>
                    <a:pt x="46" y="125"/>
                    <a:pt x="49" y="117"/>
                    <a:pt x="51" y="108"/>
                  </a:cubicBezTo>
                  <a:cubicBezTo>
                    <a:pt x="5" y="108"/>
                    <a:pt x="5" y="108"/>
                    <a:pt x="5" y="108"/>
                  </a:cubicBezTo>
                  <a:cubicBezTo>
                    <a:pt x="2" y="108"/>
                    <a:pt x="0" y="106"/>
                    <a:pt x="0" y="104"/>
                  </a:cubicBezTo>
                  <a:cubicBezTo>
                    <a:pt x="0" y="5"/>
                    <a:pt x="0" y="5"/>
                    <a:pt x="0" y="5"/>
                  </a:cubicBezTo>
                  <a:cubicBezTo>
                    <a:pt x="0" y="3"/>
                    <a:pt x="2" y="0"/>
                    <a:pt x="5" y="0"/>
                  </a:cubicBezTo>
                  <a:cubicBezTo>
                    <a:pt x="112" y="0"/>
                    <a:pt x="112" y="0"/>
                    <a:pt x="112" y="0"/>
                  </a:cubicBezTo>
                  <a:cubicBezTo>
                    <a:pt x="115" y="0"/>
                    <a:pt x="117" y="3"/>
                    <a:pt x="117" y="5"/>
                  </a:cubicBezTo>
                  <a:cubicBezTo>
                    <a:pt x="117" y="87"/>
                    <a:pt x="117" y="87"/>
                    <a:pt x="117" y="87"/>
                  </a:cubicBezTo>
                  <a:cubicBezTo>
                    <a:pt x="117" y="118"/>
                    <a:pt x="110" y="142"/>
                    <a:pt x="97" y="161"/>
                  </a:cubicBezTo>
                  <a:cubicBezTo>
                    <a:pt x="83" y="179"/>
                    <a:pt x="61" y="195"/>
                    <a:pt x="30" y="208"/>
                  </a:cubicBezTo>
                  <a:cubicBezTo>
                    <a:pt x="30" y="209"/>
                    <a:pt x="29" y="209"/>
                    <a:pt x="28" y="209"/>
                  </a:cubicBezTo>
                  <a:close/>
                  <a:moveTo>
                    <a:pt x="11" y="163"/>
                  </a:moveTo>
                  <a:cubicBezTo>
                    <a:pt x="30" y="198"/>
                    <a:pt x="30" y="198"/>
                    <a:pt x="30" y="198"/>
                  </a:cubicBezTo>
                  <a:cubicBezTo>
                    <a:pt x="57" y="186"/>
                    <a:pt x="77" y="171"/>
                    <a:pt x="90" y="155"/>
                  </a:cubicBezTo>
                  <a:cubicBezTo>
                    <a:pt x="101" y="139"/>
                    <a:pt x="107" y="116"/>
                    <a:pt x="107" y="87"/>
                  </a:cubicBezTo>
                  <a:cubicBezTo>
                    <a:pt x="107" y="10"/>
                    <a:pt x="107" y="10"/>
                    <a:pt x="107" y="10"/>
                  </a:cubicBezTo>
                  <a:cubicBezTo>
                    <a:pt x="9" y="10"/>
                    <a:pt x="9" y="10"/>
                    <a:pt x="9" y="10"/>
                  </a:cubicBezTo>
                  <a:cubicBezTo>
                    <a:pt x="9" y="99"/>
                    <a:pt x="9" y="99"/>
                    <a:pt x="9" y="99"/>
                  </a:cubicBezTo>
                  <a:cubicBezTo>
                    <a:pt x="56" y="99"/>
                    <a:pt x="56" y="99"/>
                    <a:pt x="56" y="99"/>
                  </a:cubicBezTo>
                  <a:cubicBezTo>
                    <a:pt x="57" y="99"/>
                    <a:pt x="59" y="99"/>
                    <a:pt x="60" y="100"/>
                  </a:cubicBezTo>
                  <a:cubicBezTo>
                    <a:pt x="60" y="101"/>
                    <a:pt x="61" y="103"/>
                    <a:pt x="61" y="104"/>
                  </a:cubicBezTo>
                  <a:cubicBezTo>
                    <a:pt x="60" y="117"/>
                    <a:pt x="55" y="128"/>
                    <a:pt x="47" y="137"/>
                  </a:cubicBezTo>
                  <a:cubicBezTo>
                    <a:pt x="40" y="146"/>
                    <a:pt x="29" y="154"/>
                    <a:pt x="11" y="163"/>
                  </a:cubicBezTo>
                  <a:close/>
                </a:path>
              </a:pathLst>
            </a:cu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1" name="Group 4"/>
          <p:cNvGrpSpPr>
            <a:grpSpLocks noChangeAspect="1"/>
          </p:cNvGrpSpPr>
          <p:nvPr userDrawn="1"/>
        </p:nvGrpSpPr>
        <p:grpSpPr>
          <a:xfrm>
            <a:off x="10766425" y="5235575"/>
            <a:ext cx="269875" cy="282575"/>
            <a:chOff x="6782" y="3298"/>
            <a:chExt cx="170" cy="178"/>
          </a:xfrm>
        </p:grpSpPr>
        <p:sp>
          <p:nvSpPr>
            <p:cNvPr id="17" name="AutoShape 3"/>
            <p:cNvSpPr>
              <a:spLocks noChangeAspect="1" noChangeArrowheads="1" noTextEdit="1"/>
            </p:cNvSpPr>
            <p:nvPr userDrawn="1"/>
          </p:nvSpPr>
          <p:spPr bwMode="auto">
            <a:xfrm>
              <a:off x="6782" y="3298"/>
              <a:ext cx="170"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5"/>
            <p:cNvSpPr>
              <a:spLocks noEditPoints="1"/>
            </p:cNvSpPr>
            <p:nvPr userDrawn="1"/>
          </p:nvSpPr>
          <p:spPr bwMode="auto">
            <a:xfrm>
              <a:off x="6779" y="3298"/>
              <a:ext cx="175" cy="175"/>
            </a:xfrm>
            <a:custGeom>
              <a:gdLst>
                <a:gd name="T0" fmla="*/ 35 w 71"/>
                <a:gd name="T1" fmla="*/ 0 h 71"/>
                <a:gd name="T2" fmla="*/ 0 w 71"/>
                <a:gd name="T3" fmla="*/ 35 h 71"/>
                <a:gd name="T4" fmla="*/ 35 w 71"/>
                <a:gd name="T5" fmla="*/ 71 h 71"/>
                <a:gd name="T6" fmla="*/ 71 w 71"/>
                <a:gd name="T7" fmla="*/ 35 h 71"/>
                <a:gd name="T8" fmla="*/ 35 w 71"/>
                <a:gd name="T9" fmla="*/ 0 h 71"/>
                <a:gd name="T10" fmla="*/ 35 w 71"/>
                <a:gd name="T11" fmla="*/ 68 h 71"/>
                <a:gd name="T12" fmla="*/ 3 w 71"/>
                <a:gd name="T13" fmla="*/ 35 h 71"/>
                <a:gd name="T14" fmla="*/ 35 w 71"/>
                <a:gd name="T15" fmla="*/ 3 h 71"/>
                <a:gd name="T16" fmla="*/ 68 w 71"/>
                <a:gd name="T17" fmla="*/ 35 h 71"/>
                <a:gd name="T18" fmla="*/ 35 w 71"/>
                <a:gd name="T19" fmla="*/ 68 h 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71">
                  <a:moveTo>
                    <a:pt x="35" y="0"/>
                  </a:moveTo>
                  <a:cubicBezTo>
                    <a:pt x="16" y="0"/>
                    <a:pt x="0" y="16"/>
                    <a:pt x="0" y="35"/>
                  </a:cubicBezTo>
                  <a:cubicBezTo>
                    <a:pt x="0" y="55"/>
                    <a:pt x="16" y="71"/>
                    <a:pt x="35" y="71"/>
                  </a:cubicBezTo>
                  <a:cubicBezTo>
                    <a:pt x="55" y="71"/>
                    <a:pt x="71" y="55"/>
                    <a:pt x="71" y="35"/>
                  </a:cubicBezTo>
                  <a:cubicBezTo>
                    <a:pt x="71" y="16"/>
                    <a:pt x="55" y="0"/>
                    <a:pt x="35" y="0"/>
                  </a:cubicBezTo>
                  <a:close/>
                  <a:moveTo>
                    <a:pt x="35" y="68"/>
                  </a:moveTo>
                  <a:cubicBezTo>
                    <a:pt x="17" y="68"/>
                    <a:pt x="3" y="53"/>
                    <a:pt x="3" y="35"/>
                  </a:cubicBezTo>
                  <a:cubicBezTo>
                    <a:pt x="3" y="17"/>
                    <a:pt x="17" y="3"/>
                    <a:pt x="35" y="3"/>
                  </a:cubicBezTo>
                  <a:cubicBezTo>
                    <a:pt x="53" y="3"/>
                    <a:pt x="68" y="17"/>
                    <a:pt x="68" y="35"/>
                  </a:cubicBezTo>
                  <a:cubicBezTo>
                    <a:pt x="68" y="53"/>
                    <a:pt x="53" y="68"/>
                    <a:pt x="35" y="68"/>
                  </a:cubicBezTo>
                  <a:close/>
                </a:path>
              </a:pathLst>
            </a:cu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 name="Oval 6"/>
            <p:cNvSpPr>
              <a:spLocks noChangeArrowheads="1"/>
            </p:cNvSpPr>
            <p:nvPr userDrawn="1"/>
          </p:nvSpPr>
          <p:spPr bwMode="auto">
            <a:xfrm>
              <a:off x="6834" y="3352"/>
              <a:ext cx="64" cy="65"/>
            </a:xfrm>
            <a:prstGeom prst="ellipse">
              <a:avLst/>
            </a:prstGeom>
            <a:solidFill>
              <a:srgbClr val="00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210189083"/>
      </p:ext>
    </p:extLst>
  </p:cSld>
  <p:clrMapOvr>
    <a:masterClrMapping/>
  </p:clrMapOvr>
  <p:transition/>
  <p:timing/>
</p:sldLayout>
</file>

<file path=ppt/slideLayouts/slideLayout2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Quote_Top_Left_Dark_Image">
    <p:bg>
      <p:bgPr>
        <a:solidFill>
          <a:schemeClr val="accent6"/>
        </a:solidFill>
        <a:effectLst/>
      </p:bgPr>
    </p:bg>
    <p:spTree>
      <p:nvGrpSpPr>
        <p:cNvPr id="1" name=""/>
        <p:cNvGrpSpPr/>
        <p:nvPr/>
      </p:nvGrpSpPr>
      <p:grpSpPr>
        <a:xfrm>
          <a:off x="0" y="0"/>
          <a:ext cx="0" cy="0"/>
        </a:xfrm>
      </p:grpSpPr>
      <p:sp>
        <p:nvSpPr>
          <p:cNvPr id="6" name="Picture Placeholder 13"/>
          <p:cNvSpPr>
            <a:spLocks noGrp="1"/>
          </p:cNvSpPr>
          <p:nvPr>
            <p:ph type="pic" sz="quarter" idx="33" hasCustomPrompt="1"/>
          </p:nvPr>
        </p:nvSpPr>
        <p:spPr>
          <a:xfrm>
            <a:off x="0" y="0"/>
            <a:ext cx="12192000" cy="6874525"/>
          </a:xfrm>
          <a:solidFill>
            <a:schemeClr val="accent6"/>
          </a:solidFill>
        </p:spPr>
        <p:txBody>
          <a:bodyPr lIns="7200000" rIns="720000" anchor="ctr" anchorCtr="0"/>
          <a:lstStyle>
            <a:lvl1pPr algn="ctr">
              <a:defRPr sz="1000" cap="all" baseline="0">
                <a:solidFill>
                  <a:schemeClr val="bg1"/>
                </a:solidFill>
              </a:defRPr>
            </a:lvl1pPr>
          </a:lstStyle>
          <a:p>
            <a:r>
              <a:rPr lang="en-US"/>
              <a:t>Click on the icon to Insert image in placeholder and USE THE CROP TOOL TO CENTER THE IMAGE</a:t>
            </a:r>
          </a:p>
        </p:txBody>
      </p:sp>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1"/>
          <p:cNvSpPr>
            <a:spLocks noGrp="1"/>
          </p:cNvSpPr>
          <p:nvPr>
            <p:ph type="title" hasCustomPrompt="1"/>
          </p:nvPr>
        </p:nvSpPr>
        <p:spPr>
          <a:xfrm>
            <a:off x="355741" y="1287578"/>
            <a:ext cx="5582180" cy="1731199"/>
          </a:xfrm>
        </p:spPr>
        <p:txBody>
          <a:bodyPr tIns="0" anchor="b" anchorCtr="0"/>
          <a:lstStyle>
            <a:lvl1pPr marL="0" indent="0" algn="l" rtl="0" eaLnBrk="1" fontAlgn="base" hangingPunct="1">
              <a:lnSpc>
                <a:spcPct val="80000"/>
              </a:lnSpc>
              <a:spcBef>
                <a:spcPct val="0"/>
              </a:spcBef>
              <a:spcAft>
                <a:spcPct val="0"/>
              </a:spcAft>
              <a:buFont typeface="Arial" panose="020b0604020202020204" pitchFamily="34" charset="0"/>
              <a:buNone/>
              <a:defRPr lang="en-AU" sz="2799" b="0" kern="1200" cap="all" baseline="0">
                <a:solidFill>
                  <a:schemeClr val="bg1"/>
                </a:solidFill>
                <a:latin typeface="+mj-lt"/>
                <a:ea typeface="Roboto" panose="02000000000000000000" pitchFamily="2" charset="0"/>
                <a:cs typeface="Arial" panose="020b0604020202020204" pitchFamily="34" charset="0"/>
              </a:defRPr>
            </a:lvl1pPr>
          </a:lstStyle>
          <a:p>
            <a:r>
              <a:rPr lang="en-US"/>
              <a:t>INSERT QUOTE at 28pt min 26pt MAX 5 LINES     AS OLESTOTATE CON RAERUM ES INI EREPUDI ODIT EHENDIAM EUM.</a:t>
            </a:r>
          </a:p>
        </p:txBody>
      </p:sp>
      <p:sp>
        <p:nvSpPr>
          <p:cNvPr id="16" name="Text Placeholder 4"/>
          <p:cNvSpPr>
            <a:spLocks noGrp="1"/>
          </p:cNvSpPr>
          <p:nvPr>
            <p:ph type="body" sz="quarter" idx="12" hasCustomPrompt="1"/>
          </p:nvPr>
        </p:nvSpPr>
        <p:spPr>
          <a:xfrm>
            <a:off x="1792702" y="3276929"/>
            <a:ext cx="4145219" cy="664643"/>
          </a:xfrm>
        </p:spPr>
        <p:txBody>
          <a:bodyPr>
            <a:spAutoFit/>
          </a:bodyPr>
          <a:lstStyle>
            <a:lvl1pPr marL="0" marR="0" indent="0" algn="l" defTabSz="914217" rtl="0" eaLnBrk="1" fontAlgn="base" latinLnBrk="0" hangingPunct="1">
              <a:lnSpc>
                <a:spcPct val="90000"/>
              </a:lnSpc>
              <a:spcBef>
                <a:spcPct val="0"/>
              </a:spcBef>
              <a:spcAft>
                <a:spcPct val="0"/>
              </a:spcAft>
              <a:buClrTx/>
              <a:buSzTx/>
              <a:buFont typeface="Arial" panose="020b0604020202020204" pitchFamily="34" charset="0"/>
              <a:buNone/>
              <a:defRPr lang="en-US" sz="1600" b="0" kern="1200" cap="all" baseline="0">
                <a:solidFill>
                  <a:schemeClr val="bg1"/>
                </a:solidFill>
                <a:latin typeface="+mn-lt"/>
                <a:ea typeface="Roboto" panose="02000000000000000000" pitchFamily="2" charset="0"/>
                <a:cs typeface="Arial" panose="020b0604020202020204" pitchFamily="34" charset="0"/>
              </a:defRPr>
            </a:lvl1pPr>
          </a:lstStyle>
          <a:p>
            <a:r>
              <a:rPr lang="en-US"/>
              <a:t>INSERT AUTHOR’S DETAILS HERE. UPPERCASE, maximum 3 lines </a:t>
            </a:r>
            <a:br>
              <a:rPr lang="en-US"/>
            </a:br>
            <a:r>
              <a:rPr lang="en-US"/>
              <a:t>AT 16PT, MINIMUM 14PT. </a:t>
            </a:r>
          </a:p>
        </p:txBody>
      </p:sp>
    </p:spTree>
    <p:extLst>
      <p:ext uri="{BB962C8B-B14F-4D97-AF65-F5344CB8AC3E}">
        <p14:creationId xmlns:p14="http://schemas.microsoft.com/office/powerpoint/2010/main" val="116709776"/>
      </p:ext>
    </p:extLst>
  </p:cSld>
  <p:clrMapOvr>
    <a:masterClrMapping/>
  </p:clrMapOvr>
  <p:transition/>
  <p:timing/>
</p:sldLayout>
</file>

<file path=ppt/slideLayouts/slideLayout2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umbnails_5">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8" name="Text Placeholder 24"/>
          <p:cNvSpPr>
            <a:spLocks noGrp="1"/>
          </p:cNvSpPr>
          <p:nvPr>
            <p:ph type="body" sz="quarter" idx="25" hasCustomPrompt="1"/>
          </p:nvPr>
        </p:nvSpPr>
        <p:spPr>
          <a:xfrm>
            <a:off x="359311" y="4267493"/>
            <a:ext cx="2015533" cy="2070126"/>
          </a:xfrm>
        </p:spPr>
        <p:txBody>
          <a:bodyPr vert="horz" wrap="square" lIns="0" tIns="0" rIns="0" bIns="0" rtlCol="0">
            <a:noAutofit/>
          </a:bodyPr>
          <a:lstStyle>
            <a:lvl1pPr>
              <a:lnSpc>
                <a:spcPct val="100000"/>
              </a:lnSpc>
              <a:defRPr lang="en-US" sz="1600" baseline="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minimum 14pt, paragraph spacing at single spacing. Maximum lines to the bottom of this box.</a:t>
            </a:r>
          </a:p>
        </p:txBody>
      </p:sp>
      <p:sp>
        <p:nvSpPr>
          <p:cNvPr id="39" name="Text Placeholder 4"/>
          <p:cNvSpPr>
            <a:spLocks noGrp="1"/>
          </p:cNvSpPr>
          <p:nvPr>
            <p:ph type="body" sz="quarter" idx="26" hasCustomPrompt="1"/>
          </p:nvPr>
        </p:nvSpPr>
        <p:spPr>
          <a:xfrm>
            <a:off x="359311" y="3493632"/>
            <a:ext cx="2016000" cy="666000"/>
          </a:xfrm>
        </p:spPr>
        <p:txBody>
          <a:bodyPr anchor="t"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16PT MIN 14PT MAX 3 LINES</a:t>
            </a:r>
          </a:p>
        </p:txBody>
      </p:sp>
      <p:sp>
        <p:nvSpPr>
          <p:cNvPr id="5" name="Title 4"/>
          <p:cNvSpPr>
            <a:spLocks noGrp="1"/>
          </p:cNvSpPr>
          <p:nvPr>
            <p:ph type="title"/>
          </p:nvPr>
        </p:nvSpPr>
        <p:spPr/>
        <p:txBody>
          <a:bodyPr/>
          <a:lstStyle/>
          <a:p>
            <a:r>
              <a:rPr lang="en-US"/>
              <a:t>Click to edit Master title style</a:t>
            </a:r>
            <a:endParaRPr lang="en-AU"/>
          </a:p>
        </p:txBody>
      </p:sp>
      <p:cxnSp>
        <p:nvCxnSpPr>
          <p:cNvPr id="29" name="Straight Arrow Connector 28"/>
          <p:cNvCxnSpPr/>
          <p:nvPr userDrawn="1"/>
        </p:nvCxnSpPr>
        <p:spPr>
          <a:xfrm>
            <a:off x="359311" y="3384413"/>
            <a:ext cx="2015533"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4" name="Text Placeholder 24"/>
          <p:cNvSpPr>
            <a:spLocks noGrp="1"/>
          </p:cNvSpPr>
          <p:nvPr>
            <p:ph type="body" sz="quarter" idx="28" hasCustomPrompt="1"/>
          </p:nvPr>
        </p:nvSpPr>
        <p:spPr>
          <a:xfrm>
            <a:off x="2728490" y="4254793"/>
            <a:ext cx="2015533" cy="2070126"/>
          </a:xfrm>
        </p:spPr>
        <p:txBody>
          <a:bodyPr vert="horz" wrap="square" lIns="0" tIns="0" rIns="0" bIns="0" rtlCol="0">
            <a:noAutofit/>
          </a:bodyPr>
          <a:lstStyle>
            <a:lvl1pPr>
              <a:lnSpc>
                <a:spcPct val="100000"/>
              </a:lnSpc>
              <a:defRPr lang="en-US" sz="1600" baseline="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minimum 14pt, paragraph spacing at single spacing. Maximum lines to the bottom of this box.</a:t>
            </a:r>
          </a:p>
        </p:txBody>
      </p:sp>
      <p:sp>
        <p:nvSpPr>
          <p:cNvPr id="35" name="Text Placeholder 4"/>
          <p:cNvSpPr>
            <a:spLocks noGrp="1"/>
          </p:cNvSpPr>
          <p:nvPr>
            <p:ph type="body" sz="quarter" idx="29" hasCustomPrompt="1"/>
          </p:nvPr>
        </p:nvSpPr>
        <p:spPr>
          <a:xfrm>
            <a:off x="2728490" y="3480932"/>
            <a:ext cx="2016000" cy="666000"/>
          </a:xfrm>
        </p:spPr>
        <p:txBody>
          <a:bodyPr anchor="t"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16PT MIN 14PT MAX 3 LINES</a:t>
            </a:r>
          </a:p>
        </p:txBody>
      </p:sp>
      <p:cxnSp>
        <p:nvCxnSpPr>
          <p:cNvPr id="40" name="Straight Arrow Connector 39"/>
          <p:cNvCxnSpPr/>
          <p:nvPr userDrawn="1"/>
        </p:nvCxnSpPr>
        <p:spPr>
          <a:xfrm>
            <a:off x="2728490" y="3371713"/>
            <a:ext cx="2015533"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2" name="Text Placeholder 24"/>
          <p:cNvSpPr>
            <a:spLocks noGrp="1"/>
          </p:cNvSpPr>
          <p:nvPr>
            <p:ph type="body" sz="quarter" idx="31" hasCustomPrompt="1"/>
          </p:nvPr>
        </p:nvSpPr>
        <p:spPr>
          <a:xfrm>
            <a:off x="5097669" y="4254793"/>
            <a:ext cx="2015533" cy="2070126"/>
          </a:xfrm>
        </p:spPr>
        <p:txBody>
          <a:bodyPr vert="horz" wrap="square" lIns="0" tIns="0" rIns="0" bIns="0" rtlCol="0">
            <a:noAutofit/>
          </a:bodyPr>
          <a:lstStyle>
            <a:lvl1pPr>
              <a:lnSpc>
                <a:spcPct val="100000"/>
              </a:lnSpc>
              <a:defRPr lang="en-US" sz="1600" baseline="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minimum 14pt, paragraph spacing at single spacing. Maximum lines to the bottom of this box.</a:t>
            </a:r>
          </a:p>
        </p:txBody>
      </p:sp>
      <p:sp>
        <p:nvSpPr>
          <p:cNvPr id="43" name="Text Placeholder 4"/>
          <p:cNvSpPr>
            <a:spLocks noGrp="1"/>
          </p:cNvSpPr>
          <p:nvPr>
            <p:ph type="body" sz="quarter" idx="32" hasCustomPrompt="1"/>
          </p:nvPr>
        </p:nvSpPr>
        <p:spPr>
          <a:xfrm>
            <a:off x="5097669" y="3480932"/>
            <a:ext cx="2016000" cy="666000"/>
          </a:xfrm>
        </p:spPr>
        <p:txBody>
          <a:bodyPr anchor="t"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16PT MIN 14PT MAX 3 LINES</a:t>
            </a:r>
          </a:p>
        </p:txBody>
      </p:sp>
      <p:cxnSp>
        <p:nvCxnSpPr>
          <p:cNvPr id="44" name="Straight Arrow Connector 43"/>
          <p:cNvCxnSpPr/>
          <p:nvPr userDrawn="1"/>
        </p:nvCxnSpPr>
        <p:spPr>
          <a:xfrm>
            <a:off x="5097669" y="3371713"/>
            <a:ext cx="2015533"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6" name="Text Placeholder 24"/>
          <p:cNvSpPr>
            <a:spLocks noGrp="1"/>
          </p:cNvSpPr>
          <p:nvPr>
            <p:ph type="body" sz="quarter" idx="34" hasCustomPrompt="1"/>
          </p:nvPr>
        </p:nvSpPr>
        <p:spPr>
          <a:xfrm>
            <a:off x="7466848" y="4254793"/>
            <a:ext cx="2015533" cy="2070126"/>
          </a:xfrm>
        </p:spPr>
        <p:txBody>
          <a:bodyPr vert="horz" wrap="square" lIns="0" tIns="0" rIns="0" bIns="0" rtlCol="0">
            <a:noAutofit/>
          </a:bodyPr>
          <a:lstStyle>
            <a:lvl1pPr>
              <a:lnSpc>
                <a:spcPct val="100000"/>
              </a:lnSpc>
              <a:defRPr lang="en-US" sz="1600" baseline="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minimum 14pt, paragraph spacing at single spacing. Maximum lines to the bottom of this box.</a:t>
            </a:r>
          </a:p>
        </p:txBody>
      </p:sp>
      <p:sp>
        <p:nvSpPr>
          <p:cNvPr id="47" name="Text Placeholder 4"/>
          <p:cNvSpPr>
            <a:spLocks noGrp="1"/>
          </p:cNvSpPr>
          <p:nvPr>
            <p:ph type="body" sz="quarter" idx="35" hasCustomPrompt="1"/>
          </p:nvPr>
        </p:nvSpPr>
        <p:spPr>
          <a:xfrm>
            <a:off x="7466848" y="3480932"/>
            <a:ext cx="2016000" cy="666000"/>
          </a:xfrm>
        </p:spPr>
        <p:txBody>
          <a:bodyPr anchor="t"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16PT MIN 14PT MAX 3 LINES</a:t>
            </a:r>
          </a:p>
        </p:txBody>
      </p:sp>
      <p:cxnSp>
        <p:nvCxnSpPr>
          <p:cNvPr id="48" name="Straight Arrow Connector 47"/>
          <p:cNvCxnSpPr/>
          <p:nvPr userDrawn="1"/>
        </p:nvCxnSpPr>
        <p:spPr>
          <a:xfrm>
            <a:off x="7466848" y="3371713"/>
            <a:ext cx="2015533"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0" name="Text Placeholder 24"/>
          <p:cNvSpPr>
            <a:spLocks noGrp="1"/>
          </p:cNvSpPr>
          <p:nvPr>
            <p:ph type="body" sz="quarter" idx="37" hasCustomPrompt="1"/>
          </p:nvPr>
        </p:nvSpPr>
        <p:spPr>
          <a:xfrm>
            <a:off x="9836026" y="4254793"/>
            <a:ext cx="2015533" cy="2070126"/>
          </a:xfrm>
        </p:spPr>
        <p:txBody>
          <a:bodyPr vert="horz" wrap="square" lIns="0" tIns="0" rIns="0" bIns="0" rtlCol="0">
            <a:noAutofit/>
          </a:bodyPr>
          <a:lstStyle>
            <a:lvl1pPr>
              <a:lnSpc>
                <a:spcPct val="100000"/>
              </a:lnSpc>
              <a:defRPr lang="en-US" sz="1600" baseline="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minimum 14pt, paragraph spacing at single spacing. Maximum lines to the bottom of this box.</a:t>
            </a:r>
          </a:p>
        </p:txBody>
      </p:sp>
      <p:sp>
        <p:nvSpPr>
          <p:cNvPr id="51" name="Text Placeholder 4"/>
          <p:cNvSpPr>
            <a:spLocks noGrp="1"/>
          </p:cNvSpPr>
          <p:nvPr>
            <p:ph type="body" sz="quarter" idx="38" hasCustomPrompt="1"/>
          </p:nvPr>
        </p:nvSpPr>
        <p:spPr>
          <a:xfrm>
            <a:off x="9836026" y="3480932"/>
            <a:ext cx="2016000" cy="666000"/>
          </a:xfrm>
        </p:spPr>
        <p:txBody>
          <a:bodyPr anchor="t"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16PT MIN 14PT MAX 3 LINES</a:t>
            </a:r>
          </a:p>
        </p:txBody>
      </p:sp>
      <p:cxnSp>
        <p:nvCxnSpPr>
          <p:cNvPr id="52" name="Straight Arrow Connector 51"/>
          <p:cNvCxnSpPr/>
          <p:nvPr userDrawn="1"/>
        </p:nvCxnSpPr>
        <p:spPr>
          <a:xfrm>
            <a:off x="9836026" y="3371713"/>
            <a:ext cx="2015533"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0" name="Picture Placeholder 5"/>
          <p:cNvSpPr>
            <a:spLocks noGrp="1"/>
          </p:cNvSpPr>
          <p:nvPr>
            <p:ph type="pic" sz="quarter" idx="39" hasCustomPrompt="1"/>
          </p:nvPr>
        </p:nvSpPr>
        <p:spPr>
          <a:xfrm>
            <a:off x="334963" y="1412875"/>
            <a:ext cx="1390650" cy="1835766"/>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
        <p:nvSpPr>
          <p:cNvPr id="31" name="Picture Placeholder 5"/>
          <p:cNvSpPr>
            <a:spLocks noGrp="1"/>
          </p:cNvSpPr>
          <p:nvPr>
            <p:ph type="pic" sz="quarter" idx="40" hasCustomPrompt="1"/>
          </p:nvPr>
        </p:nvSpPr>
        <p:spPr>
          <a:xfrm>
            <a:off x="2728490" y="1412875"/>
            <a:ext cx="1390650" cy="1835766"/>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
        <p:nvSpPr>
          <p:cNvPr id="32" name="Picture Placeholder 5"/>
          <p:cNvSpPr>
            <a:spLocks noGrp="1"/>
          </p:cNvSpPr>
          <p:nvPr>
            <p:ph type="pic" sz="quarter" idx="41" hasCustomPrompt="1"/>
          </p:nvPr>
        </p:nvSpPr>
        <p:spPr>
          <a:xfrm>
            <a:off x="5097669" y="1412875"/>
            <a:ext cx="1390650" cy="1835766"/>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
        <p:nvSpPr>
          <p:cNvPr id="37" name="Picture Placeholder 5"/>
          <p:cNvSpPr>
            <a:spLocks noGrp="1"/>
          </p:cNvSpPr>
          <p:nvPr>
            <p:ph type="pic" sz="quarter" idx="42" hasCustomPrompt="1"/>
          </p:nvPr>
        </p:nvSpPr>
        <p:spPr>
          <a:xfrm>
            <a:off x="7466848" y="1412875"/>
            <a:ext cx="1390650" cy="1835766"/>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
        <p:nvSpPr>
          <p:cNvPr id="53" name="Picture Placeholder 5"/>
          <p:cNvSpPr>
            <a:spLocks noGrp="1"/>
          </p:cNvSpPr>
          <p:nvPr>
            <p:ph type="pic" sz="quarter" idx="43" hasCustomPrompt="1"/>
          </p:nvPr>
        </p:nvSpPr>
        <p:spPr>
          <a:xfrm>
            <a:off x="9836026" y="1412875"/>
            <a:ext cx="1390650" cy="1835766"/>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Tree>
    <p:extLst>
      <p:ext uri="{BB962C8B-B14F-4D97-AF65-F5344CB8AC3E}">
        <p14:creationId xmlns:p14="http://schemas.microsoft.com/office/powerpoint/2010/main" val="2308721613"/>
      </p:ext>
    </p:extLst>
  </p:cSld>
  <p:clrMapOvr>
    <a:masterClrMapping/>
  </p:clrMapOvr>
  <p:transition/>
  <p:timing/>
</p:sldLayout>
</file>

<file path=ppt/slideLayouts/slideLayout2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ntact_Slide_2_people">
    <p:bg>
      <p:bgPr>
        <a:solidFill>
          <a:schemeClr val="bg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8" name="TextBox 7"/>
          <p:cNvSpPr txBox="1"/>
          <p:nvPr userDrawn="1"/>
        </p:nvSpPr>
        <p:spPr>
          <a:xfrm>
            <a:off x="2498883" y="2661694"/>
            <a:ext cx="2765320" cy="204775"/>
          </a:xfrm>
          <a:prstGeom prst="rect">
            <a:avLst/>
          </a:prstGeom>
        </p:spPr>
        <p:txBody>
          <a:bodyPr vert="horz" wrap="square" lIns="0" tIns="0" rIns="0" bIns="0" rtlCol="0">
            <a:noAutofit/>
          </a:bodyPr>
          <a:lstStyle/>
          <a:p>
            <a:pPr>
              <a:lnSpc>
                <a:spcPct val="80000"/>
              </a:lnSpc>
              <a:spcBef>
                <a:spcPts val="1800"/>
              </a:spcBef>
              <a:spcAft>
                <a:spcPts val="300"/>
              </a:spcAft>
            </a:pPr>
            <a:endParaRPr lang="en-US" sz="1600" cap="all">
              <a:latin typeface="+mj-lt"/>
            </a:endParaRPr>
          </a:p>
        </p:txBody>
      </p:sp>
      <p:sp>
        <p:nvSpPr>
          <p:cNvPr id="16" name="Picture Placeholder 13"/>
          <p:cNvSpPr>
            <a:spLocks noGrp="1"/>
          </p:cNvSpPr>
          <p:nvPr>
            <p:ph type="pic" sz="quarter" idx="36" hasCustomPrompt="1"/>
          </p:nvPr>
        </p:nvSpPr>
        <p:spPr>
          <a:xfrm>
            <a:off x="334963" y="1006475"/>
            <a:ext cx="1919287" cy="2535238"/>
          </a:xfrm>
          <a:solidFill>
            <a:schemeClr val="bg2">
              <a:lumMod val="20000"/>
              <a:lumOff val="80000"/>
            </a:schemeClr>
          </a:solidFill>
        </p:spPr>
        <p:txBody>
          <a:bodyPr/>
          <a:lstStyle>
            <a:lvl1pPr marL="0" marR="0" indent="0" algn="ctr" defTabSz="1734634" rtl="0" eaLnBrk="1" fontAlgn="auto" latinLnBrk="0" hangingPunct="1">
              <a:lnSpc>
                <a:spcPct val="100000"/>
              </a:lnSpc>
              <a:spcBef>
                <a:spcPts val="800"/>
              </a:spcBef>
              <a:spcAft>
                <a:spcPct val="0"/>
              </a:spcAft>
              <a:buClrTx/>
              <a:buSzTx/>
              <a:buFont typeface="Arial"/>
              <a:buNone/>
              <a:defRPr sz="140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p>
        </p:txBody>
      </p:sp>
      <p:sp>
        <p:nvSpPr>
          <p:cNvPr id="17" name="Picture Placeholder 13"/>
          <p:cNvSpPr>
            <a:spLocks noGrp="1"/>
          </p:cNvSpPr>
          <p:nvPr>
            <p:ph type="pic" sz="quarter" idx="37" hasCustomPrompt="1"/>
          </p:nvPr>
        </p:nvSpPr>
        <p:spPr>
          <a:xfrm>
            <a:off x="6268191" y="1006475"/>
            <a:ext cx="1919287" cy="2535238"/>
          </a:xfrm>
          <a:solidFill>
            <a:schemeClr val="bg2">
              <a:lumMod val="20000"/>
              <a:lumOff val="80000"/>
            </a:schemeClr>
          </a:solidFill>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140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p>
          <a:p>
            <a:endParaRPr lang="en-AU"/>
          </a:p>
        </p:txBody>
      </p:sp>
      <p:sp>
        <p:nvSpPr>
          <p:cNvPr id="5" name="Text Placeholder 4"/>
          <p:cNvSpPr>
            <a:spLocks noGrp="1"/>
          </p:cNvSpPr>
          <p:nvPr>
            <p:ph type="body" sz="quarter" idx="45" hasCustomPrompt="1"/>
          </p:nvPr>
        </p:nvSpPr>
        <p:spPr>
          <a:xfrm>
            <a:off x="334963" y="3756026"/>
            <a:ext cx="1919287" cy="1539874"/>
          </a:xfrm>
        </p:spPr>
        <p:txBody>
          <a:bodyPr/>
          <a:lstStyle>
            <a:lvl1pPr>
              <a:defRPr lang="en-US" sz="2000" b="0" i="0" kern="1200" cap="none" baseline="0" smtClean="0">
                <a:solidFill>
                  <a:schemeClr val="accent1"/>
                </a:solidFill>
                <a:latin typeface="+mj-lt"/>
                <a:ea typeface="Roboto Light" panose="02000000000000000000" pitchFamily="2" charset="0"/>
                <a:cs typeface="+mn-cs"/>
              </a:defRPr>
            </a:lvl1pPr>
            <a:lvl3pPr marL="0" indent="0">
              <a:buNone/>
              <a:defRPr sz="1600"/>
            </a:lvl3pPr>
          </a:lstStyle>
          <a:p>
            <a:pPr marL="0" marR="0" lvl="0" indent="0" algn="l" defTabSz="912517" rtl="0" eaLnBrk="1" fontAlgn="auto" latinLnBrk="0" hangingPunct="1">
              <a:lnSpc>
                <a:spcPct val="80000"/>
              </a:lnSpc>
              <a:spcBef>
                <a:spcPct val="0"/>
              </a:spcBef>
              <a:spcAft>
                <a:spcPct val="0"/>
              </a:spcAft>
              <a:buClrTx/>
              <a:buSzTx/>
              <a:buFont typeface="Arial"/>
              <a:buNone/>
              <a:defRPr/>
            </a:pPr>
            <a:r>
              <a:rPr lang="en-US"/>
              <a:t>FIRST NAME LAST NAME</a:t>
            </a:r>
          </a:p>
          <a:p>
            <a:pPr lvl="2"/>
            <a:r>
              <a:rPr lang="en-US"/>
              <a:t>Third level</a:t>
            </a:r>
          </a:p>
        </p:txBody>
      </p:sp>
      <p:sp>
        <p:nvSpPr>
          <p:cNvPr id="13" name="Text Placeholder 4"/>
          <p:cNvSpPr>
            <a:spLocks noGrp="1"/>
          </p:cNvSpPr>
          <p:nvPr>
            <p:ph type="body" sz="quarter" idx="46" hasCustomPrompt="1"/>
          </p:nvPr>
        </p:nvSpPr>
        <p:spPr>
          <a:xfrm>
            <a:off x="6268191" y="3756026"/>
            <a:ext cx="1919287" cy="1539874"/>
          </a:xfrm>
        </p:spPr>
        <p:txBody>
          <a:bodyPr/>
          <a:lstStyle>
            <a:lvl1pPr>
              <a:defRPr lang="en-US" sz="2000" b="0" i="0" kern="1200" cap="none" baseline="0" smtClean="0">
                <a:solidFill>
                  <a:schemeClr val="accent1"/>
                </a:solidFill>
                <a:latin typeface="+mj-lt"/>
                <a:ea typeface="Roboto Light" panose="02000000000000000000" pitchFamily="2" charset="0"/>
                <a:cs typeface="+mn-cs"/>
              </a:defRPr>
            </a:lvl1pPr>
            <a:lvl3pPr marL="0" indent="0">
              <a:buNone/>
              <a:defRPr sz="1600"/>
            </a:lvl3pPr>
          </a:lstStyle>
          <a:p>
            <a:pPr marL="0" marR="0" lvl="0" indent="0" algn="l" defTabSz="912517" rtl="0" eaLnBrk="1" fontAlgn="auto" latinLnBrk="0" hangingPunct="1">
              <a:lnSpc>
                <a:spcPct val="80000"/>
              </a:lnSpc>
              <a:spcBef>
                <a:spcPct val="0"/>
              </a:spcBef>
              <a:spcAft>
                <a:spcPct val="0"/>
              </a:spcAft>
              <a:buClrTx/>
              <a:buSzTx/>
              <a:buFont typeface="Arial"/>
              <a:buNone/>
              <a:defRPr/>
            </a:pPr>
            <a:r>
              <a:rPr lang="en-US"/>
              <a:t>FIRST NAME LAST NAME</a:t>
            </a:r>
          </a:p>
          <a:p>
            <a:pPr lvl="2"/>
            <a:r>
              <a:rPr lang="en-US"/>
              <a:t>Third level</a:t>
            </a:r>
          </a:p>
        </p:txBody>
      </p:sp>
    </p:spTree>
    <p:extLst>
      <p:ext uri="{BB962C8B-B14F-4D97-AF65-F5344CB8AC3E}">
        <p14:creationId xmlns:p14="http://schemas.microsoft.com/office/powerpoint/2010/main" val="2957573158"/>
      </p:ext>
    </p:extLst>
  </p:cSld>
  <p:clrMapOvr>
    <a:masterClrMapping/>
  </p:clrMapOvr>
  <p:transition/>
  <p:timing/>
</p:sldLayout>
</file>

<file path=ppt/slideLayouts/slideLayout2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umbnails_4">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6" name="Picture Placeholder 13"/>
          <p:cNvSpPr>
            <a:spLocks noGrp="1"/>
          </p:cNvSpPr>
          <p:nvPr>
            <p:ph type="pic" sz="quarter" idx="24" hasCustomPrompt="1"/>
          </p:nvPr>
        </p:nvSpPr>
        <p:spPr>
          <a:xfrm>
            <a:off x="1828800" y="1763713"/>
            <a:ext cx="1389888" cy="1828800"/>
          </a:xfrm>
          <a:solidFill>
            <a:schemeClr val="tx2">
              <a:lumMod val="20000"/>
              <a:lumOff val="80000"/>
            </a:schemeClr>
          </a:solidFill>
        </p:spPr>
        <p:txBody>
          <a:bodyPr anchor="ctr" anchorCtr="0"/>
          <a:lstStyle>
            <a:lvl1pPr algn="ctr">
              <a:defRPr sz="1050" cap="all" baseline="0"/>
            </a:lvl1pPr>
          </a:lstStyle>
          <a:p>
            <a:r>
              <a:rPr lang="en-US"/>
              <a:t>CLICK ON THE ICON TO INSERT IMAGE </a:t>
            </a:r>
            <a:br>
              <a:rPr lang="en-US"/>
            </a:br>
            <a:r>
              <a:rPr lang="en-US"/>
              <a:t>IN PLACEHOLDER AND USE THE CROP TOOL TO CENTER THE IMAGE</a:t>
            </a:r>
          </a:p>
        </p:txBody>
      </p:sp>
      <p:sp>
        <p:nvSpPr>
          <p:cNvPr id="40" name="Picture Placeholder 13"/>
          <p:cNvSpPr>
            <a:spLocks noGrp="1"/>
          </p:cNvSpPr>
          <p:nvPr>
            <p:ph type="pic" sz="quarter" idx="27" hasCustomPrompt="1"/>
          </p:nvPr>
        </p:nvSpPr>
        <p:spPr>
          <a:xfrm>
            <a:off x="6290310" y="1763713"/>
            <a:ext cx="1389888" cy="1828800"/>
          </a:xfrm>
          <a:solidFill>
            <a:schemeClr val="tx2">
              <a:lumMod val="20000"/>
              <a:lumOff val="80000"/>
            </a:schemeClr>
          </a:solidFill>
        </p:spPr>
        <p:txBody>
          <a:bodyPr anchor="ctr" anchorCtr="0"/>
          <a:lstStyle>
            <a:lvl1pPr algn="ctr">
              <a:defRPr sz="1050" cap="all" baseline="0"/>
            </a:lvl1pPr>
          </a:lstStyle>
          <a:p>
            <a:r>
              <a:rPr lang="en-US"/>
              <a:t>CLICK ON THE ICON TO INSERT IMAGE </a:t>
            </a:r>
            <a:br>
              <a:rPr lang="en-US"/>
            </a:br>
            <a:r>
              <a:rPr lang="en-US"/>
              <a:t>IN PLACEHOLDER AND USE THE CROP TOOL TO CENTER THE IMAGE</a:t>
            </a:r>
          </a:p>
        </p:txBody>
      </p:sp>
      <p:sp>
        <p:nvSpPr>
          <p:cNvPr id="52" name="Picture Placeholder 13"/>
          <p:cNvSpPr>
            <a:spLocks noGrp="1"/>
          </p:cNvSpPr>
          <p:nvPr>
            <p:ph type="pic" sz="quarter" idx="30" hasCustomPrompt="1"/>
          </p:nvPr>
        </p:nvSpPr>
        <p:spPr>
          <a:xfrm>
            <a:off x="1828800" y="3978274"/>
            <a:ext cx="1389888" cy="1828800"/>
          </a:xfrm>
          <a:solidFill>
            <a:schemeClr val="tx2">
              <a:lumMod val="20000"/>
              <a:lumOff val="80000"/>
            </a:schemeClr>
          </a:solidFill>
        </p:spPr>
        <p:txBody>
          <a:bodyPr anchor="ctr" anchorCtr="0"/>
          <a:lstStyle>
            <a:lvl1pPr algn="ctr">
              <a:defRPr sz="1050" cap="all" baseline="0"/>
            </a:lvl1pPr>
          </a:lstStyle>
          <a:p>
            <a:r>
              <a:rPr lang="en-US"/>
              <a:t>CLICK ON THE ICON TO INSERT IMAGE </a:t>
            </a:r>
            <a:br>
              <a:rPr lang="en-US"/>
            </a:br>
            <a:r>
              <a:rPr lang="en-US"/>
              <a:t>IN PLACEHOLDER AND USE THE CROP TOOL TO CENTER THE IMAGE</a:t>
            </a:r>
          </a:p>
        </p:txBody>
      </p:sp>
      <p:sp>
        <p:nvSpPr>
          <p:cNvPr id="56" name="Picture Placeholder 13"/>
          <p:cNvSpPr>
            <a:spLocks noGrp="1"/>
          </p:cNvSpPr>
          <p:nvPr>
            <p:ph type="pic" sz="quarter" idx="33" hasCustomPrompt="1"/>
          </p:nvPr>
        </p:nvSpPr>
        <p:spPr>
          <a:xfrm>
            <a:off x="6290310" y="3978274"/>
            <a:ext cx="1389888" cy="1828800"/>
          </a:xfrm>
          <a:solidFill>
            <a:schemeClr val="tx2">
              <a:lumMod val="20000"/>
              <a:lumOff val="80000"/>
            </a:schemeClr>
          </a:solidFill>
        </p:spPr>
        <p:txBody>
          <a:bodyPr anchor="ctr" anchorCtr="0"/>
          <a:lstStyle>
            <a:lvl1pPr algn="ctr">
              <a:defRPr sz="1050" cap="all" baseline="0"/>
            </a:lvl1pPr>
          </a:lstStyle>
          <a:p>
            <a:r>
              <a:rPr lang="en-US"/>
              <a:t>CLICK ON THE ICON TO INSERT IMAGE </a:t>
            </a:r>
            <a:br>
              <a:rPr lang="en-US"/>
            </a:br>
            <a:r>
              <a:rPr lang="en-US"/>
              <a:t>IN PLACEHOLDER AND USE THE CROP TOOL TO CENTER THE IMAGE</a:t>
            </a:r>
          </a:p>
        </p:txBody>
      </p:sp>
      <p:sp>
        <p:nvSpPr>
          <p:cNvPr id="2" name="Title 1"/>
          <p:cNvSpPr>
            <a:spLocks noGrp="1"/>
          </p:cNvSpPr>
          <p:nvPr>
            <p:ph type="title"/>
          </p:nvPr>
        </p:nvSpPr>
        <p:spPr/>
        <p:txBody>
          <a:bodyPr/>
          <a:lstStyle/>
          <a:p>
            <a:r>
              <a:rPr lang="en-US"/>
              <a:t>Click to edit Master title style</a:t>
            </a:r>
            <a:endParaRPr lang="en-AU"/>
          </a:p>
        </p:txBody>
      </p:sp>
      <p:sp>
        <p:nvSpPr>
          <p:cNvPr id="26" name="Text Placeholder 24"/>
          <p:cNvSpPr>
            <a:spLocks noGrp="1"/>
          </p:cNvSpPr>
          <p:nvPr>
            <p:ph type="body" sz="quarter" idx="36" hasCustomPrompt="1"/>
          </p:nvPr>
        </p:nvSpPr>
        <p:spPr>
          <a:xfrm>
            <a:off x="3434604" y="2822197"/>
            <a:ext cx="2160000" cy="770315"/>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27" name="Text Placeholder 4"/>
          <p:cNvSpPr>
            <a:spLocks noGrp="1"/>
          </p:cNvSpPr>
          <p:nvPr>
            <p:ph type="body" sz="quarter" idx="37" hasCustomPrompt="1"/>
          </p:nvPr>
        </p:nvSpPr>
        <p:spPr>
          <a:xfrm>
            <a:off x="3434604" y="1944324"/>
            <a:ext cx="2160000" cy="697921"/>
          </a:xfrm>
        </p:spPr>
        <p:txBody>
          <a:bodyPr anchor="b"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a:r>
            <a:br>
              <a:rPr lang="en-US" i="0" cap="all">
                <a:solidFill>
                  <a:schemeClr val="tx1"/>
                </a:solidFill>
                <a:latin typeface="+mn-lt"/>
                <a:ea typeface="Roboto Medium" panose="02000000000000000000" pitchFamily="2" charset="0"/>
                <a:cs typeface="Open Sans Semibold" panose="020b0706030804020204" pitchFamily="34" charset="0"/>
              </a:rPr>
            </a:br>
            <a:r>
              <a:rPr lang="en-US" i="0" cap="all">
                <a:solidFill>
                  <a:schemeClr val="tx1"/>
                </a:solidFill>
                <a:latin typeface="+mn-lt"/>
                <a:ea typeface="Roboto Medium" panose="02000000000000000000" pitchFamily="2" charset="0"/>
                <a:cs typeface="Open Sans Semibold" panose="020b0706030804020204" pitchFamily="34" charset="0"/>
              </a:rPr>
              <a:t>AT 16PT MIN 14PT MAX 3 LINES</a:t>
            </a:r>
          </a:p>
        </p:txBody>
      </p:sp>
      <p:sp>
        <p:nvSpPr>
          <p:cNvPr id="32" name="Text Placeholder 24"/>
          <p:cNvSpPr>
            <a:spLocks noGrp="1"/>
          </p:cNvSpPr>
          <p:nvPr>
            <p:ph type="body" sz="quarter" idx="38" hasCustomPrompt="1"/>
          </p:nvPr>
        </p:nvSpPr>
        <p:spPr>
          <a:xfrm>
            <a:off x="7896114" y="2822197"/>
            <a:ext cx="2160000" cy="770315"/>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33" name="Text Placeholder 4"/>
          <p:cNvSpPr>
            <a:spLocks noGrp="1"/>
          </p:cNvSpPr>
          <p:nvPr>
            <p:ph type="body" sz="quarter" idx="39" hasCustomPrompt="1"/>
          </p:nvPr>
        </p:nvSpPr>
        <p:spPr>
          <a:xfrm>
            <a:off x="7896114" y="1944324"/>
            <a:ext cx="2160000" cy="697921"/>
          </a:xfrm>
        </p:spPr>
        <p:txBody>
          <a:bodyPr anchor="b"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a:r>
            <a:br>
              <a:rPr lang="en-US" i="0" cap="all">
                <a:solidFill>
                  <a:schemeClr val="tx1"/>
                </a:solidFill>
                <a:latin typeface="+mn-lt"/>
                <a:ea typeface="Roboto Medium" panose="02000000000000000000" pitchFamily="2" charset="0"/>
                <a:cs typeface="Open Sans Semibold" panose="020b0706030804020204" pitchFamily="34" charset="0"/>
              </a:rPr>
            </a:br>
            <a:r>
              <a:rPr lang="en-US" i="0" cap="all">
                <a:solidFill>
                  <a:schemeClr val="tx1"/>
                </a:solidFill>
                <a:latin typeface="+mn-lt"/>
                <a:ea typeface="Roboto Medium" panose="02000000000000000000" pitchFamily="2" charset="0"/>
                <a:cs typeface="Open Sans Semibold" panose="020b0706030804020204" pitchFamily="34" charset="0"/>
              </a:rPr>
              <a:t>AT 16PT MIN 14PT MAX 3 LINES</a:t>
            </a:r>
          </a:p>
        </p:txBody>
      </p:sp>
      <p:sp>
        <p:nvSpPr>
          <p:cNvPr id="49" name="Text Placeholder 24"/>
          <p:cNvSpPr>
            <a:spLocks noGrp="1"/>
          </p:cNvSpPr>
          <p:nvPr>
            <p:ph type="body" sz="quarter" idx="40" hasCustomPrompt="1"/>
          </p:nvPr>
        </p:nvSpPr>
        <p:spPr>
          <a:xfrm>
            <a:off x="3434604" y="5041059"/>
            <a:ext cx="2160000" cy="770315"/>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50" name="Text Placeholder 4"/>
          <p:cNvSpPr>
            <a:spLocks noGrp="1"/>
          </p:cNvSpPr>
          <p:nvPr>
            <p:ph type="body" sz="quarter" idx="41" hasCustomPrompt="1"/>
          </p:nvPr>
        </p:nvSpPr>
        <p:spPr>
          <a:xfrm>
            <a:off x="3434604" y="4163186"/>
            <a:ext cx="2160000" cy="697921"/>
          </a:xfrm>
        </p:spPr>
        <p:txBody>
          <a:bodyPr anchor="b"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a:r>
            <a:br>
              <a:rPr lang="en-US" i="0" cap="all">
                <a:solidFill>
                  <a:schemeClr val="tx1"/>
                </a:solidFill>
                <a:latin typeface="+mn-lt"/>
                <a:ea typeface="Roboto Medium" panose="02000000000000000000" pitchFamily="2" charset="0"/>
                <a:cs typeface="Open Sans Semibold" panose="020b0706030804020204" pitchFamily="34" charset="0"/>
              </a:rPr>
            </a:br>
            <a:r>
              <a:rPr lang="en-US" i="0" cap="all">
                <a:solidFill>
                  <a:schemeClr val="tx1"/>
                </a:solidFill>
                <a:latin typeface="+mn-lt"/>
                <a:ea typeface="Roboto Medium" panose="02000000000000000000" pitchFamily="2" charset="0"/>
                <a:cs typeface="Open Sans Semibold" panose="020b0706030804020204" pitchFamily="34" charset="0"/>
              </a:rPr>
              <a:t>AT 16PT MIN 14PT MAX 3 LINES</a:t>
            </a:r>
          </a:p>
        </p:txBody>
      </p:sp>
      <p:sp>
        <p:nvSpPr>
          <p:cNvPr id="60" name="Text Placeholder 24"/>
          <p:cNvSpPr>
            <a:spLocks noGrp="1"/>
          </p:cNvSpPr>
          <p:nvPr>
            <p:ph type="body" sz="quarter" idx="42" hasCustomPrompt="1"/>
          </p:nvPr>
        </p:nvSpPr>
        <p:spPr>
          <a:xfrm>
            <a:off x="7896114" y="5041059"/>
            <a:ext cx="2160000" cy="770315"/>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61" name="Text Placeholder 4"/>
          <p:cNvSpPr>
            <a:spLocks noGrp="1"/>
          </p:cNvSpPr>
          <p:nvPr>
            <p:ph type="body" sz="quarter" idx="43" hasCustomPrompt="1"/>
          </p:nvPr>
        </p:nvSpPr>
        <p:spPr>
          <a:xfrm>
            <a:off x="7896114" y="4163186"/>
            <a:ext cx="2160000" cy="697921"/>
          </a:xfrm>
        </p:spPr>
        <p:txBody>
          <a:bodyPr anchor="b" anchorCtr="0">
            <a:noAutofit/>
          </a:bodyPr>
          <a:lstStyle>
            <a:lvl1pPr marL="0" indent="0" algn="l" defTabSz="912517" rtl="0" eaLnBrk="1" fontAlgn="base" latinLnBrk="0" hangingPunct="1">
              <a:lnSpc>
                <a:spcPct val="90000"/>
              </a:lnSpc>
              <a:spcBef>
                <a:spcPts val="600"/>
              </a:spcBef>
              <a:spcAft>
                <a:spcPct val="0"/>
              </a:spcAft>
              <a:buFont typeface="Arial" panose="020b0604020202020204" pitchFamily="34" charset="0"/>
              <a:buNone/>
              <a:defRPr lang="en-US" sz="1600" b="1" i="0" kern="1200" cap="all">
                <a:solidFill>
                  <a:schemeClr val="tx1"/>
                </a:solidFill>
                <a:latin typeface="+mn-lt"/>
                <a:ea typeface="Roboto Medium" panose="02000000000000000000" pitchFamily="2" charset="0"/>
                <a:cs typeface="Open Sans Semibold" panose="020b0706030804020204" pitchFamily="34" charset="0"/>
              </a:defRPr>
            </a:lvl1pPr>
          </a:lstStyle>
          <a:p>
            <a:pPr defTabSz="912517">
              <a:lnSpc>
                <a:spcPct val="90000"/>
              </a:lnSpc>
            </a:pPr>
            <a:r>
              <a:rPr lang="en-US" i="0" cap="all">
                <a:solidFill>
                  <a:schemeClr val="tx1"/>
                </a:solidFill>
                <a:latin typeface="+mn-lt"/>
                <a:ea typeface="Roboto Medium" panose="02000000000000000000" pitchFamily="2" charset="0"/>
                <a:cs typeface="Open Sans Semibold" panose="020b0706030804020204" pitchFamily="34" charset="0"/>
              </a:rPr>
              <a:t>INSERT HEADING </a:t>
            </a:r>
            <a:br>
              <a:rPr lang="en-US" i="0" cap="all">
                <a:solidFill>
                  <a:schemeClr val="tx1"/>
                </a:solidFill>
                <a:latin typeface="+mn-lt"/>
                <a:ea typeface="Roboto Medium" panose="02000000000000000000" pitchFamily="2" charset="0"/>
                <a:cs typeface="Open Sans Semibold" panose="020b0706030804020204" pitchFamily="34" charset="0"/>
              </a:rPr>
            </a:br>
            <a:r>
              <a:rPr lang="en-US" i="0" cap="all">
                <a:solidFill>
                  <a:schemeClr val="tx1"/>
                </a:solidFill>
                <a:latin typeface="+mn-lt"/>
                <a:ea typeface="Roboto Medium" panose="02000000000000000000" pitchFamily="2" charset="0"/>
                <a:cs typeface="Open Sans Semibold" panose="020b0706030804020204" pitchFamily="34" charset="0"/>
              </a:rPr>
              <a:t>AT 16PT MIN 14PT MAX 3 LINES</a:t>
            </a:r>
          </a:p>
        </p:txBody>
      </p:sp>
    </p:spTree>
    <p:extLst>
      <p:ext uri="{BB962C8B-B14F-4D97-AF65-F5344CB8AC3E}">
        <p14:creationId xmlns:p14="http://schemas.microsoft.com/office/powerpoint/2010/main" val="709620845"/>
      </p:ext>
    </p:extLst>
  </p:cSld>
  <p:clrMapOvr>
    <a:masterClrMapping/>
  </p:clrMapOvr>
  <p:transition/>
  <p:timing/>
</p:sldLayout>
</file>

<file path=ppt/slideLayouts/slideLayout2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Tumbnails_3">
    <p:spTree>
      <p:nvGrpSpPr>
        <p:cNvPr id="1" name=""/>
        <p:cNvGrpSpPr/>
        <p:nvPr/>
      </p:nvGrpSpPr>
      <p:grpSpPr>
        <a:xfrm>
          <a:off x="0" y="0"/>
          <a:ext cx="0" cy="0"/>
        </a:xfrm>
      </p:grpSpPr>
      <p:sp>
        <p:nvSpPr>
          <p:cNvPr id="74" name="Picture Placeholder 7"/>
          <p:cNvSpPr>
            <a:spLocks noGrp="1"/>
          </p:cNvSpPr>
          <p:nvPr>
            <p:ph type="pic" sz="quarter" idx="12" hasCustomPrompt="1"/>
          </p:nvPr>
        </p:nvSpPr>
        <p:spPr>
          <a:xfrm>
            <a:off x="334963" y="1763713"/>
            <a:ext cx="1400175" cy="1828800"/>
          </a:xfrm>
          <a:solidFill>
            <a:schemeClr val="bg1">
              <a:lumMod val="95000"/>
            </a:schemeClr>
          </a:solidFill>
        </p:spPr>
        <p:txBody>
          <a:bodyPr/>
          <a:lstStyle>
            <a:lvl1pPr>
              <a:defRPr sz="1100"/>
            </a:lvl1pPr>
          </a:lstStyle>
          <a:p>
            <a:r>
              <a:rPr lang="en-US"/>
              <a:t>CLICK ON THE ICON TO INSERT IMAGE IN PLACEHOLDER AND USE THE CROP TOOL TO CENTER THE IMAGE</a:t>
            </a:r>
            <a:endParaRPr lang="en-AU"/>
          </a:p>
        </p:txBody>
      </p:sp>
      <p:sp>
        <p:nvSpPr>
          <p:cNvPr id="75" name="Picture Placeholder 7"/>
          <p:cNvSpPr>
            <a:spLocks noGrp="1"/>
          </p:cNvSpPr>
          <p:nvPr>
            <p:ph type="pic" sz="quarter" idx="13" hasCustomPrompt="1"/>
          </p:nvPr>
        </p:nvSpPr>
        <p:spPr>
          <a:xfrm>
            <a:off x="4282701" y="1763713"/>
            <a:ext cx="1400175" cy="1828800"/>
          </a:xfrm>
          <a:solidFill>
            <a:schemeClr val="bg1">
              <a:lumMod val="95000"/>
            </a:schemeClr>
          </a:solidFill>
        </p:spPr>
        <p:txBody>
          <a:bodyPr/>
          <a:lstStyle>
            <a:lvl1pPr>
              <a:defRPr sz="1100"/>
            </a:lvl1pPr>
          </a:lstStyle>
          <a:p>
            <a:r>
              <a:rPr lang="en-US"/>
              <a:t>CLICK ON THE ICON TO INSERT IMAGE </a:t>
            </a:r>
            <a:br>
              <a:rPr lang="en-US"/>
            </a:br>
            <a:r>
              <a:rPr lang="en-US"/>
              <a:t>IN PLACEHOLDER AND USE THE CROP TOOL TO CENTER THE IMAGE</a:t>
            </a:r>
            <a:endParaRPr lang="en-AU"/>
          </a:p>
        </p:txBody>
      </p:sp>
      <p:sp>
        <p:nvSpPr>
          <p:cNvPr id="76" name="Picture Placeholder 7"/>
          <p:cNvSpPr>
            <a:spLocks noGrp="1"/>
          </p:cNvSpPr>
          <p:nvPr>
            <p:ph type="pic" sz="quarter" idx="14" hasCustomPrompt="1"/>
          </p:nvPr>
        </p:nvSpPr>
        <p:spPr>
          <a:xfrm>
            <a:off x="8198160" y="1763713"/>
            <a:ext cx="1400175" cy="1828800"/>
          </a:xfrm>
          <a:solidFill>
            <a:schemeClr val="bg1">
              <a:lumMod val="95000"/>
            </a:schemeClr>
          </a:solidFill>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110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a:p>
            <a:endParaRPr lang="en-AU"/>
          </a:p>
        </p:txBody>
      </p:sp>
      <p:sp>
        <p:nvSpPr>
          <p:cNvPr id="77" name="Title 1"/>
          <p:cNvSpPr>
            <a:spLocks noGrp="1"/>
          </p:cNvSpPr>
          <p:nvPr>
            <p:ph type="title"/>
          </p:nvPr>
        </p:nvSpPr>
        <p:spPr>
          <a:xfrm>
            <a:off x="340256" y="332076"/>
            <a:ext cx="10027707" cy="776139"/>
          </a:xfrm>
        </p:spPr>
        <p:txBody>
          <a:bodyPr/>
          <a:lstStyle/>
          <a:p>
            <a:r>
              <a:rPr lang="en-US"/>
              <a:t>Click to edit Master title style</a:t>
            </a:r>
            <a:endParaRPr lang="en-AU"/>
          </a:p>
        </p:txBody>
      </p:sp>
      <p:sp>
        <p:nvSpPr>
          <p:cNvPr id="78" name="Text Placeholder 4"/>
          <p:cNvSpPr>
            <a:spLocks noGrp="1"/>
          </p:cNvSpPr>
          <p:nvPr>
            <p:ph type="body" sz="quarter" idx="26" hasCustomPrompt="1"/>
          </p:nvPr>
        </p:nvSpPr>
        <p:spPr>
          <a:xfrm>
            <a:off x="1828800" y="2066546"/>
            <a:ext cx="2160000" cy="443198"/>
          </a:xfrm>
        </p:spPr>
        <p:txBody>
          <a:bodyPr wrap="square" anchor="b" anchorCtr="0">
            <a:spAutoFit/>
          </a:bodyPr>
          <a:lstStyle>
            <a:lvl1pPr>
              <a:lnSpc>
                <a:spcPct val="80000"/>
              </a:lnSpc>
              <a:spcBef>
                <a:spcPct val="0"/>
              </a:spcBef>
              <a:defRPr sz="1800" cap="all" baseline="0">
                <a:solidFill>
                  <a:schemeClr val="accent1"/>
                </a:solidFill>
                <a:latin typeface="+mj-lt"/>
              </a:defRPr>
            </a:lvl1pPr>
          </a:lstStyle>
          <a:p>
            <a:pPr lvl="0"/>
            <a:r>
              <a:rPr lang="en-US"/>
              <a:t>First name</a:t>
            </a:r>
            <a:br>
              <a:rPr lang="en-US"/>
            </a:br>
            <a:r>
              <a:rPr lang="en-US"/>
              <a:t>Last name</a:t>
            </a:r>
          </a:p>
        </p:txBody>
      </p:sp>
      <p:sp>
        <p:nvSpPr>
          <p:cNvPr id="79" name="Text Placeholder 24"/>
          <p:cNvSpPr>
            <a:spLocks noGrp="1"/>
          </p:cNvSpPr>
          <p:nvPr>
            <p:ph type="body" sz="quarter" idx="36" hasCustomPrompt="1"/>
          </p:nvPr>
        </p:nvSpPr>
        <p:spPr>
          <a:xfrm>
            <a:off x="1828801" y="2698290"/>
            <a:ext cx="2160000" cy="770315"/>
          </a:xfrm>
        </p:spPr>
        <p:txBody>
          <a:bodyPr vert="horz" wrap="square" lIns="0" tIns="0" rIns="0" bIns="0" rtlCol="0">
            <a:noAutofit/>
          </a:bodyPr>
          <a:lstStyle>
            <a:lvl1pPr marL="0" marR="0" indent="0" algn="l" defTabSz="912517" rtl="0" eaLnBrk="1" fontAlgn="base" latinLnBrk="0" hangingPunct="1">
              <a:lnSpc>
                <a:spcPct val="100000"/>
              </a:lnSpc>
              <a:spcBef>
                <a:spcPct val="0"/>
              </a:spcBef>
              <a:spcAft>
                <a:spcPct val="0"/>
              </a:spcAft>
              <a:buClrTx/>
              <a:buSzTx/>
              <a:buFont typeface="Arial" panose="020b0604020202020204" pitchFamily="34" charset="0"/>
              <a:buNone/>
              <a:defRPr lang="en-US" sz="1400" smtClean="0">
                <a:ea typeface="Roboto Light" panose="02000000000000000000" pitchFamily="2" charset="0"/>
                <a:cs typeface="Arial" panose="020b0604020202020204" pitchFamily="34" charset="0"/>
              </a:defRPr>
            </a:lvl1pPr>
          </a:lstStyle>
          <a:p>
            <a:pPr marL="0" marR="0" lvl="0" indent="0" algn="l" defTabSz="912517" rtl="0" eaLnBrk="1" fontAlgn="base" latinLnBrk="0" hangingPunct="1">
              <a:lnSpc>
                <a:spcPct val="100000"/>
              </a:lnSpc>
              <a:spcBef>
                <a:spcPct val="0"/>
              </a:spcBef>
              <a:spcAft>
                <a:spcPct val="0"/>
              </a:spcAft>
              <a:buClrTx/>
              <a:buSzTx/>
              <a:buFont typeface="Arial" panose="020b0604020202020204" pitchFamily="34" charset="0"/>
              <a:buNone/>
              <a:defRPr/>
            </a:pPr>
            <a:r>
              <a:rPr lang="en-US" sz="1400" b="0" i="0">
                <a:solidFill>
                  <a:schemeClr val="tx1"/>
                </a:solidFill>
                <a:latin typeface="+mn-lt"/>
                <a:ea typeface="Roboto Light" panose="02000000000000000000" pitchFamily="2" charset="0"/>
              </a:rPr>
              <a:t>Job Position, </a:t>
            </a:r>
            <a:br>
              <a:rPr lang="en-US" sz="1400" b="0" i="0">
                <a:solidFill>
                  <a:schemeClr val="tx1"/>
                </a:solidFill>
                <a:latin typeface="+mn-lt"/>
                <a:ea typeface="Roboto Light" panose="02000000000000000000" pitchFamily="2" charset="0"/>
              </a:rPr>
            </a:br>
            <a:r>
              <a:rPr lang="en-US" sz="1400" b="0" i="0">
                <a:solidFill>
                  <a:schemeClr val="tx1"/>
                </a:solidFill>
                <a:latin typeface="+mn-lt"/>
                <a:ea typeface="Roboto Light" panose="02000000000000000000" pitchFamily="2" charset="0"/>
              </a:rPr>
              <a:t>Accenture Operations</a:t>
            </a:r>
          </a:p>
        </p:txBody>
      </p:sp>
      <p:sp>
        <p:nvSpPr>
          <p:cNvPr id="80" name="Text Placeholder 4"/>
          <p:cNvSpPr>
            <a:spLocks noGrp="1"/>
          </p:cNvSpPr>
          <p:nvPr>
            <p:ph type="body" sz="quarter" idx="37" hasCustomPrompt="1"/>
          </p:nvPr>
        </p:nvSpPr>
        <p:spPr>
          <a:xfrm>
            <a:off x="5766483" y="2066546"/>
            <a:ext cx="2160000" cy="443198"/>
          </a:xfrm>
        </p:spPr>
        <p:txBody>
          <a:bodyPr anchor="b" anchorCtr="0">
            <a:spAutoFit/>
          </a:bodyPr>
          <a:lstStyle>
            <a:lvl1pPr>
              <a:lnSpc>
                <a:spcPct val="80000"/>
              </a:lnSpc>
              <a:spcBef>
                <a:spcPct val="0"/>
              </a:spcBef>
              <a:defRPr sz="1800" cap="all" baseline="0">
                <a:solidFill>
                  <a:schemeClr val="accent1"/>
                </a:solidFill>
                <a:latin typeface="+mj-lt"/>
              </a:defRPr>
            </a:lvl1pPr>
          </a:lstStyle>
          <a:p>
            <a:pPr lvl="0"/>
            <a:r>
              <a:rPr lang="en-US"/>
              <a:t>First name</a:t>
            </a:r>
            <a:br>
              <a:rPr lang="en-US"/>
            </a:br>
            <a:r>
              <a:rPr lang="en-US"/>
              <a:t>Last name</a:t>
            </a:r>
          </a:p>
        </p:txBody>
      </p:sp>
      <p:sp>
        <p:nvSpPr>
          <p:cNvPr id="81" name="Text Placeholder 24"/>
          <p:cNvSpPr>
            <a:spLocks noGrp="1"/>
          </p:cNvSpPr>
          <p:nvPr>
            <p:ph type="body" sz="quarter" idx="38" hasCustomPrompt="1"/>
          </p:nvPr>
        </p:nvSpPr>
        <p:spPr>
          <a:xfrm>
            <a:off x="5766483" y="2698290"/>
            <a:ext cx="2160000" cy="770315"/>
          </a:xfrm>
        </p:spPr>
        <p:txBody>
          <a:bodyPr vert="horz" wrap="square" lIns="0" tIns="0" rIns="0" bIns="0" rtlCol="0">
            <a:noAutofit/>
          </a:bodyPr>
          <a:lstStyle>
            <a:lvl1pPr marL="0" marR="0" indent="0" algn="l" defTabSz="912517" rtl="0" eaLnBrk="1" fontAlgn="base" latinLnBrk="0" hangingPunct="1">
              <a:lnSpc>
                <a:spcPct val="100000"/>
              </a:lnSpc>
              <a:spcBef>
                <a:spcPct val="0"/>
              </a:spcBef>
              <a:spcAft>
                <a:spcPct val="0"/>
              </a:spcAft>
              <a:buClrTx/>
              <a:buSzTx/>
              <a:buFont typeface="Arial" panose="020b0604020202020204" pitchFamily="34" charset="0"/>
              <a:buNone/>
              <a:defRPr lang="en-US" sz="1400" smtClean="0">
                <a:ea typeface="Roboto Light" panose="02000000000000000000" pitchFamily="2" charset="0"/>
                <a:cs typeface="Arial" panose="020b0604020202020204" pitchFamily="34" charset="0"/>
              </a:defRPr>
            </a:lvl1pPr>
          </a:lstStyle>
          <a:p>
            <a:pPr marL="0" marR="0" lvl="0" indent="0" algn="l" defTabSz="912517" rtl="0" eaLnBrk="1" fontAlgn="base" latinLnBrk="0" hangingPunct="1">
              <a:lnSpc>
                <a:spcPct val="100000"/>
              </a:lnSpc>
              <a:spcBef>
                <a:spcPct val="0"/>
              </a:spcBef>
              <a:spcAft>
                <a:spcPct val="0"/>
              </a:spcAft>
              <a:buClrTx/>
              <a:buSzTx/>
              <a:buFont typeface="Arial" panose="020b0604020202020204" pitchFamily="34" charset="0"/>
              <a:buNone/>
              <a:defRPr/>
            </a:pPr>
            <a:r>
              <a:rPr lang="en-US" sz="1400" b="0" i="0">
                <a:solidFill>
                  <a:schemeClr val="tx1"/>
                </a:solidFill>
                <a:latin typeface="+mn-lt"/>
                <a:ea typeface="Roboto Light" panose="02000000000000000000" pitchFamily="2" charset="0"/>
              </a:rPr>
              <a:t>Job Position, </a:t>
            </a:r>
            <a:br>
              <a:rPr lang="en-US" sz="1400" b="0" i="0">
                <a:solidFill>
                  <a:schemeClr val="tx1"/>
                </a:solidFill>
                <a:latin typeface="+mn-lt"/>
                <a:ea typeface="Roboto Light" panose="02000000000000000000" pitchFamily="2" charset="0"/>
              </a:rPr>
            </a:br>
            <a:r>
              <a:rPr lang="en-US" sz="1400" b="0" i="0">
                <a:solidFill>
                  <a:schemeClr val="tx1"/>
                </a:solidFill>
                <a:latin typeface="+mn-lt"/>
                <a:ea typeface="Roboto Light" panose="02000000000000000000" pitchFamily="2" charset="0"/>
              </a:rPr>
              <a:t>Accenture Operations</a:t>
            </a:r>
          </a:p>
        </p:txBody>
      </p:sp>
      <p:sp>
        <p:nvSpPr>
          <p:cNvPr id="82" name="Text Placeholder 4"/>
          <p:cNvSpPr>
            <a:spLocks noGrp="1"/>
          </p:cNvSpPr>
          <p:nvPr>
            <p:ph type="body" sz="quarter" idx="39" hasCustomPrompt="1"/>
          </p:nvPr>
        </p:nvSpPr>
        <p:spPr>
          <a:xfrm>
            <a:off x="9681942" y="2066546"/>
            <a:ext cx="2160000" cy="443198"/>
          </a:xfrm>
        </p:spPr>
        <p:txBody>
          <a:bodyPr anchor="b" anchorCtr="0">
            <a:spAutoFit/>
          </a:bodyPr>
          <a:lstStyle>
            <a:lvl1pPr>
              <a:lnSpc>
                <a:spcPct val="80000"/>
              </a:lnSpc>
              <a:spcBef>
                <a:spcPct val="0"/>
              </a:spcBef>
              <a:defRPr sz="1800" cap="all" baseline="0">
                <a:solidFill>
                  <a:schemeClr val="accent1"/>
                </a:solidFill>
                <a:latin typeface="+mj-lt"/>
              </a:defRPr>
            </a:lvl1pPr>
          </a:lstStyle>
          <a:p>
            <a:pPr lvl="0"/>
            <a:r>
              <a:rPr lang="en-US"/>
              <a:t>First name</a:t>
            </a:r>
            <a:br>
              <a:rPr lang="en-US"/>
            </a:br>
            <a:r>
              <a:rPr lang="en-US"/>
              <a:t>Last name</a:t>
            </a:r>
          </a:p>
        </p:txBody>
      </p:sp>
      <p:sp>
        <p:nvSpPr>
          <p:cNvPr id="83" name="Text Placeholder 24"/>
          <p:cNvSpPr>
            <a:spLocks noGrp="1"/>
          </p:cNvSpPr>
          <p:nvPr>
            <p:ph type="body" sz="quarter" idx="40" hasCustomPrompt="1"/>
          </p:nvPr>
        </p:nvSpPr>
        <p:spPr>
          <a:xfrm>
            <a:off x="9681942" y="2698290"/>
            <a:ext cx="2160000" cy="770315"/>
          </a:xfrm>
        </p:spPr>
        <p:txBody>
          <a:bodyPr vert="horz" wrap="square" lIns="0" tIns="0" rIns="0" bIns="0" rtlCol="0">
            <a:noAutofit/>
          </a:bodyPr>
          <a:lstStyle>
            <a:lvl1pPr marL="0" marR="0" indent="0" algn="l" defTabSz="912517" rtl="0" eaLnBrk="1" fontAlgn="base" latinLnBrk="0" hangingPunct="1">
              <a:lnSpc>
                <a:spcPct val="100000"/>
              </a:lnSpc>
              <a:spcBef>
                <a:spcPct val="0"/>
              </a:spcBef>
              <a:spcAft>
                <a:spcPct val="0"/>
              </a:spcAft>
              <a:buClrTx/>
              <a:buSzTx/>
              <a:buFont typeface="Arial" panose="020b0604020202020204" pitchFamily="34" charset="0"/>
              <a:buNone/>
              <a:defRPr lang="en-US" sz="1400" smtClean="0">
                <a:ea typeface="Roboto Light" panose="02000000000000000000" pitchFamily="2" charset="0"/>
                <a:cs typeface="Arial" panose="020b0604020202020204" pitchFamily="34" charset="0"/>
              </a:defRPr>
            </a:lvl1pPr>
          </a:lstStyle>
          <a:p>
            <a:pPr marL="0" marR="0" lvl="0" indent="0" algn="l" defTabSz="912517" rtl="0" eaLnBrk="1" fontAlgn="base" latinLnBrk="0" hangingPunct="1">
              <a:lnSpc>
                <a:spcPct val="100000"/>
              </a:lnSpc>
              <a:spcBef>
                <a:spcPct val="0"/>
              </a:spcBef>
              <a:spcAft>
                <a:spcPct val="0"/>
              </a:spcAft>
              <a:buClrTx/>
              <a:buSzTx/>
              <a:buFont typeface="Arial" panose="020b0604020202020204" pitchFamily="34" charset="0"/>
              <a:buNone/>
              <a:defRPr/>
            </a:pPr>
            <a:r>
              <a:rPr lang="en-US" sz="1400" b="0" i="0">
                <a:solidFill>
                  <a:schemeClr val="tx1"/>
                </a:solidFill>
                <a:latin typeface="+mn-lt"/>
                <a:ea typeface="Roboto Light" panose="02000000000000000000" pitchFamily="2" charset="0"/>
              </a:rPr>
              <a:t>Job Position, </a:t>
            </a:r>
            <a:br>
              <a:rPr lang="en-US" sz="1400" b="0" i="0">
                <a:solidFill>
                  <a:schemeClr val="tx1"/>
                </a:solidFill>
                <a:latin typeface="+mn-lt"/>
                <a:ea typeface="Roboto Light" panose="02000000000000000000" pitchFamily="2" charset="0"/>
              </a:rPr>
            </a:br>
            <a:r>
              <a:rPr lang="en-US" sz="1400" b="0" i="0">
                <a:solidFill>
                  <a:schemeClr val="tx1"/>
                </a:solidFill>
                <a:latin typeface="+mn-lt"/>
                <a:ea typeface="Roboto Light" panose="02000000000000000000" pitchFamily="2" charset="0"/>
              </a:rPr>
              <a:t>Accenture Operations</a:t>
            </a:r>
          </a:p>
        </p:txBody>
      </p:sp>
      <p:sp>
        <p:nvSpPr>
          <p:cNvPr id="85" name="Text Placeholder 24"/>
          <p:cNvSpPr>
            <a:spLocks noGrp="1"/>
          </p:cNvSpPr>
          <p:nvPr>
            <p:ph type="body" sz="quarter" idx="41" hasCustomPrompt="1"/>
          </p:nvPr>
        </p:nvSpPr>
        <p:spPr>
          <a:xfrm>
            <a:off x="334963" y="3794047"/>
            <a:ext cx="3653838" cy="2263853"/>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86" name="Text Placeholder 24"/>
          <p:cNvSpPr>
            <a:spLocks noGrp="1"/>
          </p:cNvSpPr>
          <p:nvPr>
            <p:ph type="body" sz="quarter" idx="42" hasCustomPrompt="1"/>
          </p:nvPr>
        </p:nvSpPr>
        <p:spPr>
          <a:xfrm>
            <a:off x="4282701" y="3794047"/>
            <a:ext cx="3653838" cy="2263853"/>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87" name="Text Placeholder 24"/>
          <p:cNvSpPr>
            <a:spLocks noGrp="1"/>
          </p:cNvSpPr>
          <p:nvPr>
            <p:ph type="body" sz="quarter" idx="43" hasCustomPrompt="1"/>
          </p:nvPr>
        </p:nvSpPr>
        <p:spPr>
          <a:xfrm>
            <a:off x="8201612" y="3794047"/>
            <a:ext cx="3653838" cy="2263853"/>
          </a:xfrm>
        </p:spPr>
        <p:txBody>
          <a:bodyPr vert="horz" wrap="square" lIns="0" tIns="0" rIns="0" bIns="0" rtlCol="0">
            <a:noAutofit/>
          </a:bodyPr>
          <a:lstStyle>
            <a:lvl1pPr>
              <a:lnSpc>
                <a:spcPct val="10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Insert text here maximum 3 lines in Sentence Case with single spacing</a:t>
            </a:r>
          </a:p>
        </p:txBody>
      </p:sp>
      <p:sp>
        <p:nvSpPr>
          <p:cNvPr id="22" name="Footer Placeholder 2"/>
          <p:cNvSpPr>
            <a:spLocks noGrp="1"/>
          </p:cNvSpPr>
          <p:nvPr>
            <p:ph type="ftr" sz="quarter" idx="10"/>
          </p:nvPr>
        </p:nvSpPr>
        <p:spPr>
          <a:xfrm>
            <a:off x="7410450" y="6386400"/>
            <a:ext cx="4114800" cy="140400"/>
          </a:xfrm>
        </p:spPr>
        <p:txBody>
          <a:bodyPr/>
          <a:lstStyle/>
          <a:p>
            <a:r>
              <a:rPr lang="en-US"/>
              <a:t>Copyright © 2017 Accenture. All rights reserved.</a:t>
            </a:r>
            <a:endParaRPr lang="en-GB"/>
          </a:p>
        </p:txBody>
      </p:sp>
      <p:sp>
        <p:nvSpPr>
          <p:cNvPr id="23" name="Slide Number Placeholder 3"/>
          <p:cNvSpPr>
            <a:spLocks noGrp="1"/>
          </p:cNvSpPr>
          <p:nvPr>
            <p:ph type="sldNum" sz="quarter" idx="11"/>
          </p:nvPr>
        </p:nvSpPr>
        <p:spPr>
          <a:xfrm>
            <a:off x="11639450" y="6386400"/>
            <a:ext cx="216000" cy="140400"/>
          </a:xfrm>
        </p:spPr>
        <p:txBody>
          <a:bodyPr/>
          <a:lstStyle/>
          <a:p>
            <a:fld id="{17D800ED-CB1B-4EBC-A0D2-2190AF4D8872}" type="slidenum">
              <a:rPr lang="en-GB" smtClean="0"/>
              <a:t>‹#›</a:t>
            </a:fld>
            <a:endParaRPr lang="en-GB"/>
          </a:p>
        </p:txBody>
      </p:sp>
    </p:spTree>
    <p:extLst>
      <p:ext uri="{BB962C8B-B14F-4D97-AF65-F5344CB8AC3E}">
        <p14:creationId xmlns:p14="http://schemas.microsoft.com/office/powerpoint/2010/main" val="3200497795"/>
      </p:ext>
    </p:extLst>
  </p:cSld>
  <p:clrMapOvr>
    <a:masterClrMapping/>
  </p:clrMapOvr>
  <p:transition/>
  <p:timing/>
</p:sldLayout>
</file>

<file path=ppt/slideLayouts/slideLayout2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ntacts_3">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8" name="Picture Placeholder 13"/>
          <p:cNvSpPr>
            <a:spLocks noGrp="1"/>
          </p:cNvSpPr>
          <p:nvPr>
            <p:ph type="pic" sz="quarter" idx="21" hasCustomPrompt="1"/>
          </p:nvPr>
        </p:nvSpPr>
        <p:spPr>
          <a:xfrm>
            <a:off x="334899" y="2398714"/>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39" name="Straight Arrow Connector 38"/>
          <p:cNvCxnSpPr/>
          <p:nvPr userDrawn="1"/>
        </p:nvCxnSpPr>
        <p:spPr>
          <a:xfrm flipH="1">
            <a:off x="1941815" y="3424200"/>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0" name="Text Placeholder 24"/>
          <p:cNvSpPr>
            <a:spLocks noGrp="1"/>
          </p:cNvSpPr>
          <p:nvPr>
            <p:ph type="body" sz="quarter" idx="22" hasCustomPrompt="1"/>
          </p:nvPr>
        </p:nvSpPr>
        <p:spPr>
          <a:xfrm>
            <a:off x="1941819" y="3530223"/>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41" name="Text Placeholder 4"/>
          <p:cNvSpPr>
            <a:spLocks noGrp="1"/>
          </p:cNvSpPr>
          <p:nvPr>
            <p:ph type="body" sz="quarter" idx="23" hasCustomPrompt="1"/>
          </p:nvPr>
        </p:nvSpPr>
        <p:spPr>
          <a:xfrm>
            <a:off x="1941261" y="2820671"/>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46" name="Picture Placeholder 13"/>
          <p:cNvSpPr>
            <a:spLocks noGrp="1"/>
          </p:cNvSpPr>
          <p:nvPr>
            <p:ph type="pic" sz="quarter" idx="24" hasCustomPrompt="1"/>
          </p:nvPr>
        </p:nvSpPr>
        <p:spPr>
          <a:xfrm>
            <a:off x="4284630" y="2398714"/>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47" name="Straight Arrow Connector 46"/>
          <p:cNvCxnSpPr/>
          <p:nvPr userDrawn="1"/>
        </p:nvCxnSpPr>
        <p:spPr>
          <a:xfrm flipH="1">
            <a:off x="5891546" y="3424200"/>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8" name="Text Placeholder 24"/>
          <p:cNvSpPr>
            <a:spLocks noGrp="1"/>
          </p:cNvSpPr>
          <p:nvPr>
            <p:ph type="body" sz="quarter" idx="25" hasCustomPrompt="1"/>
          </p:nvPr>
        </p:nvSpPr>
        <p:spPr>
          <a:xfrm>
            <a:off x="5891550" y="3530223"/>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49" name="Text Placeholder 4"/>
          <p:cNvSpPr>
            <a:spLocks noGrp="1"/>
          </p:cNvSpPr>
          <p:nvPr>
            <p:ph type="body" sz="quarter" idx="26" hasCustomPrompt="1"/>
          </p:nvPr>
        </p:nvSpPr>
        <p:spPr>
          <a:xfrm>
            <a:off x="5890992" y="2820671"/>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54" name="Picture Placeholder 13"/>
          <p:cNvSpPr>
            <a:spLocks noGrp="1"/>
          </p:cNvSpPr>
          <p:nvPr>
            <p:ph type="pic" sz="quarter" idx="27" hasCustomPrompt="1"/>
          </p:nvPr>
        </p:nvSpPr>
        <p:spPr>
          <a:xfrm>
            <a:off x="8234426" y="2398714"/>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55" name="Straight Arrow Connector 54"/>
          <p:cNvCxnSpPr/>
          <p:nvPr userDrawn="1"/>
        </p:nvCxnSpPr>
        <p:spPr>
          <a:xfrm flipH="1">
            <a:off x="9841342" y="3424200"/>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6" name="Text Placeholder 24"/>
          <p:cNvSpPr>
            <a:spLocks noGrp="1"/>
          </p:cNvSpPr>
          <p:nvPr>
            <p:ph type="body" sz="quarter" idx="28" hasCustomPrompt="1"/>
          </p:nvPr>
        </p:nvSpPr>
        <p:spPr>
          <a:xfrm>
            <a:off x="9841346" y="3530223"/>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57" name="Text Placeholder 4"/>
          <p:cNvSpPr>
            <a:spLocks noGrp="1"/>
          </p:cNvSpPr>
          <p:nvPr>
            <p:ph type="body" sz="quarter" idx="29" hasCustomPrompt="1"/>
          </p:nvPr>
        </p:nvSpPr>
        <p:spPr>
          <a:xfrm>
            <a:off x="9840788" y="2820671"/>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Tree>
    <p:extLst>
      <p:ext uri="{BB962C8B-B14F-4D97-AF65-F5344CB8AC3E}">
        <p14:creationId xmlns:p14="http://schemas.microsoft.com/office/powerpoint/2010/main" val="3173489827"/>
      </p:ext>
    </p:extLst>
  </p:cSld>
  <p:clrMapOvr>
    <a:masterClrMapping/>
  </p:clrMapOvr>
  <p:transition/>
  <p:timing/>
</p:sldLayout>
</file>

<file path=ppt/slideLayouts/slideLayout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2_Title and Content">
    <p:spTree>
      <p:nvGrpSpPr>
        <p:cNvPr id="1" name=""/>
        <p:cNvGrpSpPr/>
        <p:nvPr/>
      </p:nvGrpSpPr>
      <p:grpSpPr>
        <a:xfrm>
          <a:off x="0" y="0"/>
          <a: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2" progId="TCLayout.ActiveDocument.1">
                  <p:embed/>
                </p:oleObj>
              </mc:Choice>
              <mc:Fallback>
                <p:oleObj name="think-cell Slide" r:id="rId2" progId="TCLayout.ActiveDocument.1">
                  <p:embed/>
                  <p:pic>
                    <p:nvPicPr>
                      <p:cNvPr id="0" name="OLE substitute image"/>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D783679-94F1-4678-B0EA-71852EEAC0B7}"/>
              </a:ext>
            </a:extLst>
          </p:cNvPr>
          <p:cNvSpPr>
            <a:spLocks noGrp="1"/>
          </p:cNvSpPr>
          <p:nvPr>
            <p:ph type="title"/>
          </p:nvPr>
        </p:nvSpPr>
        <p:spPr>
          <a:xfrm>
            <a:off x="407987" y="35910"/>
            <a:ext cx="11376026" cy="923685"/>
          </a:xfrm>
        </p:spPr>
        <p:txBody>
          <a:bodyPr anchor="b" anchorCtr="0"/>
          <a:lstStyle>
            <a:lvl1pPr>
              <a:defRPr lang="en-US" sz="3200" b="0" kern="1200" cap="all" spc="-150" baseline="0">
                <a:solidFill>
                  <a:schemeClr val="accent1"/>
                </a:solidFill>
                <a:latin typeface="Graphik Black" panose="020b0503030202060203" pitchFamily="34" charset="77"/>
                <a:ea typeface="+mj-ea"/>
                <a:cs typeface="+mj-cs"/>
              </a:defRPr>
            </a:lvl1pPr>
          </a:lstStyle>
          <a:p>
            <a:r>
              <a:rPr lang="en-US"/>
              <a:t>Click to edit Master title style</a:t>
            </a:r>
          </a:p>
        </p:txBody>
      </p:sp>
      <p:sp>
        <p:nvSpPr>
          <p:cNvPr id="5" name="Text Placeholder 4">
            <a:extLst>
              <a:ext uri="{FF2B5EF4-FFF2-40B4-BE49-F238E27FC236}">
                <a16:creationId xmlns:a16="http://schemas.microsoft.com/office/drawing/2014/main" id="{A9DACB52-5DD3-4759-8CD1-708458D21F79}"/>
              </a:ext>
            </a:extLst>
          </p:cNvPr>
          <p:cNvSpPr>
            <a:spLocks noGrp="1"/>
          </p:cNvSpPr>
          <p:nvPr>
            <p:ph type="body" sz="quarter" idx="10"/>
          </p:nvPr>
        </p:nvSpPr>
        <p:spPr>
          <a:xfrm>
            <a:off x="407988" y="1003137"/>
            <a:ext cx="11376025" cy="246221"/>
          </a:xfrm>
        </p:spPr>
        <p:txBody>
          <a:bodyPr>
            <a:spAutoFit/>
          </a:bodyPr>
          <a:lstStyle>
            <a:lvl1pPr>
              <a:defRPr sz="1600" b="1">
                <a:solidFill>
                  <a:schemeClr val="accent3"/>
                </a:solidFill>
                <a:latin typeface="+mn-lt"/>
              </a:defRPr>
            </a:lvl1pPr>
          </a:lstStyle>
          <a:p>
            <a:pPr lvl="0"/>
            <a:r>
              <a:rPr lang="en-US"/>
              <a:t>Click to edit Master text styles</a:t>
            </a:r>
          </a:p>
        </p:txBody>
      </p:sp>
    </p:spTree>
    <p:extLst>
      <p:ext uri="{BB962C8B-B14F-4D97-AF65-F5344CB8AC3E}">
        <p14:creationId xmlns:p14="http://schemas.microsoft.com/office/powerpoint/2010/main" val="2220730373"/>
      </p:ext>
    </p:extLst>
  </p:cSld>
  <p:clrMapOvr>
    <a:masterClrMapping/>
  </p:clrMapOvr>
  <p:transition/>
  <p:timing/>
</p:sldLayout>
</file>

<file path=ppt/slideLayouts/slideLayout2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ntacts_4">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6" name="Picture Placeholder 13"/>
          <p:cNvSpPr>
            <a:spLocks noGrp="1"/>
          </p:cNvSpPr>
          <p:nvPr>
            <p:ph type="pic" sz="quarter" idx="24" hasCustomPrompt="1"/>
          </p:nvPr>
        </p:nvSpPr>
        <p:spPr>
          <a:xfrm>
            <a:off x="1828800" y="1419841"/>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5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37" name="Straight Arrow Connector 36"/>
          <p:cNvCxnSpPr/>
          <p:nvPr userDrawn="1"/>
        </p:nvCxnSpPr>
        <p:spPr>
          <a:xfrm flipH="1">
            <a:off x="3435158" y="2372303"/>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8" name="Text Placeholder 24"/>
          <p:cNvSpPr>
            <a:spLocks noGrp="1"/>
          </p:cNvSpPr>
          <p:nvPr>
            <p:ph type="body" sz="quarter" idx="25" hasCustomPrompt="1"/>
          </p:nvPr>
        </p:nvSpPr>
        <p:spPr>
          <a:xfrm>
            <a:off x="3435162" y="2478326"/>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39" name="Text Placeholder 4"/>
          <p:cNvSpPr>
            <a:spLocks noGrp="1"/>
          </p:cNvSpPr>
          <p:nvPr>
            <p:ph type="body" sz="quarter" idx="26" hasCustomPrompt="1"/>
          </p:nvPr>
        </p:nvSpPr>
        <p:spPr>
          <a:xfrm>
            <a:off x="3434604" y="1768774"/>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40" name="Picture Placeholder 13"/>
          <p:cNvSpPr>
            <a:spLocks noGrp="1"/>
          </p:cNvSpPr>
          <p:nvPr>
            <p:ph type="pic" sz="quarter" idx="27" hasCustomPrompt="1"/>
          </p:nvPr>
        </p:nvSpPr>
        <p:spPr>
          <a:xfrm>
            <a:off x="6290310" y="1419841"/>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5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41" name="Straight Arrow Connector 40"/>
          <p:cNvCxnSpPr/>
          <p:nvPr userDrawn="1"/>
        </p:nvCxnSpPr>
        <p:spPr>
          <a:xfrm flipH="1">
            <a:off x="7896668" y="2372303"/>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2" name="Text Placeholder 24"/>
          <p:cNvSpPr>
            <a:spLocks noGrp="1"/>
          </p:cNvSpPr>
          <p:nvPr>
            <p:ph type="body" sz="quarter" idx="28" hasCustomPrompt="1"/>
          </p:nvPr>
        </p:nvSpPr>
        <p:spPr>
          <a:xfrm>
            <a:off x="7896672" y="2478326"/>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43" name="Text Placeholder 4"/>
          <p:cNvSpPr>
            <a:spLocks noGrp="1"/>
          </p:cNvSpPr>
          <p:nvPr>
            <p:ph type="body" sz="quarter" idx="29" hasCustomPrompt="1"/>
          </p:nvPr>
        </p:nvSpPr>
        <p:spPr>
          <a:xfrm>
            <a:off x="7896114" y="1768774"/>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52" name="Picture Placeholder 13"/>
          <p:cNvSpPr>
            <a:spLocks noGrp="1"/>
          </p:cNvSpPr>
          <p:nvPr>
            <p:ph type="pic" sz="quarter" idx="30" hasCustomPrompt="1"/>
          </p:nvPr>
        </p:nvSpPr>
        <p:spPr>
          <a:xfrm>
            <a:off x="1828800" y="3634402"/>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5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53" name="Straight Arrow Connector 52"/>
          <p:cNvCxnSpPr/>
          <p:nvPr userDrawn="1"/>
        </p:nvCxnSpPr>
        <p:spPr>
          <a:xfrm flipH="1">
            <a:off x="3435158" y="4586864"/>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4" name="Text Placeholder 24"/>
          <p:cNvSpPr>
            <a:spLocks noGrp="1"/>
          </p:cNvSpPr>
          <p:nvPr>
            <p:ph type="body" sz="quarter" idx="31" hasCustomPrompt="1"/>
          </p:nvPr>
        </p:nvSpPr>
        <p:spPr>
          <a:xfrm>
            <a:off x="3435162" y="4692887"/>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55" name="Text Placeholder 4"/>
          <p:cNvSpPr>
            <a:spLocks noGrp="1"/>
          </p:cNvSpPr>
          <p:nvPr>
            <p:ph type="body" sz="quarter" idx="32" hasCustomPrompt="1"/>
          </p:nvPr>
        </p:nvSpPr>
        <p:spPr>
          <a:xfrm>
            <a:off x="3434604" y="3983335"/>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56" name="Picture Placeholder 13"/>
          <p:cNvSpPr>
            <a:spLocks noGrp="1"/>
          </p:cNvSpPr>
          <p:nvPr>
            <p:ph type="pic" sz="quarter" idx="33" hasCustomPrompt="1"/>
          </p:nvPr>
        </p:nvSpPr>
        <p:spPr>
          <a:xfrm>
            <a:off x="6290310" y="3634402"/>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5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cxnSp>
        <p:nvCxnSpPr>
          <p:cNvPr id="57" name="Straight Arrow Connector 56"/>
          <p:cNvCxnSpPr/>
          <p:nvPr userDrawn="1"/>
        </p:nvCxnSpPr>
        <p:spPr>
          <a:xfrm flipH="1">
            <a:off x="7896668" y="4586864"/>
            <a:ext cx="1955182" cy="0"/>
          </a:xfrm>
          <a:prstGeom prst="straightConnector1">
            <a:avLst/>
          </a:prstGeom>
          <a:ln w="2222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8" name="Text Placeholder 24"/>
          <p:cNvSpPr>
            <a:spLocks noGrp="1"/>
          </p:cNvSpPr>
          <p:nvPr>
            <p:ph type="body" sz="quarter" idx="34" hasCustomPrompt="1"/>
          </p:nvPr>
        </p:nvSpPr>
        <p:spPr>
          <a:xfrm>
            <a:off x="7896672" y="4692887"/>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59" name="Text Placeholder 4"/>
          <p:cNvSpPr>
            <a:spLocks noGrp="1"/>
          </p:cNvSpPr>
          <p:nvPr>
            <p:ph type="body" sz="quarter" idx="35" hasCustomPrompt="1"/>
          </p:nvPr>
        </p:nvSpPr>
        <p:spPr>
          <a:xfrm>
            <a:off x="7896114" y="3983335"/>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Tree>
    <p:extLst>
      <p:ext uri="{BB962C8B-B14F-4D97-AF65-F5344CB8AC3E}">
        <p14:creationId xmlns:p14="http://schemas.microsoft.com/office/powerpoint/2010/main" val="3635860247"/>
      </p:ext>
    </p:extLst>
  </p:cSld>
  <p:clrMapOvr>
    <a:masterClrMapping/>
  </p:clrMapOvr>
  <p:transition/>
  <p:timing/>
</p:sldLayout>
</file>

<file path=ppt/slideLayouts/slideLayout2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ntacts_6">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46" name="Picture Placeholder 13"/>
          <p:cNvSpPr>
            <a:spLocks noGrp="1"/>
          </p:cNvSpPr>
          <p:nvPr>
            <p:ph type="pic" sz="quarter" idx="24" hasCustomPrompt="1"/>
          </p:nvPr>
        </p:nvSpPr>
        <p:spPr>
          <a:xfrm>
            <a:off x="334963" y="1419841"/>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48" name="Text Placeholder 24"/>
          <p:cNvSpPr>
            <a:spLocks noGrp="1"/>
          </p:cNvSpPr>
          <p:nvPr>
            <p:ph type="body" sz="quarter" idx="25" hasCustomPrompt="1"/>
          </p:nvPr>
        </p:nvSpPr>
        <p:spPr>
          <a:xfrm>
            <a:off x="1942441" y="2478326"/>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49" name="Text Placeholder 4"/>
          <p:cNvSpPr>
            <a:spLocks noGrp="1"/>
          </p:cNvSpPr>
          <p:nvPr>
            <p:ph type="body" sz="quarter" idx="32" hasCustomPrompt="1"/>
          </p:nvPr>
        </p:nvSpPr>
        <p:spPr>
          <a:xfrm>
            <a:off x="1941883" y="1768774"/>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50" name="Picture Placeholder 13"/>
          <p:cNvSpPr>
            <a:spLocks noGrp="1"/>
          </p:cNvSpPr>
          <p:nvPr>
            <p:ph type="pic" sz="quarter" idx="33" hasCustomPrompt="1"/>
          </p:nvPr>
        </p:nvSpPr>
        <p:spPr>
          <a:xfrm>
            <a:off x="334963" y="3634402"/>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52" name="Text Placeholder 24"/>
          <p:cNvSpPr>
            <a:spLocks noGrp="1"/>
          </p:cNvSpPr>
          <p:nvPr>
            <p:ph type="body" sz="quarter" idx="34" hasCustomPrompt="1"/>
          </p:nvPr>
        </p:nvSpPr>
        <p:spPr>
          <a:xfrm>
            <a:off x="1942441" y="4692887"/>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53" name="Text Placeholder 4"/>
          <p:cNvSpPr>
            <a:spLocks noGrp="1"/>
          </p:cNvSpPr>
          <p:nvPr>
            <p:ph type="body" sz="quarter" idx="35" hasCustomPrompt="1"/>
          </p:nvPr>
        </p:nvSpPr>
        <p:spPr>
          <a:xfrm>
            <a:off x="1941883" y="3983335"/>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62" name="Picture Placeholder 13"/>
          <p:cNvSpPr>
            <a:spLocks noGrp="1"/>
          </p:cNvSpPr>
          <p:nvPr>
            <p:ph type="pic" sz="quarter" idx="36" hasCustomPrompt="1"/>
          </p:nvPr>
        </p:nvSpPr>
        <p:spPr>
          <a:xfrm>
            <a:off x="4284695" y="1419841"/>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64" name="Text Placeholder 24"/>
          <p:cNvSpPr>
            <a:spLocks noGrp="1"/>
          </p:cNvSpPr>
          <p:nvPr>
            <p:ph type="body" sz="quarter" idx="37" hasCustomPrompt="1"/>
          </p:nvPr>
        </p:nvSpPr>
        <p:spPr>
          <a:xfrm>
            <a:off x="5892173" y="2478326"/>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65" name="Text Placeholder 4"/>
          <p:cNvSpPr>
            <a:spLocks noGrp="1"/>
          </p:cNvSpPr>
          <p:nvPr>
            <p:ph type="body" sz="quarter" idx="38" hasCustomPrompt="1"/>
          </p:nvPr>
        </p:nvSpPr>
        <p:spPr>
          <a:xfrm>
            <a:off x="5891615" y="1768774"/>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66" name="Picture Placeholder 13"/>
          <p:cNvSpPr>
            <a:spLocks noGrp="1"/>
          </p:cNvSpPr>
          <p:nvPr>
            <p:ph type="pic" sz="quarter" idx="39" hasCustomPrompt="1"/>
          </p:nvPr>
        </p:nvSpPr>
        <p:spPr>
          <a:xfrm>
            <a:off x="4284695" y="3634402"/>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68" name="Text Placeholder 24"/>
          <p:cNvSpPr>
            <a:spLocks noGrp="1"/>
          </p:cNvSpPr>
          <p:nvPr>
            <p:ph type="body" sz="quarter" idx="40" hasCustomPrompt="1"/>
          </p:nvPr>
        </p:nvSpPr>
        <p:spPr>
          <a:xfrm>
            <a:off x="5892173" y="4692887"/>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69" name="Text Placeholder 4"/>
          <p:cNvSpPr>
            <a:spLocks noGrp="1"/>
          </p:cNvSpPr>
          <p:nvPr>
            <p:ph type="body" sz="quarter" idx="41" hasCustomPrompt="1"/>
          </p:nvPr>
        </p:nvSpPr>
        <p:spPr>
          <a:xfrm>
            <a:off x="5891615" y="3983335"/>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78" name="Picture Placeholder 13"/>
          <p:cNvSpPr>
            <a:spLocks noGrp="1"/>
          </p:cNvSpPr>
          <p:nvPr>
            <p:ph type="pic" sz="quarter" idx="42" hasCustomPrompt="1"/>
          </p:nvPr>
        </p:nvSpPr>
        <p:spPr>
          <a:xfrm>
            <a:off x="8234362" y="1419841"/>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80" name="Text Placeholder 24"/>
          <p:cNvSpPr>
            <a:spLocks noGrp="1"/>
          </p:cNvSpPr>
          <p:nvPr>
            <p:ph type="body" sz="quarter" idx="43" hasCustomPrompt="1"/>
          </p:nvPr>
        </p:nvSpPr>
        <p:spPr>
          <a:xfrm>
            <a:off x="9841840" y="2478326"/>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81" name="Text Placeholder 4"/>
          <p:cNvSpPr>
            <a:spLocks noGrp="1"/>
          </p:cNvSpPr>
          <p:nvPr>
            <p:ph type="body" sz="quarter" idx="44" hasCustomPrompt="1"/>
          </p:nvPr>
        </p:nvSpPr>
        <p:spPr>
          <a:xfrm>
            <a:off x="9841282" y="1768774"/>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
        <p:nvSpPr>
          <p:cNvPr id="82" name="Picture Placeholder 13"/>
          <p:cNvSpPr>
            <a:spLocks noGrp="1"/>
          </p:cNvSpPr>
          <p:nvPr>
            <p:ph type="pic" sz="quarter" idx="45" hasCustomPrompt="1"/>
          </p:nvPr>
        </p:nvSpPr>
        <p:spPr>
          <a:xfrm>
            <a:off x="8234362" y="3634402"/>
            <a:ext cx="1389888" cy="1828800"/>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10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84" name="Text Placeholder 24"/>
          <p:cNvSpPr>
            <a:spLocks noGrp="1"/>
          </p:cNvSpPr>
          <p:nvPr>
            <p:ph type="body" sz="quarter" idx="46" hasCustomPrompt="1"/>
          </p:nvPr>
        </p:nvSpPr>
        <p:spPr>
          <a:xfrm>
            <a:off x="9841840" y="4692887"/>
            <a:ext cx="1955178" cy="433870"/>
          </a:xfrm>
        </p:spPr>
        <p:txBody>
          <a:bodyPr vert="horz" wrap="square" lIns="0" tIns="45626" rIns="0" bIns="0" rtlCol="0">
            <a:spAutoFit/>
          </a:bodyPr>
          <a:lstStyle>
            <a:lvl1pPr>
              <a:lnSpc>
                <a:spcPct val="90000"/>
              </a:lnSpc>
              <a:defRPr lang="en-US" sz="140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85" name="Text Placeholder 4"/>
          <p:cNvSpPr>
            <a:spLocks noGrp="1"/>
          </p:cNvSpPr>
          <p:nvPr>
            <p:ph type="body" sz="quarter" idx="47" hasCustomPrompt="1"/>
          </p:nvPr>
        </p:nvSpPr>
        <p:spPr>
          <a:xfrm>
            <a:off x="9841282" y="3983335"/>
            <a:ext cx="1955800" cy="492443"/>
          </a:xfrm>
        </p:spPr>
        <p:txBody>
          <a:bodyPr anchor="b" anchorCtr="0">
            <a:spAutoFit/>
          </a:bodyPr>
          <a:lstStyle>
            <a:lvl1pPr>
              <a:lnSpc>
                <a:spcPct val="80000"/>
              </a:lnSpc>
              <a:spcBef>
                <a:spcPct val="0"/>
              </a:spcBef>
              <a:defRPr sz="2000" cap="all" baseline="0">
                <a:solidFill>
                  <a:schemeClr val="accent1"/>
                </a:solidFill>
                <a:latin typeface="+mj-lt"/>
              </a:defRPr>
            </a:lvl1pPr>
          </a:lstStyle>
          <a:p>
            <a:pPr lvl="0"/>
            <a:r>
              <a:rPr lang="en-US"/>
              <a:t>First name</a:t>
            </a:r>
            <a:br>
              <a:rPr lang="en-US"/>
            </a:br>
            <a:r>
              <a:rPr lang="en-US"/>
              <a:t>Last name</a:t>
            </a:r>
          </a:p>
        </p:txBody>
      </p:sp>
    </p:spTree>
    <p:extLst>
      <p:ext uri="{BB962C8B-B14F-4D97-AF65-F5344CB8AC3E}">
        <p14:creationId xmlns:p14="http://schemas.microsoft.com/office/powerpoint/2010/main" val="2444352054"/>
      </p:ext>
    </p:extLst>
  </p:cSld>
  <p:clrMapOvr>
    <a:masterClrMapping/>
  </p:clrMapOvr>
  <p:transition/>
  <p:timing/>
</p:sldLayout>
</file>

<file path=ppt/slideLayouts/slideLayout23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ntacts_8">
    <p:spTree>
      <p:nvGrpSpPr>
        <p:cNvPr id="1" name=""/>
        <p:cNvGrpSpPr/>
        <p:nvPr/>
      </p:nvGrpSpPr>
      <p:grpSpPr>
        <a:xfrm>
          <a:off x="0" y="0"/>
          <a:ext cx="0" cy="0"/>
        </a:xfrm>
      </p:grpSpPr>
      <p:sp>
        <p:nvSpPr>
          <p:cNvPr id="26" name="Text Placeholder 24"/>
          <p:cNvSpPr>
            <a:spLocks noGrp="1"/>
          </p:cNvSpPr>
          <p:nvPr>
            <p:ph type="body" sz="quarter" idx="24" hasCustomPrompt="1"/>
          </p:nvPr>
        </p:nvSpPr>
        <p:spPr>
          <a:xfrm>
            <a:off x="2621857"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27" name="Text Placeholder 4"/>
          <p:cNvSpPr>
            <a:spLocks noGrp="1"/>
          </p:cNvSpPr>
          <p:nvPr>
            <p:ph type="body" sz="quarter" idx="25" hasCustomPrompt="1"/>
          </p:nvPr>
        </p:nvSpPr>
        <p:spPr>
          <a:xfrm>
            <a:off x="2621857"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28" name="Text Placeholder 24"/>
          <p:cNvSpPr>
            <a:spLocks noGrp="1"/>
          </p:cNvSpPr>
          <p:nvPr>
            <p:ph type="body" sz="quarter" idx="26" hasCustomPrompt="1"/>
          </p:nvPr>
        </p:nvSpPr>
        <p:spPr>
          <a:xfrm>
            <a:off x="4505310"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29" name="Text Placeholder 4"/>
          <p:cNvSpPr>
            <a:spLocks noGrp="1"/>
          </p:cNvSpPr>
          <p:nvPr>
            <p:ph type="body" sz="quarter" idx="27" hasCustomPrompt="1"/>
          </p:nvPr>
        </p:nvSpPr>
        <p:spPr>
          <a:xfrm>
            <a:off x="4505310"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30" name="Text Placeholder 24"/>
          <p:cNvSpPr>
            <a:spLocks noGrp="1"/>
          </p:cNvSpPr>
          <p:nvPr>
            <p:ph type="body" sz="quarter" idx="28" hasCustomPrompt="1"/>
          </p:nvPr>
        </p:nvSpPr>
        <p:spPr>
          <a:xfrm>
            <a:off x="6375193"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31" name="Text Placeholder 4"/>
          <p:cNvSpPr>
            <a:spLocks noGrp="1"/>
          </p:cNvSpPr>
          <p:nvPr>
            <p:ph type="body" sz="quarter" idx="29" hasCustomPrompt="1"/>
          </p:nvPr>
        </p:nvSpPr>
        <p:spPr>
          <a:xfrm>
            <a:off x="6375193"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32" name="Text Placeholder 24"/>
          <p:cNvSpPr>
            <a:spLocks noGrp="1"/>
          </p:cNvSpPr>
          <p:nvPr>
            <p:ph type="body" sz="quarter" idx="30" hasCustomPrompt="1"/>
          </p:nvPr>
        </p:nvSpPr>
        <p:spPr>
          <a:xfrm>
            <a:off x="8251861"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33" name="Text Placeholder 4"/>
          <p:cNvSpPr>
            <a:spLocks noGrp="1"/>
          </p:cNvSpPr>
          <p:nvPr>
            <p:ph type="body" sz="quarter" idx="31" hasCustomPrompt="1"/>
          </p:nvPr>
        </p:nvSpPr>
        <p:spPr>
          <a:xfrm>
            <a:off x="8251861"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34" name="Text Placeholder 24"/>
          <p:cNvSpPr>
            <a:spLocks noGrp="1"/>
          </p:cNvSpPr>
          <p:nvPr>
            <p:ph type="body" sz="quarter" idx="32" hasCustomPrompt="1"/>
          </p:nvPr>
        </p:nvSpPr>
        <p:spPr>
          <a:xfrm>
            <a:off x="10128527"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35" name="Text Placeholder 4"/>
          <p:cNvSpPr>
            <a:spLocks noGrp="1"/>
          </p:cNvSpPr>
          <p:nvPr>
            <p:ph type="body" sz="quarter" idx="33" hasCustomPrompt="1"/>
          </p:nvPr>
        </p:nvSpPr>
        <p:spPr>
          <a:xfrm>
            <a:off x="10128527"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67" name="Text Placeholder 24"/>
          <p:cNvSpPr>
            <a:spLocks noGrp="1"/>
          </p:cNvSpPr>
          <p:nvPr>
            <p:ph type="body" sz="quarter" idx="42" hasCustomPrompt="1"/>
          </p:nvPr>
        </p:nvSpPr>
        <p:spPr>
          <a:xfrm>
            <a:off x="2621857"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68" name="Text Placeholder 4"/>
          <p:cNvSpPr>
            <a:spLocks noGrp="1"/>
          </p:cNvSpPr>
          <p:nvPr>
            <p:ph type="body" sz="quarter" idx="43" hasCustomPrompt="1"/>
          </p:nvPr>
        </p:nvSpPr>
        <p:spPr>
          <a:xfrm>
            <a:off x="2621857"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69" name="Text Placeholder 24"/>
          <p:cNvSpPr>
            <a:spLocks noGrp="1"/>
          </p:cNvSpPr>
          <p:nvPr>
            <p:ph type="body" sz="quarter" idx="44" hasCustomPrompt="1"/>
          </p:nvPr>
        </p:nvSpPr>
        <p:spPr>
          <a:xfrm>
            <a:off x="4498525"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70" name="Text Placeholder 4"/>
          <p:cNvSpPr>
            <a:spLocks noGrp="1"/>
          </p:cNvSpPr>
          <p:nvPr>
            <p:ph type="body" sz="quarter" idx="45" hasCustomPrompt="1"/>
          </p:nvPr>
        </p:nvSpPr>
        <p:spPr>
          <a:xfrm>
            <a:off x="4498525"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71" name="Text Placeholder 24"/>
          <p:cNvSpPr>
            <a:spLocks noGrp="1"/>
          </p:cNvSpPr>
          <p:nvPr>
            <p:ph type="body" sz="quarter" idx="46" hasCustomPrompt="1"/>
          </p:nvPr>
        </p:nvSpPr>
        <p:spPr>
          <a:xfrm>
            <a:off x="6375193"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72" name="Text Placeholder 4"/>
          <p:cNvSpPr>
            <a:spLocks noGrp="1"/>
          </p:cNvSpPr>
          <p:nvPr>
            <p:ph type="body" sz="quarter" idx="47" hasCustomPrompt="1"/>
          </p:nvPr>
        </p:nvSpPr>
        <p:spPr>
          <a:xfrm>
            <a:off x="6375193"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73" name="Text Placeholder 24"/>
          <p:cNvSpPr>
            <a:spLocks noGrp="1"/>
          </p:cNvSpPr>
          <p:nvPr>
            <p:ph type="body" sz="quarter" idx="48" hasCustomPrompt="1"/>
          </p:nvPr>
        </p:nvSpPr>
        <p:spPr>
          <a:xfrm>
            <a:off x="8251861"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74" name="Text Placeholder 4"/>
          <p:cNvSpPr>
            <a:spLocks noGrp="1"/>
          </p:cNvSpPr>
          <p:nvPr>
            <p:ph type="body" sz="quarter" idx="49" hasCustomPrompt="1"/>
          </p:nvPr>
        </p:nvSpPr>
        <p:spPr>
          <a:xfrm>
            <a:off x="8251861"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75" name="Text Placeholder 24"/>
          <p:cNvSpPr>
            <a:spLocks noGrp="1"/>
          </p:cNvSpPr>
          <p:nvPr>
            <p:ph type="body" sz="quarter" idx="50" hasCustomPrompt="1"/>
          </p:nvPr>
        </p:nvSpPr>
        <p:spPr>
          <a:xfrm>
            <a:off x="10128527"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76" name="Text Placeholder 4"/>
          <p:cNvSpPr>
            <a:spLocks noGrp="1"/>
          </p:cNvSpPr>
          <p:nvPr>
            <p:ph type="body" sz="quarter" idx="51" hasCustomPrompt="1"/>
          </p:nvPr>
        </p:nvSpPr>
        <p:spPr>
          <a:xfrm>
            <a:off x="10128527"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78" name="Picture Placeholder 13"/>
          <p:cNvSpPr>
            <a:spLocks noGrp="1"/>
          </p:cNvSpPr>
          <p:nvPr>
            <p:ph type="pic" sz="quarter" idx="12" hasCustomPrompt="1"/>
          </p:nvPr>
        </p:nvSpPr>
        <p:spPr>
          <a:xfrm>
            <a:off x="745189"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79" name="Text Placeholder 24"/>
          <p:cNvSpPr>
            <a:spLocks noGrp="1"/>
          </p:cNvSpPr>
          <p:nvPr>
            <p:ph type="body" sz="quarter" idx="22" hasCustomPrompt="1"/>
          </p:nvPr>
        </p:nvSpPr>
        <p:spPr>
          <a:xfrm>
            <a:off x="738404" y="3166966"/>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80" name="Text Placeholder 4"/>
          <p:cNvSpPr>
            <a:spLocks noGrp="1"/>
          </p:cNvSpPr>
          <p:nvPr>
            <p:ph type="body" sz="quarter" idx="23" hasCustomPrompt="1"/>
          </p:nvPr>
        </p:nvSpPr>
        <p:spPr>
          <a:xfrm>
            <a:off x="737846" y="2732147"/>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82" name="Text Placeholder 24"/>
          <p:cNvSpPr>
            <a:spLocks noGrp="1"/>
          </p:cNvSpPr>
          <p:nvPr>
            <p:ph type="body" sz="quarter" idx="40" hasCustomPrompt="1"/>
          </p:nvPr>
        </p:nvSpPr>
        <p:spPr>
          <a:xfrm>
            <a:off x="745747" y="5911480"/>
            <a:ext cx="1332799" cy="336920"/>
          </a:xfrm>
        </p:spPr>
        <p:txBody>
          <a:bodyPr vert="horz" wrap="square" lIns="0" tIns="45626" rIns="0" bIns="0" rtlCol="0">
            <a:spAutoFit/>
          </a:bodyPr>
          <a:lstStyle>
            <a:lvl1pPr>
              <a:lnSpc>
                <a:spcPct val="90000"/>
              </a:lnSpc>
              <a:defRPr lang="en-US" sz="1050" smtClean="0">
                <a:ea typeface="Roboto Light" panose="02000000000000000000" pitchFamily="2" charset="0"/>
                <a:cs typeface="Arial" panose="020b0604020202020204" pitchFamily="34" charset="0"/>
              </a:defRPr>
            </a:lvl1pPr>
          </a:lstStyle>
          <a:p>
            <a:pPr lvl="0" defTabSz="912517" fontAlgn="base">
              <a:spcBef>
                <a:spcPct val="0"/>
              </a:spcBef>
              <a:spcAft>
                <a:spcPct val="0"/>
              </a:spcAft>
              <a:buFont typeface="Arial" panose="020b0604020202020204" pitchFamily="34" charset="0"/>
            </a:pPr>
            <a:r>
              <a:rPr lang="en-US"/>
              <a:t>Job position</a:t>
            </a:r>
            <a:br>
              <a:rPr lang="en-US"/>
            </a:br>
            <a:r>
              <a:rPr lang="en-US"/>
              <a:t>Accenture Operations</a:t>
            </a:r>
          </a:p>
        </p:txBody>
      </p:sp>
      <p:sp>
        <p:nvSpPr>
          <p:cNvPr id="83" name="Text Placeholder 4"/>
          <p:cNvSpPr>
            <a:spLocks noGrp="1"/>
          </p:cNvSpPr>
          <p:nvPr>
            <p:ph type="body" sz="quarter" idx="41" hasCustomPrompt="1"/>
          </p:nvPr>
        </p:nvSpPr>
        <p:spPr>
          <a:xfrm>
            <a:off x="745189" y="5476661"/>
            <a:ext cx="1333223" cy="344710"/>
          </a:xfrm>
        </p:spPr>
        <p:txBody>
          <a:bodyPr wrap="square" anchor="b" anchorCtr="0">
            <a:spAutoFit/>
          </a:bodyPr>
          <a:lstStyle>
            <a:lvl1pPr>
              <a:lnSpc>
                <a:spcPct val="80000"/>
              </a:lnSpc>
              <a:spcBef>
                <a:spcPct val="0"/>
              </a:spcBef>
              <a:defRPr sz="1400" cap="all" baseline="0">
                <a:solidFill>
                  <a:schemeClr val="accent1"/>
                </a:solidFill>
                <a:latin typeface="+mj-lt"/>
              </a:defRPr>
            </a:lvl1pPr>
          </a:lstStyle>
          <a:p>
            <a:pPr lvl="0"/>
            <a:r>
              <a:rPr lang="en-US"/>
              <a:t>First name</a:t>
            </a:r>
            <a:br>
              <a:rPr lang="en-US"/>
            </a:br>
            <a:r>
              <a:rPr lang="en-US"/>
              <a:t>Last name</a:t>
            </a:r>
          </a:p>
        </p:txBody>
      </p:sp>
      <p:sp>
        <p:nvSpPr>
          <p:cNvPr id="87" name="Picture Placeholder 13"/>
          <p:cNvSpPr>
            <a:spLocks noGrp="1"/>
          </p:cNvSpPr>
          <p:nvPr>
            <p:ph type="pic" sz="quarter" idx="53" hasCustomPrompt="1"/>
          </p:nvPr>
        </p:nvSpPr>
        <p:spPr>
          <a:xfrm>
            <a:off x="2621857"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88" name="Picture Placeholder 13"/>
          <p:cNvSpPr>
            <a:spLocks noGrp="1"/>
          </p:cNvSpPr>
          <p:nvPr>
            <p:ph type="pic" sz="quarter" idx="54" hasCustomPrompt="1"/>
          </p:nvPr>
        </p:nvSpPr>
        <p:spPr>
          <a:xfrm>
            <a:off x="4494472"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89" name="Picture Placeholder 13"/>
          <p:cNvSpPr>
            <a:spLocks noGrp="1"/>
          </p:cNvSpPr>
          <p:nvPr>
            <p:ph type="pic" sz="quarter" idx="55" hasCustomPrompt="1"/>
          </p:nvPr>
        </p:nvSpPr>
        <p:spPr>
          <a:xfrm>
            <a:off x="6359789"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0" name="Picture Placeholder 13"/>
          <p:cNvSpPr>
            <a:spLocks noGrp="1"/>
          </p:cNvSpPr>
          <p:nvPr>
            <p:ph type="pic" sz="quarter" idx="56" hasCustomPrompt="1"/>
          </p:nvPr>
        </p:nvSpPr>
        <p:spPr>
          <a:xfrm>
            <a:off x="8225106"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1" name="Picture Placeholder 13"/>
          <p:cNvSpPr>
            <a:spLocks noGrp="1"/>
          </p:cNvSpPr>
          <p:nvPr>
            <p:ph type="pic" sz="quarter" idx="57" hasCustomPrompt="1"/>
          </p:nvPr>
        </p:nvSpPr>
        <p:spPr>
          <a:xfrm>
            <a:off x="10128527" y="1040241"/>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2" name="Picture Placeholder 13"/>
          <p:cNvSpPr>
            <a:spLocks noGrp="1"/>
          </p:cNvSpPr>
          <p:nvPr>
            <p:ph type="pic" sz="quarter" idx="58" hasCustomPrompt="1"/>
          </p:nvPr>
        </p:nvSpPr>
        <p:spPr>
          <a:xfrm>
            <a:off x="745189"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3" name="Picture Placeholder 13"/>
          <p:cNvSpPr>
            <a:spLocks noGrp="1"/>
          </p:cNvSpPr>
          <p:nvPr>
            <p:ph type="pic" sz="quarter" idx="59" hasCustomPrompt="1"/>
          </p:nvPr>
        </p:nvSpPr>
        <p:spPr>
          <a:xfrm>
            <a:off x="2621857"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4" name="Picture Placeholder 13"/>
          <p:cNvSpPr>
            <a:spLocks noGrp="1"/>
          </p:cNvSpPr>
          <p:nvPr>
            <p:ph type="pic" sz="quarter" idx="60" hasCustomPrompt="1"/>
          </p:nvPr>
        </p:nvSpPr>
        <p:spPr>
          <a:xfrm>
            <a:off x="4494472"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5" name="Picture Placeholder 13"/>
          <p:cNvSpPr>
            <a:spLocks noGrp="1"/>
          </p:cNvSpPr>
          <p:nvPr>
            <p:ph type="pic" sz="quarter" idx="61" hasCustomPrompt="1"/>
          </p:nvPr>
        </p:nvSpPr>
        <p:spPr>
          <a:xfrm>
            <a:off x="6359789"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6" name="Picture Placeholder 13"/>
          <p:cNvSpPr>
            <a:spLocks noGrp="1"/>
          </p:cNvSpPr>
          <p:nvPr>
            <p:ph type="pic" sz="quarter" idx="62" hasCustomPrompt="1"/>
          </p:nvPr>
        </p:nvSpPr>
        <p:spPr>
          <a:xfrm>
            <a:off x="8225106"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7" name="Picture Placeholder 13"/>
          <p:cNvSpPr>
            <a:spLocks noGrp="1"/>
          </p:cNvSpPr>
          <p:nvPr>
            <p:ph type="pic" sz="quarter" idx="63" hasCustomPrompt="1"/>
          </p:nvPr>
        </p:nvSpPr>
        <p:spPr>
          <a:xfrm>
            <a:off x="10128527" y="3826468"/>
            <a:ext cx="1131061" cy="1560084"/>
          </a:xfr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800"/>
              </a:spcBef>
              <a:spcAft>
                <a:spcPct val="0"/>
              </a:spcAft>
              <a:buClrTx/>
              <a:buSzTx/>
              <a:buFont typeface="Arial"/>
              <a:buNone/>
              <a:defRPr sz="900" cap="all" baseline="0"/>
            </a:lvl1pPr>
          </a:lstStyle>
          <a:p>
            <a:pPr marL="0" marR="0" lvl="0" indent="0" algn="ctr" defTabSz="1734634" rtl="0" eaLnBrk="1" fontAlgn="auto" latinLnBrk="0" hangingPunct="1">
              <a:lnSpc>
                <a:spcPct val="100000"/>
              </a:lnSpc>
              <a:spcBef>
                <a:spcPts val="800"/>
              </a:spcBef>
              <a:spcAft>
                <a:spcPct val="0"/>
              </a:spcAft>
              <a:buClrTx/>
              <a:buSzTx/>
              <a:buFont typeface="Arial"/>
              <a:buNone/>
              <a:defRPr/>
            </a:pPr>
            <a:r>
              <a:rPr lang="en-US"/>
              <a:t>CLICK ON THE ICON TO INSERT IMAGE </a:t>
            </a:r>
            <a:br>
              <a:rPr lang="en-US"/>
            </a:br>
            <a:r>
              <a:rPr lang="en-US"/>
              <a:t>IN PLACEHOLDER AND USE THE CROP TOOL TO CENTER THE IMAGE</a:t>
            </a:r>
            <a:endParaRPr lang="en-AU"/>
          </a:p>
        </p:txBody>
      </p:sp>
      <p:sp>
        <p:nvSpPr>
          <p:cNvPr id="98" name="Footer Placeholder 2"/>
          <p:cNvSpPr>
            <a:spLocks noGrp="1"/>
          </p:cNvSpPr>
          <p:nvPr>
            <p:ph type="ftr" sz="quarter" idx="10"/>
          </p:nvPr>
        </p:nvSpPr>
        <p:spPr>
          <a:xfrm>
            <a:off x="7410450" y="6386400"/>
            <a:ext cx="4114800" cy="140400"/>
          </a:xfrm>
        </p:spPr>
        <p:txBody>
          <a:bodyPr/>
          <a:lstStyle/>
          <a:p>
            <a:r>
              <a:rPr lang="en-US"/>
              <a:t>Copyright © 2017 Accenture. All rights reserved.</a:t>
            </a:r>
            <a:endParaRPr lang="en-GB"/>
          </a:p>
        </p:txBody>
      </p:sp>
      <p:sp>
        <p:nvSpPr>
          <p:cNvPr id="99" name="Slide Number Placeholder 3"/>
          <p:cNvSpPr>
            <a:spLocks noGrp="1"/>
          </p:cNvSpPr>
          <p:nvPr>
            <p:ph type="sldNum" sz="quarter" idx="11"/>
          </p:nvPr>
        </p:nvSpPr>
        <p:spPr>
          <a:xfrm>
            <a:off x="11639450" y="6386400"/>
            <a:ext cx="216000" cy="140400"/>
          </a:xfrm>
        </p:spPr>
        <p:txBody>
          <a:bodyPr/>
          <a:lstStyle/>
          <a:p>
            <a:fld id="{17D800ED-CB1B-4EBC-A0D2-2190AF4D8872}" type="slidenum">
              <a:rPr lang="en-GB" smtClean="0"/>
              <a:t>‹#›</a:t>
            </a:fld>
            <a:endParaRPr lang="en-GB"/>
          </a:p>
        </p:txBody>
      </p:sp>
    </p:spTree>
    <p:extLst>
      <p:ext uri="{BB962C8B-B14F-4D97-AF65-F5344CB8AC3E}">
        <p14:creationId xmlns:p14="http://schemas.microsoft.com/office/powerpoint/2010/main" val="2934183947"/>
      </p:ext>
    </p:extLst>
  </p:cSld>
  <p:clrMapOvr>
    <a:masterClrMapping/>
  </p:clrMapOvr>
  <p:transition/>
  <p:timing/>
  <p:hf hdr="0" dt="0"/>
</p:sldLayout>
</file>

<file path=ppt/slideLayouts/slideLayout23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Layout_Slide">
    <p:spTree>
      <p:nvGrpSpPr>
        <p:cNvPr id="1" name=""/>
        <p:cNvGrpSpPr/>
        <p:nvPr/>
      </p:nvGrpSpPr>
      <p:grpSpPr>
        <a:xfrm>
          <a:off x="0" y="0"/>
          <a:ext cx="0" cy="0"/>
        </a:xfrm>
      </p:grpSpPr>
      <p:sp>
        <p:nvSpPr>
          <p:cNvPr id="5" name="Rectangle 4"/>
          <p:cNvSpPr/>
          <p:nvPr userDrawn="1"/>
        </p:nvSpPr>
        <p:spPr>
          <a:xfrm>
            <a:off x="12328228" y="1"/>
            <a:ext cx="2196858" cy="6857999"/>
          </a:xfrm>
          <a:prstGeom prst="rect">
            <a:avLst/>
          </a:prstGeom>
          <a:solidFill>
            <a:schemeClr val="accent2">
              <a:lumMod val="40000"/>
              <a:lumOff val="60000"/>
            </a:schemeClr>
          </a:solidFill>
          <a:ln w="12700" cmpd="sng">
            <a:noFill/>
            <a:tailEnd type="non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71983" tIns="71983" rIns="71983" bIns="71983" rtlCol="0" anchor="t">
            <a:noAutofit/>
          </a:bodyPr>
          <a:lstStyle/>
          <a:p>
            <a:pPr lvl="0">
              <a:lnSpc>
                <a:spcPct val="110000"/>
              </a:lnSpc>
              <a:spcBef>
                <a:spcPts val="1200"/>
              </a:spcBef>
              <a:spcAft>
                <a:spcPct val="0"/>
              </a:spcAft>
            </a:pPr>
            <a:r>
              <a:rPr lang="en-US" sz="1050" b="1">
                <a:solidFill>
                  <a:srgbClr val="000000"/>
                </a:solidFill>
              </a:rPr>
              <a:t>IMAGE</a:t>
            </a:r>
            <a:r>
              <a:rPr lang="en-US" sz="1050" b="1" baseline="0">
                <a:solidFill>
                  <a:srgbClr val="000000"/>
                </a:solidFill>
              </a:rPr>
              <a:t> INSTRUCTIONS</a:t>
            </a:r>
            <a:endParaRPr lang="en-US" sz="1050" b="1">
              <a:solidFill>
                <a:srgbClr val="000000"/>
              </a:solidFill>
            </a:endParaRPr>
          </a:p>
          <a:p>
            <a:pPr marL="122214" lvl="0" indent="-122214">
              <a:lnSpc>
                <a:spcPct val="110000"/>
              </a:lnSpc>
              <a:spcBef>
                <a:spcPts val="300"/>
              </a:spcBef>
              <a:spcAft>
                <a:spcPct val="0"/>
              </a:spcAft>
              <a:buFont typeface="Arial"/>
              <a:buChar char="•"/>
            </a:pPr>
            <a:r>
              <a:rPr lang="en-US" sz="900">
                <a:solidFill>
                  <a:srgbClr val="000000"/>
                </a:solidFill>
              </a:rPr>
              <a:t>In Normal View (not Slide Sorter View) Click on the image</a:t>
            </a:r>
          </a:p>
          <a:p>
            <a:pPr marL="122214" lvl="0" indent="-122214">
              <a:lnSpc>
                <a:spcPct val="110000"/>
              </a:lnSpc>
              <a:spcBef>
                <a:spcPts val="300"/>
              </a:spcBef>
              <a:spcAft>
                <a:spcPct val="0"/>
              </a:spcAft>
              <a:buFont typeface="Arial"/>
              <a:buChar char="•"/>
            </a:pPr>
            <a:r>
              <a:rPr lang="en-US" sz="900">
                <a:solidFill>
                  <a:srgbClr val="000000"/>
                </a:solidFill>
              </a:rPr>
              <a:t>Copy</a:t>
            </a:r>
            <a:r>
              <a:rPr lang="en-US" sz="900" baseline="0">
                <a:solidFill>
                  <a:srgbClr val="000000"/>
                </a:solidFill>
              </a:rPr>
              <a:t> the IMAGE ONLY </a:t>
            </a:r>
            <a:br>
              <a:rPr lang="en-US" sz="900" baseline="0">
                <a:solidFill>
                  <a:srgbClr val="000000"/>
                </a:solidFill>
              </a:rPr>
            </a:br>
            <a:r>
              <a:rPr lang="en-US" sz="900" baseline="0">
                <a:solidFill>
                  <a:srgbClr val="000000"/>
                </a:solidFill>
              </a:rPr>
              <a:t>(and not the whole slide)</a:t>
            </a:r>
            <a:br>
              <a:rPr lang="en-US" sz="900" baseline="0">
                <a:solidFill>
                  <a:srgbClr val="000000"/>
                </a:solidFill>
              </a:rPr>
            </a:br>
            <a:r>
              <a:rPr lang="en-US" sz="900" b="1" baseline="0" err="1">
                <a:solidFill>
                  <a:srgbClr val="000000"/>
                </a:solidFill>
              </a:rPr>
              <a:t>Ctrl+C or Right-Click+Copy</a:t>
            </a:r>
            <a:endParaRPr lang="en-US" sz="900" baseline="0">
              <a:solidFill>
                <a:srgbClr val="000000"/>
              </a:solidFill>
            </a:endParaRPr>
          </a:p>
          <a:p>
            <a:pPr marL="122214" lvl="0" indent="-122214">
              <a:lnSpc>
                <a:spcPct val="110000"/>
              </a:lnSpc>
              <a:spcBef>
                <a:spcPts val="300"/>
              </a:spcBef>
              <a:spcAft>
                <a:spcPct val="0"/>
              </a:spcAft>
              <a:buFont typeface="Arial"/>
              <a:buChar char="•"/>
            </a:pPr>
            <a:r>
              <a:rPr lang="en-US" sz="900" baseline="0">
                <a:solidFill>
                  <a:srgbClr val="000000"/>
                </a:solidFill>
              </a:rPr>
              <a:t>Paste the image onto the appropriate layout in your new deck</a:t>
            </a:r>
          </a:p>
          <a:p>
            <a:pPr marL="122214" lvl="0" indent="-122214">
              <a:lnSpc>
                <a:spcPct val="110000"/>
              </a:lnSpc>
              <a:spcBef>
                <a:spcPts val="300"/>
              </a:spcBef>
              <a:spcAft>
                <a:spcPct val="0"/>
              </a:spcAft>
              <a:buFont typeface="Arial"/>
              <a:buChar char="•"/>
            </a:pPr>
            <a:r>
              <a:rPr lang="en-US" sz="900" baseline="0">
                <a:solidFill>
                  <a:srgbClr val="000000"/>
                </a:solidFill>
              </a:rPr>
              <a:t>Select </a:t>
            </a:r>
            <a:r>
              <a:rPr lang="en-US" sz="900" b="1" baseline="0">
                <a:solidFill>
                  <a:srgbClr val="000000"/>
                </a:solidFill>
              </a:rPr>
              <a:t>Send to Back</a:t>
            </a:r>
            <a:r>
              <a:rPr lang="en-US" sz="900" b="0" baseline="0">
                <a:solidFill>
                  <a:srgbClr val="000000"/>
                </a:solidFill>
              </a:rPr>
              <a:t> by either right-clicking on the image or by using the </a:t>
            </a:r>
            <a:r>
              <a:rPr lang="en-US" sz="900" b="0" i="1" baseline="0">
                <a:solidFill>
                  <a:srgbClr val="000000"/>
                </a:solidFill>
              </a:rPr>
              <a:t>Arrange</a:t>
            </a:r>
            <a:r>
              <a:rPr lang="en-US" sz="900" b="0" i="0" baseline="0">
                <a:solidFill>
                  <a:srgbClr val="000000"/>
                </a:solidFill>
              </a:rPr>
              <a:t> drop-down menu on the Home tab.</a:t>
            </a:r>
          </a:p>
          <a:p>
            <a:pPr marL="122214" lvl="0" indent="-122214">
              <a:lnSpc>
                <a:spcPct val="110000"/>
              </a:lnSpc>
              <a:spcBef>
                <a:spcPts val="300"/>
              </a:spcBef>
              <a:spcAft>
                <a:spcPct val="0"/>
              </a:spcAft>
              <a:buFont typeface="Arial"/>
              <a:buChar char="•"/>
            </a:pPr>
            <a:endParaRPr lang="en-US" sz="900" b="0" i="0" baseline="0">
              <a:solidFill>
                <a:srgbClr val="000000"/>
              </a:solidFill>
            </a:endParaRPr>
          </a:p>
          <a:p>
            <a:pPr marL="0" lvl="0" indent="0">
              <a:lnSpc>
                <a:spcPct val="110000"/>
              </a:lnSpc>
              <a:spcBef>
                <a:spcPts val="300"/>
              </a:spcBef>
              <a:spcAft>
                <a:spcPct val="0"/>
              </a:spcAft>
              <a:buFont typeface="Arial"/>
              <a:buNone/>
            </a:pPr>
            <a:r>
              <a:rPr lang="en-US" sz="900" b="0" i="0" baseline="0">
                <a:solidFill>
                  <a:srgbClr val="000000"/>
                </a:solidFill>
              </a:rPr>
              <a:t>Depending on the image you may/may not need to change the layout (ie light images require black text and darker images require white text). </a:t>
            </a:r>
          </a:p>
          <a:p>
            <a:pPr marL="0" lvl="0" indent="0">
              <a:lnSpc>
                <a:spcPct val="110000"/>
              </a:lnSpc>
              <a:spcBef>
                <a:spcPts val="300"/>
              </a:spcBef>
              <a:spcAft>
                <a:spcPct val="0"/>
              </a:spcAft>
              <a:buFont typeface="Arial"/>
              <a:buNone/>
            </a:pPr>
            <a:r>
              <a:rPr lang="en-US" sz="900" b="0" i="0" baseline="0">
                <a:solidFill>
                  <a:srgbClr val="000000"/>
                </a:solidFill>
              </a:rPr>
              <a:t>To change the layout select the </a:t>
            </a:r>
            <a:r>
              <a:rPr lang="en-US" sz="900" b="0" i="1" baseline="0">
                <a:solidFill>
                  <a:srgbClr val="000000"/>
                </a:solidFill>
              </a:rPr>
              <a:t>Layout </a:t>
            </a:r>
            <a:r>
              <a:rPr lang="en-US" sz="900" b="0" i="0" baseline="0">
                <a:solidFill>
                  <a:srgbClr val="000000"/>
                </a:solidFill>
              </a:rPr>
              <a:t>drop-down from the Home</a:t>
            </a:r>
            <a:r>
              <a:rPr lang="en-US" sz="900" b="1" i="0" baseline="0">
                <a:solidFill>
                  <a:srgbClr val="000000"/>
                </a:solidFill>
              </a:rPr>
              <a:t> </a:t>
            </a:r>
            <a:r>
              <a:rPr lang="en-US" sz="900" b="0" i="0" baseline="0">
                <a:solidFill>
                  <a:srgbClr val="000000"/>
                </a:solidFill>
              </a:rPr>
              <a:t>tab. </a:t>
            </a:r>
          </a:p>
          <a:p>
            <a:pPr marL="0" lvl="0" indent="0">
              <a:lnSpc>
                <a:spcPct val="110000"/>
              </a:lnSpc>
              <a:spcBef>
                <a:spcPts val="300"/>
              </a:spcBef>
              <a:spcAft>
                <a:spcPct val="0"/>
              </a:spcAft>
              <a:buFont typeface="Arial" panose="020b0604020202020204" pitchFamily="34" charset="0"/>
              <a:buNone/>
            </a:pPr>
            <a:r>
              <a:rPr lang="en-US" sz="900" b="0" i="0" baseline="0">
                <a:solidFill>
                  <a:srgbClr val="000000"/>
                </a:solidFill>
              </a:rPr>
              <a:t>NOTE: some text/icons may need to be changed manually for legibility.</a:t>
            </a:r>
            <a:endParaRPr lang="en-US" sz="900">
              <a:solidFill>
                <a:srgbClr val="000000"/>
              </a:solidFill>
            </a:endParaRPr>
          </a:p>
        </p:txBody>
      </p:sp>
      <p:sp>
        <p:nvSpPr>
          <p:cNvPr id="6" name="Flowchart: Process 5"/>
          <p:cNvSpPr/>
          <p:nvPr userDrawn="1"/>
        </p:nvSpPr>
        <p:spPr>
          <a:xfrm>
            <a:off x="12328228" y="4570943"/>
            <a:ext cx="2196858" cy="2287058"/>
          </a:xfrm>
          <a:prstGeom prst="flowChartProcess">
            <a:avLst/>
          </a:prstGeom>
          <a:solidFill>
            <a:srgbClr val="FF0066"/>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tIns="0" bIns="0" rtlCol="0" anchor="ctr"/>
          <a:lstStyle/>
          <a:p>
            <a:pPr algn="ctr">
              <a:lnSpc>
                <a:spcPct val="90000"/>
              </a:lnSpc>
              <a:spcBef>
                <a:spcPts val="1200"/>
              </a:spcBef>
              <a:spcAft>
                <a:spcPct val="0"/>
              </a:spcAft>
            </a:pPr>
            <a:r>
              <a:rPr lang="en-US" sz="1600">
                <a:solidFill>
                  <a:schemeClr val="bg1"/>
                </a:solidFill>
              </a:rPr>
              <a:t>Copy &amp; Paste </a:t>
            </a:r>
            <a:br>
              <a:rPr lang="en-US" sz="1600">
                <a:solidFill>
                  <a:schemeClr val="bg1"/>
                </a:solidFill>
              </a:rPr>
            </a:br>
            <a:r>
              <a:rPr lang="en-US" sz="1600">
                <a:solidFill>
                  <a:schemeClr val="bg1"/>
                </a:solidFill>
              </a:rPr>
              <a:t>the image</a:t>
            </a:r>
            <a:r>
              <a:rPr lang="en-US" sz="1600" baseline="0">
                <a:solidFill>
                  <a:schemeClr val="bg1"/>
                </a:solidFill>
              </a:rPr>
              <a:t> onto </a:t>
            </a:r>
            <a:br>
              <a:rPr lang="en-US" sz="1600" baseline="0">
                <a:solidFill>
                  <a:schemeClr val="bg1"/>
                </a:solidFill>
              </a:rPr>
            </a:br>
            <a:r>
              <a:rPr lang="en-US" sz="1600" baseline="0">
                <a:solidFill>
                  <a:schemeClr val="bg1"/>
                </a:solidFill>
              </a:rPr>
              <a:t>a layout in your working deck</a:t>
            </a:r>
            <a:r>
              <a:rPr lang="en-US" sz="1600">
                <a:solidFill>
                  <a:schemeClr val="bg1"/>
                </a:solidFill>
              </a:rPr>
              <a:t>.</a:t>
            </a:r>
          </a:p>
          <a:p>
            <a:pPr algn="ctr">
              <a:lnSpc>
                <a:spcPct val="80000"/>
              </a:lnSpc>
              <a:spcBef>
                <a:spcPts val="1200"/>
              </a:spcBef>
              <a:spcAft>
                <a:spcPct val="0"/>
              </a:spcAft>
            </a:pPr>
            <a:r>
              <a:rPr lang="en-US" sz="2000">
                <a:solidFill>
                  <a:schemeClr val="bg1"/>
                </a:solidFill>
              </a:rPr>
              <a:t> </a:t>
            </a:r>
            <a:r>
              <a:rPr lang="en-US" sz="2400" b="1">
                <a:solidFill>
                  <a:schemeClr val="bg1"/>
                </a:solidFill>
                <a:latin typeface="Arial Black" panose="020b0a04020102020204" pitchFamily="34" charset="0"/>
              </a:rPr>
              <a:t>NOT THE ENTIRE SLIDE</a:t>
            </a:r>
            <a:endParaRPr lang="en-AU" sz="2000" b="1">
              <a:solidFill>
                <a:schemeClr val="bg1"/>
              </a:solidFill>
              <a:latin typeface="Arial Black" panose="020b0a04020102020204" pitchFamily="34" charset="0"/>
            </a:endParaRPr>
          </a:p>
        </p:txBody>
      </p:sp>
    </p:spTree>
    <p:extLst>
      <p:ext uri="{BB962C8B-B14F-4D97-AF65-F5344CB8AC3E}">
        <p14:creationId xmlns:p14="http://schemas.microsoft.com/office/powerpoint/2010/main" val="738373303"/>
      </p:ext>
    </p:extLst>
  </p:cSld>
  <p:clrMapOvr>
    <a:masterClrMapping/>
  </p:clrMapOvr>
  <p:transition/>
  <p:timing/>
  <p:extLst>
    <p:ext uri="{DCECCB84-F9BA-43D5-87BE-67443E8EF086}">
      <p15:sldGuideLst xmlns:p15="http://schemas.microsoft.com/office/powerpoint/2012/main">
        <p15:guide id="1" orient="horz" pos="2160">
          <p15:clr>
            <a:srgbClr val="FBAE40"/>
          </p15:clr>
        </p15:guide>
        <p15:guide id="2" pos="3838">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Short Headline and 1 Column">
    <p:spTree>
      <p:nvGrpSpPr>
        <p:cNvPr id="1" name=""/>
        <p:cNvGrpSpPr/>
        <p:nvPr/>
      </p:nvGrpSpPr>
      <p:grpSpPr>
        <a:xfrm>
          <a:off x="0" y="0"/>
          <a: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77"/>
              <a:buChar char="–"/>
              <a:defRPr/>
            </a:lvl3pPr>
            <a:lvl5pPr marL="857229" indent="-177796">
              <a:buFont typeface="Graphik" panose="020b0503030202060203" pitchFamily="34" charset="77"/>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9" name="Footer Placeholder 2"/>
          <p:cNvSpPr>
            <a:spLocks noGrp="1"/>
          </p:cNvSpPr>
          <p:nvPr>
            <p:ph type="ftr" sz="quarter" idx="20"/>
          </p:nvPr>
        </p:nvSpPr>
        <p:spPr>
          <a:xfrm>
            <a:off x="381002" y="6519009"/>
            <a:ext cx="5714999" cy="206375"/>
          </a:xfrm>
          <a:prstGeom prst="rect">
            <a:avLst/>
          </a:prstGeom>
        </p:spPr>
        <p:txBody>
          <a:bodyPr lIns="0" tIns="45720" rIns="0"/>
          <a:lstStyle>
            <a:lvl1pPr>
              <a:defRPr sz="1200">
                <a:solidFill>
                  <a:schemeClr val="tx2"/>
                </a:solidFill>
              </a:defRPr>
            </a:lvl1pPr>
          </a:lstStyle>
          <a:p>
            <a:r>
              <a:rPr lang="en-US"/>
              <a:t>Copyright © 2017 Accenture. All rights reserved.</a:t>
            </a:r>
          </a:p>
        </p:txBody>
      </p:sp>
      <p:sp>
        <p:nvSpPr>
          <p:cNvPr id="10" name="Slide Number Placeholder 3"/>
          <p:cNvSpPr>
            <a:spLocks noGrp="1"/>
          </p:cNvSpPr>
          <p:nvPr>
            <p:ph type="sldNum" sz="quarter" idx="21"/>
          </p:nvPr>
        </p:nvSpPr>
        <p:spPr>
          <a:xfrm>
            <a:off x="11506202" y="6519009"/>
            <a:ext cx="304799" cy="206375"/>
          </a:xfrm>
          <a:prstGeom prst="rect">
            <a:avLst/>
          </a:prstGeom>
        </p:spPr>
        <p:txBody>
          <a:bodyPr lIns="0" tIns="45720" rIns="0"/>
          <a:lstStyle>
            <a:lvl1pPr>
              <a:defRPr sz="1200">
                <a:solidFill>
                  <a:schemeClr val="tx2"/>
                </a:solidFill>
              </a:defRPr>
            </a:lvl1pPr>
          </a:lstStyle>
          <a:p>
            <a:fld id="{4F9AC08D-23A9-440E-BCB9-AA1E9877CC38}" type="slidenum">
              <a:rPr lang="en-US" smtClean="0"/>
              <a:t>‹#›</a:t>
            </a:fld>
            <a:endParaRPr lang="en-US"/>
          </a:p>
        </p:txBody>
      </p:sp>
    </p:spTree>
    <p:extLst>
      <p:ext uri="{BB962C8B-B14F-4D97-AF65-F5344CB8AC3E}">
        <p14:creationId xmlns:p14="http://schemas.microsoft.com/office/powerpoint/2010/main" val="1158205102"/>
      </p:ext>
    </p:extLst>
  </p:cSld>
  <p:clrMapOvr>
    <a:masterClrMapping/>
  </p:clrMapOvr>
  <p:transition/>
  <p:timing/>
</p:sldLayout>
</file>

<file path=ppt/slideLayouts/slideLayout23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Content Page Background Image">
    <p:spTree>
      <p:nvGrpSpPr>
        <p:cNvPr id="1" name=""/>
        <p:cNvGrpSpPr/>
        <p:nvPr/>
      </p:nvGrpSpPr>
      <p:grpSpPr>
        <a:xfrm>
          <a:off x="0" y="0"/>
          <a:ext cx="0" cy="0"/>
        </a:xfrm>
      </p:grpSpPr>
      <p:sp>
        <p:nvSpPr>
          <p:cNvPr id="2" name="TextBox 1"/>
          <p:cNvSpPr txBox="1"/>
          <p:nvPr userDrawn="1"/>
        </p:nvSpPr>
        <p:spPr>
          <a:xfrm>
            <a:off x="10882681" y="6517446"/>
            <a:ext cx="1041344" cy="169277"/>
          </a:xfrm>
          <a:prstGeom prst="rect">
            <a:avLst/>
          </a:prstGeom>
          <a:noFill/>
        </p:spPr>
        <p:txBody>
          <a:bodyPr wrap="square" lIns="0" tIns="0" rIns="0" bIns="0" rtlCol="0" anchor="b">
            <a:noAutofit/>
          </a:bodyPr>
          <a:lstStyle/>
          <a:p>
            <a:pPr algn="r"/>
            <a:fld id="{989496C2-B50A-F244-A0A1-E3849033C8B1}" type="slidenum">
              <a:rPr lang="en-GB" sz="800" smtClean="0">
                <a:solidFill>
                  <a:schemeClr val="bg1"/>
                </a:solidFill>
              </a:rPr>
              <a:pPr algn="r"/>
              <a:t>‹#›</a:t>
            </a:fld>
            <a:endParaRPr lang="en-GB" sz="800">
              <a:solidFill>
                <a:schemeClr val="bg1"/>
              </a:solidFill>
            </a:endParaRPr>
          </a:p>
        </p:txBody>
      </p:sp>
    </p:spTree>
    <p:extLst>
      <p:ext uri="{BB962C8B-B14F-4D97-AF65-F5344CB8AC3E}">
        <p14:creationId xmlns:p14="http://schemas.microsoft.com/office/powerpoint/2010/main" val="3754223913"/>
      </p:ext>
    </p:extLst>
  </p:cSld>
  <p:clrMapOvr>
    <a:masterClrMapping/>
  </p:clrMapOvr>
  <p:transition/>
  <p:timing/>
</p:sldLayout>
</file>

<file path=ppt/slideLayouts/slideLayout23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Title and Content">
    <p:spTree>
      <p:nvGrpSpPr>
        <p:cNvPr id="1" name=""/>
        <p:cNvGrpSpPr/>
        <p:nvPr/>
      </p:nvGrpSpPr>
      <p:grpSpPr>
        <a:xfrm>
          <a:off x="0" y="0"/>
          <a: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77"/>
              <a:buChar char="–"/>
              <a:defRPr/>
            </a:lvl3pPr>
            <a:lvl5pPr marL="857229" indent="-177796">
              <a:buFont typeface="Graphik" panose="020b0503030202060203" pitchFamily="34" charset="77"/>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p>
            <a:r>
              <a:rPr lang="en-US"/>
              <a:t>Copyright © 2017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t>‹#›</a:t>
            </a:fld>
            <a:endParaRPr lang="en-US"/>
          </a:p>
        </p:txBody>
      </p:sp>
    </p:spTree>
    <p:extLst>
      <p:ext uri="{BB962C8B-B14F-4D97-AF65-F5344CB8AC3E}">
        <p14:creationId xmlns:p14="http://schemas.microsoft.com/office/powerpoint/2010/main" val="1375027563"/>
      </p:ext>
    </p:extLst>
  </p:cSld>
  <p:clrMapOvr>
    <a:masterClrMapping/>
  </p:clrMapOvr>
  <p:transition/>
  <p:timing/>
</p:sldLayout>
</file>

<file path=ppt/slideLayouts/slideLayout23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Title Slide">
    <p:spTree>
      <p:nvGrpSpPr>
        <p:cNvPr id="1" name=""/>
        <p:cNvGrpSpPr/>
        <p:nvPr/>
      </p:nvGrpSpPr>
      <p:grpSpPr>
        <a:xfrm>
          <a:off x="0" y="0"/>
          <a:ext cx="0" cy="0"/>
        </a:xfrm>
      </p:grpSpPr>
      <p:sp>
        <p:nvSpPr>
          <p:cNvPr id="2" name="Title 1">
            <a:extLst>
              <a:ext uri="{FF2B5EF4-FFF2-40B4-BE49-F238E27FC236}">
                <a16:creationId xmlns:a16="http://schemas.microsoft.com/office/drawing/2014/main" id="{28F30E22-600D-4925-B425-6010E53C1C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A21B052-A4BF-4E62-A7AF-D2B9DD73997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47751C4-F86A-4FFA-A1F7-917B5E3F9BC5}"/>
              </a:ext>
            </a:extLst>
          </p:cNvPr>
          <p:cNvSpPr>
            <a:spLocks noGrp="1"/>
          </p:cNvSpPr>
          <p:nvPr>
            <p:ph type="dt" sz="half" idx="10"/>
          </p:nvPr>
        </p:nvSpPr>
        <p:spPr/>
        <p:txBody>
          <a:bodyPr/>
          <a:lstStyle/>
          <a:p>
            <a:fld id="{59E8B5DD-268A-47C4-833D-4055BF41FD68}" type="datetimeFigureOut">
              <a:rPr lang="en-US" smtClean="0"/>
              <a:t>9/27/2021</a:t>
            </a:fld>
            <a:endParaRPr lang="en-US"/>
          </a:p>
        </p:txBody>
      </p:sp>
      <p:sp>
        <p:nvSpPr>
          <p:cNvPr id="5" name="Footer Placeholder 4">
            <a:extLst>
              <a:ext uri="{FF2B5EF4-FFF2-40B4-BE49-F238E27FC236}">
                <a16:creationId xmlns:a16="http://schemas.microsoft.com/office/drawing/2014/main" id="{86DB56F4-55BE-4F3C-BE3C-3E30061D5A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BF9371-6FD8-42C0-B8AE-766F0843EA99}"/>
              </a:ext>
            </a:extLst>
          </p:cNvPr>
          <p:cNvSpPr>
            <a:spLocks noGrp="1"/>
          </p:cNvSpPr>
          <p:nvPr>
            <p:ph type="sldNum" sz="quarter" idx="12"/>
          </p:nvPr>
        </p:nvSpPr>
        <p:spPr/>
        <p:txBody>
          <a:bodyPr/>
          <a:lstStyle/>
          <a:p>
            <a:fld id="{C6340A8B-BF72-4377-A12E-CA1C56F059C8}" type="slidenum">
              <a:rPr lang="en-US" smtClean="0"/>
              <a:t>‹#›</a:t>
            </a:fld>
            <a:endParaRPr lang="en-US"/>
          </a:p>
        </p:txBody>
      </p:sp>
    </p:spTree>
    <p:extLst>
      <p:ext uri="{BB962C8B-B14F-4D97-AF65-F5344CB8AC3E}">
        <p14:creationId xmlns:p14="http://schemas.microsoft.com/office/powerpoint/2010/main" val="2995621243"/>
      </p:ext>
    </p:extLst>
  </p:cSld>
  <p:clrMapOvr>
    <a:masterClrMapping/>
  </p:clrMapOvr>
  <p:transition/>
  <p:timing/>
</p:sldLayout>
</file>

<file path=ppt/slideLayouts/slideLayout23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type="obj">
  <p:cSld name="1_Title and Content">
    <p:bg>
      <p:bgPr>
        <a:solidFill>
          <a:schemeClr val="bg1"/>
        </a:solidFill>
        <a:effectLst/>
      </p:bgPr>
    </p:bg>
    <p:spTree>
      <p:nvGrpSpPr>
        <p:cNvPr id="1" name=""/>
        <p:cNvGrpSpPr/>
        <p:nvPr/>
      </p:nvGrpSpPr>
      <p:grpSpPr>
        <a:xfrm>
          <a:off x="0" y="0"/>
          <a:ext cx="0" cy="0"/>
        </a:xfrm>
      </p:grpSpPr>
      <p:sp>
        <p:nvSpPr>
          <p:cNvPr id="19" name="bk object 19"/>
          <p:cNvSpPr/>
          <p:nvPr/>
        </p:nvSpPr>
        <p:spPr>
          <a:xfrm flipH="1">
            <a:off x="11784253" y="6595031"/>
            <a:ext cx="0" cy="206375"/>
          </a:xfrm>
          <a:custGeom>
            <a:rect l="l" t="t" r="r" b="b"/>
            <a:pathLst>
              <a:path h="206375">
                <a:moveTo>
                  <a:pt x="0" y="0"/>
                </a:moveTo>
                <a:lnTo>
                  <a:pt x="1" y="205946"/>
                </a:lnTo>
              </a:path>
            </a:pathLst>
          </a:custGeom>
          <a:ln w="3175">
            <a:solidFill>
              <a:srgbClr val="1D242C"/>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6000" b="1" i="0">
                <a:solidFill>
                  <a:schemeClr val="bg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defRPr sz="700" b="0" i="0">
                <a:solidFill>
                  <a:srgbClr val="1D242C"/>
                </a:solidFill>
                <a:latin typeface="Calibri"/>
                <a:cs typeface="Calibri"/>
              </a:defRPr>
            </a:lvl1pPr>
          </a:lstStyle>
          <a:p>
            <a:r>
              <a:rPr lang="en-US" sz="600" b="1" spc="-5"/>
              <a:t>CLIENT  INTERNAL USE ONLY. DO NOT COPY, PUBLISH OR DISTRIBUTE. THE MATERIAL IN THIS DOCUMENT IS CONFIDENTIAL TO CLIENT.</a:t>
            </a:r>
            <a:endParaRPr lang="en-US" sz="60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7/2021</a:t>
            </a:fld>
          </a:p>
        </p:txBody>
      </p:sp>
    </p:spTree>
    <p:extLst>
      <p:ext uri="{BB962C8B-B14F-4D97-AF65-F5344CB8AC3E}">
        <p14:creationId xmlns:p14="http://schemas.microsoft.com/office/powerpoint/2010/main" val="880854509"/>
      </p:ext>
    </p:extLst>
  </p:cSld>
  <p:clrMapOvr>
    <a:masterClrMapping/>
  </p:clrMapOvr>
  <p:transition/>
  <p:timing/>
</p:sldLayout>
</file>

<file path=ppt/slideLayouts/slideLayout23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Greetings Slide - GTS">
    <p:bg>
      <p:bgPr>
        <a:solidFill>
          <a:schemeClr val="accent2"/>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ct val="0"/>
              </a:spcBef>
              <a:spcAft>
                <a:spcPct val="0"/>
              </a:spcAft>
              <a:buClrTx/>
              <a:buSzTx/>
              <a:buFontTx/>
              <a:buNone/>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4" name="Picture 3" descr="A picture containing card, drawing, crosswalk, table&#10;&#10;Description automatically generated">
            <a:extLst>
              <a:ext uri="{FF2B5EF4-FFF2-40B4-BE49-F238E27FC236}">
                <a16:creationId xmlns:a16="http://schemas.microsoft.com/office/drawing/2014/main" id="{10C49762-38E4-48E9-8096-41008426FCC7}"/>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5760607" y="698213"/>
            <a:ext cx="670786" cy="710244"/>
          </a:xfrm>
          <a:prstGeom prst="rect">
            <a:avLst/>
          </a:prstGeom>
        </p:spPr>
      </p:pic>
      <p:pic>
        <p:nvPicPr>
          <p:cNvPr id="9" name="Picture 8">
            <a:extLst>
              <a:ext uri="{FF2B5EF4-FFF2-40B4-BE49-F238E27FC236}">
                <a16:creationId xmlns:a16="http://schemas.microsoft.com/office/drawing/2014/main" id="{7837D049-90BB-854A-AC1E-5DE19EEC8D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25708" y="5891009"/>
            <a:ext cx="2940583" cy="268778"/>
          </a:xfrm>
          <a:prstGeom prst="rect">
            <a:avLst/>
          </a:prstGeom>
        </p:spPr>
      </p:pic>
    </p:spTree>
    <p:extLst>
      <p:ext uri="{BB962C8B-B14F-4D97-AF65-F5344CB8AC3E}">
        <p14:creationId xmlns:p14="http://schemas.microsoft.com/office/powerpoint/2010/main" val="1283761179"/>
      </p:ext>
    </p:extLst>
  </p:cSld>
  <p:clrMapOvr>
    <a:overrideClrMapping bg1="dk1" tx1="lt1" bg2="dk2" tx2="lt2" accent1="accent1" accent2="accent2" accent3="accent3" accent4="accent4" accent5="accent5" accent6="accent6" hlink="hlink" folHlink="folHlink"/>
  </p:clrMapOvr>
  <p:transition/>
  <p:timing/>
</p:sldLayout>
</file>

<file path=ppt/slideLayouts/slideLayout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Title_Subtitle">
    <p:bg>
      <p:bgPr>
        <a:solidFill>
          <a:schemeClr val="bg1"/>
        </a:solidFill>
        <a:effectLst/>
      </p:bgPr>
    </p:bg>
    <p:spTree>
      <p:nvGrpSpPr>
        <p:cNvPr id="1" name=""/>
        <p:cNvGrpSpPr/>
        <p:nvPr/>
      </p:nvGrpSpPr>
      <p:grpSpPr>
        <a:xfrm>
          <a:off x="0" y="0"/>
          <a:ext cx="0" cy="0"/>
        </a:xfrm>
      </p:grpSpPr>
      <p:sp>
        <p:nvSpPr>
          <p:cNvPr id="9" name="Title 1"/>
          <p:cNvSpPr>
            <a:spLocks noGrp="1"/>
          </p:cNvSpPr>
          <p:nvPr>
            <p:ph type="title" hasCustomPrompt="1"/>
          </p:nvPr>
        </p:nvSpPr>
        <p:spPr>
          <a:xfrm>
            <a:off x="355742" y="402234"/>
            <a:ext cx="11474881" cy="543475"/>
          </a:xfrm>
        </p:spPr>
        <p:txBody>
          <a:bodyPr anchor="b"/>
          <a:lstStyle>
            <a:lvl1pPr algn="l">
              <a:defRPr sz="2799">
                <a:solidFill>
                  <a:schemeClr val="accent1"/>
                </a:solidFill>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742" y="1281114"/>
            <a:ext cx="11474881" cy="407894"/>
          </a:xfrm>
        </p:spPr>
        <p:txBody>
          <a:bodyPr/>
          <a:lstStyle>
            <a:lvl1pPr algn="l">
              <a:lnSpc>
                <a:spcPct val="100000"/>
              </a:lnSpc>
              <a:spcBef>
                <a:spcPct val="0"/>
              </a:spcBef>
              <a:defRPr sz="1600" b="1">
                <a:solidFill>
                  <a:schemeClr val="tx1"/>
                </a:solidFill>
                <a:latin typeface="+mn-lt"/>
              </a:defRPr>
            </a:lvl1pPr>
          </a:lstStyle>
          <a:p>
            <a:r>
              <a:rPr lang="en-US"/>
              <a:t>Insert sub-title here at 22pt, min 18pt</a:t>
            </a:r>
          </a:p>
        </p:txBody>
      </p:sp>
    </p:spTree>
    <p:extLst>
      <p:ext uri="{BB962C8B-B14F-4D97-AF65-F5344CB8AC3E}">
        <p14:creationId xmlns:p14="http://schemas.microsoft.com/office/powerpoint/2010/main" val="98359763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24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Greetings Slide - Logo">
    <p:bg>
      <p:bgPr>
        <a:solidFill>
          <a:schemeClr val="accent2"/>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pic>
        <p:nvPicPr>
          <p:cNvPr id="3" name="Graphic 5">
            <a:extLst>
              <a:ext uri="{FF2B5EF4-FFF2-40B4-BE49-F238E27FC236}">
                <a16:creationId xmlns:a16="http://schemas.microsoft.com/office/drawing/2014/main" id="{6B12DB67-2F55-4F91-ABD8-4E1201FECE7E}"/>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5153882" y="698213"/>
            <a:ext cx="1884233" cy="498015"/>
          </a:xfrm>
          <a:prstGeom prst="rect">
            <a:avLst/>
          </a:prstGeom>
        </p:spPr>
      </p:pic>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ct val="0"/>
              </a:spcBef>
              <a:spcAft>
                <a:spcPct val="0"/>
              </a:spcAft>
              <a:buClrTx/>
              <a:buSzTx/>
              <a:buFontTx/>
              <a:buNone/>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8" name="Picture 7">
            <a:extLst>
              <a:ext uri="{FF2B5EF4-FFF2-40B4-BE49-F238E27FC236}">
                <a16:creationId xmlns:a16="http://schemas.microsoft.com/office/drawing/2014/main" id="{B7CFD98C-36EF-9841-81E1-8F912DE9E8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25708" y="5891009"/>
            <a:ext cx="2940583" cy="268778"/>
          </a:xfrm>
          <a:prstGeom prst="rect">
            <a:avLst/>
          </a:prstGeom>
        </p:spPr>
      </p:pic>
    </p:spTree>
    <p:extLst>
      <p:ext uri="{BB962C8B-B14F-4D97-AF65-F5344CB8AC3E}">
        <p14:creationId xmlns:p14="http://schemas.microsoft.com/office/powerpoint/2010/main" val="2349033701"/>
      </p:ext>
    </p:extLst>
  </p:cSld>
  <p:clrMapOvr>
    <a:overrideClrMapping bg1="dk1" tx1="lt1" bg2="dk2" tx2="lt2" accent1="accent1" accent2="accent2" accent3="accent3" accent4="accent4" accent5="accent5" accent6="accent6" hlink="hlink" folHlink="folHlink"/>
  </p:clrMapOvr>
  <p:transition/>
  <p:timing/>
</p:sldLayout>
</file>

<file path=ppt/slideLayouts/slideLayout24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Greetings + Greater Than L">
    <p:bg>
      <p:bgPr>
        <a:solidFill>
          <a:schemeClr val="accent2"/>
        </a:solidFill>
        <a:effectLst/>
      </p:bgPr>
    </p:bg>
    <p:spTree>
      <p:nvGrpSpPr>
        <p:cNvPr id="1" name=""/>
        <p:cNvGrpSpPr/>
        <p:nvPr/>
      </p:nvGrpSpPr>
      <p:grpSpPr>
        <a:xfrm>
          <a:off x="0" y="0"/>
          <a: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Welcome</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flipH="1">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2048073279"/>
      </p:ext>
    </p:extLst>
  </p:cSld>
  <p:clrMapOvr>
    <a:overrideClrMapping bg1="dk1" tx1="lt1" bg2="dk2" tx2="lt2" accent1="accent1" accent2="accent2" accent3="accent3" accent4="accent4" accent5="accent5" accent6="accent6" hlink="hlink" folHlink="folHlink"/>
  </p:clrMapOvr>
  <p:transition/>
  <p:timing/>
</p:sldLayout>
</file>

<file path=ppt/slideLayouts/slideLayout24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Greetings + Greater Than S">
    <p:bg>
      <p:bgPr>
        <a:solidFill>
          <a:schemeClr val="accent2"/>
        </a:solidFill>
        <a:effectLst/>
      </p:bgPr>
    </p:bg>
    <p:spTree>
      <p:nvGrpSpPr>
        <p:cNvPr id="1" name=""/>
        <p:cNvGrpSpPr/>
        <p:nvPr/>
      </p:nvGrpSpPr>
      <p:grpSpPr>
        <a:xfrm>
          <a:off x="0" y="0"/>
          <a:ext cx="0" cy="0"/>
        </a:xfrm>
      </p:grpSpPr>
      <p:pic>
        <p:nvPicPr>
          <p:cNvPr id="8" name="Picture 7">
            <a:extLst>
              <a:ext uri="{FF2B5EF4-FFF2-40B4-BE49-F238E27FC236}">
                <a16:creationId xmlns:a16="http://schemas.microsoft.com/office/drawing/2014/main" id="{E4FFA725-883D-D243-B475-CEF8C282EDAB}"/>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Welcome</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flipH="1">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6FA1302B-6794-45FA-A428-AB50D28EF9A2}"/>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ct val="0"/>
              </a:spcBef>
              <a:spcAft>
                <a:spcPct val="0"/>
              </a:spcAft>
              <a:buClrTx/>
              <a:buSzTx/>
              <a:buFontTx/>
              <a:buNone/>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5" name="Picture 4" descr="A picture containing card, drawing, crosswalk, table&#10;&#10;Description automatically generated">
            <a:extLst>
              <a:ext uri="{FF2B5EF4-FFF2-40B4-BE49-F238E27FC236}">
                <a16:creationId xmlns:a16="http://schemas.microsoft.com/office/drawing/2014/main" id="{E5FCD86B-B6A8-4016-9F0D-3FDC4C784D3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0999" y="698213"/>
            <a:ext cx="670786" cy="710244"/>
          </a:xfrm>
          <a:prstGeom prst="rect">
            <a:avLst/>
          </a:prstGeom>
        </p:spPr>
      </p:pic>
      <p:pic>
        <p:nvPicPr>
          <p:cNvPr id="11" name="Picture 10">
            <a:extLst>
              <a:ext uri="{FF2B5EF4-FFF2-40B4-BE49-F238E27FC236}">
                <a16:creationId xmlns:a16="http://schemas.microsoft.com/office/drawing/2014/main" id="{EB216846-5726-BD4F-B2BC-CDF360B523D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0999" y="5891009"/>
            <a:ext cx="2940583" cy="268778"/>
          </a:xfrm>
          <a:prstGeom prst="rect">
            <a:avLst/>
          </a:prstGeom>
        </p:spPr>
      </p:pic>
    </p:spTree>
    <p:extLst>
      <p:ext uri="{BB962C8B-B14F-4D97-AF65-F5344CB8AC3E}">
        <p14:creationId xmlns:p14="http://schemas.microsoft.com/office/powerpoint/2010/main" val="1352479135"/>
      </p:ext>
    </p:extLst>
  </p:cSld>
  <p:clrMapOvr>
    <a:overrideClrMapping bg1="dk1" tx1="lt1" bg2="dk2" tx2="lt2" accent1="accent1" accent2="accent2" accent3="accent3" accent4="accent4" accent5="accent5" accent6="accent6" hlink="hlink" folHlink="folHlink"/>
  </p:clrMapOvr>
  <p:transition/>
  <p:timing/>
</p:sldLayout>
</file>

<file path=ppt/slideLayouts/slideLayout24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Image - Left-aligned, GTS">
    <p:bg>
      <p:bgPr>
        <a:solidFill>
          <a:schemeClr val="accent3"/>
        </a:solidFill>
        <a:effectLst/>
      </p:bgPr>
    </p:bg>
    <p:spTree>
      <p:nvGrpSpPr>
        <p:cNvPr id="1" name=""/>
        <p:cNvGrpSpPr/>
        <p:nvPr/>
      </p:nvGrpSpPr>
      <p:grpSpPr>
        <a:xfrm>
          <a:off x="0" y="0"/>
          <a:ext cx="0" cy="0"/>
        </a:xfrm>
      </p:grpSpPr>
      <p:pic>
        <p:nvPicPr>
          <p:cNvPr id="8" name="Picture 7">
            <a:extLst>
              <a:ext uri="{FF2B5EF4-FFF2-40B4-BE49-F238E27FC236}">
                <a16:creationId xmlns:a16="http://schemas.microsoft.com/office/drawing/2014/main" id="{D59C8654-2CC9-F541-A924-257D0187B575}"/>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18089" y="0"/>
            <a:ext cx="12210089" cy="6858000"/>
          </a:xfrm>
          <a:prstGeom prst="rect">
            <a:avLst/>
          </a:prstGeom>
        </p:spPr>
      </p:pic>
      <p:sp>
        <p:nvSpPr>
          <p:cNvPr id="5" name="Rectangle 4">
            <a:extLst>
              <a:ext uri="{FF2B5EF4-FFF2-40B4-BE49-F238E27FC236}">
                <a16:creationId xmlns:a16="http://schemas.microsoft.com/office/drawing/2014/main" id="{E9EB74AD-1B7B-4DBD-AD4A-8DA48458B4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ct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ct val="0"/>
              </a:spcBef>
              <a:spcAft>
                <a:spcPct val="0"/>
              </a:spcAft>
              <a:buFont typeface="Arial" panose="020b0604020202020204" pitchFamily="34" charset="0"/>
              <a:buNone/>
            </a:pPr>
            <a:r>
              <a:rPr lang="en-US"/>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084C2CB2-4FB2-4965-A2E7-4A3640116F06}" type="datetime2">
              <a:rPr lang="en-US" smtClean="0"/>
              <a:t>Monday, September 27, 2021</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ct val="0"/>
              </a:spcAft>
              <a:buNone/>
              <a:defRPr lang="en-US" sz="1400" b="0" kern="1200" smtClean="0">
                <a:solidFill>
                  <a:schemeClr val="tx1"/>
                </a:solidFill>
                <a:latin typeface="+mn-lt"/>
                <a:ea typeface="+mn-ea"/>
                <a:cs typeface="+mn-cs"/>
              </a:defRPr>
            </a:lvl1pPr>
            <a:lvl2pPr marL="0" algn="l" defTabSz="914400" rtl="0" eaLnBrk="1" latinLnBrk="0" hangingPunct="1">
              <a:spcAft>
                <a:spcPct val="0"/>
              </a:spcAft>
              <a:defRPr lang="en-US" sz="1400" b="0" kern="1200" smtClean="0">
                <a:solidFill>
                  <a:schemeClr val="tx1"/>
                </a:solidFill>
                <a:latin typeface="+mn-lt"/>
                <a:ea typeface="+mn-ea"/>
                <a:cs typeface="+mn-cs"/>
              </a:defRPr>
            </a:lvl2pPr>
            <a:lvl3pPr marL="0" algn="l" defTabSz="914400" rtl="0" eaLnBrk="1" latinLnBrk="0" hangingPunct="1">
              <a:spcAft>
                <a:spcPct val="0"/>
              </a:spcAft>
              <a:defRPr lang="en-US" sz="1400" b="0" kern="1200" smtClean="0">
                <a:solidFill>
                  <a:schemeClr val="tx1"/>
                </a:solidFill>
                <a:latin typeface="+mn-lt"/>
                <a:ea typeface="+mn-ea"/>
                <a:cs typeface="+mn-cs"/>
              </a:defRPr>
            </a:lvl3pPr>
            <a:lvl4pPr marL="0" algn="l" defTabSz="914400" rtl="0" eaLnBrk="1" latinLnBrk="0" hangingPunct="1">
              <a:spcAft>
                <a:spcPct val="0"/>
              </a:spcAft>
              <a:defRPr lang="en-US" sz="1400" b="0" kern="1200" smtClean="0">
                <a:solidFill>
                  <a:schemeClr val="tx1"/>
                </a:solidFill>
                <a:latin typeface="+mn-lt"/>
                <a:ea typeface="+mn-ea"/>
                <a:cs typeface="+mn-cs"/>
              </a:defRPr>
            </a:lvl4pPr>
            <a:lvl5pPr marL="0" algn="l" defTabSz="914400" rtl="0" eaLnBrk="1" latinLnBrk="0" hangingPunct="1">
              <a:spcAft>
                <a:spcPct val="0"/>
              </a:spcAft>
              <a:defRPr lang="en-US" sz="1400" b="0" kern="120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pic>
        <p:nvPicPr>
          <p:cNvPr id="12" name="Picture 11" descr="A picture containing card, drawing, crosswalk, table&#10;&#10;Description automatically generated">
            <a:extLst>
              <a:ext uri="{FF2B5EF4-FFF2-40B4-BE49-F238E27FC236}">
                <a16:creationId xmlns:a16="http://schemas.microsoft.com/office/drawing/2014/main" id="{15DA8F74-8D2F-E745-B600-2FEBC256CBB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18" name="Picture 17">
            <a:extLst>
              <a:ext uri="{FF2B5EF4-FFF2-40B4-BE49-F238E27FC236}">
                <a16:creationId xmlns:a16="http://schemas.microsoft.com/office/drawing/2014/main" id="{448FFD46-82BA-2043-B23D-34443AB01A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3164" y="6182556"/>
            <a:ext cx="2940583" cy="268778"/>
          </a:xfrm>
          <a:prstGeom prst="rect">
            <a:avLst/>
          </a:prstGeom>
        </p:spPr>
      </p:pic>
    </p:spTree>
    <p:extLst>
      <p:ext uri="{BB962C8B-B14F-4D97-AF65-F5344CB8AC3E}">
        <p14:creationId xmlns:p14="http://schemas.microsoft.com/office/powerpoint/2010/main" val="449809120"/>
      </p:ext>
    </p:extLst>
  </p:cSld>
  <p:clrMapOvr>
    <a:overrideClrMapping bg1="dk1" tx1="lt1" bg2="dk2" tx2="lt2" accent1="accent1" accent2="accent2" accent3="accent3" accent4="accent4" accent5="accent5" accent6="accent6" hlink="hlink" folHlink="folHlink"/>
  </p:clrMapOvr>
  <p:transition/>
  <p:timing/>
  <p:extLst>
    <p:ext uri="{DCECCB84-F9BA-43D5-87BE-67443E8EF086}">
      <p15:sldGuideLst xmlns:p15="http://schemas.microsoft.com/office/powerpoint/2012/main">
        <p15:guide id="3" pos="720">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Image - Left-aligned, Logo">
    <p:bg>
      <p:bgPr>
        <a:solidFill>
          <a:schemeClr val="accent3"/>
        </a:solidFill>
        <a:effectLst/>
      </p:bgPr>
    </p:bg>
    <p:spTree>
      <p:nvGrpSpPr>
        <p:cNvPr id="1" name=""/>
        <p:cNvGrpSpPr/>
        <p:nvPr/>
      </p:nvGrpSpPr>
      <p:grpSpPr>
        <a:xfrm>
          <a:off x="0" y="0"/>
          <a:ext cx="0" cy="0"/>
        </a:xfrm>
      </p:grpSpPr>
      <p:pic>
        <p:nvPicPr>
          <p:cNvPr id="17" name="Picture 16">
            <a:extLst>
              <a:ext uri="{FF2B5EF4-FFF2-40B4-BE49-F238E27FC236}">
                <a16:creationId xmlns:a16="http://schemas.microsoft.com/office/drawing/2014/main" id="{662C8E55-8CAE-FC4A-BA3A-F66815D73440}"/>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18" name="Rectangle 17">
            <a:extLst>
              <a:ext uri="{FF2B5EF4-FFF2-40B4-BE49-F238E27FC236}">
                <a16:creationId xmlns:a16="http://schemas.microsoft.com/office/drawing/2014/main" id="{AD922CB3-850F-0445-AC8B-17707616DE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Monday, September 27, 2021</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ct val="0"/>
              </a:spcAft>
              <a:buNone/>
              <a:defRPr lang="en-US" sz="1400" b="0" kern="1200" smtClean="0">
                <a:solidFill>
                  <a:schemeClr val="tx1"/>
                </a:solidFill>
                <a:latin typeface="+mn-lt"/>
                <a:ea typeface="+mn-ea"/>
                <a:cs typeface="+mn-cs"/>
              </a:defRPr>
            </a:lvl1pPr>
            <a:lvl2pPr marL="0" algn="l" defTabSz="914400" rtl="0" eaLnBrk="1" latinLnBrk="0" hangingPunct="1">
              <a:spcAft>
                <a:spcPct val="0"/>
              </a:spcAft>
              <a:defRPr lang="en-US" sz="1400" b="0" kern="1200" smtClean="0">
                <a:solidFill>
                  <a:schemeClr val="tx1"/>
                </a:solidFill>
                <a:latin typeface="+mn-lt"/>
                <a:ea typeface="+mn-ea"/>
                <a:cs typeface="+mn-cs"/>
              </a:defRPr>
            </a:lvl2pPr>
            <a:lvl3pPr marL="0" algn="l" defTabSz="914400" rtl="0" eaLnBrk="1" latinLnBrk="0" hangingPunct="1">
              <a:spcAft>
                <a:spcPct val="0"/>
              </a:spcAft>
              <a:defRPr lang="en-US" sz="1400" b="0" kern="1200" smtClean="0">
                <a:solidFill>
                  <a:schemeClr val="tx1"/>
                </a:solidFill>
                <a:latin typeface="+mn-lt"/>
                <a:ea typeface="+mn-ea"/>
                <a:cs typeface="+mn-cs"/>
              </a:defRPr>
            </a:lvl3pPr>
            <a:lvl4pPr marL="0" algn="l" defTabSz="914400" rtl="0" eaLnBrk="1" latinLnBrk="0" hangingPunct="1">
              <a:spcAft>
                <a:spcPct val="0"/>
              </a:spcAft>
              <a:defRPr lang="en-US" sz="1400" b="0" kern="1200" smtClean="0">
                <a:solidFill>
                  <a:schemeClr val="tx1"/>
                </a:solidFill>
                <a:latin typeface="+mn-lt"/>
                <a:ea typeface="+mn-ea"/>
                <a:cs typeface="+mn-cs"/>
              </a:defRPr>
            </a:lvl4pPr>
            <a:lvl5pPr marL="0" algn="l" defTabSz="914400" rtl="0" eaLnBrk="1" latinLnBrk="0" hangingPunct="1">
              <a:spcAft>
                <a:spcPct val="0"/>
              </a:spcAft>
              <a:defRPr lang="en-US" sz="1400" b="0" kern="120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ct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ct val="0"/>
              </a:spcBef>
              <a:spcAft>
                <a:spcPct val="0"/>
              </a:spcAft>
              <a:buFont typeface="Arial" panose="020b0604020202020204" pitchFamily="34" charset="0"/>
              <a:buNone/>
            </a:pPr>
            <a:r>
              <a:rPr lang="en-US"/>
              <a:t>Place subtitle here in GT Sectra Fine 24pt</a:t>
            </a:r>
          </a:p>
        </p:txBody>
      </p:sp>
      <p:pic>
        <p:nvPicPr>
          <p:cNvPr id="12" name="Picture 11" descr="A picture containing card, drawing, crosswalk, table&#10;&#10;Description automatically generated">
            <a:extLst>
              <a:ext uri="{FF2B5EF4-FFF2-40B4-BE49-F238E27FC236}">
                <a16:creationId xmlns:a16="http://schemas.microsoft.com/office/drawing/2014/main" id="{7496C749-B3E7-664A-94B5-490B1D462E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16" name="Picture 15">
            <a:extLst>
              <a:ext uri="{FF2B5EF4-FFF2-40B4-BE49-F238E27FC236}">
                <a16:creationId xmlns:a16="http://schemas.microsoft.com/office/drawing/2014/main" id="{F91C540F-D2F1-B841-B79D-65D7450ABF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817" y="6182556"/>
            <a:ext cx="2940583" cy="268778"/>
          </a:xfrm>
          <a:prstGeom prst="rect">
            <a:avLst/>
          </a:prstGeom>
        </p:spPr>
      </p:pic>
    </p:spTree>
    <p:extLst>
      <p:ext uri="{BB962C8B-B14F-4D97-AF65-F5344CB8AC3E}">
        <p14:creationId xmlns:p14="http://schemas.microsoft.com/office/powerpoint/2010/main" val="1150803402"/>
      </p:ext>
    </p:extLst>
  </p:cSld>
  <p:clrMapOvr>
    <a:overrideClrMapping bg1="dk1" tx1="lt1" bg2="dk2" tx2="lt2" accent1="accent1" accent2="accent2" accent3="accent3" accent4="accent4" accent5="accent5" accent6="accent6" hlink="hlink" folHlink="folHlink"/>
  </p:clrMapOvr>
  <p:transition/>
  <p:timing/>
  <p:extLst>
    <p:ext uri="{DCECCB84-F9BA-43D5-87BE-67443E8EF086}">
      <p15:sldGuideLst xmlns:p15="http://schemas.microsoft.com/office/powerpoint/2012/main">
        <p15:guide id="3" pos="72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_Cover Image - Left-aligned, Logo">
    <p:bg>
      <p:bgPr>
        <a:solidFill>
          <a:schemeClr val="accent3"/>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Monday, September 27, 2021</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ct val="0"/>
              </a:spcAft>
              <a:buNone/>
              <a:defRPr lang="en-US" sz="1400" b="0" kern="1200" smtClean="0">
                <a:solidFill>
                  <a:schemeClr val="tx1"/>
                </a:solidFill>
                <a:latin typeface="+mn-lt"/>
                <a:ea typeface="+mn-ea"/>
                <a:cs typeface="+mn-cs"/>
              </a:defRPr>
            </a:lvl1pPr>
            <a:lvl2pPr marL="0" algn="l" defTabSz="914400" rtl="0" eaLnBrk="1" latinLnBrk="0" hangingPunct="1">
              <a:spcAft>
                <a:spcPct val="0"/>
              </a:spcAft>
              <a:defRPr lang="en-US" sz="1400" b="0" kern="1200" smtClean="0">
                <a:solidFill>
                  <a:schemeClr val="tx1"/>
                </a:solidFill>
                <a:latin typeface="+mn-lt"/>
                <a:ea typeface="+mn-ea"/>
                <a:cs typeface="+mn-cs"/>
              </a:defRPr>
            </a:lvl2pPr>
            <a:lvl3pPr marL="0" algn="l" defTabSz="914400" rtl="0" eaLnBrk="1" latinLnBrk="0" hangingPunct="1">
              <a:spcAft>
                <a:spcPct val="0"/>
              </a:spcAft>
              <a:defRPr lang="en-US" sz="1400" b="0" kern="1200" smtClean="0">
                <a:solidFill>
                  <a:schemeClr val="tx1"/>
                </a:solidFill>
                <a:latin typeface="+mn-lt"/>
                <a:ea typeface="+mn-ea"/>
                <a:cs typeface="+mn-cs"/>
              </a:defRPr>
            </a:lvl3pPr>
            <a:lvl4pPr marL="0" algn="l" defTabSz="914400" rtl="0" eaLnBrk="1" latinLnBrk="0" hangingPunct="1">
              <a:spcAft>
                <a:spcPct val="0"/>
              </a:spcAft>
              <a:defRPr lang="en-US" sz="1400" b="0" kern="1200" smtClean="0">
                <a:solidFill>
                  <a:schemeClr val="tx1"/>
                </a:solidFill>
                <a:latin typeface="+mn-lt"/>
                <a:ea typeface="+mn-ea"/>
                <a:cs typeface="+mn-cs"/>
              </a:defRPr>
            </a:lvl4pPr>
            <a:lvl5pPr marL="0" algn="l" defTabSz="914400" rtl="0" eaLnBrk="1" latinLnBrk="0" hangingPunct="1">
              <a:spcAft>
                <a:spcPct val="0"/>
              </a:spcAft>
              <a:defRPr lang="en-US" sz="1400" b="0" kern="120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ct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ct val="0"/>
              </a:spcBef>
              <a:spcAft>
                <a:spcPct val="0"/>
              </a:spcAft>
              <a:buFont typeface="Arial" panose="020b0604020202020204" pitchFamily="34" charset="0"/>
              <a:buNone/>
            </a:pPr>
            <a:r>
              <a:rPr lang="en-US"/>
              <a:t>Place subtitle here in GT Sectra Fine 24pt</a:t>
            </a:r>
          </a:p>
        </p:txBody>
      </p:sp>
      <p:pic>
        <p:nvPicPr>
          <p:cNvPr id="12" name="Picture 11" descr="A picture containing card, drawing, crosswalk, table&#10;&#10;Description automatically generated">
            <a:extLst>
              <a:ext uri="{FF2B5EF4-FFF2-40B4-BE49-F238E27FC236}">
                <a16:creationId xmlns:a16="http://schemas.microsoft.com/office/drawing/2014/main" id="{7496C749-B3E7-664A-94B5-490B1D462E17}"/>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9" name="Picture 8">
            <a:extLst>
              <a:ext uri="{FF2B5EF4-FFF2-40B4-BE49-F238E27FC236}">
                <a16:creationId xmlns:a16="http://schemas.microsoft.com/office/drawing/2014/main" id="{D0FDBE8C-5114-4746-8868-5E4D6A8722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817" y="6182556"/>
            <a:ext cx="2940583" cy="268778"/>
          </a:xfrm>
          <a:prstGeom prst="rect">
            <a:avLst/>
          </a:prstGeom>
        </p:spPr>
      </p:pic>
    </p:spTree>
    <p:extLst>
      <p:ext uri="{BB962C8B-B14F-4D97-AF65-F5344CB8AC3E}">
        <p14:creationId xmlns:p14="http://schemas.microsoft.com/office/powerpoint/2010/main" val="4157314080"/>
      </p:ext>
    </p:extLst>
  </p:cSld>
  <p:clrMapOvr>
    <a:overrideClrMapping bg1="dk1" tx1="lt1" bg2="dk2" tx2="lt2" accent1="accent1" accent2="accent2" accent3="accent3" accent4="accent4" accent5="accent5" accent6="accent6" hlink="hlink" folHlink="folHlink"/>
  </p:clrMapOvr>
  <p:transition/>
  <p:timing/>
  <p:extLst>
    <p:ext uri="{DCECCB84-F9BA-43D5-87BE-67443E8EF086}">
      <p15:sldGuideLst xmlns:p15="http://schemas.microsoft.com/office/powerpoint/2012/main">
        <p15:guide id="3" pos="72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2_Cover Image - Left-aligned, Logo">
    <p:bg>
      <p:bgPr>
        <a:solidFill>
          <a:schemeClr val="tx1"/>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fld id="{395525D8-8C3D-4FEA-A4F3-A7048ED97C11}" type="datetime2">
              <a:rPr lang="en-US" smtClean="0"/>
              <a:t>Monday, September 27, 2021</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ct val="0"/>
              </a:spcAft>
              <a:buNone/>
              <a:defRPr lang="en-US" sz="1400" b="0" kern="1200" smtClean="0">
                <a:solidFill>
                  <a:schemeClr val="bg1"/>
                </a:solidFill>
                <a:latin typeface="+mn-lt"/>
                <a:ea typeface="+mn-ea"/>
                <a:cs typeface="+mn-cs"/>
              </a:defRPr>
            </a:lvl1pPr>
            <a:lvl2pPr marL="0" algn="l" defTabSz="914400" rtl="0" eaLnBrk="1" latinLnBrk="0" hangingPunct="1">
              <a:spcAft>
                <a:spcPct val="0"/>
              </a:spcAft>
              <a:defRPr lang="en-US" sz="1400" b="0" kern="1200" smtClean="0">
                <a:solidFill>
                  <a:schemeClr val="tx1"/>
                </a:solidFill>
                <a:latin typeface="+mn-lt"/>
                <a:ea typeface="+mn-ea"/>
                <a:cs typeface="+mn-cs"/>
              </a:defRPr>
            </a:lvl2pPr>
            <a:lvl3pPr marL="0" algn="l" defTabSz="914400" rtl="0" eaLnBrk="1" latinLnBrk="0" hangingPunct="1">
              <a:spcAft>
                <a:spcPct val="0"/>
              </a:spcAft>
              <a:defRPr lang="en-US" sz="1400" b="0" kern="1200" smtClean="0">
                <a:solidFill>
                  <a:schemeClr val="tx1"/>
                </a:solidFill>
                <a:latin typeface="+mn-lt"/>
                <a:ea typeface="+mn-ea"/>
                <a:cs typeface="+mn-cs"/>
              </a:defRPr>
            </a:lvl3pPr>
            <a:lvl4pPr marL="0" algn="l" defTabSz="914400" rtl="0" eaLnBrk="1" latinLnBrk="0" hangingPunct="1">
              <a:spcAft>
                <a:spcPct val="0"/>
              </a:spcAft>
              <a:defRPr lang="en-US" sz="1400" b="0" kern="1200" smtClean="0">
                <a:solidFill>
                  <a:schemeClr val="tx1"/>
                </a:solidFill>
                <a:latin typeface="+mn-lt"/>
                <a:ea typeface="+mn-ea"/>
                <a:cs typeface="+mn-cs"/>
              </a:defRPr>
            </a:lvl4pPr>
            <a:lvl5pPr marL="0" algn="l" defTabSz="914400" rtl="0" eaLnBrk="1" latinLnBrk="0" hangingPunct="1">
              <a:spcAft>
                <a:spcPct val="0"/>
              </a:spcAft>
              <a:defRPr lang="en-US" sz="1400" b="0" kern="120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ct val="0"/>
              </a:spcAft>
              <a:buNone/>
              <a:defRPr sz="2400" b="0" i="0" spc="0">
                <a:solidFill>
                  <a:schemeClr val="bg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ct val="0"/>
              </a:spcBef>
              <a:spcAft>
                <a:spcPct val="0"/>
              </a:spcAft>
              <a:buFont typeface="Arial" panose="020b0604020202020204" pitchFamily="34" charset="0"/>
              <a:buNone/>
            </a:pPr>
            <a:r>
              <a:rPr lang="en-US"/>
              <a:t>Place subtitle here in GT Sectra Fine 24pt</a:t>
            </a:r>
          </a:p>
        </p:txBody>
      </p:sp>
      <p:pic>
        <p:nvPicPr>
          <p:cNvPr id="5" name="Picture 4">
            <a:extLst>
              <a:ext uri="{FF2B5EF4-FFF2-40B4-BE49-F238E27FC236}">
                <a16:creationId xmlns:a16="http://schemas.microsoft.com/office/drawing/2014/main" id="{E208B9F0-97C2-4E32-B747-303D00DEEACC}"/>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410817" y="6173039"/>
            <a:ext cx="4395557" cy="278295"/>
          </a:xfrm>
          <a:prstGeom prst="rect">
            <a:avLst/>
          </a:prstGeom>
        </p:spPr>
      </p:pic>
      <p:pic>
        <p:nvPicPr>
          <p:cNvPr id="6" name="Picture 5">
            <a:extLst>
              <a:ext uri="{FF2B5EF4-FFF2-40B4-BE49-F238E27FC236}">
                <a16:creationId xmlns:a16="http://schemas.microsoft.com/office/drawing/2014/main" id="{FC2A8E9C-042F-B642-A530-4D7EA90923ED}"/>
              </a:ext>
            </a:extLst>
          </p:cNvPr>
          <p:cNvPicPr>
            <a:picLocks noChangeAspect="1"/>
          </p:cNvPicPr>
          <p:nvPr userDrawn="1"/>
        </p:nvPicPr>
        <p:blipFill>
          <a:blip r:embed="rId2">
            <a:extLst>
              <a:ext uri="{28A0092B-C50C-407E-A947-70E740481C1C}">
                <a14:useLocalDpi xmlns:a14="http://schemas.microsoft.com/office/drawing/2010/main" val="0"/>
              </a:ext>
            </a:extLst>
          </a:blip>
          <a:srcRect l="35136" t="33566" r="34699" b="33479"/>
          <a:stretch>
            <a:fillRect/>
          </a:stretch>
        </p:blipFill>
        <p:spPr>
          <a:xfrm>
            <a:off x="381001" y="381000"/>
            <a:ext cx="670786" cy="732823"/>
          </a:xfrm>
          <a:prstGeom prst="rect">
            <a:avLst/>
          </a:prstGeom>
        </p:spPr>
      </p:pic>
      <p:pic>
        <p:nvPicPr>
          <p:cNvPr id="12" name="Picture 11">
            <a:extLst>
              <a:ext uri="{FF2B5EF4-FFF2-40B4-BE49-F238E27FC236}">
                <a16:creationId xmlns:a16="http://schemas.microsoft.com/office/drawing/2014/main" id="{E1D7885A-0ED1-E849-B064-11F84128FCF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817" y="6182556"/>
            <a:ext cx="2940584" cy="268646"/>
          </a:xfrm>
          <a:prstGeom prst="rect">
            <a:avLst/>
          </a:prstGeom>
        </p:spPr>
      </p:pic>
    </p:spTree>
    <p:extLst>
      <p:ext uri="{BB962C8B-B14F-4D97-AF65-F5344CB8AC3E}">
        <p14:creationId xmlns:p14="http://schemas.microsoft.com/office/powerpoint/2010/main" val="4105747571"/>
      </p:ext>
    </p:extLst>
  </p:cSld>
  <p:clrMapOvr>
    <a:overrideClrMapping bg1="dk1" tx1="lt1" bg2="dk2" tx2="lt2" accent1="accent1" accent2="accent2" accent3="accent3" accent4="accent4" accent5="accent5" accent6="accent6" hlink="hlink" folHlink="folHlink"/>
  </p:clrMapOvr>
  <p:transition/>
  <p:timing/>
  <p:extLst>
    <p:ext uri="{DCECCB84-F9BA-43D5-87BE-67443E8EF086}">
      <p15:sldGuideLst xmlns:p15="http://schemas.microsoft.com/office/powerpoint/2012/main">
        <p15:guide id="3" pos="72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genda">
    <p:spTree>
      <p:nvGrpSpPr>
        <p:cNvPr id="1" name=""/>
        <p:cNvGrpSpPr/>
        <p:nvPr/>
      </p:nvGrpSpPr>
      <p:grpSpPr>
        <a:xfrm>
          <a:off x="0" y="0"/>
          <a: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ct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ct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ct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ct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ct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ct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ct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ct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flipH="1">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ct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ct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ct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ct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ct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ct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ct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ct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sz="1800" b="1">
                <a:solidFill>
                  <a:schemeClr val="accent1"/>
                </a:solidFill>
              </a:defRPr>
            </a:lvl1pPr>
          </a:lstStyle>
          <a:p>
            <a:pPr marL="0" marR="0" lvl="0" indent="0" algn="ctr" defTabSz="228600" rtl="0" eaLnBrk="1" fontAlgn="auto" latinLnBrk="0" hangingPunct="1">
              <a:lnSpc>
                <a:spcPct val="100000"/>
              </a:lnSpc>
              <a:spcBef>
                <a:spcPct val="0"/>
              </a:spcBef>
              <a:spcAft>
                <a:spcPct val="0"/>
              </a:spcAft>
              <a:buClrTx/>
              <a:buSzTx/>
              <a:buFont typeface="Arial" panose="020b0604020202020204" pitchFamily="34" charset="0"/>
              <a:buNone/>
              <a:defRPr/>
            </a:pPr>
            <a:r>
              <a:rPr lang="en-GB"/>
              <a:t>##</a:t>
            </a:r>
            <a:endParaRPr lang="en-US"/>
          </a:p>
        </p:txBody>
      </p:sp>
      <p:sp>
        <p:nvSpPr>
          <p:cNvPr id="38" name="Date Placeholder 10">
            <a:extLst>
              <a:ext uri="{FF2B5EF4-FFF2-40B4-BE49-F238E27FC236}">
                <a16:creationId xmlns:a16="http://schemas.microsoft.com/office/drawing/2014/main" id="{44B6DFC5-6A54-A441-B4A1-5FB1E57A22CB}"/>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Monday, September 27, 2021</a:t>
            </a:fld>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flipH="1">
            <a:off x="9290304" y="66019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468503473"/>
      </p:ext>
    </p:extLst>
  </p:cSld>
  <p:clrMapOvr>
    <a:masterClrMapping/>
  </p:clrMapOvr>
  <p:transition/>
  <p:timing/>
  <p:extLst>
    <p:ext uri="{DCECCB84-F9BA-43D5-87BE-67443E8EF086}">
      <p15:sldGuideLst xmlns:p15="http://schemas.microsoft.com/office/powerpoint/2012/main">
        <p15:guide id="1" orient="horz" pos="86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a:blip r:embed="rId1">
            <a:extLst>
              <a:ext uri="{28A0092B-C50C-407E-A947-70E740481C1C}">
                <a14:useLocalDpi xmlns:a14="http://schemas.microsoft.com/office/drawing/2010/main" val="0"/>
              </a:ext>
            </a:extLst>
          </a:blip>
          <a:srcRect t="-18" b="0"/>
          <a:stretch>
            <a:fillRect/>
          </a:stretch>
        </p:blipFill>
        <p:spPr>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468" y="6482516"/>
            <a:ext cx="191087" cy="202328"/>
          </a:xfrm>
          <a:prstGeom prst="rect">
            <a:avLst/>
          </a:prstGeom>
        </p:spPr>
      </p:pic>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ct val="0"/>
              </a:spcBef>
              <a:spcAft>
                <a:spcPts val="1200"/>
              </a:spcAft>
              <a:buClrTx/>
              <a:buSzTx/>
              <a:buFontTx/>
              <a:buNone/>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ct val="0"/>
                </a:spcBef>
                <a:spcAft>
                  <a:spcPts val="1200"/>
                </a:spcAft>
                <a:buClrTx/>
                <a:buSzTx/>
                <a:buFontTx/>
                <a:buNone/>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81568358"/>
      </p:ext>
    </p:extLst>
  </p:cSld>
  <p:clrMapOvr>
    <a:overrideClrMapping bg1="dk1" tx1="lt1" bg2="dk2" tx2="lt2" accent1="accent1" accent2="accent2" accent3="accent3" accent4="accent4" accent5="accent5" accent6="accent6" hlink="hlink" folHlink="folHlink"/>
  </p:clrMapOvr>
  <p:transition/>
  <p:timing/>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xfrm>
      </p:grpSpPr>
      <p:pic>
        <p:nvPicPr>
          <p:cNvPr id="6" name="Picture 5">
            <a:extLst>
              <a:ext uri="{FF2B5EF4-FFF2-40B4-BE49-F238E27FC236}">
                <a16:creationId xmlns:a16="http://schemas.microsoft.com/office/drawing/2014/main" id="{D34847E9-71CB-4177-8BB3-C4EDB8A3E264}"/>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ct val="0"/>
              </a:spcBef>
              <a:spcAft>
                <a:spcPts val="1200"/>
              </a:spcAft>
              <a:buClrTx/>
              <a:buSzTx/>
              <a:buFontTx/>
              <a:buNone/>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ct val="0"/>
              </a:spcBef>
              <a:spcAft>
                <a:spcPts val="1200"/>
              </a:spcAft>
              <a:buClrTx/>
              <a:buSzTx/>
              <a:buFontTx/>
              <a:buNone/>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ct val="0"/>
                </a:spcBef>
                <a:spcAft>
                  <a:spcPts val="1200"/>
                </a:spcAft>
                <a:buClrTx/>
                <a:buSzTx/>
                <a:buFontTx/>
                <a:buNone/>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1785732502"/>
      </p:ext>
    </p:extLst>
  </p:cSld>
  <p:clrMapOvr>
    <a:overrideClrMapping bg1="dk1" tx1="lt1" bg2="dk2" tx2="lt2" accent1="accent1" accent2="accent2" accent3="accent3" accent4="accent4" accent5="accent5" accent6="accent6" hlink="hlink" folHlink="folHlink"/>
  </p:clrMapOvr>
  <p:transition/>
  <p:timing/>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Main Title">
    <p:spTree>
      <p:nvGrpSpPr>
        <p:cNvPr id="1" name=""/>
        <p:cNvGrpSpPr/>
        <p:nvPr/>
      </p:nvGrpSpPr>
      <p:grpSpPr>
        <a:xfrm>
          <a:off x="0" y="0"/>
          <a:ext cx="0" cy="0"/>
        </a:xfrm>
      </p:grpSpPr>
      <p:sp>
        <p:nvSpPr>
          <p:cNvPr id="11" name="Title 10"/>
          <p:cNvSpPr>
            <a:spLocks noGrp="1"/>
          </p:cNvSpPr>
          <p:nvPr>
            <p:ph type="title"/>
          </p:nvPr>
        </p:nvSpPr>
        <p:spPr>
          <a:xfrm>
            <a:off x="317500" y="304801"/>
            <a:ext cx="11557000" cy="457200"/>
          </a:xfrm>
        </p:spPr>
        <p:txBody>
          <a:bodyPr>
            <a:normAutofit/>
          </a:bodyPr>
          <a:lstStyle>
            <a:lvl1pPr>
              <a:defRPr sz="2667" cap="all" baseline="0">
                <a:solidFill>
                  <a:schemeClr val="accent1"/>
                </a:solidFill>
              </a:defRPr>
            </a:lvl1pPr>
          </a:lstStyle>
          <a:p>
            <a:r>
              <a:rPr lang="en-US"/>
              <a:t>Click to edit Master title style</a:t>
            </a:r>
          </a:p>
        </p:txBody>
      </p:sp>
    </p:spTree>
    <p:extLst>
      <p:ext uri="{BB962C8B-B14F-4D97-AF65-F5344CB8AC3E}">
        <p14:creationId xmlns:p14="http://schemas.microsoft.com/office/powerpoint/2010/main" val="355164238"/>
      </p:ext>
    </p:extLst>
  </p:cSld>
  <p:clrMapOvr>
    <a:masterClrMapping/>
  </p:clrMapOvr>
  <p:transition/>
  <p:timing/>
</p:sldLayout>
</file>

<file path=ppt/slideLayouts/slideLayout25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xfrm>
      </p:grpSpPr>
      <p:pic>
        <p:nvPicPr>
          <p:cNvPr id="13" name="Picture 12">
            <a:extLst>
              <a:ext uri="{FF2B5EF4-FFF2-40B4-BE49-F238E27FC236}">
                <a16:creationId xmlns:a16="http://schemas.microsoft.com/office/drawing/2014/main" id="{CB16898D-3DD4-439C-B43F-558C1FDD3648}"/>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ct val="0"/>
              </a:spcAft>
              <a:buNone/>
              <a:defRPr lang="en-US" sz="16600" b="1" kern="120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ct val="0"/>
              </a:spcBef>
              <a:spcAft>
                <a:spcPct val="0"/>
              </a:spcAft>
              <a:buFont typeface="Arial" panose="020b0604020202020204" pitchFamily="34" charset="0"/>
              <a:buNone/>
            </a:pPr>
            <a:r>
              <a:rPr lang="en-US"/>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1468" y="6482516"/>
            <a:ext cx="191087" cy="202328"/>
          </a:xfrm>
          <a:prstGeom prst="rect">
            <a:avLst/>
          </a:prstGeom>
        </p:spPr>
      </p:pic>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ct val="0"/>
              </a:spcBef>
              <a:spcAft>
                <a:spcPts val="1200"/>
              </a:spcAft>
              <a:buClrTx/>
              <a:buSzTx/>
              <a:buFontTx/>
              <a:buNone/>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ct val="0"/>
                </a:spcBef>
                <a:spcAft>
                  <a:spcPts val="1200"/>
                </a:spcAft>
                <a:buClrTx/>
                <a:buSzTx/>
                <a:buFontTx/>
                <a:buNone/>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453151190"/>
      </p:ext>
    </p:extLst>
  </p:cSld>
  <p:clrMapOvr>
    <a:overrideClrMapping bg1="dk1" tx1="lt1" bg2="dk2" tx2="lt2" accent1="accent1" accent2="accent2" accent3="accent3" accent4="accent4" accent5="accent5" accent6="accent6" hlink="hlink" folHlink="folHlink"/>
  </p:clrMapOvr>
  <p:transition/>
  <p:timing/>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 Dark">
    <p:bg>
      <p:bgPr>
        <a:solidFill>
          <a:schemeClr val="accent3"/>
        </a:solidFill>
        <a:effectLst/>
      </p:bgPr>
    </p:bg>
    <p:spTree>
      <p:nvGrpSpPr>
        <p:cNvPr id="1" name=""/>
        <p:cNvGrpSpPr/>
        <p:nvPr/>
      </p:nvGrpSpPr>
      <p:grpSpPr>
        <a:xfrm>
          <a:off x="0" y="0"/>
          <a:ext cx="0" cy="0"/>
        </a:xfrm>
      </p:grpSpPr>
      <p:pic>
        <p:nvPicPr>
          <p:cNvPr id="9" name="Picture 8">
            <a:extLst>
              <a:ext uri="{FF2B5EF4-FFF2-40B4-BE49-F238E27FC236}">
                <a16:creationId xmlns:a16="http://schemas.microsoft.com/office/drawing/2014/main" id="{859F547C-24AC-4360-A79B-5A655D445CD2}"/>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381468" y="6482516"/>
            <a:ext cx="191087" cy="202328"/>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6265335"/>
      </p:ext>
    </p:extLst>
  </p:cSld>
  <p:clrMapOvr>
    <a:overrideClrMapping bg1="dk1" tx1="lt1" bg2="dk2" tx2="lt2" accent1="accent1" accent2="accent2" accent3="accent3" accent4="accent4" accent5="accent5" accent6="accent6" hlink="hlink" folHlink="folHlink"/>
  </p:clrMapOvr>
  <p:transition/>
  <p:timing/>
</p:sldLayout>
</file>

<file path=ppt/slideLayouts/slideLayout25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 Light">
    <p:spTree>
      <p:nvGrpSpPr>
        <p:cNvPr id="1" name=""/>
        <p:cNvGrpSpPr/>
        <p:nvPr/>
      </p:nvGrpSpPr>
      <p:grpSpPr>
        <a:xfrm>
          <a:off x="0" y="0"/>
          <a: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2474238"/>
      </p:ext>
    </p:extLst>
  </p:cSld>
  <p:clrMapOvr>
    <a:masterClrMapping/>
  </p:clrMapOvr>
  <p:transition/>
  <p:timing/>
  <p:extLst>
    <p:ext uri="{DCECCB84-F9BA-43D5-87BE-67443E8EF086}">
      <p15:sldGuideLst xmlns:p15="http://schemas.microsoft.com/office/powerpoint/2012/main">
        <p15:guide id="1" orient="horz" pos="86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lumns 2 - Headline + GT Sectra">
    <p:spTree>
      <p:nvGrpSpPr>
        <p:cNvPr id="1" name=""/>
        <p:cNvGrpSpPr/>
        <p:nvPr/>
      </p:nvGrpSpPr>
      <p:grpSpPr>
        <a:xfrm>
          <a:off x="0" y="0"/>
          <a: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Sectra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Tree>
    <p:extLst>
      <p:ext uri="{BB962C8B-B14F-4D97-AF65-F5344CB8AC3E}">
        <p14:creationId xmlns:p14="http://schemas.microsoft.com/office/powerpoint/2010/main" val="1594759494"/>
      </p:ext>
    </p:extLst>
  </p:cSld>
  <p:clrMapOvr>
    <a:masterClrMapping/>
  </p:clrMapOvr>
  <p:transition/>
  <p:timing/>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lumns 2 - Headline + Content">
    <p:spTree>
      <p:nvGrpSpPr>
        <p:cNvPr id="1" name=""/>
        <p:cNvGrpSpPr/>
        <p:nvPr/>
      </p:nvGrpSpPr>
      <p:grpSpPr>
        <a:xfrm>
          <a:off x="0" y="0"/>
          <a: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371601"/>
            <a:ext cx="5524500" cy="822960"/>
          </a:xfrm>
        </p:spPr>
        <p:txBody>
          <a:bodyPr anchor="t"/>
          <a:lstStyle>
            <a:lvl1pPr marL="0" indent="0">
              <a:lnSpc>
                <a:spcPct val="90000"/>
              </a:lnSpc>
              <a:spcAft>
                <a:spcPct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371601"/>
            <a:ext cx="5524500" cy="822960"/>
          </a:xfrm>
        </p:spPr>
        <p:txBody>
          <a:bodyPr anchor="t"/>
          <a:lstStyle>
            <a:lvl1pPr marL="0" indent="0">
              <a:lnSpc>
                <a:spcPct val="90000"/>
              </a:lnSpc>
              <a:spcAft>
                <a:spcPct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8" name="Text Placeholder 2">
            <a:extLst>
              <a:ext uri="{FF2B5EF4-FFF2-40B4-BE49-F238E27FC236}">
                <a16:creationId xmlns:a16="http://schemas.microsoft.com/office/drawing/2014/main" id="{6B6533C5-6F53-46C1-904B-4A15BC734E7D}"/>
              </a:ext>
            </a:extLst>
          </p:cNvPr>
          <p:cNvSpPr>
            <a:spLocks noGrp="1"/>
          </p:cNvSpPr>
          <p:nvPr>
            <p:ph type="body" idx="16" hasCustomPrompt="1"/>
          </p:nvPr>
        </p:nvSpPr>
        <p:spPr>
          <a:xfrm>
            <a:off x="381000" y="5874026"/>
            <a:ext cx="5524500" cy="437873"/>
          </a:xfrm>
        </p:spPr>
        <p:txBody>
          <a:bodyPr anchor="t"/>
          <a:lstStyle>
            <a:lvl1pPr marL="0" indent="0" defTabSz="228600">
              <a:lnSpc>
                <a:spcPct val="90000"/>
              </a:lnSpc>
              <a:spcAft>
                <a:spcPct val="0"/>
              </a:spcAft>
              <a:buFont typeface="Arial" panose="020b0604020202020204" pitchFamily="34" charset="0"/>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more info here 12pt</a:t>
            </a:r>
          </a:p>
        </p:txBody>
      </p:sp>
      <p:sp>
        <p:nvSpPr>
          <p:cNvPr id="21" name="Text Placeholder 2">
            <a:extLst>
              <a:ext uri="{FF2B5EF4-FFF2-40B4-BE49-F238E27FC236}">
                <a16:creationId xmlns:a16="http://schemas.microsoft.com/office/drawing/2014/main" id="{842901BF-D744-42DD-805A-32CB37B9D8BC}"/>
              </a:ext>
            </a:extLst>
          </p:cNvPr>
          <p:cNvSpPr>
            <a:spLocks noGrp="1"/>
          </p:cNvSpPr>
          <p:nvPr>
            <p:ph type="body" idx="17" hasCustomPrompt="1"/>
          </p:nvPr>
        </p:nvSpPr>
        <p:spPr>
          <a:xfrm>
            <a:off x="6286499" y="5874026"/>
            <a:ext cx="5524500" cy="437873"/>
          </a:xfrm>
        </p:spPr>
        <p:txBody>
          <a:bodyPr vert="horz" lIns="0" tIns="0" rIns="0" bIns="0" rtlCol="0" anchor="t">
            <a:noAutofit/>
          </a:bodyPr>
          <a:lstStyle>
            <a:lvl1pPr marL="0" indent="0" defTabSz="228600">
              <a:buNone/>
              <a:defRPr lang="en-US" sz="1200"/>
            </a:lvl1pPr>
          </a:lstStyle>
          <a:p>
            <a:pPr lvl="0"/>
            <a:r>
              <a:rPr lang="en-US"/>
              <a:t>Place more info here 12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383407019"/>
      </p:ext>
    </p:extLst>
  </p:cSld>
  <p:clrMapOvr>
    <a:masterClrMapping/>
  </p:clrMapOvr>
  <p:transition/>
  <p:timing/>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lumns 3 - List">
    <p:spTree>
      <p:nvGrpSpPr>
        <p:cNvPr id="1" name=""/>
        <p:cNvGrpSpPr/>
        <p:nvPr/>
      </p:nvGrpSpPr>
      <p:grpSpPr>
        <a:xfrm>
          <a:off x="0" y="0"/>
          <a: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ct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ct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ct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ct val="0"/>
              </a:spcBef>
              <a:spcAft>
                <a:spcPts val="1200"/>
              </a:spcAft>
              <a:buFont typeface="Graphik" panose="020b0503030202060203" pitchFamily="34" charset="77"/>
              <a:buNone/>
            </a:pPr>
            <a:r>
              <a:rPr lang="en-US"/>
              <a:t>Sixth level</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ct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ct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ct val="0"/>
              </a:spcBef>
              <a:spcAft>
                <a:spcPts val="1200"/>
              </a:spcAft>
              <a:buFont typeface="Graphik" panose="020b0503030202060203" pitchFamily="34" charset="77"/>
              <a:buNone/>
            </a:pPr>
            <a:r>
              <a:rPr lang="en-US"/>
              <a:t>Sixth level</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ct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Tree>
    <p:extLst>
      <p:ext uri="{BB962C8B-B14F-4D97-AF65-F5344CB8AC3E}">
        <p14:creationId xmlns:p14="http://schemas.microsoft.com/office/powerpoint/2010/main" val="625662548"/>
      </p:ext>
    </p:extLst>
  </p:cSld>
  <p:clrMapOvr>
    <a:masterClrMapping/>
  </p:clrMapOvr>
  <p:transition/>
  <p:timing/>
  <p:extLst>
    <p:ext uri="{DCECCB84-F9BA-43D5-87BE-67443E8EF086}">
      <p15:sldGuideLst xmlns:p15="http://schemas.microsoft.com/office/powerpoint/2012/main">
        <p15:guide id="1" orient="horz" pos="86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Columns 4 - List">
    <p:spTree>
      <p:nvGrpSpPr>
        <p:cNvPr id="1" name=""/>
        <p:cNvGrpSpPr/>
        <p:nvPr/>
      </p:nvGrpSpPr>
      <p:grpSpPr>
        <a:xfrm>
          <a:off x="0" y="0"/>
          <a: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ct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ct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ct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ct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ct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ct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ct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ct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642305127"/>
      </p:ext>
    </p:extLst>
  </p:cSld>
  <p:clrMapOvr>
    <a:masterClrMapping/>
  </p:clrMapOvr>
  <p:transition/>
  <p:timing/>
  <p:extLst>
    <p:ext uri="{DCECCB84-F9BA-43D5-87BE-67443E8EF086}">
      <p15:sldGuideLst xmlns:p15="http://schemas.microsoft.com/office/powerpoint/2012/main">
        <p15:guide id="1" orient="horz" pos="86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Icons 5">
    <p:spTree>
      <p:nvGrpSpPr>
        <p:cNvPr id="1" name=""/>
        <p:cNvGrpSpPr/>
        <p:nvPr/>
      </p:nvGrpSpPr>
      <p:grpSpPr>
        <a:xfrm>
          <a:off x="0" y="0"/>
          <a: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cxnSp>
        <p:nvCxnSpPr>
          <p:cNvPr id="4" name="Straight Connector 3">
            <a:extLst>
              <a:ext uri="{FF2B5EF4-FFF2-40B4-BE49-F238E27FC236}">
                <a16:creationId xmlns:a16="http://schemas.microsoft.com/office/drawing/2014/main" id="{B13EDE11-CE40-4943-AE63-A3B14CB3C037}"/>
              </a:ext>
            </a:extLst>
          </p:cNvPr>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18" name="Date Placeholder 10">
            <a:extLst>
              <a:ext uri="{FF2B5EF4-FFF2-40B4-BE49-F238E27FC236}">
                <a16:creationId xmlns:a16="http://schemas.microsoft.com/office/drawing/2014/main" id="{E3730EFD-23A6-7A4C-8044-54C1542D7587}"/>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Monday, September 27, 2021</a:t>
            </a:fld>
            <a:endParaRPr lang="en-US"/>
          </a:p>
        </p:txBody>
      </p:sp>
    </p:spTree>
    <p:extLst>
      <p:ext uri="{BB962C8B-B14F-4D97-AF65-F5344CB8AC3E}">
        <p14:creationId xmlns:p14="http://schemas.microsoft.com/office/powerpoint/2010/main" val="4008209931"/>
      </p:ext>
    </p:extLst>
  </p:cSld>
  <p:clrMapOvr>
    <a:masterClrMapping/>
  </p:clrMapOvr>
  <p:transition/>
  <p:timing/>
  <p:extLst>
    <p:ext uri="{DCECCB84-F9BA-43D5-87BE-67443E8EF086}">
      <p15:sldGuideLst xmlns:p15="http://schemas.microsoft.com/office/powerpoint/2012/main">
        <p15:guide id="1" orient="horz" pos="983">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eam 4 - Box Shadow">
    <p:spTree>
      <p:nvGrpSpPr>
        <p:cNvPr id="1" name=""/>
        <p:cNvGrpSpPr/>
        <p:nvPr/>
      </p:nvGrpSpPr>
      <p:grpSpPr>
        <a:xfrm>
          <a:off x="0" y="0"/>
          <a: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Font typeface="Arial" panose="020b0604020202020204" pitchFamily="34" charset="0"/>
              <a:buNone/>
              <a:defRPr lang="en-US" sz="1800" b="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a:lvl1pPr>
          </a:lstStyle>
          <a:p>
            <a:pPr marL="228600" lvl="0" indent="-22860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a:lvl1pPr>
          </a:lstStyle>
          <a:p>
            <a:pPr marL="228600" lvl="0" indent="-22860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a:lvl1pPr>
          </a:lstStyle>
          <a:p>
            <a:pPr marL="228600" lvl="0" indent="-22860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172433"/>
          </a:xfrm>
        </p:spPr>
        <p:txBody>
          <a:bodyPr/>
          <a:lstStyle>
            <a:lvl1pPr marL="0" indent="0">
              <a:lnSpc>
                <a:spcPct val="80000"/>
              </a:lnSpc>
              <a:spcAft>
                <a:spcPts val="600"/>
              </a:spcAft>
              <a:buFont typeface="Arial" panose="020b0604020202020204" pitchFamily="34" charset="0"/>
              <a:buNone/>
              <a:defRPr sz="2400" b="0" i="0">
                <a:solidFill>
                  <a:schemeClr val="accent2"/>
                </a:solidFill>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ull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172433"/>
          </a:xfrm>
        </p:spPr>
        <p:txBody>
          <a:bodyPr/>
          <a:lstStyle>
            <a:lvl1pPr marL="0" indent="0">
              <a:lnSpc>
                <a:spcPct val="80000"/>
              </a:lnSpc>
              <a:spcAft>
                <a:spcPts val="600"/>
              </a:spcAft>
              <a:buFont typeface="Arial" panose="020b0604020202020204" pitchFamily="34" charset="0"/>
              <a:buNone/>
              <a:defRPr lang="en-US" sz="2400" b="0" i="0" kern="120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ct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172433"/>
          </a:xfrm>
        </p:spPr>
        <p:txBody>
          <a:bodyPr/>
          <a:lstStyle>
            <a:lvl1pPr marL="0" indent="0">
              <a:lnSpc>
                <a:spcPct val="80000"/>
              </a:lnSpc>
              <a:spcAft>
                <a:spcPts val="600"/>
              </a:spcAft>
              <a:buFont typeface="Arial" panose="020b0604020202020204" pitchFamily="34" charset="0"/>
              <a:buNone/>
              <a:defRPr lang="en-US" sz="2400" b="0" i="0" kern="120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ct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172433"/>
          </a:xfrm>
        </p:spPr>
        <p:txBody>
          <a:bodyPr/>
          <a:lstStyle>
            <a:lvl1pPr marL="0" indent="0">
              <a:lnSpc>
                <a:spcPct val="80000"/>
              </a:lnSpc>
              <a:spcAft>
                <a:spcPts val="600"/>
              </a:spcAft>
              <a:buFont typeface="Arial" panose="020b0604020202020204" pitchFamily="34" charset="0"/>
              <a:buNone/>
              <a:defRPr lang="en-US" sz="2400" b="0" i="0" kern="120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ct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1152421151"/>
      </p:ext>
    </p:extLst>
  </p:cSld>
  <p:clrMapOvr>
    <a:masterClrMapping/>
  </p:clrMapOvr>
  <p:transition/>
  <p:timing/>
  <p:extLst>
    <p:ext uri="{DCECCB84-F9BA-43D5-87BE-67443E8EF086}">
      <p15:sldGuideLst xmlns:p15="http://schemas.microsoft.com/office/powerpoint/2012/main">
        <p15:guide id="1" orient="horz" pos="983">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eam 6 - Light">
    <p:spTree>
      <p:nvGrpSpPr>
        <p:cNvPr id="1" name=""/>
        <p:cNvGrpSpPr/>
        <p:nvPr/>
      </p:nvGrpSpPr>
      <p:grpSpPr>
        <a:xfrm>
          <a:off x="0" y="0"/>
          <a: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1637712767"/>
      </p:ext>
    </p:extLst>
  </p:cSld>
  <p:clrMapOvr>
    <a:masterClrMapping/>
  </p:clrMapOvr>
  <p:transition/>
  <p:timing/>
  <p:extLst>
    <p:ext uri="{DCECCB84-F9BA-43D5-87BE-67443E8EF086}">
      <p15:sldGuideLst xmlns:p15="http://schemas.microsoft.com/office/powerpoint/2012/main">
        <p15:guide id="1" orient="horz" pos="98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Header, Sub-header and Content">
    <p:spTree>
      <p:nvGrpSpPr>
        <p:cNvPr id="1" name=""/>
        <p:cNvGrpSpPr/>
        <p:nvPr/>
      </p:nvGrpSpPr>
      <p:grpSpPr>
        <a:xfrm>
          <a:off x="0" y="0"/>
          <a:ext cx="0" cy="0"/>
        </a:xfrm>
      </p:grpSpPr>
      <p:sp>
        <p:nvSpPr>
          <p:cNvPr id="9" name="Text Placeholder 8"/>
          <p:cNvSpPr>
            <a:spLocks noGrp="1"/>
          </p:cNvSpPr>
          <p:nvPr>
            <p:ph type="body" sz="quarter" idx="17" hasCustomPrompt="1"/>
          </p:nvPr>
        </p:nvSpPr>
        <p:spPr>
          <a:xfrm>
            <a:off x="516012" y="836613"/>
            <a:ext cx="11160051" cy="266224"/>
          </a:xfrm>
          <a:prstGeom prst="rect">
            <a:avLst/>
          </a:prstGeom>
        </p:spPr>
        <p:txBody>
          <a:bodyPr lIns="0" tIns="0" rIns="0" bIns="0"/>
          <a:lstStyle>
            <a:lvl1pPr marL="0" indent="0">
              <a:buNone/>
              <a:defRPr lang="en-US" sz="1400" b="1" i="0" kern="1200">
                <a:solidFill>
                  <a:schemeClr val="tx2">
                    <a:lumMod val="75000"/>
                  </a:schemeClr>
                </a:solidFill>
                <a:latin typeface="+mn-lt"/>
                <a:ea typeface="Calibri Light" panose="020f0302020204030204" pitchFamily="34" charset="0"/>
                <a:cs typeface="Arial" panose="020b060402020202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785CB4EA-7E10-493A-9E02-AEF25065A3C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351364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26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eam 6 - Dark">
    <p:bg>
      <p:bgPr>
        <a:solidFill>
          <a:schemeClr val="accent3"/>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p:nvPr userDrawn="1"/>
        </p:nvCxnSpPr>
        <p:spPr>
          <a:xfrm>
            <a:off x="377415"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p:nvPr userDrawn="1"/>
        </p:nvCxnSpPr>
        <p:spPr>
          <a:xfrm>
            <a:off x="2353236"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p:nvPr userDrawn="1"/>
        </p:nvCxnSpPr>
        <p:spPr>
          <a:xfrm>
            <a:off x="4329057"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p:nvPr userDrawn="1"/>
        </p:nvCxnSpPr>
        <p:spPr>
          <a:xfrm>
            <a:off x="6304878"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p:nvPr userDrawn="1"/>
        </p:nvCxnSpPr>
        <p:spPr>
          <a:xfrm>
            <a:off x="8280699"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p:nvPr userDrawn="1"/>
        </p:nvCxnSpPr>
        <p:spPr>
          <a:xfrm>
            <a:off x="10256520"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pic>
        <p:nvPicPr>
          <p:cNvPr id="4" name="Picture 3">
            <a:extLst>
              <a:ext uri="{FF2B5EF4-FFF2-40B4-BE49-F238E27FC236}">
                <a16:creationId xmlns:a16="http://schemas.microsoft.com/office/drawing/2014/main" id="{DB3CD3D7-329E-47BB-94A7-43044FF6B3FA}"/>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381468" y="6482516"/>
            <a:ext cx="191087" cy="202328"/>
          </a:xfrm>
          <a:prstGeom prst="rect">
            <a:avLst/>
          </a:prstGeom>
        </p:spPr>
      </p:pic>
    </p:spTree>
    <p:extLst>
      <p:ext uri="{BB962C8B-B14F-4D97-AF65-F5344CB8AC3E}">
        <p14:creationId xmlns:p14="http://schemas.microsoft.com/office/powerpoint/2010/main" val="4178652133"/>
      </p:ext>
    </p:extLst>
  </p:cSld>
  <p:clrMapOvr>
    <a:overrideClrMapping bg1="dk1" tx1="lt1" bg2="dk2" tx2="lt2" accent1="accent1" accent2="accent2" accent3="accent3" accent4="accent4" accent5="accent5" accent6="accent6" hlink="hlink" folHlink="folHlink"/>
  </p:clrMapOvr>
  <p:transition/>
  <p:timing/>
  <p:extLst>
    <p:ext uri="{DCECCB84-F9BA-43D5-87BE-67443E8EF086}">
      <p15:sldGuideLst xmlns:p15="http://schemas.microsoft.com/office/powerpoint/2012/main">
        <p15:guide id="1" orient="horz" pos="983">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eam 8 + Text">
    <p:spTree>
      <p:nvGrpSpPr>
        <p:cNvPr id="1" name=""/>
        <p:cNvGrpSpPr/>
        <p:nvPr/>
      </p:nvGrpSpPr>
      <p:grpSpPr>
        <a:xfrm>
          <a:off x="0" y="0"/>
          <a: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p>
            <a:pPr lvl="0"/>
            <a:r>
              <a:rPr lang="en-GB"/>
              <a:t>Place text here, use indent to access other level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2" y="1295233"/>
            <a:ext cx="1186945" cy="1186945"/>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3"/>
            <a:ext cx="1186945" cy="1186945"/>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5" y="1295233"/>
            <a:ext cx="1186945" cy="1186945"/>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3"/>
            <a:ext cx="1186945" cy="1186945"/>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cxnSp>
        <p:nvCxnSpPr>
          <p:cNvPr id="49" name="Straight Connector 48">
            <a:extLst>
              <a:ext uri="{FF2B5EF4-FFF2-40B4-BE49-F238E27FC236}">
                <a16:creationId xmlns:a16="http://schemas.microsoft.com/office/drawing/2014/main" id="{F41646E1-19C3-4B9B-B997-D1E684346A58}"/>
              </a:ext>
            </a:extLst>
          </p:cNvPr>
          <p:cNvCxnSpPr/>
          <p:nvPr userDrawn="1"/>
        </p:nvCxnSpPr>
        <p:spPr>
          <a:xfrm>
            <a:off x="4325822"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573D48A-A495-4050-90E3-75258FCF3377}"/>
              </a:ext>
            </a:extLst>
          </p:cNvPr>
          <p:cNvCxnSpPr/>
          <p:nvPr userDrawn="1"/>
        </p:nvCxnSpPr>
        <p:spPr>
          <a:xfrm>
            <a:off x="6298233"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73483C0-79C0-4141-9CB1-0BA663E254D0}"/>
              </a:ext>
            </a:extLst>
          </p:cNvPr>
          <p:cNvCxnSpPr/>
          <p:nvPr userDrawn="1"/>
        </p:nvCxnSpPr>
        <p:spPr>
          <a:xfrm>
            <a:off x="8270644"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4A17C9C-D115-468F-86DD-CDE522721719}"/>
              </a:ext>
            </a:extLst>
          </p:cNvPr>
          <p:cNvCxnSpPr/>
          <p:nvPr userDrawn="1"/>
        </p:nvCxnSpPr>
        <p:spPr>
          <a:xfrm>
            <a:off x="10243055"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ct val="0"/>
              </a:spcBef>
              <a:spcAft>
                <a:spcPts val="300"/>
              </a:spcAft>
              <a:buFont typeface="Graphik" panose="020b0503030202060203" pitchFamily="34" charset="77"/>
              <a:buNone/>
            </a:pPr>
            <a:r>
              <a:rPr lang="en-US"/>
              <a:t>Role</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ct val="0"/>
              </a:spcBef>
              <a:spcAft>
                <a:spcPts val="300"/>
              </a:spcAft>
              <a:buFont typeface="Graphik" panose="020b0503030202060203" pitchFamily="34" charset="77"/>
              <a:buNone/>
            </a:pPr>
            <a:r>
              <a:rPr lang="en-US"/>
              <a:t>Role</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ct val="0"/>
              </a:spcBef>
              <a:spcAft>
                <a:spcPts val="300"/>
              </a:spcAft>
              <a:buFont typeface="Graphik" panose="020b0503030202060203" pitchFamily="34" charset="77"/>
              <a:buNone/>
            </a:pPr>
            <a:r>
              <a:rPr lang="en-US"/>
              <a:t>Role</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ct val="0"/>
              </a:spcBef>
              <a:spcAft>
                <a:spcPts val="300"/>
              </a:spcAft>
              <a:buFont typeface="Graphik" panose="020b0503030202060203" pitchFamily="34" charset="77"/>
              <a:buNone/>
            </a:pPr>
            <a:r>
              <a:rPr lang="en-US"/>
              <a:t>Role</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5" y="3842161"/>
            <a:ext cx="1186945" cy="1186945"/>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tx2">
              <a:lumMod val="20000"/>
              <a:lumOff val="80000"/>
            </a:schemeClr>
          </a:solidFill>
        </p:spPr>
        <p:txBody>
          <a:bodyPr vert="horz" lIns="0" tIns="0" rIns="0" bIns="0" rtlCol="0">
            <a:noAutofit/>
          </a:bodyPr>
          <a:lstStyle>
            <a:lvl1pPr marL="0" indent="0">
              <a:buNone/>
              <a:defRPr lang="en-US" sz="1800" b="0"/>
            </a:lvl1pPr>
          </a:lstStyle>
          <a:p>
            <a:pPr lvl="0"/>
            <a:r>
              <a:rPr lang="en-GB"/>
              <a:t>Add profile photo</a:t>
            </a:r>
            <a:endParaRPr lang="en-US"/>
          </a:p>
        </p:txBody>
      </p:sp>
      <p:cxnSp>
        <p:nvCxnSpPr>
          <p:cNvPr id="36" name="Straight Connector 35">
            <a:extLst>
              <a:ext uri="{FF2B5EF4-FFF2-40B4-BE49-F238E27FC236}">
                <a16:creationId xmlns:a16="http://schemas.microsoft.com/office/drawing/2014/main" id="{4AEBC920-4A06-1844-A297-04C9B4995EA2}"/>
              </a:ext>
            </a:extLst>
          </p:cNvPr>
          <p:cNvCxnSpPr/>
          <p:nvPr userDrawn="1"/>
        </p:nvCxnSpPr>
        <p:spPr>
          <a:xfrm>
            <a:off x="4325822"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D916B0-6C7A-FE46-ADE6-48744F6FD90A}"/>
              </a:ext>
            </a:extLst>
          </p:cNvPr>
          <p:cNvCxnSpPr/>
          <p:nvPr userDrawn="1"/>
        </p:nvCxnSpPr>
        <p:spPr>
          <a:xfrm>
            <a:off x="6298233"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86475A-7CFD-8340-A566-4FB21E689F0A}"/>
              </a:ext>
            </a:extLst>
          </p:cNvPr>
          <p:cNvCxnSpPr/>
          <p:nvPr userDrawn="1"/>
        </p:nvCxnSpPr>
        <p:spPr>
          <a:xfrm>
            <a:off x="8270644"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9DFD2D-5360-2342-829B-32DDEB7EBEB1}"/>
              </a:ext>
            </a:extLst>
          </p:cNvPr>
          <p:cNvCxnSpPr/>
          <p:nvPr userDrawn="1"/>
        </p:nvCxnSpPr>
        <p:spPr>
          <a:xfrm>
            <a:off x="10243055"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ct val="0"/>
              </a:spcBef>
              <a:spcAft>
                <a:spcPts val="300"/>
              </a:spcAft>
              <a:buFont typeface="Graphik" panose="020b0503030202060203" pitchFamily="34" charset="77"/>
              <a:buNone/>
            </a:pPr>
            <a:r>
              <a:rPr lang="en-US"/>
              <a:t>Role</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ct val="0"/>
              </a:spcBef>
              <a:spcAft>
                <a:spcPts val="300"/>
              </a:spcAft>
              <a:buFont typeface="Graphik" panose="020b0503030202060203" pitchFamily="34" charset="77"/>
              <a:buNone/>
            </a:pPr>
            <a:r>
              <a:rPr lang="en-US"/>
              <a:t>Role</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ct val="0"/>
              </a:spcBef>
              <a:spcAft>
                <a:spcPts val="300"/>
              </a:spcAft>
              <a:buFont typeface="Graphik" panose="020b0503030202060203" pitchFamily="34" charset="77"/>
              <a:buNone/>
            </a:pPr>
            <a:r>
              <a:rPr lang="en-US"/>
              <a:t>Role</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ct val="0"/>
              </a:spcBef>
              <a:spcAft>
                <a:spcPts val="300"/>
              </a:spcAft>
              <a:buFont typeface="Graphik" panose="020b0503030202060203" pitchFamily="34" charset="77"/>
              <a:buNone/>
            </a:pPr>
            <a:r>
              <a:rPr lang="en-US"/>
              <a:t>Role</a:t>
            </a:r>
          </a:p>
        </p:txBody>
      </p:sp>
      <p:sp>
        <p:nvSpPr>
          <p:cNvPr id="3" name="TextBox 2">
            <a:extLst>
              <a:ext uri="{FF2B5EF4-FFF2-40B4-BE49-F238E27FC236}">
                <a16:creationId xmlns:a16="http://schemas.microsoft.com/office/drawing/2014/main" id="{FC687A6A-0DE7-4742-9FEC-F4CAACF6BD01}"/>
              </a:ext>
            </a:extLst>
          </p:cNvPr>
          <p:cNvSpPr txBox="1"/>
          <p:nvPr userDrawn="1"/>
        </p:nvSpPr>
        <p:spPr>
          <a:xfrm flipH="1">
            <a:off x="9363919" y="6620719"/>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5" name="TextBox 4">
            <a:extLst>
              <a:ext uri="{FF2B5EF4-FFF2-40B4-BE49-F238E27FC236}">
                <a16:creationId xmlns:a16="http://schemas.microsoft.com/office/drawing/2014/main" id="{AFC37153-4580-BB48-AD3A-E289DF242EE6}"/>
              </a:ext>
            </a:extLst>
          </p:cNvPr>
          <p:cNvSpPr txBox="1"/>
          <p:nvPr userDrawn="1"/>
        </p:nvSpPr>
        <p:spPr>
          <a:xfrm flipH="1">
            <a:off x="9734309" y="6539696"/>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2E3869D1-469A-5B41-97BC-C47919F46F86}"/>
              </a:ext>
            </a:extLst>
          </p:cNvPr>
          <p:cNvSpPr txBox="1"/>
          <p:nvPr userDrawn="1"/>
        </p:nvSpPr>
        <p:spPr>
          <a:xfrm flipH="1">
            <a:off x="10131552" y="6528816"/>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827981821"/>
      </p:ext>
    </p:extLst>
  </p:cSld>
  <p:clrMapOvr>
    <a:masterClrMapping/>
  </p:clrMapOvr>
  <p:transition/>
  <p:timing/>
  <p:extLst>
    <p:ext uri="{DCECCB84-F9BA-43D5-87BE-67443E8EF086}">
      <p15:sldGuideLst xmlns:p15="http://schemas.microsoft.com/office/powerpoint/2012/main">
        <p15:guide id="1" orient="horz" pos="983">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Text and Image 1">
    <p:spTree>
      <p:nvGrpSpPr>
        <p:cNvPr id="1" name=""/>
        <p:cNvGrpSpPr/>
        <p:nvPr/>
      </p:nvGrpSpPr>
      <p:grpSpPr>
        <a:xfrm>
          <a:off x="0" y="0"/>
          <a:ext cx="0" cy="0"/>
        </a:xfrm>
      </p:grpSpPr>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381001" y="3267635"/>
            <a:ext cx="5334000" cy="2667000"/>
          </a:xfrm>
        </p:spPr>
        <p:txBody>
          <a:bodyPr/>
          <a:lstStyle>
            <a:lvl1pPr marL="0" indent="0">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Sectra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96769"/>
            <a:ext cx="6096000" cy="6857999"/>
          </a:xfrm>
        </p:spPr>
        <p:txBody>
          <a:bodyPr anchor="ctr"/>
          <a:lstStyle>
            <a:lvl1pPr marL="0" indent="0" algn="ctr" defTabSz="914400" rtl="0" eaLnBrk="1" latinLnBrk="0" hangingPunct="1">
              <a:lnSpc>
                <a:spcPct val="100000"/>
              </a:lnSpc>
              <a:spcBef>
                <a:spcPct val="0"/>
              </a:spcBef>
              <a:spcAft>
                <a:spcPts val="1200"/>
              </a:spcAft>
              <a:buFont typeface="Arial" panose="020b0604020202020204" pitchFamily="34" charset="0"/>
              <a:buNone/>
              <a:defRPr lang="en-US" sz="1400" b="0" kern="120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Add image,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tx1">
                    <a:alpha val="75000"/>
                  </a:schemeClr>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ct val="0"/>
              </a:spcBef>
              <a:spcAft>
                <a:spcPts val="1200"/>
              </a:spcAft>
              <a:buClrTx/>
              <a:buSzTx/>
              <a:buFontTx/>
              <a:buNone/>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1092545364"/>
      </p:ext>
    </p:extLst>
  </p:cSld>
  <p:clrMapOvr>
    <a:masterClrMapping/>
  </p:clrMapOvr>
  <p:transition/>
  <p:timing/>
</p:sldLayout>
</file>

<file path=ppt/slideLayouts/slideLayout26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ext and Image 2">
    <p:bg>
      <p:bgPr>
        <a:solidFill>
          <a:schemeClr val="accent2"/>
        </a:solidFill>
        <a:effectLst/>
      </p:bgPr>
    </p:bg>
    <p:spTree>
      <p:nvGrpSpPr>
        <p:cNvPr id="1" name=""/>
        <p:cNvGrpSpPr/>
        <p:nvPr/>
      </p:nvGrpSpPr>
      <p:grpSpPr>
        <a:xfrm>
          <a:off x="0" y="0"/>
          <a: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noFill/>
        </p:spPr>
        <p:txBody>
          <a:bodyPr anchor="ctr"/>
          <a:lstStyle>
            <a:lvl1pPr marL="0" indent="0" algn="ctr">
              <a:buNone/>
              <a:defRPr sz="1400" b="0">
                <a:solidFill>
                  <a:schemeClr val="tx1"/>
                </a:solidFill>
              </a:defRPr>
            </a:lvl1pPr>
          </a:lstStyle>
          <a:p>
            <a:r>
              <a:rPr lang="en-GB"/>
              <a:t>Add image here</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A9656D06-A8CE-4A1F-9876-6AFBEE60C207}"/>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381468" y="6482516"/>
            <a:ext cx="191087" cy="202328"/>
          </a:xfrm>
          <a:prstGeom prst="rect">
            <a:avLst/>
          </a:prstGeom>
        </p:spPr>
      </p:pic>
      <p:sp>
        <p:nvSpPr>
          <p:cNvPr id="13" name="TextBox 12">
            <a:extLst>
              <a:ext uri="{FF2B5EF4-FFF2-40B4-BE49-F238E27FC236}">
                <a16:creationId xmlns:a16="http://schemas.microsoft.com/office/drawing/2014/main" id="{C5A17E02-A31F-4B3C-922A-197462C89A0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ct val="0"/>
              </a:spcBef>
              <a:spcAft>
                <a:spcPts val="1200"/>
              </a:spcAft>
              <a:buClrTx/>
              <a:buSzTx/>
              <a:buFontTx/>
              <a:buNone/>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Box 13">
            <a:extLst>
              <a:ext uri="{FF2B5EF4-FFF2-40B4-BE49-F238E27FC236}">
                <a16:creationId xmlns:a16="http://schemas.microsoft.com/office/drawing/2014/main" id="{A10195CB-D424-4B71-9300-2867217A049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ct val="0"/>
              </a:spcBef>
              <a:spcAft>
                <a:spcPts val="1200"/>
              </a:spcAft>
              <a:buClrTx/>
              <a:buSzTx/>
              <a:buFontTx/>
              <a:buNone/>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ct val="0"/>
                </a:spcBef>
                <a:spcAft>
                  <a:spcPts val="1200"/>
                </a:spcAft>
                <a:buClrTx/>
                <a:buSzTx/>
                <a:buFontTx/>
                <a:buNone/>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2" name="Text Placeholder 14">
            <a:extLst>
              <a:ext uri="{FF2B5EF4-FFF2-40B4-BE49-F238E27FC236}">
                <a16:creationId xmlns:a16="http://schemas.microsoft.com/office/drawing/2014/main" id="{6EB7BC02-64C6-5A42-A5C4-F0D83DB51123}"/>
              </a:ext>
            </a:extLst>
          </p:cNvPr>
          <p:cNvSpPr>
            <a:spLocks noGrp="1"/>
          </p:cNvSpPr>
          <p:nvPr>
            <p:ph type="body" sz="quarter" idx="17" hasCustomPrompt="1"/>
          </p:nvPr>
        </p:nvSpPr>
        <p:spPr>
          <a:xfrm>
            <a:off x="6476999" y="3267635"/>
            <a:ext cx="5334000" cy="2667000"/>
          </a:xfrm>
        </p:spPr>
        <p:txBody>
          <a:bodyPr/>
          <a:lstStyle>
            <a:lvl1pPr marL="0" indent="0">
              <a:buNone/>
              <a:defRPr sz="2400">
                <a:solidFill>
                  <a:schemeClr val="tx1"/>
                </a:solidFill>
                <a:latin typeface="GT Sectra Fine" panose="00000500000000000000" pitchFamily="50" charset="0"/>
              </a:defRPr>
            </a:lvl1pPr>
            <a:lvl2pPr marL="0" indent="0">
              <a:buNone/>
              <a:defRPr sz="1800">
                <a:solidFill>
                  <a:schemeClr val="tx1"/>
                </a:solidFill>
              </a:defRPr>
            </a:lvl2pPr>
            <a:lvl3pPr marL="228600">
              <a:buFont typeface="Arial" panose="020b0604020202020204" pitchFamily="34" charset="0"/>
              <a:buChar char="•"/>
              <a:defRPr sz="1800">
                <a:solidFill>
                  <a:schemeClr val="tx1"/>
                </a:solidFill>
              </a:defRPr>
            </a:lvl3pPr>
            <a:lvl4pPr marL="457200">
              <a:buFont typeface="System Font"/>
              <a:buChar char="–"/>
              <a:defRPr sz="1600">
                <a:solidFill>
                  <a:schemeClr val="tx1"/>
                </a:solidFill>
              </a:defRPr>
            </a:lvl4pPr>
            <a:lvl5pPr marL="685800">
              <a:buFont typeface="Arial" panose="020b0604020202020204" pitchFamily="34" charset="0"/>
              <a:buChar char="•"/>
              <a:defRPr sz="1600">
                <a:solidFill>
                  <a:schemeClr val="tx1"/>
                </a:solidFill>
              </a:defRPr>
            </a:lvl5pPr>
          </a:lstStyle>
          <a:p>
            <a:pPr lvl="0"/>
            <a:r>
              <a:rPr lang="en-US"/>
              <a:t>Place sub-headline here in GT Sectra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Tree>
    <p:extLst>
      <p:ext uri="{BB962C8B-B14F-4D97-AF65-F5344CB8AC3E}">
        <p14:creationId xmlns:p14="http://schemas.microsoft.com/office/powerpoint/2010/main" val="1084521651"/>
      </p:ext>
    </p:extLst>
  </p:cSld>
  <p:clrMapOvr>
    <a:overrideClrMapping bg1="dk1" tx1="lt1" bg2="dk2" tx2="lt2" accent1="accent1" accent2="accent2" accent3="accent3" accent4="accent4" accent5="accent5" accent6="accent6" hlink="hlink" folHlink="folHlink"/>
  </p:clrMapOvr>
  <p:transition/>
  <p:timing/>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2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Quote + Portrait 1">
    <p:spTree>
      <p:nvGrpSpPr>
        <p:cNvPr id="1" name=""/>
        <p:cNvGrpSpPr/>
        <p:nvPr/>
      </p:nvGrpSpPr>
      <p:grpSpPr>
        <a:xfrm>
          <a:off x="0" y="0"/>
          <a: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1" y="744434"/>
            <a:ext cx="4190998" cy="4976446"/>
          </a:xfrm>
          <a:solidFill>
            <a:schemeClr val="bg1"/>
          </a:solidFill>
        </p:spPr>
        <p:txBody>
          <a:bodyPr tIns="274320" bIns="274320" anchor="ctr"/>
          <a:lstStyle>
            <a:lvl1pPr marL="0" indent="0" algn="ctr">
              <a:buNone/>
              <a:defRPr sz="1400" b="0">
                <a:solidFill>
                  <a:schemeClr val="tx1"/>
                </a:solidFill>
              </a:defRPr>
            </a:lvl1pPr>
          </a:lstStyle>
          <a:p>
            <a:r>
              <a:rPr lang="en-GB"/>
              <a:t>Add image</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a:t>
            </a:r>
          </a:p>
        </p:txBody>
      </p:sp>
    </p:spTree>
    <p:extLst>
      <p:ext uri="{BB962C8B-B14F-4D97-AF65-F5344CB8AC3E}">
        <p14:creationId xmlns:p14="http://schemas.microsoft.com/office/powerpoint/2010/main" val="3627679303"/>
      </p:ext>
    </p:extLst>
  </p:cSld>
  <p:clrMapOvr>
    <a:masterClrMapping/>
  </p:clrMapOvr>
  <p:transition/>
  <p:timing/>
</p:sldLayout>
</file>

<file path=ppt/slideLayouts/slideLayout26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Stat 1">
    <p:bg>
      <p:bgRef idx="1001">
        <a:schemeClr val="bg1"/>
      </p:bgRef>
    </p:bg>
    <p:spTree>
      <p:nvGrpSpPr>
        <p:cNvPr id="1" name=""/>
        <p:cNvGrpSpPr/>
        <p:nvPr/>
      </p:nvGrpSpPr>
      <p:grpSpPr>
        <a:xfrm>
          <a:off x="0" y="0"/>
          <a:ext cx="0" cy="0"/>
        </a:xfrm>
      </p:grpSpPr>
      <p:sp>
        <p:nvSpPr>
          <p:cNvPr id="18" name="Rectangle 17">
            <a:extLst>
              <a:ext uri="{FF2B5EF4-FFF2-40B4-BE49-F238E27FC236}">
                <a16:creationId xmlns:a16="http://schemas.microsoft.com/office/drawing/2014/main" id="{7FF1C6BE-E6FE-4BD6-8477-A09403EEE56E}"/>
              </a:ext>
            </a:extLst>
          </p:cNvPr>
          <p:cNvSpPr/>
          <p:nvPr userDrawn="1"/>
        </p:nvSpPr>
        <p:spPr>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2"/>
            <a:ext cx="2285996" cy="1284861"/>
          </a:xfrm>
        </p:spPr>
        <p:txBody>
          <a:bodyPr/>
          <a:lstStyle>
            <a:lvl1pPr marL="0" indent="0">
              <a:spcAft>
                <a:spcPts val="600"/>
              </a:spcAft>
              <a:buNone/>
              <a:defRPr lang="en-US" sz="2000" b="1" kern="1200" smtClean="0">
                <a:solidFill>
                  <a:schemeClr val="tx1"/>
                </a:solidFill>
                <a:latin typeface="+mn-lt"/>
                <a:ea typeface="+mn-ea"/>
                <a:cs typeface="+mn-cs"/>
              </a:defRPr>
            </a:lvl1pPr>
            <a:lvl2pPr marL="0" indent="0">
              <a:spcAft>
                <a:spcPts val="600"/>
              </a:spcAft>
              <a:buNone/>
              <a:defRPr lang="en-US" sz="1600" kern="1200">
                <a:solidFill>
                  <a:schemeClr val="tx1"/>
                </a:solidFill>
                <a:latin typeface="+mn-lt"/>
                <a:ea typeface="+mn-ea"/>
                <a:cs typeface="+mn-cs"/>
              </a:defRPr>
            </a:lvl2pPr>
            <a:lvl3pPr marL="285750" indent="-285750">
              <a:spcAft>
                <a:spcPts val="600"/>
              </a:spcAft>
              <a:defRPr lang="en-US" sz="1600" kern="1200">
                <a:solidFill>
                  <a:schemeClr val="tx1"/>
                </a:solidFill>
                <a:latin typeface="+mn-lt"/>
                <a:ea typeface="+mn-ea"/>
                <a:cs typeface="+mn-cs"/>
              </a:defRPr>
            </a:lvl3pPr>
            <a:lvl4pPr>
              <a:spcAft>
                <a:spcPct val="0"/>
              </a:spcAft>
              <a:defRPr sz="1800"/>
            </a:lvl4pPr>
            <a:lvl5pPr>
              <a:spcAft>
                <a:spcPct val="0"/>
              </a:spcAft>
              <a:defRPr sz="1800"/>
            </a:lvl5pPr>
          </a:lstStyle>
          <a:p>
            <a:pPr marL="228600" lvl="0" indent="-228600" algn="l" defTabSz="914400" rtl="0" eaLnBrk="1" latinLnBrk="0" hangingPunct="1">
              <a:lnSpc>
                <a:spcPct val="100000"/>
              </a:lnSpc>
              <a:spcBef>
                <a:spcPct val="0"/>
              </a:spcBef>
              <a:spcAft>
                <a:spcPts val="600"/>
              </a:spcAft>
            </a:pPr>
            <a:r>
              <a:rPr lang="en-US"/>
              <a:t>Stat headline</a:t>
            </a:r>
          </a:p>
          <a:p>
            <a:pPr marL="285750" lvl="1" indent="-285750" algn="l" defTabSz="914400" rtl="0" eaLnBrk="1" latinLnBrk="0" hangingPunct="1">
              <a:lnSpc>
                <a:spcPct val="100000"/>
              </a:lnSpc>
              <a:spcBef>
                <a:spcPct val="0"/>
              </a:spcBef>
              <a:spcAft>
                <a:spcPct val="0"/>
              </a:spcAft>
            </a:pPr>
            <a:r>
              <a:rPr lang="en-US"/>
              <a:t>Stat details</a:t>
            </a:r>
          </a:p>
          <a:p>
            <a:pPr marL="228600" lvl="2" indent="-228600" algn="l" defTabSz="914400" rtl="0" eaLnBrk="1" latinLnBrk="0" hangingPunct="1">
              <a:lnSpc>
                <a:spcPct val="100000"/>
              </a:lnSpc>
              <a:spcBef>
                <a:spcPct val="0"/>
              </a:spcBef>
              <a:spcAft>
                <a:spcPct val="0"/>
              </a:spcAft>
              <a:buFont typeface="Arial" panose="020b0604020202020204" pitchFamily="34" charset="0"/>
              <a:buChar char="•"/>
            </a:pPr>
            <a:r>
              <a:rPr lang="en-US"/>
              <a:t>Bullet poin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92" y="0"/>
            <a:ext cx="6096008" cy="6311900"/>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ct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ct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ct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ct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p:nvPr userDrawn="1"/>
        </p:nvCxnSpPr>
        <p:spPr>
          <a:xfrm flipH="1">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raphic 4">
            <a:extLst>
              <a:ext uri="{FF2B5EF4-FFF2-40B4-BE49-F238E27FC236}">
                <a16:creationId xmlns:a16="http://schemas.microsoft.com/office/drawing/2014/main" id="{B5857967-07ED-4F5E-A053-B5E7B0047997}"/>
              </a:ext>
            </a:extLst>
          </p:cNvPr>
          <p:cNvSpPr>
            <a:spLocks noChangeAspect="1"/>
          </p:cNvSpPr>
          <p:nvPr userDrawn="1"/>
        </p:nvSpPr>
        <p:spPr>
          <a:xfrm>
            <a:off x="381000" y="6483349"/>
            <a:ext cx="192024" cy="203202"/>
          </a:xfrm>
          <a:custGeom>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1FAF127-9F53-4673-A2A8-7956E1AE99D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ct val="0"/>
              </a:spcBef>
              <a:spcAft>
                <a:spcPts val="1200"/>
              </a:spcAft>
              <a:buClrTx/>
              <a:buSzTx/>
              <a:buFontTx/>
              <a:buNone/>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6" name="TextBox 5">
            <a:extLst>
              <a:ext uri="{FF2B5EF4-FFF2-40B4-BE49-F238E27FC236}">
                <a16:creationId xmlns:a16="http://schemas.microsoft.com/office/drawing/2014/main" id="{AF44D4EC-5AC3-4E83-91F6-146FE9DE044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ct val="0"/>
              </a:spcBef>
              <a:spcAft>
                <a:spcPts val="1200"/>
              </a:spcAft>
              <a:buClrTx/>
              <a:buSzTx/>
              <a:buFontTx/>
              <a:buNone/>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2"/>
            <a:ext cx="2285996" cy="1284861"/>
          </a:xfrm>
        </p:spPr>
        <p:txBody>
          <a:bodyPr/>
          <a:lstStyle>
            <a:lvl1pPr marL="0" indent="0">
              <a:spcAft>
                <a:spcPts val="600"/>
              </a:spcAft>
              <a:buNone/>
              <a:defRPr lang="en-US" sz="2000" b="1" kern="1200" smtClean="0">
                <a:solidFill>
                  <a:schemeClr val="tx1"/>
                </a:solidFill>
                <a:latin typeface="+mn-lt"/>
                <a:ea typeface="+mn-ea"/>
                <a:cs typeface="+mn-cs"/>
              </a:defRPr>
            </a:lvl1pPr>
            <a:lvl2pPr marL="0" indent="0">
              <a:spcAft>
                <a:spcPts val="600"/>
              </a:spcAft>
              <a:buNone/>
              <a:defRPr lang="en-US" sz="1600" kern="1200">
                <a:solidFill>
                  <a:schemeClr val="tx1"/>
                </a:solidFill>
                <a:latin typeface="+mn-lt"/>
                <a:ea typeface="+mn-ea"/>
                <a:cs typeface="+mn-cs"/>
              </a:defRPr>
            </a:lvl2pPr>
            <a:lvl3pPr marL="285750" indent="-285750">
              <a:spcAft>
                <a:spcPts val="600"/>
              </a:spcAft>
              <a:defRPr lang="en-US" sz="1600" kern="1200">
                <a:solidFill>
                  <a:schemeClr val="tx1"/>
                </a:solidFill>
                <a:latin typeface="+mn-lt"/>
                <a:ea typeface="+mn-ea"/>
                <a:cs typeface="+mn-cs"/>
              </a:defRPr>
            </a:lvl3pPr>
            <a:lvl4pPr>
              <a:spcAft>
                <a:spcPct val="0"/>
              </a:spcAft>
              <a:defRPr sz="1800"/>
            </a:lvl4pPr>
            <a:lvl5pPr>
              <a:spcAft>
                <a:spcPct val="0"/>
              </a:spcAft>
              <a:defRPr sz="1800"/>
            </a:lvl5pPr>
          </a:lstStyle>
          <a:p>
            <a:pPr marL="228600" lvl="0" indent="-228600" algn="l" defTabSz="914400" rtl="0" eaLnBrk="1" latinLnBrk="0" hangingPunct="1">
              <a:lnSpc>
                <a:spcPct val="100000"/>
              </a:lnSpc>
              <a:spcBef>
                <a:spcPct val="0"/>
              </a:spcBef>
              <a:spcAft>
                <a:spcPts val="600"/>
              </a:spcAft>
            </a:pPr>
            <a:r>
              <a:rPr lang="en-US"/>
              <a:t>Stat headline</a:t>
            </a:r>
          </a:p>
          <a:p>
            <a:pPr marL="285750" lvl="1" indent="-285750" algn="l" defTabSz="914400" rtl="0" eaLnBrk="1" latinLnBrk="0" hangingPunct="1">
              <a:lnSpc>
                <a:spcPct val="100000"/>
              </a:lnSpc>
              <a:spcBef>
                <a:spcPct val="0"/>
              </a:spcBef>
              <a:spcAft>
                <a:spcPct val="0"/>
              </a:spcAft>
            </a:pPr>
            <a:r>
              <a:rPr lang="en-US"/>
              <a:t>Stat details</a:t>
            </a:r>
          </a:p>
          <a:p>
            <a:pPr marL="228600" lvl="2" indent="-228600" algn="l" defTabSz="914400" rtl="0" eaLnBrk="1" latinLnBrk="0" hangingPunct="1">
              <a:lnSpc>
                <a:spcPct val="100000"/>
              </a:lnSpc>
              <a:spcBef>
                <a:spcPct val="0"/>
              </a:spcBef>
              <a:spcAft>
                <a:spcPct val="0"/>
              </a:spcAft>
              <a:buFont typeface="Arial" panose="020b0604020202020204" pitchFamily="34" charset="0"/>
              <a:buChar char="•"/>
            </a:pPr>
            <a:r>
              <a:rPr lang="en-US"/>
              <a:t>Bullet poin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284861"/>
          </a:xfrm>
        </p:spPr>
        <p:txBody>
          <a:bodyPr/>
          <a:lstStyle>
            <a:lvl1pPr marL="0" indent="0">
              <a:spcAft>
                <a:spcPts val="600"/>
              </a:spcAft>
              <a:buNone/>
              <a:defRPr lang="en-US" sz="2000" b="1" kern="1200" smtClean="0">
                <a:solidFill>
                  <a:schemeClr val="tx1"/>
                </a:solidFill>
                <a:latin typeface="+mn-lt"/>
                <a:ea typeface="+mn-ea"/>
                <a:cs typeface="+mn-cs"/>
              </a:defRPr>
            </a:lvl1pPr>
            <a:lvl2pPr marL="0" indent="0">
              <a:spcAft>
                <a:spcPts val="600"/>
              </a:spcAft>
              <a:buNone/>
              <a:defRPr lang="en-US" sz="1600" kern="1200">
                <a:solidFill>
                  <a:schemeClr val="tx1"/>
                </a:solidFill>
                <a:latin typeface="+mn-lt"/>
                <a:ea typeface="+mn-ea"/>
                <a:cs typeface="+mn-cs"/>
              </a:defRPr>
            </a:lvl2pPr>
            <a:lvl3pPr marL="285750" indent="-285750">
              <a:spcAft>
                <a:spcPts val="600"/>
              </a:spcAft>
              <a:defRPr lang="en-US" sz="1600" kern="1200">
                <a:solidFill>
                  <a:schemeClr val="tx1"/>
                </a:solidFill>
                <a:latin typeface="+mn-lt"/>
                <a:ea typeface="+mn-ea"/>
                <a:cs typeface="+mn-cs"/>
              </a:defRPr>
            </a:lvl3pPr>
            <a:lvl4pPr>
              <a:spcAft>
                <a:spcPct val="0"/>
              </a:spcAft>
              <a:defRPr sz="1800"/>
            </a:lvl4pPr>
            <a:lvl5pPr>
              <a:spcAft>
                <a:spcPct val="0"/>
              </a:spcAft>
              <a:defRPr sz="1800"/>
            </a:lvl5pPr>
          </a:lstStyle>
          <a:p>
            <a:pPr marL="228600" lvl="0" indent="-228600" algn="l" defTabSz="914400" rtl="0" eaLnBrk="1" latinLnBrk="0" hangingPunct="1">
              <a:lnSpc>
                <a:spcPct val="100000"/>
              </a:lnSpc>
              <a:spcBef>
                <a:spcPct val="0"/>
              </a:spcBef>
              <a:spcAft>
                <a:spcPts val="600"/>
              </a:spcAft>
            </a:pPr>
            <a:r>
              <a:rPr lang="en-US"/>
              <a:t>Stat headline</a:t>
            </a:r>
          </a:p>
          <a:p>
            <a:pPr marL="285750" lvl="1" indent="-285750" algn="l" defTabSz="914400" rtl="0" eaLnBrk="1" latinLnBrk="0" hangingPunct="1">
              <a:lnSpc>
                <a:spcPct val="100000"/>
              </a:lnSpc>
              <a:spcBef>
                <a:spcPct val="0"/>
              </a:spcBef>
              <a:spcAft>
                <a:spcPct val="0"/>
              </a:spcAft>
            </a:pPr>
            <a:r>
              <a:rPr lang="en-US"/>
              <a:t>Stat details</a:t>
            </a:r>
          </a:p>
          <a:p>
            <a:pPr marL="228600" lvl="2" indent="-228600" algn="l" defTabSz="914400" rtl="0" eaLnBrk="1" latinLnBrk="0" hangingPunct="1">
              <a:lnSpc>
                <a:spcPct val="100000"/>
              </a:lnSpc>
              <a:spcBef>
                <a:spcPct val="0"/>
              </a:spcBef>
              <a:spcAft>
                <a:spcPct val="0"/>
              </a:spcAft>
              <a:buFont typeface="Arial" panose="020b0604020202020204" pitchFamily="34" charset="0"/>
              <a:buChar char="•"/>
            </a:pPr>
            <a:r>
              <a:rPr lang="en-US"/>
              <a:t>Bullet poin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1"/>
            <a:ext cx="2285996" cy="1284861"/>
          </a:xfrm>
        </p:spPr>
        <p:txBody>
          <a:bodyPr/>
          <a:lstStyle>
            <a:lvl1pPr marL="0" indent="0">
              <a:spcAft>
                <a:spcPts val="600"/>
              </a:spcAft>
              <a:buNone/>
              <a:defRPr lang="en-US" sz="2000" b="1" kern="1200" smtClean="0">
                <a:solidFill>
                  <a:schemeClr val="tx1"/>
                </a:solidFill>
                <a:latin typeface="+mn-lt"/>
                <a:ea typeface="+mn-ea"/>
                <a:cs typeface="+mn-cs"/>
              </a:defRPr>
            </a:lvl1pPr>
            <a:lvl2pPr marL="0" indent="0">
              <a:spcAft>
                <a:spcPts val="600"/>
              </a:spcAft>
              <a:buNone/>
              <a:defRPr lang="en-US" sz="1600" kern="1200">
                <a:solidFill>
                  <a:schemeClr val="tx1"/>
                </a:solidFill>
                <a:latin typeface="+mn-lt"/>
                <a:ea typeface="+mn-ea"/>
                <a:cs typeface="+mn-cs"/>
              </a:defRPr>
            </a:lvl2pPr>
            <a:lvl3pPr marL="285750" indent="-285750">
              <a:spcAft>
                <a:spcPts val="600"/>
              </a:spcAft>
              <a:defRPr lang="en-US" sz="1600" kern="1200">
                <a:solidFill>
                  <a:schemeClr val="tx1"/>
                </a:solidFill>
                <a:latin typeface="+mn-lt"/>
                <a:ea typeface="+mn-ea"/>
                <a:cs typeface="+mn-cs"/>
              </a:defRPr>
            </a:lvl3pPr>
            <a:lvl4pPr>
              <a:spcAft>
                <a:spcPct val="0"/>
              </a:spcAft>
              <a:defRPr sz="1800"/>
            </a:lvl4pPr>
            <a:lvl5pPr>
              <a:spcAft>
                <a:spcPct val="0"/>
              </a:spcAft>
              <a:defRPr sz="1800"/>
            </a:lvl5pPr>
          </a:lstStyle>
          <a:p>
            <a:pPr marL="228600" lvl="0" indent="-228600" algn="l" defTabSz="914400" rtl="0" eaLnBrk="1" latinLnBrk="0" hangingPunct="1">
              <a:lnSpc>
                <a:spcPct val="100000"/>
              </a:lnSpc>
              <a:spcBef>
                <a:spcPct val="0"/>
              </a:spcBef>
              <a:spcAft>
                <a:spcPts val="600"/>
              </a:spcAft>
            </a:pPr>
            <a:r>
              <a:rPr lang="en-US"/>
              <a:t>Stat headline</a:t>
            </a:r>
          </a:p>
          <a:p>
            <a:pPr marL="285750" lvl="1" indent="-285750" algn="l" defTabSz="914400" rtl="0" eaLnBrk="1" latinLnBrk="0" hangingPunct="1">
              <a:lnSpc>
                <a:spcPct val="100000"/>
              </a:lnSpc>
              <a:spcBef>
                <a:spcPct val="0"/>
              </a:spcBef>
              <a:spcAft>
                <a:spcPct val="0"/>
              </a:spcAft>
            </a:pPr>
            <a:r>
              <a:rPr lang="en-US"/>
              <a:t>Stat details</a:t>
            </a:r>
          </a:p>
          <a:p>
            <a:pPr marL="228600" lvl="2" indent="-228600" algn="l" defTabSz="914400" rtl="0" eaLnBrk="1" latinLnBrk="0" hangingPunct="1">
              <a:lnSpc>
                <a:spcPct val="100000"/>
              </a:lnSpc>
              <a:spcBef>
                <a:spcPct val="0"/>
              </a:spcBef>
              <a:spcAft>
                <a:spcPct val="0"/>
              </a:spcAft>
              <a:buFont typeface="Arial" panose="020b0604020202020204" pitchFamily="34" charset="0"/>
              <a:buChar char="•"/>
            </a:pPr>
            <a:r>
              <a:rPr lang="en-US"/>
              <a:t>Bullet point</a:t>
            </a:r>
          </a:p>
        </p:txBody>
      </p:sp>
    </p:spTree>
    <p:extLst>
      <p:ext uri="{BB962C8B-B14F-4D97-AF65-F5344CB8AC3E}">
        <p14:creationId xmlns:p14="http://schemas.microsoft.com/office/powerpoint/2010/main" val="1557939337"/>
      </p:ext>
    </p:extLst>
  </p:cSld>
  <p:clrMapOvr>
    <a:overrideClrMapping bg1="lt1" tx1="dk1" bg2="lt2" tx2="dk2" accent1="accent1" accent2="accent2" accent3="accent3" accent4="accent4" accent5="accent5" accent6="accent6" hlink="hlink" folHlink="folHlink"/>
  </p:clrMapOvr>
  <p:transition/>
  <p:timing/>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tat 2">
    <p:bg>
      <p:bgRef idx="1001">
        <a:schemeClr val="bg1"/>
      </p:bgRef>
    </p:bg>
    <p:spTree>
      <p:nvGrpSpPr>
        <p:cNvPr id="1" name=""/>
        <p:cNvGrpSpPr/>
        <p:nvPr/>
      </p:nvGrpSpPr>
      <p:grpSpPr>
        <a:xfrm>
          <a:off x="0" y="0"/>
          <a: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a:xfrm>
            <a:off x="9144056" y="3155948"/>
            <a:ext cx="3047944" cy="31559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76" y="-1"/>
            <a:ext cx="3048024" cy="3151189"/>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ct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2"/>
            <a:ext cx="2285995" cy="1284879"/>
          </a:xfrm>
        </p:spPr>
        <p:txBody>
          <a:bodyPr/>
          <a:lstStyle>
            <a:lvl1pPr marL="0" indent="0">
              <a:spcAft>
                <a:spcPts val="600"/>
              </a:spcAft>
              <a:buNone/>
              <a:defRPr lang="en-US" sz="2000" b="1" kern="1200" smtClean="0">
                <a:solidFill>
                  <a:schemeClr val="tx1"/>
                </a:solidFill>
                <a:latin typeface="+mn-lt"/>
                <a:ea typeface="+mn-ea"/>
                <a:cs typeface="+mn-cs"/>
              </a:defRPr>
            </a:lvl1pPr>
            <a:lvl2pPr marL="0" indent="0">
              <a:spcAft>
                <a:spcPts val="600"/>
              </a:spcAft>
              <a:buNone/>
              <a:defRPr lang="en-US" sz="1600" kern="1200">
                <a:solidFill>
                  <a:schemeClr val="tx1"/>
                </a:solidFill>
                <a:latin typeface="+mn-lt"/>
                <a:ea typeface="+mn-ea"/>
                <a:cs typeface="+mn-cs"/>
              </a:defRPr>
            </a:lvl2pPr>
            <a:lvl3pPr marL="285750" indent="-285750">
              <a:spcAft>
                <a:spcPts val="600"/>
              </a:spcAft>
              <a:defRPr lang="en-US" sz="1600" kern="1200">
                <a:solidFill>
                  <a:schemeClr val="tx1"/>
                </a:solidFill>
                <a:latin typeface="+mn-lt"/>
                <a:ea typeface="+mn-ea"/>
                <a:cs typeface="+mn-cs"/>
              </a:defRPr>
            </a:lvl3pPr>
            <a:lvl4pPr>
              <a:spcAft>
                <a:spcPct val="0"/>
              </a:spcAft>
              <a:defRPr sz="1800"/>
            </a:lvl4pPr>
            <a:lvl5pPr>
              <a:spcAft>
                <a:spcPct val="0"/>
              </a:spcAft>
              <a:defRPr sz="1800"/>
            </a:lvl5pPr>
          </a:lstStyle>
          <a:p>
            <a:pPr marL="228600" lvl="0" indent="-228600" algn="l" defTabSz="914400" rtl="0" eaLnBrk="1" latinLnBrk="0" hangingPunct="1">
              <a:lnSpc>
                <a:spcPct val="100000"/>
              </a:lnSpc>
              <a:spcBef>
                <a:spcPct val="0"/>
              </a:spcBef>
              <a:spcAft>
                <a:spcPts val="600"/>
              </a:spcAft>
            </a:pPr>
            <a:r>
              <a:rPr lang="en-US"/>
              <a:t>Stat headline</a:t>
            </a:r>
          </a:p>
          <a:p>
            <a:pPr marL="285750" lvl="1" indent="-285750" algn="l" defTabSz="914400" rtl="0" eaLnBrk="1" latinLnBrk="0" hangingPunct="1">
              <a:lnSpc>
                <a:spcPct val="100000"/>
              </a:lnSpc>
              <a:spcBef>
                <a:spcPct val="0"/>
              </a:spcBef>
              <a:spcAft>
                <a:spcPct val="0"/>
              </a:spcAft>
            </a:pPr>
            <a:r>
              <a:rPr lang="en-US"/>
              <a:t>Stat details</a:t>
            </a:r>
          </a:p>
          <a:p>
            <a:pPr marL="228600" lvl="2" indent="-228600" algn="l" defTabSz="914400" rtl="0" eaLnBrk="1" latinLnBrk="0" hangingPunct="1">
              <a:lnSpc>
                <a:spcPct val="100000"/>
              </a:lnSpc>
              <a:spcBef>
                <a:spcPct val="0"/>
              </a:spcBef>
              <a:spcAft>
                <a:spcPct val="0"/>
              </a:spcAft>
              <a:buFont typeface="Arial" panose="020b0604020202020204" pitchFamily="34" charset="0"/>
              <a:buChar char="•"/>
            </a:pPr>
            <a:r>
              <a:rPr lang="en-US"/>
              <a:t>Bullet poin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ct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smtClean="0">
                <a:solidFill>
                  <a:schemeClr val="bg1"/>
                </a:solidFill>
                <a:latin typeface="+mn-lt"/>
                <a:ea typeface="+mn-ea"/>
                <a:cs typeface="+mn-cs"/>
              </a:defRPr>
            </a:lvl1pPr>
            <a:lvl2pPr marL="0" indent="0">
              <a:spcAft>
                <a:spcPts val="600"/>
              </a:spcAft>
              <a:buNone/>
              <a:defRPr lang="en-US" sz="1600" kern="1200">
                <a:solidFill>
                  <a:schemeClr val="bg1"/>
                </a:solidFill>
                <a:latin typeface="+mn-lt"/>
                <a:ea typeface="+mn-ea"/>
                <a:cs typeface="+mn-cs"/>
              </a:defRPr>
            </a:lvl2pPr>
            <a:lvl3pPr marL="285750" indent="-285750">
              <a:spcAft>
                <a:spcPts val="600"/>
              </a:spcAft>
              <a:defRPr lang="en-US" sz="1600" kern="1200">
                <a:solidFill>
                  <a:schemeClr val="bg1"/>
                </a:solidFill>
                <a:latin typeface="+mn-lt"/>
                <a:ea typeface="+mn-ea"/>
                <a:cs typeface="+mn-cs"/>
              </a:defRPr>
            </a:lvl3pPr>
            <a:lvl4pPr>
              <a:spcAft>
                <a:spcPct val="0"/>
              </a:spcAft>
              <a:defRPr sz="1800"/>
            </a:lvl4pPr>
            <a:lvl5pPr>
              <a:spcAft>
                <a:spcPct val="0"/>
              </a:spcAft>
              <a:defRPr sz="1800"/>
            </a:lvl5pPr>
          </a:lstStyle>
          <a:p>
            <a:pPr marL="228600" lvl="0" indent="-228600" algn="l" defTabSz="914400" rtl="0" eaLnBrk="1" latinLnBrk="0" hangingPunct="1">
              <a:lnSpc>
                <a:spcPct val="100000"/>
              </a:lnSpc>
              <a:spcBef>
                <a:spcPct val="0"/>
              </a:spcBef>
              <a:spcAft>
                <a:spcPts val="600"/>
              </a:spcAft>
            </a:pPr>
            <a:r>
              <a:rPr lang="en-US"/>
              <a:t>Stat headline</a:t>
            </a:r>
          </a:p>
          <a:p>
            <a:pPr marL="285750" lvl="1" indent="-285750" algn="l" defTabSz="914400" rtl="0" eaLnBrk="1" latinLnBrk="0" hangingPunct="1">
              <a:lnSpc>
                <a:spcPct val="100000"/>
              </a:lnSpc>
              <a:spcBef>
                <a:spcPct val="0"/>
              </a:spcBef>
              <a:spcAft>
                <a:spcPct val="0"/>
              </a:spcAft>
            </a:pPr>
            <a:r>
              <a:rPr lang="en-US"/>
              <a:t>Stat details</a:t>
            </a:r>
          </a:p>
          <a:p>
            <a:pPr marL="228600" lvl="2" indent="-228600" algn="l" defTabSz="914400" rtl="0" eaLnBrk="1" latinLnBrk="0" hangingPunct="1">
              <a:lnSpc>
                <a:spcPct val="100000"/>
              </a:lnSpc>
              <a:spcBef>
                <a:spcPct val="0"/>
              </a:spcBef>
              <a:spcAft>
                <a:spcPct val="0"/>
              </a:spcAft>
              <a:buFont typeface="Arial" panose="020b0604020202020204" pitchFamily="34" charset="0"/>
              <a:buChar char="•"/>
            </a:pPr>
            <a:r>
              <a:rPr lang="en-US"/>
              <a:t>Bullet poin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ct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6"/>
            <a:ext cx="2285995" cy="1284879"/>
          </a:xfrm>
        </p:spPr>
        <p:txBody>
          <a:bodyPr/>
          <a:lstStyle>
            <a:lvl1pPr marL="0" indent="0">
              <a:spcAft>
                <a:spcPts val="600"/>
              </a:spcAft>
              <a:buNone/>
              <a:defRPr lang="en-US" sz="2000" b="1" kern="1200" smtClean="0">
                <a:solidFill>
                  <a:schemeClr val="tx1"/>
                </a:solidFill>
                <a:latin typeface="+mn-lt"/>
                <a:ea typeface="+mn-ea"/>
                <a:cs typeface="+mn-cs"/>
              </a:defRPr>
            </a:lvl1pPr>
            <a:lvl2pPr marL="0" indent="0">
              <a:spcAft>
                <a:spcPts val="600"/>
              </a:spcAft>
              <a:buNone/>
              <a:defRPr lang="en-US" sz="1600" kern="1200">
                <a:solidFill>
                  <a:schemeClr val="tx1"/>
                </a:solidFill>
                <a:latin typeface="+mn-lt"/>
                <a:ea typeface="+mn-ea"/>
                <a:cs typeface="+mn-cs"/>
              </a:defRPr>
            </a:lvl2pPr>
            <a:lvl3pPr marL="285750" indent="-285750">
              <a:spcAft>
                <a:spcPts val="600"/>
              </a:spcAft>
              <a:defRPr lang="en-US" sz="1600" kern="1200">
                <a:solidFill>
                  <a:schemeClr val="tx1"/>
                </a:solidFill>
                <a:latin typeface="+mn-lt"/>
                <a:ea typeface="+mn-ea"/>
                <a:cs typeface="+mn-cs"/>
              </a:defRPr>
            </a:lvl3pPr>
            <a:lvl4pPr>
              <a:spcAft>
                <a:spcPct val="0"/>
              </a:spcAft>
              <a:defRPr sz="1800"/>
            </a:lvl4pPr>
            <a:lvl5pPr>
              <a:spcAft>
                <a:spcPct val="0"/>
              </a:spcAft>
              <a:defRPr sz="1800"/>
            </a:lvl5pPr>
          </a:lstStyle>
          <a:p>
            <a:pPr marL="228600" lvl="0" indent="-228600" algn="l" defTabSz="914400" rtl="0" eaLnBrk="1" latinLnBrk="0" hangingPunct="1">
              <a:lnSpc>
                <a:spcPct val="100000"/>
              </a:lnSpc>
              <a:spcBef>
                <a:spcPct val="0"/>
              </a:spcBef>
              <a:spcAft>
                <a:spcPts val="600"/>
              </a:spcAft>
            </a:pPr>
            <a:r>
              <a:rPr lang="en-US"/>
              <a:t>Stat headline</a:t>
            </a:r>
          </a:p>
          <a:p>
            <a:pPr marL="285750" lvl="1" indent="-285750" algn="l" defTabSz="914400" rtl="0" eaLnBrk="1" latinLnBrk="0" hangingPunct="1">
              <a:lnSpc>
                <a:spcPct val="100000"/>
              </a:lnSpc>
              <a:spcBef>
                <a:spcPct val="0"/>
              </a:spcBef>
              <a:spcAft>
                <a:spcPct val="0"/>
              </a:spcAft>
            </a:pPr>
            <a:r>
              <a:rPr lang="en-US"/>
              <a:t>Stat details</a:t>
            </a:r>
          </a:p>
          <a:p>
            <a:pPr marL="228600" lvl="2" indent="-228600" algn="l" defTabSz="914400" rtl="0" eaLnBrk="1" latinLnBrk="0" hangingPunct="1">
              <a:lnSpc>
                <a:spcPct val="100000"/>
              </a:lnSpc>
              <a:spcBef>
                <a:spcPct val="0"/>
              </a:spcBef>
              <a:spcAft>
                <a:spcPct val="0"/>
              </a:spcAft>
              <a:buFont typeface="Arial" panose="020b0604020202020204" pitchFamily="34" charset="0"/>
              <a:buChar char="•"/>
            </a:pPr>
            <a:r>
              <a:rPr lang="en-US"/>
              <a:t>Bullet poin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a:xfrm>
            <a:off x="0" y="3155942"/>
            <a:ext cx="3048000" cy="3155958"/>
          </a:xfrm>
          <a:solidFill>
            <a:schemeClr val="bg2"/>
          </a:solidFill>
        </p:spPr>
        <p:txBody>
          <a:bodyPr vert="horz" lIns="0" tIns="0" rIns="0" bIns="0" rtlCol="0" anchor="ctr">
            <a:noAutofit/>
          </a:bodyPr>
          <a:lstStyle>
            <a:lvl1pPr marL="0" indent="0" algn="ctr">
              <a:buNone/>
              <a:defRPr lang="en-US" sz="1400"/>
            </a:lvl1pPr>
          </a:lstStyle>
          <a:p>
            <a:pPr marL="228600" lvl="0" indent="-228600" algn="ctr"/>
            <a:r>
              <a:rPr lang="en-GB"/>
              <a:t>Add image here</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ct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284879"/>
          </a:xfrm>
        </p:spPr>
        <p:txBody>
          <a:bodyPr/>
          <a:lstStyle>
            <a:lvl1pPr marL="0" indent="0">
              <a:spcAft>
                <a:spcPts val="600"/>
              </a:spcAft>
              <a:buNone/>
              <a:defRPr lang="en-US" sz="2000" b="1" kern="1200" smtClean="0">
                <a:solidFill>
                  <a:schemeClr val="tx1"/>
                </a:solidFill>
                <a:latin typeface="+mn-lt"/>
                <a:ea typeface="+mn-ea"/>
                <a:cs typeface="+mn-cs"/>
              </a:defRPr>
            </a:lvl1pPr>
            <a:lvl2pPr marL="0" indent="0">
              <a:spcAft>
                <a:spcPts val="600"/>
              </a:spcAft>
              <a:buNone/>
              <a:defRPr lang="en-US" sz="1600" kern="1200">
                <a:solidFill>
                  <a:schemeClr val="tx1"/>
                </a:solidFill>
                <a:latin typeface="+mn-lt"/>
                <a:ea typeface="+mn-ea"/>
                <a:cs typeface="+mn-cs"/>
              </a:defRPr>
            </a:lvl2pPr>
            <a:lvl3pPr marL="285750" indent="-285750">
              <a:spcAft>
                <a:spcPts val="600"/>
              </a:spcAft>
              <a:defRPr lang="en-US" sz="1600" kern="1200">
                <a:solidFill>
                  <a:schemeClr val="tx1"/>
                </a:solidFill>
                <a:latin typeface="+mn-lt"/>
                <a:ea typeface="+mn-ea"/>
                <a:cs typeface="+mn-cs"/>
              </a:defRPr>
            </a:lvl3pPr>
            <a:lvl4pPr>
              <a:spcAft>
                <a:spcPct val="0"/>
              </a:spcAft>
              <a:defRPr sz="1800"/>
            </a:lvl4pPr>
            <a:lvl5pPr>
              <a:spcAft>
                <a:spcPct val="0"/>
              </a:spcAft>
              <a:defRPr sz="1800"/>
            </a:lvl5pPr>
          </a:lstStyle>
          <a:p>
            <a:pPr marL="228600" lvl="0" indent="-228600" algn="l" defTabSz="914400" rtl="0" eaLnBrk="1" latinLnBrk="0" hangingPunct="1">
              <a:lnSpc>
                <a:spcPct val="100000"/>
              </a:lnSpc>
              <a:spcBef>
                <a:spcPct val="0"/>
              </a:spcBef>
              <a:spcAft>
                <a:spcPts val="600"/>
              </a:spcAft>
            </a:pPr>
            <a:r>
              <a:rPr lang="en-US"/>
              <a:t>Stat headline</a:t>
            </a:r>
          </a:p>
          <a:p>
            <a:pPr marL="285750" lvl="1" indent="-285750" algn="l" defTabSz="914400" rtl="0" eaLnBrk="1" latinLnBrk="0" hangingPunct="1">
              <a:lnSpc>
                <a:spcPct val="100000"/>
              </a:lnSpc>
              <a:spcBef>
                <a:spcPct val="0"/>
              </a:spcBef>
              <a:spcAft>
                <a:spcPct val="0"/>
              </a:spcAft>
            </a:pPr>
            <a:r>
              <a:rPr lang="en-US"/>
              <a:t>Stat details</a:t>
            </a:r>
          </a:p>
          <a:p>
            <a:pPr marL="228600" lvl="2" indent="-228600" algn="l" defTabSz="914400" rtl="0" eaLnBrk="1" latinLnBrk="0" hangingPunct="1">
              <a:lnSpc>
                <a:spcPct val="100000"/>
              </a:lnSpc>
              <a:spcBef>
                <a:spcPct val="0"/>
              </a:spcBef>
              <a:spcAft>
                <a:spcPct val="0"/>
              </a:spcAft>
              <a:buFont typeface="Arial" panose="020b0604020202020204" pitchFamily="34" charset="0"/>
              <a:buChar char="•"/>
            </a:pPr>
            <a:r>
              <a:rPr lang="en-US"/>
              <a:t>Bullet point</a:t>
            </a:r>
          </a:p>
        </p:txBody>
      </p:sp>
      <p:sp>
        <p:nvSpPr>
          <p:cNvPr id="11" name="Graphic 4">
            <a:extLst>
              <a:ext uri="{FF2B5EF4-FFF2-40B4-BE49-F238E27FC236}">
                <a16:creationId xmlns:a16="http://schemas.microsoft.com/office/drawing/2014/main" id="{2823ABF6-DA1C-4C36-B01C-57A2B31166E8}"/>
              </a:ext>
            </a:extLst>
          </p:cNvPr>
          <p:cNvSpPr>
            <a:spLocks noChangeAspect="1"/>
          </p:cNvSpPr>
          <p:nvPr userDrawn="1"/>
        </p:nvSpPr>
        <p:spPr>
          <a:xfrm>
            <a:off x="381000" y="6483349"/>
            <a:ext cx="192024" cy="203202"/>
          </a:xfrm>
          <a:custGeom>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ct val="0"/>
              </a:spcAft>
              <a:buClrTx/>
              <a:buSzTx/>
              <a:buFontTx/>
              <a:buNone/>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 name="TextBox 1">
            <a:extLst>
              <a:ext uri="{FF2B5EF4-FFF2-40B4-BE49-F238E27FC236}">
                <a16:creationId xmlns:a16="http://schemas.microsoft.com/office/drawing/2014/main" id="{37D52323-3645-4D54-A333-3E2D3D1E3ED3}"/>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ct val="0"/>
              </a:spcBef>
              <a:spcAft>
                <a:spcPts val="1200"/>
              </a:spcAft>
              <a:buClrTx/>
              <a:buSzTx/>
              <a:buFontTx/>
              <a:buNone/>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3" name="TextBox 2">
            <a:extLst>
              <a:ext uri="{FF2B5EF4-FFF2-40B4-BE49-F238E27FC236}">
                <a16:creationId xmlns:a16="http://schemas.microsoft.com/office/drawing/2014/main" id="{9CC17CEB-6634-4DFE-841E-12DDA90C7C5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ct val="0"/>
              </a:spcBef>
              <a:spcAft>
                <a:spcPts val="1200"/>
              </a:spcAft>
              <a:buClrTx/>
              <a:buSzTx/>
              <a:buFontTx/>
              <a:buNone/>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Tree>
    <p:extLst>
      <p:ext uri="{BB962C8B-B14F-4D97-AF65-F5344CB8AC3E}">
        <p14:creationId xmlns:p14="http://schemas.microsoft.com/office/powerpoint/2010/main" val="106434870"/>
      </p:ext>
    </p:extLst>
  </p:cSld>
  <p:clrMapOvr>
    <a:overrideClrMapping bg1="lt1" tx1="dk1" bg2="lt2" tx2="dk2" accent1="accent1" accent2="accent2" accent3="accent3" accent4="accent4" accent5="accent5" accent6="accent6" hlink="hlink" folHlink="folHlink"/>
  </p:clrMapOvr>
  <p:transition/>
  <p:timing/>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ct val="0"/>
              </a:spcBef>
              <a:spcAft>
                <a:spcPts val="1200"/>
              </a:spcAft>
              <a:buClrTx/>
              <a:buSzTx/>
              <a:buFontTx/>
              <a:buNone/>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ct val="0"/>
              </a:spcBef>
              <a:spcAft>
                <a:spcPts val="1200"/>
              </a:spcAft>
              <a:buClrTx/>
              <a:buSzTx/>
              <a:buFontTx/>
              <a:buNone/>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ct val="0"/>
                </a:spcBef>
                <a:spcAft>
                  <a:spcPts val="1200"/>
                </a:spcAft>
                <a:buClrTx/>
                <a:buSzTx/>
                <a:buFontTx/>
                <a:buNone/>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1932753812"/>
      </p:ext>
    </p:extLst>
  </p:cSld>
  <p:clrMapOvr>
    <a:overrideClrMapping bg1="dk1" tx1="lt1" bg2="dk2" tx2="lt2" accent1="accent1" accent2="accent2" accent3="accent3" accent4="accent4" accent5="accent5" accent6="accent6" hlink="hlink" folHlink="folHlink"/>
  </p:clrMapOvr>
  <p:transition/>
  <p:timing/>
</p:sldLayout>
</file>

<file path=ppt/slideLayouts/slideLayout26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ct val="0"/>
              </a:spcBef>
              <a:spcAft>
                <a:spcPts val="1200"/>
              </a:spcAft>
              <a:buClrTx/>
              <a:buSzTx/>
              <a:buFontTx/>
              <a:buNone/>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ct val="0"/>
              </a:spcBef>
              <a:spcAft>
                <a:spcPts val="1200"/>
              </a:spcAft>
              <a:buClrTx/>
              <a:buSzTx/>
              <a:buFontTx/>
              <a:buNone/>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ct val="0"/>
                </a:spcBef>
                <a:spcAft>
                  <a:spcPts val="1200"/>
                </a:spcAft>
                <a:buClrTx/>
                <a:buSzTx/>
                <a:buFontTx/>
                <a:buNone/>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346569933"/>
      </p:ext>
    </p:extLst>
  </p:cSld>
  <p:clrMapOvr>
    <a:overrideClrMapping bg1="dk1" tx1="lt1" bg2="dk2" tx2="lt2" accent1="accent1" accent2="accent2" accent3="accent3" accent4="accent4" accent5="accent5" accent6="accent6" hlink="hlink" folHlink="folHlink"/>
  </p:clrMapOvr>
  <p:transition/>
  <p:timing/>
</p:sldLayout>
</file>

<file path=ppt/slideLayouts/slideLayout26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a:t>
            </a:r>
          </a:p>
        </p:txBody>
      </p:sp>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ct val="0"/>
              </a:spcBef>
              <a:spcAft>
                <a:spcPts val="1200"/>
              </a:spcAft>
              <a:buClrTx/>
              <a:buSzTx/>
              <a:buFontTx/>
              <a:buNone/>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13923746"/>
      </p:ext>
    </p:extLst>
  </p:cSld>
  <p:clrMapOvr>
    <a:overrideClrMapping bg1="dk1" tx1="lt1" bg2="dk2" tx2="lt2" accent1="accent1" accent2="accent2" accent3="accent3" accent4="accent4" accent5="accent5" accent6="accent6" hlink="hlink" folHlink="folHlink"/>
  </p:clrMapOvr>
  <p:transition/>
  <p:timing/>
</p:sldLayout>
</file>

<file path=ppt/slideLayouts/slideLayout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blank">
  <p:cSld name="Blank">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425404F2-BE9A-4460-8815-8F645183555F}" type="datetimeFigureOut">
              <a:rPr lang="en-US" smtClean="0"/>
              <a:t>9/27/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E69268-9C8B-4EBF-A9EE-DC5DC2D48DC3}" type="slidenum">
              <a:rPr lang="en-US" smtClean="0"/>
              <a:t>‹#›</a:t>
            </a:fld>
            <a:endParaRPr lang="en-US"/>
          </a:p>
        </p:txBody>
      </p:sp>
    </p:spTree>
    <p:extLst>
      <p:ext uri="{BB962C8B-B14F-4D97-AF65-F5344CB8AC3E}">
        <p14:creationId xmlns:p14="http://schemas.microsoft.com/office/powerpoint/2010/main" val="3311148066"/>
      </p:ext>
    </p:extLst>
  </p:cSld>
  <p:clrMapOvr>
    <a:masterClrMapping/>
  </p:clrMapOvr>
  <p:transition/>
  <p:timing/>
</p:sldLayout>
</file>

<file path=ppt/slideLayouts/slideLayout27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 Light">
    <p:spTree>
      <p:nvGrpSpPr>
        <p:cNvPr id="1" name=""/>
        <p:cNvGrpSpPr/>
        <p:nvPr/>
      </p:nvGrpSpPr>
      <p:grpSpPr>
        <a:xfrm>
          <a:off x="0" y="0"/>
          <a: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Tree>
    <p:extLst>
      <p:ext uri="{BB962C8B-B14F-4D97-AF65-F5344CB8AC3E}">
        <p14:creationId xmlns:p14="http://schemas.microsoft.com/office/powerpoint/2010/main" val="3171626358"/>
      </p:ext>
    </p:extLst>
  </p:cSld>
  <p:clrMapOvr>
    <a:masterClrMapping/>
  </p:clrMapOvr>
  <p:transition/>
  <p:timing/>
</p:sldLayout>
</file>

<file path=ppt/slideLayouts/slideLayout27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Guide - Icon Library">
    <p:spTree>
      <p:nvGrpSpPr>
        <p:cNvPr id="1" name=""/>
        <p:cNvGrpSpPr/>
        <p:nvPr/>
      </p:nvGrpSpPr>
      <p:grpSpPr>
        <a:xfrm>
          <a:off x="0" y="0"/>
          <a:ext cx="0" cy="0"/>
        </a:xfrm>
      </p:grpSpPr>
      <p:sp>
        <p:nvSpPr>
          <p:cNvPr id="9" name="Title 1">
            <a:extLst>
              <a:ext uri="{FF2B5EF4-FFF2-40B4-BE49-F238E27FC236}">
                <a16:creationId xmlns:a16="http://schemas.microsoft.com/office/drawing/2014/main" id="{7CECD371-7C06-488E-AA23-EB47BBF733D9}"/>
              </a:ext>
            </a:extLst>
          </p:cNvPr>
          <p:cNvSpPr txBox="1"/>
          <p:nvPr userDrawn="1"/>
        </p:nvSpPr>
        <p:spPr>
          <a:xfrm>
            <a:off x="381000" y="381000"/>
            <a:ext cx="11430000" cy="9144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noProof="0"/>
              <a:t>Iconography: Monoline</a:t>
            </a:r>
          </a:p>
        </p:txBody>
      </p:sp>
      <p:sp>
        <p:nvSpPr>
          <p:cNvPr id="2" name="TextBox 1">
            <a:extLst>
              <a:ext uri="{FF2B5EF4-FFF2-40B4-BE49-F238E27FC236}">
                <a16:creationId xmlns:a16="http://schemas.microsoft.com/office/drawing/2014/main" id="{AF966297-1DCC-45B0-9DA7-3CE9DE25D2DF}"/>
              </a:ext>
            </a:extLst>
          </p:cNvPr>
          <p:cNvSpPr txBox="1"/>
          <p:nvPr userDrawn="1"/>
        </p:nvSpPr>
        <p:spPr>
          <a:xfrm>
            <a:off x="380999" y="927847"/>
            <a:ext cx="11429981" cy="500243"/>
          </a:xfrm>
          <a:prstGeom prst="rect">
            <a:avLst/>
          </a:prstGeom>
          <a:noFill/>
        </p:spPr>
        <p:txBody>
          <a:bodyPr wrap="square" lIns="0" tIns="0" rIns="0" bIns="0" rtlCol="0">
            <a:noAutofit/>
          </a:bodyPr>
          <a:lstStyle/>
          <a:p>
            <a:pPr defTabSz="228600">
              <a:spcAft>
                <a:spcPts val="1200"/>
              </a:spcAft>
            </a:pPr>
            <a:r>
              <a:rPr lang="en-GB" sz="1600"/>
              <a:t>Our expansive asset library including fonts, photography, iconography and custom slides are available </a:t>
            </a:r>
            <a:r>
              <a:rPr lang="en-GB" sz="1600">
                <a:solidFill>
                  <a:schemeClr val="accent1"/>
                </a:solidFill>
              </a:rPr>
              <a:t>[here &lt;link&gt;]</a:t>
            </a:r>
            <a:r>
              <a:rPr lang="en-GB" sz="1600"/>
              <a:t>. Contact </a:t>
            </a:r>
            <a:r>
              <a:rPr kumimoji="0" lang="en-GB" sz="1600" b="0" i="0" u="none" strike="noStrike" kern="1200" cap="none" spc="0" normalizeH="0" baseline="0" noProof="0">
                <a:ln>
                  <a:noFill/>
                </a:ln>
                <a:solidFill>
                  <a:srgbClr val="A100FF"/>
                </a:solidFill>
                <a:effectLst/>
                <a:uLnTx/>
                <a:uFillTx/>
                <a:latin typeface="Graphik"/>
                <a:ea typeface="+mn-ea"/>
                <a:cs typeface="+mn-cs"/>
                <a:hlinkClick r:id="rId1"/>
              </a:rPr>
              <a:t>Amy.Ritz@Accenture.com</a:t>
            </a:r>
            <a:r>
              <a:rPr kumimoji="0" lang="en-GB" sz="1600" b="0" i="0" u="none" strike="noStrike" kern="1200" cap="none" spc="0" normalizeH="0" baseline="0" noProof="0">
                <a:ln>
                  <a:noFill/>
                </a:ln>
                <a:solidFill>
                  <a:srgbClr val="A100FF"/>
                </a:solidFill>
                <a:effectLst/>
                <a:uLnTx/>
                <a:uFillTx/>
                <a:latin typeface="Graphik"/>
                <a:ea typeface="+mn-ea"/>
                <a:cs typeface="+mn-cs"/>
              </a:rPr>
              <a:t> </a:t>
            </a:r>
            <a:r>
              <a:rPr lang="en-GB" sz="1600"/>
              <a:t>for further information. Access the icons below through </a:t>
            </a:r>
            <a:r>
              <a:rPr lang="en-GB" sz="1600" b="1">
                <a:solidFill>
                  <a:schemeClr val="accent1"/>
                </a:solidFill>
              </a:rPr>
              <a:t>View &gt; Slide Master</a:t>
            </a:r>
            <a:r>
              <a:rPr lang="en-GB" sz="1600"/>
              <a:t>.</a:t>
            </a:r>
          </a:p>
        </p:txBody>
      </p:sp>
      <p:sp>
        <p:nvSpPr>
          <p:cNvPr id="4" name="Freeform 127">
            <a:extLst>
              <a:ext uri="{FF2B5EF4-FFF2-40B4-BE49-F238E27FC236}">
                <a16:creationId xmlns:a16="http://schemas.microsoft.com/office/drawing/2014/main" id="{80F51A57-4DBA-FA4F-916F-88328E5E0137}"/>
              </a:ext>
            </a:extLst>
          </p:cNvPr>
          <p:cNvSpPr>
            <a:spLocks noEditPoints="1"/>
          </p:cNvSpPr>
          <p:nvPr userDrawn="1"/>
        </p:nvSpPr>
        <p:spPr bwMode="auto">
          <a:xfrm>
            <a:off x="767063" y="1981658"/>
            <a:ext cx="513948" cy="396598"/>
          </a:xfrm>
          <a:custGeom>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32" name="Group 31">
            <a:extLst>
              <a:ext uri="{FF2B5EF4-FFF2-40B4-BE49-F238E27FC236}">
                <a16:creationId xmlns:a16="http://schemas.microsoft.com/office/drawing/2014/main" id="{DE8D8CA6-2132-3B4A-BC60-9F91E4B1458B}"/>
              </a:ext>
            </a:extLst>
          </p:cNvPr>
          <p:cNvGrpSpPr/>
          <p:nvPr userDrawn="1"/>
        </p:nvGrpSpPr>
        <p:grpSpPr>
          <a:xfrm>
            <a:off x="380999" y="1577830"/>
            <a:ext cx="11429980" cy="4734070"/>
            <a:chOff x="380999" y="1577845"/>
            <a:chExt cx="11520823" cy="5122866"/>
          </a:xfrm>
          <a:noFill/>
        </p:grpSpPr>
        <p:sp>
          <p:nvSpPr>
            <p:cNvPr id="3" name="Rectangle 2">
              <a:extLst>
                <a:ext uri="{FF2B5EF4-FFF2-40B4-BE49-F238E27FC236}">
                  <a16:creationId xmlns:a16="http://schemas.microsoft.com/office/drawing/2014/main" id="{6AE293C8-14C3-874B-8890-DD874D9F5187}"/>
                </a:ext>
              </a:extLst>
            </p:cNvPr>
            <p:cNvSpPr/>
            <p:nvPr userDrawn="1"/>
          </p:nvSpPr>
          <p:spPr>
            <a:xfrm>
              <a:off x="380999"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1" name="Rectangle 10">
              <a:extLst>
                <a:ext uri="{FF2B5EF4-FFF2-40B4-BE49-F238E27FC236}">
                  <a16:creationId xmlns:a16="http://schemas.microsoft.com/office/drawing/2014/main" id="{5956D8B7-72A3-4147-AD60-AFE0126E0C59}"/>
                </a:ext>
              </a:extLst>
            </p:cNvPr>
            <p:cNvSpPr/>
            <p:nvPr userDrawn="1"/>
          </p:nvSpPr>
          <p:spPr>
            <a:xfrm>
              <a:off x="166171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2" name="Rectangle 11">
              <a:extLst>
                <a:ext uri="{FF2B5EF4-FFF2-40B4-BE49-F238E27FC236}">
                  <a16:creationId xmlns:a16="http://schemas.microsoft.com/office/drawing/2014/main" id="{088FFDCF-08AC-A745-A14B-1FB83D20EF87}"/>
                </a:ext>
              </a:extLst>
            </p:cNvPr>
            <p:cNvSpPr/>
            <p:nvPr userDrawn="1"/>
          </p:nvSpPr>
          <p:spPr>
            <a:xfrm>
              <a:off x="294243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3" name="Rectangle 12">
              <a:extLst>
                <a:ext uri="{FF2B5EF4-FFF2-40B4-BE49-F238E27FC236}">
                  <a16:creationId xmlns:a16="http://schemas.microsoft.com/office/drawing/2014/main" id="{02B6DE6F-DAF8-E246-AB81-6B639342348F}"/>
                </a:ext>
              </a:extLst>
            </p:cNvPr>
            <p:cNvSpPr/>
            <p:nvPr userDrawn="1"/>
          </p:nvSpPr>
          <p:spPr>
            <a:xfrm>
              <a:off x="422314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4" name="Rectangle 13">
              <a:extLst>
                <a:ext uri="{FF2B5EF4-FFF2-40B4-BE49-F238E27FC236}">
                  <a16:creationId xmlns:a16="http://schemas.microsoft.com/office/drawing/2014/main" id="{23841CF2-263C-B04E-9960-36397C49999B}"/>
                </a:ext>
              </a:extLst>
            </p:cNvPr>
            <p:cNvSpPr/>
            <p:nvPr userDrawn="1"/>
          </p:nvSpPr>
          <p:spPr>
            <a:xfrm>
              <a:off x="550386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2" name="Rectangle 21">
              <a:extLst>
                <a:ext uri="{FF2B5EF4-FFF2-40B4-BE49-F238E27FC236}">
                  <a16:creationId xmlns:a16="http://schemas.microsoft.com/office/drawing/2014/main" id="{82987178-6410-AF4D-A95C-0F3F1BDEE23D}"/>
                </a:ext>
              </a:extLst>
            </p:cNvPr>
            <p:cNvSpPr/>
            <p:nvPr userDrawn="1"/>
          </p:nvSpPr>
          <p:spPr>
            <a:xfrm>
              <a:off x="380999"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3" name="Rectangle 22">
              <a:extLst>
                <a:ext uri="{FF2B5EF4-FFF2-40B4-BE49-F238E27FC236}">
                  <a16:creationId xmlns:a16="http://schemas.microsoft.com/office/drawing/2014/main" id="{2970435B-0CE9-444F-B4A6-D7E0FE1E8098}"/>
                </a:ext>
              </a:extLst>
            </p:cNvPr>
            <p:cNvSpPr/>
            <p:nvPr userDrawn="1"/>
          </p:nvSpPr>
          <p:spPr>
            <a:xfrm>
              <a:off x="166171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4" name="Rectangle 23">
              <a:extLst>
                <a:ext uri="{FF2B5EF4-FFF2-40B4-BE49-F238E27FC236}">
                  <a16:creationId xmlns:a16="http://schemas.microsoft.com/office/drawing/2014/main" id="{D637EA29-2A06-9242-B2F2-EA7F43329956}"/>
                </a:ext>
              </a:extLst>
            </p:cNvPr>
            <p:cNvSpPr/>
            <p:nvPr userDrawn="1"/>
          </p:nvSpPr>
          <p:spPr>
            <a:xfrm>
              <a:off x="294243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5" name="Rectangle 24">
              <a:extLst>
                <a:ext uri="{FF2B5EF4-FFF2-40B4-BE49-F238E27FC236}">
                  <a16:creationId xmlns:a16="http://schemas.microsoft.com/office/drawing/2014/main" id="{EA48AEFC-712D-D044-81E5-6C1E41110759}"/>
                </a:ext>
              </a:extLst>
            </p:cNvPr>
            <p:cNvSpPr/>
            <p:nvPr userDrawn="1"/>
          </p:nvSpPr>
          <p:spPr>
            <a:xfrm>
              <a:off x="422314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6" name="Rectangle 25">
              <a:extLst>
                <a:ext uri="{FF2B5EF4-FFF2-40B4-BE49-F238E27FC236}">
                  <a16:creationId xmlns:a16="http://schemas.microsoft.com/office/drawing/2014/main" id="{A7CBE003-D5E8-864C-98FA-9796248CE2AC}"/>
                </a:ext>
              </a:extLst>
            </p:cNvPr>
            <p:cNvSpPr/>
            <p:nvPr userDrawn="1"/>
          </p:nvSpPr>
          <p:spPr>
            <a:xfrm>
              <a:off x="550386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7" name="Rectangle 26">
              <a:extLst>
                <a:ext uri="{FF2B5EF4-FFF2-40B4-BE49-F238E27FC236}">
                  <a16:creationId xmlns:a16="http://schemas.microsoft.com/office/drawing/2014/main" id="{BADE82A5-95E4-6C4B-B11D-D53B6705F30D}"/>
                </a:ext>
              </a:extLst>
            </p:cNvPr>
            <p:cNvSpPr/>
            <p:nvPr userDrawn="1"/>
          </p:nvSpPr>
          <p:spPr>
            <a:xfrm>
              <a:off x="380999"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8" name="Rectangle 27">
              <a:extLst>
                <a:ext uri="{FF2B5EF4-FFF2-40B4-BE49-F238E27FC236}">
                  <a16:creationId xmlns:a16="http://schemas.microsoft.com/office/drawing/2014/main" id="{6D3153DA-7E96-5A48-85FB-7AA1D84749D2}"/>
                </a:ext>
              </a:extLst>
            </p:cNvPr>
            <p:cNvSpPr/>
            <p:nvPr userDrawn="1"/>
          </p:nvSpPr>
          <p:spPr>
            <a:xfrm>
              <a:off x="166171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9" name="Rectangle 28">
              <a:extLst>
                <a:ext uri="{FF2B5EF4-FFF2-40B4-BE49-F238E27FC236}">
                  <a16:creationId xmlns:a16="http://schemas.microsoft.com/office/drawing/2014/main" id="{784E1B72-B1CA-DE40-964D-0211741FA050}"/>
                </a:ext>
              </a:extLst>
            </p:cNvPr>
            <p:cNvSpPr/>
            <p:nvPr userDrawn="1"/>
          </p:nvSpPr>
          <p:spPr>
            <a:xfrm>
              <a:off x="294243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0" name="Rectangle 29">
              <a:extLst>
                <a:ext uri="{FF2B5EF4-FFF2-40B4-BE49-F238E27FC236}">
                  <a16:creationId xmlns:a16="http://schemas.microsoft.com/office/drawing/2014/main" id="{0EDEA1F2-0336-5941-9F8D-A8F560A28115}"/>
                </a:ext>
              </a:extLst>
            </p:cNvPr>
            <p:cNvSpPr/>
            <p:nvPr userDrawn="1"/>
          </p:nvSpPr>
          <p:spPr>
            <a:xfrm>
              <a:off x="422314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1" name="Rectangle 30">
              <a:extLst>
                <a:ext uri="{FF2B5EF4-FFF2-40B4-BE49-F238E27FC236}">
                  <a16:creationId xmlns:a16="http://schemas.microsoft.com/office/drawing/2014/main" id="{C57AB087-9AA7-2D4E-A82A-605B50372D51}"/>
                </a:ext>
              </a:extLst>
            </p:cNvPr>
            <p:cNvSpPr/>
            <p:nvPr userDrawn="1"/>
          </p:nvSpPr>
          <p:spPr>
            <a:xfrm>
              <a:off x="550386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2" name="Rectangle 41">
              <a:extLst>
                <a:ext uri="{FF2B5EF4-FFF2-40B4-BE49-F238E27FC236}">
                  <a16:creationId xmlns:a16="http://schemas.microsoft.com/office/drawing/2014/main" id="{0F447629-D1B9-0546-851F-E0D5ED605B7A}"/>
                </a:ext>
              </a:extLst>
            </p:cNvPr>
            <p:cNvSpPr/>
            <p:nvPr userDrawn="1"/>
          </p:nvSpPr>
          <p:spPr>
            <a:xfrm>
              <a:off x="6784581"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3" name="Rectangle 42">
              <a:extLst>
                <a:ext uri="{FF2B5EF4-FFF2-40B4-BE49-F238E27FC236}">
                  <a16:creationId xmlns:a16="http://schemas.microsoft.com/office/drawing/2014/main" id="{FE9B1291-33A4-EE48-806C-B5D7A1613345}"/>
                </a:ext>
              </a:extLst>
            </p:cNvPr>
            <p:cNvSpPr/>
            <p:nvPr userDrawn="1"/>
          </p:nvSpPr>
          <p:spPr>
            <a:xfrm>
              <a:off x="6784581"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4" name="Rectangle 43">
              <a:extLst>
                <a:ext uri="{FF2B5EF4-FFF2-40B4-BE49-F238E27FC236}">
                  <a16:creationId xmlns:a16="http://schemas.microsoft.com/office/drawing/2014/main" id="{69CEBC75-F9B2-DF40-8FAB-B56A760AED4B}"/>
                </a:ext>
              </a:extLst>
            </p:cNvPr>
            <p:cNvSpPr/>
            <p:nvPr userDrawn="1"/>
          </p:nvSpPr>
          <p:spPr>
            <a:xfrm>
              <a:off x="6784581"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5" name="Rectangle 44">
              <a:extLst>
                <a:ext uri="{FF2B5EF4-FFF2-40B4-BE49-F238E27FC236}">
                  <a16:creationId xmlns:a16="http://schemas.microsoft.com/office/drawing/2014/main" id="{EE5FF759-951A-054F-9F4A-482FE7225052}"/>
                </a:ext>
              </a:extLst>
            </p:cNvPr>
            <p:cNvSpPr/>
            <p:nvPr userDrawn="1"/>
          </p:nvSpPr>
          <p:spPr>
            <a:xfrm>
              <a:off x="806529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6" name="Rectangle 45">
              <a:extLst>
                <a:ext uri="{FF2B5EF4-FFF2-40B4-BE49-F238E27FC236}">
                  <a16:creationId xmlns:a16="http://schemas.microsoft.com/office/drawing/2014/main" id="{90EB0590-F226-6748-B645-71C913F9B674}"/>
                </a:ext>
              </a:extLst>
            </p:cNvPr>
            <p:cNvSpPr/>
            <p:nvPr userDrawn="1"/>
          </p:nvSpPr>
          <p:spPr>
            <a:xfrm>
              <a:off x="806529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7" name="Rectangle 46">
              <a:extLst>
                <a:ext uri="{FF2B5EF4-FFF2-40B4-BE49-F238E27FC236}">
                  <a16:creationId xmlns:a16="http://schemas.microsoft.com/office/drawing/2014/main" id="{5D31B860-B762-A94B-B4E7-355AC4826289}"/>
                </a:ext>
              </a:extLst>
            </p:cNvPr>
            <p:cNvSpPr/>
            <p:nvPr userDrawn="1"/>
          </p:nvSpPr>
          <p:spPr>
            <a:xfrm>
              <a:off x="806529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8" name="Rectangle 47">
              <a:extLst>
                <a:ext uri="{FF2B5EF4-FFF2-40B4-BE49-F238E27FC236}">
                  <a16:creationId xmlns:a16="http://schemas.microsoft.com/office/drawing/2014/main" id="{982F9D60-F80B-2F4A-9903-3996F96A22C1}"/>
                </a:ext>
              </a:extLst>
            </p:cNvPr>
            <p:cNvSpPr/>
            <p:nvPr userDrawn="1"/>
          </p:nvSpPr>
          <p:spPr>
            <a:xfrm>
              <a:off x="380999" y="5419994"/>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9" name="Rectangle 48">
              <a:extLst>
                <a:ext uri="{FF2B5EF4-FFF2-40B4-BE49-F238E27FC236}">
                  <a16:creationId xmlns:a16="http://schemas.microsoft.com/office/drawing/2014/main" id="{69C6B9A7-FBBB-F541-A935-BD7AF34D2A23}"/>
                </a:ext>
              </a:extLst>
            </p:cNvPr>
            <p:cNvSpPr/>
            <p:nvPr userDrawn="1"/>
          </p:nvSpPr>
          <p:spPr>
            <a:xfrm>
              <a:off x="166171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0" name="Rectangle 49">
              <a:extLst>
                <a:ext uri="{FF2B5EF4-FFF2-40B4-BE49-F238E27FC236}">
                  <a16:creationId xmlns:a16="http://schemas.microsoft.com/office/drawing/2014/main" id="{D53EEC05-B7DA-1540-9D32-177152835D78}"/>
                </a:ext>
              </a:extLst>
            </p:cNvPr>
            <p:cNvSpPr/>
            <p:nvPr userDrawn="1"/>
          </p:nvSpPr>
          <p:spPr>
            <a:xfrm>
              <a:off x="294243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1" name="Rectangle 50">
              <a:extLst>
                <a:ext uri="{FF2B5EF4-FFF2-40B4-BE49-F238E27FC236}">
                  <a16:creationId xmlns:a16="http://schemas.microsoft.com/office/drawing/2014/main" id="{4FF87792-0038-E245-A756-AFA193BEC33C}"/>
                </a:ext>
              </a:extLst>
            </p:cNvPr>
            <p:cNvSpPr/>
            <p:nvPr userDrawn="1"/>
          </p:nvSpPr>
          <p:spPr>
            <a:xfrm>
              <a:off x="422314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2" name="Rectangle 51">
              <a:extLst>
                <a:ext uri="{FF2B5EF4-FFF2-40B4-BE49-F238E27FC236}">
                  <a16:creationId xmlns:a16="http://schemas.microsoft.com/office/drawing/2014/main" id="{563EA47D-7036-6149-BFDD-AE64B4F0440E}"/>
                </a:ext>
              </a:extLst>
            </p:cNvPr>
            <p:cNvSpPr/>
            <p:nvPr userDrawn="1"/>
          </p:nvSpPr>
          <p:spPr>
            <a:xfrm>
              <a:off x="550386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3" name="Rectangle 52">
              <a:extLst>
                <a:ext uri="{FF2B5EF4-FFF2-40B4-BE49-F238E27FC236}">
                  <a16:creationId xmlns:a16="http://schemas.microsoft.com/office/drawing/2014/main" id="{04CBC1BB-E618-4143-8102-0EE9DB6F72F6}"/>
                </a:ext>
              </a:extLst>
            </p:cNvPr>
            <p:cNvSpPr/>
            <p:nvPr userDrawn="1"/>
          </p:nvSpPr>
          <p:spPr>
            <a:xfrm>
              <a:off x="6784581"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4" name="Rectangle 53">
              <a:extLst>
                <a:ext uri="{FF2B5EF4-FFF2-40B4-BE49-F238E27FC236}">
                  <a16:creationId xmlns:a16="http://schemas.microsoft.com/office/drawing/2014/main" id="{16302F22-33DC-404D-B9F7-4999125BE1C0}"/>
                </a:ext>
              </a:extLst>
            </p:cNvPr>
            <p:cNvSpPr/>
            <p:nvPr userDrawn="1"/>
          </p:nvSpPr>
          <p:spPr>
            <a:xfrm>
              <a:off x="806529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5" name="Rectangle 54">
              <a:extLst>
                <a:ext uri="{FF2B5EF4-FFF2-40B4-BE49-F238E27FC236}">
                  <a16:creationId xmlns:a16="http://schemas.microsoft.com/office/drawing/2014/main" id="{63913E2F-D6C7-6E4C-AF84-F30990D1C5F1}"/>
                </a:ext>
              </a:extLst>
            </p:cNvPr>
            <p:cNvSpPr/>
            <p:nvPr userDrawn="1"/>
          </p:nvSpPr>
          <p:spPr>
            <a:xfrm>
              <a:off x="934320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6" name="Rectangle 55">
              <a:extLst>
                <a:ext uri="{FF2B5EF4-FFF2-40B4-BE49-F238E27FC236}">
                  <a16:creationId xmlns:a16="http://schemas.microsoft.com/office/drawing/2014/main" id="{98F6AD2D-9784-F642-A106-04B3A189A305}"/>
                </a:ext>
              </a:extLst>
            </p:cNvPr>
            <p:cNvSpPr/>
            <p:nvPr userDrawn="1"/>
          </p:nvSpPr>
          <p:spPr>
            <a:xfrm>
              <a:off x="934320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7" name="Rectangle 56">
              <a:extLst>
                <a:ext uri="{FF2B5EF4-FFF2-40B4-BE49-F238E27FC236}">
                  <a16:creationId xmlns:a16="http://schemas.microsoft.com/office/drawing/2014/main" id="{15BAA71B-3977-2C45-BFCD-DD42EE282F3A}"/>
                </a:ext>
              </a:extLst>
            </p:cNvPr>
            <p:cNvSpPr/>
            <p:nvPr userDrawn="1"/>
          </p:nvSpPr>
          <p:spPr>
            <a:xfrm>
              <a:off x="934320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8" name="Rectangle 57">
              <a:extLst>
                <a:ext uri="{FF2B5EF4-FFF2-40B4-BE49-F238E27FC236}">
                  <a16:creationId xmlns:a16="http://schemas.microsoft.com/office/drawing/2014/main" id="{009A6B8D-0BC6-844C-98BC-26714B74B89C}"/>
                </a:ext>
              </a:extLst>
            </p:cNvPr>
            <p:cNvSpPr/>
            <p:nvPr userDrawn="1"/>
          </p:nvSpPr>
          <p:spPr>
            <a:xfrm>
              <a:off x="934320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9" name="Rectangle 58">
              <a:extLst>
                <a:ext uri="{FF2B5EF4-FFF2-40B4-BE49-F238E27FC236}">
                  <a16:creationId xmlns:a16="http://schemas.microsoft.com/office/drawing/2014/main" id="{D8F3FD9C-200A-6341-94B3-0C1EB6DACAB0}"/>
                </a:ext>
              </a:extLst>
            </p:cNvPr>
            <p:cNvSpPr/>
            <p:nvPr userDrawn="1"/>
          </p:nvSpPr>
          <p:spPr>
            <a:xfrm>
              <a:off x="1062110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0" name="Rectangle 59">
              <a:extLst>
                <a:ext uri="{FF2B5EF4-FFF2-40B4-BE49-F238E27FC236}">
                  <a16:creationId xmlns:a16="http://schemas.microsoft.com/office/drawing/2014/main" id="{138373EE-C7AD-A948-BF2D-EFDCBD86A63D}"/>
                </a:ext>
              </a:extLst>
            </p:cNvPr>
            <p:cNvSpPr/>
            <p:nvPr userDrawn="1"/>
          </p:nvSpPr>
          <p:spPr>
            <a:xfrm>
              <a:off x="1062110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1" name="Rectangle 60">
              <a:extLst>
                <a:ext uri="{FF2B5EF4-FFF2-40B4-BE49-F238E27FC236}">
                  <a16:creationId xmlns:a16="http://schemas.microsoft.com/office/drawing/2014/main" id="{1D9BF3B8-1553-CB43-861A-0C55AC833BFD}"/>
                </a:ext>
              </a:extLst>
            </p:cNvPr>
            <p:cNvSpPr/>
            <p:nvPr userDrawn="1"/>
          </p:nvSpPr>
          <p:spPr>
            <a:xfrm>
              <a:off x="1062110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2" name="Rectangle 61">
              <a:extLst>
                <a:ext uri="{FF2B5EF4-FFF2-40B4-BE49-F238E27FC236}">
                  <a16:creationId xmlns:a16="http://schemas.microsoft.com/office/drawing/2014/main" id="{A6D0F4D3-BA10-E141-99A5-7B49C20DF11A}"/>
                </a:ext>
              </a:extLst>
            </p:cNvPr>
            <p:cNvSpPr/>
            <p:nvPr userDrawn="1"/>
          </p:nvSpPr>
          <p:spPr>
            <a:xfrm>
              <a:off x="1062110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grpSp>
      <p:sp>
        <p:nvSpPr>
          <p:cNvPr id="37" name="Freeform 69">
            <a:extLst>
              <a:ext uri="{FF2B5EF4-FFF2-40B4-BE49-F238E27FC236}">
                <a16:creationId xmlns:a16="http://schemas.microsoft.com/office/drawing/2014/main" id="{3634B592-2BB6-5C4B-A72F-5EE93BA6F81A}"/>
              </a:ext>
            </a:extLst>
          </p:cNvPr>
          <p:cNvSpPr>
            <a:spLocks noEditPoints="1"/>
          </p:cNvSpPr>
          <p:nvPr userDrawn="1"/>
        </p:nvSpPr>
        <p:spPr bwMode="auto">
          <a:xfrm>
            <a:off x="3325653" y="1967482"/>
            <a:ext cx="499664" cy="424950"/>
          </a:xfrm>
          <a:custGeom>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latin typeface="+mj-lt"/>
            </a:endParaRPr>
          </a:p>
        </p:txBody>
      </p:sp>
      <p:grpSp>
        <p:nvGrpSpPr>
          <p:cNvPr id="91" name="Group 98">
            <a:extLst>
              <a:ext uri="{FF2B5EF4-FFF2-40B4-BE49-F238E27FC236}">
                <a16:creationId xmlns:a16="http://schemas.microsoft.com/office/drawing/2014/main" id="{9AC922D9-7CEE-B448-86D3-66DA557B7FF2}"/>
              </a:ext>
            </a:extLst>
          </p:cNvPr>
          <p:cNvGrpSpPr>
            <a:grpSpLocks noChangeAspect="1"/>
          </p:cNvGrpSpPr>
          <p:nvPr userDrawn="1"/>
        </p:nvGrpSpPr>
        <p:grpSpPr>
          <a:xfrm>
            <a:off x="2084826" y="5548256"/>
            <a:ext cx="448560" cy="372925"/>
            <a:chOff x="1371" y="1755"/>
            <a:chExt cx="427" cy="355"/>
          </a:xfrm>
          <a:solidFill>
            <a:schemeClr val="accent1"/>
          </a:solidFill>
        </p:grpSpPr>
        <p:sp>
          <p:nvSpPr>
            <p:cNvPr id="92" name="Freeform 99">
              <a:extLst>
                <a:ext uri="{FF2B5EF4-FFF2-40B4-BE49-F238E27FC236}">
                  <a16:creationId xmlns:a16="http://schemas.microsoft.com/office/drawing/2014/main" id="{6DD3FF56-53E8-3945-A690-6D0C81F64008}"/>
                </a:ext>
              </a:extLst>
            </p:cNvPr>
            <p:cNvSpPr>
              <a:spLocks noEditPoints="1"/>
            </p:cNvSpPr>
            <p:nvPr/>
          </p:nvSpPr>
          <p:spPr bwMode="auto">
            <a:xfrm>
              <a:off x="1371" y="1755"/>
              <a:ext cx="427" cy="355"/>
            </a:xfrm>
            <a:custGeom>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3" name="Freeform 100">
              <a:extLst>
                <a:ext uri="{FF2B5EF4-FFF2-40B4-BE49-F238E27FC236}">
                  <a16:creationId xmlns:a16="http://schemas.microsoft.com/office/drawing/2014/main" id="{B9DD30D6-7FC5-4E4B-AA29-A488CEB79813}"/>
                </a:ext>
              </a:extLst>
            </p:cNvPr>
            <p:cNvSpPr/>
            <p:nvPr/>
          </p:nvSpPr>
          <p:spPr bwMode="auto">
            <a:xfrm>
              <a:off x="1407" y="1790"/>
              <a:ext cx="71" cy="71"/>
            </a:xfrm>
            <a:custGeom>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4" name="Freeform 101">
              <a:extLst>
                <a:ext uri="{FF2B5EF4-FFF2-40B4-BE49-F238E27FC236}">
                  <a16:creationId xmlns:a16="http://schemas.microsoft.com/office/drawing/2014/main" id="{B598F935-A581-034B-89D4-127294ECEFE4}"/>
                </a:ext>
              </a:extLst>
            </p:cNvPr>
            <p:cNvSpPr/>
            <p:nvPr/>
          </p:nvSpPr>
          <p:spPr bwMode="auto">
            <a:xfrm>
              <a:off x="1691" y="1790"/>
              <a:ext cx="71" cy="71"/>
            </a:xfrm>
            <a:custGeom>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5" name="Freeform 102">
              <a:extLst>
                <a:ext uri="{FF2B5EF4-FFF2-40B4-BE49-F238E27FC236}">
                  <a16:creationId xmlns:a16="http://schemas.microsoft.com/office/drawing/2014/main" id="{24EC5BA8-8063-3241-A2BA-5D3F0C810EF9}"/>
                </a:ext>
              </a:extLst>
            </p:cNvPr>
            <p:cNvSpPr/>
            <p:nvPr/>
          </p:nvSpPr>
          <p:spPr bwMode="auto">
            <a:xfrm>
              <a:off x="1407" y="2004"/>
              <a:ext cx="71" cy="71"/>
            </a:xfrm>
            <a:custGeom>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6" name="Freeform 103">
              <a:extLst>
                <a:ext uri="{FF2B5EF4-FFF2-40B4-BE49-F238E27FC236}">
                  <a16:creationId xmlns:a16="http://schemas.microsoft.com/office/drawing/2014/main" id="{CF8C2DB6-381F-254A-B48E-15AFF4C7C781}"/>
                </a:ext>
              </a:extLst>
            </p:cNvPr>
            <p:cNvSpPr/>
            <p:nvPr/>
          </p:nvSpPr>
          <p:spPr bwMode="auto">
            <a:xfrm>
              <a:off x="1691" y="2004"/>
              <a:ext cx="71" cy="71"/>
            </a:xfrm>
            <a:custGeom>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7" name="Freeform 104">
              <a:extLst>
                <a:ext uri="{FF2B5EF4-FFF2-40B4-BE49-F238E27FC236}">
                  <a16:creationId xmlns:a16="http://schemas.microsoft.com/office/drawing/2014/main" id="{0667E557-C3C5-454F-BFFD-0892A85D1147}"/>
                </a:ext>
              </a:extLst>
            </p:cNvPr>
            <p:cNvSpPr>
              <a:spLocks noEditPoints="1"/>
            </p:cNvSpPr>
            <p:nvPr/>
          </p:nvSpPr>
          <p:spPr bwMode="auto">
            <a:xfrm>
              <a:off x="1441" y="1844"/>
              <a:ext cx="286" cy="177"/>
            </a:xfrm>
            <a:custGeom>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8" name="Freeform 105">
              <a:extLst>
                <a:ext uri="{FF2B5EF4-FFF2-40B4-BE49-F238E27FC236}">
                  <a16:creationId xmlns:a16="http://schemas.microsoft.com/office/drawing/2014/main" id="{3BB22AA7-DF3C-C443-90C8-1FB2B5423AB0}"/>
                </a:ext>
              </a:extLst>
            </p:cNvPr>
            <p:cNvSpPr>
              <a:spLocks noEditPoints="1"/>
            </p:cNvSpPr>
            <p:nvPr/>
          </p:nvSpPr>
          <p:spPr bwMode="auto">
            <a:xfrm>
              <a:off x="1531" y="1879"/>
              <a:ext cx="107" cy="107"/>
            </a:xfrm>
            <a:custGeom>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9" name="Oval 106">
              <a:extLst>
                <a:ext uri="{FF2B5EF4-FFF2-40B4-BE49-F238E27FC236}">
                  <a16:creationId xmlns:a16="http://schemas.microsoft.com/office/drawing/2014/main" id="{840F5257-5088-364D-878D-3C2254FB2EC8}"/>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11" name="Group 41">
            <a:extLst>
              <a:ext uri="{FF2B5EF4-FFF2-40B4-BE49-F238E27FC236}">
                <a16:creationId xmlns:a16="http://schemas.microsoft.com/office/drawing/2014/main" id="{CAE15CC3-F3B0-4346-93C0-B55CF2674050}"/>
              </a:ext>
            </a:extLst>
          </p:cNvPr>
          <p:cNvGrpSpPr>
            <a:grpSpLocks noChangeAspect="1"/>
          </p:cNvGrpSpPr>
          <p:nvPr userDrawn="1"/>
        </p:nvGrpSpPr>
        <p:grpSpPr>
          <a:xfrm>
            <a:off x="9695631" y="5524348"/>
            <a:ext cx="459581" cy="420743"/>
            <a:chOff x="3439" y="460"/>
            <a:chExt cx="426" cy="390"/>
          </a:xfrm>
          <a:solidFill>
            <a:schemeClr val="accent1"/>
          </a:solidFill>
        </p:grpSpPr>
        <p:sp>
          <p:nvSpPr>
            <p:cNvPr id="112" name="Freeform 42">
              <a:extLst>
                <a:ext uri="{FF2B5EF4-FFF2-40B4-BE49-F238E27FC236}">
                  <a16:creationId xmlns:a16="http://schemas.microsoft.com/office/drawing/2014/main" id="{FC866253-99F8-F940-8BD2-B8A0B5BABFB5}"/>
                </a:ext>
              </a:extLst>
            </p:cNvPr>
            <p:cNvSpPr>
              <a:spLocks noEditPoints="1"/>
            </p:cNvSpPr>
            <p:nvPr/>
          </p:nvSpPr>
          <p:spPr bwMode="auto">
            <a:xfrm>
              <a:off x="3439" y="584"/>
              <a:ext cx="426" cy="266"/>
            </a:xfrm>
            <a:custGeom>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3" name="Freeform 43">
              <a:extLst>
                <a:ext uri="{FF2B5EF4-FFF2-40B4-BE49-F238E27FC236}">
                  <a16:creationId xmlns:a16="http://schemas.microsoft.com/office/drawing/2014/main" id="{DAD71534-CAEB-4342-9B3B-ACB93687E4EC}"/>
                </a:ext>
              </a:extLst>
            </p:cNvPr>
            <p:cNvSpPr>
              <a:spLocks noEditPoints="1"/>
            </p:cNvSpPr>
            <p:nvPr/>
          </p:nvSpPr>
          <p:spPr bwMode="auto">
            <a:xfrm>
              <a:off x="3581" y="637"/>
              <a:ext cx="160" cy="160"/>
            </a:xfrm>
            <a:custGeom>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4" name="Freeform 44">
              <a:extLst>
                <a:ext uri="{FF2B5EF4-FFF2-40B4-BE49-F238E27FC236}">
                  <a16:creationId xmlns:a16="http://schemas.microsoft.com/office/drawing/2014/main" id="{69604E24-F016-194E-9E2B-1ACF8EBA526D}"/>
                </a:ext>
              </a:extLst>
            </p:cNvPr>
            <p:cNvSpPr>
              <a:spLocks noEditPoints="1"/>
            </p:cNvSpPr>
            <p:nvPr/>
          </p:nvSpPr>
          <p:spPr bwMode="auto">
            <a:xfrm>
              <a:off x="3439" y="460"/>
              <a:ext cx="426" cy="106"/>
            </a:xfrm>
            <a:custGeom>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5" name="Freeform 45">
              <a:extLst>
                <a:ext uri="{FF2B5EF4-FFF2-40B4-BE49-F238E27FC236}">
                  <a16:creationId xmlns:a16="http://schemas.microsoft.com/office/drawing/2014/main" id="{0272F795-CB5C-EC40-AB73-8271C831B7E3}"/>
                </a:ext>
              </a:extLst>
            </p:cNvPr>
            <p:cNvSpPr/>
            <p:nvPr/>
          </p:nvSpPr>
          <p:spPr bwMode="auto">
            <a:xfrm>
              <a:off x="3442" y="463"/>
              <a:ext cx="92" cy="91"/>
            </a:xfrm>
            <a:custGeom>
              <a:gdLst>
                <a:gd name="T0" fmla="*/ 12 w 92"/>
                <a:gd name="T1" fmla="*/ 91 h 91"/>
                <a:gd name="T2" fmla="*/ 0 w 92"/>
                <a:gd name="T3" fmla="*/ 80 h 91"/>
                <a:gd name="T4" fmla="*/ 80 w 92"/>
                <a:gd name="T5" fmla="*/ 0 h 91"/>
                <a:gd name="T6" fmla="*/ 92 w 92"/>
                <a:gd name="T7" fmla="*/ 11 h 91"/>
                <a:gd name="T8" fmla="*/ 12 w 92"/>
                <a:gd name="T9" fmla="*/ 91 h 91"/>
              </a:gd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6" name="Freeform 46">
              <a:extLst>
                <a:ext uri="{FF2B5EF4-FFF2-40B4-BE49-F238E27FC236}">
                  <a16:creationId xmlns:a16="http://schemas.microsoft.com/office/drawing/2014/main" id="{58894E59-5B8C-E746-BE36-282800DC218E}"/>
                </a:ext>
              </a:extLst>
            </p:cNvPr>
            <p:cNvSpPr/>
            <p:nvPr/>
          </p:nvSpPr>
          <p:spPr bwMode="auto">
            <a:xfrm>
              <a:off x="3495" y="463"/>
              <a:ext cx="101" cy="102"/>
            </a:xfrm>
            <a:custGeom>
              <a:gdLst>
                <a:gd name="T0" fmla="*/ 12 w 101"/>
                <a:gd name="T1" fmla="*/ 102 h 102"/>
                <a:gd name="T2" fmla="*/ 0 w 101"/>
                <a:gd name="T3" fmla="*/ 88 h 102"/>
                <a:gd name="T4" fmla="*/ 89 w 101"/>
                <a:gd name="T5" fmla="*/ 0 h 102"/>
                <a:gd name="T6" fmla="*/ 101 w 101"/>
                <a:gd name="T7" fmla="*/ 11 h 102"/>
                <a:gd name="T8" fmla="*/ 12 w 101"/>
                <a:gd name="T9" fmla="*/ 102 h 102"/>
              </a:gdLst>
              <a:cxnLst>
                <a:cxn ang="0">
                  <a:pos x="T0" y="T1"/>
                </a:cxn>
                <a:cxn ang="0">
                  <a:pos x="T2" y="T3"/>
                </a:cxn>
                <a:cxn ang="0">
                  <a:pos x="T4" y="T5"/>
                </a:cxn>
                <a:cxn ang="0">
                  <a:pos x="T6" y="T7"/>
                </a:cxn>
                <a:cxn ang="0">
                  <a:pos x="T8" y="T9"/>
                </a:cxn>
              </a:cxnLst>
              <a:rect l="0" t="0" r="r" b="b"/>
              <a:pathLst>
                <a:path w="100"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7" name="Freeform 47">
              <a:extLst>
                <a:ext uri="{FF2B5EF4-FFF2-40B4-BE49-F238E27FC236}">
                  <a16:creationId xmlns:a16="http://schemas.microsoft.com/office/drawing/2014/main" id="{89C3B5C2-0698-134A-8C5B-F8C984B3D30A}"/>
                </a:ext>
              </a:extLst>
            </p:cNvPr>
            <p:cNvSpPr/>
            <p:nvPr/>
          </p:nvSpPr>
          <p:spPr bwMode="auto">
            <a:xfrm>
              <a:off x="3566" y="463"/>
              <a:ext cx="101" cy="102"/>
            </a:xfrm>
            <a:custGeom>
              <a:gdLst>
                <a:gd name="T0" fmla="*/ 12 w 101"/>
                <a:gd name="T1" fmla="*/ 102 h 102"/>
                <a:gd name="T2" fmla="*/ 0 w 101"/>
                <a:gd name="T3" fmla="*/ 88 h 102"/>
                <a:gd name="T4" fmla="*/ 89 w 101"/>
                <a:gd name="T5" fmla="*/ 0 h 102"/>
                <a:gd name="T6" fmla="*/ 101 w 101"/>
                <a:gd name="T7" fmla="*/ 11 h 102"/>
                <a:gd name="T8" fmla="*/ 12 w 101"/>
                <a:gd name="T9" fmla="*/ 102 h 102"/>
              </a:gdLst>
              <a:cxnLst>
                <a:cxn ang="0">
                  <a:pos x="T0" y="T1"/>
                </a:cxn>
                <a:cxn ang="0">
                  <a:pos x="T2" y="T3"/>
                </a:cxn>
                <a:cxn ang="0">
                  <a:pos x="T4" y="T5"/>
                </a:cxn>
                <a:cxn ang="0">
                  <a:pos x="T6" y="T7"/>
                </a:cxn>
                <a:cxn ang="0">
                  <a:pos x="T8" y="T9"/>
                </a:cxn>
              </a:cxnLst>
              <a:rect l="0" t="0" r="r" b="b"/>
              <a:pathLst>
                <a:path w="100"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8" name="Freeform 48">
              <a:extLst>
                <a:ext uri="{FF2B5EF4-FFF2-40B4-BE49-F238E27FC236}">
                  <a16:creationId xmlns:a16="http://schemas.microsoft.com/office/drawing/2014/main" id="{98ED0FAF-2170-CC4B-893D-B4DFEB1E987B}"/>
                </a:ext>
              </a:extLst>
            </p:cNvPr>
            <p:cNvSpPr/>
            <p:nvPr/>
          </p:nvSpPr>
          <p:spPr bwMode="auto">
            <a:xfrm>
              <a:off x="3637" y="463"/>
              <a:ext cx="101" cy="102"/>
            </a:xfrm>
            <a:custGeom>
              <a:gdLst>
                <a:gd name="T0" fmla="*/ 12 w 101"/>
                <a:gd name="T1" fmla="*/ 102 h 102"/>
                <a:gd name="T2" fmla="*/ 0 w 101"/>
                <a:gd name="T3" fmla="*/ 88 h 102"/>
                <a:gd name="T4" fmla="*/ 89 w 101"/>
                <a:gd name="T5" fmla="*/ 0 h 102"/>
                <a:gd name="T6" fmla="*/ 101 w 101"/>
                <a:gd name="T7" fmla="*/ 11 h 102"/>
                <a:gd name="T8" fmla="*/ 12 w 101"/>
                <a:gd name="T9" fmla="*/ 102 h 102"/>
              </a:gdLst>
              <a:cxnLst>
                <a:cxn ang="0">
                  <a:pos x="T0" y="T1"/>
                </a:cxn>
                <a:cxn ang="0">
                  <a:pos x="T2" y="T3"/>
                </a:cxn>
                <a:cxn ang="0">
                  <a:pos x="T4" y="T5"/>
                </a:cxn>
                <a:cxn ang="0">
                  <a:pos x="T6" y="T7"/>
                </a:cxn>
                <a:cxn ang="0">
                  <a:pos x="T8" y="T9"/>
                </a:cxn>
              </a:cxnLst>
              <a:rect l="0" t="0" r="r" b="b"/>
              <a:pathLst>
                <a:path w="100"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9" name="Freeform 49">
              <a:extLst>
                <a:ext uri="{FF2B5EF4-FFF2-40B4-BE49-F238E27FC236}">
                  <a16:creationId xmlns:a16="http://schemas.microsoft.com/office/drawing/2014/main" id="{E93B3885-01CD-824B-9BBD-D9A7BC873F3E}"/>
                </a:ext>
              </a:extLst>
            </p:cNvPr>
            <p:cNvSpPr/>
            <p:nvPr/>
          </p:nvSpPr>
          <p:spPr bwMode="auto">
            <a:xfrm>
              <a:off x="3708" y="463"/>
              <a:ext cx="100" cy="100"/>
            </a:xfrm>
            <a:custGeom>
              <a:gdLst>
                <a:gd name="T0" fmla="*/ 12 w 100"/>
                <a:gd name="T1" fmla="*/ 100 h 100"/>
                <a:gd name="T2" fmla="*/ 0 w 100"/>
                <a:gd name="T3" fmla="*/ 88 h 100"/>
                <a:gd name="T4" fmla="*/ 89 w 100"/>
                <a:gd name="T5" fmla="*/ 0 h 100"/>
                <a:gd name="T6" fmla="*/ 100 w 100"/>
                <a:gd name="T7" fmla="*/ 11 h 100"/>
                <a:gd name="T8" fmla="*/ 12 w 100"/>
                <a:gd name="T9" fmla="*/ 100 h 100"/>
              </a:gd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20" name="Freeform 50">
              <a:extLst>
                <a:ext uri="{FF2B5EF4-FFF2-40B4-BE49-F238E27FC236}">
                  <a16:creationId xmlns:a16="http://schemas.microsoft.com/office/drawing/2014/main" id="{4B94C46B-FB83-4F43-83C7-AC36E95C6A04}"/>
                </a:ext>
              </a:extLst>
            </p:cNvPr>
            <p:cNvSpPr/>
            <p:nvPr/>
          </p:nvSpPr>
          <p:spPr bwMode="auto">
            <a:xfrm>
              <a:off x="3779" y="480"/>
              <a:ext cx="83" cy="83"/>
            </a:xfrm>
            <a:custGeom>
              <a:gdLst>
                <a:gd name="T0" fmla="*/ 12 w 83"/>
                <a:gd name="T1" fmla="*/ 83 h 83"/>
                <a:gd name="T2" fmla="*/ 0 w 83"/>
                <a:gd name="T3" fmla="*/ 71 h 83"/>
                <a:gd name="T4" fmla="*/ 71 w 83"/>
                <a:gd name="T5" fmla="*/ 0 h 83"/>
                <a:gd name="T6" fmla="*/ 83 w 83"/>
                <a:gd name="T7" fmla="*/ 12 h 83"/>
                <a:gd name="T8" fmla="*/ 12 w 83"/>
                <a:gd name="T9" fmla="*/ 83 h 83"/>
              </a:gd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21" name="Group 10">
            <a:extLst>
              <a:ext uri="{FF2B5EF4-FFF2-40B4-BE49-F238E27FC236}">
                <a16:creationId xmlns:a16="http://schemas.microsoft.com/office/drawing/2014/main" id="{EDE454D0-8C87-B549-B592-7DDDDDA65FAD}"/>
              </a:ext>
            </a:extLst>
          </p:cNvPr>
          <p:cNvGrpSpPr>
            <a:grpSpLocks noChangeAspect="1"/>
          </p:cNvGrpSpPr>
          <p:nvPr userDrawn="1"/>
        </p:nvGrpSpPr>
        <p:grpSpPr>
          <a:xfrm>
            <a:off x="10965185" y="5500310"/>
            <a:ext cx="467720" cy="468818"/>
            <a:chOff x="1374" y="442"/>
            <a:chExt cx="425" cy="426"/>
          </a:xfrm>
          <a:solidFill>
            <a:schemeClr val="accent1"/>
          </a:solidFill>
        </p:grpSpPr>
        <p:sp>
          <p:nvSpPr>
            <p:cNvPr id="122" name="Freeform 11">
              <a:extLst>
                <a:ext uri="{FF2B5EF4-FFF2-40B4-BE49-F238E27FC236}">
                  <a16:creationId xmlns:a16="http://schemas.microsoft.com/office/drawing/2014/main" id="{81B4BA5C-5D57-5243-95A0-B0939E103188}"/>
                </a:ext>
              </a:extLst>
            </p:cNvPr>
            <p:cNvSpPr>
              <a:spLocks noEditPoints="1"/>
            </p:cNvSpPr>
            <p:nvPr/>
          </p:nvSpPr>
          <p:spPr bwMode="auto">
            <a:xfrm>
              <a:off x="1374" y="442"/>
              <a:ext cx="425" cy="426"/>
            </a:xfrm>
            <a:custGeom>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3" name="Freeform 12">
              <a:extLst>
                <a:ext uri="{FF2B5EF4-FFF2-40B4-BE49-F238E27FC236}">
                  <a16:creationId xmlns:a16="http://schemas.microsoft.com/office/drawing/2014/main" id="{DBE386C7-E758-5C4A-95CF-157D349ABDEC}"/>
                </a:ext>
              </a:extLst>
            </p:cNvPr>
            <p:cNvSpPr>
              <a:spLocks noEditPoints="1"/>
            </p:cNvSpPr>
            <p:nvPr/>
          </p:nvSpPr>
          <p:spPr bwMode="auto">
            <a:xfrm>
              <a:off x="1516" y="565"/>
              <a:ext cx="177" cy="179"/>
            </a:xfrm>
            <a:custGeom>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0">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24" name="Group 87">
            <a:extLst>
              <a:ext uri="{FF2B5EF4-FFF2-40B4-BE49-F238E27FC236}">
                <a16:creationId xmlns:a16="http://schemas.microsoft.com/office/drawing/2014/main" id="{6BDE5202-854C-CC41-965A-533F32430AEE}"/>
              </a:ext>
            </a:extLst>
          </p:cNvPr>
          <p:cNvGrpSpPr>
            <a:grpSpLocks noChangeAspect="1"/>
          </p:cNvGrpSpPr>
          <p:nvPr userDrawn="1"/>
        </p:nvGrpSpPr>
        <p:grpSpPr>
          <a:xfrm>
            <a:off x="4599644" y="1930124"/>
            <a:ext cx="499666" cy="499666"/>
            <a:chOff x="5510" y="1717"/>
            <a:chExt cx="428" cy="428"/>
          </a:xfrm>
          <a:solidFill>
            <a:schemeClr val="accent1"/>
          </a:solidFill>
        </p:grpSpPr>
        <p:sp>
          <p:nvSpPr>
            <p:cNvPr id="125" name="Freeform 88">
              <a:extLst>
                <a:ext uri="{FF2B5EF4-FFF2-40B4-BE49-F238E27FC236}">
                  <a16:creationId xmlns:a16="http://schemas.microsoft.com/office/drawing/2014/main" id="{5B0A10F8-A96B-5844-8703-D5883AC797AC}"/>
                </a:ext>
              </a:extLst>
            </p:cNvPr>
            <p:cNvSpPr/>
            <p:nvPr/>
          </p:nvSpPr>
          <p:spPr bwMode="auto">
            <a:xfrm>
              <a:off x="5572" y="1717"/>
              <a:ext cx="366" cy="339"/>
            </a:xfrm>
            <a:custGeom>
              <a:gdLst>
                <a:gd name="T0" fmla="*/ 66 w 247"/>
                <a:gd name="T1" fmla="*/ 229 h 229"/>
                <a:gd name="T2" fmla="*/ 62 w 247"/>
                <a:gd name="T3" fmla="*/ 227 h 229"/>
                <a:gd name="T4" fmla="*/ 2 w 247"/>
                <a:gd name="T5" fmla="*/ 167 h 229"/>
                <a:gd name="T6" fmla="*/ 2 w 247"/>
                <a:gd name="T7" fmla="*/ 159 h 229"/>
                <a:gd name="T8" fmla="*/ 10 w 247"/>
                <a:gd name="T9" fmla="*/ 159 h 229"/>
                <a:gd name="T10" fmla="*/ 66 w 247"/>
                <a:gd name="T11" fmla="*/ 214 h 229"/>
                <a:gd name="T12" fmla="*/ 235 w 247"/>
                <a:gd name="T13" fmla="*/ 3 h 229"/>
                <a:gd name="T14" fmla="*/ 244 w 247"/>
                <a:gd name="T15" fmla="*/ 3 h 229"/>
                <a:gd name="T16" fmla="*/ 245 w 247"/>
                <a:gd name="T17" fmla="*/ 11 h 229"/>
                <a:gd name="T18" fmla="*/ 71 w 247"/>
                <a:gd name="T19" fmla="*/ 227 h 229"/>
                <a:gd name="T20" fmla="*/ 66 w 247"/>
                <a:gd name="T21" fmla="*/ 229 h 229"/>
                <a:gd name="T22" fmla="*/ 66 w 247"/>
                <a:gd name="T23" fmla="*/ 229 h 2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229">
                  <a:moveTo>
                    <a:pt x="66" y="229"/>
                  </a:moveTo>
                  <a:cubicBezTo>
                    <a:pt x="65" y="229"/>
                    <a:pt x="63" y="229"/>
                    <a:pt x="62" y="227"/>
                  </a:cubicBezTo>
                  <a:cubicBezTo>
                    <a:pt x="2" y="167"/>
                    <a:pt x="2" y="167"/>
                    <a:pt x="2" y="167"/>
                  </a:cubicBezTo>
                  <a:cubicBezTo>
                    <a:pt x="0" y="165"/>
                    <a:pt x="0" y="161"/>
                    <a:pt x="2" y="159"/>
                  </a:cubicBezTo>
                  <a:cubicBezTo>
                    <a:pt x="4" y="157"/>
                    <a:pt x="8" y="157"/>
                    <a:pt x="10" y="159"/>
                  </a:cubicBezTo>
                  <a:cubicBezTo>
                    <a:pt x="66" y="214"/>
                    <a:pt x="66" y="214"/>
                    <a:pt x="66" y="214"/>
                  </a:cubicBezTo>
                  <a:cubicBezTo>
                    <a:pt x="235" y="3"/>
                    <a:pt x="235" y="3"/>
                    <a:pt x="235" y="3"/>
                  </a:cubicBezTo>
                  <a:cubicBezTo>
                    <a:pt x="238" y="1"/>
                    <a:pt x="241" y="0"/>
                    <a:pt x="244" y="3"/>
                  </a:cubicBezTo>
                  <a:cubicBezTo>
                    <a:pt x="246" y="5"/>
                    <a:pt x="247" y="8"/>
                    <a:pt x="245" y="11"/>
                  </a:cubicBezTo>
                  <a:cubicBezTo>
                    <a:pt x="71" y="227"/>
                    <a:pt x="71" y="227"/>
                    <a:pt x="71" y="227"/>
                  </a:cubicBezTo>
                  <a:cubicBezTo>
                    <a:pt x="70" y="228"/>
                    <a:pt x="68" y="229"/>
                    <a:pt x="66" y="229"/>
                  </a:cubicBezTo>
                  <a:cubicBezTo>
                    <a:pt x="66" y="229"/>
                    <a:pt x="66" y="229"/>
                    <a:pt x="66"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sp>
          <p:nvSpPr>
            <p:cNvPr id="126" name="Freeform 89">
              <a:extLst>
                <a:ext uri="{FF2B5EF4-FFF2-40B4-BE49-F238E27FC236}">
                  <a16:creationId xmlns:a16="http://schemas.microsoft.com/office/drawing/2014/main" id="{04185316-B34F-294A-A34C-BE4AAF5B7697}"/>
                </a:ext>
              </a:extLst>
            </p:cNvPr>
            <p:cNvSpPr/>
            <p:nvPr/>
          </p:nvSpPr>
          <p:spPr bwMode="auto">
            <a:xfrm>
              <a:off x="5510" y="1808"/>
              <a:ext cx="337" cy="337"/>
            </a:xfrm>
            <a:custGeom>
              <a:gdLst>
                <a:gd name="T0" fmla="*/ 114 w 228"/>
                <a:gd name="T1" fmla="*/ 228 h 228"/>
                <a:gd name="T2" fmla="*/ 0 w 228"/>
                <a:gd name="T3" fmla="*/ 114 h 228"/>
                <a:gd name="T4" fmla="*/ 114 w 228"/>
                <a:gd name="T5" fmla="*/ 0 h 228"/>
                <a:gd name="T6" fmla="*/ 165 w 228"/>
                <a:gd name="T7" fmla="*/ 12 h 228"/>
                <a:gd name="T8" fmla="*/ 168 w 228"/>
                <a:gd name="T9" fmla="*/ 20 h 228"/>
                <a:gd name="T10" fmla="*/ 159 w 228"/>
                <a:gd name="T11" fmla="*/ 23 h 228"/>
                <a:gd name="T12" fmla="*/ 114 w 228"/>
                <a:gd name="T13" fmla="*/ 12 h 228"/>
                <a:gd name="T14" fmla="*/ 12 w 228"/>
                <a:gd name="T15" fmla="*/ 114 h 228"/>
                <a:gd name="T16" fmla="*/ 114 w 228"/>
                <a:gd name="T17" fmla="*/ 216 h 228"/>
                <a:gd name="T18" fmla="*/ 216 w 228"/>
                <a:gd name="T19" fmla="*/ 114 h 228"/>
                <a:gd name="T20" fmla="*/ 214 w 228"/>
                <a:gd name="T21" fmla="*/ 92 h 228"/>
                <a:gd name="T22" fmla="*/ 218 w 228"/>
                <a:gd name="T23" fmla="*/ 84 h 228"/>
                <a:gd name="T24" fmla="*/ 225 w 228"/>
                <a:gd name="T25" fmla="*/ 89 h 228"/>
                <a:gd name="T26" fmla="*/ 228 w 228"/>
                <a:gd name="T27" fmla="*/ 114 h 228"/>
                <a:gd name="T28" fmla="*/ 114 w 228"/>
                <a:gd name="T29" fmla="*/ 228 h 2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8">
                  <a:moveTo>
                    <a:pt x="114" y="228"/>
                  </a:moveTo>
                  <a:cubicBezTo>
                    <a:pt x="51" y="228"/>
                    <a:pt x="0" y="177"/>
                    <a:pt x="0" y="114"/>
                  </a:cubicBezTo>
                  <a:cubicBezTo>
                    <a:pt x="0" y="51"/>
                    <a:pt x="51" y="0"/>
                    <a:pt x="114" y="0"/>
                  </a:cubicBezTo>
                  <a:cubicBezTo>
                    <a:pt x="132" y="0"/>
                    <a:pt x="149" y="4"/>
                    <a:pt x="165" y="12"/>
                  </a:cubicBezTo>
                  <a:cubicBezTo>
                    <a:pt x="168" y="14"/>
                    <a:pt x="169" y="17"/>
                    <a:pt x="168" y="20"/>
                  </a:cubicBezTo>
                  <a:cubicBezTo>
                    <a:pt x="166" y="23"/>
                    <a:pt x="162" y="24"/>
                    <a:pt x="159" y="23"/>
                  </a:cubicBezTo>
                  <a:cubicBezTo>
                    <a:pt x="145" y="16"/>
                    <a:pt x="130" y="12"/>
                    <a:pt x="114" y="12"/>
                  </a:cubicBezTo>
                  <a:cubicBezTo>
                    <a:pt x="58" y="12"/>
                    <a:pt x="12" y="58"/>
                    <a:pt x="12" y="114"/>
                  </a:cubicBezTo>
                  <a:cubicBezTo>
                    <a:pt x="12" y="170"/>
                    <a:pt x="58" y="216"/>
                    <a:pt x="114" y="216"/>
                  </a:cubicBezTo>
                  <a:cubicBezTo>
                    <a:pt x="170" y="216"/>
                    <a:pt x="216" y="170"/>
                    <a:pt x="216" y="114"/>
                  </a:cubicBezTo>
                  <a:cubicBezTo>
                    <a:pt x="216" y="107"/>
                    <a:pt x="215" y="99"/>
                    <a:pt x="214" y="92"/>
                  </a:cubicBezTo>
                  <a:cubicBezTo>
                    <a:pt x="213" y="88"/>
                    <a:pt x="215" y="85"/>
                    <a:pt x="218" y="84"/>
                  </a:cubicBezTo>
                  <a:cubicBezTo>
                    <a:pt x="221" y="84"/>
                    <a:pt x="225" y="86"/>
                    <a:pt x="225" y="89"/>
                  </a:cubicBezTo>
                  <a:cubicBezTo>
                    <a:pt x="227" y="97"/>
                    <a:pt x="228" y="106"/>
                    <a:pt x="228" y="114"/>
                  </a:cubicBezTo>
                  <a:cubicBezTo>
                    <a:pt x="228" y="177"/>
                    <a:pt x="177" y="228"/>
                    <a:pt x="114"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grpSp>
      <p:grpSp>
        <p:nvGrpSpPr>
          <p:cNvPr id="127" name="Group 78">
            <a:extLst>
              <a:ext uri="{FF2B5EF4-FFF2-40B4-BE49-F238E27FC236}">
                <a16:creationId xmlns:a16="http://schemas.microsoft.com/office/drawing/2014/main" id="{11722946-2303-184D-8463-D62F3154D89B}"/>
              </a:ext>
            </a:extLst>
          </p:cNvPr>
          <p:cNvGrpSpPr>
            <a:grpSpLocks noChangeAspect="1"/>
          </p:cNvGrpSpPr>
          <p:nvPr userDrawn="1"/>
        </p:nvGrpSpPr>
        <p:grpSpPr>
          <a:xfrm>
            <a:off x="5953323" y="1958607"/>
            <a:ext cx="332545" cy="442701"/>
            <a:chOff x="5561" y="440"/>
            <a:chExt cx="320" cy="426"/>
          </a:xfrm>
          <a:solidFill>
            <a:schemeClr val="accent1"/>
          </a:solidFill>
        </p:grpSpPr>
        <p:sp>
          <p:nvSpPr>
            <p:cNvPr id="128" name="Freeform 79">
              <a:extLst>
                <a:ext uri="{FF2B5EF4-FFF2-40B4-BE49-F238E27FC236}">
                  <a16:creationId xmlns:a16="http://schemas.microsoft.com/office/drawing/2014/main" id="{B5E1DA5A-F0CE-4447-9220-974C2855E08C}"/>
                </a:ext>
              </a:extLst>
            </p:cNvPr>
            <p:cNvSpPr>
              <a:spLocks noEditPoints="1"/>
            </p:cNvSpPr>
            <p:nvPr/>
          </p:nvSpPr>
          <p:spPr bwMode="auto">
            <a:xfrm>
              <a:off x="5561" y="440"/>
              <a:ext cx="320" cy="426"/>
            </a:xfrm>
            <a:custGeom>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80">
              <a:extLst>
                <a:ext uri="{FF2B5EF4-FFF2-40B4-BE49-F238E27FC236}">
                  <a16:creationId xmlns:a16="http://schemas.microsoft.com/office/drawing/2014/main" id="{ABA3B36B-BE79-3540-89D8-3AD859FC58BF}"/>
                </a:ext>
              </a:extLst>
            </p:cNvPr>
            <p:cNvSpPr/>
            <p:nvPr/>
          </p:nvSpPr>
          <p:spPr bwMode="auto">
            <a:xfrm>
              <a:off x="5757" y="440"/>
              <a:ext cx="124" cy="125"/>
            </a:xfrm>
            <a:custGeom>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81">
              <a:extLst>
                <a:ext uri="{FF2B5EF4-FFF2-40B4-BE49-F238E27FC236}">
                  <a16:creationId xmlns:a16="http://schemas.microsoft.com/office/drawing/2014/main" id="{25C5AFD0-4C23-1A40-A6D1-BE0869FC7639}"/>
                </a:ext>
              </a:extLst>
            </p:cNvPr>
            <p:cNvSpPr/>
            <p:nvPr/>
          </p:nvSpPr>
          <p:spPr bwMode="auto">
            <a:xfrm>
              <a:off x="5721" y="618"/>
              <a:ext cx="89" cy="17"/>
            </a:xfrm>
            <a:custGeom>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82">
              <a:extLst>
                <a:ext uri="{FF2B5EF4-FFF2-40B4-BE49-F238E27FC236}">
                  <a16:creationId xmlns:a16="http://schemas.microsoft.com/office/drawing/2014/main" id="{D412E5BA-BAFD-7249-9FD7-E1C872BDFC99}"/>
                </a:ext>
              </a:extLst>
            </p:cNvPr>
            <p:cNvSpPr/>
            <p:nvPr/>
          </p:nvSpPr>
          <p:spPr bwMode="auto">
            <a:xfrm>
              <a:off x="5721" y="689"/>
              <a:ext cx="89" cy="17"/>
            </a:xfrm>
            <a:custGeom>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83">
              <a:extLst>
                <a:ext uri="{FF2B5EF4-FFF2-40B4-BE49-F238E27FC236}">
                  <a16:creationId xmlns:a16="http://schemas.microsoft.com/office/drawing/2014/main" id="{427BAFDA-991B-DF4F-A7FE-4061E7986915}"/>
                </a:ext>
              </a:extLst>
            </p:cNvPr>
            <p:cNvSpPr/>
            <p:nvPr/>
          </p:nvSpPr>
          <p:spPr bwMode="auto">
            <a:xfrm>
              <a:off x="5721" y="760"/>
              <a:ext cx="89" cy="17"/>
            </a:xfrm>
            <a:custGeom>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3" name="Freeform 84">
              <a:extLst>
                <a:ext uri="{FF2B5EF4-FFF2-40B4-BE49-F238E27FC236}">
                  <a16:creationId xmlns:a16="http://schemas.microsoft.com/office/drawing/2014/main" id="{B4508F28-8BDC-9245-9C66-6834A3DEBB70}"/>
                </a:ext>
              </a:extLst>
            </p:cNvPr>
            <p:cNvSpPr/>
            <p:nvPr/>
          </p:nvSpPr>
          <p:spPr bwMode="auto">
            <a:xfrm>
              <a:off x="5614" y="582"/>
              <a:ext cx="91" cy="62"/>
            </a:xfrm>
            <a:custGeom>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4" name="Freeform 85">
              <a:extLst>
                <a:ext uri="{FF2B5EF4-FFF2-40B4-BE49-F238E27FC236}">
                  <a16:creationId xmlns:a16="http://schemas.microsoft.com/office/drawing/2014/main" id="{4B821B86-B791-D441-90DA-D286CAEB5607}"/>
                </a:ext>
              </a:extLst>
            </p:cNvPr>
            <p:cNvSpPr/>
            <p:nvPr/>
          </p:nvSpPr>
          <p:spPr bwMode="auto">
            <a:xfrm>
              <a:off x="5614" y="653"/>
              <a:ext cx="91" cy="62"/>
            </a:xfrm>
            <a:custGeom>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5" name="Freeform 86">
              <a:extLst>
                <a:ext uri="{FF2B5EF4-FFF2-40B4-BE49-F238E27FC236}">
                  <a16:creationId xmlns:a16="http://schemas.microsoft.com/office/drawing/2014/main" id="{0961530D-62F0-7F40-BD08-0D4F17005F35}"/>
                </a:ext>
              </a:extLst>
            </p:cNvPr>
            <p:cNvSpPr/>
            <p:nvPr/>
          </p:nvSpPr>
          <p:spPr bwMode="auto">
            <a:xfrm>
              <a:off x="5614" y="724"/>
              <a:ext cx="91" cy="62"/>
            </a:xfrm>
            <a:custGeom>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36" name="Group 45">
            <a:extLst>
              <a:ext uri="{FF2B5EF4-FFF2-40B4-BE49-F238E27FC236}">
                <a16:creationId xmlns:a16="http://schemas.microsoft.com/office/drawing/2014/main" id="{516FF822-0AC6-8F49-982F-1D1D7300DD43}"/>
              </a:ext>
            </a:extLst>
          </p:cNvPr>
          <p:cNvGrpSpPr>
            <a:grpSpLocks noChangeAspect="1"/>
          </p:cNvGrpSpPr>
          <p:nvPr userDrawn="1"/>
        </p:nvGrpSpPr>
        <p:grpSpPr>
          <a:xfrm>
            <a:off x="783204" y="3116889"/>
            <a:ext cx="481666" cy="481666"/>
            <a:chOff x="5507" y="439"/>
            <a:chExt cx="426" cy="426"/>
          </a:xfrm>
          <a:solidFill>
            <a:schemeClr val="accent1"/>
          </a:solidFill>
        </p:grpSpPr>
        <p:sp>
          <p:nvSpPr>
            <p:cNvPr id="137" name="Freeform 46">
              <a:extLst>
                <a:ext uri="{FF2B5EF4-FFF2-40B4-BE49-F238E27FC236}">
                  <a16:creationId xmlns:a16="http://schemas.microsoft.com/office/drawing/2014/main" id="{F4B73D59-02E7-6541-B93C-C6650620AAF5}"/>
                </a:ext>
              </a:extLst>
            </p:cNvPr>
            <p:cNvSpPr>
              <a:spLocks noEditPoints="1"/>
            </p:cNvSpPr>
            <p:nvPr/>
          </p:nvSpPr>
          <p:spPr bwMode="auto">
            <a:xfrm>
              <a:off x="5596" y="652"/>
              <a:ext cx="124" cy="124"/>
            </a:xfrm>
            <a:custGeom>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8" name="Freeform 47">
              <a:extLst>
                <a:ext uri="{FF2B5EF4-FFF2-40B4-BE49-F238E27FC236}">
                  <a16:creationId xmlns:a16="http://schemas.microsoft.com/office/drawing/2014/main" id="{A069EDB2-D1F1-4B46-9633-D4A833BD8A7A}"/>
                </a:ext>
              </a:extLst>
            </p:cNvPr>
            <p:cNvSpPr>
              <a:spLocks noEditPoints="1"/>
            </p:cNvSpPr>
            <p:nvPr/>
          </p:nvSpPr>
          <p:spPr bwMode="auto">
            <a:xfrm>
              <a:off x="5809" y="492"/>
              <a:ext cx="71" cy="71"/>
            </a:xfrm>
            <a:custGeom>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9" name="Freeform 48">
              <a:extLst>
                <a:ext uri="{FF2B5EF4-FFF2-40B4-BE49-F238E27FC236}">
                  <a16:creationId xmlns:a16="http://schemas.microsoft.com/office/drawing/2014/main" id="{28E39315-063A-D84B-9973-3C71C544EA25}"/>
                </a:ext>
              </a:extLst>
            </p:cNvPr>
            <p:cNvSpPr>
              <a:spLocks noEditPoints="1"/>
            </p:cNvSpPr>
            <p:nvPr/>
          </p:nvSpPr>
          <p:spPr bwMode="auto">
            <a:xfrm>
              <a:off x="5507" y="563"/>
              <a:ext cx="302" cy="302"/>
            </a:xfrm>
            <a:custGeom>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0" name="Freeform 49">
              <a:extLst>
                <a:ext uri="{FF2B5EF4-FFF2-40B4-BE49-F238E27FC236}">
                  <a16:creationId xmlns:a16="http://schemas.microsoft.com/office/drawing/2014/main" id="{25703F0B-4AFB-1142-AB77-64647188DC7B}"/>
                </a:ext>
              </a:extLst>
            </p:cNvPr>
            <p:cNvSpPr>
              <a:spLocks noEditPoints="1"/>
            </p:cNvSpPr>
            <p:nvPr/>
          </p:nvSpPr>
          <p:spPr bwMode="auto">
            <a:xfrm>
              <a:off x="5757" y="439"/>
              <a:ext cx="176" cy="178"/>
            </a:xfrm>
            <a:custGeom>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41" name="Group 79">
            <a:extLst>
              <a:ext uri="{FF2B5EF4-FFF2-40B4-BE49-F238E27FC236}">
                <a16:creationId xmlns:a16="http://schemas.microsoft.com/office/drawing/2014/main" id="{F01FD265-4EA3-E648-9E9F-F7ED57259CE5}"/>
              </a:ext>
            </a:extLst>
          </p:cNvPr>
          <p:cNvGrpSpPr>
            <a:grpSpLocks noChangeAspect="1"/>
          </p:cNvGrpSpPr>
          <p:nvPr userDrawn="1"/>
        </p:nvGrpSpPr>
        <p:grpSpPr>
          <a:xfrm>
            <a:off x="4608644" y="3186991"/>
            <a:ext cx="481666" cy="341462"/>
            <a:chOff x="3437" y="1784"/>
            <a:chExt cx="426" cy="302"/>
          </a:xfrm>
          <a:solidFill>
            <a:schemeClr val="accent1"/>
          </a:solidFill>
        </p:grpSpPr>
        <p:sp>
          <p:nvSpPr>
            <p:cNvPr id="142" name="Freeform 80">
              <a:extLst>
                <a:ext uri="{FF2B5EF4-FFF2-40B4-BE49-F238E27FC236}">
                  <a16:creationId xmlns:a16="http://schemas.microsoft.com/office/drawing/2014/main" id="{AD563135-6D41-B34F-8DBF-9789C1D2FC7D}"/>
                </a:ext>
              </a:extLst>
            </p:cNvPr>
            <p:cNvSpPr>
              <a:spLocks noEditPoints="1"/>
            </p:cNvSpPr>
            <p:nvPr/>
          </p:nvSpPr>
          <p:spPr bwMode="auto">
            <a:xfrm>
              <a:off x="3614" y="1962"/>
              <a:ext cx="72" cy="70"/>
            </a:xfrm>
            <a:custGeom>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3" name="Freeform 81">
              <a:extLst>
                <a:ext uri="{FF2B5EF4-FFF2-40B4-BE49-F238E27FC236}">
                  <a16:creationId xmlns:a16="http://schemas.microsoft.com/office/drawing/2014/main" id="{8E14FF8C-207B-F447-B912-AC19E0458359}"/>
                </a:ext>
              </a:extLst>
            </p:cNvPr>
            <p:cNvSpPr/>
            <p:nvPr/>
          </p:nvSpPr>
          <p:spPr bwMode="auto">
            <a:xfrm>
              <a:off x="3659" y="1880"/>
              <a:ext cx="108" cy="107"/>
            </a:xfrm>
            <a:custGeom>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4" name="Freeform 82">
              <a:extLst>
                <a:ext uri="{FF2B5EF4-FFF2-40B4-BE49-F238E27FC236}">
                  <a16:creationId xmlns:a16="http://schemas.microsoft.com/office/drawing/2014/main" id="{D89E874B-0787-064A-B6EE-771B86487C5E}"/>
                </a:ext>
              </a:extLst>
            </p:cNvPr>
            <p:cNvSpPr/>
            <p:nvPr/>
          </p:nvSpPr>
          <p:spPr bwMode="auto">
            <a:xfrm>
              <a:off x="3472" y="1997"/>
              <a:ext cx="54" cy="18"/>
            </a:xfrm>
            <a:custGeom>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5" name="Freeform 83">
              <a:extLst>
                <a:ext uri="{FF2B5EF4-FFF2-40B4-BE49-F238E27FC236}">
                  <a16:creationId xmlns:a16="http://schemas.microsoft.com/office/drawing/2014/main" id="{B0BBC9BB-9478-DD40-9544-993DEB7E0F10}"/>
                </a:ext>
              </a:extLst>
            </p:cNvPr>
            <p:cNvSpPr/>
            <p:nvPr/>
          </p:nvSpPr>
          <p:spPr bwMode="auto">
            <a:xfrm>
              <a:off x="3774" y="1997"/>
              <a:ext cx="54" cy="18"/>
            </a:xfrm>
            <a:custGeom>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6" name="Freeform 84">
              <a:extLst>
                <a:ext uri="{FF2B5EF4-FFF2-40B4-BE49-F238E27FC236}">
                  <a16:creationId xmlns:a16="http://schemas.microsoft.com/office/drawing/2014/main" id="{52E27719-BDA4-694D-83C1-C827D694BDD0}"/>
                </a:ext>
              </a:extLst>
            </p:cNvPr>
            <p:cNvSpPr/>
            <p:nvPr/>
          </p:nvSpPr>
          <p:spPr bwMode="auto">
            <a:xfrm>
              <a:off x="3764" y="1922"/>
              <a:ext cx="52" cy="32"/>
            </a:xfrm>
            <a:custGeom>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7" name="Freeform 85">
              <a:extLst>
                <a:ext uri="{FF2B5EF4-FFF2-40B4-BE49-F238E27FC236}">
                  <a16:creationId xmlns:a16="http://schemas.microsoft.com/office/drawing/2014/main" id="{FF113834-5F02-6A41-9F8F-FFF2D91F562A}"/>
                </a:ext>
              </a:extLst>
            </p:cNvPr>
            <p:cNvSpPr/>
            <p:nvPr/>
          </p:nvSpPr>
          <p:spPr bwMode="auto">
            <a:xfrm>
              <a:off x="3691" y="1832"/>
              <a:ext cx="34" cy="51"/>
            </a:xfrm>
            <a:custGeom>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8" name="Freeform 86">
              <a:extLst>
                <a:ext uri="{FF2B5EF4-FFF2-40B4-BE49-F238E27FC236}">
                  <a16:creationId xmlns:a16="http://schemas.microsoft.com/office/drawing/2014/main" id="{1F6BA6DB-8682-D240-BADC-571C01985129}"/>
                </a:ext>
              </a:extLst>
            </p:cNvPr>
            <p:cNvSpPr/>
            <p:nvPr/>
          </p:nvSpPr>
          <p:spPr bwMode="auto">
            <a:xfrm>
              <a:off x="3641" y="1820"/>
              <a:ext cx="18" cy="53"/>
            </a:xfrm>
            <a:custGeom>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9" name="Freeform 87">
              <a:extLst>
                <a:ext uri="{FF2B5EF4-FFF2-40B4-BE49-F238E27FC236}">
                  <a16:creationId xmlns:a16="http://schemas.microsoft.com/office/drawing/2014/main" id="{FE697EC8-E5DA-6C49-A676-2F10E8AEA48A}"/>
                </a:ext>
              </a:extLst>
            </p:cNvPr>
            <p:cNvSpPr/>
            <p:nvPr/>
          </p:nvSpPr>
          <p:spPr bwMode="auto">
            <a:xfrm>
              <a:off x="3576" y="1832"/>
              <a:ext cx="34" cy="51"/>
            </a:xfrm>
            <a:custGeom>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0" name="Freeform 88">
              <a:extLst>
                <a:ext uri="{FF2B5EF4-FFF2-40B4-BE49-F238E27FC236}">
                  <a16:creationId xmlns:a16="http://schemas.microsoft.com/office/drawing/2014/main" id="{12D6C954-2EF3-BD42-BFB7-359D0D4F6A5C}"/>
                </a:ext>
              </a:extLst>
            </p:cNvPr>
            <p:cNvSpPr/>
            <p:nvPr/>
          </p:nvSpPr>
          <p:spPr bwMode="auto">
            <a:xfrm>
              <a:off x="3521" y="1869"/>
              <a:ext cx="45" cy="42"/>
            </a:xfrm>
            <a:custGeom>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8">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1" name="Freeform 89">
              <a:extLst>
                <a:ext uri="{FF2B5EF4-FFF2-40B4-BE49-F238E27FC236}">
                  <a16:creationId xmlns:a16="http://schemas.microsoft.com/office/drawing/2014/main" id="{A35B7786-D1F2-4549-A514-FD155D87A266}"/>
                </a:ext>
              </a:extLst>
            </p:cNvPr>
            <p:cNvSpPr/>
            <p:nvPr/>
          </p:nvSpPr>
          <p:spPr bwMode="auto">
            <a:xfrm>
              <a:off x="3484" y="1922"/>
              <a:ext cx="54" cy="32"/>
            </a:xfrm>
            <a:custGeom>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2" name="Freeform 90">
              <a:extLst>
                <a:ext uri="{FF2B5EF4-FFF2-40B4-BE49-F238E27FC236}">
                  <a16:creationId xmlns:a16="http://schemas.microsoft.com/office/drawing/2014/main" id="{184AEB09-EB08-604B-AC9C-43039EE91DFE}"/>
                </a:ext>
              </a:extLst>
            </p:cNvPr>
            <p:cNvSpPr>
              <a:spLocks noEditPoints="1"/>
            </p:cNvSpPr>
            <p:nvPr/>
          </p:nvSpPr>
          <p:spPr bwMode="auto">
            <a:xfrm>
              <a:off x="3437" y="1784"/>
              <a:ext cx="426" cy="302"/>
            </a:xfrm>
            <a:custGeom>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153" name="Group 59">
            <a:extLst>
              <a:ext uri="{FF2B5EF4-FFF2-40B4-BE49-F238E27FC236}">
                <a16:creationId xmlns:a16="http://schemas.microsoft.com/office/drawing/2014/main" id="{892D387B-5AA1-8044-8D45-614FDCB30B66}"/>
              </a:ext>
            </a:extLst>
          </p:cNvPr>
          <p:cNvGrpSpPr>
            <a:grpSpLocks noChangeAspect="1"/>
          </p:cNvGrpSpPr>
          <p:nvPr userDrawn="1"/>
        </p:nvGrpSpPr>
        <p:grpSpPr>
          <a:xfrm>
            <a:off x="2075617" y="3217044"/>
            <a:ext cx="466978" cy="281356"/>
            <a:chOff x="6554" y="532"/>
            <a:chExt cx="400" cy="241"/>
          </a:xfrm>
          <a:solidFill>
            <a:schemeClr val="accent1"/>
          </a:solidFill>
        </p:grpSpPr>
        <p:sp>
          <p:nvSpPr>
            <p:cNvPr id="154" name="Freeform 60">
              <a:extLst>
                <a:ext uri="{FF2B5EF4-FFF2-40B4-BE49-F238E27FC236}">
                  <a16:creationId xmlns:a16="http://schemas.microsoft.com/office/drawing/2014/main" id="{CA82DAE1-B4D6-1142-8988-789C66AB55DB}"/>
                </a:ext>
              </a:extLst>
            </p:cNvPr>
            <p:cNvSpPr/>
            <p:nvPr/>
          </p:nvSpPr>
          <p:spPr bwMode="auto">
            <a:xfrm>
              <a:off x="6554" y="532"/>
              <a:ext cx="400" cy="241"/>
            </a:xfrm>
            <a:custGeom>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55" name="Freeform 61">
              <a:extLst>
                <a:ext uri="{FF2B5EF4-FFF2-40B4-BE49-F238E27FC236}">
                  <a16:creationId xmlns:a16="http://schemas.microsoft.com/office/drawing/2014/main" id="{F6DD371E-5D02-AF4E-8FE8-2BC519C3177C}"/>
                </a:ext>
              </a:extLst>
            </p:cNvPr>
            <p:cNvSpPr/>
            <p:nvPr/>
          </p:nvSpPr>
          <p:spPr bwMode="auto">
            <a:xfrm>
              <a:off x="6812" y="534"/>
              <a:ext cx="141" cy="124"/>
            </a:xfrm>
            <a:custGeom>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56" name="Group 60">
            <a:extLst>
              <a:ext uri="{FF2B5EF4-FFF2-40B4-BE49-F238E27FC236}">
                <a16:creationId xmlns:a16="http://schemas.microsoft.com/office/drawing/2014/main" id="{909B4C50-0B6B-F940-B96B-0F025E25749D}"/>
              </a:ext>
            </a:extLst>
          </p:cNvPr>
          <p:cNvGrpSpPr>
            <a:grpSpLocks noChangeAspect="1"/>
          </p:cNvGrpSpPr>
          <p:nvPr userDrawn="1"/>
        </p:nvGrpSpPr>
        <p:grpSpPr>
          <a:xfrm>
            <a:off x="3329567" y="3117577"/>
            <a:ext cx="491836" cy="480291"/>
            <a:chOff x="6726" y="600"/>
            <a:chExt cx="426" cy="416"/>
          </a:xfrm>
          <a:solidFill>
            <a:schemeClr val="accent1"/>
          </a:solidFill>
        </p:grpSpPr>
        <p:sp>
          <p:nvSpPr>
            <p:cNvPr id="157" name="Freeform 61">
              <a:extLst>
                <a:ext uri="{FF2B5EF4-FFF2-40B4-BE49-F238E27FC236}">
                  <a16:creationId xmlns:a16="http://schemas.microsoft.com/office/drawing/2014/main" id="{9C3A8E24-140A-A045-9B50-E9B468100282}"/>
                </a:ext>
              </a:extLst>
            </p:cNvPr>
            <p:cNvSpPr/>
            <p:nvPr/>
          </p:nvSpPr>
          <p:spPr bwMode="auto">
            <a:xfrm>
              <a:off x="6726" y="999"/>
              <a:ext cx="426" cy="17"/>
            </a:xfrm>
            <a:custGeom>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2">
              <a:extLst>
                <a:ext uri="{FF2B5EF4-FFF2-40B4-BE49-F238E27FC236}">
                  <a16:creationId xmlns:a16="http://schemas.microsoft.com/office/drawing/2014/main" id="{7B95F1FD-5650-BC4B-808D-C3715C5F40BE}"/>
                </a:ext>
              </a:extLst>
            </p:cNvPr>
            <p:cNvSpPr>
              <a:spLocks noEditPoints="1"/>
            </p:cNvSpPr>
            <p:nvPr/>
          </p:nvSpPr>
          <p:spPr bwMode="auto">
            <a:xfrm>
              <a:off x="6744" y="912"/>
              <a:ext cx="71" cy="104"/>
            </a:xfrm>
            <a:custGeom>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3">
              <a:extLst>
                <a:ext uri="{FF2B5EF4-FFF2-40B4-BE49-F238E27FC236}">
                  <a16:creationId xmlns:a16="http://schemas.microsoft.com/office/drawing/2014/main" id="{0ACA05DC-D168-ED4A-8F9D-48683873D78A}"/>
                </a:ext>
              </a:extLst>
            </p:cNvPr>
            <p:cNvSpPr>
              <a:spLocks noEditPoints="1"/>
            </p:cNvSpPr>
            <p:nvPr/>
          </p:nvSpPr>
          <p:spPr bwMode="auto">
            <a:xfrm>
              <a:off x="6850" y="826"/>
              <a:ext cx="71" cy="190"/>
            </a:xfrm>
            <a:custGeom>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4">
              <a:extLst>
                <a:ext uri="{FF2B5EF4-FFF2-40B4-BE49-F238E27FC236}">
                  <a16:creationId xmlns:a16="http://schemas.microsoft.com/office/drawing/2014/main" id="{DEACE061-660B-B846-81F5-5CAC95D88ABD}"/>
                </a:ext>
              </a:extLst>
            </p:cNvPr>
            <p:cNvSpPr>
              <a:spLocks noEditPoints="1"/>
            </p:cNvSpPr>
            <p:nvPr/>
          </p:nvSpPr>
          <p:spPr bwMode="auto">
            <a:xfrm>
              <a:off x="6957" y="860"/>
              <a:ext cx="71" cy="156"/>
            </a:xfrm>
            <a:custGeom>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65">
              <a:extLst>
                <a:ext uri="{FF2B5EF4-FFF2-40B4-BE49-F238E27FC236}">
                  <a16:creationId xmlns:a16="http://schemas.microsoft.com/office/drawing/2014/main" id="{6C1EFCFD-1918-4C4B-9CE7-E8EFB1D43AEC}"/>
                </a:ext>
              </a:extLst>
            </p:cNvPr>
            <p:cNvSpPr>
              <a:spLocks noEditPoints="1"/>
            </p:cNvSpPr>
            <p:nvPr/>
          </p:nvSpPr>
          <p:spPr bwMode="auto">
            <a:xfrm>
              <a:off x="7063" y="739"/>
              <a:ext cx="71" cy="277"/>
            </a:xfrm>
            <a:custGeom>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6">
              <a:extLst>
                <a:ext uri="{FF2B5EF4-FFF2-40B4-BE49-F238E27FC236}">
                  <a16:creationId xmlns:a16="http://schemas.microsoft.com/office/drawing/2014/main" id="{E3276A80-6E12-C248-A63A-BDDBCB6DC276}"/>
                </a:ext>
              </a:extLst>
            </p:cNvPr>
            <p:cNvSpPr>
              <a:spLocks noEditPoints="1"/>
            </p:cNvSpPr>
            <p:nvPr/>
          </p:nvSpPr>
          <p:spPr bwMode="auto">
            <a:xfrm>
              <a:off x="6753" y="774"/>
              <a:ext cx="53" cy="52"/>
            </a:xfrm>
            <a:custGeom>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7">
              <a:extLst>
                <a:ext uri="{FF2B5EF4-FFF2-40B4-BE49-F238E27FC236}">
                  <a16:creationId xmlns:a16="http://schemas.microsoft.com/office/drawing/2014/main" id="{FA66DBB2-838B-4C4A-BA40-168FEF07086F}"/>
                </a:ext>
              </a:extLst>
            </p:cNvPr>
            <p:cNvSpPr>
              <a:spLocks noEditPoints="1"/>
            </p:cNvSpPr>
            <p:nvPr/>
          </p:nvSpPr>
          <p:spPr bwMode="auto">
            <a:xfrm>
              <a:off x="6859" y="687"/>
              <a:ext cx="53" cy="52"/>
            </a:xfrm>
            <a:custGeom>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68">
              <a:extLst>
                <a:ext uri="{FF2B5EF4-FFF2-40B4-BE49-F238E27FC236}">
                  <a16:creationId xmlns:a16="http://schemas.microsoft.com/office/drawing/2014/main" id="{93019F76-8284-AF42-815A-EE8C56616EEB}"/>
                </a:ext>
              </a:extLst>
            </p:cNvPr>
            <p:cNvSpPr>
              <a:spLocks noEditPoints="1"/>
            </p:cNvSpPr>
            <p:nvPr/>
          </p:nvSpPr>
          <p:spPr bwMode="auto">
            <a:xfrm>
              <a:off x="6966" y="722"/>
              <a:ext cx="53" cy="52"/>
            </a:xfrm>
            <a:custGeom>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69">
              <a:extLst>
                <a:ext uri="{FF2B5EF4-FFF2-40B4-BE49-F238E27FC236}">
                  <a16:creationId xmlns:a16="http://schemas.microsoft.com/office/drawing/2014/main" id="{994737E9-AB00-4844-A2D9-029280879396}"/>
                </a:ext>
              </a:extLst>
            </p:cNvPr>
            <p:cNvSpPr>
              <a:spLocks noEditPoints="1"/>
            </p:cNvSpPr>
            <p:nvPr/>
          </p:nvSpPr>
          <p:spPr bwMode="auto">
            <a:xfrm>
              <a:off x="7072" y="600"/>
              <a:ext cx="54" cy="52"/>
            </a:xfrm>
            <a:custGeom>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0">
              <a:extLst>
                <a:ext uri="{FF2B5EF4-FFF2-40B4-BE49-F238E27FC236}">
                  <a16:creationId xmlns:a16="http://schemas.microsoft.com/office/drawing/2014/main" id="{31011639-86D2-1945-816C-1890494209C3}"/>
                </a:ext>
              </a:extLst>
            </p:cNvPr>
            <p:cNvSpPr/>
            <p:nvPr/>
          </p:nvSpPr>
          <p:spPr bwMode="auto">
            <a:xfrm>
              <a:off x="6782" y="714"/>
              <a:ext cx="99" cy="84"/>
            </a:xfrm>
            <a:custGeom>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7">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1">
              <a:extLst>
                <a:ext uri="{FF2B5EF4-FFF2-40B4-BE49-F238E27FC236}">
                  <a16:creationId xmlns:a16="http://schemas.microsoft.com/office/drawing/2014/main" id="{351419A5-CCB8-0F4A-A9D8-85EBBC43D894}"/>
                </a:ext>
              </a:extLst>
            </p:cNvPr>
            <p:cNvSpPr/>
            <p:nvPr/>
          </p:nvSpPr>
          <p:spPr bwMode="auto">
            <a:xfrm>
              <a:off x="6892" y="708"/>
              <a:ext cx="93" cy="44"/>
            </a:xfrm>
            <a:custGeom>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2">
              <a:extLst>
                <a:ext uri="{FF2B5EF4-FFF2-40B4-BE49-F238E27FC236}">
                  <a16:creationId xmlns:a16="http://schemas.microsoft.com/office/drawing/2014/main" id="{E9D27936-5D5D-614F-8C1C-7B1D6C8F53BC}"/>
                </a:ext>
              </a:extLst>
            </p:cNvPr>
            <p:cNvSpPr/>
            <p:nvPr/>
          </p:nvSpPr>
          <p:spPr bwMode="auto">
            <a:xfrm>
              <a:off x="6994" y="630"/>
              <a:ext cx="103" cy="113"/>
            </a:xfrm>
            <a:custGeom>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Group 147">
            <a:extLst>
              <a:ext uri="{FF2B5EF4-FFF2-40B4-BE49-F238E27FC236}">
                <a16:creationId xmlns:a16="http://schemas.microsoft.com/office/drawing/2014/main" id="{1A45C7C7-247A-8046-A96E-AD1F982C8EF8}"/>
              </a:ext>
            </a:extLst>
          </p:cNvPr>
          <p:cNvGrpSpPr>
            <a:grpSpLocks noChangeAspect="1"/>
          </p:cNvGrpSpPr>
          <p:nvPr userDrawn="1"/>
        </p:nvGrpSpPr>
        <p:grpSpPr>
          <a:xfrm>
            <a:off x="4602982" y="4317934"/>
            <a:ext cx="492991" cy="480291"/>
            <a:chOff x="4660" y="3155"/>
            <a:chExt cx="427" cy="416"/>
          </a:xfrm>
          <a:solidFill>
            <a:schemeClr val="accent1"/>
          </a:solidFill>
        </p:grpSpPr>
        <p:sp>
          <p:nvSpPr>
            <p:cNvPr id="170" name="Freeform 148">
              <a:extLst>
                <a:ext uri="{FF2B5EF4-FFF2-40B4-BE49-F238E27FC236}">
                  <a16:creationId xmlns:a16="http://schemas.microsoft.com/office/drawing/2014/main" id="{8E8C409B-9E97-C84A-B9D3-A35AAE508CE2}"/>
                </a:ext>
              </a:extLst>
            </p:cNvPr>
            <p:cNvSpPr/>
            <p:nvPr/>
          </p:nvSpPr>
          <p:spPr bwMode="auto">
            <a:xfrm>
              <a:off x="4952" y="3213"/>
              <a:ext cx="75" cy="72"/>
            </a:xfrm>
            <a:custGeom>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1" name="Freeform 149">
              <a:extLst>
                <a:ext uri="{FF2B5EF4-FFF2-40B4-BE49-F238E27FC236}">
                  <a16:creationId xmlns:a16="http://schemas.microsoft.com/office/drawing/2014/main" id="{DA0B5ECD-870E-4848-9CD3-F2A48AAED96F}"/>
                </a:ext>
              </a:extLst>
            </p:cNvPr>
            <p:cNvSpPr>
              <a:spLocks noEditPoints="1"/>
            </p:cNvSpPr>
            <p:nvPr/>
          </p:nvSpPr>
          <p:spPr bwMode="auto">
            <a:xfrm>
              <a:off x="4998" y="3155"/>
              <a:ext cx="89" cy="87"/>
            </a:xfrm>
            <a:custGeom>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2" name="Freeform 150">
              <a:extLst>
                <a:ext uri="{FF2B5EF4-FFF2-40B4-BE49-F238E27FC236}">
                  <a16:creationId xmlns:a16="http://schemas.microsoft.com/office/drawing/2014/main" id="{F35591AC-ECAA-6A44-8F99-819ED52E6DAB}"/>
                </a:ext>
              </a:extLst>
            </p:cNvPr>
            <p:cNvSpPr/>
            <p:nvPr/>
          </p:nvSpPr>
          <p:spPr bwMode="auto">
            <a:xfrm>
              <a:off x="4970" y="3457"/>
              <a:ext cx="57" cy="55"/>
            </a:xfrm>
            <a:custGeom>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3" name="Freeform 151">
              <a:extLst>
                <a:ext uri="{FF2B5EF4-FFF2-40B4-BE49-F238E27FC236}">
                  <a16:creationId xmlns:a16="http://schemas.microsoft.com/office/drawing/2014/main" id="{7C40EEF9-FCC2-A541-B120-A45140879919}"/>
                </a:ext>
              </a:extLst>
            </p:cNvPr>
            <p:cNvSpPr>
              <a:spLocks noEditPoints="1"/>
            </p:cNvSpPr>
            <p:nvPr/>
          </p:nvSpPr>
          <p:spPr bwMode="auto">
            <a:xfrm>
              <a:off x="4998" y="3485"/>
              <a:ext cx="89" cy="86"/>
            </a:xfrm>
            <a:custGeom>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4" name="Freeform 152">
              <a:extLst>
                <a:ext uri="{FF2B5EF4-FFF2-40B4-BE49-F238E27FC236}">
                  <a16:creationId xmlns:a16="http://schemas.microsoft.com/office/drawing/2014/main" id="{A9892F93-4546-3D4E-B74D-759D573B708D}"/>
                </a:ext>
              </a:extLst>
            </p:cNvPr>
            <p:cNvSpPr/>
            <p:nvPr/>
          </p:nvSpPr>
          <p:spPr bwMode="auto">
            <a:xfrm>
              <a:off x="4720" y="3213"/>
              <a:ext cx="75" cy="72"/>
            </a:xfrm>
            <a:custGeom>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5" name="Freeform 153">
              <a:extLst>
                <a:ext uri="{FF2B5EF4-FFF2-40B4-BE49-F238E27FC236}">
                  <a16:creationId xmlns:a16="http://schemas.microsoft.com/office/drawing/2014/main" id="{FC0B3E8E-2558-BE41-ADEB-7D5023F6BD96}"/>
                </a:ext>
              </a:extLst>
            </p:cNvPr>
            <p:cNvSpPr>
              <a:spLocks noEditPoints="1"/>
            </p:cNvSpPr>
            <p:nvPr/>
          </p:nvSpPr>
          <p:spPr bwMode="auto">
            <a:xfrm>
              <a:off x="4660" y="3155"/>
              <a:ext cx="89" cy="87"/>
            </a:xfrm>
            <a:custGeom>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6" name="Freeform 154">
              <a:extLst>
                <a:ext uri="{FF2B5EF4-FFF2-40B4-BE49-F238E27FC236}">
                  <a16:creationId xmlns:a16="http://schemas.microsoft.com/office/drawing/2014/main" id="{AF5CD9F4-8D4C-B94E-A070-7BA0E2494A4C}"/>
                </a:ext>
              </a:extLst>
            </p:cNvPr>
            <p:cNvSpPr/>
            <p:nvPr/>
          </p:nvSpPr>
          <p:spPr bwMode="auto">
            <a:xfrm>
              <a:off x="4721" y="3457"/>
              <a:ext cx="56" cy="55"/>
            </a:xfrm>
            <a:custGeom>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7" name="Freeform 155">
              <a:extLst>
                <a:ext uri="{FF2B5EF4-FFF2-40B4-BE49-F238E27FC236}">
                  <a16:creationId xmlns:a16="http://schemas.microsoft.com/office/drawing/2014/main" id="{B1B15CB0-A7E5-BC4F-A0BC-F0DE234CCD0C}"/>
                </a:ext>
              </a:extLst>
            </p:cNvPr>
            <p:cNvSpPr>
              <a:spLocks noEditPoints="1"/>
            </p:cNvSpPr>
            <p:nvPr/>
          </p:nvSpPr>
          <p:spPr bwMode="auto">
            <a:xfrm>
              <a:off x="4660" y="3485"/>
              <a:ext cx="89" cy="86"/>
            </a:xfrm>
            <a:custGeom>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8" name="Freeform 156">
              <a:extLst>
                <a:ext uri="{FF2B5EF4-FFF2-40B4-BE49-F238E27FC236}">
                  <a16:creationId xmlns:a16="http://schemas.microsoft.com/office/drawing/2014/main" id="{67AB54EA-1D00-BA41-A554-14265C9BADB6}"/>
                </a:ext>
              </a:extLst>
            </p:cNvPr>
            <p:cNvSpPr/>
            <p:nvPr/>
          </p:nvSpPr>
          <p:spPr bwMode="auto">
            <a:xfrm>
              <a:off x="4944" y="3346"/>
              <a:ext cx="72" cy="17"/>
            </a:xfrm>
            <a:custGeom>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9" name="Freeform 157">
              <a:extLst>
                <a:ext uri="{FF2B5EF4-FFF2-40B4-BE49-F238E27FC236}">
                  <a16:creationId xmlns:a16="http://schemas.microsoft.com/office/drawing/2014/main" id="{7CFDB85D-494A-024F-86F2-B6983F221C93}"/>
                </a:ext>
              </a:extLst>
            </p:cNvPr>
            <p:cNvSpPr>
              <a:spLocks noEditPoints="1"/>
            </p:cNvSpPr>
            <p:nvPr/>
          </p:nvSpPr>
          <p:spPr bwMode="auto">
            <a:xfrm>
              <a:off x="4998" y="3311"/>
              <a:ext cx="89" cy="87"/>
            </a:xfrm>
            <a:custGeom>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0" name="Freeform 158">
              <a:extLst>
                <a:ext uri="{FF2B5EF4-FFF2-40B4-BE49-F238E27FC236}">
                  <a16:creationId xmlns:a16="http://schemas.microsoft.com/office/drawing/2014/main" id="{29B1044C-E2D2-6641-83C4-F6039E8C3EAB}"/>
                </a:ext>
              </a:extLst>
            </p:cNvPr>
            <p:cNvSpPr/>
            <p:nvPr/>
          </p:nvSpPr>
          <p:spPr bwMode="auto">
            <a:xfrm>
              <a:off x="4731" y="3346"/>
              <a:ext cx="71" cy="17"/>
            </a:xfrm>
            <a:custGeom>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1" name="Freeform 159">
              <a:extLst>
                <a:ext uri="{FF2B5EF4-FFF2-40B4-BE49-F238E27FC236}">
                  <a16:creationId xmlns:a16="http://schemas.microsoft.com/office/drawing/2014/main" id="{D04495BF-6265-7A4F-9624-AF37EE9A7BE3}"/>
                </a:ext>
              </a:extLst>
            </p:cNvPr>
            <p:cNvSpPr>
              <a:spLocks noEditPoints="1"/>
            </p:cNvSpPr>
            <p:nvPr/>
          </p:nvSpPr>
          <p:spPr bwMode="auto">
            <a:xfrm>
              <a:off x="4660" y="3311"/>
              <a:ext cx="89" cy="87"/>
            </a:xfrm>
            <a:custGeom>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2" name="Oval 160">
              <a:extLst>
                <a:ext uri="{FF2B5EF4-FFF2-40B4-BE49-F238E27FC236}">
                  <a16:creationId xmlns:a16="http://schemas.microsoft.com/office/drawing/2014/main" id="{0DCD1D92-34C0-2940-9188-97E05488F343}"/>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3" name="Freeform 161">
              <a:extLst>
                <a:ext uri="{FF2B5EF4-FFF2-40B4-BE49-F238E27FC236}">
                  <a16:creationId xmlns:a16="http://schemas.microsoft.com/office/drawing/2014/main" id="{7619177A-DB0B-F247-9FF6-F0476A03D96B}"/>
                </a:ext>
              </a:extLst>
            </p:cNvPr>
            <p:cNvSpPr/>
            <p:nvPr/>
          </p:nvSpPr>
          <p:spPr bwMode="auto">
            <a:xfrm>
              <a:off x="4811" y="3275"/>
              <a:ext cx="107" cy="146"/>
            </a:xfrm>
            <a:custGeom>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0">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85" name="Group 98">
            <a:extLst>
              <a:ext uri="{FF2B5EF4-FFF2-40B4-BE49-F238E27FC236}">
                <a16:creationId xmlns:a16="http://schemas.microsoft.com/office/drawing/2014/main" id="{7C33E39D-1B8D-8E4E-9D4F-DA8DD65CA1F9}"/>
              </a:ext>
            </a:extLst>
          </p:cNvPr>
          <p:cNvGrpSpPr>
            <a:grpSpLocks noChangeAspect="1"/>
          </p:cNvGrpSpPr>
          <p:nvPr userDrawn="1"/>
        </p:nvGrpSpPr>
        <p:grpSpPr>
          <a:xfrm>
            <a:off x="3323794" y="4324704"/>
            <a:ext cx="503382" cy="466750"/>
            <a:chOff x="348" y="3011"/>
            <a:chExt cx="426" cy="395"/>
          </a:xfrm>
          <a:solidFill>
            <a:schemeClr val="accent1"/>
          </a:solidFill>
        </p:grpSpPr>
        <p:sp>
          <p:nvSpPr>
            <p:cNvPr id="186" name="Freeform 99">
              <a:extLst>
                <a:ext uri="{FF2B5EF4-FFF2-40B4-BE49-F238E27FC236}">
                  <a16:creationId xmlns:a16="http://schemas.microsoft.com/office/drawing/2014/main" id="{AD8832E6-74B8-124A-AD34-263F9478BAD9}"/>
                </a:ext>
              </a:extLst>
            </p:cNvPr>
            <p:cNvSpPr>
              <a:spLocks noEditPoints="1"/>
            </p:cNvSpPr>
            <p:nvPr/>
          </p:nvSpPr>
          <p:spPr bwMode="auto">
            <a:xfrm>
              <a:off x="348" y="3011"/>
              <a:ext cx="426" cy="395"/>
            </a:xfrm>
            <a:custGeom>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7" name="Freeform 100">
              <a:extLst>
                <a:ext uri="{FF2B5EF4-FFF2-40B4-BE49-F238E27FC236}">
                  <a16:creationId xmlns:a16="http://schemas.microsoft.com/office/drawing/2014/main" id="{8A44DBE0-E9B2-D848-B6E3-CCE472D440A2}"/>
                </a:ext>
              </a:extLst>
            </p:cNvPr>
            <p:cNvSpPr/>
            <p:nvPr/>
          </p:nvSpPr>
          <p:spPr bwMode="auto">
            <a:xfrm>
              <a:off x="508" y="3092"/>
              <a:ext cx="124" cy="145"/>
            </a:xfrm>
            <a:custGeom>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8" name="Oval 101">
              <a:extLst>
                <a:ext uri="{FF2B5EF4-FFF2-40B4-BE49-F238E27FC236}">
                  <a16:creationId xmlns:a16="http://schemas.microsoft.com/office/drawing/2014/main" id="{AC4C9687-F04A-6D47-9FC0-46BA1393FC91}"/>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89" name="Group 133">
            <a:extLst>
              <a:ext uri="{FF2B5EF4-FFF2-40B4-BE49-F238E27FC236}">
                <a16:creationId xmlns:a16="http://schemas.microsoft.com/office/drawing/2014/main" id="{E59F227F-CDAA-2645-BBA5-7162A1A03A93}"/>
              </a:ext>
            </a:extLst>
          </p:cNvPr>
          <p:cNvGrpSpPr>
            <a:grpSpLocks noChangeAspect="1"/>
          </p:cNvGrpSpPr>
          <p:nvPr userDrawn="1"/>
        </p:nvGrpSpPr>
        <p:grpSpPr>
          <a:xfrm>
            <a:off x="769996" y="4304038"/>
            <a:ext cx="508082" cy="508082"/>
            <a:chOff x="5508" y="2995"/>
            <a:chExt cx="427" cy="427"/>
          </a:xfrm>
          <a:solidFill>
            <a:schemeClr val="accent1"/>
          </a:solidFill>
        </p:grpSpPr>
        <p:sp>
          <p:nvSpPr>
            <p:cNvPr id="190" name="Freeform 134">
              <a:extLst>
                <a:ext uri="{FF2B5EF4-FFF2-40B4-BE49-F238E27FC236}">
                  <a16:creationId xmlns:a16="http://schemas.microsoft.com/office/drawing/2014/main" id="{B7172BEF-887A-9048-B469-007E20F8BE58}"/>
                </a:ext>
              </a:extLst>
            </p:cNvPr>
            <p:cNvSpPr/>
            <p:nvPr/>
          </p:nvSpPr>
          <p:spPr bwMode="auto">
            <a:xfrm>
              <a:off x="5650" y="2995"/>
              <a:ext cx="285" cy="249"/>
            </a:xfrm>
            <a:custGeom>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1" name="Rectangle 135">
              <a:extLst>
                <a:ext uri="{FF2B5EF4-FFF2-40B4-BE49-F238E27FC236}">
                  <a16:creationId xmlns:a16="http://schemas.microsoft.com/office/drawing/2014/main" id="{1FB3B654-0FC6-174C-A116-B31706E9D7D9}"/>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2" name="Rectangle 136">
              <a:extLst>
                <a:ext uri="{FF2B5EF4-FFF2-40B4-BE49-F238E27FC236}">
                  <a16:creationId xmlns:a16="http://schemas.microsoft.com/office/drawing/2014/main" id="{9946ABE7-23E6-9B4E-B0D7-4ECCCED32AED}"/>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3" name="Rectangle 137">
              <a:extLst>
                <a:ext uri="{FF2B5EF4-FFF2-40B4-BE49-F238E27FC236}">
                  <a16:creationId xmlns:a16="http://schemas.microsoft.com/office/drawing/2014/main" id="{39F0F16D-8FEF-344E-AADA-A92E5B937DBD}"/>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4" name="Freeform 138">
              <a:extLst>
                <a:ext uri="{FF2B5EF4-FFF2-40B4-BE49-F238E27FC236}">
                  <a16:creationId xmlns:a16="http://schemas.microsoft.com/office/drawing/2014/main" id="{FDA36911-8FD6-754B-8C4F-BF81FB3448D3}"/>
                </a:ext>
              </a:extLst>
            </p:cNvPr>
            <p:cNvSpPr>
              <a:spLocks noEditPoints="1"/>
            </p:cNvSpPr>
            <p:nvPr/>
          </p:nvSpPr>
          <p:spPr bwMode="auto">
            <a:xfrm>
              <a:off x="5508" y="3120"/>
              <a:ext cx="285" cy="302"/>
            </a:xfrm>
            <a:custGeom>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0" name="Group 128">
            <a:extLst>
              <a:ext uri="{FF2B5EF4-FFF2-40B4-BE49-F238E27FC236}">
                <a16:creationId xmlns:a16="http://schemas.microsoft.com/office/drawing/2014/main" id="{22F35C7D-7426-D643-BA01-1D590EC15894}"/>
              </a:ext>
            </a:extLst>
          </p:cNvPr>
          <p:cNvGrpSpPr>
            <a:grpSpLocks noChangeAspect="1"/>
          </p:cNvGrpSpPr>
          <p:nvPr userDrawn="1"/>
        </p:nvGrpSpPr>
        <p:grpSpPr>
          <a:xfrm>
            <a:off x="2055661" y="4309988"/>
            <a:ext cx="506890" cy="496182"/>
            <a:chOff x="4478" y="2999"/>
            <a:chExt cx="426" cy="417"/>
          </a:xfrm>
          <a:solidFill>
            <a:schemeClr val="accent1"/>
          </a:solidFill>
        </p:grpSpPr>
        <p:sp>
          <p:nvSpPr>
            <p:cNvPr id="211" name="Freeform 129">
              <a:extLst>
                <a:ext uri="{FF2B5EF4-FFF2-40B4-BE49-F238E27FC236}">
                  <a16:creationId xmlns:a16="http://schemas.microsoft.com/office/drawing/2014/main" id="{EB8F390E-DD96-5545-9F4B-5D56F498E4C2}"/>
                </a:ext>
              </a:extLst>
            </p:cNvPr>
            <p:cNvSpPr/>
            <p:nvPr/>
          </p:nvSpPr>
          <p:spPr bwMode="auto">
            <a:xfrm>
              <a:off x="4478" y="2999"/>
              <a:ext cx="320" cy="293"/>
            </a:xfrm>
            <a:custGeom>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2" name="Freeform 130">
              <a:extLst>
                <a:ext uri="{FF2B5EF4-FFF2-40B4-BE49-F238E27FC236}">
                  <a16:creationId xmlns:a16="http://schemas.microsoft.com/office/drawing/2014/main" id="{7E54516C-265B-F84F-9AC7-C2472BCC10ED}"/>
                </a:ext>
              </a:extLst>
            </p:cNvPr>
            <p:cNvSpPr>
              <a:spLocks noEditPoints="1"/>
            </p:cNvSpPr>
            <p:nvPr/>
          </p:nvSpPr>
          <p:spPr bwMode="auto">
            <a:xfrm>
              <a:off x="4638" y="3167"/>
              <a:ext cx="266" cy="249"/>
            </a:xfrm>
            <a:custGeom>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8" name="Group 4">
            <a:extLst>
              <a:ext uri="{FF2B5EF4-FFF2-40B4-BE49-F238E27FC236}">
                <a16:creationId xmlns:a16="http://schemas.microsoft.com/office/drawing/2014/main" id="{6624F93D-A5D3-9049-9233-B5F6165978B5}"/>
              </a:ext>
            </a:extLst>
          </p:cNvPr>
          <p:cNvGrpSpPr>
            <a:grpSpLocks noChangeAspect="1"/>
          </p:cNvGrpSpPr>
          <p:nvPr userDrawn="1"/>
        </p:nvGrpSpPr>
        <p:grpSpPr>
          <a:xfrm>
            <a:off x="5871933" y="3163253"/>
            <a:ext cx="495324" cy="388938"/>
            <a:chOff x="526" y="708"/>
            <a:chExt cx="433" cy="340"/>
          </a:xfrm>
          <a:solidFill>
            <a:schemeClr val="accent1"/>
          </a:solidFill>
        </p:grpSpPr>
        <p:sp>
          <p:nvSpPr>
            <p:cNvPr id="219" name="Freeform 5">
              <a:extLst>
                <a:ext uri="{FF2B5EF4-FFF2-40B4-BE49-F238E27FC236}">
                  <a16:creationId xmlns:a16="http://schemas.microsoft.com/office/drawing/2014/main" id="{2E8CDAC4-7731-2447-B17D-B9E13B8CEA82}"/>
                </a:ext>
              </a:extLst>
            </p:cNvPr>
            <p:cNvSpPr/>
            <p:nvPr/>
          </p:nvSpPr>
          <p:spPr bwMode="auto">
            <a:xfrm>
              <a:off x="724" y="760"/>
              <a:ext cx="19" cy="288"/>
            </a:xfrm>
            <a:custGeom>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6">
              <a:extLst>
                <a:ext uri="{FF2B5EF4-FFF2-40B4-BE49-F238E27FC236}">
                  <a16:creationId xmlns:a16="http://schemas.microsoft.com/office/drawing/2014/main" id="{A2C94C49-2544-FA47-B321-D1783FB63860}"/>
                </a:ext>
              </a:extLst>
            </p:cNvPr>
            <p:cNvSpPr/>
            <p:nvPr/>
          </p:nvSpPr>
          <p:spPr bwMode="auto">
            <a:xfrm>
              <a:off x="670" y="1030"/>
              <a:ext cx="126" cy="18"/>
            </a:xfrm>
            <a:custGeom>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
              <a:extLst>
                <a:ext uri="{FF2B5EF4-FFF2-40B4-BE49-F238E27FC236}">
                  <a16:creationId xmlns:a16="http://schemas.microsoft.com/office/drawing/2014/main" id="{781D715F-F7E0-F543-B710-788014F086A9}"/>
                </a:ext>
              </a:extLst>
            </p:cNvPr>
            <p:cNvSpPr/>
            <p:nvPr/>
          </p:nvSpPr>
          <p:spPr bwMode="auto">
            <a:xfrm>
              <a:off x="526" y="727"/>
              <a:ext cx="146" cy="161"/>
            </a:xfrm>
            <a:custGeom>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8">
              <a:extLst>
                <a:ext uri="{FF2B5EF4-FFF2-40B4-BE49-F238E27FC236}">
                  <a16:creationId xmlns:a16="http://schemas.microsoft.com/office/drawing/2014/main" id="{0449EDE6-204A-E142-A345-649467F3CCF8}"/>
                </a:ext>
              </a:extLst>
            </p:cNvPr>
            <p:cNvSpPr>
              <a:spLocks noEditPoints="1"/>
            </p:cNvSpPr>
            <p:nvPr/>
          </p:nvSpPr>
          <p:spPr bwMode="auto">
            <a:xfrm>
              <a:off x="697" y="708"/>
              <a:ext cx="73" cy="70"/>
            </a:xfrm>
            <a:custGeom>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
              <a:extLst>
                <a:ext uri="{FF2B5EF4-FFF2-40B4-BE49-F238E27FC236}">
                  <a16:creationId xmlns:a16="http://schemas.microsoft.com/office/drawing/2014/main" id="{E4CF1E8A-68D5-C344-B526-2ACB3B2BED2F}"/>
                </a:ext>
              </a:extLst>
            </p:cNvPr>
            <p:cNvSpPr>
              <a:spLocks noEditPoints="1"/>
            </p:cNvSpPr>
            <p:nvPr/>
          </p:nvSpPr>
          <p:spPr bwMode="auto">
            <a:xfrm>
              <a:off x="528" y="869"/>
              <a:ext cx="142" cy="84"/>
            </a:xfrm>
            <a:custGeom>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0">
              <a:extLst>
                <a:ext uri="{FF2B5EF4-FFF2-40B4-BE49-F238E27FC236}">
                  <a16:creationId xmlns:a16="http://schemas.microsoft.com/office/drawing/2014/main" id="{58AF212D-5CEA-A842-96AF-38B282583057}"/>
                </a:ext>
              </a:extLst>
            </p:cNvPr>
            <p:cNvSpPr/>
            <p:nvPr/>
          </p:nvSpPr>
          <p:spPr bwMode="auto">
            <a:xfrm>
              <a:off x="813" y="726"/>
              <a:ext cx="146" cy="162"/>
            </a:xfrm>
            <a:custGeom>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1">
              <a:extLst>
                <a:ext uri="{FF2B5EF4-FFF2-40B4-BE49-F238E27FC236}">
                  <a16:creationId xmlns:a16="http://schemas.microsoft.com/office/drawing/2014/main" id="{9067C848-4E37-864F-8284-E48FC9AB4158}"/>
                </a:ext>
              </a:extLst>
            </p:cNvPr>
            <p:cNvSpPr>
              <a:spLocks noEditPoints="1"/>
            </p:cNvSpPr>
            <p:nvPr/>
          </p:nvSpPr>
          <p:spPr bwMode="auto">
            <a:xfrm>
              <a:off x="813" y="869"/>
              <a:ext cx="144" cy="84"/>
            </a:xfrm>
            <a:custGeom>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2">
              <a:extLst>
                <a:ext uri="{FF2B5EF4-FFF2-40B4-BE49-F238E27FC236}">
                  <a16:creationId xmlns:a16="http://schemas.microsoft.com/office/drawing/2014/main" id="{9A7B4980-F4B3-A149-A900-28415FEB81F6}"/>
                </a:ext>
              </a:extLst>
            </p:cNvPr>
            <p:cNvSpPr/>
            <p:nvPr/>
          </p:nvSpPr>
          <p:spPr bwMode="auto">
            <a:xfrm>
              <a:off x="563" y="726"/>
              <a:ext cx="153" cy="18"/>
            </a:xfrm>
            <a:custGeom>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
              <a:extLst>
                <a:ext uri="{FF2B5EF4-FFF2-40B4-BE49-F238E27FC236}">
                  <a16:creationId xmlns:a16="http://schemas.microsoft.com/office/drawing/2014/main" id="{CD6B0A6B-597F-4E4C-A0FC-EFC38B204DD0}"/>
                </a:ext>
              </a:extLst>
            </p:cNvPr>
            <p:cNvSpPr/>
            <p:nvPr/>
          </p:nvSpPr>
          <p:spPr bwMode="auto">
            <a:xfrm>
              <a:off x="750" y="726"/>
              <a:ext cx="172" cy="18"/>
            </a:xfrm>
            <a:custGeom>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4" name="Group 127">
            <a:extLst>
              <a:ext uri="{FF2B5EF4-FFF2-40B4-BE49-F238E27FC236}">
                <a16:creationId xmlns:a16="http://schemas.microsoft.com/office/drawing/2014/main" id="{26DA099A-68DD-4F43-8FC7-141CAF6D1F91}"/>
              </a:ext>
            </a:extLst>
          </p:cNvPr>
          <p:cNvGrpSpPr>
            <a:grpSpLocks noChangeAspect="1"/>
          </p:cNvGrpSpPr>
          <p:nvPr userDrawn="1"/>
        </p:nvGrpSpPr>
        <p:grpSpPr>
          <a:xfrm>
            <a:off x="7145733" y="3130536"/>
            <a:ext cx="464916" cy="454373"/>
            <a:chOff x="4656" y="1821"/>
            <a:chExt cx="441" cy="431"/>
          </a:xfrm>
          <a:solidFill>
            <a:schemeClr val="accent1"/>
          </a:solidFill>
        </p:grpSpPr>
        <p:sp>
          <p:nvSpPr>
            <p:cNvPr id="235" name="Freeform 128">
              <a:extLst>
                <a:ext uri="{FF2B5EF4-FFF2-40B4-BE49-F238E27FC236}">
                  <a16:creationId xmlns:a16="http://schemas.microsoft.com/office/drawing/2014/main" id="{78927280-4152-A345-AA5D-215134AE8360}"/>
                </a:ext>
              </a:extLst>
            </p:cNvPr>
            <p:cNvSpPr/>
            <p:nvPr/>
          </p:nvSpPr>
          <p:spPr bwMode="auto">
            <a:xfrm>
              <a:off x="4682" y="2037"/>
              <a:ext cx="415" cy="215"/>
            </a:xfrm>
            <a:custGeom>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6" name="Freeform 129">
              <a:extLst>
                <a:ext uri="{FF2B5EF4-FFF2-40B4-BE49-F238E27FC236}">
                  <a16:creationId xmlns:a16="http://schemas.microsoft.com/office/drawing/2014/main" id="{7096CC96-16F5-7E42-AA31-AC96F5CDDF98}"/>
                </a:ext>
              </a:extLst>
            </p:cNvPr>
            <p:cNvSpPr/>
            <p:nvPr/>
          </p:nvSpPr>
          <p:spPr bwMode="auto">
            <a:xfrm>
              <a:off x="5007" y="2038"/>
              <a:ext cx="90" cy="90"/>
            </a:xfrm>
            <a:custGeom>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7" name="Freeform 130">
              <a:extLst>
                <a:ext uri="{FF2B5EF4-FFF2-40B4-BE49-F238E27FC236}">
                  <a16:creationId xmlns:a16="http://schemas.microsoft.com/office/drawing/2014/main" id="{8C889260-9971-2F40-8AA7-F1A4FF7B8A74}"/>
                </a:ext>
              </a:extLst>
            </p:cNvPr>
            <p:cNvSpPr/>
            <p:nvPr/>
          </p:nvSpPr>
          <p:spPr bwMode="auto">
            <a:xfrm>
              <a:off x="4656" y="1821"/>
              <a:ext cx="331" cy="307"/>
            </a:xfrm>
            <a:custGeom>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8" name="Freeform 131">
              <a:extLst>
                <a:ext uri="{FF2B5EF4-FFF2-40B4-BE49-F238E27FC236}">
                  <a16:creationId xmlns:a16="http://schemas.microsoft.com/office/drawing/2014/main" id="{A5D47A1B-2141-4945-9F0E-589BB8088B6D}"/>
                </a:ext>
              </a:extLst>
            </p:cNvPr>
            <p:cNvSpPr/>
            <p:nvPr/>
          </p:nvSpPr>
          <p:spPr bwMode="auto">
            <a:xfrm>
              <a:off x="4812" y="2035"/>
              <a:ext cx="19" cy="39"/>
            </a:xfrm>
            <a:custGeom>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9" name="Freeform 132">
              <a:extLst>
                <a:ext uri="{FF2B5EF4-FFF2-40B4-BE49-F238E27FC236}">
                  <a16:creationId xmlns:a16="http://schemas.microsoft.com/office/drawing/2014/main" id="{C5C6BBAC-F34B-7C43-9879-1B7567B25FFB}"/>
                </a:ext>
              </a:extLst>
            </p:cNvPr>
            <p:cNvSpPr/>
            <p:nvPr/>
          </p:nvSpPr>
          <p:spPr bwMode="auto">
            <a:xfrm>
              <a:off x="4812" y="1893"/>
              <a:ext cx="19" cy="39"/>
            </a:xfrm>
            <a:custGeom>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0" name="Freeform 133">
              <a:extLst>
                <a:ext uri="{FF2B5EF4-FFF2-40B4-BE49-F238E27FC236}">
                  <a16:creationId xmlns:a16="http://schemas.microsoft.com/office/drawing/2014/main" id="{0E22282C-227B-014F-891F-C55AF7AEC82D}"/>
                </a:ext>
              </a:extLst>
            </p:cNvPr>
            <p:cNvSpPr/>
            <p:nvPr/>
          </p:nvSpPr>
          <p:spPr bwMode="auto">
            <a:xfrm>
              <a:off x="4780" y="1914"/>
              <a:ext cx="81" cy="139"/>
            </a:xfrm>
            <a:custGeom>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41" name="Group 21">
            <a:extLst>
              <a:ext uri="{FF2B5EF4-FFF2-40B4-BE49-F238E27FC236}">
                <a16:creationId xmlns:a16="http://schemas.microsoft.com/office/drawing/2014/main" id="{DF8633A8-0907-CE44-BEF9-83365247F289}"/>
              </a:ext>
            </a:extLst>
          </p:cNvPr>
          <p:cNvGrpSpPr>
            <a:grpSpLocks noChangeAspect="1"/>
          </p:cNvGrpSpPr>
          <p:nvPr userDrawn="1"/>
        </p:nvGrpSpPr>
        <p:grpSpPr>
          <a:xfrm>
            <a:off x="8420433" y="3170602"/>
            <a:ext cx="473118" cy="374241"/>
            <a:chOff x="526" y="695"/>
            <a:chExt cx="445" cy="352"/>
          </a:xfrm>
          <a:solidFill>
            <a:schemeClr val="accent1"/>
          </a:solidFill>
        </p:grpSpPr>
        <p:sp>
          <p:nvSpPr>
            <p:cNvPr id="242" name="Freeform 241">
              <a:extLst>
                <a:ext uri="{FF2B5EF4-FFF2-40B4-BE49-F238E27FC236}">
                  <a16:creationId xmlns:a16="http://schemas.microsoft.com/office/drawing/2014/main" id="{0AA12124-D907-9A4D-80E8-82D0A9B109B0}"/>
                </a:ext>
              </a:extLst>
            </p:cNvPr>
            <p:cNvSpPr/>
            <p:nvPr/>
          </p:nvSpPr>
          <p:spPr bwMode="auto">
            <a:xfrm>
              <a:off x="526" y="741"/>
              <a:ext cx="382" cy="306"/>
            </a:xfrm>
            <a:custGeom>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42">
              <a:extLst>
                <a:ext uri="{FF2B5EF4-FFF2-40B4-BE49-F238E27FC236}">
                  <a16:creationId xmlns:a16="http://schemas.microsoft.com/office/drawing/2014/main" id="{F4562066-1535-0A41-9AF3-02D89DD896A2}"/>
                </a:ext>
              </a:extLst>
            </p:cNvPr>
            <p:cNvSpPr>
              <a:spLocks noEditPoints="1"/>
            </p:cNvSpPr>
            <p:nvPr/>
          </p:nvSpPr>
          <p:spPr bwMode="auto">
            <a:xfrm>
              <a:off x="573" y="695"/>
              <a:ext cx="398" cy="284"/>
            </a:xfrm>
            <a:custGeom>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43">
              <a:extLst>
                <a:ext uri="{FF2B5EF4-FFF2-40B4-BE49-F238E27FC236}">
                  <a16:creationId xmlns:a16="http://schemas.microsoft.com/office/drawing/2014/main" id="{B9353C7F-D73E-B741-B879-7A160E097286}"/>
                </a:ext>
              </a:extLst>
            </p:cNvPr>
            <p:cNvSpPr/>
            <p:nvPr/>
          </p:nvSpPr>
          <p:spPr bwMode="auto">
            <a:xfrm>
              <a:off x="885" y="800"/>
              <a:ext cx="17" cy="16"/>
            </a:xfrm>
            <a:custGeom>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244">
              <a:extLst>
                <a:ext uri="{FF2B5EF4-FFF2-40B4-BE49-F238E27FC236}">
                  <a16:creationId xmlns:a16="http://schemas.microsoft.com/office/drawing/2014/main" id="{6486A7B7-4FAD-3449-8DAB-F23DCD605F83}"/>
                </a:ext>
              </a:extLst>
            </p:cNvPr>
            <p:cNvSpPr/>
            <p:nvPr/>
          </p:nvSpPr>
          <p:spPr bwMode="auto">
            <a:xfrm>
              <a:off x="861" y="725"/>
              <a:ext cx="65" cy="67"/>
            </a:xfrm>
            <a:custGeom>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1">
            <a:extLst>
              <a:ext uri="{FF2B5EF4-FFF2-40B4-BE49-F238E27FC236}">
                <a16:creationId xmlns:a16="http://schemas.microsoft.com/office/drawing/2014/main" id="{812AA5DC-A4DD-534D-91AC-87DD09713D05}"/>
              </a:ext>
            </a:extLst>
          </p:cNvPr>
          <p:cNvGrpSpPr>
            <a:grpSpLocks noChangeAspect="1"/>
          </p:cNvGrpSpPr>
          <p:nvPr userDrawn="1"/>
        </p:nvGrpSpPr>
        <p:grpSpPr>
          <a:xfrm>
            <a:off x="9667337" y="3111955"/>
            <a:ext cx="516168" cy="491534"/>
            <a:chOff x="6721" y="1874"/>
            <a:chExt cx="440" cy="419"/>
          </a:xfrm>
          <a:solidFill>
            <a:schemeClr val="accent1"/>
          </a:solidFill>
        </p:grpSpPr>
        <p:sp>
          <p:nvSpPr>
            <p:cNvPr id="247" name="Freeform 72">
              <a:extLst>
                <a:ext uri="{FF2B5EF4-FFF2-40B4-BE49-F238E27FC236}">
                  <a16:creationId xmlns:a16="http://schemas.microsoft.com/office/drawing/2014/main" id="{1D7E026E-1643-2347-9166-545F7A08B43D}"/>
                </a:ext>
              </a:extLst>
            </p:cNvPr>
            <p:cNvSpPr>
              <a:spLocks noEditPoints="1"/>
            </p:cNvSpPr>
            <p:nvPr/>
          </p:nvSpPr>
          <p:spPr bwMode="auto">
            <a:xfrm>
              <a:off x="7033" y="1952"/>
              <a:ext cx="73" cy="72"/>
            </a:xfrm>
            <a:custGeom>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8" name="Freeform 73">
              <a:extLst>
                <a:ext uri="{FF2B5EF4-FFF2-40B4-BE49-F238E27FC236}">
                  <a16:creationId xmlns:a16="http://schemas.microsoft.com/office/drawing/2014/main" id="{5351C73B-0BA7-0241-A5BE-40597F228322}"/>
                </a:ext>
              </a:extLst>
            </p:cNvPr>
            <p:cNvSpPr>
              <a:spLocks noEditPoints="1"/>
            </p:cNvSpPr>
            <p:nvPr/>
          </p:nvSpPr>
          <p:spPr bwMode="auto">
            <a:xfrm>
              <a:off x="6979" y="1898"/>
              <a:ext cx="182" cy="180"/>
            </a:xfrm>
            <a:custGeom>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9" name="Freeform 74">
              <a:extLst>
                <a:ext uri="{FF2B5EF4-FFF2-40B4-BE49-F238E27FC236}">
                  <a16:creationId xmlns:a16="http://schemas.microsoft.com/office/drawing/2014/main" id="{D0E469F3-B678-D945-AFB3-6BFFD229CAFC}"/>
                </a:ext>
              </a:extLst>
            </p:cNvPr>
            <p:cNvSpPr>
              <a:spLocks noEditPoints="1"/>
            </p:cNvSpPr>
            <p:nvPr/>
          </p:nvSpPr>
          <p:spPr bwMode="auto">
            <a:xfrm>
              <a:off x="6776" y="2095"/>
              <a:ext cx="330" cy="198"/>
            </a:xfrm>
            <a:custGeom>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0" name="Freeform 75">
              <a:extLst>
                <a:ext uri="{FF2B5EF4-FFF2-40B4-BE49-F238E27FC236}">
                  <a16:creationId xmlns:a16="http://schemas.microsoft.com/office/drawing/2014/main" id="{B77FEEF7-7A7C-6643-BD56-5BEB58280FD6}"/>
                </a:ext>
              </a:extLst>
            </p:cNvPr>
            <p:cNvSpPr/>
            <p:nvPr/>
          </p:nvSpPr>
          <p:spPr bwMode="auto">
            <a:xfrm>
              <a:off x="6776" y="2049"/>
              <a:ext cx="330" cy="64"/>
            </a:xfrm>
            <a:custGeom>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1" name="Freeform 76">
              <a:extLst>
                <a:ext uri="{FF2B5EF4-FFF2-40B4-BE49-F238E27FC236}">
                  <a16:creationId xmlns:a16="http://schemas.microsoft.com/office/drawing/2014/main" id="{3B035025-AC90-7E49-BF74-FB46A87DC5B1}"/>
                </a:ext>
              </a:extLst>
            </p:cNvPr>
            <p:cNvSpPr/>
            <p:nvPr/>
          </p:nvSpPr>
          <p:spPr bwMode="auto">
            <a:xfrm>
              <a:off x="6897" y="1988"/>
              <a:ext cx="72" cy="18"/>
            </a:xfrm>
            <a:custGeom>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2" name="Freeform 77">
              <a:extLst>
                <a:ext uri="{FF2B5EF4-FFF2-40B4-BE49-F238E27FC236}">
                  <a16:creationId xmlns:a16="http://schemas.microsoft.com/office/drawing/2014/main" id="{4B9EEDFD-B5F6-5942-AA55-8425057F8DD4}"/>
                </a:ext>
              </a:extLst>
            </p:cNvPr>
            <p:cNvSpPr/>
            <p:nvPr/>
          </p:nvSpPr>
          <p:spPr bwMode="auto">
            <a:xfrm>
              <a:off x="6846" y="1995"/>
              <a:ext cx="78" cy="77"/>
            </a:xfrm>
            <a:custGeom>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3" name="Freeform 78">
              <a:extLst>
                <a:ext uri="{FF2B5EF4-FFF2-40B4-BE49-F238E27FC236}">
                  <a16:creationId xmlns:a16="http://schemas.microsoft.com/office/drawing/2014/main" id="{8B50B4AE-2180-ED47-B4DC-A8F6FCB2FDBB}"/>
                </a:ext>
              </a:extLst>
            </p:cNvPr>
            <p:cNvSpPr>
              <a:spLocks noEditPoints="1"/>
            </p:cNvSpPr>
            <p:nvPr/>
          </p:nvSpPr>
          <p:spPr bwMode="auto">
            <a:xfrm>
              <a:off x="6721" y="1874"/>
              <a:ext cx="165" cy="162"/>
            </a:xfrm>
            <a:custGeom>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4" name="Freeform 79">
              <a:extLst>
                <a:ext uri="{FF2B5EF4-FFF2-40B4-BE49-F238E27FC236}">
                  <a16:creationId xmlns:a16="http://schemas.microsoft.com/office/drawing/2014/main" id="{3D3213DB-D615-0D43-8639-180B31371C41}"/>
                </a:ext>
              </a:extLst>
            </p:cNvPr>
            <p:cNvSpPr>
              <a:spLocks noEditPoints="1"/>
            </p:cNvSpPr>
            <p:nvPr/>
          </p:nvSpPr>
          <p:spPr bwMode="auto">
            <a:xfrm>
              <a:off x="6941" y="2203"/>
              <a:ext cx="128" cy="54"/>
            </a:xfrm>
            <a:custGeom>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55" name="Group 83">
            <a:extLst>
              <a:ext uri="{FF2B5EF4-FFF2-40B4-BE49-F238E27FC236}">
                <a16:creationId xmlns:a16="http://schemas.microsoft.com/office/drawing/2014/main" id="{55833B4A-F17D-B241-A9BA-CAA65D15AF3C}"/>
              </a:ext>
            </a:extLst>
          </p:cNvPr>
          <p:cNvGrpSpPr>
            <a:grpSpLocks noChangeAspect="1"/>
          </p:cNvGrpSpPr>
          <p:nvPr userDrawn="1"/>
        </p:nvGrpSpPr>
        <p:grpSpPr>
          <a:xfrm>
            <a:off x="5862737" y="4307059"/>
            <a:ext cx="513716" cy="502040"/>
            <a:chOff x="2584" y="1926"/>
            <a:chExt cx="440" cy="430"/>
          </a:xfrm>
          <a:solidFill>
            <a:schemeClr val="accent1"/>
          </a:solidFill>
        </p:grpSpPr>
        <p:sp>
          <p:nvSpPr>
            <p:cNvPr id="256" name="Freeform 84">
              <a:extLst>
                <a:ext uri="{FF2B5EF4-FFF2-40B4-BE49-F238E27FC236}">
                  <a16:creationId xmlns:a16="http://schemas.microsoft.com/office/drawing/2014/main" id="{62D09E4A-E7E8-5A4A-85DE-1B4599C0D0C4}"/>
                </a:ext>
              </a:extLst>
            </p:cNvPr>
            <p:cNvSpPr>
              <a:spLocks noEditPoints="1"/>
            </p:cNvSpPr>
            <p:nvPr/>
          </p:nvSpPr>
          <p:spPr bwMode="auto">
            <a:xfrm>
              <a:off x="2749" y="2033"/>
              <a:ext cx="165" cy="162"/>
            </a:xfrm>
            <a:custGeom>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7" name="Freeform 85">
              <a:extLst>
                <a:ext uri="{FF2B5EF4-FFF2-40B4-BE49-F238E27FC236}">
                  <a16:creationId xmlns:a16="http://schemas.microsoft.com/office/drawing/2014/main" id="{B59559F8-B7D8-E64A-9FF8-99BE86B67197}"/>
                </a:ext>
              </a:extLst>
            </p:cNvPr>
            <p:cNvSpPr>
              <a:spLocks noEditPoints="1"/>
            </p:cNvSpPr>
            <p:nvPr/>
          </p:nvSpPr>
          <p:spPr bwMode="auto">
            <a:xfrm>
              <a:off x="2584" y="1989"/>
              <a:ext cx="73" cy="71"/>
            </a:xfrm>
            <a:custGeom>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8" name="Freeform 86">
              <a:extLst>
                <a:ext uri="{FF2B5EF4-FFF2-40B4-BE49-F238E27FC236}">
                  <a16:creationId xmlns:a16="http://schemas.microsoft.com/office/drawing/2014/main" id="{CB47EC8D-F2B8-9F4C-B06A-5E3E2F46DBEF}"/>
                </a:ext>
              </a:extLst>
            </p:cNvPr>
            <p:cNvSpPr>
              <a:spLocks noEditPoints="1"/>
            </p:cNvSpPr>
            <p:nvPr/>
          </p:nvSpPr>
          <p:spPr bwMode="auto">
            <a:xfrm>
              <a:off x="2951" y="1926"/>
              <a:ext cx="73" cy="72"/>
            </a:xfrm>
            <a:custGeom>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9" name="Freeform 87">
              <a:extLst>
                <a:ext uri="{FF2B5EF4-FFF2-40B4-BE49-F238E27FC236}">
                  <a16:creationId xmlns:a16="http://schemas.microsoft.com/office/drawing/2014/main" id="{DFF5E73F-F4A1-184B-8EF1-E99450FD4003}"/>
                </a:ext>
              </a:extLst>
            </p:cNvPr>
            <p:cNvSpPr>
              <a:spLocks noEditPoints="1"/>
            </p:cNvSpPr>
            <p:nvPr/>
          </p:nvSpPr>
          <p:spPr bwMode="auto">
            <a:xfrm>
              <a:off x="2584" y="2284"/>
              <a:ext cx="73" cy="72"/>
            </a:xfrm>
            <a:custGeom>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0" name="Freeform 88">
              <a:extLst>
                <a:ext uri="{FF2B5EF4-FFF2-40B4-BE49-F238E27FC236}">
                  <a16:creationId xmlns:a16="http://schemas.microsoft.com/office/drawing/2014/main" id="{4315EC7A-FDF7-B047-92A8-C59FD41F2ACE}"/>
                </a:ext>
              </a:extLst>
            </p:cNvPr>
            <p:cNvSpPr>
              <a:spLocks noEditPoints="1"/>
            </p:cNvSpPr>
            <p:nvPr/>
          </p:nvSpPr>
          <p:spPr bwMode="auto">
            <a:xfrm>
              <a:off x="2795" y="2284"/>
              <a:ext cx="73" cy="72"/>
            </a:xfrm>
            <a:custGeom>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1" name="Freeform 89">
              <a:extLst>
                <a:ext uri="{FF2B5EF4-FFF2-40B4-BE49-F238E27FC236}">
                  <a16:creationId xmlns:a16="http://schemas.microsoft.com/office/drawing/2014/main" id="{5CFD3D7D-9ADA-AA40-8FB5-1D7E3F968532}"/>
                </a:ext>
              </a:extLst>
            </p:cNvPr>
            <p:cNvSpPr/>
            <p:nvPr/>
          </p:nvSpPr>
          <p:spPr bwMode="auto">
            <a:xfrm>
              <a:off x="2634" y="2159"/>
              <a:ext cx="152" cy="149"/>
            </a:xfrm>
            <a:custGeom>
              <a:gdLst>
                <a:gd name="T0" fmla="*/ 12 w 152"/>
                <a:gd name="T1" fmla="*/ 149 h 149"/>
                <a:gd name="T2" fmla="*/ 0 w 152"/>
                <a:gd name="T3" fmla="*/ 136 h 149"/>
                <a:gd name="T4" fmla="*/ 139 w 152"/>
                <a:gd name="T5" fmla="*/ 0 h 149"/>
                <a:gd name="T6" fmla="*/ 152 w 152"/>
                <a:gd name="T7" fmla="*/ 13 h 149"/>
                <a:gd name="T8" fmla="*/ 12 w 152"/>
                <a:gd name="T9" fmla="*/ 149 h 149"/>
              </a:gd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2" name="Freeform 90">
              <a:extLst>
                <a:ext uri="{FF2B5EF4-FFF2-40B4-BE49-F238E27FC236}">
                  <a16:creationId xmlns:a16="http://schemas.microsoft.com/office/drawing/2014/main" id="{BC3144C7-6411-9D4D-B367-CCFF229DB9B8}"/>
                </a:ext>
              </a:extLst>
            </p:cNvPr>
            <p:cNvSpPr/>
            <p:nvPr/>
          </p:nvSpPr>
          <p:spPr bwMode="auto">
            <a:xfrm>
              <a:off x="2877" y="1975"/>
              <a:ext cx="98" cy="96"/>
            </a:xfrm>
            <a:custGeom>
              <a:gdLst>
                <a:gd name="T0" fmla="*/ 13 w 98"/>
                <a:gd name="T1" fmla="*/ 96 h 96"/>
                <a:gd name="T2" fmla="*/ 0 w 98"/>
                <a:gd name="T3" fmla="*/ 82 h 96"/>
                <a:gd name="T4" fmla="*/ 84 w 98"/>
                <a:gd name="T5" fmla="*/ 0 h 96"/>
                <a:gd name="T6" fmla="*/ 98 w 98"/>
                <a:gd name="T7" fmla="*/ 12 h 96"/>
                <a:gd name="T8" fmla="*/ 13 w 98"/>
                <a:gd name="T9" fmla="*/ 96 h 96"/>
              </a:gd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3" name="Freeform 91">
              <a:extLst>
                <a:ext uri="{FF2B5EF4-FFF2-40B4-BE49-F238E27FC236}">
                  <a16:creationId xmlns:a16="http://schemas.microsoft.com/office/drawing/2014/main" id="{6E2C42D8-3319-674B-8133-E01915A2D52A}"/>
                </a:ext>
              </a:extLst>
            </p:cNvPr>
            <p:cNvSpPr/>
            <p:nvPr/>
          </p:nvSpPr>
          <p:spPr bwMode="auto">
            <a:xfrm>
              <a:off x="2642" y="2029"/>
              <a:ext cx="125" cy="66"/>
            </a:xfrm>
            <a:custGeom>
              <a:gdLst>
                <a:gd name="T0" fmla="*/ 119 w 125"/>
                <a:gd name="T1" fmla="*/ 66 h 66"/>
                <a:gd name="T2" fmla="*/ 0 w 125"/>
                <a:gd name="T3" fmla="*/ 16 h 66"/>
                <a:gd name="T4" fmla="*/ 7 w 125"/>
                <a:gd name="T5" fmla="*/ 0 h 66"/>
                <a:gd name="T6" fmla="*/ 125 w 125"/>
                <a:gd name="T7" fmla="*/ 49 h 66"/>
                <a:gd name="T8" fmla="*/ 119 w 125"/>
                <a:gd name="T9" fmla="*/ 66 h 66"/>
              </a:gd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4" name="Freeform 92">
              <a:extLst>
                <a:ext uri="{FF2B5EF4-FFF2-40B4-BE49-F238E27FC236}">
                  <a16:creationId xmlns:a16="http://schemas.microsoft.com/office/drawing/2014/main" id="{8081C512-E672-CD44-BBE3-358BA6E0D14A}"/>
                </a:ext>
              </a:extLst>
            </p:cNvPr>
            <p:cNvSpPr/>
            <p:nvPr/>
          </p:nvSpPr>
          <p:spPr bwMode="auto">
            <a:xfrm>
              <a:off x="2891" y="2142"/>
              <a:ext cx="74" cy="44"/>
            </a:xfrm>
            <a:custGeom>
              <a:gdLst>
                <a:gd name="T0" fmla="*/ 66 w 74"/>
                <a:gd name="T1" fmla="*/ 44 h 44"/>
                <a:gd name="T2" fmla="*/ 0 w 74"/>
                <a:gd name="T3" fmla="*/ 17 h 44"/>
                <a:gd name="T4" fmla="*/ 8 w 74"/>
                <a:gd name="T5" fmla="*/ 0 h 44"/>
                <a:gd name="T6" fmla="*/ 74 w 74"/>
                <a:gd name="T7" fmla="*/ 27 h 44"/>
                <a:gd name="T8" fmla="*/ 66 w 74"/>
                <a:gd name="T9" fmla="*/ 44 h 44"/>
              </a:gd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5" name="Rectangle 93">
              <a:extLst>
                <a:ext uri="{FF2B5EF4-FFF2-40B4-BE49-F238E27FC236}">
                  <a16:creationId xmlns:a16="http://schemas.microsoft.com/office/drawing/2014/main" id="{55AC4F32-9438-A14E-8D3B-30633B19540D}"/>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6" name="Freeform 94">
              <a:extLst>
                <a:ext uri="{FF2B5EF4-FFF2-40B4-BE49-F238E27FC236}">
                  <a16:creationId xmlns:a16="http://schemas.microsoft.com/office/drawing/2014/main" id="{B353D0A6-EF38-0447-A7B3-679682F67888}"/>
                </a:ext>
              </a:extLst>
            </p:cNvPr>
            <p:cNvSpPr>
              <a:spLocks noEditPoints="1"/>
            </p:cNvSpPr>
            <p:nvPr/>
          </p:nvSpPr>
          <p:spPr bwMode="auto">
            <a:xfrm>
              <a:off x="2951" y="2150"/>
              <a:ext cx="73" cy="72"/>
            </a:xfrm>
            <a:custGeom>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67" name="Group 59">
            <a:extLst>
              <a:ext uri="{FF2B5EF4-FFF2-40B4-BE49-F238E27FC236}">
                <a16:creationId xmlns:a16="http://schemas.microsoft.com/office/drawing/2014/main" id="{EF54C6A6-4BD1-DD43-B133-D4D226C9EE9F}"/>
              </a:ext>
            </a:extLst>
          </p:cNvPr>
          <p:cNvGrpSpPr>
            <a:grpSpLocks noChangeAspect="1"/>
          </p:cNvGrpSpPr>
          <p:nvPr userDrawn="1"/>
        </p:nvGrpSpPr>
        <p:grpSpPr>
          <a:xfrm>
            <a:off x="7131257" y="4307059"/>
            <a:ext cx="493868" cy="502040"/>
            <a:chOff x="5696" y="644"/>
            <a:chExt cx="423" cy="430"/>
          </a:xfrm>
          <a:solidFill>
            <a:schemeClr val="accent1"/>
          </a:solidFill>
        </p:grpSpPr>
        <p:sp>
          <p:nvSpPr>
            <p:cNvPr id="268" name="Freeform 60">
              <a:extLst>
                <a:ext uri="{FF2B5EF4-FFF2-40B4-BE49-F238E27FC236}">
                  <a16:creationId xmlns:a16="http://schemas.microsoft.com/office/drawing/2014/main" id="{2DF46A1E-62FB-7842-A1DF-1D64EE7FCC0F}"/>
                </a:ext>
              </a:extLst>
            </p:cNvPr>
            <p:cNvSpPr>
              <a:spLocks noEditPoints="1"/>
            </p:cNvSpPr>
            <p:nvPr/>
          </p:nvSpPr>
          <p:spPr bwMode="auto">
            <a:xfrm>
              <a:off x="5852" y="644"/>
              <a:ext cx="111" cy="107"/>
            </a:xfrm>
            <a:custGeom>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61">
              <a:extLst>
                <a:ext uri="{FF2B5EF4-FFF2-40B4-BE49-F238E27FC236}">
                  <a16:creationId xmlns:a16="http://schemas.microsoft.com/office/drawing/2014/main" id="{BCA1753F-E6EB-1940-8BE6-7A70C8DF218E}"/>
                </a:ext>
              </a:extLst>
            </p:cNvPr>
            <p:cNvSpPr>
              <a:spLocks noEditPoints="1"/>
            </p:cNvSpPr>
            <p:nvPr/>
          </p:nvSpPr>
          <p:spPr bwMode="auto">
            <a:xfrm>
              <a:off x="5852" y="967"/>
              <a:ext cx="111" cy="107"/>
            </a:xfrm>
            <a:custGeom>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62">
              <a:extLst>
                <a:ext uri="{FF2B5EF4-FFF2-40B4-BE49-F238E27FC236}">
                  <a16:creationId xmlns:a16="http://schemas.microsoft.com/office/drawing/2014/main" id="{FF51CD50-D176-8646-A186-FB4270CF1C91}"/>
                </a:ext>
              </a:extLst>
            </p:cNvPr>
            <p:cNvSpPr>
              <a:spLocks noEditPoints="1"/>
            </p:cNvSpPr>
            <p:nvPr/>
          </p:nvSpPr>
          <p:spPr bwMode="auto">
            <a:xfrm>
              <a:off x="6008" y="967"/>
              <a:ext cx="111" cy="107"/>
            </a:xfrm>
            <a:custGeom>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63">
              <a:extLst>
                <a:ext uri="{FF2B5EF4-FFF2-40B4-BE49-F238E27FC236}">
                  <a16:creationId xmlns:a16="http://schemas.microsoft.com/office/drawing/2014/main" id="{1DC2FFD3-7641-234A-B73A-9039B77A4C14}"/>
                </a:ext>
              </a:extLst>
            </p:cNvPr>
            <p:cNvSpPr>
              <a:spLocks noEditPoints="1"/>
            </p:cNvSpPr>
            <p:nvPr/>
          </p:nvSpPr>
          <p:spPr bwMode="auto">
            <a:xfrm>
              <a:off x="5696" y="967"/>
              <a:ext cx="111" cy="107"/>
            </a:xfrm>
            <a:custGeom>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64">
              <a:extLst>
                <a:ext uri="{FF2B5EF4-FFF2-40B4-BE49-F238E27FC236}">
                  <a16:creationId xmlns:a16="http://schemas.microsoft.com/office/drawing/2014/main" id="{3900C2DB-FA6B-D741-97DE-59BAC7FFBDBD}"/>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65">
              <a:extLst>
                <a:ext uri="{FF2B5EF4-FFF2-40B4-BE49-F238E27FC236}">
                  <a16:creationId xmlns:a16="http://schemas.microsoft.com/office/drawing/2014/main" id="{3C85F200-5885-C74D-8D1C-4D9CD9852A78}"/>
                </a:ext>
              </a:extLst>
            </p:cNvPr>
            <p:cNvSpPr/>
            <p:nvPr/>
          </p:nvSpPr>
          <p:spPr bwMode="auto">
            <a:xfrm>
              <a:off x="5742" y="859"/>
              <a:ext cx="331" cy="116"/>
            </a:xfrm>
            <a:custGeom>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 40">
            <a:extLst>
              <a:ext uri="{FF2B5EF4-FFF2-40B4-BE49-F238E27FC236}">
                <a16:creationId xmlns:a16="http://schemas.microsoft.com/office/drawing/2014/main" id="{AF2CB69D-CBB7-0741-B4F3-6F052ABCDA2C}"/>
              </a:ext>
            </a:extLst>
          </p:cNvPr>
          <p:cNvGrpSpPr>
            <a:grpSpLocks noChangeAspect="1"/>
          </p:cNvGrpSpPr>
          <p:nvPr userDrawn="1"/>
        </p:nvGrpSpPr>
        <p:grpSpPr>
          <a:xfrm>
            <a:off x="8413589" y="4350552"/>
            <a:ext cx="486806" cy="415054"/>
            <a:chOff x="4653" y="690"/>
            <a:chExt cx="441" cy="376"/>
          </a:xfrm>
          <a:solidFill>
            <a:schemeClr val="accent1"/>
          </a:solidFill>
        </p:grpSpPr>
        <p:sp>
          <p:nvSpPr>
            <p:cNvPr id="275" name="Freeform 41">
              <a:extLst>
                <a:ext uri="{FF2B5EF4-FFF2-40B4-BE49-F238E27FC236}">
                  <a16:creationId xmlns:a16="http://schemas.microsoft.com/office/drawing/2014/main" id="{FDCBE251-79E8-114A-B376-CEEF3221D205}"/>
                </a:ext>
              </a:extLst>
            </p:cNvPr>
            <p:cNvSpPr>
              <a:spLocks noEditPoints="1"/>
            </p:cNvSpPr>
            <p:nvPr/>
          </p:nvSpPr>
          <p:spPr bwMode="auto">
            <a:xfrm>
              <a:off x="4653" y="815"/>
              <a:ext cx="110" cy="180"/>
            </a:xfrm>
            <a:custGeom>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6" name="Freeform 42">
              <a:extLst>
                <a:ext uri="{FF2B5EF4-FFF2-40B4-BE49-F238E27FC236}">
                  <a16:creationId xmlns:a16="http://schemas.microsoft.com/office/drawing/2014/main" id="{33EAB03F-1708-934A-9326-DCEC1E3BE1BF}"/>
                </a:ext>
              </a:extLst>
            </p:cNvPr>
            <p:cNvSpPr>
              <a:spLocks noEditPoints="1"/>
            </p:cNvSpPr>
            <p:nvPr/>
          </p:nvSpPr>
          <p:spPr bwMode="auto">
            <a:xfrm>
              <a:off x="4984" y="815"/>
              <a:ext cx="110" cy="180"/>
            </a:xfrm>
            <a:custGeom>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7" name="Freeform 43">
              <a:extLst>
                <a:ext uri="{FF2B5EF4-FFF2-40B4-BE49-F238E27FC236}">
                  <a16:creationId xmlns:a16="http://schemas.microsoft.com/office/drawing/2014/main" id="{0B22C036-1BF3-914B-849D-BDC1213AB0A1}"/>
                </a:ext>
              </a:extLst>
            </p:cNvPr>
            <p:cNvSpPr>
              <a:spLocks noEditPoints="1"/>
            </p:cNvSpPr>
            <p:nvPr/>
          </p:nvSpPr>
          <p:spPr bwMode="auto">
            <a:xfrm>
              <a:off x="4800" y="815"/>
              <a:ext cx="147" cy="251"/>
            </a:xfrm>
            <a:custGeom>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8" name="Freeform 44">
              <a:extLst>
                <a:ext uri="{FF2B5EF4-FFF2-40B4-BE49-F238E27FC236}">
                  <a16:creationId xmlns:a16="http://schemas.microsoft.com/office/drawing/2014/main" id="{E8B7DC9C-B6E3-214C-96AB-8281516F4326}"/>
                </a:ext>
              </a:extLst>
            </p:cNvPr>
            <p:cNvSpPr>
              <a:spLocks noEditPoints="1"/>
            </p:cNvSpPr>
            <p:nvPr/>
          </p:nvSpPr>
          <p:spPr bwMode="auto">
            <a:xfrm>
              <a:off x="4671" y="726"/>
              <a:ext cx="74" cy="71"/>
            </a:xfrm>
            <a:custGeom>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9" name="Freeform 45">
              <a:extLst>
                <a:ext uri="{FF2B5EF4-FFF2-40B4-BE49-F238E27FC236}">
                  <a16:creationId xmlns:a16="http://schemas.microsoft.com/office/drawing/2014/main" id="{397E29E0-4660-AC44-AA91-82129C1E3367}"/>
                </a:ext>
              </a:extLst>
            </p:cNvPr>
            <p:cNvSpPr>
              <a:spLocks noEditPoints="1"/>
            </p:cNvSpPr>
            <p:nvPr/>
          </p:nvSpPr>
          <p:spPr bwMode="auto">
            <a:xfrm>
              <a:off x="5002" y="726"/>
              <a:ext cx="74" cy="71"/>
            </a:xfrm>
            <a:custGeom>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0" name="Freeform 46">
              <a:extLst>
                <a:ext uri="{FF2B5EF4-FFF2-40B4-BE49-F238E27FC236}">
                  <a16:creationId xmlns:a16="http://schemas.microsoft.com/office/drawing/2014/main" id="{30250504-C013-FB41-8C0E-CC245995DB46}"/>
                </a:ext>
              </a:extLst>
            </p:cNvPr>
            <p:cNvSpPr>
              <a:spLocks noEditPoints="1"/>
            </p:cNvSpPr>
            <p:nvPr/>
          </p:nvSpPr>
          <p:spPr bwMode="auto">
            <a:xfrm>
              <a:off x="4818" y="690"/>
              <a:ext cx="111" cy="107"/>
            </a:xfrm>
            <a:custGeom>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81" name="Group 122">
            <a:extLst>
              <a:ext uri="{FF2B5EF4-FFF2-40B4-BE49-F238E27FC236}">
                <a16:creationId xmlns:a16="http://schemas.microsoft.com/office/drawing/2014/main" id="{67283CD5-0255-B34C-BF7E-E084473C74C8}"/>
              </a:ext>
            </a:extLst>
          </p:cNvPr>
          <p:cNvGrpSpPr>
            <a:grpSpLocks noChangeAspect="1"/>
          </p:cNvGrpSpPr>
          <p:nvPr userDrawn="1"/>
        </p:nvGrpSpPr>
        <p:grpSpPr>
          <a:xfrm>
            <a:off x="9677138" y="4315989"/>
            <a:ext cx="496566" cy="484180"/>
            <a:chOff x="487" y="3214"/>
            <a:chExt cx="441" cy="430"/>
          </a:xfrm>
          <a:solidFill>
            <a:schemeClr val="accent1"/>
          </a:solidFill>
        </p:grpSpPr>
        <p:sp>
          <p:nvSpPr>
            <p:cNvPr id="282" name="Freeform 123">
              <a:extLst>
                <a:ext uri="{FF2B5EF4-FFF2-40B4-BE49-F238E27FC236}">
                  <a16:creationId xmlns:a16="http://schemas.microsoft.com/office/drawing/2014/main" id="{72773FE5-CE95-0F4A-A086-070B43C2F3E0}"/>
                </a:ext>
              </a:extLst>
            </p:cNvPr>
            <p:cNvSpPr>
              <a:spLocks noEditPoints="1"/>
            </p:cNvSpPr>
            <p:nvPr/>
          </p:nvSpPr>
          <p:spPr bwMode="auto">
            <a:xfrm>
              <a:off x="579" y="3214"/>
              <a:ext cx="257" cy="233"/>
            </a:xfrm>
            <a:custGeom>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3" name="Freeform 124">
              <a:extLst>
                <a:ext uri="{FF2B5EF4-FFF2-40B4-BE49-F238E27FC236}">
                  <a16:creationId xmlns:a16="http://schemas.microsoft.com/office/drawing/2014/main" id="{6CDD5E0D-6567-8F41-ADDA-4873270097A1}"/>
                </a:ext>
              </a:extLst>
            </p:cNvPr>
            <p:cNvSpPr>
              <a:spLocks noEditPoints="1"/>
            </p:cNvSpPr>
            <p:nvPr/>
          </p:nvSpPr>
          <p:spPr bwMode="auto">
            <a:xfrm>
              <a:off x="790" y="3411"/>
              <a:ext cx="110" cy="108"/>
            </a:xfrm>
            <a:custGeom>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4" name="Freeform 125">
              <a:extLst>
                <a:ext uri="{FF2B5EF4-FFF2-40B4-BE49-F238E27FC236}">
                  <a16:creationId xmlns:a16="http://schemas.microsoft.com/office/drawing/2014/main" id="{5E033DBE-D634-B34B-A4D9-A3AB7C0A517D}"/>
                </a:ext>
              </a:extLst>
            </p:cNvPr>
            <p:cNvSpPr>
              <a:spLocks noEditPoints="1"/>
            </p:cNvSpPr>
            <p:nvPr/>
          </p:nvSpPr>
          <p:spPr bwMode="auto">
            <a:xfrm>
              <a:off x="763" y="3501"/>
              <a:ext cx="165" cy="89"/>
            </a:xfrm>
            <a:custGeom>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5" name="Freeform 126">
              <a:extLst>
                <a:ext uri="{FF2B5EF4-FFF2-40B4-BE49-F238E27FC236}">
                  <a16:creationId xmlns:a16="http://schemas.microsoft.com/office/drawing/2014/main" id="{88700ED7-B9BA-B04A-9A1A-F877F79FB300}"/>
                </a:ext>
              </a:extLst>
            </p:cNvPr>
            <p:cNvSpPr>
              <a:spLocks noEditPoints="1"/>
            </p:cNvSpPr>
            <p:nvPr/>
          </p:nvSpPr>
          <p:spPr bwMode="auto">
            <a:xfrm>
              <a:off x="515" y="3411"/>
              <a:ext cx="110" cy="108"/>
            </a:xfrm>
            <a:custGeom>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6" name="Freeform 127">
              <a:extLst>
                <a:ext uri="{FF2B5EF4-FFF2-40B4-BE49-F238E27FC236}">
                  <a16:creationId xmlns:a16="http://schemas.microsoft.com/office/drawing/2014/main" id="{BD63F862-ED81-B442-A78A-FA6F5D451E40}"/>
                </a:ext>
              </a:extLst>
            </p:cNvPr>
            <p:cNvSpPr>
              <a:spLocks noEditPoints="1"/>
            </p:cNvSpPr>
            <p:nvPr/>
          </p:nvSpPr>
          <p:spPr bwMode="auto">
            <a:xfrm>
              <a:off x="487" y="3501"/>
              <a:ext cx="165" cy="89"/>
            </a:xfrm>
            <a:custGeom>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7" name="Freeform 128">
              <a:extLst>
                <a:ext uri="{FF2B5EF4-FFF2-40B4-BE49-F238E27FC236}">
                  <a16:creationId xmlns:a16="http://schemas.microsoft.com/office/drawing/2014/main" id="{52268FC6-A33C-ED46-9336-05D86CD13697}"/>
                </a:ext>
              </a:extLst>
            </p:cNvPr>
            <p:cNvSpPr>
              <a:spLocks noEditPoints="1"/>
            </p:cNvSpPr>
            <p:nvPr/>
          </p:nvSpPr>
          <p:spPr bwMode="auto">
            <a:xfrm>
              <a:off x="652" y="3465"/>
              <a:ext cx="111" cy="107"/>
            </a:xfrm>
            <a:custGeom>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8" name="Freeform 129">
              <a:extLst>
                <a:ext uri="{FF2B5EF4-FFF2-40B4-BE49-F238E27FC236}">
                  <a16:creationId xmlns:a16="http://schemas.microsoft.com/office/drawing/2014/main" id="{56D30168-2DF4-C24E-A79D-080A99416751}"/>
                </a:ext>
              </a:extLst>
            </p:cNvPr>
            <p:cNvSpPr>
              <a:spLocks noEditPoints="1"/>
            </p:cNvSpPr>
            <p:nvPr/>
          </p:nvSpPr>
          <p:spPr bwMode="auto">
            <a:xfrm>
              <a:off x="625" y="3554"/>
              <a:ext cx="165" cy="90"/>
            </a:xfrm>
            <a:custGeom>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9" name="Freeform 130">
              <a:extLst>
                <a:ext uri="{FF2B5EF4-FFF2-40B4-BE49-F238E27FC236}">
                  <a16:creationId xmlns:a16="http://schemas.microsoft.com/office/drawing/2014/main" id="{A4CCAC9E-9F1D-7349-BC9A-B1EF22D519BF}"/>
                </a:ext>
              </a:extLst>
            </p:cNvPr>
            <p:cNvSpPr/>
            <p:nvPr/>
          </p:nvSpPr>
          <p:spPr bwMode="auto">
            <a:xfrm>
              <a:off x="634" y="3250"/>
              <a:ext cx="147" cy="18"/>
            </a:xfrm>
            <a:custGeom>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0" name="Freeform 131">
              <a:extLst>
                <a:ext uri="{FF2B5EF4-FFF2-40B4-BE49-F238E27FC236}">
                  <a16:creationId xmlns:a16="http://schemas.microsoft.com/office/drawing/2014/main" id="{747CB487-9672-EB4E-BF7A-C18B01144E97}"/>
                </a:ext>
              </a:extLst>
            </p:cNvPr>
            <p:cNvSpPr/>
            <p:nvPr/>
          </p:nvSpPr>
          <p:spPr bwMode="auto">
            <a:xfrm>
              <a:off x="634" y="3286"/>
              <a:ext cx="147" cy="18"/>
            </a:xfrm>
            <a:custGeom>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1" name="Freeform 132">
              <a:extLst>
                <a:ext uri="{FF2B5EF4-FFF2-40B4-BE49-F238E27FC236}">
                  <a16:creationId xmlns:a16="http://schemas.microsoft.com/office/drawing/2014/main" id="{5B3A23BE-3A97-9841-A871-547EA51CCD45}"/>
                </a:ext>
              </a:extLst>
            </p:cNvPr>
            <p:cNvSpPr/>
            <p:nvPr/>
          </p:nvSpPr>
          <p:spPr bwMode="auto">
            <a:xfrm>
              <a:off x="634" y="3322"/>
              <a:ext cx="147" cy="17"/>
            </a:xfrm>
            <a:custGeom>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92" name="Group 140">
            <a:extLst>
              <a:ext uri="{FF2B5EF4-FFF2-40B4-BE49-F238E27FC236}">
                <a16:creationId xmlns:a16="http://schemas.microsoft.com/office/drawing/2014/main" id="{AA388C1F-8ED0-A044-89DE-83D0EEEFC80D}"/>
              </a:ext>
            </a:extLst>
          </p:cNvPr>
          <p:cNvGrpSpPr>
            <a:grpSpLocks noChangeAspect="1"/>
          </p:cNvGrpSpPr>
          <p:nvPr userDrawn="1"/>
        </p:nvGrpSpPr>
        <p:grpSpPr>
          <a:xfrm>
            <a:off x="10942164" y="1923077"/>
            <a:ext cx="513762" cy="513760"/>
            <a:chOff x="1560" y="3157"/>
            <a:chExt cx="426" cy="426"/>
          </a:xfrm>
          <a:solidFill>
            <a:schemeClr val="accent1"/>
          </a:solidFill>
        </p:grpSpPr>
        <p:sp>
          <p:nvSpPr>
            <p:cNvPr id="293" name="Freeform 141">
              <a:extLst>
                <a:ext uri="{FF2B5EF4-FFF2-40B4-BE49-F238E27FC236}">
                  <a16:creationId xmlns:a16="http://schemas.microsoft.com/office/drawing/2014/main" id="{6DC37675-C2E9-FC4D-97FC-14D1439C69D6}"/>
                </a:ext>
              </a:extLst>
            </p:cNvPr>
            <p:cNvSpPr>
              <a:spLocks noEditPoints="1"/>
            </p:cNvSpPr>
            <p:nvPr/>
          </p:nvSpPr>
          <p:spPr bwMode="auto">
            <a:xfrm>
              <a:off x="1702" y="3211"/>
              <a:ext cx="142" cy="141"/>
            </a:xfrm>
            <a:custGeom>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4" name="Freeform 142">
              <a:extLst>
                <a:ext uri="{FF2B5EF4-FFF2-40B4-BE49-F238E27FC236}">
                  <a16:creationId xmlns:a16="http://schemas.microsoft.com/office/drawing/2014/main" id="{4F2931D0-0ECD-044F-B8D7-5EE83E53FC2A}"/>
                </a:ext>
              </a:extLst>
            </p:cNvPr>
            <p:cNvSpPr>
              <a:spLocks noEditPoints="1"/>
            </p:cNvSpPr>
            <p:nvPr/>
          </p:nvSpPr>
          <p:spPr bwMode="auto">
            <a:xfrm>
              <a:off x="1643" y="3157"/>
              <a:ext cx="262" cy="392"/>
            </a:xfrm>
            <a:custGeom>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5" name="Freeform 143">
              <a:extLst>
                <a:ext uri="{FF2B5EF4-FFF2-40B4-BE49-F238E27FC236}">
                  <a16:creationId xmlns:a16="http://schemas.microsoft.com/office/drawing/2014/main" id="{2A0F5EEC-4050-F048-8AF4-786AD6520BE2}"/>
                </a:ext>
              </a:extLst>
            </p:cNvPr>
            <p:cNvSpPr>
              <a:spLocks noEditPoints="1"/>
            </p:cNvSpPr>
            <p:nvPr/>
          </p:nvSpPr>
          <p:spPr bwMode="auto">
            <a:xfrm>
              <a:off x="1560" y="3499"/>
              <a:ext cx="426" cy="84"/>
            </a:xfrm>
            <a:custGeom>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96" name="Group 265">
            <a:extLst>
              <a:ext uri="{FF2B5EF4-FFF2-40B4-BE49-F238E27FC236}">
                <a16:creationId xmlns:a16="http://schemas.microsoft.com/office/drawing/2014/main" id="{DB574722-631E-164E-AF27-0911A2FEC321}"/>
              </a:ext>
            </a:extLst>
          </p:cNvPr>
          <p:cNvGrpSpPr>
            <a:grpSpLocks noChangeAspect="1"/>
          </p:cNvGrpSpPr>
          <p:nvPr userDrawn="1"/>
        </p:nvGrpSpPr>
        <p:grpSpPr>
          <a:xfrm>
            <a:off x="9686502" y="1940477"/>
            <a:ext cx="477838" cy="478960"/>
            <a:chOff x="4480" y="2998"/>
            <a:chExt cx="426" cy="427"/>
          </a:xfrm>
          <a:solidFill>
            <a:schemeClr val="accent1"/>
          </a:solidFill>
        </p:grpSpPr>
        <p:sp>
          <p:nvSpPr>
            <p:cNvPr id="297" name="Freeform 266">
              <a:extLst>
                <a:ext uri="{FF2B5EF4-FFF2-40B4-BE49-F238E27FC236}">
                  <a16:creationId xmlns:a16="http://schemas.microsoft.com/office/drawing/2014/main" id="{B9360F8F-35A5-2948-A337-3FA5820849CE}"/>
                </a:ext>
              </a:extLst>
            </p:cNvPr>
            <p:cNvSpPr>
              <a:spLocks noEditPoints="1"/>
            </p:cNvSpPr>
            <p:nvPr/>
          </p:nvSpPr>
          <p:spPr bwMode="auto">
            <a:xfrm>
              <a:off x="4480" y="2998"/>
              <a:ext cx="426" cy="427"/>
            </a:xfrm>
            <a:custGeom>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8" name="Freeform 267">
              <a:extLst>
                <a:ext uri="{FF2B5EF4-FFF2-40B4-BE49-F238E27FC236}">
                  <a16:creationId xmlns:a16="http://schemas.microsoft.com/office/drawing/2014/main" id="{D12E7AA0-6D6F-1C44-A651-D3A086359C5B}"/>
                </a:ext>
              </a:extLst>
            </p:cNvPr>
            <p:cNvSpPr/>
            <p:nvPr/>
          </p:nvSpPr>
          <p:spPr bwMode="auto">
            <a:xfrm>
              <a:off x="4569" y="3001"/>
              <a:ext cx="123" cy="419"/>
            </a:xfrm>
            <a:custGeom>
              <a:gdLst>
                <a:gd name="T0" fmla="*/ 74 w 83"/>
                <a:gd name="T1" fmla="*/ 283 h 283"/>
                <a:gd name="T2" fmla="*/ 74 w 83"/>
                <a:gd name="T3" fmla="*/ 0 h 283"/>
                <a:gd name="T4" fmla="*/ 83 w 83"/>
                <a:gd name="T5" fmla="*/ 8 h 283"/>
                <a:gd name="T6" fmla="*/ 83 w 83"/>
                <a:gd name="T7" fmla="*/ 276 h 283"/>
                <a:gd name="T8" fmla="*/ 74 w 83"/>
                <a:gd name="T9" fmla="*/ 283 h 283"/>
              </a:gd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9" name="Freeform 268">
              <a:extLst>
                <a:ext uri="{FF2B5EF4-FFF2-40B4-BE49-F238E27FC236}">
                  <a16:creationId xmlns:a16="http://schemas.microsoft.com/office/drawing/2014/main" id="{106A933E-5559-2E41-A345-731A2E0F8E12}"/>
                </a:ext>
              </a:extLst>
            </p:cNvPr>
            <p:cNvSpPr/>
            <p:nvPr/>
          </p:nvSpPr>
          <p:spPr bwMode="auto">
            <a:xfrm>
              <a:off x="4696" y="3001"/>
              <a:ext cx="123" cy="419"/>
            </a:xfrm>
            <a:custGeom>
              <a:gdLst>
                <a:gd name="T0" fmla="*/ 9 w 83"/>
                <a:gd name="T1" fmla="*/ 283 h 283"/>
                <a:gd name="T2" fmla="*/ 0 w 83"/>
                <a:gd name="T3" fmla="*/ 276 h 283"/>
                <a:gd name="T4" fmla="*/ 0 w 83"/>
                <a:gd name="T5" fmla="*/ 8 h 283"/>
                <a:gd name="T6" fmla="*/ 9 w 83"/>
                <a:gd name="T7" fmla="*/ 0 h 283"/>
                <a:gd name="T8" fmla="*/ 9 w 83"/>
                <a:gd name="T9" fmla="*/ 283 h 283"/>
              </a:gd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0" name="Rectangle 269">
              <a:extLst>
                <a:ext uri="{FF2B5EF4-FFF2-40B4-BE49-F238E27FC236}">
                  <a16:creationId xmlns:a16="http://schemas.microsoft.com/office/drawing/2014/main" id="{9C2B5A47-940D-EA48-BAA9-4D26EB1A3E33}"/>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1" name="Rectangle 270">
              <a:extLst>
                <a:ext uri="{FF2B5EF4-FFF2-40B4-BE49-F238E27FC236}">
                  <a16:creationId xmlns:a16="http://schemas.microsoft.com/office/drawing/2014/main" id="{C426CD1A-3E99-F54E-9271-6DE70CA75D4B}"/>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2" name="Rectangle 271">
              <a:extLst>
                <a:ext uri="{FF2B5EF4-FFF2-40B4-BE49-F238E27FC236}">
                  <a16:creationId xmlns:a16="http://schemas.microsoft.com/office/drawing/2014/main" id="{B3811124-B17C-D94B-8AD1-A4CCDE5EA500}"/>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303" name="Group 92">
            <a:extLst>
              <a:ext uri="{FF2B5EF4-FFF2-40B4-BE49-F238E27FC236}">
                <a16:creationId xmlns:a16="http://schemas.microsoft.com/office/drawing/2014/main" id="{31B23D09-8735-2E48-9CB2-8770D647F10C}"/>
              </a:ext>
            </a:extLst>
          </p:cNvPr>
          <p:cNvGrpSpPr>
            <a:grpSpLocks noChangeAspect="1"/>
          </p:cNvGrpSpPr>
          <p:nvPr userDrawn="1"/>
        </p:nvGrpSpPr>
        <p:grpSpPr>
          <a:xfrm>
            <a:off x="4560155" y="5528336"/>
            <a:ext cx="578644" cy="412766"/>
            <a:chOff x="341" y="1769"/>
            <a:chExt cx="450" cy="321"/>
          </a:xfrm>
          <a:solidFill>
            <a:schemeClr val="accent1"/>
          </a:solidFill>
        </p:grpSpPr>
        <p:sp>
          <p:nvSpPr>
            <p:cNvPr id="304" name="Freeform 93">
              <a:extLst>
                <a:ext uri="{FF2B5EF4-FFF2-40B4-BE49-F238E27FC236}">
                  <a16:creationId xmlns:a16="http://schemas.microsoft.com/office/drawing/2014/main" id="{D6BFE993-EF88-464D-8FCD-289EC0330F6D}"/>
                </a:ext>
              </a:extLst>
            </p:cNvPr>
            <p:cNvSpPr>
              <a:spLocks noEditPoints="1"/>
            </p:cNvSpPr>
            <p:nvPr/>
          </p:nvSpPr>
          <p:spPr bwMode="auto">
            <a:xfrm>
              <a:off x="447" y="1923"/>
              <a:ext cx="101" cy="167"/>
            </a:xfrm>
            <a:custGeom>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5" name="Freeform 94">
              <a:extLst>
                <a:ext uri="{FF2B5EF4-FFF2-40B4-BE49-F238E27FC236}">
                  <a16:creationId xmlns:a16="http://schemas.microsoft.com/office/drawing/2014/main" id="{37409101-31C8-E04F-8744-C456BF4053A3}"/>
                </a:ext>
              </a:extLst>
            </p:cNvPr>
            <p:cNvSpPr/>
            <p:nvPr/>
          </p:nvSpPr>
          <p:spPr bwMode="auto">
            <a:xfrm>
              <a:off x="417" y="1806"/>
              <a:ext cx="321" cy="194"/>
            </a:xfrm>
            <a:custGeom>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6" name="Freeform 95">
              <a:extLst>
                <a:ext uri="{FF2B5EF4-FFF2-40B4-BE49-F238E27FC236}">
                  <a16:creationId xmlns:a16="http://schemas.microsoft.com/office/drawing/2014/main" id="{844F5876-66F7-7740-8476-CDBA4D0E8A4C}"/>
                </a:ext>
              </a:extLst>
            </p:cNvPr>
            <p:cNvSpPr/>
            <p:nvPr/>
          </p:nvSpPr>
          <p:spPr bwMode="auto">
            <a:xfrm>
              <a:off x="382" y="1769"/>
              <a:ext cx="409" cy="321"/>
            </a:xfrm>
            <a:custGeom>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6">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7" name="Freeform 96">
              <a:extLst>
                <a:ext uri="{FF2B5EF4-FFF2-40B4-BE49-F238E27FC236}">
                  <a16:creationId xmlns:a16="http://schemas.microsoft.com/office/drawing/2014/main" id="{A289E8F4-C028-6148-B109-3D339897DCB7}"/>
                </a:ext>
              </a:extLst>
            </p:cNvPr>
            <p:cNvSpPr/>
            <p:nvPr/>
          </p:nvSpPr>
          <p:spPr bwMode="auto">
            <a:xfrm>
              <a:off x="369" y="1895"/>
              <a:ext cx="115" cy="154"/>
            </a:xfrm>
            <a:custGeom>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8" name="Freeform 97">
              <a:extLst>
                <a:ext uri="{FF2B5EF4-FFF2-40B4-BE49-F238E27FC236}">
                  <a16:creationId xmlns:a16="http://schemas.microsoft.com/office/drawing/2014/main" id="{30B1422A-1FC0-E644-86CF-3A9C1C0E7009}"/>
                </a:ext>
              </a:extLst>
            </p:cNvPr>
            <p:cNvSpPr/>
            <p:nvPr/>
          </p:nvSpPr>
          <p:spPr bwMode="auto">
            <a:xfrm>
              <a:off x="341" y="1864"/>
              <a:ext cx="171" cy="226"/>
            </a:xfrm>
            <a:custGeom>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9" name="Oval 98">
              <a:extLst>
                <a:ext uri="{FF2B5EF4-FFF2-40B4-BE49-F238E27FC236}">
                  <a16:creationId xmlns:a16="http://schemas.microsoft.com/office/drawing/2014/main" id="{A4B792FB-71CE-1145-960B-B90FBEB0B650}"/>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0" name="Oval 99">
              <a:extLst>
                <a:ext uri="{FF2B5EF4-FFF2-40B4-BE49-F238E27FC236}">
                  <a16:creationId xmlns:a16="http://schemas.microsoft.com/office/drawing/2014/main" id="{5EF5F9D8-CCE3-2343-807F-0CF85E03EAF0}"/>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1" name="Oval 100">
              <a:extLst>
                <a:ext uri="{FF2B5EF4-FFF2-40B4-BE49-F238E27FC236}">
                  <a16:creationId xmlns:a16="http://schemas.microsoft.com/office/drawing/2014/main" id="{3D380F82-1897-C145-8D61-C6B842E53DF3}"/>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12" name="Group 4">
            <a:extLst>
              <a:ext uri="{FF2B5EF4-FFF2-40B4-BE49-F238E27FC236}">
                <a16:creationId xmlns:a16="http://schemas.microsoft.com/office/drawing/2014/main" id="{84C17A15-152C-A348-853A-B692B4282DA1}"/>
              </a:ext>
            </a:extLst>
          </p:cNvPr>
          <p:cNvGrpSpPr>
            <a:grpSpLocks noChangeAspect="1"/>
          </p:cNvGrpSpPr>
          <p:nvPr userDrawn="1"/>
        </p:nvGrpSpPr>
        <p:grpSpPr>
          <a:xfrm>
            <a:off x="5877270" y="5532782"/>
            <a:ext cx="484650" cy="403874"/>
            <a:chOff x="348" y="472"/>
            <a:chExt cx="426" cy="355"/>
          </a:xfrm>
          <a:solidFill>
            <a:schemeClr val="accent1"/>
          </a:solidFill>
        </p:grpSpPr>
        <p:sp>
          <p:nvSpPr>
            <p:cNvPr id="313" name="Freeform 5">
              <a:extLst>
                <a:ext uri="{FF2B5EF4-FFF2-40B4-BE49-F238E27FC236}">
                  <a16:creationId xmlns:a16="http://schemas.microsoft.com/office/drawing/2014/main" id="{719C8B8C-D094-D74C-AF4C-E723A3C19C5E}"/>
                </a:ext>
              </a:extLst>
            </p:cNvPr>
            <p:cNvSpPr/>
            <p:nvPr/>
          </p:nvSpPr>
          <p:spPr bwMode="auto">
            <a:xfrm>
              <a:off x="348" y="543"/>
              <a:ext cx="373" cy="18"/>
            </a:xfrm>
            <a:custGeom>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251"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4" name="Oval 6">
              <a:extLst>
                <a:ext uri="{FF2B5EF4-FFF2-40B4-BE49-F238E27FC236}">
                  <a16:creationId xmlns:a16="http://schemas.microsoft.com/office/drawing/2014/main" id="{0E3079FA-EBC0-1C4F-BF6F-4EF1A488E97C}"/>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5" name="Oval 7">
              <a:extLst>
                <a:ext uri="{FF2B5EF4-FFF2-40B4-BE49-F238E27FC236}">
                  <a16:creationId xmlns:a16="http://schemas.microsoft.com/office/drawing/2014/main" id="{1020AE0A-3CB9-274A-B949-2F4B93C8FE61}"/>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6" name="Oval 8">
              <a:extLst>
                <a:ext uri="{FF2B5EF4-FFF2-40B4-BE49-F238E27FC236}">
                  <a16:creationId xmlns:a16="http://schemas.microsoft.com/office/drawing/2014/main" id="{98F34F8F-ABB7-4848-A76F-9F6C562D9670}"/>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7" name="Freeform 9">
              <a:extLst>
                <a:ext uri="{FF2B5EF4-FFF2-40B4-BE49-F238E27FC236}">
                  <a16:creationId xmlns:a16="http://schemas.microsoft.com/office/drawing/2014/main" id="{AA090CA5-2F52-AF46-BB3E-337567489E55}"/>
                </a:ext>
              </a:extLst>
            </p:cNvPr>
            <p:cNvSpPr>
              <a:spLocks noEditPoints="1"/>
            </p:cNvSpPr>
            <p:nvPr/>
          </p:nvSpPr>
          <p:spPr bwMode="auto">
            <a:xfrm>
              <a:off x="348" y="472"/>
              <a:ext cx="373" cy="284"/>
            </a:xfrm>
            <a:custGeom>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1"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8" name="Freeform 10">
              <a:extLst>
                <a:ext uri="{FF2B5EF4-FFF2-40B4-BE49-F238E27FC236}">
                  <a16:creationId xmlns:a16="http://schemas.microsoft.com/office/drawing/2014/main" id="{8894367A-92E9-164E-BC86-5B276995A8E7}"/>
                </a:ext>
              </a:extLst>
            </p:cNvPr>
            <p:cNvSpPr/>
            <p:nvPr/>
          </p:nvSpPr>
          <p:spPr bwMode="auto">
            <a:xfrm>
              <a:off x="703" y="614"/>
              <a:ext cx="71" cy="18"/>
            </a:xfrm>
            <a:custGeom>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9" name="Freeform 11">
              <a:extLst>
                <a:ext uri="{FF2B5EF4-FFF2-40B4-BE49-F238E27FC236}">
                  <a16:creationId xmlns:a16="http://schemas.microsoft.com/office/drawing/2014/main" id="{8C879DF6-8A8C-D14C-9B9C-E0EB824DC79F}"/>
                </a:ext>
              </a:extLst>
            </p:cNvPr>
            <p:cNvSpPr/>
            <p:nvPr/>
          </p:nvSpPr>
          <p:spPr bwMode="auto">
            <a:xfrm>
              <a:off x="401" y="543"/>
              <a:ext cx="373" cy="284"/>
            </a:xfrm>
            <a:custGeom>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1"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20" name="Freeform 132">
            <a:extLst>
              <a:ext uri="{FF2B5EF4-FFF2-40B4-BE49-F238E27FC236}">
                <a16:creationId xmlns:a16="http://schemas.microsoft.com/office/drawing/2014/main" id="{45BDCAD5-FFA8-D94A-91ED-271D762E1EF5}"/>
              </a:ext>
            </a:extLst>
          </p:cNvPr>
          <p:cNvSpPr>
            <a:spLocks noEditPoints="1"/>
          </p:cNvSpPr>
          <p:nvPr userDrawn="1"/>
        </p:nvSpPr>
        <p:spPr bwMode="auto">
          <a:xfrm>
            <a:off x="8409731" y="5515535"/>
            <a:ext cx="494523" cy="438368"/>
          </a:xfrm>
          <a:custGeom>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5">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latin typeface="+mj-lt"/>
            </a:endParaRPr>
          </a:p>
        </p:txBody>
      </p:sp>
      <p:grpSp>
        <p:nvGrpSpPr>
          <p:cNvPr id="325" name="Group 104">
            <a:extLst>
              <a:ext uri="{FF2B5EF4-FFF2-40B4-BE49-F238E27FC236}">
                <a16:creationId xmlns:a16="http://schemas.microsoft.com/office/drawing/2014/main" id="{C933286F-FB2B-2B48-B689-90FB1B740D79}"/>
              </a:ext>
            </a:extLst>
          </p:cNvPr>
          <p:cNvGrpSpPr>
            <a:grpSpLocks noChangeAspect="1"/>
          </p:cNvGrpSpPr>
          <p:nvPr userDrawn="1"/>
        </p:nvGrpSpPr>
        <p:grpSpPr>
          <a:xfrm>
            <a:off x="7207268" y="5477733"/>
            <a:ext cx="341846" cy="513972"/>
            <a:chOff x="1443" y="2997"/>
            <a:chExt cx="284" cy="427"/>
          </a:xfrm>
          <a:solidFill>
            <a:schemeClr val="accent1"/>
          </a:solidFill>
        </p:grpSpPr>
        <p:sp>
          <p:nvSpPr>
            <p:cNvPr id="326" name="Freeform 105">
              <a:extLst>
                <a:ext uri="{FF2B5EF4-FFF2-40B4-BE49-F238E27FC236}">
                  <a16:creationId xmlns:a16="http://schemas.microsoft.com/office/drawing/2014/main" id="{EBD25FD2-6E1F-C448-BE38-E904E3A2FB73}"/>
                </a:ext>
              </a:extLst>
            </p:cNvPr>
            <p:cNvSpPr>
              <a:spLocks noEditPoints="1"/>
            </p:cNvSpPr>
            <p:nvPr/>
          </p:nvSpPr>
          <p:spPr bwMode="auto">
            <a:xfrm>
              <a:off x="1462" y="3104"/>
              <a:ext cx="261" cy="320"/>
            </a:xfrm>
            <a:custGeom>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7" name="Freeform 106">
              <a:extLst>
                <a:ext uri="{FF2B5EF4-FFF2-40B4-BE49-F238E27FC236}">
                  <a16:creationId xmlns:a16="http://schemas.microsoft.com/office/drawing/2014/main" id="{BD9B7B3C-0689-BA4C-ABBF-BCE7E3B46DB5}"/>
                </a:ext>
              </a:extLst>
            </p:cNvPr>
            <p:cNvSpPr/>
            <p:nvPr/>
          </p:nvSpPr>
          <p:spPr bwMode="auto">
            <a:xfrm>
              <a:off x="1656" y="3122"/>
              <a:ext cx="71" cy="17"/>
            </a:xfrm>
            <a:custGeom>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8" name="Freeform 107">
              <a:extLst>
                <a:ext uri="{FF2B5EF4-FFF2-40B4-BE49-F238E27FC236}">
                  <a16:creationId xmlns:a16="http://schemas.microsoft.com/office/drawing/2014/main" id="{C9272C8E-5CB2-4643-AEA6-BE716984C944}"/>
                </a:ext>
              </a:extLst>
            </p:cNvPr>
            <p:cNvSpPr/>
            <p:nvPr/>
          </p:nvSpPr>
          <p:spPr bwMode="auto">
            <a:xfrm>
              <a:off x="1638" y="3031"/>
              <a:ext cx="55" cy="55"/>
            </a:xfrm>
            <a:custGeom>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9" name="Freeform 108">
              <a:extLst>
                <a:ext uri="{FF2B5EF4-FFF2-40B4-BE49-F238E27FC236}">
                  <a16:creationId xmlns:a16="http://schemas.microsoft.com/office/drawing/2014/main" id="{CA4C5504-30D4-1D40-B292-CD5DA723192D}"/>
                </a:ext>
              </a:extLst>
            </p:cNvPr>
            <p:cNvSpPr/>
            <p:nvPr/>
          </p:nvSpPr>
          <p:spPr bwMode="auto">
            <a:xfrm>
              <a:off x="1585" y="2997"/>
              <a:ext cx="18" cy="71"/>
            </a:xfrm>
            <a:custGeom>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0" name="Freeform 109">
              <a:extLst>
                <a:ext uri="{FF2B5EF4-FFF2-40B4-BE49-F238E27FC236}">
                  <a16:creationId xmlns:a16="http://schemas.microsoft.com/office/drawing/2014/main" id="{7B5112E2-4CA4-294E-BC9B-DD315AEE8935}"/>
                </a:ext>
              </a:extLst>
            </p:cNvPr>
            <p:cNvSpPr/>
            <p:nvPr/>
          </p:nvSpPr>
          <p:spPr bwMode="auto">
            <a:xfrm>
              <a:off x="1478" y="3031"/>
              <a:ext cx="55" cy="55"/>
            </a:xfrm>
            <a:custGeom>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1" name="Freeform 110">
              <a:extLst>
                <a:ext uri="{FF2B5EF4-FFF2-40B4-BE49-F238E27FC236}">
                  <a16:creationId xmlns:a16="http://schemas.microsoft.com/office/drawing/2014/main" id="{B8173CE6-5D1A-A846-84AC-EC2E79F0576F}"/>
                </a:ext>
              </a:extLst>
            </p:cNvPr>
            <p:cNvSpPr/>
            <p:nvPr/>
          </p:nvSpPr>
          <p:spPr bwMode="auto">
            <a:xfrm>
              <a:off x="1443" y="3122"/>
              <a:ext cx="71" cy="17"/>
            </a:xfrm>
            <a:custGeom>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32" name="Group 48">
            <a:extLst>
              <a:ext uri="{FF2B5EF4-FFF2-40B4-BE49-F238E27FC236}">
                <a16:creationId xmlns:a16="http://schemas.microsoft.com/office/drawing/2014/main" id="{845CA248-13D3-B844-9F40-7BA5E1132E69}"/>
              </a:ext>
            </a:extLst>
          </p:cNvPr>
          <p:cNvGrpSpPr>
            <a:grpSpLocks noChangeAspect="1"/>
          </p:cNvGrpSpPr>
          <p:nvPr userDrawn="1"/>
        </p:nvGrpSpPr>
        <p:grpSpPr>
          <a:xfrm>
            <a:off x="10941132" y="3109340"/>
            <a:ext cx="515826" cy="496764"/>
            <a:chOff x="6532" y="451"/>
            <a:chExt cx="433" cy="417"/>
          </a:xfrm>
          <a:solidFill>
            <a:schemeClr val="accent1"/>
          </a:solidFill>
        </p:grpSpPr>
        <p:sp>
          <p:nvSpPr>
            <p:cNvPr id="333" name="Freeform 49">
              <a:extLst>
                <a:ext uri="{FF2B5EF4-FFF2-40B4-BE49-F238E27FC236}">
                  <a16:creationId xmlns:a16="http://schemas.microsoft.com/office/drawing/2014/main" id="{17E6D66F-E2A5-7445-867C-00B311AB2CDF}"/>
                </a:ext>
              </a:extLst>
            </p:cNvPr>
            <p:cNvSpPr/>
            <p:nvPr/>
          </p:nvSpPr>
          <p:spPr bwMode="auto">
            <a:xfrm>
              <a:off x="6837" y="621"/>
              <a:ext cx="128" cy="94"/>
            </a:xfrm>
            <a:custGeom>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4" name="Freeform 50">
              <a:extLst>
                <a:ext uri="{FF2B5EF4-FFF2-40B4-BE49-F238E27FC236}">
                  <a16:creationId xmlns:a16="http://schemas.microsoft.com/office/drawing/2014/main" id="{A947C942-EA82-4B48-9330-14A742F71BE2}"/>
                </a:ext>
              </a:extLst>
            </p:cNvPr>
            <p:cNvSpPr/>
            <p:nvPr/>
          </p:nvSpPr>
          <p:spPr bwMode="auto">
            <a:xfrm>
              <a:off x="6759" y="621"/>
              <a:ext cx="157" cy="233"/>
            </a:xfrm>
            <a:custGeom>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5" name="Freeform 51">
              <a:extLst>
                <a:ext uri="{FF2B5EF4-FFF2-40B4-BE49-F238E27FC236}">
                  <a16:creationId xmlns:a16="http://schemas.microsoft.com/office/drawing/2014/main" id="{F6FECDDB-A3E0-AB42-AE11-B42BD5D93CE1}"/>
                </a:ext>
              </a:extLst>
            </p:cNvPr>
            <p:cNvSpPr/>
            <p:nvPr/>
          </p:nvSpPr>
          <p:spPr bwMode="auto">
            <a:xfrm>
              <a:off x="6599" y="451"/>
              <a:ext cx="110" cy="112"/>
            </a:xfrm>
            <a:custGeom>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6" name="Freeform 52">
              <a:extLst>
                <a:ext uri="{FF2B5EF4-FFF2-40B4-BE49-F238E27FC236}">
                  <a16:creationId xmlns:a16="http://schemas.microsoft.com/office/drawing/2014/main" id="{368296E1-91C7-0142-92A5-9FC30718B4EF}"/>
                </a:ext>
              </a:extLst>
            </p:cNvPr>
            <p:cNvSpPr/>
            <p:nvPr/>
          </p:nvSpPr>
          <p:spPr bwMode="auto">
            <a:xfrm>
              <a:off x="6599" y="491"/>
              <a:ext cx="269" cy="81"/>
            </a:xfrm>
            <a:custGeom>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7" name="Freeform 53">
              <a:extLst>
                <a:ext uri="{FF2B5EF4-FFF2-40B4-BE49-F238E27FC236}">
                  <a16:creationId xmlns:a16="http://schemas.microsoft.com/office/drawing/2014/main" id="{58A5879A-4845-1A4E-AD7C-5245A79764CB}"/>
                </a:ext>
              </a:extLst>
            </p:cNvPr>
            <p:cNvSpPr/>
            <p:nvPr/>
          </p:nvSpPr>
          <p:spPr bwMode="auto">
            <a:xfrm>
              <a:off x="6568" y="754"/>
              <a:ext cx="108" cy="114"/>
            </a:xfrm>
            <a:custGeom>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8" name="Freeform 54">
              <a:extLst>
                <a:ext uri="{FF2B5EF4-FFF2-40B4-BE49-F238E27FC236}">
                  <a16:creationId xmlns:a16="http://schemas.microsoft.com/office/drawing/2014/main" id="{B1F284B8-040C-EA40-B415-8A9522FE867B}"/>
                </a:ext>
              </a:extLst>
            </p:cNvPr>
            <p:cNvSpPr/>
            <p:nvPr/>
          </p:nvSpPr>
          <p:spPr bwMode="auto">
            <a:xfrm>
              <a:off x="6532" y="612"/>
              <a:ext cx="144" cy="242"/>
            </a:xfrm>
            <a:custGeom>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39" name="Group 81">
            <a:extLst>
              <a:ext uri="{FF2B5EF4-FFF2-40B4-BE49-F238E27FC236}">
                <a16:creationId xmlns:a16="http://schemas.microsoft.com/office/drawing/2014/main" id="{6F0CCB4D-675F-F14F-99D5-2DD46749B800}"/>
              </a:ext>
            </a:extLst>
          </p:cNvPr>
          <p:cNvGrpSpPr>
            <a:grpSpLocks noChangeAspect="1"/>
          </p:cNvGrpSpPr>
          <p:nvPr userDrawn="1"/>
        </p:nvGrpSpPr>
        <p:grpSpPr>
          <a:xfrm>
            <a:off x="798612" y="5509828"/>
            <a:ext cx="450851" cy="449782"/>
            <a:chOff x="1370" y="1720"/>
            <a:chExt cx="426" cy="425"/>
          </a:xfrm>
          <a:solidFill>
            <a:schemeClr val="accent1"/>
          </a:solidFill>
        </p:grpSpPr>
        <p:sp>
          <p:nvSpPr>
            <p:cNvPr id="340" name="Freeform 82">
              <a:extLst>
                <a:ext uri="{FF2B5EF4-FFF2-40B4-BE49-F238E27FC236}">
                  <a16:creationId xmlns:a16="http://schemas.microsoft.com/office/drawing/2014/main" id="{AFD37094-822A-F447-8CE7-9F103F960375}"/>
                </a:ext>
              </a:extLst>
            </p:cNvPr>
            <p:cNvSpPr/>
            <p:nvPr/>
          </p:nvSpPr>
          <p:spPr bwMode="auto">
            <a:xfrm>
              <a:off x="1370" y="1755"/>
              <a:ext cx="426" cy="390"/>
            </a:xfrm>
            <a:custGeom>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1" name="Freeform 83">
              <a:extLst>
                <a:ext uri="{FF2B5EF4-FFF2-40B4-BE49-F238E27FC236}">
                  <a16:creationId xmlns:a16="http://schemas.microsoft.com/office/drawing/2014/main" id="{3422F472-FD2E-E146-B0EE-B299A1CAE080}"/>
                </a:ext>
              </a:extLst>
            </p:cNvPr>
            <p:cNvSpPr>
              <a:spLocks noEditPoints="1"/>
            </p:cNvSpPr>
            <p:nvPr/>
          </p:nvSpPr>
          <p:spPr bwMode="auto">
            <a:xfrm>
              <a:off x="1441" y="1720"/>
              <a:ext cx="71" cy="89"/>
            </a:xfrm>
            <a:custGeom>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2" name="Freeform 84">
              <a:extLst>
                <a:ext uri="{FF2B5EF4-FFF2-40B4-BE49-F238E27FC236}">
                  <a16:creationId xmlns:a16="http://schemas.microsoft.com/office/drawing/2014/main" id="{A5C0B545-2E7A-5941-9C66-99945E3792ED}"/>
                </a:ext>
              </a:extLst>
            </p:cNvPr>
            <p:cNvSpPr>
              <a:spLocks noEditPoints="1"/>
            </p:cNvSpPr>
            <p:nvPr/>
          </p:nvSpPr>
          <p:spPr bwMode="auto">
            <a:xfrm>
              <a:off x="1654" y="1720"/>
              <a:ext cx="71" cy="89"/>
            </a:xfrm>
            <a:custGeom>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3" name="Freeform 85">
              <a:extLst>
                <a:ext uri="{FF2B5EF4-FFF2-40B4-BE49-F238E27FC236}">
                  <a16:creationId xmlns:a16="http://schemas.microsoft.com/office/drawing/2014/main" id="{374CD6E2-C0BA-8E40-A449-820C4406F10F}"/>
                </a:ext>
              </a:extLst>
            </p:cNvPr>
            <p:cNvSpPr/>
            <p:nvPr/>
          </p:nvSpPr>
          <p:spPr bwMode="auto">
            <a:xfrm>
              <a:off x="1495" y="1755"/>
              <a:ext cx="177" cy="18"/>
            </a:xfrm>
            <a:custGeom>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4" name="Freeform 86">
              <a:extLst>
                <a:ext uri="{FF2B5EF4-FFF2-40B4-BE49-F238E27FC236}">
                  <a16:creationId xmlns:a16="http://schemas.microsoft.com/office/drawing/2014/main" id="{5650B1E9-10A3-734D-9AC1-8B333A356749}"/>
                </a:ext>
              </a:extLst>
            </p:cNvPr>
            <p:cNvSpPr/>
            <p:nvPr/>
          </p:nvSpPr>
          <p:spPr bwMode="auto">
            <a:xfrm>
              <a:off x="1370" y="1844"/>
              <a:ext cx="426" cy="18"/>
            </a:xfrm>
            <a:custGeom>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5" name="Freeform 87">
              <a:extLst>
                <a:ext uri="{FF2B5EF4-FFF2-40B4-BE49-F238E27FC236}">
                  <a16:creationId xmlns:a16="http://schemas.microsoft.com/office/drawing/2014/main" id="{4B7887F8-0B63-E948-966D-617614E80C9B}"/>
                </a:ext>
              </a:extLst>
            </p:cNvPr>
            <p:cNvSpPr/>
            <p:nvPr/>
          </p:nvSpPr>
          <p:spPr bwMode="auto">
            <a:xfrm>
              <a:off x="1477" y="1879"/>
              <a:ext cx="18" cy="231"/>
            </a:xfrm>
            <a:custGeom>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6" name="Freeform 88">
              <a:extLst>
                <a:ext uri="{FF2B5EF4-FFF2-40B4-BE49-F238E27FC236}">
                  <a16:creationId xmlns:a16="http://schemas.microsoft.com/office/drawing/2014/main" id="{ABE6E62F-E613-A74D-B3A8-299734AD81E5}"/>
                </a:ext>
              </a:extLst>
            </p:cNvPr>
            <p:cNvSpPr/>
            <p:nvPr/>
          </p:nvSpPr>
          <p:spPr bwMode="auto">
            <a:xfrm>
              <a:off x="1565" y="1879"/>
              <a:ext cx="18" cy="231"/>
            </a:xfrm>
            <a:custGeom>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7" name="Freeform 89">
              <a:extLst>
                <a:ext uri="{FF2B5EF4-FFF2-40B4-BE49-F238E27FC236}">
                  <a16:creationId xmlns:a16="http://schemas.microsoft.com/office/drawing/2014/main" id="{695E4311-FAD6-9945-AF11-C24EB5180752}"/>
                </a:ext>
              </a:extLst>
            </p:cNvPr>
            <p:cNvSpPr/>
            <p:nvPr/>
          </p:nvSpPr>
          <p:spPr bwMode="auto">
            <a:xfrm>
              <a:off x="1654" y="1879"/>
              <a:ext cx="18" cy="231"/>
            </a:xfrm>
            <a:custGeom>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8" name="Freeform 90">
              <a:extLst>
                <a:ext uri="{FF2B5EF4-FFF2-40B4-BE49-F238E27FC236}">
                  <a16:creationId xmlns:a16="http://schemas.microsoft.com/office/drawing/2014/main" id="{F6332ED2-95E6-314D-B133-3718ED39BF6D}"/>
                </a:ext>
              </a:extLst>
            </p:cNvPr>
            <p:cNvSpPr/>
            <p:nvPr/>
          </p:nvSpPr>
          <p:spPr bwMode="auto">
            <a:xfrm>
              <a:off x="1406" y="1915"/>
              <a:ext cx="355" cy="18"/>
            </a:xfrm>
            <a:custGeom>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9" name="Freeform 91">
              <a:extLst>
                <a:ext uri="{FF2B5EF4-FFF2-40B4-BE49-F238E27FC236}">
                  <a16:creationId xmlns:a16="http://schemas.microsoft.com/office/drawing/2014/main" id="{6A20710A-A127-3045-90AC-4BEF3E718D67}"/>
                </a:ext>
              </a:extLst>
            </p:cNvPr>
            <p:cNvSpPr/>
            <p:nvPr/>
          </p:nvSpPr>
          <p:spPr bwMode="auto">
            <a:xfrm>
              <a:off x="1406" y="1986"/>
              <a:ext cx="355" cy="17"/>
            </a:xfrm>
            <a:custGeom>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0" name="Freeform 92">
              <a:extLst>
                <a:ext uri="{FF2B5EF4-FFF2-40B4-BE49-F238E27FC236}">
                  <a16:creationId xmlns:a16="http://schemas.microsoft.com/office/drawing/2014/main" id="{D7659633-77CA-5343-AA5A-F95F88663879}"/>
                </a:ext>
              </a:extLst>
            </p:cNvPr>
            <p:cNvSpPr/>
            <p:nvPr/>
          </p:nvSpPr>
          <p:spPr bwMode="auto">
            <a:xfrm>
              <a:off x="1406" y="2057"/>
              <a:ext cx="355" cy="17"/>
            </a:xfrm>
            <a:custGeom>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51" name="Freeform 144">
            <a:extLst>
              <a:ext uri="{FF2B5EF4-FFF2-40B4-BE49-F238E27FC236}">
                <a16:creationId xmlns:a16="http://schemas.microsoft.com/office/drawing/2014/main" id="{887C956D-5C6A-EF41-B68E-293B826857D7}"/>
              </a:ext>
            </a:extLst>
          </p:cNvPr>
          <p:cNvSpPr/>
          <p:nvPr userDrawn="1"/>
        </p:nvSpPr>
        <p:spPr bwMode="auto">
          <a:xfrm rot="10800000">
            <a:off x="2171887" y="1915146"/>
            <a:ext cx="274440" cy="529622"/>
          </a:xfrm>
          <a:custGeom>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52" name="Group 351">
            <a:extLst>
              <a:ext uri="{FF2B5EF4-FFF2-40B4-BE49-F238E27FC236}">
                <a16:creationId xmlns:a16="http://schemas.microsoft.com/office/drawing/2014/main" id="{93CF84E6-DB80-C040-8D2B-6B117435B35D}"/>
              </a:ext>
            </a:extLst>
          </p:cNvPr>
          <p:cNvGrpSpPr>
            <a:grpSpLocks noChangeAspect="1"/>
          </p:cNvGrpSpPr>
          <p:nvPr userDrawn="1"/>
        </p:nvGrpSpPr>
        <p:grpSpPr>
          <a:xfrm>
            <a:off x="7132640" y="1933804"/>
            <a:ext cx="491102" cy="492306"/>
            <a:chOff x="1378" y="455"/>
            <a:chExt cx="408" cy="409"/>
          </a:xfrm>
          <a:solidFill>
            <a:schemeClr val="accent1"/>
          </a:solidFill>
        </p:grpSpPr>
        <p:sp>
          <p:nvSpPr>
            <p:cNvPr id="353" name="Freeform 10">
              <a:extLst>
                <a:ext uri="{FF2B5EF4-FFF2-40B4-BE49-F238E27FC236}">
                  <a16:creationId xmlns:a16="http://schemas.microsoft.com/office/drawing/2014/main" id="{19E0843A-545A-5E44-8AF6-E92D9679B4AC}"/>
                </a:ext>
              </a:extLst>
            </p:cNvPr>
            <p:cNvSpPr>
              <a:spLocks noEditPoints="1"/>
            </p:cNvSpPr>
            <p:nvPr/>
          </p:nvSpPr>
          <p:spPr bwMode="auto">
            <a:xfrm>
              <a:off x="1412" y="489"/>
              <a:ext cx="340" cy="341"/>
            </a:xfrm>
            <a:custGeom>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4" name="Freeform 11">
              <a:extLst>
                <a:ext uri="{FF2B5EF4-FFF2-40B4-BE49-F238E27FC236}">
                  <a16:creationId xmlns:a16="http://schemas.microsoft.com/office/drawing/2014/main" id="{E215F30D-61AD-A146-85D1-7B02FC0B2576}"/>
                </a:ext>
              </a:extLst>
            </p:cNvPr>
            <p:cNvSpPr>
              <a:spLocks noEditPoints="1"/>
            </p:cNvSpPr>
            <p:nvPr/>
          </p:nvSpPr>
          <p:spPr bwMode="auto">
            <a:xfrm>
              <a:off x="1498" y="574"/>
              <a:ext cx="170" cy="170"/>
            </a:xfrm>
            <a:custGeom>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5" name="Freeform 12">
              <a:extLst>
                <a:ext uri="{FF2B5EF4-FFF2-40B4-BE49-F238E27FC236}">
                  <a16:creationId xmlns:a16="http://schemas.microsoft.com/office/drawing/2014/main" id="{B99AB6FD-96E3-0141-8570-EF1AD6989162}"/>
                </a:ext>
              </a:extLst>
            </p:cNvPr>
            <p:cNvSpPr/>
            <p:nvPr/>
          </p:nvSpPr>
          <p:spPr bwMode="auto">
            <a:xfrm>
              <a:off x="1573" y="455"/>
              <a:ext cx="18" cy="409"/>
            </a:xfrm>
            <a:custGeom>
              <a:gdLst>
                <a:gd name="T0" fmla="*/ 6 w 12"/>
                <a:gd name="T1" fmla="*/ 276 h 276"/>
                <a:gd name="T2" fmla="*/ 0 w 12"/>
                <a:gd name="T3" fmla="*/ 270 h 276"/>
                <a:gd name="T4" fmla="*/ 0 w 12"/>
                <a:gd name="T5" fmla="*/ 6 h 276"/>
                <a:gd name="T6" fmla="*/ 6 w 12"/>
                <a:gd name="T7" fmla="*/ 0 h 276"/>
                <a:gd name="T8" fmla="*/ 12 w 12"/>
                <a:gd name="T9" fmla="*/ 6 h 276"/>
                <a:gd name="T10" fmla="*/ 12 w 12"/>
                <a:gd name="T11" fmla="*/ 270 h 276"/>
                <a:gd name="T12" fmla="*/ 6 w 12"/>
                <a:gd name="T13" fmla="*/ 276 h 276"/>
              </a:gdLst>
              <a:cxnLst>
                <a:cxn ang="0">
                  <a:pos x="T0" y="T1"/>
                </a:cxn>
                <a:cxn ang="0">
                  <a:pos x="T2" y="T3"/>
                </a:cxn>
                <a:cxn ang="0">
                  <a:pos x="T4" y="T5"/>
                </a:cxn>
                <a:cxn ang="0">
                  <a:pos x="T6" y="T7"/>
                </a:cxn>
                <a:cxn ang="0">
                  <a:pos x="T8" y="T9"/>
                </a:cxn>
                <a:cxn ang="0">
                  <a:pos x="T10" y="T11"/>
                </a:cxn>
                <a:cxn ang="0">
                  <a:pos x="T12" y="T13"/>
                </a:cxn>
              </a:cxnLst>
              <a:rect l="0" t="0" r="r" b="b"/>
              <a:pathLst>
                <a:path w="12" h="276">
                  <a:moveTo>
                    <a:pt x="6" y="276"/>
                  </a:moveTo>
                  <a:cubicBezTo>
                    <a:pt x="3" y="276"/>
                    <a:pt x="0" y="273"/>
                    <a:pt x="0" y="270"/>
                  </a:cubicBezTo>
                  <a:cubicBezTo>
                    <a:pt x="0" y="6"/>
                    <a:pt x="0" y="6"/>
                    <a:pt x="0" y="6"/>
                  </a:cubicBezTo>
                  <a:cubicBezTo>
                    <a:pt x="0" y="3"/>
                    <a:pt x="3" y="0"/>
                    <a:pt x="6" y="0"/>
                  </a:cubicBezTo>
                  <a:cubicBezTo>
                    <a:pt x="10" y="0"/>
                    <a:pt x="12" y="3"/>
                    <a:pt x="12" y="6"/>
                  </a:cubicBezTo>
                  <a:cubicBezTo>
                    <a:pt x="12" y="270"/>
                    <a:pt x="12" y="270"/>
                    <a:pt x="12" y="270"/>
                  </a:cubicBezTo>
                  <a:cubicBezTo>
                    <a:pt x="12" y="273"/>
                    <a:pt x="10" y="276"/>
                    <a:pt x="6"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6" name="Freeform 13">
              <a:extLst>
                <a:ext uri="{FF2B5EF4-FFF2-40B4-BE49-F238E27FC236}">
                  <a16:creationId xmlns:a16="http://schemas.microsoft.com/office/drawing/2014/main" id="{B8756B43-11EC-4C44-B2BA-7B15246B220E}"/>
                </a:ext>
              </a:extLst>
            </p:cNvPr>
            <p:cNvSpPr/>
            <p:nvPr/>
          </p:nvSpPr>
          <p:spPr bwMode="auto">
            <a:xfrm>
              <a:off x="1378" y="651"/>
              <a:ext cx="408" cy="17"/>
            </a:xfrm>
            <a:custGeom>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3" y="12"/>
                    <a:pt x="0" y="9"/>
                    <a:pt x="0" y="6"/>
                  </a:cubicBezTo>
                  <a:cubicBezTo>
                    <a:pt x="0" y="3"/>
                    <a:pt x="3" y="0"/>
                    <a:pt x="6" y="0"/>
                  </a:cubicBezTo>
                  <a:cubicBezTo>
                    <a:pt x="270" y="0"/>
                    <a:pt x="270" y="0"/>
                    <a:pt x="270" y="0"/>
                  </a:cubicBezTo>
                  <a:cubicBezTo>
                    <a:pt x="274" y="0"/>
                    <a:pt x="276" y="3"/>
                    <a:pt x="276" y="6"/>
                  </a:cubicBezTo>
                  <a:cubicBezTo>
                    <a:pt x="276" y="9"/>
                    <a:pt x="274"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57" name="Group 60">
            <a:extLst>
              <a:ext uri="{FF2B5EF4-FFF2-40B4-BE49-F238E27FC236}">
                <a16:creationId xmlns:a16="http://schemas.microsoft.com/office/drawing/2014/main" id="{3B66017D-AE30-3842-A30B-430AD751F9D3}"/>
              </a:ext>
            </a:extLst>
          </p:cNvPr>
          <p:cNvGrpSpPr>
            <a:grpSpLocks noChangeAspect="1"/>
          </p:cNvGrpSpPr>
          <p:nvPr userDrawn="1"/>
        </p:nvGrpSpPr>
        <p:grpSpPr>
          <a:xfrm>
            <a:off x="3334652" y="5494451"/>
            <a:ext cx="481666" cy="480536"/>
            <a:chOff x="348" y="1721"/>
            <a:chExt cx="426" cy="425"/>
          </a:xfrm>
          <a:solidFill>
            <a:schemeClr val="accent1"/>
          </a:solidFill>
        </p:grpSpPr>
        <p:sp>
          <p:nvSpPr>
            <p:cNvPr id="358" name="Freeform 61">
              <a:extLst>
                <a:ext uri="{FF2B5EF4-FFF2-40B4-BE49-F238E27FC236}">
                  <a16:creationId xmlns:a16="http://schemas.microsoft.com/office/drawing/2014/main" id="{2C5B2D4E-1F4D-CB46-A341-2B749AC7F16E}"/>
                </a:ext>
              </a:extLst>
            </p:cNvPr>
            <p:cNvSpPr>
              <a:spLocks noEditPoints="1"/>
            </p:cNvSpPr>
            <p:nvPr/>
          </p:nvSpPr>
          <p:spPr bwMode="auto">
            <a:xfrm>
              <a:off x="348" y="1721"/>
              <a:ext cx="373" cy="372"/>
            </a:xfrm>
            <a:custGeom>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251">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59" name="Freeform 62">
              <a:extLst>
                <a:ext uri="{FF2B5EF4-FFF2-40B4-BE49-F238E27FC236}">
                  <a16:creationId xmlns:a16="http://schemas.microsoft.com/office/drawing/2014/main" id="{DD515909-F712-6D4B-BF72-2C4B8885D1C9}"/>
                </a:ext>
              </a:extLst>
            </p:cNvPr>
            <p:cNvSpPr/>
            <p:nvPr/>
          </p:nvSpPr>
          <p:spPr bwMode="auto">
            <a:xfrm>
              <a:off x="650" y="2022"/>
              <a:ext cx="124" cy="124"/>
            </a:xfrm>
            <a:custGeom>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0" name="Freeform 63">
              <a:extLst>
                <a:ext uri="{FF2B5EF4-FFF2-40B4-BE49-F238E27FC236}">
                  <a16:creationId xmlns:a16="http://schemas.microsoft.com/office/drawing/2014/main" id="{CC9BE79E-AA71-604B-8FB7-CFEA0AC849D7}"/>
                </a:ext>
              </a:extLst>
            </p:cNvPr>
            <p:cNvSpPr>
              <a:spLocks noEditPoints="1"/>
            </p:cNvSpPr>
            <p:nvPr/>
          </p:nvSpPr>
          <p:spPr bwMode="auto">
            <a:xfrm>
              <a:off x="412" y="1783"/>
              <a:ext cx="244" cy="248"/>
            </a:xfrm>
            <a:custGeom>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1" name="Freeform 64">
              <a:extLst>
                <a:ext uri="{FF2B5EF4-FFF2-40B4-BE49-F238E27FC236}">
                  <a16:creationId xmlns:a16="http://schemas.microsoft.com/office/drawing/2014/main" id="{7949AA08-1950-4A44-91C1-8E34BD10E503}"/>
                </a:ext>
              </a:extLst>
            </p:cNvPr>
            <p:cNvSpPr>
              <a:spLocks noEditPoints="1"/>
            </p:cNvSpPr>
            <p:nvPr/>
          </p:nvSpPr>
          <p:spPr bwMode="auto">
            <a:xfrm>
              <a:off x="490" y="1863"/>
              <a:ext cx="89" cy="88"/>
            </a:xfrm>
            <a:custGeom>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62" name="Group 83">
            <a:extLst>
              <a:ext uri="{FF2B5EF4-FFF2-40B4-BE49-F238E27FC236}">
                <a16:creationId xmlns:a16="http://schemas.microsoft.com/office/drawing/2014/main" id="{EFF1C6C9-655D-274A-BF87-2269FFB3606F}"/>
              </a:ext>
            </a:extLst>
          </p:cNvPr>
          <p:cNvGrpSpPr>
            <a:grpSpLocks noChangeAspect="1"/>
          </p:cNvGrpSpPr>
          <p:nvPr userDrawn="1"/>
        </p:nvGrpSpPr>
        <p:grpSpPr>
          <a:xfrm>
            <a:off x="10959261" y="4300132"/>
            <a:ext cx="479568" cy="490720"/>
            <a:chOff x="1580" y="1910"/>
            <a:chExt cx="387" cy="396"/>
          </a:xfrm>
          <a:solidFill>
            <a:schemeClr val="accent4"/>
          </a:solidFill>
        </p:grpSpPr>
        <p:sp>
          <p:nvSpPr>
            <p:cNvPr id="363" name="Freeform 84">
              <a:extLst>
                <a:ext uri="{FF2B5EF4-FFF2-40B4-BE49-F238E27FC236}">
                  <a16:creationId xmlns:a16="http://schemas.microsoft.com/office/drawing/2014/main" id="{A5BD3BA6-1E5D-A147-A5E7-38A35AFB2FB8}"/>
                </a:ext>
              </a:extLst>
            </p:cNvPr>
            <p:cNvSpPr>
              <a:spLocks noEditPoints="1"/>
            </p:cNvSpPr>
            <p:nvPr/>
          </p:nvSpPr>
          <p:spPr bwMode="auto">
            <a:xfrm>
              <a:off x="1655" y="1982"/>
              <a:ext cx="238" cy="252"/>
            </a:xfrm>
            <a:custGeom>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4" name="Freeform 85">
              <a:extLst>
                <a:ext uri="{FF2B5EF4-FFF2-40B4-BE49-F238E27FC236}">
                  <a16:creationId xmlns:a16="http://schemas.microsoft.com/office/drawing/2014/main" id="{16B4A2A5-EFF3-D844-8BFB-D9FC0A674E57}"/>
                </a:ext>
              </a:extLst>
            </p:cNvPr>
            <p:cNvSpPr/>
            <p:nvPr/>
          </p:nvSpPr>
          <p:spPr bwMode="auto">
            <a:xfrm>
              <a:off x="1756" y="2288"/>
              <a:ext cx="36" cy="18"/>
            </a:xfrm>
            <a:custGeom>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5" name="Freeform 86">
              <a:extLst>
                <a:ext uri="{FF2B5EF4-FFF2-40B4-BE49-F238E27FC236}">
                  <a16:creationId xmlns:a16="http://schemas.microsoft.com/office/drawing/2014/main" id="{01032911-E44E-6A44-B3AE-2C20E895BDF1}"/>
                </a:ext>
              </a:extLst>
            </p:cNvPr>
            <p:cNvSpPr/>
            <p:nvPr/>
          </p:nvSpPr>
          <p:spPr bwMode="auto">
            <a:xfrm>
              <a:off x="1737" y="2252"/>
              <a:ext cx="74" cy="18"/>
            </a:xfrm>
            <a:custGeom>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6" name="Freeform 87">
              <a:extLst>
                <a:ext uri="{FF2B5EF4-FFF2-40B4-BE49-F238E27FC236}">
                  <a16:creationId xmlns:a16="http://schemas.microsoft.com/office/drawing/2014/main" id="{329745C6-8CE0-9B43-A51F-DC7EC13E0A91}"/>
                </a:ext>
              </a:extLst>
            </p:cNvPr>
            <p:cNvSpPr/>
            <p:nvPr/>
          </p:nvSpPr>
          <p:spPr bwMode="auto">
            <a:xfrm>
              <a:off x="1765" y="1910"/>
              <a:ext cx="18" cy="54"/>
            </a:xfrm>
            <a:custGeom>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7" name="Freeform 88">
              <a:extLst>
                <a:ext uri="{FF2B5EF4-FFF2-40B4-BE49-F238E27FC236}">
                  <a16:creationId xmlns:a16="http://schemas.microsoft.com/office/drawing/2014/main" id="{8FA27E58-1649-0041-A7D0-1488B173F455}"/>
                </a:ext>
              </a:extLst>
            </p:cNvPr>
            <p:cNvSpPr/>
            <p:nvPr/>
          </p:nvSpPr>
          <p:spPr bwMode="auto">
            <a:xfrm>
              <a:off x="1912" y="2089"/>
              <a:ext cx="55" cy="18"/>
            </a:xfrm>
            <a:custGeom>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8" name="Freeform 89">
              <a:extLst>
                <a:ext uri="{FF2B5EF4-FFF2-40B4-BE49-F238E27FC236}">
                  <a16:creationId xmlns:a16="http://schemas.microsoft.com/office/drawing/2014/main" id="{09F7C906-F808-E349-BEC7-3B3085AFF7F7}"/>
                </a:ext>
              </a:extLst>
            </p:cNvPr>
            <p:cNvSpPr/>
            <p:nvPr/>
          </p:nvSpPr>
          <p:spPr bwMode="auto">
            <a:xfrm>
              <a:off x="1580" y="2089"/>
              <a:ext cx="55" cy="18"/>
            </a:xfrm>
            <a:custGeom>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9" name="Freeform 90">
              <a:extLst>
                <a:ext uri="{FF2B5EF4-FFF2-40B4-BE49-F238E27FC236}">
                  <a16:creationId xmlns:a16="http://schemas.microsoft.com/office/drawing/2014/main" id="{7A702297-D13A-8649-B1E4-169139C5B88C}"/>
                </a:ext>
              </a:extLst>
            </p:cNvPr>
            <p:cNvSpPr/>
            <p:nvPr/>
          </p:nvSpPr>
          <p:spPr bwMode="auto">
            <a:xfrm>
              <a:off x="1621" y="1949"/>
              <a:ext cx="58" cy="57"/>
            </a:xfrm>
            <a:custGeom>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70" name="Freeform 91">
              <a:extLst>
                <a:ext uri="{FF2B5EF4-FFF2-40B4-BE49-F238E27FC236}">
                  <a16:creationId xmlns:a16="http://schemas.microsoft.com/office/drawing/2014/main" id="{B529D1D4-ACB6-4044-80CA-AB16AF0C4585}"/>
                </a:ext>
              </a:extLst>
            </p:cNvPr>
            <p:cNvSpPr/>
            <p:nvPr/>
          </p:nvSpPr>
          <p:spPr bwMode="auto">
            <a:xfrm>
              <a:off x="1867" y="1949"/>
              <a:ext cx="60" cy="57"/>
            </a:xfrm>
            <a:custGeom>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grpSp>
        <p:nvGrpSpPr>
          <p:cNvPr id="371" name="Group 56">
            <a:extLst>
              <a:ext uri="{FF2B5EF4-FFF2-40B4-BE49-F238E27FC236}">
                <a16:creationId xmlns:a16="http://schemas.microsoft.com/office/drawing/2014/main" id="{754010E9-6578-4145-B63E-FE551FCF0B38}"/>
              </a:ext>
            </a:extLst>
          </p:cNvPr>
          <p:cNvGrpSpPr>
            <a:grpSpLocks noChangeAspect="1"/>
          </p:cNvGrpSpPr>
          <p:nvPr userDrawn="1"/>
        </p:nvGrpSpPr>
        <p:grpSpPr>
          <a:xfrm>
            <a:off x="8400111" y="1923077"/>
            <a:ext cx="513762" cy="513760"/>
            <a:chOff x="6721" y="600"/>
            <a:chExt cx="426" cy="426"/>
          </a:xfrm>
          <a:solidFill>
            <a:schemeClr val="accent4"/>
          </a:solidFill>
        </p:grpSpPr>
        <p:sp>
          <p:nvSpPr>
            <p:cNvPr id="372" name="Freeform 57">
              <a:extLst>
                <a:ext uri="{FF2B5EF4-FFF2-40B4-BE49-F238E27FC236}">
                  <a16:creationId xmlns:a16="http://schemas.microsoft.com/office/drawing/2014/main" id="{E54CC8A3-2BE8-4348-8408-7A6C774ED71C}"/>
                </a:ext>
              </a:extLst>
            </p:cNvPr>
            <p:cNvSpPr/>
            <p:nvPr/>
          </p:nvSpPr>
          <p:spPr bwMode="auto">
            <a:xfrm>
              <a:off x="6721" y="600"/>
              <a:ext cx="426" cy="426"/>
            </a:xfrm>
            <a:custGeom>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3" name="Freeform 58">
              <a:extLst>
                <a:ext uri="{FF2B5EF4-FFF2-40B4-BE49-F238E27FC236}">
                  <a16:creationId xmlns:a16="http://schemas.microsoft.com/office/drawing/2014/main" id="{468ADAAF-C6DA-A647-AC52-16E1AB8E8D5B}"/>
                </a:ext>
              </a:extLst>
            </p:cNvPr>
            <p:cNvSpPr>
              <a:spLocks noEditPoints="1"/>
            </p:cNvSpPr>
            <p:nvPr/>
          </p:nvSpPr>
          <p:spPr bwMode="auto">
            <a:xfrm>
              <a:off x="6987" y="813"/>
              <a:ext cx="160" cy="213"/>
            </a:xfrm>
            <a:custGeom>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4" name="Freeform 59">
              <a:extLst>
                <a:ext uri="{FF2B5EF4-FFF2-40B4-BE49-F238E27FC236}">
                  <a16:creationId xmlns:a16="http://schemas.microsoft.com/office/drawing/2014/main" id="{1D2D45F1-2BA4-144E-BFD4-CF2AE4D806EF}"/>
                </a:ext>
              </a:extLst>
            </p:cNvPr>
            <p:cNvSpPr>
              <a:spLocks noEditPoints="1"/>
            </p:cNvSpPr>
            <p:nvPr/>
          </p:nvSpPr>
          <p:spPr bwMode="auto">
            <a:xfrm>
              <a:off x="7032" y="857"/>
              <a:ext cx="71" cy="71"/>
            </a:xfrm>
            <a:custGeom>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5" name="Freeform 60">
              <a:extLst>
                <a:ext uri="{FF2B5EF4-FFF2-40B4-BE49-F238E27FC236}">
                  <a16:creationId xmlns:a16="http://schemas.microsoft.com/office/drawing/2014/main" id="{B9008D23-F674-6448-903D-C3B5D32E5D05}"/>
                </a:ext>
              </a:extLst>
            </p:cNvPr>
            <p:cNvSpPr/>
            <p:nvPr/>
          </p:nvSpPr>
          <p:spPr bwMode="auto">
            <a:xfrm>
              <a:off x="6792" y="607"/>
              <a:ext cx="213" cy="313"/>
            </a:xfrm>
            <a:custGeom>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6" name="Freeform 61">
              <a:extLst>
                <a:ext uri="{FF2B5EF4-FFF2-40B4-BE49-F238E27FC236}">
                  <a16:creationId xmlns:a16="http://schemas.microsoft.com/office/drawing/2014/main" id="{81B4FE17-16E8-1D46-A84D-C61DF767FCAD}"/>
                </a:ext>
              </a:extLst>
            </p:cNvPr>
            <p:cNvSpPr/>
            <p:nvPr/>
          </p:nvSpPr>
          <p:spPr bwMode="auto">
            <a:xfrm>
              <a:off x="6983" y="665"/>
              <a:ext cx="112" cy="108"/>
            </a:xfrm>
            <a:custGeom>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grpSp>
      <p:sp>
        <p:nvSpPr>
          <p:cNvPr id="5" name="TextBox 4">
            <a:extLst>
              <a:ext uri="{FF2B5EF4-FFF2-40B4-BE49-F238E27FC236}">
                <a16:creationId xmlns:a16="http://schemas.microsoft.com/office/drawing/2014/main" id="{F6439B37-7E18-2D43-9C03-BCA23C9C27E0}"/>
              </a:ext>
            </a:extLst>
          </p:cNvPr>
          <p:cNvSpPr txBox="1"/>
          <p:nvPr userDrawn="1"/>
        </p:nvSpPr>
        <p:spPr>
          <a:xfrm flipH="1">
            <a:off x="4732020" y="208026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373832581"/>
      </p:ext>
    </p:extLst>
  </p:cSld>
  <p:clrMapOvr>
    <a:masterClrMapping/>
  </p:clrMapOvr>
  <p:transition/>
  <p:timing/>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_Greetings + Greater Than L">
    <p:bg>
      <p:bgPr>
        <a:solidFill>
          <a:schemeClr val="accent2"/>
        </a:solidFill>
        <a:effectLst/>
      </p:bgPr>
    </p:bg>
    <p:spTree>
      <p:nvGrpSpPr>
        <p:cNvPr id="1" name=""/>
        <p:cNvGrpSpPr/>
        <p:nvPr/>
      </p:nvGrpSpPr>
      <p:grpSpPr>
        <a:xfrm>
          <a:off x="0" y="0"/>
          <a: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Thank you</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flipH="1">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789211584"/>
      </p:ext>
    </p:extLst>
  </p:cSld>
  <p:clrMapOvr>
    <a:overrideClrMapping bg1="dk1" tx1="lt1" bg2="dk2" tx2="lt2" accent1="accent1" accent2="accent2" accent3="accent3" accent4="accent4" accent5="accent5" accent6="accent6" hlink="hlink" folHlink="folHlink"/>
  </p:clrMapOvr>
  <p:transition/>
  <p:timing/>
</p:sldLayout>
</file>

<file path=ppt/slideLayouts/slideLayout27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obj">
  <p:cSld name="Title and Content">
    <p:spTree>
      <p:nvGrpSpPr>
        <p:cNvPr id="1" name=""/>
        <p:cNvGrpSpPr/>
        <p:nvPr/>
      </p:nvGrpSpPr>
      <p:grpSpPr>
        <a:xfrm>
          <a:off x="0" y="0"/>
          <a:ext cx="0" cy="0"/>
        </a:xfrm>
      </p:grpSpPr>
      <p:sp>
        <p:nvSpPr>
          <p:cNvPr id="2" name="Holder 2"/>
          <p:cNvSpPr>
            <a:spLocks noGrp="1"/>
          </p:cNvSpPr>
          <p:nvPr>
            <p:ph type="title"/>
          </p:nvPr>
        </p:nvSpPr>
        <p:spPr/>
        <p:txBody>
          <a:bodyPr lIns="0" tIns="0" rIns="0" bIns="0"/>
          <a:lstStyle>
            <a:lvl1pPr>
              <a:defRPr sz="24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7/2021</a:t>
            </a:fld>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329808431"/>
      </p:ext>
    </p:extLst>
  </p:cSld>
  <p:clrMapOvr>
    <a:masterClrMapping/>
  </p:clrMapOvr>
  <p:transition/>
  <p:timing/>
</p:sldLayout>
</file>

<file path=ppt/slideLayouts/slideLayout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Main 1 Line Title with Subtitle">
    <p:spTree>
      <p:nvGrpSpPr>
        <p:cNvPr id="1" name=""/>
        <p:cNvGrpSpPr/>
        <p:nvPr/>
      </p:nvGrpSpPr>
      <p:grpSpPr>
        <a:xfrm>
          <a:off x="0" y="0"/>
          <a:ext cx="0" cy="0"/>
        </a:xfrm>
      </p:grpSpPr>
      <p:sp>
        <p:nvSpPr>
          <p:cNvPr id="5" name="Title 1">
            <a:extLst>
              <a:ext uri="{FF2B5EF4-FFF2-40B4-BE49-F238E27FC236}">
                <a16:creationId xmlns:a16="http://schemas.microsoft.com/office/drawing/2014/main" id="{E793FA57-3A1C-474B-B253-703F3AF60F88}"/>
              </a:ext>
            </a:extLst>
          </p:cNvPr>
          <p:cNvSpPr>
            <a:spLocks noGrp="1"/>
          </p:cNvSpPr>
          <p:nvPr>
            <p:ph type="ctrTitle"/>
          </p:nvPr>
        </p:nvSpPr>
        <p:spPr>
          <a:xfrm>
            <a:off x="313182" y="381000"/>
            <a:ext cx="11565636" cy="429768"/>
          </a:xfrm>
          <a:prstGeom prst="rect">
            <a:avLst/>
          </a:prstGeom>
        </p:spPr>
        <p:txBody>
          <a:bodyPr lIns="0" tIns="0" rIns="0" bIns="0" anchor="t">
            <a:noAutofit/>
          </a:bodyPr>
          <a:lstStyle>
            <a:lvl1pPr marL="0" indent="0" algn="l" defTabSz="914400" rtl="0" eaLnBrk="1" fontAlgn="base" latinLnBrk="0" hangingPunct="1">
              <a:lnSpc>
                <a:spcPts val="2700"/>
              </a:lnSpc>
              <a:spcBef>
                <a:spcPct val="0"/>
              </a:spcBef>
              <a:spcAft>
                <a:spcPct val="0"/>
              </a:spcAft>
              <a:buFont typeface="Arial"/>
              <a:buNone/>
              <a:defRPr lang="en-US" sz="2800" b="0" i="0" kern="1200" cap="all" spc="0" baseline="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1165496-78D5-4F45-BBE7-7E4B641EB960}"/>
              </a:ext>
            </a:extLst>
          </p:cNvPr>
          <p:cNvSpPr>
            <a:spLocks noGrp="1"/>
          </p:cNvSpPr>
          <p:nvPr>
            <p:ph type="body" sz="quarter" idx="10"/>
          </p:nvPr>
        </p:nvSpPr>
        <p:spPr>
          <a:xfrm>
            <a:off x="321564" y="737285"/>
            <a:ext cx="11565636" cy="472744"/>
          </a:xfrm>
        </p:spPr>
        <p:txBody>
          <a:bodyPr lIns="0" tIns="0" rIns="0" bIns="0">
            <a:noAutofit/>
          </a:bodyPr>
          <a:lstStyle>
            <a:lvl1pPr marL="0">
              <a:lnSpc>
                <a:spcPct val="100000"/>
              </a:lnSpc>
              <a:spcAft>
                <a:spcPts val="600"/>
              </a:spcAft>
              <a:defRPr sz="1400">
                <a:solidFill>
                  <a:schemeClr val="accent2"/>
                </a:solidFill>
              </a:defRPr>
            </a:lvl1pPr>
            <a:lvl2pPr marL="55562" indent="0">
              <a:buNone/>
              <a:defRPr/>
            </a:lvl2pPr>
          </a:lstStyle>
          <a:p>
            <a:pPr lvl="0"/>
            <a:r>
              <a:rPr lang="en-US"/>
              <a:t>Edit Master text styles</a:t>
            </a:r>
          </a:p>
        </p:txBody>
      </p:sp>
    </p:spTree>
    <p:extLst>
      <p:ext uri="{BB962C8B-B14F-4D97-AF65-F5344CB8AC3E}">
        <p14:creationId xmlns:p14="http://schemas.microsoft.com/office/powerpoint/2010/main" val="2861955392"/>
      </p:ext>
    </p:extLst>
  </p:cSld>
  <p:clrMapOvr>
    <a:masterClrMapping/>
  </p:clrMapOvr>
  <p:transition/>
  <p:timing/>
  <p:extLst>
    <p:ext uri="{DCECCB84-F9BA-43D5-87BE-67443E8EF086}">
      <p15:sldGuideLst xmlns:p15="http://schemas.microsoft.com/office/powerpoint/2012/main">
        <p15:guide id="1" pos="3840">
          <p15:clr>
            <a:srgbClr val="FBAE40"/>
          </p15:clr>
        </p15:guide>
        <p15:guide id="5" orient="horz" pos="528">
          <p15:clr>
            <a:srgbClr val="FBAE40"/>
          </p15:clr>
        </p15:guide>
        <p15:guide id="7" orient="horz" pos="64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Cover">
    <p:bg>
      <p:bgPr>
        <a:solidFill>
          <a:schemeClr val="bg1"/>
        </a:solidFill>
        <a:effectLst/>
      </p:bgPr>
    </p:bg>
    <p:spTree>
      <p:nvGrpSpPr>
        <p:cNvPr id="1" name=""/>
        <p:cNvGrpSpPr/>
        <p:nvPr/>
      </p:nvGrpSpPr>
      <p:grpSpPr>
        <a:xfrm>
          <a:off x="0" y="0"/>
          <a:ext cx="0" cy="0"/>
        </a:xfrm>
      </p:grpSpPr>
      <p:pic>
        <p:nvPicPr>
          <p:cNvPr id="12" name="Picture 11">
            <a:extLst>
              <a:ext uri="{FF2B5EF4-FFF2-40B4-BE49-F238E27FC236}">
                <a16:creationId xmlns:a16="http://schemas.microsoft.com/office/drawing/2014/main" id="{0BE017F2-F5E3-214A-B6B8-F599799F12A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5E44EDBA-746F-6D46-B0D1-A7CF070A0A8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3952" y="428993"/>
            <a:ext cx="1909118" cy="383696"/>
          </a:xfrm>
          <a:prstGeom prst="rect">
            <a:avLst/>
          </a:prstGeom>
        </p:spPr>
      </p:pic>
      <p:sp>
        <p:nvSpPr>
          <p:cNvPr id="9" name="Title 1">
            <a:extLst>
              <a:ext uri="{FF2B5EF4-FFF2-40B4-BE49-F238E27FC236}">
                <a16:creationId xmlns:a16="http://schemas.microsoft.com/office/drawing/2014/main" id="{8E9C4D29-C638-4CE5-9A03-AD478396F941}"/>
              </a:ext>
            </a:extLst>
          </p:cNvPr>
          <p:cNvSpPr txBox="1"/>
          <p:nvPr userDrawn="1"/>
        </p:nvSpPr>
        <p:spPr>
          <a:xfrm>
            <a:off x="381001" y="3278664"/>
            <a:ext cx="8038722" cy="839443"/>
          </a:xfrm>
          <a:prstGeom prst="rect">
            <a:avLst/>
          </a:prstGeom>
        </p:spPr>
        <p:txBody>
          <a:bodyPr vert="horz" lIns="0" tIns="0" rIns="0" bIns="0" rtlCol="0" anchor="t" anchorCtr="0">
            <a:noAutofit/>
          </a:bodyPr>
          <a:lstStyle>
            <a:lvl1pPr marL="0" indent="0" algn="l" defTabSz="914377" rtl="0" eaLnBrk="1" latinLnBrk="0" hangingPunct="1">
              <a:lnSpc>
                <a:spcPct val="70000"/>
              </a:lnSpc>
              <a:spcBef>
                <a:spcPct val="0"/>
              </a:spcBef>
              <a:buNone/>
              <a:defRPr sz="6400" b="1" kern="1200" cap="none" baseline="0">
                <a:solidFill>
                  <a:srgbClr val="810CD2"/>
                </a:solidFill>
                <a:latin typeface="Graphik Black" panose="020b0503030202060203" pitchFamily="34" charset="77"/>
                <a:ea typeface="+mj-ea"/>
                <a:cs typeface="+mj-cs"/>
              </a:defRPr>
            </a:lvl1pPr>
          </a:lstStyle>
          <a:p>
            <a:pPr marL="0" marR="0" lvl="0" indent="0" algn="l" defTabSz="914377" rtl="0" eaLnBrk="1" fontAlgn="auto" latinLnBrk="0" hangingPunct="1">
              <a:lnSpc>
                <a:spcPct val="70000"/>
              </a:lnSpc>
              <a:spcBef>
                <a:spcPct val="0"/>
              </a:spcBef>
              <a:spcAft>
                <a:spcPct val="0"/>
              </a:spcAft>
              <a:buClrTx/>
              <a:buSzTx/>
              <a:buFontTx/>
              <a:buNone/>
              <a:defRPr/>
            </a:pPr>
            <a:r>
              <a:rPr kumimoji="0" lang="en-US" sz="6400" b="1" i="0" u="none" strike="noStrike" kern="1200" cap="none" spc="0" normalizeH="0" baseline="0" noProof="0">
                <a:ln>
                  <a:noFill/>
                </a:ln>
                <a:solidFill>
                  <a:srgbClr val="810CD2"/>
                </a:solidFill>
                <a:effectLst/>
                <a:uLnTx/>
                <a:uFillTx/>
                <a:latin typeface="Graphik Black" panose="020b0503030202060203" pitchFamily="34" charset="77"/>
                <a:ea typeface="+mj-ea"/>
                <a:cs typeface="+mj-cs"/>
              </a:rPr>
              <a:t>Simplify to</a:t>
            </a:r>
          </a:p>
        </p:txBody>
      </p:sp>
    </p:spTree>
    <p:extLst>
      <p:ext uri="{BB962C8B-B14F-4D97-AF65-F5344CB8AC3E}">
        <p14:creationId xmlns:p14="http://schemas.microsoft.com/office/powerpoint/2010/main" val="2026092460"/>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6_Blank">
    <p:spTree>
      <p:nvGrpSpPr>
        <p:cNvPr id="1" name=""/>
        <p:cNvGrpSpPr/>
        <p:nvPr/>
      </p:nvGrpSpPr>
      <p:grpSpPr>
        <a:xfrm>
          <a:off x="0" y="0"/>
          <a:ext cx="0" cy="0"/>
        </a:xfrm>
      </p:grpSpPr>
      <p:pic>
        <p:nvPicPr>
          <p:cNvPr id="3" name="Picture 2">
            <a:extLst>
              <a:ext uri="{FF2B5EF4-FFF2-40B4-BE49-F238E27FC236}">
                <a16:creationId xmlns:a16="http://schemas.microsoft.com/office/drawing/2014/main" id="{A3150DEC-B01E-44A8-97CF-C229CCAE445F}"/>
              </a:ext>
            </a:extLst>
          </p:cNvPr>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9275210"/>
      </p:ext>
    </p:extLst>
  </p:cSld>
  <p:clrMapOvr>
    <a:masterClrMapping/>
  </p:clrMapOvr>
  <p:transition/>
  <p:timing/>
</p:sldLayout>
</file>

<file path=ppt/slideLayouts/slideLayout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7_Short Headline and 1 Column">
    <p:spTree>
      <p:nvGrpSpPr>
        <p:cNvPr id="1" name=""/>
        <p:cNvGrpSpPr/>
        <p:nvPr/>
      </p:nvGrpSpPr>
      <p:grpSpPr>
        <a:xfrm>
          <a:off x="0" y="0"/>
          <a:ext cx="0" cy="0"/>
        </a:xfrm>
      </p:grpSpPr>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Tree>
    <p:extLst>
      <p:ext uri="{BB962C8B-B14F-4D97-AF65-F5344CB8AC3E}">
        <p14:creationId xmlns:p14="http://schemas.microsoft.com/office/powerpoint/2010/main" val="3043738179"/>
      </p:ext>
    </p:extLst>
  </p:cSld>
  <p:clrMapOvr>
    <a:masterClrMapping/>
  </p:clrMapOvr>
  <p:transition/>
  <p:timing/>
</p:sldLayout>
</file>

<file path=ppt/slideLayouts/slideLayout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Short Headline and 1 Column">
    <p:spTree>
      <p:nvGrpSpPr>
        <p:cNvPr id="1" name=""/>
        <p:cNvGrpSpPr/>
        <p:nvPr/>
      </p:nvGrpSpPr>
      <p:grpSpPr>
        <a:xfrm>
          <a:off x="0" y="0"/>
          <a:ext cx="0" cy="0"/>
        </a:xfrm>
      </p:grpSpPr>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3" name="Text Placeholder 2">
            <a:extLst>
              <a:ext uri="{FF2B5EF4-FFF2-40B4-BE49-F238E27FC236}">
                <a16:creationId xmlns:a16="http://schemas.microsoft.com/office/drawing/2014/main" id="{A8F7F51D-C8E4-4C06-8BAA-828E16639DA3}"/>
              </a:ext>
            </a:extLst>
          </p:cNvPr>
          <p:cNvSpPr>
            <a:spLocks noGrp="1"/>
          </p:cNvSpPr>
          <p:nvPr>
            <p:ph idx="1" hasCustomPrompt="1"/>
          </p:nvPr>
        </p:nvSpPr>
        <p:spPr>
          <a:xfrm>
            <a:off x="380999" y="870223"/>
            <a:ext cx="11430001" cy="183127"/>
          </a:xfrm>
          <a:prstGeom prst="rect">
            <a:avLst/>
          </a:prstGeom>
        </p:spPr>
        <p:txBody>
          <a:bodyPr vert="horz" lIns="0" tIns="0" rIns="0" bIns="0" rtlCol="0">
            <a:noAutofit/>
          </a:bodyPr>
          <a:lstStyle>
            <a:lvl1pPr marL="0" indent="0">
              <a:defRPr sz="1600" cap="none">
                <a:solidFill>
                  <a:schemeClr val="accent5"/>
                </a:solidFill>
                <a:latin typeface="Graphik Semibold" panose="020b0503030202060203" pitchFamily="34" charset="77"/>
              </a:defRPr>
            </a:lvl1pPr>
          </a:lstStyle>
          <a:p>
            <a:pPr lvl="0"/>
            <a:r>
              <a:rPr lang="en-US"/>
              <a:t>Click to edit master text styles</a:t>
            </a:r>
          </a:p>
        </p:txBody>
      </p:sp>
      <p:sp>
        <p:nvSpPr>
          <p:cNvPr id="10" name="Footer Placeholder 1">
            <a:extLst>
              <a:ext uri="{FF2B5EF4-FFF2-40B4-BE49-F238E27FC236}">
                <a16:creationId xmlns:a16="http://schemas.microsoft.com/office/drawing/2014/main" id="{1C54C971-8738-40A7-92E8-1EACA4C967F8}"/>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3851175700"/>
      </p:ext>
    </p:extLst>
  </p:cSld>
  <p:clrMapOvr>
    <a:masterClrMapping/>
  </p:clrMapOvr>
  <p:transition/>
  <p:timing/>
</p:sldLayout>
</file>

<file path=ppt/slideLayouts/slideLayout3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Long Headline and 3 Lines flow">
    <p:spTree>
      <p:nvGrpSpPr>
        <p:cNvPr id="1" name=""/>
        <p:cNvGrpSpPr/>
        <p:nvPr/>
      </p:nvGrpSpPr>
      <p:grpSpPr>
        <a:xfrm>
          <a:off x="0" y="0"/>
          <a:ext cx="0" cy="0"/>
        </a:xfrm>
      </p:grpSpPr>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518474"/>
            <a:ext cx="11430000" cy="308378"/>
          </a:xfrm>
        </p:spPr>
        <p:txBody>
          <a:bodyPr anchor="ctr" anchorCtr="0">
            <a:noAutofit/>
          </a:bodyPr>
          <a:lstStyle>
            <a:lvl1pPr>
              <a:defRPr sz="2800"/>
            </a:lvl1pPr>
          </a:lstStyle>
          <a:p>
            <a:r>
              <a:rPr lang="en-US"/>
              <a:t>Click to edit Master title style</a:t>
            </a:r>
          </a:p>
        </p:txBody>
      </p:sp>
      <p:sp>
        <p:nvSpPr>
          <p:cNvPr id="10" name="Footer Placeholder 1">
            <a:extLst>
              <a:ext uri="{FF2B5EF4-FFF2-40B4-BE49-F238E27FC236}">
                <a16:creationId xmlns:a16="http://schemas.microsoft.com/office/drawing/2014/main" id="{4A87AECE-F29A-4D10-BD02-ACFCC3C980FC}"/>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449565137"/>
      </p:ext>
    </p:extLst>
  </p:cSld>
  <p:clrMapOvr>
    <a:masterClrMapping/>
  </p:clrMapOvr>
  <p:transition/>
  <p:timing/>
</p:sldLayout>
</file>

<file path=ppt/slideLayouts/slideLayout3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_Short Headline and 1 Column">
    <p:spTree>
      <p:nvGrpSpPr>
        <p:cNvPr id="1" name=""/>
        <p:cNvGrpSpPr/>
        <p:nvPr/>
      </p:nvGrpSpPr>
      <p:grpSpPr>
        <a:xfrm>
          <a:off x="0" y="0"/>
          <a:ext cx="0" cy="0"/>
        </a:xfrm>
      </p:grpSpPr>
      <p:pic>
        <p:nvPicPr>
          <p:cNvPr id="2" name="Picture 1">
            <a:extLst>
              <a:ext uri="{FF2B5EF4-FFF2-40B4-BE49-F238E27FC236}">
                <a16:creationId xmlns:a16="http://schemas.microsoft.com/office/drawing/2014/main" id="{9A7226C0-EAED-5B49-AC91-5C4000E25EB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222" y="0"/>
            <a:ext cx="12192000" cy="6858000"/>
          </a:xfrm>
          <a:prstGeom prst="rect">
            <a:avLst/>
          </a:prstGeom>
        </p:spPr>
      </p:pic>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0" name="Footer Placeholder 1">
            <a:extLst>
              <a:ext uri="{FF2B5EF4-FFF2-40B4-BE49-F238E27FC236}">
                <a16:creationId xmlns:a16="http://schemas.microsoft.com/office/drawing/2014/main" id="{2657FF0D-5B33-466E-8306-33F602514022}"/>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1491532587"/>
      </p:ext>
    </p:extLst>
  </p:cSld>
  <p:clrMapOvr>
    <a:masterClrMapping/>
  </p:clrMapOvr>
  <p:transition/>
  <p:timing/>
</p:sldLayout>
</file>

<file path=ppt/slideLayouts/slideLayout3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Short Headline and 1 Column">
    <p:spTree>
      <p:nvGrpSpPr>
        <p:cNvPr id="1" name=""/>
        <p:cNvGrpSpPr/>
        <p:nvPr/>
      </p:nvGrpSpPr>
      <p:grpSpPr>
        <a:xfrm>
          <a:off x="0" y="0"/>
          <a:ext cx="0" cy="0"/>
        </a:xfrm>
      </p:grpSpPr>
      <p:pic>
        <p:nvPicPr>
          <p:cNvPr id="2" name="Picture 1">
            <a:extLst>
              <a:ext uri="{FF2B5EF4-FFF2-40B4-BE49-F238E27FC236}">
                <a16:creationId xmlns:a16="http://schemas.microsoft.com/office/drawing/2014/main" id="{9A7226C0-EAED-5B49-AC91-5C4000E25EB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222" y="0"/>
            <a:ext cx="12192000" cy="6858000"/>
          </a:xfrm>
          <a:prstGeom prst="rect">
            <a:avLst/>
          </a:prstGeom>
        </p:spPr>
      </p:pic>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0" name="Footer Placeholder 1">
            <a:extLst>
              <a:ext uri="{FF2B5EF4-FFF2-40B4-BE49-F238E27FC236}">
                <a16:creationId xmlns:a16="http://schemas.microsoft.com/office/drawing/2014/main" id="{1B49650B-B899-4BF3-95D9-60C340757568}"/>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2457285876"/>
      </p:ext>
    </p:extLst>
  </p:cSld>
  <p:clrMapOvr>
    <a:masterClrMapping/>
  </p:clrMapOvr>
  <p:transition/>
  <p:timing/>
</p:sldLayout>
</file>

<file path=ppt/slideLayouts/slideLayout3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Short Headline and 1 Column">
    <p:spTree>
      <p:nvGrpSpPr>
        <p:cNvPr id="1" name=""/>
        <p:cNvGrpSpPr/>
        <p:nvPr/>
      </p:nvGrpSpPr>
      <p:grpSpPr>
        <a:xfrm>
          <a:off x="0" y="0"/>
          <a:ext cx="0" cy="0"/>
        </a:xfrm>
      </p:grpSpPr>
      <p:pic>
        <p:nvPicPr>
          <p:cNvPr id="2" name="Picture 1">
            <a:extLst>
              <a:ext uri="{FF2B5EF4-FFF2-40B4-BE49-F238E27FC236}">
                <a16:creationId xmlns:a16="http://schemas.microsoft.com/office/drawing/2014/main" id="{9A7226C0-EAED-5B49-AC91-5C4000E25EB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222" y="0"/>
            <a:ext cx="12192000" cy="6858000"/>
          </a:xfrm>
          <a:prstGeom prst="rect">
            <a:avLst/>
          </a:prstGeom>
        </p:spPr>
      </p:pic>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3" name="Text Placeholder 2">
            <a:extLst>
              <a:ext uri="{FF2B5EF4-FFF2-40B4-BE49-F238E27FC236}">
                <a16:creationId xmlns:a16="http://schemas.microsoft.com/office/drawing/2014/main" id="{A8F7F51D-C8E4-4C06-8BAA-828E16639DA3}"/>
              </a:ext>
            </a:extLst>
          </p:cNvPr>
          <p:cNvSpPr>
            <a:spLocks noGrp="1"/>
          </p:cNvSpPr>
          <p:nvPr>
            <p:ph idx="1" hasCustomPrompt="1"/>
          </p:nvPr>
        </p:nvSpPr>
        <p:spPr>
          <a:xfrm>
            <a:off x="380999" y="929822"/>
            <a:ext cx="11430001" cy="183127"/>
          </a:xfrm>
          <a:prstGeom prst="rect">
            <a:avLst/>
          </a:prstGeom>
        </p:spPr>
        <p:txBody>
          <a:bodyPr vert="horz" lIns="0" tIns="0" rIns="0" bIns="0" rtlCol="0">
            <a:noAutofit/>
          </a:bodyPr>
          <a:lstStyle>
            <a:lvl1pPr marL="0" indent="0">
              <a:defRPr sz="1600" cap="none">
                <a:solidFill>
                  <a:schemeClr val="accent5"/>
                </a:solidFill>
                <a:latin typeface="Graphik Semibold" panose="020b0503030202060203" pitchFamily="34" charset="77"/>
              </a:defRPr>
            </a:lvl1pPr>
          </a:lstStyle>
          <a:p>
            <a:pPr lvl="0"/>
            <a:r>
              <a:rPr lang="en-US"/>
              <a:t>Click to edit master text styles</a:t>
            </a:r>
          </a:p>
        </p:txBody>
      </p:sp>
      <p:sp>
        <p:nvSpPr>
          <p:cNvPr id="10" name="Footer Placeholder 1">
            <a:extLst>
              <a:ext uri="{FF2B5EF4-FFF2-40B4-BE49-F238E27FC236}">
                <a16:creationId xmlns:a16="http://schemas.microsoft.com/office/drawing/2014/main" id="{6B49FC28-1C40-4C56-8B4A-21F58EB865BC}"/>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1131930614"/>
      </p:ext>
    </p:extLst>
  </p:cSld>
  <p:clrMapOvr>
    <a:masterClrMapping/>
  </p:clrMapOvr>
  <p:transition/>
  <p:timing/>
</p:sldLayout>
</file>

<file path=ppt/slideLayouts/slideLayout3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Short Headline and 1 Column">
    <p:spTree>
      <p:nvGrpSpPr>
        <p:cNvPr id="1" name=""/>
        <p:cNvGrpSpPr/>
        <p:nvPr/>
      </p:nvGrpSpPr>
      <p:grpSpPr>
        <a:xfrm>
          <a:off x="0" y="0"/>
          <a:ext cx="0" cy="0"/>
        </a:xfrm>
      </p:grpSpPr>
      <p:pic>
        <p:nvPicPr>
          <p:cNvPr id="2" name="Picture 1">
            <a:extLst>
              <a:ext uri="{FF2B5EF4-FFF2-40B4-BE49-F238E27FC236}">
                <a16:creationId xmlns:a16="http://schemas.microsoft.com/office/drawing/2014/main" id="{9A7226C0-EAED-5B49-AC91-5C4000E25EB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222" y="0"/>
            <a:ext cx="12192000" cy="6858000"/>
          </a:xfrm>
          <a:prstGeom prst="rect">
            <a:avLst/>
          </a:prstGeom>
        </p:spPr>
      </p:pic>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3" name="Text Placeholder 2">
            <a:extLst>
              <a:ext uri="{FF2B5EF4-FFF2-40B4-BE49-F238E27FC236}">
                <a16:creationId xmlns:a16="http://schemas.microsoft.com/office/drawing/2014/main" id="{A8F7F51D-C8E4-4C06-8BAA-828E16639DA3}"/>
              </a:ext>
            </a:extLst>
          </p:cNvPr>
          <p:cNvSpPr>
            <a:spLocks noGrp="1"/>
          </p:cNvSpPr>
          <p:nvPr>
            <p:ph idx="1" hasCustomPrompt="1"/>
          </p:nvPr>
        </p:nvSpPr>
        <p:spPr>
          <a:xfrm>
            <a:off x="380999" y="929822"/>
            <a:ext cx="11430001" cy="183127"/>
          </a:xfrm>
          <a:prstGeom prst="rect">
            <a:avLst/>
          </a:prstGeom>
        </p:spPr>
        <p:txBody>
          <a:bodyPr vert="horz" lIns="0" tIns="0" rIns="0" bIns="0" rtlCol="0">
            <a:noAutofit/>
          </a:bodyPr>
          <a:lstStyle>
            <a:lvl1pPr marL="0" indent="0">
              <a:defRPr sz="1600" cap="none">
                <a:solidFill>
                  <a:schemeClr val="accent5"/>
                </a:solidFill>
                <a:latin typeface="Graphik Semibold" panose="020b0503030202060203" pitchFamily="34" charset="77"/>
              </a:defRPr>
            </a:lvl1pPr>
          </a:lstStyle>
          <a:p>
            <a:pPr lvl="0"/>
            <a:r>
              <a:rPr lang="en-US"/>
              <a:t>Click to edit master text styles</a:t>
            </a:r>
          </a:p>
        </p:txBody>
      </p:sp>
      <p:sp>
        <p:nvSpPr>
          <p:cNvPr id="10" name="Footer Placeholder 1">
            <a:extLst>
              <a:ext uri="{FF2B5EF4-FFF2-40B4-BE49-F238E27FC236}">
                <a16:creationId xmlns:a16="http://schemas.microsoft.com/office/drawing/2014/main" id="{C0EB416D-0AFF-441E-870F-61E09197915D}"/>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1801712824"/>
      </p:ext>
    </p:extLst>
  </p:cSld>
  <p:clrMapOvr>
    <a:masterClrMapping/>
  </p:clrMapOvr>
  <p:transition/>
  <p:timing/>
</p:sldLayout>
</file>

<file path=ppt/slideLayouts/slideLayout3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Short Headline and 1 Column">
    <p:spTree>
      <p:nvGrpSpPr>
        <p:cNvPr id="1" name=""/>
        <p:cNvGrpSpPr/>
        <p:nvPr/>
      </p:nvGrpSpPr>
      <p:grpSpPr>
        <a:xfrm>
          <a:off x="0" y="0"/>
          <a:ext cx="0" cy="0"/>
        </a:xfrm>
      </p:grpSpPr>
      <p:pic>
        <p:nvPicPr>
          <p:cNvPr id="2" name="Picture 1">
            <a:extLst>
              <a:ext uri="{FF2B5EF4-FFF2-40B4-BE49-F238E27FC236}">
                <a16:creationId xmlns:a16="http://schemas.microsoft.com/office/drawing/2014/main" id="{9A7226C0-EAED-5B49-AC91-5C4000E25EB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3" name="Text Placeholder 2">
            <a:extLst>
              <a:ext uri="{FF2B5EF4-FFF2-40B4-BE49-F238E27FC236}">
                <a16:creationId xmlns:a16="http://schemas.microsoft.com/office/drawing/2014/main" id="{0DCA8B31-B2B0-4FDD-8AF6-71E80A42D0BC}"/>
              </a:ext>
            </a:extLst>
          </p:cNvPr>
          <p:cNvSpPr>
            <a:spLocks noGrp="1"/>
          </p:cNvSpPr>
          <p:nvPr>
            <p:ph idx="19" hasCustomPrompt="1"/>
          </p:nvPr>
        </p:nvSpPr>
        <p:spPr>
          <a:xfrm>
            <a:off x="380999" y="929822"/>
            <a:ext cx="11430001" cy="183127"/>
          </a:xfrm>
          <a:prstGeom prst="rect">
            <a:avLst/>
          </a:prstGeom>
        </p:spPr>
        <p:txBody>
          <a:bodyPr vert="horz" lIns="0" tIns="0" rIns="0" bIns="0" rtlCol="0">
            <a:noAutofit/>
          </a:bodyPr>
          <a:lstStyle>
            <a:lvl1pPr>
              <a:defRPr sz="1600" cap="none">
                <a:solidFill>
                  <a:schemeClr val="accent5"/>
                </a:solidFill>
                <a:latin typeface="Graphik Semibold" panose="020b0503030202060203" pitchFamily="34" charset="77"/>
              </a:defRPr>
            </a:lvl1pPr>
          </a:lstStyle>
          <a:p>
            <a:pPr lvl="0"/>
            <a:r>
              <a:rPr lang="en-US"/>
              <a:t>Click to edit master text styles</a:t>
            </a:r>
          </a:p>
        </p:txBody>
      </p:sp>
      <p:sp>
        <p:nvSpPr>
          <p:cNvPr id="14" name="Title 10">
            <a:extLst>
              <a:ext uri="{FF2B5EF4-FFF2-40B4-BE49-F238E27FC236}">
                <a16:creationId xmlns:a16="http://schemas.microsoft.com/office/drawing/2014/main" id="{7BD11761-ADDA-4821-8A36-C8F73BBD6E48}"/>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0" name="Footer Placeholder 1">
            <a:extLst>
              <a:ext uri="{FF2B5EF4-FFF2-40B4-BE49-F238E27FC236}">
                <a16:creationId xmlns:a16="http://schemas.microsoft.com/office/drawing/2014/main" id="{3C5B811A-37A2-4F1D-93AB-40BD1121E908}"/>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307987752"/>
      </p:ext>
    </p:extLst>
  </p:cSld>
  <p:clrMapOvr>
    <a:masterClrMapping/>
  </p:clrMapOvr>
  <p:transition/>
  <p:timing/>
</p:sldLayout>
</file>

<file path=ppt/slideLayouts/slideLayout3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Divider: Black">
    <p:bg>
      <p:bgPr>
        <a:solidFill>
          <a:schemeClr val="accent4"/>
        </a:solidFill>
        <a:effectLst/>
      </p:bgPr>
    </p:bg>
    <p:spTree>
      <p:nvGrpSpPr>
        <p:cNvPr id="1" name=""/>
        <p:cNvGrpSpPr/>
        <p:nvPr/>
      </p:nvGrpSpPr>
      <p:grpSpPr>
        <a:xfrm>
          <a:off x="0" y="0"/>
          <a:ext cx="0" cy="0"/>
        </a:xfrm>
      </p:grpSpPr>
      <p:pic>
        <p:nvPicPr>
          <p:cNvPr id="4" name="Picture 3">
            <a:extLst>
              <a:ext uri="{FF2B5EF4-FFF2-40B4-BE49-F238E27FC236}">
                <a16:creationId xmlns:a16="http://schemas.microsoft.com/office/drawing/2014/main" id="{F7CC6645-159F-FD44-B5B2-ABCFF5B09B1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flipH="1" flipV="1">
            <a:off x="0" y="0"/>
            <a:ext cx="12192000" cy="6858000"/>
          </a:xfrm>
          <a:prstGeom prst="rect">
            <a:avLst/>
          </a:prstGeom>
        </p:spPr>
      </p:pic>
      <p:sp>
        <p:nvSpPr>
          <p:cNvPr id="2" name="Title 1"/>
          <p:cNvSpPr>
            <a:spLocks noGrp="1"/>
          </p:cNvSpPr>
          <p:nvPr>
            <p:ph type="ctrTitle" hasCustomPrompt="1"/>
          </p:nvPr>
        </p:nvSpPr>
        <p:spPr>
          <a:xfrm>
            <a:off x="381001" y="2524858"/>
            <a:ext cx="8572500" cy="1808285"/>
          </a:xfrm>
        </p:spPr>
        <p:txBody>
          <a:bodyPr tIns="0" anchor="ctr" anchorCtr="0">
            <a:noAutofit/>
          </a:bodyPr>
          <a:lstStyle>
            <a:lvl1pPr algn="l">
              <a:lnSpc>
                <a:spcPct val="70000"/>
              </a:lnSpc>
              <a:defRPr sz="6600" cap="none" spc="-150" baseline="0">
                <a:solidFill>
                  <a:schemeClr val="bg1"/>
                </a:solidFill>
                <a:latin typeface="Graphik Black" panose="020b0503030202060203" pitchFamily="34" charset="77"/>
              </a:defRPr>
            </a:lvl1pPr>
          </a:lstStyle>
          <a:p>
            <a:r>
              <a:rPr lang="en-US"/>
              <a:t>CLICK TO </a:t>
            </a:r>
            <a:br>
              <a:rPr lang="en-US"/>
            </a:br>
            <a:r>
              <a:rPr lang="en-US"/>
              <a:t>EDIT TITLE</a:t>
            </a:r>
          </a:p>
        </p:txBody>
      </p:sp>
    </p:spTree>
    <p:extLst>
      <p:ext uri="{BB962C8B-B14F-4D97-AF65-F5344CB8AC3E}">
        <p14:creationId xmlns:p14="http://schemas.microsoft.com/office/powerpoint/2010/main" val="799714938"/>
      </p:ext>
    </p:extLst>
  </p:cSld>
  <p:clrMapOvr>
    <a:overrideClrMapping bg1="dk1" tx1="lt1" bg2="dk2" tx2="lt2" accent1="accent1" accent2="accent2" accent3="accent3" accent4="accent4" accent5="accent5" accent6="accent6" hlink="hlink" folHlink="folHlink"/>
  </p:clrMapOvr>
  <p:transition/>
  <p:timing/>
</p:sldLayout>
</file>

<file path=ppt/slideLayouts/slideLayout3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Divider: Black">
    <p:bg>
      <p:bgPr>
        <a:solidFill>
          <a:schemeClr val="accent4"/>
        </a:solidFill>
        <a:effectLst/>
      </p:bgPr>
    </p:bg>
    <p:spTree>
      <p:nvGrpSpPr>
        <p:cNvPr id="1" name=""/>
        <p:cNvGrpSpPr/>
        <p:nvPr/>
      </p:nvGrpSpPr>
      <p:grpSpPr>
        <a:xfrm>
          <a:off x="0" y="0"/>
          <a:ext cx="0" cy="0"/>
        </a:xfrm>
      </p:grpSpPr>
      <p:pic>
        <p:nvPicPr>
          <p:cNvPr id="10" name="Picture 9">
            <a:extLst>
              <a:ext uri="{FF2B5EF4-FFF2-40B4-BE49-F238E27FC236}">
                <a16:creationId xmlns:a16="http://schemas.microsoft.com/office/drawing/2014/main" id="{65E6217F-B989-924E-8DA0-E7FE74F7360E}"/>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flipH="1" flipV="1">
            <a:off x="0" y="0"/>
            <a:ext cx="12192000" cy="6858000"/>
          </a:xfrm>
          <a:prstGeom prst="rect">
            <a:avLst/>
          </a:prstGeom>
        </p:spPr>
      </p:pic>
      <p:pic>
        <p:nvPicPr>
          <p:cNvPr id="6" name="Graphic 5">
            <a:extLst>
              <a:ext uri="{FF2B5EF4-FFF2-40B4-BE49-F238E27FC236}">
                <a16:creationId xmlns:a16="http://schemas.microsoft.com/office/drawing/2014/main" id="{11B367E0-8897-084A-8904-9C249E281DA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7" name="Title 1">
            <a:extLst>
              <a:ext uri="{FF2B5EF4-FFF2-40B4-BE49-F238E27FC236}">
                <a16:creationId xmlns:a16="http://schemas.microsoft.com/office/drawing/2014/main" id="{807E2E64-9C9E-244B-B88E-F312190FA457}"/>
              </a:ext>
            </a:extLst>
          </p:cNvPr>
          <p:cNvSpPr>
            <a:spLocks noGrp="1"/>
          </p:cNvSpPr>
          <p:nvPr>
            <p:ph type="title" hasCustomPrompt="1"/>
          </p:nvPr>
        </p:nvSpPr>
        <p:spPr>
          <a:xfrm>
            <a:off x="380999" y="2318273"/>
            <a:ext cx="7040753" cy="2221454"/>
          </a:xfrm>
        </p:spPr>
        <p:txBody>
          <a:bodyPr anchor="ctr"/>
          <a:lstStyle>
            <a:lvl1pPr algn="l">
              <a:defRPr sz="7200" cap="none">
                <a:solidFill>
                  <a:schemeClr val="tx1"/>
                </a:solidFill>
              </a:defRPr>
            </a:lvl1pPr>
          </a:lstStyle>
          <a:p>
            <a:r>
              <a:rPr lang="en-GB"/>
              <a:t>Thank you</a:t>
            </a:r>
            <a:endParaRPr lang="en-US"/>
          </a:p>
        </p:txBody>
      </p:sp>
      <p:sp>
        <p:nvSpPr>
          <p:cNvPr id="9" name="TextBox 8">
            <a:extLst>
              <a:ext uri="{FF2B5EF4-FFF2-40B4-BE49-F238E27FC236}">
                <a16:creationId xmlns:a16="http://schemas.microsoft.com/office/drawing/2014/main" id="{061D210E-ACAA-AD47-8F99-E06A5AE192F9}"/>
              </a:ext>
            </a:extLst>
          </p:cNvPr>
          <p:cNvSpPr txBox="1"/>
          <p:nvPr userDrawn="1"/>
        </p:nvSpPr>
        <p:spPr>
          <a:xfrm flipH="1">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428035938"/>
      </p:ext>
    </p:extLst>
  </p:cSld>
  <p:clrMapOvr>
    <a:overrideClrMapping bg1="dk1" tx1="lt1" bg2="dk2" tx2="lt2" accent1="accent1" accent2="accent2" accent3="accent3" accent4="accent4" accent5="accent5" accent6="accent6" hlink="hlink" folHlink="folHlink"/>
  </p:clrMapOvr>
  <p:transition/>
  <p:timing/>
</p:sldLayout>
</file>

<file path=ppt/slideLayouts/slideLayout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2" name="Footer Placeholder 4">
            <a:extLst>
              <a:ext uri="{FF2B5EF4-FFF2-40B4-BE49-F238E27FC236}">
                <a16:creationId xmlns:a16="http://schemas.microsoft.com/office/drawing/2014/main" id="{43E44624-633C-4322-858D-8B4B44646ABA}"/>
              </a:ext>
            </a:extLst>
          </p:cNvPr>
          <p:cNvSpPr>
            <a:spLocks noGrp="1"/>
          </p:cNvSpPr>
          <p:nvPr>
            <p:ph type="ftr" sz="quarter" idx="3"/>
          </p:nvPr>
        </p:nvSpPr>
        <p:spPr>
          <a:xfrm>
            <a:off x="381003" y="6519010"/>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Copyright © 2018 Accenture. All rights reserved.</a:t>
            </a:r>
          </a:p>
        </p:txBody>
      </p:sp>
      <p:sp>
        <p:nvSpPr>
          <p:cNvPr id="3" name="Slide Number Placeholder 5">
            <a:extLst>
              <a:ext uri="{FF2B5EF4-FFF2-40B4-BE49-F238E27FC236}">
                <a16:creationId xmlns:a16="http://schemas.microsoft.com/office/drawing/2014/main" id="{0C2D02B2-67A7-49AE-82BF-6816089D5F2D}"/>
              </a:ext>
            </a:extLst>
          </p:cNvPr>
          <p:cNvSpPr>
            <a:spLocks noGrp="1"/>
          </p:cNvSpPr>
          <p:nvPr>
            <p:ph type="sldNum" sz="quarter" idx="4"/>
          </p:nvPr>
        </p:nvSpPr>
        <p:spPr>
          <a:xfrm>
            <a:off x="11506203" y="6519010"/>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t>‹#›</a:t>
            </a:fld>
            <a:endParaRPr lang="en-US"/>
          </a:p>
        </p:txBody>
      </p:sp>
    </p:spTree>
    <p:extLst>
      <p:ext uri="{BB962C8B-B14F-4D97-AF65-F5344CB8AC3E}">
        <p14:creationId xmlns:p14="http://schemas.microsoft.com/office/powerpoint/2010/main" val="2645447947"/>
      </p:ext>
    </p:extLst>
  </p:cSld>
  <p:clrMapOvr>
    <a:masterClrMapping/>
  </p:clrMapOvr>
  <p:transition/>
  <p:timing/>
</p:sldLayout>
</file>

<file path=ppt/slideLayouts/slideLayout4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Cover">
    <p:bg>
      <p:bgPr>
        <a:solidFill>
          <a:schemeClr val="bg1"/>
        </a:solidFill>
        <a:effectLst/>
      </p:bgPr>
    </p:bg>
    <p:spTree>
      <p:nvGrpSpPr>
        <p:cNvPr id="1" name=""/>
        <p:cNvGrpSpPr/>
        <p:nvPr/>
      </p:nvGrpSpPr>
      <p:grpSpPr>
        <a:xfrm>
          <a:off x="0" y="0"/>
          <a:ext cx="0" cy="0"/>
        </a:xfrm>
      </p:grpSpPr>
      <p:pic>
        <p:nvPicPr>
          <p:cNvPr id="12" name="Picture 11">
            <a:extLst>
              <a:ext uri="{FF2B5EF4-FFF2-40B4-BE49-F238E27FC236}">
                <a16:creationId xmlns:a16="http://schemas.microsoft.com/office/drawing/2014/main" id="{0BE017F2-F5E3-214A-B6B8-F599799F12A5}"/>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5E44EDBA-746F-6D46-B0D1-A7CF070A0A8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3952" y="428993"/>
            <a:ext cx="1909118" cy="383696"/>
          </a:xfrm>
          <a:prstGeom prst="rect">
            <a:avLst/>
          </a:prstGeom>
        </p:spPr>
      </p:pic>
      <p:sp>
        <p:nvSpPr>
          <p:cNvPr id="9" name="Title 1">
            <a:extLst>
              <a:ext uri="{FF2B5EF4-FFF2-40B4-BE49-F238E27FC236}">
                <a16:creationId xmlns:a16="http://schemas.microsoft.com/office/drawing/2014/main" id="{8E9C4D29-C638-4CE5-9A03-AD478396F941}"/>
              </a:ext>
            </a:extLst>
          </p:cNvPr>
          <p:cNvSpPr txBox="1"/>
          <p:nvPr userDrawn="1"/>
        </p:nvSpPr>
        <p:spPr>
          <a:xfrm>
            <a:off x="381001" y="3278664"/>
            <a:ext cx="8038722" cy="839443"/>
          </a:xfrm>
          <a:prstGeom prst="rect">
            <a:avLst/>
          </a:prstGeom>
        </p:spPr>
        <p:txBody>
          <a:bodyPr vert="horz" lIns="0" tIns="0" rIns="0" bIns="0" rtlCol="0" anchor="t" anchorCtr="0">
            <a:noAutofit/>
          </a:bodyPr>
          <a:lstStyle>
            <a:lvl1pPr marL="0" indent="0" algn="l" defTabSz="914377" rtl="0" eaLnBrk="1" latinLnBrk="0" hangingPunct="1">
              <a:lnSpc>
                <a:spcPct val="70000"/>
              </a:lnSpc>
              <a:spcBef>
                <a:spcPct val="0"/>
              </a:spcBef>
              <a:buNone/>
              <a:defRPr sz="6400" b="1" kern="1200" cap="none" baseline="0">
                <a:solidFill>
                  <a:srgbClr val="810CD2"/>
                </a:solidFill>
                <a:latin typeface="Graphik Black" panose="020b0503030202060203" pitchFamily="34" charset="77"/>
                <a:ea typeface="+mj-ea"/>
                <a:cs typeface="+mj-cs"/>
              </a:defRPr>
            </a:lvl1pPr>
          </a:lstStyle>
          <a:p>
            <a:pPr marL="0" marR="0" lvl="0" indent="0" algn="l" defTabSz="914377" rtl="0" eaLnBrk="1" fontAlgn="auto" latinLnBrk="0" hangingPunct="1">
              <a:lnSpc>
                <a:spcPct val="70000"/>
              </a:lnSpc>
              <a:spcBef>
                <a:spcPct val="0"/>
              </a:spcBef>
              <a:spcAft>
                <a:spcPct val="0"/>
              </a:spcAft>
              <a:buClrTx/>
              <a:buSzTx/>
              <a:buFontTx/>
              <a:buNone/>
              <a:defRPr/>
            </a:pPr>
            <a:r>
              <a:rPr kumimoji="0" lang="en-US" sz="6400" b="1" i="0" u="none" strike="noStrike" kern="1200" cap="none" spc="0" normalizeH="0" baseline="0" noProof="0">
                <a:ln>
                  <a:noFill/>
                </a:ln>
                <a:solidFill>
                  <a:srgbClr val="810CD2"/>
                </a:solidFill>
                <a:effectLst/>
                <a:uLnTx/>
                <a:uFillTx/>
                <a:latin typeface="Graphik Black" panose="020b0503030202060203" pitchFamily="34" charset="77"/>
                <a:ea typeface="+mj-ea"/>
                <a:cs typeface="+mj-cs"/>
              </a:rPr>
              <a:t>Simplify to</a:t>
            </a:r>
          </a:p>
        </p:txBody>
      </p:sp>
    </p:spTree>
    <p:extLst>
      <p:ext uri="{BB962C8B-B14F-4D97-AF65-F5344CB8AC3E}">
        <p14:creationId xmlns:p14="http://schemas.microsoft.com/office/powerpoint/2010/main" val="1230964727"/>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7_Short Headline and 1 Column">
    <p:spTree>
      <p:nvGrpSpPr>
        <p:cNvPr id="1" name=""/>
        <p:cNvGrpSpPr/>
        <p:nvPr/>
      </p:nvGrpSpPr>
      <p:grpSpPr>
        <a:xfrm>
          <a:off x="0" y="0"/>
          <a:ext cx="0" cy="0"/>
        </a:xfrm>
      </p:grpSpPr>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Footer Placeholder 1">
            <a:extLst>
              <a:ext uri="{FF2B5EF4-FFF2-40B4-BE49-F238E27FC236}">
                <a16:creationId xmlns:a16="http://schemas.microsoft.com/office/drawing/2014/main" id="{732EDD52-F129-6F46-9337-49AE2A6DDA98}"/>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Tree>
    <p:extLst>
      <p:ext uri="{BB962C8B-B14F-4D97-AF65-F5344CB8AC3E}">
        <p14:creationId xmlns:p14="http://schemas.microsoft.com/office/powerpoint/2010/main" val="3303875702"/>
      </p:ext>
    </p:extLst>
  </p:cSld>
  <p:clrMapOvr>
    <a:masterClrMapping/>
  </p:clrMapOvr>
  <p:transition/>
  <p:timing/>
</p:sldLayout>
</file>

<file path=ppt/slideLayouts/slideLayout4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Short Headline and 1 Column">
    <p:spTree>
      <p:nvGrpSpPr>
        <p:cNvPr id="1" name=""/>
        <p:cNvGrpSpPr/>
        <p:nvPr/>
      </p:nvGrpSpPr>
      <p:grpSpPr>
        <a:xfrm>
          <a:off x="0" y="0"/>
          <a:ext cx="0" cy="0"/>
        </a:xfrm>
      </p:grpSpPr>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3" name="Text Placeholder 2">
            <a:extLst>
              <a:ext uri="{FF2B5EF4-FFF2-40B4-BE49-F238E27FC236}">
                <a16:creationId xmlns:a16="http://schemas.microsoft.com/office/drawing/2014/main" id="{A8F7F51D-C8E4-4C06-8BAA-828E16639DA3}"/>
              </a:ext>
            </a:extLst>
          </p:cNvPr>
          <p:cNvSpPr>
            <a:spLocks noGrp="1"/>
          </p:cNvSpPr>
          <p:nvPr>
            <p:ph idx="1" hasCustomPrompt="1"/>
          </p:nvPr>
        </p:nvSpPr>
        <p:spPr>
          <a:xfrm>
            <a:off x="380999" y="870223"/>
            <a:ext cx="11430001" cy="183127"/>
          </a:xfrm>
          <a:prstGeom prst="rect">
            <a:avLst/>
          </a:prstGeom>
        </p:spPr>
        <p:txBody>
          <a:bodyPr vert="horz" lIns="0" tIns="0" rIns="0" bIns="0" rtlCol="0">
            <a:noAutofit/>
          </a:bodyPr>
          <a:lstStyle>
            <a:lvl1pPr marL="0" indent="0">
              <a:defRPr sz="1600" cap="none">
                <a:solidFill>
                  <a:schemeClr val="accent5"/>
                </a:solidFill>
                <a:latin typeface="Graphik Semibold" panose="020b0503030202060203" pitchFamily="34" charset="77"/>
              </a:defRPr>
            </a:lvl1pPr>
          </a:lstStyle>
          <a:p>
            <a:pPr lvl="0"/>
            <a:r>
              <a:rPr lang="en-US"/>
              <a:t>Click to edit master text styles</a:t>
            </a:r>
          </a:p>
        </p:txBody>
      </p:sp>
    </p:spTree>
    <p:extLst>
      <p:ext uri="{BB962C8B-B14F-4D97-AF65-F5344CB8AC3E}">
        <p14:creationId xmlns:p14="http://schemas.microsoft.com/office/powerpoint/2010/main" val="3495200319"/>
      </p:ext>
    </p:extLst>
  </p:cSld>
  <p:clrMapOvr>
    <a:masterClrMapping/>
  </p:clrMapOvr>
  <p:transition/>
  <p:timing/>
</p:sldLayout>
</file>

<file path=ppt/slideLayouts/slideLayout4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Long Headline and 3 Lines flow">
    <p:spTree>
      <p:nvGrpSpPr>
        <p:cNvPr id="1" name=""/>
        <p:cNvGrpSpPr/>
        <p:nvPr/>
      </p:nvGrpSpPr>
      <p:grpSpPr>
        <a:xfrm>
          <a:off x="0" y="0"/>
          <a:ext cx="0" cy="0"/>
        </a:xfrm>
      </p:grpSpPr>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518474"/>
            <a:ext cx="11430000" cy="308378"/>
          </a:xfrm>
        </p:spPr>
        <p:txBody>
          <a:bodyPr anchor="ctr" anchorCtr="0">
            <a:noAutofit/>
          </a:bodyPr>
          <a:lstStyle>
            <a:lvl1pPr>
              <a:defRPr sz="2800"/>
            </a:lvl1pPr>
          </a:lstStyle>
          <a:p>
            <a:r>
              <a:rPr lang="en-US"/>
              <a:t>Click to edit Master title style</a:t>
            </a:r>
          </a:p>
        </p:txBody>
      </p:sp>
      <p:sp>
        <p:nvSpPr>
          <p:cNvPr id="10" name="Footer Placeholder 1">
            <a:extLst>
              <a:ext uri="{FF2B5EF4-FFF2-40B4-BE49-F238E27FC236}">
                <a16:creationId xmlns:a16="http://schemas.microsoft.com/office/drawing/2014/main" id="{4A87AECE-F29A-4D10-BD02-ACFCC3C980FC}"/>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132379894"/>
      </p:ext>
    </p:extLst>
  </p:cSld>
  <p:clrMapOvr>
    <a:masterClrMapping/>
  </p:clrMapOvr>
  <p:transition/>
  <p:timing/>
</p:sldLayout>
</file>

<file path=ppt/slideLayouts/slideLayout4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_Short Headline and 1 Column">
    <p:spTree>
      <p:nvGrpSpPr>
        <p:cNvPr id="1" name=""/>
        <p:cNvGrpSpPr/>
        <p:nvPr/>
      </p:nvGrpSpPr>
      <p:grpSpPr>
        <a:xfrm>
          <a:off x="0" y="0"/>
          <a:ext cx="0" cy="0"/>
        </a:xfrm>
      </p:grpSpPr>
      <p:pic>
        <p:nvPicPr>
          <p:cNvPr id="2" name="Picture 1">
            <a:extLst>
              <a:ext uri="{FF2B5EF4-FFF2-40B4-BE49-F238E27FC236}">
                <a16:creationId xmlns:a16="http://schemas.microsoft.com/office/drawing/2014/main" id="{9A7226C0-EAED-5B49-AC91-5C4000E25EB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222" y="0"/>
            <a:ext cx="12192000" cy="6858000"/>
          </a:xfrm>
          <a:prstGeom prst="rect">
            <a:avLst/>
          </a:prstGeom>
        </p:spPr>
      </p:pic>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0" name="Footer Placeholder 1">
            <a:extLst>
              <a:ext uri="{FF2B5EF4-FFF2-40B4-BE49-F238E27FC236}">
                <a16:creationId xmlns:a16="http://schemas.microsoft.com/office/drawing/2014/main" id="{2657FF0D-5B33-466E-8306-33F602514022}"/>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1576839521"/>
      </p:ext>
    </p:extLst>
  </p:cSld>
  <p:clrMapOvr>
    <a:masterClrMapping/>
  </p:clrMapOvr>
  <p:transition/>
  <p:timing/>
</p:sldLayout>
</file>

<file path=ppt/slideLayouts/slideLayout4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Short Headline and 1 Column">
    <p:spTree>
      <p:nvGrpSpPr>
        <p:cNvPr id="1" name=""/>
        <p:cNvGrpSpPr/>
        <p:nvPr/>
      </p:nvGrpSpPr>
      <p:grpSpPr>
        <a:xfrm>
          <a:off x="0" y="0"/>
          <a:ext cx="0" cy="0"/>
        </a:xfrm>
      </p:grpSpPr>
      <p:pic>
        <p:nvPicPr>
          <p:cNvPr id="2" name="Picture 1">
            <a:extLst>
              <a:ext uri="{FF2B5EF4-FFF2-40B4-BE49-F238E27FC236}">
                <a16:creationId xmlns:a16="http://schemas.microsoft.com/office/drawing/2014/main" id="{9A7226C0-EAED-5B49-AC91-5C4000E25EB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222" y="0"/>
            <a:ext cx="12192000" cy="6858000"/>
          </a:xfrm>
          <a:prstGeom prst="rect">
            <a:avLst/>
          </a:prstGeom>
        </p:spPr>
      </p:pic>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0" name="Footer Placeholder 1">
            <a:extLst>
              <a:ext uri="{FF2B5EF4-FFF2-40B4-BE49-F238E27FC236}">
                <a16:creationId xmlns:a16="http://schemas.microsoft.com/office/drawing/2014/main" id="{1B49650B-B899-4BF3-95D9-60C340757568}"/>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3586651962"/>
      </p:ext>
    </p:extLst>
  </p:cSld>
  <p:clrMapOvr>
    <a:masterClrMapping/>
  </p:clrMapOvr>
  <p:transition/>
  <p:timing/>
</p:sldLayout>
</file>

<file path=ppt/slideLayouts/slideLayout4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Short Headline and 1 Column">
    <p:spTree>
      <p:nvGrpSpPr>
        <p:cNvPr id="1" name=""/>
        <p:cNvGrpSpPr/>
        <p:nvPr/>
      </p:nvGrpSpPr>
      <p:grpSpPr>
        <a:xfrm>
          <a:off x="0" y="0"/>
          <a:ext cx="0" cy="0"/>
        </a:xfrm>
      </p:grpSpPr>
      <p:pic>
        <p:nvPicPr>
          <p:cNvPr id="2" name="Picture 1">
            <a:extLst>
              <a:ext uri="{FF2B5EF4-FFF2-40B4-BE49-F238E27FC236}">
                <a16:creationId xmlns:a16="http://schemas.microsoft.com/office/drawing/2014/main" id="{9A7226C0-EAED-5B49-AC91-5C4000E25EB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222" y="0"/>
            <a:ext cx="12192000" cy="6858000"/>
          </a:xfrm>
          <a:prstGeom prst="rect">
            <a:avLst/>
          </a:prstGeom>
        </p:spPr>
      </p:pic>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3" name="Text Placeholder 2">
            <a:extLst>
              <a:ext uri="{FF2B5EF4-FFF2-40B4-BE49-F238E27FC236}">
                <a16:creationId xmlns:a16="http://schemas.microsoft.com/office/drawing/2014/main" id="{A8F7F51D-C8E4-4C06-8BAA-828E16639DA3}"/>
              </a:ext>
            </a:extLst>
          </p:cNvPr>
          <p:cNvSpPr>
            <a:spLocks noGrp="1"/>
          </p:cNvSpPr>
          <p:nvPr>
            <p:ph idx="1" hasCustomPrompt="1"/>
          </p:nvPr>
        </p:nvSpPr>
        <p:spPr>
          <a:xfrm>
            <a:off x="380999" y="929822"/>
            <a:ext cx="11430001" cy="183127"/>
          </a:xfrm>
          <a:prstGeom prst="rect">
            <a:avLst/>
          </a:prstGeom>
        </p:spPr>
        <p:txBody>
          <a:bodyPr vert="horz" lIns="0" tIns="0" rIns="0" bIns="0" rtlCol="0">
            <a:noAutofit/>
          </a:bodyPr>
          <a:lstStyle>
            <a:lvl1pPr marL="0" indent="0">
              <a:defRPr sz="1600" cap="none">
                <a:solidFill>
                  <a:schemeClr val="accent5"/>
                </a:solidFill>
                <a:latin typeface="Graphik Semibold" panose="020b0503030202060203" pitchFamily="34" charset="77"/>
              </a:defRPr>
            </a:lvl1pPr>
          </a:lstStyle>
          <a:p>
            <a:pPr lvl="0"/>
            <a:r>
              <a:rPr lang="en-US"/>
              <a:t>Click to edit master text styles</a:t>
            </a:r>
          </a:p>
        </p:txBody>
      </p:sp>
      <p:sp>
        <p:nvSpPr>
          <p:cNvPr id="10" name="Footer Placeholder 1">
            <a:extLst>
              <a:ext uri="{FF2B5EF4-FFF2-40B4-BE49-F238E27FC236}">
                <a16:creationId xmlns:a16="http://schemas.microsoft.com/office/drawing/2014/main" id="{6B49FC28-1C40-4C56-8B4A-21F58EB865BC}"/>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492392634"/>
      </p:ext>
    </p:extLst>
  </p:cSld>
  <p:clrMapOvr>
    <a:masterClrMapping/>
  </p:clrMapOvr>
  <p:transition/>
  <p:timing/>
</p:sldLayout>
</file>

<file path=ppt/slideLayouts/slideLayout4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Short Headline and 1 Column">
    <p:spTree>
      <p:nvGrpSpPr>
        <p:cNvPr id="1" name=""/>
        <p:cNvGrpSpPr/>
        <p:nvPr/>
      </p:nvGrpSpPr>
      <p:grpSpPr>
        <a:xfrm>
          <a:off x="0" y="0"/>
          <a:ext cx="0" cy="0"/>
        </a:xfrm>
      </p:grpSpPr>
      <p:pic>
        <p:nvPicPr>
          <p:cNvPr id="2" name="Picture 1">
            <a:extLst>
              <a:ext uri="{FF2B5EF4-FFF2-40B4-BE49-F238E27FC236}">
                <a16:creationId xmlns:a16="http://schemas.microsoft.com/office/drawing/2014/main" id="{9A7226C0-EAED-5B49-AC91-5C4000E25EB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6222" y="0"/>
            <a:ext cx="12192000" cy="6858000"/>
          </a:xfrm>
          <a:prstGeom prst="rect">
            <a:avLst/>
          </a:prstGeom>
        </p:spPr>
      </p:pic>
      <p:sp>
        <p:nvSpPr>
          <p:cNvPr id="3" name="Rectangle 2">
            <a:extLst>
              <a:ext uri="{FF2B5EF4-FFF2-40B4-BE49-F238E27FC236}">
                <a16:creationId xmlns:a16="http://schemas.microsoft.com/office/drawing/2014/main" id="{F0410D78-3857-B241-ABC2-C557836CE589}"/>
              </a:ext>
            </a:extLst>
          </p:cNvPr>
          <p:cNvSpPr/>
          <p:nvPr userDrawn="1"/>
        </p:nvSpPr>
        <p:spPr>
          <a:xfrm>
            <a:off x="0" y="0"/>
            <a:ext cx="737286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2" name="Title 10">
            <a:extLst>
              <a:ext uri="{FF2B5EF4-FFF2-40B4-BE49-F238E27FC236}">
                <a16:creationId xmlns:a16="http://schemas.microsoft.com/office/drawing/2014/main" id="{2431ACD0-5F67-4486-95D5-F79A0AD397C7}"/>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3" name="Text Placeholder 2">
            <a:extLst>
              <a:ext uri="{FF2B5EF4-FFF2-40B4-BE49-F238E27FC236}">
                <a16:creationId xmlns:a16="http://schemas.microsoft.com/office/drawing/2014/main" id="{A8F7F51D-C8E4-4C06-8BAA-828E16639DA3}"/>
              </a:ext>
            </a:extLst>
          </p:cNvPr>
          <p:cNvSpPr>
            <a:spLocks noGrp="1"/>
          </p:cNvSpPr>
          <p:nvPr>
            <p:ph idx="1" hasCustomPrompt="1"/>
          </p:nvPr>
        </p:nvSpPr>
        <p:spPr>
          <a:xfrm>
            <a:off x="380999" y="929822"/>
            <a:ext cx="11430001" cy="183127"/>
          </a:xfrm>
          <a:prstGeom prst="rect">
            <a:avLst/>
          </a:prstGeom>
        </p:spPr>
        <p:txBody>
          <a:bodyPr vert="horz" lIns="0" tIns="0" rIns="0" bIns="0" rtlCol="0">
            <a:noAutofit/>
          </a:bodyPr>
          <a:lstStyle>
            <a:lvl1pPr marL="0" indent="0">
              <a:defRPr sz="1600" cap="none">
                <a:solidFill>
                  <a:schemeClr val="accent5"/>
                </a:solidFill>
                <a:latin typeface="Graphik Semibold" panose="020b0503030202060203" pitchFamily="34" charset="77"/>
              </a:defRPr>
            </a:lvl1pPr>
          </a:lstStyle>
          <a:p>
            <a:pPr lvl="0"/>
            <a:r>
              <a:rPr lang="en-US"/>
              <a:t>Click to edit master text styles</a:t>
            </a:r>
          </a:p>
        </p:txBody>
      </p:sp>
      <p:sp>
        <p:nvSpPr>
          <p:cNvPr id="10" name="Footer Placeholder 1">
            <a:extLst>
              <a:ext uri="{FF2B5EF4-FFF2-40B4-BE49-F238E27FC236}">
                <a16:creationId xmlns:a16="http://schemas.microsoft.com/office/drawing/2014/main" id="{C0EB416D-0AFF-441E-870F-61E09197915D}"/>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3321114577"/>
      </p:ext>
    </p:extLst>
  </p:cSld>
  <p:clrMapOvr>
    <a:masterClrMapping/>
  </p:clrMapOvr>
  <p:transition/>
  <p:timing/>
</p:sldLayout>
</file>

<file path=ppt/slideLayouts/slideLayout4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Short Headline and 1 Column">
    <p:spTree>
      <p:nvGrpSpPr>
        <p:cNvPr id="1" name=""/>
        <p:cNvGrpSpPr/>
        <p:nvPr/>
      </p:nvGrpSpPr>
      <p:grpSpPr>
        <a:xfrm>
          <a:off x="0" y="0"/>
          <a:ext cx="0" cy="0"/>
        </a:xfrm>
      </p:grpSpPr>
      <p:pic>
        <p:nvPicPr>
          <p:cNvPr id="2" name="Picture 1">
            <a:extLst>
              <a:ext uri="{FF2B5EF4-FFF2-40B4-BE49-F238E27FC236}">
                <a16:creationId xmlns:a16="http://schemas.microsoft.com/office/drawing/2014/main" id="{9A7226C0-EAED-5B49-AC91-5C4000E25EBF}"/>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Slide Number Placeholder 2">
            <a:extLst>
              <a:ext uri="{FF2B5EF4-FFF2-40B4-BE49-F238E27FC236}">
                <a16:creationId xmlns:a16="http://schemas.microsoft.com/office/drawing/2014/main" id="{88AD7EC4-187D-6343-AAAF-B47B2C591768}"/>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pic>
        <p:nvPicPr>
          <p:cNvPr id="9" name="Picture 8" descr="A picture containing drawing, clock&#10;&#10;Description automatically generated">
            <a:extLst>
              <a:ext uri="{FF2B5EF4-FFF2-40B4-BE49-F238E27FC236}">
                <a16:creationId xmlns:a16="http://schemas.microsoft.com/office/drawing/2014/main" id="{57815DB8-274D-1442-8E0E-77EFA5AF2EE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13" name="Text Placeholder 2">
            <a:extLst>
              <a:ext uri="{FF2B5EF4-FFF2-40B4-BE49-F238E27FC236}">
                <a16:creationId xmlns:a16="http://schemas.microsoft.com/office/drawing/2014/main" id="{0DCA8B31-B2B0-4FDD-8AF6-71E80A42D0BC}"/>
              </a:ext>
            </a:extLst>
          </p:cNvPr>
          <p:cNvSpPr>
            <a:spLocks noGrp="1"/>
          </p:cNvSpPr>
          <p:nvPr>
            <p:ph idx="19" hasCustomPrompt="1"/>
          </p:nvPr>
        </p:nvSpPr>
        <p:spPr>
          <a:xfrm>
            <a:off x="380999" y="929822"/>
            <a:ext cx="11430001" cy="183127"/>
          </a:xfrm>
          <a:prstGeom prst="rect">
            <a:avLst/>
          </a:prstGeom>
        </p:spPr>
        <p:txBody>
          <a:bodyPr vert="horz" lIns="0" tIns="0" rIns="0" bIns="0" rtlCol="0">
            <a:noAutofit/>
          </a:bodyPr>
          <a:lstStyle>
            <a:lvl1pPr>
              <a:defRPr sz="1600" cap="none">
                <a:solidFill>
                  <a:schemeClr val="accent5"/>
                </a:solidFill>
                <a:latin typeface="Graphik Semibold" panose="020b0503030202060203" pitchFamily="34" charset="77"/>
              </a:defRPr>
            </a:lvl1pPr>
          </a:lstStyle>
          <a:p>
            <a:pPr lvl="0"/>
            <a:r>
              <a:rPr lang="en-US"/>
              <a:t>Click to edit master text styles</a:t>
            </a:r>
          </a:p>
        </p:txBody>
      </p:sp>
      <p:sp>
        <p:nvSpPr>
          <p:cNvPr id="14" name="Title 10">
            <a:extLst>
              <a:ext uri="{FF2B5EF4-FFF2-40B4-BE49-F238E27FC236}">
                <a16:creationId xmlns:a16="http://schemas.microsoft.com/office/drawing/2014/main" id="{7BD11761-ADDA-4821-8A36-C8F73BBD6E48}"/>
              </a:ext>
            </a:extLst>
          </p:cNvPr>
          <p:cNvSpPr>
            <a:spLocks noGrp="1"/>
          </p:cNvSpPr>
          <p:nvPr>
            <p:ph type="title"/>
          </p:nvPr>
        </p:nvSpPr>
        <p:spPr>
          <a:xfrm>
            <a:off x="381000" y="381000"/>
            <a:ext cx="11430000" cy="445852"/>
          </a:xfrm>
        </p:spPr>
        <p:txBody>
          <a:bodyPr anchor="b">
            <a:noAutofit/>
          </a:bodyPr>
          <a:lstStyle>
            <a:lvl1pPr>
              <a:defRPr sz="2800"/>
            </a:lvl1pPr>
          </a:lstStyle>
          <a:p>
            <a:r>
              <a:rPr lang="en-US"/>
              <a:t>Click to edit Master title style</a:t>
            </a:r>
          </a:p>
        </p:txBody>
      </p:sp>
      <p:sp>
        <p:nvSpPr>
          <p:cNvPr id="10" name="Footer Placeholder 1">
            <a:extLst>
              <a:ext uri="{FF2B5EF4-FFF2-40B4-BE49-F238E27FC236}">
                <a16:creationId xmlns:a16="http://schemas.microsoft.com/office/drawing/2014/main" id="{3C5B811A-37A2-4F1D-93AB-40BD1121E908}"/>
              </a:ext>
            </a:extLst>
          </p:cNvPr>
          <p:cNvSpPr txBox="1"/>
          <p:nvPr userDrawn="1"/>
        </p:nvSpPr>
        <p:spPr>
          <a:xfrm>
            <a:off x="2987040" y="6508849"/>
            <a:ext cx="8092697"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 2020 Accenture. All Rights Reserved. Accenture, its logo, and High Performance Delivered are trademarks of Accenture.</a:t>
            </a:r>
          </a:p>
        </p:txBody>
      </p:sp>
    </p:spTree>
    <p:extLst>
      <p:ext uri="{BB962C8B-B14F-4D97-AF65-F5344CB8AC3E}">
        <p14:creationId xmlns:p14="http://schemas.microsoft.com/office/powerpoint/2010/main" val="2135732684"/>
      </p:ext>
    </p:extLst>
  </p:cSld>
  <p:clrMapOvr>
    <a:masterClrMapping/>
  </p:clrMapOvr>
  <p:transition/>
  <p:timing/>
</p:sldLayout>
</file>

<file path=ppt/slideLayouts/slideLayout4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Divider: Black">
    <p:bg>
      <p:bgPr>
        <a:solidFill>
          <a:schemeClr val="accent4"/>
        </a:solidFill>
        <a:effectLst/>
      </p:bgPr>
    </p:bg>
    <p:spTree>
      <p:nvGrpSpPr>
        <p:cNvPr id="1" name=""/>
        <p:cNvGrpSpPr/>
        <p:nvPr/>
      </p:nvGrpSpPr>
      <p:grpSpPr>
        <a:xfrm>
          <a:off x="0" y="0"/>
          <a:ext cx="0" cy="0"/>
        </a:xfrm>
      </p:grpSpPr>
      <p:pic>
        <p:nvPicPr>
          <p:cNvPr id="4" name="Picture 3">
            <a:extLst>
              <a:ext uri="{FF2B5EF4-FFF2-40B4-BE49-F238E27FC236}">
                <a16:creationId xmlns:a16="http://schemas.microsoft.com/office/drawing/2014/main" id="{F7CC6645-159F-FD44-B5B2-ABCFF5B09B10}"/>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flipH="1" flipV="1">
            <a:off x="0" y="0"/>
            <a:ext cx="12192000" cy="6858000"/>
          </a:xfrm>
          <a:prstGeom prst="rect">
            <a:avLst/>
          </a:prstGeom>
        </p:spPr>
      </p:pic>
      <p:sp>
        <p:nvSpPr>
          <p:cNvPr id="2" name="Title 1"/>
          <p:cNvSpPr>
            <a:spLocks noGrp="1"/>
          </p:cNvSpPr>
          <p:nvPr>
            <p:ph type="ctrTitle" hasCustomPrompt="1"/>
          </p:nvPr>
        </p:nvSpPr>
        <p:spPr>
          <a:xfrm>
            <a:off x="381001" y="2524858"/>
            <a:ext cx="8572500" cy="1808285"/>
          </a:xfrm>
        </p:spPr>
        <p:txBody>
          <a:bodyPr tIns="0" anchor="ctr" anchorCtr="0">
            <a:noAutofit/>
          </a:bodyPr>
          <a:lstStyle>
            <a:lvl1pPr algn="l">
              <a:lnSpc>
                <a:spcPct val="70000"/>
              </a:lnSpc>
              <a:defRPr sz="6600" cap="none" spc="-150" baseline="0">
                <a:solidFill>
                  <a:schemeClr val="bg1"/>
                </a:solidFill>
                <a:latin typeface="Graphik Black" panose="020b0503030202060203" pitchFamily="34" charset="77"/>
              </a:defRPr>
            </a:lvl1pPr>
          </a:lstStyle>
          <a:p>
            <a:r>
              <a:rPr lang="en-US"/>
              <a:t>CLICK TO </a:t>
            </a:r>
            <a:br>
              <a:rPr lang="en-US"/>
            </a:br>
            <a:r>
              <a:rPr lang="en-US"/>
              <a:t>EDIT TITLE</a:t>
            </a:r>
          </a:p>
        </p:txBody>
      </p:sp>
    </p:spTree>
    <p:extLst>
      <p:ext uri="{BB962C8B-B14F-4D97-AF65-F5344CB8AC3E}">
        <p14:creationId xmlns:p14="http://schemas.microsoft.com/office/powerpoint/2010/main" val="2752343628"/>
      </p:ext>
    </p:extLst>
  </p:cSld>
  <p:clrMapOvr>
    <a:overrideClrMapping bg1="dk1" tx1="lt1" bg2="dk2" tx2="lt2" accent1="accent1" accent2="accent2" accent3="accent3" accent4="accent4" accent5="accent5" accent6="accent6" hlink="hlink" folHlink="folHlink"/>
  </p:clrMapOvr>
  <p:transition/>
  <p:timing/>
</p:sldLayout>
</file>

<file path=ppt/slideLayouts/slideLayout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userDrawn="1">
  <p:cSld name="1_Title Only">
    <p:spTree>
      <p:nvGrpSpPr>
        <p:cNvPr id="1" name=""/>
        <p:cNvGrpSpPr/>
        <p:nvPr/>
      </p:nvGrpSpPr>
      <p:grpSpPr>
        <a:xfrm>
          <a:off x="0" y="0"/>
          <a:ext cx="0" cy="0"/>
        </a:xfrm>
      </p:grpSpPr>
      <p:sp>
        <p:nvSpPr>
          <p:cNvPr id="3" name="Title 2"/>
          <p:cNvSpPr>
            <a:spLocks noGrp="1"/>
          </p:cNvSpPr>
          <p:nvPr>
            <p:ph type="title" hasCustomPrompt="1"/>
          </p:nvPr>
        </p:nvSpPr>
        <p:spPr/>
        <p:txBody>
          <a:bodyPr/>
          <a:lstStyle>
            <a:lvl1pPr>
              <a:lnSpc>
                <a:spcPct val="80000"/>
              </a:lnSpc>
              <a:defRPr sz="3600"/>
            </a:lvl1pPr>
          </a:lstStyle>
          <a:p>
            <a:r>
              <a:rPr lang="en-US"/>
              <a:t>CLICK TO EDIT MASTER TITLE</a:t>
            </a:r>
          </a:p>
        </p:txBody>
      </p:sp>
      <p:sp>
        <p:nvSpPr>
          <p:cNvPr id="4" name="Slide Number Placeholder 3"/>
          <p:cNvSpPr>
            <a:spLocks noGrp="1"/>
          </p:cNvSpPr>
          <p:nvPr>
            <p:ph type="sldNum" sz="quarter" idx="11"/>
          </p:nvPr>
        </p:nvSpPr>
        <p:spPr>
          <a:xfrm>
            <a:off x="11639450" y="6386400"/>
            <a:ext cx="216000" cy="140400"/>
          </a:xfrm>
          <a:prstGeom prst="rect">
            <a:avLst/>
          </a:prstGeom>
        </p:spPr>
        <p:txBody>
          <a:bodyPr/>
          <a:lstStyle/>
          <a:p>
            <a:fld id="{17D800ED-CB1B-4EBC-A0D2-2190AF4D8872}" type="slidenum">
              <a:rPr lang="en-GB" smtClean="0"/>
              <a:t>‹#›</a:t>
            </a:fld>
            <a:endParaRPr lang="en-GB"/>
          </a:p>
        </p:txBody>
      </p:sp>
    </p:spTree>
    <p:extLst>
      <p:ext uri="{BB962C8B-B14F-4D97-AF65-F5344CB8AC3E}">
        <p14:creationId xmlns:p14="http://schemas.microsoft.com/office/powerpoint/2010/main" val="3714281363"/>
      </p:ext>
    </p:extLst>
  </p:cSld>
  <p:clrMapOvr>
    <a:masterClrMapping/>
  </p:clrMapOvr>
  <p:transition/>
  <p:timing/>
</p:sldLayout>
</file>

<file path=ppt/slideLayouts/slideLayout5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Divider: Black">
    <p:bg>
      <p:bgPr>
        <a:solidFill>
          <a:schemeClr val="accent4"/>
        </a:solidFill>
        <a:effectLst/>
      </p:bgPr>
    </p:bg>
    <p:spTree>
      <p:nvGrpSpPr>
        <p:cNvPr id="1" name=""/>
        <p:cNvGrpSpPr/>
        <p:nvPr/>
      </p:nvGrpSpPr>
      <p:grpSpPr>
        <a:xfrm>
          <a:off x="0" y="0"/>
          <a:ext cx="0" cy="0"/>
        </a:xfrm>
      </p:grpSpPr>
      <p:pic>
        <p:nvPicPr>
          <p:cNvPr id="10" name="Picture 9">
            <a:extLst>
              <a:ext uri="{FF2B5EF4-FFF2-40B4-BE49-F238E27FC236}">
                <a16:creationId xmlns:a16="http://schemas.microsoft.com/office/drawing/2014/main" id="{65E6217F-B989-924E-8DA0-E7FE74F7360E}"/>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flipH="1" flipV="1">
            <a:off x="0" y="0"/>
            <a:ext cx="12192000" cy="6858000"/>
          </a:xfrm>
          <a:prstGeom prst="rect">
            <a:avLst/>
          </a:prstGeom>
        </p:spPr>
      </p:pic>
      <p:pic>
        <p:nvPicPr>
          <p:cNvPr id="6" name="Graphic 5">
            <a:extLst>
              <a:ext uri="{FF2B5EF4-FFF2-40B4-BE49-F238E27FC236}">
                <a16:creationId xmlns:a16="http://schemas.microsoft.com/office/drawing/2014/main" id="{11B367E0-8897-084A-8904-9C249E281DA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7" name="Title 1">
            <a:extLst>
              <a:ext uri="{FF2B5EF4-FFF2-40B4-BE49-F238E27FC236}">
                <a16:creationId xmlns:a16="http://schemas.microsoft.com/office/drawing/2014/main" id="{807E2E64-9C9E-244B-B88E-F312190FA457}"/>
              </a:ext>
            </a:extLst>
          </p:cNvPr>
          <p:cNvSpPr>
            <a:spLocks noGrp="1"/>
          </p:cNvSpPr>
          <p:nvPr>
            <p:ph type="title" hasCustomPrompt="1"/>
          </p:nvPr>
        </p:nvSpPr>
        <p:spPr>
          <a:xfrm>
            <a:off x="380999" y="2318273"/>
            <a:ext cx="7040753" cy="2221454"/>
          </a:xfrm>
        </p:spPr>
        <p:txBody>
          <a:bodyPr anchor="ctr"/>
          <a:lstStyle>
            <a:lvl1pPr algn="l">
              <a:defRPr sz="7200" cap="none">
                <a:solidFill>
                  <a:schemeClr val="tx1"/>
                </a:solidFill>
              </a:defRPr>
            </a:lvl1pPr>
          </a:lstStyle>
          <a:p>
            <a:r>
              <a:rPr lang="en-GB"/>
              <a:t>Thank you</a:t>
            </a:r>
            <a:endParaRPr lang="en-US"/>
          </a:p>
        </p:txBody>
      </p:sp>
      <p:sp>
        <p:nvSpPr>
          <p:cNvPr id="9" name="TextBox 8">
            <a:extLst>
              <a:ext uri="{FF2B5EF4-FFF2-40B4-BE49-F238E27FC236}">
                <a16:creationId xmlns:a16="http://schemas.microsoft.com/office/drawing/2014/main" id="{061D210E-ACAA-AD47-8F99-E06A5AE192F9}"/>
              </a:ext>
            </a:extLst>
          </p:cNvPr>
          <p:cNvSpPr txBox="1"/>
          <p:nvPr userDrawn="1"/>
        </p:nvSpPr>
        <p:spPr>
          <a:xfrm flipH="1">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4113875961"/>
      </p:ext>
    </p:extLst>
  </p:cSld>
  <p:clrMapOvr>
    <a:overrideClrMapping bg1="dk1" tx1="lt1" bg2="dk2" tx2="lt2" accent1="accent1" accent2="accent2" accent3="accent3" accent4="accent4" accent5="accent5" accent6="accent6" hlink="hlink" folHlink="folHlink"/>
  </p:clrMapOvr>
  <p:transition/>
  <p:timing/>
</p:sldLayout>
</file>

<file path=ppt/slideLayouts/slideLayout5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hort Agenda">
    <p:bg>
      <p:bgPr>
        <a:gradFill>
          <a:gsLst>
            <a:gs pos="4000">
              <a:schemeClr val="accent2"/>
            </a:gs>
            <a:gs pos="100000">
              <a:schemeClr val="accent5"/>
            </a:gs>
          </a:gsLst>
          <a:lin ang="1200000" scaled="0"/>
        </a:gradFill>
        <a:effectLst/>
      </p:bgPr>
    </p:bg>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lvl1pPr>
              <a:defRPr>
                <a:solidFill>
                  <a:schemeClr val="bg1">
                    <a:alpha val="50000"/>
                  </a:schemeClr>
                </a:solidFill>
              </a:defRPr>
            </a:lvl1p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lvl1pPr>
              <a:defRPr>
                <a:solidFill>
                  <a:schemeClr val="bg1">
                    <a:alpha val="50000"/>
                  </a:schemeClr>
                </a:solidFill>
              </a:defRPr>
            </a:lvl1pPr>
          </a:lstStyle>
          <a:p>
            <a:fld id="{17D800ED-CB1B-4EBC-A0D2-2190AF4D8872}" type="slidenum">
              <a:rPr lang="en-GB" smtClean="0"/>
              <a:t>‹#›</a:t>
            </a:fld>
            <a:endParaRPr lang="en-GB"/>
          </a:p>
        </p:txBody>
      </p:sp>
      <p:sp>
        <p:nvSpPr>
          <p:cNvPr id="5" name="Title 1"/>
          <p:cNvSpPr txBox="1"/>
          <p:nvPr userDrawn="1"/>
        </p:nvSpPr>
        <p:spPr>
          <a:xfrm>
            <a:off x="442089" y="4779691"/>
            <a:ext cx="3897714" cy="776139"/>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chemeClr val="bg1"/>
                </a:solidFill>
                <a:latin typeface="Arial Black" charset="0"/>
                <a:ea typeface="Arial Black" charset="0"/>
                <a:cs typeface="Arial Black" charset="0"/>
              </a:defRPr>
            </a:lvl1pPr>
          </a:lstStyle>
          <a:p>
            <a:pPr>
              <a:defRPr/>
            </a:pPr>
            <a:r>
              <a:rPr lang="en-US" sz="6000">
                <a:solidFill>
                  <a:srgbClr val="FFFFFF"/>
                </a:solidFill>
                <a:latin typeface="+mj-lt"/>
              </a:rPr>
              <a:t>Agenda</a:t>
            </a:r>
            <a:endParaRPr lang="en-AU" sz="6000">
              <a:solidFill>
                <a:srgbClr val="FFFFFF"/>
              </a:solidFill>
              <a:latin typeface="+mj-lt"/>
            </a:endParaRPr>
          </a:p>
        </p:txBody>
      </p:sp>
      <p:cxnSp>
        <p:nvCxnSpPr>
          <p:cNvPr id="6" name="Straight Connector 5"/>
          <p:cNvCxnSpPr/>
          <p:nvPr userDrawn="1"/>
        </p:nvCxnSpPr>
        <p:spPr>
          <a:xfrm>
            <a:off x="3020870" y="-12700"/>
            <a:ext cx="2878228" cy="5765800"/>
          </a:xfrm>
          <a:prstGeom prst="line">
            <a:avLst/>
          </a:prstGeom>
          <a:noFill/>
          <a:ln w="9525" cap="flat" cmpd="sng" algn="ctr">
            <a:solidFill>
              <a:srgbClr val="FFFFFF"/>
            </a:solidFill>
            <a:prstDash val="dash"/>
            <a:tailEnd type="oval" w="med" len="med"/>
          </a:ln>
          <a:effectLst/>
        </p:spPr>
      </p:cxnSp>
      <p:grpSp>
        <p:nvGrpSpPr>
          <p:cNvPr id="7" name="Group 6"/>
          <p:cNvGrpSpPr/>
          <p:nvPr userDrawn="1"/>
        </p:nvGrpSpPr>
        <p:grpSpPr>
          <a:xfrm>
            <a:off x="4018358" y="2099805"/>
            <a:ext cx="215911" cy="215911"/>
            <a:chOff x="1028689" y="2361425"/>
            <a:chExt cx="215911" cy="215911"/>
          </a:xfrm>
        </p:grpSpPr>
        <p:sp>
          <p:nvSpPr>
            <p:cNvPr id="8" name="Oval 7"/>
            <p:cNvSpPr/>
            <p:nvPr/>
          </p:nvSpPr>
          <p:spPr>
            <a:xfrm>
              <a:off x="1028689" y="2361425"/>
              <a:ext cx="215911" cy="215911"/>
            </a:xfrm>
            <a:prstGeom prst="ellipse">
              <a:avLst/>
            </a:prstGeom>
            <a:noFill/>
            <a:ln w="9525" cap="flat" cmpd="sng" algn="ctr">
              <a:solidFill>
                <a:srgbClr val="00F3FF">
                  <a:lumMod val="20000"/>
                  <a:lumOff val="80000"/>
                </a:srgbClr>
              </a:solidFill>
              <a:prstDash val="solid"/>
              <a:tailEnd type="none" w="med" len="med"/>
            </a:ln>
            <a:effectLst/>
          </p:spPr>
          <p:txBody>
            <a:bodyPr rtlCol="0" anchor="ctr"/>
            <a:lstStyle/>
            <a:p>
              <a:pPr algn="ctr">
                <a:defRPr/>
              </a:pPr>
              <a:endParaRPr lang="en-AU" sz="1600" kern="0">
                <a:solidFill>
                  <a:srgbClr val="000000"/>
                </a:solidFill>
              </a:endParaRPr>
            </a:p>
          </p:txBody>
        </p:sp>
        <p:sp>
          <p:nvSpPr>
            <p:cNvPr id="9" name="Oval 8"/>
            <p:cNvSpPr/>
            <p:nvPr/>
          </p:nvSpPr>
          <p:spPr>
            <a:xfrm>
              <a:off x="1096138" y="2428876"/>
              <a:ext cx="81014" cy="81010"/>
            </a:xfrm>
            <a:prstGeom prst="ellipse">
              <a:avLst/>
            </a:prstGeom>
            <a:solidFill>
              <a:srgbClr val="FFFFFF"/>
            </a:solidFill>
            <a:ln w="9525" cap="flat" cmpd="sng" algn="ctr">
              <a:noFill/>
              <a:prstDash val="solid"/>
            </a:ln>
            <a:effectLst/>
          </p:spPr>
          <p:txBody>
            <a:bodyPr rtlCol="0" anchor="ctr"/>
            <a:lstStyle/>
            <a:p>
              <a:pPr algn="ctr">
                <a:defRPr/>
              </a:pPr>
              <a:endParaRPr lang="en-AU" sz="1600" kern="0">
                <a:solidFill>
                  <a:srgbClr val="FFFFFF"/>
                </a:solidFill>
              </a:endParaRPr>
            </a:p>
          </p:txBody>
        </p:sp>
      </p:grpSp>
      <p:grpSp>
        <p:nvGrpSpPr>
          <p:cNvPr id="10" name="Group 9"/>
          <p:cNvGrpSpPr/>
          <p:nvPr userDrawn="1"/>
        </p:nvGrpSpPr>
        <p:grpSpPr>
          <a:xfrm>
            <a:off x="4757498" y="3585705"/>
            <a:ext cx="215911" cy="215911"/>
            <a:chOff x="1028689" y="2361425"/>
            <a:chExt cx="215911" cy="215911"/>
          </a:xfrm>
        </p:grpSpPr>
        <p:sp>
          <p:nvSpPr>
            <p:cNvPr id="11" name="Oval 10"/>
            <p:cNvSpPr/>
            <p:nvPr/>
          </p:nvSpPr>
          <p:spPr>
            <a:xfrm>
              <a:off x="1028689" y="2361425"/>
              <a:ext cx="215911" cy="215911"/>
            </a:xfrm>
            <a:prstGeom prst="ellipse">
              <a:avLst/>
            </a:prstGeom>
            <a:noFill/>
            <a:ln w="9525" cap="flat" cmpd="sng" algn="ctr">
              <a:solidFill>
                <a:srgbClr val="00F3FF">
                  <a:lumMod val="20000"/>
                  <a:lumOff val="80000"/>
                </a:srgbClr>
              </a:solidFill>
              <a:prstDash val="solid"/>
              <a:tailEnd type="none" w="med" len="med"/>
            </a:ln>
            <a:effectLst/>
          </p:spPr>
          <p:txBody>
            <a:bodyPr rtlCol="0" anchor="ctr"/>
            <a:lstStyle/>
            <a:p>
              <a:pPr algn="ctr">
                <a:defRPr/>
              </a:pPr>
              <a:endParaRPr lang="en-AU" sz="1600" kern="0">
                <a:solidFill>
                  <a:srgbClr val="000000"/>
                </a:solidFill>
              </a:endParaRPr>
            </a:p>
          </p:txBody>
        </p:sp>
        <p:sp>
          <p:nvSpPr>
            <p:cNvPr id="12" name="Oval 11"/>
            <p:cNvSpPr/>
            <p:nvPr/>
          </p:nvSpPr>
          <p:spPr>
            <a:xfrm>
              <a:off x="1096138" y="2428876"/>
              <a:ext cx="81014" cy="81010"/>
            </a:xfrm>
            <a:prstGeom prst="ellipse">
              <a:avLst/>
            </a:prstGeom>
            <a:solidFill>
              <a:srgbClr val="FFFFFF"/>
            </a:solidFill>
            <a:ln w="9525" cap="flat" cmpd="sng" algn="ctr">
              <a:noFill/>
              <a:prstDash val="solid"/>
            </a:ln>
            <a:effectLst/>
          </p:spPr>
          <p:txBody>
            <a:bodyPr rtlCol="0" anchor="ctr"/>
            <a:lstStyle/>
            <a:p>
              <a:pPr algn="ctr">
                <a:defRPr/>
              </a:pPr>
              <a:endParaRPr lang="en-AU" sz="1600" kern="0">
                <a:solidFill>
                  <a:srgbClr val="FFFFFF"/>
                </a:solidFill>
              </a:endParaRPr>
            </a:p>
          </p:txBody>
        </p:sp>
      </p:grpSp>
      <p:grpSp>
        <p:nvGrpSpPr>
          <p:cNvPr id="13" name="Group 12"/>
          <p:cNvGrpSpPr/>
          <p:nvPr userDrawn="1"/>
        </p:nvGrpSpPr>
        <p:grpSpPr>
          <a:xfrm>
            <a:off x="5527118" y="5109705"/>
            <a:ext cx="215911" cy="215911"/>
            <a:chOff x="1028689" y="2361425"/>
            <a:chExt cx="215911" cy="215911"/>
          </a:xfrm>
        </p:grpSpPr>
        <p:sp>
          <p:nvSpPr>
            <p:cNvPr id="14" name="Oval 13"/>
            <p:cNvSpPr/>
            <p:nvPr/>
          </p:nvSpPr>
          <p:spPr>
            <a:xfrm>
              <a:off x="1028689" y="2361425"/>
              <a:ext cx="215911" cy="215911"/>
            </a:xfrm>
            <a:prstGeom prst="ellipse">
              <a:avLst/>
            </a:prstGeom>
            <a:noFill/>
            <a:ln w="9525" cap="flat" cmpd="sng" algn="ctr">
              <a:solidFill>
                <a:srgbClr val="00F3FF">
                  <a:lumMod val="20000"/>
                  <a:lumOff val="80000"/>
                </a:srgbClr>
              </a:solidFill>
              <a:prstDash val="solid"/>
              <a:tailEnd type="none" w="med" len="med"/>
            </a:ln>
            <a:effectLst/>
          </p:spPr>
          <p:txBody>
            <a:bodyPr rtlCol="0" anchor="ctr"/>
            <a:lstStyle/>
            <a:p>
              <a:pPr algn="ctr">
                <a:defRPr/>
              </a:pPr>
              <a:endParaRPr lang="en-AU" sz="1600" kern="0">
                <a:solidFill>
                  <a:srgbClr val="000000"/>
                </a:solidFill>
              </a:endParaRPr>
            </a:p>
          </p:txBody>
        </p:sp>
        <p:sp>
          <p:nvSpPr>
            <p:cNvPr id="15" name="Oval 14"/>
            <p:cNvSpPr/>
            <p:nvPr/>
          </p:nvSpPr>
          <p:spPr>
            <a:xfrm>
              <a:off x="1096138" y="2428876"/>
              <a:ext cx="81014" cy="81010"/>
            </a:xfrm>
            <a:prstGeom prst="ellipse">
              <a:avLst/>
            </a:prstGeom>
            <a:solidFill>
              <a:srgbClr val="FFFFFF"/>
            </a:solidFill>
            <a:ln w="9525" cap="flat" cmpd="sng" algn="ctr">
              <a:noFill/>
              <a:prstDash val="solid"/>
            </a:ln>
            <a:effectLst/>
          </p:spPr>
          <p:txBody>
            <a:bodyPr rtlCol="0" anchor="ctr"/>
            <a:lstStyle/>
            <a:p>
              <a:pPr algn="ctr">
                <a:defRPr/>
              </a:pPr>
              <a:endParaRPr lang="en-AU" sz="1600" kern="0">
                <a:solidFill>
                  <a:srgbClr val="FFFFFF"/>
                </a:solidFill>
              </a:endParaRPr>
            </a:p>
          </p:txBody>
        </p:sp>
      </p:grpSp>
      <p:cxnSp>
        <p:nvCxnSpPr>
          <p:cNvPr id="16" name="Straight Connector 15"/>
          <p:cNvCxnSpPr>
            <a:stCxn id="8" idx="6"/>
          </p:cNvCxnSpPr>
          <p:nvPr userDrawn="1"/>
        </p:nvCxnSpPr>
        <p:spPr>
          <a:xfrm>
            <a:off x="4234269" y="2207761"/>
            <a:ext cx="298253" cy="0"/>
          </a:xfrm>
          <a:prstGeom prst="line">
            <a:avLst/>
          </a:prstGeom>
          <a:noFill/>
          <a:ln w="9525" cap="flat" cmpd="sng" algn="ctr">
            <a:solidFill>
              <a:srgbClr val="00F3FF">
                <a:lumMod val="20000"/>
                <a:lumOff val="80000"/>
              </a:srgbClr>
            </a:solidFill>
            <a:prstDash val="solid"/>
            <a:headEnd type="none"/>
            <a:tailEnd type="triangle"/>
          </a:ln>
          <a:effectLst/>
        </p:spPr>
      </p:cxnSp>
      <p:cxnSp>
        <p:nvCxnSpPr>
          <p:cNvPr id="17" name="Straight Connector 16"/>
          <p:cNvCxnSpPr/>
          <p:nvPr userDrawn="1"/>
        </p:nvCxnSpPr>
        <p:spPr>
          <a:xfrm>
            <a:off x="4977220" y="3693660"/>
            <a:ext cx="298253" cy="0"/>
          </a:xfrm>
          <a:prstGeom prst="line">
            <a:avLst/>
          </a:prstGeom>
          <a:noFill/>
          <a:ln w="9525" cap="flat" cmpd="sng" algn="ctr">
            <a:solidFill>
              <a:srgbClr val="00F3FF">
                <a:lumMod val="20000"/>
                <a:lumOff val="80000"/>
              </a:srgbClr>
            </a:solidFill>
            <a:prstDash val="solid"/>
            <a:headEnd type="none"/>
            <a:tailEnd type="triangle"/>
          </a:ln>
          <a:effectLst/>
        </p:spPr>
      </p:cxnSp>
      <p:cxnSp>
        <p:nvCxnSpPr>
          <p:cNvPr id="18" name="Straight Connector 17"/>
          <p:cNvCxnSpPr/>
          <p:nvPr userDrawn="1"/>
        </p:nvCxnSpPr>
        <p:spPr>
          <a:xfrm>
            <a:off x="5743029" y="5217660"/>
            <a:ext cx="298253" cy="0"/>
          </a:xfrm>
          <a:prstGeom prst="line">
            <a:avLst/>
          </a:prstGeom>
          <a:noFill/>
          <a:ln w="9525" cap="flat" cmpd="sng" algn="ctr">
            <a:solidFill>
              <a:srgbClr val="00F3FF">
                <a:lumMod val="20000"/>
                <a:lumOff val="80000"/>
              </a:srgbClr>
            </a:solidFill>
            <a:prstDash val="solid"/>
            <a:headEnd type="none"/>
            <a:tailEnd type="triangle"/>
          </a:ln>
          <a:effectLst/>
        </p:spPr>
      </p:cxnSp>
      <p:cxnSp>
        <p:nvCxnSpPr>
          <p:cNvPr id="19" name="Straight Connector 18"/>
          <p:cNvCxnSpPr/>
          <p:nvPr userDrawn="1"/>
        </p:nvCxnSpPr>
        <p:spPr>
          <a:xfrm>
            <a:off x="6816080" y="0"/>
            <a:ext cx="2912901" cy="5835258"/>
          </a:xfrm>
          <a:prstGeom prst="line">
            <a:avLst/>
          </a:prstGeom>
          <a:noFill/>
          <a:ln w="9525" cap="flat" cmpd="sng" algn="ctr">
            <a:solidFill>
              <a:srgbClr val="FFFFFF"/>
            </a:solidFill>
            <a:prstDash val="dash"/>
            <a:tailEnd type="oval" w="med" len="med"/>
          </a:ln>
          <a:effectLst/>
        </p:spPr>
      </p:cxnSp>
      <p:grpSp>
        <p:nvGrpSpPr>
          <p:cNvPr id="20" name="Group 19"/>
          <p:cNvGrpSpPr/>
          <p:nvPr userDrawn="1"/>
        </p:nvGrpSpPr>
        <p:grpSpPr>
          <a:xfrm>
            <a:off x="7810749" y="2099805"/>
            <a:ext cx="215911" cy="215911"/>
            <a:chOff x="1028689" y="2361425"/>
            <a:chExt cx="215911" cy="215911"/>
          </a:xfrm>
        </p:grpSpPr>
        <p:sp>
          <p:nvSpPr>
            <p:cNvPr id="21" name="Oval 20"/>
            <p:cNvSpPr/>
            <p:nvPr/>
          </p:nvSpPr>
          <p:spPr>
            <a:xfrm>
              <a:off x="1028689" y="2361425"/>
              <a:ext cx="215911" cy="215911"/>
            </a:xfrm>
            <a:prstGeom prst="ellipse">
              <a:avLst/>
            </a:prstGeom>
            <a:noFill/>
            <a:ln w="9525" cap="flat" cmpd="sng" algn="ctr">
              <a:solidFill>
                <a:srgbClr val="00F3FF">
                  <a:lumMod val="20000"/>
                  <a:lumOff val="80000"/>
                </a:srgbClr>
              </a:solidFill>
              <a:prstDash val="solid"/>
              <a:tailEnd type="none" w="med" len="med"/>
            </a:ln>
            <a:effectLst/>
          </p:spPr>
          <p:txBody>
            <a:bodyPr rtlCol="0" anchor="ctr"/>
            <a:lstStyle/>
            <a:p>
              <a:pPr algn="ctr">
                <a:defRPr/>
              </a:pPr>
              <a:endParaRPr lang="en-AU" sz="1600" kern="0">
                <a:solidFill>
                  <a:srgbClr val="000000"/>
                </a:solidFill>
              </a:endParaRPr>
            </a:p>
          </p:txBody>
        </p:sp>
        <p:sp>
          <p:nvSpPr>
            <p:cNvPr id="22" name="Oval 21"/>
            <p:cNvSpPr/>
            <p:nvPr/>
          </p:nvSpPr>
          <p:spPr>
            <a:xfrm>
              <a:off x="1096138" y="2428876"/>
              <a:ext cx="81014" cy="81010"/>
            </a:xfrm>
            <a:prstGeom prst="ellipse">
              <a:avLst/>
            </a:prstGeom>
            <a:solidFill>
              <a:srgbClr val="FFFFFF"/>
            </a:solidFill>
            <a:ln w="9525" cap="flat" cmpd="sng" algn="ctr">
              <a:noFill/>
              <a:prstDash val="solid"/>
            </a:ln>
            <a:effectLst/>
          </p:spPr>
          <p:txBody>
            <a:bodyPr rtlCol="0" anchor="ctr"/>
            <a:lstStyle/>
            <a:p>
              <a:pPr algn="ctr">
                <a:defRPr/>
              </a:pPr>
              <a:endParaRPr lang="en-AU" sz="1600" kern="0">
                <a:solidFill>
                  <a:srgbClr val="FFFFFF"/>
                </a:solidFill>
              </a:endParaRPr>
            </a:p>
          </p:txBody>
        </p:sp>
      </p:grpSp>
      <p:grpSp>
        <p:nvGrpSpPr>
          <p:cNvPr id="23" name="Group 22"/>
          <p:cNvGrpSpPr/>
          <p:nvPr userDrawn="1"/>
        </p:nvGrpSpPr>
        <p:grpSpPr>
          <a:xfrm>
            <a:off x="8549889" y="3585705"/>
            <a:ext cx="215911" cy="215911"/>
            <a:chOff x="1028689" y="2361425"/>
            <a:chExt cx="215911" cy="215911"/>
          </a:xfrm>
        </p:grpSpPr>
        <p:sp>
          <p:nvSpPr>
            <p:cNvPr id="24" name="Oval 23"/>
            <p:cNvSpPr/>
            <p:nvPr/>
          </p:nvSpPr>
          <p:spPr>
            <a:xfrm>
              <a:off x="1028689" y="2361425"/>
              <a:ext cx="215911" cy="215911"/>
            </a:xfrm>
            <a:prstGeom prst="ellipse">
              <a:avLst/>
            </a:prstGeom>
            <a:noFill/>
            <a:ln w="9525" cap="flat" cmpd="sng" algn="ctr">
              <a:solidFill>
                <a:srgbClr val="00F3FF">
                  <a:lumMod val="20000"/>
                  <a:lumOff val="80000"/>
                </a:srgbClr>
              </a:solidFill>
              <a:prstDash val="solid"/>
              <a:tailEnd type="none" w="med" len="med"/>
            </a:ln>
            <a:effectLst/>
          </p:spPr>
          <p:txBody>
            <a:bodyPr rtlCol="0" anchor="ctr"/>
            <a:lstStyle/>
            <a:p>
              <a:pPr algn="ctr">
                <a:defRPr/>
              </a:pPr>
              <a:endParaRPr lang="en-AU" sz="1600" kern="0">
                <a:solidFill>
                  <a:srgbClr val="000000"/>
                </a:solidFill>
              </a:endParaRPr>
            </a:p>
          </p:txBody>
        </p:sp>
        <p:sp>
          <p:nvSpPr>
            <p:cNvPr id="25" name="Oval 24"/>
            <p:cNvSpPr/>
            <p:nvPr/>
          </p:nvSpPr>
          <p:spPr>
            <a:xfrm>
              <a:off x="1096138" y="2428876"/>
              <a:ext cx="81014" cy="81010"/>
            </a:xfrm>
            <a:prstGeom prst="ellipse">
              <a:avLst/>
            </a:prstGeom>
            <a:solidFill>
              <a:srgbClr val="FFFFFF"/>
            </a:solidFill>
            <a:ln w="9525" cap="flat" cmpd="sng" algn="ctr">
              <a:noFill/>
              <a:prstDash val="solid"/>
            </a:ln>
            <a:effectLst/>
          </p:spPr>
          <p:txBody>
            <a:bodyPr rtlCol="0" anchor="ctr"/>
            <a:lstStyle/>
            <a:p>
              <a:pPr algn="ctr">
                <a:defRPr/>
              </a:pPr>
              <a:endParaRPr lang="en-AU" sz="1600" kern="0">
                <a:solidFill>
                  <a:srgbClr val="FFFFFF"/>
                </a:solidFill>
              </a:endParaRPr>
            </a:p>
          </p:txBody>
        </p:sp>
      </p:grpSp>
      <p:cxnSp>
        <p:nvCxnSpPr>
          <p:cNvPr id="26" name="Straight Connector 25"/>
          <p:cNvCxnSpPr/>
          <p:nvPr userDrawn="1"/>
        </p:nvCxnSpPr>
        <p:spPr>
          <a:xfrm>
            <a:off x="8026660" y="2207760"/>
            <a:ext cx="298253" cy="0"/>
          </a:xfrm>
          <a:prstGeom prst="line">
            <a:avLst/>
          </a:prstGeom>
          <a:noFill/>
          <a:ln w="9525" cap="flat" cmpd="sng" algn="ctr">
            <a:solidFill>
              <a:srgbClr val="00F3FF">
                <a:lumMod val="20000"/>
                <a:lumOff val="80000"/>
              </a:srgbClr>
            </a:solidFill>
            <a:prstDash val="solid"/>
            <a:headEnd type="none"/>
            <a:tailEnd type="triangle"/>
          </a:ln>
          <a:effectLst/>
        </p:spPr>
      </p:cxnSp>
      <p:cxnSp>
        <p:nvCxnSpPr>
          <p:cNvPr id="27" name="Straight Connector 26"/>
          <p:cNvCxnSpPr/>
          <p:nvPr userDrawn="1"/>
        </p:nvCxnSpPr>
        <p:spPr>
          <a:xfrm>
            <a:off x="8765800" y="3693660"/>
            <a:ext cx="298253" cy="0"/>
          </a:xfrm>
          <a:prstGeom prst="line">
            <a:avLst/>
          </a:prstGeom>
          <a:noFill/>
          <a:ln w="9525" cap="flat" cmpd="sng" algn="ctr">
            <a:solidFill>
              <a:srgbClr val="00F3FF">
                <a:lumMod val="20000"/>
                <a:lumOff val="80000"/>
              </a:srgbClr>
            </a:solidFill>
            <a:prstDash val="solid"/>
            <a:headEnd type="none"/>
            <a:tailEnd type="triangle"/>
          </a:ln>
          <a:effectLst/>
        </p:spPr>
      </p:cxnSp>
      <p:sp>
        <p:nvSpPr>
          <p:cNvPr id="28" name="Text Placeholder 2"/>
          <p:cNvSpPr>
            <a:spLocks noGrp="1"/>
          </p:cNvSpPr>
          <p:nvPr>
            <p:ph type="body" sz="quarter" idx="33" hasCustomPrompt="1"/>
          </p:nvPr>
        </p:nvSpPr>
        <p:spPr>
          <a:xfrm>
            <a:off x="4673864" y="1961546"/>
            <a:ext cx="2878137" cy="525463"/>
          </a:xfrm>
        </p:spPr>
        <p:txBody>
          <a:bodyPr anchor="ctr" anchorCtr="0"/>
          <a:lstStyle>
            <a:lvl1pPr>
              <a:lnSpc>
                <a:spcPct val="80000"/>
              </a:lnSpc>
              <a:spcBef>
                <a:spcPct val="0"/>
              </a:spcBef>
              <a:defRPr sz="1800" cap="all" baseline="0">
                <a:solidFill>
                  <a:schemeClr val="bg1"/>
                </a:solidFill>
                <a:latin typeface="+mj-lt"/>
              </a:defRPr>
            </a:lvl1pPr>
            <a:lvl2pPr marL="0" indent="0">
              <a:lnSpc>
                <a:spcPct val="80000"/>
              </a:lnSpc>
              <a:spcBef>
                <a:spcPct val="0"/>
              </a:spcBef>
              <a:buNone/>
              <a:defRPr sz="1800" cap="all" baseline="0">
                <a:solidFill>
                  <a:schemeClr val="bg1"/>
                </a:solidFill>
                <a:latin typeface="+mj-lt"/>
              </a:defRPr>
            </a:lvl2pPr>
          </a:lstStyle>
          <a:p>
            <a:pPr lvl="0"/>
            <a:r>
              <a:rPr lang="en-US"/>
              <a:t>Insert item</a:t>
            </a:r>
          </a:p>
          <a:p>
            <a:pPr lvl="1"/>
            <a:r>
              <a:rPr lang="en-US"/>
              <a:t>Max two lines</a:t>
            </a:r>
          </a:p>
        </p:txBody>
      </p:sp>
      <p:sp>
        <p:nvSpPr>
          <p:cNvPr id="29" name="Text Placeholder 2"/>
          <p:cNvSpPr>
            <a:spLocks noGrp="1"/>
          </p:cNvSpPr>
          <p:nvPr>
            <p:ph type="body" sz="quarter" idx="34" hasCustomPrompt="1"/>
          </p:nvPr>
        </p:nvSpPr>
        <p:spPr>
          <a:xfrm>
            <a:off x="5402444" y="3435339"/>
            <a:ext cx="2878137" cy="525463"/>
          </a:xfrm>
        </p:spPr>
        <p:txBody>
          <a:bodyPr anchor="ctr" anchorCtr="0"/>
          <a:lstStyle>
            <a:lvl1pPr>
              <a:lnSpc>
                <a:spcPct val="80000"/>
              </a:lnSpc>
              <a:spcBef>
                <a:spcPct val="0"/>
              </a:spcBef>
              <a:defRPr sz="1800" cap="all" baseline="0">
                <a:solidFill>
                  <a:schemeClr val="bg1"/>
                </a:solidFill>
                <a:latin typeface="+mj-lt"/>
              </a:defRPr>
            </a:lvl1pPr>
            <a:lvl2pPr marL="0" indent="0">
              <a:lnSpc>
                <a:spcPct val="80000"/>
              </a:lnSpc>
              <a:spcBef>
                <a:spcPct val="0"/>
              </a:spcBef>
              <a:buNone/>
              <a:defRPr sz="1800" cap="all" baseline="0">
                <a:solidFill>
                  <a:schemeClr val="bg1"/>
                </a:solidFill>
                <a:latin typeface="+mj-lt"/>
              </a:defRPr>
            </a:lvl2pPr>
          </a:lstStyle>
          <a:p>
            <a:pPr lvl="0"/>
            <a:r>
              <a:rPr lang="en-US"/>
              <a:t>Insert item</a:t>
            </a:r>
          </a:p>
          <a:p>
            <a:pPr lvl="1"/>
            <a:r>
              <a:rPr lang="en-US"/>
              <a:t>Max two lines</a:t>
            </a:r>
          </a:p>
        </p:txBody>
      </p:sp>
      <p:sp>
        <p:nvSpPr>
          <p:cNvPr id="30" name="Text Placeholder 2"/>
          <p:cNvSpPr>
            <a:spLocks noGrp="1"/>
          </p:cNvSpPr>
          <p:nvPr>
            <p:ph type="body" sz="quarter" idx="35" hasCustomPrompt="1"/>
          </p:nvPr>
        </p:nvSpPr>
        <p:spPr>
          <a:xfrm>
            <a:off x="6177520" y="4954928"/>
            <a:ext cx="2878137" cy="525463"/>
          </a:xfrm>
        </p:spPr>
        <p:txBody>
          <a:bodyPr anchor="ctr" anchorCtr="0"/>
          <a:lstStyle>
            <a:lvl1pPr>
              <a:lnSpc>
                <a:spcPct val="80000"/>
              </a:lnSpc>
              <a:spcBef>
                <a:spcPct val="0"/>
              </a:spcBef>
              <a:defRPr sz="1800" cap="all" baseline="0">
                <a:solidFill>
                  <a:schemeClr val="bg1"/>
                </a:solidFill>
                <a:latin typeface="+mj-lt"/>
              </a:defRPr>
            </a:lvl1pPr>
            <a:lvl2pPr marL="0" indent="0">
              <a:lnSpc>
                <a:spcPct val="80000"/>
              </a:lnSpc>
              <a:spcBef>
                <a:spcPct val="0"/>
              </a:spcBef>
              <a:buNone/>
              <a:defRPr sz="1800" cap="all" baseline="0">
                <a:solidFill>
                  <a:schemeClr val="bg1"/>
                </a:solidFill>
                <a:latin typeface="+mj-lt"/>
              </a:defRPr>
            </a:lvl2pPr>
          </a:lstStyle>
          <a:p>
            <a:pPr lvl="0"/>
            <a:r>
              <a:rPr lang="en-US"/>
              <a:t>Insert item</a:t>
            </a:r>
          </a:p>
          <a:p>
            <a:pPr lvl="1"/>
            <a:r>
              <a:rPr lang="en-US"/>
              <a:t>Max two lines</a:t>
            </a:r>
          </a:p>
        </p:txBody>
      </p:sp>
      <p:sp>
        <p:nvSpPr>
          <p:cNvPr id="31" name="Text Placeholder 2"/>
          <p:cNvSpPr>
            <a:spLocks noGrp="1"/>
          </p:cNvSpPr>
          <p:nvPr>
            <p:ph type="body" sz="quarter" idx="36" hasCustomPrompt="1"/>
          </p:nvPr>
        </p:nvSpPr>
        <p:spPr>
          <a:xfrm>
            <a:off x="8454328" y="1961546"/>
            <a:ext cx="3394838" cy="525463"/>
          </a:xfrm>
        </p:spPr>
        <p:txBody>
          <a:bodyPr anchor="ctr" anchorCtr="0"/>
          <a:lstStyle>
            <a:lvl1pPr>
              <a:lnSpc>
                <a:spcPct val="80000"/>
              </a:lnSpc>
              <a:spcBef>
                <a:spcPct val="0"/>
              </a:spcBef>
              <a:defRPr sz="1800" cap="all" baseline="0">
                <a:solidFill>
                  <a:schemeClr val="bg1"/>
                </a:solidFill>
                <a:latin typeface="+mj-lt"/>
              </a:defRPr>
            </a:lvl1pPr>
            <a:lvl2pPr marL="0" indent="0">
              <a:lnSpc>
                <a:spcPct val="80000"/>
              </a:lnSpc>
              <a:spcBef>
                <a:spcPct val="0"/>
              </a:spcBef>
              <a:buNone/>
              <a:defRPr sz="1800" cap="all" baseline="0">
                <a:solidFill>
                  <a:schemeClr val="bg1"/>
                </a:solidFill>
                <a:latin typeface="+mj-lt"/>
              </a:defRPr>
            </a:lvl2pPr>
          </a:lstStyle>
          <a:p>
            <a:pPr lvl="0"/>
            <a:r>
              <a:rPr lang="en-US"/>
              <a:t>Insert item</a:t>
            </a:r>
          </a:p>
          <a:p>
            <a:pPr lvl="1"/>
            <a:r>
              <a:rPr lang="en-US"/>
              <a:t>Max two lines</a:t>
            </a:r>
          </a:p>
        </p:txBody>
      </p:sp>
      <p:sp>
        <p:nvSpPr>
          <p:cNvPr id="32" name="Text Placeholder 2"/>
          <p:cNvSpPr>
            <a:spLocks noGrp="1"/>
          </p:cNvSpPr>
          <p:nvPr>
            <p:ph type="body" sz="quarter" idx="37" hasCustomPrompt="1"/>
          </p:nvPr>
        </p:nvSpPr>
        <p:spPr>
          <a:xfrm>
            <a:off x="9190498" y="3430928"/>
            <a:ext cx="2624106" cy="525463"/>
          </a:xfrm>
        </p:spPr>
        <p:txBody>
          <a:bodyPr anchor="ctr" anchorCtr="0"/>
          <a:lstStyle>
            <a:lvl1pPr>
              <a:lnSpc>
                <a:spcPct val="80000"/>
              </a:lnSpc>
              <a:spcBef>
                <a:spcPct val="0"/>
              </a:spcBef>
              <a:defRPr sz="1800" cap="all" baseline="0">
                <a:solidFill>
                  <a:schemeClr val="bg1"/>
                </a:solidFill>
                <a:latin typeface="+mj-lt"/>
              </a:defRPr>
            </a:lvl1pPr>
            <a:lvl2pPr marL="0" indent="0">
              <a:lnSpc>
                <a:spcPct val="80000"/>
              </a:lnSpc>
              <a:spcBef>
                <a:spcPct val="0"/>
              </a:spcBef>
              <a:buNone/>
              <a:defRPr sz="1800" cap="all" baseline="0">
                <a:solidFill>
                  <a:schemeClr val="bg1"/>
                </a:solidFill>
                <a:latin typeface="+mj-lt"/>
              </a:defRPr>
            </a:lvl2pPr>
          </a:lstStyle>
          <a:p>
            <a:pPr lvl="0"/>
            <a:r>
              <a:rPr lang="en-US"/>
              <a:t>Insert item</a:t>
            </a:r>
          </a:p>
          <a:p>
            <a:pPr lvl="1"/>
            <a:r>
              <a:rPr lang="en-US"/>
              <a:t>Max two lines</a:t>
            </a:r>
          </a:p>
        </p:txBody>
      </p:sp>
    </p:spTree>
    <p:extLst>
      <p:ext uri="{BB962C8B-B14F-4D97-AF65-F5344CB8AC3E}">
        <p14:creationId xmlns:p14="http://schemas.microsoft.com/office/powerpoint/2010/main" val="3585464305"/>
      </p:ext>
    </p:extLst>
  </p:cSld>
  <p:clrMapOvr>
    <a:masterClrMapping/>
  </p:clrMapOvr>
  <p:transition/>
  <p:timing/>
</p:sldLayout>
</file>

<file path=ppt/slideLayouts/slideLayout5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genda_1Column_RHS">
    <p:spTree>
      <p:nvGrpSpPr>
        <p:cNvPr id="1" name=""/>
        <p:cNvGrpSpPr/>
        <p:nvPr/>
      </p:nvGrpSpPr>
      <p:grpSpPr>
        <a:xfrm>
          <a:off x="0" y="0"/>
          <a:ext cx="0" cy="0"/>
        </a:xfrm>
      </p:grpSpPr>
      <p:sp>
        <p:nvSpPr>
          <p:cNvPr id="2" name="Footer Placeholder 1"/>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p>
        </p:txBody>
      </p:sp>
      <p:sp>
        <p:nvSpPr>
          <p:cNvPr id="3" name="Slide Number Placeholder 2"/>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8" name="Text Placeholder 7"/>
          <p:cNvSpPr>
            <a:spLocks noGrp="1"/>
          </p:cNvSpPr>
          <p:nvPr>
            <p:ph type="body" sz="quarter" idx="33" hasCustomPrompt="1"/>
          </p:nvPr>
        </p:nvSpPr>
        <p:spPr>
          <a:xfrm>
            <a:off x="6583589" y="1280817"/>
            <a:ext cx="5271861" cy="4307478"/>
          </a:xfrm>
        </p:spPr>
        <p:txBody>
          <a:bodyPr/>
          <a:lstStyle>
            <a:lvl1pPr marL="347593" marR="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b="0">
                <a:solidFill>
                  <a:schemeClr val="accent3">
                    <a:lumMod val="40000"/>
                    <a:lumOff val="60000"/>
                  </a:schemeClr>
                </a:solidFill>
                <a:latin typeface="+mj-lt"/>
              </a:defRPr>
            </a:lvl1pPr>
            <a:lvl2pPr marL="0" indent="0">
              <a:lnSpc>
                <a:spcPct val="90000"/>
              </a:lnSpc>
              <a:spcBef>
                <a:spcPts val="1200"/>
              </a:spcBef>
              <a:buNone/>
              <a:defRPr>
                <a:solidFill>
                  <a:schemeClr val="bg2">
                    <a:lumMod val="60000"/>
                    <a:lumOff val="40000"/>
                  </a:schemeClr>
                </a:solidFill>
                <a:latin typeface="Arial Black" panose="020b0a04020102020204" pitchFamily="34" charset="0"/>
              </a:defRPr>
            </a:lvl2pPr>
            <a:lvl3pPr>
              <a:lnSpc>
                <a:spcPct val="90000"/>
              </a:lnSpc>
              <a:spcBef>
                <a:spcPts val="1200"/>
              </a:spcBef>
              <a:defRPr>
                <a:solidFill>
                  <a:schemeClr val="bg2">
                    <a:lumMod val="60000"/>
                    <a:lumOff val="40000"/>
                  </a:schemeClr>
                </a:solidFill>
                <a:latin typeface="Arial Black" panose="020b0a04020102020204" pitchFamily="34" charset="0"/>
              </a:defRPr>
            </a:lvl3pPr>
            <a:lvl4pPr>
              <a:lnSpc>
                <a:spcPct val="90000"/>
              </a:lnSpc>
              <a:spcBef>
                <a:spcPts val="1200"/>
              </a:spcBef>
              <a:defRPr>
                <a:solidFill>
                  <a:schemeClr val="bg2">
                    <a:lumMod val="60000"/>
                    <a:lumOff val="40000"/>
                  </a:schemeClr>
                </a:solidFill>
                <a:latin typeface="Arial Black" panose="020b0a04020102020204" pitchFamily="34" charset="0"/>
              </a:defRPr>
            </a:lvl4pPr>
            <a:lvl5pPr>
              <a:lnSpc>
                <a:spcPct val="90000"/>
              </a:lnSpc>
              <a:spcBef>
                <a:spcPts val="1200"/>
              </a:spcBef>
              <a:defRPr>
                <a:solidFill>
                  <a:schemeClr val="bg2">
                    <a:lumMod val="60000"/>
                    <a:lumOff val="40000"/>
                  </a:schemeClr>
                </a:solidFill>
                <a:latin typeface="Arial Black" panose="020b0a04020102020204" pitchFamily="34" charset="0"/>
              </a:defRPr>
            </a:lvl5pPr>
          </a:lstStyle>
          <a:p>
            <a:pPr lvl="0"/>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endParaRPr lang="en-US" b="1"/>
          </a:p>
          <a:p>
            <a:pPr lvl="0"/>
            <a:endParaRPr lang="en-US"/>
          </a:p>
        </p:txBody>
      </p:sp>
    </p:spTree>
    <p:extLst>
      <p:ext uri="{BB962C8B-B14F-4D97-AF65-F5344CB8AC3E}">
        <p14:creationId xmlns:p14="http://schemas.microsoft.com/office/powerpoint/2010/main" val="2467639861"/>
      </p:ext>
    </p:extLst>
  </p:cSld>
  <p:clrMapOvr>
    <a:masterClrMapping/>
  </p:clrMapOvr>
  <p:transition/>
  <p:timing/>
</p:sldLayout>
</file>

<file path=ppt/slideLayouts/slideLayout5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genda_1Column_Image LHS">
    <p:spTree>
      <p:nvGrpSpPr>
        <p:cNvPr id="1" name=""/>
        <p:cNvGrpSpPr/>
        <p:nvPr/>
      </p:nvGrpSpPr>
      <p:grpSpPr>
        <a:xfrm>
          <a:off x="0" y="0"/>
          <a:ext cx="0" cy="0"/>
        </a:xfrm>
      </p:grpSpPr>
      <p:sp>
        <p:nvSpPr>
          <p:cNvPr id="2" name="Footer Placeholder 1"/>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p>
        </p:txBody>
      </p:sp>
      <p:sp>
        <p:nvSpPr>
          <p:cNvPr id="3" name="Slide Number Placeholder 2"/>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8" name="Text Placeholder 7"/>
          <p:cNvSpPr>
            <a:spLocks noGrp="1"/>
          </p:cNvSpPr>
          <p:nvPr>
            <p:ph type="body" sz="quarter" idx="33" hasCustomPrompt="1"/>
          </p:nvPr>
        </p:nvSpPr>
        <p:spPr>
          <a:xfrm>
            <a:off x="1326247" y="1425957"/>
            <a:ext cx="7275179" cy="4307478"/>
          </a:xfrm>
        </p:spPr>
        <p:txBody>
          <a:bodyPr/>
          <a:lstStyle>
            <a:lvl1pPr marL="347593" marR="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b="0">
                <a:solidFill>
                  <a:schemeClr val="accent3">
                    <a:lumMod val="40000"/>
                    <a:lumOff val="60000"/>
                  </a:schemeClr>
                </a:solidFill>
                <a:latin typeface="+mj-lt"/>
              </a:defRPr>
            </a:lvl1pPr>
            <a:lvl2pPr marL="0" indent="0">
              <a:lnSpc>
                <a:spcPct val="90000"/>
              </a:lnSpc>
              <a:spcBef>
                <a:spcPts val="1200"/>
              </a:spcBef>
              <a:buNone/>
              <a:defRPr>
                <a:solidFill>
                  <a:schemeClr val="bg2">
                    <a:lumMod val="60000"/>
                    <a:lumOff val="40000"/>
                  </a:schemeClr>
                </a:solidFill>
                <a:latin typeface="Arial Black" panose="020b0a04020102020204" pitchFamily="34" charset="0"/>
              </a:defRPr>
            </a:lvl2pPr>
            <a:lvl3pPr>
              <a:lnSpc>
                <a:spcPct val="90000"/>
              </a:lnSpc>
              <a:spcBef>
                <a:spcPts val="1200"/>
              </a:spcBef>
              <a:defRPr>
                <a:solidFill>
                  <a:schemeClr val="bg2">
                    <a:lumMod val="60000"/>
                    <a:lumOff val="40000"/>
                  </a:schemeClr>
                </a:solidFill>
                <a:latin typeface="Arial Black" panose="020b0a04020102020204" pitchFamily="34" charset="0"/>
              </a:defRPr>
            </a:lvl3pPr>
            <a:lvl4pPr>
              <a:lnSpc>
                <a:spcPct val="90000"/>
              </a:lnSpc>
              <a:spcBef>
                <a:spcPts val="1200"/>
              </a:spcBef>
              <a:defRPr>
                <a:solidFill>
                  <a:schemeClr val="bg2">
                    <a:lumMod val="60000"/>
                    <a:lumOff val="40000"/>
                  </a:schemeClr>
                </a:solidFill>
                <a:latin typeface="Arial Black" panose="020b0a04020102020204" pitchFamily="34" charset="0"/>
              </a:defRPr>
            </a:lvl4pPr>
            <a:lvl5pPr>
              <a:lnSpc>
                <a:spcPct val="90000"/>
              </a:lnSpc>
              <a:spcBef>
                <a:spcPts val="1200"/>
              </a:spcBef>
              <a:defRPr>
                <a:solidFill>
                  <a:schemeClr val="bg2">
                    <a:lumMod val="60000"/>
                    <a:lumOff val="40000"/>
                  </a:schemeClr>
                </a:solidFill>
                <a:latin typeface="Arial Black" panose="020b0a04020102020204" pitchFamily="34" charset="0"/>
              </a:defRPr>
            </a:lvl5pPr>
          </a:lstStyle>
          <a:p>
            <a:pPr lvl="0"/>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p>
          <a:p>
            <a:pPr marL="347593" marR="0" lvl="0" indent="-347593" algn="l" defTabSz="914217" rtl="0" eaLnBrk="1" fontAlgn="base" latinLnBrk="0" hangingPunct="1">
              <a:lnSpc>
                <a:spcPct val="90000"/>
              </a:lnSpc>
              <a:spcBef>
                <a:spcPts val="1200"/>
              </a:spcBef>
              <a:spcAft>
                <a:spcPct val="0"/>
              </a:spcAft>
              <a:buClrTx/>
              <a:buSzTx/>
              <a:buFont typeface="Arial" panose="020b0604020202020204" pitchFamily="34" charset="0"/>
              <a:buChar char="█"/>
              <a:defRPr/>
            </a:pPr>
            <a:r>
              <a:rPr lang="en-US"/>
              <a:t>Insert item at 18pt minimum 16pt</a:t>
            </a:r>
            <a:endParaRPr lang="en-US" b="1"/>
          </a:p>
          <a:p>
            <a:pPr lvl="0"/>
            <a:endParaRPr lang="en-US"/>
          </a:p>
        </p:txBody>
      </p:sp>
    </p:spTree>
    <p:extLst>
      <p:ext uri="{BB962C8B-B14F-4D97-AF65-F5344CB8AC3E}">
        <p14:creationId xmlns:p14="http://schemas.microsoft.com/office/powerpoint/2010/main" val="1197971325"/>
      </p:ext>
    </p:extLst>
  </p:cSld>
  <p:clrMapOvr>
    <a:masterClrMapping/>
  </p:clrMapOvr>
  <p:transition/>
  <p:timing/>
</p:sldLayout>
</file>

<file path=ppt/slideLayouts/slideLayout5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Content_White">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2" name="Title 1"/>
          <p:cNvSpPr>
            <a:spLocks noGrp="1"/>
          </p:cNvSpPr>
          <p:nvPr>
            <p:ph type="title" hasCustomPrompt="1"/>
          </p:nvPr>
        </p:nvSpPr>
        <p:spPr/>
        <p:txBody>
          <a:bodyPr/>
          <a:lstStyle/>
          <a:p>
            <a:r>
              <a:rPr lang="en-US"/>
              <a:t>INSERT MAIN TITLE AT 32PT MIN 30PT</a:t>
            </a:r>
          </a:p>
        </p:txBody>
      </p:sp>
      <p:sp>
        <p:nvSpPr>
          <p:cNvPr id="5" name="Content Placeholder 4"/>
          <p:cNvSpPr>
            <a:spLocks noGrp="1"/>
          </p:cNvSpPr>
          <p:nvPr>
            <p:ph sz="quarter" idx="33" hasCustomPrompt="1"/>
          </p:nvPr>
        </p:nvSpPr>
        <p:spPr>
          <a:xfrm>
            <a:off x="334964" y="1763713"/>
            <a:ext cx="10037762" cy="4294187"/>
          </a:xfrm>
        </p:spPr>
        <p:txBody>
          <a:body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1657068838"/>
      </p:ext>
    </p:extLst>
  </p:cSld>
  <p:clrMapOvr>
    <a:overrideClrMapping bg1="lt1" tx1="dk1" bg2="lt2" tx2="dk2" accent1="accent1" accent2="accent2" accent3="accent3" accent4="accent4" accent5="accent5" accent6="accent6" hlink="hlink" folHlink="folHlink"/>
  </p:clrMapOvr>
  <p:transition/>
  <p:timing/>
</p:sldLayout>
</file>

<file path=ppt/slideLayouts/slideLayout5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Subtitle_Content_White">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2" name="Title 1"/>
          <p:cNvSpPr>
            <a:spLocks noGrp="1"/>
          </p:cNvSpPr>
          <p:nvPr>
            <p:ph type="title" hasCustomPrompt="1"/>
          </p:nvPr>
        </p:nvSpPr>
        <p:spPr/>
        <p:txBody>
          <a:bodyPr/>
          <a:lstStyle/>
          <a:p>
            <a:r>
              <a:rPr lang="en-US"/>
              <a:t>INSERT MAIN TITLE AT 32PT MIN 30PT</a:t>
            </a:r>
          </a:p>
        </p:txBody>
      </p:sp>
      <p:sp>
        <p:nvSpPr>
          <p:cNvPr id="9" name="Text Placeholder 4"/>
          <p:cNvSpPr>
            <a:spLocks noGrp="1"/>
          </p:cNvSpPr>
          <p:nvPr>
            <p:ph type="body" sz="quarter" idx="36" hasCustomPrompt="1"/>
          </p:nvPr>
        </p:nvSpPr>
        <p:spPr>
          <a:xfrm>
            <a:off x="345019" y="1167149"/>
            <a:ext cx="10027706" cy="323165"/>
          </a:xfrm>
        </p:spPr>
        <p:txBody>
          <a:bodyPr wrap="square">
            <a:spAutoFit/>
          </a:bodyPr>
          <a:lstStyle>
            <a:lvl1pPr algn="l">
              <a:lnSpc>
                <a:spcPct val="100000"/>
              </a:lnSpc>
              <a:spcBef>
                <a:spcPct val="0"/>
              </a:spcBef>
              <a:defRPr sz="2100" b="0">
                <a:solidFill>
                  <a:schemeClr val="accent3"/>
                </a:solidFill>
                <a:latin typeface="+mn-lt"/>
              </a:defRPr>
            </a:lvl1pPr>
          </a:lstStyle>
          <a:p>
            <a:r>
              <a:rPr lang="en-US"/>
              <a:t>Insert sub-title here at 21pt, minimum 18pt</a:t>
            </a:r>
          </a:p>
        </p:txBody>
      </p:sp>
      <p:sp>
        <p:nvSpPr>
          <p:cNvPr id="4" name="Content Placeholder 3"/>
          <p:cNvSpPr>
            <a:spLocks noGrp="1"/>
          </p:cNvSpPr>
          <p:nvPr>
            <p:ph sz="quarter" idx="37" hasCustomPrompt="1"/>
          </p:nvPr>
        </p:nvSpPr>
        <p:spPr>
          <a:xfrm>
            <a:off x="334963" y="1763713"/>
            <a:ext cx="10037762" cy="4294187"/>
          </a:xfrm>
        </p:spPr>
        <p:txBody>
          <a:body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317783513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5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Column_Image_Right_White">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
        <p:nvSpPr>
          <p:cNvPr id="9" name="Title 3"/>
          <p:cNvSpPr>
            <a:spLocks noGrp="1"/>
          </p:cNvSpPr>
          <p:nvPr>
            <p:ph type="title" hasCustomPrompt="1"/>
          </p:nvPr>
        </p:nvSpPr>
        <p:spPr>
          <a:xfrm>
            <a:off x="345019" y="332076"/>
            <a:ext cx="7065432" cy="776139"/>
          </a:xfrm>
        </p:spPr>
        <p:txBody>
          <a:bodyPr/>
          <a:lstStyle>
            <a:lvl1pPr>
              <a:defRPr/>
            </a:lvl1pPr>
          </a:lstStyle>
          <a:p>
            <a:r>
              <a:rPr lang="en-US"/>
              <a:t>INSERT MAIN TITLE AT 32PT MIN 30PT</a:t>
            </a:r>
          </a:p>
        </p:txBody>
      </p:sp>
      <p:sp>
        <p:nvSpPr>
          <p:cNvPr id="11" name="Text Placeholder 4"/>
          <p:cNvSpPr>
            <a:spLocks noGrp="1"/>
          </p:cNvSpPr>
          <p:nvPr>
            <p:ph type="body" sz="quarter" idx="36" hasCustomPrompt="1"/>
          </p:nvPr>
        </p:nvSpPr>
        <p:spPr>
          <a:xfrm>
            <a:off x="345019" y="1167149"/>
            <a:ext cx="7065432"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accent3"/>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10" name="Content Placeholder 3"/>
          <p:cNvSpPr>
            <a:spLocks noGrp="1"/>
          </p:cNvSpPr>
          <p:nvPr>
            <p:ph sz="quarter" idx="37" hasCustomPrompt="1"/>
          </p:nvPr>
        </p:nvSpPr>
        <p:spPr>
          <a:xfrm>
            <a:off x="334963" y="1763713"/>
            <a:ext cx="7075487" cy="4294187"/>
          </a:xfrm>
        </p:spPr>
        <p:txBody>
          <a:body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3358232706"/>
      </p:ext>
    </p:extLst>
  </p:cSld>
  <p:clrMapOvr>
    <a:overrideClrMapping bg1="lt1" tx1="dk1" bg2="lt2" tx2="dk2" accent1="accent1" accent2="accent2" accent3="accent3" accent4="accent4" accent5="accent5" accent6="accent6" hlink="hlink" folHlink="folHlink"/>
  </p:clrMapOvr>
  <p:transition/>
  <p:timing/>
</p:sldLayout>
</file>

<file path=ppt/slideLayouts/slideLayout5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Column_Image_Right_HeroBlue">
    <p:bg>
      <p:bgPr>
        <a:solidFill>
          <a:schemeClr val="accent1"/>
        </a:solidFill>
        <a:effectLst/>
      </p:bgPr>
    </p:bg>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3" name="Title 2"/>
          <p:cNvSpPr>
            <a:spLocks noGrp="1"/>
          </p:cNvSpPr>
          <p:nvPr>
            <p:ph type="title" hasCustomPrompt="1"/>
          </p:nvPr>
        </p:nvSpPr>
        <p:spPr>
          <a:xfrm>
            <a:off x="345019" y="332076"/>
            <a:ext cx="7065432"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9" y="1167149"/>
            <a:ext cx="7065432" cy="323165"/>
          </a:xfrm>
        </p:spPr>
        <p:txBody>
          <a:bodyPr wrap="square">
            <a:spAutoFit/>
          </a:bodyPr>
          <a:lstStyle>
            <a:lvl1pPr algn="l">
              <a:lnSpc>
                <a:spcPct val="100000"/>
              </a:lnSpc>
              <a:spcBef>
                <a:spcPct val="0"/>
              </a:spcBef>
              <a:defRPr sz="2100">
                <a:solidFill>
                  <a:schemeClr val="bg1"/>
                </a:solidFill>
                <a:latin typeface="+mn-lt"/>
              </a:defRPr>
            </a:lvl1pPr>
          </a:lstStyle>
          <a:p>
            <a:r>
              <a:rPr lang="en-US"/>
              <a:t>Insert sub-title here at 21pt, minimum 18pt</a:t>
            </a:r>
          </a:p>
        </p:txBody>
      </p:sp>
      <p:sp>
        <p:nvSpPr>
          <p:cNvPr id="10" name="Content Placeholder 3"/>
          <p:cNvSpPr>
            <a:spLocks noGrp="1"/>
          </p:cNvSpPr>
          <p:nvPr>
            <p:ph sz="quarter" idx="37" hasCustomPrompt="1"/>
          </p:nvPr>
        </p:nvSpPr>
        <p:spPr>
          <a:xfrm>
            <a:off x="334963" y="1763713"/>
            <a:ext cx="7075487" cy="4294187"/>
          </a:xfrm>
        </p:spPr>
        <p:txBody>
          <a:bodyPr/>
          <a:lstStyle>
            <a:lvl1pPr>
              <a:defRPr>
                <a:solidFill>
                  <a:schemeClr val="bg1"/>
                </a:solidFill>
              </a:defRPr>
            </a:lvl1pPr>
            <a:lvl2pPr>
              <a:defRPr>
                <a:solidFill>
                  <a:schemeClr val="bg1"/>
                </a:solidFill>
              </a:defRPr>
            </a:lvl2pPr>
            <a:lvl3pPr>
              <a:defRPr>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1087842080"/>
      </p:ext>
    </p:extLst>
  </p:cSld>
  <p:clrMapOvr>
    <a:overrideClrMapping bg1="lt1" tx1="dk1" bg2="lt2" tx2="dk2" accent1="accent1" accent2="accent2" accent3="accent3" accent4="accent4" accent5="accent5" accent6="accent6" hlink="hlink" folHlink="folHlink"/>
  </p:clrMapOvr>
  <p:transition/>
  <p:timing/>
</p:sldLayout>
</file>

<file path=ppt/slideLayouts/slideLayout5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Column_Image_Right_Blue3">
    <p:bg>
      <p:bgPr>
        <a:solidFill>
          <a:schemeClr val="accent3"/>
        </a:solidFill>
        <a:effectLst/>
      </p:bgPr>
    </p:bg>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3" name="Title 2"/>
          <p:cNvSpPr>
            <a:spLocks noGrp="1"/>
          </p:cNvSpPr>
          <p:nvPr>
            <p:ph type="title" hasCustomPrompt="1"/>
          </p:nvPr>
        </p:nvSpPr>
        <p:spPr>
          <a:xfrm>
            <a:off x="345019" y="332076"/>
            <a:ext cx="7065431"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9" y="1167149"/>
            <a:ext cx="7065430"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10" name="Content Placeholder 3"/>
          <p:cNvSpPr>
            <a:spLocks noGrp="1"/>
          </p:cNvSpPr>
          <p:nvPr>
            <p:ph sz="quarter" idx="37" hasCustomPrompt="1"/>
          </p:nvPr>
        </p:nvSpPr>
        <p:spPr>
          <a:xfrm>
            <a:off x="334963" y="1763713"/>
            <a:ext cx="7075487" cy="4294187"/>
          </a:xfrm>
        </p:spPr>
        <p:txBody>
          <a:bodyPr/>
          <a:lstStyle>
            <a:lvl1pPr>
              <a:defRPr>
                <a:solidFill>
                  <a:schemeClr val="bg1"/>
                </a:solidFill>
              </a:defRPr>
            </a:lvl1pPr>
            <a:lvl2pPr>
              <a:defRPr>
                <a:solidFill>
                  <a:schemeClr val="bg1"/>
                </a:solidFill>
              </a:defRPr>
            </a:lvl2pPr>
            <a:lvl3pPr>
              <a:defRPr>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2238882180"/>
      </p:ext>
    </p:extLst>
  </p:cSld>
  <p:clrMapOvr>
    <a:overrideClrMapping bg1="lt1" tx1="dk1" bg2="lt2" tx2="dk2" accent1="accent1" accent2="accent2" accent3="accent3" accent4="accent4" accent5="accent5" accent6="accent6" hlink="hlink" folHlink="folHlink"/>
  </p:clrMapOvr>
  <p:transition/>
  <p:timing/>
</p:sldLayout>
</file>

<file path=ppt/slideLayouts/slideLayout5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Column_Image_Right_Blue4">
    <p:bg>
      <p:bgPr>
        <a:solidFill>
          <a:schemeClr val="accent4"/>
        </a:solidFill>
        <a:effectLst/>
      </p:bgPr>
    </p:bg>
    <p:spTree>
      <p:nvGrpSpPr>
        <p:cNvPr id="1" name=""/>
        <p:cNvGrpSpPr/>
        <p:nvPr/>
      </p:nvGrpSpPr>
      <p:grpSpPr>
        <a:xfrm>
          <a:off x="0" y="0"/>
          <a:ext cx="0" cy="0"/>
        </a:xfrm>
      </p:grpSpPr>
      <p:sp>
        <p:nvSpPr>
          <p:cNvPr id="6" name="Footer Placeholder 5"/>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3" name="Title 2"/>
          <p:cNvSpPr>
            <a:spLocks noGrp="1"/>
          </p:cNvSpPr>
          <p:nvPr>
            <p:ph type="title" hasCustomPrompt="1"/>
          </p:nvPr>
        </p:nvSpPr>
        <p:spPr>
          <a:xfrm>
            <a:off x="345019" y="332076"/>
            <a:ext cx="7065431" cy="776139"/>
          </a:xfrm>
        </p:spPr>
        <p:txBody>
          <a:bodyPr/>
          <a:lstStyle>
            <a:lvl1pPr>
              <a:defRPr>
                <a:solidFill>
                  <a:schemeClr val="bg1"/>
                </a:solidFill>
              </a:defRPr>
            </a:lvl1pPr>
          </a:lstStyle>
          <a:p>
            <a:r>
              <a:rPr lang="en-US"/>
              <a:t>INSERT MAIN TITLE AT 32PT MIN 30PT</a:t>
            </a:r>
          </a:p>
        </p:txBody>
      </p:sp>
      <p:sp>
        <p:nvSpPr>
          <p:cNvPr id="8" name="Text Placeholder 4"/>
          <p:cNvSpPr>
            <a:spLocks noGrp="1"/>
          </p:cNvSpPr>
          <p:nvPr>
            <p:ph type="body" sz="quarter" idx="36" hasCustomPrompt="1"/>
          </p:nvPr>
        </p:nvSpPr>
        <p:spPr>
          <a:xfrm>
            <a:off x="345019" y="1167149"/>
            <a:ext cx="7065430"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10" name="Content Placeholder 3"/>
          <p:cNvSpPr>
            <a:spLocks noGrp="1"/>
          </p:cNvSpPr>
          <p:nvPr>
            <p:ph sz="quarter" idx="37" hasCustomPrompt="1"/>
          </p:nvPr>
        </p:nvSpPr>
        <p:spPr>
          <a:xfrm>
            <a:off x="334963" y="1763713"/>
            <a:ext cx="7075487" cy="4294187"/>
          </a:xfrm>
        </p:spPr>
        <p:txBody>
          <a:bodyPr/>
          <a:lstStyle>
            <a:lvl1pPr>
              <a:defRPr>
                <a:solidFill>
                  <a:schemeClr val="bg1"/>
                </a:solidFill>
              </a:defRPr>
            </a:lvl1pPr>
            <a:lvl2pPr>
              <a:defRPr>
                <a:solidFill>
                  <a:schemeClr val="bg1"/>
                </a:solidFill>
              </a:defRPr>
            </a:lvl2pPr>
            <a:lvl3pPr>
              <a:defRPr>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1990009000"/>
      </p:ext>
    </p:extLst>
  </p:cSld>
  <p:clrMapOvr>
    <a:overrideClrMapping bg1="lt1" tx1="dk1" bg2="lt2" tx2="dk2" accent1="accent1" accent2="accent2" accent3="accent3" accent4="accent4" accent5="accent5" accent6="accent6" hlink="hlink" folHlink="folHlink"/>
  </p:clrMapOvr>
  <p:transition/>
  <p:timing/>
</p:sldLayout>
</file>

<file path=ppt/slideLayouts/slideLayout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Title Master: White">
    <p:bg>
      <p:bgPr>
        <a:solidFill>
          <a:schemeClr val="bg1"/>
        </a:solidFill>
        <a:effectLst/>
      </p:bgPr>
    </p:bg>
    <p:spTree>
      <p:nvGrpSpPr>
        <p:cNvPr id="1" name=""/>
        <p:cNvGrpSpPr/>
        <p:nvPr/>
      </p:nvGrpSpPr>
      <p:grpSpPr>
        <a:xfrm>
          <a:off x="0" y="0"/>
          <a:ext cx="0" cy="0"/>
        </a:xfrm>
      </p:grpSpPr>
      <p:pic>
        <p:nvPicPr>
          <p:cNvPr id="27" name="Picture 26" descr="A picture containing person, holding, indoor, hand&#10;&#10;Description automatically generated">
            <a:extLst>
              <a:ext uri="{FF2B5EF4-FFF2-40B4-BE49-F238E27FC236}">
                <a16:creationId xmlns:a16="http://schemas.microsoft.com/office/drawing/2014/main" id="{AAA3A752-8643-4F2D-AFDF-DE4463E57A7A}"/>
              </a:ext>
            </a:extLst>
          </p:cNvPr>
          <p:cNvPicPr>
            <a:picLocks noChangeAspect="1"/>
          </p:cNvPicPr>
          <p:nvPr userDrawn="1"/>
        </p:nvPicPr>
        <p:blipFill>
          <a:blip r:embed="rId1">
            <a:extLst>
              <a:ext uri="{28A0092B-C50C-407E-A947-70E740481C1C}">
                <a14:useLocalDpi xmlns:a14="http://schemas.microsoft.com/office/drawing/2010/main"/>
              </a:ext>
            </a:extLst>
          </a:blip>
          <a:srcRect l="479" t="3465" r="0" b="7285"/>
          <a:stretch>
            <a:fillRect/>
          </a:stretch>
        </p:blipFill>
        <p:spPr>
          <a:xfrm>
            <a:off x="4180253" y="706991"/>
            <a:ext cx="8011747" cy="6151009"/>
          </a:xfrm>
          <a:prstGeom prst="rect">
            <a:avLst/>
          </a:prstGeom>
        </p:spPr>
      </p:pic>
      <p:sp>
        <p:nvSpPr>
          <p:cNvPr id="3" name="TextBox 2">
            <a:extLst>
              <a:ext uri="{FF2B5EF4-FFF2-40B4-BE49-F238E27FC236}">
                <a16:creationId xmlns:a16="http://schemas.microsoft.com/office/drawing/2014/main" id="{12BD949A-9F47-D54C-A167-7FAEECBDC15F}"/>
              </a:ext>
            </a:extLst>
          </p:cNvPr>
          <p:cNvSpPr txBox="1"/>
          <p:nvPr userDrawn="1"/>
        </p:nvSpPr>
        <p:spPr>
          <a:xfrm>
            <a:off x="9454219" y="768311"/>
            <a:ext cx="2469558" cy="215444"/>
          </a:xfrm>
          <a:prstGeom prst="rect">
            <a:avLst/>
          </a:prstGeom>
          <a:noFill/>
        </p:spPr>
        <p:txBody>
          <a:bodyPr wrap="square" lIns="0" tIns="0" rIns="0" bIns="45720" rtlCol="0">
            <a:spAutoFit/>
          </a:bodyPr>
          <a:lstStyle/>
          <a:p>
            <a:pPr algn="ctr"/>
            <a:r>
              <a:rPr lang="en-US" sz="1050" b="1" i="0">
                <a:latin typeface="Graphik Semibold" panose="020b0503030202060203" pitchFamily="34" charset="77"/>
              </a:rPr>
              <a:t>The Power of </a:t>
            </a:r>
            <a:r>
              <a:rPr lang="en-US" sz="1050" b="1" i="0">
                <a:solidFill>
                  <a:schemeClr val="accent5"/>
                </a:solidFill>
                <a:latin typeface="Graphik Semibold" panose="020b0503030202060203" pitchFamily="34" charset="77"/>
              </a:rPr>
              <a:t>Strategic</a:t>
            </a:r>
            <a:r>
              <a:rPr lang="en-US" sz="1050" b="1" i="0">
                <a:latin typeface="Graphik Semibold" panose="020b0503030202060203" pitchFamily="34" charset="77"/>
              </a:rPr>
              <a:t> Partnership</a:t>
            </a:r>
          </a:p>
        </p:txBody>
      </p:sp>
      <p:pic>
        <p:nvPicPr>
          <p:cNvPr id="15" name="Graphic 14">
            <a:extLst>
              <a:ext uri="{FF2B5EF4-FFF2-40B4-BE49-F238E27FC236}">
                <a16:creationId xmlns:a16="http://schemas.microsoft.com/office/drawing/2014/main" id="{54D6216E-55EB-47C0-A7C2-72A177899F05}"/>
              </a:ext>
            </a:extLst>
          </p:cNvPr>
          <p:cNvPicPr>
            <a:picLocks noChangeAspect="1"/>
          </p:cNvPicPr>
          <p:nvPr/>
        </p:nvPicPr>
        <p:blipFill>
          <a:blip r:embed="rId2"/>
          <a:stretch>
            <a:fillRect/>
          </a:stretch>
        </p:blipFill>
        <p:spPr>
          <a:xfrm>
            <a:off x="10715876" y="271655"/>
            <a:ext cx="1093240" cy="292613"/>
          </a:xfrm>
          <a:prstGeom prst="rect">
            <a:avLst/>
          </a:prstGeom>
        </p:spPr>
      </p:pic>
      <p:cxnSp>
        <p:nvCxnSpPr>
          <p:cNvPr id="19" name="Straight Connector 18">
            <a:extLst>
              <a:ext uri="{FF2B5EF4-FFF2-40B4-BE49-F238E27FC236}">
                <a16:creationId xmlns:a16="http://schemas.microsoft.com/office/drawing/2014/main" id="{199BE441-6034-408D-9591-02A9520E6C28}"/>
              </a:ext>
            </a:extLst>
          </p:cNvPr>
          <p:cNvCxnSpPr/>
          <p:nvPr userDrawn="1"/>
        </p:nvCxnSpPr>
        <p:spPr>
          <a:xfrm flipH="1">
            <a:off x="10524849" y="271551"/>
            <a:ext cx="0" cy="40039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0" name="Graphic 19">
            <a:extLst>
              <a:ext uri="{FF2B5EF4-FFF2-40B4-BE49-F238E27FC236}">
                <a16:creationId xmlns:a16="http://schemas.microsoft.com/office/drawing/2014/main" id="{B248F0DA-4B2D-4E9A-B9DE-B04FBAB473F7}"/>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9591897" y="235714"/>
            <a:ext cx="711358" cy="416077"/>
          </a:xfrm>
          <a:prstGeom prst="rect">
            <a:avLst/>
          </a:prstGeom>
        </p:spPr>
      </p:pic>
      <p:sp>
        <p:nvSpPr>
          <p:cNvPr id="28" name="Text Placeholder 4">
            <a:extLst>
              <a:ext uri="{FF2B5EF4-FFF2-40B4-BE49-F238E27FC236}">
                <a16:creationId xmlns:a16="http://schemas.microsoft.com/office/drawing/2014/main" id="{7640402C-3284-4F97-9061-64EA000521F5}"/>
              </a:ext>
            </a:extLst>
          </p:cNvPr>
          <p:cNvSpPr>
            <a:spLocks noGrp="1"/>
          </p:cNvSpPr>
          <p:nvPr userDrawn="1">
            <p:ph type="body" sz="quarter" idx="11" hasCustomPrompt="1"/>
          </p:nvPr>
        </p:nvSpPr>
        <p:spPr>
          <a:xfrm>
            <a:off x="371474" y="3429000"/>
            <a:ext cx="7279391" cy="436944"/>
          </a:xfrm>
          <a:prstGeom prst="rect">
            <a:avLst/>
          </a:prstGeom>
        </p:spPr>
        <p:txBody>
          <a:bodyPr lIns="0" tIns="0" rIns="0" bIns="0">
            <a:noAutofit/>
          </a:bodyPr>
          <a:lstStyle>
            <a:lvl1pPr marL="0" indent="0">
              <a:buNone/>
              <a:defRPr sz="2400" b="1">
                <a:solidFill>
                  <a:schemeClr val="accent5"/>
                </a:solidFill>
              </a:defRPr>
            </a:lvl1pPr>
          </a:lstStyle>
          <a:p>
            <a:pPr lvl="0"/>
            <a:r>
              <a:rPr lang="en-US"/>
              <a:t>Add subtitle </a:t>
            </a:r>
          </a:p>
        </p:txBody>
      </p:sp>
      <p:sp>
        <p:nvSpPr>
          <p:cNvPr id="29" name="Text Placeholder 5">
            <a:extLst>
              <a:ext uri="{FF2B5EF4-FFF2-40B4-BE49-F238E27FC236}">
                <a16:creationId xmlns:a16="http://schemas.microsoft.com/office/drawing/2014/main" id="{44650514-D63C-4357-9F0C-BD82E3975F69}"/>
              </a:ext>
            </a:extLst>
          </p:cNvPr>
          <p:cNvSpPr>
            <a:spLocks noGrp="1"/>
          </p:cNvSpPr>
          <p:nvPr userDrawn="1">
            <p:ph type="body" sz="quarter" idx="12" hasCustomPrompt="1"/>
          </p:nvPr>
        </p:nvSpPr>
        <p:spPr>
          <a:xfrm>
            <a:off x="371475" y="1196975"/>
            <a:ext cx="7278688" cy="2232025"/>
          </a:xfrm>
          <a:prstGeom prst="rect">
            <a:avLst/>
          </a:prstGeom>
        </p:spPr>
        <p:txBody>
          <a:bodyPr lIns="0" tIns="72000" rIns="0" bIns="0"/>
          <a:lstStyle>
            <a:lvl1pPr>
              <a:lnSpc>
                <a:spcPct val="70000"/>
              </a:lnSpc>
              <a:spcBef>
                <a:spcPct val="0"/>
              </a:spcBef>
              <a:defRPr sz="6600" b="1" i="0">
                <a:latin typeface="Graphik Black" panose="020b0503030202060203" pitchFamily="34" charset="77"/>
              </a:defRPr>
            </a:lvl1pPr>
          </a:lstStyle>
          <a:p>
            <a:pPr lvl="0"/>
            <a:r>
              <a:rPr lang="en-CR"/>
              <a:t>ADD TITTLE</a:t>
            </a:r>
          </a:p>
          <a:p>
            <a:pPr lvl="0"/>
            <a:r>
              <a:rPr lang="en-US"/>
              <a:t>I</a:t>
            </a:r>
            <a:r>
              <a:rPr lang="en-CR"/>
              <a:t>N LINES</a:t>
            </a:r>
          </a:p>
          <a:p>
            <a:pPr lvl="0"/>
            <a:r>
              <a:rPr lang="en-CR"/>
              <a:t>SAMPLE</a:t>
            </a:r>
          </a:p>
        </p:txBody>
      </p:sp>
      <p:sp>
        <p:nvSpPr>
          <p:cNvPr id="30" name="Text Placeholder 4">
            <a:extLst>
              <a:ext uri="{FF2B5EF4-FFF2-40B4-BE49-F238E27FC236}">
                <a16:creationId xmlns:a16="http://schemas.microsoft.com/office/drawing/2014/main" id="{D87A647C-CBB0-47F6-BAD8-BA91B5994800}"/>
              </a:ext>
            </a:extLst>
          </p:cNvPr>
          <p:cNvSpPr>
            <a:spLocks noGrp="1"/>
          </p:cNvSpPr>
          <p:nvPr userDrawn="1">
            <p:ph type="body" sz="quarter" idx="13" hasCustomPrompt="1"/>
          </p:nvPr>
        </p:nvSpPr>
        <p:spPr>
          <a:xfrm>
            <a:off x="371474" y="6056453"/>
            <a:ext cx="7279391" cy="436944"/>
          </a:xfrm>
          <a:prstGeom prst="rect">
            <a:avLst/>
          </a:prstGeom>
        </p:spPr>
        <p:txBody>
          <a:bodyPr lIns="0" tIns="0" rIns="0" bIns="0">
            <a:noAutofit/>
          </a:bodyPr>
          <a:lstStyle>
            <a:lvl1pPr marL="0" indent="0">
              <a:buNone/>
              <a:defRPr sz="2000" b="0">
                <a:solidFill>
                  <a:schemeClr val="bg1">
                    <a:lumMod val="50000"/>
                  </a:schemeClr>
                </a:solidFill>
              </a:defRPr>
            </a:lvl1pPr>
          </a:lstStyle>
          <a:p>
            <a:pPr lvl="0"/>
            <a:r>
              <a:rPr lang="en-US"/>
              <a:t>Date</a:t>
            </a:r>
          </a:p>
        </p:txBody>
      </p:sp>
    </p:spTree>
    <p:extLst>
      <p:ext uri="{BB962C8B-B14F-4D97-AF65-F5344CB8AC3E}">
        <p14:creationId xmlns:p14="http://schemas.microsoft.com/office/powerpoint/2010/main" val="3564453715"/>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1/3_White">
    <p:bg>
      <p:bgPr>
        <a:solidFill>
          <a:schemeClr val="bg1"/>
        </a:solidFill>
        <a:effectLst/>
      </p:bgPr>
    </p:bg>
    <p:spTree>
      <p:nvGrpSpPr>
        <p:cNvPr id="1" name=""/>
        <p:cNvGrpSpPr/>
        <p:nvPr/>
      </p:nvGrpSpPr>
      <p:grpSpPr>
        <a:xfrm>
          <a:off x="0" y="0"/>
          <a:ext cx="0" cy="0"/>
        </a:xfrm>
      </p:grpSpPr>
      <p:sp>
        <p:nvSpPr>
          <p:cNvPr id="3" name="Title 2"/>
          <p:cNvSpPr>
            <a:spLocks noGrp="1"/>
          </p:cNvSpPr>
          <p:nvPr>
            <p:ph type="title" hasCustomPrompt="1"/>
          </p:nvPr>
        </p:nvSpPr>
        <p:spPr/>
        <p:txBody>
          <a:bodyPr/>
          <a:lstStyle>
            <a:lvl1pPr>
              <a:defRPr/>
            </a:lvl1pPr>
          </a:lstStyle>
          <a:p>
            <a:r>
              <a:rPr lang="en-US"/>
              <a:t>INSERT MAIN TITLE AT 32PT MIN 30PT</a:t>
            </a:r>
          </a:p>
        </p:txBody>
      </p:sp>
      <p:sp>
        <p:nvSpPr>
          <p:cNvPr id="11" name="Text Placeholder 4"/>
          <p:cNvSpPr>
            <a:spLocks noGrp="1"/>
          </p:cNvSpPr>
          <p:nvPr>
            <p:ph type="body" sz="quarter" idx="36" hasCustomPrompt="1"/>
          </p:nvPr>
        </p:nvSpPr>
        <p:spPr>
          <a:xfrm>
            <a:off x="345019" y="1167149"/>
            <a:ext cx="10027706"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accent3"/>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4" name="Content Placeholder 3"/>
          <p:cNvSpPr>
            <a:spLocks noGrp="1"/>
          </p:cNvSpPr>
          <p:nvPr>
            <p:ph sz="quarter" idx="37" hasCustomPrompt="1"/>
          </p:nvPr>
        </p:nvSpPr>
        <p:spPr>
          <a:xfrm>
            <a:off x="334963" y="1763713"/>
            <a:ext cx="7075487" cy="4294187"/>
          </a:xfrm>
        </p:spPr>
        <p:txBody>
          <a:bodyPr/>
          <a:lstStyle>
            <a:lvl1pPr>
              <a:defRPr sz="1600"/>
            </a:lvl1pPr>
            <a:lvl2pPr>
              <a:defRPr sz="1600"/>
            </a:lvl2pPr>
            <a:lvl3pPr>
              <a:defRPr sz="160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3"/>
          <p:cNvSpPr>
            <a:spLocks noGrp="1"/>
          </p:cNvSpPr>
          <p:nvPr>
            <p:ph sz="quarter" idx="38" hasCustomPrompt="1"/>
          </p:nvPr>
        </p:nvSpPr>
        <p:spPr>
          <a:xfrm>
            <a:off x="7753351" y="1763713"/>
            <a:ext cx="4102100" cy="4294187"/>
          </a:xfrm>
        </p:spPr>
        <p:txBody>
          <a:bodyPr/>
          <a:lstStyle>
            <a:lvl1pPr>
              <a:defRPr sz="1600"/>
            </a:lvl1pPr>
            <a:lvl2pPr>
              <a:defRPr sz="1600"/>
            </a:lvl2pPr>
            <a:lvl3pPr>
              <a:defRPr sz="160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8" name="Footer Placeholder 5"/>
          <p:cNvSpPr>
            <a:spLocks noGrp="1"/>
          </p:cNvSpPr>
          <p:nvPr>
            <p:ph type="ftr" sz="quarter" idx="31"/>
          </p:nvPr>
        </p:nvSpPr>
        <p:spPr>
          <a:xfrm>
            <a:off x="7410450" y="6386400"/>
            <a:ext cx="4114800" cy="140400"/>
          </a:xfrm>
        </p:spPr>
        <p:txBody>
          <a:bodyPr/>
          <a:lstStyle>
            <a:lvl1pPr>
              <a:defRPr>
                <a:solidFill>
                  <a:schemeClr val="tx1">
                    <a:alpha val="50000"/>
                  </a:schemeClr>
                </a:solidFill>
              </a:defRPr>
            </a:lvl1pPr>
          </a:lstStyle>
          <a:p>
            <a:r>
              <a:rPr lang="en-US"/>
              <a:t>Copyright © 2017 Accenture. All rights reserved.</a:t>
            </a:r>
          </a:p>
        </p:txBody>
      </p:sp>
      <p:sp>
        <p:nvSpPr>
          <p:cNvPr id="10" name="Slide Number Placeholder 6"/>
          <p:cNvSpPr>
            <a:spLocks noGrp="1"/>
          </p:cNvSpPr>
          <p:nvPr>
            <p:ph type="sldNum" sz="quarter" idx="32"/>
          </p:nvPr>
        </p:nvSpPr>
        <p:spPr>
          <a:xfrm>
            <a:off x="11639450" y="6386400"/>
            <a:ext cx="216000" cy="140400"/>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2765285856"/>
      </p:ext>
    </p:extLst>
  </p:cSld>
  <p:clrMapOvr>
    <a:overrideClrMapping bg1="lt1" tx1="dk1" bg2="lt2" tx2="dk2" accent1="accent1" accent2="accent2" accent3="accent3" accent4="accent4" accent5="accent5" accent6="accent6" hlink="hlink" folHlink="folHlink"/>
  </p:clrMapOvr>
  <p:transition/>
  <p:timing/>
</p:sldLayout>
</file>

<file path=ppt/slideLayouts/slideLayout6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1/3_HeroBlue">
    <p:bg>
      <p:bgPr>
        <a:solidFill>
          <a:schemeClr val="accent1"/>
        </a:solidFill>
        <a:effectLst/>
      </p:bgPr>
    </p:bg>
    <p:spTree>
      <p:nvGrpSpPr>
        <p:cNvPr id="1" name=""/>
        <p:cNvGrpSpPr/>
        <p:nvPr/>
      </p:nvGrpSpPr>
      <p:grpSpPr>
        <a:xfrm>
          <a:off x="0" y="0"/>
          <a: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INSERT MAIN TITLE AT 36PT MIN 30PT</a:t>
            </a:r>
          </a:p>
        </p:txBody>
      </p:sp>
      <p:sp>
        <p:nvSpPr>
          <p:cNvPr id="10" name="Text Placeholder 4"/>
          <p:cNvSpPr>
            <a:spLocks noGrp="1"/>
          </p:cNvSpPr>
          <p:nvPr>
            <p:ph type="body" sz="quarter" idx="36" hasCustomPrompt="1"/>
          </p:nvPr>
        </p:nvSpPr>
        <p:spPr>
          <a:xfrm>
            <a:off x="345019" y="1167149"/>
            <a:ext cx="10027706"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11" name="Content Placeholder 3"/>
          <p:cNvSpPr>
            <a:spLocks noGrp="1"/>
          </p:cNvSpPr>
          <p:nvPr>
            <p:ph sz="quarter" idx="37" hasCustomPrompt="1"/>
          </p:nvPr>
        </p:nvSpPr>
        <p:spPr>
          <a:xfrm>
            <a:off x="334963" y="1763713"/>
            <a:ext cx="7075487"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3"/>
          <p:cNvSpPr>
            <a:spLocks noGrp="1"/>
          </p:cNvSpPr>
          <p:nvPr>
            <p:ph sz="quarter" idx="38" hasCustomPrompt="1"/>
          </p:nvPr>
        </p:nvSpPr>
        <p:spPr>
          <a:xfrm>
            <a:off x="7753351" y="1763713"/>
            <a:ext cx="4102100"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8" name="Footer Placeholder 5"/>
          <p:cNvSpPr>
            <a:spLocks noGrp="1"/>
          </p:cNvSpPr>
          <p:nvPr>
            <p:ph type="ftr" sz="quarter" idx="31"/>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endParaRPr lang="en-AU"/>
          </a:p>
        </p:txBody>
      </p:sp>
      <p:sp>
        <p:nvSpPr>
          <p:cNvPr id="13" name="Slide Number Placeholder 6"/>
          <p:cNvSpPr>
            <a:spLocks noGrp="1"/>
          </p:cNvSpPr>
          <p:nvPr>
            <p:ph type="sldNum" sz="quarter" idx="32"/>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42288359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6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1/3_Blue3">
    <p:bg>
      <p:bgPr>
        <a:solidFill>
          <a:schemeClr val="accent3"/>
        </a:solidFill>
        <a:effectLst/>
      </p:bgPr>
    </p:bg>
    <p:spTree>
      <p:nvGrpSpPr>
        <p:cNvPr id="1" name=""/>
        <p:cNvGrpSpPr/>
        <p:nvPr/>
      </p:nvGrpSpPr>
      <p:grpSpPr>
        <a:xfrm>
          <a:off x="0" y="0"/>
          <a: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INSERT MAIN TITLE AT 36PT MIN 30PT</a:t>
            </a:r>
          </a:p>
        </p:txBody>
      </p:sp>
      <p:sp>
        <p:nvSpPr>
          <p:cNvPr id="11" name="Text Placeholder 4"/>
          <p:cNvSpPr>
            <a:spLocks noGrp="1"/>
          </p:cNvSpPr>
          <p:nvPr>
            <p:ph type="body" sz="quarter" idx="36" hasCustomPrompt="1"/>
          </p:nvPr>
        </p:nvSpPr>
        <p:spPr>
          <a:xfrm>
            <a:off x="345019" y="1167149"/>
            <a:ext cx="10027706"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12" name="Content Placeholder 3"/>
          <p:cNvSpPr>
            <a:spLocks noGrp="1"/>
          </p:cNvSpPr>
          <p:nvPr>
            <p:ph sz="quarter" idx="37" hasCustomPrompt="1"/>
          </p:nvPr>
        </p:nvSpPr>
        <p:spPr>
          <a:xfrm>
            <a:off x="334963" y="1763713"/>
            <a:ext cx="7075487"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5" name="Content Placeholder 3"/>
          <p:cNvSpPr>
            <a:spLocks noGrp="1"/>
          </p:cNvSpPr>
          <p:nvPr>
            <p:ph sz="quarter" idx="38" hasCustomPrompt="1"/>
          </p:nvPr>
        </p:nvSpPr>
        <p:spPr>
          <a:xfrm>
            <a:off x="7753351" y="1763713"/>
            <a:ext cx="4102100"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8" name="Footer Placeholder 5"/>
          <p:cNvSpPr>
            <a:spLocks noGrp="1"/>
          </p:cNvSpPr>
          <p:nvPr>
            <p:ph type="ftr" sz="quarter" idx="31"/>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endParaRPr lang="en-AU"/>
          </a:p>
        </p:txBody>
      </p:sp>
      <p:sp>
        <p:nvSpPr>
          <p:cNvPr id="10" name="Slide Number Placeholder 6"/>
          <p:cNvSpPr>
            <a:spLocks noGrp="1"/>
          </p:cNvSpPr>
          <p:nvPr>
            <p:ph type="sldNum" sz="quarter" idx="32"/>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398059291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6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1/3_Blue4">
    <p:bg>
      <p:bgPr>
        <a:solidFill>
          <a:schemeClr val="accent4"/>
        </a:solidFill>
        <a:effectLst/>
      </p:bgPr>
    </p:bg>
    <p:spTree>
      <p:nvGrpSpPr>
        <p:cNvPr id="1" name=""/>
        <p:cNvGrpSpPr/>
        <p:nvPr/>
      </p:nvGrpSpPr>
      <p:grpSpPr>
        <a:xfrm>
          <a:off x="0" y="0"/>
          <a: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INSERT MAIN TITLE AT 36PT MIN 30PT</a:t>
            </a:r>
          </a:p>
        </p:txBody>
      </p:sp>
      <p:sp>
        <p:nvSpPr>
          <p:cNvPr id="10" name="Text Placeholder 4"/>
          <p:cNvSpPr>
            <a:spLocks noGrp="1"/>
          </p:cNvSpPr>
          <p:nvPr>
            <p:ph type="body" sz="quarter" idx="36" hasCustomPrompt="1"/>
          </p:nvPr>
        </p:nvSpPr>
        <p:spPr>
          <a:xfrm>
            <a:off x="345019" y="1167149"/>
            <a:ext cx="10027706" cy="323165"/>
          </a:xfrm>
        </p:spPr>
        <p:txBody>
          <a:bodyPr wrap="square">
            <a:spAutoFit/>
          </a:bodyPr>
          <a:lstStyle>
            <a:lvl1pPr algn="l">
              <a:lnSpc>
                <a:spcPct val="100000"/>
              </a:lnSpc>
              <a:spcBef>
                <a:spcPct val="0"/>
              </a:spcBef>
              <a:defRPr sz="2100">
                <a:solidFill>
                  <a:schemeClr val="bg1"/>
                </a:solidFill>
                <a:latin typeface="+mn-lt"/>
              </a:defRPr>
            </a:lvl1pPr>
          </a:lstStyle>
          <a:p>
            <a:r>
              <a:rPr lang="en-US"/>
              <a:t>Insert sub-title here at 21pt, min 18pt</a:t>
            </a:r>
          </a:p>
        </p:txBody>
      </p:sp>
      <p:sp>
        <p:nvSpPr>
          <p:cNvPr id="11" name="Content Placeholder 3"/>
          <p:cNvSpPr>
            <a:spLocks noGrp="1"/>
          </p:cNvSpPr>
          <p:nvPr>
            <p:ph sz="quarter" idx="37" hasCustomPrompt="1"/>
          </p:nvPr>
        </p:nvSpPr>
        <p:spPr>
          <a:xfrm>
            <a:off x="334963" y="1763713"/>
            <a:ext cx="7075487"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3"/>
          <p:cNvSpPr>
            <a:spLocks noGrp="1"/>
          </p:cNvSpPr>
          <p:nvPr>
            <p:ph sz="quarter" idx="38" hasCustomPrompt="1"/>
          </p:nvPr>
        </p:nvSpPr>
        <p:spPr>
          <a:xfrm>
            <a:off x="7753351" y="1763713"/>
            <a:ext cx="4102100"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8" name="Footer Placeholder 5"/>
          <p:cNvSpPr>
            <a:spLocks noGrp="1"/>
          </p:cNvSpPr>
          <p:nvPr>
            <p:ph type="ftr" sz="quarter" idx="31"/>
          </p:nvPr>
        </p:nvSpPr>
        <p:spPr>
          <a:xfrm>
            <a:off x="7410450" y="6386400"/>
            <a:ext cx="4114800" cy="140400"/>
          </a:xfrm>
        </p:spPr>
        <p:txBody>
          <a:bodyPr/>
          <a:lstStyle>
            <a:lvl1pPr>
              <a:defRPr>
                <a:solidFill>
                  <a:schemeClr val="bg1">
                    <a:alpha val="50000"/>
                  </a:schemeClr>
                </a:solidFill>
              </a:defRPr>
            </a:lvl1pPr>
          </a:lstStyle>
          <a:p>
            <a:r>
              <a:rPr lang="en-US"/>
              <a:t>Copyright © 2017 Accenture. All rights reserved.</a:t>
            </a:r>
            <a:endParaRPr lang="en-AU"/>
          </a:p>
        </p:txBody>
      </p:sp>
      <p:sp>
        <p:nvSpPr>
          <p:cNvPr id="13" name="Slide Number Placeholder 6"/>
          <p:cNvSpPr>
            <a:spLocks noGrp="1"/>
          </p:cNvSpPr>
          <p:nvPr>
            <p:ph type="sldNum" sz="quarter" idx="32"/>
          </p:nvPr>
        </p:nvSpPr>
        <p:spPr>
          <a:xfrm>
            <a:off x="11639450" y="6386400"/>
            <a:ext cx="216000" cy="140400"/>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59728677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6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37" hasCustomPrompt="1"/>
          </p:nvPr>
        </p:nvSpPr>
        <p:spPr>
          <a:xfrm>
            <a:off x="344488" y="1763713"/>
            <a:ext cx="5589587" cy="429418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3" name="Content Placeholder 4"/>
          <p:cNvSpPr>
            <a:spLocks noGrp="1"/>
          </p:cNvSpPr>
          <p:nvPr>
            <p:ph sz="quarter" idx="38" hasCustomPrompt="1"/>
          </p:nvPr>
        </p:nvSpPr>
        <p:spPr>
          <a:xfrm>
            <a:off x="6276975" y="1763713"/>
            <a:ext cx="5578475" cy="429418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3490452307"/>
      </p:ext>
    </p:extLst>
  </p:cSld>
  <p:clrMapOvr>
    <a:overrideClrMapping bg1="lt1" tx1="dk1" bg2="lt2" tx2="dk2" accent1="accent1" accent2="accent2" accent3="accent3" accent4="accent4" accent5="accent5" accent6="accent6" hlink="hlink" folHlink="folHlink"/>
  </p:clrMapOvr>
  <p:transition/>
  <p:timing/>
</p:sldLayout>
</file>

<file path=ppt/slideLayouts/slideLayout6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2pt, minimum 18pt</a:t>
            </a:r>
          </a:p>
        </p:txBody>
      </p:sp>
      <p:sp>
        <p:nvSpPr>
          <p:cNvPr id="5" name="Content Placeholder 4"/>
          <p:cNvSpPr>
            <a:spLocks noGrp="1"/>
          </p:cNvSpPr>
          <p:nvPr>
            <p:ph sz="quarter" idx="37" hasCustomPrompt="1"/>
          </p:nvPr>
        </p:nvSpPr>
        <p:spPr>
          <a:xfrm>
            <a:off x="344488" y="1763713"/>
            <a:ext cx="5589587"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3" name="Content Placeholder 4"/>
          <p:cNvSpPr>
            <a:spLocks noGrp="1"/>
          </p:cNvSpPr>
          <p:nvPr>
            <p:ph sz="quarter" idx="38" hasCustomPrompt="1"/>
          </p:nvPr>
        </p:nvSpPr>
        <p:spPr>
          <a:xfrm>
            <a:off x="6276975" y="1763713"/>
            <a:ext cx="5578475"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3231651759"/>
      </p:ext>
    </p:extLst>
  </p:cSld>
  <p:clrMapOvr>
    <a:overrideClrMapping bg1="lt1" tx1="dk1" bg2="lt2" tx2="dk2" accent1="accent1" accent2="accent2" accent3="accent3" accent4="accent4" accent5="accent5" accent6="accent6" hlink="hlink" folHlink="folHlink"/>
  </p:clrMapOvr>
  <p:transition/>
  <p:timing/>
</p:sldLayout>
</file>

<file path=ppt/slideLayouts/slideLayout6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Columns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37" hasCustomPrompt="1"/>
          </p:nvPr>
        </p:nvSpPr>
        <p:spPr>
          <a:xfrm>
            <a:off x="344488" y="1763713"/>
            <a:ext cx="5589587" cy="429418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3" name="Content Placeholder 4"/>
          <p:cNvSpPr>
            <a:spLocks noGrp="1"/>
          </p:cNvSpPr>
          <p:nvPr>
            <p:ph sz="quarter" idx="38" hasCustomPrompt="1"/>
          </p:nvPr>
        </p:nvSpPr>
        <p:spPr>
          <a:xfrm>
            <a:off x="6276975" y="1763713"/>
            <a:ext cx="5578475" cy="429418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2126659283"/>
      </p:ext>
    </p:extLst>
  </p:cSld>
  <p:clrMapOvr>
    <a:overrideClrMapping bg1="lt1" tx1="dk1" bg2="lt2" tx2="dk2" accent1="accent1" accent2="accent2" accent3="accent3" accent4="accent4" accent5="accent5" accent6="accent6" hlink="hlink" folHlink="folHlink"/>
  </p:clrMapOvr>
  <p:transition/>
  <p:timing/>
</p:sldLayout>
</file>

<file path=ppt/slideLayouts/slideLayout6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2Columns_2Subtitles_Whit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Content Placeholder 4"/>
          <p:cNvSpPr>
            <a:spLocks noGrp="1"/>
          </p:cNvSpPr>
          <p:nvPr>
            <p:ph sz="quarter" idx="37" hasCustomPrompt="1"/>
          </p:nvPr>
        </p:nvSpPr>
        <p:spPr>
          <a:xfrm>
            <a:off x="344488"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4"/>
          <p:cNvSpPr>
            <a:spLocks noGrp="1"/>
          </p:cNvSpPr>
          <p:nvPr>
            <p:ph sz="quarter" idx="38" hasCustomPrompt="1"/>
          </p:nvPr>
        </p:nvSpPr>
        <p:spPr>
          <a:xfrm>
            <a:off x="6276975"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4" name="Text Placeholder 4"/>
          <p:cNvSpPr>
            <a:spLocks noGrp="1"/>
          </p:cNvSpPr>
          <p:nvPr>
            <p:ph type="body" sz="quarter" idx="36" hasCustomPrompt="1"/>
          </p:nvPr>
        </p:nvSpPr>
        <p:spPr>
          <a:xfrm>
            <a:off x="345018"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cxnSp>
        <p:nvCxnSpPr>
          <p:cNvPr id="9" name="Straight Arrow Connector 8"/>
          <p:cNvCxnSpPr/>
          <p:nvPr userDrawn="1"/>
        </p:nvCxnSpPr>
        <p:spPr>
          <a:xfrm>
            <a:off x="363711"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userDrawn="1"/>
        </p:nvCxnSpPr>
        <p:spPr>
          <a:xfrm>
            <a:off x="6272487"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 Placeholder 4"/>
          <p:cNvSpPr>
            <a:spLocks noGrp="1"/>
          </p:cNvSpPr>
          <p:nvPr>
            <p:ph type="body" sz="quarter" idx="39" hasCustomPrompt="1"/>
          </p:nvPr>
        </p:nvSpPr>
        <p:spPr>
          <a:xfrm>
            <a:off x="6276975"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spTree>
    <p:extLst>
      <p:ext uri="{BB962C8B-B14F-4D97-AF65-F5344CB8AC3E}">
        <p14:creationId xmlns:p14="http://schemas.microsoft.com/office/powerpoint/2010/main" val="3933986017"/>
      </p:ext>
    </p:extLst>
  </p:cSld>
  <p:clrMapOvr>
    <a:overrideClrMapping bg1="lt1" tx1="dk1" bg2="lt2" tx2="dk2" accent1="accent1" accent2="accent2" accent3="accent3" accent4="accent4" accent5="accent5" accent6="accent6" hlink="hlink" folHlink="folHlink"/>
  </p:clrMapOvr>
  <p:transition/>
  <p:timing/>
</p:sldLayout>
</file>

<file path=ppt/slideLayouts/slideLayout6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2Columns_2Subtitles_White">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Content Placeholder 4"/>
          <p:cNvSpPr>
            <a:spLocks noGrp="1"/>
          </p:cNvSpPr>
          <p:nvPr>
            <p:ph sz="quarter" idx="37" hasCustomPrompt="1"/>
          </p:nvPr>
        </p:nvSpPr>
        <p:spPr>
          <a:xfrm>
            <a:off x="344488"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4"/>
          <p:cNvSpPr>
            <a:spLocks noGrp="1"/>
          </p:cNvSpPr>
          <p:nvPr>
            <p:ph sz="quarter" idx="38" hasCustomPrompt="1"/>
          </p:nvPr>
        </p:nvSpPr>
        <p:spPr>
          <a:xfrm>
            <a:off x="6276975"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cxnSp>
        <p:nvCxnSpPr>
          <p:cNvPr id="9" name="Straight Arrow Connector 8"/>
          <p:cNvCxnSpPr/>
          <p:nvPr userDrawn="1"/>
        </p:nvCxnSpPr>
        <p:spPr>
          <a:xfrm>
            <a:off x="363711"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userDrawn="1"/>
        </p:nvCxnSpPr>
        <p:spPr>
          <a:xfrm>
            <a:off x="6272487"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 Placeholder 4"/>
          <p:cNvSpPr>
            <a:spLocks noGrp="1"/>
          </p:cNvSpPr>
          <p:nvPr>
            <p:ph type="body" sz="quarter" idx="36" hasCustomPrompt="1"/>
          </p:nvPr>
        </p:nvSpPr>
        <p:spPr>
          <a:xfrm>
            <a:off x="345018"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sp>
        <p:nvSpPr>
          <p:cNvPr id="16" name="Text Placeholder 4"/>
          <p:cNvSpPr>
            <a:spLocks noGrp="1"/>
          </p:cNvSpPr>
          <p:nvPr>
            <p:ph type="body" sz="quarter" idx="39" hasCustomPrompt="1"/>
          </p:nvPr>
        </p:nvSpPr>
        <p:spPr>
          <a:xfrm>
            <a:off x="6276975"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spTree>
    <p:extLst>
      <p:ext uri="{BB962C8B-B14F-4D97-AF65-F5344CB8AC3E}">
        <p14:creationId xmlns:p14="http://schemas.microsoft.com/office/powerpoint/2010/main" val="4270943491"/>
      </p:ext>
    </p:extLst>
  </p:cSld>
  <p:clrMapOvr>
    <a:overrideClrMapping bg1="lt1" tx1="dk1" bg2="lt2" tx2="dk2" accent1="accent1" accent2="accent2" accent3="accent3" accent4="accent4" accent5="accent5" accent6="accent6" hlink="hlink" folHlink="folHlink"/>
  </p:clrMapOvr>
  <p:transition/>
  <p:timing/>
</p:sldLayout>
</file>

<file path=ppt/slideLayouts/slideLayout6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2Columns_2Subtitles_White">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0"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1" name="Content Placeholder 4"/>
          <p:cNvSpPr>
            <a:spLocks noGrp="1"/>
          </p:cNvSpPr>
          <p:nvPr>
            <p:ph sz="quarter" idx="37" hasCustomPrompt="1"/>
          </p:nvPr>
        </p:nvSpPr>
        <p:spPr>
          <a:xfrm>
            <a:off x="344488"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2" name="Content Placeholder 4"/>
          <p:cNvSpPr>
            <a:spLocks noGrp="1"/>
          </p:cNvSpPr>
          <p:nvPr>
            <p:ph sz="quarter" idx="38" hasCustomPrompt="1"/>
          </p:nvPr>
        </p:nvSpPr>
        <p:spPr>
          <a:xfrm>
            <a:off x="6276975" y="2431663"/>
            <a:ext cx="5577840" cy="36262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4" name="Text Placeholder 4"/>
          <p:cNvSpPr>
            <a:spLocks noGrp="1"/>
          </p:cNvSpPr>
          <p:nvPr>
            <p:ph type="body" sz="quarter" idx="36" hasCustomPrompt="1"/>
          </p:nvPr>
        </p:nvSpPr>
        <p:spPr>
          <a:xfrm>
            <a:off x="345018"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cxnSp>
        <p:nvCxnSpPr>
          <p:cNvPr id="9" name="Straight Arrow Connector 8"/>
          <p:cNvCxnSpPr/>
          <p:nvPr userDrawn="1"/>
        </p:nvCxnSpPr>
        <p:spPr>
          <a:xfrm>
            <a:off x="363711"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userDrawn="1"/>
        </p:nvCxnSpPr>
        <p:spPr>
          <a:xfrm>
            <a:off x="6272487" y="2209296"/>
            <a:ext cx="5558617" cy="0"/>
          </a:xfrm>
          <a:prstGeom prst="straightConnector1">
            <a:avLst/>
          </a:prstGeom>
          <a:ln w="22225">
            <a:solidFill>
              <a:schemeClr val="bg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 Placeholder 4"/>
          <p:cNvSpPr>
            <a:spLocks noGrp="1"/>
          </p:cNvSpPr>
          <p:nvPr>
            <p:ph type="body" sz="quarter" idx="39" hasCustomPrompt="1"/>
          </p:nvPr>
        </p:nvSpPr>
        <p:spPr>
          <a:xfrm>
            <a:off x="6276975" y="1894050"/>
            <a:ext cx="5577840" cy="221599"/>
          </a:xfrm>
        </p:spPr>
        <p:txBody>
          <a:bodyPr wrap="square" anchor="b">
            <a:sp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i="0" kern="1200" cap="all" baseline="0" smtClean="0">
                <a:solidFill>
                  <a:schemeClr val="bg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sub-head 18pt min 16pt</a:t>
            </a:r>
            <a:endParaRPr lang="en-US" b="1" cap="all">
              <a:solidFill>
                <a:schemeClr val="accent3"/>
              </a:solidFill>
              <a:latin typeface="+mj-lt"/>
            </a:endParaRPr>
          </a:p>
        </p:txBody>
      </p:sp>
    </p:spTree>
    <p:extLst>
      <p:ext uri="{BB962C8B-B14F-4D97-AF65-F5344CB8AC3E}">
        <p14:creationId xmlns:p14="http://schemas.microsoft.com/office/powerpoint/2010/main" val="1327228553"/>
      </p:ext>
    </p:extLst>
  </p:cSld>
  <p:clrMapOvr>
    <a:overrideClrMapping bg1="lt1" tx1="dk1" bg2="lt2" tx2="dk2" accent1="accent1" accent2="accent2" accent3="accent3" accent4="accent4" accent5="accent5" accent6="accent6" hlink="hlink" folHlink="folHlink"/>
  </p:clrMapOvr>
  <p:transition/>
  <p:timing/>
</p:sldLayout>
</file>

<file path=ppt/slideLayouts/slideLayout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1_Title Master: White">
    <p:bg>
      <p:bgPr>
        <a:solidFill>
          <a:schemeClr val="bg1"/>
        </a:solidFill>
        <a:effectLst/>
      </p:bgPr>
    </p:bg>
    <p:spTree>
      <p:nvGrpSpPr>
        <p:cNvPr id="1" name=""/>
        <p:cNvGrpSpPr/>
        <p:nvPr/>
      </p:nvGrpSpPr>
      <p:grpSpPr>
        <a:xfrm>
          <a:off x="0" y="0"/>
          <a:ext cx="0" cy="0"/>
        </a:xfrm>
      </p:grpSpPr>
      <p:pic>
        <p:nvPicPr>
          <p:cNvPr id="6" name="Picture 5" descr="A picture containing indoor, sitting, table, light&#10;&#10;Description automatically generated">
            <a:extLst>
              <a:ext uri="{FF2B5EF4-FFF2-40B4-BE49-F238E27FC236}">
                <a16:creationId xmlns:a16="http://schemas.microsoft.com/office/drawing/2014/main" id="{0AB1D832-5AFB-9441-8967-1E26BF1B4373}"/>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5414682" y="1173333"/>
            <a:ext cx="6777318" cy="5684667"/>
          </a:xfrm>
          <a:prstGeom prst="rect">
            <a:avLst/>
          </a:prstGeom>
        </p:spPr>
      </p:pic>
      <p:sp>
        <p:nvSpPr>
          <p:cNvPr id="19" name="Title 1">
            <a:extLst>
              <a:ext uri="{FF2B5EF4-FFF2-40B4-BE49-F238E27FC236}">
                <a16:creationId xmlns:a16="http://schemas.microsoft.com/office/drawing/2014/main" id="{D09EDDAF-E064-4581-8E02-6D31B8092756}"/>
              </a:ext>
            </a:extLst>
          </p:cNvPr>
          <p:cNvSpPr>
            <a:spLocks noGrp="1"/>
          </p:cNvSpPr>
          <p:nvPr>
            <p:ph type="ctrTitle" hasCustomPrompt="1"/>
          </p:nvPr>
        </p:nvSpPr>
        <p:spPr>
          <a:xfrm>
            <a:off x="371475" y="1850118"/>
            <a:ext cx="5985782" cy="2009775"/>
          </a:xfrm>
          <a:prstGeom prst="rect">
            <a:avLst/>
          </a:prstGeom>
        </p:spPr>
        <p:txBody>
          <a:bodyPr lIns="0" tIns="72000" rIns="0" bIns="0" anchor="t">
            <a:noAutofit/>
          </a:bodyPr>
          <a:lstStyle>
            <a:lvl1pPr algn="l">
              <a:lnSpc>
                <a:spcPct val="70000"/>
              </a:lnSpc>
              <a:defRPr sz="4400" b="1" i="0">
                <a:latin typeface="Graphik Black" panose="020b0503030202060203" pitchFamily="34" charset="77"/>
              </a:defRPr>
            </a:lvl1pPr>
          </a:lstStyle>
          <a:p>
            <a:r>
              <a:rPr lang="en-US"/>
              <a:t>CLICK TO EDIT DIVIDER TITLE STYLE</a:t>
            </a:r>
            <a:endParaRPr lang="en-CR"/>
          </a:p>
        </p:txBody>
      </p:sp>
      <p:sp>
        <p:nvSpPr>
          <p:cNvPr id="20" name="Subtitle 2">
            <a:extLst>
              <a:ext uri="{FF2B5EF4-FFF2-40B4-BE49-F238E27FC236}">
                <a16:creationId xmlns:a16="http://schemas.microsoft.com/office/drawing/2014/main" id="{74820C80-2890-4866-A5AC-108A8DA3FEE4}"/>
              </a:ext>
            </a:extLst>
          </p:cNvPr>
          <p:cNvSpPr>
            <a:spLocks noGrp="1"/>
          </p:cNvSpPr>
          <p:nvPr>
            <p:ph type="subTitle" idx="1"/>
          </p:nvPr>
        </p:nvSpPr>
        <p:spPr>
          <a:xfrm>
            <a:off x="371475" y="5206545"/>
            <a:ext cx="5985782" cy="864507"/>
          </a:xfrm>
          <a:prstGeom prst="rect">
            <a:avLst/>
          </a:prstGeom>
        </p:spPr>
        <p:txBody>
          <a:bodyPr>
            <a:noAutofit/>
          </a:bodyPr>
          <a:lstStyle>
            <a:lvl1pPr marL="0" indent="0" algn="l">
              <a:buNone/>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R"/>
          </a:p>
        </p:txBody>
      </p:sp>
    </p:spTree>
    <p:extLst>
      <p:ext uri="{BB962C8B-B14F-4D97-AF65-F5344CB8AC3E}">
        <p14:creationId xmlns:p14="http://schemas.microsoft.com/office/powerpoint/2010/main" val="2630880040"/>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Columns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5" name="Slide Number Placeholder 4"/>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INSERT MAIN TITLE AT 32PT MIN 30PT</a:t>
            </a:r>
          </a:p>
        </p:txBody>
      </p:sp>
      <p:sp>
        <p:nvSpPr>
          <p:cNvPr id="11" name="Content Placeholder 10"/>
          <p:cNvSpPr>
            <a:spLocks noGrp="1"/>
          </p:cNvSpPr>
          <p:nvPr>
            <p:ph sz="quarter" idx="37" hasCustomPrompt="1"/>
          </p:nvPr>
        </p:nvSpPr>
        <p:spPr>
          <a:xfrm>
            <a:off x="334963"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4" name="Content Placeholder 10"/>
          <p:cNvSpPr>
            <a:spLocks noGrp="1"/>
          </p:cNvSpPr>
          <p:nvPr>
            <p:ph sz="quarter" idx="38" hasCustomPrompt="1"/>
          </p:nvPr>
        </p:nvSpPr>
        <p:spPr>
          <a:xfrm>
            <a:off x="4287521"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5" name="Content Placeholder 10"/>
          <p:cNvSpPr>
            <a:spLocks noGrp="1"/>
          </p:cNvSpPr>
          <p:nvPr>
            <p:ph sz="quarter" idx="39" hasCustomPrompt="1"/>
          </p:nvPr>
        </p:nvSpPr>
        <p:spPr>
          <a:xfrm>
            <a:off x="8240078"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9"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Tree>
    <p:extLst>
      <p:ext uri="{BB962C8B-B14F-4D97-AF65-F5344CB8AC3E}">
        <p14:creationId xmlns:p14="http://schemas.microsoft.com/office/powerpoint/2010/main" val="220184637"/>
      </p:ext>
    </p:extLst>
  </p:cSld>
  <p:clrMapOvr>
    <a:overrideClrMapping bg1="lt1" tx1="dk1" bg2="lt2" tx2="dk2" accent1="accent1" accent2="accent2" accent3="accent3" accent4="accent4" accent5="accent5" accent6="accent6" hlink="hlink" folHlink="folHlink"/>
  </p:clrMapOvr>
  <p:transition/>
  <p:timing/>
</p:sldLayout>
</file>

<file path=ppt/slideLayouts/slideLayout7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Columns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5" name="Slide Number Placeholder 4"/>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INSERT MAIN TITLE AT 32PT MIN 30PT</a:t>
            </a:r>
          </a:p>
        </p:txBody>
      </p:sp>
      <p:sp>
        <p:nvSpPr>
          <p:cNvPr id="11" name="Content Placeholder 10"/>
          <p:cNvSpPr>
            <a:spLocks noGrp="1"/>
          </p:cNvSpPr>
          <p:nvPr>
            <p:ph sz="quarter" idx="37" hasCustomPrompt="1"/>
          </p:nvPr>
        </p:nvSpPr>
        <p:spPr>
          <a:xfrm>
            <a:off x="334963"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4" name="Content Placeholder 10"/>
          <p:cNvSpPr>
            <a:spLocks noGrp="1"/>
          </p:cNvSpPr>
          <p:nvPr>
            <p:ph sz="quarter" idx="38" hasCustomPrompt="1"/>
          </p:nvPr>
        </p:nvSpPr>
        <p:spPr>
          <a:xfrm>
            <a:off x="4287521"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5" name="Content Placeholder 10"/>
          <p:cNvSpPr>
            <a:spLocks noGrp="1"/>
          </p:cNvSpPr>
          <p:nvPr>
            <p:ph sz="quarter" idx="39" hasCustomPrompt="1"/>
          </p:nvPr>
        </p:nvSpPr>
        <p:spPr>
          <a:xfrm>
            <a:off x="8240078"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9" name="Text Placeholder 4"/>
          <p:cNvSpPr>
            <a:spLocks noGrp="1"/>
          </p:cNvSpPr>
          <p:nvPr>
            <p:ph type="body" sz="quarter" idx="36" hasCustomPrompt="1"/>
          </p:nvPr>
        </p:nvSpPr>
        <p:spPr>
          <a:xfrm>
            <a:off x="345018" y="1167149"/>
            <a:ext cx="10027707" cy="323165"/>
          </a:xfrm>
        </p:spPr>
        <p:txBody>
          <a:bodyPr wrap="square">
            <a:spAutoFit/>
          </a:bodyPr>
          <a:lstStyle>
            <a:lvl1pPr algn="l">
              <a:lnSpc>
                <a:spcPct val="100000"/>
              </a:lnSpc>
              <a:spcBef>
                <a:spcPct val="0"/>
              </a:spcBef>
              <a:defRPr sz="2100">
                <a:solidFill>
                  <a:schemeClr val="bg1"/>
                </a:solidFill>
                <a:latin typeface="+mn-lt"/>
              </a:defRPr>
            </a:lvl1pPr>
          </a:lstStyle>
          <a:p>
            <a:r>
              <a:rPr lang="en-US"/>
              <a:t>Insert sub-title here at 21pt, minimum 18pt</a:t>
            </a:r>
          </a:p>
        </p:txBody>
      </p:sp>
    </p:spTree>
    <p:extLst>
      <p:ext uri="{BB962C8B-B14F-4D97-AF65-F5344CB8AC3E}">
        <p14:creationId xmlns:p14="http://schemas.microsoft.com/office/powerpoint/2010/main" val="2448612497"/>
      </p:ext>
    </p:extLst>
  </p:cSld>
  <p:clrMapOvr>
    <a:overrideClrMapping bg1="lt1" tx1="dk1" bg2="lt2" tx2="dk2" accent1="accent1" accent2="accent2" accent3="accent3" accent4="accent4" accent5="accent5" accent6="accent6" hlink="hlink" folHlink="folHlink"/>
  </p:clrMapOvr>
  <p:transition/>
  <p:timing/>
</p:sldLayout>
</file>

<file path=ppt/slideLayouts/slideLayout7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Columns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5" name="Slide Number Placeholder 4"/>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INSERT MAIN TITLE AT 32PT MIN 30PT</a:t>
            </a:r>
          </a:p>
        </p:txBody>
      </p:sp>
      <p:sp>
        <p:nvSpPr>
          <p:cNvPr id="11" name="Content Placeholder 10"/>
          <p:cNvSpPr>
            <a:spLocks noGrp="1"/>
          </p:cNvSpPr>
          <p:nvPr>
            <p:ph sz="quarter" idx="37" hasCustomPrompt="1"/>
          </p:nvPr>
        </p:nvSpPr>
        <p:spPr>
          <a:xfrm>
            <a:off x="334963"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4" name="Content Placeholder 10"/>
          <p:cNvSpPr>
            <a:spLocks noGrp="1"/>
          </p:cNvSpPr>
          <p:nvPr>
            <p:ph sz="quarter" idx="38" hasCustomPrompt="1"/>
          </p:nvPr>
        </p:nvSpPr>
        <p:spPr>
          <a:xfrm>
            <a:off x="4287521"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5" name="Content Placeholder 10"/>
          <p:cNvSpPr>
            <a:spLocks noGrp="1"/>
          </p:cNvSpPr>
          <p:nvPr>
            <p:ph sz="quarter" idx="39" hasCustomPrompt="1"/>
          </p:nvPr>
        </p:nvSpPr>
        <p:spPr>
          <a:xfrm>
            <a:off x="8240078" y="1763713"/>
            <a:ext cx="3621024" cy="4294187"/>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9" name="Text Placeholder 4"/>
          <p:cNvSpPr>
            <a:spLocks noGrp="1"/>
          </p:cNvSpPr>
          <p:nvPr>
            <p:ph type="body" sz="quarter" idx="36" hasCustomPrompt="1"/>
          </p:nvPr>
        </p:nvSpPr>
        <p:spPr>
          <a:xfrm>
            <a:off x="345018" y="1167149"/>
            <a:ext cx="10027707" cy="323165"/>
          </a:xfrm>
        </p:spPr>
        <p:txBody>
          <a:bodyPr wrap="square">
            <a:spAutoFit/>
          </a:bodyPr>
          <a:lstStyle>
            <a:lvl1pPr algn="l">
              <a:lnSpc>
                <a:spcPct val="100000"/>
              </a:lnSpc>
              <a:spcBef>
                <a:spcPct val="0"/>
              </a:spcBef>
              <a:defRPr sz="2100">
                <a:solidFill>
                  <a:schemeClr val="bg1"/>
                </a:solidFill>
                <a:latin typeface="+mn-lt"/>
              </a:defRPr>
            </a:lvl1pPr>
          </a:lstStyle>
          <a:p>
            <a:r>
              <a:rPr lang="en-US"/>
              <a:t>Insert sub-title here at 21pt, min 18pt</a:t>
            </a:r>
          </a:p>
        </p:txBody>
      </p:sp>
    </p:spTree>
    <p:extLst>
      <p:ext uri="{BB962C8B-B14F-4D97-AF65-F5344CB8AC3E}">
        <p14:creationId xmlns:p14="http://schemas.microsoft.com/office/powerpoint/2010/main" val="1076486114"/>
      </p:ext>
    </p:extLst>
  </p:cSld>
  <p:clrMapOvr>
    <a:overrideClrMapping bg1="lt1" tx1="dk1" bg2="lt2" tx2="dk2" accent1="accent1" accent2="accent2" accent3="accent3" accent4="accent4" accent5="accent5" accent6="accent6" hlink="hlink" folHlink="folHlink"/>
  </p:clrMapOvr>
  <p:transition/>
  <p:timing/>
</p:sldLayout>
</file>

<file path=ppt/slideLayouts/slideLayout7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Columns_3Subtitles_White">
    <p:bg>
      <p:bgPr>
        <a:solidFill>
          <a:schemeClr val="bg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5" name="Slide Number Placeholder 4"/>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6" name="Title 5"/>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
        <p:nvSpPr>
          <p:cNvPr id="11" name="Content Placeholder 10"/>
          <p:cNvSpPr>
            <a:spLocks noGrp="1"/>
          </p:cNvSpPr>
          <p:nvPr>
            <p:ph sz="quarter" idx="37" hasCustomPrompt="1"/>
          </p:nvPr>
        </p:nvSpPr>
        <p:spPr>
          <a:xfrm>
            <a:off x="334963"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4" name="Content Placeholder 10"/>
          <p:cNvSpPr>
            <a:spLocks noGrp="1"/>
          </p:cNvSpPr>
          <p:nvPr>
            <p:ph sz="quarter" idx="38" hasCustomPrompt="1"/>
          </p:nvPr>
        </p:nvSpPr>
        <p:spPr>
          <a:xfrm>
            <a:off x="4287521"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5" name="Content Placeholder 10"/>
          <p:cNvSpPr>
            <a:spLocks noGrp="1"/>
          </p:cNvSpPr>
          <p:nvPr>
            <p:ph sz="quarter" idx="39" hasCustomPrompt="1"/>
          </p:nvPr>
        </p:nvSpPr>
        <p:spPr>
          <a:xfrm>
            <a:off x="8240078"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9" name="Text Placeholder 4"/>
          <p:cNvSpPr>
            <a:spLocks noGrp="1"/>
          </p:cNvSpPr>
          <p:nvPr>
            <p:ph type="body" sz="quarter" idx="36" hasCustomPrompt="1"/>
          </p:nvPr>
        </p:nvSpPr>
        <p:spPr>
          <a:xfrm>
            <a:off x="334963"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
        <p:nvSpPr>
          <p:cNvPr id="13" name="Text Placeholder 4"/>
          <p:cNvSpPr>
            <a:spLocks noGrp="1"/>
          </p:cNvSpPr>
          <p:nvPr>
            <p:ph type="body" sz="quarter" idx="40" hasCustomPrompt="1"/>
          </p:nvPr>
        </p:nvSpPr>
        <p:spPr>
          <a:xfrm>
            <a:off x="4286945"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
        <p:nvSpPr>
          <p:cNvPr id="17" name="Text Placeholder 4"/>
          <p:cNvSpPr>
            <a:spLocks noGrp="1"/>
          </p:cNvSpPr>
          <p:nvPr>
            <p:ph type="body" sz="quarter" idx="41" hasCustomPrompt="1"/>
          </p:nvPr>
        </p:nvSpPr>
        <p:spPr>
          <a:xfrm>
            <a:off x="8240078"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1"/>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Tree>
    <p:extLst>
      <p:ext uri="{BB962C8B-B14F-4D97-AF65-F5344CB8AC3E}">
        <p14:creationId xmlns:p14="http://schemas.microsoft.com/office/powerpoint/2010/main" val="4128599896"/>
      </p:ext>
    </p:extLst>
  </p:cSld>
  <p:clrMapOvr>
    <a:overrideClrMapping bg1="lt1" tx1="dk1" bg2="lt2" tx2="dk2" accent1="accent1" accent2="accent2" accent3="accent3" accent4="accent4" accent5="accent5" accent6="accent6" hlink="hlink" folHlink="folHlink"/>
  </p:clrMapOvr>
  <p:transition/>
  <p:timing/>
</p:sldLayout>
</file>

<file path=ppt/slideLayouts/slideLayout7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3Columns_3Subtitles_White_no sublines">
    <p:bg>
      <p:bgPr>
        <a:solidFill>
          <a:schemeClr val="bg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5" name="Slide Number Placeholder 4"/>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6" name="Title 5"/>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
        <p:nvSpPr>
          <p:cNvPr id="11" name="Content Placeholder 10"/>
          <p:cNvSpPr>
            <a:spLocks noGrp="1"/>
          </p:cNvSpPr>
          <p:nvPr>
            <p:ph sz="quarter" idx="37" hasCustomPrompt="1"/>
          </p:nvPr>
        </p:nvSpPr>
        <p:spPr>
          <a:xfrm>
            <a:off x="334963"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4" name="Content Placeholder 10"/>
          <p:cNvSpPr>
            <a:spLocks noGrp="1"/>
          </p:cNvSpPr>
          <p:nvPr>
            <p:ph sz="quarter" idx="38" hasCustomPrompt="1"/>
          </p:nvPr>
        </p:nvSpPr>
        <p:spPr>
          <a:xfrm>
            <a:off x="4287521"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5" name="Content Placeholder 10"/>
          <p:cNvSpPr>
            <a:spLocks noGrp="1"/>
          </p:cNvSpPr>
          <p:nvPr>
            <p:ph sz="quarter" idx="39" hasCustomPrompt="1"/>
          </p:nvPr>
        </p:nvSpPr>
        <p:spPr>
          <a:xfrm>
            <a:off x="8240078" y="2433600"/>
            <a:ext cx="3621024" cy="3625200"/>
          </a:xfrm>
        </p:spPr>
        <p:txBody>
          <a:bodyPr/>
          <a:lstStyle>
            <a:lvl1pPr>
              <a:defRPr sz="1600" b="0"/>
            </a:lvl1pPr>
            <a:lvl2pPr>
              <a:defRPr sz="1600" b="0"/>
            </a:lvl2pPr>
            <a:lvl3pPr>
              <a:defRPr sz="1600" b="0"/>
            </a:lvl3pPr>
          </a:lstStyle>
          <a:p>
            <a:r>
              <a:rPr lang="en-US"/>
              <a:t>Minimum font size 14pt and single line spacing</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9" name="Text Placeholder 4"/>
          <p:cNvSpPr>
            <a:spLocks noGrp="1"/>
          </p:cNvSpPr>
          <p:nvPr>
            <p:ph type="body" sz="quarter" idx="36" hasCustomPrompt="1"/>
          </p:nvPr>
        </p:nvSpPr>
        <p:spPr>
          <a:xfrm>
            <a:off x="334963"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3"/>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
        <p:nvSpPr>
          <p:cNvPr id="13" name="Text Placeholder 4"/>
          <p:cNvSpPr>
            <a:spLocks noGrp="1"/>
          </p:cNvSpPr>
          <p:nvPr>
            <p:ph type="body" sz="quarter" idx="40" hasCustomPrompt="1"/>
          </p:nvPr>
        </p:nvSpPr>
        <p:spPr>
          <a:xfrm>
            <a:off x="4286945"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3"/>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
        <p:nvSpPr>
          <p:cNvPr id="17" name="Text Placeholder 4"/>
          <p:cNvSpPr>
            <a:spLocks noGrp="1"/>
          </p:cNvSpPr>
          <p:nvPr>
            <p:ph type="body" sz="quarter" idx="41" hasCustomPrompt="1"/>
          </p:nvPr>
        </p:nvSpPr>
        <p:spPr>
          <a:xfrm>
            <a:off x="8240078" y="1690850"/>
            <a:ext cx="3621600" cy="424799"/>
          </a:xfrm>
        </p:spPr>
        <p:txBody>
          <a:bodyPr wrap="square" anchor="b">
            <a:noAutofit/>
          </a:bodyPr>
          <a:lstStyle>
            <a:lvl1pPr marL="0" marR="0" indent="0" algn="l" defTabSz="914400" rtl="0" eaLnBrk="1" fontAlgn="auto" latinLnBrk="0" hangingPunct="1">
              <a:lnSpc>
                <a:spcPct val="85000"/>
              </a:lnSpc>
              <a:spcBef>
                <a:spcPts val="800"/>
              </a:spcBef>
              <a:spcAft>
                <a:spcPct val="0"/>
              </a:spcAft>
              <a:buClrTx/>
              <a:buSzTx/>
              <a:buFont typeface="Arial"/>
              <a:buNone/>
              <a:defRPr lang="en-US" sz="1800" b="1" kern="1200" cap="all" baseline="0">
                <a:solidFill>
                  <a:schemeClr val="accent3"/>
                </a:solidFill>
                <a:latin typeface="+mj-lt"/>
                <a:ea typeface="+mn-ea"/>
                <a:cs typeface="+mn-cs"/>
              </a:defRPr>
            </a:lvl1pPr>
          </a:lstStyle>
          <a:p>
            <a:pPr marL="0" marR="0" lvl="0" indent="0" algn="l" defTabSz="914400" rtl="0" eaLnBrk="1" fontAlgn="auto" latinLnBrk="0" hangingPunct="1">
              <a:lnSpc>
                <a:spcPct val="80000"/>
              </a:lnSpc>
              <a:spcBef>
                <a:spcPts val="800"/>
              </a:spcBef>
              <a:spcAft>
                <a:spcPct val="0"/>
              </a:spcAft>
              <a:buClrTx/>
              <a:buSzTx/>
              <a:buFont typeface="Arial"/>
              <a:buNone/>
              <a:defRPr/>
            </a:pPr>
            <a:r>
              <a:rPr lang="en-US"/>
              <a:t>Insert </a:t>
            </a:r>
            <a:r>
              <a:rPr lang="en-US" b="1" cap="all">
                <a:solidFill>
                  <a:schemeClr val="accent3"/>
                </a:solidFill>
                <a:latin typeface="+mj-lt"/>
              </a:rPr>
              <a:t>SUB-HEAD 18PT MIN 16PT</a:t>
            </a:r>
          </a:p>
        </p:txBody>
      </p:sp>
    </p:spTree>
    <p:extLst>
      <p:ext uri="{BB962C8B-B14F-4D97-AF65-F5344CB8AC3E}">
        <p14:creationId xmlns:p14="http://schemas.microsoft.com/office/powerpoint/2010/main" val="1560961460"/>
      </p:ext>
    </p:extLst>
  </p:cSld>
  <p:clrMapOvr>
    <a:overrideClrMapping bg1="lt1" tx1="dk1" bg2="lt2" tx2="dk2" accent1="accent1" accent2="accent2" accent3="accent3" accent4="accent4" accent5="accent5" accent6="accent6" hlink="hlink" folHlink="folHlink"/>
  </p:clrMapOvr>
  <p:transition/>
  <p:timing/>
</p:sldLayout>
</file>

<file path=ppt/slideLayouts/slideLayout7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Columns_White">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accent3"/>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606040" cy="4294187"/>
          </a:xfrm>
        </p:spPr>
        <p:txBody>
          <a:bodyPr/>
          <a:lstStyle>
            <a:lvl1pPr>
              <a:defRPr sz="1600"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3314698" y="1763713"/>
            <a:ext cx="2606040" cy="4294187"/>
          </a:xfrm>
        </p:spPr>
        <p:txBody>
          <a:bodyPr/>
          <a:lstStyle>
            <a:lvl1pPr>
              <a:defRPr sz="1600"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6293695" y="1763713"/>
            <a:ext cx="2606040" cy="4294187"/>
          </a:xfrm>
        </p:spPr>
        <p:txBody>
          <a:bodyPr/>
          <a:lstStyle>
            <a:lvl1pPr>
              <a:defRPr sz="1600"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9239248" y="1763713"/>
            <a:ext cx="2606040" cy="4294187"/>
          </a:xfrm>
        </p:spPr>
        <p:txBody>
          <a:bodyPr/>
          <a:lstStyle>
            <a:lvl1pPr>
              <a:defRPr sz="1600"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510259619"/>
      </p:ext>
    </p:extLst>
  </p:cSld>
  <p:clrMapOvr>
    <a:masterClrMapping/>
  </p:clrMapOvr>
  <p:transition/>
  <p:timing/>
</p:sldLayout>
</file>

<file path=ppt/slideLayouts/slideLayout7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Columns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331469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6293695"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923924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1796197045"/>
      </p:ext>
    </p:extLst>
  </p:cSld>
  <p:clrMapOvr>
    <a:masterClrMapping/>
  </p:clrMapOvr>
  <p:transition/>
  <p:timing/>
</p:sldLayout>
</file>

<file path=ppt/slideLayouts/slideLayout7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Columns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331469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6293695"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923924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399000514"/>
      </p:ext>
    </p:extLst>
  </p:cSld>
  <p:clrMapOvr>
    <a:masterClrMapping/>
  </p:clrMapOvr>
  <p:transition/>
  <p:timing/>
</p:sldLayout>
</file>

<file path=ppt/slideLayouts/slideLayout7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Columns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331469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6293695"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9239248" y="1763713"/>
            <a:ext cx="2606040"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3410854898"/>
      </p:ext>
    </p:extLst>
  </p:cSld>
  <p:clrMapOvr>
    <a:masterClrMapping/>
  </p:clrMapOvr>
  <p:transition/>
  <p:timing/>
</p:sldLayout>
</file>

<file path=ppt/slideLayouts/slideLayout7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Columns_White">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accent3"/>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066544" cy="4294187"/>
          </a:xfrm>
        </p:spPr>
        <p:txBody>
          <a:bodyPr/>
          <a:lstStyle>
            <a:lvl1pPr>
              <a:defRPr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2707739" y="1763713"/>
            <a:ext cx="2066544" cy="4294187"/>
          </a:xfrm>
        </p:spPr>
        <p:txBody>
          <a:bodyPr/>
          <a:lstStyle>
            <a:lvl1pPr>
              <a:defRPr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5068128" y="1763713"/>
            <a:ext cx="2066544" cy="4294187"/>
          </a:xfrm>
        </p:spPr>
        <p:txBody>
          <a:bodyPr/>
          <a:lstStyle>
            <a:lvl1pPr>
              <a:defRPr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7428517" y="1763713"/>
            <a:ext cx="2066544" cy="4294187"/>
          </a:xfrm>
        </p:spPr>
        <p:txBody>
          <a:bodyPr/>
          <a:lstStyle>
            <a:lvl1pPr>
              <a:defRPr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0" name="Content Placeholder 4"/>
          <p:cNvSpPr>
            <a:spLocks noGrp="1"/>
          </p:cNvSpPr>
          <p:nvPr>
            <p:ph sz="quarter" idx="48" hasCustomPrompt="1"/>
          </p:nvPr>
        </p:nvSpPr>
        <p:spPr>
          <a:xfrm>
            <a:off x="9788906" y="1763713"/>
            <a:ext cx="2066544" cy="4294187"/>
          </a:xfrm>
        </p:spPr>
        <p:txBody>
          <a:bodyPr/>
          <a:lstStyle>
            <a:lvl1pPr>
              <a:defRPr b="0"/>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2983641742"/>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9_Title Master: White">
    <p:bg>
      <p:bgPr>
        <a:solidFill>
          <a:schemeClr val="bg1"/>
        </a:solidFill>
        <a:effectLst/>
      </p:bgPr>
    </p:bg>
    <p:spTree>
      <p:nvGrpSpPr>
        <p:cNvPr id="1" name=""/>
        <p:cNvGrpSpPr/>
        <p:nvPr/>
      </p:nvGrpSpPr>
      <p:grpSpPr>
        <a:xfrm>
          <a:off x="0" y="0"/>
          <a:ext cx="0" cy="0"/>
        </a:xfrm>
      </p:grpSpPr>
      <p:pic>
        <p:nvPicPr>
          <p:cNvPr id="6" name="Picture 5">
            <a:extLst>
              <a:ext uri="{FF2B5EF4-FFF2-40B4-BE49-F238E27FC236}">
                <a16:creationId xmlns:a16="http://schemas.microsoft.com/office/drawing/2014/main" id="{EE1F88D9-A166-0C49-A921-AD6BD889E06B}"/>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rot="5400000" flipV="1">
            <a:off x="6191107" y="857108"/>
            <a:ext cx="6858000" cy="5143790"/>
          </a:xfrm>
          <a:prstGeom prst="rect">
            <a:avLst/>
          </a:prstGeom>
        </p:spPr>
      </p:pic>
      <p:sp>
        <p:nvSpPr>
          <p:cNvPr id="19" name="Title 1">
            <a:extLst>
              <a:ext uri="{FF2B5EF4-FFF2-40B4-BE49-F238E27FC236}">
                <a16:creationId xmlns:a16="http://schemas.microsoft.com/office/drawing/2014/main" id="{9FF39E69-4794-437F-8CD5-9A6DE2C9D890}"/>
              </a:ext>
            </a:extLst>
          </p:cNvPr>
          <p:cNvSpPr>
            <a:spLocks noGrp="1"/>
          </p:cNvSpPr>
          <p:nvPr>
            <p:ph type="ctrTitle" hasCustomPrompt="1"/>
          </p:nvPr>
        </p:nvSpPr>
        <p:spPr>
          <a:xfrm>
            <a:off x="371475" y="1850118"/>
            <a:ext cx="5985782" cy="2009775"/>
          </a:xfrm>
          <a:prstGeom prst="rect">
            <a:avLst/>
          </a:prstGeom>
        </p:spPr>
        <p:txBody>
          <a:bodyPr vert="horz" lIns="0" tIns="72000" rIns="0" bIns="0" rtlCol="0" anchor="t" anchorCtr="0">
            <a:noAutofit/>
          </a:bodyPr>
          <a:lstStyle>
            <a:lvl1pPr>
              <a:defRPr lang="en-CR" sz="4400" i="0">
                <a:latin typeface="Graphik Black" panose="020b0503030202060203" pitchFamily="34" charset="77"/>
              </a:defRPr>
            </a:lvl1pPr>
          </a:lstStyle>
          <a:p>
            <a:pPr lvl="0"/>
            <a:r>
              <a:rPr lang="en-US"/>
              <a:t>CLICK TO EDIT DIVIDER TITLE STYLE</a:t>
            </a:r>
            <a:endParaRPr lang="en-CR"/>
          </a:p>
        </p:txBody>
      </p:sp>
      <p:sp>
        <p:nvSpPr>
          <p:cNvPr id="20" name="Subtitle 2">
            <a:extLst>
              <a:ext uri="{FF2B5EF4-FFF2-40B4-BE49-F238E27FC236}">
                <a16:creationId xmlns:a16="http://schemas.microsoft.com/office/drawing/2014/main" id="{68DCD014-7D48-4EFD-B009-9109C29CF542}"/>
              </a:ext>
            </a:extLst>
          </p:cNvPr>
          <p:cNvSpPr>
            <a:spLocks noGrp="1"/>
          </p:cNvSpPr>
          <p:nvPr>
            <p:ph type="subTitle" idx="1"/>
          </p:nvPr>
        </p:nvSpPr>
        <p:spPr>
          <a:xfrm>
            <a:off x="371475" y="5206545"/>
            <a:ext cx="5985782" cy="864507"/>
          </a:xfrm>
          <a:prstGeom prst="rect">
            <a:avLst/>
          </a:prstGeom>
        </p:spPr>
        <p:txBody>
          <a:bodyPr>
            <a:noAutofit/>
          </a:bodyPr>
          <a:lstStyle>
            <a:lvl1pPr marL="0" indent="0" algn="l">
              <a:buNone/>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R"/>
          </a:p>
        </p:txBody>
      </p:sp>
    </p:spTree>
    <p:extLst>
      <p:ext uri="{BB962C8B-B14F-4D97-AF65-F5344CB8AC3E}">
        <p14:creationId xmlns:p14="http://schemas.microsoft.com/office/powerpoint/2010/main" val="1209016053"/>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Columns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2707739"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5068128"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7428517"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0" name="Content Placeholder 4"/>
          <p:cNvSpPr>
            <a:spLocks noGrp="1"/>
          </p:cNvSpPr>
          <p:nvPr>
            <p:ph sz="quarter" idx="48" hasCustomPrompt="1"/>
          </p:nvPr>
        </p:nvSpPr>
        <p:spPr>
          <a:xfrm>
            <a:off x="9788906"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a:p>
            <a:endParaRPr lang="en-AU"/>
          </a:p>
        </p:txBody>
      </p:sp>
    </p:spTree>
    <p:extLst>
      <p:ext uri="{BB962C8B-B14F-4D97-AF65-F5344CB8AC3E}">
        <p14:creationId xmlns:p14="http://schemas.microsoft.com/office/powerpoint/2010/main" val="636926902"/>
      </p:ext>
    </p:extLst>
  </p:cSld>
  <p:clrMapOvr>
    <a:masterClrMapping/>
  </p:clrMapOvr>
  <p:transition/>
  <p:timing/>
</p:sldLayout>
</file>

<file path=ppt/slideLayouts/slideLayout8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Columns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marL="0" marR="0" indent="0" algn="l" defTabSz="1734634" rtl="0" eaLnBrk="1" fontAlgn="auto" latinLnBrk="0" hangingPunct="1">
              <a:lnSpc>
                <a:spcPct val="100000"/>
              </a:lnSpc>
              <a:spcBef>
                <a:spcPct val="0"/>
              </a:spcBef>
              <a:spcAft>
                <a:spcPct val="0"/>
              </a:spcAft>
              <a:buClrTx/>
              <a:buSzTx/>
              <a:buFont typeface="Arial"/>
              <a:buNone/>
              <a:defRPr sz="2100">
                <a:solidFill>
                  <a:schemeClr val="bg1"/>
                </a:solidFill>
                <a:latin typeface="+mn-lt"/>
              </a:defRPr>
            </a:lvl1pPr>
          </a:lstStyle>
          <a:p>
            <a:pPr marL="0" marR="0" lvl="0" indent="0" algn="l" defTabSz="1734634" rtl="0" eaLnBrk="1" fontAlgn="auto" latinLnBrk="0" hangingPunct="1">
              <a:lnSpc>
                <a:spcPct val="100000"/>
              </a:lnSpc>
              <a:spcBef>
                <a:spcPct val="0"/>
              </a:spcBef>
              <a:spcAft>
                <a:spcPct val="0"/>
              </a:spcAft>
              <a:buClrTx/>
              <a:buSzTx/>
              <a:buFont typeface="Arial"/>
              <a:buNone/>
              <a:defRPr/>
            </a:pPr>
            <a:r>
              <a:rPr lang="en-US"/>
              <a:t>Insert sub-title here at 21pt, minimum 18pt</a:t>
            </a:r>
          </a:p>
        </p:txBody>
      </p:sp>
      <p:sp>
        <p:nvSpPr>
          <p:cNvPr id="5" name="Content Placeholder 4"/>
          <p:cNvSpPr>
            <a:spLocks noGrp="1"/>
          </p:cNvSpPr>
          <p:nvPr>
            <p:ph sz="quarter" idx="44" hasCustomPrompt="1"/>
          </p:nvPr>
        </p:nvSpPr>
        <p:spPr>
          <a:xfrm>
            <a:off x="347350"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2707739"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5068128"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7428517"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0" name="Content Placeholder 4"/>
          <p:cNvSpPr>
            <a:spLocks noGrp="1"/>
          </p:cNvSpPr>
          <p:nvPr>
            <p:ph sz="quarter" idx="48" hasCustomPrompt="1"/>
          </p:nvPr>
        </p:nvSpPr>
        <p:spPr>
          <a:xfrm>
            <a:off x="9788906" y="1763713"/>
            <a:ext cx="2066544" cy="4294187"/>
          </a:xfrm>
        </p:spPr>
        <p:txBody>
          <a:bodyPr/>
          <a:lstStyle>
            <a:lvl1pPr>
              <a:defRPr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a:p>
            <a:endParaRPr lang="en-AU"/>
          </a:p>
        </p:txBody>
      </p:sp>
    </p:spTree>
    <p:extLst>
      <p:ext uri="{BB962C8B-B14F-4D97-AF65-F5344CB8AC3E}">
        <p14:creationId xmlns:p14="http://schemas.microsoft.com/office/powerpoint/2010/main" val="1187030475"/>
      </p:ext>
    </p:extLst>
  </p:cSld>
  <p:clrMapOvr>
    <a:masterClrMapping/>
  </p:clrMapOvr>
  <p:transition/>
  <p:timing/>
</p:sldLayout>
</file>

<file path=ppt/slideLayouts/slideLayout8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Columns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42"/>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43"/>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
        <p:nvSpPr>
          <p:cNvPr id="18" name="Text Placeholder 4"/>
          <p:cNvSpPr>
            <a:spLocks noGrp="1"/>
          </p:cNvSpPr>
          <p:nvPr>
            <p:ph type="body" sz="quarter" idx="36" hasCustomPrompt="1"/>
          </p:nvPr>
        </p:nvSpPr>
        <p:spPr>
          <a:xfrm>
            <a:off x="345018" y="1167149"/>
            <a:ext cx="10027707" cy="323165"/>
          </a:xfrm>
        </p:spPr>
        <p:txBody>
          <a:bodyPr wrap="square">
            <a:spAutoFit/>
          </a:bodyPr>
          <a:lstStyle>
            <a:lvl1pPr algn="l">
              <a:lnSpc>
                <a:spcPct val="100000"/>
              </a:lnSpc>
              <a:spcBef>
                <a:spcPct val="0"/>
              </a:spcBef>
              <a:defRPr sz="2100">
                <a:solidFill>
                  <a:schemeClr val="bg1"/>
                </a:solidFill>
                <a:latin typeface="+mn-lt"/>
              </a:defRPr>
            </a:lvl1pPr>
          </a:lstStyle>
          <a:p>
            <a:r>
              <a:rPr lang="en-US"/>
              <a:t>Insert sub-title here at 21pt, min 18pt</a:t>
            </a:r>
          </a:p>
        </p:txBody>
      </p:sp>
      <p:sp>
        <p:nvSpPr>
          <p:cNvPr id="5" name="Content Placeholder 4"/>
          <p:cNvSpPr>
            <a:spLocks noGrp="1"/>
          </p:cNvSpPr>
          <p:nvPr>
            <p:ph sz="quarter" idx="44" hasCustomPrompt="1"/>
          </p:nvPr>
        </p:nvSpPr>
        <p:spPr>
          <a:xfrm>
            <a:off x="347350"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6" name="Content Placeholder 4"/>
          <p:cNvSpPr>
            <a:spLocks noGrp="1"/>
          </p:cNvSpPr>
          <p:nvPr>
            <p:ph sz="quarter" idx="45" hasCustomPrompt="1"/>
          </p:nvPr>
        </p:nvSpPr>
        <p:spPr>
          <a:xfrm>
            <a:off x="2707739"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2" name="Content Placeholder 4"/>
          <p:cNvSpPr>
            <a:spLocks noGrp="1"/>
          </p:cNvSpPr>
          <p:nvPr>
            <p:ph sz="quarter" idx="46" hasCustomPrompt="1"/>
          </p:nvPr>
        </p:nvSpPr>
        <p:spPr>
          <a:xfrm>
            <a:off x="5068128"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23" name="Content Placeholder 4"/>
          <p:cNvSpPr>
            <a:spLocks noGrp="1"/>
          </p:cNvSpPr>
          <p:nvPr>
            <p:ph sz="quarter" idx="47" hasCustomPrompt="1"/>
          </p:nvPr>
        </p:nvSpPr>
        <p:spPr>
          <a:xfrm>
            <a:off x="7428517"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
        <p:nvSpPr>
          <p:cNvPr id="10" name="Content Placeholder 4"/>
          <p:cNvSpPr>
            <a:spLocks noGrp="1"/>
          </p:cNvSpPr>
          <p:nvPr>
            <p:ph sz="quarter" idx="48" hasCustomPrompt="1"/>
          </p:nvPr>
        </p:nvSpPr>
        <p:spPr>
          <a:xfrm>
            <a:off x="9788906" y="1763713"/>
            <a:ext cx="2066544" cy="4294187"/>
          </a:xfrm>
        </p:spPr>
        <p:txBody>
          <a:bodyPr/>
          <a:lstStyle>
            <a:lvl1pPr>
              <a:defRPr sz="1600" b="0">
                <a:solidFill>
                  <a:schemeClr val="bg1"/>
                </a:solidFill>
              </a:defRPr>
            </a:lvl1pPr>
          </a:lstStyle>
          <a:p>
            <a:r>
              <a:rPr lang="en-AU"/>
              <a:t>Insert text maximum lines to the bottom of this text box, minimum 14pt font size with single line spacing</a:t>
            </a:r>
          </a:p>
          <a:p>
            <a:r>
              <a:rPr lang="en-AU" err="1"/>
              <a:t>Sequisit as quatem quam, expliamet porepud aestibuste cuptat ellaborit ut ut as dolo duci unto.</a:t>
            </a:r>
          </a:p>
        </p:txBody>
      </p:sp>
    </p:spTree>
    <p:extLst>
      <p:ext uri="{BB962C8B-B14F-4D97-AF65-F5344CB8AC3E}">
        <p14:creationId xmlns:p14="http://schemas.microsoft.com/office/powerpoint/2010/main" val="2530030436"/>
      </p:ext>
    </p:extLst>
  </p:cSld>
  <p:clrMapOvr>
    <a:masterClrMapping/>
  </p:clrMapOvr>
  <p:transition/>
  <p:timing/>
</p:sldLayout>
</file>

<file path=ppt/slideLayouts/slideLayout8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Left_Chart_White">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6" name="Chart Placeholder 5"/>
          <p:cNvSpPr>
            <a:spLocks noGrp="1"/>
          </p:cNvSpPr>
          <p:nvPr>
            <p:ph type="chart" sz="quarter" idx="33"/>
          </p:nvPr>
        </p:nvSpPr>
        <p:spPr>
          <a:xfrm>
            <a:off x="4800600" y="1763713"/>
            <a:ext cx="7054850" cy="4294187"/>
          </a:xfrm>
        </p:spPr>
        <p:txBody>
          <a:bodyPr/>
          <a:lstStyle/>
          <a:p>
            <a:endParaRPr lang="en-US"/>
          </a:p>
        </p:txBody>
      </p:sp>
      <p:sp>
        <p:nvSpPr>
          <p:cNvPr id="13" name="Text Placeholder 12"/>
          <p:cNvSpPr>
            <a:spLocks noGrp="1"/>
          </p:cNvSpPr>
          <p:nvPr>
            <p:ph type="body" sz="quarter" idx="35" hasCustomPrompt="1"/>
          </p:nvPr>
        </p:nvSpPr>
        <p:spPr>
          <a:xfrm>
            <a:off x="334963" y="3222702"/>
            <a:ext cx="4113212" cy="2835198"/>
          </a:xfrm>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2200" b="0" i="0" baseline="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sz="2200">
                <a:latin typeface="+mn-lt"/>
                <a:cs typeface="Gotham Light" pitchFamily="2" charset="0"/>
              </a:rPr>
              <a:t>Insert text at 22pt, min 18pt. Maximum lines to the bottom of this text box. </a:t>
            </a:r>
          </a:p>
          <a:p>
            <a:pPr lvl="0"/>
            <a:endParaRPr lang="en-US"/>
          </a:p>
        </p:txBody>
      </p:sp>
      <p:sp>
        <p:nvSpPr>
          <p:cNvPr id="15" name="Title 14"/>
          <p:cNvSpPr>
            <a:spLocks noGrp="1"/>
          </p:cNvSpPr>
          <p:nvPr>
            <p:ph type="title" hasCustomPrompt="1"/>
          </p:nvPr>
        </p:nvSpPr>
        <p:spPr>
          <a:xfrm>
            <a:off x="345018" y="1763713"/>
            <a:ext cx="4103157" cy="1168672"/>
          </a:xfrm>
        </p:spPr>
        <p:txBody>
          <a:bodyPr/>
          <a:lstStyle>
            <a:lvl1pPr>
              <a:defRPr/>
            </a:lvl1pPr>
          </a:lstStyle>
          <a:p>
            <a:r>
              <a:rPr lang="en-US"/>
              <a:t>Main title at 32pt min 30pt max 3 lines</a:t>
            </a:r>
          </a:p>
        </p:txBody>
      </p:sp>
    </p:spTree>
    <p:extLst>
      <p:ext uri="{BB962C8B-B14F-4D97-AF65-F5344CB8AC3E}">
        <p14:creationId xmlns:p14="http://schemas.microsoft.com/office/powerpoint/2010/main" val="564349968"/>
      </p:ext>
    </p:extLst>
  </p:cSld>
  <p:clrMapOvr>
    <a:masterClrMapping/>
  </p:clrMapOvr>
  <p:transition/>
  <p:timing/>
</p:sldLayout>
</file>

<file path=ppt/slideLayouts/slideLayout8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Title_Left_Chart_White">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13" name="Text Placeholder 12"/>
          <p:cNvSpPr>
            <a:spLocks noGrp="1"/>
          </p:cNvSpPr>
          <p:nvPr>
            <p:ph type="body" sz="quarter" idx="35" hasCustomPrompt="1"/>
          </p:nvPr>
        </p:nvSpPr>
        <p:spPr>
          <a:xfrm>
            <a:off x="334963" y="3222702"/>
            <a:ext cx="4113212" cy="2835198"/>
          </a:xfrm>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2200" b="0" i="0" baseline="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sz="2200">
                <a:latin typeface="+mn-lt"/>
                <a:cs typeface="Gotham Light" pitchFamily="2" charset="0"/>
              </a:rPr>
              <a:t>Insert text at 22pt, min 18pt. Maximum lines to the bottom of this text box. </a:t>
            </a:r>
          </a:p>
          <a:p>
            <a:pPr lvl="0"/>
            <a:endParaRPr lang="en-US"/>
          </a:p>
        </p:txBody>
      </p:sp>
      <p:sp>
        <p:nvSpPr>
          <p:cNvPr id="15" name="Title 14"/>
          <p:cNvSpPr>
            <a:spLocks noGrp="1"/>
          </p:cNvSpPr>
          <p:nvPr>
            <p:ph type="title" hasCustomPrompt="1"/>
          </p:nvPr>
        </p:nvSpPr>
        <p:spPr>
          <a:xfrm>
            <a:off x="345018" y="1763713"/>
            <a:ext cx="4103157" cy="1168672"/>
          </a:xfrm>
        </p:spPr>
        <p:txBody>
          <a:bodyPr/>
          <a:lstStyle>
            <a:lvl1pPr>
              <a:defRPr/>
            </a:lvl1pPr>
          </a:lstStyle>
          <a:p>
            <a:r>
              <a:rPr lang="en-US"/>
              <a:t>Main title at 32pt min 30pt max 3 lines</a:t>
            </a:r>
          </a:p>
        </p:txBody>
      </p:sp>
    </p:spTree>
    <p:extLst>
      <p:ext uri="{BB962C8B-B14F-4D97-AF65-F5344CB8AC3E}">
        <p14:creationId xmlns:p14="http://schemas.microsoft.com/office/powerpoint/2010/main" val="4277843000"/>
      </p:ext>
    </p:extLst>
  </p:cSld>
  <p:clrMapOvr>
    <a:masterClrMapping/>
  </p:clrMapOvr>
  <p:transition/>
  <p:timing/>
</p:sldLayout>
</file>

<file path=ppt/slideLayouts/slideLayout8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Left_Graphs_White (2)">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13" name="Text Placeholder 12"/>
          <p:cNvSpPr>
            <a:spLocks noGrp="1"/>
          </p:cNvSpPr>
          <p:nvPr>
            <p:ph type="body" sz="quarter" idx="35" hasCustomPrompt="1"/>
          </p:nvPr>
        </p:nvSpPr>
        <p:spPr>
          <a:xfrm>
            <a:off x="334963" y="3222702"/>
            <a:ext cx="4113212" cy="2835198"/>
          </a:xfrm>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2200" b="0" i="0" baseline="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sz="2200">
                <a:latin typeface="+mn-lt"/>
                <a:cs typeface="Gotham Light" pitchFamily="2" charset="0"/>
              </a:rPr>
              <a:t>Insert text at 22pt, min 18pt. Maximum lines to the bottom of this text box. </a:t>
            </a:r>
          </a:p>
          <a:p>
            <a:pPr lvl="0"/>
            <a:endParaRPr lang="en-US"/>
          </a:p>
        </p:txBody>
      </p:sp>
      <p:sp>
        <p:nvSpPr>
          <p:cNvPr id="15" name="Title 14"/>
          <p:cNvSpPr>
            <a:spLocks noGrp="1"/>
          </p:cNvSpPr>
          <p:nvPr>
            <p:ph type="title" hasCustomPrompt="1"/>
          </p:nvPr>
        </p:nvSpPr>
        <p:spPr>
          <a:xfrm>
            <a:off x="345018" y="1763713"/>
            <a:ext cx="4103157" cy="1168672"/>
          </a:xfrm>
        </p:spPr>
        <p:txBody>
          <a:bodyPr/>
          <a:lstStyle>
            <a:lvl1pPr>
              <a:defRPr/>
            </a:lvl1pPr>
          </a:lstStyle>
          <a:p>
            <a:r>
              <a:rPr lang="en-US"/>
              <a:t>Main title at 32pt min 30pt max 3 lines</a:t>
            </a:r>
          </a:p>
        </p:txBody>
      </p:sp>
    </p:spTree>
    <p:extLst>
      <p:ext uri="{BB962C8B-B14F-4D97-AF65-F5344CB8AC3E}">
        <p14:creationId xmlns:p14="http://schemas.microsoft.com/office/powerpoint/2010/main" val="2184747016"/>
      </p:ext>
    </p:extLst>
  </p:cSld>
  <p:clrMapOvr>
    <a:masterClrMapping/>
  </p:clrMapOvr>
  <p:transition/>
  <p:timing/>
</p:sldLayout>
</file>

<file path=ppt/slideLayouts/slideLayout8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_Left_Graphs_Blue3">
    <p:bg>
      <p:bgPr>
        <a:solidFill>
          <a:schemeClr val="accent4"/>
        </a:solidFill>
        <a:effectLst/>
      </p:bgPr>
    </p:bg>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3" name="Text Placeholder 12"/>
          <p:cNvSpPr>
            <a:spLocks noGrp="1"/>
          </p:cNvSpPr>
          <p:nvPr>
            <p:ph type="body" sz="quarter" idx="35" hasCustomPrompt="1"/>
          </p:nvPr>
        </p:nvSpPr>
        <p:spPr>
          <a:xfrm>
            <a:off x="334963" y="3222702"/>
            <a:ext cx="4113212" cy="2835198"/>
          </a:xfrm>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2200" b="0" i="0" baseline="0">
                <a:solidFill>
                  <a:schemeClr val="bg1"/>
                </a:solidFill>
              </a:defRPr>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sz="2200">
                <a:latin typeface="+mn-lt"/>
                <a:cs typeface="Gotham Light" pitchFamily="2" charset="0"/>
              </a:rPr>
              <a:t>Insert text at 22pt, min 18pt. Maximum lines to the bottom of this text box. </a:t>
            </a:r>
          </a:p>
          <a:p>
            <a:pPr lvl="0"/>
            <a:endParaRPr lang="en-US"/>
          </a:p>
        </p:txBody>
      </p:sp>
      <p:sp>
        <p:nvSpPr>
          <p:cNvPr id="2" name="Title 1"/>
          <p:cNvSpPr>
            <a:spLocks noGrp="1"/>
          </p:cNvSpPr>
          <p:nvPr>
            <p:ph type="title" hasCustomPrompt="1"/>
          </p:nvPr>
        </p:nvSpPr>
        <p:spPr>
          <a:xfrm>
            <a:off x="345018" y="1627078"/>
            <a:ext cx="4103157" cy="1315818"/>
          </a:xfrm>
        </p:spPr>
        <p:txBody>
          <a:bodyPr/>
          <a:lstStyle>
            <a:lvl1pPr>
              <a:defRPr>
                <a:solidFill>
                  <a:schemeClr val="bg1"/>
                </a:solidFill>
              </a:defRPr>
            </a:lvl1pPr>
          </a:lstStyle>
          <a:p>
            <a:r>
              <a:rPr lang="en-US"/>
              <a:t>Main title at 32pt min 30pt max 3 lines </a:t>
            </a:r>
          </a:p>
        </p:txBody>
      </p:sp>
    </p:spTree>
    <p:extLst>
      <p:ext uri="{BB962C8B-B14F-4D97-AF65-F5344CB8AC3E}">
        <p14:creationId xmlns:p14="http://schemas.microsoft.com/office/powerpoint/2010/main" val="2116173853"/>
      </p:ext>
    </p:extLst>
  </p:cSld>
  <p:clrMapOvr>
    <a:masterClrMapping/>
  </p:clrMapOvr>
  <p:transition/>
  <p:timing/>
</p:sldLayout>
</file>

<file path=ppt/slideLayouts/slideLayout8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Image_Gallery_White">
    <p:spTree>
      <p:nvGrpSpPr>
        <p:cNvPr id="1" name=""/>
        <p:cNvGrpSpPr/>
        <p:nvPr/>
      </p:nvGrpSpPr>
      <p:grpSpPr>
        <a:xfrm>
          <a:off x="0" y="0"/>
          <a:ext cx="0" cy="0"/>
        </a:xfrm>
      </p:grpSpPr>
      <p:sp>
        <p:nvSpPr>
          <p:cNvPr id="4" name="Footer Placeholder 3"/>
          <p:cNvSpPr>
            <a:spLocks noGrp="1"/>
          </p:cNvSpPr>
          <p:nvPr>
            <p:ph type="ftr" sz="quarter" idx="31"/>
          </p:nvPr>
        </p:nvSpPr>
        <p:spPr/>
        <p:txBody>
          <a:bodyPr/>
          <a:lstStyle/>
          <a:p>
            <a:r>
              <a:rPr lang="en-US"/>
              <a:t>Copyright © 2017 Accenture. All rights reserved.</a:t>
            </a:r>
            <a:endParaRPr lang="en-AU"/>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13" name="Text Placeholder 12"/>
          <p:cNvSpPr>
            <a:spLocks noGrp="1"/>
          </p:cNvSpPr>
          <p:nvPr>
            <p:ph type="body" sz="quarter" idx="35" hasCustomPrompt="1"/>
          </p:nvPr>
        </p:nvSpPr>
        <p:spPr>
          <a:xfrm>
            <a:off x="334963" y="3222702"/>
            <a:ext cx="4113212" cy="2835198"/>
          </a:xfrm>
        </p:spPr>
        <p:txBody>
          <a:bodyPr/>
          <a:lstStyle>
            <a:lvl1pPr marL="0" marR="0" indent="0" algn="l" defTabSz="1734634" rtl="0" eaLnBrk="1" fontAlgn="auto" latinLnBrk="0" hangingPunct="1">
              <a:lnSpc>
                <a:spcPct val="100000"/>
              </a:lnSpc>
              <a:spcBef>
                <a:spcPts val="800"/>
              </a:spcBef>
              <a:spcAft>
                <a:spcPct val="0"/>
              </a:spcAft>
              <a:buClrTx/>
              <a:buSzTx/>
              <a:buFont typeface="Arial"/>
              <a:buNone/>
              <a:defRPr sz="2200" b="0" i="0" baseline="0"/>
            </a:lvl1pPr>
          </a:lstStyle>
          <a:p>
            <a:pPr marL="0" marR="0" lvl="0" indent="0" algn="l" defTabSz="1734634" rtl="0" eaLnBrk="1" fontAlgn="auto" latinLnBrk="0" hangingPunct="1">
              <a:lnSpc>
                <a:spcPct val="100000"/>
              </a:lnSpc>
              <a:spcBef>
                <a:spcPts val="800"/>
              </a:spcBef>
              <a:spcAft>
                <a:spcPct val="0"/>
              </a:spcAft>
              <a:buClrTx/>
              <a:buSzTx/>
              <a:buFont typeface="Arial"/>
              <a:buNone/>
              <a:defRPr/>
            </a:pPr>
            <a:r>
              <a:rPr lang="en-US" sz="2200">
                <a:latin typeface="+mn-lt"/>
                <a:cs typeface="Gotham Light" pitchFamily="2" charset="0"/>
              </a:rPr>
              <a:t>Insert text at 22pt, min 18pt. Maximum lines to the bottom of this text box. </a:t>
            </a:r>
          </a:p>
          <a:p>
            <a:pPr lvl="0"/>
            <a:endParaRPr lang="en-US"/>
          </a:p>
        </p:txBody>
      </p:sp>
      <p:sp>
        <p:nvSpPr>
          <p:cNvPr id="15" name="Title 14"/>
          <p:cNvSpPr>
            <a:spLocks noGrp="1"/>
          </p:cNvSpPr>
          <p:nvPr>
            <p:ph type="title" hasCustomPrompt="1"/>
          </p:nvPr>
        </p:nvSpPr>
        <p:spPr>
          <a:xfrm>
            <a:off x="345018" y="1763713"/>
            <a:ext cx="4103157" cy="1168672"/>
          </a:xfrm>
        </p:spPr>
        <p:txBody>
          <a:bodyPr/>
          <a:lstStyle>
            <a:lvl1pPr>
              <a:defRPr/>
            </a:lvl1pPr>
          </a:lstStyle>
          <a:p>
            <a:r>
              <a:rPr lang="en-US"/>
              <a:t>Main title at 32pt min 30pt max 3 lines</a:t>
            </a:r>
          </a:p>
        </p:txBody>
      </p:sp>
      <p:sp>
        <p:nvSpPr>
          <p:cNvPr id="7" name="Picture Placeholder 13"/>
          <p:cNvSpPr>
            <a:spLocks noGrp="1"/>
          </p:cNvSpPr>
          <p:nvPr>
            <p:ph type="pic" sz="quarter" idx="12" hasCustomPrompt="1"/>
          </p:nvPr>
        </p:nvSpPr>
        <p:spPr>
          <a:xfrm>
            <a:off x="6067514" y="0"/>
            <a:ext cx="2828836" cy="2932385"/>
          </a:xfrm>
          <a:solidFill>
            <a:schemeClr val="tx2">
              <a:lumMod val="20000"/>
              <a:lumOff val="80000"/>
            </a:schemeClr>
          </a:solidFill>
        </p:spPr>
        <p:txBody>
          <a:bodyPr anchor="ctr" anchorCtr="0"/>
          <a:lstStyle>
            <a:lvl1pPr algn="ctr">
              <a:defRPr sz="1000" cap="all" baseline="0"/>
            </a:lvl1pPr>
          </a:lstStyle>
          <a:p>
            <a:r>
              <a:rPr lang="en-US"/>
              <a:t>Click on the icon to Insert image in placeholder and USE THE CROP TOOL TO CENTER THE IMAGE</a:t>
            </a:r>
          </a:p>
        </p:txBody>
      </p:sp>
      <p:sp>
        <p:nvSpPr>
          <p:cNvPr id="8" name="Picture Placeholder 13"/>
          <p:cNvSpPr>
            <a:spLocks noGrp="1"/>
          </p:cNvSpPr>
          <p:nvPr>
            <p:ph type="pic" sz="quarter" idx="36" hasCustomPrompt="1"/>
          </p:nvPr>
        </p:nvSpPr>
        <p:spPr>
          <a:xfrm>
            <a:off x="4800600" y="3125515"/>
            <a:ext cx="4095750" cy="2932385"/>
          </a:xfrm>
          <a:solidFill>
            <a:schemeClr val="tx2">
              <a:lumMod val="20000"/>
              <a:lumOff val="80000"/>
            </a:schemeClr>
          </a:solidFill>
        </p:spPr>
        <p:txBody>
          <a:bodyPr anchor="ctr" anchorCtr="0"/>
          <a:lstStyle>
            <a:lvl1pPr algn="ctr">
              <a:defRPr sz="1000" cap="all" baseline="0"/>
            </a:lvl1pPr>
          </a:lstStyle>
          <a:p>
            <a:r>
              <a:rPr lang="en-US"/>
              <a:t>Click on the icon to Insert image in placeholder and USE THE CROP TOOL TO CENTER THE IMAGE</a:t>
            </a:r>
          </a:p>
        </p:txBody>
      </p:sp>
      <p:sp>
        <p:nvSpPr>
          <p:cNvPr id="10" name="Picture Placeholder 13"/>
          <p:cNvSpPr>
            <a:spLocks noGrp="1"/>
          </p:cNvSpPr>
          <p:nvPr>
            <p:ph type="pic" sz="quarter" idx="37" hasCustomPrompt="1"/>
          </p:nvPr>
        </p:nvSpPr>
        <p:spPr>
          <a:xfrm>
            <a:off x="9082043" y="1773196"/>
            <a:ext cx="3109957" cy="4294187"/>
          </a:xfrm>
          <a:solidFill>
            <a:schemeClr val="tx2">
              <a:lumMod val="20000"/>
              <a:lumOff val="80000"/>
            </a:schemeClr>
          </a:solidFill>
        </p:spPr>
        <p:txBody>
          <a:bodyPr anchor="ctr" anchorCtr="0"/>
          <a:lstStyle>
            <a:lvl1pPr algn="ctr">
              <a:defRPr sz="1000" cap="all" baseline="0"/>
            </a:lvl1pPr>
          </a:lstStyle>
          <a:p>
            <a:r>
              <a:rPr lang="en-US"/>
              <a:t>Click on the icon to Insert image in placeholder and USE THE CROP TOOL TO CENTER THE IMAGE</a:t>
            </a:r>
          </a:p>
        </p:txBody>
      </p:sp>
    </p:spTree>
    <p:extLst>
      <p:ext uri="{BB962C8B-B14F-4D97-AF65-F5344CB8AC3E}">
        <p14:creationId xmlns:p14="http://schemas.microsoft.com/office/powerpoint/2010/main" val="3437784257"/>
      </p:ext>
    </p:extLst>
  </p:cSld>
  <p:clrMapOvr>
    <a:masterClrMapping/>
  </p:clrMapOvr>
  <p:transition/>
  <p:timing/>
</p:sldLayout>
</file>

<file path=ppt/slideLayouts/slideLayout8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MERICA">
    <p:spTree>
      <p:nvGrpSpPr>
        <p:cNvPr id="1" name=""/>
        <p:cNvGrpSpPr/>
        <p:nvPr/>
      </p:nvGrpSpPr>
      <p:grpSpPr>
        <a:xfrm>
          <a:off x="0" y="0"/>
          <a:ext cx="0" cy="0"/>
        </a:xfrm>
      </p:grpSpPr>
      <p:grpSp>
        <p:nvGrpSpPr>
          <p:cNvPr id="5" name="Group 4"/>
          <p:cNvGrpSpPr>
            <a:grpSpLocks noChangeAspect="1"/>
          </p:cNvGrpSpPr>
          <p:nvPr userDrawn="1"/>
        </p:nvGrpSpPr>
        <p:grpSpPr>
          <a:xfrm>
            <a:off x="3995134" y="1"/>
            <a:ext cx="8197147" cy="6858000"/>
            <a:chOff x="1289041" y="599309"/>
            <a:chExt cx="9699958" cy="8115301"/>
          </a:xfrm>
          <a:gradFill>
            <a:gsLst>
              <a:gs pos="100000">
                <a:schemeClr val="accent4"/>
              </a:gs>
              <a:gs pos="0">
                <a:schemeClr val="accent1"/>
              </a:gs>
            </a:gsLst>
            <a:lin ang="1200000" scaled="0"/>
          </a:gradFill>
        </p:grpSpPr>
        <p:grpSp>
          <p:nvGrpSpPr>
            <p:cNvPr id="6" name="Group 209"/>
            <p:cNvGrpSpPr/>
            <p:nvPr/>
          </p:nvGrpSpPr>
          <p:grpSpPr>
            <a:xfrm>
              <a:off x="1289041" y="1831209"/>
              <a:ext cx="9677400" cy="6662738"/>
              <a:chOff x="786" y="381"/>
              <a:chExt cx="6096" cy="4197"/>
            </a:xfrm>
            <a:grpFill/>
          </p:grpSpPr>
          <p:sp>
            <p:nvSpPr>
              <p:cNvPr id="176" name="Rectangle 9"/>
              <p:cNvSpPr>
                <a:spLocks noChangeArrowheads="1"/>
              </p:cNvSpPr>
              <p:nvPr/>
            </p:nvSpPr>
            <p:spPr bwMode="auto">
              <a:xfrm>
                <a:off x="6187" y="239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0"/>
              <p:cNvSpPr/>
              <p:nvPr/>
            </p:nvSpPr>
            <p:spPr bwMode="auto">
              <a:xfrm flipH="1">
                <a:off x="6187" y="239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Rectangle 11"/>
              <p:cNvSpPr>
                <a:spLocks noChangeArrowheads="1"/>
              </p:cNvSpPr>
              <p:nvPr/>
            </p:nvSpPr>
            <p:spPr bwMode="auto">
              <a:xfrm>
                <a:off x="4671" y="3516"/>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2"/>
              <p:cNvSpPr/>
              <p:nvPr/>
            </p:nvSpPr>
            <p:spPr bwMode="auto">
              <a:xfrm flipH="1">
                <a:off x="4671" y="3516"/>
                <a:ext cx="0" cy="2"/>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3"/>
              <p:cNvSpPr>
                <a:spLocks noEditPoints="1"/>
              </p:cNvSpPr>
              <p:nvPr/>
            </p:nvSpPr>
            <p:spPr bwMode="auto">
              <a:xfrm>
                <a:off x="3160" y="2035"/>
                <a:ext cx="3169" cy="1537"/>
              </a:xfrm>
              <a:custGeom>
                <a:gdLst>
                  <a:gd name="T0" fmla="*/ 1179 w 1340"/>
                  <a:gd name="T1" fmla="*/ 236 h 650"/>
                  <a:gd name="T2" fmla="*/ 1178 w 1340"/>
                  <a:gd name="T3" fmla="*/ 232 h 650"/>
                  <a:gd name="T4" fmla="*/ 475 w 1340"/>
                  <a:gd name="T5" fmla="*/ 11 h 650"/>
                  <a:gd name="T6" fmla="*/ 56 w 1340"/>
                  <a:gd name="T7" fmla="*/ 39 h 650"/>
                  <a:gd name="T8" fmla="*/ 49 w 1340"/>
                  <a:gd name="T9" fmla="*/ 55 h 650"/>
                  <a:gd name="T10" fmla="*/ 47 w 1340"/>
                  <a:gd name="T11" fmla="*/ 42 h 650"/>
                  <a:gd name="T12" fmla="*/ 18 w 1340"/>
                  <a:gd name="T13" fmla="*/ 74 h 650"/>
                  <a:gd name="T14" fmla="*/ 13 w 1340"/>
                  <a:gd name="T15" fmla="*/ 162 h 650"/>
                  <a:gd name="T16" fmla="*/ 23 w 1340"/>
                  <a:gd name="T17" fmla="*/ 277 h 650"/>
                  <a:gd name="T18" fmla="*/ 63 w 1340"/>
                  <a:gd name="T19" fmla="*/ 315 h 650"/>
                  <a:gd name="T20" fmla="*/ 55 w 1340"/>
                  <a:gd name="T21" fmla="*/ 325 h 650"/>
                  <a:gd name="T22" fmla="*/ 95 w 1340"/>
                  <a:gd name="T23" fmla="*/ 400 h 650"/>
                  <a:gd name="T24" fmla="*/ 146 w 1340"/>
                  <a:gd name="T25" fmla="*/ 431 h 650"/>
                  <a:gd name="T26" fmla="*/ 235 w 1340"/>
                  <a:gd name="T27" fmla="*/ 461 h 650"/>
                  <a:gd name="T28" fmla="*/ 485 w 1340"/>
                  <a:gd name="T29" fmla="*/ 544 h 650"/>
                  <a:gd name="T30" fmla="*/ 588 w 1340"/>
                  <a:gd name="T31" fmla="*/ 595 h 650"/>
                  <a:gd name="T32" fmla="*/ 631 w 1340"/>
                  <a:gd name="T33" fmla="*/ 596 h 650"/>
                  <a:gd name="T34" fmla="*/ 650 w 1340"/>
                  <a:gd name="T35" fmla="*/ 569 h 650"/>
                  <a:gd name="T36" fmla="*/ 686 w 1340"/>
                  <a:gd name="T37" fmla="*/ 548 h 650"/>
                  <a:gd name="T38" fmla="*/ 695 w 1340"/>
                  <a:gd name="T39" fmla="*/ 544 h 650"/>
                  <a:gd name="T40" fmla="*/ 756 w 1340"/>
                  <a:gd name="T41" fmla="*/ 535 h 650"/>
                  <a:gd name="T42" fmla="*/ 809 w 1340"/>
                  <a:gd name="T43" fmla="*/ 542 h 650"/>
                  <a:gd name="T44" fmla="*/ 817 w 1340"/>
                  <a:gd name="T45" fmla="*/ 536 h 650"/>
                  <a:gd name="T46" fmla="*/ 831 w 1340"/>
                  <a:gd name="T47" fmla="*/ 517 h 650"/>
                  <a:gd name="T48" fmla="*/ 865 w 1340"/>
                  <a:gd name="T49" fmla="*/ 517 h 650"/>
                  <a:gd name="T50" fmla="*/ 912 w 1340"/>
                  <a:gd name="T51" fmla="*/ 527 h 650"/>
                  <a:gd name="T52" fmla="*/ 975 w 1340"/>
                  <a:gd name="T53" fmla="*/ 568 h 650"/>
                  <a:gd name="T54" fmla="*/ 990 w 1340"/>
                  <a:gd name="T55" fmla="*/ 607 h 650"/>
                  <a:gd name="T56" fmla="*/ 1028 w 1340"/>
                  <a:gd name="T57" fmla="*/ 646 h 650"/>
                  <a:gd name="T58" fmla="*/ 1010 w 1340"/>
                  <a:gd name="T59" fmla="*/ 489 h 650"/>
                  <a:gd name="T60" fmla="*/ 1025 w 1340"/>
                  <a:gd name="T61" fmla="*/ 463 h 650"/>
                  <a:gd name="T62" fmla="*/ 1086 w 1340"/>
                  <a:gd name="T63" fmla="*/ 427 h 650"/>
                  <a:gd name="T64" fmla="*/ 1115 w 1340"/>
                  <a:gd name="T65" fmla="*/ 399 h 650"/>
                  <a:gd name="T66" fmla="*/ 1130 w 1340"/>
                  <a:gd name="T67" fmla="*/ 374 h 650"/>
                  <a:gd name="T68" fmla="*/ 1127 w 1340"/>
                  <a:gd name="T69" fmla="*/ 368 h 650"/>
                  <a:gd name="T70" fmla="*/ 1118 w 1340"/>
                  <a:gd name="T71" fmla="*/ 344 h 650"/>
                  <a:gd name="T72" fmla="*/ 1108 w 1340"/>
                  <a:gd name="T73" fmla="*/ 313 h 650"/>
                  <a:gd name="T74" fmla="*/ 1111 w 1340"/>
                  <a:gd name="T75" fmla="*/ 309 h 650"/>
                  <a:gd name="T76" fmla="*/ 1125 w 1340"/>
                  <a:gd name="T77" fmla="*/ 279 h 650"/>
                  <a:gd name="T78" fmla="*/ 1126 w 1340"/>
                  <a:gd name="T79" fmla="*/ 302 h 650"/>
                  <a:gd name="T80" fmla="*/ 1134 w 1340"/>
                  <a:gd name="T81" fmla="*/ 336 h 650"/>
                  <a:gd name="T82" fmla="*/ 1163 w 1340"/>
                  <a:gd name="T83" fmla="*/ 285 h 650"/>
                  <a:gd name="T84" fmla="*/ 1204 w 1340"/>
                  <a:gd name="T85" fmla="*/ 229 h 650"/>
                  <a:gd name="T86" fmla="*/ 1266 w 1340"/>
                  <a:gd name="T87" fmla="*/ 208 h 650"/>
                  <a:gd name="T88" fmla="*/ 1275 w 1340"/>
                  <a:gd name="T89" fmla="*/ 151 h 650"/>
                  <a:gd name="T90" fmla="*/ 1280 w 1340"/>
                  <a:gd name="T91" fmla="*/ 153 h 650"/>
                  <a:gd name="T92" fmla="*/ 1322 w 1340"/>
                  <a:gd name="T93" fmla="*/ 136 h 650"/>
                  <a:gd name="T94" fmla="*/ 1320 w 1340"/>
                  <a:gd name="T95" fmla="*/ 106 h 650"/>
                  <a:gd name="T96" fmla="*/ 1250 w 1340"/>
                  <a:gd name="T97" fmla="*/ 120 h 650"/>
                  <a:gd name="T98" fmla="*/ 1126 w 1340"/>
                  <a:gd name="T99" fmla="*/ 151 h 650"/>
                  <a:gd name="T100" fmla="*/ 1063 w 1340"/>
                  <a:gd name="T101" fmla="*/ 180 h 650"/>
                  <a:gd name="T102" fmla="*/ 972 w 1340"/>
                  <a:gd name="T103" fmla="*/ 222 h 650"/>
                  <a:gd name="T104" fmla="*/ 946 w 1340"/>
                  <a:gd name="T105" fmla="*/ 158 h 650"/>
                  <a:gd name="T106" fmla="*/ 914 w 1340"/>
                  <a:gd name="T107" fmla="*/ 116 h 650"/>
                  <a:gd name="T108" fmla="*/ 894 w 1340"/>
                  <a:gd name="T109" fmla="*/ 132 h 650"/>
                  <a:gd name="T110" fmla="*/ 872 w 1340"/>
                  <a:gd name="T111" fmla="*/ 125 h 650"/>
                  <a:gd name="T112" fmla="*/ 870 w 1340"/>
                  <a:gd name="T113" fmla="*/ 107 h 650"/>
                  <a:gd name="T114" fmla="*/ 937 w 1340"/>
                  <a:gd name="T115" fmla="*/ 96 h 650"/>
                  <a:gd name="T116" fmla="*/ 894 w 1340"/>
                  <a:gd name="T117" fmla="*/ 77 h 650"/>
                  <a:gd name="T118" fmla="*/ 788 w 1340"/>
                  <a:gd name="T119" fmla="*/ 70 h 650"/>
                  <a:gd name="T120" fmla="*/ 751 w 1340"/>
                  <a:gd name="T121" fmla="*/ 33 h 6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0" h="650">
                    <a:moveTo>
                      <a:pt x="631" y="596"/>
                    </a:moveTo>
                    <a:cubicBezTo>
                      <a:pt x="631" y="596"/>
                      <a:pt x="631" y="596"/>
                      <a:pt x="631" y="596"/>
                    </a:cubicBezTo>
                    <a:cubicBezTo>
                      <a:pt x="631" y="596"/>
                      <a:pt x="631" y="596"/>
                      <a:pt x="631" y="596"/>
                    </a:cubicBezTo>
                    <a:moveTo>
                      <a:pt x="41" y="318"/>
                    </a:moveTo>
                    <a:cubicBezTo>
                      <a:pt x="40" y="318"/>
                      <a:pt x="40" y="318"/>
                      <a:pt x="40" y="319"/>
                    </a:cubicBezTo>
                    <a:cubicBezTo>
                      <a:pt x="40" y="318"/>
                      <a:pt x="40" y="318"/>
                      <a:pt x="41" y="318"/>
                    </a:cubicBezTo>
                    <a:moveTo>
                      <a:pt x="49" y="25"/>
                    </a:moveTo>
                    <a:cubicBezTo>
                      <a:pt x="49" y="25"/>
                      <a:pt x="49" y="25"/>
                      <a:pt x="49" y="25"/>
                    </a:cubicBezTo>
                    <a:cubicBezTo>
                      <a:pt x="49" y="25"/>
                      <a:pt x="49" y="25"/>
                      <a:pt x="49" y="25"/>
                    </a:cubicBezTo>
                    <a:moveTo>
                      <a:pt x="1038" y="458"/>
                    </a:moveTo>
                    <a:cubicBezTo>
                      <a:pt x="1038" y="458"/>
                      <a:pt x="1038" y="458"/>
                      <a:pt x="1038" y="458"/>
                    </a:cubicBezTo>
                    <a:cubicBezTo>
                      <a:pt x="1038" y="458"/>
                      <a:pt x="1038" y="458"/>
                      <a:pt x="1038" y="458"/>
                    </a:cubicBezTo>
                    <a:cubicBezTo>
                      <a:pt x="1038" y="459"/>
                      <a:pt x="1038" y="459"/>
                      <a:pt x="1037" y="459"/>
                    </a:cubicBezTo>
                    <a:cubicBezTo>
                      <a:pt x="1038" y="459"/>
                      <a:pt x="1038" y="459"/>
                      <a:pt x="1038" y="458"/>
                    </a:cubicBezTo>
                    <a:moveTo>
                      <a:pt x="1038" y="457"/>
                    </a:moveTo>
                    <a:cubicBezTo>
                      <a:pt x="1038" y="456"/>
                      <a:pt x="1037" y="456"/>
                      <a:pt x="1037" y="455"/>
                    </a:cubicBezTo>
                    <a:cubicBezTo>
                      <a:pt x="1037" y="456"/>
                      <a:pt x="1038" y="456"/>
                      <a:pt x="1038" y="457"/>
                    </a:cubicBezTo>
                    <a:moveTo>
                      <a:pt x="1106" y="395"/>
                    </a:moveTo>
                    <a:cubicBezTo>
                      <a:pt x="1106" y="395"/>
                      <a:pt x="1106" y="395"/>
                      <a:pt x="1106" y="395"/>
                    </a:cubicBezTo>
                    <a:cubicBezTo>
                      <a:pt x="1106" y="395"/>
                      <a:pt x="1106" y="395"/>
                      <a:pt x="1106" y="395"/>
                    </a:cubicBezTo>
                    <a:cubicBezTo>
                      <a:pt x="1106" y="395"/>
                      <a:pt x="1106" y="395"/>
                      <a:pt x="1106" y="395"/>
                    </a:cubicBezTo>
                    <a:moveTo>
                      <a:pt x="1179" y="236"/>
                    </a:moveTo>
                    <a:cubicBezTo>
                      <a:pt x="1179" y="236"/>
                      <a:pt x="1179" y="236"/>
                      <a:pt x="1179" y="236"/>
                    </a:cubicBezTo>
                    <a:cubicBezTo>
                      <a:pt x="1179" y="236"/>
                      <a:pt x="1179" y="236"/>
                      <a:pt x="1179" y="236"/>
                    </a:cubicBezTo>
                    <a:cubicBezTo>
                      <a:pt x="1179" y="237"/>
                      <a:pt x="1178" y="238"/>
                      <a:pt x="1178" y="239"/>
                    </a:cubicBezTo>
                    <a:cubicBezTo>
                      <a:pt x="1178" y="238"/>
                      <a:pt x="1179" y="237"/>
                      <a:pt x="1179" y="236"/>
                    </a:cubicBezTo>
                    <a:moveTo>
                      <a:pt x="1178" y="233"/>
                    </a:moveTo>
                    <a:cubicBezTo>
                      <a:pt x="1178" y="233"/>
                      <a:pt x="1178" y="233"/>
                      <a:pt x="1178" y="233"/>
                    </a:cubicBezTo>
                    <a:cubicBezTo>
                      <a:pt x="1178" y="233"/>
                      <a:pt x="1178" y="233"/>
                      <a:pt x="1178" y="233"/>
                    </a:cubicBezTo>
                    <a:moveTo>
                      <a:pt x="1178" y="233"/>
                    </a:moveTo>
                    <a:cubicBezTo>
                      <a:pt x="1178" y="233"/>
                      <a:pt x="1178" y="233"/>
                      <a:pt x="1178" y="233"/>
                    </a:cubicBezTo>
                    <a:cubicBezTo>
                      <a:pt x="1178" y="233"/>
                      <a:pt x="1178" y="233"/>
                      <a:pt x="1178" y="233"/>
                    </a:cubicBezTo>
                    <a:moveTo>
                      <a:pt x="1178" y="229"/>
                    </a:move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30"/>
                      <a:pt x="1178" y="231"/>
                      <a:pt x="1178" y="232"/>
                    </a:cubicBezTo>
                    <a:cubicBezTo>
                      <a:pt x="1178" y="232"/>
                      <a:pt x="1178" y="232"/>
                      <a:pt x="1178" y="232"/>
                    </a:cubicBezTo>
                    <a:cubicBezTo>
                      <a:pt x="1178" y="232"/>
                      <a:pt x="1178" y="232"/>
                      <a:pt x="1178" y="232"/>
                    </a:cubicBezTo>
                    <a:cubicBezTo>
                      <a:pt x="1178" y="231"/>
                      <a:pt x="1178" y="230"/>
                      <a:pt x="1178" y="229"/>
                    </a:cubicBezTo>
                    <a:cubicBezTo>
                      <a:pt x="1178" y="229"/>
                      <a:pt x="1178" y="229"/>
                      <a:pt x="1178" y="229"/>
                    </a:cubicBezTo>
                    <a:cubicBezTo>
                      <a:pt x="1178" y="229"/>
                      <a:pt x="1178" y="229"/>
                      <a:pt x="1178" y="229"/>
                    </a:cubicBezTo>
                    <a:moveTo>
                      <a:pt x="1178" y="229"/>
                    </a:moveTo>
                    <a:cubicBezTo>
                      <a:pt x="1178" y="229"/>
                      <a:pt x="1178" y="229"/>
                      <a:pt x="1178" y="229"/>
                    </a:cubicBezTo>
                    <a:cubicBezTo>
                      <a:pt x="1178" y="229"/>
                      <a:pt x="1178" y="229"/>
                      <a:pt x="1178" y="229"/>
                    </a:cubicBezTo>
                    <a:moveTo>
                      <a:pt x="1278" y="153"/>
                    </a:moveTo>
                    <a:cubicBezTo>
                      <a:pt x="1278" y="153"/>
                      <a:pt x="1278" y="153"/>
                      <a:pt x="1278" y="153"/>
                    </a:cubicBezTo>
                    <a:cubicBezTo>
                      <a:pt x="1278" y="153"/>
                      <a:pt x="1278" y="153"/>
                      <a:pt x="1278" y="153"/>
                    </a:cubicBezTo>
                    <a:cubicBezTo>
                      <a:pt x="1278" y="153"/>
                      <a:pt x="1278" y="153"/>
                      <a:pt x="1278" y="153"/>
                    </a:cubicBezTo>
                    <a:cubicBezTo>
                      <a:pt x="1278" y="153"/>
                      <a:pt x="1278" y="153"/>
                      <a:pt x="1278" y="153"/>
                    </a:cubicBezTo>
                    <a:moveTo>
                      <a:pt x="1280" y="153"/>
                    </a:moveTo>
                    <a:cubicBezTo>
                      <a:pt x="1280" y="153"/>
                      <a:pt x="1280" y="153"/>
                      <a:pt x="1280" y="153"/>
                    </a:cubicBezTo>
                    <a:moveTo>
                      <a:pt x="691" y="0"/>
                    </a:moveTo>
                    <a:cubicBezTo>
                      <a:pt x="691" y="3"/>
                      <a:pt x="690" y="7"/>
                      <a:pt x="690" y="8"/>
                    </a:cubicBezTo>
                    <a:cubicBezTo>
                      <a:pt x="689" y="9"/>
                      <a:pt x="689" y="9"/>
                      <a:pt x="689" y="9"/>
                    </a:cubicBezTo>
                    <a:cubicBezTo>
                      <a:pt x="688" y="10"/>
                      <a:pt x="687" y="11"/>
                      <a:pt x="681" y="11"/>
                    </a:cubicBezTo>
                    <a:cubicBezTo>
                      <a:pt x="679" y="11"/>
                      <a:pt x="676" y="11"/>
                      <a:pt x="672" y="11"/>
                    </a:cubicBezTo>
                    <a:cubicBezTo>
                      <a:pt x="671" y="11"/>
                      <a:pt x="671" y="11"/>
                      <a:pt x="671" y="11"/>
                    </a:cubicBezTo>
                    <a:cubicBezTo>
                      <a:pt x="632" y="11"/>
                      <a:pt x="632" y="11"/>
                      <a:pt x="632" y="11"/>
                    </a:cubicBezTo>
                    <a:cubicBezTo>
                      <a:pt x="563" y="11"/>
                      <a:pt x="480" y="11"/>
                      <a:pt x="479" y="11"/>
                    </a:cubicBezTo>
                    <a:cubicBezTo>
                      <a:pt x="478" y="11"/>
                      <a:pt x="476" y="11"/>
                      <a:pt x="475" y="11"/>
                    </a:cubicBezTo>
                    <a:cubicBezTo>
                      <a:pt x="473" y="11"/>
                      <a:pt x="471" y="11"/>
                      <a:pt x="470" y="11"/>
                    </a:cubicBezTo>
                    <a:cubicBezTo>
                      <a:pt x="470" y="11"/>
                      <a:pt x="470" y="11"/>
                      <a:pt x="467" y="11"/>
                    </a:cubicBezTo>
                    <a:cubicBezTo>
                      <a:pt x="466" y="11"/>
                      <a:pt x="464" y="11"/>
                      <a:pt x="460" y="11"/>
                    </a:cubicBezTo>
                    <a:cubicBezTo>
                      <a:pt x="460" y="10"/>
                      <a:pt x="460" y="10"/>
                      <a:pt x="460" y="10"/>
                    </a:cubicBezTo>
                    <a:cubicBezTo>
                      <a:pt x="458" y="11"/>
                      <a:pt x="455" y="11"/>
                      <a:pt x="447" y="11"/>
                    </a:cubicBezTo>
                    <a:cubicBezTo>
                      <a:pt x="417" y="11"/>
                      <a:pt x="417" y="11"/>
                      <a:pt x="417" y="11"/>
                    </a:cubicBezTo>
                    <a:cubicBezTo>
                      <a:pt x="395" y="11"/>
                      <a:pt x="372" y="11"/>
                      <a:pt x="369" y="11"/>
                    </a:cubicBezTo>
                    <a:cubicBezTo>
                      <a:pt x="108" y="11"/>
                      <a:pt x="108" y="11"/>
                      <a:pt x="108" y="11"/>
                    </a:cubicBezTo>
                    <a:cubicBezTo>
                      <a:pt x="47" y="11"/>
                      <a:pt x="47" y="11"/>
                      <a:pt x="47" y="11"/>
                    </a:cubicBezTo>
                    <a:cubicBezTo>
                      <a:pt x="46" y="12"/>
                      <a:pt x="46" y="12"/>
                      <a:pt x="46" y="12"/>
                    </a:cubicBezTo>
                    <a:cubicBezTo>
                      <a:pt x="46" y="13"/>
                      <a:pt x="47" y="14"/>
                      <a:pt x="48" y="14"/>
                    </a:cubicBezTo>
                    <a:cubicBezTo>
                      <a:pt x="48" y="15"/>
                      <a:pt x="48" y="16"/>
                      <a:pt x="49" y="16"/>
                    </a:cubicBezTo>
                    <a:cubicBezTo>
                      <a:pt x="49" y="16"/>
                      <a:pt x="50" y="16"/>
                      <a:pt x="51" y="15"/>
                    </a:cubicBezTo>
                    <a:cubicBezTo>
                      <a:pt x="50" y="18"/>
                      <a:pt x="53" y="18"/>
                      <a:pt x="53" y="20"/>
                    </a:cubicBezTo>
                    <a:cubicBezTo>
                      <a:pt x="53" y="20"/>
                      <a:pt x="52" y="22"/>
                      <a:pt x="52" y="23"/>
                    </a:cubicBezTo>
                    <a:cubicBezTo>
                      <a:pt x="51" y="23"/>
                      <a:pt x="52" y="23"/>
                      <a:pt x="52" y="24"/>
                    </a:cubicBezTo>
                    <a:cubicBezTo>
                      <a:pt x="51" y="25"/>
                      <a:pt x="50" y="25"/>
                      <a:pt x="49" y="25"/>
                    </a:cubicBezTo>
                    <a:cubicBezTo>
                      <a:pt x="49" y="25"/>
                      <a:pt x="49" y="25"/>
                      <a:pt x="49" y="25"/>
                    </a:cubicBezTo>
                    <a:cubicBezTo>
                      <a:pt x="51" y="25"/>
                      <a:pt x="54" y="28"/>
                      <a:pt x="54" y="29"/>
                    </a:cubicBezTo>
                    <a:cubicBezTo>
                      <a:pt x="56" y="31"/>
                      <a:pt x="54" y="34"/>
                      <a:pt x="56" y="36"/>
                    </a:cubicBezTo>
                    <a:cubicBezTo>
                      <a:pt x="57" y="37"/>
                      <a:pt x="59" y="36"/>
                      <a:pt x="58" y="37"/>
                    </a:cubicBezTo>
                    <a:cubicBezTo>
                      <a:pt x="58" y="38"/>
                      <a:pt x="57" y="39"/>
                      <a:pt x="56" y="39"/>
                    </a:cubicBezTo>
                    <a:cubicBezTo>
                      <a:pt x="56" y="39"/>
                      <a:pt x="56" y="41"/>
                      <a:pt x="55" y="41"/>
                    </a:cubicBezTo>
                    <a:cubicBezTo>
                      <a:pt x="55" y="42"/>
                      <a:pt x="55" y="42"/>
                      <a:pt x="54" y="43"/>
                    </a:cubicBezTo>
                    <a:cubicBezTo>
                      <a:pt x="54" y="44"/>
                      <a:pt x="55" y="44"/>
                      <a:pt x="55" y="45"/>
                    </a:cubicBezTo>
                    <a:cubicBezTo>
                      <a:pt x="55" y="45"/>
                      <a:pt x="54" y="46"/>
                      <a:pt x="54" y="46"/>
                    </a:cubicBezTo>
                    <a:cubicBezTo>
                      <a:pt x="54" y="48"/>
                      <a:pt x="54" y="48"/>
                      <a:pt x="54" y="48"/>
                    </a:cubicBezTo>
                    <a:cubicBezTo>
                      <a:pt x="54" y="48"/>
                      <a:pt x="54" y="48"/>
                      <a:pt x="54" y="48"/>
                    </a:cubicBezTo>
                    <a:cubicBezTo>
                      <a:pt x="54" y="48"/>
                      <a:pt x="55" y="49"/>
                      <a:pt x="55" y="50"/>
                    </a:cubicBezTo>
                    <a:cubicBezTo>
                      <a:pt x="56" y="50"/>
                      <a:pt x="54" y="50"/>
                      <a:pt x="54" y="51"/>
                    </a:cubicBezTo>
                    <a:cubicBezTo>
                      <a:pt x="55" y="52"/>
                      <a:pt x="55" y="52"/>
                      <a:pt x="55" y="52"/>
                    </a:cubicBezTo>
                    <a:cubicBezTo>
                      <a:pt x="55" y="53"/>
                      <a:pt x="56" y="54"/>
                      <a:pt x="56" y="54"/>
                    </a:cubicBezTo>
                    <a:cubicBezTo>
                      <a:pt x="56" y="56"/>
                      <a:pt x="55" y="55"/>
                      <a:pt x="54" y="57"/>
                    </a:cubicBezTo>
                    <a:cubicBezTo>
                      <a:pt x="53" y="58"/>
                      <a:pt x="52" y="59"/>
                      <a:pt x="50" y="61"/>
                    </a:cubicBezTo>
                    <a:cubicBezTo>
                      <a:pt x="47" y="63"/>
                      <a:pt x="46" y="63"/>
                      <a:pt x="42" y="64"/>
                    </a:cubicBezTo>
                    <a:cubicBezTo>
                      <a:pt x="43" y="65"/>
                      <a:pt x="43" y="65"/>
                      <a:pt x="43" y="65"/>
                    </a:cubicBezTo>
                    <a:cubicBezTo>
                      <a:pt x="40" y="65"/>
                      <a:pt x="40" y="63"/>
                      <a:pt x="42" y="61"/>
                    </a:cubicBezTo>
                    <a:cubicBezTo>
                      <a:pt x="41" y="62"/>
                      <a:pt x="40" y="63"/>
                      <a:pt x="39" y="63"/>
                    </a:cubicBezTo>
                    <a:cubicBezTo>
                      <a:pt x="39" y="62"/>
                      <a:pt x="41" y="62"/>
                      <a:pt x="41" y="61"/>
                    </a:cubicBezTo>
                    <a:cubicBezTo>
                      <a:pt x="42" y="60"/>
                      <a:pt x="41" y="59"/>
                      <a:pt x="42" y="58"/>
                    </a:cubicBezTo>
                    <a:cubicBezTo>
                      <a:pt x="43" y="57"/>
                      <a:pt x="44" y="57"/>
                      <a:pt x="44" y="55"/>
                    </a:cubicBezTo>
                    <a:cubicBezTo>
                      <a:pt x="45" y="57"/>
                      <a:pt x="44" y="59"/>
                      <a:pt x="45" y="61"/>
                    </a:cubicBezTo>
                    <a:cubicBezTo>
                      <a:pt x="46" y="58"/>
                      <a:pt x="46" y="57"/>
                      <a:pt x="49" y="55"/>
                    </a:cubicBezTo>
                    <a:cubicBezTo>
                      <a:pt x="49" y="55"/>
                      <a:pt x="49" y="55"/>
                      <a:pt x="49" y="55"/>
                    </a:cubicBezTo>
                    <a:cubicBezTo>
                      <a:pt x="49" y="55"/>
                      <a:pt x="49" y="55"/>
                      <a:pt x="49" y="55"/>
                    </a:cubicBezTo>
                    <a:cubicBezTo>
                      <a:pt x="49" y="55"/>
                      <a:pt x="49" y="55"/>
                      <a:pt x="49" y="55"/>
                    </a:cubicBezTo>
                    <a:cubicBezTo>
                      <a:pt x="49" y="55"/>
                      <a:pt x="49" y="55"/>
                      <a:pt x="49" y="55"/>
                    </a:cubicBezTo>
                    <a:cubicBezTo>
                      <a:pt x="49" y="55"/>
                      <a:pt x="49" y="55"/>
                      <a:pt x="49" y="55"/>
                    </a:cubicBezTo>
                    <a:cubicBezTo>
                      <a:pt x="48" y="56"/>
                      <a:pt x="48" y="57"/>
                      <a:pt x="47" y="58"/>
                    </a:cubicBezTo>
                    <a:cubicBezTo>
                      <a:pt x="54" y="56"/>
                      <a:pt x="51" y="48"/>
                      <a:pt x="48" y="45"/>
                    </a:cubicBezTo>
                    <a:cubicBezTo>
                      <a:pt x="48" y="45"/>
                      <a:pt x="49" y="45"/>
                      <a:pt x="49" y="45"/>
                    </a:cubicBezTo>
                    <a:cubicBezTo>
                      <a:pt x="51" y="45"/>
                      <a:pt x="52" y="45"/>
                      <a:pt x="52" y="45"/>
                    </a:cubicBezTo>
                    <a:cubicBezTo>
                      <a:pt x="53" y="43"/>
                      <a:pt x="51" y="41"/>
                      <a:pt x="51" y="40"/>
                    </a:cubicBezTo>
                    <a:cubicBezTo>
                      <a:pt x="50" y="42"/>
                      <a:pt x="48" y="43"/>
                      <a:pt x="46" y="45"/>
                    </a:cubicBezTo>
                    <a:cubicBezTo>
                      <a:pt x="45" y="47"/>
                      <a:pt x="43" y="47"/>
                      <a:pt x="41" y="49"/>
                    </a:cubicBezTo>
                    <a:cubicBezTo>
                      <a:pt x="40" y="50"/>
                      <a:pt x="39" y="52"/>
                      <a:pt x="39" y="53"/>
                    </a:cubicBezTo>
                    <a:cubicBezTo>
                      <a:pt x="38" y="55"/>
                      <a:pt x="37" y="55"/>
                      <a:pt x="39" y="55"/>
                    </a:cubicBezTo>
                    <a:cubicBezTo>
                      <a:pt x="39" y="55"/>
                      <a:pt x="39" y="55"/>
                      <a:pt x="39" y="55"/>
                    </a:cubicBezTo>
                    <a:cubicBezTo>
                      <a:pt x="40" y="55"/>
                      <a:pt x="42" y="54"/>
                      <a:pt x="43" y="54"/>
                    </a:cubicBezTo>
                    <a:cubicBezTo>
                      <a:pt x="43" y="54"/>
                      <a:pt x="40" y="56"/>
                      <a:pt x="38" y="56"/>
                    </a:cubicBezTo>
                    <a:cubicBezTo>
                      <a:pt x="38" y="56"/>
                      <a:pt x="37" y="56"/>
                      <a:pt x="37" y="56"/>
                    </a:cubicBezTo>
                    <a:cubicBezTo>
                      <a:pt x="37" y="54"/>
                      <a:pt x="39" y="51"/>
                      <a:pt x="40" y="50"/>
                    </a:cubicBezTo>
                    <a:cubicBezTo>
                      <a:pt x="41" y="48"/>
                      <a:pt x="42" y="47"/>
                      <a:pt x="43" y="46"/>
                    </a:cubicBezTo>
                    <a:cubicBezTo>
                      <a:pt x="44" y="44"/>
                      <a:pt x="43" y="42"/>
                      <a:pt x="44" y="42"/>
                    </a:cubicBezTo>
                    <a:cubicBezTo>
                      <a:pt x="45" y="43"/>
                      <a:pt x="45" y="45"/>
                      <a:pt x="44" y="46"/>
                    </a:cubicBezTo>
                    <a:cubicBezTo>
                      <a:pt x="45" y="45"/>
                      <a:pt x="47" y="43"/>
                      <a:pt x="47" y="42"/>
                    </a:cubicBezTo>
                    <a:cubicBezTo>
                      <a:pt x="48" y="40"/>
                      <a:pt x="49" y="41"/>
                      <a:pt x="48" y="39"/>
                    </a:cubicBezTo>
                    <a:cubicBezTo>
                      <a:pt x="47" y="38"/>
                      <a:pt x="44" y="35"/>
                      <a:pt x="46" y="33"/>
                    </a:cubicBezTo>
                    <a:cubicBezTo>
                      <a:pt x="45" y="34"/>
                      <a:pt x="44" y="37"/>
                      <a:pt x="44" y="37"/>
                    </a:cubicBezTo>
                    <a:cubicBezTo>
                      <a:pt x="44" y="37"/>
                      <a:pt x="44" y="37"/>
                      <a:pt x="43" y="37"/>
                    </a:cubicBezTo>
                    <a:cubicBezTo>
                      <a:pt x="42" y="37"/>
                      <a:pt x="38" y="33"/>
                      <a:pt x="37" y="32"/>
                    </a:cubicBezTo>
                    <a:cubicBezTo>
                      <a:pt x="37" y="32"/>
                      <a:pt x="37" y="32"/>
                      <a:pt x="37" y="32"/>
                    </a:cubicBezTo>
                    <a:cubicBezTo>
                      <a:pt x="35" y="32"/>
                      <a:pt x="33" y="32"/>
                      <a:pt x="31" y="32"/>
                    </a:cubicBezTo>
                    <a:cubicBezTo>
                      <a:pt x="29" y="33"/>
                      <a:pt x="27" y="33"/>
                      <a:pt x="25" y="33"/>
                    </a:cubicBezTo>
                    <a:cubicBezTo>
                      <a:pt x="23" y="33"/>
                      <a:pt x="22" y="33"/>
                      <a:pt x="20" y="32"/>
                    </a:cubicBezTo>
                    <a:cubicBezTo>
                      <a:pt x="13" y="31"/>
                      <a:pt x="7" y="28"/>
                      <a:pt x="0" y="26"/>
                    </a:cubicBezTo>
                    <a:cubicBezTo>
                      <a:pt x="0" y="30"/>
                      <a:pt x="0" y="33"/>
                      <a:pt x="1" y="37"/>
                    </a:cubicBezTo>
                    <a:cubicBezTo>
                      <a:pt x="3" y="42"/>
                      <a:pt x="7" y="47"/>
                      <a:pt x="9" y="52"/>
                    </a:cubicBezTo>
                    <a:cubicBezTo>
                      <a:pt x="9" y="53"/>
                      <a:pt x="9" y="54"/>
                      <a:pt x="10" y="56"/>
                    </a:cubicBezTo>
                    <a:cubicBezTo>
                      <a:pt x="10" y="58"/>
                      <a:pt x="12" y="60"/>
                      <a:pt x="13" y="62"/>
                    </a:cubicBezTo>
                    <a:cubicBezTo>
                      <a:pt x="13" y="64"/>
                      <a:pt x="13" y="66"/>
                      <a:pt x="13" y="68"/>
                    </a:cubicBezTo>
                    <a:cubicBezTo>
                      <a:pt x="14" y="66"/>
                      <a:pt x="14" y="65"/>
                      <a:pt x="15" y="65"/>
                    </a:cubicBezTo>
                    <a:cubicBezTo>
                      <a:pt x="16" y="65"/>
                      <a:pt x="18" y="67"/>
                      <a:pt x="21" y="67"/>
                    </a:cubicBezTo>
                    <a:cubicBezTo>
                      <a:pt x="20" y="68"/>
                      <a:pt x="15" y="69"/>
                      <a:pt x="16" y="71"/>
                    </a:cubicBezTo>
                    <a:cubicBezTo>
                      <a:pt x="15" y="71"/>
                      <a:pt x="15" y="70"/>
                      <a:pt x="14" y="69"/>
                    </a:cubicBezTo>
                    <a:cubicBezTo>
                      <a:pt x="14" y="70"/>
                      <a:pt x="14" y="73"/>
                      <a:pt x="15" y="73"/>
                    </a:cubicBezTo>
                    <a:cubicBezTo>
                      <a:pt x="15" y="74"/>
                      <a:pt x="16" y="74"/>
                      <a:pt x="17" y="74"/>
                    </a:cubicBezTo>
                    <a:cubicBezTo>
                      <a:pt x="17" y="74"/>
                      <a:pt x="17" y="74"/>
                      <a:pt x="18" y="74"/>
                    </a:cubicBezTo>
                    <a:cubicBezTo>
                      <a:pt x="18" y="74"/>
                      <a:pt x="18" y="74"/>
                      <a:pt x="18" y="74"/>
                    </a:cubicBezTo>
                    <a:cubicBezTo>
                      <a:pt x="19" y="74"/>
                      <a:pt x="21" y="74"/>
                      <a:pt x="21" y="76"/>
                    </a:cubicBezTo>
                    <a:cubicBezTo>
                      <a:pt x="19" y="76"/>
                      <a:pt x="18" y="77"/>
                      <a:pt x="19" y="78"/>
                    </a:cubicBezTo>
                    <a:cubicBezTo>
                      <a:pt x="18" y="77"/>
                      <a:pt x="18" y="77"/>
                      <a:pt x="18" y="77"/>
                    </a:cubicBezTo>
                    <a:cubicBezTo>
                      <a:pt x="19" y="78"/>
                      <a:pt x="19" y="79"/>
                      <a:pt x="19" y="80"/>
                    </a:cubicBezTo>
                    <a:cubicBezTo>
                      <a:pt x="19" y="84"/>
                      <a:pt x="19" y="84"/>
                      <a:pt x="19" y="84"/>
                    </a:cubicBezTo>
                    <a:cubicBezTo>
                      <a:pt x="18" y="84"/>
                      <a:pt x="18" y="84"/>
                      <a:pt x="18" y="84"/>
                    </a:cubicBezTo>
                    <a:cubicBezTo>
                      <a:pt x="16" y="84"/>
                      <a:pt x="17" y="79"/>
                      <a:pt x="16" y="78"/>
                    </a:cubicBezTo>
                    <a:cubicBezTo>
                      <a:pt x="15" y="81"/>
                      <a:pt x="17" y="85"/>
                      <a:pt x="15" y="87"/>
                    </a:cubicBezTo>
                    <a:cubicBezTo>
                      <a:pt x="22" y="89"/>
                      <a:pt x="29" y="89"/>
                      <a:pt x="36" y="90"/>
                    </a:cubicBezTo>
                    <a:cubicBezTo>
                      <a:pt x="32" y="91"/>
                      <a:pt x="28" y="91"/>
                      <a:pt x="24" y="92"/>
                    </a:cubicBezTo>
                    <a:cubicBezTo>
                      <a:pt x="24" y="92"/>
                      <a:pt x="24" y="92"/>
                      <a:pt x="23" y="92"/>
                    </a:cubicBezTo>
                    <a:cubicBezTo>
                      <a:pt x="21" y="92"/>
                      <a:pt x="19" y="90"/>
                      <a:pt x="17" y="89"/>
                    </a:cubicBezTo>
                    <a:cubicBezTo>
                      <a:pt x="19" y="94"/>
                      <a:pt x="17" y="97"/>
                      <a:pt x="17" y="101"/>
                    </a:cubicBezTo>
                    <a:cubicBezTo>
                      <a:pt x="18" y="103"/>
                      <a:pt x="19" y="104"/>
                      <a:pt x="18" y="107"/>
                    </a:cubicBezTo>
                    <a:cubicBezTo>
                      <a:pt x="18" y="108"/>
                      <a:pt x="18" y="110"/>
                      <a:pt x="18" y="111"/>
                    </a:cubicBezTo>
                    <a:cubicBezTo>
                      <a:pt x="17" y="113"/>
                      <a:pt x="18" y="114"/>
                      <a:pt x="18" y="115"/>
                    </a:cubicBezTo>
                    <a:cubicBezTo>
                      <a:pt x="18" y="120"/>
                      <a:pt x="17" y="124"/>
                      <a:pt x="16" y="129"/>
                    </a:cubicBezTo>
                    <a:cubicBezTo>
                      <a:pt x="15" y="132"/>
                      <a:pt x="15" y="136"/>
                      <a:pt x="15" y="140"/>
                    </a:cubicBezTo>
                    <a:cubicBezTo>
                      <a:pt x="15" y="144"/>
                      <a:pt x="14" y="149"/>
                      <a:pt x="14" y="153"/>
                    </a:cubicBezTo>
                    <a:cubicBezTo>
                      <a:pt x="14" y="155"/>
                      <a:pt x="14" y="157"/>
                      <a:pt x="13" y="158"/>
                    </a:cubicBezTo>
                    <a:cubicBezTo>
                      <a:pt x="13" y="160"/>
                      <a:pt x="13" y="161"/>
                      <a:pt x="13" y="162"/>
                    </a:cubicBezTo>
                    <a:cubicBezTo>
                      <a:pt x="12" y="165"/>
                      <a:pt x="11" y="168"/>
                      <a:pt x="10" y="171"/>
                    </a:cubicBezTo>
                    <a:cubicBezTo>
                      <a:pt x="10" y="170"/>
                      <a:pt x="11" y="169"/>
                      <a:pt x="12" y="169"/>
                    </a:cubicBezTo>
                    <a:cubicBezTo>
                      <a:pt x="12" y="169"/>
                      <a:pt x="13" y="170"/>
                      <a:pt x="13" y="171"/>
                    </a:cubicBezTo>
                    <a:cubicBezTo>
                      <a:pt x="12" y="171"/>
                      <a:pt x="12" y="171"/>
                      <a:pt x="12" y="171"/>
                    </a:cubicBezTo>
                    <a:cubicBezTo>
                      <a:pt x="10" y="174"/>
                      <a:pt x="4" y="182"/>
                      <a:pt x="4" y="186"/>
                    </a:cubicBezTo>
                    <a:cubicBezTo>
                      <a:pt x="5" y="188"/>
                      <a:pt x="6" y="188"/>
                      <a:pt x="6" y="189"/>
                    </a:cubicBezTo>
                    <a:cubicBezTo>
                      <a:pt x="7" y="192"/>
                      <a:pt x="8" y="191"/>
                      <a:pt x="7" y="194"/>
                    </a:cubicBezTo>
                    <a:cubicBezTo>
                      <a:pt x="7" y="197"/>
                      <a:pt x="7" y="199"/>
                      <a:pt x="7" y="201"/>
                    </a:cubicBezTo>
                    <a:cubicBezTo>
                      <a:pt x="8" y="204"/>
                      <a:pt x="9" y="207"/>
                      <a:pt x="12" y="209"/>
                    </a:cubicBezTo>
                    <a:cubicBezTo>
                      <a:pt x="13" y="210"/>
                      <a:pt x="12" y="214"/>
                      <a:pt x="12" y="216"/>
                    </a:cubicBezTo>
                    <a:cubicBezTo>
                      <a:pt x="12" y="221"/>
                      <a:pt x="13" y="226"/>
                      <a:pt x="13" y="231"/>
                    </a:cubicBezTo>
                    <a:cubicBezTo>
                      <a:pt x="13" y="232"/>
                      <a:pt x="13" y="243"/>
                      <a:pt x="12" y="243"/>
                    </a:cubicBezTo>
                    <a:cubicBezTo>
                      <a:pt x="12" y="243"/>
                      <a:pt x="12" y="243"/>
                      <a:pt x="12" y="243"/>
                    </a:cubicBezTo>
                    <a:cubicBezTo>
                      <a:pt x="12" y="243"/>
                      <a:pt x="12" y="243"/>
                      <a:pt x="12" y="243"/>
                    </a:cubicBezTo>
                    <a:cubicBezTo>
                      <a:pt x="13" y="242"/>
                      <a:pt x="13" y="241"/>
                      <a:pt x="15" y="241"/>
                    </a:cubicBezTo>
                    <a:cubicBezTo>
                      <a:pt x="15" y="241"/>
                      <a:pt x="15" y="241"/>
                      <a:pt x="15" y="241"/>
                    </a:cubicBezTo>
                    <a:cubicBezTo>
                      <a:pt x="14" y="242"/>
                      <a:pt x="12" y="245"/>
                      <a:pt x="11" y="245"/>
                    </a:cubicBezTo>
                    <a:cubicBezTo>
                      <a:pt x="11" y="245"/>
                      <a:pt x="11" y="245"/>
                      <a:pt x="11" y="245"/>
                    </a:cubicBezTo>
                    <a:cubicBezTo>
                      <a:pt x="9" y="248"/>
                      <a:pt x="8" y="251"/>
                      <a:pt x="9" y="254"/>
                    </a:cubicBezTo>
                    <a:cubicBezTo>
                      <a:pt x="10" y="256"/>
                      <a:pt x="16" y="265"/>
                      <a:pt x="18" y="265"/>
                    </a:cubicBezTo>
                    <a:cubicBezTo>
                      <a:pt x="17" y="265"/>
                      <a:pt x="17" y="265"/>
                      <a:pt x="17" y="265"/>
                    </a:cubicBezTo>
                    <a:cubicBezTo>
                      <a:pt x="19" y="268"/>
                      <a:pt x="23" y="273"/>
                      <a:pt x="23" y="277"/>
                    </a:cubicBezTo>
                    <a:cubicBezTo>
                      <a:pt x="23" y="278"/>
                      <a:pt x="22" y="279"/>
                      <a:pt x="22" y="280"/>
                    </a:cubicBezTo>
                    <a:cubicBezTo>
                      <a:pt x="21" y="283"/>
                      <a:pt x="23" y="285"/>
                      <a:pt x="24" y="288"/>
                    </a:cubicBezTo>
                    <a:cubicBezTo>
                      <a:pt x="25" y="292"/>
                      <a:pt x="23" y="293"/>
                      <a:pt x="25" y="296"/>
                    </a:cubicBezTo>
                    <a:cubicBezTo>
                      <a:pt x="30" y="302"/>
                      <a:pt x="35" y="309"/>
                      <a:pt x="40" y="315"/>
                    </a:cubicBezTo>
                    <a:cubicBezTo>
                      <a:pt x="41" y="316"/>
                      <a:pt x="41" y="317"/>
                      <a:pt x="41" y="318"/>
                    </a:cubicBezTo>
                    <a:cubicBezTo>
                      <a:pt x="41" y="318"/>
                      <a:pt x="41" y="317"/>
                      <a:pt x="42" y="317"/>
                    </a:cubicBezTo>
                    <a:cubicBezTo>
                      <a:pt x="44" y="317"/>
                      <a:pt x="46" y="320"/>
                      <a:pt x="48" y="321"/>
                    </a:cubicBezTo>
                    <a:cubicBezTo>
                      <a:pt x="48" y="321"/>
                      <a:pt x="48" y="321"/>
                      <a:pt x="48" y="321"/>
                    </a:cubicBezTo>
                    <a:cubicBezTo>
                      <a:pt x="48" y="321"/>
                      <a:pt x="51" y="323"/>
                      <a:pt x="52" y="323"/>
                    </a:cubicBezTo>
                    <a:cubicBezTo>
                      <a:pt x="53" y="323"/>
                      <a:pt x="53" y="323"/>
                      <a:pt x="52" y="322"/>
                    </a:cubicBezTo>
                    <a:cubicBezTo>
                      <a:pt x="53" y="322"/>
                      <a:pt x="53" y="322"/>
                      <a:pt x="53" y="322"/>
                    </a:cubicBezTo>
                    <a:cubicBezTo>
                      <a:pt x="53" y="321"/>
                      <a:pt x="52" y="320"/>
                      <a:pt x="52" y="320"/>
                    </a:cubicBezTo>
                    <a:cubicBezTo>
                      <a:pt x="52" y="320"/>
                      <a:pt x="52" y="320"/>
                      <a:pt x="52" y="320"/>
                    </a:cubicBezTo>
                    <a:cubicBezTo>
                      <a:pt x="52" y="320"/>
                      <a:pt x="52" y="319"/>
                      <a:pt x="52" y="319"/>
                    </a:cubicBezTo>
                    <a:cubicBezTo>
                      <a:pt x="52" y="318"/>
                      <a:pt x="52" y="317"/>
                      <a:pt x="52" y="317"/>
                    </a:cubicBezTo>
                    <a:cubicBezTo>
                      <a:pt x="52" y="317"/>
                      <a:pt x="52" y="317"/>
                      <a:pt x="52" y="317"/>
                    </a:cubicBezTo>
                    <a:cubicBezTo>
                      <a:pt x="53" y="315"/>
                      <a:pt x="53" y="316"/>
                      <a:pt x="54" y="315"/>
                    </a:cubicBezTo>
                    <a:cubicBezTo>
                      <a:pt x="56" y="315"/>
                      <a:pt x="57" y="317"/>
                      <a:pt x="58" y="317"/>
                    </a:cubicBezTo>
                    <a:cubicBezTo>
                      <a:pt x="59" y="317"/>
                      <a:pt x="59" y="317"/>
                      <a:pt x="60" y="317"/>
                    </a:cubicBezTo>
                    <a:cubicBezTo>
                      <a:pt x="60" y="317"/>
                      <a:pt x="60" y="317"/>
                      <a:pt x="62" y="316"/>
                    </a:cubicBezTo>
                    <a:cubicBezTo>
                      <a:pt x="62" y="316"/>
                      <a:pt x="62" y="315"/>
                      <a:pt x="63" y="315"/>
                    </a:cubicBezTo>
                    <a:cubicBezTo>
                      <a:pt x="63" y="315"/>
                      <a:pt x="63" y="315"/>
                      <a:pt x="63" y="315"/>
                    </a:cubicBezTo>
                    <a:cubicBezTo>
                      <a:pt x="64" y="315"/>
                      <a:pt x="66" y="317"/>
                      <a:pt x="67" y="317"/>
                    </a:cubicBezTo>
                    <a:cubicBezTo>
                      <a:pt x="67" y="317"/>
                      <a:pt x="67" y="317"/>
                      <a:pt x="67" y="317"/>
                    </a:cubicBezTo>
                    <a:cubicBezTo>
                      <a:pt x="68" y="317"/>
                      <a:pt x="69" y="317"/>
                      <a:pt x="69" y="316"/>
                    </a:cubicBezTo>
                    <a:cubicBezTo>
                      <a:pt x="69" y="317"/>
                      <a:pt x="69" y="317"/>
                      <a:pt x="69" y="317"/>
                    </a:cubicBezTo>
                    <a:cubicBezTo>
                      <a:pt x="70" y="317"/>
                      <a:pt x="71" y="316"/>
                      <a:pt x="72" y="316"/>
                    </a:cubicBezTo>
                    <a:cubicBezTo>
                      <a:pt x="73" y="316"/>
                      <a:pt x="74" y="317"/>
                      <a:pt x="76" y="318"/>
                    </a:cubicBezTo>
                    <a:cubicBezTo>
                      <a:pt x="75" y="318"/>
                      <a:pt x="73" y="317"/>
                      <a:pt x="72" y="317"/>
                    </a:cubicBezTo>
                    <a:cubicBezTo>
                      <a:pt x="72" y="317"/>
                      <a:pt x="72" y="317"/>
                      <a:pt x="72" y="317"/>
                    </a:cubicBezTo>
                    <a:cubicBezTo>
                      <a:pt x="71" y="317"/>
                      <a:pt x="71" y="318"/>
                      <a:pt x="71" y="318"/>
                    </a:cubicBezTo>
                    <a:cubicBezTo>
                      <a:pt x="70" y="318"/>
                      <a:pt x="70" y="318"/>
                      <a:pt x="69" y="318"/>
                    </a:cubicBezTo>
                    <a:cubicBezTo>
                      <a:pt x="68" y="318"/>
                      <a:pt x="68" y="318"/>
                      <a:pt x="68" y="318"/>
                    </a:cubicBezTo>
                    <a:cubicBezTo>
                      <a:pt x="66" y="318"/>
                      <a:pt x="65" y="317"/>
                      <a:pt x="64" y="317"/>
                    </a:cubicBezTo>
                    <a:cubicBezTo>
                      <a:pt x="64" y="317"/>
                      <a:pt x="64" y="317"/>
                      <a:pt x="64" y="317"/>
                    </a:cubicBezTo>
                    <a:cubicBezTo>
                      <a:pt x="62" y="317"/>
                      <a:pt x="61" y="318"/>
                      <a:pt x="60" y="318"/>
                    </a:cubicBezTo>
                    <a:cubicBezTo>
                      <a:pt x="60" y="318"/>
                      <a:pt x="60" y="318"/>
                      <a:pt x="60" y="318"/>
                    </a:cubicBezTo>
                    <a:cubicBezTo>
                      <a:pt x="60" y="318"/>
                      <a:pt x="59" y="318"/>
                      <a:pt x="59" y="318"/>
                    </a:cubicBezTo>
                    <a:cubicBezTo>
                      <a:pt x="58" y="318"/>
                      <a:pt x="58" y="318"/>
                      <a:pt x="57" y="318"/>
                    </a:cubicBezTo>
                    <a:cubicBezTo>
                      <a:pt x="56" y="318"/>
                      <a:pt x="56" y="318"/>
                      <a:pt x="55" y="319"/>
                    </a:cubicBezTo>
                    <a:cubicBezTo>
                      <a:pt x="53" y="322"/>
                      <a:pt x="60" y="330"/>
                      <a:pt x="62" y="334"/>
                    </a:cubicBezTo>
                    <a:cubicBezTo>
                      <a:pt x="60" y="332"/>
                      <a:pt x="58" y="332"/>
                      <a:pt x="57" y="330"/>
                    </a:cubicBezTo>
                    <a:cubicBezTo>
                      <a:pt x="56" y="330"/>
                      <a:pt x="55" y="330"/>
                      <a:pt x="55" y="329"/>
                    </a:cubicBezTo>
                    <a:cubicBezTo>
                      <a:pt x="55" y="328"/>
                      <a:pt x="55" y="325"/>
                      <a:pt x="55" y="325"/>
                    </a:cubicBezTo>
                    <a:cubicBezTo>
                      <a:pt x="54" y="324"/>
                      <a:pt x="54" y="324"/>
                      <a:pt x="54" y="324"/>
                    </a:cubicBezTo>
                    <a:cubicBezTo>
                      <a:pt x="52" y="324"/>
                      <a:pt x="51" y="330"/>
                      <a:pt x="52" y="331"/>
                    </a:cubicBezTo>
                    <a:cubicBezTo>
                      <a:pt x="52" y="333"/>
                      <a:pt x="54" y="335"/>
                      <a:pt x="54" y="338"/>
                    </a:cubicBezTo>
                    <a:cubicBezTo>
                      <a:pt x="55" y="341"/>
                      <a:pt x="54" y="341"/>
                      <a:pt x="58" y="343"/>
                    </a:cubicBezTo>
                    <a:cubicBezTo>
                      <a:pt x="60" y="344"/>
                      <a:pt x="63" y="346"/>
                      <a:pt x="65" y="347"/>
                    </a:cubicBezTo>
                    <a:cubicBezTo>
                      <a:pt x="65" y="347"/>
                      <a:pt x="65" y="347"/>
                      <a:pt x="65" y="347"/>
                    </a:cubicBezTo>
                    <a:cubicBezTo>
                      <a:pt x="65" y="347"/>
                      <a:pt x="65" y="347"/>
                      <a:pt x="65" y="347"/>
                    </a:cubicBezTo>
                    <a:cubicBezTo>
                      <a:pt x="65" y="347"/>
                      <a:pt x="65" y="346"/>
                      <a:pt x="65" y="346"/>
                    </a:cubicBezTo>
                    <a:cubicBezTo>
                      <a:pt x="66" y="346"/>
                      <a:pt x="66" y="347"/>
                      <a:pt x="66" y="347"/>
                    </a:cubicBezTo>
                    <a:cubicBezTo>
                      <a:pt x="67" y="348"/>
                      <a:pt x="69" y="353"/>
                      <a:pt x="68" y="355"/>
                    </a:cubicBezTo>
                    <a:cubicBezTo>
                      <a:pt x="67" y="355"/>
                      <a:pt x="67" y="356"/>
                      <a:pt x="66" y="356"/>
                    </a:cubicBezTo>
                    <a:cubicBezTo>
                      <a:pt x="66" y="356"/>
                      <a:pt x="66" y="356"/>
                      <a:pt x="66" y="355"/>
                    </a:cubicBezTo>
                    <a:cubicBezTo>
                      <a:pt x="66" y="355"/>
                      <a:pt x="66" y="355"/>
                      <a:pt x="65" y="355"/>
                    </a:cubicBezTo>
                    <a:cubicBezTo>
                      <a:pt x="65" y="355"/>
                      <a:pt x="65" y="355"/>
                      <a:pt x="65" y="356"/>
                    </a:cubicBezTo>
                    <a:cubicBezTo>
                      <a:pt x="64" y="357"/>
                      <a:pt x="65" y="358"/>
                      <a:pt x="65" y="360"/>
                    </a:cubicBezTo>
                    <a:cubicBezTo>
                      <a:pt x="66" y="361"/>
                      <a:pt x="66" y="362"/>
                      <a:pt x="66" y="363"/>
                    </a:cubicBezTo>
                    <a:cubicBezTo>
                      <a:pt x="68" y="368"/>
                      <a:pt x="73" y="372"/>
                      <a:pt x="76" y="376"/>
                    </a:cubicBezTo>
                    <a:cubicBezTo>
                      <a:pt x="80" y="380"/>
                      <a:pt x="83" y="384"/>
                      <a:pt x="87" y="388"/>
                    </a:cubicBezTo>
                    <a:cubicBezTo>
                      <a:pt x="89" y="389"/>
                      <a:pt x="89" y="390"/>
                      <a:pt x="89" y="391"/>
                    </a:cubicBezTo>
                    <a:cubicBezTo>
                      <a:pt x="90" y="392"/>
                      <a:pt x="89" y="393"/>
                      <a:pt x="91" y="394"/>
                    </a:cubicBezTo>
                    <a:cubicBezTo>
                      <a:pt x="92" y="395"/>
                      <a:pt x="95" y="397"/>
                      <a:pt x="95" y="399"/>
                    </a:cubicBezTo>
                    <a:cubicBezTo>
                      <a:pt x="95" y="399"/>
                      <a:pt x="94" y="400"/>
                      <a:pt x="95" y="400"/>
                    </a:cubicBezTo>
                    <a:cubicBezTo>
                      <a:pt x="95" y="401"/>
                      <a:pt x="95" y="403"/>
                      <a:pt x="95" y="404"/>
                    </a:cubicBezTo>
                    <a:cubicBezTo>
                      <a:pt x="95" y="405"/>
                      <a:pt x="95" y="407"/>
                      <a:pt x="95" y="408"/>
                    </a:cubicBezTo>
                    <a:cubicBezTo>
                      <a:pt x="95" y="409"/>
                      <a:pt x="94" y="410"/>
                      <a:pt x="95" y="410"/>
                    </a:cubicBezTo>
                    <a:cubicBezTo>
                      <a:pt x="98" y="411"/>
                      <a:pt x="101" y="412"/>
                      <a:pt x="104" y="413"/>
                    </a:cubicBezTo>
                    <a:cubicBezTo>
                      <a:pt x="105" y="413"/>
                      <a:pt x="105" y="413"/>
                      <a:pt x="105" y="413"/>
                    </a:cubicBezTo>
                    <a:cubicBezTo>
                      <a:pt x="106" y="413"/>
                      <a:pt x="106" y="414"/>
                      <a:pt x="107" y="415"/>
                    </a:cubicBezTo>
                    <a:cubicBezTo>
                      <a:pt x="109" y="414"/>
                      <a:pt x="110" y="414"/>
                      <a:pt x="110" y="413"/>
                    </a:cubicBezTo>
                    <a:cubicBezTo>
                      <a:pt x="111" y="414"/>
                      <a:pt x="112" y="414"/>
                      <a:pt x="113" y="414"/>
                    </a:cubicBezTo>
                    <a:cubicBezTo>
                      <a:pt x="114" y="414"/>
                      <a:pt x="114" y="414"/>
                      <a:pt x="115" y="414"/>
                    </a:cubicBezTo>
                    <a:cubicBezTo>
                      <a:pt x="116" y="414"/>
                      <a:pt x="116" y="414"/>
                      <a:pt x="117" y="414"/>
                    </a:cubicBezTo>
                    <a:cubicBezTo>
                      <a:pt x="117" y="414"/>
                      <a:pt x="118" y="414"/>
                      <a:pt x="118" y="414"/>
                    </a:cubicBezTo>
                    <a:cubicBezTo>
                      <a:pt x="119" y="414"/>
                      <a:pt x="120" y="414"/>
                      <a:pt x="121" y="415"/>
                    </a:cubicBezTo>
                    <a:cubicBezTo>
                      <a:pt x="125" y="416"/>
                      <a:pt x="128" y="419"/>
                      <a:pt x="132" y="421"/>
                    </a:cubicBezTo>
                    <a:cubicBezTo>
                      <a:pt x="133" y="422"/>
                      <a:pt x="136" y="424"/>
                      <a:pt x="137" y="424"/>
                    </a:cubicBezTo>
                    <a:cubicBezTo>
                      <a:pt x="137" y="424"/>
                      <a:pt x="137" y="424"/>
                      <a:pt x="137" y="424"/>
                    </a:cubicBezTo>
                    <a:cubicBezTo>
                      <a:pt x="138" y="424"/>
                      <a:pt x="139" y="424"/>
                      <a:pt x="139" y="424"/>
                    </a:cubicBezTo>
                    <a:cubicBezTo>
                      <a:pt x="140" y="424"/>
                      <a:pt x="141" y="424"/>
                      <a:pt x="142" y="424"/>
                    </a:cubicBezTo>
                    <a:cubicBezTo>
                      <a:pt x="143" y="424"/>
                      <a:pt x="143" y="424"/>
                      <a:pt x="143" y="424"/>
                    </a:cubicBezTo>
                    <a:cubicBezTo>
                      <a:pt x="144" y="425"/>
                      <a:pt x="144" y="426"/>
                      <a:pt x="144" y="427"/>
                    </a:cubicBezTo>
                    <a:cubicBezTo>
                      <a:pt x="144" y="426"/>
                      <a:pt x="143" y="426"/>
                      <a:pt x="142" y="426"/>
                    </a:cubicBezTo>
                    <a:cubicBezTo>
                      <a:pt x="143" y="426"/>
                      <a:pt x="144" y="427"/>
                      <a:pt x="145" y="428"/>
                    </a:cubicBezTo>
                    <a:cubicBezTo>
                      <a:pt x="145" y="429"/>
                      <a:pt x="146" y="430"/>
                      <a:pt x="146" y="431"/>
                    </a:cubicBezTo>
                    <a:cubicBezTo>
                      <a:pt x="147" y="431"/>
                      <a:pt x="147" y="431"/>
                      <a:pt x="147" y="431"/>
                    </a:cubicBezTo>
                    <a:cubicBezTo>
                      <a:pt x="148" y="431"/>
                      <a:pt x="149" y="431"/>
                      <a:pt x="150" y="431"/>
                    </a:cubicBezTo>
                    <a:cubicBezTo>
                      <a:pt x="153" y="431"/>
                      <a:pt x="154" y="433"/>
                      <a:pt x="157" y="434"/>
                    </a:cubicBezTo>
                    <a:cubicBezTo>
                      <a:pt x="159" y="436"/>
                      <a:pt x="162" y="437"/>
                      <a:pt x="164" y="439"/>
                    </a:cubicBezTo>
                    <a:cubicBezTo>
                      <a:pt x="167" y="442"/>
                      <a:pt x="168" y="444"/>
                      <a:pt x="170" y="448"/>
                    </a:cubicBezTo>
                    <a:cubicBezTo>
                      <a:pt x="172" y="452"/>
                      <a:pt x="173" y="456"/>
                      <a:pt x="175" y="460"/>
                    </a:cubicBezTo>
                    <a:cubicBezTo>
                      <a:pt x="175" y="461"/>
                      <a:pt x="176" y="461"/>
                      <a:pt x="176" y="462"/>
                    </a:cubicBezTo>
                    <a:cubicBezTo>
                      <a:pt x="176" y="462"/>
                      <a:pt x="176" y="462"/>
                      <a:pt x="176" y="462"/>
                    </a:cubicBezTo>
                    <a:cubicBezTo>
                      <a:pt x="176" y="462"/>
                      <a:pt x="176" y="462"/>
                      <a:pt x="176" y="462"/>
                    </a:cubicBezTo>
                    <a:cubicBezTo>
                      <a:pt x="181" y="460"/>
                      <a:pt x="181" y="460"/>
                      <a:pt x="181" y="460"/>
                    </a:cubicBezTo>
                    <a:cubicBezTo>
                      <a:pt x="181" y="460"/>
                      <a:pt x="186" y="459"/>
                      <a:pt x="190" y="459"/>
                    </a:cubicBezTo>
                    <a:cubicBezTo>
                      <a:pt x="192" y="459"/>
                      <a:pt x="197" y="458"/>
                      <a:pt x="202" y="458"/>
                    </a:cubicBezTo>
                    <a:cubicBezTo>
                      <a:pt x="204" y="458"/>
                      <a:pt x="204" y="458"/>
                      <a:pt x="204" y="458"/>
                    </a:cubicBezTo>
                    <a:cubicBezTo>
                      <a:pt x="209" y="457"/>
                      <a:pt x="213" y="457"/>
                      <a:pt x="214" y="457"/>
                    </a:cubicBezTo>
                    <a:cubicBezTo>
                      <a:pt x="215" y="457"/>
                      <a:pt x="217" y="457"/>
                      <a:pt x="218" y="456"/>
                    </a:cubicBezTo>
                    <a:cubicBezTo>
                      <a:pt x="223" y="456"/>
                      <a:pt x="228" y="455"/>
                      <a:pt x="231" y="455"/>
                    </a:cubicBezTo>
                    <a:cubicBezTo>
                      <a:pt x="231" y="455"/>
                      <a:pt x="232" y="455"/>
                      <a:pt x="232" y="455"/>
                    </a:cubicBezTo>
                    <a:cubicBezTo>
                      <a:pt x="233" y="455"/>
                      <a:pt x="233" y="455"/>
                      <a:pt x="233" y="455"/>
                    </a:cubicBezTo>
                    <a:cubicBezTo>
                      <a:pt x="233" y="455"/>
                      <a:pt x="233" y="455"/>
                      <a:pt x="233" y="455"/>
                    </a:cubicBezTo>
                    <a:cubicBezTo>
                      <a:pt x="243" y="457"/>
                      <a:pt x="243" y="457"/>
                      <a:pt x="243" y="457"/>
                    </a:cubicBezTo>
                    <a:cubicBezTo>
                      <a:pt x="236" y="461"/>
                      <a:pt x="236" y="461"/>
                      <a:pt x="236" y="461"/>
                    </a:cubicBezTo>
                    <a:cubicBezTo>
                      <a:pt x="235" y="461"/>
                      <a:pt x="235" y="461"/>
                      <a:pt x="235" y="461"/>
                    </a:cubicBezTo>
                    <a:cubicBezTo>
                      <a:pt x="234" y="461"/>
                      <a:pt x="234" y="461"/>
                      <a:pt x="234" y="461"/>
                    </a:cubicBezTo>
                    <a:cubicBezTo>
                      <a:pt x="234" y="462"/>
                      <a:pt x="234" y="462"/>
                      <a:pt x="234" y="462"/>
                    </a:cubicBezTo>
                    <a:cubicBezTo>
                      <a:pt x="248" y="467"/>
                      <a:pt x="285" y="480"/>
                      <a:pt x="294" y="483"/>
                    </a:cubicBezTo>
                    <a:cubicBezTo>
                      <a:pt x="322" y="491"/>
                      <a:pt x="329" y="491"/>
                      <a:pt x="355" y="491"/>
                    </a:cubicBezTo>
                    <a:cubicBezTo>
                      <a:pt x="379" y="491"/>
                      <a:pt x="379" y="491"/>
                      <a:pt x="379" y="491"/>
                    </a:cubicBezTo>
                    <a:cubicBezTo>
                      <a:pt x="380" y="490"/>
                      <a:pt x="380" y="489"/>
                      <a:pt x="380" y="489"/>
                    </a:cubicBezTo>
                    <a:cubicBezTo>
                      <a:pt x="380" y="488"/>
                      <a:pt x="380" y="487"/>
                      <a:pt x="380" y="486"/>
                    </a:cubicBezTo>
                    <a:cubicBezTo>
                      <a:pt x="380" y="486"/>
                      <a:pt x="380" y="485"/>
                      <a:pt x="380" y="485"/>
                    </a:cubicBezTo>
                    <a:cubicBezTo>
                      <a:pt x="380" y="484"/>
                      <a:pt x="379" y="482"/>
                      <a:pt x="380" y="481"/>
                    </a:cubicBezTo>
                    <a:cubicBezTo>
                      <a:pt x="381" y="480"/>
                      <a:pt x="382" y="479"/>
                      <a:pt x="384" y="479"/>
                    </a:cubicBezTo>
                    <a:cubicBezTo>
                      <a:pt x="384" y="479"/>
                      <a:pt x="384" y="479"/>
                      <a:pt x="384" y="479"/>
                    </a:cubicBezTo>
                    <a:cubicBezTo>
                      <a:pt x="386" y="480"/>
                      <a:pt x="399" y="480"/>
                      <a:pt x="411" y="480"/>
                    </a:cubicBezTo>
                    <a:cubicBezTo>
                      <a:pt x="422" y="480"/>
                      <a:pt x="422" y="480"/>
                      <a:pt x="422" y="480"/>
                    </a:cubicBezTo>
                    <a:cubicBezTo>
                      <a:pt x="428" y="480"/>
                      <a:pt x="430" y="485"/>
                      <a:pt x="431" y="487"/>
                    </a:cubicBezTo>
                    <a:cubicBezTo>
                      <a:pt x="431" y="487"/>
                      <a:pt x="431" y="487"/>
                      <a:pt x="431" y="487"/>
                    </a:cubicBezTo>
                    <a:cubicBezTo>
                      <a:pt x="431" y="488"/>
                      <a:pt x="432" y="489"/>
                      <a:pt x="435" y="490"/>
                    </a:cubicBezTo>
                    <a:cubicBezTo>
                      <a:pt x="436" y="490"/>
                      <a:pt x="439" y="493"/>
                      <a:pt x="443" y="496"/>
                    </a:cubicBezTo>
                    <a:cubicBezTo>
                      <a:pt x="449" y="500"/>
                      <a:pt x="455" y="505"/>
                      <a:pt x="458" y="507"/>
                    </a:cubicBezTo>
                    <a:cubicBezTo>
                      <a:pt x="459" y="508"/>
                      <a:pt x="459" y="508"/>
                      <a:pt x="459" y="508"/>
                    </a:cubicBezTo>
                    <a:cubicBezTo>
                      <a:pt x="460" y="509"/>
                      <a:pt x="462" y="512"/>
                      <a:pt x="465" y="517"/>
                    </a:cubicBezTo>
                    <a:cubicBezTo>
                      <a:pt x="466" y="521"/>
                      <a:pt x="467" y="524"/>
                      <a:pt x="468" y="528"/>
                    </a:cubicBezTo>
                    <a:cubicBezTo>
                      <a:pt x="469" y="535"/>
                      <a:pt x="480" y="541"/>
                      <a:pt x="485" y="544"/>
                    </a:cubicBezTo>
                    <a:cubicBezTo>
                      <a:pt x="488" y="545"/>
                      <a:pt x="488" y="545"/>
                      <a:pt x="488" y="545"/>
                    </a:cubicBezTo>
                    <a:cubicBezTo>
                      <a:pt x="491" y="547"/>
                      <a:pt x="495" y="549"/>
                      <a:pt x="499" y="549"/>
                    </a:cubicBezTo>
                    <a:cubicBezTo>
                      <a:pt x="499" y="549"/>
                      <a:pt x="499" y="549"/>
                      <a:pt x="500" y="549"/>
                    </a:cubicBezTo>
                    <a:cubicBezTo>
                      <a:pt x="501" y="549"/>
                      <a:pt x="501" y="548"/>
                      <a:pt x="502" y="547"/>
                    </a:cubicBezTo>
                    <a:cubicBezTo>
                      <a:pt x="503" y="545"/>
                      <a:pt x="504" y="544"/>
                      <a:pt x="505" y="542"/>
                    </a:cubicBezTo>
                    <a:cubicBezTo>
                      <a:pt x="507" y="536"/>
                      <a:pt x="510" y="531"/>
                      <a:pt x="516" y="531"/>
                    </a:cubicBezTo>
                    <a:cubicBezTo>
                      <a:pt x="516" y="531"/>
                      <a:pt x="516" y="531"/>
                      <a:pt x="516" y="531"/>
                    </a:cubicBezTo>
                    <a:cubicBezTo>
                      <a:pt x="516" y="530"/>
                      <a:pt x="517" y="530"/>
                      <a:pt x="517" y="529"/>
                    </a:cubicBezTo>
                    <a:cubicBezTo>
                      <a:pt x="518" y="528"/>
                      <a:pt x="520" y="528"/>
                      <a:pt x="522" y="528"/>
                    </a:cubicBezTo>
                    <a:cubicBezTo>
                      <a:pt x="523" y="528"/>
                      <a:pt x="524" y="528"/>
                      <a:pt x="525" y="528"/>
                    </a:cubicBezTo>
                    <a:cubicBezTo>
                      <a:pt x="525" y="528"/>
                      <a:pt x="526" y="529"/>
                      <a:pt x="528" y="529"/>
                    </a:cubicBezTo>
                    <a:cubicBezTo>
                      <a:pt x="530" y="530"/>
                      <a:pt x="533" y="531"/>
                      <a:pt x="535" y="531"/>
                    </a:cubicBezTo>
                    <a:cubicBezTo>
                      <a:pt x="536" y="531"/>
                      <a:pt x="536" y="530"/>
                      <a:pt x="536" y="530"/>
                    </a:cubicBezTo>
                    <a:cubicBezTo>
                      <a:pt x="537" y="530"/>
                      <a:pt x="537" y="530"/>
                      <a:pt x="538" y="530"/>
                    </a:cubicBezTo>
                    <a:cubicBezTo>
                      <a:pt x="540" y="530"/>
                      <a:pt x="543" y="532"/>
                      <a:pt x="548" y="536"/>
                    </a:cubicBezTo>
                    <a:cubicBezTo>
                      <a:pt x="549" y="537"/>
                      <a:pt x="549" y="537"/>
                      <a:pt x="550" y="538"/>
                    </a:cubicBezTo>
                    <a:cubicBezTo>
                      <a:pt x="553" y="540"/>
                      <a:pt x="557" y="544"/>
                      <a:pt x="562" y="552"/>
                    </a:cubicBezTo>
                    <a:cubicBezTo>
                      <a:pt x="567" y="562"/>
                      <a:pt x="571" y="568"/>
                      <a:pt x="576" y="575"/>
                    </a:cubicBezTo>
                    <a:cubicBezTo>
                      <a:pt x="578" y="578"/>
                      <a:pt x="580" y="580"/>
                      <a:pt x="580" y="582"/>
                    </a:cubicBezTo>
                    <a:cubicBezTo>
                      <a:pt x="580" y="583"/>
                      <a:pt x="581" y="583"/>
                      <a:pt x="584" y="584"/>
                    </a:cubicBezTo>
                    <a:cubicBezTo>
                      <a:pt x="587" y="586"/>
                      <a:pt x="589" y="590"/>
                      <a:pt x="588" y="594"/>
                    </a:cubicBezTo>
                    <a:cubicBezTo>
                      <a:pt x="588" y="595"/>
                      <a:pt x="588" y="595"/>
                      <a:pt x="588" y="595"/>
                    </a:cubicBezTo>
                    <a:cubicBezTo>
                      <a:pt x="589" y="597"/>
                      <a:pt x="591" y="601"/>
                      <a:pt x="596" y="614"/>
                    </a:cubicBezTo>
                    <a:cubicBezTo>
                      <a:pt x="596" y="615"/>
                      <a:pt x="597" y="615"/>
                      <a:pt x="602" y="617"/>
                    </a:cubicBezTo>
                    <a:cubicBezTo>
                      <a:pt x="607" y="619"/>
                      <a:pt x="610" y="620"/>
                      <a:pt x="612" y="621"/>
                    </a:cubicBezTo>
                    <a:cubicBezTo>
                      <a:pt x="612" y="621"/>
                      <a:pt x="613" y="622"/>
                      <a:pt x="613" y="622"/>
                    </a:cubicBezTo>
                    <a:cubicBezTo>
                      <a:pt x="614" y="622"/>
                      <a:pt x="614" y="622"/>
                      <a:pt x="614" y="622"/>
                    </a:cubicBezTo>
                    <a:cubicBezTo>
                      <a:pt x="615" y="623"/>
                      <a:pt x="620" y="624"/>
                      <a:pt x="622" y="624"/>
                    </a:cubicBezTo>
                    <a:cubicBezTo>
                      <a:pt x="626" y="624"/>
                      <a:pt x="630" y="626"/>
                      <a:pt x="631" y="628"/>
                    </a:cubicBezTo>
                    <a:cubicBezTo>
                      <a:pt x="632" y="628"/>
                      <a:pt x="633" y="628"/>
                      <a:pt x="636" y="627"/>
                    </a:cubicBezTo>
                    <a:cubicBezTo>
                      <a:pt x="635" y="626"/>
                      <a:pt x="635" y="624"/>
                      <a:pt x="635" y="622"/>
                    </a:cubicBezTo>
                    <a:cubicBezTo>
                      <a:pt x="633" y="617"/>
                      <a:pt x="631" y="612"/>
                      <a:pt x="630" y="607"/>
                    </a:cubicBezTo>
                    <a:cubicBezTo>
                      <a:pt x="630" y="605"/>
                      <a:pt x="630" y="604"/>
                      <a:pt x="630" y="603"/>
                    </a:cubicBezTo>
                    <a:cubicBezTo>
                      <a:pt x="630" y="603"/>
                      <a:pt x="630" y="603"/>
                      <a:pt x="630" y="603"/>
                    </a:cubicBezTo>
                    <a:cubicBezTo>
                      <a:pt x="631" y="603"/>
                      <a:pt x="631" y="603"/>
                      <a:pt x="631" y="603"/>
                    </a:cubicBezTo>
                    <a:cubicBezTo>
                      <a:pt x="631" y="602"/>
                      <a:pt x="632" y="602"/>
                      <a:pt x="632" y="602"/>
                    </a:cubicBezTo>
                    <a:cubicBezTo>
                      <a:pt x="632" y="602"/>
                      <a:pt x="632" y="602"/>
                      <a:pt x="632" y="602"/>
                    </a:cubicBezTo>
                    <a:cubicBezTo>
                      <a:pt x="632" y="601"/>
                      <a:pt x="633" y="598"/>
                      <a:pt x="633" y="597"/>
                    </a:cubicBezTo>
                    <a:cubicBezTo>
                      <a:pt x="632" y="597"/>
                      <a:pt x="631" y="597"/>
                      <a:pt x="631" y="597"/>
                    </a:cubicBezTo>
                    <a:cubicBezTo>
                      <a:pt x="629" y="597"/>
                      <a:pt x="628" y="596"/>
                      <a:pt x="625" y="596"/>
                    </a:cubicBezTo>
                    <a:cubicBezTo>
                      <a:pt x="626" y="595"/>
                      <a:pt x="625" y="593"/>
                      <a:pt x="625" y="592"/>
                    </a:cubicBezTo>
                    <a:cubicBezTo>
                      <a:pt x="627" y="593"/>
                      <a:pt x="627" y="595"/>
                      <a:pt x="629" y="596"/>
                    </a:cubicBezTo>
                    <a:cubicBezTo>
                      <a:pt x="629" y="595"/>
                      <a:pt x="629" y="595"/>
                      <a:pt x="629" y="595"/>
                    </a:cubicBezTo>
                    <a:cubicBezTo>
                      <a:pt x="630" y="595"/>
                      <a:pt x="632" y="596"/>
                      <a:pt x="631" y="596"/>
                    </a:cubicBezTo>
                    <a:cubicBezTo>
                      <a:pt x="631" y="596"/>
                      <a:pt x="632" y="596"/>
                      <a:pt x="633" y="595"/>
                    </a:cubicBezTo>
                    <a:cubicBezTo>
                      <a:pt x="634" y="594"/>
                      <a:pt x="635" y="592"/>
                      <a:pt x="635" y="590"/>
                    </a:cubicBezTo>
                    <a:cubicBezTo>
                      <a:pt x="636" y="589"/>
                      <a:pt x="637" y="587"/>
                      <a:pt x="637" y="586"/>
                    </a:cubicBezTo>
                    <a:cubicBezTo>
                      <a:pt x="637" y="585"/>
                      <a:pt x="635" y="586"/>
                      <a:pt x="635" y="585"/>
                    </a:cubicBezTo>
                    <a:cubicBezTo>
                      <a:pt x="634" y="582"/>
                      <a:pt x="634" y="584"/>
                      <a:pt x="631" y="582"/>
                    </a:cubicBezTo>
                    <a:cubicBezTo>
                      <a:pt x="631" y="582"/>
                      <a:pt x="632" y="582"/>
                      <a:pt x="632" y="582"/>
                    </a:cubicBezTo>
                    <a:cubicBezTo>
                      <a:pt x="632" y="582"/>
                      <a:pt x="633" y="582"/>
                      <a:pt x="634" y="581"/>
                    </a:cubicBezTo>
                    <a:cubicBezTo>
                      <a:pt x="635" y="581"/>
                      <a:pt x="635" y="581"/>
                      <a:pt x="636" y="581"/>
                    </a:cubicBezTo>
                    <a:cubicBezTo>
                      <a:pt x="636" y="581"/>
                      <a:pt x="637" y="581"/>
                      <a:pt x="637" y="581"/>
                    </a:cubicBezTo>
                    <a:cubicBezTo>
                      <a:pt x="638" y="582"/>
                      <a:pt x="638" y="583"/>
                      <a:pt x="638" y="583"/>
                    </a:cubicBezTo>
                    <a:cubicBezTo>
                      <a:pt x="638" y="583"/>
                      <a:pt x="639" y="582"/>
                      <a:pt x="639" y="582"/>
                    </a:cubicBezTo>
                    <a:cubicBezTo>
                      <a:pt x="641" y="581"/>
                      <a:pt x="642" y="577"/>
                      <a:pt x="643" y="576"/>
                    </a:cubicBezTo>
                    <a:cubicBezTo>
                      <a:pt x="642" y="576"/>
                      <a:pt x="642" y="576"/>
                      <a:pt x="642" y="576"/>
                    </a:cubicBezTo>
                    <a:cubicBezTo>
                      <a:pt x="641" y="576"/>
                      <a:pt x="640" y="575"/>
                      <a:pt x="639" y="574"/>
                    </a:cubicBezTo>
                    <a:cubicBezTo>
                      <a:pt x="640" y="574"/>
                      <a:pt x="640" y="575"/>
                      <a:pt x="640" y="575"/>
                    </a:cubicBezTo>
                    <a:cubicBezTo>
                      <a:pt x="641" y="575"/>
                      <a:pt x="642" y="574"/>
                      <a:pt x="643" y="573"/>
                    </a:cubicBezTo>
                    <a:cubicBezTo>
                      <a:pt x="643" y="574"/>
                      <a:pt x="643" y="575"/>
                      <a:pt x="643" y="575"/>
                    </a:cubicBezTo>
                    <a:cubicBezTo>
                      <a:pt x="644" y="574"/>
                      <a:pt x="644" y="573"/>
                      <a:pt x="645" y="572"/>
                    </a:cubicBezTo>
                    <a:cubicBezTo>
                      <a:pt x="645" y="573"/>
                      <a:pt x="645" y="574"/>
                      <a:pt x="644" y="575"/>
                    </a:cubicBezTo>
                    <a:cubicBezTo>
                      <a:pt x="645" y="574"/>
                      <a:pt x="646" y="567"/>
                      <a:pt x="648" y="566"/>
                    </a:cubicBezTo>
                    <a:cubicBezTo>
                      <a:pt x="648" y="566"/>
                      <a:pt x="648" y="566"/>
                      <a:pt x="648" y="566"/>
                    </a:cubicBezTo>
                    <a:cubicBezTo>
                      <a:pt x="648" y="566"/>
                      <a:pt x="650" y="569"/>
                      <a:pt x="650" y="569"/>
                    </a:cubicBezTo>
                    <a:cubicBezTo>
                      <a:pt x="651" y="570"/>
                      <a:pt x="650" y="570"/>
                      <a:pt x="651" y="570"/>
                    </a:cubicBezTo>
                    <a:cubicBezTo>
                      <a:pt x="651" y="570"/>
                      <a:pt x="652" y="570"/>
                      <a:pt x="652" y="570"/>
                    </a:cubicBezTo>
                    <a:cubicBezTo>
                      <a:pt x="653" y="570"/>
                      <a:pt x="656" y="568"/>
                      <a:pt x="657" y="567"/>
                    </a:cubicBezTo>
                    <a:cubicBezTo>
                      <a:pt x="654" y="566"/>
                      <a:pt x="652" y="563"/>
                      <a:pt x="651" y="560"/>
                    </a:cubicBezTo>
                    <a:cubicBezTo>
                      <a:pt x="652" y="560"/>
                      <a:pt x="652" y="560"/>
                      <a:pt x="652" y="560"/>
                    </a:cubicBezTo>
                    <a:cubicBezTo>
                      <a:pt x="653" y="560"/>
                      <a:pt x="653" y="562"/>
                      <a:pt x="654" y="562"/>
                    </a:cubicBezTo>
                    <a:cubicBezTo>
                      <a:pt x="654" y="563"/>
                      <a:pt x="655" y="563"/>
                      <a:pt x="656" y="563"/>
                    </a:cubicBezTo>
                    <a:cubicBezTo>
                      <a:pt x="657" y="563"/>
                      <a:pt x="658" y="562"/>
                      <a:pt x="656" y="559"/>
                    </a:cubicBezTo>
                    <a:cubicBezTo>
                      <a:pt x="657" y="560"/>
                      <a:pt x="657" y="562"/>
                      <a:pt x="658" y="562"/>
                    </a:cubicBezTo>
                    <a:cubicBezTo>
                      <a:pt x="658" y="562"/>
                      <a:pt x="658" y="562"/>
                      <a:pt x="658" y="562"/>
                    </a:cubicBezTo>
                    <a:cubicBezTo>
                      <a:pt x="659" y="562"/>
                      <a:pt x="660" y="561"/>
                      <a:pt x="662" y="561"/>
                    </a:cubicBezTo>
                    <a:cubicBezTo>
                      <a:pt x="661" y="563"/>
                      <a:pt x="661" y="563"/>
                      <a:pt x="662" y="563"/>
                    </a:cubicBezTo>
                    <a:cubicBezTo>
                      <a:pt x="662" y="563"/>
                      <a:pt x="663" y="563"/>
                      <a:pt x="663" y="563"/>
                    </a:cubicBezTo>
                    <a:cubicBezTo>
                      <a:pt x="664" y="563"/>
                      <a:pt x="665" y="563"/>
                      <a:pt x="665" y="563"/>
                    </a:cubicBezTo>
                    <a:cubicBezTo>
                      <a:pt x="666" y="563"/>
                      <a:pt x="666" y="563"/>
                      <a:pt x="666" y="563"/>
                    </a:cubicBezTo>
                    <a:cubicBezTo>
                      <a:pt x="665" y="564"/>
                      <a:pt x="663" y="565"/>
                      <a:pt x="661" y="566"/>
                    </a:cubicBezTo>
                    <a:cubicBezTo>
                      <a:pt x="665" y="565"/>
                      <a:pt x="670" y="563"/>
                      <a:pt x="673" y="560"/>
                    </a:cubicBezTo>
                    <a:cubicBezTo>
                      <a:pt x="672" y="561"/>
                      <a:pt x="670" y="561"/>
                      <a:pt x="669" y="561"/>
                    </a:cubicBezTo>
                    <a:cubicBezTo>
                      <a:pt x="669" y="561"/>
                      <a:pt x="668" y="561"/>
                      <a:pt x="668" y="561"/>
                    </a:cubicBezTo>
                    <a:cubicBezTo>
                      <a:pt x="671" y="560"/>
                      <a:pt x="674" y="560"/>
                      <a:pt x="677" y="558"/>
                    </a:cubicBezTo>
                    <a:cubicBezTo>
                      <a:pt x="681" y="556"/>
                      <a:pt x="682" y="553"/>
                      <a:pt x="684" y="550"/>
                    </a:cubicBezTo>
                    <a:cubicBezTo>
                      <a:pt x="685" y="549"/>
                      <a:pt x="686" y="548"/>
                      <a:pt x="686" y="548"/>
                    </a:cubicBezTo>
                    <a:cubicBezTo>
                      <a:pt x="686" y="548"/>
                      <a:pt x="686" y="549"/>
                      <a:pt x="686" y="549"/>
                    </a:cubicBezTo>
                    <a:cubicBezTo>
                      <a:pt x="687" y="549"/>
                      <a:pt x="687" y="549"/>
                      <a:pt x="687" y="549"/>
                    </a:cubicBezTo>
                    <a:cubicBezTo>
                      <a:pt x="687" y="549"/>
                      <a:pt x="687" y="549"/>
                      <a:pt x="687" y="549"/>
                    </a:cubicBezTo>
                    <a:cubicBezTo>
                      <a:pt x="689" y="548"/>
                      <a:pt x="692" y="545"/>
                      <a:pt x="694" y="544"/>
                    </a:cubicBezTo>
                    <a:cubicBezTo>
                      <a:pt x="693" y="543"/>
                      <a:pt x="692" y="543"/>
                      <a:pt x="692" y="542"/>
                    </a:cubicBezTo>
                    <a:cubicBezTo>
                      <a:pt x="691" y="543"/>
                      <a:pt x="691" y="543"/>
                      <a:pt x="691" y="543"/>
                    </a:cubicBezTo>
                    <a:cubicBezTo>
                      <a:pt x="690" y="542"/>
                      <a:pt x="692" y="541"/>
                      <a:pt x="691" y="541"/>
                    </a:cubicBezTo>
                    <a:cubicBezTo>
                      <a:pt x="691" y="540"/>
                      <a:pt x="690" y="541"/>
                      <a:pt x="689" y="540"/>
                    </a:cubicBezTo>
                    <a:cubicBezTo>
                      <a:pt x="689" y="539"/>
                      <a:pt x="690" y="539"/>
                      <a:pt x="690" y="538"/>
                    </a:cubicBezTo>
                    <a:cubicBezTo>
                      <a:pt x="689" y="537"/>
                      <a:pt x="689" y="536"/>
                      <a:pt x="688" y="535"/>
                    </a:cubicBezTo>
                    <a:cubicBezTo>
                      <a:pt x="688" y="535"/>
                      <a:pt x="688" y="535"/>
                      <a:pt x="688" y="535"/>
                    </a:cubicBezTo>
                    <a:cubicBezTo>
                      <a:pt x="689" y="535"/>
                      <a:pt x="691" y="535"/>
                      <a:pt x="691" y="536"/>
                    </a:cubicBezTo>
                    <a:cubicBezTo>
                      <a:pt x="692" y="536"/>
                      <a:pt x="693" y="533"/>
                      <a:pt x="695" y="533"/>
                    </a:cubicBezTo>
                    <a:cubicBezTo>
                      <a:pt x="695" y="533"/>
                      <a:pt x="695" y="533"/>
                      <a:pt x="695" y="533"/>
                    </a:cubicBezTo>
                    <a:cubicBezTo>
                      <a:pt x="696" y="534"/>
                      <a:pt x="696" y="535"/>
                      <a:pt x="696" y="536"/>
                    </a:cubicBezTo>
                    <a:cubicBezTo>
                      <a:pt x="694" y="540"/>
                      <a:pt x="693" y="539"/>
                      <a:pt x="696" y="539"/>
                    </a:cubicBezTo>
                    <a:cubicBezTo>
                      <a:pt x="696" y="539"/>
                      <a:pt x="696" y="539"/>
                      <a:pt x="696" y="539"/>
                    </a:cubicBezTo>
                    <a:cubicBezTo>
                      <a:pt x="697" y="539"/>
                      <a:pt x="698" y="539"/>
                      <a:pt x="698" y="539"/>
                    </a:cubicBezTo>
                    <a:cubicBezTo>
                      <a:pt x="699" y="539"/>
                      <a:pt x="699" y="539"/>
                      <a:pt x="700" y="539"/>
                    </a:cubicBezTo>
                    <a:cubicBezTo>
                      <a:pt x="700" y="539"/>
                      <a:pt x="701" y="539"/>
                      <a:pt x="702" y="539"/>
                    </a:cubicBezTo>
                    <a:cubicBezTo>
                      <a:pt x="700" y="540"/>
                      <a:pt x="695" y="542"/>
                      <a:pt x="694" y="544"/>
                    </a:cubicBezTo>
                    <a:cubicBezTo>
                      <a:pt x="694" y="544"/>
                      <a:pt x="694" y="544"/>
                      <a:pt x="695" y="544"/>
                    </a:cubicBezTo>
                    <a:cubicBezTo>
                      <a:pt x="695" y="544"/>
                      <a:pt x="697" y="542"/>
                      <a:pt x="697" y="542"/>
                    </a:cubicBezTo>
                    <a:cubicBezTo>
                      <a:pt x="698" y="542"/>
                      <a:pt x="700" y="541"/>
                      <a:pt x="702" y="540"/>
                    </a:cubicBezTo>
                    <a:cubicBezTo>
                      <a:pt x="704" y="539"/>
                      <a:pt x="706" y="538"/>
                      <a:pt x="708" y="538"/>
                    </a:cubicBezTo>
                    <a:cubicBezTo>
                      <a:pt x="711" y="536"/>
                      <a:pt x="713" y="537"/>
                      <a:pt x="716" y="536"/>
                    </a:cubicBezTo>
                    <a:cubicBezTo>
                      <a:pt x="714" y="534"/>
                      <a:pt x="717" y="530"/>
                      <a:pt x="717" y="528"/>
                    </a:cubicBezTo>
                    <a:cubicBezTo>
                      <a:pt x="717" y="530"/>
                      <a:pt x="716" y="533"/>
                      <a:pt x="716" y="535"/>
                    </a:cubicBezTo>
                    <a:cubicBezTo>
                      <a:pt x="720" y="533"/>
                      <a:pt x="723" y="534"/>
                      <a:pt x="727" y="533"/>
                    </a:cubicBezTo>
                    <a:cubicBezTo>
                      <a:pt x="729" y="533"/>
                      <a:pt x="726" y="532"/>
                      <a:pt x="726" y="532"/>
                    </a:cubicBezTo>
                    <a:cubicBezTo>
                      <a:pt x="726" y="531"/>
                      <a:pt x="726" y="531"/>
                      <a:pt x="726" y="531"/>
                    </a:cubicBezTo>
                    <a:cubicBezTo>
                      <a:pt x="726" y="531"/>
                      <a:pt x="727" y="531"/>
                      <a:pt x="727" y="531"/>
                    </a:cubicBezTo>
                    <a:cubicBezTo>
                      <a:pt x="728" y="530"/>
                      <a:pt x="728" y="530"/>
                      <a:pt x="728" y="530"/>
                    </a:cubicBezTo>
                    <a:cubicBezTo>
                      <a:pt x="728" y="529"/>
                      <a:pt x="728" y="527"/>
                      <a:pt x="728" y="526"/>
                    </a:cubicBezTo>
                    <a:cubicBezTo>
                      <a:pt x="730" y="526"/>
                      <a:pt x="729" y="527"/>
                      <a:pt x="730" y="528"/>
                    </a:cubicBezTo>
                    <a:cubicBezTo>
                      <a:pt x="732" y="532"/>
                      <a:pt x="739" y="533"/>
                      <a:pt x="743" y="535"/>
                    </a:cubicBezTo>
                    <a:cubicBezTo>
                      <a:pt x="746" y="537"/>
                      <a:pt x="749" y="539"/>
                      <a:pt x="753" y="539"/>
                    </a:cubicBezTo>
                    <a:cubicBezTo>
                      <a:pt x="753" y="539"/>
                      <a:pt x="753" y="539"/>
                      <a:pt x="754" y="539"/>
                    </a:cubicBezTo>
                    <a:cubicBezTo>
                      <a:pt x="755" y="539"/>
                      <a:pt x="756" y="538"/>
                      <a:pt x="758" y="538"/>
                    </a:cubicBezTo>
                    <a:cubicBezTo>
                      <a:pt x="757" y="538"/>
                      <a:pt x="755" y="536"/>
                      <a:pt x="755" y="536"/>
                    </a:cubicBezTo>
                    <a:cubicBezTo>
                      <a:pt x="755" y="535"/>
                      <a:pt x="755" y="535"/>
                      <a:pt x="755" y="535"/>
                    </a:cubicBezTo>
                    <a:cubicBezTo>
                      <a:pt x="755" y="535"/>
                      <a:pt x="755" y="535"/>
                      <a:pt x="755" y="535"/>
                    </a:cubicBezTo>
                    <a:cubicBezTo>
                      <a:pt x="755" y="535"/>
                      <a:pt x="755" y="535"/>
                      <a:pt x="755" y="535"/>
                    </a:cubicBezTo>
                    <a:cubicBezTo>
                      <a:pt x="755" y="535"/>
                      <a:pt x="756" y="535"/>
                      <a:pt x="756" y="535"/>
                    </a:cubicBezTo>
                    <a:cubicBezTo>
                      <a:pt x="757" y="534"/>
                      <a:pt x="761" y="532"/>
                      <a:pt x="763" y="532"/>
                    </a:cubicBezTo>
                    <a:cubicBezTo>
                      <a:pt x="763" y="532"/>
                      <a:pt x="763" y="532"/>
                      <a:pt x="763" y="532"/>
                    </a:cubicBezTo>
                    <a:cubicBezTo>
                      <a:pt x="764" y="532"/>
                      <a:pt x="767" y="534"/>
                      <a:pt x="768" y="535"/>
                    </a:cubicBezTo>
                    <a:cubicBezTo>
                      <a:pt x="768" y="535"/>
                      <a:pt x="768" y="536"/>
                      <a:pt x="769" y="537"/>
                    </a:cubicBezTo>
                    <a:cubicBezTo>
                      <a:pt x="769" y="538"/>
                      <a:pt x="774" y="541"/>
                      <a:pt x="775" y="541"/>
                    </a:cubicBezTo>
                    <a:cubicBezTo>
                      <a:pt x="775" y="541"/>
                      <a:pt x="775" y="541"/>
                      <a:pt x="775" y="541"/>
                    </a:cubicBezTo>
                    <a:cubicBezTo>
                      <a:pt x="776" y="540"/>
                      <a:pt x="777" y="538"/>
                      <a:pt x="777" y="538"/>
                    </a:cubicBezTo>
                    <a:cubicBezTo>
                      <a:pt x="777" y="539"/>
                      <a:pt x="776" y="540"/>
                      <a:pt x="776" y="541"/>
                    </a:cubicBezTo>
                    <a:cubicBezTo>
                      <a:pt x="776" y="543"/>
                      <a:pt x="778" y="543"/>
                      <a:pt x="779" y="544"/>
                    </a:cubicBezTo>
                    <a:cubicBezTo>
                      <a:pt x="782" y="546"/>
                      <a:pt x="785" y="550"/>
                      <a:pt x="788" y="550"/>
                    </a:cubicBezTo>
                    <a:cubicBezTo>
                      <a:pt x="789" y="550"/>
                      <a:pt x="789" y="550"/>
                      <a:pt x="790" y="549"/>
                    </a:cubicBezTo>
                    <a:cubicBezTo>
                      <a:pt x="791" y="549"/>
                      <a:pt x="792" y="547"/>
                      <a:pt x="792" y="546"/>
                    </a:cubicBezTo>
                    <a:cubicBezTo>
                      <a:pt x="793" y="545"/>
                      <a:pt x="794" y="545"/>
                      <a:pt x="796" y="545"/>
                    </a:cubicBezTo>
                    <a:cubicBezTo>
                      <a:pt x="797" y="545"/>
                      <a:pt x="799" y="546"/>
                      <a:pt x="800" y="547"/>
                    </a:cubicBezTo>
                    <a:cubicBezTo>
                      <a:pt x="800" y="549"/>
                      <a:pt x="799" y="551"/>
                      <a:pt x="800" y="551"/>
                    </a:cubicBezTo>
                    <a:cubicBezTo>
                      <a:pt x="801" y="551"/>
                      <a:pt x="801" y="551"/>
                      <a:pt x="802" y="550"/>
                    </a:cubicBezTo>
                    <a:cubicBezTo>
                      <a:pt x="805" y="549"/>
                      <a:pt x="802" y="546"/>
                      <a:pt x="805" y="546"/>
                    </a:cubicBezTo>
                    <a:cubicBezTo>
                      <a:pt x="805" y="546"/>
                      <a:pt x="805" y="546"/>
                      <a:pt x="805" y="546"/>
                    </a:cubicBezTo>
                    <a:cubicBezTo>
                      <a:pt x="804" y="545"/>
                      <a:pt x="805" y="544"/>
                      <a:pt x="804" y="543"/>
                    </a:cubicBezTo>
                    <a:cubicBezTo>
                      <a:pt x="804" y="543"/>
                      <a:pt x="805" y="543"/>
                      <a:pt x="804" y="542"/>
                    </a:cubicBezTo>
                    <a:cubicBezTo>
                      <a:pt x="804" y="541"/>
                      <a:pt x="802" y="541"/>
                      <a:pt x="801" y="539"/>
                    </a:cubicBezTo>
                    <a:cubicBezTo>
                      <a:pt x="803" y="539"/>
                      <a:pt x="811" y="541"/>
                      <a:pt x="809" y="542"/>
                    </a:cubicBezTo>
                    <a:cubicBezTo>
                      <a:pt x="812" y="544"/>
                      <a:pt x="814" y="545"/>
                      <a:pt x="818" y="547"/>
                    </a:cubicBezTo>
                    <a:cubicBezTo>
                      <a:pt x="818" y="548"/>
                      <a:pt x="818" y="549"/>
                      <a:pt x="819" y="550"/>
                    </a:cubicBezTo>
                    <a:cubicBezTo>
                      <a:pt x="820" y="550"/>
                      <a:pt x="820" y="550"/>
                      <a:pt x="820" y="550"/>
                    </a:cubicBezTo>
                    <a:cubicBezTo>
                      <a:pt x="820" y="550"/>
                      <a:pt x="821" y="550"/>
                      <a:pt x="821" y="549"/>
                    </a:cubicBezTo>
                    <a:cubicBezTo>
                      <a:pt x="821" y="549"/>
                      <a:pt x="822" y="549"/>
                      <a:pt x="822" y="549"/>
                    </a:cubicBezTo>
                    <a:cubicBezTo>
                      <a:pt x="822" y="549"/>
                      <a:pt x="822" y="549"/>
                      <a:pt x="822" y="550"/>
                    </a:cubicBezTo>
                    <a:cubicBezTo>
                      <a:pt x="822" y="551"/>
                      <a:pt x="820" y="554"/>
                      <a:pt x="820" y="555"/>
                    </a:cubicBezTo>
                    <a:cubicBezTo>
                      <a:pt x="821" y="554"/>
                      <a:pt x="824" y="554"/>
                      <a:pt x="826" y="553"/>
                    </a:cubicBezTo>
                    <a:cubicBezTo>
                      <a:pt x="825" y="552"/>
                      <a:pt x="829" y="549"/>
                      <a:pt x="827" y="549"/>
                    </a:cubicBezTo>
                    <a:cubicBezTo>
                      <a:pt x="827" y="549"/>
                      <a:pt x="827" y="549"/>
                      <a:pt x="826" y="550"/>
                    </a:cubicBezTo>
                    <a:cubicBezTo>
                      <a:pt x="828" y="549"/>
                      <a:pt x="828" y="549"/>
                      <a:pt x="828" y="548"/>
                    </a:cubicBezTo>
                    <a:cubicBezTo>
                      <a:pt x="827" y="548"/>
                      <a:pt x="826" y="548"/>
                      <a:pt x="825" y="547"/>
                    </a:cubicBezTo>
                    <a:cubicBezTo>
                      <a:pt x="828" y="546"/>
                      <a:pt x="821" y="544"/>
                      <a:pt x="820" y="544"/>
                    </a:cubicBezTo>
                    <a:cubicBezTo>
                      <a:pt x="821" y="543"/>
                      <a:pt x="821" y="543"/>
                      <a:pt x="821" y="543"/>
                    </a:cubicBezTo>
                    <a:cubicBezTo>
                      <a:pt x="819" y="543"/>
                      <a:pt x="818" y="543"/>
                      <a:pt x="816" y="543"/>
                    </a:cubicBezTo>
                    <a:cubicBezTo>
                      <a:pt x="817" y="543"/>
                      <a:pt x="817" y="543"/>
                      <a:pt x="817" y="543"/>
                    </a:cubicBezTo>
                    <a:cubicBezTo>
                      <a:pt x="817" y="542"/>
                      <a:pt x="816" y="543"/>
                      <a:pt x="817" y="541"/>
                    </a:cubicBezTo>
                    <a:cubicBezTo>
                      <a:pt x="814" y="540"/>
                      <a:pt x="813" y="540"/>
                      <a:pt x="812" y="538"/>
                    </a:cubicBezTo>
                    <a:cubicBezTo>
                      <a:pt x="814" y="538"/>
                      <a:pt x="816" y="538"/>
                      <a:pt x="817" y="537"/>
                    </a:cubicBezTo>
                    <a:cubicBezTo>
                      <a:pt x="817" y="537"/>
                      <a:pt x="817" y="536"/>
                      <a:pt x="816" y="536"/>
                    </a:cubicBezTo>
                    <a:cubicBezTo>
                      <a:pt x="817" y="536"/>
                      <a:pt x="817" y="536"/>
                      <a:pt x="817" y="536"/>
                    </a:cubicBezTo>
                    <a:cubicBezTo>
                      <a:pt x="817" y="536"/>
                      <a:pt x="817" y="536"/>
                      <a:pt x="817" y="536"/>
                    </a:cubicBezTo>
                    <a:cubicBezTo>
                      <a:pt x="816" y="536"/>
                      <a:pt x="814" y="536"/>
                      <a:pt x="815" y="535"/>
                    </a:cubicBezTo>
                    <a:cubicBezTo>
                      <a:pt x="815" y="534"/>
                      <a:pt x="819" y="534"/>
                      <a:pt x="821" y="533"/>
                    </a:cubicBezTo>
                    <a:cubicBezTo>
                      <a:pt x="820" y="532"/>
                      <a:pt x="820" y="532"/>
                      <a:pt x="821" y="531"/>
                    </a:cubicBezTo>
                    <a:cubicBezTo>
                      <a:pt x="820" y="531"/>
                      <a:pt x="820" y="531"/>
                      <a:pt x="820" y="531"/>
                    </a:cubicBezTo>
                    <a:cubicBezTo>
                      <a:pt x="820" y="530"/>
                      <a:pt x="820" y="530"/>
                      <a:pt x="820" y="530"/>
                    </a:cubicBezTo>
                    <a:cubicBezTo>
                      <a:pt x="819" y="530"/>
                      <a:pt x="819" y="530"/>
                      <a:pt x="819" y="530"/>
                    </a:cubicBezTo>
                    <a:cubicBezTo>
                      <a:pt x="821" y="529"/>
                      <a:pt x="818" y="529"/>
                      <a:pt x="818" y="526"/>
                    </a:cubicBezTo>
                    <a:cubicBezTo>
                      <a:pt x="817" y="528"/>
                      <a:pt x="816" y="527"/>
                      <a:pt x="815" y="528"/>
                    </a:cubicBezTo>
                    <a:cubicBezTo>
                      <a:pt x="814" y="530"/>
                      <a:pt x="814" y="531"/>
                      <a:pt x="814" y="531"/>
                    </a:cubicBezTo>
                    <a:cubicBezTo>
                      <a:pt x="813" y="531"/>
                      <a:pt x="813" y="530"/>
                      <a:pt x="812" y="530"/>
                    </a:cubicBezTo>
                    <a:cubicBezTo>
                      <a:pt x="812" y="530"/>
                      <a:pt x="809" y="529"/>
                      <a:pt x="809" y="528"/>
                    </a:cubicBezTo>
                    <a:cubicBezTo>
                      <a:pt x="809" y="527"/>
                      <a:pt x="812" y="527"/>
                      <a:pt x="813" y="526"/>
                    </a:cubicBezTo>
                    <a:cubicBezTo>
                      <a:pt x="813" y="526"/>
                      <a:pt x="812" y="526"/>
                      <a:pt x="812" y="526"/>
                    </a:cubicBezTo>
                    <a:cubicBezTo>
                      <a:pt x="811" y="526"/>
                      <a:pt x="809" y="526"/>
                      <a:pt x="807" y="526"/>
                    </a:cubicBezTo>
                    <a:cubicBezTo>
                      <a:pt x="805" y="526"/>
                      <a:pt x="803" y="526"/>
                      <a:pt x="801" y="526"/>
                    </a:cubicBezTo>
                    <a:cubicBezTo>
                      <a:pt x="798" y="526"/>
                      <a:pt x="796" y="526"/>
                      <a:pt x="796" y="524"/>
                    </a:cubicBezTo>
                    <a:cubicBezTo>
                      <a:pt x="795" y="522"/>
                      <a:pt x="803" y="520"/>
                      <a:pt x="806" y="520"/>
                    </a:cubicBezTo>
                    <a:cubicBezTo>
                      <a:pt x="807" y="520"/>
                      <a:pt x="807" y="520"/>
                      <a:pt x="808" y="520"/>
                    </a:cubicBezTo>
                    <a:cubicBezTo>
                      <a:pt x="809" y="521"/>
                      <a:pt x="813" y="523"/>
                      <a:pt x="816" y="523"/>
                    </a:cubicBezTo>
                    <a:cubicBezTo>
                      <a:pt x="816" y="523"/>
                      <a:pt x="817" y="523"/>
                      <a:pt x="817" y="522"/>
                    </a:cubicBezTo>
                    <a:cubicBezTo>
                      <a:pt x="819" y="520"/>
                      <a:pt x="820" y="519"/>
                      <a:pt x="823" y="518"/>
                    </a:cubicBezTo>
                    <a:cubicBezTo>
                      <a:pt x="826" y="518"/>
                      <a:pt x="829" y="517"/>
                      <a:pt x="831" y="517"/>
                    </a:cubicBezTo>
                    <a:cubicBezTo>
                      <a:pt x="832" y="517"/>
                      <a:pt x="832" y="517"/>
                      <a:pt x="832" y="517"/>
                    </a:cubicBezTo>
                    <a:cubicBezTo>
                      <a:pt x="838" y="518"/>
                      <a:pt x="843" y="519"/>
                      <a:pt x="848" y="519"/>
                    </a:cubicBezTo>
                    <a:cubicBezTo>
                      <a:pt x="848" y="519"/>
                      <a:pt x="848" y="519"/>
                      <a:pt x="848" y="519"/>
                    </a:cubicBezTo>
                    <a:cubicBezTo>
                      <a:pt x="849" y="519"/>
                      <a:pt x="850" y="513"/>
                      <a:pt x="851" y="511"/>
                    </a:cubicBezTo>
                    <a:cubicBezTo>
                      <a:pt x="851" y="511"/>
                      <a:pt x="851" y="510"/>
                      <a:pt x="852" y="509"/>
                    </a:cubicBezTo>
                    <a:cubicBezTo>
                      <a:pt x="852" y="511"/>
                      <a:pt x="853" y="511"/>
                      <a:pt x="854" y="512"/>
                    </a:cubicBezTo>
                    <a:cubicBezTo>
                      <a:pt x="854" y="513"/>
                      <a:pt x="853" y="515"/>
                      <a:pt x="853" y="516"/>
                    </a:cubicBezTo>
                    <a:cubicBezTo>
                      <a:pt x="854" y="517"/>
                      <a:pt x="855" y="517"/>
                      <a:pt x="856" y="517"/>
                    </a:cubicBezTo>
                    <a:cubicBezTo>
                      <a:pt x="856" y="518"/>
                      <a:pt x="856" y="520"/>
                      <a:pt x="858" y="521"/>
                    </a:cubicBezTo>
                    <a:cubicBezTo>
                      <a:pt x="858" y="522"/>
                      <a:pt x="858" y="522"/>
                      <a:pt x="859" y="522"/>
                    </a:cubicBezTo>
                    <a:cubicBezTo>
                      <a:pt x="860" y="522"/>
                      <a:pt x="861" y="521"/>
                      <a:pt x="862" y="520"/>
                    </a:cubicBezTo>
                    <a:cubicBezTo>
                      <a:pt x="861" y="520"/>
                      <a:pt x="861" y="520"/>
                      <a:pt x="861" y="520"/>
                    </a:cubicBezTo>
                    <a:cubicBezTo>
                      <a:pt x="864" y="520"/>
                      <a:pt x="864" y="518"/>
                      <a:pt x="865" y="516"/>
                    </a:cubicBezTo>
                    <a:cubicBezTo>
                      <a:pt x="865" y="516"/>
                      <a:pt x="865" y="516"/>
                      <a:pt x="865" y="516"/>
                    </a:cubicBezTo>
                    <a:cubicBezTo>
                      <a:pt x="865" y="516"/>
                      <a:pt x="865" y="516"/>
                      <a:pt x="865" y="516"/>
                    </a:cubicBezTo>
                    <a:cubicBezTo>
                      <a:pt x="865" y="516"/>
                      <a:pt x="865" y="516"/>
                      <a:pt x="865" y="516"/>
                    </a:cubicBezTo>
                    <a:cubicBezTo>
                      <a:pt x="865" y="516"/>
                      <a:pt x="865" y="516"/>
                      <a:pt x="865" y="516"/>
                    </a:cubicBezTo>
                    <a:cubicBezTo>
                      <a:pt x="865" y="517"/>
                      <a:pt x="865" y="518"/>
                      <a:pt x="864" y="519"/>
                    </a:cubicBezTo>
                    <a:cubicBezTo>
                      <a:pt x="865" y="518"/>
                      <a:pt x="865" y="517"/>
                      <a:pt x="865" y="516"/>
                    </a:cubicBezTo>
                    <a:cubicBezTo>
                      <a:pt x="865" y="516"/>
                      <a:pt x="865" y="516"/>
                      <a:pt x="865" y="516"/>
                    </a:cubicBezTo>
                    <a:cubicBezTo>
                      <a:pt x="865" y="516"/>
                      <a:pt x="865" y="517"/>
                      <a:pt x="865" y="517"/>
                    </a:cubicBezTo>
                    <a:cubicBezTo>
                      <a:pt x="865" y="517"/>
                      <a:pt x="865" y="517"/>
                      <a:pt x="865" y="517"/>
                    </a:cubicBezTo>
                    <a:cubicBezTo>
                      <a:pt x="864" y="518"/>
                      <a:pt x="864" y="519"/>
                      <a:pt x="863" y="521"/>
                    </a:cubicBezTo>
                    <a:cubicBezTo>
                      <a:pt x="865" y="520"/>
                      <a:pt x="868" y="519"/>
                      <a:pt x="870" y="518"/>
                    </a:cubicBezTo>
                    <a:cubicBezTo>
                      <a:pt x="871" y="516"/>
                      <a:pt x="870" y="515"/>
                      <a:pt x="871" y="513"/>
                    </a:cubicBezTo>
                    <a:cubicBezTo>
                      <a:pt x="872" y="514"/>
                      <a:pt x="873" y="514"/>
                      <a:pt x="873" y="515"/>
                    </a:cubicBezTo>
                    <a:cubicBezTo>
                      <a:pt x="874" y="514"/>
                      <a:pt x="874" y="513"/>
                      <a:pt x="875" y="513"/>
                    </a:cubicBezTo>
                    <a:cubicBezTo>
                      <a:pt x="876" y="513"/>
                      <a:pt x="877" y="515"/>
                      <a:pt x="877" y="517"/>
                    </a:cubicBezTo>
                    <a:cubicBezTo>
                      <a:pt x="877" y="517"/>
                      <a:pt x="877" y="517"/>
                      <a:pt x="877" y="517"/>
                    </a:cubicBezTo>
                    <a:cubicBezTo>
                      <a:pt x="875" y="517"/>
                      <a:pt x="872" y="518"/>
                      <a:pt x="871" y="519"/>
                    </a:cubicBezTo>
                    <a:cubicBezTo>
                      <a:pt x="879" y="517"/>
                      <a:pt x="887" y="516"/>
                      <a:pt x="895" y="516"/>
                    </a:cubicBezTo>
                    <a:cubicBezTo>
                      <a:pt x="895" y="517"/>
                      <a:pt x="895" y="516"/>
                      <a:pt x="896" y="517"/>
                    </a:cubicBezTo>
                    <a:cubicBezTo>
                      <a:pt x="895" y="517"/>
                      <a:pt x="893" y="517"/>
                      <a:pt x="892" y="517"/>
                    </a:cubicBezTo>
                    <a:cubicBezTo>
                      <a:pt x="892" y="517"/>
                      <a:pt x="892" y="517"/>
                      <a:pt x="892" y="517"/>
                    </a:cubicBezTo>
                    <a:cubicBezTo>
                      <a:pt x="893" y="517"/>
                      <a:pt x="893" y="517"/>
                      <a:pt x="893" y="517"/>
                    </a:cubicBezTo>
                    <a:cubicBezTo>
                      <a:pt x="892" y="517"/>
                      <a:pt x="891" y="517"/>
                      <a:pt x="891" y="517"/>
                    </a:cubicBezTo>
                    <a:cubicBezTo>
                      <a:pt x="890" y="517"/>
                      <a:pt x="893" y="519"/>
                      <a:pt x="894" y="520"/>
                    </a:cubicBezTo>
                    <a:cubicBezTo>
                      <a:pt x="895" y="520"/>
                      <a:pt x="902" y="525"/>
                      <a:pt x="904" y="525"/>
                    </a:cubicBezTo>
                    <a:cubicBezTo>
                      <a:pt x="904" y="525"/>
                      <a:pt x="905" y="525"/>
                      <a:pt x="905" y="524"/>
                    </a:cubicBezTo>
                    <a:cubicBezTo>
                      <a:pt x="906" y="524"/>
                      <a:pt x="903" y="522"/>
                      <a:pt x="902" y="522"/>
                    </a:cubicBezTo>
                    <a:cubicBezTo>
                      <a:pt x="903" y="521"/>
                      <a:pt x="906" y="520"/>
                      <a:pt x="908" y="520"/>
                    </a:cubicBezTo>
                    <a:cubicBezTo>
                      <a:pt x="908" y="520"/>
                      <a:pt x="908" y="520"/>
                      <a:pt x="908" y="521"/>
                    </a:cubicBezTo>
                    <a:cubicBezTo>
                      <a:pt x="908" y="521"/>
                      <a:pt x="906" y="522"/>
                      <a:pt x="906" y="522"/>
                    </a:cubicBezTo>
                    <a:cubicBezTo>
                      <a:pt x="906" y="522"/>
                      <a:pt x="912" y="526"/>
                      <a:pt x="912" y="527"/>
                    </a:cubicBezTo>
                    <a:cubicBezTo>
                      <a:pt x="911" y="527"/>
                      <a:pt x="908" y="525"/>
                      <a:pt x="907" y="525"/>
                    </a:cubicBezTo>
                    <a:cubicBezTo>
                      <a:pt x="906" y="525"/>
                      <a:pt x="906" y="525"/>
                      <a:pt x="906" y="525"/>
                    </a:cubicBezTo>
                    <a:cubicBezTo>
                      <a:pt x="907" y="526"/>
                      <a:pt x="908" y="527"/>
                      <a:pt x="909" y="527"/>
                    </a:cubicBezTo>
                    <a:cubicBezTo>
                      <a:pt x="908" y="527"/>
                      <a:pt x="908" y="527"/>
                      <a:pt x="908" y="527"/>
                    </a:cubicBezTo>
                    <a:cubicBezTo>
                      <a:pt x="909" y="529"/>
                      <a:pt x="911" y="529"/>
                      <a:pt x="913" y="530"/>
                    </a:cubicBezTo>
                    <a:cubicBezTo>
                      <a:pt x="913" y="531"/>
                      <a:pt x="913" y="531"/>
                      <a:pt x="914" y="532"/>
                    </a:cubicBezTo>
                    <a:cubicBezTo>
                      <a:pt x="915" y="534"/>
                      <a:pt x="916" y="535"/>
                      <a:pt x="917" y="535"/>
                    </a:cubicBezTo>
                    <a:cubicBezTo>
                      <a:pt x="917" y="535"/>
                      <a:pt x="918" y="535"/>
                      <a:pt x="919" y="534"/>
                    </a:cubicBezTo>
                    <a:cubicBezTo>
                      <a:pt x="918" y="535"/>
                      <a:pt x="917" y="535"/>
                      <a:pt x="916" y="536"/>
                    </a:cubicBezTo>
                    <a:cubicBezTo>
                      <a:pt x="924" y="533"/>
                      <a:pt x="931" y="530"/>
                      <a:pt x="938" y="528"/>
                    </a:cubicBezTo>
                    <a:cubicBezTo>
                      <a:pt x="941" y="527"/>
                      <a:pt x="942" y="526"/>
                      <a:pt x="944" y="526"/>
                    </a:cubicBezTo>
                    <a:cubicBezTo>
                      <a:pt x="944" y="526"/>
                      <a:pt x="945" y="526"/>
                      <a:pt x="946" y="526"/>
                    </a:cubicBezTo>
                    <a:cubicBezTo>
                      <a:pt x="948" y="527"/>
                      <a:pt x="951" y="529"/>
                      <a:pt x="953" y="531"/>
                    </a:cubicBezTo>
                    <a:cubicBezTo>
                      <a:pt x="954" y="532"/>
                      <a:pt x="955" y="534"/>
                      <a:pt x="957" y="536"/>
                    </a:cubicBezTo>
                    <a:cubicBezTo>
                      <a:pt x="958" y="537"/>
                      <a:pt x="958" y="537"/>
                      <a:pt x="959" y="538"/>
                    </a:cubicBezTo>
                    <a:cubicBezTo>
                      <a:pt x="959" y="539"/>
                      <a:pt x="959" y="540"/>
                      <a:pt x="960" y="541"/>
                    </a:cubicBezTo>
                    <a:cubicBezTo>
                      <a:pt x="963" y="544"/>
                      <a:pt x="968" y="545"/>
                      <a:pt x="972" y="549"/>
                    </a:cubicBezTo>
                    <a:cubicBezTo>
                      <a:pt x="973" y="550"/>
                      <a:pt x="977" y="556"/>
                      <a:pt x="976" y="558"/>
                    </a:cubicBezTo>
                    <a:cubicBezTo>
                      <a:pt x="976" y="558"/>
                      <a:pt x="976" y="558"/>
                      <a:pt x="976" y="558"/>
                    </a:cubicBezTo>
                    <a:cubicBezTo>
                      <a:pt x="975" y="558"/>
                      <a:pt x="976" y="559"/>
                      <a:pt x="976" y="560"/>
                    </a:cubicBezTo>
                    <a:cubicBezTo>
                      <a:pt x="976" y="561"/>
                      <a:pt x="976" y="562"/>
                      <a:pt x="976" y="563"/>
                    </a:cubicBezTo>
                    <a:cubicBezTo>
                      <a:pt x="976" y="565"/>
                      <a:pt x="976" y="566"/>
                      <a:pt x="975" y="568"/>
                    </a:cubicBezTo>
                    <a:cubicBezTo>
                      <a:pt x="975" y="570"/>
                      <a:pt x="973" y="572"/>
                      <a:pt x="973" y="574"/>
                    </a:cubicBezTo>
                    <a:cubicBezTo>
                      <a:pt x="972" y="575"/>
                      <a:pt x="973" y="577"/>
                      <a:pt x="973" y="579"/>
                    </a:cubicBezTo>
                    <a:cubicBezTo>
                      <a:pt x="972" y="579"/>
                      <a:pt x="972" y="580"/>
                      <a:pt x="972" y="580"/>
                    </a:cubicBezTo>
                    <a:cubicBezTo>
                      <a:pt x="971" y="582"/>
                      <a:pt x="973" y="585"/>
                      <a:pt x="974" y="587"/>
                    </a:cubicBezTo>
                    <a:cubicBezTo>
                      <a:pt x="974" y="587"/>
                      <a:pt x="974" y="586"/>
                      <a:pt x="974" y="585"/>
                    </a:cubicBezTo>
                    <a:cubicBezTo>
                      <a:pt x="975" y="586"/>
                      <a:pt x="975" y="586"/>
                      <a:pt x="975" y="586"/>
                    </a:cubicBezTo>
                    <a:cubicBezTo>
                      <a:pt x="976" y="586"/>
                      <a:pt x="976" y="585"/>
                      <a:pt x="977" y="585"/>
                    </a:cubicBezTo>
                    <a:cubicBezTo>
                      <a:pt x="978" y="582"/>
                      <a:pt x="976" y="582"/>
                      <a:pt x="974" y="580"/>
                    </a:cubicBezTo>
                    <a:cubicBezTo>
                      <a:pt x="977" y="581"/>
                      <a:pt x="978" y="583"/>
                      <a:pt x="979" y="583"/>
                    </a:cubicBezTo>
                    <a:cubicBezTo>
                      <a:pt x="980" y="583"/>
                      <a:pt x="980" y="582"/>
                      <a:pt x="981" y="581"/>
                    </a:cubicBezTo>
                    <a:cubicBezTo>
                      <a:pt x="983" y="585"/>
                      <a:pt x="977" y="587"/>
                      <a:pt x="977" y="591"/>
                    </a:cubicBezTo>
                    <a:cubicBezTo>
                      <a:pt x="977" y="591"/>
                      <a:pt x="976" y="591"/>
                      <a:pt x="976" y="591"/>
                    </a:cubicBezTo>
                    <a:cubicBezTo>
                      <a:pt x="976" y="592"/>
                      <a:pt x="978" y="593"/>
                      <a:pt x="978" y="595"/>
                    </a:cubicBezTo>
                    <a:cubicBezTo>
                      <a:pt x="980" y="600"/>
                      <a:pt x="984" y="605"/>
                      <a:pt x="987" y="609"/>
                    </a:cubicBezTo>
                    <a:cubicBezTo>
                      <a:pt x="988" y="608"/>
                      <a:pt x="987" y="606"/>
                      <a:pt x="987" y="606"/>
                    </a:cubicBezTo>
                    <a:cubicBezTo>
                      <a:pt x="988" y="605"/>
                      <a:pt x="989" y="604"/>
                      <a:pt x="992" y="604"/>
                    </a:cubicBezTo>
                    <a:cubicBezTo>
                      <a:pt x="992" y="604"/>
                      <a:pt x="992" y="604"/>
                      <a:pt x="992" y="604"/>
                    </a:cubicBezTo>
                    <a:cubicBezTo>
                      <a:pt x="992" y="604"/>
                      <a:pt x="991" y="604"/>
                      <a:pt x="991" y="604"/>
                    </a:cubicBezTo>
                    <a:cubicBezTo>
                      <a:pt x="991" y="605"/>
                      <a:pt x="990" y="605"/>
                      <a:pt x="990" y="605"/>
                    </a:cubicBezTo>
                    <a:cubicBezTo>
                      <a:pt x="990" y="605"/>
                      <a:pt x="990" y="605"/>
                      <a:pt x="990" y="605"/>
                    </a:cubicBezTo>
                    <a:cubicBezTo>
                      <a:pt x="990" y="605"/>
                      <a:pt x="990" y="605"/>
                      <a:pt x="990" y="605"/>
                    </a:cubicBezTo>
                    <a:cubicBezTo>
                      <a:pt x="989" y="606"/>
                      <a:pt x="990" y="606"/>
                      <a:pt x="990" y="607"/>
                    </a:cubicBezTo>
                    <a:cubicBezTo>
                      <a:pt x="989" y="610"/>
                      <a:pt x="990" y="613"/>
                      <a:pt x="990" y="615"/>
                    </a:cubicBezTo>
                    <a:cubicBezTo>
                      <a:pt x="993" y="615"/>
                      <a:pt x="993" y="612"/>
                      <a:pt x="996" y="611"/>
                    </a:cubicBezTo>
                    <a:cubicBezTo>
                      <a:pt x="994" y="612"/>
                      <a:pt x="993" y="614"/>
                      <a:pt x="992" y="616"/>
                    </a:cubicBezTo>
                    <a:cubicBezTo>
                      <a:pt x="996" y="617"/>
                      <a:pt x="997" y="628"/>
                      <a:pt x="998" y="631"/>
                    </a:cubicBezTo>
                    <a:cubicBezTo>
                      <a:pt x="998" y="631"/>
                      <a:pt x="999" y="630"/>
                      <a:pt x="999" y="630"/>
                    </a:cubicBezTo>
                    <a:cubicBezTo>
                      <a:pt x="999" y="630"/>
                      <a:pt x="999" y="630"/>
                      <a:pt x="1000" y="630"/>
                    </a:cubicBezTo>
                    <a:cubicBezTo>
                      <a:pt x="1002" y="631"/>
                      <a:pt x="1006" y="636"/>
                      <a:pt x="1009" y="639"/>
                    </a:cubicBezTo>
                    <a:cubicBezTo>
                      <a:pt x="1010" y="640"/>
                      <a:pt x="1018" y="647"/>
                      <a:pt x="1015" y="648"/>
                    </a:cubicBezTo>
                    <a:cubicBezTo>
                      <a:pt x="1015" y="648"/>
                      <a:pt x="1015" y="648"/>
                      <a:pt x="1015" y="648"/>
                    </a:cubicBezTo>
                    <a:cubicBezTo>
                      <a:pt x="1015" y="648"/>
                      <a:pt x="1013" y="646"/>
                      <a:pt x="1012" y="646"/>
                    </a:cubicBezTo>
                    <a:cubicBezTo>
                      <a:pt x="1012" y="647"/>
                      <a:pt x="1012" y="649"/>
                      <a:pt x="1012" y="650"/>
                    </a:cubicBezTo>
                    <a:cubicBezTo>
                      <a:pt x="1014" y="650"/>
                      <a:pt x="1015" y="650"/>
                      <a:pt x="1016" y="649"/>
                    </a:cubicBezTo>
                    <a:cubicBezTo>
                      <a:pt x="1017" y="649"/>
                      <a:pt x="1017" y="649"/>
                      <a:pt x="1017" y="649"/>
                    </a:cubicBezTo>
                    <a:cubicBezTo>
                      <a:pt x="1017" y="649"/>
                      <a:pt x="1017" y="649"/>
                      <a:pt x="1017" y="649"/>
                    </a:cubicBezTo>
                    <a:cubicBezTo>
                      <a:pt x="1018" y="649"/>
                      <a:pt x="1019" y="649"/>
                      <a:pt x="1020" y="649"/>
                    </a:cubicBezTo>
                    <a:cubicBezTo>
                      <a:pt x="1020" y="649"/>
                      <a:pt x="1020" y="649"/>
                      <a:pt x="1020" y="649"/>
                    </a:cubicBezTo>
                    <a:cubicBezTo>
                      <a:pt x="1021" y="649"/>
                      <a:pt x="1022" y="649"/>
                      <a:pt x="1022" y="648"/>
                    </a:cubicBezTo>
                    <a:cubicBezTo>
                      <a:pt x="1023" y="648"/>
                      <a:pt x="1024" y="648"/>
                      <a:pt x="1024" y="648"/>
                    </a:cubicBezTo>
                    <a:cubicBezTo>
                      <a:pt x="1025" y="648"/>
                      <a:pt x="1026" y="648"/>
                      <a:pt x="1027" y="649"/>
                    </a:cubicBezTo>
                    <a:cubicBezTo>
                      <a:pt x="1026" y="647"/>
                      <a:pt x="1026" y="647"/>
                      <a:pt x="1026" y="647"/>
                    </a:cubicBezTo>
                    <a:cubicBezTo>
                      <a:pt x="1026" y="648"/>
                      <a:pt x="1028" y="648"/>
                      <a:pt x="1028" y="648"/>
                    </a:cubicBezTo>
                    <a:cubicBezTo>
                      <a:pt x="1027" y="647"/>
                      <a:pt x="1028" y="647"/>
                      <a:pt x="1028" y="646"/>
                    </a:cubicBezTo>
                    <a:cubicBezTo>
                      <a:pt x="1030" y="643"/>
                      <a:pt x="1031" y="641"/>
                      <a:pt x="1033" y="638"/>
                    </a:cubicBezTo>
                    <a:cubicBezTo>
                      <a:pt x="1036" y="630"/>
                      <a:pt x="1036" y="621"/>
                      <a:pt x="1036" y="612"/>
                    </a:cubicBezTo>
                    <a:cubicBezTo>
                      <a:pt x="1037" y="606"/>
                      <a:pt x="1036" y="600"/>
                      <a:pt x="1030" y="597"/>
                    </a:cubicBezTo>
                    <a:cubicBezTo>
                      <a:pt x="1031" y="598"/>
                      <a:pt x="1032" y="598"/>
                      <a:pt x="1033" y="599"/>
                    </a:cubicBezTo>
                    <a:cubicBezTo>
                      <a:pt x="1030" y="595"/>
                      <a:pt x="1030" y="590"/>
                      <a:pt x="1028" y="586"/>
                    </a:cubicBezTo>
                    <a:cubicBezTo>
                      <a:pt x="1027" y="582"/>
                      <a:pt x="1024" y="579"/>
                      <a:pt x="1023" y="575"/>
                    </a:cubicBezTo>
                    <a:cubicBezTo>
                      <a:pt x="1021" y="570"/>
                      <a:pt x="1019" y="564"/>
                      <a:pt x="1018" y="559"/>
                    </a:cubicBezTo>
                    <a:cubicBezTo>
                      <a:pt x="1019" y="559"/>
                      <a:pt x="1019" y="564"/>
                      <a:pt x="1021" y="564"/>
                    </a:cubicBezTo>
                    <a:cubicBezTo>
                      <a:pt x="1021" y="564"/>
                      <a:pt x="1022" y="563"/>
                      <a:pt x="1022" y="563"/>
                    </a:cubicBezTo>
                    <a:cubicBezTo>
                      <a:pt x="1023" y="566"/>
                      <a:pt x="1023" y="570"/>
                      <a:pt x="1023" y="573"/>
                    </a:cubicBezTo>
                    <a:cubicBezTo>
                      <a:pt x="1026" y="565"/>
                      <a:pt x="1024" y="564"/>
                      <a:pt x="1020" y="558"/>
                    </a:cubicBezTo>
                    <a:cubicBezTo>
                      <a:pt x="1018" y="554"/>
                      <a:pt x="1016" y="551"/>
                      <a:pt x="1014" y="547"/>
                    </a:cubicBezTo>
                    <a:cubicBezTo>
                      <a:pt x="1013" y="545"/>
                      <a:pt x="1012" y="542"/>
                      <a:pt x="1011" y="539"/>
                    </a:cubicBezTo>
                    <a:cubicBezTo>
                      <a:pt x="1009" y="535"/>
                      <a:pt x="1008" y="530"/>
                      <a:pt x="1007" y="526"/>
                    </a:cubicBezTo>
                    <a:cubicBezTo>
                      <a:pt x="1005" y="522"/>
                      <a:pt x="1003" y="517"/>
                      <a:pt x="1003" y="512"/>
                    </a:cubicBezTo>
                    <a:cubicBezTo>
                      <a:pt x="1002" y="508"/>
                      <a:pt x="1001" y="502"/>
                      <a:pt x="1003" y="499"/>
                    </a:cubicBezTo>
                    <a:cubicBezTo>
                      <a:pt x="1003" y="498"/>
                      <a:pt x="1004" y="497"/>
                      <a:pt x="1004" y="497"/>
                    </a:cubicBezTo>
                    <a:cubicBezTo>
                      <a:pt x="1004" y="497"/>
                      <a:pt x="1005" y="497"/>
                      <a:pt x="1005" y="498"/>
                    </a:cubicBezTo>
                    <a:cubicBezTo>
                      <a:pt x="1011" y="495"/>
                      <a:pt x="1006" y="495"/>
                      <a:pt x="1003" y="493"/>
                    </a:cubicBezTo>
                    <a:cubicBezTo>
                      <a:pt x="1005" y="494"/>
                      <a:pt x="1005" y="494"/>
                      <a:pt x="1005" y="494"/>
                    </a:cubicBezTo>
                    <a:cubicBezTo>
                      <a:pt x="1006" y="493"/>
                      <a:pt x="1006" y="492"/>
                      <a:pt x="1007" y="491"/>
                    </a:cubicBezTo>
                    <a:cubicBezTo>
                      <a:pt x="1008" y="490"/>
                      <a:pt x="1009" y="490"/>
                      <a:pt x="1010" y="489"/>
                    </a:cubicBezTo>
                    <a:cubicBezTo>
                      <a:pt x="1009" y="489"/>
                      <a:pt x="1008" y="489"/>
                      <a:pt x="1008" y="490"/>
                    </a:cubicBezTo>
                    <a:cubicBezTo>
                      <a:pt x="1008" y="487"/>
                      <a:pt x="1009" y="485"/>
                      <a:pt x="1008" y="483"/>
                    </a:cubicBezTo>
                    <a:cubicBezTo>
                      <a:pt x="1009" y="483"/>
                      <a:pt x="1010" y="484"/>
                      <a:pt x="1011" y="484"/>
                    </a:cubicBezTo>
                    <a:cubicBezTo>
                      <a:pt x="1011" y="484"/>
                      <a:pt x="1011" y="484"/>
                      <a:pt x="1011" y="484"/>
                    </a:cubicBezTo>
                    <a:cubicBezTo>
                      <a:pt x="1013" y="483"/>
                      <a:pt x="1014" y="479"/>
                      <a:pt x="1015" y="478"/>
                    </a:cubicBezTo>
                    <a:cubicBezTo>
                      <a:pt x="1017" y="476"/>
                      <a:pt x="1022" y="472"/>
                      <a:pt x="1022" y="471"/>
                    </a:cubicBezTo>
                    <a:cubicBezTo>
                      <a:pt x="1022" y="470"/>
                      <a:pt x="1020" y="470"/>
                      <a:pt x="1020" y="470"/>
                    </a:cubicBezTo>
                    <a:cubicBezTo>
                      <a:pt x="1019" y="468"/>
                      <a:pt x="1018" y="465"/>
                      <a:pt x="1018" y="463"/>
                    </a:cubicBezTo>
                    <a:cubicBezTo>
                      <a:pt x="1018" y="463"/>
                      <a:pt x="1019" y="464"/>
                      <a:pt x="1019" y="464"/>
                    </a:cubicBezTo>
                    <a:cubicBezTo>
                      <a:pt x="1019" y="465"/>
                      <a:pt x="1019" y="466"/>
                      <a:pt x="1019" y="466"/>
                    </a:cubicBezTo>
                    <a:cubicBezTo>
                      <a:pt x="1020" y="466"/>
                      <a:pt x="1020" y="466"/>
                      <a:pt x="1021" y="466"/>
                    </a:cubicBezTo>
                    <a:cubicBezTo>
                      <a:pt x="1021" y="465"/>
                      <a:pt x="1021" y="465"/>
                      <a:pt x="1022" y="465"/>
                    </a:cubicBezTo>
                    <a:cubicBezTo>
                      <a:pt x="1022" y="465"/>
                      <a:pt x="1023" y="466"/>
                      <a:pt x="1022" y="467"/>
                    </a:cubicBezTo>
                    <a:cubicBezTo>
                      <a:pt x="1023" y="467"/>
                      <a:pt x="1023" y="467"/>
                      <a:pt x="1023" y="467"/>
                    </a:cubicBezTo>
                    <a:cubicBezTo>
                      <a:pt x="1023" y="468"/>
                      <a:pt x="1023" y="468"/>
                      <a:pt x="1023" y="468"/>
                    </a:cubicBezTo>
                    <a:cubicBezTo>
                      <a:pt x="1023" y="468"/>
                      <a:pt x="1024" y="468"/>
                      <a:pt x="1024" y="468"/>
                    </a:cubicBezTo>
                    <a:cubicBezTo>
                      <a:pt x="1026" y="468"/>
                      <a:pt x="1027" y="468"/>
                      <a:pt x="1027" y="466"/>
                    </a:cubicBezTo>
                    <a:cubicBezTo>
                      <a:pt x="1027" y="467"/>
                      <a:pt x="1027" y="467"/>
                      <a:pt x="1027" y="467"/>
                    </a:cubicBezTo>
                    <a:cubicBezTo>
                      <a:pt x="1028" y="464"/>
                      <a:pt x="1024" y="465"/>
                      <a:pt x="1022" y="463"/>
                    </a:cubicBezTo>
                    <a:cubicBezTo>
                      <a:pt x="1022" y="463"/>
                      <a:pt x="1022" y="463"/>
                      <a:pt x="1023" y="463"/>
                    </a:cubicBezTo>
                    <a:cubicBezTo>
                      <a:pt x="1024" y="463"/>
                      <a:pt x="1025" y="463"/>
                      <a:pt x="1025" y="463"/>
                    </a:cubicBezTo>
                    <a:cubicBezTo>
                      <a:pt x="1025" y="463"/>
                      <a:pt x="1025" y="463"/>
                      <a:pt x="1025" y="463"/>
                    </a:cubicBezTo>
                    <a:cubicBezTo>
                      <a:pt x="1025" y="463"/>
                      <a:pt x="1026" y="463"/>
                      <a:pt x="1026" y="463"/>
                    </a:cubicBezTo>
                    <a:cubicBezTo>
                      <a:pt x="1026" y="464"/>
                      <a:pt x="1026" y="464"/>
                      <a:pt x="1027" y="464"/>
                    </a:cubicBezTo>
                    <a:cubicBezTo>
                      <a:pt x="1027" y="464"/>
                      <a:pt x="1027" y="464"/>
                      <a:pt x="1027" y="464"/>
                    </a:cubicBezTo>
                    <a:cubicBezTo>
                      <a:pt x="1028" y="464"/>
                      <a:pt x="1030" y="462"/>
                      <a:pt x="1031" y="461"/>
                    </a:cubicBezTo>
                    <a:cubicBezTo>
                      <a:pt x="1032" y="460"/>
                      <a:pt x="1035" y="461"/>
                      <a:pt x="1036" y="460"/>
                    </a:cubicBezTo>
                    <a:cubicBezTo>
                      <a:pt x="1037" y="460"/>
                      <a:pt x="1037" y="460"/>
                      <a:pt x="1037" y="459"/>
                    </a:cubicBezTo>
                    <a:cubicBezTo>
                      <a:pt x="1037" y="460"/>
                      <a:pt x="1037" y="460"/>
                      <a:pt x="1037" y="460"/>
                    </a:cubicBezTo>
                    <a:cubicBezTo>
                      <a:pt x="1038" y="458"/>
                      <a:pt x="1039" y="457"/>
                      <a:pt x="1039" y="455"/>
                    </a:cubicBezTo>
                    <a:cubicBezTo>
                      <a:pt x="1040" y="456"/>
                      <a:pt x="1040" y="457"/>
                      <a:pt x="1041" y="457"/>
                    </a:cubicBezTo>
                    <a:cubicBezTo>
                      <a:pt x="1041" y="457"/>
                      <a:pt x="1042" y="457"/>
                      <a:pt x="1043" y="457"/>
                    </a:cubicBezTo>
                    <a:cubicBezTo>
                      <a:pt x="1045" y="456"/>
                      <a:pt x="1048" y="452"/>
                      <a:pt x="1050" y="451"/>
                    </a:cubicBezTo>
                    <a:cubicBezTo>
                      <a:pt x="1052" y="450"/>
                      <a:pt x="1058" y="448"/>
                      <a:pt x="1055" y="445"/>
                    </a:cubicBezTo>
                    <a:cubicBezTo>
                      <a:pt x="1054" y="444"/>
                      <a:pt x="1053" y="443"/>
                      <a:pt x="1054" y="441"/>
                    </a:cubicBezTo>
                    <a:cubicBezTo>
                      <a:pt x="1056" y="442"/>
                      <a:pt x="1056" y="444"/>
                      <a:pt x="1056" y="445"/>
                    </a:cubicBezTo>
                    <a:cubicBezTo>
                      <a:pt x="1058" y="441"/>
                      <a:pt x="1058" y="439"/>
                      <a:pt x="1062" y="435"/>
                    </a:cubicBezTo>
                    <a:cubicBezTo>
                      <a:pt x="1064" y="433"/>
                      <a:pt x="1067" y="431"/>
                      <a:pt x="1070" y="428"/>
                    </a:cubicBezTo>
                    <a:cubicBezTo>
                      <a:pt x="1071" y="428"/>
                      <a:pt x="1073" y="427"/>
                      <a:pt x="1075" y="427"/>
                    </a:cubicBezTo>
                    <a:cubicBezTo>
                      <a:pt x="1076" y="427"/>
                      <a:pt x="1077" y="428"/>
                      <a:pt x="1078" y="428"/>
                    </a:cubicBezTo>
                    <a:cubicBezTo>
                      <a:pt x="1079" y="428"/>
                      <a:pt x="1080" y="428"/>
                      <a:pt x="1081" y="428"/>
                    </a:cubicBezTo>
                    <a:cubicBezTo>
                      <a:pt x="1081" y="428"/>
                      <a:pt x="1081" y="428"/>
                      <a:pt x="1081" y="428"/>
                    </a:cubicBezTo>
                    <a:cubicBezTo>
                      <a:pt x="1086" y="428"/>
                      <a:pt x="1085" y="424"/>
                      <a:pt x="1085" y="420"/>
                    </a:cubicBezTo>
                    <a:cubicBezTo>
                      <a:pt x="1086" y="422"/>
                      <a:pt x="1086" y="424"/>
                      <a:pt x="1086" y="427"/>
                    </a:cubicBezTo>
                    <a:cubicBezTo>
                      <a:pt x="1086" y="425"/>
                      <a:pt x="1086" y="424"/>
                      <a:pt x="1087" y="423"/>
                    </a:cubicBezTo>
                    <a:cubicBezTo>
                      <a:pt x="1088" y="419"/>
                      <a:pt x="1093" y="416"/>
                      <a:pt x="1097" y="413"/>
                    </a:cubicBezTo>
                    <a:cubicBezTo>
                      <a:pt x="1096" y="413"/>
                      <a:pt x="1096" y="413"/>
                      <a:pt x="1096" y="413"/>
                    </a:cubicBezTo>
                    <a:cubicBezTo>
                      <a:pt x="1097" y="413"/>
                      <a:pt x="1097" y="412"/>
                      <a:pt x="1098" y="412"/>
                    </a:cubicBezTo>
                    <a:cubicBezTo>
                      <a:pt x="1097" y="412"/>
                      <a:pt x="1097" y="412"/>
                      <a:pt x="1097" y="412"/>
                    </a:cubicBezTo>
                    <a:cubicBezTo>
                      <a:pt x="1098" y="411"/>
                      <a:pt x="1099" y="410"/>
                      <a:pt x="1097" y="410"/>
                    </a:cubicBezTo>
                    <a:cubicBezTo>
                      <a:pt x="1099" y="408"/>
                      <a:pt x="1098" y="407"/>
                      <a:pt x="1097" y="405"/>
                    </a:cubicBezTo>
                    <a:cubicBezTo>
                      <a:pt x="1098" y="406"/>
                      <a:pt x="1098" y="407"/>
                      <a:pt x="1098" y="407"/>
                    </a:cubicBezTo>
                    <a:cubicBezTo>
                      <a:pt x="1099" y="407"/>
                      <a:pt x="1102" y="405"/>
                      <a:pt x="1103" y="405"/>
                    </a:cubicBezTo>
                    <a:cubicBezTo>
                      <a:pt x="1104" y="405"/>
                      <a:pt x="1104" y="405"/>
                      <a:pt x="1104" y="405"/>
                    </a:cubicBezTo>
                    <a:cubicBezTo>
                      <a:pt x="1106" y="406"/>
                      <a:pt x="1104" y="407"/>
                      <a:pt x="1106" y="407"/>
                    </a:cubicBezTo>
                    <a:cubicBezTo>
                      <a:pt x="1106" y="407"/>
                      <a:pt x="1106" y="407"/>
                      <a:pt x="1107" y="407"/>
                    </a:cubicBezTo>
                    <a:cubicBezTo>
                      <a:pt x="1109" y="407"/>
                      <a:pt x="1111" y="405"/>
                      <a:pt x="1113" y="405"/>
                    </a:cubicBezTo>
                    <a:cubicBezTo>
                      <a:pt x="1116" y="404"/>
                      <a:pt x="1122" y="403"/>
                      <a:pt x="1123" y="400"/>
                    </a:cubicBezTo>
                    <a:cubicBezTo>
                      <a:pt x="1124" y="400"/>
                      <a:pt x="1124" y="399"/>
                      <a:pt x="1123" y="399"/>
                    </a:cubicBezTo>
                    <a:cubicBezTo>
                      <a:pt x="1122" y="399"/>
                      <a:pt x="1120" y="400"/>
                      <a:pt x="1120" y="401"/>
                    </a:cubicBezTo>
                    <a:cubicBezTo>
                      <a:pt x="1121" y="399"/>
                      <a:pt x="1121" y="399"/>
                      <a:pt x="1120" y="399"/>
                    </a:cubicBezTo>
                    <a:cubicBezTo>
                      <a:pt x="1119" y="399"/>
                      <a:pt x="1118" y="400"/>
                      <a:pt x="1117" y="400"/>
                    </a:cubicBezTo>
                    <a:cubicBezTo>
                      <a:pt x="1117" y="400"/>
                      <a:pt x="1117" y="400"/>
                      <a:pt x="1117" y="400"/>
                    </a:cubicBezTo>
                    <a:cubicBezTo>
                      <a:pt x="1117" y="400"/>
                      <a:pt x="1117" y="400"/>
                      <a:pt x="1116" y="400"/>
                    </a:cubicBezTo>
                    <a:cubicBezTo>
                      <a:pt x="1116" y="400"/>
                      <a:pt x="1116" y="399"/>
                      <a:pt x="1115" y="399"/>
                    </a:cubicBezTo>
                    <a:cubicBezTo>
                      <a:pt x="1115" y="399"/>
                      <a:pt x="1115" y="399"/>
                      <a:pt x="1115" y="399"/>
                    </a:cubicBezTo>
                    <a:cubicBezTo>
                      <a:pt x="1114" y="400"/>
                      <a:pt x="1114" y="401"/>
                      <a:pt x="1113" y="401"/>
                    </a:cubicBezTo>
                    <a:cubicBezTo>
                      <a:pt x="1112" y="401"/>
                      <a:pt x="1112" y="401"/>
                      <a:pt x="1112" y="401"/>
                    </a:cubicBezTo>
                    <a:cubicBezTo>
                      <a:pt x="1109" y="401"/>
                      <a:pt x="1107" y="398"/>
                      <a:pt x="1106" y="395"/>
                    </a:cubicBezTo>
                    <a:cubicBezTo>
                      <a:pt x="1106" y="395"/>
                      <a:pt x="1106" y="395"/>
                      <a:pt x="1106" y="395"/>
                    </a:cubicBezTo>
                    <a:cubicBezTo>
                      <a:pt x="1107" y="397"/>
                      <a:pt x="1108" y="398"/>
                      <a:pt x="1110" y="398"/>
                    </a:cubicBezTo>
                    <a:cubicBezTo>
                      <a:pt x="1111" y="398"/>
                      <a:pt x="1111" y="398"/>
                      <a:pt x="1112" y="397"/>
                    </a:cubicBezTo>
                    <a:cubicBezTo>
                      <a:pt x="1115" y="397"/>
                      <a:pt x="1122" y="394"/>
                      <a:pt x="1118" y="391"/>
                    </a:cubicBezTo>
                    <a:cubicBezTo>
                      <a:pt x="1114" y="388"/>
                      <a:pt x="1109" y="389"/>
                      <a:pt x="1106" y="385"/>
                    </a:cubicBezTo>
                    <a:cubicBezTo>
                      <a:pt x="1109" y="387"/>
                      <a:pt x="1113" y="387"/>
                      <a:pt x="1117" y="388"/>
                    </a:cubicBezTo>
                    <a:cubicBezTo>
                      <a:pt x="1116" y="387"/>
                      <a:pt x="1116" y="385"/>
                      <a:pt x="1117" y="384"/>
                    </a:cubicBezTo>
                    <a:cubicBezTo>
                      <a:pt x="1117" y="384"/>
                      <a:pt x="1117" y="384"/>
                      <a:pt x="1117" y="384"/>
                    </a:cubicBezTo>
                    <a:cubicBezTo>
                      <a:pt x="1117" y="384"/>
                      <a:pt x="1117" y="385"/>
                      <a:pt x="1117" y="385"/>
                    </a:cubicBezTo>
                    <a:cubicBezTo>
                      <a:pt x="1117" y="385"/>
                      <a:pt x="1117" y="386"/>
                      <a:pt x="1117" y="386"/>
                    </a:cubicBezTo>
                    <a:cubicBezTo>
                      <a:pt x="1117" y="386"/>
                      <a:pt x="1117" y="386"/>
                      <a:pt x="1117" y="386"/>
                    </a:cubicBezTo>
                    <a:cubicBezTo>
                      <a:pt x="1118" y="387"/>
                      <a:pt x="1118" y="387"/>
                      <a:pt x="1118" y="388"/>
                    </a:cubicBezTo>
                    <a:cubicBezTo>
                      <a:pt x="1119" y="387"/>
                      <a:pt x="1120" y="387"/>
                      <a:pt x="1120" y="387"/>
                    </a:cubicBezTo>
                    <a:cubicBezTo>
                      <a:pt x="1121" y="387"/>
                      <a:pt x="1121" y="387"/>
                      <a:pt x="1121" y="388"/>
                    </a:cubicBezTo>
                    <a:cubicBezTo>
                      <a:pt x="1126" y="388"/>
                      <a:pt x="1139" y="384"/>
                      <a:pt x="1137" y="377"/>
                    </a:cubicBezTo>
                    <a:cubicBezTo>
                      <a:pt x="1136" y="375"/>
                      <a:pt x="1135" y="375"/>
                      <a:pt x="1134" y="375"/>
                    </a:cubicBezTo>
                    <a:cubicBezTo>
                      <a:pt x="1133" y="375"/>
                      <a:pt x="1133" y="375"/>
                      <a:pt x="1132" y="375"/>
                    </a:cubicBezTo>
                    <a:cubicBezTo>
                      <a:pt x="1130" y="375"/>
                      <a:pt x="1130" y="380"/>
                      <a:pt x="1129" y="382"/>
                    </a:cubicBezTo>
                    <a:cubicBezTo>
                      <a:pt x="1129" y="380"/>
                      <a:pt x="1128" y="376"/>
                      <a:pt x="1130" y="374"/>
                    </a:cubicBezTo>
                    <a:cubicBezTo>
                      <a:pt x="1129" y="374"/>
                      <a:pt x="1129" y="374"/>
                      <a:pt x="1129" y="374"/>
                    </a:cubicBezTo>
                    <a:cubicBezTo>
                      <a:pt x="1130" y="373"/>
                      <a:pt x="1128" y="372"/>
                      <a:pt x="1127" y="372"/>
                    </a:cubicBezTo>
                    <a:cubicBezTo>
                      <a:pt x="1127" y="372"/>
                      <a:pt x="1126" y="372"/>
                      <a:pt x="1126" y="373"/>
                    </a:cubicBezTo>
                    <a:cubicBezTo>
                      <a:pt x="1125" y="373"/>
                      <a:pt x="1125" y="374"/>
                      <a:pt x="1124" y="374"/>
                    </a:cubicBezTo>
                    <a:cubicBezTo>
                      <a:pt x="1124" y="374"/>
                      <a:pt x="1123" y="374"/>
                      <a:pt x="1123" y="374"/>
                    </a:cubicBezTo>
                    <a:cubicBezTo>
                      <a:pt x="1123" y="374"/>
                      <a:pt x="1123" y="374"/>
                      <a:pt x="1123" y="374"/>
                    </a:cubicBezTo>
                    <a:cubicBezTo>
                      <a:pt x="1122" y="374"/>
                      <a:pt x="1122" y="374"/>
                      <a:pt x="1122" y="374"/>
                    </a:cubicBezTo>
                    <a:cubicBezTo>
                      <a:pt x="1122" y="374"/>
                      <a:pt x="1121" y="374"/>
                      <a:pt x="1121" y="374"/>
                    </a:cubicBezTo>
                    <a:cubicBezTo>
                      <a:pt x="1121" y="374"/>
                      <a:pt x="1121" y="373"/>
                      <a:pt x="1120" y="373"/>
                    </a:cubicBezTo>
                    <a:cubicBezTo>
                      <a:pt x="1119" y="373"/>
                      <a:pt x="1118" y="374"/>
                      <a:pt x="1117" y="374"/>
                    </a:cubicBezTo>
                    <a:cubicBezTo>
                      <a:pt x="1116" y="374"/>
                      <a:pt x="1115" y="374"/>
                      <a:pt x="1114" y="374"/>
                    </a:cubicBezTo>
                    <a:cubicBezTo>
                      <a:pt x="1114" y="374"/>
                      <a:pt x="1114" y="374"/>
                      <a:pt x="1114" y="374"/>
                    </a:cubicBezTo>
                    <a:cubicBezTo>
                      <a:pt x="1115" y="372"/>
                      <a:pt x="1113" y="371"/>
                      <a:pt x="1113" y="369"/>
                    </a:cubicBezTo>
                    <a:cubicBezTo>
                      <a:pt x="1113" y="369"/>
                      <a:pt x="1114" y="364"/>
                      <a:pt x="1114" y="364"/>
                    </a:cubicBezTo>
                    <a:cubicBezTo>
                      <a:pt x="1114" y="364"/>
                      <a:pt x="1114" y="364"/>
                      <a:pt x="1114" y="364"/>
                    </a:cubicBezTo>
                    <a:cubicBezTo>
                      <a:pt x="1115" y="366"/>
                      <a:pt x="1114" y="366"/>
                      <a:pt x="1114" y="367"/>
                    </a:cubicBezTo>
                    <a:cubicBezTo>
                      <a:pt x="1114" y="370"/>
                      <a:pt x="1115" y="372"/>
                      <a:pt x="1117" y="372"/>
                    </a:cubicBezTo>
                    <a:cubicBezTo>
                      <a:pt x="1119" y="372"/>
                      <a:pt x="1121" y="371"/>
                      <a:pt x="1123" y="370"/>
                    </a:cubicBezTo>
                    <a:cubicBezTo>
                      <a:pt x="1122" y="369"/>
                      <a:pt x="1120" y="368"/>
                      <a:pt x="1120" y="367"/>
                    </a:cubicBezTo>
                    <a:cubicBezTo>
                      <a:pt x="1122" y="368"/>
                      <a:pt x="1123" y="369"/>
                      <a:pt x="1126" y="370"/>
                    </a:cubicBezTo>
                    <a:cubicBezTo>
                      <a:pt x="1125" y="369"/>
                      <a:pt x="1124" y="368"/>
                      <a:pt x="1124" y="367"/>
                    </a:cubicBezTo>
                    <a:cubicBezTo>
                      <a:pt x="1125" y="368"/>
                      <a:pt x="1126" y="368"/>
                      <a:pt x="1127" y="368"/>
                    </a:cubicBezTo>
                    <a:cubicBezTo>
                      <a:pt x="1128" y="368"/>
                      <a:pt x="1128" y="368"/>
                      <a:pt x="1129" y="368"/>
                    </a:cubicBezTo>
                    <a:cubicBezTo>
                      <a:pt x="1128" y="367"/>
                      <a:pt x="1126" y="365"/>
                      <a:pt x="1126" y="364"/>
                    </a:cubicBezTo>
                    <a:cubicBezTo>
                      <a:pt x="1126" y="364"/>
                      <a:pt x="1126" y="364"/>
                      <a:pt x="1126" y="364"/>
                    </a:cubicBezTo>
                    <a:cubicBezTo>
                      <a:pt x="1127" y="365"/>
                      <a:pt x="1130" y="368"/>
                      <a:pt x="1132" y="368"/>
                    </a:cubicBezTo>
                    <a:cubicBezTo>
                      <a:pt x="1131" y="367"/>
                      <a:pt x="1131" y="366"/>
                      <a:pt x="1131" y="364"/>
                    </a:cubicBezTo>
                    <a:cubicBezTo>
                      <a:pt x="1132" y="366"/>
                      <a:pt x="1133" y="369"/>
                      <a:pt x="1135" y="370"/>
                    </a:cubicBezTo>
                    <a:cubicBezTo>
                      <a:pt x="1134" y="366"/>
                      <a:pt x="1131" y="362"/>
                      <a:pt x="1130" y="358"/>
                    </a:cubicBezTo>
                    <a:cubicBezTo>
                      <a:pt x="1130" y="358"/>
                      <a:pt x="1130" y="358"/>
                      <a:pt x="1130" y="358"/>
                    </a:cubicBezTo>
                    <a:cubicBezTo>
                      <a:pt x="1132" y="358"/>
                      <a:pt x="1131" y="355"/>
                      <a:pt x="1132" y="353"/>
                    </a:cubicBezTo>
                    <a:cubicBezTo>
                      <a:pt x="1133" y="356"/>
                      <a:pt x="1133" y="359"/>
                      <a:pt x="1134" y="361"/>
                    </a:cubicBezTo>
                    <a:cubicBezTo>
                      <a:pt x="1134" y="358"/>
                      <a:pt x="1133" y="350"/>
                      <a:pt x="1130" y="348"/>
                    </a:cubicBezTo>
                    <a:cubicBezTo>
                      <a:pt x="1130" y="348"/>
                      <a:pt x="1130" y="348"/>
                      <a:pt x="1129" y="348"/>
                    </a:cubicBezTo>
                    <a:cubicBezTo>
                      <a:pt x="1129" y="348"/>
                      <a:pt x="1129" y="348"/>
                      <a:pt x="1128" y="348"/>
                    </a:cubicBezTo>
                    <a:cubicBezTo>
                      <a:pt x="1128" y="348"/>
                      <a:pt x="1128" y="348"/>
                      <a:pt x="1127" y="348"/>
                    </a:cubicBezTo>
                    <a:cubicBezTo>
                      <a:pt x="1127" y="348"/>
                      <a:pt x="1126" y="348"/>
                      <a:pt x="1126" y="348"/>
                    </a:cubicBezTo>
                    <a:cubicBezTo>
                      <a:pt x="1125" y="347"/>
                      <a:pt x="1125" y="347"/>
                      <a:pt x="1124" y="347"/>
                    </a:cubicBezTo>
                    <a:cubicBezTo>
                      <a:pt x="1124" y="347"/>
                      <a:pt x="1124" y="348"/>
                      <a:pt x="1123" y="348"/>
                    </a:cubicBezTo>
                    <a:cubicBezTo>
                      <a:pt x="1123" y="348"/>
                      <a:pt x="1123" y="348"/>
                      <a:pt x="1123" y="348"/>
                    </a:cubicBezTo>
                    <a:cubicBezTo>
                      <a:pt x="1124" y="348"/>
                      <a:pt x="1123" y="349"/>
                      <a:pt x="1123" y="349"/>
                    </a:cubicBezTo>
                    <a:cubicBezTo>
                      <a:pt x="1122" y="349"/>
                      <a:pt x="1119" y="349"/>
                      <a:pt x="1118" y="349"/>
                    </a:cubicBezTo>
                    <a:cubicBezTo>
                      <a:pt x="1121" y="348"/>
                      <a:pt x="1116" y="343"/>
                      <a:pt x="1115" y="341"/>
                    </a:cubicBezTo>
                    <a:cubicBezTo>
                      <a:pt x="1116" y="342"/>
                      <a:pt x="1117" y="343"/>
                      <a:pt x="1118" y="344"/>
                    </a:cubicBezTo>
                    <a:cubicBezTo>
                      <a:pt x="1119" y="345"/>
                      <a:pt x="1120" y="346"/>
                      <a:pt x="1121" y="346"/>
                    </a:cubicBezTo>
                    <a:cubicBezTo>
                      <a:pt x="1121" y="346"/>
                      <a:pt x="1122" y="346"/>
                      <a:pt x="1122" y="346"/>
                    </a:cubicBezTo>
                    <a:cubicBezTo>
                      <a:pt x="1122" y="343"/>
                      <a:pt x="1122" y="341"/>
                      <a:pt x="1120" y="339"/>
                    </a:cubicBezTo>
                    <a:cubicBezTo>
                      <a:pt x="1120" y="338"/>
                      <a:pt x="1120" y="338"/>
                      <a:pt x="1120" y="338"/>
                    </a:cubicBezTo>
                    <a:cubicBezTo>
                      <a:pt x="1120" y="339"/>
                      <a:pt x="1120" y="339"/>
                      <a:pt x="1120" y="339"/>
                    </a:cubicBezTo>
                    <a:cubicBezTo>
                      <a:pt x="1120" y="338"/>
                      <a:pt x="1120" y="338"/>
                      <a:pt x="1120" y="338"/>
                    </a:cubicBezTo>
                    <a:cubicBezTo>
                      <a:pt x="1119" y="338"/>
                      <a:pt x="1119" y="338"/>
                      <a:pt x="1119" y="338"/>
                    </a:cubicBezTo>
                    <a:cubicBezTo>
                      <a:pt x="1120" y="338"/>
                      <a:pt x="1120" y="338"/>
                      <a:pt x="1121" y="338"/>
                    </a:cubicBezTo>
                    <a:cubicBezTo>
                      <a:pt x="1121" y="338"/>
                      <a:pt x="1121" y="338"/>
                      <a:pt x="1121" y="338"/>
                    </a:cubicBezTo>
                    <a:cubicBezTo>
                      <a:pt x="1123" y="338"/>
                      <a:pt x="1124" y="338"/>
                      <a:pt x="1124" y="336"/>
                    </a:cubicBezTo>
                    <a:cubicBezTo>
                      <a:pt x="1126" y="333"/>
                      <a:pt x="1122" y="331"/>
                      <a:pt x="1120" y="329"/>
                    </a:cubicBezTo>
                    <a:cubicBezTo>
                      <a:pt x="1119" y="328"/>
                      <a:pt x="1119" y="328"/>
                      <a:pt x="1119" y="328"/>
                    </a:cubicBezTo>
                    <a:cubicBezTo>
                      <a:pt x="1119" y="327"/>
                      <a:pt x="1119" y="327"/>
                      <a:pt x="1119" y="327"/>
                    </a:cubicBezTo>
                    <a:cubicBezTo>
                      <a:pt x="1119" y="327"/>
                      <a:pt x="1120" y="327"/>
                      <a:pt x="1120" y="328"/>
                    </a:cubicBezTo>
                    <a:cubicBezTo>
                      <a:pt x="1120" y="328"/>
                      <a:pt x="1120" y="328"/>
                      <a:pt x="1120" y="328"/>
                    </a:cubicBezTo>
                    <a:cubicBezTo>
                      <a:pt x="1120" y="328"/>
                      <a:pt x="1120" y="328"/>
                      <a:pt x="1120" y="328"/>
                    </a:cubicBezTo>
                    <a:cubicBezTo>
                      <a:pt x="1120" y="328"/>
                      <a:pt x="1120" y="328"/>
                      <a:pt x="1120" y="328"/>
                    </a:cubicBezTo>
                    <a:cubicBezTo>
                      <a:pt x="1121" y="328"/>
                      <a:pt x="1121" y="329"/>
                      <a:pt x="1121" y="329"/>
                    </a:cubicBezTo>
                    <a:cubicBezTo>
                      <a:pt x="1122" y="329"/>
                      <a:pt x="1124" y="325"/>
                      <a:pt x="1124" y="324"/>
                    </a:cubicBezTo>
                    <a:cubicBezTo>
                      <a:pt x="1125" y="321"/>
                      <a:pt x="1125" y="322"/>
                      <a:pt x="1123" y="321"/>
                    </a:cubicBezTo>
                    <a:cubicBezTo>
                      <a:pt x="1121" y="319"/>
                      <a:pt x="1116" y="316"/>
                      <a:pt x="1114" y="315"/>
                    </a:cubicBezTo>
                    <a:cubicBezTo>
                      <a:pt x="1112" y="315"/>
                      <a:pt x="1110" y="314"/>
                      <a:pt x="1108" y="313"/>
                    </a:cubicBezTo>
                    <a:cubicBezTo>
                      <a:pt x="1107" y="312"/>
                      <a:pt x="1106" y="311"/>
                      <a:pt x="1105" y="310"/>
                    </a:cubicBezTo>
                    <a:cubicBezTo>
                      <a:pt x="1105" y="309"/>
                      <a:pt x="1105" y="309"/>
                      <a:pt x="1105" y="309"/>
                    </a:cubicBezTo>
                    <a:cubicBezTo>
                      <a:pt x="1105" y="309"/>
                      <a:pt x="1104" y="309"/>
                      <a:pt x="1104" y="309"/>
                    </a:cubicBezTo>
                    <a:cubicBezTo>
                      <a:pt x="1104" y="309"/>
                      <a:pt x="1104" y="310"/>
                      <a:pt x="1104" y="310"/>
                    </a:cubicBezTo>
                    <a:cubicBezTo>
                      <a:pt x="1104" y="310"/>
                      <a:pt x="1104" y="310"/>
                      <a:pt x="1104" y="310"/>
                    </a:cubicBezTo>
                    <a:cubicBezTo>
                      <a:pt x="1103" y="310"/>
                      <a:pt x="1103" y="310"/>
                      <a:pt x="1103" y="310"/>
                    </a:cubicBezTo>
                    <a:cubicBezTo>
                      <a:pt x="1103" y="310"/>
                      <a:pt x="1103" y="310"/>
                      <a:pt x="1102" y="310"/>
                    </a:cubicBezTo>
                    <a:cubicBezTo>
                      <a:pt x="1102" y="310"/>
                      <a:pt x="1102" y="310"/>
                      <a:pt x="1101" y="310"/>
                    </a:cubicBezTo>
                    <a:cubicBezTo>
                      <a:pt x="1101" y="310"/>
                      <a:pt x="1101" y="310"/>
                      <a:pt x="1100" y="310"/>
                    </a:cubicBezTo>
                    <a:cubicBezTo>
                      <a:pt x="1099" y="310"/>
                      <a:pt x="1099" y="310"/>
                      <a:pt x="1099" y="310"/>
                    </a:cubicBezTo>
                    <a:cubicBezTo>
                      <a:pt x="1102" y="305"/>
                      <a:pt x="1107" y="300"/>
                      <a:pt x="1106" y="295"/>
                    </a:cubicBezTo>
                    <a:cubicBezTo>
                      <a:pt x="1107" y="299"/>
                      <a:pt x="1104" y="302"/>
                      <a:pt x="1103" y="306"/>
                    </a:cubicBezTo>
                    <a:cubicBezTo>
                      <a:pt x="1102" y="307"/>
                      <a:pt x="1101" y="308"/>
                      <a:pt x="1102" y="309"/>
                    </a:cubicBezTo>
                    <a:cubicBezTo>
                      <a:pt x="1102" y="309"/>
                      <a:pt x="1103" y="309"/>
                      <a:pt x="1103" y="309"/>
                    </a:cubicBezTo>
                    <a:cubicBezTo>
                      <a:pt x="1104" y="309"/>
                      <a:pt x="1104" y="308"/>
                      <a:pt x="1104" y="307"/>
                    </a:cubicBezTo>
                    <a:cubicBezTo>
                      <a:pt x="1104" y="307"/>
                      <a:pt x="1105" y="308"/>
                      <a:pt x="1105" y="308"/>
                    </a:cubicBezTo>
                    <a:cubicBezTo>
                      <a:pt x="1106" y="308"/>
                      <a:pt x="1106" y="307"/>
                      <a:pt x="1106" y="306"/>
                    </a:cubicBezTo>
                    <a:cubicBezTo>
                      <a:pt x="1107" y="307"/>
                      <a:pt x="1108" y="310"/>
                      <a:pt x="1109" y="311"/>
                    </a:cubicBezTo>
                    <a:cubicBezTo>
                      <a:pt x="1109" y="311"/>
                      <a:pt x="1109" y="311"/>
                      <a:pt x="1109" y="311"/>
                    </a:cubicBezTo>
                    <a:cubicBezTo>
                      <a:pt x="1109" y="311"/>
                      <a:pt x="1110" y="310"/>
                      <a:pt x="1110" y="310"/>
                    </a:cubicBezTo>
                    <a:cubicBezTo>
                      <a:pt x="1111" y="310"/>
                      <a:pt x="1111" y="309"/>
                      <a:pt x="1111" y="309"/>
                    </a:cubicBezTo>
                    <a:cubicBezTo>
                      <a:pt x="1111" y="309"/>
                      <a:pt x="1111" y="309"/>
                      <a:pt x="1111" y="309"/>
                    </a:cubicBezTo>
                    <a:cubicBezTo>
                      <a:pt x="1113" y="310"/>
                      <a:pt x="1114" y="311"/>
                      <a:pt x="1116" y="312"/>
                    </a:cubicBezTo>
                    <a:cubicBezTo>
                      <a:pt x="1118" y="314"/>
                      <a:pt x="1121" y="316"/>
                      <a:pt x="1123" y="318"/>
                    </a:cubicBezTo>
                    <a:cubicBezTo>
                      <a:pt x="1123" y="316"/>
                      <a:pt x="1122" y="315"/>
                      <a:pt x="1122" y="313"/>
                    </a:cubicBezTo>
                    <a:cubicBezTo>
                      <a:pt x="1122" y="313"/>
                      <a:pt x="1122" y="311"/>
                      <a:pt x="1122" y="311"/>
                    </a:cubicBezTo>
                    <a:cubicBezTo>
                      <a:pt x="1121" y="311"/>
                      <a:pt x="1121" y="311"/>
                      <a:pt x="1121" y="311"/>
                    </a:cubicBezTo>
                    <a:cubicBezTo>
                      <a:pt x="1121" y="311"/>
                      <a:pt x="1121" y="311"/>
                      <a:pt x="1121" y="311"/>
                    </a:cubicBezTo>
                    <a:cubicBezTo>
                      <a:pt x="1120" y="311"/>
                      <a:pt x="1120" y="311"/>
                      <a:pt x="1120" y="311"/>
                    </a:cubicBezTo>
                    <a:cubicBezTo>
                      <a:pt x="1120" y="311"/>
                      <a:pt x="1120" y="311"/>
                      <a:pt x="1119" y="311"/>
                    </a:cubicBezTo>
                    <a:cubicBezTo>
                      <a:pt x="1116" y="308"/>
                      <a:pt x="1115" y="306"/>
                      <a:pt x="1115" y="301"/>
                    </a:cubicBezTo>
                    <a:cubicBezTo>
                      <a:pt x="1115" y="306"/>
                      <a:pt x="1116" y="307"/>
                      <a:pt x="1122" y="309"/>
                    </a:cubicBezTo>
                    <a:cubicBezTo>
                      <a:pt x="1121" y="307"/>
                      <a:pt x="1119" y="306"/>
                      <a:pt x="1118" y="303"/>
                    </a:cubicBezTo>
                    <a:cubicBezTo>
                      <a:pt x="1118" y="302"/>
                      <a:pt x="1118" y="300"/>
                      <a:pt x="1119" y="299"/>
                    </a:cubicBezTo>
                    <a:cubicBezTo>
                      <a:pt x="1120" y="293"/>
                      <a:pt x="1120" y="294"/>
                      <a:pt x="1117" y="290"/>
                    </a:cubicBezTo>
                    <a:cubicBezTo>
                      <a:pt x="1118" y="291"/>
                      <a:pt x="1119" y="292"/>
                      <a:pt x="1120" y="292"/>
                    </a:cubicBezTo>
                    <a:cubicBezTo>
                      <a:pt x="1119" y="290"/>
                      <a:pt x="1117" y="287"/>
                      <a:pt x="1116" y="285"/>
                    </a:cubicBezTo>
                    <a:cubicBezTo>
                      <a:pt x="1116" y="285"/>
                      <a:pt x="1116" y="285"/>
                      <a:pt x="1116" y="285"/>
                    </a:cubicBezTo>
                    <a:cubicBezTo>
                      <a:pt x="1119" y="285"/>
                      <a:pt x="1120" y="283"/>
                      <a:pt x="1122" y="281"/>
                    </a:cubicBezTo>
                    <a:cubicBezTo>
                      <a:pt x="1122" y="281"/>
                      <a:pt x="1122" y="281"/>
                      <a:pt x="1123" y="281"/>
                    </a:cubicBezTo>
                    <a:cubicBezTo>
                      <a:pt x="1123" y="281"/>
                      <a:pt x="1123" y="281"/>
                      <a:pt x="1123" y="281"/>
                    </a:cubicBezTo>
                    <a:cubicBezTo>
                      <a:pt x="1123" y="281"/>
                      <a:pt x="1123" y="281"/>
                      <a:pt x="1123" y="281"/>
                    </a:cubicBezTo>
                    <a:cubicBezTo>
                      <a:pt x="1123" y="281"/>
                      <a:pt x="1124" y="281"/>
                      <a:pt x="1124" y="280"/>
                    </a:cubicBezTo>
                    <a:cubicBezTo>
                      <a:pt x="1125" y="280"/>
                      <a:pt x="1125" y="279"/>
                      <a:pt x="1125" y="279"/>
                    </a:cubicBezTo>
                    <a:cubicBezTo>
                      <a:pt x="1125" y="279"/>
                      <a:pt x="1125" y="280"/>
                      <a:pt x="1125" y="280"/>
                    </a:cubicBezTo>
                    <a:cubicBezTo>
                      <a:pt x="1127" y="279"/>
                      <a:pt x="1130" y="277"/>
                      <a:pt x="1132" y="276"/>
                    </a:cubicBezTo>
                    <a:cubicBezTo>
                      <a:pt x="1137" y="277"/>
                      <a:pt x="1132" y="277"/>
                      <a:pt x="1133" y="279"/>
                    </a:cubicBezTo>
                    <a:cubicBezTo>
                      <a:pt x="1133" y="279"/>
                      <a:pt x="1130" y="280"/>
                      <a:pt x="1130" y="281"/>
                    </a:cubicBezTo>
                    <a:cubicBezTo>
                      <a:pt x="1130" y="282"/>
                      <a:pt x="1133" y="281"/>
                      <a:pt x="1134" y="282"/>
                    </a:cubicBezTo>
                    <a:cubicBezTo>
                      <a:pt x="1131" y="282"/>
                      <a:pt x="1128" y="281"/>
                      <a:pt x="1126" y="284"/>
                    </a:cubicBezTo>
                    <a:cubicBezTo>
                      <a:pt x="1125" y="285"/>
                      <a:pt x="1125" y="287"/>
                      <a:pt x="1124" y="288"/>
                    </a:cubicBezTo>
                    <a:cubicBezTo>
                      <a:pt x="1126" y="288"/>
                      <a:pt x="1127" y="288"/>
                      <a:pt x="1129" y="288"/>
                    </a:cubicBezTo>
                    <a:cubicBezTo>
                      <a:pt x="1128" y="289"/>
                      <a:pt x="1127" y="290"/>
                      <a:pt x="1127" y="292"/>
                    </a:cubicBezTo>
                    <a:cubicBezTo>
                      <a:pt x="1127" y="292"/>
                      <a:pt x="1126" y="292"/>
                      <a:pt x="1126" y="292"/>
                    </a:cubicBezTo>
                    <a:cubicBezTo>
                      <a:pt x="1126" y="292"/>
                      <a:pt x="1125" y="292"/>
                      <a:pt x="1125" y="292"/>
                    </a:cubicBezTo>
                    <a:cubicBezTo>
                      <a:pt x="1124" y="292"/>
                      <a:pt x="1124" y="291"/>
                      <a:pt x="1123" y="291"/>
                    </a:cubicBezTo>
                    <a:cubicBezTo>
                      <a:pt x="1123" y="291"/>
                      <a:pt x="1123" y="291"/>
                      <a:pt x="1123" y="292"/>
                    </a:cubicBezTo>
                    <a:cubicBezTo>
                      <a:pt x="1123" y="293"/>
                      <a:pt x="1122" y="295"/>
                      <a:pt x="1122" y="296"/>
                    </a:cubicBezTo>
                    <a:cubicBezTo>
                      <a:pt x="1122" y="295"/>
                      <a:pt x="1123" y="294"/>
                      <a:pt x="1124" y="294"/>
                    </a:cubicBezTo>
                    <a:cubicBezTo>
                      <a:pt x="1124" y="294"/>
                      <a:pt x="1124" y="294"/>
                      <a:pt x="1124" y="294"/>
                    </a:cubicBezTo>
                    <a:cubicBezTo>
                      <a:pt x="1125" y="294"/>
                      <a:pt x="1128" y="297"/>
                      <a:pt x="1128" y="298"/>
                    </a:cubicBezTo>
                    <a:cubicBezTo>
                      <a:pt x="1128" y="298"/>
                      <a:pt x="1125" y="299"/>
                      <a:pt x="1125" y="299"/>
                    </a:cubicBezTo>
                    <a:cubicBezTo>
                      <a:pt x="1126" y="301"/>
                      <a:pt x="1128" y="302"/>
                      <a:pt x="1131" y="303"/>
                    </a:cubicBezTo>
                    <a:cubicBezTo>
                      <a:pt x="1130" y="303"/>
                      <a:pt x="1130" y="303"/>
                      <a:pt x="1130" y="303"/>
                    </a:cubicBezTo>
                    <a:cubicBezTo>
                      <a:pt x="1129" y="303"/>
                      <a:pt x="1128" y="303"/>
                      <a:pt x="1128" y="303"/>
                    </a:cubicBezTo>
                    <a:cubicBezTo>
                      <a:pt x="1127" y="303"/>
                      <a:pt x="1126" y="302"/>
                      <a:pt x="1126" y="302"/>
                    </a:cubicBezTo>
                    <a:cubicBezTo>
                      <a:pt x="1126" y="302"/>
                      <a:pt x="1125" y="303"/>
                      <a:pt x="1124" y="303"/>
                    </a:cubicBezTo>
                    <a:cubicBezTo>
                      <a:pt x="1123" y="304"/>
                      <a:pt x="1124" y="304"/>
                      <a:pt x="1125" y="304"/>
                    </a:cubicBezTo>
                    <a:cubicBezTo>
                      <a:pt x="1125" y="304"/>
                      <a:pt x="1126" y="304"/>
                      <a:pt x="1126" y="304"/>
                    </a:cubicBezTo>
                    <a:cubicBezTo>
                      <a:pt x="1126" y="305"/>
                      <a:pt x="1123" y="306"/>
                      <a:pt x="1123" y="307"/>
                    </a:cubicBezTo>
                    <a:cubicBezTo>
                      <a:pt x="1124" y="308"/>
                      <a:pt x="1125" y="309"/>
                      <a:pt x="1125" y="311"/>
                    </a:cubicBezTo>
                    <a:cubicBezTo>
                      <a:pt x="1125" y="310"/>
                      <a:pt x="1125" y="309"/>
                      <a:pt x="1125" y="309"/>
                    </a:cubicBezTo>
                    <a:cubicBezTo>
                      <a:pt x="1127" y="309"/>
                      <a:pt x="1128" y="312"/>
                      <a:pt x="1129" y="312"/>
                    </a:cubicBezTo>
                    <a:cubicBezTo>
                      <a:pt x="1130" y="312"/>
                      <a:pt x="1130" y="312"/>
                      <a:pt x="1130" y="310"/>
                    </a:cubicBezTo>
                    <a:cubicBezTo>
                      <a:pt x="1130" y="311"/>
                      <a:pt x="1131" y="312"/>
                      <a:pt x="1131" y="312"/>
                    </a:cubicBezTo>
                    <a:cubicBezTo>
                      <a:pt x="1132" y="311"/>
                      <a:pt x="1133" y="309"/>
                      <a:pt x="1134" y="309"/>
                    </a:cubicBezTo>
                    <a:cubicBezTo>
                      <a:pt x="1134" y="310"/>
                      <a:pt x="1135" y="311"/>
                      <a:pt x="1134" y="313"/>
                    </a:cubicBezTo>
                    <a:cubicBezTo>
                      <a:pt x="1134" y="314"/>
                      <a:pt x="1132" y="315"/>
                      <a:pt x="1132" y="316"/>
                    </a:cubicBezTo>
                    <a:cubicBezTo>
                      <a:pt x="1132" y="315"/>
                      <a:pt x="1132" y="315"/>
                      <a:pt x="1132" y="315"/>
                    </a:cubicBezTo>
                    <a:cubicBezTo>
                      <a:pt x="1133" y="315"/>
                      <a:pt x="1133" y="316"/>
                      <a:pt x="1134" y="316"/>
                    </a:cubicBezTo>
                    <a:cubicBezTo>
                      <a:pt x="1134" y="316"/>
                      <a:pt x="1135" y="316"/>
                      <a:pt x="1136" y="316"/>
                    </a:cubicBezTo>
                    <a:cubicBezTo>
                      <a:pt x="1136" y="316"/>
                      <a:pt x="1136" y="316"/>
                      <a:pt x="1136" y="316"/>
                    </a:cubicBezTo>
                    <a:cubicBezTo>
                      <a:pt x="1135" y="317"/>
                      <a:pt x="1132" y="320"/>
                      <a:pt x="1134" y="321"/>
                    </a:cubicBezTo>
                    <a:cubicBezTo>
                      <a:pt x="1133" y="321"/>
                      <a:pt x="1139" y="320"/>
                      <a:pt x="1139" y="320"/>
                    </a:cubicBezTo>
                    <a:cubicBezTo>
                      <a:pt x="1135" y="326"/>
                      <a:pt x="1132" y="331"/>
                      <a:pt x="1130" y="338"/>
                    </a:cubicBezTo>
                    <a:cubicBezTo>
                      <a:pt x="1130" y="339"/>
                      <a:pt x="1130" y="342"/>
                      <a:pt x="1132" y="342"/>
                    </a:cubicBezTo>
                    <a:cubicBezTo>
                      <a:pt x="1132" y="342"/>
                      <a:pt x="1132" y="341"/>
                      <a:pt x="1133" y="341"/>
                    </a:cubicBezTo>
                    <a:cubicBezTo>
                      <a:pt x="1134" y="341"/>
                      <a:pt x="1133" y="337"/>
                      <a:pt x="1134" y="336"/>
                    </a:cubicBezTo>
                    <a:cubicBezTo>
                      <a:pt x="1135" y="334"/>
                      <a:pt x="1138" y="333"/>
                      <a:pt x="1139" y="331"/>
                    </a:cubicBezTo>
                    <a:cubicBezTo>
                      <a:pt x="1140" y="331"/>
                      <a:pt x="1140" y="330"/>
                      <a:pt x="1140" y="329"/>
                    </a:cubicBezTo>
                    <a:cubicBezTo>
                      <a:pt x="1140" y="327"/>
                      <a:pt x="1141" y="325"/>
                      <a:pt x="1142" y="324"/>
                    </a:cubicBezTo>
                    <a:cubicBezTo>
                      <a:pt x="1143" y="321"/>
                      <a:pt x="1145" y="319"/>
                      <a:pt x="1146" y="316"/>
                    </a:cubicBezTo>
                    <a:cubicBezTo>
                      <a:pt x="1148" y="314"/>
                      <a:pt x="1150" y="308"/>
                      <a:pt x="1152" y="307"/>
                    </a:cubicBezTo>
                    <a:cubicBezTo>
                      <a:pt x="1152" y="308"/>
                      <a:pt x="1152" y="309"/>
                      <a:pt x="1152" y="310"/>
                    </a:cubicBezTo>
                    <a:cubicBezTo>
                      <a:pt x="1153" y="308"/>
                      <a:pt x="1153" y="305"/>
                      <a:pt x="1152" y="302"/>
                    </a:cubicBezTo>
                    <a:cubicBezTo>
                      <a:pt x="1152" y="303"/>
                      <a:pt x="1151" y="303"/>
                      <a:pt x="1150" y="303"/>
                    </a:cubicBezTo>
                    <a:cubicBezTo>
                      <a:pt x="1150" y="303"/>
                      <a:pt x="1150" y="303"/>
                      <a:pt x="1149" y="303"/>
                    </a:cubicBezTo>
                    <a:cubicBezTo>
                      <a:pt x="1150" y="303"/>
                      <a:pt x="1150" y="302"/>
                      <a:pt x="1150" y="302"/>
                    </a:cubicBezTo>
                    <a:cubicBezTo>
                      <a:pt x="1151" y="301"/>
                      <a:pt x="1151" y="299"/>
                      <a:pt x="1152" y="297"/>
                    </a:cubicBezTo>
                    <a:cubicBezTo>
                      <a:pt x="1146" y="295"/>
                      <a:pt x="1144" y="286"/>
                      <a:pt x="1141" y="281"/>
                    </a:cubicBezTo>
                    <a:cubicBezTo>
                      <a:pt x="1140" y="279"/>
                      <a:pt x="1139" y="278"/>
                      <a:pt x="1139" y="276"/>
                    </a:cubicBezTo>
                    <a:cubicBezTo>
                      <a:pt x="1141" y="270"/>
                      <a:pt x="1148" y="267"/>
                      <a:pt x="1152" y="265"/>
                    </a:cubicBezTo>
                    <a:cubicBezTo>
                      <a:pt x="1152" y="265"/>
                      <a:pt x="1152" y="265"/>
                      <a:pt x="1152" y="265"/>
                    </a:cubicBezTo>
                    <a:cubicBezTo>
                      <a:pt x="1152" y="265"/>
                      <a:pt x="1152" y="265"/>
                      <a:pt x="1153" y="264"/>
                    </a:cubicBezTo>
                    <a:cubicBezTo>
                      <a:pt x="1149" y="267"/>
                      <a:pt x="1144" y="269"/>
                      <a:pt x="1142" y="273"/>
                    </a:cubicBezTo>
                    <a:cubicBezTo>
                      <a:pt x="1139" y="279"/>
                      <a:pt x="1144" y="281"/>
                      <a:pt x="1149" y="285"/>
                    </a:cubicBezTo>
                    <a:cubicBezTo>
                      <a:pt x="1151" y="287"/>
                      <a:pt x="1156" y="286"/>
                      <a:pt x="1156" y="289"/>
                    </a:cubicBezTo>
                    <a:cubicBezTo>
                      <a:pt x="1156" y="290"/>
                      <a:pt x="1155" y="292"/>
                      <a:pt x="1155" y="294"/>
                    </a:cubicBezTo>
                    <a:cubicBezTo>
                      <a:pt x="1156" y="294"/>
                      <a:pt x="1161" y="290"/>
                      <a:pt x="1160" y="289"/>
                    </a:cubicBezTo>
                    <a:cubicBezTo>
                      <a:pt x="1161" y="288"/>
                      <a:pt x="1162" y="286"/>
                      <a:pt x="1163" y="285"/>
                    </a:cubicBezTo>
                    <a:cubicBezTo>
                      <a:pt x="1162" y="284"/>
                      <a:pt x="1162" y="284"/>
                      <a:pt x="1162" y="284"/>
                    </a:cubicBezTo>
                    <a:cubicBezTo>
                      <a:pt x="1163" y="284"/>
                      <a:pt x="1169" y="282"/>
                      <a:pt x="1166" y="281"/>
                    </a:cubicBezTo>
                    <a:cubicBezTo>
                      <a:pt x="1167" y="280"/>
                      <a:pt x="1169" y="279"/>
                      <a:pt x="1170" y="278"/>
                    </a:cubicBezTo>
                    <a:cubicBezTo>
                      <a:pt x="1170" y="278"/>
                      <a:pt x="1171" y="275"/>
                      <a:pt x="1172" y="275"/>
                    </a:cubicBezTo>
                    <a:cubicBezTo>
                      <a:pt x="1174" y="272"/>
                      <a:pt x="1172" y="273"/>
                      <a:pt x="1173" y="271"/>
                    </a:cubicBezTo>
                    <a:cubicBezTo>
                      <a:pt x="1173" y="270"/>
                      <a:pt x="1174" y="269"/>
                      <a:pt x="1174" y="269"/>
                    </a:cubicBezTo>
                    <a:cubicBezTo>
                      <a:pt x="1174" y="267"/>
                      <a:pt x="1174" y="265"/>
                      <a:pt x="1176" y="263"/>
                    </a:cubicBezTo>
                    <a:cubicBezTo>
                      <a:pt x="1176" y="266"/>
                      <a:pt x="1174" y="268"/>
                      <a:pt x="1175" y="271"/>
                    </a:cubicBezTo>
                    <a:cubicBezTo>
                      <a:pt x="1176" y="267"/>
                      <a:pt x="1176" y="263"/>
                      <a:pt x="1177" y="259"/>
                    </a:cubicBezTo>
                    <a:cubicBezTo>
                      <a:pt x="1177" y="257"/>
                      <a:pt x="1178" y="255"/>
                      <a:pt x="1177" y="254"/>
                    </a:cubicBezTo>
                    <a:cubicBezTo>
                      <a:pt x="1176" y="252"/>
                      <a:pt x="1171" y="253"/>
                      <a:pt x="1170" y="252"/>
                    </a:cubicBezTo>
                    <a:cubicBezTo>
                      <a:pt x="1170" y="251"/>
                      <a:pt x="1171" y="250"/>
                      <a:pt x="1172" y="249"/>
                    </a:cubicBezTo>
                    <a:cubicBezTo>
                      <a:pt x="1171" y="248"/>
                      <a:pt x="1170" y="247"/>
                      <a:pt x="1170" y="245"/>
                    </a:cubicBezTo>
                    <a:cubicBezTo>
                      <a:pt x="1170" y="242"/>
                      <a:pt x="1173" y="239"/>
                      <a:pt x="1177" y="239"/>
                    </a:cubicBezTo>
                    <a:cubicBezTo>
                      <a:pt x="1177" y="239"/>
                      <a:pt x="1177" y="239"/>
                      <a:pt x="1177" y="239"/>
                    </a:cubicBezTo>
                    <a:cubicBezTo>
                      <a:pt x="1177" y="239"/>
                      <a:pt x="1177" y="239"/>
                      <a:pt x="1177" y="239"/>
                    </a:cubicBezTo>
                    <a:cubicBezTo>
                      <a:pt x="1178" y="239"/>
                      <a:pt x="1178" y="239"/>
                      <a:pt x="1178" y="239"/>
                    </a:cubicBezTo>
                    <a:cubicBezTo>
                      <a:pt x="1178" y="239"/>
                      <a:pt x="1178" y="239"/>
                      <a:pt x="1178" y="239"/>
                    </a:cubicBezTo>
                    <a:cubicBezTo>
                      <a:pt x="1179" y="240"/>
                      <a:pt x="1180" y="240"/>
                      <a:pt x="1181" y="241"/>
                    </a:cubicBezTo>
                    <a:cubicBezTo>
                      <a:pt x="1183" y="240"/>
                      <a:pt x="1184" y="237"/>
                      <a:pt x="1187" y="236"/>
                    </a:cubicBezTo>
                    <a:cubicBezTo>
                      <a:pt x="1192" y="234"/>
                      <a:pt x="1197" y="231"/>
                      <a:pt x="1202" y="229"/>
                    </a:cubicBezTo>
                    <a:cubicBezTo>
                      <a:pt x="1203" y="229"/>
                      <a:pt x="1203" y="229"/>
                      <a:pt x="1204" y="229"/>
                    </a:cubicBezTo>
                    <a:cubicBezTo>
                      <a:pt x="1206" y="229"/>
                      <a:pt x="1208" y="229"/>
                      <a:pt x="1210" y="229"/>
                    </a:cubicBezTo>
                    <a:cubicBezTo>
                      <a:pt x="1212" y="228"/>
                      <a:pt x="1214" y="228"/>
                      <a:pt x="1215" y="228"/>
                    </a:cubicBezTo>
                    <a:cubicBezTo>
                      <a:pt x="1215" y="228"/>
                      <a:pt x="1216" y="228"/>
                      <a:pt x="1216" y="228"/>
                    </a:cubicBezTo>
                    <a:cubicBezTo>
                      <a:pt x="1219" y="228"/>
                      <a:pt x="1222" y="228"/>
                      <a:pt x="1225" y="228"/>
                    </a:cubicBezTo>
                    <a:cubicBezTo>
                      <a:pt x="1228" y="228"/>
                      <a:pt x="1231" y="228"/>
                      <a:pt x="1235" y="227"/>
                    </a:cubicBezTo>
                    <a:cubicBezTo>
                      <a:pt x="1237" y="226"/>
                      <a:pt x="1237" y="217"/>
                      <a:pt x="1237" y="215"/>
                    </a:cubicBezTo>
                    <a:cubicBezTo>
                      <a:pt x="1238" y="217"/>
                      <a:pt x="1239" y="217"/>
                      <a:pt x="1240" y="217"/>
                    </a:cubicBezTo>
                    <a:cubicBezTo>
                      <a:pt x="1241" y="217"/>
                      <a:pt x="1242" y="216"/>
                      <a:pt x="1244" y="216"/>
                    </a:cubicBezTo>
                    <a:cubicBezTo>
                      <a:pt x="1242" y="219"/>
                      <a:pt x="1242" y="219"/>
                      <a:pt x="1243" y="223"/>
                    </a:cubicBezTo>
                    <a:cubicBezTo>
                      <a:pt x="1246" y="221"/>
                      <a:pt x="1250" y="217"/>
                      <a:pt x="1253" y="217"/>
                    </a:cubicBezTo>
                    <a:cubicBezTo>
                      <a:pt x="1254" y="217"/>
                      <a:pt x="1254" y="217"/>
                      <a:pt x="1254" y="217"/>
                    </a:cubicBezTo>
                    <a:cubicBezTo>
                      <a:pt x="1255" y="217"/>
                      <a:pt x="1255" y="217"/>
                      <a:pt x="1254" y="218"/>
                    </a:cubicBezTo>
                    <a:cubicBezTo>
                      <a:pt x="1256" y="218"/>
                      <a:pt x="1261" y="219"/>
                      <a:pt x="1265" y="219"/>
                    </a:cubicBezTo>
                    <a:cubicBezTo>
                      <a:pt x="1268" y="219"/>
                      <a:pt x="1270" y="219"/>
                      <a:pt x="1271" y="217"/>
                    </a:cubicBezTo>
                    <a:cubicBezTo>
                      <a:pt x="1272" y="217"/>
                      <a:pt x="1271" y="214"/>
                      <a:pt x="1271" y="213"/>
                    </a:cubicBezTo>
                    <a:cubicBezTo>
                      <a:pt x="1270" y="211"/>
                      <a:pt x="1269" y="208"/>
                      <a:pt x="1267" y="208"/>
                    </a:cubicBezTo>
                    <a:cubicBezTo>
                      <a:pt x="1267" y="208"/>
                      <a:pt x="1265" y="207"/>
                      <a:pt x="1264" y="207"/>
                    </a:cubicBezTo>
                    <a:cubicBezTo>
                      <a:pt x="1264" y="207"/>
                      <a:pt x="1264" y="207"/>
                      <a:pt x="1264" y="208"/>
                    </a:cubicBezTo>
                    <a:cubicBezTo>
                      <a:pt x="1264" y="208"/>
                      <a:pt x="1264" y="208"/>
                      <a:pt x="1265" y="208"/>
                    </a:cubicBezTo>
                    <a:cubicBezTo>
                      <a:pt x="1265" y="208"/>
                      <a:pt x="1265" y="208"/>
                      <a:pt x="1265" y="208"/>
                    </a:cubicBezTo>
                    <a:cubicBezTo>
                      <a:pt x="1266" y="208"/>
                      <a:pt x="1266" y="208"/>
                      <a:pt x="1266" y="208"/>
                    </a:cubicBezTo>
                    <a:cubicBezTo>
                      <a:pt x="1266" y="208"/>
                      <a:pt x="1266" y="208"/>
                      <a:pt x="1266" y="208"/>
                    </a:cubicBezTo>
                    <a:cubicBezTo>
                      <a:pt x="1267" y="209"/>
                      <a:pt x="1267" y="210"/>
                      <a:pt x="1268" y="211"/>
                    </a:cubicBezTo>
                    <a:cubicBezTo>
                      <a:pt x="1270" y="215"/>
                      <a:pt x="1270" y="216"/>
                      <a:pt x="1265" y="217"/>
                    </a:cubicBezTo>
                    <a:cubicBezTo>
                      <a:pt x="1264" y="217"/>
                      <a:pt x="1263" y="217"/>
                      <a:pt x="1262" y="217"/>
                    </a:cubicBezTo>
                    <a:cubicBezTo>
                      <a:pt x="1261" y="217"/>
                      <a:pt x="1260" y="217"/>
                      <a:pt x="1259" y="216"/>
                    </a:cubicBezTo>
                    <a:cubicBezTo>
                      <a:pt x="1257" y="215"/>
                      <a:pt x="1257" y="211"/>
                      <a:pt x="1256" y="209"/>
                    </a:cubicBezTo>
                    <a:cubicBezTo>
                      <a:pt x="1255" y="207"/>
                      <a:pt x="1254" y="204"/>
                      <a:pt x="1252" y="203"/>
                    </a:cubicBezTo>
                    <a:cubicBezTo>
                      <a:pt x="1251" y="202"/>
                      <a:pt x="1251" y="202"/>
                      <a:pt x="1250" y="202"/>
                    </a:cubicBezTo>
                    <a:cubicBezTo>
                      <a:pt x="1250" y="202"/>
                      <a:pt x="1249" y="202"/>
                      <a:pt x="1249" y="202"/>
                    </a:cubicBezTo>
                    <a:cubicBezTo>
                      <a:pt x="1249" y="202"/>
                      <a:pt x="1249" y="202"/>
                      <a:pt x="1248" y="202"/>
                    </a:cubicBezTo>
                    <a:cubicBezTo>
                      <a:pt x="1248" y="202"/>
                      <a:pt x="1247" y="202"/>
                      <a:pt x="1245" y="199"/>
                    </a:cubicBezTo>
                    <a:cubicBezTo>
                      <a:pt x="1247" y="199"/>
                      <a:pt x="1249" y="195"/>
                      <a:pt x="1251" y="194"/>
                    </a:cubicBezTo>
                    <a:cubicBezTo>
                      <a:pt x="1252" y="193"/>
                      <a:pt x="1258" y="192"/>
                      <a:pt x="1255" y="190"/>
                    </a:cubicBezTo>
                    <a:cubicBezTo>
                      <a:pt x="1255" y="191"/>
                      <a:pt x="1254" y="192"/>
                      <a:pt x="1254" y="192"/>
                    </a:cubicBezTo>
                    <a:cubicBezTo>
                      <a:pt x="1253" y="192"/>
                      <a:pt x="1253" y="191"/>
                      <a:pt x="1252" y="190"/>
                    </a:cubicBezTo>
                    <a:cubicBezTo>
                      <a:pt x="1250" y="187"/>
                      <a:pt x="1251" y="181"/>
                      <a:pt x="1254" y="178"/>
                    </a:cubicBezTo>
                    <a:cubicBezTo>
                      <a:pt x="1257" y="174"/>
                      <a:pt x="1264" y="169"/>
                      <a:pt x="1265" y="164"/>
                    </a:cubicBezTo>
                    <a:cubicBezTo>
                      <a:pt x="1266" y="159"/>
                      <a:pt x="1266" y="159"/>
                      <a:pt x="1270" y="157"/>
                    </a:cubicBezTo>
                    <a:cubicBezTo>
                      <a:pt x="1269" y="158"/>
                      <a:pt x="1269" y="158"/>
                      <a:pt x="1269" y="158"/>
                    </a:cubicBezTo>
                    <a:cubicBezTo>
                      <a:pt x="1271" y="157"/>
                      <a:pt x="1271" y="157"/>
                      <a:pt x="1272" y="157"/>
                    </a:cubicBezTo>
                    <a:cubicBezTo>
                      <a:pt x="1273" y="157"/>
                      <a:pt x="1273" y="158"/>
                      <a:pt x="1275" y="160"/>
                    </a:cubicBezTo>
                    <a:cubicBezTo>
                      <a:pt x="1274" y="158"/>
                      <a:pt x="1273" y="153"/>
                      <a:pt x="1275" y="151"/>
                    </a:cubicBezTo>
                    <a:cubicBezTo>
                      <a:pt x="1275" y="151"/>
                      <a:pt x="1275" y="151"/>
                      <a:pt x="1275" y="151"/>
                    </a:cubicBezTo>
                    <a:cubicBezTo>
                      <a:pt x="1275" y="152"/>
                      <a:pt x="1275" y="152"/>
                      <a:pt x="1275" y="153"/>
                    </a:cubicBezTo>
                    <a:cubicBezTo>
                      <a:pt x="1274" y="153"/>
                      <a:pt x="1274" y="153"/>
                      <a:pt x="1274" y="153"/>
                    </a:cubicBezTo>
                    <a:cubicBezTo>
                      <a:pt x="1274" y="156"/>
                      <a:pt x="1275" y="158"/>
                      <a:pt x="1276" y="159"/>
                    </a:cubicBezTo>
                    <a:cubicBezTo>
                      <a:pt x="1277" y="157"/>
                      <a:pt x="1277" y="155"/>
                      <a:pt x="1278" y="153"/>
                    </a:cubicBezTo>
                    <a:cubicBezTo>
                      <a:pt x="1278" y="153"/>
                      <a:pt x="1278" y="153"/>
                      <a:pt x="1278" y="153"/>
                    </a:cubicBezTo>
                    <a:cubicBezTo>
                      <a:pt x="1278" y="153"/>
                      <a:pt x="1278" y="153"/>
                      <a:pt x="1278" y="153"/>
                    </a:cubicBezTo>
                    <a:cubicBezTo>
                      <a:pt x="1278" y="153"/>
                      <a:pt x="1278" y="152"/>
                      <a:pt x="1278" y="152"/>
                    </a:cubicBezTo>
                    <a:cubicBezTo>
                      <a:pt x="1278" y="153"/>
                      <a:pt x="1278" y="153"/>
                      <a:pt x="1278" y="153"/>
                    </a:cubicBezTo>
                    <a:cubicBezTo>
                      <a:pt x="1277" y="154"/>
                      <a:pt x="1278" y="157"/>
                      <a:pt x="1279" y="158"/>
                    </a:cubicBezTo>
                    <a:cubicBezTo>
                      <a:pt x="1280" y="157"/>
                      <a:pt x="1280" y="156"/>
                      <a:pt x="1280" y="155"/>
                    </a:cubicBezTo>
                    <a:cubicBezTo>
                      <a:pt x="1280" y="154"/>
                      <a:pt x="1280" y="154"/>
                      <a:pt x="1280" y="154"/>
                    </a:cubicBezTo>
                    <a:cubicBezTo>
                      <a:pt x="1280" y="153"/>
                      <a:pt x="1280" y="153"/>
                      <a:pt x="1280" y="153"/>
                    </a:cubicBezTo>
                    <a:cubicBezTo>
                      <a:pt x="1281" y="153"/>
                      <a:pt x="1281" y="153"/>
                      <a:pt x="1281"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4"/>
                      <a:pt x="1280" y="154"/>
                      <a:pt x="1280" y="155"/>
                    </a:cubicBezTo>
                    <a:cubicBezTo>
                      <a:pt x="1280" y="155"/>
                      <a:pt x="1280" y="155"/>
                      <a:pt x="1280" y="155"/>
                    </a:cubicBezTo>
                    <a:cubicBezTo>
                      <a:pt x="1282" y="155"/>
                      <a:pt x="1283" y="153"/>
                      <a:pt x="1285" y="151"/>
                    </a:cubicBezTo>
                    <a:cubicBezTo>
                      <a:pt x="1284" y="152"/>
                      <a:pt x="1285" y="152"/>
                      <a:pt x="1285" y="153"/>
                    </a:cubicBezTo>
                    <a:cubicBezTo>
                      <a:pt x="1287" y="153"/>
                      <a:pt x="1291" y="153"/>
                      <a:pt x="1291" y="150"/>
                    </a:cubicBezTo>
                    <a:cubicBezTo>
                      <a:pt x="1289" y="150"/>
                      <a:pt x="1294" y="143"/>
                      <a:pt x="1295" y="142"/>
                    </a:cubicBezTo>
                    <a:cubicBezTo>
                      <a:pt x="1295" y="141"/>
                      <a:pt x="1298" y="137"/>
                      <a:pt x="1298" y="137"/>
                    </a:cubicBezTo>
                    <a:cubicBezTo>
                      <a:pt x="1299" y="137"/>
                      <a:pt x="1299" y="137"/>
                      <a:pt x="1299" y="138"/>
                    </a:cubicBezTo>
                    <a:cubicBezTo>
                      <a:pt x="1299" y="139"/>
                      <a:pt x="1298" y="140"/>
                      <a:pt x="1297" y="141"/>
                    </a:cubicBezTo>
                    <a:cubicBezTo>
                      <a:pt x="1298" y="141"/>
                      <a:pt x="1299" y="141"/>
                      <a:pt x="1299" y="140"/>
                    </a:cubicBezTo>
                    <a:cubicBezTo>
                      <a:pt x="1299" y="141"/>
                      <a:pt x="1297" y="142"/>
                      <a:pt x="1297" y="144"/>
                    </a:cubicBezTo>
                    <a:cubicBezTo>
                      <a:pt x="1297" y="144"/>
                      <a:pt x="1298" y="143"/>
                      <a:pt x="1298" y="143"/>
                    </a:cubicBezTo>
                    <a:cubicBezTo>
                      <a:pt x="1300" y="143"/>
                      <a:pt x="1303" y="145"/>
                      <a:pt x="1304" y="146"/>
                    </a:cubicBezTo>
                    <a:cubicBezTo>
                      <a:pt x="1303" y="143"/>
                      <a:pt x="1304" y="141"/>
                      <a:pt x="1306" y="139"/>
                    </a:cubicBezTo>
                    <a:cubicBezTo>
                      <a:pt x="1307" y="139"/>
                      <a:pt x="1308" y="138"/>
                      <a:pt x="1310" y="138"/>
                    </a:cubicBezTo>
                    <a:cubicBezTo>
                      <a:pt x="1311" y="138"/>
                      <a:pt x="1312" y="138"/>
                      <a:pt x="1312" y="139"/>
                    </a:cubicBezTo>
                    <a:cubicBezTo>
                      <a:pt x="1312" y="139"/>
                      <a:pt x="1312" y="139"/>
                      <a:pt x="1312" y="139"/>
                    </a:cubicBezTo>
                    <a:cubicBezTo>
                      <a:pt x="1314" y="139"/>
                      <a:pt x="1313" y="141"/>
                      <a:pt x="1315" y="143"/>
                    </a:cubicBezTo>
                    <a:cubicBezTo>
                      <a:pt x="1316" y="142"/>
                      <a:pt x="1316" y="140"/>
                      <a:pt x="1317" y="139"/>
                    </a:cubicBezTo>
                    <a:cubicBezTo>
                      <a:pt x="1317" y="140"/>
                      <a:pt x="1318" y="141"/>
                      <a:pt x="1318" y="141"/>
                    </a:cubicBezTo>
                    <a:cubicBezTo>
                      <a:pt x="1319" y="139"/>
                      <a:pt x="1320" y="137"/>
                      <a:pt x="1321" y="136"/>
                    </a:cubicBezTo>
                    <a:cubicBezTo>
                      <a:pt x="1321" y="136"/>
                      <a:pt x="1322" y="136"/>
                      <a:pt x="1322" y="136"/>
                    </a:cubicBezTo>
                    <a:cubicBezTo>
                      <a:pt x="1323" y="136"/>
                      <a:pt x="1325" y="135"/>
                      <a:pt x="1326" y="135"/>
                    </a:cubicBezTo>
                    <a:cubicBezTo>
                      <a:pt x="1328" y="134"/>
                      <a:pt x="1329" y="133"/>
                      <a:pt x="1330" y="133"/>
                    </a:cubicBezTo>
                    <a:cubicBezTo>
                      <a:pt x="1330" y="133"/>
                      <a:pt x="1331" y="133"/>
                      <a:pt x="1331" y="133"/>
                    </a:cubicBezTo>
                    <a:cubicBezTo>
                      <a:pt x="1332" y="133"/>
                      <a:pt x="1332" y="135"/>
                      <a:pt x="1333" y="135"/>
                    </a:cubicBezTo>
                    <a:cubicBezTo>
                      <a:pt x="1333" y="135"/>
                      <a:pt x="1334" y="135"/>
                      <a:pt x="1334" y="134"/>
                    </a:cubicBezTo>
                    <a:cubicBezTo>
                      <a:pt x="1335" y="133"/>
                      <a:pt x="1337" y="132"/>
                      <a:pt x="1339" y="130"/>
                    </a:cubicBezTo>
                    <a:cubicBezTo>
                      <a:pt x="1340" y="129"/>
                      <a:pt x="1340" y="129"/>
                      <a:pt x="1339" y="128"/>
                    </a:cubicBezTo>
                    <a:cubicBezTo>
                      <a:pt x="1338" y="128"/>
                      <a:pt x="1338" y="129"/>
                      <a:pt x="1338" y="129"/>
                    </a:cubicBezTo>
                    <a:cubicBezTo>
                      <a:pt x="1338" y="129"/>
                      <a:pt x="1337" y="128"/>
                      <a:pt x="1337" y="128"/>
                    </a:cubicBezTo>
                    <a:cubicBezTo>
                      <a:pt x="1337" y="128"/>
                      <a:pt x="1337" y="128"/>
                      <a:pt x="1336" y="128"/>
                    </a:cubicBezTo>
                    <a:cubicBezTo>
                      <a:pt x="1335" y="128"/>
                      <a:pt x="1334" y="127"/>
                      <a:pt x="1336" y="126"/>
                    </a:cubicBezTo>
                    <a:cubicBezTo>
                      <a:pt x="1337" y="126"/>
                      <a:pt x="1338" y="126"/>
                      <a:pt x="1338" y="125"/>
                    </a:cubicBezTo>
                    <a:cubicBezTo>
                      <a:pt x="1338" y="124"/>
                      <a:pt x="1338" y="124"/>
                      <a:pt x="1338" y="124"/>
                    </a:cubicBezTo>
                    <a:cubicBezTo>
                      <a:pt x="1337" y="124"/>
                      <a:pt x="1337" y="124"/>
                      <a:pt x="1337" y="124"/>
                    </a:cubicBezTo>
                    <a:cubicBezTo>
                      <a:pt x="1337" y="124"/>
                      <a:pt x="1337" y="124"/>
                      <a:pt x="1337" y="124"/>
                    </a:cubicBezTo>
                    <a:cubicBezTo>
                      <a:pt x="1335" y="123"/>
                      <a:pt x="1335" y="123"/>
                      <a:pt x="1335" y="123"/>
                    </a:cubicBezTo>
                    <a:cubicBezTo>
                      <a:pt x="1334" y="123"/>
                      <a:pt x="1333" y="123"/>
                      <a:pt x="1333" y="123"/>
                    </a:cubicBezTo>
                    <a:cubicBezTo>
                      <a:pt x="1332" y="123"/>
                      <a:pt x="1331" y="123"/>
                      <a:pt x="1330" y="123"/>
                    </a:cubicBezTo>
                    <a:cubicBezTo>
                      <a:pt x="1327" y="121"/>
                      <a:pt x="1328" y="116"/>
                      <a:pt x="1328" y="115"/>
                    </a:cubicBezTo>
                    <a:cubicBezTo>
                      <a:pt x="1328" y="115"/>
                      <a:pt x="1328" y="114"/>
                      <a:pt x="1328" y="114"/>
                    </a:cubicBezTo>
                    <a:cubicBezTo>
                      <a:pt x="1328" y="112"/>
                      <a:pt x="1328" y="111"/>
                      <a:pt x="1328" y="110"/>
                    </a:cubicBezTo>
                    <a:cubicBezTo>
                      <a:pt x="1324" y="110"/>
                      <a:pt x="1322" y="109"/>
                      <a:pt x="1320" y="106"/>
                    </a:cubicBezTo>
                    <a:cubicBezTo>
                      <a:pt x="1318" y="104"/>
                      <a:pt x="1319" y="101"/>
                      <a:pt x="1319" y="99"/>
                    </a:cubicBezTo>
                    <a:cubicBezTo>
                      <a:pt x="1319" y="97"/>
                      <a:pt x="1319" y="81"/>
                      <a:pt x="1319" y="73"/>
                    </a:cubicBezTo>
                    <a:cubicBezTo>
                      <a:pt x="1319" y="69"/>
                      <a:pt x="1319" y="65"/>
                      <a:pt x="1318" y="65"/>
                    </a:cubicBezTo>
                    <a:cubicBezTo>
                      <a:pt x="1318" y="65"/>
                      <a:pt x="1318" y="65"/>
                      <a:pt x="1318" y="65"/>
                    </a:cubicBezTo>
                    <a:cubicBezTo>
                      <a:pt x="1317" y="64"/>
                      <a:pt x="1316" y="64"/>
                      <a:pt x="1315" y="63"/>
                    </a:cubicBezTo>
                    <a:cubicBezTo>
                      <a:pt x="1314" y="62"/>
                      <a:pt x="1312" y="61"/>
                      <a:pt x="1311" y="60"/>
                    </a:cubicBezTo>
                    <a:cubicBezTo>
                      <a:pt x="1311" y="59"/>
                      <a:pt x="1311" y="59"/>
                      <a:pt x="1311" y="59"/>
                    </a:cubicBezTo>
                    <a:cubicBezTo>
                      <a:pt x="1310" y="59"/>
                      <a:pt x="1308" y="60"/>
                      <a:pt x="1302" y="62"/>
                    </a:cubicBezTo>
                    <a:cubicBezTo>
                      <a:pt x="1302" y="63"/>
                      <a:pt x="1301" y="63"/>
                      <a:pt x="1301" y="63"/>
                    </a:cubicBezTo>
                    <a:cubicBezTo>
                      <a:pt x="1300" y="63"/>
                      <a:pt x="1300" y="63"/>
                      <a:pt x="1300" y="63"/>
                    </a:cubicBezTo>
                    <a:cubicBezTo>
                      <a:pt x="1299" y="64"/>
                      <a:pt x="1298" y="64"/>
                      <a:pt x="1297" y="64"/>
                    </a:cubicBezTo>
                    <a:cubicBezTo>
                      <a:pt x="1294" y="64"/>
                      <a:pt x="1292" y="61"/>
                      <a:pt x="1291" y="60"/>
                    </a:cubicBezTo>
                    <a:cubicBezTo>
                      <a:pt x="1290" y="59"/>
                      <a:pt x="1290" y="59"/>
                      <a:pt x="1290" y="59"/>
                    </a:cubicBezTo>
                    <a:cubicBezTo>
                      <a:pt x="1290" y="58"/>
                      <a:pt x="1290" y="58"/>
                      <a:pt x="1290" y="58"/>
                    </a:cubicBezTo>
                    <a:cubicBezTo>
                      <a:pt x="1290" y="57"/>
                      <a:pt x="1290" y="57"/>
                      <a:pt x="1290" y="56"/>
                    </a:cubicBezTo>
                    <a:cubicBezTo>
                      <a:pt x="1290" y="56"/>
                      <a:pt x="1289" y="57"/>
                      <a:pt x="1289" y="58"/>
                    </a:cubicBezTo>
                    <a:cubicBezTo>
                      <a:pt x="1289" y="58"/>
                      <a:pt x="1287" y="61"/>
                      <a:pt x="1281" y="71"/>
                    </a:cubicBezTo>
                    <a:cubicBezTo>
                      <a:pt x="1274" y="83"/>
                      <a:pt x="1274" y="83"/>
                      <a:pt x="1274" y="83"/>
                    </a:cubicBezTo>
                    <a:cubicBezTo>
                      <a:pt x="1272" y="86"/>
                      <a:pt x="1268" y="93"/>
                      <a:pt x="1267" y="95"/>
                    </a:cubicBezTo>
                    <a:cubicBezTo>
                      <a:pt x="1269" y="97"/>
                      <a:pt x="1269" y="100"/>
                      <a:pt x="1266" y="102"/>
                    </a:cubicBezTo>
                    <a:cubicBezTo>
                      <a:pt x="1265" y="104"/>
                      <a:pt x="1261" y="110"/>
                      <a:pt x="1258" y="114"/>
                    </a:cubicBezTo>
                    <a:cubicBezTo>
                      <a:pt x="1256" y="118"/>
                      <a:pt x="1254" y="120"/>
                      <a:pt x="1250" y="120"/>
                    </a:cubicBezTo>
                    <a:cubicBezTo>
                      <a:pt x="1248" y="120"/>
                      <a:pt x="1247" y="120"/>
                      <a:pt x="1245" y="119"/>
                    </a:cubicBezTo>
                    <a:cubicBezTo>
                      <a:pt x="1244" y="119"/>
                      <a:pt x="1243" y="119"/>
                      <a:pt x="1243" y="119"/>
                    </a:cubicBezTo>
                    <a:cubicBezTo>
                      <a:pt x="1242" y="119"/>
                      <a:pt x="1242" y="119"/>
                      <a:pt x="1241" y="119"/>
                    </a:cubicBezTo>
                    <a:cubicBezTo>
                      <a:pt x="1241" y="120"/>
                      <a:pt x="1239" y="121"/>
                      <a:pt x="1238" y="125"/>
                    </a:cubicBezTo>
                    <a:cubicBezTo>
                      <a:pt x="1237" y="127"/>
                      <a:pt x="1237" y="127"/>
                      <a:pt x="1237" y="127"/>
                    </a:cubicBezTo>
                    <a:cubicBezTo>
                      <a:pt x="1235" y="127"/>
                      <a:pt x="1235" y="127"/>
                      <a:pt x="1235" y="127"/>
                    </a:cubicBezTo>
                    <a:cubicBezTo>
                      <a:pt x="1235" y="127"/>
                      <a:pt x="1177" y="128"/>
                      <a:pt x="1165" y="128"/>
                    </a:cubicBezTo>
                    <a:cubicBezTo>
                      <a:pt x="1154" y="128"/>
                      <a:pt x="1150" y="131"/>
                      <a:pt x="1149" y="132"/>
                    </a:cubicBezTo>
                    <a:cubicBezTo>
                      <a:pt x="1148" y="133"/>
                      <a:pt x="1147" y="134"/>
                      <a:pt x="1145" y="135"/>
                    </a:cubicBezTo>
                    <a:cubicBezTo>
                      <a:pt x="1144" y="136"/>
                      <a:pt x="1144" y="136"/>
                      <a:pt x="1144" y="136"/>
                    </a:cubicBezTo>
                    <a:cubicBezTo>
                      <a:pt x="1142" y="138"/>
                      <a:pt x="1140" y="140"/>
                      <a:pt x="1139" y="141"/>
                    </a:cubicBezTo>
                    <a:cubicBezTo>
                      <a:pt x="1137" y="142"/>
                      <a:pt x="1135" y="144"/>
                      <a:pt x="1132" y="146"/>
                    </a:cubicBezTo>
                    <a:cubicBezTo>
                      <a:pt x="1131" y="146"/>
                      <a:pt x="1131" y="146"/>
                      <a:pt x="1131" y="146"/>
                    </a:cubicBezTo>
                    <a:cubicBezTo>
                      <a:pt x="1130" y="144"/>
                      <a:pt x="1130" y="144"/>
                      <a:pt x="1130" y="144"/>
                    </a:cubicBezTo>
                    <a:cubicBezTo>
                      <a:pt x="1128" y="145"/>
                      <a:pt x="1128" y="145"/>
                      <a:pt x="1128" y="145"/>
                    </a:cubicBezTo>
                    <a:cubicBezTo>
                      <a:pt x="1127" y="146"/>
                      <a:pt x="1127" y="146"/>
                      <a:pt x="1127" y="146"/>
                    </a:cubicBezTo>
                    <a:cubicBezTo>
                      <a:pt x="1125" y="147"/>
                      <a:pt x="1124" y="148"/>
                      <a:pt x="1123" y="149"/>
                    </a:cubicBezTo>
                    <a:cubicBezTo>
                      <a:pt x="1123" y="149"/>
                      <a:pt x="1122" y="150"/>
                      <a:pt x="1122" y="151"/>
                    </a:cubicBezTo>
                    <a:cubicBezTo>
                      <a:pt x="1122" y="151"/>
                      <a:pt x="1122" y="151"/>
                      <a:pt x="1122" y="151"/>
                    </a:cubicBezTo>
                    <a:cubicBezTo>
                      <a:pt x="1122" y="151"/>
                      <a:pt x="1123" y="152"/>
                      <a:pt x="1123" y="153"/>
                    </a:cubicBezTo>
                    <a:cubicBezTo>
                      <a:pt x="1124" y="152"/>
                      <a:pt x="1125" y="151"/>
                      <a:pt x="1125" y="151"/>
                    </a:cubicBezTo>
                    <a:cubicBezTo>
                      <a:pt x="1126" y="151"/>
                      <a:pt x="1126" y="151"/>
                      <a:pt x="1126" y="151"/>
                    </a:cubicBezTo>
                    <a:cubicBezTo>
                      <a:pt x="1126" y="152"/>
                      <a:pt x="1126" y="153"/>
                      <a:pt x="1125" y="154"/>
                    </a:cubicBezTo>
                    <a:cubicBezTo>
                      <a:pt x="1125" y="154"/>
                      <a:pt x="1126" y="154"/>
                      <a:pt x="1126" y="154"/>
                    </a:cubicBezTo>
                    <a:cubicBezTo>
                      <a:pt x="1126" y="154"/>
                      <a:pt x="1127" y="154"/>
                      <a:pt x="1127" y="154"/>
                    </a:cubicBezTo>
                    <a:cubicBezTo>
                      <a:pt x="1126" y="156"/>
                      <a:pt x="1125" y="156"/>
                      <a:pt x="1123" y="158"/>
                    </a:cubicBezTo>
                    <a:cubicBezTo>
                      <a:pt x="1126" y="159"/>
                      <a:pt x="1127" y="166"/>
                      <a:pt x="1124" y="167"/>
                    </a:cubicBezTo>
                    <a:cubicBezTo>
                      <a:pt x="1124" y="167"/>
                      <a:pt x="1123" y="167"/>
                      <a:pt x="1123" y="167"/>
                    </a:cubicBezTo>
                    <a:cubicBezTo>
                      <a:pt x="1123" y="167"/>
                      <a:pt x="1123" y="167"/>
                      <a:pt x="1122" y="167"/>
                    </a:cubicBezTo>
                    <a:cubicBezTo>
                      <a:pt x="1122" y="167"/>
                      <a:pt x="1122" y="167"/>
                      <a:pt x="1122" y="167"/>
                    </a:cubicBezTo>
                    <a:cubicBezTo>
                      <a:pt x="1122" y="167"/>
                      <a:pt x="1122" y="167"/>
                      <a:pt x="1122" y="167"/>
                    </a:cubicBezTo>
                    <a:cubicBezTo>
                      <a:pt x="1120" y="167"/>
                      <a:pt x="1118" y="169"/>
                      <a:pt x="1116" y="170"/>
                    </a:cubicBezTo>
                    <a:cubicBezTo>
                      <a:pt x="1114" y="172"/>
                      <a:pt x="1112" y="173"/>
                      <a:pt x="1109" y="174"/>
                    </a:cubicBezTo>
                    <a:cubicBezTo>
                      <a:pt x="1109" y="174"/>
                      <a:pt x="1108" y="174"/>
                      <a:pt x="1108" y="174"/>
                    </a:cubicBezTo>
                    <a:cubicBezTo>
                      <a:pt x="1108" y="174"/>
                      <a:pt x="1108" y="174"/>
                      <a:pt x="1107" y="174"/>
                    </a:cubicBezTo>
                    <a:cubicBezTo>
                      <a:pt x="1105" y="173"/>
                      <a:pt x="1103" y="173"/>
                      <a:pt x="1101" y="173"/>
                    </a:cubicBezTo>
                    <a:cubicBezTo>
                      <a:pt x="1100" y="173"/>
                      <a:pt x="1099" y="173"/>
                      <a:pt x="1098" y="173"/>
                    </a:cubicBezTo>
                    <a:cubicBezTo>
                      <a:pt x="1096" y="174"/>
                      <a:pt x="1095" y="174"/>
                      <a:pt x="1094" y="174"/>
                    </a:cubicBezTo>
                    <a:cubicBezTo>
                      <a:pt x="1093" y="174"/>
                      <a:pt x="1092" y="174"/>
                      <a:pt x="1091" y="173"/>
                    </a:cubicBezTo>
                    <a:cubicBezTo>
                      <a:pt x="1088" y="171"/>
                      <a:pt x="1084" y="170"/>
                      <a:pt x="1080" y="170"/>
                    </a:cubicBezTo>
                    <a:cubicBezTo>
                      <a:pt x="1073" y="170"/>
                      <a:pt x="1065" y="173"/>
                      <a:pt x="1059" y="174"/>
                    </a:cubicBezTo>
                    <a:cubicBezTo>
                      <a:pt x="1059" y="176"/>
                      <a:pt x="1059" y="176"/>
                      <a:pt x="1059" y="176"/>
                    </a:cubicBezTo>
                    <a:cubicBezTo>
                      <a:pt x="1060" y="178"/>
                      <a:pt x="1060" y="179"/>
                      <a:pt x="1060" y="179"/>
                    </a:cubicBezTo>
                    <a:cubicBezTo>
                      <a:pt x="1061" y="179"/>
                      <a:pt x="1063" y="179"/>
                      <a:pt x="1063" y="180"/>
                    </a:cubicBezTo>
                    <a:cubicBezTo>
                      <a:pt x="1063" y="181"/>
                      <a:pt x="1063" y="182"/>
                      <a:pt x="1063" y="182"/>
                    </a:cubicBezTo>
                    <a:cubicBezTo>
                      <a:pt x="1063" y="183"/>
                      <a:pt x="1063" y="183"/>
                      <a:pt x="1063" y="184"/>
                    </a:cubicBezTo>
                    <a:cubicBezTo>
                      <a:pt x="1063" y="185"/>
                      <a:pt x="1063" y="185"/>
                      <a:pt x="1063" y="185"/>
                    </a:cubicBezTo>
                    <a:cubicBezTo>
                      <a:pt x="1063" y="186"/>
                      <a:pt x="1065" y="187"/>
                      <a:pt x="1063" y="188"/>
                    </a:cubicBezTo>
                    <a:cubicBezTo>
                      <a:pt x="1062" y="189"/>
                      <a:pt x="1062" y="189"/>
                      <a:pt x="1062" y="189"/>
                    </a:cubicBezTo>
                    <a:cubicBezTo>
                      <a:pt x="1061" y="190"/>
                      <a:pt x="1059" y="191"/>
                      <a:pt x="1057" y="193"/>
                    </a:cubicBezTo>
                    <a:cubicBezTo>
                      <a:pt x="1056" y="193"/>
                      <a:pt x="1056" y="193"/>
                      <a:pt x="1056" y="193"/>
                    </a:cubicBezTo>
                    <a:cubicBezTo>
                      <a:pt x="1052" y="196"/>
                      <a:pt x="1048" y="199"/>
                      <a:pt x="1044" y="202"/>
                    </a:cubicBezTo>
                    <a:cubicBezTo>
                      <a:pt x="1039" y="205"/>
                      <a:pt x="1034" y="207"/>
                      <a:pt x="1030" y="208"/>
                    </a:cubicBezTo>
                    <a:cubicBezTo>
                      <a:pt x="1029" y="208"/>
                      <a:pt x="1029" y="208"/>
                      <a:pt x="1029" y="208"/>
                    </a:cubicBezTo>
                    <a:cubicBezTo>
                      <a:pt x="1023" y="211"/>
                      <a:pt x="1017" y="213"/>
                      <a:pt x="1011" y="215"/>
                    </a:cubicBezTo>
                    <a:cubicBezTo>
                      <a:pt x="1007" y="217"/>
                      <a:pt x="1004" y="219"/>
                      <a:pt x="1001" y="222"/>
                    </a:cubicBezTo>
                    <a:cubicBezTo>
                      <a:pt x="1001" y="222"/>
                      <a:pt x="1001" y="222"/>
                      <a:pt x="1001" y="222"/>
                    </a:cubicBezTo>
                    <a:cubicBezTo>
                      <a:pt x="1001" y="222"/>
                      <a:pt x="1001" y="222"/>
                      <a:pt x="1001" y="222"/>
                    </a:cubicBezTo>
                    <a:cubicBezTo>
                      <a:pt x="1000" y="222"/>
                      <a:pt x="1000" y="222"/>
                      <a:pt x="1000" y="222"/>
                    </a:cubicBezTo>
                    <a:cubicBezTo>
                      <a:pt x="996" y="225"/>
                      <a:pt x="991" y="224"/>
                      <a:pt x="986" y="225"/>
                    </a:cubicBezTo>
                    <a:cubicBezTo>
                      <a:pt x="985" y="225"/>
                      <a:pt x="984" y="225"/>
                      <a:pt x="983" y="226"/>
                    </a:cubicBezTo>
                    <a:cubicBezTo>
                      <a:pt x="982" y="226"/>
                      <a:pt x="981" y="226"/>
                      <a:pt x="980" y="227"/>
                    </a:cubicBezTo>
                    <a:cubicBezTo>
                      <a:pt x="980" y="227"/>
                      <a:pt x="979" y="227"/>
                      <a:pt x="978" y="227"/>
                    </a:cubicBezTo>
                    <a:cubicBezTo>
                      <a:pt x="975" y="227"/>
                      <a:pt x="970" y="226"/>
                      <a:pt x="967" y="225"/>
                    </a:cubicBezTo>
                    <a:cubicBezTo>
                      <a:pt x="969" y="223"/>
                      <a:pt x="971" y="224"/>
                      <a:pt x="973" y="223"/>
                    </a:cubicBezTo>
                    <a:cubicBezTo>
                      <a:pt x="975" y="223"/>
                      <a:pt x="975" y="223"/>
                      <a:pt x="972" y="222"/>
                    </a:cubicBezTo>
                    <a:cubicBezTo>
                      <a:pt x="967" y="220"/>
                      <a:pt x="962" y="218"/>
                      <a:pt x="957" y="217"/>
                    </a:cubicBezTo>
                    <a:cubicBezTo>
                      <a:pt x="962" y="209"/>
                      <a:pt x="967" y="201"/>
                      <a:pt x="971" y="193"/>
                    </a:cubicBezTo>
                    <a:cubicBezTo>
                      <a:pt x="972" y="192"/>
                      <a:pt x="973" y="191"/>
                      <a:pt x="973" y="191"/>
                    </a:cubicBezTo>
                    <a:cubicBezTo>
                      <a:pt x="974" y="190"/>
                      <a:pt x="974" y="190"/>
                      <a:pt x="975" y="190"/>
                    </a:cubicBezTo>
                    <a:cubicBezTo>
                      <a:pt x="975" y="190"/>
                      <a:pt x="975" y="190"/>
                      <a:pt x="976" y="191"/>
                    </a:cubicBezTo>
                    <a:cubicBezTo>
                      <a:pt x="976" y="191"/>
                      <a:pt x="976" y="191"/>
                      <a:pt x="976" y="192"/>
                    </a:cubicBezTo>
                    <a:cubicBezTo>
                      <a:pt x="976" y="192"/>
                      <a:pt x="976" y="192"/>
                      <a:pt x="976" y="192"/>
                    </a:cubicBezTo>
                    <a:cubicBezTo>
                      <a:pt x="977" y="190"/>
                      <a:pt x="978" y="189"/>
                      <a:pt x="979" y="187"/>
                    </a:cubicBezTo>
                    <a:cubicBezTo>
                      <a:pt x="979" y="187"/>
                      <a:pt x="979" y="187"/>
                      <a:pt x="979" y="187"/>
                    </a:cubicBezTo>
                    <a:cubicBezTo>
                      <a:pt x="979" y="187"/>
                      <a:pt x="979" y="187"/>
                      <a:pt x="979" y="187"/>
                    </a:cubicBezTo>
                    <a:cubicBezTo>
                      <a:pt x="979" y="187"/>
                      <a:pt x="979" y="187"/>
                      <a:pt x="979" y="187"/>
                    </a:cubicBezTo>
                    <a:cubicBezTo>
                      <a:pt x="979" y="187"/>
                      <a:pt x="979" y="187"/>
                      <a:pt x="979" y="187"/>
                    </a:cubicBezTo>
                    <a:cubicBezTo>
                      <a:pt x="979" y="186"/>
                      <a:pt x="980" y="185"/>
                      <a:pt x="980" y="184"/>
                    </a:cubicBezTo>
                    <a:cubicBezTo>
                      <a:pt x="982" y="181"/>
                      <a:pt x="981" y="181"/>
                      <a:pt x="980" y="178"/>
                    </a:cubicBezTo>
                    <a:cubicBezTo>
                      <a:pt x="980" y="177"/>
                      <a:pt x="979" y="176"/>
                      <a:pt x="979" y="175"/>
                    </a:cubicBezTo>
                    <a:cubicBezTo>
                      <a:pt x="979" y="172"/>
                      <a:pt x="978" y="170"/>
                      <a:pt x="978" y="167"/>
                    </a:cubicBezTo>
                    <a:cubicBezTo>
                      <a:pt x="977" y="163"/>
                      <a:pt x="977" y="157"/>
                      <a:pt x="974" y="154"/>
                    </a:cubicBezTo>
                    <a:cubicBezTo>
                      <a:pt x="972" y="152"/>
                      <a:pt x="971" y="152"/>
                      <a:pt x="969" y="152"/>
                    </a:cubicBezTo>
                    <a:cubicBezTo>
                      <a:pt x="966" y="152"/>
                      <a:pt x="962" y="155"/>
                      <a:pt x="959" y="156"/>
                    </a:cubicBezTo>
                    <a:cubicBezTo>
                      <a:pt x="957" y="158"/>
                      <a:pt x="951" y="162"/>
                      <a:pt x="948" y="162"/>
                    </a:cubicBezTo>
                    <a:cubicBezTo>
                      <a:pt x="947" y="162"/>
                      <a:pt x="947" y="162"/>
                      <a:pt x="946" y="162"/>
                    </a:cubicBezTo>
                    <a:cubicBezTo>
                      <a:pt x="946" y="161"/>
                      <a:pt x="946" y="159"/>
                      <a:pt x="946" y="158"/>
                    </a:cubicBezTo>
                    <a:cubicBezTo>
                      <a:pt x="946" y="157"/>
                      <a:pt x="947" y="156"/>
                      <a:pt x="947" y="155"/>
                    </a:cubicBezTo>
                    <a:cubicBezTo>
                      <a:pt x="949" y="152"/>
                      <a:pt x="953" y="153"/>
                      <a:pt x="954" y="151"/>
                    </a:cubicBezTo>
                    <a:cubicBezTo>
                      <a:pt x="955" y="150"/>
                      <a:pt x="954" y="148"/>
                      <a:pt x="955" y="147"/>
                    </a:cubicBezTo>
                    <a:cubicBezTo>
                      <a:pt x="956" y="145"/>
                      <a:pt x="959" y="145"/>
                      <a:pt x="960" y="144"/>
                    </a:cubicBezTo>
                    <a:cubicBezTo>
                      <a:pt x="961" y="142"/>
                      <a:pt x="961" y="134"/>
                      <a:pt x="961" y="131"/>
                    </a:cubicBezTo>
                    <a:cubicBezTo>
                      <a:pt x="961" y="129"/>
                      <a:pt x="955" y="123"/>
                      <a:pt x="959" y="123"/>
                    </a:cubicBezTo>
                    <a:cubicBezTo>
                      <a:pt x="959" y="123"/>
                      <a:pt x="960" y="123"/>
                      <a:pt x="961" y="124"/>
                    </a:cubicBezTo>
                    <a:cubicBezTo>
                      <a:pt x="961" y="121"/>
                      <a:pt x="960" y="121"/>
                      <a:pt x="959" y="119"/>
                    </a:cubicBezTo>
                    <a:cubicBezTo>
                      <a:pt x="959" y="118"/>
                      <a:pt x="959" y="117"/>
                      <a:pt x="958" y="116"/>
                    </a:cubicBezTo>
                    <a:cubicBezTo>
                      <a:pt x="957" y="115"/>
                      <a:pt x="953" y="113"/>
                      <a:pt x="951" y="113"/>
                    </a:cubicBezTo>
                    <a:cubicBezTo>
                      <a:pt x="949" y="112"/>
                      <a:pt x="946" y="111"/>
                      <a:pt x="943" y="110"/>
                    </a:cubicBezTo>
                    <a:cubicBezTo>
                      <a:pt x="941" y="109"/>
                      <a:pt x="941" y="106"/>
                      <a:pt x="937" y="106"/>
                    </a:cubicBezTo>
                    <a:cubicBezTo>
                      <a:pt x="937" y="105"/>
                      <a:pt x="936" y="105"/>
                      <a:pt x="936" y="105"/>
                    </a:cubicBezTo>
                    <a:cubicBezTo>
                      <a:pt x="936" y="105"/>
                      <a:pt x="936" y="105"/>
                      <a:pt x="935" y="105"/>
                    </a:cubicBezTo>
                    <a:cubicBezTo>
                      <a:pt x="935" y="105"/>
                      <a:pt x="935" y="105"/>
                      <a:pt x="935" y="105"/>
                    </a:cubicBezTo>
                    <a:cubicBezTo>
                      <a:pt x="934" y="105"/>
                      <a:pt x="933" y="105"/>
                      <a:pt x="933" y="105"/>
                    </a:cubicBezTo>
                    <a:cubicBezTo>
                      <a:pt x="931" y="104"/>
                      <a:pt x="930" y="103"/>
                      <a:pt x="928" y="103"/>
                    </a:cubicBezTo>
                    <a:cubicBezTo>
                      <a:pt x="928" y="102"/>
                      <a:pt x="926" y="102"/>
                      <a:pt x="924" y="102"/>
                    </a:cubicBezTo>
                    <a:cubicBezTo>
                      <a:pt x="923" y="102"/>
                      <a:pt x="923" y="102"/>
                      <a:pt x="922" y="103"/>
                    </a:cubicBezTo>
                    <a:cubicBezTo>
                      <a:pt x="920" y="104"/>
                      <a:pt x="919" y="113"/>
                      <a:pt x="923" y="113"/>
                    </a:cubicBezTo>
                    <a:cubicBezTo>
                      <a:pt x="923" y="113"/>
                      <a:pt x="923" y="113"/>
                      <a:pt x="923" y="113"/>
                    </a:cubicBezTo>
                    <a:cubicBezTo>
                      <a:pt x="921" y="115"/>
                      <a:pt x="917" y="113"/>
                      <a:pt x="914" y="116"/>
                    </a:cubicBezTo>
                    <a:cubicBezTo>
                      <a:pt x="912" y="118"/>
                      <a:pt x="912" y="121"/>
                      <a:pt x="912" y="124"/>
                    </a:cubicBezTo>
                    <a:cubicBezTo>
                      <a:pt x="912" y="126"/>
                      <a:pt x="912" y="126"/>
                      <a:pt x="912" y="126"/>
                    </a:cubicBezTo>
                    <a:cubicBezTo>
                      <a:pt x="911" y="126"/>
                      <a:pt x="911" y="126"/>
                      <a:pt x="911" y="126"/>
                    </a:cubicBezTo>
                    <a:cubicBezTo>
                      <a:pt x="910" y="125"/>
                      <a:pt x="910" y="125"/>
                      <a:pt x="910" y="125"/>
                    </a:cubicBezTo>
                    <a:cubicBezTo>
                      <a:pt x="910" y="125"/>
                      <a:pt x="909" y="125"/>
                      <a:pt x="909" y="125"/>
                    </a:cubicBezTo>
                    <a:cubicBezTo>
                      <a:pt x="908" y="126"/>
                      <a:pt x="908" y="130"/>
                      <a:pt x="907" y="131"/>
                    </a:cubicBezTo>
                    <a:cubicBezTo>
                      <a:pt x="906" y="129"/>
                      <a:pt x="907" y="127"/>
                      <a:pt x="907" y="125"/>
                    </a:cubicBezTo>
                    <a:cubicBezTo>
                      <a:pt x="907" y="125"/>
                      <a:pt x="907" y="125"/>
                      <a:pt x="907" y="125"/>
                    </a:cubicBezTo>
                    <a:cubicBezTo>
                      <a:pt x="907" y="124"/>
                      <a:pt x="908" y="120"/>
                      <a:pt x="907" y="120"/>
                    </a:cubicBezTo>
                    <a:cubicBezTo>
                      <a:pt x="907" y="120"/>
                      <a:pt x="907" y="120"/>
                      <a:pt x="907" y="120"/>
                    </a:cubicBezTo>
                    <a:cubicBezTo>
                      <a:pt x="906" y="120"/>
                      <a:pt x="904" y="123"/>
                      <a:pt x="904" y="123"/>
                    </a:cubicBezTo>
                    <a:cubicBezTo>
                      <a:pt x="903" y="124"/>
                      <a:pt x="903" y="126"/>
                      <a:pt x="902" y="126"/>
                    </a:cubicBezTo>
                    <a:cubicBezTo>
                      <a:pt x="902" y="126"/>
                      <a:pt x="902" y="126"/>
                      <a:pt x="902" y="126"/>
                    </a:cubicBezTo>
                    <a:cubicBezTo>
                      <a:pt x="902" y="126"/>
                      <a:pt x="901" y="126"/>
                      <a:pt x="901" y="126"/>
                    </a:cubicBezTo>
                    <a:cubicBezTo>
                      <a:pt x="901" y="126"/>
                      <a:pt x="901" y="125"/>
                      <a:pt x="900" y="125"/>
                    </a:cubicBezTo>
                    <a:cubicBezTo>
                      <a:pt x="900" y="125"/>
                      <a:pt x="900" y="125"/>
                      <a:pt x="900" y="125"/>
                    </a:cubicBezTo>
                    <a:cubicBezTo>
                      <a:pt x="899" y="126"/>
                      <a:pt x="899" y="127"/>
                      <a:pt x="899" y="127"/>
                    </a:cubicBezTo>
                    <a:cubicBezTo>
                      <a:pt x="898" y="127"/>
                      <a:pt x="898" y="127"/>
                      <a:pt x="898" y="127"/>
                    </a:cubicBezTo>
                    <a:cubicBezTo>
                      <a:pt x="898" y="127"/>
                      <a:pt x="898" y="127"/>
                      <a:pt x="898" y="127"/>
                    </a:cubicBezTo>
                    <a:cubicBezTo>
                      <a:pt x="898" y="127"/>
                      <a:pt x="897" y="127"/>
                      <a:pt x="897" y="127"/>
                    </a:cubicBezTo>
                    <a:cubicBezTo>
                      <a:pt x="897" y="127"/>
                      <a:pt x="897" y="127"/>
                      <a:pt x="897" y="127"/>
                    </a:cubicBezTo>
                    <a:cubicBezTo>
                      <a:pt x="896" y="128"/>
                      <a:pt x="895" y="131"/>
                      <a:pt x="894" y="132"/>
                    </a:cubicBezTo>
                    <a:cubicBezTo>
                      <a:pt x="894" y="133"/>
                      <a:pt x="893" y="133"/>
                      <a:pt x="892" y="133"/>
                    </a:cubicBezTo>
                    <a:cubicBezTo>
                      <a:pt x="889" y="137"/>
                      <a:pt x="889" y="145"/>
                      <a:pt x="887" y="150"/>
                    </a:cubicBezTo>
                    <a:cubicBezTo>
                      <a:pt x="886" y="153"/>
                      <a:pt x="888" y="155"/>
                      <a:pt x="888" y="158"/>
                    </a:cubicBezTo>
                    <a:cubicBezTo>
                      <a:pt x="889" y="162"/>
                      <a:pt x="887" y="166"/>
                      <a:pt x="888" y="169"/>
                    </a:cubicBezTo>
                    <a:cubicBezTo>
                      <a:pt x="888" y="171"/>
                      <a:pt x="889" y="175"/>
                      <a:pt x="891" y="175"/>
                    </a:cubicBezTo>
                    <a:cubicBezTo>
                      <a:pt x="891" y="175"/>
                      <a:pt x="892" y="174"/>
                      <a:pt x="892" y="174"/>
                    </a:cubicBezTo>
                    <a:cubicBezTo>
                      <a:pt x="892" y="177"/>
                      <a:pt x="892" y="179"/>
                      <a:pt x="893" y="182"/>
                    </a:cubicBezTo>
                    <a:cubicBezTo>
                      <a:pt x="893" y="183"/>
                      <a:pt x="893" y="185"/>
                      <a:pt x="893" y="186"/>
                    </a:cubicBezTo>
                    <a:cubicBezTo>
                      <a:pt x="893" y="198"/>
                      <a:pt x="884" y="207"/>
                      <a:pt x="879" y="216"/>
                    </a:cubicBezTo>
                    <a:cubicBezTo>
                      <a:pt x="871" y="220"/>
                      <a:pt x="871" y="220"/>
                      <a:pt x="871" y="220"/>
                    </a:cubicBezTo>
                    <a:cubicBezTo>
                      <a:pt x="871" y="220"/>
                      <a:pt x="870" y="220"/>
                      <a:pt x="870" y="220"/>
                    </a:cubicBezTo>
                    <a:cubicBezTo>
                      <a:pt x="868" y="220"/>
                      <a:pt x="866" y="219"/>
                      <a:pt x="864" y="218"/>
                    </a:cubicBezTo>
                    <a:cubicBezTo>
                      <a:pt x="858" y="208"/>
                      <a:pt x="858" y="208"/>
                      <a:pt x="858" y="208"/>
                    </a:cubicBezTo>
                    <a:cubicBezTo>
                      <a:pt x="857" y="204"/>
                      <a:pt x="856" y="201"/>
                      <a:pt x="856" y="197"/>
                    </a:cubicBezTo>
                    <a:cubicBezTo>
                      <a:pt x="857" y="191"/>
                      <a:pt x="855" y="184"/>
                      <a:pt x="854" y="178"/>
                    </a:cubicBezTo>
                    <a:cubicBezTo>
                      <a:pt x="854" y="175"/>
                      <a:pt x="855" y="173"/>
                      <a:pt x="855" y="170"/>
                    </a:cubicBezTo>
                    <a:cubicBezTo>
                      <a:pt x="857" y="165"/>
                      <a:pt x="857" y="160"/>
                      <a:pt x="858" y="155"/>
                    </a:cubicBezTo>
                    <a:cubicBezTo>
                      <a:pt x="860" y="151"/>
                      <a:pt x="862" y="148"/>
                      <a:pt x="863" y="143"/>
                    </a:cubicBezTo>
                    <a:cubicBezTo>
                      <a:pt x="864" y="140"/>
                      <a:pt x="865" y="137"/>
                      <a:pt x="866" y="133"/>
                    </a:cubicBezTo>
                    <a:cubicBezTo>
                      <a:pt x="867" y="132"/>
                      <a:pt x="867" y="130"/>
                      <a:pt x="866" y="129"/>
                    </a:cubicBezTo>
                    <a:cubicBezTo>
                      <a:pt x="866" y="129"/>
                      <a:pt x="867" y="129"/>
                      <a:pt x="867" y="129"/>
                    </a:cubicBezTo>
                    <a:cubicBezTo>
                      <a:pt x="869" y="129"/>
                      <a:pt x="871" y="127"/>
                      <a:pt x="872" y="125"/>
                    </a:cubicBezTo>
                    <a:cubicBezTo>
                      <a:pt x="874" y="122"/>
                      <a:pt x="874" y="120"/>
                      <a:pt x="873" y="116"/>
                    </a:cubicBezTo>
                    <a:cubicBezTo>
                      <a:pt x="872" y="118"/>
                      <a:pt x="872" y="119"/>
                      <a:pt x="871" y="120"/>
                    </a:cubicBezTo>
                    <a:cubicBezTo>
                      <a:pt x="870" y="121"/>
                      <a:pt x="870" y="120"/>
                      <a:pt x="869" y="121"/>
                    </a:cubicBezTo>
                    <a:cubicBezTo>
                      <a:pt x="869" y="121"/>
                      <a:pt x="869" y="123"/>
                      <a:pt x="868" y="123"/>
                    </a:cubicBezTo>
                    <a:cubicBezTo>
                      <a:pt x="868" y="124"/>
                      <a:pt x="867" y="124"/>
                      <a:pt x="867" y="125"/>
                    </a:cubicBezTo>
                    <a:cubicBezTo>
                      <a:pt x="866" y="126"/>
                      <a:pt x="865" y="128"/>
                      <a:pt x="866" y="129"/>
                    </a:cubicBezTo>
                    <a:cubicBezTo>
                      <a:pt x="866" y="129"/>
                      <a:pt x="865" y="128"/>
                      <a:pt x="865" y="128"/>
                    </a:cubicBezTo>
                    <a:cubicBezTo>
                      <a:pt x="865" y="128"/>
                      <a:pt x="865" y="128"/>
                      <a:pt x="865" y="128"/>
                    </a:cubicBezTo>
                    <a:cubicBezTo>
                      <a:pt x="863" y="128"/>
                      <a:pt x="860" y="130"/>
                      <a:pt x="859" y="131"/>
                    </a:cubicBezTo>
                    <a:cubicBezTo>
                      <a:pt x="857" y="134"/>
                      <a:pt x="857" y="135"/>
                      <a:pt x="854" y="137"/>
                    </a:cubicBezTo>
                    <a:cubicBezTo>
                      <a:pt x="853" y="137"/>
                      <a:pt x="854" y="138"/>
                      <a:pt x="853" y="138"/>
                    </a:cubicBezTo>
                    <a:cubicBezTo>
                      <a:pt x="853" y="138"/>
                      <a:pt x="853" y="138"/>
                      <a:pt x="852" y="137"/>
                    </a:cubicBezTo>
                    <a:cubicBezTo>
                      <a:pt x="851" y="137"/>
                      <a:pt x="851" y="136"/>
                      <a:pt x="851" y="135"/>
                    </a:cubicBezTo>
                    <a:cubicBezTo>
                      <a:pt x="852" y="133"/>
                      <a:pt x="853" y="132"/>
                      <a:pt x="854" y="131"/>
                    </a:cubicBezTo>
                    <a:cubicBezTo>
                      <a:pt x="854" y="130"/>
                      <a:pt x="855" y="127"/>
                      <a:pt x="856" y="126"/>
                    </a:cubicBezTo>
                    <a:cubicBezTo>
                      <a:pt x="856" y="126"/>
                      <a:pt x="857" y="126"/>
                      <a:pt x="858" y="126"/>
                    </a:cubicBezTo>
                    <a:cubicBezTo>
                      <a:pt x="859" y="125"/>
                      <a:pt x="861" y="123"/>
                      <a:pt x="861" y="121"/>
                    </a:cubicBezTo>
                    <a:cubicBezTo>
                      <a:pt x="863" y="118"/>
                      <a:pt x="865" y="116"/>
                      <a:pt x="867" y="113"/>
                    </a:cubicBezTo>
                    <a:cubicBezTo>
                      <a:pt x="868" y="112"/>
                      <a:pt x="868" y="110"/>
                      <a:pt x="869" y="109"/>
                    </a:cubicBezTo>
                    <a:cubicBezTo>
                      <a:pt x="869" y="109"/>
                      <a:pt x="868" y="108"/>
                      <a:pt x="868" y="108"/>
                    </a:cubicBezTo>
                    <a:cubicBezTo>
                      <a:pt x="868" y="108"/>
                      <a:pt x="868" y="108"/>
                      <a:pt x="868" y="108"/>
                    </a:cubicBezTo>
                    <a:cubicBezTo>
                      <a:pt x="869" y="108"/>
                      <a:pt x="869" y="108"/>
                      <a:pt x="870" y="107"/>
                    </a:cubicBezTo>
                    <a:cubicBezTo>
                      <a:pt x="873" y="105"/>
                      <a:pt x="874" y="102"/>
                      <a:pt x="875" y="98"/>
                    </a:cubicBezTo>
                    <a:cubicBezTo>
                      <a:pt x="875" y="101"/>
                      <a:pt x="876" y="103"/>
                      <a:pt x="876" y="105"/>
                    </a:cubicBezTo>
                    <a:cubicBezTo>
                      <a:pt x="877" y="104"/>
                      <a:pt x="878" y="103"/>
                      <a:pt x="879" y="102"/>
                    </a:cubicBezTo>
                    <a:cubicBezTo>
                      <a:pt x="880" y="100"/>
                      <a:pt x="880" y="100"/>
                      <a:pt x="880" y="100"/>
                    </a:cubicBezTo>
                    <a:cubicBezTo>
                      <a:pt x="880" y="100"/>
                      <a:pt x="880" y="100"/>
                      <a:pt x="880" y="100"/>
                    </a:cubicBezTo>
                    <a:cubicBezTo>
                      <a:pt x="881" y="100"/>
                      <a:pt x="885" y="99"/>
                      <a:pt x="885" y="99"/>
                    </a:cubicBezTo>
                    <a:cubicBezTo>
                      <a:pt x="888" y="101"/>
                      <a:pt x="878" y="105"/>
                      <a:pt x="884" y="107"/>
                    </a:cubicBezTo>
                    <a:cubicBezTo>
                      <a:pt x="885" y="105"/>
                      <a:pt x="885" y="104"/>
                      <a:pt x="887" y="103"/>
                    </a:cubicBezTo>
                    <a:cubicBezTo>
                      <a:pt x="888" y="102"/>
                      <a:pt x="889" y="102"/>
                      <a:pt x="890" y="102"/>
                    </a:cubicBezTo>
                    <a:cubicBezTo>
                      <a:pt x="890" y="101"/>
                      <a:pt x="890" y="100"/>
                      <a:pt x="891" y="99"/>
                    </a:cubicBezTo>
                    <a:cubicBezTo>
                      <a:pt x="892" y="98"/>
                      <a:pt x="894" y="97"/>
                      <a:pt x="896" y="97"/>
                    </a:cubicBezTo>
                    <a:cubicBezTo>
                      <a:pt x="897" y="97"/>
                      <a:pt x="899" y="97"/>
                      <a:pt x="900" y="98"/>
                    </a:cubicBezTo>
                    <a:cubicBezTo>
                      <a:pt x="900" y="96"/>
                      <a:pt x="905" y="97"/>
                      <a:pt x="907" y="96"/>
                    </a:cubicBezTo>
                    <a:cubicBezTo>
                      <a:pt x="908" y="95"/>
                      <a:pt x="908" y="94"/>
                      <a:pt x="910" y="93"/>
                    </a:cubicBezTo>
                    <a:cubicBezTo>
                      <a:pt x="910" y="93"/>
                      <a:pt x="910" y="93"/>
                      <a:pt x="911" y="93"/>
                    </a:cubicBezTo>
                    <a:cubicBezTo>
                      <a:pt x="912" y="93"/>
                      <a:pt x="914" y="93"/>
                      <a:pt x="915" y="93"/>
                    </a:cubicBezTo>
                    <a:cubicBezTo>
                      <a:pt x="916" y="94"/>
                      <a:pt x="919" y="94"/>
                      <a:pt x="920" y="95"/>
                    </a:cubicBezTo>
                    <a:cubicBezTo>
                      <a:pt x="922" y="96"/>
                      <a:pt x="925" y="100"/>
                      <a:pt x="927" y="100"/>
                    </a:cubicBezTo>
                    <a:cubicBezTo>
                      <a:pt x="927" y="100"/>
                      <a:pt x="927" y="100"/>
                      <a:pt x="927" y="100"/>
                    </a:cubicBezTo>
                    <a:cubicBezTo>
                      <a:pt x="929" y="100"/>
                      <a:pt x="927" y="95"/>
                      <a:pt x="929" y="94"/>
                    </a:cubicBezTo>
                    <a:cubicBezTo>
                      <a:pt x="930" y="94"/>
                      <a:pt x="930" y="94"/>
                      <a:pt x="930" y="94"/>
                    </a:cubicBezTo>
                    <a:cubicBezTo>
                      <a:pt x="932" y="94"/>
                      <a:pt x="935" y="96"/>
                      <a:pt x="937" y="96"/>
                    </a:cubicBezTo>
                    <a:cubicBezTo>
                      <a:pt x="938" y="96"/>
                      <a:pt x="940" y="96"/>
                      <a:pt x="942" y="97"/>
                    </a:cubicBezTo>
                    <a:cubicBezTo>
                      <a:pt x="943" y="97"/>
                      <a:pt x="944" y="97"/>
                      <a:pt x="945" y="97"/>
                    </a:cubicBezTo>
                    <a:cubicBezTo>
                      <a:pt x="946" y="97"/>
                      <a:pt x="947" y="97"/>
                      <a:pt x="947" y="96"/>
                    </a:cubicBezTo>
                    <a:cubicBezTo>
                      <a:pt x="947" y="95"/>
                      <a:pt x="944" y="94"/>
                      <a:pt x="943" y="93"/>
                    </a:cubicBezTo>
                    <a:cubicBezTo>
                      <a:pt x="943" y="93"/>
                      <a:pt x="944" y="92"/>
                      <a:pt x="944" y="92"/>
                    </a:cubicBezTo>
                    <a:cubicBezTo>
                      <a:pt x="943" y="91"/>
                      <a:pt x="941" y="90"/>
                      <a:pt x="940" y="89"/>
                    </a:cubicBezTo>
                    <a:cubicBezTo>
                      <a:pt x="940" y="88"/>
                      <a:pt x="939" y="85"/>
                      <a:pt x="939" y="83"/>
                    </a:cubicBezTo>
                    <a:cubicBezTo>
                      <a:pt x="938" y="82"/>
                      <a:pt x="937" y="82"/>
                      <a:pt x="937" y="82"/>
                    </a:cubicBezTo>
                    <a:cubicBezTo>
                      <a:pt x="937" y="82"/>
                      <a:pt x="936" y="82"/>
                      <a:pt x="936" y="82"/>
                    </a:cubicBezTo>
                    <a:cubicBezTo>
                      <a:pt x="936" y="82"/>
                      <a:pt x="936" y="82"/>
                      <a:pt x="936" y="82"/>
                    </a:cubicBezTo>
                    <a:cubicBezTo>
                      <a:pt x="936" y="82"/>
                      <a:pt x="936" y="82"/>
                      <a:pt x="936" y="82"/>
                    </a:cubicBezTo>
                    <a:cubicBezTo>
                      <a:pt x="935" y="82"/>
                      <a:pt x="935" y="82"/>
                      <a:pt x="935" y="82"/>
                    </a:cubicBezTo>
                    <a:cubicBezTo>
                      <a:pt x="935" y="82"/>
                      <a:pt x="935" y="82"/>
                      <a:pt x="935" y="82"/>
                    </a:cubicBezTo>
                    <a:cubicBezTo>
                      <a:pt x="934" y="82"/>
                      <a:pt x="934" y="82"/>
                      <a:pt x="933" y="82"/>
                    </a:cubicBezTo>
                    <a:cubicBezTo>
                      <a:pt x="933" y="82"/>
                      <a:pt x="933" y="82"/>
                      <a:pt x="933" y="82"/>
                    </a:cubicBezTo>
                    <a:cubicBezTo>
                      <a:pt x="933" y="82"/>
                      <a:pt x="933" y="82"/>
                      <a:pt x="933" y="82"/>
                    </a:cubicBezTo>
                    <a:cubicBezTo>
                      <a:pt x="932" y="81"/>
                      <a:pt x="931" y="81"/>
                      <a:pt x="931" y="80"/>
                    </a:cubicBezTo>
                    <a:cubicBezTo>
                      <a:pt x="928" y="80"/>
                      <a:pt x="925" y="79"/>
                      <a:pt x="922" y="78"/>
                    </a:cubicBezTo>
                    <a:cubicBezTo>
                      <a:pt x="920" y="78"/>
                      <a:pt x="921" y="74"/>
                      <a:pt x="923" y="73"/>
                    </a:cubicBezTo>
                    <a:cubicBezTo>
                      <a:pt x="922" y="73"/>
                      <a:pt x="922" y="73"/>
                      <a:pt x="922" y="73"/>
                    </a:cubicBezTo>
                    <a:cubicBezTo>
                      <a:pt x="918" y="73"/>
                      <a:pt x="915" y="74"/>
                      <a:pt x="912" y="75"/>
                    </a:cubicBezTo>
                    <a:cubicBezTo>
                      <a:pt x="906" y="76"/>
                      <a:pt x="900" y="76"/>
                      <a:pt x="894" y="77"/>
                    </a:cubicBezTo>
                    <a:cubicBezTo>
                      <a:pt x="892" y="78"/>
                      <a:pt x="890" y="79"/>
                      <a:pt x="889" y="79"/>
                    </a:cubicBezTo>
                    <a:cubicBezTo>
                      <a:pt x="887" y="80"/>
                      <a:pt x="886" y="82"/>
                      <a:pt x="884" y="82"/>
                    </a:cubicBezTo>
                    <a:cubicBezTo>
                      <a:pt x="884" y="83"/>
                      <a:pt x="883" y="83"/>
                      <a:pt x="883" y="83"/>
                    </a:cubicBezTo>
                    <a:cubicBezTo>
                      <a:pt x="881" y="83"/>
                      <a:pt x="879" y="82"/>
                      <a:pt x="877" y="81"/>
                    </a:cubicBezTo>
                    <a:cubicBezTo>
                      <a:pt x="874" y="80"/>
                      <a:pt x="870" y="80"/>
                      <a:pt x="866" y="79"/>
                    </a:cubicBezTo>
                    <a:cubicBezTo>
                      <a:pt x="866" y="79"/>
                      <a:pt x="862" y="74"/>
                      <a:pt x="861" y="73"/>
                    </a:cubicBezTo>
                    <a:cubicBezTo>
                      <a:pt x="858" y="69"/>
                      <a:pt x="853" y="70"/>
                      <a:pt x="848" y="69"/>
                    </a:cubicBezTo>
                    <a:cubicBezTo>
                      <a:pt x="849" y="68"/>
                      <a:pt x="849" y="68"/>
                      <a:pt x="849" y="68"/>
                    </a:cubicBezTo>
                    <a:cubicBezTo>
                      <a:pt x="846" y="69"/>
                      <a:pt x="843" y="71"/>
                      <a:pt x="841" y="74"/>
                    </a:cubicBezTo>
                    <a:cubicBezTo>
                      <a:pt x="841" y="71"/>
                      <a:pt x="842" y="69"/>
                      <a:pt x="842" y="68"/>
                    </a:cubicBezTo>
                    <a:cubicBezTo>
                      <a:pt x="841" y="67"/>
                      <a:pt x="840" y="64"/>
                      <a:pt x="840" y="64"/>
                    </a:cubicBezTo>
                    <a:cubicBezTo>
                      <a:pt x="839" y="63"/>
                      <a:pt x="838" y="62"/>
                      <a:pt x="837" y="62"/>
                    </a:cubicBezTo>
                    <a:cubicBezTo>
                      <a:pt x="837" y="62"/>
                      <a:pt x="838" y="61"/>
                      <a:pt x="837" y="60"/>
                    </a:cubicBezTo>
                    <a:cubicBezTo>
                      <a:pt x="837" y="60"/>
                      <a:pt x="837" y="60"/>
                      <a:pt x="837" y="60"/>
                    </a:cubicBezTo>
                    <a:cubicBezTo>
                      <a:pt x="835" y="60"/>
                      <a:pt x="832" y="62"/>
                      <a:pt x="831" y="63"/>
                    </a:cubicBezTo>
                    <a:cubicBezTo>
                      <a:pt x="823" y="66"/>
                      <a:pt x="816" y="69"/>
                      <a:pt x="809" y="73"/>
                    </a:cubicBezTo>
                    <a:cubicBezTo>
                      <a:pt x="809" y="73"/>
                      <a:pt x="809" y="73"/>
                      <a:pt x="809" y="73"/>
                    </a:cubicBezTo>
                    <a:cubicBezTo>
                      <a:pt x="809" y="73"/>
                      <a:pt x="809" y="73"/>
                      <a:pt x="809" y="73"/>
                    </a:cubicBezTo>
                    <a:cubicBezTo>
                      <a:pt x="805" y="75"/>
                      <a:pt x="801" y="77"/>
                      <a:pt x="796" y="79"/>
                    </a:cubicBezTo>
                    <a:cubicBezTo>
                      <a:pt x="796" y="79"/>
                      <a:pt x="796" y="79"/>
                      <a:pt x="796" y="79"/>
                    </a:cubicBezTo>
                    <a:cubicBezTo>
                      <a:pt x="793" y="79"/>
                      <a:pt x="788" y="76"/>
                      <a:pt x="786" y="75"/>
                    </a:cubicBezTo>
                    <a:cubicBezTo>
                      <a:pt x="784" y="74"/>
                      <a:pt x="788" y="71"/>
                      <a:pt x="788" y="70"/>
                    </a:cubicBezTo>
                    <a:cubicBezTo>
                      <a:pt x="788" y="69"/>
                      <a:pt x="787" y="68"/>
                      <a:pt x="785" y="68"/>
                    </a:cubicBezTo>
                    <a:cubicBezTo>
                      <a:pt x="782" y="68"/>
                      <a:pt x="775" y="72"/>
                      <a:pt x="774" y="72"/>
                    </a:cubicBezTo>
                    <a:cubicBezTo>
                      <a:pt x="771" y="73"/>
                      <a:pt x="769" y="74"/>
                      <a:pt x="766" y="75"/>
                    </a:cubicBezTo>
                    <a:cubicBezTo>
                      <a:pt x="766" y="75"/>
                      <a:pt x="765" y="75"/>
                      <a:pt x="764" y="75"/>
                    </a:cubicBezTo>
                    <a:cubicBezTo>
                      <a:pt x="762" y="75"/>
                      <a:pt x="759" y="74"/>
                      <a:pt x="757" y="74"/>
                    </a:cubicBezTo>
                    <a:cubicBezTo>
                      <a:pt x="765" y="67"/>
                      <a:pt x="773" y="60"/>
                      <a:pt x="781" y="54"/>
                    </a:cubicBezTo>
                    <a:cubicBezTo>
                      <a:pt x="784" y="51"/>
                      <a:pt x="787" y="49"/>
                      <a:pt x="791" y="47"/>
                    </a:cubicBezTo>
                    <a:cubicBezTo>
                      <a:pt x="796" y="45"/>
                      <a:pt x="802" y="42"/>
                      <a:pt x="808" y="40"/>
                    </a:cubicBezTo>
                    <a:cubicBezTo>
                      <a:pt x="807" y="40"/>
                      <a:pt x="807" y="40"/>
                      <a:pt x="806" y="40"/>
                    </a:cubicBezTo>
                    <a:cubicBezTo>
                      <a:pt x="803" y="39"/>
                      <a:pt x="792" y="38"/>
                      <a:pt x="790" y="38"/>
                    </a:cubicBezTo>
                    <a:cubicBezTo>
                      <a:pt x="787" y="37"/>
                      <a:pt x="786" y="35"/>
                      <a:pt x="785" y="34"/>
                    </a:cubicBezTo>
                    <a:cubicBezTo>
                      <a:pt x="784" y="34"/>
                      <a:pt x="783" y="35"/>
                      <a:pt x="781" y="37"/>
                    </a:cubicBezTo>
                    <a:cubicBezTo>
                      <a:pt x="778" y="38"/>
                      <a:pt x="776" y="39"/>
                      <a:pt x="774" y="39"/>
                    </a:cubicBezTo>
                    <a:cubicBezTo>
                      <a:pt x="768" y="39"/>
                      <a:pt x="763" y="34"/>
                      <a:pt x="761" y="32"/>
                    </a:cubicBezTo>
                    <a:cubicBezTo>
                      <a:pt x="761" y="32"/>
                      <a:pt x="761" y="32"/>
                      <a:pt x="761" y="32"/>
                    </a:cubicBezTo>
                    <a:cubicBezTo>
                      <a:pt x="760" y="31"/>
                      <a:pt x="760" y="31"/>
                      <a:pt x="759" y="31"/>
                    </a:cubicBezTo>
                    <a:cubicBezTo>
                      <a:pt x="759" y="30"/>
                      <a:pt x="758" y="30"/>
                      <a:pt x="757" y="30"/>
                    </a:cubicBezTo>
                    <a:cubicBezTo>
                      <a:pt x="757" y="30"/>
                      <a:pt x="757" y="30"/>
                      <a:pt x="757" y="30"/>
                    </a:cubicBezTo>
                    <a:cubicBezTo>
                      <a:pt x="757" y="31"/>
                      <a:pt x="757" y="31"/>
                      <a:pt x="757" y="31"/>
                    </a:cubicBezTo>
                    <a:cubicBezTo>
                      <a:pt x="755" y="32"/>
                      <a:pt x="755" y="32"/>
                      <a:pt x="755" y="32"/>
                    </a:cubicBezTo>
                    <a:cubicBezTo>
                      <a:pt x="754" y="33"/>
                      <a:pt x="753" y="33"/>
                      <a:pt x="752" y="33"/>
                    </a:cubicBezTo>
                    <a:cubicBezTo>
                      <a:pt x="752" y="33"/>
                      <a:pt x="752" y="33"/>
                      <a:pt x="751" y="33"/>
                    </a:cubicBezTo>
                    <a:cubicBezTo>
                      <a:pt x="749" y="33"/>
                      <a:pt x="748" y="30"/>
                      <a:pt x="747" y="27"/>
                    </a:cubicBezTo>
                    <a:cubicBezTo>
                      <a:pt x="747" y="26"/>
                      <a:pt x="743" y="24"/>
                      <a:pt x="739" y="23"/>
                    </a:cubicBezTo>
                    <a:cubicBezTo>
                      <a:pt x="739" y="23"/>
                      <a:pt x="738" y="23"/>
                      <a:pt x="738" y="23"/>
                    </a:cubicBezTo>
                    <a:cubicBezTo>
                      <a:pt x="737" y="23"/>
                      <a:pt x="737" y="23"/>
                      <a:pt x="737" y="23"/>
                    </a:cubicBezTo>
                    <a:cubicBezTo>
                      <a:pt x="735" y="22"/>
                      <a:pt x="733" y="22"/>
                      <a:pt x="732" y="22"/>
                    </a:cubicBezTo>
                    <a:cubicBezTo>
                      <a:pt x="730" y="22"/>
                      <a:pt x="729" y="22"/>
                      <a:pt x="729" y="23"/>
                    </a:cubicBezTo>
                    <a:cubicBezTo>
                      <a:pt x="727" y="24"/>
                      <a:pt x="724" y="25"/>
                      <a:pt x="722" y="25"/>
                    </a:cubicBezTo>
                    <a:cubicBezTo>
                      <a:pt x="715" y="25"/>
                      <a:pt x="709" y="21"/>
                      <a:pt x="708" y="21"/>
                    </a:cubicBezTo>
                    <a:cubicBezTo>
                      <a:pt x="707" y="20"/>
                      <a:pt x="705" y="20"/>
                      <a:pt x="705" y="20"/>
                    </a:cubicBezTo>
                    <a:cubicBezTo>
                      <a:pt x="704" y="20"/>
                      <a:pt x="704" y="20"/>
                      <a:pt x="703" y="20"/>
                    </a:cubicBezTo>
                    <a:cubicBezTo>
                      <a:pt x="701" y="20"/>
                      <a:pt x="699" y="19"/>
                      <a:pt x="698" y="17"/>
                    </a:cubicBezTo>
                    <a:cubicBezTo>
                      <a:pt x="696" y="16"/>
                      <a:pt x="692" y="6"/>
                      <a:pt x="692" y="2"/>
                    </a:cubicBezTo>
                    <a:cubicBezTo>
                      <a:pt x="692" y="1"/>
                      <a:pt x="692" y="1"/>
                      <a:pt x="6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14"/>
              <p:cNvSpPr>
                <a:spLocks noChangeArrowheads="1"/>
              </p:cNvSpPr>
              <p:nvPr/>
            </p:nvSpPr>
            <p:spPr bwMode="auto">
              <a:xfrm>
                <a:off x="5674" y="189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15"/>
              <p:cNvSpPr>
                <a:spLocks noChangeArrowheads="1"/>
              </p:cNvSpPr>
              <p:nvPr/>
            </p:nvSpPr>
            <p:spPr bwMode="auto">
              <a:xfrm>
                <a:off x="5674" y="189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16"/>
              <p:cNvSpPr>
                <a:spLocks noChangeArrowheads="1"/>
              </p:cNvSpPr>
              <p:nvPr/>
            </p:nvSpPr>
            <p:spPr bwMode="auto">
              <a:xfrm>
                <a:off x="3716" y="311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Rectangle 17"/>
              <p:cNvSpPr>
                <a:spLocks noChangeArrowheads="1"/>
              </p:cNvSpPr>
              <p:nvPr/>
            </p:nvSpPr>
            <p:spPr bwMode="auto">
              <a:xfrm>
                <a:off x="3716" y="311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8"/>
              <p:cNvSpPr/>
              <p:nvPr/>
            </p:nvSpPr>
            <p:spPr bwMode="auto">
              <a:xfrm>
                <a:off x="2971" y="1793"/>
                <a:ext cx="14" cy="12"/>
              </a:xfrm>
              <a:custGeom>
                <a:gdLst>
                  <a:gd name="T0" fmla="*/ 6 w 6"/>
                  <a:gd name="T1" fmla="*/ 0 h 5"/>
                  <a:gd name="T2" fmla="*/ 1 w 6"/>
                  <a:gd name="T3" fmla="*/ 4 h 5"/>
                  <a:gd name="T4" fmla="*/ 0 w 6"/>
                  <a:gd name="T5" fmla="*/ 5 h 5"/>
                  <a:gd name="T6" fmla="*/ 0 w 6"/>
                  <a:gd name="T7" fmla="*/ 5 h 5"/>
                  <a:gd name="T8" fmla="*/ 2 w 6"/>
                  <a:gd name="T9" fmla="*/ 4 h 5"/>
                  <a:gd name="T10" fmla="*/ 2 w 6"/>
                  <a:gd name="T11" fmla="*/ 4 h 5"/>
                  <a:gd name="T12" fmla="*/ 2 w 6"/>
                  <a:gd name="T13" fmla="*/ 4 h 5"/>
                  <a:gd name="T14" fmla="*/ 2 w 6"/>
                  <a:gd name="T15" fmla="*/ 4 h 5"/>
                  <a:gd name="T16" fmla="*/ 4 w 6"/>
                  <a:gd name="T17" fmla="*/ 2 h 5"/>
                  <a:gd name="T18" fmla="*/ 6 w 6"/>
                  <a:gd name="T19"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0"/>
                    </a:moveTo>
                    <a:cubicBezTo>
                      <a:pt x="4" y="2"/>
                      <a:pt x="3" y="2"/>
                      <a:pt x="1" y="4"/>
                    </a:cubicBezTo>
                    <a:cubicBezTo>
                      <a:pt x="1" y="4"/>
                      <a:pt x="0" y="5"/>
                      <a:pt x="0" y="5"/>
                    </a:cubicBezTo>
                    <a:cubicBezTo>
                      <a:pt x="0" y="5"/>
                      <a:pt x="0" y="5"/>
                      <a:pt x="0" y="5"/>
                    </a:cubicBezTo>
                    <a:cubicBezTo>
                      <a:pt x="1" y="5"/>
                      <a:pt x="1" y="4"/>
                      <a:pt x="2" y="4"/>
                    </a:cubicBezTo>
                    <a:cubicBezTo>
                      <a:pt x="2" y="4"/>
                      <a:pt x="2" y="4"/>
                      <a:pt x="2" y="4"/>
                    </a:cubicBezTo>
                    <a:cubicBezTo>
                      <a:pt x="2" y="4"/>
                      <a:pt x="2" y="4"/>
                      <a:pt x="2" y="4"/>
                    </a:cubicBezTo>
                    <a:cubicBezTo>
                      <a:pt x="2" y="4"/>
                      <a:pt x="2" y="4"/>
                      <a:pt x="2" y="4"/>
                    </a:cubicBezTo>
                    <a:cubicBezTo>
                      <a:pt x="3" y="3"/>
                      <a:pt x="4" y="3"/>
                      <a:pt x="4" y="2"/>
                    </a:cubicBezTo>
                    <a:cubicBezTo>
                      <a:pt x="5" y="2"/>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19"/>
              <p:cNvSpPr>
                <a:spLocks noChangeArrowheads="1"/>
              </p:cNvSpPr>
              <p:nvPr/>
            </p:nvSpPr>
            <p:spPr bwMode="auto">
              <a:xfrm>
                <a:off x="3276" y="216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20"/>
              <p:cNvSpPr>
                <a:spLocks noChangeArrowheads="1"/>
              </p:cNvSpPr>
              <p:nvPr/>
            </p:nvSpPr>
            <p:spPr bwMode="auto">
              <a:xfrm>
                <a:off x="3276" y="216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1"/>
              <p:cNvSpPr>
                <a:spLocks noEditPoints="1"/>
              </p:cNvSpPr>
              <p:nvPr/>
            </p:nvSpPr>
            <p:spPr bwMode="auto">
              <a:xfrm>
                <a:off x="5203" y="3255"/>
                <a:ext cx="3" cy="7"/>
              </a:xfrm>
              <a:custGeom>
                <a:gdLst>
                  <a:gd name="T0" fmla="*/ 1 w 1"/>
                  <a:gd name="T1" fmla="*/ 0 h 3"/>
                  <a:gd name="T2" fmla="*/ 1 w 1"/>
                  <a:gd name="T3" fmla="*/ 0 h 3"/>
                  <a:gd name="T4" fmla="*/ 1 w 1"/>
                  <a:gd name="T5" fmla="*/ 0 h 3"/>
                  <a:gd name="T6" fmla="*/ 1 w 1"/>
                  <a:gd name="T7" fmla="*/ 0 h 3"/>
                  <a:gd name="T8" fmla="*/ 1 w 1"/>
                  <a:gd name="T9" fmla="*/ 0 h 3"/>
                  <a:gd name="T10" fmla="*/ 1 w 1"/>
                  <a:gd name="T11" fmla="*/ 0 h 3"/>
                  <a:gd name="T12" fmla="*/ 1 w 1"/>
                  <a:gd name="T13" fmla="*/ 0 h 3"/>
                  <a:gd name="T14" fmla="*/ 1 w 1"/>
                  <a:gd name="T15" fmla="*/ 0 h 3"/>
                  <a:gd name="T16" fmla="*/ 0 w 1"/>
                  <a:gd name="T17" fmla="*/ 3 h 3"/>
                  <a:gd name="T18" fmla="*/ 1 w 1"/>
                  <a:gd name="T19" fmla="*/ 0 h 3"/>
                  <a:gd name="T20" fmla="*/ 1 w 1"/>
                  <a:gd name="T21" fmla="*/ 0 h 3"/>
                  <a:gd name="T22" fmla="*/ 1 w 1"/>
                  <a:gd name="T23"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3">
                    <a:moveTo>
                      <a:pt x="1" y="0"/>
                    </a:moveTo>
                    <a:cubicBezTo>
                      <a:pt x="1" y="0"/>
                      <a:pt x="1" y="0"/>
                      <a:pt x="1" y="0"/>
                    </a:cubicBezTo>
                    <a:cubicBezTo>
                      <a:pt x="1" y="0"/>
                      <a:pt x="1" y="0"/>
                      <a:pt x="1" y="0"/>
                    </a:cubicBezTo>
                    <a:cubicBezTo>
                      <a:pt x="1" y="0"/>
                      <a:pt x="1" y="0"/>
                      <a:pt x="1" y="0"/>
                    </a:cubicBezTo>
                    <a:moveTo>
                      <a:pt x="1" y="0"/>
                    </a:moveTo>
                    <a:cubicBezTo>
                      <a:pt x="1" y="0"/>
                      <a:pt x="1" y="0"/>
                      <a:pt x="1" y="0"/>
                    </a:cubicBezTo>
                    <a:cubicBezTo>
                      <a:pt x="1" y="0"/>
                      <a:pt x="1" y="0"/>
                      <a:pt x="1" y="0"/>
                    </a:cubicBezTo>
                    <a:cubicBezTo>
                      <a:pt x="1" y="0"/>
                      <a:pt x="1" y="0"/>
                      <a:pt x="1" y="0"/>
                    </a:cubicBezTo>
                    <a:cubicBezTo>
                      <a:pt x="1" y="1"/>
                      <a:pt x="1" y="2"/>
                      <a:pt x="0" y="3"/>
                    </a:cubicBezTo>
                    <a:cubicBezTo>
                      <a:pt x="1" y="2"/>
                      <a:pt x="1" y="1"/>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22"/>
              <p:cNvSpPr/>
              <p:nvPr/>
            </p:nvSpPr>
            <p:spPr bwMode="auto">
              <a:xfrm>
                <a:off x="5612" y="3111"/>
                <a:ext cx="3" cy="5"/>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1"/>
                      <a:pt x="1" y="1"/>
                      <a:pt x="1"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23"/>
              <p:cNvSpPr/>
              <p:nvPr/>
            </p:nvSpPr>
            <p:spPr bwMode="auto">
              <a:xfrm>
                <a:off x="6591" y="641"/>
                <a:ext cx="7" cy="3"/>
              </a:xfrm>
              <a:custGeom>
                <a:gdLst>
                  <a:gd name="T0" fmla="*/ 1 w 3"/>
                  <a:gd name="T1" fmla="*/ 0 h 1"/>
                  <a:gd name="T2" fmla="*/ 0 w 3"/>
                  <a:gd name="T3" fmla="*/ 1 h 1"/>
                  <a:gd name="T4" fmla="*/ 0 w 3"/>
                  <a:gd name="T5" fmla="*/ 1 h 1"/>
                  <a:gd name="T6" fmla="*/ 0 w 3"/>
                  <a:gd name="T7" fmla="*/ 1 h 1"/>
                  <a:gd name="T8" fmla="*/ 0 w 3"/>
                  <a:gd name="T9" fmla="*/ 1 h 1"/>
                  <a:gd name="T10" fmla="*/ 0 w 3"/>
                  <a:gd name="T11" fmla="*/ 1 h 1"/>
                  <a:gd name="T12" fmla="*/ 0 w 3"/>
                  <a:gd name="T13" fmla="*/ 1 h 1"/>
                  <a:gd name="T14" fmla="*/ 1 w 3"/>
                  <a:gd name="T15" fmla="*/ 1 h 1"/>
                  <a:gd name="T16" fmla="*/ 1 w 3"/>
                  <a:gd name="T17" fmla="*/ 1 h 1"/>
                  <a:gd name="T18" fmla="*/ 1 w 3"/>
                  <a:gd name="T19" fmla="*/ 1 h 1"/>
                  <a:gd name="T20" fmla="*/ 2 w 3"/>
                  <a:gd name="T21" fmla="*/ 1 h 1"/>
                  <a:gd name="T22" fmla="*/ 2 w 3"/>
                  <a:gd name="T23" fmla="*/ 1 h 1"/>
                  <a:gd name="T24" fmla="*/ 2 w 3"/>
                  <a:gd name="T25" fmla="*/ 1 h 1"/>
                  <a:gd name="T26" fmla="*/ 3 w 3"/>
                  <a:gd name="T27" fmla="*/ 1 h 1"/>
                  <a:gd name="T28" fmla="*/ 3 w 3"/>
                  <a:gd name="T29" fmla="*/ 1 h 1"/>
                  <a:gd name="T30" fmla="*/ 1 w 3"/>
                  <a:gd name="T31"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
                    <a:moveTo>
                      <a:pt x="1" y="0"/>
                    </a:moveTo>
                    <a:cubicBezTo>
                      <a:pt x="1" y="0"/>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3" y="1"/>
                      <a:pt x="3" y="1"/>
                      <a:pt x="3" y="1"/>
                    </a:cubicBezTo>
                    <a:cubicBezTo>
                      <a:pt x="3" y="1"/>
                      <a:pt x="3" y="1"/>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24"/>
              <p:cNvSpPr/>
              <p:nvPr/>
            </p:nvSpPr>
            <p:spPr bwMode="auto">
              <a:xfrm>
                <a:off x="5709" y="4512"/>
                <a:ext cx="3" cy="0"/>
              </a:xfrm>
              <a:custGeom>
                <a:gdLst>
                  <a:gd name="T0" fmla="*/ 0 w 1"/>
                  <a:gd name="T1" fmla="*/ 0 w 1"/>
                  <a:gd name="T2" fmla="*/ 1 w 1"/>
                  <a:gd name="T3" fmla="*/ 1 w 1"/>
                  <a:gd name="T4" fmla="*/ 1 w 1"/>
                  <a:gd name="T5" fmla="*/ 1 w 1"/>
                  <a:gd name="T6" fmla="*/ 1 w 1"/>
                  <a:gd name="T7" fmla="*/ 1 w 1"/>
                  <a:gd name="T8" fmla="*/ 0 w 1"/>
                  <a:gd name="T9" fmla="*/ 0 w 1"/>
                </a:gd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cubicBezTo>
                      <a:pt x="0" y="0"/>
                      <a:pt x="0" y="0"/>
                      <a:pt x="0" y="0"/>
                    </a:cubicBezTo>
                    <a:cubicBezTo>
                      <a:pt x="0"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25"/>
              <p:cNvSpPr/>
              <p:nvPr/>
            </p:nvSpPr>
            <p:spPr bwMode="auto">
              <a:xfrm flipH="1">
                <a:off x="6598" y="4436"/>
                <a:ext cx="0" cy="0"/>
              </a:xfrm>
              <a:custGeom>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26"/>
              <p:cNvSpPr/>
              <p:nvPr/>
            </p:nvSpPr>
            <p:spPr bwMode="auto">
              <a:xfrm>
                <a:off x="2947" y="1751"/>
                <a:ext cx="5" cy="14"/>
              </a:xfrm>
              <a:custGeom>
                <a:gdLst>
                  <a:gd name="T0" fmla="*/ 1 w 2"/>
                  <a:gd name="T1" fmla="*/ 0 h 6"/>
                  <a:gd name="T2" fmla="*/ 0 w 2"/>
                  <a:gd name="T3" fmla="*/ 4 h 6"/>
                  <a:gd name="T4" fmla="*/ 0 w 2"/>
                  <a:gd name="T5" fmla="*/ 4 h 6"/>
                  <a:gd name="T6" fmla="*/ 0 w 2"/>
                  <a:gd name="T7" fmla="*/ 4 h 6"/>
                  <a:gd name="T8" fmla="*/ 0 w 2"/>
                  <a:gd name="T9" fmla="*/ 4 h 6"/>
                  <a:gd name="T10" fmla="*/ 1 w 2"/>
                  <a:gd name="T11" fmla="*/ 4 h 6"/>
                  <a:gd name="T12" fmla="*/ 1 w 2"/>
                  <a:gd name="T13" fmla="*/ 4 h 6"/>
                  <a:gd name="T14" fmla="*/ 2 w 2"/>
                  <a:gd name="T15" fmla="*/ 5 h 6"/>
                  <a:gd name="T16" fmla="*/ 2 w 2"/>
                  <a:gd name="T17" fmla="*/ 5 h 6"/>
                  <a:gd name="T18" fmla="*/ 2 w 2"/>
                  <a:gd name="T19" fmla="*/ 6 h 6"/>
                  <a:gd name="T20" fmla="*/ 2 w 2"/>
                  <a:gd name="T21" fmla="*/ 6 h 6"/>
                  <a:gd name="T22" fmla="*/ 2 w 2"/>
                  <a:gd name="T23" fmla="*/ 5 h 6"/>
                  <a:gd name="T24" fmla="*/ 2 w 2"/>
                  <a:gd name="T25" fmla="*/ 5 h 6"/>
                  <a:gd name="T26" fmla="*/ 2 w 2"/>
                  <a:gd name="T27" fmla="*/ 5 h 6"/>
                  <a:gd name="T28" fmla="*/ 2 w 2"/>
                  <a:gd name="T29" fmla="*/ 4 h 6"/>
                  <a:gd name="T30" fmla="*/ 2 w 2"/>
                  <a:gd name="T31" fmla="*/ 2 h 6"/>
                  <a:gd name="T32" fmla="*/ 2 w 2"/>
                  <a:gd name="T33" fmla="*/ 2 h 6"/>
                  <a:gd name="T34" fmla="*/ 2 w 2"/>
                  <a:gd name="T35" fmla="*/ 1 h 6"/>
                  <a:gd name="T36" fmla="*/ 2 w 2"/>
                  <a:gd name="T37" fmla="*/ 1 h 6"/>
                  <a:gd name="T38" fmla="*/ 1 w 2"/>
                  <a:gd name="T39" fmla="*/ 0 h 6"/>
                  <a:gd name="T40" fmla="*/ 1 w 2"/>
                  <a:gd name="T4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6">
                    <a:moveTo>
                      <a:pt x="1" y="0"/>
                    </a:moveTo>
                    <a:cubicBezTo>
                      <a:pt x="1" y="1"/>
                      <a:pt x="1" y="3"/>
                      <a:pt x="0" y="4"/>
                    </a:cubicBezTo>
                    <a:cubicBezTo>
                      <a:pt x="0" y="4"/>
                      <a:pt x="0" y="4"/>
                      <a:pt x="0" y="4"/>
                    </a:cubicBezTo>
                    <a:cubicBezTo>
                      <a:pt x="0" y="4"/>
                      <a:pt x="0" y="4"/>
                      <a:pt x="0" y="4"/>
                    </a:cubicBezTo>
                    <a:cubicBezTo>
                      <a:pt x="0" y="4"/>
                      <a:pt x="0" y="4"/>
                      <a:pt x="0" y="4"/>
                    </a:cubicBezTo>
                    <a:cubicBezTo>
                      <a:pt x="1" y="4"/>
                      <a:pt x="1" y="4"/>
                      <a:pt x="1" y="4"/>
                    </a:cubicBezTo>
                    <a:cubicBezTo>
                      <a:pt x="1" y="4"/>
                      <a:pt x="1" y="4"/>
                      <a:pt x="1" y="4"/>
                    </a:cubicBezTo>
                    <a:cubicBezTo>
                      <a:pt x="1" y="4"/>
                      <a:pt x="2" y="5"/>
                      <a:pt x="2" y="5"/>
                    </a:cubicBezTo>
                    <a:cubicBezTo>
                      <a:pt x="2" y="5"/>
                      <a:pt x="2" y="5"/>
                      <a:pt x="2" y="5"/>
                    </a:cubicBezTo>
                    <a:cubicBezTo>
                      <a:pt x="2" y="6"/>
                      <a:pt x="2" y="6"/>
                      <a:pt x="2" y="6"/>
                    </a:cubicBezTo>
                    <a:cubicBezTo>
                      <a:pt x="2" y="6"/>
                      <a:pt x="2" y="6"/>
                      <a:pt x="2" y="6"/>
                    </a:cubicBezTo>
                    <a:cubicBezTo>
                      <a:pt x="2" y="6"/>
                      <a:pt x="2" y="5"/>
                      <a:pt x="2" y="5"/>
                    </a:cubicBezTo>
                    <a:cubicBezTo>
                      <a:pt x="2" y="5"/>
                      <a:pt x="2" y="5"/>
                      <a:pt x="2" y="5"/>
                    </a:cubicBezTo>
                    <a:cubicBezTo>
                      <a:pt x="2" y="5"/>
                      <a:pt x="2" y="5"/>
                      <a:pt x="2" y="5"/>
                    </a:cubicBezTo>
                    <a:cubicBezTo>
                      <a:pt x="2" y="5"/>
                      <a:pt x="2" y="5"/>
                      <a:pt x="2" y="4"/>
                    </a:cubicBezTo>
                    <a:cubicBezTo>
                      <a:pt x="2" y="3"/>
                      <a:pt x="2" y="3"/>
                      <a:pt x="2" y="2"/>
                    </a:cubicBezTo>
                    <a:cubicBezTo>
                      <a:pt x="2" y="2"/>
                      <a:pt x="2" y="2"/>
                      <a:pt x="2" y="2"/>
                    </a:cubicBezTo>
                    <a:cubicBezTo>
                      <a:pt x="2" y="1"/>
                      <a:pt x="2" y="1"/>
                      <a:pt x="2" y="1"/>
                    </a:cubicBezTo>
                    <a:cubicBezTo>
                      <a:pt x="2" y="1"/>
                      <a:pt x="2" y="1"/>
                      <a:pt x="2" y="1"/>
                    </a:cubicBezTo>
                    <a:cubicBezTo>
                      <a:pt x="2" y="1"/>
                      <a:pt x="2" y="1"/>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7"/>
              <p:cNvSpPr>
                <a:spLocks noEditPoints="1"/>
              </p:cNvSpPr>
              <p:nvPr/>
            </p:nvSpPr>
            <p:spPr bwMode="auto">
              <a:xfrm flipH="1">
                <a:off x="2869" y="1606"/>
                <a:ext cx="0" cy="3"/>
              </a:xfrm>
              <a:custGeom>
                <a:gdLst>
                  <a:gd name="T0" fmla="*/ 3 h 3"/>
                  <a:gd name="T1" fmla="*/ 3 h 3"/>
                  <a:gd name="T2" fmla="*/ 3 h 3"/>
                  <a:gd name="T3" fmla="*/ 3 h 3"/>
                  <a:gd name="T4" fmla="*/ 0 h 3"/>
                  <a:gd name="T5" fmla="*/ 3 h 3"/>
                  <a:gd name="T6" fmla="*/ 3 h 3"/>
                  <a:gd name="T7" fmla="*/ 3 h 3"/>
                  <a:gd name="T8" fmla="*/ 0 h 3"/>
                </a:gd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3"/>
                    </a:moveTo>
                    <a:lnTo>
                      <a:pt x="0" y="3"/>
                    </a:lnTo>
                    <a:lnTo>
                      <a:pt x="0" y="3"/>
                    </a:lnTo>
                    <a:lnTo>
                      <a:pt x="0" y="3"/>
                    </a:lnTo>
                    <a:close/>
                    <a:moveTo>
                      <a:pt x="0" y="0"/>
                    </a:moveTo>
                    <a:lnTo>
                      <a:pt x="0" y="3"/>
                    </a:lnTo>
                    <a:lnTo>
                      <a:pt x="0" y="3"/>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28"/>
              <p:cNvSpPr>
                <a:spLocks noEditPoints="1"/>
              </p:cNvSpPr>
              <p:nvPr/>
            </p:nvSpPr>
            <p:spPr bwMode="auto">
              <a:xfrm flipH="1">
                <a:off x="2869" y="1606"/>
                <a:ext cx="0" cy="3"/>
              </a:xfrm>
              <a:custGeom>
                <a:gdLst>
                  <a:gd name="T0" fmla="*/ 3 h 3"/>
                  <a:gd name="T1" fmla="*/ 3 h 3"/>
                  <a:gd name="T2" fmla="*/ 3 h 3"/>
                  <a:gd name="T3" fmla="*/ 3 h 3"/>
                  <a:gd name="T4" fmla="*/ 0 h 3"/>
                  <a:gd name="T5" fmla="*/ 3 h 3"/>
                  <a:gd name="T6" fmla="*/ 3 h 3"/>
                  <a:gd name="T7" fmla="*/ 3 h 3"/>
                  <a:gd name="T8" fmla="*/ 0 h 3"/>
                </a:gd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3"/>
                    </a:moveTo>
                    <a:lnTo>
                      <a:pt x="0" y="3"/>
                    </a:lnTo>
                    <a:lnTo>
                      <a:pt x="0" y="3"/>
                    </a:lnTo>
                    <a:lnTo>
                      <a:pt x="0" y="3"/>
                    </a:lnTo>
                    <a:moveTo>
                      <a:pt x="0" y="0"/>
                    </a:moveTo>
                    <a:lnTo>
                      <a:pt x="0"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9"/>
              <p:cNvSpPr/>
              <p:nvPr/>
            </p:nvSpPr>
            <p:spPr bwMode="auto">
              <a:xfrm>
                <a:off x="3418" y="388"/>
                <a:ext cx="2" cy="19"/>
              </a:xfrm>
              <a:custGeom>
                <a:gdLst>
                  <a:gd name="T0" fmla="*/ 0 w 1"/>
                  <a:gd name="T1" fmla="*/ 0 h 8"/>
                  <a:gd name="T2" fmla="*/ 0 w 1"/>
                  <a:gd name="T3" fmla="*/ 8 h 8"/>
                  <a:gd name="T4" fmla="*/ 1 w 1"/>
                  <a:gd name="T5" fmla="*/ 3 h 8"/>
                  <a:gd name="T6" fmla="*/ 0 w 1"/>
                  <a:gd name="T7" fmla="*/ 0 h 8"/>
                </a:gdLst>
                <a:cxnLst>
                  <a:cxn ang="0">
                    <a:pos x="T0" y="T1"/>
                  </a:cxn>
                  <a:cxn ang="0">
                    <a:pos x="T2" y="T3"/>
                  </a:cxn>
                  <a:cxn ang="0">
                    <a:pos x="T4" y="T5"/>
                  </a:cxn>
                  <a:cxn ang="0">
                    <a:pos x="T6" y="T7"/>
                  </a:cxn>
                </a:cxnLst>
                <a:rect l="0" t="0" r="r" b="b"/>
                <a:pathLst>
                  <a:path w="1" h="8">
                    <a:moveTo>
                      <a:pt x="0" y="0"/>
                    </a:moveTo>
                    <a:cubicBezTo>
                      <a:pt x="0" y="3"/>
                      <a:pt x="0" y="5"/>
                      <a:pt x="0" y="8"/>
                    </a:cubicBezTo>
                    <a:cubicBezTo>
                      <a:pt x="0" y="7"/>
                      <a:pt x="1" y="5"/>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30"/>
              <p:cNvSpPr>
                <a:spLocks noChangeArrowheads="1"/>
              </p:cNvSpPr>
              <p:nvPr/>
            </p:nvSpPr>
            <p:spPr bwMode="auto">
              <a:xfrm>
                <a:off x="2872" y="161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31"/>
              <p:cNvSpPr>
                <a:spLocks noChangeArrowheads="1"/>
              </p:cNvSpPr>
              <p:nvPr/>
            </p:nvSpPr>
            <p:spPr bwMode="auto">
              <a:xfrm>
                <a:off x="2872" y="161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Rectangle 32"/>
              <p:cNvSpPr>
                <a:spLocks noChangeArrowheads="1"/>
              </p:cNvSpPr>
              <p:nvPr/>
            </p:nvSpPr>
            <p:spPr bwMode="auto">
              <a:xfrm>
                <a:off x="5775" y="296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33"/>
              <p:cNvSpPr/>
              <p:nvPr/>
            </p:nvSpPr>
            <p:spPr bwMode="auto">
              <a:xfrm flipH="1">
                <a:off x="5775" y="296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34"/>
              <p:cNvSpPr/>
              <p:nvPr/>
            </p:nvSpPr>
            <p:spPr bwMode="auto">
              <a:xfrm>
                <a:off x="2926" y="1722"/>
                <a:ext cx="2" cy="3"/>
              </a:xfrm>
              <a:custGeom>
                <a:gdLst>
                  <a:gd name="T0" fmla="*/ 0 w 1"/>
                  <a:gd name="T1" fmla="*/ 0 h 1"/>
                  <a:gd name="T2" fmla="*/ 0 w 1"/>
                  <a:gd name="T3" fmla="*/ 0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0 w 1"/>
                  <a:gd name="T17" fmla="*/ 0 h 1"/>
                  <a:gd name="T18" fmla="*/ 0 w 1"/>
                  <a:gd name="T1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0"/>
                    </a:moveTo>
                    <a:cubicBezTo>
                      <a:pt x="0" y="0"/>
                      <a:pt x="0" y="0"/>
                      <a:pt x="0" y="0"/>
                    </a:cubicBezTo>
                    <a:cubicBezTo>
                      <a:pt x="0" y="1"/>
                      <a:pt x="0"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35"/>
              <p:cNvSpPr/>
              <p:nvPr/>
            </p:nvSpPr>
            <p:spPr bwMode="auto">
              <a:xfrm>
                <a:off x="6104" y="2091"/>
                <a:ext cx="3" cy="0"/>
              </a:xfrm>
              <a:custGeom>
                <a:gdLst>
                  <a:gd name="T0" fmla="*/ 3 w 3"/>
                  <a:gd name="T1" fmla="*/ 0 w 3"/>
                  <a:gd name="T2" fmla="*/ 3 w 3"/>
                  <a:gd name="T3" fmla="*/ 3 w 3"/>
                  <a:gd name="T4" fmla="*/ 3 w 3"/>
                </a:gdLst>
                <a:cxnLst>
                  <a:cxn ang="0">
                    <a:pos x="T0" y="0"/>
                  </a:cxn>
                  <a:cxn ang="0">
                    <a:pos x="T1" y="0"/>
                  </a:cxn>
                  <a:cxn ang="0">
                    <a:pos x="T2" y="0"/>
                  </a:cxn>
                  <a:cxn ang="0">
                    <a:pos x="T3" y="0"/>
                  </a:cxn>
                  <a:cxn ang="0">
                    <a:pos x="T4" y="0"/>
                  </a:cxn>
                </a:cxnLst>
                <a:rect l="0" t="0" r="r" b="b"/>
                <a:pathLst>
                  <a:path w="3">
                    <a:moveTo>
                      <a:pt x="3" y="0"/>
                    </a:moveTo>
                    <a:lnTo>
                      <a:pt x="0"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36"/>
              <p:cNvSpPr/>
              <p:nvPr/>
            </p:nvSpPr>
            <p:spPr bwMode="auto">
              <a:xfrm>
                <a:off x="6104" y="2091"/>
                <a:ext cx="3" cy="0"/>
              </a:xfrm>
              <a:custGeom>
                <a:gdLst>
                  <a:gd name="T0" fmla="*/ 3 w 3"/>
                  <a:gd name="T1" fmla="*/ 0 w 3"/>
                  <a:gd name="T2" fmla="*/ 3 w 3"/>
                  <a:gd name="T3" fmla="*/ 3 w 3"/>
                  <a:gd name="T4" fmla="*/ 3 w 3"/>
                </a:gdLst>
                <a:cxnLst>
                  <a:cxn ang="0">
                    <a:pos x="T0" y="0"/>
                  </a:cxn>
                  <a:cxn ang="0">
                    <a:pos x="T1" y="0"/>
                  </a:cxn>
                  <a:cxn ang="0">
                    <a:pos x="T2" y="0"/>
                  </a:cxn>
                  <a:cxn ang="0">
                    <a:pos x="T3" y="0"/>
                  </a:cxn>
                  <a:cxn ang="0">
                    <a:pos x="T4" y="0"/>
                  </a:cxn>
                </a:cxnLst>
                <a:rect l="0" t="0" r="r" b="b"/>
                <a:pathLst>
                  <a:path w="3">
                    <a:moveTo>
                      <a:pt x="3" y="0"/>
                    </a:moveTo>
                    <a:lnTo>
                      <a:pt x="0" y="0"/>
                    </a:lnTo>
                    <a:lnTo>
                      <a:pt x="3" y="0"/>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37"/>
              <p:cNvSpPr/>
              <p:nvPr/>
            </p:nvSpPr>
            <p:spPr bwMode="auto">
              <a:xfrm>
                <a:off x="2794" y="381"/>
                <a:ext cx="9" cy="9"/>
              </a:xfrm>
              <a:custGeom>
                <a:gdLst>
                  <a:gd name="T0" fmla="*/ 4 w 4"/>
                  <a:gd name="T1" fmla="*/ 0 h 4"/>
                  <a:gd name="T2" fmla="*/ 0 w 4"/>
                  <a:gd name="T3" fmla="*/ 4 h 4"/>
                  <a:gd name="T4" fmla="*/ 4 w 4"/>
                  <a:gd name="T5" fmla="*/ 0 h 4"/>
                </a:gdLst>
                <a:cxnLst>
                  <a:cxn ang="0">
                    <a:pos x="T0" y="T1"/>
                  </a:cxn>
                  <a:cxn ang="0">
                    <a:pos x="T2" y="T3"/>
                  </a:cxn>
                  <a:cxn ang="0">
                    <a:pos x="T4" y="T5"/>
                  </a:cxn>
                </a:cxnLst>
                <a:rect l="0" t="0" r="r" b="b"/>
                <a:pathLst>
                  <a:path w="4" h="4">
                    <a:moveTo>
                      <a:pt x="4" y="0"/>
                    </a:moveTo>
                    <a:cubicBezTo>
                      <a:pt x="4" y="1"/>
                      <a:pt x="1" y="4"/>
                      <a:pt x="0" y="4"/>
                    </a:cubicBezTo>
                    <a:cubicBezTo>
                      <a:pt x="1" y="4"/>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38"/>
              <p:cNvSpPr/>
              <p:nvPr/>
            </p:nvSpPr>
            <p:spPr bwMode="auto">
              <a:xfrm>
                <a:off x="6873" y="1874"/>
                <a:ext cx="9" cy="7"/>
              </a:xfrm>
              <a:custGeom>
                <a:gdLst>
                  <a:gd name="T0" fmla="*/ 4 w 4"/>
                  <a:gd name="T1" fmla="*/ 0 h 3"/>
                  <a:gd name="T2" fmla="*/ 0 w 4"/>
                  <a:gd name="T3" fmla="*/ 2 h 3"/>
                  <a:gd name="T4" fmla="*/ 0 w 4"/>
                  <a:gd name="T5" fmla="*/ 2 h 3"/>
                  <a:gd name="T6" fmla="*/ 1 w 4"/>
                  <a:gd name="T7" fmla="*/ 3 h 3"/>
                  <a:gd name="T8" fmla="*/ 4 w 4"/>
                  <a:gd name="T9" fmla="*/ 0 h 3"/>
                </a:gdLst>
                <a:cxnLst>
                  <a:cxn ang="0">
                    <a:pos x="T0" y="T1"/>
                  </a:cxn>
                  <a:cxn ang="0">
                    <a:pos x="T2" y="T3"/>
                  </a:cxn>
                  <a:cxn ang="0">
                    <a:pos x="T4" y="T5"/>
                  </a:cxn>
                  <a:cxn ang="0">
                    <a:pos x="T6" y="T7"/>
                  </a:cxn>
                  <a:cxn ang="0">
                    <a:pos x="T8" y="T9"/>
                  </a:cxn>
                </a:cxnLst>
                <a:rect l="0" t="0" r="r" b="b"/>
                <a:pathLst>
                  <a:path w="4" h="3">
                    <a:moveTo>
                      <a:pt x="4" y="0"/>
                    </a:moveTo>
                    <a:cubicBezTo>
                      <a:pt x="3" y="1"/>
                      <a:pt x="1" y="1"/>
                      <a:pt x="0" y="2"/>
                    </a:cubicBezTo>
                    <a:cubicBezTo>
                      <a:pt x="0" y="2"/>
                      <a:pt x="0" y="2"/>
                      <a:pt x="0" y="2"/>
                    </a:cubicBezTo>
                    <a:cubicBezTo>
                      <a:pt x="0" y="2"/>
                      <a:pt x="1" y="2"/>
                      <a:pt x="1" y="3"/>
                    </a:cubicBezTo>
                    <a:cubicBezTo>
                      <a:pt x="1"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39"/>
              <p:cNvSpPr/>
              <p:nvPr/>
            </p:nvSpPr>
            <p:spPr bwMode="auto">
              <a:xfrm>
                <a:off x="2855" y="1658"/>
                <a:ext cx="2" cy="3"/>
              </a:xfrm>
              <a:custGeom>
                <a:gdLst>
                  <a:gd name="T0" fmla="*/ 1 w 1"/>
                  <a:gd name="T1" fmla="*/ 0 h 1"/>
                  <a:gd name="T2" fmla="*/ 0 w 1"/>
                  <a:gd name="T3" fmla="*/ 0 h 1"/>
                  <a:gd name="T4" fmla="*/ 1 w 1"/>
                  <a:gd name="T5" fmla="*/ 1 h 1"/>
                  <a:gd name="T6" fmla="*/ 1 w 1"/>
                  <a:gd name="T7" fmla="*/ 1 h 1"/>
                  <a:gd name="T8" fmla="*/ 1 w 1"/>
                  <a:gd name="T9" fmla="*/ 0 h 1"/>
                  <a:gd name="T10" fmla="*/ 1 w 1"/>
                  <a:gd name="T11" fmla="*/ 0 h 1"/>
                </a:gd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0"/>
                      <a:pt x="0" y="0"/>
                    </a:cubicBezTo>
                    <a:cubicBezTo>
                      <a:pt x="1" y="0"/>
                      <a:pt x="1" y="1"/>
                      <a:pt x="1" y="1"/>
                    </a:cubicBezTo>
                    <a:cubicBezTo>
                      <a:pt x="1" y="1"/>
                      <a:pt x="1" y="1"/>
                      <a:pt x="1" y="1"/>
                    </a:cubicBezTo>
                    <a:cubicBezTo>
                      <a:pt x="1" y="1"/>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40"/>
              <p:cNvSpPr/>
              <p:nvPr/>
            </p:nvSpPr>
            <p:spPr bwMode="auto">
              <a:xfrm>
                <a:off x="6516" y="1964"/>
                <a:ext cx="4" cy="0"/>
              </a:xfrm>
              <a:custGeom>
                <a:gdLst>
                  <a:gd name="T0" fmla="*/ 1 w 2"/>
                  <a:gd name="T1" fmla="*/ 0 w 2"/>
                  <a:gd name="T2" fmla="*/ 1 w 2"/>
                  <a:gd name="T3" fmla="*/ 1 w 2"/>
                  <a:gd name="T4" fmla="*/ 2 w 2"/>
                  <a:gd name="T5" fmla="*/ 2 w 2"/>
                  <a:gd name="T6" fmla="*/ 2 w 2"/>
                  <a:gd name="T7" fmla="*/ 2 w 2"/>
                  <a:gd name="T8" fmla="*/ 1 w 2"/>
                </a:gd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1" y="0"/>
                    </a:moveTo>
                    <a:cubicBezTo>
                      <a:pt x="1" y="0"/>
                      <a:pt x="1" y="0"/>
                      <a:pt x="0" y="0"/>
                    </a:cubicBezTo>
                    <a:cubicBezTo>
                      <a:pt x="1" y="0"/>
                      <a:pt x="1" y="0"/>
                      <a:pt x="1" y="0"/>
                    </a:cubicBezTo>
                    <a:cubicBezTo>
                      <a:pt x="1" y="0"/>
                      <a:pt x="1" y="0"/>
                      <a:pt x="1" y="0"/>
                    </a:cubicBezTo>
                    <a:cubicBezTo>
                      <a:pt x="2" y="0"/>
                      <a:pt x="2" y="0"/>
                      <a:pt x="2" y="0"/>
                    </a:cubicBezTo>
                    <a:cubicBezTo>
                      <a:pt x="2" y="0"/>
                      <a:pt x="2" y="0"/>
                      <a:pt x="2" y="0"/>
                    </a:cubicBezTo>
                    <a:cubicBezTo>
                      <a:pt x="2" y="0"/>
                      <a:pt x="2" y="0"/>
                      <a:pt x="2" y="0"/>
                    </a:cubicBezTo>
                    <a:cubicBezTo>
                      <a:pt x="2" y="0"/>
                      <a:pt x="2"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41"/>
              <p:cNvSpPr/>
              <p:nvPr/>
            </p:nvSpPr>
            <p:spPr bwMode="auto">
              <a:xfrm>
                <a:off x="6490" y="1959"/>
                <a:ext cx="19" cy="2"/>
              </a:xfrm>
              <a:custGeom>
                <a:gdLst>
                  <a:gd name="T0" fmla="*/ 6 w 8"/>
                  <a:gd name="T1" fmla="*/ 0 h 1"/>
                  <a:gd name="T2" fmla="*/ 3 w 8"/>
                  <a:gd name="T3" fmla="*/ 1 h 1"/>
                  <a:gd name="T4" fmla="*/ 0 w 8"/>
                  <a:gd name="T5" fmla="*/ 1 h 1"/>
                  <a:gd name="T6" fmla="*/ 1 w 8"/>
                  <a:gd name="T7" fmla="*/ 1 h 1"/>
                  <a:gd name="T8" fmla="*/ 1 w 8"/>
                  <a:gd name="T9" fmla="*/ 1 h 1"/>
                  <a:gd name="T10" fmla="*/ 1 w 8"/>
                  <a:gd name="T11" fmla="*/ 1 h 1"/>
                  <a:gd name="T12" fmla="*/ 8 w 8"/>
                  <a:gd name="T13" fmla="*/ 1 h 1"/>
                  <a:gd name="T14" fmla="*/ 8 w 8"/>
                  <a:gd name="T15" fmla="*/ 1 h 1"/>
                  <a:gd name="T16" fmla="*/ 7 w 8"/>
                  <a:gd name="T17" fmla="*/ 0 h 1"/>
                  <a:gd name="T18" fmla="*/ 7 w 8"/>
                  <a:gd name="T19" fmla="*/ 0 h 1"/>
                  <a:gd name="T20" fmla="*/ 7 w 8"/>
                  <a:gd name="T21" fmla="*/ 0 h 1"/>
                  <a:gd name="T22" fmla="*/ 7 w 8"/>
                  <a:gd name="T23" fmla="*/ 0 h 1"/>
                  <a:gd name="T24" fmla="*/ 7 w 8"/>
                  <a:gd name="T25" fmla="*/ 0 h 1"/>
                  <a:gd name="T26" fmla="*/ 6 w 8"/>
                  <a:gd name="T27" fmla="*/ 0 h 1"/>
                  <a:gd name="T28" fmla="*/ 6 w 8"/>
                  <a:gd name="T29" fmla="*/ 0 h 1"/>
                  <a:gd name="T30" fmla="*/ 6 w 8"/>
                  <a:gd name="T31"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
                    <a:moveTo>
                      <a:pt x="6" y="0"/>
                    </a:moveTo>
                    <a:cubicBezTo>
                      <a:pt x="5" y="0"/>
                      <a:pt x="4" y="1"/>
                      <a:pt x="3" y="1"/>
                    </a:cubicBezTo>
                    <a:cubicBezTo>
                      <a:pt x="2" y="1"/>
                      <a:pt x="1" y="1"/>
                      <a:pt x="0" y="1"/>
                    </a:cubicBezTo>
                    <a:cubicBezTo>
                      <a:pt x="1" y="1"/>
                      <a:pt x="1" y="1"/>
                      <a:pt x="1" y="1"/>
                    </a:cubicBezTo>
                    <a:cubicBezTo>
                      <a:pt x="1" y="1"/>
                      <a:pt x="1" y="1"/>
                      <a:pt x="1" y="1"/>
                    </a:cubicBezTo>
                    <a:cubicBezTo>
                      <a:pt x="1" y="1"/>
                      <a:pt x="1" y="1"/>
                      <a:pt x="1" y="1"/>
                    </a:cubicBezTo>
                    <a:cubicBezTo>
                      <a:pt x="3" y="1"/>
                      <a:pt x="6" y="1"/>
                      <a:pt x="8" y="1"/>
                    </a:cubicBezTo>
                    <a:cubicBezTo>
                      <a:pt x="8" y="1"/>
                      <a:pt x="8" y="1"/>
                      <a:pt x="8"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42"/>
              <p:cNvSpPr>
                <a:spLocks noChangeArrowheads="1"/>
              </p:cNvSpPr>
              <p:nvPr/>
            </p:nvSpPr>
            <p:spPr bwMode="auto">
              <a:xfrm>
                <a:off x="6523" y="196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43"/>
              <p:cNvSpPr/>
              <p:nvPr/>
            </p:nvSpPr>
            <p:spPr bwMode="auto">
              <a:xfrm flipH="1">
                <a:off x="6523" y="1964"/>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44"/>
              <p:cNvSpPr>
                <a:spLocks noEditPoints="1"/>
              </p:cNvSpPr>
              <p:nvPr/>
            </p:nvSpPr>
            <p:spPr bwMode="auto">
              <a:xfrm>
                <a:off x="5612" y="3118"/>
                <a:ext cx="3" cy="2"/>
              </a:xfrm>
              <a:custGeom>
                <a:gdLst>
                  <a:gd name="T0" fmla="*/ 1 w 1"/>
                  <a:gd name="T1" fmla="*/ 0 h 1"/>
                  <a:gd name="T2" fmla="*/ 0 w 1"/>
                  <a:gd name="T3" fmla="*/ 1 h 1"/>
                  <a:gd name="T4" fmla="*/ 1 w 1"/>
                  <a:gd name="T5" fmla="*/ 0 h 1"/>
                  <a:gd name="T6" fmla="*/ 1 w 1"/>
                  <a:gd name="T7" fmla="*/ 0 h 1"/>
                  <a:gd name="T8" fmla="*/ 1 w 1"/>
                  <a:gd name="T9" fmla="*/ 0 h 1"/>
                  <a:gd name="T10" fmla="*/ 1 w 1"/>
                  <a:gd name="T11" fmla="*/ 0 h 1"/>
                </a:gd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0" y="1"/>
                    </a:cubicBezTo>
                    <a:cubicBezTo>
                      <a:pt x="1" y="1"/>
                      <a:pt x="1" y="1"/>
                      <a:pt x="1" y="0"/>
                    </a:cubicBezTo>
                    <a:moveTo>
                      <a:pt x="1" y="0"/>
                    </a:move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45"/>
              <p:cNvSpPr>
                <a:spLocks noChangeArrowheads="1"/>
              </p:cNvSpPr>
              <p:nvPr/>
            </p:nvSpPr>
            <p:spPr bwMode="auto">
              <a:xfrm>
                <a:off x="1193" y="3745"/>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46"/>
              <p:cNvSpPr/>
              <p:nvPr/>
            </p:nvSpPr>
            <p:spPr bwMode="auto">
              <a:xfrm flipH="1">
                <a:off x="1193" y="3745"/>
                <a:ext cx="0" cy="2"/>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47"/>
              <p:cNvSpPr/>
              <p:nvPr/>
            </p:nvSpPr>
            <p:spPr bwMode="auto">
              <a:xfrm>
                <a:off x="1405" y="3835"/>
                <a:ext cx="10" cy="2"/>
              </a:xfrm>
              <a:custGeom>
                <a:gdLst>
                  <a:gd name="T0" fmla="*/ 3 w 4"/>
                  <a:gd name="T1" fmla="*/ 0 h 1"/>
                  <a:gd name="T2" fmla="*/ 0 w 4"/>
                  <a:gd name="T3" fmla="*/ 1 h 1"/>
                  <a:gd name="T4" fmla="*/ 2 w 4"/>
                  <a:gd name="T5" fmla="*/ 1 h 1"/>
                  <a:gd name="T6" fmla="*/ 4 w 4"/>
                  <a:gd name="T7" fmla="*/ 0 h 1"/>
                  <a:gd name="T8" fmla="*/ 3 w 4"/>
                  <a:gd name="T9" fmla="*/ 0 h 1"/>
                </a:gdLst>
                <a:cxnLst>
                  <a:cxn ang="0">
                    <a:pos x="T0" y="T1"/>
                  </a:cxn>
                  <a:cxn ang="0">
                    <a:pos x="T2" y="T3"/>
                  </a:cxn>
                  <a:cxn ang="0">
                    <a:pos x="T4" y="T5"/>
                  </a:cxn>
                  <a:cxn ang="0">
                    <a:pos x="T6" y="T7"/>
                  </a:cxn>
                  <a:cxn ang="0">
                    <a:pos x="T8" y="T9"/>
                  </a:cxn>
                </a:cxnLst>
                <a:rect l="0" t="0" r="r" b="b"/>
                <a:pathLst>
                  <a:path w="4" h="1">
                    <a:moveTo>
                      <a:pt x="3" y="0"/>
                    </a:moveTo>
                    <a:cubicBezTo>
                      <a:pt x="2" y="0"/>
                      <a:pt x="1" y="0"/>
                      <a:pt x="0" y="1"/>
                    </a:cubicBezTo>
                    <a:cubicBezTo>
                      <a:pt x="1" y="1"/>
                      <a:pt x="2" y="1"/>
                      <a:pt x="2" y="1"/>
                    </a:cubicBezTo>
                    <a:cubicBezTo>
                      <a:pt x="3" y="1"/>
                      <a:pt x="4"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48"/>
              <p:cNvSpPr/>
              <p:nvPr/>
            </p:nvSpPr>
            <p:spPr bwMode="auto">
              <a:xfrm>
                <a:off x="1387" y="3814"/>
                <a:ext cx="14" cy="11"/>
              </a:xfrm>
              <a:custGeom>
                <a:gdLst>
                  <a:gd name="T0" fmla="*/ 4 w 6"/>
                  <a:gd name="T1" fmla="*/ 0 h 5"/>
                  <a:gd name="T2" fmla="*/ 3 w 6"/>
                  <a:gd name="T3" fmla="*/ 1 h 5"/>
                  <a:gd name="T4" fmla="*/ 3 w 6"/>
                  <a:gd name="T5" fmla="*/ 1 h 5"/>
                  <a:gd name="T6" fmla="*/ 0 w 6"/>
                  <a:gd name="T7" fmla="*/ 2 h 5"/>
                  <a:gd name="T8" fmla="*/ 1 w 6"/>
                  <a:gd name="T9" fmla="*/ 4 h 5"/>
                  <a:gd name="T10" fmla="*/ 2 w 6"/>
                  <a:gd name="T11" fmla="*/ 5 h 5"/>
                  <a:gd name="T12" fmla="*/ 3 w 6"/>
                  <a:gd name="T13" fmla="*/ 5 h 5"/>
                  <a:gd name="T14" fmla="*/ 3 w 6"/>
                  <a:gd name="T15" fmla="*/ 5 h 5"/>
                  <a:gd name="T16" fmla="*/ 5 w 6"/>
                  <a:gd name="T17" fmla="*/ 2 h 5"/>
                  <a:gd name="T18" fmla="*/ 4 w 6"/>
                  <a:gd name="T19" fmla="*/ 1 h 5"/>
                  <a:gd name="T20" fmla="*/ 4 w 6"/>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4" y="0"/>
                    </a:moveTo>
                    <a:cubicBezTo>
                      <a:pt x="3" y="1"/>
                      <a:pt x="3" y="1"/>
                      <a:pt x="3" y="1"/>
                    </a:cubicBezTo>
                    <a:cubicBezTo>
                      <a:pt x="3" y="1"/>
                      <a:pt x="3" y="1"/>
                      <a:pt x="3" y="1"/>
                    </a:cubicBezTo>
                    <a:cubicBezTo>
                      <a:pt x="2" y="1"/>
                      <a:pt x="1" y="1"/>
                      <a:pt x="0" y="2"/>
                    </a:cubicBezTo>
                    <a:cubicBezTo>
                      <a:pt x="0" y="2"/>
                      <a:pt x="1" y="3"/>
                      <a:pt x="1" y="4"/>
                    </a:cubicBezTo>
                    <a:cubicBezTo>
                      <a:pt x="1" y="4"/>
                      <a:pt x="2" y="5"/>
                      <a:pt x="2" y="5"/>
                    </a:cubicBezTo>
                    <a:cubicBezTo>
                      <a:pt x="2" y="5"/>
                      <a:pt x="2" y="5"/>
                      <a:pt x="3" y="5"/>
                    </a:cubicBezTo>
                    <a:cubicBezTo>
                      <a:pt x="3" y="5"/>
                      <a:pt x="3" y="5"/>
                      <a:pt x="3" y="5"/>
                    </a:cubicBezTo>
                    <a:cubicBezTo>
                      <a:pt x="5" y="4"/>
                      <a:pt x="6" y="4"/>
                      <a:pt x="5" y="2"/>
                    </a:cubicBezTo>
                    <a:cubicBezTo>
                      <a:pt x="5" y="2"/>
                      <a:pt x="4" y="1"/>
                      <a:pt x="4" y="1"/>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49"/>
              <p:cNvSpPr/>
              <p:nvPr/>
            </p:nvSpPr>
            <p:spPr bwMode="auto">
              <a:xfrm>
                <a:off x="1212" y="3755"/>
                <a:ext cx="7" cy="11"/>
              </a:xfrm>
              <a:custGeom>
                <a:gdLst>
                  <a:gd name="T0" fmla="*/ 3 w 3"/>
                  <a:gd name="T1" fmla="*/ 0 h 5"/>
                  <a:gd name="T2" fmla="*/ 2 w 3"/>
                  <a:gd name="T3" fmla="*/ 1 h 5"/>
                  <a:gd name="T4" fmla="*/ 0 w 3"/>
                  <a:gd name="T5" fmla="*/ 5 h 5"/>
                  <a:gd name="T6" fmla="*/ 2 w 3"/>
                  <a:gd name="T7" fmla="*/ 1 h 5"/>
                  <a:gd name="T8" fmla="*/ 3 w 3"/>
                  <a:gd name="T9" fmla="*/ 0 h 5"/>
                </a:gdLst>
                <a:cxnLst>
                  <a:cxn ang="0">
                    <a:pos x="T0" y="T1"/>
                  </a:cxn>
                  <a:cxn ang="0">
                    <a:pos x="T2" y="T3"/>
                  </a:cxn>
                  <a:cxn ang="0">
                    <a:pos x="T4" y="T5"/>
                  </a:cxn>
                  <a:cxn ang="0">
                    <a:pos x="T6" y="T7"/>
                  </a:cxn>
                  <a:cxn ang="0">
                    <a:pos x="T8" y="T9"/>
                  </a:cxn>
                </a:cxnLst>
                <a:rect l="0" t="0" r="r" b="b"/>
                <a:pathLst>
                  <a:path w="3" h="5">
                    <a:moveTo>
                      <a:pt x="3" y="0"/>
                    </a:moveTo>
                    <a:cubicBezTo>
                      <a:pt x="2" y="1"/>
                      <a:pt x="2" y="1"/>
                      <a:pt x="2" y="1"/>
                    </a:cubicBezTo>
                    <a:cubicBezTo>
                      <a:pt x="1" y="2"/>
                      <a:pt x="1" y="3"/>
                      <a:pt x="0" y="5"/>
                    </a:cubicBezTo>
                    <a:cubicBezTo>
                      <a:pt x="1" y="4"/>
                      <a:pt x="2" y="3"/>
                      <a:pt x="2"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50"/>
              <p:cNvSpPr/>
              <p:nvPr/>
            </p:nvSpPr>
            <p:spPr bwMode="auto">
              <a:xfrm>
                <a:off x="1318" y="3771"/>
                <a:ext cx="35" cy="26"/>
              </a:xfrm>
              <a:custGeom>
                <a:gdLst>
                  <a:gd name="T0" fmla="*/ 7 w 15"/>
                  <a:gd name="T1" fmla="*/ 0 h 11"/>
                  <a:gd name="T2" fmla="*/ 6 w 15"/>
                  <a:gd name="T3" fmla="*/ 0 h 11"/>
                  <a:gd name="T4" fmla="*/ 4 w 15"/>
                  <a:gd name="T5" fmla="*/ 2 h 11"/>
                  <a:gd name="T6" fmla="*/ 0 w 15"/>
                  <a:gd name="T7" fmla="*/ 3 h 11"/>
                  <a:gd name="T8" fmla="*/ 4 w 15"/>
                  <a:gd name="T9" fmla="*/ 9 h 11"/>
                  <a:gd name="T10" fmla="*/ 5 w 15"/>
                  <a:gd name="T11" fmla="*/ 9 h 11"/>
                  <a:gd name="T12" fmla="*/ 6 w 15"/>
                  <a:gd name="T13" fmla="*/ 8 h 11"/>
                  <a:gd name="T14" fmla="*/ 8 w 15"/>
                  <a:gd name="T15" fmla="*/ 7 h 11"/>
                  <a:gd name="T16" fmla="*/ 8 w 15"/>
                  <a:gd name="T17" fmla="*/ 7 h 11"/>
                  <a:gd name="T18" fmla="*/ 11 w 15"/>
                  <a:gd name="T19" fmla="*/ 11 h 11"/>
                  <a:gd name="T20" fmla="*/ 15 w 15"/>
                  <a:gd name="T21" fmla="*/ 9 h 11"/>
                  <a:gd name="T22" fmla="*/ 7 w 15"/>
                  <a:gd name="T2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7" y="0"/>
                    </a:moveTo>
                    <a:cubicBezTo>
                      <a:pt x="7" y="0"/>
                      <a:pt x="6" y="0"/>
                      <a:pt x="6" y="0"/>
                    </a:cubicBezTo>
                    <a:cubicBezTo>
                      <a:pt x="5" y="0"/>
                      <a:pt x="5" y="2"/>
                      <a:pt x="4" y="2"/>
                    </a:cubicBezTo>
                    <a:cubicBezTo>
                      <a:pt x="3" y="3"/>
                      <a:pt x="2" y="3"/>
                      <a:pt x="0" y="3"/>
                    </a:cubicBezTo>
                    <a:cubicBezTo>
                      <a:pt x="2" y="4"/>
                      <a:pt x="2" y="7"/>
                      <a:pt x="4" y="9"/>
                    </a:cubicBezTo>
                    <a:cubicBezTo>
                      <a:pt x="4" y="9"/>
                      <a:pt x="5" y="9"/>
                      <a:pt x="5" y="9"/>
                    </a:cubicBezTo>
                    <a:cubicBezTo>
                      <a:pt x="5" y="9"/>
                      <a:pt x="6" y="9"/>
                      <a:pt x="6" y="8"/>
                    </a:cubicBezTo>
                    <a:cubicBezTo>
                      <a:pt x="6" y="8"/>
                      <a:pt x="7" y="7"/>
                      <a:pt x="8" y="7"/>
                    </a:cubicBezTo>
                    <a:cubicBezTo>
                      <a:pt x="8" y="7"/>
                      <a:pt x="8" y="7"/>
                      <a:pt x="8" y="7"/>
                    </a:cubicBezTo>
                    <a:cubicBezTo>
                      <a:pt x="7" y="8"/>
                      <a:pt x="10" y="10"/>
                      <a:pt x="11" y="11"/>
                    </a:cubicBezTo>
                    <a:cubicBezTo>
                      <a:pt x="13" y="10"/>
                      <a:pt x="14" y="10"/>
                      <a:pt x="15" y="9"/>
                    </a:cubicBezTo>
                    <a:cubicBezTo>
                      <a:pt x="13" y="7"/>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51"/>
              <p:cNvSpPr/>
              <p:nvPr/>
            </p:nvSpPr>
            <p:spPr bwMode="auto">
              <a:xfrm>
                <a:off x="1439" y="3854"/>
                <a:ext cx="71" cy="76"/>
              </a:xfrm>
              <a:custGeom>
                <a:gdLst>
                  <a:gd name="T0" fmla="*/ 6 w 30"/>
                  <a:gd name="T1" fmla="*/ 0 h 32"/>
                  <a:gd name="T2" fmla="*/ 5 w 30"/>
                  <a:gd name="T3" fmla="*/ 4 h 32"/>
                  <a:gd name="T4" fmla="*/ 5 w 30"/>
                  <a:gd name="T5" fmla="*/ 7 h 32"/>
                  <a:gd name="T6" fmla="*/ 2 w 30"/>
                  <a:gd name="T7" fmla="*/ 11 h 32"/>
                  <a:gd name="T8" fmla="*/ 3 w 30"/>
                  <a:gd name="T9" fmla="*/ 17 h 32"/>
                  <a:gd name="T10" fmla="*/ 4 w 30"/>
                  <a:gd name="T11" fmla="*/ 24 h 32"/>
                  <a:gd name="T12" fmla="*/ 10 w 30"/>
                  <a:gd name="T13" fmla="*/ 32 h 32"/>
                  <a:gd name="T14" fmla="*/ 30 w 30"/>
                  <a:gd name="T15" fmla="*/ 18 h 32"/>
                  <a:gd name="T16" fmla="*/ 26 w 30"/>
                  <a:gd name="T17" fmla="*/ 14 h 32"/>
                  <a:gd name="T18" fmla="*/ 24 w 30"/>
                  <a:gd name="T19" fmla="*/ 12 h 32"/>
                  <a:gd name="T20" fmla="*/ 21 w 30"/>
                  <a:gd name="T21" fmla="*/ 7 h 32"/>
                  <a:gd name="T22" fmla="*/ 17 w 30"/>
                  <a:gd name="T23" fmla="*/ 5 h 32"/>
                  <a:gd name="T24" fmla="*/ 10 w 30"/>
                  <a:gd name="T25" fmla="*/ 2 h 32"/>
                  <a:gd name="T26" fmla="*/ 6 w 30"/>
                  <a:gd name="T27"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2">
                    <a:moveTo>
                      <a:pt x="6" y="0"/>
                    </a:moveTo>
                    <a:cubicBezTo>
                      <a:pt x="5" y="0"/>
                      <a:pt x="4" y="1"/>
                      <a:pt x="5" y="4"/>
                    </a:cubicBezTo>
                    <a:cubicBezTo>
                      <a:pt x="6" y="6"/>
                      <a:pt x="6" y="5"/>
                      <a:pt x="5" y="7"/>
                    </a:cubicBezTo>
                    <a:cubicBezTo>
                      <a:pt x="4" y="9"/>
                      <a:pt x="3" y="9"/>
                      <a:pt x="2" y="11"/>
                    </a:cubicBezTo>
                    <a:cubicBezTo>
                      <a:pt x="0" y="13"/>
                      <a:pt x="2" y="14"/>
                      <a:pt x="3" y="17"/>
                    </a:cubicBezTo>
                    <a:cubicBezTo>
                      <a:pt x="4" y="19"/>
                      <a:pt x="5" y="21"/>
                      <a:pt x="4" y="24"/>
                    </a:cubicBezTo>
                    <a:cubicBezTo>
                      <a:pt x="4" y="29"/>
                      <a:pt x="6" y="30"/>
                      <a:pt x="10" y="32"/>
                    </a:cubicBezTo>
                    <a:cubicBezTo>
                      <a:pt x="17" y="27"/>
                      <a:pt x="23" y="22"/>
                      <a:pt x="30" y="18"/>
                    </a:cubicBezTo>
                    <a:cubicBezTo>
                      <a:pt x="28" y="17"/>
                      <a:pt x="27" y="16"/>
                      <a:pt x="26" y="14"/>
                    </a:cubicBezTo>
                    <a:cubicBezTo>
                      <a:pt x="25" y="12"/>
                      <a:pt x="25" y="13"/>
                      <a:pt x="24" y="12"/>
                    </a:cubicBezTo>
                    <a:cubicBezTo>
                      <a:pt x="22" y="10"/>
                      <a:pt x="23" y="8"/>
                      <a:pt x="21" y="7"/>
                    </a:cubicBezTo>
                    <a:cubicBezTo>
                      <a:pt x="19" y="6"/>
                      <a:pt x="18" y="5"/>
                      <a:pt x="17" y="5"/>
                    </a:cubicBezTo>
                    <a:cubicBezTo>
                      <a:pt x="14" y="3"/>
                      <a:pt x="12" y="3"/>
                      <a:pt x="10" y="2"/>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52"/>
              <p:cNvSpPr/>
              <p:nvPr/>
            </p:nvSpPr>
            <p:spPr bwMode="auto">
              <a:xfrm>
                <a:off x="1403" y="3809"/>
                <a:ext cx="43" cy="26"/>
              </a:xfrm>
              <a:custGeom>
                <a:gdLst>
                  <a:gd name="T0" fmla="*/ 5 w 18"/>
                  <a:gd name="T1" fmla="*/ 0 h 11"/>
                  <a:gd name="T2" fmla="*/ 5 w 18"/>
                  <a:gd name="T3" fmla="*/ 1 h 11"/>
                  <a:gd name="T4" fmla="*/ 5 w 18"/>
                  <a:gd name="T5" fmla="*/ 2 h 11"/>
                  <a:gd name="T6" fmla="*/ 3 w 18"/>
                  <a:gd name="T7" fmla="*/ 1 h 11"/>
                  <a:gd name="T8" fmla="*/ 2 w 18"/>
                  <a:gd name="T9" fmla="*/ 1 h 11"/>
                  <a:gd name="T10" fmla="*/ 3 w 18"/>
                  <a:gd name="T11" fmla="*/ 5 h 11"/>
                  <a:gd name="T12" fmla="*/ 4 w 18"/>
                  <a:gd name="T13" fmla="*/ 6 h 11"/>
                  <a:gd name="T14" fmla="*/ 7 w 18"/>
                  <a:gd name="T15" fmla="*/ 7 h 11"/>
                  <a:gd name="T16" fmla="*/ 7 w 18"/>
                  <a:gd name="T17" fmla="*/ 8 h 11"/>
                  <a:gd name="T18" fmla="*/ 10 w 18"/>
                  <a:gd name="T19" fmla="*/ 11 h 11"/>
                  <a:gd name="T20" fmla="*/ 12 w 18"/>
                  <a:gd name="T21" fmla="*/ 10 h 11"/>
                  <a:gd name="T22" fmla="*/ 14 w 18"/>
                  <a:gd name="T23" fmla="*/ 10 h 11"/>
                  <a:gd name="T24" fmla="*/ 17 w 18"/>
                  <a:gd name="T25" fmla="*/ 9 h 11"/>
                  <a:gd name="T26" fmla="*/ 18 w 18"/>
                  <a:gd name="T27" fmla="*/ 7 h 11"/>
                  <a:gd name="T28" fmla="*/ 16 w 18"/>
                  <a:gd name="T29" fmla="*/ 5 h 11"/>
                  <a:gd name="T30" fmla="*/ 12 w 18"/>
                  <a:gd name="T31" fmla="*/ 2 h 11"/>
                  <a:gd name="T32" fmla="*/ 10 w 18"/>
                  <a:gd name="T33" fmla="*/ 2 h 11"/>
                  <a:gd name="T34" fmla="*/ 10 w 18"/>
                  <a:gd name="T35" fmla="*/ 2 h 11"/>
                  <a:gd name="T36" fmla="*/ 10 w 18"/>
                  <a:gd name="T37" fmla="*/ 2 h 11"/>
                  <a:gd name="T38" fmla="*/ 9 w 18"/>
                  <a:gd name="T39" fmla="*/ 2 h 11"/>
                  <a:gd name="T40" fmla="*/ 5 w 18"/>
                  <a:gd name="T41" fmla="*/ 1 h 11"/>
                  <a:gd name="T42" fmla="*/ 5 w 18"/>
                  <a:gd name="T4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1">
                    <a:moveTo>
                      <a:pt x="5" y="0"/>
                    </a:moveTo>
                    <a:cubicBezTo>
                      <a:pt x="5" y="1"/>
                      <a:pt x="5" y="1"/>
                      <a:pt x="5" y="1"/>
                    </a:cubicBezTo>
                    <a:cubicBezTo>
                      <a:pt x="5" y="2"/>
                      <a:pt x="5" y="2"/>
                      <a:pt x="5" y="2"/>
                    </a:cubicBezTo>
                    <a:cubicBezTo>
                      <a:pt x="4" y="1"/>
                      <a:pt x="3" y="1"/>
                      <a:pt x="3" y="1"/>
                    </a:cubicBezTo>
                    <a:cubicBezTo>
                      <a:pt x="2" y="1"/>
                      <a:pt x="2" y="1"/>
                      <a:pt x="2" y="1"/>
                    </a:cubicBezTo>
                    <a:cubicBezTo>
                      <a:pt x="0" y="3"/>
                      <a:pt x="1" y="4"/>
                      <a:pt x="3" y="5"/>
                    </a:cubicBezTo>
                    <a:cubicBezTo>
                      <a:pt x="3" y="5"/>
                      <a:pt x="4" y="6"/>
                      <a:pt x="4" y="6"/>
                    </a:cubicBezTo>
                    <a:cubicBezTo>
                      <a:pt x="5" y="7"/>
                      <a:pt x="6" y="7"/>
                      <a:pt x="7" y="7"/>
                    </a:cubicBezTo>
                    <a:cubicBezTo>
                      <a:pt x="7" y="8"/>
                      <a:pt x="7" y="8"/>
                      <a:pt x="7" y="8"/>
                    </a:cubicBezTo>
                    <a:cubicBezTo>
                      <a:pt x="8" y="10"/>
                      <a:pt x="9" y="11"/>
                      <a:pt x="10" y="11"/>
                    </a:cubicBezTo>
                    <a:cubicBezTo>
                      <a:pt x="10" y="11"/>
                      <a:pt x="11" y="10"/>
                      <a:pt x="12" y="10"/>
                    </a:cubicBezTo>
                    <a:cubicBezTo>
                      <a:pt x="13" y="10"/>
                      <a:pt x="14" y="10"/>
                      <a:pt x="14" y="10"/>
                    </a:cubicBezTo>
                    <a:cubicBezTo>
                      <a:pt x="15" y="9"/>
                      <a:pt x="16" y="9"/>
                      <a:pt x="17" y="9"/>
                    </a:cubicBezTo>
                    <a:cubicBezTo>
                      <a:pt x="17" y="8"/>
                      <a:pt x="18" y="8"/>
                      <a:pt x="18" y="7"/>
                    </a:cubicBezTo>
                    <a:cubicBezTo>
                      <a:pt x="18" y="7"/>
                      <a:pt x="17" y="6"/>
                      <a:pt x="16" y="5"/>
                    </a:cubicBezTo>
                    <a:cubicBezTo>
                      <a:pt x="15" y="4"/>
                      <a:pt x="12" y="3"/>
                      <a:pt x="12" y="2"/>
                    </a:cubicBezTo>
                    <a:cubicBezTo>
                      <a:pt x="11" y="2"/>
                      <a:pt x="11" y="2"/>
                      <a:pt x="10" y="2"/>
                    </a:cubicBezTo>
                    <a:cubicBezTo>
                      <a:pt x="10" y="2"/>
                      <a:pt x="10" y="2"/>
                      <a:pt x="10" y="2"/>
                    </a:cubicBezTo>
                    <a:cubicBezTo>
                      <a:pt x="10" y="2"/>
                      <a:pt x="10" y="2"/>
                      <a:pt x="10" y="2"/>
                    </a:cubicBezTo>
                    <a:cubicBezTo>
                      <a:pt x="10" y="2"/>
                      <a:pt x="9" y="2"/>
                      <a:pt x="9" y="2"/>
                    </a:cubicBezTo>
                    <a:cubicBezTo>
                      <a:pt x="8" y="1"/>
                      <a:pt x="7"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53"/>
              <p:cNvSpPr/>
              <p:nvPr/>
            </p:nvSpPr>
            <p:spPr bwMode="auto">
              <a:xfrm>
                <a:off x="1372" y="3797"/>
                <a:ext cx="33" cy="10"/>
              </a:xfrm>
              <a:custGeom>
                <a:gdLst>
                  <a:gd name="T0" fmla="*/ 2 w 14"/>
                  <a:gd name="T1" fmla="*/ 0 h 4"/>
                  <a:gd name="T2" fmla="*/ 0 w 14"/>
                  <a:gd name="T3" fmla="*/ 3 h 4"/>
                  <a:gd name="T4" fmla="*/ 1 w 14"/>
                  <a:gd name="T5" fmla="*/ 4 h 4"/>
                  <a:gd name="T6" fmla="*/ 3 w 14"/>
                  <a:gd name="T7" fmla="*/ 3 h 4"/>
                  <a:gd name="T8" fmla="*/ 4 w 14"/>
                  <a:gd name="T9" fmla="*/ 3 h 4"/>
                  <a:gd name="T10" fmla="*/ 7 w 14"/>
                  <a:gd name="T11" fmla="*/ 4 h 4"/>
                  <a:gd name="T12" fmla="*/ 14 w 14"/>
                  <a:gd name="T13" fmla="*/ 2 h 4"/>
                  <a:gd name="T14" fmla="*/ 9 w 14"/>
                  <a:gd name="T15" fmla="*/ 1 h 4"/>
                  <a:gd name="T16" fmla="*/ 2 w 14"/>
                  <a:gd name="T17" fmla="*/ 0 h 4"/>
                  <a:gd name="T18" fmla="*/ 2 w 14"/>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
                    <a:moveTo>
                      <a:pt x="2" y="0"/>
                    </a:moveTo>
                    <a:cubicBezTo>
                      <a:pt x="0" y="0"/>
                      <a:pt x="1" y="2"/>
                      <a:pt x="0" y="3"/>
                    </a:cubicBezTo>
                    <a:cubicBezTo>
                      <a:pt x="0" y="4"/>
                      <a:pt x="1" y="4"/>
                      <a:pt x="1" y="4"/>
                    </a:cubicBezTo>
                    <a:cubicBezTo>
                      <a:pt x="2" y="4"/>
                      <a:pt x="2" y="4"/>
                      <a:pt x="3" y="3"/>
                    </a:cubicBezTo>
                    <a:cubicBezTo>
                      <a:pt x="3" y="3"/>
                      <a:pt x="4" y="3"/>
                      <a:pt x="4" y="3"/>
                    </a:cubicBezTo>
                    <a:cubicBezTo>
                      <a:pt x="5" y="3"/>
                      <a:pt x="6" y="4"/>
                      <a:pt x="7" y="4"/>
                    </a:cubicBezTo>
                    <a:cubicBezTo>
                      <a:pt x="9" y="3"/>
                      <a:pt x="12" y="3"/>
                      <a:pt x="14" y="2"/>
                    </a:cubicBezTo>
                    <a:cubicBezTo>
                      <a:pt x="13" y="1"/>
                      <a:pt x="11" y="2"/>
                      <a:pt x="9" y="1"/>
                    </a:cubicBezTo>
                    <a:cubicBezTo>
                      <a:pt x="7" y="1"/>
                      <a:pt x="5"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54"/>
              <p:cNvSpPr/>
              <p:nvPr/>
            </p:nvSpPr>
            <p:spPr bwMode="auto">
              <a:xfrm>
                <a:off x="1233" y="3740"/>
                <a:ext cx="28" cy="19"/>
              </a:xfrm>
              <a:custGeom>
                <a:gdLst>
                  <a:gd name="T0" fmla="*/ 9 w 12"/>
                  <a:gd name="T1" fmla="*/ 0 h 8"/>
                  <a:gd name="T2" fmla="*/ 8 w 12"/>
                  <a:gd name="T3" fmla="*/ 0 h 8"/>
                  <a:gd name="T4" fmla="*/ 5 w 12"/>
                  <a:gd name="T5" fmla="*/ 1 h 8"/>
                  <a:gd name="T6" fmla="*/ 3 w 12"/>
                  <a:gd name="T7" fmla="*/ 3 h 8"/>
                  <a:gd name="T8" fmla="*/ 4 w 12"/>
                  <a:gd name="T9" fmla="*/ 7 h 8"/>
                  <a:gd name="T10" fmla="*/ 4 w 12"/>
                  <a:gd name="T11" fmla="*/ 7 h 8"/>
                  <a:gd name="T12" fmla="*/ 5 w 12"/>
                  <a:gd name="T13" fmla="*/ 7 h 8"/>
                  <a:gd name="T14" fmla="*/ 9 w 12"/>
                  <a:gd name="T15" fmla="*/ 8 h 8"/>
                  <a:gd name="T16" fmla="*/ 12 w 12"/>
                  <a:gd name="T17" fmla="*/ 4 h 8"/>
                  <a:gd name="T18" fmla="*/ 9 w 12"/>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8">
                    <a:moveTo>
                      <a:pt x="9" y="0"/>
                    </a:moveTo>
                    <a:cubicBezTo>
                      <a:pt x="9" y="0"/>
                      <a:pt x="9" y="0"/>
                      <a:pt x="8" y="0"/>
                    </a:cubicBezTo>
                    <a:cubicBezTo>
                      <a:pt x="7" y="0"/>
                      <a:pt x="6" y="1"/>
                      <a:pt x="5" y="1"/>
                    </a:cubicBezTo>
                    <a:cubicBezTo>
                      <a:pt x="4" y="2"/>
                      <a:pt x="3" y="2"/>
                      <a:pt x="3" y="3"/>
                    </a:cubicBezTo>
                    <a:cubicBezTo>
                      <a:pt x="1" y="4"/>
                      <a:pt x="0" y="6"/>
                      <a:pt x="4" y="7"/>
                    </a:cubicBezTo>
                    <a:cubicBezTo>
                      <a:pt x="4" y="7"/>
                      <a:pt x="4" y="7"/>
                      <a:pt x="4" y="7"/>
                    </a:cubicBezTo>
                    <a:cubicBezTo>
                      <a:pt x="5" y="7"/>
                      <a:pt x="5" y="7"/>
                      <a:pt x="5" y="7"/>
                    </a:cubicBezTo>
                    <a:cubicBezTo>
                      <a:pt x="7" y="7"/>
                      <a:pt x="8" y="8"/>
                      <a:pt x="9" y="8"/>
                    </a:cubicBezTo>
                    <a:cubicBezTo>
                      <a:pt x="11" y="8"/>
                      <a:pt x="12" y="7"/>
                      <a:pt x="12" y="4"/>
                    </a:cubicBezTo>
                    <a:cubicBezTo>
                      <a:pt x="12" y="0"/>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55"/>
              <p:cNvSpPr/>
              <p:nvPr/>
            </p:nvSpPr>
            <p:spPr bwMode="auto">
              <a:xfrm>
                <a:off x="6050" y="3759"/>
                <a:ext cx="9" cy="5"/>
              </a:xfrm>
              <a:custGeom>
                <a:gdLst>
                  <a:gd name="T0" fmla="*/ 0 w 4"/>
                  <a:gd name="T1" fmla="*/ 0 h 2"/>
                  <a:gd name="T2" fmla="*/ 4 w 4"/>
                  <a:gd name="T3" fmla="*/ 2 h 2"/>
                  <a:gd name="T4" fmla="*/ 4 w 4"/>
                  <a:gd name="T5" fmla="*/ 2 h 2"/>
                  <a:gd name="T6" fmla="*/ 0 w 4"/>
                  <a:gd name="T7" fmla="*/ 0 h 2"/>
                </a:gdLst>
                <a:cxnLst>
                  <a:cxn ang="0">
                    <a:pos x="T0" y="T1"/>
                  </a:cxn>
                  <a:cxn ang="0">
                    <a:pos x="T2" y="T3"/>
                  </a:cxn>
                  <a:cxn ang="0">
                    <a:pos x="T4" y="T5"/>
                  </a:cxn>
                  <a:cxn ang="0">
                    <a:pos x="T6" y="T7"/>
                  </a:cxn>
                </a:cxnLst>
                <a:rect l="0" t="0" r="r" b="b"/>
                <a:pathLst>
                  <a:path w="4" h="2">
                    <a:moveTo>
                      <a:pt x="0" y="0"/>
                    </a:moveTo>
                    <a:cubicBezTo>
                      <a:pt x="1" y="1"/>
                      <a:pt x="3" y="2"/>
                      <a:pt x="4" y="2"/>
                    </a:cubicBezTo>
                    <a:cubicBezTo>
                      <a:pt x="4" y="2"/>
                      <a:pt x="4" y="2"/>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56"/>
              <p:cNvSpPr/>
              <p:nvPr/>
            </p:nvSpPr>
            <p:spPr bwMode="auto">
              <a:xfrm>
                <a:off x="6062" y="3764"/>
                <a:ext cx="9" cy="2"/>
              </a:xfrm>
              <a:custGeom>
                <a:gdLst>
                  <a:gd name="T0" fmla="*/ 3 w 4"/>
                  <a:gd name="T1" fmla="*/ 0 h 1"/>
                  <a:gd name="T2" fmla="*/ 0 w 4"/>
                  <a:gd name="T3" fmla="*/ 1 h 1"/>
                  <a:gd name="T4" fmla="*/ 4 w 4"/>
                  <a:gd name="T5" fmla="*/ 1 h 1"/>
                  <a:gd name="T6" fmla="*/ 3 w 4"/>
                  <a:gd name="T7" fmla="*/ 0 h 1"/>
                </a:gdLst>
                <a:cxnLst>
                  <a:cxn ang="0">
                    <a:pos x="T0" y="T1"/>
                  </a:cxn>
                  <a:cxn ang="0">
                    <a:pos x="T2" y="T3"/>
                  </a:cxn>
                  <a:cxn ang="0">
                    <a:pos x="T4" y="T5"/>
                  </a:cxn>
                  <a:cxn ang="0">
                    <a:pos x="T6" y="T7"/>
                  </a:cxn>
                </a:cxnLst>
                <a:rect l="0" t="0" r="r" b="b"/>
                <a:pathLst>
                  <a:path w="4" h="1">
                    <a:moveTo>
                      <a:pt x="3" y="0"/>
                    </a:moveTo>
                    <a:cubicBezTo>
                      <a:pt x="2" y="0"/>
                      <a:pt x="1" y="0"/>
                      <a:pt x="0" y="1"/>
                    </a:cubicBezTo>
                    <a:cubicBezTo>
                      <a:pt x="2" y="1"/>
                      <a:pt x="3" y="1"/>
                      <a:pt x="4"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57"/>
              <p:cNvSpPr>
                <a:spLocks noEditPoints="1"/>
              </p:cNvSpPr>
              <p:nvPr/>
            </p:nvSpPr>
            <p:spPr bwMode="auto">
              <a:xfrm>
                <a:off x="6033" y="3764"/>
                <a:ext cx="12" cy="2"/>
              </a:xfrm>
              <a:custGeom>
                <a:gdLst>
                  <a:gd name="T0" fmla="*/ 1 w 5"/>
                  <a:gd name="T1" fmla="*/ 1 h 1"/>
                  <a:gd name="T2" fmla="*/ 0 w 5"/>
                  <a:gd name="T3" fmla="*/ 1 h 1"/>
                  <a:gd name="T4" fmla="*/ 1 w 5"/>
                  <a:gd name="T5" fmla="*/ 1 h 1"/>
                  <a:gd name="T6" fmla="*/ 5 w 5"/>
                  <a:gd name="T7" fmla="*/ 0 h 1"/>
                  <a:gd name="T8" fmla="*/ 1 w 5"/>
                  <a:gd name="T9" fmla="*/ 1 h 1"/>
                  <a:gd name="T10" fmla="*/ 1 w 5"/>
                  <a:gd name="T11" fmla="*/ 1 h 1"/>
                  <a:gd name="T12" fmla="*/ 2 w 5"/>
                  <a:gd name="T13" fmla="*/ 1 h 1"/>
                  <a:gd name="T14" fmla="*/ 3 w 5"/>
                  <a:gd name="T15" fmla="*/ 1 h 1"/>
                  <a:gd name="T16" fmla="*/ 4 w 5"/>
                  <a:gd name="T17" fmla="*/ 1 h 1"/>
                  <a:gd name="T18" fmla="*/ 4 w 5"/>
                  <a:gd name="T19" fmla="*/ 1 h 1"/>
                  <a:gd name="T20" fmla="*/ 5 w 5"/>
                  <a:gd name="T21"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
                    <a:moveTo>
                      <a:pt x="1" y="1"/>
                    </a:moveTo>
                    <a:cubicBezTo>
                      <a:pt x="1" y="1"/>
                      <a:pt x="0" y="1"/>
                      <a:pt x="0" y="1"/>
                    </a:cubicBezTo>
                    <a:cubicBezTo>
                      <a:pt x="0" y="1"/>
                      <a:pt x="1" y="1"/>
                      <a:pt x="1" y="1"/>
                    </a:cubicBezTo>
                    <a:moveTo>
                      <a:pt x="5" y="0"/>
                    </a:moveTo>
                    <a:cubicBezTo>
                      <a:pt x="4" y="1"/>
                      <a:pt x="2" y="1"/>
                      <a:pt x="1" y="1"/>
                    </a:cubicBezTo>
                    <a:cubicBezTo>
                      <a:pt x="1" y="1"/>
                      <a:pt x="1" y="1"/>
                      <a:pt x="1" y="1"/>
                    </a:cubicBezTo>
                    <a:cubicBezTo>
                      <a:pt x="2" y="1"/>
                      <a:pt x="2" y="1"/>
                      <a:pt x="2" y="1"/>
                    </a:cubicBezTo>
                    <a:cubicBezTo>
                      <a:pt x="2" y="1"/>
                      <a:pt x="3" y="1"/>
                      <a:pt x="3" y="1"/>
                    </a:cubicBezTo>
                    <a:cubicBezTo>
                      <a:pt x="3" y="1"/>
                      <a:pt x="4" y="1"/>
                      <a:pt x="4" y="1"/>
                    </a:cubicBezTo>
                    <a:cubicBezTo>
                      <a:pt x="4" y="1"/>
                      <a:pt x="4" y="1"/>
                      <a:pt x="4"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58"/>
              <p:cNvSpPr/>
              <p:nvPr/>
            </p:nvSpPr>
            <p:spPr bwMode="auto">
              <a:xfrm>
                <a:off x="6665" y="4355"/>
                <a:ext cx="19" cy="10"/>
              </a:xfrm>
              <a:custGeom>
                <a:gdLst>
                  <a:gd name="T0" fmla="*/ 7 w 8"/>
                  <a:gd name="T1" fmla="*/ 0 h 4"/>
                  <a:gd name="T2" fmla="*/ 0 w 8"/>
                  <a:gd name="T3" fmla="*/ 4 h 4"/>
                  <a:gd name="T4" fmla="*/ 1 w 8"/>
                  <a:gd name="T5" fmla="*/ 4 h 4"/>
                  <a:gd name="T6" fmla="*/ 4 w 8"/>
                  <a:gd name="T7" fmla="*/ 3 h 4"/>
                  <a:gd name="T8" fmla="*/ 7 w 8"/>
                  <a:gd name="T9" fmla="*/ 0 h 4"/>
                </a:gdLst>
                <a:cxnLst>
                  <a:cxn ang="0">
                    <a:pos x="T0" y="T1"/>
                  </a:cxn>
                  <a:cxn ang="0">
                    <a:pos x="T2" y="T3"/>
                  </a:cxn>
                  <a:cxn ang="0">
                    <a:pos x="T4" y="T5"/>
                  </a:cxn>
                  <a:cxn ang="0">
                    <a:pos x="T6" y="T7"/>
                  </a:cxn>
                  <a:cxn ang="0">
                    <a:pos x="T8" y="T9"/>
                  </a:cxn>
                </a:cxnLst>
                <a:rect l="0" t="0" r="r" b="b"/>
                <a:pathLst>
                  <a:path w="8" h="4">
                    <a:moveTo>
                      <a:pt x="7" y="0"/>
                    </a:moveTo>
                    <a:cubicBezTo>
                      <a:pt x="4" y="1"/>
                      <a:pt x="2" y="2"/>
                      <a:pt x="0" y="4"/>
                    </a:cubicBezTo>
                    <a:cubicBezTo>
                      <a:pt x="0" y="4"/>
                      <a:pt x="0" y="4"/>
                      <a:pt x="1" y="4"/>
                    </a:cubicBezTo>
                    <a:cubicBezTo>
                      <a:pt x="2" y="4"/>
                      <a:pt x="3" y="4"/>
                      <a:pt x="4" y="3"/>
                    </a:cubicBezTo>
                    <a:cubicBezTo>
                      <a:pt x="6" y="3"/>
                      <a:pt x="8"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59"/>
              <p:cNvSpPr/>
              <p:nvPr/>
            </p:nvSpPr>
            <p:spPr bwMode="auto">
              <a:xfrm>
                <a:off x="6650" y="4202"/>
                <a:ext cx="12" cy="21"/>
              </a:xfrm>
              <a:custGeom>
                <a:gdLst>
                  <a:gd name="T0" fmla="*/ 4 w 5"/>
                  <a:gd name="T1" fmla="*/ 0 h 9"/>
                  <a:gd name="T2" fmla="*/ 1 w 5"/>
                  <a:gd name="T3" fmla="*/ 6 h 9"/>
                  <a:gd name="T4" fmla="*/ 3 w 5"/>
                  <a:gd name="T5" fmla="*/ 9 h 9"/>
                  <a:gd name="T6" fmla="*/ 5 w 5"/>
                  <a:gd name="T7" fmla="*/ 5 h 9"/>
                  <a:gd name="T8" fmla="*/ 4 w 5"/>
                  <a:gd name="T9" fmla="*/ 0 h 9"/>
                </a:gdLst>
                <a:cxnLst>
                  <a:cxn ang="0">
                    <a:pos x="T0" y="T1"/>
                  </a:cxn>
                  <a:cxn ang="0">
                    <a:pos x="T2" y="T3"/>
                  </a:cxn>
                  <a:cxn ang="0">
                    <a:pos x="T4" y="T5"/>
                  </a:cxn>
                  <a:cxn ang="0">
                    <a:pos x="T6" y="T7"/>
                  </a:cxn>
                  <a:cxn ang="0">
                    <a:pos x="T8" y="T9"/>
                  </a:cxn>
                </a:cxnLst>
                <a:rect l="0" t="0" r="r" b="b"/>
                <a:pathLst>
                  <a:path w="5" h="9">
                    <a:moveTo>
                      <a:pt x="4" y="0"/>
                    </a:moveTo>
                    <a:cubicBezTo>
                      <a:pt x="3" y="1"/>
                      <a:pt x="0" y="4"/>
                      <a:pt x="1" y="6"/>
                    </a:cubicBezTo>
                    <a:cubicBezTo>
                      <a:pt x="1" y="8"/>
                      <a:pt x="3" y="8"/>
                      <a:pt x="3" y="9"/>
                    </a:cubicBezTo>
                    <a:cubicBezTo>
                      <a:pt x="4" y="8"/>
                      <a:pt x="4" y="6"/>
                      <a:pt x="5" y="5"/>
                    </a:cubicBezTo>
                    <a:cubicBezTo>
                      <a:pt x="5" y="3"/>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60"/>
              <p:cNvSpPr/>
              <p:nvPr/>
            </p:nvSpPr>
            <p:spPr bwMode="auto">
              <a:xfrm>
                <a:off x="6553" y="4017"/>
                <a:ext cx="10" cy="7"/>
              </a:xfrm>
              <a:custGeom>
                <a:gdLst>
                  <a:gd name="T0" fmla="*/ 0 w 4"/>
                  <a:gd name="T1" fmla="*/ 0 h 3"/>
                  <a:gd name="T2" fmla="*/ 4 w 4"/>
                  <a:gd name="T3" fmla="*/ 3 h 3"/>
                  <a:gd name="T4" fmla="*/ 0 w 4"/>
                  <a:gd name="T5" fmla="*/ 0 h 3"/>
                </a:gdLst>
                <a:cxnLst>
                  <a:cxn ang="0">
                    <a:pos x="T0" y="T1"/>
                  </a:cxn>
                  <a:cxn ang="0">
                    <a:pos x="T2" y="T3"/>
                  </a:cxn>
                  <a:cxn ang="0">
                    <a:pos x="T4" y="T5"/>
                  </a:cxn>
                </a:cxnLst>
                <a:rect l="0" t="0" r="r" b="b"/>
                <a:pathLst>
                  <a:path w="4" h="3">
                    <a:moveTo>
                      <a:pt x="0" y="0"/>
                    </a:moveTo>
                    <a:cubicBezTo>
                      <a:pt x="0" y="1"/>
                      <a:pt x="3" y="2"/>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61"/>
              <p:cNvSpPr/>
              <p:nvPr/>
            </p:nvSpPr>
            <p:spPr bwMode="auto">
              <a:xfrm>
                <a:off x="6312" y="3953"/>
                <a:ext cx="92" cy="33"/>
              </a:xfrm>
              <a:custGeom>
                <a:gdLst>
                  <a:gd name="T0" fmla="*/ 4 w 39"/>
                  <a:gd name="T1" fmla="*/ 0 h 14"/>
                  <a:gd name="T2" fmla="*/ 1 w 39"/>
                  <a:gd name="T3" fmla="*/ 4 h 14"/>
                  <a:gd name="T4" fmla="*/ 2 w 39"/>
                  <a:gd name="T5" fmla="*/ 9 h 14"/>
                  <a:gd name="T6" fmla="*/ 6 w 39"/>
                  <a:gd name="T7" fmla="*/ 13 h 14"/>
                  <a:gd name="T8" fmla="*/ 6 w 39"/>
                  <a:gd name="T9" fmla="*/ 13 h 14"/>
                  <a:gd name="T10" fmla="*/ 11 w 39"/>
                  <a:gd name="T11" fmla="*/ 13 h 14"/>
                  <a:gd name="T12" fmla="*/ 14 w 39"/>
                  <a:gd name="T13" fmla="*/ 12 h 14"/>
                  <a:gd name="T14" fmla="*/ 23 w 39"/>
                  <a:gd name="T15" fmla="*/ 13 h 14"/>
                  <a:gd name="T16" fmla="*/ 25 w 39"/>
                  <a:gd name="T17" fmla="*/ 14 h 14"/>
                  <a:gd name="T18" fmla="*/ 34 w 39"/>
                  <a:gd name="T19" fmla="*/ 11 h 14"/>
                  <a:gd name="T20" fmla="*/ 35 w 39"/>
                  <a:gd name="T21" fmla="*/ 3 h 14"/>
                  <a:gd name="T22" fmla="*/ 29 w 39"/>
                  <a:gd name="T23" fmla="*/ 1 h 14"/>
                  <a:gd name="T24" fmla="*/ 29 w 39"/>
                  <a:gd name="T25" fmla="*/ 1 h 14"/>
                  <a:gd name="T26" fmla="*/ 28 w 39"/>
                  <a:gd name="T27" fmla="*/ 2 h 14"/>
                  <a:gd name="T28" fmla="*/ 27 w 39"/>
                  <a:gd name="T29" fmla="*/ 2 h 14"/>
                  <a:gd name="T30" fmla="*/ 27 w 39"/>
                  <a:gd name="T31" fmla="*/ 2 h 14"/>
                  <a:gd name="T32" fmla="*/ 26 w 39"/>
                  <a:gd name="T33" fmla="*/ 1 h 14"/>
                  <a:gd name="T34" fmla="*/ 21 w 39"/>
                  <a:gd name="T35" fmla="*/ 1 h 14"/>
                  <a:gd name="T36" fmla="*/ 4 w 39"/>
                  <a:gd name="T3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4">
                    <a:moveTo>
                      <a:pt x="4" y="0"/>
                    </a:moveTo>
                    <a:cubicBezTo>
                      <a:pt x="3" y="2"/>
                      <a:pt x="0" y="2"/>
                      <a:pt x="1" y="4"/>
                    </a:cubicBezTo>
                    <a:cubicBezTo>
                      <a:pt x="1" y="6"/>
                      <a:pt x="2" y="8"/>
                      <a:pt x="2" y="9"/>
                    </a:cubicBezTo>
                    <a:cubicBezTo>
                      <a:pt x="3" y="12"/>
                      <a:pt x="3" y="13"/>
                      <a:pt x="6" y="13"/>
                    </a:cubicBezTo>
                    <a:cubicBezTo>
                      <a:pt x="6" y="13"/>
                      <a:pt x="6" y="13"/>
                      <a:pt x="6" y="13"/>
                    </a:cubicBezTo>
                    <a:cubicBezTo>
                      <a:pt x="8" y="13"/>
                      <a:pt x="9" y="13"/>
                      <a:pt x="11" y="13"/>
                    </a:cubicBezTo>
                    <a:cubicBezTo>
                      <a:pt x="12" y="12"/>
                      <a:pt x="13" y="12"/>
                      <a:pt x="14" y="12"/>
                    </a:cubicBezTo>
                    <a:cubicBezTo>
                      <a:pt x="18" y="12"/>
                      <a:pt x="21" y="13"/>
                      <a:pt x="23" y="13"/>
                    </a:cubicBezTo>
                    <a:cubicBezTo>
                      <a:pt x="24" y="13"/>
                      <a:pt x="24" y="14"/>
                      <a:pt x="25" y="14"/>
                    </a:cubicBezTo>
                    <a:cubicBezTo>
                      <a:pt x="28" y="14"/>
                      <a:pt x="32" y="12"/>
                      <a:pt x="34" y="11"/>
                    </a:cubicBezTo>
                    <a:cubicBezTo>
                      <a:pt x="37" y="7"/>
                      <a:pt x="39" y="5"/>
                      <a:pt x="35" y="3"/>
                    </a:cubicBezTo>
                    <a:cubicBezTo>
                      <a:pt x="33" y="2"/>
                      <a:pt x="31" y="2"/>
                      <a:pt x="29" y="1"/>
                    </a:cubicBezTo>
                    <a:cubicBezTo>
                      <a:pt x="29" y="1"/>
                      <a:pt x="29" y="1"/>
                      <a:pt x="29" y="1"/>
                    </a:cubicBezTo>
                    <a:cubicBezTo>
                      <a:pt x="29" y="1"/>
                      <a:pt x="28" y="1"/>
                      <a:pt x="28" y="2"/>
                    </a:cubicBezTo>
                    <a:cubicBezTo>
                      <a:pt x="28" y="2"/>
                      <a:pt x="27" y="2"/>
                      <a:pt x="27" y="2"/>
                    </a:cubicBezTo>
                    <a:cubicBezTo>
                      <a:pt x="27" y="2"/>
                      <a:pt x="27" y="2"/>
                      <a:pt x="27" y="2"/>
                    </a:cubicBezTo>
                    <a:cubicBezTo>
                      <a:pt x="26" y="1"/>
                      <a:pt x="26" y="1"/>
                      <a:pt x="26" y="1"/>
                    </a:cubicBezTo>
                    <a:cubicBezTo>
                      <a:pt x="24" y="1"/>
                      <a:pt x="22" y="1"/>
                      <a:pt x="21" y="1"/>
                    </a:cubicBezTo>
                    <a:cubicBezTo>
                      <a:pt x="15" y="1"/>
                      <a:pt x="9"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62"/>
              <p:cNvSpPr/>
              <p:nvPr/>
            </p:nvSpPr>
            <p:spPr bwMode="auto">
              <a:xfrm>
                <a:off x="6404" y="3975"/>
                <a:ext cx="12" cy="2"/>
              </a:xfrm>
              <a:custGeom>
                <a:gdLst>
                  <a:gd name="T0" fmla="*/ 5 w 5"/>
                  <a:gd name="T1" fmla="*/ 0 h 1"/>
                  <a:gd name="T2" fmla="*/ 0 w 5"/>
                  <a:gd name="T3" fmla="*/ 0 h 1"/>
                  <a:gd name="T4" fmla="*/ 3 w 5"/>
                  <a:gd name="T5" fmla="*/ 1 h 1"/>
                  <a:gd name="T6" fmla="*/ 5 w 5"/>
                  <a:gd name="T7" fmla="*/ 0 h 1"/>
                </a:gdLst>
                <a:cxnLst>
                  <a:cxn ang="0">
                    <a:pos x="T0" y="T1"/>
                  </a:cxn>
                  <a:cxn ang="0">
                    <a:pos x="T2" y="T3"/>
                  </a:cxn>
                  <a:cxn ang="0">
                    <a:pos x="T4" y="T5"/>
                  </a:cxn>
                  <a:cxn ang="0">
                    <a:pos x="T6" y="T7"/>
                  </a:cxn>
                </a:cxnLst>
                <a:rect l="0" t="0" r="r" b="b"/>
                <a:pathLst>
                  <a:path w="5" h="1">
                    <a:moveTo>
                      <a:pt x="5" y="0"/>
                    </a:moveTo>
                    <a:cubicBezTo>
                      <a:pt x="3" y="0"/>
                      <a:pt x="2" y="0"/>
                      <a:pt x="0" y="0"/>
                    </a:cubicBezTo>
                    <a:cubicBezTo>
                      <a:pt x="1" y="1"/>
                      <a:pt x="2" y="1"/>
                      <a:pt x="3" y="1"/>
                    </a:cubicBezTo>
                    <a:cubicBezTo>
                      <a:pt x="4" y="1"/>
                      <a:pt x="4"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63"/>
              <p:cNvSpPr/>
              <p:nvPr/>
            </p:nvSpPr>
            <p:spPr bwMode="auto">
              <a:xfrm>
                <a:off x="6589" y="4048"/>
                <a:ext cx="2" cy="9"/>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1"/>
                      <a:pt x="0" y="3"/>
                      <a:pt x="0"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64"/>
              <p:cNvSpPr/>
              <p:nvPr/>
            </p:nvSpPr>
            <p:spPr bwMode="auto">
              <a:xfrm>
                <a:off x="6641" y="4157"/>
                <a:ext cx="26" cy="23"/>
              </a:xfrm>
              <a:custGeom>
                <a:gdLst>
                  <a:gd name="T0" fmla="*/ 3 w 11"/>
                  <a:gd name="T1" fmla="*/ 0 h 10"/>
                  <a:gd name="T2" fmla="*/ 3 w 11"/>
                  <a:gd name="T3" fmla="*/ 6 h 10"/>
                  <a:gd name="T4" fmla="*/ 6 w 11"/>
                  <a:gd name="T5" fmla="*/ 9 h 10"/>
                  <a:gd name="T6" fmla="*/ 5 w 11"/>
                  <a:gd name="T7" fmla="*/ 8 h 10"/>
                  <a:gd name="T8" fmla="*/ 5 w 11"/>
                  <a:gd name="T9" fmla="*/ 10 h 10"/>
                  <a:gd name="T10" fmla="*/ 7 w 11"/>
                  <a:gd name="T11" fmla="*/ 10 h 10"/>
                  <a:gd name="T12" fmla="*/ 8 w 11"/>
                  <a:gd name="T13" fmla="*/ 10 h 10"/>
                  <a:gd name="T14" fmla="*/ 9 w 11"/>
                  <a:gd name="T15" fmla="*/ 10 h 10"/>
                  <a:gd name="T16" fmla="*/ 11 w 11"/>
                  <a:gd name="T17" fmla="*/ 10 h 10"/>
                  <a:gd name="T18" fmla="*/ 3 w 11"/>
                  <a:gd name="T19" fmla="*/ 1 h 10"/>
                  <a:gd name="T20" fmla="*/ 3 w 11"/>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3" y="0"/>
                    </a:moveTo>
                    <a:cubicBezTo>
                      <a:pt x="0" y="0"/>
                      <a:pt x="2" y="5"/>
                      <a:pt x="3" y="6"/>
                    </a:cubicBezTo>
                    <a:cubicBezTo>
                      <a:pt x="3" y="7"/>
                      <a:pt x="8" y="9"/>
                      <a:pt x="6" y="9"/>
                    </a:cubicBezTo>
                    <a:cubicBezTo>
                      <a:pt x="5" y="9"/>
                      <a:pt x="5" y="9"/>
                      <a:pt x="5" y="8"/>
                    </a:cubicBezTo>
                    <a:cubicBezTo>
                      <a:pt x="5" y="9"/>
                      <a:pt x="5" y="10"/>
                      <a:pt x="5" y="10"/>
                    </a:cubicBezTo>
                    <a:cubicBezTo>
                      <a:pt x="6" y="10"/>
                      <a:pt x="6" y="10"/>
                      <a:pt x="7" y="10"/>
                    </a:cubicBezTo>
                    <a:cubicBezTo>
                      <a:pt x="7" y="10"/>
                      <a:pt x="8" y="10"/>
                      <a:pt x="8" y="10"/>
                    </a:cubicBezTo>
                    <a:cubicBezTo>
                      <a:pt x="8" y="10"/>
                      <a:pt x="9" y="10"/>
                      <a:pt x="9" y="10"/>
                    </a:cubicBezTo>
                    <a:cubicBezTo>
                      <a:pt x="10" y="10"/>
                      <a:pt x="10" y="10"/>
                      <a:pt x="11" y="10"/>
                    </a:cubicBezTo>
                    <a:cubicBezTo>
                      <a:pt x="10" y="6"/>
                      <a:pt x="7" y="2"/>
                      <a:pt x="3" y="1"/>
                    </a:cubicBezTo>
                    <a:cubicBezTo>
                      <a:pt x="3"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65"/>
              <p:cNvSpPr/>
              <p:nvPr/>
            </p:nvSpPr>
            <p:spPr bwMode="auto">
              <a:xfrm>
                <a:off x="5705" y="3953"/>
                <a:ext cx="118" cy="45"/>
              </a:xfrm>
              <a:custGeom>
                <a:gdLst>
                  <a:gd name="T0" fmla="*/ 14 w 50"/>
                  <a:gd name="T1" fmla="*/ 0 h 19"/>
                  <a:gd name="T2" fmla="*/ 0 w 50"/>
                  <a:gd name="T3" fmla="*/ 5 h 19"/>
                  <a:gd name="T4" fmla="*/ 21 w 50"/>
                  <a:gd name="T5" fmla="*/ 16 h 19"/>
                  <a:gd name="T6" fmla="*/ 27 w 50"/>
                  <a:gd name="T7" fmla="*/ 19 h 19"/>
                  <a:gd name="T8" fmla="*/ 28 w 50"/>
                  <a:gd name="T9" fmla="*/ 19 h 19"/>
                  <a:gd name="T10" fmla="*/ 26 w 50"/>
                  <a:gd name="T11" fmla="*/ 18 h 19"/>
                  <a:gd name="T12" fmla="*/ 28 w 50"/>
                  <a:gd name="T13" fmla="*/ 15 h 19"/>
                  <a:gd name="T14" fmla="*/ 33 w 50"/>
                  <a:gd name="T15" fmla="*/ 14 h 19"/>
                  <a:gd name="T16" fmla="*/ 35 w 50"/>
                  <a:gd name="T17" fmla="*/ 13 h 19"/>
                  <a:gd name="T18" fmla="*/ 40 w 50"/>
                  <a:gd name="T19" fmla="*/ 14 h 19"/>
                  <a:gd name="T20" fmla="*/ 46 w 50"/>
                  <a:gd name="T21" fmla="*/ 15 h 19"/>
                  <a:gd name="T22" fmla="*/ 50 w 50"/>
                  <a:gd name="T23" fmla="*/ 15 h 19"/>
                  <a:gd name="T24" fmla="*/ 33 w 50"/>
                  <a:gd name="T25" fmla="*/ 4 h 19"/>
                  <a:gd name="T26" fmla="*/ 14 w 50"/>
                  <a:gd name="T27"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9">
                    <a:moveTo>
                      <a:pt x="14" y="0"/>
                    </a:moveTo>
                    <a:cubicBezTo>
                      <a:pt x="9" y="1"/>
                      <a:pt x="5" y="3"/>
                      <a:pt x="0" y="5"/>
                    </a:cubicBezTo>
                    <a:cubicBezTo>
                      <a:pt x="6" y="9"/>
                      <a:pt x="14" y="15"/>
                      <a:pt x="21" y="16"/>
                    </a:cubicBezTo>
                    <a:cubicBezTo>
                      <a:pt x="23" y="16"/>
                      <a:pt x="25" y="19"/>
                      <a:pt x="27" y="19"/>
                    </a:cubicBezTo>
                    <a:cubicBezTo>
                      <a:pt x="27" y="19"/>
                      <a:pt x="28" y="19"/>
                      <a:pt x="28" y="19"/>
                    </a:cubicBezTo>
                    <a:cubicBezTo>
                      <a:pt x="26" y="18"/>
                      <a:pt x="26" y="18"/>
                      <a:pt x="26" y="18"/>
                    </a:cubicBezTo>
                    <a:cubicBezTo>
                      <a:pt x="27" y="17"/>
                      <a:pt x="27" y="16"/>
                      <a:pt x="28" y="15"/>
                    </a:cubicBezTo>
                    <a:cubicBezTo>
                      <a:pt x="29" y="14"/>
                      <a:pt x="32" y="14"/>
                      <a:pt x="33" y="14"/>
                    </a:cubicBezTo>
                    <a:cubicBezTo>
                      <a:pt x="34" y="13"/>
                      <a:pt x="35" y="13"/>
                      <a:pt x="35" y="13"/>
                    </a:cubicBezTo>
                    <a:cubicBezTo>
                      <a:pt x="37" y="13"/>
                      <a:pt x="38" y="14"/>
                      <a:pt x="40" y="14"/>
                    </a:cubicBezTo>
                    <a:cubicBezTo>
                      <a:pt x="42" y="15"/>
                      <a:pt x="44" y="15"/>
                      <a:pt x="46" y="15"/>
                    </a:cubicBezTo>
                    <a:cubicBezTo>
                      <a:pt x="47" y="15"/>
                      <a:pt x="48" y="15"/>
                      <a:pt x="50" y="15"/>
                    </a:cubicBezTo>
                    <a:cubicBezTo>
                      <a:pt x="48" y="9"/>
                      <a:pt x="38" y="6"/>
                      <a:pt x="33" y="4"/>
                    </a:cubicBezTo>
                    <a:cubicBezTo>
                      <a:pt x="27" y="1"/>
                      <a:pt x="20"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66"/>
              <p:cNvSpPr/>
              <p:nvPr/>
            </p:nvSpPr>
            <p:spPr bwMode="auto">
              <a:xfrm>
                <a:off x="5286" y="4067"/>
                <a:ext cx="7" cy="5"/>
              </a:xfrm>
              <a:custGeom>
                <a:gdLst>
                  <a:gd name="T0" fmla="*/ 3 w 3"/>
                  <a:gd name="T1" fmla="*/ 0 h 2"/>
                  <a:gd name="T2" fmla="*/ 0 w 3"/>
                  <a:gd name="T3" fmla="*/ 2 h 2"/>
                  <a:gd name="T4" fmla="*/ 3 w 3"/>
                  <a:gd name="T5" fmla="*/ 0 h 2"/>
                  <a:gd name="T6" fmla="*/ 3 w 3"/>
                  <a:gd name="T7" fmla="*/ 0 h 2"/>
                </a:gdLst>
                <a:cxnLst>
                  <a:cxn ang="0">
                    <a:pos x="T0" y="T1"/>
                  </a:cxn>
                  <a:cxn ang="0">
                    <a:pos x="T2" y="T3"/>
                  </a:cxn>
                  <a:cxn ang="0">
                    <a:pos x="T4" y="T5"/>
                  </a:cxn>
                  <a:cxn ang="0">
                    <a:pos x="T6" y="T7"/>
                  </a:cxn>
                </a:cxnLst>
                <a:rect l="0" t="0" r="r" b="b"/>
                <a:pathLst>
                  <a:path w="3" h="2">
                    <a:moveTo>
                      <a:pt x="3" y="0"/>
                    </a:moveTo>
                    <a:cubicBezTo>
                      <a:pt x="1" y="0"/>
                      <a:pt x="1" y="1"/>
                      <a:pt x="0" y="2"/>
                    </a:cubicBezTo>
                    <a:cubicBezTo>
                      <a:pt x="1" y="1"/>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67"/>
              <p:cNvSpPr/>
              <p:nvPr/>
            </p:nvSpPr>
            <p:spPr bwMode="auto">
              <a:xfrm>
                <a:off x="5981" y="3930"/>
                <a:ext cx="31" cy="11"/>
              </a:xfrm>
              <a:custGeom>
                <a:gdLst>
                  <a:gd name="T0" fmla="*/ 1 w 13"/>
                  <a:gd name="T1" fmla="*/ 0 h 5"/>
                  <a:gd name="T2" fmla="*/ 0 w 13"/>
                  <a:gd name="T3" fmla="*/ 0 h 5"/>
                  <a:gd name="T4" fmla="*/ 8 w 13"/>
                  <a:gd name="T5" fmla="*/ 4 h 5"/>
                  <a:gd name="T6" fmla="*/ 11 w 13"/>
                  <a:gd name="T7" fmla="*/ 5 h 5"/>
                  <a:gd name="T8" fmla="*/ 1 w 13"/>
                  <a:gd name="T9" fmla="*/ 0 h 5"/>
                </a:gdLst>
                <a:cxnLst>
                  <a:cxn ang="0">
                    <a:pos x="T0" y="T1"/>
                  </a:cxn>
                  <a:cxn ang="0">
                    <a:pos x="T2" y="T3"/>
                  </a:cxn>
                  <a:cxn ang="0">
                    <a:pos x="T4" y="T5"/>
                  </a:cxn>
                  <a:cxn ang="0">
                    <a:pos x="T6" y="T7"/>
                  </a:cxn>
                  <a:cxn ang="0">
                    <a:pos x="T8" y="T9"/>
                  </a:cxn>
                </a:cxnLst>
                <a:rect l="0" t="0" r="r" b="b"/>
                <a:pathLst>
                  <a:path w="13" h="5">
                    <a:moveTo>
                      <a:pt x="1" y="0"/>
                    </a:moveTo>
                    <a:cubicBezTo>
                      <a:pt x="1" y="0"/>
                      <a:pt x="0" y="0"/>
                      <a:pt x="0" y="0"/>
                    </a:cubicBezTo>
                    <a:cubicBezTo>
                      <a:pt x="1" y="2"/>
                      <a:pt x="6" y="4"/>
                      <a:pt x="8" y="4"/>
                    </a:cubicBezTo>
                    <a:cubicBezTo>
                      <a:pt x="9" y="5"/>
                      <a:pt x="10" y="5"/>
                      <a:pt x="11" y="5"/>
                    </a:cubicBezTo>
                    <a:cubicBezTo>
                      <a:pt x="13" y="1"/>
                      <a:pt x="5"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68"/>
              <p:cNvSpPr/>
              <p:nvPr/>
            </p:nvSpPr>
            <p:spPr bwMode="auto">
              <a:xfrm>
                <a:off x="6000" y="3863"/>
                <a:ext cx="19" cy="5"/>
              </a:xfrm>
              <a:custGeom>
                <a:gdLst>
                  <a:gd name="T0" fmla="*/ 0 w 8"/>
                  <a:gd name="T1" fmla="*/ 0 h 2"/>
                  <a:gd name="T2" fmla="*/ 2 w 8"/>
                  <a:gd name="T3" fmla="*/ 1 h 2"/>
                  <a:gd name="T4" fmla="*/ 7 w 8"/>
                  <a:gd name="T5" fmla="*/ 2 h 2"/>
                  <a:gd name="T6" fmla="*/ 8 w 8"/>
                  <a:gd name="T7" fmla="*/ 2 h 2"/>
                  <a:gd name="T8" fmla="*/ 8 w 8"/>
                  <a:gd name="T9" fmla="*/ 2 h 2"/>
                  <a:gd name="T10" fmla="*/ 8 w 8"/>
                  <a:gd name="T11" fmla="*/ 2 h 2"/>
                  <a:gd name="T12" fmla="*/ 7 w 8"/>
                  <a:gd name="T13" fmla="*/ 2 h 2"/>
                  <a:gd name="T14" fmla="*/ 6 w 8"/>
                  <a:gd name="T15" fmla="*/ 2 h 2"/>
                  <a:gd name="T16" fmla="*/ 5 w 8"/>
                  <a:gd name="T17" fmla="*/ 2 h 2"/>
                  <a:gd name="T18" fmla="*/ 0 w 8"/>
                  <a:gd name="T19"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
                    <a:moveTo>
                      <a:pt x="0" y="0"/>
                    </a:moveTo>
                    <a:cubicBezTo>
                      <a:pt x="0" y="1"/>
                      <a:pt x="1" y="1"/>
                      <a:pt x="2" y="1"/>
                    </a:cubicBezTo>
                    <a:cubicBezTo>
                      <a:pt x="4" y="2"/>
                      <a:pt x="6" y="2"/>
                      <a:pt x="7" y="2"/>
                    </a:cubicBezTo>
                    <a:cubicBezTo>
                      <a:pt x="8" y="2"/>
                      <a:pt x="8" y="2"/>
                      <a:pt x="8" y="2"/>
                    </a:cubicBezTo>
                    <a:cubicBezTo>
                      <a:pt x="8" y="2"/>
                      <a:pt x="8" y="2"/>
                      <a:pt x="8" y="2"/>
                    </a:cubicBezTo>
                    <a:cubicBezTo>
                      <a:pt x="8" y="2"/>
                      <a:pt x="8" y="2"/>
                      <a:pt x="8" y="2"/>
                    </a:cubicBezTo>
                    <a:cubicBezTo>
                      <a:pt x="7" y="2"/>
                      <a:pt x="7" y="2"/>
                      <a:pt x="7" y="2"/>
                    </a:cubicBezTo>
                    <a:cubicBezTo>
                      <a:pt x="6" y="2"/>
                      <a:pt x="6" y="2"/>
                      <a:pt x="6" y="2"/>
                    </a:cubicBezTo>
                    <a:cubicBezTo>
                      <a:pt x="6" y="2"/>
                      <a:pt x="5" y="2"/>
                      <a:pt x="5" y="2"/>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69"/>
              <p:cNvSpPr/>
              <p:nvPr/>
            </p:nvSpPr>
            <p:spPr bwMode="auto">
              <a:xfrm>
                <a:off x="6622" y="4069"/>
                <a:ext cx="24" cy="14"/>
              </a:xfrm>
              <a:custGeom>
                <a:gdLst>
                  <a:gd name="T0" fmla="*/ 5 w 10"/>
                  <a:gd name="T1" fmla="*/ 0 h 6"/>
                  <a:gd name="T2" fmla="*/ 3 w 10"/>
                  <a:gd name="T3" fmla="*/ 6 h 6"/>
                  <a:gd name="T4" fmla="*/ 4 w 10"/>
                  <a:gd name="T5" fmla="*/ 6 h 6"/>
                  <a:gd name="T6" fmla="*/ 7 w 10"/>
                  <a:gd name="T7" fmla="*/ 5 h 6"/>
                  <a:gd name="T8" fmla="*/ 9 w 10"/>
                  <a:gd name="T9" fmla="*/ 5 h 6"/>
                  <a:gd name="T10" fmla="*/ 10 w 10"/>
                  <a:gd name="T11" fmla="*/ 5 h 6"/>
                  <a:gd name="T12" fmla="*/ 5 w 10"/>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10" h="6">
                    <a:moveTo>
                      <a:pt x="5" y="0"/>
                    </a:moveTo>
                    <a:cubicBezTo>
                      <a:pt x="3" y="1"/>
                      <a:pt x="0" y="5"/>
                      <a:pt x="3" y="6"/>
                    </a:cubicBezTo>
                    <a:cubicBezTo>
                      <a:pt x="4" y="6"/>
                      <a:pt x="4" y="6"/>
                      <a:pt x="4" y="6"/>
                    </a:cubicBezTo>
                    <a:cubicBezTo>
                      <a:pt x="5" y="6"/>
                      <a:pt x="6" y="6"/>
                      <a:pt x="7" y="5"/>
                    </a:cubicBezTo>
                    <a:cubicBezTo>
                      <a:pt x="7" y="5"/>
                      <a:pt x="8" y="5"/>
                      <a:pt x="9" y="5"/>
                    </a:cubicBezTo>
                    <a:cubicBezTo>
                      <a:pt x="10" y="5"/>
                      <a:pt x="10" y="5"/>
                      <a:pt x="10" y="5"/>
                    </a:cubicBezTo>
                    <a:cubicBezTo>
                      <a:pt x="9" y="4"/>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70"/>
              <p:cNvSpPr/>
              <p:nvPr/>
            </p:nvSpPr>
            <p:spPr bwMode="auto">
              <a:xfrm>
                <a:off x="6639" y="4098"/>
                <a:ext cx="4" cy="4"/>
              </a:xfrm>
              <a:custGeom>
                <a:gdLst>
                  <a:gd name="T0" fmla="*/ 2 w 2"/>
                  <a:gd name="T1" fmla="*/ 0 h 2"/>
                  <a:gd name="T2" fmla="*/ 0 w 2"/>
                  <a:gd name="T3" fmla="*/ 0 h 2"/>
                  <a:gd name="T4" fmla="*/ 1 w 2"/>
                  <a:gd name="T5" fmla="*/ 2 h 2"/>
                  <a:gd name="T6" fmla="*/ 2 w 2"/>
                  <a:gd name="T7" fmla="*/ 0 h 2"/>
                  <a:gd name="T8" fmla="*/ 2 w 2"/>
                  <a:gd name="T9" fmla="*/ 0 h 2"/>
                </a:gdLst>
                <a:cxnLst>
                  <a:cxn ang="0">
                    <a:pos x="T0" y="T1"/>
                  </a:cxn>
                  <a:cxn ang="0">
                    <a:pos x="T2" y="T3"/>
                  </a:cxn>
                  <a:cxn ang="0">
                    <a:pos x="T4" y="T5"/>
                  </a:cxn>
                  <a:cxn ang="0">
                    <a:pos x="T6" y="T7"/>
                  </a:cxn>
                  <a:cxn ang="0">
                    <a:pos x="T8" y="T9"/>
                  </a:cxn>
                </a:cxnLst>
                <a:rect l="0" t="0" r="r" b="b"/>
                <a:pathLst>
                  <a:path w="2" h="2">
                    <a:moveTo>
                      <a:pt x="2" y="0"/>
                    </a:moveTo>
                    <a:cubicBezTo>
                      <a:pt x="1" y="0"/>
                      <a:pt x="1" y="0"/>
                      <a:pt x="0" y="0"/>
                    </a:cubicBezTo>
                    <a:cubicBezTo>
                      <a:pt x="0" y="1"/>
                      <a:pt x="1" y="1"/>
                      <a:pt x="1" y="2"/>
                    </a:cubicBezTo>
                    <a:cubicBezTo>
                      <a:pt x="2" y="1"/>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71"/>
              <p:cNvSpPr/>
              <p:nvPr/>
            </p:nvSpPr>
            <p:spPr bwMode="auto">
              <a:xfrm>
                <a:off x="6613" y="4079"/>
                <a:ext cx="14" cy="16"/>
              </a:xfrm>
              <a:custGeom>
                <a:gdLst>
                  <a:gd name="T0" fmla="*/ 4 w 6"/>
                  <a:gd name="T1" fmla="*/ 0 h 7"/>
                  <a:gd name="T2" fmla="*/ 0 w 6"/>
                  <a:gd name="T3" fmla="*/ 1 h 7"/>
                  <a:gd name="T4" fmla="*/ 3 w 6"/>
                  <a:gd name="T5" fmla="*/ 7 h 7"/>
                  <a:gd name="T6" fmla="*/ 4 w 6"/>
                  <a:gd name="T7" fmla="*/ 7 h 7"/>
                  <a:gd name="T8" fmla="*/ 4 w 6"/>
                  <a:gd name="T9" fmla="*/ 0 h 7"/>
                </a:gdLst>
                <a:cxnLst>
                  <a:cxn ang="0">
                    <a:pos x="T0" y="T1"/>
                  </a:cxn>
                  <a:cxn ang="0">
                    <a:pos x="T2" y="T3"/>
                  </a:cxn>
                  <a:cxn ang="0">
                    <a:pos x="T4" y="T5"/>
                  </a:cxn>
                  <a:cxn ang="0">
                    <a:pos x="T6" y="T7"/>
                  </a:cxn>
                  <a:cxn ang="0">
                    <a:pos x="T8" y="T9"/>
                  </a:cxn>
                </a:cxnLst>
                <a:rect l="0" t="0" r="r" b="b"/>
                <a:pathLst>
                  <a:path w="6" h="7">
                    <a:moveTo>
                      <a:pt x="4" y="0"/>
                    </a:moveTo>
                    <a:cubicBezTo>
                      <a:pt x="2" y="0"/>
                      <a:pt x="1" y="0"/>
                      <a:pt x="0" y="1"/>
                    </a:cubicBezTo>
                    <a:cubicBezTo>
                      <a:pt x="0" y="3"/>
                      <a:pt x="0" y="7"/>
                      <a:pt x="3" y="7"/>
                    </a:cubicBezTo>
                    <a:cubicBezTo>
                      <a:pt x="3" y="7"/>
                      <a:pt x="3" y="7"/>
                      <a:pt x="4" y="7"/>
                    </a:cubicBezTo>
                    <a:cubicBezTo>
                      <a:pt x="6" y="7"/>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72"/>
              <p:cNvSpPr/>
              <p:nvPr/>
            </p:nvSpPr>
            <p:spPr bwMode="auto">
              <a:xfrm>
                <a:off x="6613" y="4306"/>
                <a:ext cx="9" cy="12"/>
              </a:xfrm>
              <a:custGeom>
                <a:gdLst>
                  <a:gd name="T0" fmla="*/ 3 w 4"/>
                  <a:gd name="T1" fmla="*/ 0 h 5"/>
                  <a:gd name="T2" fmla="*/ 0 w 4"/>
                  <a:gd name="T3" fmla="*/ 5 h 5"/>
                  <a:gd name="T4" fmla="*/ 4 w 4"/>
                  <a:gd name="T5" fmla="*/ 2 h 5"/>
                  <a:gd name="T6" fmla="*/ 3 w 4"/>
                  <a:gd name="T7" fmla="*/ 0 h 5"/>
                </a:gdLst>
                <a:cxnLst>
                  <a:cxn ang="0">
                    <a:pos x="T0" y="T1"/>
                  </a:cxn>
                  <a:cxn ang="0">
                    <a:pos x="T2" y="T3"/>
                  </a:cxn>
                  <a:cxn ang="0">
                    <a:pos x="T4" y="T5"/>
                  </a:cxn>
                  <a:cxn ang="0">
                    <a:pos x="T6" y="T7"/>
                  </a:cxn>
                </a:cxnLst>
                <a:rect l="0" t="0" r="r" b="b"/>
                <a:pathLst>
                  <a:path w="4" h="5">
                    <a:moveTo>
                      <a:pt x="3" y="0"/>
                    </a:moveTo>
                    <a:cubicBezTo>
                      <a:pt x="2" y="0"/>
                      <a:pt x="0" y="5"/>
                      <a:pt x="0" y="5"/>
                    </a:cubicBezTo>
                    <a:cubicBezTo>
                      <a:pt x="1" y="4"/>
                      <a:pt x="3" y="3"/>
                      <a:pt x="4" y="2"/>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73"/>
              <p:cNvSpPr/>
              <p:nvPr/>
            </p:nvSpPr>
            <p:spPr bwMode="auto">
              <a:xfrm>
                <a:off x="6229" y="3972"/>
                <a:ext cx="12" cy="3"/>
              </a:xfrm>
              <a:custGeom>
                <a:gdLst>
                  <a:gd name="T0" fmla="*/ 1 w 5"/>
                  <a:gd name="T1" fmla="*/ 0 h 1"/>
                  <a:gd name="T2" fmla="*/ 0 w 5"/>
                  <a:gd name="T3" fmla="*/ 0 h 1"/>
                  <a:gd name="T4" fmla="*/ 4 w 5"/>
                  <a:gd name="T5" fmla="*/ 1 h 1"/>
                  <a:gd name="T6" fmla="*/ 5 w 5"/>
                  <a:gd name="T7" fmla="*/ 1 h 1"/>
                  <a:gd name="T8" fmla="*/ 5 w 5"/>
                  <a:gd name="T9" fmla="*/ 1 h 1"/>
                  <a:gd name="T10" fmla="*/ 5 w 5"/>
                  <a:gd name="T11" fmla="*/ 1 h 1"/>
                  <a:gd name="T12" fmla="*/ 4 w 5"/>
                  <a:gd name="T13" fmla="*/ 1 h 1"/>
                  <a:gd name="T14" fmla="*/ 4 w 5"/>
                  <a:gd name="T15" fmla="*/ 1 h 1"/>
                  <a:gd name="T16" fmla="*/ 3 w 5"/>
                  <a:gd name="T17" fmla="*/ 0 h 1"/>
                  <a:gd name="T18" fmla="*/ 1 w 5"/>
                  <a:gd name="T1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
                    <a:moveTo>
                      <a:pt x="1" y="0"/>
                    </a:moveTo>
                    <a:cubicBezTo>
                      <a:pt x="1" y="0"/>
                      <a:pt x="0" y="0"/>
                      <a:pt x="0" y="0"/>
                    </a:cubicBezTo>
                    <a:cubicBezTo>
                      <a:pt x="1" y="1"/>
                      <a:pt x="3" y="1"/>
                      <a:pt x="4"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3" y="0"/>
                      <a:pt x="3" y="0"/>
                      <a:pt x="3" y="0"/>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74"/>
              <p:cNvSpPr/>
              <p:nvPr/>
            </p:nvSpPr>
            <p:spPr bwMode="auto">
              <a:xfrm>
                <a:off x="6627" y="4116"/>
                <a:ext cx="19" cy="24"/>
              </a:xfrm>
              <a:custGeom>
                <a:gdLst>
                  <a:gd name="T0" fmla="*/ 2 w 8"/>
                  <a:gd name="T1" fmla="*/ 0 h 10"/>
                  <a:gd name="T2" fmla="*/ 4 w 8"/>
                  <a:gd name="T3" fmla="*/ 10 h 10"/>
                  <a:gd name="T4" fmla="*/ 2 w 8"/>
                  <a:gd name="T5" fmla="*/ 0 h 10"/>
                </a:gdLst>
                <a:cxnLst>
                  <a:cxn ang="0">
                    <a:pos x="T0" y="T1"/>
                  </a:cxn>
                  <a:cxn ang="0">
                    <a:pos x="T2" y="T3"/>
                  </a:cxn>
                  <a:cxn ang="0">
                    <a:pos x="T4" y="T5"/>
                  </a:cxn>
                </a:cxnLst>
                <a:rect l="0" t="0" r="r" b="b"/>
                <a:pathLst>
                  <a:path w="8" h="10">
                    <a:moveTo>
                      <a:pt x="2" y="0"/>
                    </a:moveTo>
                    <a:cubicBezTo>
                      <a:pt x="0" y="2"/>
                      <a:pt x="2" y="7"/>
                      <a:pt x="4" y="10"/>
                    </a:cubicBezTo>
                    <a:cubicBezTo>
                      <a:pt x="8" y="5"/>
                      <a:pt x="6"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75"/>
              <p:cNvSpPr/>
              <p:nvPr/>
            </p:nvSpPr>
            <p:spPr bwMode="auto">
              <a:xfrm>
                <a:off x="5745" y="3759"/>
                <a:ext cx="7" cy="5"/>
              </a:xfrm>
              <a:custGeom>
                <a:gdLst>
                  <a:gd name="T0" fmla="*/ 0 w 3"/>
                  <a:gd name="T1" fmla="*/ 0 h 2"/>
                  <a:gd name="T2" fmla="*/ 3 w 3"/>
                  <a:gd name="T3" fmla="*/ 2 h 2"/>
                  <a:gd name="T4" fmla="*/ 2 w 3"/>
                  <a:gd name="T5" fmla="*/ 1 h 2"/>
                  <a:gd name="T6" fmla="*/ 0 w 3"/>
                  <a:gd name="T7" fmla="*/ 0 h 2"/>
                </a:gdLst>
                <a:cxnLst>
                  <a:cxn ang="0">
                    <a:pos x="T0" y="T1"/>
                  </a:cxn>
                  <a:cxn ang="0">
                    <a:pos x="T2" y="T3"/>
                  </a:cxn>
                  <a:cxn ang="0">
                    <a:pos x="T4" y="T5"/>
                  </a:cxn>
                  <a:cxn ang="0">
                    <a:pos x="T6" y="T7"/>
                  </a:cxn>
                </a:cxnLst>
                <a:rect l="0" t="0" r="r" b="b"/>
                <a:pathLst>
                  <a:path w="3" h="2">
                    <a:moveTo>
                      <a:pt x="0" y="0"/>
                    </a:moveTo>
                    <a:cubicBezTo>
                      <a:pt x="1" y="1"/>
                      <a:pt x="2" y="2"/>
                      <a:pt x="3" y="2"/>
                    </a:cubicBezTo>
                    <a:cubicBezTo>
                      <a:pt x="3" y="1"/>
                      <a:pt x="2" y="1"/>
                      <a:pt x="2"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76"/>
              <p:cNvSpPr/>
              <p:nvPr/>
            </p:nvSpPr>
            <p:spPr bwMode="auto">
              <a:xfrm>
                <a:off x="5686" y="3721"/>
                <a:ext cx="19" cy="7"/>
              </a:xfrm>
              <a:custGeom>
                <a:gdLst>
                  <a:gd name="T0" fmla="*/ 0 w 8"/>
                  <a:gd name="T1" fmla="*/ 0 h 3"/>
                  <a:gd name="T2" fmla="*/ 8 w 8"/>
                  <a:gd name="T3" fmla="*/ 3 h 3"/>
                  <a:gd name="T4" fmla="*/ 7 w 8"/>
                  <a:gd name="T5" fmla="*/ 0 h 3"/>
                  <a:gd name="T6" fmla="*/ 5 w 8"/>
                  <a:gd name="T7" fmla="*/ 1 h 3"/>
                  <a:gd name="T8" fmla="*/ 3 w 8"/>
                  <a:gd name="T9" fmla="*/ 1 h 3"/>
                  <a:gd name="T10" fmla="*/ 3 w 8"/>
                  <a:gd name="T11" fmla="*/ 1 h 3"/>
                  <a:gd name="T12" fmla="*/ 0 w 8"/>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8" h="3">
                    <a:moveTo>
                      <a:pt x="0" y="0"/>
                    </a:moveTo>
                    <a:cubicBezTo>
                      <a:pt x="2" y="1"/>
                      <a:pt x="5" y="2"/>
                      <a:pt x="8" y="3"/>
                    </a:cubicBezTo>
                    <a:cubicBezTo>
                      <a:pt x="8" y="1"/>
                      <a:pt x="8" y="0"/>
                      <a:pt x="7" y="0"/>
                    </a:cubicBezTo>
                    <a:cubicBezTo>
                      <a:pt x="6" y="0"/>
                      <a:pt x="6" y="1"/>
                      <a:pt x="5" y="1"/>
                    </a:cubicBezTo>
                    <a:cubicBezTo>
                      <a:pt x="5" y="1"/>
                      <a:pt x="4" y="1"/>
                      <a:pt x="3" y="1"/>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77"/>
              <p:cNvSpPr/>
              <p:nvPr/>
            </p:nvSpPr>
            <p:spPr bwMode="auto">
              <a:xfrm>
                <a:off x="5534" y="3904"/>
                <a:ext cx="19" cy="7"/>
              </a:xfrm>
              <a:custGeom>
                <a:gdLst>
                  <a:gd name="T0" fmla="*/ 0 w 8"/>
                  <a:gd name="T1" fmla="*/ 0 h 3"/>
                  <a:gd name="T2" fmla="*/ 2 w 8"/>
                  <a:gd name="T3" fmla="*/ 3 h 3"/>
                  <a:gd name="T4" fmla="*/ 4 w 8"/>
                  <a:gd name="T5" fmla="*/ 3 h 3"/>
                  <a:gd name="T6" fmla="*/ 8 w 8"/>
                  <a:gd name="T7" fmla="*/ 1 h 3"/>
                  <a:gd name="T8" fmla="*/ 7 w 8"/>
                  <a:gd name="T9" fmla="*/ 1 h 3"/>
                  <a:gd name="T10" fmla="*/ 0 w 8"/>
                  <a:gd name="T11" fmla="*/ 0 h 3"/>
                </a:gdLst>
                <a:cxnLst>
                  <a:cxn ang="0">
                    <a:pos x="T0" y="T1"/>
                  </a:cxn>
                  <a:cxn ang="0">
                    <a:pos x="T2" y="T3"/>
                  </a:cxn>
                  <a:cxn ang="0">
                    <a:pos x="T4" y="T5"/>
                  </a:cxn>
                  <a:cxn ang="0">
                    <a:pos x="T6" y="T7"/>
                  </a:cxn>
                  <a:cxn ang="0">
                    <a:pos x="T8" y="T9"/>
                  </a:cxn>
                  <a:cxn ang="0">
                    <a:pos x="T10" y="T11"/>
                  </a:cxn>
                </a:cxnLst>
                <a:rect l="0" t="0" r="r" b="b"/>
                <a:pathLst>
                  <a:path w="8" h="3">
                    <a:moveTo>
                      <a:pt x="0" y="0"/>
                    </a:moveTo>
                    <a:cubicBezTo>
                      <a:pt x="2" y="1"/>
                      <a:pt x="0" y="3"/>
                      <a:pt x="2" y="3"/>
                    </a:cubicBezTo>
                    <a:cubicBezTo>
                      <a:pt x="3" y="3"/>
                      <a:pt x="3" y="3"/>
                      <a:pt x="4" y="3"/>
                    </a:cubicBezTo>
                    <a:cubicBezTo>
                      <a:pt x="5" y="2"/>
                      <a:pt x="7" y="2"/>
                      <a:pt x="8" y="1"/>
                    </a:cubicBezTo>
                    <a:cubicBezTo>
                      <a:pt x="8" y="1"/>
                      <a:pt x="8" y="1"/>
                      <a:pt x="7" y="1"/>
                    </a:cubicBezTo>
                    <a:cubicBezTo>
                      <a:pt x="5"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78"/>
              <p:cNvSpPr>
                <a:spLocks noEditPoints="1"/>
              </p:cNvSpPr>
              <p:nvPr/>
            </p:nvSpPr>
            <p:spPr bwMode="auto">
              <a:xfrm>
                <a:off x="5338" y="3686"/>
                <a:ext cx="598" cy="192"/>
              </a:xfrm>
              <a:custGeom>
                <a:gdLst>
                  <a:gd name="T0" fmla="*/ 12 w 253"/>
                  <a:gd name="T1" fmla="*/ 34 h 81"/>
                  <a:gd name="T2" fmla="*/ 12 w 253"/>
                  <a:gd name="T3" fmla="*/ 34 h 81"/>
                  <a:gd name="T4" fmla="*/ 48 w 253"/>
                  <a:gd name="T5" fmla="*/ 5 h 81"/>
                  <a:gd name="T6" fmla="*/ 16 w 253"/>
                  <a:gd name="T7" fmla="*/ 19 h 81"/>
                  <a:gd name="T8" fmla="*/ 14 w 253"/>
                  <a:gd name="T9" fmla="*/ 29 h 81"/>
                  <a:gd name="T10" fmla="*/ 12 w 253"/>
                  <a:gd name="T11" fmla="*/ 29 h 81"/>
                  <a:gd name="T12" fmla="*/ 5 w 253"/>
                  <a:gd name="T13" fmla="*/ 31 h 81"/>
                  <a:gd name="T14" fmla="*/ 6 w 253"/>
                  <a:gd name="T15" fmla="*/ 33 h 81"/>
                  <a:gd name="T16" fmla="*/ 9 w 253"/>
                  <a:gd name="T17" fmla="*/ 33 h 81"/>
                  <a:gd name="T18" fmla="*/ 12 w 253"/>
                  <a:gd name="T19" fmla="*/ 34 h 81"/>
                  <a:gd name="T20" fmla="*/ 20 w 253"/>
                  <a:gd name="T21" fmla="*/ 31 h 81"/>
                  <a:gd name="T22" fmla="*/ 26 w 253"/>
                  <a:gd name="T23" fmla="*/ 25 h 81"/>
                  <a:gd name="T24" fmla="*/ 33 w 253"/>
                  <a:gd name="T25" fmla="*/ 23 h 81"/>
                  <a:gd name="T26" fmla="*/ 39 w 253"/>
                  <a:gd name="T27" fmla="*/ 21 h 81"/>
                  <a:gd name="T28" fmla="*/ 55 w 253"/>
                  <a:gd name="T29" fmla="*/ 12 h 81"/>
                  <a:gd name="T30" fmla="*/ 65 w 253"/>
                  <a:gd name="T31" fmla="*/ 12 h 81"/>
                  <a:gd name="T32" fmla="*/ 68 w 253"/>
                  <a:gd name="T33" fmla="*/ 12 h 81"/>
                  <a:gd name="T34" fmla="*/ 74 w 253"/>
                  <a:gd name="T35" fmla="*/ 12 h 81"/>
                  <a:gd name="T36" fmla="*/ 74 w 253"/>
                  <a:gd name="T37" fmla="*/ 18 h 81"/>
                  <a:gd name="T38" fmla="*/ 73 w 253"/>
                  <a:gd name="T39" fmla="*/ 18 h 81"/>
                  <a:gd name="T40" fmla="*/ 72 w 253"/>
                  <a:gd name="T41" fmla="*/ 18 h 81"/>
                  <a:gd name="T42" fmla="*/ 69 w 253"/>
                  <a:gd name="T43" fmla="*/ 18 h 81"/>
                  <a:gd name="T44" fmla="*/ 74 w 253"/>
                  <a:gd name="T45" fmla="*/ 24 h 81"/>
                  <a:gd name="T46" fmla="*/ 88 w 253"/>
                  <a:gd name="T47" fmla="*/ 22 h 81"/>
                  <a:gd name="T48" fmla="*/ 96 w 253"/>
                  <a:gd name="T49" fmla="*/ 27 h 81"/>
                  <a:gd name="T50" fmla="*/ 99 w 253"/>
                  <a:gd name="T51" fmla="*/ 27 h 81"/>
                  <a:gd name="T52" fmla="*/ 115 w 253"/>
                  <a:gd name="T53" fmla="*/ 33 h 81"/>
                  <a:gd name="T54" fmla="*/ 146 w 253"/>
                  <a:gd name="T55" fmla="*/ 39 h 81"/>
                  <a:gd name="T56" fmla="*/ 151 w 253"/>
                  <a:gd name="T57" fmla="*/ 52 h 81"/>
                  <a:gd name="T58" fmla="*/ 175 w 253"/>
                  <a:gd name="T59" fmla="*/ 61 h 81"/>
                  <a:gd name="T60" fmla="*/ 176 w 253"/>
                  <a:gd name="T61" fmla="*/ 60 h 81"/>
                  <a:gd name="T62" fmla="*/ 178 w 253"/>
                  <a:gd name="T63" fmla="*/ 60 h 81"/>
                  <a:gd name="T64" fmla="*/ 181 w 253"/>
                  <a:gd name="T65" fmla="*/ 70 h 81"/>
                  <a:gd name="T66" fmla="*/ 169 w 253"/>
                  <a:gd name="T67" fmla="*/ 80 h 81"/>
                  <a:gd name="T68" fmla="*/ 202 w 253"/>
                  <a:gd name="T69" fmla="*/ 79 h 81"/>
                  <a:gd name="T70" fmla="*/ 219 w 253"/>
                  <a:gd name="T71" fmla="*/ 79 h 81"/>
                  <a:gd name="T72" fmla="*/ 227 w 253"/>
                  <a:gd name="T73" fmla="*/ 80 h 81"/>
                  <a:gd name="T74" fmla="*/ 231 w 253"/>
                  <a:gd name="T75" fmla="*/ 80 h 81"/>
                  <a:gd name="T76" fmla="*/ 242 w 253"/>
                  <a:gd name="T77" fmla="*/ 76 h 81"/>
                  <a:gd name="T78" fmla="*/ 245 w 253"/>
                  <a:gd name="T79" fmla="*/ 76 h 81"/>
                  <a:gd name="T80" fmla="*/ 252 w 253"/>
                  <a:gd name="T81" fmla="*/ 73 h 81"/>
                  <a:gd name="T82" fmla="*/ 227 w 253"/>
                  <a:gd name="T83" fmla="*/ 60 h 81"/>
                  <a:gd name="T84" fmla="*/ 213 w 253"/>
                  <a:gd name="T85" fmla="*/ 50 h 81"/>
                  <a:gd name="T86" fmla="*/ 209 w 253"/>
                  <a:gd name="T87" fmla="*/ 50 h 81"/>
                  <a:gd name="T88" fmla="*/ 194 w 253"/>
                  <a:gd name="T89" fmla="*/ 45 h 81"/>
                  <a:gd name="T90" fmla="*/ 182 w 253"/>
                  <a:gd name="T91" fmla="*/ 37 h 81"/>
                  <a:gd name="T92" fmla="*/ 177 w 253"/>
                  <a:gd name="T93" fmla="*/ 34 h 81"/>
                  <a:gd name="T94" fmla="*/ 164 w 253"/>
                  <a:gd name="T95" fmla="*/ 29 h 81"/>
                  <a:gd name="T96" fmla="*/ 137 w 253"/>
                  <a:gd name="T97" fmla="*/ 18 h 81"/>
                  <a:gd name="T98" fmla="*/ 111 w 253"/>
                  <a:gd name="T99" fmla="*/ 7 h 81"/>
                  <a:gd name="T100" fmla="*/ 101 w 253"/>
                  <a:gd name="T101" fmla="*/ 2 h 81"/>
                  <a:gd name="T102" fmla="*/ 94 w 253"/>
                  <a:gd name="T103" fmla="*/ 3 h 81"/>
                  <a:gd name="T104" fmla="*/ 87 w 253"/>
                  <a:gd name="T105" fmla="*/ 2 h 81"/>
                  <a:gd name="T106" fmla="*/ 83 w 253"/>
                  <a:gd name="T107" fmla="*/ 2 h 81"/>
                  <a:gd name="T108" fmla="*/ 68 w 253"/>
                  <a:gd name="T109"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3" h="81">
                    <a:moveTo>
                      <a:pt x="12" y="34"/>
                    </a:moveTo>
                    <a:cubicBezTo>
                      <a:pt x="12" y="34"/>
                      <a:pt x="12" y="34"/>
                      <a:pt x="12" y="34"/>
                    </a:cubicBezTo>
                    <a:cubicBezTo>
                      <a:pt x="12" y="34"/>
                      <a:pt x="12" y="34"/>
                      <a:pt x="12" y="34"/>
                    </a:cubicBezTo>
                    <a:cubicBezTo>
                      <a:pt x="12" y="34"/>
                      <a:pt x="12" y="34"/>
                      <a:pt x="12" y="34"/>
                    </a:cubicBezTo>
                    <a:moveTo>
                      <a:pt x="68" y="0"/>
                    </a:moveTo>
                    <a:cubicBezTo>
                      <a:pt x="61" y="2"/>
                      <a:pt x="55" y="3"/>
                      <a:pt x="48" y="5"/>
                    </a:cubicBezTo>
                    <a:cubicBezTo>
                      <a:pt x="42" y="6"/>
                      <a:pt x="35" y="8"/>
                      <a:pt x="29" y="10"/>
                    </a:cubicBezTo>
                    <a:cubicBezTo>
                      <a:pt x="24" y="11"/>
                      <a:pt x="18" y="15"/>
                      <a:pt x="16" y="19"/>
                    </a:cubicBezTo>
                    <a:cubicBezTo>
                      <a:pt x="14" y="22"/>
                      <a:pt x="16" y="25"/>
                      <a:pt x="17" y="28"/>
                    </a:cubicBezTo>
                    <a:cubicBezTo>
                      <a:pt x="16" y="29"/>
                      <a:pt x="15" y="29"/>
                      <a:pt x="14" y="29"/>
                    </a:cubicBezTo>
                    <a:cubicBezTo>
                      <a:pt x="14" y="29"/>
                      <a:pt x="13" y="29"/>
                      <a:pt x="13" y="29"/>
                    </a:cubicBezTo>
                    <a:cubicBezTo>
                      <a:pt x="12" y="29"/>
                      <a:pt x="12" y="29"/>
                      <a:pt x="12" y="29"/>
                    </a:cubicBezTo>
                    <a:cubicBezTo>
                      <a:pt x="11" y="29"/>
                      <a:pt x="10" y="29"/>
                      <a:pt x="9" y="29"/>
                    </a:cubicBezTo>
                    <a:cubicBezTo>
                      <a:pt x="8" y="29"/>
                      <a:pt x="7" y="30"/>
                      <a:pt x="5" y="31"/>
                    </a:cubicBezTo>
                    <a:cubicBezTo>
                      <a:pt x="4" y="31"/>
                      <a:pt x="0" y="31"/>
                      <a:pt x="3" y="33"/>
                    </a:cubicBezTo>
                    <a:cubicBezTo>
                      <a:pt x="3" y="33"/>
                      <a:pt x="5" y="33"/>
                      <a:pt x="6" y="33"/>
                    </a:cubicBezTo>
                    <a:cubicBezTo>
                      <a:pt x="6" y="33"/>
                      <a:pt x="7" y="33"/>
                      <a:pt x="8" y="33"/>
                    </a:cubicBezTo>
                    <a:cubicBezTo>
                      <a:pt x="8" y="33"/>
                      <a:pt x="9" y="33"/>
                      <a:pt x="9" y="33"/>
                    </a:cubicBezTo>
                    <a:cubicBezTo>
                      <a:pt x="9" y="33"/>
                      <a:pt x="9" y="33"/>
                      <a:pt x="9" y="33"/>
                    </a:cubicBezTo>
                    <a:cubicBezTo>
                      <a:pt x="10" y="33"/>
                      <a:pt x="12" y="34"/>
                      <a:pt x="12" y="34"/>
                    </a:cubicBezTo>
                    <a:cubicBezTo>
                      <a:pt x="12" y="34"/>
                      <a:pt x="12" y="34"/>
                      <a:pt x="12" y="34"/>
                    </a:cubicBezTo>
                    <a:cubicBezTo>
                      <a:pt x="14" y="34"/>
                      <a:pt x="17" y="32"/>
                      <a:pt x="20" y="31"/>
                    </a:cubicBezTo>
                    <a:cubicBezTo>
                      <a:pt x="22" y="31"/>
                      <a:pt x="22" y="31"/>
                      <a:pt x="23" y="30"/>
                    </a:cubicBezTo>
                    <a:cubicBezTo>
                      <a:pt x="25" y="28"/>
                      <a:pt x="23" y="25"/>
                      <a:pt x="26" y="25"/>
                    </a:cubicBezTo>
                    <a:cubicBezTo>
                      <a:pt x="29" y="24"/>
                      <a:pt x="31" y="23"/>
                      <a:pt x="33" y="23"/>
                    </a:cubicBezTo>
                    <a:cubicBezTo>
                      <a:pt x="33" y="23"/>
                      <a:pt x="33" y="23"/>
                      <a:pt x="33" y="23"/>
                    </a:cubicBezTo>
                    <a:cubicBezTo>
                      <a:pt x="35" y="23"/>
                      <a:pt x="36" y="23"/>
                      <a:pt x="36" y="23"/>
                    </a:cubicBezTo>
                    <a:cubicBezTo>
                      <a:pt x="37" y="23"/>
                      <a:pt x="38" y="23"/>
                      <a:pt x="39" y="21"/>
                    </a:cubicBezTo>
                    <a:cubicBezTo>
                      <a:pt x="42" y="19"/>
                      <a:pt x="45" y="17"/>
                      <a:pt x="48" y="16"/>
                    </a:cubicBezTo>
                    <a:cubicBezTo>
                      <a:pt x="49" y="15"/>
                      <a:pt x="53" y="12"/>
                      <a:pt x="55" y="12"/>
                    </a:cubicBezTo>
                    <a:cubicBezTo>
                      <a:pt x="55" y="12"/>
                      <a:pt x="55" y="12"/>
                      <a:pt x="55" y="12"/>
                    </a:cubicBezTo>
                    <a:cubicBezTo>
                      <a:pt x="58" y="12"/>
                      <a:pt x="62" y="12"/>
                      <a:pt x="65" y="12"/>
                    </a:cubicBezTo>
                    <a:cubicBezTo>
                      <a:pt x="65" y="12"/>
                      <a:pt x="65" y="12"/>
                      <a:pt x="66" y="12"/>
                    </a:cubicBezTo>
                    <a:cubicBezTo>
                      <a:pt x="66" y="12"/>
                      <a:pt x="67" y="12"/>
                      <a:pt x="68" y="12"/>
                    </a:cubicBezTo>
                    <a:cubicBezTo>
                      <a:pt x="68" y="12"/>
                      <a:pt x="69" y="12"/>
                      <a:pt x="70" y="12"/>
                    </a:cubicBezTo>
                    <a:cubicBezTo>
                      <a:pt x="71" y="12"/>
                      <a:pt x="73" y="12"/>
                      <a:pt x="74" y="12"/>
                    </a:cubicBezTo>
                    <a:cubicBezTo>
                      <a:pt x="77" y="14"/>
                      <a:pt x="80" y="16"/>
                      <a:pt x="75" y="18"/>
                    </a:cubicBezTo>
                    <a:cubicBezTo>
                      <a:pt x="75" y="18"/>
                      <a:pt x="74" y="18"/>
                      <a:pt x="74" y="18"/>
                    </a:cubicBezTo>
                    <a:cubicBezTo>
                      <a:pt x="73" y="18"/>
                      <a:pt x="73" y="18"/>
                      <a:pt x="73" y="18"/>
                    </a:cubicBezTo>
                    <a:cubicBezTo>
                      <a:pt x="73" y="18"/>
                      <a:pt x="73" y="18"/>
                      <a:pt x="73" y="18"/>
                    </a:cubicBezTo>
                    <a:cubicBezTo>
                      <a:pt x="73" y="18"/>
                      <a:pt x="73" y="18"/>
                      <a:pt x="72" y="18"/>
                    </a:cubicBezTo>
                    <a:cubicBezTo>
                      <a:pt x="72" y="18"/>
                      <a:pt x="72" y="18"/>
                      <a:pt x="72" y="18"/>
                    </a:cubicBezTo>
                    <a:cubicBezTo>
                      <a:pt x="72" y="18"/>
                      <a:pt x="71" y="18"/>
                      <a:pt x="71" y="18"/>
                    </a:cubicBezTo>
                    <a:cubicBezTo>
                      <a:pt x="70" y="18"/>
                      <a:pt x="70" y="18"/>
                      <a:pt x="69" y="18"/>
                    </a:cubicBezTo>
                    <a:cubicBezTo>
                      <a:pt x="68" y="18"/>
                      <a:pt x="66" y="18"/>
                      <a:pt x="67" y="19"/>
                    </a:cubicBezTo>
                    <a:cubicBezTo>
                      <a:pt x="67" y="21"/>
                      <a:pt x="73" y="24"/>
                      <a:pt x="74" y="24"/>
                    </a:cubicBezTo>
                    <a:cubicBezTo>
                      <a:pt x="75" y="24"/>
                      <a:pt x="76" y="24"/>
                      <a:pt x="77" y="24"/>
                    </a:cubicBezTo>
                    <a:cubicBezTo>
                      <a:pt x="81" y="24"/>
                      <a:pt x="87" y="23"/>
                      <a:pt x="88" y="22"/>
                    </a:cubicBezTo>
                    <a:cubicBezTo>
                      <a:pt x="90" y="25"/>
                      <a:pt x="90" y="27"/>
                      <a:pt x="94" y="27"/>
                    </a:cubicBezTo>
                    <a:cubicBezTo>
                      <a:pt x="95" y="27"/>
                      <a:pt x="95" y="27"/>
                      <a:pt x="96" y="27"/>
                    </a:cubicBezTo>
                    <a:cubicBezTo>
                      <a:pt x="96" y="27"/>
                      <a:pt x="97" y="27"/>
                      <a:pt x="97" y="27"/>
                    </a:cubicBezTo>
                    <a:cubicBezTo>
                      <a:pt x="98" y="27"/>
                      <a:pt x="98" y="27"/>
                      <a:pt x="99" y="27"/>
                    </a:cubicBezTo>
                    <a:cubicBezTo>
                      <a:pt x="101" y="27"/>
                      <a:pt x="104" y="27"/>
                      <a:pt x="106" y="28"/>
                    </a:cubicBezTo>
                    <a:cubicBezTo>
                      <a:pt x="109" y="29"/>
                      <a:pt x="112" y="32"/>
                      <a:pt x="115" y="33"/>
                    </a:cubicBezTo>
                    <a:cubicBezTo>
                      <a:pt x="122" y="36"/>
                      <a:pt x="128" y="37"/>
                      <a:pt x="135" y="38"/>
                    </a:cubicBezTo>
                    <a:cubicBezTo>
                      <a:pt x="139" y="38"/>
                      <a:pt x="142" y="39"/>
                      <a:pt x="146" y="39"/>
                    </a:cubicBezTo>
                    <a:cubicBezTo>
                      <a:pt x="149" y="40"/>
                      <a:pt x="150" y="43"/>
                      <a:pt x="151" y="46"/>
                    </a:cubicBezTo>
                    <a:cubicBezTo>
                      <a:pt x="152" y="48"/>
                      <a:pt x="151" y="50"/>
                      <a:pt x="151" y="52"/>
                    </a:cubicBezTo>
                    <a:cubicBezTo>
                      <a:pt x="152" y="53"/>
                      <a:pt x="154" y="54"/>
                      <a:pt x="155" y="55"/>
                    </a:cubicBezTo>
                    <a:cubicBezTo>
                      <a:pt x="161" y="59"/>
                      <a:pt x="167" y="60"/>
                      <a:pt x="175" y="61"/>
                    </a:cubicBezTo>
                    <a:cubicBezTo>
                      <a:pt x="175" y="61"/>
                      <a:pt x="175" y="61"/>
                      <a:pt x="175" y="61"/>
                    </a:cubicBezTo>
                    <a:cubicBezTo>
                      <a:pt x="175" y="61"/>
                      <a:pt x="176" y="60"/>
                      <a:pt x="176" y="60"/>
                    </a:cubicBezTo>
                    <a:cubicBezTo>
                      <a:pt x="177" y="60"/>
                      <a:pt x="177" y="60"/>
                      <a:pt x="178" y="60"/>
                    </a:cubicBezTo>
                    <a:cubicBezTo>
                      <a:pt x="178" y="60"/>
                      <a:pt x="178" y="60"/>
                      <a:pt x="178" y="60"/>
                    </a:cubicBezTo>
                    <a:cubicBezTo>
                      <a:pt x="179" y="60"/>
                      <a:pt x="181" y="63"/>
                      <a:pt x="181" y="63"/>
                    </a:cubicBezTo>
                    <a:cubicBezTo>
                      <a:pt x="185" y="66"/>
                      <a:pt x="184" y="67"/>
                      <a:pt x="181" y="70"/>
                    </a:cubicBezTo>
                    <a:cubicBezTo>
                      <a:pt x="178" y="72"/>
                      <a:pt x="174" y="74"/>
                      <a:pt x="172" y="77"/>
                    </a:cubicBezTo>
                    <a:cubicBezTo>
                      <a:pt x="171" y="77"/>
                      <a:pt x="170" y="79"/>
                      <a:pt x="169" y="80"/>
                    </a:cubicBezTo>
                    <a:cubicBezTo>
                      <a:pt x="171" y="81"/>
                      <a:pt x="174" y="81"/>
                      <a:pt x="177" y="81"/>
                    </a:cubicBezTo>
                    <a:cubicBezTo>
                      <a:pt x="185" y="81"/>
                      <a:pt x="194" y="79"/>
                      <a:pt x="202" y="79"/>
                    </a:cubicBezTo>
                    <a:cubicBezTo>
                      <a:pt x="204" y="78"/>
                      <a:pt x="207" y="78"/>
                      <a:pt x="209" y="78"/>
                    </a:cubicBezTo>
                    <a:cubicBezTo>
                      <a:pt x="212" y="78"/>
                      <a:pt x="215" y="79"/>
                      <a:pt x="219" y="79"/>
                    </a:cubicBezTo>
                    <a:cubicBezTo>
                      <a:pt x="221" y="79"/>
                      <a:pt x="223" y="80"/>
                      <a:pt x="225" y="80"/>
                    </a:cubicBezTo>
                    <a:cubicBezTo>
                      <a:pt x="226" y="80"/>
                      <a:pt x="227" y="80"/>
                      <a:pt x="227" y="80"/>
                    </a:cubicBezTo>
                    <a:cubicBezTo>
                      <a:pt x="228" y="79"/>
                      <a:pt x="229" y="78"/>
                      <a:pt x="230" y="78"/>
                    </a:cubicBezTo>
                    <a:cubicBezTo>
                      <a:pt x="230" y="78"/>
                      <a:pt x="230" y="78"/>
                      <a:pt x="231" y="80"/>
                    </a:cubicBezTo>
                    <a:cubicBezTo>
                      <a:pt x="233" y="78"/>
                      <a:pt x="236" y="76"/>
                      <a:pt x="239" y="76"/>
                    </a:cubicBezTo>
                    <a:cubicBezTo>
                      <a:pt x="240" y="76"/>
                      <a:pt x="241" y="76"/>
                      <a:pt x="242" y="76"/>
                    </a:cubicBezTo>
                    <a:cubicBezTo>
                      <a:pt x="243" y="76"/>
                      <a:pt x="243" y="76"/>
                      <a:pt x="244" y="76"/>
                    </a:cubicBezTo>
                    <a:cubicBezTo>
                      <a:pt x="244" y="76"/>
                      <a:pt x="245" y="76"/>
                      <a:pt x="245" y="76"/>
                    </a:cubicBezTo>
                    <a:cubicBezTo>
                      <a:pt x="246" y="76"/>
                      <a:pt x="247" y="76"/>
                      <a:pt x="248" y="75"/>
                    </a:cubicBezTo>
                    <a:cubicBezTo>
                      <a:pt x="249" y="75"/>
                      <a:pt x="253" y="73"/>
                      <a:pt x="252" y="73"/>
                    </a:cubicBezTo>
                    <a:cubicBezTo>
                      <a:pt x="249" y="68"/>
                      <a:pt x="242" y="65"/>
                      <a:pt x="237" y="62"/>
                    </a:cubicBezTo>
                    <a:cubicBezTo>
                      <a:pt x="233" y="61"/>
                      <a:pt x="231" y="60"/>
                      <a:pt x="227" y="60"/>
                    </a:cubicBezTo>
                    <a:cubicBezTo>
                      <a:pt x="222" y="59"/>
                      <a:pt x="222" y="60"/>
                      <a:pt x="220" y="56"/>
                    </a:cubicBezTo>
                    <a:cubicBezTo>
                      <a:pt x="219" y="52"/>
                      <a:pt x="217" y="50"/>
                      <a:pt x="213" y="50"/>
                    </a:cubicBezTo>
                    <a:cubicBezTo>
                      <a:pt x="213" y="50"/>
                      <a:pt x="212" y="50"/>
                      <a:pt x="212" y="50"/>
                    </a:cubicBezTo>
                    <a:cubicBezTo>
                      <a:pt x="211" y="50"/>
                      <a:pt x="210" y="50"/>
                      <a:pt x="209" y="50"/>
                    </a:cubicBezTo>
                    <a:cubicBezTo>
                      <a:pt x="207" y="50"/>
                      <a:pt x="206" y="50"/>
                      <a:pt x="203" y="47"/>
                    </a:cubicBezTo>
                    <a:cubicBezTo>
                      <a:pt x="201" y="46"/>
                      <a:pt x="197" y="46"/>
                      <a:pt x="194" y="45"/>
                    </a:cubicBezTo>
                    <a:cubicBezTo>
                      <a:pt x="192" y="44"/>
                      <a:pt x="188" y="43"/>
                      <a:pt x="187" y="41"/>
                    </a:cubicBezTo>
                    <a:cubicBezTo>
                      <a:pt x="185" y="40"/>
                      <a:pt x="184" y="38"/>
                      <a:pt x="182" y="37"/>
                    </a:cubicBezTo>
                    <a:cubicBezTo>
                      <a:pt x="182" y="36"/>
                      <a:pt x="180" y="35"/>
                      <a:pt x="179" y="35"/>
                    </a:cubicBezTo>
                    <a:cubicBezTo>
                      <a:pt x="178" y="34"/>
                      <a:pt x="177" y="34"/>
                      <a:pt x="177" y="34"/>
                    </a:cubicBezTo>
                    <a:cubicBezTo>
                      <a:pt x="176" y="34"/>
                      <a:pt x="177" y="35"/>
                      <a:pt x="177" y="37"/>
                    </a:cubicBezTo>
                    <a:cubicBezTo>
                      <a:pt x="172" y="34"/>
                      <a:pt x="168" y="32"/>
                      <a:pt x="164" y="29"/>
                    </a:cubicBezTo>
                    <a:cubicBezTo>
                      <a:pt x="160" y="26"/>
                      <a:pt x="156" y="24"/>
                      <a:pt x="151" y="23"/>
                    </a:cubicBezTo>
                    <a:cubicBezTo>
                      <a:pt x="146" y="21"/>
                      <a:pt x="142" y="19"/>
                      <a:pt x="137" y="18"/>
                    </a:cubicBezTo>
                    <a:cubicBezTo>
                      <a:pt x="130" y="17"/>
                      <a:pt x="128" y="16"/>
                      <a:pt x="125" y="10"/>
                    </a:cubicBezTo>
                    <a:cubicBezTo>
                      <a:pt x="123" y="7"/>
                      <a:pt x="114" y="8"/>
                      <a:pt x="111" y="7"/>
                    </a:cubicBezTo>
                    <a:cubicBezTo>
                      <a:pt x="108" y="6"/>
                      <a:pt x="106" y="4"/>
                      <a:pt x="103" y="3"/>
                    </a:cubicBezTo>
                    <a:cubicBezTo>
                      <a:pt x="103" y="3"/>
                      <a:pt x="102" y="2"/>
                      <a:pt x="101" y="2"/>
                    </a:cubicBezTo>
                    <a:cubicBezTo>
                      <a:pt x="99" y="2"/>
                      <a:pt x="98" y="3"/>
                      <a:pt x="97" y="3"/>
                    </a:cubicBezTo>
                    <a:cubicBezTo>
                      <a:pt x="96" y="3"/>
                      <a:pt x="95" y="3"/>
                      <a:pt x="94" y="3"/>
                    </a:cubicBezTo>
                    <a:cubicBezTo>
                      <a:pt x="92" y="3"/>
                      <a:pt x="91" y="3"/>
                      <a:pt x="89" y="2"/>
                    </a:cubicBezTo>
                    <a:cubicBezTo>
                      <a:pt x="88" y="2"/>
                      <a:pt x="87" y="2"/>
                      <a:pt x="87" y="2"/>
                    </a:cubicBezTo>
                    <a:cubicBezTo>
                      <a:pt x="86" y="2"/>
                      <a:pt x="86" y="2"/>
                      <a:pt x="85" y="2"/>
                    </a:cubicBezTo>
                    <a:cubicBezTo>
                      <a:pt x="84" y="2"/>
                      <a:pt x="84" y="2"/>
                      <a:pt x="83" y="2"/>
                    </a:cubicBezTo>
                    <a:cubicBezTo>
                      <a:pt x="83" y="2"/>
                      <a:pt x="83" y="2"/>
                      <a:pt x="83" y="2"/>
                    </a:cubicBezTo>
                    <a:cubicBezTo>
                      <a:pt x="78" y="2"/>
                      <a:pt x="73" y="0"/>
                      <a:pt x="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79"/>
              <p:cNvSpPr/>
              <p:nvPr/>
            </p:nvSpPr>
            <p:spPr bwMode="auto">
              <a:xfrm>
                <a:off x="5638" y="3710"/>
                <a:ext cx="5" cy="4"/>
              </a:xfrm>
              <a:custGeom>
                <a:gdLst>
                  <a:gd name="T0" fmla="*/ 0 w 2"/>
                  <a:gd name="T1" fmla="*/ 0 h 2"/>
                  <a:gd name="T2" fmla="*/ 2 w 2"/>
                  <a:gd name="T3" fmla="*/ 2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1" y="1"/>
                      <a:pt x="1" y="2"/>
                      <a:pt x="2" y="2"/>
                    </a:cubicBezTo>
                    <a:cubicBezTo>
                      <a:pt x="2" y="2"/>
                      <a:pt x="2" y="2"/>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80"/>
              <p:cNvSpPr/>
              <p:nvPr/>
            </p:nvSpPr>
            <p:spPr bwMode="auto">
              <a:xfrm>
                <a:off x="5634" y="3707"/>
                <a:ext cx="4" cy="3"/>
              </a:xfrm>
              <a:custGeom>
                <a:gdLst>
                  <a:gd name="T0" fmla="*/ 1 w 2"/>
                  <a:gd name="T1" fmla="*/ 0 h 1"/>
                  <a:gd name="T2" fmla="*/ 0 w 2"/>
                  <a:gd name="T3" fmla="*/ 0 h 1"/>
                  <a:gd name="T4" fmla="*/ 2 w 2"/>
                  <a:gd name="T5" fmla="*/ 1 h 1"/>
                  <a:gd name="T6" fmla="*/ 1 w 2"/>
                  <a:gd name="T7" fmla="*/ 0 h 1"/>
                </a:gdLst>
                <a:cxnLst>
                  <a:cxn ang="0">
                    <a:pos x="T0" y="T1"/>
                  </a:cxn>
                  <a:cxn ang="0">
                    <a:pos x="T2" y="T3"/>
                  </a:cxn>
                  <a:cxn ang="0">
                    <a:pos x="T4" y="T5"/>
                  </a:cxn>
                  <a:cxn ang="0">
                    <a:pos x="T6" y="T7"/>
                  </a:cxn>
                </a:cxnLst>
                <a:rect l="0" t="0" r="r" b="b"/>
                <a:pathLst>
                  <a:path w="2" h="1">
                    <a:moveTo>
                      <a:pt x="1" y="0"/>
                    </a:moveTo>
                    <a:cubicBezTo>
                      <a:pt x="1" y="0"/>
                      <a:pt x="1" y="0"/>
                      <a:pt x="0" y="0"/>
                    </a:cubicBezTo>
                    <a:cubicBezTo>
                      <a:pt x="1" y="1"/>
                      <a:pt x="1" y="1"/>
                      <a:pt x="2" y="1"/>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81"/>
              <p:cNvSpPr>
                <a:spLocks noEditPoints="1"/>
              </p:cNvSpPr>
              <p:nvPr/>
            </p:nvSpPr>
            <p:spPr bwMode="auto">
              <a:xfrm>
                <a:off x="5643" y="3714"/>
                <a:ext cx="7" cy="5"/>
              </a:xfrm>
              <a:custGeom>
                <a:gdLst>
                  <a:gd name="T0" fmla="*/ 3 w 3"/>
                  <a:gd name="T1" fmla="*/ 1 h 2"/>
                  <a:gd name="T2" fmla="*/ 3 w 3"/>
                  <a:gd name="T3" fmla="*/ 2 h 2"/>
                  <a:gd name="T4" fmla="*/ 3 w 3"/>
                  <a:gd name="T5" fmla="*/ 1 h 2"/>
                  <a:gd name="T6" fmla="*/ 0 w 3"/>
                  <a:gd name="T7" fmla="*/ 0 h 2"/>
                  <a:gd name="T8" fmla="*/ 3 w 3"/>
                  <a:gd name="T9" fmla="*/ 1 h 2"/>
                  <a:gd name="T10" fmla="*/ 0 w 3"/>
                  <a:gd name="T11" fmla="*/ 0 h 2"/>
                </a:gdLst>
                <a:cxnLst>
                  <a:cxn ang="0">
                    <a:pos x="T0" y="T1"/>
                  </a:cxn>
                  <a:cxn ang="0">
                    <a:pos x="T2" y="T3"/>
                  </a:cxn>
                  <a:cxn ang="0">
                    <a:pos x="T4" y="T5"/>
                  </a:cxn>
                  <a:cxn ang="0">
                    <a:pos x="T6" y="T7"/>
                  </a:cxn>
                  <a:cxn ang="0">
                    <a:pos x="T8" y="T9"/>
                  </a:cxn>
                  <a:cxn ang="0">
                    <a:pos x="T10" y="T11"/>
                  </a:cxn>
                </a:cxnLst>
                <a:rect l="0" t="0" r="r" b="b"/>
                <a:pathLst>
                  <a:path w="3" h="2">
                    <a:moveTo>
                      <a:pt x="3" y="1"/>
                    </a:moveTo>
                    <a:cubicBezTo>
                      <a:pt x="3" y="1"/>
                      <a:pt x="3" y="2"/>
                      <a:pt x="3" y="2"/>
                    </a:cubicBezTo>
                    <a:cubicBezTo>
                      <a:pt x="3" y="2"/>
                      <a:pt x="3" y="1"/>
                      <a:pt x="3" y="1"/>
                    </a:cubicBezTo>
                    <a:moveTo>
                      <a:pt x="0" y="0"/>
                    </a:moveTo>
                    <a:cubicBezTo>
                      <a:pt x="1" y="0"/>
                      <a:pt x="2"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82"/>
              <p:cNvSpPr/>
              <p:nvPr/>
            </p:nvSpPr>
            <p:spPr bwMode="auto">
              <a:xfrm>
                <a:off x="5712" y="3738"/>
                <a:ext cx="30" cy="21"/>
              </a:xfrm>
              <a:custGeom>
                <a:gdLst>
                  <a:gd name="T0" fmla="*/ 5 w 13"/>
                  <a:gd name="T1" fmla="*/ 0 h 9"/>
                  <a:gd name="T2" fmla="*/ 12 w 13"/>
                  <a:gd name="T3" fmla="*/ 9 h 9"/>
                  <a:gd name="T4" fmla="*/ 13 w 13"/>
                  <a:gd name="T5" fmla="*/ 6 h 9"/>
                  <a:gd name="T6" fmla="*/ 10 w 13"/>
                  <a:gd name="T7" fmla="*/ 4 h 9"/>
                  <a:gd name="T8" fmla="*/ 9 w 13"/>
                  <a:gd name="T9" fmla="*/ 6 h 9"/>
                  <a:gd name="T10" fmla="*/ 9 w 13"/>
                  <a:gd name="T11" fmla="*/ 4 h 9"/>
                  <a:gd name="T12" fmla="*/ 8 w 13"/>
                  <a:gd name="T13" fmla="*/ 4 h 9"/>
                  <a:gd name="T14" fmla="*/ 7 w 13"/>
                  <a:gd name="T15" fmla="*/ 1 h 9"/>
                  <a:gd name="T16" fmla="*/ 7 w 13"/>
                  <a:gd name="T17" fmla="*/ 1 h 9"/>
                  <a:gd name="T18" fmla="*/ 6 w 13"/>
                  <a:gd name="T19" fmla="*/ 1 h 9"/>
                  <a:gd name="T20" fmla="*/ 6 w 13"/>
                  <a:gd name="T21" fmla="*/ 1 h 9"/>
                  <a:gd name="T22" fmla="*/ 5 w 13"/>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5" y="0"/>
                    </a:moveTo>
                    <a:cubicBezTo>
                      <a:pt x="0" y="2"/>
                      <a:pt x="11" y="8"/>
                      <a:pt x="12" y="9"/>
                    </a:cubicBezTo>
                    <a:cubicBezTo>
                      <a:pt x="12" y="8"/>
                      <a:pt x="13" y="7"/>
                      <a:pt x="13" y="6"/>
                    </a:cubicBezTo>
                    <a:cubicBezTo>
                      <a:pt x="12" y="5"/>
                      <a:pt x="11" y="5"/>
                      <a:pt x="10" y="4"/>
                    </a:cubicBezTo>
                    <a:cubicBezTo>
                      <a:pt x="10" y="5"/>
                      <a:pt x="10" y="5"/>
                      <a:pt x="9" y="6"/>
                    </a:cubicBezTo>
                    <a:cubicBezTo>
                      <a:pt x="9" y="5"/>
                      <a:pt x="10" y="4"/>
                      <a:pt x="9" y="4"/>
                    </a:cubicBezTo>
                    <a:cubicBezTo>
                      <a:pt x="9" y="4"/>
                      <a:pt x="9" y="4"/>
                      <a:pt x="8" y="4"/>
                    </a:cubicBezTo>
                    <a:cubicBezTo>
                      <a:pt x="9" y="2"/>
                      <a:pt x="7" y="3"/>
                      <a:pt x="7" y="1"/>
                    </a:cubicBezTo>
                    <a:cubicBezTo>
                      <a:pt x="7" y="1"/>
                      <a:pt x="7" y="1"/>
                      <a:pt x="7" y="1"/>
                    </a:cubicBezTo>
                    <a:cubicBezTo>
                      <a:pt x="6" y="1"/>
                      <a:pt x="6" y="1"/>
                      <a:pt x="6" y="1"/>
                    </a:cubicBezTo>
                    <a:cubicBezTo>
                      <a:pt x="6" y="1"/>
                      <a:pt x="6" y="1"/>
                      <a:pt x="6" y="1"/>
                    </a:cubicBezTo>
                    <a:cubicBezTo>
                      <a:pt x="5"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83"/>
              <p:cNvSpPr/>
              <p:nvPr/>
            </p:nvSpPr>
            <p:spPr bwMode="auto">
              <a:xfrm>
                <a:off x="5697" y="3833"/>
                <a:ext cx="8" cy="4"/>
              </a:xfrm>
              <a:custGeom>
                <a:gdLst>
                  <a:gd name="T0" fmla="*/ 0 w 3"/>
                  <a:gd name="T1" fmla="*/ 0 h 2"/>
                  <a:gd name="T2" fmla="*/ 0 w 3"/>
                  <a:gd name="T3" fmla="*/ 0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cubicBezTo>
                      <a:pt x="0" y="0"/>
                      <a:pt x="0" y="0"/>
                      <a:pt x="0" y="0"/>
                    </a:cubicBezTo>
                    <a:cubicBezTo>
                      <a:pt x="1" y="1"/>
                      <a:pt x="2" y="1"/>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84"/>
              <p:cNvSpPr/>
              <p:nvPr/>
            </p:nvSpPr>
            <p:spPr bwMode="auto">
              <a:xfrm>
                <a:off x="5440" y="3757"/>
                <a:ext cx="35" cy="28"/>
              </a:xfrm>
              <a:custGeom>
                <a:gdLst>
                  <a:gd name="T0" fmla="*/ 6 w 15"/>
                  <a:gd name="T1" fmla="*/ 0 h 12"/>
                  <a:gd name="T2" fmla="*/ 2 w 15"/>
                  <a:gd name="T3" fmla="*/ 10 h 12"/>
                  <a:gd name="T4" fmla="*/ 8 w 15"/>
                  <a:gd name="T5" fmla="*/ 12 h 12"/>
                  <a:gd name="T6" fmla="*/ 12 w 15"/>
                  <a:gd name="T7" fmla="*/ 11 h 12"/>
                  <a:gd name="T8" fmla="*/ 14 w 15"/>
                  <a:gd name="T9" fmla="*/ 9 h 12"/>
                  <a:gd name="T10" fmla="*/ 11 w 15"/>
                  <a:gd name="T11" fmla="*/ 3 h 12"/>
                  <a:gd name="T12" fmla="*/ 7 w 15"/>
                  <a:gd name="T13" fmla="*/ 0 h 12"/>
                  <a:gd name="T14" fmla="*/ 6 w 15"/>
                  <a:gd name="T15" fmla="*/ 0 h 1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6" y="0"/>
                    </a:moveTo>
                    <a:cubicBezTo>
                      <a:pt x="0" y="0"/>
                      <a:pt x="3" y="6"/>
                      <a:pt x="2" y="10"/>
                    </a:cubicBezTo>
                    <a:cubicBezTo>
                      <a:pt x="4" y="11"/>
                      <a:pt x="6" y="12"/>
                      <a:pt x="8" y="12"/>
                    </a:cubicBezTo>
                    <a:cubicBezTo>
                      <a:pt x="9" y="12"/>
                      <a:pt x="10" y="11"/>
                      <a:pt x="12" y="11"/>
                    </a:cubicBezTo>
                    <a:cubicBezTo>
                      <a:pt x="12" y="10"/>
                      <a:pt x="14" y="10"/>
                      <a:pt x="14" y="9"/>
                    </a:cubicBezTo>
                    <a:cubicBezTo>
                      <a:pt x="15" y="7"/>
                      <a:pt x="12" y="4"/>
                      <a:pt x="11" y="3"/>
                    </a:cubicBezTo>
                    <a:cubicBezTo>
                      <a:pt x="12" y="1"/>
                      <a:pt x="8" y="0"/>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85"/>
              <p:cNvSpPr/>
              <p:nvPr/>
            </p:nvSpPr>
            <p:spPr bwMode="auto">
              <a:xfrm>
                <a:off x="5655" y="3811"/>
                <a:ext cx="9" cy="5"/>
              </a:xfrm>
              <a:custGeom>
                <a:gdLst>
                  <a:gd name="T0" fmla="*/ 0 w 4"/>
                  <a:gd name="T1" fmla="*/ 0 h 2"/>
                  <a:gd name="T2" fmla="*/ 4 w 4"/>
                  <a:gd name="T3" fmla="*/ 2 h 2"/>
                  <a:gd name="T4" fmla="*/ 0 w 4"/>
                  <a:gd name="T5" fmla="*/ 0 h 2"/>
                </a:gdLst>
                <a:cxnLst>
                  <a:cxn ang="0">
                    <a:pos x="T0" y="T1"/>
                  </a:cxn>
                  <a:cxn ang="0">
                    <a:pos x="T2" y="T3"/>
                  </a:cxn>
                  <a:cxn ang="0">
                    <a:pos x="T4" y="T5"/>
                  </a:cxn>
                </a:cxnLst>
                <a:rect l="0" t="0" r="r" b="b"/>
                <a:pathLst>
                  <a:path w="4" h="2">
                    <a:moveTo>
                      <a:pt x="0" y="0"/>
                    </a:moveTo>
                    <a:cubicBezTo>
                      <a:pt x="2" y="0"/>
                      <a:pt x="3" y="1"/>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86"/>
              <p:cNvSpPr/>
              <p:nvPr/>
            </p:nvSpPr>
            <p:spPr bwMode="auto">
              <a:xfrm>
                <a:off x="5707" y="3728"/>
                <a:ext cx="16" cy="10"/>
              </a:xfrm>
              <a:custGeom>
                <a:gdLst>
                  <a:gd name="T0" fmla="*/ 2 w 7"/>
                  <a:gd name="T1" fmla="*/ 0 h 4"/>
                  <a:gd name="T2" fmla="*/ 0 w 7"/>
                  <a:gd name="T3" fmla="*/ 0 h 4"/>
                  <a:gd name="T4" fmla="*/ 7 w 7"/>
                  <a:gd name="T5" fmla="*/ 4 h 4"/>
                  <a:gd name="T6" fmla="*/ 2 w 7"/>
                  <a:gd name="T7" fmla="*/ 0 h 4"/>
                </a:gdLst>
                <a:cxnLst>
                  <a:cxn ang="0">
                    <a:pos x="T0" y="T1"/>
                  </a:cxn>
                  <a:cxn ang="0">
                    <a:pos x="T2" y="T3"/>
                  </a:cxn>
                  <a:cxn ang="0">
                    <a:pos x="T4" y="T5"/>
                  </a:cxn>
                  <a:cxn ang="0">
                    <a:pos x="T6" y="T7"/>
                  </a:cxn>
                </a:cxnLst>
                <a:rect l="0" t="0" r="r" b="b"/>
                <a:pathLst>
                  <a:path w="7" h="4">
                    <a:moveTo>
                      <a:pt x="2" y="0"/>
                    </a:moveTo>
                    <a:cubicBezTo>
                      <a:pt x="1" y="0"/>
                      <a:pt x="1" y="0"/>
                      <a:pt x="0" y="0"/>
                    </a:cubicBezTo>
                    <a:cubicBezTo>
                      <a:pt x="2" y="2"/>
                      <a:pt x="4" y="3"/>
                      <a:pt x="7" y="4"/>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87"/>
              <p:cNvSpPr/>
              <p:nvPr/>
            </p:nvSpPr>
            <p:spPr bwMode="auto">
              <a:xfrm>
                <a:off x="5894" y="3655"/>
                <a:ext cx="4" cy="3"/>
              </a:xfrm>
              <a:custGeom>
                <a:gdLst>
                  <a:gd name="T0" fmla="*/ 2 w 2"/>
                  <a:gd name="T1" fmla="*/ 0 h 1"/>
                  <a:gd name="T2" fmla="*/ 0 w 2"/>
                  <a:gd name="T3" fmla="*/ 1 h 1"/>
                  <a:gd name="T4" fmla="*/ 2 w 2"/>
                  <a:gd name="T5" fmla="*/ 0 h 1"/>
                  <a:gd name="T6" fmla="*/ 2 w 2"/>
                  <a:gd name="T7" fmla="*/ 0 h 1"/>
                </a:gdLst>
                <a:cxnLst>
                  <a:cxn ang="0">
                    <a:pos x="T0" y="T1"/>
                  </a:cxn>
                  <a:cxn ang="0">
                    <a:pos x="T2" y="T3"/>
                  </a:cxn>
                  <a:cxn ang="0">
                    <a:pos x="T4" y="T5"/>
                  </a:cxn>
                  <a:cxn ang="0">
                    <a:pos x="T6" y="T7"/>
                  </a:cxn>
                </a:cxnLst>
                <a:rect l="0" t="0" r="r" b="b"/>
                <a:pathLst>
                  <a:path w="2" h="1">
                    <a:moveTo>
                      <a:pt x="2" y="0"/>
                    </a:moveTo>
                    <a:cubicBezTo>
                      <a:pt x="1" y="0"/>
                      <a:pt x="0" y="0"/>
                      <a:pt x="0" y="1"/>
                    </a:cubicBezTo>
                    <a:cubicBezTo>
                      <a:pt x="1" y="1"/>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88"/>
              <p:cNvSpPr>
                <a:spLocks noEditPoints="1"/>
              </p:cNvSpPr>
              <p:nvPr/>
            </p:nvSpPr>
            <p:spPr bwMode="auto">
              <a:xfrm>
                <a:off x="5835" y="3662"/>
                <a:ext cx="16" cy="7"/>
              </a:xfrm>
              <a:custGeom>
                <a:gdLst>
                  <a:gd name="T0" fmla="*/ 1 w 7"/>
                  <a:gd name="T1" fmla="*/ 0 h 3"/>
                  <a:gd name="T2" fmla="*/ 4 w 7"/>
                  <a:gd name="T3" fmla="*/ 3 h 3"/>
                  <a:gd name="T4" fmla="*/ 7 w 7"/>
                  <a:gd name="T5" fmla="*/ 3 h 3"/>
                  <a:gd name="T6" fmla="*/ 1 w 7"/>
                  <a:gd name="T7" fmla="*/ 0 h 3"/>
                  <a:gd name="T8" fmla="*/ 0 w 7"/>
                  <a:gd name="T9" fmla="*/ 0 h 3"/>
                  <a:gd name="T10" fmla="*/ 1 w 7"/>
                  <a:gd name="T11" fmla="*/ 0 h 3"/>
                  <a:gd name="T12" fmla="*/ 0 w 7"/>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7" h="3">
                    <a:moveTo>
                      <a:pt x="1" y="0"/>
                    </a:moveTo>
                    <a:cubicBezTo>
                      <a:pt x="2" y="1"/>
                      <a:pt x="3" y="2"/>
                      <a:pt x="4" y="3"/>
                    </a:cubicBezTo>
                    <a:cubicBezTo>
                      <a:pt x="5" y="3"/>
                      <a:pt x="6" y="3"/>
                      <a:pt x="7" y="3"/>
                    </a:cubicBezTo>
                    <a:cubicBezTo>
                      <a:pt x="5" y="2"/>
                      <a:pt x="3" y="1"/>
                      <a:pt x="1" y="0"/>
                    </a:cubicBezTo>
                    <a:moveTo>
                      <a:pt x="0" y="0"/>
                    </a:moveTo>
                    <a:cubicBezTo>
                      <a:pt x="1" y="0"/>
                      <a:pt x="1" y="0"/>
                      <a:pt x="1" y="0"/>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89"/>
              <p:cNvSpPr/>
              <p:nvPr/>
            </p:nvSpPr>
            <p:spPr bwMode="auto">
              <a:xfrm>
                <a:off x="5872" y="3676"/>
                <a:ext cx="19" cy="19"/>
              </a:xfrm>
              <a:custGeom>
                <a:gdLst>
                  <a:gd name="T0" fmla="*/ 4 w 8"/>
                  <a:gd name="T1" fmla="*/ 0 h 8"/>
                  <a:gd name="T2" fmla="*/ 3 w 8"/>
                  <a:gd name="T3" fmla="*/ 5 h 8"/>
                  <a:gd name="T4" fmla="*/ 8 w 8"/>
                  <a:gd name="T5" fmla="*/ 8 h 8"/>
                  <a:gd name="T6" fmla="*/ 4 w 8"/>
                  <a:gd name="T7" fmla="*/ 0 h 8"/>
                </a:gdLst>
                <a:cxnLst>
                  <a:cxn ang="0">
                    <a:pos x="T0" y="T1"/>
                  </a:cxn>
                  <a:cxn ang="0">
                    <a:pos x="T2" y="T3"/>
                  </a:cxn>
                  <a:cxn ang="0">
                    <a:pos x="T4" y="T5"/>
                  </a:cxn>
                  <a:cxn ang="0">
                    <a:pos x="T6" y="T7"/>
                  </a:cxn>
                </a:cxnLst>
                <a:rect l="0" t="0" r="r" b="b"/>
                <a:pathLst>
                  <a:path w="8" h="8">
                    <a:moveTo>
                      <a:pt x="4" y="0"/>
                    </a:moveTo>
                    <a:cubicBezTo>
                      <a:pt x="5" y="3"/>
                      <a:pt x="0" y="2"/>
                      <a:pt x="3" y="5"/>
                    </a:cubicBezTo>
                    <a:cubicBezTo>
                      <a:pt x="5" y="7"/>
                      <a:pt x="7" y="6"/>
                      <a:pt x="8" y="8"/>
                    </a:cubicBezTo>
                    <a:cubicBezTo>
                      <a:pt x="7" y="6"/>
                      <a:pt x="5"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90"/>
              <p:cNvSpPr>
                <a:spLocks noEditPoints="1"/>
              </p:cNvSpPr>
              <p:nvPr/>
            </p:nvSpPr>
            <p:spPr bwMode="auto">
              <a:xfrm>
                <a:off x="5726" y="3622"/>
                <a:ext cx="23" cy="33"/>
              </a:xfrm>
              <a:custGeom>
                <a:gdLst>
                  <a:gd name="T0" fmla="*/ 1 w 10"/>
                  <a:gd name="T1" fmla="*/ 5 h 14"/>
                  <a:gd name="T2" fmla="*/ 1 w 10"/>
                  <a:gd name="T3" fmla="*/ 5 h 14"/>
                  <a:gd name="T4" fmla="*/ 1 w 10"/>
                  <a:gd name="T5" fmla="*/ 5 h 14"/>
                  <a:gd name="T6" fmla="*/ 5 w 10"/>
                  <a:gd name="T7" fmla="*/ 0 h 14"/>
                  <a:gd name="T8" fmla="*/ 1 w 10"/>
                  <a:gd name="T9" fmla="*/ 5 h 14"/>
                  <a:gd name="T10" fmla="*/ 1 w 10"/>
                  <a:gd name="T11" fmla="*/ 4 h 14"/>
                  <a:gd name="T12" fmla="*/ 2 w 10"/>
                  <a:gd name="T13" fmla="*/ 6 h 14"/>
                  <a:gd name="T14" fmla="*/ 3 w 10"/>
                  <a:gd name="T15" fmla="*/ 7 h 14"/>
                  <a:gd name="T16" fmla="*/ 3 w 10"/>
                  <a:gd name="T17" fmla="*/ 7 h 14"/>
                  <a:gd name="T18" fmla="*/ 4 w 10"/>
                  <a:gd name="T19" fmla="*/ 11 h 14"/>
                  <a:gd name="T20" fmla="*/ 7 w 10"/>
                  <a:gd name="T21" fmla="*/ 14 h 14"/>
                  <a:gd name="T22" fmla="*/ 9 w 10"/>
                  <a:gd name="T23" fmla="*/ 12 h 14"/>
                  <a:gd name="T24" fmla="*/ 10 w 10"/>
                  <a:gd name="T25" fmla="*/ 12 h 14"/>
                  <a:gd name="T26" fmla="*/ 8 w 10"/>
                  <a:gd name="T27" fmla="*/ 2 h 14"/>
                  <a:gd name="T28" fmla="*/ 8 w 10"/>
                  <a:gd name="T29" fmla="*/ 2 h 14"/>
                  <a:gd name="T30" fmla="*/ 7 w 10"/>
                  <a:gd name="T31" fmla="*/ 2 h 14"/>
                  <a:gd name="T32" fmla="*/ 5 w 10"/>
                  <a:gd name="T33" fmla="*/ 3 h 14"/>
                  <a:gd name="T34" fmla="*/ 5 w 10"/>
                  <a:gd name="T35" fmla="*/ 3 h 14"/>
                  <a:gd name="T36" fmla="*/ 5 w 10"/>
                  <a:gd name="T3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4">
                    <a:moveTo>
                      <a:pt x="1" y="5"/>
                    </a:moveTo>
                    <a:cubicBezTo>
                      <a:pt x="1" y="5"/>
                      <a:pt x="1" y="5"/>
                      <a:pt x="1" y="5"/>
                    </a:cubicBezTo>
                    <a:cubicBezTo>
                      <a:pt x="1" y="5"/>
                      <a:pt x="1" y="5"/>
                      <a:pt x="1" y="5"/>
                    </a:cubicBezTo>
                    <a:moveTo>
                      <a:pt x="5" y="0"/>
                    </a:moveTo>
                    <a:cubicBezTo>
                      <a:pt x="4" y="0"/>
                      <a:pt x="0" y="3"/>
                      <a:pt x="1" y="5"/>
                    </a:cubicBezTo>
                    <a:cubicBezTo>
                      <a:pt x="1" y="5"/>
                      <a:pt x="1" y="4"/>
                      <a:pt x="1" y="4"/>
                    </a:cubicBezTo>
                    <a:cubicBezTo>
                      <a:pt x="1" y="4"/>
                      <a:pt x="1" y="5"/>
                      <a:pt x="2" y="6"/>
                    </a:cubicBezTo>
                    <a:cubicBezTo>
                      <a:pt x="3" y="7"/>
                      <a:pt x="3" y="7"/>
                      <a:pt x="3" y="7"/>
                    </a:cubicBezTo>
                    <a:cubicBezTo>
                      <a:pt x="3" y="7"/>
                      <a:pt x="3" y="7"/>
                      <a:pt x="3" y="7"/>
                    </a:cubicBezTo>
                    <a:cubicBezTo>
                      <a:pt x="3" y="8"/>
                      <a:pt x="3" y="11"/>
                      <a:pt x="4" y="11"/>
                    </a:cubicBezTo>
                    <a:cubicBezTo>
                      <a:pt x="3" y="14"/>
                      <a:pt x="6" y="13"/>
                      <a:pt x="7" y="14"/>
                    </a:cubicBezTo>
                    <a:cubicBezTo>
                      <a:pt x="7" y="13"/>
                      <a:pt x="8" y="12"/>
                      <a:pt x="9" y="12"/>
                    </a:cubicBezTo>
                    <a:cubicBezTo>
                      <a:pt x="9" y="12"/>
                      <a:pt x="9" y="12"/>
                      <a:pt x="10" y="12"/>
                    </a:cubicBezTo>
                    <a:cubicBezTo>
                      <a:pt x="9" y="11"/>
                      <a:pt x="9" y="2"/>
                      <a:pt x="8" y="2"/>
                    </a:cubicBezTo>
                    <a:cubicBezTo>
                      <a:pt x="8" y="2"/>
                      <a:pt x="8" y="2"/>
                      <a:pt x="8" y="2"/>
                    </a:cubicBezTo>
                    <a:cubicBezTo>
                      <a:pt x="8" y="2"/>
                      <a:pt x="8" y="2"/>
                      <a:pt x="7" y="2"/>
                    </a:cubicBezTo>
                    <a:cubicBezTo>
                      <a:pt x="7" y="3"/>
                      <a:pt x="6" y="3"/>
                      <a:pt x="5" y="3"/>
                    </a:cubicBezTo>
                    <a:cubicBezTo>
                      <a:pt x="5" y="3"/>
                      <a:pt x="5" y="3"/>
                      <a:pt x="5" y="3"/>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91"/>
              <p:cNvSpPr/>
              <p:nvPr/>
            </p:nvSpPr>
            <p:spPr bwMode="auto">
              <a:xfrm>
                <a:off x="5934" y="3710"/>
                <a:ext cx="2" cy="2"/>
              </a:xfrm>
              <a:custGeom>
                <a:gdLst>
                  <a:gd name="T0" fmla="*/ 0 w 1"/>
                  <a:gd name="T1" fmla="*/ 0 h 1"/>
                  <a:gd name="T2" fmla="*/ 1 w 1"/>
                  <a:gd name="T3" fmla="*/ 1 h 1"/>
                  <a:gd name="T4" fmla="*/ 1 w 1"/>
                  <a:gd name="T5" fmla="*/ 1 h 1"/>
                  <a:gd name="T6" fmla="*/ 0 w 1"/>
                  <a:gd name="T7" fmla="*/ 0 h 1"/>
                </a:gdLst>
                <a:cxnLst>
                  <a:cxn ang="0">
                    <a:pos x="T0" y="T1"/>
                  </a:cxn>
                  <a:cxn ang="0">
                    <a:pos x="T2" y="T3"/>
                  </a:cxn>
                  <a:cxn ang="0">
                    <a:pos x="T4" y="T5"/>
                  </a:cxn>
                  <a:cxn ang="0">
                    <a:pos x="T6" y="T7"/>
                  </a:cxn>
                </a:cxnLst>
                <a:rect l="0" t="0" r="r" b="b"/>
                <a:pathLst>
                  <a:path w="1" h="1">
                    <a:moveTo>
                      <a:pt x="0" y="0"/>
                    </a:moveTo>
                    <a:cubicBezTo>
                      <a:pt x="0" y="1"/>
                      <a:pt x="1" y="1"/>
                      <a:pt x="1" y="1"/>
                    </a:cubicBezTo>
                    <a:cubicBezTo>
                      <a:pt x="1" y="1"/>
                      <a:pt x="1" y="1"/>
                      <a:pt x="1"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92"/>
              <p:cNvSpPr/>
              <p:nvPr/>
            </p:nvSpPr>
            <p:spPr bwMode="auto">
              <a:xfrm>
                <a:off x="5936" y="3712"/>
                <a:ext cx="5" cy="0"/>
              </a:xfrm>
              <a:custGeom>
                <a:gdLst>
                  <a:gd name="T0" fmla="*/ 1 w 2"/>
                  <a:gd name="T1" fmla="*/ 1 w 2"/>
                  <a:gd name="T2" fmla="*/ 1 w 2"/>
                  <a:gd name="T3" fmla="*/ 0 w 2"/>
                  <a:gd name="T4" fmla="*/ 2 w 2"/>
                  <a:gd name="T5" fmla="*/ 1 w 2"/>
                </a:gdLst>
                <a:cxnLst>
                  <a:cxn ang="0">
                    <a:pos x="T0" y="0"/>
                  </a:cxn>
                  <a:cxn ang="0">
                    <a:pos x="T1" y="0"/>
                  </a:cxn>
                  <a:cxn ang="0">
                    <a:pos x="T2" y="0"/>
                  </a:cxn>
                  <a:cxn ang="0">
                    <a:pos x="T3" y="0"/>
                  </a:cxn>
                  <a:cxn ang="0">
                    <a:pos x="T4" y="0"/>
                  </a:cxn>
                  <a:cxn ang="0">
                    <a:pos x="T5" y="0"/>
                  </a:cxn>
                </a:cxnLst>
                <a:rect l="0" t="0" r="r" b="b"/>
                <a:pathLst>
                  <a:path w="2">
                    <a:moveTo>
                      <a:pt x="1" y="0"/>
                    </a:moveTo>
                    <a:cubicBezTo>
                      <a:pt x="1" y="0"/>
                      <a:pt x="1" y="0"/>
                      <a:pt x="1" y="0"/>
                    </a:cubicBezTo>
                    <a:cubicBezTo>
                      <a:pt x="1" y="0"/>
                      <a:pt x="1" y="0"/>
                      <a:pt x="1" y="0"/>
                    </a:cubicBezTo>
                    <a:cubicBezTo>
                      <a:pt x="0" y="0"/>
                      <a:pt x="0" y="0"/>
                      <a:pt x="0" y="0"/>
                    </a:cubicBezTo>
                    <a:cubicBezTo>
                      <a:pt x="1" y="0"/>
                      <a:pt x="1"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93"/>
              <p:cNvSpPr/>
              <p:nvPr/>
            </p:nvSpPr>
            <p:spPr bwMode="auto">
              <a:xfrm>
                <a:off x="5924" y="3707"/>
                <a:ext cx="10" cy="3"/>
              </a:xfrm>
              <a:custGeom>
                <a:gdLst>
                  <a:gd name="T0" fmla="*/ 2 w 4"/>
                  <a:gd name="T1" fmla="*/ 0 h 1"/>
                  <a:gd name="T2" fmla="*/ 0 w 4"/>
                  <a:gd name="T3" fmla="*/ 1 h 1"/>
                  <a:gd name="T4" fmla="*/ 4 w 4"/>
                  <a:gd name="T5" fmla="*/ 1 h 1"/>
                  <a:gd name="T6" fmla="*/ 2 w 4"/>
                  <a:gd name="T7" fmla="*/ 0 h 1"/>
                </a:gdLst>
                <a:cxnLst>
                  <a:cxn ang="0">
                    <a:pos x="T0" y="T1"/>
                  </a:cxn>
                  <a:cxn ang="0">
                    <a:pos x="T2" y="T3"/>
                  </a:cxn>
                  <a:cxn ang="0">
                    <a:pos x="T4" y="T5"/>
                  </a:cxn>
                  <a:cxn ang="0">
                    <a:pos x="T6" y="T7"/>
                  </a:cxn>
                </a:cxnLst>
                <a:rect l="0" t="0" r="r" b="b"/>
                <a:pathLst>
                  <a:path w="4" h="1">
                    <a:moveTo>
                      <a:pt x="2" y="0"/>
                    </a:moveTo>
                    <a:cubicBezTo>
                      <a:pt x="1" y="0"/>
                      <a:pt x="1" y="1"/>
                      <a:pt x="0" y="1"/>
                    </a:cubicBezTo>
                    <a:cubicBezTo>
                      <a:pt x="2" y="1"/>
                      <a:pt x="3" y="1"/>
                      <a:pt x="4"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94"/>
              <p:cNvSpPr/>
              <p:nvPr/>
            </p:nvSpPr>
            <p:spPr bwMode="auto">
              <a:xfrm>
                <a:off x="5955" y="3792"/>
                <a:ext cx="45" cy="22"/>
              </a:xfrm>
              <a:custGeom>
                <a:gdLst>
                  <a:gd name="T0" fmla="*/ 17 w 19"/>
                  <a:gd name="T1" fmla="*/ 0 h 9"/>
                  <a:gd name="T2" fmla="*/ 16 w 19"/>
                  <a:gd name="T3" fmla="*/ 0 h 9"/>
                  <a:gd name="T4" fmla="*/ 14 w 19"/>
                  <a:gd name="T5" fmla="*/ 4 h 9"/>
                  <a:gd name="T6" fmla="*/ 12 w 19"/>
                  <a:gd name="T7" fmla="*/ 4 h 9"/>
                  <a:gd name="T8" fmla="*/ 9 w 19"/>
                  <a:gd name="T9" fmla="*/ 2 h 9"/>
                  <a:gd name="T10" fmla="*/ 5 w 19"/>
                  <a:gd name="T11" fmla="*/ 4 h 9"/>
                  <a:gd name="T12" fmla="*/ 2 w 19"/>
                  <a:gd name="T13" fmla="*/ 5 h 9"/>
                  <a:gd name="T14" fmla="*/ 3 w 19"/>
                  <a:gd name="T15" fmla="*/ 9 h 9"/>
                  <a:gd name="T16" fmla="*/ 5 w 19"/>
                  <a:gd name="T17" fmla="*/ 9 h 9"/>
                  <a:gd name="T18" fmla="*/ 6 w 19"/>
                  <a:gd name="T19" fmla="*/ 9 h 9"/>
                  <a:gd name="T20" fmla="*/ 8 w 19"/>
                  <a:gd name="T21" fmla="*/ 9 h 9"/>
                  <a:gd name="T22" fmla="*/ 15 w 19"/>
                  <a:gd name="T23" fmla="*/ 6 h 9"/>
                  <a:gd name="T24" fmla="*/ 17 w 19"/>
                  <a:gd name="T25"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9">
                    <a:moveTo>
                      <a:pt x="17" y="0"/>
                    </a:moveTo>
                    <a:cubicBezTo>
                      <a:pt x="17" y="0"/>
                      <a:pt x="17" y="0"/>
                      <a:pt x="16" y="0"/>
                    </a:cubicBezTo>
                    <a:cubicBezTo>
                      <a:pt x="15" y="1"/>
                      <a:pt x="15" y="3"/>
                      <a:pt x="14" y="4"/>
                    </a:cubicBezTo>
                    <a:cubicBezTo>
                      <a:pt x="13" y="4"/>
                      <a:pt x="12" y="4"/>
                      <a:pt x="12" y="4"/>
                    </a:cubicBezTo>
                    <a:cubicBezTo>
                      <a:pt x="11" y="4"/>
                      <a:pt x="10" y="4"/>
                      <a:pt x="9" y="2"/>
                    </a:cubicBezTo>
                    <a:cubicBezTo>
                      <a:pt x="8" y="4"/>
                      <a:pt x="6" y="3"/>
                      <a:pt x="5" y="4"/>
                    </a:cubicBezTo>
                    <a:cubicBezTo>
                      <a:pt x="4" y="4"/>
                      <a:pt x="3" y="5"/>
                      <a:pt x="2" y="5"/>
                    </a:cubicBezTo>
                    <a:cubicBezTo>
                      <a:pt x="3" y="7"/>
                      <a:pt x="0" y="8"/>
                      <a:pt x="3" y="9"/>
                    </a:cubicBezTo>
                    <a:cubicBezTo>
                      <a:pt x="4" y="9"/>
                      <a:pt x="4" y="9"/>
                      <a:pt x="5" y="9"/>
                    </a:cubicBezTo>
                    <a:cubicBezTo>
                      <a:pt x="5" y="9"/>
                      <a:pt x="6" y="9"/>
                      <a:pt x="6" y="9"/>
                    </a:cubicBezTo>
                    <a:cubicBezTo>
                      <a:pt x="7" y="9"/>
                      <a:pt x="7" y="9"/>
                      <a:pt x="8" y="9"/>
                    </a:cubicBezTo>
                    <a:cubicBezTo>
                      <a:pt x="11" y="9"/>
                      <a:pt x="14" y="9"/>
                      <a:pt x="15" y="6"/>
                    </a:cubicBezTo>
                    <a:cubicBezTo>
                      <a:pt x="16" y="5"/>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95"/>
              <p:cNvSpPr/>
              <p:nvPr/>
            </p:nvSpPr>
            <p:spPr bwMode="auto">
              <a:xfrm>
                <a:off x="5929" y="3712"/>
                <a:ext cx="24" cy="28"/>
              </a:xfrm>
              <a:custGeom>
                <a:gdLst>
                  <a:gd name="T0" fmla="*/ 9 w 10"/>
                  <a:gd name="T1" fmla="*/ 0 h 12"/>
                  <a:gd name="T2" fmla="*/ 7 w 10"/>
                  <a:gd name="T3" fmla="*/ 0 h 12"/>
                  <a:gd name="T4" fmla="*/ 7 w 10"/>
                  <a:gd name="T5" fmla="*/ 0 h 12"/>
                  <a:gd name="T6" fmla="*/ 6 w 10"/>
                  <a:gd name="T7" fmla="*/ 1 h 12"/>
                  <a:gd name="T8" fmla="*/ 5 w 10"/>
                  <a:gd name="T9" fmla="*/ 1 h 12"/>
                  <a:gd name="T10" fmla="*/ 5 w 10"/>
                  <a:gd name="T11" fmla="*/ 2 h 12"/>
                  <a:gd name="T12" fmla="*/ 6 w 10"/>
                  <a:gd name="T13" fmla="*/ 7 h 12"/>
                  <a:gd name="T14" fmla="*/ 0 w 10"/>
                  <a:gd name="T15" fmla="*/ 12 h 12"/>
                  <a:gd name="T16" fmla="*/ 9 w 10"/>
                  <a:gd name="T17" fmla="*/ 5 h 12"/>
                  <a:gd name="T18" fmla="*/ 9 w 10"/>
                  <a:gd name="T19"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9" y="0"/>
                    </a:moveTo>
                    <a:cubicBezTo>
                      <a:pt x="8" y="0"/>
                      <a:pt x="8" y="0"/>
                      <a:pt x="7" y="0"/>
                    </a:cubicBezTo>
                    <a:cubicBezTo>
                      <a:pt x="7" y="0"/>
                      <a:pt x="7" y="0"/>
                      <a:pt x="7" y="0"/>
                    </a:cubicBezTo>
                    <a:cubicBezTo>
                      <a:pt x="6" y="1"/>
                      <a:pt x="6" y="1"/>
                      <a:pt x="6" y="1"/>
                    </a:cubicBezTo>
                    <a:cubicBezTo>
                      <a:pt x="6" y="1"/>
                      <a:pt x="5" y="1"/>
                      <a:pt x="5" y="1"/>
                    </a:cubicBezTo>
                    <a:cubicBezTo>
                      <a:pt x="5" y="1"/>
                      <a:pt x="5" y="2"/>
                      <a:pt x="5" y="2"/>
                    </a:cubicBezTo>
                    <a:cubicBezTo>
                      <a:pt x="10" y="4"/>
                      <a:pt x="9" y="5"/>
                      <a:pt x="6" y="7"/>
                    </a:cubicBezTo>
                    <a:cubicBezTo>
                      <a:pt x="4" y="8"/>
                      <a:pt x="2" y="9"/>
                      <a:pt x="0" y="12"/>
                    </a:cubicBezTo>
                    <a:cubicBezTo>
                      <a:pt x="3" y="10"/>
                      <a:pt x="6" y="8"/>
                      <a:pt x="9" y="5"/>
                    </a:cubicBezTo>
                    <a:cubicBezTo>
                      <a:pt x="10" y="4"/>
                      <a:pt x="9"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96"/>
              <p:cNvSpPr/>
              <p:nvPr/>
            </p:nvSpPr>
            <p:spPr bwMode="auto">
              <a:xfrm>
                <a:off x="5988" y="3728"/>
                <a:ext cx="24" cy="5"/>
              </a:xfrm>
              <a:custGeom>
                <a:gdLst>
                  <a:gd name="T0" fmla="*/ 2 w 10"/>
                  <a:gd name="T1" fmla="*/ 0 h 2"/>
                  <a:gd name="T2" fmla="*/ 0 w 10"/>
                  <a:gd name="T3" fmla="*/ 1 h 2"/>
                  <a:gd name="T4" fmla="*/ 3 w 10"/>
                  <a:gd name="T5" fmla="*/ 2 h 2"/>
                  <a:gd name="T6" fmla="*/ 9 w 10"/>
                  <a:gd name="T7" fmla="*/ 2 h 2"/>
                  <a:gd name="T8" fmla="*/ 10 w 10"/>
                  <a:gd name="T9" fmla="*/ 2 h 2"/>
                  <a:gd name="T10" fmla="*/ 7 w 10"/>
                  <a:gd name="T11" fmla="*/ 1 h 2"/>
                  <a:gd name="T12" fmla="*/ 6 w 10"/>
                  <a:gd name="T13" fmla="*/ 1 h 2"/>
                  <a:gd name="T14" fmla="*/ 6 w 10"/>
                  <a:gd name="T15" fmla="*/ 1 h 2"/>
                  <a:gd name="T16" fmla="*/ 5 w 10"/>
                  <a:gd name="T17" fmla="*/ 1 h 2"/>
                  <a:gd name="T18" fmla="*/ 5 w 10"/>
                  <a:gd name="T19" fmla="*/ 1 h 2"/>
                  <a:gd name="T20" fmla="*/ 2 w 10"/>
                  <a:gd name="T21"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2">
                    <a:moveTo>
                      <a:pt x="2" y="0"/>
                    </a:moveTo>
                    <a:cubicBezTo>
                      <a:pt x="1" y="0"/>
                      <a:pt x="1" y="0"/>
                      <a:pt x="0" y="1"/>
                    </a:cubicBezTo>
                    <a:cubicBezTo>
                      <a:pt x="0" y="2"/>
                      <a:pt x="1" y="2"/>
                      <a:pt x="3" y="2"/>
                    </a:cubicBezTo>
                    <a:cubicBezTo>
                      <a:pt x="5" y="2"/>
                      <a:pt x="7" y="2"/>
                      <a:pt x="9" y="2"/>
                    </a:cubicBezTo>
                    <a:cubicBezTo>
                      <a:pt x="9" y="2"/>
                      <a:pt x="10" y="2"/>
                      <a:pt x="10" y="2"/>
                    </a:cubicBezTo>
                    <a:cubicBezTo>
                      <a:pt x="9" y="2"/>
                      <a:pt x="8" y="1"/>
                      <a:pt x="7" y="1"/>
                    </a:cubicBezTo>
                    <a:cubicBezTo>
                      <a:pt x="7" y="1"/>
                      <a:pt x="6" y="1"/>
                      <a:pt x="6" y="1"/>
                    </a:cubicBezTo>
                    <a:cubicBezTo>
                      <a:pt x="6" y="1"/>
                      <a:pt x="6" y="1"/>
                      <a:pt x="6" y="1"/>
                    </a:cubicBezTo>
                    <a:cubicBezTo>
                      <a:pt x="6" y="1"/>
                      <a:pt x="5" y="1"/>
                      <a:pt x="5" y="1"/>
                    </a:cubicBezTo>
                    <a:cubicBezTo>
                      <a:pt x="5" y="1"/>
                      <a:pt x="5" y="1"/>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97"/>
              <p:cNvSpPr/>
              <p:nvPr/>
            </p:nvSpPr>
            <p:spPr bwMode="auto">
              <a:xfrm>
                <a:off x="5913" y="3629"/>
                <a:ext cx="4" cy="10"/>
              </a:xfrm>
              <a:custGeom>
                <a:gdLst>
                  <a:gd name="T0" fmla="*/ 2 w 2"/>
                  <a:gd name="T1" fmla="*/ 0 h 4"/>
                  <a:gd name="T2" fmla="*/ 0 w 2"/>
                  <a:gd name="T3" fmla="*/ 4 h 4"/>
                  <a:gd name="T4" fmla="*/ 2 w 2"/>
                  <a:gd name="T5" fmla="*/ 0 h 4"/>
                </a:gdLst>
                <a:cxnLst>
                  <a:cxn ang="0">
                    <a:pos x="T0" y="T1"/>
                  </a:cxn>
                  <a:cxn ang="0">
                    <a:pos x="T2" y="T3"/>
                  </a:cxn>
                  <a:cxn ang="0">
                    <a:pos x="T4" y="T5"/>
                  </a:cxn>
                </a:cxnLst>
                <a:rect l="0" t="0" r="r" b="b"/>
                <a:pathLst>
                  <a:path w="2" h="4">
                    <a:moveTo>
                      <a:pt x="2" y="0"/>
                    </a:moveTo>
                    <a:cubicBezTo>
                      <a:pt x="0" y="1"/>
                      <a:pt x="0" y="2"/>
                      <a:pt x="0"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98"/>
              <p:cNvSpPr/>
              <p:nvPr/>
            </p:nvSpPr>
            <p:spPr bwMode="auto">
              <a:xfrm>
                <a:off x="5993" y="3781"/>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0" y="0"/>
                      <a:pt x="0" y="1"/>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99"/>
              <p:cNvSpPr/>
              <p:nvPr/>
            </p:nvSpPr>
            <p:spPr bwMode="auto">
              <a:xfrm>
                <a:off x="6726" y="4247"/>
                <a:ext cx="19" cy="11"/>
              </a:xfrm>
              <a:custGeom>
                <a:gdLst>
                  <a:gd name="T0" fmla="*/ 3 w 8"/>
                  <a:gd name="T1" fmla="*/ 0 h 5"/>
                  <a:gd name="T2" fmla="*/ 4 w 8"/>
                  <a:gd name="T3" fmla="*/ 5 h 5"/>
                  <a:gd name="T4" fmla="*/ 4 w 8"/>
                  <a:gd name="T5" fmla="*/ 5 h 5"/>
                  <a:gd name="T6" fmla="*/ 3 w 8"/>
                  <a:gd name="T7" fmla="*/ 0 h 5"/>
                </a:gdLst>
                <a:cxnLst>
                  <a:cxn ang="0">
                    <a:pos x="T0" y="T1"/>
                  </a:cxn>
                  <a:cxn ang="0">
                    <a:pos x="T2" y="T3"/>
                  </a:cxn>
                  <a:cxn ang="0">
                    <a:pos x="T4" y="T5"/>
                  </a:cxn>
                  <a:cxn ang="0">
                    <a:pos x="T6" y="T7"/>
                  </a:cxn>
                </a:cxnLst>
                <a:rect l="0" t="0" r="r" b="b"/>
                <a:pathLst>
                  <a:path w="8" h="5">
                    <a:moveTo>
                      <a:pt x="3" y="0"/>
                    </a:moveTo>
                    <a:cubicBezTo>
                      <a:pt x="0" y="0"/>
                      <a:pt x="1" y="5"/>
                      <a:pt x="4" y="5"/>
                    </a:cubicBezTo>
                    <a:cubicBezTo>
                      <a:pt x="4" y="5"/>
                      <a:pt x="4" y="5"/>
                      <a:pt x="4" y="5"/>
                    </a:cubicBezTo>
                    <a:cubicBezTo>
                      <a:pt x="8" y="5"/>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00"/>
              <p:cNvSpPr/>
              <p:nvPr/>
            </p:nvSpPr>
            <p:spPr bwMode="auto">
              <a:xfrm>
                <a:off x="6537" y="3967"/>
                <a:ext cx="9" cy="5"/>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3" y="0"/>
                      <a:pt x="1" y="1"/>
                      <a:pt x="0" y="2"/>
                    </a:cubicBezTo>
                    <a:cubicBezTo>
                      <a:pt x="2"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01"/>
              <p:cNvSpPr/>
              <p:nvPr/>
            </p:nvSpPr>
            <p:spPr bwMode="auto">
              <a:xfrm>
                <a:off x="6605" y="4029"/>
                <a:ext cx="15" cy="9"/>
              </a:xfrm>
              <a:custGeom>
                <a:gdLst>
                  <a:gd name="T0" fmla="*/ 3 w 6"/>
                  <a:gd name="T1" fmla="*/ 0 h 4"/>
                  <a:gd name="T2" fmla="*/ 0 w 6"/>
                  <a:gd name="T3" fmla="*/ 3 h 4"/>
                  <a:gd name="T4" fmla="*/ 2 w 6"/>
                  <a:gd name="T5" fmla="*/ 4 h 4"/>
                  <a:gd name="T6" fmla="*/ 3 w 6"/>
                  <a:gd name="T7" fmla="*/ 4 h 4"/>
                  <a:gd name="T8" fmla="*/ 4 w 6"/>
                  <a:gd name="T9" fmla="*/ 4 h 4"/>
                  <a:gd name="T10" fmla="*/ 6 w 6"/>
                  <a:gd name="T11" fmla="*/ 3 h 4"/>
                  <a:gd name="T12" fmla="*/ 4 w 6"/>
                  <a:gd name="T13" fmla="*/ 0 h 4"/>
                  <a:gd name="T14" fmla="*/ 3 w 6"/>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2" y="0"/>
                      <a:pt x="1" y="2"/>
                      <a:pt x="0" y="3"/>
                    </a:cubicBezTo>
                    <a:cubicBezTo>
                      <a:pt x="1" y="4"/>
                      <a:pt x="2" y="4"/>
                      <a:pt x="2" y="4"/>
                    </a:cubicBezTo>
                    <a:cubicBezTo>
                      <a:pt x="3" y="4"/>
                      <a:pt x="3" y="4"/>
                      <a:pt x="3" y="4"/>
                    </a:cubicBezTo>
                    <a:cubicBezTo>
                      <a:pt x="3" y="4"/>
                      <a:pt x="4" y="4"/>
                      <a:pt x="4" y="4"/>
                    </a:cubicBezTo>
                    <a:cubicBezTo>
                      <a:pt x="4" y="4"/>
                      <a:pt x="5" y="3"/>
                      <a:pt x="6" y="3"/>
                    </a:cubicBezTo>
                    <a:cubicBezTo>
                      <a:pt x="5" y="2"/>
                      <a:pt x="4"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02"/>
              <p:cNvSpPr/>
              <p:nvPr/>
            </p:nvSpPr>
            <p:spPr bwMode="auto">
              <a:xfrm>
                <a:off x="6605" y="3998"/>
                <a:ext cx="5" cy="7"/>
              </a:xfrm>
              <a:custGeom>
                <a:gdLst>
                  <a:gd name="T0" fmla="*/ 1 w 2"/>
                  <a:gd name="T1" fmla="*/ 0 h 3"/>
                  <a:gd name="T2" fmla="*/ 2 w 2"/>
                  <a:gd name="T3" fmla="*/ 3 h 3"/>
                  <a:gd name="T4" fmla="*/ 1 w 2"/>
                  <a:gd name="T5" fmla="*/ 0 h 3"/>
                </a:gdLst>
                <a:cxnLst>
                  <a:cxn ang="0">
                    <a:pos x="T0" y="T1"/>
                  </a:cxn>
                  <a:cxn ang="0">
                    <a:pos x="T2" y="T3"/>
                  </a:cxn>
                  <a:cxn ang="0">
                    <a:pos x="T4" y="T5"/>
                  </a:cxn>
                </a:cxnLst>
                <a:rect l="0" t="0" r="r" b="b"/>
                <a:pathLst>
                  <a:path w="2" h="3">
                    <a:moveTo>
                      <a:pt x="1" y="0"/>
                    </a:moveTo>
                    <a:cubicBezTo>
                      <a:pt x="0" y="1"/>
                      <a:pt x="1" y="2"/>
                      <a:pt x="2" y="3"/>
                    </a:cubicBezTo>
                    <a:cubicBezTo>
                      <a:pt x="2"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03"/>
              <p:cNvSpPr/>
              <p:nvPr/>
            </p:nvSpPr>
            <p:spPr bwMode="auto">
              <a:xfrm>
                <a:off x="6442" y="3996"/>
                <a:ext cx="17" cy="5"/>
              </a:xfrm>
              <a:custGeom>
                <a:gdLst>
                  <a:gd name="T0" fmla="*/ 7 w 7"/>
                  <a:gd name="T1" fmla="*/ 0 h 2"/>
                  <a:gd name="T2" fmla="*/ 0 w 7"/>
                  <a:gd name="T3" fmla="*/ 2 h 2"/>
                  <a:gd name="T4" fmla="*/ 7 w 7"/>
                  <a:gd name="T5" fmla="*/ 0 h 2"/>
                </a:gdLst>
                <a:cxnLst>
                  <a:cxn ang="0">
                    <a:pos x="T0" y="T1"/>
                  </a:cxn>
                  <a:cxn ang="0">
                    <a:pos x="T2" y="T3"/>
                  </a:cxn>
                  <a:cxn ang="0">
                    <a:pos x="T4" y="T5"/>
                  </a:cxn>
                </a:cxnLst>
                <a:rect l="0" t="0" r="r" b="b"/>
                <a:pathLst>
                  <a:path w="7" h="2">
                    <a:moveTo>
                      <a:pt x="7" y="0"/>
                    </a:moveTo>
                    <a:cubicBezTo>
                      <a:pt x="5" y="0"/>
                      <a:pt x="2" y="1"/>
                      <a:pt x="0" y="2"/>
                    </a:cubicBezTo>
                    <a:cubicBezTo>
                      <a:pt x="3" y="1"/>
                      <a:pt x="5"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04"/>
              <p:cNvSpPr/>
              <p:nvPr/>
            </p:nvSpPr>
            <p:spPr bwMode="auto">
              <a:xfrm>
                <a:off x="6435" y="3960"/>
                <a:ext cx="10" cy="5"/>
              </a:xfrm>
              <a:custGeom>
                <a:gdLst>
                  <a:gd name="T0" fmla="*/ 0 w 4"/>
                  <a:gd name="T1" fmla="*/ 0 h 2"/>
                  <a:gd name="T2" fmla="*/ 3 w 4"/>
                  <a:gd name="T3" fmla="*/ 2 h 2"/>
                  <a:gd name="T4" fmla="*/ 4 w 4"/>
                  <a:gd name="T5" fmla="*/ 1 h 2"/>
                  <a:gd name="T6" fmla="*/ 0 w 4"/>
                  <a:gd name="T7" fmla="*/ 0 h 2"/>
                </a:gdLst>
                <a:cxnLst>
                  <a:cxn ang="0">
                    <a:pos x="T0" y="T1"/>
                  </a:cxn>
                  <a:cxn ang="0">
                    <a:pos x="T2" y="T3"/>
                  </a:cxn>
                  <a:cxn ang="0">
                    <a:pos x="T4" y="T5"/>
                  </a:cxn>
                  <a:cxn ang="0">
                    <a:pos x="T6" y="T7"/>
                  </a:cxn>
                </a:cxnLst>
                <a:rect l="0" t="0" r="r" b="b"/>
                <a:pathLst>
                  <a:path w="4" h="2">
                    <a:moveTo>
                      <a:pt x="0" y="0"/>
                    </a:moveTo>
                    <a:cubicBezTo>
                      <a:pt x="1" y="1"/>
                      <a:pt x="2" y="2"/>
                      <a:pt x="3" y="2"/>
                    </a:cubicBezTo>
                    <a:cubicBezTo>
                      <a:pt x="4" y="2"/>
                      <a:pt x="4" y="1"/>
                      <a:pt x="4" y="1"/>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05"/>
              <p:cNvSpPr/>
              <p:nvPr/>
            </p:nvSpPr>
            <p:spPr bwMode="auto">
              <a:xfrm>
                <a:off x="6454" y="3953"/>
                <a:ext cx="10" cy="7"/>
              </a:xfrm>
              <a:custGeom>
                <a:gdLst>
                  <a:gd name="T0" fmla="*/ 3 w 4"/>
                  <a:gd name="T1" fmla="*/ 0 h 3"/>
                  <a:gd name="T2" fmla="*/ 0 w 4"/>
                  <a:gd name="T3" fmla="*/ 3 h 3"/>
                  <a:gd name="T4" fmla="*/ 3 w 4"/>
                  <a:gd name="T5" fmla="*/ 0 h 3"/>
                </a:gdLst>
                <a:cxnLst>
                  <a:cxn ang="0">
                    <a:pos x="T0" y="T1"/>
                  </a:cxn>
                  <a:cxn ang="0">
                    <a:pos x="T2" y="T3"/>
                  </a:cxn>
                  <a:cxn ang="0">
                    <a:pos x="T4" y="T5"/>
                  </a:cxn>
                </a:cxnLst>
                <a:rect l="0" t="0" r="r" b="b"/>
                <a:pathLst>
                  <a:path w="4" h="3">
                    <a:moveTo>
                      <a:pt x="3" y="0"/>
                    </a:moveTo>
                    <a:cubicBezTo>
                      <a:pt x="2" y="1"/>
                      <a:pt x="1" y="2"/>
                      <a:pt x="0" y="3"/>
                    </a:cubicBezTo>
                    <a:cubicBezTo>
                      <a:pt x="2"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06"/>
              <p:cNvSpPr/>
              <p:nvPr/>
            </p:nvSpPr>
            <p:spPr bwMode="auto">
              <a:xfrm>
                <a:off x="6641" y="4242"/>
                <a:ext cx="9" cy="14"/>
              </a:xfrm>
              <a:custGeom>
                <a:gdLst>
                  <a:gd name="T0" fmla="*/ 2 w 4"/>
                  <a:gd name="T1" fmla="*/ 0 h 6"/>
                  <a:gd name="T2" fmla="*/ 0 w 4"/>
                  <a:gd name="T3" fmla="*/ 3 h 6"/>
                  <a:gd name="T4" fmla="*/ 0 w 4"/>
                  <a:gd name="T5" fmla="*/ 4 h 6"/>
                  <a:gd name="T6" fmla="*/ 2 w 4"/>
                  <a:gd name="T7" fmla="*/ 6 h 6"/>
                  <a:gd name="T8" fmla="*/ 4 w 4"/>
                  <a:gd name="T9" fmla="*/ 3 h 6"/>
                  <a:gd name="T10" fmla="*/ 2 w 4"/>
                  <a:gd name="T11" fmla="*/ 0 h 6"/>
                </a:gdLst>
                <a:cxnLst>
                  <a:cxn ang="0">
                    <a:pos x="T0" y="T1"/>
                  </a:cxn>
                  <a:cxn ang="0">
                    <a:pos x="T2" y="T3"/>
                  </a:cxn>
                  <a:cxn ang="0">
                    <a:pos x="T4" y="T5"/>
                  </a:cxn>
                  <a:cxn ang="0">
                    <a:pos x="T6" y="T7"/>
                  </a:cxn>
                  <a:cxn ang="0">
                    <a:pos x="T8" y="T9"/>
                  </a:cxn>
                  <a:cxn ang="0">
                    <a:pos x="T10" y="T11"/>
                  </a:cxn>
                </a:cxnLst>
                <a:rect l="0" t="0" r="r" b="b"/>
                <a:pathLst>
                  <a:path w="4" h="6">
                    <a:moveTo>
                      <a:pt x="2" y="0"/>
                    </a:moveTo>
                    <a:cubicBezTo>
                      <a:pt x="1" y="0"/>
                      <a:pt x="0" y="1"/>
                      <a:pt x="0" y="3"/>
                    </a:cubicBezTo>
                    <a:cubicBezTo>
                      <a:pt x="0" y="3"/>
                      <a:pt x="0" y="4"/>
                      <a:pt x="0" y="4"/>
                    </a:cubicBezTo>
                    <a:cubicBezTo>
                      <a:pt x="1" y="5"/>
                      <a:pt x="1" y="6"/>
                      <a:pt x="2" y="6"/>
                    </a:cubicBezTo>
                    <a:cubicBezTo>
                      <a:pt x="3" y="6"/>
                      <a:pt x="3" y="4"/>
                      <a:pt x="4"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07"/>
              <p:cNvSpPr/>
              <p:nvPr/>
            </p:nvSpPr>
            <p:spPr bwMode="auto">
              <a:xfrm>
                <a:off x="1888" y="1185"/>
                <a:ext cx="54" cy="48"/>
              </a:xfrm>
              <a:custGeom>
                <a:gdLst>
                  <a:gd name="T0" fmla="*/ 19 w 23"/>
                  <a:gd name="T1" fmla="*/ 0 h 20"/>
                  <a:gd name="T2" fmla="*/ 12 w 23"/>
                  <a:gd name="T3" fmla="*/ 8 h 20"/>
                  <a:gd name="T4" fmla="*/ 7 w 23"/>
                  <a:gd name="T5" fmla="*/ 12 h 20"/>
                  <a:gd name="T6" fmla="*/ 0 w 23"/>
                  <a:gd name="T7" fmla="*/ 20 h 20"/>
                  <a:gd name="T8" fmla="*/ 13 w 23"/>
                  <a:gd name="T9" fmla="*/ 13 h 20"/>
                  <a:gd name="T10" fmla="*/ 20 w 23"/>
                  <a:gd name="T11" fmla="*/ 6 h 20"/>
                  <a:gd name="T12" fmla="*/ 23 w 23"/>
                  <a:gd name="T13" fmla="*/ 3 h 20"/>
                  <a:gd name="T14" fmla="*/ 19 w 23"/>
                  <a:gd name="T15" fmla="*/ 0 h 2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0">
                    <a:moveTo>
                      <a:pt x="19" y="0"/>
                    </a:moveTo>
                    <a:cubicBezTo>
                      <a:pt x="15" y="0"/>
                      <a:pt x="14" y="6"/>
                      <a:pt x="12" y="8"/>
                    </a:cubicBezTo>
                    <a:cubicBezTo>
                      <a:pt x="11" y="10"/>
                      <a:pt x="9" y="11"/>
                      <a:pt x="7" y="12"/>
                    </a:cubicBezTo>
                    <a:cubicBezTo>
                      <a:pt x="5" y="14"/>
                      <a:pt x="0" y="17"/>
                      <a:pt x="0" y="20"/>
                    </a:cubicBezTo>
                    <a:cubicBezTo>
                      <a:pt x="4" y="18"/>
                      <a:pt x="8" y="16"/>
                      <a:pt x="13" y="13"/>
                    </a:cubicBezTo>
                    <a:cubicBezTo>
                      <a:pt x="15" y="9"/>
                      <a:pt x="17" y="8"/>
                      <a:pt x="20" y="6"/>
                    </a:cubicBezTo>
                    <a:cubicBezTo>
                      <a:pt x="20" y="5"/>
                      <a:pt x="23" y="4"/>
                      <a:pt x="23" y="3"/>
                    </a:cubicBezTo>
                    <a:cubicBezTo>
                      <a:pt x="23" y="1"/>
                      <a:pt x="18" y="2"/>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08"/>
              <p:cNvSpPr/>
              <p:nvPr/>
            </p:nvSpPr>
            <p:spPr bwMode="auto">
              <a:xfrm>
                <a:off x="2663" y="1524"/>
                <a:ext cx="27" cy="16"/>
              </a:xfrm>
              <a:custGeom>
                <a:gdLst>
                  <a:gd name="T0" fmla="*/ 8 w 11"/>
                  <a:gd name="T1" fmla="*/ 0 h 7"/>
                  <a:gd name="T2" fmla="*/ 0 w 11"/>
                  <a:gd name="T3" fmla="*/ 7 h 7"/>
                  <a:gd name="T4" fmla="*/ 7 w 11"/>
                  <a:gd name="T5" fmla="*/ 6 h 7"/>
                  <a:gd name="T6" fmla="*/ 11 w 11"/>
                  <a:gd name="T7" fmla="*/ 1 h 7"/>
                  <a:gd name="T8" fmla="*/ 8 w 11"/>
                  <a:gd name="T9" fmla="*/ 0 h 7"/>
                </a:gdLst>
                <a:cxnLst>
                  <a:cxn ang="0">
                    <a:pos x="T0" y="T1"/>
                  </a:cxn>
                  <a:cxn ang="0">
                    <a:pos x="T2" y="T3"/>
                  </a:cxn>
                  <a:cxn ang="0">
                    <a:pos x="T4" y="T5"/>
                  </a:cxn>
                  <a:cxn ang="0">
                    <a:pos x="T6" y="T7"/>
                  </a:cxn>
                  <a:cxn ang="0">
                    <a:pos x="T8" y="T9"/>
                  </a:cxn>
                </a:cxnLst>
                <a:rect l="0" t="0" r="r" b="b"/>
                <a:pathLst>
                  <a:path w="11" h="7">
                    <a:moveTo>
                      <a:pt x="8" y="0"/>
                    </a:moveTo>
                    <a:cubicBezTo>
                      <a:pt x="4" y="0"/>
                      <a:pt x="0" y="3"/>
                      <a:pt x="0" y="7"/>
                    </a:cubicBezTo>
                    <a:cubicBezTo>
                      <a:pt x="2" y="7"/>
                      <a:pt x="5" y="6"/>
                      <a:pt x="7" y="6"/>
                    </a:cubicBezTo>
                    <a:cubicBezTo>
                      <a:pt x="11" y="5"/>
                      <a:pt x="11" y="4"/>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09"/>
              <p:cNvSpPr/>
              <p:nvPr/>
            </p:nvSpPr>
            <p:spPr bwMode="auto">
              <a:xfrm>
                <a:off x="2517" y="1358"/>
                <a:ext cx="90" cy="62"/>
              </a:xfrm>
              <a:custGeom>
                <a:gdLst>
                  <a:gd name="T0" fmla="*/ 14 w 38"/>
                  <a:gd name="T1" fmla="*/ 0 h 26"/>
                  <a:gd name="T2" fmla="*/ 14 w 38"/>
                  <a:gd name="T3" fmla="*/ 0 h 26"/>
                  <a:gd name="T4" fmla="*/ 10 w 38"/>
                  <a:gd name="T5" fmla="*/ 3 h 26"/>
                  <a:gd name="T6" fmla="*/ 10 w 38"/>
                  <a:gd name="T7" fmla="*/ 3 h 26"/>
                  <a:gd name="T8" fmla="*/ 7 w 38"/>
                  <a:gd name="T9" fmla="*/ 2 h 26"/>
                  <a:gd name="T10" fmla="*/ 6 w 38"/>
                  <a:gd name="T11" fmla="*/ 4 h 26"/>
                  <a:gd name="T12" fmla="*/ 2 w 38"/>
                  <a:gd name="T13" fmla="*/ 2 h 26"/>
                  <a:gd name="T14" fmla="*/ 0 w 38"/>
                  <a:gd name="T15" fmla="*/ 5 h 26"/>
                  <a:gd name="T16" fmla="*/ 9 w 38"/>
                  <a:gd name="T17" fmla="*/ 14 h 26"/>
                  <a:gd name="T18" fmla="*/ 2 w 38"/>
                  <a:gd name="T19" fmla="*/ 10 h 26"/>
                  <a:gd name="T20" fmla="*/ 1 w 38"/>
                  <a:gd name="T21" fmla="*/ 15 h 26"/>
                  <a:gd name="T22" fmla="*/ 1 w 38"/>
                  <a:gd name="T23" fmla="*/ 14 h 26"/>
                  <a:gd name="T24" fmla="*/ 7 w 38"/>
                  <a:gd name="T25" fmla="*/ 19 h 26"/>
                  <a:gd name="T26" fmla="*/ 7 w 38"/>
                  <a:gd name="T27" fmla="*/ 21 h 26"/>
                  <a:gd name="T28" fmla="*/ 7 w 38"/>
                  <a:gd name="T29" fmla="*/ 21 h 26"/>
                  <a:gd name="T30" fmla="*/ 8 w 38"/>
                  <a:gd name="T31" fmla="*/ 21 h 26"/>
                  <a:gd name="T32" fmla="*/ 9 w 38"/>
                  <a:gd name="T33" fmla="*/ 23 h 26"/>
                  <a:gd name="T34" fmla="*/ 13 w 38"/>
                  <a:gd name="T35" fmla="*/ 26 h 26"/>
                  <a:gd name="T36" fmla="*/ 19 w 38"/>
                  <a:gd name="T37" fmla="*/ 26 h 26"/>
                  <a:gd name="T38" fmla="*/ 21 w 38"/>
                  <a:gd name="T39" fmla="*/ 26 h 26"/>
                  <a:gd name="T40" fmla="*/ 15 w 38"/>
                  <a:gd name="T41" fmla="*/ 17 h 26"/>
                  <a:gd name="T42" fmla="*/ 23 w 38"/>
                  <a:gd name="T43" fmla="*/ 21 h 26"/>
                  <a:gd name="T44" fmla="*/ 38 w 38"/>
                  <a:gd name="T45" fmla="*/ 25 h 26"/>
                  <a:gd name="T46" fmla="*/ 34 w 38"/>
                  <a:gd name="T47" fmla="*/ 17 h 26"/>
                  <a:gd name="T48" fmla="*/ 34 w 38"/>
                  <a:gd name="T49" fmla="*/ 17 h 26"/>
                  <a:gd name="T50" fmla="*/ 31 w 38"/>
                  <a:gd name="T51" fmla="*/ 17 h 26"/>
                  <a:gd name="T52" fmla="*/ 29 w 38"/>
                  <a:gd name="T53" fmla="*/ 18 h 26"/>
                  <a:gd name="T54" fmla="*/ 28 w 38"/>
                  <a:gd name="T55" fmla="*/ 18 h 26"/>
                  <a:gd name="T56" fmla="*/ 22 w 38"/>
                  <a:gd name="T57" fmla="*/ 13 h 26"/>
                  <a:gd name="T58" fmla="*/ 13 w 38"/>
                  <a:gd name="T59" fmla="*/ 9 h 26"/>
                  <a:gd name="T60" fmla="*/ 22 w 38"/>
                  <a:gd name="T61" fmla="*/ 13 h 26"/>
                  <a:gd name="T62" fmla="*/ 31 w 38"/>
                  <a:gd name="T63" fmla="*/ 16 h 26"/>
                  <a:gd name="T64" fmla="*/ 35 w 38"/>
                  <a:gd name="T65" fmla="*/ 15 h 26"/>
                  <a:gd name="T66" fmla="*/ 29 w 38"/>
                  <a:gd name="T67" fmla="*/ 11 h 26"/>
                  <a:gd name="T68" fmla="*/ 35 w 38"/>
                  <a:gd name="T69" fmla="*/ 14 h 26"/>
                  <a:gd name="T70" fmla="*/ 32 w 38"/>
                  <a:gd name="T71" fmla="*/ 6 h 26"/>
                  <a:gd name="T72" fmla="*/ 28 w 38"/>
                  <a:gd name="T73" fmla="*/ 5 h 26"/>
                  <a:gd name="T74" fmla="*/ 25 w 38"/>
                  <a:gd name="T75" fmla="*/ 4 h 26"/>
                  <a:gd name="T76" fmla="*/ 24 w 38"/>
                  <a:gd name="T77" fmla="*/ 4 h 26"/>
                  <a:gd name="T78" fmla="*/ 21 w 38"/>
                  <a:gd name="T79" fmla="*/ 8 h 26"/>
                  <a:gd name="T80" fmla="*/ 18 w 38"/>
                  <a:gd name="T81" fmla="*/ 10 h 26"/>
                  <a:gd name="T82" fmla="*/ 15 w 38"/>
                  <a:gd name="T83" fmla="*/ 9 h 26"/>
                  <a:gd name="T84" fmla="*/ 19 w 38"/>
                  <a:gd name="T85" fmla="*/ 8 h 26"/>
                  <a:gd name="T86" fmla="*/ 16 w 38"/>
                  <a:gd name="T87" fmla="*/ 7 h 26"/>
                  <a:gd name="T88" fmla="*/ 20 w 38"/>
                  <a:gd name="T89" fmla="*/ 2 h 26"/>
                  <a:gd name="T90" fmla="*/ 14 w 38"/>
                  <a:gd name="T91"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 h="26">
                    <a:moveTo>
                      <a:pt x="14" y="0"/>
                    </a:moveTo>
                    <a:cubicBezTo>
                      <a:pt x="14" y="0"/>
                      <a:pt x="14" y="0"/>
                      <a:pt x="14" y="0"/>
                    </a:cubicBezTo>
                    <a:cubicBezTo>
                      <a:pt x="12" y="0"/>
                      <a:pt x="12" y="3"/>
                      <a:pt x="10" y="3"/>
                    </a:cubicBezTo>
                    <a:cubicBezTo>
                      <a:pt x="10" y="3"/>
                      <a:pt x="10" y="3"/>
                      <a:pt x="10" y="3"/>
                    </a:cubicBezTo>
                    <a:cubicBezTo>
                      <a:pt x="9" y="3"/>
                      <a:pt x="8" y="2"/>
                      <a:pt x="7" y="2"/>
                    </a:cubicBezTo>
                    <a:cubicBezTo>
                      <a:pt x="6" y="2"/>
                      <a:pt x="6" y="2"/>
                      <a:pt x="6" y="4"/>
                    </a:cubicBezTo>
                    <a:cubicBezTo>
                      <a:pt x="5" y="3"/>
                      <a:pt x="3" y="2"/>
                      <a:pt x="2" y="2"/>
                    </a:cubicBezTo>
                    <a:cubicBezTo>
                      <a:pt x="4" y="4"/>
                      <a:pt x="4" y="5"/>
                      <a:pt x="0" y="5"/>
                    </a:cubicBezTo>
                    <a:cubicBezTo>
                      <a:pt x="2" y="8"/>
                      <a:pt x="7" y="11"/>
                      <a:pt x="9" y="14"/>
                    </a:cubicBezTo>
                    <a:cubicBezTo>
                      <a:pt x="7" y="13"/>
                      <a:pt x="5" y="10"/>
                      <a:pt x="2" y="10"/>
                    </a:cubicBezTo>
                    <a:cubicBezTo>
                      <a:pt x="2" y="11"/>
                      <a:pt x="1" y="13"/>
                      <a:pt x="1" y="15"/>
                    </a:cubicBezTo>
                    <a:cubicBezTo>
                      <a:pt x="1" y="15"/>
                      <a:pt x="1" y="14"/>
                      <a:pt x="1" y="14"/>
                    </a:cubicBezTo>
                    <a:cubicBezTo>
                      <a:pt x="3" y="14"/>
                      <a:pt x="7" y="18"/>
                      <a:pt x="7" y="19"/>
                    </a:cubicBezTo>
                    <a:cubicBezTo>
                      <a:pt x="8" y="20"/>
                      <a:pt x="7" y="20"/>
                      <a:pt x="7" y="21"/>
                    </a:cubicBezTo>
                    <a:cubicBezTo>
                      <a:pt x="7" y="21"/>
                      <a:pt x="7" y="21"/>
                      <a:pt x="7" y="21"/>
                    </a:cubicBezTo>
                    <a:cubicBezTo>
                      <a:pt x="8" y="21"/>
                      <a:pt x="8" y="21"/>
                      <a:pt x="8" y="21"/>
                    </a:cubicBezTo>
                    <a:cubicBezTo>
                      <a:pt x="8" y="21"/>
                      <a:pt x="9" y="22"/>
                      <a:pt x="9" y="23"/>
                    </a:cubicBezTo>
                    <a:cubicBezTo>
                      <a:pt x="11" y="24"/>
                      <a:pt x="12" y="24"/>
                      <a:pt x="13" y="26"/>
                    </a:cubicBezTo>
                    <a:cubicBezTo>
                      <a:pt x="15" y="26"/>
                      <a:pt x="17" y="26"/>
                      <a:pt x="19" y="26"/>
                    </a:cubicBezTo>
                    <a:cubicBezTo>
                      <a:pt x="20" y="26"/>
                      <a:pt x="20" y="26"/>
                      <a:pt x="21" y="26"/>
                    </a:cubicBezTo>
                    <a:cubicBezTo>
                      <a:pt x="20" y="21"/>
                      <a:pt x="17" y="21"/>
                      <a:pt x="15" y="17"/>
                    </a:cubicBezTo>
                    <a:cubicBezTo>
                      <a:pt x="18" y="17"/>
                      <a:pt x="20" y="19"/>
                      <a:pt x="23" y="21"/>
                    </a:cubicBezTo>
                    <a:cubicBezTo>
                      <a:pt x="27" y="23"/>
                      <a:pt x="32" y="25"/>
                      <a:pt x="38" y="25"/>
                    </a:cubicBezTo>
                    <a:cubicBezTo>
                      <a:pt x="37" y="23"/>
                      <a:pt x="37" y="17"/>
                      <a:pt x="34" y="17"/>
                    </a:cubicBezTo>
                    <a:cubicBezTo>
                      <a:pt x="34" y="17"/>
                      <a:pt x="34" y="17"/>
                      <a:pt x="34" y="17"/>
                    </a:cubicBezTo>
                    <a:cubicBezTo>
                      <a:pt x="33" y="17"/>
                      <a:pt x="32" y="17"/>
                      <a:pt x="31" y="17"/>
                    </a:cubicBezTo>
                    <a:cubicBezTo>
                      <a:pt x="30" y="18"/>
                      <a:pt x="29" y="18"/>
                      <a:pt x="29" y="18"/>
                    </a:cubicBezTo>
                    <a:cubicBezTo>
                      <a:pt x="28" y="18"/>
                      <a:pt x="28" y="18"/>
                      <a:pt x="28" y="18"/>
                    </a:cubicBezTo>
                    <a:cubicBezTo>
                      <a:pt x="26" y="17"/>
                      <a:pt x="24" y="15"/>
                      <a:pt x="22" y="13"/>
                    </a:cubicBezTo>
                    <a:cubicBezTo>
                      <a:pt x="19" y="12"/>
                      <a:pt x="15" y="11"/>
                      <a:pt x="13" y="9"/>
                    </a:cubicBezTo>
                    <a:cubicBezTo>
                      <a:pt x="16" y="10"/>
                      <a:pt x="19" y="12"/>
                      <a:pt x="22" y="13"/>
                    </a:cubicBezTo>
                    <a:cubicBezTo>
                      <a:pt x="25" y="14"/>
                      <a:pt x="28" y="16"/>
                      <a:pt x="31" y="16"/>
                    </a:cubicBezTo>
                    <a:cubicBezTo>
                      <a:pt x="32" y="16"/>
                      <a:pt x="33" y="15"/>
                      <a:pt x="35" y="15"/>
                    </a:cubicBezTo>
                    <a:cubicBezTo>
                      <a:pt x="33" y="14"/>
                      <a:pt x="30" y="12"/>
                      <a:pt x="29" y="11"/>
                    </a:cubicBezTo>
                    <a:cubicBezTo>
                      <a:pt x="31" y="12"/>
                      <a:pt x="33" y="13"/>
                      <a:pt x="35" y="14"/>
                    </a:cubicBezTo>
                    <a:cubicBezTo>
                      <a:pt x="33" y="10"/>
                      <a:pt x="37" y="7"/>
                      <a:pt x="32" y="6"/>
                    </a:cubicBezTo>
                    <a:cubicBezTo>
                      <a:pt x="30" y="5"/>
                      <a:pt x="29" y="6"/>
                      <a:pt x="28" y="5"/>
                    </a:cubicBezTo>
                    <a:cubicBezTo>
                      <a:pt x="27" y="5"/>
                      <a:pt x="26" y="4"/>
                      <a:pt x="25" y="4"/>
                    </a:cubicBezTo>
                    <a:cubicBezTo>
                      <a:pt x="25" y="4"/>
                      <a:pt x="25" y="4"/>
                      <a:pt x="24" y="4"/>
                    </a:cubicBezTo>
                    <a:cubicBezTo>
                      <a:pt x="24" y="4"/>
                      <a:pt x="22" y="7"/>
                      <a:pt x="21" y="8"/>
                    </a:cubicBezTo>
                    <a:cubicBezTo>
                      <a:pt x="20" y="9"/>
                      <a:pt x="19" y="10"/>
                      <a:pt x="18" y="10"/>
                    </a:cubicBezTo>
                    <a:cubicBezTo>
                      <a:pt x="18" y="10"/>
                      <a:pt x="17" y="9"/>
                      <a:pt x="15" y="9"/>
                    </a:cubicBezTo>
                    <a:cubicBezTo>
                      <a:pt x="16" y="8"/>
                      <a:pt x="18" y="8"/>
                      <a:pt x="19" y="8"/>
                    </a:cubicBezTo>
                    <a:cubicBezTo>
                      <a:pt x="18" y="8"/>
                      <a:pt x="17" y="7"/>
                      <a:pt x="16" y="7"/>
                    </a:cubicBezTo>
                    <a:cubicBezTo>
                      <a:pt x="18" y="7"/>
                      <a:pt x="24" y="4"/>
                      <a:pt x="20" y="2"/>
                    </a:cubicBezTo>
                    <a:cubicBezTo>
                      <a:pt x="19" y="1"/>
                      <a:pt x="16"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10"/>
              <p:cNvSpPr/>
              <p:nvPr/>
            </p:nvSpPr>
            <p:spPr bwMode="auto">
              <a:xfrm>
                <a:off x="1595" y="1339"/>
                <a:ext cx="71" cy="40"/>
              </a:xfrm>
              <a:custGeom>
                <a:gdLst>
                  <a:gd name="T0" fmla="*/ 15 w 30"/>
                  <a:gd name="T1" fmla="*/ 0 h 17"/>
                  <a:gd name="T2" fmla="*/ 14 w 30"/>
                  <a:gd name="T3" fmla="*/ 0 h 17"/>
                  <a:gd name="T4" fmla="*/ 9 w 30"/>
                  <a:gd name="T5" fmla="*/ 3 h 17"/>
                  <a:gd name="T6" fmla="*/ 11 w 30"/>
                  <a:gd name="T7" fmla="*/ 5 h 17"/>
                  <a:gd name="T8" fmla="*/ 12 w 30"/>
                  <a:gd name="T9" fmla="*/ 7 h 17"/>
                  <a:gd name="T10" fmla="*/ 6 w 30"/>
                  <a:gd name="T11" fmla="*/ 6 h 17"/>
                  <a:gd name="T12" fmla="*/ 6 w 30"/>
                  <a:gd name="T13" fmla="*/ 6 h 17"/>
                  <a:gd name="T14" fmla="*/ 8 w 30"/>
                  <a:gd name="T15" fmla="*/ 11 h 17"/>
                  <a:gd name="T16" fmla="*/ 4 w 30"/>
                  <a:gd name="T17" fmla="*/ 10 h 17"/>
                  <a:gd name="T18" fmla="*/ 2 w 30"/>
                  <a:gd name="T19" fmla="*/ 13 h 17"/>
                  <a:gd name="T20" fmla="*/ 3 w 30"/>
                  <a:gd name="T21" fmla="*/ 13 h 17"/>
                  <a:gd name="T22" fmla="*/ 3 w 30"/>
                  <a:gd name="T23" fmla="*/ 13 h 17"/>
                  <a:gd name="T24" fmla="*/ 4 w 30"/>
                  <a:gd name="T25" fmla="*/ 13 h 17"/>
                  <a:gd name="T26" fmla="*/ 4 w 30"/>
                  <a:gd name="T27" fmla="*/ 13 h 17"/>
                  <a:gd name="T28" fmla="*/ 5 w 30"/>
                  <a:gd name="T29" fmla="*/ 15 h 17"/>
                  <a:gd name="T30" fmla="*/ 9 w 30"/>
                  <a:gd name="T31" fmla="*/ 17 h 17"/>
                  <a:gd name="T32" fmla="*/ 16 w 30"/>
                  <a:gd name="T33" fmla="*/ 10 h 17"/>
                  <a:gd name="T34" fmla="*/ 21 w 30"/>
                  <a:gd name="T35" fmla="*/ 12 h 17"/>
                  <a:gd name="T36" fmla="*/ 22 w 30"/>
                  <a:gd name="T37" fmla="*/ 12 h 17"/>
                  <a:gd name="T38" fmla="*/ 23 w 30"/>
                  <a:gd name="T39" fmla="*/ 8 h 17"/>
                  <a:gd name="T40" fmla="*/ 27 w 30"/>
                  <a:gd name="T41" fmla="*/ 11 h 17"/>
                  <a:gd name="T42" fmla="*/ 29 w 30"/>
                  <a:gd name="T43" fmla="*/ 8 h 17"/>
                  <a:gd name="T44" fmla="*/ 30 w 30"/>
                  <a:gd name="T45" fmla="*/ 5 h 17"/>
                  <a:gd name="T46" fmla="*/ 27 w 30"/>
                  <a:gd name="T47" fmla="*/ 8 h 17"/>
                  <a:gd name="T48" fmla="*/ 26 w 30"/>
                  <a:gd name="T49" fmla="*/ 4 h 17"/>
                  <a:gd name="T50" fmla="*/ 25 w 30"/>
                  <a:gd name="T51" fmla="*/ 4 h 17"/>
                  <a:gd name="T52" fmla="*/ 25 w 30"/>
                  <a:gd name="T53" fmla="*/ 4 h 17"/>
                  <a:gd name="T54" fmla="*/ 24 w 30"/>
                  <a:gd name="T55" fmla="*/ 4 h 17"/>
                  <a:gd name="T56" fmla="*/ 23 w 30"/>
                  <a:gd name="T57" fmla="*/ 3 h 17"/>
                  <a:gd name="T58" fmla="*/ 22 w 30"/>
                  <a:gd name="T59" fmla="*/ 2 h 17"/>
                  <a:gd name="T60" fmla="*/ 20 w 30"/>
                  <a:gd name="T61" fmla="*/ 6 h 17"/>
                  <a:gd name="T62" fmla="*/ 15 w 30"/>
                  <a:gd name="T6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17">
                    <a:moveTo>
                      <a:pt x="15" y="0"/>
                    </a:moveTo>
                    <a:cubicBezTo>
                      <a:pt x="15" y="0"/>
                      <a:pt x="14" y="0"/>
                      <a:pt x="14" y="0"/>
                    </a:cubicBezTo>
                    <a:cubicBezTo>
                      <a:pt x="12" y="1"/>
                      <a:pt x="11" y="3"/>
                      <a:pt x="9" y="3"/>
                    </a:cubicBezTo>
                    <a:cubicBezTo>
                      <a:pt x="10" y="3"/>
                      <a:pt x="11" y="4"/>
                      <a:pt x="11" y="5"/>
                    </a:cubicBezTo>
                    <a:cubicBezTo>
                      <a:pt x="11" y="5"/>
                      <a:pt x="11" y="6"/>
                      <a:pt x="12" y="7"/>
                    </a:cubicBezTo>
                    <a:cubicBezTo>
                      <a:pt x="11" y="7"/>
                      <a:pt x="7" y="6"/>
                      <a:pt x="6" y="6"/>
                    </a:cubicBezTo>
                    <a:cubicBezTo>
                      <a:pt x="6" y="6"/>
                      <a:pt x="6" y="6"/>
                      <a:pt x="6" y="6"/>
                    </a:cubicBezTo>
                    <a:cubicBezTo>
                      <a:pt x="1" y="7"/>
                      <a:pt x="6" y="9"/>
                      <a:pt x="8" y="11"/>
                    </a:cubicBezTo>
                    <a:cubicBezTo>
                      <a:pt x="7" y="11"/>
                      <a:pt x="5" y="10"/>
                      <a:pt x="4" y="10"/>
                    </a:cubicBezTo>
                    <a:cubicBezTo>
                      <a:pt x="1" y="10"/>
                      <a:pt x="0" y="11"/>
                      <a:pt x="2" y="13"/>
                    </a:cubicBezTo>
                    <a:cubicBezTo>
                      <a:pt x="3" y="13"/>
                      <a:pt x="3" y="13"/>
                      <a:pt x="3" y="13"/>
                    </a:cubicBezTo>
                    <a:cubicBezTo>
                      <a:pt x="3" y="13"/>
                      <a:pt x="3" y="13"/>
                      <a:pt x="3" y="13"/>
                    </a:cubicBezTo>
                    <a:cubicBezTo>
                      <a:pt x="3" y="13"/>
                      <a:pt x="4" y="13"/>
                      <a:pt x="4" y="13"/>
                    </a:cubicBezTo>
                    <a:cubicBezTo>
                      <a:pt x="4" y="13"/>
                      <a:pt x="4" y="13"/>
                      <a:pt x="4" y="13"/>
                    </a:cubicBezTo>
                    <a:cubicBezTo>
                      <a:pt x="5" y="13"/>
                      <a:pt x="4" y="14"/>
                      <a:pt x="5" y="15"/>
                    </a:cubicBezTo>
                    <a:cubicBezTo>
                      <a:pt x="6" y="15"/>
                      <a:pt x="8" y="16"/>
                      <a:pt x="9" y="17"/>
                    </a:cubicBezTo>
                    <a:cubicBezTo>
                      <a:pt x="12" y="15"/>
                      <a:pt x="14" y="12"/>
                      <a:pt x="16" y="10"/>
                    </a:cubicBezTo>
                    <a:cubicBezTo>
                      <a:pt x="17" y="11"/>
                      <a:pt x="20" y="12"/>
                      <a:pt x="21" y="12"/>
                    </a:cubicBezTo>
                    <a:cubicBezTo>
                      <a:pt x="22" y="12"/>
                      <a:pt x="22" y="12"/>
                      <a:pt x="22" y="12"/>
                    </a:cubicBezTo>
                    <a:cubicBezTo>
                      <a:pt x="23" y="12"/>
                      <a:pt x="23" y="9"/>
                      <a:pt x="23" y="8"/>
                    </a:cubicBezTo>
                    <a:cubicBezTo>
                      <a:pt x="24" y="10"/>
                      <a:pt x="25" y="11"/>
                      <a:pt x="27" y="11"/>
                    </a:cubicBezTo>
                    <a:cubicBezTo>
                      <a:pt x="27" y="11"/>
                      <a:pt x="28" y="10"/>
                      <a:pt x="29" y="8"/>
                    </a:cubicBezTo>
                    <a:cubicBezTo>
                      <a:pt x="30" y="6"/>
                      <a:pt x="30" y="5"/>
                      <a:pt x="30" y="5"/>
                    </a:cubicBezTo>
                    <a:cubicBezTo>
                      <a:pt x="29" y="5"/>
                      <a:pt x="28" y="7"/>
                      <a:pt x="27" y="8"/>
                    </a:cubicBezTo>
                    <a:cubicBezTo>
                      <a:pt x="26" y="5"/>
                      <a:pt x="28" y="5"/>
                      <a:pt x="26" y="4"/>
                    </a:cubicBezTo>
                    <a:cubicBezTo>
                      <a:pt x="26" y="4"/>
                      <a:pt x="26" y="4"/>
                      <a:pt x="25" y="4"/>
                    </a:cubicBezTo>
                    <a:cubicBezTo>
                      <a:pt x="25" y="4"/>
                      <a:pt x="25" y="4"/>
                      <a:pt x="25" y="4"/>
                    </a:cubicBezTo>
                    <a:cubicBezTo>
                      <a:pt x="25" y="4"/>
                      <a:pt x="25" y="4"/>
                      <a:pt x="24" y="4"/>
                    </a:cubicBezTo>
                    <a:cubicBezTo>
                      <a:pt x="24" y="4"/>
                      <a:pt x="24" y="4"/>
                      <a:pt x="23" y="3"/>
                    </a:cubicBezTo>
                    <a:cubicBezTo>
                      <a:pt x="23" y="2"/>
                      <a:pt x="22" y="2"/>
                      <a:pt x="22" y="2"/>
                    </a:cubicBezTo>
                    <a:cubicBezTo>
                      <a:pt x="21" y="2"/>
                      <a:pt x="20" y="6"/>
                      <a:pt x="20" y="6"/>
                    </a:cubicBezTo>
                    <a:cubicBezTo>
                      <a:pt x="20" y="6"/>
                      <a:pt x="17"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11"/>
              <p:cNvSpPr/>
              <p:nvPr/>
            </p:nvSpPr>
            <p:spPr bwMode="auto">
              <a:xfrm>
                <a:off x="2550" y="1431"/>
                <a:ext cx="19" cy="26"/>
              </a:xfrm>
              <a:custGeom>
                <a:gdLst>
                  <a:gd name="T0" fmla="*/ 1 w 8"/>
                  <a:gd name="T1" fmla="*/ 0 h 11"/>
                  <a:gd name="T2" fmla="*/ 0 w 8"/>
                  <a:gd name="T3" fmla="*/ 2 h 11"/>
                  <a:gd name="T4" fmla="*/ 2 w 8"/>
                  <a:gd name="T5" fmla="*/ 6 h 11"/>
                  <a:gd name="T6" fmla="*/ 0 w 8"/>
                  <a:gd name="T7" fmla="*/ 10 h 11"/>
                  <a:gd name="T8" fmla="*/ 2 w 8"/>
                  <a:gd name="T9" fmla="*/ 11 h 11"/>
                  <a:gd name="T10" fmla="*/ 4 w 8"/>
                  <a:gd name="T11" fmla="*/ 11 h 11"/>
                  <a:gd name="T12" fmla="*/ 3 w 8"/>
                  <a:gd name="T13" fmla="*/ 0 h 11"/>
                  <a:gd name="T14" fmla="*/ 1 w 8"/>
                  <a:gd name="T15" fmla="*/ 0 h 1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1" y="0"/>
                    </a:moveTo>
                    <a:cubicBezTo>
                      <a:pt x="0" y="0"/>
                      <a:pt x="0" y="1"/>
                      <a:pt x="0" y="2"/>
                    </a:cubicBezTo>
                    <a:cubicBezTo>
                      <a:pt x="0" y="4"/>
                      <a:pt x="0" y="5"/>
                      <a:pt x="2" y="6"/>
                    </a:cubicBezTo>
                    <a:cubicBezTo>
                      <a:pt x="3" y="7"/>
                      <a:pt x="0" y="8"/>
                      <a:pt x="0" y="10"/>
                    </a:cubicBezTo>
                    <a:cubicBezTo>
                      <a:pt x="0" y="11"/>
                      <a:pt x="1" y="11"/>
                      <a:pt x="2" y="11"/>
                    </a:cubicBezTo>
                    <a:cubicBezTo>
                      <a:pt x="3" y="11"/>
                      <a:pt x="4" y="11"/>
                      <a:pt x="4" y="11"/>
                    </a:cubicBezTo>
                    <a:cubicBezTo>
                      <a:pt x="8" y="9"/>
                      <a:pt x="5" y="3"/>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12"/>
              <p:cNvSpPr/>
              <p:nvPr/>
            </p:nvSpPr>
            <p:spPr bwMode="auto">
              <a:xfrm>
                <a:off x="1510" y="1379"/>
                <a:ext cx="146" cy="100"/>
              </a:xfrm>
              <a:custGeom>
                <a:gdLst>
                  <a:gd name="T0" fmla="*/ 35 w 62"/>
                  <a:gd name="T1" fmla="*/ 0 h 42"/>
                  <a:gd name="T2" fmla="*/ 36 w 62"/>
                  <a:gd name="T3" fmla="*/ 3 h 42"/>
                  <a:gd name="T4" fmla="*/ 33 w 62"/>
                  <a:gd name="T5" fmla="*/ 6 h 42"/>
                  <a:gd name="T6" fmla="*/ 34 w 62"/>
                  <a:gd name="T7" fmla="*/ 9 h 42"/>
                  <a:gd name="T8" fmla="*/ 33 w 62"/>
                  <a:gd name="T9" fmla="*/ 9 h 42"/>
                  <a:gd name="T10" fmla="*/ 32 w 62"/>
                  <a:gd name="T11" fmla="*/ 9 h 42"/>
                  <a:gd name="T12" fmla="*/ 29 w 62"/>
                  <a:gd name="T13" fmla="*/ 5 h 42"/>
                  <a:gd name="T14" fmla="*/ 20 w 62"/>
                  <a:gd name="T15" fmla="*/ 7 h 42"/>
                  <a:gd name="T16" fmla="*/ 23 w 62"/>
                  <a:gd name="T17" fmla="*/ 11 h 42"/>
                  <a:gd name="T18" fmla="*/ 26 w 62"/>
                  <a:gd name="T19" fmla="*/ 15 h 42"/>
                  <a:gd name="T20" fmla="*/ 22 w 62"/>
                  <a:gd name="T21" fmla="*/ 14 h 42"/>
                  <a:gd name="T22" fmla="*/ 16 w 62"/>
                  <a:gd name="T23" fmla="*/ 15 h 42"/>
                  <a:gd name="T24" fmla="*/ 12 w 62"/>
                  <a:gd name="T25" fmla="*/ 11 h 42"/>
                  <a:gd name="T26" fmla="*/ 9 w 62"/>
                  <a:gd name="T27" fmla="*/ 14 h 42"/>
                  <a:gd name="T28" fmla="*/ 5 w 62"/>
                  <a:gd name="T29" fmla="*/ 15 h 42"/>
                  <a:gd name="T30" fmla="*/ 0 w 62"/>
                  <a:gd name="T31" fmla="*/ 22 h 42"/>
                  <a:gd name="T32" fmla="*/ 6 w 62"/>
                  <a:gd name="T33" fmla="*/ 30 h 42"/>
                  <a:gd name="T34" fmla="*/ 12 w 62"/>
                  <a:gd name="T35" fmla="*/ 38 h 42"/>
                  <a:gd name="T36" fmla="*/ 15 w 62"/>
                  <a:gd name="T37" fmla="*/ 33 h 42"/>
                  <a:gd name="T38" fmla="*/ 13 w 62"/>
                  <a:gd name="T39" fmla="*/ 28 h 42"/>
                  <a:gd name="T40" fmla="*/ 19 w 62"/>
                  <a:gd name="T41" fmla="*/ 29 h 42"/>
                  <a:gd name="T42" fmla="*/ 16 w 62"/>
                  <a:gd name="T43" fmla="*/ 34 h 42"/>
                  <a:gd name="T44" fmla="*/ 16 w 62"/>
                  <a:gd name="T45" fmla="*/ 42 h 42"/>
                  <a:gd name="T46" fmla="*/ 18 w 62"/>
                  <a:gd name="T47" fmla="*/ 41 h 42"/>
                  <a:gd name="T48" fmla="*/ 20 w 62"/>
                  <a:gd name="T49" fmla="*/ 41 h 42"/>
                  <a:gd name="T50" fmla="*/ 26 w 62"/>
                  <a:gd name="T51" fmla="*/ 35 h 42"/>
                  <a:gd name="T52" fmla="*/ 29 w 62"/>
                  <a:gd name="T53" fmla="*/ 30 h 42"/>
                  <a:gd name="T54" fmla="*/ 33 w 62"/>
                  <a:gd name="T55" fmla="*/ 28 h 42"/>
                  <a:gd name="T56" fmla="*/ 43 w 62"/>
                  <a:gd name="T57" fmla="*/ 24 h 42"/>
                  <a:gd name="T58" fmla="*/ 45 w 62"/>
                  <a:gd name="T59" fmla="*/ 23 h 42"/>
                  <a:gd name="T60" fmla="*/ 43 w 62"/>
                  <a:gd name="T61" fmla="*/ 16 h 42"/>
                  <a:gd name="T62" fmla="*/ 57 w 62"/>
                  <a:gd name="T63" fmla="*/ 17 h 42"/>
                  <a:gd name="T64" fmla="*/ 61 w 62"/>
                  <a:gd name="T65" fmla="*/ 12 h 42"/>
                  <a:gd name="T66" fmla="*/ 59 w 62"/>
                  <a:gd name="T67" fmla="*/ 12 h 42"/>
                  <a:gd name="T68" fmla="*/ 58 w 62"/>
                  <a:gd name="T69" fmla="*/ 12 h 42"/>
                  <a:gd name="T70" fmla="*/ 56 w 62"/>
                  <a:gd name="T71" fmla="*/ 10 h 42"/>
                  <a:gd name="T72" fmla="*/ 57 w 62"/>
                  <a:gd name="T73" fmla="*/ 5 h 42"/>
                  <a:gd name="T74" fmla="*/ 56 w 62"/>
                  <a:gd name="T75" fmla="*/ 5 h 42"/>
                  <a:gd name="T76" fmla="*/ 55 w 62"/>
                  <a:gd name="T77" fmla="*/ 5 h 42"/>
                  <a:gd name="T78" fmla="*/ 51 w 62"/>
                  <a:gd name="T79" fmla="*/ 4 h 42"/>
                  <a:gd name="T80" fmla="*/ 49 w 62"/>
                  <a:gd name="T81" fmla="*/ 4 h 42"/>
                  <a:gd name="T82" fmla="*/ 47 w 62"/>
                  <a:gd name="T83" fmla="*/ 4 h 42"/>
                  <a:gd name="T84" fmla="*/ 43 w 62"/>
                  <a:gd name="T85" fmla="*/ 2 h 42"/>
                  <a:gd name="T86" fmla="*/ 42 w 62"/>
                  <a:gd name="T87" fmla="*/ 2 h 42"/>
                  <a:gd name="T88" fmla="*/ 35 w 62"/>
                  <a:gd name="T89" fmla="*/ 0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42">
                    <a:moveTo>
                      <a:pt x="35" y="0"/>
                    </a:moveTo>
                    <a:cubicBezTo>
                      <a:pt x="35" y="0"/>
                      <a:pt x="35" y="0"/>
                      <a:pt x="35" y="0"/>
                    </a:cubicBezTo>
                    <a:cubicBezTo>
                      <a:pt x="35" y="0"/>
                      <a:pt x="40" y="4"/>
                      <a:pt x="40" y="5"/>
                    </a:cubicBezTo>
                    <a:cubicBezTo>
                      <a:pt x="39" y="5"/>
                      <a:pt x="38" y="4"/>
                      <a:pt x="36" y="3"/>
                    </a:cubicBezTo>
                    <a:cubicBezTo>
                      <a:pt x="37" y="4"/>
                      <a:pt x="38" y="6"/>
                      <a:pt x="37" y="7"/>
                    </a:cubicBezTo>
                    <a:cubicBezTo>
                      <a:pt x="37" y="6"/>
                      <a:pt x="34" y="6"/>
                      <a:pt x="33" y="6"/>
                    </a:cubicBezTo>
                    <a:cubicBezTo>
                      <a:pt x="32" y="5"/>
                      <a:pt x="32" y="5"/>
                      <a:pt x="31" y="5"/>
                    </a:cubicBezTo>
                    <a:cubicBezTo>
                      <a:pt x="30" y="5"/>
                      <a:pt x="34" y="8"/>
                      <a:pt x="34" y="9"/>
                    </a:cubicBezTo>
                    <a:cubicBezTo>
                      <a:pt x="35" y="9"/>
                      <a:pt x="34" y="9"/>
                      <a:pt x="34" y="9"/>
                    </a:cubicBezTo>
                    <a:cubicBezTo>
                      <a:pt x="34" y="9"/>
                      <a:pt x="33" y="9"/>
                      <a:pt x="33" y="9"/>
                    </a:cubicBezTo>
                    <a:cubicBezTo>
                      <a:pt x="33" y="9"/>
                      <a:pt x="32" y="7"/>
                      <a:pt x="32" y="7"/>
                    </a:cubicBezTo>
                    <a:cubicBezTo>
                      <a:pt x="31" y="7"/>
                      <a:pt x="31" y="8"/>
                      <a:pt x="32" y="9"/>
                    </a:cubicBezTo>
                    <a:cubicBezTo>
                      <a:pt x="32" y="9"/>
                      <a:pt x="32" y="10"/>
                      <a:pt x="32" y="10"/>
                    </a:cubicBezTo>
                    <a:cubicBezTo>
                      <a:pt x="31" y="10"/>
                      <a:pt x="29" y="6"/>
                      <a:pt x="29" y="5"/>
                    </a:cubicBezTo>
                    <a:cubicBezTo>
                      <a:pt x="28" y="4"/>
                      <a:pt x="26" y="3"/>
                      <a:pt x="24" y="3"/>
                    </a:cubicBezTo>
                    <a:cubicBezTo>
                      <a:pt x="22" y="3"/>
                      <a:pt x="21" y="4"/>
                      <a:pt x="20" y="7"/>
                    </a:cubicBezTo>
                    <a:cubicBezTo>
                      <a:pt x="20" y="11"/>
                      <a:pt x="27" y="9"/>
                      <a:pt x="28" y="13"/>
                    </a:cubicBezTo>
                    <a:cubicBezTo>
                      <a:pt x="27" y="13"/>
                      <a:pt x="25" y="11"/>
                      <a:pt x="23" y="11"/>
                    </a:cubicBezTo>
                    <a:cubicBezTo>
                      <a:pt x="23" y="11"/>
                      <a:pt x="22" y="11"/>
                      <a:pt x="22" y="11"/>
                    </a:cubicBezTo>
                    <a:cubicBezTo>
                      <a:pt x="21" y="12"/>
                      <a:pt x="25" y="14"/>
                      <a:pt x="26" y="15"/>
                    </a:cubicBezTo>
                    <a:cubicBezTo>
                      <a:pt x="26" y="15"/>
                      <a:pt x="26" y="15"/>
                      <a:pt x="26" y="15"/>
                    </a:cubicBezTo>
                    <a:cubicBezTo>
                      <a:pt x="25" y="15"/>
                      <a:pt x="23" y="14"/>
                      <a:pt x="22" y="14"/>
                    </a:cubicBezTo>
                    <a:cubicBezTo>
                      <a:pt x="23" y="14"/>
                      <a:pt x="23" y="15"/>
                      <a:pt x="23" y="16"/>
                    </a:cubicBezTo>
                    <a:cubicBezTo>
                      <a:pt x="21" y="16"/>
                      <a:pt x="19" y="16"/>
                      <a:pt x="16" y="15"/>
                    </a:cubicBezTo>
                    <a:cubicBezTo>
                      <a:pt x="20" y="12"/>
                      <a:pt x="17" y="11"/>
                      <a:pt x="14" y="11"/>
                    </a:cubicBezTo>
                    <a:cubicBezTo>
                      <a:pt x="14" y="11"/>
                      <a:pt x="13" y="11"/>
                      <a:pt x="12" y="11"/>
                    </a:cubicBezTo>
                    <a:cubicBezTo>
                      <a:pt x="11" y="12"/>
                      <a:pt x="10" y="12"/>
                      <a:pt x="8" y="14"/>
                    </a:cubicBezTo>
                    <a:cubicBezTo>
                      <a:pt x="9" y="14"/>
                      <a:pt x="9" y="14"/>
                      <a:pt x="9" y="14"/>
                    </a:cubicBezTo>
                    <a:cubicBezTo>
                      <a:pt x="9" y="14"/>
                      <a:pt x="8" y="14"/>
                      <a:pt x="8" y="14"/>
                    </a:cubicBezTo>
                    <a:cubicBezTo>
                      <a:pt x="7" y="14"/>
                      <a:pt x="6" y="14"/>
                      <a:pt x="5" y="15"/>
                    </a:cubicBezTo>
                    <a:cubicBezTo>
                      <a:pt x="4" y="16"/>
                      <a:pt x="4" y="17"/>
                      <a:pt x="4" y="18"/>
                    </a:cubicBezTo>
                    <a:cubicBezTo>
                      <a:pt x="3" y="19"/>
                      <a:pt x="0" y="20"/>
                      <a:pt x="0" y="22"/>
                    </a:cubicBezTo>
                    <a:cubicBezTo>
                      <a:pt x="0" y="25"/>
                      <a:pt x="1" y="23"/>
                      <a:pt x="3" y="24"/>
                    </a:cubicBezTo>
                    <a:cubicBezTo>
                      <a:pt x="6" y="25"/>
                      <a:pt x="6" y="27"/>
                      <a:pt x="6" y="30"/>
                    </a:cubicBezTo>
                    <a:cubicBezTo>
                      <a:pt x="7" y="33"/>
                      <a:pt x="7" y="32"/>
                      <a:pt x="9" y="34"/>
                    </a:cubicBezTo>
                    <a:cubicBezTo>
                      <a:pt x="10" y="35"/>
                      <a:pt x="11" y="36"/>
                      <a:pt x="12" y="38"/>
                    </a:cubicBezTo>
                    <a:cubicBezTo>
                      <a:pt x="12" y="36"/>
                      <a:pt x="14" y="37"/>
                      <a:pt x="13" y="35"/>
                    </a:cubicBezTo>
                    <a:cubicBezTo>
                      <a:pt x="14" y="35"/>
                      <a:pt x="15" y="34"/>
                      <a:pt x="15" y="33"/>
                    </a:cubicBezTo>
                    <a:cubicBezTo>
                      <a:pt x="15" y="31"/>
                      <a:pt x="9" y="30"/>
                      <a:pt x="7" y="29"/>
                    </a:cubicBezTo>
                    <a:cubicBezTo>
                      <a:pt x="9" y="29"/>
                      <a:pt x="12" y="29"/>
                      <a:pt x="13" y="28"/>
                    </a:cubicBezTo>
                    <a:cubicBezTo>
                      <a:pt x="13" y="28"/>
                      <a:pt x="13" y="28"/>
                      <a:pt x="14" y="28"/>
                    </a:cubicBezTo>
                    <a:cubicBezTo>
                      <a:pt x="15" y="28"/>
                      <a:pt x="17" y="29"/>
                      <a:pt x="19" y="29"/>
                    </a:cubicBezTo>
                    <a:cubicBezTo>
                      <a:pt x="18" y="30"/>
                      <a:pt x="15" y="32"/>
                      <a:pt x="16" y="33"/>
                    </a:cubicBezTo>
                    <a:cubicBezTo>
                      <a:pt x="16" y="34"/>
                      <a:pt x="16" y="34"/>
                      <a:pt x="16" y="34"/>
                    </a:cubicBezTo>
                    <a:cubicBezTo>
                      <a:pt x="18" y="34"/>
                      <a:pt x="22" y="28"/>
                      <a:pt x="24" y="28"/>
                    </a:cubicBezTo>
                    <a:cubicBezTo>
                      <a:pt x="21" y="33"/>
                      <a:pt x="17" y="36"/>
                      <a:pt x="16" y="42"/>
                    </a:cubicBezTo>
                    <a:cubicBezTo>
                      <a:pt x="16" y="41"/>
                      <a:pt x="17" y="41"/>
                      <a:pt x="17" y="41"/>
                    </a:cubicBezTo>
                    <a:cubicBezTo>
                      <a:pt x="17" y="41"/>
                      <a:pt x="18" y="41"/>
                      <a:pt x="18" y="41"/>
                    </a:cubicBezTo>
                    <a:cubicBezTo>
                      <a:pt x="18" y="41"/>
                      <a:pt x="19" y="41"/>
                      <a:pt x="19" y="41"/>
                    </a:cubicBezTo>
                    <a:cubicBezTo>
                      <a:pt x="19" y="41"/>
                      <a:pt x="20" y="41"/>
                      <a:pt x="20" y="41"/>
                    </a:cubicBezTo>
                    <a:cubicBezTo>
                      <a:pt x="21" y="41"/>
                      <a:pt x="22" y="39"/>
                      <a:pt x="23" y="38"/>
                    </a:cubicBezTo>
                    <a:cubicBezTo>
                      <a:pt x="24" y="38"/>
                      <a:pt x="25" y="36"/>
                      <a:pt x="26" y="35"/>
                    </a:cubicBezTo>
                    <a:cubicBezTo>
                      <a:pt x="31" y="33"/>
                      <a:pt x="28" y="34"/>
                      <a:pt x="24" y="31"/>
                    </a:cubicBezTo>
                    <a:cubicBezTo>
                      <a:pt x="25" y="31"/>
                      <a:pt x="29" y="31"/>
                      <a:pt x="29" y="30"/>
                    </a:cubicBezTo>
                    <a:cubicBezTo>
                      <a:pt x="30" y="29"/>
                      <a:pt x="29" y="27"/>
                      <a:pt x="30" y="27"/>
                    </a:cubicBezTo>
                    <a:cubicBezTo>
                      <a:pt x="31" y="27"/>
                      <a:pt x="32" y="27"/>
                      <a:pt x="33" y="28"/>
                    </a:cubicBezTo>
                    <a:cubicBezTo>
                      <a:pt x="34" y="28"/>
                      <a:pt x="35" y="27"/>
                      <a:pt x="37" y="26"/>
                    </a:cubicBezTo>
                    <a:cubicBezTo>
                      <a:pt x="38" y="26"/>
                      <a:pt x="41" y="25"/>
                      <a:pt x="43" y="24"/>
                    </a:cubicBezTo>
                    <a:cubicBezTo>
                      <a:pt x="42" y="23"/>
                      <a:pt x="40" y="23"/>
                      <a:pt x="39" y="22"/>
                    </a:cubicBezTo>
                    <a:cubicBezTo>
                      <a:pt x="40" y="22"/>
                      <a:pt x="43" y="23"/>
                      <a:pt x="45" y="23"/>
                    </a:cubicBezTo>
                    <a:cubicBezTo>
                      <a:pt x="49" y="23"/>
                      <a:pt x="52" y="22"/>
                      <a:pt x="50" y="19"/>
                    </a:cubicBezTo>
                    <a:cubicBezTo>
                      <a:pt x="48" y="18"/>
                      <a:pt x="45" y="18"/>
                      <a:pt x="43" y="16"/>
                    </a:cubicBezTo>
                    <a:cubicBezTo>
                      <a:pt x="47" y="16"/>
                      <a:pt x="50" y="18"/>
                      <a:pt x="54" y="18"/>
                    </a:cubicBezTo>
                    <a:cubicBezTo>
                      <a:pt x="55" y="18"/>
                      <a:pt x="56" y="18"/>
                      <a:pt x="57" y="17"/>
                    </a:cubicBezTo>
                    <a:cubicBezTo>
                      <a:pt x="58" y="17"/>
                      <a:pt x="62" y="13"/>
                      <a:pt x="61" y="12"/>
                    </a:cubicBezTo>
                    <a:cubicBezTo>
                      <a:pt x="61" y="12"/>
                      <a:pt x="61" y="12"/>
                      <a:pt x="61" y="12"/>
                    </a:cubicBezTo>
                    <a:cubicBezTo>
                      <a:pt x="60" y="12"/>
                      <a:pt x="60" y="12"/>
                      <a:pt x="60" y="12"/>
                    </a:cubicBezTo>
                    <a:cubicBezTo>
                      <a:pt x="59" y="12"/>
                      <a:pt x="59" y="12"/>
                      <a:pt x="59" y="12"/>
                    </a:cubicBezTo>
                    <a:cubicBezTo>
                      <a:pt x="59" y="12"/>
                      <a:pt x="59" y="12"/>
                      <a:pt x="59" y="12"/>
                    </a:cubicBezTo>
                    <a:cubicBezTo>
                      <a:pt x="59" y="12"/>
                      <a:pt x="58" y="12"/>
                      <a:pt x="58" y="12"/>
                    </a:cubicBezTo>
                    <a:cubicBezTo>
                      <a:pt x="57" y="12"/>
                      <a:pt x="56" y="12"/>
                      <a:pt x="55" y="13"/>
                    </a:cubicBezTo>
                    <a:cubicBezTo>
                      <a:pt x="55" y="12"/>
                      <a:pt x="55" y="11"/>
                      <a:pt x="56" y="10"/>
                    </a:cubicBezTo>
                    <a:cubicBezTo>
                      <a:pt x="55" y="11"/>
                      <a:pt x="54" y="11"/>
                      <a:pt x="54" y="11"/>
                    </a:cubicBezTo>
                    <a:cubicBezTo>
                      <a:pt x="55" y="9"/>
                      <a:pt x="57" y="7"/>
                      <a:pt x="57" y="5"/>
                    </a:cubicBezTo>
                    <a:cubicBezTo>
                      <a:pt x="57" y="5"/>
                      <a:pt x="57" y="5"/>
                      <a:pt x="57" y="5"/>
                    </a:cubicBezTo>
                    <a:cubicBezTo>
                      <a:pt x="57" y="5"/>
                      <a:pt x="56" y="5"/>
                      <a:pt x="56" y="5"/>
                    </a:cubicBezTo>
                    <a:cubicBezTo>
                      <a:pt x="56" y="6"/>
                      <a:pt x="56" y="6"/>
                      <a:pt x="55" y="6"/>
                    </a:cubicBezTo>
                    <a:cubicBezTo>
                      <a:pt x="55" y="6"/>
                      <a:pt x="55" y="5"/>
                      <a:pt x="55" y="5"/>
                    </a:cubicBezTo>
                    <a:cubicBezTo>
                      <a:pt x="56" y="4"/>
                      <a:pt x="53" y="2"/>
                      <a:pt x="52" y="2"/>
                    </a:cubicBezTo>
                    <a:cubicBezTo>
                      <a:pt x="51" y="2"/>
                      <a:pt x="50" y="3"/>
                      <a:pt x="51" y="4"/>
                    </a:cubicBezTo>
                    <a:cubicBezTo>
                      <a:pt x="50" y="4"/>
                      <a:pt x="50" y="4"/>
                      <a:pt x="50" y="4"/>
                    </a:cubicBezTo>
                    <a:cubicBezTo>
                      <a:pt x="49" y="4"/>
                      <a:pt x="49" y="4"/>
                      <a:pt x="49" y="4"/>
                    </a:cubicBezTo>
                    <a:cubicBezTo>
                      <a:pt x="49" y="5"/>
                      <a:pt x="48" y="5"/>
                      <a:pt x="48" y="5"/>
                    </a:cubicBezTo>
                    <a:cubicBezTo>
                      <a:pt x="48" y="5"/>
                      <a:pt x="47" y="5"/>
                      <a:pt x="47" y="4"/>
                    </a:cubicBezTo>
                    <a:cubicBezTo>
                      <a:pt x="45" y="3"/>
                      <a:pt x="46" y="2"/>
                      <a:pt x="44" y="2"/>
                    </a:cubicBezTo>
                    <a:cubicBezTo>
                      <a:pt x="44" y="2"/>
                      <a:pt x="44" y="2"/>
                      <a:pt x="43" y="2"/>
                    </a:cubicBezTo>
                    <a:cubicBezTo>
                      <a:pt x="43" y="2"/>
                      <a:pt x="43" y="2"/>
                      <a:pt x="42" y="2"/>
                    </a:cubicBezTo>
                    <a:cubicBezTo>
                      <a:pt x="42" y="2"/>
                      <a:pt x="42" y="2"/>
                      <a:pt x="42" y="2"/>
                    </a:cubicBezTo>
                    <a:cubicBezTo>
                      <a:pt x="42" y="2"/>
                      <a:pt x="42" y="2"/>
                      <a:pt x="41" y="2"/>
                    </a:cubicBezTo>
                    <a:cubicBezTo>
                      <a:pt x="41" y="2"/>
                      <a:pt x="37"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13"/>
              <p:cNvSpPr/>
              <p:nvPr/>
            </p:nvSpPr>
            <p:spPr bwMode="auto">
              <a:xfrm>
                <a:off x="2510" y="1372"/>
                <a:ext cx="14" cy="17"/>
              </a:xfrm>
              <a:custGeom>
                <a:gdLst>
                  <a:gd name="T0" fmla="*/ 3 w 6"/>
                  <a:gd name="T1" fmla="*/ 0 h 7"/>
                  <a:gd name="T2" fmla="*/ 1 w 6"/>
                  <a:gd name="T3" fmla="*/ 4 h 7"/>
                  <a:gd name="T4" fmla="*/ 3 w 6"/>
                  <a:gd name="T5" fmla="*/ 7 h 7"/>
                  <a:gd name="T6" fmla="*/ 3 w 6"/>
                  <a:gd name="T7" fmla="*/ 0 h 7"/>
                </a:gdLst>
                <a:cxnLst>
                  <a:cxn ang="0">
                    <a:pos x="T0" y="T1"/>
                  </a:cxn>
                  <a:cxn ang="0">
                    <a:pos x="T2" y="T3"/>
                  </a:cxn>
                  <a:cxn ang="0">
                    <a:pos x="T4" y="T5"/>
                  </a:cxn>
                  <a:cxn ang="0">
                    <a:pos x="T6" y="T7"/>
                  </a:cxn>
                </a:cxnLst>
                <a:rect l="0" t="0" r="r" b="b"/>
                <a:pathLst>
                  <a:path w="6" h="7">
                    <a:moveTo>
                      <a:pt x="3" y="0"/>
                    </a:moveTo>
                    <a:cubicBezTo>
                      <a:pt x="1" y="1"/>
                      <a:pt x="0" y="2"/>
                      <a:pt x="1" y="4"/>
                    </a:cubicBezTo>
                    <a:cubicBezTo>
                      <a:pt x="1" y="5"/>
                      <a:pt x="2" y="6"/>
                      <a:pt x="3" y="7"/>
                    </a:cubicBezTo>
                    <a:cubicBezTo>
                      <a:pt x="5" y="4"/>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14"/>
              <p:cNvSpPr/>
              <p:nvPr/>
            </p:nvSpPr>
            <p:spPr bwMode="auto">
              <a:xfrm>
                <a:off x="2739" y="1498"/>
                <a:ext cx="26" cy="28"/>
              </a:xfrm>
              <a:custGeom>
                <a:gdLst>
                  <a:gd name="T0" fmla="*/ 1 w 11"/>
                  <a:gd name="T1" fmla="*/ 0 h 12"/>
                  <a:gd name="T2" fmla="*/ 3 w 11"/>
                  <a:gd name="T3" fmla="*/ 9 h 12"/>
                  <a:gd name="T4" fmla="*/ 7 w 11"/>
                  <a:gd name="T5" fmla="*/ 11 h 12"/>
                  <a:gd name="T6" fmla="*/ 8 w 11"/>
                  <a:gd name="T7" fmla="*/ 12 h 12"/>
                  <a:gd name="T8" fmla="*/ 8 w 11"/>
                  <a:gd name="T9" fmla="*/ 12 h 12"/>
                  <a:gd name="T10" fmla="*/ 11 w 11"/>
                  <a:gd name="T11" fmla="*/ 10 h 12"/>
                  <a:gd name="T12" fmla="*/ 1 w 11"/>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11" h="12">
                    <a:moveTo>
                      <a:pt x="1" y="0"/>
                    </a:moveTo>
                    <a:cubicBezTo>
                      <a:pt x="1" y="4"/>
                      <a:pt x="0" y="7"/>
                      <a:pt x="3" y="9"/>
                    </a:cubicBezTo>
                    <a:cubicBezTo>
                      <a:pt x="4" y="10"/>
                      <a:pt x="6" y="11"/>
                      <a:pt x="7" y="11"/>
                    </a:cubicBezTo>
                    <a:cubicBezTo>
                      <a:pt x="8" y="11"/>
                      <a:pt x="7" y="12"/>
                      <a:pt x="8" y="12"/>
                    </a:cubicBezTo>
                    <a:cubicBezTo>
                      <a:pt x="8" y="12"/>
                      <a:pt x="8" y="12"/>
                      <a:pt x="8" y="12"/>
                    </a:cubicBezTo>
                    <a:cubicBezTo>
                      <a:pt x="9" y="12"/>
                      <a:pt x="10" y="10"/>
                      <a:pt x="11" y="10"/>
                    </a:cubicBezTo>
                    <a:cubicBezTo>
                      <a:pt x="8" y="6"/>
                      <a:pt x="4"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15"/>
              <p:cNvSpPr/>
              <p:nvPr/>
            </p:nvSpPr>
            <p:spPr bwMode="auto">
              <a:xfrm>
                <a:off x="1171" y="1580"/>
                <a:ext cx="26" cy="22"/>
              </a:xfrm>
              <a:custGeom>
                <a:gdLst>
                  <a:gd name="T0" fmla="*/ 6 w 11"/>
                  <a:gd name="T1" fmla="*/ 0 h 9"/>
                  <a:gd name="T2" fmla="*/ 3 w 11"/>
                  <a:gd name="T3" fmla="*/ 9 h 9"/>
                  <a:gd name="T4" fmla="*/ 9 w 11"/>
                  <a:gd name="T5" fmla="*/ 8 h 9"/>
                  <a:gd name="T6" fmla="*/ 10 w 11"/>
                  <a:gd name="T7" fmla="*/ 8 h 9"/>
                  <a:gd name="T8" fmla="*/ 10 w 11"/>
                  <a:gd name="T9" fmla="*/ 8 h 9"/>
                  <a:gd name="T10" fmla="*/ 10 w 11"/>
                  <a:gd name="T11" fmla="*/ 8 h 9"/>
                  <a:gd name="T12" fmla="*/ 11 w 11"/>
                  <a:gd name="T13" fmla="*/ 7 h 9"/>
                  <a:gd name="T14" fmla="*/ 6 w 11"/>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6" y="0"/>
                    </a:moveTo>
                    <a:cubicBezTo>
                      <a:pt x="0" y="1"/>
                      <a:pt x="4" y="6"/>
                      <a:pt x="3" y="9"/>
                    </a:cubicBezTo>
                    <a:cubicBezTo>
                      <a:pt x="5" y="9"/>
                      <a:pt x="8" y="9"/>
                      <a:pt x="9" y="8"/>
                    </a:cubicBezTo>
                    <a:cubicBezTo>
                      <a:pt x="10" y="8"/>
                      <a:pt x="10" y="8"/>
                      <a:pt x="10" y="8"/>
                    </a:cubicBezTo>
                    <a:cubicBezTo>
                      <a:pt x="10" y="8"/>
                      <a:pt x="10" y="8"/>
                      <a:pt x="10" y="8"/>
                    </a:cubicBezTo>
                    <a:cubicBezTo>
                      <a:pt x="10" y="8"/>
                      <a:pt x="10" y="8"/>
                      <a:pt x="10" y="8"/>
                    </a:cubicBezTo>
                    <a:cubicBezTo>
                      <a:pt x="11" y="8"/>
                      <a:pt x="11" y="8"/>
                      <a:pt x="11" y="7"/>
                    </a:cubicBezTo>
                    <a:cubicBezTo>
                      <a:pt x="10" y="4"/>
                      <a:pt x="8"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16"/>
              <p:cNvSpPr/>
              <p:nvPr/>
            </p:nvSpPr>
            <p:spPr bwMode="auto">
              <a:xfrm>
                <a:off x="1214" y="1592"/>
                <a:ext cx="19" cy="31"/>
              </a:xfrm>
              <a:custGeom>
                <a:gdLst>
                  <a:gd name="T0" fmla="*/ 7 w 8"/>
                  <a:gd name="T1" fmla="*/ 0 h 13"/>
                  <a:gd name="T2" fmla="*/ 0 w 8"/>
                  <a:gd name="T3" fmla="*/ 5 h 13"/>
                  <a:gd name="T4" fmla="*/ 2 w 8"/>
                  <a:gd name="T5" fmla="*/ 8 h 13"/>
                  <a:gd name="T6" fmla="*/ 0 w 8"/>
                  <a:gd name="T7" fmla="*/ 13 h 13"/>
                  <a:gd name="T8" fmla="*/ 4 w 8"/>
                  <a:gd name="T9" fmla="*/ 7 h 13"/>
                  <a:gd name="T10" fmla="*/ 6 w 8"/>
                  <a:gd name="T11" fmla="*/ 5 h 13"/>
                  <a:gd name="T12" fmla="*/ 6 w 8"/>
                  <a:gd name="T13" fmla="*/ 4 h 13"/>
                  <a:gd name="T14" fmla="*/ 7 w 8"/>
                  <a:gd name="T15" fmla="*/ 5 h 13"/>
                  <a:gd name="T16" fmla="*/ 8 w 8"/>
                  <a:gd name="T17" fmla="*/ 3 h 13"/>
                  <a:gd name="T18" fmla="*/ 8 w 8"/>
                  <a:gd name="T19" fmla="*/ 0 h 13"/>
                  <a:gd name="T20" fmla="*/ 7 w 8"/>
                  <a:gd name="T21"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7" y="0"/>
                    </a:moveTo>
                    <a:cubicBezTo>
                      <a:pt x="6" y="0"/>
                      <a:pt x="1" y="3"/>
                      <a:pt x="0" y="5"/>
                    </a:cubicBezTo>
                    <a:cubicBezTo>
                      <a:pt x="0" y="5"/>
                      <a:pt x="2" y="7"/>
                      <a:pt x="2" y="8"/>
                    </a:cubicBezTo>
                    <a:cubicBezTo>
                      <a:pt x="2" y="9"/>
                      <a:pt x="0" y="11"/>
                      <a:pt x="0" y="13"/>
                    </a:cubicBezTo>
                    <a:cubicBezTo>
                      <a:pt x="1" y="10"/>
                      <a:pt x="2" y="9"/>
                      <a:pt x="4" y="7"/>
                    </a:cubicBezTo>
                    <a:cubicBezTo>
                      <a:pt x="4" y="7"/>
                      <a:pt x="6" y="6"/>
                      <a:pt x="6" y="5"/>
                    </a:cubicBezTo>
                    <a:cubicBezTo>
                      <a:pt x="5" y="5"/>
                      <a:pt x="5" y="4"/>
                      <a:pt x="6" y="4"/>
                    </a:cubicBezTo>
                    <a:cubicBezTo>
                      <a:pt x="6" y="4"/>
                      <a:pt x="7" y="5"/>
                      <a:pt x="7" y="5"/>
                    </a:cubicBezTo>
                    <a:cubicBezTo>
                      <a:pt x="7" y="5"/>
                      <a:pt x="8" y="4"/>
                      <a:pt x="8" y="3"/>
                    </a:cubicBezTo>
                    <a:cubicBezTo>
                      <a:pt x="8" y="3"/>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17"/>
              <p:cNvSpPr/>
              <p:nvPr/>
            </p:nvSpPr>
            <p:spPr bwMode="auto">
              <a:xfrm>
                <a:off x="795" y="1687"/>
                <a:ext cx="88" cy="57"/>
              </a:xfrm>
              <a:custGeom>
                <a:gdLst>
                  <a:gd name="T0" fmla="*/ 26 w 37"/>
                  <a:gd name="T1" fmla="*/ 0 h 24"/>
                  <a:gd name="T2" fmla="*/ 20 w 37"/>
                  <a:gd name="T3" fmla="*/ 1 h 24"/>
                  <a:gd name="T4" fmla="*/ 18 w 37"/>
                  <a:gd name="T5" fmla="*/ 6 h 24"/>
                  <a:gd name="T6" fmla="*/ 18 w 37"/>
                  <a:gd name="T7" fmla="*/ 8 h 24"/>
                  <a:gd name="T8" fmla="*/ 19 w 37"/>
                  <a:gd name="T9" fmla="*/ 8 h 24"/>
                  <a:gd name="T10" fmla="*/ 19 w 37"/>
                  <a:gd name="T11" fmla="*/ 8 h 24"/>
                  <a:gd name="T12" fmla="*/ 20 w 37"/>
                  <a:gd name="T13" fmla="*/ 8 h 24"/>
                  <a:gd name="T14" fmla="*/ 26 w 37"/>
                  <a:gd name="T15" fmla="*/ 9 h 24"/>
                  <a:gd name="T16" fmla="*/ 17 w 37"/>
                  <a:gd name="T17" fmla="*/ 15 h 24"/>
                  <a:gd name="T18" fmla="*/ 19 w 37"/>
                  <a:gd name="T19" fmla="*/ 15 h 24"/>
                  <a:gd name="T20" fmla="*/ 20 w 37"/>
                  <a:gd name="T21" fmla="*/ 15 h 24"/>
                  <a:gd name="T22" fmla="*/ 0 w 37"/>
                  <a:gd name="T23" fmla="*/ 22 h 24"/>
                  <a:gd name="T24" fmla="*/ 4 w 37"/>
                  <a:gd name="T25" fmla="*/ 24 h 24"/>
                  <a:gd name="T26" fmla="*/ 5 w 37"/>
                  <a:gd name="T27" fmla="*/ 24 h 24"/>
                  <a:gd name="T28" fmla="*/ 6 w 37"/>
                  <a:gd name="T29" fmla="*/ 24 h 24"/>
                  <a:gd name="T30" fmla="*/ 6 w 37"/>
                  <a:gd name="T31" fmla="*/ 24 h 24"/>
                  <a:gd name="T32" fmla="*/ 7 w 37"/>
                  <a:gd name="T33" fmla="*/ 24 h 24"/>
                  <a:gd name="T34" fmla="*/ 9 w 37"/>
                  <a:gd name="T35" fmla="*/ 22 h 24"/>
                  <a:gd name="T36" fmla="*/ 12 w 37"/>
                  <a:gd name="T37" fmla="*/ 21 h 24"/>
                  <a:gd name="T38" fmla="*/ 19 w 37"/>
                  <a:gd name="T39" fmla="*/ 18 h 24"/>
                  <a:gd name="T40" fmla="*/ 20 w 37"/>
                  <a:gd name="T41" fmla="*/ 18 h 24"/>
                  <a:gd name="T42" fmla="*/ 20 w 37"/>
                  <a:gd name="T43" fmla="*/ 17 h 24"/>
                  <a:gd name="T44" fmla="*/ 21 w 37"/>
                  <a:gd name="T45" fmla="*/ 18 h 24"/>
                  <a:gd name="T46" fmla="*/ 22 w 37"/>
                  <a:gd name="T47" fmla="*/ 17 h 24"/>
                  <a:gd name="T48" fmla="*/ 22 w 37"/>
                  <a:gd name="T49" fmla="*/ 17 h 24"/>
                  <a:gd name="T50" fmla="*/ 22 w 37"/>
                  <a:gd name="T51" fmla="*/ 18 h 24"/>
                  <a:gd name="T52" fmla="*/ 23 w 37"/>
                  <a:gd name="T53" fmla="*/ 18 h 24"/>
                  <a:gd name="T54" fmla="*/ 23 w 37"/>
                  <a:gd name="T55" fmla="*/ 18 h 24"/>
                  <a:gd name="T56" fmla="*/ 24 w 37"/>
                  <a:gd name="T57" fmla="*/ 15 h 24"/>
                  <a:gd name="T58" fmla="*/ 26 w 37"/>
                  <a:gd name="T59" fmla="*/ 16 h 24"/>
                  <a:gd name="T60" fmla="*/ 28 w 37"/>
                  <a:gd name="T61" fmla="*/ 14 h 24"/>
                  <a:gd name="T62" fmla="*/ 29 w 37"/>
                  <a:gd name="T63" fmla="*/ 15 h 24"/>
                  <a:gd name="T64" fmla="*/ 29 w 37"/>
                  <a:gd name="T65" fmla="*/ 13 h 24"/>
                  <a:gd name="T66" fmla="*/ 30 w 37"/>
                  <a:gd name="T67" fmla="*/ 14 h 24"/>
                  <a:gd name="T68" fmla="*/ 34 w 37"/>
                  <a:gd name="T69" fmla="*/ 11 h 24"/>
                  <a:gd name="T70" fmla="*/ 36 w 37"/>
                  <a:gd name="T71" fmla="*/ 10 h 24"/>
                  <a:gd name="T72" fmla="*/ 29 w 37"/>
                  <a:gd name="T73" fmla="*/ 9 h 24"/>
                  <a:gd name="T74" fmla="*/ 31 w 37"/>
                  <a:gd name="T75" fmla="*/ 8 h 24"/>
                  <a:gd name="T76" fmla="*/ 30 w 37"/>
                  <a:gd name="T77" fmla="*/ 7 h 24"/>
                  <a:gd name="T78" fmla="*/ 35 w 37"/>
                  <a:gd name="T79" fmla="*/ 4 h 24"/>
                  <a:gd name="T80" fmla="*/ 35 w 37"/>
                  <a:gd name="T81" fmla="*/ 4 h 24"/>
                  <a:gd name="T82" fmla="*/ 35 w 37"/>
                  <a:gd name="T83" fmla="*/ 4 h 24"/>
                  <a:gd name="T84" fmla="*/ 36 w 37"/>
                  <a:gd name="T85" fmla="*/ 4 h 24"/>
                  <a:gd name="T86" fmla="*/ 37 w 37"/>
                  <a:gd name="T87" fmla="*/ 4 h 24"/>
                  <a:gd name="T88" fmla="*/ 34 w 37"/>
                  <a:gd name="T89" fmla="*/ 0 h 24"/>
                  <a:gd name="T90" fmla="*/ 34 w 37"/>
                  <a:gd name="T91" fmla="*/ 0 h 24"/>
                  <a:gd name="T92" fmla="*/ 28 w 37"/>
                  <a:gd name="T93" fmla="*/ 4 h 24"/>
                  <a:gd name="T94" fmla="*/ 26 w 37"/>
                  <a:gd name="T95" fmla="*/ 0 h 24"/>
                  <a:gd name="T96" fmla="*/ 26 w 37"/>
                  <a:gd name="T97"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 h="24">
                    <a:moveTo>
                      <a:pt x="26" y="0"/>
                    </a:moveTo>
                    <a:cubicBezTo>
                      <a:pt x="24" y="0"/>
                      <a:pt x="22" y="1"/>
                      <a:pt x="20" y="1"/>
                    </a:cubicBezTo>
                    <a:cubicBezTo>
                      <a:pt x="19" y="2"/>
                      <a:pt x="18" y="3"/>
                      <a:pt x="18" y="6"/>
                    </a:cubicBezTo>
                    <a:cubicBezTo>
                      <a:pt x="18" y="8"/>
                      <a:pt x="18" y="8"/>
                      <a:pt x="18" y="8"/>
                    </a:cubicBezTo>
                    <a:cubicBezTo>
                      <a:pt x="18" y="8"/>
                      <a:pt x="18" y="8"/>
                      <a:pt x="19" y="8"/>
                    </a:cubicBezTo>
                    <a:cubicBezTo>
                      <a:pt x="19" y="8"/>
                      <a:pt x="19" y="8"/>
                      <a:pt x="19" y="8"/>
                    </a:cubicBezTo>
                    <a:cubicBezTo>
                      <a:pt x="19" y="8"/>
                      <a:pt x="19" y="8"/>
                      <a:pt x="20" y="8"/>
                    </a:cubicBezTo>
                    <a:cubicBezTo>
                      <a:pt x="21" y="9"/>
                      <a:pt x="24" y="9"/>
                      <a:pt x="26" y="9"/>
                    </a:cubicBezTo>
                    <a:cubicBezTo>
                      <a:pt x="20" y="10"/>
                      <a:pt x="17" y="8"/>
                      <a:pt x="17" y="15"/>
                    </a:cubicBezTo>
                    <a:cubicBezTo>
                      <a:pt x="18" y="15"/>
                      <a:pt x="18" y="15"/>
                      <a:pt x="19" y="15"/>
                    </a:cubicBezTo>
                    <a:cubicBezTo>
                      <a:pt x="19" y="15"/>
                      <a:pt x="20" y="15"/>
                      <a:pt x="20" y="15"/>
                    </a:cubicBezTo>
                    <a:cubicBezTo>
                      <a:pt x="13" y="18"/>
                      <a:pt x="6" y="18"/>
                      <a:pt x="0" y="22"/>
                    </a:cubicBezTo>
                    <a:cubicBezTo>
                      <a:pt x="1" y="23"/>
                      <a:pt x="2" y="23"/>
                      <a:pt x="4" y="24"/>
                    </a:cubicBezTo>
                    <a:cubicBezTo>
                      <a:pt x="4" y="24"/>
                      <a:pt x="4" y="24"/>
                      <a:pt x="5" y="24"/>
                    </a:cubicBezTo>
                    <a:cubicBezTo>
                      <a:pt x="5" y="24"/>
                      <a:pt x="5" y="24"/>
                      <a:pt x="6" y="24"/>
                    </a:cubicBezTo>
                    <a:cubicBezTo>
                      <a:pt x="6" y="24"/>
                      <a:pt x="6" y="24"/>
                      <a:pt x="6" y="24"/>
                    </a:cubicBezTo>
                    <a:cubicBezTo>
                      <a:pt x="7" y="24"/>
                      <a:pt x="7" y="24"/>
                      <a:pt x="7" y="24"/>
                    </a:cubicBezTo>
                    <a:cubicBezTo>
                      <a:pt x="8" y="24"/>
                      <a:pt x="8" y="22"/>
                      <a:pt x="9" y="22"/>
                    </a:cubicBezTo>
                    <a:cubicBezTo>
                      <a:pt x="10" y="21"/>
                      <a:pt x="11" y="21"/>
                      <a:pt x="12" y="21"/>
                    </a:cubicBezTo>
                    <a:cubicBezTo>
                      <a:pt x="14" y="20"/>
                      <a:pt x="17" y="18"/>
                      <a:pt x="19" y="18"/>
                    </a:cubicBezTo>
                    <a:cubicBezTo>
                      <a:pt x="19" y="18"/>
                      <a:pt x="20" y="18"/>
                      <a:pt x="20" y="18"/>
                    </a:cubicBezTo>
                    <a:cubicBezTo>
                      <a:pt x="20" y="17"/>
                      <a:pt x="20" y="17"/>
                      <a:pt x="20" y="17"/>
                    </a:cubicBezTo>
                    <a:cubicBezTo>
                      <a:pt x="21" y="18"/>
                      <a:pt x="21" y="18"/>
                      <a:pt x="21" y="18"/>
                    </a:cubicBezTo>
                    <a:cubicBezTo>
                      <a:pt x="21" y="18"/>
                      <a:pt x="21" y="17"/>
                      <a:pt x="22" y="17"/>
                    </a:cubicBezTo>
                    <a:cubicBezTo>
                      <a:pt x="22" y="17"/>
                      <a:pt x="22" y="17"/>
                      <a:pt x="22" y="17"/>
                    </a:cubicBezTo>
                    <a:cubicBezTo>
                      <a:pt x="22" y="17"/>
                      <a:pt x="22" y="17"/>
                      <a:pt x="22" y="18"/>
                    </a:cubicBezTo>
                    <a:cubicBezTo>
                      <a:pt x="23" y="18"/>
                      <a:pt x="23" y="18"/>
                      <a:pt x="23" y="18"/>
                    </a:cubicBezTo>
                    <a:cubicBezTo>
                      <a:pt x="23" y="18"/>
                      <a:pt x="23" y="18"/>
                      <a:pt x="23" y="18"/>
                    </a:cubicBezTo>
                    <a:cubicBezTo>
                      <a:pt x="25" y="18"/>
                      <a:pt x="25" y="18"/>
                      <a:pt x="24" y="15"/>
                    </a:cubicBezTo>
                    <a:cubicBezTo>
                      <a:pt x="25" y="16"/>
                      <a:pt x="26" y="16"/>
                      <a:pt x="26" y="16"/>
                    </a:cubicBezTo>
                    <a:cubicBezTo>
                      <a:pt x="27" y="16"/>
                      <a:pt x="28" y="16"/>
                      <a:pt x="28" y="14"/>
                    </a:cubicBezTo>
                    <a:cubicBezTo>
                      <a:pt x="28" y="14"/>
                      <a:pt x="28" y="15"/>
                      <a:pt x="29" y="15"/>
                    </a:cubicBezTo>
                    <a:cubicBezTo>
                      <a:pt x="29" y="14"/>
                      <a:pt x="29" y="13"/>
                      <a:pt x="29" y="13"/>
                    </a:cubicBezTo>
                    <a:cubicBezTo>
                      <a:pt x="30" y="13"/>
                      <a:pt x="30" y="13"/>
                      <a:pt x="30" y="14"/>
                    </a:cubicBezTo>
                    <a:cubicBezTo>
                      <a:pt x="30" y="11"/>
                      <a:pt x="33" y="12"/>
                      <a:pt x="34" y="11"/>
                    </a:cubicBezTo>
                    <a:cubicBezTo>
                      <a:pt x="34" y="11"/>
                      <a:pt x="36" y="11"/>
                      <a:pt x="36" y="10"/>
                    </a:cubicBezTo>
                    <a:cubicBezTo>
                      <a:pt x="36" y="9"/>
                      <a:pt x="30" y="9"/>
                      <a:pt x="29" y="9"/>
                    </a:cubicBezTo>
                    <a:cubicBezTo>
                      <a:pt x="30" y="8"/>
                      <a:pt x="30" y="8"/>
                      <a:pt x="31" y="8"/>
                    </a:cubicBezTo>
                    <a:cubicBezTo>
                      <a:pt x="30" y="7"/>
                      <a:pt x="30" y="7"/>
                      <a:pt x="30" y="7"/>
                    </a:cubicBezTo>
                    <a:cubicBezTo>
                      <a:pt x="31" y="6"/>
                      <a:pt x="34" y="5"/>
                      <a:pt x="35" y="4"/>
                    </a:cubicBezTo>
                    <a:cubicBezTo>
                      <a:pt x="35" y="4"/>
                      <a:pt x="35" y="4"/>
                      <a:pt x="35" y="4"/>
                    </a:cubicBezTo>
                    <a:cubicBezTo>
                      <a:pt x="35" y="4"/>
                      <a:pt x="35" y="4"/>
                      <a:pt x="35" y="4"/>
                    </a:cubicBezTo>
                    <a:cubicBezTo>
                      <a:pt x="36" y="4"/>
                      <a:pt x="36" y="4"/>
                      <a:pt x="36" y="4"/>
                    </a:cubicBezTo>
                    <a:cubicBezTo>
                      <a:pt x="37" y="4"/>
                      <a:pt x="37" y="4"/>
                      <a:pt x="37" y="4"/>
                    </a:cubicBezTo>
                    <a:cubicBezTo>
                      <a:pt x="37" y="3"/>
                      <a:pt x="34" y="0"/>
                      <a:pt x="34" y="0"/>
                    </a:cubicBezTo>
                    <a:cubicBezTo>
                      <a:pt x="34" y="0"/>
                      <a:pt x="34" y="0"/>
                      <a:pt x="34" y="0"/>
                    </a:cubicBezTo>
                    <a:cubicBezTo>
                      <a:pt x="32" y="0"/>
                      <a:pt x="29" y="3"/>
                      <a:pt x="28" y="4"/>
                    </a:cubicBezTo>
                    <a:cubicBezTo>
                      <a:pt x="27" y="1"/>
                      <a:pt x="29" y="1"/>
                      <a:pt x="26" y="0"/>
                    </a:cubicBez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18"/>
              <p:cNvSpPr>
                <a:spLocks noEditPoints="1"/>
              </p:cNvSpPr>
              <p:nvPr/>
            </p:nvSpPr>
            <p:spPr bwMode="auto">
              <a:xfrm>
                <a:off x="888" y="1673"/>
                <a:ext cx="26" cy="11"/>
              </a:xfrm>
              <a:custGeom>
                <a:gdLst>
                  <a:gd name="T0" fmla="*/ 6 w 11"/>
                  <a:gd name="T1" fmla="*/ 0 h 5"/>
                  <a:gd name="T2" fmla="*/ 6 w 11"/>
                  <a:gd name="T3" fmla="*/ 0 h 5"/>
                  <a:gd name="T4" fmla="*/ 6 w 11"/>
                  <a:gd name="T5" fmla="*/ 0 h 5"/>
                  <a:gd name="T6" fmla="*/ 4 w 11"/>
                  <a:gd name="T7" fmla="*/ 0 h 5"/>
                  <a:gd name="T8" fmla="*/ 2 w 11"/>
                  <a:gd name="T9" fmla="*/ 1 h 5"/>
                  <a:gd name="T10" fmla="*/ 6 w 11"/>
                  <a:gd name="T11" fmla="*/ 5 h 5"/>
                  <a:gd name="T12" fmla="*/ 11 w 11"/>
                  <a:gd name="T13" fmla="*/ 3 h 5"/>
                  <a:gd name="T14" fmla="*/ 8 w 11"/>
                  <a:gd name="T15" fmla="*/ 1 h 5"/>
                  <a:gd name="T16" fmla="*/ 6 w 11"/>
                  <a:gd name="T17" fmla="*/ 0 h 5"/>
                  <a:gd name="T18" fmla="*/ 6 w 11"/>
                  <a:gd name="T19" fmla="*/ 0 h 5"/>
                  <a:gd name="T20" fmla="*/ 4 w 11"/>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5">
                    <a:moveTo>
                      <a:pt x="6" y="0"/>
                    </a:moveTo>
                    <a:cubicBezTo>
                      <a:pt x="6" y="0"/>
                      <a:pt x="6" y="0"/>
                      <a:pt x="6" y="0"/>
                    </a:cubicBezTo>
                    <a:cubicBezTo>
                      <a:pt x="6" y="0"/>
                      <a:pt x="6" y="0"/>
                      <a:pt x="6" y="0"/>
                    </a:cubicBezTo>
                    <a:moveTo>
                      <a:pt x="4" y="0"/>
                    </a:moveTo>
                    <a:cubicBezTo>
                      <a:pt x="3" y="0"/>
                      <a:pt x="2" y="0"/>
                      <a:pt x="2" y="1"/>
                    </a:cubicBezTo>
                    <a:cubicBezTo>
                      <a:pt x="0" y="3"/>
                      <a:pt x="3" y="4"/>
                      <a:pt x="6" y="5"/>
                    </a:cubicBezTo>
                    <a:cubicBezTo>
                      <a:pt x="6" y="5"/>
                      <a:pt x="11" y="4"/>
                      <a:pt x="11" y="3"/>
                    </a:cubicBezTo>
                    <a:cubicBezTo>
                      <a:pt x="11" y="2"/>
                      <a:pt x="9" y="2"/>
                      <a:pt x="8" y="1"/>
                    </a:cubicBezTo>
                    <a:cubicBezTo>
                      <a:pt x="8" y="1"/>
                      <a:pt x="6" y="0"/>
                      <a:pt x="6" y="0"/>
                    </a:cubicBezTo>
                    <a:cubicBezTo>
                      <a:pt x="6" y="0"/>
                      <a:pt x="6" y="0"/>
                      <a:pt x="6"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19"/>
              <p:cNvSpPr/>
              <p:nvPr/>
            </p:nvSpPr>
            <p:spPr bwMode="auto">
              <a:xfrm>
                <a:off x="1074" y="1651"/>
                <a:ext cx="10" cy="10"/>
              </a:xfrm>
              <a:custGeom>
                <a:gdLst>
                  <a:gd name="T0" fmla="*/ 0 w 4"/>
                  <a:gd name="T1" fmla="*/ 0 h 4"/>
                  <a:gd name="T2" fmla="*/ 3 w 4"/>
                  <a:gd name="T3" fmla="*/ 4 h 4"/>
                  <a:gd name="T4" fmla="*/ 4 w 4"/>
                  <a:gd name="T5" fmla="*/ 3 h 4"/>
                  <a:gd name="T6" fmla="*/ 0 w 4"/>
                  <a:gd name="T7" fmla="*/ 0 h 4"/>
                </a:gdLst>
                <a:cxnLst>
                  <a:cxn ang="0">
                    <a:pos x="T0" y="T1"/>
                  </a:cxn>
                  <a:cxn ang="0">
                    <a:pos x="T2" y="T3"/>
                  </a:cxn>
                  <a:cxn ang="0">
                    <a:pos x="T4" y="T5"/>
                  </a:cxn>
                  <a:cxn ang="0">
                    <a:pos x="T6" y="T7"/>
                  </a:cxn>
                </a:cxnLst>
                <a:rect l="0" t="0" r="r" b="b"/>
                <a:pathLst>
                  <a:path w="4" h="4">
                    <a:moveTo>
                      <a:pt x="0" y="0"/>
                    </a:moveTo>
                    <a:cubicBezTo>
                      <a:pt x="0" y="2"/>
                      <a:pt x="1" y="4"/>
                      <a:pt x="3" y="4"/>
                    </a:cubicBezTo>
                    <a:cubicBezTo>
                      <a:pt x="3" y="4"/>
                      <a:pt x="4"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20"/>
              <p:cNvSpPr/>
              <p:nvPr/>
            </p:nvSpPr>
            <p:spPr bwMode="auto">
              <a:xfrm>
                <a:off x="2706" y="1472"/>
                <a:ext cx="26" cy="26"/>
              </a:xfrm>
              <a:custGeom>
                <a:gdLst>
                  <a:gd name="T0" fmla="*/ 2 w 11"/>
                  <a:gd name="T1" fmla="*/ 0 h 11"/>
                  <a:gd name="T2" fmla="*/ 2 w 11"/>
                  <a:gd name="T3" fmla="*/ 6 h 11"/>
                  <a:gd name="T4" fmla="*/ 1 w 11"/>
                  <a:gd name="T5" fmla="*/ 10 h 11"/>
                  <a:gd name="T6" fmla="*/ 3 w 11"/>
                  <a:gd name="T7" fmla="*/ 11 h 11"/>
                  <a:gd name="T8" fmla="*/ 8 w 11"/>
                  <a:gd name="T9" fmla="*/ 9 h 11"/>
                  <a:gd name="T10" fmla="*/ 10 w 11"/>
                  <a:gd name="T11" fmla="*/ 8 h 11"/>
                  <a:gd name="T12" fmla="*/ 4 w 11"/>
                  <a:gd name="T13" fmla="*/ 1 h 11"/>
                  <a:gd name="T14" fmla="*/ 2 w 11"/>
                  <a:gd name="T15" fmla="*/ 0 h 1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2" y="0"/>
                    </a:moveTo>
                    <a:cubicBezTo>
                      <a:pt x="0" y="0"/>
                      <a:pt x="3" y="4"/>
                      <a:pt x="2" y="6"/>
                    </a:cubicBezTo>
                    <a:cubicBezTo>
                      <a:pt x="2" y="6"/>
                      <a:pt x="0" y="8"/>
                      <a:pt x="1" y="10"/>
                    </a:cubicBezTo>
                    <a:cubicBezTo>
                      <a:pt x="2" y="11"/>
                      <a:pt x="3" y="11"/>
                      <a:pt x="3" y="11"/>
                    </a:cubicBezTo>
                    <a:cubicBezTo>
                      <a:pt x="5" y="11"/>
                      <a:pt x="7" y="10"/>
                      <a:pt x="8" y="9"/>
                    </a:cubicBezTo>
                    <a:cubicBezTo>
                      <a:pt x="8" y="9"/>
                      <a:pt x="10" y="9"/>
                      <a:pt x="10" y="8"/>
                    </a:cubicBezTo>
                    <a:cubicBezTo>
                      <a:pt x="11" y="7"/>
                      <a:pt x="5" y="2"/>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21"/>
              <p:cNvSpPr/>
              <p:nvPr/>
            </p:nvSpPr>
            <p:spPr bwMode="auto">
              <a:xfrm>
                <a:off x="2649" y="1450"/>
                <a:ext cx="62" cy="52"/>
              </a:xfrm>
              <a:custGeom>
                <a:gdLst>
                  <a:gd name="T0" fmla="*/ 4 w 26"/>
                  <a:gd name="T1" fmla="*/ 0 h 22"/>
                  <a:gd name="T2" fmla="*/ 1 w 26"/>
                  <a:gd name="T3" fmla="*/ 3 h 22"/>
                  <a:gd name="T4" fmla="*/ 6 w 26"/>
                  <a:gd name="T5" fmla="*/ 7 h 22"/>
                  <a:gd name="T6" fmla="*/ 6 w 26"/>
                  <a:gd name="T7" fmla="*/ 7 h 22"/>
                  <a:gd name="T8" fmla="*/ 5 w 26"/>
                  <a:gd name="T9" fmla="*/ 7 h 22"/>
                  <a:gd name="T10" fmla="*/ 4 w 26"/>
                  <a:gd name="T11" fmla="*/ 7 h 22"/>
                  <a:gd name="T12" fmla="*/ 3 w 26"/>
                  <a:gd name="T13" fmla="*/ 7 h 22"/>
                  <a:gd name="T14" fmla="*/ 6 w 26"/>
                  <a:gd name="T15" fmla="*/ 8 h 22"/>
                  <a:gd name="T16" fmla="*/ 8 w 26"/>
                  <a:gd name="T17" fmla="*/ 8 h 22"/>
                  <a:gd name="T18" fmla="*/ 8 w 26"/>
                  <a:gd name="T19" fmla="*/ 13 h 22"/>
                  <a:gd name="T20" fmla="*/ 8 w 26"/>
                  <a:gd name="T21" fmla="*/ 17 h 22"/>
                  <a:gd name="T22" fmla="*/ 11 w 26"/>
                  <a:gd name="T23" fmla="*/ 22 h 22"/>
                  <a:gd name="T24" fmla="*/ 22 w 26"/>
                  <a:gd name="T25" fmla="*/ 17 h 22"/>
                  <a:gd name="T26" fmla="*/ 19 w 26"/>
                  <a:gd name="T27" fmla="*/ 15 h 22"/>
                  <a:gd name="T28" fmla="*/ 19 w 26"/>
                  <a:gd name="T29" fmla="*/ 15 h 22"/>
                  <a:gd name="T30" fmla="*/ 16 w 26"/>
                  <a:gd name="T31" fmla="*/ 8 h 22"/>
                  <a:gd name="T32" fmla="*/ 19 w 26"/>
                  <a:gd name="T33" fmla="*/ 10 h 22"/>
                  <a:gd name="T34" fmla="*/ 20 w 26"/>
                  <a:gd name="T35" fmla="*/ 12 h 22"/>
                  <a:gd name="T36" fmla="*/ 25 w 26"/>
                  <a:gd name="T37" fmla="*/ 15 h 22"/>
                  <a:gd name="T38" fmla="*/ 25 w 26"/>
                  <a:gd name="T39" fmla="*/ 15 h 22"/>
                  <a:gd name="T40" fmla="*/ 25 w 26"/>
                  <a:gd name="T41" fmla="*/ 13 h 22"/>
                  <a:gd name="T42" fmla="*/ 18 w 26"/>
                  <a:gd name="T43" fmla="*/ 3 h 22"/>
                  <a:gd name="T44" fmla="*/ 18 w 26"/>
                  <a:gd name="T45" fmla="*/ 3 h 22"/>
                  <a:gd name="T46" fmla="*/ 18 w 26"/>
                  <a:gd name="T47" fmla="*/ 5 h 22"/>
                  <a:gd name="T48" fmla="*/ 6 w 26"/>
                  <a:gd name="T49" fmla="*/ 1 h 22"/>
                  <a:gd name="T50" fmla="*/ 4 w 26"/>
                  <a:gd name="T51"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4" y="0"/>
                    </a:moveTo>
                    <a:cubicBezTo>
                      <a:pt x="2" y="0"/>
                      <a:pt x="0" y="1"/>
                      <a:pt x="1" y="3"/>
                    </a:cubicBezTo>
                    <a:cubicBezTo>
                      <a:pt x="2" y="4"/>
                      <a:pt x="5" y="6"/>
                      <a:pt x="6" y="7"/>
                    </a:cubicBezTo>
                    <a:cubicBezTo>
                      <a:pt x="6" y="7"/>
                      <a:pt x="6" y="7"/>
                      <a:pt x="6" y="7"/>
                    </a:cubicBezTo>
                    <a:cubicBezTo>
                      <a:pt x="6" y="7"/>
                      <a:pt x="5" y="7"/>
                      <a:pt x="5" y="7"/>
                    </a:cubicBezTo>
                    <a:cubicBezTo>
                      <a:pt x="5" y="7"/>
                      <a:pt x="4" y="7"/>
                      <a:pt x="4" y="7"/>
                    </a:cubicBezTo>
                    <a:cubicBezTo>
                      <a:pt x="4" y="7"/>
                      <a:pt x="4" y="7"/>
                      <a:pt x="3" y="7"/>
                    </a:cubicBezTo>
                    <a:cubicBezTo>
                      <a:pt x="5" y="8"/>
                      <a:pt x="5" y="8"/>
                      <a:pt x="6" y="8"/>
                    </a:cubicBezTo>
                    <a:cubicBezTo>
                      <a:pt x="7" y="8"/>
                      <a:pt x="7" y="8"/>
                      <a:pt x="8" y="8"/>
                    </a:cubicBezTo>
                    <a:cubicBezTo>
                      <a:pt x="8" y="10"/>
                      <a:pt x="8" y="11"/>
                      <a:pt x="8" y="13"/>
                    </a:cubicBezTo>
                    <a:cubicBezTo>
                      <a:pt x="8" y="14"/>
                      <a:pt x="9" y="16"/>
                      <a:pt x="8" y="17"/>
                    </a:cubicBezTo>
                    <a:cubicBezTo>
                      <a:pt x="9" y="18"/>
                      <a:pt x="9" y="20"/>
                      <a:pt x="11" y="22"/>
                    </a:cubicBezTo>
                    <a:cubicBezTo>
                      <a:pt x="13" y="21"/>
                      <a:pt x="22" y="20"/>
                      <a:pt x="22" y="17"/>
                    </a:cubicBezTo>
                    <a:cubicBezTo>
                      <a:pt x="22" y="16"/>
                      <a:pt x="21" y="15"/>
                      <a:pt x="19" y="15"/>
                    </a:cubicBezTo>
                    <a:cubicBezTo>
                      <a:pt x="19" y="15"/>
                      <a:pt x="19" y="15"/>
                      <a:pt x="19" y="15"/>
                    </a:cubicBezTo>
                    <a:cubicBezTo>
                      <a:pt x="20" y="11"/>
                      <a:pt x="16" y="12"/>
                      <a:pt x="16" y="8"/>
                    </a:cubicBezTo>
                    <a:cubicBezTo>
                      <a:pt x="17" y="9"/>
                      <a:pt x="18" y="9"/>
                      <a:pt x="19" y="10"/>
                    </a:cubicBezTo>
                    <a:cubicBezTo>
                      <a:pt x="19" y="11"/>
                      <a:pt x="19" y="12"/>
                      <a:pt x="20" y="12"/>
                    </a:cubicBezTo>
                    <a:cubicBezTo>
                      <a:pt x="21" y="14"/>
                      <a:pt x="23" y="15"/>
                      <a:pt x="25" y="15"/>
                    </a:cubicBezTo>
                    <a:cubicBezTo>
                      <a:pt x="25" y="15"/>
                      <a:pt x="25" y="15"/>
                      <a:pt x="25" y="15"/>
                    </a:cubicBezTo>
                    <a:cubicBezTo>
                      <a:pt x="26" y="15"/>
                      <a:pt x="25" y="14"/>
                      <a:pt x="25" y="13"/>
                    </a:cubicBezTo>
                    <a:cubicBezTo>
                      <a:pt x="25" y="7"/>
                      <a:pt x="24" y="3"/>
                      <a:pt x="18" y="3"/>
                    </a:cubicBezTo>
                    <a:cubicBezTo>
                      <a:pt x="18" y="3"/>
                      <a:pt x="18" y="3"/>
                      <a:pt x="18" y="3"/>
                    </a:cubicBezTo>
                    <a:cubicBezTo>
                      <a:pt x="18" y="4"/>
                      <a:pt x="18" y="5"/>
                      <a:pt x="18" y="5"/>
                    </a:cubicBezTo>
                    <a:cubicBezTo>
                      <a:pt x="15" y="2"/>
                      <a:pt x="10" y="1"/>
                      <a:pt x="6"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22"/>
              <p:cNvSpPr/>
              <p:nvPr/>
            </p:nvSpPr>
            <p:spPr bwMode="auto">
              <a:xfrm>
                <a:off x="2559" y="1415"/>
                <a:ext cx="57" cy="106"/>
              </a:xfrm>
              <a:custGeom>
                <a:gdLst>
                  <a:gd name="T0" fmla="*/ 7 w 24"/>
                  <a:gd name="T1" fmla="*/ 0 h 45"/>
                  <a:gd name="T2" fmla="*/ 4 w 24"/>
                  <a:gd name="T3" fmla="*/ 1 h 45"/>
                  <a:gd name="T4" fmla="*/ 4 w 24"/>
                  <a:gd name="T5" fmla="*/ 3 h 45"/>
                  <a:gd name="T6" fmla="*/ 4 w 24"/>
                  <a:gd name="T7" fmla="*/ 6 h 45"/>
                  <a:gd name="T8" fmla="*/ 4 w 24"/>
                  <a:gd name="T9" fmla="*/ 6 h 45"/>
                  <a:gd name="T10" fmla="*/ 3 w 24"/>
                  <a:gd name="T11" fmla="*/ 6 h 45"/>
                  <a:gd name="T12" fmla="*/ 2 w 24"/>
                  <a:gd name="T13" fmla="*/ 6 h 45"/>
                  <a:gd name="T14" fmla="*/ 0 w 24"/>
                  <a:gd name="T15" fmla="*/ 6 h 45"/>
                  <a:gd name="T16" fmla="*/ 4 w 24"/>
                  <a:gd name="T17" fmla="*/ 10 h 45"/>
                  <a:gd name="T18" fmla="*/ 6 w 24"/>
                  <a:gd name="T19" fmla="*/ 10 h 45"/>
                  <a:gd name="T20" fmla="*/ 6 w 24"/>
                  <a:gd name="T21" fmla="*/ 10 h 45"/>
                  <a:gd name="T22" fmla="*/ 7 w 24"/>
                  <a:gd name="T23" fmla="*/ 10 h 45"/>
                  <a:gd name="T24" fmla="*/ 6 w 24"/>
                  <a:gd name="T25" fmla="*/ 13 h 45"/>
                  <a:gd name="T26" fmla="*/ 8 w 24"/>
                  <a:gd name="T27" fmla="*/ 12 h 45"/>
                  <a:gd name="T28" fmla="*/ 9 w 24"/>
                  <a:gd name="T29" fmla="*/ 17 h 45"/>
                  <a:gd name="T30" fmla="*/ 11 w 24"/>
                  <a:gd name="T31" fmla="*/ 17 h 45"/>
                  <a:gd name="T32" fmla="*/ 11 w 24"/>
                  <a:gd name="T33" fmla="*/ 17 h 45"/>
                  <a:gd name="T34" fmla="*/ 11 w 24"/>
                  <a:gd name="T35" fmla="*/ 17 h 45"/>
                  <a:gd name="T36" fmla="*/ 10 w 24"/>
                  <a:gd name="T37" fmla="*/ 18 h 45"/>
                  <a:gd name="T38" fmla="*/ 7 w 24"/>
                  <a:gd name="T39" fmla="*/ 20 h 45"/>
                  <a:gd name="T40" fmla="*/ 8 w 24"/>
                  <a:gd name="T41" fmla="*/ 21 h 45"/>
                  <a:gd name="T42" fmla="*/ 7 w 24"/>
                  <a:gd name="T43" fmla="*/ 24 h 45"/>
                  <a:gd name="T44" fmla="*/ 9 w 24"/>
                  <a:gd name="T45" fmla="*/ 25 h 45"/>
                  <a:gd name="T46" fmla="*/ 13 w 24"/>
                  <a:gd name="T47" fmla="*/ 24 h 45"/>
                  <a:gd name="T48" fmla="*/ 11 w 24"/>
                  <a:gd name="T49" fmla="*/ 28 h 45"/>
                  <a:gd name="T50" fmla="*/ 11 w 24"/>
                  <a:gd name="T51" fmla="*/ 28 h 45"/>
                  <a:gd name="T52" fmla="*/ 16 w 24"/>
                  <a:gd name="T53" fmla="*/ 26 h 45"/>
                  <a:gd name="T54" fmla="*/ 13 w 24"/>
                  <a:gd name="T55" fmla="*/ 31 h 45"/>
                  <a:gd name="T56" fmla="*/ 19 w 24"/>
                  <a:gd name="T57" fmla="*/ 29 h 45"/>
                  <a:gd name="T58" fmla="*/ 24 w 24"/>
                  <a:gd name="T59" fmla="*/ 45 h 45"/>
                  <a:gd name="T60" fmla="*/ 24 w 24"/>
                  <a:gd name="T61" fmla="*/ 42 h 45"/>
                  <a:gd name="T62" fmla="*/ 24 w 24"/>
                  <a:gd name="T63" fmla="*/ 43 h 45"/>
                  <a:gd name="T64" fmla="*/ 24 w 24"/>
                  <a:gd name="T65" fmla="*/ 41 h 45"/>
                  <a:gd name="T66" fmla="*/ 24 w 24"/>
                  <a:gd name="T67" fmla="*/ 39 h 45"/>
                  <a:gd name="T68" fmla="*/ 24 w 24"/>
                  <a:gd name="T69" fmla="*/ 34 h 45"/>
                  <a:gd name="T70" fmla="*/ 23 w 24"/>
                  <a:gd name="T71" fmla="*/ 22 h 45"/>
                  <a:gd name="T72" fmla="*/ 16 w 24"/>
                  <a:gd name="T73" fmla="*/ 5 h 45"/>
                  <a:gd name="T74" fmla="*/ 9 w 24"/>
                  <a:gd name="T75" fmla="*/ 2 h 45"/>
                  <a:gd name="T76" fmla="*/ 6 w 24"/>
                  <a:gd name="T77" fmla="*/ 3 h 45"/>
                  <a:gd name="T78" fmla="*/ 7 w 24"/>
                  <a:gd name="T79"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5">
                    <a:moveTo>
                      <a:pt x="7" y="0"/>
                    </a:moveTo>
                    <a:cubicBezTo>
                      <a:pt x="6" y="0"/>
                      <a:pt x="5" y="0"/>
                      <a:pt x="4" y="1"/>
                    </a:cubicBezTo>
                    <a:cubicBezTo>
                      <a:pt x="3" y="1"/>
                      <a:pt x="4" y="2"/>
                      <a:pt x="4" y="3"/>
                    </a:cubicBezTo>
                    <a:cubicBezTo>
                      <a:pt x="3" y="5"/>
                      <a:pt x="1" y="5"/>
                      <a:pt x="4" y="6"/>
                    </a:cubicBezTo>
                    <a:cubicBezTo>
                      <a:pt x="4" y="6"/>
                      <a:pt x="4" y="6"/>
                      <a:pt x="4" y="6"/>
                    </a:cubicBezTo>
                    <a:cubicBezTo>
                      <a:pt x="3" y="6"/>
                      <a:pt x="3" y="6"/>
                      <a:pt x="3" y="6"/>
                    </a:cubicBezTo>
                    <a:cubicBezTo>
                      <a:pt x="2" y="6"/>
                      <a:pt x="2" y="6"/>
                      <a:pt x="2" y="6"/>
                    </a:cubicBezTo>
                    <a:cubicBezTo>
                      <a:pt x="1" y="6"/>
                      <a:pt x="0" y="6"/>
                      <a:pt x="0" y="6"/>
                    </a:cubicBezTo>
                    <a:cubicBezTo>
                      <a:pt x="1" y="8"/>
                      <a:pt x="3" y="10"/>
                      <a:pt x="4" y="10"/>
                    </a:cubicBezTo>
                    <a:cubicBezTo>
                      <a:pt x="5" y="10"/>
                      <a:pt x="5" y="10"/>
                      <a:pt x="6" y="10"/>
                    </a:cubicBezTo>
                    <a:cubicBezTo>
                      <a:pt x="6" y="10"/>
                      <a:pt x="6" y="10"/>
                      <a:pt x="6" y="10"/>
                    </a:cubicBezTo>
                    <a:cubicBezTo>
                      <a:pt x="6" y="10"/>
                      <a:pt x="7" y="10"/>
                      <a:pt x="7" y="10"/>
                    </a:cubicBezTo>
                    <a:cubicBezTo>
                      <a:pt x="8" y="10"/>
                      <a:pt x="8" y="10"/>
                      <a:pt x="6" y="13"/>
                    </a:cubicBezTo>
                    <a:cubicBezTo>
                      <a:pt x="7" y="12"/>
                      <a:pt x="7" y="12"/>
                      <a:pt x="8" y="12"/>
                    </a:cubicBezTo>
                    <a:cubicBezTo>
                      <a:pt x="6" y="14"/>
                      <a:pt x="7" y="16"/>
                      <a:pt x="9" y="17"/>
                    </a:cubicBezTo>
                    <a:cubicBezTo>
                      <a:pt x="10" y="17"/>
                      <a:pt x="10" y="17"/>
                      <a:pt x="11" y="17"/>
                    </a:cubicBezTo>
                    <a:cubicBezTo>
                      <a:pt x="11" y="17"/>
                      <a:pt x="11" y="17"/>
                      <a:pt x="11" y="17"/>
                    </a:cubicBezTo>
                    <a:cubicBezTo>
                      <a:pt x="11" y="17"/>
                      <a:pt x="11" y="17"/>
                      <a:pt x="11" y="17"/>
                    </a:cubicBezTo>
                    <a:cubicBezTo>
                      <a:pt x="11" y="17"/>
                      <a:pt x="11" y="17"/>
                      <a:pt x="10" y="18"/>
                    </a:cubicBezTo>
                    <a:cubicBezTo>
                      <a:pt x="9" y="19"/>
                      <a:pt x="8" y="19"/>
                      <a:pt x="7" y="20"/>
                    </a:cubicBezTo>
                    <a:cubicBezTo>
                      <a:pt x="6" y="20"/>
                      <a:pt x="8" y="20"/>
                      <a:pt x="8" y="21"/>
                    </a:cubicBezTo>
                    <a:cubicBezTo>
                      <a:pt x="7" y="22"/>
                      <a:pt x="7" y="23"/>
                      <a:pt x="7" y="24"/>
                    </a:cubicBezTo>
                    <a:cubicBezTo>
                      <a:pt x="8" y="25"/>
                      <a:pt x="8" y="25"/>
                      <a:pt x="9" y="25"/>
                    </a:cubicBezTo>
                    <a:cubicBezTo>
                      <a:pt x="10" y="25"/>
                      <a:pt x="11" y="24"/>
                      <a:pt x="13" y="24"/>
                    </a:cubicBezTo>
                    <a:cubicBezTo>
                      <a:pt x="12" y="25"/>
                      <a:pt x="11" y="26"/>
                      <a:pt x="11" y="28"/>
                    </a:cubicBezTo>
                    <a:cubicBezTo>
                      <a:pt x="11" y="28"/>
                      <a:pt x="11" y="28"/>
                      <a:pt x="11" y="28"/>
                    </a:cubicBezTo>
                    <a:cubicBezTo>
                      <a:pt x="12" y="28"/>
                      <a:pt x="15" y="26"/>
                      <a:pt x="16" y="26"/>
                    </a:cubicBezTo>
                    <a:cubicBezTo>
                      <a:pt x="13" y="27"/>
                      <a:pt x="13" y="29"/>
                      <a:pt x="13" y="31"/>
                    </a:cubicBezTo>
                    <a:cubicBezTo>
                      <a:pt x="15" y="30"/>
                      <a:pt x="17" y="29"/>
                      <a:pt x="19" y="29"/>
                    </a:cubicBezTo>
                    <a:cubicBezTo>
                      <a:pt x="15" y="33"/>
                      <a:pt x="21" y="41"/>
                      <a:pt x="24" y="45"/>
                    </a:cubicBezTo>
                    <a:cubicBezTo>
                      <a:pt x="24" y="44"/>
                      <a:pt x="24" y="43"/>
                      <a:pt x="24" y="42"/>
                    </a:cubicBezTo>
                    <a:cubicBezTo>
                      <a:pt x="24" y="43"/>
                      <a:pt x="24" y="43"/>
                      <a:pt x="24" y="43"/>
                    </a:cubicBezTo>
                    <a:cubicBezTo>
                      <a:pt x="24" y="43"/>
                      <a:pt x="24" y="41"/>
                      <a:pt x="24" y="41"/>
                    </a:cubicBezTo>
                    <a:cubicBezTo>
                      <a:pt x="24" y="40"/>
                      <a:pt x="24" y="40"/>
                      <a:pt x="24" y="39"/>
                    </a:cubicBezTo>
                    <a:cubicBezTo>
                      <a:pt x="24" y="37"/>
                      <a:pt x="24" y="36"/>
                      <a:pt x="24" y="34"/>
                    </a:cubicBezTo>
                    <a:cubicBezTo>
                      <a:pt x="24" y="31"/>
                      <a:pt x="24" y="26"/>
                      <a:pt x="23" y="22"/>
                    </a:cubicBezTo>
                    <a:cubicBezTo>
                      <a:pt x="21" y="16"/>
                      <a:pt x="20" y="9"/>
                      <a:pt x="16" y="5"/>
                    </a:cubicBezTo>
                    <a:cubicBezTo>
                      <a:pt x="14" y="3"/>
                      <a:pt x="12" y="2"/>
                      <a:pt x="9" y="2"/>
                    </a:cubicBezTo>
                    <a:cubicBezTo>
                      <a:pt x="8" y="2"/>
                      <a:pt x="7" y="2"/>
                      <a:pt x="6" y="3"/>
                    </a:cubicBezTo>
                    <a:cubicBezTo>
                      <a:pt x="9"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23"/>
              <p:cNvSpPr/>
              <p:nvPr/>
            </p:nvSpPr>
            <p:spPr bwMode="auto">
              <a:xfrm>
                <a:off x="2628" y="1462"/>
                <a:ext cx="40" cy="73"/>
              </a:xfrm>
              <a:custGeom>
                <a:gdLst>
                  <a:gd name="T0" fmla="*/ 4 w 17"/>
                  <a:gd name="T1" fmla="*/ 0 h 31"/>
                  <a:gd name="T2" fmla="*/ 7 w 17"/>
                  <a:gd name="T3" fmla="*/ 3 h 31"/>
                  <a:gd name="T4" fmla="*/ 2 w 17"/>
                  <a:gd name="T5" fmla="*/ 2 h 31"/>
                  <a:gd name="T6" fmla="*/ 0 w 17"/>
                  <a:gd name="T7" fmla="*/ 3 h 31"/>
                  <a:gd name="T8" fmla="*/ 1 w 17"/>
                  <a:gd name="T9" fmla="*/ 7 h 31"/>
                  <a:gd name="T10" fmla="*/ 2 w 17"/>
                  <a:gd name="T11" fmla="*/ 8 h 31"/>
                  <a:gd name="T12" fmla="*/ 3 w 17"/>
                  <a:gd name="T13" fmla="*/ 8 h 31"/>
                  <a:gd name="T14" fmla="*/ 4 w 17"/>
                  <a:gd name="T15" fmla="*/ 8 h 31"/>
                  <a:gd name="T16" fmla="*/ 5 w 17"/>
                  <a:gd name="T17" fmla="*/ 9 h 31"/>
                  <a:gd name="T18" fmla="*/ 4 w 17"/>
                  <a:gd name="T19" fmla="*/ 11 h 31"/>
                  <a:gd name="T20" fmla="*/ 4 w 17"/>
                  <a:gd name="T21" fmla="*/ 11 h 31"/>
                  <a:gd name="T22" fmla="*/ 6 w 17"/>
                  <a:gd name="T23" fmla="*/ 10 h 31"/>
                  <a:gd name="T24" fmla="*/ 7 w 17"/>
                  <a:gd name="T25" fmla="*/ 10 h 31"/>
                  <a:gd name="T26" fmla="*/ 7 w 17"/>
                  <a:gd name="T27" fmla="*/ 10 h 31"/>
                  <a:gd name="T28" fmla="*/ 3 w 17"/>
                  <a:gd name="T29" fmla="*/ 12 h 31"/>
                  <a:gd name="T30" fmla="*/ 4 w 17"/>
                  <a:gd name="T31" fmla="*/ 12 h 31"/>
                  <a:gd name="T32" fmla="*/ 9 w 17"/>
                  <a:gd name="T33" fmla="*/ 15 h 31"/>
                  <a:gd name="T34" fmla="*/ 9 w 17"/>
                  <a:gd name="T35" fmla="*/ 19 h 31"/>
                  <a:gd name="T36" fmla="*/ 6 w 17"/>
                  <a:gd name="T37" fmla="*/ 17 h 31"/>
                  <a:gd name="T38" fmla="*/ 3 w 17"/>
                  <a:gd name="T39" fmla="*/ 21 h 31"/>
                  <a:gd name="T40" fmla="*/ 6 w 17"/>
                  <a:gd name="T41" fmla="*/ 20 h 31"/>
                  <a:gd name="T42" fmla="*/ 4 w 17"/>
                  <a:gd name="T43" fmla="*/ 25 h 31"/>
                  <a:gd name="T44" fmla="*/ 5 w 17"/>
                  <a:gd name="T45" fmla="*/ 26 h 31"/>
                  <a:gd name="T46" fmla="*/ 4 w 17"/>
                  <a:gd name="T47" fmla="*/ 27 h 31"/>
                  <a:gd name="T48" fmla="*/ 7 w 17"/>
                  <a:gd name="T49" fmla="*/ 31 h 31"/>
                  <a:gd name="T50" fmla="*/ 9 w 17"/>
                  <a:gd name="T51" fmla="*/ 21 h 31"/>
                  <a:gd name="T52" fmla="*/ 10 w 17"/>
                  <a:gd name="T53" fmla="*/ 25 h 31"/>
                  <a:gd name="T54" fmla="*/ 11 w 17"/>
                  <a:gd name="T55" fmla="*/ 25 h 31"/>
                  <a:gd name="T56" fmla="*/ 11 w 17"/>
                  <a:gd name="T57" fmla="*/ 19 h 31"/>
                  <a:gd name="T58" fmla="*/ 12 w 17"/>
                  <a:gd name="T59" fmla="*/ 21 h 31"/>
                  <a:gd name="T60" fmla="*/ 12 w 17"/>
                  <a:gd name="T61" fmla="*/ 11 h 31"/>
                  <a:gd name="T62" fmla="*/ 13 w 17"/>
                  <a:gd name="T63" fmla="*/ 11 h 31"/>
                  <a:gd name="T64" fmla="*/ 14 w 17"/>
                  <a:gd name="T65" fmla="*/ 11 h 31"/>
                  <a:gd name="T66" fmla="*/ 15 w 17"/>
                  <a:gd name="T67" fmla="*/ 11 h 31"/>
                  <a:gd name="T68" fmla="*/ 15 w 17"/>
                  <a:gd name="T69" fmla="*/ 11 h 31"/>
                  <a:gd name="T70" fmla="*/ 16 w 17"/>
                  <a:gd name="T71" fmla="*/ 6 h 31"/>
                  <a:gd name="T72" fmla="*/ 13 w 17"/>
                  <a:gd name="T73" fmla="*/ 5 h 31"/>
                  <a:gd name="T74" fmla="*/ 13 w 17"/>
                  <a:gd name="T75" fmla="*/ 8 h 31"/>
                  <a:gd name="T76" fmla="*/ 4 w 17"/>
                  <a:gd name="T77"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 h="31">
                    <a:moveTo>
                      <a:pt x="4" y="0"/>
                    </a:moveTo>
                    <a:cubicBezTo>
                      <a:pt x="5" y="1"/>
                      <a:pt x="6" y="2"/>
                      <a:pt x="7" y="3"/>
                    </a:cubicBezTo>
                    <a:cubicBezTo>
                      <a:pt x="6" y="3"/>
                      <a:pt x="4" y="2"/>
                      <a:pt x="2" y="2"/>
                    </a:cubicBezTo>
                    <a:cubicBezTo>
                      <a:pt x="2" y="2"/>
                      <a:pt x="1" y="2"/>
                      <a:pt x="0" y="3"/>
                    </a:cubicBezTo>
                    <a:cubicBezTo>
                      <a:pt x="1" y="7"/>
                      <a:pt x="1" y="7"/>
                      <a:pt x="1" y="7"/>
                    </a:cubicBezTo>
                    <a:cubicBezTo>
                      <a:pt x="1" y="8"/>
                      <a:pt x="2" y="8"/>
                      <a:pt x="2" y="8"/>
                    </a:cubicBezTo>
                    <a:cubicBezTo>
                      <a:pt x="3" y="8"/>
                      <a:pt x="3" y="8"/>
                      <a:pt x="3" y="8"/>
                    </a:cubicBezTo>
                    <a:cubicBezTo>
                      <a:pt x="3" y="8"/>
                      <a:pt x="3" y="8"/>
                      <a:pt x="4" y="8"/>
                    </a:cubicBezTo>
                    <a:cubicBezTo>
                      <a:pt x="4" y="8"/>
                      <a:pt x="4" y="8"/>
                      <a:pt x="5" y="9"/>
                    </a:cubicBezTo>
                    <a:cubicBezTo>
                      <a:pt x="5" y="9"/>
                      <a:pt x="2" y="10"/>
                      <a:pt x="4" y="11"/>
                    </a:cubicBezTo>
                    <a:cubicBezTo>
                      <a:pt x="4" y="11"/>
                      <a:pt x="4" y="11"/>
                      <a:pt x="4" y="11"/>
                    </a:cubicBezTo>
                    <a:cubicBezTo>
                      <a:pt x="4" y="11"/>
                      <a:pt x="5" y="10"/>
                      <a:pt x="6" y="10"/>
                    </a:cubicBezTo>
                    <a:cubicBezTo>
                      <a:pt x="6" y="10"/>
                      <a:pt x="7" y="10"/>
                      <a:pt x="7" y="10"/>
                    </a:cubicBezTo>
                    <a:cubicBezTo>
                      <a:pt x="7" y="10"/>
                      <a:pt x="7" y="10"/>
                      <a:pt x="7" y="10"/>
                    </a:cubicBezTo>
                    <a:cubicBezTo>
                      <a:pt x="6" y="10"/>
                      <a:pt x="4" y="11"/>
                      <a:pt x="3" y="12"/>
                    </a:cubicBezTo>
                    <a:cubicBezTo>
                      <a:pt x="3" y="12"/>
                      <a:pt x="4" y="12"/>
                      <a:pt x="4" y="12"/>
                    </a:cubicBezTo>
                    <a:cubicBezTo>
                      <a:pt x="6" y="12"/>
                      <a:pt x="8" y="13"/>
                      <a:pt x="9" y="15"/>
                    </a:cubicBezTo>
                    <a:cubicBezTo>
                      <a:pt x="7" y="16"/>
                      <a:pt x="10" y="17"/>
                      <a:pt x="9" y="19"/>
                    </a:cubicBezTo>
                    <a:cubicBezTo>
                      <a:pt x="8" y="18"/>
                      <a:pt x="7" y="17"/>
                      <a:pt x="6" y="17"/>
                    </a:cubicBezTo>
                    <a:cubicBezTo>
                      <a:pt x="5" y="17"/>
                      <a:pt x="3" y="19"/>
                      <a:pt x="3" y="21"/>
                    </a:cubicBezTo>
                    <a:cubicBezTo>
                      <a:pt x="4" y="21"/>
                      <a:pt x="5" y="21"/>
                      <a:pt x="6" y="20"/>
                    </a:cubicBezTo>
                    <a:cubicBezTo>
                      <a:pt x="4" y="22"/>
                      <a:pt x="4" y="23"/>
                      <a:pt x="4" y="25"/>
                    </a:cubicBezTo>
                    <a:cubicBezTo>
                      <a:pt x="4" y="26"/>
                      <a:pt x="5" y="25"/>
                      <a:pt x="5" y="26"/>
                    </a:cubicBezTo>
                    <a:cubicBezTo>
                      <a:pt x="5" y="26"/>
                      <a:pt x="4" y="27"/>
                      <a:pt x="4" y="27"/>
                    </a:cubicBezTo>
                    <a:cubicBezTo>
                      <a:pt x="5" y="28"/>
                      <a:pt x="5" y="30"/>
                      <a:pt x="7" y="31"/>
                    </a:cubicBezTo>
                    <a:cubicBezTo>
                      <a:pt x="7" y="27"/>
                      <a:pt x="7" y="24"/>
                      <a:pt x="9" y="21"/>
                    </a:cubicBezTo>
                    <a:cubicBezTo>
                      <a:pt x="10" y="23"/>
                      <a:pt x="8" y="24"/>
                      <a:pt x="10" y="25"/>
                    </a:cubicBezTo>
                    <a:cubicBezTo>
                      <a:pt x="11" y="25"/>
                      <a:pt x="11" y="25"/>
                      <a:pt x="11" y="25"/>
                    </a:cubicBezTo>
                    <a:cubicBezTo>
                      <a:pt x="13" y="25"/>
                      <a:pt x="11" y="20"/>
                      <a:pt x="11" y="19"/>
                    </a:cubicBezTo>
                    <a:cubicBezTo>
                      <a:pt x="12" y="20"/>
                      <a:pt x="12" y="21"/>
                      <a:pt x="12" y="21"/>
                    </a:cubicBezTo>
                    <a:cubicBezTo>
                      <a:pt x="14" y="21"/>
                      <a:pt x="12" y="11"/>
                      <a:pt x="12" y="11"/>
                    </a:cubicBezTo>
                    <a:cubicBezTo>
                      <a:pt x="12" y="11"/>
                      <a:pt x="12" y="11"/>
                      <a:pt x="13" y="11"/>
                    </a:cubicBezTo>
                    <a:cubicBezTo>
                      <a:pt x="13" y="11"/>
                      <a:pt x="13" y="11"/>
                      <a:pt x="14" y="11"/>
                    </a:cubicBezTo>
                    <a:cubicBezTo>
                      <a:pt x="14" y="11"/>
                      <a:pt x="15" y="11"/>
                      <a:pt x="15" y="11"/>
                    </a:cubicBezTo>
                    <a:cubicBezTo>
                      <a:pt x="15" y="11"/>
                      <a:pt x="15" y="11"/>
                      <a:pt x="15" y="11"/>
                    </a:cubicBezTo>
                    <a:cubicBezTo>
                      <a:pt x="17" y="10"/>
                      <a:pt x="17" y="7"/>
                      <a:pt x="16" y="6"/>
                    </a:cubicBezTo>
                    <a:cubicBezTo>
                      <a:pt x="16" y="5"/>
                      <a:pt x="14" y="5"/>
                      <a:pt x="13" y="5"/>
                    </a:cubicBezTo>
                    <a:cubicBezTo>
                      <a:pt x="13" y="6"/>
                      <a:pt x="13" y="7"/>
                      <a:pt x="13" y="8"/>
                    </a:cubicBezTo>
                    <a:cubicBezTo>
                      <a:pt x="10" y="3"/>
                      <a:pt x="10"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24"/>
              <p:cNvSpPr/>
              <p:nvPr/>
            </p:nvSpPr>
            <p:spPr bwMode="auto">
              <a:xfrm>
                <a:off x="2720" y="1509"/>
                <a:ext cx="36" cy="34"/>
              </a:xfrm>
              <a:custGeom>
                <a:gdLst>
                  <a:gd name="T0" fmla="*/ 6 w 15"/>
                  <a:gd name="T1" fmla="*/ 0 h 14"/>
                  <a:gd name="T2" fmla="*/ 4 w 15"/>
                  <a:gd name="T3" fmla="*/ 2 h 14"/>
                  <a:gd name="T4" fmla="*/ 1 w 15"/>
                  <a:gd name="T5" fmla="*/ 5 h 14"/>
                  <a:gd name="T6" fmla="*/ 3 w 15"/>
                  <a:gd name="T7" fmla="*/ 8 h 14"/>
                  <a:gd name="T8" fmla="*/ 6 w 15"/>
                  <a:gd name="T9" fmla="*/ 9 h 14"/>
                  <a:gd name="T10" fmla="*/ 6 w 15"/>
                  <a:gd name="T11" fmla="*/ 10 h 14"/>
                  <a:gd name="T12" fmla="*/ 7 w 15"/>
                  <a:gd name="T13" fmla="*/ 10 h 14"/>
                  <a:gd name="T14" fmla="*/ 7 w 15"/>
                  <a:gd name="T15" fmla="*/ 10 h 14"/>
                  <a:gd name="T16" fmla="*/ 8 w 15"/>
                  <a:gd name="T17" fmla="*/ 10 h 14"/>
                  <a:gd name="T18" fmla="*/ 8 w 15"/>
                  <a:gd name="T19" fmla="*/ 10 h 14"/>
                  <a:gd name="T20" fmla="*/ 8 w 15"/>
                  <a:gd name="T21" fmla="*/ 12 h 14"/>
                  <a:gd name="T22" fmla="*/ 10 w 15"/>
                  <a:gd name="T23" fmla="*/ 14 h 14"/>
                  <a:gd name="T24" fmla="*/ 12 w 15"/>
                  <a:gd name="T25" fmla="*/ 13 h 14"/>
                  <a:gd name="T26" fmla="*/ 13 w 15"/>
                  <a:gd name="T27" fmla="*/ 13 h 14"/>
                  <a:gd name="T28" fmla="*/ 13 w 15"/>
                  <a:gd name="T29" fmla="*/ 13 h 14"/>
                  <a:gd name="T30" fmla="*/ 13 w 15"/>
                  <a:gd name="T31" fmla="*/ 13 h 14"/>
                  <a:gd name="T32" fmla="*/ 14 w 15"/>
                  <a:gd name="T33" fmla="*/ 12 h 14"/>
                  <a:gd name="T34" fmla="*/ 15 w 15"/>
                  <a:gd name="T35" fmla="*/ 8 h 14"/>
                  <a:gd name="T36" fmla="*/ 7 w 15"/>
                  <a:gd name="T37" fmla="*/ 5 h 14"/>
                  <a:gd name="T38" fmla="*/ 6 w 15"/>
                  <a:gd name="T39" fmla="*/ 5 h 14"/>
                  <a:gd name="T40" fmla="*/ 8 w 15"/>
                  <a:gd name="T41" fmla="*/ 0 h 14"/>
                  <a:gd name="T42" fmla="*/ 6 w 15"/>
                  <a:gd name="T43"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 h="14">
                    <a:moveTo>
                      <a:pt x="6" y="0"/>
                    </a:moveTo>
                    <a:cubicBezTo>
                      <a:pt x="5" y="0"/>
                      <a:pt x="5" y="1"/>
                      <a:pt x="4" y="2"/>
                    </a:cubicBezTo>
                    <a:cubicBezTo>
                      <a:pt x="2" y="4"/>
                      <a:pt x="1" y="3"/>
                      <a:pt x="1" y="5"/>
                    </a:cubicBezTo>
                    <a:cubicBezTo>
                      <a:pt x="0" y="7"/>
                      <a:pt x="1" y="7"/>
                      <a:pt x="3" y="8"/>
                    </a:cubicBezTo>
                    <a:cubicBezTo>
                      <a:pt x="4" y="9"/>
                      <a:pt x="5" y="8"/>
                      <a:pt x="6" y="9"/>
                    </a:cubicBezTo>
                    <a:cubicBezTo>
                      <a:pt x="7" y="9"/>
                      <a:pt x="6" y="10"/>
                      <a:pt x="6" y="10"/>
                    </a:cubicBezTo>
                    <a:cubicBezTo>
                      <a:pt x="7" y="10"/>
                      <a:pt x="7" y="10"/>
                      <a:pt x="7" y="10"/>
                    </a:cubicBezTo>
                    <a:cubicBezTo>
                      <a:pt x="7" y="10"/>
                      <a:pt x="7" y="10"/>
                      <a:pt x="7" y="10"/>
                    </a:cubicBezTo>
                    <a:cubicBezTo>
                      <a:pt x="7" y="10"/>
                      <a:pt x="8" y="10"/>
                      <a:pt x="8" y="10"/>
                    </a:cubicBezTo>
                    <a:cubicBezTo>
                      <a:pt x="8" y="10"/>
                      <a:pt x="8" y="10"/>
                      <a:pt x="8" y="10"/>
                    </a:cubicBezTo>
                    <a:cubicBezTo>
                      <a:pt x="9" y="11"/>
                      <a:pt x="7" y="12"/>
                      <a:pt x="8" y="12"/>
                    </a:cubicBezTo>
                    <a:cubicBezTo>
                      <a:pt x="8" y="13"/>
                      <a:pt x="9" y="14"/>
                      <a:pt x="10" y="14"/>
                    </a:cubicBezTo>
                    <a:cubicBezTo>
                      <a:pt x="11" y="14"/>
                      <a:pt x="11" y="13"/>
                      <a:pt x="12" y="13"/>
                    </a:cubicBezTo>
                    <a:cubicBezTo>
                      <a:pt x="12" y="13"/>
                      <a:pt x="13" y="13"/>
                      <a:pt x="13" y="13"/>
                    </a:cubicBezTo>
                    <a:cubicBezTo>
                      <a:pt x="13" y="13"/>
                      <a:pt x="13" y="13"/>
                      <a:pt x="13" y="13"/>
                    </a:cubicBezTo>
                    <a:cubicBezTo>
                      <a:pt x="13" y="13"/>
                      <a:pt x="13" y="13"/>
                      <a:pt x="13" y="13"/>
                    </a:cubicBezTo>
                    <a:cubicBezTo>
                      <a:pt x="14" y="13"/>
                      <a:pt x="14" y="13"/>
                      <a:pt x="14" y="12"/>
                    </a:cubicBezTo>
                    <a:cubicBezTo>
                      <a:pt x="14" y="12"/>
                      <a:pt x="15" y="8"/>
                      <a:pt x="15" y="8"/>
                    </a:cubicBezTo>
                    <a:cubicBezTo>
                      <a:pt x="13" y="6"/>
                      <a:pt x="10" y="5"/>
                      <a:pt x="7" y="5"/>
                    </a:cubicBezTo>
                    <a:cubicBezTo>
                      <a:pt x="7" y="5"/>
                      <a:pt x="7" y="5"/>
                      <a:pt x="6" y="5"/>
                    </a:cubicBezTo>
                    <a:cubicBezTo>
                      <a:pt x="6" y="3"/>
                      <a:pt x="7" y="1"/>
                      <a:pt x="8"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25"/>
              <p:cNvSpPr/>
              <p:nvPr/>
            </p:nvSpPr>
            <p:spPr bwMode="auto">
              <a:xfrm>
                <a:off x="925" y="1682"/>
                <a:ext cx="10" cy="2"/>
              </a:xfrm>
              <a:custGeom>
                <a:gdLst>
                  <a:gd name="T0" fmla="*/ 1 w 4"/>
                  <a:gd name="T1" fmla="*/ 0 h 1"/>
                  <a:gd name="T2" fmla="*/ 0 w 4"/>
                  <a:gd name="T3" fmla="*/ 0 h 1"/>
                  <a:gd name="T4" fmla="*/ 4 w 4"/>
                  <a:gd name="T5" fmla="*/ 1 h 1"/>
                  <a:gd name="T6" fmla="*/ 1 w 4"/>
                  <a:gd name="T7" fmla="*/ 0 h 1"/>
                </a:gdLst>
                <a:cxnLst>
                  <a:cxn ang="0">
                    <a:pos x="T0" y="T1"/>
                  </a:cxn>
                  <a:cxn ang="0">
                    <a:pos x="T2" y="T3"/>
                  </a:cxn>
                  <a:cxn ang="0">
                    <a:pos x="T4" y="T5"/>
                  </a:cxn>
                  <a:cxn ang="0">
                    <a:pos x="T6" y="T7"/>
                  </a:cxn>
                </a:cxnLst>
                <a:rect l="0" t="0" r="r" b="b"/>
                <a:pathLst>
                  <a:path w="4" h="1">
                    <a:moveTo>
                      <a:pt x="1" y="0"/>
                    </a:moveTo>
                    <a:cubicBezTo>
                      <a:pt x="0" y="0"/>
                      <a:pt x="0" y="0"/>
                      <a:pt x="0" y="0"/>
                    </a:cubicBezTo>
                    <a:cubicBezTo>
                      <a:pt x="1" y="0"/>
                      <a:pt x="2" y="1"/>
                      <a:pt x="4" y="1"/>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26"/>
              <p:cNvSpPr/>
              <p:nvPr/>
            </p:nvSpPr>
            <p:spPr bwMode="auto">
              <a:xfrm>
                <a:off x="817" y="1183"/>
                <a:ext cx="106" cy="54"/>
              </a:xfrm>
              <a:custGeom>
                <a:gdLst>
                  <a:gd name="T0" fmla="*/ 30 w 45"/>
                  <a:gd name="T1" fmla="*/ 0 h 23"/>
                  <a:gd name="T2" fmla="*/ 24 w 45"/>
                  <a:gd name="T3" fmla="*/ 2 h 23"/>
                  <a:gd name="T4" fmla="*/ 23 w 45"/>
                  <a:gd name="T5" fmla="*/ 1 h 23"/>
                  <a:gd name="T6" fmla="*/ 19 w 45"/>
                  <a:gd name="T7" fmla="*/ 3 h 23"/>
                  <a:gd name="T8" fmla="*/ 15 w 45"/>
                  <a:gd name="T9" fmla="*/ 4 h 23"/>
                  <a:gd name="T10" fmla="*/ 12 w 45"/>
                  <a:gd name="T11" fmla="*/ 7 h 23"/>
                  <a:gd name="T12" fmla="*/ 12 w 45"/>
                  <a:gd name="T13" fmla="*/ 7 h 23"/>
                  <a:gd name="T14" fmla="*/ 6 w 45"/>
                  <a:gd name="T15" fmla="*/ 6 h 23"/>
                  <a:gd name="T16" fmla="*/ 5 w 45"/>
                  <a:gd name="T17" fmla="*/ 6 h 23"/>
                  <a:gd name="T18" fmla="*/ 0 w 45"/>
                  <a:gd name="T19" fmla="*/ 7 h 23"/>
                  <a:gd name="T20" fmla="*/ 29 w 45"/>
                  <a:gd name="T21" fmla="*/ 23 h 23"/>
                  <a:gd name="T22" fmla="*/ 29 w 45"/>
                  <a:gd name="T23" fmla="*/ 19 h 23"/>
                  <a:gd name="T24" fmla="*/ 30 w 45"/>
                  <a:gd name="T25" fmla="*/ 19 h 23"/>
                  <a:gd name="T26" fmla="*/ 31 w 45"/>
                  <a:gd name="T27" fmla="*/ 19 h 23"/>
                  <a:gd name="T28" fmla="*/ 33 w 45"/>
                  <a:gd name="T29" fmla="*/ 19 h 23"/>
                  <a:gd name="T30" fmla="*/ 38 w 45"/>
                  <a:gd name="T31" fmla="*/ 18 h 23"/>
                  <a:gd name="T32" fmla="*/ 39 w 45"/>
                  <a:gd name="T33" fmla="*/ 17 h 23"/>
                  <a:gd name="T34" fmla="*/ 39 w 45"/>
                  <a:gd name="T35" fmla="*/ 17 h 23"/>
                  <a:gd name="T36" fmla="*/ 40 w 45"/>
                  <a:gd name="T37" fmla="*/ 17 h 23"/>
                  <a:gd name="T38" fmla="*/ 40 w 45"/>
                  <a:gd name="T39" fmla="*/ 18 h 23"/>
                  <a:gd name="T40" fmla="*/ 40 w 45"/>
                  <a:gd name="T41" fmla="*/ 18 h 23"/>
                  <a:gd name="T42" fmla="*/ 43 w 45"/>
                  <a:gd name="T43" fmla="*/ 17 h 23"/>
                  <a:gd name="T44" fmla="*/ 40 w 45"/>
                  <a:gd name="T45" fmla="*/ 12 h 23"/>
                  <a:gd name="T46" fmla="*/ 41 w 45"/>
                  <a:gd name="T47" fmla="*/ 9 h 23"/>
                  <a:gd name="T48" fmla="*/ 40 w 45"/>
                  <a:gd name="T49" fmla="*/ 8 h 23"/>
                  <a:gd name="T50" fmla="*/ 41 w 45"/>
                  <a:gd name="T51" fmla="*/ 7 h 23"/>
                  <a:gd name="T52" fmla="*/ 36 w 45"/>
                  <a:gd name="T53" fmla="*/ 3 h 23"/>
                  <a:gd name="T54" fmla="*/ 35 w 45"/>
                  <a:gd name="T55" fmla="*/ 3 h 23"/>
                  <a:gd name="T56" fmla="*/ 33 w 45"/>
                  <a:gd name="T57" fmla="*/ 3 h 23"/>
                  <a:gd name="T58" fmla="*/ 32 w 45"/>
                  <a:gd name="T59" fmla="*/ 2 h 23"/>
                  <a:gd name="T60" fmla="*/ 31 w 45"/>
                  <a:gd name="T61" fmla="*/ 0 h 23"/>
                  <a:gd name="T62" fmla="*/ 30 w 45"/>
                  <a:gd name="T63"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23">
                    <a:moveTo>
                      <a:pt x="30" y="0"/>
                    </a:moveTo>
                    <a:cubicBezTo>
                      <a:pt x="29" y="0"/>
                      <a:pt x="25" y="2"/>
                      <a:pt x="24" y="2"/>
                    </a:cubicBezTo>
                    <a:cubicBezTo>
                      <a:pt x="24" y="1"/>
                      <a:pt x="24" y="1"/>
                      <a:pt x="23" y="1"/>
                    </a:cubicBezTo>
                    <a:cubicBezTo>
                      <a:pt x="21" y="1"/>
                      <a:pt x="19" y="3"/>
                      <a:pt x="19" y="3"/>
                    </a:cubicBezTo>
                    <a:cubicBezTo>
                      <a:pt x="18" y="3"/>
                      <a:pt x="16" y="3"/>
                      <a:pt x="15" y="4"/>
                    </a:cubicBezTo>
                    <a:cubicBezTo>
                      <a:pt x="14" y="5"/>
                      <a:pt x="14" y="7"/>
                      <a:pt x="12" y="7"/>
                    </a:cubicBezTo>
                    <a:cubicBezTo>
                      <a:pt x="12" y="7"/>
                      <a:pt x="12" y="7"/>
                      <a:pt x="12" y="7"/>
                    </a:cubicBezTo>
                    <a:cubicBezTo>
                      <a:pt x="10" y="7"/>
                      <a:pt x="7" y="6"/>
                      <a:pt x="6" y="6"/>
                    </a:cubicBezTo>
                    <a:cubicBezTo>
                      <a:pt x="6" y="6"/>
                      <a:pt x="6" y="6"/>
                      <a:pt x="5" y="6"/>
                    </a:cubicBezTo>
                    <a:cubicBezTo>
                      <a:pt x="3" y="6"/>
                      <a:pt x="2" y="7"/>
                      <a:pt x="0" y="7"/>
                    </a:cubicBezTo>
                    <a:cubicBezTo>
                      <a:pt x="9" y="12"/>
                      <a:pt x="19" y="18"/>
                      <a:pt x="29" y="23"/>
                    </a:cubicBezTo>
                    <a:cubicBezTo>
                      <a:pt x="28" y="21"/>
                      <a:pt x="27" y="19"/>
                      <a:pt x="29" y="19"/>
                    </a:cubicBezTo>
                    <a:cubicBezTo>
                      <a:pt x="29" y="19"/>
                      <a:pt x="30" y="19"/>
                      <a:pt x="30" y="19"/>
                    </a:cubicBezTo>
                    <a:cubicBezTo>
                      <a:pt x="31" y="19"/>
                      <a:pt x="31" y="19"/>
                      <a:pt x="31" y="19"/>
                    </a:cubicBezTo>
                    <a:cubicBezTo>
                      <a:pt x="32" y="19"/>
                      <a:pt x="32" y="19"/>
                      <a:pt x="33" y="19"/>
                    </a:cubicBezTo>
                    <a:cubicBezTo>
                      <a:pt x="35" y="19"/>
                      <a:pt x="36" y="18"/>
                      <a:pt x="38" y="18"/>
                    </a:cubicBezTo>
                    <a:cubicBezTo>
                      <a:pt x="38" y="18"/>
                      <a:pt x="39" y="17"/>
                      <a:pt x="39" y="17"/>
                    </a:cubicBezTo>
                    <a:cubicBezTo>
                      <a:pt x="39" y="17"/>
                      <a:pt x="39" y="17"/>
                      <a:pt x="39" y="17"/>
                    </a:cubicBezTo>
                    <a:cubicBezTo>
                      <a:pt x="39" y="17"/>
                      <a:pt x="40" y="17"/>
                      <a:pt x="40" y="17"/>
                    </a:cubicBezTo>
                    <a:cubicBezTo>
                      <a:pt x="40" y="18"/>
                      <a:pt x="40" y="18"/>
                      <a:pt x="40" y="18"/>
                    </a:cubicBezTo>
                    <a:cubicBezTo>
                      <a:pt x="40" y="18"/>
                      <a:pt x="40" y="18"/>
                      <a:pt x="40" y="18"/>
                    </a:cubicBezTo>
                    <a:cubicBezTo>
                      <a:pt x="41" y="18"/>
                      <a:pt x="42" y="18"/>
                      <a:pt x="43" y="17"/>
                    </a:cubicBezTo>
                    <a:cubicBezTo>
                      <a:pt x="45" y="15"/>
                      <a:pt x="42" y="12"/>
                      <a:pt x="40" y="12"/>
                    </a:cubicBezTo>
                    <a:cubicBezTo>
                      <a:pt x="41" y="11"/>
                      <a:pt x="40" y="10"/>
                      <a:pt x="41" y="9"/>
                    </a:cubicBezTo>
                    <a:cubicBezTo>
                      <a:pt x="41" y="9"/>
                      <a:pt x="40" y="9"/>
                      <a:pt x="40" y="8"/>
                    </a:cubicBezTo>
                    <a:cubicBezTo>
                      <a:pt x="40" y="8"/>
                      <a:pt x="41" y="8"/>
                      <a:pt x="41" y="7"/>
                    </a:cubicBezTo>
                    <a:cubicBezTo>
                      <a:pt x="41" y="4"/>
                      <a:pt x="39" y="3"/>
                      <a:pt x="36" y="3"/>
                    </a:cubicBezTo>
                    <a:cubicBezTo>
                      <a:pt x="36" y="3"/>
                      <a:pt x="35" y="3"/>
                      <a:pt x="35" y="3"/>
                    </a:cubicBezTo>
                    <a:cubicBezTo>
                      <a:pt x="34" y="3"/>
                      <a:pt x="34" y="3"/>
                      <a:pt x="33" y="3"/>
                    </a:cubicBezTo>
                    <a:cubicBezTo>
                      <a:pt x="33" y="3"/>
                      <a:pt x="32" y="3"/>
                      <a:pt x="32" y="2"/>
                    </a:cubicBezTo>
                    <a:cubicBezTo>
                      <a:pt x="31" y="2"/>
                      <a:pt x="31" y="0"/>
                      <a:pt x="31" y="0"/>
                    </a:cubicBezTo>
                    <a:cubicBezTo>
                      <a:pt x="31"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27"/>
              <p:cNvSpPr/>
              <p:nvPr/>
            </p:nvSpPr>
            <p:spPr bwMode="auto">
              <a:xfrm>
                <a:off x="1632" y="1330"/>
                <a:ext cx="12" cy="4"/>
              </a:xfrm>
              <a:custGeom>
                <a:gdLst>
                  <a:gd name="T0" fmla="*/ 3 w 5"/>
                  <a:gd name="T1" fmla="*/ 0 h 2"/>
                  <a:gd name="T2" fmla="*/ 0 w 5"/>
                  <a:gd name="T3" fmla="*/ 2 h 2"/>
                  <a:gd name="T4" fmla="*/ 5 w 5"/>
                  <a:gd name="T5" fmla="*/ 1 h 2"/>
                  <a:gd name="T6" fmla="*/ 3 w 5"/>
                  <a:gd name="T7" fmla="*/ 0 h 2"/>
                </a:gdLst>
                <a:cxnLst>
                  <a:cxn ang="0">
                    <a:pos x="T0" y="T1"/>
                  </a:cxn>
                  <a:cxn ang="0">
                    <a:pos x="T2" y="T3"/>
                  </a:cxn>
                  <a:cxn ang="0">
                    <a:pos x="T4" y="T5"/>
                  </a:cxn>
                  <a:cxn ang="0">
                    <a:pos x="T6" y="T7"/>
                  </a:cxn>
                </a:cxnLst>
                <a:rect l="0" t="0" r="r" b="b"/>
                <a:pathLst>
                  <a:path w="5" h="2">
                    <a:moveTo>
                      <a:pt x="3" y="0"/>
                    </a:moveTo>
                    <a:cubicBezTo>
                      <a:pt x="2" y="0"/>
                      <a:pt x="0" y="0"/>
                      <a:pt x="0" y="2"/>
                    </a:cubicBezTo>
                    <a:cubicBezTo>
                      <a:pt x="1" y="1"/>
                      <a:pt x="3"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28"/>
              <p:cNvSpPr/>
              <p:nvPr/>
            </p:nvSpPr>
            <p:spPr bwMode="auto">
              <a:xfrm>
                <a:off x="5028" y="2195"/>
                <a:ext cx="7" cy="3"/>
              </a:xfrm>
              <a:custGeom>
                <a:gdLst>
                  <a:gd name="T0" fmla="*/ 3 w 3"/>
                  <a:gd name="T1" fmla="*/ 0 h 1"/>
                  <a:gd name="T2" fmla="*/ 0 w 3"/>
                  <a:gd name="T3" fmla="*/ 1 h 1"/>
                  <a:gd name="T4" fmla="*/ 3 w 3"/>
                  <a:gd name="T5" fmla="*/ 0 h 1"/>
                  <a:gd name="T6" fmla="*/ 3 w 3"/>
                  <a:gd name="T7" fmla="*/ 0 h 1"/>
                </a:gdLst>
                <a:cxnLst>
                  <a:cxn ang="0">
                    <a:pos x="T0" y="T1"/>
                  </a:cxn>
                  <a:cxn ang="0">
                    <a:pos x="T2" y="T3"/>
                  </a:cxn>
                  <a:cxn ang="0">
                    <a:pos x="T4" y="T5"/>
                  </a:cxn>
                  <a:cxn ang="0">
                    <a:pos x="T6" y="T7"/>
                  </a:cxn>
                </a:cxnLst>
                <a:rect l="0" t="0" r="r" b="b"/>
                <a:pathLst>
                  <a:path w="3" h="1">
                    <a:moveTo>
                      <a:pt x="3" y="0"/>
                    </a:moveTo>
                    <a:cubicBezTo>
                      <a:pt x="2" y="0"/>
                      <a:pt x="1" y="1"/>
                      <a:pt x="0" y="1"/>
                    </a:cubicBezTo>
                    <a:cubicBezTo>
                      <a:pt x="1" y="1"/>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29"/>
              <p:cNvSpPr/>
              <p:nvPr/>
            </p:nvSpPr>
            <p:spPr bwMode="auto">
              <a:xfrm>
                <a:off x="1588" y="1441"/>
                <a:ext cx="26" cy="9"/>
              </a:xfrm>
              <a:custGeom>
                <a:gdLst>
                  <a:gd name="T0" fmla="*/ 4 w 11"/>
                  <a:gd name="T1" fmla="*/ 0 h 4"/>
                  <a:gd name="T2" fmla="*/ 0 w 11"/>
                  <a:gd name="T3" fmla="*/ 4 h 4"/>
                  <a:gd name="T4" fmla="*/ 11 w 11"/>
                  <a:gd name="T5" fmla="*/ 2 h 4"/>
                  <a:gd name="T6" fmla="*/ 8 w 11"/>
                  <a:gd name="T7" fmla="*/ 1 h 4"/>
                  <a:gd name="T8" fmla="*/ 4 w 11"/>
                  <a:gd name="T9" fmla="*/ 2 h 4"/>
                  <a:gd name="T10" fmla="*/ 4 w 11"/>
                  <a:gd name="T11" fmla="*/ 0 h 4"/>
                </a:gdLst>
                <a:cxnLst>
                  <a:cxn ang="0">
                    <a:pos x="T0" y="T1"/>
                  </a:cxn>
                  <a:cxn ang="0">
                    <a:pos x="T2" y="T3"/>
                  </a:cxn>
                  <a:cxn ang="0">
                    <a:pos x="T4" y="T5"/>
                  </a:cxn>
                  <a:cxn ang="0">
                    <a:pos x="T6" y="T7"/>
                  </a:cxn>
                  <a:cxn ang="0">
                    <a:pos x="T8" y="T9"/>
                  </a:cxn>
                  <a:cxn ang="0">
                    <a:pos x="T10" y="T11"/>
                  </a:cxn>
                </a:cxnLst>
                <a:rect l="0" t="0" r="r" b="b"/>
                <a:pathLst>
                  <a:path w="11" h="4">
                    <a:moveTo>
                      <a:pt x="4" y="0"/>
                    </a:moveTo>
                    <a:cubicBezTo>
                      <a:pt x="2" y="1"/>
                      <a:pt x="0" y="3"/>
                      <a:pt x="0" y="4"/>
                    </a:cubicBezTo>
                    <a:cubicBezTo>
                      <a:pt x="4" y="4"/>
                      <a:pt x="8" y="3"/>
                      <a:pt x="11" y="2"/>
                    </a:cubicBezTo>
                    <a:cubicBezTo>
                      <a:pt x="10" y="2"/>
                      <a:pt x="9" y="1"/>
                      <a:pt x="8" y="1"/>
                    </a:cubicBezTo>
                    <a:cubicBezTo>
                      <a:pt x="6" y="1"/>
                      <a:pt x="5" y="2"/>
                      <a:pt x="4" y="2"/>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30"/>
              <p:cNvSpPr/>
              <p:nvPr/>
            </p:nvSpPr>
            <p:spPr bwMode="auto">
              <a:xfrm>
                <a:off x="2597" y="1346"/>
                <a:ext cx="64" cy="109"/>
              </a:xfrm>
              <a:custGeom>
                <a:gdLst>
                  <a:gd name="T0" fmla="*/ 0 w 27"/>
                  <a:gd name="T1" fmla="*/ 0 h 46"/>
                  <a:gd name="T2" fmla="*/ 2 w 27"/>
                  <a:gd name="T3" fmla="*/ 5 h 46"/>
                  <a:gd name="T4" fmla="*/ 4 w 27"/>
                  <a:gd name="T5" fmla="*/ 8 h 46"/>
                  <a:gd name="T6" fmla="*/ 6 w 27"/>
                  <a:gd name="T7" fmla="*/ 7 h 46"/>
                  <a:gd name="T8" fmla="*/ 4 w 27"/>
                  <a:gd name="T9" fmla="*/ 13 h 46"/>
                  <a:gd name="T10" fmla="*/ 6 w 27"/>
                  <a:gd name="T11" fmla="*/ 17 h 46"/>
                  <a:gd name="T12" fmla="*/ 9 w 27"/>
                  <a:gd name="T13" fmla="*/ 30 h 46"/>
                  <a:gd name="T14" fmla="*/ 14 w 27"/>
                  <a:gd name="T15" fmla="*/ 29 h 46"/>
                  <a:gd name="T16" fmla="*/ 15 w 27"/>
                  <a:gd name="T17" fmla="*/ 35 h 46"/>
                  <a:gd name="T18" fmla="*/ 15 w 27"/>
                  <a:gd name="T19" fmla="*/ 36 h 46"/>
                  <a:gd name="T20" fmla="*/ 14 w 27"/>
                  <a:gd name="T21" fmla="*/ 36 h 46"/>
                  <a:gd name="T22" fmla="*/ 14 w 27"/>
                  <a:gd name="T23" fmla="*/ 35 h 46"/>
                  <a:gd name="T24" fmla="*/ 14 w 27"/>
                  <a:gd name="T25" fmla="*/ 35 h 46"/>
                  <a:gd name="T26" fmla="*/ 12 w 27"/>
                  <a:gd name="T27" fmla="*/ 35 h 46"/>
                  <a:gd name="T28" fmla="*/ 11 w 27"/>
                  <a:gd name="T29" fmla="*/ 38 h 46"/>
                  <a:gd name="T30" fmla="*/ 9 w 27"/>
                  <a:gd name="T31" fmla="*/ 46 h 46"/>
                  <a:gd name="T32" fmla="*/ 14 w 27"/>
                  <a:gd name="T33" fmla="*/ 44 h 46"/>
                  <a:gd name="T34" fmla="*/ 20 w 27"/>
                  <a:gd name="T35" fmla="*/ 37 h 46"/>
                  <a:gd name="T36" fmla="*/ 26 w 27"/>
                  <a:gd name="T37" fmla="*/ 34 h 46"/>
                  <a:gd name="T38" fmla="*/ 25 w 27"/>
                  <a:gd name="T39" fmla="*/ 30 h 46"/>
                  <a:gd name="T40" fmla="*/ 23 w 27"/>
                  <a:gd name="T41" fmla="*/ 26 h 46"/>
                  <a:gd name="T42" fmla="*/ 20 w 27"/>
                  <a:gd name="T43" fmla="*/ 22 h 46"/>
                  <a:gd name="T44" fmla="*/ 17 w 27"/>
                  <a:gd name="T45" fmla="*/ 19 h 46"/>
                  <a:gd name="T46" fmla="*/ 16 w 27"/>
                  <a:gd name="T47" fmla="*/ 19 h 46"/>
                  <a:gd name="T48" fmla="*/ 16 w 27"/>
                  <a:gd name="T49" fmla="*/ 11 h 46"/>
                  <a:gd name="T50" fmla="*/ 20 w 27"/>
                  <a:gd name="T51" fmla="*/ 18 h 46"/>
                  <a:gd name="T52" fmla="*/ 23 w 27"/>
                  <a:gd name="T53" fmla="*/ 21 h 46"/>
                  <a:gd name="T54" fmla="*/ 27 w 27"/>
                  <a:gd name="T55" fmla="*/ 27 h 46"/>
                  <a:gd name="T56" fmla="*/ 25 w 27"/>
                  <a:gd name="T57" fmla="*/ 22 h 46"/>
                  <a:gd name="T58" fmla="*/ 23 w 27"/>
                  <a:gd name="T59" fmla="*/ 18 h 46"/>
                  <a:gd name="T60" fmla="*/ 17 w 27"/>
                  <a:gd name="T61" fmla="*/ 8 h 46"/>
                  <a:gd name="T62" fmla="*/ 16 w 27"/>
                  <a:gd name="T63" fmla="*/ 8 h 46"/>
                  <a:gd name="T64" fmla="*/ 15 w 27"/>
                  <a:gd name="T65" fmla="*/ 8 h 46"/>
                  <a:gd name="T66" fmla="*/ 14 w 27"/>
                  <a:gd name="T67" fmla="*/ 8 h 46"/>
                  <a:gd name="T68" fmla="*/ 13 w 27"/>
                  <a:gd name="T69" fmla="*/ 8 h 46"/>
                  <a:gd name="T70" fmla="*/ 9 w 27"/>
                  <a:gd name="T71" fmla="*/ 8 h 46"/>
                  <a:gd name="T72" fmla="*/ 5 w 27"/>
                  <a:gd name="T73" fmla="*/ 5 h 46"/>
                  <a:gd name="T74" fmla="*/ 0 w 27"/>
                  <a:gd name="T75" fmla="*/ 0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46">
                    <a:moveTo>
                      <a:pt x="0" y="0"/>
                    </a:moveTo>
                    <a:cubicBezTo>
                      <a:pt x="0" y="2"/>
                      <a:pt x="0" y="5"/>
                      <a:pt x="2" y="5"/>
                    </a:cubicBezTo>
                    <a:cubicBezTo>
                      <a:pt x="1" y="7"/>
                      <a:pt x="2" y="8"/>
                      <a:pt x="4" y="8"/>
                    </a:cubicBezTo>
                    <a:cubicBezTo>
                      <a:pt x="5" y="8"/>
                      <a:pt x="5" y="8"/>
                      <a:pt x="6" y="7"/>
                    </a:cubicBezTo>
                    <a:cubicBezTo>
                      <a:pt x="5" y="8"/>
                      <a:pt x="4" y="12"/>
                      <a:pt x="4" y="13"/>
                    </a:cubicBezTo>
                    <a:cubicBezTo>
                      <a:pt x="4" y="14"/>
                      <a:pt x="6" y="16"/>
                      <a:pt x="6" y="17"/>
                    </a:cubicBezTo>
                    <a:cubicBezTo>
                      <a:pt x="7" y="22"/>
                      <a:pt x="7" y="25"/>
                      <a:pt x="9" y="30"/>
                    </a:cubicBezTo>
                    <a:cubicBezTo>
                      <a:pt x="11" y="30"/>
                      <a:pt x="13" y="29"/>
                      <a:pt x="14" y="29"/>
                    </a:cubicBezTo>
                    <a:cubicBezTo>
                      <a:pt x="14" y="31"/>
                      <a:pt x="16" y="33"/>
                      <a:pt x="15" y="35"/>
                    </a:cubicBezTo>
                    <a:cubicBezTo>
                      <a:pt x="15" y="36"/>
                      <a:pt x="15" y="36"/>
                      <a:pt x="15" y="36"/>
                    </a:cubicBezTo>
                    <a:cubicBezTo>
                      <a:pt x="15" y="36"/>
                      <a:pt x="14" y="36"/>
                      <a:pt x="14" y="36"/>
                    </a:cubicBezTo>
                    <a:cubicBezTo>
                      <a:pt x="14" y="35"/>
                      <a:pt x="14" y="35"/>
                      <a:pt x="14" y="35"/>
                    </a:cubicBezTo>
                    <a:cubicBezTo>
                      <a:pt x="14" y="35"/>
                      <a:pt x="14" y="35"/>
                      <a:pt x="14" y="35"/>
                    </a:cubicBezTo>
                    <a:cubicBezTo>
                      <a:pt x="12" y="35"/>
                      <a:pt x="12" y="35"/>
                      <a:pt x="12" y="35"/>
                    </a:cubicBezTo>
                    <a:cubicBezTo>
                      <a:pt x="11" y="38"/>
                      <a:pt x="11" y="38"/>
                      <a:pt x="11" y="38"/>
                    </a:cubicBezTo>
                    <a:cubicBezTo>
                      <a:pt x="10" y="41"/>
                      <a:pt x="9" y="44"/>
                      <a:pt x="9" y="46"/>
                    </a:cubicBezTo>
                    <a:cubicBezTo>
                      <a:pt x="11" y="46"/>
                      <a:pt x="12" y="45"/>
                      <a:pt x="14" y="44"/>
                    </a:cubicBezTo>
                    <a:cubicBezTo>
                      <a:pt x="13" y="43"/>
                      <a:pt x="23" y="39"/>
                      <a:pt x="20" y="37"/>
                    </a:cubicBezTo>
                    <a:cubicBezTo>
                      <a:pt x="22" y="36"/>
                      <a:pt x="25" y="36"/>
                      <a:pt x="26" y="34"/>
                    </a:cubicBezTo>
                    <a:cubicBezTo>
                      <a:pt x="27" y="32"/>
                      <a:pt x="26" y="32"/>
                      <a:pt x="25" y="30"/>
                    </a:cubicBezTo>
                    <a:cubicBezTo>
                      <a:pt x="25" y="29"/>
                      <a:pt x="24" y="27"/>
                      <a:pt x="23" y="26"/>
                    </a:cubicBezTo>
                    <a:cubicBezTo>
                      <a:pt x="22" y="25"/>
                      <a:pt x="21" y="23"/>
                      <a:pt x="20" y="22"/>
                    </a:cubicBezTo>
                    <a:cubicBezTo>
                      <a:pt x="19" y="21"/>
                      <a:pt x="18" y="19"/>
                      <a:pt x="17" y="19"/>
                    </a:cubicBezTo>
                    <a:cubicBezTo>
                      <a:pt x="17" y="19"/>
                      <a:pt x="17" y="19"/>
                      <a:pt x="16" y="19"/>
                    </a:cubicBezTo>
                    <a:cubicBezTo>
                      <a:pt x="17" y="15"/>
                      <a:pt x="17" y="15"/>
                      <a:pt x="16" y="11"/>
                    </a:cubicBezTo>
                    <a:cubicBezTo>
                      <a:pt x="18" y="12"/>
                      <a:pt x="19" y="15"/>
                      <a:pt x="20" y="18"/>
                    </a:cubicBezTo>
                    <a:cubicBezTo>
                      <a:pt x="21" y="19"/>
                      <a:pt x="22" y="20"/>
                      <a:pt x="23" y="21"/>
                    </a:cubicBezTo>
                    <a:cubicBezTo>
                      <a:pt x="24" y="24"/>
                      <a:pt x="24" y="25"/>
                      <a:pt x="27" y="27"/>
                    </a:cubicBezTo>
                    <a:cubicBezTo>
                      <a:pt x="26" y="25"/>
                      <a:pt x="25" y="24"/>
                      <a:pt x="25" y="22"/>
                    </a:cubicBezTo>
                    <a:cubicBezTo>
                      <a:pt x="25" y="20"/>
                      <a:pt x="24" y="20"/>
                      <a:pt x="23" y="18"/>
                    </a:cubicBezTo>
                    <a:cubicBezTo>
                      <a:pt x="22" y="15"/>
                      <a:pt x="19" y="9"/>
                      <a:pt x="17" y="8"/>
                    </a:cubicBezTo>
                    <a:cubicBezTo>
                      <a:pt x="17" y="8"/>
                      <a:pt x="16" y="8"/>
                      <a:pt x="16" y="8"/>
                    </a:cubicBezTo>
                    <a:cubicBezTo>
                      <a:pt x="16" y="8"/>
                      <a:pt x="15" y="8"/>
                      <a:pt x="15" y="8"/>
                    </a:cubicBezTo>
                    <a:cubicBezTo>
                      <a:pt x="15" y="8"/>
                      <a:pt x="15" y="8"/>
                      <a:pt x="14" y="8"/>
                    </a:cubicBezTo>
                    <a:cubicBezTo>
                      <a:pt x="14" y="8"/>
                      <a:pt x="13" y="8"/>
                      <a:pt x="13" y="8"/>
                    </a:cubicBezTo>
                    <a:cubicBezTo>
                      <a:pt x="11" y="8"/>
                      <a:pt x="10" y="8"/>
                      <a:pt x="9" y="8"/>
                    </a:cubicBezTo>
                    <a:cubicBezTo>
                      <a:pt x="7" y="8"/>
                      <a:pt x="7" y="7"/>
                      <a:pt x="5" y="5"/>
                    </a:cubicBezTo>
                    <a:cubicBezTo>
                      <a:pt x="4"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31"/>
              <p:cNvSpPr/>
              <p:nvPr/>
            </p:nvSpPr>
            <p:spPr bwMode="auto">
              <a:xfrm>
                <a:off x="2678" y="1587"/>
                <a:ext cx="16" cy="10"/>
              </a:xfrm>
              <a:custGeom>
                <a:gdLst>
                  <a:gd name="T0" fmla="*/ 5 w 7"/>
                  <a:gd name="T1" fmla="*/ 0 h 4"/>
                  <a:gd name="T2" fmla="*/ 2 w 7"/>
                  <a:gd name="T3" fmla="*/ 3 h 4"/>
                  <a:gd name="T4" fmla="*/ 4 w 7"/>
                  <a:gd name="T5" fmla="*/ 4 h 4"/>
                  <a:gd name="T6" fmla="*/ 4 w 7"/>
                  <a:gd name="T7" fmla="*/ 4 h 4"/>
                  <a:gd name="T8" fmla="*/ 5 w 7"/>
                  <a:gd name="T9" fmla="*/ 4 h 4"/>
                  <a:gd name="T10" fmla="*/ 5 w 7"/>
                  <a:gd name="T11" fmla="*/ 4 h 4"/>
                  <a:gd name="T12" fmla="*/ 5 w 7"/>
                  <a:gd name="T13" fmla="*/ 4 h 4"/>
                  <a:gd name="T14" fmla="*/ 5 w 7"/>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5" y="0"/>
                    </a:moveTo>
                    <a:cubicBezTo>
                      <a:pt x="4" y="0"/>
                      <a:pt x="0" y="0"/>
                      <a:pt x="2" y="3"/>
                    </a:cubicBezTo>
                    <a:cubicBezTo>
                      <a:pt x="2" y="4"/>
                      <a:pt x="3" y="4"/>
                      <a:pt x="4" y="4"/>
                    </a:cubicBezTo>
                    <a:cubicBezTo>
                      <a:pt x="4" y="4"/>
                      <a:pt x="4" y="4"/>
                      <a:pt x="4" y="4"/>
                    </a:cubicBezTo>
                    <a:cubicBezTo>
                      <a:pt x="4" y="4"/>
                      <a:pt x="5" y="4"/>
                      <a:pt x="5" y="4"/>
                    </a:cubicBezTo>
                    <a:cubicBezTo>
                      <a:pt x="5" y="4"/>
                      <a:pt x="5" y="4"/>
                      <a:pt x="5" y="4"/>
                    </a:cubicBezTo>
                    <a:cubicBezTo>
                      <a:pt x="5" y="4"/>
                      <a:pt x="5" y="4"/>
                      <a:pt x="5" y="4"/>
                    </a:cubicBezTo>
                    <a:cubicBezTo>
                      <a:pt x="7" y="4"/>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32"/>
              <p:cNvSpPr/>
              <p:nvPr/>
            </p:nvSpPr>
            <p:spPr bwMode="auto">
              <a:xfrm>
                <a:off x="2770" y="1540"/>
                <a:ext cx="50" cy="57"/>
              </a:xfrm>
              <a:custGeom>
                <a:gdLst>
                  <a:gd name="T0" fmla="*/ 12 w 21"/>
                  <a:gd name="T1" fmla="*/ 0 h 24"/>
                  <a:gd name="T2" fmla="*/ 11 w 21"/>
                  <a:gd name="T3" fmla="*/ 0 h 24"/>
                  <a:gd name="T4" fmla="*/ 7 w 21"/>
                  <a:gd name="T5" fmla="*/ 1 h 24"/>
                  <a:gd name="T6" fmla="*/ 9 w 21"/>
                  <a:gd name="T7" fmla="*/ 3 h 24"/>
                  <a:gd name="T8" fmla="*/ 8 w 21"/>
                  <a:gd name="T9" fmla="*/ 3 h 24"/>
                  <a:gd name="T10" fmla="*/ 7 w 21"/>
                  <a:gd name="T11" fmla="*/ 3 h 24"/>
                  <a:gd name="T12" fmla="*/ 6 w 21"/>
                  <a:gd name="T13" fmla="*/ 3 h 24"/>
                  <a:gd name="T14" fmla="*/ 3 w 21"/>
                  <a:gd name="T15" fmla="*/ 4 h 24"/>
                  <a:gd name="T16" fmla="*/ 4 w 21"/>
                  <a:gd name="T17" fmla="*/ 5 h 24"/>
                  <a:gd name="T18" fmla="*/ 5 w 21"/>
                  <a:gd name="T19" fmla="*/ 4 h 24"/>
                  <a:gd name="T20" fmla="*/ 6 w 21"/>
                  <a:gd name="T21" fmla="*/ 4 h 24"/>
                  <a:gd name="T22" fmla="*/ 8 w 21"/>
                  <a:gd name="T23" fmla="*/ 5 h 24"/>
                  <a:gd name="T24" fmla="*/ 3 w 21"/>
                  <a:gd name="T25" fmla="*/ 7 h 24"/>
                  <a:gd name="T26" fmla="*/ 3 w 21"/>
                  <a:gd name="T27" fmla="*/ 7 h 24"/>
                  <a:gd name="T28" fmla="*/ 5 w 21"/>
                  <a:gd name="T29" fmla="*/ 7 h 24"/>
                  <a:gd name="T30" fmla="*/ 7 w 21"/>
                  <a:gd name="T31" fmla="*/ 7 h 24"/>
                  <a:gd name="T32" fmla="*/ 7 w 21"/>
                  <a:gd name="T33" fmla="*/ 7 h 24"/>
                  <a:gd name="T34" fmla="*/ 7 w 21"/>
                  <a:gd name="T35" fmla="*/ 7 h 24"/>
                  <a:gd name="T36" fmla="*/ 3 w 21"/>
                  <a:gd name="T37" fmla="*/ 10 h 24"/>
                  <a:gd name="T38" fmla="*/ 4 w 21"/>
                  <a:gd name="T39" fmla="*/ 13 h 24"/>
                  <a:gd name="T40" fmla="*/ 1 w 21"/>
                  <a:gd name="T41" fmla="*/ 16 h 24"/>
                  <a:gd name="T42" fmla="*/ 5 w 21"/>
                  <a:gd name="T43" fmla="*/ 20 h 24"/>
                  <a:gd name="T44" fmla="*/ 9 w 21"/>
                  <a:gd name="T45" fmla="*/ 13 h 24"/>
                  <a:gd name="T46" fmla="*/ 11 w 21"/>
                  <a:gd name="T47" fmla="*/ 17 h 24"/>
                  <a:gd name="T48" fmla="*/ 12 w 21"/>
                  <a:gd name="T49" fmla="*/ 16 h 24"/>
                  <a:gd name="T50" fmla="*/ 11 w 21"/>
                  <a:gd name="T51" fmla="*/ 11 h 24"/>
                  <a:gd name="T52" fmla="*/ 13 w 21"/>
                  <a:gd name="T53" fmla="*/ 17 h 24"/>
                  <a:gd name="T54" fmla="*/ 11 w 21"/>
                  <a:gd name="T55" fmla="*/ 21 h 24"/>
                  <a:gd name="T56" fmla="*/ 12 w 21"/>
                  <a:gd name="T57" fmla="*/ 22 h 24"/>
                  <a:gd name="T58" fmla="*/ 14 w 21"/>
                  <a:gd name="T59" fmla="*/ 17 h 24"/>
                  <a:gd name="T60" fmla="*/ 16 w 21"/>
                  <a:gd name="T61" fmla="*/ 24 h 24"/>
                  <a:gd name="T62" fmla="*/ 18 w 21"/>
                  <a:gd name="T63" fmla="*/ 5 h 24"/>
                  <a:gd name="T64" fmla="*/ 12 w 21"/>
                  <a:gd name="T65"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4">
                    <a:moveTo>
                      <a:pt x="12" y="0"/>
                    </a:moveTo>
                    <a:cubicBezTo>
                      <a:pt x="12" y="0"/>
                      <a:pt x="11" y="0"/>
                      <a:pt x="11" y="0"/>
                    </a:cubicBezTo>
                    <a:cubicBezTo>
                      <a:pt x="10" y="0"/>
                      <a:pt x="8" y="0"/>
                      <a:pt x="7" y="1"/>
                    </a:cubicBezTo>
                    <a:cubicBezTo>
                      <a:pt x="6" y="2"/>
                      <a:pt x="6" y="3"/>
                      <a:pt x="9" y="3"/>
                    </a:cubicBezTo>
                    <a:cubicBezTo>
                      <a:pt x="9" y="3"/>
                      <a:pt x="9" y="3"/>
                      <a:pt x="8" y="3"/>
                    </a:cubicBezTo>
                    <a:cubicBezTo>
                      <a:pt x="8" y="3"/>
                      <a:pt x="8" y="3"/>
                      <a:pt x="7" y="3"/>
                    </a:cubicBezTo>
                    <a:cubicBezTo>
                      <a:pt x="7" y="3"/>
                      <a:pt x="6" y="3"/>
                      <a:pt x="6" y="3"/>
                    </a:cubicBezTo>
                    <a:cubicBezTo>
                      <a:pt x="5" y="3"/>
                      <a:pt x="3" y="3"/>
                      <a:pt x="3" y="4"/>
                    </a:cubicBezTo>
                    <a:cubicBezTo>
                      <a:pt x="3" y="4"/>
                      <a:pt x="4" y="5"/>
                      <a:pt x="4" y="5"/>
                    </a:cubicBezTo>
                    <a:cubicBezTo>
                      <a:pt x="4" y="5"/>
                      <a:pt x="5" y="4"/>
                      <a:pt x="5" y="4"/>
                    </a:cubicBezTo>
                    <a:cubicBezTo>
                      <a:pt x="6" y="4"/>
                      <a:pt x="6" y="4"/>
                      <a:pt x="6" y="4"/>
                    </a:cubicBezTo>
                    <a:cubicBezTo>
                      <a:pt x="7" y="4"/>
                      <a:pt x="8" y="4"/>
                      <a:pt x="8" y="5"/>
                    </a:cubicBezTo>
                    <a:cubicBezTo>
                      <a:pt x="7" y="6"/>
                      <a:pt x="4" y="5"/>
                      <a:pt x="3" y="7"/>
                    </a:cubicBezTo>
                    <a:cubicBezTo>
                      <a:pt x="3" y="7"/>
                      <a:pt x="3" y="7"/>
                      <a:pt x="3" y="7"/>
                    </a:cubicBezTo>
                    <a:cubicBezTo>
                      <a:pt x="4" y="7"/>
                      <a:pt x="4" y="7"/>
                      <a:pt x="5" y="7"/>
                    </a:cubicBezTo>
                    <a:cubicBezTo>
                      <a:pt x="6" y="7"/>
                      <a:pt x="6" y="7"/>
                      <a:pt x="7" y="7"/>
                    </a:cubicBezTo>
                    <a:cubicBezTo>
                      <a:pt x="7" y="7"/>
                      <a:pt x="7" y="7"/>
                      <a:pt x="7" y="7"/>
                    </a:cubicBezTo>
                    <a:cubicBezTo>
                      <a:pt x="7" y="7"/>
                      <a:pt x="7" y="7"/>
                      <a:pt x="7" y="7"/>
                    </a:cubicBezTo>
                    <a:cubicBezTo>
                      <a:pt x="5" y="7"/>
                      <a:pt x="3" y="8"/>
                      <a:pt x="3" y="10"/>
                    </a:cubicBezTo>
                    <a:cubicBezTo>
                      <a:pt x="3" y="12"/>
                      <a:pt x="5" y="10"/>
                      <a:pt x="4" y="13"/>
                    </a:cubicBezTo>
                    <a:cubicBezTo>
                      <a:pt x="4" y="14"/>
                      <a:pt x="0" y="14"/>
                      <a:pt x="1" y="16"/>
                    </a:cubicBezTo>
                    <a:cubicBezTo>
                      <a:pt x="1" y="17"/>
                      <a:pt x="4" y="20"/>
                      <a:pt x="5" y="20"/>
                    </a:cubicBezTo>
                    <a:cubicBezTo>
                      <a:pt x="7" y="18"/>
                      <a:pt x="8" y="15"/>
                      <a:pt x="9" y="13"/>
                    </a:cubicBezTo>
                    <a:cubicBezTo>
                      <a:pt x="9" y="14"/>
                      <a:pt x="10" y="17"/>
                      <a:pt x="11" y="17"/>
                    </a:cubicBezTo>
                    <a:cubicBezTo>
                      <a:pt x="11" y="17"/>
                      <a:pt x="11" y="17"/>
                      <a:pt x="12" y="16"/>
                    </a:cubicBezTo>
                    <a:cubicBezTo>
                      <a:pt x="12" y="16"/>
                      <a:pt x="11" y="12"/>
                      <a:pt x="11" y="11"/>
                    </a:cubicBezTo>
                    <a:cubicBezTo>
                      <a:pt x="12" y="13"/>
                      <a:pt x="13" y="15"/>
                      <a:pt x="13" y="17"/>
                    </a:cubicBezTo>
                    <a:cubicBezTo>
                      <a:pt x="12" y="18"/>
                      <a:pt x="10" y="19"/>
                      <a:pt x="11" y="21"/>
                    </a:cubicBezTo>
                    <a:cubicBezTo>
                      <a:pt x="12" y="21"/>
                      <a:pt x="12" y="22"/>
                      <a:pt x="12" y="22"/>
                    </a:cubicBezTo>
                    <a:cubicBezTo>
                      <a:pt x="13" y="22"/>
                      <a:pt x="14" y="18"/>
                      <a:pt x="14" y="17"/>
                    </a:cubicBezTo>
                    <a:cubicBezTo>
                      <a:pt x="15" y="19"/>
                      <a:pt x="14" y="21"/>
                      <a:pt x="16" y="24"/>
                    </a:cubicBezTo>
                    <a:cubicBezTo>
                      <a:pt x="21" y="20"/>
                      <a:pt x="21" y="10"/>
                      <a:pt x="18" y="5"/>
                    </a:cubicBezTo>
                    <a:cubicBezTo>
                      <a:pt x="16" y="2"/>
                      <a:pt x="15"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33"/>
              <p:cNvSpPr/>
              <p:nvPr/>
            </p:nvSpPr>
            <p:spPr bwMode="auto">
              <a:xfrm>
                <a:off x="786" y="1720"/>
                <a:ext cx="12" cy="14"/>
              </a:xfrm>
              <a:custGeom>
                <a:gdLst>
                  <a:gd name="T0" fmla="*/ 0 w 5"/>
                  <a:gd name="T1" fmla="*/ 0 h 6"/>
                  <a:gd name="T2" fmla="*/ 0 w 5"/>
                  <a:gd name="T3" fmla="*/ 6 h 6"/>
                  <a:gd name="T4" fmla="*/ 5 w 5"/>
                  <a:gd name="T5" fmla="*/ 2 h 6"/>
                  <a:gd name="T6" fmla="*/ 0 w 5"/>
                  <a:gd name="T7" fmla="*/ 0 h 6"/>
                </a:gdLst>
                <a:cxnLst>
                  <a:cxn ang="0">
                    <a:pos x="T0" y="T1"/>
                  </a:cxn>
                  <a:cxn ang="0">
                    <a:pos x="T2" y="T3"/>
                  </a:cxn>
                  <a:cxn ang="0">
                    <a:pos x="T4" y="T5"/>
                  </a:cxn>
                  <a:cxn ang="0">
                    <a:pos x="T6" y="T7"/>
                  </a:cxn>
                </a:cxnLst>
                <a:rect l="0" t="0" r="r" b="b"/>
                <a:pathLst>
                  <a:path w="5" h="6">
                    <a:moveTo>
                      <a:pt x="0" y="0"/>
                    </a:moveTo>
                    <a:cubicBezTo>
                      <a:pt x="0" y="2"/>
                      <a:pt x="0" y="4"/>
                      <a:pt x="0" y="6"/>
                    </a:cubicBezTo>
                    <a:cubicBezTo>
                      <a:pt x="1" y="5"/>
                      <a:pt x="3" y="3"/>
                      <a:pt x="5" y="2"/>
                    </a:cubicBezTo>
                    <a:cubicBezTo>
                      <a:pt x="3" y="2"/>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34"/>
              <p:cNvSpPr/>
              <p:nvPr/>
            </p:nvSpPr>
            <p:spPr bwMode="auto">
              <a:xfrm>
                <a:off x="5021" y="2203"/>
                <a:ext cx="12" cy="7"/>
              </a:xfrm>
              <a:custGeom>
                <a:gdLst>
                  <a:gd name="T0" fmla="*/ 5 w 5"/>
                  <a:gd name="T1" fmla="*/ 0 h 3"/>
                  <a:gd name="T2" fmla="*/ 0 w 5"/>
                  <a:gd name="T3" fmla="*/ 3 h 3"/>
                  <a:gd name="T4" fmla="*/ 5 w 5"/>
                  <a:gd name="T5" fmla="*/ 0 h 3"/>
                </a:gdLst>
                <a:cxnLst>
                  <a:cxn ang="0">
                    <a:pos x="T0" y="T1"/>
                  </a:cxn>
                  <a:cxn ang="0">
                    <a:pos x="T2" y="T3"/>
                  </a:cxn>
                  <a:cxn ang="0">
                    <a:pos x="T4" y="T5"/>
                  </a:cxn>
                </a:cxnLst>
                <a:rect l="0" t="0" r="r" b="b"/>
                <a:pathLst>
                  <a:path w="5" h="3">
                    <a:moveTo>
                      <a:pt x="5" y="0"/>
                    </a:moveTo>
                    <a:cubicBezTo>
                      <a:pt x="3" y="0"/>
                      <a:pt x="1" y="1"/>
                      <a:pt x="0" y="3"/>
                    </a:cubicBezTo>
                    <a:cubicBezTo>
                      <a:pt x="2" y="2"/>
                      <a:pt x="3"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35"/>
              <p:cNvSpPr/>
              <p:nvPr/>
            </p:nvSpPr>
            <p:spPr bwMode="auto">
              <a:xfrm>
                <a:off x="2789" y="1614"/>
                <a:ext cx="14" cy="7"/>
              </a:xfrm>
              <a:custGeom>
                <a:gdLst>
                  <a:gd name="T0" fmla="*/ 6 w 6"/>
                  <a:gd name="T1" fmla="*/ 0 h 3"/>
                  <a:gd name="T2" fmla="*/ 0 w 6"/>
                  <a:gd name="T3" fmla="*/ 1 h 3"/>
                  <a:gd name="T4" fmla="*/ 3 w 6"/>
                  <a:gd name="T5" fmla="*/ 3 h 3"/>
                  <a:gd name="T6" fmla="*/ 6 w 6"/>
                  <a:gd name="T7" fmla="*/ 0 h 3"/>
                </a:gdLst>
                <a:cxnLst>
                  <a:cxn ang="0">
                    <a:pos x="T0" y="T1"/>
                  </a:cxn>
                  <a:cxn ang="0">
                    <a:pos x="T2" y="T3"/>
                  </a:cxn>
                  <a:cxn ang="0">
                    <a:pos x="T4" y="T5"/>
                  </a:cxn>
                  <a:cxn ang="0">
                    <a:pos x="T6" y="T7"/>
                  </a:cxn>
                </a:cxnLst>
                <a:rect l="0" t="0" r="r" b="b"/>
                <a:pathLst>
                  <a:path w="6" h="3">
                    <a:moveTo>
                      <a:pt x="6" y="0"/>
                    </a:moveTo>
                    <a:cubicBezTo>
                      <a:pt x="5" y="0"/>
                      <a:pt x="1" y="0"/>
                      <a:pt x="0" y="1"/>
                    </a:cubicBezTo>
                    <a:cubicBezTo>
                      <a:pt x="0" y="2"/>
                      <a:pt x="2" y="3"/>
                      <a:pt x="3" y="3"/>
                    </a:cubicBezTo>
                    <a:cubicBezTo>
                      <a:pt x="4" y="3"/>
                      <a:pt x="5"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36"/>
              <p:cNvSpPr/>
              <p:nvPr/>
            </p:nvSpPr>
            <p:spPr bwMode="auto">
              <a:xfrm>
                <a:off x="786" y="722"/>
                <a:ext cx="7" cy="7"/>
              </a:xfrm>
              <a:custGeom>
                <a:gdLst>
                  <a:gd name="T0" fmla="*/ 3 w 3"/>
                  <a:gd name="T1" fmla="*/ 0 h 3"/>
                  <a:gd name="T2" fmla="*/ 0 w 3"/>
                  <a:gd name="T3" fmla="*/ 1 h 3"/>
                  <a:gd name="T4" fmla="*/ 0 w 3"/>
                  <a:gd name="T5" fmla="*/ 3 h 3"/>
                  <a:gd name="T6" fmla="*/ 3 w 3"/>
                  <a:gd name="T7" fmla="*/ 0 h 3"/>
                </a:gdLst>
                <a:cxnLst>
                  <a:cxn ang="0">
                    <a:pos x="T0" y="T1"/>
                  </a:cxn>
                  <a:cxn ang="0">
                    <a:pos x="T2" y="T3"/>
                  </a:cxn>
                  <a:cxn ang="0">
                    <a:pos x="T4" y="T5"/>
                  </a:cxn>
                  <a:cxn ang="0">
                    <a:pos x="T6" y="T7"/>
                  </a:cxn>
                </a:cxnLst>
                <a:rect l="0" t="0" r="r" b="b"/>
                <a:pathLst>
                  <a:path w="3" h="3">
                    <a:moveTo>
                      <a:pt x="3" y="0"/>
                    </a:moveTo>
                    <a:cubicBezTo>
                      <a:pt x="2" y="0"/>
                      <a:pt x="1" y="1"/>
                      <a:pt x="0" y="1"/>
                    </a:cubicBezTo>
                    <a:cubicBezTo>
                      <a:pt x="0" y="2"/>
                      <a:pt x="0"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37"/>
              <p:cNvSpPr>
                <a:spLocks noEditPoints="1"/>
              </p:cNvSpPr>
              <p:nvPr/>
            </p:nvSpPr>
            <p:spPr bwMode="auto">
              <a:xfrm>
                <a:off x="2671" y="1509"/>
                <a:ext cx="92" cy="126"/>
              </a:xfrm>
              <a:custGeom>
                <a:gdLst>
                  <a:gd name="T0" fmla="*/ 16 w 39"/>
                  <a:gd name="T1" fmla="*/ 23 h 53"/>
                  <a:gd name="T2" fmla="*/ 17 w 39"/>
                  <a:gd name="T3" fmla="*/ 23 h 53"/>
                  <a:gd name="T4" fmla="*/ 17 w 39"/>
                  <a:gd name="T5" fmla="*/ 23 h 53"/>
                  <a:gd name="T6" fmla="*/ 2 w 39"/>
                  <a:gd name="T7" fmla="*/ 0 h 53"/>
                  <a:gd name="T8" fmla="*/ 1 w 39"/>
                  <a:gd name="T9" fmla="*/ 4 h 53"/>
                  <a:gd name="T10" fmla="*/ 9 w 39"/>
                  <a:gd name="T11" fmla="*/ 11 h 53"/>
                  <a:gd name="T12" fmla="*/ 11 w 39"/>
                  <a:gd name="T13" fmla="*/ 15 h 53"/>
                  <a:gd name="T14" fmla="*/ 9 w 39"/>
                  <a:gd name="T15" fmla="*/ 25 h 53"/>
                  <a:gd name="T16" fmla="*/ 13 w 39"/>
                  <a:gd name="T17" fmla="*/ 25 h 53"/>
                  <a:gd name="T18" fmla="*/ 14 w 39"/>
                  <a:gd name="T19" fmla="*/ 29 h 53"/>
                  <a:gd name="T20" fmla="*/ 16 w 39"/>
                  <a:gd name="T21" fmla="*/ 32 h 53"/>
                  <a:gd name="T22" fmla="*/ 13 w 39"/>
                  <a:gd name="T23" fmla="*/ 32 h 53"/>
                  <a:gd name="T24" fmla="*/ 16 w 39"/>
                  <a:gd name="T25" fmla="*/ 35 h 53"/>
                  <a:gd name="T26" fmla="*/ 15 w 39"/>
                  <a:gd name="T27" fmla="*/ 37 h 53"/>
                  <a:gd name="T28" fmla="*/ 19 w 39"/>
                  <a:gd name="T29" fmla="*/ 35 h 53"/>
                  <a:gd name="T30" fmla="*/ 20 w 39"/>
                  <a:gd name="T31" fmla="*/ 38 h 53"/>
                  <a:gd name="T32" fmla="*/ 23 w 39"/>
                  <a:gd name="T33" fmla="*/ 35 h 53"/>
                  <a:gd name="T34" fmla="*/ 25 w 39"/>
                  <a:gd name="T35" fmla="*/ 40 h 53"/>
                  <a:gd name="T36" fmla="*/ 27 w 39"/>
                  <a:gd name="T37" fmla="*/ 46 h 53"/>
                  <a:gd name="T38" fmla="*/ 34 w 39"/>
                  <a:gd name="T39" fmla="*/ 52 h 53"/>
                  <a:gd name="T40" fmla="*/ 37 w 39"/>
                  <a:gd name="T41" fmla="*/ 52 h 53"/>
                  <a:gd name="T42" fmla="*/ 39 w 39"/>
                  <a:gd name="T43" fmla="*/ 43 h 53"/>
                  <a:gd name="T44" fmla="*/ 34 w 39"/>
                  <a:gd name="T45" fmla="*/ 44 h 53"/>
                  <a:gd name="T46" fmla="*/ 38 w 39"/>
                  <a:gd name="T47" fmla="*/ 35 h 53"/>
                  <a:gd name="T48" fmla="*/ 33 w 39"/>
                  <a:gd name="T49" fmla="*/ 30 h 53"/>
                  <a:gd name="T50" fmla="*/ 31 w 39"/>
                  <a:gd name="T51" fmla="*/ 30 h 53"/>
                  <a:gd name="T52" fmla="*/ 30 w 39"/>
                  <a:gd name="T53" fmla="*/ 31 h 53"/>
                  <a:gd name="T54" fmla="*/ 32 w 39"/>
                  <a:gd name="T55" fmla="*/ 29 h 53"/>
                  <a:gd name="T56" fmla="*/ 24 w 39"/>
                  <a:gd name="T57" fmla="*/ 28 h 53"/>
                  <a:gd name="T58" fmla="*/ 26 w 39"/>
                  <a:gd name="T59" fmla="*/ 23 h 53"/>
                  <a:gd name="T60" fmla="*/ 28 w 39"/>
                  <a:gd name="T61" fmla="*/ 25 h 53"/>
                  <a:gd name="T62" fmla="*/ 31 w 39"/>
                  <a:gd name="T63" fmla="*/ 25 h 53"/>
                  <a:gd name="T64" fmla="*/ 19 w 39"/>
                  <a:gd name="T65" fmla="*/ 10 h 53"/>
                  <a:gd name="T66" fmla="*/ 11 w 39"/>
                  <a:gd name="T67" fmla="*/ 1 h 53"/>
                  <a:gd name="T68" fmla="*/ 8 w 39"/>
                  <a:gd name="T69" fmla="*/ 0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52">
                    <a:moveTo>
                      <a:pt x="16" y="23"/>
                    </a:moveTo>
                    <a:cubicBezTo>
                      <a:pt x="16" y="23"/>
                      <a:pt x="16" y="23"/>
                      <a:pt x="16" y="23"/>
                    </a:cubicBezTo>
                    <a:cubicBezTo>
                      <a:pt x="16" y="23"/>
                      <a:pt x="16" y="23"/>
                      <a:pt x="16" y="23"/>
                    </a:cubicBezTo>
                    <a:moveTo>
                      <a:pt x="17" y="23"/>
                    </a:moveTo>
                    <a:cubicBezTo>
                      <a:pt x="17" y="23"/>
                      <a:pt x="17" y="23"/>
                      <a:pt x="17" y="23"/>
                    </a:cubicBezTo>
                    <a:cubicBezTo>
                      <a:pt x="17" y="23"/>
                      <a:pt x="17" y="23"/>
                      <a:pt x="17" y="23"/>
                    </a:cubicBezTo>
                    <a:cubicBezTo>
                      <a:pt x="17" y="23"/>
                      <a:pt x="17" y="23"/>
                      <a:pt x="17" y="23"/>
                    </a:cubicBezTo>
                    <a:moveTo>
                      <a:pt x="2" y="0"/>
                    </a:moveTo>
                    <a:cubicBezTo>
                      <a:pt x="1" y="0"/>
                      <a:pt x="1" y="0"/>
                      <a:pt x="1" y="0"/>
                    </a:cubicBezTo>
                    <a:cubicBezTo>
                      <a:pt x="1" y="0"/>
                      <a:pt x="0" y="3"/>
                      <a:pt x="1" y="4"/>
                    </a:cubicBezTo>
                    <a:cubicBezTo>
                      <a:pt x="2" y="6"/>
                      <a:pt x="7" y="4"/>
                      <a:pt x="9" y="7"/>
                    </a:cubicBezTo>
                    <a:cubicBezTo>
                      <a:pt x="9" y="7"/>
                      <a:pt x="9" y="10"/>
                      <a:pt x="9" y="11"/>
                    </a:cubicBezTo>
                    <a:cubicBezTo>
                      <a:pt x="9" y="12"/>
                      <a:pt x="9" y="12"/>
                      <a:pt x="9" y="13"/>
                    </a:cubicBezTo>
                    <a:cubicBezTo>
                      <a:pt x="10" y="14"/>
                      <a:pt x="11" y="14"/>
                      <a:pt x="11" y="15"/>
                    </a:cubicBezTo>
                    <a:cubicBezTo>
                      <a:pt x="13" y="19"/>
                      <a:pt x="4" y="19"/>
                      <a:pt x="6" y="23"/>
                    </a:cubicBezTo>
                    <a:cubicBezTo>
                      <a:pt x="7" y="24"/>
                      <a:pt x="8" y="25"/>
                      <a:pt x="9" y="25"/>
                    </a:cubicBezTo>
                    <a:cubicBezTo>
                      <a:pt x="11" y="25"/>
                      <a:pt x="14" y="24"/>
                      <a:pt x="16" y="23"/>
                    </a:cubicBezTo>
                    <a:cubicBezTo>
                      <a:pt x="15" y="24"/>
                      <a:pt x="14" y="24"/>
                      <a:pt x="13" y="25"/>
                    </a:cubicBezTo>
                    <a:cubicBezTo>
                      <a:pt x="12" y="27"/>
                      <a:pt x="13" y="27"/>
                      <a:pt x="15" y="29"/>
                    </a:cubicBezTo>
                    <a:cubicBezTo>
                      <a:pt x="14" y="29"/>
                      <a:pt x="14" y="29"/>
                      <a:pt x="14" y="29"/>
                    </a:cubicBezTo>
                    <a:cubicBezTo>
                      <a:pt x="15" y="30"/>
                      <a:pt x="17" y="31"/>
                      <a:pt x="18" y="32"/>
                    </a:cubicBezTo>
                    <a:cubicBezTo>
                      <a:pt x="17" y="32"/>
                      <a:pt x="17" y="32"/>
                      <a:pt x="16" y="32"/>
                    </a:cubicBezTo>
                    <a:cubicBezTo>
                      <a:pt x="15" y="32"/>
                      <a:pt x="15" y="32"/>
                      <a:pt x="14" y="32"/>
                    </a:cubicBezTo>
                    <a:cubicBezTo>
                      <a:pt x="14" y="32"/>
                      <a:pt x="13" y="32"/>
                      <a:pt x="13" y="32"/>
                    </a:cubicBezTo>
                    <a:cubicBezTo>
                      <a:pt x="11" y="32"/>
                      <a:pt x="10" y="32"/>
                      <a:pt x="9" y="33"/>
                    </a:cubicBezTo>
                    <a:cubicBezTo>
                      <a:pt x="10" y="35"/>
                      <a:pt x="13" y="34"/>
                      <a:pt x="16" y="35"/>
                    </a:cubicBezTo>
                    <a:cubicBezTo>
                      <a:pt x="15" y="35"/>
                      <a:pt x="15" y="36"/>
                      <a:pt x="14" y="37"/>
                    </a:cubicBezTo>
                    <a:cubicBezTo>
                      <a:pt x="14" y="37"/>
                      <a:pt x="15" y="37"/>
                      <a:pt x="15" y="37"/>
                    </a:cubicBezTo>
                    <a:cubicBezTo>
                      <a:pt x="16" y="37"/>
                      <a:pt x="16" y="36"/>
                      <a:pt x="17" y="36"/>
                    </a:cubicBezTo>
                    <a:cubicBezTo>
                      <a:pt x="18" y="36"/>
                      <a:pt x="19" y="35"/>
                      <a:pt x="19" y="35"/>
                    </a:cubicBezTo>
                    <a:cubicBezTo>
                      <a:pt x="19" y="35"/>
                      <a:pt x="19" y="35"/>
                      <a:pt x="19" y="35"/>
                    </a:cubicBezTo>
                    <a:cubicBezTo>
                      <a:pt x="20" y="35"/>
                      <a:pt x="20" y="37"/>
                      <a:pt x="20" y="38"/>
                    </a:cubicBezTo>
                    <a:cubicBezTo>
                      <a:pt x="21" y="38"/>
                      <a:pt x="21" y="38"/>
                      <a:pt x="21" y="38"/>
                    </a:cubicBezTo>
                    <a:cubicBezTo>
                      <a:pt x="22" y="38"/>
                      <a:pt x="22" y="37"/>
                      <a:pt x="23" y="35"/>
                    </a:cubicBezTo>
                    <a:cubicBezTo>
                      <a:pt x="25" y="38"/>
                      <a:pt x="23" y="39"/>
                      <a:pt x="24" y="41"/>
                    </a:cubicBezTo>
                    <a:cubicBezTo>
                      <a:pt x="24" y="41"/>
                      <a:pt x="25" y="40"/>
                      <a:pt x="25" y="40"/>
                    </a:cubicBezTo>
                    <a:cubicBezTo>
                      <a:pt x="26" y="40"/>
                      <a:pt x="26" y="41"/>
                      <a:pt x="27" y="42"/>
                    </a:cubicBezTo>
                    <a:cubicBezTo>
                      <a:pt x="24" y="44"/>
                      <a:pt x="24" y="45"/>
                      <a:pt x="27" y="46"/>
                    </a:cubicBezTo>
                    <a:cubicBezTo>
                      <a:pt x="30" y="48"/>
                      <a:pt x="34" y="48"/>
                      <a:pt x="32" y="53"/>
                    </a:cubicBezTo>
                    <a:cubicBezTo>
                      <a:pt x="32" y="52"/>
                      <a:pt x="33" y="52"/>
                      <a:pt x="34" y="52"/>
                    </a:cubicBezTo>
                    <a:cubicBezTo>
                      <a:pt x="34" y="52"/>
                      <a:pt x="35" y="52"/>
                      <a:pt x="36" y="52"/>
                    </a:cubicBezTo>
                    <a:cubicBezTo>
                      <a:pt x="36" y="52"/>
                      <a:pt x="37" y="52"/>
                      <a:pt x="37" y="52"/>
                    </a:cubicBezTo>
                    <a:cubicBezTo>
                      <a:pt x="38" y="52"/>
                      <a:pt x="39" y="52"/>
                      <a:pt x="39" y="49"/>
                    </a:cubicBezTo>
                    <a:cubicBezTo>
                      <a:pt x="39" y="47"/>
                      <a:pt x="39" y="45"/>
                      <a:pt x="39" y="43"/>
                    </a:cubicBezTo>
                    <a:cubicBezTo>
                      <a:pt x="37" y="43"/>
                      <a:pt x="36" y="44"/>
                      <a:pt x="35" y="44"/>
                    </a:cubicBezTo>
                    <a:cubicBezTo>
                      <a:pt x="35" y="44"/>
                      <a:pt x="34" y="44"/>
                      <a:pt x="34" y="44"/>
                    </a:cubicBezTo>
                    <a:cubicBezTo>
                      <a:pt x="35" y="43"/>
                      <a:pt x="38" y="41"/>
                      <a:pt x="38" y="39"/>
                    </a:cubicBezTo>
                    <a:cubicBezTo>
                      <a:pt x="38" y="38"/>
                      <a:pt x="39" y="35"/>
                      <a:pt x="38" y="35"/>
                    </a:cubicBezTo>
                    <a:cubicBezTo>
                      <a:pt x="37" y="35"/>
                      <a:pt x="37" y="35"/>
                      <a:pt x="37" y="36"/>
                    </a:cubicBezTo>
                    <a:cubicBezTo>
                      <a:pt x="36" y="34"/>
                      <a:pt x="34" y="31"/>
                      <a:pt x="33" y="30"/>
                    </a:cubicBezTo>
                    <a:cubicBezTo>
                      <a:pt x="32" y="30"/>
                      <a:pt x="32" y="30"/>
                      <a:pt x="32" y="30"/>
                    </a:cubicBezTo>
                    <a:cubicBezTo>
                      <a:pt x="32" y="30"/>
                      <a:pt x="31" y="30"/>
                      <a:pt x="31" y="30"/>
                    </a:cubicBezTo>
                    <a:cubicBezTo>
                      <a:pt x="31" y="31"/>
                      <a:pt x="30" y="31"/>
                      <a:pt x="30" y="31"/>
                    </a:cubicBezTo>
                    <a:cubicBezTo>
                      <a:pt x="30" y="31"/>
                      <a:pt x="30" y="31"/>
                      <a:pt x="30" y="31"/>
                    </a:cubicBezTo>
                    <a:cubicBezTo>
                      <a:pt x="30" y="31"/>
                      <a:pt x="28" y="30"/>
                      <a:pt x="27" y="30"/>
                    </a:cubicBezTo>
                    <a:cubicBezTo>
                      <a:pt x="29" y="29"/>
                      <a:pt x="30" y="30"/>
                      <a:pt x="32" y="29"/>
                    </a:cubicBezTo>
                    <a:cubicBezTo>
                      <a:pt x="30" y="28"/>
                      <a:pt x="29" y="27"/>
                      <a:pt x="27" y="27"/>
                    </a:cubicBezTo>
                    <a:cubicBezTo>
                      <a:pt x="26" y="27"/>
                      <a:pt x="25" y="28"/>
                      <a:pt x="24" y="28"/>
                    </a:cubicBezTo>
                    <a:cubicBezTo>
                      <a:pt x="23" y="28"/>
                      <a:pt x="23" y="28"/>
                      <a:pt x="23" y="28"/>
                    </a:cubicBezTo>
                    <a:cubicBezTo>
                      <a:pt x="24" y="27"/>
                      <a:pt x="25" y="23"/>
                      <a:pt x="26" y="23"/>
                    </a:cubicBezTo>
                    <a:cubicBezTo>
                      <a:pt x="26" y="23"/>
                      <a:pt x="26" y="23"/>
                      <a:pt x="26" y="23"/>
                    </a:cubicBezTo>
                    <a:cubicBezTo>
                      <a:pt x="27" y="23"/>
                      <a:pt x="27" y="25"/>
                      <a:pt x="28" y="25"/>
                    </a:cubicBezTo>
                    <a:cubicBezTo>
                      <a:pt x="29" y="26"/>
                      <a:pt x="32" y="27"/>
                      <a:pt x="35" y="28"/>
                    </a:cubicBezTo>
                    <a:cubicBezTo>
                      <a:pt x="34" y="26"/>
                      <a:pt x="32" y="26"/>
                      <a:pt x="31" y="25"/>
                    </a:cubicBezTo>
                    <a:cubicBezTo>
                      <a:pt x="30" y="24"/>
                      <a:pt x="29" y="22"/>
                      <a:pt x="28" y="20"/>
                    </a:cubicBezTo>
                    <a:cubicBezTo>
                      <a:pt x="26" y="16"/>
                      <a:pt x="23" y="13"/>
                      <a:pt x="19" y="10"/>
                    </a:cubicBezTo>
                    <a:cubicBezTo>
                      <a:pt x="17" y="9"/>
                      <a:pt x="16" y="9"/>
                      <a:pt x="14" y="9"/>
                    </a:cubicBezTo>
                    <a:cubicBezTo>
                      <a:pt x="10" y="7"/>
                      <a:pt x="15" y="4"/>
                      <a:pt x="11" y="1"/>
                    </a:cubicBezTo>
                    <a:cubicBezTo>
                      <a:pt x="11" y="0"/>
                      <a:pt x="10" y="0"/>
                      <a:pt x="9" y="0"/>
                    </a:cubicBezTo>
                    <a:cubicBezTo>
                      <a:pt x="9" y="0"/>
                      <a:pt x="8" y="0"/>
                      <a:pt x="8" y="0"/>
                    </a:cubicBezTo>
                    <a:cubicBezTo>
                      <a:pt x="6"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38"/>
              <p:cNvSpPr/>
              <p:nvPr/>
            </p:nvSpPr>
            <p:spPr bwMode="auto">
              <a:xfrm>
                <a:off x="5537" y="3594"/>
                <a:ext cx="2" cy="7"/>
              </a:xfrm>
              <a:custGeom>
                <a:gdLst>
                  <a:gd name="T0" fmla="*/ 0 w 1"/>
                  <a:gd name="T1" fmla="*/ 0 h 3"/>
                  <a:gd name="T2" fmla="*/ 1 w 1"/>
                  <a:gd name="T3" fmla="*/ 2 h 3"/>
                  <a:gd name="T4" fmla="*/ 1 w 1"/>
                  <a:gd name="T5" fmla="*/ 3 h 3"/>
                  <a:gd name="T6" fmla="*/ 1 w 1"/>
                  <a:gd name="T7" fmla="*/ 3 h 3"/>
                  <a:gd name="T8" fmla="*/ 1 w 1"/>
                  <a:gd name="T9" fmla="*/ 3 h 3"/>
                  <a:gd name="T10" fmla="*/ 1 w 1"/>
                  <a:gd name="T11" fmla="*/ 3 h 3"/>
                  <a:gd name="T12" fmla="*/ 0 w 1"/>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cubicBezTo>
                      <a:pt x="0" y="1"/>
                      <a:pt x="0" y="1"/>
                      <a:pt x="1" y="2"/>
                    </a:cubicBezTo>
                    <a:cubicBezTo>
                      <a:pt x="1" y="2"/>
                      <a:pt x="1" y="3"/>
                      <a:pt x="1" y="3"/>
                    </a:cubicBezTo>
                    <a:cubicBezTo>
                      <a:pt x="1" y="3"/>
                      <a:pt x="1" y="3"/>
                      <a:pt x="1" y="3"/>
                    </a:cubicBezTo>
                    <a:cubicBezTo>
                      <a:pt x="1" y="3"/>
                      <a:pt x="1" y="3"/>
                      <a:pt x="1" y="3"/>
                    </a:cubicBezTo>
                    <a:cubicBezTo>
                      <a:pt x="1" y="3"/>
                      <a:pt x="1"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39"/>
              <p:cNvSpPr/>
              <p:nvPr/>
            </p:nvSpPr>
            <p:spPr bwMode="auto">
              <a:xfrm>
                <a:off x="937" y="1677"/>
                <a:ext cx="14" cy="3"/>
              </a:xfrm>
              <a:custGeom>
                <a:gdLst>
                  <a:gd name="T0" fmla="*/ 5 w 6"/>
                  <a:gd name="T1" fmla="*/ 0 h 1"/>
                  <a:gd name="T2" fmla="*/ 0 w 6"/>
                  <a:gd name="T3" fmla="*/ 1 h 1"/>
                  <a:gd name="T4" fmla="*/ 1 w 6"/>
                  <a:gd name="T5" fmla="*/ 1 h 1"/>
                  <a:gd name="T6" fmla="*/ 6 w 6"/>
                  <a:gd name="T7" fmla="*/ 0 h 1"/>
                  <a:gd name="T8" fmla="*/ 5 w 6"/>
                  <a:gd name="T9" fmla="*/ 0 h 1"/>
                </a:gdLst>
                <a:cxnLst>
                  <a:cxn ang="0">
                    <a:pos x="T0" y="T1"/>
                  </a:cxn>
                  <a:cxn ang="0">
                    <a:pos x="T2" y="T3"/>
                  </a:cxn>
                  <a:cxn ang="0">
                    <a:pos x="T4" y="T5"/>
                  </a:cxn>
                  <a:cxn ang="0">
                    <a:pos x="T6" y="T7"/>
                  </a:cxn>
                  <a:cxn ang="0">
                    <a:pos x="T8" y="T9"/>
                  </a:cxn>
                </a:cxnLst>
                <a:rect l="0" t="0" r="r" b="b"/>
                <a:pathLst>
                  <a:path w="6" h="1">
                    <a:moveTo>
                      <a:pt x="5" y="0"/>
                    </a:moveTo>
                    <a:cubicBezTo>
                      <a:pt x="3" y="0"/>
                      <a:pt x="1" y="0"/>
                      <a:pt x="0" y="1"/>
                    </a:cubicBezTo>
                    <a:cubicBezTo>
                      <a:pt x="1" y="1"/>
                      <a:pt x="1" y="1"/>
                      <a:pt x="1" y="1"/>
                    </a:cubicBezTo>
                    <a:cubicBezTo>
                      <a:pt x="3" y="1"/>
                      <a:pt x="4"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40"/>
              <p:cNvSpPr/>
              <p:nvPr/>
            </p:nvSpPr>
            <p:spPr bwMode="auto">
              <a:xfrm>
                <a:off x="1583" y="1382"/>
                <a:ext cx="14" cy="12"/>
              </a:xfrm>
              <a:custGeom>
                <a:gdLst>
                  <a:gd name="T0" fmla="*/ 0 w 6"/>
                  <a:gd name="T1" fmla="*/ 0 h 5"/>
                  <a:gd name="T2" fmla="*/ 6 w 6"/>
                  <a:gd name="T3" fmla="*/ 5 h 5"/>
                  <a:gd name="T4" fmla="*/ 0 w 6"/>
                  <a:gd name="T5" fmla="*/ 0 h 5"/>
                </a:gdLst>
                <a:cxnLst>
                  <a:cxn ang="0">
                    <a:pos x="T0" y="T1"/>
                  </a:cxn>
                  <a:cxn ang="0">
                    <a:pos x="T2" y="T3"/>
                  </a:cxn>
                  <a:cxn ang="0">
                    <a:pos x="T4" y="T5"/>
                  </a:cxn>
                </a:cxnLst>
                <a:rect l="0" t="0" r="r" b="b"/>
                <a:pathLst>
                  <a:path w="6" h="5">
                    <a:moveTo>
                      <a:pt x="0" y="0"/>
                    </a:moveTo>
                    <a:cubicBezTo>
                      <a:pt x="1" y="2"/>
                      <a:pt x="3" y="5"/>
                      <a:pt x="6" y="5"/>
                    </a:cubicBezTo>
                    <a:cubicBezTo>
                      <a:pt x="4"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41"/>
              <p:cNvSpPr/>
              <p:nvPr/>
            </p:nvSpPr>
            <p:spPr bwMode="auto">
              <a:xfrm>
                <a:off x="4990" y="3324"/>
                <a:ext cx="12" cy="5"/>
              </a:xfrm>
              <a:custGeom>
                <a:gdLst>
                  <a:gd name="T0" fmla="*/ 0 w 5"/>
                  <a:gd name="T1" fmla="*/ 0 h 2"/>
                  <a:gd name="T2" fmla="*/ 1 w 5"/>
                  <a:gd name="T3" fmla="*/ 1 h 2"/>
                  <a:gd name="T4" fmla="*/ 1 w 5"/>
                  <a:gd name="T5" fmla="*/ 1 h 2"/>
                  <a:gd name="T6" fmla="*/ 2 w 5"/>
                  <a:gd name="T7" fmla="*/ 2 h 2"/>
                  <a:gd name="T8" fmla="*/ 3 w 5"/>
                  <a:gd name="T9" fmla="*/ 2 h 2"/>
                  <a:gd name="T10" fmla="*/ 4 w 5"/>
                  <a:gd name="T11" fmla="*/ 2 h 2"/>
                  <a:gd name="T12" fmla="*/ 5 w 5"/>
                  <a:gd name="T13" fmla="*/ 2 h 2"/>
                  <a:gd name="T14" fmla="*/ 1 w 5"/>
                  <a:gd name="T15" fmla="*/ 1 h 2"/>
                  <a:gd name="T16" fmla="*/ 1 w 5"/>
                  <a:gd name="T17" fmla="*/ 0 h 2"/>
                  <a:gd name="T18" fmla="*/ 1 w 5"/>
                  <a:gd name="T19" fmla="*/ 0 h 2"/>
                  <a:gd name="T20" fmla="*/ 0 w 5"/>
                  <a:gd name="T21"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
                    <a:moveTo>
                      <a:pt x="0" y="0"/>
                    </a:moveTo>
                    <a:cubicBezTo>
                      <a:pt x="1" y="1"/>
                      <a:pt x="1" y="1"/>
                      <a:pt x="1" y="1"/>
                    </a:cubicBezTo>
                    <a:cubicBezTo>
                      <a:pt x="1" y="1"/>
                      <a:pt x="1" y="1"/>
                      <a:pt x="1" y="1"/>
                    </a:cubicBezTo>
                    <a:cubicBezTo>
                      <a:pt x="1" y="1"/>
                      <a:pt x="2" y="1"/>
                      <a:pt x="2" y="2"/>
                    </a:cubicBezTo>
                    <a:cubicBezTo>
                      <a:pt x="3" y="2"/>
                      <a:pt x="3" y="2"/>
                      <a:pt x="3" y="2"/>
                    </a:cubicBezTo>
                    <a:cubicBezTo>
                      <a:pt x="4" y="2"/>
                      <a:pt x="4" y="2"/>
                      <a:pt x="4" y="2"/>
                    </a:cubicBezTo>
                    <a:cubicBezTo>
                      <a:pt x="5" y="2"/>
                      <a:pt x="5" y="2"/>
                      <a:pt x="5" y="2"/>
                    </a:cubicBezTo>
                    <a:cubicBezTo>
                      <a:pt x="4" y="2"/>
                      <a:pt x="3" y="1"/>
                      <a:pt x="1" y="1"/>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42"/>
              <p:cNvSpPr/>
              <p:nvPr/>
            </p:nvSpPr>
            <p:spPr bwMode="auto">
              <a:xfrm>
                <a:off x="1164" y="1313"/>
                <a:ext cx="22" cy="21"/>
              </a:xfrm>
              <a:custGeom>
                <a:gdLst>
                  <a:gd name="T0" fmla="*/ 9 w 9"/>
                  <a:gd name="T1" fmla="*/ 0 h 9"/>
                  <a:gd name="T2" fmla="*/ 0 w 9"/>
                  <a:gd name="T3" fmla="*/ 5 h 9"/>
                  <a:gd name="T4" fmla="*/ 2 w 9"/>
                  <a:gd name="T5" fmla="*/ 9 h 9"/>
                  <a:gd name="T6" fmla="*/ 9 w 9"/>
                  <a:gd name="T7" fmla="*/ 0 h 9"/>
                </a:gdLst>
                <a:cxnLst>
                  <a:cxn ang="0">
                    <a:pos x="T0" y="T1"/>
                  </a:cxn>
                  <a:cxn ang="0">
                    <a:pos x="T2" y="T3"/>
                  </a:cxn>
                  <a:cxn ang="0">
                    <a:pos x="T4" y="T5"/>
                  </a:cxn>
                  <a:cxn ang="0">
                    <a:pos x="T6" y="T7"/>
                  </a:cxn>
                </a:cxnLst>
                <a:rect l="0" t="0" r="r" b="b"/>
                <a:pathLst>
                  <a:path w="9" h="9">
                    <a:moveTo>
                      <a:pt x="9" y="0"/>
                    </a:moveTo>
                    <a:cubicBezTo>
                      <a:pt x="6" y="1"/>
                      <a:pt x="3" y="4"/>
                      <a:pt x="0" y="5"/>
                    </a:cubicBezTo>
                    <a:cubicBezTo>
                      <a:pt x="0" y="8"/>
                      <a:pt x="1" y="9"/>
                      <a:pt x="2" y="9"/>
                    </a:cubicBezTo>
                    <a:cubicBezTo>
                      <a:pt x="4" y="9"/>
                      <a:pt x="8" y="2"/>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43"/>
              <p:cNvSpPr/>
              <p:nvPr/>
            </p:nvSpPr>
            <p:spPr bwMode="auto">
              <a:xfrm>
                <a:off x="4678" y="3397"/>
                <a:ext cx="12" cy="14"/>
              </a:xfrm>
              <a:custGeom>
                <a:gdLst>
                  <a:gd name="T0" fmla="*/ 5 w 5"/>
                  <a:gd name="T1" fmla="*/ 0 h 6"/>
                  <a:gd name="T2" fmla="*/ 3 w 5"/>
                  <a:gd name="T3" fmla="*/ 1 h 6"/>
                  <a:gd name="T4" fmla="*/ 0 w 5"/>
                  <a:gd name="T5" fmla="*/ 6 h 6"/>
                  <a:gd name="T6" fmla="*/ 5 w 5"/>
                  <a:gd name="T7" fmla="*/ 0 h 6"/>
                </a:gdLst>
                <a:cxnLst>
                  <a:cxn ang="0">
                    <a:pos x="T0" y="T1"/>
                  </a:cxn>
                  <a:cxn ang="0">
                    <a:pos x="T2" y="T3"/>
                  </a:cxn>
                  <a:cxn ang="0">
                    <a:pos x="T4" y="T5"/>
                  </a:cxn>
                  <a:cxn ang="0">
                    <a:pos x="T6" y="T7"/>
                  </a:cxn>
                </a:cxnLst>
                <a:rect l="0" t="0" r="r" b="b"/>
                <a:pathLst>
                  <a:path w="5" h="6">
                    <a:moveTo>
                      <a:pt x="5" y="0"/>
                    </a:moveTo>
                    <a:cubicBezTo>
                      <a:pt x="4" y="0"/>
                      <a:pt x="3" y="1"/>
                      <a:pt x="3" y="1"/>
                    </a:cubicBezTo>
                    <a:cubicBezTo>
                      <a:pt x="1" y="3"/>
                      <a:pt x="1" y="4"/>
                      <a:pt x="0" y="6"/>
                    </a:cubicBezTo>
                    <a:cubicBezTo>
                      <a:pt x="2" y="4"/>
                      <a:pt x="3"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44"/>
              <p:cNvSpPr/>
              <p:nvPr/>
            </p:nvSpPr>
            <p:spPr bwMode="auto">
              <a:xfrm>
                <a:off x="2701" y="1500"/>
                <a:ext cx="24" cy="17"/>
              </a:xfrm>
              <a:custGeom>
                <a:gdLst>
                  <a:gd name="T0" fmla="*/ 9 w 10"/>
                  <a:gd name="T1" fmla="*/ 0 h 7"/>
                  <a:gd name="T2" fmla="*/ 7 w 10"/>
                  <a:gd name="T3" fmla="*/ 0 h 7"/>
                  <a:gd name="T4" fmla="*/ 6 w 10"/>
                  <a:gd name="T5" fmla="*/ 0 h 7"/>
                  <a:gd name="T6" fmla="*/ 5 w 10"/>
                  <a:gd name="T7" fmla="*/ 0 h 7"/>
                  <a:gd name="T8" fmla="*/ 3 w 10"/>
                  <a:gd name="T9" fmla="*/ 1 h 7"/>
                  <a:gd name="T10" fmla="*/ 2 w 10"/>
                  <a:gd name="T11" fmla="*/ 4 h 7"/>
                  <a:gd name="T12" fmla="*/ 6 w 10"/>
                  <a:gd name="T13" fmla="*/ 7 h 7"/>
                  <a:gd name="T14" fmla="*/ 7 w 10"/>
                  <a:gd name="T15" fmla="*/ 7 h 7"/>
                  <a:gd name="T16" fmla="*/ 9 w 10"/>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9" y="0"/>
                    </a:moveTo>
                    <a:cubicBezTo>
                      <a:pt x="8" y="0"/>
                      <a:pt x="7" y="0"/>
                      <a:pt x="7" y="0"/>
                    </a:cubicBezTo>
                    <a:cubicBezTo>
                      <a:pt x="7" y="0"/>
                      <a:pt x="6" y="0"/>
                      <a:pt x="6" y="0"/>
                    </a:cubicBezTo>
                    <a:cubicBezTo>
                      <a:pt x="6" y="0"/>
                      <a:pt x="5" y="0"/>
                      <a:pt x="5" y="0"/>
                    </a:cubicBezTo>
                    <a:cubicBezTo>
                      <a:pt x="4" y="0"/>
                      <a:pt x="4" y="0"/>
                      <a:pt x="3" y="1"/>
                    </a:cubicBezTo>
                    <a:cubicBezTo>
                      <a:pt x="1" y="2"/>
                      <a:pt x="0" y="3"/>
                      <a:pt x="2" y="4"/>
                    </a:cubicBezTo>
                    <a:cubicBezTo>
                      <a:pt x="3" y="6"/>
                      <a:pt x="4" y="7"/>
                      <a:pt x="6" y="7"/>
                    </a:cubicBezTo>
                    <a:cubicBezTo>
                      <a:pt x="6" y="7"/>
                      <a:pt x="6" y="7"/>
                      <a:pt x="7" y="7"/>
                    </a:cubicBezTo>
                    <a:cubicBezTo>
                      <a:pt x="10" y="7"/>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45"/>
              <p:cNvSpPr/>
              <p:nvPr/>
            </p:nvSpPr>
            <p:spPr bwMode="auto">
              <a:xfrm>
                <a:off x="1093" y="1614"/>
                <a:ext cx="10" cy="11"/>
              </a:xfrm>
              <a:custGeom>
                <a:gdLst>
                  <a:gd name="T0" fmla="*/ 2 w 4"/>
                  <a:gd name="T1" fmla="*/ 0 h 5"/>
                  <a:gd name="T2" fmla="*/ 0 w 4"/>
                  <a:gd name="T3" fmla="*/ 2 h 5"/>
                  <a:gd name="T4" fmla="*/ 1 w 4"/>
                  <a:gd name="T5" fmla="*/ 5 h 5"/>
                  <a:gd name="T6" fmla="*/ 4 w 4"/>
                  <a:gd name="T7" fmla="*/ 0 h 5"/>
                  <a:gd name="T8" fmla="*/ 2 w 4"/>
                  <a:gd name="T9" fmla="*/ 0 h 5"/>
                </a:gdLst>
                <a:cxnLst>
                  <a:cxn ang="0">
                    <a:pos x="T0" y="T1"/>
                  </a:cxn>
                  <a:cxn ang="0">
                    <a:pos x="T2" y="T3"/>
                  </a:cxn>
                  <a:cxn ang="0">
                    <a:pos x="T4" y="T5"/>
                  </a:cxn>
                  <a:cxn ang="0">
                    <a:pos x="T6" y="T7"/>
                  </a:cxn>
                  <a:cxn ang="0">
                    <a:pos x="T8" y="T9"/>
                  </a:cxn>
                </a:cxnLst>
                <a:rect l="0" t="0" r="r" b="b"/>
                <a:pathLst>
                  <a:path w="4" h="5">
                    <a:moveTo>
                      <a:pt x="2" y="0"/>
                    </a:moveTo>
                    <a:cubicBezTo>
                      <a:pt x="1" y="0"/>
                      <a:pt x="0" y="1"/>
                      <a:pt x="0" y="2"/>
                    </a:cubicBezTo>
                    <a:cubicBezTo>
                      <a:pt x="0" y="4"/>
                      <a:pt x="0" y="5"/>
                      <a:pt x="1" y="5"/>
                    </a:cubicBezTo>
                    <a:cubicBezTo>
                      <a:pt x="2" y="5"/>
                      <a:pt x="3" y="1"/>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46"/>
              <p:cNvSpPr/>
              <p:nvPr/>
            </p:nvSpPr>
            <p:spPr bwMode="auto">
              <a:xfrm>
                <a:off x="1242" y="1595"/>
                <a:ext cx="14" cy="14"/>
              </a:xfrm>
              <a:custGeom>
                <a:gdLst>
                  <a:gd name="T0" fmla="*/ 4 w 6"/>
                  <a:gd name="T1" fmla="*/ 0 h 6"/>
                  <a:gd name="T2" fmla="*/ 2 w 6"/>
                  <a:gd name="T3" fmla="*/ 4 h 6"/>
                  <a:gd name="T4" fmla="*/ 1 w 6"/>
                  <a:gd name="T5" fmla="*/ 3 h 6"/>
                  <a:gd name="T6" fmla="*/ 2 w 6"/>
                  <a:gd name="T7" fmla="*/ 6 h 6"/>
                  <a:gd name="T8" fmla="*/ 2 w 6"/>
                  <a:gd name="T9" fmla="*/ 6 h 6"/>
                  <a:gd name="T10" fmla="*/ 4 w 6"/>
                  <a:gd name="T11" fmla="*/ 0 h 6"/>
                </a:gdLst>
                <a:cxnLst>
                  <a:cxn ang="0">
                    <a:pos x="T0" y="T1"/>
                  </a:cxn>
                  <a:cxn ang="0">
                    <a:pos x="T2" y="T3"/>
                  </a:cxn>
                  <a:cxn ang="0">
                    <a:pos x="T4" y="T5"/>
                  </a:cxn>
                  <a:cxn ang="0">
                    <a:pos x="T6" y="T7"/>
                  </a:cxn>
                  <a:cxn ang="0">
                    <a:pos x="T8" y="T9"/>
                  </a:cxn>
                  <a:cxn ang="0">
                    <a:pos x="T10" y="T11"/>
                  </a:cxn>
                </a:cxnLst>
                <a:rect l="0" t="0" r="r" b="b"/>
                <a:pathLst>
                  <a:path w="6" h="6">
                    <a:moveTo>
                      <a:pt x="4" y="0"/>
                    </a:moveTo>
                    <a:cubicBezTo>
                      <a:pt x="2" y="1"/>
                      <a:pt x="1" y="2"/>
                      <a:pt x="2" y="4"/>
                    </a:cubicBezTo>
                    <a:cubicBezTo>
                      <a:pt x="2" y="4"/>
                      <a:pt x="1" y="3"/>
                      <a:pt x="1" y="3"/>
                    </a:cubicBezTo>
                    <a:cubicBezTo>
                      <a:pt x="1" y="5"/>
                      <a:pt x="0" y="6"/>
                      <a:pt x="2" y="6"/>
                    </a:cubicBezTo>
                    <a:cubicBezTo>
                      <a:pt x="2" y="6"/>
                      <a:pt x="2" y="6"/>
                      <a:pt x="2" y="6"/>
                    </a:cubicBezTo>
                    <a:cubicBezTo>
                      <a:pt x="6" y="6"/>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47"/>
              <p:cNvSpPr/>
              <p:nvPr/>
            </p:nvSpPr>
            <p:spPr bwMode="auto">
              <a:xfrm>
                <a:off x="5106" y="2113"/>
                <a:ext cx="43" cy="19"/>
              </a:xfrm>
              <a:custGeom>
                <a:gdLst>
                  <a:gd name="T0" fmla="*/ 18 w 18"/>
                  <a:gd name="T1" fmla="*/ 0 h 8"/>
                  <a:gd name="T2" fmla="*/ 1 w 18"/>
                  <a:gd name="T3" fmla="*/ 8 h 8"/>
                  <a:gd name="T4" fmla="*/ 18 w 18"/>
                  <a:gd name="T5" fmla="*/ 0 h 8"/>
                </a:gdLst>
                <a:cxnLst>
                  <a:cxn ang="0">
                    <a:pos x="T0" y="T1"/>
                  </a:cxn>
                  <a:cxn ang="0">
                    <a:pos x="T2" y="T3"/>
                  </a:cxn>
                  <a:cxn ang="0">
                    <a:pos x="T4" y="T5"/>
                  </a:cxn>
                </a:cxnLst>
                <a:rect l="0" t="0" r="r" b="b"/>
                <a:pathLst>
                  <a:path w="18" h="8">
                    <a:moveTo>
                      <a:pt x="18" y="0"/>
                    </a:moveTo>
                    <a:cubicBezTo>
                      <a:pt x="15" y="0"/>
                      <a:pt x="0" y="5"/>
                      <a:pt x="1" y="8"/>
                    </a:cubicBezTo>
                    <a:cubicBezTo>
                      <a:pt x="7" y="6"/>
                      <a:pt x="12" y="3"/>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48"/>
              <p:cNvSpPr/>
              <p:nvPr/>
            </p:nvSpPr>
            <p:spPr bwMode="auto">
              <a:xfrm>
                <a:off x="911" y="1666"/>
                <a:ext cx="17" cy="14"/>
              </a:xfrm>
              <a:custGeom>
                <a:gdLst>
                  <a:gd name="T0" fmla="*/ 3 w 7"/>
                  <a:gd name="T1" fmla="*/ 0 h 6"/>
                  <a:gd name="T2" fmla="*/ 3 w 7"/>
                  <a:gd name="T3" fmla="*/ 6 h 6"/>
                  <a:gd name="T4" fmla="*/ 7 w 7"/>
                  <a:gd name="T5" fmla="*/ 4 h 6"/>
                  <a:gd name="T6" fmla="*/ 5 w 7"/>
                  <a:gd name="T7" fmla="*/ 0 h 6"/>
                  <a:gd name="T8" fmla="*/ 3 w 7"/>
                  <a:gd name="T9" fmla="*/ 0 h 6"/>
                </a:gdLst>
                <a:cxnLst>
                  <a:cxn ang="0">
                    <a:pos x="T0" y="T1"/>
                  </a:cxn>
                  <a:cxn ang="0">
                    <a:pos x="T2" y="T3"/>
                  </a:cxn>
                  <a:cxn ang="0">
                    <a:pos x="T4" y="T5"/>
                  </a:cxn>
                  <a:cxn ang="0">
                    <a:pos x="T6" y="T7"/>
                  </a:cxn>
                  <a:cxn ang="0">
                    <a:pos x="T8" y="T9"/>
                  </a:cxn>
                </a:cxnLst>
                <a:rect l="0" t="0" r="r" b="b"/>
                <a:pathLst>
                  <a:path w="7" h="6">
                    <a:moveTo>
                      <a:pt x="3" y="0"/>
                    </a:moveTo>
                    <a:cubicBezTo>
                      <a:pt x="0" y="0"/>
                      <a:pt x="2" y="3"/>
                      <a:pt x="3" y="6"/>
                    </a:cubicBezTo>
                    <a:cubicBezTo>
                      <a:pt x="5" y="5"/>
                      <a:pt x="5" y="4"/>
                      <a:pt x="7" y="4"/>
                    </a:cubicBezTo>
                    <a:cubicBezTo>
                      <a:pt x="6" y="2"/>
                      <a:pt x="2" y="2"/>
                      <a:pt x="5"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49"/>
              <p:cNvSpPr/>
              <p:nvPr/>
            </p:nvSpPr>
            <p:spPr bwMode="auto">
              <a:xfrm>
                <a:off x="956" y="1606"/>
                <a:ext cx="102" cy="52"/>
              </a:xfrm>
              <a:custGeom>
                <a:gdLst>
                  <a:gd name="T0" fmla="*/ 29 w 43"/>
                  <a:gd name="T1" fmla="*/ 0 h 22"/>
                  <a:gd name="T2" fmla="*/ 21 w 43"/>
                  <a:gd name="T3" fmla="*/ 3 h 22"/>
                  <a:gd name="T4" fmla="*/ 8 w 43"/>
                  <a:gd name="T5" fmla="*/ 7 h 22"/>
                  <a:gd name="T6" fmla="*/ 0 w 43"/>
                  <a:gd name="T7" fmla="*/ 15 h 22"/>
                  <a:gd name="T8" fmla="*/ 5 w 43"/>
                  <a:gd name="T9" fmla="*/ 22 h 22"/>
                  <a:gd name="T10" fmla="*/ 7 w 43"/>
                  <a:gd name="T11" fmla="*/ 22 h 22"/>
                  <a:gd name="T12" fmla="*/ 13 w 43"/>
                  <a:gd name="T13" fmla="*/ 19 h 22"/>
                  <a:gd name="T14" fmla="*/ 13 w 43"/>
                  <a:gd name="T15" fmla="*/ 17 h 22"/>
                  <a:gd name="T16" fmla="*/ 18 w 43"/>
                  <a:gd name="T17" fmla="*/ 17 h 22"/>
                  <a:gd name="T18" fmla="*/ 29 w 43"/>
                  <a:gd name="T19" fmla="*/ 15 h 22"/>
                  <a:gd name="T20" fmla="*/ 34 w 43"/>
                  <a:gd name="T21" fmla="*/ 12 h 22"/>
                  <a:gd name="T22" fmla="*/ 37 w 43"/>
                  <a:gd name="T23" fmla="*/ 12 h 22"/>
                  <a:gd name="T24" fmla="*/ 43 w 43"/>
                  <a:gd name="T25" fmla="*/ 13 h 22"/>
                  <a:gd name="T26" fmla="*/ 40 w 43"/>
                  <a:gd name="T27" fmla="*/ 11 h 22"/>
                  <a:gd name="T28" fmla="*/ 34 w 43"/>
                  <a:gd name="T29" fmla="*/ 7 h 22"/>
                  <a:gd name="T30" fmla="*/ 32 w 43"/>
                  <a:gd name="T31" fmla="*/ 1 h 22"/>
                  <a:gd name="T32" fmla="*/ 29 w 43"/>
                  <a:gd name="T33"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22">
                    <a:moveTo>
                      <a:pt x="29" y="0"/>
                    </a:moveTo>
                    <a:cubicBezTo>
                      <a:pt x="26" y="0"/>
                      <a:pt x="22" y="2"/>
                      <a:pt x="21" y="3"/>
                    </a:cubicBezTo>
                    <a:cubicBezTo>
                      <a:pt x="16" y="5"/>
                      <a:pt x="11" y="3"/>
                      <a:pt x="8" y="7"/>
                    </a:cubicBezTo>
                    <a:cubicBezTo>
                      <a:pt x="5" y="10"/>
                      <a:pt x="4" y="12"/>
                      <a:pt x="0" y="15"/>
                    </a:cubicBezTo>
                    <a:cubicBezTo>
                      <a:pt x="1" y="20"/>
                      <a:pt x="1" y="22"/>
                      <a:pt x="5" y="22"/>
                    </a:cubicBezTo>
                    <a:cubicBezTo>
                      <a:pt x="5" y="22"/>
                      <a:pt x="6" y="22"/>
                      <a:pt x="7" y="22"/>
                    </a:cubicBezTo>
                    <a:cubicBezTo>
                      <a:pt x="10" y="21"/>
                      <a:pt x="11" y="21"/>
                      <a:pt x="13" y="19"/>
                    </a:cubicBezTo>
                    <a:cubicBezTo>
                      <a:pt x="13" y="18"/>
                      <a:pt x="13" y="18"/>
                      <a:pt x="13" y="17"/>
                    </a:cubicBezTo>
                    <a:cubicBezTo>
                      <a:pt x="14" y="17"/>
                      <a:pt x="17" y="17"/>
                      <a:pt x="18" y="17"/>
                    </a:cubicBezTo>
                    <a:cubicBezTo>
                      <a:pt x="21" y="16"/>
                      <a:pt x="25" y="16"/>
                      <a:pt x="29" y="15"/>
                    </a:cubicBezTo>
                    <a:cubicBezTo>
                      <a:pt x="31" y="15"/>
                      <a:pt x="32" y="14"/>
                      <a:pt x="34" y="12"/>
                    </a:cubicBezTo>
                    <a:cubicBezTo>
                      <a:pt x="35" y="12"/>
                      <a:pt x="36" y="12"/>
                      <a:pt x="37" y="12"/>
                    </a:cubicBezTo>
                    <a:cubicBezTo>
                      <a:pt x="39" y="12"/>
                      <a:pt x="41" y="13"/>
                      <a:pt x="43" y="13"/>
                    </a:cubicBezTo>
                    <a:cubicBezTo>
                      <a:pt x="42" y="12"/>
                      <a:pt x="41" y="11"/>
                      <a:pt x="40" y="11"/>
                    </a:cubicBezTo>
                    <a:cubicBezTo>
                      <a:pt x="37" y="10"/>
                      <a:pt x="35" y="10"/>
                      <a:pt x="34" y="7"/>
                    </a:cubicBezTo>
                    <a:cubicBezTo>
                      <a:pt x="33" y="5"/>
                      <a:pt x="33" y="3"/>
                      <a:pt x="32" y="1"/>
                    </a:cubicBezTo>
                    <a:cubicBezTo>
                      <a:pt x="31"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50"/>
              <p:cNvSpPr/>
              <p:nvPr/>
            </p:nvSpPr>
            <p:spPr bwMode="auto">
              <a:xfrm>
                <a:off x="2694" y="1592"/>
                <a:ext cx="29" cy="45"/>
              </a:xfrm>
              <a:custGeom>
                <a:gdLst>
                  <a:gd name="T0" fmla="*/ 2 w 12"/>
                  <a:gd name="T1" fmla="*/ 0 h 19"/>
                  <a:gd name="T2" fmla="*/ 0 w 12"/>
                  <a:gd name="T3" fmla="*/ 7 h 19"/>
                  <a:gd name="T4" fmla="*/ 3 w 12"/>
                  <a:gd name="T5" fmla="*/ 11 h 19"/>
                  <a:gd name="T6" fmla="*/ 3 w 12"/>
                  <a:gd name="T7" fmla="*/ 11 h 19"/>
                  <a:gd name="T8" fmla="*/ 6 w 12"/>
                  <a:gd name="T9" fmla="*/ 14 h 19"/>
                  <a:gd name="T10" fmla="*/ 7 w 12"/>
                  <a:gd name="T11" fmla="*/ 14 h 19"/>
                  <a:gd name="T12" fmla="*/ 8 w 12"/>
                  <a:gd name="T13" fmla="*/ 17 h 19"/>
                  <a:gd name="T14" fmla="*/ 12 w 12"/>
                  <a:gd name="T15" fmla="*/ 19 h 19"/>
                  <a:gd name="T16" fmla="*/ 2 w 12"/>
                  <a:gd name="T17"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9">
                    <a:moveTo>
                      <a:pt x="2" y="0"/>
                    </a:moveTo>
                    <a:cubicBezTo>
                      <a:pt x="0" y="2"/>
                      <a:pt x="0" y="5"/>
                      <a:pt x="0" y="7"/>
                    </a:cubicBezTo>
                    <a:cubicBezTo>
                      <a:pt x="1" y="8"/>
                      <a:pt x="2" y="11"/>
                      <a:pt x="3" y="11"/>
                    </a:cubicBezTo>
                    <a:cubicBezTo>
                      <a:pt x="3" y="11"/>
                      <a:pt x="3" y="11"/>
                      <a:pt x="3" y="11"/>
                    </a:cubicBezTo>
                    <a:cubicBezTo>
                      <a:pt x="4" y="11"/>
                      <a:pt x="4" y="14"/>
                      <a:pt x="6" y="14"/>
                    </a:cubicBezTo>
                    <a:cubicBezTo>
                      <a:pt x="6" y="14"/>
                      <a:pt x="7" y="14"/>
                      <a:pt x="7" y="14"/>
                    </a:cubicBezTo>
                    <a:cubicBezTo>
                      <a:pt x="6" y="15"/>
                      <a:pt x="7" y="17"/>
                      <a:pt x="8" y="17"/>
                    </a:cubicBezTo>
                    <a:cubicBezTo>
                      <a:pt x="9" y="18"/>
                      <a:pt x="10" y="19"/>
                      <a:pt x="12" y="19"/>
                    </a:cubicBezTo>
                    <a:cubicBezTo>
                      <a:pt x="9" y="13"/>
                      <a:pt x="6" y="7"/>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51"/>
              <p:cNvSpPr/>
              <p:nvPr/>
            </p:nvSpPr>
            <p:spPr bwMode="auto">
              <a:xfrm>
                <a:off x="2782" y="1592"/>
                <a:ext cx="16" cy="19"/>
              </a:xfrm>
              <a:custGeom>
                <a:gdLst>
                  <a:gd name="T0" fmla="*/ 2 w 7"/>
                  <a:gd name="T1" fmla="*/ 0 h 8"/>
                  <a:gd name="T2" fmla="*/ 2 w 7"/>
                  <a:gd name="T3" fmla="*/ 5 h 8"/>
                  <a:gd name="T4" fmla="*/ 2 w 7"/>
                  <a:gd name="T5" fmla="*/ 5 h 8"/>
                  <a:gd name="T6" fmla="*/ 1 w 7"/>
                  <a:gd name="T7" fmla="*/ 8 h 8"/>
                  <a:gd name="T8" fmla="*/ 5 w 7"/>
                  <a:gd name="T9" fmla="*/ 8 h 8"/>
                  <a:gd name="T10" fmla="*/ 3 w 7"/>
                  <a:gd name="T11" fmla="*/ 1 h 8"/>
                  <a:gd name="T12" fmla="*/ 2 w 7"/>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7" h="8">
                    <a:moveTo>
                      <a:pt x="2" y="0"/>
                    </a:moveTo>
                    <a:cubicBezTo>
                      <a:pt x="0" y="0"/>
                      <a:pt x="1" y="3"/>
                      <a:pt x="2" y="5"/>
                    </a:cubicBezTo>
                    <a:cubicBezTo>
                      <a:pt x="2" y="5"/>
                      <a:pt x="2" y="5"/>
                      <a:pt x="2" y="5"/>
                    </a:cubicBezTo>
                    <a:cubicBezTo>
                      <a:pt x="0" y="5"/>
                      <a:pt x="0" y="8"/>
                      <a:pt x="1" y="8"/>
                    </a:cubicBezTo>
                    <a:cubicBezTo>
                      <a:pt x="5" y="8"/>
                      <a:pt x="5" y="8"/>
                      <a:pt x="5" y="8"/>
                    </a:cubicBezTo>
                    <a:cubicBezTo>
                      <a:pt x="7" y="7"/>
                      <a:pt x="4" y="2"/>
                      <a:pt x="3"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52"/>
              <p:cNvSpPr/>
              <p:nvPr/>
            </p:nvSpPr>
            <p:spPr bwMode="auto">
              <a:xfrm>
                <a:off x="2768" y="1580"/>
                <a:ext cx="14" cy="22"/>
              </a:xfrm>
              <a:custGeom>
                <a:gdLst>
                  <a:gd name="T0" fmla="*/ 1 w 6"/>
                  <a:gd name="T1" fmla="*/ 0 h 9"/>
                  <a:gd name="T2" fmla="*/ 3 w 6"/>
                  <a:gd name="T3" fmla="*/ 9 h 9"/>
                  <a:gd name="T4" fmla="*/ 5 w 6"/>
                  <a:gd name="T5" fmla="*/ 4 h 9"/>
                  <a:gd name="T6" fmla="*/ 6 w 6"/>
                  <a:gd name="T7" fmla="*/ 5 h 9"/>
                  <a:gd name="T8" fmla="*/ 1 w 6"/>
                  <a:gd name="T9" fmla="*/ 0 h 9"/>
                </a:gdLst>
                <a:cxnLst>
                  <a:cxn ang="0">
                    <a:pos x="T0" y="T1"/>
                  </a:cxn>
                  <a:cxn ang="0">
                    <a:pos x="T2" y="T3"/>
                  </a:cxn>
                  <a:cxn ang="0">
                    <a:pos x="T4" y="T5"/>
                  </a:cxn>
                  <a:cxn ang="0">
                    <a:pos x="T6" y="T7"/>
                  </a:cxn>
                  <a:cxn ang="0">
                    <a:pos x="T8" y="T9"/>
                  </a:cxn>
                </a:cxnLst>
                <a:rect l="0" t="0" r="r" b="b"/>
                <a:pathLst>
                  <a:path w="6" h="9">
                    <a:moveTo>
                      <a:pt x="1" y="0"/>
                    </a:moveTo>
                    <a:cubicBezTo>
                      <a:pt x="0" y="3"/>
                      <a:pt x="0" y="7"/>
                      <a:pt x="3" y="9"/>
                    </a:cubicBezTo>
                    <a:cubicBezTo>
                      <a:pt x="4" y="7"/>
                      <a:pt x="4" y="6"/>
                      <a:pt x="5" y="4"/>
                    </a:cubicBezTo>
                    <a:cubicBezTo>
                      <a:pt x="6" y="5"/>
                      <a:pt x="6" y="5"/>
                      <a:pt x="6" y="5"/>
                    </a:cubicBezTo>
                    <a:cubicBezTo>
                      <a:pt x="5" y="3"/>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53"/>
              <p:cNvSpPr/>
              <p:nvPr/>
            </p:nvSpPr>
            <p:spPr bwMode="auto">
              <a:xfrm>
                <a:off x="6605" y="4384"/>
                <a:ext cx="55" cy="42"/>
              </a:xfrm>
              <a:custGeom>
                <a:gdLst>
                  <a:gd name="T0" fmla="*/ 22 w 23"/>
                  <a:gd name="T1" fmla="*/ 0 h 18"/>
                  <a:gd name="T2" fmla="*/ 17 w 23"/>
                  <a:gd name="T3" fmla="*/ 1 h 18"/>
                  <a:gd name="T4" fmla="*/ 6 w 23"/>
                  <a:gd name="T5" fmla="*/ 3 h 18"/>
                  <a:gd name="T6" fmla="*/ 10 w 23"/>
                  <a:gd name="T7" fmla="*/ 8 h 18"/>
                  <a:gd name="T8" fmla="*/ 10 w 23"/>
                  <a:gd name="T9" fmla="*/ 14 h 18"/>
                  <a:gd name="T10" fmla="*/ 6 w 23"/>
                  <a:gd name="T11" fmla="*/ 15 h 18"/>
                  <a:gd name="T12" fmla="*/ 0 w 23"/>
                  <a:gd name="T13" fmla="*/ 18 h 18"/>
                  <a:gd name="T14" fmla="*/ 2 w 23"/>
                  <a:gd name="T15" fmla="*/ 18 h 18"/>
                  <a:gd name="T16" fmla="*/ 5 w 23"/>
                  <a:gd name="T17" fmla="*/ 18 h 18"/>
                  <a:gd name="T18" fmla="*/ 8 w 23"/>
                  <a:gd name="T19" fmla="*/ 18 h 18"/>
                  <a:gd name="T20" fmla="*/ 9 w 23"/>
                  <a:gd name="T21" fmla="*/ 18 h 18"/>
                  <a:gd name="T22" fmla="*/ 13 w 23"/>
                  <a:gd name="T23" fmla="*/ 18 h 18"/>
                  <a:gd name="T24" fmla="*/ 19 w 23"/>
                  <a:gd name="T25" fmla="*/ 17 h 18"/>
                  <a:gd name="T26" fmla="*/ 20 w 23"/>
                  <a:gd name="T27" fmla="*/ 8 h 18"/>
                  <a:gd name="T28" fmla="*/ 23 w 23"/>
                  <a:gd name="T29" fmla="*/ 0 h 18"/>
                  <a:gd name="T30" fmla="*/ 22 w 23"/>
                  <a:gd name="T3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18">
                    <a:moveTo>
                      <a:pt x="22" y="0"/>
                    </a:moveTo>
                    <a:cubicBezTo>
                      <a:pt x="20" y="0"/>
                      <a:pt x="19" y="0"/>
                      <a:pt x="17" y="1"/>
                    </a:cubicBezTo>
                    <a:cubicBezTo>
                      <a:pt x="14" y="1"/>
                      <a:pt x="10" y="2"/>
                      <a:pt x="6" y="3"/>
                    </a:cubicBezTo>
                    <a:cubicBezTo>
                      <a:pt x="10" y="4"/>
                      <a:pt x="10" y="5"/>
                      <a:pt x="10" y="8"/>
                    </a:cubicBezTo>
                    <a:cubicBezTo>
                      <a:pt x="11" y="10"/>
                      <a:pt x="11" y="12"/>
                      <a:pt x="10" y="14"/>
                    </a:cubicBezTo>
                    <a:cubicBezTo>
                      <a:pt x="9" y="14"/>
                      <a:pt x="7" y="14"/>
                      <a:pt x="6" y="15"/>
                    </a:cubicBezTo>
                    <a:cubicBezTo>
                      <a:pt x="5" y="16"/>
                      <a:pt x="2" y="17"/>
                      <a:pt x="0" y="18"/>
                    </a:cubicBezTo>
                    <a:cubicBezTo>
                      <a:pt x="1" y="18"/>
                      <a:pt x="1" y="18"/>
                      <a:pt x="2" y="18"/>
                    </a:cubicBezTo>
                    <a:cubicBezTo>
                      <a:pt x="3" y="18"/>
                      <a:pt x="4" y="18"/>
                      <a:pt x="5" y="18"/>
                    </a:cubicBezTo>
                    <a:cubicBezTo>
                      <a:pt x="6" y="18"/>
                      <a:pt x="7" y="18"/>
                      <a:pt x="8" y="18"/>
                    </a:cubicBezTo>
                    <a:cubicBezTo>
                      <a:pt x="8" y="18"/>
                      <a:pt x="9" y="18"/>
                      <a:pt x="9" y="18"/>
                    </a:cubicBezTo>
                    <a:cubicBezTo>
                      <a:pt x="10" y="18"/>
                      <a:pt x="11" y="18"/>
                      <a:pt x="13" y="18"/>
                    </a:cubicBezTo>
                    <a:cubicBezTo>
                      <a:pt x="15" y="18"/>
                      <a:pt x="17" y="18"/>
                      <a:pt x="19" y="17"/>
                    </a:cubicBezTo>
                    <a:cubicBezTo>
                      <a:pt x="23" y="15"/>
                      <a:pt x="21" y="11"/>
                      <a:pt x="20" y="8"/>
                    </a:cubicBezTo>
                    <a:cubicBezTo>
                      <a:pt x="20" y="5"/>
                      <a:pt x="22" y="3"/>
                      <a:pt x="23" y="0"/>
                    </a:cubicBezTo>
                    <a:cubicBezTo>
                      <a:pt x="23" y="0"/>
                      <a:pt x="22"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54"/>
              <p:cNvSpPr/>
              <p:nvPr/>
            </p:nvSpPr>
            <p:spPr bwMode="auto">
              <a:xfrm>
                <a:off x="5511" y="4561"/>
                <a:ext cx="14" cy="17"/>
              </a:xfrm>
              <a:custGeom>
                <a:gdLst>
                  <a:gd name="T0" fmla="*/ 3 w 6"/>
                  <a:gd name="T1" fmla="*/ 0 h 7"/>
                  <a:gd name="T2" fmla="*/ 0 w 6"/>
                  <a:gd name="T3" fmla="*/ 2 h 7"/>
                  <a:gd name="T4" fmla="*/ 6 w 6"/>
                  <a:gd name="T5" fmla="*/ 7 h 7"/>
                  <a:gd name="T6" fmla="*/ 6 w 6"/>
                  <a:gd name="T7" fmla="*/ 7 h 7"/>
                  <a:gd name="T8" fmla="*/ 3 w 6"/>
                  <a:gd name="T9" fmla="*/ 0 h 7"/>
                </a:gdLst>
                <a:cxnLst>
                  <a:cxn ang="0">
                    <a:pos x="T0" y="T1"/>
                  </a:cxn>
                  <a:cxn ang="0">
                    <a:pos x="T2" y="T3"/>
                  </a:cxn>
                  <a:cxn ang="0">
                    <a:pos x="T4" y="T5"/>
                  </a:cxn>
                  <a:cxn ang="0">
                    <a:pos x="T6" y="T7"/>
                  </a:cxn>
                  <a:cxn ang="0">
                    <a:pos x="T8" y="T9"/>
                  </a:cxn>
                </a:cxnLst>
                <a:rect l="0" t="0" r="r" b="b"/>
                <a:pathLst>
                  <a:path w="6" h="7">
                    <a:moveTo>
                      <a:pt x="3" y="0"/>
                    </a:moveTo>
                    <a:cubicBezTo>
                      <a:pt x="1" y="0"/>
                      <a:pt x="1" y="2"/>
                      <a:pt x="0" y="2"/>
                    </a:cubicBezTo>
                    <a:cubicBezTo>
                      <a:pt x="0" y="5"/>
                      <a:pt x="3" y="7"/>
                      <a:pt x="6" y="7"/>
                    </a:cubicBezTo>
                    <a:cubicBezTo>
                      <a:pt x="6" y="7"/>
                      <a:pt x="6" y="7"/>
                      <a:pt x="6" y="7"/>
                    </a:cubicBezTo>
                    <a:cubicBezTo>
                      <a:pt x="6" y="4"/>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55"/>
              <p:cNvSpPr/>
              <p:nvPr/>
            </p:nvSpPr>
            <p:spPr bwMode="auto">
              <a:xfrm>
                <a:off x="5553" y="4564"/>
                <a:ext cx="3" cy="2"/>
              </a:xfrm>
              <a:custGeom>
                <a:gdLst>
                  <a:gd name="T0" fmla="*/ 1 w 1"/>
                  <a:gd name="T1" fmla="*/ 0 h 1"/>
                  <a:gd name="T2" fmla="*/ 0 w 1"/>
                  <a:gd name="T3" fmla="*/ 1 h 1"/>
                  <a:gd name="T4" fmla="*/ 0 w 1"/>
                  <a:gd name="T5" fmla="*/ 1 h 1"/>
                  <a:gd name="T6" fmla="*/ 0 w 1"/>
                  <a:gd name="T7" fmla="*/ 1 h 1"/>
                  <a:gd name="T8" fmla="*/ 1 w 1"/>
                  <a:gd name="T9" fmla="*/ 1 h 1"/>
                  <a:gd name="T10" fmla="*/ 1 w 1"/>
                  <a:gd name="T11" fmla="*/ 0 h 1"/>
                </a:gd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0" y="1"/>
                      <a:pt x="0" y="1"/>
                    </a:cubicBezTo>
                    <a:cubicBezTo>
                      <a:pt x="0" y="1"/>
                      <a:pt x="0" y="1"/>
                      <a:pt x="0" y="1"/>
                    </a:cubicBezTo>
                    <a:cubicBezTo>
                      <a:pt x="0" y="1"/>
                      <a:pt x="0" y="1"/>
                      <a:pt x="0" y="1"/>
                    </a:cubicBezTo>
                    <a:cubicBezTo>
                      <a:pt x="1" y="1"/>
                      <a:pt x="1" y="1"/>
                      <a:pt x="1"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156"/>
              <p:cNvSpPr/>
              <p:nvPr/>
            </p:nvSpPr>
            <p:spPr bwMode="auto">
              <a:xfrm>
                <a:off x="5551" y="4566"/>
                <a:ext cx="2" cy="0"/>
              </a:xfrm>
              <a:custGeom>
                <a:gdLst>
                  <a:gd name="T0" fmla="*/ 1 w 1"/>
                  <a:gd name="T1" fmla="*/ 0 w 1"/>
                  <a:gd name="T2" fmla="*/ 1 w 1"/>
                  <a:gd name="T3" fmla="*/ 1 w 1"/>
                </a:gdLst>
                <a:cxnLst>
                  <a:cxn ang="0">
                    <a:pos x="T0" y="0"/>
                  </a:cxn>
                  <a:cxn ang="0">
                    <a:pos x="T1" y="0"/>
                  </a:cxn>
                  <a:cxn ang="0">
                    <a:pos x="T2" y="0"/>
                  </a:cxn>
                  <a:cxn ang="0">
                    <a:pos x="T3" y="0"/>
                  </a:cxn>
                </a:cxnLst>
                <a:rect l="0" t="0" r="r" b="b"/>
                <a:pathLst>
                  <a:path w="1">
                    <a:moveTo>
                      <a:pt x="1" y="0"/>
                    </a:moveTo>
                    <a:cubicBezTo>
                      <a:pt x="0" y="0"/>
                      <a:pt x="0" y="0"/>
                      <a:pt x="0"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157"/>
              <p:cNvSpPr/>
              <p:nvPr/>
            </p:nvSpPr>
            <p:spPr bwMode="auto">
              <a:xfrm>
                <a:off x="5494" y="4467"/>
                <a:ext cx="5" cy="4"/>
              </a:xfrm>
              <a:custGeom>
                <a:gdLst>
                  <a:gd name="T0" fmla="*/ 0 w 2"/>
                  <a:gd name="T1" fmla="*/ 0 h 2"/>
                  <a:gd name="T2" fmla="*/ 1 w 2"/>
                  <a:gd name="T3" fmla="*/ 2 h 2"/>
                  <a:gd name="T4" fmla="*/ 2 w 2"/>
                  <a:gd name="T5" fmla="*/ 1 h 2"/>
                  <a:gd name="T6" fmla="*/ 0 w 2"/>
                  <a:gd name="T7" fmla="*/ 0 h 2"/>
                </a:gdLst>
                <a:cxnLst>
                  <a:cxn ang="0">
                    <a:pos x="T0" y="T1"/>
                  </a:cxn>
                  <a:cxn ang="0">
                    <a:pos x="T2" y="T3"/>
                  </a:cxn>
                  <a:cxn ang="0">
                    <a:pos x="T4" y="T5"/>
                  </a:cxn>
                  <a:cxn ang="0">
                    <a:pos x="T6" y="T7"/>
                  </a:cxn>
                </a:cxnLst>
                <a:rect l="0" t="0" r="r" b="b"/>
                <a:pathLst>
                  <a:path w="2" h="2">
                    <a:moveTo>
                      <a:pt x="0" y="0"/>
                    </a:moveTo>
                    <a:cubicBezTo>
                      <a:pt x="0" y="1"/>
                      <a:pt x="0" y="2"/>
                      <a:pt x="1" y="2"/>
                    </a:cubicBezTo>
                    <a:cubicBezTo>
                      <a:pt x="1" y="2"/>
                      <a:pt x="2" y="2"/>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158"/>
              <p:cNvSpPr/>
              <p:nvPr/>
            </p:nvSpPr>
            <p:spPr bwMode="auto">
              <a:xfrm>
                <a:off x="5667" y="4514"/>
                <a:ext cx="9" cy="14"/>
              </a:xfrm>
              <a:custGeom>
                <a:gdLst>
                  <a:gd name="T0" fmla="*/ 4 w 4"/>
                  <a:gd name="T1" fmla="*/ 0 h 6"/>
                  <a:gd name="T2" fmla="*/ 3 w 4"/>
                  <a:gd name="T3" fmla="*/ 6 h 6"/>
                  <a:gd name="T4" fmla="*/ 4 w 4"/>
                  <a:gd name="T5" fmla="*/ 0 h 6"/>
                </a:gdLst>
                <a:cxnLst>
                  <a:cxn ang="0">
                    <a:pos x="T0" y="T1"/>
                  </a:cxn>
                  <a:cxn ang="0">
                    <a:pos x="T2" y="T3"/>
                  </a:cxn>
                  <a:cxn ang="0">
                    <a:pos x="T4" y="T5"/>
                  </a:cxn>
                </a:cxnLst>
                <a:rect l="0" t="0" r="r" b="b"/>
                <a:pathLst>
                  <a:path w="4" h="6">
                    <a:moveTo>
                      <a:pt x="4" y="0"/>
                    </a:moveTo>
                    <a:cubicBezTo>
                      <a:pt x="0" y="1"/>
                      <a:pt x="2" y="5"/>
                      <a:pt x="3" y="6"/>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59"/>
              <p:cNvSpPr/>
              <p:nvPr/>
            </p:nvSpPr>
            <p:spPr bwMode="auto">
              <a:xfrm>
                <a:off x="6213" y="4301"/>
                <a:ext cx="7" cy="7"/>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2"/>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160"/>
              <p:cNvSpPr/>
              <p:nvPr/>
            </p:nvSpPr>
            <p:spPr bwMode="auto">
              <a:xfrm>
                <a:off x="6220" y="4308"/>
                <a:ext cx="12" cy="7"/>
              </a:xfrm>
              <a:custGeom>
                <a:gdLst>
                  <a:gd name="T0" fmla="*/ 1 w 5"/>
                  <a:gd name="T1" fmla="*/ 0 h 3"/>
                  <a:gd name="T2" fmla="*/ 0 w 5"/>
                  <a:gd name="T3" fmla="*/ 0 h 3"/>
                  <a:gd name="T4" fmla="*/ 5 w 5"/>
                  <a:gd name="T5" fmla="*/ 3 h 3"/>
                  <a:gd name="T6" fmla="*/ 1 w 5"/>
                  <a:gd name="T7" fmla="*/ 0 h 3"/>
                </a:gdLst>
                <a:cxnLst>
                  <a:cxn ang="0">
                    <a:pos x="T0" y="T1"/>
                  </a:cxn>
                  <a:cxn ang="0">
                    <a:pos x="T2" y="T3"/>
                  </a:cxn>
                  <a:cxn ang="0">
                    <a:pos x="T4" y="T5"/>
                  </a:cxn>
                  <a:cxn ang="0">
                    <a:pos x="T6" y="T7"/>
                  </a:cxn>
                </a:cxnLst>
                <a:rect l="0" t="0" r="r" b="b"/>
                <a:pathLst>
                  <a:path w="5" h="3">
                    <a:moveTo>
                      <a:pt x="1" y="0"/>
                    </a:moveTo>
                    <a:cubicBezTo>
                      <a:pt x="1" y="0"/>
                      <a:pt x="1" y="0"/>
                      <a:pt x="0" y="0"/>
                    </a:cubicBezTo>
                    <a:cubicBezTo>
                      <a:pt x="2" y="1"/>
                      <a:pt x="3" y="2"/>
                      <a:pt x="5" y="3"/>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61"/>
              <p:cNvSpPr/>
              <p:nvPr/>
            </p:nvSpPr>
            <p:spPr bwMode="auto">
              <a:xfrm>
                <a:off x="6208" y="4296"/>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2" y="2"/>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162"/>
              <p:cNvSpPr/>
              <p:nvPr/>
            </p:nvSpPr>
            <p:spPr bwMode="auto">
              <a:xfrm>
                <a:off x="6251" y="4301"/>
                <a:ext cx="14" cy="17"/>
              </a:xfrm>
              <a:custGeom>
                <a:gdLst>
                  <a:gd name="T0" fmla="*/ 0 w 6"/>
                  <a:gd name="T1" fmla="*/ 0 h 7"/>
                  <a:gd name="T2" fmla="*/ 3 w 6"/>
                  <a:gd name="T3" fmla="*/ 7 h 7"/>
                  <a:gd name="T4" fmla="*/ 0 w 6"/>
                  <a:gd name="T5" fmla="*/ 0 h 7"/>
                </a:gdLst>
                <a:cxnLst>
                  <a:cxn ang="0">
                    <a:pos x="T0" y="T1"/>
                  </a:cxn>
                  <a:cxn ang="0">
                    <a:pos x="T2" y="T3"/>
                  </a:cxn>
                  <a:cxn ang="0">
                    <a:pos x="T4" y="T5"/>
                  </a:cxn>
                </a:cxnLst>
                <a:rect l="0" t="0" r="r" b="b"/>
                <a:pathLst>
                  <a:path w="6" h="7">
                    <a:moveTo>
                      <a:pt x="0" y="0"/>
                    </a:moveTo>
                    <a:cubicBezTo>
                      <a:pt x="1" y="3"/>
                      <a:pt x="2" y="5"/>
                      <a:pt x="3" y="7"/>
                    </a:cubicBezTo>
                    <a:cubicBezTo>
                      <a:pt x="6" y="2"/>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63"/>
              <p:cNvSpPr/>
              <p:nvPr/>
            </p:nvSpPr>
            <p:spPr bwMode="auto">
              <a:xfrm>
                <a:off x="4151" y="3771"/>
                <a:ext cx="7" cy="10"/>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0" y="2"/>
                      <a:pt x="1" y="3"/>
                      <a:pt x="3"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164"/>
              <p:cNvSpPr/>
              <p:nvPr/>
            </p:nvSpPr>
            <p:spPr bwMode="auto">
              <a:xfrm>
                <a:off x="3505" y="3331"/>
                <a:ext cx="7" cy="19"/>
              </a:xfrm>
              <a:custGeom>
                <a:gdLst>
                  <a:gd name="T0" fmla="*/ 3 w 3"/>
                  <a:gd name="T1" fmla="*/ 0 h 8"/>
                  <a:gd name="T2" fmla="*/ 3 w 3"/>
                  <a:gd name="T3" fmla="*/ 8 h 8"/>
                  <a:gd name="T4" fmla="*/ 3 w 3"/>
                  <a:gd name="T5" fmla="*/ 0 h 8"/>
                </a:gdLst>
                <a:cxnLst>
                  <a:cxn ang="0">
                    <a:pos x="T0" y="T1"/>
                  </a:cxn>
                  <a:cxn ang="0">
                    <a:pos x="T2" y="T3"/>
                  </a:cxn>
                  <a:cxn ang="0">
                    <a:pos x="T4" y="T5"/>
                  </a:cxn>
                </a:cxnLst>
                <a:rect l="0" t="0" r="r" b="b"/>
                <a:pathLst>
                  <a:path w="3" h="8">
                    <a:moveTo>
                      <a:pt x="3" y="0"/>
                    </a:moveTo>
                    <a:cubicBezTo>
                      <a:pt x="0" y="1"/>
                      <a:pt x="3" y="5"/>
                      <a:pt x="3" y="8"/>
                    </a:cubicBezTo>
                    <a:cubicBezTo>
                      <a:pt x="3" y="5"/>
                      <a:pt x="3"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165"/>
              <p:cNvSpPr/>
              <p:nvPr/>
            </p:nvSpPr>
            <p:spPr bwMode="auto">
              <a:xfrm>
                <a:off x="3673" y="3381"/>
                <a:ext cx="10" cy="21"/>
              </a:xfrm>
              <a:custGeom>
                <a:gdLst>
                  <a:gd name="T0" fmla="*/ 4 w 4"/>
                  <a:gd name="T1" fmla="*/ 0 h 9"/>
                  <a:gd name="T2" fmla="*/ 3 w 4"/>
                  <a:gd name="T3" fmla="*/ 4 h 9"/>
                  <a:gd name="T4" fmla="*/ 1 w 4"/>
                  <a:gd name="T5" fmla="*/ 6 h 9"/>
                  <a:gd name="T6" fmla="*/ 3 w 4"/>
                  <a:gd name="T7" fmla="*/ 9 h 9"/>
                  <a:gd name="T8" fmla="*/ 4 w 4"/>
                  <a:gd name="T9" fmla="*/ 0 h 9"/>
                </a:gdLst>
                <a:cxnLst>
                  <a:cxn ang="0">
                    <a:pos x="T0" y="T1"/>
                  </a:cxn>
                  <a:cxn ang="0">
                    <a:pos x="T2" y="T3"/>
                  </a:cxn>
                  <a:cxn ang="0">
                    <a:pos x="T4" y="T5"/>
                  </a:cxn>
                  <a:cxn ang="0">
                    <a:pos x="T6" y="T7"/>
                  </a:cxn>
                  <a:cxn ang="0">
                    <a:pos x="T8" y="T9"/>
                  </a:cxn>
                </a:cxnLst>
                <a:rect l="0" t="0" r="r" b="b"/>
                <a:pathLst>
                  <a:path w="4" h="9">
                    <a:moveTo>
                      <a:pt x="4" y="0"/>
                    </a:moveTo>
                    <a:cubicBezTo>
                      <a:pt x="3" y="1"/>
                      <a:pt x="3" y="3"/>
                      <a:pt x="3" y="4"/>
                    </a:cubicBezTo>
                    <a:cubicBezTo>
                      <a:pt x="3" y="4"/>
                      <a:pt x="2" y="5"/>
                      <a:pt x="1" y="6"/>
                    </a:cubicBezTo>
                    <a:cubicBezTo>
                      <a:pt x="1" y="8"/>
                      <a:pt x="0" y="7"/>
                      <a:pt x="3" y="9"/>
                    </a:cubicBezTo>
                    <a:cubicBezTo>
                      <a:pt x="4" y="6"/>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66"/>
              <p:cNvSpPr/>
              <p:nvPr/>
            </p:nvSpPr>
            <p:spPr bwMode="auto">
              <a:xfrm>
                <a:off x="4971" y="3941"/>
                <a:ext cx="3" cy="3"/>
              </a:xfrm>
              <a:custGeom>
                <a:gdLst>
                  <a:gd name="T0" fmla="*/ 1 w 1"/>
                  <a:gd name="T1" fmla="*/ 0 h 1"/>
                  <a:gd name="T2" fmla="*/ 1 w 1"/>
                  <a:gd name="T3" fmla="*/ 0 h 1"/>
                  <a:gd name="T4" fmla="*/ 1 w 1"/>
                  <a:gd name="T5" fmla="*/ 0 h 1"/>
                  <a:gd name="T6" fmla="*/ 0 w 1"/>
                  <a:gd name="T7" fmla="*/ 0 h 1"/>
                  <a:gd name="T8" fmla="*/ 0 w 1"/>
                  <a:gd name="T9" fmla="*/ 1 h 1"/>
                  <a:gd name="T10" fmla="*/ 1 w 1"/>
                  <a:gd name="T11" fmla="*/ 0 h 1"/>
                  <a:gd name="T12" fmla="*/ 1 w 1"/>
                  <a:gd name="T13" fmla="*/ 0 h 1"/>
                  <a:gd name="T14" fmla="*/ 1 w 1"/>
                  <a:gd name="T15" fmla="*/ 0 h 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cubicBezTo>
                      <a:pt x="1" y="0"/>
                      <a:pt x="1" y="0"/>
                      <a:pt x="1" y="0"/>
                    </a:cubicBezTo>
                    <a:cubicBezTo>
                      <a:pt x="1" y="0"/>
                      <a:pt x="1" y="0"/>
                      <a:pt x="1" y="0"/>
                    </a:cubicBezTo>
                    <a:cubicBezTo>
                      <a:pt x="0" y="0"/>
                      <a:pt x="0" y="0"/>
                      <a:pt x="0" y="0"/>
                    </a:cubicBezTo>
                    <a:cubicBezTo>
                      <a:pt x="0" y="1"/>
                      <a:pt x="0" y="1"/>
                      <a:pt x="0" y="1"/>
                    </a:cubicBezTo>
                    <a:cubicBezTo>
                      <a:pt x="1" y="1"/>
                      <a:pt x="1" y="1"/>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67"/>
              <p:cNvSpPr/>
              <p:nvPr/>
            </p:nvSpPr>
            <p:spPr bwMode="auto">
              <a:xfrm>
                <a:off x="3768" y="3307"/>
                <a:ext cx="28" cy="36"/>
              </a:xfrm>
              <a:custGeom>
                <a:gdLst>
                  <a:gd name="T0" fmla="*/ 1 w 12"/>
                  <a:gd name="T1" fmla="*/ 0 h 15"/>
                  <a:gd name="T2" fmla="*/ 12 w 12"/>
                  <a:gd name="T3" fmla="*/ 15 h 15"/>
                  <a:gd name="T4" fmla="*/ 11 w 12"/>
                  <a:gd name="T5" fmla="*/ 8 h 15"/>
                  <a:gd name="T6" fmla="*/ 9 w 12"/>
                  <a:gd name="T7" fmla="*/ 7 h 15"/>
                  <a:gd name="T8" fmla="*/ 8 w 12"/>
                  <a:gd name="T9" fmla="*/ 7 h 15"/>
                  <a:gd name="T10" fmla="*/ 8 w 12"/>
                  <a:gd name="T11" fmla="*/ 7 h 15"/>
                  <a:gd name="T12" fmla="*/ 6 w 12"/>
                  <a:gd name="T13" fmla="*/ 7 h 15"/>
                  <a:gd name="T14" fmla="*/ 6 w 12"/>
                  <a:gd name="T15" fmla="*/ 4 h 15"/>
                  <a:gd name="T16" fmla="*/ 5 w 12"/>
                  <a:gd name="T17" fmla="*/ 3 h 15"/>
                  <a:gd name="T18" fmla="*/ 1 w 12"/>
                  <a:gd name="T1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5">
                    <a:moveTo>
                      <a:pt x="1" y="0"/>
                    </a:moveTo>
                    <a:cubicBezTo>
                      <a:pt x="0" y="7"/>
                      <a:pt x="7" y="11"/>
                      <a:pt x="12" y="15"/>
                    </a:cubicBezTo>
                    <a:cubicBezTo>
                      <a:pt x="12" y="14"/>
                      <a:pt x="11" y="8"/>
                      <a:pt x="11" y="8"/>
                    </a:cubicBezTo>
                    <a:cubicBezTo>
                      <a:pt x="10" y="8"/>
                      <a:pt x="10" y="7"/>
                      <a:pt x="9" y="7"/>
                    </a:cubicBezTo>
                    <a:cubicBezTo>
                      <a:pt x="9" y="7"/>
                      <a:pt x="9" y="7"/>
                      <a:pt x="8" y="7"/>
                    </a:cubicBezTo>
                    <a:cubicBezTo>
                      <a:pt x="8" y="7"/>
                      <a:pt x="8" y="7"/>
                      <a:pt x="8" y="7"/>
                    </a:cubicBezTo>
                    <a:cubicBezTo>
                      <a:pt x="7" y="7"/>
                      <a:pt x="6" y="7"/>
                      <a:pt x="6" y="7"/>
                    </a:cubicBezTo>
                    <a:cubicBezTo>
                      <a:pt x="6" y="6"/>
                      <a:pt x="6" y="5"/>
                      <a:pt x="6" y="4"/>
                    </a:cubicBezTo>
                    <a:cubicBezTo>
                      <a:pt x="6" y="3"/>
                      <a:pt x="5" y="3"/>
                      <a:pt x="5" y="3"/>
                    </a:cubicBezTo>
                    <a:cubicBezTo>
                      <a:pt x="4" y="1"/>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68"/>
              <p:cNvSpPr/>
              <p:nvPr/>
            </p:nvSpPr>
            <p:spPr bwMode="auto">
              <a:xfrm>
                <a:off x="3827" y="3329"/>
                <a:ext cx="21" cy="28"/>
              </a:xfrm>
              <a:custGeom>
                <a:gdLst>
                  <a:gd name="T0" fmla="*/ 7 w 9"/>
                  <a:gd name="T1" fmla="*/ 0 h 12"/>
                  <a:gd name="T2" fmla="*/ 2 w 9"/>
                  <a:gd name="T3" fmla="*/ 3 h 12"/>
                  <a:gd name="T4" fmla="*/ 0 w 9"/>
                  <a:gd name="T5" fmla="*/ 9 h 12"/>
                  <a:gd name="T6" fmla="*/ 6 w 9"/>
                  <a:gd name="T7" fmla="*/ 12 h 12"/>
                  <a:gd name="T8" fmla="*/ 8 w 9"/>
                  <a:gd name="T9" fmla="*/ 5 h 12"/>
                  <a:gd name="T10" fmla="*/ 7 w 9"/>
                  <a:gd name="T11" fmla="*/ 0 h 12"/>
                </a:gdLst>
                <a:cxnLst>
                  <a:cxn ang="0">
                    <a:pos x="T0" y="T1"/>
                  </a:cxn>
                  <a:cxn ang="0">
                    <a:pos x="T2" y="T3"/>
                  </a:cxn>
                  <a:cxn ang="0">
                    <a:pos x="T4" y="T5"/>
                  </a:cxn>
                  <a:cxn ang="0">
                    <a:pos x="T6" y="T7"/>
                  </a:cxn>
                  <a:cxn ang="0">
                    <a:pos x="T8" y="T9"/>
                  </a:cxn>
                  <a:cxn ang="0">
                    <a:pos x="T10" y="T11"/>
                  </a:cxn>
                </a:cxnLst>
                <a:rect l="0" t="0" r="r" b="b"/>
                <a:pathLst>
                  <a:path w="9" h="12">
                    <a:moveTo>
                      <a:pt x="7" y="0"/>
                    </a:moveTo>
                    <a:cubicBezTo>
                      <a:pt x="5" y="0"/>
                      <a:pt x="3" y="1"/>
                      <a:pt x="2" y="3"/>
                    </a:cubicBezTo>
                    <a:cubicBezTo>
                      <a:pt x="1" y="5"/>
                      <a:pt x="2" y="8"/>
                      <a:pt x="0" y="9"/>
                    </a:cubicBezTo>
                    <a:cubicBezTo>
                      <a:pt x="2" y="10"/>
                      <a:pt x="4" y="11"/>
                      <a:pt x="6" y="12"/>
                    </a:cubicBezTo>
                    <a:cubicBezTo>
                      <a:pt x="7" y="10"/>
                      <a:pt x="9" y="8"/>
                      <a:pt x="8" y="5"/>
                    </a:cubicBezTo>
                    <a:cubicBezTo>
                      <a:pt x="8" y="3"/>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69"/>
              <p:cNvSpPr/>
              <p:nvPr/>
            </p:nvSpPr>
            <p:spPr bwMode="auto">
              <a:xfrm>
                <a:off x="5250" y="4072"/>
                <a:ext cx="22" cy="7"/>
              </a:xfrm>
              <a:custGeom>
                <a:gdLst>
                  <a:gd name="T0" fmla="*/ 8 w 9"/>
                  <a:gd name="T1" fmla="*/ 0 h 3"/>
                  <a:gd name="T2" fmla="*/ 0 w 9"/>
                  <a:gd name="T3" fmla="*/ 3 h 3"/>
                  <a:gd name="T4" fmla="*/ 9 w 9"/>
                  <a:gd name="T5" fmla="*/ 0 h 3"/>
                  <a:gd name="T6" fmla="*/ 8 w 9"/>
                  <a:gd name="T7" fmla="*/ 0 h 3"/>
                </a:gdLst>
                <a:cxnLst>
                  <a:cxn ang="0">
                    <a:pos x="T0" y="T1"/>
                  </a:cxn>
                  <a:cxn ang="0">
                    <a:pos x="T2" y="T3"/>
                  </a:cxn>
                  <a:cxn ang="0">
                    <a:pos x="T4" y="T5"/>
                  </a:cxn>
                  <a:cxn ang="0">
                    <a:pos x="T6" y="T7"/>
                  </a:cxn>
                </a:cxnLst>
                <a:rect l="0" t="0" r="r" b="b"/>
                <a:pathLst>
                  <a:path w="9" h="3">
                    <a:moveTo>
                      <a:pt x="8" y="0"/>
                    </a:moveTo>
                    <a:cubicBezTo>
                      <a:pt x="6" y="0"/>
                      <a:pt x="2" y="2"/>
                      <a:pt x="0" y="3"/>
                    </a:cubicBezTo>
                    <a:cubicBezTo>
                      <a:pt x="3" y="2"/>
                      <a:pt x="6"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70"/>
              <p:cNvSpPr/>
              <p:nvPr/>
            </p:nvSpPr>
            <p:spPr bwMode="auto">
              <a:xfrm>
                <a:off x="5168" y="2063"/>
                <a:ext cx="19" cy="5"/>
              </a:xfrm>
              <a:custGeom>
                <a:gdLst>
                  <a:gd name="T0" fmla="*/ 4 w 8"/>
                  <a:gd name="T1" fmla="*/ 0 h 2"/>
                  <a:gd name="T2" fmla="*/ 2 w 8"/>
                  <a:gd name="T3" fmla="*/ 0 h 2"/>
                  <a:gd name="T4" fmla="*/ 1 w 8"/>
                  <a:gd name="T5" fmla="*/ 2 h 2"/>
                  <a:gd name="T6" fmla="*/ 8 w 8"/>
                  <a:gd name="T7" fmla="*/ 0 h 2"/>
                  <a:gd name="T8" fmla="*/ 4 w 8"/>
                  <a:gd name="T9" fmla="*/ 0 h 2"/>
                </a:gdLst>
                <a:cxnLst>
                  <a:cxn ang="0">
                    <a:pos x="T0" y="T1"/>
                  </a:cxn>
                  <a:cxn ang="0">
                    <a:pos x="T2" y="T3"/>
                  </a:cxn>
                  <a:cxn ang="0">
                    <a:pos x="T4" y="T5"/>
                  </a:cxn>
                  <a:cxn ang="0">
                    <a:pos x="T6" y="T7"/>
                  </a:cxn>
                  <a:cxn ang="0">
                    <a:pos x="T8" y="T9"/>
                  </a:cxn>
                </a:cxnLst>
                <a:rect l="0" t="0" r="r" b="b"/>
                <a:pathLst>
                  <a:path w="8" h="2">
                    <a:moveTo>
                      <a:pt x="4" y="0"/>
                    </a:moveTo>
                    <a:cubicBezTo>
                      <a:pt x="4" y="0"/>
                      <a:pt x="3" y="0"/>
                      <a:pt x="2" y="0"/>
                    </a:cubicBezTo>
                    <a:cubicBezTo>
                      <a:pt x="0" y="2"/>
                      <a:pt x="0" y="2"/>
                      <a:pt x="1" y="2"/>
                    </a:cubicBezTo>
                    <a:cubicBezTo>
                      <a:pt x="3" y="2"/>
                      <a:pt x="7" y="1"/>
                      <a:pt x="8" y="0"/>
                    </a:cubicBezTo>
                    <a:cubicBezTo>
                      <a:pt x="7" y="0"/>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171"/>
              <p:cNvSpPr/>
              <p:nvPr/>
            </p:nvSpPr>
            <p:spPr bwMode="auto">
              <a:xfrm>
                <a:off x="5726" y="3466"/>
                <a:ext cx="52" cy="61"/>
              </a:xfrm>
              <a:custGeom>
                <a:gdLst>
                  <a:gd name="T0" fmla="*/ 4 w 22"/>
                  <a:gd name="T1" fmla="*/ 0 h 26"/>
                  <a:gd name="T2" fmla="*/ 0 w 22"/>
                  <a:gd name="T3" fmla="*/ 1 h 26"/>
                  <a:gd name="T4" fmla="*/ 1 w 22"/>
                  <a:gd name="T5" fmla="*/ 1 h 26"/>
                  <a:gd name="T6" fmla="*/ 6 w 22"/>
                  <a:gd name="T7" fmla="*/ 2 h 26"/>
                  <a:gd name="T8" fmla="*/ 12 w 22"/>
                  <a:gd name="T9" fmla="*/ 5 h 26"/>
                  <a:gd name="T10" fmla="*/ 16 w 22"/>
                  <a:gd name="T11" fmla="*/ 9 h 26"/>
                  <a:gd name="T12" fmla="*/ 17 w 22"/>
                  <a:gd name="T13" fmla="*/ 9 h 26"/>
                  <a:gd name="T14" fmla="*/ 18 w 22"/>
                  <a:gd name="T15" fmla="*/ 9 h 26"/>
                  <a:gd name="T16" fmla="*/ 18 w 22"/>
                  <a:gd name="T17" fmla="*/ 9 h 26"/>
                  <a:gd name="T18" fmla="*/ 18 w 22"/>
                  <a:gd name="T19" fmla="*/ 11 h 26"/>
                  <a:gd name="T20" fmla="*/ 13 w 22"/>
                  <a:gd name="T21" fmla="*/ 23 h 26"/>
                  <a:gd name="T22" fmla="*/ 17 w 22"/>
                  <a:gd name="T23" fmla="*/ 26 h 26"/>
                  <a:gd name="T24" fmla="*/ 21 w 22"/>
                  <a:gd name="T25" fmla="*/ 16 h 26"/>
                  <a:gd name="T26" fmla="*/ 22 w 22"/>
                  <a:gd name="T27" fmla="*/ 16 h 26"/>
                  <a:gd name="T28" fmla="*/ 20 w 22"/>
                  <a:gd name="T29" fmla="*/ 10 h 26"/>
                  <a:gd name="T30" fmla="*/ 15 w 22"/>
                  <a:gd name="T31" fmla="*/ 7 h 26"/>
                  <a:gd name="T32" fmla="*/ 16 w 22"/>
                  <a:gd name="T33" fmla="*/ 6 h 26"/>
                  <a:gd name="T34" fmla="*/ 10 w 22"/>
                  <a:gd name="T35" fmla="*/ 1 h 26"/>
                  <a:gd name="T36" fmla="*/ 4 w 22"/>
                  <a:gd name="T37"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4" y="0"/>
                    </a:moveTo>
                    <a:cubicBezTo>
                      <a:pt x="2" y="0"/>
                      <a:pt x="1" y="0"/>
                      <a:pt x="0" y="1"/>
                    </a:cubicBezTo>
                    <a:cubicBezTo>
                      <a:pt x="1" y="1"/>
                      <a:pt x="1" y="1"/>
                      <a:pt x="1" y="1"/>
                    </a:cubicBezTo>
                    <a:cubicBezTo>
                      <a:pt x="3" y="1"/>
                      <a:pt x="4" y="1"/>
                      <a:pt x="6" y="2"/>
                    </a:cubicBezTo>
                    <a:cubicBezTo>
                      <a:pt x="10" y="2"/>
                      <a:pt x="10" y="2"/>
                      <a:pt x="12" y="5"/>
                    </a:cubicBezTo>
                    <a:cubicBezTo>
                      <a:pt x="13" y="6"/>
                      <a:pt x="15" y="8"/>
                      <a:pt x="16" y="9"/>
                    </a:cubicBezTo>
                    <a:cubicBezTo>
                      <a:pt x="17" y="9"/>
                      <a:pt x="17" y="9"/>
                      <a:pt x="17" y="9"/>
                    </a:cubicBezTo>
                    <a:cubicBezTo>
                      <a:pt x="18" y="9"/>
                      <a:pt x="18" y="9"/>
                      <a:pt x="18" y="9"/>
                    </a:cubicBezTo>
                    <a:cubicBezTo>
                      <a:pt x="18" y="9"/>
                      <a:pt x="18" y="9"/>
                      <a:pt x="18" y="9"/>
                    </a:cubicBezTo>
                    <a:cubicBezTo>
                      <a:pt x="18" y="9"/>
                      <a:pt x="18" y="9"/>
                      <a:pt x="18" y="11"/>
                    </a:cubicBezTo>
                    <a:cubicBezTo>
                      <a:pt x="19" y="14"/>
                      <a:pt x="16" y="21"/>
                      <a:pt x="13" y="23"/>
                    </a:cubicBezTo>
                    <a:cubicBezTo>
                      <a:pt x="14" y="24"/>
                      <a:pt x="16" y="25"/>
                      <a:pt x="17" y="26"/>
                    </a:cubicBezTo>
                    <a:cubicBezTo>
                      <a:pt x="18" y="24"/>
                      <a:pt x="17" y="16"/>
                      <a:pt x="21" y="16"/>
                    </a:cubicBezTo>
                    <a:cubicBezTo>
                      <a:pt x="21" y="16"/>
                      <a:pt x="21" y="16"/>
                      <a:pt x="22" y="16"/>
                    </a:cubicBezTo>
                    <a:cubicBezTo>
                      <a:pt x="22" y="14"/>
                      <a:pt x="21" y="11"/>
                      <a:pt x="20" y="10"/>
                    </a:cubicBezTo>
                    <a:cubicBezTo>
                      <a:pt x="19" y="8"/>
                      <a:pt x="16" y="9"/>
                      <a:pt x="15" y="7"/>
                    </a:cubicBezTo>
                    <a:cubicBezTo>
                      <a:pt x="16" y="6"/>
                      <a:pt x="16" y="6"/>
                      <a:pt x="16" y="6"/>
                    </a:cubicBezTo>
                    <a:cubicBezTo>
                      <a:pt x="13" y="6"/>
                      <a:pt x="12" y="3"/>
                      <a:pt x="10" y="1"/>
                    </a:cubicBezTo>
                    <a:cubicBezTo>
                      <a:pt x="9"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172"/>
              <p:cNvSpPr/>
              <p:nvPr/>
            </p:nvSpPr>
            <p:spPr bwMode="auto">
              <a:xfrm>
                <a:off x="5700" y="3568"/>
                <a:ext cx="40" cy="54"/>
              </a:xfrm>
              <a:custGeom>
                <a:gdLst>
                  <a:gd name="T0" fmla="*/ 5 w 17"/>
                  <a:gd name="T1" fmla="*/ 0 h 23"/>
                  <a:gd name="T2" fmla="*/ 4 w 17"/>
                  <a:gd name="T3" fmla="*/ 9 h 23"/>
                  <a:gd name="T4" fmla="*/ 3 w 17"/>
                  <a:gd name="T5" fmla="*/ 12 h 23"/>
                  <a:gd name="T6" fmla="*/ 5 w 17"/>
                  <a:gd name="T7" fmla="*/ 16 h 23"/>
                  <a:gd name="T8" fmla="*/ 2 w 17"/>
                  <a:gd name="T9" fmla="*/ 13 h 23"/>
                  <a:gd name="T10" fmla="*/ 0 w 17"/>
                  <a:gd name="T11" fmla="*/ 14 h 23"/>
                  <a:gd name="T12" fmla="*/ 5 w 17"/>
                  <a:gd name="T13" fmla="*/ 18 h 23"/>
                  <a:gd name="T14" fmla="*/ 8 w 17"/>
                  <a:gd name="T15" fmla="*/ 20 h 23"/>
                  <a:gd name="T16" fmla="*/ 9 w 17"/>
                  <a:gd name="T17" fmla="*/ 23 h 23"/>
                  <a:gd name="T18" fmla="*/ 10 w 17"/>
                  <a:gd name="T19" fmla="*/ 23 h 23"/>
                  <a:gd name="T20" fmla="*/ 13 w 17"/>
                  <a:gd name="T21" fmla="*/ 19 h 23"/>
                  <a:gd name="T22" fmla="*/ 16 w 17"/>
                  <a:gd name="T23" fmla="*/ 18 h 23"/>
                  <a:gd name="T24" fmla="*/ 14 w 17"/>
                  <a:gd name="T25" fmla="*/ 10 h 23"/>
                  <a:gd name="T26" fmla="*/ 5 w 17"/>
                  <a:gd name="T27"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23">
                    <a:moveTo>
                      <a:pt x="5" y="0"/>
                    </a:moveTo>
                    <a:cubicBezTo>
                      <a:pt x="5" y="4"/>
                      <a:pt x="6" y="6"/>
                      <a:pt x="4" y="9"/>
                    </a:cubicBezTo>
                    <a:cubicBezTo>
                      <a:pt x="4" y="10"/>
                      <a:pt x="3" y="11"/>
                      <a:pt x="3" y="12"/>
                    </a:cubicBezTo>
                    <a:cubicBezTo>
                      <a:pt x="4" y="14"/>
                      <a:pt x="6" y="14"/>
                      <a:pt x="5" y="16"/>
                    </a:cubicBezTo>
                    <a:cubicBezTo>
                      <a:pt x="4" y="15"/>
                      <a:pt x="3" y="14"/>
                      <a:pt x="2" y="13"/>
                    </a:cubicBezTo>
                    <a:cubicBezTo>
                      <a:pt x="2" y="13"/>
                      <a:pt x="0" y="14"/>
                      <a:pt x="0" y="14"/>
                    </a:cubicBezTo>
                    <a:cubicBezTo>
                      <a:pt x="0" y="16"/>
                      <a:pt x="3" y="17"/>
                      <a:pt x="5" y="18"/>
                    </a:cubicBezTo>
                    <a:cubicBezTo>
                      <a:pt x="6" y="19"/>
                      <a:pt x="7" y="19"/>
                      <a:pt x="8" y="20"/>
                    </a:cubicBezTo>
                    <a:cubicBezTo>
                      <a:pt x="8" y="21"/>
                      <a:pt x="8" y="23"/>
                      <a:pt x="9" y="23"/>
                    </a:cubicBezTo>
                    <a:cubicBezTo>
                      <a:pt x="9" y="23"/>
                      <a:pt x="9" y="23"/>
                      <a:pt x="10" y="23"/>
                    </a:cubicBezTo>
                    <a:cubicBezTo>
                      <a:pt x="11" y="22"/>
                      <a:pt x="12" y="20"/>
                      <a:pt x="13" y="19"/>
                    </a:cubicBezTo>
                    <a:cubicBezTo>
                      <a:pt x="14" y="19"/>
                      <a:pt x="16" y="19"/>
                      <a:pt x="16" y="18"/>
                    </a:cubicBezTo>
                    <a:cubicBezTo>
                      <a:pt x="17" y="16"/>
                      <a:pt x="15" y="11"/>
                      <a:pt x="14" y="10"/>
                    </a:cubicBezTo>
                    <a:cubicBezTo>
                      <a:pt x="11" y="4"/>
                      <a:pt x="11"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173"/>
              <p:cNvSpPr/>
              <p:nvPr/>
            </p:nvSpPr>
            <p:spPr bwMode="auto">
              <a:xfrm>
                <a:off x="5752" y="3577"/>
                <a:ext cx="9" cy="2"/>
              </a:xfrm>
              <a:custGeom>
                <a:gdLst>
                  <a:gd name="T0" fmla="*/ 4 w 4"/>
                  <a:gd name="T1" fmla="*/ 0 h 1"/>
                  <a:gd name="T2" fmla="*/ 0 w 4"/>
                  <a:gd name="T3" fmla="*/ 1 h 1"/>
                  <a:gd name="T4" fmla="*/ 1 w 4"/>
                  <a:gd name="T5" fmla="*/ 1 h 1"/>
                  <a:gd name="T6" fmla="*/ 4 w 4"/>
                  <a:gd name="T7" fmla="*/ 0 h 1"/>
                </a:gdLst>
                <a:cxnLst>
                  <a:cxn ang="0">
                    <a:pos x="T0" y="T1"/>
                  </a:cxn>
                  <a:cxn ang="0">
                    <a:pos x="T2" y="T3"/>
                  </a:cxn>
                  <a:cxn ang="0">
                    <a:pos x="T4" y="T5"/>
                  </a:cxn>
                  <a:cxn ang="0">
                    <a:pos x="T6" y="T7"/>
                  </a:cxn>
                </a:cxnLst>
                <a:rect l="0" t="0" r="r" b="b"/>
                <a:pathLst>
                  <a:path w="4" h="1">
                    <a:moveTo>
                      <a:pt x="4" y="0"/>
                    </a:moveTo>
                    <a:cubicBezTo>
                      <a:pt x="3" y="0"/>
                      <a:pt x="2" y="1"/>
                      <a:pt x="0" y="1"/>
                    </a:cubicBezTo>
                    <a:cubicBezTo>
                      <a:pt x="0" y="1"/>
                      <a:pt x="0" y="1"/>
                      <a:pt x="1" y="1"/>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174"/>
              <p:cNvSpPr/>
              <p:nvPr/>
            </p:nvSpPr>
            <p:spPr bwMode="auto">
              <a:xfrm>
                <a:off x="5669" y="3475"/>
                <a:ext cx="62" cy="17"/>
              </a:xfrm>
              <a:custGeom>
                <a:gdLst>
                  <a:gd name="T0" fmla="*/ 9 w 26"/>
                  <a:gd name="T1" fmla="*/ 0 h 7"/>
                  <a:gd name="T2" fmla="*/ 9 w 26"/>
                  <a:gd name="T3" fmla="*/ 0 h 7"/>
                  <a:gd name="T4" fmla="*/ 4 w 26"/>
                  <a:gd name="T5" fmla="*/ 5 h 7"/>
                  <a:gd name="T6" fmla="*/ 3 w 26"/>
                  <a:gd name="T7" fmla="*/ 4 h 7"/>
                  <a:gd name="T8" fmla="*/ 0 w 26"/>
                  <a:gd name="T9" fmla="*/ 2 h 7"/>
                  <a:gd name="T10" fmla="*/ 6 w 26"/>
                  <a:gd name="T11" fmla="*/ 7 h 7"/>
                  <a:gd name="T12" fmla="*/ 17 w 26"/>
                  <a:gd name="T13" fmla="*/ 4 h 7"/>
                  <a:gd name="T14" fmla="*/ 22 w 26"/>
                  <a:gd name="T15" fmla="*/ 3 h 7"/>
                  <a:gd name="T16" fmla="*/ 22 w 26"/>
                  <a:gd name="T17" fmla="*/ 3 h 7"/>
                  <a:gd name="T18" fmla="*/ 23 w 26"/>
                  <a:gd name="T19" fmla="*/ 3 h 7"/>
                  <a:gd name="T20" fmla="*/ 24 w 26"/>
                  <a:gd name="T21" fmla="*/ 3 h 7"/>
                  <a:gd name="T22" fmla="*/ 25 w 26"/>
                  <a:gd name="T23" fmla="*/ 0 h 7"/>
                  <a:gd name="T24" fmla="*/ 15 w 26"/>
                  <a:gd name="T25" fmla="*/ 2 h 7"/>
                  <a:gd name="T26" fmla="*/ 12 w 26"/>
                  <a:gd name="T27" fmla="*/ 1 h 7"/>
                  <a:gd name="T28" fmla="*/ 9 w 26"/>
                  <a:gd name="T2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7">
                    <a:moveTo>
                      <a:pt x="9" y="0"/>
                    </a:moveTo>
                    <a:cubicBezTo>
                      <a:pt x="9" y="0"/>
                      <a:pt x="9" y="0"/>
                      <a:pt x="9" y="0"/>
                    </a:cubicBezTo>
                    <a:cubicBezTo>
                      <a:pt x="7" y="0"/>
                      <a:pt x="6" y="5"/>
                      <a:pt x="4" y="5"/>
                    </a:cubicBezTo>
                    <a:cubicBezTo>
                      <a:pt x="3" y="4"/>
                      <a:pt x="3" y="4"/>
                      <a:pt x="3" y="4"/>
                    </a:cubicBezTo>
                    <a:cubicBezTo>
                      <a:pt x="2" y="4"/>
                      <a:pt x="1" y="2"/>
                      <a:pt x="0" y="2"/>
                    </a:cubicBezTo>
                    <a:cubicBezTo>
                      <a:pt x="2" y="4"/>
                      <a:pt x="4" y="5"/>
                      <a:pt x="6" y="7"/>
                    </a:cubicBezTo>
                    <a:cubicBezTo>
                      <a:pt x="10" y="6"/>
                      <a:pt x="13" y="4"/>
                      <a:pt x="17" y="4"/>
                    </a:cubicBezTo>
                    <a:cubicBezTo>
                      <a:pt x="18" y="3"/>
                      <a:pt x="20" y="3"/>
                      <a:pt x="22" y="3"/>
                    </a:cubicBezTo>
                    <a:cubicBezTo>
                      <a:pt x="22" y="3"/>
                      <a:pt x="22" y="3"/>
                      <a:pt x="22" y="3"/>
                    </a:cubicBezTo>
                    <a:cubicBezTo>
                      <a:pt x="23" y="3"/>
                      <a:pt x="23" y="3"/>
                      <a:pt x="23" y="3"/>
                    </a:cubicBezTo>
                    <a:cubicBezTo>
                      <a:pt x="24" y="3"/>
                      <a:pt x="24" y="3"/>
                      <a:pt x="24" y="3"/>
                    </a:cubicBezTo>
                    <a:cubicBezTo>
                      <a:pt x="25" y="3"/>
                      <a:pt x="26" y="3"/>
                      <a:pt x="25" y="0"/>
                    </a:cubicBezTo>
                    <a:cubicBezTo>
                      <a:pt x="22" y="1"/>
                      <a:pt x="18" y="2"/>
                      <a:pt x="15" y="2"/>
                    </a:cubicBezTo>
                    <a:cubicBezTo>
                      <a:pt x="14" y="2"/>
                      <a:pt x="13" y="2"/>
                      <a:pt x="12" y="1"/>
                    </a:cubicBezTo>
                    <a:cubicBezTo>
                      <a:pt x="11"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175"/>
              <p:cNvSpPr/>
              <p:nvPr/>
            </p:nvSpPr>
            <p:spPr bwMode="auto">
              <a:xfrm>
                <a:off x="5816" y="3565"/>
                <a:ext cx="11" cy="36"/>
              </a:xfrm>
              <a:custGeom>
                <a:gdLst>
                  <a:gd name="T0" fmla="*/ 0 w 5"/>
                  <a:gd name="T1" fmla="*/ 0 h 15"/>
                  <a:gd name="T2" fmla="*/ 4 w 5"/>
                  <a:gd name="T3" fmla="*/ 3 h 15"/>
                  <a:gd name="T4" fmla="*/ 2 w 5"/>
                  <a:gd name="T5" fmla="*/ 9 h 15"/>
                  <a:gd name="T6" fmla="*/ 3 w 5"/>
                  <a:gd name="T7" fmla="*/ 9 h 15"/>
                  <a:gd name="T8" fmla="*/ 1 w 5"/>
                  <a:gd name="T9" fmla="*/ 11 h 15"/>
                  <a:gd name="T10" fmla="*/ 0 w 5"/>
                  <a:gd name="T11" fmla="*/ 11 h 15"/>
                  <a:gd name="T12" fmla="*/ 3 w 5"/>
                  <a:gd name="T13" fmla="*/ 15 h 15"/>
                  <a:gd name="T14" fmla="*/ 4 w 5"/>
                  <a:gd name="T15" fmla="*/ 7 h 15"/>
                  <a:gd name="T16" fmla="*/ 0 w 5"/>
                  <a:gd name="T17"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5">
                    <a:moveTo>
                      <a:pt x="0" y="0"/>
                    </a:moveTo>
                    <a:cubicBezTo>
                      <a:pt x="1" y="2"/>
                      <a:pt x="3" y="2"/>
                      <a:pt x="4" y="3"/>
                    </a:cubicBezTo>
                    <a:cubicBezTo>
                      <a:pt x="5" y="6"/>
                      <a:pt x="2" y="7"/>
                      <a:pt x="2" y="9"/>
                    </a:cubicBezTo>
                    <a:cubicBezTo>
                      <a:pt x="3" y="9"/>
                      <a:pt x="3" y="9"/>
                      <a:pt x="3" y="9"/>
                    </a:cubicBezTo>
                    <a:cubicBezTo>
                      <a:pt x="3" y="10"/>
                      <a:pt x="2" y="11"/>
                      <a:pt x="1" y="11"/>
                    </a:cubicBezTo>
                    <a:cubicBezTo>
                      <a:pt x="1" y="11"/>
                      <a:pt x="0" y="11"/>
                      <a:pt x="0" y="11"/>
                    </a:cubicBezTo>
                    <a:cubicBezTo>
                      <a:pt x="2" y="12"/>
                      <a:pt x="2" y="13"/>
                      <a:pt x="3" y="15"/>
                    </a:cubicBezTo>
                    <a:cubicBezTo>
                      <a:pt x="4" y="12"/>
                      <a:pt x="4" y="9"/>
                      <a:pt x="4" y="7"/>
                    </a:cubicBezTo>
                    <a:cubicBezTo>
                      <a:pt x="4" y="3"/>
                      <a:pt x="5"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176"/>
              <p:cNvSpPr/>
              <p:nvPr/>
            </p:nvSpPr>
            <p:spPr bwMode="auto">
              <a:xfrm>
                <a:off x="5846" y="3598"/>
                <a:ext cx="24" cy="33"/>
              </a:xfrm>
              <a:custGeom>
                <a:gdLst>
                  <a:gd name="T0" fmla="*/ 0 w 10"/>
                  <a:gd name="T1" fmla="*/ 0 h 14"/>
                  <a:gd name="T2" fmla="*/ 4 w 10"/>
                  <a:gd name="T3" fmla="*/ 5 h 14"/>
                  <a:gd name="T4" fmla="*/ 7 w 10"/>
                  <a:gd name="T5" fmla="*/ 14 h 14"/>
                  <a:gd name="T6" fmla="*/ 8 w 10"/>
                  <a:gd name="T7" fmla="*/ 9 h 14"/>
                  <a:gd name="T8" fmla="*/ 0 w 10"/>
                  <a:gd name="T9" fmla="*/ 0 h 14"/>
                </a:gdLst>
                <a:cxnLst>
                  <a:cxn ang="0">
                    <a:pos x="T0" y="T1"/>
                  </a:cxn>
                  <a:cxn ang="0">
                    <a:pos x="T2" y="T3"/>
                  </a:cxn>
                  <a:cxn ang="0">
                    <a:pos x="T4" y="T5"/>
                  </a:cxn>
                  <a:cxn ang="0">
                    <a:pos x="T6" y="T7"/>
                  </a:cxn>
                  <a:cxn ang="0">
                    <a:pos x="T8" y="T9"/>
                  </a:cxn>
                </a:cxnLst>
                <a:rect l="0" t="0" r="r" b="b"/>
                <a:pathLst>
                  <a:path w="10" h="14">
                    <a:moveTo>
                      <a:pt x="0" y="0"/>
                    </a:moveTo>
                    <a:cubicBezTo>
                      <a:pt x="0" y="1"/>
                      <a:pt x="4" y="4"/>
                      <a:pt x="4" y="5"/>
                    </a:cubicBezTo>
                    <a:cubicBezTo>
                      <a:pt x="6" y="8"/>
                      <a:pt x="9" y="10"/>
                      <a:pt x="7" y="14"/>
                    </a:cubicBezTo>
                    <a:cubicBezTo>
                      <a:pt x="10" y="11"/>
                      <a:pt x="10" y="11"/>
                      <a:pt x="8" y="9"/>
                    </a:cubicBezTo>
                    <a:cubicBezTo>
                      <a:pt x="6" y="6"/>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77"/>
              <p:cNvSpPr/>
              <p:nvPr/>
            </p:nvSpPr>
            <p:spPr bwMode="auto">
              <a:xfrm>
                <a:off x="6159" y="4284"/>
                <a:ext cx="9" cy="12"/>
              </a:xfrm>
              <a:custGeom>
                <a:gdLst>
                  <a:gd name="T0" fmla="*/ 0 w 4"/>
                  <a:gd name="T1" fmla="*/ 0 h 5"/>
                  <a:gd name="T2" fmla="*/ 1 w 4"/>
                  <a:gd name="T3" fmla="*/ 3 h 5"/>
                  <a:gd name="T4" fmla="*/ 4 w 4"/>
                  <a:gd name="T5" fmla="*/ 5 h 5"/>
                  <a:gd name="T6" fmla="*/ 0 w 4"/>
                  <a:gd name="T7" fmla="*/ 0 h 5"/>
                </a:gdLst>
                <a:cxnLst>
                  <a:cxn ang="0">
                    <a:pos x="T0" y="T1"/>
                  </a:cxn>
                  <a:cxn ang="0">
                    <a:pos x="T2" y="T3"/>
                  </a:cxn>
                  <a:cxn ang="0">
                    <a:pos x="T4" y="T5"/>
                  </a:cxn>
                  <a:cxn ang="0">
                    <a:pos x="T6" y="T7"/>
                  </a:cxn>
                </a:cxnLst>
                <a:rect l="0" t="0" r="r" b="b"/>
                <a:pathLst>
                  <a:path w="4" h="5">
                    <a:moveTo>
                      <a:pt x="0" y="0"/>
                    </a:moveTo>
                    <a:cubicBezTo>
                      <a:pt x="1" y="1"/>
                      <a:pt x="1" y="2"/>
                      <a:pt x="1" y="3"/>
                    </a:cubicBezTo>
                    <a:cubicBezTo>
                      <a:pt x="2" y="4"/>
                      <a:pt x="3" y="4"/>
                      <a:pt x="4"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178"/>
              <p:cNvSpPr/>
              <p:nvPr/>
            </p:nvSpPr>
            <p:spPr bwMode="auto">
              <a:xfrm>
                <a:off x="6492" y="4386"/>
                <a:ext cx="5" cy="3"/>
              </a:xfrm>
              <a:custGeom>
                <a:gdLst>
                  <a:gd name="T0" fmla="*/ 0 w 2"/>
                  <a:gd name="T1" fmla="*/ 0 h 1"/>
                  <a:gd name="T2" fmla="*/ 2 w 2"/>
                  <a:gd name="T3" fmla="*/ 1 h 1"/>
                  <a:gd name="T4" fmla="*/ 0 w 2"/>
                  <a:gd name="T5" fmla="*/ 0 h 1"/>
                </a:gdLst>
                <a:cxnLst>
                  <a:cxn ang="0">
                    <a:pos x="T0" y="T1"/>
                  </a:cxn>
                  <a:cxn ang="0">
                    <a:pos x="T2" y="T3"/>
                  </a:cxn>
                  <a:cxn ang="0">
                    <a:pos x="T4" y="T5"/>
                  </a:cxn>
                </a:cxnLst>
                <a:rect l="0" t="0" r="r" b="b"/>
                <a:pathLst>
                  <a:path w="2" h="1">
                    <a:moveTo>
                      <a:pt x="0" y="0"/>
                    </a:moveTo>
                    <a:cubicBezTo>
                      <a:pt x="1" y="0"/>
                      <a:pt x="1"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179"/>
              <p:cNvSpPr/>
              <p:nvPr/>
            </p:nvSpPr>
            <p:spPr bwMode="auto">
              <a:xfrm>
                <a:off x="6414" y="4377"/>
                <a:ext cx="9" cy="4"/>
              </a:xfrm>
              <a:custGeom>
                <a:gdLst>
                  <a:gd name="T0" fmla="*/ 2 w 4"/>
                  <a:gd name="T1" fmla="*/ 0 h 2"/>
                  <a:gd name="T2" fmla="*/ 0 w 4"/>
                  <a:gd name="T3" fmla="*/ 1 h 2"/>
                  <a:gd name="T4" fmla="*/ 3 w 4"/>
                  <a:gd name="T5" fmla="*/ 2 h 2"/>
                  <a:gd name="T6" fmla="*/ 4 w 4"/>
                  <a:gd name="T7" fmla="*/ 0 h 2"/>
                  <a:gd name="T8" fmla="*/ 2 w 4"/>
                  <a:gd name="T9" fmla="*/ 0 h 2"/>
                </a:gdLst>
                <a:cxnLst>
                  <a:cxn ang="0">
                    <a:pos x="T0" y="T1"/>
                  </a:cxn>
                  <a:cxn ang="0">
                    <a:pos x="T2" y="T3"/>
                  </a:cxn>
                  <a:cxn ang="0">
                    <a:pos x="T4" y="T5"/>
                  </a:cxn>
                  <a:cxn ang="0">
                    <a:pos x="T6" y="T7"/>
                  </a:cxn>
                  <a:cxn ang="0">
                    <a:pos x="T8" y="T9"/>
                  </a:cxn>
                </a:cxnLst>
                <a:rect l="0" t="0" r="r" b="b"/>
                <a:pathLst>
                  <a:path w="4" h="2">
                    <a:moveTo>
                      <a:pt x="2" y="0"/>
                    </a:moveTo>
                    <a:cubicBezTo>
                      <a:pt x="1" y="0"/>
                      <a:pt x="0" y="0"/>
                      <a:pt x="0" y="1"/>
                    </a:cubicBezTo>
                    <a:cubicBezTo>
                      <a:pt x="1" y="1"/>
                      <a:pt x="2" y="2"/>
                      <a:pt x="3" y="2"/>
                    </a:cubicBezTo>
                    <a:cubicBezTo>
                      <a:pt x="3" y="1"/>
                      <a:pt x="4" y="1"/>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180"/>
              <p:cNvSpPr/>
              <p:nvPr/>
            </p:nvSpPr>
            <p:spPr bwMode="auto">
              <a:xfrm>
                <a:off x="6471" y="4365"/>
                <a:ext cx="33" cy="16"/>
              </a:xfrm>
              <a:custGeom>
                <a:gdLst>
                  <a:gd name="T0" fmla="*/ 11 w 14"/>
                  <a:gd name="T1" fmla="*/ 0 h 7"/>
                  <a:gd name="T2" fmla="*/ 6 w 14"/>
                  <a:gd name="T3" fmla="*/ 4 h 7"/>
                  <a:gd name="T4" fmla="*/ 6 w 14"/>
                  <a:gd name="T5" fmla="*/ 4 h 7"/>
                  <a:gd name="T6" fmla="*/ 4 w 14"/>
                  <a:gd name="T7" fmla="*/ 3 h 7"/>
                  <a:gd name="T8" fmla="*/ 2 w 14"/>
                  <a:gd name="T9" fmla="*/ 2 h 7"/>
                  <a:gd name="T10" fmla="*/ 0 w 14"/>
                  <a:gd name="T11" fmla="*/ 3 h 7"/>
                  <a:gd name="T12" fmla="*/ 7 w 14"/>
                  <a:gd name="T13" fmla="*/ 7 h 7"/>
                  <a:gd name="T14" fmla="*/ 13 w 14"/>
                  <a:gd name="T15" fmla="*/ 5 h 7"/>
                  <a:gd name="T16" fmla="*/ 11 w 14"/>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11" y="0"/>
                    </a:moveTo>
                    <a:cubicBezTo>
                      <a:pt x="10" y="1"/>
                      <a:pt x="8" y="4"/>
                      <a:pt x="6" y="4"/>
                    </a:cubicBezTo>
                    <a:cubicBezTo>
                      <a:pt x="6" y="4"/>
                      <a:pt x="6" y="4"/>
                      <a:pt x="6" y="4"/>
                    </a:cubicBezTo>
                    <a:cubicBezTo>
                      <a:pt x="5" y="4"/>
                      <a:pt x="4" y="3"/>
                      <a:pt x="4" y="3"/>
                    </a:cubicBezTo>
                    <a:cubicBezTo>
                      <a:pt x="4" y="2"/>
                      <a:pt x="3" y="2"/>
                      <a:pt x="2" y="2"/>
                    </a:cubicBezTo>
                    <a:cubicBezTo>
                      <a:pt x="2" y="2"/>
                      <a:pt x="1" y="2"/>
                      <a:pt x="0" y="3"/>
                    </a:cubicBezTo>
                    <a:cubicBezTo>
                      <a:pt x="2" y="4"/>
                      <a:pt x="5" y="6"/>
                      <a:pt x="7" y="7"/>
                    </a:cubicBezTo>
                    <a:cubicBezTo>
                      <a:pt x="9" y="6"/>
                      <a:pt x="12" y="7"/>
                      <a:pt x="13" y="5"/>
                    </a:cubicBezTo>
                    <a:cubicBezTo>
                      <a:pt x="14" y="4"/>
                      <a:pt x="13"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81"/>
              <p:cNvSpPr/>
              <p:nvPr/>
            </p:nvSpPr>
            <p:spPr bwMode="auto">
              <a:xfrm>
                <a:off x="5172" y="3972"/>
                <a:ext cx="12" cy="17"/>
              </a:xfrm>
              <a:custGeom>
                <a:gdLst>
                  <a:gd name="T0" fmla="*/ 4 w 5"/>
                  <a:gd name="T1" fmla="*/ 0 h 7"/>
                  <a:gd name="T2" fmla="*/ 0 w 5"/>
                  <a:gd name="T3" fmla="*/ 7 h 7"/>
                  <a:gd name="T4" fmla="*/ 1 w 5"/>
                  <a:gd name="T5" fmla="*/ 6 h 7"/>
                  <a:gd name="T6" fmla="*/ 2 w 5"/>
                  <a:gd name="T7" fmla="*/ 5 h 7"/>
                  <a:gd name="T8" fmla="*/ 3 w 5"/>
                  <a:gd name="T9" fmla="*/ 4 h 7"/>
                  <a:gd name="T10" fmla="*/ 4 w 5"/>
                  <a:gd name="T11" fmla="*/ 1 h 7"/>
                  <a:gd name="T12" fmla="*/ 4 w 5"/>
                  <a:gd name="T13" fmla="*/ 1 h 7"/>
                  <a:gd name="T14" fmla="*/ 4 w 5"/>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4" y="0"/>
                    </a:moveTo>
                    <a:cubicBezTo>
                      <a:pt x="3" y="2"/>
                      <a:pt x="2" y="5"/>
                      <a:pt x="0" y="7"/>
                    </a:cubicBezTo>
                    <a:cubicBezTo>
                      <a:pt x="1" y="6"/>
                      <a:pt x="1" y="6"/>
                      <a:pt x="1" y="6"/>
                    </a:cubicBezTo>
                    <a:cubicBezTo>
                      <a:pt x="2" y="5"/>
                      <a:pt x="2" y="5"/>
                      <a:pt x="2" y="5"/>
                    </a:cubicBezTo>
                    <a:cubicBezTo>
                      <a:pt x="2" y="5"/>
                      <a:pt x="3" y="4"/>
                      <a:pt x="3" y="4"/>
                    </a:cubicBezTo>
                    <a:cubicBezTo>
                      <a:pt x="4" y="3"/>
                      <a:pt x="4" y="2"/>
                      <a:pt x="4" y="1"/>
                    </a:cubicBezTo>
                    <a:cubicBezTo>
                      <a:pt x="4" y="1"/>
                      <a:pt x="4" y="1"/>
                      <a:pt x="4" y="1"/>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182"/>
              <p:cNvSpPr/>
              <p:nvPr/>
            </p:nvSpPr>
            <p:spPr bwMode="auto">
              <a:xfrm>
                <a:off x="4953" y="3305"/>
                <a:ext cx="16" cy="5"/>
              </a:xfrm>
              <a:custGeom>
                <a:gdLst>
                  <a:gd name="T0" fmla="*/ 3 w 7"/>
                  <a:gd name="T1" fmla="*/ 0 h 2"/>
                  <a:gd name="T2" fmla="*/ 0 w 7"/>
                  <a:gd name="T3" fmla="*/ 1 h 2"/>
                  <a:gd name="T4" fmla="*/ 7 w 7"/>
                  <a:gd name="T5" fmla="*/ 2 h 2"/>
                  <a:gd name="T6" fmla="*/ 5 w 7"/>
                  <a:gd name="T7" fmla="*/ 1 h 2"/>
                  <a:gd name="T8" fmla="*/ 3 w 7"/>
                  <a:gd name="T9" fmla="*/ 0 h 2"/>
                </a:gdLst>
                <a:cxnLst>
                  <a:cxn ang="0">
                    <a:pos x="T0" y="T1"/>
                  </a:cxn>
                  <a:cxn ang="0">
                    <a:pos x="T2" y="T3"/>
                  </a:cxn>
                  <a:cxn ang="0">
                    <a:pos x="T4" y="T5"/>
                  </a:cxn>
                  <a:cxn ang="0">
                    <a:pos x="T6" y="T7"/>
                  </a:cxn>
                  <a:cxn ang="0">
                    <a:pos x="T8" y="T9"/>
                  </a:cxn>
                </a:cxnLst>
                <a:rect l="0" t="0" r="r" b="b"/>
                <a:pathLst>
                  <a:path w="7" h="2">
                    <a:moveTo>
                      <a:pt x="3" y="0"/>
                    </a:moveTo>
                    <a:cubicBezTo>
                      <a:pt x="2" y="0"/>
                      <a:pt x="1" y="1"/>
                      <a:pt x="0" y="1"/>
                    </a:cubicBezTo>
                    <a:cubicBezTo>
                      <a:pt x="3" y="2"/>
                      <a:pt x="5" y="2"/>
                      <a:pt x="7" y="2"/>
                    </a:cubicBezTo>
                    <a:cubicBezTo>
                      <a:pt x="7" y="2"/>
                      <a:pt x="6" y="1"/>
                      <a:pt x="5"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183"/>
              <p:cNvSpPr/>
              <p:nvPr/>
            </p:nvSpPr>
            <p:spPr bwMode="auto">
              <a:xfrm>
                <a:off x="4666" y="3492"/>
                <a:ext cx="5" cy="24"/>
              </a:xfrm>
              <a:custGeom>
                <a:gdLst>
                  <a:gd name="T0" fmla="*/ 0 w 2"/>
                  <a:gd name="T1" fmla="*/ 0 h 10"/>
                  <a:gd name="T2" fmla="*/ 0 w 2"/>
                  <a:gd name="T3" fmla="*/ 0 h 10"/>
                  <a:gd name="T4" fmla="*/ 0 w 2"/>
                  <a:gd name="T5" fmla="*/ 0 h 10"/>
                  <a:gd name="T6" fmla="*/ 2 w 2"/>
                  <a:gd name="T7" fmla="*/ 10 h 10"/>
                  <a:gd name="T8" fmla="*/ 2 w 2"/>
                  <a:gd name="T9" fmla="*/ 6 h 10"/>
                  <a:gd name="T10" fmla="*/ 1 w 2"/>
                  <a:gd name="T11" fmla="*/ 5 h 10"/>
                  <a:gd name="T12" fmla="*/ 1 w 2"/>
                  <a:gd name="T13" fmla="*/ 3 h 10"/>
                  <a:gd name="T14" fmla="*/ 0 w 2"/>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0" y="0"/>
                    </a:moveTo>
                    <a:cubicBezTo>
                      <a:pt x="0" y="0"/>
                      <a:pt x="0" y="0"/>
                      <a:pt x="0" y="0"/>
                    </a:cubicBezTo>
                    <a:cubicBezTo>
                      <a:pt x="0" y="0"/>
                      <a:pt x="0" y="0"/>
                      <a:pt x="0" y="0"/>
                    </a:cubicBezTo>
                    <a:cubicBezTo>
                      <a:pt x="1" y="3"/>
                      <a:pt x="1" y="7"/>
                      <a:pt x="2" y="10"/>
                    </a:cubicBezTo>
                    <a:cubicBezTo>
                      <a:pt x="2" y="9"/>
                      <a:pt x="2" y="7"/>
                      <a:pt x="2" y="6"/>
                    </a:cubicBezTo>
                    <a:cubicBezTo>
                      <a:pt x="2" y="6"/>
                      <a:pt x="1" y="5"/>
                      <a:pt x="1" y="5"/>
                    </a:cubicBezTo>
                    <a:cubicBezTo>
                      <a:pt x="1" y="4"/>
                      <a:pt x="1" y="4"/>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184"/>
              <p:cNvSpPr/>
              <p:nvPr/>
            </p:nvSpPr>
            <p:spPr bwMode="auto">
              <a:xfrm>
                <a:off x="5135" y="3267"/>
                <a:ext cx="11" cy="3"/>
              </a:xfrm>
              <a:custGeom>
                <a:gdLst>
                  <a:gd name="T0" fmla="*/ 0 w 5"/>
                  <a:gd name="T1" fmla="*/ 0 h 1"/>
                  <a:gd name="T2" fmla="*/ 4 w 5"/>
                  <a:gd name="T3" fmla="*/ 1 h 1"/>
                  <a:gd name="T4" fmla="*/ 5 w 5"/>
                  <a:gd name="T5" fmla="*/ 1 h 1"/>
                  <a:gd name="T6" fmla="*/ 0 w 5"/>
                  <a:gd name="T7" fmla="*/ 0 h 1"/>
                </a:gdLst>
                <a:cxnLst>
                  <a:cxn ang="0">
                    <a:pos x="T0" y="T1"/>
                  </a:cxn>
                  <a:cxn ang="0">
                    <a:pos x="T2" y="T3"/>
                  </a:cxn>
                  <a:cxn ang="0">
                    <a:pos x="T4" y="T5"/>
                  </a:cxn>
                  <a:cxn ang="0">
                    <a:pos x="T6" y="T7"/>
                  </a:cxn>
                </a:cxnLst>
                <a:rect l="0" t="0" r="r" b="b"/>
                <a:pathLst>
                  <a:path w="5" h="1">
                    <a:moveTo>
                      <a:pt x="0" y="0"/>
                    </a:moveTo>
                    <a:cubicBezTo>
                      <a:pt x="1" y="1"/>
                      <a:pt x="2" y="1"/>
                      <a:pt x="4" y="1"/>
                    </a:cubicBezTo>
                    <a:cubicBezTo>
                      <a:pt x="4" y="1"/>
                      <a:pt x="4" y="1"/>
                      <a:pt x="5" y="1"/>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185"/>
              <p:cNvSpPr/>
              <p:nvPr/>
            </p:nvSpPr>
            <p:spPr bwMode="auto">
              <a:xfrm>
                <a:off x="3245" y="2080"/>
                <a:ext cx="10" cy="11"/>
              </a:xfrm>
              <a:custGeom>
                <a:gdLst>
                  <a:gd name="T0" fmla="*/ 2 w 4"/>
                  <a:gd name="T1" fmla="*/ 0 h 5"/>
                  <a:gd name="T2" fmla="*/ 1 w 4"/>
                  <a:gd name="T3" fmla="*/ 4 h 5"/>
                  <a:gd name="T4" fmla="*/ 4 w 4"/>
                  <a:gd name="T5" fmla="*/ 5 h 5"/>
                  <a:gd name="T6" fmla="*/ 2 w 4"/>
                  <a:gd name="T7" fmla="*/ 0 h 5"/>
                </a:gdLst>
                <a:cxnLst>
                  <a:cxn ang="0">
                    <a:pos x="T0" y="T1"/>
                  </a:cxn>
                  <a:cxn ang="0">
                    <a:pos x="T2" y="T3"/>
                  </a:cxn>
                  <a:cxn ang="0">
                    <a:pos x="T4" y="T5"/>
                  </a:cxn>
                  <a:cxn ang="0">
                    <a:pos x="T6" y="T7"/>
                  </a:cxn>
                </a:cxnLst>
                <a:rect l="0" t="0" r="r" b="b"/>
                <a:pathLst>
                  <a:path w="4" h="5">
                    <a:moveTo>
                      <a:pt x="2" y="0"/>
                    </a:moveTo>
                    <a:cubicBezTo>
                      <a:pt x="0" y="2"/>
                      <a:pt x="0" y="3"/>
                      <a:pt x="1" y="4"/>
                    </a:cubicBezTo>
                    <a:cubicBezTo>
                      <a:pt x="2" y="5"/>
                      <a:pt x="3" y="5"/>
                      <a:pt x="4" y="5"/>
                    </a:cubicBezTo>
                    <a:cubicBezTo>
                      <a:pt x="4"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186"/>
              <p:cNvSpPr/>
              <p:nvPr/>
            </p:nvSpPr>
            <p:spPr bwMode="auto">
              <a:xfrm>
                <a:off x="3269" y="2096"/>
                <a:ext cx="16" cy="29"/>
              </a:xfrm>
              <a:custGeom>
                <a:gdLst>
                  <a:gd name="T0" fmla="*/ 4 w 7"/>
                  <a:gd name="T1" fmla="*/ 0 h 12"/>
                  <a:gd name="T2" fmla="*/ 1 w 7"/>
                  <a:gd name="T3" fmla="*/ 2 h 12"/>
                  <a:gd name="T4" fmla="*/ 0 w 7"/>
                  <a:gd name="T5" fmla="*/ 3 h 12"/>
                  <a:gd name="T6" fmla="*/ 0 w 7"/>
                  <a:gd name="T7" fmla="*/ 3 h 12"/>
                  <a:gd name="T8" fmla="*/ 0 w 7"/>
                  <a:gd name="T9" fmla="*/ 4 h 12"/>
                  <a:gd name="T10" fmla="*/ 0 w 7"/>
                  <a:gd name="T11" fmla="*/ 4 h 12"/>
                  <a:gd name="T12" fmla="*/ 1 w 7"/>
                  <a:gd name="T13" fmla="*/ 6 h 12"/>
                  <a:gd name="T14" fmla="*/ 3 w 7"/>
                  <a:gd name="T15" fmla="*/ 7 h 12"/>
                  <a:gd name="T16" fmla="*/ 4 w 7"/>
                  <a:gd name="T17" fmla="*/ 11 h 12"/>
                  <a:gd name="T18" fmla="*/ 6 w 7"/>
                  <a:gd name="T19" fmla="*/ 12 h 12"/>
                  <a:gd name="T20" fmla="*/ 7 w 7"/>
                  <a:gd name="T21" fmla="*/ 12 h 12"/>
                  <a:gd name="T22" fmla="*/ 1 w 7"/>
                  <a:gd name="T23" fmla="*/ 5 h 12"/>
                  <a:gd name="T24" fmla="*/ 1 w 7"/>
                  <a:gd name="T25" fmla="*/ 5 h 12"/>
                  <a:gd name="T26" fmla="*/ 2 w 7"/>
                  <a:gd name="T27" fmla="*/ 4 h 12"/>
                  <a:gd name="T28" fmla="*/ 2 w 7"/>
                  <a:gd name="T29" fmla="*/ 4 h 12"/>
                  <a:gd name="T30" fmla="*/ 4 w 7"/>
                  <a:gd name="T31"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12">
                    <a:moveTo>
                      <a:pt x="4" y="0"/>
                    </a:moveTo>
                    <a:cubicBezTo>
                      <a:pt x="3" y="0"/>
                      <a:pt x="1" y="1"/>
                      <a:pt x="1" y="2"/>
                    </a:cubicBezTo>
                    <a:cubicBezTo>
                      <a:pt x="1" y="2"/>
                      <a:pt x="0" y="3"/>
                      <a:pt x="0" y="3"/>
                    </a:cubicBezTo>
                    <a:cubicBezTo>
                      <a:pt x="0" y="3"/>
                      <a:pt x="0" y="3"/>
                      <a:pt x="0" y="3"/>
                    </a:cubicBezTo>
                    <a:cubicBezTo>
                      <a:pt x="0" y="4"/>
                      <a:pt x="0" y="4"/>
                      <a:pt x="0" y="4"/>
                    </a:cubicBezTo>
                    <a:cubicBezTo>
                      <a:pt x="0" y="4"/>
                      <a:pt x="0" y="4"/>
                      <a:pt x="0" y="4"/>
                    </a:cubicBezTo>
                    <a:cubicBezTo>
                      <a:pt x="0" y="5"/>
                      <a:pt x="0" y="5"/>
                      <a:pt x="1" y="6"/>
                    </a:cubicBezTo>
                    <a:cubicBezTo>
                      <a:pt x="1" y="6"/>
                      <a:pt x="2" y="6"/>
                      <a:pt x="3" y="7"/>
                    </a:cubicBezTo>
                    <a:cubicBezTo>
                      <a:pt x="3" y="8"/>
                      <a:pt x="4" y="10"/>
                      <a:pt x="4" y="11"/>
                    </a:cubicBezTo>
                    <a:cubicBezTo>
                      <a:pt x="4" y="11"/>
                      <a:pt x="5" y="12"/>
                      <a:pt x="6" y="12"/>
                    </a:cubicBezTo>
                    <a:cubicBezTo>
                      <a:pt x="6" y="12"/>
                      <a:pt x="6" y="12"/>
                      <a:pt x="7" y="12"/>
                    </a:cubicBezTo>
                    <a:cubicBezTo>
                      <a:pt x="5" y="10"/>
                      <a:pt x="4" y="5"/>
                      <a:pt x="1" y="5"/>
                    </a:cubicBezTo>
                    <a:cubicBezTo>
                      <a:pt x="1" y="5"/>
                      <a:pt x="1" y="5"/>
                      <a:pt x="1" y="5"/>
                    </a:cubicBezTo>
                    <a:cubicBezTo>
                      <a:pt x="2" y="4"/>
                      <a:pt x="2" y="4"/>
                      <a:pt x="2" y="4"/>
                    </a:cubicBezTo>
                    <a:cubicBezTo>
                      <a:pt x="2" y="4"/>
                      <a:pt x="2" y="4"/>
                      <a:pt x="2" y="4"/>
                    </a:cubicBezTo>
                    <a:cubicBezTo>
                      <a:pt x="4" y="3"/>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187"/>
              <p:cNvSpPr>
                <a:spLocks noEditPoints="1"/>
              </p:cNvSpPr>
              <p:nvPr/>
            </p:nvSpPr>
            <p:spPr bwMode="auto">
              <a:xfrm>
                <a:off x="4785" y="3324"/>
                <a:ext cx="19" cy="14"/>
              </a:xfrm>
              <a:custGeom>
                <a:gdLst>
                  <a:gd name="T0" fmla="*/ 8 w 8"/>
                  <a:gd name="T1" fmla="*/ 0 h 6"/>
                  <a:gd name="T2" fmla="*/ 7 w 8"/>
                  <a:gd name="T3" fmla="*/ 0 h 6"/>
                  <a:gd name="T4" fmla="*/ 6 w 8"/>
                  <a:gd name="T5" fmla="*/ 1 h 6"/>
                  <a:gd name="T6" fmla="*/ 1 w 8"/>
                  <a:gd name="T7" fmla="*/ 4 h 6"/>
                  <a:gd name="T8" fmla="*/ 0 w 8"/>
                  <a:gd name="T9" fmla="*/ 6 h 6"/>
                  <a:gd name="T10" fmla="*/ 6 w 8"/>
                  <a:gd name="T11" fmla="*/ 1 h 6"/>
                  <a:gd name="T12" fmla="*/ 8 w 8"/>
                  <a:gd name="T13" fmla="*/ 0 h 6"/>
                  <a:gd name="T14" fmla="*/ 8 w 8"/>
                  <a:gd name="T15" fmla="*/ 0 h 6"/>
                  <a:gd name="T16" fmla="*/ 8 w 8"/>
                  <a:gd name="T17" fmla="*/ 0 h 6"/>
                  <a:gd name="T18" fmla="*/ 8 w 8"/>
                  <a:gd name="T19" fmla="*/ 0 h 6"/>
                  <a:gd name="T20" fmla="*/ 8 w 8"/>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6">
                    <a:moveTo>
                      <a:pt x="8" y="0"/>
                    </a:moveTo>
                    <a:cubicBezTo>
                      <a:pt x="7" y="0"/>
                      <a:pt x="7" y="0"/>
                      <a:pt x="7" y="0"/>
                    </a:cubicBezTo>
                    <a:cubicBezTo>
                      <a:pt x="6" y="1"/>
                      <a:pt x="6" y="1"/>
                      <a:pt x="6" y="1"/>
                    </a:cubicBezTo>
                    <a:cubicBezTo>
                      <a:pt x="5" y="2"/>
                      <a:pt x="3" y="3"/>
                      <a:pt x="1" y="4"/>
                    </a:cubicBezTo>
                    <a:cubicBezTo>
                      <a:pt x="1" y="4"/>
                      <a:pt x="0" y="5"/>
                      <a:pt x="0" y="6"/>
                    </a:cubicBezTo>
                    <a:cubicBezTo>
                      <a:pt x="2" y="4"/>
                      <a:pt x="4" y="3"/>
                      <a:pt x="6" y="1"/>
                    </a:cubicBezTo>
                    <a:cubicBezTo>
                      <a:pt x="7" y="1"/>
                      <a:pt x="7" y="0"/>
                      <a:pt x="8" y="0"/>
                    </a:cubicBezTo>
                    <a:moveTo>
                      <a:pt x="8" y="0"/>
                    </a:moveTo>
                    <a:cubicBezTo>
                      <a:pt x="8" y="0"/>
                      <a:pt x="8" y="0"/>
                      <a:pt x="8" y="0"/>
                    </a:cubicBezTo>
                    <a:cubicBezTo>
                      <a:pt x="8" y="0"/>
                      <a:pt x="8"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188"/>
              <p:cNvSpPr/>
              <p:nvPr/>
            </p:nvSpPr>
            <p:spPr bwMode="auto">
              <a:xfrm>
                <a:off x="5494" y="3490"/>
                <a:ext cx="7" cy="7"/>
              </a:xfrm>
              <a:custGeom>
                <a:gdLst>
                  <a:gd name="T0" fmla="*/ 0 w 3"/>
                  <a:gd name="T1" fmla="*/ 0 h 3"/>
                  <a:gd name="T2" fmla="*/ 2 w 3"/>
                  <a:gd name="T3" fmla="*/ 3 h 3"/>
                  <a:gd name="T4" fmla="*/ 2 w 3"/>
                  <a:gd name="T5" fmla="*/ 3 h 3"/>
                  <a:gd name="T6" fmla="*/ 3 w 3"/>
                  <a:gd name="T7" fmla="*/ 3 h 3"/>
                  <a:gd name="T8" fmla="*/ 3 w 3"/>
                  <a:gd name="T9" fmla="*/ 2 h 3"/>
                  <a:gd name="T10" fmla="*/ 3 w 3"/>
                  <a:gd name="T11" fmla="*/ 2 h 3"/>
                  <a:gd name="T12" fmla="*/ 3 w 3"/>
                  <a:gd name="T13" fmla="*/ 2 h 3"/>
                  <a:gd name="T14" fmla="*/ 0 w 3"/>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cubicBezTo>
                      <a:pt x="0" y="2"/>
                      <a:pt x="1" y="3"/>
                      <a:pt x="2" y="3"/>
                    </a:cubicBezTo>
                    <a:cubicBezTo>
                      <a:pt x="2" y="3"/>
                      <a:pt x="2" y="3"/>
                      <a:pt x="2" y="3"/>
                    </a:cubicBezTo>
                    <a:cubicBezTo>
                      <a:pt x="3" y="3"/>
                      <a:pt x="3" y="3"/>
                      <a:pt x="3" y="3"/>
                    </a:cubicBezTo>
                    <a:cubicBezTo>
                      <a:pt x="3" y="2"/>
                      <a:pt x="3" y="2"/>
                      <a:pt x="3" y="2"/>
                    </a:cubicBezTo>
                    <a:cubicBezTo>
                      <a:pt x="3" y="2"/>
                      <a:pt x="3" y="2"/>
                      <a:pt x="3" y="2"/>
                    </a:cubicBezTo>
                    <a:cubicBezTo>
                      <a:pt x="3" y="2"/>
                      <a:pt x="3"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189"/>
              <p:cNvSpPr/>
              <p:nvPr/>
            </p:nvSpPr>
            <p:spPr bwMode="auto">
              <a:xfrm flipH="1">
                <a:off x="5161" y="3267"/>
                <a:ext cx="0" cy="3"/>
              </a:xfrm>
              <a:custGeom>
                <a:gdLst>
                  <a:gd name="T0" fmla="*/ 0 h 1"/>
                  <a:gd name="T1" fmla="*/ 1 h 1"/>
                  <a:gd name="T2" fmla="*/ 1 h 1"/>
                  <a:gd name="T3" fmla="*/ 0 h 1"/>
                </a:gd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190"/>
              <p:cNvSpPr/>
              <p:nvPr/>
            </p:nvSpPr>
            <p:spPr bwMode="auto">
              <a:xfrm>
                <a:off x="4690" y="3378"/>
                <a:ext cx="24" cy="19"/>
              </a:xfrm>
              <a:custGeom>
                <a:gdLst>
                  <a:gd name="T0" fmla="*/ 10 w 10"/>
                  <a:gd name="T1" fmla="*/ 0 h 8"/>
                  <a:gd name="T2" fmla="*/ 9 w 10"/>
                  <a:gd name="T3" fmla="*/ 1 h 8"/>
                  <a:gd name="T4" fmla="*/ 8 w 10"/>
                  <a:gd name="T5" fmla="*/ 1 h 8"/>
                  <a:gd name="T6" fmla="*/ 7 w 10"/>
                  <a:gd name="T7" fmla="*/ 2 h 8"/>
                  <a:gd name="T8" fmla="*/ 3 w 10"/>
                  <a:gd name="T9" fmla="*/ 4 h 8"/>
                  <a:gd name="T10" fmla="*/ 1 w 10"/>
                  <a:gd name="T11" fmla="*/ 6 h 8"/>
                  <a:gd name="T12" fmla="*/ 0 w 10"/>
                  <a:gd name="T13" fmla="*/ 8 h 8"/>
                  <a:gd name="T14" fmla="*/ 10 w 10"/>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cubicBezTo>
                      <a:pt x="9" y="1"/>
                      <a:pt x="9" y="1"/>
                      <a:pt x="9" y="1"/>
                    </a:cubicBezTo>
                    <a:cubicBezTo>
                      <a:pt x="8" y="1"/>
                      <a:pt x="8" y="1"/>
                      <a:pt x="8" y="1"/>
                    </a:cubicBezTo>
                    <a:cubicBezTo>
                      <a:pt x="7" y="2"/>
                      <a:pt x="7" y="2"/>
                      <a:pt x="7" y="2"/>
                    </a:cubicBezTo>
                    <a:cubicBezTo>
                      <a:pt x="6" y="2"/>
                      <a:pt x="5" y="3"/>
                      <a:pt x="3" y="4"/>
                    </a:cubicBezTo>
                    <a:cubicBezTo>
                      <a:pt x="2" y="5"/>
                      <a:pt x="2" y="5"/>
                      <a:pt x="1" y="6"/>
                    </a:cubicBezTo>
                    <a:cubicBezTo>
                      <a:pt x="1" y="6"/>
                      <a:pt x="0" y="7"/>
                      <a:pt x="0" y="8"/>
                    </a:cubicBezTo>
                    <a:cubicBezTo>
                      <a:pt x="1" y="8"/>
                      <a:pt x="10"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191"/>
              <p:cNvSpPr/>
              <p:nvPr/>
            </p:nvSpPr>
            <p:spPr bwMode="auto">
              <a:xfrm>
                <a:off x="3255" y="2075"/>
                <a:ext cx="11" cy="7"/>
              </a:xfrm>
              <a:custGeom>
                <a:gdLst>
                  <a:gd name="T0" fmla="*/ 3 w 5"/>
                  <a:gd name="T1" fmla="*/ 0 h 3"/>
                  <a:gd name="T2" fmla="*/ 1 w 5"/>
                  <a:gd name="T3" fmla="*/ 0 h 3"/>
                  <a:gd name="T4" fmla="*/ 0 w 5"/>
                  <a:gd name="T5" fmla="*/ 2 h 3"/>
                  <a:gd name="T6" fmla="*/ 0 w 5"/>
                  <a:gd name="T7" fmla="*/ 2 h 3"/>
                  <a:gd name="T8" fmla="*/ 3 w 5"/>
                  <a:gd name="T9" fmla="*/ 3 h 3"/>
                  <a:gd name="T10" fmla="*/ 4 w 5"/>
                  <a:gd name="T11" fmla="*/ 3 h 3"/>
                  <a:gd name="T12" fmla="*/ 3 w 5"/>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5" h="3">
                    <a:moveTo>
                      <a:pt x="3" y="0"/>
                    </a:moveTo>
                    <a:cubicBezTo>
                      <a:pt x="2" y="0"/>
                      <a:pt x="2" y="0"/>
                      <a:pt x="1" y="0"/>
                    </a:cubicBezTo>
                    <a:cubicBezTo>
                      <a:pt x="1" y="1"/>
                      <a:pt x="0" y="1"/>
                      <a:pt x="0" y="2"/>
                    </a:cubicBezTo>
                    <a:cubicBezTo>
                      <a:pt x="0" y="2"/>
                      <a:pt x="0" y="2"/>
                      <a:pt x="0" y="2"/>
                    </a:cubicBezTo>
                    <a:cubicBezTo>
                      <a:pt x="0" y="2"/>
                      <a:pt x="1" y="3"/>
                      <a:pt x="3" y="3"/>
                    </a:cubicBezTo>
                    <a:cubicBezTo>
                      <a:pt x="3" y="3"/>
                      <a:pt x="4" y="3"/>
                      <a:pt x="4" y="3"/>
                    </a:cubicBezTo>
                    <a:cubicBezTo>
                      <a:pt x="5" y="2"/>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192"/>
              <p:cNvSpPr>
                <a:spLocks noChangeArrowheads="1"/>
              </p:cNvSpPr>
              <p:nvPr/>
            </p:nvSpPr>
            <p:spPr bwMode="auto">
              <a:xfrm>
                <a:off x="5109" y="327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193"/>
              <p:cNvSpPr/>
              <p:nvPr/>
            </p:nvSpPr>
            <p:spPr bwMode="auto">
              <a:xfrm flipH="1">
                <a:off x="5109" y="3274"/>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194"/>
              <p:cNvSpPr>
                <a:spLocks noEditPoints="1"/>
              </p:cNvSpPr>
              <p:nvPr/>
            </p:nvSpPr>
            <p:spPr bwMode="auto">
              <a:xfrm>
                <a:off x="5229" y="3260"/>
                <a:ext cx="24" cy="2"/>
              </a:xfrm>
              <a:custGeom>
                <a:gdLst>
                  <a:gd name="T0" fmla="*/ 0 w 10"/>
                  <a:gd name="T1" fmla="*/ 1 h 1"/>
                  <a:gd name="T2" fmla="*/ 0 w 10"/>
                  <a:gd name="T3" fmla="*/ 1 h 1"/>
                  <a:gd name="T4" fmla="*/ 0 w 10"/>
                  <a:gd name="T5" fmla="*/ 1 h 1"/>
                  <a:gd name="T6" fmla="*/ 7 w 10"/>
                  <a:gd name="T7" fmla="*/ 0 h 1"/>
                  <a:gd name="T8" fmla="*/ 0 w 10"/>
                  <a:gd name="T9" fmla="*/ 1 h 1"/>
                  <a:gd name="T10" fmla="*/ 10 w 10"/>
                  <a:gd name="T11" fmla="*/ 0 h 1"/>
                  <a:gd name="T12" fmla="*/ 8 w 10"/>
                  <a:gd name="T13" fmla="*/ 0 h 1"/>
                  <a:gd name="T14" fmla="*/ 7 w 10"/>
                  <a:gd name="T15" fmla="*/ 0 h 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
                    <a:moveTo>
                      <a:pt x="0" y="1"/>
                    </a:moveTo>
                    <a:cubicBezTo>
                      <a:pt x="0" y="1"/>
                      <a:pt x="0" y="1"/>
                      <a:pt x="0" y="1"/>
                    </a:cubicBezTo>
                    <a:cubicBezTo>
                      <a:pt x="0" y="1"/>
                      <a:pt x="0" y="1"/>
                      <a:pt x="0" y="1"/>
                    </a:cubicBezTo>
                    <a:moveTo>
                      <a:pt x="7" y="0"/>
                    </a:moveTo>
                    <a:cubicBezTo>
                      <a:pt x="5" y="0"/>
                      <a:pt x="2" y="1"/>
                      <a:pt x="0" y="1"/>
                    </a:cubicBezTo>
                    <a:cubicBezTo>
                      <a:pt x="3" y="0"/>
                      <a:pt x="7" y="0"/>
                      <a:pt x="10" y="0"/>
                    </a:cubicBezTo>
                    <a:cubicBezTo>
                      <a:pt x="10" y="0"/>
                      <a:pt x="9" y="0"/>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195"/>
              <p:cNvSpPr/>
              <p:nvPr/>
            </p:nvSpPr>
            <p:spPr bwMode="auto">
              <a:xfrm>
                <a:off x="5213" y="3262"/>
                <a:ext cx="16" cy="3"/>
              </a:xfrm>
              <a:custGeom>
                <a:gdLst>
                  <a:gd name="T0" fmla="*/ 7 w 7"/>
                  <a:gd name="T1" fmla="*/ 0 h 1"/>
                  <a:gd name="T2" fmla="*/ 2 w 7"/>
                  <a:gd name="T3" fmla="*/ 0 h 1"/>
                  <a:gd name="T4" fmla="*/ 0 w 7"/>
                  <a:gd name="T5" fmla="*/ 0 h 1"/>
                  <a:gd name="T6" fmla="*/ 2 w 7"/>
                  <a:gd name="T7" fmla="*/ 1 h 1"/>
                  <a:gd name="T8" fmla="*/ 7 w 7"/>
                  <a:gd name="T9" fmla="*/ 0 h 1"/>
                </a:gdLst>
                <a:cxnLst>
                  <a:cxn ang="0">
                    <a:pos x="T0" y="T1"/>
                  </a:cxn>
                  <a:cxn ang="0">
                    <a:pos x="T2" y="T3"/>
                  </a:cxn>
                  <a:cxn ang="0">
                    <a:pos x="T4" y="T5"/>
                  </a:cxn>
                  <a:cxn ang="0">
                    <a:pos x="T6" y="T7"/>
                  </a:cxn>
                  <a:cxn ang="0">
                    <a:pos x="T8" y="T9"/>
                  </a:cxn>
                </a:cxnLst>
                <a:rect l="0" t="0" r="r" b="b"/>
                <a:pathLst>
                  <a:path w="7" h="1">
                    <a:moveTo>
                      <a:pt x="7" y="0"/>
                    </a:moveTo>
                    <a:cubicBezTo>
                      <a:pt x="5" y="0"/>
                      <a:pt x="3" y="0"/>
                      <a:pt x="2" y="0"/>
                    </a:cubicBezTo>
                    <a:cubicBezTo>
                      <a:pt x="1" y="0"/>
                      <a:pt x="1" y="0"/>
                      <a:pt x="0" y="0"/>
                    </a:cubicBezTo>
                    <a:cubicBezTo>
                      <a:pt x="1" y="1"/>
                      <a:pt x="1" y="1"/>
                      <a:pt x="2" y="1"/>
                    </a:cubicBezTo>
                    <a:cubicBezTo>
                      <a:pt x="3" y="1"/>
                      <a:pt x="5"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196"/>
              <p:cNvSpPr>
                <a:spLocks noEditPoints="1"/>
              </p:cNvSpPr>
              <p:nvPr/>
            </p:nvSpPr>
            <p:spPr bwMode="auto">
              <a:xfrm>
                <a:off x="4716" y="3376"/>
                <a:ext cx="5" cy="2"/>
              </a:xfrm>
              <a:custGeom>
                <a:gdLst>
                  <a:gd name="T0" fmla="*/ 1 w 2"/>
                  <a:gd name="T1" fmla="*/ 1 h 1"/>
                  <a:gd name="T2" fmla="*/ 0 w 2"/>
                  <a:gd name="T3" fmla="*/ 1 h 1"/>
                  <a:gd name="T4" fmla="*/ 1 w 2"/>
                  <a:gd name="T5" fmla="*/ 1 h 1"/>
                  <a:gd name="T6" fmla="*/ 2 w 2"/>
                  <a:gd name="T7" fmla="*/ 0 h 1"/>
                  <a:gd name="T8" fmla="*/ 1 w 2"/>
                  <a:gd name="T9" fmla="*/ 1 h 1"/>
                  <a:gd name="T10" fmla="*/ 2 w 2"/>
                  <a:gd name="T11" fmla="*/ 0 h 1"/>
                  <a:gd name="T12" fmla="*/ 2 w 2"/>
                  <a:gd name="T13" fmla="*/ 0 h 1"/>
                </a:gd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0" y="1"/>
                      <a:pt x="0" y="1"/>
                    </a:cubicBezTo>
                    <a:cubicBezTo>
                      <a:pt x="0" y="1"/>
                      <a:pt x="1" y="1"/>
                      <a:pt x="1" y="1"/>
                    </a:cubicBezTo>
                    <a:moveTo>
                      <a:pt x="2" y="0"/>
                    </a:moveTo>
                    <a:cubicBezTo>
                      <a:pt x="2" y="0"/>
                      <a:pt x="1" y="0"/>
                      <a:pt x="1" y="1"/>
                    </a:cubicBezTo>
                    <a:cubicBezTo>
                      <a:pt x="1" y="0"/>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197"/>
              <p:cNvSpPr/>
              <p:nvPr/>
            </p:nvSpPr>
            <p:spPr bwMode="auto">
              <a:xfrm>
                <a:off x="4659" y="3442"/>
                <a:ext cx="3" cy="7"/>
              </a:xfrm>
              <a:custGeom>
                <a:gdLst>
                  <a:gd name="T0" fmla="*/ 1 w 1"/>
                  <a:gd name="T1" fmla="*/ 0 h 3"/>
                  <a:gd name="T2" fmla="*/ 0 w 1"/>
                  <a:gd name="T3" fmla="*/ 2 h 3"/>
                  <a:gd name="T4" fmla="*/ 0 w 1"/>
                  <a:gd name="T5" fmla="*/ 2 h 3"/>
                  <a:gd name="T6" fmla="*/ 0 w 1"/>
                  <a:gd name="T7" fmla="*/ 2 h 3"/>
                  <a:gd name="T8" fmla="*/ 0 w 1"/>
                  <a:gd name="T9" fmla="*/ 3 h 3"/>
                  <a:gd name="T10" fmla="*/ 1 w 1"/>
                  <a:gd name="T11" fmla="*/ 0 h 3"/>
                </a:gdLst>
                <a:cxnLst>
                  <a:cxn ang="0">
                    <a:pos x="T0" y="T1"/>
                  </a:cxn>
                  <a:cxn ang="0">
                    <a:pos x="T2" y="T3"/>
                  </a:cxn>
                  <a:cxn ang="0">
                    <a:pos x="T4" y="T5"/>
                  </a:cxn>
                  <a:cxn ang="0">
                    <a:pos x="T6" y="T7"/>
                  </a:cxn>
                  <a:cxn ang="0">
                    <a:pos x="T8" y="T9"/>
                  </a:cxn>
                  <a:cxn ang="0">
                    <a:pos x="T10" y="T11"/>
                  </a:cxn>
                </a:cxnLst>
                <a:rect l="0" t="0" r="r" b="b"/>
                <a:pathLst>
                  <a:path w="1" h="3">
                    <a:moveTo>
                      <a:pt x="1" y="0"/>
                    </a:moveTo>
                    <a:cubicBezTo>
                      <a:pt x="1" y="1"/>
                      <a:pt x="1" y="1"/>
                      <a:pt x="0" y="2"/>
                    </a:cubicBezTo>
                    <a:cubicBezTo>
                      <a:pt x="0" y="2"/>
                      <a:pt x="0" y="2"/>
                      <a:pt x="0" y="2"/>
                    </a:cubicBezTo>
                    <a:cubicBezTo>
                      <a:pt x="0" y="2"/>
                      <a:pt x="0" y="2"/>
                      <a:pt x="0" y="2"/>
                    </a:cubicBezTo>
                    <a:cubicBezTo>
                      <a:pt x="0" y="3"/>
                      <a:pt x="0" y="3"/>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198"/>
              <p:cNvSpPr/>
              <p:nvPr/>
            </p:nvSpPr>
            <p:spPr bwMode="auto">
              <a:xfrm flipH="1">
                <a:off x="4659" y="3447"/>
                <a:ext cx="0" cy="2"/>
              </a:xfrm>
              <a:custGeom>
                <a:gdLst>
                  <a:gd name="T0" fmla="*/ 0 h 2"/>
                  <a:gd name="T1" fmla="*/ 2 h 2"/>
                  <a:gd name="T2" fmla="*/ 0 h 2"/>
                </a:gdLst>
                <a:cxnLst>
                  <a:cxn ang="0">
                    <a:pos x="0" y="T0"/>
                  </a:cxn>
                  <a:cxn ang="0">
                    <a:pos x="0" y="T1"/>
                  </a:cxn>
                  <a:cxn ang="0">
                    <a:pos x="0" y="T2"/>
                  </a:cxn>
                </a:cxnLst>
                <a:rect l="0" t="0" r="r" b="b"/>
                <a:pathLst>
                  <a:path h="2">
                    <a:moveTo>
                      <a:pt x="0" y="0"/>
                    </a:move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199"/>
              <p:cNvSpPr/>
              <p:nvPr/>
            </p:nvSpPr>
            <p:spPr bwMode="auto">
              <a:xfrm flipH="1">
                <a:off x="4659" y="3447"/>
                <a:ext cx="0" cy="2"/>
              </a:xfrm>
              <a:custGeom>
                <a:gdLst>
                  <a:gd name="T0" fmla="*/ 0 h 2"/>
                  <a:gd name="T1" fmla="*/ 2 h 2"/>
                  <a:gd name="T2" fmla="*/ 0 h 2"/>
                </a:gdLst>
                <a:cxnLst>
                  <a:cxn ang="0">
                    <a:pos x="0" y="T0"/>
                  </a:cxn>
                  <a:cxn ang="0">
                    <a:pos x="0" y="T1"/>
                  </a:cxn>
                  <a:cxn ang="0">
                    <a:pos x="0" y="T2"/>
                  </a:cxn>
                </a:cxnLst>
                <a:rect l="0" t="0" r="r" b="b"/>
                <a:pathLst>
                  <a:path h="2">
                    <a:moveTo>
                      <a:pt x="0" y="0"/>
                    </a:move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200"/>
              <p:cNvSpPr/>
              <p:nvPr/>
            </p:nvSpPr>
            <p:spPr bwMode="auto">
              <a:xfrm>
                <a:off x="4662" y="3414"/>
                <a:ext cx="16" cy="28"/>
              </a:xfrm>
              <a:custGeom>
                <a:gdLst>
                  <a:gd name="T0" fmla="*/ 7 w 7"/>
                  <a:gd name="T1" fmla="*/ 0 h 12"/>
                  <a:gd name="T2" fmla="*/ 0 w 7"/>
                  <a:gd name="T3" fmla="*/ 12 h 12"/>
                  <a:gd name="T4" fmla="*/ 7 w 7"/>
                  <a:gd name="T5" fmla="*/ 0 h 12"/>
                </a:gdLst>
                <a:cxnLst>
                  <a:cxn ang="0">
                    <a:pos x="T0" y="T1"/>
                  </a:cxn>
                  <a:cxn ang="0">
                    <a:pos x="T2" y="T3"/>
                  </a:cxn>
                  <a:cxn ang="0">
                    <a:pos x="T4" y="T5"/>
                  </a:cxn>
                </a:cxnLst>
                <a:rect l="0" t="0" r="r" b="b"/>
                <a:pathLst>
                  <a:path w="7" h="12">
                    <a:moveTo>
                      <a:pt x="7" y="0"/>
                    </a:moveTo>
                    <a:cubicBezTo>
                      <a:pt x="4" y="4"/>
                      <a:pt x="2" y="8"/>
                      <a:pt x="0" y="12"/>
                    </a:cubicBezTo>
                    <a:cubicBezTo>
                      <a:pt x="2" y="8"/>
                      <a:pt x="4"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201"/>
              <p:cNvSpPr/>
              <p:nvPr/>
            </p:nvSpPr>
            <p:spPr bwMode="auto">
              <a:xfrm>
                <a:off x="5582" y="3561"/>
                <a:ext cx="16" cy="21"/>
              </a:xfrm>
              <a:custGeom>
                <a:gdLst>
                  <a:gd name="T0" fmla="*/ 7 w 7"/>
                  <a:gd name="T1" fmla="*/ 0 h 9"/>
                  <a:gd name="T2" fmla="*/ 2 w 7"/>
                  <a:gd name="T3" fmla="*/ 7 h 9"/>
                  <a:gd name="T4" fmla="*/ 0 w 7"/>
                  <a:gd name="T5" fmla="*/ 8 h 9"/>
                  <a:gd name="T6" fmla="*/ 0 w 7"/>
                  <a:gd name="T7" fmla="*/ 9 h 9"/>
                  <a:gd name="T8" fmla="*/ 7 w 7"/>
                  <a:gd name="T9" fmla="*/ 0 h 9"/>
                </a:gdLst>
                <a:cxnLst>
                  <a:cxn ang="0">
                    <a:pos x="T0" y="T1"/>
                  </a:cxn>
                  <a:cxn ang="0">
                    <a:pos x="T2" y="T3"/>
                  </a:cxn>
                  <a:cxn ang="0">
                    <a:pos x="T4" y="T5"/>
                  </a:cxn>
                  <a:cxn ang="0">
                    <a:pos x="T6" y="T7"/>
                  </a:cxn>
                  <a:cxn ang="0">
                    <a:pos x="T8" y="T9"/>
                  </a:cxn>
                </a:cxnLst>
                <a:rect l="0" t="0" r="r" b="b"/>
                <a:pathLst>
                  <a:path w="7" h="9">
                    <a:moveTo>
                      <a:pt x="7" y="0"/>
                    </a:moveTo>
                    <a:cubicBezTo>
                      <a:pt x="5" y="2"/>
                      <a:pt x="4" y="4"/>
                      <a:pt x="2" y="7"/>
                    </a:cubicBezTo>
                    <a:cubicBezTo>
                      <a:pt x="1" y="7"/>
                      <a:pt x="1" y="8"/>
                      <a:pt x="0" y="8"/>
                    </a:cubicBezTo>
                    <a:cubicBezTo>
                      <a:pt x="0" y="9"/>
                      <a:pt x="0" y="9"/>
                      <a:pt x="0" y="9"/>
                    </a:cubicBezTo>
                    <a:cubicBezTo>
                      <a:pt x="3" y="7"/>
                      <a:pt x="5"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202"/>
              <p:cNvSpPr/>
              <p:nvPr/>
            </p:nvSpPr>
            <p:spPr bwMode="auto">
              <a:xfrm>
                <a:off x="3929" y="3572"/>
                <a:ext cx="9" cy="15"/>
              </a:xfrm>
              <a:custGeom>
                <a:gdLst>
                  <a:gd name="T0" fmla="*/ 0 w 4"/>
                  <a:gd name="T1" fmla="*/ 0 h 6"/>
                  <a:gd name="T2" fmla="*/ 2 w 4"/>
                  <a:gd name="T3" fmla="*/ 5 h 6"/>
                  <a:gd name="T4" fmla="*/ 3 w 4"/>
                  <a:gd name="T5" fmla="*/ 6 h 6"/>
                  <a:gd name="T6" fmla="*/ 3 w 4"/>
                  <a:gd name="T7" fmla="*/ 6 h 6"/>
                  <a:gd name="T8" fmla="*/ 3 w 4"/>
                  <a:gd name="T9" fmla="*/ 6 h 6"/>
                  <a:gd name="T10" fmla="*/ 4 w 4"/>
                  <a:gd name="T11" fmla="*/ 6 h 6"/>
                  <a:gd name="T12" fmla="*/ 0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0" y="0"/>
                    </a:moveTo>
                    <a:cubicBezTo>
                      <a:pt x="1" y="3"/>
                      <a:pt x="1" y="4"/>
                      <a:pt x="2" y="5"/>
                    </a:cubicBezTo>
                    <a:cubicBezTo>
                      <a:pt x="2" y="6"/>
                      <a:pt x="3" y="6"/>
                      <a:pt x="3" y="6"/>
                    </a:cubicBezTo>
                    <a:cubicBezTo>
                      <a:pt x="3" y="6"/>
                      <a:pt x="3" y="6"/>
                      <a:pt x="3" y="6"/>
                    </a:cubicBezTo>
                    <a:cubicBezTo>
                      <a:pt x="3" y="6"/>
                      <a:pt x="3" y="6"/>
                      <a:pt x="3" y="6"/>
                    </a:cubicBezTo>
                    <a:cubicBezTo>
                      <a:pt x="3" y="6"/>
                      <a:pt x="3" y="6"/>
                      <a:pt x="4" y="6"/>
                    </a:cubicBezTo>
                    <a:cubicBezTo>
                      <a:pt x="3"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203"/>
              <p:cNvSpPr/>
              <p:nvPr/>
            </p:nvSpPr>
            <p:spPr bwMode="auto">
              <a:xfrm>
                <a:off x="3974" y="3617"/>
                <a:ext cx="4" cy="12"/>
              </a:xfrm>
              <a:custGeom>
                <a:gdLst>
                  <a:gd name="T0" fmla="*/ 0 w 2"/>
                  <a:gd name="T1" fmla="*/ 0 h 5"/>
                  <a:gd name="T2" fmla="*/ 2 w 2"/>
                  <a:gd name="T3" fmla="*/ 5 h 5"/>
                  <a:gd name="T4" fmla="*/ 0 w 2"/>
                  <a:gd name="T5" fmla="*/ 0 h 5"/>
                </a:gdLst>
                <a:cxnLst>
                  <a:cxn ang="0">
                    <a:pos x="T0" y="T1"/>
                  </a:cxn>
                  <a:cxn ang="0">
                    <a:pos x="T2" y="T3"/>
                  </a:cxn>
                  <a:cxn ang="0">
                    <a:pos x="T4" y="T5"/>
                  </a:cxn>
                </a:cxnLst>
                <a:rect l="0" t="0" r="r" b="b"/>
                <a:pathLst>
                  <a:path w="2" h="5">
                    <a:moveTo>
                      <a:pt x="0" y="0"/>
                    </a:moveTo>
                    <a:cubicBezTo>
                      <a:pt x="0" y="2"/>
                      <a:pt x="1" y="4"/>
                      <a:pt x="2" y="5"/>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04"/>
              <p:cNvSpPr/>
              <p:nvPr/>
            </p:nvSpPr>
            <p:spPr bwMode="auto">
              <a:xfrm>
                <a:off x="5227" y="3835"/>
                <a:ext cx="16" cy="19"/>
              </a:xfrm>
              <a:custGeom>
                <a:gdLst>
                  <a:gd name="T0" fmla="*/ 7 w 7"/>
                  <a:gd name="T1" fmla="*/ 0 h 8"/>
                  <a:gd name="T2" fmla="*/ 6 w 7"/>
                  <a:gd name="T3" fmla="*/ 0 h 8"/>
                  <a:gd name="T4" fmla="*/ 6 w 7"/>
                  <a:gd name="T5" fmla="*/ 1 h 8"/>
                  <a:gd name="T6" fmla="*/ 3 w 7"/>
                  <a:gd name="T7" fmla="*/ 1 h 8"/>
                  <a:gd name="T8" fmla="*/ 2 w 7"/>
                  <a:gd name="T9" fmla="*/ 1 h 8"/>
                  <a:gd name="T10" fmla="*/ 1 w 7"/>
                  <a:gd name="T11" fmla="*/ 8 h 8"/>
                  <a:gd name="T12" fmla="*/ 6 w 7"/>
                  <a:gd name="T13" fmla="*/ 1 h 8"/>
                  <a:gd name="T14" fmla="*/ 7 w 7"/>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7" y="0"/>
                    </a:moveTo>
                    <a:cubicBezTo>
                      <a:pt x="6" y="0"/>
                      <a:pt x="6" y="0"/>
                      <a:pt x="6" y="0"/>
                    </a:cubicBezTo>
                    <a:cubicBezTo>
                      <a:pt x="6" y="1"/>
                      <a:pt x="6" y="1"/>
                      <a:pt x="6" y="1"/>
                    </a:cubicBezTo>
                    <a:cubicBezTo>
                      <a:pt x="5" y="1"/>
                      <a:pt x="4" y="1"/>
                      <a:pt x="3" y="1"/>
                    </a:cubicBezTo>
                    <a:cubicBezTo>
                      <a:pt x="3" y="1"/>
                      <a:pt x="3" y="1"/>
                      <a:pt x="2" y="1"/>
                    </a:cubicBezTo>
                    <a:cubicBezTo>
                      <a:pt x="0" y="3"/>
                      <a:pt x="0" y="6"/>
                      <a:pt x="1" y="8"/>
                    </a:cubicBezTo>
                    <a:cubicBezTo>
                      <a:pt x="3" y="6"/>
                      <a:pt x="5" y="3"/>
                      <a:pt x="6" y="1"/>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05"/>
              <p:cNvSpPr/>
              <p:nvPr/>
            </p:nvSpPr>
            <p:spPr bwMode="auto">
              <a:xfrm>
                <a:off x="3948" y="3608"/>
                <a:ext cx="2" cy="7"/>
              </a:xfrm>
              <a:custGeom>
                <a:gdLst>
                  <a:gd name="T0" fmla="*/ 0 w 1"/>
                  <a:gd name="T1" fmla="*/ 0 h 3"/>
                  <a:gd name="T2" fmla="*/ 0 w 1"/>
                  <a:gd name="T3" fmla="*/ 0 h 3"/>
                  <a:gd name="T4" fmla="*/ 1 w 1"/>
                  <a:gd name="T5" fmla="*/ 3 h 3"/>
                  <a:gd name="T6" fmla="*/ 1 w 1"/>
                  <a:gd name="T7" fmla="*/ 0 h 3"/>
                  <a:gd name="T8" fmla="*/ 1 w 1"/>
                  <a:gd name="T9" fmla="*/ 0 h 3"/>
                  <a:gd name="T10" fmla="*/ 1 w 1"/>
                  <a:gd name="T11" fmla="*/ 0 h 3"/>
                  <a:gd name="T12" fmla="*/ 0 w 1"/>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cubicBezTo>
                      <a:pt x="0" y="0"/>
                      <a:pt x="0" y="0"/>
                      <a:pt x="0" y="0"/>
                    </a:cubicBezTo>
                    <a:cubicBezTo>
                      <a:pt x="0" y="0"/>
                      <a:pt x="0" y="2"/>
                      <a:pt x="1" y="3"/>
                    </a:cubicBezTo>
                    <a:cubicBezTo>
                      <a:pt x="1" y="2"/>
                      <a:pt x="1" y="1"/>
                      <a:pt x="1" y="0"/>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06"/>
              <p:cNvSpPr/>
              <p:nvPr/>
            </p:nvSpPr>
            <p:spPr bwMode="auto">
              <a:xfrm>
                <a:off x="3810" y="3362"/>
                <a:ext cx="5" cy="7"/>
              </a:xfrm>
              <a:custGeom>
                <a:gdLst>
                  <a:gd name="T0" fmla="*/ 0 w 2"/>
                  <a:gd name="T1" fmla="*/ 0 h 3"/>
                  <a:gd name="T2" fmla="*/ 2 w 2"/>
                  <a:gd name="T3" fmla="*/ 3 h 3"/>
                  <a:gd name="T4" fmla="*/ 1 w 2"/>
                  <a:gd name="T5" fmla="*/ 1 h 3"/>
                  <a:gd name="T6" fmla="*/ 1 w 2"/>
                  <a:gd name="T7" fmla="*/ 1 h 3"/>
                  <a:gd name="T8" fmla="*/ 0 w 2"/>
                  <a:gd name="T9" fmla="*/ 0 h 3"/>
                </a:gdLst>
                <a:cxnLst>
                  <a:cxn ang="0">
                    <a:pos x="T0" y="T1"/>
                  </a:cxn>
                  <a:cxn ang="0">
                    <a:pos x="T2" y="T3"/>
                  </a:cxn>
                  <a:cxn ang="0">
                    <a:pos x="T4" y="T5"/>
                  </a:cxn>
                  <a:cxn ang="0">
                    <a:pos x="T6" y="T7"/>
                  </a:cxn>
                  <a:cxn ang="0">
                    <a:pos x="T8" y="T9"/>
                  </a:cxn>
                </a:cxnLst>
                <a:rect l="0" t="0" r="r" b="b"/>
                <a:pathLst>
                  <a:path w="2" h="3">
                    <a:moveTo>
                      <a:pt x="0" y="0"/>
                    </a:moveTo>
                    <a:cubicBezTo>
                      <a:pt x="1" y="1"/>
                      <a:pt x="1" y="2"/>
                      <a:pt x="2" y="3"/>
                    </a:cubicBezTo>
                    <a:cubicBezTo>
                      <a:pt x="2" y="2"/>
                      <a:pt x="1" y="1"/>
                      <a:pt x="1" y="1"/>
                    </a:cubicBezTo>
                    <a:cubicBezTo>
                      <a:pt x="1" y="1"/>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07"/>
              <p:cNvSpPr/>
              <p:nvPr/>
            </p:nvSpPr>
            <p:spPr bwMode="auto">
              <a:xfrm>
                <a:off x="3900" y="3516"/>
                <a:ext cx="10" cy="14"/>
              </a:xfrm>
              <a:custGeom>
                <a:gdLst>
                  <a:gd name="T0" fmla="*/ 4 w 4"/>
                  <a:gd name="T1" fmla="*/ 0 h 6"/>
                  <a:gd name="T2" fmla="*/ 1 w 4"/>
                  <a:gd name="T3" fmla="*/ 2 h 6"/>
                  <a:gd name="T4" fmla="*/ 0 w 4"/>
                  <a:gd name="T5" fmla="*/ 4 h 6"/>
                  <a:gd name="T6" fmla="*/ 0 w 4"/>
                  <a:gd name="T7" fmla="*/ 4 h 6"/>
                  <a:gd name="T8" fmla="*/ 0 w 4"/>
                  <a:gd name="T9" fmla="*/ 4 h 6"/>
                  <a:gd name="T10" fmla="*/ 1 w 4"/>
                  <a:gd name="T11" fmla="*/ 6 h 6"/>
                  <a:gd name="T12" fmla="*/ 1 w 4"/>
                  <a:gd name="T13" fmla="*/ 6 h 6"/>
                  <a:gd name="T14" fmla="*/ 1 w 4"/>
                  <a:gd name="T15" fmla="*/ 6 h 6"/>
                  <a:gd name="T16" fmla="*/ 1 w 4"/>
                  <a:gd name="T17" fmla="*/ 6 h 6"/>
                  <a:gd name="T18" fmla="*/ 4 w 4"/>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cubicBezTo>
                      <a:pt x="2" y="1"/>
                      <a:pt x="1" y="1"/>
                      <a:pt x="1" y="2"/>
                    </a:cubicBezTo>
                    <a:cubicBezTo>
                      <a:pt x="1" y="3"/>
                      <a:pt x="0" y="3"/>
                      <a:pt x="0" y="4"/>
                    </a:cubicBezTo>
                    <a:cubicBezTo>
                      <a:pt x="0" y="4"/>
                      <a:pt x="0" y="4"/>
                      <a:pt x="0" y="4"/>
                    </a:cubicBezTo>
                    <a:cubicBezTo>
                      <a:pt x="0" y="4"/>
                      <a:pt x="0" y="4"/>
                      <a:pt x="0" y="4"/>
                    </a:cubicBezTo>
                    <a:cubicBezTo>
                      <a:pt x="0" y="5"/>
                      <a:pt x="0" y="5"/>
                      <a:pt x="1" y="6"/>
                    </a:cubicBezTo>
                    <a:cubicBezTo>
                      <a:pt x="1" y="6"/>
                      <a:pt x="1" y="6"/>
                      <a:pt x="1" y="6"/>
                    </a:cubicBezTo>
                    <a:cubicBezTo>
                      <a:pt x="1" y="6"/>
                      <a:pt x="1" y="6"/>
                      <a:pt x="1" y="6"/>
                    </a:cubicBezTo>
                    <a:cubicBezTo>
                      <a:pt x="1" y="6"/>
                      <a:pt x="1" y="6"/>
                      <a:pt x="1" y="6"/>
                    </a:cubicBezTo>
                    <a:cubicBezTo>
                      <a:pt x="2"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208"/>
              <p:cNvSpPr/>
              <p:nvPr/>
            </p:nvSpPr>
            <p:spPr bwMode="auto">
              <a:xfrm>
                <a:off x="3843" y="3563"/>
                <a:ext cx="10" cy="42"/>
              </a:xfrm>
              <a:custGeom>
                <a:gdLst>
                  <a:gd name="T0" fmla="*/ 3 w 4"/>
                  <a:gd name="T1" fmla="*/ 0 h 18"/>
                  <a:gd name="T2" fmla="*/ 1 w 4"/>
                  <a:gd name="T3" fmla="*/ 5 h 18"/>
                  <a:gd name="T4" fmla="*/ 0 w 4"/>
                  <a:gd name="T5" fmla="*/ 11 h 18"/>
                  <a:gd name="T6" fmla="*/ 2 w 4"/>
                  <a:gd name="T7" fmla="*/ 15 h 18"/>
                  <a:gd name="T8" fmla="*/ 2 w 4"/>
                  <a:gd name="T9" fmla="*/ 16 h 18"/>
                  <a:gd name="T10" fmla="*/ 4 w 4"/>
                  <a:gd name="T11" fmla="*/ 18 h 18"/>
                  <a:gd name="T12" fmla="*/ 2 w 4"/>
                  <a:gd name="T13" fmla="*/ 11 h 18"/>
                  <a:gd name="T14" fmla="*/ 2 w 4"/>
                  <a:gd name="T15" fmla="*/ 6 h 18"/>
                  <a:gd name="T16" fmla="*/ 2 w 4"/>
                  <a:gd name="T17" fmla="*/ 5 h 18"/>
                  <a:gd name="T18" fmla="*/ 3 w 4"/>
                  <a:gd name="T19" fmla="*/ 1 h 18"/>
                  <a:gd name="T20" fmla="*/ 3 w 4"/>
                  <a:gd name="T2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8">
                    <a:moveTo>
                      <a:pt x="3" y="0"/>
                    </a:moveTo>
                    <a:cubicBezTo>
                      <a:pt x="2" y="2"/>
                      <a:pt x="2" y="3"/>
                      <a:pt x="1" y="5"/>
                    </a:cubicBezTo>
                    <a:cubicBezTo>
                      <a:pt x="1" y="7"/>
                      <a:pt x="0" y="9"/>
                      <a:pt x="0" y="11"/>
                    </a:cubicBezTo>
                    <a:cubicBezTo>
                      <a:pt x="1" y="12"/>
                      <a:pt x="2" y="13"/>
                      <a:pt x="2" y="15"/>
                    </a:cubicBezTo>
                    <a:cubicBezTo>
                      <a:pt x="2" y="15"/>
                      <a:pt x="2" y="15"/>
                      <a:pt x="2" y="16"/>
                    </a:cubicBezTo>
                    <a:cubicBezTo>
                      <a:pt x="3" y="17"/>
                      <a:pt x="4" y="18"/>
                      <a:pt x="4" y="18"/>
                    </a:cubicBezTo>
                    <a:cubicBezTo>
                      <a:pt x="4" y="16"/>
                      <a:pt x="3" y="12"/>
                      <a:pt x="2" y="11"/>
                    </a:cubicBezTo>
                    <a:cubicBezTo>
                      <a:pt x="2" y="9"/>
                      <a:pt x="2" y="8"/>
                      <a:pt x="2" y="6"/>
                    </a:cubicBezTo>
                    <a:cubicBezTo>
                      <a:pt x="2" y="5"/>
                      <a:pt x="2" y="5"/>
                      <a:pt x="2" y="5"/>
                    </a:cubicBezTo>
                    <a:cubicBezTo>
                      <a:pt x="2" y="4"/>
                      <a:pt x="3" y="3"/>
                      <a:pt x="3" y="1"/>
                    </a:cubicBezTo>
                    <a:cubicBezTo>
                      <a:pt x="3"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Freeform 210"/>
            <p:cNvSpPr/>
            <p:nvPr/>
          </p:nvSpPr>
          <p:spPr bwMode="auto">
            <a:xfrm>
              <a:off x="6251566" y="7468422"/>
              <a:ext cx="3175" cy="14288"/>
            </a:xfrm>
            <a:custGeom>
              <a:gdLst>
                <a:gd name="T0" fmla="*/ 1 w 1"/>
                <a:gd name="T1" fmla="*/ 0 h 4"/>
                <a:gd name="T2" fmla="*/ 0 w 1"/>
                <a:gd name="T3" fmla="*/ 1 h 4"/>
                <a:gd name="T4" fmla="*/ 0 w 1"/>
                <a:gd name="T5" fmla="*/ 1 h 4"/>
                <a:gd name="T6" fmla="*/ 0 w 1"/>
                <a:gd name="T7" fmla="*/ 2 h 4"/>
                <a:gd name="T8" fmla="*/ 0 w 1"/>
                <a:gd name="T9" fmla="*/ 2 h 4"/>
                <a:gd name="T10" fmla="*/ 0 w 1"/>
                <a:gd name="T11" fmla="*/ 3 h 4"/>
                <a:gd name="T12" fmla="*/ 1 w 1"/>
                <a:gd name="T13" fmla="*/ 4 h 4"/>
                <a:gd name="T14" fmla="*/ 1 w 1"/>
                <a:gd name="T15" fmla="*/ 3 h 4"/>
                <a:gd name="T16" fmla="*/ 1 w 1"/>
                <a:gd name="T17" fmla="*/ 3 h 4"/>
                <a:gd name="T18" fmla="*/ 1 w 1"/>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4">
                  <a:moveTo>
                    <a:pt x="1" y="0"/>
                  </a:moveTo>
                  <a:cubicBezTo>
                    <a:pt x="0" y="0"/>
                    <a:pt x="0" y="1"/>
                    <a:pt x="0" y="1"/>
                  </a:cubicBezTo>
                  <a:cubicBezTo>
                    <a:pt x="0" y="1"/>
                    <a:pt x="0" y="1"/>
                    <a:pt x="0" y="1"/>
                  </a:cubicBezTo>
                  <a:cubicBezTo>
                    <a:pt x="0" y="2"/>
                    <a:pt x="0" y="2"/>
                    <a:pt x="0" y="2"/>
                  </a:cubicBezTo>
                  <a:cubicBezTo>
                    <a:pt x="0" y="2"/>
                    <a:pt x="0" y="2"/>
                    <a:pt x="0" y="2"/>
                  </a:cubicBezTo>
                  <a:cubicBezTo>
                    <a:pt x="0" y="3"/>
                    <a:pt x="0" y="3"/>
                    <a:pt x="0" y="3"/>
                  </a:cubicBezTo>
                  <a:cubicBezTo>
                    <a:pt x="0" y="3"/>
                    <a:pt x="1" y="3"/>
                    <a:pt x="1" y="4"/>
                  </a:cubicBezTo>
                  <a:cubicBezTo>
                    <a:pt x="1" y="3"/>
                    <a:pt x="1" y="3"/>
                    <a:pt x="1" y="3"/>
                  </a:cubicBezTo>
                  <a:cubicBezTo>
                    <a:pt x="1" y="3"/>
                    <a:pt x="1" y="3"/>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11"/>
            <p:cNvSpPr/>
            <p:nvPr/>
          </p:nvSpPr>
          <p:spPr bwMode="auto">
            <a:xfrm>
              <a:off x="10545754" y="3550472"/>
              <a:ext cx="30163" cy="38100"/>
            </a:xfrm>
            <a:custGeom>
              <a:gdLst>
                <a:gd name="T0" fmla="*/ 6 w 8"/>
                <a:gd name="T1" fmla="*/ 0 h 10"/>
                <a:gd name="T2" fmla="*/ 0 w 8"/>
                <a:gd name="T3" fmla="*/ 8 h 10"/>
                <a:gd name="T4" fmla="*/ 3 w 8"/>
                <a:gd name="T5" fmla="*/ 7 h 10"/>
                <a:gd name="T6" fmla="*/ 3 w 8"/>
                <a:gd name="T7" fmla="*/ 7 h 10"/>
                <a:gd name="T8" fmla="*/ 7 w 8"/>
                <a:gd name="T9" fmla="*/ 10 h 10"/>
                <a:gd name="T10" fmla="*/ 7 w 8"/>
                <a:gd name="T11" fmla="*/ 9 h 10"/>
                <a:gd name="T12" fmla="*/ 8 w 8"/>
                <a:gd name="T13" fmla="*/ 9 h 10"/>
                <a:gd name="T14" fmla="*/ 8 w 8"/>
                <a:gd name="T15" fmla="*/ 8 h 10"/>
                <a:gd name="T16" fmla="*/ 8 w 8"/>
                <a:gd name="T17" fmla="*/ 6 h 10"/>
                <a:gd name="T18" fmla="*/ 6 w 8"/>
                <a:gd name="T19" fmla="*/ 5 h 10"/>
                <a:gd name="T20" fmla="*/ 4 w 8"/>
                <a:gd name="T21" fmla="*/ 5 h 10"/>
                <a:gd name="T22" fmla="*/ 4 w 8"/>
                <a:gd name="T23" fmla="*/ 5 h 10"/>
                <a:gd name="T24" fmla="*/ 3 w 8"/>
                <a:gd name="T25" fmla="*/ 5 h 10"/>
                <a:gd name="T26" fmla="*/ 5 w 8"/>
                <a:gd name="T27" fmla="*/ 2 h 10"/>
                <a:gd name="T28" fmla="*/ 5 w 8"/>
                <a:gd name="T29" fmla="*/ 2 h 10"/>
                <a:gd name="T30" fmla="*/ 6 w 8"/>
                <a:gd name="T31" fmla="*/ 3 h 10"/>
                <a:gd name="T32" fmla="*/ 6 w 8"/>
                <a:gd name="T33" fmla="*/ 3 h 10"/>
                <a:gd name="T34" fmla="*/ 6 w 8"/>
                <a:gd name="T35" fmla="*/ 2 h 10"/>
                <a:gd name="T36" fmla="*/ 8 w 8"/>
                <a:gd name="T37" fmla="*/ 0 h 10"/>
                <a:gd name="T38" fmla="*/ 6 w 8"/>
                <a:gd name="T3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10">
                  <a:moveTo>
                    <a:pt x="6" y="0"/>
                  </a:moveTo>
                  <a:cubicBezTo>
                    <a:pt x="2" y="0"/>
                    <a:pt x="1" y="3"/>
                    <a:pt x="0" y="8"/>
                  </a:cubicBezTo>
                  <a:cubicBezTo>
                    <a:pt x="1" y="7"/>
                    <a:pt x="2" y="7"/>
                    <a:pt x="3" y="7"/>
                  </a:cubicBezTo>
                  <a:cubicBezTo>
                    <a:pt x="3" y="7"/>
                    <a:pt x="3" y="7"/>
                    <a:pt x="3" y="7"/>
                  </a:cubicBezTo>
                  <a:cubicBezTo>
                    <a:pt x="4" y="7"/>
                    <a:pt x="5" y="10"/>
                    <a:pt x="7" y="10"/>
                  </a:cubicBezTo>
                  <a:cubicBezTo>
                    <a:pt x="7" y="10"/>
                    <a:pt x="7" y="10"/>
                    <a:pt x="7" y="9"/>
                  </a:cubicBezTo>
                  <a:cubicBezTo>
                    <a:pt x="8" y="9"/>
                    <a:pt x="8" y="9"/>
                    <a:pt x="8" y="9"/>
                  </a:cubicBezTo>
                  <a:cubicBezTo>
                    <a:pt x="8" y="8"/>
                    <a:pt x="8" y="8"/>
                    <a:pt x="8" y="8"/>
                  </a:cubicBezTo>
                  <a:cubicBezTo>
                    <a:pt x="8" y="7"/>
                    <a:pt x="8" y="6"/>
                    <a:pt x="8" y="6"/>
                  </a:cubicBezTo>
                  <a:cubicBezTo>
                    <a:pt x="7" y="5"/>
                    <a:pt x="7" y="5"/>
                    <a:pt x="6" y="5"/>
                  </a:cubicBezTo>
                  <a:cubicBezTo>
                    <a:pt x="5" y="5"/>
                    <a:pt x="5" y="5"/>
                    <a:pt x="4" y="5"/>
                  </a:cubicBezTo>
                  <a:cubicBezTo>
                    <a:pt x="4" y="5"/>
                    <a:pt x="4" y="5"/>
                    <a:pt x="4" y="5"/>
                  </a:cubicBezTo>
                  <a:cubicBezTo>
                    <a:pt x="4" y="5"/>
                    <a:pt x="3" y="5"/>
                    <a:pt x="3" y="5"/>
                  </a:cubicBezTo>
                  <a:cubicBezTo>
                    <a:pt x="4" y="4"/>
                    <a:pt x="4" y="4"/>
                    <a:pt x="5" y="2"/>
                  </a:cubicBezTo>
                  <a:cubicBezTo>
                    <a:pt x="5" y="2"/>
                    <a:pt x="5" y="2"/>
                    <a:pt x="5" y="2"/>
                  </a:cubicBezTo>
                  <a:cubicBezTo>
                    <a:pt x="6" y="3"/>
                    <a:pt x="6" y="3"/>
                    <a:pt x="6" y="3"/>
                  </a:cubicBezTo>
                  <a:cubicBezTo>
                    <a:pt x="6" y="3"/>
                    <a:pt x="6" y="3"/>
                    <a:pt x="6" y="3"/>
                  </a:cubicBezTo>
                  <a:cubicBezTo>
                    <a:pt x="6" y="2"/>
                    <a:pt x="6" y="2"/>
                    <a:pt x="6" y="2"/>
                  </a:cubicBezTo>
                  <a:cubicBezTo>
                    <a:pt x="7" y="2"/>
                    <a:pt x="8" y="1"/>
                    <a:pt x="8"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12"/>
            <p:cNvSpPr/>
            <p:nvPr/>
          </p:nvSpPr>
          <p:spPr bwMode="auto">
            <a:xfrm>
              <a:off x="4559291" y="3791772"/>
              <a:ext cx="25400" cy="14288"/>
            </a:xfrm>
            <a:custGeom>
              <a:gdLst>
                <a:gd name="T0" fmla="*/ 6 w 7"/>
                <a:gd name="T1" fmla="*/ 0 h 4"/>
                <a:gd name="T2" fmla="*/ 3 w 7"/>
                <a:gd name="T3" fmla="*/ 1 h 4"/>
                <a:gd name="T4" fmla="*/ 2 w 7"/>
                <a:gd name="T5" fmla="*/ 2 h 4"/>
                <a:gd name="T6" fmla="*/ 0 w 7"/>
                <a:gd name="T7" fmla="*/ 4 h 4"/>
                <a:gd name="T8" fmla="*/ 2 w 7"/>
                <a:gd name="T9" fmla="*/ 4 h 4"/>
                <a:gd name="T10" fmla="*/ 3 w 7"/>
                <a:gd name="T11" fmla="*/ 3 h 4"/>
                <a:gd name="T12" fmla="*/ 7 w 7"/>
                <a:gd name="T13" fmla="*/ 0 h 4"/>
                <a:gd name="T14" fmla="*/ 6 w 7"/>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6" y="0"/>
                  </a:moveTo>
                  <a:cubicBezTo>
                    <a:pt x="5" y="0"/>
                    <a:pt x="4" y="1"/>
                    <a:pt x="3" y="1"/>
                  </a:cubicBezTo>
                  <a:cubicBezTo>
                    <a:pt x="3" y="1"/>
                    <a:pt x="3" y="2"/>
                    <a:pt x="2" y="2"/>
                  </a:cubicBezTo>
                  <a:cubicBezTo>
                    <a:pt x="1" y="3"/>
                    <a:pt x="0" y="3"/>
                    <a:pt x="0" y="4"/>
                  </a:cubicBezTo>
                  <a:cubicBezTo>
                    <a:pt x="1" y="4"/>
                    <a:pt x="1" y="4"/>
                    <a:pt x="2" y="4"/>
                  </a:cubicBezTo>
                  <a:cubicBezTo>
                    <a:pt x="3" y="3"/>
                    <a:pt x="3" y="3"/>
                    <a:pt x="3" y="3"/>
                  </a:cubicBezTo>
                  <a:cubicBezTo>
                    <a:pt x="4" y="3"/>
                    <a:pt x="6" y="2"/>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13"/>
            <p:cNvSpPr/>
            <p:nvPr/>
          </p:nvSpPr>
          <p:spPr bwMode="auto">
            <a:xfrm>
              <a:off x="3784591" y="1793109"/>
              <a:ext cx="38100" cy="19050"/>
            </a:xfrm>
            <a:custGeom>
              <a:gdLst>
                <a:gd name="T0" fmla="*/ 5 w 10"/>
                <a:gd name="T1" fmla="*/ 0 h 5"/>
                <a:gd name="T2" fmla="*/ 0 w 10"/>
                <a:gd name="T3" fmla="*/ 3 h 5"/>
                <a:gd name="T4" fmla="*/ 1 w 10"/>
                <a:gd name="T5" fmla="*/ 3 h 5"/>
                <a:gd name="T6" fmla="*/ 2 w 10"/>
                <a:gd name="T7" fmla="*/ 4 h 5"/>
                <a:gd name="T8" fmla="*/ 5 w 10"/>
                <a:gd name="T9" fmla="*/ 5 h 5"/>
                <a:gd name="T10" fmla="*/ 5 w 10"/>
                <a:gd name="T11" fmla="*/ 4 h 5"/>
                <a:gd name="T12" fmla="*/ 6 w 10"/>
                <a:gd name="T13" fmla="*/ 4 h 5"/>
                <a:gd name="T14" fmla="*/ 8 w 10"/>
                <a:gd name="T15" fmla="*/ 3 h 5"/>
                <a:gd name="T16" fmla="*/ 10 w 10"/>
                <a:gd name="T17" fmla="*/ 2 h 5"/>
                <a:gd name="T18" fmla="*/ 10 w 10"/>
                <a:gd name="T19" fmla="*/ 2 h 5"/>
                <a:gd name="T20" fmla="*/ 5 w 10"/>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5">
                  <a:moveTo>
                    <a:pt x="5" y="0"/>
                  </a:moveTo>
                  <a:cubicBezTo>
                    <a:pt x="4" y="0"/>
                    <a:pt x="2" y="1"/>
                    <a:pt x="0" y="3"/>
                  </a:cubicBezTo>
                  <a:cubicBezTo>
                    <a:pt x="1" y="3"/>
                    <a:pt x="1" y="3"/>
                    <a:pt x="1" y="3"/>
                  </a:cubicBezTo>
                  <a:cubicBezTo>
                    <a:pt x="1" y="3"/>
                    <a:pt x="2" y="4"/>
                    <a:pt x="2" y="4"/>
                  </a:cubicBezTo>
                  <a:cubicBezTo>
                    <a:pt x="3" y="4"/>
                    <a:pt x="4" y="4"/>
                    <a:pt x="5" y="5"/>
                  </a:cubicBezTo>
                  <a:cubicBezTo>
                    <a:pt x="5" y="4"/>
                    <a:pt x="5" y="4"/>
                    <a:pt x="5" y="4"/>
                  </a:cubicBezTo>
                  <a:cubicBezTo>
                    <a:pt x="6" y="4"/>
                    <a:pt x="6" y="4"/>
                    <a:pt x="6" y="4"/>
                  </a:cubicBezTo>
                  <a:cubicBezTo>
                    <a:pt x="7" y="3"/>
                    <a:pt x="7" y="3"/>
                    <a:pt x="8" y="3"/>
                  </a:cubicBezTo>
                  <a:cubicBezTo>
                    <a:pt x="9" y="2"/>
                    <a:pt x="9" y="2"/>
                    <a:pt x="10" y="2"/>
                  </a:cubicBezTo>
                  <a:cubicBezTo>
                    <a:pt x="10" y="2"/>
                    <a:pt x="10" y="2"/>
                    <a:pt x="10" y="2"/>
                  </a:cubicBezTo>
                  <a:cubicBezTo>
                    <a:pt x="9"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14"/>
            <p:cNvSpPr/>
            <p:nvPr/>
          </p:nvSpPr>
          <p:spPr bwMode="auto">
            <a:xfrm>
              <a:off x="6243629" y="1962972"/>
              <a:ext cx="34925" cy="6350"/>
            </a:xfrm>
            <a:custGeom>
              <a:gdLst>
                <a:gd name="T0" fmla="*/ 6 w 9"/>
                <a:gd name="T1" fmla="*/ 0 h 2"/>
                <a:gd name="T2" fmla="*/ 5 w 9"/>
                <a:gd name="T3" fmla="*/ 0 h 2"/>
                <a:gd name="T4" fmla="*/ 0 w 9"/>
                <a:gd name="T5" fmla="*/ 2 h 2"/>
                <a:gd name="T6" fmla="*/ 3 w 9"/>
                <a:gd name="T7" fmla="*/ 2 h 2"/>
                <a:gd name="T8" fmla="*/ 9 w 9"/>
                <a:gd name="T9" fmla="*/ 2 h 2"/>
                <a:gd name="T10" fmla="*/ 6 w 9"/>
                <a:gd name="T11" fmla="*/ 0 h 2"/>
              </a:gdLst>
              <a:cxnLst>
                <a:cxn ang="0">
                  <a:pos x="T0" y="T1"/>
                </a:cxn>
                <a:cxn ang="0">
                  <a:pos x="T2" y="T3"/>
                </a:cxn>
                <a:cxn ang="0">
                  <a:pos x="T4" y="T5"/>
                </a:cxn>
                <a:cxn ang="0">
                  <a:pos x="T6" y="T7"/>
                </a:cxn>
                <a:cxn ang="0">
                  <a:pos x="T8" y="T9"/>
                </a:cxn>
                <a:cxn ang="0">
                  <a:pos x="T10" y="T11"/>
                </a:cxn>
              </a:cxnLst>
              <a:rect l="0" t="0" r="r" b="b"/>
              <a:pathLst>
                <a:path w="9" h="2">
                  <a:moveTo>
                    <a:pt x="6" y="0"/>
                  </a:moveTo>
                  <a:cubicBezTo>
                    <a:pt x="5" y="0"/>
                    <a:pt x="5" y="0"/>
                    <a:pt x="5" y="0"/>
                  </a:cubicBezTo>
                  <a:cubicBezTo>
                    <a:pt x="3" y="0"/>
                    <a:pt x="2" y="1"/>
                    <a:pt x="0" y="2"/>
                  </a:cubicBezTo>
                  <a:cubicBezTo>
                    <a:pt x="1" y="2"/>
                    <a:pt x="2" y="2"/>
                    <a:pt x="3" y="2"/>
                  </a:cubicBezTo>
                  <a:cubicBezTo>
                    <a:pt x="5" y="2"/>
                    <a:pt x="7" y="2"/>
                    <a:pt x="9" y="2"/>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5"/>
            <p:cNvSpPr/>
            <p:nvPr/>
          </p:nvSpPr>
          <p:spPr bwMode="auto">
            <a:xfrm>
              <a:off x="10845791" y="3794947"/>
              <a:ext cx="30163" cy="19050"/>
            </a:xfrm>
            <a:custGeom>
              <a:gdLst>
                <a:gd name="T0" fmla="*/ 7 w 8"/>
                <a:gd name="T1" fmla="*/ 0 h 5"/>
                <a:gd name="T2" fmla="*/ 4 w 8"/>
                <a:gd name="T3" fmla="*/ 1 h 5"/>
                <a:gd name="T4" fmla="*/ 1 w 8"/>
                <a:gd name="T5" fmla="*/ 2 h 5"/>
                <a:gd name="T6" fmla="*/ 1 w 8"/>
                <a:gd name="T7" fmla="*/ 2 h 5"/>
                <a:gd name="T8" fmla="*/ 1 w 8"/>
                <a:gd name="T9" fmla="*/ 2 h 5"/>
                <a:gd name="T10" fmla="*/ 1 w 8"/>
                <a:gd name="T11" fmla="*/ 3 h 5"/>
                <a:gd name="T12" fmla="*/ 4 w 8"/>
                <a:gd name="T13" fmla="*/ 5 h 5"/>
                <a:gd name="T14" fmla="*/ 5 w 8"/>
                <a:gd name="T15" fmla="*/ 5 h 5"/>
                <a:gd name="T16" fmla="*/ 6 w 8"/>
                <a:gd name="T17" fmla="*/ 5 h 5"/>
                <a:gd name="T18" fmla="*/ 7 w 8"/>
                <a:gd name="T19" fmla="*/ 4 h 5"/>
                <a:gd name="T20" fmla="*/ 8 w 8"/>
                <a:gd name="T21" fmla="*/ 2 h 5"/>
                <a:gd name="T22" fmla="*/ 7 w 8"/>
                <a:gd name="T23" fmla="*/ 1 h 5"/>
                <a:gd name="T24" fmla="*/ 7 w 8"/>
                <a:gd name="T25"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5">
                  <a:moveTo>
                    <a:pt x="7" y="0"/>
                  </a:moveTo>
                  <a:cubicBezTo>
                    <a:pt x="7" y="0"/>
                    <a:pt x="5" y="1"/>
                    <a:pt x="4" y="1"/>
                  </a:cubicBezTo>
                  <a:cubicBezTo>
                    <a:pt x="3" y="1"/>
                    <a:pt x="2" y="1"/>
                    <a:pt x="1" y="2"/>
                  </a:cubicBezTo>
                  <a:cubicBezTo>
                    <a:pt x="1" y="2"/>
                    <a:pt x="1" y="2"/>
                    <a:pt x="1" y="2"/>
                  </a:cubicBezTo>
                  <a:cubicBezTo>
                    <a:pt x="1" y="2"/>
                    <a:pt x="1" y="2"/>
                    <a:pt x="1" y="2"/>
                  </a:cubicBezTo>
                  <a:cubicBezTo>
                    <a:pt x="0" y="2"/>
                    <a:pt x="1" y="3"/>
                    <a:pt x="1" y="3"/>
                  </a:cubicBezTo>
                  <a:cubicBezTo>
                    <a:pt x="2" y="5"/>
                    <a:pt x="3" y="5"/>
                    <a:pt x="4" y="5"/>
                  </a:cubicBezTo>
                  <a:cubicBezTo>
                    <a:pt x="4" y="5"/>
                    <a:pt x="5" y="5"/>
                    <a:pt x="5" y="5"/>
                  </a:cubicBezTo>
                  <a:cubicBezTo>
                    <a:pt x="5" y="5"/>
                    <a:pt x="5" y="5"/>
                    <a:pt x="6" y="5"/>
                  </a:cubicBezTo>
                  <a:cubicBezTo>
                    <a:pt x="6" y="5"/>
                    <a:pt x="7" y="5"/>
                    <a:pt x="7" y="4"/>
                  </a:cubicBezTo>
                  <a:cubicBezTo>
                    <a:pt x="8" y="4"/>
                    <a:pt x="8" y="3"/>
                    <a:pt x="8" y="2"/>
                  </a:cubicBezTo>
                  <a:cubicBezTo>
                    <a:pt x="8" y="2"/>
                    <a:pt x="8" y="1"/>
                    <a:pt x="7" y="1"/>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16"/>
            <p:cNvSpPr/>
            <p:nvPr/>
          </p:nvSpPr>
          <p:spPr bwMode="auto">
            <a:xfrm flipH="1">
              <a:off x="8270866" y="7600185"/>
              <a:ext cx="0" cy="6350"/>
            </a:xfrm>
            <a:custGeom>
              <a:gdLst>
                <a:gd name="T0" fmla="*/ 0 h 2"/>
                <a:gd name="T1" fmla="*/ 2 h 2"/>
                <a:gd name="T2" fmla="*/ 2 h 2"/>
                <a:gd name="T3" fmla="*/ 2 h 2"/>
                <a:gd name="T4" fmla="*/ 2 h 2"/>
                <a:gd name="T5" fmla="*/ 1 h 2"/>
                <a:gd name="T6" fmla="*/ 0 h 2"/>
              </a:gdLst>
              <a:cxnLst>
                <a:cxn ang="0">
                  <a:pos x="0" y="T0"/>
                </a:cxn>
                <a:cxn ang="0">
                  <a:pos x="0" y="T1"/>
                </a:cxn>
                <a:cxn ang="0">
                  <a:pos x="0" y="T2"/>
                </a:cxn>
                <a:cxn ang="0">
                  <a:pos x="0" y="T3"/>
                </a:cxn>
                <a:cxn ang="0">
                  <a:pos x="0" y="T4"/>
                </a:cxn>
                <a:cxn ang="0">
                  <a:pos x="0" y="T5"/>
                </a:cxn>
                <a:cxn ang="0">
                  <a:pos x="0" y="T6"/>
                </a:cxn>
              </a:cxnLst>
              <a:rect l="0" t="0" r="r" b="b"/>
              <a:pathLst>
                <a:path h="2">
                  <a:moveTo>
                    <a:pt x="0" y="0"/>
                  </a:moveTo>
                  <a:cubicBezTo>
                    <a:pt x="0" y="1"/>
                    <a:pt x="0" y="1"/>
                    <a:pt x="0" y="2"/>
                  </a:cubicBezTo>
                  <a:cubicBezTo>
                    <a:pt x="0" y="2"/>
                    <a:pt x="0" y="2"/>
                    <a:pt x="0" y="2"/>
                  </a:cubicBezTo>
                  <a:cubicBezTo>
                    <a:pt x="0" y="2"/>
                    <a:pt x="0" y="2"/>
                    <a:pt x="0" y="2"/>
                  </a:cubicBezTo>
                  <a:cubicBezTo>
                    <a:pt x="0" y="2"/>
                    <a:pt x="0" y="2"/>
                    <a:pt x="0" y="2"/>
                  </a:cubicBezTo>
                  <a:cubicBezTo>
                    <a:pt x="0" y="1"/>
                    <a:pt x="0" y="1"/>
                    <a:pt x="0" y="1"/>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17"/>
            <p:cNvSpPr/>
            <p:nvPr/>
          </p:nvSpPr>
          <p:spPr bwMode="auto">
            <a:xfrm>
              <a:off x="8259754" y="7595422"/>
              <a:ext cx="11113" cy="19050"/>
            </a:xfrm>
            <a:custGeom>
              <a:gdLst>
                <a:gd name="T0" fmla="*/ 1 w 3"/>
                <a:gd name="T1" fmla="*/ 0 h 5"/>
                <a:gd name="T2" fmla="*/ 1 w 3"/>
                <a:gd name="T3" fmla="*/ 1 h 5"/>
                <a:gd name="T4" fmla="*/ 1 w 3"/>
                <a:gd name="T5" fmla="*/ 2 h 5"/>
                <a:gd name="T6" fmla="*/ 0 w 3"/>
                <a:gd name="T7" fmla="*/ 5 h 5"/>
                <a:gd name="T8" fmla="*/ 3 w 3"/>
                <a:gd name="T9" fmla="*/ 0 h 5"/>
                <a:gd name="T10" fmla="*/ 2 w 3"/>
                <a:gd name="T11" fmla="*/ 0 h 5"/>
                <a:gd name="T12" fmla="*/ 1 w 3"/>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3" h="5">
                  <a:moveTo>
                    <a:pt x="1" y="0"/>
                  </a:moveTo>
                  <a:cubicBezTo>
                    <a:pt x="1" y="1"/>
                    <a:pt x="1" y="1"/>
                    <a:pt x="1" y="1"/>
                  </a:cubicBezTo>
                  <a:cubicBezTo>
                    <a:pt x="1" y="1"/>
                    <a:pt x="1" y="1"/>
                    <a:pt x="1" y="2"/>
                  </a:cubicBezTo>
                  <a:cubicBezTo>
                    <a:pt x="1" y="3"/>
                    <a:pt x="0" y="4"/>
                    <a:pt x="0" y="5"/>
                  </a:cubicBezTo>
                  <a:cubicBezTo>
                    <a:pt x="1" y="3"/>
                    <a:pt x="2" y="2"/>
                    <a:pt x="3" y="0"/>
                  </a:cubicBezTo>
                  <a:cubicBezTo>
                    <a:pt x="3"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18"/>
            <p:cNvSpPr/>
            <p:nvPr/>
          </p:nvSpPr>
          <p:spPr bwMode="auto">
            <a:xfrm>
              <a:off x="5203816" y="599309"/>
              <a:ext cx="401638" cy="123825"/>
            </a:xfrm>
            <a:custGeom>
              <a:gdLst>
                <a:gd name="T0" fmla="*/ 96 w 107"/>
                <a:gd name="T1" fmla="*/ 0 h 33"/>
                <a:gd name="T2" fmla="*/ 37 w 107"/>
                <a:gd name="T3" fmla="*/ 0 h 33"/>
                <a:gd name="T4" fmla="*/ 36 w 107"/>
                <a:gd name="T5" fmla="*/ 2 h 33"/>
                <a:gd name="T6" fmla="*/ 30 w 107"/>
                <a:gd name="T7" fmla="*/ 4 h 33"/>
                <a:gd name="T8" fmla="*/ 25 w 107"/>
                <a:gd name="T9" fmla="*/ 4 h 33"/>
                <a:gd name="T10" fmla="*/ 24 w 107"/>
                <a:gd name="T11" fmla="*/ 4 h 33"/>
                <a:gd name="T12" fmla="*/ 21 w 107"/>
                <a:gd name="T13" fmla="*/ 5 h 33"/>
                <a:gd name="T14" fmla="*/ 9 w 107"/>
                <a:gd name="T15" fmla="*/ 9 h 33"/>
                <a:gd name="T16" fmla="*/ 8 w 107"/>
                <a:gd name="T17" fmla="*/ 12 h 33"/>
                <a:gd name="T18" fmla="*/ 5 w 107"/>
                <a:gd name="T19" fmla="*/ 13 h 33"/>
                <a:gd name="T20" fmla="*/ 3 w 107"/>
                <a:gd name="T21" fmla="*/ 16 h 33"/>
                <a:gd name="T22" fmla="*/ 0 w 107"/>
                <a:gd name="T23" fmla="*/ 20 h 33"/>
                <a:gd name="T24" fmla="*/ 9 w 107"/>
                <a:gd name="T25" fmla="*/ 17 h 33"/>
                <a:gd name="T26" fmla="*/ 13 w 107"/>
                <a:gd name="T27" fmla="*/ 18 h 33"/>
                <a:gd name="T28" fmla="*/ 12 w 107"/>
                <a:gd name="T29" fmla="*/ 27 h 33"/>
                <a:gd name="T30" fmla="*/ 15 w 107"/>
                <a:gd name="T31" fmla="*/ 28 h 33"/>
                <a:gd name="T32" fmla="*/ 16 w 107"/>
                <a:gd name="T33" fmla="*/ 28 h 33"/>
                <a:gd name="T34" fmla="*/ 17 w 107"/>
                <a:gd name="T35" fmla="*/ 28 h 33"/>
                <a:gd name="T36" fmla="*/ 18 w 107"/>
                <a:gd name="T37" fmla="*/ 28 h 33"/>
                <a:gd name="T38" fmla="*/ 31 w 107"/>
                <a:gd name="T39" fmla="*/ 29 h 33"/>
                <a:gd name="T40" fmla="*/ 39 w 107"/>
                <a:gd name="T41" fmla="*/ 29 h 33"/>
                <a:gd name="T42" fmla="*/ 47 w 107"/>
                <a:gd name="T43" fmla="*/ 27 h 33"/>
                <a:gd name="T44" fmla="*/ 47 w 107"/>
                <a:gd name="T45" fmla="*/ 22 h 33"/>
                <a:gd name="T46" fmla="*/ 49 w 107"/>
                <a:gd name="T47" fmla="*/ 17 h 33"/>
                <a:gd name="T48" fmla="*/ 51 w 107"/>
                <a:gd name="T49" fmla="*/ 16 h 33"/>
                <a:gd name="T50" fmla="*/ 53 w 107"/>
                <a:gd name="T51" fmla="*/ 17 h 33"/>
                <a:gd name="T52" fmla="*/ 54 w 107"/>
                <a:gd name="T53" fmla="*/ 18 h 33"/>
                <a:gd name="T54" fmla="*/ 55 w 107"/>
                <a:gd name="T55" fmla="*/ 20 h 33"/>
                <a:gd name="T56" fmla="*/ 54 w 107"/>
                <a:gd name="T57" fmla="*/ 21 h 33"/>
                <a:gd name="T58" fmla="*/ 55 w 107"/>
                <a:gd name="T59" fmla="*/ 23 h 33"/>
                <a:gd name="T60" fmla="*/ 59 w 107"/>
                <a:gd name="T61" fmla="*/ 24 h 33"/>
                <a:gd name="T62" fmla="*/ 61 w 107"/>
                <a:gd name="T63" fmla="*/ 26 h 33"/>
                <a:gd name="T64" fmla="*/ 60 w 107"/>
                <a:gd name="T65" fmla="*/ 29 h 33"/>
                <a:gd name="T66" fmla="*/ 63 w 107"/>
                <a:gd name="T67" fmla="*/ 33 h 33"/>
                <a:gd name="T68" fmla="*/ 65 w 107"/>
                <a:gd name="T69" fmla="*/ 32 h 33"/>
                <a:gd name="T70" fmla="*/ 83 w 107"/>
                <a:gd name="T71" fmla="*/ 25 h 33"/>
                <a:gd name="T72" fmla="*/ 81 w 107"/>
                <a:gd name="T73" fmla="*/ 22 h 33"/>
                <a:gd name="T74" fmla="*/ 80 w 107"/>
                <a:gd name="T75" fmla="*/ 19 h 33"/>
                <a:gd name="T76" fmla="*/ 80 w 107"/>
                <a:gd name="T77" fmla="*/ 15 h 33"/>
                <a:gd name="T78" fmla="*/ 78 w 107"/>
                <a:gd name="T79" fmla="*/ 10 h 33"/>
                <a:gd name="T80" fmla="*/ 82 w 107"/>
                <a:gd name="T81" fmla="*/ 7 h 33"/>
                <a:gd name="T82" fmla="*/ 82 w 107"/>
                <a:gd name="T83" fmla="*/ 7 h 33"/>
                <a:gd name="T84" fmla="*/ 83 w 107"/>
                <a:gd name="T85" fmla="*/ 11 h 33"/>
                <a:gd name="T86" fmla="*/ 87 w 107"/>
                <a:gd name="T87" fmla="*/ 16 h 33"/>
                <a:gd name="T88" fmla="*/ 90 w 107"/>
                <a:gd name="T89" fmla="*/ 17 h 33"/>
                <a:gd name="T90" fmla="*/ 102 w 107"/>
                <a:gd name="T91" fmla="*/ 4 h 33"/>
                <a:gd name="T92" fmla="*/ 96 w 107"/>
                <a:gd name="T93"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33">
                  <a:moveTo>
                    <a:pt x="96" y="0"/>
                  </a:moveTo>
                  <a:cubicBezTo>
                    <a:pt x="37" y="0"/>
                    <a:pt x="37" y="0"/>
                    <a:pt x="37" y="0"/>
                  </a:cubicBezTo>
                  <a:cubicBezTo>
                    <a:pt x="37" y="1"/>
                    <a:pt x="37" y="1"/>
                    <a:pt x="36" y="2"/>
                  </a:cubicBezTo>
                  <a:cubicBezTo>
                    <a:pt x="34" y="4"/>
                    <a:pt x="33" y="4"/>
                    <a:pt x="30" y="4"/>
                  </a:cubicBezTo>
                  <a:cubicBezTo>
                    <a:pt x="28" y="4"/>
                    <a:pt x="27" y="4"/>
                    <a:pt x="25" y="4"/>
                  </a:cubicBezTo>
                  <a:cubicBezTo>
                    <a:pt x="24" y="4"/>
                    <a:pt x="24" y="4"/>
                    <a:pt x="24" y="4"/>
                  </a:cubicBezTo>
                  <a:cubicBezTo>
                    <a:pt x="23" y="4"/>
                    <a:pt x="22" y="4"/>
                    <a:pt x="21" y="5"/>
                  </a:cubicBezTo>
                  <a:cubicBezTo>
                    <a:pt x="17" y="5"/>
                    <a:pt x="11" y="5"/>
                    <a:pt x="9" y="9"/>
                  </a:cubicBezTo>
                  <a:cubicBezTo>
                    <a:pt x="9" y="11"/>
                    <a:pt x="10" y="11"/>
                    <a:pt x="8" y="12"/>
                  </a:cubicBezTo>
                  <a:cubicBezTo>
                    <a:pt x="7" y="14"/>
                    <a:pt x="7" y="13"/>
                    <a:pt x="5" y="13"/>
                  </a:cubicBezTo>
                  <a:cubicBezTo>
                    <a:pt x="3" y="16"/>
                    <a:pt x="3" y="16"/>
                    <a:pt x="3" y="16"/>
                  </a:cubicBezTo>
                  <a:cubicBezTo>
                    <a:pt x="2" y="17"/>
                    <a:pt x="1" y="19"/>
                    <a:pt x="0" y="20"/>
                  </a:cubicBezTo>
                  <a:cubicBezTo>
                    <a:pt x="3" y="19"/>
                    <a:pt x="6" y="17"/>
                    <a:pt x="9" y="17"/>
                  </a:cubicBezTo>
                  <a:cubicBezTo>
                    <a:pt x="11" y="17"/>
                    <a:pt x="12" y="17"/>
                    <a:pt x="13" y="18"/>
                  </a:cubicBezTo>
                  <a:cubicBezTo>
                    <a:pt x="14" y="21"/>
                    <a:pt x="9" y="24"/>
                    <a:pt x="12" y="27"/>
                  </a:cubicBezTo>
                  <a:cubicBezTo>
                    <a:pt x="12" y="28"/>
                    <a:pt x="13" y="28"/>
                    <a:pt x="15" y="28"/>
                  </a:cubicBezTo>
                  <a:cubicBezTo>
                    <a:pt x="15" y="28"/>
                    <a:pt x="16" y="28"/>
                    <a:pt x="16" y="28"/>
                  </a:cubicBezTo>
                  <a:cubicBezTo>
                    <a:pt x="17" y="28"/>
                    <a:pt x="17" y="28"/>
                    <a:pt x="17" y="28"/>
                  </a:cubicBezTo>
                  <a:cubicBezTo>
                    <a:pt x="17" y="28"/>
                    <a:pt x="17" y="28"/>
                    <a:pt x="18" y="28"/>
                  </a:cubicBezTo>
                  <a:cubicBezTo>
                    <a:pt x="22" y="28"/>
                    <a:pt x="27" y="28"/>
                    <a:pt x="31" y="29"/>
                  </a:cubicBezTo>
                  <a:cubicBezTo>
                    <a:pt x="33" y="29"/>
                    <a:pt x="36" y="29"/>
                    <a:pt x="39" y="29"/>
                  </a:cubicBezTo>
                  <a:cubicBezTo>
                    <a:pt x="42" y="29"/>
                    <a:pt x="45" y="29"/>
                    <a:pt x="47" y="27"/>
                  </a:cubicBezTo>
                  <a:cubicBezTo>
                    <a:pt x="50" y="26"/>
                    <a:pt x="47" y="25"/>
                    <a:pt x="47" y="22"/>
                  </a:cubicBezTo>
                  <a:cubicBezTo>
                    <a:pt x="47" y="20"/>
                    <a:pt x="48" y="19"/>
                    <a:pt x="49" y="17"/>
                  </a:cubicBezTo>
                  <a:cubicBezTo>
                    <a:pt x="50" y="16"/>
                    <a:pt x="50" y="16"/>
                    <a:pt x="51" y="16"/>
                  </a:cubicBezTo>
                  <a:cubicBezTo>
                    <a:pt x="51" y="16"/>
                    <a:pt x="52" y="16"/>
                    <a:pt x="53" y="17"/>
                  </a:cubicBezTo>
                  <a:cubicBezTo>
                    <a:pt x="56" y="18"/>
                    <a:pt x="54" y="18"/>
                    <a:pt x="54" y="18"/>
                  </a:cubicBezTo>
                  <a:cubicBezTo>
                    <a:pt x="55" y="20"/>
                    <a:pt x="55" y="20"/>
                    <a:pt x="55" y="20"/>
                  </a:cubicBezTo>
                  <a:cubicBezTo>
                    <a:pt x="54" y="21"/>
                    <a:pt x="54" y="21"/>
                    <a:pt x="54" y="21"/>
                  </a:cubicBezTo>
                  <a:cubicBezTo>
                    <a:pt x="55" y="22"/>
                    <a:pt x="53" y="21"/>
                    <a:pt x="55" y="23"/>
                  </a:cubicBezTo>
                  <a:cubicBezTo>
                    <a:pt x="56" y="23"/>
                    <a:pt x="58" y="23"/>
                    <a:pt x="59" y="24"/>
                  </a:cubicBezTo>
                  <a:cubicBezTo>
                    <a:pt x="60" y="24"/>
                    <a:pt x="61" y="25"/>
                    <a:pt x="61" y="26"/>
                  </a:cubicBezTo>
                  <a:cubicBezTo>
                    <a:pt x="61" y="27"/>
                    <a:pt x="60" y="28"/>
                    <a:pt x="60" y="29"/>
                  </a:cubicBezTo>
                  <a:cubicBezTo>
                    <a:pt x="62" y="32"/>
                    <a:pt x="62" y="33"/>
                    <a:pt x="63" y="33"/>
                  </a:cubicBezTo>
                  <a:cubicBezTo>
                    <a:pt x="63" y="33"/>
                    <a:pt x="64" y="33"/>
                    <a:pt x="65" y="32"/>
                  </a:cubicBezTo>
                  <a:cubicBezTo>
                    <a:pt x="68" y="31"/>
                    <a:pt x="82" y="28"/>
                    <a:pt x="83" y="25"/>
                  </a:cubicBezTo>
                  <a:cubicBezTo>
                    <a:pt x="83" y="23"/>
                    <a:pt x="82" y="23"/>
                    <a:pt x="81" y="22"/>
                  </a:cubicBezTo>
                  <a:cubicBezTo>
                    <a:pt x="81" y="21"/>
                    <a:pt x="80" y="21"/>
                    <a:pt x="80" y="19"/>
                  </a:cubicBezTo>
                  <a:cubicBezTo>
                    <a:pt x="80" y="17"/>
                    <a:pt x="80" y="16"/>
                    <a:pt x="80" y="15"/>
                  </a:cubicBezTo>
                  <a:cubicBezTo>
                    <a:pt x="79" y="13"/>
                    <a:pt x="77" y="12"/>
                    <a:pt x="78" y="10"/>
                  </a:cubicBezTo>
                  <a:cubicBezTo>
                    <a:pt x="78" y="9"/>
                    <a:pt x="80" y="7"/>
                    <a:pt x="82" y="7"/>
                  </a:cubicBezTo>
                  <a:cubicBezTo>
                    <a:pt x="82" y="7"/>
                    <a:pt x="82" y="7"/>
                    <a:pt x="82" y="7"/>
                  </a:cubicBezTo>
                  <a:cubicBezTo>
                    <a:pt x="83" y="8"/>
                    <a:pt x="82" y="10"/>
                    <a:pt x="83" y="11"/>
                  </a:cubicBezTo>
                  <a:cubicBezTo>
                    <a:pt x="83" y="12"/>
                    <a:pt x="85" y="15"/>
                    <a:pt x="87" y="16"/>
                  </a:cubicBezTo>
                  <a:cubicBezTo>
                    <a:pt x="88" y="17"/>
                    <a:pt x="89" y="17"/>
                    <a:pt x="90" y="17"/>
                  </a:cubicBezTo>
                  <a:cubicBezTo>
                    <a:pt x="97" y="17"/>
                    <a:pt x="107" y="9"/>
                    <a:pt x="102" y="4"/>
                  </a:cubicBezTo>
                  <a:cubicBezTo>
                    <a:pt x="101" y="3"/>
                    <a:pt x="96" y="2"/>
                    <a:pt x="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9"/>
            <p:cNvSpPr>
              <a:spLocks noEditPoints="1"/>
            </p:cNvSpPr>
            <p:nvPr/>
          </p:nvSpPr>
          <p:spPr bwMode="auto">
            <a:xfrm>
              <a:off x="5640379" y="599309"/>
              <a:ext cx="1103313" cy="371475"/>
            </a:xfrm>
            <a:custGeom>
              <a:gdLst>
                <a:gd name="T0" fmla="*/ 221 w 294"/>
                <a:gd name="T1" fmla="*/ 0 h 99"/>
                <a:gd name="T2" fmla="*/ 178 w 294"/>
                <a:gd name="T3" fmla="*/ 10 h 99"/>
                <a:gd name="T4" fmla="*/ 203 w 294"/>
                <a:gd name="T5" fmla="*/ 23 h 99"/>
                <a:gd name="T6" fmla="*/ 210 w 294"/>
                <a:gd name="T7" fmla="*/ 38 h 99"/>
                <a:gd name="T8" fmla="*/ 199 w 294"/>
                <a:gd name="T9" fmla="*/ 47 h 99"/>
                <a:gd name="T10" fmla="*/ 158 w 294"/>
                <a:gd name="T11" fmla="*/ 47 h 99"/>
                <a:gd name="T12" fmla="*/ 145 w 294"/>
                <a:gd name="T13" fmla="*/ 33 h 99"/>
                <a:gd name="T14" fmla="*/ 144 w 294"/>
                <a:gd name="T15" fmla="*/ 30 h 99"/>
                <a:gd name="T16" fmla="*/ 114 w 294"/>
                <a:gd name="T17" fmla="*/ 12 h 99"/>
                <a:gd name="T18" fmla="*/ 109 w 294"/>
                <a:gd name="T19" fmla="*/ 12 h 99"/>
                <a:gd name="T20" fmla="*/ 93 w 294"/>
                <a:gd name="T21" fmla="*/ 11 h 99"/>
                <a:gd name="T22" fmla="*/ 100 w 294"/>
                <a:gd name="T23" fmla="*/ 3 h 99"/>
                <a:gd name="T24" fmla="*/ 47 w 294"/>
                <a:gd name="T25" fmla="*/ 1 h 99"/>
                <a:gd name="T26" fmla="*/ 1 w 294"/>
                <a:gd name="T27" fmla="*/ 2 h 99"/>
                <a:gd name="T28" fmla="*/ 9 w 294"/>
                <a:gd name="T29" fmla="*/ 9 h 99"/>
                <a:gd name="T30" fmla="*/ 25 w 294"/>
                <a:gd name="T31" fmla="*/ 8 h 99"/>
                <a:gd name="T32" fmla="*/ 36 w 294"/>
                <a:gd name="T33" fmla="*/ 9 h 99"/>
                <a:gd name="T34" fmla="*/ 60 w 294"/>
                <a:gd name="T35" fmla="*/ 15 h 99"/>
                <a:gd name="T36" fmla="*/ 63 w 294"/>
                <a:gd name="T37" fmla="*/ 16 h 99"/>
                <a:gd name="T38" fmla="*/ 52 w 294"/>
                <a:gd name="T39" fmla="*/ 16 h 99"/>
                <a:gd name="T40" fmla="*/ 33 w 294"/>
                <a:gd name="T41" fmla="*/ 24 h 99"/>
                <a:gd name="T42" fmla="*/ 49 w 294"/>
                <a:gd name="T43" fmla="*/ 30 h 99"/>
                <a:gd name="T44" fmla="*/ 60 w 294"/>
                <a:gd name="T45" fmla="*/ 32 h 99"/>
                <a:gd name="T46" fmla="*/ 27 w 294"/>
                <a:gd name="T47" fmla="*/ 45 h 99"/>
                <a:gd name="T48" fmla="*/ 34 w 294"/>
                <a:gd name="T49" fmla="*/ 45 h 99"/>
                <a:gd name="T50" fmla="*/ 64 w 294"/>
                <a:gd name="T51" fmla="*/ 42 h 99"/>
                <a:gd name="T52" fmla="*/ 10 w 294"/>
                <a:gd name="T53" fmla="*/ 56 h 99"/>
                <a:gd name="T54" fmla="*/ 29 w 294"/>
                <a:gd name="T55" fmla="*/ 66 h 99"/>
                <a:gd name="T56" fmla="*/ 42 w 294"/>
                <a:gd name="T57" fmla="*/ 64 h 99"/>
                <a:gd name="T58" fmla="*/ 49 w 294"/>
                <a:gd name="T59" fmla="*/ 71 h 99"/>
                <a:gd name="T60" fmla="*/ 59 w 294"/>
                <a:gd name="T61" fmla="*/ 66 h 99"/>
                <a:gd name="T62" fmla="*/ 65 w 294"/>
                <a:gd name="T63" fmla="*/ 68 h 99"/>
                <a:gd name="T64" fmla="*/ 83 w 294"/>
                <a:gd name="T65" fmla="*/ 68 h 99"/>
                <a:gd name="T66" fmla="*/ 91 w 294"/>
                <a:gd name="T67" fmla="*/ 58 h 99"/>
                <a:gd name="T68" fmla="*/ 97 w 294"/>
                <a:gd name="T69" fmla="*/ 54 h 99"/>
                <a:gd name="T70" fmla="*/ 95 w 294"/>
                <a:gd name="T71" fmla="*/ 63 h 99"/>
                <a:gd name="T72" fmla="*/ 99 w 294"/>
                <a:gd name="T73" fmla="*/ 69 h 99"/>
                <a:gd name="T74" fmla="*/ 126 w 294"/>
                <a:gd name="T75" fmla="*/ 59 h 99"/>
                <a:gd name="T76" fmla="*/ 131 w 294"/>
                <a:gd name="T77" fmla="*/ 61 h 99"/>
                <a:gd name="T78" fmla="*/ 133 w 294"/>
                <a:gd name="T79" fmla="*/ 66 h 99"/>
                <a:gd name="T80" fmla="*/ 137 w 294"/>
                <a:gd name="T81" fmla="*/ 65 h 99"/>
                <a:gd name="T82" fmla="*/ 146 w 294"/>
                <a:gd name="T83" fmla="*/ 63 h 99"/>
                <a:gd name="T84" fmla="*/ 154 w 294"/>
                <a:gd name="T85" fmla="*/ 62 h 99"/>
                <a:gd name="T86" fmla="*/ 142 w 294"/>
                <a:gd name="T87" fmla="*/ 72 h 99"/>
                <a:gd name="T88" fmla="*/ 88 w 294"/>
                <a:gd name="T89" fmla="*/ 84 h 99"/>
                <a:gd name="T90" fmla="*/ 125 w 294"/>
                <a:gd name="T91" fmla="*/ 97 h 99"/>
                <a:gd name="T92" fmla="*/ 218 w 294"/>
                <a:gd name="T93" fmla="*/ 70 h 99"/>
                <a:gd name="T94" fmla="*/ 239 w 294"/>
                <a:gd name="T95" fmla="*/ 68 h 99"/>
                <a:gd name="T96" fmla="*/ 255 w 294"/>
                <a:gd name="T97" fmla="*/ 69 h 99"/>
                <a:gd name="T98" fmla="*/ 283 w 294"/>
                <a:gd name="T99" fmla="*/ 63 h 99"/>
                <a:gd name="T100" fmla="*/ 286 w 294"/>
                <a:gd name="T101" fmla="*/ 53 h 99"/>
                <a:gd name="T102" fmla="*/ 288 w 294"/>
                <a:gd name="T103" fmla="*/ 27 h 99"/>
                <a:gd name="T104" fmla="*/ 259 w 294"/>
                <a:gd name="T105" fmla="*/ 29 h 99"/>
                <a:gd name="T106" fmla="*/ 257 w 294"/>
                <a:gd name="T107" fmla="*/ 38 h 99"/>
                <a:gd name="T108" fmla="*/ 250 w 294"/>
                <a:gd name="T109" fmla="*/ 29 h 99"/>
                <a:gd name="T110" fmla="*/ 240 w 294"/>
                <a:gd name="T111" fmla="*/ 23 h 99"/>
                <a:gd name="T112" fmla="*/ 230 w 294"/>
                <a:gd name="T113" fmla="*/ 22 h 99"/>
                <a:gd name="T114" fmla="*/ 222 w 294"/>
                <a:gd name="T115" fmla="*/ 5 h 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99">
                  <a:moveTo>
                    <a:pt x="234" y="74"/>
                  </a:moveTo>
                  <a:cubicBezTo>
                    <a:pt x="234" y="74"/>
                    <a:pt x="234" y="74"/>
                    <a:pt x="234" y="74"/>
                  </a:cubicBezTo>
                  <a:cubicBezTo>
                    <a:pt x="234" y="74"/>
                    <a:pt x="234" y="74"/>
                    <a:pt x="234" y="74"/>
                  </a:cubicBezTo>
                  <a:moveTo>
                    <a:pt x="221" y="0"/>
                  </a:moveTo>
                  <a:cubicBezTo>
                    <a:pt x="192" y="0"/>
                    <a:pt x="192" y="0"/>
                    <a:pt x="192" y="0"/>
                  </a:cubicBezTo>
                  <a:cubicBezTo>
                    <a:pt x="191" y="1"/>
                    <a:pt x="189" y="1"/>
                    <a:pt x="187" y="1"/>
                  </a:cubicBezTo>
                  <a:cubicBezTo>
                    <a:pt x="187" y="1"/>
                    <a:pt x="187" y="1"/>
                    <a:pt x="186" y="1"/>
                  </a:cubicBezTo>
                  <a:cubicBezTo>
                    <a:pt x="184" y="3"/>
                    <a:pt x="177" y="5"/>
                    <a:pt x="178" y="10"/>
                  </a:cubicBezTo>
                  <a:cubicBezTo>
                    <a:pt x="178" y="11"/>
                    <a:pt x="181" y="11"/>
                    <a:pt x="182" y="11"/>
                  </a:cubicBezTo>
                  <a:cubicBezTo>
                    <a:pt x="185" y="12"/>
                    <a:pt x="187" y="14"/>
                    <a:pt x="190" y="15"/>
                  </a:cubicBezTo>
                  <a:cubicBezTo>
                    <a:pt x="194" y="18"/>
                    <a:pt x="199" y="20"/>
                    <a:pt x="203" y="23"/>
                  </a:cubicBezTo>
                  <a:cubicBezTo>
                    <a:pt x="203" y="23"/>
                    <a:pt x="203" y="23"/>
                    <a:pt x="203" y="23"/>
                  </a:cubicBezTo>
                  <a:cubicBezTo>
                    <a:pt x="201" y="23"/>
                    <a:pt x="197" y="25"/>
                    <a:pt x="196" y="26"/>
                  </a:cubicBezTo>
                  <a:cubicBezTo>
                    <a:pt x="193" y="27"/>
                    <a:pt x="190" y="28"/>
                    <a:pt x="187" y="29"/>
                  </a:cubicBezTo>
                  <a:cubicBezTo>
                    <a:pt x="184" y="30"/>
                    <a:pt x="193" y="33"/>
                    <a:pt x="194" y="33"/>
                  </a:cubicBezTo>
                  <a:cubicBezTo>
                    <a:pt x="199" y="35"/>
                    <a:pt x="205" y="36"/>
                    <a:pt x="210" y="38"/>
                  </a:cubicBezTo>
                  <a:cubicBezTo>
                    <a:pt x="214" y="39"/>
                    <a:pt x="214" y="40"/>
                    <a:pt x="213" y="44"/>
                  </a:cubicBezTo>
                  <a:cubicBezTo>
                    <a:pt x="213" y="45"/>
                    <a:pt x="212" y="49"/>
                    <a:pt x="211" y="49"/>
                  </a:cubicBezTo>
                  <a:cubicBezTo>
                    <a:pt x="211" y="49"/>
                    <a:pt x="211" y="49"/>
                    <a:pt x="211" y="49"/>
                  </a:cubicBezTo>
                  <a:cubicBezTo>
                    <a:pt x="207" y="49"/>
                    <a:pt x="203" y="48"/>
                    <a:pt x="199" y="47"/>
                  </a:cubicBezTo>
                  <a:cubicBezTo>
                    <a:pt x="194" y="47"/>
                    <a:pt x="190" y="46"/>
                    <a:pt x="185" y="46"/>
                  </a:cubicBezTo>
                  <a:cubicBezTo>
                    <a:pt x="184" y="46"/>
                    <a:pt x="184" y="46"/>
                    <a:pt x="183" y="46"/>
                  </a:cubicBezTo>
                  <a:cubicBezTo>
                    <a:pt x="175" y="47"/>
                    <a:pt x="166" y="47"/>
                    <a:pt x="158" y="47"/>
                  </a:cubicBezTo>
                  <a:cubicBezTo>
                    <a:pt x="158" y="47"/>
                    <a:pt x="158" y="47"/>
                    <a:pt x="158" y="47"/>
                  </a:cubicBezTo>
                  <a:cubicBezTo>
                    <a:pt x="155" y="47"/>
                    <a:pt x="155" y="43"/>
                    <a:pt x="154" y="42"/>
                  </a:cubicBezTo>
                  <a:cubicBezTo>
                    <a:pt x="154" y="39"/>
                    <a:pt x="155" y="35"/>
                    <a:pt x="152" y="32"/>
                  </a:cubicBezTo>
                  <a:cubicBezTo>
                    <a:pt x="152" y="32"/>
                    <a:pt x="151" y="32"/>
                    <a:pt x="150" y="32"/>
                  </a:cubicBezTo>
                  <a:cubicBezTo>
                    <a:pt x="148" y="32"/>
                    <a:pt x="146" y="33"/>
                    <a:pt x="145" y="33"/>
                  </a:cubicBezTo>
                  <a:cubicBezTo>
                    <a:pt x="142" y="33"/>
                    <a:pt x="139" y="33"/>
                    <a:pt x="136" y="33"/>
                  </a:cubicBezTo>
                  <a:cubicBezTo>
                    <a:pt x="136" y="33"/>
                    <a:pt x="135" y="33"/>
                    <a:pt x="135" y="33"/>
                  </a:cubicBezTo>
                  <a:cubicBezTo>
                    <a:pt x="137" y="33"/>
                    <a:pt x="136" y="31"/>
                    <a:pt x="138" y="30"/>
                  </a:cubicBezTo>
                  <a:cubicBezTo>
                    <a:pt x="140" y="30"/>
                    <a:pt x="142" y="30"/>
                    <a:pt x="144" y="30"/>
                  </a:cubicBezTo>
                  <a:cubicBezTo>
                    <a:pt x="139" y="27"/>
                    <a:pt x="135" y="24"/>
                    <a:pt x="131" y="21"/>
                  </a:cubicBezTo>
                  <a:cubicBezTo>
                    <a:pt x="127" y="18"/>
                    <a:pt x="123" y="14"/>
                    <a:pt x="119" y="12"/>
                  </a:cubicBezTo>
                  <a:cubicBezTo>
                    <a:pt x="118" y="12"/>
                    <a:pt x="118" y="12"/>
                    <a:pt x="118" y="12"/>
                  </a:cubicBezTo>
                  <a:cubicBezTo>
                    <a:pt x="116" y="12"/>
                    <a:pt x="116" y="12"/>
                    <a:pt x="114" y="12"/>
                  </a:cubicBezTo>
                  <a:cubicBezTo>
                    <a:pt x="114" y="12"/>
                    <a:pt x="114" y="12"/>
                    <a:pt x="114" y="12"/>
                  </a:cubicBezTo>
                  <a:cubicBezTo>
                    <a:pt x="113" y="12"/>
                    <a:pt x="113" y="12"/>
                    <a:pt x="112" y="12"/>
                  </a:cubicBezTo>
                  <a:cubicBezTo>
                    <a:pt x="111" y="12"/>
                    <a:pt x="111" y="12"/>
                    <a:pt x="110" y="12"/>
                  </a:cubicBezTo>
                  <a:cubicBezTo>
                    <a:pt x="110" y="12"/>
                    <a:pt x="109" y="12"/>
                    <a:pt x="109" y="12"/>
                  </a:cubicBezTo>
                  <a:cubicBezTo>
                    <a:pt x="106" y="13"/>
                    <a:pt x="102" y="14"/>
                    <a:pt x="99" y="14"/>
                  </a:cubicBezTo>
                  <a:cubicBezTo>
                    <a:pt x="99" y="14"/>
                    <a:pt x="98" y="14"/>
                    <a:pt x="97" y="14"/>
                  </a:cubicBezTo>
                  <a:cubicBezTo>
                    <a:pt x="95" y="14"/>
                    <a:pt x="92" y="14"/>
                    <a:pt x="93" y="13"/>
                  </a:cubicBezTo>
                  <a:cubicBezTo>
                    <a:pt x="94" y="13"/>
                    <a:pt x="94" y="12"/>
                    <a:pt x="93" y="11"/>
                  </a:cubicBezTo>
                  <a:cubicBezTo>
                    <a:pt x="92" y="11"/>
                    <a:pt x="91" y="11"/>
                    <a:pt x="91" y="10"/>
                  </a:cubicBezTo>
                  <a:cubicBezTo>
                    <a:pt x="94" y="10"/>
                    <a:pt x="96" y="9"/>
                    <a:pt x="99" y="9"/>
                  </a:cubicBezTo>
                  <a:cubicBezTo>
                    <a:pt x="102" y="8"/>
                    <a:pt x="104" y="3"/>
                    <a:pt x="101" y="3"/>
                  </a:cubicBezTo>
                  <a:cubicBezTo>
                    <a:pt x="101" y="3"/>
                    <a:pt x="100" y="3"/>
                    <a:pt x="100" y="3"/>
                  </a:cubicBezTo>
                  <a:cubicBezTo>
                    <a:pt x="102" y="2"/>
                    <a:pt x="100" y="2"/>
                    <a:pt x="101" y="1"/>
                  </a:cubicBezTo>
                  <a:cubicBezTo>
                    <a:pt x="101" y="1"/>
                    <a:pt x="101" y="0"/>
                    <a:pt x="102" y="0"/>
                  </a:cubicBezTo>
                  <a:cubicBezTo>
                    <a:pt x="49" y="0"/>
                    <a:pt x="49" y="0"/>
                    <a:pt x="49" y="0"/>
                  </a:cubicBezTo>
                  <a:cubicBezTo>
                    <a:pt x="48" y="0"/>
                    <a:pt x="48" y="1"/>
                    <a:pt x="47" y="1"/>
                  </a:cubicBezTo>
                  <a:cubicBezTo>
                    <a:pt x="46" y="1"/>
                    <a:pt x="45" y="0"/>
                    <a:pt x="44" y="0"/>
                  </a:cubicBezTo>
                  <a:cubicBezTo>
                    <a:pt x="1" y="0"/>
                    <a:pt x="1" y="0"/>
                    <a:pt x="1" y="0"/>
                  </a:cubicBezTo>
                  <a:cubicBezTo>
                    <a:pt x="1" y="0"/>
                    <a:pt x="1" y="0"/>
                    <a:pt x="1" y="0"/>
                  </a:cubicBezTo>
                  <a:cubicBezTo>
                    <a:pt x="1" y="2"/>
                    <a:pt x="1" y="2"/>
                    <a:pt x="1" y="2"/>
                  </a:cubicBezTo>
                  <a:cubicBezTo>
                    <a:pt x="0" y="4"/>
                    <a:pt x="0" y="4"/>
                    <a:pt x="1" y="6"/>
                  </a:cubicBezTo>
                  <a:cubicBezTo>
                    <a:pt x="3" y="7"/>
                    <a:pt x="4" y="9"/>
                    <a:pt x="6" y="9"/>
                  </a:cubicBezTo>
                  <a:cubicBezTo>
                    <a:pt x="7" y="9"/>
                    <a:pt x="7" y="9"/>
                    <a:pt x="7" y="9"/>
                  </a:cubicBezTo>
                  <a:cubicBezTo>
                    <a:pt x="7" y="9"/>
                    <a:pt x="8" y="9"/>
                    <a:pt x="9" y="9"/>
                  </a:cubicBezTo>
                  <a:cubicBezTo>
                    <a:pt x="10" y="9"/>
                    <a:pt x="12" y="9"/>
                    <a:pt x="14" y="10"/>
                  </a:cubicBezTo>
                  <a:cubicBezTo>
                    <a:pt x="16" y="10"/>
                    <a:pt x="17" y="10"/>
                    <a:pt x="19" y="10"/>
                  </a:cubicBezTo>
                  <a:cubicBezTo>
                    <a:pt x="20" y="10"/>
                    <a:pt x="22" y="10"/>
                    <a:pt x="23" y="10"/>
                  </a:cubicBezTo>
                  <a:cubicBezTo>
                    <a:pt x="24" y="9"/>
                    <a:pt x="25" y="8"/>
                    <a:pt x="25" y="8"/>
                  </a:cubicBezTo>
                  <a:cubicBezTo>
                    <a:pt x="26" y="8"/>
                    <a:pt x="26" y="8"/>
                    <a:pt x="27" y="8"/>
                  </a:cubicBezTo>
                  <a:cubicBezTo>
                    <a:pt x="27" y="8"/>
                    <a:pt x="27" y="8"/>
                    <a:pt x="28" y="8"/>
                  </a:cubicBezTo>
                  <a:cubicBezTo>
                    <a:pt x="28" y="8"/>
                    <a:pt x="28" y="8"/>
                    <a:pt x="28" y="8"/>
                  </a:cubicBezTo>
                  <a:cubicBezTo>
                    <a:pt x="31" y="8"/>
                    <a:pt x="33" y="8"/>
                    <a:pt x="36" y="9"/>
                  </a:cubicBezTo>
                  <a:cubicBezTo>
                    <a:pt x="37" y="9"/>
                    <a:pt x="38" y="11"/>
                    <a:pt x="40" y="12"/>
                  </a:cubicBezTo>
                  <a:cubicBezTo>
                    <a:pt x="42" y="12"/>
                    <a:pt x="43" y="13"/>
                    <a:pt x="45" y="13"/>
                  </a:cubicBezTo>
                  <a:cubicBezTo>
                    <a:pt x="49" y="14"/>
                    <a:pt x="52" y="14"/>
                    <a:pt x="56" y="14"/>
                  </a:cubicBezTo>
                  <a:cubicBezTo>
                    <a:pt x="57" y="15"/>
                    <a:pt x="59" y="15"/>
                    <a:pt x="60" y="15"/>
                  </a:cubicBezTo>
                  <a:cubicBezTo>
                    <a:pt x="62" y="15"/>
                    <a:pt x="64" y="14"/>
                    <a:pt x="66" y="14"/>
                  </a:cubicBezTo>
                  <a:cubicBezTo>
                    <a:pt x="70" y="15"/>
                    <a:pt x="74" y="15"/>
                    <a:pt x="78" y="17"/>
                  </a:cubicBezTo>
                  <a:cubicBezTo>
                    <a:pt x="77" y="17"/>
                    <a:pt x="76" y="17"/>
                    <a:pt x="74" y="17"/>
                  </a:cubicBezTo>
                  <a:cubicBezTo>
                    <a:pt x="70" y="17"/>
                    <a:pt x="66" y="16"/>
                    <a:pt x="63" y="16"/>
                  </a:cubicBezTo>
                  <a:cubicBezTo>
                    <a:pt x="61" y="16"/>
                    <a:pt x="60" y="15"/>
                    <a:pt x="59" y="15"/>
                  </a:cubicBezTo>
                  <a:cubicBezTo>
                    <a:pt x="58" y="15"/>
                    <a:pt x="57" y="16"/>
                    <a:pt x="56" y="16"/>
                  </a:cubicBezTo>
                  <a:cubicBezTo>
                    <a:pt x="55" y="16"/>
                    <a:pt x="55" y="16"/>
                    <a:pt x="54" y="16"/>
                  </a:cubicBezTo>
                  <a:cubicBezTo>
                    <a:pt x="53" y="16"/>
                    <a:pt x="52" y="16"/>
                    <a:pt x="52" y="16"/>
                  </a:cubicBezTo>
                  <a:cubicBezTo>
                    <a:pt x="49" y="15"/>
                    <a:pt x="47" y="15"/>
                    <a:pt x="45" y="15"/>
                  </a:cubicBezTo>
                  <a:cubicBezTo>
                    <a:pt x="44" y="15"/>
                    <a:pt x="44" y="15"/>
                    <a:pt x="43" y="15"/>
                  </a:cubicBezTo>
                  <a:cubicBezTo>
                    <a:pt x="40" y="15"/>
                    <a:pt x="30" y="18"/>
                    <a:pt x="31" y="22"/>
                  </a:cubicBezTo>
                  <a:cubicBezTo>
                    <a:pt x="31" y="23"/>
                    <a:pt x="33" y="23"/>
                    <a:pt x="33" y="24"/>
                  </a:cubicBezTo>
                  <a:cubicBezTo>
                    <a:pt x="34" y="25"/>
                    <a:pt x="30" y="26"/>
                    <a:pt x="30" y="28"/>
                  </a:cubicBezTo>
                  <a:cubicBezTo>
                    <a:pt x="30" y="30"/>
                    <a:pt x="34" y="30"/>
                    <a:pt x="36" y="30"/>
                  </a:cubicBezTo>
                  <a:cubicBezTo>
                    <a:pt x="38" y="31"/>
                    <a:pt x="40" y="31"/>
                    <a:pt x="42" y="31"/>
                  </a:cubicBezTo>
                  <a:cubicBezTo>
                    <a:pt x="45" y="31"/>
                    <a:pt x="47" y="31"/>
                    <a:pt x="49" y="30"/>
                  </a:cubicBezTo>
                  <a:cubicBezTo>
                    <a:pt x="56" y="29"/>
                    <a:pt x="64" y="29"/>
                    <a:pt x="71" y="29"/>
                  </a:cubicBezTo>
                  <a:cubicBezTo>
                    <a:pt x="71" y="29"/>
                    <a:pt x="71" y="29"/>
                    <a:pt x="72" y="29"/>
                  </a:cubicBezTo>
                  <a:cubicBezTo>
                    <a:pt x="75" y="29"/>
                    <a:pt x="76" y="31"/>
                    <a:pt x="72" y="31"/>
                  </a:cubicBezTo>
                  <a:cubicBezTo>
                    <a:pt x="68" y="32"/>
                    <a:pt x="64" y="32"/>
                    <a:pt x="60" y="32"/>
                  </a:cubicBezTo>
                  <a:cubicBezTo>
                    <a:pt x="54" y="32"/>
                    <a:pt x="50" y="32"/>
                    <a:pt x="45" y="33"/>
                  </a:cubicBezTo>
                  <a:cubicBezTo>
                    <a:pt x="39" y="34"/>
                    <a:pt x="30" y="33"/>
                    <a:pt x="25" y="36"/>
                  </a:cubicBezTo>
                  <a:cubicBezTo>
                    <a:pt x="23" y="37"/>
                    <a:pt x="22" y="40"/>
                    <a:pt x="20" y="41"/>
                  </a:cubicBezTo>
                  <a:cubicBezTo>
                    <a:pt x="16" y="45"/>
                    <a:pt x="22" y="45"/>
                    <a:pt x="27" y="45"/>
                  </a:cubicBezTo>
                  <a:cubicBezTo>
                    <a:pt x="28" y="45"/>
                    <a:pt x="28" y="45"/>
                    <a:pt x="29" y="45"/>
                  </a:cubicBezTo>
                  <a:cubicBezTo>
                    <a:pt x="29" y="45"/>
                    <a:pt x="29" y="45"/>
                    <a:pt x="30" y="45"/>
                  </a:cubicBezTo>
                  <a:cubicBezTo>
                    <a:pt x="30" y="45"/>
                    <a:pt x="30" y="45"/>
                    <a:pt x="30" y="45"/>
                  </a:cubicBezTo>
                  <a:cubicBezTo>
                    <a:pt x="32" y="45"/>
                    <a:pt x="33" y="45"/>
                    <a:pt x="34" y="45"/>
                  </a:cubicBezTo>
                  <a:cubicBezTo>
                    <a:pt x="38" y="45"/>
                    <a:pt x="42" y="45"/>
                    <a:pt x="47" y="43"/>
                  </a:cubicBezTo>
                  <a:cubicBezTo>
                    <a:pt x="54" y="41"/>
                    <a:pt x="63" y="39"/>
                    <a:pt x="70" y="39"/>
                  </a:cubicBezTo>
                  <a:cubicBezTo>
                    <a:pt x="70" y="39"/>
                    <a:pt x="70" y="39"/>
                    <a:pt x="70" y="39"/>
                  </a:cubicBezTo>
                  <a:cubicBezTo>
                    <a:pt x="68" y="39"/>
                    <a:pt x="66" y="41"/>
                    <a:pt x="64" y="42"/>
                  </a:cubicBezTo>
                  <a:cubicBezTo>
                    <a:pt x="62" y="44"/>
                    <a:pt x="59" y="44"/>
                    <a:pt x="56" y="44"/>
                  </a:cubicBezTo>
                  <a:cubicBezTo>
                    <a:pt x="53" y="45"/>
                    <a:pt x="51" y="47"/>
                    <a:pt x="47" y="47"/>
                  </a:cubicBezTo>
                  <a:cubicBezTo>
                    <a:pt x="37" y="49"/>
                    <a:pt x="27" y="51"/>
                    <a:pt x="16" y="52"/>
                  </a:cubicBezTo>
                  <a:cubicBezTo>
                    <a:pt x="13" y="53"/>
                    <a:pt x="13" y="54"/>
                    <a:pt x="10" y="56"/>
                  </a:cubicBezTo>
                  <a:cubicBezTo>
                    <a:pt x="8" y="58"/>
                    <a:pt x="8" y="59"/>
                    <a:pt x="10" y="61"/>
                  </a:cubicBezTo>
                  <a:cubicBezTo>
                    <a:pt x="13" y="63"/>
                    <a:pt x="19" y="64"/>
                    <a:pt x="23" y="64"/>
                  </a:cubicBezTo>
                  <a:cubicBezTo>
                    <a:pt x="25" y="65"/>
                    <a:pt x="26" y="65"/>
                    <a:pt x="29" y="66"/>
                  </a:cubicBezTo>
                  <a:cubicBezTo>
                    <a:pt x="29" y="66"/>
                    <a:pt x="29" y="66"/>
                    <a:pt x="29" y="66"/>
                  </a:cubicBezTo>
                  <a:cubicBezTo>
                    <a:pt x="31" y="66"/>
                    <a:pt x="32" y="64"/>
                    <a:pt x="34" y="63"/>
                  </a:cubicBezTo>
                  <a:cubicBezTo>
                    <a:pt x="35" y="63"/>
                    <a:pt x="36" y="63"/>
                    <a:pt x="37" y="63"/>
                  </a:cubicBezTo>
                  <a:cubicBezTo>
                    <a:pt x="38" y="63"/>
                    <a:pt x="40" y="62"/>
                    <a:pt x="41" y="62"/>
                  </a:cubicBezTo>
                  <a:cubicBezTo>
                    <a:pt x="41" y="62"/>
                    <a:pt x="42" y="62"/>
                    <a:pt x="42" y="64"/>
                  </a:cubicBezTo>
                  <a:cubicBezTo>
                    <a:pt x="41" y="65"/>
                    <a:pt x="39" y="66"/>
                    <a:pt x="40" y="67"/>
                  </a:cubicBezTo>
                  <a:cubicBezTo>
                    <a:pt x="40" y="67"/>
                    <a:pt x="40" y="67"/>
                    <a:pt x="41" y="67"/>
                  </a:cubicBezTo>
                  <a:cubicBezTo>
                    <a:pt x="42" y="67"/>
                    <a:pt x="43" y="67"/>
                    <a:pt x="43" y="67"/>
                  </a:cubicBezTo>
                  <a:cubicBezTo>
                    <a:pt x="39" y="70"/>
                    <a:pt x="47" y="70"/>
                    <a:pt x="49" y="71"/>
                  </a:cubicBezTo>
                  <a:cubicBezTo>
                    <a:pt x="51" y="72"/>
                    <a:pt x="53" y="73"/>
                    <a:pt x="55" y="73"/>
                  </a:cubicBezTo>
                  <a:cubicBezTo>
                    <a:pt x="56" y="73"/>
                    <a:pt x="57" y="72"/>
                    <a:pt x="57" y="71"/>
                  </a:cubicBezTo>
                  <a:cubicBezTo>
                    <a:pt x="59" y="69"/>
                    <a:pt x="56" y="67"/>
                    <a:pt x="56" y="65"/>
                  </a:cubicBezTo>
                  <a:cubicBezTo>
                    <a:pt x="58" y="65"/>
                    <a:pt x="59" y="66"/>
                    <a:pt x="59" y="66"/>
                  </a:cubicBezTo>
                  <a:cubicBezTo>
                    <a:pt x="60" y="66"/>
                    <a:pt x="61" y="65"/>
                    <a:pt x="63" y="64"/>
                  </a:cubicBezTo>
                  <a:cubicBezTo>
                    <a:pt x="63" y="64"/>
                    <a:pt x="64" y="64"/>
                    <a:pt x="65" y="64"/>
                  </a:cubicBezTo>
                  <a:cubicBezTo>
                    <a:pt x="66" y="64"/>
                    <a:pt x="66" y="65"/>
                    <a:pt x="66" y="66"/>
                  </a:cubicBezTo>
                  <a:cubicBezTo>
                    <a:pt x="66" y="67"/>
                    <a:pt x="65" y="68"/>
                    <a:pt x="65" y="68"/>
                  </a:cubicBezTo>
                  <a:cubicBezTo>
                    <a:pt x="66" y="70"/>
                    <a:pt x="67" y="71"/>
                    <a:pt x="68" y="72"/>
                  </a:cubicBezTo>
                  <a:cubicBezTo>
                    <a:pt x="69" y="73"/>
                    <a:pt x="70" y="73"/>
                    <a:pt x="71" y="73"/>
                  </a:cubicBezTo>
                  <a:cubicBezTo>
                    <a:pt x="72" y="73"/>
                    <a:pt x="72" y="73"/>
                    <a:pt x="74" y="72"/>
                  </a:cubicBezTo>
                  <a:cubicBezTo>
                    <a:pt x="77" y="71"/>
                    <a:pt x="81" y="70"/>
                    <a:pt x="83" y="68"/>
                  </a:cubicBezTo>
                  <a:cubicBezTo>
                    <a:pt x="84" y="67"/>
                    <a:pt x="87" y="65"/>
                    <a:pt x="87" y="63"/>
                  </a:cubicBezTo>
                  <a:cubicBezTo>
                    <a:pt x="87" y="62"/>
                    <a:pt x="82" y="59"/>
                    <a:pt x="82" y="57"/>
                  </a:cubicBezTo>
                  <a:cubicBezTo>
                    <a:pt x="84" y="58"/>
                    <a:pt x="86" y="60"/>
                    <a:pt x="88" y="60"/>
                  </a:cubicBezTo>
                  <a:cubicBezTo>
                    <a:pt x="89" y="60"/>
                    <a:pt x="90" y="60"/>
                    <a:pt x="91" y="58"/>
                  </a:cubicBezTo>
                  <a:cubicBezTo>
                    <a:pt x="93" y="55"/>
                    <a:pt x="91" y="52"/>
                    <a:pt x="92" y="50"/>
                  </a:cubicBezTo>
                  <a:cubicBezTo>
                    <a:pt x="92" y="50"/>
                    <a:pt x="93" y="50"/>
                    <a:pt x="93" y="50"/>
                  </a:cubicBezTo>
                  <a:cubicBezTo>
                    <a:pt x="93" y="50"/>
                    <a:pt x="96" y="54"/>
                    <a:pt x="96" y="54"/>
                  </a:cubicBezTo>
                  <a:cubicBezTo>
                    <a:pt x="96" y="54"/>
                    <a:pt x="96" y="54"/>
                    <a:pt x="97" y="54"/>
                  </a:cubicBezTo>
                  <a:cubicBezTo>
                    <a:pt x="98" y="54"/>
                    <a:pt x="100" y="53"/>
                    <a:pt x="102" y="53"/>
                  </a:cubicBezTo>
                  <a:cubicBezTo>
                    <a:pt x="101" y="54"/>
                    <a:pt x="99" y="55"/>
                    <a:pt x="98" y="57"/>
                  </a:cubicBezTo>
                  <a:cubicBezTo>
                    <a:pt x="97" y="58"/>
                    <a:pt x="97" y="59"/>
                    <a:pt x="97" y="60"/>
                  </a:cubicBezTo>
                  <a:cubicBezTo>
                    <a:pt x="96" y="61"/>
                    <a:pt x="96" y="62"/>
                    <a:pt x="95" y="63"/>
                  </a:cubicBezTo>
                  <a:cubicBezTo>
                    <a:pt x="95" y="63"/>
                    <a:pt x="96" y="64"/>
                    <a:pt x="95" y="65"/>
                  </a:cubicBezTo>
                  <a:cubicBezTo>
                    <a:pt x="95" y="65"/>
                    <a:pt x="95" y="65"/>
                    <a:pt x="95" y="66"/>
                  </a:cubicBezTo>
                  <a:cubicBezTo>
                    <a:pt x="94" y="69"/>
                    <a:pt x="95" y="69"/>
                    <a:pt x="98" y="69"/>
                  </a:cubicBezTo>
                  <a:cubicBezTo>
                    <a:pt x="98" y="69"/>
                    <a:pt x="98" y="69"/>
                    <a:pt x="99" y="69"/>
                  </a:cubicBezTo>
                  <a:cubicBezTo>
                    <a:pt x="100" y="69"/>
                    <a:pt x="102" y="69"/>
                    <a:pt x="103" y="68"/>
                  </a:cubicBezTo>
                  <a:cubicBezTo>
                    <a:pt x="107" y="67"/>
                    <a:pt x="123" y="69"/>
                    <a:pt x="124" y="64"/>
                  </a:cubicBezTo>
                  <a:cubicBezTo>
                    <a:pt x="124" y="63"/>
                    <a:pt x="124" y="59"/>
                    <a:pt x="125" y="59"/>
                  </a:cubicBezTo>
                  <a:cubicBezTo>
                    <a:pt x="125" y="59"/>
                    <a:pt x="125" y="59"/>
                    <a:pt x="126" y="59"/>
                  </a:cubicBezTo>
                  <a:cubicBezTo>
                    <a:pt x="126" y="60"/>
                    <a:pt x="125" y="62"/>
                    <a:pt x="125" y="62"/>
                  </a:cubicBezTo>
                  <a:cubicBezTo>
                    <a:pt x="126" y="62"/>
                    <a:pt x="126" y="62"/>
                    <a:pt x="126" y="62"/>
                  </a:cubicBezTo>
                  <a:cubicBezTo>
                    <a:pt x="127" y="62"/>
                    <a:pt x="128" y="62"/>
                    <a:pt x="129" y="61"/>
                  </a:cubicBezTo>
                  <a:cubicBezTo>
                    <a:pt x="130" y="61"/>
                    <a:pt x="130" y="61"/>
                    <a:pt x="131" y="61"/>
                  </a:cubicBezTo>
                  <a:cubicBezTo>
                    <a:pt x="132" y="61"/>
                    <a:pt x="132" y="61"/>
                    <a:pt x="132" y="62"/>
                  </a:cubicBezTo>
                  <a:cubicBezTo>
                    <a:pt x="131" y="64"/>
                    <a:pt x="128" y="64"/>
                    <a:pt x="131" y="66"/>
                  </a:cubicBezTo>
                  <a:cubicBezTo>
                    <a:pt x="131" y="66"/>
                    <a:pt x="131" y="66"/>
                    <a:pt x="131" y="66"/>
                  </a:cubicBezTo>
                  <a:cubicBezTo>
                    <a:pt x="132" y="66"/>
                    <a:pt x="132" y="66"/>
                    <a:pt x="133" y="66"/>
                  </a:cubicBezTo>
                  <a:cubicBezTo>
                    <a:pt x="133" y="66"/>
                    <a:pt x="134" y="66"/>
                    <a:pt x="134" y="66"/>
                  </a:cubicBezTo>
                  <a:cubicBezTo>
                    <a:pt x="134" y="66"/>
                    <a:pt x="134" y="66"/>
                    <a:pt x="134" y="66"/>
                  </a:cubicBezTo>
                  <a:cubicBezTo>
                    <a:pt x="134" y="66"/>
                    <a:pt x="134" y="66"/>
                    <a:pt x="134" y="66"/>
                  </a:cubicBezTo>
                  <a:cubicBezTo>
                    <a:pt x="135" y="66"/>
                    <a:pt x="136" y="65"/>
                    <a:pt x="137" y="65"/>
                  </a:cubicBezTo>
                  <a:cubicBezTo>
                    <a:pt x="138" y="65"/>
                    <a:pt x="139" y="65"/>
                    <a:pt x="140" y="65"/>
                  </a:cubicBezTo>
                  <a:cubicBezTo>
                    <a:pt x="140" y="65"/>
                    <a:pt x="140" y="65"/>
                    <a:pt x="141" y="65"/>
                  </a:cubicBezTo>
                  <a:cubicBezTo>
                    <a:pt x="141" y="65"/>
                    <a:pt x="141" y="65"/>
                    <a:pt x="141" y="65"/>
                  </a:cubicBezTo>
                  <a:cubicBezTo>
                    <a:pt x="143" y="65"/>
                    <a:pt x="144" y="63"/>
                    <a:pt x="146" y="63"/>
                  </a:cubicBezTo>
                  <a:cubicBezTo>
                    <a:pt x="146" y="63"/>
                    <a:pt x="146" y="63"/>
                    <a:pt x="146" y="63"/>
                  </a:cubicBezTo>
                  <a:cubicBezTo>
                    <a:pt x="147" y="63"/>
                    <a:pt x="147" y="64"/>
                    <a:pt x="148" y="64"/>
                  </a:cubicBezTo>
                  <a:cubicBezTo>
                    <a:pt x="148" y="64"/>
                    <a:pt x="148" y="64"/>
                    <a:pt x="148" y="64"/>
                  </a:cubicBezTo>
                  <a:cubicBezTo>
                    <a:pt x="150" y="64"/>
                    <a:pt x="152" y="63"/>
                    <a:pt x="154" y="62"/>
                  </a:cubicBezTo>
                  <a:cubicBezTo>
                    <a:pt x="155" y="61"/>
                    <a:pt x="157" y="59"/>
                    <a:pt x="159" y="59"/>
                  </a:cubicBezTo>
                  <a:cubicBezTo>
                    <a:pt x="159" y="59"/>
                    <a:pt x="159" y="59"/>
                    <a:pt x="159" y="59"/>
                  </a:cubicBezTo>
                  <a:cubicBezTo>
                    <a:pt x="156" y="66"/>
                    <a:pt x="151" y="72"/>
                    <a:pt x="144" y="72"/>
                  </a:cubicBezTo>
                  <a:cubicBezTo>
                    <a:pt x="143" y="72"/>
                    <a:pt x="143" y="72"/>
                    <a:pt x="142" y="72"/>
                  </a:cubicBezTo>
                  <a:cubicBezTo>
                    <a:pt x="141" y="71"/>
                    <a:pt x="140" y="71"/>
                    <a:pt x="138" y="71"/>
                  </a:cubicBezTo>
                  <a:cubicBezTo>
                    <a:pt x="135" y="71"/>
                    <a:pt x="131" y="72"/>
                    <a:pt x="127" y="73"/>
                  </a:cubicBezTo>
                  <a:cubicBezTo>
                    <a:pt x="118" y="76"/>
                    <a:pt x="109" y="78"/>
                    <a:pt x="100" y="81"/>
                  </a:cubicBezTo>
                  <a:cubicBezTo>
                    <a:pt x="96" y="82"/>
                    <a:pt x="92" y="83"/>
                    <a:pt x="88" y="84"/>
                  </a:cubicBezTo>
                  <a:cubicBezTo>
                    <a:pt x="87" y="84"/>
                    <a:pt x="84" y="85"/>
                    <a:pt x="84" y="85"/>
                  </a:cubicBezTo>
                  <a:cubicBezTo>
                    <a:pt x="81" y="90"/>
                    <a:pt x="102" y="97"/>
                    <a:pt x="106" y="98"/>
                  </a:cubicBezTo>
                  <a:cubicBezTo>
                    <a:pt x="108" y="99"/>
                    <a:pt x="111" y="99"/>
                    <a:pt x="114" y="99"/>
                  </a:cubicBezTo>
                  <a:cubicBezTo>
                    <a:pt x="118" y="99"/>
                    <a:pt x="121" y="98"/>
                    <a:pt x="125" y="97"/>
                  </a:cubicBezTo>
                  <a:cubicBezTo>
                    <a:pt x="143" y="92"/>
                    <a:pt x="160" y="87"/>
                    <a:pt x="178" y="81"/>
                  </a:cubicBezTo>
                  <a:cubicBezTo>
                    <a:pt x="190" y="78"/>
                    <a:pt x="201" y="73"/>
                    <a:pt x="213" y="69"/>
                  </a:cubicBezTo>
                  <a:cubicBezTo>
                    <a:pt x="213" y="68"/>
                    <a:pt x="214" y="68"/>
                    <a:pt x="214" y="68"/>
                  </a:cubicBezTo>
                  <a:cubicBezTo>
                    <a:pt x="216" y="68"/>
                    <a:pt x="217" y="69"/>
                    <a:pt x="218" y="70"/>
                  </a:cubicBezTo>
                  <a:cubicBezTo>
                    <a:pt x="223" y="72"/>
                    <a:pt x="228" y="74"/>
                    <a:pt x="234" y="74"/>
                  </a:cubicBezTo>
                  <a:cubicBezTo>
                    <a:pt x="233" y="74"/>
                    <a:pt x="233" y="74"/>
                    <a:pt x="233" y="74"/>
                  </a:cubicBezTo>
                  <a:cubicBezTo>
                    <a:pt x="234" y="73"/>
                    <a:pt x="235" y="72"/>
                    <a:pt x="236" y="71"/>
                  </a:cubicBezTo>
                  <a:cubicBezTo>
                    <a:pt x="236" y="70"/>
                    <a:pt x="237" y="68"/>
                    <a:pt x="239" y="68"/>
                  </a:cubicBezTo>
                  <a:cubicBezTo>
                    <a:pt x="239" y="68"/>
                    <a:pt x="239" y="68"/>
                    <a:pt x="239" y="68"/>
                  </a:cubicBezTo>
                  <a:cubicBezTo>
                    <a:pt x="240" y="68"/>
                    <a:pt x="240" y="68"/>
                    <a:pt x="240" y="68"/>
                  </a:cubicBezTo>
                  <a:cubicBezTo>
                    <a:pt x="240" y="68"/>
                    <a:pt x="240" y="68"/>
                    <a:pt x="240" y="68"/>
                  </a:cubicBezTo>
                  <a:cubicBezTo>
                    <a:pt x="245" y="68"/>
                    <a:pt x="251" y="69"/>
                    <a:pt x="255" y="69"/>
                  </a:cubicBezTo>
                  <a:cubicBezTo>
                    <a:pt x="263" y="69"/>
                    <a:pt x="271" y="69"/>
                    <a:pt x="278" y="69"/>
                  </a:cubicBezTo>
                  <a:cubicBezTo>
                    <a:pt x="278" y="69"/>
                    <a:pt x="278" y="69"/>
                    <a:pt x="278" y="69"/>
                  </a:cubicBezTo>
                  <a:cubicBezTo>
                    <a:pt x="281" y="69"/>
                    <a:pt x="276" y="67"/>
                    <a:pt x="279" y="66"/>
                  </a:cubicBezTo>
                  <a:cubicBezTo>
                    <a:pt x="280" y="66"/>
                    <a:pt x="283" y="65"/>
                    <a:pt x="283" y="63"/>
                  </a:cubicBezTo>
                  <a:cubicBezTo>
                    <a:pt x="283" y="62"/>
                    <a:pt x="281" y="63"/>
                    <a:pt x="281" y="62"/>
                  </a:cubicBezTo>
                  <a:cubicBezTo>
                    <a:pt x="280" y="59"/>
                    <a:pt x="284" y="58"/>
                    <a:pt x="285" y="57"/>
                  </a:cubicBezTo>
                  <a:cubicBezTo>
                    <a:pt x="286" y="57"/>
                    <a:pt x="286" y="56"/>
                    <a:pt x="287" y="55"/>
                  </a:cubicBezTo>
                  <a:cubicBezTo>
                    <a:pt x="289" y="54"/>
                    <a:pt x="286" y="53"/>
                    <a:pt x="286" y="53"/>
                  </a:cubicBezTo>
                  <a:cubicBezTo>
                    <a:pt x="287" y="50"/>
                    <a:pt x="291" y="50"/>
                    <a:pt x="286" y="49"/>
                  </a:cubicBezTo>
                  <a:cubicBezTo>
                    <a:pt x="287" y="47"/>
                    <a:pt x="289" y="45"/>
                    <a:pt x="291" y="43"/>
                  </a:cubicBezTo>
                  <a:cubicBezTo>
                    <a:pt x="294" y="40"/>
                    <a:pt x="293" y="38"/>
                    <a:pt x="292" y="34"/>
                  </a:cubicBezTo>
                  <a:cubicBezTo>
                    <a:pt x="292" y="31"/>
                    <a:pt x="290" y="29"/>
                    <a:pt x="288" y="27"/>
                  </a:cubicBezTo>
                  <a:cubicBezTo>
                    <a:pt x="284" y="25"/>
                    <a:pt x="280" y="24"/>
                    <a:pt x="276" y="23"/>
                  </a:cubicBezTo>
                  <a:cubicBezTo>
                    <a:pt x="274" y="22"/>
                    <a:pt x="271" y="22"/>
                    <a:pt x="268" y="22"/>
                  </a:cubicBezTo>
                  <a:cubicBezTo>
                    <a:pt x="266" y="22"/>
                    <a:pt x="265" y="22"/>
                    <a:pt x="263" y="23"/>
                  </a:cubicBezTo>
                  <a:cubicBezTo>
                    <a:pt x="261" y="26"/>
                    <a:pt x="259" y="26"/>
                    <a:pt x="259" y="29"/>
                  </a:cubicBezTo>
                  <a:cubicBezTo>
                    <a:pt x="258" y="33"/>
                    <a:pt x="261" y="32"/>
                    <a:pt x="264" y="34"/>
                  </a:cubicBezTo>
                  <a:cubicBezTo>
                    <a:pt x="264" y="34"/>
                    <a:pt x="263" y="34"/>
                    <a:pt x="263" y="34"/>
                  </a:cubicBezTo>
                  <a:cubicBezTo>
                    <a:pt x="259" y="34"/>
                    <a:pt x="259" y="37"/>
                    <a:pt x="259" y="41"/>
                  </a:cubicBezTo>
                  <a:cubicBezTo>
                    <a:pt x="258" y="41"/>
                    <a:pt x="257" y="39"/>
                    <a:pt x="257" y="38"/>
                  </a:cubicBezTo>
                  <a:cubicBezTo>
                    <a:pt x="257" y="36"/>
                    <a:pt x="256" y="35"/>
                    <a:pt x="256" y="34"/>
                  </a:cubicBezTo>
                  <a:cubicBezTo>
                    <a:pt x="255" y="32"/>
                    <a:pt x="256" y="31"/>
                    <a:pt x="254" y="30"/>
                  </a:cubicBezTo>
                  <a:cubicBezTo>
                    <a:pt x="254" y="29"/>
                    <a:pt x="251" y="29"/>
                    <a:pt x="251" y="29"/>
                  </a:cubicBezTo>
                  <a:cubicBezTo>
                    <a:pt x="250" y="29"/>
                    <a:pt x="250" y="29"/>
                    <a:pt x="250" y="29"/>
                  </a:cubicBezTo>
                  <a:cubicBezTo>
                    <a:pt x="249" y="29"/>
                    <a:pt x="248" y="29"/>
                    <a:pt x="247" y="29"/>
                  </a:cubicBezTo>
                  <a:cubicBezTo>
                    <a:pt x="247" y="29"/>
                    <a:pt x="246" y="29"/>
                    <a:pt x="245" y="29"/>
                  </a:cubicBezTo>
                  <a:cubicBezTo>
                    <a:pt x="245" y="29"/>
                    <a:pt x="244" y="29"/>
                    <a:pt x="244" y="29"/>
                  </a:cubicBezTo>
                  <a:cubicBezTo>
                    <a:pt x="241" y="29"/>
                    <a:pt x="242" y="25"/>
                    <a:pt x="240" y="23"/>
                  </a:cubicBezTo>
                  <a:cubicBezTo>
                    <a:pt x="238" y="22"/>
                    <a:pt x="236" y="21"/>
                    <a:pt x="234" y="21"/>
                  </a:cubicBezTo>
                  <a:cubicBezTo>
                    <a:pt x="234" y="21"/>
                    <a:pt x="233" y="21"/>
                    <a:pt x="233" y="21"/>
                  </a:cubicBezTo>
                  <a:cubicBezTo>
                    <a:pt x="232" y="22"/>
                    <a:pt x="231" y="22"/>
                    <a:pt x="230" y="22"/>
                  </a:cubicBezTo>
                  <a:cubicBezTo>
                    <a:pt x="230" y="22"/>
                    <a:pt x="230" y="22"/>
                    <a:pt x="230" y="22"/>
                  </a:cubicBezTo>
                  <a:cubicBezTo>
                    <a:pt x="228" y="22"/>
                    <a:pt x="229" y="19"/>
                    <a:pt x="229" y="17"/>
                  </a:cubicBezTo>
                  <a:cubicBezTo>
                    <a:pt x="230" y="16"/>
                    <a:pt x="232" y="11"/>
                    <a:pt x="230" y="10"/>
                  </a:cubicBezTo>
                  <a:cubicBezTo>
                    <a:pt x="229" y="10"/>
                    <a:pt x="228" y="8"/>
                    <a:pt x="228" y="8"/>
                  </a:cubicBezTo>
                  <a:cubicBezTo>
                    <a:pt x="226" y="6"/>
                    <a:pt x="223" y="6"/>
                    <a:pt x="222" y="5"/>
                  </a:cubicBezTo>
                  <a:cubicBezTo>
                    <a:pt x="221" y="4"/>
                    <a:pt x="221" y="2"/>
                    <a:pt x="2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20"/>
            <p:cNvSpPr/>
            <p:nvPr/>
          </p:nvSpPr>
          <p:spPr bwMode="auto">
            <a:xfrm>
              <a:off x="5516554" y="670747"/>
              <a:ext cx="171450" cy="109538"/>
            </a:xfrm>
            <a:custGeom>
              <a:gdLst>
                <a:gd name="T0" fmla="*/ 42 w 46"/>
                <a:gd name="T1" fmla="*/ 0 h 29"/>
                <a:gd name="T2" fmla="*/ 35 w 46"/>
                <a:gd name="T3" fmla="*/ 3 h 29"/>
                <a:gd name="T4" fmla="*/ 32 w 46"/>
                <a:gd name="T5" fmla="*/ 4 h 29"/>
                <a:gd name="T6" fmla="*/ 31 w 46"/>
                <a:gd name="T7" fmla="*/ 6 h 29"/>
                <a:gd name="T8" fmla="*/ 25 w 46"/>
                <a:gd name="T9" fmla="*/ 7 h 29"/>
                <a:gd name="T10" fmla="*/ 13 w 46"/>
                <a:gd name="T11" fmla="*/ 14 h 29"/>
                <a:gd name="T12" fmla="*/ 4 w 46"/>
                <a:gd name="T13" fmla="*/ 21 h 29"/>
                <a:gd name="T14" fmla="*/ 8 w 46"/>
                <a:gd name="T15" fmla="*/ 26 h 29"/>
                <a:gd name="T16" fmla="*/ 13 w 46"/>
                <a:gd name="T17" fmla="*/ 28 h 29"/>
                <a:gd name="T18" fmla="*/ 14 w 46"/>
                <a:gd name="T19" fmla="*/ 28 h 29"/>
                <a:gd name="T20" fmla="*/ 19 w 46"/>
                <a:gd name="T21" fmla="*/ 29 h 29"/>
                <a:gd name="T22" fmla="*/ 19 w 46"/>
                <a:gd name="T23" fmla="*/ 29 h 29"/>
                <a:gd name="T24" fmla="*/ 31 w 46"/>
                <a:gd name="T25" fmla="*/ 21 h 29"/>
                <a:gd name="T26" fmla="*/ 42 w 46"/>
                <a:gd name="T27" fmla="*/ 9 h 29"/>
                <a:gd name="T28" fmla="*/ 43 w 46"/>
                <a:gd name="T29" fmla="*/ 0 h 29"/>
                <a:gd name="T30" fmla="*/ 42 w 46"/>
                <a:gd name="T31"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8">
                  <a:moveTo>
                    <a:pt x="42" y="0"/>
                  </a:moveTo>
                  <a:cubicBezTo>
                    <a:pt x="39" y="0"/>
                    <a:pt x="38" y="2"/>
                    <a:pt x="35" y="3"/>
                  </a:cubicBezTo>
                  <a:cubicBezTo>
                    <a:pt x="34" y="4"/>
                    <a:pt x="33" y="3"/>
                    <a:pt x="32" y="4"/>
                  </a:cubicBezTo>
                  <a:cubicBezTo>
                    <a:pt x="31" y="4"/>
                    <a:pt x="31" y="6"/>
                    <a:pt x="31" y="6"/>
                  </a:cubicBezTo>
                  <a:cubicBezTo>
                    <a:pt x="29" y="7"/>
                    <a:pt x="27" y="7"/>
                    <a:pt x="25" y="7"/>
                  </a:cubicBezTo>
                  <a:cubicBezTo>
                    <a:pt x="20" y="8"/>
                    <a:pt x="17" y="11"/>
                    <a:pt x="13" y="14"/>
                  </a:cubicBezTo>
                  <a:cubicBezTo>
                    <a:pt x="10" y="17"/>
                    <a:pt x="7" y="19"/>
                    <a:pt x="4" y="21"/>
                  </a:cubicBezTo>
                  <a:cubicBezTo>
                    <a:pt x="0" y="25"/>
                    <a:pt x="5" y="25"/>
                    <a:pt x="8" y="26"/>
                  </a:cubicBezTo>
                  <a:cubicBezTo>
                    <a:pt x="10" y="26"/>
                    <a:pt x="14" y="26"/>
                    <a:pt x="13" y="28"/>
                  </a:cubicBezTo>
                  <a:cubicBezTo>
                    <a:pt x="13" y="28"/>
                    <a:pt x="13" y="28"/>
                    <a:pt x="14" y="28"/>
                  </a:cubicBezTo>
                  <a:cubicBezTo>
                    <a:pt x="16" y="28"/>
                    <a:pt x="17" y="29"/>
                    <a:pt x="19" y="29"/>
                  </a:cubicBezTo>
                  <a:cubicBezTo>
                    <a:pt x="19" y="29"/>
                    <a:pt x="19" y="29"/>
                    <a:pt x="19" y="29"/>
                  </a:cubicBezTo>
                  <a:cubicBezTo>
                    <a:pt x="24" y="29"/>
                    <a:pt x="28" y="24"/>
                    <a:pt x="31" y="21"/>
                  </a:cubicBezTo>
                  <a:cubicBezTo>
                    <a:pt x="35" y="17"/>
                    <a:pt x="38" y="13"/>
                    <a:pt x="42" y="9"/>
                  </a:cubicBezTo>
                  <a:cubicBezTo>
                    <a:pt x="45" y="5"/>
                    <a:pt x="46" y="4"/>
                    <a:pt x="43" y="0"/>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21"/>
            <p:cNvSpPr/>
            <p:nvPr/>
          </p:nvSpPr>
          <p:spPr bwMode="auto">
            <a:xfrm>
              <a:off x="8991591" y="1786759"/>
              <a:ext cx="123825" cy="85725"/>
            </a:xfrm>
            <a:custGeom>
              <a:gdLst>
                <a:gd name="T0" fmla="*/ 25 w 33"/>
                <a:gd name="T1" fmla="*/ 0 h 23"/>
                <a:gd name="T2" fmla="*/ 9 w 33"/>
                <a:gd name="T3" fmla="*/ 16 h 23"/>
                <a:gd name="T4" fmla="*/ 6 w 33"/>
                <a:gd name="T5" fmla="*/ 23 h 23"/>
                <a:gd name="T6" fmla="*/ 6 w 33"/>
                <a:gd name="T7" fmla="*/ 23 h 23"/>
                <a:gd name="T8" fmla="*/ 13 w 33"/>
                <a:gd name="T9" fmla="*/ 20 h 23"/>
                <a:gd name="T10" fmla="*/ 19 w 33"/>
                <a:gd name="T11" fmla="*/ 17 h 23"/>
                <a:gd name="T12" fmla="*/ 20 w 33"/>
                <a:gd name="T13" fmla="*/ 15 h 23"/>
                <a:gd name="T14" fmla="*/ 23 w 33"/>
                <a:gd name="T15" fmla="*/ 12 h 23"/>
                <a:gd name="T16" fmla="*/ 25 w 33"/>
                <a:gd name="T17" fmla="*/ 8 h 23"/>
                <a:gd name="T18" fmla="*/ 25 w 33"/>
                <a:gd name="T19" fmla="*/ 7 h 23"/>
                <a:gd name="T20" fmla="*/ 25 w 33"/>
                <a:gd name="T21" fmla="*/ 7 h 23"/>
                <a:gd name="T22" fmla="*/ 26 w 33"/>
                <a:gd name="T23" fmla="*/ 7 h 23"/>
                <a:gd name="T24" fmla="*/ 27 w 33"/>
                <a:gd name="T25" fmla="*/ 7 h 23"/>
                <a:gd name="T26" fmla="*/ 27 w 33"/>
                <a:gd name="T27" fmla="*/ 7 h 23"/>
                <a:gd name="T28" fmla="*/ 30 w 33"/>
                <a:gd name="T29" fmla="*/ 5 h 23"/>
                <a:gd name="T30" fmla="*/ 25 w 33"/>
                <a:gd name="T31"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23">
                  <a:moveTo>
                    <a:pt x="25" y="0"/>
                  </a:moveTo>
                  <a:cubicBezTo>
                    <a:pt x="20" y="5"/>
                    <a:pt x="14" y="10"/>
                    <a:pt x="9" y="16"/>
                  </a:cubicBezTo>
                  <a:cubicBezTo>
                    <a:pt x="7" y="17"/>
                    <a:pt x="0" y="22"/>
                    <a:pt x="6" y="23"/>
                  </a:cubicBezTo>
                  <a:cubicBezTo>
                    <a:pt x="6" y="23"/>
                    <a:pt x="6" y="23"/>
                    <a:pt x="6" y="23"/>
                  </a:cubicBezTo>
                  <a:cubicBezTo>
                    <a:pt x="8" y="23"/>
                    <a:pt x="11" y="21"/>
                    <a:pt x="13" y="20"/>
                  </a:cubicBezTo>
                  <a:cubicBezTo>
                    <a:pt x="15" y="20"/>
                    <a:pt x="17" y="19"/>
                    <a:pt x="19" y="17"/>
                  </a:cubicBezTo>
                  <a:cubicBezTo>
                    <a:pt x="19" y="16"/>
                    <a:pt x="19" y="16"/>
                    <a:pt x="20" y="15"/>
                  </a:cubicBezTo>
                  <a:cubicBezTo>
                    <a:pt x="21" y="14"/>
                    <a:pt x="22" y="13"/>
                    <a:pt x="23" y="12"/>
                  </a:cubicBezTo>
                  <a:cubicBezTo>
                    <a:pt x="24" y="11"/>
                    <a:pt x="24" y="9"/>
                    <a:pt x="25" y="8"/>
                  </a:cubicBezTo>
                  <a:cubicBezTo>
                    <a:pt x="25" y="8"/>
                    <a:pt x="25" y="7"/>
                    <a:pt x="25" y="7"/>
                  </a:cubicBezTo>
                  <a:cubicBezTo>
                    <a:pt x="25" y="7"/>
                    <a:pt x="25" y="7"/>
                    <a:pt x="25" y="7"/>
                  </a:cubicBezTo>
                  <a:cubicBezTo>
                    <a:pt x="25" y="7"/>
                    <a:pt x="26" y="7"/>
                    <a:pt x="26" y="7"/>
                  </a:cubicBezTo>
                  <a:cubicBezTo>
                    <a:pt x="26" y="7"/>
                    <a:pt x="27" y="7"/>
                    <a:pt x="27" y="7"/>
                  </a:cubicBezTo>
                  <a:cubicBezTo>
                    <a:pt x="27" y="7"/>
                    <a:pt x="27" y="7"/>
                    <a:pt x="27" y="7"/>
                  </a:cubicBezTo>
                  <a:cubicBezTo>
                    <a:pt x="28" y="7"/>
                    <a:pt x="29" y="6"/>
                    <a:pt x="30" y="5"/>
                  </a:cubicBezTo>
                  <a:cubicBezTo>
                    <a:pt x="33" y="2"/>
                    <a:pt x="27"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22"/>
            <p:cNvSpPr/>
            <p:nvPr/>
          </p:nvSpPr>
          <p:spPr bwMode="auto">
            <a:xfrm>
              <a:off x="7505691" y="756472"/>
              <a:ext cx="280988" cy="177800"/>
            </a:xfrm>
            <a:custGeom>
              <a:gdLst>
                <a:gd name="T0" fmla="*/ 40 w 75"/>
                <a:gd name="T1" fmla="*/ 0 h 47"/>
                <a:gd name="T2" fmla="*/ 22 w 75"/>
                <a:gd name="T3" fmla="*/ 6 h 47"/>
                <a:gd name="T4" fmla="*/ 10 w 75"/>
                <a:gd name="T5" fmla="*/ 12 h 47"/>
                <a:gd name="T6" fmla="*/ 14 w 75"/>
                <a:gd name="T7" fmla="*/ 11 h 47"/>
                <a:gd name="T8" fmla="*/ 15 w 75"/>
                <a:gd name="T9" fmla="*/ 11 h 47"/>
                <a:gd name="T10" fmla="*/ 3 w 75"/>
                <a:gd name="T11" fmla="*/ 21 h 47"/>
                <a:gd name="T12" fmla="*/ 0 w 75"/>
                <a:gd name="T13" fmla="*/ 30 h 47"/>
                <a:gd name="T14" fmla="*/ 2 w 75"/>
                <a:gd name="T15" fmla="*/ 30 h 47"/>
                <a:gd name="T16" fmla="*/ 6 w 75"/>
                <a:gd name="T17" fmla="*/ 34 h 47"/>
                <a:gd name="T18" fmla="*/ 8 w 75"/>
                <a:gd name="T19" fmla="*/ 34 h 47"/>
                <a:gd name="T20" fmla="*/ 11 w 75"/>
                <a:gd name="T21" fmla="*/ 31 h 47"/>
                <a:gd name="T22" fmla="*/ 20 w 75"/>
                <a:gd name="T23" fmla="*/ 38 h 47"/>
                <a:gd name="T24" fmla="*/ 20 w 75"/>
                <a:gd name="T25" fmla="*/ 38 h 47"/>
                <a:gd name="T26" fmla="*/ 21 w 75"/>
                <a:gd name="T27" fmla="*/ 38 h 47"/>
                <a:gd name="T28" fmla="*/ 21 w 75"/>
                <a:gd name="T29" fmla="*/ 38 h 47"/>
                <a:gd name="T30" fmla="*/ 22 w 75"/>
                <a:gd name="T31" fmla="*/ 38 h 47"/>
                <a:gd name="T32" fmla="*/ 24 w 75"/>
                <a:gd name="T33" fmla="*/ 40 h 47"/>
                <a:gd name="T34" fmla="*/ 26 w 75"/>
                <a:gd name="T35" fmla="*/ 41 h 47"/>
                <a:gd name="T36" fmla="*/ 26 w 75"/>
                <a:gd name="T37" fmla="*/ 40 h 47"/>
                <a:gd name="T38" fmla="*/ 27 w 75"/>
                <a:gd name="T39" fmla="*/ 40 h 47"/>
                <a:gd name="T40" fmla="*/ 29 w 75"/>
                <a:gd name="T41" fmla="*/ 40 h 47"/>
                <a:gd name="T42" fmla="*/ 31 w 75"/>
                <a:gd name="T43" fmla="*/ 39 h 47"/>
                <a:gd name="T44" fmla="*/ 32 w 75"/>
                <a:gd name="T45" fmla="*/ 39 h 47"/>
                <a:gd name="T46" fmla="*/ 39 w 75"/>
                <a:gd name="T47" fmla="*/ 45 h 47"/>
                <a:gd name="T48" fmla="*/ 39 w 75"/>
                <a:gd name="T49" fmla="*/ 45 h 47"/>
                <a:gd name="T50" fmla="*/ 40 w 75"/>
                <a:gd name="T51" fmla="*/ 45 h 47"/>
                <a:gd name="T52" fmla="*/ 41 w 75"/>
                <a:gd name="T53" fmla="*/ 45 h 47"/>
                <a:gd name="T54" fmla="*/ 42 w 75"/>
                <a:gd name="T55" fmla="*/ 45 h 47"/>
                <a:gd name="T56" fmla="*/ 45 w 75"/>
                <a:gd name="T57" fmla="*/ 47 h 47"/>
                <a:gd name="T58" fmla="*/ 47 w 75"/>
                <a:gd name="T59" fmla="*/ 47 h 47"/>
                <a:gd name="T60" fmla="*/ 51 w 75"/>
                <a:gd name="T61" fmla="*/ 46 h 47"/>
                <a:gd name="T62" fmla="*/ 55 w 75"/>
                <a:gd name="T63" fmla="*/ 46 h 47"/>
                <a:gd name="T64" fmla="*/ 59 w 75"/>
                <a:gd name="T65" fmla="*/ 46 h 47"/>
                <a:gd name="T66" fmla="*/ 62 w 75"/>
                <a:gd name="T67" fmla="*/ 46 h 47"/>
                <a:gd name="T68" fmla="*/ 74 w 75"/>
                <a:gd name="T69" fmla="*/ 37 h 47"/>
                <a:gd name="T70" fmla="*/ 74 w 75"/>
                <a:gd name="T71" fmla="*/ 30 h 47"/>
                <a:gd name="T72" fmla="*/ 70 w 75"/>
                <a:gd name="T73" fmla="*/ 28 h 47"/>
                <a:gd name="T74" fmla="*/ 73 w 75"/>
                <a:gd name="T75" fmla="*/ 24 h 47"/>
                <a:gd name="T76" fmla="*/ 72 w 75"/>
                <a:gd name="T77" fmla="*/ 18 h 47"/>
                <a:gd name="T78" fmla="*/ 70 w 75"/>
                <a:gd name="T79" fmla="*/ 16 h 47"/>
                <a:gd name="T80" fmla="*/ 68 w 75"/>
                <a:gd name="T81" fmla="*/ 13 h 47"/>
                <a:gd name="T82" fmla="*/ 65 w 75"/>
                <a:gd name="T83" fmla="*/ 12 h 47"/>
                <a:gd name="T84" fmla="*/ 54 w 75"/>
                <a:gd name="T85" fmla="*/ 3 h 47"/>
                <a:gd name="T86" fmla="*/ 40 w 75"/>
                <a:gd name="T87"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47">
                  <a:moveTo>
                    <a:pt x="40" y="0"/>
                  </a:moveTo>
                  <a:cubicBezTo>
                    <a:pt x="34" y="2"/>
                    <a:pt x="28" y="4"/>
                    <a:pt x="22" y="6"/>
                  </a:cubicBezTo>
                  <a:cubicBezTo>
                    <a:pt x="20" y="7"/>
                    <a:pt x="11" y="9"/>
                    <a:pt x="10" y="12"/>
                  </a:cubicBezTo>
                  <a:cubicBezTo>
                    <a:pt x="12" y="12"/>
                    <a:pt x="13" y="11"/>
                    <a:pt x="14" y="11"/>
                  </a:cubicBezTo>
                  <a:cubicBezTo>
                    <a:pt x="14" y="11"/>
                    <a:pt x="15" y="11"/>
                    <a:pt x="15" y="11"/>
                  </a:cubicBezTo>
                  <a:cubicBezTo>
                    <a:pt x="12" y="15"/>
                    <a:pt x="6" y="17"/>
                    <a:pt x="3" y="21"/>
                  </a:cubicBezTo>
                  <a:cubicBezTo>
                    <a:pt x="2" y="23"/>
                    <a:pt x="1" y="28"/>
                    <a:pt x="0" y="30"/>
                  </a:cubicBezTo>
                  <a:cubicBezTo>
                    <a:pt x="1" y="30"/>
                    <a:pt x="2" y="30"/>
                    <a:pt x="2" y="30"/>
                  </a:cubicBezTo>
                  <a:cubicBezTo>
                    <a:pt x="4" y="30"/>
                    <a:pt x="4" y="33"/>
                    <a:pt x="6" y="34"/>
                  </a:cubicBezTo>
                  <a:cubicBezTo>
                    <a:pt x="7" y="34"/>
                    <a:pt x="7" y="34"/>
                    <a:pt x="8" y="34"/>
                  </a:cubicBezTo>
                  <a:cubicBezTo>
                    <a:pt x="9" y="34"/>
                    <a:pt x="9" y="31"/>
                    <a:pt x="11" y="31"/>
                  </a:cubicBezTo>
                  <a:cubicBezTo>
                    <a:pt x="12" y="35"/>
                    <a:pt x="16" y="37"/>
                    <a:pt x="20" y="38"/>
                  </a:cubicBezTo>
                  <a:cubicBezTo>
                    <a:pt x="20" y="38"/>
                    <a:pt x="20" y="38"/>
                    <a:pt x="20" y="38"/>
                  </a:cubicBezTo>
                  <a:cubicBezTo>
                    <a:pt x="20" y="38"/>
                    <a:pt x="20" y="38"/>
                    <a:pt x="21" y="38"/>
                  </a:cubicBezTo>
                  <a:cubicBezTo>
                    <a:pt x="21" y="38"/>
                    <a:pt x="21" y="38"/>
                    <a:pt x="21" y="38"/>
                  </a:cubicBezTo>
                  <a:cubicBezTo>
                    <a:pt x="21" y="38"/>
                    <a:pt x="22" y="38"/>
                    <a:pt x="22" y="38"/>
                  </a:cubicBezTo>
                  <a:cubicBezTo>
                    <a:pt x="23" y="38"/>
                    <a:pt x="23" y="40"/>
                    <a:pt x="24" y="40"/>
                  </a:cubicBezTo>
                  <a:cubicBezTo>
                    <a:pt x="25" y="41"/>
                    <a:pt x="26" y="41"/>
                    <a:pt x="26" y="41"/>
                  </a:cubicBezTo>
                  <a:cubicBezTo>
                    <a:pt x="27" y="41"/>
                    <a:pt x="27" y="41"/>
                    <a:pt x="26" y="40"/>
                  </a:cubicBezTo>
                  <a:cubicBezTo>
                    <a:pt x="27" y="40"/>
                    <a:pt x="27" y="40"/>
                    <a:pt x="27" y="40"/>
                  </a:cubicBezTo>
                  <a:cubicBezTo>
                    <a:pt x="28" y="40"/>
                    <a:pt x="28" y="40"/>
                    <a:pt x="29" y="40"/>
                  </a:cubicBezTo>
                  <a:cubicBezTo>
                    <a:pt x="30" y="39"/>
                    <a:pt x="30" y="39"/>
                    <a:pt x="31" y="39"/>
                  </a:cubicBezTo>
                  <a:cubicBezTo>
                    <a:pt x="31" y="39"/>
                    <a:pt x="31" y="39"/>
                    <a:pt x="32" y="39"/>
                  </a:cubicBezTo>
                  <a:cubicBezTo>
                    <a:pt x="35" y="41"/>
                    <a:pt x="35" y="44"/>
                    <a:pt x="39" y="45"/>
                  </a:cubicBezTo>
                  <a:cubicBezTo>
                    <a:pt x="39" y="45"/>
                    <a:pt x="39" y="45"/>
                    <a:pt x="39" y="45"/>
                  </a:cubicBezTo>
                  <a:cubicBezTo>
                    <a:pt x="39" y="45"/>
                    <a:pt x="40" y="45"/>
                    <a:pt x="40" y="45"/>
                  </a:cubicBezTo>
                  <a:cubicBezTo>
                    <a:pt x="40" y="45"/>
                    <a:pt x="41" y="45"/>
                    <a:pt x="41" y="45"/>
                  </a:cubicBezTo>
                  <a:cubicBezTo>
                    <a:pt x="41" y="45"/>
                    <a:pt x="41" y="45"/>
                    <a:pt x="42" y="45"/>
                  </a:cubicBezTo>
                  <a:cubicBezTo>
                    <a:pt x="43" y="45"/>
                    <a:pt x="44" y="46"/>
                    <a:pt x="45" y="47"/>
                  </a:cubicBezTo>
                  <a:cubicBezTo>
                    <a:pt x="45" y="47"/>
                    <a:pt x="46" y="47"/>
                    <a:pt x="47" y="47"/>
                  </a:cubicBezTo>
                  <a:cubicBezTo>
                    <a:pt x="48" y="47"/>
                    <a:pt x="50" y="47"/>
                    <a:pt x="51" y="46"/>
                  </a:cubicBezTo>
                  <a:cubicBezTo>
                    <a:pt x="52" y="46"/>
                    <a:pt x="54" y="46"/>
                    <a:pt x="55" y="46"/>
                  </a:cubicBezTo>
                  <a:cubicBezTo>
                    <a:pt x="57" y="46"/>
                    <a:pt x="58" y="46"/>
                    <a:pt x="59" y="46"/>
                  </a:cubicBezTo>
                  <a:cubicBezTo>
                    <a:pt x="60" y="46"/>
                    <a:pt x="61" y="46"/>
                    <a:pt x="62" y="46"/>
                  </a:cubicBezTo>
                  <a:cubicBezTo>
                    <a:pt x="68" y="46"/>
                    <a:pt x="73" y="45"/>
                    <a:pt x="74" y="37"/>
                  </a:cubicBezTo>
                  <a:cubicBezTo>
                    <a:pt x="74" y="35"/>
                    <a:pt x="75" y="32"/>
                    <a:pt x="74" y="30"/>
                  </a:cubicBezTo>
                  <a:cubicBezTo>
                    <a:pt x="73" y="29"/>
                    <a:pt x="71" y="29"/>
                    <a:pt x="70" y="28"/>
                  </a:cubicBezTo>
                  <a:cubicBezTo>
                    <a:pt x="69" y="27"/>
                    <a:pt x="73" y="25"/>
                    <a:pt x="73" y="24"/>
                  </a:cubicBezTo>
                  <a:cubicBezTo>
                    <a:pt x="73" y="23"/>
                    <a:pt x="72" y="19"/>
                    <a:pt x="72" y="18"/>
                  </a:cubicBezTo>
                  <a:cubicBezTo>
                    <a:pt x="72" y="17"/>
                    <a:pt x="71" y="16"/>
                    <a:pt x="70" y="16"/>
                  </a:cubicBezTo>
                  <a:cubicBezTo>
                    <a:pt x="69" y="15"/>
                    <a:pt x="69" y="14"/>
                    <a:pt x="68" y="13"/>
                  </a:cubicBezTo>
                  <a:cubicBezTo>
                    <a:pt x="67" y="12"/>
                    <a:pt x="66" y="12"/>
                    <a:pt x="65" y="12"/>
                  </a:cubicBezTo>
                  <a:cubicBezTo>
                    <a:pt x="61" y="10"/>
                    <a:pt x="58" y="6"/>
                    <a:pt x="54" y="3"/>
                  </a:cubicBezTo>
                  <a:cubicBezTo>
                    <a:pt x="50" y="0"/>
                    <a:pt x="45"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23"/>
            <p:cNvSpPr/>
            <p:nvPr/>
          </p:nvSpPr>
          <p:spPr bwMode="auto">
            <a:xfrm>
              <a:off x="9186854" y="1947097"/>
              <a:ext cx="211138" cy="161925"/>
            </a:xfrm>
            <a:custGeom>
              <a:gdLst>
                <a:gd name="T0" fmla="*/ 35 w 56"/>
                <a:gd name="T1" fmla="*/ 0 h 43"/>
                <a:gd name="T2" fmla="*/ 30 w 56"/>
                <a:gd name="T3" fmla="*/ 0 h 43"/>
                <a:gd name="T4" fmla="*/ 28 w 56"/>
                <a:gd name="T5" fmla="*/ 1 h 43"/>
                <a:gd name="T6" fmla="*/ 27 w 56"/>
                <a:gd name="T7" fmla="*/ 1 h 43"/>
                <a:gd name="T8" fmla="*/ 24 w 56"/>
                <a:gd name="T9" fmla="*/ 0 h 43"/>
                <a:gd name="T10" fmla="*/ 24 w 56"/>
                <a:gd name="T11" fmla="*/ 0 h 43"/>
                <a:gd name="T12" fmla="*/ 18 w 56"/>
                <a:gd name="T13" fmla="*/ 1 h 43"/>
                <a:gd name="T14" fmla="*/ 12 w 56"/>
                <a:gd name="T15" fmla="*/ 5 h 43"/>
                <a:gd name="T16" fmla="*/ 6 w 56"/>
                <a:gd name="T17" fmla="*/ 13 h 43"/>
                <a:gd name="T18" fmla="*/ 0 w 56"/>
                <a:gd name="T19" fmla="*/ 23 h 43"/>
                <a:gd name="T20" fmla="*/ 3 w 56"/>
                <a:gd name="T21" fmla="*/ 36 h 43"/>
                <a:gd name="T22" fmla="*/ 19 w 56"/>
                <a:gd name="T23" fmla="*/ 43 h 43"/>
                <a:gd name="T24" fmla="*/ 21 w 56"/>
                <a:gd name="T25" fmla="*/ 43 h 43"/>
                <a:gd name="T26" fmla="*/ 36 w 56"/>
                <a:gd name="T27" fmla="*/ 41 h 43"/>
                <a:gd name="T28" fmla="*/ 52 w 56"/>
                <a:gd name="T29" fmla="*/ 27 h 43"/>
                <a:gd name="T30" fmla="*/ 51 w 56"/>
                <a:gd name="T31" fmla="*/ 18 h 43"/>
                <a:gd name="T32" fmla="*/ 51 w 56"/>
                <a:gd name="T33" fmla="*/ 4 h 43"/>
                <a:gd name="T34" fmla="*/ 44 w 56"/>
                <a:gd name="T35" fmla="*/ 3 h 43"/>
                <a:gd name="T36" fmla="*/ 38 w 56"/>
                <a:gd name="T37" fmla="*/ 0 h 43"/>
                <a:gd name="T38" fmla="*/ 35 w 56"/>
                <a:gd name="T39"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43">
                  <a:moveTo>
                    <a:pt x="35" y="0"/>
                  </a:moveTo>
                  <a:cubicBezTo>
                    <a:pt x="33" y="0"/>
                    <a:pt x="32" y="0"/>
                    <a:pt x="30" y="0"/>
                  </a:cubicBezTo>
                  <a:cubicBezTo>
                    <a:pt x="29" y="1"/>
                    <a:pt x="28" y="1"/>
                    <a:pt x="28" y="1"/>
                  </a:cubicBezTo>
                  <a:cubicBezTo>
                    <a:pt x="27" y="1"/>
                    <a:pt x="27" y="1"/>
                    <a:pt x="27" y="1"/>
                  </a:cubicBezTo>
                  <a:cubicBezTo>
                    <a:pt x="26" y="1"/>
                    <a:pt x="25" y="0"/>
                    <a:pt x="24" y="0"/>
                  </a:cubicBezTo>
                  <a:cubicBezTo>
                    <a:pt x="24" y="0"/>
                    <a:pt x="24" y="0"/>
                    <a:pt x="24" y="0"/>
                  </a:cubicBezTo>
                  <a:cubicBezTo>
                    <a:pt x="22" y="0"/>
                    <a:pt x="19" y="1"/>
                    <a:pt x="18" y="1"/>
                  </a:cubicBezTo>
                  <a:cubicBezTo>
                    <a:pt x="15" y="2"/>
                    <a:pt x="14" y="3"/>
                    <a:pt x="12" y="5"/>
                  </a:cubicBezTo>
                  <a:cubicBezTo>
                    <a:pt x="10" y="7"/>
                    <a:pt x="8" y="10"/>
                    <a:pt x="6" y="13"/>
                  </a:cubicBezTo>
                  <a:cubicBezTo>
                    <a:pt x="4" y="16"/>
                    <a:pt x="1" y="19"/>
                    <a:pt x="0" y="23"/>
                  </a:cubicBezTo>
                  <a:cubicBezTo>
                    <a:pt x="0" y="27"/>
                    <a:pt x="1" y="33"/>
                    <a:pt x="3" y="36"/>
                  </a:cubicBezTo>
                  <a:cubicBezTo>
                    <a:pt x="8" y="40"/>
                    <a:pt x="12" y="43"/>
                    <a:pt x="19" y="43"/>
                  </a:cubicBezTo>
                  <a:cubicBezTo>
                    <a:pt x="19" y="43"/>
                    <a:pt x="20" y="43"/>
                    <a:pt x="21" y="43"/>
                  </a:cubicBezTo>
                  <a:cubicBezTo>
                    <a:pt x="26" y="43"/>
                    <a:pt x="31" y="43"/>
                    <a:pt x="36" y="41"/>
                  </a:cubicBezTo>
                  <a:cubicBezTo>
                    <a:pt x="43" y="39"/>
                    <a:pt x="52" y="36"/>
                    <a:pt x="52" y="27"/>
                  </a:cubicBezTo>
                  <a:cubicBezTo>
                    <a:pt x="52" y="24"/>
                    <a:pt x="52" y="21"/>
                    <a:pt x="51" y="18"/>
                  </a:cubicBezTo>
                  <a:cubicBezTo>
                    <a:pt x="48" y="13"/>
                    <a:pt x="56" y="9"/>
                    <a:pt x="51" y="4"/>
                  </a:cubicBezTo>
                  <a:cubicBezTo>
                    <a:pt x="49" y="3"/>
                    <a:pt x="47" y="3"/>
                    <a:pt x="44" y="3"/>
                  </a:cubicBezTo>
                  <a:cubicBezTo>
                    <a:pt x="42" y="2"/>
                    <a:pt x="40" y="1"/>
                    <a:pt x="38" y="0"/>
                  </a:cubicBezTo>
                  <a:cubicBezTo>
                    <a:pt x="37" y="0"/>
                    <a:pt x="36"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24"/>
            <p:cNvSpPr/>
            <p:nvPr/>
          </p:nvSpPr>
          <p:spPr bwMode="auto">
            <a:xfrm>
              <a:off x="6507154" y="1102547"/>
              <a:ext cx="38100" cy="11113"/>
            </a:xfrm>
            <a:custGeom>
              <a:gdLst>
                <a:gd name="T0" fmla="*/ 4 w 10"/>
                <a:gd name="T1" fmla="*/ 0 h 3"/>
                <a:gd name="T2" fmla="*/ 0 w 10"/>
                <a:gd name="T3" fmla="*/ 1 h 3"/>
                <a:gd name="T4" fmla="*/ 2 w 10"/>
                <a:gd name="T5" fmla="*/ 2 h 3"/>
                <a:gd name="T6" fmla="*/ 2 w 10"/>
                <a:gd name="T7" fmla="*/ 2 h 3"/>
                <a:gd name="T8" fmla="*/ 10 w 10"/>
                <a:gd name="T9" fmla="*/ 3 h 3"/>
                <a:gd name="T10" fmla="*/ 4 w 10"/>
                <a:gd name="T11" fmla="*/ 0 h 3"/>
              </a:gdLst>
              <a:cxnLst>
                <a:cxn ang="0">
                  <a:pos x="T0" y="T1"/>
                </a:cxn>
                <a:cxn ang="0">
                  <a:pos x="T2" y="T3"/>
                </a:cxn>
                <a:cxn ang="0">
                  <a:pos x="T4" y="T5"/>
                </a:cxn>
                <a:cxn ang="0">
                  <a:pos x="T6" y="T7"/>
                </a:cxn>
                <a:cxn ang="0">
                  <a:pos x="T8" y="T9"/>
                </a:cxn>
                <a:cxn ang="0">
                  <a:pos x="T10" y="T11"/>
                </a:cxn>
              </a:cxnLst>
              <a:rect l="0" t="0" r="r" b="b"/>
              <a:pathLst>
                <a:path w="10" h="3">
                  <a:moveTo>
                    <a:pt x="4" y="0"/>
                  </a:moveTo>
                  <a:cubicBezTo>
                    <a:pt x="2" y="0"/>
                    <a:pt x="1" y="0"/>
                    <a:pt x="0" y="1"/>
                  </a:cubicBezTo>
                  <a:cubicBezTo>
                    <a:pt x="0" y="2"/>
                    <a:pt x="1" y="2"/>
                    <a:pt x="2" y="2"/>
                  </a:cubicBezTo>
                  <a:cubicBezTo>
                    <a:pt x="2" y="2"/>
                    <a:pt x="2" y="2"/>
                    <a:pt x="2" y="2"/>
                  </a:cubicBezTo>
                  <a:cubicBezTo>
                    <a:pt x="5" y="3"/>
                    <a:pt x="8" y="2"/>
                    <a:pt x="10" y="3"/>
                  </a:cubicBezTo>
                  <a:cubicBezTo>
                    <a:pt x="9"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5"/>
            <p:cNvSpPr/>
            <p:nvPr/>
          </p:nvSpPr>
          <p:spPr bwMode="auto">
            <a:xfrm>
              <a:off x="9043979" y="3563172"/>
              <a:ext cx="26988" cy="36513"/>
            </a:xfrm>
            <a:custGeom>
              <a:gdLst>
                <a:gd name="T0" fmla="*/ 5 w 7"/>
                <a:gd name="T1" fmla="*/ 0 h 10"/>
                <a:gd name="T2" fmla="*/ 2 w 7"/>
                <a:gd name="T3" fmla="*/ 5 h 10"/>
                <a:gd name="T4" fmla="*/ 0 w 7"/>
                <a:gd name="T5" fmla="*/ 10 h 10"/>
                <a:gd name="T6" fmla="*/ 1 w 7"/>
                <a:gd name="T7" fmla="*/ 10 h 10"/>
                <a:gd name="T8" fmla="*/ 7 w 7"/>
                <a:gd name="T9" fmla="*/ 1 h 10"/>
                <a:gd name="T10" fmla="*/ 5 w 7"/>
                <a:gd name="T11" fmla="*/ 0 h 10"/>
              </a:gdLst>
              <a:cxnLst>
                <a:cxn ang="0">
                  <a:pos x="T0" y="T1"/>
                </a:cxn>
                <a:cxn ang="0">
                  <a:pos x="T2" y="T3"/>
                </a:cxn>
                <a:cxn ang="0">
                  <a:pos x="T4" y="T5"/>
                </a:cxn>
                <a:cxn ang="0">
                  <a:pos x="T6" y="T7"/>
                </a:cxn>
                <a:cxn ang="0">
                  <a:pos x="T8" y="T9"/>
                </a:cxn>
                <a:cxn ang="0">
                  <a:pos x="T10" y="T11"/>
                </a:cxn>
              </a:cxnLst>
              <a:rect l="0" t="0" r="r" b="b"/>
              <a:pathLst>
                <a:path w="7" h="10">
                  <a:moveTo>
                    <a:pt x="5" y="0"/>
                  </a:moveTo>
                  <a:cubicBezTo>
                    <a:pt x="3" y="0"/>
                    <a:pt x="3" y="4"/>
                    <a:pt x="2" y="5"/>
                  </a:cubicBezTo>
                  <a:cubicBezTo>
                    <a:pt x="2" y="7"/>
                    <a:pt x="0" y="8"/>
                    <a:pt x="0" y="10"/>
                  </a:cubicBezTo>
                  <a:cubicBezTo>
                    <a:pt x="0" y="10"/>
                    <a:pt x="1" y="10"/>
                    <a:pt x="1" y="10"/>
                  </a:cubicBezTo>
                  <a:cubicBezTo>
                    <a:pt x="7" y="10"/>
                    <a:pt x="6" y="6"/>
                    <a:pt x="7" y="1"/>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6"/>
            <p:cNvSpPr/>
            <p:nvPr/>
          </p:nvSpPr>
          <p:spPr bwMode="auto">
            <a:xfrm>
              <a:off x="9717079" y="2724972"/>
              <a:ext cx="85725" cy="49213"/>
            </a:xfrm>
            <a:custGeom>
              <a:gdLst>
                <a:gd name="T0" fmla="*/ 0 w 23"/>
                <a:gd name="T1" fmla="*/ 0 h 13"/>
                <a:gd name="T2" fmla="*/ 9 w 23"/>
                <a:gd name="T3" fmla="*/ 8 h 13"/>
                <a:gd name="T4" fmla="*/ 11 w 23"/>
                <a:gd name="T5" fmla="*/ 12 h 13"/>
                <a:gd name="T6" fmla="*/ 16 w 23"/>
                <a:gd name="T7" fmla="*/ 13 h 13"/>
                <a:gd name="T8" fmla="*/ 23 w 23"/>
                <a:gd name="T9" fmla="*/ 12 h 13"/>
                <a:gd name="T10" fmla="*/ 15 w 23"/>
                <a:gd name="T11" fmla="*/ 4 h 13"/>
                <a:gd name="T12" fmla="*/ 0 w 23"/>
                <a:gd name="T13" fmla="*/ 0 h 13"/>
              </a:gdLst>
              <a:cxnLst>
                <a:cxn ang="0">
                  <a:pos x="T0" y="T1"/>
                </a:cxn>
                <a:cxn ang="0">
                  <a:pos x="T2" y="T3"/>
                </a:cxn>
                <a:cxn ang="0">
                  <a:pos x="T4" y="T5"/>
                </a:cxn>
                <a:cxn ang="0">
                  <a:pos x="T6" y="T7"/>
                </a:cxn>
                <a:cxn ang="0">
                  <a:pos x="T8" y="T9"/>
                </a:cxn>
                <a:cxn ang="0">
                  <a:pos x="T10" y="T11"/>
                </a:cxn>
                <a:cxn ang="0">
                  <a:pos x="T12" y="T13"/>
                </a:cxn>
              </a:cxnLst>
              <a:rect l="0" t="0" r="r" b="b"/>
              <a:pathLst>
                <a:path w="23" h="13">
                  <a:moveTo>
                    <a:pt x="0" y="0"/>
                  </a:moveTo>
                  <a:cubicBezTo>
                    <a:pt x="3" y="3"/>
                    <a:pt x="7" y="5"/>
                    <a:pt x="9" y="8"/>
                  </a:cubicBezTo>
                  <a:cubicBezTo>
                    <a:pt x="10" y="9"/>
                    <a:pt x="10" y="11"/>
                    <a:pt x="11" y="12"/>
                  </a:cubicBezTo>
                  <a:cubicBezTo>
                    <a:pt x="12" y="13"/>
                    <a:pt x="14" y="13"/>
                    <a:pt x="16" y="13"/>
                  </a:cubicBezTo>
                  <a:cubicBezTo>
                    <a:pt x="19" y="13"/>
                    <a:pt x="21" y="13"/>
                    <a:pt x="23" y="12"/>
                  </a:cubicBezTo>
                  <a:cubicBezTo>
                    <a:pt x="21" y="9"/>
                    <a:pt x="18" y="7"/>
                    <a:pt x="15" y="4"/>
                  </a:cubicBezTo>
                  <a:cubicBezTo>
                    <a:pt x="10" y="2"/>
                    <a:pt x="5"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7"/>
            <p:cNvSpPr/>
            <p:nvPr/>
          </p:nvSpPr>
          <p:spPr bwMode="auto">
            <a:xfrm>
              <a:off x="6597641" y="1080322"/>
              <a:ext cx="220663" cy="146050"/>
            </a:xfrm>
            <a:custGeom>
              <a:gdLst>
                <a:gd name="T0" fmla="*/ 41 w 59"/>
                <a:gd name="T1" fmla="*/ 0 h 39"/>
                <a:gd name="T2" fmla="*/ 39 w 59"/>
                <a:gd name="T3" fmla="*/ 0 h 39"/>
                <a:gd name="T4" fmla="*/ 38 w 59"/>
                <a:gd name="T5" fmla="*/ 0 h 39"/>
                <a:gd name="T6" fmla="*/ 38 w 59"/>
                <a:gd name="T7" fmla="*/ 0 h 39"/>
                <a:gd name="T8" fmla="*/ 36 w 59"/>
                <a:gd name="T9" fmla="*/ 0 h 39"/>
                <a:gd name="T10" fmla="*/ 26 w 59"/>
                <a:gd name="T11" fmla="*/ 1 h 39"/>
                <a:gd name="T12" fmla="*/ 26 w 59"/>
                <a:gd name="T13" fmla="*/ 1 h 39"/>
                <a:gd name="T14" fmla="*/ 20 w 59"/>
                <a:gd name="T15" fmla="*/ 1 h 39"/>
                <a:gd name="T16" fmla="*/ 17 w 59"/>
                <a:gd name="T17" fmla="*/ 1 h 39"/>
                <a:gd name="T18" fmla="*/ 16 w 59"/>
                <a:gd name="T19" fmla="*/ 1 h 39"/>
                <a:gd name="T20" fmla="*/ 13 w 59"/>
                <a:gd name="T21" fmla="*/ 2 h 39"/>
                <a:gd name="T22" fmla="*/ 11 w 59"/>
                <a:gd name="T23" fmla="*/ 2 h 39"/>
                <a:gd name="T24" fmla="*/ 10 w 59"/>
                <a:gd name="T25" fmla="*/ 3 h 39"/>
                <a:gd name="T26" fmla="*/ 9 w 59"/>
                <a:gd name="T27" fmla="*/ 3 h 39"/>
                <a:gd name="T28" fmla="*/ 9 w 59"/>
                <a:gd name="T29" fmla="*/ 3 h 39"/>
                <a:gd name="T30" fmla="*/ 6 w 59"/>
                <a:gd name="T31" fmla="*/ 6 h 39"/>
                <a:gd name="T32" fmla="*/ 4 w 59"/>
                <a:gd name="T33" fmla="*/ 9 h 39"/>
                <a:gd name="T34" fmla="*/ 3 w 59"/>
                <a:gd name="T35" fmla="*/ 9 h 39"/>
                <a:gd name="T36" fmla="*/ 1 w 59"/>
                <a:gd name="T37" fmla="*/ 13 h 39"/>
                <a:gd name="T38" fmla="*/ 1 w 59"/>
                <a:gd name="T39" fmla="*/ 13 h 39"/>
                <a:gd name="T40" fmla="*/ 8 w 59"/>
                <a:gd name="T41" fmla="*/ 14 h 39"/>
                <a:gd name="T42" fmla="*/ 13 w 59"/>
                <a:gd name="T43" fmla="*/ 17 h 39"/>
                <a:gd name="T44" fmla="*/ 15 w 59"/>
                <a:gd name="T45" fmla="*/ 18 h 39"/>
                <a:gd name="T46" fmla="*/ 20 w 59"/>
                <a:gd name="T47" fmla="*/ 22 h 39"/>
                <a:gd name="T48" fmla="*/ 20 w 59"/>
                <a:gd name="T49" fmla="*/ 22 h 39"/>
                <a:gd name="T50" fmla="*/ 21 w 59"/>
                <a:gd name="T51" fmla="*/ 23 h 39"/>
                <a:gd name="T52" fmla="*/ 22 w 59"/>
                <a:gd name="T53" fmla="*/ 23 h 39"/>
                <a:gd name="T54" fmla="*/ 22 w 59"/>
                <a:gd name="T55" fmla="*/ 25 h 39"/>
                <a:gd name="T56" fmla="*/ 22 w 59"/>
                <a:gd name="T57" fmla="*/ 25 h 39"/>
                <a:gd name="T58" fmla="*/ 24 w 59"/>
                <a:gd name="T59" fmla="*/ 26 h 39"/>
                <a:gd name="T60" fmla="*/ 27 w 59"/>
                <a:gd name="T61" fmla="*/ 29 h 39"/>
                <a:gd name="T62" fmla="*/ 34 w 59"/>
                <a:gd name="T63" fmla="*/ 35 h 39"/>
                <a:gd name="T64" fmla="*/ 38 w 59"/>
                <a:gd name="T65" fmla="*/ 39 h 39"/>
                <a:gd name="T66" fmla="*/ 39 w 59"/>
                <a:gd name="T67" fmla="*/ 38 h 39"/>
                <a:gd name="T68" fmla="*/ 41 w 59"/>
                <a:gd name="T69" fmla="*/ 38 h 39"/>
                <a:gd name="T70" fmla="*/ 45 w 59"/>
                <a:gd name="T71" fmla="*/ 35 h 39"/>
                <a:gd name="T72" fmla="*/ 46 w 59"/>
                <a:gd name="T73" fmla="*/ 35 h 39"/>
                <a:gd name="T74" fmla="*/ 46 w 59"/>
                <a:gd name="T75" fmla="*/ 35 h 39"/>
                <a:gd name="T76" fmla="*/ 57 w 59"/>
                <a:gd name="T77" fmla="*/ 19 h 39"/>
                <a:gd name="T78" fmla="*/ 58 w 59"/>
                <a:gd name="T79" fmla="*/ 13 h 39"/>
                <a:gd name="T80" fmla="*/ 59 w 59"/>
                <a:gd name="T81" fmla="*/ 11 h 39"/>
                <a:gd name="T82" fmla="*/ 59 w 59"/>
                <a:gd name="T83" fmla="*/ 10 h 39"/>
                <a:gd name="T84" fmla="*/ 59 w 59"/>
                <a:gd name="T85" fmla="*/ 9 h 39"/>
                <a:gd name="T86" fmla="*/ 56 w 59"/>
                <a:gd name="T87" fmla="*/ 7 h 39"/>
                <a:gd name="T88" fmla="*/ 54 w 59"/>
                <a:gd name="T89" fmla="*/ 6 h 39"/>
                <a:gd name="T90" fmla="*/ 50 w 59"/>
                <a:gd name="T91" fmla="*/ 4 h 39"/>
                <a:gd name="T92" fmla="*/ 44 w 59"/>
                <a:gd name="T93" fmla="*/ 0 h 39"/>
                <a:gd name="T94" fmla="*/ 41 w 59"/>
                <a:gd name="T95" fmla="*/ 0 h 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39">
                  <a:moveTo>
                    <a:pt x="41" y="0"/>
                  </a:moveTo>
                  <a:cubicBezTo>
                    <a:pt x="40" y="0"/>
                    <a:pt x="40" y="0"/>
                    <a:pt x="39" y="0"/>
                  </a:cubicBezTo>
                  <a:cubicBezTo>
                    <a:pt x="39" y="0"/>
                    <a:pt x="38" y="0"/>
                    <a:pt x="38" y="0"/>
                  </a:cubicBezTo>
                  <a:cubicBezTo>
                    <a:pt x="38" y="0"/>
                    <a:pt x="38" y="0"/>
                    <a:pt x="38" y="0"/>
                  </a:cubicBezTo>
                  <a:cubicBezTo>
                    <a:pt x="37" y="0"/>
                    <a:pt x="37" y="0"/>
                    <a:pt x="36" y="0"/>
                  </a:cubicBezTo>
                  <a:cubicBezTo>
                    <a:pt x="33" y="0"/>
                    <a:pt x="29" y="1"/>
                    <a:pt x="26" y="1"/>
                  </a:cubicBezTo>
                  <a:cubicBezTo>
                    <a:pt x="26" y="1"/>
                    <a:pt x="26" y="1"/>
                    <a:pt x="26" y="1"/>
                  </a:cubicBezTo>
                  <a:cubicBezTo>
                    <a:pt x="24" y="1"/>
                    <a:pt x="22" y="1"/>
                    <a:pt x="20" y="1"/>
                  </a:cubicBezTo>
                  <a:cubicBezTo>
                    <a:pt x="19" y="1"/>
                    <a:pt x="18" y="1"/>
                    <a:pt x="17" y="1"/>
                  </a:cubicBezTo>
                  <a:cubicBezTo>
                    <a:pt x="16" y="1"/>
                    <a:pt x="16" y="1"/>
                    <a:pt x="16" y="1"/>
                  </a:cubicBezTo>
                  <a:cubicBezTo>
                    <a:pt x="15" y="1"/>
                    <a:pt x="14" y="2"/>
                    <a:pt x="13" y="2"/>
                  </a:cubicBezTo>
                  <a:cubicBezTo>
                    <a:pt x="12" y="2"/>
                    <a:pt x="12" y="2"/>
                    <a:pt x="11" y="2"/>
                  </a:cubicBezTo>
                  <a:cubicBezTo>
                    <a:pt x="11" y="2"/>
                    <a:pt x="10" y="2"/>
                    <a:pt x="10" y="3"/>
                  </a:cubicBezTo>
                  <a:cubicBezTo>
                    <a:pt x="9" y="3"/>
                    <a:pt x="9" y="3"/>
                    <a:pt x="9" y="3"/>
                  </a:cubicBezTo>
                  <a:cubicBezTo>
                    <a:pt x="9" y="3"/>
                    <a:pt x="9" y="3"/>
                    <a:pt x="9" y="3"/>
                  </a:cubicBezTo>
                  <a:cubicBezTo>
                    <a:pt x="8" y="4"/>
                    <a:pt x="7" y="5"/>
                    <a:pt x="6" y="6"/>
                  </a:cubicBezTo>
                  <a:cubicBezTo>
                    <a:pt x="5" y="7"/>
                    <a:pt x="4" y="8"/>
                    <a:pt x="4" y="9"/>
                  </a:cubicBezTo>
                  <a:cubicBezTo>
                    <a:pt x="3" y="9"/>
                    <a:pt x="3" y="9"/>
                    <a:pt x="3" y="9"/>
                  </a:cubicBezTo>
                  <a:cubicBezTo>
                    <a:pt x="1" y="11"/>
                    <a:pt x="0" y="12"/>
                    <a:pt x="1" y="13"/>
                  </a:cubicBezTo>
                  <a:cubicBezTo>
                    <a:pt x="1" y="13"/>
                    <a:pt x="1" y="13"/>
                    <a:pt x="1" y="13"/>
                  </a:cubicBezTo>
                  <a:cubicBezTo>
                    <a:pt x="3" y="14"/>
                    <a:pt x="6" y="13"/>
                    <a:pt x="8" y="14"/>
                  </a:cubicBezTo>
                  <a:cubicBezTo>
                    <a:pt x="10" y="15"/>
                    <a:pt x="12" y="16"/>
                    <a:pt x="13" y="17"/>
                  </a:cubicBezTo>
                  <a:cubicBezTo>
                    <a:pt x="14" y="17"/>
                    <a:pt x="15" y="18"/>
                    <a:pt x="15" y="18"/>
                  </a:cubicBezTo>
                  <a:cubicBezTo>
                    <a:pt x="17" y="19"/>
                    <a:pt x="18" y="20"/>
                    <a:pt x="20" y="22"/>
                  </a:cubicBezTo>
                  <a:cubicBezTo>
                    <a:pt x="20" y="22"/>
                    <a:pt x="20" y="22"/>
                    <a:pt x="20" y="22"/>
                  </a:cubicBezTo>
                  <a:cubicBezTo>
                    <a:pt x="21" y="23"/>
                    <a:pt x="21" y="23"/>
                    <a:pt x="21" y="23"/>
                  </a:cubicBezTo>
                  <a:cubicBezTo>
                    <a:pt x="21" y="23"/>
                    <a:pt x="21" y="23"/>
                    <a:pt x="22" y="23"/>
                  </a:cubicBezTo>
                  <a:cubicBezTo>
                    <a:pt x="22" y="24"/>
                    <a:pt x="22" y="25"/>
                    <a:pt x="22" y="25"/>
                  </a:cubicBezTo>
                  <a:cubicBezTo>
                    <a:pt x="22" y="25"/>
                    <a:pt x="22" y="25"/>
                    <a:pt x="22" y="25"/>
                  </a:cubicBezTo>
                  <a:cubicBezTo>
                    <a:pt x="22" y="26"/>
                    <a:pt x="23" y="26"/>
                    <a:pt x="24" y="26"/>
                  </a:cubicBezTo>
                  <a:cubicBezTo>
                    <a:pt x="25" y="27"/>
                    <a:pt x="26" y="28"/>
                    <a:pt x="27" y="29"/>
                  </a:cubicBezTo>
                  <a:cubicBezTo>
                    <a:pt x="29" y="31"/>
                    <a:pt x="32" y="33"/>
                    <a:pt x="34" y="35"/>
                  </a:cubicBezTo>
                  <a:cubicBezTo>
                    <a:pt x="36" y="36"/>
                    <a:pt x="37" y="38"/>
                    <a:pt x="38" y="39"/>
                  </a:cubicBezTo>
                  <a:cubicBezTo>
                    <a:pt x="38" y="39"/>
                    <a:pt x="39" y="39"/>
                    <a:pt x="39" y="38"/>
                  </a:cubicBezTo>
                  <a:cubicBezTo>
                    <a:pt x="40" y="38"/>
                    <a:pt x="40" y="38"/>
                    <a:pt x="41" y="38"/>
                  </a:cubicBezTo>
                  <a:cubicBezTo>
                    <a:pt x="43" y="37"/>
                    <a:pt x="45" y="36"/>
                    <a:pt x="45" y="35"/>
                  </a:cubicBezTo>
                  <a:cubicBezTo>
                    <a:pt x="46" y="35"/>
                    <a:pt x="46" y="35"/>
                    <a:pt x="46" y="35"/>
                  </a:cubicBezTo>
                  <a:cubicBezTo>
                    <a:pt x="46" y="35"/>
                    <a:pt x="46" y="35"/>
                    <a:pt x="46" y="35"/>
                  </a:cubicBezTo>
                  <a:cubicBezTo>
                    <a:pt x="49" y="30"/>
                    <a:pt x="56" y="25"/>
                    <a:pt x="57" y="19"/>
                  </a:cubicBezTo>
                  <a:cubicBezTo>
                    <a:pt x="58" y="17"/>
                    <a:pt x="58" y="15"/>
                    <a:pt x="58" y="13"/>
                  </a:cubicBezTo>
                  <a:cubicBezTo>
                    <a:pt x="59" y="13"/>
                    <a:pt x="59" y="12"/>
                    <a:pt x="59" y="11"/>
                  </a:cubicBezTo>
                  <a:cubicBezTo>
                    <a:pt x="59" y="10"/>
                    <a:pt x="59" y="10"/>
                    <a:pt x="59" y="10"/>
                  </a:cubicBezTo>
                  <a:cubicBezTo>
                    <a:pt x="59" y="9"/>
                    <a:pt x="59" y="9"/>
                    <a:pt x="59" y="9"/>
                  </a:cubicBezTo>
                  <a:cubicBezTo>
                    <a:pt x="58" y="8"/>
                    <a:pt x="57" y="7"/>
                    <a:pt x="56" y="7"/>
                  </a:cubicBezTo>
                  <a:cubicBezTo>
                    <a:pt x="55" y="7"/>
                    <a:pt x="55" y="6"/>
                    <a:pt x="54" y="6"/>
                  </a:cubicBezTo>
                  <a:cubicBezTo>
                    <a:pt x="53" y="5"/>
                    <a:pt x="51" y="4"/>
                    <a:pt x="50" y="4"/>
                  </a:cubicBezTo>
                  <a:cubicBezTo>
                    <a:pt x="48" y="2"/>
                    <a:pt x="46" y="1"/>
                    <a:pt x="44" y="0"/>
                  </a:cubicBezTo>
                  <a:cubicBezTo>
                    <a:pt x="43" y="0"/>
                    <a:pt x="42"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8"/>
            <p:cNvSpPr>
              <a:spLocks noEditPoints="1"/>
            </p:cNvSpPr>
            <p:nvPr/>
          </p:nvSpPr>
          <p:spPr bwMode="auto">
            <a:xfrm>
              <a:off x="8883641" y="1721672"/>
              <a:ext cx="130175" cy="49213"/>
            </a:xfrm>
            <a:custGeom>
              <a:gdLst>
                <a:gd name="T0" fmla="*/ 11 w 35"/>
                <a:gd name="T1" fmla="*/ 10 h 13"/>
                <a:gd name="T2" fmla="*/ 11 w 35"/>
                <a:gd name="T3" fmla="*/ 10 h 13"/>
                <a:gd name="T4" fmla="*/ 11 w 35"/>
                <a:gd name="T5" fmla="*/ 10 h 13"/>
                <a:gd name="T6" fmla="*/ 11 w 35"/>
                <a:gd name="T7" fmla="*/ 10 h 13"/>
                <a:gd name="T8" fmla="*/ 11 w 35"/>
                <a:gd name="T9" fmla="*/ 10 h 13"/>
                <a:gd name="T10" fmla="*/ 27 w 35"/>
                <a:gd name="T11" fmla="*/ 0 h 13"/>
                <a:gd name="T12" fmla="*/ 24 w 35"/>
                <a:gd name="T13" fmla="*/ 1 h 13"/>
                <a:gd name="T14" fmla="*/ 20 w 35"/>
                <a:gd name="T15" fmla="*/ 3 h 13"/>
                <a:gd name="T16" fmla="*/ 19 w 35"/>
                <a:gd name="T17" fmla="*/ 3 h 13"/>
                <a:gd name="T18" fmla="*/ 12 w 35"/>
                <a:gd name="T19" fmla="*/ 0 h 13"/>
                <a:gd name="T20" fmla="*/ 11 w 35"/>
                <a:gd name="T21" fmla="*/ 0 h 13"/>
                <a:gd name="T22" fmla="*/ 10 w 35"/>
                <a:gd name="T23" fmla="*/ 4 h 13"/>
                <a:gd name="T24" fmla="*/ 9 w 35"/>
                <a:gd name="T25" fmla="*/ 4 h 13"/>
                <a:gd name="T26" fmla="*/ 7 w 35"/>
                <a:gd name="T27" fmla="*/ 4 h 13"/>
                <a:gd name="T28" fmla="*/ 5 w 35"/>
                <a:gd name="T29" fmla="*/ 4 h 13"/>
                <a:gd name="T30" fmla="*/ 0 w 35"/>
                <a:gd name="T31" fmla="*/ 5 h 13"/>
                <a:gd name="T32" fmla="*/ 9 w 35"/>
                <a:gd name="T33" fmla="*/ 7 h 13"/>
                <a:gd name="T34" fmla="*/ 11 w 35"/>
                <a:gd name="T35" fmla="*/ 10 h 13"/>
                <a:gd name="T36" fmla="*/ 13 w 35"/>
                <a:gd name="T37" fmla="*/ 7 h 13"/>
                <a:gd name="T38" fmla="*/ 13 w 35"/>
                <a:gd name="T39" fmla="*/ 11 h 13"/>
                <a:gd name="T40" fmla="*/ 18 w 35"/>
                <a:gd name="T41" fmla="*/ 13 h 13"/>
                <a:gd name="T42" fmla="*/ 17 w 35"/>
                <a:gd name="T43" fmla="*/ 6 h 13"/>
                <a:gd name="T44" fmla="*/ 18 w 35"/>
                <a:gd name="T45" fmla="*/ 6 h 13"/>
                <a:gd name="T46" fmla="*/ 19 w 35"/>
                <a:gd name="T47" fmla="*/ 7 h 13"/>
                <a:gd name="T48" fmla="*/ 20 w 35"/>
                <a:gd name="T49" fmla="*/ 7 h 13"/>
                <a:gd name="T50" fmla="*/ 20 w 35"/>
                <a:gd name="T51" fmla="*/ 7 h 13"/>
                <a:gd name="T52" fmla="*/ 34 w 35"/>
                <a:gd name="T53" fmla="*/ 3 h 13"/>
                <a:gd name="T54" fmla="*/ 29 w 35"/>
                <a:gd name="T55" fmla="*/ 0 h 13"/>
                <a:gd name="T56" fmla="*/ 27 w 35"/>
                <a:gd name="T57"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13">
                  <a:moveTo>
                    <a:pt x="11" y="10"/>
                  </a:moveTo>
                  <a:cubicBezTo>
                    <a:pt x="11" y="10"/>
                    <a:pt x="11" y="10"/>
                    <a:pt x="11" y="10"/>
                  </a:cubicBezTo>
                  <a:cubicBezTo>
                    <a:pt x="11" y="10"/>
                    <a:pt x="11" y="10"/>
                    <a:pt x="11" y="10"/>
                  </a:cubicBezTo>
                  <a:cubicBezTo>
                    <a:pt x="11" y="10"/>
                    <a:pt x="11" y="10"/>
                    <a:pt x="11" y="10"/>
                  </a:cubicBezTo>
                  <a:cubicBezTo>
                    <a:pt x="11" y="10"/>
                    <a:pt x="11" y="10"/>
                    <a:pt x="11" y="10"/>
                  </a:cubicBezTo>
                  <a:moveTo>
                    <a:pt x="27" y="0"/>
                  </a:moveTo>
                  <a:cubicBezTo>
                    <a:pt x="26" y="0"/>
                    <a:pt x="26" y="0"/>
                    <a:pt x="24" y="1"/>
                  </a:cubicBezTo>
                  <a:cubicBezTo>
                    <a:pt x="24" y="1"/>
                    <a:pt x="21" y="3"/>
                    <a:pt x="20" y="3"/>
                  </a:cubicBezTo>
                  <a:cubicBezTo>
                    <a:pt x="19" y="3"/>
                    <a:pt x="19" y="3"/>
                    <a:pt x="19" y="3"/>
                  </a:cubicBezTo>
                  <a:cubicBezTo>
                    <a:pt x="17" y="3"/>
                    <a:pt x="15" y="0"/>
                    <a:pt x="12" y="0"/>
                  </a:cubicBezTo>
                  <a:cubicBezTo>
                    <a:pt x="12" y="0"/>
                    <a:pt x="11" y="0"/>
                    <a:pt x="11" y="0"/>
                  </a:cubicBezTo>
                  <a:cubicBezTo>
                    <a:pt x="8" y="0"/>
                    <a:pt x="5" y="1"/>
                    <a:pt x="10" y="4"/>
                  </a:cubicBezTo>
                  <a:cubicBezTo>
                    <a:pt x="10" y="4"/>
                    <a:pt x="9" y="4"/>
                    <a:pt x="9" y="4"/>
                  </a:cubicBezTo>
                  <a:cubicBezTo>
                    <a:pt x="9" y="4"/>
                    <a:pt x="8" y="4"/>
                    <a:pt x="7" y="4"/>
                  </a:cubicBezTo>
                  <a:cubicBezTo>
                    <a:pt x="6" y="4"/>
                    <a:pt x="6" y="4"/>
                    <a:pt x="5" y="4"/>
                  </a:cubicBezTo>
                  <a:cubicBezTo>
                    <a:pt x="3" y="4"/>
                    <a:pt x="2" y="4"/>
                    <a:pt x="0" y="5"/>
                  </a:cubicBezTo>
                  <a:cubicBezTo>
                    <a:pt x="3" y="6"/>
                    <a:pt x="6" y="5"/>
                    <a:pt x="9" y="7"/>
                  </a:cubicBezTo>
                  <a:cubicBezTo>
                    <a:pt x="9" y="7"/>
                    <a:pt x="11" y="9"/>
                    <a:pt x="11" y="10"/>
                  </a:cubicBezTo>
                  <a:cubicBezTo>
                    <a:pt x="12" y="9"/>
                    <a:pt x="13" y="7"/>
                    <a:pt x="13" y="7"/>
                  </a:cubicBezTo>
                  <a:cubicBezTo>
                    <a:pt x="13" y="8"/>
                    <a:pt x="13" y="10"/>
                    <a:pt x="13" y="11"/>
                  </a:cubicBezTo>
                  <a:cubicBezTo>
                    <a:pt x="18" y="13"/>
                    <a:pt x="18" y="13"/>
                    <a:pt x="18" y="13"/>
                  </a:cubicBezTo>
                  <a:cubicBezTo>
                    <a:pt x="18" y="12"/>
                    <a:pt x="16" y="7"/>
                    <a:pt x="17" y="6"/>
                  </a:cubicBezTo>
                  <a:cubicBezTo>
                    <a:pt x="17" y="6"/>
                    <a:pt x="17" y="6"/>
                    <a:pt x="18" y="6"/>
                  </a:cubicBezTo>
                  <a:cubicBezTo>
                    <a:pt x="18" y="6"/>
                    <a:pt x="18" y="6"/>
                    <a:pt x="19" y="7"/>
                  </a:cubicBezTo>
                  <a:cubicBezTo>
                    <a:pt x="19" y="7"/>
                    <a:pt x="20" y="7"/>
                    <a:pt x="20" y="7"/>
                  </a:cubicBezTo>
                  <a:cubicBezTo>
                    <a:pt x="20" y="7"/>
                    <a:pt x="20" y="7"/>
                    <a:pt x="20" y="7"/>
                  </a:cubicBezTo>
                  <a:cubicBezTo>
                    <a:pt x="22" y="7"/>
                    <a:pt x="33" y="5"/>
                    <a:pt x="34" y="3"/>
                  </a:cubicBezTo>
                  <a:cubicBezTo>
                    <a:pt x="35" y="1"/>
                    <a:pt x="30" y="0"/>
                    <a:pt x="29" y="0"/>
                  </a:cubicBezTo>
                  <a:cubicBezTo>
                    <a:pt x="28"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9"/>
            <p:cNvSpPr/>
            <p:nvPr/>
          </p:nvSpPr>
          <p:spPr bwMode="auto">
            <a:xfrm>
              <a:off x="6780204" y="791397"/>
              <a:ext cx="131763" cy="71438"/>
            </a:xfrm>
            <a:custGeom>
              <a:gdLst>
                <a:gd name="T0" fmla="*/ 18 w 35"/>
                <a:gd name="T1" fmla="*/ 0 h 19"/>
                <a:gd name="T2" fmla="*/ 7 w 35"/>
                <a:gd name="T3" fmla="*/ 5 h 19"/>
                <a:gd name="T4" fmla="*/ 1 w 35"/>
                <a:gd name="T5" fmla="*/ 12 h 19"/>
                <a:gd name="T6" fmla="*/ 3 w 35"/>
                <a:gd name="T7" fmla="*/ 16 h 19"/>
                <a:gd name="T8" fmla="*/ 9 w 35"/>
                <a:gd name="T9" fmla="*/ 18 h 19"/>
                <a:gd name="T10" fmla="*/ 15 w 35"/>
                <a:gd name="T11" fmla="*/ 19 h 19"/>
                <a:gd name="T12" fmla="*/ 22 w 35"/>
                <a:gd name="T13" fmla="*/ 18 h 19"/>
                <a:gd name="T14" fmla="*/ 28 w 35"/>
                <a:gd name="T15" fmla="*/ 10 h 19"/>
                <a:gd name="T16" fmla="*/ 26 w 35"/>
                <a:gd name="T17" fmla="*/ 4 h 19"/>
                <a:gd name="T18" fmla="*/ 18 w 35"/>
                <a:gd name="T1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9">
                  <a:moveTo>
                    <a:pt x="18" y="0"/>
                  </a:moveTo>
                  <a:cubicBezTo>
                    <a:pt x="15" y="1"/>
                    <a:pt x="10" y="2"/>
                    <a:pt x="7" y="5"/>
                  </a:cubicBezTo>
                  <a:cubicBezTo>
                    <a:pt x="4" y="7"/>
                    <a:pt x="3" y="9"/>
                    <a:pt x="1" y="12"/>
                  </a:cubicBezTo>
                  <a:cubicBezTo>
                    <a:pt x="0" y="15"/>
                    <a:pt x="1" y="15"/>
                    <a:pt x="3" y="16"/>
                  </a:cubicBezTo>
                  <a:cubicBezTo>
                    <a:pt x="5" y="17"/>
                    <a:pt x="7" y="18"/>
                    <a:pt x="9" y="18"/>
                  </a:cubicBezTo>
                  <a:cubicBezTo>
                    <a:pt x="11" y="19"/>
                    <a:pt x="13" y="19"/>
                    <a:pt x="15" y="19"/>
                  </a:cubicBezTo>
                  <a:cubicBezTo>
                    <a:pt x="17" y="19"/>
                    <a:pt x="19" y="19"/>
                    <a:pt x="22" y="18"/>
                  </a:cubicBezTo>
                  <a:cubicBezTo>
                    <a:pt x="26" y="17"/>
                    <a:pt x="35" y="14"/>
                    <a:pt x="28" y="10"/>
                  </a:cubicBezTo>
                  <a:cubicBezTo>
                    <a:pt x="27" y="9"/>
                    <a:pt x="27" y="5"/>
                    <a:pt x="26" y="4"/>
                  </a:cubicBezTo>
                  <a:cubicBezTo>
                    <a:pt x="24" y="2"/>
                    <a:pt x="20" y="1"/>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30"/>
            <p:cNvSpPr>
              <a:spLocks noEditPoints="1"/>
            </p:cNvSpPr>
            <p:nvPr/>
          </p:nvSpPr>
          <p:spPr bwMode="auto">
            <a:xfrm>
              <a:off x="9180504" y="1778822"/>
              <a:ext cx="63500" cy="49213"/>
            </a:xfrm>
            <a:custGeom>
              <a:gdLst>
                <a:gd name="T0" fmla="*/ 10 w 17"/>
                <a:gd name="T1" fmla="*/ 13 h 13"/>
                <a:gd name="T2" fmla="*/ 10 w 17"/>
                <a:gd name="T3" fmla="*/ 13 h 13"/>
                <a:gd name="T4" fmla="*/ 10 w 17"/>
                <a:gd name="T5" fmla="*/ 13 h 13"/>
                <a:gd name="T6" fmla="*/ 6 w 17"/>
                <a:gd name="T7" fmla="*/ 0 h 13"/>
                <a:gd name="T8" fmla="*/ 1 w 17"/>
                <a:gd name="T9" fmla="*/ 2 h 13"/>
                <a:gd name="T10" fmla="*/ 0 w 17"/>
                <a:gd name="T11" fmla="*/ 6 h 13"/>
                <a:gd name="T12" fmla="*/ 6 w 17"/>
                <a:gd name="T13" fmla="*/ 12 h 13"/>
                <a:gd name="T14" fmla="*/ 8 w 17"/>
                <a:gd name="T15" fmla="*/ 12 h 13"/>
                <a:gd name="T16" fmla="*/ 8 w 17"/>
                <a:gd name="T17" fmla="*/ 12 h 13"/>
                <a:gd name="T18" fmla="*/ 10 w 17"/>
                <a:gd name="T19" fmla="*/ 13 h 13"/>
                <a:gd name="T20" fmla="*/ 13 w 17"/>
                <a:gd name="T21" fmla="*/ 7 h 13"/>
                <a:gd name="T22" fmla="*/ 17 w 17"/>
                <a:gd name="T23" fmla="*/ 4 h 13"/>
                <a:gd name="T24" fmla="*/ 6 w 17"/>
                <a:gd name="T2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3">
                  <a:moveTo>
                    <a:pt x="10" y="13"/>
                  </a:moveTo>
                  <a:cubicBezTo>
                    <a:pt x="10" y="13"/>
                    <a:pt x="10" y="13"/>
                    <a:pt x="10" y="13"/>
                  </a:cubicBezTo>
                  <a:cubicBezTo>
                    <a:pt x="10" y="13"/>
                    <a:pt x="10" y="13"/>
                    <a:pt x="10" y="13"/>
                  </a:cubicBezTo>
                  <a:moveTo>
                    <a:pt x="6" y="0"/>
                  </a:moveTo>
                  <a:cubicBezTo>
                    <a:pt x="5" y="0"/>
                    <a:pt x="2" y="0"/>
                    <a:pt x="1" y="2"/>
                  </a:cubicBezTo>
                  <a:cubicBezTo>
                    <a:pt x="1" y="2"/>
                    <a:pt x="0" y="6"/>
                    <a:pt x="0" y="6"/>
                  </a:cubicBezTo>
                  <a:cubicBezTo>
                    <a:pt x="0" y="10"/>
                    <a:pt x="3" y="12"/>
                    <a:pt x="6" y="12"/>
                  </a:cubicBezTo>
                  <a:cubicBezTo>
                    <a:pt x="6" y="12"/>
                    <a:pt x="7" y="12"/>
                    <a:pt x="8" y="12"/>
                  </a:cubicBezTo>
                  <a:cubicBezTo>
                    <a:pt x="8" y="12"/>
                    <a:pt x="8" y="12"/>
                    <a:pt x="8" y="12"/>
                  </a:cubicBezTo>
                  <a:cubicBezTo>
                    <a:pt x="9" y="12"/>
                    <a:pt x="11" y="13"/>
                    <a:pt x="10" y="13"/>
                  </a:cubicBezTo>
                  <a:cubicBezTo>
                    <a:pt x="12" y="13"/>
                    <a:pt x="12" y="9"/>
                    <a:pt x="13" y="7"/>
                  </a:cubicBezTo>
                  <a:cubicBezTo>
                    <a:pt x="14" y="6"/>
                    <a:pt x="17" y="5"/>
                    <a:pt x="17" y="4"/>
                  </a:cubicBezTo>
                  <a:cubicBezTo>
                    <a:pt x="17" y="3"/>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31"/>
            <p:cNvSpPr/>
            <p:nvPr/>
          </p:nvSpPr>
          <p:spPr bwMode="auto">
            <a:xfrm>
              <a:off x="8609004" y="2713859"/>
              <a:ext cx="184150" cy="112713"/>
            </a:xfrm>
            <a:custGeom>
              <a:gdLst>
                <a:gd name="T0" fmla="*/ 39 w 49"/>
                <a:gd name="T1" fmla="*/ 0 h 30"/>
                <a:gd name="T2" fmla="*/ 39 w 49"/>
                <a:gd name="T3" fmla="*/ 0 h 30"/>
                <a:gd name="T4" fmla="*/ 34 w 49"/>
                <a:gd name="T5" fmla="*/ 2 h 30"/>
                <a:gd name="T6" fmla="*/ 34 w 49"/>
                <a:gd name="T7" fmla="*/ 2 h 30"/>
                <a:gd name="T8" fmla="*/ 32 w 49"/>
                <a:gd name="T9" fmla="*/ 2 h 30"/>
                <a:gd name="T10" fmla="*/ 30 w 49"/>
                <a:gd name="T11" fmla="*/ 1 h 30"/>
                <a:gd name="T12" fmla="*/ 28 w 49"/>
                <a:gd name="T13" fmla="*/ 2 h 30"/>
                <a:gd name="T14" fmla="*/ 23 w 49"/>
                <a:gd name="T15" fmla="*/ 4 h 30"/>
                <a:gd name="T16" fmla="*/ 20 w 49"/>
                <a:gd name="T17" fmla="*/ 5 h 30"/>
                <a:gd name="T18" fmla="*/ 18 w 49"/>
                <a:gd name="T19" fmla="*/ 4 h 30"/>
                <a:gd name="T20" fmla="*/ 15 w 49"/>
                <a:gd name="T21" fmla="*/ 2 h 30"/>
                <a:gd name="T22" fmla="*/ 14 w 49"/>
                <a:gd name="T23" fmla="*/ 2 h 30"/>
                <a:gd name="T24" fmla="*/ 10 w 49"/>
                <a:gd name="T25" fmla="*/ 5 h 30"/>
                <a:gd name="T26" fmla="*/ 9 w 49"/>
                <a:gd name="T27" fmla="*/ 10 h 30"/>
                <a:gd name="T28" fmla="*/ 0 w 49"/>
                <a:gd name="T29" fmla="*/ 19 h 30"/>
                <a:gd name="T30" fmla="*/ 5 w 49"/>
                <a:gd name="T31" fmla="*/ 28 h 30"/>
                <a:gd name="T32" fmla="*/ 6 w 49"/>
                <a:gd name="T33" fmla="*/ 30 h 30"/>
                <a:gd name="T34" fmla="*/ 8 w 49"/>
                <a:gd name="T35" fmla="*/ 29 h 30"/>
                <a:gd name="T36" fmla="*/ 10 w 49"/>
                <a:gd name="T37" fmla="*/ 28 h 30"/>
                <a:gd name="T38" fmla="*/ 12 w 49"/>
                <a:gd name="T39" fmla="*/ 28 h 30"/>
                <a:gd name="T40" fmla="*/ 18 w 49"/>
                <a:gd name="T41" fmla="*/ 29 h 30"/>
                <a:gd name="T42" fmla="*/ 18 w 49"/>
                <a:gd name="T43" fmla="*/ 29 h 30"/>
                <a:gd name="T44" fmla="*/ 29 w 49"/>
                <a:gd name="T45" fmla="*/ 24 h 30"/>
                <a:gd name="T46" fmla="*/ 36 w 49"/>
                <a:gd name="T47" fmla="*/ 17 h 30"/>
                <a:gd name="T48" fmla="*/ 46 w 49"/>
                <a:gd name="T49" fmla="*/ 10 h 30"/>
                <a:gd name="T50" fmla="*/ 47 w 49"/>
                <a:gd name="T51" fmla="*/ 4 h 30"/>
                <a:gd name="T52" fmla="*/ 44 w 49"/>
                <a:gd name="T53" fmla="*/ 1 h 30"/>
                <a:gd name="T54" fmla="*/ 39 w 49"/>
                <a:gd name="T55"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30">
                  <a:moveTo>
                    <a:pt x="39" y="0"/>
                  </a:moveTo>
                  <a:cubicBezTo>
                    <a:pt x="39" y="0"/>
                    <a:pt x="39" y="0"/>
                    <a:pt x="39" y="0"/>
                  </a:cubicBezTo>
                  <a:cubicBezTo>
                    <a:pt x="36" y="0"/>
                    <a:pt x="36" y="2"/>
                    <a:pt x="34" y="2"/>
                  </a:cubicBezTo>
                  <a:cubicBezTo>
                    <a:pt x="34" y="2"/>
                    <a:pt x="34" y="2"/>
                    <a:pt x="34" y="2"/>
                  </a:cubicBezTo>
                  <a:cubicBezTo>
                    <a:pt x="33" y="2"/>
                    <a:pt x="32" y="2"/>
                    <a:pt x="32" y="2"/>
                  </a:cubicBezTo>
                  <a:cubicBezTo>
                    <a:pt x="31" y="2"/>
                    <a:pt x="30" y="1"/>
                    <a:pt x="30" y="1"/>
                  </a:cubicBezTo>
                  <a:cubicBezTo>
                    <a:pt x="29" y="1"/>
                    <a:pt x="29" y="1"/>
                    <a:pt x="28" y="2"/>
                  </a:cubicBezTo>
                  <a:cubicBezTo>
                    <a:pt x="27" y="2"/>
                    <a:pt x="25" y="3"/>
                    <a:pt x="23" y="4"/>
                  </a:cubicBezTo>
                  <a:cubicBezTo>
                    <a:pt x="22" y="5"/>
                    <a:pt x="21" y="5"/>
                    <a:pt x="20" y="5"/>
                  </a:cubicBezTo>
                  <a:cubicBezTo>
                    <a:pt x="20" y="5"/>
                    <a:pt x="19" y="5"/>
                    <a:pt x="18" y="4"/>
                  </a:cubicBezTo>
                  <a:cubicBezTo>
                    <a:pt x="17" y="4"/>
                    <a:pt x="17" y="2"/>
                    <a:pt x="15" y="2"/>
                  </a:cubicBezTo>
                  <a:cubicBezTo>
                    <a:pt x="15" y="2"/>
                    <a:pt x="15" y="2"/>
                    <a:pt x="14" y="2"/>
                  </a:cubicBezTo>
                  <a:cubicBezTo>
                    <a:pt x="13" y="2"/>
                    <a:pt x="11" y="4"/>
                    <a:pt x="10" y="5"/>
                  </a:cubicBezTo>
                  <a:cubicBezTo>
                    <a:pt x="9" y="7"/>
                    <a:pt x="10" y="9"/>
                    <a:pt x="9" y="10"/>
                  </a:cubicBezTo>
                  <a:cubicBezTo>
                    <a:pt x="7" y="14"/>
                    <a:pt x="3" y="16"/>
                    <a:pt x="0" y="19"/>
                  </a:cubicBezTo>
                  <a:cubicBezTo>
                    <a:pt x="2" y="22"/>
                    <a:pt x="3" y="26"/>
                    <a:pt x="5" y="28"/>
                  </a:cubicBezTo>
                  <a:cubicBezTo>
                    <a:pt x="6" y="30"/>
                    <a:pt x="6" y="30"/>
                    <a:pt x="6" y="30"/>
                  </a:cubicBezTo>
                  <a:cubicBezTo>
                    <a:pt x="6" y="30"/>
                    <a:pt x="7" y="30"/>
                    <a:pt x="8" y="29"/>
                  </a:cubicBezTo>
                  <a:cubicBezTo>
                    <a:pt x="9" y="29"/>
                    <a:pt x="9" y="28"/>
                    <a:pt x="10" y="28"/>
                  </a:cubicBezTo>
                  <a:cubicBezTo>
                    <a:pt x="10" y="28"/>
                    <a:pt x="11" y="28"/>
                    <a:pt x="12" y="28"/>
                  </a:cubicBezTo>
                  <a:cubicBezTo>
                    <a:pt x="14" y="28"/>
                    <a:pt x="16" y="28"/>
                    <a:pt x="18" y="29"/>
                  </a:cubicBezTo>
                  <a:cubicBezTo>
                    <a:pt x="18" y="29"/>
                    <a:pt x="18" y="29"/>
                    <a:pt x="18" y="29"/>
                  </a:cubicBezTo>
                  <a:cubicBezTo>
                    <a:pt x="22" y="29"/>
                    <a:pt x="26" y="26"/>
                    <a:pt x="29" y="24"/>
                  </a:cubicBezTo>
                  <a:cubicBezTo>
                    <a:pt x="31" y="21"/>
                    <a:pt x="34" y="19"/>
                    <a:pt x="36" y="17"/>
                  </a:cubicBezTo>
                  <a:cubicBezTo>
                    <a:pt x="38" y="14"/>
                    <a:pt x="44" y="14"/>
                    <a:pt x="46" y="10"/>
                  </a:cubicBezTo>
                  <a:cubicBezTo>
                    <a:pt x="47" y="8"/>
                    <a:pt x="46" y="6"/>
                    <a:pt x="47" y="4"/>
                  </a:cubicBezTo>
                  <a:cubicBezTo>
                    <a:pt x="49" y="0"/>
                    <a:pt x="46" y="1"/>
                    <a:pt x="44" y="1"/>
                  </a:cubicBezTo>
                  <a:cubicBezTo>
                    <a:pt x="42" y="1"/>
                    <a:pt x="41"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32"/>
            <p:cNvSpPr/>
            <p:nvPr/>
          </p:nvSpPr>
          <p:spPr bwMode="auto">
            <a:xfrm>
              <a:off x="8924916" y="2793234"/>
              <a:ext cx="93663" cy="112713"/>
            </a:xfrm>
            <a:custGeom>
              <a:gdLst>
                <a:gd name="T0" fmla="*/ 17 w 25"/>
                <a:gd name="T1" fmla="*/ 0 h 30"/>
                <a:gd name="T2" fmla="*/ 16 w 25"/>
                <a:gd name="T3" fmla="*/ 0 h 30"/>
                <a:gd name="T4" fmla="*/ 14 w 25"/>
                <a:gd name="T5" fmla="*/ 1 h 30"/>
                <a:gd name="T6" fmla="*/ 12 w 25"/>
                <a:gd name="T7" fmla="*/ 0 h 30"/>
                <a:gd name="T8" fmla="*/ 11 w 25"/>
                <a:gd name="T9" fmla="*/ 0 h 30"/>
                <a:gd name="T10" fmla="*/ 7 w 25"/>
                <a:gd name="T11" fmla="*/ 1 h 30"/>
                <a:gd name="T12" fmla="*/ 4 w 25"/>
                <a:gd name="T13" fmla="*/ 6 h 30"/>
                <a:gd name="T14" fmla="*/ 1 w 25"/>
                <a:gd name="T15" fmla="*/ 11 h 30"/>
                <a:gd name="T16" fmla="*/ 1 w 25"/>
                <a:gd name="T17" fmla="*/ 20 h 30"/>
                <a:gd name="T18" fmla="*/ 11 w 25"/>
                <a:gd name="T19" fmla="*/ 30 h 30"/>
                <a:gd name="T20" fmla="*/ 17 w 25"/>
                <a:gd name="T21" fmla="*/ 23 h 30"/>
                <a:gd name="T22" fmla="*/ 19 w 25"/>
                <a:gd name="T23" fmla="*/ 20 h 30"/>
                <a:gd name="T24" fmla="*/ 20 w 25"/>
                <a:gd name="T25" fmla="*/ 17 h 30"/>
                <a:gd name="T26" fmla="*/ 22 w 25"/>
                <a:gd name="T27" fmla="*/ 14 h 30"/>
                <a:gd name="T28" fmla="*/ 22 w 25"/>
                <a:gd name="T29" fmla="*/ 14 h 30"/>
                <a:gd name="T30" fmla="*/ 22 w 25"/>
                <a:gd name="T31" fmla="*/ 14 h 30"/>
                <a:gd name="T32" fmla="*/ 23 w 25"/>
                <a:gd name="T33" fmla="*/ 14 h 30"/>
                <a:gd name="T34" fmla="*/ 23 w 25"/>
                <a:gd name="T35" fmla="*/ 14 h 30"/>
                <a:gd name="T36" fmla="*/ 24 w 25"/>
                <a:gd name="T37" fmla="*/ 7 h 30"/>
                <a:gd name="T38" fmla="*/ 23 w 25"/>
                <a:gd name="T39" fmla="*/ 4 h 30"/>
                <a:gd name="T40" fmla="*/ 21 w 25"/>
                <a:gd name="T41" fmla="*/ 2 h 30"/>
                <a:gd name="T42" fmla="*/ 17 w 25"/>
                <a:gd name="T43"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0">
                  <a:moveTo>
                    <a:pt x="17" y="0"/>
                  </a:moveTo>
                  <a:cubicBezTo>
                    <a:pt x="17" y="0"/>
                    <a:pt x="16" y="0"/>
                    <a:pt x="16" y="0"/>
                  </a:cubicBezTo>
                  <a:cubicBezTo>
                    <a:pt x="15" y="0"/>
                    <a:pt x="15" y="1"/>
                    <a:pt x="14" y="1"/>
                  </a:cubicBezTo>
                  <a:cubicBezTo>
                    <a:pt x="14" y="1"/>
                    <a:pt x="12" y="0"/>
                    <a:pt x="12" y="0"/>
                  </a:cubicBezTo>
                  <a:cubicBezTo>
                    <a:pt x="12" y="0"/>
                    <a:pt x="11" y="0"/>
                    <a:pt x="11" y="0"/>
                  </a:cubicBezTo>
                  <a:cubicBezTo>
                    <a:pt x="10" y="0"/>
                    <a:pt x="8" y="0"/>
                    <a:pt x="7" y="1"/>
                  </a:cubicBezTo>
                  <a:cubicBezTo>
                    <a:pt x="6" y="2"/>
                    <a:pt x="5" y="5"/>
                    <a:pt x="4" y="6"/>
                  </a:cubicBezTo>
                  <a:cubicBezTo>
                    <a:pt x="3" y="8"/>
                    <a:pt x="2" y="9"/>
                    <a:pt x="1" y="11"/>
                  </a:cubicBezTo>
                  <a:cubicBezTo>
                    <a:pt x="1" y="14"/>
                    <a:pt x="0" y="18"/>
                    <a:pt x="1" y="20"/>
                  </a:cubicBezTo>
                  <a:cubicBezTo>
                    <a:pt x="2" y="24"/>
                    <a:pt x="8" y="27"/>
                    <a:pt x="11" y="30"/>
                  </a:cubicBezTo>
                  <a:cubicBezTo>
                    <a:pt x="16" y="28"/>
                    <a:pt x="15" y="26"/>
                    <a:pt x="17" y="23"/>
                  </a:cubicBezTo>
                  <a:cubicBezTo>
                    <a:pt x="17" y="22"/>
                    <a:pt x="18" y="21"/>
                    <a:pt x="19" y="20"/>
                  </a:cubicBezTo>
                  <a:cubicBezTo>
                    <a:pt x="19" y="19"/>
                    <a:pt x="20" y="18"/>
                    <a:pt x="20" y="17"/>
                  </a:cubicBezTo>
                  <a:cubicBezTo>
                    <a:pt x="21" y="16"/>
                    <a:pt x="21" y="15"/>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4" y="12"/>
                    <a:pt x="24" y="9"/>
                    <a:pt x="24" y="7"/>
                  </a:cubicBezTo>
                  <a:cubicBezTo>
                    <a:pt x="24" y="5"/>
                    <a:pt x="25" y="6"/>
                    <a:pt x="23" y="4"/>
                  </a:cubicBezTo>
                  <a:cubicBezTo>
                    <a:pt x="23" y="4"/>
                    <a:pt x="22" y="3"/>
                    <a:pt x="21" y="2"/>
                  </a:cubicBezTo>
                  <a:cubicBezTo>
                    <a:pt x="19" y="1"/>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3"/>
            <p:cNvSpPr/>
            <p:nvPr/>
          </p:nvSpPr>
          <p:spPr bwMode="auto">
            <a:xfrm>
              <a:off x="10215554" y="2893247"/>
              <a:ext cx="71438" cy="41275"/>
            </a:xfrm>
            <a:custGeom>
              <a:gdLst>
                <a:gd name="T0" fmla="*/ 8 w 19"/>
                <a:gd name="T1" fmla="*/ 0 h 11"/>
                <a:gd name="T2" fmla="*/ 0 w 19"/>
                <a:gd name="T3" fmla="*/ 2 h 11"/>
                <a:gd name="T4" fmla="*/ 11 w 19"/>
                <a:gd name="T5" fmla="*/ 9 h 11"/>
                <a:gd name="T6" fmla="*/ 14 w 19"/>
                <a:gd name="T7" fmla="*/ 11 h 11"/>
                <a:gd name="T8" fmla="*/ 16 w 19"/>
                <a:gd name="T9" fmla="*/ 10 h 11"/>
                <a:gd name="T10" fmla="*/ 17 w 19"/>
                <a:gd name="T11" fmla="*/ 8 h 11"/>
                <a:gd name="T12" fmla="*/ 18 w 19"/>
                <a:gd name="T13" fmla="*/ 7 h 11"/>
                <a:gd name="T14" fmla="*/ 19 w 19"/>
                <a:gd name="T15" fmla="*/ 2 h 11"/>
                <a:gd name="T16" fmla="*/ 8 w 19"/>
                <a:gd name="T1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8" y="0"/>
                  </a:moveTo>
                  <a:cubicBezTo>
                    <a:pt x="5" y="0"/>
                    <a:pt x="3" y="1"/>
                    <a:pt x="0" y="2"/>
                  </a:cubicBezTo>
                  <a:cubicBezTo>
                    <a:pt x="4" y="4"/>
                    <a:pt x="8" y="6"/>
                    <a:pt x="11" y="9"/>
                  </a:cubicBezTo>
                  <a:cubicBezTo>
                    <a:pt x="12" y="10"/>
                    <a:pt x="13" y="11"/>
                    <a:pt x="14" y="11"/>
                  </a:cubicBezTo>
                  <a:cubicBezTo>
                    <a:pt x="14" y="11"/>
                    <a:pt x="15" y="11"/>
                    <a:pt x="16" y="10"/>
                  </a:cubicBezTo>
                  <a:cubicBezTo>
                    <a:pt x="16" y="9"/>
                    <a:pt x="16" y="8"/>
                    <a:pt x="17" y="8"/>
                  </a:cubicBezTo>
                  <a:cubicBezTo>
                    <a:pt x="17" y="8"/>
                    <a:pt x="18" y="8"/>
                    <a:pt x="18" y="7"/>
                  </a:cubicBezTo>
                  <a:cubicBezTo>
                    <a:pt x="19" y="6"/>
                    <a:pt x="19" y="4"/>
                    <a:pt x="19" y="2"/>
                  </a:cubicBezTo>
                  <a:cubicBezTo>
                    <a:pt x="16" y="1"/>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34"/>
            <p:cNvSpPr/>
            <p:nvPr/>
          </p:nvSpPr>
          <p:spPr bwMode="auto">
            <a:xfrm>
              <a:off x="6916729" y="692972"/>
              <a:ext cx="119063" cy="41275"/>
            </a:xfrm>
            <a:custGeom>
              <a:gdLst>
                <a:gd name="T0" fmla="*/ 27 w 32"/>
                <a:gd name="T1" fmla="*/ 0 h 11"/>
                <a:gd name="T2" fmla="*/ 26 w 32"/>
                <a:gd name="T3" fmla="*/ 0 h 11"/>
                <a:gd name="T4" fmla="*/ 15 w 32"/>
                <a:gd name="T5" fmla="*/ 2 h 11"/>
                <a:gd name="T6" fmla="*/ 14 w 32"/>
                <a:gd name="T7" fmla="*/ 2 h 11"/>
                <a:gd name="T8" fmla="*/ 14 w 32"/>
                <a:gd name="T9" fmla="*/ 3 h 11"/>
                <a:gd name="T10" fmla="*/ 9 w 32"/>
                <a:gd name="T11" fmla="*/ 4 h 11"/>
                <a:gd name="T12" fmla="*/ 8 w 32"/>
                <a:gd name="T13" fmla="*/ 4 h 11"/>
                <a:gd name="T14" fmla="*/ 7 w 32"/>
                <a:gd name="T15" fmla="*/ 5 h 11"/>
                <a:gd name="T16" fmla="*/ 0 w 32"/>
                <a:gd name="T17" fmla="*/ 11 h 11"/>
                <a:gd name="T18" fmla="*/ 32 w 32"/>
                <a:gd name="T19" fmla="*/ 3 h 11"/>
                <a:gd name="T20" fmla="*/ 32 w 32"/>
                <a:gd name="T21" fmla="*/ 3 h 11"/>
                <a:gd name="T22" fmla="*/ 32 w 32"/>
                <a:gd name="T23" fmla="*/ 3 h 11"/>
                <a:gd name="T24" fmla="*/ 32 w 32"/>
                <a:gd name="T25" fmla="*/ 2 h 11"/>
                <a:gd name="T26" fmla="*/ 32 w 32"/>
                <a:gd name="T27" fmla="*/ 2 h 11"/>
                <a:gd name="T28" fmla="*/ 30 w 32"/>
                <a:gd name="T29" fmla="*/ 2 h 11"/>
                <a:gd name="T30" fmla="*/ 30 w 32"/>
                <a:gd name="T31" fmla="*/ 1 h 11"/>
                <a:gd name="T32" fmla="*/ 29 w 32"/>
                <a:gd name="T33" fmla="*/ 1 h 11"/>
                <a:gd name="T34" fmla="*/ 27 w 32"/>
                <a:gd name="T35"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11">
                  <a:moveTo>
                    <a:pt x="27" y="0"/>
                  </a:moveTo>
                  <a:cubicBezTo>
                    <a:pt x="26" y="0"/>
                    <a:pt x="26" y="0"/>
                    <a:pt x="26" y="0"/>
                  </a:cubicBezTo>
                  <a:cubicBezTo>
                    <a:pt x="23" y="0"/>
                    <a:pt x="17" y="2"/>
                    <a:pt x="15" y="2"/>
                  </a:cubicBezTo>
                  <a:cubicBezTo>
                    <a:pt x="14" y="2"/>
                    <a:pt x="14" y="2"/>
                    <a:pt x="14" y="2"/>
                  </a:cubicBezTo>
                  <a:cubicBezTo>
                    <a:pt x="14" y="3"/>
                    <a:pt x="14" y="3"/>
                    <a:pt x="14" y="3"/>
                  </a:cubicBezTo>
                  <a:cubicBezTo>
                    <a:pt x="12" y="3"/>
                    <a:pt x="10" y="3"/>
                    <a:pt x="9" y="4"/>
                  </a:cubicBezTo>
                  <a:cubicBezTo>
                    <a:pt x="8" y="4"/>
                    <a:pt x="8" y="4"/>
                    <a:pt x="8" y="4"/>
                  </a:cubicBezTo>
                  <a:cubicBezTo>
                    <a:pt x="8" y="4"/>
                    <a:pt x="7" y="5"/>
                    <a:pt x="7" y="5"/>
                  </a:cubicBezTo>
                  <a:cubicBezTo>
                    <a:pt x="4" y="7"/>
                    <a:pt x="3" y="9"/>
                    <a:pt x="0" y="11"/>
                  </a:cubicBezTo>
                  <a:cubicBezTo>
                    <a:pt x="11" y="8"/>
                    <a:pt x="21" y="5"/>
                    <a:pt x="32" y="3"/>
                  </a:cubicBezTo>
                  <a:cubicBezTo>
                    <a:pt x="32" y="3"/>
                    <a:pt x="32" y="3"/>
                    <a:pt x="32" y="3"/>
                  </a:cubicBezTo>
                  <a:cubicBezTo>
                    <a:pt x="32" y="3"/>
                    <a:pt x="32" y="3"/>
                    <a:pt x="32" y="3"/>
                  </a:cubicBezTo>
                  <a:cubicBezTo>
                    <a:pt x="32" y="2"/>
                    <a:pt x="32" y="2"/>
                    <a:pt x="32" y="2"/>
                  </a:cubicBezTo>
                  <a:cubicBezTo>
                    <a:pt x="32" y="2"/>
                    <a:pt x="32" y="2"/>
                    <a:pt x="32" y="2"/>
                  </a:cubicBezTo>
                  <a:cubicBezTo>
                    <a:pt x="31" y="2"/>
                    <a:pt x="31" y="2"/>
                    <a:pt x="30" y="2"/>
                  </a:cubicBezTo>
                  <a:cubicBezTo>
                    <a:pt x="30" y="1"/>
                    <a:pt x="30" y="1"/>
                    <a:pt x="30" y="1"/>
                  </a:cubicBezTo>
                  <a:cubicBezTo>
                    <a:pt x="30" y="1"/>
                    <a:pt x="29" y="1"/>
                    <a:pt x="29" y="1"/>
                  </a:cubicBezTo>
                  <a:cubicBezTo>
                    <a:pt x="28" y="0"/>
                    <a:pt x="28"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35"/>
            <p:cNvSpPr/>
            <p:nvPr/>
          </p:nvSpPr>
          <p:spPr bwMode="auto">
            <a:xfrm>
              <a:off x="9078904" y="2642422"/>
              <a:ext cx="93663" cy="55563"/>
            </a:xfrm>
            <a:custGeom>
              <a:gdLst>
                <a:gd name="T0" fmla="*/ 8 w 25"/>
                <a:gd name="T1" fmla="*/ 0 h 15"/>
                <a:gd name="T2" fmla="*/ 0 w 25"/>
                <a:gd name="T3" fmla="*/ 4 h 15"/>
                <a:gd name="T4" fmla="*/ 3 w 25"/>
                <a:gd name="T5" fmla="*/ 6 h 15"/>
                <a:gd name="T6" fmla="*/ 11 w 25"/>
                <a:gd name="T7" fmla="*/ 13 h 15"/>
                <a:gd name="T8" fmla="*/ 15 w 25"/>
                <a:gd name="T9" fmla="*/ 15 h 15"/>
                <a:gd name="T10" fmla="*/ 18 w 25"/>
                <a:gd name="T11" fmla="*/ 13 h 15"/>
                <a:gd name="T12" fmla="*/ 24 w 25"/>
                <a:gd name="T13" fmla="*/ 10 h 15"/>
                <a:gd name="T14" fmla="*/ 19 w 25"/>
                <a:gd name="T15" fmla="*/ 2 h 15"/>
                <a:gd name="T16" fmla="*/ 19 w 25"/>
                <a:gd name="T17" fmla="*/ 2 h 15"/>
                <a:gd name="T18" fmla="*/ 19 w 25"/>
                <a:gd name="T19" fmla="*/ 3 h 15"/>
                <a:gd name="T20" fmla="*/ 18 w 25"/>
                <a:gd name="T21" fmla="*/ 3 h 15"/>
                <a:gd name="T22" fmla="*/ 18 w 25"/>
                <a:gd name="T23" fmla="*/ 3 h 15"/>
                <a:gd name="T24" fmla="*/ 17 w 25"/>
                <a:gd name="T25" fmla="*/ 2 h 15"/>
                <a:gd name="T26" fmla="*/ 15 w 25"/>
                <a:gd name="T27" fmla="*/ 1 h 15"/>
                <a:gd name="T28" fmla="*/ 12 w 25"/>
                <a:gd name="T29" fmla="*/ 1 h 15"/>
                <a:gd name="T30" fmla="*/ 12 w 25"/>
                <a:gd name="T31" fmla="*/ 1 h 15"/>
                <a:gd name="T32" fmla="*/ 11 w 25"/>
                <a:gd name="T33" fmla="*/ 1 h 15"/>
                <a:gd name="T34" fmla="*/ 8 w 25"/>
                <a:gd name="T35"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15">
                  <a:moveTo>
                    <a:pt x="8" y="0"/>
                  </a:moveTo>
                  <a:cubicBezTo>
                    <a:pt x="7" y="0"/>
                    <a:pt x="0" y="4"/>
                    <a:pt x="0" y="4"/>
                  </a:cubicBezTo>
                  <a:cubicBezTo>
                    <a:pt x="1" y="5"/>
                    <a:pt x="2" y="5"/>
                    <a:pt x="3" y="6"/>
                  </a:cubicBezTo>
                  <a:cubicBezTo>
                    <a:pt x="6" y="8"/>
                    <a:pt x="8" y="11"/>
                    <a:pt x="11" y="13"/>
                  </a:cubicBezTo>
                  <a:cubicBezTo>
                    <a:pt x="13" y="14"/>
                    <a:pt x="14" y="15"/>
                    <a:pt x="15" y="15"/>
                  </a:cubicBezTo>
                  <a:cubicBezTo>
                    <a:pt x="16" y="15"/>
                    <a:pt x="17" y="14"/>
                    <a:pt x="18" y="13"/>
                  </a:cubicBezTo>
                  <a:cubicBezTo>
                    <a:pt x="21" y="12"/>
                    <a:pt x="23" y="12"/>
                    <a:pt x="24" y="10"/>
                  </a:cubicBezTo>
                  <a:cubicBezTo>
                    <a:pt x="25" y="8"/>
                    <a:pt x="21" y="3"/>
                    <a:pt x="19" y="2"/>
                  </a:cubicBezTo>
                  <a:cubicBezTo>
                    <a:pt x="19" y="2"/>
                    <a:pt x="19" y="2"/>
                    <a:pt x="19" y="2"/>
                  </a:cubicBezTo>
                  <a:cubicBezTo>
                    <a:pt x="19" y="2"/>
                    <a:pt x="19" y="3"/>
                    <a:pt x="19" y="3"/>
                  </a:cubicBezTo>
                  <a:cubicBezTo>
                    <a:pt x="18" y="3"/>
                    <a:pt x="18" y="3"/>
                    <a:pt x="18" y="3"/>
                  </a:cubicBezTo>
                  <a:cubicBezTo>
                    <a:pt x="18" y="3"/>
                    <a:pt x="18" y="3"/>
                    <a:pt x="18" y="3"/>
                  </a:cubicBezTo>
                  <a:cubicBezTo>
                    <a:pt x="17" y="3"/>
                    <a:pt x="17" y="2"/>
                    <a:pt x="17" y="2"/>
                  </a:cubicBezTo>
                  <a:cubicBezTo>
                    <a:pt x="16" y="1"/>
                    <a:pt x="15" y="1"/>
                    <a:pt x="15" y="1"/>
                  </a:cubicBezTo>
                  <a:cubicBezTo>
                    <a:pt x="14" y="1"/>
                    <a:pt x="13" y="1"/>
                    <a:pt x="12" y="1"/>
                  </a:cubicBezTo>
                  <a:cubicBezTo>
                    <a:pt x="12" y="1"/>
                    <a:pt x="12" y="1"/>
                    <a:pt x="12" y="1"/>
                  </a:cubicBezTo>
                  <a:cubicBezTo>
                    <a:pt x="12" y="1"/>
                    <a:pt x="11" y="1"/>
                    <a:pt x="11" y="1"/>
                  </a:cubicBezTo>
                  <a:cubicBezTo>
                    <a:pt x="10" y="1"/>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36"/>
            <p:cNvSpPr>
              <a:spLocks noEditPoints="1"/>
            </p:cNvSpPr>
            <p:nvPr/>
          </p:nvSpPr>
          <p:spPr bwMode="auto">
            <a:xfrm>
              <a:off x="4325929" y="3840984"/>
              <a:ext cx="127000" cy="119063"/>
            </a:xfrm>
            <a:custGeom>
              <a:gdLst>
                <a:gd name="T0" fmla="*/ 0 w 34"/>
                <a:gd name="T1" fmla="*/ 12 h 32"/>
                <a:gd name="T2" fmla="*/ 0 w 34"/>
                <a:gd name="T3" fmla="*/ 12 h 32"/>
                <a:gd name="T4" fmla="*/ 0 w 34"/>
                <a:gd name="T5" fmla="*/ 12 h 32"/>
                <a:gd name="T6" fmla="*/ 2 w 34"/>
                <a:gd name="T7" fmla="*/ 0 h 32"/>
                <a:gd name="T8" fmla="*/ 1 w 34"/>
                <a:gd name="T9" fmla="*/ 0 h 32"/>
                <a:gd name="T10" fmla="*/ 2 w 34"/>
                <a:gd name="T11" fmla="*/ 3 h 32"/>
                <a:gd name="T12" fmla="*/ 0 w 34"/>
                <a:gd name="T13" fmla="*/ 9 h 32"/>
                <a:gd name="T14" fmla="*/ 0 w 34"/>
                <a:gd name="T15" fmla="*/ 9 h 32"/>
                <a:gd name="T16" fmla="*/ 0 w 34"/>
                <a:gd name="T17" fmla="*/ 10 h 32"/>
                <a:gd name="T18" fmla="*/ 1 w 34"/>
                <a:gd name="T19" fmla="*/ 12 h 32"/>
                <a:gd name="T20" fmla="*/ 0 w 34"/>
                <a:gd name="T21" fmla="*/ 12 h 32"/>
                <a:gd name="T22" fmla="*/ 3 w 34"/>
                <a:gd name="T23" fmla="*/ 13 h 32"/>
                <a:gd name="T24" fmla="*/ 3 w 34"/>
                <a:gd name="T25" fmla="*/ 13 h 32"/>
                <a:gd name="T26" fmla="*/ 3 w 34"/>
                <a:gd name="T27" fmla="*/ 14 h 32"/>
                <a:gd name="T28" fmla="*/ 3 w 34"/>
                <a:gd name="T29" fmla="*/ 16 h 32"/>
                <a:gd name="T30" fmla="*/ 6 w 34"/>
                <a:gd name="T31" fmla="*/ 18 h 32"/>
                <a:gd name="T32" fmla="*/ 5 w 34"/>
                <a:gd name="T33" fmla="*/ 18 h 32"/>
                <a:gd name="T34" fmla="*/ 3 w 34"/>
                <a:gd name="T35" fmla="*/ 18 h 32"/>
                <a:gd name="T36" fmla="*/ 17 w 34"/>
                <a:gd name="T37" fmla="*/ 27 h 32"/>
                <a:gd name="T38" fmla="*/ 12 w 34"/>
                <a:gd name="T39" fmla="*/ 25 h 32"/>
                <a:gd name="T40" fmla="*/ 9 w 34"/>
                <a:gd name="T41" fmla="*/ 27 h 32"/>
                <a:gd name="T42" fmla="*/ 11 w 34"/>
                <a:gd name="T43" fmla="*/ 26 h 32"/>
                <a:gd name="T44" fmla="*/ 14 w 34"/>
                <a:gd name="T45" fmla="*/ 27 h 32"/>
                <a:gd name="T46" fmla="*/ 13 w 34"/>
                <a:gd name="T47" fmla="*/ 27 h 32"/>
                <a:gd name="T48" fmla="*/ 10 w 34"/>
                <a:gd name="T49" fmla="*/ 28 h 32"/>
                <a:gd name="T50" fmla="*/ 15 w 34"/>
                <a:gd name="T51" fmla="*/ 32 h 32"/>
                <a:gd name="T52" fmla="*/ 17 w 34"/>
                <a:gd name="T53" fmla="*/ 32 h 32"/>
                <a:gd name="T54" fmla="*/ 21 w 34"/>
                <a:gd name="T55" fmla="*/ 31 h 32"/>
                <a:gd name="T56" fmla="*/ 20 w 34"/>
                <a:gd name="T57" fmla="*/ 30 h 32"/>
                <a:gd name="T58" fmla="*/ 28 w 34"/>
                <a:gd name="T59" fmla="*/ 24 h 32"/>
                <a:gd name="T60" fmla="*/ 28 w 34"/>
                <a:gd name="T61" fmla="*/ 17 h 32"/>
                <a:gd name="T62" fmla="*/ 30 w 34"/>
                <a:gd name="T63" fmla="*/ 10 h 32"/>
                <a:gd name="T64" fmla="*/ 34 w 34"/>
                <a:gd name="T65" fmla="*/ 0 h 32"/>
                <a:gd name="T66" fmla="*/ 25 w 34"/>
                <a:gd name="T67" fmla="*/ 4 h 32"/>
                <a:gd name="T68" fmla="*/ 22 w 34"/>
                <a:gd name="T69" fmla="*/ 4 h 32"/>
                <a:gd name="T70" fmla="*/ 22 w 34"/>
                <a:gd name="T71" fmla="*/ 11 h 32"/>
                <a:gd name="T72" fmla="*/ 20 w 34"/>
                <a:gd name="T73" fmla="*/ 17 h 32"/>
                <a:gd name="T74" fmla="*/ 15 w 34"/>
                <a:gd name="T75" fmla="*/ 18 h 32"/>
                <a:gd name="T76" fmla="*/ 18 w 34"/>
                <a:gd name="T77" fmla="*/ 15 h 32"/>
                <a:gd name="T78" fmla="*/ 15 w 34"/>
                <a:gd name="T79" fmla="*/ 16 h 32"/>
                <a:gd name="T80" fmla="*/ 22 w 34"/>
                <a:gd name="T81" fmla="*/ 5 h 32"/>
                <a:gd name="T82" fmla="*/ 19 w 34"/>
                <a:gd name="T83" fmla="*/ 2 h 32"/>
                <a:gd name="T84" fmla="*/ 16 w 34"/>
                <a:gd name="T85" fmla="*/ 2 h 32"/>
                <a:gd name="T86" fmla="*/ 14 w 34"/>
                <a:gd name="T87" fmla="*/ 3 h 32"/>
                <a:gd name="T88" fmla="*/ 13 w 34"/>
                <a:gd name="T89" fmla="*/ 2 h 32"/>
                <a:gd name="T90" fmla="*/ 9 w 34"/>
                <a:gd name="T91" fmla="*/ 1 h 32"/>
                <a:gd name="T92" fmla="*/ 9 w 34"/>
                <a:gd name="T93" fmla="*/ 1 h 32"/>
                <a:gd name="T94" fmla="*/ 8 w 34"/>
                <a:gd name="T95" fmla="*/ 1 h 32"/>
                <a:gd name="T96" fmla="*/ 7 w 34"/>
                <a:gd name="T97" fmla="*/ 1 h 32"/>
                <a:gd name="T98" fmla="*/ 6 w 34"/>
                <a:gd name="T99" fmla="*/ 1 h 32"/>
                <a:gd name="T100" fmla="*/ 2 w 34"/>
                <a:gd name="T101"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2">
                  <a:moveTo>
                    <a:pt x="0" y="12"/>
                  </a:moveTo>
                  <a:cubicBezTo>
                    <a:pt x="0" y="12"/>
                    <a:pt x="0" y="12"/>
                    <a:pt x="0" y="12"/>
                  </a:cubicBezTo>
                  <a:cubicBezTo>
                    <a:pt x="0" y="12"/>
                    <a:pt x="0" y="12"/>
                    <a:pt x="0" y="12"/>
                  </a:cubicBezTo>
                  <a:moveTo>
                    <a:pt x="2" y="0"/>
                  </a:moveTo>
                  <a:cubicBezTo>
                    <a:pt x="2" y="0"/>
                    <a:pt x="2" y="0"/>
                    <a:pt x="1" y="0"/>
                  </a:cubicBezTo>
                  <a:cubicBezTo>
                    <a:pt x="1" y="0"/>
                    <a:pt x="2" y="2"/>
                    <a:pt x="2" y="3"/>
                  </a:cubicBezTo>
                  <a:cubicBezTo>
                    <a:pt x="2" y="5"/>
                    <a:pt x="0" y="7"/>
                    <a:pt x="0" y="9"/>
                  </a:cubicBezTo>
                  <a:cubicBezTo>
                    <a:pt x="0" y="9"/>
                    <a:pt x="0" y="9"/>
                    <a:pt x="0" y="9"/>
                  </a:cubicBezTo>
                  <a:cubicBezTo>
                    <a:pt x="0" y="9"/>
                    <a:pt x="0" y="10"/>
                    <a:pt x="0" y="10"/>
                  </a:cubicBezTo>
                  <a:cubicBezTo>
                    <a:pt x="1" y="11"/>
                    <a:pt x="1" y="12"/>
                    <a:pt x="1" y="12"/>
                  </a:cubicBezTo>
                  <a:cubicBezTo>
                    <a:pt x="1" y="12"/>
                    <a:pt x="1" y="12"/>
                    <a:pt x="0" y="12"/>
                  </a:cubicBezTo>
                  <a:cubicBezTo>
                    <a:pt x="1" y="12"/>
                    <a:pt x="3" y="13"/>
                    <a:pt x="3" y="13"/>
                  </a:cubicBezTo>
                  <a:cubicBezTo>
                    <a:pt x="3" y="13"/>
                    <a:pt x="3" y="13"/>
                    <a:pt x="3" y="13"/>
                  </a:cubicBezTo>
                  <a:cubicBezTo>
                    <a:pt x="3" y="14"/>
                    <a:pt x="3" y="14"/>
                    <a:pt x="3" y="14"/>
                  </a:cubicBezTo>
                  <a:cubicBezTo>
                    <a:pt x="3" y="14"/>
                    <a:pt x="3" y="15"/>
                    <a:pt x="3" y="16"/>
                  </a:cubicBezTo>
                  <a:cubicBezTo>
                    <a:pt x="3" y="16"/>
                    <a:pt x="5" y="17"/>
                    <a:pt x="6" y="18"/>
                  </a:cubicBezTo>
                  <a:cubicBezTo>
                    <a:pt x="6" y="18"/>
                    <a:pt x="6" y="18"/>
                    <a:pt x="5" y="18"/>
                  </a:cubicBezTo>
                  <a:cubicBezTo>
                    <a:pt x="5" y="18"/>
                    <a:pt x="4" y="18"/>
                    <a:pt x="3" y="18"/>
                  </a:cubicBezTo>
                  <a:cubicBezTo>
                    <a:pt x="5" y="22"/>
                    <a:pt x="17" y="25"/>
                    <a:pt x="17" y="27"/>
                  </a:cubicBezTo>
                  <a:cubicBezTo>
                    <a:pt x="15" y="26"/>
                    <a:pt x="13" y="25"/>
                    <a:pt x="12" y="25"/>
                  </a:cubicBezTo>
                  <a:cubicBezTo>
                    <a:pt x="11" y="25"/>
                    <a:pt x="10" y="25"/>
                    <a:pt x="9" y="27"/>
                  </a:cubicBezTo>
                  <a:cubicBezTo>
                    <a:pt x="10" y="26"/>
                    <a:pt x="11" y="26"/>
                    <a:pt x="11" y="26"/>
                  </a:cubicBezTo>
                  <a:cubicBezTo>
                    <a:pt x="12" y="26"/>
                    <a:pt x="13" y="26"/>
                    <a:pt x="14" y="27"/>
                  </a:cubicBezTo>
                  <a:cubicBezTo>
                    <a:pt x="13" y="27"/>
                    <a:pt x="13" y="27"/>
                    <a:pt x="13" y="27"/>
                  </a:cubicBezTo>
                  <a:cubicBezTo>
                    <a:pt x="12" y="27"/>
                    <a:pt x="11" y="27"/>
                    <a:pt x="10" y="28"/>
                  </a:cubicBezTo>
                  <a:cubicBezTo>
                    <a:pt x="10" y="29"/>
                    <a:pt x="14" y="31"/>
                    <a:pt x="15" y="32"/>
                  </a:cubicBezTo>
                  <a:cubicBezTo>
                    <a:pt x="15" y="32"/>
                    <a:pt x="16" y="32"/>
                    <a:pt x="17" y="32"/>
                  </a:cubicBezTo>
                  <a:cubicBezTo>
                    <a:pt x="18" y="32"/>
                    <a:pt x="20" y="31"/>
                    <a:pt x="21" y="31"/>
                  </a:cubicBezTo>
                  <a:cubicBezTo>
                    <a:pt x="21" y="31"/>
                    <a:pt x="20" y="30"/>
                    <a:pt x="20" y="30"/>
                  </a:cubicBezTo>
                  <a:cubicBezTo>
                    <a:pt x="24" y="29"/>
                    <a:pt x="28" y="29"/>
                    <a:pt x="28" y="24"/>
                  </a:cubicBezTo>
                  <a:cubicBezTo>
                    <a:pt x="28" y="22"/>
                    <a:pt x="27" y="19"/>
                    <a:pt x="28" y="17"/>
                  </a:cubicBezTo>
                  <a:cubicBezTo>
                    <a:pt x="28" y="15"/>
                    <a:pt x="29" y="12"/>
                    <a:pt x="30" y="10"/>
                  </a:cubicBezTo>
                  <a:cubicBezTo>
                    <a:pt x="32" y="6"/>
                    <a:pt x="34" y="4"/>
                    <a:pt x="34" y="0"/>
                  </a:cubicBezTo>
                  <a:cubicBezTo>
                    <a:pt x="32" y="3"/>
                    <a:pt x="28" y="4"/>
                    <a:pt x="25" y="4"/>
                  </a:cubicBezTo>
                  <a:cubicBezTo>
                    <a:pt x="24" y="4"/>
                    <a:pt x="23" y="4"/>
                    <a:pt x="22" y="4"/>
                  </a:cubicBezTo>
                  <a:cubicBezTo>
                    <a:pt x="26" y="6"/>
                    <a:pt x="23" y="9"/>
                    <a:pt x="22" y="11"/>
                  </a:cubicBezTo>
                  <a:cubicBezTo>
                    <a:pt x="21" y="13"/>
                    <a:pt x="22" y="15"/>
                    <a:pt x="20" y="17"/>
                  </a:cubicBezTo>
                  <a:cubicBezTo>
                    <a:pt x="18" y="18"/>
                    <a:pt x="16" y="18"/>
                    <a:pt x="15" y="18"/>
                  </a:cubicBezTo>
                  <a:cubicBezTo>
                    <a:pt x="15" y="17"/>
                    <a:pt x="17" y="16"/>
                    <a:pt x="18" y="15"/>
                  </a:cubicBezTo>
                  <a:cubicBezTo>
                    <a:pt x="17" y="16"/>
                    <a:pt x="16" y="16"/>
                    <a:pt x="15" y="16"/>
                  </a:cubicBezTo>
                  <a:cubicBezTo>
                    <a:pt x="19" y="13"/>
                    <a:pt x="25" y="11"/>
                    <a:pt x="22" y="5"/>
                  </a:cubicBezTo>
                  <a:cubicBezTo>
                    <a:pt x="21" y="3"/>
                    <a:pt x="20" y="2"/>
                    <a:pt x="19" y="2"/>
                  </a:cubicBezTo>
                  <a:cubicBezTo>
                    <a:pt x="18" y="2"/>
                    <a:pt x="17" y="2"/>
                    <a:pt x="16" y="2"/>
                  </a:cubicBezTo>
                  <a:cubicBezTo>
                    <a:pt x="15" y="3"/>
                    <a:pt x="15" y="3"/>
                    <a:pt x="14" y="3"/>
                  </a:cubicBezTo>
                  <a:cubicBezTo>
                    <a:pt x="14" y="3"/>
                    <a:pt x="13" y="3"/>
                    <a:pt x="13" y="2"/>
                  </a:cubicBezTo>
                  <a:cubicBezTo>
                    <a:pt x="12" y="0"/>
                    <a:pt x="11" y="1"/>
                    <a:pt x="9" y="1"/>
                  </a:cubicBezTo>
                  <a:cubicBezTo>
                    <a:pt x="9" y="1"/>
                    <a:pt x="9" y="1"/>
                    <a:pt x="9" y="1"/>
                  </a:cubicBezTo>
                  <a:cubicBezTo>
                    <a:pt x="9" y="1"/>
                    <a:pt x="8" y="1"/>
                    <a:pt x="8" y="1"/>
                  </a:cubicBezTo>
                  <a:cubicBezTo>
                    <a:pt x="8" y="1"/>
                    <a:pt x="7" y="1"/>
                    <a:pt x="7" y="1"/>
                  </a:cubicBezTo>
                  <a:cubicBezTo>
                    <a:pt x="7" y="1"/>
                    <a:pt x="6" y="1"/>
                    <a:pt x="6" y="1"/>
                  </a:cubicBezTo>
                  <a:cubicBezTo>
                    <a:pt x="4"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37"/>
            <p:cNvSpPr/>
            <p:nvPr/>
          </p:nvSpPr>
          <p:spPr bwMode="auto">
            <a:xfrm>
              <a:off x="8774104" y="3953697"/>
              <a:ext cx="120650" cy="58738"/>
            </a:xfrm>
            <a:custGeom>
              <a:gdLst>
                <a:gd name="T0" fmla="*/ 16 w 32"/>
                <a:gd name="T1" fmla="*/ 0 h 16"/>
                <a:gd name="T2" fmla="*/ 8 w 32"/>
                <a:gd name="T3" fmla="*/ 1 h 16"/>
                <a:gd name="T4" fmla="*/ 0 w 32"/>
                <a:gd name="T5" fmla="*/ 5 h 16"/>
                <a:gd name="T6" fmla="*/ 11 w 32"/>
                <a:gd name="T7" fmla="*/ 10 h 16"/>
                <a:gd name="T8" fmla="*/ 21 w 32"/>
                <a:gd name="T9" fmla="*/ 13 h 16"/>
                <a:gd name="T10" fmla="*/ 31 w 32"/>
                <a:gd name="T11" fmla="*/ 16 h 16"/>
                <a:gd name="T12" fmla="*/ 22 w 32"/>
                <a:gd name="T13" fmla="*/ 1 h 16"/>
                <a:gd name="T14" fmla="*/ 16 w 32"/>
                <a:gd name="T15" fmla="*/ 0 h 1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6">
                  <a:moveTo>
                    <a:pt x="16" y="0"/>
                  </a:moveTo>
                  <a:cubicBezTo>
                    <a:pt x="13" y="0"/>
                    <a:pt x="10" y="0"/>
                    <a:pt x="8" y="1"/>
                  </a:cubicBezTo>
                  <a:cubicBezTo>
                    <a:pt x="5" y="1"/>
                    <a:pt x="1" y="2"/>
                    <a:pt x="0" y="5"/>
                  </a:cubicBezTo>
                  <a:cubicBezTo>
                    <a:pt x="0" y="7"/>
                    <a:pt x="8" y="9"/>
                    <a:pt x="11" y="10"/>
                  </a:cubicBezTo>
                  <a:cubicBezTo>
                    <a:pt x="15" y="11"/>
                    <a:pt x="18" y="12"/>
                    <a:pt x="21" y="13"/>
                  </a:cubicBezTo>
                  <a:cubicBezTo>
                    <a:pt x="24" y="15"/>
                    <a:pt x="28" y="14"/>
                    <a:pt x="31" y="16"/>
                  </a:cubicBezTo>
                  <a:cubicBezTo>
                    <a:pt x="32" y="9"/>
                    <a:pt x="27" y="6"/>
                    <a:pt x="22" y="1"/>
                  </a:cubicBezTo>
                  <a:cubicBezTo>
                    <a:pt x="20" y="0"/>
                    <a:pt x="18"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38"/>
            <p:cNvSpPr/>
            <p:nvPr/>
          </p:nvSpPr>
          <p:spPr bwMode="auto">
            <a:xfrm>
              <a:off x="8950316" y="3539359"/>
              <a:ext cx="106363" cy="101600"/>
            </a:xfrm>
            <a:custGeom>
              <a:gdLst>
                <a:gd name="T0" fmla="*/ 17 w 28"/>
                <a:gd name="T1" fmla="*/ 0 h 27"/>
                <a:gd name="T2" fmla="*/ 16 w 28"/>
                <a:gd name="T3" fmla="*/ 7 h 27"/>
                <a:gd name="T4" fmla="*/ 14 w 28"/>
                <a:gd name="T5" fmla="*/ 14 h 27"/>
                <a:gd name="T6" fmla="*/ 10 w 28"/>
                <a:gd name="T7" fmla="*/ 16 h 27"/>
                <a:gd name="T8" fmla="*/ 13 w 28"/>
                <a:gd name="T9" fmla="*/ 2 h 27"/>
                <a:gd name="T10" fmla="*/ 11 w 28"/>
                <a:gd name="T11" fmla="*/ 12 h 27"/>
                <a:gd name="T12" fmla="*/ 6 w 28"/>
                <a:gd name="T13" fmla="*/ 16 h 27"/>
                <a:gd name="T14" fmla="*/ 0 w 28"/>
                <a:gd name="T15" fmla="*/ 22 h 27"/>
                <a:gd name="T16" fmla="*/ 3 w 28"/>
                <a:gd name="T17" fmla="*/ 26 h 27"/>
                <a:gd name="T18" fmla="*/ 11 w 28"/>
                <a:gd name="T19" fmla="*/ 17 h 27"/>
                <a:gd name="T20" fmla="*/ 12 w 28"/>
                <a:gd name="T21" fmla="*/ 17 h 27"/>
                <a:gd name="T22" fmla="*/ 11 w 28"/>
                <a:gd name="T23" fmla="*/ 19 h 27"/>
                <a:gd name="T24" fmla="*/ 6 w 28"/>
                <a:gd name="T25" fmla="*/ 27 h 27"/>
                <a:gd name="T26" fmla="*/ 15 w 28"/>
                <a:gd name="T27" fmla="*/ 21 h 27"/>
                <a:gd name="T28" fmla="*/ 20 w 28"/>
                <a:gd name="T29" fmla="*/ 13 h 27"/>
                <a:gd name="T30" fmla="*/ 17 w 28"/>
                <a:gd name="T31" fmla="*/ 25 h 27"/>
                <a:gd name="T32" fmla="*/ 22 w 28"/>
                <a:gd name="T33" fmla="*/ 13 h 27"/>
                <a:gd name="T34" fmla="*/ 22 w 28"/>
                <a:gd name="T35" fmla="*/ 13 h 27"/>
                <a:gd name="T36" fmla="*/ 24 w 28"/>
                <a:gd name="T37" fmla="*/ 8 h 27"/>
                <a:gd name="T38" fmla="*/ 19 w 28"/>
                <a:gd name="T39" fmla="*/ 24 h 27"/>
                <a:gd name="T40" fmla="*/ 24 w 28"/>
                <a:gd name="T41" fmla="*/ 14 h 27"/>
                <a:gd name="T42" fmla="*/ 25 w 28"/>
                <a:gd name="T43" fmla="*/ 6 h 27"/>
                <a:gd name="T44" fmla="*/ 25 w 28"/>
                <a:gd name="T45" fmla="*/ 6 h 27"/>
                <a:gd name="T46" fmla="*/ 24 w 28"/>
                <a:gd name="T47" fmla="*/ 6 h 27"/>
                <a:gd name="T48" fmla="*/ 23 w 28"/>
                <a:gd name="T49" fmla="*/ 6 h 27"/>
                <a:gd name="T50" fmla="*/ 22 w 28"/>
                <a:gd name="T51" fmla="*/ 6 h 27"/>
                <a:gd name="T52" fmla="*/ 20 w 28"/>
                <a:gd name="T53" fmla="*/ 3 h 27"/>
                <a:gd name="T54" fmla="*/ 17 w 28"/>
                <a:gd name="T55"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27">
                  <a:moveTo>
                    <a:pt x="17" y="0"/>
                  </a:moveTo>
                  <a:cubicBezTo>
                    <a:pt x="16" y="2"/>
                    <a:pt x="17" y="5"/>
                    <a:pt x="16" y="7"/>
                  </a:cubicBezTo>
                  <a:cubicBezTo>
                    <a:pt x="16" y="9"/>
                    <a:pt x="15" y="12"/>
                    <a:pt x="14" y="14"/>
                  </a:cubicBezTo>
                  <a:cubicBezTo>
                    <a:pt x="13" y="15"/>
                    <a:pt x="11" y="14"/>
                    <a:pt x="10" y="16"/>
                  </a:cubicBezTo>
                  <a:cubicBezTo>
                    <a:pt x="12" y="11"/>
                    <a:pt x="14" y="8"/>
                    <a:pt x="13" y="2"/>
                  </a:cubicBezTo>
                  <a:cubicBezTo>
                    <a:pt x="12" y="4"/>
                    <a:pt x="13" y="9"/>
                    <a:pt x="11" y="12"/>
                  </a:cubicBezTo>
                  <a:cubicBezTo>
                    <a:pt x="9" y="14"/>
                    <a:pt x="7" y="15"/>
                    <a:pt x="6" y="16"/>
                  </a:cubicBezTo>
                  <a:cubicBezTo>
                    <a:pt x="4" y="18"/>
                    <a:pt x="3" y="21"/>
                    <a:pt x="0" y="22"/>
                  </a:cubicBezTo>
                  <a:cubicBezTo>
                    <a:pt x="1" y="24"/>
                    <a:pt x="2" y="25"/>
                    <a:pt x="3" y="26"/>
                  </a:cubicBezTo>
                  <a:cubicBezTo>
                    <a:pt x="4" y="23"/>
                    <a:pt x="9" y="18"/>
                    <a:pt x="11" y="17"/>
                  </a:cubicBezTo>
                  <a:cubicBezTo>
                    <a:pt x="12" y="17"/>
                    <a:pt x="12" y="17"/>
                    <a:pt x="12" y="17"/>
                  </a:cubicBezTo>
                  <a:cubicBezTo>
                    <a:pt x="13" y="17"/>
                    <a:pt x="12" y="18"/>
                    <a:pt x="11" y="19"/>
                  </a:cubicBezTo>
                  <a:cubicBezTo>
                    <a:pt x="9" y="22"/>
                    <a:pt x="7" y="24"/>
                    <a:pt x="6" y="27"/>
                  </a:cubicBezTo>
                  <a:cubicBezTo>
                    <a:pt x="10" y="25"/>
                    <a:pt x="13" y="25"/>
                    <a:pt x="15" y="21"/>
                  </a:cubicBezTo>
                  <a:cubicBezTo>
                    <a:pt x="17" y="19"/>
                    <a:pt x="18" y="16"/>
                    <a:pt x="20" y="13"/>
                  </a:cubicBezTo>
                  <a:cubicBezTo>
                    <a:pt x="22" y="17"/>
                    <a:pt x="18" y="21"/>
                    <a:pt x="17" y="25"/>
                  </a:cubicBezTo>
                  <a:cubicBezTo>
                    <a:pt x="19" y="22"/>
                    <a:pt x="21" y="16"/>
                    <a:pt x="22" y="13"/>
                  </a:cubicBezTo>
                  <a:cubicBezTo>
                    <a:pt x="22" y="13"/>
                    <a:pt x="22" y="13"/>
                    <a:pt x="22" y="13"/>
                  </a:cubicBezTo>
                  <a:cubicBezTo>
                    <a:pt x="20" y="13"/>
                    <a:pt x="24" y="9"/>
                    <a:pt x="24" y="8"/>
                  </a:cubicBezTo>
                  <a:cubicBezTo>
                    <a:pt x="24" y="13"/>
                    <a:pt x="20" y="18"/>
                    <a:pt x="19" y="24"/>
                  </a:cubicBezTo>
                  <a:cubicBezTo>
                    <a:pt x="20" y="21"/>
                    <a:pt x="22" y="17"/>
                    <a:pt x="24" y="14"/>
                  </a:cubicBezTo>
                  <a:cubicBezTo>
                    <a:pt x="25" y="12"/>
                    <a:pt x="28" y="9"/>
                    <a:pt x="25" y="6"/>
                  </a:cubicBezTo>
                  <a:cubicBezTo>
                    <a:pt x="25" y="6"/>
                    <a:pt x="25" y="6"/>
                    <a:pt x="25" y="6"/>
                  </a:cubicBezTo>
                  <a:cubicBezTo>
                    <a:pt x="24" y="6"/>
                    <a:pt x="24" y="6"/>
                    <a:pt x="24" y="6"/>
                  </a:cubicBezTo>
                  <a:cubicBezTo>
                    <a:pt x="24" y="6"/>
                    <a:pt x="23" y="6"/>
                    <a:pt x="23" y="6"/>
                  </a:cubicBezTo>
                  <a:cubicBezTo>
                    <a:pt x="23" y="6"/>
                    <a:pt x="23" y="6"/>
                    <a:pt x="22" y="6"/>
                  </a:cubicBezTo>
                  <a:cubicBezTo>
                    <a:pt x="21" y="5"/>
                    <a:pt x="21" y="3"/>
                    <a:pt x="20" y="3"/>
                  </a:cubicBezTo>
                  <a:cubicBezTo>
                    <a:pt x="20" y="2"/>
                    <a:pt x="18" y="1"/>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39"/>
            <p:cNvSpPr>
              <a:spLocks noEditPoints="1"/>
            </p:cNvSpPr>
            <p:nvPr/>
          </p:nvSpPr>
          <p:spPr bwMode="auto">
            <a:xfrm>
              <a:off x="10561629" y="4655372"/>
              <a:ext cx="149225" cy="161925"/>
            </a:xfrm>
            <a:custGeom>
              <a:gdLst>
                <a:gd name="T0" fmla="*/ 23 w 40"/>
                <a:gd name="T1" fmla="*/ 27 h 43"/>
                <a:gd name="T2" fmla="*/ 29 w 40"/>
                <a:gd name="T3" fmla="*/ 24 h 43"/>
                <a:gd name="T4" fmla="*/ 19 w 40"/>
                <a:gd name="T5" fmla="*/ 31 h 43"/>
                <a:gd name="T6" fmla="*/ 18 w 40"/>
                <a:gd name="T7" fmla="*/ 33 h 43"/>
                <a:gd name="T8" fmla="*/ 19 w 40"/>
                <a:gd name="T9" fmla="*/ 34 h 43"/>
                <a:gd name="T10" fmla="*/ 26 w 40"/>
                <a:gd name="T11" fmla="*/ 31 h 43"/>
                <a:gd name="T12" fmla="*/ 19 w 40"/>
                <a:gd name="T13" fmla="*/ 36 h 43"/>
                <a:gd name="T14" fmla="*/ 18 w 40"/>
                <a:gd name="T15" fmla="*/ 38 h 43"/>
                <a:gd name="T16" fmla="*/ 9 w 40"/>
                <a:gd name="T17" fmla="*/ 39 h 43"/>
                <a:gd name="T18" fmla="*/ 12 w 40"/>
                <a:gd name="T19" fmla="*/ 36 h 43"/>
                <a:gd name="T20" fmla="*/ 11 w 40"/>
                <a:gd name="T21" fmla="*/ 35 h 43"/>
                <a:gd name="T22" fmla="*/ 10 w 40"/>
                <a:gd name="T23" fmla="*/ 35 h 43"/>
                <a:gd name="T24" fmla="*/ 10 w 40"/>
                <a:gd name="T25" fmla="*/ 34 h 43"/>
                <a:gd name="T26" fmla="*/ 13 w 40"/>
                <a:gd name="T27" fmla="*/ 33 h 43"/>
                <a:gd name="T28" fmla="*/ 16 w 40"/>
                <a:gd name="T29" fmla="*/ 32 h 43"/>
                <a:gd name="T30" fmla="*/ 17 w 40"/>
                <a:gd name="T31" fmla="*/ 31 h 43"/>
                <a:gd name="T32" fmla="*/ 18 w 40"/>
                <a:gd name="T33" fmla="*/ 29 h 43"/>
                <a:gd name="T34" fmla="*/ 17 w 40"/>
                <a:gd name="T35" fmla="*/ 28 h 43"/>
                <a:gd name="T36" fmla="*/ 22 w 40"/>
                <a:gd name="T37" fmla="*/ 26 h 43"/>
                <a:gd name="T38" fmla="*/ 22 w 40"/>
                <a:gd name="T39" fmla="*/ 26 h 43"/>
                <a:gd name="T40" fmla="*/ 22 w 40"/>
                <a:gd name="T41" fmla="*/ 0 h 43"/>
                <a:gd name="T42" fmla="*/ 21 w 40"/>
                <a:gd name="T43" fmla="*/ 1 h 43"/>
                <a:gd name="T44" fmla="*/ 20 w 40"/>
                <a:gd name="T45" fmla="*/ 3 h 43"/>
                <a:gd name="T46" fmla="*/ 16 w 40"/>
                <a:gd name="T47" fmla="*/ 7 h 43"/>
                <a:gd name="T48" fmla="*/ 14 w 40"/>
                <a:gd name="T49" fmla="*/ 10 h 43"/>
                <a:gd name="T50" fmla="*/ 13 w 40"/>
                <a:gd name="T51" fmla="*/ 12 h 43"/>
                <a:gd name="T52" fmla="*/ 11 w 40"/>
                <a:gd name="T53" fmla="*/ 13 h 43"/>
                <a:gd name="T54" fmla="*/ 11 w 40"/>
                <a:gd name="T55" fmla="*/ 13 h 43"/>
                <a:gd name="T56" fmla="*/ 11 w 40"/>
                <a:gd name="T57" fmla="*/ 14 h 43"/>
                <a:gd name="T58" fmla="*/ 9 w 40"/>
                <a:gd name="T59" fmla="*/ 18 h 43"/>
                <a:gd name="T60" fmla="*/ 4 w 40"/>
                <a:gd name="T61" fmla="*/ 25 h 43"/>
                <a:gd name="T62" fmla="*/ 1 w 40"/>
                <a:gd name="T63" fmla="*/ 27 h 43"/>
                <a:gd name="T64" fmla="*/ 0 w 40"/>
                <a:gd name="T65" fmla="*/ 30 h 43"/>
                <a:gd name="T66" fmla="*/ 1 w 40"/>
                <a:gd name="T67" fmla="*/ 37 h 43"/>
                <a:gd name="T68" fmla="*/ 7 w 40"/>
                <a:gd name="T69" fmla="*/ 43 h 43"/>
                <a:gd name="T70" fmla="*/ 9 w 40"/>
                <a:gd name="T71" fmla="*/ 43 h 43"/>
                <a:gd name="T72" fmla="*/ 9 w 40"/>
                <a:gd name="T73" fmla="*/ 43 h 43"/>
                <a:gd name="T74" fmla="*/ 12 w 40"/>
                <a:gd name="T75" fmla="*/ 42 h 43"/>
                <a:gd name="T76" fmla="*/ 19 w 40"/>
                <a:gd name="T77" fmla="*/ 43 h 43"/>
                <a:gd name="T78" fmla="*/ 26 w 40"/>
                <a:gd name="T79" fmla="*/ 41 h 43"/>
                <a:gd name="T80" fmla="*/ 30 w 40"/>
                <a:gd name="T81" fmla="*/ 39 h 43"/>
                <a:gd name="T82" fmla="*/ 35 w 40"/>
                <a:gd name="T83" fmla="*/ 34 h 43"/>
                <a:gd name="T84" fmla="*/ 40 w 40"/>
                <a:gd name="T85" fmla="*/ 32 h 43"/>
                <a:gd name="T86" fmla="*/ 40 w 40"/>
                <a:gd name="T87" fmla="*/ 27 h 43"/>
                <a:gd name="T88" fmla="*/ 38 w 40"/>
                <a:gd name="T89" fmla="*/ 25 h 43"/>
                <a:gd name="T90" fmla="*/ 33 w 40"/>
                <a:gd name="T91" fmla="*/ 23 h 43"/>
                <a:gd name="T92" fmla="*/ 29 w 40"/>
                <a:gd name="T93" fmla="*/ 22 h 43"/>
                <a:gd name="T94" fmla="*/ 23 w 40"/>
                <a:gd name="T95" fmla="*/ 25 h 43"/>
                <a:gd name="T96" fmla="*/ 25 w 40"/>
                <a:gd name="T97" fmla="*/ 21 h 43"/>
                <a:gd name="T98" fmla="*/ 25 w 40"/>
                <a:gd name="T99" fmla="*/ 17 h 43"/>
                <a:gd name="T100" fmla="*/ 26 w 40"/>
                <a:gd name="T101" fmla="*/ 16 h 43"/>
                <a:gd name="T102" fmla="*/ 26 w 40"/>
                <a:gd name="T103" fmla="*/ 16 h 43"/>
                <a:gd name="T104" fmla="*/ 27 w 40"/>
                <a:gd name="T105" fmla="*/ 11 h 43"/>
                <a:gd name="T106" fmla="*/ 28 w 40"/>
                <a:gd name="T107" fmla="*/ 5 h 43"/>
                <a:gd name="T108" fmla="*/ 26 w 40"/>
                <a:gd name="T109" fmla="*/ 1 h 43"/>
                <a:gd name="T110" fmla="*/ 23 w 40"/>
                <a:gd name="T111" fmla="*/ 1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43">
                  <a:moveTo>
                    <a:pt x="21" y="29"/>
                  </a:moveTo>
                  <a:cubicBezTo>
                    <a:pt x="21" y="28"/>
                    <a:pt x="22" y="28"/>
                    <a:pt x="23" y="27"/>
                  </a:cubicBezTo>
                  <a:cubicBezTo>
                    <a:pt x="23" y="27"/>
                    <a:pt x="23" y="27"/>
                    <a:pt x="23" y="27"/>
                  </a:cubicBezTo>
                  <a:cubicBezTo>
                    <a:pt x="25" y="26"/>
                    <a:pt x="26" y="24"/>
                    <a:pt x="29" y="24"/>
                  </a:cubicBezTo>
                  <a:cubicBezTo>
                    <a:pt x="26" y="26"/>
                    <a:pt x="23" y="28"/>
                    <a:pt x="20" y="30"/>
                  </a:cubicBezTo>
                  <a:cubicBezTo>
                    <a:pt x="19" y="31"/>
                    <a:pt x="19" y="31"/>
                    <a:pt x="19" y="31"/>
                  </a:cubicBezTo>
                  <a:cubicBezTo>
                    <a:pt x="18" y="31"/>
                    <a:pt x="17" y="32"/>
                    <a:pt x="18" y="33"/>
                  </a:cubicBezTo>
                  <a:cubicBezTo>
                    <a:pt x="18" y="33"/>
                    <a:pt x="18" y="33"/>
                    <a:pt x="18" y="33"/>
                  </a:cubicBezTo>
                  <a:cubicBezTo>
                    <a:pt x="18" y="33"/>
                    <a:pt x="18" y="33"/>
                    <a:pt x="18" y="33"/>
                  </a:cubicBezTo>
                  <a:cubicBezTo>
                    <a:pt x="18" y="33"/>
                    <a:pt x="18" y="34"/>
                    <a:pt x="19" y="34"/>
                  </a:cubicBezTo>
                  <a:cubicBezTo>
                    <a:pt x="19" y="34"/>
                    <a:pt x="19" y="34"/>
                    <a:pt x="20" y="34"/>
                  </a:cubicBezTo>
                  <a:cubicBezTo>
                    <a:pt x="21" y="34"/>
                    <a:pt x="25" y="31"/>
                    <a:pt x="26" y="31"/>
                  </a:cubicBezTo>
                  <a:cubicBezTo>
                    <a:pt x="25" y="32"/>
                    <a:pt x="23" y="33"/>
                    <a:pt x="21" y="35"/>
                  </a:cubicBezTo>
                  <a:cubicBezTo>
                    <a:pt x="20" y="35"/>
                    <a:pt x="20" y="36"/>
                    <a:pt x="19" y="36"/>
                  </a:cubicBezTo>
                  <a:cubicBezTo>
                    <a:pt x="18" y="37"/>
                    <a:pt x="18" y="37"/>
                    <a:pt x="18" y="37"/>
                  </a:cubicBezTo>
                  <a:cubicBezTo>
                    <a:pt x="18" y="38"/>
                    <a:pt x="18" y="38"/>
                    <a:pt x="18" y="38"/>
                  </a:cubicBezTo>
                  <a:cubicBezTo>
                    <a:pt x="17" y="40"/>
                    <a:pt x="16" y="40"/>
                    <a:pt x="14" y="40"/>
                  </a:cubicBezTo>
                  <a:cubicBezTo>
                    <a:pt x="12" y="40"/>
                    <a:pt x="11" y="40"/>
                    <a:pt x="9" y="39"/>
                  </a:cubicBezTo>
                  <a:cubicBezTo>
                    <a:pt x="9" y="38"/>
                    <a:pt x="10" y="37"/>
                    <a:pt x="11" y="36"/>
                  </a:cubicBezTo>
                  <a:cubicBezTo>
                    <a:pt x="11" y="36"/>
                    <a:pt x="12" y="36"/>
                    <a:pt x="12" y="36"/>
                  </a:cubicBezTo>
                  <a:cubicBezTo>
                    <a:pt x="12" y="36"/>
                    <a:pt x="11" y="36"/>
                    <a:pt x="11" y="35"/>
                  </a:cubicBezTo>
                  <a:cubicBezTo>
                    <a:pt x="11" y="35"/>
                    <a:pt x="11" y="35"/>
                    <a:pt x="11" y="35"/>
                  </a:cubicBezTo>
                  <a:cubicBezTo>
                    <a:pt x="10" y="35"/>
                    <a:pt x="10" y="35"/>
                    <a:pt x="10" y="35"/>
                  </a:cubicBezTo>
                  <a:cubicBezTo>
                    <a:pt x="10" y="35"/>
                    <a:pt x="10" y="35"/>
                    <a:pt x="10" y="35"/>
                  </a:cubicBezTo>
                  <a:cubicBezTo>
                    <a:pt x="10" y="35"/>
                    <a:pt x="10" y="35"/>
                    <a:pt x="10" y="35"/>
                  </a:cubicBezTo>
                  <a:cubicBezTo>
                    <a:pt x="10" y="34"/>
                    <a:pt x="10" y="34"/>
                    <a:pt x="10" y="34"/>
                  </a:cubicBezTo>
                  <a:cubicBezTo>
                    <a:pt x="11" y="34"/>
                    <a:pt x="11" y="34"/>
                    <a:pt x="11" y="34"/>
                  </a:cubicBezTo>
                  <a:cubicBezTo>
                    <a:pt x="11" y="34"/>
                    <a:pt x="12" y="33"/>
                    <a:pt x="13" y="33"/>
                  </a:cubicBezTo>
                  <a:cubicBezTo>
                    <a:pt x="14" y="33"/>
                    <a:pt x="14" y="33"/>
                    <a:pt x="14" y="33"/>
                  </a:cubicBezTo>
                  <a:cubicBezTo>
                    <a:pt x="15" y="33"/>
                    <a:pt x="16" y="33"/>
                    <a:pt x="16" y="32"/>
                  </a:cubicBezTo>
                  <a:cubicBezTo>
                    <a:pt x="16" y="32"/>
                    <a:pt x="16" y="32"/>
                    <a:pt x="16" y="32"/>
                  </a:cubicBezTo>
                  <a:cubicBezTo>
                    <a:pt x="17" y="32"/>
                    <a:pt x="17" y="31"/>
                    <a:pt x="17" y="31"/>
                  </a:cubicBezTo>
                  <a:cubicBezTo>
                    <a:pt x="17" y="31"/>
                    <a:pt x="17" y="31"/>
                    <a:pt x="17" y="31"/>
                  </a:cubicBezTo>
                  <a:cubicBezTo>
                    <a:pt x="17" y="30"/>
                    <a:pt x="18" y="30"/>
                    <a:pt x="18" y="29"/>
                  </a:cubicBezTo>
                  <a:cubicBezTo>
                    <a:pt x="15" y="30"/>
                    <a:pt x="12" y="32"/>
                    <a:pt x="9" y="32"/>
                  </a:cubicBezTo>
                  <a:cubicBezTo>
                    <a:pt x="11" y="31"/>
                    <a:pt x="15" y="29"/>
                    <a:pt x="17" y="28"/>
                  </a:cubicBezTo>
                  <a:cubicBezTo>
                    <a:pt x="18" y="28"/>
                    <a:pt x="19" y="28"/>
                    <a:pt x="20" y="28"/>
                  </a:cubicBezTo>
                  <a:cubicBezTo>
                    <a:pt x="20" y="27"/>
                    <a:pt x="21" y="27"/>
                    <a:pt x="22" y="26"/>
                  </a:cubicBezTo>
                  <a:cubicBezTo>
                    <a:pt x="22" y="26"/>
                    <a:pt x="22" y="26"/>
                    <a:pt x="22" y="26"/>
                  </a:cubicBezTo>
                  <a:cubicBezTo>
                    <a:pt x="22" y="26"/>
                    <a:pt x="22" y="26"/>
                    <a:pt x="22" y="26"/>
                  </a:cubicBezTo>
                  <a:cubicBezTo>
                    <a:pt x="22" y="27"/>
                    <a:pt x="21" y="28"/>
                    <a:pt x="21" y="29"/>
                  </a:cubicBezTo>
                  <a:moveTo>
                    <a:pt x="22" y="0"/>
                  </a:moveTo>
                  <a:cubicBezTo>
                    <a:pt x="22" y="0"/>
                    <a:pt x="22" y="0"/>
                    <a:pt x="21" y="1"/>
                  </a:cubicBezTo>
                  <a:cubicBezTo>
                    <a:pt x="21" y="1"/>
                    <a:pt x="21" y="1"/>
                    <a:pt x="21" y="1"/>
                  </a:cubicBezTo>
                  <a:cubicBezTo>
                    <a:pt x="21" y="1"/>
                    <a:pt x="21" y="1"/>
                    <a:pt x="21" y="1"/>
                  </a:cubicBezTo>
                  <a:cubicBezTo>
                    <a:pt x="20" y="2"/>
                    <a:pt x="20" y="2"/>
                    <a:pt x="20" y="3"/>
                  </a:cubicBezTo>
                  <a:cubicBezTo>
                    <a:pt x="18" y="5"/>
                    <a:pt x="18" y="5"/>
                    <a:pt x="16" y="7"/>
                  </a:cubicBezTo>
                  <a:cubicBezTo>
                    <a:pt x="16" y="7"/>
                    <a:pt x="16" y="7"/>
                    <a:pt x="16" y="7"/>
                  </a:cubicBezTo>
                  <a:cubicBezTo>
                    <a:pt x="15" y="7"/>
                    <a:pt x="15" y="7"/>
                    <a:pt x="15" y="7"/>
                  </a:cubicBezTo>
                  <a:cubicBezTo>
                    <a:pt x="14" y="8"/>
                    <a:pt x="14" y="9"/>
                    <a:pt x="14" y="10"/>
                  </a:cubicBezTo>
                  <a:cubicBezTo>
                    <a:pt x="13" y="11"/>
                    <a:pt x="13" y="11"/>
                    <a:pt x="13" y="12"/>
                  </a:cubicBezTo>
                  <a:cubicBezTo>
                    <a:pt x="13" y="12"/>
                    <a:pt x="13" y="12"/>
                    <a:pt x="13" y="12"/>
                  </a:cubicBezTo>
                  <a:cubicBezTo>
                    <a:pt x="12" y="12"/>
                    <a:pt x="12" y="12"/>
                    <a:pt x="12" y="12"/>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5"/>
                    <a:pt x="11" y="15"/>
                    <a:pt x="10" y="16"/>
                  </a:cubicBezTo>
                  <a:cubicBezTo>
                    <a:pt x="10" y="17"/>
                    <a:pt x="10" y="17"/>
                    <a:pt x="9" y="18"/>
                  </a:cubicBezTo>
                  <a:cubicBezTo>
                    <a:pt x="8" y="20"/>
                    <a:pt x="6" y="23"/>
                    <a:pt x="4" y="24"/>
                  </a:cubicBezTo>
                  <a:cubicBezTo>
                    <a:pt x="4" y="25"/>
                    <a:pt x="4" y="25"/>
                    <a:pt x="4" y="25"/>
                  </a:cubicBezTo>
                  <a:cubicBezTo>
                    <a:pt x="3" y="25"/>
                    <a:pt x="2" y="26"/>
                    <a:pt x="2" y="27"/>
                  </a:cubicBezTo>
                  <a:cubicBezTo>
                    <a:pt x="1" y="27"/>
                    <a:pt x="1" y="27"/>
                    <a:pt x="1" y="27"/>
                  </a:cubicBezTo>
                  <a:cubicBezTo>
                    <a:pt x="0" y="28"/>
                    <a:pt x="0" y="28"/>
                    <a:pt x="0" y="28"/>
                  </a:cubicBezTo>
                  <a:cubicBezTo>
                    <a:pt x="0" y="29"/>
                    <a:pt x="0" y="30"/>
                    <a:pt x="0" y="30"/>
                  </a:cubicBezTo>
                  <a:cubicBezTo>
                    <a:pt x="0" y="31"/>
                    <a:pt x="0" y="32"/>
                    <a:pt x="0" y="32"/>
                  </a:cubicBezTo>
                  <a:cubicBezTo>
                    <a:pt x="0" y="34"/>
                    <a:pt x="1" y="35"/>
                    <a:pt x="1" y="37"/>
                  </a:cubicBezTo>
                  <a:cubicBezTo>
                    <a:pt x="2" y="39"/>
                    <a:pt x="4" y="43"/>
                    <a:pt x="6" y="43"/>
                  </a:cubicBezTo>
                  <a:cubicBezTo>
                    <a:pt x="6" y="43"/>
                    <a:pt x="6" y="43"/>
                    <a:pt x="7" y="43"/>
                  </a:cubicBezTo>
                  <a:cubicBezTo>
                    <a:pt x="7" y="43"/>
                    <a:pt x="7" y="42"/>
                    <a:pt x="7" y="42"/>
                  </a:cubicBezTo>
                  <a:cubicBezTo>
                    <a:pt x="8" y="43"/>
                    <a:pt x="8" y="43"/>
                    <a:pt x="9" y="43"/>
                  </a:cubicBezTo>
                  <a:cubicBezTo>
                    <a:pt x="9" y="43"/>
                    <a:pt x="9" y="43"/>
                    <a:pt x="9" y="43"/>
                  </a:cubicBezTo>
                  <a:cubicBezTo>
                    <a:pt x="9" y="43"/>
                    <a:pt x="9" y="43"/>
                    <a:pt x="9" y="43"/>
                  </a:cubicBezTo>
                  <a:cubicBezTo>
                    <a:pt x="10" y="43"/>
                    <a:pt x="10" y="43"/>
                    <a:pt x="10" y="43"/>
                  </a:cubicBezTo>
                  <a:cubicBezTo>
                    <a:pt x="10" y="43"/>
                    <a:pt x="11" y="43"/>
                    <a:pt x="12" y="42"/>
                  </a:cubicBezTo>
                  <a:cubicBezTo>
                    <a:pt x="12" y="42"/>
                    <a:pt x="14" y="42"/>
                    <a:pt x="15" y="41"/>
                  </a:cubicBezTo>
                  <a:cubicBezTo>
                    <a:pt x="16" y="42"/>
                    <a:pt x="17" y="43"/>
                    <a:pt x="19" y="43"/>
                  </a:cubicBezTo>
                  <a:cubicBezTo>
                    <a:pt x="19" y="43"/>
                    <a:pt x="20" y="43"/>
                    <a:pt x="20" y="43"/>
                  </a:cubicBezTo>
                  <a:cubicBezTo>
                    <a:pt x="22" y="42"/>
                    <a:pt x="25" y="42"/>
                    <a:pt x="26" y="41"/>
                  </a:cubicBezTo>
                  <a:cubicBezTo>
                    <a:pt x="27" y="41"/>
                    <a:pt x="27" y="41"/>
                    <a:pt x="27" y="40"/>
                  </a:cubicBezTo>
                  <a:cubicBezTo>
                    <a:pt x="28" y="40"/>
                    <a:pt x="30" y="39"/>
                    <a:pt x="30" y="39"/>
                  </a:cubicBezTo>
                  <a:cubicBezTo>
                    <a:pt x="33" y="37"/>
                    <a:pt x="31" y="34"/>
                    <a:pt x="34" y="34"/>
                  </a:cubicBezTo>
                  <a:cubicBezTo>
                    <a:pt x="35" y="34"/>
                    <a:pt x="35" y="34"/>
                    <a:pt x="35" y="34"/>
                  </a:cubicBezTo>
                  <a:cubicBezTo>
                    <a:pt x="36" y="34"/>
                    <a:pt x="37" y="34"/>
                    <a:pt x="38" y="33"/>
                  </a:cubicBezTo>
                  <a:cubicBezTo>
                    <a:pt x="39" y="33"/>
                    <a:pt x="39" y="33"/>
                    <a:pt x="40" y="32"/>
                  </a:cubicBezTo>
                  <a:cubicBezTo>
                    <a:pt x="40" y="31"/>
                    <a:pt x="40" y="30"/>
                    <a:pt x="40" y="29"/>
                  </a:cubicBezTo>
                  <a:cubicBezTo>
                    <a:pt x="40" y="28"/>
                    <a:pt x="40" y="28"/>
                    <a:pt x="40" y="27"/>
                  </a:cubicBezTo>
                  <a:cubicBezTo>
                    <a:pt x="40" y="27"/>
                    <a:pt x="40" y="26"/>
                    <a:pt x="39" y="26"/>
                  </a:cubicBezTo>
                  <a:cubicBezTo>
                    <a:pt x="39" y="26"/>
                    <a:pt x="39" y="25"/>
                    <a:pt x="38" y="25"/>
                  </a:cubicBezTo>
                  <a:cubicBezTo>
                    <a:pt x="37" y="25"/>
                    <a:pt x="35" y="24"/>
                    <a:pt x="33" y="23"/>
                  </a:cubicBezTo>
                  <a:cubicBezTo>
                    <a:pt x="33" y="23"/>
                    <a:pt x="33" y="23"/>
                    <a:pt x="33" y="23"/>
                  </a:cubicBezTo>
                  <a:cubicBezTo>
                    <a:pt x="32" y="23"/>
                    <a:pt x="31" y="22"/>
                    <a:pt x="30" y="22"/>
                  </a:cubicBezTo>
                  <a:cubicBezTo>
                    <a:pt x="30" y="22"/>
                    <a:pt x="29" y="22"/>
                    <a:pt x="29" y="22"/>
                  </a:cubicBezTo>
                  <a:cubicBezTo>
                    <a:pt x="27" y="22"/>
                    <a:pt x="25" y="23"/>
                    <a:pt x="23" y="25"/>
                  </a:cubicBezTo>
                  <a:cubicBezTo>
                    <a:pt x="23" y="25"/>
                    <a:pt x="23" y="25"/>
                    <a:pt x="23" y="25"/>
                  </a:cubicBezTo>
                  <a:cubicBezTo>
                    <a:pt x="24" y="24"/>
                    <a:pt x="24" y="24"/>
                    <a:pt x="24" y="24"/>
                  </a:cubicBezTo>
                  <a:cubicBezTo>
                    <a:pt x="25" y="23"/>
                    <a:pt x="25" y="22"/>
                    <a:pt x="25" y="21"/>
                  </a:cubicBezTo>
                  <a:cubicBezTo>
                    <a:pt x="24" y="22"/>
                    <a:pt x="23" y="23"/>
                    <a:pt x="21" y="24"/>
                  </a:cubicBezTo>
                  <a:cubicBezTo>
                    <a:pt x="22" y="22"/>
                    <a:pt x="24" y="19"/>
                    <a:pt x="25" y="17"/>
                  </a:cubicBezTo>
                  <a:cubicBezTo>
                    <a:pt x="26" y="16"/>
                    <a:pt x="26" y="16"/>
                    <a:pt x="26" y="16"/>
                  </a:cubicBezTo>
                  <a:cubicBezTo>
                    <a:pt x="26" y="16"/>
                    <a:pt x="26" y="16"/>
                    <a:pt x="26" y="16"/>
                  </a:cubicBezTo>
                  <a:cubicBezTo>
                    <a:pt x="26" y="16"/>
                    <a:pt x="26" y="16"/>
                    <a:pt x="26" y="16"/>
                  </a:cubicBezTo>
                  <a:cubicBezTo>
                    <a:pt x="26" y="16"/>
                    <a:pt x="26" y="16"/>
                    <a:pt x="26" y="16"/>
                  </a:cubicBezTo>
                  <a:cubicBezTo>
                    <a:pt x="26" y="14"/>
                    <a:pt x="26" y="13"/>
                    <a:pt x="27" y="12"/>
                  </a:cubicBezTo>
                  <a:cubicBezTo>
                    <a:pt x="27" y="11"/>
                    <a:pt x="27" y="11"/>
                    <a:pt x="27" y="11"/>
                  </a:cubicBezTo>
                  <a:cubicBezTo>
                    <a:pt x="28" y="8"/>
                    <a:pt x="28" y="7"/>
                    <a:pt x="28" y="7"/>
                  </a:cubicBezTo>
                  <a:cubicBezTo>
                    <a:pt x="28" y="6"/>
                    <a:pt x="28" y="6"/>
                    <a:pt x="28" y="5"/>
                  </a:cubicBezTo>
                  <a:cubicBezTo>
                    <a:pt x="28" y="5"/>
                    <a:pt x="25" y="5"/>
                    <a:pt x="24" y="4"/>
                  </a:cubicBezTo>
                  <a:cubicBezTo>
                    <a:pt x="25" y="3"/>
                    <a:pt x="26" y="2"/>
                    <a:pt x="26" y="1"/>
                  </a:cubicBezTo>
                  <a:cubicBezTo>
                    <a:pt x="26" y="1"/>
                    <a:pt x="25" y="1"/>
                    <a:pt x="25" y="1"/>
                  </a:cubicBezTo>
                  <a:cubicBezTo>
                    <a:pt x="24" y="1"/>
                    <a:pt x="24" y="1"/>
                    <a:pt x="23" y="1"/>
                  </a:cubicBezTo>
                  <a:cubicBezTo>
                    <a:pt x="23" y="1"/>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40"/>
            <p:cNvSpPr/>
            <p:nvPr/>
          </p:nvSpPr>
          <p:spPr bwMode="auto">
            <a:xfrm>
              <a:off x="4659304" y="3998147"/>
              <a:ext cx="46038" cy="44450"/>
            </a:xfrm>
            <a:custGeom>
              <a:gdLst>
                <a:gd name="T0" fmla="*/ 1 w 12"/>
                <a:gd name="T1" fmla="*/ 0 h 12"/>
                <a:gd name="T2" fmla="*/ 4 w 12"/>
                <a:gd name="T3" fmla="*/ 8 h 12"/>
                <a:gd name="T4" fmla="*/ 7 w 12"/>
                <a:gd name="T5" fmla="*/ 12 h 12"/>
                <a:gd name="T6" fmla="*/ 1 w 12"/>
                <a:gd name="T7" fmla="*/ 0 h 12"/>
              </a:gdLst>
              <a:cxnLst>
                <a:cxn ang="0">
                  <a:pos x="T0" y="T1"/>
                </a:cxn>
                <a:cxn ang="0">
                  <a:pos x="T2" y="T3"/>
                </a:cxn>
                <a:cxn ang="0">
                  <a:pos x="T4" y="T5"/>
                </a:cxn>
                <a:cxn ang="0">
                  <a:pos x="T6" y="T7"/>
                </a:cxn>
              </a:cxnLst>
              <a:rect l="0" t="0" r="r" b="b"/>
              <a:pathLst>
                <a:path w="12" h="12">
                  <a:moveTo>
                    <a:pt x="1" y="0"/>
                  </a:moveTo>
                  <a:cubicBezTo>
                    <a:pt x="0" y="3"/>
                    <a:pt x="2" y="6"/>
                    <a:pt x="4" y="8"/>
                  </a:cubicBezTo>
                  <a:cubicBezTo>
                    <a:pt x="5" y="9"/>
                    <a:pt x="7" y="9"/>
                    <a:pt x="7" y="12"/>
                  </a:cubicBezTo>
                  <a:cubicBezTo>
                    <a:pt x="12" y="9"/>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41"/>
            <p:cNvSpPr/>
            <p:nvPr/>
          </p:nvSpPr>
          <p:spPr bwMode="auto">
            <a:xfrm>
              <a:off x="10693391" y="4985572"/>
              <a:ext cx="25400" cy="11113"/>
            </a:xfrm>
            <a:custGeom>
              <a:gdLst>
                <a:gd name="T0" fmla="*/ 7 w 7"/>
                <a:gd name="T1" fmla="*/ 0 h 3"/>
                <a:gd name="T2" fmla="*/ 0 w 7"/>
                <a:gd name="T3" fmla="*/ 3 h 3"/>
                <a:gd name="T4" fmla="*/ 1 w 7"/>
                <a:gd name="T5" fmla="*/ 3 h 3"/>
                <a:gd name="T6" fmla="*/ 7 w 7"/>
                <a:gd name="T7" fmla="*/ 0 h 3"/>
              </a:gdLst>
              <a:cxnLst>
                <a:cxn ang="0">
                  <a:pos x="T0" y="T1"/>
                </a:cxn>
                <a:cxn ang="0">
                  <a:pos x="T2" y="T3"/>
                </a:cxn>
                <a:cxn ang="0">
                  <a:pos x="T4" y="T5"/>
                </a:cxn>
                <a:cxn ang="0">
                  <a:pos x="T6" y="T7"/>
                </a:cxn>
              </a:cxnLst>
              <a:rect l="0" t="0" r="r" b="b"/>
              <a:pathLst>
                <a:path w="7" h="3">
                  <a:moveTo>
                    <a:pt x="7" y="0"/>
                  </a:moveTo>
                  <a:cubicBezTo>
                    <a:pt x="5" y="1"/>
                    <a:pt x="3" y="2"/>
                    <a:pt x="0" y="3"/>
                  </a:cubicBezTo>
                  <a:cubicBezTo>
                    <a:pt x="1" y="3"/>
                    <a:pt x="1" y="3"/>
                    <a:pt x="1" y="3"/>
                  </a:cubicBezTo>
                  <a:cubicBezTo>
                    <a:pt x="3" y="3"/>
                    <a:pt x="5"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42"/>
            <p:cNvSpPr/>
            <p:nvPr/>
          </p:nvSpPr>
          <p:spPr bwMode="auto">
            <a:xfrm>
              <a:off x="10264766" y="2769422"/>
              <a:ext cx="49213" cy="26988"/>
            </a:xfrm>
            <a:custGeom>
              <a:gdLst>
                <a:gd name="T0" fmla="*/ 4 w 13"/>
                <a:gd name="T1" fmla="*/ 0 h 7"/>
                <a:gd name="T2" fmla="*/ 0 w 13"/>
                <a:gd name="T3" fmla="*/ 3 h 7"/>
                <a:gd name="T4" fmla="*/ 6 w 13"/>
                <a:gd name="T5" fmla="*/ 7 h 7"/>
                <a:gd name="T6" fmla="*/ 6 w 13"/>
                <a:gd name="T7" fmla="*/ 7 h 7"/>
                <a:gd name="T8" fmla="*/ 13 w 13"/>
                <a:gd name="T9" fmla="*/ 1 h 7"/>
                <a:gd name="T10" fmla="*/ 9 w 13"/>
                <a:gd name="T11" fmla="*/ 1 h 7"/>
                <a:gd name="T12" fmla="*/ 9 w 13"/>
                <a:gd name="T13" fmla="*/ 1 h 7"/>
                <a:gd name="T14" fmla="*/ 8 w 13"/>
                <a:gd name="T15" fmla="*/ 1 h 7"/>
                <a:gd name="T16" fmla="*/ 8 w 13"/>
                <a:gd name="T17" fmla="*/ 1 h 7"/>
                <a:gd name="T18" fmla="*/ 5 w 13"/>
                <a:gd name="T19" fmla="*/ 0 h 7"/>
                <a:gd name="T20" fmla="*/ 4 w 13"/>
                <a:gd name="T2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4" y="0"/>
                  </a:moveTo>
                  <a:cubicBezTo>
                    <a:pt x="1" y="0"/>
                    <a:pt x="2" y="3"/>
                    <a:pt x="0" y="3"/>
                  </a:cubicBezTo>
                  <a:cubicBezTo>
                    <a:pt x="1" y="5"/>
                    <a:pt x="4" y="7"/>
                    <a:pt x="6" y="7"/>
                  </a:cubicBezTo>
                  <a:cubicBezTo>
                    <a:pt x="6" y="7"/>
                    <a:pt x="6" y="7"/>
                    <a:pt x="6" y="7"/>
                  </a:cubicBezTo>
                  <a:cubicBezTo>
                    <a:pt x="9" y="7"/>
                    <a:pt x="11" y="4"/>
                    <a:pt x="13" y="1"/>
                  </a:cubicBezTo>
                  <a:cubicBezTo>
                    <a:pt x="11" y="1"/>
                    <a:pt x="10" y="1"/>
                    <a:pt x="9" y="1"/>
                  </a:cubicBezTo>
                  <a:cubicBezTo>
                    <a:pt x="9" y="1"/>
                    <a:pt x="9" y="1"/>
                    <a:pt x="9" y="1"/>
                  </a:cubicBezTo>
                  <a:cubicBezTo>
                    <a:pt x="9" y="1"/>
                    <a:pt x="9" y="1"/>
                    <a:pt x="8" y="1"/>
                  </a:cubicBezTo>
                  <a:cubicBezTo>
                    <a:pt x="8" y="1"/>
                    <a:pt x="8" y="1"/>
                    <a:pt x="8" y="1"/>
                  </a:cubicBezTo>
                  <a:cubicBezTo>
                    <a:pt x="7" y="1"/>
                    <a:pt x="5" y="0"/>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43"/>
            <p:cNvSpPr/>
            <p:nvPr/>
          </p:nvSpPr>
          <p:spPr bwMode="auto">
            <a:xfrm>
              <a:off x="4851391" y="4339459"/>
              <a:ext cx="38100" cy="30163"/>
            </a:xfrm>
            <a:custGeom>
              <a:gdLst>
                <a:gd name="T0" fmla="*/ 7 w 10"/>
                <a:gd name="T1" fmla="*/ 0 h 8"/>
                <a:gd name="T2" fmla="*/ 5 w 10"/>
                <a:gd name="T3" fmla="*/ 6 h 8"/>
                <a:gd name="T4" fmla="*/ 9 w 10"/>
                <a:gd name="T5" fmla="*/ 8 h 8"/>
                <a:gd name="T6" fmla="*/ 9 w 10"/>
                <a:gd name="T7" fmla="*/ 8 h 8"/>
                <a:gd name="T8" fmla="*/ 9 w 10"/>
                <a:gd name="T9" fmla="*/ 8 h 8"/>
                <a:gd name="T10" fmla="*/ 9 w 10"/>
                <a:gd name="T11" fmla="*/ 8 h 8"/>
                <a:gd name="T12" fmla="*/ 10 w 10"/>
                <a:gd name="T13" fmla="*/ 8 h 8"/>
                <a:gd name="T14" fmla="*/ 10 w 10"/>
                <a:gd name="T15" fmla="*/ 7 h 8"/>
                <a:gd name="T16" fmla="*/ 7 w 10"/>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7" y="0"/>
                  </a:moveTo>
                  <a:cubicBezTo>
                    <a:pt x="3" y="1"/>
                    <a:pt x="0" y="3"/>
                    <a:pt x="5" y="6"/>
                  </a:cubicBezTo>
                  <a:cubicBezTo>
                    <a:pt x="6" y="7"/>
                    <a:pt x="7" y="8"/>
                    <a:pt x="9" y="8"/>
                  </a:cubicBezTo>
                  <a:cubicBezTo>
                    <a:pt x="9" y="8"/>
                    <a:pt x="9" y="8"/>
                    <a:pt x="9" y="8"/>
                  </a:cubicBezTo>
                  <a:cubicBezTo>
                    <a:pt x="9" y="8"/>
                    <a:pt x="9" y="8"/>
                    <a:pt x="9" y="8"/>
                  </a:cubicBezTo>
                  <a:cubicBezTo>
                    <a:pt x="9" y="8"/>
                    <a:pt x="9" y="8"/>
                    <a:pt x="9" y="8"/>
                  </a:cubicBezTo>
                  <a:cubicBezTo>
                    <a:pt x="9" y="8"/>
                    <a:pt x="9" y="8"/>
                    <a:pt x="10" y="8"/>
                  </a:cubicBezTo>
                  <a:cubicBezTo>
                    <a:pt x="10" y="8"/>
                    <a:pt x="10" y="8"/>
                    <a:pt x="10" y="7"/>
                  </a:cubicBezTo>
                  <a:cubicBezTo>
                    <a:pt x="10" y="5"/>
                    <a:pt x="8"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44"/>
            <p:cNvSpPr/>
            <p:nvPr/>
          </p:nvSpPr>
          <p:spPr bwMode="auto">
            <a:xfrm>
              <a:off x="7156441" y="1839147"/>
              <a:ext cx="41275" cy="47625"/>
            </a:xfrm>
            <a:custGeom>
              <a:gdLst>
                <a:gd name="T0" fmla="*/ 4 w 11"/>
                <a:gd name="T1" fmla="*/ 0 h 13"/>
                <a:gd name="T2" fmla="*/ 3 w 11"/>
                <a:gd name="T3" fmla="*/ 1 h 13"/>
                <a:gd name="T4" fmla="*/ 3 w 11"/>
                <a:gd name="T5" fmla="*/ 0 h 13"/>
                <a:gd name="T6" fmla="*/ 0 w 11"/>
                <a:gd name="T7" fmla="*/ 3 h 13"/>
                <a:gd name="T8" fmla="*/ 0 w 11"/>
                <a:gd name="T9" fmla="*/ 5 h 13"/>
                <a:gd name="T10" fmla="*/ 0 w 11"/>
                <a:gd name="T11" fmla="*/ 8 h 13"/>
                <a:gd name="T12" fmla="*/ 0 w 11"/>
                <a:gd name="T13" fmla="*/ 10 h 13"/>
                <a:gd name="T14" fmla="*/ 0 w 11"/>
                <a:gd name="T15" fmla="*/ 10 h 13"/>
                <a:gd name="T16" fmla="*/ 1 w 11"/>
                <a:gd name="T17" fmla="*/ 11 h 13"/>
                <a:gd name="T18" fmla="*/ 2 w 11"/>
                <a:gd name="T19" fmla="*/ 11 h 13"/>
                <a:gd name="T20" fmla="*/ 4 w 11"/>
                <a:gd name="T21" fmla="*/ 13 h 13"/>
                <a:gd name="T22" fmla="*/ 5 w 11"/>
                <a:gd name="T23" fmla="*/ 13 h 13"/>
                <a:gd name="T24" fmla="*/ 6 w 11"/>
                <a:gd name="T25" fmla="*/ 13 h 13"/>
                <a:gd name="T26" fmla="*/ 9 w 11"/>
                <a:gd name="T27" fmla="*/ 11 h 13"/>
                <a:gd name="T28" fmla="*/ 7 w 11"/>
                <a:gd name="T29" fmla="*/ 2 h 13"/>
                <a:gd name="T30" fmla="*/ 7 w 11"/>
                <a:gd name="T31" fmla="*/ 2 h 13"/>
                <a:gd name="T32" fmla="*/ 7 w 11"/>
                <a:gd name="T33" fmla="*/ 2 h 13"/>
                <a:gd name="T34" fmla="*/ 4 w 11"/>
                <a:gd name="T3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3">
                  <a:moveTo>
                    <a:pt x="4" y="0"/>
                  </a:moveTo>
                  <a:cubicBezTo>
                    <a:pt x="3" y="1"/>
                    <a:pt x="3" y="1"/>
                    <a:pt x="3" y="1"/>
                  </a:cubicBezTo>
                  <a:cubicBezTo>
                    <a:pt x="3" y="0"/>
                    <a:pt x="3" y="0"/>
                    <a:pt x="3" y="0"/>
                  </a:cubicBezTo>
                  <a:cubicBezTo>
                    <a:pt x="2" y="0"/>
                    <a:pt x="1" y="1"/>
                    <a:pt x="0" y="3"/>
                  </a:cubicBezTo>
                  <a:cubicBezTo>
                    <a:pt x="0" y="3"/>
                    <a:pt x="0" y="4"/>
                    <a:pt x="0" y="5"/>
                  </a:cubicBezTo>
                  <a:cubicBezTo>
                    <a:pt x="0" y="6"/>
                    <a:pt x="0" y="7"/>
                    <a:pt x="0" y="8"/>
                  </a:cubicBezTo>
                  <a:cubicBezTo>
                    <a:pt x="0" y="9"/>
                    <a:pt x="0" y="10"/>
                    <a:pt x="0" y="10"/>
                  </a:cubicBezTo>
                  <a:cubicBezTo>
                    <a:pt x="0" y="10"/>
                    <a:pt x="0" y="10"/>
                    <a:pt x="0" y="10"/>
                  </a:cubicBezTo>
                  <a:cubicBezTo>
                    <a:pt x="0" y="11"/>
                    <a:pt x="1" y="11"/>
                    <a:pt x="1" y="11"/>
                  </a:cubicBezTo>
                  <a:cubicBezTo>
                    <a:pt x="1" y="11"/>
                    <a:pt x="2" y="11"/>
                    <a:pt x="2" y="11"/>
                  </a:cubicBezTo>
                  <a:cubicBezTo>
                    <a:pt x="4" y="11"/>
                    <a:pt x="3" y="13"/>
                    <a:pt x="4" y="13"/>
                  </a:cubicBezTo>
                  <a:cubicBezTo>
                    <a:pt x="5" y="13"/>
                    <a:pt x="5" y="13"/>
                    <a:pt x="5" y="13"/>
                  </a:cubicBezTo>
                  <a:cubicBezTo>
                    <a:pt x="5" y="13"/>
                    <a:pt x="6" y="13"/>
                    <a:pt x="6" y="13"/>
                  </a:cubicBezTo>
                  <a:cubicBezTo>
                    <a:pt x="7" y="12"/>
                    <a:pt x="8" y="12"/>
                    <a:pt x="9" y="11"/>
                  </a:cubicBezTo>
                  <a:cubicBezTo>
                    <a:pt x="11" y="9"/>
                    <a:pt x="10" y="4"/>
                    <a:pt x="7" y="2"/>
                  </a:cubicBezTo>
                  <a:cubicBezTo>
                    <a:pt x="7" y="2"/>
                    <a:pt x="7" y="2"/>
                    <a:pt x="7" y="2"/>
                  </a:cubicBezTo>
                  <a:cubicBezTo>
                    <a:pt x="7" y="2"/>
                    <a:pt x="7" y="2"/>
                    <a:pt x="7" y="2"/>
                  </a:cubicBezTo>
                  <a:cubicBezTo>
                    <a:pt x="6" y="1"/>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45"/>
            <p:cNvSpPr/>
            <p:nvPr/>
          </p:nvSpPr>
          <p:spPr bwMode="auto">
            <a:xfrm>
              <a:off x="10523529" y="4625209"/>
              <a:ext cx="26988" cy="11113"/>
            </a:xfrm>
            <a:custGeom>
              <a:gdLst>
                <a:gd name="T0" fmla="*/ 1 w 7"/>
                <a:gd name="T1" fmla="*/ 0 h 3"/>
                <a:gd name="T2" fmla="*/ 0 w 7"/>
                <a:gd name="T3" fmla="*/ 3 h 3"/>
                <a:gd name="T4" fmla="*/ 1 w 7"/>
                <a:gd name="T5" fmla="*/ 0 h 3"/>
              </a:gdLst>
              <a:cxnLst>
                <a:cxn ang="0">
                  <a:pos x="T0" y="T1"/>
                </a:cxn>
                <a:cxn ang="0">
                  <a:pos x="T2" y="T3"/>
                </a:cxn>
                <a:cxn ang="0">
                  <a:pos x="T4" y="T5"/>
                </a:cxn>
              </a:cxnLst>
              <a:rect l="0" t="0" r="r" b="b"/>
              <a:pathLst>
                <a:path w="7" h="3">
                  <a:moveTo>
                    <a:pt x="1" y="0"/>
                  </a:moveTo>
                  <a:cubicBezTo>
                    <a:pt x="1" y="0"/>
                    <a:pt x="0" y="2"/>
                    <a:pt x="0" y="3"/>
                  </a:cubicBezTo>
                  <a:cubicBezTo>
                    <a:pt x="7"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46"/>
            <p:cNvSpPr/>
            <p:nvPr/>
          </p:nvSpPr>
          <p:spPr bwMode="auto">
            <a:xfrm flipH="1">
              <a:off x="10526704" y="4622034"/>
              <a:ext cx="0" cy="3175"/>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47"/>
            <p:cNvSpPr/>
            <p:nvPr/>
          </p:nvSpPr>
          <p:spPr bwMode="auto">
            <a:xfrm flipH="1">
              <a:off x="10526704" y="4622034"/>
              <a:ext cx="0" cy="3175"/>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8"/>
            <p:cNvSpPr/>
            <p:nvPr/>
          </p:nvSpPr>
          <p:spPr bwMode="auto">
            <a:xfrm>
              <a:off x="10526704" y="4591872"/>
              <a:ext cx="30163" cy="30163"/>
            </a:xfrm>
            <a:custGeom>
              <a:gdLst>
                <a:gd name="T0" fmla="*/ 8 w 8"/>
                <a:gd name="T1" fmla="*/ 0 h 8"/>
                <a:gd name="T2" fmla="*/ 4 w 8"/>
                <a:gd name="T3" fmla="*/ 4 h 8"/>
                <a:gd name="T4" fmla="*/ 0 w 8"/>
                <a:gd name="T5" fmla="*/ 8 h 8"/>
                <a:gd name="T6" fmla="*/ 4 w 8"/>
                <a:gd name="T7" fmla="*/ 6 h 8"/>
                <a:gd name="T8" fmla="*/ 8 w 8"/>
                <a:gd name="T9" fmla="*/ 0 h 8"/>
              </a:gdLst>
              <a:cxnLst>
                <a:cxn ang="0">
                  <a:pos x="T0" y="T1"/>
                </a:cxn>
                <a:cxn ang="0">
                  <a:pos x="T2" y="T3"/>
                </a:cxn>
                <a:cxn ang="0">
                  <a:pos x="T4" y="T5"/>
                </a:cxn>
                <a:cxn ang="0">
                  <a:pos x="T6" y="T7"/>
                </a:cxn>
                <a:cxn ang="0">
                  <a:pos x="T8" y="T9"/>
                </a:cxn>
              </a:cxnLst>
              <a:rect l="0" t="0" r="r" b="b"/>
              <a:pathLst>
                <a:path w="8" h="8">
                  <a:moveTo>
                    <a:pt x="8" y="0"/>
                  </a:moveTo>
                  <a:cubicBezTo>
                    <a:pt x="7" y="1"/>
                    <a:pt x="5" y="2"/>
                    <a:pt x="4" y="4"/>
                  </a:cubicBezTo>
                  <a:cubicBezTo>
                    <a:pt x="1" y="6"/>
                    <a:pt x="0" y="6"/>
                    <a:pt x="0" y="8"/>
                  </a:cubicBezTo>
                  <a:cubicBezTo>
                    <a:pt x="0" y="7"/>
                    <a:pt x="3" y="7"/>
                    <a:pt x="4" y="6"/>
                  </a:cubicBezTo>
                  <a:cubicBezTo>
                    <a:pt x="5" y="5"/>
                    <a:pt x="7"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49"/>
            <p:cNvSpPr/>
            <p:nvPr/>
          </p:nvSpPr>
          <p:spPr bwMode="auto">
            <a:xfrm>
              <a:off x="4483091" y="4042597"/>
              <a:ext cx="7938" cy="7938"/>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0" y="2"/>
                  </a:cubicBezTo>
                  <a:cubicBezTo>
                    <a:pt x="0"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50"/>
            <p:cNvSpPr/>
            <p:nvPr/>
          </p:nvSpPr>
          <p:spPr bwMode="auto">
            <a:xfrm>
              <a:off x="4375141" y="3948934"/>
              <a:ext cx="130175" cy="131763"/>
            </a:xfrm>
            <a:custGeom>
              <a:gdLst>
                <a:gd name="T0" fmla="*/ 17 w 35"/>
                <a:gd name="T1" fmla="*/ 0 h 35"/>
                <a:gd name="T2" fmla="*/ 11 w 35"/>
                <a:gd name="T3" fmla="*/ 3 h 35"/>
                <a:gd name="T4" fmla="*/ 7 w 35"/>
                <a:gd name="T5" fmla="*/ 3 h 35"/>
                <a:gd name="T6" fmla="*/ 5 w 35"/>
                <a:gd name="T7" fmla="*/ 3 h 35"/>
                <a:gd name="T8" fmla="*/ 2 w 35"/>
                <a:gd name="T9" fmla="*/ 3 h 35"/>
                <a:gd name="T10" fmla="*/ 0 w 35"/>
                <a:gd name="T11" fmla="*/ 3 h 35"/>
                <a:gd name="T12" fmla="*/ 10 w 35"/>
                <a:gd name="T13" fmla="*/ 8 h 35"/>
                <a:gd name="T14" fmla="*/ 10 w 35"/>
                <a:gd name="T15" fmla="*/ 9 h 35"/>
                <a:gd name="T16" fmla="*/ 5 w 35"/>
                <a:gd name="T17" fmla="*/ 10 h 35"/>
                <a:gd name="T18" fmla="*/ 10 w 35"/>
                <a:gd name="T19" fmla="*/ 15 h 35"/>
                <a:gd name="T20" fmla="*/ 11 w 35"/>
                <a:gd name="T21" fmla="*/ 12 h 35"/>
                <a:gd name="T22" fmla="*/ 14 w 35"/>
                <a:gd name="T23" fmla="*/ 14 h 35"/>
                <a:gd name="T24" fmla="*/ 11 w 35"/>
                <a:gd name="T25" fmla="*/ 16 h 35"/>
                <a:gd name="T26" fmla="*/ 14 w 35"/>
                <a:gd name="T27" fmla="*/ 18 h 35"/>
                <a:gd name="T28" fmla="*/ 18 w 35"/>
                <a:gd name="T29" fmla="*/ 23 h 35"/>
                <a:gd name="T30" fmla="*/ 22 w 35"/>
                <a:gd name="T31" fmla="*/ 25 h 35"/>
                <a:gd name="T32" fmla="*/ 23 w 35"/>
                <a:gd name="T33" fmla="*/ 28 h 35"/>
                <a:gd name="T34" fmla="*/ 28 w 35"/>
                <a:gd name="T35" fmla="*/ 33 h 35"/>
                <a:gd name="T36" fmla="*/ 28 w 35"/>
                <a:gd name="T37" fmla="*/ 32 h 35"/>
                <a:gd name="T38" fmla="*/ 30 w 35"/>
                <a:gd name="T39" fmla="*/ 35 h 35"/>
                <a:gd name="T40" fmla="*/ 30 w 35"/>
                <a:gd name="T41" fmla="*/ 31 h 35"/>
                <a:gd name="T42" fmla="*/ 32 w 35"/>
                <a:gd name="T43" fmla="*/ 35 h 35"/>
                <a:gd name="T44" fmla="*/ 35 w 35"/>
                <a:gd name="T45" fmla="*/ 32 h 35"/>
                <a:gd name="T46" fmla="*/ 29 w 35"/>
                <a:gd name="T47" fmla="*/ 27 h 35"/>
                <a:gd name="T48" fmla="*/ 28 w 35"/>
                <a:gd name="T49" fmla="*/ 28 h 35"/>
                <a:gd name="T50" fmla="*/ 17 w 35"/>
                <a:gd name="T51" fmla="*/ 17 h 35"/>
                <a:gd name="T52" fmla="*/ 21 w 35"/>
                <a:gd name="T53" fmla="*/ 14 h 35"/>
                <a:gd name="T54" fmla="*/ 14 w 35"/>
                <a:gd name="T55" fmla="*/ 11 h 35"/>
                <a:gd name="T56" fmla="*/ 14 w 35"/>
                <a:gd name="T57" fmla="*/ 8 h 35"/>
                <a:gd name="T58" fmla="*/ 13 w 35"/>
                <a:gd name="T59" fmla="*/ 6 h 35"/>
                <a:gd name="T60" fmla="*/ 15 w 35"/>
                <a:gd name="T61" fmla="*/ 6 h 35"/>
                <a:gd name="T62" fmla="*/ 17 w 35"/>
                <a:gd name="T63" fmla="*/ 5 h 35"/>
                <a:gd name="T64" fmla="*/ 17 w 35"/>
                <a:gd name="T65"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 h="35">
                  <a:moveTo>
                    <a:pt x="17" y="0"/>
                  </a:moveTo>
                  <a:cubicBezTo>
                    <a:pt x="15" y="1"/>
                    <a:pt x="13" y="2"/>
                    <a:pt x="11" y="3"/>
                  </a:cubicBezTo>
                  <a:cubicBezTo>
                    <a:pt x="10" y="3"/>
                    <a:pt x="9" y="3"/>
                    <a:pt x="7" y="3"/>
                  </a:cubicBezTo>
                  <a:cubicBezTo>
                    <a:pt x="7" y="3"/>
                    <a:pt x="6" y="3"/>
                    <a:pt x="5" y="3"/>
                  </a:cubicBezTo>
                  <a:cubicBezTo>
                    <a:pt x="4" y="3"/>
                    <a:pt x="3" y="3"/>
                    <a:pt x="2" y="3"/>
                  </a:cubicBezTo>
                  <a:cubicBezTo>
                    <a:pt x="2" y="3"/>
                    <a:pt x="1" y="3"/>
                    <a:pt x="0" y="3"/>
                  </a:cubicBezTo>
                  <a:cubicBezTo>
                    <a:pt x="1" y="8"/>
                    <a:pt x="6" y="6"/>
                    <a:pt x="10" y="8"/>
                  </a:cubicBezTo>
                  <a:cubicBezTo>
                    <a:pt x="10" y="8"/>
                    <a:pt x="10" y="9"/>
                    <a:pt x="10" y="9"/>
                  </a:cubicBezTo>
                  <a:cubicBezTo>
                    <a:pt x="8" y="9"/>
                    <a:pt x="7" y="9"/>
                    <a:pt x="5" y="10"/>
                  </a:cubicBezTo>
                  <a:cubicBezTo>
                    <a:pt x="6" y="12"/>
                    <a:pt x="8" y="13"/>
                    <a:pt x="10" y="15"/>
                  </a:cubicBezTo>
                  <a:cubicBezTo>
                    <a:pt x="11" y="14"/>
                    <a:pt x="11" y="13"/>
                    <a:pt x="11" y="12"/>
                  </a:cubicBezTo>
                  <a:cubicBezTo>
                    <a:pt x="12" y="13"/>
                    <a:pt x="13" y="14"/>
                    <a:pt x="14" y="14"/>
                  </a:cubicBezTo>
                  <a:cubicBezTo>
                    <a:pt x="14" y="15"/>
                    <a:pt x="11" y="15"/>
                    <a:pt x="11" y="16"/>
                  </a:cubicBezTo>
                  <a:cubicBezTo>
                    <a:pt x="11" y="17"/>
                    <a:pt x="13" y="18"/>
                    <a:pt x="14" y="18"/>
                  </a:cubicBezTo>
                  <a:cubicBezTo>
                    <a:pt x="15" y="20"/>
                    <a:pt x="17" y="22"/>
                    <a:pt x="18" y="23"/>
                  </a:cubicBezTo>
                  <a:cubicBezTo>
                    <a:pt x="20" y="24"/>
                    <a:pt x="21" y="24"/>
                    <a:pt x="22" y="25"/>
                  </a:cubicBezTo>
                  <a:cubicBezTo>
                    <a:pt x="23" y="26"/>
                    <a:pt x="22" y="27"/>
                    <a:pt x="23" y="28"/>
                  </a:cubicBezTo>
                  <a:cubicBezTo>
                    <a:pt x="24" y="29"/>
                    <a:pt x="26" y="32"/>
                    <a:pt x="28" y="33"/>
                  </a:cubicBezTo>
                  <a:cubicBezTo>
                    <a:pt x="28" y="32"/>
                    <a:pt x="28" y="32"/>
                    <a:pt x="28" y="32"/>
                  </a:cubicBezTo>
                  <a:cubicBezTo>
                    <a:pt x="29" y="33"/>
                    <a:pt x="30" y="35"/>
                    <a:pt x="30" y="35"/>
                  </a:cubicBezTo>
                  <a:cubicBezTo>
                    <a:pt x="30" y="35"/>
                    <a:pt x="30" y="34"/>
                    <a:pt x="30" y="31"/>
                  </a:cubicBezTo>
                  <a:cubicBezTo>
                    <a:pt x="32" y="33"/>
                    <a:pt x="32" y="35"/>
                    <a:pt x="32" y="35"/>
                  </a:cubicBezTo>
                  <a:cubicBezTo>
                    <a:pt x="33" y="35"/>
                    <a:pt x="33" y="34"/>
                    <a:pt x="35" y="32"/>
                  </a:cubicBezTo>
                  <a:cubicBezTo>
                    <a:pt x="33" y="31"/>
                    <a:pt x="31" y="27"/>
                    <a:pt x="29" y="27"/>
                  </a:cubicBezTo>
                  <a:cubicBezTo>
                    <a:pt x="29" y="27"/>
                    <a:pt x="28" y="27"/>
                    <a:pt x="28" y="28"/>
                  </a:cubicBezTo>
                  <a:cubicBezTo>
                    <a:pt x="29" y="25"/>
                    <a:pt x="20" y="19"/>
                    <a:pt x="17" y="17"/>
                  </a:cubicBezTo>
                  <a:cubicBezTo>
                    <a:pt x="15" y="15"/>
                    <a:pt x="19" y="14"/>
                    <a:pt x="21" y="14"/>
                  </a:cubicBezTo>
                  <a:cubicBezTo>
                    <a:pt x="18" y="14"/>
                    <a:pt x="16" y="12"/>
                    <a:pt x="14" y="11"/>
                  </a:cubicBezTo>
                  <a:cubicBezTo>
                    <a:pt x="15" y="10"/>
                    <a:pt x="15" y="9"/>
                    <a:pt x="14" y="8"/>
                  </a:cubicBezTo>
                  <a:cubicBezTo>
                    <a:pt x="13" y="6"/>
                    <a:pt x="13" y="6"/>
                    <a:pt x="13" y="6"/>
                  </a:cubicBezTo>
                  <a:cubicBezTo>
                    <a:pt x="14" y="6"/>
                    <a:pt x="14" y="6"/>
                    <a:pt x="15" y="6"/>
                  </a:cubicBezTo>
                  <a:cubicBezTo>
                    <a:pt x="15" y="5"/>
                    <a:pt x="17" y="6"/>
                    <a:pt x="17" y="5"/>
                  </a:cubicBezTo>
                  <a:cubicBezTo>
                    <a:pt x="18" y="4"/>
                    <a:pt x="18" y="1"/>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51"/>
            <p:cNvSpPr/>
            <p:nvPr/>
          </p:nvSpPr>
          <p:spPr bwMode="auto">
            <a:xfrm>
              <a:off x="4960929" y="945384"/>
              <a:ext cx="919163" cy="574675"/>
            </a:xfrm>
            <a:custGeom>
              <a:gdLst>
                <a:gd name="T0" fmla="*/ 75 w 245"/>
                <a:gd name="T1" fmla="*/ 4 h 153"/>
                <a:gd name="T2" fmla="*/ 25 w 245"/>
                <a:gd name="T3" fmla="*/ 10 h 153"/>
                <a:gd name="T4" fmla="*/ 35 w 245"/>
                <a:gd name="T5" fmla="*/ 26 h 153"/>
                <a:gd name="T6" fmla="*/ 44 w 245"/>
                <a:gd name="T7" fmla="*/ 33 h 153"/>
                <a:gd name="T8" fmla="*/ 41 w 245"/>
                <a:gd name="T9" fmla="*/ 45 h 153"/>
                <a:gd name="T10" fmla="*/ 28 w 245"/>
                <a:gd name="T11" fmla="*/ 60 h 153"/>
                <a:gd name="T12" fmla="*/ 26 w 245"/>
                <a:gd name="T13" fmla="*/ 69 h 153"/>
                <a:gd name="T14" fmla="*/ 25 w 245"/>
                <a:gd name="T15" fmla="*/ 75 h 153"/>
                <a:gd name="T16" fmla="*/ 21 w 245"/>
                <a:gd name="T17" fmla="*/ 76 h 153"/>
                <a:gd name="T18" fmla="*/ 18 w 245"/>
                <a:gd name="T19" fmla="*/ 76 h 153"/>
                <a:gd name="T20" fmla="*/ 18 w 245"/>
                <a:gd name="T21" fmla="*/ 83 h 153"/>
                <a:gd name="T22" fmla="*/ 13 w 245"/>
                <a:gd name="T23" fmla="*/ 93 h 153"/>
                <a:gd name="T24" fmla="*/ 10 w 245"/>
                <a:gd name="T25" fmla="*/ 96 h 153"/>
                <a:gd name="T26" fmla="*/ 7 w 245"/>
                <a:gd name="T27" fmla="*/ 101 h 153"/>
                <a:gd name="T28" fmla="*/ 6 w 245"/>
                <a:gd name="T29" fmla="*/ 103 h 153"/>
                <a:gd name="T30" fmla="*/ 2 w 245"/>
                <a:gd name="T31" fmla="*/ 108 h 153"/>
                <a:gd name="T32" fmla="*/ 2 w 245"/>
                <a:gd name="T33" fmla="*/ 115 h 153"/>
                <a:gd name="T34" fmla="*/ 14 w 245"/>
                <a:gd name="T35" fmla="*/ 115 h 153"/>
                <a:gd name="T36" fmla="*/ 14 w 245"/>
                <a:gd name="T37" fmla="*/ 116 h 153"/>
                <a:gd name="T38" fmla="*/ 41 w 245"/>
                <a:gd name="T39" fmla="*/ 127 h 153"/>
                <a:gd name="T40" fmla="*/ 57 w 245"/>
                <a:gd name="T41" fmla="*/ 145 h 153"/>
                <a:gd name="T42" fmla="*/ 68 w 245"/>
                <a:gd name="T43" fmla="*/ 153 h 153"/>
                <a:gd name="T44" fmla="*/ 81 w 245"/>
                <a:gd name="T45" fmla="*/ 147 h 153"/>
                <a:gd name="T46" fmla="*/ 97 w 245"/>
                <a:gd name="T47" fmla="*/ 137 h 153"/>
                <a:gd name="T48" fmla="*/ 101 w 245"/>
                <a:gd name="T49" fmla="*/ 140 h 153"/>
                <a:gd name="T50" fmla="*/ 105 w 245"/>
                <a:gd name="T51" fmla="*/ 140 h 153"/>
                <a:gd name="T52" fmla="*/ 126 w 245"/>
                <a:gd name="T53" fmla="*/ 121 h 153"/>
                <a:gd name="T54" fmla="*/ 132 w 245"/>
                <a:gd name="T55" fmla="*/ 108 h 153"/>
                <a:gd name="T56" fmla="*/ 131 w 245"/>
                <a:gd name="T57" fmla="*/ 102 h 153"/>
                <a:gd name="T58" fmla="*/ 136 w 245"/>
                <a:gd name="T59" fmla="*/ 104 h 153"/>
                <a:gd name="T60" fmla="*/ 138 w 245"/>
                <a:gd name="T61" fmla="*/ 104 h 153"/>
                <a:gd name="T62" fmla="*/ 139 w 245"/>
                <a:gd name="T63" fmla="*/ 104 h 153"/>
                <a:gd name="T64" fmla="*/ 152 w 245"/>
                <a:gd name="T65" fmla="*/ 94 h 153"/>
                <a:gd name="T66" fmla="*/ 158 w 245"/>
                <a:gd name="T67" fmla="*/ 85 h 153"/>
                <a:gd name="T68" fmla="*/ 171 w 245"/>
                <a:gd name="T69" fmla="*/ 80 h 153"/>
                <a:gd name="T70" fmla="*/ 198 w 245"/>
                <a:gd name="T71" fmla="*/ 68 h 153"/>
                <a:gd name="T72" fmla="*/ 211 w 245"/>
                <a:gd name="T73" fmla="*/ 62 h 153"/>
                <a:gd name="T74" fmla="*/ 240 w 245"/>
                <a:gd name="T75" fmla="*/ 51 h 153"/>
                <a:gd name="T76" fmla="*/ 237 w 245"/>
                <a:gd name="T77" fmla="*/ 40 h 153"/>
                <a:gd name="T78" fmla="*/ 213 w 245"/>
                <a:gd name="T79" fmla="*/ 25 h 153"/>
                <a:gd name="T80" fmla="*/ 179 w 245"/>
                <a:gd name="T81" fmla="*/ 13 h 153"/>
                <a:gd name="T82" fmla="*/ 165 w 245"/>
                <a:gd name="T83" fmla="*/ 16 h 153"/>
                <a:gd name="T84" fmla="*/ 158 w 245"/>
                <a:gd name="T85" fmla="*/ 24 h 153"/>
                <a:gd name="T86" fmla="*/ 155 w 245"/>
                <a:gd name="T87" fmla="*/ 24 h 153"/>
                <a:gd name="T88" fmla="*/ 153 w 245"/>
                <a:gd name="T89" fmla="*/ 15 h 153"/>
                <a:gd name="T90" fmla="*/ 145 w 245"/>
                <a:gd name="T91" fmla="*/ 17 h 153"/>
                <a:gd name="T92" fmla="*/ 144 w 245"/>
                <a:gd name="T93" fmla="*/ 15 h 153"/>
                <a:gd name="T94" fmla="*/ 113 w 245"/>
                <a:gd name="T95" fmla="*/ 6 h 153"/>
                <a:gd name="T96" fmla="*/ 108 w 245"/>
                <a:gd name="T97" fmla="*/ 2 h 153"/>
                <a:gd name="T98" fmla="*/ 98 w 245"/>
                <a:gd name="T99" fmla="*/ 0 h 1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153">
                  <a:moveTo>
                    <a:pt x="98" y="0"/>
                  </a:moveTo>
                  <a:cubicBezTo>
                    <a:pt x="90" y="0"/>
                    <a:pt x="83" y="4"/>
                    <a:pt x="75" y="4"/>
                  </a:cubicBezTo>
                  <a:cubicBezTo>
                    <a:pt x="67" y="5"/>
                    <a:pt x="58" y="5"/>
                    <a:pt x="50" y="6"/>
                  </a:cubicBezTo>
                  <a:cubicBezTo>
                    <a:pt x="42" y="7"/>
                    <a:pt x="33" y="7"/>
                    <a:pt x="25" y="10"/>
                  </a:cubicBezTo>
                  <a:cubicBezTo>
                    <a:pt x="30" y="11"/>
                    <a:pt x="31" y="16"/>
                    <a:pt x="33" y="20"/>
                  </a:cubicBezTo>
                  <a:cubicBezTo>
                    <a:pt x="33" y="22"/>
                    <a:pt x="34" y="24"/>
                    <a:pt x="35" y="26"/>
                  </a:cubicBezTo>
                  <a:cubicBezTo>
                    <a:pt x="36" y="27"/>
                    <a:pt x="37" y="28"/>
                    <a:pt x="38" y="29"/>
                  </a:cubicBezTo>
                  <a:cubicBezTo>
                    <a:pt x="40" y="33"/>
                    <a:pt x="41" y="31"/>
                    <a:pt x="44" y="33"/>
                  </a:cubicBezTo>
                  <a:cubicBezTo>
                    <a:pt x="48" y="34"/>
                    <a:pt x="48" y="37"/>
                    <a:pt x="45" y="39"/>
                  </a:cubicBezTo>
                  <a:cubicBezTo>
                    <a:pt x="41" y="42"/>
                    <a:pt x="41" y="41"/>
                    <a:pt x="41" y="45"/>
                  </a:cubicBezTo>
                  <a:cubicBezTo>
                    <a:pt x="41" y="48"/>
                    <a:pt x="38" y="48"/>
                    <a:pt x="36" y="49"/>
                  </a:cubicBezTo>
                  <a:cubicBezTo>
                    <a:pt x="32" y="51"/>
                    <a:pt x="30" y="57"/>
                    <a:pt x="28" y="60"/>
                  </a:cubicBezTo>
                  <a:cubicBezTo>
                    <a:pt x="27" y="63"/>
                    <a:pt x="25" y="63"/>
                    <a:pt x="24" y="65"/>
                  </a:cubicBezTo>
                  <a:cubicBezTo>
                    <a:pt x="23" y="67"/>
                    <a:pt x="24" y="68"/>
                    <a:pt x="26" y="69"/>
                  </a:cubicBezTo>
                  <a:cubicBezTo>
                    <a:pt x="27" y="69"/>
                    <a:pt x="29" y="70"/>
                    <a:pt x="30" y="71"/>
                  </a:cubicBezTo>
                  <a:cubicBezTo>
                    <a:pt x="32" y="74"/>
                    <a:pt x="27" y="75"/>
                    <a:pt x="25" y="75"/>
                  </a:cubicBezTo>
                  <a:cubicBezTo>
                    <a:pt x="24" y="75"/>
                    <a:pt x="22" y="76"/>
                    <a:pt x="21" y="76"/>
                  </a:cubicBezTo>
                  <a:cubicBezTo>
                    <a:pt x="21" y="76"/>
                    <a:pt x="21" y="76"/>
                    <a:pt x="21" y="76"/>
                  </a:cubicBezTo>
                  <a:cubicBezTo>
                    <a:pt x="21" y="76"/>
                    <a:pt x="20" y="76"/>
                    <a:pt x="20" y="76"/>
                  </a:cubicBezTo>
                  <a:cubicBezTo>
                    <a:pt x="19" y="76"/>
                    <a:pt x="19" y="76"/>
                    <a:pt x="18" y="76"/>
                  </a:cubicBezTo>
                  <a:cubicBezTo>
                    <a:pt x="18" y="76"/>
                    <a:pt x="18" y="76"/>
                    <a:pt x="18" y="76"/>
                  </a:cubicBezTo>
                  <a:cubicBezTo>
                    <a:pt x="16" y="76"/>
                    <a:pt x="18" y="81"/>
                    <a:pt x="18" y="83"/>
                  </a:cubicBezTo>
                  <a:cubicBezTo>
                    <a:pt x="18" y="85"/>
                    <a:pt x="18" y="85"/>
                    <a:pt x="17" y="87"/>
                  </a:cubicBezTo>
                  <a:cubicBezTo>
                    <a:pt x="17" y="91"/>
                    <a:pt x="16" y="90"/>
                    <a:pt x="13" y="93"/>
                  </a:cubicBezTo>
                  <a:cubicBezTo>
                    <a:pt x="12" y="93"/>
                    <a:pt x="11" y="94"/>
                    <a:pt x="11" y="95"/>
                  </a:cubicBezTo>
                  <a:cubicBezTo>
                    <a:pt x="11" y="96"/>
                    <a:pt x="10" y="95"/>
                    <a:pt x="10" y="96"/>
                  </a:cubicBezTo>
                  <a:cubicBezTo>
                    <a:pt x="9" y="97"/>
                    <a:pt x="10" y="97"/>
                    <a:pt x="10" y="98"/>
                  </a:cubicBezTo>
                  <a:cubicBezTo>
                    <a:pt x="9" y="99"/>
                    <a:pt x="8" y="99"/>
                    <a:pt x="7" y="101"/>
                  </a:cubicBezTo>
                  <a:cubicBezTo>
                    <a:pt x="7" y="101"/>
                    <a:pt x="7" y="102"/>
                    <a:pt x="7" y="102"/>
                  </a:cubicBezTo>
                  <a:cubicBezTo>
                    <a:pt x="7" y="103"/>
                    <a:pt x="6" y="103"/>
                    <a:pt x="6" y="103"/>
                  </a:cubicBezTo>
                  <a:cubicBezTo>
                    <a:pt x="5" y="104"/>
                    <a:pt x="4" y="103"/>
                    <a:pt x="4" y="105"/>
                  </a:cubicBezTo>
                  <a:cubicBezTo>
                    <a:pt x="4" y="107"/>
                    <a:pt x="2" y="107"/>
                    <a:pt x="2" y="108"/>
                  </a:cubicBezTo>
                  <a:cubicBezTo>
                    <a:pt x="1" y="110"/>
                    <a:pt x="4" y="114"/>
                    <a:pt x="0" y="115"/>
                  </a:cubicBezTo>
                  <a:cubicBezTo>
                    <a:pt x="1" y="115"/>
                    <a:pt x="1" y="115"/>
                    <a:pt x="2" y="115"/>
                  </a:cubicBezTo>
                  <a:cubicBezTo>
                    <a:pt x="4" y="115"/>
                    <a:pt x="6" y="115"/>
                    <a:pt x="8" y="115"/>
                  </a:cubicBezTo>
                  <a:cubicBezTo>
                    <a:pt x="10" y="115"/>
                    <a:pt x="12" y="115"/>
                    <a:pt x="14" y="115"/>
                  </a:cubicBezTo>
                  <a:cubicBezTo>
                    <a:pt x="16" y="115"/>
                    <a:pt x="18" y="115"/>
                    <a:pt x="20" y="115"/>
                  </a:cubicBezTo>
                  <a:cubicBezTo>
                    <a:pt x="18" y="116"/>
                    <a:pt x="16" y="116"/>
                    <a:pt x="14" y="116"/>
                  </a:cubicBezTo>
                  <a:cubicBezTo>
                    <a:pt x="19" y="119"/>
                    <a:pt x="26" y="122"/>
                    <a:pt x="32" y="124"/>
                  </a:cubicBezTo>
                  <a:cubicBezTo>
                    <a:pt x="35" y="125"/>
                    <a:pt x="39" y="125"/>
                    <a:pt x="41" y="127"/>
                  </a:cubicBezTo>
                  <a:cubicBezTo>
                    <a:pt x="43" y="128"/>
                    <a:pt x="45" y="130"/>
                    <a:pt x="46" y="132"/>
                  </a:cubicBezTo>
                  <a:cubicBezTo>
                    <a:pt x="50" y="136"/>
                    <a:pt x="53" y="140"/>
                    <a:pt x="57" y="145"/>
                  </a:cubicBezTo>
                  <a:cubicBezTo>
                    <a:pt x="60" y="149"/>
                    <a:pt x="62" y="153"/>
                    <a:pt x="67" y="153"/>
                  </a:cubicBezTo>
                  <a:cubicBezTo>
                    <a:pt x="68" y="153"/>
                    <a:pt x="68" y="153"/>
                    <a:pt x="68" y="153"/>
                  </a:cubicBezTo>
                  <a:cubicBezTo>
                    <a:pt x="71" y="153"/>
                    <a:pt x="72" y="152"/>
                    <a:pt x="74" y="150"/>
                  </a:cubicBezTo>
                  <a:cubicBezTo>
                    <a:pt x="76" y="149"/>
                    <a:pt x="78" y="148"/>
                    <a:pt x="81" y="147"/>
                  </a:cubicBezTo>
                  <a:cubicBezTo>
                    <a:pt x="86" y="145"/>
                    <a:pt x="88" y="143"/>
                    <a:pt x="92" y="140"/>
                  </a:cubicBezTo>
                  <a:cubicBezTo>
                    <a:pt x="94" y="138"/>
                    <a:pt x="95" y="137"/>
                    <a:pt x="97" y="137"/>
                  </a:cubicBezTo>
                  <a:cubicBezTo>
                    <a:pt x="98" y="137"/>
                    <a:pt x="98" y="137"/>
                    <a:pt x="99" y="137"/>
                  </a:cubicBezTo>
                  <a:cubicBezTo>
                    <a:pt x="100" y="138"/>
                    <a:pt x="100" y="140"/>
                    <a:pt x="101" y="140"/>
                  </a:cubicBezTo>
                  <a:cubicBezTo>
                    <a:pt x="101" y="140"/>
                    <a:pt x="102" y="141"/>
                    <a:pt x="102" y="141"/>
                  </a:cubicBezTo>
                  <a:cubicBezTo>
                    <a:pt x="103" y="141"/>
                    <a:pt x="104" y="140"/>
                    <a:pt x="105" y="140"/>
                  </a:cubicBezTo>
                  <a:cubicBezTo>
                    <a:pt x="110" y="139"/>
                    <a:pt x="117" y="138"/>
                    <a:pt x="122" y="136"/>
                  </a:cubicBezTo>
                  <a:cubicBezTo>
                    <a:pt x="127" y="132"/>
                    <a:pt x="126" y="126"/>
                    <a:pt x="126" y="121"/>
                  </a:cubicBezTo>
                  <a:cubicBezTo>
                    <a:pt x="126" y="117"/>
                    <a:pt x="126" y="116"/>
                    <a:pt x="128" y="113"/>
                  </a:cubicBezTo>
                  <a:cubicBezTo>
                    <a:pt x="129" y="112"/>
                    <a:pt x="132" y="110"/>
                    <a:pt x="132" y="108"/>
                  </a:cubicBezTo>
                  <a:cubicBezTo>
                    <a:pt x="132" y="106"/>
                    <a:pt x="129" y="104"/>
                    <a:pt x="129" y="103"/>
                  </a:cubicBezTo>
                  <a:cubicBezTo>
                    <a:pt x="130" y="103"/>
                    <a:pt x="131" y="102"/>
                    <a:pt x="131" y="102"/>
                  </a:cubicBezTo>
                  <a:cubicBezTo>
                    <a:pt x="132" y="102"/>
                    <a:pt x="132" y="102"/>
                    <a:pt x="133" y="103"/>
                  </a:cubicBezTo>
                  <a:cubicBezTo>
                    <a:pt x="133" y="104"/>
                    <a:pt x="134" y="104"/>
                    <a:pt x="136" y="104"/>
                  </a:cubicBezTo>
                  <a:cubicBezTo>
                    <a:pt x="136" y="104"/>
                    <a:pt x="136" y="104"/>
                    <a:pt x="137" y="104"/>
                  </a:cubicBezTo>
                  <a:cubicBezTo>
                    <a:pt x="137" y="104"/>
                    <a:pt x="137" y="104"/>
                    <a:pt x="138" y="104"/>
                  </a:cubicBezTo>
                  <a:cubicBezTo>
                    <a:pt x="138" y="104"/>
                    <a:pt x="138" y="104"/>
                    <a:pt x="139" y="104"/>
                  </a:cubicBezTo>
                  <a:cubicBezTo>
                    <a:pt x="139" y="104"/>
                    <a:pt x="139" y="104"/>
                    <a:pt x="139" y="104"/>
                  </a:cubicBezTo>
                  <a:cubicBezTo>
                    <a:pt x="142" y="104"/>
                    <a:pt x="151" y="100"/>
                    <a:pt x="152" y="98"/>
                  </a:cubicBezTo>
                  <a:cubicBezTo>
                    <a:pt x="152" y="96"/>
                    <a:pt x="152" y="95"/>
                    <a:pt x="152" y="94"/>
                  </a:cubicBezTo>
                  <a:cubicBezTo>
                    <a:pt x="153" y="93"/>
                    <a:pt x="154" y="92"/>
                    <a:pt x="154" y="91"/>
                  </a:cubicBezTo>
                  <a:cubicBezTo>
                    <a:pt x="155" y="88"/>
                    <a:pt x="154" y="87"/>
                    <a:pt x="158" y="85"/>
                  </a:cubicBezTo>
                  <a:cubicBezTo>
                    <a:pt x="160" y="84"/>
                    <a:pt x="162" y="83"/>
                    <a:pt x="164" y="82"/>
                  </a:cubicBezTo>
                  <a:cubicBezTo>
                    <a:pt x="166" y="81"/>
                    <a:pt x="169" y="81"/>
                    <a:pt x="171" y="80"/>
                  </a:cubicBezTo>
                  <a:cubicBezTo>
                    <a:pt x="175" y="77"/>
                    <a:pt x="180" y="76"/>
                    <a:pt x="185" y="73"/>
                  </a:cubicBezTo>
                  <a:cubicBezTo>
                    <a:pt x="189" y="71"/>
                    <a:pt x="194" y="68"/>
                    <a:pt x="198" y="68"/>
                  </a:cubicBezTo>
                  <a:cubicBezTo>
                    <a:pt x="200" y="68"/>
                    <a:pt x="203" y="66"/>
                    <a:pt x="205" y="65"/>
                  </a:cubicBezTo>
                  <a:cubicBezTo>
                    <a:pt x="207" y="64"/>
                    <a:pt x="209" y="63"/>
                    <a:pt x="211" y="62"/>
                  </a:cubicBezTo>
                  <a:cubicBezTo>
                    <a:pt x="216" y="60"/>
                    <a:pt x="220" y="58"/>
                    <a:pt x="225" y="57"/>
                  </a:cubicBezTo>
                  <a:cubicBezTo>
                    <a:pt x="230" y="55"/>
                    <a:pt x="235" y="54"/>
                    <a:pt x="240" y="51"/>
                  </a:cubicBezTo>
                  <a:cubicBezTo>
                    <a:pt x="243" y="50"/>
                    <a:pt x="245" y="48"/>
                    <a:pt x="242" y="45"/>
                  </a:cubicBezTo>
                  <a:cubicBezTo>
                    <a:pt x="241" y="44"/>
                    <a:pt x="237" y="40"/>
                    <a:pt x="237" y="40"/>
                  </a:cubicBezTo>
                  <a:cubicBezTo>
                    <a:pt x="232" y="39"/>
                    <a:pt x="229" y="36"/>
                    <a:pt x="225" y="33"/>
                  </a:cubicBezTo>
                  <a:cubicBezTo>
                    <a:pt x="221" y="31"/>
                    <a:pt x="217" y="28"/>
                    <a:pt x="213" y="25"/>
                  </a:cubicBezTo>
                  <a:cubicBezTo>
                    <a:pt x="206" y="19"/>
                    <a:pt x="197" y="15"/>
                    <a:pt x="187" y="14"/>
                  </a:cubicBezTo>
                  <a:cubicBezTo>
                    <a:pt x="184" y="14"/>
                    <a:pt x="182" y="13"/>
                    <a:pt x="179" y="13"/>
                  </a:cubicBezTo>
                  <a:cubicBezTo>
                    <a:pt x="177" y="13"/>
                    <a:pt x="176" y="13"/>
                    <a:pt x="174" y="14"/>
                  </a:cubicBezTo>
                  <a:cubicBezTo>
                    <a:pt x="171" y="14"/>
                    <a:pt x="168" y="15"/>
                    <a:pt x="165" y="16"/>
                  </a:cubicBezTo>
                  <a:cubicBezTo>
                    <a:pt x="164" y="16"/>
                    <a:pt x="162" y="16"/>
                    <a:pt x="163" y="18"/>
                  </a:cubicBezTo>
                  <a:cubicBezTo>
                    <a:pt x="164" y="21"/>
                    <a:pt x="161" y="22"/>
                    <a:pt x="158" y="24"/>
                  </a:cubicBezTo>
                  <a:cubicBezTo>
                    <a:pt x="157" y="25"/>
                    <a:pt x="156" y="26"/>
                    <a:pt x="155" y="26"/>
                  </a:cubicBezTo>
                  <a:cubicBezTo>
                    <a:pt x="155" y="26"/>
                    <a:pt x="155" y="25"/>
                    <a:pt x="155" y="24"/>
                  </a:cubicBezTo>
                  <a:cubicBezTo>
                    <a:pt x="155" y="21"/>
                    <a:pt x="157" y="18"/>
                    <a:pt x="156" y="16"/>
                  </a:cubicBezTo>
                  <a:cubicBezTo>
                    <a:pt x="155" y="16"/>
                    <a:pt x="154" y="15"/>
                    <a:pt x="153" y="15"/>
                  </a:cubicBezTo>
                  <a:cubicBezTo>
                    <a:pt x="152" y="15"/>
                    <a:pt x="151" y="16"/>
                    <a:pt x="150" y="16"/>
                  </a:cubicBezTo>
                  <a:cubicBezTo>
                    <a:pt x="148" y="16"/>
                    <a:pt x="147" y="15"/>
                    <a:pt x="145" y="17"/>
                  </a:cubicBezTo>
                  <a:cubicBezTo>
                    <a:pt x="143" y="19"/>
                    <a:pt x="142" y="21"/>
                    <a:pt x="139" y="22"/>
                  </a:cubicBezTo>
                  <a:cubicBezTo>
                    <a:pt x="140" y="19"/>
                    <a:pt x="145" y="18"/>
                    <a:pt x="144" y="15"/>
                  </a:cubicBezTo>
                  <a:cubicBezTo>
                    <a:pt x="138" y="14"/>
                    <a:pt x="133" y="13"/>
                    <a:pt x="127" y="11"/>
                  </a:cubicBezTo>
                  <a:cubicBezTo>
                    <a:pt x="123" y="10"/>
                    <a:pt x="116" y="9"/>
                    <a:pt x="113" y="6"/>
                  </a:cubicBezTo>
                  <a:cubicBezTo>
                    <a:pt x="112" y="5"/>
                    <a:pt x="112" y="4"/>
                    <a:pt x="111" y="3"/>
                  </a:cubicBezTo>
                  <a:cubicBezTo>
                    <a:pt x="110" y="2"/>
                    <a:pt x="109" y="2"/>
                    <a:pt x="108" y="2"/>
                  </a:cubicBezTo>
                  <a:cubicBezTo>
                    <a:pt x="106" y="2"/>
                    <a:pt x="103" y="1"/>
                    <a:pt x="101" y="1"/>
                  </a:cubicBezTo>
                  <a:cubicBezTo>
                    <a:pt x="100" y="0"/>
                    <a:pt x="99" y="0"/>
                    <a:pt x="9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52"/>
            <p:cNvSpPr/>
            <p:nvPr/>
          </p:nvSpPr>
          <p:spPr bwMode="auto">
            <a:xfrm>
              <a:off x="4757729" y="4129909"/>
              <a:ext cx="22225" cy="33338"/>
            </a:xfrm>
            <a:custGeom>
              <a:gdLst>
                <a:gd name="T0" fmla="*/ 4 w 6"/>
                <a:gd name="T1" fmla="*/ 0 h 9"/>
                <a:gd name="T2" fmla="*/ 1 w 6"/>
                <a:gd name="T3" fmla="*/ 3 h 9"/>
                <a:gd name="T4" fmla="*/ 1 w 6"/>
                <a:gd name="T5" fmla="*/ 5 h 9"/>
                <a:gd name="T6" fmla="*/ 6 w 6"/>
                <a:gd name="T7" fmla="*/ 9 h 9"/>
                <a:gd name="T8" fmla="*/ 5 w 6"/>
                <a:gd name="T9" fmla="*/ 7 h 9"/>
                <a:gd name="T10" fmla="*/ 5 w 6"/>
                <a:gd name="T11" fmla="*/ 7 h 9"/>
                <a:gd name="T12" fmla="*/ 4 w 6"/>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6" h="9">
                  <a:moveTo>
                    <a:pt x="4" y="0"/>
                  </a:moveTo>
                  <a:cubicBezTo>
                    <a:pt x="1" y="1"/>
                    <a:pt x="0" y="1"/>
                    <a:pt x="1" y="3"/>
                  </a:cubicBezTo>
                  <a:cubicBezTo>
                    <a:pt x="1" y="4"/>
                    <a:pt x="1" y="4"/>
                    <a:pt x="1" y="5"/>
                  </a:cubicBezTo>
                  <a:cubicBezTo>
                    <a:pt x="2" y="8"/>
                    <a:pt x="4" y="7"/>
                    <a:pt x="6" y="9"/>
                  </a:cubicBezTo>
                  <a:cubicBezTo>
                    <a:pt x="5" y="8"/>
                    <a:pt x="6" y="8"/>
                    <a:pt x="5" y="7"/>
                  </a:cubicBezTo>
                  <a:cubicBezTo>
                    <a:pt x="5" y="7"/>
                    <a:pt x="5" y="7"/>
                    <a:pt x="5" y="7"/>
                  </a:cubicBezTo>
                  <a:cubicBezTo>
                    <a:pt x="5" y="5"/>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3"/>
            <p:cNvSpPr/>
            <p:nvPr/>
          </p:nvSpPr>
          <p:spPr bwMode="auto">
            <a:xfrm>
              <a:off x="4554529" y="3904484"/>
              <a:ext cx="79375" cy="55563"/>
            </a:xfrm>
            <a:custGeom>
              <a:gdLst>
                <a:gd name="T0" fmla="*/ 0 w 21"/>
                <a:gd name="T1" fmla="*/ 0 h 15"/>
                <a:gd name="T2" fmla="*/ 0 w 21"/>
                <a:gd name="T3" fmla="*/ 0 h 15"/>
                <a:gd name="T4" fmla="*/ 15 w 21"/>
                <a:gd name="T5" fmla="*/ 15 h 15"/>
                <a:gd name="T6" fmla="*/ 16 w 21"/>
                <a:gd name="T7" fmla="*/ 15 h 15"/>
                <a:gd name="T8" fmla="*/ 11 w 21"/>
                <a:gd name="T9" fmla="*/ 5 h 15"/>
                <a:gd name="T10" fmla="*/ 0 w 21"/>
                <a:gd name="T11" fmla="*/ 0 h 15"/>
              </a:gdLst>
              <a:cxnLst>
                <a:cxn ang="0">
                  <a:pos x="T0" y="T1"/>
                </a:cxn>
                <a:cxn ang="0">
                  <a:pos x="T2" y="T3"/>
                </a:cxn>
                <a:cxn ang="0">
                  <a:pos x="T4" y="T5"/>
                </a:cxn>
                <a:cxn ang="0">
                  <a:pos x="T6" y="T7"/>
                </a:cxn>
                <a:cxn ang="0">
                  <a:pos x="T8" y="T9"/>
                </a:cxn>
                <a:cxn ang="0">
                  <a:pos x="T10" y="T11"/>
                </a:cxn>
              </a:cxnLst>
              <a:rect l="0" t="0" r="r" b="b"/>
              <a:pathLst>
                <a:path w="21" h="15">
                  <a:moveTo>
                    <a:pt x="0" y="0"/>
                  </a:moveTo>
                  <a:cubicBezTo>
                    <a:pt x="0" y="0"/>
                    <a:pt x="0" y="0"/>
                    <a:pt x="0" y="0"/>
                  </a:cubicBezTo>
                  <a:cubicBezTo>
                    <a:pt x="4" y="5"/>
                    <a:pt x="10" y="10"/>
                    <a:pt x="15" y="15"/>
                  </a:cubicBezTo>
                  <a:cubicBezTo>
                    <a:pt x="15" y="15"/>
                    <a:pt x="15" y="15"/>
                    <a:pt x="16" y="15"/>
                  </a:cubicBezTo>
                  <a:cubicBezTo>
                    <a:pt x="21" y="15"/>
                    <a:pt x="13" y="6"/>
                    <a:pt x="11" y="5"/>
                  </a:cubicBezTo>
                  <a:cubicBezTo>
                    <a:pt x="8" y="3"/>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54"/>
            <p:cNvSpPr/>
            <p:nvPr/>
          </p:nvSpPr>
          <p:spPr bwMode="auto">
            <a:xfrm>
              <a:off x="4559291" y="3882259"/>
              <a:ext cx="28575" cy="30163"/>
            </a:xfrm>
            <a:custGeom>
              <a:gdLst>
                <a:gd name="T0" fmla="*/ 4 w 8"/>
                <a:gd name="T1" fmla="*/ 0 h 8"/>
                <a:gd name="T2" fmla="*/ 3 w 8"/>
                <a:gd name="T3" fmla="*/ 6 h 8"/>
                <a:gd name="T4" fmla="*/ 8 w 8"/>
                <a:gd name="T5" fmla="*/ 8 h 8"/>
                <a:gd name="T6" fmla="*/ 4 w 8"/>
                <a:gd name="T7" fmla="*/ 0 h 8"/>
              </a:gdLst>
              <a:cxnLst>
                <a:cxn ang="0">
                  <a:pos x="T0" y="T1"/>
                </a:cxn>
                <a:cxn ang="0">
                  <a:pos x="T2" y="T3"/>
                </a:cxn>
                <a:cxn ang="0">
                  <a:pos x="T4" y="T5"/>
                </a:cxn>
                <a:cxn ang="0">
                  <a:pos x="T6" y="T7"/>
                </a:cxn>
              </a:cxnLst>
              <a:rect l="0" t="0" r="r" b="b"/>
              <a:pathLst>
                <a:path w="8" h="8">
                  <a:moveTo>
                    <a:pt x="4" y="0"/>
                  </a:moveTo>
                  <a:cubicBezTo>
                    <a:pt x="3" y="3"/>
                    <a:pt x="0" y="4"/>
                    <a:pt x="3" y="6"/>
                  </a:cubicBezTo>
                  <a:cubicBezTo>
                    <a:pt x="4" y="7"/>
                    <a:pt x="7" y="7"/>
                    <a:pt x="8" y="8"/>
                  </a:cubicBezTo>
                  <a:cubicBezTo>
                    <a:pt x="7" y="5"/>
                    <a:pt x="5"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5"/>
            <p:cNvSpPr/>
            <p:nvPr/>
          </p:nvSpPr>
          <p:spPr bwMode="auto">
            <a:xfrm>
              <a:off x="9172566" y="2615434"/>
              <a:ext cx="77788" cy="46038"/>
            </a:xfrm>
            <a:custGeom>
              <a:gdLst>
                <a:gd name="T0" fmla="*/ 8 w 21"/>
                <a:gd name="T1" fmla="*/ 0 h 12"/>
                <a:gd name="T2" fmla="*/ 1 w 21"/>
                <a:gd name="T3" fmla="*/ 2 h 12"/>
                <a:gd name="T4" fmla="*/ 0 w 21"/>
                <a:gd name="T5" fmla="*/ 3 h 12"/>
                <a:gd name="T6" fmla="*/ 1 w 21"/>
                <a:gd name="T7" fmla="*/ 2 h 12"/>
                <a:gd name="T8" fmla="*/ 1 w 21"/>
                <a:gd name="T9" fmla="*/ 3 h 12"/>
                <a:gd name="T10" fmla="*/ 7 w 21"/>
                <a:gd name="T11" fmla="*/ 7 h 12"/>
                <a:gd name="T12" fmla="*/ 17 w 21"/>
                <a:gd name="T13" fmla="*/ 12 h 12"/>
                <a:gd name="T14" fmla="*/ 21 w 21"/>
                <a:gd name="T15" fmla="*/ 8 h 12"/>
                <a:gd name="T16" fmla="*/ 18 w 21"/>
                <a:gd name="T17" fmla="*/ 8 h 12"/>
                <a:gd name="T18" fmla="*/ 8 w 21"/>
                <a:gd name="T19" fmla="*/ 0 h 12"/>
                <a:gd name="T20" fmla="*/ 8 w 21"/>
                <a:gd name="T21"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8" y="0"/>
                  </a:moveTo>
                  <a:cubicBezTo>
                    <a:pt x="6" y="0"/>
                    <a:pt x="3" y="1"/>
                    <a:pt x="1" y="2"/>
                  </a:cubicBezTo>
                  <a:cubicBezTo>
                    <a:pt x="1" y="2"/>
                    <a:pt x="0" y="2"/>
                    <a:pt x="0" y="3"/>
                  </a:cubicBezTo>
                  <a:cubicBezTo>
                    <a:pt x="1" y="2"/>
                    <a:pt x="1" y="2"/>
                    <a:pt x="1" y="2"/>
                  </a:cubicBezTo>
                  <a:cubicBezTo>
                    <a:pt x="1" y="3"/>
                    <a:pt x="1" y="3"/>
                    <a:pt x="1" y="3"/>
                  </a:cubicBezTo>
                  <a:cubicBezTo>
                    <a:pt x="1" y="4"/>
                    <a:pt x="6" y="6"/>
                    <a:pt x="7" y="7"/>
                  </a:cubicBezTo>
                  <a:cubicBezTo>
                    <a:pt x="9" y="9"/>
                    <a:pt x="13" y="12"/>
                    <a:pt x="17" y="12"/>
                  </a:cubicBezTo>
                  <a:cubicBezTo>
                    <a:pt x="18" y="12"/>
                    <a:pt x="20" y="11"/>
                    <a:pt x="21" y="8"/>
                  </a:cubicBezTo>
                  <a:cubicBezTo>
                    <a:pt x="20" y="8"/>
                    <a:pt x="19" y="8"/>
                    <a:pt x="18" y="8"/>
                  </a:cubicBezTo>
                  <a:cubicBezTo>
                    <a:pt x="16" y="5"/>
                    <a:pt x="12"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6"/>
            <p:cNvSpPr/>
            <p:nvPr/>
          </p:nvSpPr>
          <p:spPr bwMode="auto">
            <a:xfrm>
              <a:off x="10234604" y="2851972"/>
              <a:ext cx="44450" cy="30163"/>
            </a:xfrm>
            <a:custGeom>
              <a:gdLst>
                <a:gd name="T0" fmla="*/ 3 w 12"/>
                <a:gd name="T1" fmla="*/ 0 h 8"/>
                <a:gd name="T2" fmla="*/ 1 w 12"/>
                <a:gd name="T3" fmla="*/ 2 h 8"/>
                <a:gd name="T4" fmla="*/ 5 w 12"/>
                <a:gd name="T5" fmla="*/ 7 h 8"/>
                <a:gd name="T6" fmla="*/ 8 w 12"/>
                <a:gd name="T7" fmla="*/ 8 h 8"/>
                <a:gd name="T8" fmla="*/ 9 w 12"/>
                <a:gd name="T9" fmla="*/ 8 h 8"/>
                <a:gd name="T10" fmla="*/ 5 w 12"/>
                <a:gd name="T11" fmla="*/ 1 h 8"/>
                <a:gd name="T12" fmla="*/ 3 w 12"/>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12" h="8">
                  <a:moveTo>
                    <a:pt x="3" y="0"/>
                  </a:moveTo>
                  <a:cubicBezTo>
                    <a:pt x="2" y="0"/>
                    <a:pt x="1" y="1"/>
                    <a:pt x="1" y="2"/>
                  </a:cubicBezTo>
                  <a:cubicBezTo>
                    <a:pt x="0" y="5"/>
                    <a:pt x="4" y="6"/>
                    <a:pt x="5" y="7"/>
                  </a:cubicBezTo>
                  <a:cubicBezTo>
                    <a:pt x="6" y="7"/>
                    <a:pt x="7" y="8"/>
                    <a:pt x="8" y="8"/>
                  </a:cubicBezTo>
                  <a:cubicBezTo>
                    <a:pt x="9" y="8"/>
                    <a:pt x="9" y="8"/>
                    <a:pt x="9" y="8"/>
                  </a:cubicBezTo>
                  <a:cubicBezTo>
                    <a:pt x="12" y="7"/>
                    <a:pt x="6" y="2"/>
                    <a:pt x="5"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57"/>
            <p:cNvSpPr/>
            <p:nvPr/>
          </p:nvSpPr>
          <p:spPr bwMode="auto">
            <a:xfrm>
              <a:off x="9420216" y="2747197"/>
              <a:ext cx="55563" cy="19050"/>
            </a:xfrm>
            <a:custGeom>
              <a:gdLst>
                <a:gd name="T0" fmla="*/ 4 w 15"/>
                <a:gd name="T1" fmla="*/ 0 h 5"/>
                <a:gd name="T2" fmla="*/ 0 w 15"/>
                <a:gd name="T3" fmla="*/ 0 h 5"/>
                <a:gd name="T4" fmla="*/ 13 w 15"/>
                <a:gd name="T5" fmla="*/ 5 h 5"/>
                <a:gd name="T6" fmla="*/ 15 w 15"/>
                <a:gd name="T7" fmla="*/ 5 h 5"/>
                <a:gd name="T8" fmla="*/ 4 w 15"/>
                <a:gd name="T9" fmla="*/ 0 h 5"/>
              </a:gdLst>
              <a:cxnLst>
                <a:cxn ang="0">
                  <a:pos x="T0" y="T1"/>
                </a:cxn>
                <a:cxn ang="0">
                  <a:pos x="T2" y="T3"/>
                </a:cxn>
                <a:cxn ang="0">
                  <a:pos x="T4" y="T5"/>
                </a:cxn>
                <a:cxn ang="0">
                  <a:pos x="T6" y="T7"/>
                </a:cxn>
                <a:cxn ang="0">
                  <a:pos x="T8" y="T9"/>
                </a:cxn>
              </a:cxnLst>
              <a:rect l="0" t="0" r="r" b="b"/>
              <a:pathLst>
                <a:path w="15" h="5">
                  <a:moveTo>
                    <a:pt x="4" y="0"/>
                  </a:moveTo>
                  <a:cubicBezTo>
                    <a:pt x="2" y="0"/>
                    <a:pt x="1" y="0"/>
                    <a:pt x="0" y="0"/>
                  </a:cubicBezTo>
                  <a:cubicBezTo>
                    <a:pt x="4" y="3"/>
                    <a:pt x="9" y="5"/>
                    <a:pt x="13" y="5"/>
                  </a:cubicBezTo>
                  <a:cubicBezTo>
                    <a:pt x="14" y="5"/>
                    <a:pt x="15" y="5"/>
                    <a:pt x="15" y="5"/>
                  </a:cubicBezTo>
                  <a:cubicBezTo>
                    <a:pt x="12"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58"/>
            <p:cNvSpPr/>
            <p:nvPr/>
          </p:nvSpPr>
          <p:spPr bwMode="auto">
            <a:xfrm>
              <a:off x="8072429" y="599309"/>
              <a:ext cx="33338" cy="7938"/>
            </a:xfrm>
            <a:custGeom>
              <a:gdLst>
                <a:gd name="T0" fmla="*/ 9 w 9"/>
                <a:gd name="T1" fmla="*/ 0 h 2"/>
                <a:gd name="T2" fmla="*/ 0 w 9"/>
                <a:gd name="T3" fmla="*/ 0 h 2"/>
                <a:gd name="T4" fmla="*/ 2 w 9"/>
                <a:gd name="T5" fmla="*/ 1 h 2"/>
                <a:gd name="T6" fmla="*/ 3 w 9"/>
                <a:gd name="T7" fmla="*/ 2 h 2"/>
                <a:gd name="T8" fmla="*/ 7 w 9"/>
                <a:gd name="T9" fmla="*/ 1 h 2"/>
                <a:gd name="T10" fmla="*/ 9 w 9"/>
                <a:gd name="T11" fmla="*/ 1 h 2"/>
                <a:gd name="T12" fmla="*/ 9 w 9"/>
                <a:gd name="T13" fmla="*/ 0 h 2"/>
                <a:gd name="T14" fmla="*/ 9 w 9"/>
                <a:gd name="T15" fmla="*/ 0 h 2"/>
                <a:gd name="T16" fmla="*/ 9 w 9"/>
                <a:gd name="T17" fmla="*/ 0 h 2"/>
                <a:gd name="T18" fmla="*/ 9 w 9"/>
                <a:gd name="T19"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
                  <a:moveTo>
                    <a:pt x="9" y="0"/>
                  </a:moveTo>
                  <a:cubicBezTo>
                    <a:pt x="0" y="0"/>
                    <a:pt x="0" y="0"/>
                    <a:pt x="0" y="0"/>
                  </a:cubicBezTo>
                  <a:cubicBezTo>
                    <a:pt x="1" y="0"/>
                    <a:pt x="1" y="1"/>
                    <a:pt x="2" y="1"/>
                  </a:cubicBezTo>
                  <a:cubicBezTo>
                    <a:pt x="2" y="1"/>
                    <a:pt x="3" y="2"/>
                    <a:pt x="3" y="2"/>
                  </a:cubicBezTo>
                  <a:cubicBezTo>
                    <a:pt x="3" y="2"/>
                    <a:pt x="6" y="2"/>
                    <a:pt x="7" y="1"/>
                  </a:cubicBezTo>
                  <a:cubicBezTo>
                    <a:pt x="8" y="1"/>
                    <a:pt x="9" y="1"/>
                    <a:pt x="9" y="1"/>
                  </a:cubicBezTo>
                  <a:cubicBezTo>
                    <a:pt x="9" y="0"/>
                    <a:pt x="9" y="0"/>
                    <a:pt x="9" y="0"/>
                  </a:cubicBezTo>
                  <a:cubicBezTo>
                    <a:pt x="9" y="0"/>
                    <a:pt x="9" y="0"/>
                    <a:pt x="9" y="0"/>
                  </a:cubicBezTo>
                  <a:cubicBezTo>
                    <a:pt x="9" y="0"/>
                    <a:pt x="9"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59"/>
            <p:cNvSpPr/>
            <p:nvPr/>
          </p:nvSpPr>
          <p:spPr bwMode="auto">
            <a:xfrm>
              <a:off x="10283816" y="4556947"/>
              <a:ext cx="19050" cy="19050"/>
            </a:xfrm>
            <a:custGeom>
              <a:gdLst>
                <a:gd name="T0" fmla="*/ 5 w 5"/>
                <a:gd name="T1" fmla="*/ 0 h 5"/>
                <a:gd name="T2" fmla="*/ 5 w 5"/>
                <a:gd name="T3" fmla="*/ 1 h 5"/>
                <a:gd name="T4" fmla="*/ 0 w 5"/>
                <a:gd name="T5" fmla="*/ 4 h 5"/>
                <a:gd name="T6" fmla="*/ 1 w 5"/>
                <a:gd name="T7" fmla="*/ 5 h 5"/>
                <a:gd name="T8" fmla="*/ 5 w 5"/>
                <a:gd name="T9" fmla="*/ 0 h 5"/>
              </a:gdLst>
              <a:cxnLst>
                <a:cxn ang="0">
                  <a:pos x="T0" y="T1"/>
                </a:cxn>
                <a:cxn ang="0">
                  <a:pos x="T2" y="T3"/>
                </a:cxn>
                <a:cxn ang="0">
                  <a:pos x="T4" y="T5"/>
                </a:cxn>
                <a:cxn ang="0">
                  <a:pos x="T6" y="T7"/>
                </a:cxn>
                <a:cxn ang="0">
                  <a:pos x="T8" y="T9"/>
                </a:cxn>
              </a:cxnLst>
              <a:rect l="0" t="0" r="r" b="b"/>
              <a:pathLst>
                <a:path w="5" h="5">
                  <a:moveTo>
                    <a:pt x="5" y="0"/>
                  </a:moveTo>
                  <a:cubicBezTo>
                    <a:pt x="5" y="1"/>
                    <a:pt x="5" y="1"/>
                    <a:pt x="5" y="1"/>
                  </a:cubicBezTo>
                  <a:cubicBezTo>
                    <a:pt x="3" y="2"/>
                    <a:pt x="0" y="1"/>
                    <a:pt x="0" y="4"/>
                  </a:cubicBezTo>
                  <a:cubicBezTo>
                    <a:pt x="0" y="4"/>
                    <a:pt x="0" y="4"/>
                    <a:pt x="1" y="5"/>
                  </a:cubicBezTo>
                  <a:cubicBezTo>
                    <a:pt x="2" y="4"/>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60"/>
            <p:cNvSpPr/>
            <p:nvPr/>
          </p:nvSpPr>
          <p:spPr bwMode="auto">
            <a:xfrm>
              <a:off x="4926004" y="4391847"/>
              <a:ext cx="11113" cy="19050"/>
            </a:xfrm>
            <a:custGeom>
              <a:gdLst>
                <a:gd name="T0" fmla="*/ 2 w 3"/>
                <a:gd name="T1" fmla="*/ 0 h 5"/>
                <a:gd name="T2" fmla="*/ 0 w 3"/>
                <a:gd name="T3" fmla="*/ 3 h 5"/>
                <a:gd name="T4" fmla="*/ 3 w 3"/>
                <a:gd name="T5" fmla="*/ 5 h 5"/>
                <a:gd name="T6" fmla="*/ 2 w 3"/>
                <a:gd name="T7" fmla="*/ 0 h 5"/>
                <a:gd name="T8" fmla="*/ 2 w 3"/>
                <a:gd name="T9" fmla="*/ 0 h 5"/>
              </a:gdLst>
              <a:cxnLst>
                <a:cxn ang="0">
                  <a:pos x="T0" y="T1"/>
                </a:cxn>
                <a:cxn ang="0">
                  <a:pos x="T2" y="T3"/>
                </a:cxn>
                <a:cxn ang="0">
                  <a:pos x="T4" y="T5"/>
                </a:cxn>
                <a:cxn ang="0">
                  <a:pos x="T6" y="T7"/>
                </a:cxn>
                <a:cxn ang="0">
                  <a:pos x="T8" y="T9"/>
                </a:cxn>
              </a:cxnLst>
              <a:rect l="0" t="0" r="r" b="b"/>
              <a:pathLst>
                <a:path w="3" h="5">
                  <a:moveTo>
                    <a:pt x="2" y="0"/>
                  </a:moveTo>
                  <a:cubicBezTo>
                    <a:pt x="0" y="0"/>
                    <a:pt x="0" y="2"/>
                    <a:pt x="0" y="3"/>
                  </a:cubicBezTo>
                  <a:cubicBezTo>
                    <a:pt x="1" y="4"/>
                    <a:pt x="2" y="4"/>
                    <a:pt x="3" y="5"/>
                  </a:cubicBezTo>
                  <a:cubicBezTo>
                    <a:pt x="3" y="3"/>
                    <a:pt x="3" y="2"/>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61"/>
            <p:cNvSpPr/>
            <p:nvPr/>
          </p:nvSpPr>
          <p:spPr bwMode="auto">
            <a:xfrm>
              <a:off x="6815129" y="632647"/>
              <a:ext cx="176213" cy="52388"/>
            </a:xfrm>
            <a:custGeom>
              <a:gdLst>
                <a:gd name="T0" fmla="*/ 37 w 47"/>
                <a:gd name="T1" fmla="*/ 0 h 14"/>
                <a:gd name="T2" fmla="*/ 18 w 47"/>
                <a:gd name="T3" fmla="*/ 3 h 14"/>
                <a:gd name="T4" fmla="*/ 12 w 47"/>
                <a:gd name="T5" fmla="*/ 5 h 14"/>
                <a:gd name="T6" fmla="*/ 6 w 47"/>
                <a:gd name="T7" fmla="*/ 5 h 14"/>
                <a:gd name="T8" fmla="*/ 3 w 47"/>
                <a:gd name="T9" fmla="*/ 7 h 14"/>
                <a:gd name="T10" fmla="*/ 6 w 47"/>
                <a:gd name="T11" fmla="*/ 11 h 14"/>
                <a:gd name="T12" fmla="*/ 11 w 47"/>
                <a:gd name="T13" fmla="*/ 13 h 14"/>
                <a:gd name="T14" fmla="*/ 12 w 47"/>
                <a:gd name="T15" fmla="*/ 13 h 14"/>
                <a:gd name="T16" fmla="*/ 13 w 47"/>
                <a:gd name="T17" fmla="*/ 13 h 14"/>
                <a:gd name="T18" fmla="*/ 14 w 47"/>
                <a:gd name="T19" fmla="*/ 13 h 14"/>
                <a:gd name="T20" fmla="*/ 15 w 47"/>
                <a:gd name="T21" fmla="*/ 13 h 14"/>
                <a:gd name="T22" fmla="*/ 14 w 47"/>
                <a:gd name="T23" fmla="*/ 14 h 14"/>
                <a:gd name="T24" fmla="*/ 19 w 47"/>
                <a:gd name="T25" fmla="*/ 14 h 14"/>
                <a:gd name="T26" fmla="*/ 28 w 47"/>
                <a:gd name="T27" fmla="*/ 14 h 14"/>
                <a:gd name="T28" fmla="*/ 41 w 47"/>
                <a:gd name="T29" fmla="*/ 11 h 14"/>
                <a:gd name="T30" fmla="*/ 44 w 47"/>
                <a:gd name="T31" fmla="*/ 2 h 14"/>
                <a:gd name="T32" fmla="*/ 37 w 47"/>
                <a:gd name="T33"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14">
                  <a:moveTo>
                    <a:pt x="37" y="0"/>
                  </a:moveTo>
                  <a:cubicBezTo>
                    <a:pt x="31" y="0"/>
                    <a:pt x="23" y="3"/>
                    <a:pt x="18" y="3"/>
                  </a:cubicBezTo>
                  <a:cubicBezTo>
                    <a:pt x="16" y="4"/>
                    <a:pt x="14" y="4"/>
                    <a:pt x="12" y="5"/>
                  </a:cubicBezTo>
                  <a:cubicBezTo>
                    <a:pt x="10" y="5"/>
                    <a:pt x="7" y="5"/>
                    <a:pt x="6" y="5"/>
                  </a:cubicBezTo>
                  <a:cubicBezTo>
                    <a:pt x="4" y="6"/>
                    <a:pt x="5" y="7"/>
                    <a:pt x="3" y="7"/>
                  </a:cubicBezTo>
                  <a:cubicBezTo>
                    <a:pt x="0" y="8"/>
                    <a:pt x="5" y="10"/>
                    <a:pt x="6" y="11"/>
                  </a:cubicBezTo>
                  <a:cubicBezTo>
                    <a:pt x="8" y="12"/>
                    <a:pt x="9" y="13"/>
                    <a:pt x="11" y="13"/>
                  </a:cubicBezTo>
                  <a:cubicBezTo>
                    <a:pt x="11" y="13"/>
                    <a:pt x="12" y="13"/>
                    <a:pt x="12" y="13"/>
                  </a:cubicBezTo>
                  <a:cubicBezTo>
                    <a:pt x="12" y="13"/>
                    <a:pt x="13" y="13"/>
                    <a:pt x="13" y="13"/>
                  </a:cubicBezTo>
                  <a:cubicBezTo>
                    <a:pt x="13" y="13"/>
                    <a:pt x="14" y="13"/>
                    <a:pt x="14" y="13"/>
                  </a:cubicBezTo>
                  <a:cubicBezTo>
                    <a:pt x="14" y="13"/>
                    <a:pt x="15" y="13"/>
                    <a:pt x="15" y="13"/>
                  </a:cubicBezTo>
                  <a:cubicBezTo>
                    <a:pt x="15" y="13"/>
                    <a:pt x="14" y="14"/>
                    <a:pt x="14" y="14"/>
                  </a:cubicBezTo>
                  <a:cubicBezTo>
                    <a:pt x="15" y="14"/>
                    <a:pt x="17" y="14"/>
                    <a:pt x="19" y="14"/>
                  </a:cubicBezTo>
                  <a:cubicBezTo>
                    <a:pt x="22" y="14"/>
                    <a:pt x="25" y="14"/>
                    <a:pt x="28" y="14"/>
                  </a:cubicBezTo>
                  <a:cubicBezTo>
                    <a:pt x="32" y="13"/>
                    <a:pt x="37" y="13"/>
                    <a:pt x="41" y="11"/>
                  </a:cubicBezTo>
                  <a:cubicBezTo>
                    <a:pt x="47" y="9"/>
                    <a:pt x="46" y="7"/>
                    <a:pt x="44" y="2"/>
                  </a:cubicBezTo>
                  <a:cubicBezTo>
                    <a:pt x="42" y="1"/>
                    <a:pt x="40"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62"/>
            <p:cNvSpPr/>
            <p:nvPr/>
          </p:nvSpPr>
          <p:spPr bwMode="auto">
            <a:xfrm>
              <a:off x="4430704" y="3971159"/>
              <a:ext cx="26988" cy="12700"/>
            </a:xfrm>
            <a:custGeom>
              <a:gdLst>
                <a:gd name="T0" fmla="*/ 2 w 7"/>
                <a:gd name="T1" fmla="*/ 0 h 3"/>
                <a:gd name="T2" fmla="*/ 0 w 7"/>
                <a:gd name="T3" fmla="*/ 3 h 3"/>
                <a:gd name="T4" fmla="*/ 7 w 7"/>
                <a:gd name="T5" fmla="*/ 2 h 3"/>
                <a:gd name="T6" fmla="*/ 4 w 7"/>
                <a:gd name="T7" fmla="*/ 1 h 3"/>
                <a:gd name="T8" fmla="*/ 2 w 7"/>
                <a:gd name="T9" fmla="*/ 0 h 3"/>
              </a:gdLst>
              <a:cxnLst>
                <a:cxn ang="0">
                  <a:pos x="T0" y="T1"/>
                </a:cxn>
                <a:cxn ang="0">
                  <a:pos x="T2" y="T3"/>
                </a:cxn>
                <a:cxn ang="0">
                  <a:pos x="T4" y="T5"/>
                </a:cxn>
                <a:cxn ang="0">
                  <a:pos x="T6" y="T7"/>
                </a:cxn>
                <a:cxn ang="0">
                  <a:pos x="T8" y="T9"/>
                </a:cxn>
              </a:cxnLst>
              <a:rect l="0" t="0" r="r" b="b"/>
              <a:pathLst>
                <a:path w="7" h="3">
                  <a:moveTo>
                    <a:pt x="2" y="0"/>
                  </a:moveTo>
                  <a:cubicBezTo>
                    <a:pt x="1" y="0"/>
                    <a:pt x="1" y="1"/>
                    <a:pt x="0" y="3"/>
                  </a:cubicBezTo>
                  <a:cubicBezTo>
                    <a:pt x="3" y="3"/>
                    <a:pt x="5" y="3"/>
                    <a:pt x="7" y="2"/>
                  </a:cubicBezTo>
                  <a:cubicBezTo>
                    <a:pt x="6" y="1"/>
                    <a:pt x="5" y="1"/>
                    <a:pt x="4" y="1"/>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63"/>
            <p:cNvSpPr/>
            <p:nvPr/>
          </p:nvSpPr>
          <p:spPr bwMode="auto">
            <a:xfrm>
              <a:off x="9404341" y="1969322"/>
              <a:ext cx="131763" cy="65088"/>
            </a:xfrm>
            <a:custGeom>
              <a:gdLst>
                <a:gd name="T0" fmla="*/ 11 w 35"/>
                <a:gd name="T1" fmla="*/ 0 h 17"/>
                <a:gd name="T2" fmla="*/ 10 w 35"/>
                <a:gd name="T3" fmla="*/ 2 h 17"/>
                <a:gd name="T4" fmla="*/ 3 w 35"/>
                <a:gd name="T5" fmla="*/ 6 h 17"/>
                <a:gd name="T6" fmla="*/ 3 w 35"/>
                <a:gd name="T7" fmla="*/ 12 h 17"/>
                <a:gd name="T8" fmla="*/ 12 w 35"/>
                <a:gd name="T9" fmla="*/ 16 h 17"/>
                <a:gd name="T10" fmla="*/ 14 w 35"/>
                <a:gd name="T11" fmla="*/ 16 h 17"/>
                <a:gd name="T12" fmla="*/ 16 w 35"/>
                <a:gd name="T13" fmla="*/ 16 h 17"/>
                <a:gd name="T14" fmla="*/ 22 w 35"/>
                <a:gd name="T15" fmla="*/ 16 h 17"/>
                <a:gd name="T16" fmla="*/ 27 w 35"/>
                <a:gd name="T17" fmla="*/ 17 h 17"/>
                <a:gd name="T18" fmla="*/ 31 w 35"/>
                <a:gd name="T19" fmla="*/ 16 h 17"/>
                <a:gd name="T20" fmla="*/ 32 w 35"/>
                <a:gd name="T21" fmla="*/ 10 h 17"/>
                <a:gd name="T22" fmla="*/ 28 w 35"/>
                <a:gd name="T23" fmla="*/ 7 h 17"/>
                <a:gd name="T24" fmla="*/ 27 w 35"/>
                <a:gd name="T25" fmla="*/ 7 h 17"/>
                <a:gd name="T26" fmla="*/ 12 w 35"/>
                <a:gd name="T27" fmla="*/ 0 h 17"/>
                <a:gd name="T28" fmla="*/ 11 w 35"/>
                <a:gd name="T29"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17">
                  <a:moveTo>
                    <a:pt x="11" y="0"/>
                  </a:moveTo>
                  <a:cubicBezTo>
                    <a:pt x="10" y="0"/>
                    <a:pt x="11" y="1"/>
                    <a:pt x="10" y="2"/>
                  </a:cubicBezTo>
                  <a:cubicBezTo>
                    <a:pt x="8" y="4"/>
                    <a:pt x="5" y="5"/>
                    <a:pt x="3" y="6"/>
                  </a:cubicBezTo>
                  <a:cubicBezTo>
                    <a:pt x="0" y="8"/>
                    <a:pt x="1" y="9"/>
                    <a:pt x="3" y="12"/>
                  </a:cubicBezTo>
                  <a:cubicBezTo>
                    <a:pt x="5" y="15"/>
                    <a:pt x="8" y="16"/>
                    <a:pt x="12" y="16"/>
                  </a:cubicBezTo>
                  <a:cubicBezTo>
                    <a:pt x="13" y="16"/>
                    <a:pt x="14" y="16"/>
                    <a:pt x="14" y="16"/>
                  </a:cubicBezTo>
                  <a:cubicBezTo>
                    <a:pt x="15" y="16"/>
                    <a:pt x="16" y="16"/>
                    <a:pt x="16" y="16"/>
                  </a:cubicBezTo>
                  <a:cubicBezTo>
                    <a:pt x="18" y="16"/>
                    <a:pt x="20" y="16"/>
                    <a:pt x="22" y="16"/>
                  </a:cubicBezTo>
                  <a:cubicBezTo>
                    <a:pt x="24" y="16"/>
                    <a:pt x="26" y="17"/>
                    <a:pt x="27" y="17"/>
                  </a:cubicBezTo>
                  <a:cubicBezTo>
                    <a:pt x="29" y="17"/>
                    <a:pt x="30" y="17"/>
                    <a:pt x="31" y="16"/>
                  </a:cubicBezTo>
                  <a:cubicBezTo>
                    <a:pt x="35" y="15"/>
                    <a:pt x="33" y="13"/>
                    <a:pt x="32" y="10"/>
                  </a:cubicBezTo>
                  <a:cubicBezTo>
                    <a:pt x="32" y="7"/>
                    <a:pt x="31" y="7"/>
                    <a:pt x="28" y="7"/>
                  </a:cubicBezTo>
                  <a:cubicBezTo>
                    <a:pt x="28" y="7"/>
                    <a:pt x="27" y="7"/>
                    <a:pt x="27" y="7"/>
                  </a:cubicBezTo>
                  <a:cubicBezTo>
                    <a:pt x="22" y="5"/>
                    <a:pt x="17" y="2"/>
                    <a:pt x="12" y="0"/>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64"/>
            <p:cNvSpPr/>
            <p:nvPr/>
          </p:nvSpPr>
          <p:spPr bwMode="auto">
            <a:xfrm>
              <a:off x="9126529" y="2567809"/>
              <a:ext cx="34925" cy="6350"/>
            </a:xfrm>
            <a:custGeom>
              <a:gdLst>
                <a:gd name="T0" fmla="*/ 4 w 9"/>
                <a:gd name="T1" fmla="*/ 0 h 2"/>
                <a:gd name="T2" fmla="*/ 0 w 9"/>
                <a:gd name="T3" fmla="*/ 2 h 2"/>
                <a:gd name="T4" fmla="*/ 2 w 9"/>
                <a:gd name="T5" fmla="*/ 2 h 2"/>
                <a:gd name="T6" fmla="*/ 9 w 9"/>
                <a:gd name="T7" fmla="*/ 2 h 2"/>
                <a:gd name="T8" fmla="*/ 4 w 9"/>
                <a:gd name="T9" fmla="*/ 0 h 2"/>
              </a:gdLst>
              <a:cxnLst>
                <a:cxn ang="0">
                  <a:pos x="T0" y="T1"/>
                </a:cxn>
                <a:cxn ang="0">
                  <a:pos x="T2" y="T3"/>
                </a:cxn>
                <a:cxn ang="0">
                  <a:pos x="T4" y="T5"/>
                </a:cxn>
                <a:cxn ang="0">
                  <a:pos x="T6" y="T7"/>
                </a:cxn>
                <a:cxn ang="0">
                  <a:pos x="T8" y="T9"/>
                </a:cxn>
              </a:cxnLst>
              <a:rect l="0" t="0" r="r" b="b"/>
              <a:pathLst>
                <a:path w="9" h="2">
                  <a:moveTo>
                    <a:pt x="4" y="0"/>
                  </a:moveTo>
                  <a:cubicBezTo>
                    <a:pt x="3" y="0"/>
                    <a:pt x="1" y="1"/>
                    <a:pt x="0" y="2"/>
                  </a:cubicBezTo>
                  <a:cubicBezTo>
                    <a:pt x="1" y="2"/>
                    <a:pt x="2" y="2"/>
                    <a:pt x="2" y="2"/>
                  </a:cubicBezTo>
                  <a:cubicBezTo>
                    <a:pt x="4" y="2"/>
                    <a:pt x="7" y="2"/>
                    <a:pt x="9" y="2"/>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65"/>
            <p:cNvSpPr/>
            <p:nvPr/>
          </p:nvSpPr>
          <p:spPr bwMode="auto">
            <a:xfrm>
              <a:off x="8947141" y="3569522"/>
              <a:ext cx="22225" cy="22225"/>
            </a:xfrm>
            <a:custGeom>
              <a:gdLst>
                <a:gd name="T0" fmla="*/ 5 w 6"/>
                <a:gd name="T1" fmla="*/ 0 h 6"/>
                <a:gd name="T2" fmla="*/ 5 w 6"/>
                <a:gd name="T3" fmla="*/ 1 h 6"/>
                <a:gd name="T4" fmla="*/ 5 w 6"/>
                <a:gd name="T5" fmla="*/ 1 h 6"/>
                <a:gd name="T6" fmla="*/ 3 w 6"/>
                <a:gd name="T7" fmla="*/ 2 h 6"/>
                <a:gd name="T8" fmla="*/ 0 w 6"/>
                <a:gd name="T9" fmla="*/ 6 h 6"/>
                <a:gd name="T10" fmla="*/ 6 w 6"/>
                <a:gd name="T11" fmla="*/ 0 h 6"/>
                <a:gd name="T12" fmla="*/ 5 w 6"/>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6" h="6">
                  <a:moveTo>
                    <a:pt x="5" y="0"/>
                  </a:moveTo>
                  <a:cubicBezTo>
                    <a:pt x="5" y="0"/>
                    <a:pt x="5" y="1"/>
                    <a:pt x="5" y="1"/>
                  </a:cubicBezTo>
                  <a:cubicBezTo>
                    <a:pt x="5" y="1"/>
                    <a:pt x="5" y="1"/>
                    <a:pt x="5" y="1"/>
                  </a:cubicBezTo>
                  <a:cubicBezTo>
                    <a:pt x="5" y="1"/>
                    <a:pt x="3" y="2"/>
                    <a:pt x="3" y="2"/>
                  </a:cubicBezTo>
                  <a:cubicBezTo>
                    <a:pt x="0" y="3"/>
                    <a:pt x="0" y="2"/>
                    <a:pt x="0" y="6"/>
                  </a:cubicBezTo>
                  <a:cubicBezTo>
                    <a:pt x="2" y="4"/>
                    <a:pt x="4" y="2"/>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66"/>
            <p:cNvSpPr/>
            <p:nvPr/>
          </p:nvSpPr>
          <p:spPr bwMode="auto">
            <a:xfrm>
              <a:off x="9964729" y="3036122"/>
              <a:ext cx="49213" cy="46038"/>
            </a:xfrm>
            <a:custGeom>
              <a:gdLst>
                <a:gd name="T0" fmla="*/ 7 w 13"/>
                <a:gd name="T1" fmla="*/ 0 h 12"/>
                <a:gd name="T2" fmla="*/ 4 w 13"/>
                <a:gd name="T3" fmla="*/ 4 h 12"/>
                <a:gd name="T4" fmla="*/ 0 w 13"/>
                <a:gd name="T5" fmla="*/ 10 h 12"/>
                <a:gd name="T6" fmla="*/ 2 w 13"/>
                <a:gd name="T7" fmla="*/ 12 h 12"/>
                <a:gd name="T8" fmla="*/ 7 w 13"/>
                <a:gd name="T9" fmla="*/ 10 h 12"/>
                <a:gd name="T10" fmla="*/ 10 w 13"/>
                <a:gd name="T11" fmla="*/ 0 h 12"/>
                <a:gd name="T12" fmla="*/ 7 w 13"/>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13" h="12">
                  <a:moveTo>
                    <a:pt x="7" y="0"/>
                  </a:moveTo>
                  <a:cubicBezTo>
                    <a:pt x="5" y="0"/>
                    <a:pt x="5" y="2"/>
                    <a:pt x="4" y="4"/>
                  </a:cubicBezTo>
                  <a:cubicBezTo>
                    <a:pt x="3" y="6"/>
                    <a:pt x="0" y="8"/>
                    <a:pt x="0" y="10"/>
                  </a:cubicBezTo>
                  <a:cubicBezTo>
                    <a:pt x="0" y="11"/>
                    <a:pt x="1" y="12"/>
                    <a:pt x="2" y="12"/>
                  </a:cubicBezTo>
                  <a:cubicBezTo>
                    <a:pt x="4" y="12"/>
                    <a:pt x="6" y="11"/>
                    <a:pt x="7" y="10"/>
                  </a:cubicBezTo>
                  <a:cubicBezTo>
                    <a:pt x="13" y="7"/>
                    <a:pt x="12" y="6"/>
                    <a:pt x="10"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67"/>
            <p:cNvSpPr/>
            <p:nvPr/>
          </p:nvSpPr>
          <p:spPr bwMode="auto">
            <a:xfrm>
              <a:off x="9051916" y="1729609"/>
              <a:ext cx="93663" cy="44450"/>
            </a:xfrm>
            <a:custGeom>
              <a:gdLst>
                <a:gd name="T0" fmla="*/ 17 w 25"/>
                <a:gd name="T1" fmla="*/ 0 h 12"/>
                <a:gd name="T2" fmla="*/ 0 w 25"/>
                <a:gd name="T3" fmla="*/ 12 h 12"/>
                <a:gd name="T4" fmla="*/ 1 w 25"/>
                <a:gd name="T5" fmla="*/ 12 h 12"/>
                <a:gd name="T6" fmla="*/ 6 w 25"/>
                <a:gd name="T7" fmla="*/ 10 h 12"/>
                <a:gd name="T8" fmla="*/ 6 w 25"/>
                <a:gd name="T9" fmla="*/ 10 h 12"/>
                <a:gd name="T10" fmla="*/ 7 w 25"/>
                <a:gd name="T11" fmla="*/ 11 h 12"/>
                <a:gd name="T12" fmla="*/ 8 w 25"/>
                <a:gd name="T13" fmla="*/ 11 h 12"/>
                <a:gd name="T14" fmla="*/ 8 w 25"/>
                <a:gd name="T15" fmla="*/ 11 h 12"/>
                <a:gd name="T16" fmla="*/ 9 w 25"/>
                <a:gd name="T17" fmla="*/ 10 h 12"/>
                <a:gd name="T18" fmla="*/ 12 w 25"/>
                <a:gd name="T19" fmla="*/ 9 h 12"/>
                <a:gd name="T20" fmla="*/ 17 w 25"/>
                <a:gd name="T21"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2">
                  <a:moveTo>
                    <a:pt x="17" y="0"/>
                  </a:moveTo>
                  <a:cubicBezTo>
                    <a:pt x="11" y="4"/>
                    <a:pt x="5" y="7"/>
                    <a:pt x="0" y="12"/>
                  </a:cubicBezTo>
                  <a:cubicBezTo>
                    <a:pt x="0" y="12"/>
                    <a:pt x="0" y="12"/>
                    <a:pt x="1" y="12"/>
                  </a:cubicBezTo>
                  <a:cubicBezTo>
                    <a:pt x="2" y="12"/>
                    <a:pt x="5" y="10"/>
                    <a:pt x="6" y="10"/>
                  </a:cubicBezTo>
                  <a:cubicBezTo>
                    <a:pt x="6" y="10"/>
                    <a:pt x="6" y="10"/>
                    <a:pt x="6" y="10"/>
                  </a:cubicBezTo>
                  <a:cubicBezTo>
                    <a:pt x="6" y="10"/>
                    <a:pt x="7" y="10"/>
                    <a:pt x="7" y="11"/>
                  </a:cubicBezTo>
                  <a:cubicBezTo>
                    <a:pt x="7" y="11"/>
                    <a:pt x="7" y="11"/>
                    <a:pt x="8" y="11"/>
                  </a:cubicBezTo>
                  <a:cubicBezTo>
                    <a:pt x="8" y="11"/>
                    <a:pt x="8" y="11"/>
                    <a:pt x="8" y="11"/>
                  </a:cubicBezTo>
                  <a:cubicBezTo>
                    <a:pt x="8" y="11"/>
                    <a:pt x="8" y="10"/>
                    <a:pt x="9" y="10"/>
                  </a:cubicBezTo>
                  <a:cubicBezTo>
                    <a:pt x="10" y="10"/>
                    <a:pt x="11" y="9"/>
                    <a:pt x="12" y="9"/>
                  </a:cubicBezTo>
                  <a:cubicBezTo>
                    <a:pt x="17" y="7"/>
                    <a:pt x="25" y="4"/>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68"/>
            <p:cNvSpPr/>
            <p:nvPr/>
          </p:nvSpPr>
          <p:spPr bwMode="auto">
            <a:xfrm>
              <a:off x="9337666" y="1886772"/>
              <a:ext cx="71438" cy="60325"/>
            </a:xfrm>
            <a:custGeom>
              <a:gdLst>
                <a:gd name="T0" fmla="*/ 8 w 19"/>
                <a:gd name="T1" fmla="*/ 0 h 16"/>
                <a:gd name="T2" fmla="*/ 7 w 19"/>
                <a:gd name="T3" fmla="*/ 0 h 16"/>
                <a:gd name="T4" fmla="*/ 13 w 19"/>
                <a:gd name="T5" fmla="*/ 16 h 16"/>
                <a:gd name="T6" fmla="*/ 14 w 19"/>
                <a:gd name="T7" fmla="*/ 16 h 16"/>
                <a:gd name="T8" fmla="*/ 16 w 19"/>
                <a:gd name="T9" fmla="*/ 16 h 16"/>
                <a:gd name="T10" fmla="*/ 17 w 19"/>
                <a:gd name="T11" fmla="*/ 16 h 16"/>
                <a:gd name="T12" fmla="*/ 18 w 19"/>
                <a:gd name="T13" fmla="*/ 15 h 16"/>
                <a:gd name="T14" fmla="*/ 19 w 19"/>
                <a:gd name="T15" fmla="*/ 10 h 16"/>
                <a:gd name="T16" fmla="*/ 15 w 19"/>
                <a:gd name="T17" fmla="*/ 6 h 16"/>
                <a:gd name="T18" fmla="*/ 14 w 19"/>
                <a:gd name="T19" fmla="*/ 3 h 16"/>
                <a:gd name="T20" fmla="*/ 10 w 19"/>
                <a:gd name="T21" fmla="*/ 1 h 16"/>
                <a:gd name="T22" fmla="*/ 8 w 19"/>
                <a:gd name="T23"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6">
                  <a:moveTo>
                    <a:pt x="8" y="0"/>
                  </a:moveTo>
                  <a:cubicBezTo>
                    <a:pt x="7" y="0"/>
                    <a:pt x="7" y="0"/>
                    <a:pt x="7" y="0"/>
                  </a:cubicBezTo>
                  <a:cubicBezTo>
                    <a:pt x="0" y="3"/>
                    <a:pt x="12" y="14"/>
                    <a:pt x="13" y="16"/>
                  </a:cubicBezTo>
                  <a:cubicBezTo>
                    <a:pt x="14" y="16"/>
                    <a:pt x="14" y="16"/>
                    <a:pt x="14" y="16"/>
                  </a:cubicBezTo>
                  <a:cubicBezTo>
                    <a:pt x="15" y="16"/>
                    <a:pt x="15" y="16"/>
                    <a:pt x="16" y="16"/>
                  </a:cubicBezTo>
                  <a:cubicBezTo>
                    <a:pt x="16" y="16"/>
                    <a:pt x="17" y="16"/>
                    <a:pt x="17" y="16"/>
                  </a:cubicBezTo>
                  <a:cubicBezTo>
                    <a:pt x="17" y="16"/>
                    <a:pt x="18" y="16"/>
                    <a:pt x="18" y="15"/>
                  </a:cubicBezTo>
                  <a:cubicBezTo>
                    <a:pt x="18" y="13"/>
                    <a:pt x="19" y="12"/>
                    <a:pt x="19" y="10"/>
                  </a:cubicBezTo>
                  <a:cubicBezTo>
                    <a:pt x="18" y="8"/>
                    <a:pt x="16" y="8"/>
                    <a:pt x="15" y="6"/>
                  </a:cubicBezTo>
                  <a:cubicBezTo>
                    <a:pt x="14" y="5"/>
                    <a:pt x="15" y="4"/>
                    <a:pt x="14" y="3"/>
                  </a:cubicBezTo>
                  <a:cubicBezTo>
                    <a:pt x="13" y="1"/>
                    <a:pt x="12" y="2"/>
                    <a:pt x="10" y="1"/>
                  </a:cubicBezTo>
                  <a:cubicBezTo>
                    <a:pt x="9" y="1"/>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69"/>
            <p:cNvSpPr/>
            <p:nvPr/>
          </p:nvSpPr>
          <p:spPr bwMode="auto">
            <a:xfrm>
              <a:off x="6769091" y="1905822"/>
              <a:ext cx="57150" cy="30163"/>
            </a:xfrm>
            <a:custGeom>
              <a:gdLst>
                <a:gd name="T0" fmla="*/ 4 w 15"/>
                <a:gd name="T1" fmla="*/ 0 h 8"/>
                <a:gd name="T2" fmla="*/ 1 w 15"/>
                <a:gd name="T3" fmla="*/ 1 h 8"/>
                <a:gd name="T4" fmla="*/ 1 w 15"/>
                <a:gd name="T5" fmla="*/ 1 h 8"/>
                <a:gd name="T6" fmla="*/ 1 w 15"/>
                <a:gd name="T7" fmla="*/ 3 h 8"/>
                <a:gd name="T8" fmla="*/ 6 w 15"/>
                <a:gd name="T9" fmla="*/ 7 h 8"/>
                <a:gd name="T10" fmla="*/ 11 w 15"/>
                <a:gd name="T11" fmla="*/ 8 h 8"/>
                <a:gd name="T12" fmla="*/ 12 w 15"/>
                <a:gd name="T13" fmla="*/ 8 h 8"/>
                <a:gd name="T14" fmla="*/ 12 w 15"/>
                <a:gd name="T15" fmla="*/ 8 h 8"/>
                <a:gd name="T16" fmla="*/ 15 w 15"/>
                <a:gd name="T17" fmla="*/ 5 h 8"/>
                <a:gd name="T18" fmla="*/ 14 w 15"/>
                <a:gd name="T19" fmla="*/ 5 h 8"/>
                <a:gd name="T20" fmla="*/ 9 w 15"/>
                <a:gd name="T21" fmla="*/ 1 h 8"/>
                <a:gd name="T22" fmla="*/ 4 w 15"/>
                <a:gd name="T23"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8">
                  <a:moveTo>
                    <a:pt x="4" y="0"/>
                  </a:moveTo>
                  <a:cubicBezTo>
                    <a:pt x="3" y="0"/>
                    <a:pt x="1" y="1"/>
                    <a:pt x="1" y="1"/>
                  </a:cubicBezTo>
                  <a:cubicBezTo>
                    <a:pt x="1" y="1"/>
                    <a:pt x="1" y="1"/>
                    <a:pt x="1" y="1"/>
                  </a:cubicBezTo>
                  <a:cubicBezTo>
                    <a:pt x="0" y="1"/>
                    <a:pt x="0" y="2"/>
                    <a:pt x="1" y="3"/>
                  </a:cubicBezTo>
                  <a:cubicBezTo>
                    <a:pt x="1" y="4"/>
                    <a:pt x="5" y="6"/>
                    <a:pt x="6" y="7"/>
                  </a:cubicBezTo>
                  <a:cubicBezTo>
                    <a:pt x="7" y="7"/>
                    <a:pt x="9" y="8"/>
                    <a:pt x="11" y="8"/>
                  </a:cubicBezTo>
                  <a:cubicBezTo>
                    <a:pt x="12" y="8"/>
                    <a:pt x="12" y="8"/>
                    <a:pt x="12" y="8"/>
                  </a:cubicBezTo>
                  <a:cubicBezTo>
                    <a:pt x="12" y="8"/>
                    <a:pt x="12" y="8"/>
                    <a:pt x="12" y="8"/>
                  </a:cubicBezTo>
                  <a:cubicBezTo>
                    <a:pt x="14" y="8"/>
                    <a:pt x="15" y="7"/>
                    <a:pt x="15" y="5"/>
                  </a:cubicBezTo>
                  <a:cubicBezTo>
                    <a:pt x="14" y="5"/>
                    <a:pt x="14" y="5"/>
                    <a:pt x="14" y="5"/>
                  </a:cubicBezTo>
                  <a:cubicBezTo>
                    <a:pt x="13" y="3"/>
                    <a:pt x="10" y="2"/>
                    <a:pt x="9" y="1"/>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70"/>
            <p:cNvSpPr/>
            <p:nvPr/>
          </p:nvSpPr>
          <p:spPr bwMode="auto">
            <a:xfrm>
              <a:off x="8977304" y="670747"/>
              <a:ext cx="71438" cy="55563"/>
            </a:xfrm>
            <a:custGeom>
              <a:gdLst>
                <a:gd name="T0" fmla="*/ 16 w 19"/>
                <a:gd name="T1" fmla="*/ 0 h 15"/>
                <a:gd name="T2" fmla="*/ 15 w 19"/>
                <a:gd name="T3" fmla="*/ 0 h 15"/>
                <a:gd name="T4" fmla="*/ 13 w 19"/>
                <a:gd name="T5" fmla="*/ 2 h 15"/>
                <a:gd name="T6" fmla="*/ 8 w 19"/>
                <a:gd name="T7" fmla="*/ 5 h 15"/>
                <a:gd name="T8" fmla="*/ 6 w 19"/>
                <a:gd name="T9" fmla="*/ 6 h 15"/>
                <a:gd name="T10" fmla="*/ 4 w 19"/>
                <a:gd name="T11" fmla="*/ 8 h 15"/>
                <a:gd name="T12" fmla="*/ 0 w 19"/>
                <a:gd name="T13" fmla="*/ 11 h 15"/>
                <a:gd name="T14" fmla="*/ 5 w 19"/>
                <a:gd name="T15" fmla="*/ 15 h 15"/>
                <a:gd name="T16" fmla="*/ 6 w 19"/>
                <a:gd name="T17" fmla="*/ 15 h 15"/>
                <a:gd name="T18" fmla="*/ 6 w 19"/>
                <a:gd name="T19" fmla="*/ 15 h 15"/>
                <a:gd name="T20" fmla="*/ 11 w 19"/>
                <a:gd name="T21" fmla="*/ 13 h 15"/>
                <a:gd name="T22" fmla="*/ 15 w 19"/>
                <a:gd name="T23" fmla="*/ 12 h 15"/>
                <a:gd name="T24" fmla="*/ 16 w 19"/>
                <a:gd name="T25" fmla="*/ 12 h 15"/>
                <a:gd name="T26" fmla="*/ 16 w 19"/>
                <a:gd name="T27" fmla="*/ 13 h 15"/>
                <a:gd name="T28" fmla="*/ 16 w 19"/>
                <a:gd name="T29" fmla="*/ 13 h 15"/>
                <a:gd name="T30" fmla="*/ 17 w 19"/>
                <a:gd name="T31" fmla="*/ 13 h 15"/>
                <a:gd name="T32" fmla="*/ 18 w 19"/>
                <a:gd name="T33" fmla="*/ 13 h 15"/>
                <a:gd name="T34" fmla="*/ 18 w 19"/>
                <a:gd name="T35" fmla="*/ 13 h 15"/>
                <a:gd name="T36" fmla="*/ 18 w 19"/>
                <a:gd name="T37" fmla="*/ 12 h 15"/>
                <a:gd name="T38" fmla="*/ 17 w 19"/>
                <a:gd name="T39" fmla="*/ 12 h 15"/>
                <a:gd name="T40" fmla="*/ 13 w 19"/>
                <a:gd name="T41" fmla="*/ 9 h 15"/>
                <a:gd name="T42" fmla="*/ 13 w 19"/>
                <a:gd name="T43" fmla="*/ 8 h 15"/>
                <a:gd name="T44" fmla="*/ 14 w 19"/>
                <a:gd name="T45" fmla="*/ 6 h 15"/>
                <a:gd name="T46" fmla="*/ 19 w 19"/>
                <a:gd name="T47" fmla="*/ 0 h 15"/>
                <a:gd name="T48" fmla="*/ 16 w 19"/>
                <a:gd name="T4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5">
                  <a:moveTo>
                    <a:pt x="16" y="0"/>
                  </a:moveTo>
                  <a:cubicBezTo>
                    <a:pt x="16" y="0"/>
                    <a:pt x="15" y="0"/>
                    <a:pt x="15" y="0"/>
                  </a:cubicBezTo>
                  <a:cubicBezTo>
                    <a:pt x="14" y="0"/>
                    <a:pt x="14" y="2"/>
                    <a:pt x="13" y="2"/>
                  </a:cubicBezTo>
                  <a:cubicBezTo>
                    <a:pt x="11" y="3"/>
                    <a:pt x="10" y="5"/>
                    <a:pt x="8" y="5"/>
                  </a:cubicBezTo>
                  <a:cubicBezTo>
                    <a:pt x="7" y="5"/>
                    <a:pt x="6" y="6"/>
                    <a:pt x="6" y="6"/>
                  </a:cubicBezTo>
                  <a:cubicBezTo>
                    <a:pt x="5" y="7"/>
                    <a:pt x="5" y="7"/>
                    <a:pt x="4" y="8"/>
                  </a:cubicBezTo>
                  <a:cubicBezTo>
                    <a:pt x="3" y="9"/>
                    <a:pt x="2" y="11"/>
                    <a:pt x="0" y="11"/>
                  </a:cubicBezTo>
                  <a:cubicBezTo>
                    <a:pt x="0" y="12"/>
                    <a:pt x="3" y="14"/>
                    <a:pt x="5" y="15"/>
                  </a:cubicBezTo>
                  <a:cubicBezTo>
                    <a:pt x="5" y="15"/>
                    <a:pt x="6" y="15"/>
                    <a:pt x="6" y="15"/>
                  </a:cubicBezTo>
                  <a:cubicBezTo>
                    <a:pt x="6" y="15"/>
                    <a:pt x="6" y="15"/>
                    <a:pt x="6" y="15"/>
                  </a:cubicBezTo>
                  <a:cubicBezTo>
                    <a:pt x="8" y="15"/>
                    <a:pt x="9" y="14"/>
                    <a:pt x="11" y="13"/>
                  </a:cubicBezTo>
                  <a:cubicBezTo>
                    <a:pt x="12" y="13"/>
                    <a:pt x="14" y="12"/>
                    <a:pt x="15" y="12"/>
                  </a:cubicBezTo>
                  <a:cubicBezTo>
                    <a:pt x="15" y="12"/>
                    <a:pt x="16" y="12"/>
                    <a:pt x="16" y="12"/>
                  </a:cubicBezTo>
                  <a:cubicBezTo>
                    <a:pt x="15" y="13"/>
                    <a:pt x="15" y="13"/>
                    <a:pt x="16" y="13"/>
                  </a:cubicBezTo>
                  <a:cubicBezTo>
                    <a:pt x="16" y="13"/>
                    <a:pt x="16" y="13"/>
                    <a:pt x="16" y="13"/>
                  </a:cubicBezTo>
                  <a:cubicBezTo>
                    <a:pt x="16" y="13"/>
                    <a:pt x="17" y="13"/>
                    <a:pt x="17" y="13"/>
                  </a:cubicBezTo>
                  <a:cubicBezTo>
                    <a:pt x="18" y="13"/>
                    <a:pt x="18" y="13"/>
                    <a:pt x="18" y="13"/>
                  </a:cubicBezTo>
                  <a:cubicBezTo>
                    <a:pt x="18" y="13"/>
                    <a:pt x="18" y="13"/>
                    <a:pt x="18" y="13"/>
                  </a:cubicBezTo>
                  <a:cubicBezTo>
                    <a:pt x="19" y="13"/>
                    <a:pt x="19" y="13"/>
                    <a:pt x="18" y="12"/>
                  </a:cubicBezTo>
                  <a:cubicBezTo>
                    <a:pt x="17" y="12"/>
                    <a:pt x="17" y="12"/>
                    <a:pt x="17" y="12"/>
                  </a:cubicBezTo>
                  <a:cubicBezTo>
                    <a:pt x="16" y="10"/>
                    <a:pt x="14" y="10"/>
                    <a:pt x="13" y="9"/>
                  </a:cubicBezTo>
                  <a:cubicBezTo>
                    <a:pt x="13" y="8"/>
                    <a:pt x="13" y="8"/>
                    <a:pt x="13" y="8"/>
                  </a:cubicBezTo>
                  <a:cubicBezTo>
                    <a:pt x="13" y="8"/>
                    <a:pt x="14" y="7"/>
                    <a:pt x="14" y="6"/>
                  </a:cubicBezTo>
                  <a:cubicBezTo>
                    <a:pt x="16" y="4"/>
                    <a:pt x="17" y="2"/>
                    <a:pt x="19" y="0"/>
                  </a:cubicBezTo>
                  <a:cubicBezTo>
                    <a:pt x="19"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71"/>
            <p:cNvSpPr/>
            <p:nvPr/>
          </p:nvSpPr>
          <p:spPr bwMode="auto">
            <a:xfrm>
              <a:off x="8391516" y="599309"/>
              <a:ext cx="165100" cy="41275"/>
            </a:xfrm>
            <a:custGeom>
              <a:gdLst>
                <a:gd name="T0" fmla="*/ 33 w 44"/>
                <a:gd name="T1" fmla="*/ 0 h 11"/>
                <a:gd name="T2" fmla="*/ 5 w 44"/>
                <a:gd name="T3" fmla="*/ 0 h 11"/>
                <a:gd name="T4" fmla="*/ 1 w 44"/>
                <a:gd name="T5" fmla="*/ 2 h 11"/>
                <a:gd name="T6" fmla="*/ 2 w 44"/>
                <a:gd name="T7" fmla="*/ 6 h 11"/>
                <a:gd name="T8" fmla="*/ 18 w 44"/>
                <a:gd name="T9" fmla="*/ 8 h 11"/>
                <a:gd name="T10" fmla="*/ 30 w 44"/>
                <a:gd name="T11" fmla="*/ 11 h 11"/>
                <a:gd name="T12" fmla="*/ 31 w 44"/>
                <a:gd name="T13" fmla="*/ 11 h 11"/>
                <a:gd name="T14" fmla="*/ 33 w 44"/>
                <a:gd name="T15" fmla="*/ 10 h 11"/>
                <a:gd name="T16" fmla="*/ 34 w 44"/>
                <a:gd name="T17" fmla="*/ 11 h 11"/>
                <a:gd name="T18" fmla="*/ 44 w 44"/>
                <a:gd name="T19" fmla="*/ 9 h 11"/>
                <a:gd name="T20" fmla="*/ 33 w 44"/>
                <a:gd name="T21" fmla="*/ 3 h 11"/>
                <a:gd name="T22" fmla="*/ 33 w 44"/>
                <a:gd name="T23" fmla="*/ 5 h 11"/>
                <a:gd name="T24" fmla="*/ 33 w 44"/>
                <a:gd name="T25" fmla="*/ 3 h 11"/>
                <a:gd name="T26" fmla="*/ 33 w 44"/>
                <a:gd name="T2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11">
                  <a:moveTo>
                    <a:pt x="33" y="0"/>
                  </a:moveTo>
                  <a:cubicBezTo>
                    <a:pt x="5" y="0"/>
                    <a:pt x="5" y="0"/>
                    <a:pt x="5" y="0"/>
                  </a:cubicBezTo>
                  <a:cubicBezTo>
                    <a:pt x="3" y="1"/>
                    <a:pt x="1" y="1"/>
                    <a:pt x="1" y="2"/>
                  </a:cubicBezTo>
                  <a:cubicBezTo>
                    <a:pt x="0" y="3"/>
                    <a:pt x="1" y="6"/>
                    <a:pt x="2" y="6"/>
                  </a:cubicBezTo>
                  <a:cubicBezTo>
                    <a:pt x="7" y="7"/>
                    <a:pt x="13" y="7"/>
                    <a:pt x="18" y="8"/>
                  </a:cubicBezTo>
                  <a:cubicBezTo>
                    <a:pt x="22" y="9"/>
                    <a:pt x="26" y="11"/>
                    <a:pt x="30" y="11"/>
                  </a:cubicBezTo>
                  <a:cubicBezTo>
                    <a:pt x="31" y="11"/>
                    <a:pt x="31" y="11"/>
                    <a:pt x="31" y="11"/>
                  </a:cubicBezTo>
                  <a:cubicBezTo>
                    <a:pt x="33" y="11"/>
                    <a:pt x="33" y="11"/>
                    <a:pt x="33" y="10"/>
                  </a:cubicBezTo>
                  <a:cubicBezTo>
                    <a:pt x="33" y="10"/>
                    <a:pt x="34" y="11"/>
                    <a:pt x="34" y="11"/>
                  </a:cubicBezTo>
                  <a:cubicBezTo>
                    <a:pt x="37" y="10"/>
                    <a:pt x="41" y="11"/>
                    <a:pt x="44" y="9"/>
                  </a:cubicBezTo>
                  <a:cubicBezTo>
                    <a:pt x="44" y="5"/>
                    <a:pt x="35" y="6"/>
                    <a:pt x="33" y="3"/>
                  </a:cubicBezTo>
                  <a:cubicBezTo>
                    <a:pt x="33" y="4"/>
                    <a:pt x="33" y="4"/>
                    <a:pt x="33" y="5"/>
                  </a:cubicBezTo>
                  <a:cubicBezTo>
                    <a:pt x="33" y="4"/>
                    <a:pt x="33" y="3"/>
                    <a:pt x="33" y="3"/>
                  </a:cubicBezTo>
                  <a:cubicBezTo>
                    <a:pt x="33" y="2"/>
                    <a:pt x="33" y="1"/>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72"/>
            <p:cNvSpPr/>
            <p:nvPr/>
          </p:nvSpPr>
          <p:spPr bwMode="auto">
            <a:xfrm>
              <a:off x="8124816" y="599309"/>
              <a:ext cx="60325" cy="14288"/>
            </a:xfrm>
            <a:custGeom>
              <a:gdLst>
                <a:gd name="T0" fmla="*/ 16 w 16"/>
                <a:gd name="T1" fmla="*/ 0 h 4"/>
                <a:gd name="T2" fmla="*/ 0 w 16"/>
                <a:gd name="T3" fmla="*/ 0 h 4"/>
                <a:gd name="T4" fmla="*/ 10 w 16"/>
                <a:gd name="T5" fmla="*/ 4 h 4"/>
                <a:gd name="T6" fmla="*/ 11 w 16"/>
                <a:gd name="T7" fmla="*/ 4 h 4"/>
                <a:gd name="T8" fmla="*/ 16 w 16"/>
                <a:gd name="T9" fmla="*/ 0 h 4"/>
              </a:gdLst>
              <a:cxnLst>
                <a:cxn ang="0">
                  <a:pos x="T0" y="T1"/>
                </a:cxn>
                <a:cxn ang="0">
                  <a:pos x="T2" y="T3"/>
                </a:cxn>
                <a:cxn ang="0">
                  <a:pos x="T4" y="T5"/>
                </a:cxn>
                <a:cxn ang="0">
                  <a:pos x="T6" y="T7"/>
                </a:cxn>
                <a:cxn ang="0">
                  <a:pos x="T8" y="T9"/>
                </a:cxn>
              </a:cxnLst>
              <a:rect l="0" t="0" r="r" b="b"/>
              <a:pathLst>
                <a:path w="16" h="4">
                  <a:moveTo>
                    <a:pt x="16" y="0"/>
                  </a:moveTo>
                  <a:cubicBezTo>
                    <a:pt x="0" y="0"/>
                    <a:pt x="0" y="0"/>
                    <a:pt x="0" y="0"/>
                  </a:cubicBezTo>
                  <a:cubicBezTo>
                    <a:pt x="3" y="2"/>
                    <a:pt x="7" y="4"/>
                    <a:pt x="10" y="4"/>
                  </a:cubicBezTo>
                  <a:cubicBezTo>
                    <a:pt x="10" y="4"/>
                    <a:pt x="11" y="4"/>
                    <a:pt x="11" y="4"/>
                  </a:cubicBezTo>
                  <a:cubicBezTo>
                    <a:pt x="14" y="4"/>
                    <a:pt x="15" y="2"/>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73"/>
            <p:cNvSpPr/>
            <p:nvPr/>
          </p:nvSpPr>
          <p:spPr bwMode="auto">
            <a:xfrm>
              <a:off x="8305791" y="599309"/>
              <a:ext cx="88900" cy="30163"/>
            </a:xfrm>
            <a:custGeom>
              <a:gdLst>
                <a:gd name="T0" fmla="*/ 24 w 24"/>
                <a:gd name="T1" fmla="*/ 0 h 8"/>
                <a:gd name="T2" fmla="*/ 1 w 24"/>
                <a:gd name="T3" fmla="*/ 0 h 8"/>
                <a:gd name="T4" fmla="*/ 1 w 24"/>
                <a:gd name="T5" fmla="*/ 3 h 8"/>
                <a:gd name="T6" fmla="*/ 6 w 24"/>
                <a:gd name="T7" fmla="*/ 3 h 8"/>
                <a:gd name="T8" fmla="*/ 7 w 24"/>
                <a:gd name="T9" fmla="*/ 5 h 8"/>
                <a:gd name="T10" fmla="*/ 9 w 24"/>
                <a:gd name="T11" fmla="*/ 6 h 8"/>
                <a:gd name="T12" fmla="*/ 14 w 24"/>
                <a:gd name="T13" fmla="*/ 7 h 8"/>
                <a:gd name="T14" fmla="*/ 15 w 24"/>
                <a:gd name="T15" fmla="*/ 8 h 8"/>
                <a:gd name="T16" fmla="*/ 18 w 24"/>
                <a:gd name="T17" fmla="*/ 2 h 8"/>
                <a:gd name="T18" fmla="*/ 23 w 24"/>
                <a:gd name="T19" fmla="*/ 0 h 8"/>
                <a:gd name="T20" fmla="*/ 24 w 24"/>
                <a:gd name="T2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8">
                  <a:moveTo>
                    <a:pt x="24" y="0"/>
                  </a:moveTo>
                  <a:cubicBezTo>
                    <a:pt x="1" y="0"/>
                    <a:pt x="1" y="0"/>
                    <a:pt x="1" y="0"/>
                  </a:cubicBezTo>
                  <a:cubicBezTo>
                    <a:pt x="1" y="1"/>
                    <a:pt x="0" y="2"/>
                    <a:pt x="1" y="3"/>
                  </a:cubicBezTo>
                  <a:cubicBezTo>
                    <a:pt x="2" y="3"/>
                    <a:pt x="4" y="3"/>
                    <a:pt x="6" y="3"/>
                  </a:cubicBezTo>
                  <a:cubicBezTo>
                    <a:pt x="8" y="4"/>
                    <a:pt x="6" y="5"/>
                    <a:pt x="7" y="5"/>
                  </a:cubicBezTo>
                  <a:cubicBezTo>
                    <a:pt x="7" y="6"/>
                    <a:pt x="8" y="6"/>
                    <a:pt x="9" y="6"/>
                  </a:cubicBezTo>
                  <a:cubicBezTo>
                    <a:pt x="10" y="7"/>
                    <a:pt x="12" y="7"/>
                    <a:pt x="14" y="7"/>
                  </a:cubicBezTo>
                  <a:cubicBezTo>
                    <a:pt x="15" y="8"/>
                    <a:pt x="15" y="8"/>
                    <a:pt x="15" y="8"/>
                  </a:cubicBezTo>
                  <a:cubicBezTo>
                    <a:pt x="18" y="8"/>
                    <a:pt x="17" y="4"/>
                    <a:pt x="18" y="2"/>
                  </a:cubicBezTo>
                  <a:cubicBezTo>
                    <a:pt x="19" y="1"/>
                    <a:pt x="22" y="1"/>
                    <a:pt x="23" y="0"/>
                  </a:cubicBezTo>
                  <a:cubicBezTo>
                    <a:pt x="24" y="0"/>
                    <a:pt x="24"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74"/>
            <p:cNvSpPr/>
            <p:nvPr/>
          </p:nvSpPr>
          <p:spPr bwMode="auto">
            <a:xfrm>
              <a:off x="8210541" y="599309"/>
              <a:ext cx="87313" cy="30163"/>
            </a:xfrm>
            <a:custGeom>
              <a:gdLst>
                <a:gd name="T0" fmla="*/ 23 w 23"/>
                <a:gd name="T1" fmla="*/ 0 h 8"/>
                <a:gd name="T2" fmla="*/ 3 w 23"/>
                <a:gd name="T3" fmla="*/ 0 h 8"/>
                <a:gd name="T4" fmla="*/ 2 w 23"/>
                <a:gd name="T5" fmla="*/ 2 h 8"/>
                <a:gd name="T6" fmla="*/ 5 w 23"/>
                <a:gd name="T7" fmla="*/ 6 h 8"/>
                <a:gd name="T8" fmla="*/ 13 w 23"/>
                <a:gd name="T9" fmla="*/ 7 h 8"/>
                <a:gd name="T10" fmla="*/ 17 w 23"/>
                <a:gd name="T11" fmla="*/ 8 h 8"/>
                <a:gd name="T12" fmla="*/ 20 w 23"/>
                <a:gd name="T13" fmla="*/ 7 h 8"/>
                <a:gd name="T14" fmla="*/ 23 w 23"/>
                <a:gd name="T15" fmla="*/ 1 h 8"/>
                <a:gd name="T16" fmla="*/ 23 w 23"/>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8">
                  <a:moveTo>
                    <a:pt x="23" y="0"/>
                  </a:moveTo>
                  <a:cubicBezTo>
                    <a:pt x="3" y="0"/>
                    <a:pt x="3" y="0"/>
                    <a:pt x="3" y="0"/>
                  </a:cubicBezTo>
                  <a:cubicBezTo>
                    <a:pt x="4" y="1"/>
                    <a:pt x="4" y="2"/>
                    <a:pt x="2" y="2"/>
                  </a:cubicBezTo>
                  <a:cubicBezTo>
                    <a:pt x="5" y="4"/>
                    <a:pt x="0" y="6"/>
                    <a:pt x="5" y="6"/>
                  </a:cubicBezTo>
                  <a:cubicBezTo>
                    <a:pt x="7" y="7"/>
                    <a:pt x="10" y="7"/>
                    <a:pt x="13" y="7"/>
                  </a:cubicBezTo>
                  <a:cubicBezTo>
                    <a:pt x="14" y="8"/>
                    <a:pt x="16" y="8"/>
                    <a:pt x="17" y="8"/>
                  </a:cubicBezTo>
                  <a:cubicBezTo>
                    <a:pt x="18" y="8"/>
                    <a:pt x="19" y="8"/>
                    <a:pt x="20" y="7"/>
                  </a:cubicBezTo>
                  <a:cubicBezTo>
                    <a:pt x="21" y="7"/>
                    <a:pt x="23" y="2"/>
                    <a:pt x="23" y="1"/>
                  </a:cubicBezTo>
                  <a:cubicBezTo>
                    <a:pt x="23" y="0"/>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75"/>
            <p:cNvSpPr/>
            <p:nvPr/>
          </p:nvSpPr>
          <p:spPr bwMode="auto">
            <a:xfrm>
              <a:off x="8526454" y="599309"/>
              <a:ext cx="49213" cy="14288"/>
            </a:xfrm>
            <a:custGeom>
              <a:gdLst>
                <a:gd name="T0" fmla="*/ 13 w 13"/>
                <a:gd name="T1" fmla="*/ 0 h 4"/>
                <a:gd name="T2" fmla="*/ 0 w 13"/>
                <a:gd name="T3" fmla="*/ 0 h 4"/>
                <a:gd name="T4" fmla="*/ 1 w 13"/>
                <a:gd name="T5" fmla="*/ 1 h 4"/>
                <a:gd name="T6" fmla="*/ 7 w 13"/>
                <a:gd name="T7" fmla="*/ 4 h 4"/>
                <a:gd name="T8" fmla="*/ 9 w 13"/>
                <a:gd name="T9" fmla="*/ 3 h 4"/>
                <a:gd name="T10" fmla="*/ 13 w 13"/>
                <a:gd name="T11" fmla="*/ 0 h 4"/>
              </a:gdLst>
              <a:cxnLst>
                <a:cxn ang="0">
                  <a:pos x="T0" y="T1"/>
                </a:cxn>
                <a:cxn ang="0">
                  <a:pos x="T2" y="T3"/>
                </a:cxn>
                <a:cxn ang="0">
                  <a:pos x="T4" y="T5"/>
                </a:cxn>
                <a:cxn ang="0">
                  <a:pos x="T6" y="T7"/>
                </a:cxn>
                <a:cxn ang="0">
                  <a:pos x="T8" y="T9"/>
                </a:cxn>
                <a:cxn ang="0">
                  <a:pos x="T10" y="T11"/>
                </a:cxn>
              </a:cxnLst>
              <a:rect l="0" t="0" r="r" b="b"/>
              <a:pathLst>
                <a:path w="13" h="4">
                  <a:moveTo>
                    <a:pt x="13" y="0"/>
                  </a:moveTo>
                  <a:cubicBezTo>
                    <a:pt x="0" y="0"/>
                    <a:pt x="0" y="0"/>
                    <a:pt x="0" y="0"/>
                  </a:cubicBezTo>
                  <a:cubicBezTo>
                    <a:pt x="1" y="1"/>
                    <a:pt x="1" y="1"/>
                    <a:pt x="1" y="1"/>
                  </a:cubicBezTo>
                  <a:cubicBezTo>
                    <a:pt x="3" y="2"/>
                    <a:pt x="5" y="4"/>
                    <a:pt x="7" y="4"/>
                  </a:cubicBezTo>
                  <a:cubicBezTo>
                    <a:pt x="8" y="4"/>
                    <a:pt x="8" y="3"/>
                    <a:pt x="9" y="3"/>
                  </a:cubicBezTo>
                  <a:cubicBezTo>
                    <a:pt x="10" y="2"/>
                    <a:pt x="11"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76"/>
            <p:cNvSpPr/>
            <p:nvPr/>
          </p:nvSpPr>
          <p:spPr bwMode="auto">
            <a:xfrm>
              <a:off x="8193079" y="599309"/>
              <a:ext cx="17463" cy="19050"/>
            </a:xfrm>
            <a:custGeom>
              <a:gdLst>
                <a:gd name="T0" fmla="*/ 5 w 5"/>
                <a:gd name="T1" fmla="*/ 0 h 5"/>
                <a:gd name="T2" fmla="*/ 2 w 5"/>
                <a:gd name="T3" fmla="*/ 0 h 5"/>
                <a:gd name="T4" fmla="*/ 2 w 5"/>
                <a:gd name="T5" fmla="*/ 2 h 5"/>
                <a:gd name="T6" fmla="*/ 2 w 5"/>
                <a:gd name="T7" fmla="*/ 5 h 5"/>
                <a:gd name="T8" fmla="*/ 2 w 5"/>
                <a:gd name="T9" fmla="*/ 5 h 5"/>
                <a:gd name="T10" fmla="*/ 5 w 5"/>
                <a:gd name="T11" fmla="*/ 0 h 5"/>
              </a:gdLst>
              <a:cxnLst>
                <a:cxn ang="0">
                  <a:pos x="T0" y="T1"/>
                </a:cxn>
                <a:cxn ang="0">
                  <a:pos x="T2" y="T3"/>
                </a:cxn>
                <a:cxn ang="0">
                  <a:pos x="T4" y="T5"/>
                </a:cxn>
                <a:cxn ang="0">
                  <a:pos x="T6" y="T7"/>
                </a:cxn>
                <a:cxn ang="0">
                  <a:pos x="T8" y="T9"/>
                </a:cxn>
                <a:cxn ang="0">
                  <a:pos x="T10" y="T11"/>
                </a:cxn>
              </a:cxnLst>
              <a:rect l="0" t="0" r="r" b="b"/>
              <a:pathLst>
                <a:path w="5" h="5">
                  <a:moveTo>
                    <a:pt x="5" y="0"/>
                  </a:moveTo>
                  <a:cubicBezTo>
                    <a:pt x="2" y="0"/>
                    <a:pt x="2" y="0"/>
                    <a:pt x="2" y="0"/>
                  </a:cubicBezTo>
                  <a:cubicBezTo>
                    <a:pt x="2" y="1"/>
                    <a:pt x="2" y="1"/>
                    <a:pt x="2" y="2"/>
                  </a:cubicBezTo>
                  <a:cubicBezTo>
                    <a:pt x="1" y="3"/>
                    <a:pt x="0" y="5"/>
                    <a:pt x="2" y="5"/>
                  </a:cubicBezTo>
                  <a:cubicBezTo>
                    <a:pt x="2" y="5"/>
                    <a:pt x="2" y="5"/>
                    <a:pt x="2" y="5"/>
                  </a:cubicBezTo>
                  <a:cubicBezTo>
                    <a:pt x="3" y="5"/>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7"/>
            <p:cNvSpPr/>
            <p:nvPr/>
          </p:nvSpPr>
          <p:spPr bwMode="auto">
            <a:xfrm>
              <a:off x="8861416" y="599309"/>
              <a:ext cx="187325" cy="68263"/>
            </a:xfrm>
            <a:custGeom>
              <a:gdLst>
                <a:gd name="T0" fmla="*/ 50 w 50"/>
                <a:gd name="T1" fmla="*/ 0 h 18"/>
                <a:gd name="T2" fmla="*/ 0 w 50"/>
                <a:gd name="T3" fmla="*/ 0 h 18"/>
                <a:gd name="T4" fmla="*/ 4 w 50"/>
                <a:gd name="T5" fmla="*/ 4 h 18"/>
                <a:gd name="T6" fmla="*/ 6 w 50"/>
                <a:gd name="T7" fmla="*/ 4 h 18"/>
                <a:gd name="T8" fmla="*/ 5 w 50"/>
                <a:gd name="T9" fmla="*/ 8 h 18"/>
                <a:gd name="T10" fmla="*/ 0 w 50"/>
                <a:gd name="T11" fmla="*/ 18 h 18"/>
                <a:gd name="T12" fmla="*/ 21 w 50"/>
                <a:gd name="T13" fmla="*/ 14 h 18"/>
                <a:gd name="T14" fmla="*/ 34 w 50"/>
                <a:gd name="T15" fmla="*/ 12 h 18"/>
                <a:gd name="T16" fmla="*/ 40 w 50"/>
                <a:gd name="T17" fmla="*/ 10 h 18"/>
                <a:gd name="T18" fmla="*/ 50 w 50"/>
                <a:gd name="T19"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8">
                  <a:moveTo>
                    <a:pt x="50" y="0"/>
                  </a:moveTo>
                  <a:cubicBezTo>
                    <a:pt x="0" y="0"/>
                    <a:pt x="0" y="0"/>
                    <a:pt x="0" y="0"/>
                  </a:cubicBezTo>
                  <a:cubicBezTo>
                    <a:pt x="2" y="1"/>
                    <a:pt x="4" y="3"/>
                    <a:pt x="4" y="4"/>
                  </a:cubicBezTo>
                  <a:cubicBezTo>
                    <a:pt x="6" y="4"/>
                    <a:pt x="6" y="4"/>
                    <a:pt x="6" y="4"/>
                  </a:cubicBezTo>
                  <a:cubicBezTo>
                    <a:pt x="6" y="5"/>
                    <a:pt x="5" y="7"/>
                    <a:pt x="5" y="8"/>
                  </a:cubicBezTo>
                  <a:cubicBezTo>
                    <a:pt x="3" y="11"/>
                    <a:pt x="2" y="15"/>
                    <a:pt x="0" y="18"/>
                  </a:cubicBezTo>
                  <a:cubicBezTo>
                    <a:pt x="7" y="17"/>
                    <a:pt x="14" y="16"/>
                    <a:pt x="21" y="14"/>
                  </a:cubicBezTo>
                  <a:cubicBezTo>
                    <a:pt x="25" y="13"/>
                    <a:pt x="29" y="12"/>
                    <a:pt x="34" y="12"/>
                  </a:cubicBezTo>
                  <a:cubicBezTo>
                    <a:pt x="36" y="11"/>
                    <a:pt x="39" y="11"/>
                    <a:pt x="40" y="10"/>
                  </a:cubicBezTo>
                  <a:cubicBezTo>
                    <a:pt x="44" y="7"/>
                    <a:pt x="47" y="4"/>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78"/>
            <p:cNvSpPr/>
            <p:nvPr/>
          </p:nvSpPr>
          <p:spPr bwMode="auto">
            <a:xfrm>
              <a:off x="8609004" y="599309"/>
              <a:ext cx="57150" cy="19050"/>
            </a:xfrm>
            <a:custGeom>
              <a:gdLst>
                <a:gd name="T0" fmla="*/ 15 w 15"/>
                <a:gd name="T1" fmla="*/ 0 h 5"/>
                <a:gd name="T2" fmla="*/ 0 w 15"/>
                <a:gd name="T3" fmla="*/ 0 h 5"/>
                <a:gd name="T4" fmla="*/ 7 w 15"/>
                <a:gd name="T5" fmla="*/ 4 h 5"/>
                <a:gd name="T6" fmla="*/ 12 w 15"/>
                <a:gd name="T7" fmla="*/ 5 h 5"/>
                <a:gd name="T8" fmla="*/ 15 w 15"/>
                <a:gd name="T9" fmla="*/ 1 h 5"/>
                <a:gd name="T10" fmla="*/ 15 w 15"/>
                <a:gd name="T11" fmla="*/ 0 h 5"/>
              </a:gdLst>
              <a:cxnLst>
                <a:cxn ang="0">
                  <a:pos x="T0" y="T1"/>
                </a:cxn>
                <a:cxn ang="0">
                  <a:pos x="T2" y="T3"/>
                </a:cxn>
                <a:cxn ang="0">
                  <a:pos x="T4" y="T5"/>
                </a:cxn>
                <a:cxn ang="0">
                  <a:pos x="T6" y="T7"/>
                </a:cxn>
                <a:cxn ang="0">
                  <a:pos x="T8" y="T9"/>
                </a:cxn>
                <a:cxn ang="0">
                  <a:pos x="T10" y="T11"/>
                </a:cxn>
              </a:cxnLst>
              <a:rect l="0" t="0" r="r" b="b"/>
              <a:pathLst>
                <a:path w="15" h="5">
                  <a:moveTo>
                    <a:pt x="15" y="0"/>
                  </a:moveTo>
                  <a:cubicBezTo>
                    <a:pt x="0" y="0"/>
                    <a:pt x="0" y="0"/>
                    <a:pt x="0" y="0"/>
                  </a:cubicBezTo>
                  <a:cubicBezTo>
                    <a:pt x="2" y="2"/>
                    <a:pt x="5" y="3"/>
                    <a:pt x="7" y="4"/>
                  </a:cubicBezTo>
                  <a:cubicBezTo>
                    <a:pt x="9" y="5"/>
                    <a:pt x="10" y="5"/>
                    <a:pt x="12" y="5"/>
                  </a:cubicBezTo>
                  <a:cubicBezTo>
                    <a:pt x="13" y="5"/>
                    <a:pt x="15" y="4"/>
                    <a:pt x="15" y="1"/>
                  </a:cubicBezTo>
                  <a:cubicBezTo>
                    <a:pt x="15" y="1"/>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79"/>
            <p:cNvSpPr/>
            <p:nvPr/>
          </p:nvSpPr>
          <p:spPr bwMode="auto">
            <a:xfrm>
              <a:off x="9070966" y="599309"/>
              <a:ext cx="38100" cy="11113"/>
            </a:xfrm>
            <a:custGeom>
              <a:gdLst>
                <a:gd name="T0" fmla="*/ 10 w 10"/>
                <a:gd name="T1" fmla="*/ 0 h 3"/>
                <a:gd name="T2" fmla="*/ 0 w 10"/>
                <a:gd name="T3" fmla="*/ 0 h 3"/>
                <a:gd name="T4" fmla="*/ 3 w 10"/>
                <a:gd name="T5" fmla="*/ 3 h 3"/>
                <a:gd name="T6" fmla="*/ 4 w 10"/>
                <a:gd name="T7" fmla="*/ 3 h 3"/>
                <a:gd name="T8" fmla="*/ 10 w 10"/>
                <a:gd name="T9" fmla="*/ 0 h 3"/>
              </a:gdLst>
              <a:cxnLst>
                <a:cxn ang="0">
                  <a:pos x="T0" y="T1"/>
                </a:cxn>
                <a:cxn ang="0">
                  <a:pos x="T2" y="T3"/>
                </a:cxn>
                <a:cxn ang="0">
                  <a:pos x="T4" y="T5"/>
                </a:cxn>
                <a:cxn ang="0">
                  <a:pos x="T6" y="T7"/>
                </a:cxn>
                <a:cxn ang="0">
                  <a:pos x="T8" y="T9"/>
                </a:cxn>
              </a:cxnLst>
              <a:rect l="0" t="0" r="r" b="b"/>
              <a:pathLst>
                <a:path w="10" h="3">
                  <a:moveTo>
                    <a:pt x="10" y="0"/>
                  </a:moveTo>
                  <a:cubicBezTo>
                    <a:pt x="0" y="0"/>
                    <a:pt x="0" y="0"/>
                    <a:pt x="0" y="0"/>
                  </a:cubicBezTo>
                  <a:cubicBezTo>
                    <a:pt x="1" y="1"/>
                    <a:pt x="2" y="3"/>
                    <a:pt x="3" y="3"/>
                  </a:cubicBezTo>
                  <a:cubicBezTo>
                    <a:pt x="3" y="3"/>
                    <a:pt x="4" y="3"/>
                    <a:pt x="4" y="3"/>
                  </a:cubicBezTo>
                  <a:cubicBezTo>
                    <a:pt x="5" y="2"/>
                    <a:pt x="8" y="1"/>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80"/>
            <p:cNvSpPr/>
            <p:nvPr/>
          </p:nvSpPr>
          <p:spPr bwMode="auto">
            <a:xfrm>
              <a:off x="8778866" y="599309"/>
              <a:ext cx="55563" cy="7938"/>
            </a:xfrm>
            <a:custGeom>
              <a:gdLst>
                <a:gd name="T0" fmla="*/ 15 w 15"/>
                <a:gd name="T1" fmla="*/ 0 h 2"/>
                <a:gd name="T2" fmla="*/ 0 w 15"/>
                <a:gd name="T3" fmla="*/ 0 h 2"/>
                <a:gd name="T4" fmla="*/ 10 w 15"/>
                <a:gd name="T5" fmla="*/ 2 h 2"/>
                <a:gd name="T6" fmla="*/ 12 w 15"/>
                <a:gd name="T7" fmla="*/ 2 h 2"/>
                <a:gd name="T8" fmla="*/ 15 w 15"/>
                <a:gd name="T9" fmla="*/ 0 h 2"/>
              </a:gdLst>
              <a:cxnLst>
                <a:cxn ang="0">
                  <a:pos x="T0" y="T1"/>
                </a:cxn>
                <a:cxn ang="0">
                  <a:pos x="T2" y="T3"/>
                </a:cxn>
                <a:cxn ang="0">
                  <a:pos x="T4" y="T5"/>
                </a:cxn>
                <a:cxn ang="0">
                  <a:pos x="T6" y="T7"/>
                </a:cxn>
                <a:cxn ang="0">
                  <a:pos x="T8" y="T9"/>
                </a:cxn>
              </a:cxnLst>
              <a:rect l="0" t="0" r="r" b="b"/>
              <a:pathLst>
                <a:path w="15" h="2">
                  <a:moveTo>
                    <a:pt x="15" y="0"/>
                  </a:moveTo>
                  <a:cubicBezTo>
                    <a:pt x="0" y="0"/>
                    <a:pt x="0" y="0"/>
                    <a:pt x="0" y="0"/>
                  </a:cubicBezTo>
                  <a:cubicBezTo>
                    <a:pt x="3" y="1"/>
                    <a:pt x="7" y="2"/>
                    <a:pt x="10" y="2"/>
                  </a:cubicBezTo>
                  <a:cubicBezTo>
                    <a:pt x="11" y="2"/>
                    <a:pt x="11" y="2"/>
                    <a:pt x="12" y="2"/>
                  </a:cubicBezTo>
                  <a:cubicBezTo>
                    <a:pt x="13" y="2"/>
                    <a:pt x="14"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81"/>
            <p:cNvSpPr/>
            <p:nvPr/>
          </p:nvSpPr>
          <p:spPr bwMode="auto">
            <a:xfrm>
              <a:off x="8683616" y="599309"/>
              <a:ext cx="82550" cy="22225"/>
            </a:xfrm>
            <a:custGeom>
              <a:gdLst>
                <a:gd name="T0" fmla="*/ 22 w 22"/>
                <a:gd name="T1" fmla="*/ 0 h 6"/>
                <a:gd name="T2" fmla="*/ 0 w 22"/>
                <a:gd name="T3" fmla="*/ 0 h 6"/>
                <a:gd name="T4" fmla="*/ 0 w 22"/>
                <a:gd name="T5" fmla="*/ 3 h 6"/>
                <a:gd name="T6" fmla="*/ 4 w 22"/>
                <a:gd name="T7" fmla="*/ 5 h 6"/>
                <a:gd name="T8" fmla="*/ 9 w 22"/>
                <a:gd name="T9" fmla="*/ 6 h 6"/>
                <a:gd name="T10" fmla="*/ 9 w 22"/>
                <a:gd name="T11" fmla="*/ 6 h 6"/>
                <a:gd name="T12" fmla="*/ 15 w 22"/>
                <a:gd name="T13" fmla="*/ 6 h 6"/>
                <a:gd name="T14" fmla="*/ 15 w 22"/>
                <a:gd name="T15" fmla="*/ 6 h 6"/>
                <a:gd name="T16" fmla="*/ 17 w 22"/>
                <a:gd name="T17" fmla="*/ 6 h 6"/>
                <a:gd name="T18" fmla="*/ 20 w 22"/>
                <a:gd name="T19" fmla="*/ 5 h 6"/>
                <a:gd name="T20" fmla="*/ 22 w 22"/>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6">
                  <a:moveTo>
                    <a:pt x="22" y="0"/>
                  </a:moveTo>
                  <a:cubicBezTo>
                    <a:pt x="0" y="0"/>
                    <a:pt x="0" y="0"/>
                    <a:pt x="0" y="0"/>
                  </a:cubicBezTo>
                  <a:cubicBezTo>
                    <a:pt x="0" y="1"/>
                    <a:pt x="0" y="2"/>
                    <a:pt x="0" y="3"/>
                  </a:cubicBezTo>
                  <a:cubicBezTo>
                    <a:pt x="1" y="4"/>
                    <a:pt x="3" y="4"/>
                    <a:pt x="4" y="5"/>
                  </a:cubicBezTo>
                  <a:cubicBezTo>
                    <a:pt x="6" y="5"/>
                    <a:pt x="7" y="6"/>
                    <a:pt x="9" y="6"/>
                  </a:cubicBezTo>
                  <a:cubicBezTo>
                    <a:pt x="9" y="6"/>
                    <a:pt x="9" y="6"/>
                    <a:pt x="9" y="6"/>
                  </a:cubicBezTo>
                  <a:cubicBezTo>
                    <a:pt x="11" y="6"/>
                    <a:pt x="13" y="6"/>
                    <a:pt x="15" y="6"/>
                  </a:cubicBezTo>
                  <a:cubicBezTo>
                    <a:pt x="15" y="6"/>
                    <a:pt x="15" y="6"/>
                    <a:pt x="15" y="6"/>
                  </a:cubicBezTo>
                  <a:cubicBezTo>
                    <a:pt x="16" y="6"/>
                    <a:pt x="17" y="6"/>
                    <a:pt x="17" y="6"/>
                  </a:cubicBezTo>
                  <a:cubicBezTo>
                    <a:pt x="18" y="6"/>
                    <a:pt x="19" y="5"/>
                    <a:pt x="20" y="5"/>
                  </a:cubicBezTo>
                  <a:cubicBezTo>
                    <a:pt x="22" y="4"/>
                    <a:pt x="22" y="2"/>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82"/>
            <p:cNvSpPr/>
            <p:nvPr/>
          </p:nvSpPr>
          <p:spPr bwMode="auto">
            <a:xfrm>
              <a:off x="7442191" y="794572"/>
              <a:ext cx="3175" cy="3175"/>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1" y="0"/>
                    <a:pt x="1" y="1"/>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83"/>
            <p:cNvSpPr/>
            <p:nvPr/>
          </p:nvSpPr>
          <p:spPr bwMode="auto">
            <a:xfrm>
              <a:off x="6950066" y="599309"/>
              <a:ext cx="498475" cy="274638"/>
            </a:xfrm>
            <a:custGeom>
              <a:gdLst>
                <a:gd name="T0" fmla="*/ 96 w 133"/>
                <a:gd name="T1" fmla="*/ 4 h 73"/>
                <a:gd name="T2" fmla="*/ 90 w 133"/>
                <a:gd name="T3" fmla="*/ 5 h 73"/>
                <a:gd name="T4" fmla="*/ 87 w 133"/>
                <a:gd name="T5" fmla="*/ 0 h 73"/>
                <a:gd name="T6" fmla="*/ 49 w 133"/>
                <a:gd name="T7" fmla="*/ 0 h 73"/>
                <a:gd name="T8" fmla="*/ 60 w 133"/>
                <a:gd name="T9" fmla="*/ 7 h 73"/>
                <a:gd name="T10" fmla="*/ 65 w 133"/>
                <a:gd name="T11" fmla="*/ 7 h 73"/>
                <a:gd name="T12" fmla="*/ 69 w 133"/>
                <a:gd name="T13" fmla="*/ 10 h 73"/>
                <a:gd name="T14" fmla="*/ 68 w 133"/>
                <a:gd name="T15" fmla="*/ 12 h 73"/>
                <a:gd name="T16" fmla="*/ 58 w 133"/>
                <a:gd name="T17" fmla="*/ 12 h 73"/>
                <a:gd name="T18" fmla="*/ 73 w 133"/>
                <a:gd name="T19" fmla="*/ 16 h 73"/>
                <a:gd name="T20" fmla="*/ 83 w 133"/>
                <a:gd name="T21" fmla="*/ 17 h 73"/>
                <a:gd name="T22" fmla="*/ 68 w 133"/>
                <a:gd name="T23" fmla="*/ 17 h 73"/>
                <a:gd name="T24" fmla="*/ 73 w 133"/>
                <a:gd name="T25" fmla="*/ 27 h 73"/>
                <a:gd name="T26" fmla="*/ 76 w 133"/>
                <a:gd name="T27" fmla="*/ 28 h 73"/>
                <a:gd name="T28" fmla="*/ 56 w 133"/>
                <a:gd name="T29" fmla="*/ 20 h 73"/>
                <a:gd name="T30" fmla="*/ 55 w 133"/>
                <a:gd name="T31" fmla="*/ 19 h 73"/>
                <a:gd name="T32" fmla="*/ 30 w 133"/>
                <a:gd name="T33" fmla="*/ 3 h 73"/>
                <a:gd name="T34" fmla="*/ 24 w 133"/>
                <a:gd name="T35" fmla="*/ 7 h 73"/>
                <a:gd name="T36" fmla="*/ 20 w 133"/>
                <a:gd name="T37" fmla="*/ 13 h 73"/>
                <a:gd name="T38" fmla="*/ 23 w 133"/>
                <a:gd name="T39" fmla="*/ 14 h 73"/>
                <a:gd name="T40" fmla="*/ 33 w 133"/>
                <a:gd name="T41" fmla="*/ 13 h 73"/>
                <a:gd name="T42" fmla="*/ 30 w 133"/>
                <a:gd name="T43" fmla="*/ 25 h 73"/>
                <a:gd name="T44" fmla="*/ 35 w 133"/>
                <a:gd name="T45" fmla="*/ 32 h 73"/>
                <a:gd name="T46" fmla="*/ 48 w 133"/>
                <a:gd name="T47" fmla="*/ 34 h 73"/>
                <a:gd name="T48" fmla="*/ 23 w 133"/>
                <a:gd name="T49" fmla="*/ 30 h 73"/>
                <a:gd name="T50" fmla="*/ 21 w 133"/>
                <a:gd name="T51" fmla="*/ 35 h 73"/>
                <a:gd name="T52" fmla="*/ 13 w 133"/>
                <a:gd name="T53" fmla="*/ 37 h 73"/>
                <a:gd name="T54" fmla="*/ 10 w 133"/>
                <a:gd name="T55" fmla="*/ 48 h 73"/>
                <a:gd name="T56" fmla="*/ 22 w 133"/>
                <a:gd name="T57" fmla="*/ 46 h 73"/>
                <a:gd name="T58" fmla="*/ 36 w 133"/>
                <a:gd name="T59" fmla="*/ 43 h 73"/>
                <a:gd name="T60" fmla="*/ 39 w 133"/>
                <a:gd name="T61" fmla="*/ 44 h 73"/>
                <a:gd name="T62" fmla="*/ 49 w 133"/>
                <a:gd name="T63" fmla="*/ 43 h 73"/>
                <a:gd name="T64" fmla="*/ 79 w 133"/>
                <a:gd name="T65" fmla="*/ 39 h 73"/>
                <a:gd name="T66" fmla="*/ 91 w 133"/>
                <a:gd name="T67" fmla="*/ 38 h 73"/>
                <a:gd name="T68" fmla="*/ 85 w 133"/>
                <a:gd name="T69" fmla="*/ 40 h 73"/>
                <a:gd name="T70" fmla="*/ 77 w 133"/>
                <a:gd name="T71" fmla="*/ 43 h 73"/>
                <a:gd name="T72" fmla="*/ 70 w 133"/>
                <a:gd name="T73" fmla="*/ 48 h 73"/>
                <a:gd name="T74" fmla="*/ 62 w 133"/>
                <a:gd name="T75" fmla="*/ 51 h 73"/>
                <a:gd name="T76" fmla="*/ 52 w 133"/>
                <a:gd name="T77" fmla="*/ 55 h 73"/>
                <a:gd name="T78" fmla="*/ 62 w 133"/>
                <a:gd name="T79" fmla="*/ 57 h 73"/>
                <a:gd name="T80" fmla="*/ 60 w 133"/>
                <a:gd name="T81" fmla="*/ 70 h 73"/>
                <a:gd name="T82" fmla="*/ 79 w 133"/>
                <a:gd name="T83" fmla="*/ 73 h 73"/>
                <a:gd name="T84" fmla="*/ 114 w 133"/>
                <a:gd name="T85" fmla="*/ 71 h 73"/>
                <a:gd name="T86" fmla="*/ 119 w 133"/>
                <a:gd name="T87" fmla="*/ 64 h 73"/>
                <a:gd name="T88" fmla="*/ 121 w 133"/>
                <a:gd name="T89" fmla="*/ 63 h 73"/>
                <a:gd name="T90" fmla="*/ 122 w 133"/>
                <a:gd name="T91" fmla="*/ 45 h 73"/>
                <a:gd name="T92" fmla="*/ 129 w 133"/>
                <a:gd name="T93" fmla="*/ 39 h 73"/>
                <a:gd name="T94" fmla="*/ 125 w 133"/>
                <a:gd name="T95" fmla="*/ 13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73">
                  <a:moveTo>
                    <a:pt x="120" y="0"/>
                  </a:moveTo>
                  <a:cubicBezTo>
                    <a:pt x="93" y="0"/>
                    <a:pt x="93" y="0"/>
                    <a:pt x="93" y="0"/>
                  </a:cubicBezTo>
                  <a:cubicBezTo>
                    <a:pt x="94" y="1"/>
                    <a:pt x="95" y="2"/>
                    <a:pt x="95" y="3"/>
                  </a:cubicBezTo>
                  <a:cubicBezTo>
                    <a:pt x="96" y="3"/>
                    <a:pt x="96" y="4"/>
                    <a:pt x="96" y="4"/>
                  </a:cubicBezTo>
                  <a:cubicBezTo>
                    <a:pt x="95" y="4"/>
                    <a:pt x="93" y="2"/>
                    <a:pt x="93" y="2"/>
                  </a:cubicBezTo>
                  <a:cubicBezTo>
                    <a:pt x="93" y="2"/>
                    <a:pt x="93" y="2"/>
                    <a:pt x="93" y="2"/>
                  </a:cubicBezTo>
                  <a:cubicBezTo>
                    <a:pt x="92" y="2"/>
                    <a:pt x="91" y="5"/>
                    <a:pt x="90" y="5"/>
                  </a:cubicBezTo>
                  <a:cubicBezTo>
                    <a:pt x="90" y="5"/>
                    <a:pt x="90" y="5"/>
                    <a:pt x="90" y="5"/>
                  </a:cubicBezTo>
                  <a:cubicBezTo>
                    <a:pt x="90" y="5"/>
                    <a:pt x="89" y="4"/>
                    <a:pt x="88" y="4"/>
                  </a:cubicBezTo>
                  <a:cubicBezTo>
                    <a:pt x="86" y="2"/>
                    <a:pt x="89" y="1"/>
                    <a:pt x="89" y="1"/>
                  </a:cubicBezTo>
                  <a:cubicBezTo>
                    <a:pt x="88" y="0"/>
                    <a:pt x="88" y="0"/>
                    <a:pt x="88" y="0"/>
                  </a:cubicBezTo>
                  <a:cubicBezTo>
                    <a:pt x="88" y="0"/>
                    <a:pt x="88" y="0"/>
                    <a:pt x="87" y="0"/>
                  </a:cubicBezTo>
                  <a:cubicBezTo>
                    <a:pt x="87" y="0"/>
                    <a:pt x="87" y="1"/>
                    <a:pt x="86" y="1"/>
                  </a:cubicBezTo>
                  <a:cubicBezTo>
                    <a:pt x="86" y="1"/>
                    <a:pt x="86" y="1"/>
                    <a:pt x="86" y="0"/>
                  </a:cubicBezTo>
                  <a:cubicBezTo>
                    <a:pt x="85" y="0"/>
                    <a:pt x="85" y="0"/>
                    <a:pt x="85" y="0"/>
                  </a:cubicBezTo>
                  <a:cubicBezTo>
                    <a:pt x="49" y="0"/>
                    <a:pt x="49" y="0"/>
                    <a:pt x="49" y="0"/>
                  </a:cubicBezTo>
                  <a:cubicBezTo>
                    <a:pt x="48" y="0"/>
                    <a:pt x="46" y="1"/>
                    <a:pt x="48" y="2"/>
                  </a:cubicBezTo>
                  <a:cubicBezTo>
                    <a:pt x="49" y="3"/>
                    <a:pt x="51" y="6"/>
                    <a:pt x="53" y="6"/>
                  </a:cubicBezTo>
                  <a:cubicBezTo>
                    <a:pt x="54" y="7"/>
                    <a:pt x="55" y="7"/>
                    <a:pt x="56" y="7"/>
                  </a:cubicBezTo>
                  <a:cubicBezTo>
                    <a:pt x="57" y="7"/>
                    <a:pt x="59" y="7"/>
                    <a:pt x="60" y="7"/>
                  </a:cubicBezTo>
                  <a:cubicBezTo>
                    <a:pt x="60" y="6"/>
                    <a:pt x="61" y="6"/>
                    <a:pt x="62" y="6"/>
                  </a:cubicBezTo>
                  <a:cubicBezTo>
                    <a:pt x="62" y="6"/>
                    <a:pt x="62" y="6"/>
                    <a:pt x="63" y="6"/>
                  </a:cubicBezTo>
                  <a:cubicBezTo>
                    <a:pt x="63" y="6"/>
                    <a:pt x="64" y="7"/>
                    <a:pt x="64" y="7"/>
                  </a:cubicBezTo>
                  <a:cubicBezTo>
                    <a:pt x="64" y="7"/>
                    <a:pt x="64" y="7"/>
                    <a:pt x="65" y="7"/>
                  </a:cubicBezTo>
                  <a:cubicBezTo>
                    <a:pt x="65" y="7"/>
                    <a:pt x="65" y="7"/>
                    <a:pt x="65" y="7"/>
                  </a:cubicBezTo>
                  <a:cubicBezTo>
                    <a:pt x="66" y="7"/>
                    <a:pt x="65" y="7"/>
                    <a:pt x="66" y="7"/>
                  </a:cubicBezTo>
                  <a:cubicBezTo>
                    <a:pt x="67" y="8"/>
                    <a:pt x="69" y="9"/>
                    <a:pt x="71" y="9"/>
                  </a:cubicBezTo>
                  <a:cubicBezTo>
                    <a:pt x="70" y="10"/>
                    <a:pt x="70" y="10"/>
                    <a:pt x="69" y="10"/>
                  </a:cubicBezTo>
                  <a:cubicBezTo>
                    <a:pt x="70" y="11"/>
                    <a:pt x="72" y="11"/>
                    <a:pt x="73" y="11"/>
                  </a:cubicBezTo>
                  <a:cubicBezTo>
                    <a:pt x="72" y="11"/>
                    <a:pt x="72" y="11"/>
                    <a:pt x="71" y="11"/>
                  </a:cubicBezTo>
                  <a:cubicBezTo>
                    <a:pt x="69" y="11"/>
                    <a:pt x="67" y="10"/>
                    <a:pt x="65" y="10"/>
                  </a:cubicBezTo>
                  <a:cubicBezTo>
                    <a:pt x="66" y="10"/>
                    <a:pt x="67" y="11"/>
                    <a:pt x="68" y="12"/>
                  </a:cubicBezTo>
                  <a:cubicBezTo>
                    <a:pt x="67" y="12"/>
                    <a:pt x="67" y="12"/>
                    <a:pt x="67" y="12"/>
                  </a:cubicBezTo>
                  <a:cubicBezTo>
                    <a:pt x="66" y="12"/>
                    <a:pt x="65" y="12"/>
                    <a:pt x="64" y="11"/>
                  </a:cubicBezTo>
                  <a:cubicBezTo>
                    <a:pt x="63" y="11"/>
                    <a:pt x="62" y="11"/>
                    <a:pt x="62" y="11"/>
                  </a:cubicBezTo>
                  <a:cubicBezTo>
                    <a:pt x="60" y="11"/>
                    <a:pt x="59" y="11"/>
                    <a:pt x="58" y="12"/>
                  </a:cubicBezTo>
                  <a:cubicBezTo>
                    <a:pt x="57" y="14"/>
                    <a:pt x="64" y="15"/>
                    <a:pt x="65" y="15"/>
                  </a:cubicBezTo>
                  <a:cubicBezTo>
                    <a:pt x="65" y="15"/>
                    <a:pt x="65" y="15"/>
                    <a:pt x="65" y="15"/>
                  </a:cubicBezTo>
                  <a:cubicBezTo>
                    <a:pt x="66" y="15"/>
                    <a:pt x="67" y="15"/>
                    <a:pt x="68" y="15"/>
                  </a:cubicBezTo>
                  <a:cubicBezTo>
                    <a:pt x="69" y="15"/>
                    <a:pt x="71" y="16"/>
                    <a:pt x="73" y="16"/>
                  </a:cubicBezTo>
                  <a:cubicBezTo>
                    <a:pt x="74" y="17"/>
                    <a:pt x="76" y="17"/>
                    <a:pt x="77" y="17"/>
                  </a:cubicBezTo>
                  <a:cubicBezTo>
                    <a:pt x="78" y="17"/>
                    <a:pt x="79" y="17"/>
                    <a:pt x="80" y="17"/>
                  </a:cubicBezTo>
                  <a:cubicBezTo>
                    <a:pt x="80" y="17"/>
                    <a:pt x="81" y="17"/>
                    <a:pt x="82" y="17"/>
                  </a:cubicBezTo>
                  <a:cubicBezTo>
                    <a:pt x="83" y="17"/>
                    <a:pt x="83" y="17"/>
                    <a:pt x="83" y="17"/>
                  </a:cubicBezTo>
                  <a:cubicBezTo>
                    <a:pt x="81" y="18"/>
                    <a:pt x="79" y="18"/>
                    <a:pt x="77" y="18"/>
                  </a:cubicBezTo>
                  <a:cubicBezTo>
                    <a:pt x="75" y="18"/>
                    <a:pt x="74" y="18"/>
                    <a:pt x="73" y="18"/>
                  </a:cubicBezTo>
                  <a:cubicBezTo>
                    <a:pt x="71" y="18"/>
                    <a:pt x="70" y="17"/>
                    <a:pt x="68" y="17"/>
                  </a:cubicBezTo>
                  <a:cubicBezTo>
                    <a:pt x="68" y="17"/>
                    <a:pt x="68" y="17"/>
                    <a:pt x="68" y="17"/>
                  </a:cubicBezTo>
                  <a:cubicBezTo>
                    <a:pt x="68" y="17"/>
                    <a:pt x="65" y="17"/>
                    <a:pt x="65" y="18"/>
                  </a:cubicBezTo>
                  <a:cubicBezTo>
                    <a:pt x="65" y="19"/>
                    <a:pt x="66" y="19"/>
                    <a:pt x="67" y="20"/>
                  </a:cubicBezTo>
                  <a:cubicBezTo>
                    <a:pt x="68" y="23"/>
                    <a:pt x="70" y="25"/>
                    <a:pt x="72" y="27"/>
                  </a:cubicBezTo>
                  <a:cubicBezTo>
                    <a:pt x="72" y="27"/>
                    <a:pt x="73" y="27"/>
                    <a:pt x="73" y="27"/>
                  </a:cubicBezTo>
                  <a:cubicBezTo>
                    <a:pt x="75" y="27"/>
                    <a:pt x="76" y="27"/>
                    <a:pt x="77" y="27"/>
                  </a:cubicBezTo>
                  <a:cubicBezTo>
                    <a:pt x="79" y="26"/>
                    <a:pt x="80" y="26"/>
                    <a:pt x="81" y="26"/>
                  </a:cubicBezTo>
                  <a:cubicBezTo>
                    <a:pt x="82" y="26"/>
                    <a:pt x="82" y="26"/>
                    <a:pt x="82" y="26"/>
                  </a:cubicBezTo>
                  <a:cubicBezTo>
                    <a:pt x="80" y="27"/>
                    <a:pt x="78" y="28"/>
                    <a:pt x="76" y="28"/>
                  </a:cubicBezTo>
                  <a:cubicBezTo>
                    <a:pt x="74" y="29"/>
                    <a:pt x="73" y="29"/>
                    <a:pt x="72" y="29"/>
                  </a:cubicBezTo>
                  <a:cubicBezTo>
                    <a:pt x="72" y="29"/>
                    <a:pt x="71" y="29"/>
                    <a:pt x="70" y="28"/>
                  </a:cubicBezTo>
                  <a:cubicBezTo>
                    <a:pt x="67" y="27"/>
                    <a:pt x="66" y="26"/>
                    <a:pt x="63" y="24"/>
                  </a:cubicBezTo>
                  <a:cubicBezTo>
                    <a:pt x="61" y="21"/>
                    <a:pt x="59" y="21"/>
                    <a:pt x="56" y="20"/>
                  </a:cubicBezTo>
                  <a:cubicBezTo>
                    <a:pt x="57" y="20"/>
                    <a:pt x="58" y="20"/>
                    <a:pt x="59" y="19"/>
                  </a:cubicBezTo>
                  <a:cubicBezTo>
                    <a:pt x="59" y="19"/>
                    <a:pt x="59" y="19"/>
                    <a:pt x="59" y="19"/>
                  </a:cubicBezTo>
                  <a:cubicBezTo>
                    <a:pt x="58" y="19"/>
                    <a:pt x="58" y="19"/>
                    <a:pt x="57" y="19"/>
                  </a:cubicBezTo>
                  <a:cubicBezTo>
                    <a:pt x="56" y="19"/>
                    <a:pt x="56" y="19"/>
                    <a:pt x="55" y="19"/>
                  </a:cubicBezTo>
                  <a:cubicBezTo>
                    <a:pt x="55" y="19"/>
                    <a:pt x="54" y="19"/>
                    <a:pt x="54" y="19"/>
                  </a:cubicBezTo>
                  <a:cubicBezTo>
                    <a:pt x="55" y="17"/>
                    <a:pt x="51" y="15"/>
                    <a:pt x="49" y="14"/>
                  </a:cubicBezTo>
                  <a:cubicBezTo>
                    <a:pt x="44" y="12"/>
                    <a:pt x="41" y="4"/>
                    <a:pt x="35" y="4"/>
                  </a:cubicBezTo>
                  <a:cubicBezTo>
                    <a:pt x="35" y="3"/>
                    <a:pt x="32" y="3"/>
                    <a:pt x="30" y="3"/>
                  </a:cubicBezTo>
                  <a:cubicBezTo>
                    <a:pt x="27" y="3"/>
                    <a:pt x="23" y="4"/>
                    <a:pt x="23" y="5"/>
                  </a:cubicBezTo>
                  <a:cubicBezTo>
                    <a:pt x="23" y="5"/>
                    <a:pt x="23" y="5"/>
                    <a:pt x="23" y="5"/>
                  </a:cubicBezTo>
                  <a:cubicBezTo>
                    <a:pt x="23" y="6"/>
                    <a:pt x="23" y="6"/>
                    <a:pt x="23" y="6"/>
                  </a:cubicBezTo>
                  <a:cubicBezTo>
                    <a:pt x="23" y="6"/>
                    <a:pt x="23" y="7"/>
                    <a:pt x="24" y="7"/>
                  </a:cubicBezTo>
                  <a:cubicBezTo>
                    <a:pt x="23" y="8"/>
                    <a:pt x="23" y="8"/>
                    <a:pt x="23" y="8"/>
                  </a:cubicBezTo>
                  <a:cubicBezTo>
                    <a:pt x="23" y="8"/>
                    <a:pt x="23" y="7"/>
                    <a:pt x="23" y="7"/>
                  </a:cubicBezTo>
                  <a:cubicBezTo>
                    <a:pt x="22" y="7"/>
                    <a:pt x="22" y="8"/>
                    <a:pt x="22" y="9"/>
                  </a:cubicBezTo>
                  <a:cubicBezTo>
                    <a:pt x="22" y="9"/>
                    <a:pt x="20" y="13"/>
                    <a:pt x="20" y="13"/>
                  </a:cubicBezTo>
                  <a:cubicBezTo>
                    <a:pt x="20" y="14"/>
                    <a:pt x="21" y="14"/>
                    <a:pt x="21" y="14"/>
                  </a:cubicBezTo>
                  <a:cubicBezTo>
                    <a:pt x="22" y="14"/>
                    <a:pt x="22" y="14"/>
                    <a:pt x="22" y="14"/>
                  </a:cubicBezTo>
                  <a:cubicBezTo>
                    <a:pt x="23" y="14"/>
                    <a:pt x="23" y="14"/>
                    <a:pt x="23" y="13"/>
                  </a:cubicBezTo>
                  <a:cubicBezTo>
                    <a:pt x="23" y="14"/>
                    <a:pt x="23" y="14"/>
                    <a:pt x="23" y="14"/>
                  </a:cubicBezTo>
                  <a:cubicBezTo>
                    <a:pt x="24" y="14"/>
                    <a:pt x="24" y="14"/>
                    <a:pt x="25" y="14"/>
                  </a:cubicBezTo>
                  <a:cubicBezTo>
                    <a:pt x="26" y="14"/>
                    <a:pt x="27" y="14"/>
                    <a:pt x="29" y="14"/>
                  </a:cubicBezTo>
                  <a:cubicBezTo>
                    <a:pt x="29" y="14"/>
                    <a:pt x="29" y="14"/>
                    <a:pt x="29" y="14"/>
                  </a:cubicBezTo>
                  <a:cubicBezTo>
                    <a:pt x="30" y="14"/>
                    <a:pt x="31" y="14"/>
                    <a:pt x="33" y="13"/>
                  </a:cubicBezTo>
                  <a:cubicBezTo>
                    <a:pt x="34" y="13"/>
                    <a:pt x="35" y="13"/>
                    <a:pt x="37" y="13"/>
                  </a:cubicBezTo>
                  <a:cubicBezTo>
                    <a:pt x="37" y="13"/>
                    <a:pt x="37" y="13"/>
                    <a:pt x="37" y="13"/>
                  </a:cubicBezTo>
                  <a:cubicBezTo>
                    <a:pt x="33" y="16"/>
                    <a:pt x="26" y="15"/>
                    <a:pt x="27" y="21"/>
                  </a:cubicBezTo>
                  <a:cubicBezTo>
                    <a:pt x="27" y="24"/>
                    <a:pt x="28" y="25"/>
                    <a:pt x="30" y="25"/>
                  </a:cubicBezTo>
                  <a:cubicBezTo>
                    <a:pt x="32" y="25"/>
                    <a:pt x="33" y="25"/>
                    <a:pt x="34" y="25"/>
                  </a:cubicBezTo>
                  <a:cubicBezTo>
                    <a:pt x="36" y="24"/>
                    <a:pt x="37" y="24"/>
                    <a:pt x="38" y="24"/>
                  </a:cubicBezTo>
                  <a:cubicBezTo>
                    <a:pt x="38" y="24"/>
                    <a:pt x="39" y="24"/>
                    <a:pt x="39" y="24"/>
                  </a:cubicBezTo>
                  <a:cubicBezTo>
                    <a:pt x="37" y="26"/>
                    <a:pt x="31" y="29"/>
                    <a:pt x="35" y="32"/>
                  </a:cubicBezTo>
                  <a:cubicBezTo>
                    <a:pt x="38" y="34"/>
                    <a:pt x="39" y="34"/>
                    <a:pt x="41" y="34"/>
                  </a:cubicBezTo>
                  <a:cubicBezTo>
                    <a:pt x="42" y="34"/>
                    <a:pt x="43" y="34"/>
                    <a:pt x="44" y="34"/>
                  </a:cubicBezTo>
                  <a:cubicBezTo>
                    <a:pt x="45" y="34"/>
                    <a:pt x="46" y="34"/>
                    <a:pt x="48" y="34"/>
                  </a:cubicBezTo>
                  <a:cubicBezTo>
                    <a:pt x="48" y="34"/>
                    <a:pt x="48" y="34"/>
                    <a:pt x="48" y="34"/>
                  </a:cubicBezTo>
                  <a:cubicBezTo>
                    <a:pt x="46" y="35"/>
                    <a:pt x="45" y="35"/>
                    <a:pt x="43" y="35"/>
                  </a:cubicBezTo>
                  <a:cubicBezTo>
                    <a:pt x="39" y="35"/>
                    <a:pt x="36" y="33"/>
                    <a:pt x="32" y="32"/>
                  </a:cubicBezTo>
                  <a:cubicBezTo>
                    <a:pt x="31" y="31"/>
                    <a:pt x="28" y="29"/>
                    <a:pt x="25" y="29"/>
                  </a:cubicBezTo>
                  <a:cubicBezTo>
                    <a:pt x="24" y="29"/>
                    <a:pt x="24" y="29"/>
                    <a:pt x="23" y="30"/>
                  </a:cubicBezTo>
                  <a:cubicBezTo>
                    <a:pt x="23" y="30"/>
                    <a:pt x="23" y="30"/>
                    <a:pt x="23" y="30"/>
                  </a:cubicBezTo>
                  <a:cubicBezTo>
                    <a:pt x="23" y="30"/>
                    <a:pt x="23" y="30"/>
                    <a:pt x="23" y="30"/>
                  </a:cubicBezTo>
                  <a:cubicBezTo>
                    <a:pt x="21" y="30"/>
                    <a:pt x="18" y="30"/>
                    <a:pt x="16" y="32"/>
                  </a:cubicBezTo>
                  <a:cubicBezTo>
                    <a:pt x="17" y="33"/>
                    <a:pt x="19" y="33"/>
                    <a:pt x="21" y="35"/>
                  </a:cubicBezTo>
                  <a:cubicBezTo>
                    <a:pt x="16" y="36"/>
                    <a:pt x="21" y="37"/>
                    <a:pt x="23" y="39"/>
                  </a:cubicBezTo>
                  <a:cubicBezTo>
                    <a:pt x="22" y="39"/>
                    <a:pt x="22" y="39"/>
                    <a:pt x="22" y="39"/>
                  </a:cubicBezTo>
                  <a:cubicBezTo>
                    <a:pt x="20" y="39"/>
                    <a:pt x="19" y="38"/>
                    <a:pt x="17" y="38"/>
                  </a:cubicBezTo>
                  <a:cubicBezTo>
                    <a:pt x="16" y="38"/>
                    <a:pt x="15" y="37"/>
                    <a:pt x="13" y="37"/>
                  </a:cubicBezTo>
                  <a:cubicBezTo>
                    <a:pt x="12" y="37"/>
                    <a:pt x="11" y="38"/>
                    <a:pt x="10" y="38"/>
                  </a:cubicBezTo>
                  <a:cubicBezTo>
                    <a:pt x="11" y="40"/>
                    <a:pt x="0" y="41"/>
                    <a:pt x="4" y="44"/>
                  </a:cubicBezTo>
                  <a:cubicBezTo>
                    <a:pt x="6" y="46"/>
                    <a:pt x="7" y="48"/>
                    <a:pt x="9" y="48"/>
                  </a:cubicBezTo>
                  <a:cubicBezTo>
                    <a:pt x="10" y="48"/>
                    <a:pt x="10" y="48"/>
                    <a:pt x="10" y="48"/>
                  </a:cubicBezTo>
                  <a:cubicBezTo>
                    <a:pt x="13" y="48"/>
                    <a:pt x="15" y="46"/>
                    <a:pt x="18" y="46"/>
                  </a:cubicBezTo>
                  <a:cubicBezTo>
                    <a:pt x="18" y="46"/>
                    <a:pt x="18" y="46"/>
                    <a:pt x="18" y="46"/>
                  </a:cubicBezTo>
                  <a:cubicBezTo>
                    <a:pt x="20" y="46"/>
                    <a:pt x="21" y="46"/>
                    <a:pt x="22" y="46"/>
                  </a:cubicBezTo>
                  <a:cubicBezTo>
                    <a:pt x="22" y="46"/>
                    <a:pt x="22" y="46"/>
                    <a:pt x="22" y="46"/>
                  </a:cubicBezTo>
                  <a:cubicBezTo>
                    <a:pt x="22" y="46"/>
                    <a:pt x="23" y="46"/>
                    <a:pt x="23" y="45"/>
                  </a:cubicBezTo>
                  <a:cubicBezTo>
                    <a:pt x="23" y="46"/>
                    <a:pt x="23" y="46"/>
                    <a:pt x="23" y="46"/>
                  </a:cubicBezTo>
                  <a:cubicBezTo>
                    <a:pt x="27" y="45"/>
                    <a:pt x="32" y="43"/>
                    <a:pt x="36" y="43"/>
                  </a:cubicBezTo>
                  <a:cubicBezTo>
                    <a:pt x="36" y="43"/>
                    <a:pt x="36" y="43"/>
                    <a:pt x="36" y="43"/>
                  </a:cubicBezTo>
                  <a:cubicBezTo>
                    <a:pt x="37" y="43"/>
                    <a:pt x="37" y="44"/>
                    <a:pt x="37" y="44"/>
                  </a:cubicBezTo>
                  <a:cubicBezTo>
                    <a:pt x="37" y="44"/>
                    <a:pt x="37" y="44"/>
                    <a:pt x="37" y="44"/>
                  </a:cubicBezTo>
                  <a:cubicBezTo>
                    <a:pt x="38" y="44"/>
                    <a:pt x="38" y="44"/>
                    <a:pt x="38" y="44"/>
                  </a:cubicBezTo>
                  <a:cubicBezTo>
                    <a:pt x="38" y="44"/>
                    <a:pt x="39" y="44"/>
                    <a:pt x="39" y="44"/>
                  </a:cubicBezTo>
                  <a:cubicBezTo>
                    <a:pt x="39" y="44"/>
                    <a:pt x="39" y="44"/>
                    <a:pt x="39" y="44"/>
                  </a:cubicBezTo>
                  <a:cubicBezTo>
                    <a:pt x="39" y="44"/>
                    <a:pt x="39" y="44"/>
                    <a:pt x="39" y="44"/>
                  </a:cubicBezTo>
                  <a:cubicBezTo>
                    <a:pt x="40" y="44"/>
                    <a:pt x="41" y="44"/>
                    <a:pt x="42" y="44"/>
                  </a:cubicBezTo>
                  <a:cubicBezTo>
                    <a:pt x="45" y="43"/>
                    <a:pt x="46" y="43"/>
                    <a:pt x="49" y="43"/>
                  </a:cubicBezTo>
                  <a:cubicBezTo>
                    <a:pt x="54" y="42"/>
                    <a:pt x="58" y="42"/>
                    <a:pt x="62" y="41"/>
                  </a:cubicBezTo>
                  <a:cubicBezTo>
                    <a:pt x="67" y="41"/>
                    <a:pt x="71" y="40"/>
                    <a:pt x="75" y="39"/>
                  </a:cubicBezTo>
                  <a:cubicBezTo>
                    <a:pt x="76" y="39"/>
                    <a:pt x="76" y="39"/>
                    <a:pt x="77" y="39"/>
                  </a:cubicBezTo>
                  <a:cubicBezTo>
                    <a:pt x="78" y="39"/>
                    <a:pt x="78" y="39"/>
                    <a:pt x="79" y="39"/>
                  </a:cubicBezTo>
                  <a:cubicBezTo>
                    <a:pt x="78" y="40"/>
                    <a:pt x="78" y="40"/>
                    <a:pt x="78" y="40"/>
                  </a:cubicBezTo>
                  <a:cubicBezTo>
                    <a:pt x="78" y="40"/>
                    <a:pt x="79" y="40"/>
                    <a:pt x="79" y="40"/>
                  </a:cubicBezTo>
                  <a:cubicBezTo>
                    <a:pt x="81" y="40"/>
                    <a:pt x="83" y="40"/>
                    <a:pt x="85" y="39"/>
                  </a:cubicBezTo>
                  <a:cubicBezTo>
                    <a:pt x="87" y="39"/>
                    <a:pt x="89" y="38"/>
                    <a:pt x="91" y="38"/>
                  </a:cubicBezTo>
                  <a:cubicBezTo>
                    <a:pt x="93" y="38"/>
                    <a:pt x="94" y="38"/>
                    <a:pt x="95" y="39"/>
                  </a:cubicBezTo>
                  <a:cubicBezTo>
                    <a:pt x="93" y="40"/>
                    <a:pt x="92" y="40"/>
                    <a:pt x="90" y="40"/>
                  </a:cubicBezTo>
                  <a:cubicBezTo>
                    <a:pt x="89" y="40"/>
                    <a:pt x="88" y="40"/>
                    <a:pt x="87" y="40"/>
                  </a:cubicBezTo>
                  <a:cubicBezTo>
                    <a:pt x="87" y="40"/>
                    <a:pt x="86" y="40"/>
                    <a:pt x="85" y="40"/>
                  </a:cubicBezTo>
                  <a:cubicBezTo>
                    <a:pt x="85" y="40"/>
                    <a:pt x="84" y="40"/>
                    <a:pt x="83" y="40"/>
                  </a:cubicBezTo>
                  <a:cubicBezTo>
                    <a:pt x="81" y="40"/>
                    <a:pt x="79" y="40"/>
                    <a:pt x="77" y="40"/>
                  </a:cubicBezTo>
                  <a:cubicBezTo>
                    <a:pt x="76" y="41"/>
                    <a:pt x="75" y="40"/>
                    <a:pt x="74" y="41"/>
                  </a:cubicBezTo>
                  <a:cubicBezTo>
                    <a:pt x="72" y="43"/>
                    <a:pt x="75" y="43"/>
                    <a:pt x="77" y="43"/>
                  </a:cubicBezTo>
                  <a:cubicBezTo>
                    <a:pt x="76" y="45"/>
                    <a:pt x="71" y="45"/>
                    <a:pt x="69" y="46"/>
                  </a:cubicBezTo>
                  <a:cubicBezTo>
                    <a:pt x="70" y="46"/>
                    <a:pt x="72" y="46"/>
                    <a:pt x="73" y="46"/>
                  </a:cubicBezTo>
                  <a:cubicBezTo>
                    <a:pt x="70" y="47"/>
                    <a:pt x="67" y="47"/>
                    <a:pt x="64" y="47"/>
                  </a:cubicBezTo>
                  <a:cubicBezTo>
                    <a:pt x="66" y="48"/>
                    <a:pt x="68" y="48"/>
                    <a:pt x="70" y="48"/>
                  </a:cubicBezTo>
                  <a:cubicBezTo>
                    <a:pt x="68" y="49"/>
                    <a:pt x="65" y="49"/>
                    <a:pt x="63" y="49"/>
                  </a:cubicBezTo>
                  <a:cubicBezTo>
                    <a:pt x="65" y="50"/>
                    <a:pt x="67" y="49"/>
                    <a:pt x="69" y="50"/>
                  </a:cubicBezTo>
                  <a:cubicBezTo>
                    <a:pt x="67" y="51"/>
                    <a:pt x="66" y="51"/>
                    <a:pt x="64" y="51"/>
                  </a:cubicBezTo>
                  <a:cubicBezTo>
                    <a:pt x="63" y="51"/>
                    <a:pt x="63" y="51"/>
                    <a:pt x="62" y="51"/>
                  </a:cubicBezTo>
                  <a:cubicBezTo>
                    <a:pt x="62" y="51"/>
                    <a:pt x="62" y="51"/>
                    <a:pt x="61" y="51"/>
                  </a:cubicBezTo>
                  <a:cubicBezTo>
                    <a:pt x="61" y="51"/>
                    <a:pt x="60" y="51"/>
                    <a:pt x="60" y="51"/>
                  </a:cubicBezTo>
                  <a:cubicBezTo>
                    <a:pt x="58" y="51"/>
                    <a:pt x="55" y="50"/>
                    <a:pt x="58" y="53"/>
                  </a:cubicBezTo>
                  <a:cubicBezTo>
                    <a:pt x="61" y="55"/>
                    <a:pt x="54" y="55"/>
                    <a:pt x="52" y="55"/>
                  </a:cubicBezTo>
                  <a:cubicBezTo>
                    <a:pt x="54" y="55"/>
                    <a:pt x="54" y="57"/>
                    <a:pt x="56" y="57"/>
                  </a:cubicBezTo>
                  <a:cubicBezTo>
                    <a:pt x="57" y="58"/>
                    <a:pt x="57" y="58"/>
                    <a:pt x="58" y="58"/>
                  </a:cubicBezTo>
                  <a:cubicBezTo>
                    <a:pt x="58" y="58"/>
                    <a:pt x="59" y="58"/>
                    <a:pt x="60" y="57"/>
                  </a:cubicBezTo>
                  <a:cubicBezTo>
                    <a:pt x="61" y="57"/>
                    <a:pt x="61" y="57"/>
                    <a:pt x="62" y="57"/>
                  </a:cubicBezTo>
                  <a:cubicBezTo>
                    <a:pt x="62" y="57"/>
                    <a:pt x="63" y="57"/>
                    <a:pt x="63" y="57"/>
                  </a:cubicBezTo>
                  <a:cubicBezTo>
                    <a:pt x="57" y="61"/>
                    <a:pt x="67" y="60"/>
                    <a:pt x="70" y="61"/>
                  </a:cubicBezTo>
                  <a:cubicBezTo>
                    <a:pt x="66" y="61"/>
                    <a:pt x="61" y="61"/>
                    <a:pt x="57" y="63"/>
                  </a:cubicBezTo>
                  <a:cubicBezTo>
                    <a:pt x="61" y="63"/>
                    <a:pt x="59" y="67"/>
                    <a:pt x="60" y="70"/>
                  </a:cubicBezTo>
                  <a:cubicBezTo>
                    <a:pt x="61" y="71"/>
                    <a:pt x="65" y="72"/>
                    <a:pt x="67" y="72"/>
                  </a:cubicBezTo>
                  <a:cubicBezTo>
                    <a:pt x="69" y="72"/>
                    <a:pt x="71" y="72"/>
                    <a:pt x="74" y="72"/>
                  </a:cubicBezTo>
                  <a:cubicBezTo>
                    <a:pt x="75" y="72"/>
                    <a:pt x="76" y="73"/>
                    <a:pt x="78" y="73"/>
                  </a:cubicBezTo>
                  <a:cubicBezTo>
                    <a:pt x="78" y="73"/>
                    <a:pt x="78" y="73"/>
                    <a:pt x="79" y="73"/>
                  </a:cubicBezTo>
                  <a:cubicBezTo>
                    <a:pt x="81" y="72"/>
                    <a:pt x="84" y="67"/>
                    <a:pt x="86" y="66"/>
                  </a:cubicBezTo>
                  <a:cubicBezTo>
                    <a:pt x="86" y="66"/>
                    <a:pt x="86" y="67"/>
                    <a:pt x="85" y="68"/>
                  </a:cubicBezTo>
                  <a:cubicBezTo>
                    <a:pt x="92" y="68"/>
                    <a:pt x="99" y="69"/>
                    <a:pt x="106" y="70"/>
                  </a:cubicBezTo>
                  <a:cubicBezTo>
                    <a:pt x="108" y="70"/>
                    <a:pt x="111" y="71"/>
                    <a:pt x="114" y="71"/>
                  </a:cubicBezTo>
                  <a:cubicBezTo>
                    <a:pt x="116" y="71"/>
                    <a:pt x="117" y="70"/>
                    <a:pt x="117" y="68"/>
                  </a:cubicBezTo>
                  <a:cubicBezTo>
                    <a:pt x="117" y="67"/>
                    <a:pt x="111" y="63"/>
                    <a:pt x="114" y="61"/>
                  </a:cubicBezTo>
                  <a:cubicBezTo>
                    <a:pt x="114" y="61"/>
                    <a:pt x="114" y="61"/>
                    <a:pt x="114" y="61"/>
                  </a:cubicBezTo>
                  <a:cubicBezTo>
                    <a:pt x="115" y="61"/>
                    <a:pt x="118" y="64"/>
                    <a:pt x="119" y="64"/>
                  </a:cubicBezTo>
                  <a:cubicBezTo>
                    <a:pt x="120" y="64"/>
                    <a:pt x="122" y="65"/>
                    <a:pt x="124" y="65"/>
                  </a:cubicBezTo>
                  <a:cubicBezTo>
                    <a:pt x="125" y="65"/>
                    <a:pt x="125" y="65"/>
                    <a:pt x="126" y="65"/>
                  </a:cubicBezTo>
                  <a:cubicBezTo>
                    <a:pt x="123" y="65"/>
                    <a:pt x="124" y="62"/>
                    <a:pt x="122" y="62"/>
                  </a:cubicBezTo>
                  <a:cubicBezTo>
                    <a:pt x="122" y="62"/>
                    <a:pt x="122" y="62"/>
                    <a:pt x="121" y="63"/>
                  </a:cubicBezTo>
                  <a:cubicBezTo>
                    <a:pt x="125" y="59"/>
                    <a:pt x="112" y="59"/>
                    <a:pt x="118" y="57"/>
                  </a:cubicBezTo>
                  <a:cubicBezTo>
                    <a:pt x="117" y="57"/>
                    <a:pt x="116" y="58"/>
                    <a:pt x="115" y="58"/>
                  </a:cubicBezTo>
                  <a:cubicBezTo>
                    <a:pt x="116" y="56"/>
                    <a:pt x="119" y="54"/>
                    <a:pt x="121" y="52"/>
                  </a:cubicBezTo>
                  <a:cubicBezTo>
                    <a:pt x="120" y="51"/>
                    <a:pt x="121" y="46"/>
                    <a:pt x="122" y="45"/>
                  </a:cubicBezTo>
                  <a:cubicBezTo>
                    <a:pt x="122" y="45"/>
                    <a:pt x="122" y="45"/>
                    <a:pt x="122" y="45"/>
                  </a:cubicBezTo>
                  <a:cubicBezTo>
                    <a:pt x="123" y="45"/>
                    <a:pt x="125" y="47"/>
                    <a:pt x="125" y="47"/>
                  </a:cubicBezTo>
                  <a:cubicBezTo>
                    <a:pt x="128" y="49"/>
                    <a:pt x="129" y="50"/>
                    <a:pt x="131" y="52"/>
                  </a:cubicBezTo>
                  <a:cubicBezTo>
                    <a:pt x="127" y="49"/>
                    <a:pt x="133" y="40"/>
                    <a:pt x="129" y="39"/>
                  </a:cubicBezTo>
                  <a:cubicBezTo>
                    <a:pt x="125" y="38"/>
                    <a:pt x="124" y="39"/>
                    <a:pt x="125" y="33"/>
                  </a:cubicBezTo>
                  <a:cubicBezTo>
                    <a:pt x="126" y="30"/>
                    <a:pt x="125" y="30"/>
                    <a:pt x="124" y="28"/>
                  </a:cubicBezTo>
                  <a:cubicBezTo>
                    <a:pt x="124" y="26"/>
                    <a:pt x="126" y="22"/>
                    <a:pt x="127" y="20"/>
                  </a:cubicBezTo>
                  <a:cubicBezTo>
                    <a:pt x="128" y="17"/>
                    <a:pt x="128" y="14"/>
                    <a:pt x="125" y="13"/>
                  </a:cubicBezTo>
                  <a:cubicBezTo>
                    <a:pt x="120" y="11"/>
                    <a:pt x="124" y="7"/>
                    <a:pt x="123" y="3"/>
                  </a:cubicBezTo>
                  <a:cubicBezTo>
                    <a:pt x="123" y="1"/>
                    <a:pt x="122" y="0"/>
                    <a:pt x="1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84"/>
            <p:cNvSpPr/>
            <p:nvPr/>
          </p:nvSpPr>
          <p:spPr bwMode="auto">
            <a:xfrm>
              <a:off x="7032616" y="618359"/>
              <a:ext cx="3175" cy="3175"/>
            </a:xfrm>
            <a:custGeom>
              <a:gdLst>
                <a:gd name="T0" fmla="*/ 1 w 1"/>
                <a:gd name="T1" fmla="*/ 0 h 1"/>
                <a:gd name="T2" fmla="*/ 1 w 1"/>
                <a:gd name="T3" fmla="*/ 1 h 1"/>
                <a:gd name="T4" fmla="*/ 1 w 1"/>
                <a:gd name="T5" fmla="*/ 1 h 1"/>
                <a:gd name="T6" fmla="*/ 1 w 1"/>
                <a:gd name="T7" fmla="*/ 0 h 1"/>
                <a:gd name="T8" fmla="*/ 1 w 1"/>
                <a:gd name="T9" fmla="*/ 0 h 1"/>
              </a:gdLst>
              <a:cxnLst>
                <a:cxn ang="0">
                  <a:pos x="T0" y="T1"/>
                </a:cxn>
                <a:cxn ang="0">
                  <a:pos x="T2" y="T3"/>
                </a:cxn>
                <a:cxn ang="0">
                  <a:pos x="T4" y="T5"/>
                </a:cxn>
                <a:cxn ang="0">
                  <a:pos x="T6" y="T7"/>
                </a:cxn>
                <a:cxn ang="0">
                  <a:pos x="T8" y="T9"/>
                </a:cxn>
              </a:cxnLst>
              <a:rect l="0" t="0" r="r" b="b"/>
              <a:pathLst>
                <a:path w="1" h="1">
                  <a:moveTo>
                    <a:pt x="1" y="0"/>
                  </a:moveTo>
                  <a:cubicBezTo>
                    <a:pt x="0" y="1"/>
                    <a:pt x="0" y="1"/>
                    <a:pt x="1" y="1"/>
                  </a:cubicBezTo>
                  <a:cubicBezTo>
                    <a:pt x="1" y="1"/>
                    <a:pt x="1" y="1"/>
                    <a:pt x="1" y="1"/>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5"/>
            <p:cNvSpPr/>
            <p:nvPr/>
          </p:nvSpPr>
          <p:spPr bwMode="auto">
            <a:xfrm>
              <a:off x="6969116" y="1050159"/>
              <a:ext cx="566738" cy="439738"/>
            </a:xfrm>
            <a:custGeom>
              <a:gdLst>
                <a:gd name="T0" fmla="*/ 59 w 151"/>
                <a:gd name="T1" fmla="*/ 5 h 117"/>
                <a:gd name="T2" fmla="*/ 67 w 151"/>
                <a:gd name="T3" fmla="*/ 2 h 117"/>
                <a:gd name="T4" fmla="*/ 63 w 151"/>
                <a:gd name="T5" fmla="*/ 7 h 117"/>
                <a:gd name="T6" fmla="*/ 52 w 151"/>
                <a:gd name="T7" fmla="*/ 4 h 117"/>
                <a:gd name="T8" fmla="*/ 45 w 151"/>
                <a:gd name="T9" fmla="*/ 6 h 117"/>
                <a:gd name="T10" fmla="*/ 41 w 151"/>
                <a:gd name="T11" fmla="*/ 9 h 117"/>
                <a:gd name="T12" fmla="*/ 41 w 151"/>
                <a:gd name="T13" fmla="*/ 12 h 117"/>
                <a:gd name="T14" fmla="*/ 48 w 151"/>
                <a:gd name="T15" fmla="*/ 15 h 117"/>
                <a:gd name="T16" fmla="*/ 50 w 151"/>
                <a:gd name="T17" fmla="*/ 22 h 117"/>
                <a:gd name="T18" fmla="*/ 38 w 151"/>
                <a:gd name="T19" fmla="*/ 15 h 117"/>
                <a:gd name="T20" fmla="*/ 29 w 151"/>
                <a:gd name="T21" fmla="*/ 22 h 117"/>
                <a:gd name="T22" fmla="*/ 50 w 151"/>
                <a:gd name="T23" fmla="*/ 30 h 117"/>
                <a:gd name="T24" fmla="*/ 58 w 151"/>
                <a:gd name="T25" fmla="*/ 26 h 117"/>
                <a:gd name="T26" fmla="*/ 67 w 151"/>
                <a:gd name="T27" fmla="*/ 34 h 117"/>
                <a:gd name="T28" fmla="*/ 54 w 151"/>
                <a:gd name="T29" fmla="*/ 31 h 117"/>
                <a:gd name="T30" fmla="*/ 54 w 151"/>
                <a:gd name="T31" fmla="*/ 38 h 117"/>
                <a:gd name="T32" fmla="*/ 59 w 151"/>
                <a:gd name="T33" fmla="*/ 36 h 117"/>
                <a:gd name="T34" fmla="*/ 61 w 151"/>
                <a:gd name="T35" fmla="*/ 47 h 117"/>
                <a:gd name="T36" fmla="*/ 58 w 151"/>
                <a:gd name="T37" fmla="*/ 45 h 117"/>
                <a:gd name="T38" fmla="*/ 55 w 151"/>
                <a:gd name="T39" fmla="*/ 46 h 117"/>
                <a:gd name="T40" fmla="*/ 46 w 151"/>
                <a:gd name="T41" fmla="*/ 53 h 117"/>
                <a:gd name="T42" fmla="*/ 43 w 151"/>
                <a:gd name="T43" fmla="*/ 56 h 117"/>
                <a:gd name="T44" fmla="*/ 27 w 151"/>
                <a:gd name="T45" fmla="*/ 44 h 117"/>
                <a:gd name="T46" fmla="*/ 18 w 151"/>
                <a:gd name="T47" fmla="*/ 39 h 117"/>
                <a:gd name="T48" fmla="*/ 11 w 151"/>
                <a:gd name="T49" fmla="*/ 39 h 117"/>
                <a:gd name="T50" fmla="*/ 3 w 151"/>
                <a:gd name="T51" fmla="*/ 48 h 117"/>
                <a:gd name="T52" fmla="*/ 18 w 151"/>
                <a:gd name="T53" fmla="*/ 64 h 117"/>
                <a:gd name="T54" fmla="*/ 25 w 151"/>
                <a:gd name="T55" fmla="*/ 73 h 117"/>
                <a:gd name="T56" fmla="*/ 28 w 151"/>
                <a:gd name="T57" fmla="*/ 73 h 117"/>
                <a:gd name="T58" fmla="*/ 36 w 151"/>
                <a:gd name="T59" fmla="*/ 71 h 117"/>
                <a:gd name="T60" fmla="*/ 44 w 151"/>
                <a:gd name="T61" fmla="*/ 77 h 117"/>
                <a:gd name="T62" fmla="*/ 65 w 151"/>
                <a:gd name="T63" fmla="*/ 92 h 117"/>
                <a:gd name="T64" fmla="*/ 74 w 151"/>
                <a:gd name="T65" fmla="*/ 100 h 117"/>
                <a:gd name="T66" fmla="*/ 78 w 151"/>
                <a:gd name="T67" fmla="*/ 106 h 117"/>
                <a:gd name="T68" fmla="*/ 86 w 151"/>
                <a:gd name="T69" fmla="*/ 113 h 117"/>
                <a:gd name="T70" fmla="*/ 93 w 151"/>
                <a:gd name="T71" fmla="*/ 117 h 117"/>
                <a:gd name="T72" fmla="*/ 110 w 151"/>
                <a:gd name="T73" fmla="*/ 106 h 117"/>
                <a:gd name="T74" fmla="*/ 104 w 151"/>
                <a:gd name="T75" fmla="*/ 99 h 117"/>
                <a:gd name="T76" fmla="*/ 104 w 151"/>
                <a:gd name="T77" fmla="*/ 92 h 117"/>
                <a:gd name="T78" fmla="*/ 105 w 151"/>
                <a:gd name="T79" fmla="*/ 92 h 117"/>
                <a:gd name="T80" fmla="*/ 110 w 151"/>
                <a:gd name="T81" fmla="*/ 101 h 117"/>
                <a:gd name="T82" fmla="*/ 115 w 151"/>
                <a:gd name="T83" fmla="*/ 101 h 117"/>
                <a:gd name="T84" fmla="*/ 143 w 151"/>
                <a:gd name="T85" fmla="*/ 91 h 117"/>
                <a:gd name="T86" fmla="*/ 143 w 151"/>
                <a:gd name="T87" fmla="*/ 85 h 117"/>
                <a:gd name="T88" fmla="*/ 143 w 151"/>
                <a:gd name="T89" fmla="*/ 74 h 117"/>
                <a:gd name="T90" fmla="*/ 147 w 151"/>
                <a:gd name="T91" fmla="*/ 69 h 117"/>
                <a:gd name="T92" fmla="*/ 144 w 151"/>
                <a:gd name="T93" fmla="*/ 53 h 117"/>
                <a:gd name="T94" fmla="*/ 132 w 151"/>
                <a:gd name="T95" fmla="*/ 52 h 117"/>
                <a:gd name="T96" fmla="*/ 120 w 151"/>
                <a:gd name="T97" fmla="*/ 41 h 117"/>
                <a:gd name="T98" fmla="*/ 101 w 151"/>
                <a:gd name="T99" fmla="*/ 48 h 117"/>
                <a:gd name="T100" fmla="*/ 109 w 151"/>
                <a:gd name="T101" fmla="*/ 36 h 117"/>
                <a:gd name="T102" fmla="*/ 130 w 151"/>
                <a:gd name="T103" fmla="*/ 22 h 117"/>
                <a:gd name="T104" fmla="*/ 127 w 151"/>
                <a:gd name="T105" fmla="*/ 21 h 117"/>
                <a:gd name="T106" fmla="*/ 123 w 151"/>
                <a:gd name="T107" fmla="*/ 20 h 117"/>
                <a:gd name="T108" fmla="*/ 120 w 151"/>
                <a:gd name="T109" fmla="*/ 19 h 117"/>
                <a:gd name="T110" fmla="*/ 121 w 151"/>
                <a:gd name="T111" fmla="*/ 19 h 117"/>
                <a:gd name="T112" fmla="*/ 125 w 151"/>
                <a:gd name="T113" fmla="*/ 17 h 117"/>
                <a:gd name="T114" fmla="*/ 126 w 151"/>
                <a:gd name="T115" fmla="*/ 3 h 117"/>
                <a:gd name="T116" fmla="*/ 116 w 151"/>
                <a:gd name="T117" fmla="*/ 1 h 117"/>
                <a:gd name="T118" fmla="*/ 99 w 151"/>
                <a:gd name="T119" fmla="*/ 7 h 117"/>
                <a:gd name="T120" fmla="*/ 89 w 151"/>
                <a:gd name="T121" fmla="*/ 9 h 117"/>
                <a:gd name="T122" fmla="*/ 84 w 151"/>
                <a:gd name="T123" fmla="*/ 10 h 117"/>
                <a:gd name="T124" fmla="*/ 74 w 151"/>
                <a:gd name="T125" fmla="*/ 5 h 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1" h="117">
                  <a:moveTo>
                    <a:pt x="66" y="0"/>
                  </a:moveTo>
                  <a:cubicBezTo>
                    <a:pt x="65" y="0"/>
                    <a:pt x="63" y="0"/>
                    <a:pt x="62" y="0"/>
                  </a:cubicBezTo>
                  <a:cubicBezTo>
                    <a:pt x="61" y="0"/>
                    <a:pt x="56" y="4"/>
                    <a:pt x="59" y="5"/>
                  </a:cubicBezTo>
                  <a:cubicBezTo>
                    <a:pt x="60" y="5"/>
                    <a:pt x="61" y="5"/>
                    <a:pt x="61" y="5"/>
                  </a:cubicBezTo>
                  <a:cubicBezTo>
                    <a:pt x="63" y="5"/>
                    <a:pt x="64" y="5"/>
                    <a:pt x="65" y="4"/>
                  </a:cubicBezTo>
                  <a:cubicBezTo>
                    <a:pt x="65" y="3"/>
                    <a:pt x="67" y="2"/>
                    <a:pt x="67" y="2"/>
                  </a:cubicBezTo>
                  <a:cubicBezTo>
                    <a:pt x="68" y="2"/>
                    <a:pt x="68" y="3"/>
                    <a:pt x="68" y="3"/>
                  </a:cubicBezTo>
                  <a:cubicBezTo>
                    <a:pt x="68" y="5"/>
                    <a:pt x="66" y="5"/>
                    <a:pt x="66" y="6"/>
                  </a:cubicBezTo>
                  <a:cubicBezTo>
                    <a:pt x="64" y="7"/>
                    <a:pt x="64" y="7"/>
                    <a:pt x="63" y="7"/>
                  </a:cubicBezTo>
                  <a:cubicBezTo>
                    <a:pt x="63" y="7"/>
                    <a:pt x="62" y="7"/>
                    <a:pt x="60" y="6"/>
                  </a:cubicBezTo>
                  <a:cubicBezTo>
                    <a:pt x="58" y="6"/>
                    <a:pt x="56" y="5"/>
                    <a:pt x="53" y="4"/>
                  </a:cubicBezTo>
                  <a:cubicBezTo>
                    <a:pt x="53" y="4"/>
                    <a:pt x="53" y="4"/>
                    <a:pt x="52" y="4"/>
                  </a:cubicBezTo>
                  <a:cubicBezTo>
                    <a:pt x="50" y="4"/>
                    <a:pt x="49" y="5"/>
                    <a:pt x="47" y="6"/>
                  </a:cubicBezTo>
                  <a:cubicBezTo>
                    <a:pt x="47" y="6"/>
                    <a:pt x="47" y="6"/>
                    <a:pt x="46" y="6"/>
                  </a:cubicBezTo>
                  <a:cubicBezTo>
                    <a:pt x="46" y="6"/>
                    <a:pt x="45" y="6"/>
                    <a:pt x="45" y="6"/>
                  </a:cubicBezTo>
                  <a:cubicBezTo>
                    <a:pt x="44" y="5"/>
                    <a:pt x="44" y="5"/>
                    <a:pt x="43" y="5"/>
                  </a:cubicBezTo>
                  <a:cubicBezTo>
                    <a:pt x="43" y="5"/>
                    <a:pt x="42" y="6"/>
                    <a:pt x="41" y="6"/>
                  </a:cubicBezTo>
                  <a:cubicBezTo>
                    <a:pt x="41" y="9"/>
                    <a:pt x="41" y="9"/>
                    <a:pt x="41" y="9"/>
                  </a:cubicBezTo>
                  <a:cubicBezTo>
                    <a:pt x="40" y="10"/>
                    <a:pt x="39" y="9"/>
                    <a:pt x="40" y="11"/>
                  </a:cubicBezTo>
                  <a:cubicBezTo>
                    <a:pt x="40" y="12"/>
                    <a:pt x="40" y="12"/>
                    <a:pt x="40" y="12"/>
                  </a:cubicBezTo>
                  <a:cubicBezTo>
                    <a:pt x="41" y="12"/>
                    <a:pt x="41" y="12"/>
                    <a:pt x="41" y="12"/>
                  </a:cubicBezTo>
                  <a:cubicBezTo>
                    <a:pt x="41" y="12"/>
                    <a:pt x="41" y="12"/>
                    <a:pt x="41" y="12"/>
                  </a:cubicBezTo>
                  <a:cubicBezTo>
                    <a:pt x="41" y="12"/>
                    <a:pt x="41" y="12"/>
                    <a:pt x="41" y="12"/>
                  </a:cubicBezTo>
                  <a:cubicBezTo>
                    <a:pt x="44" y="14"/>
                    <a:pt x="45" y="14"/>
                    <a:pt x="48" y="15"/>
                  </a:cubicBezTo>
                  <a:cubicBezTo>
                    <a:pt x="54" y="15"/>
                    <a:pt x="50" y="18"/>
                    <a:pt x="53" y="21"/>
                  </a:cubicBezTo>
                  <a:cubicBezTo>
                    <a:pt x="54" y="23"/>
                    <a:pt x="55" y="24"/>
                    <a:pt x="54" y="24"/>
                  </a:cubicBezTo>
                  <a:cubicBezTo>
                    <a:pt x="53" y="24"/>
                    <a:pt x="52" y="23"/>
                    <a:pt x="50" y="22"/>
                  </a:cubicBezTo>
                  <a:cubicBezTo>
                    <a:pt x="48" y="21"/>
                    <a:pt x="46" y="16"/>
                    <a:pt x="43" y="15"/>
                  </a:cubicBezTo>
                  <a:cubicBezTo>
                    <a:pt x="43" y="15"/>
                    <a:pt x="40" y="15"/>
                    <a:pt x="39" y="15"/>
                  </a:cubicBezTo>
                  <a:cubicBezTo>
                    <a:pt x="38" y="15"/>
                    <a:pt x="38" y="15"/>
                    <a:pt x="38" y="15"/>
                  </a:cubicBezTo>
                  <a:cubicBezTo>
                    <a:pt x="36" y="15"/>
                    <a:pt x="36" y="16"/>
                    <a:pt x="35" y="17"/>
                  </a:cubicBezTo>
                  <a:cubicBezTo>
                    <a:pt x="34" y="17"/>
                    <a:pt x="33" y="17"/>
                    <a:pt x="32" y="17"/>
                  </a:cubicBezTo>
                  <a:cubicBezTo>
                    <a:pt x="29" y="18"/>
                    <a:pt x="26" y="20"/>
                    <a:pt x="29" y="22"/>
                  </a:cubicBezTo>
                  <a:cubicBezTo>
                    <a:pt x="32" y="25"/>
                    <a:pt x="36" y="26"/>
                    <a:pt x="39" y="28"/>
                  </a:cubicBezTo>
                  <a:cubicBezTo>
                    <a:pt x="42" y="29"/>
                    <a:pt x="44" y="30"/>
                    <a:pt x="47" y="30"/>
                  </a:cubicBezTo>
                  <a:cubicBezTo>
                    <a:pt x="48" y="30"/>
                    <a:pt x="49" y="30"/>
                    <a:pt x="50" y="30"/>
                  </a:cubicBezTo>
                  <a:cubicBezTo>
                    <a:pt x="51" y="29"/>
                    <a:pt x="55" y="28"/>
                    <a:pt x="55" y="27"/>
                  </a:cubicBezTo>
                  <a:cubicBezTo>
                    <a:pt x="55" y="25"/>
                    <a:pt x="55" y="25"/>
                    <a:pt x="56" y="25"/>
                  </a:cubicBezTo>
                  <a:cubicBezTo>
                    <a:pt x="56" y="25"/>
                    <a:pt x="57" y="25"/>
                    <a:pt x="58" y="26"/>
                  </a:cubicBezTo>
                  <a:cubicBezTo>
                    <a:pt x="60" y="28"/>
                    <a:pt x="61" y="30"/>
                    <a:pt x="63" y="31"/>
                  </a:cubicBezTo>
                  <a:cubicBezTo>
                    <a:pt x="65" y="32"/>
                    <a:pt x="67" y="32"/>
                    <a:pt x="70" y="33"/>
                  </a:cubicBezTo>
                  <a:cubicBezTo>
                    <a:pt x="69" y="33"/>
                    <a:pt x="68" y="34"/>
                    <a:pt x="67" y="34"/>
                  </a:cubicBezTo>
                  <a:cubicBezTo>
                    <a:pt x="64" y="34"/>
                    <a:pt x="61" y="31"/>
                    <a:pt x="58" y="30"/>
                  </a:cubicBezTo>
                  <a:cubicBezTo>
                    <a:pt x="57" y="30"/>
                    <a:pt x="57" y="30"/>
                    <a:pt x="56" y="30"/>
                  </a:cubicBezTo>
                  <a:cubicBezTo>
                    <a:pt x="55" y="30"/>
                    <a:pt x="55" y="30"/>
                    <a:pt x="54" y="31"/>
                  </a:cubicBezTo>
                  <a:cubicBezTo>
                    <a:pt x="54" y="32"/>
                    <a:pt x="54" y="33"/>
                    <a:pt x="53" y="33"/>
                  </a:cubicBezTo>
                  <a:cubicBezTo>
                    <a:pt x="53" y="34"/>
                    <a:pt x="52" y="34"/>
                    <a:pt x="51" y="35"/>
                  </a:cubicBezTo>
                  <a:cubicBezTo>
                    <a:pt x="50" y="37"/>
                    <a:pt x="53" y="38"/>
                    <a:pt x="54" y="38"/>
                  </a:cubicBezTo>
                  <a:cubicBezTo>
                    <a:pt x="54" y="38"/>
                    <a:pt x="54" y="38"/>
                    <a:pt x="54" y="38"/>
                  </a:cubicBezTo>
                  <a:cubicBezTo>
                    <a:pt x="55" y="38"/>
                    <a:pt x="56" y="36"/>
                    <a:pt x="58" y="36"/>
                  </a:cubicBezTo>
                  <a:cubicBezTo>
                    <a:pt x="58" y="36"/>
                    <a:pt x="58" y="36"/>
                    <a:pt x="59" y="36"/>
                  </a:cubicBezTo>
                  <a:cubicBezTo>
                    <a:pt x="60" y="37"/>
                    <a:pt x="63" y="42"/>
                    <a:pt x="61" y="42"/>
                  </a:cubicBezTo>
                  <a:cubicBezTo>
                    <a:pt x="61" y="42"/>
                    <a:pt x="61" y="42"/>
                    <a:pt x="61" y="42"/>
                  </a:cubicBezTo>
                  <a:cubicBezTo>
                    <a:pt x="63" y="44"/>
                    <a:pt x="65" y="46"/>
                    <a:pt x="61" y="47"/>
                  </a:cubicBezTo>
                  <a:cubicBezTo>
                    <a:pt x="61" y="47"/>
                    <a:pt x="60" y="47"/>
                    <a:pt x="60" y="47"/>
                  </a:cubicBezTo>
                  <a:cubicBezTo>
                    <a:pt x="60" y="47"/>
                    <a:pt x="60" y="47"/>
                    <a:pt x="59" y="47"/>
                  </a:cubicBezTo>
                  <a:cubicBezTo>
                    <a:pt x="57" y="46"/>
                    <a:pt x="59" y="47"/>
                    <a:pt x="58" y="45"/>
                  </a:cubicBezTo>
                  <a:cubicBezTo>
                    <a:pt x="56" y="43"/>
                    <a:pt x="55" y="43"/>
                    <a:pt x="56" y="40"/>
                  </a:cubicBezTo>
                  <a:cubicBezTo>
                    <a:pt x="54" y="42"/>
                    <a:pt x="54" y="41"/>
                    <a:pt x="55" y="44"/>
                  </a:cubicBezTo>
                  <a:cubicBezTo>
                    <a:pt x="55" y="45"/>
                    <a:pt x="55" y="45"/>
                    <a:pt x="55" y="46"/>
                  </a:cubicBezTo>
                  <a:cubicBezTo>
                    <a:pt x="56" y="48"/>
                    <a:pt x="57" y="48"/>
                    <a:pt x="57" y="50"/>
                  </a:cubicBezTo>
                  <a:cubicBezTo>
                    <a:pt x="57" y="53"/>
                    <a:pt x="54" y="54"/>
                    <a:pt x="51" y="54"/>
                  </a:cubicBezTo>
                  <a:cubicBezTo>
                    <a:pt x="49" y="54"/>
                    <a:pt x="47" y="53"/>
                    <a:pt x="46" y="53"/>
                  </a:cubicBezTo>
                  <a:cubicBezTo>
                    <a:pt x="46" y="53"/>
                    <a:pt x="45" y="53"/>
                    <a:pt x="45" y="53"/>
                  </a:cubicBezTo>
                  <a:cubicBezTo>
                    <a:pt x="44" y="53"/>
                    <a:pt x="46" y="54"/>
                    <a:pt x="46" y="55"/>
                  </a:cubicBezTo>
                  <a:cubicBezTo>
                    <a:pt x="45" y="55"/>
                    <a:pt x="44" y="56"/>
                    <a:pt x="43" y="56"/>
                  </a:cubicBezTo>
                  <a:cubicBezTo>
                    <a:pt x="43" y="56"/>
                    <a:pt x="42" y="56"/>
                    <a:pt x="42" y="56"/>
                  </a:cubicBezTo>
                  <a:cubicBezTo>
                    <a:pt x="40" y="55"/>
                    <a:pt x="38" y="52"/>
                    <a:pt x="36" y="51"/>
                  </a:cubicBezTo>
                  <a:cubicBezTo>
                    <a:pt x="33" y="49"/>
                    <a:pt x="30" y="46"/>
                    <a:pt x="27" y="44"/>
                  </a:cubicBezTo>
                  <a:cubicBezTo>
                    <a:pt x="26" y="43"/>
                    <a:pt x="21" y="39"/>
                    <a:pt x="20" y="38"/>
                  </a:cubicBezTo>
                  <a:cubicBezTo>
                    <a:pt x="19" y="38"/>
                    <a:pt x="19" y="38"/>
                    <a:pt x="19" y="38"/>
                  </a:cubicBezTo>
                  <a:cubicBezTo>
                    <a:pt x="19" y="38"/>
                    <a:pt x="18" y="39"/>
                    <a:pt x="18" y="39"/>
                  </a:cubicBezTo>
                  <a:cubicBezTo>
                    <a:pt x="18" y="38"/>
                    <a:pt x="18" y="38"/>
                    <a:pt x="18" y="38"/>
                  </a:cubicBezTo>
                  <a:cubicBezTo>
                    <a:pt x="16" y="39"/>
                    <a:pt x="15" y="39"/>
                    <a:pt x="13" y="39"/>
                  </a:cubicBezTo>
                  <a:cubicBezTo>
                    <a:pt x="12" y="39"/>
                    <a:pt x="12" y="39"/>
                    <a:pt x="11" y="39"/>
                  </a:cubicBezTo>
                  <a:cubicBezTo>
                    <a:pt x="10" y="39"/>
                    <a:pt x="10" y="39"/>
                    <a:pt x="10" y="39"/>
                  </a:cubicBezTo>
                  <a:cubicBezTo>
                    <a:pt x="10" y="40"/>
                    <a:pt x="5" y="42"/>
                    <a:pt x="4" y="44"/>
                  </a:cubicBezTo>
                  <a:cubicBezTo>
                    <a:pt x="4" y="45"/>
                    <a:pt x="4" y="47"/>
                    <a:pt x="3" y="48"/>
                  </a:cubicBezTo>
                  <a:cubicBezTo>
                    <a:pt x="1" y="51"/>
                    <a:pt x="0" y="52"/>
                    <a:pt x="1" y="55"/>
                  </a:cubicBezTo>
                  <a:cubicBezTo>
                    <a:pt x="4" y="59"/>
                    <a:pt x="13" y="63"/>
                    <a:pt x="18" y="64"/>
                  </a:cubicBezTo>
                  <a:cubicBezTo>
                    <a:pt x="18" y="64"/>
                    <a:pt x="18" y="64"/>
                    <a:pt x="18" y="64"/>
                  </a:cubicBezTo>
                  <a:cubicBezTo>
                    <a:pt x="18" y="65"/>
                    <a:pt x="21" y="67"/>
                    <a:pt x="21" y="69"/>
                  </a:cubicBezTo>
                  <a:cubicBezTo>
                    <a:pt x="21" y="72"/>
                    <a:pt x="23" y="73"/>
                    <a:pt x="25" y="73"/>
                  </a:cubicBezTo>
                  <a:cubicBezTo>
                    <a:pt x="25" y="73"/>
                    <a:pt x="25" y="73"/>
                    <a:pt x="25" y="73"/>
                  </a:cubicBezTo>
                  <a:cubicBezTo>
                    <a:pt x="26" y="73"/>
                    <a:pt x="26" y="73"/>
                    <a:pt x="26" y="73"/>
                  </a:cubicBezTo>
                  <a:cubicBezTo>
                    <a:pt x="27" y="73"/>
                    <a:pt x="27" y="73"/>
                    <a:pt x="27" y="73"/>
                  </a:cubicBezTo>
                  <a:cubicBezTo>
                    <a:pt x="27" y="73"/>
                    <a:pt x="28" y="73"/>
                    <a:pt x="28" y="73"/>
                  </a:cubicBezTo>
                  <a:cubicBezTo>
                    <a:pt x="29" y="73"/>
                    <a:pt x="30" y="75"/>
                    <a:pt x="30" y="75"/>
                  </a:cubicBezTo>
                  <a:cubicBezTo>
                    <a:pt x="32" y="75"/>
                    <a:pt x="33" y="71"/>
                    <a:pt x="36" y="71"/>
                  </a:cubicBezTo>
                  <a:cubicBezTo>
                    <a:pt x="36" y="71"/>
                    <a:pt x="36" y="71"/>
                    <a:pt x="36" y="71"/>
                  </a:cubicBezTo>
                  <a:cubicBezTo>
                    <a:pt x="38" y="72"/>
                    <a:pt x="39" y="75"/>
                    <a:pt x="40" y="76"/>
                  </a:cubicBezTo>
                  <a:cubicBezTo>
                    <a:pt x="41" y="77"/>
                    <a:pt x="42" y="78"/>
                    <a:pt x="42" y="78"/>
                  </a:cubicBezTo>
                  <a:cubicBezTo>
                    <a:pt x="43" y="78"/>
                    <a:pt x="43" y="77"/>
                    <a:pt x="44" y="77"/>
                  </a:cubicBezTo>
                  <a:cubicBezTo>
                    <a:pt x="45" y="77"/>
                    <a:pt x="45" y="77"/>
                    <a:pt x="46" y="77"/>
                  </a:cubicBezTo>
                  <a:cubicBezTo>
                    <a:pt x="50" y="77"/>
                    <a:pt x="53" y="81"/>
                    <a:pt x="55" y="84"/>
                  </a:cubicBezTo>
                  <a:cubicBezTo>
                    <a:pt x="57" y="87"/>
                    <a:pt x="62" y="91"/>
                    <a:pt x="65" y="92"/>
                  </a:cubicBezTo>
                  <a:cubicBezTo>
                    <a:pt x="67" y="93"/>
                    <a:pt x="67" y="92"/>
                    <a:pt x="68" y="93"/>
                  </a:cubicBezTo>
                  <a:cubicBezTo>
                    <a:pt x="68" y="93"/>
                    <a:pt x="70" y="95"/>
                    <a:pt x="70" y="95"/>
                  </a:cubicBezTo>
                  <a:cubicBezTo>
                    <a:pt x="72" y="97"/>
                    <a:pt x="72" y="98"/>
                    <a:pt x="74" y="100"/>
                  </a:cubicBezTo>
                  <a:cubicBezTo>
                    <a:pt x="74" y="101"/>
                    <a:pt x="74" y="102"/>
                    <a:pt x="75" y="103"/>
                  </a:cubicBezTo>
                  <a:cubicBezTo>
                    <a:pt x="76" y="103"/>
                    <a:pt x="77" y="103"/>
                    <a:pt x="78" y="104"/>
                  </a:cubicBezTo>
                  <a:cubicBezTo>
                    <a:pt x="78" y="104"/>
                    <a:pt x="78" y="105"/>
                    <a:pt x="78" y="106"/>
                  </a:cubicBezTo>
                  <a:cubicBezTo>
                    <a:pt x="80" y="108"/>
                    <a:pt x="80" y="110"/>
                    <a:pt x="81" y="112"/>
                  </a:cubicBezTo>
                  <a:cubicBezTo>
                    <a:pt x="82" y="113"/>
                    <a:pt x="83" y="114"/>
                    <a:pt x="83" y="114"/>
                  </a:cubicBezTo>
                  <a:cubicBezTo>
                    <a:pt x="84" y="114"/>
                    <a:pt x="85" y="113"/>
                    <a:pt x="86" y="113"/>
                  </a:cubicBezTo>
                  <a:cubicBezTo>
                    <a:pt x="87" y="113"/>
                    <a:pt x="88" y="113"/>
                    <a:pt x="88" y="113"/>
                  </a:cubicBezTo>
                  <a:cubicBezTo>
                    <a:pt x="88" y="113"/>
                    <a:pt x="89" y="113"/>
                    <a:pt x="89" y="114"/>
                  </a:cubicBezTo>
                  <a:cubicBezTo>
                    <a:pt x="91" y="114"/>
                    <a:pt x="91" y="116"/>
                    <a:pt x="93" y="117"/>
                  </a:cubicBezTo>
                  <a:cubicBezTo>
                    <a:pt x="93" y="117"/>
                    <a:pt x="93" y="117"/>
                    <a:pt x="94" y="117"/>
                  </a:cubicBezTo>
                  <a:cubicBezTo>
                    <a:pt x="97" y="117"/>
                    <a:pt x="99" y="113"/>
                    <a:pt x="102" y="112"/>
                  </a:cubicBezTo>
                  <a:cubicBezTo>
                    <a:pt x="104" y="110"/>
                    <a:pt x="107" y="108"/>
                    <a:pt x="110" y="106"/>
                  </a:cubicBezTo>
                  <a:cubicBezTo>
                    <a:pt x="107" y="106"/>
                    <a:pt x="104" y="102"/>
                    <a:pt x="104" y="100"/>
                  </a:cubicBezTo>
                  <a:cubicBezTo>
                    <a:pt x="104" y="99"/>
                    <a:pt x="104" y="99"/>
                    <a:pt x="104" y="99"/>
                  </a:cubicBezTo>
                  <a:cubicBezTo>
                    <a:pt x="104" y="99"/>
                    <a:pt x="104" y="99"/>
                    <a:pt x="104" y="99"/>
                  </a:cubicBezTo>
                  <a:cubicBezTo>
                    <a:pt x="104" y="97"/>
                    <a:pt x="104" y="95"/>
                    <a:pt x="104" y="93"/>
                  </a:cubicBezTo>
                  <a:cubicBezTo>
                    <a:pt x="104" y="93"/>
                    <a:pt x="104" y="94"/>
                    <a:pt x="104" y="94"/>
                  </a:cubicBezTo>
                  <a:cubicBezTo>
                    <a:pt x="104" y="93"/>
                    <a:pt x="104" y="93"/>
                    <a:pt x="104" y="92"/>
                  </a:cubicBezTo>
                  <a:cubicBezTo>
                    <a:pt x="104" y="92"/>
                    <a:pt x="104" y="93"/>
                    <a:pt x="105" y="93"/>
                  </a:cubicBezTo>
                  <a:cubicBezTo>
                    <a:pt x="105" y="93"/>
                    <a:pt x="105" y="93"/>
                    <a:pt x="105" y="93"/>
                  </a:cubicBezTo>
                  <a:cubicBezTo>
                    <a:pt x="105" y="92"/>
                    <a:pt x="105" y="92"/>
                    <a:pt x="105" y="92"/>
                  </a:cubicBezTo>
                  <a:cubicBezTo>
                    <a:pt x="105" y="95"/>
                    <a:pt x="103" y="99"/>
                    <a:pt x="106" y="101"/>
                  </a:cubicBezTo>
                  <a:cubicBezTo>
                    <a:pt x="106" y="101"/>
                    <a:pt x="107" y="101"/>
                    <a:pt x="107" y="101"/>
                  </a:cubicBezTo>
                  <a:cubicBezTo>
                    <a:pt x="108" y="101"/>
                    <a:pt x="109" y="101"/>
                    <a:pt x="110" y="101"/>
                  </a:cubicBezTo>
                  <a:cubicBezTo>
                    <a:pt x="110" y="101"/>
                    <a:pt x="110" y="101"/>
                    <a:pt x="110" y="101"/>
                  </a:cubicBezTo>
                  <a:cubicBezTo>
                    <a:pt x="111" y="101"/>
                    <a:pt x="112" y="101"/>
                    <a:pt x="113" y="101"/>
                  </a:cubicBezTo>
                  <a:cubicBezTo>
                    <a:pt x="113" y="101"/>
                    <a:pt x="114" y="101"/>
                    <a:pt x="115" y="101"/>
                  </a:cubicBezTo>
                  <a:cubicBezTo>
                    <a:pt x="115" y="101"/>
                    <a:pt x="115" y="101"/>
                    <a:pt x="115" y="101"/>
                  </a:cubicBezTo>
                  <a:cubicBezTo>
                    <a:pt x="118" y="101"/>
                    <a:pt x="122" y="99"/>
                    <a:pt x="125" y="98"/>
                  </a:cubicBezTo>
                  <a:cubicBezTo>
                    <a:pt x="131" y="95"/>
                    <a:pt x="137" y="93"/>
                    <a:pt x="143" y="91"/>
                  </a:cubicBezTo>
                  <a:cubicBezTo>
                    <a:pt x="146" y="90"/>
                    <a:pt x="146" y="90"/>
                    <a:pt x="146" y="87"/>
                  </a:cubicBezTo>
                  <a:cubicBezTo>
                    <a:pt x="145" y="85"/>
                    <a:pt x="146" y="84"/>
                    <a:pt x="145" y="84"/>
                  </a:cubicBezTo>
                  <a:cubicBezTo>
                    <a:pt x="144" y="84"/>
                    <a:pt x="144" y="84"/>
                    <a:pt x="143" y="85"/>
                  </a:cubicBezTo>
                  <a:cubicBezTo>
                    <a:pt x="144" y="83"/>
                    <a:pt x="146" y="83"/>
                    <a:pt x="146" y="80"/>
                  </a:cubicBezTo>
                  <a:cubicBezTo>
                    <a:pt x="146" y="80"/>
                    <a:pt x="145" y="77"/>
                    <a:pt x="145" y="77"/>
                  </a:cubicBezTo>
                  <a:cubicBezTo>
                    <a:pt x="145" y="76"/>
                    <a:pt x="144" y="74"/>
                    <a:pt x="143" y="74"/>
                  </a:cubicBezTo>
                  <a:cubicBezTo>
                    <a:pt x="142" y="73"/>
                    <a:pt x="139" y="73"/>
                    <a:pt x="138" y="72"/>
                  </a:cubicBezTo>
                  <a:cubicBezTo>
                    <a:pt x="138" y="72"/>
                    <a:pt x="138" y="72"/>
                    <a:pt x="138" y="72"/>
                  </a:cubicBezTo>
                  <a:cubicBezTo>
                    <a:pt x="141" y="72"/>
                    <a:pt x="144" y="70"/>
                    <a:pt x="147" y="69"/>
                  </a:cubicBezTo>
                  <a:cubicBezTo>
                    <a:pt x="149" y="68"/>
                    <a:pt x="151" y="68"/>
                    <a:pt x="150" y="65"/>
                  </a:cubicBezTo>
                  <a:cubicBezTo>
                    <a:pt x="149" y="62"/>
                    <a:pt x="146" y="60"/>
                    <a:pt x="146" y="57"/>
                  </a:cubicBezTo>
                  <a:cubicBezTo>
                    <a:pt x="145" y="55"/>
                    <a:pt x="146" y="54"/>
                    <a:pt x="144" y="53"/>
                  </a:cubicBezTo>
                  <a:cubicBezTo>
                    <a:pt x="144" y="53"/>
                    <a:pt x="141" y="55"/>
                    <a:pt x="140" y="55"/>
                  </a:cubicBezTo>
                  <a:cubicBezTo>
                    <a:pt x="137" y="56"/>
                    <a:pt x="135" y="57"/>
                    <a:pt x="132" y="59"/>
                  </a:cubicBezTo>
                  <a:cubicBezTo>
                    <a:pt x="132" y="57"/>
                    <a:pt x="134" y="55"/>
                    <a:pt x="132" y="52"/>
                  </a:cubicBezTo>
                  <a:cubicBezTo>
                    <a:pt x="131" y="51"/>
                    <a:pt x="129" y="51"/>
                    <a:pt x="129" y="48"/>
                  </a:cubicBezTo>
                  <a:cubicBezTo>
                    <a:pt x="128" y="44"/>
                    <a:pt x="129" y="44"/>
                    <a:pt x="125" y="43"/>
                  </a:cubicBezTo>
                  <a:cubicBezTo>
                    <a:pt x="123" y="42"/>
                    <a:pt x="122" y="42"/>
                    <a:pt x="120" y="41"/>
                  </a:cubicBezTo>
                  <a:cubicBezTo>
                    <a:pt x="118" y="41"/>
                    <a:pt x="116" y="40"/>
                    <a:pt x="114" y="40"/>
                  </a:cubicBezTo>
                  <a:cubicBezTo>
                    <a:pt x="113" y="40"/>
                    <a:pt x="111" y="41"/>
                    <a:pt x="110" y="41"/>
                  </a:cubicBezTo>
                  <a:cubicBezTo>
                    <a:pt x="107" y="42"/>
                    <a:pt x="102" y="44"/>
                    <a:pt x="101" y="48"/>
                  </a:cubicBezTo>
                  <a:cubicBezTo>
                    <a:pt x="100" y="47"/>
                    <a:pt x="99" y="43"/>
                    <a:pt x="99" y="42"/>
                  </a:cubicBezTo>
                  <a:cubicBezTo>
                    <a:pt x="100" y="41"/>
                    <a:pt x="102" y="41"/>
                    <a:pt x="103" y="40"/>
                  </a:cubicBezTo>
                  <a:cubicBezTo>
                    <a:pt x="105" y="39"/>
                    <a:pt x="106" y="37"/>
                    <a:pt x="109" y="36"/>
                  </a:cubicBezTo>
                  <a:cubicBezTo>
                    <a:pt x="113" y="33"/>
                    <a:pt x="116" y="29"/>
                    <a:pt x="121" y="28"/>
                  </a:cubicBezTo>
                  <a:cubicBezTo>
                    <a:pt x="124" y="27"/>
                    <a:pt x="127" y="26"/>
                    <a:pt x="129" y="25"/>
                  </a:cubicBezTo>
                  <a:cubicBezTo>
                    <a:pt x="130" y="25"/>
                    <a:pt x="131" y="23"/>
                    <a:pt x="130" y="22"/>
                  </a:cubicBezTo>
                  <a:cubicBezTo>
                    <a:pt x="130" y="21"/>
                    <a:pt x="129" y="21"/>
                    <a:pt x="129" y="21"/>
                  </a:cubicBezTo>
                  <a:cubicBezTo>
                    <a:pt x="129" y="21"/>
                    <a:pt x="128" y="21"/>
                    <a:pt x="128" y="21"/>
                  </a:cubicBezTo>
                  <a:cubicBezTo>
                    <a:pt x="128" y="21"/>
                    <a:pt x="127" y="21"/>
                    <a:pt x="127" y="21"/>
                  </a:cubicBezTo>
                  <a:cubicBezTo>
                    <a:pt x="127" y="21"/>
                    <a:pt x="127" y="21"/>
                    <a:pt x="127" y="21"/>
                  </a:cubicBezTo>
                  <a:cubicBezTo>
                    <a:pt x="125" y="21"/>
                    <a:pt x="125" y="20"/>
                    <a:pt x="123" y="20"/>
                  </a:cubicBezTo>
                  <a:cubicBezTo>
                    <a:pt x="123" y="20"/>
                    <a:pt x="123" y="20"/>
                    <a:pt x="123" y="20"/>
                  </a:cubicBezTo>
                  <a:cubicBezTo>
                    <a:pt x="123" y="20"/>
                    <a:pt x="122" y="20"/>
                    <a:pt x="122" y="21"/>
                  </a:cubicBezTo>
                  <a:cubicBezTo>
                    <a:pt x="122" y="21"/>
                    <a:pt x="121" y="21"/>
                    <a:pt x="121" y="21"/>
                  </a:cubicBezTo>
                  <a:cubicBezTo>
                    <a:pt x="121" y="21"/>
                    <a:pt x="121" y="21"/>
                    <a:pt x="120" y="19"/>
                  </a:cubicBezTo>
                  <a:cubicBezTo>
                    <a:pt x="120" y="19"/>
                    <a:pt x="120" y="18"/>
                    <a:pt x="120" y="18"/>
                  </a:cubicBezTo>
                  <a:cubicBezTo>
                    <a:pt x="120" y="18"/>
                    <a:pt x="120" y="18"/>
                    <a:pt x="121" y="18"/>
                  </a:cubicBezTo>
                  <a:cubicBezTo>
                    <a:pt x="121" y="19"/>
                    <a:pt x="121" y="19"/>
                    <a:pt x="121" y="19"/>
                  </a:cubicBezTo>
                  <a:cubicBezTo>
                    <a:pt x="122" y="19"/>
                    <a:pt x="122" y="19"/>
                    <a:pt x="122" y="18"/>
                  </a:cubicBezTo>
                  <a:cubicBezTo>
                    <a:pt x="123" y="18"/>
                    <a:pt x="123" y="16"/>
                    <a:pt x="124" y="16"/>
                  </a:cubicBezTo>
                  <a:cubicBezTo>
                    <a:pt x="124" y="16"/>
                    <a:pt x="125" y="16"/>
                    <a:pt x="125" y="17"/>
                  </a:cubicBezTo>
                  <a:cubicBezTo>
                    <a:pt x="126" y="17"/>
                    <a:pt x="126" y="17"/>
                    <a:pt x="127" y="17"/>
                  </a:cubicBezTo>
                  <a:cubicBezTo>
                    <a:pt x="131" y="17"/>
                    <a:pt x="136" y="13"/>
                    <a:pt x="135" y="10"/>
                  </a:cubicBezTo>
                  <a:cubicBezTo>
                    <a:pt x="135" y="8"/>
                    <a:pt x="128" y="3"/>
                    <a:pt x="126" y="3"/>
                  </a:cubicBezTo>
                  <a:cubicBezTo>
                    <a:pt x="126" y="4"/>
                    <a:pt x="126" y="4"/>
                    <a:pt x="125" y="4"/>
                  </a:cubicBezTo>
                  <a:cubicBezTo>
                    <a:pt x="123" y="4"/>
                    <a:pt x="120" y="2"/>
                    <a:pt x="118" y="2"/>
                  </a:cubicBezTo>
                  <a:cubicBezTo>
                    <a:pt x="117" y="2"/>
                    <a:pt x="116" y="1"/>
                    <a:pt x="116" y="1"/>
                  </a:cubicBezTo>
                  <a:cubicBezTo>
                    <a:pt x="115" y="1"/>
                    <a:pt x="115" y="1"/>
                    <a:pt x="114" y="2"/>
                  </a:cubicBezTo>
                  <a:cubicBezTo>
                    <a:pt x="113" y="2"/>
                    <a:pt x="113" y="3"/>
                    <a:pt x="112" y="4"/>
                  </a:cubicBezTo>
                  <a:cubicBezTo>
                    <a:pt x="108" y="7"/>
                    <a:pt x="103" y="6"/>
                    <a:pt x="99" y="7"/>
                  </a:cubicBezTo>
                  <a:cubicBezTo>
                    <a:pt x="97" y="7"/>
                    <a:pt x="94" y="8"/>
                    <a:pt x="92" y="9"/>
                  </a:cubicBezTo>
                  <a:cubicBezTo>
                    <a:pt x="92" y="9"/>
                    <a:pt x="92" y="9"/>
                    <a:pt x="91" y="9"/>
                  </a:cubicBezTo>
                  <a:cubicBezTo>
                    <a:pt x="90" y="9"/>
                    <a:pt x="90" y="9"/>
                    <a:pt x="89" y="9"/>
                  </a:cubicBezTo>
                  <a:cubicBezTo>
                    <a:pt x="88" y="9"/>
                    <a:pt x="87" y="8"/>
                    <a:pt x="87" y="8"/>
                  </a:cubicBezTo>
                  <a:cubicBezTo>
                    <a:pt x="86" y="8"/>
                    <a:pt x="86" y="8"/>
                    <a:pt x="85" y="9"/>
                  </a:cubicBezTo>
                  <a:cubicBezTo>
                    <a:pt x="84" y="9"/>
                    <a:pt x="84" y="10"/>
                    <a:pt x="84" y="10"/>
                  </a:cubicBezTo>
                  <a:cubicBezTo>
                    <a:pt x="83" y="10"/>
                    <a:pt x="83" y="10"/>
                    <a:pt x="83" y="10"/>
                  </a:cubicBezTo>
                  <a:cubicBezTo>
                    <a:pt x="81" y="8"/>
                    <a:pt x="79" y="7"/>
                    <a:pt x="77" y="5"/>
                  </a:cubicBezTo>
                  <a:cubicBezTo>
                    <a:pt x="76" y="5"/>
                    <a:pt x="75" y="5"/>
                    <a:pt x="74" y="5"/>
                  </a:cubicBezTo>
                  <a:cubicBezTo>
                    <a:pt x="71" y="4"/>
                    <a:pt x="70" y="1"/>
                    <a:pt x="68" y="0"/>
                  </a:cubicBezTo>
                  <a:cubicBezTo>
                    <a:pt x="68" y="0"/>
                    <a:pt x="67" y="0"/>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86"/>
            <p:cNvSpPr/>
            <p:nvPr/>
          </p:nvSpPr>
          <p:spPr bwMode="auto">
            <a:xfrm>
              <a:off x="8323254" y="2301109"/>
              <a:ext cx="612775" cy="390525"/>
            </a:xfrm>
            <a:custGeom>
              <a:gdLst>
                <a:gd name="T0" fmla="*/ 33 w 163"/>
                <a:gd name="T1" fmla="*/ 3 h 104"/>
                <a:gd name="T2" fmla="*/ 26 w 163"/>
                <a:gd name="T3" fmla="*/ 17 h 104"/>
                <a:gd name="T4" fmla="*/ 26 w 163"/>
                <a:gd name="T5" fmla="*/ 22 h 104"/>
                <a:gd name="T6" fmla="*/ 25 w 163"/>
                <a:gd name="T7" fmla="*/ 27 h 104"/>
                <a:gd name="T8" fmla="*/ 23 w 163"/>
                <a:gd name="T9" fmla="*/ 36 h 104"/>
                <a:gd name="T10" fmla="*/ 24 w 163"/>
                <a:gd name="T11" fmla="*/ 40 h 104"/>
                <a:gd name="T12" fmla="*/ 22 w 163"/>
                <a:gd name="T13" fmla="*/ 44 h 104"/>
                <a:gd name="T14" fmla="*/ 19 w 163"/>
                <a:gd name="T15" fmla="*/ 53 h 104"/>
                <a:gd name="T16" fmla="*/ 20 w 163"/>
                <a:gd name="T17" fmla="*/ 58 h 104"/>
                <a:gd name="T18" fmla="*/ 20 w 163"/>
                <a:gd name="T19" fmla="*/ 62 h 104"/>
                <a:gd name="T20" fmla="*/ 15 w 163"/>
                <a:gd name="T21" fmla="*/ 72 h 104"/>
                <a:gd name="T22" fmla="*/ 0 w 163"/>
                <a:gd name="T23" fmla="*/ 86 h 104"/>
                <a:gd name="T24" fmla="*/ 33 w 163"/>
                <a:gd name="T25" fmla="*/ 81 h 104"/>
                <a:gd name="T26" fmla="*/ 35 w 163"/>
                <a:gd name="T27" fmla="*/ 82 h 104"/>
                <a:gd name="T28" fmla="*/ 38 w 163"/>
                <a:gd name="T29" fmla="*/ 86 h 104"/>
                <a:gd name="T30" fmla="*/ 36 w 163"/>
                <a:gd name="T31" fmla="*/ 95 h 104"/>
                <a:gd name="T32" fmla="*/ 46 w 163"/>
                <a:gd name="T33" fmla="*/ 104 h 104"/>
                <a:gd name="T34" fmla="*/ 64 w 163"/>
                <a:gd name="T35" fmla="*/ 93 h 104"/>
                <a:gd name="T36" fmla="*/ 73 w 163"/>
                <a:gd name="T37" fmla="*/ 86 h 104"/>
                <a:gd name="T38" fmla="*/ 83 w 163"/>
                <a:gd name="T39" fmla="*/ 80 h 104"/>
                <a:gd name="T40" fmla="*/ 82 w 163"/>
                <a:gd name="T41" fmla="*/ 73 h 104"/>
                <a:gd name="T42" fmla="*/ 95 w 163"/>
                <a:gd name="T43" fmla="*/ 73 h 104"/>
                <a:gd name="T44" fmla="*/ 111 w 163"/>
                <a:gd name="T45" fmla="*/ 83 h 104"/>
                <a:gd name="T46" fmla="*/ 128 w 163"/>
                <a:gd name="T47" fmla="*/ 87 h 104"/>
                <a:gd name="T48" fmla="*/ 144 w 163"/>
                <a:gd name="T49" fmla="*/ 93 h 104"/>
                <a:gd name="T50" fmla="*/ 163 w 163"/>
                <a:gd name="T51" fmla="*/ 81 h 104"/>
                <a:gd name="T52" fmla="*/ 146 w 163"/>
                <a:gd name="T53" fmla="*/ 68 h 104"/>
                <a:gd name="T54" fmla="*/ 139 w 163"/>
                <a:gd name="T55" fmla="*/ 70 h 104"/>
                <a:gd name="T56" fmla="*/ 135 w 163"/>
                <a:gd name="T57" fmla="*/ 69 h 104"/>
                <a:gd name="T58" fmla="*/ 121 w 163"/>
                <a:gd name="T59" fmla="*/ 73 h 104"/>
                <a:gd name="T60" fmla="*/ 127 w 163"/>
                <a:gd name="T61" fmla="*/ 62 h 104"/>
                <a:gd name="T62" fmla="*/ 117 w 163"/>
                <a:gd name="T63" fmla="*/ 46 h 104"/>
                <a:gd name="T64" fmla="*/ 88 w 163"/>
                <a:gd name="T65" fmla="*/ 30 h 104"/>
                <a:gd name="T66" fmla="*/ 67 w 163"/>
                <a:gd name="T67" fmla="*/ 22 h 104"/>
                <a:gd name="T68" fmla="*/ 60 w 163"/>
                <a:gd name="T69" fmla="*/ 18 h 104"/>
                <a:gd name="T70" fmla="*/ 51 w 163"/>
                <a:gd name="T71" fmla="*/ 23 h 104"/>
                <a:gd name="T72" fmla="*/ 45 w 163"/>
                <a:gd name="T73" fmla="*/ 16 h 104"/>
                <a:gd name="T74" fmla="*/ 46 w 163"/>
                <a:gd name="T75" fmla="*/ 4 h 104"/>
                <a:gd name="T76" fmla="*/ 43 w 163"/>
                <a:gd name="T77" fmla="*/ 4 h 104"/>
                <a:gd name="T78" fmla="*/ 40 w 163"/>
                <a:gd name="T79" fmla="*/ 5 h 104"/>
                <a:gd name="T80" fmla="*/ 39 w 163"/>
                <a:gd name="T81" fmla="*/ 0 h 1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04">
                  <a:moveTo>
                    <a:pt x="39" y="0"/>
                  </a:moveTo>
                  <a:cubicBezTo>
                    <a:pt x="37" y="0"/>
                    <a:pt x="34" y="2"/>
                    <a:pt x="33" y="3"/>
                  </a:cubicBezTo>
                  <a:cubicBezTo>
                    <a:pt x="29" y="6"/>
                    <a:pt x="29" y="8"/>
                    <a:pt x="27" y="13"/>
                  </a:cubicBezTo>
                  <a:cubicBezTo>
                    <a:pt x="27" y="14"/>
                    <a:pt x="26" y="16"/>
                    <a:pt x="26" y="17"/>
                  </a:cubicBezTo>
                  <a:cubicBezTo>
                    <a:pt x="25" y="18"/>
                    <a:pt x="25" y="19"/>
                    <a:pt x="25" y="20"/>
                  </a:cubicBezTo>
                  <a:cubicBezTo>
                    <a:pt x="25" y="21"/>
                    <a:pt x="26" y="21"/>
                    <a:pt x="26" y="22"/>
                  </a:cubicBezTo>
                  <a:cubicBezTo>
                    <a:pt x="26" y="23"/>
                    <a:pt x="25" y="23"/>
                    <a:pt x="24" y="24"/>
                  </a:cubicBezTo>
                  <a:cubicBezTo>
                    <a:pt x="24" y="25"/>
                    <a:pt x="25" y="26"/>
                    <a:pt x="25" y="27"/>
                  </a:cubicBezTo>
                  <a:cubicBezTo>
                    <a:pt x="25" y="28"/>
                    <a:pt x="25" y="30"/>
                    <a:pt x="25" y="31"/>
                  </a:cubicBezTo>
                  <a:cubicBezTo>
                    <a:pt x="25" y="33"/>
                    <a:pt x="23" y="34"/>
                    <a:pt x="23" y="36"/>
                  </a:cubicBezTo>
                  <a:cubicBezTo>
                    <a:pt x="23" y="37"/>
                    <a:pt x="24" y="37"/>
                    <a:pt x="24" y="38"/>
                  </a:cubicBezTo>
                  <a:cubicBezTo>
                    <a:pt x="25" y="39"/>
                    <a:pt x="24" y="39"/>
                    <a:pt x="24" y="40"/>
                  </a:cubicBezTo>
                  <a:cubicBezTo>
                    <a:pt x="24" y="42"/>
                    <a:pt x="24" y="42"/>
                    <a:pt x="24" y="42"/>
                  </a:cubicBezTo>
                  <a:cubicBezTo>
                    <a:pt x="24" y="42"/>
                    <a:pt x="22" y="43"/>
                    <a:pt x="22" y="44"/>
                  </a:cubicBezTo>
                  <a:cubicBezTo>
                    <a:pt x="21" y="45"/>
                    <a:pt x="20" y="47"/>
                    <a:pt x="20" y="49"/>
                  </a:cubicBezTo>
                  <a:cubicBezTo>
                    <a:pt x="19" y="51"/>
                    <a:pt x="19" y="51"/>
                    <a:pt x="19" y="53"/>
                  </a:cubicBezTo>
                  <a:cubicBezTo>
                    <a:pt x="19" y="54"/>
                    <a:pt x="19" y="55"/>
                    <a:pt x="19" y="56"/>
                  </a:cubicBezTo>
                  <a:cubicBezTo>
                    <a:pt x="19" y="57"/>
                    <a:pt x="20" y="57"/>
                    <a:pt x="20" y="58"/>
                  </a:cubicBezTo>
                  <a:cubicBezTo>
                    <a:pt x="20" y="58"/>
                    <a:pt x="20" y="59"/>
                    <a:pt x="20" y="60"/>
                  </a:cubicBezTo>
                  <a:cubicBezTo>
                    <a:pt x="20" y="61"/>
                    <a:pt x="20" y="61"/>
                    <a:pt x="20" y="62"/>
                  </a:cubicBezTo>
                  <a:cubicBezTo>
                    <a:pt x="21" y="64"/>
                    <a:pt x="23" y="65"/>
                    <a:pt x="24" y="66"/>
                  </a:cubicBezTo>
                  <a:cubicBezTo>
                    <a:pt x="25" y="70"/>
                    <a:pt x="18" y="71"/>
                    <a:pt x="15" y="72"/>
                  </a:cubicBezTo>
                  <a:cubicBezTo>
                    <a:pt x="11" y="74"/>
                    <a:pt x="8" y="75"/>
                    <a:pt x="5" y="78"/>
                  </a:cubicBezTo>
                  <a:cubicBezTo>
                    <a:pt x="2" y="81"/>
                    <a:pt x="1" y="83"/>
                    <a:pt x="0" y="86"/>
                  </a:cubicBezTo>
                  <a:cubicBezTo>
                    <a:pt x="7" y="85"/>
                    <a:pt x="14" y="84"/>
                    <a:pt x="22" y="83"/>
                  </a:cubicBezTo>
                  <a:cubicBezTo>
                    <a:pt x="26" y="83"/>
                    <a:pt x="29" y="82"/>
                    <a:pt x="33" y="81"/>
                  </a:cubicBezTo>
                  <a:cubicBezTo>
                    <a:pt x="34" y="81"/>
                    <a:pt x="34" y="81"/>
                    <a:pt x="34" y="81"/>
                  </a:cubicBezTo>
                  <a:cubicBezTo>
                    <a:pt x="35" y="81"/>
                    <a:pt x="34" y="82"/>
                    <a:pt x="35" y="82"/>
                  </a:cubicBezTo>
                  <a:cubicBezTo>
                    <a:pt x="35" y="83"/>
                    <a:pt x="35" y="83"/>
                    <a:pt x="36" y="84"/>
                  </a:cubicBezTo>
                  <a:cubicBezTo>
                    <a:pt x="37" y="85"/>
                    <a:pt x="37" y="85"/>
                    <a:pt x="38" y="86"/>
                  </a:cubicBezTo>
                  <a:cubicBezTo>
                    <a:pt x="38" y="87"/>
                    <a:pt x="38" y="90"/>
                    <a:pt x="37" y="91"/>
                  </a:cubicBezTo>
                  <a:cubicBezTo>
                    <a:pt x="37" y="92"/>
                    <a:pt x="36" y="94"/>
                    <a:pt x="36" y="95"/>
                  </a:cubicBezTo>
                  <a:cubicBezTo>
                    <a:pt x="37" y="99"/>
                    <a:pt x="42" y="103"/>
                    <a:pt x="45" y="104"/>
                  </a:cubicBezTo>
                  <a:cubicBezTo>
                    <a:pt x="45" y="104"/>
                    <a:pt x="46" y="104"/>
                    <a:pt x="46" y="104"/>
                  </a:cubicBezTo>
                  <a:cubicBezTo>
                    <a:pt x="50" y="104"/>
                    <a:pt x="54" y="101"/>
                    <a:pt x="57" y="100"/>
                  </a:cubicBezTo>
                  <a:cubicBezTo>
                    <a:pt x="60" y="98"/>
                    <a:pt x="62" y="97"/>
                    <a:pt x="64" y="93"/>
                  </a:cubicBezTo>
                  <a:cubicBezTo>
                    <a:pt x="65" y="92"/>
                    <a:pt x="64" y="91"/>
                    <a:pt x="65" y="90"/>
                  </a:cubicBezTo>
                  <a:cubicBezTo>
                    <a:pt x="67" y="88"/>
                    <a:pt x="71" y="88"/>
                    <a:pt x="73" y="86"/>
                  </a:cubicBezTo>
                  <a:cubicBezTo>
                    <a:pt x="75" y="86"/>
                    <a:pt x="76" y="84"/>
                    <a:pt x="77" y="83"/>
                  </a:cubicBezTo>
                  <a:cubicBezTo>
                    <a:pt x="79" y="82"/>
                    <a:pt x="83" y="82"/>
                    <a:pt x="83" y="80"/>
                  </a:cubicBezTo>
                  <a:cubicBezTo>
                    <a:pt x="84" y="79"/>
                    <a:pt x="84" y="77"/>
                    <a:pt x="83" y="76"/>
                  </a:cubicBezTo>
                  <a:cubicBezTo>
                    <a:pt x="83" y="75"/>
                    <a:pt x="84" y="74"/>
                    <a:pt x="82" y="73"/>
                  </a:cubicBezTo>
                  <a:cubicBezTo>
                    <a:pt x="87" y="70"/>
                    <a:pt x="93" y="67"/>
                    <a:pt x="98" y="66"/>
                  </a:cubicBezTo>
                  <a:cubicBezTo>
                    <a:pt x="100" y="68"/>
                    <a:pt x="96" y="71"/>
                    <a:pt x="95" y="73"/>
                  </a:cubicBezTo>
                  <a:cubicBezTo>
                    <a:pt x="98" y="73"/>
                    <a:pt x="111" y="72"/>
                    <a:pt x="113" y="77"/>
                  </a:cubicBezTo>
                  <a:cubicBezTo>
                    <a:pt x="113" y="79"/>
                    <a:pt x="104" y="82"/>
                    <a:pt x="111" y="83"/>
                  </a:cubicBezTo>
                  <a:cubicBezTo>
                    <a:pt x="115" y="84"/>
                    <a:pt x="118" y="84"/>
                    <a:pt x="121" y="85"/>
                  </a:cubicBezTo>
                  <a:cubicBezTo>
                    <a:pt x="124" y="86"/>
                    <a:pt x="126" y="86"/>
                    <a:pt x="128" y="87"/>
                  </a:cubicBezTo>
                  <a:cubicBezTo>
                    <a:pt x="132" y="89"/>
                    <a:pt x="137" y="90"/>
                    <a:pt x="141" y="92"/>
                  </a:cubicBezTo>
                  <a:cubicBezTo>
                    <a:pt x="141" y="92"/>
                    <a:pt x="143" y="93"/>
                    <a:pt x="144" y="93"/>
                  </a:cubicBezTo>
                  <a:cubicBezTo>
                    <a:pt x="145" y="93"/>
                    <a:pt x="146" y="92"/>
                    <a:pt x="146" y="91"/>
                  </a:cubicBezTo>
                  <a:cubicBezTo>
                    <a:pt x="151" y="87"/>
                    <a:pt x="157" y="84"/>
                    <a:pt x="163" y="81"/>
                  </a:cubicBezTo>
                  <a:cubicBezTo>
                    <a:pt x="160" y="80"/>
                    <a:pt x="155" y="79"/>
                    <a:pt x="152" y="76"/>
                  </a:cubicBezTo>
                  <a:cubicBezTo>
                    <a:pt x="149" y="74"/>
                    <a:pt x="148" y="70"/>
                    <a:pt x="146" y="68"/>
                  </a:cubicBezTo>
                  <a:cubicBezTo>
                    <a:pt x="146" y="70"/>
                    <a:pt x="145" y="70"/>
                    <a:pt x="144" y="70"/>
                  </a:cubicBezTo>
                  <a:cubicBezTo>
                    <a:pt x="142" y="70"/>
                    <a:pt x="141" y="70"/>
                    <a:pt x="139" y="70"/>
                  </a:cubicBezTo>
                  <a:cubicBezTo>
                    <a:pt x="138" y="69"/>
                    <a:pt x="136" y="69"/>
                    <a:pt x="135" y="69"/>
                  </a:cubicBezTo>
                  <a:cubicBezTo>
                    <a:pt x="135" y="69"/>
                    <a:pt x="135" y="69"/>
                    <a:pt x="135" y="69"/>
                  </a:cubicBezTo>
                  <a:cubicBezTo>
                    <a:pt x="133" y="70"/>
                    <a:pt x="135" y="71"/>
                    <a:pt x="133" y="71"/>
                  </a:cubicBezTo>
                  <a:cubicBezTo>
                    <a:pt x="129" y="72"/>
                    <a:pt x="125" y="72"/>
                    <a:pt x="121" y="73"/>
                  </a:cubicBezTo>
                  <a:cubicBezTo>
                    <a:pt x="122" y="68"/>
                    <a:pt x="129" y="71"/>
                    <a:pt x="130" y="67"/>
                  </a:cubicBezTo>
                  <a:cubicBezTo>
                    <a:pt x="131" y="65"/>
                    <a:pt x="128" y="64"/>
                    <a:pt x="127" y="62"/>
                  </a:cubicBezTo>
                  <a:cubicBezTo>
                    <a:pt x="126" y="60"/>
                    <a:pt x="127" y="59"/>
                    <a:pt x="127" y="57"/>
                  </a:cubicBezTo>
                  <a:cubicBezTo>
                    <a:pt x="126" y="54"/>
                    <a:pt x="120" y="48"/>
                    <a:pt x="117" y="46"/>
                  </a:cubicBezTo>
                  <a:cubicBezTo>
                    <a:pt x="114" y="45"/>
                    <a:pt x="111" y="43"/>
                    <a:pt x="108" y="41"/>
                  </a:cubicBezTo>
                  <a:cubicBezTo>
                    <a:pt x="101" y="38"/>
                    <a:pt x="95" y="33"/>
                    <a:pt x="88" y="30"/>
                  </a:cubicBezTo>
                  <a:cubicBezTo>
                    <a:pt x="85" y="29"/>
                    <a:pt x="83" y="29"/>
                    <a:pt x="80" y="29"/>
                  </a:cubicBezTo>
                  <a:cubicBezTo>
                    <a:pt x="74" y="27"/>
                    <a:pt x="71" y="27"/>
                    <a:pt x="67" y="22"/>
                  </a:cubicBezTo>
                  <a:cubicBezTo>
                    <a:pt x="66" y="20"/>
                    <a:pt x="64" y="17"/>
                    <a:pt x="62" y="17"/>
                  </a:cubicBezTo>
                  <a:cubicBezTo>
                    <a:pt x="62" y="17"/>
                    <a:pt x="61" y="17"/>
                    <a:pt x="60" y="18"/>
                  </a:cubicBezTo>
                  <a:cubicBezTo>
                    <a:pt x="56" y="21"/>
                    <a:pt x="58" y="25"/>
                    <a:pt x="53" y="27"/>
                  </a:cubicBezTo>
                  <a:cubicBezTo>
                    <a:pt x="53" y="25"/>
                    <a:pt x="52" y="24"/>
                    <a:pt x="51" y="23"/>
                  </a:cubicBezTo>
                  <a:cubicBezTo>
                    <a:pt x="51" y="22"/>
                    <a:pt x="52" y="21"/>
                    <a:pt x="51" y="20"/>
                  </a:cubicBezTo>
                  <a:cubicBezTo>
                    <a:pt x="50" y="18"/>
                    <a:pt x="46" y="18"/>
                    <a:pt x="45" y="16"/>
                  </a:cubicBezTo>
                  <a:cubicBezTo>
                    <a:pt x="43" y="13"/>
                    <a:pt x="47" y="15"/>
                    <a:pt x="49" y="13"/>
                  </a:cubicBezTo>
                  <a:cubicBezTo>
                    <a:pt x="51" y="11"/>
                    <a:pt x="48" y="5"/>
                    <a:pt x="46" y="4"/>
                  </a:cubicBezTo>
                  <a:cubicBezTo>
                    <a:pt x="45" y="4"/>
                    <a:pt x="45" y="4"/>
                    <a:pt x="45" y="4"/>
                  </a:cubicBezTo>
                  <a:cubicBezTo>
                    <a:pt x="44" y="4"/>
                    <a:pt x="43" y="4"/>
                    <a:pt x="43" y="4"/>
                  </a:cubicBezTo>
                  <a:cubicBezTo>
                    <a:pt x="42" y="5"/>
                    <a:pt x="41" y="5"/>
                    <a:pt x="41" y="5"/>
                  </a:cubicBezTo>
                  <a:cubicBezTo>
                    <a:pt x="40" y="5"/>
                    <a:pt x="40" y="5"/>
                    <a:pt x="40" y="5"/>
                  </a:cubicBezTo>
                  <a:cubicBezTo>
                    <a:pt x="38" y="4"/>
                    <a:pt x="40" y="1"/>
                    <a:pt x="39" y="0"/>
                  </a:cubicBezTo>
                  <a:cubicBezTo>
                    <a:pt x="39"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87"/>
            <p:cNvSpPr/>
            <p:nvPr/>
          </p:nvSpPr>
          <p:spPr bwMode="auto">
            <a:xfrm>
              <a:off x="7010391" y="1872484"/>
              <a:ext cx="52388" cy="38100"/>
            </a:xfrm>
            <a:custGeom>
              <a:gdLst>
                <a:gd name="T0" fmla="*/ 7 w 14"/>
                <a:gd name="T1" fmla="*/ 0 h 10"/>
                <a:gd name="T2" fmla="*/ 6 w 14"/>
                <a:gd name="T3" fmla="*/ 1 h 10"/>
                <a:gd name="T4" fmla="*/ 3 w 14"/>
                <a:gd name="T5" fmla="*/ 4 h 10"/>
                <a:gd name="T6" fmla="*/ 0 w 14"/>
                <a:gd name="T7" fmla="*/ 5 h 10"/>
                <a:gd name="T8" fmla="*/ 6 w 14"/>
                <a:gd name="T9" fmla="*/ 8 h 10"/>
                <a:gd name="T10" fmla="*/ 8 w 14"/>
                <a:gd name="T11" fmla="*/ 9 h 10"/>
                <a:gd name="T12" fmla="*/ 10 w 14"/>
                <a:gd name="T13" fmla="*/ 10 h 10"/>
                <a:gd name="T14" fmla="*/ 10 w 14"/>
                <a:gd name="T15" fmla="*/ 10 h 10"/>
                <a:gd name="T16" fmla="*/ 10 w 14"/>
                <a:gd name="T17" fmla="*/ 10 h 10"/>
                <a:gd name="T18" fmla="*/ 10 w 14"/>
                <a:gd name="T19" fmla="*/ 10 h 10"/>
                <a:gd name="T20" fmla="*/ 14 w 14"/>
                <a:gd name="T21" fmla="*/ 2 h 10"/>
                <a:gd name="T22" fmla="*/ 9 w 14"/>
                <a:gd name="T23" fmla="*/ 0 h 10"/>
                <a:gd name="T24" fmla="*/ 9 w 14"/>
                <a:gd name="T25" fmla="*/ 0 h 10"/>
                <a:gd name="T26" fmla="*/ 9 w 14"/>
                <a:gd name="T27" fmla="*/ 0 h 10"/>
                <a:gd name="T28" fmla="*/ 8 w 14"/>
                <a:gd name="T29" fmla="*/ 0 h 10"/>
                <a:gd name="T30" fmla="*/ 7 w 14"/>
                <a:gd name="T31" fmla="*/ 0 h 10"/>
                <a:gd name="T32" fmla="*/ 7 w 14"/>
                <a:gd name="T33"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0">
                  <a:moveTo>
                    <a:pt x="7" y="0"/>
                  </a:moveTo>
                  <a:cubicBezTo>
                    <a:pt x="6" y="0"/>
                    <a:pt x="6" y="1"/>
                    <a:pt x="6" y="1"/>
                  </a:cubicBezTo>
                  <a:cubicBezTo>
                    <a:pt x="5" y="2"/>
                    <a:pt x="4" y="3"/>
                    <a:pt x="3" y="4"/>
                  </a:cubicBezTo>
                  <a:cubicBezTo>
                    <a:pt x="2" y="4"/>
                    <a:pt x="1" y="5"/>
                    <a:pt x="0" y="5"/>
                  </a:cubicBezTo>
                  <a:cubicBezTo>
                    <a:pt x="1" y="7"/>
                    <a:pt x="4" y="8"/>
                    <a:pt x="6" y="8"/>
                  </a:cubicBezTo>
                  <a:cubicBezTo>
                    <a:pt x="7" y="8"/>
                    <a:pt x="7" y="9"/>
                    <a:pt x="8" y="9"/>
                  </a:cubicBezTo>
                  <a:cubicBezTo>
                    <a:pt x="9" y="9"/>
                    <a:pt x="10" y="10"/>
                    <a:pt x="10" y="10"/>
                  </a:cubicBezTo>
                  <a:cubicBezTo>
                    <a:pt x="10" y="10"/>
                    <a:pt x="10" y="10"/>
                    <a:pt x="10" y="10"/>
                  </a:cubicBezTo>
                  <a:cubicBezTo>
                    <a:pt x="10" y="10"/>
                    <a:pt x="10" y="10"/>
                    <a:pt x="10" y="10"/>
                  </a:cubicBezTo>
                  <a:cubicBezTo>
                    <a:pt x="10" y="10"/>
                    <a:pt x="10" y="10"/>
                    <a:pt x="10" y="10"/>
                  </a:cubicBezTo>
                  <a:cubicBezTo>
                    <a:pt x="12" y="9"/>
                    <a:pt x="13" y="4"/>
                    <a:pt x="14" y="2"/>
                  </a:cubicBezTo>
                  <a:cubicBezTo>
                    <a:pt x="13" y="2"/>
                    <a:pt x="11" y="0"/>
                    <a:pt x="9" y="0"/>
                  </a:cubicBezTo>
                  <a:cubicBezTo>
                    <a:pt x="9" y="0"/>
                    <a:pt x="9" y="0"/>
                    <a:pt x="9" y="0"/>
                  </a:cubicBezTo>
                  <a:cubicBezTo>
                    <a:pt x="9" y="0"/>
                    <a:pt x="9" y="0"/>
                    <a:pt x="9" y="0"/>
                  </a:cubicBezTo>
                  <a:cubicBezTo>
                    <a:pt x="8" y="0"/>
                    <a:pt x="8" y="0"/>
                    <a:pt x="8" y="0"/>
                  </a:cubicBezTo>
                  <a:cubicBezTo>
                    <a:pt x="8" y="0"/>
                    <a:pt x="7" y="0"/>
                    <a:pt x="7"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88"/>
            <p:cNvSpPr/>
            <p:nvPr/>
          </p:nvSpPr>
          <p:spPr bwMode="auto">
            <a:xfrm>
              <a:off x="7959716" y="599309"/>
              <a:ext cx="63500" cy="11113"/>
            </a:xfrm>
            <a:custGeom>
              <a:gdLst>
                <a:gd name="T0" fmla="*/ 16 w 17"/>
                <a:gd name="T1" fmla="*/ 0 h 3"/>
                <a:gd name="T2" fmla="*/ 0 w 17"/>
                <a:gd name="T3" fmla="*/ 0 h 3"/>
                <a:gd name="T4" fmla="*/ 6 w 17"/>
                <a:gd name="T5" fmla="*/ 1 h 3"/>
                <a:gd name="T6" fmla="*/ 7 w 17"/>
                <a:gd name="T7" fmla="*/ 1 h 3"/>
                <a:gd name="T8" fmla="*/ 8 w 17"/>
                <a:gd name="T9" fmla="*/ 1 h 3"/>
                <a:gd name="T10" fmla="*/ 9 w 17"/>
                <a:gd name="T11" fmla="*/ 1 h 3"/>
                <a:gd name="T12" fmla="*/ 12 w 17"/>
                <a:gd name="T13" fmla="*/ 2 h 3"/>
                <a:gd name="T14" fmla="*/ 17 w 17"/>
                <a:gd name="T15" fmla="*/ 3 h 3"/>
                <a:gd name="T16" fmla="*/ 16 w 17"/>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
                  <a:moveTo>
                    <a:pt x="16" y="0"/>
                  </a:moveTo>
                  <a:cubicBezTo>
                    <a:pt x="0" y="0"/>
                    <a:pt x="0" y="0"/>
                    <a:pt x="0" y="0"/>
                  </a:cubicBezTo>
                  <a:cubicBezTo>
                    <a:pt x="2" y="0"/>
                    <a:pt x="4" y="1"/>
                    <a:pt x="6" y="1"/>
                  </a:cubicBezTo>
                  <a:cubicBezTo>
                    <a:pt x="6" y="1"/>
                    <a:pt x="7" y="1"/>
                    <a:pt x="7" y="1"/>
                  </a:cubicBezTo>
                  <a:cubicBezTo>
                    <a:pt x="7" y="1"/>
                    <a:pt x="8" y="1"/>
                    <a:pt x="8" y="1"/>
                  </a:cubicBezTo>
                  <a:cubicBezTo>
                    <a:pt x="8" y="1"/>
                    <a:pt x="9" y="1"/>
                    <a:pt x="9" y="1"/>
                  </a:cubicBezTo>
                  <a:cubicBezTo>
                    <a:pt x="10" y="1"/>
                    <a:pt x="11" y="1"/>
                    <a:pt x="12" y="2"/>
                  </a:cubicBezTo>
                  <a:cubicBezTo>
                    <a:pt x="14" y="3"/>
                    <a:pt x="15" y="2"/>
                    <a:pt x="17" y="3"/>
                  </a:cubicBezTo>
                  <a:cubicBezTo>
                    <a:pt x="17" y="2"/>
                    <a:pt x="16" y="1"/>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89"/>
            <p:cNvSpPr/>
            <p:nvPr/>
          </p:nvSpPr>
          <p:spPr bwMode="auto">
            <a:xfrm>
              <a:off x="7550141" y="599309"/>
              <a:ext cx="1460500" cy="360363"/>
            </a:xfrm>
            <a:custGeom>
              <a:gdLst>
                <a:gd name="T0" fmla="*/ 61 w 389"/>
                <a:gd name="T1" fmla="*/ 1 h 96"/>
                <a:gd name="T2" fmla="*/ 12 w 389"/>
                <a:gd name="T3" fmla="*/ 6 h 96"/>
                <a:gd name="T4" fmla="*/ 19 w 389"/>
                <a:gd name="T5" fmla="*/ 13 h 96"/>
                <a:gd name="T6" fmla="*/ 28 w 389"/>
                <a:gd name="T7" fmla="*/ 12 h 96"/>
                <a:gd name="T8" fmla="*/ 51 w 389"/>
                <a:gd name="T9" fmla="*/ 12 h 96"/>
                <a:gd name="T10" fmla="*/ 59 w 389"/>
                <a:gd name="T11" fmla="*/ 10 h 96"/>
                <a:gd name="T12" fmla="*/ 80 w 389"/>
                <a:gd name="T13" fmla="*/ 19 h 96"/>
                <a:gd name="T14" fmla="*/ 93 w 389"/>
                <a:gd name="T15" fmla="*/ 39 h 96"/>
                <a:gd name="T16" fmla="*/ 94 w 389"/>
                <a:gd name="T17" fmla="*/ 43 h 96"/>
                <a:gd name="T18" fmla="*/ 85 w 389"/>
                <a:gd name="T19" fmla="*/ 62 h 96"/>
                <a:gd name="T20" fmla="*/ 98 w 389"/>
                <a:gd name="T21" fmla="*/ 85 h 96"/>
                <a:gd name="T22" fmla="*/ 106 w 389"/>
                <a:gd name="T23" fmla="*/ 88 h 96"/>
                <a:gd name="T24" fmla="*/ 113 w 389"/>
                <a:gd name="T25" fmla="*/ 88 h 96"/>
                <a:gd name="T26" fmla="*/ 120 w 389"/>
                <a:gd name="T27" fmla="*/ 86 h 96"/>
                <a:gd name="T28" fmla="*/ 128 w 389"/>
                <a:gd name="T29" fmla="*/ 89 h 96"/>
                <a:gd name="T30" fmla="*/ 139 w 389"/>
                <a:gd name="T31" fmla="*/ 92 h 96"/>
                <a:gd name="T32" fmla="*/ 145 w 389"/>
                <a:gd name="T33" fmla="*/ 93 h 96"/>
                <a:gd name="T34" fmla="*/ 155 w 389"/>
                <a:gd name="T35" fmla="*/ 92 h 96"/>
                <a:gd name="T36" fmla="*/ 157 w 389"/>
                <a:gd name="T37" fmla="*/ 91 h 96"/>
                <a:gd name="T38" fmla="*/ 163 w 389"/>
                <a:gd name="T39" fmla="*/ 79 h 96"/>
                <a:gd name="T40" fmla="*/ 174 w 389"/>
                <a:gd name="T41" fmla="*/ 80 h 96"/>
                <a:gd name="T42" fmla="*/ 178 w 389"/>
                <a:gd name="T43" fmla="*/ 82 h 96"/>
                <a:gd name="T44" fmla="*/ 184 w 389"/>
                <a:gd name="T45" fmla="*/ 94 h 96"/>
                <a:gd name="T46" fmla="*/ 196 w 389"/>
                <a:gd name="T47" fmla="*/ 96 h 96"/>
                <a:gd name="T48" fmla="*/ 204 w 389"/>
                <a:gd name="T49" fmla="*/ 95 h 96"/>
                <a:gd name="T50" fmla="*/ 211 w 389"/>
                <a:gd name="T51" fmla="*/ 94 h 96"/>
                <a:gd name="T52" fmla="*/ 225 w 389"/>
                <a:gd name="T53" fmla="*/ 95 h 96"/>
                <a:gd name="T54" fmla="*/ 233 w 389"/>
                <a:gd name="T55" fmla="*/ 95 h 96"/>
                <a:gd name="T56" fmla="*/ 248 w 389"/>
                <a:gd name="T57" fmla="*/ 91 h 96"/>
                <a:gd name="T58" fmla="*/ 257 w 389"/>
                <a:gd name="T59" fmla="*/ 86 h 96"/>
                <a:gd name="T60" fmla="*/ 266 w 389"/>
                <a:gd name="T61" fmla="*/ 94 h 96"/>
                <a:gd name="T62" fmla="*/ 295 w 389"/>
                <a:gd name="T63" fmla="*/ 83 h 96"/>
                <a:gd name="T64" fmla="*/ 302 w 389"/>
                <a:gd name="T65" fmla="*/ 87 h 96"/>
                <a:gd name="T66" fmla="*/ 335 w 389"/>
                <a:gd name="T67" fmla="*/ 96 h 96"/>
                <a:gd name="T68" fmla="*/ 369 w 389"/>
                <a:gd name="T69" fmla="*/ 83 h 96"/>
                <a:gd name="T70" fmla="*/ 368 w 389"/>
                <a:gd name="T71" fmla="*/ 75 h 96"/>
                <a:gd name="T72" fmla="*/ 389 w 389"/>
                <a:gd name="T73" fmla="*/ 76 h 96"/>
                <a:gd name="T74" fmla="*/ 363 w 389"/>
                <a:gd name="T75" fmla="*/ 70 h 96"/>
                <a:gd name="T76" fmla="*/ 377 w 389"/>
                <a:gd name="T77" fmla="*/ 49 h 96"/>
                <a:gd name="T78" fmla="*/ 374 w 389"/>
                <a:gd name="T79" fmla="*/ 46 h 96"/>
                <a:gd name="T80" fmla="*/ 352 w 389"/>
                <a:gd name="T81" fmla="*/ 42 h 96"/>
                <a:gd name="T82" fmla="*/ 334 w 389"/>
                <a:gd name="T83" fmla="*/ 33 h 96"/>
                <a:gd name="T84" fmla="*/ 302 w 389"/>
                <a:gd name="T85" fmla="*/ 37 h 96"/>
                <a:gd name="T86" fmla="*/ 278 w 389"/>
                <a:gd name="T87" fmla="*/ 36 h 96"/>
                <a:gd name="T88" fmla="*/ 274 w 389"/>
                <a:gd name="T89" fmla="*/ 38 h 96"/>
                <a:gd name="T90" fmla="*/ 257 w 389"/>
                <a:gd name="T91" fmla="*/ 41 h 96"/>
                <a:gd name="T92" fmla="*/ 245 w 389"/>
                <a:gd name="T93" fmla="*/ 44 h 96"/>
                <a:gd name="T94" fmla="*/ 234 w 389"/>
                <a:gd name="T95" fmla="*/ 52 h 96"/>
                <a:gd name="T96" fmla="*/ 204 w 389"/>
                <a:gd name="T97" fmla="*/ 43 h 96"/>
                <a:gd name="T98" fmla="*/ 192 w 389"/>
                <a:gd name="T99" fmla="*/ 45 h 96"/>
                <a:gd name="T100" fmla="*/ 168 w 389"/>
                <a:gd name="T101" fmla="*/ 43 h 96"/>
                <a:gd name="T102" fmla="*/ 156 w 389"/>
                <a:gd name="T103" fmla="*/ 46 h 96"/>
                <a:gd name="T104" fmla="*/ 150 w 389"/>
                <a:gd name="T105" fmla="*/ 43 h 96"/>
                <a:gd name="T106" fmla="*/ 155 w 389"/>
                <a:gd name="T107" fmla="*/ 33 h 96"/>
                <a:gd name="T108" fmla="*/ 141 w 389"/>
                <a:gd name="T109" fmla="*/ 24 h 96"/>
                <a:gd name="T110" fmla="*/ 123 w 389"/>
                <a:gd name="T111" fmla="*/ 25 h 96"/>
                <a:gd name="T112" fmla="*/ 115 w 389"/>
                <a:gd name="T113" fmla="*/ 24 h 96"/>
                <a:gd name="T114" fmla="*/ 136 w 389"/>
                <a:gd name="T115" fmla="*/ 21 h 96"/>
                <a:gd name="T116" fmla="*/ 112 w 389"/>
                <a:gd name="T117" fmla="*/ 14 h 96"/>
                <a:gd name="T118" fmla="*/ 142 w 389"/>
                <a:gd name="T119" fmla="*/ 16 h 96"/>
                <a:gd name="T120" fmla="*/ 131 w 389"/>
                <a:gd name="T121" fmla="*/ 5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9" h="96">
                  <a:moveTo>
                    <a:pt x="108" y="0"/>
                  </a:moveTo>
                  <a:cubicBezTo>
                    <a:pt x="66" y="0"/>
                    <a:pt x="66" y="0"/>
                    <a:pt x="66" y="0"/>
                  </a:cubicBezTo>
                  <a:cubicBezTo>
                    <a:pt x="64" y="2"/>
                    <a:pt x="61" y="5"/>
                    <a:pt x="59" y="5"/>
                  </a:cubicBezTo>
                  <a:cubicBezTo>
                    <a:pt x="59" y="5"/>
                    <a:pt x="59" y="5"/>
                    <a:pt x="59" y="5"/>
                  </a:cubicBezTo>
                  <a:cubicBezTo>
                    <a:pt x="54" y="4"/>
                    <a:pt x="60" y="2"/>
                    <a:pt x="61" y="1"/>
                  </a:cubicBezTo>
                  <a:cubicBezTo>
                    <a:pt x="61" y="1"/>
                    <a:pt x="62" y="1"/>
                    <a:pt x="62" y="0"/>
                  </a:cubicBezTo>
                  <a:cubicBezTo>
                    <a:pt x="3" y="0"/>
                    <a:pt x="3" y="0"/>
                    <a:pt x="3" y="0"/>
                  </a:cubicBezTo>
                  <a:cubicBezTo>
                    <a:pt x="2" y="0"/>
                    <a:pt x="1" y="1"/>
                    <a:pt x="0" y="1"/>
                  </a:cubicBezTo>
                  <a:cubicBezTo>
                    <a:pt x="3" y="4"/>
                    <a:pt x="6" y="5"/>
                    <a:pt x="10" y="6"/>
                  </a:cubicBezTo>
                  <a:cubicBezTo>
                    <a:pt x="11" y="6"/>
                    <a:pt x="11" y="6"/>
                    <a:pt x="12" y="6"/>
                  </a:cubicBezTo>
                  <a:cubicBezTo>
                    <a:pt x="14" y="7"/>
                    <a:pt x="14" y="7"/>
                    <a:pt x="15" y="7"/>
                  </a:cubicBezTo>
                  <a:cubicBezTo>
                    <a:pt x="20" y="8"/>
                    <a:pt x="25" y="8"/>
                    <a:pt x="30" y="9"/>
                  </a:cubicBezTo>
                  <a:cubicBezTo>
                    <a:pt x="29" y="9"/>
                    <a:pt x="28" y="9"/>
                    <a:pt x="27" y="9"/>
                  </a:cubicBezTo>
                  <a:cubicBezTo>
                    <a:pt x="23" y="9"/>
                    <a:pt x="19" y="9"/>
                    <a:pt x="17" y="11"/>
                  </a:cubicBezTo>
                  <a:cubicBezTo>
                    <a:pt x="16" y="13"/>
                    <a:pt x="17" y="13"/>
                    <a:pt x="19" y="13"/>
                  </a:cubicBezTo>
                  <a:cubicBezTo>
                    <a:pt x="19" y="13"/>
                    <a:pt x="20" y="13"/>
                    <a:pt x="20" y="13"/>
                  </a:cubicBezTo>
                  <a:cubicBezTo>
                    <a:pt x="21" y="13"/>
                    <a:pt x="21" y="13"/>
                    <a:pt x="21" y="13"/>
                  </a:cubicBezTo>
                  <a:cubicBezTo>
                    <a:pt x="22" y="13"/>
                    <a:pt x="22" y="13"/>
                    <a:pt x="22" y="13"/>
                  </a:cubicBezTo>
                  <a:cubicBezTo>
                    <a:pt x="22" y="13"/>
                    <a:pt x="23" y="13"/>
                    <a:pt x="23" y="13"/>
                  </a:cubicBezTo>
                  <a:cubicBezTo>
                    <a:pt x="25" y="13"/>
                    <a:pt x="26" y="13"/>
                    <a:pt x="28" y="12"/>
                  </a:cubicBezTo>
                  <a:cubicBezTo>
                    <a:pt x="29" y="12"/>
                    <a:pt x="30" y="10"/>
                    <a:pt x="31" y="10"/>
                  </a:cubicBezTo>
                  <a:cubicBezTo>
                    <a:pt x="31" y="10"/>
                    <a:pt x="32" y="10"/>
                    <a:pt x="32" y="10"/>
                  </a:cubicBezTo>
                  <a:cubicBezTo>
                    <a:pt x="33" y="10"/>
                    <a:pt x="32" y="10"/>
                    <a:pt x="33" y="11"/>
                  </a:cubicBezTo>
                  <a:cubicBezTo>
                    <a:pt x="37" y="12"/>
                    <a:pt x="43" y="11"/>
                    <a:pt x="47" y="12"/>
                  </a:cubicBezTo>
                  <a:cubicBezTo>
                    <a:pt x="48" y="12"/>
                    <a:pt x="49" y="12"/>
                    <a:pt x="51" y="12"/>
                  </a:cubicBezTo>
                  <a:cubicBezTo>
                    <a:pt x="52" y="12"/>
                    <a:pt x="53" y="12"/>
                    <a:pt x="54" y="12"/>
                  </a:cubicBezTo>
                  <a:cubicBezTo>
                    <a:pt x="54" y="12"/>
                    <a:pt x="55" y="9"/>
                    <a:pt x="56" y="9"/>
                  </a:cubicBezTo>
                  <a:cubicBezTo>
                    <a:pt x="56" y="9"/>
                    <a:pt x="56" y="9"/>
                    <a:pt x="56" y="10"/>
                  </a:cubicBezTo>
                  <a:cubicBezTo>
                    <a:pt x="57" y="10"/>
                    <a:pt x="57" y="10"/>
                    <a:pt x="57" y="10"/>
                  </a:cubicBezTo>
                  <a:cubicBezTo>
                    <a:pt x="58" y="10"/>
                    <a:pt x="59" y="10"/>
                    <a:pt x="59" y="10"/>
                  </a:cubicBezTo>
                  <a:cubicBezTo>
                    <a:pt x="61" y="10"/>
                    <a:pt x="63" y="8"/>
                    <a:pt x="65" y="7"/>
                  </a:cubicBezTo>
                  <a:cubicBezTo>
                    <a:pt x="66" y="7"/>
                    <a:pt x="67" y="7"/>
                    <a:pt x="68" y="7"/>
                  </a:cubicBezTo>
                  <a:cubicBezTo>
                    <a:pt x="68" y="7"/>
                    <a:pt x="68" y="7"/>
                    <a:pt x="69" y="7"/>
                  </a:cubicBezTo>
                  <a:cubicBezTo>
                    <a:pt x="70" y="8"/>
                    <a:pt x="69" y="8"/>
                    <a:pt x="70" y="10"/>
                  </a:cubicBezTo>
                  <a:cubicBezTo>
                    <a:pt x="73" y="14"/>
                    <a:pt x="77" y="15"/>
                    <a:pt x="80" y="19"/>
                  </a:cubicBezTo>
                  <a:cubicBezTo>
                    <a:pt x="80" y="20"/>
                    <a:pt x="80" y="21"/>
                    <a:pt x="80" y="23"/>
                  </a:cubicBezTo>
                  <a:cubicBezTo>
                    <a:pt x="80" y="24"/>
                    <a:pt x="81" y="24"/>
                    <a:pt x="82" y="25"/>
                  </a:cubicBezTo>
                  <a:cubicBezTo>
                    <a:pt x="84" y="26"/>
                    <a:pt x="86" y="28"/>
                    <a:pt x="88" y="29"/>
                  </a:cubicBezTo>
                  <a:cubicBezTo>
                    <a:pt x="91" y="30"/>
                    <a:pt x="93" y="30"/>
                    <a:pt x="93" y="33"/>
                  </a:cubicBezTo>
                  <a:cubicBezTo>
                    <a:pt x="92" y="36"/>
                    <a:pt x="90" y="37"/>
                    <a:pt x="93" y="39"/>
                  </a:cubicBezTo>
                  <a:cubicBezTo>
                    <a:pt x="94" y="39"/>
                    <a:pt x="94" y="40"/>
                    <a:pt x="95" y="41"/>
                  </a:cubicBezTo>
                  <a:cubicBezTo>
                    <a:pt x="95" y="41"/>
                    <a:pt x="95" y="40"/>
                    <a:pt x="95" y="40"/>
                  </a:cubicBezTo>
                  <a:cubicBezTo>
                    <a:pt x="94" y="40"/>
                    <a:pt x="94" y="41"/>
                    <a:pt x="94" y="42"/>
                  </a:cubicBezTo>
                  <a:cubicBezTo>
                    <a:pt x="94" y="43"/>
                    <a:pt x="94" y="43"/>
                    <a:pt x="94" y="43"/>
                  </a:cubicBezTo>
                  <a:cubicBezTo>
                    <a:pt x="94" y="43"/>
                    <a:pt x="94" y="43"/>
                    <a:pt x="94" y="43"/>
                  </a:cubicBezTo>
                  <a:cubicBezTo>
                    <a:pt x="94" y="44"/>
                    <a:pt x="95" y="44"/>
                    <a:pt x="93" y="45"/>
                  </a:cubicBezTo>
                  <a:cubicBezTo>
                    <a:pt x="93" y="45"/>
                    <a:pt x="91" y="45"/>
                    <a:pt x="91" y="46"/>
                  </a:cubicBezTo>
                  <a:cubicBezTo>
                    <a:pt x="88" y="47"/>
                    <a:pt x="82" y="53"/>
                    <a:pt x="87" y="54"/>
                  </a:cubicBezTo>
                  <a:cubicBezTo>
                    <a:pt x="86" y="55"/>
                    <a:pt x="85" y="56"/>
                    <a:pt x="85" y="57"/>
                  </a:cubicBezTo>
                  <a:cubicBezTo>
                    <a:pt x="83" y="60"/>
                    <a:pt x="84" y="60"/>
                    <a:pt x="85" y="62"/>
                  </a:cubicBezTo>
                  <a:cubicBezTo>
                    <a:pt x="87" y="65"/>
                    <a:pt x="89" y="65"/>
                    <a:pt x="90" y="68"/>
                  </a:cubicBezTo>
                  <a:cubicBezTo>
                    <a:pt x="90" y="71"/>
                    <a:pt x="92" y="72"/>
                    <a:pt x="93" y="74"/>
                  </a:cubicBezTo>
                  <a:cubicBezTo>
                    <a:pt x="95" y="76"/>
                    <a:pt x="94" y="77"/>
                    <a:pt x="94" y="79"/>
                  </a:cubicBezTo>
                  <a:cubicBezTo>
                    <a:pt x="93" y="82"/>
                    <a:pt x="95" y="81"/>
                    <a:pt x="96" y="82"/>
                  </a:cubicBezTo>
                  <a:cubicBezTo>
                    <a:pt x="98" y="85"/>
                    <a:pt x="98" y="85"/>
                    <a:pt x="98" y="85"/>
                  </a:cubicBezTo>
                  <a:cubicBezTo>
                    <a:pt x="98" y="85"/>
                    <a:pt x="99" y="85"/>
                    <a:pt x="99" y="85"/>
                  </a:cubicBezTo>
                  <a:cubicBezTo>
                    <a:pt x="100" y="85"/>
                    <a:pt x="100" y="84"/>
                    <a:pt x="101" y="84"/>
                  </a:cubicBezTo>
                  <a:cubicBezTo>
                    <a:pt x="101" y="84"/>
                    <a:pt x="101" y="84"/>
                    <a:pt x="101" y="84"/>
                  </a:cubicBezTo>
                  <a:cubicBezTo>
                    <a:pt x="102" y="84"/>
                    <a:pt x="102" y="86"/>
                    <a:pt x="103" y="87"/>
                  </a:cubicBezTo>
                  <a:cubicBezTo>
                    <a:pt x="104" y="87"/>
                    <a:pt x="106" y="88"/>
                    <a:pt x="106" y="88"/>
                  </a:cubicBezTo>
                  <a:cubicBezTo>
                    <a:pt x="106" y="88"/>
                    <a:pt x="106" y="88"/>
                    <a:pt x="107" y="88"/>
                  </a:cubicBezTo>
                  <a:cubicBezTo>
                    <a:pt x="108" y="88"/>
                    <a:pt x="109" y="87"/>
                    <a:pt x="109" y="87"/>
                  </a:cubicBezTo>
                  <a:cubicBezTo>
                    <a:pt x="110" y="86"/>
                    <a:pt x="110" y="85"/>
                    <a:pt x="110" y="85"/>
                  </a:cubicBezTo>
                  <a:cubicBezTo>
                    <a:pt x="111" y="85"/>
                    <a:pt x="111" y="86"/>
                    <a:pt x="111" y="87"/>
                  </a:cubicBezTo>
                  <a:cubicBezTo>
                    <a:pt x="112" y="88"/>
                    <a:pt x="112" y="88"/>
                    <a:pt x="113" y="88"/>
                  </a:cubicBezTo>
                  <a:cubicBezTo>
                    <a:pt x="113" y="88"/>
                    <a:pt x="114" y="88"/>
                    <a:pt x="114" y="87"/>
                  </a:cubicBezTo>
                  <a:cubicBezTo>
                    <a:pt x="113" y="84"/>
                    <a:pt x="113" y="84"/>
                    <a:pt x="115" y="83"/>
                  </a:cubicBezTo>
                  <a:cubicBezTo>
                    <a:pt x="118" y="81"/>
                    <a:pt x="121" y="78"/>
                    <a:pt x="124" y="77"/>
                  </a:cubicBezTo>
                  <a:cubicBezTo>
                    <a:pt x="125" y="80"/>
                    <a:pt x="119" y="83"/>
                    <a:pt x="118" y="85"/>
                  </a:cubicBezTo>
                  <a:cubicBezTo>
                    <a:pt x="119" y="86"/>
                    <a:pt x="119" y="86"/>
                    <a:pt x="120" y="86"/>
                  </a:cubicBezTo>
                  <a:cubicBezTo>
                    <a:pt x="120" y="86"/>
                    <a:pt x="121" y="85"/>
                    <a:pt x="121" y="85"/>
                  </a:cubicBezTo>
                  <a:cubicBezTo>
                    <a:pt x="122" y="85"/>
                    <a:pt x="122" y="84"/>
                    <a:pt x="123" y="84"/>
                  </a:cubicBezTo>
                  <a:cubicBezTo>
                    <a:pt x="123" y="84"/>
                    <a:pt x="123" y="84"/>
                    <a:pt x="123" y="84"/>
                  </a:cubicBezTo>
                  <a:cubicBezTo>
                    <a:pt x="124" y="85"/>
                    <a:pt x="124" y="86"/>
                    <a:pt x="125" y="87"/>
                  </a:cubicBezTo>
                  <a:cubicBezTo>
                    <a:pt x="125" y="88"/>
                    <a:pt x="127" y="89"/>
                    <a:pt x="128" y="89"/>
                  </a:cubicBezTo>
                  <a:cubicBezTo>
                    <a:pt x="129" y="90"/>
                    <a:pt x="130" y="90"/>
                    <a:pt x="131" y="90"/>
                  </a:cubicBezTo>
                  <a:cubicBezTo>
                    <a:pt x="131" y="90"/>
                    <a:pt x="131" y="90"/>
                    <a:pt x="131" y="90"/>
                  </a:cubicBezTo>
                  <a:cubicBezTo>
                    <a:pt x="131" y="90"/>
                    <a:pt x="131" y="90"/>
                    <a:pt x="131" y="90"/>
                  </a:cubicBezTo>
                  <a:cubicBezTo>
                    <a:pt x="133" y="90"/>
                    <a:pt x="132" y="90"/>
                    <a:pt x="134" y="90"/>
                  </a:cubicBezTo>
                  <a:cubicBezTo>
                    <a:pt x="136" y="91"/>
                    <a:pt x="137" y="92"/>
                    <a:pt x="139" y="92"/>
                  </a:cubicBezTo>
                  <a:cubicBezTo>
                    <a:pt x="140" y="92"/>
                    <a:pt x="140" y="92"/>
                    <a:pt x="140" y="92"/>
                  </a:cubicBezTo>
                  <a:cubicBezTo>
                    <a:pt x="140" y="92"/>
                    <a:pt x="140" y="91"/>
                    <a:pt x="141" y="91"/>
                  </a:cubicBezTo>
                  <a:cubicBezTo>
                    <a:pt x="141" y="91"/>
                    <a:pt x="141" y="91"/>
                    <a:pt x="141" y="91"/>
                  </a:cubicBezTo>
                  <a:cubicBezTo>
                    <a:pt x="142" y="91"/>
                    <a:pt x="142" y="92"/>
                    <a:pt x="142" y="92"/>
                  </a:cubicBezTo>
                  <a:cubicBezTo>
                    <a:pt x="143" y="92"/>
                    <a:pt x="143" y="93"/>
                    <a:pt x="145" y="93"/>
                  </a:cubicBezTo>
                  <a:cubicBezTo>
                    <a:pt x="145" y="93"/>
                    <a:pt x="145" y="93"/>
                    <a:pt x="145" y="93"/>
                  </a:cubicBezTo>
                  <a:cubicBezTo>
                    <a:pt x="147" y="93"/>
                    <a:pt x="149" y="92"/>
                    <a:pt x="150" y="92"/>
                  </a:cubicBezTo>
                  <a:cubicBezTo>
                    <a:pt x="151" y="92"/>
                    <a:pt x="151" y="92"/>
                    <a:pt x="151" y="92"/>
                  </a:cubicBezTo>
                  <a:cubicBezTo>
                    <a:pt x="152" y="93"/>
                    <a:pt x="152" y="93"/>
                    <a:pt x="152" y="93"/>
                  </a:cubicBezTo>
                  <a:cubicBezTo>
                    <a:pt x="153" y="93"/>
                    <a:pt x="154" y="92"/>
                    <a:pt x="155" y="92"/>
                  </a:cubicBezTo>
                  <a:cubicBezTo>
                    <a:pt x="155" y="92"/>
                    <a:pt x="155" y="91"/>
                    <a:pt x="156" y="91"/>
                  </a:cubicBezTo>
                  <a:cubicBezTo>
                    <a:pt x="156" y="91"/>
                    <a:pt x="156" y="91"/>
                    <a:pt x="156" y="91"/>
                  </a:cubicBezTo>
                  <a:cubicBezTo>
                    <a:pt x="156" y="91"/>
                    <a:pt x="157" y="91"/>
                    <a:pt x="157" y="91"/>
                  </a:cubicBezTo>
                  <a:cubicBezTo>
                    <a:pt x="157" y="91"/>
                    <a:pt x="157" y="91"/>
                    <a:pt x="157" y="91"/>
                  </a:cubicBezTo>
                  <a:cubicBezTo>
                    <a:pt x="157" y="91"/>
                    <a:pt x="157" y="91"/>
                    <a:pt x="157" y="91"/>
                  </a:cubicBezTo>
                  <a:cubicBezTo>
                    <a:pt x="160" y="90"/>
                    <a:pt x="162" y="91"/>
                    <a:pt x="162" y="88"/>
                  </a:cubicBezTo>
                  <a:cubicBezTo>
                    <a:pt x="161" y="86"/>
                    <a:pt x="159" y="85"/>
                    <a:pt x="159" y="83"/>
                  </a:cubicBezTo>
                  <a:cubicBezTo>
                    <a:pt x="160" y="83"/>
                    <a:pt x="161" y="84"/>
                    <a:pt x="162" y="84"/>
                  </a:cubicBezTo>
                  <a:cubicBezTo>
                    <a:pt x="163" y="84"/>
                    <a:pt x="163" y="84"/>
                    <a:pt x="163" y="84"/>
                  </a:cubicBezTo>
                  <a:cubicBezTo>
                    <a:pt x="164" y="84"/>
                    <a:pt x="163" y="80"/>
                    <a:pt x="163" y="79"/>
                  </a:cubicBezTo>
                  <a:cubicBezTo>
                    <a:pt x="164" y="80"/>
                    <a:pt x="166" y="81"/>
                    <a:pt x="167" y="83"/>
                  </a:cubicBezTo>
                  <a:cubicBezTo>
                    <a:pt x="167" y="84"/>
                    <a:pt x="167" y="87"/>
                    <a:pt x="168" y="87"/>
                  </a:cubicBezTo>
                  <a:cubicBezTo>
                    <a:pt x="168" y="87"/>
                    <a:pt x="169" y="87"/>
                    <a:pt x="169" y="87"/>
                  </a:cubicBezTo>
                  <a:cubicBezTo>
                    <a:pt x="170" y="86"/>
                    <a:pt x="172" y="79"/>
                    <a:pt x="173" y="79"/>
                  </a:cubicBezTo>
                  <a:cubicBezTo>
                    <a:pt x="173" y="79"/>
                    <a:pt x="173" y="79"/>
                    <a:pt x="174" y="80"/>
                  </a:cubicBezTo>
                  <a:cubicBezTo>
                    <a:pt x="174" y="79"/>
                    <a:pt x="175" y="76"/>
                    <a:pt x="176" y="76"/>
                  </a:cubicBezTo>
                  <a:cubicBezTo>
                    <a:pt x="176" y="76"/>
                    <a:pt x="176" y="77"/>
                    <a:pt x="177" y="78"/>
                  </a:cubicBezTo>
                  <a:cubicBezTo>
                    <a:pt x="177" y="79"/>
                    <a:pt x="177" y="81"/>
                    <a:pt x="177" y="81"/>
                  </a:cubicBezTo>
                  <a:cubicBezTo>
                    <a:pt x="177" y="82"/>
                    <a:pt x="180" y="81"/>
                    <a:pt x="181" y="82"/>
                  </a:cubicBezTo>
                  <a:cubicBezTo>
                    <a:pt x="180" y="82"/>
                    <a:pt x="179" y="82"/>
                    <a:pt x="178" y="82"/>
                  </a:cubicBezTo>
                  <a:cubicBezTo>
                    <a:pt x="180" y="86"/>
                    <a:pt x="170" y="93"/>
                    <a:pt x="178" y="95"/>
                  </a:cubicBezTo>
                  <a:cubicBezTo>
                    <a:pt x="179" y="95"/>
                    <a:pt x="180" y="95"/>
                    <a:pt x="181" y="95"/>
                  </a:cubicBezTo>
                  <a:cubicBezTo>
                    <a:pt x="181" y="95"/>
                    <a:pt x="181" y="95"/>
                    <a:pt x="181" y="95"/>
                  </a:cubicBezTo>
                  <a:cubicBezTo>
                    <a:pt x="182" y="95"/>
                    <a:pt x="184" y="94"/>
                    <a:pt x="184" y="94"/>
                  </a:cubicBezTo>
                  <a:cubicBezTo>
                    <a:pt x="184" y="94"/>
                    <a:pt x="184" y="94"/>
                    <a:pt x="184" y="94"/>
                  </a:cubicBezTo>
                  <a:cubicBezTo>
                    <a:pt x="186" y="94"/>
                    <a:pt x="187" y="96"/>
                    <a:pt x="189" y="96"/>
                  </a:cubicBezTo>
                  <a:cubicBezTo>
                    <a:pt x="190" y="96"/>
                    <a:pt x="190" y="96"/>
                    <a:pt x="190" y="96"/>
                  </a:cubicBezTo>
                  <a:cubicBezTo>
                    <a:pt x="191" y="96"/>
                    <a:pt x="192" y="94"/>
                    <a:pt x="193" y="94"/>
                  </a:cubicBezTo>
                  <a:cubicBezTo>
                    <a:pt x="193" y="94"/>
                    <a:pt x="193" y="94"/>
                    <a:pt x="193" y="94"/>
                  </a:cubicBezTo>
                  <a:cubicBezTo>
                    <a:pt x="193" y="94"/>
                    <a:pt x="195" y="96"/>
                    <a:pt x="196" y="96"/>
                  </a:cubicBezTo>
                  <a:cubicBezTo>
                    <a:pt x="196" y="96"/>
                    <a:pt x="196" y="96"/>
                    <a:pt x="196" y="96"/>
                  </a:cubicBezTo>
                  <a:cubicBezTo>
                    <a:pt x="197" y="96"/>
                    <a:pt x="198" y="96"/>
                    <a:pt x="199" y="96"/>
                  </a:cubicBezTo>
                  <a:cubicBezTo>
                    <a:pt x="200" y="96"/>
                    <a:pt x="201" y="94"/>
                    <a:pt x="201" y="94"/>
                  </a:cubicBezTo>
                  <a:cubicBezTo>
                    <a:pt x="201" y="94"/>
                    <a:pt x="201" y="94"/>
                    <a:pt x="201" y="94"/>
                  </a:cubicBezTo>
                  <a:cubicBezTo>
                    <a:pt x="202" y="94"/>
                    <a:pt x="203" y="94"/>
                    <a:pt x="204" y="95"/>
                  </a:cubicBezTo>
                  <a:cubicBezTo>
                    <a:pt x="204" y="95"/>
                    <a:pt x="205" y="96"/>
                    <a:pt x="207" y="96"/>
                  </a:cubicBezTo>
                  <a:cubicBezTo>
                    <a:pt x="207" y="96"/>
                    <a:pt x="207" y="96"/>
                    <a:pt x="207" y="96"/>
                  </a:cubicBezTo>
                  <a:cubicBezTo>
                    <a:pt x="208" y="96"/>
                    <a:pt x="209" y="96"/>
                    <a:pt x="210" y="95"/>
                  </a:cubicBezTo>
                  <a:cubicBezTo>
                    <a:pt x="210" y="95"/>
                    <a:pt x="210" y="94"/>
                    <a:pt x="211" y="94"/>
                  </a:cubicBezTo>
                  <a:cubicBezTo>
                    <a:pt x="211" y="94"/>
                    <a:pt x="211" y="94"/>
                    <a:pt x="211" y="94"/>
                  </a:cubicBezTo>
                  <a:cubicBezTo>
                    <a:pt x="211" y="94"/>
                    <a:pt x="211" y="95"/>
                    <a:pt x="212" y="96"/>
                  </a:cubicBezTo>
                  <a:cubicBezTo>
                    <a:pt x="213" y="96"/>
                    <a:pt x="215" y="96"/>
                    <a:pt x="217" y="96"/>
                  </a:cubicBezTo>
                  <a:cubicBezTo>
                    <a:pt x="218" y="96"/>
                    <a:pt x="219" y="96"/>
                    <a:pt x="220" y="96"/>
                  </a:cubicBezTo>
                  <a:cubicBezTo>
                    <a:pt x="218" y="95"/>
                    <a:pt x="216" y="92"/>
                    <a:pt x="216" y="89"/>
                  </a:cubicBezTo>
                  <a:cubicBezTo>
                    <a:pt x="217" y="91"/>
                    <a:pt x="221" y="95"/>
                    <a:pt x="225" y="95"/>
                  </a:cubicBezTo>
                  <a:cubicBezTo>
                    <a:pt x="226" y="95"/>
                    <a:pt x="226" y="95"/>
                    <a:pt x="227" y="95"/>
                  </a:cubicBezTo>
                  <a:cubicBezTo>
                    <a:pt x="228" y="94"/>
                    <a:pt x="229" y="90"/>
                    <a:pt x="230" y="90"/>
                  </a:cubicBezTo>
                  <a:cubicBezTo>
                    <a:pt x="230" y="90"/>
                    <a:pt x="230" y="90"/>
                    <a:pt x="231" y="91"/>
                  </a:cubicBezTo>
                  <a:cubicBezTo>
                    <a:pt x="232" y="93"/>
                    <a:pt x="231" y="95"/>
                    <a:pt x="233" y="95"/>
                  </a:cubicBezTo>
                  <a:cubicBezTo>
                    <a:pt x="233" y="95"/>
                    <a:pt x="233" y="95"/>
                    <a:pt x="233" y="95"/>
                  </a:cubicBezTo>
                  <a:cubicBezTo>
                    <a:pt x="234" y="95"/>
                    <a:pt x="235" y="95"/>
                    <a:pt x="236" y="95"/>
                  </a:cubicBezTo>
                  <a:cubicBezTo>
                    <a:pt x="238" y="95"/>
                    <a:pt x="240" y="95"/>
                    <a:pt x="243" y="95"/>
                  </a:cubicBezTo>
                  <a:cubicBezTo>
                    <a:pt x="248" y="95"/>
                    <a:pt x="245" y="91"/>
                    <a:pt x="245" y="87"/>
                  </a:cubicBezTo>
                  <a:cubicBezTo>
                    <a:pt x="245" y="87"/>
                    <a:pt x="245" y="86"/>
                    <a:pt x="245" y="86"/>
                  </a:cubicBezTo>
                  <a:cubicBezTo>
                    <a:pt x="246" y="86"/>
                    <a:pt x="248" y="90"/>
                    <a:pt x="248" y="91"/>
                  </a:cubicBezTo>
                  <a:cubicBezTo>
                    <a:pt x="249" y="94"/>
                    <a:pt x="249" y="95"/>
                    <a:pt x="252" y="95"/>
                  </a:cubicBezTo>
                  <a:cubicBezTo>
                    <a:pt x="252" y="95"/>
                    <a:pt x="252" y="95"/>
                    <a:pt x="253" y="95"/>
                  </a:cubicBezTo>
                  <a:cubicBezTo>
                    <a:pt x="259" y="94"/>
                    <a:pt x="254" y="88"/>
                    <a:pt x="257" y="86"/>
                  </a:cubicBezTo>
                  <a:cubicBezTo>
                    <a:pt x="257" y="85"/>
                    <a:pt x="257" y="84"/>
                    <a:pt x="257" y="83"/>
                  </a:cubicBezTo>
                  <a:cubicBezTo>
                    <a:pt x="257" y="84"/>
                    <a:pt x="257" y="85"/>
                    <a:pt x="257" y="86"/>
                  </a:cubicBezTo>
                  <a:cubicBezTo>
                    <a:pt x="258" y="88"/>
                    <a:pt x="258" y="93"/>
                    <a:pt x="260" y="94"/>
                  </a:cubicBezTo>
                  <a:cubicBezTo>
                    <a:pt x="260" y="94"/>
                    <a:pt x="260" y="94"/>
                    <a:pt x="261" y="94"/>
                  </a:cubicBezTo>
                  <a:cubicBezTo>
                    <a:pt x="261" y="94"/>
                    <a:pt x="262" y="94"/>
                    <a:pt x="263" y="94"/>
                  </a:cubicBezTo>
                  <a:cubicBezTo>
                    <a:pt x="263" y="94"/>
                    <a:pt x="264" y="94"/>
                    <a:pt x="264" y="94"/>
                  </a:cubicBezTo>
                  <a:cubicBezTo>
                    <a:pt x="265" y="94"/>
                    <a:pt x="265" y="94"/>
                    <a:pt x="266" y="94"/>
                  </a:cubicBezTo>
                  <a:cubicBezTo>
                    <a:pt x="268" y="94"/>
                    <a:pt x="269" y="94"/>
                    <a:pt x="271" y="94"/>
                  </a:cubicBezTo>
                  <a:cubicBezTo>
                    <a:pt x="273" y="94"/>
                    <a:pt x="276" y="94"/>
                    <a:pt x="278" y="93"/>
                  </a:cubicBezTo>
                  <a:cubicBezTo>
                    <a:pt x="283" y="92"/>
                    <a:pt x="287" y="93"/>
                    <a:pt x="291" y="92"/>
                  </a:cubicBezTo>
                  <a:cubicBezTo>
                    <a:pt x="293" y="91"/>
                    <a:pt x="293" y="89"/>
                    <a:pt x="294" y="87"/>
                  </a:cubicBezTo>
                  <a:cubicBezTo>
                    <a:pt x="295" y="85"/>
                    <a:pt x="295" y="85"/>
                    <a:pt x="295" y="83"/>
                  </a:cubicBezTo>
                  <a:cubicBezTo>
                    <a:pt x="295" y="81"/>
                    <a:pt x="292" y="79"/>
                    <a:pt x="292" y="76"/>
                  </a:cubicBezTo>
                  <a:cubicBezTo>
                    <a:pt x="294" y="76"/>
                    <a:pt x="296" y="80"/>
                    <a:pt x="299" y="80"/>
                  </a:cubicBezTo>
                  <a:cubicBezTo>
                    <a:pt x="299" y="80"/>
                    <a:pt x="299" y="80"/>
                    <a:pt x="299" y="80"/>
                  </a:cubicBezTo>
                  <a:cubicBezTo>
                    <a:pt x="299" y="80"/>
                    <a:pt x="299" y="80"/>
                    <a:pt x="299" y="80"/>
                  </a:cubicBezTo>
                  <a:cubicBezTo>
                    <a:pt x="304" y="80"/>
                    <a:pt x="300" y="83"/>
                    <a:pt x="302" y="87"/>
                  </a:cubicBezTo>
                  <a:cubicBezTo>
                    <a:pt x="303" y="90"/>
                    <a:pt x="308" y="94"/>
                    <a:pt x="313" y="94"/>
                  </a:cubicBezTo>
                  <a:cubicBezTo>
                    <a:pt x="314" y="94"/>
                    <a:pt x="316" y="94"/>
                    <a:pt x="316" y="92"/>
                  </a:cubicBezTo>
                  <a:cubicBezTo>
                    <a:pt x="316" y="94"/>
                    <a:pt x="324" y="96"/>
                    <a:pt x="326" y="96"/>
                  </a:cubicBezTo>
                  <a:cubicBezTo>
                    <a:pt x="329" y="96"/>
                    <a:pt x="331" y="96"/>
                    <a:pt x="333" y="96"/>
                  </a:cubicBezTo>
                  <a:cubicBezTo>
                    <a:pt x="333" y="96"/>
                    <a:pt x="334" y="96"/>
                    <a:pt x="335" y="96"/>
                  </a:cubicBezTo>
                  <a:cubicBezTo>
                    <a:pt x="342" y="95"/>
                    <a:pt x="350" y="94"/>
                    <a:pt x="357" y="93"/>
                  </a:cubicBezTo>
                  <a:cubicBezTo>
                    <a:pt x="361" y="92"/>
                    <a:pt x="367" y="93"/>
                    <a:pt x="369" y="90"/>
                  </a:cubicBezTo>
                  <a:cubicBezTo>
                    <a:pt x="370" y="88"/>
                    <a:pt x="369" y="89"/>
                    <a:pt x="369" y="88"/>
                  </a:cubicBezTo>
                  <a:cubicBezTo>
                    <a:pt x="369" y="87"/>
                    <a:pt x="370" y="86"/>
                    <a:pt x="370" y="85"/>
                  </a:cubicBezTo>
                  <a:cubicBezTo>
                    <a:pt x="369" y="83"/>
                    <a:pt x="369" y="83"/>
                    <a:pt x="369" y="83"/>
                  </a:cubicBezTo>
                  <a:cubicBezTo>
                    <a:pt x="369" y="82"/>
                    <a:pt x="371" y="82"/>
                    <a:pt x="371" y="80"/>
                  </a:cubicBezTo>
                  <a:cubicBezTo>
                    <a:pt x="370" y="78"/>
                    <a:pt x="367" y="78"/>
                    <a:pt x="367" y="75"/>
                  </a:cubicBezTo>
                  <a:cubicBezTo>
                    <a:pt x="367" y="75"/>
                    <a:pt x="367" y="75"/>
                    <a:pt x="367" y="75"/>
                  </a:cubicBezTo>
                  <a:cubicBezTo>
                    <a:pt x="367" y="75"/>
                    <a:pt x="367" y="75"/>
                    <a:pt x="368" y="75"/>
                  </a:cubicBezTo>
                  <a:cubicBezTo>
                    <a:pt x="368" y="75"/>
                    <a:pt x="368" y="75"/>
                    <a:pt x="368" y="75"/>
                  </a:cubicBezTo>
                  <a:cubicBezTo>
                    <a:pt x="369" y="75"/>
                    <a:pt x="369" y="75"/>
                    <a:pt x="370" y="75"/>
                  </a:cubicBezTo>
                  <a:cubicBezTo>
                    <a:pt x="371" y="76"/>
                    <a:pt x="369" y="77"/>
                    <a:pt x="370" y="78"/>
                  </a:cubicBezTo>
                  <a:cubicBezTo>
                    <a:pt x="370" y="78"/>
                    <a:pt x="371" y="78"/>
                    <a:pt x="371" y="78"/>
                  </a:cubicBezTo>
                  <a:cubicBezTo>
                    <a:pt x="374" y="78"/>
                    <a:pt x="378" y="77"/>
                    <a:pt x="379" y="77"/>
                  </a:cubicBezTo>
                  <a:cubicBezTo>
                    <a:pt x="382" y="77"/>
                    <a:pt x="386" y="77"/>
                    <a:pt x="389" y="76"/>
                  </a:cubicBezTo>
                  <a:cubicBezTo>
                    <a:pt x="385" y="74"/>
                    <a:pt x="385" y="71"/>
                    <a:pt x="382" y="70"/>
                  </a:cubicBezTo>
                  <a:cubicBezTo>
                    <a:pt x="381" y="70"/>
                    <a:pt x="380" y="70"/>
                    <a:pt x="380" y="70"/>
                  </a:cubicBezTo>
                  <a:cubicBezTo>
                    <a:pt x="378" y="70"/>
                    <a:pt x="377" y="71"/>
                    <a:pt x="376" y="71"/>
                  </a:cubicBezTo>
                  <a:cubicBezTo>
                    <a:pt x="373" y="73"/>
                    <a:pt x="371" y="73"/>
                    <a:pt x="368" y="74"/>
                  </a:cubicBezTo>
                  <a:cubicBezTo>
                    <a:pt x="370" y="71"/>
                    <a:pt x="365" y="71"/>
                    <a:pt x="363" y="70"/>
                  </a:cubicBezTo>
                  <a:cubicBezTo>
                    <a:pt x="371" y="66"/>
                    <a:pt x="379" y="62"/>
                    <a:pt x="386" y="59"/>
                  </a:cubicBezTo>
                  <a:cubicBezTo>
                    <a:pt x="385" y="58"/>
                    <a:pt x="385" y="57"/>
                    <a:pt x="385" y="55"/>
                  </a:cubicBezTo>
                  <a:cubicBezTo>
                    <a:pt x="385" y="53"/>
                    <a:pt x="384" y="54"/>
                    <a:pt x="384" y="53"/>
                  </a:cubicBezTo>
                  <a:cubicBezTo>
                    <a:pt x="382" y="50"/>
                    <a:pt x="383" y="50"/>
                    <a:pt x="380" y="49"/>
                  </a:cubicBezTo>
                  <a:cubicBezTo>
                    <a:pt x="379" y="49"/>
                    <a:pt x="378" y="49"/>
                    <a:pt x="377" y="49"/>
                  </a:cubicBezTo>
                  <a:cubicBezTo>
                    <a:pt x="376" y="49"/>
                    <a:pt x="375" y="49"/>
                    <a:pt x="373" y="50"/>
                  </a:cubicBezTo>
                  <a:cubicBezTo>
                    <a:pt x="372" y="50"/>
                    <a:pt x="371" y="50"/>
                    <a:pt x="369" y="50"/>
                  </a:cubicBezTo>
                  <a:cubicBezTo>
                    <a:pt x="368" y="50"/>
                    <a:pt x="367" y="50"/>
                    <a:pt x="366" y="49"/>
                  </a:cubicBezTo>
                  <a:cubicBezTo>
                    <a:pt x="368" y="48"/>
                    <a:pt x="372" y="48"/>
                    <a:pt x="374" y="46"/>
                  </a:cubicBezTo>
                  <a:cubicBezTo>
                    <a:pt x="374" y="46"/>
                    <a:pt x="374" y="46"/>
                    <a:pt x="374" y="46"/>
                  </a:cubicBezTo>
                  <a:cubicBezTo>
                    <a:pt x="372" y="46"/>
                    <a:pt x="371" y="44"/>
                    <a:pt x="369" y="43"/>
                  </a:cubicBezTo>
                  <a:cubicBezTo>
                    <a:pt x="367" y="42"/>
                    <a:pt x="364" y="41"/>
                    <a:pt x="362" y="41"/>
                  </a:cubicBezTo>
                  <a:cubicBezTo>
                    <a:pt x="362" y="41"/>
                    <a:pt x="361" y="41"/>
                    <a:pt x="361" y="41"/>
                  </a:cubicBezTo>
                  <a:cubicBezTo>
                    <a:pt x="359" y="41"/>
                    <a:pt x="356" y="42"/>
                    <a:pt x="354" y="42"/>
                  </a:cubicBezTo>
                  <a:cubicBezTo>
                    <a:pt x="353" y="42"/>
                    <a:pt x="352" y="42"/>
                    <a:pt x="352" y="42"/>
                  </a:cubicBezTo>
                  <a:cubicBezTo>
                    <a:pt x="351" y="42"/>
                    <a:pt x="351" y="42"/>
                    <a:pt x="351" y="42"/>
                  </a:cubicBezTo>
                  <a:cubicBezTo>
                    <a:pt x="348" y="41"/>
                    <a:pt x="349" y="38"/>
                    <a:pt x="347" y="36"/>
                  </a:cubicBezTo>
                  <a:cubicBezTo>
                    <a:pt x="346" y="34"/>
                    <a:pt x="340" y="34"/>
                    <a:pt x="338" y="34"/>
                  </a:cubicBezTo>
                  <a:cubicBezTo>
                    <a:pt x="337" y="33"/>
                    <a:pt x="336" y="33"/>
                    <a:pt x="335" y="33"/>
                  </a:cubicBezTo>
                  <a:cubicBezTo>
                    <a:pt x="335" y="33"/>
                    <a:pt x="334" y="33"/>
                    <a:pt x="334" y="33"/>
                  </a:cubicBezTo>
                  <a:cubicBezTo>
                    <a:pt x="333" y="33"/>
                    <a:pt x="333" y="33"/>
                    <a:pt x="332" y="33"/>
                  </a:cubicBezTo>
                  <a:cubicBezTo>
                    <a:pt x="332" y="33"/>
                    <a:pt x="331" y="33"/>
                    <a:pt x="331" y="33"/>
                  </a:cubicBezTo>
                  <a:cubicBezTo>
                    <a:pt x="327" y="33"/>
                    <a:pt x="323" y="32"/>
                    <a:pt x="320" y="32"/>
                  </a:cubicBezTo>
                  <a:cubicBezTo>
                    <a:pt x="318" y="32"/>
                    <a:pt x="317" y="32"/>
                    <a:pt x="316" y="33"/>
                  </a:cubicBezTo>
                  <a:cubicBezTo>
                    <a:pt x="311" y="33"/>
                    <a:pt x="307" y="36"/>
                    <a:pt x="302" y="37"/>
                  </a:cubicBezTo>
                  <a:cubicBezTo>
                    <a:pt x="302" y="37"/>
                    <a:pt x="301" y="37"/>
                    <a:pt x="300" y="37"/>
                  </a:cubicBezTo>
                  <a:cubicBezTo>
                    <a:pt x="298" y="37"/>
                    <a:pt x="295" y="36"/>
                    <a:pt x="293" y="35"/>
                  </a:cubicBezTo>
                  <a:cubicBezTo>
                    <a:pt x="289" y="34"/>
                    <a:pt x="286" y="33"/>
                    <a:pt x="282" y="33"/>
                  </a:cubicBezTo>
                  <a:cubicBezTo>
                    <a:pt x="282" y="33"/>
                    <a:pt x="282" y="33"/>
                    <a:pt x="282" y="33"/>
                  </a:cubicBezTo>
                  <a:cubicBezTo>
                    <a:pt x="284" y="34"/>
                    <a:pt x="280" y="35"/>
                    <a:pt x="278" y="36"/>
                  </a:cubicBezTo>
                  <a:cubicBezTo>
                    <a:pt x="278" y="36"/>
                    <a:pt x="278" y="36"/>
                    <a:pt x="278" y="36"/>
                  </a:cubicBezTo>
                  <a:cubicBezTo>
                    <a:pt x="278" y="36"/>
                    <a:pt x="277" y="36"/>
                    <a:pt x="277" y="36"/>
                  </a:cubicBezTo>
                  <a:cubicBezTo>
                    <a:pt x="277" y="36"/>
                    <a:pt x="277" y="36"/>
                    <a:pt x="277" y="36"/>
                  </a:cubicBezTo>
                  <a:cubicBezTo>
                    <a:pt x="276" y="36"/>
                    <a:pt x="276" y="36"/>
                    <a:pt x="276" y="36"/>
                  </a:cubicBezTo>
                  <a:cubicBezTo>
                    <a:pt x="275" y="36"/>
                    <a:pt x="275" y="38"/>
                    <a:pt x="274" y="38"/>
                  </a:cubicBezTo>
                  <a:cubicBezTo>
                    <a:pt x="271" y="40"/>
                    <a:pt x="261" y="38"/>
                    <a:pt x="269" y="42"/>
                  </a:cubicBezTo>
                  <a:cubicBezTo>
                    <a:pt x="268" y="42"/>
                    <a:pt x="268" y="42"/>
                    <a:pt x="267" y="42"/>
                  </a:cubicBezTo>
                  <a:cubicBezTo>
                    <a:pt x="266" y="42"/>
                    <a:pt x="264" y="42"/>
                    <a:pt x="263" y="41"/>
                  </a:cubicBezTo>
                  <a:cubicBezTo>
                    <a:pt x="261" y="41"/>
                    <a:pt x="260" y="41"/>
                    <a:pt x="258" y="41"/>
                  </a:cubicBezTo>
                  <a:cubicBezTo>
                    <a:pt x="258" y="41"/>
                    <a:pt x="258" y="41"/>
                    <a:pt x="257" y="41"/>
                  </a:cubicBezTo>
                  <a:cubicBezTo>
                    <a:pt x="257" y="41"/>
                    <a:pt x="257" y="41"/>
                    <a:pt x="257" y="41"/>
                  </a:cubicBezTo>
                  <a:cubicBezTo>
                    <a:pt x="257" y="41"/>
                    <a:pt x="257" y="41"/>
                    <a:pt x="257" y="41"/>
                  </a:cubicBezTo>
                  <a:cubicBezTo>
                    <a:pt x="257" y="41"/>
                    <a:pt x="256" y="41"/>
                    <a:pt x="256" y="41"/>
                  </a:cubicBezTo>
                  <a:cubicBezTo>
                    <a:pt x="258" y="42"/>
                    <a:pt x="247" y="44"/>
                    <a:pt x="252" y="45"/>
                  </a:cubicBezTo>
                  <a:cubicBezTo>
                    <a:pt x="250" y="45"/>
                    <a:pt x="247" y="44"/>
                    <a:pt x="245" y="44"/>
                  </a:cubicBezTo>
                  <a:cubicBezTo>
                    <a:pt x="245" y="44"/>
                    <a:pt x="244" y="44"/>
                    <a:pt x="244" y="44"/>
                  </a:cubicBezTo>
                  <a:cubicBezTo>
                    <a:pt x="243" y="44"/>
                    <a:pt x="241" y="46"/>
                    <a:pt x="239" y="46"/>
                  </a:cubicBezTo>
                  <a:cubicBezTo>
                    <a:pt x="236" y="46"/>
                    <a:pt x="234" y="46"/>
                    <a:pt x="231" y="48"/>
                  </a:cubicBezTo>
                  <a:cubicBezTo>
                    <a:pt x="236" y="50"/>
                    <a:pt x="241" y="51"/>
                    <a:pt x="245" y="53"/>
                  </a:cubicBezTo>
                  <a:cubicBezTo>
                    <a:pt x="241" y="53"/>
                    <a:pt x="238" y="52"/>
                    <a:pt x="234" y="52"/>
                  </a:cubicBezTo>
                  <a:cubicBezTo>
                    <a:pt x="233" y="52"/>
                    <a:pt x="232" y="52"/>
                    <a:pt x="232" y="52"/>
                  </a:cubicBezTo>
                  <a:cubicBezTo>
                    <a:pt x="229" y="52"/>
                    <a:pt x="226" y="54"/>
                    <a:pt x="223" y="54"/>
                  </a:cubicBezTo>
                  <a:cubicBezTo>
                    <a:pt x="221" y="54"/>
                    <a:pt x="220" y="53"/>
                    <a:pt x="218" y="52"/>
                  </a:cubicBezTo>
                  <a:cubicBezTo>
                    <a:pt x="215" y="50"/>
                    <a:pt x="208" y="43"/>
                    <a:pt x="204" y="43"/>
                  </a:cubicBezTo>
                  <a:cubicBezTo>
                    <a:pt x="204" y="43"/>
                    <a:pt x="204" y="43"/>
                    <a:pt x="204" y="43"/>
                  </a:cubicBezTo>
                  <a:cubicBezTo>
                    <a:pt x="202" y="43"/>
                    <a:pt x="200" y="45"/>
                    <a:pt x="199" y="47"/>
                  </a:cubicBezTo>
                  <a:cubicBezTo>
                    <a:pt x="198" y="48"/>
                    <a:pt x="198" y="49"/>
                    <a:pt x="197" y="49"/>
                  </a:cubicBezTo>
                  <a:cubicBezTo>
                    <a:pt x="197" y="49"/>
                    <a:pt x="196" y="48"/>
                    <a:pt x="195" y="47"/>
                  </a:cubicBezTo>
                  <a:cubicBezTo>
                    <a:pt x="195" y="45"/>
                    <a:pt x="194" y="45"/>
                    <a:pt x="194" y="45"/>
                  </a:cubicBezTo>
                  <a:cubicBezTo>
                    <a:pt x="193" y="45"/>
                    <a:pt x="193" y="45"/>
                    <a:pt x="192" y="45"/>
                  </a:cubicBezTo>
                  <a:cubicBezTo>
                    <a:pt x="190" y="46"/>
                    <a:pt x="185" y="49"/>
                    <a:pt x="182" y="49"/>
                  </a:cubicBezTo>
                  <a:cubicBezTo>
                    <a:pt x="182" y="49"/>
                    <a:pt x="182" y="49"/>
                    <a:pt x="182" y="49"/>
                  </a:cubicBezTo>
                  <a:cubicBezTo>
                    <a:pt x="180" y="48"/>
                    <a:pt x="175" y="40"/>
                    <a:pt x="172" y="40"/>
                  </a:cubicBezTo>
                  <a:cubicBezTo>
                    <a:pt x="171" y="40"/>
                    <a:pt x="171" y="40"/>
                    <a:pt x="171" y="40"/>
                  </a:cubicBezTo>
                  <a:cubicBezTo>
                    <a:pt x="168" y="43"/>
                    <a:pt x="168" y="43"/>
                    <a:pt x="168" y="43"/>
                  </a:cubicBezTo>
                  <a:cubicBezTo>
                    <a:pt x="168" y="44"/>
                    <a:pt x="168" y="43"/>
                    <a:pt x="168" y="44"/>
                  </a:cubicBezTo>
                  <a:cubicBezTo>
                    <a:pt x="167" y="44"/>
                    <a:pt x="169" y="46"/>
                    <a:pt x="169" y="46"/>
                  </a:cubicBezTo>
                  <a:cubicBezTo>
                    <a:pt x="168" y="46"/>
                    <a:pt x="167" y="46"/>
                    <a:pt x="165" y="46"/>
                  </a:cubicBezTo>
                  <a:cubicBezTo>
                    <a:pt x="163" y="46"/>
                    <a:pt x="160" y="46"/>
                    <a:pt x="158" y="46"/>
                  </a:cubicBezTo>
                  <a:cubicBezTo>
                    <a:pt x="157" y="46"/>
                    <a:pt x="157" y="46"/>
                    <a:pt x="156" y="46"/>
                  </a:cubicBezTo>
                  <a:cubicBezTo>
                    <a:pt x="156" y="46"/>
                    <a:pt x="156" y="46"/>
                    <a:pt x="155" y="46"/>
                  </a:cubicBezTo>
                  <a:cubicBezTo>
                    <a:pt x="155" y="46"/>
                    <a:pt x="155" y="46"/>
                    <a:pt x="154" y="46"/>
                  </a:cubicBezTo>
                  <a:cubicBezTo>
                    <a:pt x="152" y="46"/>
                    <a:pt x="149" y="46"/>
                    <a:pt x="147" y="44"/>
                  </a:cubicBezTo>
                  <a:cubicBezTo>
                    <a:pt x="148" y="44"/>
                    <a:pt x="149" y="43"/>
                    <a:pt x="150" y="43"/>
                  </a:cubicBezTo>
                  <a:cubicBezTo>
                    <a:pt x="150" y="43"/>
                    <a:pt x="150" y="43"/>
                    <a:pt x="150" y="43"/>
                  </a:cubicBezTo>
                  <a:cubicBezTo>
                    <a:pt x="151" y="43"/>
                    <a:pt x="151" y="43"/>
                    <a:pt x="151" y="43"/>
                  </a:cubicBezTo>
                  <a:cubicBezTo>
                    <a:pt x="151" y="43"/>
                    <a:pt x="152" y="43"/>
                    <a:pt x="152" y="43"/>
                  </a:cubicBezTo>
                  <a:cubicBezTo>
                    <a:pt x="152" y="43"/>
                    <a:pt x="152" y="43"/>
                    <a:pt x="152" y="43"/>
                  </a:cubicBezTo>
                  <a:cubicBezTo>
                    <a:pt x="154" y="43"/>
                    <a:pt x="158" y="43"/>
                    <a:pt x="159" y="42"/>
                  </a:cubicBezTo>
                  <a:cubicBezTo>
                    <a:pt x="161" y="39"/>
                    <a:pt x="156" y="34"/>
                    <a:pt x="155" y="33"/>
                  </a:cubicBezTo>
                  <a:cubicBezTo>
                    <a:pt x="154" y="32"/>
                    <a:pt x="153" y="31"/>
                    <a:pt x="152" y="31"/>
                  </a:cubicBezTo>
                  <a:cubicBezTo>
                    <a:pt x="150" y="31"/>
                    <a:pt x="149" y="33"/>
                    <a:pt x="147" y="34"/>
                  </a:cubicBezTo>
                  <a:cubicBezTo>
                    <a:pt x="146" y="33"/>
                    <a:pt x="148" y="32"/>
                    <a:pt x="148" y="31"/>
                  </a:cubicBezTo>
                  <a:cubicBezTo>
                    <a:pt x="147" y="30"/>
                    <a:pt x="144" y="24"/>
                    <a:pt x="142" y="24"/>
                  </a:cubicBezTo>
                  <a:cubicBezTo>
                    <a:pt x="142" y="24"/>
                    <a:pt x="142" y="24"/>
                    <a:pt x="141" y="24"/>
                  </a:cubicBezTo>
                  <a:cubicBezTo>
                    <a:pt x="140" y="24"/>
                    <a:pt x="141" y="25"/>
                    <a:pt x="139" y="26"/>
                  </a:cubicBezTo>
                  <a:cubicBezTo>
                    <a:pt x="139" y="26"/>
                    <a:pt x="138" y="26"/>
                    <a:pt x="137" y="26"/>
                  </a:cubicBezTo>
                  <a:cubicBezTo>
                    <a:pt x="137" y="26"/>
                    <a:pt x="136" y="26"/>
                    <a:pt x="135" y="26"/>
                  </a:cubicBezTo>
                  <a:cubicBezTo>
                    <a:pt x="133" y="26"/>
                    <a:pt x="128" y="25"/>
                    <a:pt x="125" y="25"/>
                  </a:cubicBezTo>
                  <a:cubicBezTo>
                    <a:pt x="124" y="25"/>
                    <a:pt x="124" y="25"/>
                    <a:pt x="123" y="25"/>
                  </a:cubicBezTo>
                  <a:cubicBezTo>
                    <a:pt x="122" y="25"/>
                    <a:pt x="122" y="27"/>
                    <a:pt x="121" y="28"/>
                  </a:cubicBezTo>
                  <a:cubicBezTo>
                    <a:pt x="119" y="29"/>
                    <a:pt x="117" y="31"/>
                    <a:pt x="115" y="32"/>
                  </a:cubicBezTo>
                  <a:cubicBezTo>
                    <a:pt x="116" y="29"/>
                    <a:pt x="115" y="30"/>
                    <a:pt x="117" y="28"/>
                  </a:cubicBezTo>
                  <a:cubicBezTo>
                    <a:pt x="118" y="27"/>
                    <a:pt x="119" y="28"/>
                    <a:pt x="119" y="27"/>
                  </a:cubicBezTo>
                  <a:cubicBezTo>
                    <a:pt x="119" y="26"/>
                    <a:pt x="116" y="24"/>
                    <a:pt x="115" y="24"/>
                  </a:cubicBezTo>
                  <a:cubicBezTo>
                    <a:pt x="116" y="23"/>
                    <a:pt x="117" y="23"/>
                    <a:pt x="118" y="23"/>
                  </a:cubicBezTo>
                  <a:cubicBezTo>
                    <a:pt x="118" y="23"/>
                    <a:pt x="119" y="23"/>
                    <a:pt x="119" y="23"/>
                  </a:cubicBezTo>
                  <a:cubicBezTo>
                    <a:pt x="120" y="24"/>
                    <a:pt x="121" y="24"/>
                    <a:pt x="121" y="24"/>
                  </a:cubicBezTo>
                  <a:cubicBezTo>
                    <a:pt x="122" y="24"/>
                    <a:pt x="122" y="24"/>
                    <a:pt x="122" y="24"/>
                  </a:cubicBezTo>
                  <a:cubicBezTo>
                    <a:pt x="127" y="23"/>
                    <a:pt x="132" y="23"/>
                    <a:pt x="136" y="21"/>
                  </a:cubicBezTo>
                  <a:cubicBezTo>
                    <a:pt x="127" y="20"/>
                    <a:pt x="118" y="19"/>
                    <a:pt x="109" y="17"/>
                  </a:cubicBezTo>
                  <a:cubicBezTo>
                    <a:pt x="110" y="17"/>
                    <a:pt x="110" y="16"/>
                    <a:pt x="111" y="16"/>
                  </a:cubicBezTo>
                  <a:cubicBezTo>
                    <a:pt x="109" y="14"/>
                    <a:pt x="106" y="13"/>
                    <a:pt x="104" y="12"/>
                  </a:cubicBezTo>
                  <a:cubicBezTo>
                    <a:pt x="105" y="12"/>
                    <a:pt x="105" y="12"/>
                    <a:pt x="105" y="12"/>
                  </a:cubicBezTo>
                  <a:cubicBezTo>
                    <a:pt x="108" y="12"/>
                    <a:pt x="110" y="13"/>
                    <a:pt x="112" y="14"/>
                  </a:cubicBezTo>
                  <a:cubicBezTo>
                    <a:pt x="115" y="15"/>
                    <a:pt x="117" y="15"/>
                    <a:pt x="120" y="16"/>
                  </a:cubicBezTo>
                  <a:cubicBezTo>
                    <a:pt x="124" y="17"/>
                    <a:pt x="128" y="16"/>
                    <a:pt x="133" y="18"/>
                  </a:cubicBezTo>
                  <a:cubicBezTo>
                    <a:pt x="132" y="17"/>
                    <a:pt x="132" y="17"/>
                    <a:pt x="131" y="16"/>
                  </a:cubicBezTo>
                  <a:cubicBezTo>
                    <a:pt x="132" y="16"/>
                    <a:pt x="133" y="16"/>
                    <a:pt x="134" y="16"/>
                  </a:cubicBezTo>
                  <a:cubicBezTo>
                    <a:pt x="136" y="16"/>
                    <a:pt x="139" y="16"/>
                    <a:pt x="142" y="16"/>
                  </a:cubicBezTo>
                  <a:cubicBezTo>
                    <a:pt x="145" y="17"/>
                    <a:pt x="148" y="17"/>
                    <a:pt x="150" y="17"/>
                  </a:cubicBezTo>
                  <a:cubicBezTo>
                    <a:pt x="154" y="17"/>
                    <a:pt x="157" y="16"/>
                    <a:pt x="157" y="14"/>
                  </a:cubicBezTo>
                  <a:cubicBezTo>
                    <a:pt x="158" y="10"/>
                    <a:pt x="155" y="10"/>
                    <a:pt x="152" y="9"/>
                  </a:cubicBezTo>
                  <a:cubicBezTo>
                    <a:pt x="149" y="9"/>
                    <a:pt x="147" y="9"/>
                    <a:pt x="145" y="8"/>
                  </a:cubicBezTo>
                  <a:cubicBezTo>
                    <a:pt x="140" y="7"/>
                    <a:pt x="136" y="6"/>
                    <a:pt x="131" y="5"/>
                  </a:cubicBezTo>
                  <a:cubicBezTo>
                    <a:pt x="123" y="5"/>
                    <a:pt x="114" y="3"/>
                    <a:pt x="106" y="1"/>
                  </a:cubicBezTo>
                  <a:cubicBezTo>
                    <a:pt x="106" y="0"/>
                    <a:pt x="107" y="0"/>
                    <a:pt x="1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90"/>
            <p:cNvSpPr/>
            <p:nvPr/>
          </p:nvSpPr>
          <p:spPr bwMode="auto">
            <a:xfrm>
              <a:off x="7261216" y="1023172"/>
              <a:ext cx="153988" cy="49213"/>
            </a:xfrm>
            <a:custGeom>
              <a:gdLst>
                <a:gd name="T0" fmla="*/ 41 w 41"/>
                <a:gd name="T1" fmla="*/ 0 h 13"/>
                <a:gd name="T2" fmla="*/ 0 w 41"/>
                <a:gd name="T3" fmla="*/ 9 h 13"/>
                <a:gd name="T4" fmla="*/ 0 w 41"/>
                <a:gd name="T5" fmla="*/ 9 h 13"/>
                <a:gd name="T6" fmla="*/ 0 w 41"/>
                <a:gd name="T7" fmla="*/ 10 h 13"/>
                <a:gd name="T8" fmla="*/ 1 w 41"/>
                <a:gd name="T9" fmla="*/ 10 h 13"/>
                <a:gd name="T10" fmla="*/ 5 w 41"/>
                <a:gd name="T11" fmla="*/ 11 h 13"/>
                <a:gd name="T12" fmla="*/ 9 w 41"/>
                <a:gd name="T13" fmla="*/ 13 h 13"/>
                <a:gd name="T14" fmla="*/ 10 w 41"/>
                <a:gd name="T15" fmla="*/ 13 h 13"/>
                <a:gd name="T16" fmla="*/ 10 w 41"/>
                <a:gd name="T17" fmla="*/ 13 h 13"/>
                <a:gd name="T18" fmla="*/ 10 w 41"/>
                <a:gd name="T19" fmla="*/ 13 h 13"/>
                <a:gd name="T20" fmla="*/ 10 w 41"/>
                <a:gd name="T21" fmla="*/ 13 h 13"/>
                <a:gd name="T22" fmla="*/ 11 w 41"/>
                <a:gd name="T23" fmla="*/ 13 h 13"/>
                <a:gd name="T24" fmla="*/ 11 w 41"/>
                <a:gd name="T25" fmla="*/ 13 h 13"/>
                <a:gd name="T26" fmla="*/ 13 w 41"/>
                <a:gd name="T27" fmla="*/ 13 h 13"/>
                <a:gd name="T28" fmla="*/ 14 w 41"/>
                <a:gd name="T29" fmla="*/ 13 h 13"/>
                <a:gd name="T30" fmla="*/ 14 w 41"/>
                <a:gd name="T31" fmla="*/ 13 h 13"/>
                <a:gd name="T32" fmla="*/ 14 w 41"/>
                <a:gd name="T33" fmla="*/ 13 h 13"/>
                <a:gd name="T34" fmla="*/ 15 w 41"/>
                <a:gd name="T35" fmla="*/ 12 h 13"/>
                <a:gd name="T36" fmla="*/ 16 w 41"/>
                <a:gd name="T37" fmla="*/ 11 h 13"/>
                <a:gd name="T38" fmla="*/ 16 w 41"/>
                <a:gd name="T39" fmla="*/ 11 h 13"/>
                <a:gd name="T40" fmla="*/ 16 w 41"/>
                <a:gd name="T41" fmla="*/ 11 h 13"/>
                <a:gd name="T42" fmla="*/ 16 w 41"/>
                <a:gd name="T43" fmla="*/ 11 h 13"/>
                <a:gd name="T44" fmla="*/ 18 w 41"/>
                <a:gd name="T45" fmla="*/ 11 h 13"/>
                <a:gd name="T46" fmla="*/ 21 w 41"/>
                <a:gd name="T47" fmla="*/ 12 h 13"/>
                <a:gd name="T48" fmla="*/ 21 w 41"/>
                <a:gd name="T49" fmla="*/ 12 h 13"/>
                <a:gd name="T50" fmla="*/ 21 w 41"/>
                <a:gd name="T51" fmla="*/ 12 h 13"/>
                <a:gd name="T52" fmla="*/ 21 w 41"/>
                <a:gd name="T53" fmla="*/ 12 h 13"/>
                <a:gd name="T54" fmla="*/ 21 w 41"/>
                <a:gd name="T55" fmla="*/ 12 h 13"/>
                <a:gd name="T56" fmla="*/ 27 w 41"/>
                <a:gd name="T57" fmla="*/ 10 h 13"/>
                <a:gd name="T58" fmla="*/ 27 w 41"/>
                <a:gd name="T59" fmla="*/ 10 h 13"/>
                <a:gd name="T60" fmla="*/ 32 w 41"/>
                <a:gd name="T61" fmla="*/ 8 h 13"/>
                <a:gd name="T62" fmla="*/ 41 w 41"/>
                <a:gd name="T63"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 h="13">
                  <a:moveTo>
                    <a:pt x="41" y="0"/>
                  </a:moveTo>
                  <a:cubicBezTo>
                    <a:pt x="27" y="3"/>
                    <a:pt x="13" y="6"/>
                    <a:pt x="0" y="9"/>
                  </a:cubicBezTo>
                  <a:cubicBezTo>
                    <a:pt x="0" y="9"/>
                    <a:pt x="0" y="9"/>
                    <a:pt x="0" y="9"/>
                  </a:cubicBezTo>
                  <a:cubicBezTo>
                    <a:pt x="0" y="10"/>
                    <a:pt x="0" y="10"/>
                    <a:pt x="0" y="10"/>
                  </a:cubicBezTo>
                  <a:cubicBezTo>
                    <a:pt x="1" y="10"/>
                    <a:pt x="1" y="10"/>
                    <a:pt x="1" y="10"/>
                  </a:cubicBezTo>
                  <a:cubicBezTo>
                    <a:pt x="2" y="11"/>
                    <a:pt x="4" y="11"/>
                    <a:pt x="5" y="11"/>
                  </a:cubicBezTo>
                  <a:cubicBezTo>
                    <a:pt x="7" y="12"/>
                    <a:pt x="7" y="13"/>
                    <a:pt x="9" y="13"/>
                  </a:cubicBezTo>
                  <a:cubicBezTo>
                    <a:pt x="9" y="13"/>
                    <a:pt x="10" y="13"/>
                    <a:pt x="10" y="13"/>
                  </a:cubicBezTo>
                  <a:cubicBezTo>
                    <a:pt x="10" y="13"/>
                    <a:pt x="10" y="13"/>
                    <a:pt x="10" y="13"/>
                  </a:cubicBezTo>
                  <a:cubicBezTo>
                    <a:pt x="10" y="13"/>
                    <a:pt x="10" y="13"/>
                    <a:pt x="10" y="13"/>
                  </a:cubicBezTo>
                  <a:cubicBezTo>
                    <a:pt x="10" y="13"/>
                    <a:pt x="10" y="13"/>
                    <a:pt x="10" y="13"/>
                  </a:cubicBezTo>
                  <a:cubicBezTo>
                    <a:pt x="11" y="13"/>
                    <a:pt x="11" y="13"/>
                    <a:pt x="11" y="13"/>
                  </a:cubicBezTo>
                  <a:cubicBezTo>
                    <a:pt x="11" y="13"/>
                    <a:pt x="11" y="13"/>
                    <a:pt x="11" y="13"/>
                  </a:cubicBezTo>
                  <a:cubicBezTo>
                    <a:pt x="12" y="13"/>
                    <a:pt x="12" y="13"/>
                    <a:pt x="13" y="13"/>
                  </a:cubicBezTo>
                  <a:cubicBezTo>
                    <a:pt x="13" y="13"/>
                    <a:pt x="13" y="13"/>
                    <a:pt x="14" y="13"/>
                  </a:cubicBezTo>
                  <a:cubicBezTo>
                    <a:pt x="14" y="13"/>
                    <a:pt x="14" y="13"/>
                    <a:pt x="14" y="13"/>
                  </a:cubicBezTo>
                  <a:cubicBezTo>
                    <a:pt x="14" y="13"/>
                    <a:pt x="14" y="13"/>
                    <a:pt x="14" y="13"/>
                  </a:cubicBezTo>
                  <a:cubicBezTo>
                    <a:pt x="15" y="13"/>
                    <a:pt x="15" y="13"/>
                    <a:pt x="15" y="12"/>
                  </a:cubicBezTo>
                  <a:cubicBezTo>
                    <a:pt x="15" y="12"/>
                    <a:pt x="15" y="12"/>
                    <a:pt x="16" y="11"/>
                  </a:cubicBezTo>
                  <a:cubicBezTo>
                    <a:pt x="16" y="11"/>
                    <a:pt x="16" y="11"/>
                    <a:pt x="16" y="11"/>
                  </a:cubicBezTo>
                  <a:cubicBezTo>
                    <a:pt x="16" y="11"/>
                    <a:pt x="16" y="11"/>
                    <a:pt x="16" y="11"/>
                  </a:cubicBezTo>
                  <a:cubicBezTo>
                    <a:pt x="16" y="11"/>
                    <a:pt x="16" y="11"/>
                    <a:pt x="16" y="11"/>
                  </a:cubicBezTo>
                  <a:cubicBezTo>
                    <a:pt x="17" y="11"/>
                    <a:pt x="17" y="11"/>
                    <a:pt x="18" y="11"/>
                  </a:cubicBezTo>
                  <a:cubicBezTo>
                    <a:pt x="19" y="12"/>
                    <a:pt x="20" y="12"/>
                    <a:pt x="21" y="12"/>
                  </a:cubicBezTo>
                  <a:cubicBezTo>
                    <a:pt x="21" y="12"/>
                    <a:pt x="21" y="12"/>
                    <a:pt x="21" y="12"/>
                  </a:cubicBezTo>
                  <a:cubicBezTo>
                    <a:pt x="21" y="12"/>
                    <a:pt x="21" y="12"/>
                    <a:pt x="21" y="12"/>
                  </a:cubicBezTo>
                  <a:cubicBezTo>
                    <a:pt x="21" y="12"/>
                    <a:pt x="21" y="12"/>
                    <a:pt x="21" y="12"/>
                  </a:cubicBezTo>
                  <a:cubicBezTo>
                    <a:pt x="21" y="12"/>
                    <a:pt x="21" y="12"/>
                    <a:pt x="21" y="12"/>
                  </a:cubicBezTo>
                  <a:cubicBezTo>
                    <a:pt x="23" y="11"/>
                    <a:pt x="25" y="11"/>
                    <a:pt x="27" y="10"/>
                  </a:cubicBezTo>
                  <a:cubicBezTo>
                    <a:pt x="27" y="10"/>
                    <a:pt x="27" y="10"/>
                    <a:pt x="27" y="10"/>
                  </a:cubicBezTo>
                  <a:cubicBezTo>
                    <a:pt x="29" y="10"/>
                    <a:pt x="30" y="9"/>
                    <a:pt x="32" y="8"/>
                  </a:cubicBezTo>
                  <a:cubicBezTo>
                    <a:pt x="36" y="5"/>
                    <a:pt x="39" y="6"/>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91"/>
            <p:cNvSpPr/>
            <p:nvPr/>
          </p:nvSpPr>
          <p:spPr bwMode="auto">
            <a:xfrm>
              <a:off x="8872529" y="1080322"/>
              <a:ext cx="423863" cy="173038"/>
            </a:xfrm>
            <a:custGeom>
              <a:gdLst>
                <a:gd name="T0" fmla="*/ 10 w 113"/>
                <a:gd name="T1" fmla="*/ 0 h 46"/>
                <a:gd name="T2" fmla="*/ 2 w 113"/>
                <a:gd name="T3" fmla="*/ 1 h 46"/>
                <a:gd name="T4" fmla="*/ 2 w 113"/>
                <a:gd name="T5" fmla="*/ 10 h 46"/>
                <a:gd name="T6" fmla="*/ 5 w 113"/>
                <a:gd name="T7" fmla="*/ 13 h 46"/>
                <a:gd name="T8" fmla="*/ 1 w 113"/>
                <a:gd name="T9" fmla="*/ 16 h 46"/>
                <a:gd name="T10" fmla="*/ 3 w 113"/>
                <a:gd name="T11" fmla="*/ 22 h 46"/>
                <a:gd name="T12" fmla="*/ 13 w 113"/>
                <a:gd name="T13" fmla="*/ 23 h 46"/>
                <a:gd name="T14" fmla="*/ 13 w 113"/>
                <a:gd name="T15" fmla="*/ 23 h 46"/>
                <a:gd name="T16" fmla="*/ 14 w 113"/>
                <a:gd name="T17" fmla="*/ 23 h 46"/>
                <a:gd name="T18" fmla="*/ 15 w 113"/>
                <a:gd name="T19" fmla="*/ 23 h 46"/>
                <a:gd name="T20" fmla="*/ 17 w 113"/>
                <a:gd name="T21" fmla="*/ 24 h 46"/>
                <a:gd name="T22" fmla="*/ 17 w 113"/>
                <a:gd name="T23" fmla="*/ 32 h 46"/>
                <a:gd name="T24" fmla="*/ 23 w 113"/>
                <a:gd name="T25" fmla="*/ 41 h 46"/>
                <a:gd name="T26" fmla="*/ 30 w 113"/>
                <a:gd name="T27" fmla="*/ 45 h 46"/>
                <a:gd name="T28" fmla="*/ 35 w 113"/>
                <a:gd name="T29" fmla="*/ 46 h 46"/>
                <a:gd name="T30" fmla="*/ 39 w 113"/>
                <a:gd name="T31" fmla="*/ 45 h 46"/>
                <a:gd name="T32" fmla="*/ 72 w 113"/>
                <a:gd name="T33" fmla="*/ 39 h 46"/>
                <a:gd name="T34" fmla="*/ 113 w 113"/>
                <a:gd name="T35" fmla="*/ 38 h 46"/>
                <a:gd name="T36" fmla="*/ 110 w 113"/>
                <a:gd name="T37" fmla="*/ 37 h 46"/>
                <a:gd name="T38" fmla="*/ 110 w 113"/>
                <a:gd name="T39" fmla="*/ 37 h 46"/>
                <a:gd name="T40" fmla="*/ 109 w 113"/>
                <a:gd name="T41" fmla="*/ 37 h 46"/>
                <a:gd name="T42" fmla="*/ 107 w 113"/>
                <a:gd name="T43" fmla="*/ 36 h 46"/>
                <a:gd name="T44" fmla="*/ 108 w 113"/>
                <a:gd name="T45" fmla="*/ 30 h 46"/>
                <a:gd name="T46" fmla="*/ 104 w 113"/>
                <a:gd name="T47" fmla="*/ 29 h 46"/>
                <a:gd name="T48" fmla="*/ 99 w 113"/>
                <a:gd name="T49" fmla="*/ 23 h 46"/>
                <a:gd name="T50" fmla="*/ 94 w 113"/>
                <a:gd name="T51" fmla="*/ 20 h 46"/>
                <a:gd name="T52" fmla="*/ 88 w 113"/>
                <a:gd name="T53" fmla="*/ 15 h 46"/>
                <a:gd name="T54" fmla="*/ 83 w 113"/>
                <a:gd name="T55" fmla="*/ 11 h 46"/>
                <a:gd name="T56" fmla="*/ 77 w 113"/>
                <a:gd name="T57" fmla="*/ 8 h 46"/>
                <a:gd name="T58" fmla="*/ 71 w 113"/>
                <a:gd name="T59" fmla="*/ 7 h 46"/>
                <a:gd name="T60" fmla="*/ 59 w 113"/>
                <a:gd name="T61" fmla="*/ 4 h 46"/>
                <a:gd name="T62" fmla="*/ 57 w 113"/>
                <a:gd name="T63" fmla="*/ 4 h 46"/>
                <a:gd name="T64" fmla="*/ 51 w 113"/>
                <a:gd name="T65" fmla="*/ 5 h 46"/>
                <a:gd name="T66" fmla="*/ 50 w 113"/>
                <a:gd name="T67" fmla="*/ 5 h 46"/>
                <a:gd name="T68" fmla="*/ 50 w 113"/>
                <a:gd name="T69" fmla="*/ 5 h 46"/>
                <a:gd name="T70" fmla="*/ 44 w 113"/>
                <a:gd name="T71" fmla="*/ 6 h 46"/>
                <a:gd name="T72" fmla="*/ 30 w 113"/>
                <a:gd name="T73" fmla="*/ 4 h 46"/>
                <a:gd name="T74" fmla="*/ 25 w 113"/>
                <a:gd name="T75" fmla="*/ 3 h 46"/>
                <a:gd name="T76" fmla="*/ 22 w 113"/>
                <a:gd name="T77" fmla="*/ 2 h 46"/>
                <a:gd name="T78" fmla="*/ 22 w 113"/>
                <a:gd name="T79" fmla="*/ 2 h 46"/>
                <a:gd name="T80" fmla="*/ 19 w 113"/>
                <a:gd name="T81" fmla="*/ 3 h 46"/>
                <a:gd name="T82" fmla="*/ 18 w 113"/>
                <a:gd name="T83" fmla="*/ 3 h 46"/>
                <a:gd name="T84" fmla="*/ 11 w 113"/>
                <a:gd name="T85" fmla="*/ 0 h 46"/>
                <a:gd name="T86" fmla="*/ 10 w 113"/>
                <a:gd name="T87" fmla="*/ 0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 h="46">
                  <a:moveTo>
                    <a:pt x="10" y="0"/>
                  </a:moveTo>
                  <a:cubicBezTo>
                    <a:pt x="7" y="0"/>
                    <a:pt x="4" y="0"/>
                    <a:pt x="2" y="1"/>
                  </a:cubicBezTo>
                  <a:cubicBezTo>
                    <a:pt x="5" y="3"/>
                    <a:pt x="0" y="7"/>
                    <a:pt x="2" y="10"/>
                  </a:cubicBezTo>
                  <a:cubicBezTo>
                    <a:pt x="3" y="11"/>
                    <a:pt x="5" y="12"/>
                    <a:pt x="5" y="13"/>
                  </a:cubicBezTo>
                  <a:cubicBezTo>
                    <a:pt x="4" y="14"/>
                    <a:pt x="1" y="14"/>
                    <a:pt x="1" y="16"/>
                  </a:cubicBezTo>
                  <a:cubicBezTo>
                    <a:pt x="1" y="18"/>
                    <a:pt x="1" y="21"/>
                    <a:pt x="3" y="22"/>
                  </a:cubicBezTo>
                  <a:cubicBezTo>
                    <a:pt x="5" y="23"/>
                    <a:pt x="10" y="23"/>
                    <a:pt x="13" y="23"/>
                  </a:cubicBezTo>
                  <a:cubicBezTo>
                    <a:pt x="13" y="23"/>
                    <a:pt x="13" y="23"/>
                    <a:pt x="13" y="23"/>
                  </a:cubicBezTo>
                  <a:cubicBezTo>
                    <a:pt x="13" y="23"/>
                    <a:pt x="14" y="23"/>
                    <a:pt x="14" y="23"/>
                  </a:cubicBezTo>
                  <a:cubicBezTo>
                    <a:pt x="15" y="23"/>
                    <a:pt x="15" y="23"/>
                    <a:pt x="15" y="23"/>
                  </a:cubicBezTo>
                  <a:cubicBezTo>
                    <a:pt x="16" y="23"/>
                    <a:pt x="17" y="23"/>
                    <a:pt x="17" y="24"/>
                  </a:cubicBezTo>
                  <a:cubicBezTo>
                    <a:pt x="18" y="25"/>
                    <a:pt x="18" y="30"/>
                    <a:pt x="17" y="32"/>
                  </a:cubicBezTo>
                  <a:cubicBezTo>
                    <a:pt x="18" y="35"/>
                    <a:pt x="21" y="40"/>
                    <a:pt x="23" y="41"/>
                  </a:cubicBezTo>
                  <a:cubicBezTo>
                    <a:pt x="25" y="42"/>
                    <a:pt x="28" y="44"/>
                    <a:pt x="30" y="45"/>
                  </a:cubicBezTo>
                  <a:cubicBezTo>
                    <a:pt x="32" y="45"/>
                    <a:pt x="34" y="46"/>
                    <a:pt x="35" y="46"/>
                  </a:cubicBezTo>
                  <a:cubicBezTo>
                    <a:pt x="36" y="46"/>
                    <a:pt x="38" y="45"/>
                    <a:pt x="39" y="45"/>
                  </a:cubicBezTo>
                  <a:cubicBezTo>
                    <a:pt x="50" y="42"/>
                    <a:pt x="60" y="39"/>
                    <a:pt x="72" y="39"/>
                  </a:cubicBezTo>
                  <a:cubicBezTo>
                    <a:pt x="86" y="39"/>
                    <a:pt x="99" y="39"/>
                    <a:pt x="113" y="38"/>
                  </a:cubicBezTo>
                  <a:cubicBezTo>
                    <a:pt x="112" y="37"/>
                    <a:pt x="111" y="37"/>
                    <a:pt x="110" y="37"/>
                  </a:cubicBezTo>
                  <a:cubicBezTo>
                    <a:pt x="110" y="37"/>
                    <a:pt x="110" y="37"/>
                    <a:pt x="110" y="37"/>
                  </a:cubicBezTo>
                  <a:cubicBezTo>
                    <a:pt x="109" y="37"/>
                    <a:pt x="109" y="37"/>
                    <a:pt x="109" y="37"/>
                  </a:cubicBezTo>
                  <a:cubicBezTo>
                    <a:pt x="108" y="37"/>
                    <a:pt x="107" y="37"/>
                    <a:pt x="107" y="36"/>
                  </a:cubicBezTo>
                  <a:cubicBezTo>
                    <a:pt x="106" y="35"/>
                    <a:pt x="108" y="32"/>
                    <a:pt x="108" y="30"/>
                  </a:cubicBezTo>
                  <a:cubicBezTo>
                    <a:pt x="108" y="30"/>
                    <a:pt x="105" y="29"/>
                    <a:pt x="104" y="29"/>
                  </a:cubicBezTo>
                  <a:cubicBezTo>
                    <a:pt x="101" y="28"/>
                    <a:pt x="101" y="26"/>
                    <a:pt x="99" y="23"/>
                  </a:cubicBezTo>
                  <a:cubicBezTo>
                    <a:pt x="97" y="20"/>
                    <a:pt x="98" y="20"/>
                    <a:pt x="94" y="20"/>
                  </a:cubicBezTo>
                  <a:cubicBezTo>
                    <a:pt x="91" y="19"/>
                    <a:pt x="90" y="17"/>
                    <a:pt x="88" y="15"/>
                  </a:cubicBezTo>
                  <a:cubicBezTo>
                    <a:pt x="86" y="12"/>
                    <a:pt x="86" y="12"/>
                    <a:pt x="83" y="11"/>
                  </a:cubicBezTo>
                  <a:cubicBezTo>
                    <a:pt x="81" y="10"/>
                    <a:pt x="79" y="9"/>
                    <a:pt x="77" y="8"/>
                  </a:cubicBezTo>
                  <a:cubicBezTo>
                    <a:pt x="75" y="8"/>
                    <a:pt x="73" y="8"/>
                    <a:pt x="71" y="7"/>
                  </a:cubicBezTo>
                  <a:cubicBezTo>
                    <a:pt x="67" y="5"/>
                    <a:pt x="64" y="4"/>
                    <a:pt x="59" y="4"/>
                  </a:cubicBezTo>
                  <a:cubicBezTo>
                    <a:pt x="59" y="4"/>
                    <a:pt x="58" y="4"/>
                    <a:pt x="57" y="4"/>
                  </a:cubicBezTo>
                  <a:cubicBezTo>
                    <a:pt x="55" y="5"/>
                    <a:pt x="53" y="5"/>
                    <a:pt x="51" y="5"/>
                  </a:cubicBezTo>
                  <a:cubicBezTo>
                    <a:pt x="51" y="5"/>
                    <a:pt x="51" y="5"/>
                    <a:pt x="50" y="5"/>
                  </a:cubicBezTo>
                  <a:cubicBezTo>
                    <a:pt x="50" y="5"/>
                    <a:pt x="50" y="5"/>
                    <a:pt x="50" y="5"/>
                  </a:cubicBezTo>
                  <a:cubicBezTo>
                    <a:pt x="48" y="5"/>
                    <a:pt x="46" y="6"/>
                    <a:pt x="44" y="6"/>
                  </a:cubicBezTo>
                  <a:cubicBezTo>
                    <a:pt x="39" y="6"/>
                    <a:pt x="35" y="6"/>
                    <a:pt x="30" y="4"/>
                  </a:cubicBezTo>
                  <a:cubicBezTo>
                    <a:pt x="29" y="4"/>
                    <a:pt x="27" y="4"/>
                    <a:pt x="25" y="3"/>
                  </a:cubicBezTo>
                  <a:cubicBezTo>
                    <a:pt x="24" y="3"/>
                    <a:pt x="22" y="2"/>
                    <a:pt x="22" y="2"/>
                  </a:cubicBezTo>
                  <a:cubicBezTo>
                    <a:pt x="22" y="2"/>
                    <a:pt x="22" y="2"/>
                    <a:pt x="22" y="2"/>
                  </a:cubicBezTo>
                  <a:cubicBezTo>
                    <a:pt x="20" y="2"/>
                    <a:pt x="20" y="3"/>
                    <a:pt x="19" y="3"/>
                  </a:cubicBezTo>
                  <a:cubicBezTo>
                    <a:pt x="19" y="3"/>
                    <a:pt x="19" y="3"/>
                    <a:pt x="18" y="3"/>
                  </a:cubicBezTo>
                  <a:cubicBezTo>
                    <a:pt x="16" y="3"/>
                    <a:pt x="14" y="0"/>
                    <a:pt x="11" y="0"/>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92"/>
            <p:cNvSpPr/>
            <p:nvPr/>
          </p:nvSpPr>
          <p:spPr bwMode="auto">
            <a:xfrm>
              <a:off x="7585066" y="1023172"/>
              <a:ext cx="479425" cy="354013"/>
            </a:xfrm>
            <a:custGeom>
              <a:gdLst>
                <a:gd name="T0" fmla="*/ 61 w 128"/>
                <a:gd name="T1" fmla="*/ 0 h 94"/>
                <a:gd name="T2" fmla="*/ 55 w 128"/>
                <a:gd name="T3" fmla="*/ 0 h 94"/>
                <a:gd name="T4" fmla="*/ 27 w 128"/>
                <a:gd name="T5" fmla="*/ 0 h 94"/>
                <a:gd name="T6" fmla="*/ 12 w 128"/>
                <a:gd name="T7" fmla="*/ 11 h 94"/>
                <a:gd name="T8" fmla="*/ 15 w 128"/>
                <a:gd name="T9" fmla="*/ 11 h 94"/>
                <a:gd name="T10" fmla="*/ 16 w 128"/>
                <a:gd name="T11" fmla="*/ 16 h 94"/>
                <a:gd name="T12" fmla="*/ 16 w 128"/>
                <a:gd name="T13" fmla="*/ 19 h 94"/>
                <a:gd name="T14" fmla="*/ 0 w 128"/>
                <a:gd name="T15" fmla="*/ 20 h 94"/>
                <a:gd name="T16" fmla="*/ 1 w 128"/>
                <a:gd name="T17" fmla="*/ 23 h 94"/>
                <a:gd name="T18" fmla="*/ 2 w 128"/>
                <a:gd name="T19" fmla="*/ 33 h 94"/>
                <a:gd name="T20" fmla="*/ 3 w 128"/>
                <a:gd name="T21" fmla="*/ 37 h 94"/>
                <a:gd name="T22" fmla="*/ 0 w 128"/>
                <a:gd name="T23" fmla="*/ 49 h 94"/>
                <a:gd name="T24" fmla="*/ 1 w 128"/>
                <a:gd name="T25" fmla="*/ 56 h 94"/>
                <a:gd name="T26" fmla="*/ 6 w 128"/>
                <a:gd name="T27" fmla="*/ 64 h 94"/>
                <a:gd name="T28" fmla="*/ 12 w 128"/>
                <a:gd name="T29" fmla="*/ 71 h 94"/>
                <a:gd name="T30" fmla="*/ 12 w 128"/>
                <a:gd name="T31" fmla="*/ 77 h 94"/>
                <a:gd name="T32" fmla="*/ 14 w 128"/>
                <a:gd name="T33" fmla="*/ 87 h 94"/>
                <a:gd name="T34" fmla="*/ 21 w 128"/>
                <a:gd name="T35" fmla="*/ 86 h 94"/>
                <a:gd name="T36" fmla="*/ 14 w 128"/>
                <a:gd name="T37" fmla="*/ 91 h 94"/>
                <a:gd name="T38" fmla="*/ 14 w 128"/>
                <a:gd name="T39" fmla="*/ 94 h 94"/>
                <a:gd name="T40" fmla="*/ 29 w 128"/>
                <a:gd name="T41" fmla="*/ 92 h 94"/>
                <a:gd name="T42" fmla="*/ 37 w 128"/>
                <a:gd name="T43" fmla="*/ 93 h 94"/>
                <a:gd name="T44" fmla="*/ 39 w 128"/>
                <a:gd name="T45" fmla="*/ 90 h 94"/>
                <a:gd name="T46" fmla="*/ 34 w 128"/>
                <a:gd name="T47" fmla="*/ 91 h 94"/>
                <a:gd name="T48" fmla="*/ 41 w 128"/>
                <a:gd name="T49" fmla="*/ 84 h 94"/>
                <a:gd name="T50" fmla="*/ 48 w 128"/>
                <a:gd name="T51" fmla="*/ 78 h 94"/>
                <a:gd name="T52" fmla="*/ 52 w 128"/>
                <a:gd name="T53" fmla="*/ 74 h 94"/>
                <a:gd name="T54" fmla="*/ 44 w 128"/>
                <a:gd name="T55" fmla="*/ 65 h 94"/>
                <a:gd name="T56" fmla="*/ 40 w 128"/>
                <a:gd name="T57" fmla="*/ 62 h 94"/>
                <a:gd name="T58" fmla="*/ 38 w 128"/>
                <a:gd name="T59" fmla="*/ 62 h 94"/>
                <a:gd name="T60" fmla="*/ 36 w 128"/>
                <a:gd name="T61" fmla="*/ 62 h 94"/>
                <a:gd name="T62" fmla="*/ 33 w 128"/>
                <a:gd name="T63" fmla="*/ 59 h 94"/>
                <a:gd name="T64" fmla="*/ 48 w 128"/>
                <a:gd name="T65" fmla="*/ 59 h 94"/>
                <a:gd name="T66" fmla="*/ 51 w 128"/>
                <a:gd name="T67" fmla="*/ 58 h 94"/>
                <a:gd name="T68" fmla="*/ 55 w 128"/>
                <a:gd name="T69" fmla="*/ 58 h 94"/>
                <a:gd name="T70" fmla="*/ 74 w 128"/>
                <a:gd name="T71" fmla="*/ 61 h 94"/>
                <a:gd name="T72" fmla="*/ 92 w 128"/>
                <a:gd name="T73" fmla="*/ 53 h 94"/>
                <a:gd name="T74" fmla="*/ 100 w 128"/>
                <a:gd name="T75" fmla="*/ 41 h 94"/>
                <a:gd name="T76" fmla="*/ 101 w 128"/>
                <a:gd name="T77" fmla="*/ 38 h 94"/>
                <a:gd name="T78" fmla="*/ 110 w 128"/>
                <a:gd name="T79" fmla="*/ 25 h 94"/>
                <a:gd name="T80" fmla="*/ 111 w 128"/>
                <a:gd name="T81" fmla="*/ 25 h 94"/>
                <a:gd name="T82" fmla="*/ 127 w 128"/>
                <a:gd name="T83" fmla="*/ 9 h 94"/>
                <a:gd name="T84" fmla="*/ 98 w 128"/>
                <a:gd name="T85" fmla="*/ 3 h 94"/>
                <a:gd name="T86" fmla="*/ 89 w 128"/>
                <a:gd name="T87" fmla="*/ 4 h 94"/>
                <a:gd name="T88" fmla="*/ 82 w 128"/>
                <a:gd name="T89" fmla="*/ 7 h 94"/>
                <a:gd name="T90" fmla="*/ 72 w 128"/>
                <a:gd name="T91" fmla="*/ 0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94">
                  <a:moveTo>
                    <a:pt x="67" y="0"/>
                  </a:moveTo>
                  <a:cubicBezTo>
                    <a:pt x="65" y="0"/>
                    <a:pt x="63" y="0"/>
                    <a:pt x="61" y="0"/>
                  </a:cubicBezTo>
                  <a:cubicBezTo>
                    <a:pt x="59" y="0"/>
                    <a:pt x="57" y="0"/>
                    <a:pt x="56" y="0"/>
                  </a:cubicBezTo>
                  <a:cubicBezTo>
                    <a:pt x="55" y="0"/>
                    <a:pt x="55" y="0"/>
                    <a:pt x="55" y="0"/>
                  </a:cubicBezTo>
                  <a:cubicBezTo>
                    <a:pt x="46" y="0"/>
                    <a:pt x="37" y="0"/>
                    <a:pt x="27" y="0"/>
                  </a:cubicBezTo>
                  <a:cubicBezTo>
                    <a:pt x="27" y="0"/>
                    <a:pt x="27" y="0"/>
                    <a:pt x="27" y="0"/>
                  </a:cubicBezTo>
                  <a:cubicBezTo>
                    <a:pt x="22" y="0"/>
                    <a:pt x="7" y="2"/>
                    <a:pt x="9" y="8"/>
                  </a:cubicBezTo>
                  <a:cubicBezTo>
                    <a:pt x="9" y="11"/>
                    <a:pt x="11" y="11"/>
                    <a:pt x="12" y="11"/>
                  </a:cubicBezTo>
                  <a:cubicBezTo>
                    <a:pt x="13" y="11"/>
                    <a:pt x="13" y="11"/>
                    <a:pt x="14" y="11"/>
                  </a:cubicBezTo>
                  <a:cubicBezTo>
                    <a:pt x="14" y="11"/>
                    <a:pt x="15" y="11"/>
                    <a:pt x="15" y="11"/>
                  </a:cubicBezTo>
                  <a:cubicBezTo>
                    <a:pt x="16" y="11"/>
                    <a:pt x="16" y="11"/>
                    <a:pt x="17" y="11"/>
                  </a:cubicBezTo>
                  <a:cubicBezTo>
                    <a:pt x="14" y="13"/>
                    <a:pt x="13" y="13"/>
                    <a:pt x="16" y="16"/>
                  </a:cubicBezTo>
                  <a:cubicBezTo>
                    <a:pt x="19" y="18"/>
                    <a:pt x="22" y="18"/>
                    <a:pt x="25" y="20"/>
                  </a:cubicBezTo>
                  <a:cubicBezTo>
                    <a:pt x="22" y="20"/>
                    <a:pt x="19" y="20"/>
                    <a:pt x="16" y="19"/>
                  </a:cubicBezTo>
                  <a:cubicBezTo>
                    <a:pt x="15" y="19"/>
                    <a:pt x="10" y="18"/>
                    <a:pt x="6" y="18"/>
                  </a:cubicBezTo>
                  <a:cubicBezTo>
                    <a:pt x="3" y="18"/>
                    <a:pt x="0" y="19"/>
                    <a:pt x="0" y="20"/>
                  </a:cubicBezTo>
                  <a:cubicBezTo>
                    <a:pt x="0" y="21"/>
                    <a:pt x="1" y="21"/>
                    <a:pt x="1" y="21"/>
                  </a:cubicBezTo>
                  <a:cubicBezTo>
                    <a:pt x="1" y="23"/>
                    <a:pt x="1" y="23"/>
                    <a:pt x="1" y="23"/>
                  </a:cubicBezTo>
                  <a:cubicBezTo>
                    <a:pt x="1" y="24"/>
                    <a:pt x="1" y="26"/>
                    <a:pt x="1" y="27"/>
                  </a:cubicBezTo>
                  <a:cubicBezTo>
                    <a:pt x="0" y="29"/>
                    <a:pt x="1" y="31"/>
                    <a:pt x="2" y="33"/>
                  </a:cubicBezTo>
                  <a:cubicBezTo>
                    <a:pt x="2" y="33"/>
                    <a:pt x="2" y="34"/>
                    <a:pt x="2" y="35"/>
                  </a:cubicBezTo>
                  <a:cubicBezTo>
                    <a:pt x="2" y="35"/>
                    <a:pt x="3" y="36"/>
                    <a:pt x="3" y="37"/>
                  </a:cubicBezTo>
                  <a:cubicBezTo>
                    <a:pt x="3" y="38"/>
                    <a:pt x="3" y="39"/>
                    <a:pt x="3" y="40"/>
                  </a:cubicBezTo>
                  <a:cubicBezTo>
                    <a:pt x="2" y="43"/>
                    <a:pt x="0" y="46"/>
                    <a:pt x="0" y="49"/>
                  </a:cubicBezTo>
                  <a:cubicBezTo>
                    <a:pt x="0" y="50"/>
                    <a:pt x="1" y="51"/>
                    <a:pt x="2" y="52"/>
                  </a:cubicBezTo>
                  <a:cubicBezTo>
                    <a:pt x="2" y="53"/>
                    <a:pt x="1" y="55"/>
                    <a:pt x="1" y="56"/>
                  </a:cubicBezTo>
                  <a:cubicBezTo>
                    <a:pt x="1" y="59"/>
                    <a:pt x="4" y="58"/>
                    <a:pt x="3" y="61"/>
                  </a:cubicBezTo>
                  <a:cubicBezTo>
                    <a:pt x="2" y="63"/>
                    <a:pt x="5" y="63"/>
                    <a:pt x="6" y="64"/>
                  </a:cubicBezTo>
                  <a:cubicBezTo>
                    <a:pt x="8" y="65"/>
                    <a:pt x="8" y="66"/>
                    <a:pt x="9" y="68"/>
                  </a:cubicBezTo>
                  <a:cubicBezTo>
                    <a:pt x="10" y="69"/>
                    <a:pt x="11" y="69"/>
                    <a:pt x="12" y="71"/>
                  </a:cubicBezTo>
                  <a:cubicBezTo>
                    <a:pt x="12" y="72"/>
                    <a:pt x="11" y="73"/>
                    <a:pt x="11" y="74"/>
                  </a:cubicBezTo>
                  <a:cubicBezTo>
                    <a:pt x="11" y="75"/>
                    <a:pt x="12" y="76"/>
                    <a:pt x="12" y="77"/>
                  </a:cubicBezTo>
                  <a:cubicBezTo>
                    <a:pt x="13" y="79"/>
                    <a:pt x="11" y="83"/>
                    <a:pt x="12" y="85"/>
                  </a:cubicBezTo>
                  <a:cubicBezTo>
                    <a:pt x="13" y="87"/>
                    <a:pt x="13" y="87"/>
                    <a:pt x="14" y="87"/>
                  </a:cubicBezTo>
                  <a:cubicBezTo>
                    <a:pt x="14" y="87"/>
                    <a:pt x="15" y="87"/>
                    <a:pt x="15" y="87"/>
                  </a:cubicBezTo>
                  <a:cubicBezTo>
                    <a:pt x="17" y="87"/>
                    <a:pt x="19" y="86"/>
                    <a:pt x="21" y="86"/>
                  </a:cubicBezTo>
                  <a:cubicBezTo>
                    <a:pt x="22" y="86"/>
                    <a:pt x="22" y="86"/>
                    <a:pt x="22" y="86"/>
                  </a:cubicBezTo>
                  <a:cubicBezTo>
                    <a:pt x="19" y="86"/>
                    <a:pt x="16" y="89"/>
                    <a:pt x="14" y="91"/>
                  </a:cubicBezTo>
                  <a:cubicBezTo>
                    <a:pt x="13" y="92"/>
                    <a:pt x="11" y="94"/>
                    <a:pt x="13" y="94"/>
                  </a:cubicBezTo>
                  <a:cubicBezTo>
                    <a:pt x="13" y="94"/>
                    <a:pt x="14" y="94"/>
                    <a:pt x="14" y="94"/>
                  </a:cubicBezTo>
                  <a:cubicBezTo>
                    <a:pt x="16" y="94"/>
                    <a:pt x="19" y="93"/>
                    <a:pt x="22" y="93"/>
                  </a:cubicBezTo>
                  <a:cubicBezTo>
                    <a:pt x="24" y="92"/>
                    <a:pt x="27" y="92"/>
                    <a:pt x="29" y="92"/>
                  </a:cubicBezTo>
                  <a:cubicBezTo>
                    <a:pt x="29" y="92"/>
                    <a:pt x="29" y="92"/>
                    <a:pt x="30" y="92"/>
                  </a:cubicBezTo>
                  <a:cubicBezTo>
                    <a:pt x="32" y="92"/>
                    <a:pt x="34" y="93"/>
                    <a:pt x="37" y="93"/>
                  </a:cubicBezTo>
                  <a:cubicBezTo>
                    <a:pt x="38" y="93"/>
                    <a:pt x="38" y="93"/>
                    <a:pt x="39" y="93"/>
                  </a:cubicBezTo>
                  <a:cubicBezTo>
                    <a:pt x="39" y="92"/>
                    <a:pt x="39" y="91"/>
                    <a:pt x="39" y="90"/>
                  </a:cubicBezTo>
                  <a:cubicBezTo>
                    <a:pt x="38" y="91"/>
                    <a:pt x="37" y="92"/>
                    <a:pt x="36" y="92"/>
                  </a:cubicBezTo>
                  <a:cubicBezTo>
                    <a:pt x="35" y="92"/>
                    <a:pt x="35" y="91"/>
                    <a:pt x="34" y="91"/>
                  </a:cubicBezTo>
                  <a:cubicBezTo>
                    <a:pt x="36" y="90"/>
                    <a:pt x="37" y="90"/>
                    <a:pt x="39" y="88"/>
                  </a:cubicBezTo>
                  <a:cubicBezTo>
                    <a:pt x="39" y="87"/>
                    <a:pt x="40" y="86"/>
                    <a:pt x="41" y="84"/>
                  </a:cubicBezTo>
                  <a:cubicBezTo>
                    <a:pt x="42" y="83"/>
                    <a:pt x="42" y="81"/>
                    <a:pt x="44" y="80"/>
                  </a:cubicBezTo>
                  <a:cubicBezTo>
                    <a:pt x="45" y="78"/>
                    <a:pt x="47" y="79"/>
                    <a:pt x="48" y="78"/>
                  </a:cubicBezTo>
                  <a:cubicBezTo>
                    <a:pt x="49" y="77"/>
                    <a:pt x="49" y="76"/>
                    <a:pt x="50" y="75"/>
                  </a:cubicBezTo>
                  <a:cubicBezTo>
                    <a:pt x="50" y="75"/>
                    <a:pt x="52" y="74"/>
                    <a:pt x="52" y="74"/>
                  </a:cubicBezTo>
                  <a:cubicBezTo>
                    <a:pt x="53" y="72"/>
                    <a:pt x="51" y="70"/>
                    <a:pt x="50" y="69"/>
                  </a:cubicBezTo>
                  <a:cubicBezTo>
                    <a:pt x="49" y="67"/>
                    <a:pt x="45" y="67"/>
                    <a:pt x="44" y="65"/>
                  </a:cubicBezTo>
                  <a:cubicBezTo>
                    <a:pt x="44" y="64"/>
                    <a:pt x="45" y="62"/>
                    <a:pt x="45" y="61"/>
                  </a:cubicBezTo>
                  <a:cubicBezTo>
                    <a:pt x="43" y="62"/>
                    <a:pt x="42" y="62"/>
                    <a:pt x="40" y="62"/>
                  </a:cubicBezTo>
                  <a:cubicBezTo>
                    <a:pt x="40" y="62"/>
                    <a:pt x="39" y="62"/>
                    <a:pt x="39" y="62"/>
                  </a:cubicBezTo>
                  <a:cubicBezTo>
                    <a:pt x="38" y="62"/>
                    <a:pt x="38" y="62"/>
                    <a:pt x="38" y="62"/>
                  </a:cubicBezTo>
                  <a:cubicBezTo>
                    <a:pt x="37" y="62"/>
                    <a:pt x="37" y="62"/>
                    <a:pt x="37" y="62"/>
                  </a:cubicBezTo>
                  <a:cubicBezTo>
                    <a:pt x="36" y="62"/>
                    <a:pt x="36" y="62"/>
                    <a:pt x="36" y="62"/>
                  </a:cubicBezTo>
                  <a:cubicBezTo>
                    <a:pt x="34" y="62"/>
                    <a:pt x="33" y="62"/>
                    <a:pt x="33" y="62"/>
                  </a:cubicBezTo>
                  <a:cubicBezTo>
                    <a:pt x="32" y="61"/>
                    <a:pt x="31" y="60"/>
                    <a:pt x="33" y="59"/>
                  </a:cubicBezTo>
                  <a:cubicBezTo>
                    <a:pt x="35" y="59"/>
                    <a:pt x="39" y="59"/>
                    <a:pt x="42" y="59"/>
                  </a:cubicBezTo>
                  <a:cubicBezTo>
                    <a:pt x="44" y="59"/>
                    <a:pt x="46" y="59"/>
                    <a:pt x="48" y="59"/>
                  </a:cubicBezTo>
                  <a:cubicBezTo>
                    <a:pt x="48" y="59"/>
                    <a:pt x="48" y="59"/>
                    <a:pt x="48" y="59"/>
                  </a:cubicBezTo>
                  <a:cubicBezTo>
                    <a:pt x="49" y="59"/>
                    <a:pt x="50" y="59"/>
                    <a:pt x="51" y="58"/>
                  </a:cubicBezTo>
                  <a:cubicBezTo>
                    <a:pt x="52" y="58"/>
                    <a:pt x="53" y="58"/>
                    <a:pt x="54" y="58"/>
                  </a:cubicBezTo>
                  <a:cubicBezTo>
                    <a:pt x="54" y="58"/>
                    <a:pt x="55" y="58"/>
                    <a:pt x="55" y="58"/>
                  </a:cubicBezTo>
                  <a:cubicBezTo>
                    <a:pt x="57" y="58"/>
                    <a:pt x="59" y="59"/>
                    <a:pt x="62" y="59"/>
                  </a:cubicBezTo>
                  <a:cubicBezTo>
                    <a:pt x="66" y="60"/>
                    <a:pt x="70" y="61"/>
                    <a:pt x="74" y="61"/>
                  </a:cubicBezTo>
                  <a:cubicBezTo>
                    <a:pt x="75" y="62"/>
                    <a:pt x="76" y="62"/>
                    <a:pt x="77" y="62"/>
                  </a:cubicBezTo>
                  <a:cubicBezTo>
                    <a:pt x="83" y="62"/>
                    <a:pt x="88" y="58"/>
                    <a:pt x="92" y="53"/>
                  </a:cubicBezTo>
                  <a:cubicBezTo>
                    <a:pt x="94" y="50"/>
                    <a:pt x="95" y="48"/>
                    <a:pt x="97" y="45"/>
                  </a:cubicBezTo>
                  <a:cubicBezTo>
                    <a:pt x="98" y="44"/>
                    <a:pt x="100" y="42"/>
                    <a:pt x="100" y="41"/>
                  </a:cubicBezTo>
                  <a:cubicBezTo>
                    <a:pt x="101" y="38"/>
                    <a:pt x="98" y="39"/>
                    <a:pt x="95" y="39"/>
                  </a:cubicBezTo>
                  <a:cubicBezTo>
                    <a:pt x="97" y="38"/>
                    <a:pt x="99" y="38"/>
                    <a:pt x="101" y="38"/>
                  </a:cubicBezTo>
                  <a:cubicBezTo>
                    <a:pt x="103" y="37"/>
                    <a:pt x="103" y="37"/>
                    <a:pt x="105" y="34"/>
                  </a:cubicBezTo>
                  <a:cubicBezTo>
                    <a:pt x="106" y="32"/>
                    <a:pt x="113" y="28"/>
                    <a:pt x="110" y="25"/>
                  </a:cubicBezTo>
                  <a:cubicBezTo>
                    <a:pt x="110" y="25"/>
                    <a:pt x="110" y="25"/>
                    <a:pt x="111" y="25"/>
                  </a:cubicBezTo>
                  <a:cubicBezTo>
                    <a:pt x="111" y="25"/>
                    <a:pt x="111" y="25"/>
                    <a:pt x="111" y="25"/>
                  </a:cubicBezTo>
                  <a:cubicBezTo>
                    <a:pt x="115" y="25"/>
                    <a:pt x="119" y="20"/>
                    <a:pt x="121" y="17"/>
                  </a:cubicBezTo>
                  <a:cubicBezTo>
                    <a:pt x="122" y="16"/>
                    <a:pt x="128" y="10"/>
                    <a:pt x="127" y="9"/>
                  </a:cubicBezTo>
                  <a:cubicBezTo>
                    <a:pt x="127" y="8"/>
                    <a:pt x="123" y="8"/>
                    <a:pt x="122" y="8"/>
                  </a:cubicBezTo>
                  <a:cubicBezTo>
                    <a:pt x="114" y="6"/>
                    <a:pt x="106" y="3"/>
                    <a:pt x="98" y="3"/>
                  </a:cubicBezTo>
                  <a:cubicBezTo>
                    <a:pt x="97" y="3"/>
                    <a:pt x="96" y="3"/>
                    <a:pt x="95" y="3"/>
                  </a:cubicBezTo>
                  <a:cubicBezTo>
                    <a:pt x="93" y="3"/>
                    <a:pt x="91" y="3"/>
                    <a:pt x="89" y="4"/>
                  </a:cubicBezTo>
                  <a:cubicBezTo>
                    <a:pt x="86" y="4"/>
                    <a:pt x="85" y="5"/>
                    <a:pt x="83" y="6"/>
                  </a:cubicBezTo>
                  <a:cubicBezTo>
                    <a:pt x="83" y="7"/>
                    <a:pt x="82" y="7"/>
                    <a:pt x="82" y="7"/>
                  </a:cubicBezTo>
                  <a:cubicBezTo>
                    <a:pt x="80" y="7"/>
                    <a:pt x="80" y="5"/>
                    <a:pt x="79" y="4"/>
                  </a:cubicBezTo>
                  <a:cubicBezTo>
                    <a:pt x="78" y="2"/>
                    <a:pt x="74" y="1"/>
                    <a:pt x="72" y="0"/>
                  </a:cubicBezTo>
                  <a:cubicBezTo>
                    <a:pt x="70" y="0"/>
                    <a:pt x="69"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93"/>
            <p:cNvSpPr/>
            <p:nvPr/>
          </p:nvSpPr>
          <p:spPr bwMode="auto">
            <a:xfrm>
              <a:off x="5546716" y="1143822"/>
              <a:ext cx="1598613" cy="777875"/>
            </a:xfrm>
            <a:custGeom>
              <a:gdLst>
                <a:gd name="T0" fmla="*/ 21 w 426"/>
                <a:gd name="T1" fmla="*/ 34 h 207"/>
                <a:gd name="T2" fmla="*/ 0 w 426"/>
                <a:gd name="T3" fmla="*/ 71 h 207"/>
                <a:gd name="T4" fmla="*/ 22 w 426"/>
                <a:gd name="T5" fmla="*/ 77 h 207"/>
                <a:gd name="T6" fmla="*/ 28 w 426"/>
                <a:gd name="T7" fmla="*/ 88 h 207"/>
                <a:gd name="T8" fmla="*/ 39 w 426"/>
                <a:gd name="T9" fmla="*/ 84 h 207"/>
                <a:gd name="T10" fmla="*/ 21 w 426"/>
                <a:gd name="T11" fmla="*/ 102 h 207"/>
                <a:gd name="T12" fmla="*/ 42 w 426"/>
                <a:gd name="T13" fmla="*/ 120 h 207"/>
                <a:gd name="T14" fmla="*/ 74 w 426"/>
                <a:gd name="T15" fmla="*/ 121 h 207"/>
                <a:gd name="T16" fmla="*/ 108 w 426"/>
                <a:gd name="T17" fmla="*/ 118 h 207"/>
                <a:gd name="T18" fmla="*/ 128 w 426"/>
                <a:gd name="T19" fmla="*/ 118 h 207"/>
                <a:gd name="T20" fmla="*/ 144 w 426"/>
                <a:gd name="T21" fmla="*/ 123 h 207"/>
                <a:gd name="T22" fmla="*/ 154 w 426"/>
                <a:gd name="T23" fmla="*/ 124 h 207"/>
                <a:gd name="T24" fmla="*/ 170 w 426"/>
                <a:gd name="T25" fmla="*/ 131 h 207"/>
                <a:gd name="T26" fmla="*/ 160 w 426"/>
                <a:gd name="T27" fmla="*/ 134 h 207"/>
                <a:gd name="T28" fmla="*/ 144 w 426"/>
                <a:gd name="T29" fmla="*/ 136 h 207"/>
                <a:gd name="T30" fmla="*/ 111 w 426"/>
                <a:gd name="T31" fmla="*/ 132 h 207"/>
                <a:gd name="T32" fmla="*/ 74 w 426"/>
                <a:gd name="T33" fmla="*/ 175 h 207"/>
                <a:gd name="T34" fmla="*/ 130 w 426"/>
                <a:gd name="T35" fmla="*/ 180 h 207"/>
                <a:gd name="T36" fmla="*/ 127 w 426"/>
                <a:gd name="T37" fmla="*/ 190 h 207"/>
                <a:gd name="T38" fmla="*/ 250 w 426"/>
                <a:gd name="T39" fmla="*/ 189 h 207"/>
                <a:gd name="T40" fmla="*/ 292 w 426"/>
                <a:gd name="T41" fmla="*/ 167 h 207"/>
                <a:gd name="T42" fmla="*/ 316 w 426"/>
                <a:gd name="T43" fmla="*/ 181 h 207"/>
                <a:gd name="T44" fmla="*/ 327 w 426"/>
                <a:gd name="T45" fmla="*/ 187 h 207"/>
                <a:gd name="T46" fmla="*/ 364 w 426"/>
                <a:gd name="T47" fmla="*/ 194 h 207"/>
                <a:gd name="T48" fmla="*/ 400 w 426"/>
                <a:gd name="T49" fmla="*/ 185 h 207"/>
                <a:gd name="T50" fmla="*/ 395 w 426"/>
                <a:gd name="T51" fmla="*/ 179 h 207"/>
                <a:gd name="T52" fmla="*/ 397 w 426"/>
                <a:gd name="T53" fmla="*/ 169 h 207"/>
                <a:gd name="T54" fmla="*/ 370 w 426"/>
                <a:gd name="T55" fmla="*/ 182 h 207"/>
                <a:gd name="T56" fmla="*/ 372 w 426"/>
                <a:gd name="T57" fmla="*/ 169 h 207"/>
                <a:gd name="T58" fmla="*/ 385 w 426"/>
                <a:gd name="T59" fmla="*/ 163 h 207"/>
                <a:gd name="T60" fmla="*/ 394 w 426"/>
                <a:gd name="T61" fmla="*/ 152 h 207"/>
                <a:gd name="T62" fmla="*/ 400 w 426"/>
                <a:gd name="T63" fmla="*/ 156 h 207"/>
                <a:gd name="T64" fmla="*/ 421 w 426"/>
                <a:gd name="T65" fmla="*/ 142 h 207"/>
                <a:gd name="T66" fmla="*/ 411 w 426"/>
                <a:gd name="T67" fmla="*/ 139 h 207"/>
                <a:gd name="T68" fmla="*/ 407 w 426"/>
                <a:gd name="T69" fmla="*/ 140 h 207"/>
                <a:gd name="T70" fmla="*/ 394 w 426"/>
                <a:gd name="T71" fmla="*/ 132 h 207"/>
                <a:gd name="T72" fmla="*/ 377 w 426"/>
                <a:gd name="T73" fmla="*/ 121 h 207"/>
                <a:gd name="T74" fmla="*/ 357 w 426"/>
                <a:gd name="T75" fmla="*/ 117 h 207"/>
                <a:gd name="T76" fmla="*/ 343 w 426"/>
                <a:gd name="T77" fmla="*/ 90 h 207"/>
                <a:gd name="T78" fmla="*/ 320 w 426"/>
                <a:gd name="T79" fmla="*/ 32 h 207"/>
                <a:gd name="T80" fmla="*/ 307 w 426"/>
                <a:gd name="T81" fmla="*/ 15 h 207"/>
                <a:gd name="T82" fmla="*/ 284 w 426"/>
                <a:gd name="T83" fmla="*/ 3 h 207"/>
                <a:gd name="T84" fmla="*/ 255 w 426"/>
                <a:gd name="T85" fmla="*/ 4 h 207"/>
                <a:gd name="T86" fmla="*/ 253 w 426"/>
                <a:gd name="T87" fmla="*/ 16 h 207"/>
                <a:gd name="T88" fmla="*/ 261 w 426"/>
                <a:gd name="T89" fmla="*/ 43 h 207"/>
                <a:gd name="T90" fmla="*/ 272 w 426"/>
                <a:gd name="T91" fmla="*/ 64 h 207"/>
                <a:gd name="T92" fmla="*/ 263 w 426"/>
                <a:gd name="T93" fmla="*/ 74 h 207"/>
                <a:gd name="T94" fmla="*/ 255 w 426"/>
                <a:gd name="T95" fmla="*/ 73 h 207"/>
                <a:gd name="T96" fmla="*/ 249 w 426"/>
                <a:gd name="T97" fmla="*/ 60 h 207"/>
                <a:gd name="T98" fmla="*/ 244 w 426"/>
                <a:gd name="T99" fmla="*/ 37 h 207"/>
                <a:gd name="T100" fmla="*/ 233 w 426"/>
                <a:gd name="T101" fmla="*/ 31 h 207"/>
                <a:gd name="T102" fmla="*/ 220 w 426"/>
                <a:gd name="T103" fmla="*/ 24 h 207"/>
                <a:gd name="T104" fmla="*/ 214 w 426"/>
                <a:gd name="T105" fmla="*/ 19 h 207"/>
                <a:gd name="T106" fmla="*/ 209 w 426"/>
                <a:gd name="T107" fmla="*/ 28 h 207"/>
                <a:gd name="T108" fmla="*/ 205 w 426"/>
                <a:gd name="T109" fmla="*/ 32 h 207"/>
                <a:gd name="T110" fmla="*/ 206 w 426"/>
                <a:gd name="T111" fmla="*/ 37 h 207"/>
                <a:gd name="T112" fmla="*/ 188 w 426"/>
                <a:gd name="T113" fmla="*/ 42 h 207"/>
                <a:gd name="T114" fmla="*/ 170 w 426"/>
                <a:gd name="T115" fmla="*/ 52 h 207"/>
                <a:gd name="T116" fmla="*/ 182 w 426"/>
                <a:gd name="T117" fmla="*/ 36 h 207"/>
                <a:gd name="T118" fmla="*/ 129 w 426"/>
                <a:gd name="T119" fmla="*/ 28 h 207"/>
                <a:gd name="T120" fmla="*/ 105 w 426"/>
                <a:gd name="T121" fmla="*/ 35 h 207"/>
                <a:gd name="T122" fmla="*/ 119 w 426"/>
                <a:gd name="T123" fmla="*/ 26 h 207"/>
                <a:gd name="T124" fmla="*/ 105 w 426"/>
                <a:gd name="T125" fmla="*/ 0 h 2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 h="206">
                  <a:moveTo>
                    <a:pt x="104" y="0"/>
                  </a:moveTo>
                  <a:cubicBezTo>
                    <a:pt x="102" y="0"/>
                    <a:pt x="100" y="2"/>
                    <a:pt x="98" y="3"/>
                  </a:cubicBezTo>
                  <a:cubicBezTo>
                    <a:pt x="88" y="7"/>
                    <a:pt x="78" y="9"/>
                    <a:pt x="68" y="12"/>
                  </a:cubicBezTo>
                  <a:cubicBezTo>
                    <a:pt x="63" y="13"/>
                    <a:pt x="58" y="16"/>
                    <a:pt x="53" y="18"/>
                  </a:cubicBezTo>
                  <a:cubicBezTo>
                    <a:pt x="48" y="20"/>
                    <a:pt x="43" y="20"/>
                    <a:pt x="39" y="23"/>
                  </a:cubicBezTo>
                  <a:cubicBezTo>
                    <a:pt x="37" y="25"/>
                    <a:pt x="35" y="26"/>
                    <a:pt x="33" y="27"/>
                  </a:cubicBezTo>
                  <a:cubicBezTo>
                    <a:pt x="29" y="30"/>
                    <a:pt x="25" y="31"/>
                    <a:pt x="21" y="34"/>
                  </a:cubicBezTo>
                  <a:cubicBezTo>
                    <a:pt x="19" y="35"/>
                    <a:pt x="15" y="37"/>
                    <a:pt x="13" y="40"/>
                  </a:cubicBezTo>
                  <a:cubicBezTo>
                    <a:pt x="9" y="45"/>
                    <a:pt x="17" y="46"/>
                    <a:pt x="20" y="46"/>
                  </a:cubicBezTo>
                  <a:cubicBezTo>
                    <a:pt x="28" y="46"/>
                    <a:pt x="17" y="51"/>
                    <a:pt x="15" y="52"/>
                  </a:cubicBezTo>
                  <a:cubicBezTo>
                    <a:pt x="13" y="53"/>
                    <a:pt x="12" y="54"/>
                    <a:pt x="10" y="55"/>
                  </a:cubicBezTo>
                  <a:cubicBezTo>
                    <a:pt x="9" y="56"/>
                    <a:pt x="10" y="57"/>
                    <a:pt x="9" y="58"/>
                  </a:cubicBezTo>
                  <a:cubicBezTo>
                    <a:pt x="5" y="61"/>
                    <a:pt x="1" y="62"/>
                    <a:pt x="0" y="68"/>
                  </a:cubicBezTo>
                  <a:cubicBezTo>
                    <a:pt x="0" y="69"/>
                    <a:pt x="0" y="70"/>
                    <a:pt x="0" y="71"/>
                  </a:cubicBezTo>
                  <a:cubicBezTo>
                    <a:pt x="0" y="72"/>
                    <a:pt x="0" y="75"/>
                    <a:pt x="1" y="76"/>
                  </a:cubicBezTo>
                  <a:cubicBezTo>
                    <a:pt x="1" y="77"/>
                    <a:pt x="2" y="77"/>
                    <a:pt x="3" y="77"/>
                  </a:cubicBezTo>
                  <a:cubicBezTo>
                    <a:pt x="4" y="77"/>
                    <a:pt x="6" y="76"/>
                    <a:pt x="8" y="76"/>
                  </a:cubicBezTo>
                  <a:cubicBezTo>
                    <a:pt x="8" y="75"/>
                    <a:pt x="8" y="75"/>
                    <a:pt x="8" y="75"/>
                  </a:cubicBezTo>
                  <a:cubicBezTo>
                    <a:pt x="11" y="75"/>
                    <a:pt x="19" y="76"/>
                    <a:pt x="16" y="79"/>
                  </a:cubicBezTo>
                  <a:cubicBezTo>
                    <a:pt x="16" y="79"/>
                    <a:pt x="16" y="79"/>
                    <a:pt x="16" y="79"/>
                  </a:cubicBezTo>
                  <a:cubicBezTo>
                    <a:pt x="18" y="79"/>
                    <a:pt x="20" y="78"/>
                    <a:pt x="22" y="77"/>
                  </a:cubicBezTo>
                  <a:cubicBezTo>
                    <a:pt x="23" y="76"/>
                    <a:pt x="25" y="75"/>
                    <a:pt x="27" y="75"/>
                  </a:cubicBezTo>
                  <a:cubicBezTo>
                    <a:pt x="27" y="75"/>
                    <a:pt x="28" y="75"/>
                    <a:pt x="29" y="75"/>
                  </a:cubicBezTo>
                  <a:cubicBezTo>
                    <a:pt x="27" y="76"/>
                    <a:pt x="27" y="77"/>
                    <a:pt x="27" y="78"/>
                  </a:cubicBezTo>
                  <a:cubicBezTo>
                    <a:pt x="25" y="79"/>
                    <a:pt x="23" y="80"/>
                    <a:pt x="22" y="81"/>
                  </a:cubicBezTo>
                  <a:cubicBezTo>
                    <a:pt x="20" y="83"/>
                    <a:pt x="18" y="84"/>
                    <a:pt x="19" y="86"/>
                  </a:cubicBezTo>
                  <a:cubicBezTo>
                    <a:pt x="20" y="88"/>
                    <a:pt x="22" y="88"/>
                    <a:pt x="25" y="88"/>
                  </a:cubicBezTo>
                  <a:cubicBezTo>
                    <a:pt x="26" y="88"/>
                    <a:pt x="27" y="88"/>
                    <a:pt x="28" y="88"/>
                  </a:cubicBezTo>
                  <a:cubicBezTo>
                    <a:pt x="29" y="88"/>
                    <a:pt x="30" y="88"/>
                    <a:pt x="31" y="88"/>
                  </a:cubicBezTo>
                  <a:cubicBezTo>
                    <a:pt x="31" y="88"/>
                    <a:pt x="31" y="88"/>
                    <a:pt x="31" y="88"/>
                  </a:cubicBezTo>
                  <a:cubicBezTo>
                    <a:pt x="32" y="88"/>
                    <a:pt x="33" y="88"/>
                    <a:pt x="35" y="88"/>
                  </a:cubicBezTo>
                  <a:cubicBezTo>
                    <a:pt x="36" y="88"/>
                    <a:pt x="37" y="88"/>
                    <a:pt x="37" y="87"/>
                  </a:cubicBezTo>
                  <a:cubicBezTo>
                    <a:pt x="38" y="86"/>
                    <a:pt x="36" y="84"/>
                    <a:pt x="37" y="83"/>
                  </a:cubicBezTo>
                  <a:cubicBezTo>
                    <a:pt x="38" y="83"/>
                    <a:pt x="38" y="83"/>
                    <a:pt x="38" y="84"/>
                  </a:cubicBezTo>
                  <a:cubicBezTo>
                    <a:pt x="39" y="84"/>
                    <a:pt x="39" y="84"/>
                    <a:pt x="39" y="84"/>
                  </a:cubicBezTo>
                  <a:cubicBezTo>
                    <a:pt x="41" y="84"/>
                    <a:pt x="39" y="86"/>
                    <a:pt x="40" y="86"/>
                  </a:cubicBezTo>
                  <a:cubicBezTo>
                    <a:pt x="40" y="87"/>
                    <a:pt x="40" y="87"/>
                    <a:pt x="41" y="87"/>
                  </a:cubicBezTo>
                  <a:cubicBezTo>
                    <a:pt x="43" y="87"/>
                    <a:pt x="45" y="86"/>
                    <a:pt x="46" y="86"/>
                  </a:cubicBezTo>
                  <a:cubicBezTo>
                    <a:pt x="50" y="85"/>
                    <a:pt x="54" y="85"/>
                    <a:pt x="57" y="84"/>
                  </a:cubicBezTo>
                  <a:cubicBezTo>
                    <a:pt x="63" y="83"/>
                    <a:pt x="68" y="82"/>
                    <a:pt x="74" y="81"/>
                  </a:cubicBezTo>
                  <a:cubicBezTo>
                    <a:pt x="60" y="87"/>
                    <a:pt x="45" y="92"/>
                    <a:pt x="31" y="98"/>
                  </a:cubicBezTo>
                  <a:cubicBezTo>
                    <a:pt x="28" y="99"/>
                    <a:pt x="24" y="101"/>
                    <a:pt x="21" y="102"/>
                  </a:cubicBezTo>
                  <a:cubicBezTo>
                    <a:pt x="20" y="102"/>
                    <a:pt x="16" y="103"/>
                    <a:pt x="16" y="104"/>
                  </a:cubicBezTo>
                  <a:cubicBezTo>
                    <a:pt x="16" y="105"/>
                    <a:pt x="19" y="108"/>
                    <a:pt x="20" y="109"/>
                  </a:cubicBezTo>
                  <a:cubicBezTo>
                    <a:pt x="23" y="112"/>
                    <a:pt x="29" y="113"/>
                    <a:pt x="31" y="116"/>
                  </a:cubicBezTo>
                  <a:cubicBezTo>
                    <a:pt x="33" y="117"/>
                    <a:pt x="32" y="120"/>
                    <a:pt x="36" y="121"/>
                  </a:cubicBezTo>
                  <a:cubicBezTo>
                    <a:pt x="36" y="121"/>
                    <a:pt x="36" y="121"/>
                    <a:pt x="36" y="121"/>
                  </a:cubicBezTo>
                  <a:cubicBezTo>
                    <a:pt x="37" y="121"/>
                    <a:pt x="38" y="120"/>
                    <a:pt x="39" y="120"/>
                  </a:cubicBezTo>
                  <a:cubicBezTo>
                    <a:pt x="41" y="120"/>
                    <a:pt x="41" y="120"/>
                    <a:pt x="42" y="120"/>
                  </a:cubicBezTo>
                  <a:cubicBezTo>
                    <a:pt x="45" y="121"/>
                    <a:pt x="47" y="121"/>
                    <a:pt x="50" y="121"/>
                  </a:cubicBezTo>
                  <a:cubicBezTo>
                    <a:pt x="53" y="121"/>
                    <a:pt x="55" y="121"/>
                    <a:pt x="57" y="120"/>
                  </a:cubicBezTo>
                  <a:cubicBezTo>
                    <a:pt x="60" y="120"/>
                    <a:pt x="62" y="119"/>
                    <a:pt x="64" y="119"/>
                  </a:cubicBezTo>
                  <a:cubicBezTo>
                    <a:pt x="64" y="119"/>
                    <a:pt x="64" y="119"/>
                    <a:pt x="65" y="119"/>
                  </a:cubicBezTo>
                  <a:cubicBezTo>
                    <a:pt x="67" y="119"/>
                    <a:pt x="68" y="121"/>
                    <a:pt x="71" y="121"/>
                  </a:cubicBezTo>
                  <a:cubicBezTo>
                    <a:pt x="71" y="121"/>
                    <a:pt x="71" y="121"/>
                    <a:pt x="71" y="121"/>
                  </a:cubicBezTo>
                  <a:cubicBezTo>
                    <a:pt x="72" y="121"/>
                    <a:pt x="73" y="121"/>
                    <a:pt x="74" y="121"/>
                  </a:cubicBezTo>
                  <a:cubicBezTo>
                    <a:pt x="75" y="121"/>
                    <a:pt x="76" y="121"/>
                    <a:pt x="78" y="121"/>
                  </a:cubicBezTo>
                  <a:cubicBezTo>
                    <a:pt x="78" y="121"/>
                    <a:pt x="78" y="121"/>
                    <a:pt x="78" y="121"/>
                  </a:cubicBezTo>
                  <a:cubicBezTo>
                    <a:pt x="79" y="121"/>
                    <a:pt x="80" y="121"/>
                    <a:pt x="81" y="121"/>
                  </a:cubicBezTo>
                  <a:cubicBezTo>
                    <a:pt x="82" y="121"/>
                    <a:pt x="82" y="121"/>
                    <a:pt x="82" y="121"/>
                  </a:cubicBezTo>
                  <a:cubicBezTo>
                    <a:pt x="83" y="121"/>
                    <a:pt x="84" y="121"/>
                    <a:pt x="85" y="121"/>
                  </a:cubicBezTo>
                  <a:cubicBezTo>
                    <a:pt x="90" y="120"/>
                    <a:pt x="96" y="120"/>
                    <a:pt x="100" y="120"/>
                  </a:cubicBezTo>
                  <a:cubicBezTo>
                    <a:pt x="103" y="120"/>
                    <a:pt x="106" y="119"/>
                    <a:pt x="108" y="118"/>
                  </a:cubicBezTo>
                  <a:cubicBezTo>
                    <a:pt x="109" y="118"/>
                    <a:pt x="110" y="118"/>
                    <a:pt x="110" y="118"/>
                  </a:cubicBezTo>
                  <a:cubicBezTo>
                    <a:pt x="111" y="118"/>
                    <a:pt x="111" y="118"/>
                    <a:pt x="112" y="118"/>
                  </a:cubicBezTo>
                  <a:cubicBezTo>
                    <a:pt x="112" y="118"/>
                    <a:pt x="113" y="118"/>
                    <a:pt x="114" y="118"/>
                  </a:cubicBezTo>
                  <a:cubicBezTo>
                    <a:pt x="114" y="118"/>
                    <a:pt x="114" y="118"/>
                    <a:pt x="115" y="118"/>
                  </a:cubicBezTo>
                  <a:cubicBezTo>
                    <a:pt x="117" y="117"/>
                    <a:pt x="118" y="116"/>
                    <a:pt x="120" y="116"/>
                  </a:cubicBezTo>
                  <a:cubicBezTo>
                    <a:pt x="120" y="116"/>
                    <a:pt x="121" y="116"/>
                    <a:pt x="121" y="116"/>
                  </a:cubicBezTo>
                  <a:cubicBezTo>
                    <a:pt x="123" y="116"/>
                    <a:pt x="126" y="118"/>
                    <a:pt x="128" y="118"/>
                  </a:cubicBezTo>
                  <a:cubicBezTo>
                    <a:pt x="128" y="118"/>
                    <a:pt x="128" y="118"/>
                    <a:pt x="128" y="118"/>
                  </a:cubicBezTo>
                  <a:cubicBezTo>
                    <a:pt x="129" y="118"/>
                    <a:pt x="130" y="118"/>
                    <a:pt x="131" y="118"/>
                  </a:cubicBezTo>
                  <a:cubicBezTo>
                    <a:pt x="131" y="118"/>
                    <a:pt x="131" y="118"/>
                    <a:pt x="131" y="118"/>
                  </a:cubicBezTo>
                  <a:cubicBezTo>
                    <a:pt x="132" y="118"/>
                    <a:pt x="134" y="119"/>
                    <a:pt x="135" y="119"/>
                  </a:cubicBezTo>
                  <a:cubicBezTo>
                    <a:pt x="137" y="119"/>
                    <a:pt x="138" y="120"/>
                    <a:pt x="140" y="121"/>
                  </a:cubicBezTo>
                  <a:cubicBezTo>
                    <a:pt x="141" y="121"/>
                    <a:pt x="142" y="122"/>
                    <a:pt x="143" y="122"/>
                  </a:cubicBezTo>
                  <a:cubicBezTo>
                    <a:pt x="144" y="122"/>
                    <a:pt x="144" y="123"/>
                    <a:pt x="144" y="123"/>
                  </a:cubicBezTo>
                  <a:cubicBezTo>
                    <a:pt x="144" y="123"/>
                    <a:pt x="144" y="123"/>
                    <a:pt x="144" y="123"/>
                  </a:cubicBezTo>
                  <a:cubicBezTo>
                    <a:pt x="145" y="123"/>
                    <a:pt x="145" y="123"/>
                    <a:pt x="145" y="122"/>
                  </a:cubicBezTo>
                  <a:cubicBezTo>
                    <a:pt x="145" y="122"/>
                    <a:pt x="146" y="122"/>
                    <a:pt x="146" y="122"/>
                  </a:cubicBezTo>
                  <a:cubicBezTo>
                    <a:pt x="146" y="122"/>
                    <a:pt x="146" y="122"/>
                    <a:pt x="146" y="122"/>
                  </a:cubicBezTo>
                  <a:cubicBezTo>
                    <a:pt x="149" y="122"/>
                    <a:pt x="151" y="123"/>
                    <a:pt x="153" y="124"/>
                  </a:cubicBezTo>
                  <a:cubicBezTo>
                    <a:pt x="153" y="124"/>
                    <a:pt x="153" y="124"/>
                    <a:pt x="153" y="124"/>
                  </a:cubicBezTo>
                  <a:cubicBezTo>
                    <a:pt x="154" y="124"/>
                    <a:pt x="154" y="124"/>
                    <a:pt x="154" y="124"/>
                  </a:cubicBezTo>
                  <a:cubicBezTo>
                    <a:pt x="154" y="124"/>
                    <a:pt x="154" y="123"/>
                    <a:pt x="155" y="123"/>
                  </a:cubicBezTo>
                  <a:cubicBezTo>
                    <a:pt x="155" y="123"/>
                    <a:pt x="155" y="123"/>
                    <a:pt x="155" y="123"/>
                  </a:cubicBezTo>
                  <a:cubicBezTo>
                    <a:pt x="155" y="123"/>
                    <a:pt x="155" y="124"/>
                    <a:pt x="156" y="124"/>
                  </a:cubicBezTo>
                  <a:cubicBezTo>
                    <a:pt x="157" y="124"/>
                    <a:pt x="158" y="124"/>
                    <a:pt x="159" y="125"/>
                  </a:cubicBezTo>
                  <a:cubicBezTo>
                    <a:pt x="163" y="126"/>
                    <a:pt x="162" y="126"/>
                    <a:pt x="164" y="129"/>
                  </a:cubicBezTo>
                  <a:cubicBezTo>
                    <a:pt x="165" y="130"/>
                    <a:pt x="168" y="131"/>
                    <a:pt x="170" y="131"/>
                  </a:cubicBezTo>
                  <a:cubicBezTo>
                    <a:pt x="170" y="131"/>
                    <a:pt x="170" y="131"/>
                    <a:pt x="170" y="131"/>
                  </a:cubicBezTo>
                  <a:cubicBezTo>
                    <a:pt x="171" y="131"/>
                    <a:pt x="171" y="131"/>
                    <a:pt x="172" y="131"/>
                  </a:cubicBezTo>
                  <a:cubicBezTo>
                    <a:pt x="172" y="131"/>
                    <a:pt x="173" y="131"/>
                    <a:pt x="173" y="131"/>
                  </a:cubicBezTo>
                  <a:cubicBezTo>
                    <a:pt x="174" y="131"/>
                    <a:pt x="174" y="131"/>
                    <a:pt x="174" y="131"/>
                  </a:cubicBezTo>
                  <a:cubicBezTo>
                    <a:pt x="176" y="132"/>
                    <a:pt x="174" y="134"/>
                    <a:pt x="177" y="134"/>
                  </a:cubicBezTo>
                  <a:cubicBezTo>
                    <a:pt x="175" y="135"/>
                    <a:pt x="174" y="135"/>
                    <a:pt x="172" y="135"/>
                  </a:cubicBezTo>
                  <a:cubicBezTo>
                    <a:pt x="170" y="135"/>
                    <a:pt x="168" y="135"/>
                    <a:pt x="166" y="134"/>
                  </a:cubicBezTo>
                  <a:cubicBezTo>
                    <a:pt x="164" y="134"/>
                    <a:pt x="162" y="134"/>
                    <a:pt x="160" y="134"/>
                  </a:cubicBezTo>
                  <a:cubicBezTo>
                    <a:pt x="160" y="134"/>
                    <a:pt x="159" y="134"/>
                    <a:pt x="159" y="134"/>
                  </a:cubicBezTo>
                  <a:cubicBezTo>
                    <a:pt x="160" y="134"/>
                    <a:pt x="161" y="134"/>
                    <a:pt x="161" y="134"/>
                  </a:cubicBezTo>
                  <a:cubicBezTo>
                    <a:pt x="158" y="135"/>
                    <a:pt x="155" y="137"/>
                    <a:pt x="152" y="137"/>
                  </a:cubicBezTo>
                  <a:cubicBezTo>
                    <a:pt x="152" y="137"/>
                    <a:pt x="152" y="137"/>
                    <a:pt x="152" y="137"/>
                  </a:cubicBezTo>
                  <a:cubicBezTo>
                    <a:pt x="150" y="137"/>
                    <a:pt x="149" y="137"/>
                    <a:pt x="148" y="137"/>
                  </a:cubicBezTo>
                  <a:cubicBezTo>
                    <a:pt x="147" y="136"/>
                    <a:pt x="145" y="136"/>
                    <a:pt x="144" y="136"/>
                  </a:cubicBezTo>
                  <a:cubicBezTo>
                    <a:pt x="144" y="136"/>
                    <a:pt x="144" y="136"/>
                    <a:pt x="144" y="136"/>
                  </a:cubicBezTo>
                  <a:cubicBezTo>
                    <a:pt x="143" y="136"/>
                    <a:pt x="143" y="136"/>
                    <a:pt x="143" y="136"/>
                  </a:cubicBezTo>
                  <a:cubicBezTo>
                    <a:pt x="141" y="136"/>
                    <a:pt x="139" y="135"/>
                    <a:pt x="137" y="135"/>
                  </a:cubicBezTo>
                  <a:cubicBezTo>
                    <a:pt x="135" y="135"/>
                    <a:pt x="133" y="134"/>
                    <a:pt x="131" y="134"/>
                  </a:cubicBezTo>
                  <a:cubicBezTo>
                    <a:pt x="130" y="134"/>
                    <a:pt x="130" y="134"/>
                    <a:pt x="129" y="134"/>
                  </a:cubicBezTo>
                  <a:cubicBezTo>
                    <a:pt x="128" y="134"/>
                    <a:pt x="127" y="134"/>
                    <a:pt x="126" y="134"/>
                  </a:cubicBezTo>
                  <a:cubicBezTo>
                    <a:pt x="122" y="134"/>
                    <a:pt x="119" y="134"/>
                    <a:pt x="115" y="133"/>
                  </a:cubicBezTo>
                  <a:cubicBezTo>
                    <a:pt x="114" y="132"/>
                    <a:pt x="112" y="132"/>
                    <a:pt x="111" y="132"/>
                  </a:cubicBezTo>
                  <a:cubicBezTo>
                    <a:pt x="107" y="132"/>
                    <a:pt x="102" y="134"/>
                    <a:pt x="98" y="134"/>
                  </a:cubicBezTo>
                  <a:cubicBezTo>
                    <a:pt x="89" y="134"/>
                    <a:pt x="81" y="135"/>
                    <a:pt x="73" y="136"/>
                  </a:cubicBezTo>
                  <a:cubicBezTo>
                    <a:pt x="61" y="138"/>
                    <a:pt x="50" y="142"/>
                    <a:pt x="39" y="146"/>
                  </a:cubicBezTo>
                  <a:cubicBezTo>
                    <a:pt x="41" y="149"/>
                    <a:pt x="42" y="152"/>
                    <a:pt x="43" y="155"/>
                  </a:cubicBezTo>
                  <a:cubicBezTo>
                    <a:pt x="45" y="158"/>
                    <a:pt x="50" y="159"/>
                    <a:pt x="53" y="160"/>
                  </a:cubicBezTo>
                  <a:cubicBezTo>
                    <a:pt x="52" y="161"/>
                    <a:pt x="52" y="162"/>
                    <a:pt x="51" y="162"/>
                  </a:cubicBezTo>
                  <a:cubicBezTo>
                    <a:pt x="58" y="166"/>
                    <a:pt x="66" y="173"/>
                    <a:pt x="74" y="175"/>
                  </a:cubicBezTo>
                  <a:cubicBezTo>
                    <a:pt x="78" y="176"/>
                    <a:pt x="82" y="176"/>
                    <a:pt x="85" y="176"/>
                  </a:cubicBezTo>
                  <a:cubicBezTo>
                    <a:pt x="87" y="176"/>
                    <a:pt x="88" y="176"/>
                    <a:pt x="90" y="176"/>
                  </a:cubicBezTo>
                  <a:cubicBezTo>
                    <a:pt x="91" y="176"/>
                    <a:pt x="92" y="176"/>
                    <a:pt x="94" y="176"/>
                  </a:cubicBezTo>
                  <a:cubicBezTo>
                    <a:pt x="95" y="176"/>
                    <a:pt x="96" y="176"/>
                    <a:pt x="97" y="176"/>
                  </a:cubicBezTo>
                  <a:cubicBezTo>
                    <a:pt x="99" y="176"/>
                    <a:pt x="100" y="176"/>
                    <a:pt x="101" y="176"/>
                  </a:cubicBezTo>
                  <a:cubicBezTo>
                    <a:pt x="108" y="177"/>
                    <a:pt x="114" y="178"/>
                    <a:pt x="121" y="178"/>
                  </a:cubicBezTo>
                  <a:cubicBezTo>
                    <a:pt x="123" y="179"/>
                    <a:pt x="128" y="178"/>
                    <a:pt x="130" y="180"/>
                  </a:cubicBezTo>
                  <a:cubicBezTo>
                    <a:pt x="130" y="180"/>
                    <a:pt x="130" y="180"/>
                    <a:pt x="130" y="180"/>
                  </a:cubicBezTo>
                  <a:cubicBezTo>
                    <a:pt x="129" y="180"/>
                    <a:pt x="129" y="180"/>
                    <a:pt x="128" y="180"/>
                  </a:cubicBezTo>
                  <a:cubicBezTo>
                    <a:pt x="128" y="180"/>
                    <a:pt x="127" y="179"/>
                    <a:pt x="127" y="179"/>
                  </a:cubicBezTo>
                  <a:cubicBezTo>
                    <a:pt x="126" y="179"/>
                    <a:pt x="125" y="180"/>
                    <a:pt x="127" y="181"/>
                  </a:cubicBezTo>
                  <a:cubicBezTo>
                    <a:pt x="125" y="183"/>
                    <a:pt x="128" y="184"/>
                    <a:pt x="129" y="185"/>
                  </a:cubicBezTo>
                  <a:cubicBezTo>
                    <a:pt x="129" y="185"/>
                    <a:pt x="128" y="185"/>
                    <a:pt x="128" y="185"/>
                  </a:cubicBezTo>
                  <a:cubicBezTo>
                    <a:pt x="129" y="187"/>
                    <a:pt x="128" y="188"/>
                    <a:pt x="127" y="190"/>
                  </a:cubicBezTo>
                  <a:cubicBezTo>
                    <a:pt x="126" y="196"/>
                    <a:pt x="134" y="202"/>
                    <a:pt x="138" y="207"/>
                  </a:cubicBezTo>
                  <a:cubicBezTo>
                    <a:pt x="138" y="207"/>
                    <a:pt x="139" y="207"/>
                    <a:pt x="141" y="207"/>
                  </a:cubicBezTo>
                  <a:cubicBezTo>
                    <a:pt x="144" y="207"/>
                    <a:pt x="149" y="206"/>
                    <a:pt x="150" y="206"/>
                  </a:cubicBezTo>
                  <a:cubicBezTo>
                    <a:pt x="160" y="206"/>
                    <a:pt x="170" y="205"/>
                    <a:pt x="179" y="204"/>
                  </a:cubicBezTo>
                  <a:cubicBezTo>
                    <a:pt x="192" y="203"/>
                    <a:pt x="204" y="203"/>
                    <a:pt x="216" y="201"/>
                  </a:cubicBezTo>
                  <a:cubicBezTo>
                    <a:pt x="223" y="200"/>
                    <a:pt x="231" y="200"/>
                    <a:pt x="237" y="197"/>
                  </a:cubicBezTo>
                  <a:cubicBezTo>
                    <a:pt x="242" y="194"/>
                    <a:pt x="244" y="189"/>
                    <a:pt x="250" y="189"/>
                  </a:cubicBezTo>
                  <a:cubicBezTo>
                    <a:pt x="254" y="188"/>
                    <a:pt x="259" y="188"/>
                    <a:pt x="263" y="187"/>
                  </a:cubicBezTo>
                  <a:cubicBezTo>
                    <a:pt x="266" y="187"/>
                    <a:pt x="270" y="187"/>
                    <a:pt x="272" y="186"/>
                  </a:cubicBezTo>
                  <a:cubicBezTo>
                    <a:pt x="275" y="185"/>
                    <a:pt x="277" y="182"/>
                    <a:pt x="279" y="181"/>
                  </a:cubicBezTo>
                  <a:cubicBezTo>
                    <a:pt x="280" y="180"/>
                    <a:pt x="281" y="179"/>
                    <a:pt x="282" y="178"/>
                  </a:cubicBezTo>
                  <a:cubicBezTo>
                    <a:pt x="284" y="177"/>
                    <a:pt x="282" y="177"/>
                    <a:pt x="282" y="176"/>
                  </a:cubicBezTo>
                  <a:cubicBezTo>
                    <a:pt x="283" y="173"/>
                    <a:pt x="288" y="167"/>
                    <a:pt x="291" y="167"/>
                  </a:cubicBezTo>
                  <a:cubicBezTo>
                    <a:pt x="292" y="167"/>
                    <a:pt x="292" y="167"/>
                    <a:pt x="292" y="167"/>
                  </a:cubicBezTo>
                  <a:cubicBezTo>
                    <a:pt x="296" y="168"/>
                    <a:pt x="299" y="173"/>
                    <a:pt x="297" y="176"/>
                  </a:cubicBezTo>
                  <a:cubicBezTo>
                    <a:pt x="296" y="178"/>
                    <a:pt x="293" y="178"/>
                    <a:pt x="297" y="180"/>
                  </a:cubicBezTo>
                  <a:cubicBezTo>
                    <a:pt x="298" y="180"/>
                    <a:pt x="299" y="180"/>
                    <a:pt x="301" y="180"/>
                  </a:cubicBezTo>
                  <a:cubicBezTo>
                    <a:pt x="302" y="180"/>
                    <a:pt x="303" y="180"/>
                    <a:pt x="305" y="180"/>
                  </a:cubicBezTo>
                  <a:cubicBezTo>
                    <a:pt x="306" y="180"/>
                    <a:pt x="308" y="180"/>
                    <a:pt x="309" y="180"/>
                  </a:cubicBezTo>
                  <a:cubicBezTo>
                    <a:pt x="309" y="180"/>
                    <a:pt x="310" y="180"/>
                    <a:pt x="310" y="180"/>
                  </a:cubicBezTo>
                  <a:cubicBezTo>
                    <a:pt x="312" y="180"/>
                    <a:pt x="314" y="180"/>
                    <a:pt x="316" y="181"/>
                  </a:cubicBezTo>
                  <a:cubicBezTo>
                    <a:pt x="316" y="182"/>
                    <a:pt x="316" y="182"/>
                    <a:pt x="317" y="182"/>
                  </a:cubicBezTo>
                  <a:cubicBezTo>
                    <a:pt x="318" y="183"/>
                    <a:pt x="319" y="183"/>
                    <a:pt x="319" y="183"/>
                  </a:cubicBezTo>
                  <a:cubicBezTo>
                    <a:pt x="320" y="183"/>
                    <a:pt x="321" y="183"/>
                    <a:pt x="322" y="183"/>
                  </a:cubicBezTo>
                  <a:cubicBezTo>
                    <a:pt x="322" y="183"/>
                    <a:pt x="323" y="182"/>
                    <a:pt x="324" y="182"/>
                  </a:cubicBezTo>
                  <a:cubicBezTo>
                    <a:pt x="324" y="182"/>
                    <a:pt x="324" y="182"/>
                    <a:pt x="324" y="182"/>
                  </a:cubicBezTo>
                  <a:cubicBezTo>
                    <a:pt x="325" y="182"/>
                    <a:pt x="329" y="183"/>
                    <a:pt x="329" y="184"/>
                  </a:cubicBezTo>
                  <a:cubicBezTo>
                    <a:pt x="330" y="186"/>
                    <a:pt x="327" y="185"/>
                    <a:pt x="327" y="187"/>
                  </a:cubicBezTo>
                  <a:cubicBezTo>
                    <a:pt x="324" y="187"/>
                    <a:pt x="323" y="188"/>
                    <a:pt x="321" y="189"/>
                  </a:cubicBezTo>
                  <a:cubicBezTo>
                    <a:pt x="322" y="190"/>
                    <a:pt x="324" y="190"/>
                    <a:pt x="326" y="190"/>
                  </a:cubicBezTo>
                  <a:cubicBezTo>
                    <a:pt x="327" y="190"/>
                    <a:pt x="329" y="190"/>
                    <a:pt x="331" y="190"/>
                  </a:cubicBezTo>
                  <a:cubicBezTo>
                    <a:pt x="333" y="189"/>
                    <a:pt x="337" y="189"/>
                    <a:pt x="341" y="189"/>
                  </a:cubicBezTo>
                  <a:cubicBezTo>
                    <a:pt x="342" y="189"/>
                    <a:pt x="344" y="189"/>
                    <a:pt x="345" y="189"/>
                  </a:cubicBezTo>
                  <a:cubicBezTo>
                    <a:pt x="346" y="190"/>
                    <a:pt x="345" y="192"/>
                    <a:pt x="347" y="192"/>
                  </a:cubicBezTo>
                  <a:cubicBezTo>
                    <a:pt x="353" y="193"/>
                    <a:pt x="359" y="193"/>
                    <a:pt x="364" y="194"/>
                  </a:cubicBezTo>
                  <a:cubicBezTo>
                    <a:pt x="368" y="194"/>
                    <a:pt x="371" y="194"/>
                    <a:pt x="373" y="194"/>
                  </a:cubicBezTo>
                  <a:cubicBezTo>
                    <a:pt x="377" y="194"/>
                    <a:pt x="381" y="194"/>
                    <a:pt x="385" y="192"/>
                  </a:cubicBezTo>
                  <a:cubicBezTo>
                    <a:pt x="388" y="191"/>
                    <a:pt x="390" y="190"/>
                    <a:pt x="394" y="189"/>
                  </a:cubicBezTo>
                  <a:cubicBezTo>
                    <a:pt x="397" y="188"/>
                    <a:pt x="397" y="189"/>
                    <a:pt x="397" y="186"/>
                  </a:cubicBezTo>
                  <a:cubicBezTo>
                    <a:pt x="397" y="186"/>
                    <a:pt x="397" y="187"/>
                    <a:pt x="397" y="188"/>
                  </a:cubicBezTo>
                  <a:cubicBezTo>
                    <a:pt x="398" y="188"/>
                    <a:pt x="401" y="188"/>
                    <a:pt x="402" y="186"/>
                  </a:cubicBezTo>
                  <a:cubicBezTo>
                    <a:pt x="402" y="186"/>
                    <a:pt x="400" y="185"/>
                    <a:pt x="400" y="185"/>
                  </a:cubicBezTo>
                  <a:cubicBezTo>
                    <a:pt x="401" y="184"/>
                    <a:pt x="401" y="184"/>
                    <a:pt x="402" y="183"/>
                  </a:cubicBezTo>
                  <a:cubicBezTo>
                    <a:pt x="402" y="182"/>
                    <a:pt x="403" y="180"/>
                    <a:pt x="403" y="179"/>
                  </a:cubicBezTo>
                  <a:cubicBezTo>
                    <a:pt x="402" y="179"/>
                    <a:pt x="401" y="178"/>
                    <a:pt x="401" y="178"/>
                  </a:cubicBezTo>
                  <a:cubicBezTo>
                    <a:pt x="400" y="178"/>
                    <a:pt x="400" y="178"/>
                    <a:pt x="400" y="178"/>
                  </a:cubicBezTo>
                  <a:cubicBezTo>
                    <a:pt x="397" y="179"/>
                    <a:pt x="397" y="179"/>
                    <a:pt x="397" y="180"/>
                  </a:cubicBezTo>
                  <a:cubicBezTo>
                    <a:pt x="397" y="180"/>
                    <a:pt x="397" y="179"/>
                    <a:pt x="397" y="179"/>
                  </a:cubicBezTo>
                  <a:cubicBezTo>
                    <a:pt x="397" y="179"/>
                    <a:pt x="396" y="179"/>
                    <a:pt x="395" y="179"/>
                  </a:cubicBezTo>
                  <a:cubicBezTo>
                    <a:pt x="395" y="179"/>
                    <a:pt x="394" y="179"/>
                    <a:pt x="394" y="179"/>
                  </a:cubicBezTo>
                  <a:cubicBezTo>
                    <a:pt x="393" y="177"/>
                    <a:pt x="395" y="178"/>
                    <a:pt x="396" y="177"/>
                  </a:cubicBezTo>
                  <a:cubicBezTo>
                    <a:pt x="397" y="175"/>
                    <a:pt x="395" y="174"/>
                    <a:pt x="393" y="174"/>
                  </a:cubicBezTo>
                  <a:cubicBezTo>
                    <a:pt x="394" y="173"/>
                    <a:pt x="396" y="173"/>
                    <a:pt x="397" y="172"/>
                  </a:cubicBezTo>
                  <a:cubicBezTo>
                    <a:pt x="397" y="172"/>
                    <a:pt x="397" y="172"/>
                    <a:pt x="397" y="172"/>
                  </a:cubicBezTo>
                  <a:cubicBezTo>
                    <a:pt x="397" y="172"/>
                    <a:pt x="397" y="172"/>
                    <a:pt x="397" y="172"/>
                  </a:cubicBezTo>
                  <a:cubicBezTo>
                    <a:pt x="399" y="171"/>
                    <a:pt x="399" y="169"/>
                    <a:pt x="397" y="169"/>
                  </a:cubicBezTo>
                  <a:cubicBezTo>
                    <a:pt x="397" y="169"/>
                    <a:pt x="397" y="169"/>
                    <a:pt x="397" y="169"/>
                  </a:cubicBezTo>
                  <a:cubicBezTo>
                    <a:pt x="396" y="168"/>
                    <a:pt x="393" y="167"/>
                    <a:pt x="391" y="167"/>
                  </a:cubicBezTo>
                  <a:cubicBezTo>
                    <a:pt x="390" y="167"/>
                    <a:pt x="390" y="167"/>
                    <a:pt x="389" y="167"/>
                  </a:cubicBezTo>
                  <a:cubicBezTo>
                    <a:pt x="386" y="167"/>
                    <a:pt x="386" y="169"/>
                    <a:pt x="383" y="170"/>
                  </a:cubicBezTo>
                  <a:cubicBezTo>
                    <a:pt x="379" y="171"/>
                    <a:pt x="378" y="171"/>
                    <a:pt x="376" y="174"/>
                  </a:cubicBezTo>
                  <a:cubicBezTo>
                    <a:pt x="375" y="175"/>
                    <a:pt x="371" y="182"/>
                    <a:pt x="370" y="182"/>
                  </a:cubicBezTo>
                  <a:cubicBezTo>
                    <a:pt x="370" y="182"/>
                    <a:pt x="370" y="182"/>
                    <a:pt x="370" y="182"/>
                  </a:cubicBezTo>
                  <a:cubicBezTo>
                    <a:pt x="367" y="182"/>
                    <a:pt x="370" y="179"/>
                    <a:pt x="371" y="178"/>
                  </a:cubicBezTo>
                  <a:cubicBezTo>
                    <a:pt x="373" y="176"/>
                    <a:pt x="373" y="176"/>
                    <a:pt x="374" y="173"/>
                  </a:cubicBezTo>
                  <a:cubicBezTo>
                    <a:pt x="374" y="170"/>
                    <a:pt x="374" y="170"/>
                    <a:pt x="374" y="170"/>
                  </a:cubicBezTo>
                  <a:cubicBezTo>
                    <a:pt x="374" y="169"/>
                    <a:pt x="373" y="169"/>
                    <a:pt x="373" y="169"/>
                  </a:cubicBezTo>
                  <a:cubicBezTo>
                    <a:pt x="373" y="169"/>
                    <a:pt x="373" y="169"/>
                    <a:pt x="373" y="169"/>
                  </a:cubicBezTo>
                  <a:cubicBezTo>
                    <a:pt x="373" y="169"/>
                    <a:pt x="373" y="169"/>
                    <a:pt x="373" y="169"/>
                  </a:cubicBezTo>
                  <a:cubicBezTo>
                    <a:pt x="372" y="169"/>
                    <a:pt x="372" y="169"/>
                    <a:pt x="372" y="169"/>
                  </a:cubicBezTo>
                  <a:cubicBezTo>
                    <a:pt x="370" y="168"/>
                    <a:pt x="370" y="166"/>
                    <a:pt x="369" y="164"/>
                  </a:cubicBezTo>
                  <a:cubicBezTo>
                    <a:pt x="368" y="163"/>
                    <a:pt x="366" y="164"/>
                    <a:pt x="365" y="162"/>
                  </a:cubicBezTo>
                  <a:cubicBezTo>
                    <a:pt x="363" y="161"/>
                    <a:pt x="364" y="158"/>
                    <a:pt x="365" y="158"/>
                  </a:cubicBezTo>
                  <a:cubicBezTo>
                    <a:pt x="365" y="158"/>
                    <a:pt x="366" y="158"/>
                    <a:pt x="366" y="158"/>
                  </a:cubicBezTo>
                  <a:cubicBezTo>
                    <a:pt x="368" y="158"/>
                    <a:pt x="370" y="161"/>
                    <a:pt x="372" y="162"/>
                  </a:cubicBezTo>
                  <a:cubicBezTo>
                    <a:pt x="374" y="163"/>
                    <a:pt x="378" y="164"/>
                    <a:pt x="381" y="164"/>
                  </a:cubicBezTo>
                  <a:cubicBezTo>
                    <a:pt x="383" y="164"/>
                    <a:pt x="385" y="164"/>
                    <a:pt x="385" y="163"/>
                  </a:cubicBezTo>
                  <a:cubicBezTo>
                    <a:pt x="386" y="159"/>
                    <a:pt x="386" y="159"/>
                    <a:pt x="386" y="159"/>
                  </a:cubicBezTo>
                  <a:cubicBezTo>
                    <a:pt x="385" y="158"/>
                    <a:pt x="385" y="159"/>
                    <a:pt x="383" y="158"/>
                  </a:cubicBezTo>
                  <a:cubicBezTo>
                    <a:pt x="385" y="156"/>
                    <a:pt x="388" y="157"/>
                    <a:pt x="390" y="155"/>
                  </a:cubicBezTo>
                  <a:cubicBezTo>
                    <a:pt x="391" y="153"/>
                    <a:pt x="391" y="150"/>
                    <a:pt x="392" y="150"/>
                  </a:cubicBezTo>
                  <a:cubicBezTo>
                    <a:pt x="393" y="150"/>
                    <a:pt x="393" y="150"/>
                    <a:pt x="393" y="150"/>
                  </a:cubicBezTo>
                  <a:cubicBezTo>
                    <a:pt x="394" y="150"/>
                    <a:pt x="393" y="152"/>
                    <a:pt x="393" y="152"/>
                  </a:cubicBezTo>
                  <a:cubicBezTo>
                    <a:pt x="393" y="152"/>
                    <a:pt x="394" y="152"/>
                    <a:pt x="394" y="152"/>
                  </a:cubicBezTo>
                  <a:cubicBezTo>
                    <a:pt x="394" y="152"/>
                    <a:pt x="394" y="152"/>
                    <a:pt x="395" y="152"/>
                  </a:cubicBezTo>
                  <a:cubicBezTo>
                    <a:pt x="395" y="152"/>
                    <a:pt x="395" y="152"/>
                    <a:pt x="395" y="152"/>
                  </a:cubicBezTo>
                  <a:cubicBezTo>
                    <a:pt x="396" y="152"/>
                    <a:pt x="396" y="152"/>
                    <a:pt x="396" y="152"/>
                  </a:cubicBezTo>
                  <a:cubicBezTo>
                    <a:pt x="397" y="152"/>
                    <a:pt x="397" y="154"/>
                    <a:pt x="397" y="154"/>
                  </a:cubicBezTo>
                  <a:cubicBezTo>
                    <a:pt x="397" y="154"/>
                    <a:pt x="397" y="154"/>
                    <a:pt x="397" y="154"/>
                  </a:cubicBezTo>
                  <a:cubicBezTo>
                    <a:pt x="397" y="154"/>
                    <a:pt x="397" y="155"/>
                    <a:pt x="398" y="155"/>
                  </a:cubicBezTo>
                  <a:cubicBezTo>
                    <a:pt x="399" y="156"/>
                    <a:pt x="398" y="156"/>
                    <a:pt x="400" y="156"/>
                  </a:cubicBezTo>
                  <a:cubicBezTo>
                    <a:pt x="402" y="156"/>
                    <a:pt x="403" y="159"/>
                    <a:pt x="405" y="160"/>
                  </a:cubicBezTo>
                  <a:cubicBezTo>
                    <a:pt x="405" y="158"/>
                    <a:pt x="406" y="157"/>
                    <a:pt x="407" y="156"/>
                  </a:cubicBezTo>
                  <a:cubicBezTo>
                    <a:pt x="408" y="154"/>
                    <a:pt x="409" y="152"/>
                    <a:pt x="410" y="150"/>
                  </a:cubicBezTo>
                  <a:cubicBezTo>
                    <a:pt x="411" y="152"/>
                    <a:pt x="409" y="153"/>
                    <a:pt x="410" y="155"/>
                  </a:cubicBezTo>
                  <a:cubicBezTo>
                    <a:pt x="411" y="157"/>
                    <a:pt x="416" y="159"/>
                    <a:pt x="419" y="159"/>
                  </a:cubicBezTo>
                  <a:cubicBezTo>
                    <a:pt x="420" y="159"/>
                    <a:pt x="420" y="159"/>
                    <a:pt x="420" y="159"/>
                  </a:cubicBezTo>
                  <a:cubicBezTo>
                    <a:pt x="426" y="158"/>
                    <a:pt x="421" y="146"/>
                    <a:pt x="421" y="142"/>
                  </a:cubicBezTo>
                  <a:cubicBezTo>
                    <a:pt x="421" y="141"/>
                    <a:pt x="421" y="139"/>
                    <a:pt x="420" y="138"/>
                  </a:cubicBezTo>
                  <a:cubicBezTo>
                    <a:pt x="420" y="138"/>
                    <a:pt x="419" y="138"/>
                    <a:pt x="419" y="138"/>
                  </a:cubicBezTo>
                  <a:cubicBezTo>
                    <a:pt x="418" y="138"/>
                    <a:pt x="418" y="139"/>
                    <a:pt x="417" y="139"/>
                  </a:cubicBezTo>
                  <a:cubicBezTo>
                    <a:pt x="416" y="139"/>
                    <a:pt x="415" y="140"/>
                    <a:pt x="415" y="140"/>
                  </a:cubicBezTo>
                  <a:cubicBezTo>
                    <a:pt x="414" y="140"/>
                    <a:pt x="414" y="140"/>
                    <a:pt x="414" y="140"/>
                  </a:cubicBezTo>
                  <a:cubicBezTo>
                    <a:pt x="413" y="140"/>
                    <a:pt x="412" y="139"/>
                    <a:pt x="412" y="139"/>
                  </a:cubicBezTo>
                  <a:cubicBezTo>
                    <a:pt x="412" y="139"/>
                    <a:pt x="412" y="139"/>
                    <a:pt x="411" y="139"/>
                  </a:cubicBezTo>
                  <a:cubicBezTo>
                    <a:pt x="411" y="140"/>
                    <a:pt x="411" y="140"/>
                    <a:pt x="411" y="140"/>
                  </a:cubicBezTo>
                  <a:cubicBezTo>
                    <a:pt x="411" y="140"/>
                    <a:pt x="410" y="140"/>
                    <a:pt x="410" y="140"/>
                  </a:cubicBezTo>
                  <a:cubicBezTo>
                    <a:pt x="410" y="140"/>
                    <a:pt x="410" y="140"/>
                    <a:pt x="410" y="140"/>
                  </a:cubicBezTo>
                  <a:cubicBezTo>
                    <a:pt x="410" y="140"/>
                    <a:pt x="409" y="140"/>
                    <a:pt x="409" y="140"/>
                  </a:cubicBezTo>
                  <a:cubicBezTo>
                    <a:pt x="409" y="140"/>
                    <a:pt x="409" y="140"/>
                    <a:pt x="409" y="140"/>
                  </a:cubicBezTo>
                  <a:cubicBezTo>
                    <a:pt x="408" y="141"/>
                    <a:pt x="408" y="141"/>
                    <a:pt x="408" y="141"/>
                  </a:cubicBezTo>
                  <a:cubicBezTo>
                    <a:pt x="407" y="141"/>
                    <a:pt x="407" y="141"/>
                    <a:pt x="407" y="140"/>
                  </a:cubicBezTo>
                  <a:cubicBezTo>
                    <a:pt x="405" y="138"/>
                    <a:pt x="408" y="133"/>
                    <a:pt x="404" y="133"/>
                  </a:cubicBezTo>
                  <a:cubicBezTo>
                    <a:pt x="404" y="133"/>
                    <a:pt x="403" y="133"/>
                    <a:pt x="403" y="133"/>
                  </a:cubicBezTo>
                  <a:cubicBezTo>
                    <a:pt x="401" y="133"/>
                    <a:pt x="401" y="135"/>
                    <a:pt x="399" y="135"/>
                  </a:cubicBezTo>
                  <a:cubicBezTo>
                    <a:pt x="399" y="135"/>
                    <a:pt x="398" y="134"/>
                    <a:pt x="397" y="134"/>
                  </a:cubicBezTo>
                  <a:cubicBezTo>
                    <a:pt x="397" y="134"/>
                    <a:pt x="397" y="134"/>
                    <a:pt x="397" y="135"/>
                  </a:cubicBezTo>
                  <a:cubicBezTo>
                    <a:pt x="397" y="134"/>
                    <a:pt x="397" y="133"/>
                    <a:pt x="396" y="133"/>
                  </a:cubicBezTo>
                  <a:cubicBezTo>
                    <a:pt x="396" y="132"/>
                    <a:pt x="395" y="132"/>
                    <a:pt x="394" y="132"/>
                  </a:cubicBezTo>
                  <a:cubicBezTo>
                    <a:pt x="394" y="132"/>
                    <a:pt x="394" y="132"/>
                    <a:pt x="394" y="132"/>
                  </a:cubicBezTo>
                  <a:cubicBezTo>
                    <a:pt x="394" y="132"/>
                    <a:pt x="393" y="132"/>
                    <a:pt x="393" y="132"/>
                  </a:cubicBezTo>
                  <a:cubicBezTo>
                    <a:pt x="393" y="132"/>
                    <a:pt x="393" y="132"/>
                    <a:pt x="393" y="132"/>
                  </a:cubicBezTo>
                  <a:cubicBezTo>
                    <a:pt x="391" y="131"/>
                    <a:pt x="391" y="130"/>
                    <a:pt x="389" y="129"/>
                  </a:cubicBezTo>
                  <a:cubicBezTo>
                    <a:pt x="388" y="128"/>
                    <a:pt x="386" y="127"/>
                    <a:pt x="384" y="127"/>
                  </a:cubicBezTo>
                  <a:cubicBezTo>
                    <a:pt x="383" y="126"/>
                    <a:pt x="380" y="126"/>
                    <a:pt x="379" y="125"/>
                  </a:cubicBezTo>
                  <a:cubicBezTo>
                    <a:pt x="377" y="124"/>
                    <a:pt x="378" y="122"/>
                    <a:pt x="377" y="121"/>
                  </a:cubicBezTo>
                  <a:cubicBezTo>
                    <a:pt x="376" y="119"/>
                    <a:pt x="372" y="118"/>
                    <a:pt x="370" y="118"/>
                  </a:cubicBezTo>
                  <a:cubicBezTo>
                    <a:pt x="370" y="119"/>
                    <a:pt x="370" y="120"/>
                    <a:pt x="371" y="121"/>
                  </a:cubicBezTo>
                  <a:cubicBezTo>
                    <a:pt x="372" y="123"/>
                    <a:pt x="374" y="123"/>
                    <a:pt x="375" y="125"/>
                  </a:cubicBezTo>
                  <a:cubicBezTo>
                    <a:pt x="375" y="125"/>
                    <a:pt x="375" y="125"/>
                    <a:pt x="374" y="125"/>
                  </a:cubicBezTo>
                  <a:cubicBezTo>
                    <a:pt x="372" y="125"/>
                    <a:pt x="371" y="124"/>
                    <a:pt x="369" y="123"/>
                  </a:cubicBezTo>
                  <a:cubicBezTo>
                    <a:pt x="366" y="120"/>
                    <a:pt x="365" y="122"/>
                    <a:pt x="362" y="121"/>
                  </a:cubicBezTo>
                  <a:cubicBezTo>
                    <a:pt x="360" y="120"/>
                    <a:pt x="359" y="118"/>
                    <a:pt x="357" y="117"/>
                  </a:cubicBezTo>
                  <a:cubicBezTo>
                    <a:pt x="357" y="116"/>
                    <a:pt x="355" y="115"/>
                    <a:pt x="355" y="115"/>
                  </a:cubicBezTo>
                  <a:cubicBezTo>
                    <a:pt x="354" y="114"/>
                    <a:pt x="352" y="115"/>
                    <a:pt x="351" y="114"/>
                  </a:cubicBezTo>
                  <a:cubicBezTo>
                    <a:pt x="350" y="113"/>
                    <a:pt x="350" y="111"/>
                    <a:pt x="349" y="110"/>
                  </a:cubicBezTo>
                  <a:cubicBezTo>
                    <a:pt x="348" y="107"/>
                    <a:pt x="347" y="106"/>
                    <a:pt x="345" y="105"/>
                  </a:cubicBezTo>
                  <a:cubicBezTo>
                    <a:pt x="343" y="104"/>
                    <a:pt x="341" y="104"/>
                    <a:pt x="339" y="102"/>
                  </a:cubicBezTo>
                  <a:cubicBezTo>
                    <a:pt x="337" y="101"/>
                    <a:pt x="337" y="101"/>
                    <a:pt x="338" y="99"/>
                  </a:cubicBezTo>
                  <a:cubicBezTo>
                    <a:pt x="338" y="96"/>
                    <a:pt x="342" y="93"/>
                    <a:pt x="343" y="90"/>
                  </a:cubicBezTo>
                  <a:cubicBezTo>
                    <a:pt x="346" y="85"/>
                    <a:pt x="341" y="78"/>
                    <a:pt x="339" y="74"/>
                  </a:cubicBezTo>
                  <a:cubicBezTo>
                    <a:pt x="338" y="73"/>
                    <a:pt x="337" y="71"/>
                    <a:pt x="336" y="70"/>
                  </a:cubicBezTo>
                  <a:cubicBezTo>
                    <a:pt x="333" y="67"/>
                    <a:pt x="333" y="68"/>
                    <a:pt x="332" y="64"/>
                  </a:cubicBezTo>
                  <a:cubicBezTo>
                    <a:pt x="331" y="63"/>
                    <a:pt x="330" y="61"/>
                    <a:pt x="329" y="60"/>
                  </a:cubicBezTo>
                  <a:cubicBezTo>
                    <a:pt x="328" y="57"/>
                    <a:pt x="329" y="54"/>
                    <a:pt x="327" y="51"/>
                  </a:cubicBezTo>
                  <a:cubicBezTo>
                    <a:pt x="324" y="46"/>
                    <a:pt x="323" y="42"/>
                    <a:pt x="322" y="37"/>
                  </a:cubicBezTo>
                  <a:cubicBezTo>
                    <a:pt x="321" y="34"/>
                    <a:pt x="321" y="33"/>
                    <a:pt x="320" y="32"/>
                  </a:cubicBezTo>
                  <a:cubicBezTo>
                    <a:pt x="318" y="30"/>
                    <a:pt x="316" y="30"/>
                    <a:pt x="316" y="27"/>
                  </a:cubicBezTo>
                  <a:cubicBezTo>
                    <a:pt x="317" y="27"/>
                    <a:pt x="319" y="28"/>
                    <a:pt x="320" y="28"/>
                  </a:cubicBezTo>
                  <a:cubicBezTo>
                    <a:pt x="318" y="26"/>
                    <a:pt x="317" y="25"/>
                    <a:pt x="315" y="23"/>
                  </a:cubicBezTo>
                  <a:cubicBezTo>
                    <a:pt x="315" y="22"/>
                    <a:pt x="314" y="20"/>
                    <a:pt x="313" y="20"/>
                  </a:cubicBezTo>
                  <a:cubicBezTo>
                    <a:pt x="312" y="19"/>
                    <a:pt x="311" y="19"/>
                    <a:pt x="310" y="18"/>
                  </a:cubicBezTo>
                  <a:cubicBezTo>
                    <a:pt x="309" y="17"/>
                    <a:pt x="309" y="16"/>
                    <a:pt x="308" y="15"/>
                  </a:cubicBezTo>
                  <a:cubicBezTo>
                    <a:pt x="308" y="15"/>
                    <a:pt x="307" y="15"/>
                    <a:pt x="307" y="15"/>
                  </a:cubicBezTo>
                  <a:cubicBezTo>
                    <a:pt x="306" y="15"/>
                    <a:pt x="306" y="15"/>
                    <a:pt x="306" y="15"/>
                  </a:cubicBezTo>
                  <a:cubicBezTo>
                    <a:pt x="306" y="15"/>
                    <a:pt x="305" y="15"/>
                    <a:pt x="305" y="15"/>
                  </a:cubicBezTo>
                  <a:cubicBezTo>
                    <a:pt x="305" y="15"/>
                    <a:pt x="305" y="15"/>
                    <a:pt x="305" y="15"/>
                  </a:cubicBezTo>
                  <a:cubicBezTo>
                    <a:pt x="302" y="15"/>
                    <a:pt x="300" y="14"/>
                    <a:pt x="298" y="13"/>
                  </a:cubicBezTo>
                  <a:cubicBezTo>
                    <a:pt x="296" y="12"/>
                    <a:pt x="295" y="9"/>
                    <a:pt x="293" y="8"/>
                  </a:cubicBezTo>
                  <a:cubicBezTo>
                    <a:pt x="292" y="7"/>
                    <a:pt x="290" y="8"/>
                    <a:pt x="287" y="6"/>
                  </a:cubicBezTo>
                  <a:cubicBezTo>
                    <a:pt x="286" y="5"/>
                    <a:pt x="285" y="3"/>
                    <a:pt x="284" y="3"/>
                  </a:cubicBezTo>
                  <a:cubicBezTo>
                    <a:pt x="283" y="3"/>
                    <a:pt x="282" y="3"/>
                    <a:pt x="281" y="4"/>
                  </a:cubicBezTo>
                  <a:cubicBezTo>
                    <a:pt x="277" y="6"/>
                    <a:pt x="281" y="9"/>
                    <a:pt x="279" y="9"/>
                  </a:cubicBezTo>
                  <a:cubicBezTo>
                    <a:pt x="279" y="9"/>
                    <a:pt x="279" y="9"/>
                    <a:pt x="278" y="9"/>
                  </a:cubicBezTo>
                  <a:cubicBezTo>
                    <a:pt x="275" y="8"/>
                    <a:pt x="273" y="6"/>
                    <a:pt x="271" y="5"/>
                  </a:cubicBezTo>
                  <a:cubicBezTo>
                    <a:pt x="268" y="3"/>
                    <a:pt x="266" y="3"/>
                    <a:pt x="264" y="3"/>
                  </a:cubicBezTo>
                  <a:cubicBezTo>
                    <a:pt x="262" y="2"/>
                    <a:pt x="261" y="2"/>
                    <a:pt x="259" y="2"/>
                  </a:cubicBezTo>
                  <a:cubicBezTo>
                    <a:pt x="255" y="4"/>
                    <a:pt x="255" y="4"/>
                    <a:pt x="255" y="4"/>
                  </a:cubicBezTo>
                  <a:cubicBezTo>
                    <a:pt x="254" y="6"/>
                    <a:pt x="259" y="8"/>
                    <a:pt x="260" y="9"/>
                  </a:cubicBezTo>
                  <a:cubicBezTo>
                    <a:pt x="260" y="9"/>
                    <a:pt x="260" y="9"/>
                    <a:pt x="260" y="9"/>
                  </a:cubicBezTo>
                  <a:cubicBezTo>
                    <a:pt x="260" y="9"/>
                    <a:pt x="259" y="9"/>
                    <a:pt x="258" y="8"/>
                  </a:cubicBezTo>
                  <a:cubicBezTo>
                    <a:pt x="257" y="8"/>
                    <a:pt x="256" y="8"/>
                    <a:pt x="256" y="8"/>
                  </a:cubicBezTo>
                  <a:cubicBezTo>
                    <a:pt x="255" y="8"/>
                    <a:pt x="255" y="8"/>
                    <a:pt x="255" y="8"/>
                  </a:cubicBezTo>
                  <a:cubicBezTo>
                    <a:pt x="250" y="9"/>
                    <a:pt x="251" y="11"/>
                    <a:pt x="253" y="14"/>
                  </a:cubicBezTo>
                  <a:cubicBezTo>
                    <a:pt x="253" y="15"/>
                    <a:pt x="252" y="15"/>
                    <a:pt x="253" y="16"/>
                  </a:cubicBezTo>
                  <a:cubicBezTo>
                    <a:pt x="253" y="16"/>
                    <a:pt x="254" y="16"/>
                    <a:pt x="254" y="17"/>
                  </a:cubicBezTo>
                  <a:cubicBezTo>
                    <a:pt x="254" y="18"/>
                    <a:pt x="254" y="19"/>
                    <a:pt x="254" y="20"/>
                  </a:cubicBezTo>
                  <a:cubicBezTo>
                    <a:pt x="254" y="22"/>
                    <a:pt x="256" y="23"/>
                    <a:pt x="256" y="26"/>
                  </a:cubicBezTo>
                  <a:cubicBezTo>
                    <a:pt x="257" y="28"/>
                    <a:pt x="257" y="30"/>
                    <a:pt x="257" y="32"/>
                  </a:cubicBezTo>
                  <a:cubicBezTo>
                    <a:pt x="258" y="34"/>
                    <a:pt x="259" y="35"/>
                    <a:pt x="259" y="38"/>
                  </a:cubicBezTo>
                  <a:cubicBezTo>
                    <a:pt x="258" y="40"/>
                    <a:pt x="260" y="39"/>
                    <a:pt x="260" y="40"/>
                  </a:cubicBezTo>
                  <a:cubicBezTo>
                    <a:pt x="261" y="41"/>
                    <a:pt x="261" y="42"/>
                    <a:pt x="261" y="43"/>
                  </a:cubicBezTo>
                  <a:cubicBezTo>
                    <a:pt x="262" y="46"/>
                    <a:pt x="266" y="48"/>
                    <a:pt x="262" y="48"/>
                  </a:cubicBezTo>
                  <a:cubicBezTo>
                    <a:pt x="262" y="48"/>
                    <a:pt x="261" y="48"/>
                    <a:pt x="261" y="48"/>
                  </a:cubicBezTo>
                  <a:cubicBezTo>
                    <a:pt x="264" y="50"/>
                    <a:pt x="262" y="52"/>
                    <a:pt x="263" y="54"/>
                  </a:cubicBezTo>
                  <a:cubicBezTo>
                    <a:pt x="264" y="55"/>
                    <a:pt x="265" y="55"/>
                    <a:pt x="266" y="56"/>
                  </a:cubicBezTo>
                  <a:cubicBezTo>
                    <a:pt x="267" y="57"/>
                    <a:pt x="266" y="58"/>
                    <a:pt x="266" y="60"/>
                  </a:cubicBezTo>
                  <a:cubicBezTo>
                    <a:pt x="268" y="61"/>
                    <a:pt x="270" y="61"/>
                    <a:pt x="271" y="62"/>
                  </a:cubicBezTo>
                  <a:cubicBezTo>
                    <a:pt x="272" y="64"/>
                    <a:pt x="272" y="64"/>
                    <a:pt x="272" y="64"/>
                  </a:cubicBezTo>
                  <a:cubicBezTo>
                    <a:pt x="272" y="64"/>
                    <a:pt x="274" y="65"/>
                    <a:pt x="274" y="65"/>
                  </a:cubicBezTo>
                  <a:cubicBezTo>
                    <a:pt x="275" y="67"/>
                    <a:pt x="271" y="66"/>
                    <a:pt x="270" y="67"/>
                  </a:cubicBezTo>
                  <a:cubicBezTo>
                    <a:pt x="272" y="68"/>
                    <a:pt x="274" y="68"/>
                    <a:pt x="275" y="70"/>
                  </a:cubicBezTo>
                  <a:cubicBezTo>
                    <a:pt x="272" y="70"/>
                    <a:pt x="270" y="70"/>
                    <a:pt x="267" y="71"/>
                  </a:cubicBezTo>
                  <a:cubicBezTo>
                    <a:pt x="266" y="72"/>
                    <a:pt x="266" y="73"/>
                    <a:pt x="265" y="74"/>
                  </a:cubicBezTo>
                  <a:cubicBezTo>
                    <a:pt x="265" y="74"/>
                    <a:pt x="265" y="74"/>
                    <a:pt x="264" y="74"/>
                  </a:cubicBezTo>
                  <a:cubicBezTo>
                    <a:pt x="264" y="74"/>
                    <a:pt x="264" y="74"/>
                    <a:pt x="263" y="74"/>
                  </a:cubicBezTo>
                  <a:cubicBezTo>
                    <a:pt x="263" y="73"/>
                    <a:pt x="263" y="73"/>
                    <a:pt x="262" y="73"/>
                  </a:cubicBezTo>
                  <a:cubicBezTo>
                    <a:pt x="262" y="73"/>
                    <a:pt x="262" y="74"/>
                    <a:pt x="262" y="75"/>
                  </a:cubicBezTo>
                  <a:cubicBezTo>
                    <a:pt x="262" y="76"/>
                    <a:pt x="265" y="76"/>
                    <a:pt x="263" y="78"/>
                  </a:cubicBezTo>
                  <a:cubicBezTo>
                    <a:pt x="263" y="78"/>
                    <a:pt x="262" y="78"/>
                    <a:pt x="262" y="78"/>
                  </a:cubicBezTo>
                  <a:cubicBezTo>
                    <a:pt x="261" y="78"/>
                    <a:pt x="260" y="77"/>
                    <a:pt x="259" y="77"/>
                  </a:cubicBezTo>
                  <a:cubicBezTo>
                    <a:pt x="259" y="76"/>
                    <a:pt x="259" y="75"/>
                    <a:pt x="258" y="74"/>
                  </a:cubicBezTo>
                  <a:cubicBezTo>
                    <a:pt x="257" y="74"/>
                    <a:pt x="255" y="73"/>
                    <a:pt x="255" y="73"/>
                  </a:cubicBezTo>
                  <a:cubicBezTo>
                    <a:pt x="253" y="72"/>
                    <a:pt x="254" y="67"/>
                    <a:pt x="254" y="65"/>
                  </a:cubicBezTo>
                  <a:cubicBezTo>
                    <a:pt x="254" y="64"/>
                    <a:pt x="254" y="63"/>
                    <a:pt x="253" y="62"/>
                  </a:cubicBezTo>
                  <a:cubicBezTo>
                    <a:pt x="253" y="62"/>
                    <a:pt x="253" y="62"/>
                    <a:pt x="253" y="62"/>
                  </a:cubicBezTo>
                  <a:cubicBezTo>
                    <a:pt x="253" y="62"/>
                    <a:pt x="252" y="62"/>
                    <a:pt x="252" y="63"/>
                  </a:cubicBezTo>
                  <a:cubicBezTo>
                    <a:pt x="252" y="63"/>
                    <a:pt x="252" y="63"/>
                    <a:pt x="252" y="63"/>
                  </a:cubicBezTo>
                  <a:cubicBezTo>
                    <a:pt x="251" y="63"/>
                    <a:pt x="251" y="63"/>
                    <a:pt x="251" y="62"/>
                  </a:cubicBezTo>
                  <a:cubicBezTo>
                    <a:pt x="251" y="61"/>
                    <a:pt x="249" y="61"/>
                    <a:pt x="249" y="60"/>
                  </a:cubicBezTo>
                  <a:cubicBezTo>
                    <a:pt x="248" y="58"/>
                    <a:pt x="249" y="56"/>
                    <a:pt x="248" y="54"/>
                  </a:cubicBezTo>
                  <a:cubicBezTo>
                    <a:pt x="248" y="54"/>
                    <a:pt x="248" y="54"/>
                    <a:pt x="248" y="54"/>
                  </a:cubicBezTo>
                  <a:cubicBezTo>
                    <a:pt x="248" y="54"/>
                    <a:pt x="247" y="54"/>
                    <a:pt x="247" y="54"/>
                  </a:cubicBezTo>
                  <a:cubicBezTo>
                    <a:pt x="247" y="55"/>
                    <a:pt x="247" y="55"/>
                    <a:pt x="247" y="55"/>
                  </a:cubicBezTo>
                  <a:cubicBezTo>
                    <a:pt x="246" y="55"/>
                    <a:pt x="246" y="54"/>
                    <a:pt x="246" y="53"/>
                  </a:cubicBezTo>
                  <a:cubicBezTo>
                    <a:pt x="246" y="52"/>
                    <a:pt x="245" y="51"/>
                    <a:pt x="245" y="50"/>
                  </a:cubicBezTo>
                  <a:cubicBezTo>
                    <a:pt x="244" y="46"/>
                    <a:pt x="246" y="41"/>
                    <a:pt x="244" y="37"/>
                  </a:cubicBezTo>
                  <a:cubicBezTo>
                    <a:pt x="243" y="36"/>
                    <a:pt x="242" y="36"/>
                    <a:pt x="241" y="35"/>
                  </a:cubicBezTo>
                  <a:cubicBezTo>
                    <a:pt x="241" y="35"/>
                    <a:pt x="240" y="35"/>
                    <a:pt x="240" y="35"/>
                  </a:cubicBezTo>
                  <a:cubicBezTo>
                    <a:pt x="240" y="35"/>
                    <a:pt x="239" y="36"/>
                    <a:pt x="238" y="36"/>
                  </a:cubicBezTo>
                  <a:cubicBezTo>
                    <a:pt x="238" y="36"/>
                    <a:pt x="237" y="36"/>
                    <a:pt x="237" y="36"/>
                  </a:cubicBezTo>
                  <a:cubicBezTo>
                    <a:pt x="237" y="36"/>
                    <a:pt x="237" y="36"/>
                    <a:pt x="237" y="36"/>
                  </a:cubicBezTo>
                  <a:cubicBezTo>
                    <a:pt x="236" y="35"/>
                    <a:pt x="236" y="32"/>
                    <a:pt x="235" y="31"/>
                  </a:cubicBezTo>
                  <a:cubicBezTo>
                    <a:pt x="235" y="31"/>
                    <a:pt x="233" y="31"/>
                    <a:pt x="233" y="31"/>
                  </a:cubicBezTo>
                  <a:cubicBezTo>
                    <a:pt x="232" y="30"/>
                    <a:pt x="232" y="29"/>
                    <a:pt x="232" y="28"/>
                  </a:cubicBezTo>
                  <a:cubicBezTo>
                    <a:pt x="231" y="28"/>
                    <a:pt x="231" y="28"/>
                    <a:pt x="230" y="28"/>
                  </a:cubicBezTo>
                  <a:cubicBezTo>
                    <a:pt x="230" y="28"/>
                    <a:pt x="230" y="28"/>
                    <a:pt x="229" y="28"/>
                  </a:cubicBezTo>
                  <a:cubicBezTo>
                    <a:pt x="229" y="28"/>
                    <a:pt x="229" y="28"/>
                    <a:pt x="228" y="28"/>
                  </a:cubicBezTo>
                  <a:cubicBezTo>
                    <a:pt x="228" y="28"/>
                    <a:pt x="228" y="28"/>
                    <a:pt x="228" y="28"/>
                  </a:cubicBezTo>
                  <a:cubicBezTo>
                    <a:pt x="226" y="27"/>
                    <a:pt x="226" y="27"/>
                    <a:pt x="224" y="26"/>
                  </a:cubicBezTo>
                  <a:cubicBezTo>
                    <a:pt x="223" y="25"/>
                    <a:pt x="221" y="25"/>
                    <a:pt x="220" y="24"/>
                  </a:cubicBezTo>
                  <a:cubicBezTo>
                    <a:pt x="217" y="23"/>
                    <a:pt x="218" y="22"/>
                    <a:pt x="220" y="21"/>
                  </a:cubicBezTo>
                  <a:cubicBezTo>
                    <a:pt x="219" y="20"/>
                    <a:pt x="218" y="20"/>
                    <a:pt x="217" y="20"/>
                  </a:cubicBezTo>
                  <a:cubicBezTo>
                    <a:pt x="217" y="20"/>
                    <a:pt x="217" y="20"/>
                    <a:pt x="217" y="20"/>
                  </a:cubicBezTo>
                  <a:cubicBezTo>
                    <a:pt x="216" y="20"/>
                    <a:pt x="216" y="20"/>
                    <a:pt x="216" y="20"/>
                  </a:cubicBezTo>
                  <a:cubicBezTo>
                    <a:pt x="216" y="21"/>
                    <a:pt x="215" y="21"/>
                    <a:pt x="215" y="21"/>
                  </a:cubicBezTo>
                  <a:cubicBezTo>
                    <a:pt x="215" y="21"/>
                    <a:pt x="215" y="21"/>
                    <a:pt x="215" y="21"/>
                  </a:cubicBezTo>
                  <a:cubicBezTo>
                    <a:pt x="214" y="20"/>
                    <a:pt x="215" y="19"/>
                    <a:pt x="214" y="19"/>
                  </a:cubicBezTo>
                  <a:cubicBezTo>
                    <a:pt x="213" y="18"/>
                    <a:pt x="211" y="18"/>
                    <a:pt x="210" y="18"/>
                  </a:cubicBezTo>
                  <a:cubicBezTo>
                    <a:pt x="208" y="18"/>
                    <a:pt x="206" y="18"/>
                    <a:pt x="204" y="18"/>
                  </a:cubicBezTo>
                  <a:cubicBezTo>
                    <a:pt x="201" y="18"/>
                    <a:pt x="197" y="18"/>
                    <a:pt x="194" y="19"/>
                  </a:cubicBezTo>
                  <a:cubicBezTo>
                    <a:pt x="195" y="20"/>
                    <a:pt x="198" y="23"/>
                    <a:pt x="199" y="24"/>
                  </a:cubicBezTo>
                  <a:cubicBezTo>
                    <a:pt x="203" y="26"/>
                    <a:pt x="204" y="23"/>
                    <a:pt x="205" y="28"/>
                  </a:cubicBezTo>
                  <a:cubicBezTo>
                    <a:pt x="205" y="28"/>
                    <a:pt x="206" y="29"/>
                    <a:pt x="207" y="29"/>
                  </a:cubicBezTo>
                  <a:cubicBezTo>
                    <a:pt x="208" y="29"/>
                    <a:pt x="209" y="28"/>
                    <a:pt x="209" y="28"/>
                  </a:cubicBezTo>
                  <a:cubicBezTo>
                    <a:pt x="210" y="28"/>
                    <a:pt x="212" y="28"/>
                    <a:pt x="213" y="28"/>
                  </a:cubicBezTo>
                  <a:cubicBezTo>
                    <a:pt x="214" y="28"/>
                    <a:pt x="216" y="29"/>
                    <a:pt x="216" y="30"/>
                  </a:cubicBezTo>
                  <a:cubicBezTo>
                    <a:pt x="217" y="31"/>
                    <a:pt x="216" y="31"/>
                    <a:pt x="216" y="31"/>
                  </a:cubicBezTo>
                  <a:cubicBezTo>
                    <a:pt x="215" y="31"/>
                    <a:pt x="214" y="31"/>
                    <a:pt x="214" y="31"/>
                  </a:cubicBezTo>
                  <a:cubicBezTo>
                    <a:pt x="212" y="31"/>
                    <a:pt x="211" y="31"/>
                    <a:pt x="210" y="31"/>
                  </a:cubicBezTo>
                  <a:cubicBezTo>
                    <a:pt x="210" y="31"/>
                    <a:pt x="209" y="31"/>
                    <a:pt x="208" y="31"/>
                  </a:cubicBezTo>
                  <a:cubicBezTo>
                    <a:pt x="207" y="31"/>
                    <a:pt x="206" y="31"/>
                    <a:pt x="205" y="32"/>
                  </a:cubicBezTo>
                  <a:cubicBezTo>
                    <a:pt x="205" y="32"/>
                    <a:pt x="206" y="33"/>
                    <a:pt x="206" y="33"/>
                  </a:cubicBezTo>
                  <a:cubicBezTo>
                    <a:pt x="207" y="33"/>
                    <a:pt x="207" y="33"/>
                    <a:pt x="207" y="33"/>
                  </a:cubicBezTo>
                  <a:cubicBezTo>
                    <a:pt x="208" y="32"/>
                    <a:pt x="208" y="32"/>
                    <a:pt x="208" y="32"/>
                  </a:cubicBezTo>
                  <a:cubicBezTo>
                    <a:pt x="209" y="32"/>
                    <a:pt x="209" y="32"/>
                    <a:pt x="209" y="33"/>
                  </a:cubicBezTo>
                  <a:cubicBezTo>
                    <a:pt x="212" y="34"/>
                    <a:pt x="215" y="37"/>
                    <a:pt x="216" y="39"/>
                  </a:cubicBezTo>
                  <a:cubicBezTo>
                    <a:pt x="216" y="39"/>
                    <a:pt x="215" y="40"/>
                    <a:pt x="215" y="40"/>
                  </a:cubicBezTo>
                  <a:cubicBezTo>
                    <a:pt x="212" y="40"/>
                    <a:pt x="209" y="37"/>
                    <a:pt x="206" y="37"/>
                  </a:cubicBezTo>
                  <a:cubicBezTo>
                    <a:pt x="209" y="38"/>
                    <a:pt x="214" y="40"/>
                    <a:pt x="216" y="42"/>
                  </a:cubicBezTo>
                  <a:cubicBezTo>
                    <a:pt x="212" y="41"/>
                    <a:pt x="207" y="40"/>
                    <a:pt x="202" y="38"/>
                  </a:cubicBezTo>
                  <a:cubicBezTo>
                    <a:pt x="200" y="37"/>
                    <a:pt x="198" y="37"/>
                    <a:pt x="195" y="36"/>
                  </a:cubicBezTo>
                  <a:cubicBezTo>
                    <a:pt x="195" y="36"/>
                    <a:pt x="195" y="36"/>
                    <a:pt x="195" y="36"/>
                  </a:cubicBezTo>
                  <a:cubicBezTo>
                    <a:pt x="194" y="36"/>
                    <a:pt x="193" y="38"/>
                    <a:pt x="192" y="38"/>
                  </a:cubicBezTo>
                  <a:cubicBezTo>
                    <a:pt x="191" y="39"/>
                    <a:pt x="189" y="39"/>
                    <a:pt x="188" y="40"/>
                  </a:cubicBezTo>
                  <a:cubicBezTo>
                    <a:pt x="188" y="41"/>
                    <a:pt x="189" y="41"/>
                    <a:pt x="188" y="42"/>
                  </a:cubicBezTo>
                  <a:cubicBezTo>
                    <a:pt x="188" y="43"/>
                    <a:pt x="187" y="43"/>
                    <a:pt x="186" y="44"/>
                  </a:cubicBezTo>
                  <a:cubicBezTo>
                    <a:pt x="186" y="45"/>
                    <a:pt x="187" y="47"/>
                    <a:pt x="187" y="48"/>
                  </a:cubicBezTo>
                  <a:cubicBezTo>
                    <a:pt x="186" y="46"/>
                    <a:pt x="185" y="46"/>
                    <a:pt x="183" y="46"/>
                  </a:cubicBezTo>
                  <a:cubicBezTo>
                    <a:pt x="178" y="45"/>
                    <a:pt x="181" y="45"/>
                    <a:pt x="180" y="41"/>
                  </a:cubicBezTo>
                  <a:cubicBezTo>
                    <a:pt x="179" y="42"/>
                    <a:pt x="175" y="43"/>
                    <a:pt x="174" y="45"/>
                  </a:cubicBezTo>
                  <a:cubicBezTo>
                    <a:pt x="174" y="46"/>
                    <a:pt x="176" y="46"/>
                    <a:pt x="175" y="47"/>
                  </a:cubicBezTo>
                  <a:cubicBezTo>
                    <a:pt x="175" y="49"/>
                    <a:pt x="172" y="51"/>
                    <a:pt x="170" y="52"/>
                  </a:cubicBezTo>
                  <a:cubicBezTo>
                    <a:pt x="170" y="49"/>
                    <a:pt x="173" y="49"/>
                    <a:pt x="169" y="47"/>
                  </a:cubicBezTo>
                  <a:cubicBezTo>
                    <a:pt x="165" y="45"/>
                    <a:pt x="171" y="44"/>
                    <a:pt x="172" y="43"/>
                  </a:cubicBezTo>
                  <a:cubicBezTo>
                    <a:pt x="175" y="43"/>
                    <a:pt x="176" y="41"/>
                    <a:pt x="178" y="40"/>
                  </a:cubicBezTo>
                  <a:cubicBezTo>
                    <a:pt x="178" y="40"/>
                    <a:pt x="178" y="40"/>
                    <a:pt x="178" y="40"/>
                  </a:cubicBezTo>
                  <a:cubicBezTo>
                    <a:pt x="178" y="40"/>
                    <a:pt x="177" y="39"/>
                    <a:pt x="177" y="39"/>
                  </a:cubicBezTo>
                  <a:cubicBezTo>
                    <a:pt x="178" y="38"/>
                    <a:pt x="179" y="38"/>
                    <a:pt x="179" y="38"/>
                  </a:cubicBezTo>
                  <a:cubicBezTo>
                    <a:pt x="180" y="37"/>
                    <a:pt x="181" y="37"/>
                    <a:pt x="182" y="36"/>
                  </a:cubicBezTo>
                  <a:cubicBezTo>
                    <a:pt x="172" y="31"/>
                    <a:pt x="162" y="26"/>
                    <a:pt x="152" y="21"/>
                  </a:cubicBezTo>
                  <a:cubicBezTo>
                    <a:pt x="148" y="20"/>
                    <a:pt x="144" y="17"/>
                    <a:pt x="141" y="17"/>
                  </a:cubicBezTo>
                  <a:cubicBezTo>
                    <a:pt x="139" y="17"/>
                    <a:pt x="138" y="18"/>
                    <a:pt x="136" y="19"/>
                  </a:cubicBezTo>
                  <a:cubicBezTo>
                    <a:pt x="134" y="20"/>
                    <a:pt x="133" y="21"/>
                    <a:pt x="132" y="22"/>
                  </a:cubicBezTo>
                  <a:cubicBezTo>
                    <a:pt x="131" y="23"/>
                    <a:pt x="128" y="26"/>
                    <a:pt x="128" y="26"/>
                  </a:cubicBezTo>
                  <a:cubicBezTo>
                    <a:pt x="128" y="28"/>
                    <a:pt x="128" y="28"/>
                    <a:pt x="129" y="28"/>
                  </a:cubicBezTo>
                  <a:cubicBezTo>
                    <a:pt x="129" y="28"/>
                    <a:pt x="129" y="28"/>
                    <a:pt x="129" y="28"/>
                  </a:cubicBezTo>
                  <a:cubicBezTo>
                    <a:pt x="130" y="28"/>
                    <a:pt x="130" y="28"/>
                    <a:pt x="130" y="28"/>
                  </a:cubicBezTo>
                  <a:cubicBezTo>
                    <a:pt x="131" y="28"/>
                    <a:pt x="131" y="28"/>
                    <a:pt x="131" y="28"/>
                  </a:cubicBezTo>
                  <a:cubicBezTo>
                    <a:pt x="133" y="30"/>
                    <a:pt x="128" y="33"/>
                    <a:pt x="126" y="34"/>
                  </a:cubicBezTo>
                  <a:cubicBezTo>
                    <a:pt x="127" y="32"/>
                    <a:pt x="128" y="32"/>
                    <a:pt x="129" y="30"/>
                  </a:cubicBezTo>
                  <a:cubicBezTo>
                    <a:pt x="126" y="32"/>
                    <a:pt x="123" y="32"/>
                    <a:pt x="119" y="33"/>
                  </a:cubicBezTo>
                  <a:cubicBezTo>
                    <a:pt x="116" y="33"/>
                    <a:pt x="111" y="36"/>
                    <a:pt x="108" y="36"/>
                  </a:cubicBezTo>
                  <a:cubicBezTo>
                    <a:pt x="106" y="36"/>
                    <a:pt x="105" y="35"/>
                    <a:pt x="105" y="35"/>
                  </a:cubicBezTo>
                  <a:cubicBezTo>
                    <a:pt x="106" y="34"/>
                    <a:pt x="111" y="33"/>
                    <a:pt x="112" y="31"/>
                  </a:cubicBezTo>
                  <a:cubicBezTo>
                    <a:pt x="112" y="31"/>
                    <a:pt x="110" y="29"/>
                    <a:pt x="110" y="29"/>
                  </a:cubicBezTo>
                  <a:cubicBezTo>
                    <a:pt x="114" y="26"/>
                    <a:pt x="114" y="26"/>
                    <a:pt x="114" y="26"/>
                  </a:cubicBezTo>
                  <a:cubicBezTo>
                    <a:pt x="114" y="26"/>
                    <a:pt x="114" y="26"/>
                    <a:pt x="114" y="26"/>
                  </a:cubicBezTo>
                  <a:cubicBezTo>
                    <a:pt x="115" y="26"/>
                    <a:pt x="115" y="26"/>
                    <a:pt x="116" y="26"/>
                  </a:cubicBezTo>
                  <a:cubicBezTo>
                    <a:pt x="116" y="26"/>
                    <a:pt x="117" y="26"/>
                    <a:pt x="117" y="26"/>
                  </a:cubicBezTo>
                  <a:cubicBezTo>
                    <a:pt x="118" y="26"/>
                    <a:pt x="119" y="26"/>
                    <a:pt x="119" y="26"/>
                  </a:cubicBezTo>
                  <a:cubicBezTo>
                    <a:pt x="120" y="24"/>
                    <a:pt x="118" y="24"/>
                    <a:pt x="118" y="24"/>
                  </a:cubicBezTo>
                  <a:cubicBezTo>
                    <a:pt x="118" y="23"/>
                    <a:pt x="118" y="23"/>
                    <a:pt x="117" y="22"/>
                  </a:cubicBezTo>
                  <a:cubicBezTo>
                    <a:pt x="117" y="22"/>
                    <a:pt x="118" y="21"/>
                    <a:pt x="118" y="21"/>
                  </a:cubicBezTo>
                  <a:cubicBezTo>
                    <a:pt x="118" y="18"/>
                    <a:pt x="118" y="18"/>
                    <a:pt x="119" y="16"/>
                  </a:cubicBezTo>
                  <a:cubicBezTo>
                    <a:pt x="119" y="15"/>
                    <a:pt x="120" y="12"/>
                    <a:pt x="120" y="11"/>
                  </a:cubicBezTo>
                  <a:cubicBezTo>
                    <a:pt x="119" y="10"/>
                    <a:pt x="115" y="7"/>
                    <a:pt x="114" y="6"/>
                  </a:cubicBezTo>
                  <a:cubicBezTo>
                    <a:pt x="111" y="5"/>
                    <a:pt x="107" y="1"/>
                    <a:pt x="105" y="0"/>
                  </a:cubicBezTo>
                  <a:cubicBezTo>
                    <a:pt x="105" y="0"/>
                    <a:pt x="104" y="0"/>
                    <a:pt x="10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94"/>
            <p:cNvSpPr>
              <a:spLocks noEditPoints="1"/>
            </p:cNvSpPr>
            <p:nvPr/>
          </p:nvSpPr>
          <p:spPr bwMode="auto">
            <a:xfrm>
              <a:off x="7246929" y="1526409"/>
              <a:ext cx="382588" cy="409575"/>
            </a:xfrm>
            <a:custGeom>
              <a:gdLst>
                <a:gd name="T0" fmla="*/ 11 w 102"/>
                <a:gd name="T1" fmla="*/ 88 h 109"/>
                <a:gd name="T2" fmla="*/ 18 w 102"/>
                <a:gd name="T3" fmla="*/ 0 h 109"/>
                <a:gd name="T4" fmla="*/ 8 w 102"/>
                <a:gd name="T5" fmla="*/ 20 h 109"/>
                <a:gd name="T6" fmla="*/ 12 w 102"/>
                <a:gd name="T7" fmla="*/ 26 h 109"/>
                <a:gd name="T8" fmla="*/ 17 w 102"/>
                <a:gd name="T9" fmla="*/ 26 h 109"/>
                <a:gd name="T10" fmla="*/ 21 w 102"/>
                <a:gd name="T11" fmla="*/ 25 h 109"/>
                <a:gd name="T12" fmla="*/ 20 w 102"/>
                <a:gd name="T13" fmla="*/ 30 h 109"/>
                <a:gd name="T14" fmla="*/ 24 w 102"/>
                <a:gd name="T15" fmla="*/ 43 h 109"/>
                <a:gd name="T16" fmla="*/ 31 w 102"/>
                <a:gd name="T17" fmla="*/ 53 h 109"/>
                <a:gd name="T18" fmla="*/ 29 w 102"/>
                <a:gd name="T19" fmla="*/ 58 h 109"/>
                <a:gd name="T20" fmla="*/ 25 w 102"/>
                <a:gd name="T21" fmla="*/ 65 h 109"/>
                <a:gd name="T22" fmla="*/ 23 w 102"/>
                <a:gd name="T23" fmla="*/ 72 h 109"/>
                <a:gd name="T24" fmla="*/ 14 w 102"/>
                <a:gd name="T25" fmla="*/ 78 h 109"/>
                <a:gd name="T26" fmla="*/ 9 w 102"/>
                <a:gd name="T27" fmla="*/ 78 h 109"/>
                <a:gd name="T28" fmla="*/ 0 w 102"/>
                <a:gd name="T29" fmla="*/ 84 h 109"/>
                <a:gd name="T30" fmla="*/ 7 w 102"/>
                <a:gd name="T31" fmla="*/ 90 h 109"/>
                <a:gd name="T32" fmla="*/ 10 w 102"/>
                <a:gd name="T33" fmla="*/ 92 h 109"/>
                <a:gd name="T34" fmla="*/ 11 w 102"/>
                <a:gd name="T35" fmla="*/ 88 h 109"/>
                <a:gd name="T36" fmla="*/ 16 w 102"/>
                <a:gd name="T37" fmla="*/ 90 h 109"/>
                <a:gd name="T38" fmla="*/ 26 w 102"/>
                <a:gd name="T39" fmla="*/ 95 h 109"/>
                <a:gd name="T40" fmla="*/ 28 w 102"/>
                <a:gd name="T41" fmla="*/ 90 h 109"/>
                <a:gd name="T42" fmla="*/ 34 w 102"/>
                <a:gd name="T43" fmla="*/ 97 h 109"/>
                <a:gd name="T44" fmla="*/ 36 w 102"/>
                <a:gd name="T45" fmla="*/ 97 h 109"/>
                <a:gd name="T46" fmla="*/ 49 w 102"/>
                <a:gd name="T47" fmla="*/ 103 h 109"/>
                <a:gd name="T48" fmla="*/ 56 w 102"/>
                <a:gd name="T49" fmla="*/ 104 h 109"/>
                <a:gd name="T50" fmla="*/ 57 w 102"/>
                <a:gd name="T51" fmla="*/ 102 h 109"/>
                <a:gd name="T52" fmla="*/ 61 w 102"/>
                <a:gd name="T53" fmla="*/ 104 h 109"/>
                <a:gd name="T54" fmla="*/ 65 w 102"/>
                <a:gd name="T55" fmla="*/ 109 h 109"/>
                <a:gd name="T56" fmla="*/ 70 w 102"/>
                <a:gd name="T57" fmla="*/ 107 h 109"/>
                <a:gd name="T58" fmla="*/ 78 w 102"/>
                <a:gd name="T59" fmla="*/ 104 h 109"/>
                <a:gd name="T60" fmla="*/ 78 w 102"/>
                <a:gd name="T61" fmla="*/ 104 h 109"/>
                <a:gd name="T62" fmla="*/ 99 w 102"/>
                <a:gd name="T63" fmla="*/ 89 h 109"/>
                <a:gd name="T64" fmla="*/ 93 w 102"/>
                <a:gd name="T65" fmla="*/ 92 h 109"/>
                <a:gd name="T66" fmla="*/ 89 w 102"/>
                <a:gd name="T67" fmla="*/ 89 h 109"/>
                <a:gd name="T68" fmla="*/ 88 w 102"/>
                <a:gd name="T69" fmla="*/ 89 h 109"/>
                <a:gd name="T70" fmla="*/ 85 w 102"/>
                <a:gd name="T71" fmla="*/ 83 h 109"/>
                <a:gd name="T72" fmla="*/ 82 w 102"/>
                <a:gd name="T73" fmla="*/ 76 h 109"/>
                <a:gd name="T74" fmla="*/ 77 w 102"/>
                <a:gd name="T75" fmla="*/ 78 h 109"/>
                <a:gd name="T76" fmla="*/ 75 w 102"/>
                <a:gd name="T77" fmla="*/ 80 h 109"/>
                <a:gd name="T78" fmla="*/ 70 w 102"/>
                <a:gd name="T79" fmla="*/ 67 h 109"/>
                <a:gd name="T80" fmla="*/ 67 w 102"/>
                <a:gd name="T81" fmla="*/ 64 h 109"/>
                <a:gd name="T82" fmla="*/ 64 w 102"/>
                <a:gd name="T83" fmla="*/ 63 h 109"/>
                <a:gd name="T84" fmla="*/ 64 w 102"/>
                <a:gd name="T85" fmla="*/ 63 h 109"/>
                <a:gd name="T86" fmla="*/ 64 w 102"/>
                <a:gd name="T87" fmla="*/ 60 h 109"/>
                <a:gd name="T88" fmla="*/ 59 w 102"/>
                <a:gd name="T89" fmla="*/ 49 h 109"/>
                <a:gd name="T90" fmla="*/ 54 w 102"/>
                <a:gd name="T91" fmla="*/ 36 h 109"/>
                <a:gd name="T92" fmla="*/ 52 w 102"/>
                <a:gd name="T93" fmla="*/ 27 h 109"/>
                <a:gd name="T94" fmla="*/ 48 w 102"/>
                <a:gd name="T95" fmla="*/ 20 h 109"/>
                <a:gd name="T96" fmla="*/ 41 w 102"/>
                <a:gd name="T97" fmla="*/ 9 h 109"/>
                <a:gd name="T98" fmla="*/ 41 w 102"/>
                <a:gd name="T99" fmla="*/ 5 h 109"/>
                <a:gd name="T100" fmla="*/ 40 w 102"/>
                <a:gd name="T101" fmla="*/ 5 h 109"/>
                <a:gd name="T102" fmla="*/ 38 w 102"/>
                <a:gd name="T103" fmla="*/ 5 h 109"/>
                <a:gd name="T104" fmla="*/ 32 w 102"/>
                <a:gd name="T105" fmla="*/ 2 h 109"/>
                <a:gd name="T106" fmla="*/ 26 w 102"/>
                <a:gd name="T107" fmla="*/ 1 h 109"/>
                <a:gd name="T108" fmla="*/ 22 w 102"/>
                <a:gd name="T109" fmla="*/ 1 h 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2" h="109">
                  <a:moveTo>
                    <a:pt x="11" y="88"/>
                  </a:moveTo>
                  <a:cubicBezTo>
                    <a:pt x="11" y="88"/>
                    <a:pt x="11" y="88"/>
                    <a:pt x="11" y="88"/>
                  </a:cubicBezTo>
                  <a:cubicBezTo>
                    <a:pt x="11" y="88"/>
                    <a:pt x="11" y="88"/>
                    <a:pt x="11" y="88"/>
                  </a:cubicBezTo>
                  <a:moveTo>
                    <a:pt x="18" y="0"/>
                  </a:moveTo>
                  <a:cubicBezTo>
                    <a:pt x="17" y="0"/>
                    <a:pt x="16" y="0"/>
                    <a:pt x="14" y="1"/>
                  </a:cubicBezTo>
                  <a:cubicBezTo>
                    <a:pt x="11" y="6"/>
                    <a:pt x="10" y="15"/>
                    <a:pt x="8" y="20"/>
                  </a:cubicBezTo>
                  <a:cubicBezTo>
                    <a:pt x="8" y="20"/>
                    <a:pt x="8" y="21"/>
                    <a:pt x="8" y="22"/>
                  </a:cubicBezTo>
                  <a:cubicBezTo>
                    <a:pt x="11" y="22"/>
                    <a:pt x="11" y="25"/>
                    <a:pt x="12" y="26"/>
                  </a:cubicBezTo>
                  <a:cubicBezTo>
                    <a:pt x="13" y="26"/>
                    <a:pt x="15" y="26"/>
                    <a:pt x="16" y="26"/>
                  </a:cubicBezTo>
                  <a:cubicBezTo>
                    <a:pt x="16" y="26"/>
                    <a:pt x="16" y="26"/>
                    <a:pt x="17" y="26"/>
                  </a:cubicBezTo>
                  <a:cubicBezTo>
                    <a:pt x="18" y="26"/>
                    <a:pt x="18" y="26"/>
                    <a:pt x="20" y="25"/>
                  </a:cubicBezTo>
                  <a:cubicBezTo>
                    <a:pt x="20" y="25"/>
                    <a:pt x="21" y="25"/>
                    <a:pt x="21" y="25"/>
                  </a:cubicBezTo>
                  <a:cubicBezTo>
                    <a:pt x="23" y="25"/>
                    <a:pt x="25" y="26"/>
                    <a:pt x="27" y="26"/>
                  </a:cubicBezTo>
                  <a:cubicBezTo>
                    <a:pt x="25" y="28"/>
                    <a:pt x="21" y="27"/>
                    <a:pt x="20" y="30"/>
                  </a:cubicBezTo>
                  <a:cubicBezTo>
                    <a:pt x="18" y="34"/>
                    <a:pt x="18" y="35"/>
                    <a:pt x="20" y="38"/>
                  </a:cubicBezTo>
                  <a:cubicBezTo>
                    <a:pt x="21" y="40"/>
                    <a:pt x="23" y="41"/>
                    <a:pt x="24" y="43"/>
                  </a:cubicBezTo>
                  <a:cubicBezTo>
                    <a:pt x="26" y="45"/>
                    <a:pt x="27" y="47"/>
                    <a:pt x="28" y="48"/>
                  </a:cubicBezTo>
                  <a:cubicBezTo>
                    <a:pt x="30" y="50"/>
                    <a:pt x="31" y="51"/>
                    <a:pt x="31" y="53"/>
                  </a:cubicBezTo>
                  <a:cubicBezTo>
                    <a:pt x="31" y="53"/>
                    <a:pt x="31" y="53"/>
                    <a:pt x="31" y="53"/>
                  </a:cubicBezTo>
                  <a:cubicBezTo>
                    <a:pt x="29" y="55"/>
                    <a:pt x="30" y="56"/>
                    <a:pt x="29" y="58"/>
                  </a:cubicBezTo>
                  <a:cubicBezTo>
                    <a:pt x="28" y="61"/>
                    <a:pt x="26" y="59"/>
                    <a:pt x="24" y="61"/>
                  </a:cubicBezTo>
                  <a:cubicBezTo>
                    <a:pt x="22" y="63"/>
                    <a:pt x="23" y="64"/>
                    <a:pt x="25" y="65"/>
                  </a:cubicBezTo>
                  <a:cubicBezTo>
                    <a:pt x="21" y="65"/>
                    <a:pt x="23" y="67"/>
                    <a:pt x="25" y="69"/>
                  </a:cubicBezTo>
                  <a:cubicBezTo>
                    <a:pt x="29" y="72"/>
                    <a:pt x="28" y="72"/>
                    <a:pt x="23" y="72"/>
                  </a:cubicBezTo>
                  <a:cubicBezTo>
                    <a:pt x="20" y="73"/>
                    <a:pt x="21" y="76"/>
                    <a:pt x="19" y="77"/>
                  </a:cubicBezTo>
                  <a:cubicBezTo>
                    <a:pt x="18" y="78"/>
                    <a:pt x="16" y="78"/>
                    <a:pt x="14" y="78"/>
                  </a:cubicBezTo>
                  <a:cubicBezTo>
                    <a:pt x="13" y="78"/>
                    <a:pt x="12" y="78"/>
                    <a:pt x="11" y="78"/>
                  </a:cubicBezTo>
                  <a:cubicBezTo>
                    <a:pt x="10" y="78"/>
                    <a:pt x="9" y="78"/>
                    <a:pt x="9" y="78"/>
                  </a:cubicBezTo>
                  <a:cubicBezTo>
                    <a:pt x="7" y="78"/>
                    <a:pt x="5" y="78"/>
                    <a:pt x="4" y="79"/>
                  </a:cubicBezTo>
                  <a:cubicBezTo>
                    <a:pt x="2" y="80"/>
                    <a:pt x="0" y="82"/>
                    <a:pt x="0" y="84"/>
                  </a:cubicBezTo>
                  <a:cubicBezTo>
                    <a:pt x="0" y="85"/>
                    <a:pt x="1" y="84"/>
                    <a:pt x="2" y="86"/>
                  </a:cubicBezTo>
                  <a:cubicBezTo>
                    <a:pt x="3" y="88"/>
                    <a:pt x="4" y="89"/>
                    <a:pt x="7" y="90"/>
                  </a:cubicBezTo>
                  <a:cubicBezTo>
                    <a:pt x="8" y="91"/>
                    <a:pt x="9" y="92"/>
                    <a:pt x="9" y="92"/>
                  </a:cubicBezTo>
                  <a:cubicBezTo>
                    <a:pt x="9" y="92"/>
                    <a:pt x="10" y="92"/>
                    <a:pt x="10" y="92"/>
                  </a:cubicBezTo>
                  <a:cubicBezTo>
                    <a:pt x="11" y="91"/>
                    <a:pt x="10" y="89"/>
                    <a:pt x="11" y="88"/>
                  </a:cubicBezTo>
                  <a:cubicBezTo>
                    <a:pt x="11" y="88"/>
                    <a:pt x="11" y="88"/>
                    <a:pt x="11" y="88"/>
                  </a:cubicBezTo>
                  <a:cubicBezTo>
                    <a:pt x="12" y="88"/>
                    <a:pt x="15" y="87"/>
                    <a:pt x="14" y="87"/>
                  </a:cubicBezTo>
                  <a:cubicBezTo>
                    <a:pt x="16" y="87"/>
                    <a:pt x="16" y="88"/>
                    <a:pt x="16" y="90"/>
                  </a:cubicBezTo>
                  <a:cubicBezTo>
                    <a:pt x="17" y="93"/>
                    <a:pt x="21" y="92"/>
                    <a:pt x="22" y="93"/>
                  </a:cubicBezTo>
                  <a:cubicBezTo>
                    <a:pt x="24" y="94"/>
                    <a:pt x="25" y="95"/>
                    <a:pt x="26" y="95"/>
                  </a:cubicBezTo>
                  <a:cubicBezTo>
                    <a:pt x="26" y="95"/>
                    <a:pt x="27" y="94"/>
                    <a:pt x="27" y="92"/>
                  </a:cubicBezTo>
                  <a:cubicBezTo>
                    <a:pt x="27" y="91"/>
                    <a:pt x="27" y="90"/>
                    <a:pt x="28" y="90"/>
                  </a:cubicBezTo>
                  <a:cubicBezTo>
                    <a:pt x="29" y="90"/>
                    <a:pt x="31" y="95"/>
                    <a:pt x="31" y="96"/>
                  </a:cubicBezTo>
                  <a:cubicBezTo>
                    <a:pt x="32" y="97"/>
                    <a:pt x="33" y="97"/>
                    <a:pt x="34" y="97"/>
                  </a:cubicBezTo>
                  <a:cubicBezTo>
                    <a:pt x="34" y="97"/>
                    <a:pt x="35" y="97"/>
                    <a:pt x="35" y="97"/>
                  </a:cubicBezTo>
                  <a:cubicBezTo>
                    <a:pt x="35" y="97"/>
                    <a:pt x="36" y="97"/>
                    <a:pt x="36" y="97"/>
                  </a:cubicBezTo>
                  <a:cubicBezTo>
                    <a:pt x="36" y="97"/>
                    <a:pt x="37" y="97"/>
                    <a:pt x="37" y="97"/>
                  </a:cubicBezTo>
                  <a:cubicBezTo>
                    <a:pt x="42" y="98"/>
                    <a:pt x="45" y="102"/>
                    <a:pt x="49" y="103"/>
                  </a:cubicBezTo>
                  <a:cubicBezTo>
                    <a:pt x="50" y="104"/>
                    <a:pt x="52" y="104"/>
                    <a:pt x="53" y="104"/>
                  </a:cubicBezTo>
                  <a:cubicBezTo>
                    <a:pt x="53" y="104"/>
                    <a:pt x="55" y="104"/>
                    <a:pt x="56" y="104"/>
                  </a:cubicBezTo>
                  <a:cubicBezTo>
                    <a:pt x="56" y="104"/>
                    <a:pt x="56" y="104"/>
                    <a:pt x="56" y="104"/>
                  </a:cubicBezTo>
                  <a:cubicBezTo>
                    <a:pt x="58" y="103"/>
                    <a:pt x="56" y="102"/>
                    <a:pt x="57" y="102"/>
                  </a:cubicBezTo>
                  <a:cubicBezTo>
                    <a:pt x="58" y="102"/>
                    <a:pt x="58" y="102"/>
                    <a:pt x="58" y="102"/>
                  </a:cubicBezTo>
                  <a:cubicBezTo>
                    <a:pt x="59" y="102"/>
                    <a:pt x="60" y="103"/>
                    <a:pt x="61" y="104"/>
                  </a:cubicBezTo>
                  <a:cubicBezTo>
                    <a:pt x="61" y="106"/>
                    <a:pt x="62" y="108"/>
                    <a:pt x="65" y="109"/>
                  </a:cubicBezTo>
                  <a:cubicBezTo>
                    <a:pt x="65" y="109"/>
                    <a:pt x="65" y="109"/>
                    <a:pt x="65" y="109"/>
                  </a:cubicBezTo>
                  <a:cubicBezTo>
                    <a:pt x="67" y="109"/>
                    <a:pt x="69" y="108"/>
                    <a:pt x="69" y="107"/>
                  </a:cubicBezTo>
                  <a:cubicBezTo>
                    <a:pt x="70" y="107"/>
                    <a:pt x="70" y="107"/>
                    <a:pt x="70" y="107"/>
                  </a:cubicBezTo>
                  <a:cubicBezTo>
                    <a:pt x="70" y="107"/>
                    <a:pt x="71" y="107"/>
                    <a:pt x="72" y="107"/>
                  </a:cubicBezTo>
                  <a:cubicBezTo>
                    <a:pt x="74" y="107"/>
                    <a:pt x="76" y="106"/>
                    <a:pt x="78" y="104"/>
                  </a:cubicBezTo>
                  <a:cubicBezTo>
                    <a:pt x="78" y="104"/>
                    <a:pt x="78" y="104"/>
                    <a:pt x="78" y="104"/>
                  </a:cubicBezTo>
                  <a:cubicBezTo>
                    <a:pt x="78" y="104"/>
                    <a:pt x="78" y="104"/>
                    <a:pt x="78" y="104"/>
                  </a:cubicBezTo>
                  <a:cubicBezTo>
                    <a:pt x="86" y="100"/>
                    <a:pt x="94" y="95"/>
                    <a:pt x="102" y="91"/>
                  </a:cubicBezTo>
                  <a:cubicBezTo>
                    <a:pt x="100" y="90"/>
                    <a:pt x="99" y="89"/>
                    <a:pt x="99" y="89"/>
                  </a:cubicBezTo>
                  <a:cubicBezTo>
                    <a:pt x="97" y="89"/>
                    <a:pt x="96" y="91"/>
                    <a:pt x="93" y="91"/>
                  </a:cubicBezTo>
                  <a:cubicBezTo>
                    <a:pt x="93" y="92"/>
                    <a:pt x="93" y="92"/>
                    <a:pt x="93" y="92"/>
                  </a:cubicBezTo>
                  <a:cubicBezTo>
                    <a:pt x="91" y="92"/>
                    <a:pt x="91" y="90"/>
                    <a:pt x="90" y="90"/>
                  </a:cubicBezTo>
                  <a:cubicBezTo>
                    <a:pt x="89" y="89"/>
                    <a:pt x="89" y="89"/>
                    <a:pt x="89" y="89"/>
                  </a:cubicBezTo>
                  <a:cubicBezTo>
                    <a:pt x="88" y="89"/>
                    <a:pt x="88" y="89"/>
                    <a:pt x="88" y="89"/>
                  </a:cubicBezTo>
                  <a:cubicBezTo>
                    <a:pt x="88" y="89"/>
                    <a:pt x="88" y="89"/>
                    <a:pt x="88" y="89"/>
                  </a:cubicBezTo>
                  <a:cubicBezTo>
                    <a:pt x="87" y="89"/>
                    <a:pt x="87" y="89"/>
                    <a:pt x="87" y="87"/>
                  </a:cubicBezTo>
                  <a:cubicBezTo>
                    <a:pt x="87" y="85"/>
                    <a:pt x="85" y="85"/>
                    <a:pt x="85" y="83"/>
                  </a:cubicBezTo>
                  <a:cubicBezTo>
                    <a:pt x="85" y="81"/>
                    <a:pt x="84" y="80"/>
                    <a:pt x="84" y="78"/>
                  </a:cubicBezTo>
                  <a:cubicBezTo>
                    <a:pt x="83" y="76"/>
                    <a:pt x="82" y="76"/>
                    <a:pt x="82" y="76"/>
                  </a:cubicBezTo>
                  <a:cubicBezTo>
                    <a:pt x="81" y="76"/>
                    <a:pt x="81" y="81"/>
                    <a:pt x="80" y="83"/>
                  </a:cubicBezTo>
                  <a:cubicBezTo>
                    <a:pt x="79" y="82"/>
                    <a:pt x="78" y="80"/>
                    <a:pt x="77" y="78"/>
                  </a:cubicBezTo>
                  <a:cubicBezTo>
                    <a:pt x="77" y="79"/>
                    <a:pt x="76" y="80"/>
                    <a:pt x="75" y="80"/>
                  </a:cubicBezTo>
                  <a:cubicBezTo>
                    <a:pt x="75" y="80"/>
                    <a:pt x="75" y="80"/>
                    <a:pt x="75" y="80"/>
                  </a:cubicBezTo>
                  <a:cubicBezTo>
                    <a:pt x="78" y="78"/>
                    <a:pt x="80" y="74"/>
                    <a:pt x="77" y="71"/>
                  </a:cubicBezTo>
                  <a:cubicBezTo>
                    <a:pt x="76" y="70"/>
                    <a:pt x="72" y="68"/>
                    <a:pt x="70" y="67"/>
                  </a:cubicBezTo>
                  <a:cubicBezTo>
                    <a:pt x="69" y="67"/>
                    <a:pt x="68" y="66"/>
                    <a:pt x="67" y="66"/>
                  </a:cubicBezTo>
                  <a:cubicBezTo>
                    <a:pt x="67" y="65"/>
                    <a:pt x="67" y="65"/>
                    <a:pt x="67" y="64"/>
                  </a:cubicBezTo>
                  <a:cubicBezTo>
                    <a:pt x="66" y="64"/>
                    <a:pt x="65" y="64"/>
                    <a:pt x="65" y="63"/>
                  </a:cubicBezTo>
                  <a:cubicBezTo>
                    <a:pt x="65" y="63"/>
                    <a:pt x="64" y="63"/>
                    <a:pt x="64" y="63"/>
                  </a:cubicBezTo>
                  <a:cubicBezTo>
                    <a:pt x="64" y="63"/>
                    <a:pt x="64" y="63"/>
                    <a:pt x="64" y="63"/>
                  </a:cubicBezTo>
                  <a:cubicBezTo>
                    <a:pt x="64" y="63"/>
                    <a:pt x="64" y="63"/>
                    <a:pt x="64" y="63"/>
                  </a:cubicBezTo>
                  <a:cubicBezTo>
                    <a:pt x="63" y="63"/>
                    <a:pt x="63" y="63"/>
                    <a:pt x="63" y="62"/>
                  </a:cubicBezTo>
                  <a:cubicBezTo>
                    <a:pt x="63" y="62"/>
                    <a:pt x="64" y="61"/>
                    <a:pt x="64" y="60"/>
                  </a:cubicBezTo>
                  <a:cubicBezTo>
                    <a:pt x="64" y="59"/>
                    <a:pt x="62" y="58"/>
                    <a:pt x="62" y="57"/>
                  </a:cubicBezTo>
                  <a:cubicBezTo>
                    <a:pt x="60" y="55"/>
                    <a:pt x="59" y="52"/>
                    <a:pt x="59" y="49"/>
                  </a:cubicBezTo>
                  <a:cubicBezTo>
                    <a:pt x="59" y="46"/>
                    <a:pt x="58" y="46"/>
                    <a:pt x="57" y="43"/>
                  </a:cubicBezTo>
                  <a:cubicBezTo>
                    <a:pt x="56" y="40"/>
                    <a:pt x="55" y="38"/>
                    <a:pt x="54" y="36"/>
                  </a:cubicBezTo>
                  <a:cubicBezTo>
                    <a:pt x="53" y="35"/>
                    <a:pt x="52" y="34"/>
                    <a:pt x="51" y="33"/>
                  </a:cubicBezTo>
                  <a:cubicBezTo>
                    <a:pt x="50" y="30"/>
                    <a:pt x="50" y="29"/>
                    <a:pt x="52" y="27"/>
                  </a:cubicBezTo>
                  <a:cubicBezTo>
                    <a:pt x="50" y="27"/>
                    <a:pt x="51" y="25"/>
                    <a:pt x="50" y="24"/>
                  </a:cubicBezTo>
                  <a:cubicBezTo>
                    <a:pt x="49" y="22"/>
                    <a:pt x="49" y="21"/>
                    <a:pt x="48" y="20"/>
                  </a:cubicBezTo>
                  <a:cubicBezTo>
                    <a:pt x="46" y="17"/>
                    <a:pt x="45" y="14"/>
                    <a:pt x="44" y="12"/>
                  </a:cubicBezTo>
                  <a:cubicBezTo>
                    <a:pt x="43" y="11"/>
                    <a:pt x="42" y="10"/>
                    <a:pt x="41" y="9"/>
                  </a:cubicBezTo>
                  <a:cubicBezTo>
                    <a:pt x="41" y="8"/>
                    <a:pt x="42" y="6"/>
                    <a:pt x="41" y="5"/>
                  </a:cubicBezTo>
                  <a:cubicBezTo>
                    <a:pt x="41" y="5"/>
                    <a:pt x="41" y="5"/>
                    <a:pt x="41" y="5"/>
                  </a:cubicBezTo>
                  <a:cubicBezTo>
                    <a:pt x="40" y="5"/>
                    <a:pt x="41" y="5"/>
                    <a:pt x="40" y="5"/>
                  </a:cubicBezTo>
                  <a:cubicBezTo>
                    <a:pt x="40" y="5"/>
                    <a:pt x="40" y="5"/>
                    <a:pt x="40" y="5"/>
                  </a:cubicBezTo>
                  <a:cubicBezTo>
                    <a:pt x="39" y="5"/>
                    <a:pt x="39" y="5"/>
                    <a:pt x="38" y="5"/>
                  </a:cubicBezTo>
                  <a:cubicBezTo>
                    <a:pt x="38" y="5"/>
                    <a:pt x="38" y="5"/>
                    <a:pt x="38" y="5"/>
                  </a:cubicBezTo>
                  <a:cubicBezTo>
                    <a:pt x="37" y="5"/>
                    <a:pt x="37" y="5"/>
                    <a:pt x="36" y="5"/>
                  </a:cubicBezTo>
                  <a:cubicBezTo>
                    <a:pt x="35" y="4"/>
                    <a:pt x="34" y="2"/>
                    <a:pt x="32" y="2"/>
                  </a:cubicBezTo>
                  <a:cubicBezTo>
                    <a:pt x="31" y="1"/>
                    <a:pt x="29" y="1"/>
                    <a:pt x="28" y="1"/>
                  </a:cubicBezTo>
                  <a:cubicBezTo>
                    <a:pt x="27" y="1"/>
                    <a:pt x="26" y="1"/>
                    <a:pt x="26" y="1"/>
                  </a:cubicBezTo>
                  <a:cubicBezTo>
                    <a:pt x="25" y="1"/>
                    <a:pt x="24" y="1"/>
                    <a:pt x="24" y="1"/>
                  </a:cubicBezTo>
                  <a:cubicBezTo>
                    <a:pt x="23" y="1"/>
                    <a:pt x="23" y="1"/>
                    <a:pt x="22" y="1"/>
                  </a:cubicBezTo>
                  <a:cubicBezTo>
                    <a:pt x="21" y="1"/>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95"/>
            <p:cNvSpPr>
              <a:spLocks noEditPoints="1"/>
            </p:cNvSpPr>
            <p:nvPr/>
          </p:nvSpPr>
          <p:spPr bwMode="auto">
            <a:xfrm>
              <a:off x="9994891" y="2315397"/>
              <a:ext cx="19050" cy="33338"/>
            </a:xfrm>
            <a:custGeom>
              <a:gdLst>
                <a:gd name="T0" fmla="*/ 1 w 5"/>
                <a:gd name="T1" fmla="*/ 9 h 9"/>
                <a:gd name="T2" fmla="*/ 1 w 5"/>
                <a:gd name="T3" fmla="*/ 9 h 9"/>
                <a:gd name="T4" fmla="*/ 1 w 5"/>
                <a:gd name="T5" fmla="*/ 9 h 9"/>
                <a:gd name="T6" fmla="*/ 4 w 5"/>
                <a:gd name="T7" fmla="*/ 0 h 9"/>
                <a:gd name="T8" fmla="*/ 1 w 5"/>
                <a:gd name="T9" fmla="*/ 7 h 9"/>
                <a:gd name="T10" fmla="*/ 1 w 5"/>
                <a:gd name="T11" fmla="*/ 9 h 9"/>
                <a:gd name="T12" fmla="*/ 4 w 5"/>
                <a:gd name="T13" fmla="*/ 5 h 9"/>
                <a:gd name="T14" fmla="*/ 3 w 5"/>
                <a:gd name="T15" fmla="*/ 5 h 9"/>
                <a:gd name="T16" fmla="*/ 5 w 5"/>
                <a:gd name="T17" fmla="*/ 0 h 9"/>
                <a:gd name="T18" fmla="*/ 4 w 5"/>
                <a:gd name="T1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1" y="9"/>
                  </a:moveTo>
                  <a:cubicBezTo>
                    <a:pt x="1" y="9"/>
                    <a:pt x="1" y="9"/>
                    <a:pt x="1" y="9"/>
                  </a:cubicBezTo>
                  <a:cubicBezTo>
                    <a:pt x="1" y="9"/>
                    <a:pt x="1" y="9"/>
                    <a:pt x="1" y="9"/>
                  </a:cubicBezTo>
                  <a:moveTo>
                    <a:pt x="4" y="0"/>
                  </a:moveTo>
                  <a:cubicBezTo>
                    <a:pt x="1" y="0"/>
                    <a:pt x="1" y="5"/>
                    <a:pt x="1" y="7"/>
                  </a:cubicBezTo>
                  <a:cubicBezTo>
                    <a:pt x="1" y="8"/>
                    <a:pt x="1" y="8"/>
                    <a:pt x="1" y="9"/>
                  </a:cubicBezTo>
                  <a:cubicBezTo>
                    <a:pt x="1" y="7"/>
                    <a:pt x="3" y="6"/>
                    <a:pt x="4" y="5"/>
                  </a:cubicBezTo>
                  <a:cubicBezTo>
                    <a:pt x="3" y="5"/>
                    <a:pt x="3" y="5"/>
                    <a:pt x="3" y="5"/>
                  </a:cubicBezTo>
                  <a:cubicBezTo>
                    <a:pt x="0" y="5"/>
                    <a:pt x="4" y="2"/>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96"/>
            <p:cNvSpPr/>
            <p:nvPr/>
          </p:nvSpPr>
          <p:spPr bwMode="auto">
            <a:xfrm flipH="1">
              <a:off x="9998066" y="1864547"/>
              <a:ext cx="0" cy="4763"/>
            </a:xfrm>
            <a:custGeom>
              <a:gdLst>
                <a:gd name="T0" fmla="*/ 0 h 1"/>
                <a:gd name="T1" fmla="*/ 0 h 1"/>
                <a:gd name="T2" fmla="*/ 1 h 1"/>
                <a:gd name="T3" fmla="*/ 1 h 1"/>
                <a:gd name="T4" fmla="*/ 0 h 1"/>
              </a:gd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1"/>
                  </a:cubicBezTo>
                  <a:cubicBezTo>
                    <a:pt x="0" y="1"/>
                    <a:pt x="0" y="1"/>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97"/>
            <p:cNvSpPr/>
            <p:nvPr/>
          </p:nvSpPr>
          <p:spPr bwMode="auto">
            <a:xfrm>
              <a:off x="9998066" y="1872484"/>
              <a:ext cx="15875" cy="7938"/>
            </a:xfrm>
            <a:custGeom>
              <a:gdLst>
                <a:gd name="T0" fmla="*/ 0 w 4"/>
                <a:gd name="T1" fmla="*/ 0 h 2"/>
                <a:gd name="T2" fmla="*/ 0 w 4"/>
                <a:gd name="T3" fmla="*/ 1 h 2"/>
                <a:gd name="T4" fmla="*/ 0 w 4"/>
                <a:gd name="T5" fmla="*/ 1 h 2"/>
                <a:gd name="T6" fmla="*/ 0 w 4"/>
                <a:gd name="T7" fmla="*/ 1 h 2"/>
                <a:gd name="T8" fmla="*/ 0 w 4"/>
                <a:gd name="T9" fmla="*/ 1 h 2"/>
                <a:gd name="T10" fmla="*/ 3 w 4"/>
                <a:gd name="T11" fmla="*/ 2 h 2"/>
                <a:gd name="T12" fmla="*/ 4 w 4"/>
                <a:gd name="T13" fmla="*/ 2 h 2"/>
                <a:gd name="T14" fmla="*/ 0 w 4"/>
                <a:gd name="T15" fmla="*/ 0 h 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0" y="0"/>
                  </a:moveTo>
                  <a:cubicBezTo>
                    <a:pt x="0" y="0"/>
                    <a:pt x="0" y="1"/>
                    <a:pt x="0" y="1"/>
                  </a:cubicBezTo>
                  <a:cubicBezTo>
                    <a:pt x="0" y="1"/>
                    <a:pt x="0" y="1"/>
                    <a:pt x="0" y="1"/>
                  </a:cubicBezTo>
                  <a:cubicBezTo>
                    <a:pt x="0" y="1"/>
                    <a:pt x="0" y="1"/>
                    <a:pt x="0" y="1"/>
                  </a:cubicBezTo>
                  <a:cubicBezTo>
                    <a:pt x="0" y="1"/>
                    <a:pt x="0" y="1"/>
                    <a:pt x="0" y="1"/>
                  </a:cubicBezTo>
                  <a:cubicBezTo>
                    <a:pt x="1" y="2"/>
                    <a:pt x="2" y="2"/>
                    <a:pt x="3" y="2"/>
                  </a:cubicBezTo>
                  <a:cubicBezTo>
                    <a:pt x="4" y="2"/>
                    <a:pt x="4" y="2"/>
                    <a:pt x="4" y="2"/>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98"/>
            <p:cNvSpPr>
              <a:spLocks noEditPoints="1"/>
            </p:cNvSpPr>
            <p:nvPr/>
          </p:nvSpPr>
          <p:spPr bwMode="auto">
            <a:xfrm>
              <a:off x="8069254" y="1064447"/>
              <a:ext cx="2517775" cy="1800225"/>
            </a:xfrm>
            <a:custGeom>
              <a:gdLst>
                <a:gd name="T0" fmla="*/ 572 w 671"/>
                <a:gd name="T1" fmla="*/ 312 h 479"/>
                <a:gd name="T2" fmla="*/ 34 w 671"/>
                <a:gd name="T3" fmla="*/ 25 h 479"/>
                <a:gd name="T4" fmla="*/ 4 w 671"/>
                <a:gd name="T5" fmla="*/ 97 h 479"/>
                <a:gd name="T6" fmla="*/ 15 w 671"/>
                <a:gd name="T7" fmla="*/ 121 h 479"/>
                <a:gd name="T8" fmla="*/ 88 w 671"/>
                <a:gd name="T9" fmla="*/ 145 h 479"/>
                <a:gd name="T10" fmla="*/ 171 w 671"/>
                <a:gd name="T11" fmla="*/ 170 h 479"/>
                <a:gd name="T12" fmla="*/ 215 w 671"/>
                <a:gd name="T13" fmla="*/ 178 h 479"/>
                <a:gd name="T14" fmla="*/ 251 w 671"/>
                <a:gd name="T15" fmla="*/ 171 h 479"/>
                <a:gd name="T16" fmla="*/ 262 w 671"/>
                <a:gd name="T17" fmla="*/ 140 h 479"/>
                <a:gd name="T18" fmla="*/ 294 w 671"/>
                <a:gd name="T19" fmla="*/ 175 h 479"/>
                <a:gd name="T20" fmla="*/ 316 w 671"/>
                <a:gd name="T21" fmla="*/ 179 h 479"/>
                <a:gd name="T22" fmla="*/ 350 w 671"/>
                <a:gd name="T23" fmla="*/ 210 h 479"/>
                <a:gd name="T24" fmla="*/ 380 w 671"/>
                <a:gd name="T25" fmla="*/ 235 h 479"/>
                <a:gd name="T26" fmla="*/ 413 w 671"/>
                <a:gd name="T27" fmla="*/ 299 h 479"/>
                <a:gd name="T28" fmla="*/ 482 w 671"/>
                <a:gd name="T29" fmla="*/ 309 h 479"/>
                <a:gd name="T30" fmla="*/ 440 w 671"/>
                <a:gd name="T31" fmla="*/ 320 h 479"/>
                <a:gd name="T32" fmla="*/ 353 w 671"/>
                <a:gd name="T33" fmla="*/ 349 h 479"/>
                <a:gd name="T34" fmla="*/ 337 w 671"/>
                <a:gd name="T35" fmla="*/ 359 h 479"/>
                <a:gd name="T36" fmla="*/ 320 w 671"/>
                <a:gd name="T37" fmla="*/ 388 h 479"/>
                <a:gd name="T38" fmla="*/ 359 w 671"/>
                <a:gd name="T39" fmla="*/ 369 h 479"/>
                <a:gd name="T40" fmla="*/ 382 w 671"/>
                <a:gd name="T41" fmla="*/ 381 h 479"/>
                <a:gd name="T42" fmla="*/ 415 w 671"/>
                <a:gd name="T43" fmla="*/ 406 h 479"/>
                <a:gd name="T44" fmla="*/ 444 w 671"/>
                <a:gd name="T45" fmla="*/ 434 h 479"/>
                <a:gd name="T46" fmla="*/ 554 w 671"/>
                <a:gd name="T47" fmla="*/ 465 h 479"/>
                <a:gd name="T48" fmla="*/ 525 w 671"/>
                <a:gd name="T49" fmla="*/ 438 h 479"/>
                <a:gd name="T50" fmla="*/ 510 w 671"/>
                <a:gd name="T51" fmla="*/ 416 h 479"/>
                <a:gd name="T52" fmla="*/ 547 w 671"/>
                <a:gd name="T53" fmla="*/ 438 h 479"/>
                <a:gd name="T54" fmla="*/ 576 w 671"/>
                <a:gd name="T55" fmla="*/ 450 h 479"/>
                <a:gd name="T56" fmla="*/ 577 w 671"/>
                <a:gd name="T57" fmla="*/ 409 h 479"/>
                <a:gd name="T58" fmla="*/ 577 w 671"/>
                <a:gd name="T59" fmla="*/ 391 h 479"/>
                <a:gd name="T60" fmla="*/ 556 w 671"/>
                <a:gd name="T61" fmla="*/ 370 h 479"/>
                <a:gd name="T62" fmla="*/ 531 w 671"/>
                <a:gd name="T63" fmla="*/ 351 h 479"/>
                <a:gd name="T64" fmla="*/ 507 w 671"/>
                <a:gd name="T65" fmla="*/ 329 h 479"/>
                <a:gd name="T66" fmla="*/ 529 w 671"/>
                <a:gd name="T67" fmla="*/ 315 h 479"/>
                <a:gd name="T68" fmla="*/ 588 w 671"/>
                <a:gd name="T69" fmla="*/ 318 h 479"/>
                <a:gd name="T70" fmla="*/ 589 w 671"/>
                <a:gd name="T71" fmla="*/ 351 h 479"/>
                <a:gd name="T72" fmla="*/ 616 w 671"/>
                <a:gd name="T73" fmla="*/ 365 h 479"/>
                <a:gd name="T74" fmla="*/ 637 w 671"/>
                <a:gd name="T75" fmla="*/ 339 h 479"/>
                <a:gd name="T76" fmla="*/ 651 w 671"/>
                <a:gd name="T77" fmla="*/ 324 h 479"/>
                <a:gd name="T78" fmla="*/ 670 w 671"/>
                <a:gd name="T79" fmla="*/ 315 h 479"/>
                <a:gd name="T80" fmla="*/ 617 w 671"/>
                <a:gd name="T81" fmla="*/ 294 h 479"/>
                <a:gd name="T82" fmla="*/ 594 w 671"/>
                <a:gd name="T83" fmla="*/ 256 h 479"/>
                <a:gd name="T84" fmla="*/ 560 w 671"/>
                <a:gd name="T85" fmla="*/ 251 h 479"/>
                <a:gd name="T86" fmla="*/ 524 w 671"/>
                <a:gd name="T87" fmla="*/ 242 h 479"/>
                <a:gd name="T88" fmla="*/ 515 w 671"/>
                <a:gd name="T89" fmla="*/ 232 h 479"/>
                <a:gd name="T90" fmla="*/ 482 w 671"/>
                <a:gd name="T91" fmla="*/ 213 h 479"/>
                <a:gd name="T92" fmla="*/ 492 w 671"/>
                <a:gd name="T93" fmla="*/ 205 h 479"/>
                <a:gd name="T94" fmla="*/ 514 w 671"/>
                <a:gd name="T95" fmla="*/ 195 h 479"/>
                <a:gd name="T96" fmla="*/ 467 w 671"/>
                <a:gd name="T97" fmla="*/ 186 h 479"/>
                <a:gd name="T98" fmla="*/ 497 w 671"/>
                <a:gd name="T99" fmla="*/ 168 h 479"/>
                <a:gd name="T100" fmla="*/ 473 w 671"/>
                <a:gd name="T101" fmla="*/ 160 h 479"/>
                <a:gd name="T102" fmla="*/ 445 w 671"/>
                <a:gd name="T103" fmla="*/ 141 h 479"/>
                <a:gd name="T104" fmla="*/ 408 w 671"/>
                <a:gd name="T105" fmla="*/ 132 h 479"/>
                <a:gd name="T106" fmla="*/ 384 w 671"/>
                <a:gd name="T107" fmla="*/ 107 h 479"/>
                <a:gd name="T108" fmla="*/ 359 w 671"/>
                <a:gd name="T109" fmla="*/ 95 h 479"/>
                <a:gd name="T110" fmla="*/ 342 w 671"/>
                <a:gd name="T111" fmla="*/ 77 h 479"/>
                <a:gd name="T112" fmla="*/ 270 w 671"/>
                <a:gd name="T113" fmla="*/ 63 h 479"/>
                <a:gd name="T114" fmla="*/ 278 w 671"/>
                <a:gd name="T115" fmla="*/ 83 h 479"/>
                <a:gd name="T116" fmla="*/ 241 w 671"/>
                <a:gd name="T117" fmla="*/ 72 h 479"/>
                <a:gd name="T118" fmla="*/ 219 w 671"/>
                <a:gd name="T119" fmla="*/ 76 h 479"/>
                <a:gd name="T120" fmla="*/ 181 w 671"/>
                <a:gd name="T121" fmla="*/ 6 h 479"/>
                <a:gd name="T122" fmla="*/ 118 w 671"/>
                <a:gd name="T123" fmla="*/ 2 h 4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479">
                  <a:moveTo>
                    <a:pt x="378" y="384"/>
                  </a:moveTo>
                  <a:cubicBezTo>
                    <a:pt x="378" y="384"/>
                    <a:pt x="378" y="384"/>
                    <a:pt x="378" y="384"/>
                  </a:cubicBezTo>
                  <a:cubicBezTo>
                    <a:pt x="378" y="384"/>
                    <a:pt x="378" y="384"/>
                    <a:pt x="378" y="384"/>
                  </a:cubicBezTo>
                  <a:moveTo>
                    <a:pt x="191" y="173"/>
                  </a:moveTo>
                  <a:cubicBezTo>
                    <a:pt x="191" y="173"/>
                    <a:pt x="191" y="173"/>
                    <a:pt x="191" y="173"/>
                  </a:cubicBezTo>
                  <a:cubicBezTo>
                    <a:pt x="191" y="173"/>
                    <a:pt x="191" y="173"/>
                    <a:pt x="191" y="173"/>
                  </a:cubicBezTo>
                  <a:cubicBezTo>
                    <a:pt x="191" y="173"/>
                    <a:pt x="191" y="173"/>
                    <a:pt x="191" y="173"/>
                  </a:cubicBezTo>
                  <a:moveTo>
                    <a:pt x="649" y="315"/>
                  </a:moveTo>
                  <a:cubicBezTo>
                    <a:pt x="649" y="315"/>
                    <a:pt x="649" y="315"/>
                    <a:pt x="649" y="315"/>
                  </a:cubicBezTo>
                  <a:cubicBezTo>
                    <a:pt x="649" y="315"/>
                    <a:pt x="650" y="314"/>
                    <a:pt x="650" y="314"/>
                  </a:cubicBezTo>
                  <a:cubicBezTo>
                    <a:pt x="651" y="314"/>
                    <a:pt x="651" y="314"/>
                    <a:pt x="652" y="315"/>
                  </a:cubicBezTo>
                  <a:cubicBezTo>
                    <a:pt x="652" y="315"/>
                    <a:pt x="652" y="315"/>
                    <a:pt x="652" y="315"/>
                  </a:cubicBezTo>
                  <a:cubicBezTo>
                    <a:pt x="652" y="315"/>
                    <a:pt x="652" y="315"/>
                    <a:pt x="652" y="315"/>
                  </a:cubicBezTo>
                  <a:cubicBezTo>
                    <a:pt x="652" y="315"/>
                    <a:pt x="652" y="315"/>
                    <a:pt x="651" y="315"/>
                  </a:cubicBezTo>
                  <a:cubicBezTo>
                    <a:pt x="651" y="315"/>
                    <a:pt x="651" y="315"/>
                    <a:pt x="651" y="315"/>
                  </a:cubicBezTo>
                  <a:cubicBezTo>
                    <a:pt x="651" y="315"/>
                    <a:pt x="651" y="315"/>
                    <a:pt x="651" y="315"/>
                  </a:cubicBezTo>
                  <a:cubicBezTo>
                    <a:pt x="651" y="315"/>
                    <a:pt x="651" y="315"/>
                    <a:pt x="650" y="315"/>
                  </a:cubicBezTo>
                  <a:cubicBezTo>
                    <a:pt x="650" y="315"/>
                    <a:pt x="650" y="315"/>
                    <a:pt x="650" y="315"/>
                  </a:cubicBezTo>
                  <a:cubicBezTo>
                    <a:pt x="650" y="315"/>
                    <a:pt x="650" y="315"/>
                    <a:pt x="650" y="315"/>
                  </a:cubicBezTo>
                  <a:cubicBezTo>
                    <a:pt x="650" y="315"/>
                    <a:pt x="650" y="315"/>
                    <a:pt x="650" y="315"/>
                  </a:cubicBezTo>
                  <a:cubicBezTo>
                    <a:pt x="650" y="315"/>
                    <a:pt x="650" y="315"/>
                    <a:pt x="649" y="315"/>
                  </a:cubicBezTo>
                  <a:cubicBezTo>
                    <a:pt x="649" y="315"/>
                    <a:pt x="649" y="315"/>
                    <a:pt x="649" y="315"/>
                  </a:cubicBezTo>
                  <a:cubicBezTo>
                    <a:pt x="649" y="315"/>
                    <a:pt x="649" y="315"/>
                    <a:pt x="649" y="315"/>
                  </a:cubicBezTo>
                  <a:cubicBezTo>
                    <a:pt x="649" y="315"/>
                    <a:pt x="649" y="315"/>
                    <a:pt x="649" y="315"/>
                  </a:cubicBezTo>
                  <a:cubicBezTo>
                    <a:pt x="649" y="315"/>
                    <a:pt x="649" y="315"/>
                    <a:pt x="649" y="315"/>
                  </a:cubicBezTo>
                  <a:cubicBezTo>
                    <a:pt x="649" y="315"/>
                    <a:pt x="649" y="315"/>
                    <a:pt x="649" y="315"/>
                  </a:cubicBezTo>
                  <a:moveTo>
                    <a:pt x="571" y="314"/>
                  </a:moveTo>
                  <a:cubicBezTo>
                    <a:pt x="571" y="313"/>
                    <a:pt x="571" y="313"/>
                    <a:pt x="572" y="312"/>
                  </a:cubicBezTo>
                  <a:cubicBezTo>
                    <a:pt x="572" y="312"/>
                    <a:pt x="572" y="312"/>
                    <a:pt x="572" y="312"/>
                  </a:cubicBezTo>
                  <a:cubicBezTo>
                    <a:pt x="572" y="312"/>
                    <a:pt x="571" y="313"/>
                    <a:pt x="571" y="313"/>
                  </a:cubicBezTo>
                  <a:cubicBezTo>
                    <a:pt x="571" y="313"/>
                    <a:pt x="571" y="313"/>
                    <a:pt x="571" y="313"/>
                  </a:cubicBezTo>
                  <a:cubicBezTo>
                    <a:pt x="571" y="313"/>
                    <a:pt x="571" y="313"/>
                    <a:pt x="571" y="313"/>
                  </a:cubicBezTo>
                  <a:cubicBezTo>
                    <a:pt x="571" y="313"/>
                    <a:pt x="571" y="314"/>
                    <a:pt x="570" y="315"/>
                  </a:cubicBezTo>
                  <a:cubicBezTo>
                    <a:pt x="570" y="314"/>
                    <a:pt x="570" y="314"/>
                    <a:pt x="570" y="314"/>
                  </a:cubicBezTo>
                  <a:cubicBezTo>
                    <a:pt x="570" y="314"/>
                    <a:pt x="570" y="315"/>
                    <a:pt x="569" y="315"/>
                  </a:cubicBezTo>
                  <a:cubicBezTo>
                    <a:pt x="570" y="315"/>
                    <a:pt x="570" y="314"/>
                    <a:pt x="571" y="314"/>
                  </a:cubicBezTo>
                  <a:cubicBezTo>
                    <a:pt x="570" y="314"/>
                    <a:pt x="570" y="314"/>
                    <a:pt x="570" y="314"/>
                  </a:cubicBezTo>
                  <a:cubicBezTo>
                    <a:pt x="571" y="313"/>
                    <a:pt x="571" y="313"/>
                    <a:pt x="571" y="313"/>
                  </a:cubicBezTo>
                  <a:cubicBezTo>
                    <a:pt x="571" y="314"/>
                    <a:pt x="571" y="314"/>
                    <a:pt x="571" y="314"/>
                  </a:cubicBezTo>
                  <a:moveTo>
                    <a:pt x="85" y="126"/>
                  </a:moveTo>
                  <a:cubicBezTo>
                    <a:pt x="86" y="125"/>
                    <a:pt x="86" y="125"/>
                    <a:pt x="86" y="125"/>
                  </a:cubicBezTo>
                  <a:cubicBezTo>
                    <a:pt x="85" y="126"/>
                    <a:pt x="85" y="126"/>
                    <a:pt x="85" y="126"/>
                  </a:cubicBezTo>
                  <a:moveTo>
                    <a:pt x="119" y="120"/>
                  </a:moveTo>
                  <a:cubicBezTo>
                    <a:pt x="120" y="119"/>
                    <a:pt x="120" y="119"/>
                    <a:pt x="120" y="119"/>
                  </a:cubicBezTo>
                  <a:cubicBezTo>
                    <a:pt x="120" y="119"/>
                    <a:pt x="120" y="119"/>
                    <a:pt x="119" y="120"/>
                  </a:cubicBezTo>
                  <a:moveTo>
                    <a:pt x="110" y="116"/>
                  </a:moveTo>
                  <a:cubicBezTo>
                    <a:pt x="110" y="116"/>
                    <a:pt x="110" y="116"/>
                    <a:pt x="110" y="116"/>
                  </a:cubicBezTo>
                  <a:cubicBezTo>
                    <a:pt x="110" y="116"/>
                    <a:pt x="110" y="116"/>
                    <a:pt x="110" y="116"/>
                  </a:cubicBezTo>
                  <a:moveTo>
                    <a:pt x="119" y="65"/>
                  </a:moveTo>
                  <a:cubicBezTo>
                    <a:pt x="119" y="65"/>
                    <a:pt x="119" y="65"/>
                    <a:pt x="119" y="65"/>
                  </a:cubicBezTo>
                  <a:cubicBezTo>
                    <a:pt x="119" y="65"/>
                    <a:pt x="119" y="65"/>
                    <a:pt x="119" y="65"/>
                  </a:cubicBezTo>
                  <a:moveTo>
                    <a:pt x="89" y="0"/>
                  </a:moveTo>
                  <a:cubicBezTo>
                    <a:pt x="86" y="0"/>
                    <a:pt x="82" y="0"/>
                    <a:pt x="79" y="1"/>
                  </a:cubicBezTo>
                  <a:cubicBezTo>
                    <a:pt x="71" y="2"/>
                    <a:pt x="63" y="3"/>
                    <a:pt x="55" y="7"/>
                  </a:cubicBezTo>
                  <a:cubicBezTo>
                    <a:pt x="51" y="8"/>
                    <a:pt x="48" y="10"/>
                    <a:pt x="44" y="12"/>
                  </a:cubicBezTo>
                  <a:cubicBezTo>
                    <a:pt x="41" y="14"/>
                    <a:pt x="39" y="17"/>
                    <a:pt x="36" y="18"/>
                  </a:cubicBezTo>
                  <a:cubicBezTo>
                    <a:pt x="33" y="20"/>
                    <a:pt x="32" y="22"/>
                    <a:pt x="30" y="23"/>
                  </a:cubicBezTo>
                  <a:cubicBezTo>
                    <a:pt x="31" y="24"/>
                    <a:pt x="33" y="24"/>
                    <a:pt x="34" y="25"/>
                  </a:cubicBezTo>
                  <a:cubicBezTo>
                    <a:pt x="33" y="25"/>
                    <a:pt x="31" y="25"/>
                    <a:pt x="29" y="25"/>
                  </a:cubicBezTo>
                  <a:cubicBezTo>
                    <a:pt x="28" y="25"/>
                    <a:pt x="27" y="25"/>
                    <a:pt x="26" y="26"/>
                  </a:cubicBezTo>
                  <a:cubicBezTo>
                    <a:pt x="26" y="27"/>
                    <a:pt x="25" y="28"/>
                    <a:pt x="25" y="29"/>
                  </a:cubicBezTo>
                  <a:cubicBezTo>
                    <a:pt x="24" y="30"/>
                    <a:pt x="23" y="30"/>
                    <a:pt x="23" y="31"/>
                  </a:cubicBezTo>
                  <a:cubicBezTo>
                    <a:pt x="21" y="33"/>
                    <a:pt x="20" y="36"/>
                    <a:pt x="19" y="38"/>
                  </a:cubicBezTo>
                  <a:cubicBezTo>
                    <a:pt x="19" y="39"/>
                    <a:pt x="19" y="39"/>
                    <a:pt x="19" y="40"/>
                  </a:cubicBezTo>
                  <a:cubicBezTo>
                    <a:pt x="19" y="41"/>
                    <a:pt x="19" y="42"/>
                    <a:pt x="19" y="43"/>
                  </a:cubicBezTo>
                  <a:cubicBezTo>
                    <a:pt x="19" y="43"/>
                    <a:pt x="18" y="44"/>
                    <a:pt x="18" y="44"/>
                  </a:cubicBezTo>
                  <a:cubicBezTo>
                    <a:pt x="18" y="45"/>
                    <a:pt x="17" y="45"/>
                    <a:pt x="17" y="46"/>
                  </a:cubicBezTo>
                  <a:cubicBezTo>
                    <a:pt x="17" y="46"/>
                    <a:pt x="18" y="48"/>
                    <a:pt x="18" y="48"/>
                  </a:cubicBezTo>
                  <a:cubicBezTo>
                    <a:pt x="18" y="48"/>
                    <a:pt x="18" y="49"/>
                    <a:pt x="17" y="49"/>
                  </a:cubicBezTo>
                  <a:cubicBezTo>
                    <a:pt x="17" y="49"/>
                    <a:pt x="17" y="48"/>
                    <a:pt x="17" y="48"/>
                  </a:cubicBezTo>
                  <a:cubicBezTo>
                    <a:pt x="16" y="48"/>
                    <a:pt x="16" y="48"/>
                    <a:pt x="16" y="48"/>
                  </a:cubicBezTo>
                  <a:cubicBezTo>
                    <a:pt x="16" y="48"/>
                    <a:pt x="16" y="48"/>
                    <a:pt x="15" y="48"/>
                  </a:cubicBezTo>
                  <a:cubicBezTo>
                    <a:pt x="12" y="48"/>
                    <a:pt x="14" y="49"/>
                    <a:pt x="14" y="52"/>
                  </a:cubicBezTo>
                  <a:cubicBezTo>
                    <a:pt x="14" y="54"/>
                    <a:pt x="13" y="55"/>
                    <a:pt x="12" y="55"/>
                  </a:cubicBezTo>
                  <a:cubicBezTo>
                    <a:pt x="12" y="55"/>
                    <a:pt x="12" y="55"/>
                    <a:pt x="12" y="55"/>
                  </a:cubicBezTo>
                  <a:cubicBezTo>
                    <a:pt x="12" y="55"/>
                    <a:pt x="12" y="55"/>
                    <a:pt x="11" y="55"/>
                  </a:cubicBezTo>
                  <a:cubicBezTo>
                    <a:pt x="11" y="55"/>
                    <a:pt x="10" y="55"/>
                    <a:pt x="9" y="56"/>
                  </a:cubicBezTo>
                  <a:cubicBezTo>
                    <a:pt x="8" y="57"/>
                    <a:pt x="9" y="60"/>
                    <a:pt x="8" y="61"/>
                  </a:cubicBezTo>
                  <a:cubicBezTo>
                    <a:pt x="8" y="62"/>
                    <a:pt x="6" y="62"/>
                    <a:pt x="6" y="63"/>
                  </a:cubicBezTo>
                  <a:cubicBezTo>
                    <a:pt x="5" y="64"/>
                    <a:pt x="6" y="65"/>
                    <a:pt x="6" y="66"/>
                  </a:cubicBezTo>
                  <a:cubicBezTo>
                    <a:pt x="6" y="67"/>
                    <a:pt x="4" y="69"/>
                    <a:pt x="5" y="71"/>
                  </a:cubicBezTo>
                  <a:cubicBezTo>
                    <a:pt x="6" y="74"/>
                    <a:pt x="14" y="73"/>
                    <a:pt x="12" y="76"/>
                  </a:cubicBezTo>
                  <a:cubicBezTo>
                    <a:pt x="11" y="77"/>
                    <a:pt x="7" y="78"/>
                    <a:pt x="5" y="78"/>
                  </a:cubicBezTo>
                  <a:cubicBezTo>
                    <a:pt x="3" y="79"/>
                    <a:pt x="4" y="80"/>
                    <a:pt x="3" y="82"/>
                  </a:cubicBezTo>
                  <a:cubicBezTo>
                    <a:pt x="3" y="85"/>
                    <a:pt x="0" y="84"/>
                    <a:pt x="2" y="87"/>
                  </a:cubicBezTo>
                  <a:cubicBezTo>
                    <a:pt x="3" y="90"/>
                    <a:pt x="5" y="92"/>
                    <a:pt x="6" y="95"/>
                  </a:cubicBezTo>
                  <a:cubicBezTo>
                    <a:pt x="7" y="96"/>
                    <a:pt x="4" y="96"/>
                    <a:pt x="4" y="97"/>
                  </a:cubicBezTo>
                  <a:cubicBezTo>
                    <a:pt x="3" y="99"/>
                    <a:pt x="4" y="102"/>
                    <a:pt x="3" y="103"/>
                  </a:cubicBezTo>
                  <a:cubicBezTo>
                    <a:pt x="5" y="108"/>
                    <a:pt x="5" y="109"/>
                    <a:pt x="11" y="111"/>
                  </a:cubicBezTo>
                  <a:cubicBezTo>
                    <a:pt x="14" y="112"/>
                    <a:pt x="18" y="113"/>
                    <a:pt x="21" y="113"/>
                  </a:cubicBezTo>
                  <a:cubicBezTo>
                    <a:pt x="26" y="113"/>
                    <a:pt x="31" y="114"/>
                    <a:pt x="37" y="115"/>
                  </a:cubicBezTo>
                  <a:cubicBezTo>
                    <a:pt x="39" y="115"/>
                    <a:pt x="43" y="115"/>
                    <a:pt x="46" y="115"/>
                  </a:cubicBezTo>
                  <a:cubicBezTo>
                    <a:pt x="47" y="115"/>
                    <a:pt x="48" y="115"/>
                    <a:pt x="49" y="115"/>
                  </a:cubicBezTo>
                  <a:cubicBezTo>
                    <a:pt x="51" y="115"/>
                    <a:pt x="52" y="114"/>
                    <a:pt x="53" y="114"/>
                  </a:cubicBezTo>
                  <a:cubicBezTo>
                    <a:pt x="54" y="114"/>
                    <a:pt x="55" y="115"/>
                    <a:pt x="57" y="116"/>
                  </a:cubicBezTo>
                  <a:cubicBezTo>
                    <a:pt x="60" y="120"/>
                    <a:pt x="62" y="122"/>
                    <a:pt x="66" y="123"/>
                  </a:cubicBezTo>
                  <a:cubicBezTo>
                    <a:pt x="68" y="124"/>
                    <a:pt x="71" y="124"/>
                    <a:pt x="73" y="125"/>
                  </a:cubicBezTo>
                  <a:cubicBezTo>
                    <a:pt x="71" y="125"/>
                    <a:pt x="70" y="124"/>
                    <a:pt x="68" y="124"/>
                  </a:cubicBezTo>
                  <a:cubicBezTo>
                    <a:pt x="68" y="124"/>
                    <a:pt x="67" y="124"/>
                    <a:pt x="67" y="124"/>
                  </a:cubicBezTo>
                  <a:cubicBezTo>
                    <a:pt x="65" y="125"/>
                    <a:pt x="66" y="126"/>
                    <a:pt x="65" y="127"/>
                  </a:cubicBezTo>
                  <a:cubicBezTo>
                    <a:pt x="64" y="127"/>
                    <a:pt x="64" y="127"/>
                    <a:pt x="63" y="127"/>
                  </a:cubicBezTo>
                  <a:cubicBezTo>
                    <a:pt x="62" y="127"/>
                    <a:pt x="61" y="127"/>
                    <a:pt x="60" y="127"/>
                  </a:cubicBezTo>
                  <a:cubicBezTo>
                    <a:pt x="59" y="127"/>
                    <a:pt x="58" y="127"/>
                    <a:pt x="57" y="127"/>
                  </a:cubicBezTo>
                  <a:cubicBezTo>
                    <a:pt x="57" y="127"/>
                    <a:pt x="57" y="127"/>
                    <a:pt x="57" y="127"/>
                  </a:cubicBezTo>
                  <a:cubicBezTo>
                    <a:pt x="54" y="127"/>
                    <a:pt x="51" y="128"/>
                    <a:pt x="48" y="128"/>
                  </a:cubicBezTo>
                  <a:cubicBezTo>
                    <a:pt x="46" y="128"/>
                    <a:pt x="45" y="127"/>
                    <a:pt x="43" y="127"/>
                  </a:cubicBezTo>
                  <a:cubicBezTo>
                    <a:pt x="40" y="126"/>
                    <a:pt x="39" y="123"/>
                    <a:pt x="35" y="123"/>
                  </a:cubicBezTo>
                  <a:cubicBezTo>
                    <a:pt x="35" y="123"/>
                    <a:pt x="35" y="123"/>
                    <a:pt x="35" y="123"/>
                  </a:cubicBezTo>
                  <a:cubicBezTo>
                    <a:pt x="34" y="123"/>
                    <a:pt x="33" y="123"/>
                    <a:pt x="32" y="123"/>
                  </a:cubicBezTo>
                  <a:cubicBezTo>
                    <a:pt x="32" y="123"/>
                    <a:pt x="31" y="123"/>
                    <a:pt x="31" y="123"/>
                  </a:cubicBezTo>
                  <a:cubicBezTo>
                    <a:pt x="31" y="123"/>
                    <a:pt x="30" y="123"/>
                    <a:pt x="30" y="123"/>
                  </a:cubicBezTo>
                  <a:cubicBezTo>
                    <a:pt x="29" y="123"/>
                    <a:pt x="29" y="123"/>
                    <a:pt x="28" y="123"/>
                  </a:cubicBezTo>
                  <a:cubicBezTo>
                    <a:pt x="28" y="123"/>
                    <a:pt x="28" y="123"/>
                    <a:pt x="28" y="123"/>
                  </a:cubicBezTo>
                  <a:cubicBezTo>
                    <a:pt x="26" y="123"/>
                    <a:pt x="25" y="123"/>
                    <a:pt x="24" y="123"/>
                  </a:cubicBezTo>
                  <a:cubicBezTo>
                    <a:pt x="23" y="123"/>
                    <a:pt x="22" y="123"/>
                    <a:pt x="21" y="122"/>
                  </a:cubicBezTo>
                  <a:cubicBezTo>
                    <a:pt x="21" y="122"/>
                    <a:pt x="17" y="121"/>
                    <a:pt x="15" y="121"/>
                  </a:cubicBezTo>
                  <a:cubicBezTo>
                    <a:pt x="15" y="121"/>
                    <a:pt x="14" y="121"/>
                    <a:pt x="14" y="121"/>
                  </a:cubicBezTo>
                  <a:cubicBezTo>
                    <a:pt x="14" y="121"/>
                    <a:pt x="14" y="121"/>
                    <a:pt x="14" y="121"/>
                  </a:cubicBezTo>
                  <a:cubicBezTo>
                    <a:pt x="15" y="123"/>
                    <a:pt x="17" y="125"/>
                    <a:pt x="18" y="128"/>
                  </a:cubicBezTo>
                  <a:cubicBezTo>
                    <a:pt x="14" y="128"/>
                    <a:pt x="20" y="134"/>
                    <a:pt x="21" y="135"/>
                  </a:cubicBezTo>
                  <a:cubicBezTo>
                    <a:pt x="26" y="139"/>
                    <a:pt x="32" y="143"/>
                    <a:pt x="37" y="147"/>
                  </a:cubicBezTo>
                  <a:cubicBezTo>
                    <a:pt x="39" y="148"/>
                    <a:pt x="42" y="149"/>
                    <a:pt x="45" y="150"/>
                  </a:cubicBezTo>
                  <a:cubicBezTo>
                    <a:pt x="47" y="151"/>
                    <a:pt x="49" y="153"/>
                    <a:pt x="52" y="153"/>
                  </a:cubicBezTo>
                  <a:cubicBezTo>
                    <a:pt x="51" y="153"/>
                    <a:pt x="51" y="153"/>
                    <a:pt x="51" y="153"/>
                  </a:cubicBezTo>
                  <a:cubicBezTo>
                    <a:pt x="50" y="153"/>
                    <a:pt x="49" y="153"/>
                    <a:pt x="48" y="153"/>
                  </a:cubicBezTo>
                  <a:cubicBezTo>
                    <a:pt x="47" y="153"/>
                    <a:pt x="46" y="153"/>
                    <a:pt x="46" y="153"/>
                  </a:cubicBezTo>
                  <a:cubicBezTo>
                    <a:pt x="45" y="153"/>
                    <a:pt x="44" y="153"/>
                    <a:pt x="44" y="153"/>
                  </a:cubicBezTo>
                  <a:cubicBezTo>
                    <a:pt x="46" y="154"/>
                    <a:pt x="50" y="156"/>
                    <a:pt x="54" y="156"/>
                  </a:cubicBezTo>
                  <a:cubicBezTo>
                    <a:pt x="55" y="156"/>
                    <a:pt x="56" y="156"/>
                    <a:pt x="57" y="156"/>
                  </a:cubicBezTo>
                  <a:cubicBezTo>
                    <a:pt x="57" y="156"/>
                    <a:pt x="58" y="155"/>
                    <a:pt x="58" y="155"/>
                  </a:cubicBezTo>
                  <a:cubicBezTo>
                    <a:pt x="59" y="155"/>
                    <a:pt x="58" y="154"/>
                    <a:pt x="58" y="154"/>
                  </a:cubicBezTo>
                  <a:cubicBezTo>
                    <a:pt x="58" y="154"/>
                    <a:pt x="58" y="154"/>
                    <a:pt x="58" y="154"/>
                  </a:cubicBezTo>
                  <a:cubicBezTo>
                    <a:pt x="59" y="153"/>
                    <a:pt x="59" y="153"/>
                    <a:pt x="60" y="153"/>
                  </a:cubicBezTo>
                  <a:cubicBezTo>
                    <a:pt x="61" y="153"/>
                    <a:pt x="62" y="153"/>
                    <a:pt x="63" y="154"/>
                  </a:cubicBezTo>
                  <a:cubicBezTo>
                    <a:pt x="65" y="154"/>
                    <a:pt x="69" y="155"/>
                    <a:pt x="72" y="155"/>
                  </a:cubicBezTo>
                  <a:cubicBezTo>
                    <a:pt x="72" y="155"/>
                    <a:pt x="72" y="155"/>
                    <a:pt x="73" y="155"/>
                  </a:cubicBezTo>
                  <a:cubicBezTo>
                    <a:pt x="77" y="153"/>
                    <a:pt x="70" y="151"/>
                    <a:pt x="68" y="151"/>
                  </a:cubicBezTo>
                  <a:cubicBezTo>
                    <a:pt x="69" y="149"/>
                    <a:pt x="71" y="147"/>
                    <a:pt x="73" y="147"/>
                  </a:cubicBezTo>
                  <a:cubicBezTo>
                    <a:pt x="74" y="147"/>
                    <a:pt x="75" y="148"/>
                    <a:pt x="75" y="148"/>
                  </a:cubicBezTo>
                  <a:cubicBezTo>
                    <a:pt x="81" y="151"/>
                    <a:pt x="76" y="150"/>
                    <a:pt x="76" y="152"/>
                  </a:cubicBezTo>
                  <a:cubicBezTo>
                    <a:pt x="75" y="153"/>
                    <a:pt x="78" y="153"/>
                    <a:pt x="80" y="153"/>
                  </a:cubicBezTo>
                  <a:cubicBezTo>
                    <a:pt x="81" y="153"/>
                    <a:pt x="81" y="153"/>
                    <a:pt x="81" y="153"/>
                  </a:cubicBezTo>
                  <a:cubicBezTo>
                    <a:pt x="81" y="151"/>
                    <a:pt x="81" y="151"/>
                    <a:pt x="81" y="151"/>
                  </a:cubicBezTo>
                  <a:cubicBezTo>
                    <a:pt x="81" y="151"/>
                    <a:pt x="82" y="149"/>
                    <a:pt x="83" y="149"/>
                  </a:cubicBezTo>
                  <a:cubicBezTo>
                    <a:pt x="84" y="148"/>
                    <a:pt x="90" y="148"/>
                    <a:pt x="88" y="145"/>
                  </a:cubicBezTo>
                  <a:cubicBezTo>
                    <a:pt x="91" y="146"/>
                    <a:pt x="83" y="150"/>
                    <a:pt x="83" y="152"/>
                  </a:cubicBezTo>
                  <a:cubicBezTo>
                    <a:pt x="82" y="158"/>
                    <a:pt x="90" y="162"/>
                    <a:pt x="94" y="164"/>
                  </a:cubicBezTo>
                  <a:cubicBezTo>
                    <a:pt x="97" y="165"/>
                    <a:pt x="100" y="167"/>
                    <a:pt x="103" y="167"/>
                  </a:cubicBezTo>
                  <a:cubicBezTo>
                    <a:pt x="104" y="167"/>
                    <a:pt x="104" y="167"/>
                    <a:pt x="104" y="167"/>
                  </a:cubicBezTo>
                  <a:cubicBezTo>
                    <a:pt x="104" y="167"/>
                    <a:pt x="105" y="167"/>
                    <a:pt x="105" y="167"/>
                  </a:cubicBezTo>
                  <a:cubicBezTo>
                    <a:pt x="107" y="167"/>
                    <a:pt x="108" y="167"/>
                    <a:pt x="109" y="167"/>
                  </a:cubicBezTo>
                  <a:cubicBezTo>
                    <a:pt x="111" y="167"/>
                    <a:pt x="112" y="167"/>
                    <a:pt x="114" y="167"/>
                  </a:cubicBezTo>
                  <a:cubicBezTo>
                    <a:pt x="114" y="167"/>
                    <a:pt x="114" y="167"/>
                    <a:pt x="114" y="167"/>
                  </a:cubicBezTo>
                  <a:cubicBezTo>
                    <a:pt x="111" y="165"/>
                    <a:pt x="108" y="164"/>
                    <a:pt x="104" y="164"/>
                  </a:cubicBezTo>
                  <a:cubicBezTo>
                    <a:pt x="103" y="164"/>
                    <a:pt x="102" y="164"/>
                    <a:pt x="100" y="165"/>
                  </a:cubicBezTo>
                  <a:cubicBezTo>
                    <a:pt x="101" y="163"/>
                    <a:pt x="104" y="162"/>
                    <a:pt x="107" y="162"/>
                  </a:cubicBezTo>
                  <a:cubicBezTo>
                    <a:pt x="112" y="162"/>
                    <a:pt x="117" y="163"/>
                    <a:pt x="119" y="164"/>
                  </a:cubicBezTo>
                  <a:cubicBezTo>
                    <a:pt x="119" y="163"/>
                    <a:pt x="119" y="163"/>
                    <a:pt x="119" y="163"/>
                  </a:cubicBezTo>
                  <a:cubicBezTo>
                    <a:pt x="120" y="163"/>
                    <a:pt x="120" y="164"/>
                    <a:pt x="120" y="164"/>
                  </a:cubicBezTo>
                  <a:cubicBezTo>
                    <a:pt x="120" y="164"/>
                    <a:pt x="120" y="164"/>
                    <a:pt x="120" y="164"/>
                  </a:cubicBezTo>
                  <a:cubicBezTo>
                    <a:pt x="121" y="164"/>
                    <a:pt x="122" y="163"/>
                    <a:pt x="123" y="162"/>
                  </a:cubicBezTo>
                  <a:cubicBezTo>
                    <a:pt x="123" y="162"/>
                    <a:pt x="123" y="162"/>
                    <a:pt x="123" y="162"/>
                  </a:cubicBezTo>
                  <a:cubicBezTo>
                    <a:pt x="126" y="162"/>
                    <a:pt x="127" y="165"/>
                    <a:pt x="129" y="166"/>
                  </a:cubicBezTo>
                  <a:cubicBezTo>
                    <a:pt x="130" y="167"/>
                    <a:pt x="133" y="167"/>
                    <a:pt x="135" y="167"/>
                  </a:cubicBezTo>
                  <a:cubicBezTo>
                    <a:pt x="136" y="168"/>
                    <a:pt x="136" y="168"/>
                    <a:pt x="137" y="168"/>
                  </a:cubicBezTo>
                  <a:cubicBezTo>
                    <a:pt x="138" y="168"/>
                    <a:pt x="138" y="168"/>
                    <a:pt x="139" y="168"/>
                  </a:cubicBezTo>
                  <a:cubicBezTo>
                    <a:pt x="139" y="167"/>
                    <a:pt x="140" y="167"/>
                    <a:pt x="140" y="167"/>
                  </a:cubicBezTo>
                  <a:cubicBezTo>
                    <a:pt x="141" y="167"/>
                    <a:pt x="142" y="168"/>
                    <a:pt x="143" y="168"/>
                  </a:cubicBezTo>
                  <a:cubicBezTo>
                    <a:pt x="145" y="168"/>
                    <a:pt x="147" y="169"/>
                    <a:pt x="150" y="169"/>
                  </a:cubicBezTo>
                  <a:cubicBezTo>
                    <a:pt x="150" y="169"/>
                    <a:pt x="150" y="169"/>
                    <a:pt x="150" y="169"/>
                  </a:cubicBezTo>
                  <a:cubicBezTo>
                    <a:pt x="155" y="169"/>
                    <a:pt x="158" y="166"/>
                    <a:pt x="162" y="166"/>
                  </a:cubicBezTo>
                  <a:cubicBezTo>
                    <a:pt x="162" y="166"/>
                    <a:pt x="162" y="166"/>
                    <a:pt x="162" y="166"/>
                  </a:cubicBezTo>
                  <a:cubicBezTo>
                    <a:pt x="164" y="166"/>
                    <a:pt x="166" y="167"/>
                    <a:pt x="168" y="168"/>
                  </a:cubicBezTo>
                  <a:cubicBezTo>
                    <a:pt x="169" y="169"/>
                    <a:pt x="170" y="170"/>
                    <a:pt x="171" y="170"/>
                  </a:cubicBezTo>
                  <a:cubicBezTo>
                    <a:pt x="171" y="170"/>
                    <a:pt x="172" y="170"/>
                    <a:pt x="172" y="170"/>
                  </a:cubicBezTo>
                  <a:cubicBezTo>
                    <a:pt x="172" y="170"/>
                    <a:pt x="172" y="170"/>
                    <a:pt x="172" y="170"/>
                  </a:cubicBezTo>
                  <a:cubicBezTo>
                    <a:pt x="172" y="170"/>
                    <a:pt x="172" y="170"/>
                    <a:pt x="172" y="170"/>
                  </a:cubicBezTo>
                  <a:cubicBezTo>
                    <a:pt x="172" y="170"/>
                    <a:pt x="173" y="170"/>
                    <a:pt x="173" y="170"/>
                  </a:cubicBezTo>
                  <a:cubicBezTo>
                    <a:pt x="175" y="171"/>
                    <a:pt x="177" y="173"/>
                    <a:pt x="179" y="173"/>
                  </a:cubicBezTo>
                  <a:cubicBezTo>
                    <a:pt x="182" y="173"/>
                    <a:pt x="184" y="173"/>
                    <a:pt x="186" y="175"/>
                  </a:cubicBezTo>
                  <a:cubicBezTo>
                    <a:pt x="186" y="174"/>
                    <a:pt x="187" y="173"/>
                    <a:pt x="188" y="172"/>
                  </a:cubicBezTo>
                  <a:cubicBezTo>
                    <a:pt x="188" y="172"/>
                    <a:pt x="188" y="172"/>
                    <a:pt x="189" y="172"/>
                  </a:cubicBezTo>
                  <a:cubicBezTo>
                    <a:pt x="189" y="172"/>
                    <a:pt x="189" y="172"/>
                    <a:pt x="190" y="172"/>
                  </a:cubicBezTo>
                  <a:cubicBezTo>
                    <a:pt x="190" y="173"/>
                    <a:pt x="190" y="173"/>
                    <a:pt x="191" y="173"/>
                  </a:cubicBezTo>
                  <a:cubicBezTo>
                    <a:pt x="191" y="173"/>
                    <a:pt x="191" y="173"/>
                    <a:pt x="191" y="173"/>
                  </a:cubicBezTo>
                  <a:cubicBezTo>
                    <a:pt x="191" y="173"/>
                    <a:pt x="192" y="172"/>
                    <a:pt x="193" y="172"/>
                  </a:cubicBezTo>
                  <a:cubicBezTo>
                    <a:pt x="193" y="172"/>
                    <a:pt x="194" y="172"/>
                    <a:pt x="194" y="172"/>
                  </a:cubicBezTo>
                  <a:cubicBezTo>
                    <a:pt x="194" y="172"/>
                    <a:pt x="194" y="172"/>
                    <a:pt x="194" y="172"/>
                  </a:cubicBezTo>
                  <a:cubicBezTo>
                    <a:pt x="195" y="171"/>
                    <a:pt x="195" y="171"/>
                    <a:pt x="195" y="171"/>
                  </a:cubicBezTo>
                  <a:cubicBezTo>
                    <a:pt x="195" y="171"/>
                    <a:pt x="195" y="171"/>
                    <a:pt x="195" y="171"/>
                  </a:cubicBezTo>
                  <a:cubicBezTo>
                    <a:pt x="195" y="171"/>
                    <a:pt x="195" y="171"/>
                    <a:pt x="195" y="171"/>
                  </a:cubicBezTo>
                  <a:cubicBezTo>
                    <a:pt x="194" y="171"/>
                    <a:pt x="194" y="171"/>
                    <a:pt x="195" y="171"/>
                  </a:cubicBezTo>
                  <a:cubicBezTo>
                    <a:pt x="195" y="170"/>
                    <a:pt x="195" y="170"/>
                    <a:pt x="196" y="169"/>
                  </a:cubicBezTo>
                  <a:cubicBezTo>
                    <a:pt x="194" y="168"/>
                    <a:pt x="192" y="168"/>
                    <a:pt x="191" y="167"/>
                  </a:cubicBezTo>
                  <a:cubicBezTo>
                    <a:pt x="190" y="167"/>
                    <a:pt x="189" y="166"/>
                    <a:pt x="188" y="165"/>
                  </a:cubicBezTo>
                  <a:cubicBezTo>
                    <a:pt x="186" y="163"/>
                    <a:pt x="183" y="162"/>
                    <a:pt x="180" y="161"/>
                  </a:cubicBezTo>
                  <a:cubicBezTo>
                    <a:pt x="178" y="160"/>
                    <a:pt x="175" y="159"/>
                    <a:pt x="172" y="158"/>
                  </a:cubicBezTo>
                  <a:cubicBezTo>
                    <a:pt x="170" y="157"/>
                    <a:pt x="168" y="156"/>
                    <a:pt x="165" y="154"/>
                  </a:cubicBezTo>
                  <a:cubicBezTo>
                    <a:pt x="171" y="156"/>
                    <a:pt x="176" y="159"/>
                    <a:pt x="182" y="160"/>
                  </a:cubicBezTo>
                  <a:cubicBezTo>
                    <a:pt x="186" y="162"/>
                    <a:pt x="189" y="165"/>
                    <a:pt x="194" y="167"/>
                  </a:cubicBezTo>
                  <a:cubicBezTo>
                    <a:pt x="196" y="168"/>
                    <a:pt x="198" y="168"/>
                    <a:pt x="201" y="169"/>
                  </a:cubicBezTo>
                  <a:cubicBezTo>
                    <a:pt x="203" y="171"/>
                    <a:pt x="206" y="172"/>
                    <a:pt x="208" y="174"/>
                  </a:cubicBezTo>
                  <a:cubicBezTo>
                    <a:pt x="210" y="175"/>
                    <a:pt x="212" y="178"/>
                    <a:pt x="215" y="178"/>
                  </a:cubicBezTo>
                  <a:cubicBezTo>
                    <a:pt x="215" y="178"/>
                    <a:pt x="215" y="178"/>
                    <a:pt x="215" y="178"/>
                  </a:cubicBezTo>
                  <a:cubicBezTo>
                    <a:pt x="220" y="177"/>
                    <a:pt x="215" y="173"/>
                    <a:pt x="213" y="172"/>
                  </a:cubicBezTo>
                  <a:cubicBezTo>
                    <a:pt x="211" y="170"/>
                    <a:pt x="209" y="168"/>
                    <a:pt x="207" y="167"/>
                  </a:cubicBezTo>
                  <a:cubicBezTo>
                    <a:pt x="206" y="166"/>
                    <a:pt x="206" y="166"/>
                    <a:pt x="205" y="166"/>
                  </a:cubicBezTo>
                  <a:cubicBezTo>
                    <a:pt x="205" y="166"/>
                    <a:pt x="204" y="166"/>
                    <a:pt x="204" y="166"/>
                  </a:cubicBezTo>
                  <a:cubicBezTo>
                    <a:pt x="204" y="166"/>
                    <a:pt x="203" y="167"/>
                    <a:pt x="202" y="167"/>
                  </a:cubicBezTo>
                  <a:cubicBezTo>
                    <a:pt x="202" y="167"/>
                    <a:pt x="202" y="167"/>
                    <a:pt x="202" y="167"/>
                  </a:cubicBezTo>
                  <a:cubicBezTo>
                    <a:pt x="202" y="167"/>
                    <a:pt x="200" y="165"/>
                    <a:pt x="200" y="164"/>
                  </a:cubicBezTo>
                  <a:cubicBezTo>
                    <a:pt x="198" y="164"/>
                    <a:pt x="197" y="164"/>
                    <a:pt x="196" y="163"/>
                  </a:cubicBezTo>
                  <a:cubicBezTo>
                    <a:pt x="194" y="162"/>
                    <a:pt x="195" y="162"/>
                    <a:pt x="196" y="162"/>
                  </a:cubicBezTo>
                  <a:cubicBezTo>
                    <a:pt x="198" y="162"/>
                    <a:pt x="202" y="163"/>
                    <a:pt x="202" y="163"/>
                  </a:cubicBezTo>
                  <a:cubicBezTo>
                    <a:pt x="203" y="163"/>
                    <a:pt x="203" y="163"/>
                    <a:pt x="204" y="163"/>
                  </a:cubicBezTo>
                  <a:cubicBezTo>
                    <a:pt x="204" y="163"/>
                    <a:pt x="205" y="163"/>
                    <a:pt x="206" y="163"/>
                  </a:cubicBezTo>
                  <a:cubicBezTo>
                    <a:pt x="206" y="163"/>
                    <a:pt x="207" y="163"/>
                    <a:pt x="208" y="163"/>
                  </a:cubicBezTo>
                  <a:cubicBezTo>
                    <a:pt x="209" y="163"/>
                    <a:pt x="209" y="163"/>
                    <a:pt x="210" y="163"/>
                  </a:cubicBezTo>
                  <a:cubicBezTo>
                    <a:pt x="213" y="163"/>
                    <a:pt x="215" y="164"/>
                    <a:pt x="218" y="164"/>
                  </a:cubicBezTo>
                  <a:cubicBezTo>
                    <a:pt x="221" y="165"/>
                    <a:pt x="223" y="165"/>
                    <a:pt x="225" y="166"/>
                  </a:cubicBezTo>
                  <a:cubicBezTo>
                    <a:pt x="226" y="167"/>
                    <a:pt x="227" y="167"/>
                    <a:pt x="227" y="167"/>
                  </a:cubicBezTo>
                  <a:cubicBezTo>
                    <a:pt x="228" y="167"/>
                    <a:pt x="229" y="166"/>
                    <a:pt x="230" y="166"/>
                  </a:cubicBezTo>
                  <a:cubicBezTo>
                    <a:pt x="230" y="166"/>
                    <a:pt x="230" y="166"/>
                    <a:pt x="231" y="166"/>
                  </a:cubicBezTo>
                  <a:cubicBezTo>
                    <a:pt x="233" y="166"/>
                    <a:pt x="235" y="167"/>
                    <a:pt x="237" y="168"/>
                  </a:cubicBezTo>
                  <a:cubicBezTo>
                    <a:pt x="237" y="168"/>
                    <a:pt x="237" y="168"/>
                    <a:pt x="237" y="168"/>
                  </a:cubicBezTo>
                  <a:cubicBezTo>
                    <a:pt x="238" y="168"/>
                    <a:pt x="238" y="168"/>
                    <a:pt x="238" y="168"/>
                  </a:cubicBezTo>
                  <a:cubicBezTo>
                    <a:pt x="238" y="168"/>
                    <a:pt x="238" y="168"/>
                    <a:pt x="238" y="168"/>
                  </a:cubicBezTo>
                  <a:cubicBezTo>
                    <a:pt x="238" y="168"/>
                    <a:pt x="239" y="168"/>
                    <a:pt x="240" y="169"/>
                  </a:cubicBezTo>
                  <a:cubicBezTo>
                    <a:pt x="241" y="171"/>
                    <a:pt x="242" y="173"/>
                    <a:pt x="243" y="173"/>
                  </a:cubicBezTo>
                  <a:cubicBezTo>
                    <a:pt x="243" y="173"/>
                    <a:pt x="244" y="173"/>
                    <a:pt x="244" y="173"/>
                  </a:cubicBezTo>
                  <a:cubicBezTo>
                    <a:pt x="246" y="173"/>
                    <a:pt x="248" y="171"/>
                    <a:pt x="250" y="171"/>
                  </a:cubicBezTo>
                  <a:cubicBezTo>
                    <a:pt x="251" y="171"/>
                    <a:pt x="251" y="171"/>
                    <a:pt x="251" y="171"/>
                  </a:cubicBezTo>
                  <a:cubicBezTo>
                    <a:pt x="252" y="171"/>
                    <a:pt x="253" y="171"/>
                    <a:pt x="254" y="171"/>
                  </a:cubicBezTo>
                  <a:cubicBezTo>
                    <a:pt x="255" y="171"/>
                    <a:pt x="256" y="172"/>
                    <a:pt x="257" y="172"/>
                  </a:cubicBezTo>
                  <a:cubicBezTo>
                    <a:pt x="257" y="172"/>
                    <a:pt x="258" y="172"/>
                    <a:pt x="258" y="172"/>
                  </a:cubicBezTo>
                  <a:cubicBezTo>
                    <a:pt x="262" y="171"/>
                    <a:pt x="267" y="172"/>
                    <a:pt x="266" y="167"/>
                  </a:cubicBezTo>
                  <a:cubicBezTo>
                    <a:pt x="266" y="163"/>
                    <a:pt x="263" y="156"/>
                    <a:pt x="260" y="153"/>
                  </a:cubicBezTo>
                  <a:cubicBezTo>
                    <a:pt x="259" y="153"/>
                    <a:pt x="258" y="153"/>
                    <a:pt x="258" y="153"/>
                  </a:cubicBezTo>
                  <a:cubicBezTo>
                    <a:pt x="257" y="153"/>
                    <a:pt x="257" y="153"/>
                    <a:pt x="257" y="153"/>
                  </a:cubicBezTo>
                  <a:cubicBezTo>
                    <a:pt x="256" y="153"/>
                    <a:pt x="256" y="154"/>
                    <a:pt x="255" y="154"/>
                  </a:cubicBezTo>
                  <a:cubicBezTo>
                    <a:pt x="255" y="154"/>
                    <a:pt x="254" y="154"/>
                    <a:pt x="254" y="154"/>
                  </a:cubicBezTo>
                  <a:cubicBezTo>
                    <a:pt x="253" y="153"/>
                    <a:pt x="252" y="152"/>
                    <a:pt x="251" y="152"/>
                  </a:cubicBezTo>
                  <a:cubicBezTo>
                    <a:pt x="251" y="152"/>
                    <a:pt x="251" y="152"/>
                    <a:pt x="251" y="152"/>
                  </a:cubicBezTo>
                  <a:cubicBezTo>
                    <a:pt x="250" y="152"/>
                    <a:pt x="250" y="152"/>
                    <a:pt x="249" y="152"/>
                  </a:cubicBezTo>
                  <a:cubicBezTo>
                    <a:pt x="249" y="152"/>
                    <a:pt x="249" y="152"/>
                    <a:pt x="249" y="152"/>
                  </a:cubicBezTo>
                  <a:cubicBezTo>
                    <a:pt x="249" y="152"/>
                    <a:pt x="248" y="152"/>
                    <a:pt x="248" y="152"/>
                  </a:cubicBezTo>
                  <a:cubicBezTo>
                    <a:pt x="246" y="151"/>
                    <a:pt x="246" y="151"/>
                    <a:pt x="246" y="151"/>
                  </a:cubicBezTo>
                  <a:cubicBezTo>
                    <a:pt x="245" y="148"/>
                    <a:pt x="248" y="149"/>
                    <a:pt x="249" y="148"/>
                  </a:cubicBezTo>
                  <a:cubicBezTo>
                    <a:pt x="250" y="148"/>
                    <a:pt x="250" y="146"/>
                    <a:pt x="252" y="146"/>
                  </a:cubicBezTo>
                  <a:cubicBezTo>
                    <a:pt x="252" y="146"/>
                    <a:pt x="252" y="146"/>
                    <a:pt x="252" y="146"/>
                  </a:cubicBezTo>
                  <a:cubicBezTo>
                    <a:pt x="252" y="148"/>
                    <a:pt x="253" y="149"/>
                    <a:pt x="254" y="149"/>
                  </a:cubicBezTo>
                  <a:cubicBezTo>
                    <a:pt x="255" y="149"/>
                    <a:pt x="255" y="148"/>
                    <a:pt x="255" y="147"/>
                  </a:cubicBezTo>
                  <a:cubicBezTo>
                    <a:pt x="255" y="144"/>
                    <a:pt x="258" y="143"/>
                    <a:pt x="259" y="141"/>
                  </a:cubicBezTo>
                  <a:cubicBezTo>
                    <a:pt x="258" y="141"/>
                    <a:pt x="258" y="141"/>
                    <a:pt x="258" y="141"/>
                  </a:cubicBezTo>
                  <a:cubicBezTo>
                    <a:pt x="257" y="141"/>
                    <a:pt x="257" y="141"/>
                    <a:pt x="257" y="141"/>
                  </a:cubicBezTo>
                  <a:cubicBezTo>
                    <a:pt x="257" y="141"/>
                    <a:pt x="256" y="141"/>
                    <a:pt x="256" y="141"/>
                  </a:cubicBezTo>
                  <a:cubicBezTo>
                    <a:pt x="256" y="141"/>
                    <a:pt x="255" y="141"/>
                    <a:pt x="255" y="141"/>
                  </a:cubicBezTo>
                  <a:cubicBezTo>
                    <a:pt x="256" y="139"/>
                    <a:pt x="257" y="139"/>
                    <a:pt x="257" y="139"/>
                  </a:cubicBezTo>
                  <a:cubicBezTo>
                    <a:pt x="258" y="139"/>
                    <a:pt x="259" y="140"/>
                    <a:pt x="261" y="140"/>
                  </a:cubicBezTo>
                  <a:cubicBezTo>
                    <a:pt x="261" y="141"/>
                    <a:pt x="261" y="141"/>
                    <a:pt x="261" y="141"/>
                  </a:cubicBezTo>
                  <a:cubicBezTo>
                    <a:pt x="261" y="141"/>
                    <a:pt x="261" y="141"/>
                    <a:pt x="262" y="140"/>
                  </a:cubicBezTo>
                  <a:cubicBezTo>
                    <a:pt x="262" y="140"/>
                    <a:pt x="262" y="140"/>
                    <a:pt x="262" y="140"/>
                  </a:cubicBezTo>
                  <a:cubicBezTo>
                    <a:pt x="262" y="140"/>
                    <a:pt x="262" y="140"/>
                    <a:pt x="262" y="140"/>
                  </a:cubicBezTo>
                  <a:cubicBezTo>
                    <a:pt x="263" y="141"/>
                    <a:pt x="264" y="142"/>
                    <a:pt x="265" y="143"/>
                  </a:cubicBezTo>
                  <a:cubicBezTo>
                    <a:pt x="263" y="142"/>
                    <a:pt x="263" y="142"/>
                    <a:pt x="262" y="142"/>
                  </a:cubicBezTo>
                  <a:cubicBezTo>
                    <a:pt x="261" y="142"/>
                    <a:pt x="260" y="143"/>
                    <a:pt x="259" y="143"/>
                  </a:cubicBezTo>
                  <a:cubicBezTo>
                    <a:pt x="260" y="143"/>
                    <a:pt x="260" y="144"/>
                    <a:pt x="261" y="144"/>
                  </a:cubicBezTo>
                  <a:cubicBezTo>
                    <a:pt x="260" y="144"/>
                    <a:pt x="256" y="143"/>
                    <a:pt x="257" y="146"/>
                  </a:cubicBezTo>
                  <a:cubicBezTo>
                    <a:pt x="258" y="147"/>
                    <a:pt x="261" y="149"/>
                    <a:pt x="262" y="150"/>
                  </a:cubicBezTo>
                  <a:cubicBezTo>
                    <a:pt x="262" y="149"/>
                    <a:pt x="262" y="148"/>
                    <a:pt x="262" y="147"/>
                  </a:cubicBezTo>
                  <a:cubicBezTo>
                    <a:pt x="262" y="149"/>
                    <a:pt x="264" y="148"/>
                    <a:pt x="265" y="149"/>
                  </a:cubicBezTo>
                  <a:cubicBezTo>
                    <a:pt x="267" y="152"/>
                    <a:pt x="267" y="152"/>
                    <a:pt x="267" y="152"/>
                  </a:cubicBezTo>
                  <a:cubicBezTo>
                    <a:pt x="267" y="153"/>
                    <a:pt x="268" y="153"/>
                    <a:pt x="268" y="153"/>
                  </a:cubicBezTo>
                  <a:cubicBezTo>
                    <a:pt x="269" y="153"/>
                    <a:pt x="269" y="152"/>
                    <a:pt x="270" y="152"/>
                  </a:cubicBezTo>
                  <a:cubicBezTo>
                    <a:pt x="270" y="152"/>
                    <a:pt x="270" y="152"/>
                    <a:pt x="271" y="152"/>
                  </a:cubicBezTo>
                  <a:cubicBezTo>
                    <a:pt x="273" y="152"/>
                    <a:pt x="272" y="153"/>
                    <a:pt x="270" y="154"/>
                  </a:cubicBezTo>
                  <a:cubicBezTo>
                    <a:pt x="270" y="155"/>
                    <a:pt x="272" y="156"/>
                    <a:pt x="272" y="157"/>
                  </a:cubicBezTo>
                  <a:cubicBezTo>
                    <a:pt x="274" y="158"/>
                    <a:pt x="273" y="157"/>
                    <a:pt x="275" y="158"/>
                  </a:cubicBezTo>
                  <a:cubicBezTo>
                    <a:pt x="276" y="157"/>
                    <a:pt x="276" y="157"/>
                    <a:pt x="276" y="157"/>
                  </a:cubicBezTo>
                  <a:cubicBezTo>
                    <a:pt x="277" y="157"/>
                    <a:pt x="277" y="159"/>
                    <a:pt x="278" y="159"/>
                  </a:cubicBezTo>
                  <a:cubicBezTo>
                    <a:pt x="278" y="159"/>
                    <a:pt x="278" y="159"/>
                    <a:pt x="278" y="159"/>
                  </a:cubicBezTo>
                  <a:cubicBezTo>
                    <a:pt x="279" y="158"/>
                    <a:pt x="279" y="157"/>
                    <a:pt x="278" y="156"/>
                  </a:cubicBezTo>
                  <a:cubicBezTo>
                    <a:pt x="279" y="157"/>
                    <a:pt x="280" y="157"/>
                    <a:pt x="281" y="157"/>
                  </a:cubicBezTo>
                  <a:cubicBezTo>
                    <a:pt x="282" y="157"/>
                    <a:pt x="282" y="157"/>
                    <a:pt x="283" y="157"/>
                  </a:cubicBezTo>
                  <a:cubicBezTo>
                    <a:pt x="284" y="156"/>
                    <a:pt x="284" y="156"/>
                    <a:pt x="285" y="156"/>
                  </a:cubicBezTo>
                  <a:cubicBezTo>
                    <a:pt x="286" y="156"/>
                    <a:pt x="287" y="157"/>
                    <a:pt x="288" y="158"/>
                  </a:cubicBezTo>
                  <a:cubicBezTo>
                    <a:pt x="291" y="162"/>
                    <a:pt x="290" y="169"/>
                    <a:pt x="290" y="174"/>
                  </a:cubicBezTo>
                  <a:cubicBezTo>
                    <a:pt x="291" y="176"/>
                    <a:pt x="291" y="177"/>
                    <a:pt x="291" y="177"/>
                  </a:cubicBezTo>
                  <a:cubicBezTo>
                    <a:pt x="292" y="177"/>
                    <a:pt x="292" y="177"/>
                    <a:pt x="292" y="176"/>
                  </a:cubicBezTo>
                  <a:cubicBezTo>
                    <a:pt x="293" y="176"/>
                    <a:pt x="293" y="175"/>
                    <a:pt x="294" y="175"/>
                  </a:cubicBezTo>
                  <a:cubicBezTo>
                    <a:pt x="294" y="175"/>
                    <a:pt x="294" y="175"/>
                    <a:pt x="294" y="175"/>
                  </a:cubicBezTo>
                  <a:cubicBezTo>
                    <a:pt x="294" y="175"/>
                    <a:pt x="292" y="174"/>
                    <a:pt x="291" y="174"/>
                  </a:cubicBezTo>
                  <a:cubicBezTo>
                    <a:pt x="291" y="174"/>
                    <a:pt x="291" y="174"/>
                    <a:pt x="291" y="174"/>
                  </a:cubicBezTo>
                  <a:cubicBezTo>
                    <a:pt x="295" y="172"/>
                    <a:pt x="300" y="171"/>
                    <a:pt x="305" y="169"/>
                  </a:cubicBezTo>
                  <a:cubicBezTo>
                    <a:pt x="304" y="171"/>
                    <a:pt x="301" y="170"/>
                    <a:pt x="300" y="171"/>
                  </a:cubicBezTo>
                  <a:cubicBezTo>
                    <a:pt x="298" y="173"/>
                    <a:pt x="299" y="174"/>
                    <a:pt x="301" y="174"/>
                  </a:cubicBezTo>
                  <a:cubicBezTo>
                    <a:pt x="301" y="174"/>
                    <a:pt x="301" y="174"/>
                    <a:pt x="302" y="174"/>
                  </a:cubicBezTo>
                  <a:cubicBezTo>
                    <a:pt x="302" y="174"/>
                    <a:pt x="303" y="173"/>
                    <a:pt x="304" y="173"/>
                  </a:cubicBezTo>
                  <a:cubicBezTo>
                    <a:pt x="304" y="173"/>
                    <a:pt x="304" y="173"/>
                    <a:pt x="304" y="173"/>
                  </a:cubicBezTo>
                  <a:cubicBezTo>
                    <a:pt x="306" y="173"/>
                    <a:pt x="305" y="174"/>
                    <a:pt x="306" y="174"/>
                  </a:cubicBezTo>
                  <a:cubicBezTo>
                    <a:pt x="306" y="174"/>
                    <a:pt x="306" y="174"/>
                    <a:pt x="307" y="174"/>
                  </a:cubicBezTo>
                  <a:cubicBezTo>
                    <a:pt x="308" y="174"/>
                    <a:pt x="309" y="174"/>
                    <a:pt x="309" y="174"/>
                  </a:cubicBezTo>
                  <a:cubicBezTo>
                    <a:pt x="306" y="176"/>
                    <a:pt x="310" y="176"/>
                    <a:pt x="310" y="177"/>
                  </a:cubicBezTo>
                  <a:cubicBezTo>
                    <a:pt x="309" y="179"/>
                    <a:pt x="308" y="179"/>
                    <a:pt x="307" y="179"/>
                  </a:cubicBezTo>
                  <a:cubicBezTo>
                    <a:pt x="307" y="179"/>
                    <a:pt x="307" y="179"/>
                    <a:pt x="306" y="179"/>
                  </a:cubicBezTo>
                  <a:cubicBezTo>
                    <a:pt x="306" y="179"/>
                    <a:pt x="306" y="179"/>
                    <a:pt x="305" y="179"/>
                  </a:cubicBezTo>
                  <a:cubicBezTo>
                    <a:pt x="305" y="179"/>
                    <a:pt x="305" y="179"/>
                    <a:pt x="305" y="179"/>
                  </a:cubicBezTo>
                  <a:cubicBezTo>
                    <a:pt x="301" y="179"/>
                    <a:pt x="299" y="181"/>
                    <a:pt x="304" y="182"/>
                  </a:cubicBezTo>
                  <a:cubicBezTo>
                    <a:pt x="304" y="182"/>
                    <a:pt x="305" y="183"/>
                    <a:pt x="305" y="183"/>
                  </a:cubicBezTo>
                  <a:cubicBezTo>
                    <a:pt x="305" y="183"/>
                    <a:pt x="306" y="183"/>
                    <a:pt x="306" y="183"/>
                  </a:cubicBezTo>
                  <a:cubicBezTo>
                    <a:pt x="306" y="183"/>
                    <a:pt x="306" y="183"/>
                    <a:pt x="307" y="183"/>
                  </a:cubicBezTo>
                  <a:cubicBezTo>
                    <a:pt x="307" y="183"/>
                    <a:pt x="307" y="182"/>
                    <a:pt x="307" y="182"/>
                  </a:cubicBezTo>
                  <a:cubicBezTo>
                    <a:pt x="307" y="182"/>
                    <a:pt x="307" y="182"/>
                    <a:pt x="307" y="182"/>
                  </a:cubicBezTo>
                  <a:cubicBezTo>
                    <a:pt x="309" y="183"/>
                    <a:pt x="308" y="183"/>
                    <a:pt x="309" y="184"/>
                  </a:cubicBezTo>
                  <a:cubicBezTo>
                    <a:pt x="310" y="184"/>
                    <a:pt x="310" y="185"/>
                    <a:pt x="311" y="185"/>
                  </a:cubicBezTo>
                  <a:cubicBezTo>
                    <a:pt x="311" y="185"/>
                    <a:pt x="312" y="185"/>
                    <a:pt x="312" y="185"/>
                  </a:cubicBezTo>
                  <a:cubicBezTo>
                    <a:pt x="313" y="185"/>
                    <a:pt x="314" y="183"/>
                    <a:pt x="314" y="182"/>
                  </a:cubicBezTo>
                  <a:cubicBezTo>
                    <a:pt x="315" y="182"/>
                    <a:pt x="318" y="180"/>
                    <a:pt x="314" y="180"/>
                  </a:cubicBezTo>
                  <a:cubicBezTo>
                    <a:pt x="315" y="179"/>
                    <a:pt x="315" y="179"/>
                    <a:pt x="316" y="179"/>
                  </a:cubicBezTo>
                  <a:cubicBezTo>
                    <a:pt x="317" y="179"/>
                    <a:pt x="318" y="179"/>
                    <a:pt x="319" y="180"/>
                  </a:cubicBezTo>
                  <a:cubicBezTo>
                    <a:pt x="321" y="180"/>
                    <a:pt x="322" y="181"/>
                    <a:pt x="323" y="181"/>
                  </a:cubicBezTo>
                  <a:cubicBezTo>
                    <a:pt x="323" y="181"/>
                    <a:pt x="323" y="181"/>
                    <a:pt x="323" y="180"/>
                  </a:cubicBezTo>
                  <a:cubicBezTo>
                    <a:pt x="323" y="181"/>
                    <a:pt x="322" y="181"/>
                    <a:pt x="321" y="181"/>
                  </a:cubicBezTo>
                  <a:cubicBezTo>
                    <a:pt x="321" y="181"/>
                    <a:pt x="321" y="181"/>
                    <a:pt x="321" y="181"/>
                  </a:cubicBezTo>
                  <a:cubicBezTo>
                    <a:pt x="320" y="181"/>
                    <a:pt x="320" y="181"/>
                    <a:pt x="320" y="181"/>
                  </a:cubicBezTo>
                  <a:cubicBezTo>
                    <a:pt x="320" y="181"/>
                    <a:pt x="319" y="181"/>
                    <a:pt x="319" y="181"/>
                  </a:cubicBezTo>
                  <a:cubicBezTo>
                    <a:pt x="317" y="182"/>
                    <a:pt x="317" y="181"/>
                    <a:pt x="316" y="183"/>
                  </a:cubicBezTo>
                  <a:cubicBezTo>
                    <a:pt x="312" y="185"/>
                    <a:pt x="315" y="186"/>
                    <a:pt x="317" y="188"/>
                  </a:cubicBezTo>
                  <a:cubicBezTo>
                    <a:pt x="319" y="190"/>
                    <a:pt x="319" y="191"/>
                    <a:pt x="320" y="191"/>
                  </a:cubicBezTo>
                  <a:cubicBezTo>
                    <a:pt x="321" y="191"/>
                    <a:pt x="321" y="191"/>
                    <a:pt x="322" y="191"/>
                  </a:cubicBezTo>
                  <a:cubicBezTo>
                    <a:pt x="322" y="191"/>
                    <a:pt x="323" y="191"/>
                    <a:pt x="323" y="191"/>
                  </a:cubicBezTo>
                  <a:cubicBezTo>
                    <a:pt x="325" y="191"/>
                    <a:pt x="327" y="192"/>
                    <a:pt x="329" y="193"/>
                  </a:cubicBezTo>
                  <a:cubicBezTo>
                    <a:pt x="331" y="193"/>
                    <a:pt x="334" y="195"/>
                    <a:pt x="335" y="196"/>
                  </a:cubicBezTo>
                  <a:cubicBezTo>
                    <a:pt x="337" y="198"/>
                    <a:pt x="338" y="198"/>
                    <a:pt x="336" y="200"/>
                  </a:cubicBezTo>
                  <a:cubicBezTo>
                    <a:pt x="334" y="202"/>
                    <a:pt x="333" y="204"/>
                    <a:pt x="331" y="206"/>
                  </a:cubicBezTo>
                  <a:cubicBezTo>
                    <a:pt x="330" y="207"/>
                    <a:pt x="329" y="207"/>
                    <a:pt x="328" y="207"/>
                  </a:cubicBezTo>
                  <a:cubicBezTo>
                    <a:pt x="326" y="207"/>
                    <a:pt x="325" y="207"/>
                    <a:pt x="323" y="206"/>
                  </a:cubicBezTo>
                  <a:cubicBezTo>
                    <a:pt x="322" y="206"/>
                    <a:pt x="320" y="206"/>
                    <a:pt x="319" y="206"/>
                  </a:cubicBezTo>
                  <a:cubicBezTo>
                    <a:pt x="318" y="206"/>
                    <a:pt x="318" y="206"/>
                    <a:pt x="317" y="206"/>
                  </a:cubicBezTo>
                  <a:cubicBezTo>
                    <a:pt x="316" y="206"/>
                    <a:pt x="313" y="206"/>
                    <a:pt x="314" y="208"/>
                  </a:cubicBezTo>
                  <a:cubicBezTo>
                    <a:pt x="315" y="213"/>
                    <a:pt x="317" y="212"/>
                    <a:pt x="314" y="216"/>
                  </a:cubicBezTo>
                  <a:cubicBezTo>
                    <a:pt x="311" y="219"/>
                    <a:pt x="313" y="220"/>
                    <a:pt x="316" y="220"/>
                  </a:cubicBezTo>
                  <a:cubicBezTo>
                    <a:pt x="318" y="220"/>
                    <a:pt x="322" y="220"/>
                    <a:pt x="323" y="219"/>
                  </a:cubicBezTo>
                  <a:cubicBezTo>
                    <a:pt x="326" y="218"/>
                    <a:pt x="329" y="216"/>
                    <a:pt x="332" y="214"/>
                  </a:cubicBezTo>
                  <a:cubicBezTo>
                    <a:pt x="334" y="214"/>
                    <a:pt x="336" y="213"/>
                    <a:pt x="338" y="212"/>
                  </a:cubicBezTo>
                  <a:cubicBezTo>
                    <a:pt x="340" y="211"/>
                    <a:pt x="340" y="209"/>
                    <a:pt x="341" y="207"/>
                  </a:cubicBezTo>
                  <a:cubicBezTo>
                    <a:pt x="343" y="209"/>
                    <a:pt x="345" y="212"/>
                    <a:pt x="348" y="212"/>
                  </a:cubicBezTo>
                  <a:cubicBezTo>
                    <a:pt x="348" y="212"/>
                    <a:pt x="349" y="211"/>
                    <a:pt x="350" y="210"/>
                  </a:cubicBezTo>
                  <a:cubicBezTo>
                    <a:pt x="351" y="208"/>
                    <a:pt x="351" y="207"/>
                    <a:pt x="353" y="206"/>
                  </a:cubicBezTo>
                  <a:cubicBezTo>
                    <a:pt x="354" y="205"/>
                    <a:pt x="354" y="205"/>
                    <a:pt x="355" y="205"/>
                  </a:cubicBezTo>
                  <a:cubicBezTo>
                    <a:pt x="356" y="205"/>
                    <a:pt x="357" y="205"/>
                    <a:pt x="359" y="206"/>
                  </a:cubicBezTo>
                  <a:cubicBezTo>
                    <a:pt x="357" y="207"/>
                    <a:pt x="353" y="207"/>
                    <a:pt x="351" y="209"/>
                  </a:cubicBezTo>
                  <a:cubicBezTo>
                    <a:pt x="352" y="209"/>
                    <a:pt x="352" y="209"/>
                    <a:pt x="352" y="209"/>
                  </a:cubicBezTo>
                  <a:cubicBezTo>
                    <a:pt x="353" y="209"/>
                    <a:pt x="354" y="209"/>
                    <a:pt x="355" y="209"/>
                  </a:cubicBezTo>
                  <a:cubicBezTo>
                    <a:pt x="354" y="209"/>
                    <a:pt x="353" y="210"/>
                    <a:pt x="352" y="210"/>
                  </a:cubicBezTo>
                  <a:cubicBezTo>
                    <a:pt x="353" y="210"/>
                    <a:pt x="353" y="210"/>
                    <a:pt x="354" y="210"/>
                  </a:cubicBezTo>
                  <a:cubicBezTo>
                    <a:pt x="354" y="210"/>
                    <a:pt x="355" y="210"/>
                    <a:pt x="355" y="210"/>
                  </a:cubicBezTo>
                  <a:cubicBezTo>
                    <a:pt x="354" y="211"/>
                    <a:pt x="352" y="211"/>
                    <a:pt x="351" y="211"/>
                  </a:cubicBezTo>
                  <a:cubicBezTo>
                    <a:pt x="351" y="211"/>
                    <a:pt x="351" y="211"/>
                    <a:pt x="351" y="211"/>
                  </a:cubicBezTo>
                  <a:cubicBezTo>
                    <a:pt x="352" y="211"/>
                    <a:pt x="353" y="211"/>
                    <a:pt x="354" y="211"/>
                  </a:cubicBezTo>
                  <a:cubicBezTo>
                    <a:pt x="355" y="211"/>
                    <a:pt x="357" y="210"/>
                    <a:pt x="358" y="210"/>
                  </a:cubicBezTo>
                  <a:cubicBezTo>
                    <a:pt x="358" y="210"/>
                    <a:pt x="359" y="210"/>
                    <a:pt x="359" y="211"/>
                  </a:cubicBezTo>
                  <a:cubicBezTo>
                    <a:pt x="361" y="213"/>
                    <a:pt x="354" y="215"/>
                    <a:pt x="352" y="215"/>
                  </a:cubicBezTo>
                  <a:cubicBezTo>
                    <a:pt x="353" y="216"/>
                    <a:pt x="356" y="217"/>
                    <a:pt x="358" y="217"/>
                  </a:cubicBezTo>
                  <a:cubicBezTo>
                    <a:pt x="359" y="217"/>
                    <a:pt x="360" y="216"/>
                    <a:pt x="359" y="215"/>
                  </a:cubicBezTo>
                  <a:cubicBezTo>
                    <a:pt x="360" y="215"/>
                    <a:pt x="360" y="214"/>
                    <a:pt x="361" y="214"/>
                  </a:cubicBezTo>
                  <a:cubicBezTo>
                    <a:pt x="362" y="214"/>
                    <a:pt x="362" y="215"/>
                    <a:pt x="361" y="217"/>
                  </a:cubicBezTo>
                  <a:cubicBezTo>
                    <a:pt x="361" y="218"/>
                    <a:pt x="360" y="219"/>
                    <a:pt x="360" y="220"/>
                  </a:cubicBezTo>
                  <a:cubicBezTo>
                    <a:pt x="360" y="221"/>
                    <a:pt x="362" y="221"/>
                    <a:pt x="362" y="221"/>
                  </a:cubicBezTo>
                  <a:cubicBezTo>
                    <a:pt x="363" y="223"/>
                    <a:pt x="363" y="224"/>
                    <a:pt x="365" y="225"/>
                  </a:cubicBezTo>
                  <a:cubicBezTo>
                    <a:pt x="367" y="226"/>
                    <a:pt x="369" y="227"/>
                    <a:pt x="371" y="227"/>
                  </a:cubicBezTo>
                  <a:cubicBezTo>
                    <a:pt x="372" y="227"/>
                    <a:pt x="373" y="227"/>
                    <a:pt x="375" y="227"/>
                  </a:cubicBezTo>
                  <a:cubicBezTo>
                    <a:pt x="376" y="227"/>
                    <a:pt x="377" y="227"/>
                    <a:pt x="377" y="227"/>
                  </a:cubicBezTo>
                  <a:cubicBezTo>
                    <a:pt x="379" y="223"/>
                    <a:pt x="367" y="219"/>
                    <a:pt x="373" y="219"/>
                  </a:cubicBezTo>
                  <a:cubicBezTo>
                    <a:pt x="373" y="219"/>
                    <a:pt x="374" y="219"/>
                    <a:pt x="375" y="219"/>
                  </a:cubicBezTo>
                  <a:cubicBezTo>
                    <a:pt x="379" y="219"/>
                    <a:pt x="381" y="220"/>
                    <a:pt x="380" y="225"/>
                  </a:cubicBezTo>
                  <a:cubicBezTo>
                    <a:pt x="380" y="228"/>
                    <a:pt x="376" y="233"/>
                    <a:pt x="380" y="235"/>
                  </a:cubicBezTo>
                  <a:cubicBezTo>
                    <a:pt x="382" y="236"/>
                    <a:pt x="385" y="235"/>
                    <a:pt x="384" y="238"/>
                  </a:cubicBezTo>
                  <a:cubicBezTo>
                    <a:pt x="386" y="236"/>
                    <a:pt x="388" y="235"/>
                    <a:pt x="390" y="234"/>
                  </a:cubicBezTo>
                  <a:cubicBezTo>
                    <a:pt x="390" y="233"/>
                    <a:pt x="391" y="232"/>
                    <a:pt x="391" y="232"/>
                  </a:cubicBezTo>
                  <a:cubicBezTo>
                    <a:pt x="392" y="232"/>
                    <a:pt x="392" y="232"/>
                    <a:pt x="392" y="232"/>
                  </a:cubicBezTo>
                  <a:cubicBezTo>
                    <a:pt x="394" y="233"/>
                    <a:pt x="393" y="237"/>
                    <a:pt x="393" y="238"/>
                  </a:cubicBezTo>
                  <a:cubicBezTo>
                    <a:pt x="394" y="239"/>
                    <a:pt x="395" y="240"/>
                    <a:pt x="396" y="240"/>
                  </a:cubicBezTo>
                  <a:cubicBezTo>
                    <a:pt x="396" y="240"/>
                    <a:pt x="396" y="240"/>
                    <a:pt x="396" y="240"/>
                  </a:cubicBezTo>
                  <a:cubicBezTo>
                    <a:pt x="396" y="240"/>
                    <a:pt x="397" y="239"/>
                    <a:pt x="397" y="239"/>
                  </a:cubicBezTo>
                  <a:cubicBezTo>
                    <a:pt x="397" y="239"/>
                    <a:pt x="397" y="238"/>
                    <a:pt x="398" y="238"/>
                  </a:cubicBezTo>
                  <a:cubicBezTo>
                    <a:pt x="398" y="238"/>
                    <a:pt x="398" y="238"/>
                    <a:pt x="398" y="238"/>
                  </a:cubicBezTo>
                  <a:cubicBezTo>
                    <a:pt x="399" y="239"/>
                    <a:pt x="398" y="242"/>
                    <a:pt x="399" y="243"/>
                  </a:cubicBezTo>
                  <a:cubicBezTo>
                    <a:pt x="399" y="245"/>
                    <a:pt x="401" y="248"/>
                    <a:pt x="399" y="251"/>
                  </a:cubicBezTo>
                  <a:cubicBezTo>
                    <a:pt x="400" y="251"/>
                    <a:pt x="400" y="251"/>
                    <a:pt x="400" y="251"/>
                  </a:cubicBezTo>
                  <a:cubicBezTo>
                    <a:pt x="401" y="251"/>
                    <a:pt x="400" y="253"/>
                    <a:pt x="402" y="254"/>
                  </a:cubicBezTo>
                  <a:cubicBezTo>
                    <a:pt x="402" y="254"/>
                    <a:pt x="402" y="254"/>
                    <a:pt x="402" y="254"/>
                  </a:cubicBezTo>
                  <a:cubicBezTo>
                    <a:pt x="402" y="254"/>
                    <a:pt x="402" y="254"/>
                    <a:pt x="403" y="254"/>
                  </a:cubicBezTo>
                  <a:cubicBezTo>
                    <a:pt x="403" y="254"/>
                    <a:pt x="403" y="254"/>
                    <a:pt x="404" y="254"/>
                  </a:cubicBezTo>
                  <a:cubicBezTo>
                    <a:pt x="404" y="254"/>
                    <a:pt x="404" y="254"/>
                    <a:pt x="404" y="254"/>
                  </a:cubicBezTo>
                  <a:cubicBezTo>
                    <a:pt x="405" y="255"/>
                    <a:pt x="405" y="255"/>
                    <a:pt x="405" y="255"/>
                  </a:cubicBezTo>
                  <a:cubicBezTo>
                    <a:pt x="408" y="258"/>
                    <a:pt x="407" y="257"/>
                    <a:pt x="406" y="260"/>
                  </a:cubicBezTo>
                  <a:cubicBezTo>
                    <a:pt x="405" y="262"/>
                    <a:pt x="409" y="262"/>
                    <a:pt x="410" y="263"/>
                  </a:cubicBezTo>
                  <a:cubicBezTo>
                    <a:pt x="410" y="263"/>
                    <a:pt x="411" y="266"/>
                    <a:pt x="411" y="267"/>
                  </a:cubicBezTo>
                  <a:cubicBezTo>
                    <a:pt x="411" y="268"/>
                    <a:pt x="411" y="269"/>
                    <a:pt x="411" y="270"/>
                  </a:cubicBezTo>
                  <a:cubicBezTo>
                    <a:pt x="411" y="270"/>
                    <a:pt x="412" y="271"/>
                    <a:pt x="412" y="272"/>
                  </a:cubicBezTo>
                  <a:cubicBezTo>
                    <a:pt x="413" y="274"/>
                    <a:pt x="412" y="274"/>
                    <a:pt x="414" y="276"/>
                  </a:cubicBezTo>
                  <a:cubicBezTo>
                    <a:pt x="414" y="276"/>
                    <a:pt x="416" y="276"/>
                    <a:pt x="416" y="277"/>
                  </a:cubicBezTo>
                  <a:cubicBezTo>
                    <a:pt x="415" y="280"/>
                    <a:pt x="415" y="280"/>
                    <a:pt x="415" y="280"/>
                  </a:cubicBezTo>
                  <a:cubicBezTo>
                    <a:pt x="411" y="287"/>
                    <a:pt x="403" y="291"/>
                    <a:pt x="398" y="297"/>
                  </a:cubicBezTo>
                  <a:cubicBezTo>
                    <a:pt x="404" y="299"/>
                    <a:pt x="408" y="298"/>
                    <a:pt x="413" y="299"/>
                  </a:cubicBezTo>
                  <a:cubicBezTo>
                    <a:pt x="418" y="299"/>
                    <a:pt x="423" y="300"/>
                    <a:pt x="428" y="301"/>
                  </a:cubicBezTo>
                  <a:cubicBezTo>
                    <a:pt x="429" y="301"/>
                    <a:pt x="431" y="303"/>
                    <a:pt x="433" y="303"/>
                  </a:cubicBezTo>
                  <a:cubicBezTo>
                    <a:pt x="434" y="303"/>
                    <a:pt x="434" y="303"/>
                    <a:pt x="434" y="302"/>
                  </a:cubicBezTo>
                  <a:cubicBezTo>
                    <a:pt x="437" y="301"/>
                    <a:pt x="437" y="297"/>
                    <a:pt x="438" y="295"/>
                  </a:cubicBezTo>
                  <a:cubicBezTo>
                    <a:pt x="439" y="294"/>
                    <a:pt x="439" y="294"/>
                    <a:pt x="440" y="292"/>
                  </a:cubicBezTo>
                  <a:cubicBezTo>
                    <a:pt x="441" y="289"/>
                    <a:pt x="440" y="289"/>
                    <a:pt x="439" y="286"/>
                  </a:cubicBezTo>
                  <a:cubicBezTo>
                    <a:pt x="441" y="286"/>
                    <a:pt x="441" y="286"/>
                    <a:pt x="443" y="286"/>
                  </a:cubicBezTo>
                  <a:cubicBezTo>
                    <a:pt x="444" y="287"/>
                    <a:pt x="445" y="287"/>
                    <a:pt x="447" y="288"/>
                  </a:cubicBezTo>
                  <a:cubicBezTo>
                    <a:pt x="447" y="288"/>
                    <a:pt x="448" y="288"/>
                    <a:pt x="448" y="288"/>
                  </a:cubicBezTo>
                  <a:cubicBezTo>
                    <a:pt x="452" y="288"/>
                    <a:pt x="451" y="289"/>
                    <a:pt x="453" y="292"/>
                  </a:cubicBezTo>
                  <a:cubicBezTo>
                    <a:pt x="453" y="292"/>
                    <a:pt x="452" y="293"/>
                    <a:pt x="452" y="293"/>
                  </a:cubicBezTo>
                  <a:cubicBezTo>
                    <a:pt x="452" y="293"/>
                    <a:pt x="452" y="293"/>
                    <a:pt x="453" y="293"/>
                  </a:cubicBezTo>
                  <a:cubicBezTo>
                    <a:pt x="453" y="293"/>
                    <a:pt x="453" y="293"/>
                    <a:pt x="454" y="293"/>
                  </a:cubicBezTo>
                  <a:cubicBezTo>
                    <a:pt x="454" y="294"/>
                    <a:pt x="453" y="294"/>
                    <a:pt x="453" y="295"/>
                  </a:cubicBezTo>
                  <a:cubicBezTo>
                    <a:pt x="454" y="295"/>
                    <a:pt x="454" y="295"/>
                    <a:pt x="455" y="296"/>
                  </a:cubicBezTo>
                  <a:cubicBezTo>
                    <a:pt x="456" y="297"/>
                    <a:pt x="458" y="298"/>
                    <a:pt x="461" y="298"/>
                  </a:cubicBezTo>
                  <a:cubicBezTo>
                    <a:pt x="461" y="298"/>
                    <a:pt x="461" y="298"/>
                    <a:pt x="461" y="298"/>
                  </a:cubicBezTo>
                  <a:cubicBezTo>
                    <a:pt x="464" y="299"/>
                    <a:pt x="468" y="299"/>
                    <a:pt x="471" y="301"/>
                  </a:cubicBezTo>
                  <a:cubicBezTo>
                    <a:pt x="474" y="302"/>
                    <a:pt x="475" y="303"/>
                    <a:pt x="477" y="303"/>
                  </a:cubicBezTo>
                  <a:cubicBezTo>
                    <a:pt x="478" y="303"/>
                    <a:pt x="480" y="304"/>
                    <a:pt x="481" y="304"/>
                  </a:cubicBezTo>
                  <a:cubicBezTo>
                    <a:pt x="481" y="304"/>
                    <a:pt x="481" y="305"/>
                    <a:pt x="482" y="305"/>
                  </a:cubicBezTo>
                  <a:cubicBezTo>
                    <a:pt x="482" y="305"/>
                    <a:pt x="483" y="304"/>
                    <a:pt x="483" y="304"/>
                  </a:cubicBezTo>
                  <a:cubicBezTo>
                    <a:pt x="483" y="304"/>
                    <a:pt x="483" y="304"/>
                    <a:pt x="483" y="304"/>
                  </a:cubicBezTo>
                  <a:cubicBezTo>
                    <a:pt x="483" y="304"/>
                    <a:pt x="483" y="304"/>
                    <a:pt x="483" y="304"/>
                  </a:cubicBezTo>
                  <a:cubicBezTo>
                    <a:pt x="483" y="304"/>
                    <a:pt x="484" y="304"/>
                    <a:pt x="484" y="304"/>
                  </a:cubicBezTo>
                  <a:cubicBezTo>
                    <a:pt x="484" y="304"/>
                    <a:pt x="484" y="304"/>
                    <a:pt x="484" y="304"/>
                  </a:cubicBezTo>
                  <a:cubicBezTo>
                    <a:pt x="484" y="304"/>
                    <a:pt x="485" y="304"/>
                    <a:pt x="485" y="304"/>
                  </a:cubicBezTo>
                  <a:cubicBezTo>
                    <a:pt x="486" y="305"/>
                    <a:pt x="482" y="308"/>
                    <a:pt x="482" y="309"/>
                  </a:cubicBezTo>
                  <a:cubicBezTo>
                    <a:pt x="482" y="309"/>
                    <a:pt x="482" y="309"/>
                    <a:pt x="482" y="309"/>
                  </a:cubicBezTo>
                  <a:cubicBezTo>
                    <a:pt x="483" y="309"/>
                    <a:pt x="483" y="309"/>
                    <a:pt x="484" y="309"/>
                  </a:cubicBezTo>
                  <a:cubicBezTo>
                    <a:pt x="484" y="309"/>
                    <a:pt x="485" y="309"/>
                    <a:pt x="486" y="309"/>
                  </a:cubicBezTo>
                  <a:cubicBezTo>
                    <a:pt x="487" y="309"/>
                    <a:pt x="488" y="309"/>
                    <a:pt x="487" y="311"/>
                  </a:cubicBezTo>
                  <a:cubicBezTo>
                    <a:pt x="481" y="314"/>
                    <a:pt x="481" y="314"/>
                    <a:pt x="481" y="314"/>
                  </a:cubicBezTo>
                  <a:cubicBezTo>
                    <a:pt x="479" y="315"/>
                    <a:pt x="480" y="315"/>
                    <a:pt x="479" y="316"/>
                  </a:cubicBezTo>
                  <a:cubicBezTo>
                    <a:pt x="479" y="317"/>
                    <a:pt x="479" y="317"/>
                    <a:pt x="478" y="318"/>
                  </a:cubicBezTo>
                  <a:cubicBezTo>
                    <a:pt x="479" y="318"/>
                    <a:pt x="479" y="318"/>
                    <a:pt x="479" y="318"/>
                  </a:cubicBezTo>
                  <a:cubicBezTo>
                    <a:pt x="478" y="318"/>
                    <a:pt x="478" y="319"/>
                    <a:pt x="477" y="319"/>
                  </a:cubicBezTo>
                  <a:cubicBezTo>
                    <a:pt x="475" y="319"/>
                    <a:pt x="472" y="316"/>
                    <a:pt x="470" y="316"/>
                  </a:cubicBezTo>
                  <a:cubicBezTo>
                    <a:pt x="470" y="316"/>
                    <a:pt x="469" y="316"/>
                    <a:pt x="469" y="316"/>
                  </a:cubicBezTo>
                  <a:cubicBezTo>
                    <a:pt x="467" y="316"/>
                    <a:pt x="466" y="316"/>
                    <a:pt x="464" y="317"/>
                  </a:cubicBezTo>
                  <a:cubicBezTo>
                    <a:pt x="462" y="317"/>
                    <a:pt x="461" y="318"/>
                    <a:pt x="459" y="318"/>
                  </a:cubicBezTo>
                  <a:cubicBezTo>
                    <a:pt x="459" y="318"/>
                    <a:pt x="459" y="318"/>
                    <a:pt x="459" y="318"/>
                  </a:cubicBezTo>
                  <a:cubicBezTo>
                    <a:pt x="456" y="318"/>
                    <a:pt x="458" y="318"/>
                    <a:pt x="456" y="316"/>
                  </a:cubicBezTo>
                  <a:cubicBezTo>
                    <a:pt x="456" y="316"/>
                    <a:pt x="456" y="316"/>
                    <a:pt x="456" y="316"/>
                  </a:cubicBezTo>
                  <a:cubicBezTo>
                    <a:pt x="456" y="316"/>
                    <a:pt x="456" y="316"/>
                    <a:pt x="455" y="315"/>
                  </a:cubicBezTo>
                  <a:cubicBezTo>
                    <a:pt x="455" y="315"/>
                    <a:pt x="454" y="315"/>
                    <a:pt x="454" y="315"/>
                  </a:cubicBezTo>
                  <a:cubicBezTo>
                    <a:pt x="454" y="315"/>
                    <a:pt x="454" y="315"/>
                    <a:pt x="454" y="315"/>
                  </a:cubicBezTo>
                  <a:cubicBezTo>
                    <a:pt x="453" y="313"/>
                    <a:pt x="453" y="313"/>
                    <a:pt x="453" y="313"/>
                  </a:cubicBezTo>
                  <a:cubicBezTo>
                    <a:pt x="453" y="315"/>
                    <a:pt x="452" y="316"/>
                    <a:pt x="452" y="317"/>
                  </a:cubicBezTo>
                  <a:cubicBezTo>
                    <a:pt x="452" y="318"/>
                    <a:pt x="451" y="318"/>
                    <a:pt x="450" y="319"/>
                  </a:cubicBezTo>
                  <a:cubicBezTo>
                    <a:pt x="449" y="320"/>
                    <a:pt x="447" y="321"/>
                    <a:pt x="446" y="322"/>
                  </a:cubicBezTo>
                  <a:cubicBezTo>
                    <a:pt x="444" y="324"/>
                    <a:pt x="442" y="326"/>
                    <a:pt x="440" y="328"/>
                  </a:cubicBezTo>
                  <a:cubicBezTo>
                    <a:pt x="440" y="327"/>
                    <a:pt x="443" y="323"/>
                    <a:pt x="442" y="323"/>
                  </a:cubicBezTo>
                  <a:cubicBezTo>
                    <a:pt x="442" y="323"/>
                    <a:pt x="442" y="323"/>
                    <a:pt x="442" y="323"/>
                  </a:cubicBezTo>
                  <a:cubicBezTo>
                    <a:pt x="441" y="323"/>
                    <a:pt x="441" y="323"/>
                    <a:pt x="440" y="323"/>
                  </a:cubicBezTo>
                  <a:cubicBezTo>
                    <a:pt x="440" y="323"/>
                    <a:pt x="439" y="323"/>
                    <a:pt x="439" y="323"/>
                  </a:cubicBezTo>
                  <a:cubicBezTo>
                    <a:pt x="439" y="323"/>
                    <a:pt x="438" y="323"/>
                    <a:pt x="438" y="323"/>
                  </a:cubicBezTo>
                  <a:cubicBezTo>
                    <a:pt x="437" y="323"/>
                    <a:pt x="440" y="321"/>
                    <a:pt x="440" y="320"/>
                  </a:cubicBezTo>
                  <a:cubicBezTo>
                    <a:pt x="441" y="318"/>
                    <a:pt x="441" y="318"/>
                    <a:pt x="441" y="318"/>
                  </a:cubicBezTo>
                  <a:cubicBezTo>
                    <a:pt x="441" y="318"/>
                    <a:pt x="440" y="316"/>
                    <a:pt x="440" y="316"/>
                  </a:cubicBezTo>
                  <a:cubicBezTo>
                    <a:pt x="440" y="316"/>
                    <a:pt x="440" y="316"/>
                    <a:pt x="440" y="316"/>
                  </a:cubicBezTo>
                  <a:cubicBezTo>
                    <a:pt x="441" y="316"/>
                    <a:pt x="442" y="313"/>
                    <a:pt x="442" y="313"/>
                  </a:cubicBezTo>
                  <a:cubicBezTo>
                    <a:pt x="442" y="312"/>
                    <a:pt x="440" y="312"/>
                    <a:pt x="440" y="312"/>
                  </a:cubicBezTo>
                  <a:cubicBezTo>
                    <a:pt x="440" y="311"/>
                    <a:pt x="439" y="311"/>
                    <a:pt x="439" y="310"/>
                  </a:cubicBezTo>
                  <a:cubicBezTo>
                    <a:pt x="438" y="309"/>
                    <a:pt x="438" y="308"/>
                    <a:pt x="438" y="307"/>
                  </a:cubicBezTo>
                  <a:cubicBezTo>
                    <a:pt x="435" y="303"/>
                    <a:pt x="430" y="303"/>
                    <a:pt x="426" y="302"/>
                  </a:cubicBezTo>
                  <a:cubicBezTo>
                    <a:pt x="423" y="301"/>
                    <a:pt x="419" y="300"/>
                    <a:pt x="416" y="300"/>
                  </a:cubicBezTo>
                  <a:cubicBezTo>
                    <a:pt x="413" y="300"/>
                    <a:pt x="411" y="300"/>
                    <a:pt x="408" y="300"/>
                  </a:cubicBezTo>
                  <a:cubicBezTo>
                    <a:pt x="407" y="300"/>
                    <a:pt x="405" y="300"/>
                    <a:pt x="404" y="300"/>
                  </a:cubicBezTo>
                  <a:cubicBezTo>
                    <a:pt x="401" y="299"/>
                    <a:pt x="399" y="299"/>
                    <a:pt x="397" y="299"/>
                  </a:cubicBezTo>
                  <a:cubicBezTo>
                    <a:pt x="396" y="299"/>
                    <a:pt x="394" y="299"/>
                    <a:pt x="392" y="301"/>
                  </a:cubicBezTo>
                  <a:cubicBezTo>
                    <a:pt x="383" y="308"/>
                    <a:pt x="374" y="315"/>
                    <a:pt x="364" y="322"/>
                  </a:cubicBezTo>
                  <a:cubicBezTo>
                    <a:pt x="366" y="325"/>
                    <a:pt x="369" y="326"/>
                    <a:pt x="371" y="328"/>
                  </a:cubicBezTo>
                  <a:cubicBezTo>
                    <a:pt x="374" y="331"/>
                    <a:pt x="376" y="332"/>
                    <a:pt x="379" y="334"/>
                  </a:cubicBezTo>
                  <a:cubicBezTo>
                    <a:pt x="380" y="334"/>
                    <a:pt x="382" y="336"/>
                    <a:pt x="382" y="337"/>
                  </a:cubicBezTo>
                  <a:cubicBezTo>
                    <a:pt x="383" y="337"/>
                    <a:pt x="382" y="338"/>
                    <a:pt x="382" y="339"/>
                  </a:cubicBezTo>
                  <a:cubicBezTo>
                    <a:pt x="382" y="339"/>
                    <a:pt x="383" y="339"/>
                    <a:pt x="384" y="340"/>
                  </a:cubicBezTo>
                  <a:cubicBezTo>
                    <a:pt x="384" y="340"/>
                    <a:pt x="383" y="341"/>
                    <a:pt x="384" y="341"/>
                  </a:cubicBezTo>
                  <a:cubicBezTo>
                    <a:pt x="384" y="342"/>
                    <a:pt x="385" y="343"/>
                    <a:pt x="385" y="343"/>
                  </a:cubicBezTo>
                  <a:cubicBezTo>
                    <a:pt x="386" y="344"/>
                    <a:pt x="386" y="346"/>
                    <a:pt x="387" y="347"/>
                  </a:cubicBezTo>
                  <a:cubicBezTo>
                    <a:pt x="383" y="346"/>
                    <a:pt x="379" y="344"/>
                    <a:pt x="375" y="344"/>
                  </a:cubicBezTo>
                  <a:cubicBezTo>
                    <a:pt x="374" y="344"/>
                    <a:pt x="374" y="344"/>
                    <a:pt x="373" y="344"/>
                  </a:cubicBezTo>
                  <a:cubicBezTo>
                    <a:pt x="370" y="344"/>
                    <a:pt x="368" y="348"/>
                    <a:pt x="365" y="350"/>
                  </a:cubicBezTo>
                  <a:cubicBezTo>
                    <a:pt x="363" y="350"/>
                    <a:pt x="363" y="351"/>
                    <a:pt x="362" y="351"/>
                  </a:cubicBezTo>
                  <a:cubicBezTo>
                    <a:pt x="361" y="351"/>
                    <a:pt x="360" y="350"/>
                    <a:pt x="359" y="349"/>
                  </a:cubicBezTo>
                  <a:cubicBezTo>
                    <a:pt x="359" y="348"/>
                    <a:pt x="359" y="348"/>
                    <a:pt x="358" y="348"/>
                  </a:cubicBezTo>
                  <a:cubicBezTo>
                    <a:pt x="357" y="348"/>
                    <a:pt x="353" y="349"/>
                    <a:pt x="353" y="349"/>
                  </a:cubicBezTo>
                  <a:cubicBezTo>
                    <a:pt x="350" y="350"/>
                    <a:pt x="349" y="349"/>
                    <a:pt x="349" y="352"/>
                  </a:cubicBezTo>
                  <a:cubicBezTo>
                    <a:pt x="350" y="353"/>
                    <a:pt x="350" y="354"/>
                    <a:pt x="348" y="354"/>
                  </a:cubicBezTo>
                  <a:cubicBezTo>
                    <a:pt x="348" y="354"/>
                    <a:pt x="347" y="354"/>
                    <a:pt x="347" y="354"/>
                  </a:cubicBezTo>
                  <a:cubicBezTo>
                    <a:pt x="345" y="354"/>
                    <a:pt x="342" y="354"/>
                    <a:pt x="340" y="354"/>
                  </a:cubicBezTo>
                  <a:cubicBezTo>
                    <a:pt x="339" y="353"/>
                    <a:pt x="338" y="353"/>
                    <a:pt x="337" y="353"/>
                  </a:cubicBezTo>
                  <a:cubicBezTo>
                    <a:pt x="338" y="352"/>
                    <a:pt x="338" y="352"/>
                    <a:pt x="338" y="352"/>
                  </a:cubicBezTo>
                  <a:cubicBezTo>
                    <a:pt x="337" y="352"/>
                    <a:pt x="337" y="352"/>
                    <a:pt x="336" y="352"/>
                  </a:cubicBezTo>
                  <a:cubicBezTo>
                    <a:pt x="335" y="352"/>
                    <a:pt x="335" y="352"/>
                    <a:pt x="334" y="352"/>
                  </a:cubicBezTo>
                  <a:cubicBezTo>
                    <a:pt x="333" y="352"/>
                    <a:pt x="332" y="352"/>
                    <a:pt x="331" y="352"/>
                  </a:cubicBezTo>
                  <a:cubicBezTo>
                    <a:pt x="331" y="352"/>
                    <a:pt x="331" y="352"/>
                    <a:pt x="330" y="352"/>
                  </a:cubicBezTo>
                  <a:cubicBezTo>
                    <a:pt x="332" y="356"/>
                    <a:pt x="336" y="357"/>
                    <a:pt x="338" y="358"/>
                  </a:cubicBezTo>
                  <a:cubicBezTo>
                    <a:pt x="340" y="359"/>
                    <a:pt x="341" y="360"/>
                    <a:pt x="342" y="362"/>
                  </a:cubicBezTo>
                  <a:cubicBezTo>
                    <a:pt x="343" y="363"/>
                    <a:pt x="343" y="364"/>
                    <a:pt x="344" y="364"/>
                  </a:cubicBezTo>
                  <a:cubicBezTo>
                    <a:pt x="344" y="364"/>
                    <a:pt x="345" y="364"/>
                    <a:pt x="346" y="363"/>
                  </a:cubicBezTo>
                  <a:cubicBezTo>
                    <a:pt x="345" y="364"/>
                    <a:pt x="345" y="365"/>
                    <a:pt x="345" y="365"/>
                  </a:cubicBezTo>
                  <a:cubicBezTo>
                    <a:pt x="344" y="367"/>
                    <a:pt x="341" y="368"/>
                    <a:pt x="339" y="369"/>
                  </a:cubicBezTo>
                  <a:cubicBezTo>
                    <a:pt x="340" y="369"/>
                    <a:pt x="341" y="369"/>
                    <a:pt x="343" y="369"/>
                  </a:cubicBezTo>
                  <a:cubicBezTo>
                    <a:pt x="343" y="369"/>
                    <a:pt x="343" y="369"/>
                    <a:pt x="344" y="369"/>
                  </a:cubicBezTo>
                  <a:cubicBezTo>
                    <a:pt x="342" y="371"/>
                    <a:pt x="344" y="373"/>
                    <a:pt x="345" y="374"/>
                  </a:cubicBezTo>
                  <a:cubicBezTo>
                    <a:pt x="343" y="373"/>
                    <a:pt x="342" y="371"/>
                    <a:pt x="341" y="370"/>
                  </a:cubicBezTo>
                  <a:cubicBezTo>
                    <a:pt x="340" y="370"/>
                    <a:pt x="339" y="370"/>
                    <a:pt x="338" y="370"/>
                  </a:cubicBezTo>
                  <a:cubicBezTo>
                    <a:pt x="338" y="370"/>
                    <a:pt x="337" y="366"/>
                    <a:pt x="336" y="366"/>
                  </a:cubicBezTo>
                  <a:cubicBezTo>
                    <a:pt x="336" y="366"/>
                    <a:pt x="336" y="366"/>
                    <a:pt x="336" y="366"/>
                  </a:cubicBezTo>
                  <a:cubicBezTo>
                    <a:pt x="336" y="366"/>
                    <a:pt x="337" y="366"/>
                    <a:pt x="338" y="366"/>
                  </a:cubicBezTo>
                  <a:cubicBezTo>
                    <a:pt x="338" y="366"/>
                    <a:pt x="338" y="366"/>
                    <a:pt x="338" y="366"/>
                  </a:cubicBezTo>
                  <a:cubicBezTo>
                    <a:pt x="339" y="366"/>
                    <a:pt x="339" y="366"/>
                    <a:pt x="339" y="366"/>
                  </a:cubicBezTo>
                  <a:cubicBezTo>
                    <a:pt x="340" y="366"/>
                    <a:pt x="341" y="366"/>
                    <a:pt x="342" y="365"/>
                  </a:cubicBezTo>
                  <a:cubicBezTo>
                    <a:pt x="342" y="364"/>
                    <a:pt x="342" y="363"/>
                    <a:pt x="341" y="362"/>
                  </a:cubicBezTo>
                  <a:cubicBezTo>
                    <a:pt x="340" y="360"/>
                    <a:pt x="338" y="360"/>
                    <a:pt x="337" y="359"/>
                  </a:cubicBezTo>
                  <a:cubicBezTo>
                    <a:pt x="335" y="358"/>
                    <a:pt x="335" y="358"/>
                    <a:pt x="334" y="357"/>
                  </a:cubicBezTo>
                  <a:cubicBezTo>
                    <a:pt x="331" y="354"/>
                    <a:pt x="327" y="354"/>
                    <a:pt x="324" y="353"/>
                  </a:cubicBezTo>
                  <a:cubicBezTo>
                    <a:pt x="320" y="352"/>
                    <a:pt x="316" y="350"/>
                    <a:pt x="312" y="349"/>
                  </a:cubicBezTo>
                  <a:cubicBezTo>
                    <a:pt x="309" y="348"/>
                    <a:pt x="305" y="348"/>
                    <a:pt x="302" y="348"/>
                  </a:cubicBezTo>
                  <a:cubicBezTo>
                    <a:pt x="301" y="347"/>
                    <a:pt x="300" y="347"/>
                    <a:pt x="299" y="347"/>
                  </a:cubicBezTo>
                  <a:cubicBezTo>
                    <a:pt x="299" y="347"/>
                    <a:pt x="299" y="347"/>
                    <a:pt x="299" y="347"/>
                  </a:cubicBezTo>
                  <a:cubicBezTo>
                    <a:pt x="297" y="347"/>
                    <a:pt x="296" y="353"/>
                    <a:pt x="296" y="354"/>
                  </a:cubicBezTo>
                  <a:cubicBezTo>
                    <a:pt x="296" y="355"/>
                    <a:pt x="298" y="356"/>
                    <a:pt x="298" y="356"/>
                  </a:cubicBezTo>
                  <a:cubicBezTo>
                    <a:pt x="297" y="358"/>
                    <a:pt x="294" y="358"/>
                    <a:pt x="292" y="359"/>
                  </a:cubicBezTo>
                  <a:cubicBezTo>
                    <a:pt x="290" y="359"/>
                    <a:pt x="287" y="360"/>
                    <a:pt x="285" y="362"/>
                  </a:cubicBezTo>
                  <a:cubicBezTo>
                    <a:pt x="280" y="364"/>
                    <a:pt x="278" y="370"/>
                    <a:pt x="275" y="375"/>
                  </a:cubicBezTo>
                  <a:cubicBezTo>
                    <a:pt x="274" y="377"/>
                    <a:pt x="279" y="381"/>
                    <a:pt x="280" y="382"/>
                  </a:cubicBezTo>
                  <a:cubicBezTo>
                    <a:pt x="281" y="383"/>
                    <a:pt x="282" y="385"/>
                    <a:pt x="282" y="385"/>
                  </a:cubicBezTo>
                  <a:cubicBezTo>
                    <a:pt x="282" y="385"/>
                    <a:pt x="282" y="385"/>
                    <a:pt x="282" y="385"/>
                  </a:cubicBezTo>
                  <a:cubicBezTo>
                    <a:pt x="282" y="385"/>
                    <a:pt x="282" y="386"/>
                    <a:pt x="282" y="386"/>
                  </a:cubicBezTo>
                  <a:cubicBezTo>
                    <a:pt x="282" y="386"/>
                    <a:pt x="284" y="387"/>
                    <a:pt x="285" y="388"/>
                  </a:cubicBezTo>
                  <a:cubicBezTo>
                    <a:pt x="288" y="390"/>
                    <a:pt x="293" y="392"/>
                    <a:pt x="297" y="392"/>
                  </a:cubicBezTo>
                  <a:cubicBezTo>
                    <a:pt x="297" y="392"/>
                    <a:pt x="297" y="392"/>
                    <a:pt x="297" y="392"/>
                  </a:cubicBezTo>
                  <a:cubicBezTo>
                    <a:pt x="298" y="392"/>
                    <a:pt x="299" y="392"/>
                    <a:pt x="300" y="391"/>
                  </a:cubicBezTo>
                  <a:cubicBezTo>
                    <a:pt x="301" y="391"/>
                    <a:pt x="302" y="391"/>
                    <a:pt x="303" y="391"/>
                  </a:cubicBezTo>
                  <a:cubicBezTo>
                    <a:pt x="304" y="391"/>
                    <a:pt x="305" y="391"/>
                    <a:pt x="306" y="392"/>
                  </a:cubicBezTo>
                  <a:cubicBezTo>
                    <a:pt x="308" y="392"/>
                    <a:pt x="310" y="393"/>
                    <a:pt x="313" y="394"/>
                  </a:cubicBezTo>
                  <a:cubicBezTo>
                    <a:pt x="312" y="393"/>
                    <a:pt x="311" y="392"/>
                    <a:pt x="312" y="390"/>
                  </a:cubicBezTo>
                  <a:cubicBezTo>
                    <a:pt x="312" y="390"/>
                    <a:pt x="313" y="390"/>
                    <a:pt x="313" y="390"/>
                  </a:cubicBezTo>
                  <a:cubicBezTo>
                    <a:pt x="315" y="390"/>
                    <a:pt x="318" y="391"/>
                    <a:pt x="319" y="391"/>
                  </a:cubicBezTo>
                  <a:cubicBezTo>
                    <a:pt x="319" y="391"/>
                    <a:pt x="318" y="390"/>
                    <a:pt x="317" y="390"/>
                  </a:cubicBezTo>
                  <a:cubicBezTo>
                    <a:pt x="319" y="390"/>
                    <a:pt x="321" y="391"/>
                    <a:pt x="322" y="391"/>
                  </a:cubicBezTo>
                  <a:cubicBezTo>
                    <a:pt x="322" y="391"/>
                    <a:pt x="322" y="391"/>
                    <a:pt x="323" y="391"/>
                  </a:cubicBezTo>
                  <a:cubicBezTo>
                    <a:pt x="326" y="390"/>
                    <a:pt x="321" y="389"/>
                    <a:pt x="320" y="388"/>
                  </a:cubicBezTo>
                  <a:cubicBezTo>
                    <a:pt x="320" y="388"/>
                    <a:pt x="320" y="388"/>
                    <a:pt x="320" y="388"/>
                  </a:cubicBezTo>
                  <a:cubicBezTo>
                    <a:pt x="321" y="388"/>
                    <a:pt x="321" y="388"/>
                    <a:pt x="321" y="388"/>
                  </a:cubicBezTo>
                  <a:cubicBezTo>
                    <a:pt x="322" y="388"/>
                    <a:pt x="322" y="388"/>
                    <a:pt x="323" y="388"/>
                  </a:cubicBezTo>
                  <a:cubicBezTo>
                    <a:pt x="323" y="388"/>
                    <a:pt x="323" y="388"/>
                    <a:pt x="323" y="388"/>
                  </a:cubicBezTo>
                  <a:cubicBezTo>
                    <a:pt x="323" y="388"/>
                    <a:pt x="324" y="388"/>
                    <a:pt x="324" y="388"/>
                  </a:cubicBezTo>
                  <a:cubicBezTo>
                    <a:pt x="325" y="388"/>
                    <a:pt x="324" y="387"/>
                    <a:pt x="326" y="387"/>
                  </a:cubicBezTo>
                  <a:cubicBezTo>
                    <a:pt x="326" y="387"/>
                    <a:pt x="327" y="387"/>
                    <a:pt x="328" y="387"/>
                  </a:cubicBezTo>
                  <a:cubicBezTo>
                    <a:pt x="330" y="387"/>
                    <a:pt x="332" y="387"/>
                    <a:pt x="335" y="388"/>
                  </a:cubicBezTo>
                  <a:cubicBezTo>
                    <a:pt x="334" y="387"/>
                    <a:pt x="332" y="386"/>
                    <a:pt x="333" y="385"/>
                  </a:cubicBezTo>
                  <a:cubicBezTo>
                    <a:pt x="332" y="385"/>
                    <a:pt x="331" y="384"/>
                    <a:pt x="331" y="383"/>
                  </a:cubicBezTo>
                  <a:cubicBezTo>
                    <a:pt x="333" y="384"/>
                    <a:pt x="335" y="384"/>
                    <a:pt x="337" y="385"/>
                  </a:cubicBezTo>
                  <a:cubicBezTo>
                    <a:pt x="335" y="384"/>
                    <a:pt x="333" y="382"/>
                    <a:pt x="332" y="381"/>
                  </a:cubicBezTo>
                  <a:cubicBezTo>
                    <a:pt x="333" y="380"/>
                    <a:pt x="333" y="380"/>
                    <a:pt x="333" y="380"/>
                  </a:cubicBezTo>
                  <a:cubicBezTo>
                    <a:pt x="331" y="379"/>
                    <a:pt x="332" y="379"/>
                    <a:pt x="333" y="379"/>
                  </a:cubicBezTo>
                  <a:cubicBezTo>
                    <a:pt x="334" y="379"/>
                    <a:pt x="334" y="379"/>
                    <a:pt x="335" y="379"/>
                  </a:cubicBezTo>
                  <a:cubicBezTo>
                    <a:pt x="340" y="381"/>
                    <a:pt x="345" y="382"/>
                    <a:pt x="350" y="384"/>
                  </a:cubicBezTo>
                  <a:cubicBezTo>
                    <a:pt x="353" y="385"/>
                    <a:pt x="356" y="387"/>
                    <a:pt x="359" y="387"/>
                  </a:cubicBezTo>
                  <a:cubicBezTo>
                    <a:pt x="361" y="387"/>
                    <a:pt x="362" y="386"/>
                    <a:pt x="363" y="384"/>
                  </a:cubicBezTo>
                  <a:cubicBezTo>
                    <a:pt x="362" y="384"/>
                    <a:pt x="359" y="382"/>
                    <a:pt x="361" y="382"/>
                  </a:cubicBezTo>
                  <a:cubicBezTo>
                    <a:pt x="361" y="382"/>
                    <a:pt x="362" y="382"/>
                    <a:pt x="362" y="382"/>
                  </a:cubicBezTo>
                  <a:cubicBezTo>
                    <a:pt x="361" y="382"/>
                    <a:pt x="361" y="382"/>
                    <a:pt x="360" y="381"/>
                  </a:cubicBezTo>
                  <a:cubicBezTo>
                    <a:pt x="361" y="381"/>
                    <a:pt x="362" y="382"/>
                    <a:pt x="362" y="382"/>
                  </a:cubicBezTo>
                  <a:cubicBezTo>
                    <a:pt x="364" y="382"/>
                    <a:pt x="363" y="379"/>
                    <a:pt x="360" y="378"/>
                  </a:cubicBezTo>
                  <a:cubicBezTo>
                    <a:pt x="358" y="375"/>
                    <a:pt x="355" y="374"/>
                    <a:pt x="352" y="372"/>
                  </a:cubicBezTo>
                  <a:cubicBezTo>
                    <a:pt x="352" y="372"/>
                    <a:pt x="352" y="372"/>
                    <a:pt x="353" y="372"/>
                  </a:cubicBezTo>
                  <a:cubicBezTo>
                    <a:pt x="353" y="372"/>
                    <a:pt x="354" y="372"/>
                    <a:pt x="355" y="372"/>
                  </a:cubicBezTo>
                  <a:cubicBezTo>
                    <a:pt x="356" y="372"/>
                    <a:pt x="356" y="372"/>
                    <a:pt x="357" y="372"/>
                  </a:cubicBezTo>
                  <a:cubicBezTo>
                    <a:pt x="358" y="372"/>
                    <a:pt x="358" y="372"/>
                    <a:pt x="358" y="372"/>
                  </a:cubicBezTo>
                  <a:cubicBezTo>
                    <a:pt x="359" y="371"/>
                    <a:pt x="357" y="369"/>
                    <a:pt x="359" y="369"/>
                  </a:cubicBezTo>
                  <a:cubicBezTo>
                    <a:pt x="359" y="369"/>
                    <a:pt x="359" y="369"/>
                    <a:pt x="360" y="369"/>
                  </a:cubicBezTo>
                  <a:cubicBezTo>
                    <a:pt x="360" y="369"/>
                    <a:pt x="359" y="368"/>
                    <a:pt x="360" y="368"/>
                  </a:cubicBezTo>
                  <a:cubicBezTo>
                    <a:pt x="360" y="368"/>
                    <a:pt x="360" y="368"/>
                    <a:pt x="360" y="368"/>
                  </a:cubicBezTo>
                  <a:cubicBezTo>
                    <a:pt x="362" y="369"/>
                    <a:pt x="361" y="371"/>
                    <a:pt x="360" y="372"/>
                  </a:cubicBezTo>
                  <a:cubicBezTo>
                    <a:pt x="359" y="375"/>
                    <a:pt x="358" y="374"/>
                    <a:pt x="360" y="376"/>
                  </a:cubicBezTo>
                  <a:cubicBezTo>
                    <a:pt x="361" y="377"/>
                    <a:pt x="362" y="378"/>
                    <a:pt x="363" y="378"/>
                  </a:cubicBezTo>
                  <a:cubicBezTo>
                    <a:pt x="364" y="378"/>
                    <a:pt x="364" y="377"/>
                    <a:pt x="365" y="377"/>
                  </a:cubicBezTo>
                  <a:cubicBezTo>
                    <a:pt x="366" y="377"/>
                    <a:pt x="367" y="376"/>
                    <a:pt x="367" y="376"/>
                  </a:cubicBezTo>
                  <a:cubicBezTo>
                    <a:pt x="368" y="376"/>
                    <a:pt x="368" y="376"/>
                    <a:pt x="368" y="377"/>
                  </a:cubicBezTo>
                  <a:cubicBezTo>
                    <a:pt x="369" y="377"/>
                    <a:pt x="369" y="377"/>
                    <a:pt x="370" y="377"/>
                  </a:cubicBezTo>
                  <a:cubicBezTo>
                    <a:pt x="371" y="377"/>
                    <a:pt x="372" y="375"/>
                    <a:pt x="372" y="374"/>
                  </a:cubicBezTo>
                  <a:cubicBezTo>
                    <a:pt x="373" y="376"/>
                    <a:pt x="372" y="378"/>
                    <a:pt x="375" y="380"/>
                  </a:cubicBezTo>
                  <a:cubicBezTo>
                    <a:pt x="374" y="380"/>
                    <a:pt x="374" y="380"/>
                    <a:pt x="374" y="380"/>
                  </a:cubicBezTo>
                  <a:cubicBezTo>
                    <a:pt x="372" y="380"/>
                    <a:pt x="369" y="380"/>
                    <a:pt x="373" y="382"/>
                  </a:cubicBezTo>
                  <a:cubicBezTo>
                    <a:pt x="372" y="382"/>
                    <a:pt x="372" y="382"/>
                    <a:pt x="372" y="382"/>
                  </a:cubicBezTo>
                  <a:cubicBezTo>
                    <a:pt x="372" y="382"/>
                    <a:pt x="373" y="384"/>
                    <a:pt x="373" y="384"/>
                  </a:cubicBezTo>
                  <a:cubicBezTo>
                    <a:pt x="373" y="385"/>
                    <a:pt x="373" y="385"/>
                    <a:pt x="373" y="385"/>
                  </a:cubicBezTo>
                  <a:cubicBezTo>
                    <a:pt x="372" y="385"/>
                    <a:pt x="372" y="385"/>
                    <a:pt x="371" y="384"/>
                  </a:cubicBezTo>
                  <a:cubicBezTo>
                    <a:pt x="373" y="385"/>
                    <a:pt x="373" y="386"/>
                    <a:pt x="372" y="388"/>
                  </a:cubicBezTo>
                  <a:cubicBezTo>
                    <a:pt x="378" y="386"/>
                    <a:pt x="374" y="387"/>
                    <a:pt x="376" y="384"/>
                  </a:cubicBezTo>
                  <a:cubicBezTo>
                    <a:pt x="378" y="384"/>
                    <a:pt x="378" y="384"/>
                    <a:pt x="378" y="384"/>
                  </a:cubicBezTo>
                  <a:cubicBezTo>
                    <a:pt x="378" y="384"/>
                    <a:pt x="378" y="384"/>
                    <a:pt x="378" y="384"/>
                  </a:cubicBezTo>
                  <a:cubicBezTo>
                    <a:pt x="378" y="384"/>
                    <a:pt x="378" y="384"/>
                    <a:pt x="378" y="384"/>
                  </a:cubicBezTo>
                  <a:cubicBezTo>
                    <a:pt x="378" y="384"/>
                    <a:pt x="378" y="383"/>
                    <a:pt x="379" y="383"/>
                  </a:cubicBezTo>
                  <a:cubicBezTo>
                    <a:pt x="379" y="383"/>
                    <a:pt x="379" y="384"/>
                    <a:pt x="380" y="384"/>
                  </a:cubicBezTo>
                  <a:cubicBezTo>
                    <a:pt x="378" y="382"/>
                    <a:pt x="378" y="381"/>
                    <a:pt x="376" y="379"/>
                  </a:cubicBezTo>
                  <a:cubicBezTo>
                    <a:pt x="376" y="379"/>
                    <a:pt x="376" y="379"/>
                    <a:pt x="376" y="379"/>
                  </a:cubicBezTo>
                  <a:cubicBezTo>
                    <a:pt x="377" y="379"/>
                    <a:pt x="378" y="379"/>
                    <a:pt x="379" y="380"/>
                  </a:cubicBezTo>
                  <a:cubicBezTo>
                    <a:pt x="380" y="380"/>
                    <a:pt x="381" y="381"/>
                    <a:pt x="382" y="381"/>
                  </a:cubicBezTo>
                  <a:cubicBezTo>
                    <a:pt x="382" y="381"/>
                    <a:pt x="383" y="381"/>
                    <a:pt x="383" y="380"/>
                  </a:cubicBezTo>
                  <a:cubicBezTo>
                    <a:pt x="383" y="380"/>
                    <a:pt x="382" y="378"/>
                    <a:pt x="382" y="377"/>
                  </a:cubicBezTo>
                  <a:cubicBezTo>
                    <a:pt x="382" y="377"/>
                    <a:pt x="383" y="377"/>
                    <a:pt x="383" y="377"/>
                  </a:cubicBezTo>
                  <a:cubicBezTo>
                    <a:pt x="384" y="377"/>
                    <a:pt x="387" y="378"/>
                    <a:pt x="387" y="379"/>
                  </a:cubicBezTo>
                  <a:cubicBezTo>
                    <a:pt x="387" y="380"/>
                    <a:pt x="387" y="382"/>
                    <a:pt x="388" y="382"/>
                  </a:cubicBezTo>
                  <a:cubicBezTo>
                    <a:pt x="388" y="382"/>
                    <a:pt x="388" y="382"/>
                    <a:pt x="388" y="382"/>
                  </a:cubicBezTo>
                  <a:cubicBezTo>
                    <a:pt x="390" y="381"/>
                    <a:pt x="390" y="381"/>
                    <a:pt x="391" y="380"/>
                  </a:cubicBezTo>
                  <a:cubicBezTo>
                    <a:pt x="391" y="379"/>
                    <a:pt x="389" y="378"/>
                    <a:pt x="391" y="377"/>
                  </a:cubicBezTo>
                  <a:cubicBezTo>
                    <a:pt x="392" y="380"/>
                    <a:pt x="392" y="381"/>
                    <a:pt x="390" y="383"/>
                  </a:cubicBezTo>
                  <a:cubicBezTo>
                    <a:pt x="390" y="384"/>
                    <a:pt x="386" y="383"/>
                    <a:pt x="389" y="385"/>
                  </a:cubicBezTo>
                  <a:cubicBezTo>
                    <a:pt x="389" y="385"/>
                    <a:pt x="389" y="385"/>
                    <a:pt x="388" y="385"/>
                  </a:cubicBezTo>
                  <a:cubicBezTo>
                    <a:pt x="387" y="385"/>
                    <a:pt x="387" y="386"/>
                    <a:pt x="387" y="387"/>
                  </a:cubicBezTo>
                  <a:cubicBezTo>
                    <a:pt x="387" y="387"/>
                    <a:pt x="388" y="387"/>
                    <a:pt x="388" y="388"/>
                  </a:cubicBezTo>
                  <a:cubicBezTo>
                    <a:pt x="389" y="389"/>
                    <a:pt x="389" y="389"/>
                    <a:pt x="389" y="389"/>
                  </a:cubicBezTo>
                  <a:cubicBezTo>
                    <a:pt x="389" y="391"/>
                    <a:pt x="389" y="391"/>
                    <a:pt x="389" y="391"/>
                  </a:cubicBezTo>
                  <a:cubicBezTo>
                    <a:pt x="389" y="391"/>
                    <a:pt x="389" y="391"/>
                    <a:pt x="390" y="391"/>
                  </a:cubicBezTo>
                  <a:cubicBezTo>
                    <a:pt x="390" y="391"/>
                    <a:pt x="390" y="390"/>
                    <a:pt x="391" y="390"/>
                  </a:cubicBezTo>
                  <a:cubicBezTo>
                    <a:pt x="392" y="390"/>
                    <a:pt x="392" y="390"/>
                    <a:pt x="392" y="390"/>
                  </a:cubicBezTo>
                  <a:cubicBezTo>
                    <a:pt x="396" y="390"/>
                    <a:pt x="399" y="395"/>
                    <a:pt x="401" y="398"/>
                  </a:cubicBezTo>
                  <a:cubicBezTo>
                    <a:pt x="398" y="398"/>
                    <a:pt x="400" y="399"/>
                    <a:pt x="401" y="401"/>
                  </a:cubicBezTo>
                  <a:cubicBezTo>
                    <a:pt x="402" y="402"/>
                    <a:pt x="402" y="402"/>
                    <a:pt x="403" y="402"/>
                  </a:cubicBezTo>
                  <a:cubicBezTo>
                    <a:pt x="404" y="402"/>
                    <a:pt x="405" y="400"/>
                    <a:pt x="405" y="398"/>
                  </a:cubicBezTo>
                  <a:cubicBezTo>
                    <a:pt x="406" y="400"/>
                    <a:pt x="406" y="401"/>
                    <a:pt x="407" y="403"/>
                  </a:cubicBezTo>
                  <a:cubicBezTo>
                    <a:pt x="407" y="404"/>
                    <a:pt x="406" y="403"/>
                    <a:pt x="406" y="404"/>
                  </a:cubicBezTo>
                  <a:cubicBezTo>
                    <a:pt x="406" y="407"/>
                    <a:pt x="406" y="407"/>
                    <a:pt x="406" y="407"/>
                  </a:cubicBezTo>
                  <a:cubicBezTo>
                    <a:pt x="407" y="408"/>
                    <a:pt x="408" y="409"/>
                    <a:pt x="408" y="409"/>
                  </a:cubicBezTo>
                  <a:cubicBezTo>
                    <a:pt x="410" y="409"/>
                    <a:pt x="411" y="408"/>
                    <a:pt x="412" y="407"/>
                  </a:cubicBezTo>
                  <a:cubicBezTo>
                    <a:pt x="413" y="406"/>
                    <a:pt x="414" y="405"/>
                    <a:pt x="415" y="405"/>
                  </a:cubicBezTo>
                  <a:cubicBezTo>
                    <a:pt x="415" y="405"/>
                    <a:pt x="415" y="406"/>
                    <a:pt x="415" y="406"/>
                  </a:cubicBezTo>
                  <a:cubicBezTo>
                    <a:pt x="415" y="404"/>
                    <a:pt x="415" y="405"/>
                    <a:pt x="415" y="403"/>
                  </a:cubicBezTo>
                  <a:cubicBezTo>
                    <a:pt x="415" y="404"/>
                    <a:pt x="416" y="410"/>
                    <a:pt x="415" y="410"/>
                  </a:cubicBezTo>
                  <a:cubicBezTo>
                    <a:pt x="415" y="410"/>
                    <a:pt x="415" y="410"/>
                    <a:pt x="415" y="410"/>
                  </a:cubicBezTo>
                  <a:cubicBezTo>
                    <a:pt x="415" y="410"/>
                    <a:pt x="414" y="410"/>
                    <a:pt x="414" y="410"/>
                  </a:cubicBezTo>
                  <a:cubicBezTo>
                    <a:pt x="414" y="410"/>
                    <a:pt x="414" y="410"/>
                    <a:pt x="413" y="410"/>
                  </a:cubicBezTo>
                  <a:cubicBezTo>
                    <a:pt x="413" y="410"/>
                    <a:pt x="413" y="410"/>
                    <a:pt x="413" y="410"/>
                  </a:cubicBezTo>
                  <a:cubicBezTo>
                    <a:pt x="413" y="410"/>
                    <a:pt x="414" y="412"/>
                    <a:pt x="413" y="413"/>
                  </a:cubicBezTo>
                  <a:cubicBezTo>
                    <a:pt x="414" y="413"/>
                    <a:pt x="416" y="410"/>
                    <a:pt x="416" y="410"/>
                  </a:cubicBezTo>
                  <a:cubicBezTo>
                    <a:pt x="416" y="410"/>
                    <a:pt x="416" y="410"/>
                    <a:pt x="417" y="410"/>
                  </a:cubicBezTo>
                  <a:cubicBezTo>
                    <a:pt x="418" y="410"/>
                    <a:pt x="420" y="412"/>
                    <a:pt x="421" y="412"/>
                  </a:cubicBezTo>
                  <a:cubicBezTo>
                    <a:pt x="422" y="412"/>
                    <a:pt x="422" y="412"/>
                    <a:pt x="423" y="412"/>
                  </a:cubicBezTo>
                  <a:cubicBezTo>
                    <a:pt x="425" y="412"/>
                    <a:pt x="424" y="410"/>
                    <a:pt x="422" y="409"/>
                  </a:cubicBezTo>
                  <a:cubicBezTo>
                    <a:pt x="422" y="409"/>
                    <a:pt x="423" y="409"/>
                    <a:pt x="423" y="409"/>
                  </a:cubicBezTo>
                  <a:cubicBezTo>
                    <a:pt x="425" y="409"/>
                    <a:pt x="428" y="411"/>
                    <a:pt x="430" y="412"/>
                  </a:cubicBezTo>
                  <a:cubicBezTo>
                    <a:pt x="432" y="413"/>
                    <a:pt x="431" y="415"/>
                    <a:pt x="431" y="417"/>
                  </a:cubicBezTo>
                  <a:cubicBezTo>
                    <a:pt x="432" y="416"/>
                    <a:pt x="434" y="415"/>
                    <a:pt x="435" y="415"/>
                  </a:cubicBezTo>
                  <a:cubicBezTo>
                    <a:pt x="435" y="415"/>
                    <a:pt x="435" y="415"/>
                    <a:pt x="435" y="415"/>
                  </a:cubicBezTo>
                  <a:cubicBezTo>
                    <a:pt x="436" y="415"/>
                    <a:pt x="437" y="416"/>
                    <a:pt x="438" y="416"/>
                  </a:cubicBezTo>
                  <a:cubicBezTo>
                    <a:pt x="437" y="420"/>
                    <a:pt x="434" y="420"/>
                    <a:pt x="431" y="421"/>
                  </a:cubicBezTo>
                  <a:cubicBezTo>
                    <a:pt x="431" y="421"/>
                    <a:pt x="432" y="422"/>
                    <a:pt x="430" y="423"/>
                  </a:cubicBezTo>
                  <a:cubicBezTo>
                    <a:pt x="430" y="423"/>
                    <a:pt x="429" y="423"/>
                    <a:pt x="429" y="423"/>
                  </a:cubicBezTo>
                  <a:cubicBezTo>
                    <a:pt x="428" y="423"/>
                    <a:pt x="426" y="422"/>
                    <a:pt x="425" y="422"/>
                  </a:cubicBezTo>
                  <a:cubicBezTo>
                    <a:pt x="424" y="422"/>
                    <a:pt x="419" y="422"/>
                    <a:pt x="418" y="422"/>
                  </a:cubicBezTo>
                  <a:cubicBezTo>
                    <a:pt x="418" y="422"/>
                    <a:pt x="418" y="422"/>
                    <a:pt x="418" y="422"/>
                  </a:cubicBezTo>
                  <a:cubicBezTo>
                    <a:pt x="417" y="423"/>
                    <a:pt x="423" y="426"/>
                    <a:pt x="424" y="427"/>
                  </a:cubicBezTo>
                  <a:cubicBezTo>
                    <a:pt x="427" y="428"/>
                    <a:pt x="426" y="430"/>
                    <a:pt x="428" y="431"/>
                  </a:cubicBezTo>
                  <a:cubicBezTo>
                    <a:pt x="427" y="433"/>
                    <a:pt x="432" y="433"/>
                    <a:pt x="433" y="433"/>
                  </a:cubicBezTo>
                  <a:cubicBezTo>
                    <a:pt x="436" y="434"/>
                    <a:pt x="440" y="434"/>
                    <a:pt x="443" y="434"/>
                  </a:cubicBezTo>
                  <a:cubicBezTo>
                    <a:pt x="444" y="434"/>
                    <a:pt x="444" y="434"/>
                    <a:pt x="444" y="434"/>
                  </a:cubicBezTo>
                  <a:cubicBezTo>
                    <a:pt x="444" y="433"/>
                    <a:pt x="445" y="432"/>
                    <a:pt x="446" y="432"/>
                  </a:cubicBezTo>
                  <a:cubicBezTo>
                    <a:pt x="446" y="434"/>
                    <a:pt x="445" y="436"/>
                    <a:pt x="444" y="437"/>
                  </a:cubicBezTo>
                  <a:cubicBezTo>
                    <a:pt x="444" y="437"/>
                    <a:pt x="443" y="437"/>
                    <a:pt x="443" y="437"/>
                  </a:cubicBezTo>
                  <a:cubicBezTo>
                    <a:pt x="443" y="437"/>
                    <a:pt x="443" y="437"/>
                    <a:pt x="442" y="437"/>
                  </a:cubicBezTo>
                  <a:cubicBezTo>
                    <a:pt x="442" y="437"/>
                    <a:pt x="442" y="437"/>
                    <a:pt x="442" y="437"/>
                  </a:cubicBezTo>
                  <a:cubicBezTo>
                    <a:pt x="441" y="437"/>
                    <a:pt x="441" y="437"/>
                    <a:pt x="441" y="438"/>
                  </a:cubicBezTo>
                  <a:cubicBezTo>
                    <a:pt x="440" y="442"/>
                    <a:pt x="470" y="446"/>
                    <a:pt x="473" y="447"/>
                  </a:cubicBezTo>
                  <a:cubicBezTo>
                    <a:pt x="472" y="446"/>
                    <a:pt x="470" y="445"/>
                    <a:pt x="472" y="445"/>
                  </a:cubicBezTo>
                  <a:cubicBezTo>
                    <a:pt x="472" y="445"/>
                    <a:pt x="472" y="445"/>
                    <a:pt x="472" y="445"/>
                  </a:cubicBezTo>
                  <a:cubicBezTo>
                    <a:pt x="474" y="445"/>
                    <a:pt x="479" y="447"/>
                    <a:pt x="481" y="447"/>
                  </a:cubicBezTo>
                  <a:cubicBezTo>
                    <a:pt x="480" y="448"/>
                    <a:pt x="479" y="449"/>
                    <a:pt x="480" y="450"/>
                  </a:cubicBezTo>
                  <a:cubicBezTo>
                    <a:pt x="479" y="450"/>
                    <a:pt x="479" y="450"/>
                    <a:pt x="478" y="450"/>
                  </a:cubicBezTo>
                  <a:cubicBezTo>
                    <a:pt x="477" y="450"/>
                    <a:pt x="477" y="450"/>
                    <a:pt x="478" y="451"/>
                  </a:cubicBezTo>
                  <a:cubicBezTo>
                    <a:pt x="478" y="453"/>
                    <a:pt x="479" y="454"/>
                    <a:pt x="480" y="454"/>
                  </a:cubicBezTo>
                  <a:cubicBezTo>
                    <a:pt x="481" y="454"/>
                    <a:pt x="482" y="453"/>
                    <a:pt x="484" y="452"/>
                  </a:cubicBezTo>
                  <a:cubicBezTo>
                    <a:pt x="483" y="457"/>
                    <a:pt x="485" y="458"/>
                    <a:pt x="489" y="460"/>
                  </a:cubicBezTo>
                  <a:cubicBezTo>
                    <a:pt x="496" y="464"/>
                    <a:pt x="506" y="466"/>
                    <a:pt x="514" y="468"/>
                  </a:cubicBezTo>
                  <a:cubicBezTo>
                    <a:pt x="514" y="467"/>
                    <a:pt x="514" y="467"/>
                    <a:pt x="514" y="466"/>
                  </a:cubicBezTo>
                  <a:cubicBezTo>
                    <a:pt x="515" y="467"/>
                    <a:pt x="515" y="468"/>
                    <a:pt x="517" y="469"/>
                  </a:cubicBezTo>
                  <a:cubicBezTo>
                    <a:pt x="525" y="471"/>
                    <a:pt x="534" y="474"/>
                    <a:pt x="543" y="476"/>
                  </a:cubicBezTo>
                  <a:cubicBezTo>
                    <a:pt x="547" y="477"/>
                    <a:pt x="550" y="478"/>
                    <a:pt x="553" y="479"/>
                  </a:cubicBezTo>
                  <a:cubicBezTo>
                    <a:pt x="554" y="479"/>
                    <a:pt x="554" y="479"/>
                    <a:pt x="555" y="479"/>
                  </a:cubicBezTo>
                  <a:cubicBezTo>
                    <a:pt x="557" y="479"/>
                    <a:pt x="559" y="479"/>
                    <a:pt x="561" y="478"/>
                  </a:cubicBezTo>
                  <a:cubicBezTo>
                    <a:pt x="561" y="477"/>
                    <a:pt x="558" y="475"/>
                    <a:pt x="557" y="474"/>
                  </a:cubicBezTo>
                  <a:cubicBezTo>
                    <a:pt x="557" y="472"/>
                    <a:pt x="557" y="471"/>
                    <a:pt x="556" y="470"/>
                  </a:cubicBezTo>
                  <a:cubicBezTo>
                    <a:pt x="556" y="471"/>
                    <a:pt x="558" y="472"/>
                    <a:pt x="559" y="472"/>
                  </a:cubicBezTo>
                  <a:cubicBezTo>
                    <a:pt x="559" y="472"/>
                    <a:pt x="559" y="472"/>
                    <a:pt x="560" y="472"/>
                  </a:cubicBezTo>
                  <a:cubicBezTo>
                    <a:pt x="561" y="471"/>
                    <a:pt x="559" y="468"/>
                    <a:pt x="562" y="467"/>
                  </a:cubicBezTo>
                  <a:cubicBezTo>
                    <a:pt x="560" y="465"/>
                    <a:pt x="557" y="467"/>
                    <a:pt x="554" y="465"/>
                  </a:cubicBezTo>
                  <a:cubicBezTo>
                    <a:pt x="555" y="465"/>
                    <a:pt x="555" y="465"/>
                    <a:pt x="555" y="465"/>
                  </a:cubicBezTo>
                  <a:cubicBezTo>
                    <a:pt x="555" y="465"/>
                    <a:pt x="555" y="465"/>
                    <a:pt x="555" y="465"/>
                  </a:cubicBezTo>
                  <a:cubicBezTo>
                    <a:pt x="556" y="465"/>
                    <a:pt x="556" y="465"/>
                    <a:pt x="556" y="465"/>
                  </a:cubicBezTo>
                  <a:cubicBezTo>
                    <a:pt x="556" y="465"/>
                    <a:pt x="556" y="465"/>
                    <a:pt x="556" y="465"/>
                  </a:cubicBezTo>
                  <a:cubicBezTo>
                    <a:pt x="555" y="463"/>
                    <a:pt x="554" y="462"/>
                    <a:pt x="554" y="462"/>
                  </a:cubicBezTo>
                  <a:cubicBezTo>
                    <a:pt x="553" y="462"/>
                    <a:pt x="553" y="463"/>
                    <a:pt x="552" y="463"/>
                  </a:cubicBezTo>
                  <a:cubicBezTo>
                    <a:pt x="552" y="463"/>
                    <a:pt x="552" y="463"/>
                    <a:pt x="551" y="463"/>
                  </a:cubicBezTo>
                  <a:cubicBezTo>
                    <a:pt x="551" y="463"/>
                    <a:pt x="550" y="463"/>
                    <a:pt x="549" y="462"/>
                  </a:cubicBezTo>
                  <a:cubicBezTo>
                    <a:pt x="550" y="462"/>
                    <a:pt x="551" y="461"/>
                    <a:pt x="552" y="461"/>
                  </a:cubicBezTo>
                  <a:cubicBezTo>
                    <a:pt x="552" y="459"/>
                    <a:pt x="549" y="459"/>
                    <a:pt x="549" y="459"/>
                  </a:cubicBezTo>
                  <a:cubicBezTo>
                    <a:pt x="548" y="459"/>
                    <a:pt x="548" y="459"/>
                    <a:pt x="548" y="459"/>
                  </a:cubicBezTo>
                  <a:cubicBezTo>
                    <a:pt x="548" y="457"/>
                    <a:pt x="548" y="456"/>
                    <a:pt x="547" y="454"/>
                  </a:cubicBezTo>
                  <a:cubicBezTo>
                    <a:pt x="547" y="453"/>
                    <a:pt x="545" y="453"/>
                    <a:pt x="544" y="452"/>
                  </a:cubicBezTo>
                  <a:cubicBezTo>
                    <a:pt x="544" y="452"/>
                    <a:pt x="542" y="450"/>
                    <a:pt x="542" y="450"/>
                  </a:cubicBezTo>
                  <a:cubicBezTo>
                    <a:pt x="541" y="450"/>
                    <a:pt x="541" y="450"/>
                    <a:pt x="541" y="450"/>
                  </a:cubicBezTo>
                  <a:cubicBezTo>
                    <a:pt x="540" y="450"/>
                    <a:pt x="540" y="450"/>
                    <a:pt x="539" y="450"/>
                  </a:cubicBezTo>
                  <a:cubicBezTo>
                    <a:pt x="538" y="450"/>
                    <a:pt x="538" y="451"/>
                    <a:pt x="537" y="451"/>
                  </a:cubicBezTo>
                  <a:cubicBezTo>
                    <a:pt x="537" y="451"/>
                    <a:pt x="536" y="450"/>
                    <a:pt x="536" y="449"/>
                  </a:cubicBezTo>
                  <a:cubicBezTo>
                    <a:pt x="535" y="447"/>
                    <a:pt x="534" y="446"/>
                    <a:pt x="533" y="445"/>
                  </a:cubicBezTo>
                  <a:cubicBezTo>
                    <a:pt x="532" y="444"/>
                    <a:pt x="531" y="446"/>
                    <a:pt x="531" y="443"/>
                  </a:cubicBezTo>
                  <a:cubicBezTo>
                    <a:pt x="530" y="443"/>
                    <a:pt x="530" y="443"/>
                    <a:pt x="529" y="443"/>
                  </a:cubicBezTo>
                  <a:cubicBezTo>
                    <a:pt x="532" y="443"/>
                    <a:pt x="530" y="442"/>
                    <a:pt x="528" y="440"/>
                  </a:cubicBezTo>
                  <a:cubicBezTo>
                    <a:pt x="528" y="441"/>
                    <a:pt x="528" y="441"/>
                    <a:pt x="528" y="441"/>
                  </a:cubicBezTo>
                  <a:cubicBezTo>
                    <a:pt x="527" y="440"/>
                    <a:pt x="527" y="439"/>
                    <a:pt x="526" y="439"/>
                  </a:cubicBezTo>
                  <a:cubicBezTo>
                    <a:pt x="526" y="439"/>
                    <a:pt x="526" y="439"/>
                    <a:pt x="526" y="439"/>
                  </a:cubicBezTo>
                  <a:cubicBezTo>
                    <a:pt x="525" y="439"/>
                    <a:pt x="524" y="439"/>
                    <a:pt x="524" y="440"/>
                  </a:cubicBezTo>
                  <a:cubicBezTo>
                    <a:pt x="523" y="440"/>
                    <a:pt x="522" y="441"/>
                    <a:pt x="521" y="441"/>
                  </a:cubicBezTo>
                  <a:cubicBezTo>
                    <a:pt x="521" y="441"/>
                    <a:pt x="521" y="441"/>
                    <a:pt x="521" y="441"/>
                  </a:cubicBezTo>
                  <a:cubicBezTo>
                    <a:pt x="522" y="440"/>
                    <a:pt x="524" y="439"/>
                    <a:pt x="525" y="438"/>
                  </a:cubicBezTo>
                  <a:cubicBezTo>
                    <a:pt x="524" y="437"/>
                    <a:pt x="524" y="437"/>
                    <a:pt x="523" y="437"/>
                  </a:cubicBezTo>
                  <a:cubicBezTo>
                    <a:pt x="522" y="437"/>
                    <a:pt x="521" y="438"/>
                    <a:pt x="520" y="438"/>
                  </a:cubicBezTo>
                  <a:cubicBezTo>
                    <a:pt x="520" y="438"/>
                    <a:pt x="520" y="440"/>
                    <a:pt x="520" y="440"/>
                  </a:cubicBezTo>
                  <a:cubicBezTo>
                    <a:pt x="519" y="440"/>
                    <a:pt x="519" y="439"/>
                    <a:pt x="519" y="438"/>
                  </a:cubicBezTo>
                  <a:cubicBezTo>
                    <a:pt x="520" y="437"/>
                    <a:pt x="521" y="436"/>
                    <a:pt x="523" y="436"/>
                  </a:cubicBezTo>
                  <a:cubicBezTo>
                    <a:pt x="522" y="436"/>
                    <a:pt x="517" y="434"/>
                    <a:pt x="517" y="434"/>
                  </a:cubicBezTo>
                  <a:cubicBezTo>
                    <a:pt x="517" y="434"/>
                    <a:pt x="517" y="434"/>
                    <a:pt x="517" y="434"/>
                  </a:cubicBezTo>
                  <a:cubicBezTo>
                    <a:pt x="516" y="434"/>
                    <a:pt x="515" y="436"/>
                    <a:pt x="515" y="436"/>
                  </a:cubicBezTo>
                  <a:cubicBezTo>
                    <a:pt x="514" y="436"/>
                    <a:pt x="514" y="435"/>
                    <a:pt x="514" y="433"/>
                  </a:cubicBezTo>
                  <a:cubicBezTo>
                    <a:pt x="514" y="434"/>
                    <a:pt x="514" y="434"/>
                    <a:pt x="514" y="434"/>
                  </a:cubicBezTo>
                  <a:cubicBezTo>
                    <a:pt x="514" y="433"/>
                    <a:pt x="513" y="432"/>
                    <a:pt x="513" y="432"/>
                  </a:cubicBezTo>
                  <a:cubicBezTo>
                    <a:pt x="512" y="432"/>
                    <a:pt x="512" y="432"/>
                    <a:pt x="512" y="432"/>
                  </a:cubicBezTo>
                  <a:cubicBezTo>
                    <a:pt x="511" y="433"/>
                    <a:pt x="511" y="433"/>
                    <a:pt x="511" y="433"/>
                  </a:cubicBezTo>
                  <a:cubicBezTo>
                    <a:pt x="511" y="433"/>
                    <a:pt x="510" y="433"/>
                    <a:pt x="510" y="433"/>
                  </a:cubicBezTo>
                  <a:cubicBezTo>
                    <a:pt x="508" y="432"/>
                    <a:pt x="508" y="429"/>
                    <a:pt x="507" y="427"/>
                  </a:cubicBezTo>
                  <a:cubicBezTo>
                    <a:pt x="505" y="425"/>
                    <a:pt x="502" y="422"/>
                    <a:pt x="499" y="420"/>
                  </a:cubicBezTo>
                  <a:cubicBezTo>
                    <a:pt x="498" y="419"/>
                    <a:pt x="497" y="418"/>
                    <a:pt x="496" y="417"/>
                  </a:cubicBezTo>
                  <a:cubicBezTo>
                    <a:pt x="495" y="416"/>
                    <a:pt x="492" y="414"/>
                    <a:pt x="492" y="412"/>
                  </a:cubicBezTo>
                  <a:cubicBezTo>
                    <a:pt x="491" y="411"/>
                    <a:pt x="491" y="411"/>
                    <a:pt x="491" y="411"/>
                  </a:cubicBezTo>
                  <a:cubicBezTo>
                    <a:pt x="492" y="411"/>
                    <a:pt x="493" y="411"/>
                    <a:pt x="494" y="411"/>
                  </a:cubicBezTo>
                  <a:cubicBezTo>
                    <a:pt x="495" y="411"/>
                    <a:pt x="495" y="411"/>
                    <a:pt x="496" y="411"/>
                  </a:cubicBezTo>
                  <a:cubicBezTo>
                    <a:pt x="496" y="408"/>
                    <a:pt x="499" y="405"/>
                    <a:pt x="502" y="405"/>
                  </a:cubicBezTo>
                  <a:cubicBezTo>
                    <a:pt x="506" y="405"/>
                    <a:pt x="509" y="408"/>
                    <a:pt x="509" y="411"/>
                  </a:cubicBezTo>
                  <a:cubicBezTo>
                    <a:pt x="509" y="412"/>
                    <a:pt x="508" y="414"/>
                    <a:pt x="508" y="414"/>
                  </a:cubicBezTo>
                  <a:cubicBezTo>
                    <a:pt x="508" y="414"/>
                    <a:pt x="508" y="414"/>
                    <a:pt x="508" y="414"/>
                  </a:cubicBezTo>
                  <a:cubicBezTo>
                    <a:pt x="509" y="415"/>
                    <a:pt x="509" y="416"/>
                    <a:pt x="509" y="416"/>
                  </a:cubicBezTo>
                  <a:cubicBezTo>
                    <a:pt x="508" y="416"/>
                    <a:pt x="509" y="416"/>
                    <a:pt x="509" y="416"/>
                  </a:cubicBezTo>
                  <a:cubicBezTo>
                    <a:pt x="509" y="416"/>
                    <a:pt x="509" y="416"/>
                    <a:pt x="509" y="416"/>
                  </a:cubicBezTo>
                  <a:cubicBezTo>
                    <a:pt x="509" y="416"/>
                    <a:pt x="509" y="416"/>
                    <a:pt x="510" y="416"/>
                  </a:cubicBezTo>
                  <a:cubicBezTo>
                    <a:pt x="510" y="416"/>
                    <a:pt x="510" y="416"/>
                    <a:pt x="510" y="416"/>
                  </a:cubicBezTo>
                  <a:cubicBezTo>
                    <a:pt x="511" y="417"/>
                    <a:pt x="512" y="418"/>
                    <a:pt x="514" y="419"/>
                  </a:cubicBezTo>
                  <a:cubicBezTo>
                    <a:pt x="514" y="418"/>
                    <a:pt x="514" y="418"/>
                    <a:pt x="514" y="418"/>
                  </a:cubicBezTo>
                  <a:cubicBezTo>
                    <a:pt x="514" y="419"/>
                    <a:pt x="514" y="419"/>
                    <a:pt x="514" y="419"/>
                  </a:cubicBezTo>
                  <a:cubicBezTo>
                    <a:pt x="515" y="420"/>
                    <a:pt x="517" y="422"/>
                    <a:pt x="518" y="423"/>
                  </a:cubicBezTo>
                  <a:cubicBezTo>
                    <a:pt x="519" y="424"/>
                    <a:pt x="520" y="425"/>
                    <a:pt x="520" y="425"/>
                  </a:cubicBezTo>
                  <a:cubicBezTo>
                    <a:pt x="521" y="425"/>
                    <a:pt x="521" y="423"/>
                    <a:pt x="520" y="421"/>
                  </a:cubicBezTo>
                  <a:cubicBezTo>
                    <a:pt x="519" y="419"/>
                    <a:pt x="519" y="418"/>
                    <a:pt x="518" y="416"/>
                  </a:cubicBezTo>
                  <a:cubicBezTo>
                    <a:pt x="518" y="416"/>
                    <a:pt x="516" y="412"/>
                    <a:pt x="516" y="411"/>
                  </a:cubicBezTo>
                  <a:cubicBezTo>
                    <a:pt x="516" y="411"/>
                    <a:pt x="516" y="411"/>
                    <a:pt x="516" y="411"/>
                  </a:cubicBezTo>
                  <a:cubicBezTo>
                    <a:pt x="518" y="411"/>
                    <a:pt x="518" y="414"/>
                    <a:pt x="519" y="415"/>
                  </a:cubicBezTo>
                  <a:cubicBezTo>
                    <a:pt x="519" y="415"/>
                    <a:pt x="519" y="415"/>
                    <a:pt x="519" y="415"/>
                  </a:cubicBezTo>
                  <a:cubicBezTo>
                    <a:pt x="519" y="415"/>
                    <a:pt x="520" y="415"/>
                    <a:pt x="520" y="414"/>
                  </a:cubicBezTo>
                  <a:cubicBezTo>
                    <a:pt x="520" y="414"/>
                    <a:pt x="521" y="414"/>
                    <a:pt x="521" y="414"/>
                  </a:cubicBezTo>
                  <a:cubicBezTo>
                    <a:pt x="521" y="414"/>
                    <a:pt x="521" y="414"/>
                    <a:pt x="521" y="414"/>
                  </a:cubicBezTo>
                  <a:cubicBezTo>
                    <a:pt x="521" y="414"/>
                    <a:pt x="522" y="416"/>
                    <a:pt x="522" y="417"/>
                  </a:cubicBezTo>
                  <a:cubicBezTo>
                    <a:pt x="523" y="418"/>
                    <a:pt x="524" y="419"/>
                    <a:pt x="525" y="420"/>
                  </a:cubicBezTo>
                  <a:cubicBezTo>
                    <a:pt x="525" y="421"/>
                    <a:pt x="526" y="423"/>
                    <a:pt x="527" y="423"/>
                  </a:cubicBezTo>
                  <a:cubicBezTo>
                    <a:pt x="527" y="423"/>
                    <a:pt x="528" y="423"/>
                    <a:pt x="528" y="423"/>
                  </a:cubicBezTo>
                  <a:cubicBezTo>
                    <a:pt x="529" y="426"/>
                    <a:pt x="533" y="428"/>
                    <a:pt x="536" y="428"/>
                  </a:cubicBezTo>
                  <a:cubicBezTo>
                    <a:pt x="536" y="428"/>
                    <a:pt x="536" y="428"/>
                    <a:pt x="536" y="428"/>
                  </a:cubicBezTo>
                  <a:cubicBezTo>
                    <a:pt x="537" y="428"/>
                    <a:pt x="537" y="427"/>
                    <a:pt x="537" y="427"/>
                  </a:cubicBezTo>
                  <a:cubicBezTo>
                    <a:pt x="538" y="427"/>
                    <a:pt x="538" y="428"/>
                    <a:pt x="538" y="428"/>
                  </a:cubicBezTo>
                  <a:cubicBezTo>
                    <a:pt x="538" y="428"/>
                    <a:pt x="537" y="429"/>
                    <a:pt x="537" y="430"/>
                  </a:cubicBezTo>
                  <a:cubicBezTo>
                    <a:pt x="538" y="430"/>
                    <a:pt x="538" y="430"/>
                    <a:pt x="538" y="431"/>
                  </a:cubicBezTo>
                  <a:cubicBezTo>
                    <a:pt x="539" y="432"/>
                    <a:pt x="540" y="433"/>
                    <a:pt x="541" y="433"/>
                  </a:cubicBezTo>
                  <a:cubicBezTo>
                    <a:pt x="541" y="433"/>
                    <a:pt x="542" y="432"/>
                    <a:pt x="543" y="431"/>
                  </a:cubicBezTo>
                  <a:cubicBezTo>
                    <a:pt x="542" y="433"/>
                    <a:pt x="542" y="434"/>
                    <a:pt x="543" y="436"/>
                  </a:cubicBezTo>
                  <a:cubicBezTo>
                    <a:pt x="544" y="437"/>
                    <a:pt x="546" y="437"/>
                    <a:pt x="547" y="438"/>
                  </a:cubicBezTo>
                  <a:cubicBezTo>
                    <a:pt x="547" y="437"/>
                    <a:pt x="545" y="436"/>
                    <a:pt x="545" y="435"/>
                  </a:cubicBezTo>
                  <a:cubicBezTo>
                    <a:pt x="545" y="435"/>
                    <a:pt x="546" y="435"/>
                    <a:pt x="546" y="435"/>
                  </a:cubicBezTo>
                  <a:cubicBezTo>
                    <a:pt x="549" y="435"/>
                    <a:pt x="545" y="430"/>
                    <a:pt x="543" y="428"/>
                  </a:cubicBezTo>
                  <a:cubicBezTo>
                    <a:pt x="549" y="429"/>
                    <a:pt x="546" y="436"/>
                    <a:pt x="551" y="438"/>
                  </a:cubicBezTo>
                  <a:cubicBezTo>
                    <a:pt x="552" y="439"/>
                    <a:pt x="554" y="440"/>
                    <a:pt x="556" y="440"/>
                  </a:cubicBezTo>
                  <a:cubicBezTo>
                    <a:pt x="556" y="440"/>
                    <a:pt x="557" y="440"/>
                    <a:pt x="557" y="440"/>
                  </a:cubicBezTo>
                  <a:cubicBezTo>
                    <a:pt x="557" y="440"/>
                    <a:pt x="557" y="440"/>
                    <a:pt x="557" y="439"/>
                  </a:cubicBezTo>
                  <a:cubicBezTo>
                    <a:pt x="557" y="437"/>
                    <a:pt x="555" y="435"/>
                    <a:pt x="554" y="434"/>
                  </a:cubicBezTo>
                  <a:cubicBezTo>
                    <a:pt x="554" y="434"/>
                    <a:pt x="554" y="434"/>
                    <a:pt x="554" y="434"/>
                  </a:cubicBezTo>
                  <a:cubicBezTo>
                    <a:pt x="556" y="434"/>
                    <a:pt x="556" y="435"/>
                    <a:pt x="557" y="436"/>
                  </a:cubicBezTo>
                  <a:cubicBezTo>
                    <a:pt x="558" y="437"/>
                    <a:pt x="558" y="437"/>
                    <a:pt x="558" y="437"/>
                  </a:cubicBezTo>
                  <a:cubicBezTo>
                    <a:pt x="558" y="437"/>
                    <a:pt x="558" y="437"/>
                    <a:pt x="558" y="437"/>
                  </a:cubicBezTo>
                  <a:cubicBezTo>
                    <a:pt x="558" y="437"/>
                    <a:pt x="558" y="437"/>
                    <a:pt x="558" y="437"/>
                  </a:cubicBezTo>
                  <a:cubicBezTo>
                    <a:pt x="558" y="437"/>
                    <a:pt x="559" y="436"/>
                    <a:pt x="559" y="436"/>
                  </a:cubicBezTo>
                  <a:cubicBezTo>
                    <a:pt x="559" y="436"/>
                    <a:pt x="559" y="436"/>
                    <a:pt x="559" y="437"/>
                  </a:cubicBezTo>
                  <a:cubicBezTo>
                    <a:pt x="560" y="437"/>
                    <a:pt x="559" y="439"/>
                    <a:pt x="561" y="439"/>
                  </a:cubicBezTo>
                  <a:cubicBezTo>
                    <a:pt x="561" y="439"/>
                    <a:pt x="561" y="439"/>
                    <a:pt x="561" y="439"/>
                  </a:cubicBezTo>
                  <a:cubicBezTo>
                    <a:pt x="562" y="439"/>
                    <a:pt x="563" y="437"/>
                    <a:pt x="564" y="437"/>
                  </a:cubicBezTo>
                  <a:cubicBezTo>
                    <a:pt x="564" y="438"/>
                    <a:pt x="561" y="440"/>
                    <a:pt x="561" y="440"/>
                  </a:cubicBezTo>
                  <a:cubicBezTo>
                    <a:pt x="561" y="441"/>
                    <a:pt x="563" y="441"/>
                    <a:pt x="563" y="441"/>
                  </a:cubicBezTo>
                  <a:cubicBezTo>
                    <a:pt x="564" y="442"/>
                    <a:pt x="565" y="442"/>
                    <a:pt x="565" y="442"/>
                  </a:cubicBezTo>
                  <a:cubicBezTo>
                    <a:pt x="566" y="442"/>
                    <a:pt x="566" y="441"/>
                    <a:pt x="567" y="439"/>
                  </a:cubicBezTo>
                  <a:cubicBezTo>
                    <a:pt x="566" y="442"/>
                    <a:pt x="569" y="445"/>
                    <a:pt x="572" y="445"/>
                  </a:cubicBezTo>
                  <a:cubicBezTo>
                    <a:pt x="573" y="445"/>
                    <a:pt x="575" y="444"/>
                    <a:pt x="576" y="443"/>
                  </a:cubicBezTo>
                  <a:cubicBezTo>
                    <a:pt x="576" y="444"/>
                    <a:pt x="576" y="444"/>
                    <a:pt x="577" y="444"/>
                  </a:cubicBezTo>
                  <a:cubicBezTo>
                    <a:pt x="577" y="444"/>
                    <a:pt x="577" y="444"/>
                    <a:pt x="577" y="444"/>
                  </a:cubicBezTo>
                  <a:cubicBezTo>
                    <a:pt x="575" y="445"/>
                    <a:pt x="575" y="446"/>
                    <a:pt x="576" y="446"/>
                  </a:cubicBezTo>
                  <a:cubicBezTo>
                    <a:pt x="577" y="446"/>
                    <a:pt x="577" y="446"/>
                    <a:pt x="578" y="446"/>
                  </a:cubicBezTo>
                  <a:cubicBezTo>
                    <a:pt x="577" y="447"/>
                    <a:pt x="575" y="450"/>
                    <a:pt x="576" y="450"/>
                  </a:cubicBezTo>
                  <a:cubicBezTo>
                    <a:pt x="576" y="450"/>
                    <a:pt x="576" y="450"/>
                    <a:pt x="577" y="449"/>
                  </a:cubicBezTo>
                  <a:cubicBezTo>
                    <a:pt x="577" y="451"/>
                    <a:pt x="578" y="454"/>
                    <a:pt x="579" y="454"/>
                  </a:cubicBezTo>
                  <a:cubicBezTo>
                    <a:pt x="579" y="454"/>
                    <a:pt x="579" y="454"/>
                    <a:pt x="580" y="454"/>
                  </a:cubicBezTo>
                  <a:cubicBezTo>
                    <a:pt x="581" y="454"/>
                    <a:pt x="583" y="452"/>
                    <a:pt x="585" y="452"/>
                  </a:cubicBezTo>
                  <a:cubicBezTo>
                    <a:pt x="584" y="449"/>
                    <a:pt x="581" y="446"/>
                    <a:pt x="580" y="443"/>
                  </a:cubicBezTo>
                  <a:cubicBezTo>
                    <a:pt x="579" y="442"/>
                    <a:pt x="578" y="440"/>
                    <a:pt x="577" y="440"/>
                  </a:cubicBezTo>
                  <a:cubicBezTo>
                    <a:pt x="578" y="440"/>
                    <a:pt x="580" y="440"/>
                    <a:pt x="581" y="441"/>
                  </a:cubicBezTo>
                  <a:cubicBezTo>
                    <a:pt x="580" y="440"/>
                    <a:pt x="581" y="439"/>
                    <a:pt x="581" y="438"/>
                  </a:cubicBezTo>
                  <a:cubicBezTo>
                    <a:pt x="581" y="440"/>
                    <a:pt x="583" y="442"/>
                    <a:pt x="585" y="443"/>
                  </a:cubicBezTo>
                  <a:cubicBezTo>
                    <a:pt x="586" y="443"/>
                    <a:pt x="586" y="443"/>
                    <a:pt x="587" y="443"/>
                  </a:cubicBezTo>
                  <a:cubicBezTo>
                    <a:pt x="588" y="443"/>
                    <a:pt x="588" y="443"/>
                    <a:pt x="589" y="442"/>
                  </a:cubicBezTo>
                  <a:cubicBezTo>
                    <a:pt x="590" y="442"/>
                    <a:pt x="590" y="442"/>
                    <a:pt x="591" y="442"/>
                  </a:cubicBezTo>
                  <a:cubicBezTo>
                    <a:pt x="591" y="442"/>
                    <a:pt x="591" y="442"/>
                    <a:pt x="592" y="442"/>
                  </a:cubicBezTo>
                  <a:cubicBezTo>
                    <a:pt x="591" y="441"/>
                    <a:pt x="588" y="440"/>
                    <a:pt x="587" y="439"/>
                  </a:cubicBezTo>
                  <a:cubicBezTo>
                    <a:pt x="587" y="438"/>
                    <a:pt x="591" y="436"/>
                    <a:pt x="589" y="434"/>
                  </a:cubicBezTo>
                  <a:cubicBezTo>
                    <a:pt x="587" y="433"/>
                    <a:pt x="585" y="432"/>
                    <a:pt x="584" y="432"/>
                  </a:cubicBezTo>
                  <a:cubicBezTo>
                    <a:pt x="584" y="431"/>
                    <a:pt x="580" y="431"/>
                    <a:pt x="584" y="430"/>
                  </a:cubicBezTo>
                  <a:cubicBezTo>
                    <a:pt x="582" y="430"/>
                    <a:pt x="581" y="430"/>
                    <a:pt x="580" y="428"/>
                  </a:cubicBezTo>
                  <a:cubicBezTo>
                    <a:pt x="581" y="428"/>
                    <a:pt x="582" y="429"/>
                    <a:pt x="583" y="429"/>
                  </a:cubicBezTo>
                  <a:cubicBezTo>
                    <a:pt x="583" y="429"/>
                    <a:pt x="583" y="429"/>
                    <a:pt x="583" y="428"/>
                  </a:cubicBezTo>
                  <a:cubicBezTo>
                    <a:pt x="584" y="428"/>
                    <a:pt x="585" y="429"/>
                    <a:pt x="585" y="429"/>
                  </a:cubicBezTo>
                  <a:cubicBezTo>
                    <a:pt x="586" y="429"/>
                    <a:pt x="586" y="429"/>
                    <a:pt x="585" y="428"/>
                  </a:cubicBezTo>
                  <a:cubicBezTo>
                    <a:pt x="584" y="427"/>
                    <a:pt x="581" y="424"/>
                    <a:pt x="581" y="423"/>
                  </a:cubicBezTo>
                  <a:cubicBezTo>
                    <a:pt x="580" y="422"/>
                    <a:pt x="583" y="422"/>
                    <a:pt x="582" y="421"/>
                  </a:cubicBezTo>
                  <a:cubicBezTo>
                    <a:pt x="582" y="420"/>
                    <a:pt x="582" y="419"/>
                    <a:pt x="582" y="418"/>
                  </a:cubicBezTo>
                  <a:cubicBezTo>
                    <a:pt x="582" y="417"/>
                    <a:pt x="583" y="417"/>
                    <a:pt x="583" y="417"/>
                  </a:cubicBezTo>
                  <a:cubicBezTo>
                    <a:pt x="583" y="416"/>
                    <a:pt x="584" y="417"/>
                    <a:pt x="582" y="415"/>
                  </a:cubicBezTo>
                  <a:cubicBezTo>
                    <a:pt x="581" y="413"/>
                    <a:pt x="579" y="411"/>
                    <a:pt x="577" y="409"/>
                  </a:cubicBezTo>
                  <a:cubicBezTo>
                    <a:pt x="577" y="409"/>
                    <a:pt x="577" y="409"/>
                    <a:pt x="577" y="409"/>
                  </a:cubicBezTo>
                  <a:cubicBezTo>
                    <a:pt x="580" y="409"/>
                    <a:pt x="581" y="412"/>
                    <a:pt x="582" y="414"/>
                  </a:cubicBezTo>
                  <a:cubicBezTo>
                    <a:pt x="583" y="415"/>
                    <a:pt x="585" y="414"/>
                    <a:pt x="585" y="416"/>
                  </a:cubicBezTo>
                  <a:cubicBezTo>
                    <a:pt x="586" y="417"/>
                    <a:pt x="586" y="418"/>
                    <a:pt x="587" y="420"/>
                  </a:cubicBezTo>
                  <a:cubicBezTo>
                    <a:pt x="588" y="422"/>
                    <a:pt x="589" y="427"/>
                    <a:pt x="591" y="428"/>
                  </a:cubicBezTo>
                  <a:cubicBezTo>
                    <a:pt x="591" y="429"/>
                    <a:pt x="592" y="429"/>
                    <a:pt x="593" y="429"/>
                  </a:cubicBezTo>
                  <a:cubicBezTo>
                    <a:pt x="594" y="429"/>
                    <a:pt x="595" y="429"/>
                    <a:pt x="595" y="428"/>
                  </a:cubicBezTo>
                  <a:cubicBezTo>
                    <a:pt x="595" y="428"/>
                    <a:pt x="594" y="427"/>
                    <a:pt x="593" y="427"/>
                  </a:cubicBezTo>
                  <a:cubicBezTo>
                    <a:pt x="593" y="427"/>
                    <a:pt x="593" y="427"/>
                    <a:pt x="593" y="427"/>
                  </a:cubicBezTo>
                  <a:cubicBezTo>
                    <a:pt x="596" y="427"/>
                    <a:pt x="595" y="421"/>
                    <a:pt x="595" y="419"/>
                  </a:cubicBezTo>
                  <a:cubicBezTo>
                    <a:pt x="594" y="415"/>
                    <a:pt x="595" y="413"/>
                    <a:pt x="590" y="411"/>
                  </a:cubicBezTo>
                  <a:cubicBezTo>
                    <a:pt x="587" y="409"/>
                    <a:pt x="582" y="411"/>
                    <a:pt x="586" y="406"/>
                  </a:cubicBezTo>
                  <a:cubicBezTo>
                    <a:pt x="587" y="405"/>
                    <a:pt x="590" y="403"/>
                    <a:pt x="592" y="403"/>
                  </a:cubicBezTo>
                  <a:cubicBezTo>
                    <a:pt x="591" y="402"/>
                    <a:pt x="589" y="401"/>
                    <a:pt x="588" y="401"/>
                  </a:cubicBezTo>
                  <a:cubicBezTo>
                    <a:pt x="588" y="401"/>
                    <a:pt x="587" y="401"/>
                    <a:pt x="587" y="401"/>
                  </a:cubicBezTo>
                  <a:cubicBezTo>
                    <a:pt x="586" y="401"/>
                    <a:pt x="586" y="403"/>
                    <a:pt x="585" y="403"/>
                  </a:cubicBezTo>
                  <a:cubicBezTo>
                    <a:pt x="585" y="403"/>
                    <a:pt x="585" y="403"/>
                    <a:pt x="585" y="403"/>
                  </a:cubicBezTo>
                  <a:cubicBezTo>
                    <a:pt x="585" y="403"/>
                    <a:pt x="582" y="401"/>
                    <a:pt x="582" y="401"/>
                  </a:cubicBezTo>
                  <a:cubicBezTo>
                    <a:pt x="581" y="401"/>
                    <a:pt x="580" y="401"/>
                    <a:pt x="579" y="401"/>
                  </a:cubicBezTo>
                  <a:cubicBezTo>
                    <a:pt x="580" y="400"/>
                    <a:pt x="581" y="400"/>
                    <a:pt x="582" y="399"/>
                  </a:cubicBezTo>
                  <a:cubicBezTo>
                    <a:pt x="578" y="399"/>
                    <a:pt x="580" y="397"/>
                    <a:pt x="577" y="395"/>
                  </a:cubicBezTo>
                  <a:cubicBezTo>
                    <a:pt x="577" y="395"/>
                    <a:pt x="577" y="395"/>
                    <a:pt x="577" y="395"/>
                  </a:cubicBezTo>
                  <a:cubicBezTo>
                    <a:pt x="576" y="395"/>
                    <a:pt x="575" y="396"/>
                    <a:pt x="575" y="396"/>
                  </a:cubicBezTo>
                  <a:cubicBezTo>
                    <a:pt x="575" y="395"/>
                    <a:pt x="576" y="394"/>
                    <a:pt x="577" y="394"/>
                  </a:cubicBezTo>
                  <a:cubicBezTo>
                    <a:pt x="575" y="392"/>
                    <a:pt x="573" y="393"/>
                    <a:pt x="571" y="392"/>
                  </a:cubicBezTo>
                  <a:cubicBezTo>
                    <a:pt x="572" y="392"/>
                    <a:pt x="573" y="391"/>
                    <a:pt x="574" y="391"/>
                  </a:cubicBezTo>
                  <a:cubicBezTo>
                    <a:pt x="572" y="390"/>
                    <a:pt x="570" y="391"/>
                    <a:pt x="568" y="390"/>
                  </a:cubicBezTo>
                  <a:cubicBezTo>
                    <a:pt x="569" y="390"/>
                    <a:pt x="570" y="390"/>
                    <a:pt x="570" y="390"/>
                  </a:cubicBezTo>
                  <a:cubicBezTo>
                    <a:pt x="571" y="390"/>
                    <a:pt x="572" y="390"/>
                    <a:pt x="573" y="390"/>
                  </a:cubicBezTo>
                  <a:cubicBezTo>
                    <a:pt x="575" y="391"/>
                    <a:pt x="576" y="391"/>
                    <a:pt x="577" y="391"/>
                  </a:cubicBezTo>
                  <a:cubicBezTo>
                    <a:pt x="578" y="391"/>
                    <a:pt x="578" y="391"/>
                    <a:pt x="579" y="390"/>
                  </a:cubicBezTo>
                  <a:cubicBezTo>
                    <a:pt x="580" y="389"/>
                    <a:pt x="579" y="388"/>
                    <a:pt x="579" y="387"/>
                  </a:cubicBezTo>
                  <a:cubicBezTo>
                    <a:pt x="579" y="387"/>
                    <a:pt x="581" y="386"/>
                    <a:pt x="581" y="386"/>
                  </a:cubicBezTo>
                  <a:cubicBezTo>
                    <a:pt x="582" y="383"/>
                    <a:pt x="580" y="384"/>
                    <a:pt x="577" y="383"/>
                  </a:cubicBezTo>
                  <a:cubicBezTo>
                    <a:pt x="577" y="384"/>
                    <a:pt x="577" y="384"/>
                    <a:pt x="576" y="384"/>
                  </a:cubicBezTo>
                  <a:cubicBezTo>
                    <a:pt x="574" y="385"/>
                    <a:pt x="574" y="385"/>
                    <a:pt x="574" y="385"/>
                  </a:cubicBezTo>
                  <a:cubicBezTo>
                    <a:pt x="571" y="384"/>
                    <a:pt x="571" y="384"/>
                    <a:pt x="571" y="384"/>
                  </a:cubicBezTo>
                  <a:cubicBezTo>
                    <a:pt x="571" y="383"/>
                    <a:pt x="571" y="383"/>
                    <a:pt x="570" y="383"/>
                  </a:cubicBezTo>
                  <a:cubicBezTo>
                    <a:pt x="570" y="383"/>
                    <a:pt x="569" y="383"/>
                    <a:pt x="569" y="383"/>
                  </a:cubicBezTo>
                  <a:cubicBezTo>
                    <a:pt x="569" y="383"/>
                    <a:pt x="568" y="383"/>
                    <a:pt x="568" y="383"/>
                  </a:cubicBezTo>
                  <a:cubicBezTo>
                    <a:pt x="568" y="383"/>
                    <a:pt x="568" y="383"/>
                    <a:pt x="568" y="383"/>
                  </a:cubicBezTo>
                  <a:cubicBezTo>
                    <a:pt x="565" y="382"/>
                    <a:pt x="570" y="379"/>
                    <a:pt x="570" y="377"/>
                  </a:cubicBezTo>
                  <a:cubicBezTo>
                    <a:pt x="571" y="375"/>
                    <a:pt x="569" y="374"/>
                    <a:pt x="568" y="374"/>
                  </a:cubicBezTo>
                  <a:cubicBezTo>
                    <a:pt x="567" y="374"/>
                    <a:pt x="567" y="374"/>
                    <a:pt x="567" y="376"/>
                  </a:cubicBezTo>
                  <a:cubicBezTo>
                    <a:pt x="566" y="374"/>
                    <a:pt x="568" y="373"/>
                    <a:pt x="567" y="372"/>
                  </a:cubicBezTo>
                  <a:cubicBezTo>
                    <a:pt x="567" y="372"/>
                    <a:pt x="565" y="372"/>
                    <a:pt x="565" y="371"/>
                  </a:cubicBezTo>
                  <a:cubicBezTo>
                    <a:pt x="565" y="371"/>
                    <a:pt x="564" y="369"/>
                    <a:pt x="564" y="369"/>
                  </a:cubicBezTo>
                  <a:cubicBezTo>
                    <a:pt x="564" y="369"/>
                    <a:pt x="563" y="369"/>
                    <a:pt x="563" y="369"/>
                  </a:cubicBezTo>
                  <a:cubicBezTo>
                    <a:pt x="563" y="369"/>
                    <a:pt x="563" y="369"/>
                    <a:pt x="563" y="369"/>
                  </a:cubicBezTo>
                  <a:cubicBezTo>
                    <a:pt x="562" y="368"/>
                    <a:pt x="562" y="368"/>
                    <a:pt x="562" y="368"/>
                  </a:cubicBezTo>
                  <a:cubicBezTo>
                    <a:pt x="562" y="368"/>
                    <a:pt x="562" y="368"/>
                    <a:pt x="562" y="368"/>
                  </a:cubicBezTo>
                  <a:cubicBezTo>
                    <a:pt x="560" y="370"/>
                    <a:pt x="563" y="376"/>
                    <a:pt x="564" y="378"/>
                  </a:cubicBezTo>
                  <a:cubicBezTo>
                    <a:pt x="562" y="376"/>
                    <a:pt x="562" y="375"/>
                    <a:pt x="560" y="373"/>
                  </a:cubicBezTo>
                  <a:cubicBezTo>
                    <a:pt x="560" y="375"/>
                    <a:pt x="560" y="375"/>
                    <a:pt x="560" y="375"/>
                  </a:cubicBezTo>
                  <a:cubicBezTo>
                    <a:pt x="560" y="375"/>
                    <a:pt x="559" y="373"/>
                    <a:pt x="558" y="372"/>
                  </a:cubicBezTo>
                  <a:cubicBezTo>
                    <a:pt x="557" y="373"/>
                    <a:pt x="557" y="376"/>
                    <a:pt x="557" y="376"/>
                  </a:cubicBezTo>
                  <a:cubicBezTo>
                    <a:pt x="556" y="376"/>
                    <a:pt x="556" y="376"/>
                    <a:pt x="556" y="376"/>
                  </a:cubicBezTo>
                  <a:cubicBezTo>
                    <a:pt x="555" y="376"/>
                    <a:pt x="554" y="373"/>
                    <a:pt x="553" y="373"/>
                  </a:cubicBezTo>
                  <a:cubicBezTo>
                    <a:pt x="555" y="373"/>
                    <a:pt x="557" y="373"/>
                    <a:pt x="556" y="370"/>
                  </a:cubicBezTo>
                  <a:cubicBezTo>
                    <a:pt x="556" y="369"/>
                    <a:pt x="556" y="368"/>
                    <a:pt x="555" y="368"/>
                  </a:cubicBezTo>
                  <a:cubicBezTo>
                    <a:pt x="555" y="368"/>
                    <a:pt x="554" y="368"/>
                    <a:pt x="554" y="369"/>
                  </a:cubicBezTo>
                  <a:cubicBezTo>
                    <a:pt x="553" y="369"/>
                    <a:pt x="553" y="369"/>
                    <a:pt x="553" y="369"/>
                  </a:cubicBezTo>
                  <a:cubicBezTo>
                    <a:pt x="553" y="369"/>
                    <a:pt x="553" y="369"/>
                    <a:pt x="553" y="369"/>
                  </a:cubicBezTo>
                  <a:cubicBezTo>
                    <a:pt x="552" y="369"/>
                    <a:pt x="553" y="367"/>
                    <a:pt x="552" y="367"/>
                  </a:cubicBezTo>
                  <a:cubicBezTo>
                    <a:pt x="552" y="367"/>
                    <a:pt x="552" y="366"/>
                    <a:pt x="552" y="366"/>
                  </a:cubicBezTo>
                  <a:cubicBezTo>
                    <a:pt x="552" y="366"/>
                    <a:pt x="552" y="367"/>
                    <a:pt x="552" y="367"/>
                  </a:cubicBezTo>
                  <a:cubicBezTo>
                    <a:pt x="552" y="367"/>
                    <a:pt x="552" y="367"/>
                    <a:pt x="551" y="367"/>
                  </a:cubicBezTo>
                  <a:cubicBezTo>
                    <a:pt x="551" y="367"/>
                    <a:pt x="551" y="367"/>
                    <a:pt x="551" y="367"/>
                  </a:cubicBezTo>
                  <a:cubicBezTo>
                    <a:pt x="550" y="367"/>
                    <a:pt x="548" y="366"/>
                    <a:pt x="548" y="366"/>
                  </a:cubicBezTo>
                  <a:cubicBezTo>
                    <a:pt x="548" y="365"/>
                    <a:pt x="546" y="363"/>
                    <a:pt x="545" y="363"/>
                  </a:cubicBezTo>
                  <a:cubicBezTo>
                    <a:pt x="545" y="363"/>
                    <a:pt x="544" y="363"/>
                    <a:pt x="544" y="363"/>
                  </a:cubicBezTo>
                  <a:cubicBezTo>
                    <a:pt x="544" y="363"/>
                    <a:pt x="544" y="363"/>
                    <a:pt x="544" y="363"/>
                  </a:cubicBezTo>
                  <a:cubicBezTo>
                    <a:pt x="544" y="363"/>
                    <a:pt x="544" y="369"/>
                    <a:pt x="544" y="369"/>
                  </a:cubicBezTo>
                  <a:cubicBezTo>
                    <a:pt x="544" y="371"/>
                    <a:pt x="545" y="373"/>
                    <a:pt x="544" y="373"/>
                  </a:cubicBezTo>
                  <a:cubicBezTo>
                    <a:pt x="544" y="373"/>
                    <a:pt x="544" y="372"/>
                    <a:pt x="543" y="371"/>
                  </a:cubicBezTo>
                  <a:cubicBezTo>
                    <a:pt x="542" y="369"/>
                    <a:pt x="541" y="365"/>
                    <a:pt x="539" y="363"/>
                  </a:cubicBezTo>
                  <a:cubicBezTo>
                    <a:pt x="539" y="362"/>
                    <a:pt x="545" y="359"/>
                    <a:pt x="543" y="358"/>
                  </a:cubicBezTo>
                  <a:cubicBezTo>
                    <a:pt x="543" y="358"/>
                    <a:pt x="543" y="358"/>
                    <a:pt x="543" y="358"/>
                  </a:cubicBezTo>
                  <a:cubicBezTo>
                    <a:pt x="542" y="358"/>
                    <a:pt x="540" y="360"/>
                    <a:pt x="539" y="361"/>
                  </a:cubicBezTo>
                  <a:cubicBezTo>
                    <a:pt x="539" y="362"/>
                    <a:pt x="539" y="362"/>
                    <a:pt x="539" y="362"/>
                  </a:cubicBezTo>
                  <a:cubicBezTo>
                    <a:pt x="538" y="362"/>
                    <a:pt x="538" y="362"/>
                    <a:pt x="538" y="361"/>
                  </a:cubicBezTo>
                  <a:cubicBezTo>
                    <a:pt x="538" y="361"/>
                    <a:pt x="537" y="361"/>
                    <a:pt x="537" y="361"/>
                  </a:cubicBezTo>
                  <a:cubicBezTo>
                    <a:pt x="537" y="361"/>
                    <a:pt x="537" y="361"/>
                    <a:pt x="537" y="361"/>
                  </a:cubicBezTo>
                  <a:cubicBezTo>
                    <a:pt x="537" y="361"/>
                    <a:pt x="535" y="362"/>
                    <a:pt x="535" y="362"/>
                  </a:cubicBezTo>
                  <a:cubicBezTo>
                    <a:pt x="537" y="361"/>
                    <a:pt x="538" y="361"/>
                    <a:pt x="538" y="359"/>
                  </a:cubicBezTo>
                  <a:cubicBezTo>
                    <a:pt x="538" y="356"/>
                    <a:pt x="536" y="357"/>
                    <a:pt x="535" y="356"/>
                  </a:cubicBezTo>
                  <a:cubicBezTo>
                    <a:pt x="535" y="356"/>
                    <a:pt x="534" y="356"/>
                    <a:pt x="533" y="356"/>
                  </a:cubicBezTo>
                  <a:cubicBezTo>
                    <a:pt x="533" y="354"/>
                    <a:pt x="534" y="351"/>
                    <a:pt x="531" y="351"/>
                  </a:cubicBezTo>
                  <a:cubicBezTo>
                    <a:pt x="531" y="351"/>
                    <a:pt x="531" y="351"/>
                    <a:pt x="531" y="351"/>
                  </a:cubicBezTo>
                  <a:cubicBezTo>
                    <a:pt x="533" y="351"/>
                    <a:pt x="535" y="350"/>
                    <a:pt x="535" y="349"/>
                  </a:cubicBezTo>
                  <a:cubicBezTo>
                    <a:pt x="534" y="347"/>
                    <a:pt x="533" y="347"/>
                    <a:pt x="530" y="346"/>
                  </a:cubicBezTo>
                  <a:cubicBezTo>
                    <a:pt x="530" y="346"/>
                    <a:pt x="530" y="346"/>
                    <a:pt x="530" y="346"/>
                  </a:cubicBezTo>
                  <a:cubicBezTo>
                    <a:pt x="530" y="346"/>
                    <a:pt x="530" y="347"/>
                    <a:pt x="529" y="347"/>
                  </a:cubicBezTo>
                  <a:cubicBezTo>
                    <a:pt x="529" y="347"/>
                    <a:pt x="529" y="347"/>
                    <a:pt x="529" y="347"/>
                  </a:cubicBezTo>
                  <a:cubicBezTo>
                    <a:pt x="528" y="347"/>
                    <a:pt x="528" y="347"/>
                    <a:pt x="527" y="346"/>
                  </a:cubicBezTo>
                  <a:cubicBezTo>
                    <a:pt x="526" y="344"/>
                    <a:pt x="527" y="344"/>
                    <a:pt x="528" y="342"/>
                  </a:cubicBezTo>
                  <a:cubicBezTo>
                    <a:pt x="528" y="341"/>
                    <a:pt x="530" y="339"/>
                    <a:pt x="528" y="339"/>
                  </a:cubicBezTo>
                  <a:cubicBezTo>
                    <a:pt x="528" y="338"/>
                    <a:pt x="528" y="338"/>
                    <a:pt x="527" y="338"/>
                  </a:cubicBezTo>
                  <a:cubicBezTo>
                    <a:pt x="526" y="338"/>
                    <a:pt x="525" y="339"/>
                    <a:pt x="524" y="339"/>
                  </a:cubicBezTo>
                  <a:cubicBezTo>
                    <a:pt x="522" y="340"/>
                    <a:pt x="521" y="340"/>
                    <a:pt x="519" y="341"/>
                  </a:cubicBezTo>
                  <a:cubicBezTo>
                    <a:pt x="518" y="341"/>
                    <a:pt x="517" y="342"/>
                    <a:pt x="516" y="343"/>
                  </a:cubicBezTo>
                  <a:cubicBezTo>
                    <a:pt x="515" y="344"/>
                    <a:pt x="514" y="345"/>
                    <a:pt x="514" y="346"/>
                  </a:cubicBezTo>
                  <a:cubicBezTo>
                    <a:pt x="514" y="346"/>
                    <a:pt x="514" y="346"/>
                    <a:pt x="514" y="346"/>
                  </a:cubicBezTo>
                  <a:cubicBezTo>
                    <a:pt x="513" y="346"/>
                    <a:pt x="513" y="346"/>
                    <a:pt x="513" y="346"/>
                  </a:cubicBezTo>
                  <a:cubicBezTo>
                    <a:pt x="513" y="342"/>
                    <a:pt x="514" y="338"/>
                    <a:pt x="514" y="335"/>
                  </a:cubicBezTo>
                  <a:cubicBezTo>
                    <a:pt x="514" y="335"/>
                    <a:pt x="514" y="335"/>
                    <a:pt x="514" y="335"/>
                  </a:cubicBezTo>
                  <a:cubicBezTo>
                    <a:pt x="513" y="335"/>
                    <a:pt x="513" y="334"/>
                    <a:pt x="512" y="334"/>
                  </a:cubicBezTo>
                  <a:cubicBezTo>
                    <a:pt x="511" y="334"/>
                    <a:pt x="511" y="334"/>
                    <a:pt x="510" y="334"/>
                  </a:cubicBezTo>
                  <a:cubicBezTo>
                    <a:pt x="510" y="334"/>
                    <a:pt x="510" y="334"/>
                    <a:pt x="509" y="334"/>
                  </a:cubicBezTo>
                  <a:cubicBezTo>
                    <a:pt x="509" y="333"/>
                    <a:pt x="511" y="329"/>
                    <a:pt x="511" y="329"/>
                  </a:cubicBezTo>
                  <a:cubicBezTo>
                    <a:pt x="511" y="329"/>
                    <a:pt x="510" y="329"/>
                    <a:pt x="510" y="329"/>
                  </a:cubicBezTo>
                  <a:cubicBezTo>
                    <a:pt x="510" y="329"/>
                    <a:pt x="510" y="329"/>
                    <a:pt x="509" y="329"/>
                  </a:cubicBezTo>
                  <a:cubicBezTo>
                    <a:pt x="509" y="329"/>
                    <a:pt x="508" y="329"/>
                    <a:pt x="508" y="329"/>
                  </a:cubicBezTo>
                  <a:cubicBezTo>
                    <a:pt x="508" y="329"/>
                    <a:pt x="508" y="329"/>
                    <a:pt x="508" y="329"/>
                  </a:cubicBezTo>
                  <a:cubicBezTo>
                    <a:pt x="508" y="329"/>
                    <a:pt x="508" y="329"/>
                    <a:pt x="508" y="329"/>
                  </a:cubicBezTo>
                  <a:cubicBezTo>
                    <a:pt x="508" y="329"/>
                    <a:pt x="507" y="329"/>
                    <a:pt x="507" y="329"/>
                  </a:cubicBezTo>
                  <a:cubicBezTo>
                    <a:pt x="507" y="329"/>
                    <a:pt x="507" y="329"/>
                    <a:pt x="507" y="329"/>
                  </a:cubicBezTo>
                  <a:cubicBezTo>
                    <a:pt x="507" y="329"/>
                    <a:pt x="507" y="329"/>
                    <a:pt x="506" y="329"/>
                  </a:cubicBezTo>
                  <a:cubicBezTo>
                    <a:pt x="506" y="328"/>
                    <a:pt x="506" y="326"/>
                    <a:pt x="506" y="325"/>
                  </a:cubicBezTo>
                  <a:cubicBezTo>
                    <a:pt x="507" y="325"/>
                    <a:pt x="509" y="327"/>
                    <a:pt x="510" y="327"/>
                  </a:cubicBezTo>
                  <a:cubicBezTo>
                    <a:pt x="510" y="327"/>
                    <a:pt x="510" y="327"/>
                    <a:pt x="510" y="327"/>
                  </a:cubicBezTo>
                  <a:cubicBezTo>
                    <a:pt x="512" y="326"/>
                    <a:pt x="512" y="324"/>
                    <a:pt x="512" y="323"/>
                  </a:cubicBezTo>
                  <a:cubicBezTo>
                    <a:pt x="511" y="322"/>
                    <a:pt x="510" y="322"/>
                    <a:pt x="509" y="321"/>
                  </a:cubicBezTo>
                  <a:cubicBezTo>
                    <a:pt x="511" y="322"/>
                    <a:pt x="512" y="322"/>
                    <a:pt x="514" y="323"/>
                  </a:cubicBezTo>
                  <a:cubicBezTo>
                    <a:pt x="514" y="322"/>
                    <a:pt x="514" y="322"/>
                    <a:pt x="514" y="322"/>
                  </a:cubicBezTo>
                  <a:cubicBezTo>
                    <a:pt x="514" y="322"/>
                    <a:pt x="514" y="323"/>
                    <a:pt x="515" y="323"/>
                  </a:cubicBezTo>
                  <a:cubicBezTo>
                    <a:pt x="514" y="323"/>
                    <a:pt x="514" y="324"/>
                    <a:pt x="514" y="325"/>
                  </a:cubicBezTo>
                  <a:cubicBezTo>
                    <a:pt x="514" y="325"/>
                    <a:pt x="514" y="325"/>
                    <a:pt x="514" y="325"/>
                  </a:cubicBezTo>
                  <a:cubicBezTo>
                    <a:pt x="514" y="326"/>
                    <a:pt x="514" y="326"/>
                    <a:pt x="514" y="326"/>
                  </a:cubicBezTo>
                  <a:cubicBezTo>
                    <a:pt x="514" y="327"/>
                    <a:pt x="515" y="329"/>
                    <a:pt x="515" y="330"/>
                  </a:cubicBezTo>
                  <a:cubicBezTo>
                    <a:pt x="516" y="331"/>
                    <a:pt x="518" y="331"/>
                    <a:pt x="519" y="331"/>
                  </a:cubicBezTo>
                  <a:cubicBezTo>
                    <a:pt x="521" y="331"/>
                    <a:pt x="523" y="331"/>
                    <a:pt x="525" y="330"/>
                  </a:cubicBezTo>
                  <a:cubicBezTo>
                    <a:pt x="527" y="330"/>
                    <a:pt x="529" y="329"/>
                    <a:pt x="530" y="329"/>
                  </a:cubicBezTo>
                  <a:cubicBezTo>
                    <a:pt x="531" y="329"/>
                    <a:pt x="532" y="329"/>
                    <a:pt x="532" y="330"/>
                  </a:cubicBezTo>
                  <a:cubicBezTo>
                    <a:pt x="532" y="328"/>
                    <a:pt x="530" y="327"/>
                    <a:pt x="530" y="326"/>
                  </a:cubicBezTo>
                  <a:cubicBezTo>
                    <a:pt x="530" y="325"/>
                    <a:pt x="531" y="325"/>
                    <a:pt x="531" y="324"/>
                  </a:cubicBezTo>
                  <a:cubicBezTo>
                    <a:pt x="530" y="321"/>
                    <a:pt x="529" y="322"/>
                    <a:pt x="527" y="321"/>
                  </a:cubicBezTo>
                  <a:cubicBezTo>
                    <a:pt x="526" y="320"/>
                    <a:pt x="526" y="320"/>
                    <a:pt x="525" y="319"/>
                  </a:cubicBezTo>
                  <a:cubicBezTo>
                    <a:pt x="524" y="319"/>
                    <a:pt x="523" y="318"/>
                    <a:pt x="521" y="317"/>
                  </a:cubicBezTo>
                  <a:cubicBezTo>
                    <a:pt x="520" y="317"/>
                    <a:pt x="520" y="317"/>
                    <a:pt x="520" y="317"/>
                  </a:cubicBezTo>
                  <a:cubicBezTo>
                    <a:pt x="520" y="316"/>
                    <a:pt x="521" y="316"/>
                    <a:pt x="521" y="316"/>
                  </a:cubicBezTo>
                  <a:cubicBezTo>
                    <a:pt x="520" y="315"/>
                    <a:pt x="520" y="314"/>
                    <a:pt x="520" y="313"/>
                  </a:cubicBezTo>
                  <a:cubicBezTo>
                    <a:pt x="518" y="310"/>
                    <a:pt x="516" y="309"/>
                    <a:pt x="514" y="307"/>
                  </a:cubicBezTo>
                  <a:cubicBezTo>
                    <a:pt x="517" y="308"/>
                    <a:pt x="520" y="310"/>
                    <a:pt x="523" y="312"/>
                  </a:cubicBezTo>
                  <a:cubicBezTo>
                    <a:pt x="524" y="312"/>
                    <a:pt x="527" y="315"/>
                    <a:pt x="529" y="315"/>
                  </a:cubicBezTo>
                  <a:cubicBezTo>
                    <a:pt x="529" y="315"/>
                    <a:pt x="529" y="315"/>
                    <a:pt x="529" y="315"/>
                  </a:cubicBezTo>
                  <a:cubicBezTo>
                    <a:pt x="532" y="314"/>
                    <a:pt x="528" y="311"/>
                    <a:pt x="528" y="311"/>
                  </a:cubicBezTo>
                  <a:cubicBezTo>
                    <a:pt x="528" y="309"/>
                    <a:pt x="529" y="309"/>
                    <a:pt x="531" y="309"/>
                  </a:cubicBezTo>
                  <a:cubicBezTo>
                    <a:pt x="531" y="309"/>
                    <a:pt x="531" y="309"/>
                    <a:pt x="531" y="309"/>
                  </a:cubicBezTo>
                  <a:cubicBezTo>
                    <a:pt x="532" y="309"/>
                    <a:pt x="532" y="309"/>
                    <a:pt x="532" y="309"/>
                  </a:cubicBezTo>
                  <a:cubicBezTo>
                    <a:pt x="533" y="309"/>
                    <a:pt x="533" y="309"/>
                    <a:pt x="534" y="309"/>
                  </a:cubicBezTo>
                  <a:cubicBezTo>
                    <a:pt x="532" y="308"/>
                    <a:pt x="531" y="307"/>
                    <a:pt x="529" y="306"/>
                  </a:cubicBezTo>
                  <a:cubicBezTo>
                    <a:pt x="528" y="305"/>
                    <a:pt x="520" y="305"/>
                    <a:pt x="520" y="304"/>
                  </a:cubicBezTo>
                  <a:cubicBezTo>
                    <a:pt x="524" y="303"/>
                    <a:pt x="524" y="303"/>
                    <a:pt x="524" y="303"/>
                  </a:cubicBezTo>
                  <a:cubicBezTo>
                    <a:pt x="525" y="303"/>
                    <a:pt x="525" y="302"/>
                    <a:pt x="525" y="302"/>
                  </a:cubicBezTo>
                  <a:cubicBezTo>
                    <a:pt x="528" y="302"/>
                    <a:pt x="531" y="304"/>
                    <a:pt x="534" y="304"/>
                  </a:cubicBezTo>
                  <a:cubicBezTo>
                    <a:pt x="535" y="304"/>
                    <a:pt x="537" y="305"/>
                    <a:pt x="538" y="305"/>
                  </a:cubicBezTo>
                  <a:cubicBezTo>
                    <a:pt x="539" y="305"/>
                    <a:pt x="540" y="305"/>
                    <a:pt x="539" y="304"/>
                  </a:cubicBezTo>
                  <a:cubicBezTo>
                    <a:pt x="539" y="303"/>
                    <a:pt x="536" y="302"/>
                    <a:pt x="536" y="301"/>
                  </a:cubicBezTo>
                  <a:cubicBezTo>
                    <a:pt x="538" y="302"/>
                    <a:pt x="541" y="303"/>
                    <a:pt x="543" y="303"/>
                  </a:cubicBezTo>
                  <a:cubicBezTo>
                    <a:pt x="541" y="306"/>
                    <a:pt x="540" y="305"/>
                    <a:pt x="541" y="309"/>
                  </a:cubicBezTo>
                  <a:cubicBezTo>
                    <a:pt x="542" y="311"/>
                    <a:pt x="543" y="311"/>
                    <a:pt x="545" y="311"/>
                  </a:cubicBezTo>
                  <a:cubicBezTo>
                    <a:pt x="546" y="311"/>
                    <a:pt x="548" y="310"/>
                    <a:pt x="550" y="310"/>
                  </a:cubicBezTo>
                  <a:cubicBezTo>
                    <a:pt x="547" y="313"/>
                    <a:pt x="547" y="312"/>
                    <a:pt x="551" y="316"/>
                  </a:cubicBezTo>
                  <a:cubicBezTo>
                    <a:pt x="552" y="316"/>
                    <a:pt x="553" y="316"/>
                    <a:pt x="554" y="316"/>
                  </a:cubicBezTo>
                  <a:cubicBezTo>
                    <a:pt x="555" y="316"/>
                    <a:pt x="556" y="316"/>
                    <a:pt x="556" y="315"/>
                  </a:cubicBezTo>
                  <a:cubicBezTo>
                    <a:pt x="556" y="316"/>
                    <a:pt x="555" y="317"/>
                    <a:pt x="554" y="318"/>
                  </a:cubicBezTo>
                  <a:cubicBezTo>
                    <a:pt x="557" y="320"/>
                    <a:pt x="559" y="321"/>
                    <a:pt x="561" y="321"/>
                  </a:cubicBezTo>
                  <a:cubicBezTo>
                    <a:pt x="563" y="321"/>
                    <a:pt x="564" y="321"/>
                    <a:pt x="565" y="320"/>
                  </a:cubicBezTo>
                  <a:cubicBezTo>
                    <a:pt x="567" y="319"/>
                    <a:pt x="568" y="318"/>
                    <a:pt x="569" y="316"/>
                  </a:cubicBezTo>
                  <a:cubicBezTo>
                    <a:pt x="568" y="318"/>
                    <a:pt x="567" y="319"/>
                    <a:pt x="567" y="319"/>
                  </a:cubicBezTo>
                  <a:cubicBezTo>
                    <a:pt x="567" y="319"/>
                    <a:pt x="567" y="319"/>
                    <a:pt x="567" y="319"/>
                  </a:cubicBezTo>
                  <a:cubicBezTo>
                    <a:pt x="565" y="322"/>
                    <a:pt x="563" y="324"/>
                    <a:pt x="562" y="327"/>
                  </a:cubicBezTo>
                  <a:cubicBezTo>
                    <a:pt x="566" y="325"/>
                    <a:pt x="571" y="324"/>
                    <a:pt x="576" y="322"/>
                  </a:cubicBezTo>
                  <a:cubicBezTo>
                    <a:pt x="580" y="321"/>
                    <a:pt x="585" y="320"/>
                    <a:pt x="588" y="318"/>
                  </a:cubicBezTo>
                  <a:cubicBezTo>
                    <a:pt x="589" y="317"/>
                    <a:pt x="590" y="316"/>
                    <a:pt x="591" y="315"/>
                  </a:cubicBezTo>
                  <a:cubicBezTo>
                    <a:pt x="593" y="315"/>
                    <a:pt x="594" y="314"/>
                    <a:pt x="596" y="313"/>
                  </a:cubicBezTo>
                  <a:cubicBezTo>
                    <a:pt x="594" y="315"/>
                    <a:pt x="591" y="316"/>
                    <a:pt x="590" y="318"/>
                  </a:cubicBezTo>
                  <a:cubicBezTo>
                    <a:pt x="589" y="319"/>
                    <a:pt x="589" y="321"/>
                    <a:pt x="589" y="322"/>
                  </a:cubicBezTo>
                  <a:cubicBezTo>
                    <a:pt x="588" y="325"/>
                    <a:pt x="586" y="325"/>
                    <a:pt x="590" y="327"/>
                  </a:cubicBezTo>
                  <a:cubicBezTo>
                    <a:pt x="584" y="328"/>
                    <a:pt x="577" y="327"/>
                    <a:pt x="574" y="331"/>
                  </a:cubicBezTo>
                  <a:cubicBezTo>
                    <a:pt x="573" y="332"/>
                    <a:pt x="572" y="334"/>
                    <a:pt x="572" y="335"/>
                  </a:cubicBezTo>
                  <a:cubicBezTo>
                    <a:pt x="572" y="336"/>
                    <a:pt x="573" y="336"/>
                    <a:pt x="573" y="336"/>
                  </a:cubicBezTo>
                  <a:cubicBezTo>
                    <a:pt x="573" y="336"/>
                    <a:pt x="573" y="336"/>
                    <a:pt x="573" y="336"/>
                  </a:cubicBezTo>
                  <a:cubicBezTo>
                    <a:pt x="573" y="336"/>
                    <a:pt x="573" y="336"/>
                    <a:pt x="573" y="336"/>
                  </a:cubicBezTo>
                  <a:cubicBezTo>
                    <a:pt x="573" y="336"/>
                    <a:pt x="574" y="336"/>
                    <a:pt x="574" y="336"/>
                  </a:cubicBezTo>
                  <a:cubicBezTo>
                    <a:pt x="573" y="338"/>
                    <a:pt x="573" y="338"/>
                    <a:pt x="573" y="338"/>
                  </a:cubicBezTo>
                  <a:cubicBezTo>
                    <a:pt x="574" y="339"/>
                    <a:pt x="575" y="339"/>
                    <a:pt x="575" y="339"/>
                  </a:cubicBezTo>
                  <a:cubicBezTo>
                    <a:pt x="576" y="339"/>
                    <a:pt x="576" y="339"/>
                    <a:pt x="577" y="339"/>
                  </a:cubicBezTo>
                  <a:cubicBezTo>
                    <a:pt x="577" y="339"/>
                    <a:pt x="577" y="339"/>
                    <a:pt x="578" y="339"/>
                  </a:cubicBezTo>
                  <a:cubicBezTo>
                    <a:pt x="578" y="339"/>
                    <a:pt x="579" y="339"/>
                    <a:pt x="579" y="339"/>
                  </a:cubicBezTo>
                  <a:cubicBezTo>
                    <a:pt x="583" y="340"/>
                    <a:pt x="578" y="340"/>
                    <a:pt x="576" y="341"/>
                  </a:cubicBezTo>
                  <a:cubicBezTo>
                    <a:pt x="575" y="343"/>
                    <a:pt x="577" y="344"/>
                    <a:pt x="580" y="344"/>
                  </a:cubicBezTo>
                  <a:cubicBezTo>
                    <a:pt x="582" y="344"/>
                    <a:pt x="585" y="343"/>
                    <a:pt x="586" y="343"/>
                  </a:cubicBezTo>
                  <a:cubicBezTo>
                    <a:pt x="585" y="345"/>
                    <a:pt x="580" y="345"/>
                    <a:pt x="580" y="346"/>
                  </a:cubicBezTo>
                  <a:cubicBezTo>
                    <a:pt x="579" y="347"/>
                    <a:pt x="581" y="350"/>
                    <a:pt x="582" y="350"/>
                  </a:cubicBezTo>
                  <a:cubicBezTo>
                    <a:pt x="583" y="350"/>
                    <a:pt x="583" y="350"/>
                    <a:pt x="584" y="350"/>
                  </a:cubicBezTo>
                  <a:cubicBezTo>
                    <a:pt x="587" y="350"/>
                    <a:pt x="591" y="349"/>
                    <a:pt x="593" y="348"/>
                  </a:cubicBezTo>
                  <a:cubicBezTo>
                    <a:pt x="594" y="348"/>
                    <a:pt x="596" y="348"/>
                    <a:pt x="596" y="348"/>
                  </a:cubicBezTo>
                  <a:cubicBezTo>
                    <a:pt x="597" y="348"/>
                    <a:pt x="597" y="348"/>
                    <a:pt x="595" y="349"/>
                  </a:cubicBezTo>
                  <a:cubicBezTo>
                    <a:pt x="592" y="350"/>
                    <a:pt x="588" y="350"/>
                    <a:pt x="586" y="351"/>
                  </a:cubicBezTo>
                  <a:cubicBezTo>
                    <a:pt x="586" y="351"/>
                    <a:pt x="586" y="351"/>
                    <a:pt x="586" y="351"/>
                  </a:cubicBezTo>
                  <a:cubicBezTo>
                    <a:pt x="587" y="351"/>
                    <a:pt x="587" y="351"/>
                    <a:pt x="588" y="351"/>
                  </a:cubicBezTo>
                  <a:cubicBezTo>
                    <a:pt x="588" y="351"/>
                    <a:pt x="588" y="351"/>
                    <a:pt x="589" y="351"/>
                  </a:cubicBezTo>
                  <a:cubicBezTo>
                    <a:pt x="589" y="351"/>
                    <a:pt x="590" y="351"/>
                    <a:pt x="591" y="351"/>
                  </a:cubicBezTo>
                  <a:cubicBezTo>
                    <a:pt x="590" y="352"/>
                    <a:pt x="588" y="353"/>
                    <a:pt x="586" y="353"/>
                  </a:cubicBezTo>
                  <a:cubicBezTo>
                    <a:pt x="586" y="355"/>
                    <a:pt x="587" y="355"/>
                    <a:pt x="589" y="355"/>
                  </a:cubicBezTo>
                  <a:cubicBezTo>
                    <a:pt x="590" y="355"/>
                    <a:pt x="591" y="355"/>
                    <a:pt x="591" y="355"/>
                  </a:cubicBezTo>
                  <a:cubicBezTo>
                    <a:pt x="589" y="356"/>
                    <a:pt x="591" y="357"/>
                    <a:pt x="590" y="358"/>
                  </a:cubicBezTo>
                  <a:cubicBezTo>
                    <a:pt x="590" y="358"/>
                    <a:pt x="591" y="358"/>
                    <a:pt x="591" y="358"/>
                  </a:cubicBezTo>
                  <a:cubicBezTo>
                    <a:pt x="592" y="358"/>
                    <a:pt x="592" y="359"/>
                    <a:pt x="592" y="360"/>
                  </a:cubicBezTo>
                  <a:cubicBezTo>
                    <a:pt x="593" y="360"/>
                    <a:pt x="593" y="360"/>
                    <a:pt x="594" y="361"/>
                  </a:cubicBezTo>
                  <a:cubicBezTo>
                    <a:pt x="595" y="358"/>
                    <a:pt x="595" y="355"/>
                    <a:pt x="596" y="353"/>
                  </a:cubicBezTo>
                  <a:cubicBezTo>
                    <a:pt x="597" y="351"/>
                    <a:pt x="599" y="350"/>
                    <a:pt x="600" y="348"/>
                  </a:cubicBezTo>
                  <a:cubicBezTo>
                    <a:pt x="599" y="350"/>
                    <a:pt x="599" y="352"/>
                    <a:pt x="598" y="354"/>
                  </a:cubicBezTo>
                  <a:cubicBezTo>
                    <a:pt x="598" y="355"/>
                    <a:pt x="597" y="355"/>
                    <a:pt x="598" y="357"/>
                  </a:cubicBezTo>
                  <a:cubicBezTo>
                    <a:pt x="598" y="358"/>
                    <a:pt x="599" y="358"/>
                    <a:pt x="599" y="358"/>
                  </a:cubicBezTo>
                  <a:cubicBezTo>
                    <a:pt x="600" y="358"/>
                    <a:pt x="601" y="358"/>
                    <a:pt x="602" y="357"/>
                  </a:cubicBezTo>
                  <a:cubicBezTo>
                    <a:pt x="603" y="357"/>
                    <a:pt x="604" y="357"/>
                    <a:pt x="605" y="357"/>
                  </a:cubicBezTo>
                  <a:cubicBezTo>
                    <a:pt x="605" y="357"/>
                    <a:pt x="605" y="357"/>
                    <a:pt x="605" y="357"/>
                  </a:cubicBezTo>
                  <a:cubicBezTo>
                    <a:pt x="603" y="358"/>
                    <a:pt x="601" y="359"/>
                    <a:pt x="600" y="360"/>
                  </a:cubicBezTo>
                  <a:cubicBezTo>
                    <a:pt x="601" y="360"/>
                    <a:pt x="601" y="360"/>
                    <a:pt x="601" y="360"/>
                  </a:cubicBezTo>
                  <a:cubicBezTo>
                    <a:pt x="602" y="360"/>
                    <a:pt x="602" y="361"/>
                    <a:pt x="603" y="362"/>
                  </a:cubicBezTo>
                  <a:cubicBezTo>
                    <a:pt x="603" y="362"/>
                    <a:pt x="604" y="362"/>
                    <a:pt x="605" y="362"/>
                  </a:cubicBezTo>
                  <a:cubicBezTo>
                    <a:pt x="605" y="362"/>
                    <a:pt x="606" y="362"/>
                    <a:pt x="607" y="362"/>
                  </a:cubicBezTo>
                  <a:cubicBezTo>
                    <a:pt x="607" y="362"/>
                    <a:pt x="608" y="362"/>
                    <a:pt x="609" y="362"/>
                  </a:cubicBezTo>
                  <a:cubicBezTo>
                    <a:pt x="609" y="362"/>
                    <a:pt x="609" y="362"/>
                    <a:pt x="610" y="362"/>
                  </a:cubicBezTo>
                  <a:cubicBezTo>
                    <a:pt x="610" y="363"/>
                    <a:pt x="610" y="363"/>
                    <a:pt x="611" y="363"/>
                  </a:cubicBezTo>
                  <a:cubicBezTo>
                    <a:pt x="612" y="363"/>
                    <a:pt x="614" y="363"/>
                    <a:pt x="615" y="363"/>
                  </a:cubicBezTo>
                  <a:cubicBezTo>
                    <a:pt x="614" y="363"/>
                    <a:pt x="611" y="364"/>
                    <a:pt x="611" y="365"/>
                  </a:cubicBezTo>
                  <a:cubicBezTo>
                    <a:pt x="611" y="365"/>
                    <a:pt x="612" y="365"/>
                    <a:pt x="614" y="365"/>
                  </a:cubicBezTo>
                  <a:cubicBezTo>
                    <a:pt x="614" y="365"/>
                    <a:pt x="615" y="365"/>
                    <a:pt x="615" y="365"/>
                  </a:cubicBezTo>
                  <a:cubicBezTo>
                    <a:pt x="615" y="365"/>
                    <a:pt x="616" y="365"/>
                    <a:pt x="616" y="365"/>
                  </a:cubicBezTo>
                  <a:cubicBezTo>
                    <a:pt x="616" y="365"/>
                    <a:pt x="616" y="365"/>
                    <a:pt x="616" y="365"/>
                  </a:cubicBezTo>
                  <a:cubicBezTo>
                    <a:pt x="615" y="366"/>
                    <a:pt x="615" y="367"/>
                    <a:pt x="615" y="367"/>
                  </a:cubicBezTo>
                  <a:cubicBezTo>
                    <a:pt x="615" y="368"/>
                    <a:pt x="616" y="368"/>
                    <a:pt x="617" y="368"/>
                  </a:cubicBezTo>
                  <a:cubicBezTo>
                    <a:pt x="618" y="365"/>
                    <a:pt x="621" y="359"/>
                    <a:pt x="618" y="357"/>
                  </a:cubicBezTo>
                  <a:cubicBezTo>
                    <a:pt x="619" y="357"/>
                    <a:pt x="620" y="357"/>
                    <a:pt x="620" y="357"/>
                  </a:cubicBezTo>
                  <a:cubicBezTo>
                    <a:pt x="621" y="357"/>
                    <a:pt x="622" y="357"/>
                    <a:pt x="622" y="357"/>
                  </a:cubicBezTo>
                  <a:cubicBezTo>
                    <a:pt x="620" y="355"/>
                    <a:pt x="620" y="356"/>
                    <a:pt x="620" y="354"/>
                  </a:cubicBezTo>
                  <a:cubicBezTo>
                    <a:pt x="620" y="353"/>
                    <a:pt x="620" y="353"/>
                    <a:pt x="620" y="353"/>
                  </a:cubicBezTo>
                  <a:cubicBezTo>
                    <a:pt x="620" y="352"/>
                    <a:pt x="620" y="352"/>
                    <a:pt x="620" y="351"/>
                  </a:cubicBezTo>
                  <a:cubicBezTo>
                    <a:pt x="619" y="351"/>
                    <a:pt x="619" y="351"/>
                    <a:pt x="619" y="351"/>
                  </a:cubicBezTo>
                  <a:cubicBezTo>
                    <a:pt x="618" y="349"/>
                    <a:pt x="617" y="348"/>
                    <a:pt x="615" y="346"/>
                  </a:cubicBezTo>
                  <a:cubicBezTo>
                    <a:pt x="617" y="347"/>
                    <a:pt x="620" y="348"/>
                    <a:pt x="623" y="348"/>
                  </a:cubicBezTo>
                  <a:cubicBezTo>
                    <a:pt x="620" y="345"/>
                    <a:pt x="615" y="346"/>
                    <a:pt x="616" y="342"/>
                  </a:cubicBezTo>
                  <a:cubicBezTo>
                    <a:pt x="617" y="343"/>
                    <a:pt x="618" y="344"/>
                    <a:pt x="619" y="344"/>
                  </a:cubicBezTo>
                  <a:cubicBezTo>
                    <a:pt x="620" y="344"/>
                    <a:pt x="620" y="344"/>
                    <a:pt x="620" y="344"/>
                  </a:cubicBezTo>
                  <a:cubicBezTo>
                    <a:pt x="622" y="343"/>
                    <a:pt x="621" y="341"/>
                    <a:pt x="620" y="340"/>
                  </a:cubicBezTo>
                  <a:cubicBezTo>
                    <a:pt x="618" y="339"/>
                    <a:pt x="615" y="340"/>
                    <a:pt x="613" y="339"/>
                  </a:cubicBezTo>
                  <a:cubicBezTo>
                    <a:pt x="614" y="338"/>
                    <a:pt x="616" y="338"/>
                    <a:pt x="618" y="338"/>
                  </a:cubicBezTo>
                  <a:cubicBezTo>
                    <a:pt x="619" y="338"/>
                    <a:pt x="620" y="338"/>
                    <a:pt x="622" y="339"/>
                  </a:cubicBezTo>
                  <a:cubicBezTo>
                    <a:pt x="621" y="336"/>
                    <a:pt x="617" y="332"/>
                    <a:pt x="618" y="329"/>
                  </a:cubicBezTo>
                  <a:cubicBezTo>
                    <a:pt x="620" y="332"/>
                    <a:pt x="622" y="335"/>
                    <a:pt x="623" y="338"/>
                  </a:cubicBezTo>
                  <a:cubicBezTo>
                    <a:pt x="624" y="339"/>
                    <a:pt x="625" y="340"/>
                    <a:pt x="626" y="340"/>
                  </a:cubicBezTo>
                  <a:cubicBezTo>
                    <a:pt x="626" y="340"/>
                    <a:pt x="626" y="340"/>
                    <a:pt x="627" y="340"/>
                  </a:cubicBezTo>
                  <a:cubicBezTo>
                    <a:pt x="627" y="340"/>
                    <a:pt x="628" y="340"/>
                    <a:pt x="628" y="340"/>
                  </a:cubicBezTo>
                  <a:cubicBezTo>
                    <a:pt x="629" y="340"/>
                    <a:pt x="630" y="341"/>
                    <a:pt x="630" y="342"/>
                  </a:cubicBezTo>
                  <a:cubicBezTo>
                    <a:pt x="631" y="340"/>
                    <a:pt x="631" y="338"/>
                    <a:pt x="631" y="336"/>
                  </a:cubicBezTo>
                  <a:cubicBezTo>
                    <a:pt x="633" y="337"/>
                    <a:pt x="633" y="339"/>
                    <a:pt x="634" y="341"/>
                  </a:cubicBezTo>
                  <a:cubicBezTo>
                    <a:pt x="635" y="342"/>
                    <a:pt x="636" y="341"/>
                    <a:pt x="638" y="342"/>
                  </a:cubicBezTo>
                  <a:cubicBezTo>
                    <a:pt x="638" y="341"/>
                    <a:pt x="638" y="339"/>
                    <a:pt x="637" y="339"/>
                  </a:cubicBezTo>
                  <a:cubicBezTo>
                    <a:pt x="637" y="337"/>
                    <a:pt x="636" y="338"/>
                    <a:pt x="636" y="337"/>
                  </a:cubicBezTo>
                  <a:cubicBezTo>
                    <a:pt x="635" y="337"/>
                    <a:pt x="634" y="337"/>
                    <a:pt x="633" y="336"/>
                  </a:cubicBezTo>
                  <a:cubicBezTo>
                    <a:pt x="635" y="336"/>
                    <a:pt x="637" y="336"/>
                    <a:pt x="639" y="337"/>
                  </a:cubicBezTo>
                  <a:cubicBezTo>
                    <a:pt x="638" y="333"/>
                    <a:pt x="634" y="333"/>
                    <a:pt x="633" y="330"/>
                  </a:cubicBezTo>
                  <a:cubicBezTo>
                    <a:pt x="636" y="331"/>
                    <a:pt x="637" y="333"/>
                    <a:pt x="640" y="333"/>
                  </a:cubicBezTo>
                  <a:cubicBezTo>
                    <a:pt x="640" y="334"/>
                    <a:pt x="641" y="334"/>
                    <a:pt x="641" y="334"/>
                  </a:cubicBezTo>
                  <a:cubicBezTo>
                    <a:pt x="642" y="334"/>
                    <a:pt x="642" y="334"/>
                    <a:pt x="643" y="334"/>
                  </a:cubicBezTo>
                  <a:cubicBezTo>
                    <a:pt x="644" y="333"/>
                    <a:pt x="644" y="333"/>
                    <a:pt x="645" y="333"/>
                  </a:cubicBezTo>
                  <a:cubicBezTo>
                    <a:pt x="645" y="333"/>
                    <a:pt x="645" y="333"/>
                    <a:pt x="646" y="333"/>
                  </a:cubicBezTo>
                  <a:cubicBezTo>
                    <a:pt x="645" y="333"/>
                    <a:pt x="645" y="331"/>
                    <a:pt x="644" y="330"/>
                  </a:cubicBezTo>
                  <a:cubicBezTo>
                    <a:pt x="644" y="330"/>
                    <a:pt x="643" y="330"/>
                    <a:pt x="643" y="329"/>
                  </a:cubicBezTo>
                  <a:cubicBezTo>
                    <a:pt x="642" y="328"/>
                    <a:pt x="643" y="328"/>
                    <a:pt x="641" y="327"/>
                  </a:cubicBezTo>
                  <a:cubicBezTo>
                    <a:pt x="641" y="326"/>
                    <a:pt x="641" y="326"/>
                    <a:pt x="640" y="326"/>
                  </a:cubicBezTo>
                  <a:cubicBezTo>
                    <a:pt x="639" y="326"/>
                    <a:pt x="639" y="326"/>
                    <a:pt x="638" y="326"/>
                  </a:cubicBezTo>
                  <a:cubicBezTo>
                    <a:pt x="638" y="326"/>
                    <a:pt x="637" y="326"/>
                    <a:pt x="637" y="326"/>
                  </a:cubicBezTo>
                  <a:cubicBezTo>
                    <a:pt x="637" y="326"/>
                    <a:pt x="636" y="326"/>
                    <a:pt x="636" y="326"/>
                  </a:cubicBezTo>
                  <a:cubicBezTo>
                    <a:pt x="635" y="326"/>
                    <a:pt x="634" y="326"/>
                    <a:pt x="634" y="325"/>
                  </a:cubicBezTo>
                  <a:cubicBezTo>
                    <a:pt x="633" y="325"/>
                    <a:pt x="633" y="324"/>
                    <a:pt x="632" y="323"/>
                  </a:cubicBezTo>
                  <a:cubicBezTo>
                    <a:pt x="631" y="323"/>
                    <a:pt x="630" y="322"/>
                    <a:pt x="628" y="322"/>
                  </a:cubicBezTo>
                  <a:cubicBezTo>
                    <a:pt x="629" y="322"/>
                    <a:pt x="629" y="322"/>
                    <a:pt x="630" y="322"/>
                  </a:cubicBezTo>
                  <a:cubicBezTo>
                    <a:pt x="631" y="322"/>
                    <a:pt x="631" y="322"/>
                    <a:pt x="633" y="323"/>
                  </a:cubicBezTo>
                  <a:cubicBezTo>
                    <a:pt x="635" y="325"/>
                    <a:pt x="637" y="325"/>
                    <a:pt x="639" y="325"/>
                  </a:cubicBezTo>
                  <a:cubicBezTo>
                    <a:pt x="641" y="325"/>
                    <a:pt x="641" y="325"/>
                    <a:pt x="643" y="326"/>
                  </a:cubicBezTo>
                  <a:cubicBezTo>
                    <a:pt x="643" y="326"/>
                    <a:pt x="645" y="327"/>
                    <a:pt x="645" y="327"/>
                  </a:cubicBezTo>
                  <a:cubicBezTo>
                    <a:pt x="645" y="327"/>
                    <a:pt x="646" y="327"/>
                    <a:pt x="646" y="327"/>
                  </a:cubicBezTo>
                  <a:cubicBezTo>
                    <a:pt x="647" y="327"/>
                    <a:pt x="648" y="327"/>
                    <a:pt x="650" y="326"/>
                  </a:cubicBezTo>
                  <a:cubicBezTo>
                    <a:pt x="651" y="326"/>
                    <a:pt x="652" y="326"/>
                    <a:pt x="653" y="326"/>
                  </a:cubicBezTo>
                  <a:cubicBezTo>
                    <a:pt x="654" y="326"/>
                    <a:pt x="654" y="326"/>
                    <a:pt x="654" y="326"/>
                  </a:cubicBezTo>
                  <a:cubicBezTo>
                    <a:pt x="653" y="325"/>
                    <a:pt x="651" y="325"/>
                    <a:pt x="651" y="324"/>
                  </a:cubicBezTo>
                  <a:cubicBezTo>
                    <a:pt x="650" y="323"/>
                    <a:pt x="650" y="321"/>
                    <a:pt x="648" y="320"/>
                  </a:cubicBezTo>
                  <a:cubicBezTo>
                    <a:pt x="647" y="320"/>
                    <a:pt x="643" y="319"/>
                    <a:pt x="642" y="319"/>
                  </a:cubicBezTo>
                  <a:cubicBezTo>
                    <a:pt x="641" y="318"/>
                    <a:pt x="641" y="318"/>
                    <a:pt x="640" y="318"/>
                  </a:cubicBezTo>
                  <a:cubicBezTo>
                    <a:pt x="640" y="318"/>
                    <a:pt x="640" y="318"/>
                    <a:pt x="640" y="318"/>
                  </a:cubicBezTo>
                  <a:cubicBezTo>
                    <a:pt x="639" y="318"/>
                    <a:pt x="639" y="318"/>
                    <a:pt x="638" y="318"/>
                  </a:cubicBezTo>
                  <a:cubicBezTo>
                    <a:pt x="638" y="318"/>
                    <a:pt x="638" y="318"/>
                    <a:pt x="637" y="318"/>
                  </a:cubicBezTo>
                  <a:cubicBezTo>
                    <a:pt x="637" y="318"/>
                    <a:pt x="637" y="318"/>
                    <a:pt x="636" y="318"/>
                  </a:cubicBezTo>
                  <a:cubicBezTo>
                    <a:pt x="634" y="318"/>
                    <a:pt x="634" y="316"/>
                    <a:pt x="633" y="314"/>
                  </a:cubicBezTo>
                  <a:cubicBezTo>
                    <a:pt x="635" y="315"/>
                    <a:pt x="636" y="317"/>
                    <a:pt x="637" y="318"/>
                  </a:cubicBezTo>
                  <a:cubicBezTo>
                    <a:pt x="639" y="316"/>
                    <a:pt x="643" y="312"/>
                    <a:pt x="641" y="311"/>
                  </a:cubicBezTo>
                  <a:cubicBezTo>
                    <a:pt x="641" y="310"/>
                    <a:pt x="641" y="310"/>
                    <a:pt x="641" y="310"/>
                  </a:cubicBezTo>
                  <a:cubicBezTo>
                    <a:pt x="640" y="310"/>
                    <a:pt x="640" y="311"/>
                    <a:pt x="639" y="311"/>
                  </a:cubicBezTo>
                  <a:cubicBezTo>
                    <a:pt x="639" y="311"/>
                    <a:pt x="638" y="311"/>
                    <a:pt x="638" y="311"/>
                  </a:cubicBezTo>
                  <a:cubicBezTo>
                    <a:pt x="637" y="311"/>
                    <a:pt x="637" y="311"/>
                    <a:pt x="637" y="311"/>
                  </a:cubicBezTo>
                  <a:cubicBezTo>
                    <a:pt x="637" y="310"/>
                    <a:pt x="638" y="310"/>
                    <a:pt x="639" y="310"/>
                  </a:cubicBezTo>
                  <a:cubicBezTo>
                    <a:pt x="641" y="310"/>
                    <a:pt x="645" y="312"/>
                    <a:pt x="648" y="313"/>
                  </a:cubicBezTo>
                  <a:cubicBezTo>
                    <a:pt x="648" y="314"/>
                    <a:pt x="648" y="315"/>
                    <a:pt x="648" y="315"/>
                  </a:cubicBezTo>
                  <a:cubicBezTo>
                    <a:pt x="648" y="316"/>
                    <a:pt x="648" y="317"/>
                    <a:pt x="649" y="318"/>
                  </a:cubicBezTo>
                  <a:cubicBezTo>
                    <a:pt x="649" y="319"/>
                    <a:pt x="650" y="320"/>
                    <a:pt x="651" y="321"/>
                  </a:cubicBezTo>
                  <a:cubicBezTo>
                    <a:pt x="652" y="322"/>
                    <a:pt x="653" y="322"/>
                    <a:pt x="654" y="322"/>
                  </a:cubicBezTo>
                  <a:cubicBezTo>
                    <a:pt x="655" y="322"/>
                    <a:pt x="656" y="322"/>
                    <a:pt x="657" y="322"/>
                  </a:cubicBezTo>
                  <a:cubicBezTo>
                    <a:pt x="658" y="321"/>
                    <a:pt x="661" y="321"/>
                    <a:pt x="663" y="320"/>
                  </a:cubicBezTo>
                  <a:cubicBezTo>
                    <a:pt x="662" y="319"/>
                    <a:pt x="659" y="316"/>
                    <a:pt x="656" y="315"/>
                  </a:cubicBezTo>
                  <a:cubicBezTo>
                    <a:pt x="657" y="314"/>
                    <a:pt x="657" y="314"/>
                    <a:pt x="658" y="313"/>
                  </a:cubicBezTo>
                  <a:cubicBezTo>
                    <a:pt x="658" y="313"/>
                    <a:pt x="658" y="313"/>
                    <a:pt x="658" y="313"/>
                  </a:cubicBezTo>
                  <a:cubicBezTo>
                    <a:pt x="659" y="314"/>
                    <a:pt x="659" y="314"/>
                    <a:pt x="659" y="314"/>
                  </a:cubicBezTo>
                  <a:cubicBezTo>
                    <a:pt x="662" y="315"/>
                    <a:pt x="662" y="318"/>
                    <a:pt x="665" y="318"/>
                  </a:cubicBezTo>
                  <a:cubicBezTo>
                    <a:pt x="665" y="318"/>
                    <a:pt x="666" y="318"/>
                    <a:pt x="666" y="317"/>
                  </a:cubicBezTo>
                  <a:cubicBezTo>
                    <a:pt x="667" y="317"/>
                    <a:pt x="670" y="316"/>
                    <a:pt x="670" y="315"/>
                  </a:cubicBezTo>
                  <a:cubicBezTo>
                    <a:pt x="671" y="313"/>
                    <a:pt x="663" y="306"/>
                    <a:pt x="662" y="305"/>
                  </a:cubicBezTo>
                  <a:cubicBezTo>
                    <a:pt x="660" y="303"/>
                    <a:pt x="659" y="302"/>
                    <a:pt x="657" y="302"/>
                  </a:cubicBezTo>
                  <a:cubicBezTo>
                    <a:pt x="656" y="302"/>
                    <a:pt x="655" y="303"/>
                    <a:pt x="654" y="303"/>
                  </a:cubicBezTo>
                  <a:cubicBezTo>
                    <a:pt x="650" y="303"/>
                    <a:pt x="650" y="304"/>
                    <a:pt x="650" y="307"/>
                  </a:cubicBezTo>
                  <a:cubicBezTo>
                    <a:pt x="649" y="307"/>
                    <a:pt x="649" y="306"/>
                    <a:pt x="649" y="306"/>
                  </a:cubicBezTo>
                  <a:cubicBezTo>
                    <a:pt x="648" y="305"/>
                    <a:pt x="648" y="304"/>
                    <a:pt x="648" y="303"/>
                  </a:cubicBezTo>
                  <a:cubicBezTo>
                    <a:pt x="648" y="301"/>
                    <a:pt x="648" y="300"/>
                    <a:pt x="648" y="298"/>
                  </a:cubicBezTo>
                  <a:cubicBezTo>
                    <a:pt x="649" y="294"/>
                    <a:pt x="651" y="290"/>
                    <a:pt x="653" y="286"/>
                  </a:cubicBezTo>
                  <a:cubicBezTo>
                    <a:pt x="653" y="286"/>
                    <a:pt x="653" y="286"/>
                    <a:pt x="652" y="286"/>
                  </a:cubicBezTo>
                  <a:cubicBezTo>
                    <a:pt x="651" y="286"/>
                    <a:pt x="648" y="286"/>
                    <a:pt x="647" y="287"/>
                  </a:cubicBezTo>
                  <a:cubicBezTo>
                    <a:pt x="647" y="288"/>
                    <a:pt x="647" y="289"/>
                    <a:pt x="647" y="289"/>
                  </a:cubicBezTo>
                  <a:cubicBezTo>
                    <a:pt x="646" y="289"/>
                    <a:pt x="644" y="290"/>
                    <a:pt x="643" y="291"/>
                  </a:cubicBezTo>
                  <a:cubicBezTo>
                    <a:pt x="642" y="294"/>
                    <a:pt x="647" y="295"/>
                    <a:pt x="646" y="298"/>
                  </a:cubicBezTo>
                  <a:cubicBezTo>
                    <a:pt x="644" y="296"/>
                    <a:pt x="642" y="290"/>
                    <a:pt x="640" y="290"/>
                  </a:cubicBezTo>
                  <a:cubicBezTo>
                    <a:pt x="640" y="290"/>
                    <a:pt x="639" y="290"/>
                    <a:pt x="639" y="290"/>
                  </a:cubicBezTo>
                  <a:cubicBezTo>
                    <a:pt x="636" y="290"/>
                    <a:pt x="636" y="293"/>
                    <a:pt x="635" y="294"/>
                  </a:cubicBezTo>
                  <a:cubicBezTo>
                    <a:pt x="635" y="295"/>
                    <a:pt x="636" y="295"/>
                    <a:pt x="636" y="296"/>
                  </a:cubicBezTo>
                  <a:cubicBezTo>
                    <a:pt x="636" y="296"/>
                    <a:pt x="635" y="297"/>
                    <a:pt x="634" y="298"/>
                  </a:cubicBezTo>
                  <a:cubicBezTo>
                    <a:pt x="634" y="299"/>
                    <a:pt x="634" y="301"/>
                    <a:pt x="632" y="301"/>
                  </a:cubicBezTo>
                  <a:cubicBezTo>
                    <a:pt x="632" y="299"/>
                    <a:pt x="634" y="297"/>
                    <a:pt x="634" y="294"/>
                  </a:cubicBezTo>
                  <a:cubicBezTo>
                    <a:pt x="634" y="292"/>
                    <a:pt x="633" y="291"/>
                    <a:pt x="634" y="289"/>
                  </a:cubicBezTo>
                  <a:cubicBezTo>
                    <a:pt x="633" y="289"/>
                    <a:pt x="633" y="289"/>
                    <a:pt x="633" y="289"/>
                  </a:cubicBezTo>
                  <a:cubicBezTo>
                    <a:pt x="630" y="289"/>
                    <a:pt x="623" y="290"/>
                    <a:pt x="622" y="292"/>
                  </a:cubicBezTo>
                  <a:cubicBezTo>
                    <a:pt x="622" y="292"/>
                    <a:pt x="622" y="295"/>
                    <a:pt x="622" y="296"/>
                  </a:cubicBezTo>
                  <a:cubicBezTo>
                    <a:pt x="622" y="297"/>
                    <a:pt x="621" y="298"/>
                    <a:pt x="620" y="299"/>
                  </a:cubicBezTo>
                  <a:cubicBezTo>
                    <a:pt x="620" y="297"/>
                    <a:pt x="620" y="294"/>
                    <a:pt x="620" y="291"/>
                  </a:cubicBezTo>
                  <a:cubicBezTo>
                    <a:pt x="617" y="294"/>
                    <a:pt x="617" y="295"/>
                    <a:pt x="614" y="295"/>
                  </a:cubicBezTo>
                  <a:cubicBezTo>
                    <a:pt x="613" y="295"/>
                    <a:pt x="612" y="295"/>
                    <a:pt x="611" y="295"/>
                  </a:cubicBezTo>
                  <a:cubicBezTo>
                    <a:pt x="613" y="294"/>
                    <a:pt x="615" y="295"/>
                    <a:pt x="617" y="294"/>
                  </a:cubicBezTo>
                  <a:cubicBezTo>
                    <a:pt x="618" y="293"/>
                    <a:pt x="616" y="292"/>
                    <a:pt x="617" y="291"/>
                  </a:cubicBezTo>
                  <a:cubicBezTo>
                    <a:pt x="619" y="290"/>
                    <a:pt x="622" y="291"/>
                    <a:pt x="624" y="289"/>
                  </a:cubicBezTo>
                  <a:cubicBezTo>
                    <a:pt x="627" y="286"/>
                    <a:pt x="621" y="284"/>
                    <a:pt x="626" y="282"/>
                  </a:cubicBezTo>
                  <a:cubicBezTo>
                    <a:pt x="627" y="281"/>
                    <a:pt x="630" y="281"/>
                    <a:pt x="630" y="279"/>
                  </a:cubicBezTo>
                  <a:cubicBezTo>
                    <a:pt x="631" y="277"/>
                    <a:pt x="630" y="276"/>
                    <a:pt x="629" y="276"/>
                  </a:cubicBezTo>
                  <a:cubicBezTo>
                    <a:pt x="628" y="276"/>
                    <a:pt x="626" y="277"/>
                    <a:pt x="626" y="277"/>
                  </a:cubicBezTo>
                  <a:cubicBezTo>
                    <a:pt x="622" y="279"/>
                    <a:pt x="622" y="277"/>
                    <a:pt x="620" y="280"/>
                  </a:cubicBezTo>
                  <a:cubicBezTo>
                    <a:pt x="620" y="282"/>
                    <a:pt x="620" y="283"/>
                    <a:pt x="617" y="285"/>
                  </a:cubicBezTo>
                  <a:cubicBezTo>
                    <a:pt x="615" y="286"/>
                    <a:pt x="613" y="285"/>
                    <a:pt x="612" y="289"/>
                  </a:cubicBezTo>
                  <a:cubicBezTo>
                    <a:pt x="611" y="284"/>
                    <a:pt x="620" y="284"/>
                    <a:pt x="619" y="279"/>
                  </a:cubicBezTo>
                  <a:cubicBezTo>
                    <a:pt x="618" y="279"/>
                    <a:pt x="617" y="279"/>
                    <a:pt x="615" y="279"/>
                  </a:cubicBezTo>
                  <a:cubicBezTo>
                    <a:pt x="610" y="279"/>
                    <a:pt x="606" y="280"/>
                    <a:pt x="601" y="281"/>
                  </a:cubicBezTo>
                  <a:cubicBezTo>
                    <a:pt x="599" y="282"/>
                    <a:pt x="596" y="282"/>
                    <a:pt x="594" y="283"/>
                  </a:cubicBezTo>
                  <a:cubicBezTo>
                    <a:pt x="592" y="284"/>
                    <a:pt x="593" y="287"/>
                    <a:pt x="591" y="287"/>
                  </a:cubicBezTo>
                  <a:cubicBezTo>
                    <a:pt x="590" y="282"/>
                    <a:pt x="594" y="281"/>
                    <a:pt x="599" y="280"/>
                  </a:cubicBezTo>
                  <a:cubicBezTo>
                    <a:pt x="602" y="280"/>
                    <a:pt x="607" y="280"/>
                    <a:pt x="607" y="277"/>
                  </a:cubicBezTo>
                  <a:cubicBezTo>
                    <a:pt x="607" y="277"/>
                    <a:pt x="607" y="277"/>
                    <a:pt x="607" y="277"/>
                  </a:cubicBezTo>
                  <a:cubicBezTo>
                    <a:pt x="604" y="277"/>
                    <a:pt x="600" y="278"/>
                    <a:pt x="596" y="278"/>
                  </a:cubicBezTo>
                  <a:cubicBezTo>
                    <a:pt x="593" y="278"/>
                    <a:pt x="591" y="280"/>
                    <a:pt x="589" y="280"/>
                  </a:cubicBezTo>
                  <a:cubicBezTo>
                    <a:pt x="592" y="276"/>
                    <a:pt x="597" y="279"/>
                    <a:pt x="601" y="276"/>
                  </a:cubicBezTo>
                  <a:cubicBezTo>
                    <a:pt x="597" y="275"/>
                    <a:pt x="593" y="276"/>
                    <a:pt x="589" y="274"/>
                  </a:cubicBezTo>
                  <a:cubicBezTo>
                    <a:pt x="589" y="274"/>
                    <a:pt x="590" y="274"/>
                    <a:pt x="591" y="274"/>
                  </a:cubicBezTo>
                  <a:cubicBezTo>
                    <a:pt x="593" y="274"/>
                    <a:pt x="596" y="274"/>
                    <a:pt x="598" y="275"/>
                  </a:cubicBezTo>
                  <a:cubicBezTo>
                    <a:pt x="601" y="275"/>
                    <a:pt x="603" y="276"/>
                    <a:pt x="606" y="276"/>
                  </a:cubicBezTo>
                  <a:cubicBezTo>
                    <a:pt x="606" y="276"/>
                    <a:pt x="606" y="275"/>
                    <a:pt x="607" y="275"/>
                  </a:cubicBezTo>
                  <a:cubicBezTo>
                    <a:pt x="609" y="275"/>
                    <a:pt x="609" y="275"/>
                    <a:pt x="608" y="273"/>
                  </a:cubicBezTo>
                  <a:cubicBezTo>
                    <a:pt x="607" y="270"/>
                    <a:pt x="606" y="269"/>
                    <a:pt x="605" y="267"/>
                  </a:cubicBezTo>
                  <a:cubicBezTo>
                    <a:pt x="607" y="267"/>
                    <a:pt x="603" y="262"/>
                    <a:pt x="602" y="261"/>
                  </a:cubicBezTo>
                  <a:cubicBezTo>
                    <a:pt x="599" y="259"/>
                    <a:pt x="597" y="256"/>
                    <a:pt x="594" y="256"/>
                  </a:cubicBezTo>
                  <a:cubicBezTo>
                    <a:pt x="593" y="256"/>
                    <a:pt x="591" y="256"/>
                    <a:pt x="590" y="258"/>
                  </a:cubicBezTo>
                  <a:cubicBezTo>
                    <a:pt x="589" y="258"/>
                    <a:pt x="589" y="260"/>
                    <a:pt x="588" y="260"/>
                  </a:cubicBezTo>
                  <a:cubicBezTo>
                    <a:pt x="588" y="260"/>
                    <a:pt x="588" y="260"/>
                    <a:pt x="588" y="260"/>
                  </a:cubicBezTo>
                  <a:cubicBezTo>
                    <a:pt x="587" y="260"/>
                    <a:pt x="587" y="259"/>
                    <a:pt x="587" y="259"/>
                  </a:cubicBezTo>
                  <a:cubicBezTo>
                    <a:pt x="587" y="259"/>
                    <a:pt x="587" y="258"/>
                    <a:pt x="586" y="258"/>
                  </a:cubicBezTo>
                  <a:cubicBezTo>
                    <a:pt x="586" y="258"/>
                    <a:pt x="586" y="258"/>
                    <a:pt x="586" y="258"/>
                  </a:cubicBezTo>
                  <a:cubicBezTo>
                    <a:pt x="585" y="258"/>
                    <a:pt x="584" y="258"/>
                    <a:pt x="584" y="258"/>
                  </a:cubicBezTo>
                  <a:cubicBezTo>
                    <a:pt x="581" y="259"/>
                    <a:pt x="580" y="259"/>
                    <a:pt x="580" y="262"/>
                  </a:cubicBezTo>
                  <a:cubicBezTo>
                    <a:pt x="580" y="261"/>
                    <a:pt x="580" y="260"/>
                    <a:pt x="580" y="258"/>
                  </a:cubicBezTo>
                  <a:cubicBezTo>
                    <a:pt x="581" y="258"/>
                    <a:pt x="582" y="258"/>
                    <a:pt x="582" y="257"/>
                  </a:cubicBezTo>
                  <a:cubicBezTo>
                    <a:pt x="583" y="256"/>
                    <a:pt x="583" y="255"/>
                    <a:pt x="581" y="254"/>
                  </a:cubicBezTo>
                  <a:cubicBezTo>
                    <a:pt x="581" y="254"/>
                    <a:pt x="582" y="254"/>
                    <a:pt x="582" y="254"/>
                  </a:cubicBezTo>
                  <a:cubicBezTo>
                    <a:pt x="584" y="254"/>
                    <a:pt x="585" y="252"/>
                    <a:pt x="584" y="250"/>
                  </a:cubicBezTo>
                  <a:cubicBezTo>
                    <a:pt x="584" y="251"/>
                    <a:pt x="585" y="251"/>
                    <a:pt x="585" y="251"/>
                  </a:cubicBezTo>
                  <a:cubicBezTo>
                    <a:pt x="587" y="251"/>
                    <a:pt x="588" y="250"/>
                    <a:pt x="590" y="249"/>
                  </a:cubicBezTo>
                  <a:cubicBezTo>
                    <a:pt x="584" y="249"/>
                    <a:pt x="573" y="249"/>
                    <a:pt x="571" y="256"/>
                  </a:cubicBezTo>
                  <a:cubicBezTo>
                    <a:pt x="571" y="258"/>
                    <a:pt x="573" y="257"/>
                    <a:pt x="575" y="259"/>
                  </a:cubicBezTo>
                  <a:cubicBezTo>
                    <a:pt x="575" y="260"/>
                    <a:pt x="576" y="263"/>
                    <a:pt x="576" y="264"/>
                  </a:cubicBezTo>
                  <a:cubicBezTo>
                    <a:pt x="574" y="262"/>
                    <a:pt x="572" y="259"/>
                    <a:pt x="571" y="257"/>
                  </a:cubicBezTo>
                  <a:cubicBezTo>
                    <a:pt x="570" y="255"/>
                    <a:pt x="571" y="255"/>
                    <a:pt x="571" y="254"/>
                  </a:cubicBezTo>
                  <a:cubicBezTo>
                    <a:pt x="572" y="252"/>
                    <a:pt x="573" y="250"/>
                    <a:pt x="573" y="248"/>
                  </a:cubicBezTo>
                  <a:cubicBezTo>
                    <a:pt x="571" y="249"/>
                    <a:pt x="569" y="249"/>
                    <a:pt x="567" y="250"/>
                  </a:cubicBezTo>
                  <a:cubicBezTo>
                    <a:pt x="566" y="251"/>
                    <a:pt x="566" y="251"/>
                    <a:pt x="565" y="252"/>
                  </a:cubicBezTo>
                  <a:cubicBezTo>
                    <a:pt x="565" y="253"/>
                    <a:pt x="562" y="254"/>
                    <a:pt x="562" y="255"/>
                  </a:cubicBezTo>
                  <a:cubicBezTo>
                    <a:pt x="561" y="256"/>
                    <a:pt x="562" y="258"/>
                    <a:pt x="561" y="259"/>
                  </a:cubicBezTo>
                  <a:cubicBezTo>
                    <a:pt x="561" y="260"/>
                    <a:pt x="561" y="261"/>
                    <a:pt x="560" y="263"/>
                  </a:cubicBezTo>
                  <a:cubicBezTo>
                    <a:pt x="560" y="261"/>
                    <a:pt x="560" y="257"/>
                    <a:pt x="560" y="255"/>
                  </a:cubicBezTo>
                  <a:cubicBezTo>
                    <a:pt x="560" y="255"/>
                    <a:pt x="561" y="254"/>
                    <a:pt x="561" y="253"/>
                  </a:cubicBezTo>
                  <a:cubicBezTo>
                    <a:pt x="562" y="252"/>
                    <a:pt x="560" y="252"/>
                    <a:pt x="560" y="251"/>
                  </a:cubicBezTo>
                  <a:cubicBezTo>
                    <a:pt x="560" y="248"/>
                    <a:pt x="566" y="245"/>
                    <a:pt x="562" y="242"/>
                  </a:cubicBezTo>
                  <a:cubicBezTo>
                    <a:pt x="561" y="246"/>
                    <a:pt x="562" y="246"/>
                    <a:pt x="559" y="248"/>
                  </a:cubicBezTo>
                  <a:cubicBezTo>
                    <a:pt x="557" y="248"/>
                    <a:pt x="554" y="249"/>
                    <a:pt x="553" y="250"/>
                  </a:cubicBezTo>
                  <a:cubicBezTo>
                    <a:pt x="552" y="252"/>
                    <a:pt x="553" y="253"/>
                    <a:pt x="552" y="255"/>
                  </a:cubicBezTo>
                  <a:cubicBezTo>
                    <a:pt x="552" y="256"/>
                    <a:pt x="552" y="256"/>
                    <a:pt x="552" y="256"/>
                  </a:cubicBezTo>
                  <a:cubicBezTo>
                    <a:pt x="551" y="256"/>
                    <a:pt x="551" y="256"/>
                    <a:pt x="550" y="256"/>
                  </a:cubicBezTo>
                  <a:cubicBezTo>
                    <a:pt x="548" y="255"/>
                    <a:pt x="546" y="254"/>
                    <a:pt x="543" y="253"/>
                  </a:cubicBezTo>
                  <a:cubicBezTo>
                    <a:pt x="544" y="253"/>
                    <a:pt x="544" y="253"/>
                    <a:pt x="544" y="253"/>
                  </a:cubicBezTo>
                  <a:cubicBezTo>
                    <a:pt x="545" y="253"/>
                    <a:pt x="546" y="253"/>
                    <a:pt x="547" y="253"/>
                  </a:cubicBezTo>
                  <a:cubicBezTo>
                    <a:pt x="548" y="254"/>
                    <a:pt x="548" y="254"/>
                    <a:pt x="549" y="254"/>
                  </a:cubicBezTo>
                  <a:cubicBezTo>
                    <a:pt x="550" y="254"/>
                    <a:pt x="550" y="254"/>
                    <a:pt x="551" y="253"/>
                  </a:cubicBezTo>
                  <a:cubicBezTo>
                    <a:pt x="552" y="253"/>
                    <a:pt x="552" y="250"/>
                    <a:pt x="553" y="249"/>
                  </a:cubicBezTo>
                  <a:cubicBezTo>
                    <a:pt x="554" y="247"/>
                    <a:pt x="558" y="247"/>
                    <a:pt x="554" y="245"/>
                  </a:cubicBezTo>
                  <a:cubicBezTo>
                    <a:pt x="553" y="245"/>
                    <a:pt x="553" y="245"/>
                    <a:pt x="553" y="245"/>
                  </a:cubicBezTo>
                  <a:cubicBezTo>
                    <a:pt x="550" y="245"/>
                    <a:pt x="545" y="247"/>
                    <a:pt x="544" y="249"/>
                  </a:cubicBezTo>
                  <a:cubicBezTo>
                    <a:pt x="544" y="247"/>
                    <a:pt x="544" y="245"/>
                    <a:pt x="545" y="243"/>
                  </a:cubicBezTo>
                  <a:cubicBezTo>
                    <a:pt x="543" y="244"/>
                    <a:pt x="539" y="247"/>
                    <a:pt x="539" y="247"/>
                  </a:cubicBezTo>
                  <a:cubicBezTo>
                    <a:pt x="539" y="247"/>
                    <a:pt x="539" y="247"/>
                    <a:pt x="539" y="247"/>
                  </a:cubicBezTo>
                  <a:cubicBezTo>
                    <a:pt x="537" y="247"/>
                    <a:pt x="540" y="243"/>
                    <a:pt x="541" y="242"/>
                  </a:cubicBezTo>
                  <a:cubicBezTo>
                    <a:pt x="540" y="242"/>
                    <a:pt x="540" y="242"/>
                    <a:pt x="540" y="242"/>
                  </a:cubicBezTo>
                  <a:cubicBezTo>
                    <a:pt x="540" y="242"/>
                    <a:pt x="541" y="241"/>
                    <a:pt x="541" y="241"/>
                  </a:cubicBezTo>
                  <a:cubicBezTo>
                    <a:pt x="542" y="238"/>
                    <a:pt x="541" y="238"/>
                    <a:pt x="538" y="238"/>
                  </a:cubicBezTo>
                  <a:cubicBezTo>
                    <a:pt x="538" y="238"/>
                    <a:pt x="537" y="238"/>
                    <a:pt x="537" y="238"/>
                  </a:cubicBezTo>
                  <a:cubicBezTo>
                    <a:pt x="536" y="238"/>
                    <a:pt x="535" y="238"/>
                    <a:pt x="535" y="238"/>
                  </a:cubicBezTo>
                  <a:cubicBezTo>
                    <a:pt x="535" y="238"/>
                    <a:pt x="535" y="238"/>
                    <a:pt x="535" y="238"/>
                  </a:cubicBezTo>
                  <a:cubicBezTo>
                    <a:pt x="534" y="238"/>
                    <a:pt x="534" y="238"/>
                    <a:pt x="533" y="238"/>
                  </a:cubicBezTo>
                  <a:cubicBezTo>
                    <a:pt x="529" y="238"/>
                    <a:pt x="532" y="239"/>
                    <a:pt x="530" y="242"/>
                  </a:cubicBezTo>
                  <a:cubicBezTo>
                    <a:pt x="529" y="243"/>
                    <a:pt x="528" y="243"/>
                    <a:pt x="528" y="243"/>
                  </a:cubicBezTo>
                  <a:cubicBezTo>
                    <a:pt x="526" y="243"/>
                    <a:pt x="525" y="242"/>
                    <a:pt x="524" y="242"/>
                  </a:cubicBezTo>
                  <a:cubicBezTo>
                    <a:pt x="525" y="242"/>
                    <a:pt x="526" y="242"/>
                    <a:pt x="527" y="242"/>
                  </a:cubicBezTo>
                  <a:cubicBezTo>
                    <a:pt x="528" y="242"/>
                    <a:pt x="529" y="242"/>
                    <a:pt x="529" y="241"/>
                  </a:cubicBezTo>
                  <a:cubicBezTo>
                    <a:pt x="530" y="240"/>
                    <a:pt x="529" y="239"/>
                    <a:pt x="530" y="237"/>
                  </a:cubicBezTo>
                  <a:cubicBezTo>
                    <a:pt x="532" y="236"/>
                    <a:pt x="534" y="236"/>
                    <a:pt x="537" y="235"/>
                  </a:cubicBezTo>
                  <a:cubicBezTo>
                    <a:pt x="535" y="235"/>
                    <a:pt x="532" y="235"/>
                    <a:pt x="530" y="235"/>
                  </a:cubicBezTo>
                  <a:cubicBezTo>
                    <a:pt x="528" y="235"/>
                    <a:pt x="526" y="235"/>
                    <a:pt x="525" y="236"/>
                  </a:cubicBezTo>
                  <a:cubicBezTo>
                    <a:pt x="524" y="236"/>
                    <a:pt x="525" y="237"/>
                    <a:pt x="524" y="238"/>
                  </a:cubicBezTo>
                  <a:cubicBezTo>
                    <a:pt x="524" y="238"/>
                    <a:pt x="522" y="238"/>
                    <a:pt x="521" y="238"/>
                  </a:cubicBezTo>
                  <a:cubicBezTo>
                    <a:pt x="524" y="238"/>
                    <a:pt x="523" y="236"/>
                    <a:pt x="525" y="235"/>
                  </a:cubicBezTo>
                  <a:cubicBezTo>
                    <a:pt x="524" y="235"/>
                    <a:pt x="524" y="235"/>
                    <a:pt x="523" y="235"/>
                  </a:cubicBezTo>
                  <a:cubicBezTo>
                    <a:pt x="521" y="235"/>
                    <a:pt x="519" y="236"/>
                    <a:pt x="517" y="238"/>
                  </a:cubicBezTo>
                  <a:cubicBezTo>
                    <a:pt x="518" y="234"/>
                    <a:pt x="521" y="234"/>
                    <a:pt x="524" y="234"/>
                  </a:cubicBezTo>
                  <a:cubicBezTo>
                    <a:pt x="526" y="233"/>
                    <a:pt x="528" y="232"/>
                    <a:pt x="530" y="232"/>
                  </a:cubicBezTo>
                  <a:cubicBezTo>
                    <a:pt x="530" y="232"/>
                    <a:pt x="530" y="232"/>
                    <a:pt x="530" y="232"/>
                  </a:cubicBezTo>
                  <a:cubicBezTo>
                    <a:pt x="532" y="232"/>
                    <a:pt x="535" y="234"/>
                    <a:pt x="536" y="234"/>
                  </a:cubicBezTo>
                  <a:cubicBezTo>
                    <a:pt x="537" y="234"/>
                    <a:pt x="537" y="234"/>
                    <a:pt x="537" y="234"/>
                  </a:cubicBezTo>
                  <a:cubicBezTo>
                    <a:pt x="539" y="233"/>
                    <a:pt x="539" y="231"/>
                    <a:pt x="540" y="231"/>
                  </a:cubicBezTo>
                  <a:cubicBezTo>
                    <a:pt x="541" y="231"/>
                    <a:pt x="541" y="231"/>
                    <a:pt x="542" y="232"/>
                  </a:cubicBezTo>
                  <a:cubicBezTo>
                    <a:pt x="542" y="230"/>
                    <a:pt x="544" y="231"/>
                    <a:pt x="545" y="231"/>
                  </a:cubicBezTo>
                  <a:cubicBezTo>
                    <a:pt x="544" y="231"/>
                    <a:pt x="543" y="231"/>
                    <a:pt x="542" y="231"/>
                  </a:cubicBezTo>
                  <a:cubicBezTo>
                    <a:pt x="541" y="231"/>
                    <a:pt x="541" y="231"/>
                    <a:pt x="541" y="231"/>
                  </a:cubicBezTo>
                  <a:cubicBezTo>
                    <a:pt x="541" y="231"/>
                    <a:pt x="540" y="231"/>
                    <a:pt x="540" y="231"/>
                  </a:cubicBezTo>
                  <a:cubicBezTo>
                    <a:pt x="534" y="231"/>
                    <a:pt x="528" y="231"/>
                    <a:pt x="523" y="233"/>
                  </a:cubicBezTo>
                  <a:cubicBezTo>
                    <a:pt x="523" y="231"/>
                    <a:pt x="522" y="229"/>
                    <a:pt x="523" y="228"/>
                  </a:cubicBezTo>
                  <a:cubicBezTo>
                    <a:pt x="523" y="227"/>
                    <a:pt x="524" y="227"/>
                    <a:pt x="524" y="227"/>
                  </a:cubicBezTo>
                  <a:cubicBezTo>
                    <a:pt x="524" y="227"/>
                    <a:pt x="524" y="227"/>
                    <a:pt x="524" y="227"/>
                  </a:cubicBezTo>
                  <a:cubicBezTo>
                    <a:pt x="524" y="227"/>
                    <a:pt x="524" y="227"/>
                    <a:pt x="524" y="227"/>
                  </a:cubicBezTo>
                  <a:cubicBezTo>
                    <a:pt x="525" y="227"/>
                    <a:pt x="525" y="227"/>
                    <a:pt x="525" y="227"/>
                  </a:cubicBezTo>
                  <a:cubicBezTo>
                    <a:pt x="522" y="227"/>
                    <a:pt x="518" y="230"/>
                    <a:pt x="515" y="232"/>
                  </a:cubicBezTo>
                  <a:cubicBezTo>
                    <a:pt x="515" y="231"/>
                    <a:pt x="515" y="231"/>
                    <a:pt x="515" y="230"/>
                  </a:cubicBezTo>
                  <a:cubicBezTo>
                    <a:pt x="515" y="230"/>
                    <a:pt x="514" y="229"/>
                    <a:pt x="514" y="228"/>
                  </a:cubicBezTo>
                  <a:cubicBezTo>
                    <a:pt x="514" y="228"/>
                    <a:pt x="514" y="227"/>
                    <a:pt x="514" y="227"/>
                  </a:cubicBezTo>
                  <a:cubicBezTo>
                    <a:pt x="514" y="228"/>
                    <a:pt x="514" y="228"/>
                    <a:pt x="514" y="228"/>
                  </a:cubicBezTo>
                  <a:cubicBezTo>
                    <a:pt x="514" y="227"/>
                    <a:pt x="514" y="227"/>
                    <a:pt x="514" y="227"/>
                  </a:cubicBezTo>
                  <a:cubicBezTo>
                    <a:pt x="514" y="227"/>
                    <a:pt x="514" y="228"/>
                    <a:pt x="514" y="228"/>
                  </a:cubicBezTo>
                  <a:cubicBezTo>
                    <a:pt x="514" y="227"/>
                    <a:pt x="513" y="226"/>
                    <a:pt x="510" y="225"/>
                  </a:cubicBezTo>
                  <a:cubicBezTo>
                    <a:pt x="509" y="225"/>
                    <a:pt x="507" y="224"/>
                    <a:pt x="506" y="224"/>
                  </a:cubicBezTo>
                  <a:cubicBezTo>
                    <a:pt x="505" y="224"/>
                    <a:pt x="505" y="224"/>
                    <a:pt x="504" y="224"/>
                  </a:cubicBezTo>
                  <a:cubicBezTo>
                    <a:pt x="502" y="225"/>
                    <a:pt x="500" y="225"/>
                    <a:pt x="499" y="225"/>
                  </a:cubicBezTo>
                  <a:cubicBezTo>
                    <a:pt x="498" y="225"/>
                    <a:pt x="497" y="225"/>
                    <a:pt x="496" y="225"/>
                  </a:cubicBezTo>
                  <a:cubicBezTo>
                    <a:pt x="497" y="224"/>
                    <a:pt x="499" y="224"/>
                    <a:pt x="499" y="223"/>
                  </a:cubicBezTo>
                  <a:cubicBezTo>
                    <a:pt x="500" y="222"/>
                    <a:pt x="500" y="222"/>
                    <a:pt x="501" y="222"/>
                  </a:cubicBezTo>
                  <a:cubicBezTo>
                    <a:pt x="501" y="222"/>
                    <a:pt x="501" y="222"/>
                    <a:pt x="501" y="222"/>
                  </a:cubicBezTo>
                  <a:cubicBezTo>
                    <a:pt x="502" y="222"/>
                    <a:pt x="503" y="222"/>
                    <a:pt x="503" y="222"/>
                  </a:cubicBezTo>
                  <a:cubicBezTo>
                    <a:pt x="504" y="223"/>
                    <a:pt x="504" y="223"/>
                    <a:pt x="505" y="223"/>
                  </a:cubicBezTo>
                  <a:cubicBezTo>
                    <a:pt x="505" y="223"/>
                    <a:pt x="505" y="223"/>
                    <a:pt x="505" y="223"/>
                  </a:cubicBezTo>
                  <a:cubicBezTo>
                    <a:pt x="507" y="223"/>
                    <a:pt x="508" y="222"/>
                    <a:pt x="509" y="222"/>
                  </a:cubicBezTo>
                  <a:cubicBezTo>
                    <a:pt x="510" y="222"/>
                    <a:pt x="511" y="222"/>
                    <a:pt x="512" y="223"/>
                  </a:cubicBezTo>
                  <a:cubicBezTo>
                    <a:pt x="509" y="218"/>
                    <a:pt x="500" y="218"/>
                    <a:pt x="495" y="217"/>
                  </a:cubicBezTo>
                  <a:cubicBezTo>
                    <a:pt x="495" y="217"/>
                    <a:pt x="495" y="217"/>
                    <a:pt x="495" y="217"/>
                  </a:cubicBezTo>
                  <a:cubicBezTo>
                    <a:pt x="495" y="217"/>
                    <a:pt x="494" y="218"/>
                    <a:pt x="493" y="218"/>
                  </a:cubicBezTo>
                  <a:cubicBezTo>
                    <a:pt x="492" y="218"/>
                    <a:pt x="492" y="218"/>
                    <a:pt x="491" y="218"/>
                  </a:cubicBezTo>
                  <a:cubicBezTo>
                    <a:pt x="491" y="218"/>
                    <a:pt x="491" y="218"/>
                    <a:pt x="491" y="218"/>
                  </a:cubicBezTo>
                  <a:cubicBezTo>
                    <a:pt x="491" y="218"/>
                    <a:pt x="492" y="217"/>
                    <a:pt x="491" y="216"/>
                  </a:cubicBezTo>
                  <a:cubicBezTo>
                    <a:pt x="490" y="215"/>
                    <a:pt x="484" y="215"/>
                    <a:pt x="482" y="215"/>
                  </a:cubicBezTo>
                  <a:cubicBezTo>
                    <a:pt x="482" y="215"/>
                    <a:pt x="483" y="214"/>
                    <a:pt x="483" y="214"/>
                  </a:cubicBezTo>
                  <a:cubicBezTo>
                    <a:pt x="483" y="214"/>
                    <a:pt x="482" y="213"/>
                    <a:pt x="482" y="213"/>
                  </a:cubicBezTo>
                  <a:cubicBezTo>
                    <a:pt x="482" y="213"/>
                    <a:pt x="482" y="213"/>
                    <a:pt x="482" y="213"/>
                  </a:cubicBezTo>
                  <a:cubicBezTo>
                    <a:pt x="482" y="213"/>
                    <a:pt x="483" y="213"/>
                    <a:pt x="484" y="213"/>
                  </a:cubicBezTo>
                  <a:cubicBezTo>
                    <a:pt x="489" y="213"/>
                    <a:pt x="494" y="216"/>
                    <a:pt x="499" y="216"/>
                  </a:cubicBezTo>
                  <a:cubicBezTo>
                    <a:pt x="499" y="216"/>
                    <a:pt x="499" y="216"/>
                    <a:pt x="499" y="216"/>
                  </a:cubicBezTo>
                  <a:cubicBezTo>
                    <a:pt x="502" y="216"/>
                    <a:pt x="504" y="215"/>
                    <a:pt x="506" y="215"/>
                  </a:cubicBezTo>
                  <a:cubicBezTo>
                    <a:pt x="506" y="215"/>
                    <a:pt x="506" y="215"/>
                    <a:pt x="507" y="215"/>
                  </a:cubicBezTo>
                  <a:cubicBezTo>
                    <a:pt x="509" y="215"/>
                    <a:pt x="512" y="216"/>
                    <a:pt x="514" y="216"/>
                  </a:cubicBezTo>
                  <a:cubicBezTo>
                    <a:pt x="514" y="216"/>
                    <a:pt x="514" y="216"/>
                    <a:pt x="514" y="216"/>
                  </a:cubicBezTo>
                  <a:cubicBezTo>
                    <a:pt x="514" y="216"/>
                    <a:pt x="514" y="216"/>
                    <a:pt x="514" y="216"/>
                  </a:cubicBezTo>
                  <a:cubicBezTo>
                    <a:pt x="513" y="213"/>
                    <a:pt x="504" y="213"/>
                    <a:pt x="502" y="212"/>
                  </a:cubicBezTo>
                  <a:cubicBezTo>
                    <a:pt x="503" y="212"/>
                    <a:pt x="503" y="212"/>
                    <a:pt x="503" y="212"/>
                  </a:cubicBezTo>
                  <a:cubicBezTo>
                    <a:pt x="507" y="212"/>
                    <a:pt x="510" y="213"/>
                    <a:pt x="514" y="214"/>
                  </a:cubicBezTo>
                  <a:cubicBezTo>
                    <a:pt x="514" y="214"/>
                    <a:pt x="514" y="214"/>
                    <a:pt x="514" y="214"/>
                  </a:cubicBezTo>
                  <a:cubicBezTo>
                    <a:pt x="514" y="213"/>
                    <a:pt x="514" y="213"/>
                    <a:pt x="514" y="213"/>
                  </a:cubicBezTo>
                  <a:cubicBezTo>
                    <a:pt x="514" y="210"/>
                    <a:pt x="510" y="209"/>
                    <a:pt x="506" y="209"/>
                  </a:cubicBezTo>
                  <a:cubicBezTo>
                    <a:pt x="504" y="209"/>
                    <a:pt x="502" y="209"/>
                    <a:pt x="501" y="209"/>
                  </a:cubicBezTo>
                  <a:cubicBezTo>
                    <a:pt x="501" y="209"/>
                    <a:pt x="501" y="209"/>
                    <a:pt x="501" y="209"/>
                  </a:cubicBezTo>
                  <a:cubicBezTo>
                    <a:pt x="503" y="208"/>
                    <a:pt x="505" y="208"/>
                    <a:pt x="507" y="208"/>
                  </a:cubicBezTo>
                  <a:cubicBezTo>
                    <a:pt x="507" y="208"/>
                    <a:pt x="508" y="208"/>
                    <a:pt x="509" y="208"/>
                  </a:cubicBezTo>
                  <a:cubicBezTo>
                    <a:pt x="510" y="208"/>
                    <a:pt x="512" y="209"/>
                    <a:pt x="513" y="209"/>
                  </a:cubicBezTo>
                  <a:cubicBezTo>
                    <a:pt x="513" y="209"/>
                    <a:pt x="514" y="209"/>
                    <a:pt x="514" y="209"/>
                  </a:cubicBezTo>
                  <a:cubicBezTo>
                    <a:pt x="514" y="208"/>
                    <a:pt x="514" y="208"/>
                    <a:pt x="514" y="208"/>
                  </a:cubicBezTo>
                  <a:cubicBezTo>
                    <a:pt x="514" y="208"/>
                    <a:pt x="514" y="208"/>
                    <a:pt x="514" y="208"/>
                  </a:cubicBezTo>
                  <a:cubicBezTo>
                    <a:pt x="515" y="208"/>
                    <a:pt x="519" y="207"/>
                    <a:pt x="520" y="207"/>
                  </a:cubicBezTo>
                  <a:cubicBezTo>
                    <a:pt x="519" y="205"/>
                    <a:pt x="516" y="204"/>
                    <a:pt x="514" y="204"/>
                  </a:cubicBezTo>
                  <a:cubicBezTo>
                    <a:pt x="514" y="204"/>
                    <a:pt x="514" y="205"/>
                    <a:pt x="514" y="205"/>
                  </a:cubicBezTo>
                  <a:cubicBezTo>
                    <a:pt x="514" y="204"/>
                    <a:pt x="513" y="204"/>
                    <a:pt x="513" y="203"/>
                  </a:cubicBezTo>
                  <a:cubicBezTo>
                    <a:pt x="512" y="202"/>
                    <a:pt x="510" y="202"/>
                    <a:pt x="509" y="202"/>
                  </a:cubicBezTo>
                  <a:cubicBezTo>
                    <a:pt x="508" y="201"/>
                    <a:pt x="506" y="201"/>
                    <a:pt x="505" y="201"/>
                  </a:cubicBezTo>
                  <a:cubicBezTo>
                    <a:pt x="501" y="201"/>
                    <a:pt x="496" y="203"/>
                    <a:pt x="492" y="205"/>
                  </a:cubicBezTo>
                  <a:cubicBezTo>
                    <a:pt x="492" y="204"/>
                    <a:pt x="492" y="203"/>
                    <a:pt x="491" y="203"/>
                  </a:cubicBezTo>
                  <a:cubicBezTo>
                    <a:pt x="490" y="203"/>
                    <a:pt x="489" y="204"/>
                    <a:pt x="489" y="204"/>
                  </a:cubicBezTo>
                  <a:cubicBezTo>
                    <a:pt x="491" y="202"/>
                    <a:pt x="495" y="203"/>
                    <a:pt x="497" y="202"/>
                  </a:cubicBezTo>
                  <a:cubicBezTo>
                    <a:pt x="499" y="202"/>
                    <a:pt x="500" y="200"/>
                    <a:pt x="502" y="200"/>
                  </a:cubicBezTo>
                  <a:cubicBezTo>
                    <a:pt x="500" y="200"/>
                    <a:pt x="499" y="199"/>
                    <a:pt x="498" y="199"/>
                  </a:cubicBezTo>
                  <a:cubicBezTo>
                    <a:pt x="498" y="199"/>
                    <a:pt x="497" y="199"/>
                    <a:pt x="497" y="199"/>
                  </a:cubicBezTo>
                  <a:cubicBezTo>
                    <a:pt x="496" y="199"/>
                    <a:pt x="496" y="199"/>
                    <a:pt x="496" y="199"/>
                  </a:cubicBezTo>
                  <a:cubicBezTo>
                    <a:pt x="494" y="199"/>
                    <a:pt x="493" y="199"/>
                    <a:pt x="492" y="199"/>
                  </a:cubicBezTo>
                  <a:cubicBezTo>
                    <a:pt x="494" y="199"/>
                    <a:pt x="497" y="198"/>
                    <a:pt x="500" y="198"/>
                  </a:cubicBezTo>
                  <a:cubicBezTo>
                    <a:pt x="501" y="198"/>
                    <a:pt x="503" y="199"/>
                    <a:pt x="504" y="199"/>
                  </a:cubicBezTo>
                  <a:cubicBezTo>
                    <a:pt x="506" y="199"/>
                    <a:pt x="507" y="199"/>
                    <a:pt x="509" y="199"/>
                  </a:cubicBezTo>
                  <a:cubicBezTo>
                    <a:pt x="509" y="199"/>
                    <a:pt x="509" y="199"/>
                    <a:pt x="509" y="199"/>
                  </a:cubicBezTo>
                  <a:cubicBezTo>
                    <a:pt x="509" y="199"/>
                    <a:pt x="510" y="199"/>
                    <a:pt x="510" y="199"/>
                  </a:cubicBezTo>
                  <a:cubicBezTo>
                    <a:pt x="510" y="199"/>
                    <a:pt x="510" y="199"/>
                    <a:pt x="510" y="199"/>
                  </a:cubicBezTo>
                  <a:cubicBezTo>
                    <a:pt x="510" y="199"/>
                    <a:pt x="511" y="199"/>
                    <a:pt x="511" y="199"/>
                  </a:cubicBezTo>
                  <a:cubicBezTo>
                    <a:pt x="511" y="199"/>
                    <a:pt x="511" y="199"/>
                    <a:pt x="511" y="198"/>
                  </a:cubicBezTo>
                  <a:cubicBezTo>
                    <a:pt x="510" y="197"/>
                    <a:pt x="509" y="197"/>
                    <a:pt x="508" y="196"/>
                  </a:cubicBezTo>
                  <a:cubicBezTo>
                    <a:pt x="507" y="196"/>
                    <a:pt x="507" y="196"/>
                    <a:pt x="507" y="196"/>
                  </a:cubicBezTo>
                  <a:cubicBezTo>
                    <a:pt x="506" y="196"/>
                    <a:pt x="506" y="196"/>
                    <a:pt x="505" y="196"/>
                  </a:cubicBezTo>
                  <a:cubicBezTo>
                    <a:pt x="505" y="197"/>
                    <a:pt x="504" y="197"/>
                    <a:pt x="504" y="197"/>
                  </a:cubicBezTo>
                  <a:cubicBezTo>
                    <a:pt x="504" y="197"/>
                    <a:pt x="503" y="197"/>
                    <a:pt x="503" y="197"/>
                  </a:cubicBezTo>
                  <a:cubicBezTo>
                    <a:pt x="501" y="196"/>
                    <a:pt x="499" y="196"/>
                    <a:pt x="497" y="195"/>
                  </a:cubicBezTo>
                  <a:cubicBezTo>
                    <a:pt x="495" y="195"/>
                    <a:pt x="493" y="194"/>
                    <a:pt x="492" y="194"/>
                  </a:cubicBezTo>
                  <a:cubicBezTo>
                    <a:pt x="491" y="194"/>
                    <a:pt x="491" y="194"/>
                    <a:pt x="491" y="194"/>
                  </a:cubicBezTo>
                  <a:cubicBezTo>
                    <a:pt x="489" y="195"/>
                    <a:pt x="487" y="196"/>
                    <a:pt x="485" y="196"/>
                  </a:cubicBezTo>
                  <a:cubicBezTo>
                    <a:pt x="487" y="194"/>
                    <a:pt x="489" y="194"/>
                    <a:pt x="492" y="194"/>
                  </a:cubicBezTo>
                  <a:cubicBezTo>
                    <a:pt x="496" y="194"/>
                    <a:pt x="499" y="195"/>
                    <a:pt x="502" y="195"/>
                  </a:cubicBezTo>
                  <a:cubicBezTo>
                    <a:pt x="507" y="196"/>
                    <a:pt x="510" y="195"/>
                    <a:pt x="514" y="197"/>
                  </a:cubicBezTo>
                  <a:cubicBezTo>
                    <a:pt x="514" y="197"/>
                    <a:pt x="514" y="196"/>
                    <a:pt x="514" y="195"/>
                  </a:cubicBezTo>
                  <a:cubicBezTo>
                    <a:pt x="514" y="196"/>
                    <a:pt x="514" y="197"/>
                    <a:pt x="515" y="198"/>
                  </a:cubicBezTo>
                  <a:cubicBezTo>
                    <a:pt x="516" y="199"/>
                    <a:pt x="518" y="199"/>
                    <a:pt x="519" y="200"/>
                  </a:cubicBezTo>
                  <a:cubicBezTo>
                    <a:pt x="521" y="201"/>
                    <a:pt x="523" y="201"/>
                    <a:pt x="525" y="201"/>
                  </a:cubicBezTo>
                  <a:cubicBezTo>
                    <a:pt x="526" y="201"/>
                    <a:pt x="526" y="201"/>
                    <a:pt x="527" y="201"/>
                  </a:cubicBezTo>
                  <a:cubicBezTo>
                    <a:pt x="528" y="201"/>
                    <a:pt x="528" y="201"/>
                    <a:pt x="529" y="201"/>
                  </a:cubicBezTo>
                  <a:cubicBezTo>
                    <a:pt x="529" y="201"/>
                    <a:pt x="530" y="201"/>
                    <a:pt x="530" y="201"/>
                  </a:cubicBezTo>
                  <a:cubicBezTo>
                    <a:pt x="531" y="201"/>
                    <a:pt x="532" y="202"/>
                    <a:pt x="532" y="202"/>
                  </a:cubicBezTo>
                  <a:cubicBezTo>
                    <a:pt x="533" y="202"/>
                    <a:pt x="533" y="201"/>
                    <a:pt x="534" y="201"/>
                  </a:cubicBezTo>
                  <a:cubicBezTo>
                    <a:pt x="534" y="201"/>
                    <a:pt x="535" y="200"/>
                    <a:pt x="536" y="200"/>
                  </a:cubicBezTo>
                  <a:cubicBezTo>
                    <a:pt x="537" y="200"/>
                    <a:pt x="539" y="202"/>
                    <a:pt x="541" y="202"/>
                  </a:cubicBezTo>
                  <a:cubicBezTo>
                    <a:pt x="541" y="202"/>
                    <a:pt x="541" y="202"/>
                    <a:pt x="541" y="202"/>
                  </a:cubicBezTo>
                  <a:cubicBezTo>
                    <a:pt x="545" y="202"/>
                    <a:pt x="545" y="198"/>
                    <a:pt x="543" y="195"/>
                  </a:cubicBezTo>
                  <a:cubicBezTo>
                    <a:pt x="542" y="193"/>
                    <a:pt x="539" y="193"/>
                    <a:pt x="537" y="191"/>
                  </a:cubicBezTo>
                  <a:cubicBezTo>
                    <a:pt x="532" y="189"/>
                    <a:pt x="529" y="189"/>
                    <a:pt x="523" y="188"/>
                  </a:cubicBezTo>
                  <a:cubicBezTo>
                    <a:pt x="523" y="188"/>
                    <a:pt x="523" y="188"/>
                    <a:pt x="522" y="188"/>
                  </a:cubicBezTo>
                  <a:cubicBezTo>
                    <a:pt x="521" y="188"/>
                    <a:pt x="520" y="188"/>
                    <a:pt x="519" y="189"/>
                  </a:cubicBezTo>
                  <a:cubicBezTo>
                    <a:pt x="518" y="189"/>
                    <a:pt x="517" y="189"/>
                    <a:pt x="516" y="189"/>
                  </a:cubicBezTo>
                  <a:cubicBezTo>
                    <a:pt x="515" y="189"/>
                    <a:pt x="514" y="189"/>
                    <a:pt x="514" y="189"/>
                  </a:cubicBezTo>
                  <a:cubicBezTo>
                    <a:pt x="514" y="189"/>
                    <a:pt x="514" y="190"/>
                    <a:pt x="514" y="190"/>
                  </a:cubicBezTo>
                  <a:cubicBezTo>
                    <a:pt x="514" y="188"/>
                    <a:pt x="513" y="189"/>
                    <a:pt x="511" y="188"/>
                  </a:cubicBezTo>
                  <a:cubicBezTo>
                    <a:pt x="509" y="187"/>
                    <a:pt x="507" y="186"/>
                    <a:pt x="505" y="185"/>
                  </a:cubicBezTo>
                  <a:cubicBezTo>
                    <a:pt x="502" y="184"/>
                    <a:pt x="500" y="184"/>
                    <a:pt x="497" y="184"/>
                  </a:cubicBezTo>
                  <a:cubicBezTo>
                    <a:pt x="496" y="184"/>
                    <a:pt x="494" y="184"/>
                    <a:pt x="492" y="185"/>
                  </a:cubicBezTo>
                  <a:cubicBezTo>
                    <a:pt x="489" y="186"/>
                    <a:pt x="486" y="187"/>
                    <a:pt x="483" y="187"/>
                  </a:cubicBezTo>
                  <a:cubicBezTo>
                    <a:pt x="482" y="187"/>
                    <a:pt x="481" y="186"/>
                    <a:pt x="479" y="186"/>
                  </a:cubicBezTo>
                  <a:cubicBezTo>
                    <a:pt x="478" y="186"/>
                    <a:pt x="476" y="185"/>
                    <a:pt x="475" y="185"/>
                  </a:cubicBezTo>
                  <a:cubicBezTo>
                    <a:pt x="474" y="185"/>
                    <a:pt x="473" y="185"/>
                    <a:pt x="473" y="186"/>
                  </a:cubicBezTo>
                  <a:cubicBezTo>
                    <a:pt x="471" y="186"/>
                    <a:pt x="470" y="187"/>
                    <a:pt x="469" y="187"/>
                  </a:cubicBezTo>
                  <a:cubicBezTo>
                    <a:pt x="468" y="187"/>
                    <a:pt x="467" y="187"/>
                    <a:pt x="467" y="186"/>
                  </a:cubicBezTo>
                  <a:cubicBezTo>
                    <a:pt x="469" y="185"/>
                    <a:pt x="472" y="185"/>
                    <a:pt x="475" y="185"/>
                  </a:cubicBezTo>
                  <a:cubicBezTo>
                    <a:pt x="476" y="185"/>
                    <a:pt x="476" y="185"/>
                    <a:pt x="477" y="185"/>
                  </a:cubicBezTo>
                  <a:cubicBezTo>
                    <a:pt x="480" y="185"/>
                    <a:pt x="482" y="186"/>
                    <a:pt x="484" y="186"/>
                  </a:cubicBezTo>
                  <a:cubicBezTo>
                    <a:pt x="485" y="186"/>
                    <a:pt x="485" y="186"/>
                    <a:pt x="485" y="186"/>
                  </a:cubicBezTo>
                  <a:cubicBezTo>
                    <a:pt x="490" y="186"/>
                    <a:pt x="494" y="182"/>
                    <a:pt x="499" y="182"/>
                  </a:cubicBezTo>
                  <a:cubicBezTo>
                    <a:pt x="500" y="182"/>
                    <a:pt x="500" y="182"/>
                    <a:pt x="500" y="182"/>
                  </a:cubicBezTo>
                  <a:cubicBezTo>
                    <a:pt x="501" y="182"/>
                    <a:pt x="502" y="182"/>
                    <a:pt x="503" y="182"/>
                  </a:cubicBezTo>
                  <a:cubicBezTo>
                    <a:pt x="506" y="182"/>
                    <a:pt x="507" y="181"/>
                    <a:pt x="509" y="179"/>
                  </a:cubicBezTo>
                  <a:cubicBezTo>
                    <a:pt x="510" y="178"/>
                    <a:pt x="512" y="177"/>
                    <a:pt x="513" y="176"/>
                  </a:cubicBezTo>
                  <a:cubicBezTo>
                    <a:pt x="514" y="175"/>
                    <a:pt x="514" y="174"/>
                    <a:pt x="514" y="173"/>
                  </a:cubicBezTo>
                  <a:cubicBezTo>
                    <a:pt x="514" y="174"/>
                    <a:pt x="514" y="175"/>
                    <a:pt x="514" y="176"/>
                  </a:cubicBezTo>
                  <a:cubicBezTo>
                    <a:pt x="514" y="176"/>
                    <a:pt x="514" y="176"/>
                    <a:pt x="514" y="176"/>
                  </a:cubicBezTo>
                  <a:cubicBezTo>
                    <a:pt x="515" y="176"/>
                    <a:pt x="515" y="176"/>
                    <a:pt x="516" y="176"/>
                  </a:cubicBezTo>
                  <a:cubicBezTo>
                    <a:pt x="517" y="176"/>
                    <a:pt x="518" y="176"/>
                    <a:pt x="518" y="176"/>
                  </a:cubicBezTo>
                  <a:cubicBezTo>
                    <a:pt x="519" y="176"/>
                    <a:pt x="519" y="176"/>
                    <a:pt x="520" y="176"/>
                  </a:cubicBezTo>
                  <a:cubicBezTo>
                    <a:pt x="523" y="176"/>
                    <a:pt x="525" y="178"/>
                    <a:pt x="528" y="178"/>
                  </a:cubicBezTo>
                  <a:cubicBezTo>
                    <a:pt x="529" y="178"/>
                    <a:pt x="529" y="179"/>
                    <a:pt x="530" y="179"/>
                  </a:cubicBezTo>
                  <a:cubicBezTo>
                    <a:pt x="532" y="179"/>
                    <a:pt x="534" y="178"/>
                    <a:pt x="534" y="176"/>
                  </a:cubicBezTo>
                  <a:cubicBezTo>
                    <a:pt x="534" y="175"/>
                    <a:pt x="533" y="174"/>
                    <a:pt x="532" y="172"/>
                  </a:cubicBezTo>
                  <a:cubicBezTo>
                    <a:pt x="532" y="171"/>
                    <a:pt x="532" y="170"/>
                    <a:pt x="532" y="169"/>
                  </a:cubicBezTo>
                  <a:cubicBezTo>
                    <a:pt x="531" y="167"/>
                    <a:pt x="529" y="166"/>
                    <a:pt x="528" y="165"/>
                  </a:cubicBezTo>
                  <a:cubicBezTo>
                    <a:pt x="527" y="164"/>
                    <a:pt x="526" y="163"/>
                    <a:pt x="525" y="162"/>
                  </a:cubicBezTo>
                  <a:cubicBezTo>
                    <a:pt x="522" y="158"/>
                    <a:pt x="518" y="156"/>
                    <a:pt x="514" y="155"/>
                  </a:cubicBezTo>
                  <a:cubicBezTo>
                    <a:pt x="514" y="155"/>
                    <a:pt x="514" y="155"/>
                    <a:pt x="514" y="156"/>
                  </a:cubicBezTo>
                  <a:cubicBezTo>
                    <a:pt x="514" y="155"/>
                    <a:pt x="513" y="154"/>
                    <a:pt x="513" y="154"/>
                  </a:cubicBezTo>
                  <a:cubicBezTo>
                    <a:pt x="513" y="154"/>
                    <a:pt x="512" y="154"/>
                    <a:pt x="512" y="154"/>
                  </a:cubicBezTo>
                  <a:cubicBezTo>
                    <a:pt x="510" y="154"/>
                    <a:pt x="509" y="157"/>
                    <a:pt x="509" y="159"/>
                  </a:cubicBezTo>
                  <a:cubicBezTo>
                    <a:pt x="509" y="162"/>
                    <a:pt x="510" y="162"/>
                    <a:pt x="507" y="163"/>
                  </a:cubicBezTo>
                  <a:cubicBezTo>
                    <a:pt x="503" y="164"/>
                    <a:pt x="501" y="166"/>
                    <a:pt x="497" y="168"/>
                  </a:cubicBezTo>
                  <a:cubicBezTo>
                    <a:pt x="495" y="169"/>
                    <a:pt x="491" y="169"/>
                    <a:pt x="488" y="170"/>
                  </a:cubicBezTo>
                  <a:cubicBezTo>
                    <a:pt x="485" y="172"/>
                    <a:pt x="483" y="175"/>
                    <a:pt x="479" y="175"/>
                  </a:cubicBezTo>
                  <a:cubicBezTo>
                    <a:pt x="479" y="175"/>
                    <a:pt x="479" y="175"/>
                    <a:pt x="479" y="175"/>
                  </a:cubicBezTo>
                  <a:cubicBezTo>
                    <a:pt x="477" y="175"/>
                    <a:pt x="477" y="174"/>
                    <a:pt x="475" y="174"/>
                  </a:cubicBezTo>
                  <a:cubicBezTo>
                    <a:pt x="475" y="174"/>
                    <a:pt x="475" y="174"/>
                    <a:pt x="475" y="175"/>
                  </a:cubicBezTo>
                  <a:cubicBezTo>
                    <a:pt x="473" y="175"/>
                    <a:pt x="472" y="176"/>
                    <a:pt x="470" y="176"/>
                  </a:cubicBezTo>
                  <a:cubicBezTo>
                    <a:pt x="471" y="174"/>
                    <a:pt x="474" y="174"/>
                    <a:pt x="476" y="174"/>
                  </a:cubicBezTo>
                  <a:cubicBezTo>
                    <a:pt x="477" y="174"/>
                    <a:pt x="477" y="174"/>
                    <a:pt x="478" y="174"/>
                  </a:cubicBezTo>
                  <a:cubicBezTo>
                    <a:pt x="478" y="174"/>
                    <a:pt x="479" y="174"/>
                    <a:pt x="479" y="174"/>
                  </a:cubicBezTo>
                  <a:cubicBezTo>
                    <a:pt x="482" y="174"/>
                    <a:pt x="482" y="173"/>
                    <a:pt x="485" y="170"/>
                  </a:cubicBezTo>
                  <a:cubicBezTo>
                    <a:pt x="487" y="168"/>
                    <a:pt x="496" y="166"/>
                    <a:pt x="497" y="163"/>
                  </a:cubicBezTo>
                  <a:cubicBezTo>
                    <a:pt x="497" y="159"/>
                    <a:pt x="496" y="158"/>
                    <a:pt x="495" y="158"/>
                  </a:cubicBezTo>
                  <a:cubicBezTo>
                    <a:pt x="494" y="158"/>
                    <a:pt x="494" y="159"/>
                    <a:pt x="494" y="159"/>
                  </a:cubicBezTo>
                  <a:cubicBezTo>
                    <a:pt x="493" y="159"/>
                    <a:pt x="493" y="159"/>
                    <a:pt x="493" y="159"/>
                  </a:cubicBezTo>
                  <a:cubicBezTo>
                    <a:pt x="492" y="159"/>
                    <a:pt x="492" y="159"/>
                    <a:pt x="491" y="159"/>
                  </a:cubicBezTo>
                  <a:cubicBezTo>
                    <a:pt x="490" y="158"/>
                    <a:pt x="489" y="158"/>
                    <a:pt x="488" y="158"/>
                  </a:cubicBezTo>
                  <a:cubicBezTo>
                    <a:pt x="488" y="158"/>
                    <a:pt x="488" y="158"/>
                    <a:pt x="488" y="158"/>
                  </a:cubicBezTo>
                  <a:cubicBezTo>
                    <a:pt x="487" y="158"/>
                    <a:pt x="485" y="159"/>
                    <a:pt x="484" y="159"/>
                  </a:cubicBezTo>
                  <a:cubicBezTo>
                    <a:pt x="482" y="159"/>
                    <a:pt x="479" y="160"/>
                    <a:pt x="477" y="161"/>
                  </a:cubicBezTo>
                  <a:cubicBezTo>
                    <a:pt x="475" y="162"/>
                    <a:pt x="475" y="161"/>
                    <a:pt x="474" y="164"/>
                  </a:cubicBezTo>
                  <a:cubicBezTo>
                    <a:pt x="473" y="168"/>
                    <a:pt x="471" y="168"/>
                    <a:pt x="468" y="168"/>
                  </a:cubicBezTo>
                  <a:cubicBezTo>
                    <a:pt x="465" y="169"/>
                    <a:pt x="461" y="173"/>
                    <a:pt x="458" y="173"/>
                  </a:cubicBezTo>
                  <a:cubicBezTo>
                    <a:pt x="457" y="173"/>
                    <a:pt x="457" y="173"/>
                    <a:pt x="457" y="173"/>
                  </a:cubicBezTo>
                  <a:cubicBezTo>
                    <a:pt x="460" y="169"/>
                    <a:pt x="466" y="167"/>
                    <a:pt x="471" y="167"/>
                  </a:cubicBezTo>
                  <a:cubicBezTo>
                    <a:pt x="471" y="167"/>
                    <a:pt x="471" y="167"/>
                    <a:pt x="471" y="167"/>
                  </a:cubicBezTo>
                  <a:cubicBezTo>
                    <a:pt x="471" y="165"/>
                    <a:pt x="469" y="164"/>
                    <a:pt x="468" y="164"/>
                  </a:cubicBezTo>
                  <a:cubicBezTo>
                    <a:pt x="466" y="164"/>
                    <a:pt x="465" y="165"/>
                    <a:pt x="463" y="166"/>
                  </a:cubicBezTo>
                  <a:cubicBezTo>
                    <a:pt x="465" y="164"/>
                    <a:pt x="467" y="164"/>
                    <a:pt x="469" y="163"/>
                  </a:cubicBezTo>
                  <a:cubicBezTo>
                    <a:pt x="471" y="162"/>
                    <a:pt x="472" y="161"/>
                    <a:pt x="473" y="160"/>
                  </a:cubicBezTo>
                  <a:cubicBezTo>
                    <a:pt x="475" y="158"/>
                    <a:pt x="477" y="158"/>
                    <a:pt x="479" y="157"/>
                  </a:cubicBezTo>
                  <a:cubicBezTo>
                    <a:pt x="484" y="156"/>
                    <a:pt x="488" y="155"/>
                    <a:pt x="493" y="154"/>
                  </a:cubicBezTo>
                  <a:cubicBezTo>
                    <a:pt x="494" y="154"/>
                    <a:pt x="496" y="154"/>
                    <a:pt x="496" y="153"/>
                  </a:cubicBezTo>
                  <a:cubicBezTo>
                    <a:pt x="498" y="153"/>
                    <a:pt x="499" y="151"/>
                    <a:pt x="500" y="151"/>
                  </a:cubicBezTo>
                  <a:cubicBezTo>
                    <a:pt x="500" y="151"/>
                    <a:pt x="500" y="151"/>
                    <a:pt x="501" y="151"/>
                  </a:cubicBezTo>
                  <a:cubicBezTo>
                    <a:pt x="501" y="151"/>
                    <a:pt x="501" y="151"/>
                    <a:pt x="502" y="151"/>
                  </a:cubicBezTo>
                  <a:cubicBezTo>
                    <a:pt x="502" y="151"/>
                    <a:pt x="502" y="151"/>
                    <a:pt x="503" y="151"/>
                  </a:cubicBezTo>
                  <a:cubicBezTo>
                    <a:pt x="503" y="151"/>
                    <a:pt x="503" y="151"/>
                    <a:pt x="503" y="151"/>
                  </a:cubicBezTo>
                  <a:cubicBezTo>
                    <a:pt x="504" y="149"/>
                    <a:pt x="507" y="144"/>
                    <a:pt x="506" y="143"/>
                  </a:cubicBezTo>
                  <a:cubicBezTo>
                    <a:pt x="505" y="141"/>
                    <a:pt x="500" y="141"/>
                    <a:pt x="498" y="140"/>
                  </a:cubicBezTo>
                  <a:cubicBezTo>
                    <a:pt x="495" y="139"/>
                    <a:pt x="493" y="138"/>
                    <a:pt x="491" y="137"/>
                  </a:cubicBezTo>
                  <a:cubicBezTo>
                    <a:pt x="488" y="136"/>
                    <a:pt x="486" y="134"/>
                    <a:pt x="483" y="134"/>
                  </a:cubicBezTo>
                  <a:cubicBezTo>
                    <a:pt x="482" y="134"/>
                    <a:pt x="482" y="134"/>
                    <a:pt x="481" y="134"/>
                  </a:cubicBezTo>
                  <a:cubicBezTo>
                    <a:pt x="478" y="134"/>
                    <a:pt x="476" y="135"/>
                    <a:pt x="473" y="137"/>
                  </a:cubicBezTo>
                  <a:cubicBezTo>
                    <a:pt x="470" y="138"/>
                    <a:pt x="467" y="141"/>
                    <a:pt x="463" y="141"/>
                  </a:cubicBezTo>
                  <a:cubicBezTo>
                    <a:pt x="463" y="141"/>
                    <a:pt x="463" y="141"/>
                    <a:pt x="463" y="141"/>
                  </a:cubicBezTo>
                  <a:cubicBezTo>
                    <a:pt x="463" y="141"/>
                    <a:pt x="462" y="141"/>
                    <a:pt x="462" y="141"/>
                  </a:cubicBezTo>
                  <a:cubicBezTo>
                    <a:pt x="461" y="141"/>
                    <a:pt x="461" y="141"/>
                    <a:pt x="461" y="141"/>
                  </a:cubicBezTo>
                  <a:cubicBezTo>
                    <a:pt x="460" y="141"/>
                    <a:pt x="460" y="141"/>
                    <a:pt x="460" y="141"/>
                  </a:cubicBezTo>
                  <a:cubicBezTo>
                    <a:pt x="458" y="142"/>
                    <a:pt x="460" y="144"/>
                    <a:pt x="460" y="146"/>
                  </a:cubicBezTo>
                  <a:cubicBezTo>
                    <a:pt x="459" y="145"/>
                    <a:pt x="455" y="142"/>
                    <a:pt x="457" y="141"/>
                  </a:cubicBezTo>
                  <a:cubicBezTo>
                    <a:pt x="458" y="140"/>
                    <a:pt x="461" y="140"/>
                    <a:pt x="462" y="140"/>
                  </a:cubicBezTo>
                  <a:cubicBezTo>
                    <a:pt x="464" y="139"/>
                    <a:pt x="465" y="138"/>
                    <a:pt x="466" y="138"/>
                  </a:cubicBezTo>
                  <a:cubicBezTo>
                    <a:pt x="468" y="137"/>
                    <a:pt x="470" y="135"/>
                    <a:pt x="471" y="134"/>
                  </a:cubicBezTo>
                  <a:cubicBezTo>
                    <a:pt x="473" y="131"/>
                    <a:pt x="472" y="130"/>
                    <a:pt x="470" y="130"/>
                  </a:cubicBezTo>
                  <a:cubicBezTo>
                    <a:pt x="470" y="130"/>
                    <a:pt x="469" y="130"/>
                    <a:pt x="468" y="131"/>
                  </a:cubicBezTo>
                  <a:cubicBezTo>
                    <a:pt x="463" y="133"/>
                    <a:pt x="458" y="134"/>
                    <a:pt x="454" y="136"/>
                  </a:cubicBezTo>
                  <a:cubicBezTo>
                    <a:pt x="452" y="137"/>
                    <a:pt x="451" y="138"/>
                    <a:pt x="449" y="139"/>
                  </a:cubicBezTo>
                  <a:cubicBezTo>
                    <a:pt x="448" y="140"/>
                    <a:pt x="445" y="140"/>
                    <a:pt x="445" y="141"/>
                  </a:cubicBezTo>
                  <a:cubicBezTo>
                    <a:pt x="442" y="145"/>
                    <a:pt x="441" y="151"/>
                    <a:pt x="439" y="155"/>
                  </a:cubicBezTo>
                  <a:cubicBezTo>
                    <a:pt x="439" y="157"/>
                    <a:pt x="437" y="159"/>
                    <a:pt x="437" y="161"/>
                  </a:cubicBezTo>
                  <a:cubicBezTo>
                    <a:pt x="437" y="156"/>
                    <a:pt x="438" y="153"/>
                    <a:pt x="439" y="148"/>
                  </a:cubicBezTo>
                  <a:cubicBezTo>
                    <a:pt x="440" y="147"/>
                    <a:pt x="441" y="145"/>
                    <a:pt x="440" y="144"/>
                  </a:cubicBezTo>
                  <a:cubicBezTo>
                    <a:pt x="439" y="144"/>
                    <a:pt x="438" y="143"/>
                    <a:pt x="437" y="143"/>
                  </a:cubicBezTo>
                  <a:cubicBezTo>
                    <a:pt x="436" y="143"/>
                    <a:pt x="435" y="143"/>
                    <a:pt x="434" y="144"/>
                  </a:cubicBezTo>
                  <a:cubicBezTo>
                    <a:pt x="435" y="143"/>
                    <a:pt x="434" y="143"/>
                    <a:pt x="434" y="143"/>
                  </a:cubicBezTo>
                  <a:cubicBezTo>
                    <a:pt x="433" y="143"/>
                    <a:pt x="431" y="144"/>
                    <a:pt x="429" y="145"/>
                  </a:cubicBezTo>
                  <a:cubicBezTo>
                    <a:pt x="430" y="145"/>
                    <a:pt x="430" y="144"/>
                    <a:pt x="431" y="144"/>
                  </a:cubicBezTo>
                  <a:cubicBezTo>
                    <a:pt x="432" y="142"/>
                    <a:pt x="429" y="141"/>
                    <a:pt x="432" y="141"/>
                  </a:cubicBezTo>
                  <a:cubicBezTo>
                    <a:pt x="432" y="141"/>
                    <a:pt x="432" y="141"/>
                    <a:pt x="432" y="141"/>
                  </a:cubicBezTo>
                  <a:cubicBezTo>
                    <a:pt x="434" y="141"/>
                    <a:pt x="436" y="142"/>
                    <a:pt x="438" y="142"/>
                  </a:cubicBezTo>
                  <a:cubicBezTo>
                    <a:pt x="438" y="142"/>
                    <a:pt x="438" y="142"/>
                    <a:pt x="438" y="142"/>
                  </a:cubicBezTo>
                  <a:cubicBezTo>
                    <a:pt x="441" y="142"/>
                    <a:pt x="442" y="140"/>
                    <a:pt x="445" y="138"/>
                  </a:cubicBezTo>
                  <a:cubicBezTo>
                    <a:pt x="448" y="136"/>
                    <a:pt x="450" y="136"/>
                    <a:pt x="452" y="132"/>
                  </a:cubicBezTo>
                  <a:cubicBezTo>
                    <a:pt x="454" y="129"/>
                    <a:pt x="456" y="128"/>
                    <a:pt x="454" y="124"/>
                  </a:cubicBezTo>
                  <a:cubicBezTo>
                    <a:pt x="453" y="122"/>
                    <a:pt x="452" y="120"/>
                    <a:pt x="449" y="120"/>
                  </a:cubicBezTo>
                  <a:cubicBezTo>
                    <a:pt x="449" y="120"/>
                    <a:pt x="449" y="120"/>
                    <a:pt x="449" y="120"/>
                  </a:cubicBezTo>
                  <a:cubicBezTo>
                    <a:pt x="447" y="120"/>
                    <a:pt x="442" y="122"/>
                    <a:pt x="441" y="124"/>
                  </a:cubicBezTo>
                  <a:cubicBezTo>
                    <a:pt x="440" y="125"/>
                    <a:pt x="441" y="130"/>
                    <a:pt x="439" y="130"/>
                  </a:cubicBezTo>
                  <a:cubicBezTo>
                    <a:pt x="439" y="130"/>
                    <a:pt x="439" y="130"/>
                    <a:pt x="439" y="130"/>
                  </a:cubicBezTo>
                  <a:cubicBezTo>
                    <a:pt x="438" y="130"/>
                    <a:pt x="437" y="130"/>
                    <a:pt x="437" y="130"/>
                  </a:cubicBezTo>
                  <a:cubicBezTo>
                    <a:pt x="436" y="130"/>
                    <a:pt x="435" y="130"/>
                    <a:pt x="434" y="130"/>
                  </a:cubicBezTo>
                  <a:cubicBezTo>
                    <a:pt x="429" y="131"/>
                    <a:pt x="425" y="133"/>
                    <a:pt x="420" y="134"/>
                  </a:cubicBezTo>
                  <a:cubicBezTo>
                    <a:pt x="418" y="134"/>
                    <a:pt x="415" y="135"/>
                    <a:pt x="413" y="137"/>
                  </a:cubicBezTo>
                  <a:cubicBezTo>
                    <a:pt x="414" y="137"/>
                    <a:pt x="414" y="136"/>
                    <a:pt x="414" y="136"/>
                  </a:cubicBezTo>
                  <a:cubicBezTo>
                    <a:pt x="413" y="133"/>
                    <a:pt x="419" y="133"/>
                    <a:pt x="416" y="131"/>
                  </a:cubicBezTo>
                  <a:cubicBezTo>
                    <a:pt x="415" y="131"/>
                    <a:pt x="415" y="130"/>
                    <a:pt x="414" y="130"/>
                  </a:cubicBezTo>
                  <a:cubicBezTo>
                    <a:pt x="412" y="130"/>
                    <a:pt x="410" y="131"/>
                    <a:pt x="408" y="132"/>
                  </a:cubicBezTo>
                  <a:cubicBezTo>
                    <a:pt x="407" y="132"/>
                    <a:pt x="405" y="133"/>
                    <a:pt x="403" y="133"/>
                  </a:cubicBezTo>
                  <a:cubicBezTo>
                    <a:pt x="403" y="133"/>
                    <a:pt x="403" y="133"/>
                    <a:pt x="403" y="133"/>
                  </a:cubicBezTo>
                  <a:cubicBezTo>
                    <a:pt x="406" y="132"/>
                    <a:pt x="409" y="132"/>
                    <a:pt x="412" y="130"/>
                  </a:cubicBezTo>
                  <a:cubicBezTo>
                    <a:pt x="414" y="129"/>
                    <a:pt x="416" y="126"/>
                    <a:pt x="418" y="125"/>
                  </a:cubicBezTo>
                  <a:cubicBezTo>
                    <a:pt x="420" y="122"/>
                    <a:pt x="422" y="120"/>
                    <a:pt x="425" y="120"/>
                  </a:cubicBezTo>
                  <a:cubicBezTo>
                    <a:pt x="426" y="120"/>
                    <a:pt x="426" y="121"/>
                    <a:pt x="427" y="121"/>
                  </a:cubicBezTo>
                  <a:cubicBezTo>
                    <a:pt x="429" y="121"/>
                    <a:pt x="431" y="122"/>
                    <a:pt x="432" y="122"/>
                  </a:cubicBezTo>
                  <a:cubicBezTo>
                    <a:pt x="433" y="122"/>
                    <a:pt x="433" y="122"/>
                    <a:pt x="434" y="122"/>
                  </a:cubicBezTo>
                  <a:cubicBezTo>
                    <a:pt x="436" y="121"/>
                    <a:pt x="437" y="117"/>
                    <a:pt x="439" y="116"/>
                  </a:cubicBezTo>
                  <a:cubicBezTo>
                    <a:pt x="439" y="115"/>
                    <a:pt x="441" y="115"/>
                    <a:pt x="441" y="114"/>
                  </a:cubicBezTo>
                  <a:cubicBezTo>
                    <a:pt x="441" y="113"/>
                    <a:pt x="439" y="110"/>
                    <a:pt x="438" y="110"/>
                  </a:cubicBezTo>
                  <a:cubicBezTo>
                    <a:pt x="435" y="106"/>
                    <a:pt x="432" y="103"/>
                    <a:pt x="427" y="102"/>
                  </a:cubicBezTo>
                  <a:cubicBezTo>
                    <a:pt x="425" y="102"/>
                    <a:pt x="423" y="100"/>
                    <a:pt x="420" y="100"/>
                  </a:cubicBezTo>
                  <a:cubicBezTo>
                    <a:pt x="417" y="100"/>
                    <a:pt x="415" y="98"/>
                    <a:pt x="412" y="98"/>
                  </a:cubicBezTo>
                  <a:cubicBezTo>
                    <a:pt x="411" y="98"/>
                    <a:pt x="410" y="97"/>
                    <a:pt x="409" y="97"/>
                  </a:cubicBezTo>
                  <a:cubicBezTo>
                    <a:pt x="408" y="97"/>
                    <a:pt x="408" y="97"/>
                    <a:pt x="408" y="97"/>
                  </a:cubicBezTo>
                  <a:cubicBezTo>
                    <a:pt x="406" y="98"/>
                    <a:pt x="402" y="101"/>
                    <a:pt x="403" y="104"/>
                  </a:cubicBezTo>
                  <a:cubicBezTo>
                    <a:pt x="403" y="108"/>
                    <a:pt x="401" y="106"/>
                    <a:pt x="399" y="107"/>
                  </a:cubicBezTo>
                  <a:cubicBezTo>
                    <a:pt x="397" y="108"/>
                    <a:pt x="395" y="113"/>
                    <a:pt x="396" y="114"/>
                  </a:cubicBezTo>
                  <a:cubicBezTo>
                    <a:pt x="396" y="114"/>
                    <a:pt x="395" y="114"/>
                    <a:pt x="394" y="115"/>
                  </a:cubicBezTo>
                  <a:cubicBezTo>
                    <a:pt x="395" y="114"/>
                    <a:pt x="395" y="114"/>
                    <a:pt x="395" y="113"/>
                  </a:cubicBezTo>
                  <a:cubicBezTo>
                    <a:pt x="393" y="112"/>
                    <a:pt x="392" y="110"/>
                    <a:pt x="390" y="110"/>
                  </a:cubicBezTo>
                  <a:cubicBezTo>
                    <a:pt x="389" y="110"/>
                    <a:pt x="387" y="111"/>
                    <a:pt x="386" y="113"/>
                  </a:cubicBezTo>
                  <a:cubicBezTo>
                    <a:pt x="384" y="116"/>
                    <a:pt x="381" y="122"/>
                    <a:pt x="377" y="122"/>
                  </a:cubicBezTo>
                  <a:cubicBezTo>
                    <a:pt x="380" y="120"/>
                    <a:pt x="381" y="120"/>
                    <a:pt x="382" y="116"/>
                  </a:cubicBezTo>
                  <a:cubicBezTo>
                    <a:pt x="383" y="113"/>
                    <a:pt x="384" y="112"/>
                    <a:pt x="386" y="110"/>
                  </a:cubicBezTo>
                  <a:cubicBezTo>
                    <a:pt x="386" y="109"/>
                    <a:pt x="389" y="106"/>
                    <a:pt x="388" y="106"/>
                  </a:cubicBezTo>
                  <a:cubicBezTo>
                    <a:pt x="387" y="106"/>
                    <a:pt x="387" y="106"/>
                    <a:pt x="387" y="106"/>
                  </a:cubicBezTo>
                  <a:cubicBezTo>
                    <a:pt x="386" y="107"/>
                    <a:pt x="385" y="107"/>
                    <a:pt x="384" y="107"/>
                  </a:cubicBezTo>
                  <a:cubicBezTo>
                    <a:pt x="384" y="107"/>
                    <a:pt x="383" y="106"/>
                    <a:pt x="383" y="105"/>
                  </a:cubicBezTo>
                  <a:cubicBezTo>
                    <a:pt x="383" y="104"/>
                    <a:pt x="385" y="102"/>
                    <a:pt x="385" y="101"/>
                  </a:cubicBezTo>
                  <a:cubicBezTo>
                    <a:pt x="384" y="100"/>
                    <a:pt x="383" y="100"/>
                    <a:pt x="382" y="100"/>
                  </a:cubicBezTo>
                  <a:cubicBezTo>
                    <a:pt x="382" y="100"/>
                    <a:pt x="381" y="100"/>
                    <a:pt x="380" y="101"/>
                  </a:cubicBezTo>
                  <a:cubicBezTo>
                    <a:pt x="377" y="105"/>
                    <a:pt x="375" y="114"/>
                    <a:pt x="369" y="116"/>
                  </a:cubicBezTo>
                  <a:cubicBezTo>
                    <a:pt x="370" y="114"/>
                    <a:pt x="373" y="108"/>
                    <a:pt x="372" y="106"/>
                  </a:cubicBezTo>
                  <a:cubicBezTo>
                    <a:pt x="371" y="106"/>
                    <a:pt x="371" y="106"/>
                    <a:pt x="371" y="106"/>
                  </a:cubicBezTo>
                  <a:cubicBezTo>
                    <a:pt x="371" y="106"/>
                    <a:pt x="368" y="107"/>
                    <a:pt x="367" y="107"/>
                  </a:cubicBezTo>
                  <a:cubicBezTo>
                    <a:pt x="369" y="106"/>
                    <a:pt x="371" y="106"/>
                    <a:pt x="372" y="105"/>
                  </a:cubicBezTo>
                  <a:cubicBezTo>
                    <a:pt x="375" y="104"/>
                    <a:pt x="374" y="105"/>
                    <a:pt x="376" y="102"/>
                  </a:cubicBezTo>
                  <a:cubicBezTo>
                    <a:pt x="376" y="101"/>
                    <a:pt x="377" y="99"/>
                    <a:pt x="378" y="98"/>
                  </a:cubicBezTo>
                  <a:cubicBezTo>
                    <a:pt x="379" y="97"/>
                    <a:pt x="382" y="96"/>
                    <a:pt x="383" y="94"/>
                  </a:cubicBezTo>
                  <a:cubicBezTo>
                    <a:pt x="385" y="92"/>
                    <a:pt x="383" y="92"/>
                    <a:pt x="381" y="92"/>
                  </a:cubicBezTo>
                  <a:cubicBezTo>
                    <a:pt x="380" y="92"/>
                    <a:pt x="379" y="92"/>
                    <a:pt x="379" y="92"/>
                  </a:cubicBezTo>
                  <a:cubicBezTo>
                    <a:pt x="375" y="92"/>
                    <a:pt x="370" y="96"/>
                    <a:pt x="369" y="100"/>
                  </a:cubicBezTo>
                  <a:cubicBezTo>
                    <a:pt x="368" y="98"/>
                    <a:pt x="374" y="93"/>
                    <a:pt x="371" y="93"/>
                  </a:cubicBezTo>
                  <a:cubicBezTo>
                    <a:pt x="371" y="93"/>
                    <a:pt x="371" y="93"/>
                    <a:pt x="370" y="93"/>
                  </a:cubicBezTo>
                  <a:cubicBezTo>
                    <a:pt x="366" y="94"/>
                    <a:pt x="361" y="98"/>
                    <a:pt x="358" y="101"/>
                  </a:cubicBezTo>
                  <a:cubicBezTo>
                    <a:pt x="357" y="103"/>
                    <a:pt x="360" y="105"/>
                    <a:pt x="360" y="107"/>
                  </a:cubicBezTo>
                  <a:cubicBezTo>
                    <a:pt x="360" y="109"/>
                    <a:pt x="357" y="111"/>
                    <a:pt x="356" y="112"/>
                  </a:cubicBezTo>
                  <a:cubicBezTo>
                    <a:pt x="354" y="114"/>
                    <a:pt x="352" y="117"/>
                    <a:pt x="350" y="117"/>
                  </a:cubicBezTo>
                  <a:cubicBezTo>
                    <a:pt x="350" y="117"/>
                    <a:pt x="349" y="117"/>
                    <a:pt x="349" y="117"/>
                  </a:cubicBezTo>
                  <a:cubicBezTo>
                    <a:pt x="351" y="115"/>
                    <a:pt x="359" y="109"/>
                    <a:pt x="357" y="107"/>
                  </a:cubicBezTo>
                  <a:cubicBezTo>
                    <a:pt x="356" y="106"/>
                    <a:pt x="356" y="106"/>
                    <a:pt x="355" y="105"/>
                  </a:cubicBezTo>
                  <a:cubicBezTo>
                    <a:pt x="353" y="105"/>
                    <a:pt x="354" y="104"/>
                    <a:pt x="353" y="103"/>
                  </a:cubicBezTo>
                  <a:cubicBezTo>
                    <a:pt x="353" y="103"/>
                    <a:pt x="353" y="102"/>
                    <a:pt x="352" y="102"/>
                  </a:cubicBezTo>
                  <a:cubicBezTo>
                    <a:pt x="352" y="102"/>
                    <a:pt x="352" y="103"/>
                    <a:pt x="351" y="103"/>
                  </a:cubicBezTo>
                  <a:cubicBezTo>
                    <a:pt x="355" y="101"/>
                    <a:pt x="362" y="99"/>
                    <a:pt x="359" y="96"/>
                  </a:cubicBezTo>
                  <a:cubicBezTo>
                    <a:pt x="359" y="96"/>
                    <a:pt x="359" y="95"/>
                    <a:pt x="359" y="95"/>
                  </a:cubicBezTo>
                  <a:cubicBezTo>
                    <a:pt x="356" y="95"/>
                    <a:pt x="344" y="102"/>
                    <a:pt x="342" y="103"/>
                  </a:cubicBezTo>
                  <a:cubicBezTo>
                    <a:pt x="343" y="101"/>
                    <a:pt x="353" y="98"/>
                    <a:pt x="353" y="97"/>
                  </a:cubicBezTo>
                  <a:cubicBezTo>
                    <a:pt x="353" y="95"/>
                    <a:pt x="351" y="95"/>
                    <a:pt x="349" y="95"/>
                  </a:cubicBezTo>
                  <a:cubicBezTo>
                    <a:pt x="347" y="95"/>
                    <a:pt x="343" y="96"/>
                    <a:pt x="342" y="96"/>
                  </a:cubicBezTo>
                  <a:cubicBezTo>
                    <a:pt x="344" y="94"/>
                    <a:pt x="346" y="94"/>
                    <a:pt x="349" y="94"/>
                  </a:cubicBezTo>
                  <a:cubicBezTo>
                    <a:pt x="349" y="94"/>
                    <a:pt x="350" y="94"/>
                    <a:pt x="350" y="94"/>
                  </a:cubicBezTo>
                  <a:cubicBezTo>
                    <a:pt x="351" y="94"/>
                    <a:pt x="352" y="94"/>
                    <a:pt x="352" y="94"/>
                  </a:cubicBezTo>
                  <a:cubicBezTo>
                    <a:pt x="354" y="94"/>
                    <a:pt x="356" y="94"/>
                    <a:pt x="357" y="93"/>
                  </a:cubicBezTo>
                  <a:cubicBezTo>
                    <a:pt x="359" y="93"/>
                    <a:pt x="361" y="90"/>
                    <a:pt x="363" y="90"/>
                  </a:cubicBezTo>
                  <a:cubicBezTo>
                    <a:pt x="363" y="90"/>
                    <a:pt x="363" y="90"/>
                    <a:pt x="363" y="90"/>
                  </a:cubicBezTo>
                  <a:cubicBezTo>
                    <a:pt x="364" y="90"/>
                    <a:pt x="364" y="90"/>
                    <a:pt x="365" y="90"/>
                  </a:cubicBezTo>
                  <a:cubicBezTo>
                    <a:pt x="366" y="90"/>
                    <a:pt x="366" y="90"/>
                    <a:pt x="367" y="90"/>
                  </a:cubicBezTo>
                  <a:cubicBezTo>
                    <a:pt x="367" y="90"/>
                    <a:pt x="368" y="90"/>
                    <a:pt x="369" y="90"/>
                  </a:cubicBezTo>
                  <a:cubicBezTo>
                    <a:pt x="371" y="88"/>
                    <a:pt x="372" y="84"/>
                    <a:pt x="371" y="81"/>
                  </a:cubicBezTo>
                  <a:cubicBezTo>
                    <a:pt x="369" y="78"/>
                    <a:pt x="368" y="78"/>
                    <a:pt x="365" y="78"/>
                  </a:cubicBezTo>
                  <a:cubicBezTo>
                    <a:pt x="363" y="78"/>
                    <a:pt x="361" y="78"/>
                    <a:pt x="359" y="78"/>
                  </a:cubicBezTo>
                  <a:cubicBezTo>
                    <a:pt x="357" y="78"/>
                    <a:pt x="354" y="76"/>
                    <a:pt x="352" y="76"/>
                  </a:cubicBezTo>
                  <a:cubicBezTo>
                    <a:pt x="352" y="76"/>
                    <a:pt x="351" y="76"/>
                    <a:pt x="351" y="76"/>
                  </a:cubicBezTo>
                  <a:cubicBezTo>
                    <a:pt x="348" y="77"/>
                    <a:pt x="347" y="81"/>
                    <a:pt x="344" y="82"/>
                  </a:cubicBezTo>
                  <a:cubicBezTo>
                    <a:pt x="343" y="82"/>
                    <a:pt x="342" y="82"/>
                    <a:pt x="342" y="82"/>
                  </a:cubicBezTo>
                  <a:cubicBezTo>
                    <a:pt x="342" y="82"/>
                    <a:pt x="342" y="82"/>
                    <a:pt x="341" y="82"/>
                  </a:cubicBezTo>
                  <a:cubicBezTo>
                    <a:pt x="341" y="82"/>
                    <a:pt x="341" y="82"/>
                    <a:pt x="341" y="82"/>
                  </a:cubicBezTo>
                  <a:cubicBezTo>
                    <a:pt x="340" y="82"/>
                    <a:pt x="339" y="82"/>
                    <a:pt x="338" y="84"/>
                  </a:cubicBezTo>
                  <a:cubicBezTo>
                    <a:pt x="337" y="87"/>
                    <a:pt x="335" y="92"/>
                    <a:pt x="333" y="94"/>
                  </a:cubicBezTo>
                  <a:cubicBezTo>
                    <a:pt x="331" y="95"/>
                    <a:pt x="328" y="94"/>
                    <a:pt x="326" y="95"/>
                  </a:cubicBezTo>
                  <a:cubicBezTo>
                    <a:pt x="329" y="94"/>
                    <a:pt x="331" y="94"/>
                    <a:pt x="333" y="92"/>
                  </a:cubicBezTo>
                  <a:cubicBezTo>
                    <a:pt x="335" y="90"/>
                    <a:pt x="336" y="88"/>
                    <a:pt x="337" y="85"/>
                  </a:cubicBezTo>
                  <a:cubicBezTo>
                    <a:pt x="338" y="82"/>
                    <a:pt x="339" y="81"/>
                    <a:pt x="343" y="81"/>
                  </a:cubicBezTo>
                  <a:cubicBezTo>
                    <a:pt x="347" y="80"/>
                    <a:pt x="346" y="78"/>
                    <a:pt x="342" y="77"/>
                  </a:cubicBezTo>
                  <a:cubicBezTo>
                    <a:pt x="341" y="77"/>
                    <a:pt x="339" y="77"/>
                    <a:pt x="338" y="77"/>
                  </a:cubicBezTo>
                  <a:cubicBezTo>
                    <a:pt x="335" y="77"/>
                    <a:pt x="332" y="77"/>
                    <a:pt x="330" y="79"/>
                  </a:cubicBezTo>
                  <a:cubicBezTo>
                    <a:pt x="327" y="80"/>
                    <a:pt x="324" y="84"/>
                    <a:pt x="322" y="86"/>
                  </a:cubicBezTo>
                  <a:cubicBezTo>
                    <a:pt x="321" y="87"/>
                    <a:pt x="321" y="88"/>
                    <a:pt x="320" y="89"/>
                  </a:cubicBezTo>
                  <a:cubicBezTo>
                    <a:pt x="319" y="89"/>
                    <a:pt x="319" y="89"/>
                    <a:pt x="319" y="89"/>
                  </a:cubicBezTo>
                  <a:cubicBezTo>
                    <a:pt x="318" y="89"/>
                    <a:pt x="322" y="85"/>
                    <a:pt x="322" y="84"/>
                  </a:cubicBezTo>
                  <a:cubicBezTo>
                    <a:pt x="324" y="82"/>
                    <a:pt x="325" y="81"/>
                    <a:pt x="326" y="79"/>
                  </a:cubicBezTo>
                  <a:cubicBezTo>
                    <a:pt x="328" y="78"/>
                    <a:pt x="331" y="77"/>
                    <a:pt x="334" y="76"/>
                  </a:cubicBezTo>
                  <a:cubicBezTo>
                    <a:pt x="335" y="76"/>
                    <a:pt x="337" y="76"/>
                    <a:pt x="339" y="76"/>
                  </a:cubicBezTo>
                  <a:cubicBezTo>
                    <a:pt x="339" y="76"/>
                    <a:pt x="340" y="76"/>
                    <a:pt x="340" y="76"/>
                  </a:cubicBezTo>
                  <a:cubicBezTo>
                    <a:pt x="342" y="76"/>
                    <a:pt x="343" y="76"/>
                    <a:pt x="345" y="76"/>
                  </a:cubicBezTo>
                  <a:cubicBezTo>
                    <a:pt x="345" y="76"/>
                    <a:pt x="346" y="76"/>
                    <a:pt x="347" y="75"/>
                  </a:cubicBezTo>
                  <a:cubicBezTo>
                    <a:pt x="349" y="74"/>
                    <a:pt x="352" y="72"/>
                    <a:pt x="352" y="70"/>
                  </a:cubicBezTo>
                  <a:cubicBezTo>
                    <a:pt x="352" y="68"/>
                    <a:pt x="348" y="64"/>
                    <a:pt x="347" y="62"/>
                  </a:cubicBezTo>
                  <a:cubicBezTo>
                    <a:pt x="346" y="60"/>
                    <a:pt x="346" y="60"/>
                    <a:pt x="343" y="59"/>
                  </a:cubicBezTo>
                  <a:cubicBezTo>
                    <a:pt x="340" y="59"/>
                    <a:pt x="338" y="58"/>
                    <a:pt x="336" y="57"/>
                  </a:cubicBezTo>
                  <a:cubicBezTo>
                    <a:pt x="334" y="57"/>
                    <a:pt x="332" y="56"/>
                    <a:pt x="331" y="56"/>
                  </a:cubicBezTo>
                  <a:cubicBezTo>
                    <a:pt x="330" y="56"/>
                    <a:pt x="330" y="56"/>
                    <a:pt x="330" y="56"/>
                  </a:cubicBezTo>
                  <a:cubicBezTo>
                    <a:pt x="328" y="57"/>
                    <a:pt x="327" y="59"/>
                    <a:pt x="326" y="59"/>
                  </a:cubicBezTo>
                  <a:cubicBezTo>
                    <a:pt x="325" y="59"/>
                    <a:pt x="325" y="59"/>
                    <a:pt x="325" y="59"/>
                  </a:cubicBezTo>
                  <a:cubicBezTo>
                    <a:pt x="323" y="59"/>
                    <a:pt x="326" y="58"/>
                    <a:pt x="324" y="56"/>
                  </a:cubicBezTo>
                  <a:cubicBezTo>
                    <a:pt x="323" y="55"/>
                    <a:pt x="320" y="55"/>
                    <a:pt x="318" y="55"/>
                  </a:cubicBezTo>
                  <a:cubicBezTo>
                    <a:pt x="317" y="55"/>
                    <a:pt x="316" y="55"/>
                    <a:pt x="316" y="54"/>
                  </a:cubicBezTo>
                  <a:cubicBezTo>
                    <a:pt x="315" y="54"/>
                    <a:pt x="314" y="54"/>
                    <a:pt x="313" y="54"/>
                  </a:cubicBezTo>
                  <a:cubicBezTo>
                    <a:pt x="312" y="53"/>
                    <a:pt x="314" y="53"/>
                    <a:pt x="313" y="53"/>
                  </a:cubicBezTo>
                  <a:cubicBezTo>
                    <a:pt x="310" y="50"/>
                    <a:pt x="305" y="49"/>
                    <a:pt x="301" y="49"/>
                  </a:cubicBezTo>
                  <a:cubicBezTo>
                    <a:pt x="296" y="49"/>
                    <a:pt x="291" y="50"/>
                    <a:pt x="288" y="51"/>
                  </a:cubicBezTo>
                  <a:cubicBezTo>
                    <a:pt x="283" y="52"/>
                    <a:pt x="279" y="53"/>
                    <a:pt x="275" y="55"/>
                  </a:cubicBezTo>
                  <a:cubicBezTo>
                    <a:pt x="272" y="57"/>
                    <a:pt x="268" y="59"/>
                    <a:pt x="270" y="63"/>
                  </a:cubicBezTo>
                  <a:cubicBezTo>
                    <a:pt x="271" y="66"/>
                    <a:pt x="275" y="67"/>
                    <a:pt x="278" y="67"/>
                  </a:cubicBezTo>
                  <a:cubicBezTo>
                    <a:pt x="282" y="69"/>
                    <a:pt x="287" y="71"/>
                    <a:pt x="291" y="73"/>
                  </a:cubicBezTo>
                  <a:cubicBezTo>
                    <a:pt x="292" y="73"/>
                    <a:pt x="293" y="73"/>
                    <a:pt x="294" y="73"/>
                  </a:cubicBezTo>
                  <a:cubicBezTo>
                    <a:pt x="295" y="73"/>
                    <a:pt x="295" y="73"/>
                    <a:pt x="295" y="73"/>
                  </a:cubicBezTo>
                  <a:cubicBezTo>
                    <a:pt x="296" y="73"/>
                    <a:pt x="296" y="73"/>
                    <a:pt x="296" y="73"/>
                  </a:cubicBezTo>
                  <a:cubicBezTo>
                    <a:pt x="297" y="73"/>
                    <a:pt x="297" y="73"/>
                    <a:pt x="298" y="73"/>
                  </a:cubicBezTo>
                  <a:cubicBezTo>
                    <a:pt x="300" y="74"/>
                    <a:pt x="303" y="75"/>
                    <a:pt x="305" y="76"/>
                  </a:cubicBezTo>
                  <a:cubicBezTo>
                    <a:pt x="302" y="76"/>
                    <a:pt x="300" y="74"/>
                    <a:pt x="297" y="74"/>
                  </a:cubicBezTo>
                  <a:cubicBezTo>
                    <a:pt x="296" y="74"/>
                    <a:pt x="296" y="74"/>
                    <a:pt x="296" y="74"/>
                  </a:cubicBezTo>
                  <a:cubicBezTo>
                    <a:pt x="295" y="74"/>
                    <a:pt x="293" y="74"/>
                    <a:pt x="293" y="74"/>
                  </a:cubicBezTo>
                  <a:cubicBezTo>
                    <a:pt x="290" y="75"/>
                    <a:pt x="291" y="75"/>
                    <a:pt x="290" y="77"/>
                  </a:cubicBezTo>
                  <a:cubicBezTo>
                    <a:pt x="290" y="74"/>
                    <a:pt x="290" y="73"/>
                    <a:pt x="287" y="72"/>
                  </a:cubicBezTo>
                  <a:cubicBezTo>
                    <a:pt x="286" y="71"/>
                    <a:pt x="284" y="71"/>
                    <a:pt x="283" y="70"/>
                  </a:cubicBezTo>
                  <a:cubicBezTo>
                    <a:pt x="283" y="70"/>
                    <a:pt x="283" y="70"/>
                    <a:pt x="283" y="70"/>
                  </a:cubicBezTo>
                  <a:cubicBezTo>
                    <a:pt x="283" y="70"/>
                    <a:pt x="283" y="71"/>
                    <a:pt x="282" y="71"/>
                  </a:cubicBezTo>
                  <a:cubicBezTo>
                    <a:pt x="282" y="71"/>
                    <a:pt x="282" y="71"/>
                    <a:pt x="282" y="71"/>
                  </a:cubicBezTo>
                  <a:cubicBezTo>
                    <a:pt x="282" y="71"/>
                    <a:pt x="282" y="71"/>
                    <a:pt x="282" y="71"/>
                  </a:cubicBezTo>
                  <a:cubicBezTo>
                    <a:pt x="281" y="71"/>
                    <a:pt x="282" y="70"/>
                    <a:pt x="281" y="70"/>
                  </a:cubicBezTo>
                  <a:cubicBezTo>
                    <a:pt x="279" y="69"/>
                    <a:pt x="277" y="69"/>
                    <a:pt x="275" y="68"/>
                  </a:cubicBezTo>
                  <a:cubicBezTo>
                    <a:pt x="274" y="68"/>
                    <a:pt x="273" y="68"/>
                    <a:pt x="273" y="68"/>
                  </a:cubicBezTo>
                  <a:cubicBezTo>
                    <a:pt x="271" y="68"/>
                    <a:pt x="271" y="70"/>
                    <a:pt x="270" y="72"/>
                  </a:cubicBezTo>
                  <a:cubicBezTo>
                    <a:pt x="269" y="70"/>
                    <a:pt x="270" y="67"/>
                    <a:pt x="268" y="66"/>
                  </a:cubicBezTo>
                  <a:cubicBezTo>
                    <a:pt x="263" y="67"/>
                    <a:pt x="263" y="67"/>
                    <a:pt x="263" y="67"/>
                  </a:cubicBezTo>
                  <a:cubicBezTo>
                    <a:pt x="260" y="70"/>
                    <a:pt x="263" y="73"/>
                    <a:pt x="265" y="74"/>
                  </a:cubicBezTo>
                  <a:cubicBezTo>
                    <a:pt x="267" y="75"/>
                    <a:pt x="270" y="75"/>
                    <a:pt x="272" y="77"/>
                  </a:cubicBezTo>
                  <a:cubicBezTo>
                    <a:pt x="273" y="78"/>
                    <a:pt x="274" y="79"/>
                    <a:pt x="274" y="81"/>
                  </a:cubicBezTo>
                  <a:cubicBezTo>
                    <a:pt x="274" y="83"/>
                    <a:pt x="275" y="83"/>
                    <a:pt x="276" y="83"/>
                  </a:cubicBezTo>
                  <a:cubicBezTo>
                    <a:pt x="276" y="83"/>
                    <a:pt x="277" y="83"/>
                    <a:pt x="277" y="83"/>
                  </a:cubicBezTo>
                  <a:cubicBezTo>
                    <a:pt x="277" y="83"/>
                    <a:pt x="278" y="83"/>
                    <a:pt x="278" y="83"/>
                  </a:cubicBezTo>
                  <a:cubicBezTo>
                    <a:pt x="278" y="83"/>
                    <a:pt x="279" y="83"/>
                    <a:pt x="279" y="83"/>
                  </a:cubicBezTo>
                  <a:cubicBezTo>
                    <a:pt x="280" y="83"/>
                    <a:pt x="282" y="86"/>
                    <a:pt x="283" y="87"/>
                  </a:cubicBezTo>
                  <a:cubicBezTo>
                    <a:pt x="285" y="89"/>
                    <a:pt x="286" y="90"/>
                    <a:pt x="288" y="90"/>
                  </a:cubicBezTo>
                  <a:cubicBezTo>
                    <a:pt x="288" y="90"/>
                    <a:pt x="287" y="90"/>
                    <a:pt x="286" y="90"/>
                  </a:cubicBezTo>
                  <a:cubicBezTo>
                    <a:pt x="282" y="90"/>
                    <a:pt x="281" y="84"/>
                    <a:pt x="277" y="83"/>
                  </a:cubicBezTo>
                  <a:cubicBezTo>
                    <a:pt x="277" y="83"/>
                    <a:pt x="277" y="83"/>
                    <a:pt x="277" y="83"/>
                  </a:cubicBezTo>
                  <a:cubicBezTo>
                    <a:pt x="273" y="83"/>
                    <a:pt x="276" y="87"/>
                    <a:pt x="277" y="88"/>
                  </a:cubicBezTo>
                  <a:cubicBezTo>
                    <a:pt x="279" y="90"/>
                    <a:pt x="282" y="91"/>
                    <a:pt x="284" y="92"/>
                  </a:cubicBezTo>
                  <a:cubicBezTo>
                    <a:pt x="280" y="91"/>
                    <a:pt x="276" y="90"/>
                    <a:pt x="274" y="86"/>
                  </a:cubicBezTo>
                  <a:cubicBezTo>
                    <a:pt x="272" y="84"/>
                    <a:pt x="273" y="79"/>
                    <a:pt x="270" y="77"/>
                  </a:cubicBezTo>
                  <a:cubicBezTo>
                    <a:pt x="269" y="77"/>
                    <a:pt x="265" y="75"/>
                    <a:pt x="264" y="75"/>
                  </a:cubicBezTo>
                  <a:cubicBezTo>
                    <a:pt x="263" y="75"/>
                    <a:pt x="263" y="75"/>
                    <a:pt x="263" y="75"/>
                  </a:cubicBezTo>
                  <a:cubicBezTo>
                    <a:pt x="261" y="75"/>
                    <a:pt x="262" y="76"/>
                    <a:pt x="261" y="79"/>
                  </a:cubicBezTo>
                  <a:cubicBezTo>
                    <a:pt x="260" y="82"/>
                    <a:pt x="263" y="83"/>
                    <a:pt x="265" y="84"/>
                  </a:cubicBezTo>
                  <a:cubicBezTo>
                    <a:pt x="266" y="84"/>
                    <a:pt x="267" y="84"/>
                    <a:pt x="268" y="85"/>
                  </a:cubicBezTo>
                  <a:cubicBezTo>
                    <a:pt x="269" y="85"/>
                    <a:pt x="268" y="87"/>
                    <a:pt x="270" y="87"/>
                  </a:cubicBezTo>
                  <a:cubicBezTo>
                    <a:pt x="270" y="87"/>
                    <a:pt x="269" y="87"/>
                    <a:pt x="269" y="87"/>
                  </a:cubicBezTo>
                  <a:cubicBezTo>
                    <a:pt x="267" y="87"/>
                    <a:pt x="264" y="85"/>
                    <a:pt x="262" y="85"/>
                  </a:cubicBezTo>
                  <a:cubicBezTo>
                    <a:pt x="260" y="84"/>
                    <a:pt x="259" y="84"/>
                    <a:pt x="257" y="84"/>
                  </a:cubicBezTo>
                  <a:cubicBezTo>
                    <a:pt x="257" y="84"/>
                    <a:pt x="256" y="84"/>
                    <a:pt x="255" y="84"/>
                  </a:cubicBezTo>
                  <a:cubicBezTo>
                    <a:pt x="255" y="84"/>
                    <a:pt x="255" y="84"/>
                    <a:pt x="255" y="84"/>
                  </a:cubicBezTo>
                  <a:cubicBezTo>
                    <a:pt x="252" y="84"/>
                    <a:pt x="257" y="80"/>
                    <a:pt x="258" y="79"/>
                  </a:cubicBezTo>
                  <a:cubicBezTo>
                    <a:pt x="259" y="77"/>
                    <a:pt x="260" y="73"/>
                    <a:pt x="260" y="71"/>
                  </a:cubicBezTo>
                  <a:cubicBezTo>
                    <a:pt x="259" y="70"/>
                    <a:pt x="254" y="66"/>
                    <a:pt x="252" y="65"/>
                  </a:cubicBezTo>
                  <a:cubicBezTo>
                    <a:pt x="252" y="65"/>
                    <a:pt x="252" y="65"/>
                    <a:pt x="252" y="65"/>
                  </a:cubicBezTo>
                  <a:cubicBezTo>
                    <a:pt x="249" y="65"/>
                    <a:pt x="248" y="68"/>
                    <a:pt x="245" y="70"/>
                  </a:cubicBezTo>
                  <a:cubicBezTo>
                    <a:pt x="245" y="70"/>
                    <a:pt x="243" y="71"/>
                    <a:pt x="242" y="72"/>
                  </a:cubicBezTo>
                  <a:cubicBezTo>
                    <a:pt x="242" y="72"/>
                    <a:pt x="242" y="73"/>
                    <a:pt x="242" y="73"/>
                  </a:cubicBezTo>
                  <a:cubicBezTo>
                    <a:pt x="241" y="73"/>
                    <a:pt x="241" y="72"/>
                    <a:pt x="241" y="72"/>
                  </a:cubicBezTo>
                  <a:cubicBezTo>
                    <a:pt x="240" y="72"/>
                    <a:pt x="241" y="71"/>
                    <a:pt x="242" y="70"/>
                  </a:cubicBezTo>
                  <a:cubicBezTo>
                    <a:pt x="244" y="68"/>
                    <a:pt x="245" y="68"/>
                    <a:pt x="243" y="65"/>
                  </a:cubicBezTo>
                  <a:cubicBezTo>
                    <a:pt x="241" y="64"/>
                    <a:pt x="242" y="64"/>
                    <a:pt x="241" y="63"/>
                  </a:cubicBezTo>
                  <a:cubicBezTo>
                    <a:pt x="241" y="62"/>
                    <a:pt x="243" y="61"/>
                    <a:pt x="242" y="61"/>
                  </a:cubicBezTo>
                  <a:cubicBezTo>
                    <a:pt x="241" y="61"/>
                    <a:pt x="241" y="61"/>
                    <a:pt x="241" y="61"/>
                  </a:cubicBezTo>
                  <a:cubicBezTo>
                    <a:pt x="241" y="60"/>
                    <a:pt x="240" y="60"/>
                    <a:pt x="240" y="60"/>
                  </a:cubicBezTo>
                  <a:cubicBezTo>
                    <a:pt x="239" y="60"/>
                    <a:pt x="237" y="64"/>
                    <a:pt x="236" y="64"/>
                  </a:cubicBezTo>
                  <a:cubicBezTo>
                    <a:pt x="235" y="65"/>
                    <a:pt x="232" y="66"/>
                    <a:pt x="232" y="67"/>
                  </a:cubicBezTo>
                  <a:cubicBezTo>
                    <a:pt x="231" y="72"/>
                    <a:pt x="240" y="75"/>
                    <a:pt x="243" y="76"/>
                  </a:cubicBezTo>
                  <a:cubicBezTo>
                    <a:pt x="242" y="76"/>
                    <a:pt x="242" y="76"/>
                    <a:pt x="241" y="76"/>
                  </a:cubicBezTo>
                  <a:cubicBezTo>
                    <a:pt x="237" y="76"/>
                    <a:pt x="235" y="73"/>
                    <a:pt x="232" y="70"/>
                  </a:cubicBezTo>
                  <a:cubicBezTo>
                    <a:pt x="232" y="70"/>
                    <a:pt x="231" y="69"/>
                    <a:pt x="230" y="69"/>
                  </a:cubicBezTo>
                  <a:cubicBezTo>
                    <a:pt x="229" y="69"/>
                    <a:pt x="229" y="70"/>
                    <a:pt x="228" y="71"/>
                  </a:cubicBezTo>
                  <a:cubicBezTo>
                    <a:pt x="228" y="72"/>
                    <a:pt x="229" y="73"/>
                    <a:pt x="228" y="74"/>
                  </a:cubicBezTo>
                  <a:cubicBezTo>
                    <a:pt x="228" y="74"/>
                    <a:pt x="228" y="74"/>
                    <a:pt x="227" y="74"/>
                  </a:cubicBezTo>
                  <a:cubicBezTo>
                    <a:pt x="227" y="74"/>
                    <a:pt x="227" y="74"/>
                    <a:pt x="226" y="74"/>
                  </a:cubicBezTo>
                  <a:cubicBezTo>
                    <a:pt x="226" y="74"/>
                    <a:pt x="226" y="74"/>
                    <a:pt x="226" y="74"/>
                  </a:cubicBezTo>
                  <a:cubicBezTo>
                    <a:pt x="226" y="74"/>
                    <a:pt x="226" y="74"/>
                    <a:pt x="226" y="74"/>
                  </a:cubicBezTo>
                  <a:cubicBezTo>
                    <a:pt x="224" y="75"/>
                    <a:pt x="229" y="77"/>
                    <a:pt x="225" y="80"/>
                  </a:cubicBezTo>
                  <a:cubicBezTo>
                    <a:pt x="224" y="81"/>
                    <a:pt x="222" y="82"/>
                    <a:pt x="221" y="82"/>
                  </a:cubicBezTo>
                  <a:cubicBezTo>
                    <a:pt x="218" y="82"/>
                    <a:pt x="217" y="87"/>
                    <a:pt x="214" y="87"/>
                  </a:cubicBezTo>
                  <a:cubicBezTo>
                    <a:pt x="214" y="87"/>
                    <a:pt x="214" y="87"/>
                    <a:pt x="213" y="87"/>
                  </a:cubicBezTo>
                  <a:cubicBezTo>
                    <a:pt x="214" y="85"/>
                    <a:pt x="218" y="84"/>
                    <a:pt x="217" y="81"/>
                  </a:cubicBezTo>
                  <a:cubicBezTo>
                    <a:pt x="216" y="80"/>
                    <a:pt x="212" y="81"/>
                    <a:pt x="210" y="80"/>
                  </a:cubicBezTo>
                  <a:cubicBezTo>
                    <a:pt x="212" y="77"/>
                    <a:pt x="214" y="78"/>
                    <a:pt x="216" y="78"/>
                  </a:cubicBezTo>
                  <a:cubicBezTo>
                    <a:pt x="216" y="78"/>
                    <a:pt x="217" y="78"/>
                    <a:pt x="217" y="78"/>
                  </a:cubicBezTo>
                  <a:cubicBezTo>
                    <a:pt x="218" y="78"/>
                    <a:pt x="218" y="79"/>
                    <a:pt x="220" y="79"/>
                  </a:cubicBezTo>
                  <a:cubicBezTo>
                    <a:pt x="221" y="79"/>
                    <a:pt x="221" y="79"/>
                    <a:pt x="221" y="79"/>
                  </a:cubicBezTo>
                  <a:cubicBezTo>
                    <a:pt x="223" y="79"/>
                    <a:pt x="220" y="77"/>
                    <a:pt x="219" y="76"/>
                  </a:cubicBezTo>
                  <a:cubicBezTo>
                    <a:pt x="217" y="75"/>
                    <a:pt x="215" y="75"/>
                    <a:pt x="213" y="73"/>
                  </a:cubicBezTo>
                  <a:cubicBezTo>
                    <a:pt x="217" y="73"/>
                    <a:pt x="215" y="73"/>
                    <a:pt x="216" y="70"/>
                  </a:cubicBezTo>
                  <a:cubicBezTo>
                    <a:pt x="217" y="69"/>
                    <a:pt x="219" y="68"/>
                    <a:pt x="220" y="67"/>
                  </a:cubicBezTo>
                  <a:cubicBezTo>
                    <a:pt x="222" y="65"/>
                    <a:pt x="222" y="66"/>
                    <a:pt x="223" y="64"/>
                  </a:cubicBezTo>
                  <a:cubicBezTo>
                    <a:pt x="224" y="63"/>
                    <a:pt x="225" y="60"/>
                    <a:pt x="223" y="60"/>
                  </a:cubicBezTo>
                  <a:cubicBezTo>
                    <a:pt x="223" y="60"/>
                    <a:pt x="222" y="59"/>
                    <a:pt x="222" y="59"/>
                  </a:cubicBezTo>
                  <a:cubicBezTo>
                    <a:pt x="219" y="59"/>
                    <a:pt x="214" y="64"/>
                    <a:pt x="213" y="66"/>
                  </a:cubicBezTo>
                  <a:cubicBezTo>
                    <a:pt x="210" y="68"/>
                    <a:pt x="207" y="71"/>
                    <a:pt x="204" y="71"/>
                  </a:cubicBezTo>
                  <a:cubicBezTo>
                    <a:pt x="205" y="70"/>
                    <a:pt x="207" y="70"/>
                    <a:pt x="208" y="69"/>
                  </a:cubicBezTo>
                  <a:cubicBezTo>
                    <a:pt x="208" y="69"/>
                    <a:pt x="208" y="68"/>
                    <a:pt x="208" y="67"/>
                  </a:cubicBezTo>
                  <a:cubicBezTo>
                    <a:pt x="209" y="66"/>
                    <a:pt x="210" y="66"/>
                    <a:pt x="211" y="65"/>
                  </a:cubicBezTo>
                  <a:cubicBezTo>
                    <a:pt x="213" y="63"/>
                    <a:pt x="215" y="61"/>
                    <a:pt x="218" y="59"/>
                  </a:cubicBezTo>
                  <a:cubicBezTo>
                    <a:pt x="219" y="59"/>
                    <a:pt x="220" y="58"/>
                    <a:pt x="221" y="57"/>
                  </a:cubicBezTo>
                  <a:cubicBezTo>
                    <a:pt x="223" y="57"/>
                    <a:pt x="222" y="56"/>
                    <a:pt x="223" y="55"/>
                  </a:cubicBezTo>
                  <a:cubicBezTo>
                    <a:pt x="223" y="54"/>
                    <a:pt x="229" y="50"/>
                    <a:pt x="229" y="50"/>
                  </a:cubicBezTo>
                  <a:cubicBezTo>
                    <a:pt x="229" y="50"/>
                    <a:pt x="229" y="50"/>
                    <a:pt x="229" y="50"/>
                  </a:cubicBezTo>
                  <a:cubicBezTo>
                    <a:pt x="227" y="46"/>
                    <a:pt x="221" y="45"/>
                    <a:pt x="221" y="40"/>
                  </a:cubicBezTo>
                  <a:cubicBezTo>
                    <a:pt x="220" y="36"/>
                    <a:pt x="225" y="32"/>
                    <a:pt x="218" y="30"/>
                  </a:cubicBezTo>
                  <a:cubicBezTo>
                    <a:pt x="214" y="29"/>
                    <a:pt x="207" y="28"/>
                    <a:pt x="207" y="24"/>
                  </a:cubicBezTo>
                  <a:cubicBezTo>
                    <a:pt x="207" y="22"/>
                    <a:pt x="208" y="20"/>
                    <a:pt x="208" y="18"/>
                  </a:cubicBezTo>
                  <a:cubicBezTo>
                    <a:pt x="207" y="15"/>
                    <a:pt x="207" y="13"/>
                    <a:pt x="205" y="12"/>
                  </a:cubicBezTo>
                  <a:cubicBezTo>
                    <a:pt x="204" y="11"/>
                    <a:pt x="203" y="10"/>
                    <a:pt x="202" y="9"/>
                  </a:cubicBezTo>
                  <a:cubicBezTo>
                    <a:pt x="201" y="8"/>
                    <a:pt x="202" y="7"/>
                    <a:pt x="200" y="6"/>
                  </a:cubicBezTo>
                  <a:cubicBezTo>
                    <a:pt x="199" y="6"/>
                    <a:pt x="198" y="6"/>
                    <a:pt x="197" y="6"/>
                  </a:cubicBezTo>
                  <a:cubicBezTo>
                    <a:pt x="197" y="6"/>
                    <a:pt x="196" y="6"/>
                    <a:pt x="196" y="6"/>
                  </a:cubicBezTo>
                  <a:cubicBezTo>
                    <a:pt x="195" y="6"/>
                    <a:pt x="195" y="6"/>
                    <a:pt x="194" y="6"/>
                  </a:cubicBezTo>
                  <a:cubicBezTo>
                    <a:pt x="194" y="6"/>
                    <a:pt x="194" y="6"/>
                    <a:pt x="194" y="6"/>
                  </a:cubicBezTo>
                  <a:cubicBezTo>
                    <a:pt x="193" y="6"/>
                    <a:pt x="191" y="6"/>
                    <a:pt x="190" y="6"/>
                  </a:cubicBezTo>
                  <a:cubicBezTo>
                    <a:pt x="187" y="6"/>
                    <a:pt x="184" y="6"/>
                    <a:pt x="181" y="6"/>
                  </a:cubicBezTo>
                  <a:cubicBezTo>
                    <a:pt x="180" y="6"/>
                    <a:pt x="180" y="6"/>
                    <a:pt x="180" y="6"/>
                  </a:cubicBezTo>
                  <a:cubicBezTo>
                    <a:pt x="179" y="6"/>
                    <a:pt x="178" y="6"/>
                    <a:pt x="176" y="6"/>
                  </a:cubicBezTo>
                  <a:cubicBezTo>
                    <a:pt x="175" y="5"/>
                    <a:pt x="173" y="5"/>
                    <a:pt x="172" y="5"/>
                  </a:cubicBezTo>
                  <a:cubicBezTo>
                    <a:pt x="171" y="5"/>
                    <a:pt x="170" y="5"/>
                    <a:pt x="169" y="6"/>
                  </a:cubicBezTo>
                  <a:cubicBezTo>
                    <a:pt x="167" y="6"/>
                    <a:pt x="166" y="9"/>
                    <a:pt x="164" y="9"/>
                  </a:cubicBezTo>
                  <a:cubicBezTo>
                    <a:pt x="162" y="9"/>
                    <a:pt x="159" y="9"/>
                    <a:pt x="157" y="10"/>
                  </a:cubicBezTo>
                  <a:cubicBezTo>
                    <a:pt x="153" y="11"/>
                    <a:pt x="149" y="12"/>
                    <a:pt x="146" y="14"/>
                  </a:cubicBezTo>
                  <a:cubicBezTo>
                    <a:pt x="145" y="14"/>
                    <a:pt x="144" y="15"/>
                    <a:pt x="144" y="15"/>
                  </a:cubicBezTo>
                  <a:cubicBezTo>
                    <a:pt x="143" y="16"/>
                    <a:pt x="147" y="17"/>
                    <a:pt x="148" y="17"/>
                  </a:cubicBezTo>
                  <a:cubicBezTo>
                    <a:pt x="151" y="18"/>
                    <a:pt x="152" y="20"/>
                    <a:pt x="150" y="23"/>
                  </a:cubicBezTo>
                  <a:cubicBezTo>
                    <a:pt x="148" y="19"/>
                    <a:pt x="144" y="17"/>
                    <a:pt x="139" y="17"/>
                  </a:cubicBezTo>
                  <a:cubicBezTo>
                    <a:pt x="139" y="17"/>
                    <a:pt x="138" y="17"/>
                    <a:pt x="137" y="17"/>
                  </a:cubicBezTo>
                  <a:cubicBezTo>
                    <a:pt x="135" y="17"/>
                    <a:pt x="133" y="19"/>
                    <a:pt x="131" y="19"/>
                  </a:cubicBezTo>
                  <a:cubicBezTo>
                    <a:pt x="129" y="20"/>
                    <a:pt x="129" y="20"/>
                    <a:pt x="129" y="22"/>
                  </a:cubicBezTo>
                  <a:cubicBezTo>
                    <a:pt x="130" y="24"/>
                    <a:pt x="133" y="26"/>
                    <a:pt x="134" y="28"/>
                  </a:cubicBezTo>
                  <a:cubicBezTo>
                    <a:pt x="133" y="27"/>
                    <a:pt x="129" y="26"/>
                    <a:pt x="127" y="24"/>
                  </a:cubicBezTo>
                  <a:cubicBezTo>
                    <a:pt x="125" y="23"/>
                    <a:pt x="126" y="21"/>
                    <a:pt x="123" y="21"/>
                  </a:cubicBezTo>
                  <a:cubicBezTo>
                    <a:pt x="123" y="21"/>
                    <a:pt x="123" y="21"/>
                    <a:pt x="123" y="21"/>
                  </a:cubicBezTo>
                  <a:cubicBezTo>
                    <a:pt x="121" y="21"/>
                    <a:pt x="120" y="22"/>
                    <a:pt x="120" y="24"/>
                  </a:cubicBezTo>
                  <a:cubicBezTo>
                    <a:pt x="119" y="23"/>
                    <a:pt x="119" y="23"/>
                    <a:pt x="119" y="23"/>
                  </a:cubicBezTo>
                  <a:cubicBezTo>
                    <a:pt x="119" y="23"/>
                    <a:pt x="118" y="23"/>
                    <a:pt x="118" y="24"/>
                  </a:cubicBezTo>
                  <a:cubicBezTo>
                    <a:pt x="120" y="22"/>
                    <a:pt x="119" y="22"/>
                    <a:pt x="119" y="19"/>
                  </a:cubicBezTo>
                  <a:cubicBezTo>
                    <a:pt x="119" y="17"/>
                    <a:pt x="120" y="9"/>
                    <a:pt x="119" y="9"/>
                  </a:cubicBezTo>
                  <a:cubicBezTo>
                    <a:pt x="119" y="9"/>
                    <a:pt x="118" y="10"/>
                    <a:pt x="118" y="10"/>
                  </a:cubicBezTo>
                  <a:cubicBezTo>
                    <a:pt x="118" y="9"/>
                    <a:pt x="119" y="8"/>
                    <a:pt x="119" y="7"/>
                  </a:cubicBezTo>
                  <a:cubicBezTo>
                    <a:pt x="120" y="8"/>
                    <a:pt x="119" y="8"/>
                    <a:pt x="120" y="9"/>
                  </a:cubicBezTo>
                  <a:cubicBezTo>
                    <a:pt x="124" y="7"/>
                    <a:pt x="123" y="5"/>
                    <a:pt x="119" y="3"/>
                  </a:cubicBezTo>
                  <a:cubicBezTo>
                    <a:pt x="119" y="4"/>
                    <a:pt x="119" y="4"/>
                    <a:pt x="119" y="4"/>
                  </a:cubicBezTo>
                  <a:cubicBezTo>
                    <a:pt x="119" y="3"/>
                    <a:pt x="119" y="2"/>
                    <a:pt x="118" y="2"/>
                  </a:cubicBezTo>
                  <a:cubicBezTo>
                    <a:pt x="114" y="1"/>
                    <a:pt x="109" y="2"/>
                    <a:pt x="105" y="1"/>
                  </a:cubicBezTo>
                  <a:cubicBezTo>
                    <a:pt x="100" y="0"/>
                    <a:pt x="94"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99"/>
            <p:cNvSpPr/>
            <p:nvPr/>
          </p:nvSpPr>
          <p:spPr bwMode="auto">
            <a:xfrm>
              <a:off x="9994891" y="2277297"/>
              <a:ext cx="3175" cy="15875"/>
            </a:xfrm>
            <a:custGeom>
              <a:gdLst>
                <a:gd name="T0" fmla="*/ 1 w 1"/>
                <a:gd name="T1" fmla="*/ 0 h 4"/>
                <a:gd name="T2" fmla="*/ 1 w 1"/>
                <a:gd name="T3" fmla="*/ 4 h 4"/>
                <a:gd name="T4" fmla="*/ 1 w 1"/>
                <a:gd name="T5" fmla="*/ 3 h 4"/>
                <a:gd name="T6" fmla="*/ 1 w 1"/>
                <a:gd name="T7" fmla="*/ 2 h 4"/>
                <a:gd name="T8" fmla="*/ 1 w 1"/>
                <a:gd name="T9" fmla="*/ 2 h 4"/>
                <a:gd name="T10" fmla="*/ 1 w 1"/>
                <a:gd name="T11" fmla="*/ 2 h 4"/>
                <a:gd name="T12" fmla="*/ 1 w 1"/>
                <a:gd name="T13" fmla="*/ 1 h 4"/>
                <a:gd name="T14" fmla="*/ 1 w 1"/>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0"/>
                  </a:moveTo>
                  <a:cubicBezTo>
                    <a:pt x="0" y="1"/>
                    <a:pt x="0" y="3"/>
                    <a:pt x="1" y="4"/>
                  </a:cubicBezTo>
                  <a:cubicBezTo>
                    <a:pt x="1" y="3"/>
                    <a:pt x="1" y="3"/>
                    <a:pt x="1" y="3"/>
                  </a:cubicBezTo>
                  <a:cubicBezTo>
                    <a:pt x="1" y="3"/>
                    <a:pt x="1" y="3"/>
                    <a:pt x="1" y="2"/>
                  </a:cubicBezTo>
                  <a:cubicBezTo>
                    <a:pt x="1" y="2"/>
                    <a:pt x="1" y="2"/>
                    <a:pt x="1" y="2"/>
                  </a:cubicBezTo>
                  <a:cubicBezTo>
                    <a:pt x="1" y="2"/>
                    <a:pt x="1" y="2"/>
                    <a:pt x="1" y="2"/>
                  </a:cubicBezTo>
                  <a:cubicBezTo>
                    <a:pt x="1"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300"/>
            <p:cNvSpPr/>
            <p:nvPr/>
          </p:nvSpPr>
          <p:spPr bwMode="auto">
            <a:xfrm>
              <a:off x="7186604" y="1823272"/>
              <a:ext cx="22225" cy="30163"/>
            </a:xfrm>
            <a:custGeom>
              <a:gdLst>
                <a:gd name="T0" fmla="*/ 3 w 6"/>
                <a:gd name="T1" fmla="*/ 0 h 8"/>
                <a:gd name="T2" fmla="*/ 3 w 6"/>
                <a:gd name="T3" fmla="*/ 0 h 8"/>
                <a:gd name="T4" fmla="*/ 2 w 6"/>
                <a:gd name="T5" fmla="*/ 1 h 8"/>
                <a:gd name="T6" fmla="*/ 1 w 6"/>
                <a:gd name="T7" fmla="*/ 2 h 8"/>
                <a:gd name="T8" fmla="*/ 6 w 6"/>
                <a:gd name="T9" fmla="*/ 8 h 8"/>
                <a:gd name="T10" fmla="*/ 6 w 6"/>
                <a:gd name="T11" fmla="*/ 7 h 8"/>
                <a:gd name="T12" fmla="*/ 6 w 6"/>
                <a:gd name="T13" fmla="*/ 5 h 8"/>
                <a:gd name="T14" fmla="*/ 6 w 6"/>
                <a:gd name="T15" fmla="*/ 4 h 8"/>
                <a:gd name="T16" fmla="*/ 5 w 6"/>
                <a:gd name="T17" fmla="*/ 1 h 8"/>
                <a:gd name="T18" fmla="*/ 3 w 6"/>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3" y="0"/>
                  </a:moveTo>
                  <a:cubicBezTo>
                    <a:pt x="3" y="0"/>
                    <a:pt x="3" y="0"/>
                    <a:pt x="3" y="0"/>
                  </a:cubicBezTo>
                  <a:cubicBezTo>
                    <a:pt x="3" y="0"/>
                    <a:pt x="2" y="1"/>
                    <a:pt x="2" y="1"/>
                  </a:cubicBezTo>
                  <a:cubicBezTo>
                    <a:pt x="1" y="2"/>
                    <a:pt x="1" y="2"/>
                    <a:pt x="1" y="2"/>
                  </a:cubicBezTo>
                  <a:cubicBezTo>
                    <a:pt x="0" y="5"/>
                    <a:pt x="5" y="7"/>
                    <a:pt x="6" y="8"/>
                  </a:cubicBezTo>
                  <a:cubicBezTo>
                    <a:pt x="6" y="7"/>
                    <a:pt x="6" y="7"/>
                    <a:pt x="6" y="7"/>
                  </a:cubicBezTo>
                  <a:cubicBezTo>
                    <a:pt x="6" y="6"/>
                    <a:pt x="6" y="6"/>
                    <a:pt x="6" y="5"/>
                  </a:cubicBezTo>
                  <a:cubicBezTo>
                    <a:pt x="6" y="4"/>
                    <a:pt x="6" y="4"/>
                    <a:pt x="6" y="4"/>
                  </a:cubicBezTo>
                  <a:cubicBezTo>
                    <a:pt x="6" y="3"/>
                    <a:pt x="6" y="2"/>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01"/>
            <p:cNvSpPr/>
            <p:nvPr/>
          </p:nvSpPr>
          <p:spPr bwMode="auto">
            <a:xfrm>
              <a:off x="10272704" y="3051997"/>
              <a:ext cx="36513" cy="19050"/>
            </a:xfrm>
            <a:custGeom>
              <a:gdLst>
                <a:gd name="T0" fmla="*/ 0 w 10"/>
                <a:gd name="T1" fmla="*/ 0 h 5"/>
                <a:gd name="T2" fmla="*/ 1 w 10"/>
                <a:gd name="T3" fmla="*/ 2 h 5"/>
                <a:gd name="T4" fmla="*/ 1 w 10"/>
                <a:gd name="T5" fmla="*/ 2 h 5"/>
                <a:gd name="T6" fmla="*/ 2 w 10"/>
                <a:gd name="T7" fmla="*/ 3 h 5"/>
                <a:gd name="T8" fmla="*/ 3 w 10"/>
                <a:gd name="T9" fmla="*/ 3 h 5"/>
                <a:gd name="T10" fmla="*/ 8 w 10"/>
                <a:gd name="T11" fmla="*/ 5 h 5"/>
                <a:gd name="T12" fmla="*/ 10 w 10"/>
                <a:gd name="T13" fmla="*/ 3 h 5"/>
                <a:gd name="T14" fmla="*/ 3 w 10"/>
                <a:gd name="T15" fmla="*/ 0 h 5"/>
                <a:gd name="T16" fmla="*/ 1 w 10"/>
                <a:gd name="T17" fmla="*/ 0 h 5"/>
                <a:gd name="T18" fmla="*/ 1 w 10"/>
                <a:gd name="T19" fmla="*/ 0 h 5"/>
                <a:gd name="T20" fmla="*/ 0 w 10"/>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5">
                  <a:moveTo>
                    <a:pt x="0" y="0"/>
                  </a:moveTo>
                  <a:cubicBezTo>
                    <a:pt x="0" y="1"/>
                    <a:pt x="0" y="1"/>
                    <a:pt x="1" y="2"/>
                  </a:cubicBezTo>
                  <a:cubicBezTo>
                    <a:pt x="1" y="2"/>
                    <a:pt x="1" y="2"/>
                    <a:pt x="1" y="2"/>
                  </a:cubicBezTo>
                  <a:cubicBezTo>
                    <a:pt x="2" y="3"/>
                    <a:pt x="2" y="3"/>
                    <a:pt x="2" y="3"/>
                  </a:cubicBezTo>
                  <a:cubicBezTo>
                    <a:pt x="3" y="3"/>
                    <a:pt x="3" y="3"/>
                    <a:pt x="3" y="3"/>
                  </a:cubicBezTo>
                  <a:cubicBezTo>
                    <a:pt x="4" y="4"/>
                    <a:pt x="6" y="4"/>
                    <a:pt x="8" y="5"/>
                  </a:cubicBezTo>
                  <a:cubicBezTo>
                    <a:pt x="8" y="4"/>
                    <a:pt x="9" y="4"/>
                    <a:pt x="10" y="3"/>
                  </a:cubicBezTo>
                  <a:cubicBezTo>
                    <a:pt x="7" y="2"/>
                    <a:pt x="5" y="1"/>
                    <a:pt x="3" y="0"/>
                  </a:cubicBezTo>
                  <a:cubicBezTo>
                    <a:pt x="2"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302"/>
            <p:cNvSpPr/>
            <p:nvPr/>
          </p:nvSpPr>
          <p:spPr bwMode="auto">
            <a:xfrm>
              <a:off x="7148504" y="1583559"/>
              <a:ext cx="46038" cy="36513"/>
            </a:xfrm>
            <a:custGeom>
              <a:gdLst>
                <a:gd name="T0" fmla="*/ 1 w 12"/>
                <a:gd name="T1" fmla="*/ 0 h 10"/>
                <a:gd name="T2" fmla="*/ 0 w 12"/>
                <a:gd name="T3" fmla="*/ 4 h 10"/>
                <a:gd name="T4" fmla="*/ 2 w 12"/>
                <a:gd name="T5" fmla="*/ 6 h 10"/>
                <a:gd name="T6" fmla="*/ 3 w 12"/>
                <a:gd name="T7" fmla="*/ 6 h 10"/>
                <a:gd name="T8" fmla="*/ 6 w 12"/>
                <a:gd name="T9" fmla="*/ 8 h 10"/>
                <a:gd name="T10" fmla="*/ 11 w 12"/>
                <a:gd name="T11" fmla="*/ 10 h 10"/>
                <a:gd name="T12" fmla="*/ 11 w 12"/>
                <a:gd name="T13" fmla="*/ 10 h 10"/>
                <a:gd name="T14" fmla="*/ 11 w 12"/>
                <a:gd name="T15" fmla="*/ 5 h 10"/>
                <a:gd name="T16" fmla="*/ 6 w 12"/>
                <a:gd name="T17" fmla="*/ 1 h 10"/>
                <a:gd name="T18" fmla="*/ 2 w 12"/>
                <a:gd name="T19" fmla="*/ 1 h 10"/>
                <a:gd name="T20" fmla="*/ 1 w 12"/>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0">
                  <a:moveTo>
                    <a:pt x="1" y="0"/>
                  </a:moveTo>
                  <a:cubicBezTo>
                    <a:pt x="0" y="2"/>
                    <a:pt x="0" y="3"/>
                    <a:pt x="0" y="4"/>
                  </a:cubicBezTo>
                  <a:cubicBezTo>
                    <a:pt x="1" y="5"/>
                    <a:pt x="1" y="6"/>
                    <a:pt x="2" y="6"/>
                  </a:cubicBezTo>
                  <a:cubicBezTo>
                    <a:pt x="3" y="6"/>
                    <a:pt x="3" y="6"/>
                    <a:pt x="3" y="6"/>
                  </a:cubicBezTo>
                  <a:cubicBezTo>
                    <a:pt x="4" y="7"/>
                    <a:pt x="5" y="8"/>
                    <a:pt x="6" y="8"/>
                  </a:cubicBezTo>
                  <a:cubicBezTo>
                    <a:pt x="8" y="9"/>
                    <a:pt x="10" y="10"/>
                    <a:pt x="11" y="10"/>
                  </a:cubicBezTo>
                  <a:cubicBezTo>
                    <a:pt x="11" y="10"/>
                    <a:pt x="11" y="10"/>
                    <a:pt x="11" y="10"/>
                  </a:cubicBezTo>
                  <a:cubicBezTo>
                    <a:pt x="12" y="8"/>
                    <a:pt x="12" y="6"/>
                    <a:pt x="11" y="5"/>
                  </a:cubicBezTo>
                  <a:cubicBezTo>
                    <a:pt x="10" y="3"/>
                    <a:pt x="8" y="2"/>
                    <a:pt x="6" y="1"/>
                  </a:cubicBezTo>
                  <a:cubicBezTo>
                    <a:pt x="4" y="1"/>
                    <a:pt x="3" y="1"/>
                    <a:pt x="2"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303"/>
            <p:cNvSpPr/>
            <p:nvPr/>
          </p:nvSpPr>
          <p:spPr bwMode="auto">
            <a:xfrm>
              <a:off x="6499216" y="2045522"/>
              <a:ext cx="19050" cy="25400"/>
            </a:xfrm>
            <a:custGeom>
              <a:gdLst>
                <a:gd name="T0" fmla="*/ 3 w 5"/>
                <a:gd name="T1" fmla="*/ 0 h 7"/>
                <a:gd name="T2" fmla="*/ 1 w 5"/>
                <a:gd name="T3" fmla="*/ 0 h 7"/>
                <a:gd name="T4" fmla="*/ 1 w 5"/>
                <a:gd name="T5" fmla="*/ 1 h 7"/>
                <a:gd name="T6" fmla="*/ 1 w 5"/>
                <a:gd name="T7" fmla="*/ 1 h 7"/>
                <a:gd name="T8" fmla="*/ 1 w 5"/>
                <a:gd name="T9" fmla="*/ 1 h 7"/>
                <a:gd name="T10" fmla="*/ 1 w 5"/>
                <a:gd name="T11" fmla="*/ 5 h 7"/>
                <a:gd name="T12" fmla="*/ 1 w 5"/>
                <a:gd name="T13" fmla="*/ 6 h 7"/>
                <a:gd name="T14" fmla="*/ 2 w 5"/>
                <a:gd name="T15" fmla="*/ 7 h 7"/>
                <a:gd name="T16" fmla="*/ 2 w 5"/>
                <a:gd name="T17" fmla="*/ 7 h 7"/>
                <a:gd name="T18" fmla="*/ 2 w 5"/>
                <a:gd name="T19" fmla="*/ 7 h 7"/>
                <a:gd name="T20" fmla="*/ 2 w 5"/>
                <a:gd name="T21" fmla="*/ 7 h 7"/>
                <a:gd name="T22" fmla="*/ 5 w 5"/>
                <a:gd name="T23" fmla="*/ 4 h 7"/>
                <a:gd name="T24" fmla="*/ 5 w 5"/>
                <a:gd name="T25" fmla="*/ 3 h 7"/>
                <a:gd name="T26" fmla="*/ 4 w 5"/>
                <a:gd name="T27" fmla="*/ 1 h 7"/>
                <a:gd name="T28" fmla="*/ 4 w 5"/>
                <a:gd name="T29" fmla="*/ 1 h 7"/>
                <a:gd name="T30" fmla="*/ 4 w 5"/>
                <a:gd name="T31" fmla="*/ 1 h 7"/>
                <a:gd name="T32" fmla="*/ 4 w 5"/>
                <a:gd name="T33" fmla="*/ 1 h 7"/>
                <a:gd name="T34" fmla="*/ 3 w 5"/>
                <a:gd name="T35"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7">
                  <a:moveTo>
                    <a:pt x="3" y="0"/>
                  </a:moveTo>
                  <a:cubicBezTo>
                    <a:pt x="2" y="0"/>
                    <a:pt x="2" y="0"/>
                    <a:pt x="1" y="0"/>
                  </a:cubicBezTo>
                  <a:cubicBezTo>
                    <a:pt x="1" y="1"/>
                    <a:pt x="1" y="1"/>
                    <a:pt x="1" y="1"/>
                  </a:cubicBezTo>
                  <a:cubicBezTo>
                    <a:pt x="1" y="1"/>
                    <a:pt x="1" y="1"/>
                    <a:pt x="1" y="1"/>
                  </a:cubicBezTo>
                  <a:cubicBezTo>
                    <a:pt x="1" y="1"/>
                    <a:pt x="1" y="1"/>
                    <a:pt x="1" y="1"/>
                  </a:cubicBezTo>
                  <a:cubicBezTo>
                    <a:pt x="0" y="2"/>
                    <a:pt x="0" y="4"/>
                    <a:pt x="1" y="5"/>
                  </a:cubicBezTo>
                  <a:cubicBezTo>
                    <a:pt x="1" y="6"/>
                    <a:pt x="1" y="6"/>
                    <a:pt x="1" y="6"/>
                  </a:cubicBezTo>
                  <a:cubicBezTo>
                    <a:pt x="1" y="6"/>
                    <a:pt x="1" y="7"/>
                    <a:pt x="2" y="7"/>
                  </a:cubicBezTo>
                  <a:cubicBezTo>
                    <a:pt x="2" y="7"/>
                    <a:pt x="2" y="7"/>
                    <a:pt x="2" y="7"/>
                  </a:cubicBezTo>
                  <a:cubicBezTo>
                    <a:pt x="2" y="7"/>
                    <a:pt x="2" y="7"/>
                    <a:pt x="2" y="7"/>
                  </a:cubicBezTo>
                  <a:cubicBezTo>
                    <a:pt x="2" y="7"/>
                    <a:pt x="2" y="7"/>
                    <a:pt x="2" y="7"/>
                  </a:cubicBezTo>
                  <a:cubicBezTo>
                    <a:pt x="5" y="7"/>
                    <a:pt x="5" y="5"/>
                    <a:pt x="5" y="4"/>
                  </a:cubicBezTo>
                  <a:cubicBezTo>
                    <a:pt x="5" y="3"/>
                    <a:pt x="5" y="3"/>
                    <a:pt x="5" y="3"/>
                  </a:cubicBezTo>
                  <a:cubicBezTo>
                    <a:pt x="5" y="3"/>
                    <a:pt x="5" y="2"/>
                    <a:pt x="4" y="1"/>
                  </a:cubicBezTo>
                  <a:cubicBezTo>
                    <a:pt x="4" y="1"/>
                    <a:pt x="4" y="1"/>
                    <a:pt x="4" y="1"/>
                  </a:cubicBezTo>
                  <a:cubicBezTo>
                    <a:pt x="4" y="1"/>
                    <a:pt x="4" y="1"/>
                    <a:pt x="4" y="1"/>
                  </a:cubicBezTo>
                  <a:cubicBezTo>
                    <a:pt x="4" y="1"/>
                    <a:pt x="4" y="1"/>
                    <a:pt x="4"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04"/>
            <p:cNvSpPr/>
            <p:nvPr/>
          </p:nvSpPr>
          <p:spPr bwMode="auto">
            <a:xfrm>
              <a:off x="8342304" y="1951859"/>
              <a:ext cx="52388" cy="85725"/>
            </a:xfrm>
            <a:custGeom>
              <a:gdLst>
                <a:gd name="T0" fmla="*/ 8 w 14"/>
                <a:gd name="T1" fmla="*/ 0 h 23"/>
                <a:gd name="T2" fmla="*/ 8 w 14"/>
                <a:gd name="T3" fmla="*/ 0 h 23"/>
                <a:gd name="T4" fmla="*/ 4 w 14"/>
                <a:gd name="T5" fmla="*/ 3 h 23"/>
                <a:gd name="T6" fmla="*/ 1 w 14"/>
                <a:gd name="T7" fmla="*/ 7 h 23"/>
                <a:gd name="T8" fmla="*/ 0 w 14"/>
                <a:gd name="T9" fmla="*/ 8 h 23"/>
                <a:gd name="T10" fmla="*/ 2 w 14"/>
                <a:gd name="T11" fmla="*/ 11 h 23"/>
                <a:gd name="T12" fmla="*/ 4 w 14"/>
                <a:gd name="T13" fmla="*/ 14 h 23"/>
                <a:gd name="T14" fmla="*/ 2 w 14"/>
                <a:gd name="T15" fmla="*/ 15 h 23"/>
                <a:gd name="T16" fmla="*/ 1 w 14"/>
                <a:gd name="T17" fmla="*/ 16 h 23"/>
                <a:gd name="T18" fmla="*/ 2 w 14"/>
                <a:gd name="T19" fmla="*/ 17 h 23"/>
                <a:gd name="T20" fmla="*/ 2 w 14"/>
                <a:gd name="T21" fmla="*/ 17 h 23"/>
                <a:gd name="T22" fmla="*/ 3 w 14"/>
                <a:gd name="T23" fmla="*/ 19 h 23"/>
                <a:gd name="T24" fmla="*/ 5 w 14"/>
                <a:gd name="T25" fmla="*/ 21 h 23"/>
                <a:gd name="T26" fmla="*/ 7 w 14"/>
                <a:gd name="T27" fmla="*/ 22 h 23"/>
                <a:gd name="T28" fmla="*/ 9 w 14"/>
                <a:gd name="T29" fmla="*/ 23 h 23"/>
                <a:gd name="T30" fmla="*/ 13 w 14"/>
                <a:gd name="T31" fmla="*/ 19 h 23"/>
                <a:gd name="T32" fmla="*/ 13 w 14"/>
                <a:gd name="T33" fmla="*/ 5 h 23"/>
                <a:gd name="T34" fmla="*/ 13 w 14"/>
                <a:gd name="T35" fmla="*/ 5 h 23"/>
                <a:gd name="T36" fmla="*/ 13 w 14"/>
                <a:gd name="T37" fmla="*/ 5 h 23"/>
                <a:gd name="T38" fmla="*/ 11 w 14"/>
                <a:gd name="T39" fmla="*/ 2 h 23"/>
                <a:gd name="T40" fmla="*/ 8 w 14"/>
                <a:gd name="T41"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3">
                  <a:moveTo>
                    <a:pt x="8" y="0"/>
                  </a:moveTo>
                  <a:cubicBezTo>
                    <a:pt x="8" y="0"/>
                    <a:pt x="8" y="0"/>
                    <a:pt x="8" y="0"/>
                  </a:cubicBezTo>
                  <a:cubicBezTo>
                    <a:pt x="6" y="0"/>
                    <a:pt x="5" y="2"/>
                    <a:pt x="4" y="3"/>
                  </a:cubicBezTo>
                  <a:cubicBezTo>
                    <a:pt x="3" y="4"/>
                    <a:pt x="2" y="6"/>
                    <a:pt x="1" y="7"/>
                  </a:cubicBezTo>
                  <a:cubicBezTo>
                    <a:pt x="1" y="7"/>
                    <a:pt x="0" y="8"/>
                    <a:pt x="0" y="8"/>
                  </a:cubicBezTo>
                  <a:cubicBezTo>
                    <a:pt x="0" y="9"/>
                    <a:pt x="1" y="10"/>
                    <a:pt x="2" y="11"/>
                  </a:cubicBezTo>
                  <a:cubicBezTo>
                    <a:pt x="3" y="12"/>
                    <a:pt x="4" y="12"/>
                    <a:pt x="4" y="14"/>
                  </a:cubicBezTo>
                  <a:cubicBezTo>
                    <a:pt x="3" y="14"/>
                    <a:pt x="2" y="14"/>
                    <a:pt x="2" y="15"/>
                  </a:cubicBezTo>
                  <a:cubicBezTo>
                    <a:pt x="1" y="16"/>
                    <a:pt x="1" y="16"/>
                    <a:pt x="1" y="16"/>
                  </a:cubicBezTo>
                  <a:cubicBezTo>
                    <a:pt x="1" y="16"/>
                    <a:pt x="2" y="16"/>
                    <a:pt x="2" y="17"/>
                  </a:cubicBezTo>
                  <a:cubicBezTo>
                    <a:pt x="2" y="17"/>
                    <a:pt x="2" y="17"/>
                    <a:pt x="2" y="17"/>
                  </a:cubicBezTo>
                  <a:cubicBezTo>
                    <a:pt x="2" y="18"/>
                    <a:pt x="3" y="19"/>
                    <a:pt x="3" y="19"/>
                  </a:cubicBezTo>
                  <a:cubicBezTo>
                    <a:pt x="3" y="20"/>
                    <a:pt x="4" y="20"/>
                    <a:pt x="5" y="21"/>
                  </a:cubicBezTo>
                  <a:cubicBezTo>
                    <a:pt x="6" y="22"/>
                    <a:pt x="6" y="22"/>
                    <a:pt x="7" y="22"/>
                  </a:cubicBezTo>
                  <a:cubicBezTo>
                    <a:pt x="8" y="23"/>
                    <a:pt x="8" y="23"/>
                    <a:pt x="9" y="23"/>
                  </a:cubicBezTo>
                  <a:cubicBezTo>
                    <a:pt x="11" y="23"/>
                    <a:pt x="13" y="21"/>
                    <a:pt x="13" y="19"/>
                  </a:cubicBezTo>
                  <a:cubicBezTo>
                    <a:pt x="14" y="14"/>
                    <a:pt x="14" y="8"/>
                    <a:pt x="13" y="5"/>
                  </a:cubicBezTo>
                  <a:cubicBezTo>
                    <a:pt x="13" y="5"/>
                    <a:pt x="13" y="5"/>
                    <a:pt x="13" y="5"/>
                  </a:cubicBezTo>
                  <a:cubicBezTo>
                    <a:pt x="13" y="5"/>
                    <a:pt x="13" y="5"/>
                    <a:pt x="13" y="5"/>
                  </a:cubicBezTo>
                  <a:cubicBezTo>
                    <a:pt x="13" y="4"/>
                    <a:pt x="12" y="3"/>
                    <a:pt x="11" y="2"/>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05"/>
            <p:cNvSpPr/>
            <p:nvPr/>
          </p:nvSpPr>
          <p:spPr bwMode="auto">
            <a:xfrm>
              <a:off x="9067791" y="3005959"/>
              <a:ext cx="41275" cy="12700"/>
            </a:xfrm>
            <a:custGeom>
              <a:gdLst>
                <a:gd name="T0" fmla="*/ 11 w 11"/>
                <a:gd name="T1" fmla="*/ 0 h 3"/>
                <a:gd name="T2" fmla="*/ 8 w 11"/>
                <a:gd name="T3" fmla="*/ 0 h 3"/>
                <a:gd name="T4" fmla="*/ 1 w 11"/>
                <a:gd name="T5" fmla="*/ 2 h 3"/>
                <a:gd name="T6" fmla="*/ 1 w 11"/>
                <a:gd name="T7" fmla="*/ 2 h 3"/>
                <a:gd name="T8" fmla="*/ 0 w 11"/>
                <a:gd name="T9" fmla="*/ 3 h 3"/>
                <a:gd name="T10" fmla="*/ 1 w 11"/>
                <a:gd name="T11" fmla="*/ 3 h 3"/>
                <a:gd name="T12" fmla="*/ 11 w 11"/>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11" h="3">
                  <a:moveTo>
                    <a:pt x="11" y="0"/>
                  </a:moveTo>
                  <a:cubicBezTo>
                    <a:pt x="10" y="0"/>
                    <a:pt x="9" y="0"/>
                    <a:pt x="8" y="0"/>
                  </a:cubicBezTo>
                  <a:cubicBezTo>
                    <a:pt x="5" y="1"/>
                    <a:pt x="3" y="2"/>
                    <a:pt x="1" y="2"/>
                  </a:cubicBezTo>
                  <a:cubicBezTo>
                    <a:pt x="1" y="2"/>
                    <a:pt x="1" y="2"/>
                    <a:pt x="1" y="2"/>
                  </a:cubicBezTo>
                  <a:cubicBezTo>
                    <a:pt x="0" y="3"/>
                    <a:pt x="0" y="3"/>
                    <a:pt x="0" y="3"/>
                  </a:cubicBezTo>
                  <a:cubicBezTo>
                    <a:pt x="0" y="3"/>
                    <a:pt x="1" y="3"/>
                    <a:pt x="1" y="3"/>
                  </a:cubicBezTo>
                  <a:cubicBezTo>
                    <a:pt x="4" y="3"/>
                    <a:pt x="8"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306"/>
            <p:cNvSpPr/>
            <p:nvPr/>
          </p:nvSpPr>
          <p:spPr bwMode="auto">
            <a:xfrm>
              <a:off x="7461241" y="1177159"/>
              <a:ext cx="47625" cy="46038"/>
            </a:xfrm>
            <a:custGeom>
              <a:gdLst>
                <a:gd name="T0" fmla="*/ 8 w 13"/>
                <a:gd name="T1" fmla="*/ 0 h 12"/>
                <a:gd name="T2" fmla="*/ 6 w 13"/>
                <a:gd name="T3" fmla="*/ 0 h 12"/>
                <a:gd name="T4" fmla="*/ 6 w 13"/>
                <a:gd name="T5" fmla="*/ 0 h 12"/>
                <a:gd name="T6" fmla="*/ 2 w 13"/>
                <a:gd name="T7" fmla="*/ 1 h 12"/>
                <a:gd name="T8" fmla="*/ 2 w 13"/>
                <a:gd name="T9" fmla="*/ 1 h 12"/>
                <a:gd name="T10" fmla="*/ 1 w 13"/>
                <a:gd name="T11" fmla="*/ 2 h 12"/>
                <a:gd name="T12" fmla="*/ 1 w 13"/>
                <a:gd name="T13" fmla="*/ 3 h 12"/>
                <a:gd name="T14" fmla="*/ 1 w 13"/>
                <a:gd name="T15" fmla="*/ 3 h 12"/>
                <a:gd name="T16" fmla="*/ 0 w 13"/>
                <a:gd name="T17" fmla="*/ 4 h 12"/>
                <a:gd name="T18" fmla="*/ 0 w 13"/>
                <a:gd name="T19" fmla="*/ 7 h 12"/>
                <a:gd name="T20" fmla="*/ 4 w 13"/>
                <a:gd name="T21" fmla="*/ 11 h 12"/>
                <a:gd name="T22" fmla="*/ 6 w 13"/>
                <a:gd name="T23" fmla="*/ 12 h 12"/>
                <a:gd name="T24" fmla="*/ 10 w 13"/>
                <a:gd name="T25" fmla="*/ 11 h 12"/>
                <a:gd name="T26" fmla="*/ 13 w 13"/>
                <a:gd name="T27" fmla="*/ 8 h 12"/>
                <a:gd name="T28" fmla="*/ 12 w 13"/>
                <a:gd name="T29" fmla="*/ 5 h 12"/>
                <a:gd name="T30" fmla="*/ 11 w 13"/>
                <a:gd name="T31" fmla="*/ 3 h 12"/>
                <a:gd name="T32" fmla="*/ 8 w 13"/>
                <a:gd name="T33" fmla="*/ 0 h 12"/>
                <a:gd name="T34" fmla="*/ 8 w 13"/>
                <a:gd name="T35"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2">
                  <a:moveTo>
                    <a:pt x="8" y="0"/>
                  </a:moveTo>
                  <a:cubicBezTo>
                    <a:pt x="7" y="0"/>
                    <a:pt x="7" y="0"/>
                    <a:pt x="6" y="0"/>
                  </a:cubicBezTo>
                  <a:cubicBezTo>
                    <a:pt x="6" y="0"/>
                    <a:pt x="6" y="0"/>
                    <a:pt x="6" y="0"/>
                  </a:cubicBezTo>
                  <a:cubicBezTo>
                    <a:pt x="5" y="0"/>
                    <a:pt x="4" y="0"/>
                    <a:pt x="2" y="1"/>
                  </a:cubicBezTo>
                  <a:cubicBezTo>
                    <a:pt x="2" y="1"/>
                    <a:pt x="2" y="1"/>
                    <a:pt x="2" y="1"/>
                  </a:cubicBezTo>
                  <a:cubicBezTo>
                    <a:pt x="2" y="2"/>
                    <a:pt x="2" y="2"/>
                    <a:pt x="1" y="2"/>
                  </a:cubicBezTo>
                  <a:cubicBezTo>
                    <a:pt x="1" y="3"/>
                    <a:pt x="1" y="3"/>
                    <a:pt x="1" y="3"/>
                  </a:cubicBezTo>
                  <a:cubicBezTo>
                    <a:pt x="1" y="3"/>
                    <a:pt x="1" y="3"/>
                    <a:pt x="1" y="3"/>
                  </a:cubicBezTo>
                  <a:cubicBezTo>
                    <a:pt x="0" y="4"/>
                    <a:pt x="0" y="4"/>
                    <a:pt x="0" y="4"/>
                  </a:cubicBezTo>
                  <a:cubicBezTo>
                    <a:pt x="0" y="5"/>
                    <a:pt x="0" y="6"/>
                    <a:pt x="0" y="7"/>
                  </a:cubicBezTo>
                  <a:cubicBezTo>
                    <a:pt x="1" y="9"/>
                    <a:pt x="2" y="11"/>
                    <a:pt x="4" y="11"/>
                  </a:cubicBezTo>
                  <a:cubicBezTo>
                    <a:pt x="4" y="12"/>
                    <a:pt x="5" y="12"/>
                    <a:pt x="6" y="12"/>
                  </a:cubicBezTo>
                  <a:cubicBezTo>
                    <a:pt x="7" y="12"/>
                    <a:pt x="9" y="11"/>
                    <a:pt x="10" y="11"/>
                  </a:cubicBezTo>
                  <a:cubicBezTo>
                    <a:pt x="12" y="10"/>
                    <a:pt x="12" y="9"/>
                    <a:pt x="13" y="8"/>
                  </a:cubicBezTo>
                  <a:cubicBezTo>
                    <a:pt x="13" y="6"/>
                    <a:pt x="13" y="5"/>
                    <a:pt x="12" y="5"/>
                  </a:cubicBezTo>
                  <a:cubicBezTo>
                    <a:pt x="12" y="4"/>
                    <a:pt x="12" y="4"/>
                    <a:pt x="11" y="3"/>
                  </a:cubicBezTo>
                  <a:cubicBezTo>
                    <a:pt x="10" y="2"/>
                    <a:pt x="9"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07"/>
            <p:cNvSpPr/>
            <p:nvPr/>
          </p:nvSpPr>
          <p:spPr bwMode="auto">
            <a:xfrm>
              <a:off x="8193079" y="4606159"/>
              <a:ext cx="85725" cy="57150"/>
            </a:xfrm>
            <a:custGeom>
              <a:gdLst>
                <a:gd name="T0" fmla="*/ 17 w 23"/>
                <a:gd name="T1" fmla="*/ 0 h 15"/>
                <a:gd name="T2" fmla="*/ 8 w 23"/>
                <a:gd name="T3" fmla="*/ 3 h 15"/>
                <a:gd name="T4" fmla="*/ 7 w 23"/>
                <a:gd name="T5" fmla="*/ 11 h 15"/>
                <a:gd name="T6" fmla="*/ 7 w 23"/>
                <a:gd name="T7" fmla="*/ 15 h 15"/>
                <a:gd name="T8" fmla="*/ 17 w 23"/>
                <a:gd name="T9" fmla="*/ 5 h 15"/>
                <a:gd name="T10" fmla="*/ 20 w 23"/>
                <a:gd name="T11" fmla="*/ 3 h 15"/>
                <a:gd name="T12" fmla="*/ 21 w 23"/>
                <a:gd name="T13" fmla="*/ 3 h 15"/>
                <a:gd name="T14" fmla="*/ 21 w 23"/>
                <a:gd name="T15" fmla="*/ 3 h 15"/>
                <a:gd name="T16" fmla="*/ 23 w 23"/>
                <a:gd name="T17" fmla="*/ 2 h 15"/>
                <a:gd name="T18" fmla="*/ 17 w 23"/>
                <a:gd name="T1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5">
                  <a:moveTo>
                    <a:pt x="17" y="0"/>
                  </a:moveTo>
                  <a:cubicBezTo>
                    <a:pt x="13" y="0"/>
                    <a:pt x="10" y="1"/>
                    <a:pt x="8" y="3"/>
                  </a:cubicBezTo>
                  <a:cubicBezTo>
                    <a:pt x="4" y="5"/>
                    <a:pt x="0" y="10"/>
                    <a:pt x="7" y="11"/>
                  </a:cubicBezTo>
                  <a:cubicBezTo>
                    <a:pt x="5" y="12"/>
                    <a:pt x="6" y="13"/>
                    <a:pt x="7" y="15"/>
                  </a:cubicBezTo>
                  <a:cubicBezTo>
                    <a:pt x="11" y="11"/>
                    <a:pt x="14" y="8"/>
                    <a:pt x="17" y="5"/>
                  </a:cubicBezTo>
                  <a:cubicBezTo>
                    <a:pt x="19" y="3"/>
                    <a:pt x="19" y="3"/>
                    <a:pt x="20" y="3"/>
                  </a:cubicBezTo>
                  <a:cubicBezTo>
                    <a:pt x="20" y="3"/>
                    <a:pt x="21" y="3"/>
                    <a:pt x="21" y="3"/>
                  </a:cubicBezTo>
                  <a:cubicBezTo>
                    <a:pt x="21" y="3"/>
                    <a:pt x="21" y="3"/>
                    <a:pt x="21" y="3"/>
                  </a:cubicBezTo>
                  <a:cubicBezTo>
                    <a:pt x="22" y="3"/>
                    <a:pt x="22" y="3"/>
                    <a:pt x="23" y="2"/>
                  </a:cubicBezTo>
                  <a:cubicBezTo>
                    <a:pt x="21" y="1"/>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08"/>
            <p:cNvSpPr/>
            <p:nvPr/>
          </p:nvSpPr>
          <p:spPr bwMode="auto">
            <a:xfrm>
              <a:off x="5599104" y="6104760"/>
              <a:ext cx="14288" cy="15875"/>
            </a:xfrm>
            <a:custGeom>
              <a:gdLst>
                <a:gd name="T0" fmla="*/ 0 w 4"/>
                <a:gd name="T1" fmla="*/ 0 h 4"/>
                <a:gd name="T2" fmla="*/ 3 w 4"/>
                <a:gd name="T3" fmla="*/ 4 h 4"/>
                <a:gd name="T4" fmla="*/ 4 w 4"/>
                <a:gd name="T5" fmla="*/ 4 h 4"/>
                <a:gd name="T6" fmla="*/ 0 w 4"/>
                <a:gd name="T7" fmla="*/ 0 h 4"/>
              </a:gdLst>
              <a:cxnLst>
                <a:cxn ang="0">
                  <a:pos x="T0" y="T1"/>
                </a:cxn>
                <a:cxn ang="0">
                  <a:pos x="T2" y="T3"/>
                </a:cxn>
                <a:cxn ang="0">
                  <a:pos x="T4" y="T5"/>
                </a:cxn>
                <a:cxn ang="0">
                  <a:pos x="T6" y="T7"/>
                </a:cxn>
              </a:cxnLst>
              <a:rect l="0" t="0" r="r" b="b"/>
              <a:pathLst>
                <a:path w="4" h="4">
                  <a:moveTo>
                    <a:pt x="0" y="0"/>
                  </a:moveTo>
                  <a:cubicBezTo>
                    <a:pt x="0" y="2"/>
                    <a:pt x="1" y="4"/>
                    <a:pt x="3" y="4"/>
                  </a:cubicBezTo>
                  <a:cubicBezTo>
                    <a:pt x="3" y="4"/>
                    <a:pt x="3" y="4"/>
                    <a:pt x="4" y="4"/>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309"/>
            <p:cNvSpPr/>
            <p:nvPr/>
          </p:nvSpPr>
          <p:spPr bwMode="auto">
            <a:xfrm>
              <a:off x="9255116" y="5914260"/>
              <a:ext cx="25400" cy="33338"/>
            </a:xfrm>
            <a:custGeom>
              <a:gdLst>
                <a:gd name="T0" fmla="*/ 7 w 7"/>
                <a:gd name="T1" fmla="*/ 0 h 9"/>
                <a:gd name="T2" fmla="*/ 5 w 7"/>
                <a:gd name="T3" fmla="*/ 2 h 9"/>
                <a:gd name="T4" fmla="*/ 5 w 7"/>
                <a:gd name="T5" fmla="*/ 3 h 9"/>
                <a:gd name="T6" fmla="*/ 3 w 7"/>
                <a:gd name="T7" fmla="*/ 5 h 9"/>
                <a:gd name="T8" fmla="*/ 2 w 7"/>
                <a:gd name="T9" fmla="*/ 6 h 9"/>
                <a:gd name="T10" fmla="*/ 0 w 7"/>
                <a:gd name="T11" fmla="*/ 9 h 9"/>
                <a:gd name="T12" fmla="*/ 7 w 7"/>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7" h="9">
                  <a:moveTo>
                    <a:pt x="7" y="0"/>
                  </a:moveTo>
                  <a:cubicBezTo>
                    <a:pt x="6" y="1"/>
                    <a:pt x="6" y="1"/>
                    <a:pt x="5" y="2"/>
                  </a:cubicBezTo>
                  <a:cubicBezTo>
                    <a:pt x="5" y="3"/>
                    <a:pt x="5" y="3"/>
                    <a:pt x="5" y="3"/>
                  </a:cubicBezTo>
                  <a:cubicBezTo>
                    <a:pt x="4" y="3"/>
                    <a:pt x="3" y="4"/>
                    <a:pt x="3" y="5"/>
                  </a:cubicBezTo>
                  <a:cubicBezTo>
                    <a:pt x="2" y="5"/>
                    <a:pt x="2" y="5"/>
                    <a:pt x="2" y="6"/>
                  </a:cubicBezTo>
                  <a:cubicBezTo>
                    <a:pt x="1" y="7"/>
                    <a:pt x="0" y="8"/>
                    <a:pt x="0" y="9"/>
                  </a:cubicBezTo>
                  <a:cubicBezTo>
                    <a:pt x="2" y="6"/>
                    <a:pt x="5"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310"/>
            <p:cNvSpPr/>
            <p:nvPr/>
          </p:nvSpPr>
          <p:spPr bwMode="auto">
            <a:xfrm>
              <a:off x="9321791" y="5872985"/>
              <a:ext cx="23813" cy="14288"/>
            </a:xfrm>
            <a:custGeom>
              <a:gdLst>
                <a:gd name="T0" fmla="*/ 5 w 6"/>
                <a:gd name="T1" fmla="*/ 0 h 4"/>
                <a:gd name="T2" fmla="*/ 0 w 6"/>
                <a:gd name="T3" fmla="*/ 4 h 4"/>
                <a:gd name="T4" fmla="*/ 5 w 6"/>
                <a:gd name="T5" fmla="*/ 0 h 4"/>
              </a:gdLst>
              <a:cxnLst>
                <a:cxn ang="0">
                  <a:pos x="T0" y="T1"/>
                </a:cxn>
                <a:cxn ang="0">
                  <a:pos x="T2" y="T3"/>
                </a:cxn>
                <a:cxn ang="0">
                  <a:pos x="T4" y="T5"/>
                </a:cxn>
              </a:cxnLst>
              <a:rect l="0" t="0" r="r" b="b"/>
              <a:pathLst>
                <a:path w="6" h="4">
                  <a:moveTo>
                    <a:pt x="5" y="0"/>
                  </a:moveTo>
                  <a:cubicBezTo>
                    <a:pt x="4" y="2"/>
                    <a:pt x="2" y="3"/>
                    <a:pt x="0" y="4"/>
                  </a:cubicBezTo>
                  <a:cubicBezTo>
                    <a:pt x="3" y="3"/>
                    <a:pt x="6"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311"/>
            <p:cNvSpPr/>
            <p:nvPr/>
          </p:nvSpPr>
          <p:spPr bwMode="auto">
            <a:xfrm>
              <a:off x="9161454" y="2628134"/>
              <a:ext cx="11113" cy="3175"/>
            </a:xfrm>
            <a:custGeom>
              <a:gdLst>
                <a:gd name="T0" fmla="*/ 7 w 7"/>
                <a:gd name="T1" fmla="*/ 0 h 2"/>
                <a:gd name="T2" fmla="*/ 4 w 7"/>
                <a:gd name="T3" fmla="*/ 0 h 2"/>
                <a:gd name="T4" fmla="*/ 2 w 7"/>
                <a:gd name="T5" fmla="*/ 0 h 2"/>
                <a:gd name="T6" fmla="*/ 2 w 7"/>
                <a:gd name="T7" fmla="*/ 0 h 2"/>
                <a:gd name="T8" fmla="*/ 0 w 7"/>
                <a:gd name="T9" fmla="*/ 0 h 2"/>
                <a:gd name="T10" fmla="*/ 0 w 7"/>
                <a:gd name="T11" fmla="*/ 2 h 2"/>
                <a:gd name="T12" fmla="*/ 2 w 7"/>
                <a:gd name="T13" fmla="*/ 2 h 2"/>
                <a:gd name="T14" fmla="*/ 2 w 7"/>
                <a:gd name="T15" fmla="*/ 2 h 2"/>
                <a:gd name="T16" fmla="*/ 2 w 7"/>
                <a:gd name="T17" fmla="*/ 0 h 2"/>
                <a:gd name="T18" fmla="*/ 4 w 7"/>
                <a:gd name="T19" fmla="*/ 0 h 2"/>
                <a:gd name="T20" fmla="*/ 7 w 7"/>
                <a:gd name="T21" fmla="*/ 0 h 2"/>
                <a:gd name="T22" fmla="*/ 7 w 7"/>
                <a:gd name="T23"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7" y="0"/>
                  </a:moveTo>
                  <a:lnTo>
                    <a:pt x="4" y="0"/>
                  </a:lnTo>
                  <a:lnTo>
                    <a:pt x="2" y="0"/>
                  </a:lnTo>
                  <a:lnTo>
                    <a:pt x="2" y="0"/>
                  </a:lnTo>
                  <a:lnTo>
                    <a:pt x="0" y="0"/>
                  </a:lnTo>
                  <a:lnTo>
                    <a:pt x="0" y="2"/>
                  </a:lnTo>
                  <a:lnTo>
                    <a:pt x="2" y="2"/>
                  </a:lnTo>
                  <a:lnTo>
                    <a:pt x="2" y="2"/>
                  </a:lnTo>
                  <a:lnTo>
                    <a:pt x="2" y="0"/>
                  </a:lnTo>
                  <a:lnTo>
                    <a:pt x="4"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312"/>
            <p:cNvSpPr/>
            <p:nvPr/>
          </p:nvSpPr>
          <p:spPr bwMode="auto">
            <a:xfrm>
              <a:off x="9161454" y="2628134"/>
              <a:ext cx="11113" cy="3175"/>
            </a:xfrm>
            <a:custGeom>
              <a:gdLst>
                <a:gd name="T0" fmla="*/ 7 w 7"/>
                <a:gd name="T1" fmla="*/ 0 h 2"/>
                <a:gd name="T2" fmla="*/ 4 w 7"/>
                <a:gd name="T3" fmla="*/ 0 h 2"/>
                <a:gd name="T4" fmla="*/ 2 w 7"/>
                <a:gd name="T5" fmla="*/ 0 h 2"/>
                <a:gd name="T6" fmla="*/ 2 w 7"/>
                <a:gd name="T7" fmla="*/ 0 h 2"/>
                <a:gd name="T8" fmla="*/ 0 w 7"/>
                <a:gd name="T9" fmla="*/ 0 h 2"/>
                <a:gd name="T10" fmla="*/ 0 w 7"/>
                <a:gd name="T11" fmla="*/ 2 h 2"/>
                <a:gd name="T12" fmla="*/ 2 w 7"/>
                <a:gd name="T13" fmla="*/ 2 h 2"/>
                <a:gd name="T14" fmla="*/ 2 w 7"/>
                <a:gd name="T15" fmla="*/ 2 h 2"/>
                <a:gd name="T16" fmla="*/ 2 w 7"/>
                <a:gd name="T17" fmla="*/ 0 h 2"/>
                <a:gd name="T18" fmla="*/ 4 w 7"/>
                <a:gd name="T19" fmla="*/ 0 h 2"/>
                <a:gd name="T20" fmla="*/ 7 w 7"/>
                <a:gd name="T21" fmla="*/ 0 h 2"/>
                <a:gd name="T22" fmla="*/ 7 w 7"/>
                <a:gd name="T23"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7" y="0"/>
                  </a:moveTo>
                  <a:lnTo>
                    <a:pt x="4" y="0"/>
                  </a:lnTo>
                  <a:lnTo>
                    <a:pt x="2" y="0"/>
                  </a:lnTo>
                  <a:lnTo>
                    <a:pt x="2" y="0"/>
                  </a:lnTo>
                  <a:lnTo>
                    <a:pt x="0" y="0"/>
                  </a:lnTo>
                  <a:lnTo>
                    <a:pt x="0" y="2"/>
                  </a:lnTo>
                  <a:lnTo>
                    <a:pt x="2" y="2"/>
                  </a:lnTo>
                  <a:lnTo>
                    <a:pt x="2" y="2"/>
                  </a:lnTo>
                  <a:lnTo>
                    <a:pt x="2" y="0"/>
                  </a:lnTo>
                  <a:lnTo>
                    <a:pt x="4" y="0"/>
                  </a:lnTo>
                  <a:lnTo>
                    <a:pt x="7"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313"/>
            <p:cNvSpPr/>
            <p:nvPr/>
          </p:nvSpPr>
          <p:spPr bwMode="auto">
            <a:xfrm>
              <a:off x="7351704" y="1462909"/>
              <a:ext cx="63500" cy="79375"/>
            </a:xfrm>
            <a:custGeom>
              <a:gdLst>
                <a:gd name="T0" fmla="*/ 8 w 17"/>
                <a:gd name="T1" fmla="*/ 0 h 21"/>
                <a:gd name="T2" fmla="*/ 2 w 17"/>
                <a:gd name="T3" fmla="*/ 12 h 21"/>
                <a:gd name="T4" fmla="*/ 6 w 17"/>
                <a:gd name="T5" fmla="*/ 18 h 21"/>
                <a:gd name="T6" fmla="*/ 12 w 17"/>
                <a:gd name="T7" fmla="*/ 21 h 21"/>
                <a:gd name="T8" fmla="*/ 11 w 17"/>
                <a:gd name="T9" fmla="*/ 18 h 21"/>
                <a:gd name="T10" fmla="*/ 10 w 17"/>
                <a:gd name="T11" fmla="*/ 17 h 21"/>
                <a:gd name="T12" fmla="*/ 10 w 17"/>
                <a:gd name="T13" fmla="*/ 16 h 21"/>
                <a:gd name="T14" fmla="*/ 11 w 17"/>
                <a:gd name="T15" fmla="*/ 14 h 21"/>
                <a:gd name="T16" fmla="*/ 15 w 17"/>
                <a:gd name="T17" fmla="*/ 10 h 21"/>
                <a:gd name="T18" fmla="*/ 15 w 17"/>
                <a:gd name="T19" fmla="*/ 10 h 21"/>
                <a:gd name="T20" fmla="*/ 13 w 17"/>
                <a:gd name="T21" fmla="*/ 12 h 21"/>
                <a:gd name="T22" fmla="*/ 13 w 17"/>
                <a:gd name="T23" fmla="*/ 12 h 21"/>
                <a:gd name="T24" fmla="*/ 12 w 17"/>
                <a:gd name="T25" fmla="*/ 12 h 21"/>
                <a:gd name="T26" fmla="*/ 11 w 17"/>
                <a:gd name="T27" fmla="*/ 12 h 21"/>
                <a:gd name="T28" fmla="*/ 11 w 17"/>
                <a:gd name="T29" fmla="*/ 12 h 21"/>
                <a:gd name="T30" fmla="*/ 9 w 17"/>
                <a:gd name="T31" fmla="*/ 13 h 21"/>
                <a:gd name="T32" fmla="*/ 7 w 17"/>
                <a:gd name="T33" fmla="*/ 15 h 21"/>
                <a:gd name="T34" fmla="*/ 6 w 17"/>
                <a:gd name="T35" fmla="*/ 15 h 21"/>
                <a:gd name="T36" fmla="*/ 5 w 17"/>
                <a:gd name="T37" fmla="*/ 12 h 21"/>
                <a:gd name="T38" fmla="*/ 5 w 17"/>
                <a:gd name="T39" fmla="*/ 8 h 21"/>
                <a:gd name="T40" fmla="*/ 14 w 17"/>
                <a:gd name="T41" fmla="*/ 3 h 21"/>
                <a:gd name="T42" fmla="*/ 13 w 17"/>
                <a:gd name="T43" fmla="*/ 3 h 21"/>
                <a:gd name="T44" fmla="*/ 12 w 17"/>
                <a:gd name="T45" fmla="*/ 3 h 21"/>
                <a:gd name="T46" fmla="*/ 11 w 17"/>
                <a:gd name="T47" fmla="*/ 3 h 21"/>
                <a:gd name="T48" fmla="*/ 11 w 17"/>
                <a:gd name="T49" fmla="*/ 3 h 21"/>
                <a:gd name="T50" fmla="*/ 8 w 17"/>
                <a:gd name="T51"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21">
                  <a:moveTo>
                    <a:pt x="8" y="0"/>
                  </a:moveTo>
                  <a:cubicBezTo>
                    <a:pt x="6" y="4"/>
                    <a:pt x="4" y="8"/>
                    <a:pt x="2" y="12"/>
                  </a:cubicBezTo>
                  <a:cubicBezTo>
                    <a:pt x="0" y="16"/>
                    <a:pt x="5" y="16"/>
                    <a:pt x="6" y="18"/>
                  </a:cubicBezTo>
                  <a:cubicBezTo>
                    <a:pt x="9" y="20"/>
                    <a:pt x="8" y="21"/>
                    <a:pt x="12" y="21"/>
                  </a:cubicBezTo>
                  <a:cubicBezTo>
                    <a:pt x="12" y="20"/>
                    <a:pt x="11" y="19"/>
                    <a:pt x="11" y="18"/>
                  </a:cubicBezTo>
                  <a:cubicBezTo>
                    <a:pt x="10" y="17"/>
                    <a:pt x="10" y="17"/>
                    <a:pt x="10" y="17"/>
                  </a:cubicBezTo>
                  <a:cubicBezTo>
                    <a:pt x="10" y="16"/>
                    <a:pt x="10" y="16"/>
                    <a:pt x="10" y="16"/>
                  </a:cubicBezTo>
                  <a:cubicBezTo>
                    <a:pt x="10" y="14"/>
                    <a:pt x="9" y="15"/>
                    <a:pt x="11" y="14"/>
                  </a:cubicBezTo>
                  <a:cubicBezTo>
                    <a:pt x="12" y="13"/>
                    <a:pt x="17" y="10"/>
                    <a:pt x="15" y="10"/>
                  </a:cubicBezTo>
                  <a:cubicBezTo>
                    <a:pt x="15" y="10"/>
                    <a:pt x="15" y="10"/>
                    <a:pt x="15" y="10"/>
                  </a:cubicBezTo>
                  <a:cubicBezTo>
                    <a:pt x="14" y="10"/>
                    <a:pt x="14" y="12"/>
                    <a:pt x="13" y="12"/>
                  </a:cubicBezTo>
                  <a:cubicBezTo>
                    <a:pt x="13" y="12"/>
                    <a:pt x="13" y="12"/>
                    <a:pt x="13" y="12"/>
                  </a:cubicBezTo>
                  <a:cubicBezTo>
                    <a:pt x="12" y="12"/>
                    <a:pt x="12" y="12"/>
                    <a:pt x="12" y="12"/>
                  </a:cubicBezTo>
                  <a:cubicBezTo>
                    <a:pt x="12" y="12"/>
                    <a:pt x="12" y="12"/>
                    <a:pt x="11" y="12"/>
                  </a:cubicBezTo>
                  <a:cubicBezTo>
                    <a:pt x="11" y="12"/>
                    <a:pt x="11" y="12"/>
                    <a:pt x="11" y="12"/>
                  </a:cubicBezTo>
                  <a:cubicBezTo>
                    <a:pt x="10" y="12"/>
                    <a:pt x="9" y="13"/>
                    <a:pt x="9" y="13"/>
                  </a:cubicBezTo>
                  <a:cubicBezTo>
                    <a:pt x="8" y="14"/>
                    <a:pt x="7" y="15"/>
                    <a:pt x="7" y="15"/>
                  </a:cubicBezTo>
                  <a:cubicBezTo>
                    <a:pt x="7" y="15"/>
                    <a:pt x="6" y="15"/>
                    <a:pt x="6" y="15"/>
                  </a:cubicBezTo>
                  <a:cubicBezTo>
                    <a:pt x="2" y="14"/>
                    <a:pt x="5" y="13"/>
                    <a:pt x="5" y="12"/>
                  </a:cubicBezTo>
                  <a:cubicBezTo>
                    <a:pt x="5" y="11"/>
                    <a:pt x="5" y="9"/>
                    <a:pt x="5" y="8"/>
                  </a:cubicBezTo>
                  <a:cubicBezTo>
                    <a:pt x="6" y="5"/>
                    <a:pt x="11" y="6"/>
                    <a:pt x="14" y="3"/>
                  </a:cubicBezTo>
                  <a:cubicBezTo>
                    <a:pt x="13" y="3"/>
                    <a:pt x="13" y="3"/>
                    <a:pt x="13" y="3"/>
                  </a:cubicBezTo>
                  <a:cubicBezTo>
                    <a:pt x="13" y="3"/>
                    <a:pt x="12" y="3"/>
                    <a:pt x="12" y="3"/>
                  </a:cubicBezTo>
                  <a:cubicBezTo>
                    <a:pt x="11" y="3"/>
                    <a:pt x="11" y="3"/>
                    <a:pt x="11" y="3"/>
                  </a:cubicBezTo>
                  <a:cubicBezTo>
                    <a:pt x="11" y="3"/>
                    <a:pt x="11" y="3"/>
                    <a:pt x="11" y="3"/>
                  </a:cubicBezTo>
                  <a:cubicBezTo>
                    <a:pt x="10" y="3"/>
                    <a:pt x="11"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314"/>
            <p:cNvSpPr/>
            <p:nvPr/>
          </p:nvSpPr>
          <p:spPr bwMode="auto">
            <a:xfrm>
              <a:off x="9731366" y="2153472"/>
              <a:ext cx="4763" cy="0"/>
            </a:xfrm>
            <a:custGeom>
              <a:gdLst>
                <a:gd name="T0" fmla="*/ 0 w 1"/>
                <a:gd name="T1" fmla="*/ 0 w 1"/>
                <a:gd name="T2" fmla="*/ 0 w 1"/>
                <a:gd name="T3" fmla="*/ 0 w 1"/>
                <a:gd name="T4" fmla="*/ 1 w 1"/>
                <a:gd name="T5" fmla="*/ 1 w 1"/>
                <a:gd name="T6" fmla="*/ 1 w 1"/>
                <a:gd name="T7" fmla="*/ 0 w 1"/>
              </a:gd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0" y="0"/>
                  </a:move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315"/>
            <p:cNvSpPr>
              <a:spLocks noChangeArrowheads="1"/>
            </p:cNvSpPr>
            <p:nvPr/>
          </p:nvSpPr>
          <p:spPr bwMode="auto">
            <a:xfrm>
              <a:off x="8305791" y="6393685"/>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316"/>
            <p:cNvSpPr/>
            <p:nvPr/>
          </p:nvSpPr>
          <p:spPr bwMode="auto">
            <a:xfrm flipH="1">
              <a:off x="8305791" y="6393685"/>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317"/>
            <p:cNvSpPr/>
            <p:nvPr/>
          </p:nvSpPr>
          <p:spPr bwMode="auto">
            <a:xfrm>
              <a:off x="8721716" y="5158610"/>
              <a:ext cx="11113" cy="26988"/>
            </a:xfrm>
            <a:custGeom>
              <a:gdLst>
                <a:gd name="T0" fmla="*/ 3 w 3"/>
                <a:gd name="T1" fmla="*/ 0 h 7"/>
                <a:gd name="T2" fmla="*/ 0 w 3"/>
                <a:gd name="T3" fmla="*/ 5 h 7"/>
                <a:gd name="T4" fmla="*/ 0 w 3"/>
                <a:gd name="T5" fmla="*/ 5 h 7"/>
                <a:gd name="T6" fmla="*/ 0 w 3"/>
                <a:gd name="T7" fmla="*/ 5 h 7"/>
                <a:gd name="T8" fmla="*/ 0 w 3"/>
                <a:gd name="T9" fmla="*/ 7 h 7"/>
                <a:gd name="T10" fmla="*/ 0 w 3"/>
                <a:gd name="T11" fmla="*/ 7 h 7"/>
                <a:gd name="T12" fmla="*/ 0 w 3"/>
                <a:gd name="T13" fmla="*/ 7 h 7"/>
                <a:gd name="T14" fmla="*/ 1 w 3"/>
                <a:gd name="T15" fmla="*/ 6 h 7"/>
                <a:gd name="T16" fmla="*/ 3 w 3"/>
                <a:gd name="T17" fmla="*/ 0 h 7"/>
                <a:gd name="T18" fmla="*/ 3 w 3"/>
                <a:gd name="T1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0"/>
                  </a:moveTo>
                  <a:cubicBezTo>
                    <a:pt x="2" y="2"/>
                    <a:pt x="1" y="3"/>
                    <a:pt x="0" y="5"/>
                  </a:cubicBezTo>
                  <a:cubicBezTo>
                    <a:pt x="0" y="5"/>
                    <a:pt x="0" y="5"/>
                    <a:pt x="0" y="5"/>
                  </a:cubicBezTo>
                  <a:cubicBezTo>
                    <a:pt x="0" y="5"/>
                    <a:pt x="0" y="5"/>
                    <a:pt x="0" y="5"/>
                  </a:cubicBezTo>
                  <a:cubicBezTo>
                    <a:pt x="0" y="5"/>
                    <a:pt x="0" y="6"/>
                    <a:pt x="0" y="7"/>
                  </a:cubicBezTo>
                  <a:cubicBezTo>
                    <a:pt x="0" y="7"/>
                    <a:pt x="0" y="7"/>
                    <a:pt x="0" y="7"/>
                  </a:cubicBezTo>
                  <a:cubicBezTo>
                    <a:pt x="0" y="7"/>
                    <a:pt x="0" y="7"/>
                    <a:pt x="0" y="7"/>
                  </a:cubicBezTo>
                  <a:cubicBezTo>
                    <a:pt x="1" y="6"/>
                    <a:pt x="1" y="6"/>
                    <a:pt x="1" y="6"/>
                  </a:cubicBezTo>
                  <a:cubicBezTo>
                    <a:pt x="1" y="4"/>
                    <a:pt x="2" y="2"/>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318"/>
            <p:cNvSpPr/>
            <p:nvPr/>
          </p:nvSpPr>
          <p:spPr bwMode="auto">
            <a:xfrm flipH="1">
              <a:off x="9032866" y="5117335"/>
              <a:ext cx="0" cy="3175"/>
            </a:xfrm>
            <a:custGeom>
              <a:gdLst>
                <a:gd name="T0" fmla="*/ 0 h 2"/>
                <a:gd name="T1" fmla="*/ 0 h 2"/>
                <a:gd name="T2" fmla="*/ 2 h 2"/>
                <a:gd name="T3" fmla="*/ 0 h 2"/>
                <a:gd name="T4" fmla="*/ 0 h 2"/>
              </a:gd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19"/>
            <p:cNvSpPr/>
            <p:nvPr/>
          </p:nvSpPr>
          <p:spPr bwMode="auto">
            <a:xfrm flipH="1">
              <a:off x="9032866" y="5117335"/>
              <a:ext cx="0" cy="3175"/>
            </a:xfrm>
            <a:custGeom>
              <a:gdLst>
                <a:gd name="T0" fmla="*/ 0 h 2"/>
                <a:gd name="T1" fmla="*/ 0 h 2"/>
                <a:gd name="T2" fmla="*/ 2 h 2"/>
                <a:gd name="T3" fmla="*/ 0 h 2"/>
                <a:gd name="T4" fmla="*/ 0 h 2"/>
              </a:gd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320"/>
            <p:cNvSpPr/>
            <p:nvPr/>
          </p:nvSpPr>
          <p:spPr bwMode="auto">
            <a:xfrm flipH="1">
              <a:off x="9678979" y="7438260"/>
              <a:ext cx="0" cy="0"/>
            </a:xfrm>
            <a:custGeom>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21"/>
            <p:cNvSpPr/>
            <p:nvPr/>
          </p:nvSpPr>
          <p:spPr bwMode="auto">
            <a:xfrm>
              <a:off x="8462954" y="8117710"/>
              <a:ext cx="19050" cy="15875"/>
            </a:xfrm>
            <a:custGeom>
              <a:gdLst>
                <a:gd name="T0" fmla="*/ 0 w 5"/>
                <a:gd name="T1" fmla="*/ 0 h 4"/>
                <a:gd name="T2" fmla="*/ 4 w 5"/>
                <a:gd name="T3" fmla="*/ 4 h 4"/>
                <a:gd name="T4" fmla="*/ 0 w 5"/>
                <a:gd name="T5" fmla="*/ 0 h 4"/>
              </a:gdLst>
              <a:cxnLst>
                <a:cxn ang="0">
                  <a:pos x="T0" y="T1"/>
                </a:cxn>
                <a:cxn ang="0">
                  <a:pos x="T2" y="T3"/>
                </a:cxn>
                <a:cxn ang="0">
                  <a:pos x="T4" y="T5"/>
                </a:cxn>
              </a:cxnLst>
              <a:rect l="0" t="0" r="r" b="b"/>
              <a:pathLst>
                <a:path w="5" h="4">
                  <a:moveTo>
                    <a:pt x="0" y="0"/>
                  </a:moveTo>
                  <a:cubicBezTo>
                    <a:pt x="0" y="2"/>
                    <a:pt x="3" y="4"/>
                    <a:pt x="4" y="4"/>
                  </a:cubicBezTo>
                  <a:cubicBezTo>
                    <a:pt x="5" y="4"/>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322"/>
            <p:cNvSpPr>
              <a:spLocks noChangeArrowheads="1"/>
            </p:cNvSpPr>
            <p:nvPr/>
          </p:nvSpPr>
          <p:spPr bwMode="auto">
            <a:xfrm>
              <a:off x="9855191" y="5031610"/>
              <a:ext cx="1588" cy="15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23"/>
            <p:cNvSpPr/>
            <p:nvPr/>
          </p:nvSpPr>
          <p:spPr bwMode="auto">
            <a:xfrm flipH="1">
              <a:off x="9480541" y="5331647"/>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24"/>
            <p:cNvSpPr/>
            <p:nvPr/>
          </p:nvSpPr>
          <p:spPr bwMode="auto">
            <a:xfrm flipH="1">
              <a:off x="9480541" y="5331647"/>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25"/>
            <p:cNvSpPr>
              <a:spLocks noEditPoints="1"/>
            </p:cNvSpPr>
            <p:nvPr/>
          </p:nvSpPr>
          <p:spPr bwMode="auto">
            <a:xfrm flipH="1">
              <a:off x="9480541" y="5315772"/>
              <a:ext cx="0" cy="0"/>
            </a:xfrm>
            <a:custGeom>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close/>
                  <a:moveTo>
                    <a:pt x="0" y="0"/>
                  </a:move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26"/>
            <p:cNvSpPr>
              <a:spLocks noEditPoints="1"/>
            </p:cNvSpPr>
            <p:nvPr/>
          </p:nvSpPr>
          <p:spPr bwMode="auto">
            <a:xfrm flipH="1">
              <a:off x="9480541" y="5315772"/>
              <a:ext cx="0" cy="0"/>
            </a:xfrm>
            <a:custGeom>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27"/>
            <p:cNvSpPr/>
            <p:nvPr/>
          </p:nvSpPr>
          <p:spPr bwMode="auto">
            <a:xfrm flipH="1">
              <a:off x="9186854" y="5018910"/>
              <a:ext cx="0" cy="0"/>
            </a:xfrm>
            <a:custGeom>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28"/>
            <p:cNvSpPr/>
            <p:nvPr/>
          </p:nvSpPr>
          <p:spPr bwMode="auto">
            <a:xfrm flipH="1">
              <a:off x="9186854" y="5018910"/>
              <a:ext cx="0" cy="0"/>
            </a:xfrm>
            <a:custGeom>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29"/>
            <p:cNvSpPr/>
            <p:nvPr/>
          </p:nvSpPr>
          <p:spPr bwMode="auto">
            <a:xfrm flipH="1">
              <a:off x="9480541" y="5315772"/>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330"/>
            <p:cNvSpPr/>
            <p:nvPr/>
          </p:nvSpPr>
          <p:spPr bwMode="auto">
            <a:xfrm flipH="1">
              <a:off x="9480541" y="5315772"/>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31"/>
            <p:cNvSpPr>
              <a:spLocks noEditPoints="1"/>
            </p:cNvSpPr>
            <p:nvPr/>
          </p:nvSpPr>
          <p:spPr bwMode="auto">
            <a:xfrm>
              <a:off x="9480541" y="5342760"/>
              <a:ext cx="3175" cy="11113"/>
            </a:xfrm>
            <a:custGeom>
              <a:gdLst>
                <a:gd name="T0" fmla="*/ 1 w 1"/>
                <a:gd name="T1" fmla="*/ 0 h 3"/>
                <a:gd name="T2" fmla="*/ 0 w 1"/>
                <a:gd name="T3" fmla="*/ 3 h 3"/>
                <a:gd name="T4" fmla="*/ 1 w 1"/>
                <a:gd name="T5" fmla="*/ 0 h 3"/>
                <a:gd name="T6" fmla="*/ 1 w 1"/>
                <a:gd name="T7" fmla="*/ 0 h 3"/>
                <a:gd name="T8" fmla="*/ 1 w 1"/>
                <a:gd name="T9" fmla="*/ 0 h 3"/>
                <a:gd name="T10" fmla="*/ 1 w 1"/>
                <a:gd name="T11" fmla="*/ 0 h 3"/>
              </a:gdLst>
              <a:cxnLst>
                <a:cxn ang="0">
                  <a:pos x="T0" y="T1"/>
                </a:cxn>
                <a:cxn ang="0">
                  <a:pos x="T2" y="T3"/>
                </a:cxn>
                <a:cxn ang="0">
                  <a:pos x="T4" y="T5"/>
                </a:cxn>
                <a:cxn ang="0">
                  <a:pos x="T6" y="T7"/>
                </a:cxn>
                <a:cxn ang="0">
                  <a:pos x="T8" y="T9"/>
                </a:cxn>
                <a:cxn ang="0">
                  <a:pos x="T10" y="T11"/>
                </a:cxn>
              </a:cxnLst>
              <a:rect l="0" t="0" r="r" b="b"/>
              <a:pathLst>
                <a:path w="1" h="3">
                  <a:moveTo>
                    <a:pt x="1" y="0"/>
                  </a:moveTo>
                  <a:cubicBezTo>
                    <a:pt x="1" y="1"/>
                    <a:pt x="0" y="2"/>
                    <a:pt x="0" y="3"/>
                  </a:cubicBezTo>
                  <a:cubicBezTo>
                    <a:pt x="0" y="2"/>
                    <a:pt x="1" y="1"/>
                    <a:pt x="1" y="0"/>
                  </a:cubicBezTo>
                  <a:moveTo>
                    <a:pt x="1" y="0"/>
                  </a:move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32"/>
            <p:cNvSpPr/>
            <p:nvPr/>
          </p:nvSpPr>
          <p:spPr bwMode="auto">
            <a:xfrm flipH="1">
              <a:off x="9863129" y="5031610"/>
              <a:ext cx="0" cy="0"/>
            </a:xfrm>
            <a:custGeom>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33"/>
            <p:cNvSpPr/>
            <p:nvPr/>
          </p:nvSpPr>
          <p:spPr bwMode="auto">
            <a:xfrm>
              <a:off x="9802804" y="5304660"/>
              <a:ext cx="19050" cy="15875"/>
            </a:xfrm>
            <a:custGeom>
              <a:gdLst>
                <a:gd name="T0" fmla="*/ 5 w 5"/>
                <a:gd name="T1" fmla="*/ 0 h 4"/>
                <a:gd name="T2" fmla="*/ 0 w 5"/>
                <a:gd name="T3" fmla="*/ 3 h 4"/>
                <a:gd name="T4" fmla="*/ 5 w 5"/>
                <a:gd name="T5" fmla="*/ 4 h 4"/>
                <a:gd name="T6" fmla="*/ 5 w 5"/>
                <a:gd name="T7" fmla="*/ 0 h 4"/>
              </a:gdLst>
              <a:cxnLst>
                <a:cxn ang="0">
                  <a:pos x="T0" y="T1"/>
                </a:cxn>
                <a:cxn ang="0">
                  <a:pos x="T2" y="T3"/>
                </a:cxn>
                <a:cxn ang="0">
                  <a:pos x="T4" y="T5"/>
                </a:cxn>
                <a:cxn ang="0">
                  <a:pos x="T6" y="T7"/>
                </a:cxn>
              </a:cxnLst>
              <a:rect l="0" t="0" r="r" b="b"/>
              <a:pathLst>
                <a:path w="5" h="4">
                  <a:moveTo>
                    <a:pt x="5" y="0"/>
                  </a:moveTo>
                  <a:cubicBezTo>
                    <a:pt x="3" y="2"/>
                    <a:pt x="2" y="3"/>
                    <a:pt x="0" y="3"/>
                  </a:cubicBezTo>
                  <a:cubicBezTo>
                    <a:pt x="2" y="4"/>
                    <a:pt x="3" y="4"/>
                    <a:pt x="5" y="4"/>
                  </a:cubicBezTo>
                  <a:cubicBezTo>
                    <a:pt x="5"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34"/>
            <p:cNvSpPr/>
            <p:nvPr/>
          </p:nvSpPr>
          <p:spPr bwMode="auto">
            <a:xfrm>
              <a:off x="9758354" y="5298310"/>
              <a:ext cx="22225" cy="14288"/>
            </a:xfrm>
            <a:custGeom>
              <a:gdLst>
                <a:gd name="T0" fmla="*/ 4 w 6"/>
                <a:gd name="T1" fmla="*/ 0 h 4"/>
                <a:gd name="T2" fmla="*/ 0 w 6"/>
                <a:gd name="T3" fmla="*/ 3 h 4"/>
                <a:gd name="T4" fmla="*/ 3 w 6"/>
                <a:gd name="T5" fmla="*/ 4 h 4"/>
                <a:gd name="T6" fmla="*/ 5 w 6"/>
                <a:gd name="T7" fmla="*/ 0 h 4"/>
                <a:gd name="T8" fmla="*/ 4 w 6"/>
                <a:gd name="T9" fmla="*/ 0 h 4"/>
              </a:gdLst>
              <a:cxnLst>
                <a:cxn ang="0">
                  <a:pos x="T0" y="T1"/>
                </a:cxn>
                <a:cxn ang="0">
                  <a:pos x="T2" y="T3"/>
                </a:cxn>
                <a:cxn ang="0">
                  <a:pos x="T4" y="T5"/>
                </a:cxn>
                <a:cxn ang="0">
                  <a:pos x="T6" y="T7"/>
                </a:cxn>
                <a:cxn ang="0">
                  <a:pos x="T8" y="T9"/>
                </a:cxn>
              </a:cxnLst>
              <a:rect l="0" t="0" r="r" b="b"/>
              <a:pathLst>
                <a:path w="6" h="4">
                  <a:moveTo>
                    <a:pt x="4" y="0"/>
                  </a:moveTo>
                  <a:cubicBezTo>
                    <a:pt x="2" y="0"/>
                    <a:pt x="1" y="2"/>
                    <a:pt x="0" y="3"/>
                  </a:cubicBezTo>
                  <a:cubicBezTo>
                    <a:pt x="1" y="3"/>
                    <a:pt x="2" y="4"/>
                    <a:pt x="3" y="4"/>
                  </a:cubicBezTo>
                  <a:cubicBezTo>
                    <a:pt x="5" y="4"/>
                    <a:pt x="6" y="3"/>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35"/>
            <p:cNvSpPr/>
            <p:nvPr/>
          </p:nvSpPr>
          <p:spPr bwMode="auto">
            <a:xfrm>
              <a:off x="9494829" y="5331647"/>
              <a:ext cx="165100" cy="52388"/>
            </a:xfrm>
            <a:custGeom>
              <a:gdLst>
                <a:gd name="T0" fmla="*/ 35 w 44"/>
                <a:gd name="T1" fmla="*/ 0 h 14"/>
                <a:gd name="T2" fmla="*/ 20 w 44"/>
                <a:gd name="T3" fmla="*/ 5 h 14"/>
                <a:gd name="T4" fmla="*/ 13 w 44"/>
                <a:gd name="T5" fmla="*/ 6 h 14"/>
                <a:gd name="T6" fmla="*/ 11 w 44"/>
                <a:gd name="T7" fmla="*/ 6 h 14"/>
                <a:gd name="T8" fmla="*/ 9 w 44"/>
                <a:gd name="T9" fmla="*/ 6 h 14"/>
                <a:gd name="T10" fmla="*/ 8 w 44"/>
                <a:gd name="T11" fmla="*/ 6 h 14"/>
                <a:gd name="T12" fmla="*/ 3 w 44"/>
                <a:gd name="T13" fmla="*/ 9 h 14"/>
                <a:gd name="T14" fmla="*/ 2 w 44"/>
                <a:gd name="T15" fmla="*/ 8 h 14"/>
                <a:gd name="T16" fmla="*/ 2 w 44"/>
                <a:gd name="T17" fmla="*/ 8 h 14"/>
                <a:gd name="T18" fmla="*/ 1 w 44"/>
                <a:gd name="T19" fmla="*/ 9 h 14"/>
                <a:gd name="T20" fmla="*/ 1 w 44"/>
                <a:gd name="T21" fmla="*/ 9 h 14"/>
                <a:gd name="T22" fmla="*/ 0 w 44"/>
                <a:gd name="T23" fmla="*/ 9 h 14"/>
                <a:gd name="T24" fmla="*/ 0 w 44"/>
                <a:gd name="T25" fmla="*/ 10 h 14"/>
                <a:gd name="T26" fmla="*/ 1 w 44"/>
                <a:gd name="T27" fmla="*/ 12 h 14"/>
                <a:gd name="T28" fmla="*/ 0 w 44"/>
                <a:gd name="T29" fmla="*/ 14 h 14"/>
                <a:gd name="T30" fmla="*/ 0 w 44"/>
                <a:gd name="T31" fmla="*/ 14 h 14"/>
                <a:gd name="T32" fmla="*/ 8 w 44"/>
                <a:gd name="T33" fmla="*/ 13 h 14"/>
                <a:gd name="T34" fmla="*/ 11 w 44"/>
                <a:gd name="T35" fmla="*/ 13 h 14"/>
                <a:gd name="T36" fmla="*/ 15 w 44"/>
                <a:gd name="T37" fmla="*/ 12 h 14"/>
                <a:gd name="T38" fmla="*/ 22 w 44"/>
                <a:gd name="T39" fmla="*/ 11 h 14"/>
                <a:gd name="T40" fmla="*/ 24 w 44"/>
                <a:gd name="T41" fmla="*/ 10 h 14"/>
                <a:gd name="T42" fmla="*/ 25 w 44"/>
                <a:gd name="T43" fmla="*/ 10 h 14"/>
                <a:gd name="T44" fmla="*/ 29 w 44"/>
                <a:gd name="T45" fmla="*/ 9 h 14"/>
                <a:gd name="T46" fmla="*/ 30 w 44"/>
                <a:gd name="T47" fmla="*/ 8 h 14"/>
                <a:gd name="T48" fmla="*/ 31 w 44"/>
                <a:gd name="T49" fmla="*/ 8 h 14"/>
                <a:gd name="T50" fmla="*/ 32 w 44"/>
                <a:gd name="T51" fmla="*/ 8 h 14"/>
                <a:gd name="T52" fmla="*/ 35 w 44"/>
                <a:gd name="T53" fmla="*/ 6 h 14"/>
                <a:gd name="T54" fmla="*/ 44 w 44"/>
                <a:gd name="T55" fmla="*/ 3 h 14"/>
                <a:gd name="T56" fmla="*/ 31 w 44"/>
                <a:gd name="T57" fmla="*/ 3 h 14"/>
                <a:gd name="T58" fmla="*/ 35 w 44"/>
                <a:gd name="T5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 h="14">
                  <a:moveTo>
                    <a:pt x="35" y="0"/>
                  </a:moveTo>
                  <a:cubicBezTo>
                    <a:pt x="30" y="1"/>
                    <a:pt x="25" y="3"/>
                    <a:pt x="20" y="5"/>
                  </a:cubicBezTo>
                  <a:cubicBezTo>
                    <a:pt x="17" y="5"/>
                    <a:pt x="15" y="5"/>
                    <a:pt x="13" y="6"/>
                  </a:cubicBezTo>
                  <a:cubicBezTo>
                    <a:pt x="12" y="6"/>
                    <a:pt x="11" y="6"/>
                    <a:pt x="11" y="6"/>
                  </a:cubicBezTo>
                  <a:cubicBezTo>
                    <a:pt x="10" y="6"/>
                    <a:pt x="10" y="6"/>
                    <a:pt x="9" y="6"/>
                  </a:cubicBezTo>
                  <a:cubicBezTo>
                    <a:pt x="9" y="6"/>
                    <a:pt x="8" y="6"/>
                    <a:pt x="8" y="6"/>
                  </a:cubicBezTo>
                  <a:cubicBezTo>
                    <a:pt x="5" y="6"/>
                    <a:pt x="2" y="6"/>
                    <a:pt x="3" y="9"/>
                  </a:cubicBezTo>
                  <a:cubicBezTo>
                    <a:pt x="2" y="8"/>
                    <a:pt x="2" y="8"/>
                    <a:pt x="2" y="8"/>
                  </a:cubicBezTo>
                  <a:cubicBezTo>
                    <a:pt x="2" y="8"/>
                    <a:pt x="2" y="8"/>
                    <a:pt x="2" y="8"/>
                  </a:cubicBezTo>
                  <a:cubicBezTo>
                    <a:pt x="1" y="8"/>
                    <a:pt x="1" y="8"/>
                    <a:pt x="1" y="9"/>
                  </a:cubicBezTo>
                  <a:cubicBezTo>
                    <a:pt x="1" y="9"/>
                    <a:pt x="1" y="9"/>
                    <a:pt x="1" y="9"/>
                  </a:cubicBezTo>
                  <a:cubicBezTo>
                    <a:pt x="0" y="9"/>
                    <a:pt x="0" y="9"/>
                    <a:pt x="0" y="9"/>
                  </a:cubicBezTo>
                  <a:cubicBezTo>
                    <a:pt x="0" y="10"/>
                    <a:pt x="0" y="10"/>
                    <a:pt x="0" y="10"/>
                  </a:cubicBezTo>
                  <a:cubicBezTo>
                    <a:pt x="1" y="10"/>
                    <a:pt x="1" y="11"/>
                    <a:pt x="1" y="12"/>
                  </a:cubicBezTo>
                  <a:cubicBezTo>
                    <a:pt x="1" y="13"/>
                    <a:pt x="1" y="13"/>
                    <a:pt x="0" y="14"/>
                  </a:cubicBezTo>
                  <a:cubicBezTo>
                    <a:pt x="0" y="14"/>
                    <a:pt x="0" y="14"/>
                    <a:pt x="0" y="14"/>
                  </a:cubicBezTo>
                  <a:cubicBezTo>
                    <a:pt x="3" y="14"/>
                    <a:pt x="6" y="14"/>
                    <a:pt x="8" y="13"/>
                  </a:cubicBezTo>
                  <a:cubicBezTo>
                    <a:pt x="9" y="13"/>
                    <a:pt x="10" y="13"/>
                    <a:pt x="11" y="13"/>
                  </a:cubicBezTo>
                  <a:cubicBezTo>
                    <a:pt x="12" y="12"/>
                    <a:pt x="14" y="12"/>
                    <a:pt x="15" y="12"/>
                  </a:cubicBezTo>
                  <a:cubicBezTo>
                    <a:pt x="16" y="12"/>
                    <a:pt x="20" y="11"/>
                    <a:pt x="22" y="11"/>
                  </a:cubicBezTo>
                  <a:cubicBezTo>
                    <a:pt x="23" y="10"/>
                    <a:pt x="23" y="10"/>
                    <a:pt x="24" y="10"/>
                  </a:cubicBezTo>
                  <a:cubicBezTo>
                    <a:pt x="25" y="10"/>
                    <a:pt x="25" y="10"/>
                    <a:pt x="25" y="10"/>
                  </a:cubicBezTo>
                  <a:cubicBezTo>
                    <a:pt x="26" y="9"/>
                    <a:pt x="27" y="10"/>
                    <a:pt x="29" y="9"/>
                  </a:cubicBezTo>
                  <a:cubicBezTo>
                    <a:pt x="29" y="9"/>
                    <a:pt x="30" y="9"/>
                    <a:pt x="30" y="8"/>
                  </a:cubicBezTo>
                  <a:cubicBezTo>
                    <a:pt x="30" y="8"/>
                    <a:pt x="31" y="8"/>
                    <a:pt x="31" y="8"/>
                  </a:cubicBezTo>
                  <a:cubicBezTo>
                    <a:pt x="32" y="8"/>
                    <a:pt x="32" y="8"/>
                    <a:pt x="32" y="8"/>
                  </a:cubicBezTo>
                  <a:cubicBezTo>
                    <a:pt x="33" y="7"/>
                    <a:pt x="34" y="7"/>
                    <a:pt x="35" y="6"/>
                  </a:cubicBezTo>
                  <a:cubicBezTo>
                    <a:pt x="38" y="5"/>
                    <a:pt x="41" y="4"/>
                    <a:pt x="44" y="3"/>
                  </a:cubicBezTo>
                  <a:cubicBezTo>
                    <a:pt x="40" y="3"/>
                    <a:pt x="35" y="3"/>
                    <a:pt x="31" y="3"/>
                  </a:cubicBezTo>
                  <a:cubicBezTo>
                    <a:pt x="32" y="2"/>
                    <a:pt x="33"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36"/>
            <p:cNvSpPr/>
            <p:nvPr/>
          </p:nvSpPr>
          <p:spPr bwMode="auto">
            <a:xfrm>
              <a:off x="10306041" y="4655372"/>
              <a:ext cx="217488" cy="120650"/>
            </a:xfrm>
            <a:custGeom>
              <a:gdLst>
                <a:gd name="T0" fmla="*/ 11 w 58"/>
                <a:gd name="T1" fmla="*/ 0 h 32"/>
                <a:gd name="T2" fmla="*/ 7 w 58"/>
                <a:gd name="T3" fmla="*/ 3 h 32"/>
                <a:gd name="T4" fmla="*/ 4 w 58"/>
                <a:gd name="T5" fmla="*/ 7 h 32"/>
                <a:gd name="T6" fmla="*/ 3 w 58"/>
                <a:gd name="T7" fmla="*/ 12 h 32"/>
                <a:gd name="T8" fmla="*/ 7 w 58"/>
                <a:gd name="T9" fmla="*/ 13 h 32"/>
                <a:gd name="T10" fmla="*/ 9 w 58"/>
                <a:gd name="T11" fmla="*/ 12 h 32"/>
                <a:gd name="T12" fmla="*/ 10 w 58"/>
                <a:gd name="T13" fmla="*/ 19 h 32"/>
                <a:gd name="T14" fmla="*/ 10 w 58"/>
                <a:gd name="T15" fmla="*/ 19 h 32"/>
                <a:gd name="T16" fmla="*/ 11 w 58"/>
                <a:gd name="T17" fmla="*/ 19 h 32"/>
                <a:gd name="T18" fmla="*/ 12 w 58"/>
                <a:gd name="T19" fmla="*/ 19 h 32"/>
                <a:gd name="T20" fmla="*/ 13 w 58"/>
                <a:gd name="T21" fmla="*/ 19 h 32"/>
                <a:gd name="T22" fmla="*/ 16 w 58"/>
                <a:gd name="T23" fmla="*/ 22 h 32"/>
                <a:gd name="T24" fmla="*/ 23 w 58"/>
                <a:gd name="T25" fmla="*/ 25 h 32"/>
                <a:gd name="T26" fmla="*/ 27 w 58"/>
                <a:gd name="T27" fmla="*/ 26 h 32"/>
                <a:gd name="T28" fmla="*/ 28 w 58"/>
                <a:gd name="T29" fmla="*/ 26 h 32"/>
                <a:gd name="T30" fmla="*/ 28 w 58"/>
                <a:gd name="T31" fmla="*/ 26 h 32"/>
                <a:gd name="T32" fmla="*/ 30 w 58"/>
                <a:gd name="T33" fmla="*/ 23 h 32"/>
                <a:gd name="T34" fmla="*/ 33 w 58"/>
                <a:gd name="T35" fmla="*/ 27 h 32"/>
                <a:gd name="T36" fmla="*/ 37 w 58"/>
                <a:gd name="T37" fmla="*/ 31 h 32"/>
                <a:gd name="T38" fmla="*/ 41 w 58"/>
                <a:gd name="T39" fmla="*/ 32 h 32"/>
                <a:gd name="T40" fmla="*/ 46 w 58"/>
                <a:gd name="T41" fmla="*/ 30 h 32"/>
                <a:gd name="T42" fmla="*/ 44 w 58"/>
                <a:gd name="T43" fmla="*/ 29 h 32"/>
                <a:gd name="T44" fmla="*/ 46 w 58"/>
                <a:gd name="T45" fmla="*/ 28 h 32"/>
                <a:gd name="T46" fmla="*/ 43 w 58"/>
                <a:gd name="T47" fmla="*/ 25 h 32"/>
                <a:gd name="T48" fmla="*/ 44 w 58"/>
                <a:gd name="T49" fmla="*/ 25 h 32"/>
                <a:gd name="T50" fmla="*/ 45 w 58"/>
                <a:gd name="T51" fmla="*/ 25 h 32"/>
                <a:gd name="T52" fmla="*/ 45 w 58"/>
                <a:gd name="T53" fmla="*/ 24 h 32"/>
                <a:gd name="T54" fmla="*/ 46 w 58"/>
                <a:gd name="T55" fmla="*/ 24 h 32"/>
                <a:gd name="T56" fmla="*/ 46 w 58"/>
                <a:gd name="T57" fmla="*/ 23 h 32"/>
                <a:gd name="T58" fmla="*/ 47 w 58"/>
                <a:gd name="T59" fmla="*/ 23 h 32"/>
                <a:gd name="T60" fmla="*/ 48 w 58"/>
                <a:gd name="T61" fmla="*/ 22 h 32"/>
                <a:gd name="T62" fmla="*/ 49 w 58"/>
                <a:gd name="T63" fmla="*/ 21 h 32"/>
                <a:gd name="T64" fmla="*/ 58 w 58"/>
                <a:gd name="T65" fmla="*/ 17 h 32"/>
                <a:gd name="T66" fmla="*/ 53 w 58"/>
                <a:gd name="T67" fmla="*/ 17 h 32"/>
                <a:gd name="T68" fmla="*/ 49 w 58"/>
                <a:gd name="T69" fmla="*/ 17 h 32"/>
                <a:gd name="T70" fmla="*/ 13 w 58"/>
                <a:gd name="T71" fmla="*/ 17 h 32"/>
                <a:gd name="T72" fmla="*/ 13 w 58"/>
                <a:gd name="T73" fmla="*/ 13 h 32"/>
                <a:gd name="T74" fmla="*/ 9 w 58"/>
                <a:gd name="T75" fmla="*/ 7 h 32"/>
                <a:gd name="T76" fmla="*/ 11 w 58"/>
                <a:gd name="T77" fmla="*/ 5 h 32"/>
                <a:gd name="T78" fmla="*/ 11 w 58"/>
                <a:gd name="T79"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 h="32">
                  <a:moveTo>
                    <a:pt x="11" y="0"/>
                  </a:moveTo>
                  <a:cubicBezTo>
                    <a:pt x="9" y="1"/>
                    <a:pt x="8" y="2"/>
                    <a:pt x="7" y="3"/>
                  </a:cubicBezTo>
                  <a:cubicBezTo>
                    <a:pt x="5" y="4"/>
                    <a:pt x="5" y="6"/>
                    <a:pt x="4" y="7"/>
                  </a:cubicBezTo>
                  <a:cubicBezTo>
                    <a:pt x="2" y="10"/>
                    <a:pt x="0" y="11"/>
                    <a:pt x="3" y="12"/>
                  </a:cubicBezTo>
                  <a:cubicBezTo>
                    <a:pt x="4" y="13"/>
                    <a:pt x="5" y="13"/>
                    <a:pt x="7" y="13"/>
                  </a:cubicBezTo>
                  <a:cubicBezTo>
                    <a:pt x="8" y="13"/>
                    <a:pt x="9" y="13"/>
                    <a:pt x="9" y="12"/>
                  </a:cubicBezTo>
                  <a:cubicBezTo>
                    <a:pt x="10" y="15"/>
                    <a:pt x="5" y="19"/>
                    <a:pt x="10" y="19"/>
                  </a:cubicBezTo>
                  <a:cubicBezTo>
                    <a:pt x="10" y="19"/>
                    <a:pt x="10" y="19"/>
                    <a:pt x="10" y="19"/>
                  </a:cubicBezTo>
                  <a:cubicBezTo>
                    <a:pt x="11" y="19"/>
                    <a:pt x="11" y="19"/>
                    <a:pt x="11" y="19"/>
                  </a:cubicBezTo>
                  <a:cubicBezTo>
                    <a:pt x="12" y="19"/>
                    <a:pt x="12" y="19"/>
                    <a:pt x="12" y="19"/>
                  </a:cubicBezTo>
                  <a:cubicBezTo>
                    <a:pt x="12" y="19"/>
                    <a:pt x="13" y="19"/>
                    <a:pt x="13" y="19"/>
                  </a:cubicBezTo>
                  <a:cubicBezTo>
                    <a:pt x="14" y="19"/>
                    <a:pt x="15" y="20"/>
                    <a:pt x="16" y="22"/>
                  </a:cubicBezTo>
                  <a:cubicBezTo>
                    <a:pt x="19" y="24"/>
                    <a:pt x="20" y="24"/>
                    <a:pt x="23" y="25"/>
                  </a:cubicBezTo>
                  <a:cubicBezTo>
                    <a:pt x="24" y="25"/>
                    <a:pt x="26" y="26"/>
                    <a:pt x="27" y="26"/>
                  </a:cubicBezTo>
                  <a:cubicBezTo>
                    <a:pt x="27" y="26"/>
                    <a:pt x="28" y="26"/>
                    <a:pt x="28" y="26"/>
                  </a:cubicBezTo>
                  <a:cubicBezTo>
                    <a:pt x="28" y="26"/>
                    <a:pt x="28" y="26"/>
                    <a:pt x="28" y="26"/>
                  </a:cubicBezTo>
                  <a:cubicBezTo>
                    <a:pt x="27" y="26"/>
                    <a:pt x="30" y="23"/>
                    <a:pt x="30" y="23"/>
                  </a:cubicBezTo>
                  <a:cubicBezTo>
                    <a:pt x="31" y="24"/>
                    <a:pt x="33" y="25"/>
                    <a:pt x="33" y="27"/>
                  </a:cubicBezTo>
                  <a:cubicBezTo>
                    <a:pt x="33" y="28"/>
                    <a:pt x="36" y="30"/>
                    <a:pt x="37" y="31"/>
                  </a:cubicBezTo>
                  <a:cubicBezTo>
                    <a:pt x="38" y="32"/>
                    <a:pt x="40" y="32"/>
                    <a:pt x="41" y="32"/>
                  </a:cubicBezTo>
                  <a:cubicBezTo>
                    <a:pt x="43" y="32"/>
                    <a:pt x="45" y="31"/>
                    <a:pt x="46" y="30"/>
                  </a:cubicBezTo>
                  <a:cubicBezTo>
                    <a:pt x="46" y="30"/>
                    <a:pt x="45" y="29"/>
                    <a:pt x="44" y="29"/>
                  </a:cubicBezTo>
                  <a:cubicBezTo>
                    <a:pt x="45" y="29"/>
                    <a:pt x="46" y="29"/>
                    <a:pt x="46" y="28"/>
                  </a:cubicBezTo>
                  <a:cubicBezTo>
                    <a:pt x="46" y="27"/>
                    <a:pt x="44" y="25"/>
                    <a:pt x="43" y="25"/>
                  </a:cubicBezTo>
                  <a:cubicBezTo>
                    <a:pt x="43" y="25"/>
                    <a:pt x="43" y="25"/>
                    <a:pt x="44" y="25"/>
                  </a:cubicBezTo>
                  <a:cubicBezTo>
                    <a:pt x="44" y="25"/>
                    <a:pt x="45" y="25"/>
                    <a:pt x="45" y="25"/>
                  </a:cubicBezTo>
                  <a:cubicBezTo>
                    <a:pt x="45" y="24"/>
                    <a:pt x="45" y="24"/>
                    <a:pt x="45" y="24"/>
                  </a:cubicBezTo>
                  <a:cubicBezTo>
                    <a:pt x="45" y="24"/>
                    <a:pt x="45" y="24"/>
                    <a:pt x="46" y="24"/>
                  </a:cubicBezTo>
                  <a:cubicBezTo>
                    <a:pt x="47" y="24"/>
                    <a:pt x="48" y="23"/>
                    <a:pt x="46" y="23"/>
                  </a:cubicBezTo>
                  <a:cubicBezTo>
                    <a:pt x="46" y="23"/>
                    <a:pt x="47" y="23"/>
                    <a:pt x="47" y="23"/>
                  </a:cubicBezTo>
                  <a:cubicBezTo>
                    <a:pt x="48" y="23"/>
                    <a:pt x="49" y="23"/>
                    <a:pt x="48" y="22"/>
                  </a:cubicBezTo>
                  <a:cubicBezTo>
                    <a:pt x="49" y="21"/>
                    <a:pt x="49" y="21"/>
                    <a:pt x="49" y="21"/>
                  </a:cubicBezTo>
                  <a:cubicBezTo>
                    <a:pt x="49" y="21"/>
                    <a:pt x="56" y="18"/>
                    <a:pt x="58" y="17"/>
                  </a:cubicBezTo>
                  <a:cubicBezTo>
                    <a:pt x="56" y="17"/>
                    <a:pt x="54" y="17"/>
                    <a:pt x="53" y="17"/>
                  </a:cubicBezTo>
                  <a:cubicBezTo>
                    <a:pt x="51" y="17"/>
                    <a:pt x="50" y="17"/>
                    <a:pt x="49" y="17"/>
                  </a:cubicBezTo>
                  <a:cubicBezTo>
                    <a:pt x="37" y="17"/>
                    <a:pt x="25" y="17"/>
                    <a:pt x="13" y="17"/>
                  </a:cubicBezTo>
                  <a:cubicBezTo>
                    <a:pt x="10" y="17"/>
                    <a:pt x="17" y="14"/>
                    <a:pt x="13" y="13"/>
                  </a:cubicBezTo>
                  <a:cubicBezTo>
                    <a:pt x="15" y="11"/>
                    <a:pt x="9" y="9"/>
                    <a:pt x="9" y="7"/>
                  </a:cubicBezTo>
                  <a:cubicBezTo>
                    <a:pt x="9" y="7"/>
                    <a:pt x="11" y="5"/>
                    <a:pt x="11" y="5"/>
                  </a:cubicBezTo>
                  <a:cubicBezTo>
                    <a:pt x="11" y="4"/>
                    <a:pt x="11"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37"/>
            <p:cNvSpPr/>
            <p:nvPr/>
          </p:nvSpPr>
          <p:spPr bwMode="auto">
            <a:xfrm>
              <a:off x="9340841" y="5830122"/>
              <a:ext cx="7938" cy="42863"/>
            </a:xfrm>
            <a:custGeom>
              <a:gdLst>
                <a:gd name="T0" fmla="*/ 0 w 2"/>
                <a:gd name="T1" fmla="*/ 0 h 11"/>
                <a:gd name="T2" fmla="*/ 0 w 2"/>
                <a:gd name="T3" fmla="*/ 11 h 11"/>
                <a:gd name="T4" fmla="*/ 1 w 2"/>
                <a:gd name="T5" fmla="*/ 10 h 11"/>
                <a:gd name="T6" fmla="*/ 2 w 2"/>
                <a:gd name="T7" fmla="*/ 5 h 11"/>
                <a:gd name="T8" fmla="*/ 2 w 2"/>
                <a:gd name="T9" fmla="*/ 5 h 11"/>
                <a:gd name="T10" fmla="*/ 1 w 2"/>
                <a:gd name="T11" fmla="*/ 3 h 11"/>
                <a:gd name="T12" fmla="*/ 0 w 2"/>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2" h="11">
                  <a:moveTo>
                    <a:pt x="0" y="0"/>
                  </a:moveTo>
                  <a:cubicBezTo>
                    <a:pt x="1" y="4"/>
                    <a:pt x="0" y="8"/>
                    <a:pt x="0" y="11"/>
                  </a:cubicBezTo>
                  <a:cubicBezTo>
                    <a:pt x="1" y="11"/>
                    <a:pt x="1" y="10"/>
                    <a:pt x="1" y="10"/>
                  </a:cubicBezTo>
                  <a:cubicBezTo>
                    <a:pt x="1" y="8"/>
                    <a:pt x="2" y="7"/>
                    <a:pt x="2" y="5"/>
                  </a:cubicBezTo>
                  <a:cubicBezTo>
                    <a:pt x="2" y="5"/>
                    <a:pt x="2" y="5"/>
                    <a:pt x="2" y="5"/>
                  </a:cubicBezTo>
                  <a:cubicBezTo>
                    <a:pt x="2" y="4"/>
                    <a:pt x="1" y="4"/>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38"/>
            <p:cNvSpPr/>
            <p:nvPr/>
          </p:nvSpPr>
          <p:spPr bwMode="auto">
            <a:xfrm flipH="1">
              <a:off x="9480541" y="5331647"/>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39"/>
            <p:cNvSpPr/>
            <p:nvPr/>
          </p:nvSpPr>
          <p:spPr bwMode="auto">
            <a:xfrm flipH="1">
              <a:off x="9480541" y="5331647"/>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40"/>
            <p:cNvSpPr/>
            <p:nvPr/>
          </p:nvSpPr>
          <p:spPr bwMode="auto">
            <a:xfrm>
              <a:off x="9161454" y="5018910"/>
              <a:ext cx="63500" cy="26988"/>
            </a:xfrm>
            <a:custGeom>
              <a:gdLst>
                <a:gd name="T0" fmla="*/ 12 w 17"/>
                <a:gd name="T1" fmla="*/ 0 h 7"/>
                <a:gd name="T2" fmla="*/ 7 w 17"/>
                <a:gd name="T3" fmla="*/ 0 h 7"/>
                <a:gd name="T4" fmla="*/ 7 w 17"/>
                <a:gd name="T5" fmla="*/ 0 h 7"/>
                <a:gd name="T6" fmla="*/ 7 w 17"/>
                <a:gd name="T7" fmla="*/ 0 h 7"/>
                <a:gd name="T8" fmla="*/ 7 w 17"/>
                <a:gd name="T9" fmla="*/ 0 h 7"/>
                <a:gd name="T10" fmla="*/ 4 w 17"/>
                <a:gd name="T11" fmla="*/ 0 h 7"/>
                <a:gd name="T12" fmla="*/ 3 w 17"/>
                <a:gd name="T13" fmla="*/ 0 h 7"/>
                <a:gd name="T14" fmla="*/ 1 w 17"/>
                <a:gd name="T15" fmla="*/ 1 h 7"/>
                <a:gd name="T16" fmla="*/ 0 w 17"/>
                <a:gd name="T17" fmla="*/ 3 h 7"/>
                <a:gd name="T18" fmla="*/ 1 w 17"/>
                <a:gd name="T19" fmla="*/ 3 h 7"/>
                <a:gd name="T20" fmla="*/ 2 w 17"/>
                <a:gd name="T21" fmla="*/ 3 h 7"/>
                <a:gd name="T22" fmla="*/ 1 w 17"/>
                <a:gd name="T23" fmla="*/ 3 h 7"/>
                <a:gd name="T24" fmla="*/ 2 w 17"/>
                <a:gd name="T25" fmla="*/ 4 h 7"/>
                <a:gd name="T26" fmla="*/ 2 w 17"/>
                <a:gd name="T27" fmla="*/ 4 h 7"/>
                <a:gd name="T28" fmla="*/ 2 w 17"/>
                <a:gd name="T29" fmla="*/ 4 h 7"/>
                <a:gd name="T30" fmla="*/ 3 w 17"/>
                <a:gd name="T31" fmla="*/ 5 h 7"/>
                <a:gd name="T32" fmla="*/ 3 w 17"/>
                <a:gd name="T33" fmla="*/ 5 h 7"/>
                <a:gd name="T34" fmla="*/ 7 w 17"/>
                <a:gd name="T35" fmla="*/ 4 h 7"/>
                <a:gd name="T36" fmla="*/ 7 w 17"/>
                <a:gd name="T37" fmla="*/ 5 h 7"/>
                <a:gd name="T38" fmla="*/ 8 w 17"/>
                <a:gd name="T39" fmla="*/ 5 h 7"/>
                <a:gd name="T40" fmla="*/ 8 w 17"/>
                <a:gd name="T41" fmla="*/ 5 h 7"/>
                <a:gd name="T42" fmla="*/ 8 w 17"/>
                <a:gd name="T43" fmla="*/ 5 h 7"/>
                <a:gd name="T44" fmla="*/ 8 w 17"/>
                <a:gd name="T45" fmla="*/ 5 h 7"/>
                <a:gd name="T46" fmla="*/ 7 w 17"/>
                <a:gd name="T47" fmla="*/ 5 h 7"/>
                <a:gd name="T48" fmla="*/ 7 w 17"/>
                <a:gd name="T49" fmla="*/ 5 h 7"/>
                <a:gd name="T50" fmla="*/ 7 w 17"/>
                <a:gd name="T51" fmla="*/ 6 h 7"/>
                <a:gd name="T52" fmla="*/ 8 w 17"/>
                <a:gd name="T53" fmla="*/ 6 h 7"/>
                <a:gd name="T54" fmla="*/ 8 w 17"/>
                <a:gd name="T55" fmla="*/ 6 h 7"/>
                <a:gd name="T56" fmla="*/ 9 w 17"/>
                <a:gd name="T57" fmla="*/ 6 h 7"/>
                <a:gd name="T58" fmla="*/ 9 w 17"/>
                <a:gd name="T59" fmla="*/ 6 h 7"/>
                <a:gd name="T60" fmla="*/ 9 w 17"/>
                <a:gd name="T61" fmla="*/ 6 h 7"/>
                <a:gd name="T62" fmla="*/ 9 w 17"/>
                <a:gd name="T63" fmla="*/ 6 h 7"/>
                <a:gd name="T64" fmla="*/ 9 w 17"/>
                <a:gd name="T65" fmla="*/ 6 h 7"/>
                <a:gd name="T66" fmla="*/ 9 w 17"/>
                <a:gd name="T67" fmla="*/ 7 h 7"/>
                <a:gd name="T68" fmla="*/ 9 w 17"/>
                <a:gd name="T69" fmla="*/ 7 h 7"/>
                <a:gd name="T70" fmla="*/ 10 w 17"/>
                <a:gd name="T71" fmla="*/ 7 h 7"/>
                <a:gd name="T72" fmla="*/ 10 w 17"/>
                <a:gd name="T73" fmla="*/ 7 h 7"/>
                <a:gd name="T74" fmla="*/ 11 w 17"/>
                <a:gd name="T75" fmla="*/ 7 h 7"/>
                <a:gd name="T76" fmla="*/ 16 w 17"/>
                <a:gd name="T77" fmla="*/ 2 h 7"/>
                <a:gd name="T78" fmla="*/ 17 w 17"/>
                <a:gd name="T79" fmla="*/ 0 h 7"/>
                <a:gd name="T80" fmla="*/ 17 w 17"/>
                <a:gd name="T81" fmla="*/ 0 h 7"/>
                <a:gd name="T82" fmla="*/ 17 w 17"/>
                <a:gd name="T83" fmla="*/ 0 h 7"/>
                <a:gd name="T84" fmla="*/ 17 w 17"/>
                <a:gd name="T85" fmla="*/ 0 h 7"/>
                <a:gd name="T86" fmla="*/ 13 w 17"/>
                <a:gd name="T87" fmla="*/ 2 h 7"/>
                <a:gd name="T88" fmla="*/ 12 w 17"/>
                <a:gd name="T89" fmla="*/ 2 h 7"/>
                <a:gd name="T90" fmla="*/ 11 w 17"/>
                <a:gd name="T91" fmla="*/ 2 h 7"/>
                <a:gd name="T92" fmla="*/ 12 w 17"/>
                <a:gd name="T9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 h="7">
                  <a:moveTo>
                    <a:pt x="12" y="0"/>
                  </a:moveTo>
                  <a:cubicBezTo>
                    <a:pt x="12" y="0"/>
                    <a:pt x="12" y="0"/>
                    <a:pt x="12" y="0"/>
                  </a:cubicBezTo>
                  <a:cubicBezTo>
                    <a:pt x="10" y="0"/>
                    <a:pt x="10" y="0"/>
                    <a:pt x="10" y="0"/>
                  </a:cubicBezTo>
                  <a:cubicBezTo>
                    <a:pt x="9" y="0"/>
                    <a:pt x="8"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4" y="0"/>
                    <a:pt x="4" y="0"/>
                    <a:pt x="4" y="0"/>
                  </a:cubicBezTo>
                  <a:cubicBezTo>
                    <a:pt x="3" y="0"/>
                    <a:pt x="3" y="0"/>
                    <a:pt x="3" y="0"/>
                  </a:cubicBezTo>
                  <a:cubicBezTo>
                    <a:pt x="3" y="0"/>
                    <a:pt x="3" y="0"/>
                    <a:pt x="3" y="0"/>
                  </a:cubicBezTo>
                  <a:cubicBezTo>
                    <a:pt x="2" y="0"/>
                    <a:pt x="2" y="0"/>
                    <a:pt x="2" y="0"/>
                  </a:cubicBezTo>
                  <a:cubicBezTo>
                    <a:pt x="1" y="1"/>
                    <a:pt x="1" y="1"/>
                    <a:pt x="1" y="1"/>
                  </a:cubicBezTo>
                  <a:cubicBezTo>
                    <a:pt x="1" y="1"/>
                    <a:pt x="1" y="1"/>
                    <a:pt x="1" y="1"/>
                  </a:cubicBezTo>
                  <a:cubicBezTo>
                    <a:pt x="0" y="3"/>
                    <a:pt x="0" y="3"/>
                    <a:pt x="0" y="3"/>
                  </a:cubicBezTo>
                  <a:cubicBezTo>
                    <a:pt x="0" y="3"/>
                    <a:pt x="0" y="3"/>
                    <a:pt x="0" y="3"/>
                  </a:cubicBezTo>
                  <a:cubicBezTo>
                    <a:pt x="1" y="3"/>
                    <a:pt x="1" y="3"/>
                    <a:pt x="1" y="3"/>
                  </a:cubicBezTo>
                  <a:cubicBezTo>
                    <a:pt x="1" y="3"/>
                    <a:pt x="1" y="3"/>
                    <a:pt x="1" y="3"/>
                  </a:cubicBezTo>
                  <a:cubicBezTo>
                    <a:pt x="2" y="3"/>
                    <a:pt x="2" y="3"/>
                    <a:pt x="2" y="3"/>
                  </a:cubicBezTo>
                  <a:cubicBezTo>
                    <a:pt x="2" y="3"/>
                    <a:pt x="2" y="3"/>
                    <a:pt x="2" y="3"/>
                  </a:cubicBezTo>
                  <a:cubicBezTo>
                    <a:pt x="1" y="3"/>
                    <a:pt x="1" y="3"/>
                    <a:pt x="1" y="3"/>
                  </a:cubicBezTo>
                  <a:cubicBezTo>
                    <a:pt x="1" y="3"/>
                    <a:pt x="1" y="4"/>
                    <a:pt x="1"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3" y="5"/>
                    <a:pt x="2" y="5"/>
                    <a:pt x="3" y="5"/>
                  </a:cubicBezTo>
                  <a:cubicBezTo>
                    <a:pt x="3" y="5"/>
                    <a:pt x="3" y="5"/>
                    <a:pt x="3" y="5"/>
                  </a:cubicBezTo>
                  <a:cubicBezTo>
                    <a:pt x="3" y="5"/>
                    <a:pt x="3" y="5"/>
                    <a:pt x="3" y="5"/>
                  </a:cubicBezTo>
                  <a:cubicBezTo>
                    <a:pt x="3" y="5"/>
                    <a:pt x="3" y="5"/>
                    <a:pt x="3" y="5"/>
                  </a:cubicBezTo>
                  <a:cubicBezTo>
                    <a:pt x="4" y="5"/>
                    <a:pt x="6" y="4"/>
                    <a:pt x="7" y="4"/>
                  </a:cubicBezTo>
                  <a:cubicBezTo>
                    <a:pt x="7" y="4"/>
                    <a:pt x="7" y="4"/>
                    <a:pt x="7" y="4"/>
                  </a:cubicBezTo>
                  <a:cubicBezTo>
                    <a:pt x="7" y="4"/>
                    <a:pt x="7" y="4"/>
                    <a:pt x="7" y="4"/>
                  </a:cubicBezTo>
                  <a:cubicBezTo>
                    <a:pt x="7" y="5"/>
                    <a:pt x="7" y="5"/>
                    <a:pt x="7"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7" y="5"/>
                    <a:pt x="7" y="5"/>
                    <a:pt x="7" y="5"/>
                  </a:cubicBezTo>
                  <a:cubicBezTo>
                    <a:pt x="7" y="5"/>
                    <a:pt x="7" y="5"/>
                    <a:pt x="7" y="5"/>
                  </a:cubicBezTo>
                  <a:cubicBezTo>
                    <a:pt x="7" y="5"/>
                    <a:pt x="7" y="5"/>
                    <a:pt x="7" y="5"/>
                  </a:cubicBezTo>
                  <a:cubicBezTo>
                    <a:pt x="7" y="5"/>
                    <a:pt x="7" y="5"/>
                    <a:pt x="7" y="5"/>
                  </a:cubicBezTo>
                  <a:cubicBezTo>
                    <a:pt x="7" y="6"/>
                    <a:pt x="7" y="6"/>
                    <a:pt x="7" y="6"/>
                  </a:cubicBezTo>
                  <a:cubicBezTo>
                    <a:pt x="7" y="6"/>
                    <a:pt x="7" y="6"/>
                    <a:pt x="7" y="6"/>
                  </a:cubicBezTo>
                  <a:cubicBezTo>
                    <a:pt x="7" y="6"/>
                    <a:pt x="7" y="6"/>
                    <a:pt x="7" y="6"/>
                  </a:cubicBezTo>
                  <a:cubicBezTo>
                    <a:pt x="8" y="6"/>
                    <a:pt x="8" y="6"/>
                    <a:pt x="8" y="6"/>
                  </a:cubicBezTo>
                  <a:cubicBezTo>
                    <a:pt x="8" y="6"/>
                    <a:pt x="8" y="6"/>
                    <a:pt x="8" y="6"/>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10" y="7"/>
                    <a:pt x="10" y="7"/>
                    <a:pt x="10" y="7"/>
                  </a:cubicBezTo>
                  <a:cubicBezTo>
                    <a:pt x="10" y="7"/>
                    <a:pt x="10" y="7"/>
                    <a:pt x="10" y="7"/>
                  </a:cubicBezTo>
                  <a:cubicBezTo>
                    <a:pt x="10" y="7"/>
                    <a:pt x="10" y="7"/>
                    <a:pt x="10" y="7"/>
                  </a:cubicBezTo>
                  <a:cubicBezTo>
                    <a:pt x="11" y="7"/>
                    <a:pt x="11" y="7"/>
                    <a:pt x="11" y="7"/>
                  </a:cubicBezTo>
                  <a:cubicBezTo>
                    <a:pt x="11" y="7"/>
                    <a:pt x="11" y="7"/>
                    <a:pt x="11" y="7"/>
                  </a:cubicBezTo>
                  <a:cubicBezTo>
                    <a:pt x="13" y="5"/>
                    <a:pt x="13" y="5"/>
                    <a:pt x="13" y="5"/>
                  </a:cubicBezTo>
                  <a:cubicBezTo>
                    <a:pt x="16" y="2"/>
                    <a:pt x="16" y="2"/>
                    <a:pt x="16" y="2"/>
                  </a:cubicBezTo>
                  <a:cubicBezTo>
                    <a:pt x="17" y="1"/>
                    <a:pt x="17" y="1"/>
                    <a:pt x="17" y="1"/>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4" y="2"/>
                    <a:pt x="14" y="2"/>
                    <a:pt x="13" y="2"/>
                  </a:cubicBezTo>
                  <a:cubicBezTo>
                    <a:pt x="13" y="2"/>
                    <a:pt x="13" y="2"/>
                    <a:pt x="13" y="2"/>
                  </a:cubicBezTo>
                  <a:cubicBezTo>
                    <a:pt x="13" y="2"/>
                    <a:pt x="13" y="2"/>
                    <a:pt x="12" y="2"/>
                  </a:cubicBezTo>
                  <a:cubicBezTo>
                    <a:pt x="12" y="2"/>
                    <a:pt x="12" y="2"/>
                    <a:pt x="12" y="2"/>
                  </a:cubicBezTo>
                  <a:cubicBezTo>
                    <a:pt x="11" y="2"/>
                    <a:pt x="11" y="2"/>
                    <a:pt x="11" y="2"/>
                  </a:cubicBezTo>
                  <a:cubicBezTo>
                    <a:pt x="11" y="2"/>
                    <a:pt x="11" y="2"/>
                    <a:pt x="11" y="2"/>
                  </a:cubicBezTo>
                  <a:cubicBezTo>
                    <a:pt x="11" y="2"/>
                    <a:pt x="11" y="2"/>
                    <a:pt x="11" y="2"/>
                  </a:cubicBezTo>
                  <a:cubicBezTo>
                    <a:pt x="12" y="1"/>
                    <a:pt x="12" y="1"/>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341"/>
            <p:cNvSpPr/>
            <p:nvPr/>
          </p:nvSpPr>
          <p:spPr bwMode="auto">
            <a:xfrm flipH="1">
              <a:off x="9480541" y="5315772"/>
              <a:ext cx="0" cy="11113"/>
            </a:xfrm>
            <a:custGeom>
              <a:gdLst>
                <a:gd name="T0" fmla="*/ 0 h 3"/>
                <a:gd name="T1" fmla="*/ 0 h 3"/>
                <a:gd name="T2" fmla="*/ 3 h 3"/>
                <a:gd name="T3" fmla="*/ 3 h 3"/>
                <a:gd name="T4" fmla="*/ 3 h 3"/>
                <a:gd name="T5" fmla="*/ 0 h 3"/>
                <a:gd name="T6" fmla="*/ 0 h 3"/>
                <a:gd name="T7" fmla="*/ 0 h 3"/>
              </a:gd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cubicBezTo>
                    <a:pt x="0" y="0"/>
                    <a:pt x="0" y="0"/>
                    <a:pt x="0" y="0"/>
                  </a:cubicBezTo>
                  <a:cubicBezTo>
                    <a:pt x="0" y="1"/>
                    <a:pt x="0" y="2"/>
                    <a:pt x="0" y="3"/>
                  </a:cubicBezTo>
                  <a:cubicBezTo>
                    <a:pt x="0" y="3"/>
                    <a:pt x="0" y="3"/>
                    <a:pt x="0" y="3"/>
                  </a:cubicBezTo>
                  <a:cubicBezTo>
                    <a:pt x="0" y="3"/>
                    <a:pt x="0" y="3"/>
                    <a:pt x="0" y="3"/>
                  </a:cubicBezTo>
                  <a:cubicBezTo>
                    <a:pt x="0" y="2"/>
                    <a:pt x="0" y="1"/>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342"/>
            <p:cNvSpPr>
              <a:spLocks noEditPoints="1"/>
            </p:cNvSpPr>
            <p:nvPr/>
          </p:nvSpPr>
          <p:spPr bwMode="auto">
            <a:xfrm>
              <a:off x="1289041" y="1515297"/>
              <a:ext cx="2781300" cy="2290763"/>
            </a:xfrm>
            <a:custGeom>
              <a:gdLst>
                <a:gd name="T0" fmla="*/ 223 w 741"/>
                <a:gd name="T1" fmla="*/ 25 h 610"/>
                <a:gd name="T2" fmla="*/ 199 w 741"/>
                <a:gd name="T3" fmla="*/ 38 h 610"/>
                <a:gd name="T4" fmla="*/ 167 w 741"/>
                <a:gd name="T5" fmla="*/ 43 h 610"/>
                <a:gd name="T6" fmla="*/ 133 w 741"/>
                <a:gd name="T7" fmla="*/ 53 h 610"/>
                <a:gd name="T8" fmla="*/ 36 w 741"/>
                <a:gd name="T9" fmla="*/ 125 h 610"/>
                <a:gd name="T10" fmla="*/ 118 w 741"/>
                <a:gd name="T11" fmla="*/ 180 h 610"/>
                <a:gd name="T12" fmla="*/ 150 w 741"/>
                <a:gd name="T13" fmla="*/ 181 h 610"/>
                <a:gd name="T14" fmla="*/ 160 w 741"/>
                <a:gd name="T15" fmla="*/ 206 h 610"/>
                <a:gd name="T16" fmla="*/ 101 w 741"/>
                <a:gd name="T17" fmla="*/ 216 h 610"/>
                <a:gd name="T18" fmla="*/ 44 w 741"/>
                <a:gd name="T19" fmla="*/ 214 h 610"/>
                <a:gd name="T20" fmla="*/ 7 w 741"/>
                <a:gd name="T21" fmla="*/ 230 h 610"/>
                <a:gd name="T22" fmla="*/ 25 w 741"/>
                <a:gd name="T23" fmla="*/ 251 h 610"/>
                <a:gd name="T24" fmla="*/ 87 w 741"/>
                <a:gd name="T25" fmla="*/ 273 h 610"/>
                <a:gd name="T26" fmla="*/ 125 w 741"/>
                <a:gd name="T27" fmla="*/ 276 h 610"/>
                <a:gd name="T28" fmla="*/ 156 w 741"/>
                <a:gd name="T29" fmla="*/ 275 h 610"/>
                <a:gd name="T30" fmla="*/ 139 w 741"/>
                <a:gd name="T31" fmla="*/ 312 h 610"/>
                <a:gd name="T32" fmla="*/ 74 w 741"/>
                <a:gd name="T33" fmla="*/ 333 h 610"/>
                <a:gd name="T34" fmla="*/ 48 w 741"/>
                <a:gd name="T35" fmla="*/ 383 h 610"/>
                <a:gd name="T36" fmla="*/ 70 w 741"/>
                <a:gd name="T37" fmla="*/ 402 h 610"/>
                <a:gd name="T38" fmla="*/ 98 w 741"/>
                <a:gd name="T39" fmla="*/ 403 h 610"/>
                <a:gd name="T40" fmla="*/ 87 w 741"/>
                <a:gd name="T41" fmla="*/ 414 h 610"/>
                <a:gd name="T42" fmla="*/ 69 w 741"/>
                <a:gd name="T43" fmla="*/ 418 h 610"/>
                <a:gd name="T44" fmla="*/ 126 w 741"/>
                <a:gd name="T45" fmla="*/ 427 h 610"/>
                <a:gd name="T46" fmla="*/ 132 w 741"/>
                <a:gd name="T47" fmla="*/ 431 h 610"/>
                <a:gd name="T48" fmla="*/ 144 w 741"/>
                <a:gd name="T49" fmla="*/ 474 h 610"/>
                <a:gd name="T50" fmla="*/ 165 w 741"/>
                <a:gd name="T51" fmla="*/ 476 h 610"/>
                <a:gd name="T52" fmla="*/ 190 w 741"/>
                <a:gd name="T53" fmla="*/ 477 h 610"/>
                <a:gd name="T54" fmla="*/ 226 w 741"/>
                <a:gd name="T55" fmla="*/ 470 h 610"/>
                <a:gd name="T56" fmla="*/ 243 w 741"/>
                <a:gd name="T57" fmla="*/ 497 h 610"/>
                <a:gd name="T58" fmla="*/ 209 w 741"/>
                <a:gd name="T59" fmla="*/ 544 h 610"/>
                <a:gd name="T60" fmla="*/ 162 w 741"/>
                <a:gd name="T61" fmla="*/ 576 h 610"/>
                <a:gd name="T62" fmla="*/ 111 w 741"/>
                <a:gd name="T63" fmla="*/ 601 h 610"/>
                <a:gd name="T64" fmla="*/ 136 w 741"/>
                <a:gd name="T65" fmla="*/ 601 h 610"/>
                <a:gd name="T66" fmla="*/ 168 w 741"/>
                <a:gd name="T67" fmla="*/ 590 h 610"/>
                <a:gd name="T68" fmla="*/ 215 w 741"/>
                <a:gd name="T69" fmla="*/ 573 h 610"/>
                <a:gd name="T70" fmla="*/ 217 w 741"/>
                <a:gd name="T71" fmla="*/ 563 h 610"/>
                <a:gd name="T72" fmla="*/ 287 w 741"/>
                <a:gd name="T73" fmla="*/ 513 h 610"/>
                <a:gd name="T74" fmla="*/ 324 w 741"/>
                <a:gd name="T75" fmla="*/ 492 h 610"/>
                <a:gd name="T76" fmla="*/ 320 w 741"/>
                <a:gd name="T77" fmla="*/ 470 h 610"/>
                <a:gd name="T78" fmla="*/ 342 w 741"/>
                <a:gd name="T79" fmla="*/ 443 h 610"/>
                <a:gd name="T80" fmla="*/ 415 w 741"/>
                <a:gd name="T81" fmla="*/ 390 h 610"/>
                <a:gd name="T82" fmla="*/ 392 w 741"/>
                <a:gd name="T83" fmla="*/ 410 h 610"/>
                <a:gd name="T84" fmla="*/ 385 w 741"/>
                <a:gd name="T85" fmla="*/ 457 h 610"/>
                <a:gd name="T86" fmla="*/ 409 w 741"/>
                <a:gd name="T87" fmla="*/ 456 h 610"/>
                <a:gd name="T88" fmla="*/ 444 w 741"/>
                <a:gd name="T89" fmla="*/ 439 h 610"/>
                <a:gd name="T90" fmla="*/ 458 w 741"/>
                <a:gd name="T91" fmla="*/ 422 h 610"/>
                <a:gd name="T92" fmla="*/ 460 w 741"/>
                <a:gd name="T93" fmla="*/ 400 h 610"/>
                <a:gd name="T94" fmla="*/ 472 w 741"/>
                <a:gd name="T95" fmla="*/ 402 h 610"/>
                <a:gd name="T96" fmla="*/ 496 w 741"/>
                <a:gd name="T97" fmla="*/ 404 h 610"/>
                <a:gd name="T98" fmla="*/ 509 w 741"/>
                <a:gd name="T99" fmla="*/ 410 h 610"/>
                <a:gd name="T100" fmla="*/ 538 w 741"/>
                <a:gd name="T101" fmla="*/ 428 h 610"/>
                <a:gd name="T102" fmla="*/ 655 w 741"/>
                <a:gd name="T103" fmla="*/ 442 h 610"/>
                <a:gd name="T104" fmla="*/ 659 w 741"/>
                <a:gd name="T105" fmla="*/ 451 h 610"/>
                <a:gd name="T106" fmla="*/ 731 w 741"/>
                <a:gd name="T107" fmla="*/ 495 h 610"/>
                <a:gd name="T108" fmla="*/ 713 w 741"/>
                <a:gd name="T109" fmla="*/ 475 h 610"/>
                <a:gd name="T110" fmla="*/ 667 w 741"/>
                <a:gd name="T111" fmla="*/ 431 h 610"/>
                <a:gd name="T112" fmla="*/ 623 w 741"/>
                <a:gd name="T113" fmla="*/ 213 h 610"/>
                <a:gd name="T114" fmla="*/ 497 w 741"/>
                <a:gd name="T115" fmla="*/ 52 h 610"/>
                <a:gd name="T116" fmla="*/ 366 w 741"/>
                <a:gd name="T117" fmla="*/ 35 h 610"/>
                <a:gd name="T118" fmla="*/ 311 w 741"/>
                <a:gd name="T119" fmla="*/ 24 h 610"/>
                <a:gd name="T120" fmla="*/ 285 w 741"/>
                <a:gd name="T121" fmla="*/ 24 h 6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41" h="610">
                  <a:moveTo>
                    <a:pt x="341" y="476"/>
                  </a:moveTo>
                  <a:cubicBezTo>
                    <a:pt x="341" y="476"/>
                    <a:pt x="341" y="476"/>
                    <a:pt x="341" y="476"/>
                  </a:cubicBezTo>
                  <a:cubicBezTo>
                    <a:pt x="341" y="476"/>
                    <a:pt x="341" y="476"/>
                    <a:pt x="341" y="476"/>
                  </a:cubicBezTo>
                  <a:moveTo>
                    <a:pt x="466" y="407"/>
                  </a:moveTo>
                  <a:cubicBezTo>
                    <a:pt x="466" y="407"/>
                    <a:pt x="466" y="407"/>
                    <a:pt x="466" y="407"/>
                  </a:cubicBezTo>
                  <a:cubicBezTo>
                    <a:pt x="466" y="407"/>
                    <a:pt x="466" y="407"/>
                    <a:pt x="466" y="407"/>
                  </a:cubicBezTo>
                  <a:moveTo>
                    <a:pt x="432" y="386"/>
                  </a:moveTo>
                  <a:cubicBezTo>
                    <a:pt x="432" y="386"/>
                    <a:pt x="433" y="385"/>
                    <a:pt x="434" y="385"/>
                  </a:cubicBezTo>
                  <a:cubicBezTo>
                    <a:pt x="434" y="385"/>
                    <a:pt x="434" y="385"/>
                    <a:pt x="434" y="385"/>
                  </a:cubicBezTo>
                  <a:cubicBezTo>
                    <a:pt x="433" y="385"/>
                    <a:pt x="432" y="386"/>
                    <a:pt x="432" y="386"/>
                  </a:cubicBezTo>
                  <a:moveTo>
                    <a:pt x="267" y="0"/>
                  </a:moveTo>
                  <a:cubicBezTo>
                    <a:pt x="266" y="0"/>
                    <a:pt x="265" y="2"/>
                    <a:pt x="263" y="3"/>
                  </a:cubicBezTo>
                  <a:cubicBezTo>
                    <a:pt x="259" y="6"/>
                    <a:pt x="255" y="9"/>
                    <a:pt x="251" y="12"/>
                  </a:cubicBezTo>
                  <a:cubicBezTo>
                    <a:pt x="246" y="16"/>
                    <a:pt x="242" y="20"/>
                    <a:pt x="236" y="23"/>
                  </a:cubicBezTo>
                  <a:cubicBezTo>
                    <a:pt x="233" y="24"/>
                    <a:pt x="230" y="25"/>
                    <a:pt x="227" y="25"/>
                  </a:cubicBezTo>
                  <a:cubicBezTo>
                    <a:pt x="225" y="25"/>
                    <a:pt x="223" y="24"/>
                    <a:pt x="220" y="24"/>
                  </a:cubicBezTo>
                  <a:cubicBezTo>
                    <a:pt x="221" y="24"/>
                    <a:pt x="222" y="25"/>
                    <a:pt x="223" y="25"/>
                  </a:cubicBezTo>
                  <a:cubicBezTo>
                    <a:pt x="220" y="26"/>
                    <a:pt x="217" y="26"/>
                    <a:pt x="215" y="26"/>
                  </a:cubicBezTo>
                  <a:cubicBezTo>
                    <a:pt x="213" y="26"/>
                    <a:pt x="212" y="26"/>
                    <a:pt x="211" y="26"/>
                  </a:cubicBezTo>
                  <a:cubicBezTo>
                    <a:pt x="210" y="26"/>
                    <a:pt x="209" y="26"/>
                    <a:pt x="209" y="26"/>
                  </a:cubicBezTo>
                  <a:cubicBezTo>
                    <a:pt x="206" y="26"/>
                    <a:pt x="204" y="26"/>
                    <a:pt x="202" y="28"/>
                  </a:cubicBezTo>
                  <a:cubicBezTo>
                    <a:pt x="201" y="27"/>
                    <a:pt x="200" y="27"/>
                    <a:pt x="199" y="27"/>
                  </a:cubicBezTo>
                  <a:cubicBezTo>
                    <a:pt x="200" y="26"/>
                    <a:pt x="203" y="25"/>
                    <a:pt x="205" y="25"/>
                  </a:cubicBezTo>
                  <a:cubicBezTo>
                    <a:pt x="204" y="24"/>
                    <a:pt x="202" y="24"/>
                    <a:pt x="201" y="24"/>
                  </a:cubicBezTo>
                  <a:cubicBezTo>
                    <a:pt x="201" y="24"/>
                    <a:pt x="201" y="24"/>
                    <a:pt x="200" y="24"/>
                  </a:cubicBezTo>
                  <a:cubicBezTo>
                    <a:pt x="201" y="24"/>
                    <a:pt x="202" y="23"/>
                    <a:pt x="203" y="23"/>
                  </a:cubicBezTo>
                  <a:cubicBezTo>
                    <a:pt x="199" y="24"/>
                    <a:pt x="194" y="24"/>
                    <a:pt x="191" y="28"/>
                  </a:cubicBezTo>
                  <a:cubicBezTo>
                    <a:pt x="189" y="30"/>
                    <a:pt x="186" y="31"/>
                    <a:pt x="183" y="32"/>
                  </a:cubicBezTo>
                  <a:cubicBezTo>
                    <a:pt x="185" y="33"/>
                    <a:pt x="186" y="32"/>
                    <a:pt x="188" y="34"/>
                  </a:cubicBezTo>
                  <a:cubicBezTo>
                    <a:pt x="189" y="35"/>
                    <a:pt x="189" y="36"/>
                    <a:pt x="190" y="37"/>
                  </a:cubicBezTo>
                  <a:cubicBezTo>
                    <a:pt x="191" y="38"/>
                    <a:pt x="192" y="38"/>
                    <a:pt x="193" y="38"/>
                  </a:cubicBezTo>
                  <a:cubicBezTo>
                    <a:pt x="194" y="38"/>
                    <a:pt x="195" y="38"/>
                    <a:pt x="196" y="38"/>
                  </a:cubicBezTo>
                  <a:cubicBezTo>
                    <a:pt x="197" y="38"/>
                    <a:pt x="198" y="37"/>
                    <a:pt x="198" y="37"/>
                  </a:cubicBezTo>
                  <a:cubicBezTo>
                    <a:pt x="199" y="37"/>
                    <a:pt x="199" y="37"/>
                    <a:pt x="199" y="38"/>
                  </a:cubicBezTo>
                  <a:cubicBezTo>
                    <a:pt x="197" y="38"/>
                    <a:pt x="194" y="40"/>
                    <a:pt x="192" y="40"/>
                  </a:cubicBezTo>
                  <a:cubicBezTo>
                    <a:pt x="192" y="40"/>
                    <a:pt x="191" y="39"/>
                    <a:pt x="190" y="39"/>
                  </a:cubicBezTo>
                  <a:cubicBezTo>
                    <a:pt x="189" y="41"/>
                    <a:pt x="189" y="44"/>
                    <a:pt x="189" y="47"/>
                  </a:cubicBezTo>
                  <a:cubicBezTo>
                    <a:pt x="190" y="48"/>
                    <a:pt x="191" y="49"/>
                    <a:pt x="191" y="50"/>
                  </a:cubicBezTo>
                  <a:cubicBezTo>
                    <a:pt x="190" y="50"/>
                    <a:pt x="188" y="48"/>
                    <a:pt x="188" y="47"/>
                  </a:cubicBezTo>
                  <a:cubicBezTo>
                    <a:pt x="188" y="47"/>
                    <a:pt x="188" y="45"/>
                    <a:pt x="187" y="45"/>
                  </a:cubicBezTo>
                  <a:cubicBezTo>
                    <a:pt x="187" y="44"/>
                    <a:pt x="186" y="44"/>
                    <a:pt x="186" y="44"/>
                  </a:cubicBezTo>
                  <a:cubicBezTo>
                    <a:pt x="185" y="44"/>
                    <a:pt x="184" y="46"/>
                    <a:pt x="183" y="46"/>
                  </a:cubicBezTo>
                  <a:cubicBezTo>
                    <a:pt x="184" y="43"/>
                    <a:pt x="186" y="41"/>
                    <a:pt x="186" y="39"/>
                  </a:cubicBezTo>
                  <a:cubicBezTo>
                    <a:pt x="185" y="39"/>
                    <a:pt x="184" y="40"/>
                    <a:pt x="182" y="40"/>
                  </a:cubicBezTo>
                  <a:cubicBezTo>
                    <a:pt x="182" y="40"/>
                    <a:pt x="182" y="40"/>
                    <a:pt x="181" y="40"/>
                  </a:cubicBezTo>
                  <a:cubicBezTo>
                    <a:pt x="183" y="38"/>
                    <a:pt x="189" y="38"/>
                    <a:pt x="185" y="35"/>
                  </a:cubicBezTo>
                  <a:cubicBezTo>
                    <a:pt x="185" y="35"/>
                    <a:pt x="185" y="35"/>
                    <a:pt x="184" y="35"/>
                  </a:cubicBezTo>
                  <a:cubicBezTo>
                    <a:pt x="184" y="35"/>
                    <a:pt x="184" y="35"/>
                    <a:pt x="184" y="35"/>
                  </a:cubicBezTo>
                  <a:cubicBezTo>
                    <a:pt x="183" y="35"/>
                    <a:pt x="183" y="35"/>
                    <a:pt x="183" y="35"/>
                  </a:cubicBezTo>
                  <a:cubicBezTo>
                    <a:pt x="183" y="35"/>
                    <a:pt x="182" y="35"/>
                    <a:pt x="182" y="34"/>
                  </a:cubicBezTo>
                  <a:cubicBezTo>
                    <a:pt x="177" y="38"/>
                    <a:pt x="172" y="40"/>
                    <a:pt x="167" y="43"/>
                  </a:cubicBezTo>
                  <a:cubicBezTo>
                    <a:pt x="168" y="42"/>
                    <a:pt x="169" y="42"/>
                    <a:pt x="170" y="42"/>
                  </a:cubicBezTo>
                  <a:cubicBezTo>
                    <a:pt x="166" y="46"/>
                    <a:pt x="158" y="48"/>
                    <a:pt x="152" y="49"/>
                  </a:cubicBezTo>
                  <a:cubicBezTo>
                    <a:pt x="152" y="49"/>
                    <a:pt x="152" y="49"/>
                    <a:pt x="152" y="49"/>
                  </a:cubicBezTo>
                  <a:cubicBezTo>
                    <a:pt x="151" y="49"/>
                    <a:pt x="151" y="49"/>
                    <a:pt x="150" y="48"/>
                  </a:cubicBezTo>
                  <a:cubicBezTo>
                    <a:pt x="150" y="48"/>
                    <a:pt x="150" y="48"/>
                    <a:pt x="149" y="48"/>
                  </a:cubicBezTo>
                  <a:cubicBezTo>
                    <a:pt x="149" y="48"/>
                    <a:pt x="148" y="48"/>
                    <a:pt x="148" y="49"/>
                  </a:cubicBezTo>
                  <a:cubicBezTo>
                    <a:pt x="146" y="49"/>
                    <a:pt x="146" y="50"/>
                    <a:pt x="145" y="51"/>
                  </a:cubicBezTo>
                  <a:cubicBezTo>
                    <a:pt x="142" y="52"/>
                    <a:pt x="140" y="52"/>
                    <a:pt x="137" y="53"/>
                  </a:cubicBezTo>
                  <a:cubicBezTo>
                    <a:pt x="139" y="51"/>
                    <a:pt x="142" y="53"/>
                    <a:pt x="144" y="50"/>
                  </a:cubicBezTo>
                  <a:cubicBezTo>
                    <a:pt x="143" y="50"/>
                    <a:pt x="142" y="49"/>
                    <a:pt x="142" y="49"/>
                  </a:cubicBezTo>
                  <a:cubicBezTo>
                    <a:pt x="142" y="49"/>
                    <a:pt x="143" y="49"/>
                    <a:pt x="143" y="49"/>
                  </a:cubicBezTo>
                  <a:cubicBezTo>
                    <a:pt x="143" y="49"/>
                    <a:pt x="144" y="49"/>
                    <a:pt x="144" y="49"/>
                  </a:cubicBezTo>
                  <a:cubicBezTo>
                    <a:pt x="144" y="49"/>
                    <a:pt x="144" y="49"/>
                    <a:pt x="144" y="49"/>
                  </a:cubicBezTo>
                  <a:cubicBezTo>
                    <a:pt x="145" y="49"/>
                    <a:pt x="145" y="49"/>
                    <a:pt x="145" y="49"/>
                  </a:cubicBezTo>
                  <a:cubicBezTo>
                    <a:pt x="144" y="48"/>
                    <a:pt x="143" y="46"/>
                    <a:pt x="141" y="46"/>
                  </a:cubicBezTo>
                  <a:cubicBezTo>
                    <a:pt x="141" y="46"/>
                    <a:pt x="140" y="46"/>
                    <a:pt x="140" y="47"/>
                  </a:cubicBezTo>
                  <a:cubicBezTo>
                    <a:pt x="138" y="48"/>
                    <a:pt x="136" y="51"/>
                    <a:pt x="133" y="53"/>
                  </a:cubicBezTo>
                  <a:cubicBezTo>
                    <a:pt x="128" y="57"/>
                    <a:pt x="124" y="63"/>
                    <a:pt x="118" y="67"/>
                  </a:cubicBezTo>
                  <a:cubicBezTo>
                    <a:pt x="114" y="70"/>
                    <a:pt x="112" y="79"/>
                    <a:pt x="110" y="83"/>
                  </a:cubicBezTo>
                  <a:cubicBezTo>
                    <a:pt x="108" y="87"/>
                    <a:pt x="107" y="89"/>
                    <a:pt x="105" y="92"/>
                  </a:cubicBezTo>
                  <a:cubicBezTo>
                    <a:pt x="98" y="100"/>
                    <a:pt x="89" y="102"/>
                    <a:pt x="79" y="103"/>
                  </a:cubicBezTo>
                  <a:cubicBezTo>
                    <a:pt x="73" y="104"/>
                    <a:pt x="67" y="105"/>
                    <a:pt x="61" y="106"/>
                  </a:cubicBezTo>
                  <a:cubicBezTo>
                    <a:pt x="60" y="106"/>
                    <a:pt x="59" y="106"/>
                    <a:pt x="58" y="106"/>
                  </a:cubicBezTo>
                  <a:cubicBezTo>
                    <a:pt x="56" y="106"/>
                    <a:pt x="54" y="106"/>
                    <a:pt x="52" y="105"/>
                  </a:cubicBezTo>
                  <a:cubicBezTo>
                    <a:pt x="49" y="105"/>
                    <a:pt x="47" y="105"/>
                    <a:pt x="45" y="105"/>
                  </a:cubicBezTo>
                  <a:cubicBezTo>
                    <a:pt x="45" y="105"/>
                    <a:pt x="45" y="105"/>
                    <a:pt x="44" y="105"/>
                  </a:cubicBezTo>
                  <a:cubicBezTo>
                    <a:pt x="44" y="105"/>
                    <a:pt x="44" y="105"/>
                    <a:pt x="44" y="105"/>
                  </a:cubicBezTo>
                  <a:cubicBezTo>
                    <a:pt x="44" y="105"/>
                    <a:pt x="44" y="105"/>
                    <a:pt x="44" y="105"/>
                  </a:cubicBezTo>
                  <a:cubicBezTo>
                    <a:pt x="44" y="105"/>
                    <a:pt x="43" y="105"/>
                    <a:pt x="43" y="105"/>
                  </a:cubicBezTo>
                  <a:cubicBezTo>
                    <a:pt x="42" y="105"/>
                    <a:pt x="41" y="105"/>
                    <a:pt x="41" y="108"/>
                  </a:cubicBezTo>
                  <a:cubicBezTo>
                    <a:pt x="41" y="110"/>
                    <a:pt x="41" y="113"/>
                    <a:pt x="41" y="115"/>
                  </a:cubicBezTo>
                  <a:cubicBezTo>
                    <a:pt x="41" y="117"/>
                    <a:pt x="40" y="119"/>
                    <a:pt x="39" y="120"/>
                  </a:cubicBezTo>
                  <a:cubicBezTo>
                    <a:pt x="39" y="121"/>
                    <a:pt x="39" y="122"/>
                    <a:pt x="38" y="123"/>
                  </a:cubicBezTo>
                  <a:cubicBezTo>
                    <a:pt x="37" y="124"/>
                    <a:pt x="37" y="124"/>
                    <a:pt x="36" y="125"/>
                  </a:cubicBezTo>
                  <a:cubicBezTo>
                    <a:pt x="35" y="126"/>
                    <a:pt x="33" y="126"/>
                    <a:pt x="31" y="126"/>
                  </a:cubicBezTo>
                  <a:cubicBezTo>
                    <a:pt x="31" y="126"/>
                    <a:pt x="30" y="126"/>
                    <a:pt x="29" y="126"/>
                  </a:cubicBezTo>
                  <a:cubicBezTo>
                    <a:pt x="30" y="125"/>
                    <a:pt x="32" y="125"/>
                    <a:pt x="33" y="125"/>
                  </a:cubicBezTo>
                  <a:cubicBezTo>
                    <a:pt x="31" y="125"/>
                    <a:pt x="29" y="126"/>
                    <a:pt x="28" y="126"/>
                  </a:cubicBezTo>
                  <a:cubicBezTo>
                    <a:pt x="33" y="128"/>
                    <a:pt x="37" y="127"/>
                    <a:pt x="42" y="130"/>
                  </a:cubicBezTo>
                  <a:cubicBezTo>
                    <a:pt x="44" y="132"/>
                    <a:pt x="45" y="133"/>
                    <a:pt x="47" y="135"/>
                  </a:cubicBezTo>
                  <a:cubicBezTo>
                    <a:pt x="49" y="136"/>
                    <a:pt x="52" y="136"/>
                    <a:pt x="54" y="137"/>
                  </a:cubicBezTo>
                  <a:cubicBezTo>
                    <a:pt x="63" y="138"/>
                    <a:pt x="68" y="146"/>
                    <a:pt x="76" y="148"/>
                  </a:cubicBezTo>
                  <a:cubicBezTo>
                    <a:pt x="76" y="148"/>
                    <a:pt x="76" y="147"/>
                    <a:pt x="76" y="147"/>
                  </a:cubicBezTo>
                  <a:cubicBezTo>
                    <a:pt x="77" y="147"/>
                    <a:pt x="79" y="149"/>
                    <a:pt x="80" y="150"/>
                  </a:cubicBezTo>
                  <a:cubicBezTo>
                    <a:pt x="81" y="151"/>
                    <a:pt x="83" y="152"/>
                    <a:pt x="85" y="153"/>
                  </a:cubicBezTo>
                  <a:cubicBezTo>
                    <a:pt x="89" y="155"/>
                    <a:pt x="91" y="157"/>
                    <a:pt x="94" y="160"/>
                  </a:cubicBezTo>
                  <a:cubicBezTo>
                    <a:pt x="95" y="162"/>
                    <a:pt x="96" y="164"/>
                    <a:pt x="97" y="166"/>
                  </a:cubicBezTo>
                  <a:cubicBezTo>
                    <a:pt x="98" y="169"/>
                    <a:pt x="97" y="172"/>
                    <a:pt x="98" y="174"/>
                  </a:cubicBezTo>
                  <a:cubicBezTo>
                    <a:pt x="100" y="177"/>
                    <a:pt x="108" y="177"/>
                    <a:pt x="112" y="178"/>
                  </a:cubicBezTo>
                  <a:cubicBezTo>
                    <a:pt x="113" y="178"/>
                    <a:pt x="116" y="180"/>
                    <a:pt x="118" y="180"/>
                  </a:cubicBezTo>
                  <a:cubicBezTo>
                    <a:pt x="118" y="180"/>
                    <a:pt x="118" y="180"/>
                    <a:pt x="118" y="180"/>
                  </a:cubicBezTo>
                  <a:cubicBezTo>
                    <a:pt x="120" y="180"/>
                    <a:pt x="120" y="178"/>
                    <a:pt x="122" y="178"/>
                  </a:cubicBezTo>
                  <a:cubicBezTo>
                    <a:pt x="122" y="178"/>
                    <a:pt x="122" y="178"/>
                    <a:pt x="123" y="178"/>
                  </a:cubicBezTo>
                  <a:cubicBezTo>
                    <a:pt x="124" y="178"/>
                    <a:pt x="124" y="180"/>
                    <a:pt x="125" y="180"/>
                  </a:cubicBezTo>
                  <a:cubicBezTo>
                    <a:pt x="125" y="180"/>
                    <a:pt x="125" y="180"/>
                    <a:pt x="126" y="179"/>
                  </a:cubicBezTo>
                  <a:cubicBezTo>
                    <a:pt x="126" y="179"/>
                    <a:pt x="127" y="178"/>
                    <a:pt x="128" y="178"/>
                  </a:cubicBezTo>
                  <a:cubicBezTo>
                    <a:pt x="129" y="177"/>
                    <a:pt x="130" y="175"/>
                    <a:pt x="131" y="174"/>
                  </a:cubicBezTo>
                  <a:cubicBezTo>
                    <a:pt x="131" y="177"/>
                    <a:pt x="127" y="180"/>
                    <a:pt x="130" y="180"/>
                  </a:cubicBezTo>
                  <a:cubicBezTo>
                    <a:pt x="130" y="180"/>
                    <a:pt x="130" y="180"/>
                    <a:pt x="131" y="180"/>
                  </a:cubicBezTo>
                  <a:cubicBezTo>
                    <a:pt x="131" y="180"/>
                    <a:pt x="132" y="179"/>
                    <a:pt x="132" y="179"/>
                  </a:cubicBezTo>
                  <a:cubicBezTo>
                    <a:pt x="133" y="179"/>
                    <a:pt x="132" y="178"/>
                    <a:pt x="133" y="178"/>
                  </a:cubicBezTo>
                  <a:cubicBezTo>
                    <a:pt x="133" y="178"/>
                    <a:pt x="133" y="178"/>
                    <a:pt x="133" y="178"/>
                  </a:cubicBezTo>
                  <a:cubicBezTo>
                    <a:pt x="133" y="178"/>
                    <a:pt x="133" y="178"/>
                    <a:pt x="133" y="178"/>
                  </a:cubicBezTo>
                  <a:cubicBezTo>
                    <a:pt x="134" y="179"/>
                    <a:pt x="134" y="179"/>
                    <a:pt x="134" y="179"/>
                  </a:cubicBezTo>
                  <a:cubicBezTo>
                    <a:pt x="134" y="179"/>
                    <a:pt x="134" y="179"/>
                    <a:pt x="134" y="179"/>
                  </a:cubicBezTo>
                  <a:cubicBezTo>
                    <a:pt x="135" y="179"/>
                    <a:pt x="136" y="179"/>
                    <a:pt x="138" y="179"/>
                  </a:cubicBezTo>
                  <a:cubicBezTo>
                    <a:pt x="139" y="178"/>
                    <a:pt x="140" y="178"/>
                    <a:pt x="141" y="178"/>
                  </a:cubicBezTo>
                  <a:cubicBezTo>
                    <a:pt x="144" y="178"/>
                    <a:pt x="147" y="180"/>
                    <a:pt x="150" y="181"/>
                  </a:cubicBezTo>
                  <a:cubicBezTo>
                    <a:pt x="147" y="185"/>
                    <a:pt x="139" y="187"/>
                    <a:pt x="143" y="192"/>
                  </a:cubicBezTo>
                  <a:cubicBezTo>
                    <a:pt x="144" y="194"/>
                    <a:pt x="150" y="195"/>
                    <a:pt x="150" y="197"/>
                  </a:cubicBezTo>
                  <a:cubicBezTo>
                    <a:pt x="149" y="197"/>
                    <a:pt x="148" y="197"/>
                    <a:pt x="147" y="197"/>
                  </a:cubicBezTo>
                  <a:cubicBezTo>
                    <a:pt x="144" y="197"/>
                    <a:pt x="140" y="197"/>
                    <a:pt x="138" y="194"/>
                  </a:cubicBezTo>
                  <a:cubicBezTo>
                    <a:pt x="137" y="191"/>
                    <a:pt x="139" y="191"/>
                    <a:pt x="139" y="189"/>
                  </a:cubicBezTo>
                  <a:cubicBezTo>
                    <a:pt x="139" y="188"/>
                    <a:pt x="135" y="186"/>
                    <a:pt x="134" y="185"/>
                  </a:cubicBezTo>
                  <a:cubicBezTo>
                    <a:pt x="133" y="184"/>
                    <a:pt x="132" y="182"/>
                    <a:pt x="130" y="182"/>
                  </a:cubicBezTo>
                  <a:cubicBezTo>
                    <a:pt x="130" y="182"/>
                    <a:pt x="129" y="182"/>
                    <a:pt x="128" y="183"/>
                  </a:cubicBezTo>
                  <a:cubicBezTo>
                    <a:pt x="126" y="186"/>
                    <a:pt x="125" y="189"/>
                    <a:pt x="128" y="190"/>
                  </a:cubicBezTo>
                  <a:cubicBezTo>
                    <a:pt x="130" y="191"/>
                    <a:pt x="133" y="190"/>
                    <a:pt x="135" y="192"/>
                  </a:cubicBezTo>
                  <a:cubicBezTo>
                    <a:pt x="137" y="193"/>
                    <a:pt x="137" y="195"/>
                    <a:pt x="139" y="196"/>
                  </a:cubicBezTo>
                  <a:cubicBezTo>
                    <a:pt x="141" y="198"/>
                    <a:pt x="142" y="198"/>
                    <a:pt x="142" y="201"/>
                  </a:cubicBezTo>
                  <a:cubicBezTo>
                    <a:pt x="142" y="203"/>
                    <a:pt x="140" y="204"/>
                    <a:pt x="140" y="206"/>
                  </a:cubicBezTo>
                  <a:cubicBezTo>
                    <a:pt x="140" y="207"/>
                    <a:pt x="140" y="208"/>
                    <a:pt x="141" y="208"/>
                  </a:cubicBezTo>
                  <a:cubicBezTo>
                    <a:pt x="142" y="208"/>
                    <a:pt x="143" y="204"/>
                    <a:pt x="144" y="204"/>
                  </a:cubicBezTo>
                  <a:cubicBezTo>
                    <a:pt x="145" y="203"/>
                    <a:pt x="146" y="203"/>
                    <a:pt x="148" y="203"/>
                  </a:cubicBezTo>
                  <a:cubicBezTo>
                    <a:pt x="152" y="203"/>
                    <a:pt x="158" y="205"/>
                    <a:pt x="160" y="206"/>
                  </a:cubicBezTo>
                  <a:cubicBezTo>
                    <a:pt x="161" y="207"/>
                    <a:pt x="162" y="209"/>
                    <a:pt x="162" y="211"/>
                  </a:cubicBezTo>
                  <a:cubicBezTo>
                    <a:pt x="162" y="212"/>
                    <a:pt x="161" y="214"/>
                    <a:pt x="160" y="214"/>
                  </a:cubicBezTo>
                  <a:cubicBezTo>
                    <a:pt x="159" y="214"/>
                    <a:pt x="159" y="213"/>
                    <a:pt x="160" y="212"/>
                  </a:cubicBezTo>
                  <a:cubicBezTo>
                    <a:pt x="160" y="210"/>
                    <a:pt x="160" y="210"/>
                    <a:pt x="160" y="210"/>
                  </a:cubicBezTo>
                  <a:cubicBezTo>
                    <a:pt x="159" y="210"/>
                    <a:pt x="158" y="210"/>
                    <a:pt x="157" y="210"/>
                  </a:cubicBezTo>
                  <a:cubicBezTo>
                    <a:pt x="155" y="210"/>
                    <a:pt x="151" y="210"/>
                    <a:pt x="149" y="211"/>
                  </a:cubicBezTo>
                  <a:cubicBezTo>
                    <a:pt x="147" y="212"/>
                    <a:pt x="146" y="214"/>
                    <a:pt x="144" y="216"/>
                  </a:cubicBezTo>
                  <a:cubicBezTo>
                    <a:pt x="145" y="216"/>
                    <a:pt x="145" y="216"/>
                    <a:pt x="145" y="216"/>
                  </a:cubicBezTo>
                  <a:cubicBezTo>
                    <a:pt x="144" y="216"/>
                    <a:pt x="142" y="218"/>
                    <a:pt x="144" y="219"/>
                  </a:cubicBezTo>
                  <a:cubicBezTo>
                    <a:pt x="144" y="219"/>
                    <a:pt x="143" y="219"/>
                    <a:pt x="143" y="219"/>
                  </a:cubicBezTo>
                  <a:cubicBezTo>
                    <a:pt x="141" y="219"/>
                    <a:pt x="138" y="219"/>
                    <a:pt x="135" y="219"/>
                  </a:cubicBezTo>
                  <a:cubicBezTo>
                    <a:pt x="132" y="218"/>
                    <a:pt x="129" y="218"/>
                    <a:pt x="126" y="218"/>
                  </a:cubicBezTo>
                  <a:cubicBezTo>
                    <a:pt x="125" y="218"/>
                    <a:pt x="124" y="218"/>
                    <a:pt x="124" y="219"/>
                  </a:cubicBezTo>
                  <a:cubicBezTo>
                    <a:pt x="118" y="217"/>
                    <a:pt x="112" y="215"/>
                    <a:pt x="107" y="215"/>
                  </a:cubicBezTo>
                  <a:cubicBezTo>
                    <a:pt x="107" y="215"/>
                    <a:pt x="107" y="215"/>
                    <a:pt x="106" y="215"/>
                  </a:cubicBezTo>
                  <a:cubicBezTo>
                    <a:pt x="106" y="215"/>
                    <a:pt x="105" y="215"/>
                    <a:pt x="104" y="216"/>
                  </a:cubicBezTo>
                  <a:cubicBezTo>
                    <a:pt x="103" y="216"/>
                    <a:pt x="102" y="216"/>
                    <a:pt x="101" y="216"/>
                  </a:cubicBezTo>
                  <a:cubicBezTo>
                    <a:pt x="101" y="216"/>
                    <a:pt x="101" y="216"/>
                    <a:pt x="101" y="216"/>
                  </a:cubicBezTo>
                  <a:cubicBezTo>
                    <a:pt x="98" y="216"/>
                    <a:pt x="92" y="213"/>
                    <a:pt x="92" y="210"/>
                  </a:cubicBezTo>
                  <a:cubicBezTo>
                    <a:pt x="92" y="210"/>
                    <a:pt x="92" y="210"/>
                    <a:pt x="92" y="210"/>
                  </a:cubicBezTo>
                  <a:cubicBezTo>
                    <a:pt x="97" y="210"/>
                    <a:pt x="95" y="205"/>
                    <a:pt x="97" y="201"/>
                  </a:cubicBezTo>
                  <a:cubicBezTo>
                    <a:pt x="97" y="200"/>
                    <a:pt x="100" y="199"/>
                    <a:pt x="97" y="197"/>
                  </a:cubicBezTo>
                  <a:cubicBezTo>
                    <a:pt x="97" y="196"/>
                    <a:pt x="96" y="196"/>
                    <a:pt x="95" y="196"/>
                  </a:cubicBezTo>
                  <a:cubicBezTo>
                    <a:pt x="92" y="196"/>
                    <a:pt x="88" y="197"/>
                    <a:pt x="87" y="197"/>
                  </a:cubicBezTo>
                  <a:cubicBezTo>
                    <a:pt x="83" y="197"/>
                    <a:pt x="80" y="197"/>
                    <a:pt x="76" y="197"/>
                  </a:cubicBezTo>
                  <a:cubicBezTo>
                    <a:pt x="75" y="197"/>
                    <a:pt x="71" y="201"/>
                    <a:pt x="70" y="202"/>
                  </a:cubicBezTo>
                  <a:cubicBezTo>
                    <a:pt x="69" y="203"/>
                    <a:pt x="69" y="203"/>
                    <a:pt x="68" y="203"/>
                  </a:cubicBezTo>
                  <a:cubicBezTo>
                    <a:pt x="68" y="203"/>
                    <a:pt x="68" y="202"/>
                    <a:pt x="65" y="202"/>
                  </a:cubicBezTo>
                  <a:cubicBezTo>
                    <a:pt x="65" y="202"/>
                    <a:pt x="65" y="202"/>
                    <a:pt x="65" y="202"/>
                  </a:cubicBezTo>
                  <a:cubicBezTo>
                    <a:pt x="61" y="202"/>
                    <a:pt x="55" y="204"/>
                    <a:pt x="52" y="206"/>
                  </a:cubicBezTo>
                  <a:cubicBezTo>
                    <a:pt x="49" y="208"/>
                    <a:pt x="48" y="209"/>
                    <a:pt x="51" y="210"/>
                  </a:cubicBezTo>
                  <a:cubicBezTo>
                    <a:pt x="54" y="211"/>
                    <a:pt x="56" y="212"/>
                    <a:pt x="58" y="213"/>
                  </a:cubicBezTo>
                  <a:cubicBezTo>
                    <a:pt x="56" y="214"/>
                    <a:pt x="53" y="215"/>
                    <a:pt x="50" y="215"/>
                  </a:cubicBezTo>
                  <a:cubicBezTo>
                    <a:pt x="48" y="215"/>
                    <a:pt x="45" y="214"/>
                    <a:pt x="44" y="214"/>
                  </a:cubicBezTo>
                  <a:cubicBezTo>
                    <a:pt x="42" y="213"/>
                    <a:pt x="42" y="212"/>
                    <a:pt x="41" y="212"/>
                  </a:cubicBezTo>
                  <a:cubicBezTo>
                    <a:pt x="41" y="212"/>
                    <a:pt x="41" y="212"/>
                    <a:pt x="41" y="212"/>
                  </a:cubicBezTo>
                  <a:cubicBezTo>
                    <a:pt x="40" y="212"/>
                    <a:pt x="38" y="213"/>
                    <a:pt x="38" y="213"/>
                  </a:cubicBezTo>
                  <a:cubicBezTo>
                    <a:pt x="35" y="214"/>
                    <a:pt x="33" y="214"/>
                    <a:pt x="31" y="216"/>
                  </a:cubicBezTo>
                  <a:cubicBezTo>
                    <a:pt x="29" y="217"/>
                    <a:pt x="28" y="218"/>
                    <a:pt x="27" y="219"/>
                  </a:cubicBezTo>
                  <a:cubicBezTo>
                    <a:pt x="27" y="219"/>
                    <a:pt x="26" y="219"/>
                    <a:pt x="26" y="219"/>
                  </a:cubicBezTo>
                  <a:cubicBezTo>
                    <a:pt x="26" y="219"/>
                    <a:pt x="26" y="219"/>
                    <a:pt x="26" y="219"/>
                  </a:cubicBezTo>
                  <a:cubicBezTo>
                    <a:pt x="26" y="219"/>
                    <a:pt x="25" y="219"/>
                    <a:pt x="25" y="219"/>
                  </a:cubicBezTo>
                  <a:cubicBezTo>
                    <a:pt x="25" y="219"/>
                    <a:pt x="25" y="219"/>
                    <a:pt x="24" y="220"/>
                  </a:cubicBezTo>
                  <a:cubicBezTo>
                    <a:pt x="23" y="220"/>
                    <a:pt x="24" y="222"/>
                    <a:pt x="23" y="223"/>
                  </a:cubicBezTo>
                  <a:cubicBezTo>
                    <a:pt x="22" y="224"/>
                    <a:pt x="21" y="224"/>
                    <a:pt x="20" y="224"/>
                  </a:cubicBezTo>
                  <a:cubicBezTo>
                    <a:pt x="19" y="224"/>
                    <a:pt x="18" y="223"/>
                    <a:pt x="16" y="223"/>
                  </a:cubicBezTo>
                  <a:cubicBezTo>
                    <a:pt x="16" y="223"/>
                    <a:pt x="16" y="223"/>
                    <a:pt x="16" y="223"/>
                  </a:cubicBezTo>
                  <a:cubicBezTo>
                    <a:pt x="15" y="223"/>
                    <a:pt x="12" y="225"/>
                    <a:pt x="11" y="226"/>
                  </a:cubicBezTo>
                  <a:cubicBezTo>
                    <a:pt x="10" y="227"/>
                    <a:pt x="10" y="229"/>
                    <a:pt x="9" y="229"/>
                  </a:cubicBezTo>
                  <a:cubicBezTo>
                    <a:pt x="9" y="230"/>
                    <a:pt x="8" y="230"/>
                    <a:pt x="8" y="230"/>
                  </a:cubicBezTo>
                  <a:cubicBezTo>
                    <a:pt x="7" y="230"/>
                    <a:pt x="7" y="230"/>
                    <a:pt x="7" y="230"/>
                  </a:cubicBezTo>
                  <a:cubicBezTo>
                    <a:pt x="7" y="230"/>
                    <a:pt x="6" y="230"/>
                    <a:pt x="6" y="230"/>
                  </a:cubicBezTo>
                  <a:cubicBezTo>
                    <a:pt x="6" y="230"/>
                    <a:pt x="6" y="230"/>
                    <a:pt x="5" y="230"/>
                  </a:cubicBezTo>
                  <a:cubicBezTo>
                    <a:pt x="4" y="230"/>
                    <a:pt x="2" y="231"/>
                    <a:pt x="0" y="232"/>
                  </a:cubicBezTo>
                  <a:cubicBezTo>
                    <a:pt x="0" y="236"/>
                    <a:pt x="12" y="241"/>
                    <a:pt x="16" y="241"/>
                  </a:cubicBezTo>
                  <a:cubicBezTo>
                    <a:pt x="21" y="242"/>
                    <a:pt x="25" y="243"/>
                    <a:pt x="30" y="244"/>
                  </a:cubicBezTo>
                  <a:cubicBezTo>
                    <a:pt x="28" y="243"/>
                    <a:pt x="27" y="243"/>
                    <a:pt x="25" y="243"/>
                  </a:cubicBezTo>
                  <a:cubicBezTo>
                    <a:pt x="26" y="242"/>
                    <a:pt x="26" y="242"/>
                    <a:pt x="27" y="242"/>
                  </a:cubicBezTo>
                  <a:cubicBezTo>
                    <a:pt x="30" y="242"/>
                    <a:pt x="33" y="244"/>
                    <a:pt x="36" y="244"/>
                  </a:cubicBezTo>
                  <a:cubicBezTo>
                    <a:pt x="39" y="245"/>
                    <a:pt x="42" y="245"/>
                    <a:pt x="45" y="247"/>
                  </a:cubicBezTo>
                  <a:cubicBezTo>
                    <a:pt x="44" y="247"/>
                    <a:pt x="44" y="247"/>
                    <a:pt x="43" y="247"/>
                  </a:cubicBezTo>
                  <a:cubicBezTo>
                    <a:pt x="42" y="247"/>
                    <a:pt x="42" y="247"/>
                    <a:pt x="41" y="247"/>
                  </a:cubicBezTo>
                  <a:cubicBezTo>
                    <a:pt x="40" y="247"/>
                    <a:pt x="39" y="247"/>
                    <a:pt x="39" y="247"/>
                  </a:cubicBezTo>
                  <a:cubicBezTo>
                    <a:pt x="39" y="247"/>
                    <a:pt x="38" y="247"/>
                    <a:pt x="38" y="247"/>
                  </a:cubicBezTo>
                  <a:cubicBezTo>
                    <a:pt x="38" y="247"/>
                    <a:pt x="36" y="247"/>
                    <a:pt x="36" y="247"/>
                  </a:cubicBezTo>
                  <a:cubicBezTo>
                    <a:pt x="35" y="249"/>
                    <a:pt x="36" y="249"/>
                    <a:pt x="35" y="250"/>
                  </a:cubicBezTo>
                  <a:cubicBezTo>
                    <a:pt x="34" y="252"/>
                    <a:pt x="32" y="252"/>
                    <a:pt x="30" y="252"/>
                  </a:cubicBezTo>
                  <a:cubicBezTo>
                    <a:pt x="29" y="252"/>
                    <a:pt x="27" y="252"/>
                    <a:pt x="25" y="251"/>
                  </a:cubicBezTo>
                  <a:cubicBezTo>
                    <a:pt x="28" y="254"/>
                    <a:pt x="32" y="258"/>
                    <a:pt x="35" y="260"/>
                  </a:cubicBezTo>
                  <a:cubicBezTo>
                    <a:pt x="35" y="259"/>
                    <a:pt x="35" y="259"/>
                    <a:pt x="35" y="259"/>
                  </a:cubicBezTo>
                  <a:cubicBezTo>
                    <a:pt x="38" y="260"/>
                    <a:pt x="36" y="262"/>
                    <a:pt x="35" y="264"/>
                  </a:cubicBezTo>
                  <a:cubicBezTo>
                    <a:pt x="35" y="268"/>
                    <a:pt x="38" y="269"/>
                    <a:pt x="41" y="271"/>
                  </a:cubicBezTo>
                  <a:cubicBezTo>
                    <a:pt x="44" y="273"/>
                    <a:pt x="49" y="273"/>
                    <a:pt x="53" y="274"/>
                  </a:cubicBezTo>
                  <a:cubicBezTo>
                    <a:pt x="57" y="275"/>
                    <a:pt x="64" y="278"/>
                    <a:pt x="70" y="278"/>
                  </a:cubicBezTo>
                  <a:cubicBezTo>
                    <a:pt x="72" y="278"/>
                    <a:pt x="73" y="277"/>
                    <a:pt x="75" y="277"/>
                  </a:cubicBezTo>
                  <a:cubicBezTo>
                    <a:pt x="74" y="277"/>
                    <a:pt x="73" y="277"/>
                    <a:pt x="72" y="277"/>
                  </a:cubicBezTo>
                  <a:cubicBezTo>
                    <a:pt x="71" y="277"/>
                    <a:pt x="71" y="276"/>
                    <a:pt x="72" y="275"/>
                  </a:cubicBezTo>
                  <a:cubicBezTo>
                    <a:pt x="73" y="275"/>
                    <a:pt x="74" y="275"/>
                    <a:pt x="75" y="275"/>
                  </a:cubicBezTo>
                  <a:cubicBezTo>
                    <a:pt x="75" y="275"/>
                    <a:pt x="76" y="275"/>
                    <a:pt x="76" y="275"/>
                  </a:cubicBezTo>
                  <a:cubicBezTo>
                    <a:pt x="76" y="275"/>
                    <a:pt x="76" y="275"/>
                    <a:pt x="76" y="275"/>
                  </a:cubicBezTo>
                  <a:cubicBezTo>
                    <a:pt x="77" y="275"/>
                    <a:pt x="77" y="275"/>
                    <a:pt x="77" y="275"/>
                  </a:cubicBezTo>
                  <a:cubicBezTo>
                    <a:pt x="80" y="274"/>
                    <a:pt x="83" y="272"/>
                    <a:pt x="86" y="272"/>
                  </a:cubicBezTo>
                  <a:cubicBezTo>
                    <a:pt x="86" y="272"/>
                    <a:pt x="86" y="272"/>
                    <a:pt x="86" y="272"/>
                  </a:cubicBezTo>
                  <a:cubicBezTo>
                    <a:pt x="85" y="273"/>
                    <a:pt x="85" y="273"/>
                    <a:pt x="85" y="273"/>
                  </a:cubicBezTo>
                  <a:cubicBezTo>
                    <a:pt x="86" y="273"/>
                    <a:pt x="86" y="273"/>
                    <a:pt x="87" y="273"/>
                  </a:cubicBezTo>
                  <a:cubicBezTo>
                    <a:pt x="88" y="273"/>
                    <a:pt x="90" y="273"/>
                    <a:pt x="91" y="273"/>
                  </a:cubicBezTo>
                  <a:cubicBezTo>
                    <a:pt x="91" y="273"/>
                    <a:pt x="91" y="273"/>
                    <a:pt x="91" y="273"/>
                  </a:cubicBezTo>
                  <a:cubicBezTo>
                    <a:pt x="93" y="273"/>
                    <a:pt x="94" y="272"/>
                    <a:pt x="96" y="272"/>
                  </a:cubicBezTo>
                  <a:cubicBezTo>
                    <a:pt x="96" y="272"/>
                    <a:pt x="97" y="272"/>
                    <a:pt x="97" y="272"/>
                  </a:cubicBezTo>
                  <a:cubicBezTo>
                    <a:pt x="100" y="272"/>
                    <a:pt x="104" y="273"/>
                    <a:pt x="106" y="274"/>
                  </a:cubicBezTo>
                  <a:cubicBezTo>
                    <a:pt x="108" y="275"/>
                    <a:pt x="109" y="276"/>
                    <a:pt x="110" y="277"/>
                  </a:cubicBezTo>
                  <a:cubicBezTo>
                    <a:pt x="111" y="278"/>
                    <a:pt x="112" y="279"/>
                    <a:pt x="112" y="279"/>
                  </a:cubicBezTo>
                  <a:cubicBezTo>
                    <a:pt x="113" y="279"/>
                    <a:pt x="113" y="278"/>
                    <a:pt x="113" y="277"/>
                  </a:cubicBezTo>
                  <a:cubicBezTo>
                    <a:pt x="114" y="276"/>
                    <a:pt x="115" y="276"/>
                    <a:pt x="115" y="275"/>
                  </a:cubicBezTo>
                  <a:cubicBezTo>
                    <a:pt x="115" y="274"/>
                    <a:pt x="112" y="274"/>
                    <a:pt x="111" y="274"/>
                  </a:cubicBezTo>
                  <a:cubicBezTo>
                    <a:pt x="110" y="273"/>
                    <a:pt x="109" y="273"/>
                    <a:pt x="107" y="272"/>
                  </a:cubicBezTo>
                  <a:cubicBezTo>
                    <a:pt x="109" y="271"/>
                    <a:pt x="110" y="270"/>
                    <a:pt x="111" y="270"/>
                  </a:cubicBezTo>
                  <a:cubicBezTo>
                    <a:pt x="112" y="270"/>
                    <a:pt x="113" y="271"/>
                    <a:pt x="115" y="272"/>
                  </a:cubicBezTo>
                  <a:cubicBezTo>
                    <a:pt x="117" y="274"/>
                    <a:pt x="119" y="275"/>
                    <a:pt x="120" y="277"/>
                  </a:cubicBezTo>
                  <a:cubicBezTo>
                    <a:pt x="121" y="279"/>
                    <a:pt x="120" y="281"/>
                    <a:pt x="121" y="281"/>
                  </a:cubicBezTo>
                  <a:cubicBezTo>
                    <a:pt x="121" y="281"/>
                    <a:pt x="122" y="281"/>
                    <a:pt x="123" y="280"/>
                  </a:cubicBezTo>
                  <a:cubicBezTo>
                    <a:pt x="125" y="279"/>
                    <a:pt x="124" y="279"/>
                    <a:pt x="125" y="276"/>
                  </a:cubicBezTo>
                  <a:cubicBezTo>
                    <a:pt x="126" y="273"/>
                    <a:pt x="131" y="273"/>
                    <a:pt x="133" y="271"/>
                  </a:cubicBezTo>
                  <a:cubicBezTo>
                    <a:pt x="135" y="269"/>
                    <a:pt x="135" y="268"/>
                    <a:pt x="137" y="268"/>
                  </a:cubicBezTo>
                  <a:cubicBezTo>
                    <a:pt x="138" y="268"/>
                    <a:pt x="141" y="268"/>
                    <a:pt x="142" y="267"/>
                  </a:cubicBezTo>
                  <a:cubicBezTo>
                    <a:pt x="144" y="266"/>
                    <a:pt x="145" y="264"/>
                    <a:pt x="146" y="264"/>
                  </a:cubicBezTo>
                  <a:cubicBezTo>
                    <a:pt x="146" y="264"/>
                    <a:pt x="146" y="264"/>
                    <a:pt x="146" y="264"/>
                  </a:cubicBezTo>
                  <a:cubicBezTo>
                    <a:pt x="147" y="265"/>
                    <a:pt x="149" y="266"/>
                    <a:pt x="150" y="266"/>
                  </a:cubicBezTo>
                  <a:cubicBezTo>
                    <a:pt x="151" y="266"/>
                    <a:pt x="152" y="266"/>
                    <a:pt x="152" y="265"/>
                  </a:cubicBezTo>
                  <a:cubicBezTo>
                    <a:pt x="156" y="264"/>
                    <a:pt x="156" y="259"/>
                    <a:pt x="160" y="259"/>
                  </a:cubicBezTo>
                  <a:cubicBezTo>
                    <a:pt x="160" y="259"/>
                    <a:pt x="160" y="259"/>
                    <a:pt x="161" y="259"/>
                  </a:cubicBezTo>
                  <a:cubicBezTo>
                    <a:pt x="161" y="259"/>
                    <a:pt x="161" y="259"/>
                    <a:pt x="161" y="259"/>
                  </a:cubicBezTo>
                  <a:cubicBezTo>
                    <a:pt x="161" y="259"/>
                    <a:pt x="162" y="259"/>
                    <a:pt x="162" y="259"/>
                  </a:cubicBezTo>
                  <a:cubicBezTo>
                    <a:pt x="162" y="259"/>
                    <a:pt x="162" y="259"/>
                    <a:pt x="162" y="259"/>
                  </a:cubicBezTo>
                  <a:cubicBezTo>
                    <a:pt x="162" y="259"/>
                    <a:pt x="162" y="260"/>
                    <a:pt x="163" y="261"/>
                  </a:cubicBezTo>
                  <a:cubicBezTo>
                    <a:pt x="163" y="263"/>
                    <a:pt x="164" y="262"/>
                    <a:pt x="165" y="263"/>
                  </a:cubicBezTo>
                  <a:cubicBezTo>
                    <a:pt x="167" y="266"/>
                    <a:pt x="168" y="267"/>
                    <a:pt x="165" y="269"/>
                  </a:cubicBezTo>
                  <a:cubicBezTo>
                    <a:pt x="162" y="272"/>
                    <a:pt x="160" y="273"/>
                    <a:pt x="156" y="275"/>
                  </a:cubicBezTo>
                  <a:cubicBezTo>
                    <a:pt x="156" y="275"/>
                    <a:pt x="156" y="275"/>
                    <a:pt x="156" y="275"/>
                  </a:cubicBezTo>
                  <a:cubicBezTo>
                    <a:pt x="155" y="275"/>
                    <a:pt x="155" y="275"/>
                    <a:pt x="155" y="274"/>
                  </a:cubicBezTo>
                  <a:cubicBezTo>
                    <a:pt x="154" y="274"/>
                    <a:pt x="154" y="274"/>
                    <a:pt x="154" y="274"/>
                  </a:cubicBezTo>
                  <a:cubicBezTo>
                    <a:pt x="153" y="274"/>
                    <a:pt x="153" y="274"/>
                    <a:pt x="153" y="275"/>
                  </a:cubicBezTo>
                  <a:cubicBezTo>
                    <a:pt x="152" y="276"/>
                    <a:pt x="153" y="278"/>
                    <a:pt x="154" y="279"/>
                  </a:cubicBezTo>
                  <a:cubicBezTo>
                    <a:pt x="154" y="279"/>
                    <a:pt x="155" y="279"/>
                    <a:pt x="155" y="279"/>
                  </a:cubicBezTo>
                  <a:cubicBezTo>
                    <a:pt x="155" y="279"/>
                    <a:pt x="155" y="279"/>
                    <a:pt x="156" y="279"/>
                  </a:cubicBezTo>
                  <a:cubicBezTo>
                    <a:pt x="156" y="279"/>
                    <a:pt x="157" y="278"/>
                    <a:pt x="157" y="278"/>
                  </a:cubicBezTo>
                  <a:cubicBezTo>
                    <a:pt x="157" y="278"/>
                    <a:pt x="157" y="278"/>
                    <a:pt x="158" y="279"/>
                  </a:cubicBezTo>
                  <a:cubicBezTo>
                    <a:pt x="158" y="279"/>
                    <a:pt x="159" y="282"/>
                    <a:pt x="160" y="283"/>
                  </a:cubicBezTo>
                  <a:cubicBezTo>
                    <a:pt x="161" y="284"/>
                    <a:pt x="163" y="284"/>
                    <a:pt x="164" y="286"/>
                  </a:cubicBezTo>
                  <a:cubicBezTo>
                    <a:pt x="164" y="288"/>
                    <a:pt x="163" y="290"/>
                    <a:pt x="164" y="292"/>
                  </a:cubicBezTo>
                  <a:cubicBezTo>
                    <a:pt x="164" y="293"/>
                    <a:pt x="165" y="295"/>
                    <a:pt x="166" y="296"/>
                  </a:cubicBezTo>
                  <a:cubicBezTo>
                    <a:pt x="168" y="301"/>
                    <a:pt x="168" y="303"/>
                    <a:pt x="164" y="306"/>
                  </a:cubicBezTo>
                  <a:cubicBezTo>
                    <a:pt x="163" y="308"/>
                    <a:pt x="162" y="310"/>
                    <a:pt x="160" y="311"/>
                  </a:cubicBezTo>
                  <a:cubicBezTo>
                    <a:pt x="158" y="312"/>
                    <a:pt x="155" y="312"/>
                    <a:pt x="152" y="312"/>
                  </a:cubicBezTo>
                  <a:cubicBezTo>
                    <a:pt x="149" y="312"/>
                    <a:pt x="145" y="312"/>
                    <a:pt x="143" y="312"/>
                  </a:cubicBezTo>
                  <a:cubicBezTo>
                    <a:pt x="142" y="312"/>
                    <a:pt x="140" y="312"/>
                    <a:pt x="139" y="312"/>
                  </a:cubicBezTo>
                  <a:cubicBezTo>
                    <a:pt x="138" y="312"/>
                    <a:pt x="137" y="312"/>
                    <a:pt x="135" y="312"/>
                  </a:cubicBezTo>
                  <a:cubicBezTo>
                    <a:pt x="135" y="312"/>
                    <a:pt x="134" y="311"/>
                    <a:pt x="133" y="311"/>
                  </a:cubicBezTo>
                  <a:cubicBezTo>
                    <a:pt x="133" y="311"/>
                    <a:pt x="133" y="311"/>
                    <a:pt x="132" y="311"/>
                  </a:cubicBezTo>
                  <a:cubicBezTo>
                    <a:pt x="131" y="312"/>
                    <a:pt x="129" y="316"/>
                    <a:pt x="128" y="318"/>
                  </a:cubicBezTo>
                  <a:cubicBezTo>
                    <a:pt x="127" y="319"/>
                    <a:pt x="126" y="321"/>
                    <a:pt x="124" y="322"/>
                  </a:cubicBezTo>
                  <a:cubicBezTo>
                    <a:pt x="123" y="322"/>
                    <a:pt x="122" y="323"/>
                    <a:pt x="121" y="323"/>
                  </a:cubicBezTo>
                  <a:cubicBezTo>
                    <a:pt x="119" y="324"/>
                    <a:pt x="120" y="324"/>
                    <a:pt x="119" y="325"/>
                  </a:cubicBezTo>
                  <a:cubicBezTo>
                    <a:pt x="116" y="328"/>
                    <a:pt x="113" y="329"/>
                    <a:pt x="110" y="329"/>
                  </a:cubicBezTo>
                  <a:cubicBezTo>
                    <a:pt x="107" y="329"/>
                    <a:pt x="104" y="328"/>
                    <a:pt x="101" y="325"/>
                  </a:cubicBezTo>
                  <a:cubicBezTo>
                    <a:pt x="99" y="323"/>
                    <a:pt x="98" y="323"/>
                    <a:pt x="95" y="322"/>
                  </a:cubicBezTo>
                  <a:cubicBezTo>
                    <a:pt x="95" y="322"/>
                    <a:pt x="94" y="322"/>
                    <a:pt x="94" y="322"/>
                  </a:cubicBezTo>
                  <a:cubicBezTo>
                    <a:pt x="89" y="322"/>
                    <a:pt x="84" y="325"/>
                    <a:pt x="79" y="326"/>
                  </a:cubicBezTo>
                  <a:cubicBezTo>
                    <a:pt x="81" y="327"/>
                    <a:pt x="84" y="328"/>
                    <a:pt x="85" y="330"/>
                  </a:cubicBezTo>
                  <a:cubicBezTo>
                    <a:pt x="84" y="330"/>
                    <a:pt x="83" y="330"/>
                    <a:pt x="82" y="330"/>
                  </a:cubicBezTo>
                  <a:cubicBezTo>
                    <a:pt x="82" y="330"/>
                    <a:pt x="81" y="330"/>
                    <a:pt x="81" y="330"/>
                  </a:cubicBezTo>
                  <a:cubicBezTo>
                    <a:pt x="80" y="330"/>
                    <a:pt x="80" y="330"/>
                    <a:pt x="79" y="330"/>
                  </a:cubicBezTo>
                  <a:cubicBezTo>
                    <a:pt x="77" y="330"/>
                    <a:pt x="75" y="330"/>
                    <a:pt x="74" y="333"/>
                  </a:cubicBezTo>
                  <a:cubicBezTo>
                    <a:pt x="73" y="335"/>
                    <a:pt x="72" y="337"/>
                    <a:pt x="72" y="339"/>
                  </a:cubicBezTo>
                  <a:cubicBezTo>
                    <a:pt x="73" y="343"/>
                    <a:pt x="73" y="344"/>
                    <a:pt x="74" y="344"/>
                  </a:cubicBezTo>
                  <a:cubicBezTo>
                    <a:pt x="76" y="344"/>
                    <a:pt x="78" y="340"/>
                    <a:pt x="81" y="340"/>
                  </a:cubicBezTo>
                  <a:cubicBezTo>
                    <a:pt x="79" y="343"/>
                    <a:pt x="77" y="345"/>
                    <a:pt x="75" y="348"/>
                  </a:cubicBezTo>
                  <a:cubicBezTo>
                    <a:pt x="74" y="349"/>
                    <a:pt x="74" y="349"/>
                    <a:pt x="74" y="349"/>
                  </a:cubicBezTo>
                  <a:cubicBezTo>
                    <a:pt x="74" y="349"/>
                    <a:pt x="74" y="348"/>
                    <a:pt x="73" y="348"/>
                  </a:cubicBezTo>
                  <a:cubicBezTo>
                    <a:pt x="72" y="348"/>
                    <a:pt x="71" y="348"/>
                    <a:pt x="70" y="348"/>
                  </a:cubicBezTo>
                  <a:cubicBezTo>
                    <a:pt x="69" y="348"/>
                    <a:pt x="68" y="348"/>
                    <a:pt x="66" y="350"/>
                  </a:cubicBezTo>
                  <a:cubicBezTo>
                    <a:pt x="62" y="353"/>
                    <a:pt x="58" y="357"/>
                    <a:pt x="54" y="362"/>
                  </a:cubicBezTo>
                  <a:cubicBezTo>
                    <a:pt x="52" y="365"/>
                    <a:pt x="52" y="367"/>
                    <a:pt x="54" y="371"/>
                  </a:cubicBezTo>
                  <a:cubicBezTo>
                    <a:pt x="55" y="374"/>
                    <a:pt x="46" y="373"/>
                    <a:pt x="44" y="373"/>
                  </a:cubicBezTo>
                  <a:cubicBezTo>
                    <a:pt x="46" y="375"/>
                    <a:pt x="49" y="376"/>
                    <a:pt x="51" y="378"/>
                  </a:cubicBezTo>
                  <a:cubicBezTo>
                    <a:pt x="49" y="379"/>
                    <a:pt x="47" y="380"/>
                    <a:pt x="44" y="380"/>
                  </a:cubicBezTo>
                  <a:cubicBezTo>
                    <a:pt x="44" y="380"/>
                    <a:pt x="43" y="380"/>
                    <a:pt x="42" y="379"/>
                  </a:cubicBezTo>
                  <a:cubicBezTo>
                    <a:pt x="41" y="383"/>
                    <a:pt x="43" y="383"/>
                    <a:pt x="47" y="383"/>
                  </a:cubicBezTo>
                  <a:cubicBezTo>
                    <a:pt x="47" y="383"/>
                    <a:pt x="47" y="383"/>
                    <a:pt x="47" y="383"/>
                  </a:cubicBezTo>
                  <a:cubicBezTo>
                    <a:pt x="47" y="383"/>
                    <a:pt x="47" y="383"/>
                    <a:pt x="48" y="383"/>
                  </a:cubicBezTo>
                  <a:cubicBezTo>
                    <a:pt x="48" y="383"/>
                    <a:pt x="48" y="383"/>
                    <a:pt x="49" y="383"/>
                  </a:cubicBezTo>
                  <a:cubicBezTo>
                    <a:pt x="49" y="383"/>
                    <a:pt x="50" y="383"/>
                    <a:pt x="50" y="383"/>
                  </a:cubicBezTo>
                  <a:cubicBezTo>
                    <a:pt x="52" y="385"/>
                    <a:pt x="49" y="386"/>
                    <a:pt x="49" y="387"/>
                  </a:cubicBezTo>
                  <a:cubicBezTo>
                    <a:pt x="47" y="392"/>
                    <a:pt x="54" y="390"/>
                    <a:pt x="55" y="392"/>
                  </a:cubicBezTo>
                  <a:cubicBezTo>
                    <a:pt x="56" y="394"/>
                    <a:pt x="54" y="396"/>
                    <a:pt x="55" y="398"/>
                  </a:cubicBezTo>
                  <a:cubicBezTo>
                    <a:pt x="56" y="399"/>
                    <a:pt x="59" y="399"/>
                    <a:pt x="61" y="399"/>
                  </a:cubicBezTo>
                  <a:cubicBezTo>
                    <a:pt x="61" y="399"/>
                    <a:pt x="61" y="399"/>
                    <a:pt x="61" y="399"/>
                  </a:cubicBezTo>
                  <a:cubicBezTo>
                    <a:pt x="61" y="398"/>
                    <a:pt x="61" y="395"/>
                    <a:pt x="61" y="394"/>
                  </a:cubicBezTo>
                  <a:cubicBezTo>
                    <a:pt x="62" y="393"/>
                    <a:pt x="64" y="394"/>
                    <a:pt x="64" y="392"/>
                  </a:cubicBezTo>
                  <a:cubicBezTo>
                    <a:pt x="65" y="394"/>
                    <a:pt x="62" y="394"/>
                    <a:pt x="61" y="395"/>
                  </a:cubicBezTo>
                  <a:cubicBezTo>
                    <a:pt x="63" y="396"/>
                    <a:pt x="64" y="396"/>
                    <a:pt x="66" y="397"/>
                  </a:cubicBezTo>
                  <a:cubicBezTo>
                    <a:pt x="66" y="395"/>
                    <a:pt x="67" y="395"/>
                    <a:pt x="68" y="394"/>
                  </a:cubicBezTo>
                  <a:cubicBezTo>
                    <a:pt x="67" y="396"/>
                    <a:pt x="66" y="397"/>
                    <a:pt x="65" y="398"/>
                  </a:cubicBezTo>
                  <a:cubicBezTo>
                    <a:pt x="66" y="398"/>
                    <a:pt x="69" y="399"/>
                    <a:pt x="71" y="399"/>
                  </a:cubicBezTo>
                  <a:cubicBezTo>
                    <a:pt x="72" y="399"/>
                    <a:pt x="74" y="398"/>
                    <a:pt x="74" y="398"/>
                  </a:cubicBezTo>
                  <a:cubicBezTo>
                    <a:pt x="73" y="400"/>
                    <a:pt x="70" y="399"/>
                    <a:pt x="71" y="402"/>
                  </a:cubicBezTo>
                  <a:cubicBezTo>
                    <a:pt x="70" y="402"/>
                    <a:pt x="70" y="402"/>
                    <a:pt x="70" y="402"/>
                  </a:cubicBezTo>
                  <a:cubicBezTo>
                    <a:pt x="68" y="402"/>
                    <a:pt x="66" y="402"/>
                    <a:pt x="65" y="403"/>
                  </a:cubicBezTo>
                  <a:cubicBezTo>
                    <a:pt x="66" y="404"/>
                    <a:pt x="67" y="404"/>
                    <a:pt x="68" y="404"/>
                  </a:cubicBezTo>
                  <a:cubicBezTo>
                    <a:pt x="69" y="404"/>
                    <a:pt x="69" y="404"/>
                    <a:pt x="70" y="404"/>
                  </a:cubicBezTo>
                  <a:cubicBezTo>
                    <a:pt x="70" y="404"/>
                    <a:pt x="71" y="404"/>
                    <a:pt x="71" y="404"/>
                  </a:cubicBezTo>
                  <a:cubicBezTo>
                    <a:pt x="72" y="404"/>
                    <a:pt x="72" y="404"/>
                    <a:pt x="72" y="404"/>
                  </a:cubicBezTo>
                  <a:cubicBezTo>
                    <a:pt x="73" y="404"/>
                    <a:pt x="74" y="405"/>
                    <a:pt x="75" y="405"/>
                  </a:cubicBezTo>
                  <a:cubicBezTo>
                    <a:pt x="75" y="405"/>
                    <a:pt x="75" y="405"/>
                    <a:pt x="75" y="405"/>
                  </a:cubicBezTo>
                  <a:cubicBezTo>
                    <a:pt x="75" y="405"/>
                    <a:pt x="76" y="405"/>
                    <a:pt x="76" y="405"/>
                  </a:cubicBezTo>
                  <a:cubicBezTo>
                    <a:pt x="76" y="405"/>
                    <a:pt x="77" y="405"/>
                    <a:pt x="77" y="405"/>
                  </a:cubicBezTo>
                  <a:cubicBezTo>
                    <a:pt x="77" y="405"/>
                    <a:pt x="77" y="405"/>
                    <a:pt x="77" y="405"/>
                  </a:cubicBezTo>
                  <a:cubicBezTo>
                    <a:pt x="79" y="405"/>
                    <a:pt x="80" y="407"/>
                    <a:pt x="82" y="407"/>
                  </a:cubicBezTo>
                  <a:cubicBezTo>
                    <a:pt x="83" y="407"/>
                    <a:pt x="83" y="407"/>
                    <a:pt x="84" y="407"/>
                  </a:cubicBezTo>
                  <a:cubicBezTo>
                    <a:pt x="85" y="407"/>
                    <a:pt x="86" y="407"/>
                    <a:pt x="88" y="407"/>
                  </a:cubicBezTo>
                  <a:cubicBezTo>
                    <a:pt x="89" y="407"/>
                    <a:pt x="90" y="407"/>
                    <a:pt x="91" y="407"/>
                  </a:cubicBezTo>
                  <a:cubicBezTo>
                    <a:pt x="92" y="407"/>
                    <a:pt x="92" y="407"/>
                    <a:pt x="93" y="407"/>
                  </a:cubicBezTo>
                  <a:cubicBezTo>
                    <a:pt x="94" y="407"/>
                    <a:pt x="94" y="406"/>
                    <a:pt x="95" y="405"/>
                  </a:cubicBezTo>
                  <a:cubicBezTo>
                    <a:pt x="96" y="405"/>
                    <a:pt x="98" y="403"/>
                    <a:pt x="98" y="403"/>
                  </a:cubicBezTo>
                  <a:cubicBezTo>
                    <a:pt x="99" y="403"/>
                    <a:pt x="99" y="403"/>
                    <a:pt x="99" y="403"/>
                  </a:cubicBezTo>
                  <a:cubicBezTo>
                    <a:pt x="100" y="403"/>
                    <a:pt x="100" y="403"/>
                    <a:pt x="100" y="404"/>
                  </a:cubicBezTo>
                  <a:cubicBezTo>
                    <a:pt x="100" y="405"/>
                    <a:pt x="102" y="405"/>
                    <a:pt x="103" y="405"/>
                  </a:cubicBezTo>
                  <a:cubicBezTo>
                    <a:pt x="102" y="407"/>
                    <a:pt x="101" y="407"/>
                    <a:pt x="100" y="407"/>
                  </a:cubicBezTo>
                  <a:cubicBezTo>
                    <a:pt x="99" y="407"/>
                    <a:pt x="99" y="407"/>
                    <a:pt x="98" y="407"/>
                  </a:cubicBezTo>
                  <a:cubicBezTo>
                    <a:pt x="98" y="407"/>
                    <a:pt x="98" y="407"/>
                    <a:pt x="97" y="407"/>
                  </a:cubicBezTo>
                  <a:cubicBezTo>
                    <a:pt x="96" y="407"/>
                    <a:pt x="96" y="407"/>
                    <a:pt x="95" y="407"/>
                  </a:cubicBezTo>
                  <a:cubicBezTo>
                    <a:pt x="97" y="408"/>
                    <a:pt x="104" y="408"/>
                    <a:pt x="106" y="411"/>
                  </a:cubicBezTo>
                  <a:cubicBezTo>
                    <a:pt x="107" y="413"/>
                    <a:pt x="102" y="417"/>
                    <a:pt x="99" y="417"/>
                  </a:cubicBezTo>
                  <a:cubicBezTo>
                    <a:pt x="98" y="417"/>
                    <a:pt x="98" y="417"/>
                    <a:pt x="98" y="417"/>
                  </a:cubicBezTo>
                  <a:cubicBezTo>
                    <a:pt x="95" y="416"/>
                    <a:pt x="97" y="410"/>
                    <a:pt x="94" y="410"/>
                  </a:cubicBezTo>
                  <a:cubicBezTo>
                    <a:pt x="93" y="410"/>
                    <a:pt x="93" y="410"/>
                    <a:pt x="93" y="410"/>
                  </a:cubicBezTo>
                  <a:cubicBezTo>
                    <a:pt x="91" y="411"/>
                    <a:pt x="91" y="413"/>
                    <a:pt x="90" y="413"/>
                  </a:cubicBezTo>
                  <a:cubicBezTo>
                    <a:pt x="89" y="414"/>
                    <a:pt x="87" y="414"/>
                    <a:pt x="86" y="415"/>
                  </a:cubicBezTo>
                  <a:cubicBezTo>
                    <a:pt x="85" y="416"/>
                    <a:pt x="84" y="418"/>
                    <a:pt x="83" y="418"/>
                  </a:cubicBezTo>
                  <a:cubicBezTo>
                    <a:pt x="83" y="417"/>
                    <a:pt x="84" y="416"/>
                    <a:pt x="85" y="415"/>
                  </a:cubicBezTo>
                  <a:cubicBezTo>
                    <a:pt x="87" y="414"/>
                    <a:pt x="87" y="414"/>
                    <a:pt x="87" y="414"/>
                  </a:cubicBezTo>
                  <a:cubicBezTo>
                    <a:pt x="88" y="411"/>
                    <a:pt x="86" y="410"/>
                    <a:pt x="83" y="409"/>
                  </a:cubicBezTo>
                  <a:cubicBezTo>
                    <a:pt x="82" y="409"/>
                    <a:pt x="79" y="409"/>
                    <a:pt x="77" y="409"/>
                  </a:cubicBezTo>
                  <a:cubicBezTo>
                    <a:pt x="76" y="408"/>
                    <a:pt x="76" y="406"/>
                    <a:pt x="75" y="406"/>
                  </a:cubicBezTo>
                  <a:cubicBezTo>
                    <a:pt x="75" y="406"/>
                    <a:pt x="75" y="406"/>
                    <a:pt x="75" y="406"/>
                  </a:cubicBezTo>
                  <a:cubicBezTo>
                    <a:pt x="75" y="406"/>
                    <a:pt x="74" y="406"/>
                    <a:pt x="74" y="406"/>
                  </a:cubicBezTo>
                  <a:cubicBezTo>
                    <a:pt x="74" y="407"/>
                    <a:pt x="73" y="407"/>
                    <a:pt x="73" y="407"/>
                  </a:cubicBezTo>
                  <a:cubicBezTo>
                    <a:pt x="73" y="407"/>
                    <a:pt x="73" y="407"/>
                    <a:pt x="73" y="407"/>
                  </a:cubicBezTo>
                  <a:cubicBezTo>
                    <a:pt x="72" y="407"/>
                    <a:pt x="72" y="405"/>
                    <a:pt x="71" y="405"/>
                  </a:cubicBezTo>
                  <a:cubicBezTo>
                    <a:pt x="71" y="405"/>
                    <a:pt x="71" y="405"/>
                    <a:pt x="71" y="405"/>
                  </a:cubicBezTo>
                  <a:cubicBezTo>
                    <a:pt x="70" y="406"/>
                    <a:pt x="71" y="408"/>
                    <a:pt x="71" y="409"/>
                  </a:cubicBezTo>
                  <a:cubicBezTo>
                    <a:pt x="71" y="410"/>
                    <a:pt x="69" y="410"/>
                    <a:pt x="69" y="410"/>
                  </a:cubicBezTo>
                  <a:cubicBezTo>
                    <a:pt x="68" y="411"/>
                    <a:pt x="70" y="412"/>
                    <a:pt x="69" y="413"/>
                  </a:cubicBezTo>
                  <a:cubicBezTo>
                    <a:pt x="67" y="416"/>
                    <a:pt x="62" y="416"/>
                    <a:pt x="60" y="418"/>
                  </a:cubicBezTo>
                  <a:cubicBezTo>
                    <a:pt x="61" y="419"/>
                    <a:pt x="64" y="419"/>
                    <a:pt x="66" y="419"/>
                  </a:cubicBezTo>
                  <a:cubicBezTo>
                    <a:pt x="66" y="419"/>
                    <a:pt x="66" y="419"/>
                    <a:pt x="66" y="419"/>
                  </a:cubicBezTo>
                  <a:cubicBezTo>
                    <a:pt x="67" y="419"/>
                    <a:pt x="68" y="418"/>
                    <a:pt x="69" y="418"/>
                  </a:cubicBezTo>
                  <a:cubicBezTo>
                    <a:pt x="69" y="418"/>
                    <a:pt x="69" y="418"/>
                    <a:pt x="69" y="418"/>
                  </a:cubicBezTo>
                  <a:cubicBezTo>
                    <a:pt x="71" y="419"/>
                    <a:pt x="67" y="421"/>
                    <a:pt x="67" y="421"/>
                  </a:cubicBezTo>
                  <a:cubicBezTo>
                    <a:pt x="67" y="423"/>
                    <a:pt x="66" y="422"/>
                    <a:pt x="68" y="423"/>
                  </a:cubicBezTo>
                  <a:cubicBezTo>
                    <a:pt x="69" y="425"/>
                    <a:pt x="73" y="426"/>
                    <a:pt x="75" y="426"/>
                  </a:cubicBezTo>
                  <a:cubicBezTo>
                    <a:pt x="75" y="427"/>
                    <a:pt x="75" y="427"/>
                    <a:pt x="76" y="427"/>
                  </a:cubicBezTo>
                  <a:cubicBezTo>
                    <a:pt x="76" y="427"/>
                    <a:pt x="76" y="426"/>
                    <a:pt x="76" y="426"/>
                  </a:cubicBezTo>
                  <a:cubicBezTo>
                    <a:pt x="77" y="426"/>
                    <a:pt x="77" y="426"/>
                    <a:pt x="77" y="426"/>
                  </a:cubicBezTo>
                  <a:cubicBezTo>
                    <a:pt x="78" y="426"/>
                    <a:pt x="78" y="426"/>
                    <a:pt x="78" y="427"/>
                  </a:cubicBezTo>
                  <a:cubicBezTo>
                    <a:pt x="82" y="431"/>
                    <a:pt x="85" y="438"/>
                    <a:pt x="89" y="442"/>
                  </a:cubicBezTo>
                  <a:cubicBezTo>
                    <a:pt x="91" y="444"/>
                    <a:pt x="96" y="444"/>
                    <a:pt x="99" y="444"/>
                  </a:cubicBezTo>
                  <a:cubicBezTo>
                    <a:pt x="99" y="444"/>
                    <a:pt x="99" y="444"/>
                    <a:pt x="99" y="444"/>
                  </a:cubicBezTo>
                  <a:cubicBezTo>
                    <a:pt x="102" y="444"/>
                    <a:pt x="123" y="442"/>
                    <a:pt x="122" y="437"/>
                  </a:cubicBezTo>
                  <a:cubicBezTo>
                    <a:pt x="123" y="438"/>
                    <a:pt x="124" y="438"/>
                    <a:pt x="124" y="438"/>
                  </a:cubicBezTo>
                  <a:cubicBezTo>
                    <a:pt x="126" y="438"/>
                    <a:pt x="128" y="437"/>
                    <a:pt x="128" y="435"/>
                  </a:cubicBezTo>
                  <a:cubicBezTo>
                    <a:pt x="129" y="431"/>
                    <a:pt x="129" y="431"/>
                    <a:pt x="129" y="431"/>
                  </a:cubicBezTo>
                  <a:cubicBezTo>
                    <a:pt x="128" y="429"/>
                    <a:pt x="125" y="429"/>
                    <a:pt x="123" y="428"/>
                  </a:cubicBezTo>
                  <a:cubicBezTo>
                    <a:pt x="124" y="428"/>
                    <a:pt x="124" y="428"/>
                    <a:pt x="124" y="428"/>
                  </a:cubicBezTo>
                  <a:cubicBezTo>
                    <a:pt x="126" y="428"/>
                    <a:pt x="125" y="428"/>
                    <a:pt x="126" y="427"/>
                  </a:cubicBezTo>
                  <a:cubicBezTo>
                    <a:pt x="126" y="426"/>
                    <a:pt x="126" y="426"/>
                    <a:pt x="126" y="426"/>
                  </a:cubicBezTo>
                  <a:cubicBezTo>
                    <a:pt x="127" y="425"/>
                    <a:pt x="127" y="425"/>
                    <a:pt x="127" y="425"/>
                  </a:cubicBezTo>
                  <a:cubicBezTo>
                    <a:pt x="128" y="425"/>
                    <a:pt x="129" y="424"/>
                    <a:pt x="129" y="424"/>
                  </a:cubicBezTo>
                  <a:cubicBezTo>
                    <a:pt x="130" y="424"/>
                    <a:pt x="129" y="423"/>
                    <a:pt x="129" y="422"/>
                  </a:cubicBezTo>
                  <a:cubicBezTo>
                    <a:pt x="129" y="422"/>
                    <a:pt x="129" y="422"/>
                    <a:pt x="129" y="422"/>
                  </a:cubicBezTo>
                  <a:cubicBezTo>
                    <a:pt x="129" y="422"/>
                    <a:pt x="129" y="422"/>
                    <a:pt x="130" y="422"/>
                  </a:cubicBezTo>
                  <a:cubicBezTo>
                    <a:pt x="130" y="422"/>
                    <a:pt x="130" y="422"/>
                    <a:pt x="130" y="422"/>
                  </a:cubicBezTo>
                  <a:cubicBezTo>
                    <a:pt x="130" y="422"/>
                    <a:pt x="130" y="422"/>
                    <a:pt x="130" y="422"/>
                  </a:cubicBezTo>
                  <a:cubicBezTo>
                    <a:pt x="131" y="421"/>
                    <a:pt x="132" y="418"/>
                    <a:pt x="132" y="417"/>
                  </a:cubicBezTo>
                  <a:cubicBezTo>
                    <a:pt x="134" y="415"/>
                    <a:pt x="137" y="415"/>
                    <a:pt x="136" y="412"/>
                  </a:cubicBezTo>
                  <a:cubicBezTo>
                    <a:pt x="137" y="413"/>
                    <a:pt x="137" y="413"/>
                    <a:pt x="138" y="413"/>
                  </a:cubicBezTo>
                  <a:cubicBezTo>
                    <a:pt x="139" y="413"/>
                    <a:pt x="140" y="413"/>
                    <a:pt x="141" y="413"/>
                  </a:cubicBezTo>
                  <a:cubicBezTo>
                    <a:pt x="140" y="415"/>
                    <a:pt x="137" y="414"/>
                    <a:pt x="135" y="416"/>
                  </a:cubicBezTo>
                  <a:cubicBezTo>
                    <a:pt x="133" y="418"/>
                    <a:pt x="133" y="421"/>
                    <a:pt x="132" y="423"/>
                  </a:cubicBezTo>
                  <a:cubicBezTo>
                    <a:pt x="131" y="423"/>
                    <a:pt x="129" y="427"/>
                    <a:pt x="129" y="427"/>
                  </a:cubicBezTo>
                  <a:cubicBezTo>
                    <a:pt x="129" y="427"/>
                    <a:pt x="129" y="427"/>
                    <a:pt x="129" y="427"/>
                  </a:cubicBezTo>
                  <a:cubicBezTo>
                    <a:pt x="129" y="428"/>
                    <a:pt x="131" y="430"/>
                    <a:pt x="132" y="431"/>
                  </a:cubicBezTo>
                  <a:cubicBezTo>
                    <a:pt x="132" y="432"/>
                    <a:pt x="132" y="432"/>
                    <a:pt x="132" y="432"/>
                  </a:cubicBezTo>
                  <a:cubicBezTo>
                    <a:pt x="132" y="432"/>
                    <a:pt x="133" y="430"/>
                    <a:pt x="133" y="429"/>
                  </a:cubicBezTo>
                  <a:cubicBezTo>
                    <a:pt x="133" y="430"/>
                    <a:pt x="134" y="430"/>
                    <a:pt x="134" y="430"/>
                  </a:cubicBezTo>
                  <a:cubicBezTo>
                    <a:pt x="134" y="430"/>
                    <a:pt x="135" y="429"/>
                    <a:pt x="135" y="429"/>
                  </a:cubicBezTo>
                  <a:cubicBezTo>
                    <a:pt x="135" y="432"/>
                    <a:pt x="135" y="434"/>
                    <a:pt x="136" y="437"/>
                  </a:cubicBezTo>
                  <a:cubicBezTo>
                    <a:pt x="136" y="438"/>
                    <a:pt x="137" y="439"/>
                    <a:pt x="137" y="441"/>
                  </a:cubicBezTo>
                  <a:cubicBezTo>
                    <a:pt x="137" y="442"/>
                    <a:pt x="139" y="444"/>
                    <a:pt x="140" y="445"/>
                  </a:cubicBezTo>
                  <a:cubicBezTo>
                    <a:pt x="141" y="446"/>
                    <a:pt x="141" y="448"/>
                    <a:pt x="142" y="450"/>
                  </a:cubicBezTo>
                  <a:cubicBezTo>
                    <a:pt x="143" y="451"/>
                    <a:pt x="144" y="452"/>
                    <a:pt x="145" y="453"/>
                  </a:cubicBezTo>
                  <a:cubicBezTo>
                    <a:pt x="146" y="456"/>
                    <a:pt x="143" y="456"/>
                    <a:pt x="141" y="458"/>
                  </a:cubicBezTo>
                  <a:cubicBezTo>
                    <a:pt x="138" y="461"/>
                    <a:pt x="138" y="463"/>
                    <a:pt x="140" y="467"/>
                  </a:cubicBezTo>
                  <a:cubicBezTo>
                    <a:pt x="140" y="469"/>
                    <a:pt x="141" y="469"/>
                    <a:pt x="142" y="469"/>
                  </a:cubicBezTo>
                  <a:cubicBezTo>
                    <a:pt x="143" y="469"/>
                    <a:pt x="144" y="469"/>
                    <a:pt x="144" y="468"/>
                  </a:cubicBezTo>
                  <a:cubicBezTo>
                    <a:pt x="145" y="468"/>
                    <a:pt x="146" y="467"/>
                    <a:pt x="147" y="467"/>
                  </a:cubicBezTo>
                  <a:cubicBezTo>
                    <a:pt x="148" y="467"/>
                    <a:pt x="148" y="467"/>
                    <a:pt x="149" y="468"/>
                  </a:cubicBezTo>
                  <a:cubicBezTo>
                    <a:pt x="148" y="468"/>
                    <a:pt x="143" y="469"/>
                    <a:pt x="143" y="470"/>
                  </a:cubicBezTo>
                  <a:cubicBezTo>
                    <a:pt x="142" y="471"/>
                    <a:pt x="144" y="473"/>
                    <a:pt x="144" y="474"/>
                  </a:cubicBezTo>
                  <a:cubicBezTo>
                    <a:pt x="144" y="475"/>
                    <a:pt x="145" y="478"/>
                    <a:pt x="144" y="479"/>
                  </a:cubicBezTo>
                  <a:cubicBezTo>
                    <a:pt x="145" y="478"/>
                    <a:pt x="146" y="478"/>
                    <a:pt x="146" y="478"/>
                  </a:cubicBezTo>
                  <a:cubicBezTo>
                    <a:pt x="147" y="478"/>
                    <a:pt x="147" y="479"/>
                    <a:pt x="146" y="479"/>
                  </a:cubicBezTo>
                  <a:cubicBezTo>
                    <a:pt x="143" y="481"/>
                    <a:pt x="139" y="482"/>
                    <a:pt x="135" y="484"/>
                  </a:cubicBezTo>
                  <a:cubicBezTo>
                    <a:pt x="136" y="484"/>
                    <a:pt x="137" y="484"/>
                    <a:pt x="138" y="484"/>
                  </a:cubicBezTo>
                  <a:cubicBezTo>
                    <a:pt x="139" y="484"/>
                    <a:pt x="139" y="484"/>
                    <a:pt x="139" y="484"/>
                  </a:cubicBezTo>
                  <a:cubicBezTo>
                    <a:pt x="140" y="484"/>
                    <a:pt x="140" y="484"/>
                    <a:pt x="140" y="484"/>
                  </a:cubicBezTo>
                  <a:cubicBezTo>
                    <a:pt x="142" y="484"/>
                    <a:pt x="144" y="484"/>
                    <a:pt x="145" y="485"/>
                  </a:cubicBezTo>
                  <a:cubicBezTo>
                    <a:pt x="145" y="485"/>
                    <a:pt x="145" y="484"/>
                    <a:pt x="145" y="484"/>
                  </a:cubicBezTo>
                  <a:cubicBezTo>
                    <a:pt x="146" y="485"/>
                    <a:pt x="146" y="486"/>
                    <a:pt x="146" y="486"/>
                  </a:cubicBezTo>
                  <a:cubicBezTo>
                    <a:pt x="147" y="485"/>
                    <a:pt x="150" y="485"/>
                    <a:pt x="152" y="484"/>
                  </a:cubicBezTo>
                  <a:cubicBezTo>
                    <a:pt x="154" y="483"/>
                    <a:pt x="154" y="483"/>
                    <a:pt x="155" y="482"/>
                  </a:cubicBezTo>
                  <a:cubicBezTo>
                    <a:pt x="156" y="481"/>
                    <a:pt x="155" y="479"/>
                    <a:pt x="157" y="479"/>
                  </a:cubicBezTo>
                  <a:cubicBezTo>
                    <a:pt x="156" y="479"/>
                    <a:pt x="156" y="479"/>
                    <a:pt x="156" y="479"/>
                  </a:cubicBezTo>
                  <a:cubicBezTo>
                    <a:pt x="156" y="479"/>
                    <a:pt x="156" y="479"/>
                    <a:pt x="156" y="479"/>
                  </a:cubicBezTo>
                  <a:cubicBezTo>
                    <a:pt x="157" y="479"/>
                    <a:pt x="158" y="478"/>
                    <a:pt x="160" y="477"/>
                  </a:cubicBezTo>
                  <a:cubicBezTo>
                    <a:pt x="162" y="477"/>
                    <a:pt x="163" y="476"/>
                    <a:pt x="165" y="476"/>
                  </a:cubicBezTo>
                  <a:cubicBezTo>
                    <a:pt x="165" y="476"/>
                    <a:pt x="166" y="476"/>
                    <a:pt x="166" y="477"/>
                  </a:cubicBezTo>
                  <a:cubicBezTo>
                    <a:pt x="167" y="476"/>
                    <a:pt x="168" y="475"/>
                    <a:pt x="169" y="474"/>
                  </a:cubicBezTo>
                  <a:cubicBezTo>
                    <a:pt x="170" y="473"/>
                    <a:pt x="175" y="470"/>
                    <a:pt x="177" y="470"/>
                  </a:cubicBezTo>
                  <a:cubicBezTo>
                    <a:pt x="177" y="470"/>
                    <a:pt x="177" y="470"/>
                    <a:pt x="177" y="470"/>
                  </a:cubicBezTo>
                  <a:cubicBezTo>
                    <a:pt x="179" y="470"/>
                    <a:pt x="180" y="472"/>
                    <a:pt x="180" y="474"/>
                  </a:cubicBezTo>
                  <a:cubicBezTo>
                    <a:pt x="180" y="475"/>
                    <a:pt x="180" y="475"/>
                    <a:pt x="180" y="475"/>
                  </a:cubicBezTo>
                  <a:cubicBezTo>
                    <a:pt x="180" y="475"/>
                    <a:pt x="180" y="475"/>
                    <a:pt x="180" y="475"/>
                  </a:cubicBezTo>
                  <a:cubicBezTo>
                    <a:pt x="181" y="474"/>
                    <a:pt x="181" y="474"/>
                    <a:pt x="181" y="474"/>
                  </a:cubicBezTo>
                  <a:cubicBezTo>
                    <a:pt x="181" y="474"/>
                    <a:pt x="181" y="474"/>
                    <a:pt x="182" y="474"/>
                  </a:cubicBezTo>
                  <a:cubicBezTo>
                    <a:pt x="182" y="475"/>
                    <a:pt x="182" y="476"/>
                    <a:pt x="183" y="476"/>
                  </a:cubicBezTo>
                  <a:cubicBezTo>
                    <a:pt x="183" y="476"/>
                    <a:pt x="183" y="476"/>
                    <a:pt x="183" y="476"/>
                  </a:cubicBezTo>
                  <a:cubicBezTo>
                    <a:pt x="183" y="476"/>
                    <a:pt x="183" y="476"/>
                    <a:pt x="184" y="476"/>
                  </a:cubicBezTo>
                  <a:cubicBezTo>
                    <a:pt x="184" y="476"/>
                    <a:pt x="184" y="476"/>
                    <a:pt x="185" y="476"/>
                  </a:cubicBezTo>
                  <a:cubicBezTo>
                    <a:pt x="185" y="476"/>
                    <a:pt x="185" y="476"/>
                    <a:pt x="186" y="476"/>
                  </a:cubicBezTo>
                  <a:cubicBezTo>
                    <a:pt x="186" y="476"/>
                    <a:pt x="186" y="478"/>
                    <a:pt x="187" y="478"/>
                  </a:cubicBezTo>
                  <a:cubicBezTo>
                    <a:pt x="187" y="479"/>
                    <a:pt x="188" y="479"/>
                    <a:pt x="188" y="479"/>
                  </a:cubicBezTo>
                  <a:cubicBezTo>
                    <a:pt x="189" y="479"/>
                    <a:pt x="189" y="478"/>
                    <a:pt x="190" y="477"/>
                  </a:cubicBezTo>
                  <a:cubicBezTo>
                    <a:pt x="191" y="476"/>
                    <a:pt x="192" y="473"/>
                    <a:pt x="193" y="473"/>
                  </a:cubicBezTo>
                  <a:cubicBezTo>
                    <a:pt x="194" y="473"/>
                    <a:pt x="194" y="473"/>
                    <a:pt x="194" y="473"/>
                  </a:cubicBezTo>
                  <a:cubicBezTo>
                    <a:pt x="195" y="474"/>
                    <a:pt x="195" y="476"/>
                    <a:pt x="195" y="477"/>
                  </a:cubicBezTo>
                  <a:cubicBezTo>
                    <a:pt x="195" y="477"/>
                    <a:pt x="197" y="478"/>
                    <a:pt x="197" y="478"/>
                  </a:cubicBezTo>
                  <a:cubicBezTo>
                    <a:pt x="202" y="482"/>
                    <a:pt x="205" y="490"/>
                    <a:pt x="210" y="492"/>
                  </a:cubicBezTo>
                  <a:cubicBezTo>
                    <a:pt x="210" y="492"/>
                    <a:pt x="211" y="492"/>
                    <a:pt x="211" y="492"/>
                  </a:cubicBezTo>
                  <a:cubicBezTo>
                    <a:pt x="213" y="492"/>
                    <a:pt x="214" y="491"/>
                    <a:pt x="215" y="490"/>
                  </a:cubicBezTo>
                  <a:cubicBezTo>
                    <a:pt x="216" y="488"/>
                    <a:pt x="214" y="487"/>
                    <a:pt x="212" y="485"/>
                  </a:cubicBezTo>
                  <a:cubicBezTo>
                    <a:pt x="212" y="483"/>
                    <a:pt x="211" y="481"/>
                    <a:pt x="211" y="480"/>
                  </a:cubicBezTo>
                  <a:cubicBezTo>
                    <a:pt x="211" y="477"/>
                    <a:pt x="216" y="476"/>
                    <a:pt x="213" y="473"/>
                  </a:cubicBezTo>
                  <a:cubicBezTo>
                    <a:pt x="215" y="474"/>
                    <a:pt x="214" y="476"/>
                    <a:pt x="215" y="476"/>
                  </a:cubicBezTo>
                  <a:cubicBezTo>
                    <a:pt x="215" y="476"/>
                    <a:pt x="216" y="476"/>
                    <a:pt x="216" y="475"/>
                  </a:cubicBezTo>
                  <a:cubicBezTo>
                    <a:pt x="217" y="475"/>
                    <a:pt x="218" y="474"/>
                    <a:pt x="219" y="473"/>
                  </a:cubicBezTo>
                  <a:cubicBezTo>
                    <a:pt x="219" y="472"/>
                    <a:pt x="221" y="470"/>
                    <a:pt x="221" y="470"/>
                  </a:cubicBezTo>
                  <a:cubicBezTo>
                    <a:pt x="221" y="469"/>
                    <a:pt x="222" y="469"/>
                    <a:pt x="220" y="468"/>
                  </a:cubicBezTo>
                  <a:cubicBezTo>
                    <a:pt x="219" y="467"/>
                    <a:pt x="219" y="467"/>
                    <a:pt x="219" y="466"/>
                  </a:cubicBezTo>
                  <a:cubicBezTo>
                    <a:pt x="222" y="469"/>
                    <a:pt x="223" y="469"/>
                    <a:pt x="226" y="470"/>
                  </a:cubicBezTo>
                  <a:cubicBezTo>
                    <a:pt x="229" y="471"/>
                    <a:pt x="231" y="471"/>
                    <a:pt x="231" y="474"/>
                  </a:cubicBezTo>
                  <a:cubicBezTo>
                    <a:pt x="229" y="472"/>
                    <a:pt x="227" y="471"/>
                    <a:pt x="224" y="471"/>
                  </a:cubicBezTo>
                  <a:cubicBezTo>
                    <a:pt x="224" y="471"/>
                    <a:pt x="224" y="471"/>
                    <a:pt x="224" y="471"/>
                  </a:cubicBezTo>
                  <a:cubicBezTo>
                    <a:pt x="223" y="471"/>
                    <a:pt x="221" y="471"/>
                    <a:pt x="220" y="472"/>
                  </a:cubicBezTo>
                  <a:cubicBezTo>
                    <a:pt x="220" y="474"/>
                    <a:pt x="219" y="476"/>
                    <a:pt x="219" y="478"/>
                  </a:cubicBezTo>
                  <a:cubicBezTo>
                    <a:pt x="219" y="479"/>
                    <a:pt x="220" y="479"/>
                    <a:pt x="221" y="479"/>
                  </a:cubicBezTo>
                  <a:cubicBezTo>
                    <a:pt x="222" y="480"/>
                    <a:pt x="223" y="479"/>
                    <a:pt x="223" y="480"/>
                  </a:cubicBezTo>
                  <a:cubicBezTo>
                    <a:pt x="224" y="481"/>
                    <a:pt x="224" y="482"/>
                    <a:pt x="224" y="483"/>
                  </a:cubicBezTo>
                  <a:cubicBezTo>
                    <a:pt x="225" y="484"/>
                    <a:pt x="226" y="485"/>
                    <a:pt x="228" y="485"/>
                  </a:cubicBezTo>
                  <a:cubicBezTo>
                    <a:pt x="228" y="485"/>
                    <a:pt x="228" y="485"/>
                    <a:pt x="228" y="485"/>
                  </a:cubicBezTo>
                  <a:cubicBezTo>
                    <a:pt x="231" y="485"/>
                    <a:pt x="235" y="482"/>
                    <a:pt x="238" y="481"/>
                  </a:cubicBezTo>
                  <a:cubicBezTo>
                    <a:pt x="242" y="479"/>
                    <a:pt x="246" y="478"/>
                    <a:pt x="249" y="477"/>
                  </a:cubicBezTo>
                  <a:cubicBezTo>
                    <a:pt x="253" y="476"/>
                    <a:pt x="254" y="473"/>
                    <a:pt x="257" y="472"/>
                  </a:cubicBezTo>
                  <a:cubicBezTo>
                    <a:pt x="256" y="474"/>
                    <a:pt x="252" y="481"/>
                    <a:pt x="255" y="481"/>
                  </a:cubicBezTo>
                  <a:cubicBezTo>
                    <a:pt x="255" y="481"/>
                    <a:pt x="256" y="481"/>
                    <a:pt x="256" y="481"/>
                  </a:cubicBezTo>
                  <a:cubicBezTo>
                    <a:pt x="252" y="485"/>
                    <a:pt x="248" y="489"/>
                    <a:pt x="244" y="493"/>
                  </a:cubicBezTo>
                  <a:cubicBezTo>
                    <a:pt x="242" y="494"/>
                    <a:pt x="241" y="496"/>
                    <a:pt x="243" y="497"/>
                  </a:cubicBezTo>
                  <a:cubicBezTo>
                    <a:pt x="244" y="498"/>
                    <a:pt x="245" y="498"/>
                    <a:pt x="247" y="498"/>
                  </a:cubicBezTo>
                  <a:cubicBezTo>
                    <a:pt x="247" y="498"/>
                    <a:pt x="247" y="498"/>
                    <a:pt x="247" y="498"/>
                  </a:cubicBezTo>
                  <a:cubicBezTo>
                    <a:pt x="249" y="498"/>
                    <a:pt x="251" y="498"/>
                    <a:pt x="252" y="500"/>
                  </a:cubicBezTo>
                  <a:cubicBezTo>
                    <a:pt x="250" y="500"/>
                    <a:pt x="248" y="499"/>
                    <a:pt x="247" y="499"/>
                  </a:cubicBezTo>
                  <a:cubicBezTo>
                    <a:pt x="244" y="499"/>
                    <a:pt x="242" y="501"/>
                    <a:pt x="241" y="505"/>
                  </a:cubicBezTo>
                  <a:cubicBezTo>
                    <a:pt x="240" y="508"/>
                    <a:pt x="240" y="510"/>
                    <a:pt x="240" y="512"/>
                  </a:cubicBezTo>
                  <a:cubicBezTo>
                    <a:pt x="239" y="513"/>
                    <a:pt x="239" y="514"/>
                    <a:pt x="239" y="516"/>
                  </a:cubicBezTo>
                  <a:cubicBezTo>
                    <a:pt x="239" y="518"/>
                    <a:pt x="239" y="517"/>
                    <a:pt x="240" y="519"/>
                  </a:cubicBezTo>
                  <a:cubicBezTo>
                    <a:pt x="240" y="519"/>
                    <a:pt x="243" y="520"/>
                    <a:pt x="241" y="521"/>
                  </a:cubicBezTo>
                  <a:cubicBezTo>
                    <a:pt x="241" y="522"/>
                    <a:pt x="241" y="522"/>
                    <a:pt x="241" y="522"/>
                  </a:cubicBezTo>
                  <a:cubicBezTo>
                    <a:pt x="240" y="522"/>
                    <a:pt x="239" y="521"/>
                    <a:pt x="239" y="520"/>
                  </a:cubicBezTo>
                  <a:cubicBezTo>
                    <a:pt x="235" y="520"/>
                    <a:pt x="229" y="527"/>
                    <a:pt x="226" y="529"/>
                  </a:cubicBezTo>
                  <a:cubicBezTo>
                    <a:pt x="223" y="532"/>
                    <a:pt x="219" y="534"/>
                    <a:pt x="217" y="537"/>
                  </a:cubicBezTo>
                  <a:cubicBezTo>
                    <a:pt x="215" y="541"/>
                    <a:pt x="217" y="543"/>
                    <a:pt x="217" y="547"/>
                  </a:cubicBezTo>
                  <a:cubicBezTo>
                    <a:pt x="217" y="547"/>
                    <a:pt x="217" y="547"/>
                    <a:pt x="217" y="547"/>
                  </a:cubicBezTo>
                  <a:cubicBezTo>
                    <a:pt x="215" y="547"/>
                    <a:pt x="214" y="546"/>
                    <a:pt x="213" y="546"/>
                  </a:cubicBezTo>
                  <a:cubicBezTo>
                    <a:pt x="212" y="545"/>
                    <a:pt x="210" y="544"/>
                    <a:pt x="209" y="544"/>
                  </a:cubicBezTo>
                  <a:cubicBezTo>
                    <a:pt x="209" y="544"/>
                    <a:pt x="209" y="544"/>
                    <a:pt x="209" y="544"/>
                  </a:cubicBezTo>
                  <a:cubicBezTo>
                    <a:pt x="210" y="544"/>
                    <a:pt x="211" y="543"/>
                    <a:pt x="212" y="542"/>
                  </a:cubicBezTo>
                  <a:cubicBezTo>
                    <a:pt x="204" y="547"/>
                    <a:pt x="195" y="552"/>
                    <a:pt x="187" y="557"/>
                  </a:cubicBezTo>
                  <a:cubicBezTo>
                    <a:pt x="183" y="560"/>
                    <a:pt x="177" y="562"/>
                    <a:pt x="175" y="566"/>
                  </a:cubicBezTo>
                  <a:cubicBezTo>
                    <a:pt x="175" y="567"/>
                    <a:pt x="174" y="569"/>
                    <a:pt x="173" y="570"/>
                  </a:cubicBezTo>
                  <a:cubicBezTo>
                    <a:pt x="173" y="571"/>
                    <a:pt x="172" y="572"/>
                    <a:pt x="172" y="572"/>
                  </a:cubicBezTo>
                  <a:cubicBezTo>
                    <a:pt x="172" y="572"/>
                    <a:pt x="173" y="573"/>
                    <a:pt x="172" y="574"/>
                  </a:cubicBezTo>
                  <a:cubicBezTo>
                    <a:pt x="173" y="574"/>
                    <a:pt x="173" y="574"/>
                    <a:pt x="173" y="574"/>
                  </a:cubicBezTo>
                  <a:cubicBezTo>
                    <a:pt x="175" y="574"/>
                    <a:pt x="178" y="576"/>
                    <a:pt x="180" y="577"/>
                  </a:cubicBezTo>
                  <a:cubicBezTo>
                    <a:pt x="179" y="578"/>
                    <a:pt x="178" y="579"/>
                    <a:pt x="180" y="579"/>
                  </a:cubicBezTo>
                  <a:cubicBezTo>
                    <a:pt x="176" y="578"/>
                    <a:pt x="172" y="577"/>
                    <a:pt x="168" y="576"/>
                  </a:cubicBezTo>
                  <a:cubicBezTo>
                    <a:pt x="167" y="579"/>
                    <a:pt x="171" y="580"/>
                    <a:pt x="170" y="582"/>
                  </a:cubicBezTo>
                  <a:cubicBezTo>
                    <a:pt x="167" y="581"/>
                    <a:pt x="165" y="579"/>
                    <a:pt x="164" y="577"/>
                  </a:cubicBezTo>
                  <a:cubicBezTo>
                    <a:pt x="163" y="576"/>
                    <a:pt x="163" y="576"/>
                    <a:pt x="163" y="576"/>
                  </a:cubicBezTo>
                  <a:cubicBezTo>
                    <a:pt x="163" y="576"/>
                    <a:pt x="163" y="576"/>
                    <a:pt x="163" y="576"/>
                  </a:cubicBezTo>
                  <a:cubicBezTo>
                    <a:pt x="163" y="576"/>
                    <a:pt x="163" y="576"/>
                    <a:pt x="163" y="576"/>
                  </a:cubicBezTo>
                  <a:cubicBezTo>
                    <a:pt x="162" y="576"/>
                    <a:pt x="162" y="576"/>
                    <a:pt x="162" y="576"/>
                  </a:cubicBezTo>
                  <a:cubicBezTo>
                    <a:pt x="162" y="576"/>
                    <a:pt x="162" y="576"/>
                    <a:pt x="162" y="575"/>
                  </a:cubicBezTo>
                  <a:cubicBezTo>
                    <a:pt x="162" y="573"/>
                    <a:pt x="165" y="574"/>
                    <a:pt x="165" y="573"/>
                  </a:cubicBezTo>
                  <a:cubicBezTo>
                    <a:pt x="166" y="572"/>
                    <a:pt x="163" y="572"/>
                    <a:pt x="160" y="572"/>
                  </a:cubicBezTo>
                  <a:cubicBezTo>
                    <a:pt x="160" y="572"/>
                    <a:pt x="160" y="572"/>
                    <a:pt x="159" y="572"/>
                  </a:cubicBezTo>
                  <a:cubicBezTo>
                    <a:pt x="159" y="572"/>
                    <a:pt x="158" y="572"/>
                    <a:pt x="158" y="572"/>
                  </a:cubicBezTo>
                  <a:cubicBezTo>
                    <a:pt x="158" y="572"/>
                    <a:pt x="158" y="572"/>
                    <a:pt x="157" y="572"/>
                  </a:cubicBezTo>
                  <a:cubicBezTo>
                    <a:pt x="158" y="572"/>
                    <a:pt x="158" y="572"/>
                    <a:pt x="158" y="572"/>
                  </a:cubicBezTo>
                  <a:cubicBezTo>
                    <a:pt x="149" y="575"/>
                    <a:pt x="139" y="578"/>
                    <a:pt x="132" y="584"/>
                  </a:cubicBezTo>
                  <a:cubicBezTo>
                    <a:pt x="127" y="588"/>
                    <a:pt x="121" y="593"/>
                    <a:pt x="116" y="597"/>
                  </a:cubicBezTo>
                  <a:cubicBezTo>
                    <a:pt x="115" y="598"/>
                    <a:pt x="115" y="598"/>
                    <a:pt x="114" y="598"/>
                  </a:cubicBezTo>
                  <a:cubicBezTo>
                    <a:pt x="114" y="598"/>
                    <a:pt x="114" y="598"/>
                    <a:pt x="115" y="597"/>
                  </a:cubicBezTo>
                  <a:cubicBezTo>
                    <a:pt x="114" y="598"/>
                    <a:pt x="112" y="598"/>
                    <a:pt x="110" y="599"/>
                  </a:cubicBezTo>
                  <a:cubicBezTo>
                    <a:pt x="109" y="601"/>
                    <a:pt x="109" y="600"/>
                    <a:pt x="109" y="602"/>
                  </a:cubicBezTo>
                  <a:cubicBezTo>
                    <a:pt x="109" y="603"/>
                    <a:pt x="110" y="605"/>
                    <a:pt x="110" y="606"/>
                  </a:cubicBezTo>
                  <a:cubicBezTo>
                    <a:pt x="109" y="607"/>
                    <a:pt x="108" y="609"/>
                    <a:pt x="108" y="610"/>
                  </a:cubicBezTo>
                  <a:cubicBezTo>
                    <a:pt x="109" y="609"/>
                    <a:pt x="111" y="607"/>
                    <a:pt x="113" y="605"/>
                  </a:cubicBezTo>
                  <a:cubicBezTo>
                    <a:pt x="111" y="604"/>
                    <a:pt x="110" y="602"/>
                    <a:pt x="111" y="601"/>
                  </a:cubicBezTo>
                  <a:cubicBezTo>
                    <a:pt x="111" y="600"/>
                    <a:pt x="112" y="600"/>
                    <a:pt x="112" y="600"/>
                  </a:cubicBezTo>
                  <a:cubicBezTo>
                    <a:pt x="114" y="600"/>
                    <a:pt x="116" y="603"/>
                    <a:pt x="118" y="604"/>
                  </a:cubicBezTo>
                  <a:cubicBezTo>
                    <a:pt x="115" y="606"/>
                    <a:pt x="118" y="606"/>
                    <a:pt x="121" y="606"/>
                  </a:cubicBezTo>
                  <a:cubicBezTo>
                    <a:pt x="124" y="606"/>
                    <a:pt x="126" y="606"/>
                    <a:pt x="126" y="606"/>
                  </a:cubicBezTo>
                  <a:cubicBezTo>
                    <a:pt x="126" y="604"/>
                    <a:pt x="125" y="603"/>
                    <a:pt x="125" y="602"/>
                  </a:cubicBezTo>
                  <a:cubicBezTo>
                    <a:pt x="125" y="600"/>
                    <a:pt x="125" y="600"/>
                    <a:pt x="125" y="600"/>
                  </a:cubicBezTo>
                  <a:cubicBezTo>
                    <a:pt x="125" y="599"/>
                    <a:pt x="125" y="599"/>
                    <a:pt x="125" y="599"/>
                  </a:cubicBezTo>
                  <a:cubicBezTo>
                    <a:pt x="124" y="598"/>
                    <a:pt x="124" y="598"/>
                    <a:pt x="124" y="598"/>
                  </a:cubicBezTo>
                  <a:cubicBezTo>
                    <a:pt x="123" y="598"/>
                    <a:pt x="122" y="598"/>
                    <a:pt x="122" y="597"/>
                  </a:cubicBezTo>
                  <a:cubicBezTo>
                    <a:pt x="122" y="596"/>
                    <a:pt x="123" y="595"/>
                    <a:pt x="123" y="595"/>
                  </a:cubicBezTo>
                  <a:cubicBezTo>
                    <a:pt x="125" y="595"/>
                    <a:pt x="130" y="601"/>
                    <a:pt x="131" y="601"/>
                  </a:cubicBezTo>
                  <a:cubicBezTo>
                    <a:pt x="130" y="602"/>
                    <a:pt x="129" y="602"/>
                    <a:pt x="128" y="603"/>
                  </a:cubicBezTo>
                  <a:cubicBezTo>
                    <a:pt x="129" y="603"/>
                    <a:pt x="132" y="604"/>
                    <a:pt x="132" y="604"/>
                  </a:cubicBezTo>
                  <a:cubicBezTo>
                    <a:pt x="132" y="604"/>
                    <a:pt x="132" y="604"/>
                    <a:pt x="132" y="604"/>
                  </a:cubicBezTo>
                  <a:cubicBezTo>
                    <a:pt x="134" y="603"/>
                    <a:pt x="134" y="601"/>
                    <a:pt x="135" y="601"/>
                  </a:cubicBezTo>
                  <a:cubicBezTo>
                    <a:pt x="135" y="601"/>
                    <a:pt x="135" y="600"/>
                    <a:pt x="135" y="600"/>
                  </a:cubicBezTo>
                  <a:cubicBezTo>
                    <a:pt x="136" y="600"/>
                    <a:pt x="136" y="601"/>
                    <a:pt x="136" y="601"/>
                  </a:cubicBezTo>
                  <a:cubicBezTo>
                    <a:pt x="137" y="601"/>
                    <a:pt x="137" y="602"/>
                    <a:pt x="137" y="602"/>
                  </a:cubicBezTo>
                  <a:cubicBezTo>
                    <a:pt x="138" y="602"/>
                    <a:pt x="138" y="602"/>
                    <a:pt x="138" y="602"/>
                  </a:cubicBezTo>
                  <a:cubicBezTo>
                    <a:pt x="139" y="601"/>
                    <a:pt x="138" y="598"/>
                    <a:pt x="138" y="598"/>
                  </a:cubicBezTo>
                  <a:cubicBezTo>
                    <a:pt x="139" y="597"/>
                    <a:pt x="140" y="596"/>
                    <a:pt x="142" y="595"/>
                  </a:cubicBezTo>
                  <a:cubicBezTo>
                    <a:pt x="143" y="594"/>
                    <a:pt x="145" y="593"/>
                    <a:pt x="145" y="592"/>
                  </a:cubicBezTo>
                  <a:cubicBezTo>
                    <a:pt x="147" y="590"/>
                    <a:pt x="145" y="588"/>
                    <a:pt x="147" y="586"/>
                  </a:cubicBezTo>
                  <a:cubicBezTo>
                    <a:pt x="148" y="585"/>
                    <a:pt x="149" y="585"/>
                    <a:pt x="151" y="585"/>
                  </a:cubicBezTo>
                  <a:cubicBezTo>
                    <a:pt x="152" y="585"/>
                    <a:pt x="154" y="585"/>
                    <a:pt x="155" y="586"/>
                  </a:cubicBezTo>
                  <a:cubicBezTo>
                    <a:pt x="156" y="586"/>
                    <a:pt x="158" y="587"/>
                    <a:pt x="159" y="587"/>
                  </a:cubicBezTo>
                  <a:cubicBezTo>
                    <a:pt x="157" y="587"/>
                    <a:pt x="156" y="587"/>
                    <a:pt x="155" y="587"/>
                  </a:cubicBezTo>
                  <a:cubicBezTo>
                    <a:pt x="154" y="587"/>
                    <a:pt x="153" y="587"/>
                    <a:pt x="152" y="589"/>
                  </a:cubicBezTo>
                  <a:cubicBezTo>
                    <a:pt x="151" y="590"/>
                    <a:pt x="150" y="592"/>
                    <a:pt x="150" y="593"/>
                  </a:cubicBezTo>
                  <a:cubicBezTo>
                    <a:pt x="151" y="593"/>
                    <a:pt x="151" y="593"/>
                    <a:pt x="151" y="593"/>
                  </a:cubicBezTo>
                  <a:cubicBezTo>
                    <a:pt x="152" y="593"/>
                    <a:pt x="154" y="592"/>
                    <a:pt x="155" y="592"/>
                  </a:cubicBezTo>
                  <a:cubicBezTo>
                    <a:pt x="155" y="592"/>
                    <a:pt x="156" y="593"/>
                    <a:pt x="157" y="593"/>
                  </a:cubicBezTo>
                  <a:cubicBezTo>
                    <a:pt x="158" y="593"/>
                    <a:pt x="159" y="592"/>
                    <a:pt x="159" y="592"/>
                  </a:cubicBezTo>
                  <a:cubicBezTo>
                    <a:pt x="161" y="592"/>
                    <a:pt x="167" y="591"/>
                    <a:pt x="168" y="590"/>
                  </a:cubicBezTo>
                  <a:cubicBezTo>
                    <a:pt x="170" y="588"/>
                    <a:pt x="167" y="587"/>
                    <a:pt x="170" y="586"/>
                  </a:cubicBezTo>
                  <a:cubicBezTo>
                    <a:pt x="170" y="585"/>
                    <a:pt x="171" y="585"/>
                    <a:pt x="171" y="585"/>
                  </a:cubicBezTo>
                  <a:cubicBezTo>
                    <a:pt x="173" y="585"/>
                    <a:pt x="172" y="589"/>
                    <a:pt x="173" y="589"/>
                  </a:cubicBezTo>
                  <a:cubicBezTo>
                    <a:pt x="173" y="589"/>
                    <a:pt x="173" y="589"/>
                    <a:pt x="173" y="589"/>
                  </a:cubicBezTo>
                  <a:cubicBezTo>
                    <a:pt x="174" y="589"/>
                    <a:pt x="176" y="585"/>
                    <a:pt x="175" y="584"/>
                  </a:cubicBezTo>
                  <a:cubicBezTo>
                    <a:pt x="181" y="581"/>
                    <a:pt x="188" y="580"/>
                    <a:pt x="194" y="578"/>
                  </a:cubicBezTo>
                  <a:cubicBezTo>
                    <a:pt x="192" y="580"/>
                    <a:pt x="195" y="582"/>
                    <a:pt x="192" y="583"/>
                  </a:cubicBezTo>
                  <a:cubicBezTo>
                    <a:pt x="196" y="583"/>
                    <a:pt x="193" y="585"/>
                    <a:pt x="192" y="586"/>
                  </a:cubicBezTo>
                  <a:cubicBezTo>
                    <a:pt x="192" y="586"/>
                    <a:pt x="192" y="586"/>
                    <a:pt x="192" y="586"/>
                  </a:cubicBezTo>
                  <a:cubicBezTo>
                    <a:pt x="196" y="586"/>
                    <a:pt x="198" y="579"/>
                    <a:pt x="196" y="576"/>
                  </a:cubicBezTo>
                  <a:cubicBezTo>
                    <a:pt x="197" y="577"/>
                    <a:pt x="198" y="579"/>
                    <a:pt x="199" y="579"/>
                  </a:cubicBezTo>
                  <a:cubicBezTo>
                    <a:pt x="199" y="579"/>
                    <a:pt x="199" y="579"/>
                    <a:pt x="199" y="579"/>
                  </a:cubicBezTo>
                  <a:cubicBezTo>
                    <a:pt x="201" y="579"/>
                    <a:pt x="204" y="576"/>
                    <a:pt x="205" y="576"/>
                  </a:cubicBezTo>
                  <a:cubicBezTo>
                    <a:pt x="208" y="575"/>
                    <a:pt x="211" y="574"/>
                    <a:pt x="215" y="573"/>
                  </a:cubicBezTo>
                  <a:cubicBezTo>
                    <a:pt x="214" y="573"/>
                    <a:pt x="214" y="573"/>
                    <a:pt x="214" y="573"/>
                  </a:cubicBezTo>
                  <a:cubicBezTo>
                    <a:pt x="215" y="573"/>
                    <a:pt x="215" y="573"/>
                    <a:pt x="215" y="573"/>
                  </a:cubicBezTo>
                  <a:cubicBezTo>
                    <a:pt x="215" y="573"/>
                    <a:pt x="215" y="573"/>
                    <a:pt x="215" y="573"/>
                  </a:cubicBezTo>
                  <a:cubicBezTo>
                    <a:pt x="215" y="573"/>
                    <a:pt x="215" y="573"/>
                    <a:pt x="215" y="573"/>
                  </a:cubicBezTo>
                  <a:cubicBezTo>
                    <a:pt x="216" y="573"/>
                    <a:pt x="216" y="573"/>
                    <a:pt x="216" y="573"/>
                  </a:cubicBezTo>
                  <a:cubicBezTo>
                    <a:pt x="216" y="572"/>
                    <a:pt x="216" y="569"/>
                    <a:pt x="216" y="569"/>
                  </a:cubicBezTo>
                  <a:cubicBezTo>
                    <a:pt x="216" y="568"/>
                    <a:pt x="216" y="566"/>
                    <a:pt x="217" y="566"/>
                  </a:cubicBezTo>
                  <a:cubicBezTo>
                    <a:pt x="217" y="566"/>
                    <a:pt x="217" y="566"/>
                    <a:pt x="217" y="566"/>
                  </a:cubicBezTo>
                  <a:cubicBezTo>
                    <a:pt x="218" y="568"/>
                    <a:pt x="217" y="571"/>
                    <a:pt x="219" y="571"/>
                  </a:cubicBezTo>
                  <a:cubicBezTo>
                    <a:pt x="219" y="571"/>
                    <a:pt x="220" y="570"/>
                    <a:pt x="220" y="570"/>
                  </a:cubicBezTo>
                  <a:cubicBezTo>
                    <a:pt x="219" y="571"/>
                    <a:pt x="219" y="572"/>
                    <a:pt x="221" y="572"/>
                  </a:cubicBezTo>
                  <a:cubicBezTo>
                    <a:pt x="221" y="572"/>
                    <a:pt x="221" y="572"/>
                    <a:pt x="221" y="572"/>
                  </a:cubicBezTo>
                  <a:cubicBezTo>
                    <a:pt x="221" y="570"/>
                    <a:pt x="220" y="570"/>
                    <a:pt x="221" y="568"/>
                  </a:cubicBezTo>
                  <a:cubicBezTo>
                    <a:pt x="221" y="567"/>
                    <a:pt x="223" y="566"/>
                    <a:pt x="223" y="565"/>
                  </a:cubicBezTo>
                  <a:cubicBezTo>
                    <a:pt x="222" y="565"/>
                    <a:pt x="222" y="565"/>
                    <a:pt x="222" y="565"/>
                  </a:cubicBezTo>
                  <a:cubicBezTo>
                    <a:pt x="223" y="564"/>
                    <a:pt x="225" y="561"/>
                    <a:pt x="224" y="561"/>
                  </a:cubicBezTo>
                  <a:cubicBezTo>
                    <a:pt x="224" y="561"/>
                    <a:pt x="223" y="562"/>
                    <a:pt x="222" y="562"/>
                  </a:cubicBezTo>
                  <a:cubicBezTo>
                    <a:pt x="222" y="561"/>
                    <a:pt x="222" y="561"/>
                    <a:pt x="221" y="561"/>
                  </a:cubicBezTo>
                  <a:cubicBezTo>
                    <a:pt x="221" y="561"/>
                    <a:pt x="220" y="561"/>
                    <a:pt x="220" y="562"/>
                  </a:cubicBezTo>
                  <a:cubicBezTo>
                    <a:pt x="219" y="562"/>
                    <a:pt x="218" y="563"/>
                    <a:pt x="217" y="563"/>
                  </a:cubicBezTo>
                  <a:cubicBezTo>
                    <a:pt x="217" y="563"/>
                    <a:pt x="217" y="563"/>
                    <a:pt x="217" y="563"/>
                  </a:cubicBezTo>
                  <a:cubicBezTo>
                    <a:pt x="216" y="562"/>
                    <a:pt x="220" y="560"/>
                    <a:pt x="221" y="559"/>
                  </a:cubicBezTo>
                  <a:cubicBezTo>
                    <a:pt x="224" y="556"/>
                    <a:pt x="229" y="554"/>
                    <a:pt x="233" y="551"/>
                  </a:cubicBezTo>
                  <a:cubicBezTo>
                    <a:pt x="234" y="550"/>
                    <a:pt x="236" y="550"/>
                    <a:pt x="237" y="550"/>
                  </a:cubicBezTo>
                  <a:cubicBezTo>
                    <a:pt x="239" y="550"/>
                    <a:pt x="241" y="551"/>
                    <a:pt x="243" y="552"/>
                  </a:cubicBezTo>
                  <a:cubicBezTo>
                    <a:pt x="244" y="550"/>
                    <a:pt x="243" y="549"/>
                    <a:pt x="241" y="548"/>
                  </a:cubicBezTo>
                  <a:cubicBezTo>
                    <a:pt x="244" y="546"/>
                    <a:pt x="247" y="547"/>
                    <a:pt x="250" y="547"/>
                  </a:cubicBezTo>
                  <a:cubicBezTo>
                    <a:pt x="253" y="546"/>
                    <a:pt x="256" y="543"/>
                    <a:pt x="259" y="542"/>
                  </a:cubicBezTo>
                  <a:cubicBezTo>
                    <a:pt x="259" y="542"/>
                    <a:pt x="259" y="542"/>
                    <a:pt x="259" y="542"/>
                  </a:cubicBezTo>
                  <a:cubicBezTo>
                    <a:pt x="260" y="540"/>
                    <a:pt x="261" y="539"/>
                    <a:pt x="262" y="539"/>
                  </a:cubicBezTo>
                  <a:cubicBezTo>
                    <a:pt x="263" y="539"/>
                    <a:pt x="264" y="539"/>
                    <a:pt x="265" y="540"/>
                  </a:cubicBezTo>
                  <a:cubicBezTo>
                    <a:pt x="264" y="538"/>
                    <a:pt x="263" y="538"/>
                    <a:pt x="264" y="536"/>
                  </a:cubicBezTo>
                  <a:cubicBezTo>
                    <a:pt x="266" y="533"/>
                    <a:pt x="268" y="531"/>
                    <a:pt x="269" y="529"/>
                  </a:cubicBezTo>
                  <a:cubicBezTo>
                    <a:pt x="268" y="529"/>
                    <a:pt x="267" y="529"/>
                    <a:pt x="265" y="530"/>
                  </a:cubicBezTo>
                  <a:cubicBezTo>
                    <a:pt x="265" y="527"/>
                    <a:pt x="276" y="523"/>
                    <a:pt x="278" y="522"/>
                  </a:cubicBezTo>
                  <a:cubicBezTo>
                    <a:pt x="282" y="521"/>
                    <a:pt x="285" y="518"/>
                    <a:pt x="287" y="515"/>
                  </a:cubicBezTo>
                  <a:cubicBezTo>
                    <a:pt x="287" y="513"/>
                    <a:pt x="287" y="513"/>
                    <a:pt x="287" y="513"/>
                  </a:cubicBezTo>
                  <a:cubicBezTo>
                    <a:pt x="287" y="513"/>
                    <a:pt x="287" y="513"/>
                    <a:pt x="288" y="513"/>
                  </a:cubicBezTo>
                  <a:cubicBezTo>
                    <a:pt x="288" y="513"/>
                    <a:pt x="289" y="513"/>
                    <a:pt x="290" y="514"/>
                  </a:cubicBezTo>
                  <a:cubicBezTo>
                    <a:pt x="290" y="514"/>
                    <a:pt x="291" y="514"/>
                    <a:pt x="292" y="514"/>
                  </a:cubicBezTo>
                  <a:cubicBezTo>
                    <a:pt x="292" y="514"/>
                    <a:pt x="292" y="514"/>
                    <a:pt x="292" y="514"/>
                  </a:cubicBezTo>
                  <a:cubicBezTo>
                    <a:pt x="293" y="514"/>
                    <a:pt x="295" y="511"/>
                    <a:pt x="296" y="510"/>
                  </a:cubicBezTo>
                  <a:cubicBezTo>
                    <a:pt x="297" y="509"/>
                    <a:pt x="298" y="509"/>
                    <a:pt x="299" y="508"/>
                  </a:cubicBezTo>
                  <a:cubicBezTo>
                    <a:pt x="299" y="508"/>
                    <a:pt x="301" y="505"/>
                    <a:pt x="301" y="505"/>
                  </a:cubicBezTo>
                  <a:cubicBezTo>
                    <a:pt x="303" y="504"/>
                    <a:pt x="314" y="502"/>
                    <a:pt x="313" y="499"/>
                  </a:cubicBezTo>
                  <a:cubicBezTo>
                    <a:pt x="315" y="500"/>
                    <a:pt x="316" y="502"/>
                    <a:pt x="317" y="503"/>
                  </a:cubicBezTo>
                  <a:cubicBezTo>
                    <a:pt x="318" y="500"/>
                    <a:pt x="318" y="499"/>
                    <a:pt x="321" y="498"/>
                  </a:cubicBezTo>
                  <a:cubicBezTo>
                    <a:pt x="320" y="498"/>
                    <a:pt x="320" y="497"/>
                    <a:pt x="319" y="497"/>
                  </a:cubicBezTo>
                  <a:cubicBezTo>
                    <a:pt x="320" y="497"/>
                    <a:pt x="321" y="496"/>
                    <a:pt x="322" y="496"/>
                  </a:cubicBezTo>
                  <a:cubicBezTo>
                    <a:pt x="321" y="495"/>
                    <a:pt x="321" y="495"/>
                    <a:pt x="320" y="495"/>
                  </a:cubicBezTo>
                  <a:cubicBezTo>
                    <a:pt x="320" y="495"/>
                    <a:pt x="319" y="495"/>
                    <a:pt x="319" y="495"/>
                  </a:cubicBezTo>
                  <a:cubicBezTo>
                    <a:pt x="318" y="495"/>
                    <a:pt x="318" y="495"/>
                    <a:pt x="317" y="495"/>
                  </a:cubicBezTo>
                  <a:cubicBezTo>
                    <a:pt x="317" y="495"/>
                    <a:pt x="317" y="495"/>
                    <a:pt x="317" y="495"/>
                  </a:cubicBezTo>
                  <a:cubicBezTo>
                    <a:pt x="319" y="494"/>
                    <a:pt x="322" y="493"/>
                    <a:pt x="324" y="492"/>
                  </a:cubicBezTo>
                  <a:cubicBezTo>
                    <a:pt x="324" y="492"/>
                    <a:pt x="322" y="491"/>
                    <a:pt x="323" y="490"/>
                  </a:cubicBezTo>
                  <a:cubicBezTo>
                    <a:pt x="323" y="488"/>
                    <a:pt x="323" y="490"/>
                    <a:pt x="325" y="488"/>
                  </a:cubicBezTo>
                  <a:cubicBezTo>
                    <a:pt x="327" y="487"/>
                    <a:pt x="327" y="485"/>
                    <a:pt x="328" y="484"/>
                  </a:cubicBezTo>
                  <a:cubicBezTo>
                    <a:pt x="331" y="483"/>
                    <a:pt x="336" y="483"/>
                    <a:pt x="338" y="480"/>
                  </a:cubicBezTo>
                  <a:cubicBezTo>
                    <a:pt x="340" y="479"/>
                    <a:pt x="339" y="477"/>
                    <a:pt x="341" y="476"/>
                  </a:cubicBezTo>
                  <a:cubicBezTo>
                    <a:pt x="341" y="476"/>
                    <a:pt x="341" y="476"/>
                    <a:pt x="341" y="476"/>
                  </a:cubicBezTo>
                  <a:cubicBezTo>
                    <a:pt x="340" y="476"/>
                    <a:pt x="340" y="476"/>
                    <a:pt x="340" y="476"/>
                  </a:cubicBezTo>
                  <a:cubicBezTo>
                    <a:pt x="343" y="474"/>
                    <a:pt x="334" y="472"/>
                    <a:pt x="333" y="471"/>
                  </a:cubicBezTo>
                  <a:cubicBezTo>
                    <a:pt x="333" y="471"/>
                    <a:pt x="332" y="470"/>
                    <a:pt x="332" y="469"/>
                  </a:cubicBezTo>
                  <a:cubicBezTo>
                    <a:pt x="331" y="469"/>
                    <a:pt x="331" y="469"/>
                    <a:pt x="331" y="469"/>
                  </a:cubicBezTo>
                  <a:cubicBezTo>
                    <a:pt x="330" y="469"/>
                    <a:pt x="330" y="469"/>
                    <a:pt x="329" y="469"/>
                  </a:cubicBezTo>
                  <a:cubicBezTo>
                    <a:pt x="329" y="469"/>
                    <a:pt x="328" y="469"/>
                    <a:pt x="328" y="469"/>
                  </a:cubicBezTo>
                  <a:cubicBezTo>
                    <a:pt x="328" y="469"/>
                    <a:pt x="328" y="469"/>
                    <a:pt x="328" y="469"/>
                  </a:cubicBezTo>
                  <a:cubicBezTo>
                    <a:pt x="328" y="469"/>
                    <a:pt x="327" y="469"/>
                    <a:pt x="327" y="469"/>
                  </a:cubicBezTo>
                  <a:cubicBezTo>
                    <a:pt x="326" y="469"/>
                    <a:pt x="325" y="469"/>
                    <a:pt x="324" y="470"/>
                  </a:cubicBezTo>
                  <a:cubicBezTo>
                    <a:pt x="323" y="470"/>
                    <a:pt x="322" y="470"/>
                    <a:pt x="322" y="470"/>
                  </a:cubicBezTo>
                  <a:cubicBezTo>
                    <a:pt x="321" y="470"/>
                    <a:pt x="321" y="470"/>
                    <a:pt x="320" y="470"/>
                  </a:cubicBezTo>
                  <a:cubicBezTo>
                    <a:pt x="321" y="467"/>
                    <a:pt x="319" y="468"/>
                    <a:pt x="319" y="467"/>
                  </a:cubicBezTo>
                  <a:cubicBezTo>
                    <a:pt x="319" y="466"/>
                    <a:pt x="320" y="466"/>
                    <a:pt x="322" y="464"/>
                  </a:cubicBezTo>
                  <a:cubicBezTo>
                    <a:pt x="320" y="462"/>
                    <a:pt x="324" y="460"/>
                    <a:pt x="325" y="459"/>
                  </a:cubicBezTo>
                  <a:cubicBezTo>
                    <a:pt x="325" y="459"/>
                    <a:pt x="324" y="460"/>
                    <a:pt x="323" y="460"/>
                  </a:cubicBezTo>
                  <a:cubicBezTo>
                    <a:pt x="322" y="460"/>
                    <a:pt x="322" y="459"/>
                    <a:pt x="321" y="459"/>
                  </a:cubicBezTo>
                  <a:cubicBezTo>
                    <a:pt x="323" y="458"/>
                    <a:pt x="331" y="457"/>
                    <a:pt x="331" y="455"/>
                  </a:cubicBezTo>
                  <a:cubicBezTo>
                    <a:pt x="331" y="454"/>
                    <a:pt x="329" y="453"/>
                    <a:pt x="328" y="453"/>
                  </a:cubicBezTo>
                  <a:cubicBezTo>
                    <a:pt x="330" y="452"/>
                    <a:pt x="332" y="452"/>
                    <a:pt x="334" y="451"/>
                  </a:cubicBezTo>
                  <a:cubicBezTo>
                    <a:pt x="333" y="450"/>
                    <a:pt x="332" y="450"/>
                    <a:pt x="332" y="450"/>
                  </a:cubicBezTo>
                  <a:cubicBezTo>
                    <a:pt x="333" y="449"/>
                    <a:pt x="338" y="447"/>
                    <a:pt x="337" y="445"/>
                  </a:cubicBezTo>
                  <a:cubicBezTo>
                    <a:pt x="338" y="446"/>
                    <a:pt x="340" y="448"/>
                    <a:pt x="338" y="449"/>
                  </a:cubicBezTo>
                  <a:cubicBezTo>
                    <a:pt x="338" y="450"/>
                    <a:pt x="339" y="450"/>
                    <a:pt x="339" y="450"/>
                  </a:cubicBezTo>
                  <a:cubicBezTo>
                    <a:pt x="342" y="450"/>
                    <a:pt x="348" y="447"/>
                    <a:pt x="348" y="445"/>
                  </a:cubicBezTo>
                  <a:cubicBezTo>
                    <a:pt x="348" y="443"/>
                    <a:pt x="347" y="443"/>
                    <a:pt x="345" y="443"/>
                  </a:cubicBezTo>
                  <a:cubicBezTo>
                    <a:pt x="345" y="443"/>
                    <a:pt x="344" y="443"/>
                    <a:pt x="344" y="443"/>
                  </a:cubicBezTo>
                  <a:cubicBezTo>
                    <a:pt x="343" y="443"/>
                    <a:pt x="342" y="443"/>
                    <a:pt x="342" y="443"/>
                  </a:cubicBezTo>
                  <a:cubicBezTo>
                    <a:pt x="342" y="443"/>
                    <a:pt x="342" y="443"/>
                    <a:pt x="342" y="443"/>
                  </a:cubicBezTo>
                  <a:cubicBezTo>
                    <a:pt x="344" y="439"/>
                    <a:pt x="353" y="441"/>
                    <a:pt x="356" y="437"/>
                  </a:cubicBezTo>
                  <a:cubicBezTo>
                    <a:pt x="358" y="435"/>
                    <a:pt x="357" y="435"/>
                    <a:pt x="356" y="433"/>
                  </a:cubicBezTo>
                  <a:cubicBezTo>
                    <a:pt x="353" y="431"/>
                    <a:pt x="349" y="427"/>
                    <a:pt x="346" y="427"/>
                  </a:cubicBezTo>
                  <a:cubicBezTo>
                    <a:pt x="346" y="427"/>
                    <a:pt x="346" y="427"/>
                    <a:pt x="346" y="427"/>
                  </a:cubicBezTo>
                  <a:cubicBezTo>
                    <a:pt x="352" y="425"/>
                    <a:pt x="359" y="426"/>
                    <a:pt x="365" y="424"/>
                  </a:cubicBezTo>
                  <a:cubicBezTo>
                    <a:pt x="360" y="422"/>
                    <a:pt x="366" y="417"/>
                    <a:pt x="368" y="416"/>
                  </a:cubicBezTo>
                  <a:cubicBezTo>
                    <a:pt x="370" y="416"/>
                    <a:pt x="371" y="414"/>
                    <a:pt x="372" y="413"/>
                  </a:cubicBezTo>
                  <a:cubicBezTo>
                    <a:pt x="373" y="412"/>
                    <a:pt x="376" y="411"/>
                    <a:pt x="376" y="410"/>
                  </a:cubicBezTo>
                  <a:cubicBezTo>
                    <a:pt x="377" y="409"/>
                    <a:pt x="375" y="409"/>
                    <a:pt x="376" y="408"/>
                  </a:cubicBezTo>
                  <a:cubicBezTo>
                    <a:pt x="377" y="404"/>
                    <a:pt x="382" y="402"/>
                    <a:pt x="386" y="401"/>
                  </a:cubicBezTo>
                  <a:cubicBezTo>
                    <a:pt x="388" y="400"/>
                    <a:pt x="390" y="400"/>
                    <a:pt x="392" y="398"/>
                  </a:cubicBezTo>
                  <a:cubicBezTo>
                    <a:pt x="392" y="398"/>
                    <a:pt x="393" y="397"/>
                    <a:pt x="393" y="396"/>
                  </a:cubicBezTo>
                  <a:cubicBezTo>
                    <a:pt x="396" y="394"/>
                    <a:pt x="399" y="394"/>
                    <a:pt x="402" y="392"/>
                  </a:cubicBezTo>
                  <a:cubicBezTo>
                    <a:pt x="403" y="392"/>
                    <a:pt x="403" y="390"/>
                    <a:pt x="404" y="390"/>
                  </a:cubicBezTo>
                  <a:cubicBezTo>
                    <a:pt x="405" y="389"/>
                    <a:pt x="406" y="389"/>
                    <a:pt x="407" y="389"/>
                  </a:cubicBezTo>
                  <a:cubicBezTo>
                    <a:pt x="409" y="389"/>
                    <a:pt x="411" y="390"/>
                    <a:pt x="413" y="390"/>
                  </a:cubicBezTo>
                  <a:cubicBezTo>
                    <a:pt x="413" y="390"/>
                    <a:pt x="414" y="390"/>
                    <a:pt x="415" y="390"/>
                  </a:cubicBezTo>
                  <a:cubicBezTo>
                    <a:pt x="415" y="390"/>
                    <a:pt x="416" y="390"/>
                    <a:pt x="416" y="390"/>
                  </a:cubicBezTo>
                  <a:cubicBezTo>
                    <a:pt x="417" y="389"/>
                    <a:pt x="418" y="388"/>
                    <a:pt x="420" y="388"/>
                  </a:cubicBezTo>
                  <a:cubicBezTo>
                    <a:pt x="420" y="388"/>
                    <a:pt x="420" y="388"/>
                    <a:pt x="421" y="389"/>
                  </a:cubicBezTo>
                  <a:cubicBezTo>
                    <a:pt x="422" y="389"/>
                    <a:pt x="423" y="389"/>
                    <a:pt x="424" y="390"/>
                  </a:cubicBezTo>
                  <a:cubicBezTo>
                    <a:pt x="424" y="390"/>
                    <a:pt x="424" y="390"/>
                    <a:pt x="424" y="390"/>
                  </a:cubicBezTo>
                  <a:cubicBezTo>
                    <a:pt x="424" y="390"/>
                    <a:pt x="424" y="390"/>
                    <a:pt x="424" y="390"/>
                  </a:cubicBezTo>
                  <a:cubicBezTo>
                    <a:pt x="425" y="391"/>
                    <a:pt x="426" y="393"/>
                    <a:pt x="426" y="395"/>
                  </a:cubicBezTo>
                  <a:cubicBezTo>
                    <a:pt x="426" y="397"/>
                    <a:pt x="425" y="399"/>
                    <a:pt x="422" y="400"/>
                  </a:cubicBezTo>
                  <a:cubicBezTo>
                    <a:pt x="427" y="403"/>
                    <a:pt x="432" y="405"/>
                    <a:pt x="437" y="407"/>
                  </a:cubicBezTo>
                  <a:cubicBezTo>
                    <a:pt x="433" y="405"/>
                    <a:pt x="428" y="405"/>
                    <a:pt x="424" y="404"/>
                  </a:cubicBezTo>
                  <a:cubicBezTo>
                    <a:pt x="423" y="404"/>
                    <a:pt x="423" y="404"/>
                    <a:pt x="422" y="404"/>
                  </a:cubicBezTo>
                  <a:cubicBezTo>
                    <a:pt x="420" y="404"/>
                    <a:pt x="418" y="405"/>
                    <a:pt x="416" y="405"/>
                  </a:cubicBezTo>
                  <a:cubicBezTo>
                    <a:pt x="416" y="405"/>
                    <a:pt x="416" y="406"/>
                    <a:pt x="416" y="406"/>
                  </a:cubicBezTo>
                  <a:cubicBezTo>
                    <a:pt x="412" y="406"/>
                    <a:pt x="408" y="403"/>
                    <a:pt x="405" y="402"/>
                  </a:cubicBezTo>
                  <a:cubicBezTo>
                    <a:pt x="405" y="402"/>
                    <a:pt x="405" y="402"/>
                    <a:pt x="405" y="402"/>
                  </a:cubicBezTo>
                  <a:cubicBezTo>
                    <a:pt x="403" y="402"/>
                    <a:pt x="402" y="404"/>
                    <a:pt x="401" y="405"/>
                  </a:cubicBezTo>
                  <a:cubicBezTo>
                    <a:pt x="398" y="407"/>
                    <a:pt x="395" y="409"/>
                    <a:pt x="392" y="410"/>
                  </a:cubicBezTo>
                  <a:cubicBezTo>
                    <a:pt x="390" y="410"/>
                    <a:pt x="387" y="410"/>
                    <a:pt x="386" y="412"/>
                  </a:cubicBezTo>
                  <a:cubicBezTo>
                    <a:pt x="384" y="413"/>
                    <a:pt x="385" y="414"/>
                    <a:pt x="386" y="416"/>
                  </a:cubicBezTo>
                  <a:cubicBezTo>
                    <a:pt x="387" y="417"/>
                    <a:pt x="388" y="418"/>
                    <a:pt x="388" y="420"/>
                  </a:cubicBezTo>
                  <a:cubicBezTo>
                    <a:pt x="388" y="421"/>
                    <a:pt x="388" y="422"/>
                    <a:pt x="387" y="423"/>
                  </a:cubicBezTo>
                  <a:cubicBezTo>
                    <a:pt x="387" y="424"/>
                    <a:pt x="386" y="424"/>
                    <a:pt x="386" y="424"/>
                  </a:cubicBezTo>
                  <a:cubicBezTo>
                    <a:pt x="384" y="428"/>
                    <a:pt x="385" y="430"/>
                    <a:pt x="381" y="433"/>
                  </a:cubicBezTo>
                  <a:cubicBezTo>
                    <a:pt x="379" y="435"/>
                    <a:pt x="377" y="437"/>
                    <a:pt x="376" y="440"/>
                  </a:cubicBezTo>
                  <a:cubicBezTo>
                    <a:pt x="375" y="444"/>
                    <a:pt x="372" y="446"/>
                    <a:pt x="377" y="448"/>
                  </a:cubicBezTo>
                  <a:cubicBezTo>
                    <a:pt x="378" y="449"/>
                    <a:pt x="381" y="449"/>
                    <a:pt x="382" y="450"/>
                  </a:cubicBezTo>
                  <a:cubicBezTo>
                    <a:pt x="383" y="450"/>
                    <a:pt x="383" y="450"/>
                    <a:pt x="384" y="450"/>
                  </a:cubicBezTo>
                  <a:cubicBezTo>
                    <a:pt x="386" y="450"/>
                    <a:pt x="387" y="448"/>
                    <a:pt x="388" y="447"/>
                  </a:cubicBezTo>
                  <a:cubicBezTo>
                    <a:pt x="390" y="446"/>
                    <a:pt x="391" y="445"/>
                    <a:pt x="393" y="445"/>
                  </a:cubicBezTo>
                  <a:cubicBezTo>
                    <a:pt x="393" y="447"/>
                    <a:pt x="391" y="448"/>
                    <a:pt x="390" y="449"/>
                  </a:cubicBezTo>
                  <a:cubicBezTo>
                    <a:pt x="390" y="451"/>
                    <a:pt x="390" y="450"/>
                    <a:pt x="389" y="451"/>
                  </a:cubicBezTo>
                  <a:cubicBezTo>
                    <a:pt x="388" y="453"/>
                    <a:pt x="387" y="452"/>
                    <a:pt x="385" y="453"/>
                  </a:cubicBezTo>
                  <a:cubicBezTo>
                    <a:pt x="383" y="455"/>
                    <a:pt x="385" y="454"/>
                    <a:pt x="385" y="455"/>
                  </a:cubicBezTo>
                  <a:cubicBezTo>
                    <a:pt x="385" y="456"/>
                    <a:pt x="385" y="457"/>
                    <a:pt x="385" y="457"/>
                  </a:cubicBezTo>
                  <a:cubicBezTo>
                    <a:pt x="385" y="457"/>
                    <a:pt x="384" y="456"/>
                    <a:pt x="382" y="456"/>
                  </a:cubicBezTo>
                  <a:cubicBezTo>
                    <a:pt x="381" y="456"/>
                    <a:pt x="381" y="456"/>
                    <a:pt x="380" y="456"/>
                  </a:cubicBezTo>
                  <a:cubicBezTo>
                    <a:pt x="379" y="456"/>
                    <a:pt x="379" y="456"/>
                    <a:pt x="377" y="456"/>
                  </a:cubicBezTo>
                  <a:cubicBezTo>
                    <a:pt x="376" y="457"/>
                    <a:pt x="371" y="458"/>
                    <a:pt x="375" y="460"/>
                  </a:cubicBezTo>
                  <a:cubicBezTo>
                    <a:pt x="375" y="459"/>
                    <a:pt x="375" y="459"/>
                    <a:pt x="374" y="459"/>
                  </a:cubicBezTo>
                  <a:cubicBezTo>
                    <a:pt x="373" y="459"/>
                    <a:pt x="371" y="460"/>
                    <a:pt x="372" y="462"/>
                  </a:cubicBezTo>
                  <a:cubicBezTo>
                    <a:pt x="372" y="463"/>
                    <a:pt x="375" y="465"/>
                    <a:pt x="376" y="465"/>
                  </a:cubicBezTo>
                  <a:cubicBezTo>
                    <a:pt x="377" y="465"/>
                    <a:pt x="377" y="466"/>
                    <a:pt x="378" y="466"/>
                  </a:cubicBezTo>
                  <a:cubicBezTo>
                    <a:pt x="383" y="466"/>
                    <a:pt x="390" y="462"/>
                    <a:pt x="394" y="461"/>
                  </a:cubicBezTo>
                  <a:cubicBezTo>
                    <a:pt x="398" y="460"/>
                    <a:pt x="400" y="458"/>
                    <a:pt x="403" y="456"/>
                  </a:cubicBezTo>
                  <a:cubicBezTo>
                    <a:pt x="403" y="456"/>
                    <a:pt x="403" y="456"/>
                    <a:pt x="403" y="456"/>
                  </a:cubicBezTo>
                  <a:cubicBezTo>
                    <a:pt x="405" y="455"/>
                    <a:pt x="404" y="454"/>
                    <a:pt x="402" y="453"/>
                  </a:cubicBezTo>
                  <a:cubicBezTo>
                    <a:pt x="403" y="453"/>
                    <a:pt x="404" y="452"/>
                    <a:pt x="405" y="451"/>
                  </a:cubicBezTo>
                  <a:cubicBezTo>
                    <a:pt x="406" y="453"/>
                    <a:pt x="406" y="454"/>
                    <a:pt x="406" y="456"/>
                  </a:cubicBezTo>
                  <a:cubicBezTo>
                    <a:pt x="408" y="453"/>
                    <a:pt x="409" y="449"/>
                    <a:pt x="412" y="447"/>
                  </a:cubicBezTo>
                  <a:cubicBezTo>
                    <a:pt x="412" y="450"/>
                    <a:pt x="410" y="451"/>
                    <a:pt x="410" y="453"/>
                  </a:cubicBezTo>
                  <a:cubicBezTo>
                    <a:pt x="409" y="454"/>
                    <a:pt x="409" y="455"/>
                    <a:pt x="409" y="456"/>
                  </a:cubicBezTo>
                  <a:cubicBezTo>
                    <a:pt x="411" y="455"/>
                    <a:pt x="417" y="450"/>
                    <a:pt x="415" y="448"/>
                  </a:cubicBezTo>
                  <a:cubicBezTo>
                    <a:pt x="416" y="447"/>
                    <a:pt x="418" y="447"/>
                    <a:pt x="419" y="447"/>
                  </a:cubicBezTo>
                  <a:cubicBezTo>
                    <a:pt x="418" y="446"/>
                    <a:pt x="417" y="445"/>
                    <a:pt x="417" y="444"/>
                  </a:cubicBezTo>
                  <a:cubicBezTo>
                    <a:pt x="419" y="445"/>
                    <a:pt x="421" y="447"/>
                    <a:pt x="423" y="449"/>
                  </a:cubicBezTo>
                  <a:cubicBezTo>
                    <a:pt x="423" y="448"/>
                    <a:pt x="423" y="446"/>
                    <a:pt x="423" y="445"/>
                  </a:cubicBezTo>
                  <a:cubicBezTo>
                    <a:pt x="423" y="444"/>
                    <a:pt x="421" y="443"/>
                    <a:pt x="421" y="443"/>
                  </a:cubicBezTo>
                  <a:cubicBezTo>
                    <a:pt x="421" y="442"/>
                    <a:pt x="423" y="442"/>
                    <a:pt x="424" y="441"/>
                  </a:cubicBezTo>
                  <a:cubicBezTo>
                    <a:pt x="424" y="439"/>
                    <a:pt x="424" y="439"/>
                    <a:pt x="424" y="439"/>
                  </a:cubicBezTo>
                  <a:cubicBezTo>
                    <a:pt x="425" y="440"/>
                    <a:pt x="427" y="446"/>
                    <a:pt x="426" y="446"/>
                  </a:cubicBezTo>
                  <a:cubicBezTo>
                    <a:pt x="427" y="446"/>
                    <a:pt x="427" y="447"/>
                    <a:pt x="428" y="447"/>
                  </a:cubicBezTo>
                  <a:cubicBezTo>
                    <a:pt x="427" y="444"/>
                    <a:pt x="426" y="444"/>
                    <a:pt x="427" y="442"/>
                  </a:cubicBezTo>
                  <a:cubicBezTo>
                    <a:pt x="428" y="440"/>
                    <a:pt x="429" y="440"/>
                    <a:pt x="430" y="439"/>
                  </a:cubicBezTo>
                  <a:cubicBezTo>
                    <a:pt x="432" y="437"/>
                    <a:pt x="429" y="436"/>
                    <a:pt x="431" y="433"/>
                  </a:cubicBezTo>
                  <a:cubicBezTo>
                    <a:pt x="434" y="436"/>
                    <a:pt x="434" y="438"/>
                    <a:pt x="434" y="442"/>
                  </a:cubicBezTo>
                  <a:cubicBezTo>
                    <a:pt x="435" y="440"/>
                    <a:pt x="436" y="435"/>
                    <a:pt x="438" y="435"/>
                  </a:cubicBezTo>
                  <a:cubicBezTo>
                    <a:pt x="438" y="435"/>
                    <a:pt x="438" y="435"/>
                    <a:pt x="438" y="435"/>
                  </a:cubicBezTo>
                  <a:cubicBezTo>
                    <a:pt x="441" y="435"/>
                    <a:pt x="442" y="439"/>
                    <a:pt x="444" y="439"/>
                  </a:cubicBezTo>
                  <a:cubicBezTo>
                    <a:pt x="445" y="440"/>
                    <a:pt x="446" y="440"/>
                    <a:pt x="447" y="440"/>
                  </a:cubicBezTo>
                  <a:cubicBezTo>
                    <a:pt x="448" y="440"/>
                    <a:pt x="449" y="439"/>
                    <a:pt x="451" y="438"/>
                  </a:cubicBezTo>
                  <a:cubicBezTo>
                    <a:pt x="452" y="436"/>
                    <a:pt x="454" y="436"/>
                    <a:pt x="455" y="435"/>
                  </a:cubicBezTo>
                  <a:cubicBezTo>
                    <a:pt x="456" y="434"/>
                    <a:pt x="455" y="433"/>
                    <a:pt x="456" y="432"/>
                  </a:cubicBezTo>
                  <a:cubicBezTo>
                    <a:pt x="457" y="431"/>
                    <a:pt x="466" y="430"/>
                    <a:pt x="458" y="429"/>
                  </a:cubicBezTo>
                  <a:cubicBezTo>
                    <a:pt x="459" y="429"/>
                    <a:pt x="459" y="429"/>
                    <a:pt x="459" y="429"/>
                  </a:cubicBezTo>
                  <a:cubicBezTo>
                    <a:pt x="459" y="429"/>
                    <a:pt x="459" y="429"/>
                    <a:pt x="459" y="429"/>
                  </a:cubicBezTo>
                  <a:cubicBezTo>
                    <a:pt x="458" y="429"/>
                    <a:pt x="458" y="429"/>
                    <a:pt x="458" y="429"/>
                  </a:cubicBezTo>
                  <a:cubicBezTo>
                    <a:pt x="457" y="429"/>
                    <a:pt x="457" y="429"/>
                    <a:pt x="457" y="429"/>
                  </a:cubicBezTo>
                  <a:cubicBezTo>
                    <a:pt x="456" y="429"/>
                    <a:pt x="455" y="429"/>
                    <a:pt x="455" y="428"/>
                  </a:cubicBezTo>
                  <a:cubicBezTo>
                    <a:pt x="455" y="427"/>
                    <a:pt x="458" y="426"/>
                    <a:pt x="459" y="425"/>
                  </a:cubicBezTo>
                  <a:cubicBezTo>
                    <a:pt x="459" y="425"/>
                    <a:pt x="459" y="425"/>
                    <a:pt x="459" y="425"/>
                  </a:cubicBezTo>
                  <a:cubicBezTo>
                    <a:pt x="459" y="425"/>
                    <a:pt x="457" y="425"/>
                    <a:pt x="458" y="424"/>
                  </a:cubicBezTo>
                  <a:cubicBezTo>
                    <a:pt x="460" y="423"/>
                    <a:pt x="460" y="423"/>
                    <a:pt x="460" y="423"/>
                  </a:cubicBezTo>
                  <a:cubicBezTo>
                    <a:pt x="461" y="423"/>
                    <a:pt x="468" y="422"/>
                    <a:pt x="464" y="421"/>
                  </a:cubicBezTo>
                  <a:cubicBezTo>
                    <a:pt x="466" y="419"/>
                    <a:pt x="463" y="418"/>
                    <a:pt x="462" y="416"/>
                  </a:cubicBezTo>
                  <a:cubicBezTo>
                    <a:pt x="461" y="418"/>
                    <a:pt x="460" y="421"/>
                    <a:pt x="458" y="422"/>
                  </a:cubicBezTo>
                  <a:cubicBezTo>
                    <a:pt x="458" y="422"/>
                    <a:pt x="457" y="422"/>
                    <a:pt x="457" y="422"/>
                  </a:cubicBezTo>
                  <a:cubicBezTo>
                    <a:pt x="456" y="422"/>
                    <a:pt x="455" y="422"/>
                    <a:pt x="454" y="421"/>
                  </a:cubicBezTo>
                  <a:cubicBezTo>
                    <a:pt x="453" y="421"/>
                    <a:pt x="452" y="421"/>
                    <a:pt x="451" y="421"/>
                  </a:cubicBezTo>
                  <a:cubicBezTo>
                    <a:pt x="450" y="421"/>
                    <a:pt x="449" y="421"/>
                    <a:pt x="449" y="422"/>
                  </a:cubicBezTo>
                  <a:cubicBezTo>
                    <a:pt x="449" y="420"/>
                    <a:pt x="451" y="419"/>
                    <a:pt x="452" y="418"/>
                  </a:cubicBezTo>
                  <a:cubicBezTo>
                    <a:pt x="454" y="417"/>
                    <a:pt x="457" y="417"/>
                    <a:pt x="458" y="416"/>
                  </a:cubicBezTo>
                  <a:cubicBezTo>
                    <a:pt x="460" y="414"/>
                    <a:pt x="457" y="413"/>
                    <a:pt x="458" y="411"/>
                  </a:cubicBezTo>
                  <a:cubicBezTo>
                    <a:pt x="457" y="412"/>
                    <a:pt x="456" y="414"/>
                    <a:pt x="454" y="415"/>
                  </a:cubicBezTo>
                  <a:cubicBezTo>
                    <a:pt x="454" y="414"/>
                    <a:pt x="456" y="411"/>
                    <a:pt x="455" y="410"/>
                  </a:cubicBezTo>
                  <a:cubicBezTo>
                    <a:pt x="455" y="410"/>
                    <a:pt x="455" y="410"/>
                    <a:pt x="455" y="410"/>
                  </a:cubicBezTo>
                  <a:cubicBezTo>
                    <a:pt x="453" y="410"/>
                    <a:pt x="449" y="413"/>
                    <a:pt x="448" y="414"/>
                  </a:cubicBezTo>
                  <a:cubicBezTo>
                    <a:pt x="448" y="411"/>
                    <a:pt x="451" y="410"/>
                    <a:pt x="453" y="409"/>
                  </a:cubicBezTo>
                  <a:cubicBezTo>
                    <a:pt x="453" y="409"/>
                    <a:pt x="452" y="409"/>
                    <a:pt x="452" y="409"/>
                  </a:cubicBezTo>
                  <a:cubicBezTo>
                    <a:pt x="451" y="409"/>
                    <a:pt x="450" y="409"/>
                    <a:pt x="448" y="409"/>
                  </a:cubicBezTo>
                  <a:cubicBezTo>
                    <a:pt x="450" y="408"/>
                    <a:pt x="461" y="406"/>
                    <a:pt x="456" y="404"/>
                  </a:cubicBezTo>
                  <a:cubicBezTo>
                    <a:pt x="457" y="403"/>
                    <a:pt x="461" y="403"/>
                    <a:pt x="460" y="401"/>
                  </a:cubicBezTo>
                  <a:cubicBezTo>
                    <a:pt x="460" y="400"/>
                    <a:pt x="460" y="400"/>
                    <a:pt x="460" y="400"/>
                  </a:cubicBezTo>
                  <a:cubicBezTo>
                    <a:pt x="458" y="400"/>
                    <a:pt x="455" y="402"/>
                    <a:pt x="454" y="403"/>
                  </a:cubicBezTo>
                  <a:cubicBezTo>
                    <a:pt x="454" y="399"/>
                    <a:pt x="461" y="398"/>
                    <a:pt x="464" y="397"/>
                  </a:cubicBezTo>
                  <a:cubicBezTo>
                    <a:pt x="467" y="397"/>
                    <a:pt x="468" y="395"/>
                    <a:pt x="470" y="393"/>
                  </a:cubicBezTo>
                  <a:cubicBezTo>
                    <a:pt x="470" y="397"/>
                    <a:pt x="465" y="400"/>
                    <a:pt x="464" y="403"/>
                  </a:cubicBezTo>
                  <a:cubicBezTo>
                    <a:pt x="463" y="404"/>
                    <a:pt x="463" y="403"/>
                    <a:pt x="464" y="405"/>
                  </a:cubicBezTo>
                  <a:cubicBezTo>
                    <a:pt x="464" y="405"/>
                    <a:pt x="464" y="405"/>
                    <a:pt x="464" y="405"/>
                  </a:cubicBezTo>
                  <a:cubicBezTo>
                    <a:pt x="464" y="405"/>
                    <a:pt x="464" y="405"/>
                    <a:pt x="465" y="406"/>
                  </a:cubicBezTo>
                  <a:cubicBezTo>
                    <a:pt x="466" y="407"/>
                    <a:pt x="466" y="407"/>
                    <a:pt x="466" y="407"/>
                  </a:cubicBezTo>
                  <a:cubicBezTo>
                    <a:pt x="466" y="407"/>
                    <a:pt x="466" y="407"/>
                    <a:pt x="466" y="407"/>
                  </a:cubicBezTo>
                  <a:cubicBezTo>
                    <a:pt x="466" y="407"/>
                    <a:pt x="467" y="407"/>
                    <a:pt x="467" y="407"/>
                  </a:cubicBezTo>
                  <a:cubicBezTo>
                    <a:pt x="468" y="407"/>
                    <a:pt x="468" y="406"/>
                    <a:pt x="470" y="405"/>
                  </a:cubicBezTo>
                  <a:cubicBezTo>
                    <a:pt x="470" y="404"/>
                    <a:pt x="471" y="404"/>
                    <a:pt x="472" y="404"/>
                  </a:cubicBezTo>
                  <a:cubicBezTo>
                    <a:pt x="472" y="404"/>
                    <a:pt x="472" y="404"/>
                    <a:pt x="472" y="404"/>
                  </a:cubicBezTo>
                  <a:cubicBezTo>
                    <a:pt x="472" y="404"/>
                    <a:pt x="473" y="404"/>
                    <a:pt x="473" y="404"/>
                  </a:cubicBezTo>
                  <a:cubicBezTo>
                    <a:pt x="473" y="404"/>
                    <a:pt x="473" y="404"/>
                    <a:pt x="473" y="404"/>
                  </a:cubicBezTo>
                  <a:cubicBezTo>
                    <a:pt x="473" y="403"/>
                    <a:pt x="473" y="403"/>
                    <a:pt x="472" y="402"/>
                  </a:cubicBezTo>
                  <a:cubicBezTo>
                    <a:pt x="472" y="402"/>
                    <a:pt x="472" y="402"/>
                    <a:pt x="472" y="402"/>
                  </a:cubicBezTo>
                  <a:cubicBezTo>
                    <a:pt x="474" y="402"/>
                    <a:pt x="473" y="400"/>
                    <a:pt x="474" y="399"/>
                  </a:cubicBezTo>
                  <a:cubicBezTo>
                    <a:pt x="474" y="399"/>
                    <a:pt x="474" y="397"/>
                    <a:pt x="474" y="397"/>
                  </a:cubicBezTo>
                  <a:cubicBezTo>
                    <a:pt x="474" y="397"/>
                    <a:pt x="475" y="397"/>
                    <a:pt x="475" y="398"/>
                  </a:cubicBezTo>
                  <a:cubicBezTo>
                    <a:pt x="475" y="400"/>
                    <a:pt x="475" y="403"/>
                    <a:pt x="474" y="405"/>
                  </a:cubicBezTo>
                  <a:cubicBezTo>
                    <a:pt x="475" y="404"/>
                    <a:pt x="476" y="403"/>
                    <a:pt x="477" y="402"/>
                  </a:cubicBezTo>
                  <a:cubicBezTo>
                    <a:pt x="477" y="404"/>
                    <a:pt x="477" y="405"/>
                    <a:pt x="478" y="405"/>
                  </a:cubicBezTo>
                  <a:cubicBezTo>
                    <a:pt x="479" y="405"/>
                    <a:pt x="480" y="403"/>
                    <a:pt x="482" y="402"/>
                  </a:cubicBezTo>
                  <a:cubicBezTo>
                    <a:pt x="482" y="402"/>
                    <a:pt x="483" y="402"/>
                    <a:pt x="484" y="402"/>
                  </a:cubicBezTo>
                  <a:cubicBezTo>
                    <a:pt x="484" y="402"/>
                    <a:pt x="485" y="402"/>
                    <a:pt x="486" y="402"/>
                  </a:cubicBezTo>
                  <a:cubicBezTo>
                    <a:pt x="487" y="402"/>
                    <a:pt x="488" y="403"/>
                    <a:pt x="489" y="403"/>
                  </a:cubicBezTo>
                  <a:cubicBezTo>
                    <a:pt x="490" y="403"/>
                    <a:pt x="490" y="402"/>
                    <a:pt x="491" y="402"/>
                  </a:cubicBezTo>
                  <a:cubicBezTo>
                    <a:pt x="492" y="402"/>
                    <a:pt x="494" y="399"/>
                    <a:pt x="495" y="399"/>
                  </a:cubicBezTo>
                  <a:cubicBezTo>
                    <a:pt x="497" y="398"/>
                    <a:pt x="499" y="398"/>
                    <a:pt x="500" y="398"/>
                  </a:cubicBezTo>
                  <a:cubicBezTo>
                    <a:pt x="501" y="398"/>
                    <a:pt x="502" y="398"/>
                    <a:pt x="503" y="398"/>
                  </a:cubicBezTo>
                  <a:cubicBezTo>
                    <a:pt x="501" y="399"/>
                    <a:pt x="494" y="399"/>
                    <a:pt x="497" y="401"/>
                  </a:cubicBezTo>
                  <a:cubicBezTo>
                    <a:pt x="496" y="401"/>
                    <a:pt x="496" y="401"/>
                    <a:pt x="496" y="401"/>
                  </a:cubicBezTo>
                  <a:cubicBezTo>
                    <a:pt x="494" y="401"/>
                    <a:pt x="493" y="404"/>
                    <a:pt x="496" y="404"/>
                  </a:cubicBezTo>
                  <a:cubicBezTo>
                    <a:pt x="495" y="404"/>
                    <a:pt x="494" y="404"/>
                    <a:pt x="493" y="404"/>
                  </a:cubicBezTo>
                  <a:cubicBezTo>
                    <a:pt x="493" y="405"/>
                    <a:pt x="494" y="407"/>
                    <a:pt x="496" y="408"/>
                  </a:cubicBezTo>
                  <a:cubicBezTo>
                    <a:pt x="496" y="408"/>
                    <a:pt x="498" y="408"/>
                    <a:pt x="499" y="408"/>
                  </a:cubicBezTo>
                  <a:cubicBezTo>
                    <a:pt x="501" y="408"/>
                    <a:pt x="504" y="408"/>
                    <a:pt x="505" y="406"/>
                  </a:cubicBezTo>
                  <a:cubicBezTo>
                    <a:pt x="504" y="410"/>
                    <a:pt x="502" y="410"/>
                    <a:pt x="499" y="410"/>
                  </a:cubicBezTo>
                  <a:cubicBezTo>
                    <a:pt x="499" y="410"/>
                    <a:pt x="498" y="410"/>
                    <a:pt x="498" y="410"/>
                  </a:cubicBezTo>
                  <a:cubicBezTo>
                    <a:pt x="499" y="411"/>
                    <a:pt x="499" y="411"/>
                    <a:pt x="499" y="411"/>
                  </a:cubicBezTo>
                  <a:cubicBezTo>
                    <a:pt x="498" y="411"/>
                    <a:pt x="498" y="411"/>
                    <a:pt x="498" y="411"/>
                  </a:cubicBezTo>
                  <a:cubicBezTo>
                    <a:pt x="497" y="411"/>
                    <a:pt x="497" y="411"/>
                    <a:pt x="496" y="411"/>
                  </a:cubicBezTo>
                  <a:cubicBezTo>
                    <a:pt x="496" y="411"/>
                    <a:pt x="495" y="411"/>
                    <a:pt x="495" y="411"/>
                  </a:cubicBezTo>
                  <a:cubicBezTo>
                    <a:pt x="495" y="411"/>
                    <a:pt x="495" y="411"/>
                    <a:pt x="494" y="411"/>
                  </a:cubicBezTo>
                  <a:cubicBezTo>
                    <a:pt x="495" y="412"/>
                    <a:pt x="495" y="413"/>
                    <a:pt x="496" y="413"/>
                  </a:cubicBezTo>
                  <a:cubicBezTo>
                    <a:pt x="498" y="413"/>
                    <a:pt x="501" y="411"/>
                    <a:pt x="503" y="411"/>
                  </a:cubicBezTo>
                  <a:cubicBezTo>
                    <a:pt x="503" y="411"/>
                    <a:pt x="503" y="411"/>
                    <a:pt x="503" y="411"/>
                  </a:cubicBezTo>
                  <a:cubicBezTo>
                    <a:pt x="504" y="411"/>
                    <a:pt x="504" y="411"/>
                    <a:pt x="505" y="411"/>
                  </a:cubicBezTo>
                  <a:cubicBezTo>
                    <a:pt x="505" y="411"/>
                    <a:pt x="506" y="411"/>
                    <a:pt x="506" y="411"/>
                  </a:cubicBezTo>
                  <a:cubicBezTo>
                    <a:pt x="507" y="411"/>
                    <a:pt x="509" y="411"/>
                    <a:pt x="509" y="410"/>
                  </a:cubicBezTo>
                  <a:cubicBezTo>
                    <a:pt x="508" y="412"/>
                    <a:pt x="506" y="413"/>
                    <a:pt x="504" y="415"/>
                  </a:cubicBezTo>
                  <a:cubicBezTo>
                    <a:pt x="507" y="415"/>
                    <a:pt x="509" y="413"/>
                    <a:pt x="512" y="413"/>
                  </a:cubicBezTo>
                  <a:cubicBezTo>
                    <a:pt x="512" y="413"/>
                    <a:pt x="512" y="413"/>
                    <a:pt x="512" y="413"/>
                  </a:cubicBezTo>
                  <a:cubicBezTo>
                    <a:pt x="513" y="413"/>
                    <a:pt x="514" y="413"/>
                    <a:pt x="515" y="413"/>
                  </a:cubicBezTo>
                  <a:cubicBezTo>
                    <a:pt x="516" y="414"/>
                    <a:pt x="517" y="414"/>
                    <a:pt x="518" y="414"/>
                  </a:cubicBezTo>
                  <a:cubicBezTo>
                    <a:pt x="518" y="414"/>
                    <a:pt x="518" y="414"/>
                    <a:pt x="518" y="414"/>
                  </a:cubicBezTo>
                  <a:cubicBezTo>
                    <a:pt x="518" y="417"/>
                    <a:pt x="514" y="419"/>
                    <a:pt x="512" y="421"/>
                  </a:cubicBezTo>
                  <a:cubicBezTo>
                    <a:pt x="515" y="422"/>
                    <a:pt x="518" y="422"/>
                    <a:pt x="522" y="422"/>
                  </a:cubicBezTo>
                  <a:cubicBezTo>
                    <a:pt x="525" y="422"/>
                    <a:pt x="528" y="422"/>
                    <a:pt x="530" y="422"/>
                  </a:cubicBezTo>
                  <a:cubicBezTo>
                    <a:pt x="532" y="422"/>
                    <a:pt x="533" y="420"/>
                    <a:pt x="534" y="418"/>
                  </a:cubicBezTo>
                  <a:cubicBezTo>
                    <a:pt x="535" y="417"/>
                    <a:pt x="537" y="417"/>
                    <a:pt x="538" y="415"/>
                  </a:cubicBezTo>
                  <a:cubicBezTo>
                    <a:pt x="539" y="414"/>
                    <a:pt x="540" y="413"/>
                    <a:pt x="542" y="412"/>
                  </a:cubicBezTo>
                  <a:cubicBezTo>
                    <a:pt x="539" y="414"/>
                    <a:pt x="539" y="415"/>
                    <a:pt x="538" y="418"/>
                  </a:cubicBezTo>
                  <a:cubicBezTo>
                    <a:pt x="536" y="421"/>
                    <a:pt x="537" y="421"/>
                    <a:pt x="537" y="423"/>
                  </a:cubicBezTo>
                  <a:cubicBezTo>
                    <a:pt x="537" y="423"/>
                    <a:pt x="537" y="423"/>
                    <a:pt x="537" y="423"/>
                  </a:cubicBezTo>
                  <a:cubicBezTo>
                    <a:pt x="535" y="423"/>
                    <a:pt x="536" y="424"/>
                    <a:pt x="536" y="425"/>
                  </a:cubicBezTo>
                  <a:cubicBezTo>
                    <a:pt x="536" y="427"/>
                    <a:pt x="534" y="427"/>
                    <a:pt x="538" y="428"/>
                  </a:cubicBezTo>
                  <a:cubicBezTo>
                    <a:pt x="541" y="430"/>
                    <a:pt x="545" y="431"/>
                    <a:pt x="549" y="433"/>
                  </a:cubicBezTo>
                  <a:cubicBezTo>
                    <a:pt x="551" y="433"/>
                    <a:pt x="556" y="434"/>
                    <a:pt x="556" y="436"/>
                  </a:cubicBezTo>
                  <a:cubicBezTo>
                    <a:pt x="562" y="436"/>
                    <a:pt x="568" y="435"/>
                    <a:pt x="574" y="435"/>
                  </a:cubicBezTo>
                  <a:cubicBezTo>
                    <a:pt x="578" y="435"/>
                    <a:pt x="583" y="434"/>
                    <a:pt x="587" y="434"/>
                  </a:cubicBezTo>
                  <a:cubicBezTo>
                    <a:pt x="589" y="434"/>
                    <a:pt x="591" y="434"/>
                    <a:pt x="592" y="435"/>
                  </a:cubicBezTo>
                  <a:cubicBezTo>
                    <a:pt x="597" y="435"/>
                    <a:pt x="602" y="436"/>
                    <a:pt x="606" y="437"/>
                  </a:cubicBezTo>
                  <a:cubicBezTo>
                    <a:pt x="608" y="438"/>
                    <a:pt x="609" y="438"/>
                    <a:pt x="611" y="438"/>
                  </a:cubicBezTo>
                  <a:cubicBezTo>
                    <a:pt x="612" y="438"/>
                    <a:pt x="612" y="438"/>
                    <a:pt x="613" y="438"/>
                  </a:cubicBezTo>
                  <a:cubicBezTo>
                    <a:pt x="614" y="438"/>
                    <a:pt x="617" y="437"/>
                    <a:pt x="617" y="436"/>
                  </a:cubicBezTo>
                  <a:cubicBezTo>
                    <a:pt x="618" y="435"/>
                    <a:pt x="614" y="434"/>
                    <a:pt x="616" y="433"/>
                  </a:cubicBezTo>
                  <a:cubicBezTo>
                    <a:pt x="616" y="433"/>
                    <a:pt x="616" y="432"/>
                    <a:pt x="616" y="432"/>
                  </a:cubicBezTo>
                  <a:cubicBezTo>
                    <a:pt x="618" y="432"/>
                    <a:pt x="621" y="438"/>
                    <a:pt x="620" y="439"/>
                  </a:cubicBezTo>
                  <a:cubicBezTo>
                    <a:pt x="619" y="440"/>
                    <a:pt x="616" y="441"/>
                    <a:pt x="616" y="441"/>
                  </a:cubicBezTo>
                  <a:cubicBezTo>
                    <a:pt x="622" y="445"/>
                    <a:pt x="632" y="448"/>
                    <a:pt x="640" y="448"/>
                  </a:cubicBezTo>
                  <a:cubicBezTo>
                    <a:pt x="640" y="448"/>
                    <a:pt x="640" y="448"/>
                    <a:pt x="640" y="448"/>
                  </a:cubicBezTo>
                  <a:cubicBezTo>
                    <a:pt x="644" y="448"/>
                    <a:pt x="647" y="446"/>
                    <a:pt x="651" y="444"/>
                  </a:cubicBezTo>
                  <a:cubicBezTo>
                    <a:pt x="653" y="444"/>
                    <a:pt x="653" y="443"/>
                    <a:pt x="655" y="442"/>
                  </a:cubicBezTo>
                  <a:cubicBezTo>
                    <a:pt x="656" y="441"/>
                    <a:pt x="658" y="440"/>
                    <a:pt x="659" y="439"/>
                  </a:cubicBezTo>
                  <a:cubicBezTo>
                    <a:pt x="660" y="438"/>
                    <a:pt x="659" y="436"/>
                    <a:pt x="661" y="436"/>
                  </a:cubicBezTo>
                  <a:cubicBezTo>
                    <a:pt x="661" y="436"/>
                    <a:pt x="661" y="436"/>
                    <a:pt x="662" y="436"/>
                  </a:cubicBezTo>
                  <a:cubicBezTo>
                    <a:pt x="666" y="437"/>
                    <a:pt x="671" y="442"/>
                    <a:pt x="675" y="444"/>
                  </a:cubicBezTo>
                  <a:cubicBezTo>
                    <a:pt x="673" y="443"/>
                    <a:pt x="671" y="443"/>
                    <a:pt x="669" y="443"/>
                  </a:cubicBezTo>
                  <a:cubicBezTo>
                    <a:pt x="668" y="443"/>
                    <a:pt x="667" y="443"/>
                    <a:pt x="666" y="444"/>
                  </a:cubicBezTo>
                  <a:cubicBezTo>
                    <a:pt x="665" y="445"/>
                    <a:pt x="666" y="448"/>
                    <a:pt x="667" y="449"/>
                  </a:cubicBezTo>
                  <a:cubicBezTo>
                    <a:pt x="667" y="451"/>
                    <a:pt x="666" y="452"/>
                    <a:pt x="666" y="452"/>
                  </a:cubicBezTo>
                  <a:cubicBezTo>
                    <a:pt x="666" y="452"/>
                    <a:pt x="665" y="451"/>
                    <a:pt x="665" y="450"/>
                  </a:cubicBezTo>
                  <a:cubicBezTo>
                    <a:pt x="666" y="448"/>
                    <a:pt x="665" y="446"/>
                    <a:pt x="665" y="443"/>
                  </a:cubicBezTo>
                  <a:cubicBezTo>
                    <a:pt x="665" y="442"/>
                    <a:pt x="665" y="443"/>
                    <a:pt x="665" y="441"/>
                  </a:cubicBezTo>
                  <a:cubicBezTo>
                    <a:pt x="665" y="441"/>
                    <a:pt x="664" y="440"/>
                    <a:pt x="663" y="439"/>
                  </a:cubicBezTo>
                  <a:cubicBezTo>
                    <a:pt x="663" y="439"/>
                    <a:pt x="663" y="439"/>
                    <a:pt x="662" y="439"/>
                  </a:cubicBezTo>
                  <a:cubicBezTo>
                    <a:pt x="660" y="439"/>
                    <a:pt x="659" y="440"/>
                    <a:pt x="658" y="442"/>
                  </a:cubicBezTo>
                  <a:cubicBezTo>
                    <a:pt x="658" y="443"/>
                    <a:pt x="660" y="445"/>
                    <a:pt x="660" y="446"/>
                  </a:cubicBezTo>
                  <a:cubicBezTo>
                    <a:pt x="661" y="449"/>
                    <a:pt x="661" y="447"/>
                    <a:pt x="660" y="449"/>
                  </a:cubicBezTo>
                  <a:cubicBezTo>
                    <a:pt x="659" y="451"/>
                    <a:pt x="659" y="451"/>
                    <a:pt x="659" y="451"/>
                  </a:cubicBezTo>
                  <a:cubicBezTo>
                    <a:pt x="658" y="452"/>
                    <a:pt x="656" y="453"/>
                    <a:pt x="655" y="453"/>
                  </a:cubicBezTo>
                  <a:cubicBezTo>
                    <a:pt x="655" y="453"/>
                    <a:pt x="654" y="453"/>
                    <a:pt x="653" y="453"/>
                  </a:cubicBezTo>
                  <a:cubicBezTo>
                    <a:pt x="653" y="453"/>
                    <a:pt x="653" y="453"/>
                    <a:pt x="653" y="453"/>
                  </a:cubicBezTo>
                  <a:cubicBezTo>
                    <a:pt x="656" y="455"/>
                    <a:pt x="659" y="456"/>
                    <a:pt x="662" y="458"/>
                  </a:cubicBezTo>
                  <a:cubicBezTo>
                    <a:pt x="668" y="460"/>
                    <a:pt x="674" y="464"/>
                    <a:pt x="680" y="466"/>
                  </a:cubicBezTo>
                  <a:cubicBezTo>
                    <a:pt x="680" y="466"/>
                    <a:pt x="680" y="466"/>
                    <a:pt x="681" y="466"/>
                  </a:cubicBezTo>
                  <a:cubicBezTo>
                    <a:pt x="682" y="466"/>
                    <a:pt x="684" y="465"/>
                    <a:pt x="685" y="465"/>
                  </a:cubicBezTo>
                  <a:cubicBezTo>
                    <a:pt x="685" y="467"/>
                    <a:pt x="683" y="468"/>
                    <a:pt x="682" y="468"/>
                  </a:cubicBezTo>
                  <a:cubicBezTo>
                    <a:pt x="682" y="468"/>
                    <a:pt x="682" y="467"/>
                    <a:pt x="682" y="467"/>
                  </a:cubicBezTo>
                  <a:cubicBezTo>
                    <a:pt x="688" y="473"/>
                    <a:pt x="695" y="477"/>
                    <a:pt x="701" y="481"/>
                  </a:cubicBezTo>
                  <a:cubicBezTo>
                    <a:pt x="709" y="486"/>
                    <a:pt x="717" y="492"/>
                    <a:pt x="725" y="497"/>
                  </a:cubicBezTo>
                  <a:cubicBezTo>
                    <a:pt x="726" y="498"/>
                    <a:pt x="726" y="498"/>
                    <a:pt x="726" y="498"/>
                  </a:cubicBezTo>
                  <a:cubicBezTo>
                    <a:pt x="727" y="498"/>
                    <a:pt x="727" y="497"/>
                    <a:pt x="727" y="496"/>
                  </a:cubicBezTo>
                  <a:cubicBezTo>
                    <a:pt x="727" y="495"/>
                    <a:pt x="727" y="494"/>
                    <a:pt x="727" y="494"/>
                  </a:cubicBezTo>
                  <a:cubicBezTo>
                    <a:pt x="727" y="494"/>
                    <a:pt x="727" y="494"/>
                    <a:pt x="727" y="494"/>
                  </a:cubicBezTo>
                  <a:cubicBezTo>
                    <a:pt x="728" y="494"/>
                    <a:pt x="728" y="494"/>
                    <a:pt x="729" y="494"/>
                  </a:cubicBezTo>
                  <a:cubicBezTo>
                    <a:pt x="729" y="494"/>
                    <a:pt x="730" y="494"/>
                    <a:pt x="731" y="495"/>
                  </a:cubicBezTo>
                  <a:cubicBezTo>
                    <a:pt x="732" y="495"/>
                    <a:pt x="733" y="495"/>
                    <a:pt x="733" y="495"/>
                  </a:cubicBezTo>
                  <a:cubicBezTo>
                    <a:pt x="735" y="495"/>
                    <a:pt x="731" y="492"/>
                    <a:pt x="730" y="491"/>
                  </a:cubicBezTo>
                  <a:cubicBezTo>
                    <a:pt x="733" y="491"/>
                    <a:pt x="737" y="494"/>
                    <a:pt x="739" y="494"/>
                  </a:cubicBezTo>
                  <a:cubicBezTo>
                    <a:pt x="740" y="494"/>
                    <a:pt x="741" y="493"/>
                    <a:pt x="741" y="492"/>
                  </a:cubicBezTo>
                  <a:cubicBezTo>
                    <a:pt x="741" y="489"/>
                    <a:pt x="739" y="486"/>
                    <a:pt x="738" y="485"/>
                  </a:cubicBezTo>
                  <a:cubicBezTo>
                    <a:pt x="738" y="484"/>
                    <a:pt x="737" y="484"/>
                    <a:pt x="736" y="484"/>
                  </a:cubicBezTo>
                  <a:cubicBezTo>
                    <a:pt x="735" y="484"/>
                    <a:pt x="732" y="485"/>
                    <a:pt x="731" y="485"/>
                  </a:cubicBezTo>
                  <a:cubicBezTo>
                    <a:pt x="732" y="484"/>
                    <a:pt x="734" y="483"/>
                    <a:pt x="734" y="482"/>
                  </a:cubicBezTo>
                  <a:cubicBezTo>
                    <a:pt x="734" y="480"/>
                    <a:pt x="729" y="479"/>
                    <a:pt x="727" y="478"/>
                  </a:cubicBezTo>
                  <a:cubicBezTo>
                    <a:pt x="729" y="478"/>
                    <a:pt x="730" y="479"/>
                    <a:pt x="731" y="479"/>
                  </a:cubicBezTo>
                  <a:cubicBezTo>
                    <a:pt x="730" y="476"/>
                    <a:pt x="724" y="476"/>
                    <a:pt x="721" y="476"/>
                  </a:cubicBezTo>
                  <a:cubicBezTo>
                    <a:pt x="721" y="476"/>
                    <a:pt x="721" y="476"/>
                    <a:pt x="720" y="476"/>
                  </a:cubicBezTo>
                  <a:cubicBezTo>
                    <a:pt x="718" y="476"/>
                    <a:pt x="718" y="476"/>
                    <a:pt x="717" y="478"/>
                  </a:cubicBezTo>
                  <a:cubicBezTo>
                    <a:pt x="718" y="473"/>
                    <a:pt x="722" y="476"/>
                    <a:pt x="720" y="472"/>
                  </a:cubicBezTo>
                  <a:cubicBezTo>
                    <a:pt x="719" y="472"/>
                    <a:pt x="719" y="472"/>
                    <a:pt x="719" y="472"/>
                  </a:cubicBezTo>
                  <a:cubicBezTo>
                    <a:pt x="718" y="472"/>
                    <a:pt x="716" y="473"/>
                    <a:pt x="714" y="474"/>
                  </a:cubicBezTo>
                  <a:cubicBezTo>
                    <a:pt x="714" y="474"/>
                    <a:pt x="714" y="474"/>
                    <a:pt x="713" y="475"/>
                  </a:cubicBezTo>
                  <a:cubicBezTo>
                    <a:pt x="712" y="475"/>
                    <a:pt x="712" y="475"/>
                    <a:pt x="712" y="475"/>
                  </a:cubicBezTo>
                  <a:cubicBezTo>
                    <a:pt x="711" y="476"/>
                    <a:pt x="710" y="476"/>
                    <a:pt x="710" y="477"/>
                  </a:cubicBezTo>
                  <a:cubicBezTo>
                    <a:pt x="709" y="477"/>
                    <a:pt x="709" y="477"/>
                    <a:pt x="709" y="477"/>
                  </a:cubicBezTo>
                  <a:cubicBezTo>
                    <a:pt x="709" y="477"/>
                    <a:pt x="709" y="477"/>
                    <a:pt x="708" y="477"/>
                  </a:cubicBezTo>
                  <a:cubicBezTo>
                    <a:pt x="706" y="477"/>
                    <a:pt x="705" y="476"/>
                    <a:pt x="705" y="475"/>
                  </a:cubicBezTo>
                  <a:cubicBezTo>
                    <a:pt x="704" y="474"/>
                    <a:pt x="704" y="474"/>
                    <a:pt x="704" y="474"/>
                  </a:cubicBezTo>
                  <a:cubicBezTo>
                    <a:pt x="705" y="472"/>
                    <a:pt x="705" y="472"/>
                    <a:pt x="705" y="472"/>
                  </a:cubicBezTo>
                  <a:cubicBezTo>
                    <a:pt x="704" y="468"/>
                    <a:pt x="704" y="468"/>
                    <a:pt x="704" y="468"/>
                  </a:cubicBezTo>
                  <a:cubicBezTo>
                    <a:pt x="704" y="467"/>
                    <a:pt x="703" y="465"/>
                    <a:pt x="703" y="465"/>
                  </a:cubicBezTo>
                  <a:cubicBezTo>
                    <a:pt x="702" y="465"/>
                    <a:pt x="702" y="465"/>
                    <a:pt x="702" y="465"/>
                  </a:cubicBezTo>
                  <a:cubicBezTo>
                    <a:pt x="701" y="463"/>
                    <a:pt x="698" y="461"/>
                    <a:pt x="696" y="460"/>
                  </a:cubicBezTo>
                  <a:cubicBezTo>
                    <a:pt x="696" y="460"/>
                    <a:pt x="696" y="460"/>
                    <a:pt x="696" y="460"/>
                  </a:cubicBezTo>
                  <a:cubicBezTo>
                    <a:pt x="695" y="459"/>
                    <a:pt x="694" y="458"/>
                    <a:pt x="693" y="458"/>
                  </a:cubicBezTo>
                  <a:cubicBezTo>
                    <a:pt x="680" y="447"/>
                    <a:pt x="680" y="447"/>
                    <a:pt x="680" y="447"/>
                  </a:cubicBezTo>
                  <a:cubicBezTo>
                    <a:pt x="676" y="445"/>
                    <a:pt x="673" y="442"/>
                    <a:pt x="670" y="440"/>
                  </a:cubicBezTo>
                  <a:cubicBezTo>
                    <a:pt x="669" y="439"/>
                    <a:pt x="669" y="439"/>
                    <a:pt x="669" y="439"/>
                  </a:cubicBezTo>
                  <a:cubicBezTo>
                    <a:pt x="667" y="436"/>
                    <a:pt x="666" y="434"/>
                    <a:pt x="667" y="431"/>
                  </a:cubicBezTo>
                  <a:cubicBezTo>
                    <a:pt x="667" y="429"/>
                    <a:pt x="667" y="428"/>
                    <a:pt x="667" y="428"/>
                  </a:cubicBezTo>
                  <a:cubicBezTo>
                    <a:pt x="667" y="428"/>
                    <a:pt x="666" y="428"/>
                    <a:pt x="664" y="428"/>
                  </a:cubicBezTo>
                  <a:cubicBezTo>
                    <a:pt x="663" y="428"/>
                    <a:pt x="663" y="428"/>
                    <a:pt x="663" y="428"/>
                  </a:cubicBezTo>
                  <a:cubicBezTo>
                    <a:pt x="662" y="428"/>
                    <a:pt x="661" y="428"/>
                    <a:pt x="661" y="428"/>
                  </a:cubicBezTo>
                  <a:cubicBezTo>
                    <a:pt x="660" y="428"/>
                    <a:pt x="659" y="428"/>
                    <a:pt x="658" y="428"/>
                  </a:cubicBezTo>
                  <a:cubicBezTo>
                    <a:pt x="657" y="428"/>
                    <a:pt x="656" y="429"/>
                    <a:pt x="655" y="430"/>
                  </a:cubicBezTo>
                  <a:cubicBezTo>
                    <a:pt x="654" y="431"/>
                    <a:pt x="652" y="433"/>
                    <a:pt x="649" y="433"/>
                  </a:cubicBezTo>
                  <a:cubicBezTo>
                    <a:pt x="649" y="433"/>
                    <a:pt x="648" y="433"/>
                    <a:pt x="648" y="433"/>
                  </a:cubicBezTo>
                  <a:cubicBezTo>
                    <a:pt x="627" y="430"/>
                    <a:pt x="627" y="430"/>
                    <a:pt x="627" y="430"/>
                  </a:cubicBezTo>
                  <a:cubicBezTo>
                    <a:pt x="625" y="429"/>
                    <a:pt x="623" y="428"/>
                    <a:pt x="623" y="424"/>
                  </a:cubicBezTo>
                  <a:cubicBezTo>
                    <a:pt x="623" y="423"/>
                    <a:pt x="623" y="423"/>
                    <a:pt x="623" y="423"/>
                  </a:cubicBezTo>
                  <a:cubicBezTo>
                    <a:pt x="623" y="421"/>
                    <a:pt x="623" y="418"/>
                    <a:pt x="623" y="416"/>
                  </a:cubicBezTo>
                  <a:cubicBezTo>
                    <a:pt x="623" y="404"/>
                    <a:pt x="623" y="404"/>
                    <a:pt x="623" y="404"/>
                  </a:cubicBezTo>
                  <a:cubicBezTo>
                    <a:pt x="623" y="397"/>
                    <a:pt x="623" y="389"/>
                    <a:pt x="623" y="382"/>
                  </a:cubicBezTo>
                  <a:cubicBezTo>
                    <a:pt x="623" y="369"/>
                    <a:pt x="623" y="356"/>
                    <a:pt x="623" y="343"/>
                  </a:cubicBezTo>
                  <a:cubicBezTo>
                    <a:pt x="623" y="286"/>
                    <a:pt x="623" y="286"/>
                    <a:pt x="623" y="286"/>
                  </a:cubicBezTo>
                  <a:cubicBezTo>
                    <a:pt x="623" y="262"/>
                    <a:pt x="623" y="237"/>
                    <a:pt x="623" y="213"/>
                  </a:cubicBezTo>
                  <a:cubicBezTo>
                    <a:pt x="623" y="212"/>
                    <a:pt x="623" y="212"/>
                    <a:pt x="623" y="212"/>
                  </a:cubicBezTo>
                  <a:cubicBezTo>
                    <a:pt x="623" y="183"/>
                    <a:pt x="623" y="144"/>
                    <a:pt x="623" y="110"/>
                  </a:cubicBezTo>
                  <a:cubicBezTo>
                    <a:pt x="623" y="73"/>
                    <a:pt x="623" y="73"/>
                    <a:pt x="623" y="73"/>
                  </a:cubicBezTo>
                  <a:cubicBezTo>
                    <a:pt x="621" y="72"/>
                    <a:pt x="618" y="71"/>
                    <a:pt x="616" y="70"/>
                  </a:cubicBezTo>
                  <a:cubicBezTo>
                    <a:pt x="608" y="67"/>
                    <a:pt x="600" y="64"/>
                    <a:pt x="592" y="61"/>
                  </a:cubicBezTo>
                  <a:cubicBezTo>
                    <a:pt x="587" y="59"/>
                    <a:pt x="582" y="59"/>
                    <a:pt x="576" y="58"/>
                  </a:cubicBezTo>
                  <a:cubicBezTo>
                    <a:pt x="572" y="58"/>
                    <a:pt x="566" y="57"/>
                    <a:pt x="561" y="57"/>
                  </a:cubicBezTo>
                  <a:cubicBezTo>
                    <a:pt x="559" y="57"/>
                    <a:pt x="557" y="58"/>
                    <a:pt x="556" y="58"/>
                  </a:cubicBezTo>
                  <a:cubicBezTo>
                    <a:pt x="555" y="58"/>
                    <a:pt x="556" y="59"/>
                    <a:pt x="554" y="59"/>
                  </a:cubicBezTo>
                  <a:cubicBezTo>
                    <a:pt x="554" y="59"/>
                    <a:pt x="553" y="59"/>
                    <a:pt x="553" y="59"/>
                  </a:cubicBezTo>
                  <a:cubicBezTo>
                    <a:pt x="551" y="59"/>
                    <a:pt x="549" y="58"/>
                    <a:pt x="546" y="58"/>
                  </a:cubicBezTo>
                  <a:cubicBezTo>
                    <a:pt x="546" y="58"/>
                    <a:pt x="546" y="58"/>
                    <a:pt x="545" y="58"/>
                  </a:cubicBezTo>
                  <a:cubicBezTo>
                    <a:pt x="543" y="59"/>
                    <a:pt x="542" y="60"/>
                    <a:pt x="539" y="60"/>
                  </a:cubicBezTo>
                  <a:cubicBezTo>
                    <a:pt x="539" y="60"/>
                    <a:pt x="539" y="60"/>
                    <a:pt x="539" y="60"/>
                  </a:cubicBezTo>
                  <a:cubicBezTo>
                    <a:pt x="534" y="60"/>
                    <a:pt x="530" y="60"/>
                    <a:pt x="525" y="58"/>
                  </a:cubicBezTo>
                  <a:cubicBezTo>
                    <a:pt x="519" y="56"/>
                    <a:pt x="516" y="52"/>
                    <a:pt x="509" y="52"/>
                  </a:cubicBezTo>
                  <a:cubicBezTo>
                    <a:pt x="505" y="52"/>
                    <a:pt x="501" y="52"/>
                    <a:pt x="497" y="52"/>
                  </a:cubicBezTo>
                  <a:cubicBezTo>
                    <a:pt x="494" y="52"/>
                    <a:pt x="492" y="52"/>
                    <a:pt x="489" y="52"/>
                  </a:cubicBezTo>
                  <a:cubicBezTo>
                    <a:pt x="488" y="52"/>
                    <a:pt x="487" y="52"/>
                    <a:pt x="486" y="52"/>
                  </a:cubicBezTo>
                  <a:cubicBezTo>
                    <a:pt x="483" y="52"/>
                    <a:pt x="481" y="52"/>
                    <a:pt x="479" y="51"/>
                  </a:cubicBezTo>
                  <a:cubicBezTo>
                    <a:pt x="465" y="49"/>
                    <a:pt x="452" y="47"/>
                    <a:pt x="438" y="45"/>
                  </a:cubicBezTo>
                  <a:cubicBezTo>
                    <a:pt x="431" y="43"/>
                    <a:pt x="423" y="41"/>
                    <a:pt x="415" y="41"/>
                  </a:cubicBezTo>
                  <a:cubicBezTo>
                    <a:pt x="414" y="41"/>
                    <a:pt x="412" y="41"/>
                    <a:pt x="410" y="42"/>
                  </a:cubicBezTo>
                  <a:cubicBezTo>
                    <a:pt x="410" y="42"/>
                    <a:pt x="410" y="42"/>
                    <a:pt x="410" y="42"/>
                  </a:cubicBezTo>
                  <a:cubicBezTo>
                    <a:pt x="409" y="42"/>
                    <a:pt x="407" y="41"/>
                    <a:pt x="404" y="41"/>
                  </a:cubicBezTo>
                  <a:cubicBezTo>
                    <a:pt x="402" y="41"/>
                    <a:pt x="399" y="41"/>
                    <a:pt x="396" y="41"/>
                  </a:cubicBezTo>
                  <a:cubicBezTo>
                    <a:pt x="392" y="41"/>
                    <a:pt x="388" y="41"/>
                    <a:pt x="390" y="43"/>
                  </a:cubicBezTo>
                  <a:cubicBezTo>
                    <a:pt x="390" y="43"/>
                    <a:pt x="390" y="43"/>
                    <a:pt x="389" y="43"/>
                  </a:cubicBezTo>
                  <a:cubicBezTo>
                    <a:pt x="387" y="43"/>
                    <a:pt x="385" y="42"/>
                    <a:pt x="382" y="42"/>
                  </a:cubicBezTo>
                  <a:cubicBezTo>
                    <a:pt x="378" y="41"/>
                    <a:pt x="378" y="40"/>
                    <a:pt x="375" y="38"/>
                  </a:cubicBezTo>
                  <a:cubicBezTo>
                    <a:pt x="376" y="37"/>
                    <a:pt x="376" y="37"/>
                    <a:pt x="377" y="36"/>
                  </a:cubicBezTo>
                  <a:cubicBezTo>
                    <a:pt x="375" y="36"/>
                    <a:pt x="374" y="36"/>
                    <a:pt x="372" y="36"/>
                  </a:cubicBezTo>
                  <a:cubicBezTo>
                    <a:pt x="367" y="36"/>
                    <a:pt x="363" y="36"/>
                    <a:pt x="358" y="36"/>
                  </a:cubicBezTo>
                  <a:cubicBezTo>
                    <a:pt x="360" y="35"/>
                    <a:pt x="364" y="35"/>
                    <a:pt x="366" y="35"/>
                  </a:cubicBezTo>
                  <a:cubicBezTo>
                    <a:pt x="366" y="35"/>
                    <a:pt x="366" y="35"/>
                    <a:pt x="366" y="35"/>
                  </a:cubicBezTo>
                  <a:cubicBezTo>
                    <a:pt x="366" y="35"/>
                    <a:pt x="367" y="35"/>
                    <a:pt x="367" y="35"/>
                  </a:cubicBezTo>
                  <a:cubicBezTo>
                    <a:pt x="367" y="35"/>
                    <a:pt x="368" y="35"/>
                    <a:pt x="368" y="35"/>
                  </a:cubicBezTo>
                  <a:cubicBezTo>
                    <a:pt x="369" y="35"/>
                    <a:pt x="369" y="35"/>
                    <a:pt x="369" y="35"/>
                  </a:cubicBezTo>
                  <a:cubicBezTo>
                    <a:pt x="366" y="33"/>
                    <a:pt x="363" y="32"/>
                    <a:pt x="360" y="30"/>
                  </a:cubicBezTo>
                  <a:cubicBezTo>
                    <a:pt x="360" y="30"/>
                    <a:pt x="365" y="27"/>
                    <a:pt x="365" y="25"/>
                  </a:cubicBezTo>
                  <a:cubicBezTo>
                    <a:pt x="365" y="25"/>
                    <a:pt x="366" y="24"/>
                    <a:pt x="364" y="24"/>
                  </a:cubicBezTo>
                  <a:cubicBezTo>
                    <a:pt x="361" y="24"/>
                    <a:pt x="358" y="23"/>
                    <a:pt x="355" y="23"/>
                  </a:cubicBezTo>
                  <a:cubicBezTo>
                    <a:pt x="349" y="23"/>
                    <a:pt x="343" y="22"/>
                    <a:pt x="337" y="22"/>
                  </a:cubicBezTo>
                  <a:cubicBezTo>
                    <a:pt x="337" y="22"/>
                    <a:pt x="336" y="22"/>
                    <a:pt x="336" y="22"/>
                  </a:cubicBezTo>
                  <a:cubicBezTo>
                    <a:pt x="336" y="22"/>
                    <a:pt x="336" y="22"/>
                    <a:pt x="336" y="22"/>
                  </a:cubicBezTo>
                  <a:cubicBezTo>
                    <a:pt x="335" y="22"/>
                    <a:pt x="334" y="22"/>
                    <a:pt x="333" y="22"/>
                  </a:cubicBezTo>
                  <a:cubicBezTo>
                    <a:pt x="332" y="22"/>
                    <a:pt x="331" y="22"/>
                    <a:pt x="330" y="22"/>
                  </a:cubicBezTo>
                  <a:cubicBezTo>
                    <a:pt x="329" y="22"/>
                    <a:pt x="329" y="22"/>
                    <a:pt x="328" y="22"/>
                  </a:cubicBezTo>
                  <a:cubicBezTo>
                    <a:pt x="326" y="22"/>
                    <a:pt x="325" y="24"/>
                    <a:pt x="323" y="25"/>
                  </a:cubicBezTo>
                  <a:cubicBezTo>
                    <a:pt x="322" y="26"/>
                    <a:pt x="320" y="26"/>
                    <a:pt x="319" y="26"/>
                  </a:cubicBezTo>
                  <a:cubicBezTo>
                    <a:pt x="316" y="26"/>
                    <a:pt x="314" y="25"/>
                    <a:pt x="311" y="24"/>
                  </a:cubicBezTo>
                  <a:cubicBezTo>
                    <a:pt x="308" y="21"/>
                    <a:pt x="311" y="18"/>
                    <a:pt x="310" y="16"/>
                  </a:cubicBezTo>
                  <a:cubicBezTo>
                    <a:pt x="310" y="15"/>
                    <a:pt x="308" y="14"/>
                    <a:pt x="307" y="14"/>
                  </a:cubicBezTo>
                  <a:cubicBezTo>
                    <a:pt x="306" y="14"/>
                    <a:pt x="305" y="15"/>
                    <a:pt x="304" y="15"/>
                  </a:cubicBezTo>
                  <a:cubicBezTo>
                    <a:pt x="302" y="16"/>
                    <a:pt x="301" y="16"/>
                    <a:pt x="301" y="16"/>
                  </a:cubicBezTo>
                  <a:cubicBezTo>
                    <a:pt x="301" y="16"/>
                    <a:pt x="300" y="16"/>
                    <a:pt x="300" y="16"/>
                  </a:cubicBezTo>
                  <a:cubicBezTo>
                    <a:pt x="299" y="15"/>
                    <a:pt x="301" y="12"/>
                    <a:pt x="300" y="11"/>
                  </a:cubicBezTo>
                  <a:cubicBezTo>
                    <a:pt x="300" y="11"/>
                    <a:pt x="300" y="11"/>
                    <a:pt x="300" y="11"/>
                  </a:cubicBezTo>
                  <a:cubicBezTo>
                    <a:pt x="298" y="11"/>
                    <a:pt x="296" y="13"/>
                    <a:pt x="295" y="14"/>
                  </a:cubicBezTo>
                  <a:cubicBezTo>
                    <a:pt x="297" y="15"/>
                    <a:pt x="297" y="15"/>
                    <a:pt x="297" y="15"/>
                  </a:cubicBezTo>
                  <a:cubicBezTo>
                    <a:pt x="297" y="17"/>
                    <a:pt x="297" y="17"/>
                    <a:pt x="296" y="17"/>
                  </a:cubicBezTo>
                  <a:cubicBezTo>
                    <a:pt x="296" y="17"/>
                    <a:pt x="296" y="17"/>
                    <a:pt x="295" y="17"/>
                  </a:cubicBezTo>
                  <a:cubicBezTo>
                    <a:pt x="295" y="17"/>
                    <a:pt x="294" y="17"/>
                    <a:pt x="294" y="17"/>
                  </a:cubicBezTo>
                  <a:cubicBezTo>
                    <a:pt x="293" y="17"/>
                    <a:pt x="293" y="17"/>
                    <a:pt x="292" y="17"/>
                  </a:cubicBezTo>
                  <a:cubicBezTo>
                    <a:pt x="290" y="19"/>
                    <a:pt x="290" y="19"/>
                    <a:pt x="290" y="19"/>
                  </a:cubicBezTo>
                  <a:cubicBezTo>
                    <a:pt x="289" y="20"/>
                    <a:pt x="290" y="22"/>
                    <a:pt x="289" y="22"/>
                  </a:cubicBezTo>
                  <a:cubicBezTo>
                    <a:pt x="288" y="24"/>
                    <a:pt x="287" y="24"/>
                    <a:pt x="285" y="24"/>
                  </a:cubicBezTo>
                  <a:cubicBezTo>
                    <a:pt x="285" y="24"/>
                    <a:pt x="285" y="24"/>
                    <a:pt x="285" y="24"/>
                  </a:cubicBezTo>
                  <a:cubicBezTo>
                    <a:pt x="285" y="24"/>
                    <a:pt x="284" y="24"/>
                    <a:pt x="284" y="24"/>
                  </a:cubicBezTo>
                  <a:cubicBezTo>
                    <a:pt x="284" y="24"/>
                    <a:pt x="284" y="24"/>
                    <a:pt x="283" y="24"/>
                  </a:cubicBezTo>
                  <a:cubicBezTo>
                    <a:pt x="283" y="24"/>
                    <a:pt x="283" y="24"/>
                    <a:pt x="283" y="24"/>
                  </a:cubicBezTo>
                  <a:cubicBezTo>
                    <a:pt x="283" y="24"/>
                    <a:pt x="283" y="24"/>
                    <a:pt x="283" y="24"/>
                  </a:cubicBezTo>
                  <a:cubicBezTo>
                    <a:pt x="283" y="24"/>
                    <a:pt x="282" y="24"/>
                    <a:pt x="282" y="24"/>
                  </a:cubicBezTo>
                  <a:cubicBezTo>
                    <a:pt x="282" y="24"/>
                    <a:pt x="281" y="24"/>
                    <a:pt x="280" y="25"/>
                  </a:cubicBezTo>
                  <a:cubicBezTo>
                    <a:pt x="280" y="25"/>
                    <a:pt x="281" y="27"/>
                    <a:pt x="280" y="27"/>
                  </a:cubicBezTo>
                  <a:cubicBezTo>
                    <a:pt x="280" y="27"/>
                    <a:pt x="280" y="27"/>
                    <a:pt x="280" y="27"/>
                  </a:cubicBezTo>
                  <a:cubicBezTo>
                    <a:pt x="279" y="27"/>
                    <a:pt x="278" y="20"/>
                    <a:pt x="279" y="19"/>
                  </a:cubicBezTo>
                  <a:cubicBezTo>
                    <a:pt x="280" y="18"/>
                    <a:pt x="281" y="18"/>
                    <a:pt x="283" y="18"/>
                  </a:cubicBezTo>
                  <a:cubicBezTo>
                    <a:pt x="284" y="17"/>
                    <a:pt x="287" y="16"/>
                    <a:pt x="288" y="14"/>
                  </a:cubicBezTo>
                  <a:cubicBezTo>
                    <a:pt x="289" y="12"/>
                    <a:pt x="288" y="12"/>
                    <a:pt x="285" y="12"/>
                  </a:cubicBezTo>
                  <a:cubicBezTo>
                    <a:pt x="282" y="11"/>
                    <a:pt x="279" y="11"/>
                    <a:pt x="276" y="10"/>
                  </a:cubicBezTo>
                  <a:cubicBezTo>
                    <a:pt x="272" y="8"/>
                    <a:pt x="267" y="6"/>
                    <a:pt x="265" y="3"/>
                  </a:cubicBezTo>
                  <a:cubicBezTo>
                    <a:pt x="266" y="2"/>
                    <a:pt x="268" y="1"/>
                    <a:pt x="270" y="1"/>
                  </a:cubicBezTo>
                  <a:cubicBezTo>
                    <a:pt x="269" y="1"/>
                    <a:pt x="268" y="0"/>
                    <a:pt x="2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343"/>
            <p:cNvSpPr>
              <a:spLocks noChangeArrowheads="1"/>
            </p:cNvSpPr>
            <p:nvPr/>
          </p:nvSpPr>
          <p:spPr bwMode="auto">
            <a:xfrm>
              <a:off x="4584691" y="370922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344"/>
            <p:cNvSpPr>
              <a:spLocks noChangeArrowheads="1"/>
            </p:cNvSpPr>
            <p:nvPr/>
          </p:nvSpPr>
          <p:spPr bwMode="auto">
            <a:xfrm>
              <a:off x="4584691" y="370922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45"/>
            <p:cNvSpPr/>
            <p:nvPr/>
          </p:nvSpPr>
          <p:spPr bwMode="auto">
            <a:xfrm>
              <a:off x="3995729" y="3198047"/>
              <a:ext cx="269875" cy="187325"/>
            </a:xfrm>
            <a:custGeom>
              <a:gdLst>
                <a:gd name="T0" fmla="*/ 30 w 72"/>
                <a:gd name="T1" fmla="*/ 0 h 50"/>
                <a:gd name="T2" fmla="*/ 27 w 72"/>
                <a:gd name="T3" fmla="*/ 2 h 50"/>
                <a:gd name="T4" fmla="*/ 21 w 72"/>
                <a:gd name="T5" fmla="*/ 4 h 50"/>
                <a:gd name="T6" fmla="*/ 18 w 72"/>
                <a:gd name="T7" fmla="*/ 4 h 50"/>
                <a:gd name="T8" fmla="*/ 18 w 72"/>
                <a:gd name="T9" fmla="*/ 5 h 50"/>
                <a:gd name="T10" fmla="*/ 14 w 72"/>
                <a:gd name="T11" fmla="*/ 10 h 50"/>
                <a:gd name="T12" fmla="*/ 13 w 72"/>
                <a:gd name="T13" fmla="*/ 11 h 50"/>
                <a:gd name="T14" fmla="*/ 11 w 72"/>
                <a:gd name="T15" fmla="*/ 18 h 50"/>
                <a:gd name="T16" fmla="*/ 7 w 72"/>
                <a:gd name="T17" fmla="*/ 21 h 50"/>
                <a:gd name="T18" fmla="*/ 4 w 72"/>
                <a:gd name="T19" fmla="*/ 21 h 50"/>
                <a:gd name="T20" fmla="*/ 3 w 72"/>
                <a:gd name="T21" fmla="*/ 21 h 50"/>
                <a:gd name="T22" fmla="*/ 0 w 72"/>
                <a:gd name="T23" fmla="*/ 23 h 50"/>
                <a:gd name="T24" fmla="*/ 5 w 72"/>
                <a:gd name="T25" fmla="*/ 23 h 50"/>
                <a:gd name="T26" fmla="*/ 10 w 72"/>
                <a:gd name="T27" fmla="*/ 29 h 50"/>
                <a:gd name="T28" fmla="*/ 19 w 72"/>
                <a:gd name="T29" fmla="*/ 29 h 50"/>
                <a:gd name="T30" fmla="*/ 21 w 72"/>
                <a:gd name="T31" fmla="*/ 28 h 50"/>
                <a:gd name="T32" fmla="*/ 25 w 72"/>
                <a:gd name="T33" fmla="*/ 27 h 50"/>
                <a:gd name="T34" fmla="*/ 20 w 72"/>
                <a:gd name="T35" fmla="*/ 30 h 50"/>
                <a:gd name="T36" fmla="*/ 25 w 72"/>
                <a:gd name="T37" fmla="*/ 42 h 50"/>
                <a:gd name="T38" fmla="*/ 23 w 72"/>
                <a:gd name="T39" fmla="*/ 44 h 50"/>
                <a:gd name="T40" fmla="*/ 27 w 72"/>
                <a:gd name="T41" fmla="*/ 44 h 50"/>
                <a:gd name="T42" fmla="*/ 31 w 72"/>
                <a:gd name="T43" fmla="*/ 44 h 50"/>
                <a:gd name="T44" fmla="*/ 34 w 72"/>
                <a:gd name="T45" fmla="*/ 44 h 50"/>
                <a:gd name="T46" fmla="*/ 33 w 72"/>
                <a:gd name="T47" fmla="*/ 43 h 50"/>
                <a:gd name="T48" fmla="*/ 33 w 72"/>
                <a:gd name="T49" fmla="*/ 41 h 50"/>
                <a:gd name="T50" fmla="*/ 36 w 72"/>
                <a:gd name="T51" fmla="*/ 47 h 50"/>
                <a:gd name="T52" fmla="*/ 41 w 72"/>
                <a:gd name="T53" fmla="*/ 49 h 50"/>
                <a:gd name="T54" fmla="*/ 40 w 72"/>
                <a:gd name="T55" fmla="*/ 37 h 50"/>
                <a:gd name="T56" fmla="*/ 39 w 72"/>
                <a:gd name="T57" fmla="*/ 31 h 50"/>
                <a:gd name="T58" fmla="*/ 36 w 72"/>
                <a:gd name="T59" fmla="*/ 22 h 50"/>
                <a:gd name="T60" fmla="*/ 32 w 72"/>
                <a:gd name="T61" fmla="*/ 16 h 50"/>
                <a:gd name="T62" fmla="*/ 37 w 72"/>
                <a:gd name="T63" fmla="*/ 17 h 50"/>
                <a:gd name="T64" fmla="*/ 34 w 72"/>
                <a:gd name="T65" fmla="*/ 13 h 50"/>
                <a:gd name="T66" fmla="*/ 36 w 72"/>
                <a:gd name="T67" fmla="*/ 14 h 50"/>
                <a:gd name="T68" fmla="*/ 40 w 72"/>
                <a:gd name="T69" fmla="*/ 23 h 50"/>
                <a:gd name="T70" fmla="*/ 43 w 72"/>
                <a:gd name="T71" fmla="*/ 32 h 50"/>
                <a:gd name="T72" fmla="*/ 44 w 72"/>
                <a:gd name="T73" fmla="*/ 31 h 50"/>
                <a:gd name="T74" fmla="*/ 46 w 72"/>
                <a:gd name="T75" fmla="*/ 31 h 50"/>
                <a:gd name="T76" fmla="*/ 45 w 72"/>
                <a:gd name="T77" fmla="*/ 35 h 50"/>
                <a:gd name="T78" fmla="*/ 50 w 72"/>
                <a:gd name="T79" fmla="*/ 43 h 50"/>
                <a:gd name="T80" fmla="*/ 65 w 72"/>
                <a:gd name="T81" fmla="*/ 49 h 50"/>
                <a:gd name="T82" fmla="*/ 66 w 72"/>
                <a:gd name="T83" fmla="*/ 47 h 50"/>
                <a:gd name="T84" fmla="*/ 68 w 72"/>
                <a:gd name="T85" fmla="*/ 41 h 50"/>
                <a:gd name="T86" fmla="*/ 72 w 72"/>
                <a:gd name="T87" fmla="*/ 40 h 50"/>
                <a:gd name="T88" fmla="*/ 57 w 72"/>
                <a:gd name="T89" fmla="*/ 25 h 50"/>
                <a:gd name="T90" fmla="*/ 50 w 72"/>
                <a:gd name="T91" fmla="*/ 19 h 50"/>
                <a:gd name="T92" fmla="*/ 47 w 72"/>
                <a:gd name="T93" fmla="*/ 18 h 50"/>
                <a:gd name="T94" fmla="*/ 35 w 72"/>
                <a:gd name="T95" fmla="*/ 3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50">
                  <a:moveTo>
                    <a:pt x="32" y="0"/>
                  </a:moveTo>
                  <a:cubicBezTo>
                    <a:pt x="31" y="0"/>
                    <a:pt x="31" y="0"/>
                    <a:pt x="30" y="0"/>
                  </a:cubicBezTo>
                  <a:cubicBezTo>
                    <a:pt x="29" y="1"/>
                    <a:pt x="29" y="1"/>
                    <a:pt x="28" y="1"/>
                  </a:cubicBezTo>
                  <a:cubicBezTo>
                    <a:pt x="27" y="2"/>
                    <a:pt x="27" y="2"/>
                    <a:pt x="27" y="2"/>
                  </a:cubicBezTo>
                  <a:cubicBezTo>
                    <a:pt x="26" y="2"/>
                    <a:pt x="25" y="3"/>
                    <a:pt x="25" y="3"/>
                  </a:cubicBezTo>
                  <a:cubicBezTo>
                    <a:pt x="23" y="3"/>
                    <a:pt x="22" y="3"/>
                    <a:pt x="21" y="4"/>
                  </a:cubicBezTo>
                  <a:cubicBezTo>
                    <a:pt x="19" y="4"/>
                    <a:pt x="19" y="4"/>
                    <a:pt x="19" y="4"/>
                  </a:cubicBezTo>
                  <a:cubicBezTo>
                    <a:pt x="18" y="4"/>
                    <a:pt x="18" y="4"/>
                    <a:pt x="18" y="4"/>
                  </a:cubicBezTo>
                  <a:cubicBezTo>
                    <a:pt x="18" y="4"/>
                    <a:pt x="18" y="4"/>
                    <a:pt x="18" y="4"/>
                  </a:cubicBezTo>
                  <a:cubicBezTo>
                    <a:pt x="18" y="5"/>
                    <a:pt x="18" y="5"/>
                    <a:pt x="18" y="5"/>
                  </a:cubicBezTo>
                  <a:cubicBezTo>
                    <a:pt x="18" y="6"/>
                    <a:pt x="18" y="6"/>
                    <a:pt x="18" y="6"/>
                  </a:cubicBezTo>
                  <a:cubicBezTo>
                    <a:pt x="18" y="8"/>
                    <a:pt x="16" y="9"/>
                    <a:pt x="14" y="10"/>
                  </a:cubicBezTo>
                  <a:cubicBezTo>
                    <a:pt x="13" y="11"/>
                    <a:pt x="13" y="11"/>
                    <a:pt x="13" y="11"/>
                  </a:cubicBezTo>
                  <a:cubicBezTo>
                    <a:pt x="13" y="11"/>
                    <a:pt x="13" y="11"/>
                    <a:pt x="13" y="11"/>
                  </a:cubicBezTo>
                  <a:cubicBezTo>
                    <a:pt x="13" y="12"/>
                    <a:pt x="13" y="12"/>
                    <a:pt x="13" y="12"/>
                  </a:cubicBezTo>
                  <a:cubicBezTo>
                    <a:pt x="13" y="15"/>
                    <a:pt x="12" y="17"/>
                    <a:pt x="11" y="18"/>
                  </a:cubicBezTo>
                  <a:cubicBezTo>
                    <a:pt x="10" y="19"/>
                    <a:pt x="10" y="19"/>
                    <a:pt x="10" y="19"/>
                  </a:cubicBezTo>
                  <a:cubicBezTo>
                    <a:pt x="9" y="20"/>
                    <a:pt x="8" y="20"/>
                    <a:pt x="7" y="21"/>
                  </a:cubicBezTo>
                  <a:cubicBezTo>
                    <a:pt x="6" y="21"/>
                    <a:pt x="6" y="21"/>
                    <a:pt x="5" y="21"/>
                  </a:cubicBezTo>
                  <a:cubicBezTo>
                    <a:pt x="4" y="21"/>
                    <a:pt x="4" y="21"/>
                    <a:pt x="4" y="21"/>
                  </a:cubicBezTo>
                  <a:cubicBezTo>
                    <a:pt x="4" y="21"/>
                    <a:pt x="4" y="21"/>
                    <a:pt x="4" y="21"/>
                  </a:cubicBezTo>
                  <a:cubicBezTo>
                    <a:pt x="3" y="21"/>
                    <a:pt x="3" y="21"/>
                    <a:pt x="3" y="21"/>
                  </a:cubicBezTo>
                  <a:cubicBezTo>
                    <a:pt x="2" y="21"/>
                    <a:pt x="1" y="22"/>
                    <a:pt x="0" y="22"/>
                  </a:cubicBezTo>
                  <a:cubicBezTo>
                    <a:pt x="0" y="23"/>
                    <a:pt x="0" y="23"/>
                    <a:pt x="0" y="23"/>
                  </a:cubicBezTo>
                  <a:cubicBezTo>
                    <a:pt x="3" y="24"/>
                    <a:pt x="6" y="26"/>
                    <a:pt x="7" y="26"/>
                  </a:cubicBezTo>
                  <a:cubicBezTo>
                    <a:pt x="6" y="25"/>
                    <a:pt x="5" y="24"/>
                    <a:pt x="5" y="23"/>
                  </a:cubicBezTo>
                  <a:cubicBezTo>
                    <a:pt x="6" y="23"/>
                    <a:pt x="9" y="24"/>
                    <a:pt x="10" y="25"/>
                  </a:cubicBezTo>
                  <a:cubicBezTo>
                    <a:pt x="10" y="26"/>
                    <a:pt x="9" y="28"/>
                    <a:pt x="10" y="29"/>
                  </a:cubicBezTo>
                  <a:cubicBezTo>
                    <a:pt x="11" y="30"/>
                    <a:pt x="13" y="31"/>
                    <a:pt x="15" y="31"/>
                  </a:cubicBezTo>
                  <a:cubicBezTo>
                    <a:pt x="17" y="31"/>
                    <a:pt x="18" y="30"/>
                    <a:pt x="19" y="29"/>
                  </a:cubicBezTo>
                  <a:cubicBezTo>
                    <a:pt x="20" y="28"/>
                    <a:pt x="18" y="24"/>
                    <a:pt x="18" y="23"/>
                  </a:cubicBezTo>
                  <a:cubicBezTo>
                    <a:pt x="19" y="24"/>
                    <a:pt x="19" y="28"/>
                    <a:pt x="21" y="28"/>
                  </a:cubicBezTo>
                  <a:cubicBezTo>
                    <a:pt x="21" y="28"/>
                    <a:pt x="21" y="28"/>
                    <a:pt x="22" y="28"/>
                  </a:cubicBezTo>
                  <a:cubicBezTo>
                    <a:pt x="23" y="27"/>
                    <a:pt x="24" y="27"/>
                    <a:pt x="25" y="27"/>
                  </a:cubicBezTo>
                  <a:cubicBezTo>
                    <a:pt x="25" y="27"/>
                    <a:pt x="26" y="27"/>
                    <a:pt x="26" y="27"/>
                  </a:cubicBezTo>
                  <a:cubicBezTo>
                    <a:pt x="25" y="28"/>
                    <a:pt x="22" y="28"/>
                    <a:pt x="20" y="30"/>
                  </a:cubicBezTo>
                  <a:cubicBezTo>
                    <a:pt x="20" y="31"/>
                    <a:pt x="21" y="31"/>
                    <a:pt x="22" y="33"/>
                  </a:cubicBezTo>
                  <a:cubicBezTo>
                    <a:pt x="23" y="36"/>
                    <a:pt x="25" y="39"/>
                    <a:pt x="25" y="42"/>
                  </a:cubicBezTo>
                  <a:cubicBezTo>
                    <a:pt x="24" y="42"/>
                    <a:pt x="24" y="42"/>
                    <a:pt x="24" y="42"/>
                  </a:cubicBezTo>
                  <a:cubicBezTo>
                    <a:pt x="22" y="42"/>
                    <a:pt x="23" y="43"/>
                    <a:pt x="23" y="44"/>
                  </a:cubicBezTo>
                  <a:cubicBezTo>
                    <a:pt x="24" y="44"/>
                    <a:pt x="24" y="44"/>
                    <a:pt x="24" y="44"/>
                  </a:cubicBezTo>
                  <a:cubicBezTo>
                    <a:pt x="25" y="44"/>
                    <a:pt x="26" y="44"/>
                    <a:pt x="27" y="44"/>
                  </a:cubicBezTo>
                  <a:cubicBezTo>
                    <a:pt x="28" y="44"/>
                    <a:pt x="29" y="44"/>
                    <a:pt x="30" y="44"/>
                  </a:cubicBezTo>
                  <a:cubicBezTo>
                    <a:pt x="31" y="44"/>
                    <a:pt x="31" y="44"/>
                    <a:pt x="31" y="44"/>
                  </a:cubicBezTo>
                  <a:cubicBezTo>
                    <a:pt x="32" y="44"/>
                    <a:pt x="33" y="45"/>
                    <a:pt x="33" y="45"/>
                  </a:cubicBezTo>
                  <a:cubicBezTo>
                    <a:pt x="33" y="45"/>
                    <a:pt x="34" y="45"/>
                    <a:pt x="34" y="44"/>
                  </a:cubicBezTo>
                  <a:cubicBezTo>
                    <a:pt x="34" y="44"/>
                    <a:pt x="33" y="43"/>
                    <a:pt x="33" y="43"/>
                  </a:cubicBezTo>
                  <a:cubicBezTo>
                    <a:pt x="33" y="43"/>
                    <a:pt x="33" y="43"/>
                    <a:pt x="33" y="43"/>
                  </a:cubicBezTo>
                  <a:cubicBezTo>
                    <a:pt x="33" y="43"/>
                    <a:pt x="33" y="42"/>
                    <a:pt x="33" y="42"/>
                  </a:cubicBezTo>
                  <a:cubicBezTo>
                    <a:pt x="33" y="42"/>
                    <a:pt x="33" y="41"/>
                    <a:pt x="33" y="41"/>
                  </a:cubicBezTo>
                  <a:cubicBezTo>
                    <a:pt x="33" y="41"/>
                    <a:pt x="33" y="41"/>
                    <a:pt x="33" y="42"/>
                  </a:cubicBezTo>
                  <a:cubicBezTo>
                    <a:pt x="34" y="43"/>
                    <a:pt x="34" y="45"/>
                    <a:pt x="36" y="47"/>
                  </a:cubicBezTo>
                  <a:cubicBezTo>
                    <a:pt x="37" y="49"/>
                    <a:pt x="37" y="49"/>
                    <a:pt x="39" y="49"/>
                  </a:cubicBezTo>
                  <a:cubicBezTo>
                    <a:pt x="40" y="49"/>
                    <a:pt x="40" y="49"/>
                    <a:pt x="41" y="49"/>
                  </a:cubicBezTo>
                  <a:cubicBezTo>
                    <a:pt x="44" y="48"/>
                    <a:pt x="43" y="44"/>
                    <a:pt x="42" y="42"/>
                  </a:cubicBezTo>
                  <a:cubicBezTo>
                    <a:pt x="42" y="41"/>
                    <a:pt x="38" y="37"/>
                    <a:pt x="40" y="37"/>
                  </a:cubicBezTo>
                  <a:cubicBezTo>
                    <a:pt x="40" y="37"/>
                    <a:pt x="41" y="37"/>
                    <a:pt x="41" y="37"/>
                  </a:cubicBezTo>
                  <a:cubicBezTo>
                    <a:pt x="40" y="35"/>
                    <a:pt x="39" y="33"/>
                    <a:pt x="39" y="31"/>
                  </a:cubicBezTo>
                  <a:cubicBezTo>
                    <a:pt x="38" y="28"/>
                    <a:pt x="36" y="27"/>
                    <a:pt x="35" y="25"/>
                  </a:cubicBezTo>
                  <a:cubicBezTo>
                    <a:pt x="35" y="24"/>
                    <a:pt x="36" y="23"/>
                    <a:pt x="36" y="22"/>
                  </a:cubicBezTo>
                  <a:cubicBezTo>
                    <a:pt x="35" y="20"/>
                    <a:pt x="35" y="21"/>
                    <a:pt x="34" y="19"/>
                  </a:cubicBezTo>
                  <a:cubicBezTo>
                    <a:pt x="32" y="16"/>
                    <a:pt x="32" y="16"/>
                    <a:pt x="32" y="16"/>
                  </a:cubicBezTo>
                  <a:cubicBezTo>
                    <a:pt x="32" y="16"/>
                    <a:pt x="32" y="16"/>
                    <a:pt x="33" y="16"/>
                  </a:cubicBezTo>
                  <a:cubicBezTo>
                    <a:pt x="34" y="16"/>
                    <a:pt x="36" y="17"/>
                    <a:pt x="37" y="17"/>
                  </a:cubicBezTo>
                  <a:cubicBezTo>
                    <a:pt x="35" y="16"/>
                    <a:pt x="34" y="14"/>
                    <a:pt x="32" y="13"/>
                  </a:cubicBezTo>
                  <a:cubicBezTo>
                    <a:pt x="33" y="13"/>
                    <a:pt x="33" y="13"/>
                    <a:pt x="34" y="13"/>
                  </a:cubicBezTo>
                  <a:cubicBezTo>
                    <a:pt x="36" y="13"/>
                    <a:pt x="36" y="10"/>
                    <a:pt x="36" y="8"/>
                  </a:cubicBezTo>
                  <a:cubicBezTo>
                    <a:pt x="37" y="10"/>
                    <a:pt x="36" y="12"/>
                    <a:pt x="36" y="14"/>
                  </a:cubicBezTo>
                  <a:cubicBezTo>
                    <a:pt x="36" y="15"/>
                    <a:pt x="37" y="15"/>
                    <a:pt x="38" y="17"/>
                  </a:cubicBezTo>
                  <a:cubicBezTo>
                    <a:pt x="39" y="19"/>
                    <a:pt x="40" y="21"/>
                    <a:pt x="40" y="23"/>
                  </a:cubicBezTo>
                  <a:cubicBezTo>
                    <a:pt x="41" y="25"/>
                    <a:pt x="41" y="29"/>
                    <a:pt x="42" y="30"/>
                  </a:cubicBezTo>
                  <a:cubicBezTo>
                    <a:pt x="43" y="32"/>
                    <a:pt x="43" y="32"/>
                    <a:pt x="43" y="32"/>
                  </a:cubicBezTo>
                  <a:cubicBezTo>
                    <a:pt x="43" y="32"/>
                    <a:pt x="43" y="32"/>
                    <a:pt x="43" y="32"/>
                  </a:cubicBezTo>
                  <a:cubicBezTo>
                    <a:pt x="44" y="32"/>
                    <a:pt x="44" y="32"/>
                    <a:pt x="44" y="31"/>
                  </a:cubicBezTo>
                  <a:cubicBezTo>
                    <a:pt x="44" y="31"/>
                    <a:pt x="45" y="31"/>
                    <a:pt x="45" y="31"/>
                  </a:cubicBezTo>
                  <a:cubicBezTo>
                    <a:pt x="45" y="31"/>
                    <a:pt x="45" y="31"/>
                    <a:pt x="46" y="31"/>
                  </a:cubicBezTo>
                  <a:cubicBezTo>
                    <a:pt x="47" y="32"/>
                    <a:pt x="47" y="35"/>
                    <a:pt x="46" y="35"/>
                  </a:cubicBezTo>
                  <a:cubicBezTo>
                    <a:pt x="46" y="35"/>
                    <a:pt x="45" y="35"/>
                    <a:pt x="45" y="35"/>
                  </a:cubicBezTo>
                  <a:cubicBezTo>
                    <a:pt x="45" y="36"/>
                    <a:pt x="47" y="38"/>
                    <a:pt x="48" y="39"/>
                  </a:cubicBezTo>
                  <a:cubicBezTo>
                    <a:pt x="49" y="40"/>
                    <a:pt x="49" y="42"/>
                    <a:pt x="50" y="43"/>
                  </a:cubicBezTo>
                  <a:cubicBezTo>
                    <a:pt x="51" y="45"/>
                    <a:pt x="59" y="50"/>
                    <a:pt x="63" y="50"/>
                  </a:cubicBezTo>
                  <a:cubicBezTo>
                    <a:pt x="64" y="50"/>
                    <a:pt x="65" y="50"/>
                    <a:pt x="65" y="49"/>
                  </a:cubicBezTo>
                  <a:cubicBezTo>
                    <a:pt x="66" y="49"/>
                    <a:pt x="64" y="48"/>
                    <a:pt x="64" y="48"/>
                  </a:cubicBezTo>
                  <a:cubicBezTo>
                    <a:pt x="65" y="47"/>
                    <a:pt x="66" y="47"/>
                    <a:pt x="66" y="47"/>
                  </a:cubicBezTo>
                  <a:cubicBezTo>
                    <a:pt x="66" y="46"/>
                    <a:pt x="67" y="44"/>
                    <a:pt x="67" y="43"/>
                  </a:cubicBezTo>
                  <a:cubicBezTo>
                    <a:pt x="68" y="41"/>
                    <a:pt x="68" y="41"/>
                    <a:pt x="68" y="41"/>
                  </a:cubicBezTo>
                  <a:cubicBezTo>
                    <a:pt x="69" y="40"/>
                    <a:pt x="70" y="40"/>
                    <a:pt x="71" y="40"/>
                  </a:cubicBezTo>
                  <a:cubicBezTo>
                    <a:pt x="72" y="40"/>
                    <a:pt x="72" y="40"/>
                    <a:pt x="72" y="40"/>
                  </a:cubicBezTo>
                  <a:cubicBezTo>
                    <a:pt x="68" y="37"/>
                    <a:pt x="68" y="37"/>
                    <a:pt x="68" y="37"/>
                  </a:cubicBezTo>
                  <a:cubicBezTo>
                    <a:pt x="63" y="33"/>
                    <a:pt x="60" y="30"/>
                    <a:pt x="57" y="25"/>
                  </a:cubicBezTo>
                  <a:cubicBezTo>
                    <a:pt x="55" y="23"/>
                    <a:pt x="54" y="21"/>
                    <a:pt x="52" y="20"/>
                  </a:cubicBezTo>
                  <a:cubicBezTo>
                    <a:pt x="51" y="20"/>
                    <a:pt x="51" y="20"/>
                    <a:pt x="50" y="19"/>
                  </a:cubicBezTo>
                  <a:cubicBezTo>
                    <a:pt x="50" y="19"/>
                    <a:pt x="50" y="19"/>
                    <a:pt x="50" y="19"/>
                  </a:cubicBezTo>
                  <a:cubicBezTo>
                    <a:pt x="49" y="19"/>
                    <a:pt x="48" y="18"/>
                    <a:pt x="47" y="18"/>
                  </a:cubicBezTo>
                  <a:cubicBezTo>
                    <a:pt x="45" y="17"/>
                    <a:pt x="43" y="15"/>
                    <a:pt x="42" y="13"/>
                  </a:cubicBezTo>
                  <a:cubicBezTo>
                    <a:pt x="39" y="9"/>
                    <a:pt x="37" y="6"/>
                    <a:pt x="35" y="3"/>
                  </a:cubicBezTo>
                  <a:cubicBezTo>
                    <a:pt x="33" y="1"/>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46"/>
            <p:cNvSpPr/>
            <p:nvPr/>
          </p:nvSpPr>
          <p:spPr bwMode="auto">
            <a:xfrm>
              <a:off x="4243379" y="3348859"/>
              <a:ext cx="349250" cy="465138"/>
            </a:xfrm>
            <a:custGeom>
              <a:gdLst>
                <a:gd name="T0" fmla="*/ 2 w 93"/>
                <a:gd name="T1" fmla="*/ 5 h 124"/>
                <a:gd name="T2" fmla="*/ 0 w 93"/>
                <a:gd name="T3" fmla="*/ 9 h 124"/>
                <a:gd name="T4" fmla="*/ 2 w 93"/>
                <a:gd name="T5" fmla="*/ 16 h 124"/>
                <a:gd name="T6" fmla="*/ 9 w 93"/>
                <a:gd name="T7" fmla="*/ 13 h 124"/>
                <a:gd name="T8" fmla="*/ 9 w 93"/>
                <a:gd name="T9" fmla="*/ 19 h 124"/>
                <a:gd name="T10" fmla="*/ 7 w 93"/>
                <a:gd name="T11" fmla="*/ 19 h 124"/>
                <a:gd name="T12" fmla="*/ 6 w 93"/>
                <a:gd name="T13" fmla="*/ 21 h 124"/>
                <a:gd name="T14" fmla="*/ 13 w 93"/>
                <a:gd name="T15" fmla="*/ 20 h 124"/>
                <a:gd name="T16" fmla="*/ 19 w 93"/>
                <a:gd name="T17" fmla="*/ 21 h 124"/>
                <a:gd name="T18" fmla="*/ 17 w 93"/>
                <a:gd name="T19" fmla="*/ 21 h 124"/>
                <a:gd name="T20" fmla="*/ 12 w 93"/>
                <a:gd name="T21" fmla="*/ 22 h 124"/>
                <a:gd name="T22" fmla="*/ 11 w 93"/>
                <a:gd name="T23" fmla="*/ 28 h 124"/>
                <a:gd name="T24" fmla="*/ 14 w 93"/>
                <a:gd name="T25" fmla="*/ 31 h 124"/>
                <a:gd name="T26" fmla="*/ 14 w 93"/>
                <a:gd name="T27" fmla="*/ 36 h 124"/>
                <a:gd name="T28" fmla="*/ 16 w 93"/>
                <a:gd name="T29" fmla="*/ 42 h 124"/>
                <a:gd name="T30" fmla="*/ 22 w 93"/>
                <a:gd name="T31" fmla="*/ 46 h 124"/>
                <a:gd name="T32" fmla="*/ 29 w 93"/>
                <a:gd name="T33" fmla="*/ 48 h 124"/>
                <a:gd name="T34" fmla="*/ 28 w 93"/>
                <a:gd name="T35" fmla="*/ 52 h 124"/>
                <a:gd name="T36" fmla="*/ 27 w 93"/>
                <a:gd name="T37" fmla="*/ 52 h 124"/>
                <a:gd name="T38" fmla="*/ 35 w 93"/>
                <a:gd name="T39" fmla="*/ 58 h 124"/>
                <a:gd name="T40" fmla="*/ 37 w 93"/>
                <a:gd name="T41" fmla="*/ 62 h 124"/>
                <a:gd name="T42" fmla="*/ 35 w 93"/>
                <a:gd name="T43" fmla="*/ 63 h 124"/>
                <a:gd name="T44" fmla="*/ 43 w 93"/>
                <a:gd name="T45" fmla="*/ 69 h 124"/>
                <a:gd name="T46" fmla="*/ 49 w 93"/>
                <a:gd name="T47" fmla="*/ 74 h 124"/>
                <a:gd name="T48" fmla="*/ 49 w 93"/>
                <a:gd name="T49" fmla="*/ 84 h 124"/>
                <a:gd name="T50" fmla="*/ 47 w 93"/>
                <a:gd name="T51" fmla="*/ 90 h 124"/>
                <a:gd name="T52" fmla="*/ 44 w 93"/>
                <a:gd name="T53" fmla="*/ 93 h 124"/>
                <a:gd name="T54" fmla="*/ 44 w 93"/>
                <a:gd name="T55" fmla="*/ 97 h 124"/>
                <a:gd name="T56" fmla="*/ 49 w 93"/>
                <a:gd name="T57" fmla="*/ 99 h 124"/>
                <a:gd name="T58" fmla="*/ 54 w 93"/>
                <a:gd name="T59" fmla="*/ 91 h 124"/>
                <a:gd name="T60" fmla="*/ 59 w 93"/>
                <a:gd name="T61" fmla="*/ 85 h 124"/>
                <a:gd name="T62" fmla="*/ 67 w 93"/>
                <a:gd name="T63" fmla="*/ 85 h 124"/>
                <a:gd name="T64" fmla="*/ 74 w 93"/>
                <a:gd name="T65" fmla="*/ 95 h 124"/>
                <a:gd name="T66" fmla="*/ 76 w 93"/>
                <a:gd name="T67" fmla="*/ 106 h 124"/>
                <a:gd name="T68" fmla="*/ 77 w 93"/>
                <a:gd name="T69" fmla="*/ 106 h 124"/>
                <a:gd name="T70" fmla="*/ 77 w 93"/>
                <a:gd name="T71" fmla="*/ 107 h 124"/>
                <a:gd name="T72" fmla="*/ 76 w 93"/>
                <a:gd name="T73" fmla="*/ 107 h 124"/>
                <a:gd name="T74" fmla="*/ 73 w 93"/>
                <a:gd name="T75" fmla="*/ 113 h 124"/>
                <a:gd name="T76" fmla="*/ 71 w 93"/>
                <a:gd name="T77" fmla="*/ 116 h 124"/>
                <a:gd name="T78" fmla="*/ 76 w 93"/>
                <a:gd name="T79" fmla="*/ 124 h 124"/>
                <a:gd name="T80" fmla="*/ 88 w 93"/>
                <a:gd name="T81" fmla="*/ 117 h 124"/>
                <a:gd name="T82" fmla="*/ 89 w 93"/>
                <a:gd name="T83" fmla="*/ 116 h 124"/>
                <a:gd name="T84" fmla="*/ 93 w 93"/>
                <a:gd name="T85" fmla="*/ 107 h 124"/>
                <a:gd name="T86" fmla="*/ 89 w 93"/>
                <a:gd name="T87" fmla="*/ 99 h 124"/>
                <a:gd name="T88" fmla="*/ 90 w 93"/>
                <a:gd name="T89" fmla="*/ 96 h 124"/>
                <a:gd name="T90" fmla="*/ 89 w 93"/>
                <a:gd name="T91" fmla="*/ 95 h 124"/>
                <a:gd name="T92" fmla="*/ 91 w 93"/>
                <a:gd name="T93" fmla="*/ 86 h 124"/>
                <a:gd name="T94" fmla="*/ 90 w 93"/>
                <a:gd name="T95" fmla="*/ 83 h 124"/>
                <a:gd name="T96" fmla="*/ 77 w 93"/>
                <a:gd name="T97" fmla="*/ 76 h 124"/>
                <a:gd name="T98" fmla="*/ 71 w 93"/>
                <a:gd name="T99" fmla="*/ 73 h 124"/>
                <a:gd name="T100" fmla="*/ 65 w 93"/>
                <a:gd name="T101" fmla="*/ 71 h 124"/>
                <a:gd name="T102" fmla="*/ 60 w 93"/>
                <a:gd name="T103" fmla="*/ 69 h 124"/>
                <a:gd name="T104" fmla="*/ 50 w 93"/>
                <a:gd name="T105" fmla="*/ 65 h 124"/>
                <a:gd name="T106" fmla="*/ 49 w 93"/>
                <a:gd name="T107" fmla="*/ 63 h 124"/>
                <a:gd name="T108" fmla="*/ 43 w 93"/>
                <a:gd name="T109" fmla="*/ 56 h 124"/>
                <a:gd name="T110" fmla="*/ 43 w 93"/>
                <a:gd name="T111" fmla="*/ 55 h 124"/>
                <a:gd name="T112" fmla="*/ 39 w 93"/>
                <a:gd name="T113" fmla="*/ 45 h 124"/>
                <a:gd name="T114" fmla="*/ 38 w 93"/>
                <a:gd name="T115" fmla="*/ 41 h 124"/>
                <a:gd name="T116" fmla="*/ 29 w 93"/>
                <a:gd name="T117" fmla="*/ 30 h 124"/>
                <a:gd name="T118" fmla="*/ 24 w 93"/>
                <a:gd name="T119" fmla="*/ 22 h 124"/>
                <a:gd name="T120" fmla="*/ 17 w 93"/>
                <a:gd name="T121" fmla="*/ 11 h 124"/>
                <a:gd name="T122" fmla="*/ 13 w 93"/>
                <a:gd name="T123" fmla="*/ 5 h 1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 h="124">
                  <a:moveTo>
                    <a:pt x="6" y="0"/>
                  </a:moveTo>
                  <a:cubicBezTo>
                    <a:pt x="3" y="1"/>
                    <a:pt x="2" y="2"/>
                    <a:pt x="2" y="5"/>
                  </a:cubicBezTo>
                  <a:cubicBezTo>
                    <a:pt x="1" y="6"/>
                    <a:pt x="2" y="7"/>
                    <a:pt x="1" y="8"/>
                  </a:cubicBezTo>
                  <a:cubicBezTo>
                    <a:pt x="0" y="9"/>
                    <a:pt x="0" y="9"/>
                    <a:pt x="0" y="9"/>
                  </a:cubicBezTo>
                  <a:cubicBezTo>
                    <a:pt x="0" y="10"/>
                    <a:pt x="0" y="10"/>
                    <a:pt x="0" y="10"/>
                  </a:cubicBezTo>
                  <a:cubicBezTo>
                    <a:pt x="0" y="13"/>
                    <a:pt x="0" y="16"/>
                    <a:pt x="2" y="16"/>
                  </a:cubicBezTo>
                  <a:cubicBezTo>
                    <a:pt x="3" y="17"/>
                    <a:pt x="4" y="17"/>
                    <a:pt x="4" y="17"/>
                  </a:cubicBezTo>
                  <a:cubicBezTo>
                    <a:pt x="7" y="17"/>
                    <a:pt x="7" y="13"/>
                    <a:pt x="9" y="13"/>
                  </a:cubicBezTo>
                  <a:cubicBezTo>
                    <a:pt x="8" y="15"/>
                    <a:pt x="6" y="15"/>
                    <a:pt x="8" y="18"/>
                  </a:cubicBezTo>
                  <a:cubicBezTo>
                    <a:pt x="9" y="19"/>
                    <a:pt x="9" y="19"/>
                    <a:pt x="9" y="19"/>
                  </a:cubicBezTo>
                  <a:cubicBezTo>
                    <a:pt x="9" y="19"/>
                    <a:pt x="8" y="19"/>
                    <a:pt x="8" y="19"/>
                  </a:cubicBezTo>
                  <a:cubicBezTo>
                    <a:pt x="8" y="19"/>
                    <a:pt x="7" y="19"/>
                    <a:pt x="7" y="19"/>
                  </a:cubicBezTo>
                  <a:cubicBezTo>
                    <a:pt x="7" y="19"/>
                    <a:pt x="7" y="19"/>
                    <a:pt x="7" y="19"/>
                  </a:cubicBezTo>
                  <a:cubicBezTo>
                    <a:pt x="5" y="19"/>
                    <a:pt x="5" y="19"/>
                    <a:pt x="6" y="21"/>
                  </a:cubicBezTo>
                  <a:cubicBezTo>
                    <a:pt x="7" y="22"/>
                    <a:pt x="8" y="23"/>
                    <a:pt x="8" y="24"/>
                  </a:cubicBezTo>
                  <a:cubicBezTo>
                    <a:pt x="10" y="22"/>
                    <a:pt x="11" y="21"/>
                    <a:pt x="13" y="20"/>
                  </a:cubicBezTo>
                  <a:cubicBezTo>
                    <a:pt x="13" y="20"/>
                    <a:pt x="13" y="20"/>
                    <a:pt x="14" y="20"/>
                  </a:cubicBezTo>
                  <a:cubicBezTo>
                    <a:pt x="16" y="20"/>
                    <a:pt x="18" y="21"/>
                    <a:pt x="19" y="21"/>
                  </a:cubicBezTo>
                  <a:cubicBezTo>
                    <a:pt x="19" y="21"/>
                    <a:pt x="19" y="21"/>
                    <a:pt x="19" y="21"/>
                  </a:cubicBezTo>
                  <a:cubicBezTo>
                    <a:pt x="18" y="21"/>
                    <a:pt x="17" y="21"/>
                    <a:pt x="17" y="21"/>
                  </a:cubicBezTo>
                  <a:cubicBezTo>
                    <a:pt x="16" y="21"/>
                    <a:pt x="15" y="21"/>
                    <a:pt x="14" y="21"/>
                  </a:cubicBezTo>
                  <a:cubicBezTo>
                    <a:pt x="13" y="21"/>
                    <a:pt x="12" y="21"/>
                    <a:pt x="12" y="22"/>
                  </a:cubicBezTo>
                  <a:cubicBezTo>
                    <a:pt x="11" y="25"/>
                    <a:pt x="15" y="28"/>
                    <a:pt x="17" y="30"/>
                  </a:cubicBezTo>
                  <a:cubicBezTo>
                    <a:pt x="15" y="29"/>
                    <a:pt x="13" y="28"/>
                    <a:pt x="11" y="28"/>
                  </a:cubicBezTo>
                  <a:cubicBezTo>
                    <a:pt x="11" y="28"/>
                    <a:pt x="10" y="28"/>
                    <a:pt x="10" y="28"/>
                  </a:cubicBezTo>
                  <a:cubicBezTo>
                    <a:pt x="8" y="31"/>
                    <a:pt x="11" y="31"/>
                    <a:pt x="14" y="31"/>
                  </a:cubicBezTo>
                  <a:cubicBezTo>
                    <a:pt x="15" y="31"/>
                    <a:pt x="16" y="31"/>
                    <a:pt x="17" y="31"/>
                  </a:cubicBezTo>
                  <a:cubicBezTo>
                    <a:pt x="14" y="33"/>
                    <a:pt x="13" y="33"/>
                    <a:pt x="14" y="36"/>
                  </a:cubicBezTo>
                  <a:cubicBezTo>
                    <a:pt x="14" y="40"/>
                    <a:pt x="17" y="40"/>
                    <a:pt x="22" y="40"/>
                  </a:cubicBezTo>
                  <a:cubicBezTo>
                    <a:pt x="20" y="42"/>
                    <a:pt x="18" y="41"/>
                    <a:pt x="16" y="42"/>
                  </a:cubicBezTo>
                  <a:cubicBezTo>
                    <a:pt x="12" y="42"/>
                    <a:pt x="15" y="44"/>
                    <a:pt x="12" y="45"/>
                  </a:cubicBezTo>
                  <a:cubicBezTo>
                    <a:pt x="15" y="45"/>
                    <a:pt x="19" y="45"/>
                    <a:pt x="22" y="46"/>
                  </a:cubicBezTo>
                  <a:cubicBezTo>
                    <a:pt x="23" y="46"/>
                    <a:pt x="26" y="49"/>
                    <a:pt x="28" y="49"/>
                  </a:cubicBezTo>
                  <a:cubicBezTo>
                    <a:pt x="29" y="49"/>
                    <a:pt x="29" y="48"/>
                    <a:pt x="29" y="48"/>
                  </a:cubicBezTo>
                  <a:cubicBezTo>
                    <a:pt x="31" y="51"/>
                    <a:pt x="30" y="52"/>
                    <a:pt x="29" y="52"/>
                  </a:cubicBezTo>
                  <a:cubicBezTo>
                    <a:pt x="29" y="52"/>
                    <a:pt x="29" y="52"/>
                    <a:pt x="28" y="52"/>
                  </a:cubicBezTo>
                  <a:cubicBezTo>
                    <a:pt x="28" y="52"/>
                    <a:pt x="28" y="52"/>
                    <a:pt x="28" y="52"/>
                  </a:cubicBezTo>
                  <a:cubicBezTo>
                    <a:pt x="27" y="52"/>
                    <a:pt x="27" y="52"/>
                    <a:pt x="27" y="52"/>
                  </a:cubicBezTo>
                  <a:cubicBezTo>
                    <a:pt x="28" y="53"/>
                    <a:pt x="29" y="55"/>
                    <a:pt x="30" y="56"/>
                  </a:cubicBezTo>
                  <a:cubicBezTo>
                    <a:pt x="32" y="57"/>
                    <a:pt x="33" y="58"/>
                    <a:pt x="35" y="58"/>
                  </a:cubicBezTo>
                  <a:cubicBezTo>
                    <a:pt x="36" y="58"/>
                    <a:pt x="38" y="57"/>
                    <a:pt x="39" y="57"/>
                  </a:cubicBezTo>
                  <a:cubicBezTo>
                    <a:pt x="38" y="59"/>
                    <a:pt x="35" y="60"/>
                    <a:pt x="37" y="62"/>
                  </a:cubicBezTo>
                  <a:cubicBezTo>
                    <a:pt x="37" y="62"/>
                    <a:pt x="37" y="62"/>
                    <a:pt x="37" y="62"/>
                  </a:cubicBezTo>
                  <a:cubicBezTo>
                    <a:pt x="36" y="62"/>
                    <a:pt x="35" y="62"/>
                    <a:pt x="35" y="63"/>
                  </a:cubicBezTo>
                  <a:cubicBezTo>
                    <a:pt x="36" y="64"/>
                    <a:pt x="37" y="64"/>
                    <a:pt x="39" y="65"/>
                  </a:cubicBezTo>
                  <a:cubicBezTo>
                    <a:pt x="40" y="66"/>
                    <a:pt x="42" y="68"/>
                    <a:pt x="43" y="69"/>
                  </a:cubicBezTo>
                  <a:cubicBezTo>
                    <a:pt x="44" y="70"/>
                    <a:pt x="44" y="71"/>
                    <a:pt x="44" y="71"/>
                  </a:cubicBezTo>
                  <a:cubicBezTo>
                    <a:pt x="45" y="72"/>
                    <a:pt x="47" y="73"/>
                    <a:pt x="49" y="74"/>
                  </a:cubicBezTo>
                  <a:cubicBezTo>
                    <a:pt x="50" y="75"/>
                    <a:pt x="51" y="77"/>
                    <a:pt x="52" y="78"/>
                  </a:cubicBezTo>
                  <a:cubicBezTo>
                    <a:pt x="47" y="78"/>
                    <a:pt x="50" y="81"/>
                    <a:pt x="49" y="84"/>
                  </a:cubicBezTo>
                  <a:cubicBezTo>
                    <a:pt x="49" y="86"/>
                    <a:pt x="48" y="85"/>
                    <a:pt x="47" y="86"/>
                  </a:cubicBezTo>
                  <a:cubicBezTo>
                    <a:pt x="47" y="90"/>
                    <a:pt x="47" y="90"/>
                    <a:pt x="47" y="90"/>
                  </a:cubicBezTo>
                  <a:cubicBezTo>
                    <a:pt x="46" y="90"/>
                    <a:pt x="46" y="90"/>
                    <a:pt x="46" y="90"/>
                  </a:cubicBezTo>
                  <a:cubicBezTo>
                    <a:pt x="44" y="90"/>
                    <a:pt x="44" y="91"/>
                    <a:pt x="44" y="93"/>
                  </a:cubicBezTo>
                  <a:cubicBezTo>
                    <a:pt x="43" y="92"/>
                    <a:pt x="43" y="92"/>
                    <a:pt x="43" y="92"/>
                  </a:cubicBezTo>
                  <a:cubicBezTo>
                    <a:pt x="42" y="92"/>
                    <a:pt x="43" y="95"/>
                    <a:pt x="44" y="97"/>
                  </a:cubicBezTo>
                  <a:cubicBezTo>
                    <a:pt x="44" y="98"/>
                    <a:pt x="47" y="100"/>
                    <a:pt x="48" y="100"/>
                  </a:cubicBezTo>
                  <a:cubicBezTo>
                    <a:pt x="49" y="100"/>
                    <a:pt x="49" y="99"/>
                    <a:pt x="49" y="99"/>
                  </a:cubicBezTo>
                  <a:cubicBezTo>
                    <a:pt x="49" y="97"/>
                    <a:pt x="49" y="96"/>
                    <a:pt x="48" y="95"/>
                  </a:cubicBezTo>
                  <a:cubicBezTo>
                    <a:pt x="50" y="94"/>
                    <a:pt x="53" y="93"/>
                    <a:pt x="54" y="91"/>
                  </a:cubicBezTo>
                  <a:cubicBezTo>
                    <a:pt x="54" y="89"/>
                    <a:pt x="51" y="90"/>
                    <a:pt x="50" y="88"/>
                  </a:cubicBezTo>
                  <a:cubicBezTo>
                    <a:pt x="53" y="87"/>
                    <a:pt x="56" y="87"/>
                    <a:pt x="59" y="85"/>
                  </a:cubicBezTo>
                  <a:cubicBezTo>
                    <a:pt x="62" y="83"/>
                    <a:pt x="67" y="83"/>
                    <a:pt x="70" y="81"/>
                  </a:cubicBezTo>
                  <a:cubicBezTo>
                    <a:pt x="70" y="82"/>
                    <a:pt x="67" y="84"/>
                    <a:pt x="67" y="85"/>
                  </a:cubicBezTo>
                  <a:cubicBezTo>
                    <a:pt x="67" y="86"/>
                    <a:pt x="69" y="87"/>
                    <a:pt x="70" y="88"/>
                  </a:cubicBezTo>
                  <a:cubicBezTo>
                    <a:pt x="72" y="90"/>
                    <a:pt x="73" y="92"/>
                    <a:pt x="74" y="95"/>
                  </a:cubicBezTo>
                  <a:cubicBezTo>
                    <a:pt x="74" y="98"/>
                    <a:pt x="74" y="100"/>
                    <a:pt x="74" y="103"/>
                  </a:cubicBezTo>
                  <a:cubicBezTo>
                    <a:pt x="74" y="106"/>
                    <a:pt x="75" y="106"/>
                    <a:pt x="76" y="106"/>
                  </a:cubicBezTo>
                  <a:cubicBezTo>
                    <a:pt x="76" y="106"/>
                    <a:pt x="76" y="106"/>
                    <a:pt x="77" y="106"/>
                  </a:cubicBezTo>
                  <a:cubicBezTo>
                    <a:pt x="77" y="106"/>
                    <a:pt x="77" y="106"/>
                    <a:pt x="77" y="106"/>
                  </a:cubicBezTo>
                  <a:cubicBezTo>
                    <a:pt x="78" y="106"/>
                    <a:pt x="79" y="106"/>
                    <a:pt x="80" y="107"/>
                  </a:cubicBezTo>
                  <a:cubicBezTo>
                    <a:pt x="79" y="107"/>
                    <a:pt x="78" y="107"/>
                    <a:pt x="77" y="107"/>
                  </a:cubicBezTo>
                  <a:cubicBezTo>
                    <a:pt x="77" y="107"/>
                    <a:pt x="77" y="107"/>
                    <a:pt x="77" y="107"/>
                  </a:cubicBezTo>
                  <a:cubicBezTo>
                    <a:pt x="76" y="107"/>
                    <a:pt x="76" y="107"/>
                    <a:pt x="76" y="107"/>
                  </a:cubicBezTo>
                  <a:cubicBezTo>
                    <a:pt x="74" y="107"/>
                    <a:pt x="71" y="107"/>
                    <a:pt x="70" y="110"/>
                  </a:cubicBezTo>
                  <a:cubicBezTo>
                    <a:pt x="69" y="112"/>
                    <a:pt x="71" y="113"/>
                    <a:pt x="73" y="113"/>
                  </a:cubicBezTo>
                  <a:cubicBezTo>
                    <a:pt x="73" y="113"/>
                    <a:pt x="74" y="113"/>
                    <a:pt x="75" y="113"/>
                  </a:cubicBezTo>
                  <a:cubicBezTo>
                    <a:pt x="73" y="114"/>
                    <a:pt x="71" y="114"/>
                    <a:pt x="71" y="116"/>
                  </a:cubicBezTo>
                  <a:cubicBezTo>
                    <a:pt x="71" y="117"/>
                    <a:pt x="73" y="118"/>
                    <a:pt x="73" y="119"/>
                  </a:cubicBezTo>
                  <a:cubicBezTo>
                    <a:pt x="74" y="121"/>
                    <a:pt x="73" y="124"/>
                    <a:pt x="76" y="124"/>
                  </a:cubicBezTo>
                  <a:cubicBezTo>
                    <a:pt x="77" y="124"/>
                    <a:pt x="78" y="124"/>
                    <a:pt x="78" y="124"/>
                  </a:cubicBezTo>
                  <a:cubicBezTo>
                    <a:pt x="82" y="123"/>
                    <a:pt x="86" y="120"/>
                    <a:pt x="88" y="117"/>
                  </a:cubicBezTo>
                  <a:cubicBezTo>
                    <a:pt x="89" y="116"/>
                    <a:pt x="89" y="116"/>
                    <a:pt x="89" y="116"/>
                  </a:cubicBezTo>
                  <a:cubicBezTo>
                    <a:pt x="89" y="116"/>
                    <a:pt x="89" y="116"/>
                    <a:pt x="89" y="116"/>
                  </a:cubicBezTo>
                  <a:cubicBezTo>
                    <a:pt x="89" y="115"/>
                    <a:pt x="89" y="115"/>
                    <a:pt x="89" y="115"/>
                  </a:cubicBezTo>
                  <a:cubicBezTo>
                    <a:pt x="90" y="112"/>
                    <a:pt x="92" y="107"/>
                    <a:pt x="93" y="107"/>
                  </a:cubicBezTo>
                  <a:cubicBezTo>
                    <a:pt x="93" y="106"/>
                    <a:pt x="92" y="104"/>
                    <a:pt x="91" y="103"/>
                  </a:cubicBezTo>
                  <a:cubicBezTo>
                    <a:pt x="90" y="101"/>
                    <a:pt x="90" y="100"/>
                    <a:pt x="89" y="99"/>
                  </a:cubicBezTo>
                  <a:cubicBezTo>
                    <a:pt x="89" y="98"/>
                    <a:pt x="89" y="98"/>
                    <a:pt x="89" y="98"/>
                  </a:cubicBezTo>
                  <a:cubicBezTo>
                    <a:pt x="89" y="97"/>
                    <a:pt x="89" y="96"/>
                    <a:pt x="90" y="96"/>
                  </a:cubicBezTo>
                  <a:cubicBezTo>
                    <a:pt x="90" y="96"/>
                    <a:pt x="90" y="96"/>
                    <a:pt x="90" y="96"/>
                  </a:cubicBezTo>
                  <a:cubicBezTo>
                    <a:pt x="89" y="95"/>
                    <a:pt x="89" y="95"/>
                    <a:pt x="89" y="95"/>
                  </a:cubicBezTo>
                  <a:cubicBezTo>
                    <a:pt x="89" y="94"/>
                    <a:pt x="89" y="94"/>
                    <a:pt x="89" y="94"/>
                  </a:cubicBezTo>
                  <a:cubicBezTo>
                    <a:pt x="89" y="91"/>
                    <a:pt x="90" y="89"/>
                    <a:pt x="91" y="86"/>
                  </a:cubicBezTo>
                  <a:cubicBezTo>
                    <a:pt x="91" y="86"/>
                    <a:pt x="92" y="85"/>
                    <a:pt x="90" y="84"/>
                  </a:cubicBezTo>
                  <a:cubicBezTo>
                    <a:pt x="90" y="83"/>
                    <a:pt x="90" y="83"/>
                    <a:pt x="90" y="83"/>
                  </a:cubicBezTo>
                  <a:cubicBezTo>
                    <a:pt x="89" y="81"/>
                    <a:pt x="81" y="77"/>
                    <a:pt x="78" y="76"/>
                  </a:cubicBezTo>
                  <a:cubicBezTo>
                    <a:pt x="77" y="76"/>
                    <a:pt x="77" y="76"/>
                    <a:pt x="77" y="76"/>
                  </a:cubicBezTo>
                  <a:cubicBezTo>
                    <a:pt x="77" y="75"/>
                    <a:pt x="76" y="75"/>
                    <a:pt x="76" y="75"/>
                  </a:cubicBezTo>
                  <a:cubicBezTo>
                    <a:pt x="74" y="74"/>
                    <a:pt x="72" y="74"/>
                    <a:pt x="71" y="73"/>
                  </a:cubicBezTo>
                  <a:cubicBezTo>
                    <a:pt x="70" y="73"/>
                    <a:pt x="70" y="73"/>
                    <a:pt x="70" y="73"/>
                  </a:cubicBezTo>
                  <a:cubicBezTo>
                    <a:pt x="68" y="72"/>
                    <a:pt x="67" y="72"/>
                    <a:pt x="65" y="71"/>
                  </a:cubicBezTo>
                  <a:cubicBezTo>
                    <a:pt x="63" y="70"/>
                    <a:pt x="62" y="69"/>
                    <a:pt x="60" y="69"/>
                  </a:cubicBezTo>
                  <a:cubicBezTo>
                    <a:pt x="60" y="69"/>
                    <a:pt x="60" y="69"/>
                    <a:pt x="60" y="69"/>
                  </a:cubicBezTo>
                  <a:cubicBezTo>
                    <a:pt x="58" y="68"/>
                    <a:pt x="57" y="68"/>
                    <a:pt x="56" y="67"/>
                  </a:cubicBezTo>
                  <a:cubicBezTo>
                    <a:pt x="53" y="67"/>
                    <a:pt x="52" y="67"/>
                    <a:pt x="50" y="65"/>
                  </a:cubicBezTo>
                  <a:cubicBezTo>
                    <a:pt x="50" y="64"/>
                    <a:pt x="50" y="64"/>
                    <a:pt x="50" y="64"/>
                  </a:cubicBezTo>
                  <a:cubicBezTo>
                    <a:pt x="49" y="63"/>
                    <a:pt x="49" y="63"/>
                    <a:pt x="49" y="63"/>
                  </a:cubicBezTo>
                  <a:cubicBezTo>
                    <a:pt x="49" y="63"/>
                    <a:pt x="48" y="62"/>
                    <a:pt x="47" y="61"/>
                  </a:cubicBezTo>
                  <a:cubicBezTo>
                    <a:pt x="46" y="60"/>
                    <a:pt x="45" y="58"/>
                    <a:pt x="43" y="56"/>
                  </a:cubicBezTo>
                  <a:cubicBezTo>
                    <a:pt x="43" y="56"/>
                    <a:pt x="43" y="56"/>
                    <a:pt x="43" y="56"/>
                  </a:cubicBezTo>
                  <a:cubicBezTo>
                    <a:pt x="43" y="55"/>
                    <a:pt x="43" y="55"/>
                    <a:pt x="43" y="55"/>
                  </a:cubicBezTo>
                  <a:cubicBezTo>
                    <a:pt x="42" y="54"/>
                    <a:pt x="41" y="53"/>
                    <a:pt x="40" y="52"/>
                  </a:cubicBezTo>
                  <a:cubicBezTo>
                    <a:pt x="37" y="48"/>
                    <a:pt x="38" y="46"/>
                    <a:pt x="39" y="45"/>
                  </a:cubicBezTo>
                  <a:cubicBezTo>
                    <a:pt x="40" y="44"/>
                    <a:pt x="40" y="44"/>
                    <a:pt x="40" y="44"/>
                  </a:cubicBezTo>
                  <a:cubicBezTo>
                    <a:pt x="39" y="43"/>
                    <a:pt x="38" y="42"/>
                    <a:pt x="38" y="41"/>
                  </a:cubicBezTo>
                  <a:cubicBezTo>
                    <a:pt x="35" y="37"/>
                    <a:pt x="32" y="34"/>
                    <a:pt x="30" y="30"/>
                  </a:cubicBezTo>
                  <a:cubicBezTo>
                    <a:pt x="29" y="30"/>
                    <a:pt x="29" y="30"/>
                    <a:pt x="29" y="30"/>
                  </a:cubicBezTo>
                  <a:cubicBezTo>
                    <a:pt x="28" y="27"/>
                    <a:pt x="28" y="27"/>
                    <a:pt x="28" y="27"/>
                  </a:cubicBezTo>
                  <a:cubicBezTo>
                    <a:pt x="26" y="25"/>
                    <a:pt x="25" y="24"/>
                    <a:pt x="24" y="22"/>
                  </a:cubicBezTo>
                  <a:cubicBezTo>
                    <a:pt x="22" y="20"/>
                    <a:pt x="21" y="18"/>
                    <a:pt x="19" y="16"/>
                  </a:cubicBezTo>
                  <a:cubicBezTo>
                    <a:pt x="19" y="14"/>
                    <a:pt x="18" y="12"/>
                    <a:pt x="17" y="11"/>
                  </a:cubicBezTo>
                  <a:cubicBezTo>
                    <a:pt x="16" y="10"/>
                    <a:pt x="16" y="10"/>
                    <a:pt x="16" y="10"/>
                  </a:cubicBezTo>
                  <a:cubicBezTo>
                    <a:pt x="15" y="8"/>
                    <a:pt x="14" y="6"/>
                    <a:pt x="13" y="5"/>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47"/>
            <p:cNvSpPr/>
            <p:nvPr/>
          </p:nvSpPr>
          <p:spPr bwMode="auto">
            <a:xfrm>
              <a:off x="8435966" y="8166922"/>
              <a:ext cx="274638" cy="233363"/>
            </a:xfrm>
            <a:custGeom>
              <a:gdLst>
                <a:gd name="T0" fmla="*/ 6 w 73"/>
                <a:gd name="T1" fmla="*/ 1 h 62"/>
                <a:gd name="T2" fmla="*/ 4 w 73"/>
                <a:gd name="T3" fmla="*/ 1 h 62"/>
                <a:gd name="T4" fmla="*/ 2 w 73"/>
                <a:gd name="T5" fmla="*/ 2 h 62"/>
                <a:gd name="T6" fmla="*/ 6 w 73"/>
                <a:gd name="T7" fmla="*/ 6 h 62"/>
                <a:gd name="T8" fmla="*/ 3 w 73"/>
                <a:gd name="T9" fmla="*/ 13 h 62"/>
                <a:gd name="T10" fmla="*/ 11 w 73"/>
                <a:gd name="T11" fmla="*/ 28 h 62"/>
                <a:gd name="T12" fmla="*/ 18 w 73"/>
                <a:gd name="T13" fmla="*/ 34 h 62"/>
                <a:gd name="T14" fmla="*/ 19 w 73"/>
                <a:gd name="T15" fmla="*/ 35 h 62"/>
                <a:gd name="T16" fmla="*/ 25 w 73"/>
                <a:gd name="T17" fmla="*/ 29 h 62"/>
                <a:gd name="T18" fmla="*/ 15 w 73"/>
                <a:gd name="T19" fmla="*/ 18 h 62"/>
                <a:gd name="T20" fmla="*/ 27 w 73"/>
                <a:gd name="T21" fmla="*/ 25 h 62"/>
                <a:gd name="T22" fmla="*/ 36 w 73"/>
                <a:gd name="T23" fmla="*/ 36 h 62"/>
                <a:gd name="T24" fmla="*/ 40 w 73"/>
                <a:gd name="T25" fmla="*/ 37 h 62"/>
                <a:gd name="T26" fmla="*/ 51 w 73"/>
                <a:gd name="T27" fmla="*/ 45 h 62"/>
                <a:gd name="T28" fmla="*/ 55 w 73"/>
                <a:gd name="T29" fmla="*/ 60 h 62"/>
                <a:gd name="T30" fmla="*/ 57 w 73"/>
                <a:gd name="T31" fmla="*/ 55 h 62"/>
                <a:gd name="T32" fmla="*/ 65 w 73"/>
                <a:gd name="T33" fmla="*/ 59 h 62"/>
                <a:gd name="T34" fmla="*/ 66 w 73"/>
                <a:gd name="T35" fmla="*/ 60 h 62"/>
                <a:gd name="T36" fmla="*/ 68 w 73"/>
                <a:gd name="T37" fmla="*/ 58 h 62"/>
                <a:gd name="T38" fmla="*/ 70 w 73"/>
                <a:gd name="T39" fmla="*/ 50 h 62"/>
                <a:gd name="T40" fmla="*/ 67 w 73"/>
                <a:gd name="T41" fmla="*/ 48 h 62"/>
                <a:gd name="T42" fmla="*/ 67 w 73"/>
                <a:gd name="T43" fmla="*/ 46 h 62"/>
                <a:gd name="T44" fmla="*/ 67 w 73"/>
                <a:gd name="T45" fmla="*/ 44 h 62"/>
                <a:gd name="T46" fmla="*/ 70 w 73"/>
                <a:gd name="T47" fmla="*/ 32 h 62"/>
                <a:gd name="T48" fmla="*/ 71 w 73"/>
                <a:gd name="T49" fmla="*/ 31 h 62"/>
                <a:gd name="T50" fmla="*/ 73 w 73"/>
                <a:gd name="T51" fmla="*/ 31 h 62"/>
                <a:gd name="T52" fmla="*/ 54 w 73"/>
                <a:gd name="T53" fmla="*/ 6 h 62"/>
                <a:gd name="T54" fmla="*/ 49 w 73"/>
                <a:gd name="T55" fmla="*/ 9 h 62"/>
                <a:gd name="T56" fmla="*/ 48 w 73"/>
                <a:gd name="T57" fmla="*/ 9 h 62"/>
                <a:gd name="T58" fmla="*/ 45 w 73"/>
                <a:gd name="T59" fmla="*/ 9 h 62"/>
                <a:gd name="T60" fmla="*/ 36 w 73"/>
                <a:gd name="T61" fmla="*/ 6 h 62"/>
                <a:gd name="T62" fmla="*/ 32 w 73"/>
                <a:gd name="T63" fmla="*/ 4 h 62"/>
                <a:gd name="T64" fmla="*/ 31 w 73"/>
                <a:gd name="T65" fmla="*/ 3 h 62"/>
                <a:gd name="T66" fmla="*/ 31 w 73"/>
                <a:gd name="T67" fmla="*/ 3 h 62"/>
                <a:gd name="T68" fmla="*/ 25 w 73"/>
                <a:gd name="T69" fmla="*/ 5 h 62"/>
                <a:gd name="T70" fmla="*/ 23 w 73"/>
                <a:gd name="T71" fmla="*/ 5 h 62"/>
                <a:gd name="T72" fmla="*/ 10 w 73"/>
                <a:gd name="T73" fmla="*/ 0 h 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62">
                  <a:moveTo>
                    <a:pt x="8" y="0"/>
                  </a:moveTo>
                  <a:cubicBezTo>
                    <a:pt x="8" y="0"/>
                    <a:pt x="7" y="0"/>
                    <a:pt x="6" y="1"/>
                  </a:cubicBezTo>
                  <a:cubicBezTo>
                    <a:pt x="5" y="2"/>
                    <a:pt x="5" y="2"/>
                    <a:pt x="5" y="2"/>
                  </a:cubicBezTo>
                  <a:cubicBezTo>
                    <a:pt x="4" y="1"/>
                    <a:pt x="4" y="1"/>
                    <a:pt x="4" y="1"/>
                  </a:cubicBezTo>
                  <a:cubicBezTo>
                    <a:pt x="3" y="3"/>
                    <a:pt x="3" y="3"/>
                    <a:pt x="3" y="3"/>
                  </a:cubicBezTo>
                  <a:cubicBezTo>
                    <a:pt x="3" y="3"/>
                    <a:pt x="2" y="2"/>
                    <a:pt x="2" y="2"/>
                  </a:cubicBezTo>
                  <a:cubicBezTo>
                    <a:pt x="1" y="2"/>
                    <a:pt x="0" y="3"/>
                    <a:pt x="0" y="3"/>
                  </a:cubicBezTo>
                  <a:cubicBezTo>
                    <a:pt x="1" y="4"/>
                    <a:pt x="5" y="5"/>
                    <a:pt x="6" y="6"/>
                  </a:cubicBezTo>
                  <a:cubicBezTo>
                    <a:pt x="6" y="7"/>
                    <a:pt x="7" y="10"/>
                    <a:pt x="6" y="10"/>
                  </a:cubicBezTo>
                  <a:cubicBezTo>
                    <a:pt x="6" y="10"/>
                    <a:pt x="3" y="12"/>
                    <a:pt x="3" y="13"/>
                  </a:cubicBezTo>
                  <a:cubicBezTo>
                    <a:pt x="4" y="16"/>
                    <a:pt x="4" y="20"/>
                    <a:pt x="5" y="24"/>
                  </a:cubicBezTo>
                  <a:cubicBezTo>
                    <a:pt x="6" y="26"/>
                    <a:pt x="9" y="27"/>
                    <a:pt x="11" y="28"/>
                  </a:cubicBezTo>
                  <a:cubicBezTo>
                    <a:pt x="14" y="29"/>
                    <a:pt x="15" y="31"/>
                    <a:pt x="18" y="33"/>
                  </a:cubicBezTo>
                  <a:cubicBezTo>
                    <a:pt x="18" y="34"/>
                    <a:pt x="18" y="34"/>
                    <a:pt x="18" y="34"/>
                  </a:cubicBezTo>
                  <a:cubicBezTo>
                    <a:pt x="19" y="34"/>
                    <a:pt x="18" y="35"/>
                    <a:pt x="19" y="35"/>
                  </a:cubicBezTo>
                  <a:cubicBezTo>
                    <a:pt x="19" y="35"/>
                    <a:pt x="19" y="35"/>
                    <a:pt x="19" y="35"/>
                  </a:cubicBezTo>
                  <a:cubicBezTo>
                    <a:pt x="19" y="35"/>
                    <a:pt x="21" y="32"/>
                    <a:pt x="22" y="32"/>
                  </a:cubicBezTo>
                  <a:cubicBezTo>
                    <a:pt x="22" y="31"/>
                    <a:pt x="23" y="29"/>
                    <a:pt x="25" y="29"/>
                  </a:cubicBezTo>
                  <a:cubicBezTo>
                    <a:pt x="23" y="27"/>
                    <a:pt x="20" y="26"/>
                    <a:pt x="18" y="24"/>
                  </a:cubicBezTo>
                  <a:cubicBezTo>
                    <a:pt x="17" y="23"/>
                    <a:pt x="16" y="20"/>
                    <a:pt x="15" y="18"/>
                  </a:cubicBezTo>
                  <a:cubicBezTo>
                    <a:pt x="16" y="20"/>
                    <a:pt x="17" y="20"/>
                    <a:pt x="20" y="21"/>
                  </a:cubicBezTo>
                  <a:cubicBezTo>
                    <a:pt x="22" y="22"/>
                    <a:pt x="25" y="24"/>
                    <a:pt x="27" y="25"/>
                  </a:cubicBezTo>
                  <a:cubicBezTo>
                    <a:pt x="29" y="26"/>
                    <a:pt x="28" y="30"/>
                    <a:pt x="29" y="32"/>
                  </a:cubicBezTo>
                  <a:cubicBezTo>
                    <a:pt x="30" y="34"/>
                    <a:pt x="33" y="35"/>
                    <a:pt x="36" y="36"/>
                  </a:cubicBezTo>
                  <a:cubicBezTo>
                    <a:pt x="37" y="36"/>
                    <a:pt x="39" y="37"/>
                    <a:pt x="40" y="37"/>
                  </a:cubicBezTo>
                  <a:cubicBezTo>
                    <a:pt x="40" y="37"/>
                    <a:pt x="40" y="37"/>
                    <a:pt x="40" y="37"/>
                  </a:cubicBezTo>
                  <a:cubicBezTo>
                    <a:pt x="42" y="39"/>
                    <a:pt x="45" y="40"/>
                    <a:pt x="48" y="42"/>
                  </a:cubicBezTo>
                  <a:cubicBezTo>
                    <a:pt x="49" y="43"/>
                    <a:pt x="50" y="44"/>
                    <a:pt x="51" y="45"/>
                  </a:cubicBezTo>
                  <a:cubicBezTo>
                    <a:pt x="53" y="46"/>
                    <a:pt x="53" y="46"/>
                    <a:pt x="53" y="48"/>
                  </a:cubicBezTo>
                  <a:cubicBezTo>
                    <a:pt x="54" y="54"/>
                    <a:pt x="48" y="56"/>
                    <a:pt x="55" y="60"/>
                  </a:cubicBezTo>
                  <a:cubicBezTo>
                    <a:pt x="56" y="61"/>
                    <a:pt x="60" y="62"/>
                    <a:pt x="61" y="62"/>
                  </a:cubicBezTo>
                  <a:cubicBezTo>
                    <a:pt x="60" y="60"/>
                    <a:pt x="59" y="58"/>
                    <a:pt x="57" y="55"/>
                  </a:cubicBezTo>
                  <a:cubicBezTo>
                    <a:pt x="58" y="55"/>
                    <a:pt x="59" y="55"/>
                    <a:pt x="60" y="55"/>
                  </a:cubicBezTo>
                  <a:cubicBezTo>
                    <a:pt x="62" y="55"/>
                    <a:pt x="65" y="56"/>
                    <a:pt x="65" y="59"/>
                  </a:cubicBezTo>
                  <a:cubicBezTo>
                    <a:pt x="65" y="60"/>
                    <a:pt x="65" y="61"/>
                    <a:pt x="65" y="61"/>
                  </a:cubicBezTo>
                  <a:cubicBezTo>
                    <a:pt x="65" y="61"/>
                    <a:pt x="65" y="60"/>
                    <a:pt x="66" y="60"/>
                  </a:cubicBezTo>
                  <a:cubicBezTo>
                    <a:pt x="66" y="59"/>
                    <a:pt x="66" y="59"/>
                    <a:pt x="66" y="59"/>
                  </a:cubicBezTo>
                  <a:cubicBezTo>
                    <a:pt x="67" y="59"/>
                    <a:pt x="68" y="58"/>
                    <a:pt x="68" y="58"/>
                  </a:cubicBezTo>
                  <a:cubicBezTo>
                    <a:pt x="67" y="57"/>
                    <a:pt x="67" y="55"/>
                    <a:pt x="67" y="54"/>
                  </a:cubicBezTo>
                  <a:cubicBezTo>
                    <a:pt x="67" y="52"/>
                    <a:pt x="68" y="51"/>
                    <a:pt x="70" y="50"/>
                  </a:cubicBezTo>
                  <a:cubicBezTo>
                    <a:pt x="69" y="49"/>
                    <a:pt x="69" y="49"/>
                    <a:pt x="69" y="49"/>
                  </a:cubicBezTo>
                  <a:cubicBezTo>
                    <a:pt x="67" y="48"/>
                    <a:pt x="67" y="48"/>
                    <a:pt x="67" y="48"/>
                  </a:cubicBezTo>
                  <a:cubicBezTo>
                    <a:pt x="67" y="46"/>
                    <a:pt x="67" y="46"/>
                    <a:pt x="67" y="46"/>
                  </a:cubicBezTo>
                  <a:cubicBezTo>
                    <a:pt x="67" y="46"/>
                    <a:pt x="67" y="46"/>
                    <a:pt x="67" y="46"/>
                  </a:cubicBezTo>
                  <a:cubicBezTo>
                    <a:pt x="67" y="46"/>
                    <a:pt x="67" y="45"/>
                    <a:pt x="67" y="44"/>
                  </a:cubicBezTo>
                  <a:cubicBezTo>
                    <a:pt x="67" y="44"/>
                    <a:pt x="67" y="44"/>
                    <a:pt x="67" y="44"/>
                  </a:cubicBezTo>
                  <a:cubicBezTo>
                    <a:pt x="67" y="42"/>
                    <a:pt x="67" y="39"/>
                    <a:pt x="67" y="37"/>
                  </a:cubicBezTo>
                  <a:cubicBezTo>
                    <a:pt x="68" y="34"/>
                    <a:pt x="68" y="33"/>
                    <a:pt x="70" y="32"/>
                  </a:cubicBezTo>
                  <a:cubicBezTo>
                    <a:pt x="70" y="31"/>
                    <a:pt x="70" y="31"/>
                    <a:pt x="70" y="31"/>
                  </a:cubicBezTo>
                  <a:cubicBezTo>
                    <a:pt x="71" y="31"/>
                    <a:pt x="71" y="31"/>
                    <a:pt x="71" y="31"/>
                  </a:cubicBezTo>
                  <a:cubicBezTo>
                    <a:pt x="71" y="31"/>
                    <a:pt x="72" y="31"/>
                    <a:pt x="72" y="31"/>
                  </a:cubicBezTo>
                  <a:cubicBezTo>
                    <a:pt x="72" y="31"/>
                    <a:pt x="73" y="31"/>
                    <a:pt x="73" y="31"/>
                  </a:cubicBezTo>
                  <a:cubicBezTo>
                    <a:pt x="69" y="28"/>
                    <a:pt x="66" y="25"/>
                    <a:pt x="63" y="21"/>
                  </a:cubicBezTo>
                  <a:cubicBezTo>
                    <a:pt x="59" y="16"/>
                    <a:pt x="57" y="11"/>
                    <a:pt x="54" y="6"/>
                  </a:cubicBezTo>
                  <a:cubicBezTo>
                    <a:pt x="53" y="7"/>
                    <a:pt x="52" y="8"/>
                    <a:pt x="52" y="8"/>
                  </a:cubicBezTo>
                  <a:cubicBezTo>
                    <a:pt x="51" y="9"/>
                    <a:pt x="50" y="9"/>
                    <a:pt x="49" y="9"/>
                  </a:cubicBezTo>
                  <a:cubicBezTo>
                    <a:pt x="49" y="9"/>
                    <a:pt x="49" y="9"/>
                    <a:pt x="49" y="9"/>
                  </a:cubicBezTo>
                  <a:cubicBezTo>
                    <a:pt x="48" y="9"/>
                    <a:pt x="48" y="9"/>
                    <a:pt x="48" y="9"/>
                  </a:cubicBezTo>
                  <a:cubicBezTo>
                    <a:pt x="47" y="9"/>
                    <a:pt x="47" y="9"/>
                    <a:pt x="47" y="9"/>
                  </a:cubicBezTo>
                  <a:cubicBezTo>
                    <a:pt x="45" y="9"/>
                    <a:pt x="45" y="9"/>
                    <a:pt x="45" y="9"/>
                  </a:cubicBezTo>
                  <a:cubicBezTo>
                    <a:pt x="42" y="9"/>
                    <a:pt x="40" y="9"/>
                    <a:pt x="37" y="7"/>
                  </a:cubicBezTo>
                  <a:cubicBezTo>
                    <a:pt x="37" y="7"/>
                    <a:pt x="37" y="7"/>
                    <a:pt x="36" y="6"/>
                  </a:cubicBezTo>
                  <a:cubicBezTo>
                    <a:pt x="36" y="6"/>
                    <a:pt x="36" y="6"/>
                    <a:pt x="36" y="6"/>
                  </a:cubicBezTo>
                  <a:cubicBezTo>
                    <a:pt x="34" y="5"/>
                    <a:pt x="33" y="4"/>
                    <a:pt x="32" y="4"/>
                  </a:cubicBezTo>
                  <a:cubicBezTo>
                    <a:pt x="32" y="3"/>
                    <a:pt x="32" y="3"/>
                    <a:pt x="32" y="3"/>
                  </a:cubicBezTo>
                  <a:cubicBezTo>
                    <a:pt x="31" y="3"/>
                    <a:pt x="31" y="3"/>
                    <a:pt x="31" y="3"/>
                  </a:cubicBezTo>
                  <a:cubicBezTo>
                    <a:pt x="31" y="3"/>
                    <a:pt x="31" y="3"/>
                    <a:pt x="31" y="3"/>
                  </a:cubicBezTo>
                  <a:cubicBezTo>
                    <a:pt x="31" y="3"/>
                    <a:pt x="31" y="3"/>
                    <a:pt x="31" y="3"/>
                  </a:cubicBezTo>
                  <a:cubicBezTo>
                    <a:pt x="31" y="3"/>
                    <a:pt x="29" y="4"/>
                    <a:pt x="29" y="4"/>
                  </a:cubicBezTo>
                  <a:cubicBezTo>
                    <a:pt x="27" y="4"/>
                    <a:pt x="26" y="5"/>
                    <a:pt x="25" y="5"/>
                  </a:cubicBezTo>
                  <a:cubicBezTo>
                    <a:pt x="25" y="5"/>
                    <a:pt x="25" y="5"/>
                    <a:pt x="24" y="5"/>
                  </a:cubicBezTo>
                  <a:cubicBezTo>
                    <a:pt x="24" y="5"/>
                    <a:pt x="24" y="5"/>
                    <a:pt x="23" y="5"/>
                  </a:cubicBezTo>
                  <a:cubicBezTo>
                    <a:pt x="20" y="4"/>
                    <a:pt x="17" y="2"/>
                    <a:pt x="13" y="1"/>
                  </a:cubicBezTo>
                  <a:cubicBezTo>
                    <a:pt x="12" y="1"/>
                    <a:pt x="11" y="0"/>
                    <a:pt x="10"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348"/>
            <p:cNvSpPr>
              <a:spLocks noChangeArrowheads="1"/>
            </p:cNvSpPr>
            <p:nvPr/>
          </p:nvSpPr>
          <p:spPr bwMode="auto">
            <a:xfrm>
              <a:off x="8308966" y="7998647"/>
              <a:ext cx="3175"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49"/>
            <p:cNvSpPr/>
            <p:nvPr/>
          </p:nvSpPr>
          <p:spPr bwMode="auto">
            <a:xfrm>
              <a:off x="8308966" y="7998647"/>
              <a:ext cx="3175" cy="0"/>
            </a:xfrm>
            <a:custGeom>
              <a:gdLst>
                <a:gd name="T0" fmla="*/ 2 w 2"/>
                <a:gd name="T1" fmla="*/ 0 w 2"/>
                <a:gd name="T2" fmla="*/ 0 w 2"/>
                <a:gd name="T3" fmla="*/ 2 w 2"/>
              </a:gdLst>
              <a:cxnLst>
                <a:cxn ang="0">
                  <a:pos x="T0" y="0"/>
                </a:cxn>
                <a:cxn ang="0">
                  <a:pos x="T1" y="0"/>
                </a:cxn>
                <a:cxn ang="0">
                  <a:pos x="T2" y="0"/>
                </a:cxn>
                <a:cxn ang="0">
                  <a:pos x="T3" y="0"/>
                </a:cxn>
              </a:cxnLst>
              <a:rect l="0" t="0" r="r" b="b"/>
              <a:pathLst>
                <a:path w="2">
                  <a:moveTo>
                    <a:pt x="2" y="0"/>
                  </a:move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50"/>
            <p:cNvSpPr/>
            <p:nvPr/>
          </p:nvSpPr>
          <p:spPr bwMode="auto">
            <a:xfrm>
              <a:off x="8278804" y="7836722"/>
              <a:ext cx="398463" cy="341313"/>
            </a:xfrm>
            <a:custGeom>
              <a:gdLst>
                <a:gd name="T0" fmla="*/ 96 w 106"/>
                <a:gd name="T1" fmla="*/ 1 h 91"/>
                <a:gd name="T2" fmla="*/ 85 w 106"/>
                <a:gd name="T3" fmla="*/ 4 h 91"/>
                <a:gd name="T4" fmla="*/ 83 w 106"/>
                <a:gd name="T5" fmla="*/ 4 h 91"/>
                <a:gd name="T6" fmla="*/ 81 w 106"/>
                <a:gd name="T7" fmla="*/ 5 h 91"/>
                <a:gd name="T8" fmla="*/ 78 w 106"/>
                <a:gd name="T9" fmla="*/ 6 h 91"/>
                <a:gd name="T10" fmla="*/ 70 w 106"/>
                <a:gd name="T11" fmla="*/ 4 h 91"/>
                <a:gd name="T12" fmla="*/ 67 w 106"/>
                <a:gd name="T13" fmla="*/ 2 h 91"/>
                <a:gd name="T14" fmla="*/ 66 w 106"/>
                <a:gd name="T15" fmla="*/ 3 h 91"/>
                <a:gd name="T16" fmla="*/ 63 w 106"/>
                <a:gd name="T17" fmla="*/ 7 h 91"/>
                <a:gd name="T18" fmla="*/ 61 w 106"/>
                <a:gd name="T19" fmla="*/ 13 h 91"/>
                <a:gd name="T20" fmla="*/ 58 w 106"/>
                <a:gd name="T21" fmla="*/ 15 h 91"/>
                <a:gd name="T22" fmla="*/ 51 w 106"/>
                <a:gd name="T23" fmla="*/ 21 h 91"/>
                <a:gd name="T24" fmla="*/ 46 w 106"/>
                <a:gd name="T25" fmla="*/ 25 h 91"/>
                <a:gd name="T26" fmla="*/ 40 w 106"/>
                <a:gd name="T27" fmla="*/ 21 h 91"/>
                <a:gd name="T28" fmla="*/ 39 w 106"/>
                <a:gd name="T29" fmla="*/ 21 h 91"/>
                <a:gd name="T30" fmla="*/ 31 w 106"/>
                <a:gd name="T31" fmla="*/ 27 h 91"/>
                <a:gd name="T32" fmla="*/ 27 w 106"/>
                <a:gd name="T33" fmla="*/ 26 h 91"/>
                <a:gd name="T34" fmla="*/ 25 w 106"/>
                <a:gd name="T35" fmla="*/ 27 h 91"/>
                <a:gd name="T36" fmla="*/ 26 w 106"/>
                <a:gd name="T37" fmla="*/ 31 h 91"/>
                <a:gd name="T38" fmla="*/ 25 w 106"/>
                <a:gd name="T39" fmla="*/ 37 h 91"/>
                <a:gd name="T40" fmla="*/ 22 w 106"/>
                <a:gd name="T41" fmla="*/ 38 h 91"/>
                <a:gd name="T42" fmla="*/ 20 w 106"/>
                <a:gd name="T43" fmla="*/ 41 h 91"/>
                <a:gd name="T44" fmla="*/ 12 w 106"/>
                <a:gd name="T45" fmla="*/ 45 h 91"/>
                <a:gd name="T46" fmla="*/ 10 w 106"/>
                <a:gd name="T47" fmla="*/ 45 h 91"/>
                <a:gd name="T48" fmla="*/ 8 w 106"/>
                <a:gd name="T49" fmla="*/ 44 h 91"/>
                <a:gd name="T50" fmla="*/ 4 w 106"/>
                <a:gd name="T51" fmla="*/ 40 h 91"/>
                <a:gd name="T52" fmla="*/ 14 w 106"/>
                <a:gd name="T53" fmla="*/ 55 h 91"/>
                <a:gd name="T54" fmla="*/ 25 w 106"/>
                <a:gd name="T55" fmla="*/ 65 h 91"/>
                <a:gd name="T56" fmla="*/ 46 w 106"/>
                <a:gd name="T57" fmla="*/ 84 h 91"/>
                <a:gd name="T58" fmla="*/ 47 w 106"/>
                <a:gd name="T59" fmla="*/ 83 h 91"/>
                <a:gd name="T60" fmla="*/ 50 w 106"/>
                <a:gd name="T61" fmla="*/ 81 h 91"/>
                <a:gd name="T62" fmla="*/ 51 w 106"/>
                <a:gd name="T63" fmla="*/ 82 h 91"/>
                <a:gd name="T64" fmla="*/ 53 w 106"/>
                <a:gd name="T65" fmla="*/ 82 h 91"/>
                <a:gd name="T66" fmla="*/ 43 w 106"/>
                <a:gd name="T67" fmla="*/ 69 h 91"/>
                <a:gd name="T68" fmla="*/ 49 w 106"/>
                <a:gd name="T69" fmla="*/ 64 h 91"/>
                <a:gd name="T70" fmla="*/ 73 w 106"/>
                <a:gd name="T71" fmla="*/ 86 h 91"/>
                <a:gd name="T72" fmla="*/ 74 w 106"/>
                <a:gd name="T73" fmla="*/ 86 h 91"/>
                <a:gd name="T74" fmla="*/ 82 w 106"/>
                <a:gd name="T75" fmla="*/ 90 h 91"/>
                <a:gd name="T76" fmla="*/ 89 w 106"/>
                <a:gd name="T77" fmla="*/ 91 h 91"/>
                <a:gd name="T78" fmla="*/ 91 w 106"/>
                <a:gd name="T79" fmla="*/ 91 h 91"/>
                <a:gd name="T80" fmla="*/ 92 w 106"/>
                <a:gd name="T81" fmla="*/ 89 h 91"/>
                <a:gd name="T82" fmla="*/ 95 w 106"/>
                <a:gd name="T83" fmla="*/ 75 h 91"/>
                <a:gd name="T84" fmla="*/ 94 w 106"/>
                <a:gd name="T85" fmla="*/ 66 h 91"/>
                <a:gd name="T86" fmla="*/ 92 w 106"/>
                <a:gd name="T87" fmla="*/ 54 h 91"/>
                <a:gd name="T88" fmla="*/ 97 w 106"/>
                <a:gd name="T89" fmla="*/ 49 h 91"/>
                <a:gd name="T90" fmla="*/ 96 w 106"/>
                <a:gd name="T91" fmla="*/ 57 h 91"/>
                <a:gd name="T92" fmla="*/ 98 w 106"/>
                <a:gd name="T93" fmla="*/ 49 h 91"/>
                <a:gd name="T94" fmla="*/ 103 w 106"/>
                <a:gd name="T95" fmla="*/ 15 h 91"/>
                <a:gd name="T96" fmla="*/ 101 w 106"/>
                <a:gd name="T97" fmla="*/ 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 h="91">
                  <a:moveTo>
                    <a:pt x="101" y="0"/>
                  </a:moveTo>
                  <a:cubicBezTo>
                    <a:pt x="100" y="0"/>
                    <a:pt x="98" y="0"/>
                    <a:pt x="96" y="1"/>
                  </a:cubicBezTo>
                  <a:cubicBezTo>
                    <a:pt x="93" y="2"/>
                    <a:pt x="93" y="2"/>
                    <a:pt x="93" y="2"/>
                  </a:cubicBezTo>
                  <a:cubicBezTo>
                    <a:pt x="90" y="2"/>
                    <a:pt x="87" y="3"/>
                    <a:pt x="85" y="4"/>
                  </a:cubicBezTo>
                  <a:cubicBezTo>
                    <a:pt x="84" y="4"/>
                    <a:pt x="84" y="4"/>
                    <a:pt x="84" y="4"/>
                  </a:cubicBezTo>
                  <a:cubicBezTo>
                    <a:pt x="83" y="4"/>
                    <a:pt x="83" y="4"/>
                    <a:pt x="83" y="4"/>
                  </a:cubicBezTo>
                  <a:cubicBezTo>
                    <a:pt x="82" y="4"/>
                    <a:pt x="82" y="4"/>
                    <a:pt x="82" y="4"/>
                  </a:cubicBezTo>
                  <a:cubicBezTo>
                    <a:pt x="82" y="4"/>
                    <a:pt x="82" y="5"/>
                    <a:pt x="81" y="5"/>
                  </a:cubicBezTo>
                  <a:cubicBezTo>
                    <a:pt x="81" y="5"/>
                    <a:pt x="80" y="5"/>
                    <a:pt x="79" y="6"/>
                  </a:cubicBezTo>
                  <a:cubicBezTo>
                    <a:pt x="78" y="6"/>
                    <a:pt x="78" y="6"/>
                    <a:pt x="78" y="6"/>
                  </a:cubicBezTo>
                  <a:cubicBezTo>
                    <a:pt x="78" y="6"/>
                    <a:pt x="77" y="6"/>
                    <a:pt x="77" y="6"/>
                  </a:cubicBezTo>
                  <a:cubicBezTo>
                    <a:pt x="74" y="6"/>
                    <a:pt x="72" y="5"/>
                    <a:pt x="70" y="4"/>
                  </a:cubicBezTo>
                  <a:cubicBezTo>
                    <a:pt x="70" y="3"/>
                    <a:pt x="70" y="3"/>
                    <a:pt x="70" y="3"/>
                  </a:cubicBezTo>
                  <a:cubicBezTo>
                    <a:pt x="69" y="3"/>
                    <a:pt x="68" y="2"/>
                    <a:pt x="67" y="2"/>
                  </a:cubicBezTo>
                  <a:cubicBezTo>
                    <a:pt x="67" y="2"/>
                    <a:pt x="67" y="2"/>
                    <a:pt x="67" y="2"/>
                  </a:cubicBezTo>
                  <a:cubicBezTo>
                    <a:pt x="66" y="2"/>
                    <a:pt x="66" y="3"/>
                    <a:pt x="66" y="3"/>
                  </a:cubicBezTo>
                  <a:cubicBezTo>
                    <a:pt x="66" y="4"/>
                    <a:pt x="66" y="5"/>
                    <a:pt x="65" y="6"/>
                  </a:cubicBezTo>
                  <a:cubicBezTo>
                    <a:pt x="64" y="7"/>
                    <a:pt x="64" y="7"/>
                    <a:pt x="63" y="7"/>
                  </a:cubicBezTo>
                  <a:cubicBezTo>
                    <a:pt x="63" y="8"/>
                    <a:pt x="63" y="9"/>
                    <a:pt x="63" y="10"/>
                  </a:cubicBezTo>
                  <a:cubicBezTo>
                    <a:pt x="63" y="11"/>
                    <a:pt x="62" y="12"/>
                    <a:pt x="61" y="13"/>
                  </a:cubicBezTo>
                  <a:cubicBezTo>
                    <a:pt x="60" y="13"/>
                    <a:pt x="59" y="14"/>
                    <a:pt x="58" y="15"/>
                  </a:cubicBezTo>
                  <a:cubicBezTo>
                    <a:pt x="58" y="15"/>
                    <a:pt x="58" y="15"/>
                    <a:pt x="58" y="15"/>
                  </a:cubicBezTo>
                  <a:cubicBezTo>
                    <a:pt x="56" y="16"/>
                    <a:pt x="54" y="18"/>
                    <a:pt x="52" y="19"/>
                  </a:cubicBezTo>
                  <a:cubicBezTo>
                    <a:pt x="52" y="20"/>
                    <a:pt x="51" y="20"/>
                    <a:pt x="51" y="21"/>
                  </a:cubicBezTo>
                  <a:cubicBezTo>
                    <a:pt x="51" y="21"/>
                    <a:pt x="51" y="21"/>
                    <a:pt x="51" y="21"/>
                  </a:cubicBezTo>
                  <a:cubicBezTo>
                    <a:pt x="50" y="23"/>
                    <a:pt x="49" y="25"/>
                    <a:pt x="46" y="25"/>
                  </a:cubicBezTo>
                  <a:cubicBezTo>
                    <a:pt x="45" y="25"/>
                    <a:pt x="44" y="24"/>
                    <a:pt x="43" y="24"/>
                  </a:cubicBezTo>
                  <a:cubicBezTo>
                    <a:pt x="42" y="23"/>
                    <a:pt x="41" y="22"/>
                    <a:pt x="40" y="21"/>
                  </a:cubicBezTo>
                  <a:cubicBezTo>
                    <a:pt x="39" y="21"/>
                    <a:pt x="39" y="21"/>
                    <a:pt x="39" y="21"/>
                  </a:cubicBezTo>
                  <a:cubicBezTo>
                    <a:pt x="39" y="21"/>
                    <a:pt x="39" y="21"/>
                    <a:pt x="39" y="21"/>
                  </a:cubicBezTo>
                  <a:cubicBezTo>
                    <a:pt x="37" y="22"/>
                    <a:pt x="36" y="24"/>
                    <a:pt x="35" y="25"/>
                  </a:cubicBezTo>
                  <a:cubicBezTo>
                    <a:pt x="34" y="26"/>
                    <a:pt x="32" y="27"/>
                    <a:pt x="31" y="27"/>
                  </a:cubicBezTo>
                  <a:cubicBezTo>
                    <a:pt x="30" y="27"/>
                    <a:pt x="29" y="27"/>
                    <a:pt x="29" y="26"/>
                  </a:cubicBezTo>
                  <a:cubicBezTo>
                    <a:pt x="28" y="26"/>
                    <a:pt x="28" y="26"/>
                    <a:pt x="27" y="26"/>
                  </a:cubicBezTo>
                  <a:cubicBezTo>
                    <a:pt x="27" y="26"/>
                    <a:pt x="26" y="26"/>
                    <a:pt x="25" y="26"/>
                  </a:cubicBezTo>
                  <a:cubicBezTo>
                    <a:pt x="25" y="27"/>
                    <a:pt x="25" y="27"/>
                    <a:pt x="25" y="27"/>
                  </a:cubicBezTo>
                  <a:cubicBezTo>
                    <a:pt x="26" y="28"/>
                    <a:pt x="26" y="29"/>
                    <a:pt x="26" y="30"/>
                  </a:cubicBezTo>
                  <a:cubicBezTo>
                    <a:pt x="26" y="31"/>
                    <a:pt x="26" y="31"/>
                    <a:pt x="26" y="31"/>
                  </a:cubicBezTo>
                  <a:cubicBezTo>
                    <a:pt x="27" y="32"/>
                    <a:pt x="27" y="32"/>
                    <a:pt x="27" y="33"/>
                  </a:cubicBezTo>
                  <a:cubicBezTo>
                    <a:pt x="27" y="35"/>
                    <a:pt x="26" y="36"/>
                    <a:pt x="25" y="37"/>
                  </a:cubicBezTo>
                  <a:cubicBezTo>
                    <a:pt x="24" y="38"/>
                    <a:pt x="24" y="38"/>
                    <a:pt x="24" y="38"/>
                  </a:cubicBezTo>
                  <a:cubicBezTo>
                    <a:pt x="23" y="38"/>
                    <a:pt x="23" y="38"/>
                    <a:pt x="22" y="38"/>
                  </a:cubicBezTo>
                  <a:cubicBezTo>
                    <a:pt x="22" y="38"/>
                    <a:pt x="22" y="38"/>
                    <a:pt x="22" y="38"/>
                  </a:cubicBezTo>
                  <a:cubicBezTo>
                    <a:pt x="22" y="39"/>
                    <a:pt x="21" y="40"/>
                    <a:pt x="20" y="41"/>
                  </a:cubicBezTo>
                  <a:cubicBezTo>
                    <a:pt x="19" y="42"/>
                    <a:pt x="19" y="42"/>
                    <a:pt x="19" y="42"/>
                  </a:cubicBezTo>
                  <a:cubicBezTo>
                    <a:pt x="17" y="44"/>
                    <a:pt x="15" y="45"/>
                    <a:pt x="12" y="45"/>
                  </a:cubicBezTo>
                  <a:cubicBezTo>
                    <a:pt x="11" y="45"/>
                    <a:pt x="11" y="45"/>
                    <a:pt x="11" y="45"/>
                  </a:cubicBezTo>
                  <a:cubicBezTo>
                    <a:pt x="10" y="45"/>
                    <a:pt x="10" y="45"/>
                    <a:pt x="10" y="45"/>
                  </a:cubicBezTo>
                  <a:cubicBezTo>
                    <a:pt x="9" y="44"/>
                    <a:pt x="9" y="44"/>
                    <a:pt x="9" y="44"/>
                  </a:cubicBezTo>
                  <a:cubicBezTo>
                    <a:pt x="8" y="44"/>
                    <a:pt x="8" y="44"/>
                    <a:pt x="8" y="44"/>
                  </a:cubicBezTo>
                  <a:cubicBezTo>
                    <a:pt x="8" y="44"/>
                    <a:pt x="8" y="44"/>
                    <a:pt x="8" y="44"/>
                  </a:cubicBezTo>
                  <a:cubicBezTo>
                    <a:pt x="6" y="43"/>
                    <a:pt x="6" y="41"/>
                    <a:pt x="4" y="40"/>
                  </a:cubicBezTo>
                  <a:cubicBezTo>
                    <a:pt x="3" y="42"/>
                    <a:pt x="0" y="43"/>
                    <a:pt x="2" y="45"/>
                  </a:cubicBezTo>
                  <a:cubicBezTo>
                    <a:pt x="6" y="48"/>
                    <a:pt x="10" y="52"/>
                    <a:pt x="14" y="55"/>
                  </a:cubicBezTo>
                  <a:cubicBezTo>
                    <a:pt x="17" y="56"/>
                    <a:pt x="19" y="58"/>
                    <a:pt x="21" y="60"/>
                  </a:cubicBezTo>
                  <a:cubicBezTo>
                    <a:pt x="23" y="61"/>
                    <a:pt x="24" y="63"/>
                    <a:pt x="25" y="65"/>
                  </a:cubicBezTo>
                  <a:cubicBezTo>
                    <a:pt x="29" y="73"/>
                    <a:pt x="38" y="79"/>
                    <a:pt x="45" y="85"/>
                  </a:cubicBezTo>
                  <a:cubicBezTo>
                    <a:pt x="46" y="84"/>
                    <a:pt x="46" y="84"/>
                    <a:pt x="46" y="84"/>
                  </a:cubicBezTo>
                  <a:cubicBezTo>
                    <a:pt x="46" y="83"/>
                    <a:pt x="46" y="83"/>
                    <a:pt x="46" y="83"/>
                  </a:cubicBezTo>
                  <a:cubicBezTo>
                    <a:pt x="47" y="83"/>
                    <a:pt x="47" y="83"/>
                    <a:pt x="47" y="83"/>
                  </a:cubicBezTo>
                  <a:cubicBezTo>
                    <a:pt x="48" y="82"/>
                    <a:pt x="48" y="82"/>
                    <a:pt x="48" y="82"/>
                  </a:cubicBezTo>
                  <a:cubicBezTo>
                    <a:pt x="48" y="82"/>
                    <a:pt x="49" y="81"/>
                    <a:pt x="50" y="81"/>
                  </a:cubicBezTo>
                  <a:cubicBezTo>
                    <a:pt x="50" y="81"/>
                    <a:pt x="50" y="82"/>
                    <a:pt x="50" y="82"/>
                  </a:cubicBezTo>
                  <a:cubicBezTo>
                    <a:pt x="50" y="82"/>
                    <a:pt x="51" y="82"/>
                    <a:pt x="51" y="82"/>
                  </a:cubicBezTo>
                  <a:cubicBezTo>
                    <a:pt x="51" y="82"/>
                    <a:pt x="52" y="82"/>
                    <a:pt x="52" y="82"/>
                  </a:cubicBezTo>
                  <a:cubicBezTo>
                    <a:pt x="53" y="82"/>
                    <a:pt x="53" y="82"/>
                    <a:pt x="53" y="82"/>
                  </a:cubicBezTo>
                  <a:cubicBezTo>
                    <a:pt x="50" y="81"/>
                    <a:pt x="48" y="80"/>
                    <a:pt x="46" y="77"/>
                  </a:cubicBezTo>
                  <a:cubicBezTo>
                    <a:pt x="44" y="75"/>
                    <a:pt x="44" y="72"/>
                    <a:pt x="43" y="69"/>
                  </a:cubicBezTo>
                  <a:cubicBezTo>
                    <a:pt x="43" y="66"/>
                    <a:pt x="43" y="63"/>
                    <a:pt x="46" y="63"/>
                  </a:cubicBezTo>
                  <a:cubicBezTo>
                    <a:pt x="47" y="63"/>
                    <a:pt x="48" y="63"/>
                    <a:pt x="49" y="64"/>
                  </a:cubicBezTo>
                  <a:cubicBezTo>
                    <a:pt x="54" y="65"/>
                    <a:pt x="71" y="80"/>
                    <a:pt x="69" y="86"/>
                  </a:cubicBezTo>
                  <a:cubicBezTo>
                    <a:pt x="70" y="86"/>
                    <a:pt x="72" y="86"/>
                    <a:pt x="73" y="86"/>
                  </a:cubicBezTo>
                  <a:cubicBezTo>
                    <a:pt x="73" y="86"/>
                    <a:pt x="74" y="86"/>
                    <a:pt x="74" y="86"/>
                  </a:cubicBezTo>
                  <a:cubicBezTo>
                    <a:pt x="74" y="86"/>
                    <a:pt x="74" y="86"/>
                    <a:pt x="74" y="86"/>
                  </a:cubicBezTo>
                  <a:cubicBezTo>
                    <a:pt x="76" y="86"/>
                    <a:pt x="78" y="87"/>
                    <a:pt x="81" y="89"/>
                  </a:cubicBezTo>
                  <a:cubicBezTo>
                    <a:pt x="82" y="90"/>
                    <a:pt x="82" y="90"/>
                    <a:pt x="82" y="90"/>
                  </a:cubicBezTo>
                  <a:cubicBezTo>
                    <a:pt x="84" y="91"/>
                    <a:pt x="85" y="91"/>
                    <a:pt x="87" y="91"/>
                  </a:cubicBezTo>
                  <a:cubicBezTo>
                    <a:pt x="89" y="91"/>
                    <a:pt x="89" y="91"/>
                    <a:pt x="89" y="91"/>
                  </a:cubicBezTo>
                  <a:cubicBezTo>
                    <a:pt x="90" y="91"/>
                    <a:pt x="90" y="91"/>
                    <a:pt x="90" y="91"/>
                  </a:cubicBezTo>
                  <a:cubicBezTo>
                    <a:pt x="91" y="91"/>
                    <a:pt x="91" y="91"/>
                    <a:pt x="91" y="91"/>
                  </a:cubicBezTo>
                  <a:cubicBezTo>
                    <a:pt x="91" y="91"/>
                    <a:pt x="91" y="91"/>
                    <a:pt x="91" y="91"/>
                  </a:cubicBezTo>
                  <a:cubicBezTo>
                    <a:pt x="91" y="91"/>
                    <a:pt x="92" y="90"/>
                    <a:pt x="92" y="89"/>
                  </a:cubicBezTo>
                  <a:cubicBezTo>
                    <a:pt x="91" y="87"/>
                    <a:pt x="90" y="84"/>
                    <a:pt x="90" y="82"/>
                  </a:cubicBezTo>
                  <a:cubicBezTo>
                    <a:pt x="90" y="80"/>
                    <a:pt x="92" y="75"/>
                    <a:pt x="95" y="75"/>
                  </a:cubicBezTo>
                  <a:cubicBezTo>
                    <a:pt x="91" y="68"/>
                    <a:pt x="90" y="70"/>
                    <a:pt x="92" y="62"/>
                  </a:cubicBezTo>
                  <a:cubicBezTo>
                    <a:pt x="93" y="63"/>
                    <a:pt x="94" y="65"/>
                    <a:pt x="94" y="66"/>
                  </a:cubicBezTo>
                  <a:cubicBezTo>
                    <a:pt x="95" y="62"/>
                    <a:pt x="94" y="59"/>
                    <a:pt x="93" y="55"/>
                  </a:cubicBezTo>
                  <a:cubicBezTo>
                    <a:pt x="93" y="54"/>
                    <a:pt x="92" y="54"/>
                    <a:pt x="92" y="54"/>
                  </a:cubicBezTo>
                  <a:cubicBezTo>
                    <a:pt x="92" y="54"/>
                    <a:pt x="92" y="54"/>
                    <a:pt x="92" y="54"/>
                  </a:cubicBezTo>
                  <a:cubicBezTo>
                    <a:pt x="92" y="52"/>
                    <a:pt x="96" y="52"/>
                    <a:pt x="97" y="49"/>
                  </a:cubicBezTo>
                  <a:cubicBezTo>
                    <a:pt x="97" y="52"/>
                    <a:pt x="96" y="54"/>
                    <a:pt x="96" y="57"/>
                  </a:cubicBezTo>
                  <a:cubicBezTo>
                    <a:pt x="96" y="57"/>
                    <a:pt x="96" y="57"/>
                    <a:pt x="96" y="57"/>
                  </a:cubicBezTo>
                  <a:cubicBezTo>
                    <a:pt x="96" y="57"/>
                    <a:pt x="97" y="57"/>
                    <a:pt x="97" y="57"/>
                  </a:cubicBezTo>
                  <a:cubicBezTo>
                    <a:pt x="100" y="57"/>
                    <a:pt x="98" y="50"/>
                    <a:pt x="98" y="49"/>
                  </a:cubicBezTo>
                  <a:cubicBezTo>
                    <a:pt x="98" y="41"/>
                    <a:pt x="99" y="36"/>
                    <a:pt x="100" y="28"/>
                  </a:cubicBezTo>
                  <a:cubicBezTo>
                    <a:pt x="101" y="24"/>
                    <a:pt x="102" y="19"/>
                    <a:pt x="103" y="15"/>
                  </a:cubicBezTo>
                  <a:cubicBezTo>
                    <a:pt x="104" y="14"/>
                    <a:pt x="105" y="13"/>
                    <a:pt x="105" y="12"/>
                  </a:cubicBezTo>
                  <a:cubicBezTo>
                    <a:pt x="106" y="9"/>
                    <a:pt x="104" y="1"/>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351"/>
            <p:cNvSpPr>
              <a:spLocks noChangeArrowheads="1"/>
            </p:cNvSpPr>
            <p:nvPr/>
          </p:nvSpPr>
          <p:spPr bwMode="auto">
            <a:xfrm>
              <a:off x="8099416" y="7903397"/>
              <a:ext cx="15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52"/>
            <p:cNvSpPr/>
            <p:nvPr/>
          </p:nvSpPr>
          <p:spPr bwMode="auto">
            <a:xfrm flipH="1">
              <a:off x="8099416" y="7903397"/>
              <a:ext cx="0" cy="4763"/>
            </a:xfrm>
            <a:custGeom>
              <a:gdLst>
                <a:gd name="T0" fmla="*/ 0 h 3"/>
                <a:gd name="T1" fmla="*/ 3 h 3"/>
                <a:gd name="T2" fmla="*/ 3 h 3"/>
                <a:gd name="T3" fmla="*/ 0 h 3"/>
              </a:gd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53"/>
            <p:cNvSpPr/>
            <p:nvPr/>
          </p:nvSpPr>
          <p:spPr bwMode="auto">
            <a:xfrm>
              <a:off x="8132754" y="7877997"/>
              <a:ext cx="3175" cy="0"/>
            </a:xfrm>
            <a:custGeom>
              <a:gdLst>
                <a:gd name="T0" fmla="*/ 0 w 2"/>
                <a:gd name="T1" fmla="*/ 0 w 2"/>
                <a:gd name="T2" fmla="*/ 0 w 2"/>
                <a:gd name="T3" fmla="*/ 2 w 2"/>
                <a:gd name="T4" fmla="*/ 0 w 2"/>
              </a:gd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354"/>
            <p:cNvSpPr/>
            <p:nvPr/>
          </p:nvSpPr>
          <p:spPr bwMode="auto">
            <a:xfrm>
              <a:off x="8132754" y="7877997"/>
              <a:ext cx="3175" cy="0"/>
            </a:xfrm>
            <a:custGeom>
              <a:gdLst>
                <a:gd name="T0" fmla="*/ 0 w 2"/>
                <a:gd name="T1" fmla="*/ 0 w 2"/>
                <a:gd name="T2" fmla="*/ 0 w 2"/>
                <a:gd name="T3" fmla="*/ 2 w 2"/>
                <a:gd name="T4" fmla="*/ 0 w 2"/>
              </a:gd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355"/>
            <p:cNvSpPr/>
            <p:nvPr/>
          </p:nvSpPr>
          <p:spPr bwMode="auto">
            <a:xfrm>
              <a:off x="8083541" y="7877997"/>
              <a:ext cx="187325" cy="101600"/>
            </a:xfrm>
            <a:custGeom>
              <a:gdLst>
                <a:gd name="T0" fmla="*/ 16 w 50"/>
                <a:gd name="T1" fmla="*/ 0 h 27"/>
                <a:gd name="T2" fmla="*/ 15 w 50"/>
                <a:gd name="T3" fmla="*/ 1 h 27"/>
                <a:gd name="T4" fmla="*/ 15 w 50"/>
                <a:gd name="T5" fmla="*/ 0 h 27"/>
                <a:gd name="T6" fmla="*/ 13 w 50"/>
                <a:gd name="T7" fmla="*/ 1 h 27"/>
                <a:gd name="T8" fmla="*/ 13 w 50"/>
                <a:gd name="T9" fmla="*/ 3 h 27"/>
                <a:gd name="T10" fmla="*/ 9 w 50"/>
                <a:gd name="T11" fmla="*/ 6 h 27"/>
                <a:gd name="T12" fmla="*/ 8 w 50"/>
                <a:gd name="T13" fmla="*/ 6 h 27"/>
                <a:gd name="T14" fmla="*/ 8 w 50"/>
                <a:gd name="T15" fmla="*/ 6 h 27"/>
                <a:gd name="T16" fmla="*/ 8 w 50"/>
                <a:gd name="T17" fmla="*/ 6 h 27"/>
                <a:gd name="T18" fmla="*/ 9 w 50"/>
                <a:gd name="T19" fmla="*/ 14 h 27"/>
                <a:gd name="T20" fmla="*/ 4 w 50"/>
                <a:gd name="T21" fmla="*/ 9 h 27"/>
                <a:gd name="T22" fmla="*/ 4 w 50"/>
                <a:gd name="T23" fmla="*/ 9 h 27"/>
                <a:gd name="T24" fmla="*/ 2 w 50"/>
                <a:gd name="T25" fmla="*/ 10 h 27"/>
                <a:gd name="T26" fmla="*/ 0 w 50"/>
                <a:gd name="T27" fmla="*/ 14 h 27"/>
                <a:gd name="T28" fmla="*/ 0 w 50"/>
                <a:gd name="T29" fmla="*/ 15 h 27"/>
                <a:gd name="T30" fmla="*/ 12 w 50"/>
                <a:gd name="T31" fmla="*/ 19 h 27"/>
                <a:gd name="T32" fmla="*/ 27 w 50"/>
                <a:gd name="T33" fmla="*/ 25 h 27"/>
                <a:gd name="T34" fmla="*/ 43 w 50"/>
                <a:gd name="T35" fmla="*/ 27 h 27"/>
                <a:gd name="T36" fmla="*/ 47 w 50"/>
                <a:gd name="T37" fmla="*/ 27 h 27"/>
                <a:gd name="T38" fmla="*/ 48 w 50"/>
                <a:gd name="T39" fmla="*/ 27 h 27"/>
                <a:gd name="T40" fmla="*/ 50 w 50"/>
                <a:gd name="T41" fmla="*/ 23 h 27"/>
                <a:gd name="T42" fmla="*/ 49 w 50"/>
                <a:gd name="T43" fmla="*/ 23 h 27"/>
                <a:gd name="T44" fmla="*/ 49 w 50"/>
                <a:gd name="T45" fmla="*/ 22 h 27"/>
                <a:gd name="T46" fmla="*/ 49 w 50"/>
                <a:gd name="T47" fmla="*/ 20 h 27"/>
                <a:gd name="T48" fmla="*/ 49 w 50"/>
                <a:gd name="T49" fmla="*/ 20 h 27"/>
                <a:gd name="T50" fmla="*/ 49 w 50"/>
                <a:gd name="T51" fmla="*/ 16 h 27"/>
                <a:gd name="T52" fmla="*/ 49 w 50"/>
                <a:gd name="T53" fmla="*/ 15 h 27"/>
                <a:gd name="T54" fmla="*/ 50 w 50"/>
                <a:gd name="T55" fmla="*/ 13 h 27"/>
                <a:gd name="T56" fmla="*/ 49 w 50"/>
                <a:gd name="T57" fmla="*/ 13 h 27"/>
                <a:gd name="T58" fmla="*/ 48 w 50"/>
                <a:gd name="T59" fmla="*/ 13 h 27"/>
                <a:gd name="T60" fmla="*/ 48 w 50"/>
                <a:gd name="T61" fmla="*/ 13 h 27"/>
                <a:gd name="T62" fmla="*/ 47 w 50"/>
                <a:gd name="T63" fmla="*/ 13 h 27"/>
                <a:gd name="T64" fmla="*/ 47 w 50"/>
                <a:gd name="T65" fmla="*/ 13 h 27"/>
                <a:gd name="T66" fmla="*/ 46 w 50"/>
                <a:gd name="T67" fmla="*/ 12 h 27"/>
                <a:gd name="T68" fmla="*/ 43 w 50"/>
                <a:gd name="T69" fmla="*/ 11 h 27"/>
                <a:gd name="T70" fmla="*/ 43 w 50"/>
                <a:gd name="T71" fmla="*/ 10 h 27"/>
                <a:gd name="T72" fmla="*/ 42 w 50"/>
                <a:gd name="T73" fmla="*/ 10 h 27"/>
                <a:gd name="T74" fmla="*/ 42 w 50"/>
                <a:gd name="T75" fmla="*/ 10 h 27"/>
                <a:gd name="T76" fmla="*/ 41 w 50"/>
                <a:gd name="T77" fmla="*/ 11 h 27"/>
                <a:gd name="T78" fmla="*/ 39 w 50"/>
                <a:gd name="T79" fmla="*/ 12 h 27"/>
                <a:gd name="T80" fmla="*/ 37 w 50"/>
                <a:gd name="T81" fmla="*/ 13 h 27"/>
                <a:gd name="T82" fmla="*/ 35 w 50"/>
                <a:gd name="T83" fmla="*/ 13 h 27"/>
                <a:gd name="T84" fmla="*/ 31 w 50"/>
                <a:gd name="T85" fmla="*/ 14 h 27"/>
                <a:gd name="T86" fmla="*/ 32 w 50"/>
                <a:gd name="T87" fmla="*/ 10 h 27"/>
                <a:gd name="T88" fmla="*/ 31 w 50"/>
                <a:gd name="T89" fmla="*/ 10 h 27"/>
                <a:gd name="T90" fmla="*/ 30 w 50"/>
                <a:gd name="T91" fmla="*/ 10 h 27"/>
                <a:gd name="T92" fmla="*/ 27 w 50"/>
                <a:gd name="T93" fmla="*/ 7 h 27"/>
                <a:gd name="T94" fmla="*/ 27 w 50"/>
                <a:gd name="T95" fmla="*/ 7 h 27"/>
                <a:gd name="T96" fmla="*/ 25 w 50"/>
                <a:gd name="T97" fmla="*/ 6 h 27"/>
                <a:gd name="T98" fmla="*/ 21 w 50"/>
                <a:gd name="T99" fmla="*/ 10 h 27"/>
                <a:gd name="T100" fmla="*/ 24 w 50"/>
                <a:gd name="T101" fmla="*/ 5 h 27"/>
                <a:gd name="T102" fmla="*/ 21 w 50"/>
                <a:gd name="T103" fmla="*/ 3 h 27"/>
                <a:gd name="T104" fmla="*/ 19 w 50"/>
                <a:gd name="T105" fmla="*/ 1 h 27"/>
                <a:gd name="T106" fmla="*/ 19 w 50"/>
                <a:gd name="T107" fmla="*/ 1 h 27"/>
                <a:gd name="T108" fmla="*/ 16 w 50"/>
                <a:gd name="T109" fmla="*/ 0 h 27"/>
                <a:gd name="T110" fmla="*/ 16 w 50"/>
                <a:gd name="T111"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27">
                  <a:moveTo>
                    <a:pt x="16" y="0"/>
                  </a:moveTo>
                  <a:cubicBezTo>
                    <a:pt x="15" y="1"/>
                    <a:pt x="15" y="1"/>
                    <a:pt x="15" y="1"/>
                  </a:cubicBezTo>
                  <a:cubicBezTo>
                    <a:pt x="15" y="0"/>
                    <a:pt x="15" y="0"/>
                    <a:pt x="15" y="0"/>
                  </a:cubicBezTo>
                  <a:cubicBezTo>
                    <a:pt x="13" y="1"/>
                    <a:pt x="13" y="1"/>
                    <a:pt x="13" y="1"/>
                  </a:cubicBezTo>
                  <a:cubicBezTo>
                    <a:pt x="13" y="2"/>
                    <a:pt x="13" y="2"/>
                    <a:pt x="13" y="3"/>
                  </a:cubicBezTo>
                  <a:cubicBezTo>
                    <a:pt x="12" y="5"/>
                    <a:pt x="10" y="6"/>
                    <a:pt x="9" y="6"/>
                  </a:cubicBezTo>
                  <a:cubicBezTo>
                    <a:pt x="8" y="6"/>
                    <a:pt x="8" y="6"/>
                    <a:pt x="8" y="6"/>
                  </a:cubicBezTo>
                  <a:cubicBezTo>
                    <a:pt x="8" y="6"/>
                    <a:pt x="8" y="6"/>
                    <a:pt x="8" y="6"/>
                  </a:cubicBezTo>
                  <a:cubicBezTo>
                    <a:pt x="8" y="6"/>
                    <a:pt x="8" y="6"/>
                    <a:pt x="8" y="6"/>
                  </a:cubicBezTo>
                  <a:cubicBezTo>
                    <a:pt x="9" y="14"/>
                    <a:pt x="9" y="14"/>
                    <a:pt x="9" y="14"/>
                  </a:cubicBezTo>
                  <a:cubicBezTo>
                    <a:pt x="4" y="9"/>
                    <a:pt x="4" y="9"/>
                    <a:pt x="4" y="9"/>
                  </a:cubicBezTo>
                  <a:cubicBezTo>
                    <a:pt x="4" y="9"/>
                    <a:pt x="4" y="9"/>
                    <a:pt x="4" y="9"/>
                  </a:cubicBezTo>
                  <a:cubicBezTo>
                    <a:pt x="3" y="9"/>
                    <a:pt x="2" y="10"/>
                    <a:pt x="2" y="10"/>
                  </a:cubicBezTo>
                  <a:cubicBezTo>
                    <a:pt x="2" y="10"/>
                    <a:pt x="1" y="11"/>
                    <a:pt x="0" y="14"/>
                  </a:cubicBezTo>
                  <a:cubicBezTo>
                    <a:pt x="0" y="15"/>
                    <a:pt x="0" y="15"/>
                    <a:pt x="0" y="15"/>
                  </a:cubicBezTo>
                  <a:cubicBezTo>
                    <a:pt x="3" y="17"/>
                    <a:pt x="7" y="18"/>
                    <a:pt x="12" y="19"/>
                  </a:cubicBezTo>
                  <a:cubicBezTo>
                    <a:pt x="17" y="21"/>
                    <a:pt x="21" y="23"/>
                    <a:pt x="27" y="25"/>
                  </a:cubicBezTo>
                  <a:cubicBezTo>
                    <a:pt x="32" y="27"/>
                    <a:pt x="38" y="26"/>
                    <a:pt x="43" y="27"/>
                  </a:cubicBezTo>
                  <a:cubicBezTo>
                    <a:pt x="44" y="27"/>
                    <a:pt x="46" y="27"/>
                    <a:pt x="47" y="27"/>
                  </a:cubicBezTo>
                  <a:cubicBezTo>
                    <a:pt x="48" y="27"/>
                    <a:pt x="48" y="27"/>
                    <a:pt x="48" y="27"/>
                  </a:cubicBezTo>
                  <a:cubicBezTo>
                    <a:pt x="49" y="27"/>
                    <a:pt x="49" y="25"/>
                    <a:pt x="50" y="23"/>
                  </a:cubicBezTo>
                  <a:cubicBezTo>
                    <a:pt x="49" y="23"/>
                    <a:pt x="49" y="23"/>
                    <a:pt x="49" y="23"/>
                  </a:cubicBezTo>
                  <a:cubicBezTo>
                    <a:pt x="49" y="22"/>
                    <a:pt x="49" y="22"/>
                    <a:pt x="49" y="22"/>
                  </a:cubicBezTo>
                  <a:cubicBezTo>
                    <a:pt x="49" y="21"/>
                    <a:pt x="49" y="21"/>
                    <a:pt x="49" y="20"/>
                  </a:cubicBezTo>
                  <a:cubicBezTo>
                    <a:pt x="49" y="20"/>
                    <a:pt x="49" y="20"/>
                    <a:pt x="49" y="20"/>
                  </a:cubicBezTo>
                  <a:cubicBezTo>
                    <a:pt x="48" y="18"/>
                    <a:pt x="48" y="17"/>
                    <a:pt x="49" y="16"/>
                  </a:cubicBezTo>
                  <a:cubicBezTo>
                    <a:pt x="49" y="15"/>
                    <a:pt x="49" y="15"/>
                    <a:pt x="49" y="15"/>
                  </a:cubicBezTo>
                  <a:cubicBezTo>
                    <a:pt x="49" y="14"/>
                    <a:pt x="50" y="13"/>
                    <a:pt x="50" y="13"/>
                  </a:cubicBezTo>
                  <a:cubicBezTo>
                    <a:pt x="49" y="13"/>
                    <a:pt x="49" y="13"/>
                    <a:pt x="49" y="13"/>
                  </a:cubicBezTo>
                  <a:cubicBezTo>
                    <a:pt x="49" y="13"/>
                    <a:pt x="49" y="13"/>
                    <a:pt x="48" y="13"/>
                  </a:cubicBezTo>
                  <a:cubicBezTo>
                    <a:pt x="48" y="13"/>
                    <a:pt x="48" y="13"/>
                    <a:pt x="48" y="13"/>
                  </a:cubicBezTo>
                  <a:cubicBezTo>
                    <a:pt x="48" y="13"/>
                    <a:pt x="48" y="13"/>
                    <a:pt x="47" y="13"/>
                  </a:cubicBezTo>
                  <a:cubicBezTo>
                    <a:pt x="47" y="13"/>
                    <a:pt x="47" y="13"/>
                    <a:pt x="47" y="13"/>
                  </a:cubicBezTo>
                  <a:cubicBezTo>
                    <a:pt x="46" y="12"/>
                    <a:pt x="46" y="12"/>
                    <a:pt x="46" y="12"/>
                  </a:cubicBezTo>
                  <a:cubicBezTo>
                    <a:pt x="44" y="12"/>
                    <a:pt x="44" y="11"/>
                    <a:pt x="43" y="11"/>
                  </a:cubicBezTo>
                  <a:cubicBezTo>
                    <a:pt x="43" y="10"/>
                    <a:pt x="43" y="10"/>
                    <a:pt x="43" y="10"/>
                  </a:cubicBezTo>
                  <a:cubicBezTo>
                    <a:pt x="42" y="10"/>
                    <a:pt x="42" y="10"/>
                    <a:pt x="42" y="10"/>
                  </a:cubicBezTo>
                  <a:cubicBezTo>
                    <a:pt x="42" y="10"/>
                    <a:pt x="42" y="10"/>
                    <a:pt x="42" y="10"/>
                  </a:cubicBezTo>
                  <a:cubicBezTo>
                    <a:pt x="42" y="11"/>
                    <a:pt x="41" y="11"/>
                    <a:pt x="41" y="11"/>
                  </a:cubicBezTo>
                  <a:cubicBezTo>
                    <a:pt x="40" y="12"/>
                    <a:pt x="40" y="12"/>
                    <a:pt x="39" y="12"/>
                  </a:cubicBezTo>
                  <a:cubicBezTo>
                    <a:pt x="37" y="13"/>
                    <a:pt x="37" y="13"/>
                    <a:pt x="37" y="13"/>
                  </a:cubicBezTo>
                  <a:cubicBezTo>
                    <a:pt x="36" y="13"/>
                    <a:pt x="36" y="13"/>
                    <a:pt x="35" y="13"/>
                  </a:cubicBezTo>
                  <a:cubicBezTo>
                    <a:pt x="31" y="14"/>
                    <a:pt x="31" y="14"/>
                    <a:pt x="31" y="14"/>
                  </a:cubicBezTo>
                  <a:cubicBezTo>
                    <a:pt x="32" y="10"/>
                    <a:pt x="32" y="10"/>
                    <a:pt x="32" y="10"/>
                  </a:cubicBezTo>
                  <a:cubicBezTo>
                    <a:pt x="31" y="10"/>
                    <a:pt x="31" y="10"/>
                    <a:pt x="31" y="10"/>
                  </a:cubicBezTo>
                  <a:cubicBezTo>
                    <a:pt x="30" y="10"/>
                    <a:pt x="30" y="10"/>
                    <a:pt x="30" y="10"/>
                  </a:cubicBezTo>
                  <a:cubicBezTo>
                    <a:pt x="29" y="9"/>
                    <a:pt x="28" y="8"/>
                    <a:pt x="27" y="7"/>
                  </a:cubicBezTo>
                  <a:cubicBezTo>
                    <a:pt x="27" y="7"/>
                    <a:pt x="27" y="7"/>
                    <a:pt x="27" y="7"/>
                  </a:cubicBezTo>
                  <a:cubicBezTo>
                    <a:pt x="26" y="7"/>
                    <a:pt x="25" y="6"/>
                    <a:pt x="25" y="6"/>
                  </a:cubicBezTo>
                  <a:cubicBezTo>
                    <a:pt x="21" y="10"/>
                    <a:pt x="21" y="10"/>
                    <a:pt x="21" y="10"/>
                  </a:cubicBezTo>
                  <a:cubicBezTo>
                    <a:pt x="24" y="5"/>
                    <a:pt x="24" y="5"/>
                    <a:pt x="24" y="5"/>
                  </a:cubicBezTo>
                  <a:cubicBezTo>
                    <a:pt x="23" y="5"/>
                    <a:pt x="22" y="4"/>
                    <a:pt x="21" y="3"/>
                  </a:cubicBezTo>
                  <a:cubicBezTo>
                    <a:pt x="20" y="2"/>
                    <a:pt x="20" y="1"/>
                    <a:pt x="19" y="1"/>
                  </a:cubicBezTo>
                  <a:cubicBezTo>
                    <a:pt x="19" y="1"/>
                    <a:pt x="19" y="1"/>
                    <a:pt x="19" y="1"/>
                  </a:cubicBezTo>
                  <a:cubicBezTo>
                    <a:pt x="18" y="0"/>
                    <a:pt x="17" y="0"/>
                    <a:pt x="16" y="0"/>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356"/>
            <p:cNvSpPr/>
            <p:nvPr/>
          </p:nvSpPr>
          <p:spPr bwMode="auto">
            <a:xfrm>
              <a:off x="8162916" y="7724010"/>
              <a:ext cx="509588" cy="261938"/>
            </a:xfrm>
            <a:custGeom>
              <a:gdLst>
                <a:gd name="T0" fmla="*/ 60 w 136"/>
                <a:gd name="T1" fmla="*/ 6 h 70"/>
                <a:gd name="T2" fmla="*/ 53 w 136"/>
                <a:gd name="T3" fmla="*/ 6 h 70"/>
                <a:gd name="T4" fmla="*/ 32 w 136"/>
                <a:gd name="T5" fmla="*/ 3 h 70"/>
                <a:gd name="T6" fmla="*/ 23 w 136"/>
                <a:gd name="T7" fmla="*/ 8 h 70"/>
                <a:gd name="T8" fmla="*/ 16 w 136"/>
                <a:gd name="T9" fmla="*/ 14 h 70"/>
                <a:gd name="T10" fmla="*/ 7 w 136"/>
                <a:gd name="T11" fmla="*/ 21 h 70"/>
                <a:gd name="T12" fmla="*/ 1 w 136"/>
                <a:gd name="T13" fmla="*/ 25 h 70"/>
                <a:gd name="T14" fmla="*/ 3 w 136"/>
                <a:gd name="T15" fmla="*/ 25 h 70"/>
                <a:gd name="T16" fmla="*/ 1 w 136"/>
                <a:gd name="T17" fmla="*/ 32 h 70"/>
                <a:gd name="T18" fmla="*/ 0 w 136"/>
                <a:gd name="T19" fmla="*/ 36 h 70"/>
                <a:gd name="T20" fmla="*/ 7 w 136"/>
                <a:gd name="T21" fmla="*/ 42 h 70"/>
                <a:gd name="T22" fmla="*/ 14 w 136"/>
                <a:gd name="T23" fmla="*/ 46 h 70"/>
                <a:gd name="T24" fmla="*/ 17 w 136"/>
                <a:gd name="T25" fmla="*/ 48 h 70"/>
                <a:gd name="T26" fmla="*/ 21 w 136"/>
                <a:gd name="T27" fmla="*/ 45 h 70"/>
                <a:gd name="T28" fmla="*/ 26 w 136"/>
                <a:gd name="T29" fmla="*/ 48 h 70"/>
                <a:gd name="T30" fmla="*/ 34 w 136"/>
                <a:gd name="T31" fmla="*/ 54 h 70"/>
                <a:gd name="T32" fmla="*/ 33 w 136"/>
                <a:gd name="T33" fmla="*/ 58 h 70"/>
                <a:gd name="T34" fmla="*/ 33 w 136"/>
                <a:gd name="T35" fmla="*/ 62 h 70"/>
                <a:gd name="T36" fmla="*/ 36 w 136"/>
                <a:gd name="T37" fmla="*/ 65 h 70"/>
                <a:gd name="T38" fmla="*/ 42 w 136"/>
                <a:gd name="T39" fmla="*/ 69 h 70"/>
                <a:gd name="T40" fmla="*/ 47 w 136"/>
                <a:gd name="T41" fmla="*/ 67 h 70"/>
                <a:gd name="T42" fmla="*/ 48 w 136"/>
                <a:gd name="T43" fmla="*/ 65 h 70"/>
                <a:gd name="T44" fmla="*/ 52 w 136"/>
                <a:gd name="T45" fmla="*/ 62 h 70"/>
                <a:gd name="T46" fmla="*/ 59 w 136"/>
                <a:gd name="T47" fmla="*/ 50 h 70"/>
                <a:gd name="T48" fmla="*/ 66 w 136"/>
                <a:gd name="T49" fmla="*/ 47 h 70"/>
                <a:gd name="T50" fmla="*/ 72 w 136"/>
                <a:gd name="T51" fmla="*/ 43 h 70"/>
                <a:gd name="T52" fmla="*/ 74 w 136"/>
                <a:gd name="T53" fmla="*/ 47 h 70"/>
                <a:gd name="T54" fmla="*/ 77 w 136"/>
                <a:gd name="T55" fmla="*/ 48 h 70"/>
                <a:gd name="T56" fmla="*/ 86 w 136"/>
                <a:gd name="T57" fmla="*/ 40 h 70"/>
                <a:gd name="T58" fmla="*/ 88 w 136"/>
                <a:gd name="T59" fmla="*/ 37 h 70"/>
                <a:gd name="T60" fmla="*/ 91 w 136"/>
                <a:gd name="T61" fmla="*/ 32 h 70"/>
                <a:gd name="T62" fmla="*/ 99 w 136"/>
                <a:gd name="T63" fmla="*/ 26 h 70"/>
                <a:gd name="T64" fmla="*/ 104 w 136"/>
                <a:gd name="T65" fmla="*/ 29 h 70"/>
                <a:gd name="T66" fmla="*/ 109 w 136"/>
                <a:gd name="T67" fmla="*/ 30 h 70"/>
                <a:gd name="T68" fmla="*/ 112 w 136"/>
                <a:gd name="T69" fmla="*/ 29 h 70"/>
                <a:gd name="T70" fmla="*/ 123 w 136"/>
                <a:gd name="T71" fmla="*/ 26 h 70"/>
                <a:gd name="T72" fmla="*/ 134 w 136"/>
                <a:gd name="T73" fmla="*/ 23 h 70"/>
                <a:gd name="T74" fmla="*/ 124 w 136"/>
                <a:gd name="T75" fmla="*/ 20 h 70"/>
                <a:gd name="T76" fmla="*/ 117 w 136"/>
                <a:gd name="T77" fmla="*/ 17 h 70"/>
                <a:gd name="T78" fmla="*/ 124 w 136"/>
                <a:gd name="T79" fmla="*/ 15 h 70"/>
                <a:gd name="T80" fmla="*/ 110 w 136"/>
                <a:gd name="T81" fmla="*/ 6 h 70"/>
                <a:gd name="T82" fmla="*/ 95 w 136"/>
                <a:gd name="T83" fmla="*/ 1 h 70"/>
                <a:gd name="T84" fmla="*/ 87 w 136"/>
                <a:gd name="T85" fmla="*/ 3 h 70"/>
                <a:gd name="T86" fmla="*/ 72 w 136"/>
                <a:gd name="T87" fmla="*/ 0 h 7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0">
                  <a:moveTo>
                    <a:pt x="72" y="0"/>
                  </a:moveTo>
                  <a:cubicBezTo>
                    <a:pt x="74" y="1"/>
                    <a:pt x="73" y="2"/>
                    <a:pt x="71" y="3"/>
                  </a:cubicBezTo>
                  <a:cubicBezTo>
                    <a:pt x="67" y="4"/>
                    <a:pt x="63" y="6"/>
                    <a:pt x="60" y="6"/>
                  </a:cubicBezTo>
                  <a:cubicBezTo>
                    <a:pt x="59" y="6"/>
                    <a:pt x="59" y="6"/>
                    <a:pt x="59" y="6"/>
                  </a:cubicBezTo>
                  <a:cubicBezTo>
                    <a:pt x="58" y="6"/>
                    <a:pt x="57" y="6"/>
                    <a:pt x="57" y="6"/>
                  </a:cubicBezTo>
                  <a:cubicBezTo>
                    <a:pt x="55" y="6"/>
                    <a:pt x="54" y="6"/>
                    <a:pt x="53" y="6"/>
                  </a:cubicBezTo>
                  <a:cubicBezTo>
                    <a:pt x="52" y="6"/>
                    <a:pt x="50" y="6"/>
                    <a:pt x="49" y="6"/>
                  </a:cubicBezTo>
                  <a:cubicBezTo>
                    <a:pt x="48" y="6"/>
                    <a:pt x="47" y="6"/>
                    <a:pt x="46" y="6"/>
                  </a:cubicBezTo>
                  <a:cubicBezTo>
                    <a:pt x="41" y="5"/>
                    <a:pt x="37" y="4"/>
                    <a:pt x="32" y="3"/>
                  </a:cubicBezTo>
                  <a:cubicBezTo>
                    <a:pt x="32" y="3"/>
                    <a:pt x="32" y="3"/>
                    <a:pt x="32" y="3"/>
                  </a:cubicBezTo>
                  <a:cubicBezTo>
                    <a:pt x="29" y="3"/>
                    <a:pt x="25" y="5"/>
                    <a:pt x="22" y="7"/>
                  </a:cubicBezTo>
                  <a:cubicBezTo>
                    <a:pt x="23" y="8"/>
                    <a:pt x="23" y="8"/>
                    <a:pt x="23" y="8"/>
                  </a:cubicBezTo>
                  <a:cubicBezTo>
                    <a:pt x="22" y="9"/>
                    <a:pt x="22" y="9"/>
                    <a:pt x="22" y="9"/>
                  </a:cubicBezTo>
                  <a:cubicBezTo>
                    <a:pt x="20" y="10"/>
                    <a:pt x="18" y="12"/>
                    <a:pt x="17" y="13"/>
                  </a:cubicBezTo>
                  <a:cubicBezTo>
                    <a:pt x="16" y="14"/>
                    <a:pt x="16" y="14"/>
                    <a:pt x="16" y="14"/>
                  </a:cubicBezTo>
                  <a:cubicBezTo>
                    <a:pt x="15" y="15"/>
                    <a:pt x="15" y="15"/>
                    <a:pt x="14" y="16"/>
                  </a:cubicBezTo>
                  <a:cubicBezTo>
                    <a:pt x="12" y="17"/>
                    <a:pt x="10" y="19"/>
                    <a:pt x="8" y="21"/>
                  </a:cubicBezTo>
                  <a:cubicBezTo>
                    <a:pt x="7" y="21"/>
                    <a:pt x="7" y="21"/>
                    <a:pt x="7" y="21"/>
                  </a:cubicBezTo>
                  <a:cubicBezTo>
                    <a:pt x="6" y="22"/>
                    <a:pt x="5" y="23"/>
                    <a:pt x="4" y="23"/>
                  </a:cubicBezTo>
                  <a:cubicBezTo>
                    <a:pt x="3" y="24"/>
                    <a:pt x="3" y="24"/>
                    <a:pt x="3" y="24"/>
                  </a:cubicBezTo>
                  <a:cubicBezTo>
                    <a:pt x="2" y="24"/>
                    <a:pt x="1" y="24"/>
                    <a:pt x="1" y="25"/>
                  </a:cubicBezTo>
                  <a:cubicBezTo>
                    <a:pt x="1" y="25"/>
                    <a:pt x="1" y="26"/>
                    <a:pt x="0" y="26"/>
                  </a:cubicBezTo>
                  <a:cubicBezTo>
                    <a:pt x="0" y="27"/>
                    <a:pt x="0" y="27"/>
                    <a:pt x="0" y="27"/>
                  </a:cubicBezTo>
                  <a:cubicBezTo>
                    <a:pt x="3" y="25"/>
                    <a:pt x="3" y="25"/>
                    <a:pt x="3" y="25"/>
                  </a:cubicBezTo>
                  <a:cubicBezTo>
                    <a:pt x="0" y="29"/>
                    <a:pt x="0" y="29"/>
                    <a:pt x="0" y="29"/>
                  </a:cubicBezTo>
                  <a:cubicBezTo>
                    <a:pt x="1" y="29"/>
                    <a:pt x="1" y="29"/>
                    <a:pt x="1" y="30"/>
                  </a:cubicBezTo>
                  <a:cubicBezTo>
                    <a:pt x="1" y="31"/>
                    <a:pt x="1" y="31"/>
                    <a:pt x="1" y="32"/>
                  </a:cubicBezTo>
                  <a:cubicBezTo>
                    <a:pt x="1" y="33"/>
                    <a:pt x="1" y="34"/>
                    <a:pt x="1" y="34"/>
                  </a:cubicBezTo>
                  <a:cubicBezTo>
                    <a:pt x="1" y="35"/>
                    <a:pt x="1" y="35"/>
                    <a:pt x="1" y="35"/>
                  </a:cubicBezTo>
                  <a:cubicBezTo>
                    <a:pt x="0" y="35"/>
                    <a:pt x="0" y="36"/>
                    <a:pt x="0" y="36"/>
                  </a:cubicBezTo>
                  <a:cubicBezTo>
                    <a:pt x="1" y="36"/>
                    <a:pt x="2" y="37"/>
                    <a:pt x="4" y="39"/>
                  </a:cubicBezTo>
                  <a:cubicBezTo>
                    <a:pt x="5" y="40"/>
                    <a:pt x="6" y="41"/>
                    <a:pt x="6" y="42"/>
                  </a:cubicBezTo>
                  <a:cubicBezTo>
                    <a:pt x="7" y="42"/>
                    <a:pt x="7" y="42"/>
                    <a:pt x="7" y="42"/>
                  </a:cubicBezTo>
                  <a:cubicBezTo>
                    <a:pt x="8" y="43"/>
                    <a:pt x="9" y="43"/>
                    <a:pt x="9" y="44"/>
                  </a:cubicBezTo>
                  <a:cubicBezTo>
                    <a:pt x="10" y="44"/>
                    <a:pt x="10" y="45"/>
                    <a:pt x="11" y="45"/>
                  </a:cubicBezTo>
                  <a:cubicBezTo>
                    <a:pt x="12" y="45"/>
                    <a:pt x="13" y="46"/>
                    <a:pt x="14" y="46"/>
                  </a:cubicBezTo>
                  <a:cubicBezTo>
                    <a:pt x="15" y="47"/>
                    <a:pt x="16" y="47"/>
                    <a:pt x="16" y="48"/>
                  </a:cubicBezTo>
                  <a:cubicBezTo>
                    <a:pt x="16" y="48"/>
                    <a:pt x="16" y="48"/>
                    <a:pt x="16" y="48"/>
                  </a:cubicBezTo>
                  <a:cubicBezTo>
                    <a:pt x="17" y="48"/>
                    <a:pt x="17" y="48"/>
                    <a:pt x="17" y="48"/>
                  </a:cubicBezTo>
                  <a:cubicBezTo>
                    <a:pt x="17" y="48"/>
                    <a:pt x="17" y="48"/>
                    <a:pt x="17" y="48"/>
                  </a:cubicBezTo>
                  <a:cubicBezTo>
                    <a:pt x="17" y="47"/>
                    <a:pt x="18" y="47"/>
                    <a:pt x="18" y="46"/>
                  </a:cubicBezTo>
                  <a:cubicBezTo>
                    <a:pt x="19" y="46"/>
                    <a:pt x="20" y="45"/>
                    <a:pt x="21" y="45"/>
                  </a:cubicBezTo>
                  <a:cubicBezTo>
                    <a:pt x="23" y="45"/>
                    <a:pt x="24" y="46"/>
                    <a:pt x="25" y="47"/>
                  </a:cubicBezTo>
                  <a:cubicBezTo>
                    <a:pt x="25" y="47"/>
                    <a:pt x="25" y="47"/>
                    <a:pt x="25" y="47"/>
                  </a:cubicBezTo>
                  <a:cubicBezTo>
                    <a:pt x="26" y="47"/>
                    <a:pt x="26" y="48"/>
                    <a:pt x="26" y="48"/>
                  </a:cubicBezTo>
                  <a:cubicBezTo>
                    <a:pt x="28" y="48"/>
                    <a:pt x="30" y="48"/>
                    <a:pt x="32" y="49"/>
                  </a:cubicBezTo>
                  <a:cubicBezTo>
                    <a:pt x="32" y="49"/>
                    <a:pt x="32" y="49"/>
                    <a:pt x="32" y="49"/>
                  </a:cubicBezTo>
                  <a:cubicBezTo>
                    <a:pt x="34" y="50"/>
                    <a:pt x="34" y="52"/>
                    <a:pt x="34" y="54"/>
                  </a:cubicBezTo>
                  <a:cubicBezTo>
                    <a:pt x="34" y="55"/>
                    <a:pt x="34" y="56"/>
                    <a:pt x="34" y="57"/>
                  </a:cubicBezTo>
                  <a:cubicBezTo>
                    <a:pt x="33" y="58"/>
                    <a:pt x="33" y="58"/>
                    <a:pt x="33" y="58"/>
                  </a:cubicBezTo>
                  <a:cubicBezTo>
                    <a:pt x="33" y="58"/>
                    <a:pt x="33" y="58"/>
                    <a:pt x="33" y="58"/>
                  </a:cubicBezTo>
                  <a:cubicBezTo>
                    <a:pt x="33" y="59"/>
                    <a:pt x="33" y="59"/>
                    <a:pt x="33" y="60"/>
                  </a:cubicBezTo>
                  <a:cubicBezTo>
                    <a:pt x="33" y="61"/>
                    <a:pt x="33" y="61"/>
                    <a:pt x="33" y="61"/>
                  </a:cubicBezTo>
                  <a:cubicBezTo>
                    <a:pt x="33" y="62"/>
                    <a:pt x="33" y="62"/>
                    <a:pt x="33" y="62"/>
                  </a:cubicBezTo>
                  <a:cubicBezTo>
                    <a:pt x="33" y="62"/>
                    <a:pt x="34" y="62"/>
                    <a:pt x="34" y="62"/>
                  </a:cubicBezTo>
                  <a:cubicBezTo>
                    <a:pt x="36" y="62"/>
                    <a:pt x="37" y="62"/>
                    <a:pt x="39" y="63"/>
                  </a:cubicBezTo>
                  <a:cubicBezTo>
                    <a:pt x="39" y="63"/>
                    <a:pt x="36" y="65"/>
                    <a:pt x="36" y="65"/>
                  </a:cubicBezTo>
                  <a:cubicBezTo>
                    <a:pt x="36" y="67"/>
                    <a:pt x="40" y="68"/>
                    <a:pt x="40" y="70"/>
                  </a:cubicBezTo>
                  <a:cubicBezTo>
                    <a:pt x="41" y="69"/>
                    <a:pt x="41" y="69"/>
                    <a:pt x="41" y="69"/>
                  </a:cubicBezTo>
                  <a:cubicBezTo>
                    <a:pt x="42" y="69"/>
                    <a:pt x="42" y="69"/>
                    <a:pt x="42" y="69"/>
                  </a:cubicBezTo>
                  <a:cubicBezTo>
                    <a:pt x="43" y="69"/>
                    <a:pt x="43" y="69"/>
                    <a:pt x="43" y="69"/>
                  </a:cubicBezTo>
                  <a:cubicBezTo>
                    <a:pt x="44" y="69"/>
                    <a:pt x="45" y="69"/>
                    <a:pt x="47" y="67"/>
                  </a:cubicBezTo>
                  <a:cubicBezTo>
                    <a:pt x="47" y="67"/>
                    <a:pt x="47" y="67"/>
                    <a:pt x="47" y="67"/>
                  </a:cubicBezTo>
                  <a:cubicBezTo>
                    <a:pt x="47" y="67"/>
                    <a:pt x="47" y="67"/>
                    <a:pt x="47" y="67"/>
                  </a:cubicBezTo>
                  <a:cubicBezTo>
                    <a:pt x="47" y="66"/>
                    <a:pt x="47" y="66"/>
                    <a:pt x="48" y="65"/>
                  </a:cubicBezTo>
                  <a:cubicBezTo>
                    <a:pt x="48" y="65"/>
                    <a:pt x="48" y="65"/>
                    <a:pt x="48" y="65"/>
                  </a:cubicBezTo>
                  <a:cubicBezTo>
                    <a:pt x="49" y="63"/>
                    <a:pt x="51" y="63"/>
                    <a:pt x="52" y="63"/>
                  </a:cubicBezTo>
                  <a:cubicBezTo>
                    <a:pt x="52" y="62"/>
                    <a:pt x="52" y="62"/>
                    <a:pt x="52" y="62"/>
                  </a:cubicBezTo>
                  <a:cubicBezTo>
                    <a:pt x="52" y="62"/>
                    <a:pt x="52" y="62"/>
                    <a:pt x="52" y="62"/>
                  </a:cubicBezTo>
                  <a:cubicBezTo>
                    <a:pt x="51" y="60"/>
                    <a:pt x="51" y="59"/>
                    <a:pt x="51" y="58"/>
                  </a:cubicBezTo>
                  <a:cubicBezTo>
                    <a:pt x="50" y="56"/>
                    <a:pt x="50" y="53"/>
                    <a:pt x="52" y="52"/>
                  </a:cubicBezTo>
                  <a:cubicBezTo>
                    <a:pt x="53" y="51"/>
                    <a:pt x="58" y="50"/>
                    <a:pt x="59" y="50"/>
                  </a:cubicBezTo>
                  <a:cubicBezTo>
                    <a:pt x="60" y="50"/>
                    <a:pt x="61" y="51"/>
                    <a:pt x="61" y="51"/>
                  </a:cubicBezTo>
                  <a:cubicBezTo>
                    <a:pt x="62" y="51"/>
                    <a:pt x="62" y="51"/>
                    <a:pt x="62" y="51"/>
                  </a:cubicBezTo>
                  <a:cubicBezTo>
                    <a:pt x="63" y="49"/>
                    <a:pt x="65" y="48"/>
                    <a:pt x="66" y="47"/>
                  </a:cubicBezTo>
                  <a:cubicBezTo>
                    <a:pt x="68" y="46"/>
                    <a:pt x="68" y="46"/>
                    <a:pt x="68" y="46"/>
                  </a:cubicBezTo>
                  <a:cubicBezTo>
                    <a:pt x="69" y="45"/>
                    <a:pt x="70" y="44"/>
                    <a:pt x="71" y="44"/>
                  </a:cubicBezTo>
                  <a:cubicBezTo>
                    <a:pt x="72" y="43"/>
                    <a:pt x="72" y="43"/>
                    <a:pt x="72" y="43"/>
                  </a:cubicBezTo>
                  <a:cubicBezTo>
                    <a:pt x="73" y="45"/>
                    <a:pt x="73" y="45"/>
                    <a:pt x="73" y="45"/>
                  </a:cubicBezTo>
                  <a:cubicBezTo>
                    <a:pt x="74" y="45"/>
                    <a:pt x="74" y="46"/>
                    <a:pt x="74" y="47"/>
                  </a:cubicBezTo>
                  <a:cubicBezTo>
                    <a:pt x="74" y="47"/>
                    <a:pt x="74" y="47"/>
                    <a:pt x="74" y="47"/>
                  </a:cubicBezTo>
                  <a:cubicBezTo>
                    <a:pt x="75" y="48"/>
                    <a:pt x="76" y="48"/>
                    <a:pt x="77" y="49"/>
                  </a:cubicBezTo>
                  <a:cubicBezTo>
                    <a:pt x="77" y="49"/>
                    <a:pt x="77" y="49"/>
                    <a:pt x="77" y="49"/>
                  </a:cubicBezTo>
                  <a:cubicBezTo>
                    <a:pt x="77" y="48"/>
                    <a:pt x="77" y="48"/>
                    <a:pt x="77" y="48"/>
                  </a:cubicBezTo>
                  <a:cubicBezTo>
                    <a:pt x="77" y="48"/>
                    <a:pt x="77" y="48"/>
                    <a:pt x="77" y="48"/>
                  </a:cubicBezTo>
                  <a:cubicBezTo>
                    <a:pt x="78" y="47"/>
                    <a:pt x="79" y="46"/>
                    <a:pt x="79" y="45"/>
                  </a:cubicBezTo>
                  <a:cubicBezTo>
                    <a:pt x="81" y="43"/>
                    <a:pt x="84" y="42"/>
                    <a:pt x="86" y="40"/>
                  </a:cubicBezTo>
                  <a:cubicBezTo>
                    <a:pt x="87" y="40"/>
                    <a:pt x="87" y="39"/>
                    <a:pt x="88" y="39"/>
                  </a:cubicBezTo>
                  <a:cubicBezTo>
                    <a:pt x="88" y="38"/>
                    <a:pt x="88" y="38"/>
                    <a:pt x="88" y="37"/>
                  </a:cubicBezTo>
                  <a:cubicBezTo>
                    <a:pt x="88" y="37"/>
                    <a:pt x="88" y="37"/>
                    <a:pt x="88" y="37"/>
                  </a:cubicBezTo>
                  <a:cubicBezTo>
                    <a:pt x="88" y="36"/>
                    <a:pt x="88" y="36"/>
                    <a:pt x="88" y="36"/>
                  </a:cubicBezTo>
                  <a:cubicBezTo>
                    <a:pt x="88" y="35"/>
                    <a:pt x="88" y="35"/>
                    <a:pt x="88" y="35"/>
                  </a:cubicBezTo>
                  <a:cubicBezTo>
                    <a:pt x="88" y="34"/>
                    <a:pt x="89" y="32"/>
                    <a:pt x="91" y="32"/>
                  </a:cubicBezTo>
                  <a:cubicBezTo>
                    <a:pt x="92" y="29"/>
                    <a:pt x="95" y="27"/>
                    <a:pt x="97" y="26"/>
                  </a:cubicBezTo>
                  <a:cubicBezTo>
                    <a:pt x="97" y="26"/>
                    <a:pt x="98" y="26"/>
                    <a:pt x="99" y="26"/>
                  </a:cubicBezTo>
                  <a:cubicBezTo>
                    <a:pt x="99" y="26"/>
                    <a:pt x="99" y="26"/>
                    <a:pt x="99" y="26"/>
                  </a:cubicBezTo>
                  <a:cubicBezTo>
                    <a:pt x="100" y="26"/>
                    <a:pt x="100" y="26"/>
                    <a:pt x="100" y="26"/>
                  </a:cubicBezTo>
                  <a:cubicBezTo>
                    <a:pt x="101" y="26"/>
                    <a:pt x="101" y="26"/>
                    <a:pt x="101" y="26"/>
                  </a:cubicBezTo>
                  <a:cubicBezTo>
                    <a:pt x="102" y="27"/>
                    <a:pt x="103" y="28"/>
                    <a:pt x="104" y="29"/>
                  </a:cubicBezTo>
                  <a:cubicBezTo>
                    <a:pt x="106" y="30"/>
                    <a:pt x="107" y="30"/>
                    <a:pt x="108" y="30"/>
                  </a:cubicBezTo>
                  <a:cubicBezTo>
                    <a:pt x="108" y="30"/>
                    <a:pt x="108" y="30"/>
                    <a:pt x="108" y="30"/>
                  </a:cubicBezTo>
                  <a:cubicBezTo>
                    <a:pt x="109" y="30"/>
                    <a:pt x="109" y="30"/>
                    <a:pt x="109" y="30"/>
                  </a:cubicBezTo>
                  <a:cubicBezTo>
                    <a:pt x="109" y="30"/>
                    <a:pt x="109" y="30"/>
                    <a:pt x="109" y="30"/>
                  </a:cubicBezTo>
                  <a:cubicBezTo>
                    <a:pt x="110" y="30"/>
                    <a:pt x="110" y="30"/>
                    <a:pt x="110" y="30"/>
                  </a:cubicBezTo>
                  <a:cubicBezTo>
                    <a:pt x="110" y="29"/>
                    <a:pt x="111" y="29"/>
                    <a:pt x="112" y="29"/>
                  </a:cubicBezTo>
                  <a:cubicBezTo>
                    <a:pt x="113" y="29"/>
                    <a:pt x="113" y="29"/>
                    <a:pt x="113" y="29"/>
                  </a:cubicBezTo>
                  <a:cubicBezTo>
                    <a:pt x="114" y="28"/>
                    <a:pt x="114" y="28"/>
                    <a:pt x="114" y="28"/>
                  </a:cubicBezTo>
                  <a:cubicBezTo>
                    <a:pt x="117" y="28"/>
                    <a:pt x="120" y="27"/>
                    <a:pt x="123" y="26"/>
                  </a:cubicBezTo>
                  <a:cubicBezTo>
                    <a:pt x="127" y="25"/>
                    <a:pt x="132" y="24"/>
                    <a:pt x="136" y="23"/>
                  </a:cubicBezTo>
                  <a:cubicBezTo>
                    <a:pt x="136" y="23"/>
                    <a:pt x="136" y="23"/>
                    <a:pt x="136" y="23"/>
                  </a:cubicBezTo>
                  <a:cubicBezTo>
                    <a:pt x="135" y="23"/>
                    <a:pt x="135" y="23"/>
                    <a:pt x="134" y="23"/>
                  </a:cubicBezTo>
                  <a:cubicBezTo>
                    <a:pt x="132" y="22"/>
                    <a:pt x="129" y="21"/>
                    <a:pt x="127" y="21"/>
                  </a:cubicBezTo>
                  <a:cubicBezTo>
                    <a:pt x="128" y="20"/>
                    <a:pt x="129" y="19"/>
                    <a:pt x="129" y="18"/>
                  </a:cubicBezTo>
                  <a:cubicBezTo>
                    <a:pt x="128" y="18"/>
                    <a:pt x="125" y="20"/>
                    <a:pt x="124" y="20"/>
                  </a:cubicBezTo>
                  <a:cubicBezTo>
                    <a:pt x="124" y="20"/>
                    <a:pt x="124" y="20"/>
                    <a:pt x="124" y="20"/>
                  </a:cubicBezTo>
                  <a:cubicBezTo>
                    <a:pt x="123" y="20"/>
                    <a:pt x="122" y="19"/>
                    <a:pt x="121" y="19"/>
                  </a:cubicBezTo>
                  <a:cubicBezTo>
                    <a:pt x="119" y="18"/>
                    <a:pt x="119" y="19"/>
                    <a:pt x="117" y="17"/>
                  </a:cubicBezTo>
                  <a:cubicBezTo>
                    <a:pt x="116" y="16"/>
                    <a:pt x="115" y="12"/>
                    <a:pt x="117" y="12"/>
                  </a:cubicBezTo>
                  <a:cubicBezTo>
                    <a:pt x="119" y="13"/>
                    <a:pt x="119" y="13"/>
                    <a:pt x="119" y="13"/>
                  </a:cubicBezTo>
                  <a:cubicBezTo>
                    <a:pt x="120" y="13"/>
                    <a:pt x="122" y="15"/>
                    <a:pt x="124" y="15"/>
                  </a:cubicBezTo>
                  <a:cubicBezTo>
                    <a:pt x="124" y="15"/>
                    <a:pt x="124" y="15"/>
                    <a:pt x="124" y="15"/>
                  </a:cubicBezTo>
                  <a:cubicBezTo>
                    <a:pt x="121" y="13"/>
                    <a:pt x="119" y="11"/>
                    <a:pt x="116" y="9"/>
                  </a:cubicBezTo>
                  <a:cubicBezTo>
                    <a:pt x="113" y="6"/>
                    <a:pt x="112" y="6"/>
                    <a:pt x="110" y="6"/>
                  </a:cubicBezTo>
                  <a:cubicBezTo>
                    <a:pt x="109" y="6"/>
                    <a:pt x="108" y="6"/>
                    <a:pt x="108" y="6"/>
                  </a:cubicBezTo>
                  <a:cubicBezTo>
                    <a:pt x="107" y="6"/>
                    <a:pt x="107" y="6"/>
                    <a:pt x="106" y="6"/>
                  </a:cubicBezTo>
                  <a:cubicBezTo>
                    <a:pt x="102" y="6"/>
                    <a:pt x="100" y="4"/>
                    <a:pt x="95" y="1"/>
                  </a:cubicBezTo>
                  <a:cubicBezTo>
                    <a:pt x="95" y="1"/>
                    <a:pt x="94" y="1"/>
                    <a:pt x="94" y="1"/>
                  </a:cubicBezTo>
                  <a:cubicBezTo>
                    <a:pt x="93" y="1"/>
                    <a:pt x="92" y="2"/>
                    <a:pt x="90" y="2"/>
                  </a:cubicBezTo>
                  <a:cubicBezTo>
                    <a:pt x="89" y="3"/>
                    <a:pt x="88" y="3"/>
                    <a:pt x="87" y="3"/>
                  </a:cubicBezTo>
                  <a:cubicBezTo>
                    <a:pt x="87" y="3"/>
                    <a:pt x="87" y="3"/>
                    <a:pt x="86" y="3"/>
                  </a:cubicBezTo>
                  <a:cubicBezTo>
                    <a:pt x="83" y="3"/>
                    <a:pt x="80" y="2"/>
                    <a:pt x="77" y="1"/>
                  </a:cubicBezTo>
                  <a:cubicBezTo>
                    <a:pt x="75" y="1"/>
                    <a:pt x="74" y="1"/>
                    <a:pt x="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357"/>
            <p:cNvSpPr>
              <a:spLocks noChangeArrowheads="1"/>
            </p:cNvSpPr>
            <p:nvPr/>
          </p:nvSpPr>
          <p:spPr bwMode="auto">
            <a:xfrm>
              <a:off x="8147041" y="781767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358"/>
            <p:cNvSpPr/>
            <p:nvPr/>
          </p:nvSpPr>
          <p:spPr bwMode="auto">
            <a:xfrm flipH="1">
              <a:off x="8147041" y="781767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359"/>
            <p:cNvSpPr/>
            <p:nvPr/>
          </p:nvSpPr>
          <p:spPr bwMode="auto">
            <a:xfrm>
              <a:off x="7896216" y="7573197"/>
              <a:ext cx="330200" cy="349250"/>
            </a:xfrm>
            <a:custGeom>
              <a:gdLst>
                <a:gd name="T0" fmla="*/ 29 w 88"/>
                <a:gd name="T1" fmla="*/ 0 h 93"/>
                <a:gd name="T2" fmla="*/ 29 w 88"/>
                <a:gd name="T3" fmla="*/ 10 h 93"/>
                <a:gd name="T4" fmla="*/ 29 w 88"/>
                <a:gd name="T5" fmla="*/ 11 h 93"/>
                <a:gd name="T6" fmla="*/ 24 w 88"/>
                <a:gd name="T7" fmla="*/ 14 h 93"/>
                <a:gd name="T8" fmla="*/ 29 w 88"/>
                <a:gd name="T9" fmla="*/ 18 h 93"/>
                <a:gd name="T10" fmla="*/ 32 w 88"/>
                <a:gd name="T11" fmla="*/ 21 h 93"/>
                <a:gd name="T12" fmla="*/ 38 w 88"/>
                <a:gd name="T13" fmla="*/ 27 h 93"/>
                <a:gd name="T14" fmla="*/ 41 w 88"/>
                <a:gd name="T15" fmla="*/ 29 h 93"/>
                <a:gd name="T16" fmla="*/ 43 w 88"/>
                <a:gd name="T17" fmla="*/ 34 h 93"/>
                <a:gd name="T18" fmla="*/ 43 w 88"/>
                <a:gd name="T19" fmla="*/ 36 h 93"/>
                <a:gd name="T20" fmla="*/ 38 w 88"/>
                <a:gd name="T21" fmla="*/ 42 h 93"/>
                <a:gd name="T22" fmla="*/ 23 w 88"/>
                <a:gd name="T23" fmla="*/ 42 h 93"/>
                <a:gd name="T24" fmla="*/ 15 w 88"/>
                <a:gd name="T25" fmla="*/ 42 h 93"/>
                <a:gd name="T26" fmla="*/ 11 w 88"/>
                <a:gd name="T27" fmla="*/ 44 h 93"/>
                <a:gd name="T28" fmla="*/ 9 w 88"/>
                <a:gd name="T29" fmla="*/ 46 h 93"/>
                <a:gd name="T30" fmla="*/ 2 w 88"/>
                <a:gd name="T31" fmla="*/ 56 h 93"/>
                <a:gd name="T32" fmla="*/ 2 w 88"/>
                <a:gd name="T33" fmla="*/ 58 h 93"/>
                <a:gd name="T34" fmla="*/ 2 w 88"/>
                <a:gd name="T35" fmla="*/ 58 h 93"/>
                <a:gd name="T36" fmla="*/ 2 w 88"/>
                <a:gd name="T37" fmla="*/ 59 h 93"/>
                <a:gd name="T38" fmla="*/ 3 w 88"/>
                <a:gd name="T39" fmla="*/ 64 h 93"/>
                <a:gd name="T40" fmla="*/ 3 w 88"/>
                <a:gd name="T41" fmla="*/ 66 h 93"/>
                <a:gd name="T42" fmla="*/ 2 w 88"/>
                <a:gd name="T43" fmla="*/ 69 h 93"/>
                <a:gd name="T44" fmla="*/ 2 w 88"/>
                <a:gd name="T45" fmla="*/ 71 h 93"/>
                <a:gd name="T46" fmla="*/ 2 w 88"/>
                <a:gd name="T47" fmla="*/ 73 h 93"/>
                <a:gd name="T48" fmla="*/ 1 w 88"/>
                <a:gd name="T49" fmla="*/ 76 h 93"/>
                <a:gd name="T50" fmla="*/ 1 w 88"/>
                <a:gd name="T51" fmla="*/ 78 h 93"/>
                <a:gd name="T52" fmla="*/ 26 w 88"/>
                <a:gd name="T53" fmla="*/ 90 h 93"/>
                <a:gd name="T54" fmla="*/ 31 w 88"/>
                <a:gd name="T55" fmla="*/ 90 h 93"/>
                <a:gd name="T56" fmla="*/ 35 w 88"/>
                <a:gd name="T57" fmla="*/ 90 h 93"/>
                <a:gd name="T58" fmla="*/ 44 w 88"/>
                <a:gd name="T59" fmla="*/ 93 h 93"/>
                <a:gd name="T60" fmla="*/ 47 w 88"/>
                <a:gd name="T61" fmla="*/ 88 h 93"/>
                <a:gd name="T62" fmla="*/ 53 w 88"/>
                <a:gd name="T63" fmla="*/ 84 h 93"/>
                <a:gd name="T64" fmla="*/ 57 w 88"/>
                <a:gd name="T65" fmla="*/ 82 h 93"/>
                <a:gd name="T66" fmla="*/ 61 w 88"/>
                <a:gd name="T67" fmla="*/ 75 h 93"/>
                <a:gd name="T68" fmla="*/ 64 w 88"/>
                <a:gd name="T69" fmla="*/ 75 h 93"/>
                <a:gd name="T70" fmla="*/ 67 w 88"/>
                <a:gd name="T71" fmla="*/ 72 h 93"/>
                <a:gd name="T72" fmla="*/ 65 w 88"/>
                <a:gd name="T73" fmla="*/ 69 h 93"/>
                <a:gd name="T74" fmla="*/ 66 w 88"/>
                <a:gd name="T75" fmla="*/ 65 h 93"/>
                <a:gd name="T76" fmla="*/ 66 w 88"/>
                <a:gd name="T77" fmla="*/ 63 h 93"/>
                <a:gd name="T78" fmla="*/ 72 w 88"/>
                <a:gd name="T79" fmla="*/ 59 h 93"/>
                <a:gd name="T80" fmla="*/ 73 w 88"/>
                <a:gd name="T81" fmla="*/ 58 h 93"/>
                <a:gd name="T82" fmla="*/ 75 w 88"/>
                <a:gd name="T83" fmla="*/ 56 h 93"/>
                <a:gd name="T84" fmla="*/ 83 w 88"/>
                <a:gd name="T85" fmla="*/ 50 h 93"/>
                <a:gd name="T86" fmla="*/ 88 w 88"/>
                <a:gd name="T87" fmla="*/ 46 h 93"/>
                <a:gd name="T88" fmla="*/ 84 w 88"/>
                <a:gd name="T89" fmla="*/ 44 h 93"/>
                <a:gd name="T90" fmla="*/ 76 w 88"/>
                <a:gd name="T91" fmla="*/ 44 h 93"/>
                <a:gd name="T92" fmla="*/ 76 w 88"/>
                <a:gd name="T93" fmla="*/ 45 h 93"/>
                <a:gd name="T94" fmla="*/ 75 w 88"/>
                <a:gd name="T95" fmla="*/ 46 h 93"/>
                <a:gd name="T96" fmla="*/ 73 w 88"/>
                <a:gd name="T97" fmla="*/ 47 h 93"/>
                <a:gd name="T98" fmla="*/ 72 w 88"/>
                <a:gd name="T99" fmla="*/ 46 h 93"/>
                <a:gd name="T100" fmla="*/ 69 w 88"/>
                <a:gd name="T101" fmla="*/ 46 h 93"/>
                <a:gd name="T102" fmla="*/ 65 w 88"/>
                <a:gd name="T103" fmla="*/ 42 h 93"/>
                <a:gd name="T104" fmla="*/ 66 w 88"/>
                <a:gd name="T105" fmla="*/ 12 h 93"/>
                <a:gd name="T106" fmla="*/ 66 w 88"/>
                <a:gd name="T107" fmla="*/ 4 h 93"/>
                <a:gd name="T108" fmla="*/ 37 w 88"/>
                <a:gd name="T109" fmla="*/ 0 h 93"/>
                <a:gd name="T110" fmla="*/ 34 w 88"/>
                <a:gd name="T111"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93">
                  <a:moveTo>
                    <a:pt x="29" y="0"/>
                  </a:moveTo>
                  <a:cubicBezTo>
                    <a:pt x="29" y="0"/>
                    <a:pt x="29" y="0"/>
                    <a:pt x="29" y="0"/>
                  </a:cubicBezTo>
                  <a:cubicBezTo>
                    <a:pt x="29" y="2"/>
                    <a:pt x="29" y="6"/>
                    <a:pt x="29" y="7"/>
                  </a:cubicBezTo>
                  <a:cubicBezTo>
                    <a:pt x="29" y="8"/>
                    <a:pt x="29" y="9"/>
                    <a:pt x="29" y="10"/>
                  </a:cubicBezTo>
                  <a:cubicBezTo>
                    <a:pt x="30" y="11"/>
                    <a:pt x="30" y="11"/>
                    <a:pt x="30" y="11"/>
                  </a:cubicBezTo>
                  <a:cubicBezTo>
                    <a:pt x="29" y="11"/>
                    <a:pt x="29" y="11"/>
                    <a:pt x="29" y="11"/>
                  </a:cubicBezTo>
                  <a:cubicBezTo>
                    <a:pt x="28" y="13"/>
                    <a:pt x="27" y="14"/>
                    <a:pt x="25" y="14"/>
                  </a:cubicBezTo>
                  <a:cubicBezTo>
                    <a:pt x="24" y="14"/>
                    <a:pt x="24" y="14"/>
                    <a:pt x="24" y="14"/>
                  </a:cubicBezTo>
                  <a:cubicBezTo>
                    <a:pt x="26" y="15"/>
                    <a:pt x="26" y="15"/>
                    <a:pt x="26" y="15"/>
                  </a:cubicBezTo>
                  <a:cubicBezTo>
                    <a:pt x="27" y="16"/>
                    <a:pt x="28" y="17"/>
                    <a:pt x="29" y="18"/>
                  </a:cubicBezTo>
                  <a:cubicBezTo>
                    <a:pt x="29" y="19"/>
                    <a:pt x="30" y="20"/>
                    <a:pt x="31" y="21"/>
                  </a:cubicBezTo>
                  <a:cubicBezTo>
                    <a:pt x="32" y="21"/>
                    <a:pt x="32" y="21"/>
                    <a:pt x="32" y="21"/>
                  </a:cubicBezTo>
                  <a:cubicBezTo>
                    <a:pt x="34" y="23"/>
                    <a:pt x="36" y="25"/>
                    <a:pt x="38" y="27"/>
                  </a:cubicBezTo>
                  <a:cubicBezTo>
                    <a:pt x="38" y="27"/>
                    <a:pt x="38" y="27"/>
                    <a:pt x="38" y="27"/>
                  </a:cubicBezTo>
                  <a:cubicBezTo>
                    <a:pt x="39" y="27"/>
                    <a:pt x="39" y="27"/>
                    <a:pt x="39" y="27"/>
                  </a:cubicBezTo>
                  <a:cubicBezTo>
                    <a:pt x="40" y="28"/>
                    <a:pt x="41" y="28"/>
                    <a:pt x="41" y="29"/>
                  </a:cubicBezTo>
                  <a:cubicBezTo>
                    <a:pt x="42" y="29"/>
                    <a:pt x="42" y="29"/>
                    <a:pt x="42" y="29"/>
                  </a:cubicBezTo>
                  <a:cubicBezTo>
                    <a:pt x="43" y="31"/>
                    <a:pt x="44" y="32"/>
                    <a:pt x="43" y="34"/>
                  </a:cubicBezTo>
                  <a:cubicBezTo>
                    <a:pt x="43" y="35"/>
                    <a:pt x="43" y="35"/>
                    <a:pt x="43" y="36"/>
                  </a:cubicBezTo>
                  <a:cubicBezTo>
                    <a:pt x="43" y="36"/>
                    <a:pt x="43" y="36"/>
                    <a:pt x="43" y="36"/>
                  </a:cubicBezTo>
                  <a:cubicBezTo>
                    <a:pt x="43" y="37"/>
                    <a:pt x="42" y="38"/>
                    <a:pt x="42" y="39"/>
                  </a:cubicBezTo>
                  <a:cubicBezTo>
                    <a:pt x="42" y="40"/>
                    <a:pt x="41" y="42"/>
                    <a:pt x="38" y="42"/>
                  </a:cubicBezTo>
                  <a:cubicBezTo>
                    <a:pt x="27" y="42"/>
                    <a:pt x="27" y="42"/>
                    <a:pt x="27" y="42"/>
                  </a:cubicBezTo>
                  <a:cubicBezTo>
                    <a:pt x="23" y="42"/>
                    <a:pt x="23" y="42"/>
                    <a:pt x="23" y="42"/>
                  </a:cubicBezTo>
                  <a:cubicBezTo>
                    <a:pt x="22" y="42"/>
                    <a:pt x="21" y="42"/>
                    <a:pt x="20" y="42"/>
                  </a:cubicBezTo>
                  <a:cubicBezTo>
                    <a:pt x="19" y="42"/>
                    <a:pt x="17" y="42"/>
                    <a:pt x="15" y="42"/>
                  </a:cubicBezTo>
                  <a:cubicBezTo>
                    <a:pt x="14" y="42"/>
                    <a:pt x="13" y="43"/>
                    <a:pt x="12" y="43"/>
                  </a:cubicBezTo>
                  <a:cubicBezTo>
                    <a:pt x="11" y="44"/>
                    <a:pt x="11" y="44"/>
                    <a:pt x="11" y="44"/>
                  </a:cubicBezTo>
                  <a:cubicBezTo>
                    <a:pt x="11" y="44"/>
                    <a:pt x="11" y="44"/>
                    <a:pt x="11" y="44"/>
                  </a:cubicBezTo>
                  <a:cubicBezTo>
                    <a:pt x="10" y="44"/>
                    <a:pt x="9" y="45"/>
                    <a:pt x="9" y="46"/>
                  </a:cubicBezTo>
                  <a:cubicBezTo>
                    <a:pt x="8" y="47"/>
                    <a:pt x="8" y="47"/>
                    <a:pt x="8" y="47"/>
                  </a:cubicBezTo>
                  <a:cubicBezTo>
                    <a:pt x="6" y="50"/>
                    <a:pt x="4" y="53"/>
                    <a:pt x="2" y="56"/>
                  </a:cubicBezTo>
                  <a:cubicBezTo>
                    <a:pt x="2" y="58"/>
                    <a:pt x="2" y="58"/>
                    <a:pt x="2" y="58"/>
                  </a:cubicBezTo>
                  <a:cubicBezTo>
                    <a:pt x="2" y="58"/>
                    <a:pt x="2" y="58"/>
                    <a:pt x="2" y="58"/>
                  </a:cubicBezTo>
                  <a:cubicBezTo>
                    <a:pt x="2" y="58"/>
                    <a:pt x="2" y="58"/>
                    <a:pt x="2" y="58"/>
                  </a:cubicBezTo>
                  <a:cubicBezTo>
                    <a:pt x="2" y="58"/>
                    <a:pt x="2" y="58"/>
                    <a:pt x="2" y="58"/>
                  </a:cubicBezTo>
                  <a:cubicBezTo>
                    <a:pt x="2" y="59"/>
                    <a:pt x="2" y="59"/>
                    <a:pt x="2" y="59"/>
                  </a:cubicBezTo>
                  <a:cubicBezTo>
                    <a:pt x="2" y="59"/>
                    <a:pt x="2" y="59"/>
                    <a:pt x="2" y="59"/>
                  </a:cubicBezTo>
                  <a:cubicBezTo>
                    <a:pt x="4" y="61"/>
                    <a:pt x="4" y="62"/>
                    <a:pt x="4" y="64"/>
                  </a:cubicBezTo>
                  <a:cubicBezTo>
                    <a:pt x="3" y="64"/>
                    <a:pt x="3" y="64"/>
                    <a:pt x="3" y="64"/>
                  </a:cubicBezTo>
                  <a:cubicBezTo>
                    <a:pt x="3" y="65"/>
                    <a:pt x="3" y="65"/>
                    <a:pt x="3" y="65"/>
                  </a:cubicBezTo>
                  <a:cubicBezTo>
                    <a:pt x="3" y="66"/>
                    <a:pt x="3" y="66"/>
                    <a:pt x="3" y="66"/>
                  </a:cubicBezTo>
                  <a:cubicBezTo>
                    <a:pt x="3" y="67"/>
                    <a:pt x="3" y="67"/>
                    <a:pt x="3" y="67"/>
                  </a:cubicBezTo>
                  <a:cubicBezTo>
                    <a:pt x="3" y="68"/>
                    <a:pt x="2" y="68"/>
                    <a:pt x="2" y="69"/>
                  </a:cubicBezTo>
                  <a:cubicBezTo>
                    <a:pt x="2" y="69"/>
                    <a:pt x="2" y="69"/>
                    <a:pt x="2" y="70"/>
                  </a:cubicBezTo>
                  <a:cubicBezTo>
                    <a:pt x="2" y="70"/>
                    <a:pt x="2" y="70"/>
                    <a:pt x="2" y="71"/>
                  </a:cubicBezTo>
                  <a:cubicBezTo>
                    <a:pt x="2" y="71"/>
                    <a:pt x="2" y="71"/>
                    <a:pt x="2" y="71"/>
                  </a:cubicBezTo>
                  <a:cubicBezTo>
                    <a:pt x="2" y="72"/>
                    <a:pt x="2" y="73"/>
                    <a:pt x="2" y="73"/>
                  </a:cubicBezTo>
                  <a:cubicBezTo>
                    <a:pt x="1" y="75"/>
                    <a:pt x="1" y="75"/>
                    <a:pt x="1" y="75"/>
                  </a:cubicBezTo>
                  <a:cubicBezTo>
                    <a:pt x="1" y="75"/>
                    <a:pt x="1" y="75"/>
                    <a:pt x="1" y="76"/>
                  </a:cubicBezTo>
                  <a:cubicBezTo>
                    <a:pt x="0" y="77"/>
                    <a:pt x="0" y="77"/>
                    <a:pt x="0" y="77"/>
                  </a:cubicBezTo>
                  <a:cubicBezTo>
                    <a:pt x="0" y="78"/>
                    <a:pt x="1" y="78"/>
                    <a:pt x="1" y="78"/>
                  </a:cubicBezTo>
                  <a:cubicBezTo>
                    <a:pt x="3" y="80"/>
                    <a:pt x="6" y="82"/>
                    <a:pt x="8" y="84"/>
                  </a:cubicBezTo>
                  <a:cubicBezTo>
                    <a:pt x="14" y="87"/>
                    <a:pt x="19" y="89"/>
                    <a:pt x="26" y="90"/>
                  </a:cubicBezTo>
                  <a:cubicBezTo>
                    <a:pt x="26" y="90"/>
                    <a:pt x="27" y="90"/>
                    <a:pt x="28" y="90"/>
                  </a:cubicBezTo>
                  <a:cubicBezTo>
                    <a:pt x="29" y="90"/>
                    <a:pt x="30" y="90"/>
                    <a:pt x="31" y="90"/>
                  </a:cubicBezTo>
                  <a:cubicBezTo>
                    <a:pt x="32" y="90"/>
                    <a:pt x="33" y="90"/>
                    <a:pt x="34" y="90"/>
                  </a:cubicBezTo>
                  <a:cubicBezTo>
                    <a:pt x="34" y="90"/>
                    <a:pt x="34" y="90"/>
                    <a:pt x="35" y="90"/>
                  </a:cubicBezTo>
                  <a:cubicBezTo>
                    <a:pt x="38" y="90"/>
                    <a:pt x="41" y="92"/>
                    <a:pt x="44" y="93"/>
                  </a:cubicBezTo>
                  <a:cubicBezTo>
                    <a:pt x="44" y="93"/>
                    <a:pt x="44" y="93"/>
                    <a:pt x="44" y="93"/>
                  </a:cubicBezTo>
                  <a:cubicBezTo>
                    <a:pt x="45" y="93"/>
                    <a:pt x="45" y="93"/>
                    <a:pt x="45" y="93"/>
                  </a:cubicBezTo>
                  <a:cubicBezTo>
                    <a:pt x="47" y="88"/>
                    <a:pt x="47" y="88"/>
                    <a:pt x="47" y="88"/>
                  </a:cubicBezTo>
                  <a:cubicBezTo>
                    <a:pt x="48" y="86"/>
                    <a:pt x="50" y="85"/>
                    <a:pt x="51" y="85"/>
                  </a:cubicBezTo>
                  <a:cubicBezTo>
                    <a:pt x="52" y="84"/>
                    <a:pt x="53" y="84"/>
                    <a:pt x="53" y="84"/>
                  </a:cubicBezTo>
                  <a:cubicBezTo>
                    <a:pt x="54" y="83"/>
                    <a:pt x="55" y="82"/>
                    <a:pt x="57" y="82"/>
                  </a:cubicBezTo>
                  <a:cubicBezTo>
                    <a:pt x="57" y="82"/>
                    <a:pt x="57" y="82"/>
                    <a:pt x="57" y="82"/>
                  </a:cubicBezTo>
                  <a:cubicBezTo>
                    <a:pt x="56" y="81"/>
                    <a:pt x="56" y="80"/>
                    <a:pt x="56" y="79"/>
                  </a:cubicBezTo>
                  <a:cubicBezTo>
                    <a:pt x="57" y="77"/>
                    <a:pt x="59" y="76"/>
                    <a:pt x="61" y="75"/>
                  </a:cubicBezTo>
                  <a:cubicBezTo>
                    <a:pt x="62" y="75"/>
                    <a:pt x="62" y="75"/>
                    <a:pt x="63" y="75"/>
                  </a:cubicBezTo>
                  <a:cubicBezTo>
                    <a:pt x="64" y="75"/>
                    <a:pt x="64" y="75"/>
                    <a:pt x="64" y="75"/>
                  </a:cubicBezTo>
                  <a:cubicBezTo>
                    <a:pt x="65" y="74"/>
                    <a:pt x="65" y="74"/>
                    <a:pt x="65" y="74"/>
                  </a:cubicBezTo>
                  <a:cubicBezTo>
                    <a:pt x="65" y="73"/>
                    <a:pt x="66" y="72"/>
                    <a:pt x="67" y="72"/>
                  </a:cubicBezTo>
                  <a:cubicBezTo>
                    <a:pt x="66" y="72"/>
                    <a:pt x="66" y="72"/>
                    <a:pt x="66" y="72"/>
                  </a:cubicBezTo>
                  <a:cubicBezTo>
                    <a:pt x="66" y="71"/>
                    <a:pt x="66" y="70"/>
                    <a:pt x="65" y="69"/>
                  </a:cubicBezTo>
                  <a:cubicBezTo>
                    <a:pt x="65" y="68"/>
                    <a:pt x="66" y="66"/>
                    <a:pt x="66" y="65"/>
                  </a:cubicBezTo>
                  <a:cubicBezTo>
                    <a:pt x="66" y="65"/>
                    <a:pt x="66" y="65"/>
                    <a:pt x="66" y="65"/>
                  </a:cubicBezTo>
                  <a:cubicBezTo>
                    <a:pt x="66" y="65"/>
                    <a:pt x="66" y="65"/>
                    <a:pt x="66" y="65"/>
                  </a:cubicBezTo>
                  <a:cubicBezTo>
                    <a:pt x="66" y="64"/>
                    <a:pt x="66" y="64"/>
                    <a:pt x="66" y="63"/>
                  </a:cubicBezTo>
                  <a:cubicBezTo>
                    <a:pt x="66" y="61"/>
                    <a:pt x="69" y="60"/>
                    <a:pt x="72" y="59"/>
                  </a:cubicBezTo>
                  <a:cubicBezTo>
                    <a:pt x="72" y="59"/>
                    <a:pt x="72" y="59"/>
                    <a:pt x="72" y="59"/>
                  </a:cubicBezTo>
                  <a:cubicBezTo>
                    <a:pt x="72" y="58"/>
                    <a:pt x="72" y="58"/>
                    <a:pt x="72" y="58"/>
                  </a:cubicBezTo>
                  <a:cubicBezTo>
                    <a:pt x="73" y="58"/>
                    <a:pt x="73" y="58"/>
                    <a:pt x="73" y="58"/>
                  </a:cubicBezTo>
                  <a:cubicBezTo>
                    <a:pt x="73" y="58"/>
                    <a:pt x="74" y="57"/>
                    <a:pt x="75" y="57"/>
                  </a:cubicBezTo>
                  <a:cubicBezTo>
                    <a:pt x="75" y="56"/>
                    <a:pt x="75" y="56"/>
                    <a:pt x="75" y="56"/>
                  </a:cubicBezTo>
                  <a:cubicBezTo>
                    <a:pt x="78" y="55"/>
                    <a:pt x="80" y="53"/>
                    <a:pt x="82" y="51"/>
                  </a:cubicBezTo>
                  <a:cubicBezTo>
                    <a:pt x="82" y="51"/>
                    <a:pt x="83" y="50"/>
                    <a:pt x="83" y="50"/>
                  </a:cubicBezTo>
                  <a:cubicBezTo>
                    <a:pt x="84" y="49"/>
                    <a:pt x="84" y="49"/>
                    <a:pt x="84" y="49"/>
                  </a:cubicBezTo>
                  <a:cubicBezTo>
                    <a:pt x="85" y="48"/>
                    <a:pt x="87" y="47"/>
                    <a:pt x="88" y="46"/>
                  </a:cubicBezTo>
                  <a:cubicBezTo>
                    <a:pt x="86" y="44"/>
                    <a:pt x="84" y="43"/>
                    <a:pt x="82" y="42"/>
                  </a:cubicBezTo>
                  <a:cubicBezTo>
                    <a:pt x="83" y="43"/>
                    <a:pt x="84" y="44"/>
                    <a:pt x="84" y="44"/>
                  </a:cubicBezTo>
                  <a:cubicBezTo>
                    <a:pt x="83" y="45"/>
                    <a:pt x="82" y="46"/>
                    <a:pt x="81" y="46"/>
                  </a:cubicBezTo>
                  <a:cubicBezTo>
                    <a:pt x="79" y="46"/>
                    <a:pt x="78" y="45"/>
                    <a:pt x="76" y="44"/>
                  </a:cubicBezTo>
                  <a:cubicBezTo>
                    <a:pt x="76" y="44"/>
                    <a:pt x="76" y="44"/>
                    <a:pt x="76" y="44"/>
                  </a:cubicBezTo>
                  <a:cubicBezTo>
                    <a:pt x="76" y="45"/>
                    <a:pt x="76" y="45"/>
                    <a:pt x="76" y="45"/>
                  </a:cubicBezTo>
                  <a:cubicBezTo>
                    <a:pt x="75" y="46"/>
                    <a:pt x="75" y="46"/>
                    <a:pt x="75" y="46"/>
                  </a:cubicBezTo>
                  <a:cubicBezTo>
                    <a:pt x="75" y="46"/>
                    <a:pt x="75" y="46"/>
                    <a:pt x="75" y="46"/>
                  </a:cubicBezTo>
                  <a:cubicBezTo>
                    <a:pt x="74" y="46"/>
                    <a:pt x="74" y="46"/>
                    <a:pt x="74" y="46"/>
                  </a:cubicBezTo>
                  <a:cubicBezTo>
                    <a:pt x="73" y="47"/>
                    <a:pt x="73" y="47"/>
                    <a:pt x="73" y="47"/>
                  </a:cubicBezTo>
                  <a:cubicBezTo>
                    <a:pt x="73" y="46"/>
                    <a:pt x="73" y="46"/>
                    <a:pt x="73" y="46"/>
                  </a:cubicBezTo>
                  <a:cubicBezTo>
                    <a:pt x="72" y="46"/>
                    <a:pt x="72" y="46"/>
                    <a:pt x="72" y="46"/>
                  </a:cubicBezTo>
                  <a:cubicBezTo>
                    <a:pt x="71" y="46"/>
                    <a:pt x="71" y="46"/>
                    <a:pt x="71" y="46"/>
                  </a:cubicBezTo>
                  <a:cubicBezTo>
                    <a:pt x="70" y="46"/>
                    <a:pt x="70" y="46"/>
                    <a:pt x="69" y="46"/>
                  </a:cubicBezTo>
                  <a:cubicBezTo>
                    <a:pt x="64" y="46"/>
                    <a:pt x="64" y="46"/>
                    <a:pt x="64" y="46"/>
                  </a:cubicBezTo>
                  <a:cubicBezTo>
                    <a:pt x="65" y="42"/>
                    <a:pt x="65" y="42"/>
                    <a:pt x="65" y="42"/>
                  </a:cubicBezTo>
                  <a:cubicBezTo>
                    <a:pt x="65" y="31"/>
                    <a:pt x="66" y="22"/>
                    <a:pt x="66" y="13"/>
                  </a:cubicBezTo>
                  <a:cubicBezTo>
                    <a:pt x="66" y="12"/>
                    <a:pt x="66" y="12"/>
                    <a:pt x="66" y="12"/>
                  </a:cubicBezTo>
                  <a:cubicBezTo>
                    <a:pt x="66" y="10"/>
                    <a:pt x="66" y="8"/>
                    <a:pt x="66" y="6"/>
                  </a:cubicBezTo>
                  <a:cubicBezTo>
                    <a:pt x="66" y="4"/>
                    <a:pt x="66" y="4"/>
                    <a:pt x="66" y="4"/>
                  </a:cubicBezTo>
                  <a:cubicBezTo>
                    <a:pt x="66" y="3"/>
                    <a:pt x="66" y="2"/>
                    <a:pt x="66" y="0"/>
                  </a:cubicBezTo>
                  <a:cubicBezTo>
                    <a:pt x="37" y="0"/>
                    <a:pt x="37" y="0"/>
                    <a:pt x="37" y="0"/>
                  </a:cubicBezTo>
                  <a:cubicBezTo>
                    <a:pt x="36" y="0"/>
                    <a:pt x="36" y="0"/>
                    <a:pt x="35" y="0"/>
                  </a:cubicBezTo>
                  <a:cubicBezTo>
                    <a:pt x="34" y="0"/>
                    <a:pt x="34" y="0"/>
                    <a:pt x="34" y="0"/>
                  </a:cubicBezTo>
                  <a:cubicBezTo>
                    <a:pt x="31"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360"/>
            <p:cNvSpPr>
              <a:spLocks noEditPoints="1"/>
            </p:cNvSpPr>
            <p:nvPr/>
          </p:nvSpPr>
          <p:spPr bwMode="auto">
            <a:xfrm>
              <a:off x="8699491" y="8298685"/>
              <a:ext cx="487363" cy="203200"/>
            </a:xfrm>
            <a:custGeom>
              <a:gdLst>
                <a:gd name="T0" fmla="*/ 104 w 130"/>
                <a:gd name="T1" fmla="*/ 28 h 54"/>
                <a:gd name="T2" fmla="*/ 104 w 130"/>
                <a:gd name="T3" fmla="*/ 28 h 54"/>
                <a:gd name="T4" fmla="*/ 108 w 130"/>
                <a:gd name="T5" fmla="*/ 24 h 54"/>
                <a:gd name="T6" fmla="*/ 109 w 130"/>
                <a:gd name="T7" fmla="*/ 24 h 54"/>
                <a:gd name="T8" fmla="*/ 109 w 130"/>
                <a:gd name="T9" fmla="*/ 24 h 54"/>
                <a:gd name="T10" fmla="*/ 109 w 130"/>
                <a:gd name="T11" fmla="*/ 24 h 54"/>
                <a:gd name="T12" fmla="*/ 109 w 130"/>
                <a:gd name="T13" fmla="*/ 24 h 54"/>
                <a:gd name="T14" fmla="*/ 81 w 130"/>
                <a:gd name="T15" fmla="*/ 0 h 54"/>
                <a:gd name="T16" fmla="*/ 51 w 130"/>
                <a:gd name="T17" fmla="*/ 14 h 54"/>
                <a:gd name="T18" fmla="*/ 37 w 130"/>
                <a:gd name="T19" fmla="*/ 17 h 54"/>
                <a:gd name="T20" fmla="*/ 26 w 130"/>
                <a:gd name="T21" fmla="*/ 13 h 54"/>
                <a:gd name="T22" fmla="*/ 20 w 130"/>
                <a:gd name="T23" fmla="*/ 14 h 54"/>
                <a:gd name="T24" fmla="*/ 16 w 130"/>
                <a:gd name="T25" fmla="*/ 9 h 54"/>
                <a:gd name="T26" fmla="*/ 9 w 130"/>
                <a:gd name="T27" fmla="*/ 2 h 54"/>
                <a:gd name="T28" fmla="*/ 3 w 130"/>
                <a:gd name="T29" fmla="*/ 2 h 54"/>
                <a:gd name="T30" fmla="*/ 3 w 130"/>
                <a:gd name="T31" fmla="*/ 3 h 54"/>
                <a:gd name="T32" fmla="*/ 2 w 130"/>
                <a:gd name="T33" fmla="*/ 9 h 54"/>
                <a:gd name="T34" fmla="*/ 4 w 130"/>
                <a:gd name="T35" fmla="*/ 11 h 54"/>
                <a:gd name="T36" fmla="*/ 9 w 130"/>
                <a:gd name="T37" fmla="*/ 14 h 54"/>
                <a:gd name="T38" fmla="*/ 5 w 130"/>
                <a:gd name="T39" fmla="*/ 18 h 54"/>
                <a:gd name="T40" fmla="*/ 3 w 130"/>
                <a:gd name="T41" fmla="*/ 20 h 54"/>
                <a:gd name="T42" fmla="*/ 3 w 130"/>
                <a:gd name="T43" fmla="*/ 26 h 54"/>
                <a:gd name="T44" fmla="*/ 0 w 130"/>
                <a:gd name="T45" fmla="*/ 28 h 54"/>
                <a:gd name="T46" fmla="*/ 0 w 130"/>
                <a:gd name="T47" fmla="*/ 29 h 54"/>
                <a:gd name="T48" fmla="*/ 6 w 130"/>
                <a:gd name="T49" fmla="*/ 29 h 54"/>
                <a:gd name="T50" fmla="*/ 18 w 130"/>
                <a:gd name="T51" fmla="*/ 32 h 54"/>
                <a:gd name="T52" fmla="*/ 22 w 130"/>
                <a:gd name="T53" fmla="*/ 31 h 54"/>
                <a:gd name="T54" fmla="*/ 24 w 130"/>
                <a:gd name="T55" fmla="*/ 32 h 54"/>
                <a:gd name="T56" fmla="*/ 27 w 130"/>
                <a:gd name="T57" fmla="*/ 32 h 54"/>
                <a:gd name="T58" fmla="*/ 35 w 130"/>
                <a:gd name="T59" fmla="*/ 44 h 54"/>
                <a:gd name="T60" fmla="*/ 42 w 130"/>
                <a:gd name="T61" fmla="*/ 39 h 54"/>
                <a:gd name="T62" fmla="*/ 45 w 130"/>
                <a:gd name="T63" fmla="*/ 45 h 54"/>
                <a:gd name="T64" fmla="*/ 46 w 130"/>
                <a:gd name="T65" fmla="*/ 54 h 54"/>
                <a:gd name="T66" fmla="*/ 56 w 130"/>
                <a:gd name="T67" fmla="*/ 53 h 54"/>
                <a:gd name="T68" fmla="*/ 60 w 130"/>
                <a:gd name="T69" fmla="*/ 39 h 54"/>
                <a:gd name="T70" fmla="*/ 60 w 130"/>
                <a:gd name="T71" fmla="*/ 29 h 54"/>
                <a:gd name="T72" fmla="*/ 73 w 130"/>
                <a:gd name="T73" fmla="*/ 21 h 54"/>
                <a:gd name="T74" fmla="*/ 72 w 130"/>
                <a:gd name="T75" fmla="*/ 21 h 54"/>
                <a:gd name="T76" fmla="*/ 74 w 130"/>
                <a:gd name="T77" fmla="*/ 16 h 54"/>
                <a:gd name="T78" fmla="*/ 88 w 130"/>
                <a:gd name="T79" fmla="*/ 11 h 54"/>
                <a:gd name="T80" fmla="*/ 100 w 130"/>
                <a:gd name="T81" fmla="*/ 19 h 54"/>
                <a:gd name="T82" fmla="*/ 104 w 130"/>
                <a:gd name="T83" fmla="*/ 28 h 54"/>
                <a:gd name="T84" fmla="*/ 104 w 130"/>
                <a:gd name="T85" fmla="*/ 24 h 54"/>
                <a:gd name="T86" fmla="*/ 106 w 130"/>
                <a:gd name="T87" fmla="*/ 24 h 54"/>
                <a:gd name="T88" fmla="*/ 108 w 130"/>
                <a:gd name="T89" fmla="*/ 27 h 54"/>
                <a:gd name="T90" fmla="*/ 112 w 130"/>
                <a:gd name="T91" fmla="*/ 26 h 54"/>
                <a:gd name="T92" fmla="*/ 118 w 130"/>
                <a:gd name="T93" fmla="*/ 32 h 54"/>
                <a:gd name="T94" fmla="*/ 115 w 130"/>
                <a:gd name="T95" fmla="*/ 30 h 54"/>
                <a:gd name="T96" fmla="*/ 113 w 130"/>
                <a:gd name="T97" fmla="*/ 30 h 54"/>
                <a:gd name="T98" fmla="*/ 111 w 130"/>
                <a:gd name="T99" fmla="*/ 27 h 54"/>
                <a:gd name="T100" fmla="*/ 104 w 130"/>
                <a:gd name="T101" fmla="*/ 34 h 54"/>
                <a:gd name="T102" fmla="*/ 115 w 130"/>
                <a:gd name="T103" fmla="*/ 51 h 54"/>
                <a:gd name="T104" fmla="*/ 116 w 130"/>
                <a:gd name="T105" fmla="*/ 50 h 54"/>
                <a:gd name="T106" fmla="*/ 117 w 130"/>
                <a:gd name="T107" fmla="*/ 47 h 54"/>
                <a:gd name="T108" fmla="*/ 117 w 130"/>
                <a:gd name="T109" fmla="*/ 44 h 54"/>
                <a:gd name="T110" fmla="*/ 117 w 130"/>
                <a:gd name="T111" fmla="*/ 41 h 54"/>
                <a:gd name="T112" fmla="*/ 122 w 130"/>
                <a:gd name="T113" fmla="*/ 40 h 54"/>
                <a:gd name="T114" fmla="*/ 124 w 130"/>
                <a:gd name="T115" fmla="*/ 43 h 54"/>
                <a:gd name="T116" fmla="*/ 130 w 130"/>
                <a:gd name="T117" fmla="*/ 37 h 54"/>
                <a:gd name="T118" fmla="*/ 125 w 130"/>
                <a:gd name="T119" fmla="*/ 26 h 54"/>
                <a:gd name="T120" fmla="*/ 116 w 130"/>
                <a:gd name="T121" fmla="*/ 10 h 54"/>
                <a:gd name="T122" fmla="*/ 81 w 130"/>
                <a:gd name="T123" fmla="*/ 0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 h="54">
                  <a:moveTo>
                    <a:pt x="104" y="28"/>
                  </a:moveTo>
                  <a:cubicBezTo>
                    <a:pt x="104" y="28"/>
                    <a:pt x="104" y="28"/>
                    <a:pt x="104" y="28"/>
                  </a:cubicBezTo>
                  <a:cubicBezTo>
                    <a:pt x="104" y="28"/>
                    <a:pt x="104" y="28"/>
                    <a:pt x="104" y="28"/>
                  </a:cubicBezTo>
                  <a:cubicBezTo>
                    <a:pt x="104" y="28"/>
                    <a:pt x="104" y="28"/>
                    <a:pt x="104" y="28"/>
                  </a:cubicBezTo>
                  <a:moveTo>
                    <a:pt x="108" y="24"/>
                  </a:moveTo>
                  <a:cubicBezTo>
                    <a:pt x="108" y="24"/>
                    <a:pt x="108" y="24"/>
                    <a:pt x="108" y="24"/>
                  </a:cubicBezTo>
                  <a:cubicBezTo>
                    <a:pt x="108" y="24"/>
                    <a:pt x="108" y="24"/>
                    <a:pt x="108" y="24"/>
                  </a:cubicBezTo>
                  <a:cubicBezTo>
                    <a:pt x="108" y="24"/>
                    <a:pt x="108"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8" y="24"/>
                    <a:pt x="108" y="24"/>
                  </a:cubicBezTo>
                  <a:moveTo>
                    <a:pt x="81" y="0"/>
                  </a:moveTo>
                  <a:cubicBezTo>
                    <a:pt x="77" y="0"/>
                    <a:pt x="70" y="3"/>
                    <a:pt x="67" y="6"/>
                  </a:cubicBezTo>
                  <a:cubicBezTo>
                    <a:pt x="63" y="10"/>
                    <a:pt x="56" y="12"/>
                    <a:pt x="51" y="14"/>
                  </a:cubicBezTo>
                  <a:cubicBezTo>
                    <a:pt x="48" y="16"/>
                    <a:pt x="44" y="18"/>
                    <a:pt x="40" y="18"/>
                  </a:cubicBezTo>
                  <a:cubicBezTo>
                    <a:pt x="39" y="18"/>
                    <a:pt x="38" y="17"/>
                    <a:pt x="37" y="17"/>
                  </a:cubicBezTo>
                  <a:cubicBezTo>
                    <a:pt x="33" y="15"/>
                    <a:pt x="27" y="12"/>
                    <a:pt x="24" y="9"/>
                  </a:cubicBezTo>
                  <a:cubicBezTo>
                    <a:pt x="25" y="10"/>
                    <a:pt x="26" y="12"/>
                    <a:pt x="26" y="13"/>
                  </a:cubicBezTo>
                  <a:cubicBezTo>
                    <a:pt x="25" y="14"/>
                    <a:pt x="23" y="15"/>
                    <a:pt x="21" y="15"/>
                  </a:cubicBezTo>
                  <a:cubicBezTo>
                    <a:pt x="20" y="15"/>
                    <a:pt x="20" y="15"/>
                    <a:pt x="20" y="14"/>
                  </a:cubicBezTo>
                  <a:cubicBezTo>
                    <a:pt x="18" y="14"/>
                    <a:pt x="14" y="11"/>
                    <a:pt x="16" y="9"/>
                  </a:cubicBezTo>
                  <a:cubicBezTo>
                    <a:pt x="16" y="9"/>
                    <a:pt x="16" y="9"/>
                    <a:pt x="16" y="9"/>
                  </a:cubicBezTo>
                  <a:cubicBezTo>
                    <a:pt x="14" y="9"/>
                    <a:pt x="11" y="5"/>
                    <a:pt x="10" y="2"/>
                  </a:cubicBezTo>
                  <a:cubicBezTo>
                    <a:pt x="9" y="2"/>
                    <a:pt x="9" y="2"/>
                    <a:pt x="9" y="2"/>
                  </a:cubicBezTo>
                  <a:cubicBezTo>
                    <a:pt x="6" y="2"/>
                    <a:pt x="5" y="2"/>
                    <a:pt x="4" y="2"/>
                  </a:cubicBezTo>
                  <a:cubicBezTo>
                    <a:pt x="3" y="2"/>
                    <a:pt x="3" y="2"/>
                    <a:pt x="3" y="2"/>
                  </a:cubicBezTo>
                  <a:cubicBezTo>
                    <a:pt x="3" y="2"/>
                    <a:pt x="3" y="2"/>
                    <a:pt x="3" y="2"/>
                  </a:cubicBezTo>
                  <a:cubicBezTo>
                    <a:pt x="3" y="3"/>
                    <a:pt x="3" y="3"/>
                    <a:pt x="3" y="3"/>
                  </a:cubicBezTo>
                  <a:cubicBezTo>
                    <a:pt x="3" y="3"/>
                    <a:pt x="3" y="3"/>
                    <a:pt x="3" y="3"/>
                  </a:cubicBezTo>
                  <a:cubicBezTo>
                    <a:pt x="3" y="5"/>
                    <a:pt x="3" y="7"/>
                    <a:pt x="2" y="9"/>
                  </a:cubicBezTo>
                  <a:cubicBezTo>
                    <a:pt x="2" y="10"/>
                    <a:pt x="2" y="10"/>
                    <a:pt x="2" y="10"/>
                  </a:cubicBezTo>
                  <a:cubicBezTo>
                    <a:pt x="3" y="11"/>
                    <a:pt x="4" y="11"/>
                    <a:pt x="4" y="11"/>
                  </a:cubicBezTo>
                  <a:cubicBezTo>
                    <a:pt x="5" y="12"/>
                    <a:pt x="5" y="12"/>
                    <a:pt x="6" y="12"/>
                  </a:cubicBezTo>
                  <a:cubicBezTo>
                    <a:pt x="9" y="14"/>
                    <a:pt x="9" y="14"/>
                    <a:pt x="9" y="14"/>
                  </a:cubicBezTo>
                  <a:cubicBezTo>
                    <a:pt x="6" y="17"/>
                    <a:pt x="6" y="17"/>
                    <a:pt x="6" y="17"/>
                  </a:cubicBezTo>
                  <a:cubicBezTo>
                    <a:pt x="6" y="17"/>
                    <a:pt x="6" y="17"/>
                    <a:pt x="5" y="18"/>
                  </a:cubicBezTo>
                  <a:cubicBezTo>
                    <a:pt x="5" y="18"/>
                    <a:pt x="5" y="18"/>
                    <a:pt x="5" y="18"/>
                  </a:cubicBezTo>
                  <a:cubicBezTo>
                    <a:pt x="4" y="19"/>
                    <a:pt x="3" y="19"/>
                    <a:pt x="3" y="20"/>
                  </a:cubicBezTo>
                  <a:cubicBezTo>
                    <a:pt x="4" y="20"/>
                    <a:pt x="4" y="21"/>
                    <a:pt x="4" y="22"/>
                  </a:cubicBezTo>
                  <a:cubicBezTo>
                    <a:pt x="4" y="24"/>
                    <a:pt x="3" y="25"/>
                    <a:pt x="3" y="26"/>
                  </a:cubicBezTo>
                  <a:cubicBezTo>
                    <a:pt x="2" y="26"/>
                    <a:pt x="2" y="26"/>
                    <a:pt x="2" y="26"/>
                  </a:cubicBezTo>
                  <a:cubicBezTo>
                    <a:pt x="2" y="27"/>
                    <a:pt x="1" y="28"/>
                    <a:pt x="0" y="28"/>
                  </a:cubicBezTo>
                  <a:cubicBezTo>
                    <a:pt x="0" y="29"/>
                    <a:pt x="0" y="29"/>
                    <a:pt x="0" y="29"/>
                  </a:cubicBezTo>
                  <a:cubicBezTo>
                    <a:pt x="0" y="29"/>
                    <a:pt x="0" y="29"/>
                    <a:pt x="0" y="29"/>
                  </a:cubicBezTo>
                  <a:cubicBezTo>
                    <a:pt x="2" y="33"/>
                    <a:pt x="2" y="33"/>
                    <a:pt x="2" y="33"/>
                  </a:cubicBezTo>
                  <a:cubicBezTo>
                    <a:pt x="3" y="31"/>
                    <a:pt x="4" y="29"/>
                    <a:pt x="6" y="29"/>
                  </a:cubicBezTo>
                  <a:cubicBezTo>
                    <a:pt x="9" y="29"/>
                    <a:pt x="13" y="29"/>
                    <a:pt x="16" y="28"/>
                  </a:cubicBezTo>
                  <a:cubicBezTo>
                    <a:pt x="16" y="30"/>
                    <a:pt x="16" y="32"/>
                    <a:pt x="18" y="32"/>
                  </a:cubicBezTo>
                  <a:cubicBezTo>
                    <a:pt x="17" y="32"/>
                    <a:pt x="17" y="32"/>
                    <a:pt x="17" y="32"/>
                  </a:cubicBezTo>
                  <a:cubicBezTo>
                    <a:pt x="19" y="32"/>
                    <a:pt x="21" y="31"/>
                    <a:pt x="22" y="31"/>
                  </a:cubicBezTo>
                  <a:cubicBezTo>
                    <a:pt x="22" y="31"/>
                    <a:pt x="23" y="31"/>
                    <a:pt x="23" y="31"/>
                  </a:cubicBezTo>
                  <a:cubicBezTo>
                    <a:pt x="23" y="31"/>
                    <a:pt x="24" y="31"/>
                    <a:pt x="24" y="32"/>
                  </a:cubicBezTo>
                  <a:cubicBezTo>
                    <a:pt x="25" y="32"/>
                    <a:pt x="25" y="32"/>
                    <a:pt x="26" y="32"/>
                  </a:cubicBezTo>
                  <a:cubicBezTo>
                    <a:pt x="26" y="32"/>
                    <a:pt x="26" y="32"/>
                    <a:pt x="27" y="32"/>
                  </a:cubicBezTo>
                  <a:cubicBezTo>
                    <a:pt x="29" y="36"/>
                    <a:pt x="30" y="39"/>
                    <a:pt x="33" y="42"/>
                  </a:cubicBezTo>
                  <a:cubicBezTo>
                    <a:pt x="31" y="43"/>
                    <a:pt x="34" y="44"/>
                    <a:pt x="35" y="44"/>
                  </a:cubicBezTo>
                  <a:cubicBezTo>
                    <a:pt x="37" y="44"/>
                    <a:pt x="38" y="45"/>
                    <a:pt x="39" y="45"/>
                  </a:cubicBezTo>
                  <a:cubicBezTo>
                    <a:pt x="39" y="42"/>
                    <a:pt x="38" y="39"/>
                    <a:pt x="42" y="39"/>
                  </a:cubicBezTo>
                  <a:cubicBezTo>
                    <a:pt x="42" y="39"/>
                    <a:pt x="42" y="39"/>
                    <a:pt x="42" y="39"/>
                  </a:cubicBezTo>
                  <a:cubicBezTo>
                    <a:pt x="44" y="39"/>
                    <a:pt x="44" y="43"/>
                    <a:pt x="45" y="45"/>
                  </a:cubicBezTo>
                  <a:cubicBezTo>
                    <a:pt x="45" y="47"/>
                    <a:pt x="47" y="50"/>
                    <a:pt x="47" y="51"/>
                  </a:cubicBezTo>
                  <a:cubicBezTo>
                    <a:pt x="47" y="52"/>
                    <a:pt x="46" y="53"/>
                    <a:pt x="46" y="54"/>
                  </a:cubicBezTo>
                  <a:cubicBezTo>
                    <a:pt x="48" y="54"/>
                    <a:pt x="49" y="54"/>
                    <a:pt x="51" y="54"/>
                  </a:cubicBezTo>
                  <a:cubicBezTo>
                    <a:pt x="52" y="54"/>
                    <a:pt x="54" y="54"/>
                    <a:pt x="56" y="53"/>
                  </a:cubicBezTo>
                  <a:cubicBezTo>
                    <a:pt x="60" y="51"/>
                    <a:pt x="63" y="49"/>
                    <a:pt x="68" y="48"/>
                  </a:cubicBezTo>
                  <a:cubicBezTo>
                    <a:pt x="66" y="44"/>
                    <a:pt x="63" y="42"/>
                    <a:pt x="60" y="39"/>
                  </a:cubicBezTo>
                  <a:cubicBezTo>
                    <a:pt x="58" y="36"/>
                    <a:pt x="54" y="33"/>
                    <a:pt x="59" y="29"/>
                  </a:cubicBezTo>
                  <a:cubicBezTo>
                    <a:pt x="59" y="29"/>
                    <a:pt x="59" y="29"/>
                    <a:pt x="60" y="29"/>
                  </a:cubicBezTo>
                  <a:cubicBezTo>
                    <a:pt x="64" y="29"/>
                    <a:pt x="72" y="23"/>
                    <a:pt x="74" y="21"/>
                  </a:cubicBezTo>
                  <a:cubicBezTo>
                    <a:pt x="74" y="21"/>
                    <a:pt x="74" y="21"/>
                    <a:pt x="73" y="21"/>
                  </a:cubicBezTo>
                  <a:cubicBezTo>
                    <a:pt x="73" y="21"/>
                    <a:pt x="73" y="21"/>
                    <a:pt x="73" y="21"/>
                  </a:cubicBezTo>
                  <a:cubicBezTo>
                    <a:pt x="72" y="21"/>
                    <a:pt x="72" y="21"/>
                    <a:pt x="72" y="21"/>
                  </a:cubicBezTo>
                  <a:cubicBezTo>
                    <a:pt x="72" y="21"/>
                    <a:pt x="72" y="21"/>
                    <a:pt x="71" y="21"/>
                  </a:cubicBezTo>
                  <a:cubicBezTo>
                    <a:pt x="72" y="20"/>
                    <a:pt x="73" y="18"/>
                    <a:pt x="74" y="16"/>
                  </a:cubicBezTo>
                  <a:cubicBezTo>
                    <a:pt x="75" y="16"/>
                    <a:pt x="78" y="15"/>
                    <a:pt x="79" y="14"/>
                  </a:cubicBezTo>
                  <a:cubicBezTo>
                    <a:pt x="81" y="12"/>
                    <a:pt x="86" y="14"/>
                    <a:pt x="88" y="11"/>
                  </a:cubicBezTo>
                  <a:cubicBezTo>
                    <a:pt x="88" y="13"/>
                    <a:pt x="89" y="13"/>
                    <a:pt x="91" y="14"/>
                  </a:cubicBezTo>
                  <a:cubicBezTo>
                    <a:pt x="94" y="15"/>
                    <a:pt x="96" y="17"/>
                    <a:pt x="100" y="19"/>
                  </a:cubicBezTo>
                  <a:cubicBezTo>
                    <a:pt x="99" y="18"/>
                    <a:pt x="99" y="18"/>
                    <a:pt x="99" y="18"/>
                  </a:cubicBezTo>
                  <a:cubicBezTo>
                    <a:pt x="101" y="21"/>
                    <a:pt x="103" y="25"/>
                    <a:pt x="104" y="28"/>
                  </a:cubicBezTo>
                  <a:cubicBezTo>
                    <a:pt x="104" y="28"/>
                    <a:pt x="104" y="27"/>
                    <a:pt x="104" y="26"/>
                  </a:cubicBezTo>
                  <a:cubicBezTo>
                    <a:pt x="104" y="25"/>
                    <a:pt x="104" y="24"/>
                    <a:pt x="104" y="24"/>
                  </a:cubicBezTo>
                  <a:cubicBezTo>
                    <a:pt x="104" y="24"/>
                    <a:pt x="104" y="24"/>
                    <a:pt x="104" y="24"/>
                  </a:cubicBezTo>
                  <a:cubicBezTo>
                    <a:pt x="105" y="24"/>
                    <a:pt x="105" y="24"/>
                    <a:pt x="106" y="24"/>
                  </a:cubicBezTo>
                  <a:cubicBezTo>
                    <a:pt x="107" y="24"/>
                    <a:pt x="108" y="24"/>
                    <a:pt x="108" y="24"/>
                  </a:cubicBezTo>
                  <a:cubicBezTo>
                    <a:pt x="109" y="25"/>
                    <a:pt x="108" y="27"/>
                    <a:pt x="108" y="27"/>
                  </a:cubicBezTo>
                  <a:cubicBezTo>
                    <a:pt x="109" y="26"/>
                    <a:pt x="110" y="25"/>
                    <a:pt x="111" y="25"/>
                  </a:cubicBezTo>
                  <a:cubicBezTo>
                    <a:pt x="111" y="25"/>
                    <a:pt x="111" y="25"/>
                    <a:pt x="112" y="26"/>
                  </a:cubicBezTo>
                  <a:cubicBezTo>
                    <a:pt x="111" y="25"/>
                    <a:pt x="111" y="24"/>
                    <a:pt x="111" y="23"/>
                  </a:cubicBezTo>
                  <a:cubicBezTo>
                    <a:pt x="113" y="26"/>
                    <a:pt x="117" y="29"/>
                    <a:pt x="118" y="32"/>
                  </a:cubicBezTo>
                  <a:cubicBezTo>
                    <a:pt x="118" y="32"/>
                    <a:pt x="117" y="31"/>
                    <a:pt x="116" y="31"/>
                  </a:cubicBezTo>
                  <a:cubicBezTo>
                    <a:pt x="116" y="30"/>
                    <a:pt x="115" y="30"/>
                    <a:pt x="115" y="30"/>
                  </a:cubicBezTo>
                  <a:cubicBezTo>
                    <a:pt x="115" y="30"/>
                    <a:pt x="115" y="30"/>
                    <a:pt x="115" y="30"/>
                  </a:cubicBezTo>
                  <a:cubicBezTo>
                    <a:pt x="114" y="30"/>
                    <a:pt x="114" y="30"/>
                    <a:pt x="113" y="30"/>
                  </a:cubicBezTo>
                  <a:cubicBezTo>
                    <a:pt x="113" y="30"/>
                    <a:pt x="112" y="28"/>
                    <a:pt x="111" y="28"/>
                  </a:cubicBezTo>
                  <a:cubicBezTo>
                    <a:pt x="111" y="28"/>
                    <a:pt x="111" y="27"/>
                    <a:pt x="111" y="27"/>
                  </a:cubicBezTo>
                  <a:cubicBezTo>
                    <a:pt x="111" y="27"/>
                    <a:pt x="111" y="27"/>
                    <a:pt x="111" y="27"/>
                  </a:cubicBezTo>
                  <a:cubicBezTo>
                    <a:pt x="109" y="27"/>
                    <a:pt x="105" y="33"/>
                    <a:pt x="104" y="34"/>
                  </a:cubicBezTo>
                  <a:cubicBezTo>
                    <a:pt x="103" y="40"/>
                    <a:pt x="110" y="47"/>
                    <a:pt x="114" y="52"/>
                  </a:cubicBezTo>
                  <a:cubicBezTo>
                    <a:pt x="115" y="51"/>
                    <a:pt x="115" y="51"/>
                    <a:pt x="115" y="51"/>
                  </a:cubicBezTo>
                  <a:cubicBezTo>
                    <a:pt x="115" y="51"/>
                    <a:pt x="115" y="51"/>
                    <a:pt x="115" y="50"/>
                  </a:cubicBezTo>
                  <a:cubicBezTo>
                    <a:pt x="116" y="50"/>
                    <a:pt x="116" y="50"/>
                    <a:pt x="116" y="50"/>
                  </a:cubicBezTo>
                  <a:cubicBezTo>
                    <a:pt x="116" y="49"/>
                    <a:pt x="117" y="48"/>
                    <a:pt x="117" y="47"/>
                  </a:cubicBezTo>
                  <a:cubicBezTo>
                    <a:pt x="117" y="47"/>
                    <a:pt x="117" y="47"/>
                    <a:pt x="117" y="47"/>
                  </a:cubicBezTo>
                  <a:cubicBezTo>
                    <a:pt x="117" y="46"/>
                    <a:pt x="117" y="46"/>
                    <a:pt x="117" y="46"/>
                  </a:cubicBezTo>
                  <a:cubicBezTo>
                    <a:pt x="117" y="44"/>
                    <a:pt x="117" y="44"/>
                    <a:pt x="117" y="44"/>
                  </a:cubicBezTo>
                  <a:cubicBezTo>
                    <a:pt x="117" y="44"/>
                    <a:pt x="117" y="43"/>
                    <a:pt x="117" y="42"/>
                  </a:cubicBezTo>
                  <a:cubicBezTo>
                    <a:pt x="117" y="41"/>
                    <a:pt x="117" y="41"/>
                    <a:pt x="117" y="41"/>
                  </a:cubicBezTo>
                  <a:cubicBezTo>
                    <a:pt x="120" y="42"/>
                    <a:pt x="120" y="42"/>
                    <a:pt x="120" y="42"/>
                  </a:cubicBezTo>
                  <a:cubicBezTo>
                    <a:pt x="122" y="40"/>
                    <a:pt x="122" y="40"/>
                    <a:pt x="122" y="40"/>
                  </a:cubicBezTo>
                  <a:cubicBezTo>
                    <a:pt x="123" y="41"/>
                    <a:pt x="123" y="41"/>
                    <a:pt x="123" y="41"/>
                  </a:cubicBezTo>
                  <a:cubicBezTo>
                    <a:pt x="123" y="41"/>
                    <a:pt x="123" y="42"/>
                    <a:pt x="124" y="43"/>
                  </a:cubicBezTo>
                  <a:cubicBezTo>
                    <a:pt x="124" y="43"/>
                    <a:pt x="124" y="42"/>
                    <a:pt x="124" y="42"/>
                  </a:cubicBezTo>
                  <a:cubicBezTo>
                    <a:pt x="126" y="40"/>
                    <a:pt x="128" y="38"/>
                    <a:pt x="130" y="37"/>
                  </a:cubicBezTo>
                  <a:cubicBezTo>
                    <a:pt x="129" y="35"/>
                    <a:pt x="128" y="33"/>
                    <a:pt x="127" y="31"/>
                  </a:cubicBezTo>
                  <a:cubicBezTo>
                    <a:pt x="126" y="29"/>
                    <a:pt x="126" y="28"/>
                    <a:pt x="125" y="26"/>
                  </a:cubicBezTo>
                  <a:cubicBezTo>
                    <a:pt x="123" y="24"/>
                    <a:pt x="124" y="22"/>
                    <a:pt x="126" y="20"/>
                  </a:cubicBezTo>
                  <a:cubicBezTo>
                    <a:pt x="122" y="18"/>
                    <a:pt x="119" y="11"/>
                    <a:pt x="116" y="10"/>
                  </a:cubicBezTo>
                  <a:cubicBezTo>
                    <a:pt x="109" y="8"/>
                    <a:pt x="103" y="5"/>
                    <a:pt x="96" y="3"/>
                  </a:cubicBezTo>
                  <a:cubicBezTo>
                    <a:pt x="90" y="1"/>
                    <a:pt x="87" y="0"/>
                    <a:pt x="81" y="0"/>
                  </a:cubicBezTo>
                  <a:cubicBezTo>
                    <a:pt x="81" y="0"/>
                    <a:pt x="81" y="0"/>
                    <a:pt x="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361"/>
            <p:cNvSpPr>
              <a:spLocks noEditPoints="1"/>
            </p:cNvSpPr>
            <p:nvPr/>
          </p:nvSpPr>
          <p:spPr bwMode="auto">
            <a:xfrm>
              <a:off x="5726104" y="6187310"/>
              <a:ext cx="2638425" cy="1660525"/>
            </a:xfrm>
            <a:custGeom>
              <a:gdLst>
                <a:gd name="T0" fmla="*/ 594 w 703"/>
                <a:gd name="T1" fmla="*/ 341 h 442"/>
                <a:gd name="T2" fmla="*/ 37 w 703"/>
                <a:gd name="T3" fmla="*/ 2 h 442"/>
                <a:gd name="T4" fmla="*/ 17 w 703"/>
                <a:gd name="T5" fmla="*/ 42 h 442"/>
                <a:gd name="T6" fmla="*/ 42 w 703"/>
                <a:gd name="T7" fmla="*/ 80 h 442"/>
                <a:gd name="T8" fmla="*/ 67 w 703"/>
                <a:gd name="T9" fmla="*/ 119 h 442"/>
                <a:gd name="T10" fmla="*/ 73 w 703"/>
                <a:gd name="T11" fmla="*/ 131 h 442"/>
                <a:gd name="T12" fmla="*/ 62 w 703"/>
                <a:gd name="T13" fmla="*/ 122 h 442"/>
                <a:gd name="T14" fmla="*/ 70 w 703"/>
                <a:gd name="T15" fmla="*/ 143 h 442"/>
                <a:gd name="T16" fmla="*/ 90 w 703"/>
                <a:gd name="T17" fmla="*/ 143 h 442"/>
                <a:gd name="T18" fmla="*/ 115 w 703"/>
                <a:gd name="T19" fmla="*/ 192 h 442"/>
                <a:gd name="T20" fmla="*/ 175 w 703"/>
                <a:gd name="T21" fmla="*/ 238 h 442"/>
                <a:gd name="T22" fmla="*/ 165 w 703"/>
                <a:gd name="T23" fmla="*/ 216 h 442"/>
                <a:gd name="T24" fmla="*/ 136 w 703"/>
                <a:gd name="T25" fmla="*/ 171 h 442"/>
                <a:gd name="T26" fmla="*/ 118 w 703"/>
                <a:gd name="T27" fmla="*/ 141 h 442"/>
                <a:gd name="T28" fmla="*/ 93 w 703"/>
                <a:gd name="T29" fmla="*/ 105 h 442"/>
                <a:gd name="T30" fmla="*/ 56 w 703"/>
                <a:gd name="T31" fmla="*/ 56 h 442"/>
                <a:gd name="T32" fmla="*/ 69 w 703"/>
                <a:gd name="T33" fmla="*/ 29 h 442"/>
                <a:gd name="T34" fmla="*/ 92 w 703"/>
                <a:gd name="T35" fmla="*/ 43 h 442"/>
                <a:gd name="T36" fmla="*/ 130 w 703"/>
                <a:gd name="T37" fmla="*/ 110 h 442"/>
                <a:gd name="T38" fmla="*/ 149 w 703"/>
                <a:gd name="T39" fmla="*/ 123 h 442"/>
                <a:gd name="T40" fmla="*/ 179 w 703"/>
                <a:gd name="T41" fmla="*/ 163 h 442"/>
                <a:gd name="T42" fmla="*/ 181 w 703"/>
                <a:gd name="T43" fmla="*/ 176 h 442"/>
                <a:gd name="T44" fmla="*/ 189 w 703"/>
                <a:gd name="T45" fmla="*/ 177 h 442"/>
                <a:gd name="T46" fmla="*/ 217 w 703"/>
                <a:gd name="T47" fmla="*/ 205 h 442"/>
                <a:gd name="T48" fmla="*/ 219 w 703"/>
                <a:gd name="T49" fmla="*/ 207 h 442"/>
                <a:gd name="T50" fmla="*/ 267 w 703"/>
                <a:gd name="T51" fmla="*/ 295 h 442"/>
                <a:gd name="T52" fmla="*/ 304 w 703"/>
                <a:gd name="T53" fmla="*/ 342 h 442"/>
                <a:gd name="T54" fmla="*/ 351 w 703"/>
                <a:gd name="T55" fmla="*/ 363 h 442"/>
                <a:gd name="T56" fmla="*/ 453 w 703"/>
                <a:gd name="T57" fmla="*/ 411 h 442"/>
                <a:gd name="T58" fmla="*/ 512 w 703"/>
                <a:gd name="T59" fmla="*/ 405 h 442"/>
                <a:gd name="T60" fmla="*/ 518 w 703"/>
                <a:gd name="T61" fmla="*/ 405 h 442"/>
                <a:gd name="T62" fmla="*/ 558 w 703"/>
                <a:gd name="T63" fmla="*/ 427 h 442"/>
                <a:gd name="T64" fmla="*/ 575 w 703"/>
                <a:gd name="T65" fmla="*/ 435 h 442"/>
                <a:gd name="T66" fmla="*/ 575 w 703"/>
                <a:gd name="T67" fmla="*/ 424 h 442"/>
                <a:gd name="T68" fmla="*/ 599 w 703"/>
                <a:gd name="T69" fmla="*/ 405 h 442"/>
                <a:gd name="T70" fmla="*/ 615 w 703"/>
                <a:gd name="T71" fmla="*/ 402 h 442"/>
                <a:gd name="T72" fmla="*/ 601 w 703"/>
                <a:gd name="T73" fmla="*/ 389 h 442"/>
                <a:gd name="T74" fmla="*/ 607 w 703"/>
                <a:gd name="T75" fmla="*/ 363 h 442"/>
                <a:gd name="T76" fmla="*/ 645 w 703"/>
                <a:gd name="T77" fmla="*/ 363 h 442"/>
                <a:gd name="T78" fmla="*/ 653 w 703"/>
                <a:gd name="T79" fmla="*/ 361 h 442"/>
                <a:gd name="T80" fmla="*/ 664 w 703"/>
                <a:gd name="T81" fmla="*/ 348 h 442"/>
                <a:gd name="T82" fmla="*/ 672 w 703"/>
                <a:gd name="T83" fmla="*/ 350 h 442"/>
                <a:gd name="T84" fmla="*/ 685 w 703"/>
                <a:gd name="T85" fmla="*/ 328 h 442"/>
                <a:gd name="T86" fmla="*/ 698 w 703"/>
                <a:gd name="T87" fmla="*/ 296 h 442"/>
                <a:gd name="T88" fmla="*/ 689 w 703"/>
                <a:gd name="T89" fmla="*/ 276 h 442"/>
                <a:gd name="T90" fmla="*/ 619 w 703"/>
                <a:gd name="T91" fmla="*/ 293 h 442"/>
                <a:gd name="T92" fmla="*/ 599 w 703"/>
                <a:gd name="T93" fmla="*/ 339 h 442"/>
                <a:gd name="T94" fmla="*/ 586 w 703"/>
                <a:gd name="T95" fmla="*/ 353 h 442"/>
                <a:gd name="T96" fmla="*/ 566 w 703"/>
                <a:gd name="T97" fmla="*/ 351 h 442"/>
                <a:gd name="T98" fmla="*/ 519 w 703"/>
                <a:gd name="T99" fmla="*/ 354 h 442"/>
                <a:gd name="T100" fmla="*/ 495 w 703"/>
                <a:gd name="T101" fmla="*/ 345 h 442"/>
                <a:gd name="T102" fmla="*/ 481 w 703"/>
                <a:gd name="T103" fmla="*/ 328 h 442"/>
                <a:gd name="T104" fmla="*/ 455 w 703"/>
                <a:gd name="T105" fmla="*/ 280 h 442"/>
                <a:gd name="T106" fmla="*/ 448 w 703"/>
                <a:gd name="T107" fmla="*/ 221 h 442"/>
                <a:gd name="T108" fmla="*/ 453 w 703"/>
                <a:gd name="T109" fmla="*/ 181 h 442"/>
                <a:gd name="T110" fmla="*/ 454 w 703"/>
                <a:gd name="T111" fmla="*/ 172 h 442"/>
                <a:gd name="T112" fmla="*/ 413 w 703"/>
                <a:gd name="T113" fmla="*/ 156 h 442"/>
                <a:gd name="T114" fmla="*/ 366 w 703"/>
                <a:gd name="T115" fmla="*/ 79 h 442"/>
                <a:gd name="T116" fmla="*/ 344 w 703"/>
                <a:gd name="T117" fmla="*/ 73 h 442"/>
                <a:gd name="T118" fmla="*/ 321 w 703"/>
                <a:gd name="T119" fmla="*/ 94 h 442"/>
                <a:gd name="T120" fmla="*/ 255 w 703"/>
                <a:gd name="T121" fmla="*/ 34 h 442"/>
                <a:gd name="T122" fmla="*/ 208 w 703"/>
                <a:gd name="T123" fmla="*/ 26 h 442"/>
                <a:gd name="T124" fmla="*/ 48 w 703"/>
                <a:gd name="T125" fmla="*/ 5 h 4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3" h="442">
                  <a:moveTo>
                    <a:pt x="595" y="341"/>
                  </a:moveTo>
                  <a:cubicBezTo>
                    <a:pt x="595" y="341"/>
                    <a:pt x="595" y="341"/>
                    <a:pt x="594" y="341"/>
                  </a:cubicBezTo>
                  <a:cubicBezTo>
                    <a:pt x="594" y="341"/>
                    <a:pt x="594" y="341"/>
                    <a:pt x="595" y="341"/>
                  </a:cubicBezTo>
                  <a:cubicBezTo>
                    <a:pt x="595" y="341"/>
                    <a:pt x="595" y="341"/>
                    <a:pt x="595" y="341"/>
                  </a:cubicBezTo>
                  <a:moveTo>
                    <a:pt x="594" y="341"/>
                  </a:moveTo>
                  <a:cubicBezTo>
                    <a:pt x="594" y="341"/>
                    <a:pt x="594" y="341"/>
                    <a:pt x="594" y="341"/>
                  </a:cubicBezTo>
                  <a:cubicBezTo>
                    <a:pt x="594" y="341"/>
                    <a:pt x="594" y="341"/>
                    <a:pt x="594" y="341"/>
                  </a:cubicBezTo>
                  <a:cubicBezTo>
                    <a:pt x="594" y="341"/>
                    <a:pt x="594" y="341"/>
                    <a:pt x="594" y="341"/>
                  </a:cubicBezTo>
                  <a:moveTo>
                    <a:pt x="179" y="176"/>
                  </a:moveTo>
                  <a:cubicBezTo>
                    <a:pt x="178" y="176"/>
                    <a:pt x="178" y="176"/>
                    <a:pt x="178" y="176"/>
                  </a:cubicBezTo>
                  <a:cubicBezTo>
                    <a:pt x="178" y="176"/>
                    <a:pt x="178" y="176"/>
                    <a:pt x="179" y="176"/>
                  </a:cubicBezTo>
                  <a:moveTo>
                    <a:pt x="50" y="0"/>
                  </a:moveTo>
                  <a:cubicBezTo>
                    <a:pt x="47" y="0"/>
                    <a:pt x="44" y="1"/>
                    <a:pt x="41" y="1"/>
                  </a:cubicBezTo>
                  <a:cubicBezTo>
                    <a:pt x="39" y="1"/>
                    <a:pt x="38" y="1"/>
                    <a:pt x="37" y="2"/>
                  </a:cubicBezTo>
                  <a:cubicBezTo>
                    <a:pt x="36" y="2"/>
                    <a:pt x="32" y="2"/>
                    <a:pt x="29" y="2"/>
                  </a:cubicBezTo>
                  <a:cubicBezTo>
                    <a:pt x="25" y="2"/>
                    <a:pt x="25" y="2"/>
                    <a:pt x="25" y="2"/>
                  </a:cubicBezTo>
                  <a:cubicBezTo>
                    <a:pt x="20" y="3"/>
                    <a:pt x="15" y="3"/>
                    <a:pt x="13" y="4"/>
                  </a:cubicBezTo>
                  <a:cubicBezTo>
                    <a:pt x="10" y="4"/>
                    <a:pt x="7" y="4"/>
                    <a:pt x="4" y="4"/>
                  </a:cubicBezTo>
                  <a:cubicBezTo>
                    <a:pt x="0" y="6"/>
                    <a:pt x="0" y="6"/>
                    <a:pt x="0" y="6"/>
                  </a:cubicBezTo>
                  <a:cubicBezTo>
                    <a:pt x="4" y="12"/>
                    <a:pt x="6" y="18"/>
                    <a:pt x="8" y="25"/>
                  </a:cubicBezTo>
                  <a:cubicBezTo>
                    <a:pt x="10" y="30"/>
                    <a:pt x="13" y="37"/>
                    <a:pt x="17" y="42"/>
                  </a:cubicBezTo>
                  <a:cubicBezTo>
                    <a:pt x="18" y="43"/>
                    <a:pt x="21" y="44"/>
                    <a:pt x="23" y="46"/>
                  </a:cubicBezTo>
                  <a:cubicBezTo>
                    <a:pt x="24" y="48"/>
                    <a:pt x="23" y="51"/>
                    <a:pt x="24" y="53"/>
                  </a:cubicBezTo>
                  <a:cubicBezTo>
                    <a:pt x="24" y="54"/>
                    <a:pt x="23" y="55"/>
                    <a:pt x="24" y="57"/>
                  </a:cubicBezTo>
                  <a:cubicBezTo>
                    <a:pt x="24" y="56"/>
                    <a:pt x="25" y="55"/>
                    <a:pt x="25" y="55"/>
                  </a:cubicBezTo>
                  <a:cubicBezTo>
                    <a:pt x="27" y="55"/>
                    <a:pt x="28" y="60"/>
                    <a:pt x="29" y="61"/>
                  </a:cubicBezTo>
                  <a:cubicBezTo>
                    <a:pt x="29" y="63"/>
                    <a:pt x="29" y="65"/>
                    <a:pt x="29" y="67"/>
                  </a:cubicBezTo>
                  <a:cubicBezTo>
                    <a:pt x="30" y="73"/>
                    <a:pt x="37" y="76"/>
                    <a:pt x="42" y="80"/>
                  </a:cubicBezTo>
                  <a:cubicBezTo>
                    <a:pt x="43" y="81"/>
                    <a:pt x="44" y="81"/>
                    <a:pt x="46" y="82"/>
                  </a:cubicBezTo>
                  <a:cubicBezTo>
                    <a:pt x="47" y="82"/>
                    <a:pt x="48" y="82"/>
                    <a:pt x="49" y="83"/>
                  </a:cubicBezTo>
                  <a:cubicBezTo>
                    <a:pt x="53" y="86"/>
                    <a:pt x="57" y="91"/>
                    <a:pt x="60" y="95"/>
                  </a:cubicBezTo>
                  <a:cubicBezTo>
                    <a:pt x="62" y="97"/>
                    <a:pt x="64" y="99"/>
                    <a:pt x="66" y="101"/>
                  </a:cubicBezTo>
                  <a:cubicBezTo>
                    <a:pt x="70" y="105"/>
                    <a:pt x="68" y="111"/>
                    <a:pt x="66" y="116"/>
                  </a:cubicBezTo>
                  <a:cubicBezTo>
                    <a:pt x="65" y="120"/>
                    <a:pt x="65" y="120"/>
                    <a:pt x="65" y="120"/>
                  </a:cubicBezTo>
                  <a:cubicBezTo>
                    <a:pt x="65" y="119"/>
                    <a:pt x="66" y="119"/>
                    <a:pt x="67" y="119"/>
                  </a:cubicBezTo>
                  <a:cubicBezTo>
                    <a:pt x="67" y="121"/>
                    <a:pt x="67" y="122"/>
                    <a:pt x="68" y="125"/>
                  </a:cubicBezTo>
                  <a:cubicBezTo>
                    <a:pt x="69" y="124"/>
                    <a:pt x="69" y="124"/>
                    <a:pt x="69" y="123"/>
                  </a:cubicBezTo>
                  <a:cubicBezTo>
                    <a:pt x="70" y="123"/>
                    <a:pt x="71" y="123"/>
                    <a:pt x="71" y="123"/>
                  </a:cubicBezTo>
                  <a:cubicBezTo>
                    <a:pt x="71" y="123"/>
                    <a:pt x="71" y="121"/>
                    <a:pt x="71" y="121"/>
                  </a:cubicBezTo>
                  <a:cubicBezTo>
                    <a:pt x="70" y="120"/>
                    <a:pt x="70" y="119"/>
                    <a:pt x="70" y="119"/>
                  </a:cubicBezTo>
                  <a:cubicBezTo>
                    <a:pt x="70" y="119"/>
                    <a:pt x="72" y="121"/>
                    <a:pt x="72" y="122"/>
                  </a:cubicBezTo>
                  <a:cubicBezTo>
                    <a:pt x="74" y="125"/>
                    <a:pt x="75" y="129"/>
                    <a:pt x="73" y="131"/>
                  </a:cubicBezTo>
                  <a:cubicBezTo>
                    <a:pt x="73" y="130"/>
                    <a:pt x="73" y="127"/>
                    <a:pt x="72" y="127"/>
                  </a:cubicBezTo>
                  <a:cubicBezTo>
                    <a:pt x="72" y="126"/>
                    <a:pt x="71" y="126"/>
                    <a:pt x="70" y="126"/>
                  </a:cubicBezTo>
                  <a:cubicBezTo>
                    <a:pt x="70" y="126"/>
                    <a:pt x="70" y="126"/>
                    <a:pt x="70" y="126"/>
                  </a:cubicBezTo>
                  <a:cubicBezTo>
                    <a:pt x="70" y="126"/>
                    <a:pt x="69" y="126"/>
                    <a:pt x="69" y="126"/>
                  </a:cubicBezTo>
                  <a:cubicBezTo>
                    <a:pt x="68" y="126"/>
                    <a:pt x="68" y="126"/>
                    <a:pt x="67" y="126"/>
                  </a:cubicBezTo>
                  <a:cubicBezTo>
                    <a:pt x="66" y="125"/>
                    <a:pt x="65" y="124"/>
                    <a:pt x="64" y="123"/>
                  </a:cubicBezTo>
                  <a:cubicBezTo>
                    <a:pt x="63" y="122"/>
                    <a:pt x="62" y="122"/>
                    <a:pt x="62" y="122"/>
                  </a:cubicBezTo>
                  <a:cubicBezTo>
                    <a:pt x="61" y="122"/>
                    <a:pt x="61" y="123"/>
                    <a:pt x="60" y="123"/>
                  </a:cubicBezTo>
                  <a:cubicBezTo>
                    <a:pt x="59" y="123"/>
                    <a:pt x="58" y="123"/>
                    <a:pt x="58" y="123"/>
                  </a:cubicBezTo>
                  <a:cubicBezTo>
                    <a:pt x="54" y="123"/>
                    <a:pt x="51" y="122"/>
                    <a:pt x="48" y="122"/>
                  </a:cubicBezTo>
                  <a:cubicBezTo>
                    <a:pt x="47" y="122"/>
                    <a:pt x="46" y="122"/>
                    <a:pt x="46" y="122"/>
                  </a:cubicBezTo>
                  <a:cubicBezTo>
                    <a:pt x="46" y="122"/>
                    <a:pt x="46" y="122"/>
                    <a:pt x="47" y="124"/>
                  </a:cubicBezTo>
                  <a:cubicBezTo>
                    <a:pt x="50" y="128"/>
                    <a:pt x="56" y="132"/>
                    <a:pt x="60" y="136"/>
                  </a:cubicBezTo>
                  <a:cubicBezTo>
                    <a:pt x="62" y="138"/>
                    <a:pt x="66" y="141"/>
                    <a:pt x="70" y="143"/>
                  </a:cubicBezTo>
                  <a:cubicBezTo>
                    <a:pt x="72" y="145"/>
                    <a:pt x="75" y="147"/>
                    <a:pt x="78" y="148"/>
                  </a:cubicBezTo>
                  <a:cubicBezTo>
                    <a:pt x="79" y="148"/>
                    <a:pt x="79" y="148"/>
                    <a:pt x="80" y="148"/>
                  </a:cubicBezTo>
                  <a:cubicBezTo>
                    <a:pt x="81" y="148"/>
                    <a:pt x="81" y="148"/>
                    <a:pt x="83" y="148"/>
                  </a:cubicBezTo>
                  <a:cubicBezTo>
                    <a:pt x="83" y="148"/>
                    <a:pt x="84" y="148"/>
                    <a:pt x="85" y="148"/>
                  </a:cubicBezTo>
                  <a:cubicBezTo>
                    <a:pt x="86" y="148"/>
                    <a:pt x="86" y="148"/>
                    <a:pt x="87" y="148"/>
                  </a:cubicBezTo>
                  <a:cubicBezTo>
                    <a:pt x="87" y="148"/>
                    <a:pt x="87" y="148"/>
                    <a:pt x="88" y="147"/>
                  </a:cubicBezTo>
                  <a:cubicBezTo>
                    <a:pt x="89" y="146"/>
                    <a:pt x="89" y="144"/>
                    <a:pt x="90" y="143"/>
                  </a:cubicBezTo>
                  <a:cubicBezTo>
                    <a:pt x="90" y="144"/>
                    <a:pt x="89" y="148"/>
                    <a:pt x="89" y="148"/>
                  </a:cubicBezTo>
                  <a:cubicBezTo>
                    <a:pt x="93" y="152"/>
                    <a:pt x="98" y="155"/>
                    <a:pt x="102" y="159"/>
                  </a:cubicBezTo>
                  <a:cubicBezTo>
                    <a:pt x="106" y="162"/>
                    <a:pt x="112" y="164"/>
                    <a:pt x="113" y="169"/>
                  </a:cubicBezTo>
                  <a:cubicBezTo>
                    <a:pt x="114" y="174"/>
                    <a:pt x="115" y="178"/>
                    <a:pt x="115" y="183"/>
                  </a:cubicBezTo>
                  <a:cubicBezTo>
                    <a:pt x="115" y="185"/>
                    <a:pt x="114" y="186"/>
                    <a:pt x="114" y="188"/>
                  </a:cubicBezTo>
                  <a:cubicBezTo>
                    <a:pt x="114" y="190"/>
                    <a:pt x="114" y="193"/>
                    <a:pt x="113" y="196"/>
                  </a:cubicBezTo>
                  <a:cubicBezTo>
                    <a:pt x="114" y="194"/>
                    <a:pt x="114" y="193"/>
                    <a:pt x="115" y="192"/>
                  </a:cubicBezTo>
                  <a:cubicBezTo>
                    <a:pt x="114" y="193"/>
                    <a:pt x="114" y="196"/>
                    <a:pt x="114" y="197"/>
                  </a:cubicBezTo>
                  <a:cubicBezTo>
                    <a:pt x="118" y="200"/>
                    <a:pt x="123" y="201"/>
                    <a:pt x="127" y="204"/>
                  </a:cubicBezTo>
                  <a:cubicBezTo>
                    <a:pt x="134" y="210"/>
                    <a:pt x="140" y="215"/>
                    <a:pt x="147" y="220"/>
                  </a:cubicBezTo>
                  <a:cubicBezTo>
                    <a:pt x="150" y="223"/>
                    <a:pt x="153" y="225"/>
                    <a:pt x="156" y="228"/>
                  </a:cubicBezTo>
                  <a:cubicBezTo>
                    <a:pt x="160" y="232"/>
                    <a:pt x="163" y="239"/>
                    <a:pt x="165" y="244"/>
                  </a:cubicBezTo>
                  <a:cubicBezTo>
                    <a:pt x="167" y="243"/>
                    <a:pt x="169" y="241"/>
                    <a:pt x="170" y="240"/>
                  </a:cubicBezTo>
                  <a:cubicBezTo>
                    <a:pt x="172" y="239"/>
                    <a:pt x="173" y="239"/>
                    <a:pt x="175" y="238"/>
                  </a:cubicBezTo>
                  <a:cubicBezTo>
                    <a:pt x="177" y="236"/>
                    <a:pt x="177" y="233"/>
                    <a:pt x="177" y="231"/>
                  </a:cubicBezTo>
                  <a:cubicBezTo>
                    <a:pt x="176" y="226"/>
                    <a:pt x="171" y="226"/>
                    <a:pt x="170" y="223"/>
                  </a:cubicBezTo>
                  <a:cubicBezTo>
                    <a:pt x="170" y="221"/>
                    <a:pt x="169" y="217"/>
                    <a:pt x="168" y="216"/>
                  </a:cubicBezTo>
                  <a:cubicBezTo>
                    <a:pt x="168" y="216"/>
                    <a:pt x="168" y="216"/>
                    <a:pt x="167" y="216"/>
                  </a:cubicBezTo>
                  <a:cubicBezTo>
                    <a:pt x="167" y="216"/>
                    <a:pt x="167" y="216"/>
                    <a:pt x="166" y="216"/>
                  </a:cubicBezTo>
                  <a:cubicBezTo>
                    <a:pt x="166" y="216"/>
                    <a:pt x="166" y="216"/>
                    <a:pt x="165" y="216"/>
                  </a:cubicBezTo>
                  <a:cubicBezTo>
                    <a:pt x="165" y="216"/>
                    <a:pt x="165" y="216"/>
                    <a:pt x="165" y="216"/>
                  </a:cubicBezTo>
                  <a:cubicBezTo>
                    <a:pt x="162" y="215"/>
                    <a:pt x="160" y="208"/>
                    <a:pt x="157" y="208"/>
                  </a:cubicBezTo>
                  <a:cubicBezTo>
                    <a:pt x="157" y="208"/>
                    <a:pt x="157" y="208"/>
                    <a:pt x="157" y="208"/>
                  </a:cubicBezTo>
                  <a:cubicBezTo>
                    <a:pt x="155" y="208"/>
                    <a:pt x="156" y="210"/>
                    <a:pt x="156" y="212"/>
                  </a:cubicBezTo>
                  <a:cubicBezTo>
                    <a:pt x="154" y="212"/>
                    <a:pt x="151" y="212"/>
                    <a:pt x="150" y="211"/>
                  </a:cubicBezTo>
                  <a:cubicBezTo>
                    <a:pt x="147" y="208"/>
                    <a:pt x="147" y="202"/>
                    <a:pt x="147" y="199"/>
                  </a:cubicBezTo>
                  <a:cubicBezTo>
                    <a:pt x="148" y="194"/>
                    <a:pt x="144" y="190"/>
                    <a:pt x="142" y="185"/>
                  </a:cubicBezTo>
                  <a:cubicBezTo>
                    <a:pt x="140" y="181"/>
                    <a:pt x="138" y="176"/>
                    <a:pt x="136" y="171"/>
                  </a:cubicBezTo>
                  <a:cubicBezTo>
                    <a:pt x="136" y="171"/>
                    <a:pt x="136" y="171"/>
                    <a:pt x="136" y="171"/>
                  </a:cubicBezTo>
                  <a:cubicBezTo>
                    <a:pt x="135" y="172"/>
                    <a:pt x="135" y="172"/>
                    <a:pt x="135" y="172"/>
                  </a:cubicBezTo>
                  <a:cubicBezTo>
                    <a:pt x="136" y="169"/>
                    <a:pt x="133" y="165"/>
                    <a:pt x="132" y="162"/>
                  </a:cubicBezTo>
                  <a:cubicBezTo>
                    <a:pt x="131" y="160"/>
                    <a:pt x="131" y="158"/>
                    <a:pt x="130" y="155"/>
                  </a:cubicBezTo>
                  <a:cubicBezTo>
                    <a:pt x="128" y="151"/>
                    <a:pt x="125" y="147"/>
                    <a:pt x="121" y="145"/>
                  </a:cubicBezTo>
                  <a:cubicBezTo>
                    <a:pt x="122" y="147"/>
                    <a:pt x="123" y="150"/>
                    <a:pt x="123" y="152"/>
                  </a:cubicBezTo>
                  <a:cubicBezTo>
                    <a:pt x="120" y="152"/>
                    <a:pt x="119" y="144"/>
                    <a:pt x="118" y="141"/>
                  </a:cubicBezTo>
                  <a:cubicBezTo>
                    <a:pt x="118" y="140"/>
                    <a:pt x="116" y="139"/>
                    <a:pt x="113" y="138"/>
                  </a:cubicBezTo>
                  <a:cubicBezTo>
                    <a:pt x="111" y="137"/>
                    <a:pt x="109" y="132"/>
                    <a:pt x="107" y="130"/>
                  </a:cubicBezTo>
                  <a:cubicBezTo>
                    <a:pt x="105" y="126"/>
                    <a:pt x="103" y="120"/>
                    <a:pt x="99" y="117"/>
                  </a:cubicBezTo>
                  <a:cubicBezTo>
                    <a:pt x="100" y="117"/>
                    <a:pt x="100" y="117"/>
                    <a:pt x="100" y="117"/>
                  </a:cubicBezTo>
                  <a:cubicBezTo>
                    <a:pt x="99" y="115"/>
                    <a:pt x="98" y="113"/>
                    <a:pt x="98" y="110"/>
                  </a:cubicBezTo>
                  <a:cubicBezTo>
                    <a:pt x="97" y="109"/>
                    <a:pt x="98" y="107"/>
                    <a:pt x="97" y="106"/>
                  </a:cubicBezTo>
                  <a:cubicBezTo>
                    <a:pt x="95" y="106"/>
                    <a:pt x="94" y="106"/>
                    <a:pt x="93" y="105"/>
                  </a:cubicBezTo>
                  <a:cubicBezTo>
                    <a:pt x="88" y="103"/>
                    <a:pt x="86" y="97"/>
                    <a:pt x="83" y="93"/>
                  </a:cubicBezTo>
                  <a:cubicBezTo>
                    <a:pt x="83" y="94"/>
                    <a:pt x="83" y="94"/>
                    <a:pt x="83" y="94"/>
                  </a:cubicBezTo>
                  <a:cubicBezTo>
                    <a:pt x="81" y="94"/>
                    <a:pt x="78" y="88"/>
                    <a:pt x="77" y="87"/>
                  </a:cubicBezTo>
                  <a:cubicBezTo>
                    <a:pt x="74" y="83"/>
                    <a:pt x="71" y="79"/>
                    <a:pt x="68" y="75"/>
                  </a:cubicBezTo>
                  <a:cubicBezTo>
                    <a:pt x="66" y="73"/>
                    <a:pt x="65" y="73"/>
                    <a:pt x="64" y="73"/>
                  </a:cubicBezTo>
                  <a:cubicBezTo>
                    <a:pt x="62" y="72"/>
                    <a:pt x="60" y="70"/>
                    <a:pt x="59" y="68"/>
                  </a:cubicBezTo>
                  <a:cubicBezTo>
                    <a:pt x="57" y="64"/>
                    <a:pt x="57" y="60"/>
                    <a:pt x="56" y="56"/>
                  </a:cubicBezTo>
                  <a:cubicBezTo>
                    <a:pt x="55" y="50"/>
                    <a:pt x="51" y="44"/>
                    <a:pt x="52" y="38"/>
                  </a:cubicBezTo>
                  <a:cubicBezTo>
                    <a:pt x="52" y="34"/>
                    <a:pt x="52" y="31"/>
                    <a:pt x="52" y="28"/>
                  </a:cubicBezTo>
                  <a:cubicBezTo>
                    <a:pt x="53" y="24"/>
                    <a:pt x="51" y="23"/>
                    <a:pt x="50" y="20"/>
                  </a:cubicBezTo>
                  <a:cubicBezTo>
                    <a:pt x="50" y="19"/>
                    <a:pt x="50" y="19"/>
                    <a:pt x="50" y="18"/>
                  </a:cubicBezTo>
                  <a:cubicBezTo>
                    <a:pt x="50" y="19"/>
                    <a:pt x="51" y="19"/>
                    <a:pt x="52" y="20"/>
                  </a:cubicBezTo>
                  <a:cubicBezTo>
                    <a:pt x="56" y="22"/>
                    <a:pt x="60" y="24"/>
                    <a:pt x="65" y="27"/>
                  </a:cubicBezTo>
                  <a:cubicBezTo>
                    <a:pt x="66" y="28"/>
                    <a:pt x="67" y="29"/>
                    <a:pt x="69" y="29"/>
                  </a:cubicBezTo>
                  <a:cubicBezTo>
                    <a:pt x="70" y="29"/>
                    <a:pt x="70" y="28"/>
                    <a:pt x="71" y="27"/>
                  </a:cubicBezTo>
                  <a:cubicBezTo>
                    <a:pt x="72" y="27"/>
                    <a:pt x="71" y="26"/>
                    <a:pt x="71" y="26"/>
                  </a:cubicBezTo>
                  <a:cubicBezTo>
                    <a:pt x="72" y="25"/>
                    <a:pt x="71" y="25"/>
                    <a:pt x="71" y="24"/>
                  </a:cubicBezTo>
                  <a:cubicBezTo>
                    <a:pt x="71" y="24"/>
                    <a:pt x="72" y="24"/>
                    <a:pt x="72" y="24"/>
                  </a:cubicBezTo>
                  <a:cubicBezTo>
                    <a:pt x="73" y="24"/>
                    <a:pt x="78" y="29"/>
                    <a:pt x="79" y="30"/>
                  </a:cubicBezTo>
                  <a:cubicBezTo>
                    <a:pt x="83" y="32"/>
                    <a:pt x="87" y="35"/>
                    <a:pt x="90" y="37"/>
                  </a:cubicBezTo>
                  <a:cubicBezTo>
                    <a:pt x="93" y="39"/>
                    <a:pt x="93" y="39"/>
                    <a:pt x="92" y="43"/>
                  </a:cubicBezTo>
                  <a:cubicBezTo>
                    <a:pt x="91" y="46"/>
                    <a:pt x="91" y="47"/>
                    <a:pt x="93" y="50"/>
                  </a:cubicBezTo>
                  <a:cubicBezTo>
                    <a:pt x="96" y="56"/>
                    <a:pt x="99" y="61"/>
                    <a:pt x="101" y="68"/>
                  </a:cubicBezTo>
                  <a:cubicBezTo>
                    <a:pt x="103" y="72"/>
                    <a:pt x="105" y="76"/>
                    <a:pt x="107" y="80"/>
                  </a:cubicBezTo>
                  <a:cubicBezTo>
                    <a:pt x="107" y="81"/>
                    <a:pt x="107" y="83"/>
                    <a:pt x="108" y="84"/>
                  </a:cubicBezTo>
                  <a:cubicBezTo>
                    <a:pt x="108" y="85"/>
                    <a:pt x="112" y="85"/>
                    <a:pt x="112" y="86"/>
                  </a:cubicBezTo>
                  <a:cubicBezTo>
                    <a:pt x="113" y="87"/>
                    <a:pt x="112" y="92"/>
                    <a:pt x="113" y="93"/>
                  </a:cubicBezTo>
                  <a:cubicBezTo>
                    <a:pt x="119" y="99"/>
                    <a:pt x="124" y="104"/>
                    <a:pt x="130" y="110"/>
                  </a:cubicBezTo>
                  <a:cubicBezTo>
                    <a:pt x="133" y="113"/>
                    <a:pt x="139" y="120"/>
                    <a:pt x="144" y="120"/>
                  </a:cubicBezTo>
                  <a:cubicBezTo>
                    <a:pt x="146" y="120"/>
                    <a:pt x="147" y="120"/>
                    <a:pt x="149" y="120"/>
                  </a:cubicBezTo>
                  <a:cubicBezTo>
                    <a:pt x="153" y="121"/>
                    <a:pt x="150" y="121"/>
                    <a:pt x="150" y="122"/>
                  </a:cubicBezTo>
                  <a:cubicBezTo>
                    <a:pt x="150" y="122"/>
                    <a:pt x="150" y="122"/>
                    <a:pt x="150" y="122"/>
                  </a:cubicBezTo>
                  <a:cubicBezTo>
                    <a:pt x="150" y="122"/>
                    <a:pt x="150" y="122"/>
                    <a:pt x="150" y="122"/>
                  </a:cubicBezTo>
                  <a:cubicBezTo>
                    <a:pt x="149" y="123"/>
                    <a:pt x="149" y="123"/>
                    <a:pt x="149" y="123"/>
                  </a:cubicBezTo>
                  <a:cubicBezTo>
                    <a:pt x="149" y="123"/>
                    <a:pt x="149" y="123"/>
                    <a:pt x="149" y="123"/>
                  </a:cubicBezTo>
                  <a:cubicBezTo>
                    <a:pt x="147" y="130"/>
                    <a:pt x="153" y="137"/>
                    <a:pt x="159" y="139"/>
                  </a:cubicBezTo>
                  <a:cubicBezTo>
                    <a:pt x="161" y="139"/>
                    <a:pt x="162" y="139"/>
                    <a:pt x="164" y="140"/>
                  </a:cubicBezTo>
                  <a:cubicBezTo>
                    <a:pt x="165" y="140"/>
                    <a:pt x="166" y="144"/>
                    <a:pt x="166" y="145"/>
                  </a:cubicBezTo>
                  <a:cubicBezTo>
                    <a:pt x="167" y="147"/>
                    <a:pt x="171" y="147"/>
                    <a:pt x="173" y="148"/>
                  </a:cubicBezTo>
                  <a:cubicBezTo>
                    <a:pt x="178" y="150"/>
                    <a:pt x="183" y="156"/>
                    <a:pt x="184" y="162"/>
                  </a:cubicBezTo>
                  <a:cubicBezTo>
                    <a:pt x="184" y="161"/>
                    <a:pt x="183" y="160"/>
                    <a:pt x="183" y="159"/>
                  </a:cubicBezTo>
                  <a:cubicBezTo>
                    <a:pt x="182" y="161"/>
                    <a:pt x="180" y="161"/>
                    <a:pt x="179" y="163"/>
                  </a:cubicBezTo>
                  <a:cubicBezTo>
                    <a:pt x="179" y="165"/>
                    <a:pt x="177" y="168"/>
                    <a:pt x="177" y="170"/>
                  </a:cubicBezTo>
                  <a:cubicBezTo>
                    <a:pt x="177" y="173"/>
                    <a:pt x="177" y="173"/>
                    <a:pt x="177" y="175"/>
                  </a:cubicBezTo>
                  <a:cubicBezTo>
                    <a:pt x="177" y="174"/>
                    <a:pt x="178" y="173"/>
                    <a:pt x="178" y="173"/>
                  </a:cubicBezTo>
                  <a:cubicBezTo>
                    <a:pt x="179" y="173"/>
                    <a:pt x="180" y="175"/>
                    <a:pt x="180" y="176"/>
                  </a:cubicBezTo>
                  <a:cubicBezTo>
                    <a:pt x="180" y="176"/>
                    <a:pt x="179" y="176"/>
                    <a:pt x="179" y="176"/>
                  </a:cubicBezTo>
                  <a:cubicBezTo>
                    <a:pt x="179" y="176"/>
                    <a:pt x="179" y="176"/>
                    <a:pt x="180" y="176"/>
                  </a:cubicBezTo>
                  <a:cubicBezTo>
                    <a:pt x="180" y="176"/>
                    <a:pt x="181" y="176"/>
                    <a:pt x="181" y="176"/>
                  </a:cubicBezTo>
                  <a:cubicBezTo>
                    <a:pt x="181" y="175"/>
                    <a:pt x="181" y="175"/>
                    <a:pt x="181" y="175"/>
                  </a:cubicBezTo>
                  <a:cubicBezTo>
                    <a:pt x="181" y="175"/>
                    <a:pt x="181" y="175"/>
                    <a:pt x="182" y="175"/>
                  </a:cubicBezTo>
                  <a:cubicBezTo>
                    <a:pt x="183" y="176"/>
                    <a:pt x="183" y="177"/>
                    <a:pt x="184" y="177"/>
                  </a:cubicBezTo>
                  <a:cubicBezTo>
                    <a:pt x="184" y="177"/>
                    <a:pt x="184" y="177"/>
                    <a:pt x="184" y="177"/>
                  </a:cubicBezTo>
                  <a:cubicBezTo>
                    <a:pt x="185" y="177"/>
                    <a:pt x="186" y="177"/>
                    <a:pt x="187" y="177"/>
                  </a:cubicBezTo>
                  <a:cubicBezTo>
                    <a:pt x="187" y="177"/>
                    <a:pt x="188" y="177"/>
                    <a:pt x="189" y="177"/>
                  </a:cubicBezTo>
                  <a:cubicBezTo>
                    <a:pt x="189" y="177"/>
                    <a:pt x="189" y="177"/>
                    <a:pt x="189" y="177"/>
                  </a:cubicBezTo>
                  <a:cubicBezTo>
                    <a:pt x="188" y="178"/>
                    <a:pt x="187" y="179"/>
                    <a:pt x="186" y="181"/>
                  </a:cubicBezTo>
                  <a:cubicBezTo>
                    <a:pt x="193" y="182"/>
                    <a:pt x="200" y="184"/>
                    <a:pt x="205" y="188"/>
                  </a:cubicBezTo>
                  <a:cubicBezTo>
                    <a:pt x="206" y="190"/>
                    <a:pt x="208" y="191"/>
                    <a:pt x="210" y="193"/>
                  </a:cubicBezTo>
                  <a:cubicBezTo>
                    <a:pt x="210" y="193"/>
                    <a:pt x="210" y="196"/>
                    <a:pt x="210" y="197"/>
                  </a:cubicBezTo>
                  <a:cubicBezTo>
                    <a:pt x="211" y="199"/>
                    <a:pt x="211" y="202"/>
                    <a:pt x="214" y="204"/>
                  </a:cubicBezTo>
                  <a:cubicBezTo>
                    <a:pt x="213" y="203"/>
                    <a:pt x="213" y="203"/>
                    <a:pt x="212" y="202"/>
                  </a:cubicBezTo>
                  <a:cubicBezTo>
                    <a:pt x="214" y="203"/>
                    <a:pt x="215" y="204"/>
                    <a:pt x="217" y="205"/>
                  </a:cubicBezTo>
                  <a:cubicBezTo>
                    <a:pt x="218" y="205"/>
                    <a:pt x="218" y="205"/>
                    <a:pt x="219" y="205"/>
                  </a:cubicBezTo>
                  <a:cubicBezTo>
                    <a:pt x="219" y="205"/>
                    <a:pt x="219" y="205"/>
                    <a:pt x="219" y="205"/>
                  </a:cubicBezTo>
                  <a:cubicBezTo>
                    <a:pt x="219" y="205"/>
                    <a:pt x="220" y="205"/>
                    <a:pt x="220" y="205"/>
                  </a:cubicBezTo>
                  <a:cubicBezTo>
                    <a:pt x="220" y="204"/>
                    <a:pt x="220" y="204"/>
                    <a:pt x="221" y="204"/>
                  </a:cubicBezTo>
                  <a:cubicBezTo>
                    <a:pt x="221" y="204"/>
                    <a:pt x="221" y="204"/>
                    <a:pt x="221" y="204"/>
                  </a:cubicBezTo>
                  <a:cubicBezTo>
                    <a:pt x="223" y="205"/>
                    <a:pt x="221" y="207"/>
                    <a:pt x="219" y="207"/>
                  </a:cubicBezTo>
                  <a:cubicBezTo>
                    <a:pt x="219" y="207"/>
                    <a:pt x="219" y="207"/>
                    <a:pt x="219" y="207"/>
                  </a:cubicBezTo>
                  <a:cubicBezTo>
                    <a:pt x="227" y="213"/>
                    <a:pt x="233" y="219"/>
                    <a:pt x="239" y="227"/>
                  </a:cubicBezTo>
                  <a:cubicBezTo>
                    <a:pt x="246" y="236"/>
                    <a:pt x="253" y="243"/>
                    <a:pt x="261" y="251"/>
                  </a:cubicBezTo>
                  <a:cubicBezTo>
                    <a:pt x="264" y="254"/>
                    <a:pt x="265" y="260"/>
                    <a:pt x="264" y="264"/>
                  </a:cubicBezTo>
                  <a:cubicBezTo>
                    <a:pt x="264" y="269"/>
                    <a:pt x="269" y="274"/>
                    <a:pt x="272" y="277"/>
                  </a:cubicBezTo>
                  <a:cubicBezTo>
                    <a:pt x="274" y="280"/>
                    <a:pt x="275" y="280"/>
                    <a:pt x="274" y="282"/>
                  </a:cubicBezTo>
                  <a:cubicBezTo>
                    <a:pt x="272" y="285"/>
                    <a:pt x="271" y="289"/>
                    <a:pt x="270" y="292"/>
                  </a:cubicBezTo>
                  <a:cubicBezTo>
                    <a:pt x="270" y="293"/>
                    <a:pt x="268" y="294"/>
                    <a:pt x="267" y="295"/>
                  </a:cubicBezTo>
                  <a:cubicBezTo>
                    <a:pt x="268" y="296"/>
                    <a:pt x="270" y="296"/>
                    <a:pt x="271" y="296"/>
                  </a:cubicBezTo>
                  <a:cubicBezTo>
                    <a:pt x="272" y="297"/>
                    <a:pt x="273" y="297"/>
                    <a:pt x="273" y="297"/>
                  </a:cubicBezTo>
                  <a:cubicBezTo>
                    <a:pt x="273" y="299"/>
                    <a:pt x="275" y="300"/>
                    <a:pt x="273" y="300"/>
                  </a:cubicBezTo>
                  <a:cubicBezTo>
                    <a:pt x="271" y="301"/>
                    <a:pt x="266" y="302"/>
                    <a:pt x="265" y="303"/>
                  </a:cubicBezTo>
                  <a:cubicBezTo>
                    <a:pt x="262" y="307"/>
                    <a:pt x="271" y="318"/>
                    <a:pt x="273" y="321"/>
                  </a:cubicBezTo>
                  <a:cubicBezTo>
                    <a:pt x="276" y="327"/>
                    <a:pt x="282" y="331"/>
                    <a:pt x="288" y="334"/>
                  </a:cubicBezTo>
                  <a:cubicBezTo>
                    <a:pt x="293" y="337"/>
                    <a:pt x="299" y="339"/>
                    <a:pt x="304" y="342"/>
                  </a:cubicBezTo>
                  <a:cubicBezTo>
                    <a:pt x="308" y="345"/>
                    <a:pt x="310" y="349"/>
                    <a:pt x="314" y="353"/>
                  </a:cubicBezTo>
                  <a:cubicBezTo>
                    <a:pt x="316" y="355"/>
                    <a:pt x="319" y="356"/>
                    <a:pt x="322" y="357"/>
                  </a:cubicBezTo>
                  <a:cubicBezTo>
                    <a:pt x="329" y="360"/>
                    <a:pt x="336" y="362"/>
                    <a:pt x="343" y="364"/>
                  </a:cubicBezTo>
                  <a:cubicBezTo>
                    <a:pt x="344" y="364"/>
                    <a:pt x="344" y="364"/>
                    <a:pt x="344" y="364"/>
                  </a:cubicBezTo>
                  <a:cubicBezTo>
                    <a:pt x="345" y="364"/>
                    <a:pt x="346" y="363"/>
                    <a:pt x="347" y="363"/>
                  </a:cubicBezTo>
                  <a:cubicBezTo>
                    <a:pt x="347" y="363"/>
                    <a:pt x="348" y="363"/>
                    <a:pt x="349" y="363"/>
                  </a:cubicBezTo>
                  <a:cubicBezTo>
                    <a:pt x="349" y="363"/>
                    <a:pt x="350" y="363"/>
                    <a:pt x="351" y="363"/>
                  </a:cubicBezTo>
                  <a:cubicBezTo>
                    <a:pt x="356" y="367"/>
                    <a:pt x="360" y="371"/>
                    <a:pt x="366" y="375"/>
                  </a:cubicBezTo>
                  <a:cubicBezTo>
                    <a:pt x="377" y="382"/>
                    <a:pt x="390" y="385"/>
                    <a:pt x="401" y="391"/>
                  </a:cubicBezTo>
                  <a:cubicBezTo>
                    <a:pt x="407" y="394"/>
                    <a:pt x="413" y="395"/>
                    <a:pt x="420" y="396"/>
                  </a:cubicBezTo>
                  <a:cubicBezTo>
                    <a:pt x="423" y="397"/>
                    <a:pt x="424" y="397"/>
                    <a:pt x="427" y="400"/>
                  </a:cubicBezTo>
                  <a:cubicBezTo>
                    <a:pt x="429" y="403"/>
                    <a:pt x="432" y="403"/>
                    <a:pt x="435" y="404"/>
                  </a:cubicBezTo>
                  <a:cubicBezTo>
                    <a:pt x="438" y="405"/>
                    <a:pt x="441" y="406"/>
                    <a:pt x="443" y="408"/>
                  </a:cubicBezTo>
                  <a:cubicBezTo>
                    <a:pt x="447" y="410"/>
                    <a:pt x="448" y="410"/>
                    <a:pt x="453" y="411"/>
                  </a:cubicBezTo>
                  <a:cubicBezTo>
                    <a:pt x="455" y="411"/>
                    <a:pt x="458" y="411"/>
                    <a:pt x="461" y="412"/>
                  </a:cubicBezTo>
                  <a:cubicBezTo>
                    <a:pt x="463" y="413"/>
                    <a:pt x="465" y="415"/>
                    <a:pt x="468" y="416"/>
                  </a:cubicBezTo>
                  <a:cubicBezTo>
                    <a:pt x="472" y="417"/>
                    <a:pt x="474" y="417"/>
                    <a:pt x="477" y="417"/>
                  </a:cubicBezTo>
                  <a:cubicBezTo>
                    <a:pt x="479" y="417"/>
                    <a:pt x="482" y="417"/>
                    <a:pt x="485" y="416"/>
                  </a:cubicBezTo>
                  <a:cubicBezTo>
                    <a:pt x="490" y="415"/>
                    <a:pt x="494" y="412"/>
                    <a:pt x="500" y="411"/>
                  </a:cubicBezTo>
                  <a:cubicBezTo>
                    <a:pt x="502" y="410"/>
                    <a:pt x="504" y="407"/>
                    <a:pt x="506" y="406"/>
                  </a:cubicBezTo>
                  <a:cubicBezTo>
                    <a:pt x="508" y="406"/>
                    <a:pt x="510" y="405"/>
                    <a:pt x="512" y="405"/>
                  </a:cubicBezTo>
                  <a:cubicBezTo>
                    <a:pt x="513" y="405"/>
                    <a:pt x="514" y="405"/>
                    <a:pt x="515" y="405"/>
                  </a:cubicBezTo>
                  <a:cubicBezTo>
                    <a:pt x="515" y="405"/>
                    <a:pt x="515" y="405"/>
                    <a:pt x="515" y="405"/>
                  </a:cubicBezTo>
                  <a:cubicBezTo>
                    <a:pt x="513" y="404"/>
                    <a:pt x="512" y="404"/>
                    <a:pt x="510" y="403"/>
                  </a:cubicBezTo>
                  <a:cubicBezTo>
                    <a:pt x="512" y="402"/>
                    <a:pt x="514" y="401"/>
                    <a:pt x="516" y="400"/>
                  </a:cubicBezTo>
                  <a:cubicBezTo>
                    <a:pt x="516" y="402"/>
                    <a:pt x="516" y="403"/>
                    <a:pt x="517" y="403"/>
                  </a:cubicBezTo>
                  <a:cubicBezTo>
                    <a:pt x="517" y="403"/>
                    <a:pt x="518" y="403"/>
                    <a:pt x="520" y="402"/>
                  </a:cubicBezTo>
                  <a:cubicBezTo>
                    <a:pt x="520" y="403"/>
                    <a:pt x="519" y="404"/>
                    <a:pt x="518" y="405"/>
                  </a:cubicBezTo>
                  <a:cubicBezTo>
                    <a:pt x="520" y="406"/>
                    <a:pt x="523" y="406"/>
                    <a:pt x="525" y="406"/>
                  </a:cubicBezTo>
                  <a:cubicBezTo>
                    <a:pt x="528" y="406"/>
                    <a:pt x="531" y="408"/>
                    <a:pt x="533" y="409"/>
                  </a:cubicBezTo>
                  <a:cubicBezTo>
                    <a:pt x="532" y="406"/>
                    <a:pt x="527" y="406"/>
                    <a:pt x="525" y="404"/>
                  </a:cubicBezTo>
                  <a:cubicBezTo>
                    <a:pt x="525" y="404"/>
                    <a:pt x="526" y="403"/>
                    <a:pt x="527" y="403"/>
                  </a:cubicBezTo>
                  <a:cubicBezTo>
                    <a:pt x="530" y="403"/>
                    <a:pt x="536" y="408"/>
                    <a:pt x="538" y="410"/>
                  </a:cubicBezTo>
                  <a:cubicBezTo>
                    <a:pt x="543" y="414"/>
                    <a:pt x="548" y="418"/>
                    <a:pt x="553" y="422"/>
                  </a:cubicBezTo>
                  <a:cubicBezTo>
                    <a:pt x="555" y="423"/>
                    <a:pt x="556" y="426"/>
                    <a:pt x="558" y="427"/>
                  </a:cubicBezTo>
                  <a:cubicBezTo>
                    <a:pt x="560" y="428"/>
                    <a:pt x="563" y="429"/>
                    <a:pt x="564" y="430"/>
                  </a:cubicBezTo>
                  <a:cubicBezTo>
                    <a:pt x="567" y="435"/>
                    <a:pt x="570" y="439"/>
                    <a:pt x="573" y="442"/>
                  </a:cubicBezTo>
                  <a:cubicBezTo>
                    <a:pt x="574" y="441"/>
                    <a:pt x="574" y="441"/>
                    <a:pt x="574" y="441"/>
                  </a:cubicBezTo>
                  <a:cubicBezTo>
                    <a:pt x="574" y="441"/>
                    <a:pt x="574" y="441"/>
                    <a:pt x="574" y="441"/>
                  </a:cubicBezTo>
                  <a:cubicBezTo>
                    <a:pt x="574" y="440"/>
                    <a:pt x="574" y="440"/>
                    <a:pt x="574" y="440"/>
                  </a:cubicBezTo>
                  <a:cubicBezTo>
                    <a:pt x="574" y="439"/>
                    <a:pt x="574" y="439"/>
                    <a:pt x="574" y="439"/>
                  </a:cubicBezTo>
                  <a:cubicBezTo>
                    <a:pt x="574" y="438"/>
                    <a:pt x="574" y="437"/>
                    <a:pt x="575" y="435"/>
                  </a:cubicBezTo>
                  <a:cubicBezTo>
                    <a:pt x="575" y="435"/>
                    <a:pt x="575" y="435"/>
                    <a:pt x="575" y="435"/>
                  </a:cubicBezTo>
                  <a:cubicBezTo>
                    <a:pt x="575" y="435"/>
                    <a:pt x="575" y="433"/>
                    <a:pt x="575" y="432"/>
                  </a:cubicBezTo>
                  <a:cubicBezTo>
                    <a:pt x="576" y="432"/>
                    <a:pt x="576" y="432"/>
                    <a:pt x="576" y="432"/>
                  </a:cubicBezTo>
                  <a:cubicBezTo>
                    <a:pt x="574" y="430"/>
                    <a:pt x="574" y="428"/>
                    <a:pt x="574" y="426"/>
                  </a:cubicBezTo>
                  <a:cubicBezTo>
                    <a:pt x="575" y="425"/>
                    <a:pt x="575" y="425"/>
                    <a:pt x="575" y="425"/>
                  </a:cubicBezTo>
                  <a:cubicBezTo>
                    <a:pt x="575" y="425"/>
                    <a:pt x="575" y="425"/>
                    <a:pt x="575" y="425"/>
                  </a:cubicBezTo>
                  <a:cubicBezTo>
                    <a:pt x="575" y="424"/>
                    <a:pt x="575" y="424"/>
                    <a:pt x="575" y="424"/>
                  </a:cubicBezTo>
                  <a:cubicBezTo>
                    <a:pt x="575" y="423"/>
                    <a:pt x="575" y="423"/>
                    <a:pt x="575" y="423"/>
                  </a:cubicBezTo>
                  <a:cubicBezTo>
                    <a:pt x="576" y="420"/>
                    <a:pt x="579" y="416"/>
                    <a:pt x="581" y="413"/>
                  </a:cubicBezTo>
                  <a:cubicBezTo>
                    <a:pt x="582" y="411"/>
                    <a:pt x="582" y="411"/>
                    <a:pt x="582" y="411"/>
                  </a:cubicBezTo>
                  <a:cubicBezTo>
                    <a:pt x="583" y="410"/>
                    <a:pt x="584" y="409"/>
                    <a:pt x="586" y="408"/>
                  </a:cubicBezTo>
                  <a:cubicBezTo>
                    <a:pt x="586" y="408"/>
                    <a:pt x="587" y="407"/>
                    <a:pt x="587" y="407"/>
                  </a:cubicBezTo>
                  <a:cubicBezTo>
                    <a:pt x="589" y="406"/>
                    <a:pt x="591" y="406"/>
                    <a:pt x="592" y="406"/>
                  </a:cubicBezTo>
                  <a:cubicBezTo>
                    <a:pt x="594" y="405"/>
                    <a:pt x="597" y="405"/>
                    <a:pt x="599" y="405"/>
                  </a:cubicBezTo>
                  <a:cubicBezTo>
                    <a:pt x="600" y="405"/>
                    <a:pt x="601" y="405"/>
                    <a:pt x="602" y="405"/>
                  </a:cubicBezTo>
                  <a:cubicBezTo>
                    <a:pt x="603" y="405"/>
                    <a:pt x="604" y="405"/>
                    <a:pt x="605" y="405"/>
                  </a:cubicBezTo>
                  <a:cubicBezTo>
                    <a:pt x="615" y="405"/>
                    <a:pt x="615" y="405"/>
                    <a:pt x="615" y="405"/>
                  </a:cubicBezTo>
                  <a:cubicBezTo>
                    <a:pt x="615" y="404"/>
                    <a:pt x="615" y="404"/>
                    <a:pt x="615" y="404"/>
                  </a:cubicBezTo>
                  <a:cubicBezTo>
                    <a:pt x="615" y="404"/>
                    <a:pt x="615" y="404"/>
                    <a:pt x="615" y="404"/>
                  </a:cubicBezTo>
                  <a:cubicBezTo>
                    <a:pt x="615" y="403"/>
                    <a:pt x="615" y="403"/>
                    <a:pt x="616" y="402"/>
                  </a:cubicBezTo>
                  <a:cubicBezTo>
                    <a:pt x="615" y="402"/>
                    <a:pt x="615" y="402"/>
                    <a:pt x="615" y="402"/>
                  </a:cubicBezTo>
                  <a:cubicBezTo>
                    <a:pt x="615" y="402"/>
                    <a:pt x="615" y="402"/>
                    <a:pt x="615" y="402"/>
                  </a:cubicBezTo>
                  <a:cubicBezTo>
                    <a:pt x="615" y="401"/>
                    <a:pt x="614" y="401"/>
                    <a:pt x="613" y="401"/>
                  </a:cubicBezTo>
                  <a:cubicBezTo>
                    <a:pt x="610" y="399"/>
                    <a:pt x="608" y="397"/>
                    <a:pt x="606" y="394"/>
                  </a:cubicBezTo>
                  <a:cubicBezTo>
                    <a:pt x="606" y="394"/>
                    <a:pt x="606" y="394"/>
                    <a:pt x="606" y="394"/>
                  </a:cubicBezTo>
                  <a:cubicBezTo>
                    <a:pt x="605" y="394"/>
                    <a:pt x="605" y="394"/>
                    <a:pt x="605" y="394"/>
                  </a:cubicBezTo>
                  <a:cubicBezTo>
                    <a:pt x="605" y="393"/>
                    <a:pt x="604" y="392"/>
                    <a:pt x="603" y="391"/>
                  </a:cubicBezTo>
                  <a:cubicBezTo>
                    <a:pt x="602" y="391"/>
                    <a:pt x="601" y="390"/>
                    <a:pt x="601" y="389"/>
                  </a:cubicBezTo>
                  <a:cubicBezTo>
                    <a:pt x="598" y="387"/>
                    <a:pt x="598" y="387"/>
                    <a:pt x="598" y="387"/>
                  </a:cubicBezTo>
                  <a:cubicBezTo>
                    <a:pt x="596" y="385"/>
                    <a:pt x="594" y="383"/>
                    <a:pt x="592" y="382"/>
                  </a:cubicBezTo>
                  <a:cubicBezTo>
                    <a:pt x="586" y="377"/>
                    <a:pt x="586" y="377"/>
                    <a:pt x="586" y="377"/>
                  </a:cubicBezTo>
                  <a:cubicBezTo>
                    <a:pt x="602" y="377"/>
                    <a:pt x="602" y="377"/>
                    <a:pt x="602" y="377"/>
                  </a:cubicBezTo>
                  <a:cubicBezTo>
                    <a:pt x="602" y="377"/>
                    <a:pt x="602" y="377"/>
                    <a:pt x="602" y="377"/>
                  </a:cubicBezTo>
                  <a:cubicBezTo>
                    <a:pt x="601" y="370"/>
                    <a:pt x="601" y="366"/>
                    <a:pt x="603" y="365"/>
                  </a:cubicBezTo>
                  <a:cubicBezTo>
                    <a:pt x="603" y="363"/>
                    <a:pt x="605" y="363"/>
                    <a:pt x="607" y="363"/>
                  </a:cubicBezTo>
                  <a:cubicBezTo>
                    <a:pt x="609" y="363"/>
                    <a:pt x="610" y="363"/>
                    <a:pt x="612" y="363"/>
                  </a:cubicBezTo>
                  <a:cubicBezTo>
                    <a:pt x="614" y="363"/>
                    <a:pt x="614" y="363"/>
                    <a:pt x="614" y="363"/>
                  </a:cubicBezTo>
                  <a:cubicBezTo>
                    <a:pt x="614" y="364"/>
                    <a:pt x="614" y="364"/>
                    <a:pt x="615" y="364"/>
                  </a:cubicBezTo>
                  <a:cubicBezTo>
                    <a:pt x="629" y="364"/>
                    <a:pt x="629" y="364"/>
                    <a:pt x="629" y="364"/>
                  </a:cubicBezTo>
                  <a:cubicBezTo>
                    <a:pt x="634" y="364"/>
                    <a:pt x="639" y="364"/>
                    <a:pt x="644" y="364"/>
                  </a:cubicBezTo>
                  <a:cubicBezTo>
                    <a:pt x="645" y="363"/>
                    <a:pt x="645" y="363"/>
                    <a:pt x="645" y="363"/>
                  </a:cubicBezTo>
                  <a:cubicBezTo>
                    <a:pt x="645" y="363"/>
                    <a:pt x="645" y="363"/>
                    <a:pt x="645" y="363"/>
                  </a:cubicBezTo>
                  <a:cubicBezTo>
                    <a:pt x="646" y="363"/>
                    <a:pt x="646" y="363"/>
                    <a:pt x="646" y="363"/>
                  </a:cubicBezTo>
                  <a:cubicBezTo>
                    <a:pt x="646" y="362"/>
                    <a:pt x="646" y="362"/>
                    <a:pt x="646" y="362"/>
                  </a:cubicBezTo>
                  <a:cubicBezTo>
                    <a:pt x="647" y="361"/>
                    <a:pt x="647" y="361"/>
                    <a:pt x="647" y="361"/>
                  </a:cubicBezTo>
                  <a:cubicBezTo>
                    <a:pt x="647" y="361"/>
                    <a:pt x="648" y="361"/>
                    <a:pt x="648" y="361"/>
                  </a:cubicBezTo>
                  <a:cubicBezTo>
                    <a:pt x="649" y="360"/>
                    <a:pt x="650" y="360"/>
                    <a:pt x="650" y="360"/>
                  </a:cubicBezTo>
                  <a:cubicBezTo>
                    <a:pt x="650" y="360"/>
                    <a:pt x="650" y="360"/>
                    <a:pt x="651" y="360"/>
                  </a:cubicBezTo>
                  <a:cubicBezTo>
                    <a:pt x="652" y="360"/>
                    <a:pt x="652" y="361"/>
                    <a:pt x="653" y="361"/>
                  </a:cubicBezTo>
                  <a:cubicBezTo>
                    <a:pt x="653" y="361"/>
                    <a:pt x="653" y="361"/>
                    <a:pt x="653" y="361"/>
                  </a:cubicBezTo>
                  <a:cubicBezTo>
                    <a:pt x="653" y="361"/>
                    <a:pt x="654" y="361"/>
                    <a:pt x="655" y="359"/>
                  </a:cubicBezTo>
                  <a:cubicBezTo>
                    <a:pt x="656" y="358"/>
                    <a:pt x="656" y="357"/>
                    <a:pt x="657" y="356"/>
                  </a:cubicBezTo>
                  <a:cubicBezTo>
                    <a:pt x="657" y="355"/>
                    <a:pt x="657" y="355"/>
                    <a:pt x="657" y="355"/>
                  </a:cubicBezTo>
                  <a:cubicBezTo>
                    <a:pt x="658" y="355"/>
                    <a:pt x="658" y="355"/>
                    <a:pt x="658" y="355"/>
                  </a:cubicBezTo>
                  <a:cubicBezTo>
                    <a:pt x="658" y="353"/>
                    <a:pt x="658" y="353"/>
                    <a:pt x="658" y="353"/>
                  </a:cubicBezTo>
                  <a:cubicBezTo>
                    <a:pt x="660" y="349"/>
                    <a:pt x="662" y="348"/>
                    <a:pt x="664" y="348"/>
                  </a:cubicBezTo>
                  <a:cubicBezTo>
                    <a:pt x="664" y="348"/>
                    <a:pt x="665" y="348"/>
                    <a:pt x="665" y="348"/>
                  </a:cubicBezTo>
                  <a:cubicBezTo>
                    <a:pt x="666" y="348"/>
                    <a:pt x="666" y="348"/>
                    <a:pt x="667" y="348"/>
                  </a:cubicBezTo>
                  <a:cubicBezTo>
                    <a:pt x="668" y="348"/>
                    <a:pt x="668" y="348"/>
                    <a:pt x="668" y="348"/>
                  </a:cubicBezTo>
                  <a:cubicBezTo>
                    <a:pt x="669" y="348"/>
                    <a:pt x="669" y="348"/>
                    <a:pt x="669" y="348"/>
                  </a:cubicBezTo>
                  <a:cubicBezTo>
                    <a:pt x="669" y="347"/>
                    <a:pt x="670" y="345"/>
                    <a:pt x="669" y="344"/>
                  </a:cubicBezTo>
                  <a:cubicBezTo>
                    <a:pt x="671" y="344"/>
                    <a:pt x="671" y="343"/>
                    <a:pt x="672" y="342"/>
                  </a:cubicBezTo>
                  <a:cubicBezTo>
                    <a:pt x="673" y="344"/>
                    <a:pt x="672" y="348"/>
                    <a:pt x="672" y="350"/>
                  </a:cubicBezTo>
                  <a:cubicBezTo>
                    <a:pt x="672" y="353"/>
                    <a:pt x="676" y="356"/>
                    <a:pt x="677" y="358"/>
                  </a:cubicBezTo>
                  <a:cubicBezTo>
                    <a:pt x="680" y="349"/>
                    <a:pt x="681" y="338"/>
                    <a:pt x="686" y="331"/>
                  </a:cubicBezTo>
                  <a:cubicBezTo>
                    <a:pt x="686" y="331"/>
                    <a:pt x="685" y="330"/>
                    <a:pt x="685" y="330"/>
                  </a:cubicBezTo>
                  <a:cubicBezTo>
                    <a:pt x="683" y="330"/>
                    <a:pt x="684" y="332"/>
                    <a:pt x="683" y="333"/>
                  </a:cubicBezTo>
                  <a:cubicBezTo>
                    <a:pt x="682" y="333"/>
                    <a:pt x="682" y="333"/>
                    <a:pt x="682" y="333"/>
                  </a:cubicBezTo>
                  <a:cubicBezTo>
                    <a:pt x="680" y="333"/>
                    <a:pt x="684" y="329"/>
                    <a:pt x="685" y="328"/>
                  </a:cubicBezTo>
                  <a:cubicBezTo>
                    <a:pt x="685" y="328"/>
                    <a:pt x="685" y="328"/>
                    <a:pt x="685" y="328"/>
                  </a:cubicBezTo>
                  <a:cubicBezTo>
                    <a:pt x="686" y="328"/>
                    <a:pt x="687" y="326"/>
                    <a:pt x="687" y="324"/>
                  </a:cubicBezTo>
                  <a:cubicBezTo>
                    <a:pt x="686" y="325"/>
                    <a:pt x="684" y="325"/>
                    <a:pt x="683" y="325"/>
                  </a:cubicBezTo>
                  <a:cubicBezTo>
                    <a:pt x="681" y="325"/>
                    <a:pt x="679" y="325"/>
                    <a:pt x="680" y="322"/>
                  </a:cubicBezTo>
                  <a:cubicBezTo>
                    <a:pt x="680" y="320"/>
                    <a:pt x="685" y="320"/>
                    <a:pt x="686" y="319"/>
                  </a:cubicBezTo>
                  <a:cubicBezTo>
                    <a:pt x="687" y="318"/>
                    <a:pt x="686" y="315"/>
                    <a:pt x="686" y="314"/>
                  </a:cubicBezTo>
                  <a:cubicBezTo>
                    <a:pt x="686" y="313"/>
                    <a:pt x="686" y="311"/>
                    <a:pt x="687" y="310"/>
                  </a:cubicBezTo>
                  <a:cubicBezTo>
                    <a:pt x="688" y="305"/>
                    <a:pt x="695" y="301"/>
                    <a:pt x="698" y="296"/>
                  </a:cubicBezTo>
                  <a:cubicBezTo>
                    <a:pt x="699" y="293"/>
                    <a:pt x="701" y="290"/>
                    <a:pt x="703" y="287"/>
                  </a:cubicBezTo>
                  <a:cubicBezTo>
                    <a:pt x="703" y="286"/>
                    <a:pt x="702" y="283"/>
                    <a:pt x="701" y="282"/>
                  </a:cubicBezTo>
                  <a:cubicBezTo>
                    <a:pt x="701" y="280"/>
                    <a:pt x="699" y="278"/>
                    <a:pt x="697" y="277"/>
                  </a:cubicBezTo>
                  <a:cubicBezTo>
                    <a:pt x="697" y="276"/>
                    <a:pt x="696" y="276"/>
                    <a:pt x="696" y="276"/>
                  </a:cubicBezTo>
                  <a:cubicBezTo>
                    <a:pt x="694" y="276"/>
                    <a:pt x="693" y="277"/>
                    <a:pt x="692" y="277"/>
                  </a:cubicBezTo>
                  <a:cubicBezTo>
                    <a:pt x="692" y="277"/>
                    <a:pt x="689" y="276"/>
                    <a:pt x="689" y="276"/>
                  </a:cubicBezTo>
                  <a:cubicBezTo>
                    <a:pt x="689" y="276"/>
                    <a:pt x="689" y="276"/>
                    <a:pt x="689" y="276"/>
                  </a:cubicBezTo>
                  <a:cubicBezTo>
                    <a:pt x="688" y="276"/>
                    <a:pt x="687" y="277"/>
                    <a:pt x="686" y="278"/>
                  </a:cubicBezTo>
                  <a:cubicBezTo>
                    <a:pt x="682" y="277"/>
                    <a:pt x="677" y="276"/>
                    <a:pt x="673" y="276"/>
                  </a:cubicBezTo>
                  <a:cubicBezTo>
                    <a:pt x="672" y="276"/>
                    <a:pt x="671" y="276"/>
                    <a:pt x="670" y="276"/>
                  </a:cubicBezTo>
                  <a:cubicBezTo>
                    <a:pt x="664" y="276"/>
                    <a:pt x="660" y="278"/>
                    <a:pt x="654" y="280"/>
                  </a:cubicBezTo>
                  <a:cubicBezTo>
                    <a:pt x="649" y="282"/>
                    <a:pt x="642" y="282"/>
                    <a:pt x="636" y="283"/>
                  </a:cubicBezTo>
                  <a:cubicBezTo>
                    <a:pt x="633" y="283"/>
                    <a:pt x="630" y="283"/>
                    <a:pt x="627" y="285"/>
                  </a:cubicBezTo>
                  <a:cubicBezTo>
                    <a:pt x="625" y="287"/>
                    <a:pt x="620" y="290"/>
                    <a:pt x="619" y="293"/>
                  </a:cubicBezTo>
                  <a:cubicBezTo>
                    <a:pt x="618" y="296"/>
                    <a:pt x="617" y="300"/>
                    <a:pt x="617" y="303"/>
                  </a:cubicBezTo>
                  <a:cubicBezTo>
                    <a:pt x="616" y="306"/>
                    <a:pt x="617" y="310"/>
                    <a:pt x="616" y="312"/>
                  </a:cubicBezTo>
                  <a:cubicBezTo>
                    <a:pt x="615" y="315"/>
                    <a:pt x="612" y="317"/>
                    <a:pt x="612" y="320"/>
                  </a:cubicBezTo>
                  <a:cubicBezTo>
                    <a:pt x="611" y="322"/>
                    <a:pt x="611" y="325"/>
                    <a:pt x="611" y="327"/>
                  </a:cubicBezTo>
                  <a:cubicBezTo>
                    <a:pt x="611" y="329"/>
                    <a:pt x="610" y="330"/>
                    <a:pt x="609" y="331"/>
                  </a:cubicBezTo>
                  <a:cubicBezTo>
                    <a:pt x="608" y="332"/>
                    <a:pt x="597" y="340"/>
                    <a:pt x="595" y="341"/>
                  </a:cubicBezTo>
                  <a:cubicBezTo>
                    <a:pt x="596" y="340"/>
                    <a:pt x="598" y="340"/>
                    <a:pt x="599" y="339"/>
                  </a:cubicBezTo>
                  <a:cubicBezTo>
                    <a:pt x="598" y="341"/>
                    <a:pt x="597" y="342"/>
                    <a:pt x="596" y="344"/>
                  </a:cubicBezTo>
                  <a:cubicBezTo>
                    <a:pt x="596" y="344"/>
                    <a:pt x="596" y="344"/>
                    <a:pt x="596" y="344"/>
                  </a:cubicBezTo>
                  <a:cubicBezTo>
                    <a:pt x="597" y="344"/>
                    <a:pt x="597" y="343"/>
                    <a:pt x="597" y="343"/>
                  </a:cubicBezTo>
                  <a:cubicBezTo>
                    <a:pt x="598" y="343"/>
                    <a:pt x="598" y="346"/>
                    <a:pt x="597" y="347"/>
                  </a:cubicBezTo>
                  <a:cubicBezTo>
                    <a:pt x="598" y="347"/>
                    <a:pt x="599" y="347"/>
                    <a:pt x="600" y="346"/>
                  </a:cubicBezTo>
                  <a:cubicBezTo>
                    <a:pt x="596" y="349"/>
                    <a:pt x="591" y="350"/>
                    <a:pt x="586" y="352"/>
                  </a:cubicBezTo>
                  <a:cubicBezTo>
                    <a:pt x="586" y="353"/>
                    <a:pt x="586" y="353"/>
                    <a:pt x="586" y="353"/>
                  </a:cubicBezTo>
                  <a:cubicBezTo>
                    <a:pt x="584" y="353"/>
                    <a:pt x="584" y="348"/>
                    <a:pt x="581" y="347"/>
                  </a:cubicBezTo>
                  <a:cubicBezTo>
                    <a:pt x="582" y="347"/>
                    <a:pt x="582" y="347"/>
                    <a:pt x="583" y="347"/>
                  </a:cubicBezTo>
                  <a:cubicBezTo>
                    <a:pt x="583" y="347"/>
                    <a:pt x="584" y="347"/>
                    <a:pt x="584" y="347"/>
                  </a:cubicBezTo>
                  <a:cubicBezTo>
                    <a:pt x="584" y="347"/>
                    <a:pt x="583" y="345"/>
                    <a:pt x="582" y="345"/>
                  </a:cubicBezTo>
                  <a:cubicBezTo>
                    <a:pt x="582" y="345"/>
                    <a:pt x="581" y="345"/>
                    <a:pt x="580" y="345"/>
                  </a:cubicBezTo>
                  <a:cubicBezTo>
                    <a:pt x="577" y="345"/>
                    <a:pt x="574" y="346"/>
                    <a:pt x="571" y="346"/>
                  </a:cubicBezTo>
                  <a:cubicBezTo>
                    <a:pt x="569" y="347"/>
                    <a:pt x="567" y="349"/>
                    <a:pt x="566" y="351"/>
                  </a:cubicBezTo>
                  <a:cubicBezTo>
                    <a:pt x="565" y="349"/>
                    <a:pt x="565" y="348"/>
                    <a:pt x="564" y="348"/>
                  </a:cubicBezTo>
                  <a:cubicBezTo>
                    <a:pt x="564" y="348"/>
                    <a:pt x="564" y="348"/>
                    <a:pt x="563" y="348"/>
                  </a:cubicBezTo>
                  <a:cubicBezTo>
                    <a:pt x="561" y="348"/>
                    <a:pt x="557" y="351"/>
                    <a:pt x="554" y="351"/>
                  </a:cubicBezTo>
                  <a:cubicBezTo>
                    <a:pt x="548" y="352"/>
                    <a:pt x="546" y="352"/>
                    <a:pt x="541" y="354"/>
                  </a:cubicBezTo>
                  <a:cubicBezTo>
                    <a:pt x="537" y="357"/>
                    <a:pt x="534" y="357"/>
                    <a:pt x="529" y="358"/>
                  </a:cubicBezTo>
                  <a:cubicBezTo>
                    <a:pt x="528" y="358"/>
                    <a:pt x="527" y="358"/>
                    <a:pt x="526" y="358"/>
                  </a:cubicBezTo>
                  <a:cubicBezTo>
                    <a:pt x="523" y="358"/>
                    <a:pt x="521" y="357"/>
                    <a:pt x="519" y="354"/>
                  </a:cubicBezTo>
                  <a:cubicBezTo>
                    <a:pt x="517" y="352"/>
                    <a:pt x="516" y="350"/>
                    <a:pt x="515" y="349"/>
                  </a:cubicBezTo>
                  <a:cubicBezTo>
                    <a:pt x="514" y="349"/>
                    <a:pt x="511" y="348"/>
                    <a:pt x="510" y="348"/>
                  </a:cubicBezTo>
                  <a:cubicBezTo>
                    <a:pt x="508" y="347"/>
                    <a:pt x="506" y="345"/>
                    <a:pt x="504" y="345"/>
                  </a:cubicBezTo>
                  <a:cubicBezTo>
                    <a:pt x="504" y="345"/>
                    <a:pt x="504" y="345"/>
                    <a:pt x="504" y="345"/>
                  </a:cubicBezTo>
                  <a:cubicBezTo>
                    <a:pt x="503" y="345"/>
                    <a:pt x="502" y="345"/>
                    <a:pt x="501" y="345"/>
                  </a:cubicBezTo>
                  <a:cubicBezTo>
                    <a:pt x="500" y="345"/>
                    <a:pt x="500" y="345"/>
                    <a:pt x="499" y="345"/>
                  </a:cubicBezTo>
                  <a:cubicBezTo>
                    <a:pt x="497" y="345"/>
                    <a:pt x="496" y="345"/>
                    <a:pt x="495" y="345"/>
                  </a:cubicBezTo>
                  <a:cubicBezTo>
                    <a:pt x="493" y="345"/>
                    <a:pt x="491" y="345"/>
                    <a:pt x="491" y="349"/>
                  </a:cubicBezTo>
                  <a:cubicBezTo>
                    <a:pt x="490" y="349"/>
                    <a:pt x="489" y="350"/>
                    <a:pt x="487" y="351"/>
                  </a:cubicBezTo>
                  <a:cubicBezTo>
                    <a:pt x="488" y="349"/>
                    <a:pt x="489" y="348"/>
                    <a:pt x="490" y="346"/>
                  </a:cubicBezTo>
                  <a:cubicBezTo>
                    <a:pt x="491" y="343"/>
                    <a:pt x="490" y="344"/>
                    <a:pt x="489" y="342"/>
                  </a:cubicBezTo>
                  <a:cubicBezTo>
                    <a:pt x="490" y="342"/>
                    <a:pt x="492" y="343"/>
                    <a:pt x="493" y="343"/>
                  </a:cubicBezTo>
                  <a:cubicBezTo>
                    <a:pt x="493" y="343"/>
                    <a:pt x="493" y="343"/>
                    <a:pt x="493" y="343"/>
                  </a:cubicBezTo>
                  <a:cubicBezTo>
                    <a:pt x="490" y="338"/>
                    <a:pt x="483" y="334"/>
                    <a:pt x="481" y="328"/>
                  </a:cubicBezTo>
                  <a:cubicBezTo>
                    <a:pt x="480" y="325"/>
                    <a:pt x="480" y="320"/>
                    <a:pt x="478" y="317"/>
                  </a:cubicBezTo>
                  <a:cubicBezTo>
                    <a:pt x="476" y="314"/>
                    <a:pt x="473" y="311"/>
                    <a:pt x="471" y="309"/>
                  </a:cubicBezTo>
                  <a:cubicBezTo>
                    <a:pt x="468" y="306"/>
                    <a:pt x="465" y="303"/>
                    <a:pt x="463" y="300"/>
                  </a:cubicBezTo>
                  <a:cubicBezTo>
                    <a:pt x="460" y="297"/>
                    <a:pt x="459" y="293"/>
                    <a:pt x="457" y="289"/>
                  </a:cubicBezTo>
                  <a:cubicBezTo>
                    <a:pt x="454" y="282"/>
                    <a:pt x="451" y="276"/>
                    <a:pt x="449" y="268"/>
                  </a:cubicBezTo>
                  <a:cubicBezTo>
                    <a:pt x="451" y="271"/>
                    <a:pt x="453" y="273"/>
                    <a:pt x="455" y="276"/>
                  </a:cubicBezTo>
                  <a:cubicBezTo>
                    <a:pt x="456" y="278"/>
                    <a:pt x="456" y="277"/>
                    <a:pt x="455" y="280"/>
                  </a:cubicBezTo>
                  <a:cubicBezTo>
                    <a:pt x="455" y="281"/>
                    <a:pt x="455" y="282"/>
                    <a:pt x="455" y="283"/>
                  </a:cubicBezTo>
                  <a:cubicBezTo>
                    <a:pt x="456" y="282"/>
                    <a:pt x="458" y="279"/>
                    <a:pt x="458" y="278"/>
                  </a:cubicBezTo>
                  <a:cubicBezTo>
                    <a:pt x="458" y="272"/>
                    <a:pt x="449" y="267"/>
                    <a:pt x="447" y="262"/>
                  </a:cubicBezTo>
                  <a:cubicBezTo>
                    <a:pt x="446" y="258"/>
                    <a:pt x="446" y="253"/>
                    <a:pt x="446" y="249"/>
                  </a:cubicBezTo>
                  <a:cubicBezTo>
                    <a:pt x="445" y="245"/>
                    <a:pt x="446" y="241"/>
                    <a:pt x="447" y="237"/>
                  </a:cubicBezTo>
                  <a:cubicBezTo>
                    <a:pt x="448" y="229"/>
                    <a:pt x="448" y="221"/>
                    <a:pt x="449" y="214"/>
                  </a:cubicBezTo>
                  <a:cubicBezTo>
                    <a:pt x="449" y="216"/>
                    <a:pt x="448" y="219"/>
                    <a:pt x="448" y="221"/>
                  </a:cubicBezTo>
                  <a:cubicBezTo>
                    <a:pt x="447" y="215"/>
                    <a:pt x="444" y="208"/>
                    <a:pt x="447" y="202"/>
                  </a:cubicBezTo>
                  <a:cubicBezTo>
                    <a:pt x="448" y="200"/>
                    <a:pt x="451" y="195"/>
                    <a:pt x="449" y="193"/>
                  </a:cubicBezTo>
                  <a:cubicBezTo>
                    <a:pt x="447" y="191"/>
                    <a:pt x="448" y="186"/>
                    <a:pt x="448" y="183"/>
                  </a:cubicBezTo>
                  <a:cubicBezTo>
                    <a:pt x="449" y="183"/>
                    <a:pt x="451" y="185"/>
                    <a:pt x="453" y="185"/>
                  </a:cubicBezTo>
                  <a:cubicBezTo>
                    <a:pt x="453" y="185"/>
                    <a:pt x="453" y="185"/>
                    <a:pt x="453" y="185"/>
                  </a:cubicBezTo>
                  <a:cubicBezTo>
                    <a:pt x="454" y="184"/>
                    <a:pt x="452" y="183"/>
                    <a:pt x="454" y="183"/>
                  </a:cubicBezTo>
                  <a:cubicBezTo>
                    <a:pt x="453" y="183"/>
                    <a:pt x="453" y="181"/>
                    <a:pt x="453" y="181"/>
                  </a:cubicBezTo>
                  <a:cubicBezTo>
                    <a:pt x="454" y="181"/>
                    <a:pt x="455" y="181"/>
                    <a:pt x="455" y="182"/>
                  </a:cubicBezTo>
                  <a:cubicBezTo>
                    <a:pt x="455" y="186"/>
                    <a:pt x="453" y="190"/>
                    <a:pt x="452" y="195"/>
                  </a:cubicBezTo>
                  <a:cubicBezTo>
                    <a:pt x="454" y="187"/>
                    <a:pt x="457" y="179"/>
                    <a:pt x="460" y="172"/>
                  </a:cubicBezTo>
                  <a:cubicBezTo>
                    <a:pt x="460" y="171"/>
                    <a:pt x="460" y="171"/>
                    <a:pt x="460" y="171"/>
                  </a:cubicBezTo>
                  <a:cubicBezTo>
                    <a:pt x="460" y="171"/>
                    <a:pt x="460" y="171"/>
                    <a:pt x="460" y="171"/>
                  </a:cubicBezTo>
                  <a:cubicBezTo>
                    <a:pt x="459" y="172"/>
                    <a:pt x="458" y="172"/>
                    <a:pt x="457" y="172"/>
                  </a:cubicBezTo>
                  <a:cubicBezTo>
                    <a:pt x="456" y="172"/>
                    <a:pt x="455" y="172"/>
                    <a:pt x="454" y="172"/>
                  </a:cubicBezTo>
                  <a:cubicBezTo>
                    <a:pt x="454" y="172"/>
                    <a:pt x="454" y="172"/>
                    <a:pt x="454" y="172"/>
                  </a:cubicBezTo>
                  <a:cubicBezTo>
                    <a:pt x="452" y="172"/>
                    <a:pt x="451" y="172"/>
                    <a:pt x="450" y="171"/>
                  </a:cubicBezTo>
                  <a:cubicBezTo>
                    <a:pt x="449" y="170"/>
                    <a:pt x="446" y="169"/>
                    <a:pt x="444" y="169"/>
                  </a:cubicBezTo>
                  <a:cubicBezTo>
                    <a:pt x="441" y="169"/>
                    <a:pt x="436" y="167"/>
                    <a:pt x="433" y="166"/>
                  </a:cubicBezTo>
                  <a:cubicBezTo>
                    <a:pt x="433" y="166"/>
                    <a:pt x="432" y="166"/>
                    <a:pt x="431" y="165"/>
                  </a:cubicBezTo>
                  <a:cubicBezTo>
                    <a:pt x="429" y="164"/>
                    <a:pt x="427" y="163"/>
                    <a:pt x="422" y="162"/>
                  </a:cubicBezTo>
                  <a:cubicBezTo>
                    <a:pt x="416" y="160"/>
                    <a:pt x="414" y="159"/>
                    <a:pt x="413" y="156"/>
                  </a:cubicBezTo>
                  <a:cubicBezTo>
                    <a:pt x="404" y="135"/>
                    <a:pt x="404" y="134"/>
                    <a:pt x="404" y="133"/>
                  </a:cubicBezTo>
                  <a:cubicBezTo>
                    <a:pt x="405" y="129"/>
                    <a:pt x="404" y="129"/>
                    <a:pt x="404" y="129"/>
                  </a:cubicBezTo>
                  <a:cubicBezTo>
                    <a:pt x="401" y="127"/>
                    <a:pt x="397" y="126"/>
                    <a:pt x="397" y="123"/>
                  </a:cubicBezTo>
                  <a:cubicBezTo>
                    <a:pt x="396" y="122"/>
                    <a:pt x="394" y="119"/>
                    <a:pt x="393" y="117"/>
                  </a:cubicBezTo>
                  <a:cubicBezTo>
                    <a:pt x="388" y="110"/>
                    <a:pt x="384" y="104"/>
                    <a:pt x="379" y="94"/>
                  </a:cubicBezTo>
                  <a:cubicBezTo>
                    <a:pt x="375" y="86"/>
                    <a:pt x="371" y="84"/>
                    <a:pt x="369" y="81"/>
                  </a:cubicBezTo>
                  <a:cubicBezTo>
                    <a:pt x="368" y="81"/>
                    <a:pt x="367" y="80"/>
                    <a:pt x="366" y="79"/>
                  </a:cubicBezTo>
                  <a:cubicBezTo>
                    <a:pt x="362" y="75"/>
                    <a:pt x="360" y="75"/>
                    <a:pt x="360" y="75"/>
                  </a:cubicBezTo>
                  <a:cubicBezTo>
                    <a:pt x="359" y="75"/>
                    <a:pt x="359" y="75"/>
                    <a:pt x="359" y="75"/>
                  </a:cubicBezTo>
                  <a:cubicBezTo>
                    <a:pt x="359" y="75"/>
                    <a:pt x="358" y="75"/>
                    <a:pt x="357" y="75"/>
                  </a:cubicBezTo>
                  <a:cubicBezTo>
                    <a:pt x="354" y="75"/>
                    <a:pt x="351" y="74"/>
                    <a:pt x="348" y="73"/>
                  </a:cubicBezTo>
                  <a:cubicBezTo>
                    <a:pt x="348" y="73"/>
                    <a:pt x="348" y="73"/>
                    <a:pt x="348" y="73"/>
                  </a:cubicBezTo>
                  <a:cubicBezTo>
                    <a:pt x="347" y="73"/>
                    <a:pt x="346" y="73"/>
                    <a:pt x="345" y="73"/>
                  </a:cubicBezTo>
                  <a:cubicBezTo>
                    <a:pt x="345" y="73"/>
                    <a:pt x="344" y="73"/>
                    <a:pt x="344" y="73"/>
                  </a:cubicBezTo>
                  <a:cubicBezTo>
                    <a:pt x="343" y="73"/>
                    <a:pt x="343" y="73"/>
                    <a:pt x="343" y="73"/>
                  </a:cubicBezTo>
                  <a:cubicBezTo>
                    <a:pt x="342" y="75"/>
                    <a:pt x="339" y="75"/>
                    <a:pt x="338" y="75"/>
                  </a:cubicBezTo>
                  <a:cubicBezTo>
                    <a:pt x="336" y="75"/>
                    <a:pt x="334" y="78"/>
                    <a:pt x="332" y="83"/>
                  </a:cubicBezTo>
                  <a:cubicBezTo>
                    <a:pt x="331" y="85"/>
                    <a:pt x="330" y="87"/>
                    <a:pt x="329" y="89"/>
                  </a:cubicBezTo>
                  <a:cubicBezTo>
                    <a:pt x="328" y="91"/>
                    <a:pt x="326" y="93"/>
                    <a:pt x="323" y="94"/>
                  </a:cubicBezTo>
                  <a:cubicBezTo>
                    <a:pt x="322" y="94"/>
                    <a:pt x="322" y="94"/>
                    <a:pt x="322" y="94"/>
                  </a:cubicBezTo>
                  <a:cubicBezTo>
                    <a:pt x="322" y="94"/>
                    <a:pt x="321" y="94"/>
                    <a:pt x="321" y="94"/>
                  </a:cubicBezTo>
                  <a:cubicBezTo>
                    <a:pt x="316" y="94"/>
                    <a:pt x="311" y="91"/>
                    <a:pt x="307" y="89"/>
                  </a:cubicBezTo>
                  <a:cubicBezTo>
                    <a:pt x="307" y="89"/>
                    <a:pt x="307" y="89"/>
                    <a:pt x="307" y="89"/>
                  </a:cubicBezTo>
                  <a:cubicBezTo>
                    <a:pt x="307" y="89"/>
                    <a:pt x="306" y="89"/>
                    <a:pt x="306" y="88"/>
                  </a:cubicBezTo>
                  <a:cubicBezTo>
                    <a:pt x="305" y="88"/>
                    <a:pt x="305" y="88"/>
                    <a:pt x="305" y="88"/>
                  </a:cubicBezTo>
                  <a:cubicBezTo>
                    <a:pt x="299" y="85"/>
                    <a:pt x="286" y="78"/>
                    <a:pt x="284" y="68"/>
                  </a:cubicBezTo>
                  <a:cubicBezTo>
                    <a:pt x="283" y="58"/>
                    <a:pt x="277" y="51"/>
                    <a:pt x="277" y="51"/>
                  </a:cubicBezTo>
                  <a:cubicBezTo>
                    <a:pt x="267" y="44"/>
                    <a:pt x="256" y="35"/>
                    <a:pt x="255" y="34"/>
                  </a:cubicBezTo>
                  <a:cubicBezTo>
                    <a:pt x="253" y="33"/>
                    <a:pt x="249" y="32"/>
                    <a:pt x="248" y="28"/>
                  </a:cubicBezTo>
                  <a:cubicBezTo>
                    <a:pt x="247" y="28"/>
                    <a:pt x="247" y="28"/>
                    <a:pt x="247" y="28"/>
                  </a:cubicBezTo>
                  <a:cubicBezTo>
                    <a:pt x="247" y="25"/>
                    <a:pt x="246" y="24"/>
                    <a:pt x="244" y="24"/>
                  </a:cubicBezTo>
                  <a:cubicBezTo>
                    <a:pt x="242" y="24"/>
                    <a:pt x="237" y="24"/>
                    <a:pt x="231" y="24"/>
                  </a:cubicBezTo>
                  <a:cubicBezTo>
                    <a:pt x="223" y="24"/>
                    <a:pt x="212" y="24"/>
                    <a:pt x="208" y="24"/>
                  </a:cubicBezTo>
                  <a:cubicBezTo>
                    <a:pt x="208" y="25"/>
                    <a:pt x="208" y="25"/>
                    <a:pt x="208" y="25"/>
                  </a:cubicBezTo>
                  <a:cubicBezTo>
                    <a:pt x="208" y="26"/>
                    <a:pt x="208" y="26"/>
                    <a:pt x="208" y="26"/>
                  </a:cubicBezTo>
                  <a:cubicBezTo>
                    <a:pt x="208" y="26"/>
                    <a:pt x="208" y="27"/>
                    <a:pt x="208" y="27"/>
                  </a:cubicBezTo>
                  <a:cubicBezTo>
                    <a:pt x="208" y="29"/>
                    <a:pt x="207" y="31"/>
                    <a:pt x="205" y="34"/>
                  </a:cubicBezTo>
                  <a:cubicBezTo>
                    <a:pt x="205" y="36"/>
                    <a:pt x="205" y="36"/>
                    <a:pt x="205" y="36"/>
                  </a:cubicBezTo>
                  <a:cubicBezTo>
                    <a:pt x="177" y="36"/>
                    <a:pt x="177" y="36"/>
                    <a:pt x="177" y="36"/>
                  </a:cubicBezTo>
                  <a:cubicBezTo>
                    <a:pt x="150" y="36"/>
                    <a:pt x="144" y="35"/>
                    <a:pt x="115" y="27"/>
                  </a:cubicBezTo>
                  <a:cubicBezTo>
                    <a:pt x="105" y="25"/>
                    <a:pt x="64" y="10"/>
                    <a:pt x="51" y="6"/>
                  </a:cubicBezTo>
                  <a:cubicBezTo>
                    <a:pt x="48" y="5"/>
                    <a:pt x="48" y="5"/>
                    <a:pt x="48" y="5"/>
                  </a:cubicBezTo>
                  <a:cubicBezTo>
                    <a:pt x="49" y="2"/>
                    <a:pt x="49" y="2"/>
                    <a:pt x="49" y="2"/>
                  </a:cubicBezTo>
                  <a:cubicBezTo>
                    <a:pt x="49" y="2"/>
                    <a:pt x="49" y="1"/>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362"/>
            <p:cNvSpPr>
              <a:spLocks noChangeArrowheads="1"/>
            </p:cNvSpPr>
            <p:nvPr/>
          </p:nvSpPr>
          <p:spPr bwMode="auto">
            <a:xfrm>
              <a:off x="5932479" y="6187310"/>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363"/>
            <p:cNvSpPr/>
            <p:nvPr/>
          </p:nvSpPr>
          <p:spPr bwMode="auto">
            <a:xfrm flipH="1">
              <a:off x="5932479" y="6187310"/>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364"/>
            <p:cNvSpPr/>
            <p:nvPr/>
          </p:nvSpPr>
          <p:spPr bwMode="auto">
            <a:xfrm>
              <a:off x="9664691" y="7374760"/>
              <a:ext cx="303213" cy="209550"/>
            </a:xfrm>
            <a:custGeom>
              <a:gdLst>
                <a:gd name="T0" fmla="*/ 14 w 81"/>
                <a:gd name="T1" fmla="*/ 2 h 56"/>
                <a:gd name="T2" fmla="*/ 2 w 81"/>
                <a:gd name="T3" fmla="*/ 2 h 56"/>
                <a:gd name="T4" fmla="*/ 3 w 81"/>
                <a:gd name="T5" fmla="*/ 3 h 56"/>
                <a:gd name="T6" fmla="*/ 5 w 81"/>
                <a:gd name="T7" fmla="*/ 7 h 56"/>
                <a:gd name="T8" fmla="*/ 6 w 81"/>
                <a:gd name="T9" fmla="*/ 10 h 56"/>
                <a:gd name="T10" fmla="*/ 5 w 81"/>
                <a:gd name="T11" fmla="*/ 13 h 56"/>
                <a:gd name="T12" fmla="*/ 7 w 81"/>
                <a:gd name="T13" fmla="*/ 14 h 56"/>
                <a:gd name="T14" fmla="*/ 8 w 81"/>
                <a:gd name="T15" fmla="*/ 15 h 56"/>
                <a:gd name="T16" fmla="*/ 4 w 81"/>
                <a:gd name="T17" fmla="*/ 26 h 56"/>
                <a:gd name="T18" fmla="*/ 4 w 81"/>
                <a:gd name="T19" fmla="*/ 29 h 56"/>
                <a:gd name="T20" fmla="*/ 4 w 81"/>
                <a:gd name="T21" fmla="*/ 30 h 56"/>
                <a:gd name="T22" fmla="*/ 0 w 81"/>
                <a:gd name="T23" fmla="*/ 33 h 56"/>
                <a:gd name="T24" fmla="*/ 2 w 81"/>
                <a:gd name="T25" fmla="*/ 35 h 56"/>
                <a:gd name="T26" fmla="*/ 5 w 81"/>
                <a:gd name="T27" fmla="*/ 40 h 56"/>
                <a:gd name="T28" fmla="*/ 4 w 81"/>
                <a:gd name="T29" fmla="*/ 43 h 56"/>
                <a:gd name="T30" fmla="*/ 3 w 81"/>
                <a:gd name="T31" fmla="*/ 46 h 56"/>
                <a:gd name="T32" fmla="*/ 3 w 81"/>
                <a:gd name="T33" fmla="*/ 47 h 56"/>
                <a:gd name="T34" fmla="*/ 4 w 81"/>
                <a:gd name="T35" fmla="*/ 52 h 56"/>
                <a:gd name="T36" fmla="*/ 9 w 81"/>
                <a:gd name="T37" fmla="*/ 56 h 56"/>
                <a:gd name="T38" fmla="*/ 11 w 81"/>
                <a:gd name="T39" fmla="*/ 52 h 56"/>
                <a:gd name="T40" fmla="*/ 18 w 81"/>
                <a:gd name="T41" fmla="*/ 39 h 56"/>
                <a:gd name="T42" fmla="*/ 19 w 81"/>
                <a:gd name="T43" fmla="*/ 39 h 56"/>
                <a:gd name="T44" fmla="*/ 22 w 81"/>
                <a:gd name="T45" fmla="*/ 39 h 56"/>
                <a:gd name="T46" fmla="*/ 27 w 81"/>
                <a:gd name="T47" fmla="*/ 36 h 56"/>
                <a:gd name="T48" fmla="*/ 29 w 81"/>
                <a:gd name="T49" fmla="*/ 39 h 56"/>
                <a:gd name="T50" fmla="*/ 36 w 81"/>
                <a:gd name="T51" fmla="*/ 40 h 56"/>
                <a:gd name="T52" fmla="*/ 47 w 81"/>
                <a:gd name="T53" fmla="*/ 35 h 56"/>
                <a:gd name="T54" fmla="*/ 59 w 81"/>
                <a:gd name="T55" fmla="*/ 37 h 56"/>
                <a:gd name="T56" fmla="*/ 65 w 81"/>
                <a:gd name="T57" fmla="*/ 36 h 56"/>
                <a:gd name="T58" fmla="*/ 74 w 81"/>
                <a:gd name="T59" fmla="*/ 41 h 56"/>
                <a:gd name="T60" fmla="*/ 80 w 81"/>
                <a:gd name="T61" fmla="*/ 35 h 56"/>
                <a:gd name="T62" fmla="*/ 75 w 81"/>
                <a:gd name="T63" fmla="*/ 26 h 56"/>
                <a:gd name="T64" fmla="*/ 56 w 81"/>
                <a:gd name="T65" fmla="*/ 21 h 56"/>
                <a:gd name="T66" fmla="*/ 53 w 81"/>
                <a:gd name="T67" fmla="*/ 17 h 56"/>
                <a:gd name="T68" fmla="*/ 61 w 81"/>
                <a:gd name="T69" fmla="*/ 13 h 56"/>
                <a:gd name="T70" fmla="*/ 58 w 81"/>
                <a:gd name="T71" fmla="*/ 15 h 56"/>
                <a:gd name="T72" fmla="*/ 53 w 81"/>
                <a:gd name="T73" fmla="*/ 15 h 56"/>
                <a:gd name="T74" fmla="*/ 49 w 81"/>
                <a:gd name="T75" fmla="*/ 16 h 56"/>
                <a:gd name="T76" fmla="*/ 45 w 81"/>
                <a:gd name="T77" fmla="*/ 7 h 56"/>
                <a:gd name="T78" fmla="*/ 41 w 81"/>
                <a:gd name="T79" fmla="*/ 7 h 56"/>
                <a:gd name="T80" fmla="*/ 23 w 81"/>
                <a:gd name="T81" fmla="*/ 1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56">
                  <a:moveTo>
                    <a:pt x="19" y="0"/>
                  </a:moveTo>
                  <a:cubicBezTo>
                    <a:pt x="18" y="0"/>
                    <a:pt x="17" y="1"/>
                    <a:pt x="14" y="2"/>
                  </a:cubicBezTo>
                  <a:cubicBezTo>
                    <a:pt x="11" y="2"/>
                    <a:pt x="7" y="1"/>
                    <a:pt x="4" y="1"/>
                  </a:cubicBezTo>
                  <a:cubicBezTo>
                    <a:pt x="4" y="2"/>
                    <a:pt x="3" y="1"/>
                    <a:pt x="2" y="2"/>
                  </a:cubicBezTo>
                  <a:cubicBezTo>
                    <a:pt x="2" y="3"/>
                    <a:pt x="2" y="3"/>
                    <a:pt x="2" y="4"/>
                  </a:cubicBezTo>
                  <a:cubicBezTo>
                    <a:pt x="3" y="3"/>
                    <a:pt x="3" y="3"/>
                    <a:pt x="3" y="3"/>
                  </a:cubicBezTo>
                  <a:cubicBezTo>
                    <a:pt x="4" y="5"/>
                    <a:pt x="4" y="5"/>
                    <a:pt x="4" y="5"/>
                  </a:cubicBezTo>
                  <a:cubicBezTo>
                    <a:pt x="4" y="6"/>
                    <a:pt x="5" y="7"/>
                    <a:pt x="5" y="7"/>
                  </a:cubicBezTo>
                  <a:cubicBezTo>
                    <a:pt x="5" y="8"/>
                    <a:pt x="5" y="8"/>
                    <a:pt x="5" y="8"/>
                  </a:cubicBezTo>
                  <a:cubicBezTo>
                    <a:pt x="5" y="9"/>
                    <a:pt x="5" y="10"/>
                    <a:pt x="6" y="10"/>
                  </a:cubicBezTo>
                  <a:cubicBezTo>
                    <a:pt x="5" y="12"/>
                    <a:pt x="5" y="13"/>
                    <a:pt x="5" y="13"/>
                  </a:cubicBezTo>
                  <a:cubicBezTo>
                    <a:pt x="5" y="13"/>
                    <a:pt x="5" y="13"/>
                    <a:pt x="5" y="13"/>
                  </a:cubicBezTo>
                  <a:cubicBezTo>
                    <a:pt x="6" y="14"/>
                    <a:pt x="6" y="14"/>
                    <a:pt x="6" y="14"/>
                  </a:cubicBezTo>
                  <a:cubicBezTo>
                    <a:pt x="7" y="14"/>
                    <a:pt x="7" y="14"/>
                    <a:pt x="7" y="14"/>
                  </a:cubicBezTo>
                  <a:cubicBezTo>
                    <a:pt x="7" y="15"/>
                    <a:pt x="7" y="15"/>
                    <a:pt x="7" y="15"/>
                  </a:cubicBezTo>
                  <a:cubicBezTo>
                    <a:pt x="8" y="15"/>
                    <a:pt x="8" y="15"/>
                    <a:pt x="8" y="15"/>
                  </a:cubicBezTo>
                  <a:cubicBezTo>
                    <a:pt x="7" y="18"/>
                    <a:pt x="7" y="18"/>
                    <a:pt x="7" y="18"/>
                  </a:cubicBezTo>
                  <a:cubicBezTo>
                    <a:pt x="4" y="26"/>
                    <a:pt x="4" y="26"/>
                    <a:pt x="4" y="26"/>
                  </a:cubicBezTo>
                  <a:cubicBezTo>
                    <a:pt x="5" y="27"/>
                    <a:pt x="5" y="27"/>
                    <a:pt x="5" y="28"/>
                  </a:cubicBezTo>
                  <a:cubicBezTo>
                    <a:pt x="4" y="29"/>
                    <a:pt x="4" y="29"/>
                    <a:pt x="4" y="29"/>
                  </a:cubicBezTo>
                  <a:cubicBezTo>
                    <a:pt x="4" y="31"/>
                    <a:pt x="4" y="31"/>
                    <a:pt x="4" y="31"/>
                  </a:cubicBezTo>
                  <a:cubicBezTo>
                    <a:pt x="4" y="30"/>
                    <a:pt x="4" y="30"/>
                    <a:pt x="4" y="30"/>
                  </a:cubicBezTo>
                  <a:cubicBezTo>
                    <a:pt x="3" y="31"/>
                    <a:pt x="3" y="31"/>
                    <a:pt x="3" y="31"/>
                  </a:cubicBezTo>
                  <a:cubicBezTo>
                    <a:pt x="2" y="32"/>
                    <a:pt x="1" y="32"/>
                    <a:pt x="0" y="33"/>
                  </a:cubicBezTo>
                  <a:cubicBezTo>
                    <a:pt x="1" y="33"/>
                    <a:pt x="1" y="34"/>
                    <a:pt x="2" y="34"/>
                  </a:cubicBezTo>
                  <a:cubicBezTo>
                    <a:pt x="2" y="35"/>
                    <a:pt x="2" y="35"/>
                    <a:pt x="2" y="35"/>
                  </a:cubicBezTo>
                  <a:cubicBezTo>
                    <a:pt x="3" y="35"/>
                    <a:pt x="3" y="35"/>
                    <a:pt x="3" y="35"/>
                  </a:cubicBezTo>
                  <a:cubicBezTo>
                    <a:pt x="5" y="37"/>
                    <a:pt x="5" y="39"/>
                    <a:pt x="5" y="40"/>
                  </a:cubicBezTo>
                  <a:cubicBezTo>
                    <a:pt x="5" y="41"/>
                    <a:pt x="5" y="41"/>
                    <a:pt x="5" y="41"/>
                  </a:cubicBezTo>
                  <a:cubicBezTo>
                    <a:pt x="4" y="42"/>
                    <a:pt x="4" y="43"/>
                    <a:pt x="4" y="43"/>
                  </a:cubicBezTo>
                  <a:cubicBezTo>
                    <a:pt x="4" y="44"/>
                    <a:pt x="4" y="44"/>
                    <a:pt x="4" y="44"/>
                  </a:cubicBezTo>
                  <a:cubicBezTo>
                    <a:pt x="3" y="46"/>
                    <a:pt x="3" y="46"/>
                    <a:pt x="3" y="46"/>
                  </a:cubicBezTo>
                  <a:cubicBezTo>
                    <a:pt x="3" y="46"/>
                    <a:pt x="3" y="46"/>
                    <a:pt x="3" y="46"/>
                  </a:cubicBezTo>
                  <a:cubicBezTo>
                    <a:pt x="3" y="47"/>
                    <a:pt x="3" y="47"/>
                    <a:pt x="3" y="47"/>
                  </a:cubicBezTo>
                  <a:cubicBezTo>
                    <a:pt x="2" y="47"/>
                    <a:pt x="2" y="47"/>
                    <a:pt x="2" y="47"/>
                  </a:cubicBezTo>
                  <a:cubicBezTo>
                    <a:pt x="2" y="49"/>
                    <a:pt x="3" y="51"/>
                    <a:pt x="4" y="52"/>
                  </a:cubicBezTo>
                  <a:cubicBezTo>
                    <a:pt x="4" y="51"/>
                    <a:pt x="4" y="51"/>
                    <a:pt x="4" y="51"/>
                  </a:cubicBezTo>
                  <a:cubicBezTo>
                    <a:pt x="5" y="53"/>
                    <a:pt x="7" y="56"/>
                    <a:pt x="9" y="56"/>
                  </a:cubicBezTo>
                  <a:cubicBezTo>
                    <a:pt x="9" y="56"/>
                    <a:pt x="9" y="56"/>
                    <a:pt x="10" y="55"/>
                  </a:cubicBezTo>
                  <a:cubicBezTo>
                    <a:pt x="11" y="55"/>
                    <a:pt x="11" y="53"/>
                    <a:pt x="11" y="52"/>
                  </a:cubicBezTo>
                  <a:cubicBezTo>
                    <a:pt x="13" y="50"/>
                    <a:pt x="14" y="48"/>
                    <a:pt x="15" y="45"/>
                  </a:cubicBezTo>
                  <a:cubicBezTo>
                    <a:pt x="15" y="44"/>
                    <a:pt x="16" y="39"/>
                    <a:pt x="18" y="39"/>
                  </a:cubicBezTo>
                  <a:cubicBezTo>
                    <a:pt x="18" y="39"/>
                    <a:pt x="18" y="39"/>
                    <a:pt x="18" y="39"/>
                  </a:cubicBezTo>
                  <a:cubicBezTo>
                    <a:pt x="18" y="39"/>
                    <a:pt x="19" y="39"/>
                    <a:pt x="19" y="39"/>
                  </a:cubicBezTo>
                  <a:cubicBezTo>
                    <a:pt x="19" y="40"/>
                    <a:pt x="20" y="40"/>
                    <a:pt x="20" y="40"/>
                  </a:cubicBezTo>
                  <a:cubicBezTo>
                    <a:pt x="21" y="40"/>
                    <a:pt x="21" y="39"/>
                    <a:pt x="22" y="39"/>
                  </a:cubicBezTo>
                  <a:cubicBezTo>
                    <a:pt x="23" y="38"/>
                    <a:pt x="26" y="36"/>
                    <a:pt x="27" y="36"/>
                  </a:cubicBezTo>
                  <a:cubicBezTo>
                    <a:pt x="27" y="36"/>
                    <a:pt x="27" y="36"/>
                    <a:pt x="27" y="36"/>
                  </a:cubicBezTo>
                  <a:cubicBezTo>
                    <a:pt x="28" y="36"/>
                    <a:pt x="29" y="36"/>
                    <a:pt x="29" y="37"/>
                  </a:cubicBezTo>
                  <a:cubicBezTo>
                    <a:pt x="29" y="37"/>
                    <a:pt x="29" y="39"/>
                    <a:pt x="29" y="39"/>
                  </a:cubicBezTo>
                  <a:cubicBezTo>
                    <a:pt x="29" y="40"/>
                    <a:pt x="32" y="40"/>
                    <a:pt x="32" y="40"/>
                  </a:cubicBezTo>
                  <a:cubicBezTo>
                    <a:pt x="34" y="40"/>
                    <a:pt x="35" y="40"/>
                    <a:pt x="36" y="40"/>
                  </a:cubicBezTo>
                  <a:cubicBezTo>
                    <a:pt x="38" y="40"/>
                    <a:pt x="39" y="40"/>
                    <a:pt x="41" y="38"/>
                  </a:cubicBezTo>
                  <a:cubicBezTo>
                    <a:pt x="43" y="36"/>
                    <a:pt x="45" y="35"/>
                    <a:pt x="47" y="35"/>
                  </a:cubicBezTo>
                  <a:cubicBezTo>
                    <a:pt x="51" y="35"/>
                    <a:pt x="55" y="36"/>
                    <a:pt x="58" y="37"/>
                  </a:cubicBezTo>
                  <a:cubicBezTo>
                    <a:pt x="58" y="37"/>
                    <a:pt x="58" y="37"/>
                    <a:pt x="59" y="37"/>
                  </a:cubicBezTo>
                  <a:cubicBezTo>
                    <a:pt x="59" y="37"/>
                    <a:pt x="61" y="36"/>
                    <a:pt x="62" y="36"/>
                  </a:cubicBezTo>
                  <a:cubicBezTo>
                    <a:pt x="63" y="36"/>
                    <a:pt x="64" y="36"/>
                    <a:pt x="65" y="36"/>
                  </a:cubicBezTo>
                  <a:cubicBezTo>
                    <a:pt x="66" y="36"/>
                    <a:pt x="67" y="36"/>
                    <a:pt x="68" y="37"/>
                  </a:cubicBezTo>
                  <a:cubicBezTo>
                    <a:pt x="70" y="37"/>
                    <a:pt x="72" y="40"/>
                    <a:pt x="74" y="41"/>
                  </a:cubicBezTo>
                  <a:cubicBezTo>
                    <a:pt x="74" y="39"/>
                    <a:pt x="76" y="39"/>
                    <a:pt x="78" y="38"/>
                  </a:cubicBezTo>
                  <a:cubicBezTo>
                    <a:pt x="78" y="38"/>
                    <a:pt x="79" y="35"/>
                    <a:pt x="80" y="35"/>
                  </a:cubicBezTo>
                  <a:cubicBezTo>
                    <a:pt x="81" y="31"/>
                    <a:pt x="81" y="31"/>
                    <a:pt x="79" y="29"/>
                  </a:cubicBezTo>
                  <a:cubicBezTo>
                    <a:pt x="77" y="28"/>
                    <a:pt x="76" y="27"/>
                    <a:pt x="75" y="26"/>
                  </a:cubicBezTo>
                  <a:cubicBezTo>
                    <a:pt x="72" y="23"/>
                    <a:pt x="70" y="23"/>
                    <a:pt x="65" y="22"/>
                  </a:cubicBezTo>
                  <a:cubicBezTo>
                    <a:pt x="62" y="22"/>
                    <a:pt x="59" y="21"/>
                    <a:pt x="56" y="21"/>
                  </a:cubicBezTo>
                  <a:cubicBezTo>
                    <a:pt x="52" y="20"/>
                    <a:pt x="52" y="20"/>
                    <a:pt x="51" y="17"/>
                  </a:cubicBezTo>
                  <a:cubicBezTo>
                    <a:pt x="52" y="17"/>
                    <a:pt x="53" y="17"/>
                    <a:pt x="53" y="17"/>
                  </a:cubicBezTo>
                  <a:cubicBezTo>
                    <a:pt x="56" y="17"/>
                    <a:pt x="60" y="16"/>
                    <a:pt x="62" y="15"/>
                  </a:cubicBezTo>
                  <a:cubicBezTo>
                    <a:pt x="61" y="14"/>
                    <a:pt x="61" y="13"/>
                    <a:pt x="61" y="13"/>
                  </a:cubicBezTo>
                  <a:cubicBezTo>
                    <a:pt x="60" y="13"/>
                    <a:pt x="59" y="15"/>
                    <a:pt x="58" y="15"/>
                  </a:cubicBezTo>
                  <a:cubicBezTo>
                    <a:pt x="58" y="15"/>
                    <a:pt x="58" y="15"/>
                    <a:pt x="58" y="15"/>
                  </a:cubicBezTo>
                  <a:cubicBezTo>
                    <a:pt x="57" y="15"/>
                    <a:pt x="56" y="15"/>
                    <a:pt x="55" y="15"/>
                  </a:cubicBezTo>
                  <a:cubicBezTo>
                    <a:pt x="55" y="15"/>
                    <a:pt x="54" y="15"/>
                    <a:pt x="53" y="15"/>
                  </a:cubicBezTo>
                  <a:cubicBezTo>
                    <a:pt x="53" y="15"/>
                    <a:pt x="53" y="15"/>
                    <a:pt x="52" y="15"/>
                  </a:cubicBezTo>
                  <a:cubicBezTo>
                    <a:pt x="52" y="15"/>
                    <a:pt x="50" y="16"/>
                    <a:pt x="49" y="16"/>
                  </a:cubicBezTo>
                  <a:cubicBezTo>
                    <a:pt x="49" y="16"/>
                    <a:pt x="49" y="15"/>
                    <a:pt x="49" y="15"/>
                  </a:cubicBezTo>
                  <a:cubicBezTo>
                    <a:pt x="47" y="14"/>
                    <a:pt x="47" y="9"/>
                    <a:pt x="45" y="7"/>
                  </a:cubicBezTo>
                  <a:cubicBezTo>
                    <a:pt x="44" y="6"/>
                    <a:pt x="44" y="6"/>
                    <a:pt x="43" y="6"/>
                  </a:cubicBezTo>
                  <a:cubicBezTo>
                    <a:pt x="43" y="6"/>
                    <a:pt x="42" y="6"/>
                    <a:pt x="41" y="7"/>
                  </a:cubicBezTo>
                  <a:cubicBezTo>
                    <a:pt x="40" y="7"/>
                    <a:pt x="40" y="7"/>
                    <a:pt x="39" y="7"/>
                  </a:cubicBezTo>
                  <a:cubicBezTo>
                    <a:pt x="35" y="7"/>
                    <a:pt x="27" y="2"/>
                    <a:pt x="23" y="1"/>
                  </a:cubicBezTo>
                  <a:cubicBezTo>
                    <a:pt x="21" y="0"/>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365"/>
            <p:cNvSpPr/>
            <p:nvPr/>
          </p:nvSpPr>
          <p:spPr bwMode="auto">
            <a:xfrm>
              <a:off x="9431329" y="7369997"/>
              <a:ext cx="233363" cy="177800"/>
            </a:xfrm>
            <a:custGeom>
              <a:gdLst>
                <a:gd name="T0" fmla="*/ 31 w 62"/>
                <a:gd name="T1" fmla="*/ 2 h 47"/>
                <a:gd name="T2" fmla="*/ 31 w 62"/>
                <a:gd name="T3" fmla="*/ 8 h 47"/>
                <a:gd name="T4" fmla="*/ 31 w 62"/>
                <a:gd name="T5" fmla="*/ 8 h 47"/>
                <a:gd name="T6" fmla="*/ 38 w 62"/>
                <a:gd name="T7" fmla="*/ 10 h 47"/>
                <a:gd name="T8" fmla="*/ 39 w 62"/>
                <a:gd name="T9" fmla="*/ 11 h 47"/>
                <a:gd name="T10" fmla="*/ 40 w 62"/>
                <a:gd name="T11" fmla="*/ 13 h 47"/>
                <a:gd name="T12" fmla="*/ 41 w 62"/>
                <a:gd name="T13" fmla="*/ 13 h 47"/>
                <a:gd name="T14" fmla="*/ 40 w 62"/>
                <a:gd name="T15" fmla="*/ 17 h 47"/>
                <a:gd name="T16" fmla="*/ 42 w 62"/>
                <a:gd name="T17" fmla="*/ 22 h 47"/>
                <a:gd name="T18" fmla="*/ 50 w 62"/>
                <a:gd name="T19" fmla="*/ 31 h 47"/>
                <a:gd name="T20" fmla="*/ 49 w 62"/>
                <a:gd name="T21" fmla="*/ 34 h 47"/>
                <a:gd name="T22" fmla="*/ 49 w 62"/>
                <a:gd name="T23" fmla="*/ 34 h 47"/>
                <a:gd name="T24" fmla="*/ 45 w 62"/>
                <a:gd name="T25" fmla="*/ 34 h 47"/>
                <a:gd name="T26" fmla="*/ 45 w 62"/>
                <a:gd name="T27" fmla="*/ 34 h 47"/>
                <a:gd name="T28" fmla="*/ 40 w 62"/>
                <a:gd name="T29" fmla="*/ 37 h 47"/>
                <a:gd name="T30" fmla="*/ 26 w 62"/>
                <a:gd name="T31" fmla="*/ 35 h 47"/>
                <a:gd name="T32" fmla="*/ 24 w 62"/>
                <a:gd name="T33" fmla="*/ 35 h 47"/>
                <a:gd name="T34" fmla="*/ 8 w 62"/>
                <a:gd name="T35" fmla="*/ 32 h 47"/>
                <a:gd name="T36" fmla="*/ 7 w 62"/>
                <a:gd name="T37" fmla="*/ 31 h 47"/>
                <a:gd name="T38" fmla="*/ 5 w 62"/>
                <a:gd name="T39" fmla="*/ 31 h 47"/>
                <a:gd name="T40" fmla="*/ 3 w 62"/>
                <a:gd name="T41" fmla="*/ 39 h 47"/>
                <a:gd name="T42" fmla="*/ 5 w 62"/>
                <a:gd name="T43" fmla="*/ 40 h 47"/>
                <a:gd name="T44" fmla="*/ 23 w 62"/>
                <a:gd name="T45" fmla="*/ 41 h 47"/>
                <a:gd name="T46" fmla="*/ 41 w 62"/>
                <a:gd name="T47" fmla="*/ 44 h 47"/>
                <a:gd name="T48" fmla="*/ 53 w 62"/>
                <a:gd name="T49" fmla="*/ 42 h 47"/>
                <a:gd name="T50" fmla="*/ 55 w 62"/>
                <a:gd name="T51" fmla="*/ 42 h 47"/>
                <a:gd name="T52" fmla="*/ 60 w 62"/>
                <a:gd name="T53" fmla="*/ 44 h 47"/>
                <a:gd name="T54" fmla="*/ 61 w 62"/>
                <a:gd name="T55" fmla="*/ 41 h 47"/>
                <a:gd name="T56" fmla="*/ 60 w 62"/>
                <a:gd name="T57" fmla="*/ 40 h 47"/>
                <a:gd name="T58" fmla="*/ 56 w 62"/>
                <a:gd name="T59" fmla="*/ 31 h 47"/>
                <a:gd name="T60" fmla="*/ 58 w 62"/>
                <a:gd name="T61" fmla="*/ 29 h 47"/>
                <a:gd name="T62" fmla="*/ 60 w 62"/>
                <a:gd name="T63" fmla="*/ 28 h 47"/>
                <a:gd name="T64" fmla="*/ 57 w 62"/>
                <a:gd name="T65" fmla="*/ 24 h 47"/>
                <a:gd name="T66" fmla="*/ 59 w 62"/>
                <a:gd name="T67" fmla="*/ 22 h 47"/>
                <a:gd name="T68" fmla="*/ 60 w 62"/>
                <a:gd name="T69" fmla="*/ 20 h 47"/>
                <a:gd name="T70" fmla="*/ 62 w 62"/>
                <a:gd name="T71" fmla="*/ 19 h 47"/>
                <a:gd name="T72" fmla="*/ 61 w 62"/>
                <a:gd name="T73" fmla="*/ 14 h 47"/>
                <a:gd name="T74" fmla="*/ 62 w 62"/>
                <a:gd name="T75" fmla="*/ 12 h 47"/>
                <a:gd name="T76" fmla="*/ 60 w 62"/>
                <a:gd name="T77" fmla="*/ 7 h 47"/>
                <a:gd name="T78" fmla="*/ 60 w 62"/>
                <a:gd name="T79" fmla="*/ 6 h 47"/>
                <a:gd name="T80" fmla="*/ 53 w 62"/>
                <a:gd name="T81" fmla="*/ 5 h 47"/>
                <a:gd name="T82" fmla="*/ 52 w 62"/>
                <a:gd name="T83" fmla="*/ 5 h 47"/>
                <a:gd name="T84" fmla="*/ 43 w 62"/>
                <a:gd name="T85" fmla="*/ 1 h 47"/>
                <a:gd name="T86" fmla="*/ 39 w 62"/>
                <a:gd name="T87"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47">
                  <a:moveTo>
                    <a:pt x="39" y="0"/>
                  </a:moveTo>
                  <a:cubicBezTo>
                    <a:pt x="36" y="0"/>
                    <a:pt x="33" y="1"/>
                    <a:pt x="31" y="2"/>
                  </a:cubicBezTo>
                  <a:cubicBezTo>
                    <a:pt x="28" y="3"/>
                    <a:pt x="27" y="4"/>
                    <a:pt x="24" y="6"/>
                  </a:cubicBezTo>
                  <a:cubicBezTo>
                    <a:pt x="27" y="7"/>
                    <a:pt x="28" y="8"/>
                    <a:pt x="31" y="8"/>
                  </a:cubicBezTo>
                  <a:cubicBezTo>
                    <a:pt x="31" y="8"/>
                    <a:pt x="31" y="8"/>
                    <a:pt x="31" y="8"/>
                  </a:cubicBezTo>
                  <a:cubicBezTo>
                    <a:pt x="31" y="8"/>
                    <a:pt x="31" y="8"/>
                    <a:pt x="31" y="8"/>
                  </a:cubicBezTo>
                  <a:cubicBezTo>
                    <a:pt x="34" y="8"/>
                    <a:pt x="36" y="9"/>
                    <a:pt x="38" y="10"/>
                  </a:cubicBezTo>
                  <a:cubicBezTo>
                    <a:pt x="38" y="10"/>
                    <a:pt x="38" y="10"/>
                    <a:pt x="38" y="10"/>
                  </a:cubicBezTo>
                  <a:cubicBezTo>
                    <a:pt x="38" y="11"/>
                    <a:pt x="38" y="11"/>
                    <a:pt x="38" y="11"/>
                  </a:cubicBezTo>
                  <a:cubicBezTo>
                    <a:pt x="39" y="11"/>
                    <a:pt x="39" y="11"/>
                    <a:pt x="39" y="11"/>
                  </a:cubicBezTo>
                  <a:cubicBezTo>
                    <a:pt x="40" y="12"/>
                    <a:pt x="40" y="12"/>
                    <a:pt x="40" y="12"/>
                  </a:cubicBezTo>
                  <a:cubicBezTo>
                    <a:pt x="40" y="13"/>
                    <a:pt x="40" y="13"/>
                    <a:pt x="40" y="13"/>
                  </a:cubicBezTo>
                  <a:cubicBezTo>
                    <a:pt x="41" y="13"/>
                    <a:pt x="41" y="13"/>
                    <a:pt x="41" y="13"/>
                  </a:cubicBezTo>
                  <a:cubicBezTo>
                    <a:pt x="41" y="13"/>
                    <a:pt x="41" y="13"/>
                    <a:pt x="41" y="13"/>
                  </a:cubicBezTo>
                  <a:cubicBezTo>
                    <a:pt x="41" y="14"/>
                    <a:pt x="41" y="14"/>
                    <a:pt x="41" y="15"/>
                  </a:cubicBezTo>
                  <a:cubicBezTo>
                    <a:pt x="42" y="17"/>
                    <a:pt x="40" y="16"/>
                    <a:pt x="40" y="17"/>
                  </a:cubicBezTo>
                  <a:cubicBezTo>
                    <a:pt x="40" y="19"/>
                    <a:pt x="41" y="21"/>
                    <a:pt x="42" y="22"/>
                  </a:cubicBezTo>
                  <a:cubicBezTo>
                    <a:pt x="42" y="22"/>
                    <a:pt x="42" y="22"/>
                    <a:pt x="42" y="22"/>
                  </a:cubicBezTo>
                  <a:cubicBezTo>
                    <a:pt x="42" y="23"/>
                    <a:pt x="42" y="23"/>
                    <a:pt x="42" y="23"/>
                  </a:cubicBezTo>
                  <a:cubicBezTo>
                    <a:pt x="43" y="25"/>
                    <a:pt x="48" y="28"/>
                    <a:pt x="50" y="31"/>
                  </a:cubicBezTo>
                  <a:cubicBezTo>
                    <a:pt x="50" y="31"/>
                    <a:pt x="50" y="32"/>
                    <a:pt x="50" y="32"/>
                  </a:cubicBezTo>
                  <a:cubicBezTo>
                    <a:pt x="50" y="34"/>
                    <a:pt x="50" y="34"/>
                    <a:pt x="49" y="34"/>
                  </a:cubicBezTo>
                  <a:cubicBezTo>
                    <a:pt x="49" y="34"/>
                    <a:pt x="49" y="34"/>
                    <a:pt x="49" y="34"/>
                  </a:cubicBezTo>
                  <a:cubicBezTo>
                    <a:pt x="49" y="34"/>
                    <a:pt x="49" y="34"/>
                    <a:pt x="49" y="34"/>
                  </a:cubicBezTo>
                  <a:cubicBezTo>
                    <a:pt x="48" y="34"/>
                    <a:pt x="47" y="34"/>
                    <a:pt x="47" y="34"/>
                  </a:cubicBezTo>
                  <a:cubicBezTo>
                    <a:pt x="46" y="34"/>
                    <a:pt x="46" y="34"/>
                    <a:pt x="45" y="34"/>
                  </a:cubicBezTo>
                  <a:cubicBezTo>
                    <a:pt x="45" y="34"/>
                    <a:pt x="45" y="34"/>
                    <a:pt x="45" y="34"/>
                  </a:cubicBezTo>
                  <a:cubicBezTo>
                    <a:pt x="45" y="34"/>
                    <a:pt x="45" y="34"/>
                    <a:pt x="45" y="34"/>
                  </a:cubicBezTo>
                  <a:cubicBezTo>
                    <a:pt x="45" y="35"/>
                    <a:pt x="44" y="35"/>
                    <a:pt x="43" y="36"/>
                  </a:cubicBezTo>
                  <a:cubicBezTo>
                    <a:pt x="42" y="36"/>
                    <a:pt x="41" y="37"/>
                    <a:pt x="40" y="37"/>
                  </a:cubicBezTo>
                  <a:cubicBezTo>
                    <a:pt x="39" y="37"/>
                    <a:pt x="39" y="37"/>
                    <a:pt x="39" y="36"/>
                  </a:cubicBezTo>
                  <a:cubicBezTo>
                    <a:pt x="34" y="36"/>
                    <a:pt x="30" y="35"/>
                    <a:pt x="26" y="35"/>
                  </a:cubicBezTo>
                  <a:cubicBezTo>
                    <a:pt x="25" y="35"/>
                    <a:pt x="25" y="35"/>
                    <a:pt x="25" y="35"/>
                  </a:cubicBezTo>
                  <a:cubicBezTo>
                    <a:pt x="25" y="35"/>
                    <a:pt x="24" y="35"/>
                    <a:pt x="24" y="35"/>
                  </a:cubicBezTo>
                  <a:cubicBezTo>
                    <a:pt x="21" y="35"/>
                    <a:pt x="18" y="35"/>
                    <a:pt x="15" y="34"/>
                  </a:cubicBezTo>
                  <a:cubicBezTo>
                    <a:pt x="12" y="33"/>
                    <a:pt x="10" y="32"/>
                    <a:pt x="8" y="32"/>
                  </a:cubicBezTo>
                  <a:cubicBezTo>
                    <a:pt x="8" y="31"/>
                    <a:pt x="8" y="31"/>
                    <a:pt x="8" y="31"/>
                  </a:cubicBezTo>
                  <a:cubicBezTo>
                    <a:pt x="7" y="31"/>
                    <a:pt x="7" y="31"/>
                    <a:pt x="7" y="31"/>
                  </a:cubicBezTo>
                  <a:cubicBezTo>
                    <a:pt x="6" y="31"/>
                    <a:pt x="6" y="31"/>
                    <a:pt x="6" y="31"/>
                  </a:cubicBezTo>
                  <a:cubicBezTo>
                    <a:pt x="6" y="31"/>
                    <a:pt x="6" y="31"/>
                    <a:pt x="5" y="31"/>
                  </a:cubicBezTo>
                  <a:cubicBezTo>
                    <a:pt x="4" y="31"/>
                    <a:pt x="3" y="31"/>
                    <a:pt x="2" y="32"/>
                  </a:cubicBezTo>
                  <a:cubicBezTo>
                    <a:pt x="1" y="34"/>
                    <a:pt x="0" y="38"/>
                    <a:pt x="3" y="39"/>
                  </a:cubicBezTo>
                  <a:cubicBezTo>
                    <a:pt x="3" y="39"/>
                    <a:pt x="4" y="39"/>
                    <a:pt x="4" y="39"/>
                  </a:cubicBezTo>
                  <a:cubicBezTo>
                    <a:pt x="5" y="40"/>
                    <a:pt x="5" y="40"/>
                    <a:pt x="5" y="40"/>
                  </a:cubicBezTo>
                  <a:cubicBezTo>
                    <a:pt x="9" y="41"/>
                    <a:pt x="11" y="43"/>
                    <a:pt x="15" y="47"/>
                  </a:cubicBezTo>
                  <a:cubicBezTo>
                    <a:pt x="15" y="42"/>
                    <a:pt x="19" y="41"/>
                    <a:pt x="23" y="41"/>
                  </a:cubicBezTo>
                  <a:cubicBezTo>
                    <a:pt x="29" y="41"/>
                    <a:pt x="37" y="43"/>
                    <a:pt x="40" y="44"/>
                  </a:cubicBezTo>
                  <a:cubicBezTo>
                    <a:pt x="40" y="44"/>
                    <a:pt x="41" y="44"/>
                    <a:pt x="41" y="44"/>
                  </a:cubicBezTo>
                  <a:cubicBezTo>
                    <a:pt x="43" y="44"/>
                    <a:pt x="45" y="43"/>
                    <a:pt x="47" y="43"/>
                  </a:cubicBezTo>
                  <a:cubicBezTo>
                    <a:pt x="49" y="42"/>
                    <a:pt x="51" y="42"/>
                    <a:pt x="53" y="42"/>
                  </a:cubicBezTo>
                  <a:cubicBezTo>
                    <a:pt x="53" y="42"/>
                    <a:pt x="53" y="42"/>
                    <a:pt x="53" y="42"/>
                  </a:cubicBezTo>
                  <a:cubicBezTo>
                    <a:pt x="54" y="42"/>
                    <a:pt x="55" y="42"/>
                    <a:pt x="55" y="42"/>
                  </a:cubicBezTo>
                  <a:cubicBezTo>
                    <a:pt x="56" y="42"/>
                    <a:pt x="56" y="42"/>
                    <a:pt x="56" y="42"/>
                  </a:cubicBezTo>
                  <a:cubicBezTo>
                    <a:pt x="58" y="42"/>
                    <a:pt x="59" y="43"/>
                    <a:pt x="60" y="44"/>
                  </a:cubicBezTo>
                  <a:cubicBezTo>
                    <a:pt x="60" y="43"/>
                    <a:pt x="61" y="43"/>
                    <a:pt x="61" y="42"/>
                  </a:cubicBezTo>
                  <a:cubicBezTo>
                    <a:pt x="61" y="42"/>
                    <a:pt x="61" y="41"/>
                    <a:pt x="61" y="41"/>
                  </a:cubicBezTo>
                  <a:cubicBezTo>
                    <a:pt x="61" y="41"/>
                    <a:pt x="61" y="40"/>
                    <a:pt x="61" y="40"/>
                  </a:cubicBezTo>
                  <a:cubicBezTo>
                    <a:pt x="60" y="40"/>
                    <a:pt x="60" y="40"/>
                    <a:pt x="60" y="40"/>
                  </a:cubicBezTo>
                  <a:cubicBezTo>
                    <a:pt x="58" y="38"/>
                    <a:pt x="55" y="36"/>
                    <a:pt x="55" y="33"/>
                  </a:cubicBezTo>
                  <a:cubicBezTo>
                    <a:pt x="55" y="32"/>
                    <a:pt x="55" y="31"/>
                    <a:pt x="56" y="31"/>
                  </a:cubicBezTo>
                  <a:cubicBezTo>
                    <a:pt x="55" y="30"/>
                    <a:pt x="55" y="30"/>
                    <a:pt x="55" y="30"/>
                  </a:cubicBezTo>
                  <a:cubicBezTo>
                    <a:pt x="58" y="29"/>
                    <a:pt x="58" y="29"/>
                    <a:pt x="58" y="29"/>
                  </a:cubicBezTo>
                  <a:cubicBezTo>
                    <a:pt x="59" y="29"/>
                    <a:pt x="60" y="28"/>
                    <a:pt x="61" y="28"/>
                  </a:cubicBezTo>
                  <a:cubicBezTo>
                    <a:pt x="60" y="28"/>
                    <a:pt x="60" y="28"/>
                    <a:pt x="60" y="28"/>
                  </a:cubicBezTo>
                  <a:cubicBezTo>
                    <a:pt x="59" y="27"/>
                    <a:pt x="59" y="26"/>
                    <a:pt x="58" y="25"/>
                  </a:cubicBezTo>
                  <a:cubicBezTo>
                    <a:pt x="57" y="24"/>
                    <a:pt x="57" y="24"/>
                    <a:pt x="57" y="24"/>
                  </a:cubicBezTo>
                  <a:cubicBezTo>
                    <a:pt x="59" y="22"/>
                    <a:pt x="59" y="22"/>
                    <a:pt x="59" y="22"/>
                  </a:cubicBezTo>
                  <a:cubicBezTo>
                    <a:pt x="59" y="22"/>
                    <a:pt x="59" y="22"/>
                    <a:pt x="59" y="22"/>
                  </a:cubicBezTo>
                  <a:cubicBezTo>
                    <a:pt x="60" y="21"/>
                    <a:pt x="60" y="21"/>
                    <a:pt x="60" y="21"/>
                  </a:cubicBezTo>
                  <a:cubicBezTo>
                    <a:pt x="60" y="20"/>
                    <a:pt x="60" y="20"/>
                    <a:pt x="60" y="20"/>
                  </a:cubicBezTo>
                  <a:cubicBezTo>
                    <a:pt x="61" y="20"/>
                    <a:pt x="61" y="19"/>
                    <a:pt x="62" y="19"/>
                  </a:cubicBezTo>
                  <a:cubicBezTo>
                    <a:pt x="62" y="19"/>
                    <a:pt x="62" y="19"/>
                    <a:pt x="62" y="19"/>
                  </a:cubicBezTo>
                  <a:cubicBezTo>
                    <a:pt x="62" y="18"/>
                    <a:pt x="61" y="18"/>
                    <a:pt x="61" y="17"/>
                  </a:cubicBezTo>
                  <a:cubicBezTo>
                    <a:pt x="61" y="16"/>
                    <a:pt x="61" y="15"/>
                    <a:pt x="61" y="14"/>
                  </a:cubicBezTo>
                  <a:cubicBezTo>
                    <a:pt x="61" y="14"/>
                    <a:pt x="61" y="14"/>
                    <a:pt x="62" y="13"/>
                  </a:cubicBezTo>
                  <a:cubicBezTo>
                    <a:pt x="62" y="13"/>
                    <a:pt x="62" y="12"/>
                    <a:pt x="62" y="12"/>
                  </a:cubicBezTo>
                  <a:cubicBezTo>
                    <a:pt x="62" y="11"/>
                    <a:pt x="62" y="11"/>
                    <a:pt x="62" y="10"/>
                  </a:cubicBezTo>
                  <a:cubicBezTo>
                    <a:pt x="61" y="9"/>
                    <a:pt x="61" y="8"/>
                    <a:pt x="60" y="7"/>
                  </a:cubicBezTo>
                  <a:cubicBezTo>
                    <a:pt x="60" y="6"/>
                    <a:pt x="60" y="6"/>
                    <a:pt x="60" y="6"/>
                  </a:cubicBezTo>
                  <a:cubicBezTo>
                    <a:pt x="60" y="6"/>
                    <a:pt x="60" y="6"/>
                    <a:pt x="60" y="6"/>
                  </a:cubicBezTo>
                  <a:cubicBezTo>
                    <a:pt x="60" y="6"/>
                    <a:pt x="60" y="6"/>
                    <a:pt x="60" y="6"/>
                  </a:cubicBezTo>
                  <a:cubicBezTo>
                    <a:pt x="58" y="6"/>
                    <a:pt x="56" y="6"/>
                    <a:pt x="53" y="5"/>
                  </a:cubicBezTo>
                  <a:cubicBezTo>
                    <a:pt x="53" y="5"/>
                    <a:pt x="53" y="5"/>
                    <a:pt x="53" y="5"/>
                  </a:cubicBezTo>
                  <a:cubicBezTo>
                    <a:pt x="52" y="5"/>
                    <a:pt x="52" y="5"/>
                    <a:pt x="52" y="5"/>
                  </a:cubicBezTo>
                  <a:cubicBezTo>
                    <a:pt x="51" y="5"/>
                    <a:pt x="50" y="5"/>
                    <a:pt x="50" y="5"/>
                  </a:cubicBezTo>
                  <a:cubicBezTo>
                    <a:pt x="48" y="3"/>
                    <a:pt x="45" y="2"/>
                    <a:pt x="43" y="1"/>
                  </a:cubicBezTo>
                  <a:cubicBezTo>
                    <a:pt x="42" y="1"/>
                    <a:pt x="41" y="1"/>
                    <a:pt x="40" y="0"/>
                  </a:cubicBezTo>
                  <a:cubicBezTo>
                    <a:pt x="40" y="0"/>
                    <a:pt x="40"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366"/>
            <p:cNvSpPr>
              <a:spLocks noChangeArrowheads="1"/>
            </p:cNvSpPr>
            <p:nvPr/>
          </p:nvSpPr>
          <p:spPr bwMode="auto">
            <a:xfrm>
              <a:off x="9664691" y="7476360"/>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67"/>
            <p:cNvSpPr/>
            <p:nvPr/>
          </p:nvSpPr>
          <p:spPr bwMode="auto">
            <a:xfrm flipH="1">
              <a:off x="9664691" y="7476360"/>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68"/>
            <p:cNvSpPr/>
            <p:nvPr/>
          </p:nvSpPr>
          <p:spPr bwMode="auto">
            <a:xfrm>
              <a:off x="8158154" y="7512872"/>
              <a:ext cx="87313" cy="222250"/>
            </a:xfrm>
            <a:custGeom>
              <a:gdLst>
                <a:gd name="T0" fmla="*/ 23 w 23"/>
                <a:gd name="T1" fmla="*/ 0 h 59"/>
                <a:gd name="T2" fmla="*/ 22 w 23"/>
                <a:gd name="T3" fmla="*/ 1 h 59"/>
                <a:gd name="T4" fmla="*/ 21 w 23"/>
                <a:gd name="T5" fmla="*/ 1 h 59"/>
                <a:gd name="T6" fmla="*/ 20 w 23"/>
                <a:gd name="T7" fmla="*/ 1 h 59"/>
                <a:gd name="T8" fmla="*/ 20 w 23"/>
                <a:gd name="T9" fmla="*/ 1 h 59"/>
                <a:gd name="T10" fmla="*/ 20 w 23"/>
                <a:gd name="T11" fmla="*/ 1 h 59"/>
                <a:gd name="T12" fmla="*/ 20 w 23"/>
                <a:gd name="T13" fmla="*/ 1 h 59"/>
                <a:gd name="T14" fmla="*/ 19 w 23"/>
                <a:gd name="T15" fmla="*/ 1 h 59"/>
                <a:gd name="T16" fmla="*/ 18 w 23"/>
                <a:gd name="T17" fmla="*/ 1 h 59"/>
                <a:gd name="T18" fmla="*/ 18 w 23"/>
                <a:gd name="T19" fmla="*/ 0 h 59"/>
                <a:gd name="T20" fmla="*/ 17 w 23"/>
                <a:gd name="T21" fmla="*/ 0 h 59"/>
                <a:gd name="T22" fmla="*/ 15 w 23"/>
                <a:gd name="T23" fmla="*/ 2 h 59"/>
                <a:gd name="T24" fmla="*/ 14 w 23"/>
                <a:gd name="T25" fmla="*/ 5 h 59"/>
                <a:gd name="T26" fmla="*/ 12 w 23"/>
                <a:gd name="T27" fmla="*/ 9 h 59"/>
                <a:gd name="T28" fmla="*/ 8 w 23"/>
                <a:gd name="T29" fmla="*/ 13 h 59"/>
                <a:gd name="T30" fmla="*/ 5 w 23"/>
                <a:gd name="T31" fmla="*/ 14 h 59"/>
                <a:gd name="T32" fmla="*/ 5 w 23"/>
                <a:gd name="T33" fmla="*/ 14 h 59"/>
                <a:gd name="T34" fmla="*/ 5 w 23"/>
                <a:gd name="T35" fmla="*/ 14 h 59"/>
                <a:gd name="T36" fmla="*/ 3 w 23"/>
                <a:gd name="T37" fmla="*/ 13 h 59"/>
                <a:gd name="T38" fmla="*/ 2 w 23"/>
                <a:gd name="T39" fmla="*/ 13 h 59"/>
                <a:gd name="T40" fmla="*/ 2 w 23"/>
                <a:gd name="T41" fmla="*/ 13 h 59"/>
                <a:gd name="T42" fmla="*/ 2 w 23"/>
                <a:gd name="T43" fmla="*/ 14 h 59"/>
                <a:gd name="T44" fmla="*/ 2 w 23"/>
                <a:gd name="T45" fmla="*/ 14 h 59"/>
                <a:gd name="T46" fmla="*/ 2 w 23"/>
                <a:gd name="T47" fmla="*/ 15 h 59"/>
                <a:gd name="T48" fmla="*/ 2 w 23"/>
                <a:gd name="T49" fmla="*/ 18 h 59"/>
                <a:gd name="T50" fmla="*/ 2 w 23"/>
                <a:gd name="T51" fmla="*/ 22 h 59"/>
                <a:gd name="T52" fmla="*/ 2 w 23"/>
                <a:gd name="T53" fmla="*/ 29 h 59"/>
                <a:gd name="T54" fmla="*/ 0 w 23"/>
                <a:gd name="T55" fmla="*/ 57 h 59"/>
                <a:gd name="T56" fmla="*/ 1 w 23"/>
                <a:gd name="T57" fmla="*/ 57 h 59"/>
                <a:gd name="T58" fmla="*/ 4 w 23"/>
                <a:gd name="T59" fmla="*/ 56 h 59"/>
                <a:gd name="T60" fmla="*/ 5 w 23"/>
                <a:gd name="T61" fmla="*/ 56 h 59"/>
                <a:gd name="T62" fmla="*/ 5 w 23"/>
                <a:gd name="T63" fmla="*/ 59 h 59"/>
                <a:gd name="T64" fmla="*/ 5 w 23"/>
                <a:gd name="T65" fmla="*/ 58 h 59"/>
                <a:gd name="T66" fmla="*/ 14 w 23"/>
                <a:gd name="T67" fmla="*/ 49 h 59"/>
                <a:gd name="T68" fmla="*/ 17 w 23"/>
                <a:gd name="T69" fmla="*/ 43 h 59"/>
                <a:gd name="T70" fmla="*/ 21 w 23"/>
                <a:gd name="T71" fmla="*/ 34 h 59"/>
                <a:gd name="T72" fmla="*/ 19 w 23"/>
                <a:gd name="T73" fmla="*/ 29 h 59"/>
                <a:gd name="T74" fmla="*/ 21 w 23"/>
                <a:gd name="T75" fmla="*/ 16 h 59"/>
                <a:gd name="T76" fmla="*/ 23 w 23"/>
                <a:gd name="T77" fmla="*/ 0 h 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 h="59">
                  <a:moveTo>
                    <a:pt x="23" y="0"/>
                  </a:moveTo>
                  <a:cubicBezTo>
                    <a:pt x="23" y="1"/>
                    <a:pt x="22" y="1"/>
                    <a:pt x="22" y="1"/>
                  </a:cubicBezTo>
                  <a:cubicBezTo>
                    <a:pt x="22" y="1"/>
                    <a:pt x="22" y="1"/>
                    <a:pt x="21" y="1"/>
                  </a:cubicBezTo>
                  <a:cubicBezTo>
                    <a:pt x="21" y="1"/>
                    <a:pt x="21" y="1"/>
                    <a:pt x="20" y="1"/>
                  </a:cubicBezTo>
                  <a:cubicBezTo>
                    <a:pt x="20" y="1"/>
                    <a:pt x="20" y="1"/>
                    <a:pt x="20" y="1"/>
                  </a:cubicBezTo>
                  <a:cubicBezTo>
                    <a:pt x="20" y="1"/>
                    <a:pt x="20" y="1"/>
                    <a:pt x="20" y="1"/>
                  </a:cubicBezTo>
                  <a:cubicBezTo>
                    <a:pt x="20" y="1"/>
                    <a:pt x="20" y="1"/>
                    <a:pt x="20" y="1"/>
                  </a:cubicBezTo>
                  <a:cubicBezTo>
                    <a:pt x="19" y="1"/>
                    <a:pt x="19" y="1"/>
                    <a:pt x="19" y="1"/>
                  </a:cubicBezTo>
                  <a:cubicBezTo>
                    <a:pt x="18" y="1"/>
                    <a:pt x="18" y="1"/>
                    <a:pt x="18" y="1"/>
                  </a:cubicBezTo>
                  <a:cubicBezTo>
                    <a:pt x="18" y="0"/>
                    <a:pt x="18" y="0"/>
                    <a:pt x="18" y="0"/>
                  </a:cubicBezTo>
                  <a:cubicBezTo>
                    <a:pt x="17" y="0"/>
                    <a:pt x="17" y="0"/>
                    <a:pt x="17" y="0"/>
                  </a:cubicBezTo>
                  <a:cubicBezTo>
                    <a:pt x="16" y="1"/>
                    <a:pt x="16" y="1"/>
                    <a:pt x="15" y="2"/>
                  </a:cubicBezTo>
                  <a:cubicBezTo>
                    <a:pt x="14" y="5"/>
                    <a:pt x="14" y="5"/>
                    <a:pt x="14" y="5"/>
                  </a:cubicBezTo>
                  <a:cubicBezTo>
                    <a:pt x="13" y="7"/>
                    <a:pt x="12" y="8"/>
                    <a:pt x="12" y="9"/>
                  </a:cubicBezTo>
                  <a:cubicBezTo>
                    <a:pt x="11" y="11"/>
                    <a:pt x="9" y="13"/>
                    <a:pt x="8" y="13"/>
                  </a:cubicBezTo>
                  <a:cubicBezTo>
                    <a:pt x="7" y="14"/>
                    <a:pt x="6" y="14"/>
                    <a:pt x="5" y="14"/>
                  </a:cubicBezTo>
                  <a:cubicBezTo>
                    <a:pt x="5" y="14"/>
                    <a:pt x="5" y="14"/>
                    <a:pt x="5" y="14"/>
                  </a:cubicBezTo>
                  <a:cubicBezTo>
                    <a:pt x="5" y="14"/>
                    <a:pt x="5" y="14"/>
                    <a:pt x="5" y="14"/>
                  </a:cubicBezTo>
                  <a:cubicBezTo>
                    <a:pt x="4" y="14"/>
                    <a:pt x="3" y="14"/>
                    <a:pt x="3" y="13"/>
                  </a:cubicBezTo>
                  <a:cubicBezTo>
                    <a:pt x="2" y="13"/>
                    <a:pt x="2" y="13"/>
                    <a:pt x="2" y="13"/>
                  </a:cubicBezTo>
                  <a:cubicBezTo>
                    <a:pt x="2" y="13"/>
                    <a:pt x="2" y="13"/>
                    <a:pt x="2" y="13"/>
                  </a:cubicBezTo>
                  <a:cubicBezTo>
                    <a:pt x="2" y="13"/>
                    <a:pt x="2" y="14"/>
                    <a:pt x="2" y="14"/>
                  </a:cubicBezTo>
                  <a:cubicBezTo>
                    <a:pt x="2" y="14"/>
                    <a:pt x="2" y="14"/>
                    <a:pt x="2" y="14"/>
                  </a:cubicBezTo>
                  <a:cubicBezTo>
                    <a:pt x="2" y="15"/>
                    <a:pt x="2" y="15"/>
                    <a:pt x="2" y="15"/>
                  </a:cubicBezTo>
                  <a:cubicBezTo>
                    <a:pt x="2" y="16"/>
                    <a:pt x="2" y="17"/>
                    <a:pt x="2" y="18"/>
                  </a:cubicBezTo>
                  <a:cubicBezTo>
                    <a:pt x="2" y="22"/>
                    <a:pt x="2" y="22"/>
                    <a:pt x="2" y="22"/>
                  </a:cubicBezTo>
                  <a:cubicBezTo>
                    <a:pt x="2" y="24"/>
                    <a:pt x="2" y="26"/>
                    <a:pt x="2" y="29"/>
                  </a:cubicBezTo>
                  <a:cubicBezTo>
                    <a:pt x="2" y="38"/>
                    <a:pt x="1" y="48"/>
                    <a:pt x="0" y="57"/>
                  </a:cubicBezTo>
                  <a:cubicBezTo>
                    <a:pt x="1" y="57"/>
                    <a:pt x="1" y="57"/>
                    <a:pt x="1" y="57"/>
                  </a:cubicBezTo>
                  <a:cubicBezTo>
                    <a:pt x="2" y="57"/>
                    <a:pt x="3" y="57"/>
                    <a:pt x="4" y="56"/>
                  </a:cubicBezTo>
                  <a:cubicBezTo>
                    <a:pt x="5" y="56"/>
                    <a:pt x="5" y="56"/>
                    <a:pt x="5" y="56"/>
                  </a:cubicBezTo>
                  <a:cubicBezTo>
                    <a:pt x="5" y="59"/>
                    <a:pt x="5" y="59"/>
                    <a:pt x="5" y="59"/>
                  </a:cubicBezTo>
                  <a:cubicBezTo>
                    <a:pt x="5" y="58"/>
                    <a:pt x="5" y="58"/>
                    <a:pt x="5" y="58"/>
                  </a:cubicBezTo>
                  <a:cubicBezTo>
                    <a:pt x="8" y="55"/>
                    <a:pt x="11" y="52"/>
                    <a:pt x="14" y="49"/>
                  </a:cubicBezTo>
                  <a:cubicBezTo>
                    <a:pt x="15" y="47"/>
                    <a:pt x="17" y="45"/>
                    <a:pt x="17" y="43"/>
                  </a:cubicBezTo>
                  <a:cubicBezTo>
                    <a:pt x="18" y="40"/>
                    <a:pt x="21" y="36"/>
                    <a:pt x="21" y="34"/>
                  </a:cubicBezTo>
                  <a:cubicBezTo>
                    <a:pt x="21" y="32"/>
                    <a:pt x="19" y="31"/>
                    <a:pt x="19" y="29"/>
                  </a:cubicBezTo>
                  <a:cubicBezTo>
                    <a:pt x="20" y="24"/>
                    <a:pt x="20" y="20"/>
                    <a:pt x="21" y="16"/>
                  </a:cubicBezTo>
                  <a:cubicBezTo>
                    <a:pt x="22" y="11"/>
                    <a:pt x="23" y="6"/>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69"/>
            <p:cNvSpPr/>
            <p:nvPr/>
          </p:nvSpPr>
          <p:spPr bwMode="auto">
            <a:xfrm>
              <a:off x="10985491" y="1008884"/>
              <a:ext cx="3175" cy="3175"/>
            </a:xfrm>
            <a:custGeom>
              <a:gdLst>
                <a:gd name="T0" fmla="*/ 1 w 1"/>
                <a:gd name="T1" fmla="*/ 0 h 1"/>
                <a:gd name="T2" fmla="*/ 0 w 1"/>
                <a:gd name="T3" fmla="*/ 0 h 1"/>
                <a:gd name="T4" fmla="*/ 1 w 1"/>
                <a:gd name="T5" fmla="*/ 1 h 1"/>
                <a:gd name="T6" fmla="*/ 1 w 1"/>
                <a:gd name="T7" fmla="*/ 0 h 1"/>
              </a:gdLst>
              <a:cxnLst>
                <a:cxn ang="0">
                  <a:pos x="T0" y="T1"/>
                </a:cxn>
                <a:cxn ang="0">
                  <a:pos x="T2" y="T3"/>
                </a:cxn>
                <a:cxn ang="0">
                  <a:pos x="T4" y="T5"/>
                </a:cxn>
                <a:cxn ang="0">
                  <a:pos x="T6" y="T7"/>
                </a:cxn>
              </a:cxnLst>
              <a:rect l="0" t="0" r="r" b="b"/>
              <a:pathLst>
                <a:path w="1" h="1">
                  <a:moveTo>
                    <a:pt x="1" y="0"/>
                  </a:moveTo>
                  <a:cubicBezTo>
                    <a:pt x="1" y="0"/>
                    <a:pt x="0" y="0"/>
                    <a:pt x="0" y="0"/>
                  </a:cubicBezTo>
                  <a:cubicBezTo>
                    <a:pt x="0"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70"/>
            <p:cNvSpPr/>
            <p:nvPr/>
          </p:nvSpPr>
          <p:spPr bwMode="auto">
            <a:xfrm>
              <a:off x="10936279" y="1050159"/>
              <a:ext cx="52388" cy="19050"/>
            </a:xfrm>
            <a:custGeom>
              <a:gdLst>
                <a:gd name="T0" fmla="*/ 14 w 14"/>
                <a:gd name="T1" fmla="*/ 0 h 5"/>
                <a:gd name="T2" fmla="*/ 10 w 14"/>
                <a:gd name="T3" fmla="*/ 1 h 5"/>
                <a:gd name="T4" fmla="*/ 7 w 14"/>
                <a:gd name="T5" fmla="*/ 2 h 5"/>
                <a:gd name="T6" fmla="*/ 7 w 14"/>
                <a:gd name="T7" fmla="*/ 2 h 5"/>
                <a:gd name="T8" fmla="*/ 6 w 14"/>
                <a:gd name="T9" fmla="*/ 2 h 5"/>
                <a:gd name="T10" fmla="*/ 5 w 14"/>
                <a:gd name="T11" fmla="*/ 2 h 5"/>
                <a:gd name="T12" fmla="*/ 4 w 14"/>
                <a:gd name="T13" fmla="*/ 3 h 5"/>
                <a:gd name="T14" fmla="*/ 4 w 14"/>
                <a:gd name="T15" fmla="*/ 3 h 5"/>
                <a:gd name="T16" fmla="*/ 1 w 14"/>
                <a:gd name="T17" fmla="*/ 4 h 5"/>
                <a:gd name="T18" fmla="*/ 3 w 14"/>
                <a:gd name="T19" fmla="*/ 5 h 5"/>
                <a:gd name="T20" fmla="*/ 4 w 14"/>
                <a:gd name="T21" fmla="*/ 5 h 5"/>
                <a:gd name="T22" fmla="*/ 14 w 14"/>
                <a:gd name="T23" fmla="*/ 3 h 5"/>
                <a:gd name="T24" fmla="*/ 14 w 14"/>
                <a:gd name="T25"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5">
                  <a:moveTo>
                    <a:pt x="14" y="0"/>
                  </a:moveTo>
                  <a:cubicBezTo>
                    <a:pt x="13" y="1"/>
                    <a:pt x="12" y="0"/>
                    <a:pt x="10" y="1"/>
                  </a:cubicBezTo>
                  <a:cubicBezTo>
                    <a:pt x="9" y="1"/>
                    <a:pt x="8" y="2"/>
                    <a:pt x="7" y="2"/>
                  </a:cubicBezTo>
                  <a:cubicBezTo>
                    <a:pt x="7" y="2"/>
                    <a:pt x="7" y="2"/>
                    <a:pt x="7" y="2"/>
                  </a:cubicBezTo>
                  <a:cubicBezTo>
                    <a:pt x="6" y="2"/>
                    <a:pt x="6" y="2"/>
                    <a:pt x="6" y="2"/>
                  </a:cubicBezTo>
                  <a:cubicBezTo>
                    <a:pt x="6" y="2"/>
                    <a:pt x="5" y="2"/>
                    <a:pt x="5" y="2"/>
                  </a:cubicBezTo>
                  <a:cubicBezTo>
                    <a:pt x="4" y="2"/>
                    <a:pt x="4" y="2"/>
                    <a:pt x="4" y="3"/>
                  </a:cubicBezTo>
                  <a:cubicBezTo>
                    <a:pt x="4" y="3"/>
                    <a:pt x="4" y="3"/>
                    <a:pt x="4" y="3"/>
                  </a:cubicBezTo>
                  <a:cubicBezTo>
                    <a:pt x="4" y="3"/>
                    <a:pt x="2" y="3"/>
                    <a:pt x="1" y="4"/>
                  </a:cubicBezTo>
                  <a:cubicBezTo>
                    <a:pt x="0" y="5"/>
                    <a:pt x="0" y="5"/>
                    <a:pt x="3" y="5"/>
                  </a:cubicBezTo>
                  <a:cubicBezTo>
                    <a:pt x="3" y="5"/>
                    <a:pt x="4" y="5"/>
                    <a:pt x="4" y="5"/>
                  </a:cubicBezTo>
                  <a:cubicBezTo>
                    <a:pt x="7" y="5"/>
                    <a:pt x="11" y="4"/>
                    <a:pt x="14" y="3"/>
                  </a:cubicBez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71"/>
            <p:cNvSpPr>
              <a:spLocks noEditPoints="1"/>
            </p:cNvSpPr>
            <p:nvPr/>
          </p:nvSpPr>
          <p:spPr bwMode="auto">
            <a:xfrm>
              <a:off x="9832966" y="599309"/>
              <a:ext cx="1155700" cy="376238"/>
            </a:xfrm>
            <a:custGeom>
              <a:gdLst>
                <a:gd name="T0" fmla="*/ 125 w 308"/>
                <a:gd name="T1" fmla="*/ 30 h 100"/>
                <a:gd name="T2" fmla="*/ 308 w 308"/>
                <a:gd name="T3" fmla="*/ 0 h 100"/>
                <a:gd name="T4" fmla="*/ 13 w 308"/>
                <a:gd name="T5" fmla="*/ 3 h 100"/>
                <a:gd name="T6" fmla="*/ 29 w 308"/>
                <a:gd name="T7" fmla="*/ 5 h 100"/>
                <a:gd name="T8" fmla="*/ 43 w 308"/>
                <a:gd name="T9" fmla="*/ 5 h 100"/>
                <a:gd name="T10" fmla="*/ 47 w 308"/>
                <a:gd name="T11" fmla="*/ 5 h 100"/>
                <a:gd name="T12" fmla="*/ 38 w 308"/>
                <a:gd name="T13" fmla="*/ 10 h 100"/>
                <a:gd name="T14" fmla="*/ 33 w 308"/>
                <a:gd name="T15" fmla="*/ 9 h 100"/>
                <a:gd name="T16" fmla="*/ 15 w 308"/>
                <a:gd name="T17" fmla="*/ 16 h 100"/>
                <a:gd name="T18" fmla="*/ 11 w 308"/>
                <a:gd name="T19" fmla="*/ 20 h 100"/>
                <a:gd name="T20" fmla="*/ 29 w 308"/>
                <a:gd name="T21" fmla="*/ 30 h 100"/>
                <a:gd name="T22" fmla="*/ 46 w 308"/>
                <a:gd name="T23" fmla="*/ 34 h 100"/>
                <a:gd name="T24" fmla="*/ 69 w 308"/>
                <a:gd name="T25" fmla="*/ 34 h 100"/>
                <a:gd name="T26" fmla="*/ 68 w 308"/>
                <a:gd name="T27" fmla="*/ 29 h 100"/>
                <a:gd name="T28" fmla="*/ 71 w 308"/>
                <a:gd name="T29" fmla="*/ 24 h 100"/>
                <a:gd name="T30" fmla="*/ 76 w 308"/>
                <a:gd name="T31" fmla="*/ 28 h 100"/>
                <a:gd name="T32" fmla="*/ 84 w 308"/>
                <a:gd name="T33" fmla="*/ 32 h 100"/>
                <a:gd name="T34" fmla="*/ 89 w 308"/>
                <a:gd name="T35" fmla="*/ 24 h 100"/>
                <a:gd name="T36" fmla="*/ 103 w 308"/>
                <a:gd name="T37" fmla="*/ 26 h 100"/>
                <a:gd name="T38" fmla="*/ 100 w 308"/>
                <a:gd name="T39" fmla="*/ 28 h 100"/>
                <a:gd name="T40" fmla="*/ 108 w 308"/>
                <a:gd name="T41" fmla="*/ 35 h 100"/>
                <a:gd name="T42" fmla="*/ 123 w 308"/>
                <a:gd name="T43" fmla="*/ 31 h 100"/>
                <a:gd name="T44" fmla="*/ 125 w 308"/>
                <a:gd name="T45" fmla="*/ 30 h 100"/>
                <a:gd name="T46" fmla="*/ 125 w 308"/>
                <a:gd name="T47" fmla="*/ 29 h 100"/>
                <a:gd name="T48" fmla="*/ 125 w 308"/>
                <a:gd name="T49" fmla="*/ 29 h 100"/>
                <a:gd name="T50" fmla="*/ 126 w 308"/>
                <a:gd name="T51" fmla="*/ 28 h 100"/>
                <a:gd name="T52" fmla="*/ 128 w 308"/>
                <a:gd name="T53" fmla="*/ 26 h 100"/>
                <a:gd name="T54" fmla="*/ 134 w 308"/>
                <a:gd name="T55" fmla="*/ 24 h 100"/>
                <a:gd name="T56" fmla="*/ 140 w 308"/>
                <a:gd name="T57" fmla="*/ 31 h 100"/>
                <a:gd name="T58" fmla="*/ 147 w 308"/>
                <a:gd name="T59" fmla="*/ 27 h 100"/>
                <a:gd name="T60" fmla="*/ 197 w 308"/>
                <a:gd name="T61" fmla="*/ 29 h 100"/>
                <a:gd name="T62" fmla="*/ 202 w 308"/>
                <a:gd name="T63" fmla="*/ 29 h 100"/>
                <a:gd name="T64" fmla="*/ 212 w 308"/>
                <a:gd name="T65" fmla="*/ 30 h 100"/>
                <a:gd name="T66" fmla="*/ 223 w 308"/>
                <a:gd name="T67" fmla="*/ 34 h 100"/>
                <a:gd name="T68" fmla="*/ 268 w 308"/>
                <a:gd name="T69" fmla="*/ 51 h 100"/>
                <a:gd name="T70" fmla="*/ 271 w 308"/>
                <a:gd name="T71" fmla="*/ 54 h 100"/>
                <a:gd name="T72" fmla="*/ 274 w 308"/>
                <a:gd name="T73" fmla="*/ 61 h 100"/>
                <a:gd name="T74" fmla="*/ 271 w 308"/>
                <a:gd name="T75" fmla="*/ 64 h 100"/>
                <a:gd name="T76" fmla="*/ 264 w 308"/>
                <a:gd name="T77" fmla="*/ 68 h 100"/>
                <a:gd name="T78" fmla="*/ 270 w 308"/>
                <a:gd name="T79" fmla="*/ 67 h 100"/>
                <a:gd name="T80" fmla="*/ 271 w 308"/>
                <a:gd name="T81" fmla="*/ 68 h 100"/>
                <a:gd name="T82" fmla="*/ 270 w 308"/>
                <a:gd name="T83" fmla="*/ 69 h 100"/>
                <a:gd name="T84" fmla="*/ 270 w 308"/>
                <a:gd name="T85" fmla="*/ 69 h 100"/>
                <a:gd name="T86" fmla="*/ 269 w 308"/>
                <a:gd name="T87" fmla="*/ 69 h 100"/>
                <a:gd name="T88" fmla="*/ 278 w 308"/>
                <a:gd name="T89" fmla="*/ 74 h 100"/>
                <a:gd name="T90" fmla="*/ 296 w 308"/>
                <a:gd name="T91" fmla="*/ 88 h 100"/>
                <a:gd name="T92" fmla="*/ 298 w 308"/>
                <a:gd name="T93" fmla="*/ 88 h 100"/>
                <a:gd name="T94" fmla="*/ 299 w 308"/>
                <a:gd name="T95" fmla="*/ 88 h 100"/>
                <a:gd name="T96" fmla="*/ 303 w 308"/>
                <a:gd name="T97" fmla="*/ 94 h 100"/>
                <a:gd name="T98" fmla="*/ 300 w 308"/>
                <a:gd name="T99" fmla="*/ 94 h 100"/>
                <a:gd name="T100" fmla="*/ 299 w 308"/>
                <a:gd name="T101" fmla="*/ 96 h 100"/>
                <a:gd name="T102" fmla="*/ 308 w 308"/>
                <a:gd name="T103" fmla="*/ 100 h 100"/>
                <a:gd name="T104" fmla="*/ 308 w 308"/>
                <a:gd name="T105" fmla="*/ 0 h 1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8" h="100">
                  <a:moveTo>
                    <a:pt x="125" y="30"/>
                  </a:moveTo>
                  <a:cubicBezTo>
                    <a:pt x="125" y="30"/>
                    <a:pt x="125" y="30"/>
                    <a:pt x="125" y="30"/>
                  </a:cubicBezTo>
                  <a:cubicBezTo>
                    <a:pt x="125" y="30"/>
                    <a:pt x="125" y="30"/>
                    <a:pt x="125" y="30"/>
                  </a:cubicBezTo>
                  <a:moveTo>
                    <a:pt x="308" y="0"/>
                  </a:moveTo>
                  <a:cubicBezTo>
                    <a:pt x="0" y="0"/>
                    <a:pt x="0" y="0"/>
                    <a:pt x="0" y="0"/>
                  </a:cubicBezTo>
                  <a:cubicBezTo>
                    <a:pt x="2" y="2"/>
                    <a:pt x="11" y="3"/>
                    <a:pt x="13" y="3"/>
                  </a:cubicBezTo>
                  <a:cubicBezTo>
                    <a:pt x="17" y="4"/>
                    <a:pt x="21" y="5"/>
                    <a:pt x="25" y="5"/>
                  </a:cubicBezTo>
                  <a:cubicBezTo>
                    <a:pt x="26" y="5"/>
                    <a:pt x="28" y="5"/>
                    <a:pt x="29" y="5"/>
                  </a:cubicBezTo>
                  <a:cubicBezTo>
                    <a:pt x="31" y="5"/>
                    <a:pt x="34" y="5"/>
                    <a:pt x="36" y="5"/>
                  </a:cubicBezTo>
                  <a:cubicBezTo>
                    <a:pt x="38" y="5"/>
                    <a:pt x="41" y="5"/>
                    <a:pt x="43" y="5"/>
                  </a:cubicBezTo>
                  <a:cubicBezTo>
                    <a:pt x="44" y="5"/>
                    <a:pt x="45" y="5"/>
                    <a:pt x="45" y="5"/>
                  </a:cubicBezTo>
                  <a:cubicBezTo>
                    <a:pt x="46" y="5"/>
                    <a:pt x="46" y="5"/>
                    <a:pt x="47" y="5"/>
                  </a:cubicBezTo>
                  <a:cubicBezTo>
                    <a:pt x="45" y="8"/>
                    <a:pt x="49" y="9"/>
                    <a:pt x="43" y="9"/>
                  </a:cubicBezTo>
                  <a:cubicBezTo>
                    <a:pt x="42" y="9"/>
                    <a:pt x="40" y="10"/>
                    <a:pt x="38" y="10"/>
                  </a:cubicBezTo>
                  <a:cubicBezTo>
                    <a:pt x="37" y="10"/>
                    <a:pt x="36" y="10"/>
                    <a:pt x="35" y="9"/>
                  </a:cubicBezTo>
                  <a:cubicBezTo>
                    <a:pt x="34" y="9"/>
                    <a:pt x="34" y="9"/>
                    <a:pt x="33" y="9"/>
                  </a:cubicBezTo>
                  <a:cubicBezTo>
                    <a:pt x="28" y="9"/>
                    <a:pt x="27" y="12"/>
                    <a:pt x="22" y="14"/>
                  </a:cubicBezTo>
                  <a:cubicBezTo>
                    <a:pt x="19" y="15"/>
                    <a:pt x="17" y="15"/>
                    <a:pt x="15" y="16"/>
                  </a:cubicBezTo>
                  <a:cubicBezTo>
                    <a:pt x="13" y="16"/>
                    <a:pt x="12" y="16"/>
                    <a:pt x="11" y="17"/>
                  </a:cubicBezTo>
                  <a:cubicBezTo>
                    <a:pt x="8" y="19"/>
                    <a:pt x="10" y="19"/>
                    <a:pt x="11" y="20"/>
                  </a:cubicBezTo>
                  <a:cubicBezTo>
                    <a:pt x="13" y="22"/>
                    <a:pt x="15" y="22"/>
                    <a:pt x="18" y="23"/>
                  </a:cubicBezTo>
                  <a:cubicBezTo>
                    <a:pt x="22" y="24"/>
                    <a:pt x="25" y="28"/>
                    <a:pt x="29" y="30"/>
                  </a:cubicBezTo>
                  <a:cubicBezTo>
                    <a:pt x="33" y="31"/>
                    <a:pt x="35" y="33"/>
                    <a:pt x="39" y="33"/>
                  </a:cubicBezTo>
                  <a:cubicBezTo>
                    <a:pt x="42" y="33"/>
                    <a:pt x="44" y="34"/>
                    <a:pt x="46" y="34"/>
                  </a:cubicBezTo>
                  <a:cubicBezTo>
                    <a:pt x="59" y="36"/>
                    <a:pt x="70" y="39"/>
                    <a:pt x="82" y="41"/>
                  </a:cubicBezTo>
                  <a:cubicBezTo>
                    <a:pt x="82" y="36"/>
                    <a:pt x="71" y="37"/>
                    <a:pt x="69" y="34"/>
                  </a:cubicBezTo>
                  <a:cubicBezTo>
                    <a:pt x="69" y="33"/>
                    <a:pt x="70" y="32"/>
                    <a:pt x="69" y="32"/>
                  </a:cubicBezTo>
                  <a:cubicBezTo>
                    <a:pt x="69" y="31"/>
                    <a:pt x="69" y="30"/>
                    <a:pt x="68" y="29"/>
                  </a:cubicBezTo>
                  <a:cubicBezTo>
                    <a:pt x="67" y="27"/>
                    <a:pt x="67" y="25"/>
                    <a:pt x="70" y="24"/>
                  </a:cubicBezTo>
                  <a:cubicBezTo>
                    <a:pt x="70" y="24"/>
                    <a:pt x="70" y="24"/>
                    <a:pt x="71" y="24"/>
                  </a:cubicBezTo>
                  <a:cubicBezTo>
                    <a:pt x="73" y="24"/>
                    <a:pt x="75" y="27"/>
                    <a:pt x="77" y="27"/>
                  </a:cubicBezTo>
                  <a:cubicBezTo>
                    <a:pt x="77" y="27"/>
                    <a:pt x="76" y="28"/>
                    <a:pt x="76" y="28"/>
                  </a:cubicBezTo>
                  <a:cubicBezTo>
                    <a:pt x="77" y="29"/>
                    <a:pt x="81" y="32"/>
                    <a:pt x="84" y="32"/>
                  </a:cubicBezTo>
                  <a:cubicBezTo>
                    <a:pt x="84" y="32"/>
                    <a:pt x="84" y="32"/>
                    <a:pt x="84" y="32"/>
                  </a:cubicBezTo>
                  <a:cubicBezTo>
                    <a:pt x="85" y="32"/>
                    <a:pt x="85" y="30"/>
                    <a:pt x="85" y="29"/>
                  </a:cubicBezTo>
                  <a:cubicBezTo>
                    <a:pt x="86" y="28"/>
                    <a:pt x="87" y="25"/>
                    <a:pt x="89" y="24"/>
                  </a:cubicBezTo>
                  <a:cubicBezTo>
                    <a:pt x="90" y="24"/>
                    <a:pt x="92" y="23"/>
                    <a:pt x="94" y="23"/>
                  </a:cubicBezTo>
                  <a:cubicBezTo>
                    <a:pt x="97" y="23"/>
                    <a:pt x="102" y="24"/>
                    <a:pt x="103" y="26"/>
                  </a:cubicBezTo>
                  <a:cubicBezTo>
                    <a:pt x="102" y="26"/>
                    <a:pt x="100" y="26"/>
                    <a:pt x="99" y="27"/>
                  </a:cubicBezTo>
                  <a:cubicBezTo>
                    <a:pt x="99" y="27"/>
                    <a:pt x="100" y="28"/>
                    <a:pt x="100" y="28"/>
                  </a:cubicBezTo>
                  <a:cubicBezTo>
                    <a:pt x="95" y="30"/>
                    <a:pt x="103" y="34"/>
                    <a:pt x="106" y="35"/>
                  </a:cubicBezTo>
                  <a:cubicBezTo>
                    <a:pt x="106" y="35"/>
                    <a:pt x="107" y="35"/>
                    <a:pt x="108" y="35"/>
                  </a:cubicBezTo>
                  <a:cubicBezTo>
                    <a:pt x="109" y="35"/>
                    <a:pt x="110" y="35"/>
                    <a:pt x="113" y="34"/>
                  </a:cubicBezTo>
                  <a:cubicBezTo>
                    <a:pt x="116" y="33"/>
                    <a:pt x="120" y="33"/>
                    <a:pt x="123" y="31"/>
                  </a:cubicBezTo>
                  <a:cubicBezTo>
                    <a:pt x="125" y="31"/>
                    <a:pt x="125" y="30"/>
                    <a:pt x="125" y="30"/>
                  </a:cubicBezTo>
                  <a:cubicBezTo>
                    <a:pt x="125" y="30"/>
                    <a:pt x="125" y="30"/>
                    <a:pt x="125" y="30"/>
                  </a:cubicBezTo>
                  <a:cubicBezTo>
                    <a:pt x="125" y="30"/>
                    <a:pt x="125" y="30"/>
                    <a:pt x="125" y="30"/>
                  </a:cubicBezTo>
                  <a:cubicBezTo>
                    <a:pt x="125" y="29"/>
                    <a:pt x="125" y="29"/>
                    <a:pt x="125" y="29"/>
                  </a:cubicBezTo>
                  <a:cubicBezTo>
                    <a:pt x="125" y="29"/>
                    <a:pt x="125" y="29"/>
                    <a:pt x="125" y="29"/>
                  </a:cubicBezTo>
                  <a:cubicBezTo>
                    <a:pt x="125" y="29"/>
                    <a:pt x="125" y="29"/>
                    <a:pt x="125" y="29"/>
                  </a:cubicBezTo>
                  <a:cubicBezTo>
                    <a:pt x="125" y="29"/>
                    <a:pt x="126" y="29"/>
                    <a:pt x="126" y="29"/>
                  </a:cubicBezTo>
                  <a:cubicBezTo>
                    <a:pt x="126" y="28"/>
                    <a:pt x="126" y="28"/>
                    <a:pt x="126" y="28"/>
                  </a:cubicBezTo>
                  <a:cubicBezTo>
                    <a:pt x="126" y="28"/>
                    <a:pt x="126" y="28"/>
                    <a:pt x="126" y="28"/>
                  </a:cubicBezTo>
                  <a:cubicBezTo>
                    <a:pt x="126" y="27"/>
                    <a:pt x="127" y="27"/>
                    <a:pt x="128" y="26"/>
                  </a:cubicBezTo>
                  <a:cubicBezTo>
                    <a:pt x="129" y="25"/>
                    <a:pt x="131" y="24"/>
                    <a:pt x="133" y="22"/>
                  </a:cubicBezTo>
                  <a:cubicBezTo>
                    <a:pt x="133" y="23"/>
                    <a:pt x="133" y="23"/>
                    <a:pt x="134" y="24"/>
                  </a:cubicBezTo>
                  <a:cubicBezTo>
                    <a:pt x="135" y="25"/>
                    <a:pt x="137" y="30"/>
                    <a:pt x="140" y="30"/>
                  </a:cubicBezTo>
                  <a:cubicBezTo>
                    <a:pt x="140" y="30"/>
                    <a:pt x="140" y="31"/>
                    <a:pt x="140" y="31"/>
                  </a:cubicBezTo>
                  <a:cubicBezTo>
                    <a:pt x="141" y="31"/>
                    <a:pt x="142" y="30"/>
                    <a:pt x="143" y="30"/>
                  </a:cubicBezTo>
                  <a:cubicBezTo>
                    <a:pt x="146" y="29"/>
                    <a:pt x="145" y="27"/>
                    <a:pt x="147" y="27"/>
                  </a:cubicBezTo>
                  <a:cubicBezTo>
                    <a:pt x="147" y="27"/>
                    <a:pt x="147" y="27"/>
                    <a:pt x="147" y="27"/>
                  </a:cubicBezTo>
                  <a:cubicBezTo>
                    <a:pt x="164" y="28"/>
                    <a:pt x="181" y="28"/>
                    <a:pt x="197" y="29"/>
                  </a:cubicBezTo>
                  <a:cubicBezTo>
                    <a:pt x="198" y="29"/>
                    <a:pt x="198" y="29"/>
                    <a:pt x="199" y="29"/>
                  </a:cubicBezTo>
                  <a:cubicBezTo>
                    <a:pt x="200" y="29"/>
                    <a:pt x="201" y="29"/>
                    <a:pt x="202" y="29"/>
                  </a:cubicBezTo>
                  <a:cubicBezTo>
                    <a:pt x="203" y="29"/>
                    <a:pt x="204" y="29"/>
                    <a:pt x="205" y="29"/>
                  </a:cubicBezTo>
                  <a:cubicBezTo>
                    <a:pt x="208" y="29"/>
                    <a:pt x="210" y="29"/>
                    <a:pt x="212" y="30"/>
                  </a:cubicBezTo>
                  <a:cubicBezTo>
                    <a:pt x="213" y="30"/>
                    <a:pt x="212" y="31"/>
                    <a:pt x="214" y="32"/>
                  </a:cubicBezTo>
                  <a:cubicBezTo>
                    <a:pt x="216" y="34"/>
                    <a:pt x="220" y="34"/>
                    <a:pt x="223" y="34"/>
                  </a:cubicBezTo>
                  <a:cubicBezTo>
                    <a:pt x="236" y="37"/>
                    <a:pt x="248" y="42"/>
                    <a:pt x="261" y="47"/>
                  </a:cubicBezTo>
                  <a:cubicBezTo>
                    <a:pt x="262" y="48"/>
                    <a:pt x="272" y="51"/>
                    <a:pt x="268" y="51"/>
                  </a:cubicBezTo>
                  <a:cubicBezTo>
                    <a:pt x="268" y="51"/>
                    <a:pt x="267" y="51"/>
                    <a:pt x="267" y="51"/>
                  </a:cubicBezTo>
                  <a:cubicBezTo>
                    <a:pt x="268" y="52"/>
                    <a:pt x="271" y="53"/>
                    <a:pt x="271" y="54"/>
                  </a:cubicBezTo>
                  <a:cubicBezTo>
                    <a:pt x="271" y="55"/>
                    <a:pt x="269" y="55"/>
                    <a:pt x="269" y="56"/>
                  </a:cubicBezTo>
                  <a:cubicBezTo>
                    <a:pt x="270" y="59"/>
                    <a:pt x="275" y="58"/>
                    <a:pt x="274" y="61"/>
                  </a:cubicBezTo>
                  <a:cubicBezTo>
                    <a:pt x="274" y="63"/>
                    <a:pt x="273" y="64"/>
                    <a:pt x="272" y="64"/>
                  </a:cubicBezTo>
                  <a:cubicBezTo>
                    <a:pt x="271" y="64"/>
                    <a:pt x="271" y="64"/>
                    <a:pt x="271" y="64"/>
                  </a:cubicBezTo>
                  <a:cubicBezTo>
                    <a:pt x="271" y="64"/>
                    <a:pt x="271" y="64"/>
                    <a:pt x="271" y="64"/>
                  </a:cubicBezTo>
                  <a:cubicBezTo>
                    <a:pt x="269" y="64"/>
                    <a:pt x="265" y="67"/>
                    <a:pt x="264" y="68"/>
                  </a:cubicBezTo>
                  <a:cubicBezTo>
                    <a:pt x="267" y="68"/>
                    <a:pt x="270" y="66"/>
                    <a:pt x="273" y="65"/>
                  </a:cubicBezTo>
                  <a:cubicBezTo>
                    <a:pt x="272" y="66"/>
                    <a:pt x="271" y="67"/>
                    <a:pt x="270" y="67"/>
                  </a:cubicBezTo>
                  <a:cubicBezTo>
                    <a:pt x="270" y="68"/>
                    <a:pt x="271" y="68"/>
                    <a:pt x="271" y="68"/>
                  </a:cubicBezTo>
                  <a:cubicBezTo>
                    <a:pt x="271" y="68"/>
                    <a:pt x="271" y="68"/>
                    <a:pt x="271" y="68"/>
                  </a:cubicBezTo>
                  <a:cubicBezTo>
                    <a:pt x="271" y="68"/>
                    <a:pt x="271" y="68"/>
                    <a:pt x="271" y="69"/>
                  </a:cubicBezTo>
                  <a:cubicBezTo>
                    <a:pt x="271" y="69"/>
                    <a:pt x="270" y="69"/>
                    <a:pt x="270" y="69"/>
                  </a:cubicBezTo>
                  <a:cubicBezTo>
                    <a:pt x="270" y="69"/>
                    <a:pt x="270" y="69"/>
                    <a:pt x="270" y="69"/>
                  </a:cubicBezTo>
                  <a:cubicBezTo>
                    <a:pt x="270" y="69"/>
                    <a:pt x="270" y="69"/>
                    <a:pt x="270" y="69"/>
                  </a:cubicBezTo>
                  <a:cubicBezTo>
                    <a:pt x="270" y="69"/>
                    <a:pt x="269" y="69"/>
                    <a:pt x="269" y="69"/>
                  </a:cubicBezTo>
                  <a:cubicBezTo>
                    <a:pt x="269" y="69"/>
                    <a:pt x="269" y="69"/>
                    <a:pt x="269" y="69"/>
                  </a:cubicBezTo>
                  <a:cubicBezTo>
                    <a:pt x="269" y="69"/>
                    <a:pt x="269" y="70"/>
                    <a:pt x="270" y="71"/>
                  </a:cubicBezTo>
                  <a:cubicBezTo>
                    <a:pt x="271" y="73"/>
                    <a:pt x="275" y="73"/>
                    <a:pt x="278" y="74"/>
                  </a:cubicBezTo>
                  <a:cubicBezTo>
                    <a:pt x="283" y="77"/>
                    <a:pt x="286" y="83"/>
                    <a:pt x="292" y="86"/>
                  </a:cubicBezTo>
                  <a:cubicBezTo>
                    <a:pt x="293" y="86"/>
                    <a:pt x="294" y="88"/>
                    <a:pt x="296" y="88"/>
                  </a:cubicBezTo>
                  <a:cubicBezTo>
                    <a:pt x="296" y="88"/>
                    <a:pt x="296" y="88"/>
                    <a:pt x="297" y="88"/>
                  </a:cubicBezTo>
                  <a:cubicBezTo>
                    <a:pt x="297" y="88"/>
                    <a:pt x="297" y="88"/>
                    <a:pt x="298" y="88"/>
                  </a:cubicBezTo>
                  <a:cubicBezTo>
                    <a:pt x="298" y="88"/>
                    <a:pt x="298" y="88"/>
                    <a:pt x="299" y="88"/>
                  </a:cubicBezTo>
                  <a:cubicBezTo>
                    <a:pt x="299" y="88"/>
                    <a:pt x="299" y="88"/>
                    <a:pt x="299" y="88"/>
                  </a:cubicBezTo>
                  <a:cubicBezTo>
                    <a:pt x="302" y="88"/>
                    <a:pt x="302" y="91"/>
                    <a:pt x="305" y="91"/>
                  </a:cubicBezTo>
                  <a:cubicBezTo>
                    <a:pt x="307" y="92"/>
                    <a:pt x="304" y="94"/>
                    <a:pt x="303" y="94"/>
                  </a:cubicBezTo>
                  <a:cubicBezTo>
                    <a:pt x="303" y="95"/>
                    <a:pt x="302" y="95"/>
                    <a:pt x="302" y="95"/>
                  </a:cubicBezTo>
                  <a:cubicBezTo>
                    <a:pt x="301" y="95"/>
                    <a:pt x="301" y="94"/>
                    <a:pt x="300" y="94"/>
                  </a:cubicBezTo>
                  <a:cubicBezTo>
                    <a:pt x="300" y="94"/>
                    <a:pt x="299" y="94"/>
                    <a:pt x="299" y="94"/>
                  </a:cubicBezTo>
                  <a:cubicBezTo>
                    <a:pt x="298" y="94"/>
                    <a:pt x="297" y="94"/>
                    <a:pt x="299" y="96"/>
                  </a:cubicBezTo>
                  <a:cubicBezTo>
                    <a:pt x="301" y="97"/>
                    <a:pt x="303" y="97"/>
                    <a:pt x="305" y="98"/>
                  </a:cubicBezTo>
                  <a:cubicBezTo>
                    <a:pt x="306" y="98"/>
                    <a:pt x="307" y="99"/>
                    <a:pt x="308" y="100"/>
                  </a:cubicBezTo>
                  <a:cubicBezTo>
                    <a:pt x="308" y="100"/>
                    <a:pt x="308" y="100"/>
                    <a:pt x="308" y="100"/>
                  </a:cubicBezTo>
                  <a:cubicBezTo>
                    <a:pt x="308" y="0"/>
                    <a:pt x="308" y="0"/>
                    <a:pt x="3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72"/>
            <p:cNvSpPr/>
            <p:nvPr/>
          </p:nvSpPr>
          <p:spPr bwMode="auto">
            <a:xfrm>
              <a:off x="6810366" y="599309"/>
              <a:ext cx="139700" cy="38100"/>
            </a:xfrm>
            <a:custGeom>
              <a:gdLst>
                <a:gd name="T0" fmla="*/ 28 w 37"/>
                <a:gd name="T1" fmla="*/ 0 h 10"/>
                <a:gd name="T2" fmla="*/ 0 w 37"/>
                <a:gd name="T3" fmla="*/ 0 h 10"/>
                <a:gd name="T4" fmla="*/ 0 w 37"/>
                <a:gd name="T5" fmla="*/ 0 h 10"/>
                <a:gd name="T6" fmla="*/ 2 w 37"/>
                <a:gd name="T7" fmla="*/ 1 h 10"/>
                <a:gd name="T8" fmla="*/ 3 w 37"/>
                <a:gd name="T9" fmla="*/ 1 h 10"/>
                <a:gd name="T10" fmla="*/ 3 w 37"/>
                <a:gd name="T11" fmla="*/ 1 h 10"/>
                <a:gd name="T12" fmla="*/ 3 w 37"/>
                <a:gd name="T13" fmla="*/ 6 h 10"/>
                <a:gd name="T14" fmla="*/ 4 w 37"/>
                <a:gd name="T15" fmla="*/ 6 h 10"/>
                <a:gd name="T16" fmla="*/ 5 w 37"/>
                <a:gd name="T17" fmla="*/ 8 h 10"/>
                <a:gd name="T18" fmla="*/ 8 w 37"/>
                <a:gd name="T19" fmla="*/ 9 h 10"/>
                <a:gd name="T20" fmla="*/ 8 w 37"/>
                <a:gd name="T21" fmla="*/ 9 h 10"/>
                <a:gd name="T22" fmla="*/ 8 w 37"/>
                <a:gd name="T23" fmla="*/ 9 h 10"/>
                <a:gd name="T24" fmla="*/ 9 w 37"/>
                <a:gd name="T25" fmla="*/ 9 h 10"/>
                <a:gd name="T26" fmla="*/ 19 w 37"/>
                <a:gd name="T27" fmla="*/ 10 h 10"/>
                <a:gd name="T28" fmla="*/ 21 w 37"/>
                <a:gd name="T29" fmla="*/ 10 h 10"/>
                <a:gd name="T30" fmla="*/ 37 w 37"/>
                <a:gd name="T31" fmla="*/ 4 h 10"/>
                <a:gd name="T32" fmla="*/ 28 w 37"/>
                <a:gd name="T33"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10">
                  <a:moveTo>
                    <a:pt x="28" y="0"/>
                  </a:moveTo>
                  <a:cubicBezTo>
                    <a:pt x="0" y="0"/>
                    <a:pt x="0" y="0"/>
                    <a:pt x="0" y="0"/>
                  </a:cubicBezTo>
                  <a:cubicBezTo>
                    <a:pt x="0" y="0"/>
                    <a:pt x="0" y="0"/>
                    <a:pt x="0" y="0"/>
                  </a:cubicBezTo>
                  <a:cubicBezTo>
                    <a:pt x="1" y="1"/>
                    <a:pt x="1" y="1"/>
                    <a:pt x="2" y="1"/>
                  </a:cubicBezTo>
                  <a:cubicBezTo>
                    <a:pt x="3" y="1"/>
                    <a:pt x="3" y="1"/>
                    <a:pt x="3" y="1"/>
                  </a:cubicBezTo>
                  <a:cubicBezTo>
                    <a:pt x="3" y="1"/>
                    <a:pt x="3" y="1"/>
                    <a:pt x="3" y="1"/>
                  </a:cubicBezTo>
                  <a:cubicBezTo>
                    <a:pt x="6" y="1"/>
                    <a:pt x="5" y="5"/>
                    <a:pt x="3" y="6"/>
                  </a:cubicBezTo>
                  <a:cubicBezTo>
                    <a:pt x="3" y="6"/>
                    <a:pt x="4" y="6"/>
                    <a:pt x="4" y="6"/>
                  </a:cubicBezTo>
                  <a:cubicBezTo>
                    <a:pt x="7" y="6"/>
                    <a:pt x="4" y="8"/>
                    <a:pt x="5" y="8"/>
                  </a:cubicBezTo>
                  <a:cubicBezTo>
                    <a:pt x="5" y="9"/>
                    <a:pt x="6" y="9"/>
                    <a:pt x="8" y="9"/>
                  </a:cubicBezTo>
                  <a:cubicBezTo>
                    <a:pt x="8" y="9"/>
                    <a:pt x="8" y="9"/>
                    <a:pt x="8" y="9"/>
                  </a:cubicBezTo>
                  <a:cubicBezTo>
                    <a:pt x="8" y="9"/>
                    <a:pt x="8" y="9"/>
                    <a:pt x="8" y="9"/>
                  </a:cubicBezTo>
                  <a:cubicBezTo>
                    <a:pt x="8" y="9"/>
                    <a:pt x="9" y="9"/>
                    <a:pt x="9" y="9"/>
                  </a:cubicBezTo>
                  <a:cubicBezTo>
                    <a:pt x="12" y="9"/>
                    <a:pt x="15" y="10"/>
                    <a:pt x="19" y="10"/>
                  </a:cubicBezTo>
                  <a:cubicBezTo>
                    <a:pt x="19" y="10"/>
                    <a:pt x="20" y="10"/>
                    <a:pt x="21" y="10"/>
                  </a:cubicBezTo>
                  <a:cubicBezTo>
                    <a:pt x="26" y="10"/>
                    <a:pt x="34" y="8"/>
                    <a:pt x="37" y="4"/>
                  </a:cubicBezTo>
                  <a:cubicBezTo>
                    <a:pt x="34" y="3"/>
                    <a:pt x="31" y="1"/>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7"/>
            <p:cNvSpPr>
              <a:spLocks noEditPoints="1"/>
            </p:cNvSpPr>
            <p:nvPr/>
          </p:nvSpPr>
          <p:spPr bwMode="auto">
            <a:xfrm>
              <a:off x="4427529" y="1831209"/>
              <a:ext cx="3697288" cy="2200275"/>
            </a:xfrm>
            <a:custGeom>
              <a:gdLst>
                <a:gd name="T0" fmla="*/ 73 w 985"/>
                <a:gd name="T1" fmla="*/ 586 h 586"/>
                <a:gd name="T2" fmla="*/ 73 w 985"/>
                <a:gd name="T3" fmla="*/ 586 h 586"/>
                <a:gd name="T4" fmla="*/ 73 w 985"/>
                <a:gd name="T5" fmla="*/ 586 h 586"/>
                <a:gd name="T6" fmla="*/ 985 w 985"/>
                <a:gd name="T7" fmla="*/ 212 h 586"/>
                <a:gd name="T8" fmla="*/ 985 w 985"/>
                <a:gd name="T9" fmla="*/ 212 h 586"/>
                <a:gd name="T10" fmla="*/ 985 w 985"/>
                <a:gd name="T11" fmla="*/ 212 h 586"/>
                <a:gd name="T12" fmla="*/ 831 w 985"/>
                <a:gd name="T13" fmla="*/ 98 h 586"/>
                <a:gd name="T14" fmla="*/ 831 w 985"/>
                <a:gd name="T15" fmla="*/ 98 h 586"/>
                <a:gd name="T16" fmla="*/ 831 w 985"/>
                <a:gd name="T17" fmla="*/ 98 h 586"/>
                <a:gd name="T18" fmla="*/ 848 w 985"/>
                <a:gd name="T19" fmla="*/ 91 h 586"/>
                <a:gd name="T20" fmla="*/ 848 w 985"/>
                <a:gd name="T21" fmla="*/ 91 h 586"/>
                <a:gd name="T22" fmla="*/ 848 w 985"/>
                <a:gd name="T23" fmla="*/ 91 h 586"/>
                <a:gd name="T24" fmla="*/ 846 w 985"/>
                <a:gd name="T25" fmla="*/ 89 h 586"/>
                <a:gd name="T26" fmla="*/ 846 w 985"/>
                <a:gd name="T27" fmla="*/ 89 h 586"/>
                <a:gd name="T28" fmla="*/ 846 w 985"/>
                <a:gd name="T29" fmla="*/ 89 h 586"/>
                <a:gd name="T30" fmla="*/ 874 w 985"/>
                <a:gd name="T31" fmla="*/ 4 h 586"/>
                <a:gd name="T32" fmla="*/ 874 w 985"/>
                <a:gd name="T33" fmla="*/ 4 h 586"/>
                <a:gd name="T34" fmla="*/ 874 w 985"/>
                <a:gd name="T35" fmla="*/ 4 h 586"/>
                <a:gd name="T36" fmla="*/ 1 w 985"/>
                <a:gd name="T37" fmla="*/ 0 h 586"/>
                <a:gd name="T38" fmla="*/ 0 w 985"/>
                <a:gd name="T39" fmla="*/ 0 h 586"/>
                <a:gd name="T40" fmla="*/ 1 w 985"/>
                <a:gd name="T41" fmla="*/ 0 h 5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4" h="586">
                  <a:moveTo>
                    <a:pt x="73" y="586"/>
                  </a:moveTo>
                  <a:cubicBezTo>
                    <a:pt x="73" y="586"/>
                    <a:pt x="73" y="586"/>
                    <a:pt x="73" y="586"/>
                  </a:cubicBezTo>
                  <a:cubicBezTo>
                    <a:pt x="73" y="586"/>
                    <a:pt x="73" y="586"/>
                    <a:pt x="73" y="586"/>
                  </a:cubicBezTo>
                  <a:moveTo>
                    <a:pt x="985" y="212"/>
                  </a:moveTo>
                  <a:cubicBezTo>
                    <a:pt x="985" y="212"/>
                    <a:pt x="985" y="212"/>
                    <a:pt x="985" y="212"/>
                  </a:cubicBezTo>
                  <a:cubicBezTo>
                    <a:pt x="985" y="212"/>
                    <a:pt x="985" y="212"/>
                    <a:pt x="985" y="212"/>
                  </a:cubicBezTo>
                  <a:moveTo>
                    <a:pt x="831" y="98"/>
                  </a:moveTo>
                  <a:cubicBezTo>
                    <a:pt x="831" y="98"/>
                    <a:pt x="831" y="98"/>
                    <a:pt x="831" y="98"/>
                  </a:cubicBezTo>
                  <a:cubicBezTo>
                    <a:pt x="831" y="98"/>
                    <a:pt x="831" y="98"/>
                    <a:pt x="831" y="98"/>
                  </a:cubicBezTo>
                  <a:moveTo>
                    <a:pt x="848" y="91"/>
                  </a:moveTo>
                  <a:cubicBezTo>
                    <a:pt x="848" y="91"/>
                    <a:pt x="848" y="91"/>
                    <a:pt x="848" y="91"/>
                  </a:cubicBezTo>
                  <a:cubicBezTo>
                    <a:pt x="848" y="91"/>
                    <a:pt x="848" y="91"/>
                    <a:pt x="848" y="91"/>
                  </a:cubicBezTo>
                  <a:moveTo>
                    <a:pt x="846" y="89"/>
                  </a:moveTo>
                  <a:cubicBezTo>
                    <a:pt x="846" y="89"/>
                    <a:pt x="846" y="89"/>
                    <a:pt x="846" y="89"/>
                  </a:cubicBezTo>
                  <a:cubicBezTo>
                    <a:pt x="846" y="89"/>
                    <a:pt x="846" y="89"/>
                    <a:pt x="846" y="89"/>
                  </a:cubicBezTo>
                  <a:moveTo>
                    <a:pt x="874" y="4"/>
                  </a:moveTo>
                  <a:cubicBezTo>
                    <a:pt x="874" y="4"/>
                    <a:pt x="874" y="4"/>
                    <a:pt x="874" y="4"/>
                  </a:cubicBezTo>
                  <a:cubicBezTo>
                    <a:pt x="874" y="4"/>
                    <a:pt x="874" y="4"/>
                    <a:pt x="874" y="4"/>
                  </a:cubicBezTo>
                  <a:moveTo>
                    <a:pt x="1" y="0"/>
                  </a:move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8"/>
            <p:cNvSpPr/>
            <p:nvPr/>
          </p:nvSpPr>
          <p:spPr bwMode="auto">
            <a:xfrm>
              <a:off x="9145579" y="8043097"/>
              <a:ext cx="890588" cy="671513"/>
            </a:xfrm>
            <a:custGeom>
              <a:gdLst>
                <a:gd name="T0" fmla="*/ 132 w 237"/>
                <a:gd name="T1" fmla="*/ 5 h 179"/>
                <a:gd name="T2" fmla="*/ 106 w 237"/>
                <a:gd name="T3" fmla="*/ 26 h 179"/>
                <a:gd name="T4" fmla="*/ 87 w 237"/>
                <a:gd name="T5" fmla="*/ 26 h 179"/>
                <a:gd name="T6" fmla="*/ 78 w 237"/>
                <a:gd name="T7" fmla="*/ 40 h 179"/>
                <a:gd name="T8" fmla="*/ 76 w 237"/>
                <a:gd name="T9" fmla="*/ 35 h 179"/>
                <a:gd name="T10" fmla="*/ 79 w 237"/>
                <a:gd name="T11" fmla="*/ 35 h 179"/>
                <a:gd name="T12" fmla="*/ 78 w 237"/>
                <a:gd name="T13" fmla="*/ 34 h 179"/>
                <a:gd name="T14" fmla="*/ 67 w 237"/>
                <a:gd name="T15" fmla="*/ 31 h 179"/>
                <a:gd name="T16" fmla="*/ 58 w 237"/>
                <a:gd name="T17" fmla="*/ 41 h 179"/>
                <a:gd name="T18" fmla="*/ 52 w 237"/>
                <a:gd name="T19" fmla="*/ 52 h 179"/>
                <a:gd name="T20" fmla="*/ 47 w 237"/>
                <a:gd name="T21" fmla="*/ 71 h 179"/>
                <a:gd name="T22" fmla="*/ 41 w 237"/>
                <a:gd name="T23" fmla="*/ 72 h 179"/>
                <a:gd name="T24" fmla="*/ 21 w 237"/>
                <a:gd name="T25" fmla="*/ 90 h 179"/>
                <a:gd name="T26" fmla="*/ 24 w 237"/>
                <a:gd name="T27" fmla="*/ 106 h 179"/>
                <a:gd name="T28" fmla="*/ 11 w 237"/>
                <a:gd name="T29" fmla="*/ 91 h 179"/>
                <a:gd name="T30" fmla="*/ 17 w 237"/>
                <a:gd name="T31" fmla="*/ 104 h 179"/>
                <a:gd name="T32" fmla="*/ 10 w 237"/>
                <a:gd name="T33" fmla="*/ 113 h 179"/>
                <a:gd name="T34" fmla="*/ 3 w 237"/>
                <a:gd name="T35" fmla="*/ 118 h 179"/>
                <a:gd name="T36" fmla="*/ 1 w 237"/>
                <a:gd name="T37" fmla="*/ 125 h 179"/>
                <a:gd name="T38" fmla="*/ 10 w 237"/>
                <a:gd name="T39" fmla="*/ 137 h 179"/>
                <a:gd name="T40" fmla="*/ 12 w 237"/>
                <a:gd name="T41" fmla="*/ 156 h 179"/>
                <a:gd name="T42" fmla="*/ 10 w 237"/>
                <a:gd name="T43" fmla="*/ 179 h 179"/>
                <a:gd name="T44" fmla="*/ 228 w 237"/>
                <a:gd name="T45" fmla="*/ 168 h 179"/>
                <a:gd name="T46" fmla="*/ 232 w 237"/>
                <a:gd name="T47" fmla="*/ 158 h 179"/>
                <a:gd name="T48" fmla="*/ 236 w 237"/>
                <a:gd name="T49" fmla="*/ 152 h 179"/>
                <a:gd name="T50" fmla="*/ 230 w 237"/>
                <a:gd name="T51" fmla="*/ 147 h 179"/>
                <a:gd name="T52" fmla="*/ 211 w 237"/>
                <a:gd name="T53" fmla="*/ 149 h 179"/>
                <a:gd name="T54" fmla="*/ 202 w 237"/>
                <a:gd name="T55" fmla="*/ 150 h 179"/>
                <a:gd name="T56" fmla="*/ 183 w 237"/>
                <a:gd name="T57" fmla="*/ 140 h 179"/>
                <a:gd name="T58" fmla="*/ 179 w 237"/>
                <a:gd name="T59" fmla="*/ 134 h 179"/>
                <a:gd name="T60" fmla="*/ 161 w 237"/>
                <a:gd name="T61" fmla="*/ 129 h 179"/>
                <a:gd name="T62" fmla="*/ 148 w 237"/>
                <a:gd name="T63" fmla="*/ 130 h 179"/>
                <a:gd name="T64" fmla="*/ 138 w 237"/>
                <a:gd name="T65" fmla="*/ 130 h 179"/>
                <a:gd name="T66" fmla="*/ 129 w 237"/>
                <a:gd name="T67" fmla="*/ 124 h 179"/>
                <a:gd name="T68" fmla="*/ 127 w 237"/>
                <a:gd name="T69" fmla="*/ 121 h 179"/>
                <a:gd name="T70" fmla="*/ 122 w 237"/>
                <a:gd name="T71" fmla="*/ 103 h 179"/>
                <a:gd name="T72" fmla="*/ 120 w 237"/>
                <a:gd name="T73" fmla="*/ 94 h 179"/>
                <a:gd name="T74" fmla="*/ 112 w 237"/>
                <a:gd name="T75" fmla="*/ 81 h 179"/>
                <a:gd name="T76" fmla="*/ 109 w 237"/>
                <a:gd name="T77" fmla="*/ 78 h 179"/>
                <a:gd name="T78" fmla="*/ 100 w 237"/>
                <a:gd name="T79" fmla="*/ 79 h 179"/>
                <a:gd name="T80" fmla="*/ 102 w 237"/>
                <a:gd name="T81" fmla="*/ 71 h 179"/>
                <a:gd name="T82" fmla="*/ 109 w 237"/>
                <a:gd name="T83" fmla="*/ 58 h 179"/>
                <a:gd name="T84" fmla="*/ 114 w 237"/>
                <a:gd name="T85" fmla="*/ 40 h 179"/>
                <a:gd name="T86" fmla="*/ 116 w 237"/>
                <a:gd name="T87" fmla="*/ 36 h 179"/>
                <a:gd name="T88" fmla="*/ 125 w 237"/>
                <a:gd name="T89" fmla="*/ 28 h 179"/>
                <a:gd name="T90" fmla="*/ 128 w 237"/>
                <a:gd name="T91" fmla="*/ 23 h 179"/>
                <a:gd name="T92" fmla="*/ 141 w 237"/>
                <a:gd name="T93" fmla="*/ 14 h 179"/>
                <a:gd name="T94" fmla="*/ 151 w 237"/>
                <a:gd name="T95" fmla="*/ 12 h 179"/>
                <a:gd name="T96" fmla="*/ 154 w 237"/>
                <a:gd name="T97" fmla="*/ 7 h 1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6" h="179">
                  <a:moveTo>
                    <a:pt x="143" y="0"/>
                  </a:moveTo>
                  <a:cubicBezTo>
                    <a:pt x="143" y="0"/>
                    <a:pt x="143" y="0"/>
                    <a:pt x="142" y="0"/>
                  </a:cubicBezTo>
                  <a:cubicBezTo>
                    <a:pt x="139" y="0"/>
                    <a:pt x="134" y="3"/>
                    <a:pt x="132" y="5"/>
                  </a:cubicBezTo>
                  <a:cubicBezTo>
                    <a:pt x="129" y="6"/>
                    <a:pt x="128" y="11"/>
                    <a:pt x="126" y="14"/>
                  </a:cubicBezTo>
                  <a:cubicBezTo>
                    <a:pt x="122" y="16"/>
                    <a:pt x="118" y="18"/>
                    <a:pt x="114" y="20"/>
                  </a:cubicBezTo>
                  <a:cubicBezTo>
                    <a:pt x="111" y="22"/>
                    <a:pt x="109" y="25"/>
                    <a:pt x="106" y="26"/>
                  </a:cubicBezTo>
                  <a:cubicBezTo>
                    <a:pt x="103" y="27"/>
                    <a:pt x="100" y="28"/>
                    <a:pt x="97" y="28"/>
                  </a:cubicBezTo>
                  <a:cubicBezTo>
                    <a:pt x="94" y="28"/>
                    <a:pt x="92" y="27"/>
                    <a:pt x="89" y="27"/>
                  </a:cubicBezTo>
                  <a:cubicBezTo>
                    <a:pt x="88" y="26"/>
                    <a:pt x="87" y="26"/>
                    <a:pt x="87" y="26"/>
                  </a:cubicBezTo>
                  <a:cubicBezTo>
                    <a:pt x="86" y="26"/>
                    <a:pt x="86" y="26"/>
                    <a:pt x="85" y="26"/>
                  </a:cubicBezTo>
                  <a:cubicBezTo>
                    <a:pt x="83" y="28"/>
                    <a:pt x="82" y="33"/>
                    <a:pt x="81" y="36"/>
                  </a:cubicBezTo>
                  <a:cubicBezTo>
                    <a:pt x="80" y="38"/>
                    <a:pt x="79" y="40"/>
                    <a:pt x="78" y="40"/>
                  </a:cubicBezTo>
                  <a:cubicBezTo>
                    <a:pt x="77" y="40"/>
                    <a:pt x="76" y="39"/>
                    <a:pt x="74" y="38"/>
                  </a:cubicBezTo>
                  <a:cubicBezTo>
                    <a:pt x="74" y="39"/>
                    <a:pt x="74" y="39"/>
                    <a:pt x="74" y="39"/>
                  </a:cubicBezTo>
                  <a:cubicBezTo>
                    <a:pt x="74" y="38"/>
                    <a:pt x="75" y="36"/>
                    <a:pt x="76" y="35"/>
                  </a:cubicBezTo>
                  <a:cubicBezTo>
                    <a:pt x="76" y="34"/>
                    <a:pt x="77" y="34"/>
                    <a:pt x="77" y="34"/>
                  </a:cubicBezTo>
                  <a:cubicBezTo>
                    <a:pt x="78" y="34"/>
                    <a:pt x="78" y="34"/>
                    <a:pt x="78" y="35"/>
                  </a:cubicBezTo>
                  <a:cubicBezTo>
                    <a:pt x="79" y="35"/>
                    <a:pt x="79" y="35"/>
                    <a:pt x="79" y="35"/>
                  </a:cubicBezTo>
                  <a:cubicBezTo>
                    <a:pt x="80" y="35"/>
                    <a:pt x="80" y="35"/>
                    <a:pt x="80" y="35"/>
                  </a:cubicBezTo>
                  <a:cubicBezTo>
                    <a:pt x="80" y="35"/>
                    <a:pt x="81" y="34"/>
                    <a:pt x="81" y="34"/>
                  </a:cubicBezTo>
                  <a:cubicBezTo>
                    <a:pt x="80" y="34"/>
                    <a:pt x="79" y="34"/>
                    <a:pt x="78" y="34"/>
                  </a:cubicBezTo>
                  <a:cubicBezTo>
                    <a:pt x="77" y="34"/>
                    <a:pt x="76" y="34"/>
                    <a:pt x="75" y="34"/>
                  </a:cubicBezTo>
                  <a:cubicBezTo>
                    <a:pt x="74" y="33"/>
                    <a:pt x="70" y="31"/>
                    <a:pt x="68" y="31"/>
                  </a:cubicBezTo>
                  <a:cubicBezTo>
                    <a:pt x="68" y="31"/>
                    <a:pt x="67" y="31"/>
                    <a:pt x="67" y="31"/>
                  </a:cubicBezTo>
                  <a:cubicBezTo>
                    <a:pt x="66" y="33"/>
                    <a:pt x="64" y="36"/>
                    <a:pt x="62" y="37"/>
                  </a:cubicBezTo>
                  <a:cubicBezTo>
                    <a:pt x="61" y="37"/>
                    <a:pt x="59" y="38"/>
                    <a:pt x="59" y="39"/>
                  </a:cubicBezTo>
                  <a:cubicBezTo>
                    <a:pt x="59" y="40"/>
                    <a:pt x="59" y="40"/>
                    <a:pt x="58" y="41"/>
                  </a:cubicBezTo>
                  <a:cubicBezTo>
                    <a:pt x="57" y="42"/>
                    <a:pt x="54" y="42"/>
                    <a:pt x="52" y="44"/>
                  </a:cubicBezTo>
                  <a:cubicBezTo>
                    <a:pt x="50" y="47"/>
                    <a:pt x="51" y="51"/>
                    <a:pt x="48" y="54"/>
                  </a:cubicBezTo>
                  <a:cubicBezTo>
                    <a:pt x="49" y="53"/>
                    <a:pt x="51" y="52"/>
                    <a:pt x="52" y="52"/>
                  </a:cubicBezTo>
                  <a:cubicBezTo>
                    <a:pt x="52" y="55"/>
                    <a:pt x="50" y="59"/>
                    <a:pt x="49" y="63"/>
                  </a:cubicBezTo>
                  <a:cubicBezTo>
                    <a:pt x="47" y="65"/>
                    <a:pt x="51" y="65"/>
                    <a:pt x="50" y="67"/>
                  </a:cubicBezTo>
                  <a:cubicBezTo>
                    <a:pt x="49" y="68"/>
                    <a:pt x="49" y="71"/>
                    <a:pt x="47" y="71"/>
                  </a:cubicBezTo>
                  <a:cubicBezTo>
                    <a:pt x="47" y="71"/>
                    <a:pt x="47" y="71"/>
                    <a:pt x="47" y="71"/>
                  </a:cubicBezTo>
                  <a:cubicBezTo>
                    <a:pt x="46" y="71"/>
                    <a:pt x="46" y="71"/>
                    <a:pt x="46" y="71"/>
                  </a:cubicBezTo>
                  <a:cubicBezTo>
                    <a:pt x="44" y="71"/>
                    <a:pt x="43" y="71"/>
                    <a:pt x="41" y="72"/>
                  </a:cubicBezTo>
                  <a:cubicBezTo>
                    <a:pt x="37" y="74"/>
                    <a:pt x="36" y="79"/>
                    <a:pt x="34" y="82"/>
                  </a:cubicBezTo>
                  <a:cubicBezTo>
                    <a:pt x="32" y="85"/>
                    <a:pt x="26" y="88"/>
                    <a:pt x="23" y="89"/>
                  </a:cubicBezTo>
                  <a:cubicBezTo>
                    <a:pt x="23" y="89"/>
                    <a:pt x="21" y="89"/>
                    <a:pt x="21" y="90"/>
                  </a:cubicBezTo>
                  <a:cubicBezTo>
                    <a:pt x="18" y="92"/>
                    <a:pt x="21" y="94"/>
                    <a:pt x="23" y="97"/>
                  </a:cubicBezTo>
                  <a:cubicBezTo>
                    <a:pt x="23" y="98"/>
                    <a:pt x="24" y="102"/>
                    <a:pt x="24" y="103"/>
                  </a:cubicBezTo>
                  <a:cubicBezTo>
                    <a:pt x="24" y="104"/>
                    <a:pt x="24" y="106"/>
                    <a:pt x="24" y="106"/>
                  </a:cubicBezTo>
                  <a:cubicBezTo>
                    <a:pt x="24" y="106"/>
                    <a:pt x="23" y="106"/>
                    <a:pt x="23" y="106"/>
                  </a:cubicBezTo>
                  <a:cubicBezTo>
                    <a:pt x="22" y="106"/>
                    <a:pt x="22" y="105"/>
                    <a:pt x="21" y="104"/>
                  </a:cubicBezTo>
                  <a:cubicBezTo>
                    <a:pt x="19" y="99"/>
                    <a:pt x="15" y="95"/>
                    <a:pt x="11" y="91"/>
                  </a:cubicBezTo>
                  <a:cubicBezTo>
                    <a:pt x="11" y="91"/>
                    <a:pt x="11" y="92"/>
                    <a:pt x="11" y="92"/>
                  </a:cubicBezTo>
                  <a:cubicBezTo>
                    <a:pt x="12" y="93"/>
                    <a:pt x="12" y="95"/>
                    <a:pt x="13" y="97"/>
                  </a:cubicBezTo>
                  <a:cubicBezTo>
                    <a:pt x="14" y="98"/>
                    <a:pt x="15" y="101"/>
                    <a:pt x="17" y="104"/>
                  </a:cubicBezTo>
                  <a:cubicBezTo>
                    <a:pt x="18" y="107"/>
                    <a:pt x="18" y="107"/>
                    <a:pt x="18" y="107"/>
                  </a:cubicBezTo>
                  <a:cubicBezTo>
                    <a:pt x="16" y="108"/>
                    <a:pt x="16" y="108"/>
                    <a:pt x="16" y="108"/>
                  </a:cubicBezTo>
                  <a:cubicBezTo>
                    <a:pt x="13" y="110"/>
                    <a:pt x="12" y="111"/>
                    <a:pt x="10" y="113"/>
                  </a:cubicBezTo>
                  <a:cubicBezTo>
                    <a:pt x="8" y="116"/>
                    <a:pt x="7" y="118"/>
                    <a:pt x="5" y="118"/>
                  </a:cubicBezTo>
                  <a:cubicBezTo>
                    <a:pt x="5" y="118"/>
                    <a:pt x="5" y="118"/>
                    <a:pt x="5" y="118"/>
                  </a:cubicBezTo>
                  <a:cubicBezTo>
                    <a:pt x="3" y="118"/>
                    <a:pt x="3" y="118"/>
                    <a:pt x="3" y="118"/>
                  </a:cubicBezTo>
                  <a:cubicBezTo>
                    <a:pt x="3" y="119"/>
                    <a:pt x="2" y="120"/>
                    <a:pt x="1" y="121"/>
                  </a:cubicBezTo>
                  <a:cubicBezTo>
                    <a:pt x="1" y="122"/>
                    <a:pt x="1" y="122"/>
                    <a:pt x="1" y="122"/>
                  </a:cubicBezTo>
                  <a:cubicBezTo>
                    <a:pt x="1" y="125"/>
                    <a:pt x="1" y="125"/>
                    <a:pt x="1" y="125"/>
                  </a:cubicBezTo>
                  <a:cubicBezTo>
                    <a:pt x="0" y="125"/>
                    <a:pt x="0" y="125"/>
                    <a:pt x="0" y="125"/>
                  </a:cubicBezTo>
                  <a:cubicBezTo>
                    <a:pt x="2" y="128"/>
                    <a:pt x="4" y="130"/>
                    <a:pt x="6" y="133"/>
                  </a:cubicBezTo>
                  <a:cubicBezTo>
                    <a:pt x="7" y="134"/>
                    <a:pt x="9" y="136"/>
                    <a:pt x="10" y="137"/>
                  </a:cubicBezTo>
                  <a:cubicBezTo>
                    <a:pt x="10" y="140"/>
                    <a:pt x="7" y="142"/>
                    <a:pt x="7" y="145"/>
                  </a:cubicBezTo>
                  <a:cubicBezTo>
                    <a:pt x="7" y="148"/>
                    <a:pt x="10" y="151"/>
                    <a:pt x="11" y="154"/>
                  </a:cubicBezTo>
                  <a:cubicBezTo>
                    <a:pt x="11" y="154"/>
                    <a:pt x="12" y="155"/>
                    <a:pt x="12" y="156"/>
                  </a:cubicBezTo>
                  <a:cubicBezTo>
                    <a:pt x="12" y="159"/>
                    <a:pt x="6" y="160"/>
                    <a:pt x="6" y="162"/>
                  </a:cubicBezTo>
                  <a:cubicBezTo>
                    <a:pt x="8" y="164"/>
                    <a:pt x="10" y="167"/>
                    <a:pt x="10" y="169"/>
                  </a:cubicBezTo>
                  <a:cubicBezTo>
                    <a:pt x="10" y="172"/>
                    <a:pt x="10" y="175"/>
                    <a:pt x="10" y="179"/>
                  </a:cubicBezTo>
                  <a:cubicBezTo>
                    <a:pt x="227" y="179"/>
                    <a:pt x="227" y="179"/>
                    <a:pt x="227" y="179"/>
                  </a:cubicBezTo>
                  <a:cubicBezTo>
                    <a:pt x="227" y="178"/>
                    <a:pt x="227" y="177"/>
                    <a:pt x="227" y="176"/>
                  </a:cubicBezTo>
                  <a:cubicBezTo>
                    <a:pt x="227" y="174"/>
                    <a:pt x="228" y="171"/>
                    <a:pt x="228" y="168"/>
                  </a:cubicBezTo>
                  <a:cubicBezTo>
                    <a:pt x="228" y="167"/>
                    <a:pt x="228" y="167"/>
                    <a:pt x="228" y="167"/>
                  </a:cubicBezTo>
                  <a:cubicBezTo>
                    <a:pt x="228" y="164"/>
                    <a:pt x="230" y="162"/>
                    <a:pt x="231" y="160"/>
                  </a:cubicBezTo>
                  <a:cubicBezTo>
                    <a:pt x="232" y="159"/>
                    <a:pt x="232" y="159"/>
                    <a:pt x="232" y="158"/>
                  </a:cubicBezTo>
                  <a:cubicBezTo>
                    <a:pt x="233" y="158"/>
                    <a:pt x="233" y="157"/>
                    <a:pt x="234" y="157"/>
                  </a:cubicBezTo>
                  <a:cubicBezTo>
                    <a:pt x="234" y="156"/>
                    <a:pt x="234" y="156"/>
                    <a:pt x="234" y="156"/>
                  </a:cubicBezTo>
                  <a:cubicBezTo>
                    <a:pt x="235" y="155"/>
                    <a:pt x="236" y="154"/>
                    <a:pt x="236" y="152"/>
                  </a:cubicBezTo>
                  <a:cubicBezTo>
                    <a:pt x="237" y="151"/>
                    <a:pt x="237" y="150"/>
                    <a:pt x="237" y="149"/>
                  </a:cubicBezTo>
                  <a:cubicBezTo>
                    <a:pt x="237" y="147"/>
                    <a:pt x="233" y="147"/>
                    <a:pt x="232" y="147"/>
                  </a:cubicBezTo>
                  <a:cubicBezTo>
                    <a:pt x="231" y="147"/>
                    <a:pt x="230" y="147"/>
                    <a:pt x="230" y="147"/>
                  </a:cubicBezTo>
                  <a:cubicBezTo>
                    <a:pt x="227" y="147"/>
                    <a:pt x="223" y="147"/>
                    <a:pt x="220" y="148"/>
                  </a:cubicBezTo>
                  <a:cubicBezTo>
                    <a:pt x="218" y="148"/>
                    <a:pt x="216" y="148"/>
                    <a:pt x="214" y="149"/>
                  </a:cubicBezTo>
                  <a:cubicBezTo>
                    <a:pt x="211" y="149"/>
                    <a:pt x="211" y="149"/>
                    <a:pt x="211" y="149"/>
                  </a:cubicBezTo>
                  <a:cubicBezTo>
                    <a:pt x="209" y="149"/>
                    <a:pt x="207" y="149"/>
                    <a:pt x="204" y="150"/>
                  </a:cubicBezTo>
                  <a:cubicBezTo>
                    <a:pt x="204" y="150"/>
                    <a:pt x="204" y="150"/>
                    <a:pt x="204" y="150"/>
                  </a:cubicBezTo>
                  <a:cubicBezTo>
                    <a:pt x="204" y="150"/>
                    <a:pt x="203" y="150"/>
                    <a:pt x="202" y="150"/>
                  </a:cubicBezTo>
                  <a:cubicBezTo>
                    <a:pt x="199" y="151"/>
                    <a:pt x="197" y="151"/>
                    <a:pt x="195" y="151"/>
                  </a:cubicBezTo>
                  <a:cubicBezTo>
                    <a:pt x="194" y="151"/>
                    <a:pt x="193" y="151"/>
                    <a:pt x="192" y="150"/>
                  </a:cubicBezTo>
                  <a:cubicBezTo>
                    <a:pt x="189" y="149"/>
                    <a:pt x="186" y="145"/>
                    <a:pt x="183" y="140"/>
                  </a:cubicBezTo>
                  <a:cubicBezTo>
                    <a:pt x="183" y="139"/>
                    <a:pt x="182" y="139"/>
                    <a:pt x="182" y="138"/>
                  </a:cubicBezTo>
                  <a:cubicBezTo>
                    <a:pt x="181" y="137"/>
                    <a:pt x="181" y="137"/>
                    <a:pt x="181" y="137"/>
                  </a:cubicBezTo>
                  <a:cubicBezTo>
                    <a:pt x="180" y="136"/>
                    <a:pt x="179" y="135"/>
                    <a:pt x="179" y="134"/>
                  </a:cubicBezTo>
                  <a:cubicBezTo>
                    <a:pt x="176" y="131"/>
                    <a:pt x="176" y="131"/>
                    <a:pt x="172" y="130"/>
                  </a:cubicBezTo>
                  <a:cubicBezTo>
                    <a:pt x="170" y="129"/>
                    <a:pt x="167" y="129"/>
                    <a:pt x="165" y="128"/>
                  </a:cubicBezTo>
                  <a:cubicBezTo>
                    <a:pt x="164" y="128"/>
                    <a:pt x="162" y="129"/>
                    <a:pt x="161" y="129"/>
                  </a:cubicBezTo>
                  <a:cubicBezTo>
                    <a:pt x="159" y="130"/>
                    <a:pt x="158" y="130"/>
                    <a:pt x="156" y="130"/>
                  </a:cubicBezTo>
                  <a:cubicBezTo>
                    <a:pt x="155" y="131"/>
                    <a:pt x="154" y="131"/>
                    <a:pt x="153" y="131"/>
                  </a:cubicBezTo>
                  <a:cubicBezTo>
                    <a:pt x="151" y="131"/>
                    <a:pt x="150" y="130"/>
                    <a:pt x="148" y="130"/>
                  </a:cubicBezTo>
                  <a:cubicBezTo>
                    <a:pt x="147" y="130"/>
                    <a:pt x="146" y="130"/>
                    <a:pt x="145" y="130"/>
                  </a:cubicBezTo>
                  <a:cubicBezTo>
                    <a:pt x="144" y="130"/>
                    <a:pt x="143" y="130"/>
                    <a:pt x="142" y="130"/>
                  </a:cubicBezTo>
                  <a:cubicBezTo>
                    <a:pt x="141" y="130"/>
                    <a:pt x="140" y="130"/>
                    <a:pt x="138" y="130"/>
                  </a:cubicBezTo>
                  <a:cubicBezTo>
                    <a:pt x="137" y="130"/>
                    <a:pt x="137" y="130"/>
                    <a:pt x="136" y="130"/>
                  </a:cubicBezTo>
                  <a:cubicBezTo>
                    <a:pt x="135" y="130"/>
                    <a:pt x="134" y="130"/>
                    <a:pt x="133" y="129"/>
                  </a:cubicBezTo>
                  <a:cubicBezTo>
                    <a:pt x="131" y="128"/>
                    <a:pt x="130" y="126"/>
                    <a:pt x="129" y="124"/>
                  </a:cubicBezTo>
                  <a:cubicBezTo>
                    <a:pt x="129" y="124"/>
                    <a:pt x="129" y="123"/>
                    <a:pt x="129" y="123"/>
                  </a:cubicBezTo>
                  <a:cubicBezTo>
                    <a:pt x="129" y="122"/>
                    <a:pt x="128" y="122"/>
                    <a:pt x="128" y="122"/>
                  </a:cubicBezTo>
                  <a:cubicBezTo>
                    <a:pt x="128" y="121"/>
                    <a:pt x="128" y="121"/>
                    <a:pt x="127" y="121"/>
                  </a:cubicBezTo>
                  <a:cubicBezTo>
                    <a:pt x="126" y="121"/>
                    <a:pt x="126" y="121"/>
                    <a:pt x="125" y="120"/>
                  </a:cubicBezTo>
                  <a:cubicBezTo>
                    <a:pt x="122" y="120"/>
                    <a:pt x="121" y="118"/>
                    <a:pt x="121" y="115"/>
                  </a:cubicBezTo>
                  <a:cubicBezTo>
                    <a:pt x="120" y="110"/>
                    <a:pt x="120" y="106"/>
                    <a:pt x="122" y="103"/>
                  </a:cubicBezTo>
                  <a:cubicBezTo>
                    <a:pt x="122" y="103"/>
                    <a:pt x="123" y="102"/>
                    <a:pt x="123" y="102"/>
                  </a:cubicBezTo>
                  <a:cubicBezTo>
                    <a:pt x="122" y="99"/>
                    <a:pt x="122" y="97"/>
                    <a:pt x="121" y="95"/>
                  </a:cubicBezTo>
                  <a:cubicBezTo>
                    <a:pt x="120" y="94"/>
                    <a:pt x="120" y="94"/>
                    <a:pt x="120" y="94"/>
                  </a:cubicBezTo>
                  <a:cubicBezTo>
                    <a:pt x="116" y="86"/>
                    <a:pt x="116" y="86"/>
                    <a:pt x="116" y="86"/>
                  </a:cubicBezTo>
                  <a:cubicBezTo>
                    <a:pt x="116" y="84"/>
                    <a:pt x="115" y="82"/>
                    <a:pt x="114" y="81"/>
                  </a:cubicBezTo>
                  <a:cubicBezTo>
                    <a:pt x="114" y="81"/>
                    <a:pt x="113" y="81"/>
                    <a:pt x="112" y="81"/>
                  </a:cubicBezTo>
                  <a:cubicBezTo>
                    <a:pt x="111" y="81"/>
                    <a:pt x="110" y="80"/>
                    <a:pt x="110" y="80"/>
                  </a:cubicBezTo>
                  <a:cubicBezTo>
                    <a:pt x="109" y="79"/>
                    <a:pt x="109" y="79"/>
                    <a:pt x="109" y="79"/>
                  </a:cubicBezTo>
                  <a:cubicBezTo>
                    <a:pt x="109" y="79"/>
                    <a:pt x="109" y="78"/>
                    <a:pt x="109" y="78"/>
                  </a:cubicBezTo>
                  <a:cubicBezTo>
                    <a:pt x="107" y="79"/>
                    <a:pt x="105" y="79"/>
                    <a:pt x="104" y="80"/>
                  </a:cubicBezTo>
                  <a:cubicBezTo>
                    <a:pt x="102" y="80"/>
                    <a:pt x="102" y="80"/>
                    <a:pt x="102" y="80"/>
                  </a:cubicBezTo>
                  <a:cubicBezTo>
                    <a:pt x="100" y="79"/>
                    <a:pt x="100" y="79"/>
                    <a:pt x="100" y="79"/>
                  </a:cubicBezTo>
                  <a:cubicBezTo>
                    <a:pt x="99" y="77"/>
                    <a:pt x="100" y="74"/>
                    <a:pt x="101" y="73"/>
                  </a:cubicBezTo>
                  <a:cubicBezTo>
                    <a:pt x="101" y="72"/>
                    <a:pt x="101" y="72"/>
                    <a:pt x="101" y="72"/>
                  </a:cubicBezTo>
                  <a:cubicBezTo>
                    <a:pt x="102" y="72"/>
                    <a:pt x="102" y="71"/>
                    <a:pt x="102" y="71"/>
                  </a:cubicBezTo>
                  <a:cubicBezTo>
                    <a:pt x="102" y="71"/>
                    <a:pt x="102" y="71"/>
                    <a:pt x="102" y="71"/>
                  </a:cubicBezTo>
                  <a:cubicBezTo>
                    <a:pt x="105" y="67"/>
                    <a:pt x="107" y="64"/>
                    <a:pt x="108" y="60"/>
                  </a:cubicBezTo>
                  <a:cubicBezTo>
                    <a:pt x="108" y="59"/>
                    <a:pt x="108" y="59"/>
                    <a:pt x="109" y="58"/>
                  </a:cubicBezTo>
                  <a:cubicBezTo>
                    <a:pt x="109" y="56"/>
                    <a:pt x="109" y="55"/>
                    <a:pt x="109" y="53"/>
                  </a:cubicBezTo>
                  <a:cubicBezTo>
                    <a:pt x="109" y="51"/>
                    <a:pt x="110" y="49"/>
                    <a:pt x="110" y="47"/>
                  </a:cubicBezTo>
                  <a:cubicBezTo>
                    <a:pt x="111" y="44"/>
                    <a:pt x="112" y="42"/>
                    <a:pt x="114" y="40"/>
                  </a:cubicBezTo>
                  <a:cubicBezTo>
                    <a:pt x="114" y="40"/>
                    <a:pt x="114" y="40"/>
                    <a:pt x="114" y="40"/>
                  </a:cubicBezTo>
                  <a:cubicBezTo>
                    <a:pt x="114" y="39"/>
                    <a:pt x="115" y="38"/>
                    <a:pt x="115" y="37"/>
                  </a:cubicBezTo>
                  <a:cubicBezTo>
                    <a:pt x="116" y="36"/>
                    <a:pt x="116" y="36"/>
                    <a:pt x="116" y="36"/>
                  </a:cubicBezTo>
                  <a:cubicBezTo>
                    <a:pt x="116" y="36"/>
                    <a:pt x="116" y="36"/>
                    <a:pt x="116" y="36"/>
                  </a:cubicBezTo>
                  <a:cubicBezTo>
                    <a:pt x="117" y="34"/>
                    <a:pt x="118" y="31"/>
                    <a:pt x="121" y="30"/>
                  </a:cubicBezTo>
                  <a:cubicBezTo>
                    <a:pt x="122" y="29"/>
                    <a:pt x="124" y="28"/>
                    <a:pt x="125" y="28"/>
                  </a:cubicBezTo>
                  <a:cubicBezTo>
                    <a:pt x="126" y="28"/>
                    <a:pt x="126" y="27"/>
                    <a:pt x="127" y="27"/>
                  </a:cubicBezTo>
                  <a:cubicBezTo>
                    <a:pt x="127" y="26"/>
                    <a:pt x="127" y="26"/>
                    <a:pt x="127" y="26"/>
                  </a:cubicBezTo>
                  <a:cubicBezTo>
                    <a:pt x="127" y="25"/>
                    <a:pt x="128" y="24"/>
                    <a:pt x="128" y="23"/>
                  </a:cubicBezTo>
                  <a:cubicBezTo>
                    <a:pt x="130" y="20"/>
                    <a:pt x="131" y="17"/>
                    <a:pt x="133" y="16"/>
                  </a:cubicBezTo>
                  <a:cubicBezTo>
                    <a:pt x="134" y="15"/>
                    <a:pt x="137" y="14"/>
                    <a:pt x="139" y="14"/>
                  </a:cubicBezTo>
                  <a:cubicBezTo>
                    <a:pt x="140" y="14"/>
                    <a:pt x="140" y="14"/>
                    <a:pt x="141" y="14"/>
                  </a:cubicBezTo>
                  <a:cubicBezTo>
                    <a:pt x="144" y="13"/>
                    <a:pt x="144" y="13"/>
                    <a:pt x="144" y="13"/>
                  </a:cubicBezTo>
                  <a:cubicBezTo>
                    <a:pt x="145" y="12"/>
                    <a:pt x="147" y="12"/>
                    <a:pt x="149" y="12"/>
                  </a:cubicBezTo>
                  <a:cubicBezTo>
                    <a:pt x="151" y="12"/>
                    <a:pt x="151" y="12"/>
                    <a:pt x="151" y="12"/>
                  </a:cubicBezTo>
                  <a:cubicBezTo>
                    <a:pt x="151" y="13"/>
                    <a:pt x="151" y="13"/>
                    <a:pt x="151" y="13"/>
                  </a:cubicBezTo>
                  <a:cubicBezTo>
                    <a:pt x="151" y="12"/>
                    <a:pt x="152" y="12"/>
                    <a:pt x="152" y="11"/>
                  </a:cubicBezTo>
                  <a:cubicBezTo>
                    <a:pt x="154" y="9"/>
                    <a:pt x="155" y="10"/>
                    <a:pt x="154" y="7"/>
                  </a:cubicBezTo>
                  <a:cubicBezTo>
                    <a:pt x="153" y="5"/>
                    <a:pt x="152" y="3"/>
                    <a:pt x="150" y="2"/>
                  </a:cubicBezTo>
                  <a:cubicBezTo>
                    <a:pt x="148" y="1"/>
                    <a:pt x="145" y="0"/>
                    <a:pt x="1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9"/>
            <p:cNvSpPr>
              <a:spLocks noEditPoints="1"/>
            </p:cNvSpPr>
            <p:nvPr/>
          </p:nvSpPr>
          <p:spPr bwMode="auto">
            <a:xfrm>
              <a:off x="9555154" y="8065322"/>
              <a:ext cx="1141413" cy="649288"/>
            </a:xfrm>
            <a:custGeom>
              <a:gdLst>
                <a:gd name="T0" fmla="*/ 256 w 304"/>
                <a:gd name="T1" fmla="*/ 54 h 173"/>
                <a:gd name="T2" fmla="*/ 256 w 304"/>
                <a:gd name="T3" fmla="*/ 54 h 173"/>
                <a:gd name="T4" fmla="*/ 66 w 304"/>
                <a:gd name="T5" fmla="*/ 4 h 173"/>
                <a:gd name="T6" fmla="*/ 71 w 304"/>
                <a:gd name="T7" fmla="*/ 13 h 173"/>
                <a:gd name="T8" fmla="*/ 71 w 304"/>
                <a:gd name="T9" fmla="*/ 16 h 173"/>
                <a:gd name="T10" fmla="*/ 40 w 304"/>
                <a:gd name="T11" fmla="*/ 28 h 173"/>
                <a:gd name="T12" fmla="*/ 36 w 304"/>
                <a:gd name="T13" fmla="*/ 74 h 173"/>
                <a:gd name="T14" fmla="*/ 23 w 304"/>
                <a:gd name="T15" fmla="*/ 57 h 173"/>
                <a:gd name="T16" fmla="*/ 32 w 304"/>
                <a:gd name="T17" fmla="*/ 28 h 173"/>
                <a:gd name="T18" fmla="*/ 23 w 304"/>
                <a:gd name="T19" fmla="*/ 23 h 173"/>
                <a:gd name="T20" fmla="*/ 11 w 304"/>
                <a:gd name="T21" fmla="*/ 34 h 173"/>
                <a:gd name="T22" fmla="*/ 7 w 304"/>
                <a:gd name="T23" fmla="*/ 42 h 173"/>
                <a:gd name="T24" fmla="*/ 0 w 304"/>
                <a:gd name="T25" fmla="*/ 66 h 173"/>
                <a:gd name="T26" fmla="*/ 5 w 304"/>
                <a:gd name="T27" fmla="*/ 69 h 173"/>
                <a:gd name="T28" fmla="*/ 10 w 304"/>
                <a:gd name="T29" fmla="*/ 72 h 173"/>
                <a:gd name="T30" fmla="*/ 19 w 304"/>
                <a:gd name="T31" fmla="*/ 97 h 173"/>
                <a:gd name="T32" fmla="*/ 24 w 304"/>
                <a:gd name="T33" fmla="*/ 113 h 173"/>
                <a:gd name="T34" fmla="*/ 27 w 304"/>
                <a:gd name="T35" fmla="*/ 118 h 173"/>
                <a:gd name="T36" fmla="*/ 37 w 304"/>
                <a:gd name="T37" fmla="*/ 118 h 173"/>
                <a:gd name="T38" fmla="*/ 46 w 304"/>
                <a:gd name="T39" fmla="*/ 119 h 173"/>
                <a:gd name="T40" fmla="*/ 74 w 304"/>
                <a:gd name="T41" fmla="*/ 124 h 173"/>
                <a:gd name="T42" fmla="*/ 86 w 304"/>
                <a:gd name="T43" fmla="*/ 139 h 173"/>
                <a:gd name="T44" fmla="*/ 102 w 304"/>
                <a:gd name="T45" fmla="*/ 137 h 173"/>
                <a:gd name="T46" fmla="*/ 123 w 304"/>
                <a:gd name="T47" fmla="*/ 135 h 173"/>
                <a:gd name="T48" fmla="*/ 128 w 304"/>
                <a:gd name="T49" fmla="*/ 155 h 173"/>
                <a:gd name="T50" fmla="*/ 124 w 304"/>
                <a:gd name="T51" fmla="*/ 170 h 173"/>
                <a:gd name="T52" fmla="*/ 281 w 304"/>
                <a:gd name="T53" fmla="*/ 167 h 173"/>
                <a:gd name="T54" fmla="*/ 286 w 304"/>
                <a:gd name="T55" fmla="*/ 167 h 173"/>
                <a:gd name="T56" fmla="*/ 280 w 304"/>
                <a:gd name="T57" fmla="*/ 161 h 173"/>
                <a:gd name="T58" fmla="*/ 273 w 304"/>
                <a:gd name="T59" fmla="*/ 141 h 173"/>
                <a:gd name="T60" fmla="*/ 274 w 304"/>
                <a:gd name="T61" fmla="*/ 134 h 173"/>
                <a:gd name="T62" fmla="*/ 279 w 304"/>
                <a:gd name="T63" fmla="*/ 125 h 173"/>
                <a:gd name="T64" fmla="*/ 286 w 304"/>
                <a:gd name="T65" fmla="*/ 124 h 173"/>
                <a:gd name="T66" fmla="*/ 293 w 304"/>
                <a:gd name="T67" fmla="*/ 121 h 173"/>
                <a:gd name="T68" fmla="*/ 289 w 304"/>
                <a:gd name="T69" fmla="*/ 120 h 173"/>
                <a:gd name="T70" fmla="*/ 286 w 304"/>
                <a:gd name="T71" fmla="*/ 116 h 173"/>
                <a:gd name="T72" fmla="*/ 287 w 304"/>
                <a:gd name="T73" fmla="*/ 104 h 173"/>
                <a:gd name="T74" fmla="*/ 304 w 304"/>
                <a:gd name="T75" fmla="*/ 91 h 173"/>
                <a:gd name="T76" fmla="*/ 300 w 304"/>
                <a:gd name="T77" fmla="*/ 84 h 173"/>
                <a:gd name="T78" fmla="*/ 274 w 304"/>
                <a:gd name="T79" fmla="*/ 89 h 173"/>
                <a:gd name="T80" fmla="*/ 269 w 304"/>
                <a:gd name="T81" fmla="*/ 84 h 173"/>
                <a:gd name="T82" fmla="*/ 274 w 304"/>
                <a:gd name="T83" fmla="*/ 85 h 173"/>
                <a:gd name="T84" fmla="*/ 266 w 304"/>
                <a:gd name="T85" fmla="*/ 54 h 173"/>
                <a:gd name="T86" fmla="*/ 253 w 304"/>
                <a:gd name="T87" fmla="*/ 59 h 173"/>
                <a:gd name="T88" fmla="*/ 244 w 304"/>
                <a:gd name="T89" fmla="*/ 48 h 173"/>
                <a:gd name="T90" fmla="*/ 238 w 304"/>
                <a:gd name="T91" fmla="*/ 50 h 173"/>
                <a:gd name="T92" fmla="*/ 241 w 304"/>
                <a:gd name="T93" fmla="*/ 50 h 173"/>
                <a:gd name="T94" fmla="*/ 234 w 304"/>
                <a:gd name="T95" fmla="*/ 40 h 173"/>
                <a:gd name="T96" fmla="*/ 260 w 304"/>
                <a:gd name="T97" fmla="*/ 34 h 173"/>
                <a:gd name="T98" fmla="*/ 208 w 304"/>
                <a:gd name="T99" fmla="*/ 37 h 173"/>
                <a:gd name="T100" fmla="*/ 214 w 304"/>
                <a:gd name="T101" fmla="*/ 39 h 173"/>
                <a:gd name="T102" fmla="*/ 182 w 304"/>
                <a:gd name="T103" fmla="*/ 49 h 173"/>
                <a:gd name="T104" fmla="*/ 149 w 304"/>
                <a:gd name="T105" fmla="*/ 40 h 173"/>
                <a:gd name="T106" fmla="*/ 122 w 304"/>
                <a:gd name="T107" fmla="*/ 40 h 173"/>
                <a:gd name="T108" fmla="*/ 88 w 304"/>
                <a:gd name="T109" fmla="*/ 17 h 1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4" h="173">
                  <a:moveTo>
                    <a:pt x="205" y="36"/>
                  </a:moveTo>
                  <a:cubicBezTo>
                    <a:pt x="205" y="36"/>
                    <a:pt x="205" y="36"/>
                    <a:pt x="205" y="36"/>
                  </a:cubicBezTo>
                  <a:cubicBezTo>
                    <a:pt x="205" y="36"/>
                    <a:pt x="205" y="36"/>
                    <a:pt x="205" y="36"/>
                  </a:cubicBezTo>
                  <a:moveTo>
                    <a:pt x="256" y="54"/>
                  </a:move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moveTo>
                    <a:pt x="71" y="0"/>
                  </a:moveTo>
                  <a:cubicBezTo>
                    <a:pt x="69" y="0"/>
                    <a:pt x="67" y="1"/>
                    <a:pt x="66" y="4"/>
                  </a:cubicBezTo>
                  <a:cubicBezTo>
                    <a:pt x="65" y="6"/>
                    <a:pt x="65" y="7"/>
                    <a:pt x="66" y="9"/>
                  </a:cubicBezTo>
                  <a:cubicBezTo>
                    <a:pt x="67" y="11"/>
                    <a:pt x="67" y="13"/>
                    <a:pt x="69" y="13"/>
                  </a:cubicBezTo>
                  <a:cubicBezTo>
                    <a:pt x="69" y="13"/>
                    <a:pt x="69" y="13"/>
                    <a:pt x="69" y="13"/>
                  </a:cubicBezTo>
                  <a:cubicBezTo>
                    <a:pt x="70" y="13"/>
                    <a:pt x="70" y="13"/>
                    <a:pt x="70" y="13"/>
                  </a:cubicBezTo>
                  <a:cubicBezTo>
                    <a:pt x="71" y="13"/>
                    <a:pt x="71" y="13"/>
                    <a:pt x="71" y="13"/>
                  </a:cubicBezTo>
                  <a:cubicBezTo>
                    <a:pt x="73" y="13"/>
                    <a:pt x="74" y="12"/>
                    <a:pt x="76" y="12"/>
                  </a:cubicBezTo>
                  <a:cubicBezTo>
                    <a:pt x="77" y="13"/>
                    <a:pt x="77" y="15"/>
                    <a:pt x="77" y="16"/>
                  </a:cubicBezTo>
                  <a:cubicBezTo>
                    <a:pt x="77" y="16"/>
                    <a:pt x="76" y="16"/>
                    <a:pt x="75" y="16"/>
                  </a:cubicBezTo>
                  <a:cubicBezTo>
                    <a:pt x="72" y="16"/>
                    <a:pt x="70" y="16"/>
                    <a:pt x="69" y="15"/>
                  </a:cubicBezTo>
                  <a:cubicBezTo>
                    <a:pt x="69" y="15"/>
                    <a:pt x="70" y="16"/>
                    <a:pt x="71" y="16"/>
                  </a:cubicBezTo>
                  <a:cubicBezTo>
                    <a:pt x="70" y="18"/>
                    <a:pt x="68" y="19"/>
                    <a:pt x="67" y="19"/>
                  </a:cubicBezTo>
                  <a:cubicBezTo>
                    <a:pt x="61" y="20"/>
                    <a:pt x="55" y="23"/>
                    <a:pt x="50" y="24"/>
                  </a:cubicBezTo>
                  <a:cubicBezTo>
                    <a:pt x="47" y="25"/>
                    <a:pt x="44" y="27"/>
                    <a:pt x="42" y="28"/>
                  </a:cubicBezTo>
                  <a:cubicBezTo>
                    <a:pt x="42" y="28"/>
                    <a:pt x="41" y="28"/>
                    <a:pt x="41" y="28"/>
                  </a:cubicBezTo>
                  <a:cubicBezTo>
                    <a:pt x="41" y="28"/>
                    <a:pt x="40" y="28"/>
                    <a:pt x="40" y="28"/>
                  </a:cubicBezTo>
                  <a:cubicBezTo>
                    <a:pt x="40" y="28"/>
                    <a:pt x="39" y="28"/>
                    <a:pt x="39" y="28"/>
                  </a:cubicBezTo>
                  <a:cubicBezTo>
                    <a:pt x="39" y="28"/>
                    <a:pt x="38" y="28"/>
                    <a:pt x="38" y="29"/>
                  </a:cubicBezTo>
                  <a:cubicBezTo>
                    <a:pt x="32" y="32"/>
                    <a:pt x="43" y="52"/>
                    <a:pt x="45" y="56"/>
                  </a:cubicBezTo>
                  <a:cubicBezTo>
                    <a:pt x="48" y="62"/>
                    <a:pt x="48" y="67"/>
                    <a:pt x="43" y="71"/>
                  </a:cubicBezTo>
                  <a:cubicBezTo>
                    <a:pt x="41" y="72"/>
                    <a:pt x="39" y="73"/>
                    <a:pt x="36" y="74"/>
                  </a:cubicBezTo>
                  <a:cubicBezTo>
                    <a:pt x="36" y="74"/>
                    <a:pt x="35" y="74"/>
                    <a:pt x="34" y="74"/>
                  </a:cubicBezTo>
                  <a:cubicBezTo>
                    <a:pt x="34" y="74"/>
                    <a:pt x="33" y="74"/>
                    <a:pt x="33" y="73"/>
                  </a:cubicBezTo>
                  <a:cubicBezTo>
                    <a:pt x="31" y="73"/>
                    <a:pt x="32" y="70"/>
                    <a:pt x="31" y="68"/>
                  </a:cubicBezTo>
                  <a:cubicBezTo>
                    <a:pt x="31" y="66"/>
                    <a:pt x="30" y="65"/>
                    <a:pt x="28" y="64"/>
                  </a:cubicBezTo>
                  <a:cubicBezTo>
                    <a:pt x="27" y="63"/>
                    <a:pt x="24" y="59"/>
                    <a:pt x="23" y="57"/>
                  </a:cubicBezTo>
                  <a:cubicBezTo>
                    <a:pt x="22" y="55"/>
                    <a:pt x="24" y="53"/>
                    <a:pt x="26" y="50"/>
                  </a:cubicBezTo>
                  <a:cubicBezTo>
                    <a:pt x="27" y="47"/>
                    <a:pt x="30" y="45"/>
                    <a:pt x="32" y="42"/>
                  </a:cubicBezTo>
                  <a:cubicBezTo>
                    <a:pt x="34" y="39"/>
                    <a:pt x="33" y="37"/>
                    <a:pt x="33" y="33"/>
                  </a:cubicBezTo>
                  <a:cubicBezTo>
                    <a:pt x="33" y="32"/>
                    <a:pt x="32" y="29"/>
                    <a:pt x="31" y="28"/>
                  </a:cubicBezTo>
                  <a:cubicBezTo>
                    <a:pt x="31" y="28"/>
                    <a:pt x="32" y="28"/>
                    <a:pt x="32" y="28"/>
                  </a:cubicBezTo>
                  <a:cubicBezTo>
                    <a:pt x="33" y="28"/>
                    <a:pt x="33" y="28"/>
                    <a:pt x="34" y="28"/>
                  </a:cubicBezTo>
                  <a:cubicBezTo>
                    <a:pt x="31" y="26"/>
                    <a:pt x="29" y="24"/>
                    <a:pt x="27" y="21"/>
                  </a:cubicBezTo>
                  <a:cubicBezTo>
                    <a:pt x="27" y="20"/>
                    <a:pt x="26" y="18"/>
                    <a:pt x="26" y="17"/>
                  </a:cubicBezTo>
                  <a:cubicBezTo>
                    <a:pt x="26" y="17"/>
                    <a:pt x="25" y="18"/>
                    <a:pt x="25" y="20"/>
                  </a:cubicBezTo>
                  <a:cubicBezTo>
                    <a:pt x="24" y="21"/>
                    <a:pt x="24" y="22"/>
                    <a:pt x="23" y="23"/>
                  </a:cubicBezTo>
                  <a:cubicBezTo>
                    <a:pt x="23" y="24"/>
                    <a:pt x="22" y="24"/>
                    <a:pt x="22" y="24"/>
                  </a:cubicBezTo>
                  <a:cubicBezTo>
                    <a:pt x="21" y="26"/>
                    <a:pt x="19" y="27"/>
                    <a:pt x="17" y="27"/>
                  </a:cubicBezTo>
                  <a:cubicBezTo>
                    <a:pt x="16" y="28"/>
                    <a:pt x="16" y="28"/>
                    <a:pt x="15" y="28"/>
                  </a:cubicBezTo>
                  <a:cubicBezTo>
                    <a:pt x="14" y="29"/>
                    <a:pt x="13" y="31"/>
                    <a:pt x="12" y="33"/>
                  </a:cubicBezTo>
                  <a:cubicBezTo>
                    <a:pt x="11" y="34"/>
                    <a:pt x="11" y="34"/>
                    <a:pt x="11" y="34"/>
                  </a:cubicBezTo>
                  <a:cubicBezTo>
                    <a:pt x="11" y="35"/>
                    <a:pt x="10" y="36"/>
                    <a:pt x="9" y="37"/>
                  </a:cubicBezTo>
                  <a:cubicBezTo>
                    <a:pt x="8" y="37"/>
                    <a:pt x="8" y="37"/>
                    <a:pt x="8" y="37"/>
                  </a:cubicBezTo>
                  <a:cubicBezTo>
                    <a:pt x="8" y="37"/>
                    <a:pt x="8" y="37"/>
                    <a:pt x="8" y="37"/>
                  </a:cubicBezTo>
                  <a:cubicBezTo>
                    <a:pt x="9" y="38"/>
                    <a:pt x="9" y="38"/>
                    <a:pt x="9" y="38"/>
                  </a:cubicBezTo>
                  <a:cubicBezTo>
                    <a:pt x="8" y="39"/>
                    <a:pt x="7" y="41"/>
                    <a:pt x="7" y="42"/>
                  </a:cubicBezTo>
                  <a:cubicBezTo>
                    <a:pt x="6" y="44"/>
                    <a:pt x="6" y="46"/>
                    <a:pt x="6" y="48"/>
                  </a:cubicBezTo>
                  <a:cubicBezTo>
                    <a:pt x="6" y="48"/>
                    <a:pt x="6" y="48"/>
                    <a:pt x="6" y="48"/>
                  </a:cubicBezTo>
                  <a:cubicBezTo>
                    <a:pt x="6" y="50"/>
                    <a:pt x="5" y="51"/>
                    <a:pt x="5" y="53"/>
                  </a:cubicBezTo>
                  <a:cubicBezTo>
                    <a:pt x="5" y="54"/>
                    <a:pt x="5" y="55"/>
                    <a:pt x="4" y="56"/>
                  </a:cubicBezTo>
                  <a:cubicBezTo>
                    <a:pt x="3" y="60"/>
                    <a:pt x="2" y="63"/>
                    <a:pt x="0" y="66"/>
                  </a:cubicBezTo>
                  <a:cubicBezTo>
                    <a:pt x="0" y="66"/>
                    <a:pt x="1" y="65"/>
                    <a:pt x="1" y="65"/>
                  </a:cubicBezTo>
                  <a:cubicBezTo>
                    <a:pt x="4" y="64"/>
                    <a:pt x="4" y="64"/>
                    <a:pt x="4" y="64"/>
                  </a:cubicBezTo>
                  <a:cubicBezTo>
                    <a:pt x="5" y="67"/>
                    <a:pt x="5" y="67"/>
                    <a:pt x="5" y="67"/>
                  </a:cubicBezTo>
                  <a:cubicBezTo>
                    <a:pt x="5" y="68"/>
                    <a:pt x="5" y="68"/>
                    <a:pt x="5" y="69"/>
                  </a:cubicBezTo>
                  <a:cubicBezTo>
                    <a:pt x="5" y="69"/>
                    <a:pt x="5" y="69"/>
                    <a:pt x="5" y="69"/>
                  </a:cubicBezTo>
                  <a:cubicBezTo>
                    <a:pt x="5" y="69"/>
                    <a:pt x="5" y="69"/>
                    <a:pt x="5" y="69"/>
                  </a:cubicBezTo>
                  <a:cubicBezTo>
                    <a:pt x="6" y="69"/>
                    <a:pt x="6" y="69"/>
                    <a:pt x="6" y="69"/>
                  </a:cubicBezTo>
                  <a:cubicBezTo>
                    <a:pt x="6" y="69"/>
                    <a:pt x="6" y="69"/>
                    <a:pt x="6" y="69"/>
                  </a:cubicBezTo>
                  <a:cubicBezTo>
                    <a:pt x="7" y="69"/>
                    <a:pt x="7" y="69"/>
                    <a:pt x="7" y="69"/>
                  </a:cubicBezTo>
                  <a:cubicBezTo>
                    <a:pt x="9" y="70"/>
                    <a:pt x="9" y="71"/>
                    <a:pt x="10" y="72"/>
                  </a:cubicBezTo>
                  <a:cubicBezTo>
                    <a:pt x="11" y="74"/>
                    <a:pt x="12" y="76"/>
                    <a:pt x="13" y="79"/>
                  </a:cubicBezTo>
                  <a:cubicBezTo>
                    <a:pt x="17" y="86"/>
                    <a:pt x="17" y="86"/>
                    <a:pt x="17" y="86"/>
                  </a:cubicBezTo>
                  <a:cubicBezTo>
                    <a:pt x="18" y="89"/>
                    <a:pt x="19" y="92"/>
                    <a:pt x="19" y="96"/>
                  </a:cubicBezTo>
                  <a:cubicBezTo>
                    <a:pt x="19" y="96"/>
                    <a:pt x="19" y="96"/>
                    <a:pt x="19" y="96"/>
                  </a:cubicBezTo>
                  <a:cubicBezTo>
                    <a:pt x="19" y="97"/>
                    <a:pt x="19" y="97"/>
                    <a:pt x="19" y="97"/>
                  </a:cubicBezTo>
                  <a:cubicBezTo>
                    <a:pt x="19" y="98"/>
                    <a:pt x="19" y="99"/>
                    <a:pt x="18" y="100"/>
                  </a:cubicBezTo>
                  <a:cubicBezTo>
                    <a:pt x="17" y="102"/>
                    <a:pt x="17" y="105"/>
                    <a:pt x="17" y="108"/>
                  </a:cubicBezTo>
                  <a:cubicBezTo>
                    <a:pt x="17" y="108"/>
                    <a:pt x="18" y="109"/>
                    <a:pt x="18" y="109"/>
                  </a:cubicBezTo>
                  <a:cubicBezTo>
                    <a:pt x="18" y="109"/>
                    <a:pt x="18" y="109"/>
                    <a:pt x="19" y="109"/>
                  </a:cubicBezTo>
                  <a:cubicBezTo>
                    <a:pt x="20" y="110"/>
                    <a:pt x="23" y="110"/>
                    <a:pt x="24" y="113"/>
                  </a:cubicBezTo>
                  <a:cubicBezTo>
                    <a:pt x="24" y="113"/>
                    <a:pt x="24" y="113"/>
                    <a:pt x="24" y="113"/>
                  </a:cubicBezTo>
                  <a:cubicBezTo>
                    <a:pt x="25" y="114"/>
                    <a:pt x="25" y="114"/>
                    <a:pt x="25" y="114"/>
                  </a:cubicBezTo>
                  <a:cubicBezTo>
                    <a:pt x="25" y="115"/>
                    <a:pt x="25" y="115"/>
                    <a:pt x="26" y="116"/>
                  </a:cubicBezTo>
                  <a:cubicBezTo>
                    <a:pt x="26" y="117"/>
                    <a:pt x="27" y="118"/>
                    <a:pt x="27" y="118"/>
                  </a:cubicBezTo>
                  <a:cubicBezTo>
                    <a:pt x="27" y="118"/>
                    <a:pt x="27" y="118"/>
                    <a:pt x="27" y="118"/>
                  </a:cubicBezTo>
                  <a:cubicBezTo>
                    <a:pt x="27" y="118"/>
                    <a:pt x="27" y="118"/>
                    <a:pt x="27" y="118"/>
                  </a:cubicBezTo>
                  <a:cubicBezTo>
                    <a:pt x="27" y="118"/>
                    <a:pt x="27" y="118"/>
                    <a:pt x="27" y="118"/>
                  </a:cubicBezTo>
                  <a:cubicBezTo>
                    <a:pt x="27" y="118"/>
                    <a:pt x="27" y="118"/>
                    <a:pt x="28" y="118"/>
                  </a:cubicBezTo>
                  <a:cubicBezTo>
                    <a:pt x="30" y="118"/>
                    <a:pt x="32" y="118"/>
                    <a:pt x="33" y="118"/>
                  </a:cubicBezTo>
                  <a:cubicBezTo>
                    <a:pt x="35" y="118"/>
                    <a:pt x="36" y="118"/>
                    <a:pt x="37" y="118"/>
                  </a:cubicBezTo>
                  <a:cubicBezTo>
                    <a:pt x="38" y="118"/>
                    <a:pt x="39" y="118"/>
                    <a:pt x="39" y="118"/>
                  </a:cubicBezTo>
                  <a:cubicBezTo>
                    <a:pt x="40" y="118"/>
                    <a:pt x="40" y="118"/>
                    <a:pt x="40" y="118"/>
                  </a:cubicBezTo>
                  <a:cubicBezTo>
                    <a:pt x="41" y="119"/>
                    <a:pt x="43" y="119"/>
                    <a:pt x="44" y="119"/>
                  </a:cubicBezTo>
                  <a:cubicBezTo>
                    <a:pt x="45" y="119"/>
                    <a:pt x="45" y="119"/>
                    <a:pt x="46" y="119"/>
                  </a:cubicBezTo>
                  <a:cubicBezTo>
                    <a:pt x="46" y="119"/>
                    <a:pt x="46" y="119"/>
                    <a:pt x="46" y="119"/>
                  </a:cubicBezTo>
                  <a:cubicBezTo>
                    <a:pt x="47" y="119"/>
                    <a:pt x="49" y="118"/>
                    <a:pt x="50" y="118"/>
                  </a:cubicBezTo>
                  <a:cubicBezTo>
                    <a:pt x="52" y="117"/>
                    <a:pt x="54" y="117"/>
                    <a:pt x="56" y="117"/>
                  </a:cubicBezTo>
                  <a:cubicBezTo>
                    <a:pt x="56" y="117"/>
                    <a:pt x="56" y="117"/>
                    <a:pt x="56" y="117"/>
                  </a:cubicBezTo>
                  <a:cubicBezTo>
                    <a:pt x="59" y="117"/>
                    <a:pt x="62" y="118"/>
                    <a:pt x="65" y="118"/>
                  </a:cubicBezTo>
                  <a:cubicBezTo>
                    <a:pt x="70" y="119"/>
                    <a:pt x="71" y="121"/>
                    <a:pt x="74" y="124"/>
                  </a:cubicBezTo>
                  <a:cubicBezTo>
                    <a:pt x="75" y="125"/>
                    <a:pt x="76" y="126"/>
                    <a:pt x="76" y="127"/>
                  </a:cubicBezTo>
                  <a:cubicBezTo>
                    <a:pt x="77" y="128"/>
                    <a:pt x="77" y="128"/>
                    <a:pt x="77" y="128"/>
                  </a:cubicBezTo>
                  <a:cubicBezTo>
                    <a:pt x="78" y="129"/>
                    <a:pt x="78" y="130"/>
                    <a:pt x="79" y="131"/>
                  </a:cubicBezTo>
                  <a:cubicBezTo>
                    <a:pt x="82" y="136"/>
                    <a:pt x="85" y="139"/>
                    <a:pt x="86" y="139"/>
                  </a:cubicBezTo>
                  <a:cubicBezTo>
                    <a:pt x="86" y="139"/>
                    <a:pt x="86" y="139"/>
                    <a:pt x="86" y="139"/>
                  </a:cubicBezTo>
                  <a:cubicBezTo>
                    <a:pt x="86" y="139"/>
                    <a:pt x="86" y="139"/>
                    <a:pt x="86" y="139"/>
                  </a:cubicBezTo>
                  <a:cubicBezTo>
                    <a:pt x="87" y="139"/>
                    <a:pt x="91" y="139"/>
                    <a:pt x="92" y="139"/>
                  </a:cubicBezTo>
                  <a:cubicBezTo>
                    <a:pt x="92" y="138"/>
                    <a:pt x="92" y="138"/>
                    <a:pt x="92" y="138"/>
                  </a:cubicBezTo>
                  <a:cubicBezTo>
                    <a:pt x="93" y="138"/>
                    <a:pt x="94" y="138"/>
                    <a:pt x="94" y="138"/>
                  </a:cubicBezTo>
                  <a:cubicBezTo>
                    <a:pt x="97" y="138"/>
                    <a:pt x="99" y="137"/>
                    <a:pt x="102" y="137"/>
                  </a:cubicBezTo>
                  <a:cubicBezTo>
                    <a:pt x="105" y="137"/>
                    <a:pt x="105" y="137"/>
                    <a:pt x="105" y="137"/>
                  </a:cubicBezTo>
                  <a:cubicBezTo>
                    <a:pt x="106" y="137"/>
                    <a:pt x="107" y="136"/>
                    <a:pt x="109" y="136"/>
                  </a:cubicBezTo>
                  <a:cubicBezTo>
                    <a:pt x="110" y="136"/>
                    <a:pt x="110" y="136"/>
                    <a:pt x="110" y="136"/>
                  </a:cubicBezTo>
                  <a:cubicBezTo>
                    <a:pt x="113" y="135"/>
                    <a:pt x="117" y="135"/>
                    <a:pt x="121" y="135"/>
                  </a:cubicBezTo>
                  <a:cubicBezTo>
                    <a:pt x="122" y="135"/>
                    <a:pt x="122" y="135"/>
                    <a:pt x="123" y="135"/>
                  </a:cubicBezTo>
                  <a:cubicBezTo>
                    <a:pt x="131" y="136"/>
                    <a:pt x="133" y="139"/>
                    <a:pt x="134" y="142"/>
                  </a:cubicBezTo>
                  <a:cubicBezTo>
                    <a:pt x="134" y="144"/>
                    <a:pt x="134" y="146"/>
                    <a:pt x="133" y="149"/>
                  </a:cubicBezTo>
                  <a:cubicBezTo>
                    <a:pt x="132" y="151"/>
                    <a:pt x="130" y="153"/>
                    <a:pt x="130" y="154"/>
                  </a:cubicBezTo>
                  <a:cubicBezTo>
                    <a:pt x="129" y="154"/>
                    <a:pt x="129" y="154"/>
                    <a:pt x="129" y="154"/>
                  </a:cubicBezTo>
                  <a:cubicBezTo>
                    <a:pt x="129" y="155"/>
                    <a:pt x="129" y="155"/>
                    <a:pt x="128" y="155"/>
                  </a:cubicBezTo>
                  <a:cubicBezTo>
                    <a:pt x="128" y="156"/>
                    <a:pt x="128" y="156"/>
                    <a:pt x="127" y="157"/>
                  </a:cubicBezTo>
                  <a:cubicBezTo>
                    <a:pt x="127" y="157"/>
                    <a:pt x="127" y="157"/>
                    <a:pt x="127" y="157"/>
                  </a:cubicBezTo>
                  <a:cubicBezTo>
                    <a:pt x="126" y="159"/>
                    <a:pt x="125" y="160"/>
                    <a:pt x="125" y="161"/>
                  </a:cubicBezTo>
                  <a:cubicBezTo>
                    <a:pt x="125" y="163"/>
                    <a:pt x="125" y="163"/>
                    <a:pt x="125" y="163"/>
                  </a:cubicBezTo>
                  <a:cubicBezTo>
                    <a:pt x="124" y="166"/>
                    <a:pt x="124" y="168"/>
                    <a:pt x="124" y="170"/>
                  </a:cubicBezTo>
                  <a:cubicBezTo>
                    <a:pt x="124" y="171"/>
                    <a:pt x="124" y="171"/>
                    <a:pt x="124" y="171"/>
                  </a:cubicBezTo>
                  <a:cubicBezTo>
                    <a:pt x="124" y="171"/>
                    <a:pt x="124" y="172"/>
                    <a:pt x="124" y="173"/>
                  </a:cubicBezTo>
                  <a:cubicBezTo>
                    <a:pt x="282" y="173"/>
                    <a:pt x="282" y="173"/>
                    <a:pt x="282" y="173"/>
                  </a:cubicBezTo>
                  <a:cubicBezTo>
                    <a:pt x="283" y="172"/>
                    <a:pt x="284" y="171"/>
                    <a:pt x="285" y="170"/>
                  </a:cubicBezTo>
                  <a:cubicBezTo>
                    <a:pt x="281" y="167"/>
                    <a:pt x="281" y="167"/>
                    <a:pt x="281" y="167"/>
                  </a:cubicBezTo>
                  <a:cubicBezTo>
                    <a:pt x="286" y="169"/>
                    <a:pt x="286" y="169"/>
                    <a:pt x="286" y="169"/>
                  </a:cubicBezTo>
                  <a:cubicBezTo>
                    <a:pt x="286" y="169"/>
                    <a:pt x="286" y="169"/>
                    <a:pt x="286" y="169"/>
                  </a:cubicBezTo>
                  <a:cubicBezTo>
                    <a:pt x="286" y="168"/>
                    <a:pt x="286" y="168"/>
                    <a:pt x="286" y="168"/>
                  </a:cubicBezTo>
                  <a:cubicBezTo>
                    <a:pt x="286" y="168"/>
                    <a:pt x="286" y="168"/>
                    <a:pt x="286" y="168"/>
                  </a:cubicBezTo>
                  <a:cubicBezTo>
                    <a:pt x="286" y="167"/>
                    <a:pt x="286" y="167"/>
                    <a:pt x="286" y="167"/>
                  </a:cubicBezTo>
                  <a:cubicBezTo>
                    <a:pt x="286" y="166"/>
                    <a:pt x="286" y="166"/>
                    <a:pt x="286" y="166"/>
                  </a:cubicBezTo>
                  <a:cubicBezTo>
                    <a:pt x="285" y="166"/>
                    <a:pt x="285" y="166"/>
                    <a:pt x="285" y="166"/>
                  </a:cubicBezTo>
                  <a:cubicBezTo>
                    <a:pt x="284" y="165"/>
                    <a:pt x="284" y="165"/>
                    <a:pt x="284" y="165"/>
                  </a:cubicBezTo>
                  <a:cubicBezTo>
                    <a:pt x="283" y="164"/>
                    <a:pt x="282" y="162"/>
                    <a:pt x="281" y="161"/>
                  </a:cubicBezTo>
                  <a:cubicBezTo>
                    <a:pt x="280" y="161"/>
                    <a:pt x="280" y="161"/>
                    <a:pt x="280" y="161"/>
                  </a:cubicBezTo>
                  <a:cubicBezTo>
                    <a:pt x="280" y="160"/>
                    <a:pt x="280" y="160"/>
                    <a:pt x="279" y="159"/>
                  </a:cubicBezTo>
                  <a:cubicBezTo>
                    <a:pt x="270" y="149"/>
                    <a:pt x="270" y="149"/>
                    <a:pt x="270" y="149"/>
                  </a:cubicBezTo>
                  <a:cubicBezTo>
                    <a:pt x="269" y="148"/>
                    <a:pt x="269" y="146"/>
                    <a:pt x="269" y="144"/>
                  </a:cubicBezTo>
                  <a:cubicBezTo>
                    <a:pt x="270" y="144"/>
                    <a:pt x="270" y="144"/>
                    <a:pt x="270" y="144"/>
                  </a:cubicBezTo>
                  <a:cubicBezTo>
                    <a:pt x="271" y="143"/>
                    <a:pt x="272" y="142"/>
                    <a:pt x="273" y="141"/>
                  </a:cubicBezTo>
                  <a:cubicBezTo>
                    <a:pt x="273" y="140"/>
                    <a:pt x="274" y="140"/>
                    <a:pt x="275" y="139"/>
                  </a:cubicBezTo>
                  <a:cubicBezTo>
                    <a:pt x="275" y="139"/>
                    <a:pt x="275" y="139"/>
                    <a:pt x="275" y="139"/>
                  </a:cubicBezTo>
                  <a:cubicBezTo>
                    <a:pt x="275" y="138"/>
                    <a:pt x="275" y="138"/>
                    <a:pt x="275" y="138"/>
                  </a:cubicBezTo>
                  <a:cubicBezTo>
                    <a:pt x="274" y="137"/>
                    <a:pt x="274" y="136"/>
                    <a:pt x="274" y="134"/>
                  </a:cubicBezTo>
                  <a:cubicBezTo>
                    <a:pt x="274" y="134"/>
                    <a:pt x="274" y="134"/>
                    <a:pt x="274" y="134"/>
                  </a:cubicBezTo>
                  <a:cubicBezTo>
                    <a:pt x="274" y="133"/>
                    <a:pt x="274" y="133"/>
                    <a:pt x="274" y="133"/>
                  </a:cubicBezTo>
                  <a:cubicBezTo>
                    <a:pt x="274" y="131"/>
                    <a:pt x="274" y="128"/>
                    <a:pt x="276" y="126"/>
                  </a:cubicBezTo>
                  <a:cubicBezTo>
                    <a:pt x="276" y="125"/>
                    <a:pt x="276" y="125"/>
                    <a:pt x="276" y="125"/>
                  </a:cubicBezTo>
                  <a:cubicBezTo>
                    <a:pt x="279" y="125"/>
                    <a:pt x="279" y="125"/>
                    <a:pt x="279" y="125"/>
                  </a:cubicBezTo>
                  <a:cubicBezTo>
                    <a:pt x="279" y="125"/>
                    <a:pt x="279" y="125"/>
                    <a:pt x="279" y="125"/>
                  </a:cubicBezTo>
                  <a:cubicBezTo>
                    <a:pt x="279" y="125"/>
                    <a:pt x="279" y="125"/>
                    <a:pt x="279" y="125"/>
                  </a:cubicBezTo>
                  <a:cubicBezTo>
                    <a:pt x="280" y="124"/>
                    <a:pt x="281" y="124"/>
                    <a:pt x="283" y="123"/>
                  </a:cubicBezTo>
                  <a:cubicBezTo>
                    <a:pt x="283" y="123"/>
                    <a:pt x="283" y="123"/>
                    <a:pt x="283" y="123"/>
                  </a:cubicBezTo>
                  <a:cubicBezTo>
                    <a:pt x="284" y="123"/>
                    <a:pt x="284" y="123"/>
                    <a:pt x="285" y="124"/>
                  </a:cubicBezTo>
                  <a:cubicBezTo>
                    <a:pt x="286" y="124"/>
                    <a:pt x="286" y="124"/>
                    <a:pt x="286" y="124"/>
                  </a:cubicBezTo>
                  <a:cubicBezTo>
                    <a:pt x="286" y="124"/>
                    <a:pt x="286" y="124"/>
                    <a:pt x="286" y="124"/>
                  </a:cubicBezTo>
                  <a:cubicBezTo>
                    <a:pt x="286" y="124"/>
                    <a:pt x="286" y="124"/>
                    <a:pt x="286" y="124"/>
                  </a:cubicBezTo>
                  <a:cubicBezTo>
                    <a:pt x="287" y="123"/>
                    <a:pt x="288" y="123"/>
                    <a:pt x="289" y="123"/>
                  </a:cubicBezTo>
                  <a:cubicBezTo>
                    <a:pt x="291" y="122"/>
                    <a:pt x="291" y="122"/>
                    <a:pt x="291" y="122"/>
                  </a:cubicBezTo>
                  <a:cubicBezTo>
                    <a:pt x="292" y="121"/>
                    <a:pt x="292" y="121"/>
                    <a:pt x="293" y="121"/>
                  </a:cubicBezTo>
                  <a:cubicBezTo>
                    <a:pt x="293" y="121"/>
                    <a:pt x="293" y="121"/>
                    <a:pt x="293" y="121"/>
                  </a:cubicBezTo>
                  <a:cubicBezTo>
                    <a:pt x="293" y="120"/>
                    <a:pt x="293" y="120"/>
                    <a:pt x="293" y="120"/>
                  </a:cubicBezTo>
                  <a:cubicBezTo>
                    <a:pt x="293" y="120"/>
                    <a:pt x="293" y="120"/>
                    <a:pt x="293" y="120"/>
                  </a:cubicBezTo>
                  <a:cubicBezTo>
                    <a:pt x="292" y="120"/>
                    <a:pt x="292" y="120"/>
                    <a:pt x="292" y="120"/>
                  </a:cubicBezTo>
                  <a:cubicBezTo>
                    <a:pt x="291" y="120"/>
                    <a:pt x="290" y="120"/>
                    <a:pt x="289" y="120"/>
                  </a:cubicBezTo>
                  <a:cubicBezTo>
                    <a:pt x="289" y="120"/>
                    <a:pt x="289" y="120"/>
                    <a:pt x="289" y="120"/>
                  </a:cubicBezTo>
                  <a:cubicBezTo>
                    <a:pt x="288" y="119"/>
                    <a:pt x="288" y="119"/>
                    <a:pt x="288" y="119"/>
                  </a:cubicBezTo>
                  <a:cubicBezTo>
                    <a:pt x="287" y="119"/>
                    <a:pt x="287" y="118"/>
                    <a:pt x="286" y="117"/>
                  </a:cubicBezTo>
                  <a:cubicBezTo>
                    <a:pt x="286" y="116"/>
                    <a:pt x="286" y="116"/>
                    <a:pt x="286" y="116"/>
                  </a:cubicBezTo>
                  <a:cubicBezTo>
                    <a:pt x="286" y="116"/>
                    <a:pt x="286" y="116"/>
                    <a:pt x="286" y="116"/>
                  </a:cubicBezTo>
                  <a:cubicBezTo>
                    <a:pt x="286" y="115"/>
                    <a:pt x="285" y="113"/>
                    <a:pt x="285" y="112"/>
                  </a:cubicBezTo>
                  <a:cubicBezTo>
                    <a:pt x="285" y="112"/>
                    <a:pt x="285" y="112"/>
                    <a:pt x="285" y="112"/>
                  </a:cubicBezTo>
                  <a:cubicBezTo>
                    <a:pt x="285" y="111"/>
                    <a:pt x="285" y="111"/>
                    <a:pt x="285" y="111"/>
                  </a:cubicBezTo>
                  <a:cubicBezTo>
                    <a:pt x="284" y="109"/>
                    <a:pt x="284" y="107"/>
                    <a:pt x="286" y="106"/>
                  </a:cubicBezTo>
                  <a:cubicBezTo>
                    <a:pt x="287" y="105"/>
                    <a:pt x="287" y="105"/>
                    <a:pt x="287" y="104"/>
                  </a:cubicBezTo>
                  <a:cubicBezTo>
                    <a:pt x="288" y="103"/>
                    <a:pt x="289" y="102"/>
                    <a:pt x="291" y="100"/>
                  </a:cubicBezTo>
                  <a:cubicBezTo>
                    <a:pt x="292" y="100"/>
                    <a:pt x="292" y="100"/>
                    <a:pt x="292" y="100"/>
                  </a:cubicBezTo>
                  <a:cubicBezTo>
                    <a:pt x="294" y="99"/>
                    <a:pt x="296" y="97"/>
                    <a:pt x="299" y="95"/>
                  </a:cubicBezTo>
                  <a:cubicBezTo>
                    <a:pt x="300" y="94"/>
                    <a:pt x="301" y="94"/>
                    <a:pt x="301" y="93"/>
                  </a:cubicBezTo>
                  <a:cubicBezTo>
                    <a:pt x="302" y="93"/>
                    <a:pt x="304" y="92"/>
                    <a:pt x="304" y="91"/>
                  </a:cubicBezTo>
                  <a:cubicBezTo>
                    <a:pt x="304" y="91"/>
                    <a:pt x="303" y="89"/>
                    <a:pt x="301" y="87"/>
                  </a:cubicBezTo>
                  <a:cubicBezTo>
                    <a:pt x="300" y="86"/>
                    <a:pt x="300" y="86"/>
                    <a:pt x="300" y="86"/>
                  </a:cubicBezTo>
                  <a:cubicBezTo>
                    <a:pt x="301" y="85"/>
                    <a:pt x="301" y="85"/>
                    <a:pt x="301" y="85"/>
                  </a:cubicBezTo>
                  <a:cubicBezTo>
                    <a:pt x="300" y="84"/>
                    <a:pt x="300" y="84"/>
                    <a:pt x="300" y="84"/>
                  </a:cubicBezTo>
                  <a:cubicBezTo>
                    <a:pt x="300" y="84"/>
                    <a:pt x="300" y="84"/>
                    <a:pt x="300" y="84"/>
                  </a:cubicBezTo>
                  <a:cubicBezTo>
                    <a:pt x="299" y="84"/>
                    <a:pt x="298" y="83"/>
                    <a:pt x="296" y="83"/>
                  </a:cubicBezTo>
                  <a:cubicBezTo>
                    <a:pt x="296" y="83"/>
                    <a:pt x="295" y="83"/>
                    <a:pt x="295" y="83"/>
                  </a:cubicBezTo>
                  <a:cubicBezTo>
                    <a:pt x="290" y="83"/>
                    <a:pt x="284" y="86"/>
                    <a:pt x="279" y="87"/>
                  </a:cubicBezTo>
                  <a:cubicBezTo>
                    <a:pt x="280" y="87"/>
                    <a:pt x="280" y="87"/>
                    <a:pt x="280" y="87"/>
                  </a:cubicBezTo>
                  <a:cubicBezTo>
                    <a:pt x="278" y="87"/>
                    <a:pt x="276" y="89"/>
                    <a:pt x="274" y="89"/>
                  </a:cubicBezTo>
                  <a:cubicBezTo>
                    <a:pt x="274" y="89"/>
                    <a:pt x="273" y="89"/>
                    <a:pt x="273" y="89"/>
                  </a:cubicBezTo>
                  <a:cubicBezTo>
                    <a:pt x="271" y="88"/>
                    <a:pt x="267" y="86"/>
                    <a:pt x="265" y="85"/>
                  </a:cubicBezTo>
                  <a:cubicBezTo>
                    <a:pt x="265" y="84"/>
                    <a:pt x="265" y="84"/>
                    <a:pt x="266" y="84"/>
                  </a:cubicBezTo>
                  <a:cubicBezTo>
                    <a:pt x="267" y="84"/>
                    <a:pt x="268" y="84"/>
                    <a:pt x="269" y="84"/>
                  </a:cubicBezTo>
                  <a:cubicBezTo>
                    <a:pt x="269" y="84"/>
                    <a:pt x="269" y="84"/>
                    <a:pt x="269" y="84"/>
                  </a:cubicBezTo>
                  <a:cubicBezTo>
                    <a:pt x="269" y="84"/>
                    <a:pt x="269" y="84"/>
                    <a:pt x="270" y="84"/>
                  </a:cubicBezTo>
                  <a:cubicBezTo>
                    <a:pt x="270" y="84"/>
                    <a:pt x="270" y="84"/>
                    <a:pt x="271" y="84"/>
                  </a:cubicBezTo>
                  <a:cubicBezTo>
                    <a:pt x="271" y="84"/>
                    <a:pt x="271" y="84"/>
                    <a:pt x="271" y="84"/>
                  </a:cubicBezTo>
                  <a:cubicBezTo>
                    <a:pt x="271" y="84"/>
                    <a:pt x="273" y="85"/>
                    <a:pt x="274" y="85"/>
                  </a:cubicBezTo>
                  <a:cubicBezTo>
                    <a:pt x="274" y="85"/>
                    <a:pt x="274" y="85"/>
                    <a:pt x="274" y="85"/>
                  </a:cubicBezTo>
                  <a:cubicBezTo>
                    <a:pt x="277" y="84"/>
                    <a:pt x="279" y="75"/>
                    <a:pt x="280" y="72"/>
                  </a:cubicBezTo>
                  <a:cubicBezTo>
                    <a:pt x="279" y="73"/>
                    <a:pt x="278" y="73"/>
                    <a:pt x="278" y="74"/>
                  </a:cubicBezTo>
                  <a:cubicBezTo>
                    <a:pt x="278" y="71"/>
                    <a:pt x="283" y="68"/>
                    <a:pt x="285" y="67"/>
                  </a:cubicBezTo>
                  <a:cubicBezTo>
                    <a:pt x="280" y="63"/>
                    <a:pt x="274" y="60"/>
                    <a:pt x="270" y="56"/>
                  </a:cubicBezTo>
                  <a:cubicBezTo>
                    <a:pt x="269" y="55"/>
                    <a:pt x="268" y="54"/>
                    <a:pt x="266" y="54"/>
                  </a:cubicBezTo>
                  <a:cubicBezTo>
                    <a:pt x="268" y="58"/>
                    <a:pt x="263" y="57"/>
                    <a:pt x="263" y="61"/>
                  </a:cubicBezTo>
                  <a:cubicBezTo>
                    <a:pt x="260" y="56"/>
                    <a:pt x="258" y="53"/>
                    <a:pt x="253" y="51"/>
                  </a:cubicBezTo>
                  <a:cubicBezTo>
                    <a:pt x="253" y="52"/>
                    <a:pt x="254" y="53"/>
                    <a:pt x="255" y="54"/>
                  </a:cubicBezTo>
                  <a:cubicBezTo>
                    <a:pt x="254" y="53"/>
                    <a:pt x="254" y="53"/>
                    <a:pt x="253" y="53"/>
                  </a:cubicBezTo>
                  <a:cubicBezTo>
                    <a:pt x="253" y="55"/>
                    <a:pt x="254" y="57"/>
                    <a:pt x="253" y="59"/>
                  </a:cubicBezTo>
                  <a:cubicBezTo>
                    <a:pt x="253" y="56"/>
                    <a:pt x="253" y="55"/>
                    <a:pt x="251" y="52"/>
                  </a:cubicBezTo>
                  <a:cubicBezTo>
                    <a:pt x="251" y="54"/>
                    <a:pt x="250" y="56"/>
                    <a:pt x="250" y="58"/>
                  </a:cubicBezTo>
                  <a:cubicBezTo>
                    <a:pt x="248" y="55"/>
                    <a:pt x="248" y="52"/>
                    <a:pt x="246" y="49"/>
                  </a:cubicBezTo>
                  <a:cubicBezTo>
                    <a:pt x="246" y="48"/>
                    <a:pt x="245" y="47"/>
                    <a:pt x="245" y="47"/>
                  </a:cubicBezTo>
                  <a:cubicBezTo>
                    <a:pt x="245" y="47"/>
                    <a:pt x="244" y="47"/>
                    <a:pt x="244" y="48"/>
                  </a:cubicBezTo>
                  <a:cubicBezTo>
                    <a:pt x="242" y="50"/>
                    <a:pt x="240" y="51"/>
                    <a:pt x="239" y="51"/>
                  </a:cubicBezTo>
                  <a:cubicBezTo>
                    <a:pt x="238" y="51"/>
                    <a:pt x="236" y="50"/>
                    <a:pt x="233" y="49"/>
                  </a:cubicBezTo>
                  <a:cubicBezTo>
                    <a:pt x="234" y="49"/>
                    <a:pt x="234" y="49"/>
                    <a:pt x="235" y="49"/>
                  </a:cubicBezTo>
                  <a:cubicBezTo>
                    <a:pt x="236" y="49"/>
                    <a:pt x="237" y="50"/>
                    <a:pt x="238" y="50"/>
                  </a:cubicBezTo>
                  <a:cubicBezTo>
                    <a:pt x="238" y="50"/>
                    <a:pt x="238" y="50"/>
                    <a:pt x="238" y="50"/>
                  </a:cubicBezTo>
                  <a:cubicBezTo>
                    <a:pt x="238" y="50"/>
                    <a:pt x="238" y="50"/>
                    <a:pt x="238" y="50"/>
                  </a:cubicBezTo>
                  <a:cubicBezTo>
                    <a:pt x="239" y="50"/>
                    <a:pt x="239" y="49"/>
                    <a:pt x="239" y="49"/>
                  </a:cubicBezTo>
                  <a:cubicBezTo>
                    <a:pt x="239" y="49"/>
                    <a:pt x="239" y="49"/>
                    <a:pt x="239" y="49"/>
                  </a:cubicBezTo>
                  <a:cubicBezTo>
                    <a:pt x="240" y="49"/>
                    <a:pt x="240" y="49"/>
                    <a:pt x="240" y="50"/>
                  </a:cubicBezTo>
                  <a:cubicBezTo>
                    <a:pt x="241" y="50"/>
                    <a:pt x="241" y="50"/>
                    <a:pt x="241" y="50"/>
                  </a:cubicBezTo>
                  <a:cubicBezTo>
                    <a:pt x="241" y="50"/>
                    <a:pt x="242" y="50"/>
                    <a:pt x="242" y="49"/>
                  </a:cubicBezTo>
                  <a:cubicBezTo>
                    <a:pt x="244" y="47"/>
                    <a:pt x="239" y="43"/>
                    <a:pt x="236" y="43"/>
                  </a:cubicBezTo>
                  <a:cubicBezTo>
                    <a:pt x="236" y="43"/>
                    <a:pt x="236" y="43"/>
                    <a:pt x="235" y="43"/>
                  </a:cubicBezTo>
                  <a:cubicBezTo>
                    <a:pt x="236" y="43"/>
                    <a:pt x="237" y="42"/>
                    <a:pt x="238" y="42"/>
                  </a:cubicBezTo>
                  <a:cubicBezTo>
                    <a:pt x="237" y="41"/>
                    <a:pt x="236" y="41"/>
                    <a:pt x="234" y="40"/>
                  </a:cubicBezTo>
                  <a:cubicBezTo>
                    <a:pt x="236" y="39"/>
                    <a:pt x="237" y="39"/>
                    <a:pt x="239" y="39"/>
                  </a:cubicBezTo>
                  <a:cubicBezTo>
                    <a:pt x="240" y="39"/>
                    <a:pt x="241" y="39"/>
                    <a:pt x="242" y="39"/>
                  </a:cubicBezTo>
                  <a:cubicBezTo>
                    <a:pt x="243" y="39"/>
                    <a:pt x="244" y="39"/>
                    <a:pt x="245" y="39"/>
                  </a:cubicBezTo>
                  <a:cubicBezTo>
                    <a:pt x="246" y="39"/>
                    <a:pt x="246" y="39"/>
                    <a:pt x="247" y="39"/>
                  </a:cubicBezTo>
                  <a:cubicBezTo>
                    <a:pt x="251" y="37"/>
                    <a:pt x="256" y="36"/>
                    <a:pt x="260" y="34"/>
                  </a:cubicBezTo>
                  <a:cubicBezTo>
                    <a:pt x="250" y="35"/>
                    <a:pt x="240" y="35"/>
                    <a:pt x="230" y="35"/>
                  </a:cubicBezTo>
                  <a:cubicBezTo>
                    <a:pt x="228" y="35"/>
                    <a:pt x="223" y="37"/>
                    <a:pt x="220" y="37"/>
                  </a:cubicBezTo>
                  <a:cubicBezTo>
                    <a:pt x="218" y="37"/>
                    <a:pt x="216" y="36"/>
                    <a:pt x="215" y="35"/>
                  </a:cubicBezTo>
                  <a:cubicBezTo>
                    <a:pt x="215" y="36"/>
                    <a:pt x="212" y="37"/>
                    <a:pt x="211" y="37"/>
                  </a:cubicBezTo>
                  <a:cubicBezTo>
                    <a:pt x="210" y="37"/>
                    <a:pt x="209" y="37"/>
                    <a:pt x="208" y="37"/>
                  </a:cubicBezTo>
                  <a:cubicBezTo>
                    <a:pt x="208" y="37"/>
                    <a:pt x="205" y="36"/>
                    <a:pt x="205" y="36"/>
                  </a:cubicBezTo>
                  <a:cubicBezTo>
                    <a:pt x="203" y="37"/>
                    <a:pt x="206" y="39"/>
                    <a:pt x="207" y="39"/>
                  </a:cubicBezTo>
                  <a:cubicBezTo>
                    <a:pt x="208" y="39"/>
                    <a:pt x="209" y="40"/>
                    <a:pt x="210" y="40"/>
                  </a:cubicBezTo>
                  <a:cubicBezTo>
                    <a:pt x="211" y="40"/>
                    <a:pt x="211" y="39"/>
                    <a:pt x="212" y="39"/>
                  </a:cubicBezTo>
                  <a:cubicBezTo>
                    <a:pt x="213" y="39"/>
                    <a:pt x="213" y="39"/>
                    <a:pt x="214" y="39"/>
                  </a:cubicBezTo>
                  <a:cubicBezTo>
                    <a:pt x="215" y="39"/>
                    <a:pt x="217" y="40"/>
                    <a:pt x="218" y="40"/>
                  </a:cubicBezTo>
                  <a:cubicBezTo>
                    <a:pt x="211" y="41"/>
                    <a:pt x="205" y="43"/>
                    <a:pt x="199" y="45"/>
                  </a:cubicBezTo>
                  <a:cubicBezTo>
                    <a:pt x="196" y="46"/>
                    <a:pt x="193" y="48"/>
                    <a:pt x="190" y="49"/>
                  </a:cubicBezTo>
                  <a:cubicBezTo>
                    <a:pt x="190" y="50"/>
                    <a:pt x="189" y="50"/>
                    <a:pt x="189" y="50"/>
                  </a:cubicBezTo>
                  <a:cubicBezTo>
                    <a:pt x="186" y="50"/>
                    <a:pt x="183" y="49"/>
                    <a:pt x="182" y="49"/>
                  </a:cubicBezTo>
                  <a:cubicBezTo>
                    <a:pt x="177" y="48"/>
                    <a:pt x="172" y="48"/>
                    <a:pt x="168" y="46"/>
                  </a:cubicBezTo>
                  <a:cubicBezTo>
                    <a:pt x="166" y="45"/>
                    <a:pt x="162" y="41"/>
                    <a:pt x="163" y="38"/>
                  </a:cubicBezTo>
                  <a:cubicBezTo>
                    <a:pt x="161" y="37"/>
                    <a:pt x="158" y="37"/>
                    <a:pt x="156" y="37"/>
                  </a:cubicBezTo>
                  <a:cubicBezTo>
                    <a:pt x="154" y="37"/>
                    <a:pt x="151" y="37"/>
                    <a:pt x="149" y="37"/>
                  </a:cubicBezTo>
                  <a:cubicBezTo>
                    <a:pt x="149" y="38"/>
                    <a:pt x="149" y="39"/>
                    <a:pt x="149" y="40"/>
                  </a:cubicBezTo>
                  <a:cubicBezTo>
                    <a:pt x="149" y="43"/>
                    <a:pt x="146" y="46"/>
                    <a:pt x="143" y="46"/>
                  </a:cubicBezTo>
                  <a:cubicBezTo>
                    <a:pt x="140" y="46"/>
                    <a:pt x="137" y="43"/>
                    <a:pt x="137" y="40"/>
                  </a:cubicBezTo>
                  <a:cubicBezTo>
                    <a:pt x="137" y="39"/>
                    <a:pt x="137" y="39"/>
                    <a:pt x="137" y="38"/>
                  </a:cubicBezTo>
                  <a:cubicBezTo>
                    <a:pt x="134" y="38"/>
                    <a:pt x="130" y="39"/>
                    <a:pt x="127" y="39"/>
                  </a:cubicBezTo>
                  <a:cubicBezTo>
                    <a:pt x="125" y="40"/>
                    <a:pt x="123" y="40"/>
                    <a:pt x="122" y="40"/>
                  </a:cubicBezTo>
                  <a:cubicBezTo>
                    <a:pt x="120" y="40"/>
                    <a:pt x="119" y="40"/>
                    <a:pt x="118" y="39"/>
                  </a:cubicBezTo>
                  <a:cubicBezTo>
                    <a:pt x="113" y="38"/>
                    <a:pt x="112" y="38"/>
                    <a:pt x="111" y="34"/>
                  </a:cubicBezTo>
                  <a:cubicBezTo>
                    <a:pt x="111" y="31"/>
                    <a:pt x="111" y="27"/>
                    <a:pt x="109" y="25"/>
                  </a:cubicBezTo>
                  <a:cubicBezTo>
                    <a:pt x="107" y="24"/>
                    <a:pt x="104" y="20"/>
                    <a:pt x="101" y="20"/>
                  </a:cubicBezTo>
                  <a:cubicBezTo>
                    <a:pt x="97" y="19"/>
                    <a:pt x="93" y="18"/>
                    <a:pt x="88" y="17"/>
                  </a:cubicBezTo>
                  <a:cubicBezTo>
                    <a:pt x="86" y="17"/>
                    <a:pt x="83" y="17"/>
                    <a:pt x="81" y="16"/>
                  </a:cubicBezTo>
                  <a:cubicBezTo>
                    <a:pt x="78" y="15"/>
                    <a:pt x="78" y="15"/>
                    <a:pt x="77" y="12"/>
                  </a:cubicBezTo>
                  <a:cubicBezTo>
                    <a:pt x="76" y="10"/>
                    <a:pt x="76" y="8"/>
                    <a:pt x="76" y="6"/>
                  </a:cubicBezTo>
                  <a:cubicBezTo>
                    <a:pt x="75" y="3"/>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0"/>
            <p:cNvSpPr/>
            <p:nvPr/>
          </p:nvSpPr>
          <p:spPr bwMode="auto">
            <a:xfrm>
              <a:off x="10587029" y="8403460"/>
              <a:ext cx="354013" cy="311150"/>
            </a:xfrm>
            <a:custGeom>
              <a:gdLst>
                <a:gd name="T0" fmla="*/ 34 w 94"/>
                <a:gd name="T1" fmla="*/ 4 h 83"/>
                <a:gd name="T2" fmla="*/ 28 w 94"/>
                <a:gd name="T3" fmla="*/ 10 h 83"/>
                <a:gd name="T4" fmla="*/ 19 w 94"/>
                <a:gd name="T5" fmla="*/ 15 h 83"/>
                <a:gd name="T6" fmla="*/ 16 w 94"/>
                <a:gd name="T7" fmla="*/ 19 h 83"/>
                <a:gd name="T8" fmla="*/ 15 w 94"/>
                <a:gd name="T9" fmla="*/ 21 h 83"/>
                <a:gd name="T10" fmla="*/ 17 w 94"/>
                <a:gd name="T11" fmla="*/ 24 h 83"/>
                <a:gd name="T12" fmla="*/ 24 w 94"/>
                <a:gd name="T13" fmla="*/ 28 h 83"/>
                <a:gd name="T14" fmla="*/ 24 w 94"/>
                <a:gd name="T15" fmla="*/ 30 h 83"/>
                <a:gd name="T16" fmla="*/ 21 w 94"/>
                <a:gd name="T17" fmla="*/ 35 h 83"/>
                <a:gd name="T18" fmla="*/ 17 w 94"/>
                <a:gd name="T19" fmla="*/ 38 h 83"/>
                <a:gd name="T20" fmla="*/ 12 w 94"/>
                <a:gd name="T21" fmla="*/ 40 h 83"/>
                <a:gd name="T22" fmla="*/ 9 w 94"/>
                <a:gd name="T23" fmla="*/ 39 h 83"/>
                <a:gd name="T24" fmla="*/ 7 w 94"/>
                <a:gd name="T25" fmla="*/ 40 h 83"/>
                <a:gd name="T26" fmla="*/ 5 w 94"/>
                <a:gd name="T27" fmla="*/ 41 h 83"/>
                <a:gd name="T28" fmla="*/ 5 w 94"/>
                <a:gd name="T29" fmla="*/ 43 h 83"/>
                <a:gd name="T30" fmla="*/ 5 w 94"/>
                <a:gd name="T31" fmla="*/ 47 h 83"/>
                <a:gd name="T32" fmla="*/ 5 w 94"/>
                <a:gd name="T33" fmla="*/ 52 h 83"/>
                <a:gd name="T34" fmla="*/ 1 w 94"/>
                <a:gd name="T35" fmla="*/ 56 h 83"/>
                <a:gd name="T36" fmla="*/ 8 w 94"/>
                <a:gd name="T37" fmla="*/ 66 h 83"/>
                <a:gd name="T38" fmla="*/ 10 w 94"/>
                <a:gd name="T39" fmla="*/ 67 h 83"/>
                <a:gd name="T40" fmla="*/ 13 w 94"/>
                <a:gd name="T41" fmla="*/ 70 h 83"/>
                <a:gd name="T42" fmla="*/ 14 w 94"/>
                <a:gd name="T43" fmla="*/ 70 h 83"/>
                <a:gd name="T44" fmla="*/ 16 w 94"/>
                <a:gd name="T45" fmla="*/ 70 h 83"/>
                <a:gd name="T46" fmla="*/ 19 w 94"/>
                <a:gd name="T47" fmla="*/ 70 h 83"/>
                <a:gd name="T48" fmla="*/ 21 w 94"/>
                <a:gd name="T49" fmla="*/ 69 h 83"/>
                <a:gd name="T50" fmla="*/ 21 w 94"/>
                <a:gd name="T51" fmla="*/ 70 h 83"/>
                <a:gd name="T52" fmla="*/ 24 w 94"/>
                <a:gd name="T53" fmla="*/ 70 h 83"/>
                <a:gd name="T54" fmla="*/ 25 w 94"/>
                <a:gd name="T55" fmla="*/ 70 h 83"/>
                <a:gd name="T56" fmla="*/ 27 w 94"/>
                <a:gd name="T57" fmla="*/ 71 h 83"/>
                <a:gd name="T58" fmla="*/ 29 w 94"/>
                <a:gd name="T59" fmla="*/ 73 h 83"/>
                <a:gd name="T60" fmla="*/ 76 w 94"/>
                <a:gd name="T61" fmla="*/ 83 h 83"/>
                <a:gd name="T62" fmla="*/ 76 w 94"/>
                <a:gd name="T63" fmla="*/ 79 h 83"/>
                <a:gd name="T64" fmla="*/ 84 w 94"/>
                <a:gd name="T65" fmla="*/ 75 h 83"/>
                <a:gd name="T66" fmla="*/ 88 w 94"/>
                <a:gd name="T67" fmla="*/ 75 h 83"/>
                <a:gd name="T68" fmla="*/ 89 w 94"/>
                <a:gd name="T69" fmla="*/ 74 h 83"/>
                <a:gd name="T70" fmla="*/ 90 w 94"/>
                <a:gd name="T71" fmla="*/ 69 h 83"/>
                <a:gd name="T72" fmla="*/ 91 w 94"/>
                <a:gd name="T73" fmla="*/ 61 h 83"/>
                <a:gd name="T74" fmla="*/ 92 w 94"/>
                <a:gd name="T75" fmla="*/ 58 h 83"/>
                <a:gd name="T76" fmla="*/ 93 w 94"/>
                <a:gd name="T77" fmla="*/ 57 h 83"/>
                <a:gd name="T78" fmla="*/ 94 w 94"/>
                <a:gd name="T79" fmla="*/ 56 h 83"/>
                <a:gd name="T80" fmla="*/ 86 w 94"/>
                <a:gd name="T81" fmla="*/ 49 h 83"/>
                <a:gd name="T82" fmla="*/ 77 w 94"/>
                <a:gd name="T83" fmla="*/ 38 h 83"/>
                <a:gd name="T84" fmla="*/ 67 w 94"/>
                <a:gd name="T85" fmla="*/ 34 h 83"/>
                <a:gd name="T86" fmla="*/ 64 w 94"/>
                <a:gd name="T87" fmla="*/ 29 h 83"/>
                <a:gd name="T88" fmla="*/ 45 w 94"/>
                <a:gd name="T89" fmla="*/ 5 h 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83">
                  <a:moveTo>
                    <a:pt x="35" y="0"/>
                  </a:moveTo>
                  <a:cubicBezTo>
                    <a:pt x="35" y="2"/>
                    <a:pt x="35" y="3"/>
                    <a:pt x="34" y="4"/>
                  </a:cubicBezTo>
                  <a:cubicBezTo>
                    <a:pt x="34" y="6"/>
                    <a:pt x="32" y="7"/>
                    <a:pt x="30" y="8"/>
                  </a:cubicBezTo>
                  <a:cubicBezTo>
                    <a:pt x="29" y="9"/>
                    <a:pt x="28" y="9"/>
                    <a:pt x="28" y="10"/>
                  </a:cubicBezTo>
                  <a:cubicBezTo>
                    <a:pt x="25" y="11"/>
                    <a:pt x="23" y="13"/>
                    <a:pt x="20" y="15"/>
                  </a:cubicBezTo>
                  <a:cubicBezTo>
                    <a:pt x="19" y="15"/>
                    <a:pt x="19" y="15"/>
                    <a:pt x="19" y="15"/>
                  </a:cubicBezTo>
                  <a:cubicBezTo>
                    <a:pt x="18" y="16"/>
                    <a:pt x="18" y="16"/>
                    <a:pt x="17" y="17"/>
                  </a:cubicBezTo>
                  <a:cubicBezTo>
                    <a:pt x="17" y="18"/>
                    <a:pt x="17" y="18"/>
                    <a:pt x="16" y="19"/>
                  </a:cubicBezTo>
                  <a:cubicBezTo>
                    <a:pt x="16" y="19"/>
                    <a:pt x="16" y="20"/>
                    <a:pt x="15" y="20"/>
                  </a:cubicBezTo>
                  <a:cubicBezTo>
                    <a:pt x="15" y="21"/>
                    <a:pt x="15" y="21"/>
                    <a:pt x="15" y="21"/>
                  </a:cubicBezTo>
                  <a:cubicBezTo>
                    <a:pt x="16" y="22"/>
                    <a:pt x="16" y="23"/>
                    <a:pt x="16" y="24"/>
                  </a:cubicBezTo>
                  <a:cubicBezTo>
                    <a:pt x="17" y="24"/>
                    <a:pt x="17" y="24"/>
                    <a:pt x="17" y="24"/>
                  </a:cubicBezTo>
                  <a:cubicBezTo>
                    <a:pt x="18" y="24"/>
                    <a:pt x="18" y="24"/>
                    <a:pt x="18" y="24"/>
                  </a:cubicBezTo>
                  <a:cubicBezTo>
                    <a:pt x="20" y="25"/>
                    <a:pt x="23" y="25"/>
                    <a:pt x="24" y="28"/>
                  </a:cubicBezTo>
                  <a:cubicBezTo>
                    <a:pt x="24" y="28"/>
                    <a:pt x="24" y="28"/>
                    <a:pt x="24" y="29"/>
                  </a:cubicBezTo>
                  <a:cubicBezTo>
                    <a:pt x="24" y="30"/>
                    <a:pt x="24" y="30"/>
                    <a:pt x="24" y="30"/>
                  </a:cubicBezTo>
                  <a:cubicBezTo>
                    <a:pt x="24" y="31"/>
                    <a:pt x="24" y="33"/>
                    <a:pt x="22" y="34"/>
                  </a:cubicBezTo>
                  <a:cubicBezTo>
                    <a:pt x="22" y="35"/>
                    <a:pt x="22" y="35"/>
                    <a:pt x="21" y="35"/>
                  </a:cubicBezTo>
                  <a:cubicBezTo>
                    <a:pt x="20" y="36"/>
                    <a:pt x="19" y="37"/>
                    <a:pt x="17" y="37"/>
                  </a:cubicBezTo>
                  <a:cubicBezTo>
                    <a:pt x="17" y="38"/>
                    <a:pt x="17" y="38"/>
                    <a:pt x="17" y="38"/>
                  </a:cubicBezTo>
                  <a:cubicBezTo>
                    <a:pt x="16" y="38"/>
                    <a:pt x="15" y="39"/>
                    <a:pt x="14" y="39"/>
                  </a:cubicBezTo>
                  <a:cubicBezTo>
                    <a:pt x="13" y="39"/>
                    <a:pt x="13" y="40"/>
                    <a:pt x="12" y="40"/>
                  </a:cubicBezTo>
                  <a:cubicBezTo>
                    <a:pt x="12" y="40"/>
                    <a:pt x="12" y="40"/>
                    <a:pt x="11" y="40"/>
                  </a:cubicBezTo>
                  <a:cubicBezTo>
                    <a:pt x="10" y="40"/>
                    <a:pt x="10" y="40"/>
                    <a:pt x="9" y="39"/>
                  </a:cubicBezTo>
                  <a:cubicBezTo>
                    <a:pt x="8" y="39"/>
                    <a:pt x="8" y="39"/>
                    <a:pt x="8" y="39"/>
                  </a:cubicBezTo>
                  <a:cubicBezTo>
                    <a:pt x="7" y="40"/>
                    <a:pt x="7" y="40"/>
                    <a:pt x="7" y="40"/>
                  </a:cubicBezTo>
                  <a:cubicBezTo>
                    <a:pt x="7" y="40"/>
                    <a:pt x="6" y="40"/>
                    <a:pt x="6" y="41"/>
                  </a:cubicBezTo>
                  <a:cubicBezTo>
                    <a:pt x="6" y="41"/>
                    <a:pt x="5" y="41"/>
                    <a:pt x="5" y="41"/>
                  </a:cubicBezTo>
                  <a:cubicBezTo>
                    <a:pt x="5" y="42"/>
                    <a:pt x="5" y="42"/>
                    <a:pt x="5" y="43"/>
                  </a:cubicBezTo>
                  <a:cubicBezTo>
                    <a:pt x="5" y="43"/>
                    <a:pt x="5" y="43"/>
                    <a:pt x="5" y="43"/>
                  </a:cubicBezTo>
                  <a:cubicBezTo>
                    <a:pt x="5" y="44"/>
                    <a:pt x="5" y="44"/>
                    <a:pt x="5" y="45"/>
                  </a:cubicBezTo>
                  <a:cubicBezTo>
                    <a:pt x="5" y="46"/>
                    <a:pt x="5" y="46"/>
                    <a:pt x="5" y="47"/>
                  </a:cubicBezTo>
                  <a:cubicBezTo>
                    <a:pt x="5" y="47"/>
                    <a:pt x="5" y="48"/>
                    <a:pt x="5" y="48"/>
                  </a:cubicBezTo>
                  <a:cubicBezTo>
                    <a:pt x="6" y="49"/>
                    <a:pt x="6" y="50"/>
                    <a:pt x="5" y="52"/>
                  </a:cubicBezTo>
                  <a:cubicBezTo>
                    <a:pt x="4" y="53"/>
                    <a:pt x="3" y="54"/>
                    <a:pt x="1" y="55"/>
                  </a:cubicBezTo>
                  <a:cubicBezTo>
                    <a:pt x="1" y="56"/>
                    <a:pt x="1" y="56"/>
                    <a:pt x="1" y="56"/>
                  </a:cubicBezTo>
                  <a:cubicBezTo>
                    <a:pt x="0" y="56"/>
                    <a:pt x="0" y="56"/>
                    <a:pt x="0" y="56"/>
                  </a:cubicBezTo>
                  <a:cubicBezTo>
                    <a:pt x="8" y="66"/>
                    <a:pt x="8" y="66"/>
                    <a:pt x="8" y="66"/>
                  </a:cubicBezTo>
                  <a:cubicBezTo>
                    <a:pt x="9" y="67"/>
                    <a:pt x="9" y="67"/>
                    <a:pt x="9" y="67"/>
                  </a:cubicBezTo>
                  <a:cubicBezTo>
                    <a:pt x="10" y="67"/>
                    <a:pt x="10" y="67"/>
                    <a:pt x="10" y="67"/>
                  </a:cubicBezTo>
                  <a:cubicBezTo>
                    <a:pt x="11" y="68"/>
                    <a:pt x="12" y="69"/>
                    <a:pt x="13" y="70"/>
                  </a:cubicBezTo>
                  <a:cubicBezTo>
                    <a:pt x="13" y="70"/>
                    <a:pt x="13" y="70"/>
                    <a:pt x="13" y="70"/>
                  </a:cubicBezTo>
                  <a:cubicBezTo>
                    <a:pt x="14" y="70"/>
                    <a:pt x="14" y="70"/>
                    <a:pt x="14" y="70"/>
                  </a:cubicBezTo>
                  <a:cubicBezTo>
                    <a:pt x="14" y="70"/>
                    <a:pt x="14" y="70"/>
                    <a:pt x="14" y="70"/>
                  </a:cubicBezTo>
                  <a:cubicBezTo>
                    <a:pt x="15" y="70"/>
                    <a:pt x="15" y="70"/>
                    <a:pt x="15" y="70"/>
                  </a:cubicBezTo>
                  <a:cubicBezTo>
                    <a:pt x="16" y="70"/>
                    <a:pt x="16" y="70"/>
                    <a:pt x="16" y="70"/>
                  </a:cubicBezTo>
                  <a:cubicBezTo>
                    <a:pt x="17" y="70"/>
                    <a:pt x="17" y="70"/>
                    <a:pt x="18" y="70"/>
                  </a:cubicBezTo>
                  <a:cubicBezTo>
                    <a:pt x="19" y="70"/>
                    <a:pt x="19" y="70"/>
                    <a:pt x="19" y="70"/>
                  </a:cubicBezTo>
                  <a:cubicBezTo>
                    <a:pt x="19" y="69"/>
                    <a:pt x="20" y="69"/>
                    <a:pt x="20" y="69"/>
                  </a:cubicBezTo>
                  <a:cubicBezTo>
                    <a:pt x="21" y="69"/>
                    <a:pt x="21" y="69"/>
                    <a:pt x="21" y="69"/>
                  </a:cubicBezTo>
                  <a:cubicBezTo>
                    <a:pt x="21" y="70"/>
                    <a:pt x="21" y="70"/>
                    <a:pt x="21" y="70"/>
                  </a:cubicBezTo>
                  <a:cubicBezTo>
                    <a:pt x="21" y="70"/>
                    <a:pt x="21" y="70"/>
                    <a:pt x="21" y="70"/>
                  </a:cubicBezTo>
                  <a:cubicBezTo>
                    <a:pt x="22" y="70"/>
                    <a:pt x="22" y="70"/>
                    <a:pt x="22" y="70"/>
                  </a:cubicBezTo>
                  <a:cubicBezTo>
                    <a:pt x="23" y="70"/>
                    <a:pt x="23" y="70"/>
                    <a:pt x="24" y="70"/>
                  </a:cubicBezTo>
                  <a:cubicBezTo>
                    <a:pt x="24" y="70"/>
                    <a:pt x="24" y="70"/>
                    <a:pt x="24" y="70"/>
                  </a:cubicBezTo>
                  <a:cubicBezTo>
                    <a:pt x="25" y="70"/>
                    <a:pt x="25" y="70"/>
                    <a:pt x="25" y="70"/>
                  </a:cubicBezTo>
                  <a:cubicBezTo>
                    <a:pt x="26" y="70"/>
                    <a:pt x="26" y="70"/>
                    <a:pt x="27" y="71"/>
                  </a:cubicBezTo>
                  <a:cubicBezTo>
                    <a:pt x="27" y="71"/>
                    <a:pt x="27" y="71"/>
                    <a:pt x="27" y="71"/>
                  </a:cubicBezTo>
                  <a:cubicBezTo>
                    <a:pt x="27" y="71"/>
                    <a:pt x="27" y="71"/>
                    <a:pt x="27" y="71"/>
                  </a:cubicBezTo>
                  <a:cubicBezTo>
                    <a:pt x="28" y="72"/>
                    <a:pt x="29" y="72"/>
                    <a:pt x="29" y="73"/>
                  </a:cubicBezTo>
                  <a:cubicBezTo>
                    <a:pt x="31" y="75"/>
                    <a:pt x="32" y="78"/>
                    <a:pt x="31" y="83"/>
                  </a:cubicBezTo>
                  <a:cubicBezTo>
                    <a:pt x="76" y="83"/>
                    <a:pt x="76" y="83"/>
                    <a:pt x="76" y="83"/>
                  </a:cubicBezTo>
                  <a:cubicBezTo>
                    <a:pt x="76" y="81"/>
                    <a:pt x="76" y="81"/>
                    <a:pt x="76" y="81"/>
                  </a:cubicBezTo>
                  <a:cubicBezTo>
                    <a:pt x="76" y="81"/>
                    <a:pt x="76" y="80"/>
                    <a:pt x="76" y="79"/>
                  </a:cubicBezTo>
                  <a:cubicBezTo>
                    <a:pt x="77" y="78"/>
                    <a:pt x="79" y="76"/>
                    <a:pt x="81" y="75"/>
                  </a:cubicBezTo>
                  <a:cubicBezTo>
                    <a:pt x="82" y="75"/>
                    <a:pt x="83" y="75"/>
                    <a:pt x="84" y="75"/>
                  </a:cubicBezTo>
                  <a:cubicBezTo>
                    <a:pt x="85" y="75"/>
                    <a:pt x="86" y="75"/>
                    <a:pt x="86" y="75"/>
                  </a:cubicBezTo>
                  <a:cubicBezTo>
                    <a:pt x="87" y="75"/>
                    <a:pt x="88" y="75"/>
                    <a:pt x="88" y="75"/>
                  </a:cubicBezTo>
                  <a:cubicBezTo>
                    <a:pt x="89" y="75"/>
                    <a:pt x="89" y="75"/>
                    <a:pt x="89" y="75"/>
                  </a:cubicBezTo>
                  <a:cubicBezTo>
                    <a:pt x="89" y="75"/>
                    <a:pt x="89" y="74"/>
                    <a:pt x="89" y="74"/>
                  </a:cubicBezTo>
                  <a:cubicBezTo>
                    <a:pt x="89" y="73"/>
                    <a:pt x="89" y="73"/>
                    <a:pt x="89" y="73"/>
                  </a:cubicBezTo>
                  <a:cubicBezTo>
                    <a:pt x="89" y="72"/>
                    <a:pt x="90" y="70"/>
                    <a:pt x="90" y="69"/>
                  </a:cubicBezTo>
                  <a:cubicBezTo>
                    <a:pt x="89" y="68"/>
                    <a:pt x="89" y="68"/>
                    <a:pt x="89" y="68"/>
                  </a:cubicBezTo>
                  <a:cubicBezTo>
                    <a:pt x="89" y="66"/>
                    <a:pt x="90" y="63"/>
                    <a:pt x="91" y="61"/>
                  </a:cubicBezTo>
                  <a:cubicBezTo>
                    <a:pt x="91" y="60"/>
                    <a:pt x="91" y="59"/>
                    <a:pt x="91" y="59"/>
                  </a:cubicBezTo>
                  <a:cubicBezTo>
                    <a:pt x="92" y="58"/>
                    <a:pt x="92" y="58"/>
                    <a:pt x="92" y="58"/>
                  </a:cubicBezTo>
                  <a:cubicBezTo>
                    <a:pt x="93" y="57"/>
                    <a:pt x="93" y="57"/>
                    <a:pt x="93" y="57"/>
                  </a:cubicBezTo>
                  <a:cubicBezTo>
                    <a:pt x="93" y="57"/>
                    <a:pt x="93" y="57"/>
                    <a:pt x="93" y="57"/>
                  </a:cubicBezTo>
                  <a:cubicBezTo>
                    <a:pt x="93" y="56"/>
                    <a:pt x="93" y="56"/>
                    <a:pt x="93" y="56"/>
                  </a:cubicBezTo>
                  <a:cubicBezTo>
                    <a:pt x="94" y="56"/>
                    <a:pt x="94" y="56"/>
                    <a:pt x="94" y="56"/>
                  </a:cubicBezTo>
                  <a:cubicBezTo>
                    <a:pt x="94" y="53"/>
                    <a:pt x="93" y="51"/>
                    <a:pt x="92" y="50"/>
                  </a:cubicBezTo>
                  <a:cubicBezTo>
                    <a:pt x="91" y="49"/>
                    <a:pt x="88" y="49"/>
                    <a:pt x="86" y="49"/>
                  </a:cubicBezTo>
                  <a:cubicBezTo>
                    <a:pt x="85" y="48"/>
                    <a:pt x="84" y="47"/>
                    <a:pt x="84" y="46"/>
                  </a:cubicBezTo>
                  <a:cubicBezTo>
                    <a:pt x="82" y="43"/>
                    <a:pt x="80" y="41"/>
                    <a:pt x="77" y="38"/>
                  </a:cubicBezTo>
                  <a:cubicBezTo>
                    <a:pt x="74" y="36"/>
                    <a:pt x="72" y="36"/>
                    <a:pt x="69" y="34"/>
                  </a:cubicBezTo>
                  <a:cubicBezTo>
                    <a:pt x="68" y="34"/>
                    <a:pt x="67" y="34"/>
                    <a:pt x="67" y="34"/>
                  </a:cubicBezTo>
                  <a:cubicBezTo>
                    <a:pt x="63" y="34"/>
                    <a:pt x="62" y="43"/>
                    <a:pt x="61" y="45"/>
                  </a:cubicBezTo>
                  <a:cubicBezTo>
                    <a:pt x="59" y="40"/>
                    <a:pt x="64" y="34"/>
                    <a:pt x="64" y="29"/>
                  </a:cubicBezTo>
                  <a:cubicBezTo>
                    <a:pt x="64" y="22"/>
                    <a:pt x="59" y="18"/>
                    <a:pt x="55" y="14"/>
                  </a:cubicBezTo>
                  <a:cubicBezTo>
                    <a:pt x="52" y="10"/>
                    <a:pt x="49" y="8"/>
                    <a:pt x="45" y="5"/>
                  </a:cubicBezTo>
                  <a:cubicBezTo>
                    <a:pt x="41" y="4"/>
                    <a:pt x="38" y="2"/>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81"/>
            <p:cNvSpPr/>
            <p:nvPr/>
          </p:nvSpPr>
          <p:spPr bwMode="auto">
            <a:xfrm>
              <a:off x="10891829" y="8613010"/>
              <a:ext cx="96838" cy="101600"/>
            </a:xfrm>
            <a:custGeom>
              <a:gdLst>
                <a:gd name="T0" fmla="*/ 18 w 26"/>
                <a:gd name="T1" fmla="*/ 0 h 27"/>
                <a:gd name="T2" fmla="*/ 15 w 26"/>
                <a:gd name="T3" fmla="*/ 0 h 27"/>
                <a:gd name="T4" fmla="*/ 15 w 26"/>
                <a:gd name="T5" fmla="*/ 1 h 27"/>
                <a:gd name="T6" fmla="*/ 17 w 26"/>
                <a:gd name="T7" fmla="*/ 1 h 27"/>
                <a:gd name="T8" fmla="*/ 17 w 26"/>
                <a:gd name="T9" fmla="*/ 2 h 27"/>
                <a:gd name="T10" fmla="*/ 16 w 26"/>
                <a:gd name="T11" fmla="*/ 5 h 27"/>
                <a:gd name="T12" fmla="*/ 16 w 26"/>
                <a:gd name="T13" fmla="*/ 5 h 27"/>
                <a:gd name="T14" fmla="*/ 15 w 26"/>
                <a:gd name="T15" fmla="*/ 6 h 27"/>
                <a:gd name="T16" fmla="*/ 14 w 26"/>
                <a:gd name="T17" fmla="*/ 12 h 27"/>
                <a:gd name="T18" fmla="*/ 14 w 26"/>
                <a:gd name="T19" fmla="*/ 13 h 27"/>
                <a:gd name="T20" fmla="*/ 14 w 26"/>
                <a:gd name="T21" fmla="*/ 13 h 27"/>
                <a:gd name="T22" fmla="*/ 14 w 26"/>
                <a:gd name="T23" fmla="*/ 18 h 27"/>
                <a:gd name="T24" fmla="*/ 14 w 26"/>
                <a:gd name="T25" fmla="*/ 19 h 27"/>
                <a:gd name="T26" fmla="*/ 13 w 26"/>
                <a:gd name="T27" fmla="*/ 21 h 27"/>
                <a:gd name="T28" fmla="*/ 13 w 26"/>
                <a:gd name="T29" fmla="*/ 22 h 27"/>
                <a:gd name="T30" fmla="*/ 12 w 26"/>
                <a:gd name="T31" fmla="*/ 23 h 27"/>
                <a:gd name="T32" fmla="*/ 9 w 26"/>
                <a:gd name="T33" fmla="*/ 25 h 27"/>
                <a:gd name="T34" fmla="*/ 7 w 26"/>
                <a:gd name="T35" fmla="*/ 25 h 27"/>
                <a:gd name="T36" fmla="*/ 5 w 26"/>
                <a:gd name="T37" fmla="*/ 25 h 27"/>
                <a:gd name="T38" fmla="*/ 3 w 26"/>
                <a:gd name="T39" fmla="*/ 24 h 27"/>
                <a:gd name="T40" fmla="*/ 2 w 26"/>
                <a:gd name="T41" fmla="*/ 25 h 27"/>
                <a:gd name="T42" fmla="*/ 0 w 26"/>
                <a:gd name="T43" fmla="*/ 26 h 27"/>
                <a:gd name="T44" fmla="*/ 0 w 26"/>
                <a:gd name="T45" fmla="*/ 27 h 27"/>
                <a:gd name="T46" fmla="*/ 26 w 26"/>
                <a:gd name="T47" fmla="*/ 27 h 27"/>
                <a:gd name="T48" fmla="*/ 26 w 26"/>
                <a:gd name="T49" fmla="*/ 0 h 27"/>
                <a:gd name="T50" fmla="*/ 24 w 26"/>
                <a:gd name="T51" fmla="*/ 0 h 27"/>
                <a:gd name="T52" fmla="*/ 18 w 26"/>
                <a:gd name="T53"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27">
                  <a:moveTo>
                    <a:pt x="18" y="0"/>
                  </a:moveTo>
                  <a:cubicBezTo>
                    <a:pt x="17" y="0"/>
                    <a:pt x="16" y="0"/>
                    <a:pt x="15" y="0"/>
                  </a:cubicBezTo>
                  <a:cubicBezTo>
                    <a:pt x="15" y="1"/>
                    <a:pt x="15" y="1"/>
                    <a:pt x="15" y="1"/>
                  </a:cubicBezTo>
                  <a:cubicBezTo>
                    <a:pt x="17" y="1"/>
                    <a:pt x="17" y="1"/>
                    <a:pt x="17" y="1"/>
                  </a:cubicBezTo>
                  <a:cubicBezTo>
                    <a:pt x="17" y="2"/>
                    <a:pt x="17" y="2"/>
                    <a:pt x="17" y="2"/>
                  </a:cubicBezTo>
                  <a:cubicBezTo>
                    <a:pt x="17" y="3"/>
                    <a:pt x="16" y="4"/>
                    <a:pt x="16" y="5"/>
                  </a:cubicBezTo>
                  <a:cubicBezTo>
                    <a:pt x="16" y="5"/>
                    <a:pt x="16" y="5"/>
                    <a:pt x="16" y="5"/>
                  </a:cubicBezTo>
                  <a:cubicBezTo>
                    <a:pt x="16" y="6"/>
                    <a:pt x="15" y="6"/>
                    <a:pt x="15" y="6"/>
                  </a:cubicBezTo>
                  <a:cubicBezTo>
                    <a:pt x="15" y="8"/>
                    <a:pt x="14" y="10"/>
                    <a:pt x="14" y="12"/>
                  </a:cubicBezTo>
                  <a:cubicBezTo>
                    <a:pt x="14" y="13"/>
                    <a:pt x="14" y="13"/>
                    <a:pt x="14" y="13"/>
                  </a:cubicBezTo>
                  <a:cubicBezTo>
                    <a:pt x="14" y="13"/>
                    <a:pt x="14" y="13"/>
                    <a:pt x="14" y="13"/>
                  </a:cubicBezTo>
                  <a:cubicBezTo>
                    <a:pt x="14" y="15"/>
                    <a:pt x="14" y="17"/>
                    <a:pt x="14" y="18"/>
                  </a:cubicBezTo>
                  <a:cubicBezTo>
                    <a:pt x="14" y="19"/>
                    <a:pt x="14" y="19"/>
                    <a:pt x="14" y="19"/>
                  </a:cubicBezTo>
                  <a:cubicBezTo>
                    <a:pt x="14" y="19"/>
                    <a:pt x="13" y="20"/>
                    <a:pt x="13" y="21"/>
                  </a:cubicBezTo>
                  <a:cubicBezTo>
                    <a:pt x="13" y="22"/>
                    <a:pt x="13" y="22"/>
                    <a:pt x="13" y="22"/>
                  </a:cubicBezTo>
                  <a:cubicBezTo>
                    <a:pt x="12" y="23"/>
                    <a:pt x="12" y="23"/>
                    <a:pt x="12" y="23"/>
                  </a:cubicBezTo>
                  <a:cubicBezTo>
                    <a:pt x="12" y="24"/>
                    <a:pt x="10" y="25"/>
                    <a:pt x="9" y="25"/>
                  </a:cubicBezTo>
                  <a:cubicBezTo>
                    <a:pt x="8" y="25"/>
                    <a:pt x="8" y="25"/>
                    <a:pt x="7" y="25"/>
                  </a:cubicBezTo>
                  <a:cubicBezTo>
                    <a:pt x="6" y="25"/>
                    <a:pt x="5" y="25"/>
                    <a:pt x="5" y="25"/>
                  </a:cubicBezTo>
                  <a:cubicBezTo>
                    <a:pt x="4" y="25"/>
                    <a:pt x="3" y="25"/>
                    <a:pt x="3" y="24"/>
                  </a:cubicBezTo>
                  <a:cubicBezTo>
                    <a:pt x="2" y="25"/>
                    <a:pt x="2" y="25"/>
                    <a:pt x="2" y="25"/>
                  </a:cubicBezTo>
                  <a:cubicBezTo>
                    <a:pt x="1" y="25"/>
                    <a:pt x="1" y="25"/>
                    <a:pt x="0" y="26"/>
                  </a:cubicBezTo>
                  <a:cubicBezTo>
                    <a:pt x="0" y="27"/>
                    <a:pt x="0" y="27"/>
                    <a:pt x="0" y="27"/>
                  </a:cubicBezTo>
                  <a:cubicBezTo>
                    <a:pt x="26" y="27"/>
                    <a:pt x="26" y="27"/>
                    <a:pt x="26" y="27"/>
                  </a:cubicBezTo>
                  <a:cubicBezTo>
                    <a:pt x="26" y="0"/>
                    <a:pt x="26" y="0"/>
                    <a:pt x="26" y="0"/>
                  </a:cubicBezTo>
                  <a:cubicBezTo>
                    <a:pt x="26" y="0"/>
                    <a:pt x="25" y="0"/>
                    <a:pt x="24" y="0"/>
                  </a:cubicBezTo>
                  <a:cubicBezTo>
                    <a:pt x="23"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5"/>
            <p:cNvSpPr>
              <a:spLocks noEditPoints="1"/>
            </p:cNvSpPr>
            <p:nvPr/>
          </p:nvSpPr>
          <p:spPr bwMode="auto">
            <a:xfrm>
              <a:off x="3648399" y="1406918"/>
              <a:ext cx="7340600" cy="3843338"/>
            </a:xfrm>
            <a:custGeom>
              <a:gdLst>
                <a:gd name="T0" fmla="*/ 1866 w 1955"/>
                <a:gd name="T1" fmla="*/ 627 h 1022"/>
                <a:gd name="T2" fmla="*/ 1798 w 1955"/>
                <a:gd name="T3" fmla="*/ 492 h 1022"/>
                <a:gd name="T4" fmla="*/ 1752 w 1955"/>
                <a:gd name="T5" fmla="*/ 470 h 1022"/>
                <a:gd name="T6" fmla="*/ 1748 w 1955"/>
                <a:gd name="T7" fmla="*/ 488 h 1022"/>
                <a:gd name="T8" fmla="*/ 1736 w 1955"/>
                <a:gd name="T9" fmla="*/ 508 h 1022"/>
                <a:gd name="T10" fmla="*/ 1731 w 1955"/>
                <a:gd name="T11" fmla="*/ 505 h 1022"/>
                <a:gd name="T12" fmla="*/ 1694 w 1955"/>
                <a:gd name="T13" fmla="*/ 524 h 1022"/>
                <a:gd name="T14" fmla="*/ 1670 w 1955"/>
                <a:gd name="T15" fmla="*/ 534 h 1022"/>
                <a:gd name="T16" fmla="*/ 1681 w 1955"/>
                <a:gd name="T17" fmla="*/ 505 h 1022"/>
                <a:gd name="T18" fmla="*/ 1647 w 1955"/>
                <a:gd name="T19" fmla="*/ 503 h 1022"/>
                <a:gd name="T20" fmla="*/ 1662 w 1955"/>
                <a:gd name="T21" fmla="*/ 490 h 1022"/>
                <a:gd name="T22" fmla="*/ 1657 w 1955"/>
                <a:gd name="T23" fmla="*/ 431 h 1022"/>
                <a:gd name="T24" fmla="*/ 1456 w 1955"/>
                <a:gd name="T25" fmla="*/ 383 h 1022"/>
                <a:gd name="T26" fmla="*/ 1466 w 1955"/>
                <a:gd name="T27" fmla="*/ 475 h 1022"/>
                <a:gd name="T28" fmla="*/ 1449 w 1955"/>
                <a:gd name="T29" fmla="*/ 500 h 1022"/>
                <a:gd name="T30" fmla="*/ 1473 w 1955"/>
                <a:gd name="T31" fmla="*/ 528 h 1022"/>
                <a:gd name="T32" fmla="*/ 1492 w 1955"/>
                <a:gd name="T33" fmla="*/ 590 h 1022"/>
                <a:gd name="T34" fmla="*/ 1434 w 1955"/>
                <a:gd name="T35" fmla="*/ 658 h 1022"/>
                <a:gd name="T36" fmla="*/ 1438 w 1955"/>
                <a:gd name="T37" fmla="*/ 695 h 1022"/>
                <a:gd name="T38" fmla="*/ 1438 w 1955"/>
                <a:gd name="T39" fmla="*/ 748 h 1022"/>
                <a:gd name="T40" fmla="*/ 1394 w 1955"/>
                <a:gd name="T41" fmla="*/ 753 h 1022"/>
                <a:gd name="T42" fmla="*/ 1384 w 1955"/>
                <a:gd name="T43" fmla="*/ 724 h 1022"/>
                <a:gd name="T44" fmla="*/ 1359 w 1955"/>
                <a:gd name="T45" fmla="*/ 660 h 1022"/>
                <a:gd name="T46" fmla="*/ 1298 w 1955"/>
                <a:gd name="T47" fmla="*/ 622 h 1022"/>
                <a:gd name="T48" fmla="*/ 1228 w 1955"/>
                <a:gd name="T49" fmla="*/ 585 h 1022"/>
                <a:gd name="T50" fmla="*/ 1124 w 1955"/>
                <a:gd name="T51" fmla="*/ 328 h 1022"/>
                <a:gd name="T52" fmla="*/ 1303 w 1955"/>
                <a:gd name="T53" fmla="*/ 250 h 1022"/>
                <a:gd name="T54" fmla="*/ 1286 w 1955"/>
                <a:gd name="T55" fmla="*/ 109 h 1022"/>
                <a:gd name="T56" fmla="*/ 1135 w 1955"/>
                <a:gd name="T57" fmla="*/ 84 h 1022"/>
                <a:gd name="T58" fmla="*/ 1081 w 1955"/>
                <a:gd name="T59" fmla="*/ 122 h 1022"/>
                <a:gd name="T60" fmla="*/ 950 w 1955"/>
                <a:gd name="T61" fmla="*/ 175 h 1022"/>
                <a:gd name="T62" fmla="*/ 740 w 1955"/>
                <a:gd name="T63" fmla="*/ 184 h 1022"/>
                <a:gd name="T64" fmla="*/ 268 w 1955"/>
                <a:gd name="T65" fmla="*/ 93 h 1022"/>
                <a:gd name="T66" fmla="*/ 138 w 1955"/>
                <a:gd name="T67" fmla="*/ 95 h 1022"/>
                <a:gd name="T68" fmla="*/ 131 w 1955"/>
                <a:gd name="T69" fmla="*/ 475 h 1022"/>
                <a:gd name="T70" fmla="*/ 246 w 1955"/>
                <a:gd name="T71" fmla="*/ 655 h 1022"/>
                <a:gd name="T72" fmla="*/ 288 w 1955"/>
                <a:gd name="T73" fmla="*/ 701 h 1022"/>
                <a:gd name="T74" fmla="*/ 312 w 1955"/>
                <a:gd name="T75" fmla="*/ 737 h 1022"/>
                <a:gd name="T76" fmla="*/ 383 w 1955"/>
                <a:gd name="T77" fmla="*/ 772 h 1022"/>
                <a:gd name="T78" fmla="*/ 1140 w 1955"/>
                <a:gd name="T79" fmla="*/ 838 h 1022"/>
                <a:gd name="T80" fmla="*/ 1207 w 1955"/>
                <a:gd name="T81" fmla="*/ 831 h 1022"/>
                <a:gd name="T82" fmla="*/ 1218 w 1955"/>
                <a:gd name="T83" fmla="*/ 823 h 1022"/>
                <a:gd name="T84" fmla="*/ 1224 w 1955"/>
                <a:gd name="T85" fmla="*/ 818 h 1022"/>
                <a:gd name="T86" fmla="*/ 1271 w 1955"/>
                <a:gd name="T87" fmla="*/ 841 h 1022"/>
                <a:gd name="T88" fmla="*/ 1306 w 1955"/>
                <a:gd name="T89" fmla="*/ 867 h 1022"/>
                <a:gd name="T90" fmla="*/ 1318 w 1955"/>
                <a:gd name="T91" fmla="*/ 896 h 1022"/>
                <a:gd name="T92" fmla="*/ 1382 w 1955"/>
                <a:gd name="T93" fmla="*/ 907 h 1022"/>
                <a:gd name="T94" fmla="*/ 1400 w 1955"/>
                <a:gd name="T95" fmla="*/ 946 h 1022"/>
                <a:gd name="T96" fmla="*/ 1379 w 1955"/>
                <a:gd name="T97" fmla="*/ 933 h 1022"/>
                <a:gd name="T98" fmla="*/ 1356 w 1955"/>
                <a:gd name="T99" fmla="*/ 992 h 1022"/>
                <a:gd name="T100" fmla="*/ 1421 w 1955"/>
                <a:gd name="T101" fmla="*/ 977 h 1022"/>
                <a:gd name="T102" fmla="*/ 1667 w 1955"/>
                <a:gd name="T103" fmla="*/ 861 h 1022"/>
                <a:gd name="T104" fmla="*/ 1765 w 1955"/>
                <a:gd name="T105" fmla="*/ 875 h 1022"/>
                <a:gd name="T106" fmla="*/ 1779 w 1955"/>
                <a:gd name="T107" fmla="*/ 832 h 1022"/>
                <a:gd name="T108" fmla="*/ 1707 w 1955"/>
                <a:gd name="T109" fmla="*/ 820 h 1022"/>
                <a:gd name="T110" fmla="*/ 1642 w 1955"/>
                <a:gd name="T111" fmla="*/ 857 h 1022"/>
                <a:gd name="T112" fmla="*/ 1620 w 1955"/>
                <a:gd name="T113" fmla="*/ 834 h 1022"/>
                <a:gd name="T114" fmla="*/ 1672 w 1955"/>
                <a:gd name="T115" fmla="*/ 821 h 1022"/>
                <a:gd name="T116" fmla="*/ 1735 w 1955"/>
                <a:gd name="T117" fmla="*/ 782 h 1022"/>
                <a:gd name="T118" fmla="*/ 1912 w 1955"/>
                <a:gd name="T119" fmla="*/ 804 h 1022"/>
                <a:gd name="T120" fmla="*/ 466 w 1955"/>
                <a:gd name="T121" fmla="*/ 277 h 1022"/>
                <a:gd name="T122" fmla="*/ 707 w 1955"/>
                <a:gd name="T123" fmla="*/ 374 h 1022"/>
                <a:gd name="T124" fmla="*/ 1034 w 1955"/>
                <a:gd name="T125" fmla="*/ 768 h 10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54" h="1022">
                  <a:moveTo>
                    <a:pt x="1952" y="846"/>
                  </a:moveTo>
                  <a:cubicBezTo>
                    <a:pt x="1953" y="846"/>
                    <a:pt x="1954" y="846"/>
                    <a:pt x="1955" y="846"/>
                  </a:cubicBezTo>
                  <a:cubicBezTo>
                    <a:pt x="1955" y="781"/>
                    <a:pt x="1955" y="781"/>
                    <a:pt x="1955" y="781"/>
                  </a:cubicBezTo>
                  <a:cubicBezTo>
                    <a:pt x="1953" y="783"/>
                    <a:pt x="1951" y="788"/>
                    <a:pt x="1950" y="789"/>
                  </a:cubicBezTo>
                  <a:cubicBezTo>
                    <a:pt x="1950" y="787"/>
                    <a:pt x="1950" y="786"/>
                    <a:pt x="1950" y="784"/>
                  </a:cubicBezTo>
                  <a:cubicBezTo>
                    <a:pt x="1950" y="784"/>
                    <a:pt x="1949" y="783"/>
                    <a:pt x="1948" y="783"/>
                  </a:cubicBezTo>
                  <a:cubicBezTo>
                    <a:pt x="1949" y="781"/>
                    <a:pt x="1950" y="778"/>
                    <a:pt x="1951" y="776"/>
                  </a:cubicBezTo>
                  <a:cubicBezTo>
                    <a:pt x="1952" y="774"/>
                    <a:pt x="1952" y="773"/>
                    <a:pt x="1953" y="772"/>
                  </a:cubicBezTo>
                  <a:cubicBezTo>
                    <a:pt x="1954" y="771"/>
                    <a:pt x="1955" y="769"/>
                    <a:pt x="1955" y="768"/>
                  </a:cubicBezTo>
                  <a:cubicBezTo>
                    <a:pt x="1955" y="674"/>
                    <a:pt x="1955" y="674"/>
                    <a:pt x="1955" y="674"/>
                  </a:cubicBezTo>
                  <a:cubicBezTo>
                    <a:pt x="1955" y="674"/>
                    <a:pt x="1954" y="674"/>
                    <a:pt x="1953" y="674"/>
                  </a:cubicBezTo>
                  <a:cubicBezTo>
                    <a:pt x="1953" y="674"/>
                    <a:pt x="1954" y="674"/>
                    <a:pt x="1955" y="673"/>
                  </a:cubicBezTo>
                  <a:cubicBezTo>
                    <a:pt x="1955" y="671"/>
                    <a:pt x="1955" y="671"/>
                    <a:pt x="1955" y="671"/>
                  </a:cubicBezTo>
                  <a:cubicBezTo>
                    <a:pt x="1955" y="671"/>
                    <a:pt x="1955" y="671"/>
                    <a:pt x="1955" y="671"/>
                  </a:cubicBezTo>
                  <a:cubicBezTo>
                    <a:pt x="1955" y="672"/>
                    <a:pt x="1955" y="672"/>
                    <a:pt x="1955" y="673"/>
                  </a:cubicBezTo>
                  <a:cubicBezTo>
                    <a:pt x="1952" y="672"/>
                    <a:pt x="1948" y="671"/>
                    <a:pt x="1945" y="674"/>
                  </a:cubicBezTo>
                  <a:cubicBezTo>
                    <a:pt x="1943" y="675"/>
                    <a:pt x="1943" y="677"/>
                    <a:pt x="1942" y="678"/>
                  </a:cubicBezTo>
                  <a:cubicBezTo>
                    <a:pt x="1941" y="680"/>
                    <a:pt x="1939" y="682"/>
                    <a:pt x="1938" y="681"/>
                  </a:cubicBezTo>
                  <a:cubicBezTo>
                    <a:pt x="1939" y="678"/>
                    <a:pt x="1939" y="674"/>
                    <a:pt x="1934" y="677"/>
                  </a:cubicBezTo>
                  <a:cubicBezTo>
                    <a:pt x="1935" y="675"/>
                    <a:pt x="1938" y="674"/>
                    <a:pt x="1940" y="673"/>
                  </a:cubicBezTo>
                  <a:cubicBezTo>
                    <a:pt x="1941" y="673"/>
                    <a:pt x="1943" y="672"/>
                    <a:pt x="1943" y="672"/>
                  </a:cubicBezTo>
                  <a:cubicBezTo>
                    <a:pt x="1944" y="671"/>
                    <a:pt x="1943" y="670"/>
                    <a:pt x="1944" y="669"/>
                  </a:cubicBezTo>
                  <a:cubicBezTo>
                    <a:pt x="1944" y="668"/>
                    <a:pt x="1943" y="667"/>
                    <a:pt x="1942" y="666"/>
                  </a:cubicBezTo>
                  <a:cubicBezTo>
                    <a:pt x="1942" y="665"/>
                    <a:pt x="1943" y="666"/>
                    <a:pt x="1943" y="665"/>
                  </a:cubicBezTo>
                  <a:cubicBezTo>
                    <a:pt x="1939" y="662"/>
                    <a:pt x="1934" y="658"/>
                    <a:pt x="1929" y="657"/>
                  </a:cubicBezTo>
                  <a:cubicBezTo>
                    <a:pt x="1927" y="657"/>
                    <a:pt x="1926" y="657"/>
                    <a:pt x="1923" y="656"/>
                  </a:cubicBezTo>
                  <a:cubicBezTo>
                    <a:pt x="1921" y="656"/>
                    <a:pt x="1914" y="655"/>
                    <a:pt x="1913" y="659"/>
                  </a:cubicBezTo>
                  <a:cubicBezTo>
                    <a:pt x="1918" y="661"/>
                    <a:pt x="1923" y="658"/>
                    <a:pt x="1927" y="661"/>
                  </a:cubicBezTo>
                  <a:cubicBezTo>
                    <a:pt x="1925" y="661"/>
                    <a:pt x="1923" y="661"/>
                    <a:pt x="1921" y="661"/>
                  </a:cubicBezTo>
                  <a:cubicBezTo>
                    <a:pt x="1919" y="661"/>
                    <a:pt x="1919" y="661"/>
                    <a:pt x="1917" y="661"/>
                  </a:cubicBezTo>
                  <a:cubicBezTo>
                    <a:pt x="1915" y="662"/>
                    <a:pt x="1912" y="663"/>
                    <a:pt x="1910" y="663"/>
                  </a:cubicBezTo>
                  <a:cubicBezTo>
                    <a:pt x="1908" y="664"/>
                    <a:pt x="1905" y="665"/>
                    <a:pt x="1903" y="666"/>
                  </a:cubicBezTo>
                  <a:cubicBezTo>
                    <a:pt x="1902" y="666"/>
                    <a:pt x="1901" y="668"/>
                    <a:pt x="1900" y="669"/>
                  </a:cubicBezTo>
                  <a:cubicBezTo>
                    <a:pt x="1900" y="669"/>
                    <a:pt x="1899" y="669"/>
                    <a:pt x="1898" y="670"/>
                  </a:cubicBezTo>
                  <a:cubicBezTo>
                    <a:pt x="1898" y="670"/>
                    <a:pt x="1899" y="671"/>
                    <a:pt x="1899" y="672"/>
                  </a:cubicBezTo>
                  <a:cubicBezTo>
                    <a:pt x="1899" y="674"/>
                    <a:pt x="1896" y="673"/>
                    <a:pt x="1895" y="673"/>
                  </a:cubicBezTo>
                  <a:cubicBezTo>
                    <a:pt x="1892" y="674"/>
                    <a:pt x="1891" y="675"/>
                    <a:pt x="1889" y="676"/>
                  </a:cubicBezTo>
                  <a:cubicBezTo>
                    <a:pt x="1887" y="678"/>
                    <a:pt x="1886" y="679"/>
                    <a:pt x="1883" y="679"/>
                  </a:cubicBezTo>
                  <a:cubicBezTo>
                    <a:pt x="1879" y="679"/>
                    <a:pt x="1879" y="678"/>
                    <a:pt x="1879" y="681"/>
                  </a:cubicBezTo>
                  <a:cubicBezTo>
                    <a:pt x="1878" y="681"/>
                    <a:pt x="1877" y="683"/>
                    <a:pt x="1876" y="684"/>
                  </a:cubicBezTo>
                  <a:cubicBezTo>
                    <a:pt x="1875" y="685"/>
                    <a:pt x="1872" y="684"/>
                    <a:pt x="1874" y="686"/>
                  </a:cubicBezTo>
                  <a:cubicBezTo>
                    <a:pt x="1873" y="685"/>
                    <a:pt x="1869" y="687"/>
                    <a:pt x="1867" y="687"/>
                  </a:cubicBezTo>
                  <a:cubicBezTo>
                    <a:pt x="1869" y="686"/>
                    <a:pt x="1871" y="686"/>
                    <a:pt x="1872" y="684"/>
                  </a:cubicBezTo>
                  <a:cubicBezTo>
                    <a:pt x="1871" y="684"/>
                    <a:pt x="1869" y="684"/>
                    <a:pt x="1867" y="685"/>
                  </a:cubicBezTo>
                  <a:cubicBezTo>
                    <a:pt x="1868" y="683"/>
                    <a:pt x="1873" y="680"/>
                    <a:pt x="1876" y="681"/>
                  </a:cubicBezTo>
                  <a:cubicBezTo>
                    <a:pt x="1876" y="679"/>
                    <a:pt x="1868" y="676"/>
                    <a:pt x="1866" y="675"/>
                  </a:cubicBezTo>
                  <a:cubicBezTo>
                    <a:pt x="1863" y="673"/>
                    <a:pt x="1859" y="672"/>
                    <a:pt x="1855" y="673"/>
                  </a:cubicBezTo>
                  <a:cubicBezTo>
                    <a:pt x="1856" y="671"/>
                    <a:pt x="1856" y="670"/>
                    <a:pt x="1856" y="669"/>
                  </a:cubicBezTo>
                  <a:cubicBezTo>
                    <a:pt x="1859" y="673"/>
                    <a:pt x="1864" y="672"/>
                    <a:pt x="1868" y="674"/>
                  </a:cubicBezTo>
                  <a:cubicBezTo>
                    <a:pt x="1869" y="675"/>
                    <a:pt x="1872" y="678"/>
                    <a:pt x="1873" y="678"/>
                  </a:cubicBezTo>
                  <a:cubicBezTo>
                    <a:pt x="1877" y="678"/>
                    <a:pt x="1872" y="672"/>
                    <a:pt x="1876" y="673"/>
                  </a:cubicBezTo>
                  <a:cubicBezTo>
                    <a:pt x="1875" y="670"/>
                    <a:pt x="1877" y="671"/>
                    <a:pt x="1879" y="670"/>
                  </a:cubicBezTo>
                  <a:cubicBezTo>
                    <a:pt x="1879" y="670"/>
                    <a:pt x="1881" y="669"/>
                    <a:pt x="1881" y="669"/>
                  </a:cubicBezTo>
                  <a:cubicBezTo>
                    <a:pt x="1881" y="669"/>
                    <a:pt x="1881" y="669"/>
                    <a:pt x="1882" y="669"/>
                  </a:cubicBezTo>
                  <a:cubicBezTo>
                    <a:pt x="1882" y="668"/>
                    <a:pt x="1882" y="669"/>
                    <a:pt x="1883" y="669"/>
                  </a:cubicBezTo>
                  <a:cubicBezTo>
                    <a:pt x="1886" y="668"/>
                    <a:pt x="1888" y="669"/>
                    <a:pt x="1891" y="667"/>
                  </a:cubicBezTo>
                  <a:cubicBezTo>
                    <a:pt x="1894" y="666"/>
                    <a:pt x="1898" y="666"/>
                    <a:pt x="1900" y="665"/>
                  </a:cubicBezTo>
                  <a:cubicBezTo>
                    <a:pt x="1901" y="664"/>
                    <a:pt x="1901" y="662"/>
                    <a:pt x="1902" y="662"/>
                  </a:cubicBezTo>
                  <a:cubicBezTo>
                    <a:pt x="1904" y="661"/>
                    <a:pt x="1906" y="663"/>
                    <a:pt x="1907" y="662"/>
                  </a:cubicBezTo>
                  <a:cubicBezTo>
                    <a:pt x="1910" y="662"/>
                    <a:pt x="1912" y="658"/>
                    <a:pt x="1914" y="656"/>
                  </a:cubicBezTo>
                  <a:cubicBezTo>
                    <a:pt x="1909" y="658"/>
                    <a:pt x="1906" y="660"/>
                    <a:pt x="1901" y="661"/>
                  </a:cubicBezTo>
                  <a:cubicBezTo>
                    <a:pt x="1898" y="662"/>
                    <a:pt x="1889" y="665"/>
                    <a:pt x="1886" y="662"/>
                  </a:cubicBezTo>
                  <a:cubicBezTo>
                    <a:pt x="1889" y="661"/>
                    <a:pt x="1893" y="661"/>
                    <a:pt x="1897" y="660"/>
                  </a:cubicBezTo>
                  <a:cubicBezTo>
                    <a:pt x="1899" y="660"/>
                    <a:pt x="1902" y="659"/>
                    <a:pt x="1905" y="659"/>
                  </a:cubicBezTo>
                  <a:cubicBezTo>
                    <a:pt x="1908" y="659"/>
                    <a:pt x="1909" y="657"/>
                    <a:pt x="1912" y="656"/>
                  </a:cubicBezTo>
                  <a:cubicBezTo>
                    <a:pt x="1914" y="656"/>
                    <a:pt x="1915" y="656"/>
                    <a:pt x="1916" y="655"/>
                  </a:cubicBezTo>
                  <a:cubicBezTo>
                    <a:pt x="1917" y="655"/>
                    <a:pt x="1920" y="654"/>
                    <a:pt x="1920" y="653"/>
                  </a:cubicBezTo>
                  <a:cubicBezTo>
                    <a:pt x="1920" y="653"/>
                    <a:pt x="1920" y="653"/>
                    <a:pt x="1920" y="653"/>
                  </a:cubicBezTo>
                  <a:cubicBezTo>
                    <a:pt x="1919" y="653"/>
                    <a:pt x="1918" y="653"/>
                    <a:pt x="1917" y="654"/>
                  </a:cubicBezTo>
                  <a:cubicBezTo>
                    <a:pt x="1921" y="649"/>
                    <a:pt x="1932" y="654"/>
                    <a:pt x="1935" y="649"/>
                  </a:cubicBezTo>
                  <a:cubicBezTo>
                    <a:pt x="1933" y="649"/>
                    <a:pt x="1932" y="648"/>
                    <a:pt x="1930" y="649"/>
                  </a:cubicBezTo>
                  <a:cubicBezTo>
                    <a:pt x="1934" y="647"/>
                    <a:pt x="1936" y="649"/>
                    <a:pt x="1938" y="645"/>
                  </a:cubicBezTo>
                  <a:cubicBezTo>
                    <a:pt x="1935" y="644"/>
                    <a:pt x="1933" y="644"/>
                    <a:pt x="1931" y="643"/>
                  </a:cubicBezTo>
                  <a:cubicBezTo>
                    <a:pt x="1929" y="643"/>
                    <a:pt x="1927" y="640"/>
                    <a:pt x="1925" y="640"/>
                  </a:cubicBezTo>
                  <a:cubicBezTo>
                    <a:pt x="1924" y="639"/>
                    <a:pt x="1923" y="640"/>
                    <a:pt x="1922" y="640"/>
                  </a:cubicBezTo>
                  <a:cubicBezTo>
                    <a:pt x="1920" y="640"/>
                    <a:pt x="1919" y="639"/>
                    <a:pt x="1917" y="638"/>
                  </a:cubicBezTo>
                  <a:cubicBezTo>
                    <a:pt x="1916" y="638"/>
                    <a:pt x="1915" y="638"/>
                    <a:pt x="1914" y="638"/>
                  </a:cubicBezTo>
                  <a:cubicBezTo>
                    <a:pt x="1913" y="638"/>
                    <a:pt x="1914" y="641"/>
                    <a:pt x="1912" y="639"/>
                  </a:cubicBezTo>
                  <a:cubicBezTo>
                    <a:pt x="1911" y="638"/>
                    <a:pt x="1911" y="639"/>
                    <a:pt x="1910" y="639"/>
                  </a:cubicBezTo>
                  <a:cubicBezTo>
                    <a:pt x="1910" y="639"/>
                    <a:pt x="1909" y="638"/>
                    <a:pt x="1908" y="637"/>
                  </a:cubicBezTo>
                  <a:cubicBezTo>
                    <a:pt x="1907" y="637"/>
                    <a:pt x="1906" y="636"/>
                    <a:pt x="1905" y="638"/>
                  </a:cubicBezTo>
                  <a:cubicBezTo>
                    <a:pt x="1904" y="637"/>
                    <a:pt x="1901" y="635"/>
                    <a:pt x="1900" y="635"/>
                  </a:cubicBezTo>
                  <a:cubicBezTo>
                    <a:pt x="1903" y="632"/>
                    <a:pt x="1901" y="634"/>
                    <a:pt x="1901" y="630"/>
                  </a:cubicBezTo>
                  <a:cubicBezTo>
                    <a:pt x="1900" y="629"/>
                    <a:pt x="1900" y="628"/>
                    <a:pt x="1901" y="627"/>
                  </a:cubicBezTo>
                  <a:cubicBezTo>
                    <a:pt x="1899" y="627"/>
                    <a:pt x="1898" y="629"/>
                    <a:pt x="1896" y="628"/>
                  </a:cubicBezTo>
                  <a:cubicBezTo>
                    <a:pt x="1896" y="629"/>
                    <a:pt x="1896" y="629"/>
                    <a:pt x="1896" y="629"/>
                  </a:cubicBezTo>
                  <a:cubicBezTo>
                    <a:pt x="1895" y="629"/>
                    <a:pt x="1894" y="630"/>
                    <a:pt x="1894" y="630"/>
                  </a:cubicBezTo>
                  <a:cubicBezTo>
                    <a:pt x="1893" y="630"/>
                    <a:pt x="1891" y="631"/>
                    <a:pt x="1891" y="632"/>
                  </a:cubicBezTo>
                  <a:cubicBezTo>
                    <a:pt x="1892" y="631"/>
                    <a:pt x="1897" y="626"/>
                    <a:pt x="1897" y="625"/>
                  </a:cubicBezTo>
                  <a:cubicBezTo>
                    <a:pt x="1896" y="622"/>
                    <a:pt x="1893" y="626"/>
                    <a:pt x="1892" y="627"/>
                  </a:cubicBezTo>
                  <a:cubicBezTo>
                    <a:pt x="1891" y="628"/>
                    <a:pt x="1890" y="631"/>
                    <a:pt x="1890" y="630"/>
                  </a:cubicBezTo>
                  <a:cubicBezTo>
                    <a:pt x="1889" y="630"/>
                    <a:pt x="1884" y="634"/>
                    <a:pt x="1883" y="634"/>
                  </a:cubicBezTo>
                  <a:cubicBezTo>
                    <a:pt x="1881" y="636"/>
                    <a:pt x="1882" y="640"/>
                    <a:pt x="1878" y="640"/>
                  </a:cubicBezTo>
                  <a:cubicBezTo>
                    <a:pt x="1880" y="637"/>
                    <a:pt x="1881" y="634"/>
                    <a:pt x="1883" y="632"/>
                  </a:cubicBezTo>
                  <a:cubicBezTo>
                    <a:pt x="1884" y="631"/>
                    <a:pt x="1886" y="631"/>
                    <a:pt x="1887" y="630"/>
                  </a:cubicBezTo>
                  <a:cubicBezTo>
                    <a:pt x="1888" y="630"/>
                    <a:pt x="1890" y="627"/>
                    <a:pt x="1890" y="627"/>
                  </a:cubicBezTo>
                  <a:cubicBezTo>
                    <a:pt x="1889" y="625"/>
                    <a:pt x="1886" y="627"/>
                    <a:pt x="1885" y="627"/>
                  </a:cubicBezTo>
                  <a:cubicBezTo>
                    <a:pt x="1883" y="627"/>
                    <a:pt x="1879" y="627"/>
                    <a:pt x="1878" y="628"/>
                  </a:cubicBezTo>
                  <a:cubicBezTo>
                    <a:pt x="1879" y="626"/>
                    <a:pt x="1882" y="626"/>
                    <a:pt x="1883" y="625"/>
                  </a:cubicBezTo>
                  <a:cubicBezTo>
                    <a:pt x="1882" y="625"/>
                    <a:pt x="1883" y="622"/>
                    <a:pt x="1883" y="623"/>
                  </a:cubicBezTo>
                  <a:cubicBezTo>
                    <a:pt x="1882" y="621"/>
                    <a:pt x="1880" y="623"/>
                    <a:pt x="1878" y="623"/>
                  </a:cubicBezTo>
                  <a:cubicBezTo>
                    <a:pt x="1879" y="623"/>
                    <a:pt x="1876" y="624"/>
                    <a:pt x="1876" y="624"/>
                  </a:cubicBezTo>
                  <a:cubicBezTo>
                    <a:pt x="1876" y="624"/>
                    <a:pt x="1875" y="625"/>
                    <a:pt x="1875" y="626"/>
                  </a:cubicBezTo>
                  <a:cubicBezTo>
                    <a:pt x="1873" y="628"/>
                    <a:pt x="1871" y="629"/>
                    <a:pt x="1870" y="631"/>
                  </a:cubicBezTo>
                  <a:cubicBezTo>
                    <a:pt x="1871" y="629"/>
                    <a:pt x="1874" y="625"/>
                    <a:pt x="1876" y="623"/>
                  </a:cubicBezTo>
                  <a:cubicBezTo>
                    <a:pt x="1874" y="623"/>
                    <a:pt x="1873" y="624"/>
                    <a:pt x="1872" y="625"/>
                  </a:cubicBezTo>
                  <a:cubicBezTo>
                    <a:pt x="1872" y="625"/>
                    <a:pt x="1872" y="624"/>
                    <a:pt x="1872" y="623"/>
                  </a:cubicBezTo>
                  <a:cubicBezTo>
                    <a:pt x="1870" y="623"/>
                    <a:pt x="1870" y="624"/>
                    <a:pt x="1869" y="625"/>
                  </a:cubicBezTo>
                  <a:cubicBezTo>
                    <a:pt x="1867" y="626"/>
                    <a:pt x="1867" y="626"/>
                    <a:pt x="1866" y="627"/>
                  </a:cubicBezTo>
                  <a:cubicBezTo>
                    <a:pt x="1864" y="628"/>
                    <a:pt x="1863" y="630"/>
                    <a:pt x="1861" y="631"/>
                  </a:cubicBezTo>
                  <a:cubicBezTo>
                    <a:pt x="1862" y="628"/>
                    <a:pt x="1866" y="626"/>
                    <a:pt x="1868" y="623"/>
                  </a:cubicBezTo>
                  <a:cubicBezTo>
                    <a:pt x="1865" y="623"/>
                    <a:pt x="1865" y="625"/>
                    <a:pt x="1863" y="626"/>
                  </a:cubicBezTo>
                  <a:cubicBezTo>
                    <a:pt x="1863" y="625"/>
                    <a:pt x="1865" y="623"/>
                    <a:pt x="1866" y="622"/>
                  </a:cubicBezTo>
                  <a:cubicBezTo>
                    <a:pt x="1866" y="622"/>
                    <a:pt x="1866" y="623"/>
                    <a:pt x="1867" y="622"/>
                  </a:cubicBezTo>
                  <a:cubicBezTo>
                    <a:pt x="1867" y="622"/>
                    <a:pt x="1867" y="621"/>
                    <a:pt x="1868" y="620"/>
                  </a:cubicBezTo>
                  <a:cubicBezTo>
                    <a:pt x="1869" y="619"/>
                    <a:pt x="1869" y="619"/>
                    <a:pt x="1870" y="618"/>
                  </a:cubicBezTo>
                  <a:cubicBezTo>
                    <a:pt x="1871" y="617"/>
                    <a:pt x="1873" y="618"/>
                    <a:pt x="1872" y="616"/>
                  </a:cubicBezTo>
                  <a:cubicBezTo>
                    <a:pt x="1870" y="617"/>
                    <a:pt x="1868" y="617"/>
                    <a:pt x="1867" y="617"/>
                  </a:cubicBezTo>
                  <a:cubicBezTo>
                    <a:pt x="1866" y="618"/>
                    <a:pt x="1867" y="619"/>
                    <a:pt x="1866" y="620"/>
                  </a:cubicBezTo>
                  <a:cubicBezTo>
                    <a:pt x="1866" y="617"/>
                    <a:pt x="1870" y="615"/>
                    <a:pt x="1869" y="613"/>
                  </a:cubicBezTo>
                  <a:cubicBezTo>
                    <a:pt x="1868" y="614"/>
                    <a:pt x="1867" y="614"/>
                    <a:pt x="1866" y="615"/>
                  </a:cubicBezTo>
                  <a:cubicBezTo>
                    <a:pt x="1868" y="612"/>
                    <a:pt x="1867" y="613"/>
                    <a:pt x="1865" y="612"/>
                  </a:cubicBezTo>
                  <a:cubicBezTo>
                    <a:pt x="1863" y="611"/>
                    <a:pt x="1867" y="610"/>
                    <a:pt x="1867" y="610"/>
                  </a:cubicBezTo>
                  <a:cubicBezTo>
                    <a:pt x="1868" y="608"/>
                    <a:pt x="1870" y="606"/>
                    <a:pt x="1867" y="606"/>
                  </a:cubicBezTo>
                  <a:cubicBezTo>
                    <a:pt x="1864" y="605"/>
                    <a:pt x="1863" y="611"/>
                    <a:pt x="1861" y="613"/>
                  </a:cubicBezTo>
                  <a:cubicBezTo>
                    <a:pt x="1861" y="611"/>
                    <a:pt x="1862" y="610"/>
                    <a:pt x="1863" y="608"/>
                  </a:cubicBezTo>
                  <a:cubicBezTo>
                    <a:pt x="1863" y="607"/>
                    <a:pt x="1862" y="606"/>
                    <a:pt x="1863" y="605"/>
                  </a:cubicBezTo>
                  <a:cubicBezTo>
                    <a:pt x="1861" y="606"/>
                    <a:pt x="1860" y="607"/>
                    <a:pt x="1858" y="607"/>
                  </a:cubicBezTo>
                  <a:cubicBezTo>
                    <a:pt x="1857" y="608"/>
                    <a:pt x="1855" y="608"/>
                    <a:pt x="1854" y="608"/>
                  </a:cubicBezTo>
                  <a:cubicBezTo>
                    <a:pt x="1856" y="606"/>
                    <a:pt x="1864" y="605"/>
                    <a:pt x="1856" y="604"/>
                  </a:cubicBezTo>
                  <a:cubicBezTo>
                    <a:pt x="1854" y="603"/>
                    <a:pt x="1851" y="605"/>
                    <a:pt x="1849" y="603"/>
                  </a:cubicBezTo>
                  <a:cubicBezTo>
                    <a:pt x="1856" y="602"/>
                    <a:pt x="1843" y="600"/>
                    <a:pt x="1842" y="599"/>
                  </a:cubicBezTo>
                  <a:cubicBezTo>
                    <a:pt x="1844" y="598"/>
                    <a:pt x="1846" y="599"/>
                    <a:pt x="1847" y="598"/>
                  </a:cubicBezTo>
                  <a:cubicBezTo>
                    <a:pt x="1846" y="597"/>
                    <a:pt x="1844" y="598"/>
                    <a:pt x="1843" y="597"/>
                  </a:cubicBezTo>
                  <a:cubicBezTo>
                    <a:pt x="1846" y="595"/>
                    <a:pt x="1847" y="592"/>
                    <a:pt x="1843" y="592"/>
                  </a:cubicBezTo>
                  <a:cubicBezTo>
                    <a:pt x="1841" y="592"/>
                    <a:pt x="1840" y="592"/>
                    <a:pt x="1838" y="592"/>
                  </a:cubicBezTo>
                  <a:cubicBezTo>
                    <a:pt x="1835" y="591"/>
                    <a:pt x="1831" y="593"/>
                    <a:pt x="1829" y="590"/>
                  </a:cubicBezTo>
                  <a:cubicBezTo>
                    <a:pt x="1830" y="590"/>
                    <a:pt x="1832" y="589"/>
                    <a:pt x="1834" y="589"/>
                  </a:cubicBezTo>
                  <a:cubicBezTo>
                    <a:pt x="1835" y="589"/>
                    <a:pt x="1836" y="591"/>
                    <a:pt x="1838" y="590"/>
                  </a:cubicBezTo>
                  <a:cubicBezTo>
                    <a:pt x="1837" y="590"/>
                    <a:pt x="1836" y="589"/>
                    <a:pt x="1835" y="589"/>
                  </a:cubicBezTo>
                  <a:cubicBezTo>
                    <a:pt x="1837" y="589"/>
                    <a:pt x="1838" y="589"/>
                    <a:pt x="1840" y="590"/>
                  </a:cubicBezTo>
                  <a:cubicBezTo>
                    <a:pt x="1838" y="589"/>
                    <a:pt x="1836" y="588"/>
                    <a:pt x="1835" y="587"/>
                  </a:cubicBezTo>
                  <a:cubicBezTo>
                    <a:pt x="1834" y="587"/>
                    <a:pt x="1833" y="585"/>
                    <a:pt x="1832" y="585"/>
                  </a:cubicBezTo>
                  <a:cubicBezTo>
                    <a:pt x="1831" y="584"/>
                    <a:pt x="1829" y="586"/>
                    <a:pt x="1827" y="584"/>
                  </a:cubicBezTo>
                  <a:cubicBezTo>
                    <a:pt x="1828" y="584"/>
                    <a:pt x="1830" y="584"/>
                    <a:pt x="1831" y="584"/>
                  </a:cubicBezTo>
                  <a:cubicBezTo>
                    <a:pt x="1830" y="584"/>
                    <a:pt x="1830" y="583"/>
                    <a:pt x="1829" y="583"/>
                  </a:cubicBezTo>
                  <a:cubicBezTo>
                    <a:pt x="1830" y="582"/>
                    <a:pt x="1842" y="583"/>
                    <a:pt x="1836" y="581"/>
                  </a:cubicBezTo>
                  <a:cubicBezTo>
                    <a:pt x="1832" y="579"/>
                    <a:pt x="1829" y="580"/>
                    <a:pt x="1825" y="579"/>
                  </a:cubicBezTo>
                  <a:cubicBezTo>
                    <a:pt x="1827" y="578"/>
                    <a:pt x="1830" y="579"/>
                    <a:pt x="1832" y="579"/>
                  </a:cubicBezTo>
                  <a:cubicBezTo>
                    <a:pt x="1827" y="577"/>
                    <a:pt x="1821" y="576"/>
                    <a:pt x="1817" y="573"/>
                  </a:cubicBezTo>
                  <a:cubicBezTo>
                    <a:pt x="1818" y="570"/>
                    <a:pt x="1826" y="571"/>
                    <a:pt x="1829" y="571"/>
                  </a:cubicBezTo>
                  <a:cubicBezTo>
                    <a:pt x="1826" y="573"/>
                    <a:pt x="1822" y="572"/>
                    <a:pt x="1818" y="573"/>
                  </a:cubicBezTo>
                  <a:cubicBezTo>
                    <a:pt x="1821" y="575"/>
                    <a:pt x="1826" y="576"/>
                    <a:pt x="1830" y="577"/>
                  </a:cubicBezTo>
                  <a:cubicBezTo>
                    <a:pt x="1830" y="577"/>
                    <a:pt x="1831" y="577"/>
                    <a:pt x="1831" y="577"/>
                  </a:cubicBezTo>
                  <a:cubicBezTo>
                    <a:pt x="1831" y="577"/>
                    <a:pt x="1832" y="576"/>
                    <a:pt x="1832" y="577"/>
                  </a:cubicBezTo>
                  <a:cubicBezTo>
                    <a:pt x="1833" y="577"/>
                    <a:pt x="1833" y="578"/>
                    <a:pt x="1833" y="578"/>
                  </a:cubicBezTo>
                  <a:cubicBezTo>
                    <a:pt x="1835" y="578"/>
                    <a:pt x="1837" y="579"/>
                    <a:pt x="1838" y="578"/>
                  </a:cubicBezTo>
                  <a:cubicBezTo>
                    <a:pt x="1837" y="577"/>
                    <a:pt x="1836" y="577"/>
                    <a:pt x="1835" y="576"/>
                  </a:cubicBezTo>
                  <a:cubicBezTo>
                    <a:pt x="1836" y="576"/>
                    <a:pt x="1836" y="575"/>
                    <a:pt x="1836" y="575"/>
                  </a:cubicBezTo>
                  <a:cubicBezTo>
                    <a:pt x="1835" y="574"/>
                    <a:pt x="1833" y="574"/>
                    <a:pt x="1833" y="576"/>
                  </a:cubicBezTo>
                  <a:cubicBezTo>
                    <a:pt x="1833" y="573"/>
                    <a:pt x="1835" y="574"/>
                    <a:pt x="1836" y="572"/>
                  </a:cubicBezTo>
                  <a:cubicBezTo>
                    <a:pt x="1838" y="571"/>
                    <a:pt x="1837" y="572"/>
                    <a:pt x="1839" y="570"/>
                  </a:cubicBezTo>
                  <a:cubicBezTo>
                    <a:pt x="1840" y="568"/>
                    <a:pt x="1844" y="565"/>
                    <a:pt x="1845" y="568"/>
                  </a:cubicBezTo>
                  <a:cubicBezTo>
                    <a:pt x="1845" y="564"/>
                    <a:pt x="1845" y="563"/>
                    <a:pt x="1841" y="562"/>
                  </a:cubicBezTo>
                  <a:cubicBezTo>
                    <a:pt x="1840" y="561"/>
                    <a:pt x="1836" y="562"/>
                    <a:pt x="1838" y="559"/>
                  </a:cubicBezTo>
                  <a:cubicBezTo>
                    <a:pt x="1835" y="560"/>
                    <a:pt x="1836" y="561"/>
                    <a:pt x="1834" y="560"/>
                  </a:cubicBezTo>
                  <a:cubicBezTo>
                    <a:pt x="1833" y="560"/>
                    <a:pt x="1832" y="559"/>
                    <a:pt x="1830" y="558"/>
                  </a:cubicBezTo>
                  <a:cubicBezTo>
                    <a:pt x="1831" y="557"/>
                    <a:pt x="1832" y="557"/>
                    <a:pt x="1833" y="556"/>
                  </a:cubicBezTo>
                  <a:cubicBezTo>
                    <a:pt x="1834" y="555"/>
                    <a:pt x="1832" y="554"/>
                    <a:pt x="1835" y="554"/>
                  </a:cubicBezTo>
                  <a:cubicBezTo>
                    <a:pt x="1831" y="551"/>
                    <a:pt x="1828" y="550"/>
                    <a:pt x="1824" y="551"/>
                  </a:cubicBezTo>
                  <a:cubicBezTo>
                    <a:pt x="1821" y="552"/>
                    <a:pt x="1820" y="552"/>
                    <a:pt x="1817" y="549"/>
                  </a:cubicBezTo>
                  <a:cubicBezTo>
                    <a:pt x="1818" y="550"/>
                    <a:pt x="1821" y="551"/>
                    <a:pt x="1822" y="551"/>
                  </a:cubicBezTo>
                  <a:cubicBezTo>
                    <a:pt x="1823" y="550"/>
                    <a:pt x="1823" y="549"/>
                    <a:pt x="1823" y="549"/>
                  </a:cubicBezTo>
                  <a:cubicBezTo>
                    <a:pt x="1825" y="548"/>
                    <a:pt x="1827" y="548"/>
                    <a:pt x="1828" y="547"/>
                  </a:cubicBezTo>
                  <a:cubicBezTo>
                    <a:pt x="1828" y="547"/>
                    <a:pt x="1833" y="545"/>
                    <a:pt x="1833" y="545"/>
                  </a:cubicBezTo>
                  <a:cubicBezTo>
                    <a:pt x="1834" y="542"/>
                    <a:pt x="1823" y="536"/>
                    <a:pt x="1821" y="535"/>
                  </a:cubicBezTo>
                  <a:cubicBezTo>
                    <a:pt x="1822" y="540"/>
                    <a:pt x="1819" y="534"/>
                    <a:pt x="1818" y="534"/>
                  </a:cubicBezTo>
                  <a:cubicBezTo>
                    <a:pt x="1817" y="533"/>
                    <a:pt x="1816" y="534"/>
                    <a:pt x="1815" y="535"/>
                  </a:cubicBezTo>
                  <a:cubicBezTo>
                    <a:pt x="1817" y="533"/>
                    <a:pt x="1817" y="533"/>
                    <a:pt x="1819" y="532"/>
                  </a:cubicBezTo>
                  <a:cubicBezTo>
                    <a:pt x="1821" y="532"/>
                    <a:pt x="1822" y="533"/>
                    <a:pt x="1823" y="531"/>
                  </a:cubicBezTo>
                  <a:cubicBezTo>
                    <a:pt x="1822" y="531"/>
                    <a:pt x="1820" y="530"/>
                    <a:pt x="1818" y="531"/>
                  </a:cubicBezTo>
                  <a:cubicBezTo>
                    <a:pt x="1819" y="529"/>
                    <a:pt x="1819" y="528"/>
                    <a:pt x="1820" y="527"/>
                  </a:cubicBezTo>
                  <a:cubicBezTo>
                    <a:pt x="1816" y="530"/>
                    <a:pt x="1812" y="527"/>
                    <a:pt x="1808" y="528"/>
                  </a:cubicBezTo>
                  <a:cubicBezTo>
                    <a:pt x="1807" y="529"/>
                    <a:pt x="1805" y="531"/>
                    <a:pt x="1805" y="532"/>
                  </a:cubicBezTo>
                  <a:cubicBezTo>
                    <a:pt x="1803" y="533"/>
                    <a:pt x="1801" y="533"/>
                    <a:pt x="1799" y="533"/>
                  </a:cubicBezTo>
                  <a:cubicBezTo>
                    <a:pt x="1800" y="533"/>
                    <a:pt x="1802" y="533"/>
                    <a:pt x="1803" y="532"/>
                  </a:cubicBezTo>
                  <a:cubicBezTo>
                    <a:pt x="1803" y="531"/>
                    <a:pt x="1803" y="530"/>
                    <a:pt x="1804" y="530"/>
                  </a:cubicBezTo>
                  <a:cubicBezTo>
                    <a:pt x="1805" y="529"/>
                    <a:pt x="1807" y="528"/>
                    <a:pt x="1808" y="527"/>
                  </a:cubicBezTo>
                  <a:cubicBezTo>
                    <a:pt x="1811" y="526"/>
                    <a:pt x="1814" y="528"/>
                    <a:pt x="1817" y="525"/>
                  </a:cubicBezTo>
                  <a:cubicBezTo>
                    <a:pt x="1814" y="524"/>
                    <a:pt x="1811" y="523"/>
                    <a:pt x="1809" y="526"/>
                  </a:cubicBezTo>
                  <a:cubicBezTo>
                    <a:pt x="1811" y="523"/>
                    <a:pt x="1814" y="524"/>
                    <a:pt x="1815" y="523"/>
                  </a:cubicBezTo>
                  <a:cubicBezTo>
                    <a:pt x="1817" y="521"/>
                    <a:pt x="1815" y="518"/>
                    <a:pt x="1817" y="517"/>
                  </a:cubicBezTo>
                  <a:cubicBezTo>
                    <a:pt x="1816" y="516"/>
                    <a:pt x="1814" y="516"/>
                    <a:pt x="1813" y="516"/>
                  </a:cubicBezTo>
                  <a:cubicBezTo>
                    <a:pt x="1812" y="516"/>
                    <a:pt x="1812" y="517"/>
                    <a:pt x="1812" y="517"/>
                  </a:cubicBezTo>
                  <a:cubicBezTo>
                    <a:pt x="1811" y="517"/>
                    <a:pt x="1810" y="517"/>
                    <a:pt x="1809" y="517"/>
                  </a:cubicBezTo>
                  <a:cubicBezTo>
                    <a:pt x="1806" y="517"/>
                    <a:pt x="1805" y="518"/>
                    <a:pt x="1803" y="520"/>
                  </a:cubicBezTo>
                  <a:cubicBezTo>
                    <a:pt x="1807" y="516"/>
                    <a:pt x="1801" y="517"/>
                    <a:pt x="1799" y="519"/>
                  </a:cubicBezTo>
                  <a:cubicBezTo>
                    <a:pt x="1797" y="520"/>
                    <a:pt x="1795" y="522"/>
                    <a:pt x="1793" y="522"/>
                  </a:cubicBezTo>
                  <a:cubicBezTo>
                    <a:pt x="1795" y="520"/>
                    <a:pt x="1797" y="519"/>
                    <a:pt x="1799" y="517"/>
                  </a:cubicBezTo>
                  <a:cubicBezTo>
                    <a:pt x="1798" y="516"/>
                    <a:pt x="1796" y="516"/>
                    <a:pt x="1795" y="517"/>
                  </a:cubicBezTo>
                  <a:cubicBezTo>
                    <a:pt x="1796" y="515"/>
                    <a:pt x="1799" y="516"/>
                    <a:pt x="1800" y="516"/>
                  </a:cubicBezTo>
                  <a:cubicBezTo>
                    <a:pt x="1802" y="515"/>
                    <a:pt x="1803" y="515"/>
                    <a:pt x="1804" y="514"/>
                  </a:cubicBezTo>
                  <a:cubicBezTo>
                    <a:pt x="1806" y="514"/>
                    <a:pt x="1808" y="513"/>
                    <a:pt x="1809" y="512"/>
                  </a:cubicBezTo>
                  <a:cubicBezTo>
                    <a:pt x="1812" y="509"/>
                    <a:pt x="1809" y="510"/>
                    <a:pt x="1806" y="509"/>
                  </a:cubicBezTo>
                  <a:cubicBezTo>
                    <a:pt x="1811" y="507"/>
                    <a:pt x="1809" y="504"/>
                    <a:pt x="1804" y="504"/>
                  </a:cubicBezTo>
                  <a:cubicBezTo>
                    <a:pt x="1804" y="504"/>
                    <a:pt x="1804" y="505"/>
                    <a:pt x="1803" y="505"/>
                  </a:cubicBezTo>
                  <a:cubicBezTo>
                    <a:pt x="1803" y="504"/>
                    <a:pt x="1802" y="504"/>
                    <a:pt x="1802" y="504"/>
                  </a:cubicBezTo>
                  <a:cubicBezTo>
                    <a:pt x="1801" y="504"/>
                    <a:pt x="1800" y="503"/>
                    <a:pt x="1799" y="504"/>
                  </a:cubicBezTo>
                  <a:cubicBezTo>
                    <a:pt x="1801" y="503"/>
                    <a:pt x="1803" y="502"/>
                    <a:pt x="1803" y="500"/>
                  </a:cubicBezTo>
                  <a:cubicBezTo>
                    <a:pt x="1802" y="500"/>
                    <a:pt x="1801" y="500"/>
                    <a:pt x="1800" y="501"/>
                  </a:cubicBezTo>
                  <a:cubicBezTo>
                    <a:pt x="1801" y="498"/>
                    <a:pt x="1802" y="498"/>
                    <a:pt x="1804" y="497"/>
                  </a:cubicBezTo>
                  <a:cubicBezTo>
                    <a:pt x="1798" y="493"/>
                    <a:pt x="1796" y="498"/>
                    <a:pt x="1791" y="498"/>
                  </a:cubicBezTo>
                  <a:cubicBezTo>
                    <a:pt x="1791" y="498"/>
                    <a:pt x="1788" y="498"/>
                    <a:pt x="1788" y="497"/>
                  </a:cubicBezTo>
                  <a:cubicBezTo>
                    <a:pt x="1787" y="498"/>
                    <a:pt x="1787" y="498"/>
                    <a:pt x="1787" y="499"/>
                  </a:cubicBezTo>
                  <a:cubicBezTo>
                    <a:pt x="1786" y="499"/>
                    <a:pt x="1788" y="500"/>
                    <a:pt x="1786" y="500"/>
                  </a:cubicBezTo>
                  <a:cubicBezTo>
                    <a:pt x="1785" y="500"/>
                    <a:pt x="1785" y="497"/>
                    <a:pt x="1783" y="498"/>
                  </a:cubicBezTo>
                  <a:cubicBezTo>
                    <a:pt x="1785" y="494"/>
                    <a:pt x="1789" y="497"/>
                    <a:pt x="1793" y="496"/>
                  </a:cubicBezTo>
                  <a:cubicBezTo>
                    <a:pt x="1795" y="496"/>
                    <a:pt x="1797" y="494"/>
                    <a:pt x="1798" y="492"/>
                  </a:cubicBezTo>
                  <a:cubicBezTo>
                    <a:pt x="1796" y="491"/>
                    <a:pt x="1794" y="491"/>
                    <a:pt x="1792" y="491"/>
                  </a:cubicBezTo>
                  <a:cubicBezTo>
                    <a:pt x="1794" y="490"/>
                    <a:pt x="1797" y="485"/>
                    <a:pt x="1791" y="487"/>
                  </a:cubicBezTo>
                  <a:cubicBezTo>
                    <a:pt x="1790" y="488"/>
                    <a:pt x="1791" y="490"/>
                    <a:pt x="1788" y="490"/>
                  </a:cubicBezTo>
                  <a:cubicBezTo>
                    <a:pt x="1790" y="487"/>
                    <a:pt x="1792" y="487"/>
                    <a:pt x="1787" y="486"/>
                  </a:cubicBezTo>
                  <a:cubicBezTo>
                    <a:pt x="1786" y="485"/>
                    <a:pt x="1784" y="485"/>
                    <a:pt x="1783" y="486"/>
                  </a:cubicBezTo>
                  <a:cubicBezTo>
                    <a:pt x="1785" y="483"/>
                    <a:pt x="1788" y="486"/>
                    <a:pt x="1789" y="483"/>
                  </a:cubicBezTo>
                  <a:cubicBezTo>
                    <a:pt x="1791" y="480"/>
                    <a:pt x="1786" y="479"/>
                    <a:pt x="1784" y="481"/>
                  </a:cubicBezTo>
                  <a:cubicBezTo>
                    <a:pt x="1785" y="481"/>
                    <a:pt x="1787" y="479"/>
                    <a:pt x="1787" y="479"/>
                  </a:cubicBezTo>
                  <a:cubicBezTo>
                    <a:pt x="1787" y="477"/>
                    <a:pt x="1784" y="477"/>
                    <a:pt x="1783" y="478"/>
                  </a:cubicBezTo>
                  <a:cubicBezTo>
                    <a:pt x="1782" y="478"/>
                    <a:pt x="1783" y="480"/>
                    <a:pt x="1781" y="481"/>
                  </a:cubicBezTo>
                  <a:cubicBezTo>
                    <a:pt x="1782" y="478"/>
                    <a:pt x="1782" y="476"/>
                    <a:pt x="1785" y="476"/>
                  </a:cubicBezTo>
                  <a:cubicBezTo>
                    <a:pt x="1783" y="475"/>
                    <a:pt x="1780" y="476"/>
                    <a:pt x="1779" y="474"/>
                  </a:cubicBezTo>
                  <a:cubicBezTo>
                    <a:pt x="1777" y="472"/>
                    <a:pt x="1780" y="470"/>
                    <a:pt x="1781" y="468"/>
                  </a:cubicBezTo>
                  <a:cubicBezTo>
                    <a:pt x="1780" y="468"/>
                    <a:pt x="1779" y="468"/>
                    <a:pt x="1778" y="469"/>
                  </a:cubicBezTo>
                  <a:cubicBezTo>
                    <a:pt x="1778" y="467"/>
                    <a:pt x="1779" y="466"/>
                    <a:pt x="1780" y="465"/>
                  </a:cubicBezTo>
                  <a:cubicBezTo>
                    <a:pt x="1779" y="464"/>
                    <a:pt x="1777" y="464"/>
                    <a:pt x="1776" y="463"/>
                  </a:cubicBezTo>
                  <a:cubicBezTo>
                    <a:pt x="1777" y="465"/>
                    <a:pt x="1775" y="467"/>
                    <a:pt x="1774" y="467"/>
                  </a:cubicBezTo>
                  <a:cubicBezTo>
                    <a:pt x="1772" y="468"/>
                    <a:pt x="1772" y="469"/>
                    <a:pt x="1771" y="466"/>
                  </a:cubicBezTo>
                  <a:cubicBezTo>
                    <a:pt x="1769" y="463"/>
                    <a:pt x="1773" y="466"/>
                    <a:pt x="1774" y="464"/>
                  </a:cubicBezTo>
                  <a:cubicBezTo>
                    <a:pt x="1776" y="462"/>
                    <a:pt x="1771" y="462"/>
                    <a:pt x="1769" y="463"/>
                  </a:cubicBezTo>
                  <a:cubicBezTo>
                    <a:pt x="1768" y="463"/>
                    <a:pt x="1766" y="464"/>
                    <a:pt x="1765" y="465"/>
                  </a:cubicBezTo>
                  <a:cubicBezTo>
                    <a:pt x="1765" y="465"/>
                    <a:pt x="1765" y="465"/>
                    <a:pt x="1765" y="465"/>
                  </a:cubicBezTo>
                  <a:cubicBezTo>
                    <a:pt x="1765" y="465"/>
                    <a:pt x="1765" y="465"/>
                    <a:pt x="1765" y="465"/>
                  </a:cubicBezTo>
                  <a:cubicBezTo>
                    <a:pt x="1765" y="465"/>
                    <a:pt x="1765" y="465"/>
                    <a:pt x="1765" y="465"/>
                  </a:cubicBezTo>
                  <a:cubicBezTo>
                    <a:pt x="1765" y="464"/>
                    <a:pt x="1767" y="461"/>
                    <a:pt x="1767" y="461"/>
                  </a:cubicBezTo>
                  <a:cubicBezTo>
                    <a:pt x="1767" y="461"/>
                    <a:pt x="1767" y="461"/>
                    <a:pt x="1767" y="461"/>
                  </a:cubicBezTo>
                  <a:cubicBezTo>
                    <a:pt x="1767" y="461"/>
                    <a:pt x="1767" y="461"/>
                    <a:pt x="1767" y="461"/>
                  </a:cubicBezTo>
                  <a:cubicBezTo>
                    <a:pt x="1769" y="458"/>
                    <a:pt x="1769" y="458"/>
                    <a:pt x="1769" y="458"/>
                  </a:cubicBezTo>
                  <a:cubicBezTo>
                    <a:pt x="1769" y="458"/>
                    <a:pt x="1769" y="458"/>
                    <a:pt x="1769" y="458"/>
                  </a:cubicBezTo>
                  <a:cubicBezTo>
                    <a:pt x="1768" y="458"/>
                    <a:pt x="1768" y="458"/>
                    <a:pt x="1768" y="458"/>
                  </a:cubicBezTo>
                  <a:cubicBezTo>
                    <a:pt x="1768" y="458"/>
                    <a:pt x="1768" y="458"/>
                    <a:pt x="1768" y="458"/>
                  </a:cubicBezTo>
                  <a:cubicBezTo>
                    <a:pt x="1768" y="458"/>
                    <a:pt x="1768" y="458"/>
                    <a:pt x="1768" y="458"/>
                  </a:cubicBezTo>
                  <a:cubicBezTo>
                    <a:pt x="1768" y="458"/>
                    <a:pt x="1768" y="458"/>
                    <a:pt x="1768" y="458"/>
                  </a:cubicBezTo>
                  <a:cubicBezTo>
                    <a:pt x="1769" y="458"/>
                    <a:pt x="1770" y="457"/>
                    <a:pt x="1770" y="455"/>
                  </a:cubicBezTo>
                  <a:cubicBezTo>
                    <a:pt x="1772" y="456"/>
                    <a:pt x="1773" y="456"/>
                    <a:pt x="1775" y="456"/>
                  </a:cubicBezTo>
                  <a:cubicBezTo>
                    <a:pt x="1773" y="455"/>
                    <a:pt x="1772" y="454"/>
                    <a:pt x="1770" y="454"/>
                  </a:cubicBezTo>
                  <a:cubicBezTo>
                    <a:pt x="1771" y="454"/>
                    <a:pt x="1771" y="454"/>
                    <a:pt x="1771" y="454"/>
                  </a:cubicBezTo>
                  <a:cubicBezTo>
                    <a:pt x="1769" y="452"/>
                    <a:pt x="1769" y="452"/>
                    <a:pt x="1769" y="452"/>
                  </a:cubicBezTo>
                  <a:cubicBezTo>
                    <a:pt x="1769" y="452"/>
                    <a:pt x="1769" y="452"/>
                    <a:pt x="1769" y="452"/>
                  </a:cubicBezTo>
                  <a:cubicBezTo>
                    <a:pt x="1767" y="452"/>
                    <a:pt x="1768" y="453"/>
                    <a:pt x="1766" y="452"/>
                  </a:cubicBezTo>
                  <a:cubicBezTo>
                    <a:pt x="1766" y="452"/>
                    <a:pt x="1766" y="452"/>
                    <a:pt x="1766" y="452"/>
                  </a:cubicBezTo>
                  <a:cubicBezTo>
                    <a:pt x="1766" y="452"/>
                    <a:pt x="1766" y="452"/>
                    <a:pt x="1766" y="452"/>
                  </a:cubicBezTo>
                  <a:cubicBezTo>
                    <a:pt x="1766" y="452"/>
                    <a:pt x="1766" y="452"/>
                    <a:pt x="1766" y="452"/>
                  </a:cubicBezTo>
                  <a:cubicBezTo>
                    <a:pt x="1766" y="452"/>
                    <a:pt x="1766" y="452"/>
                    <a:pt x="1766"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4" y="452"/>
                    <a:pt x="1764" y="452"/>
                    <a:pt x="1764" y="452"/>
                  </a:cubicBezTo>
                  <a:cubicBezTo>
                    <a:pt x="1764" y="452"/>
                    <a:pt x="1764" y="452"/>
                    <a:pt x="1764" y="452"/>
                  </a:cubicBezTo>
                  <a:cubicBezTo>
                    <a:pt x="1764" y="452"/>
                    <a:pt x="1764" y="452"/>
                    <a:pt x="1764" y="452"/>
                  </a:cubicBezTo>
                  <a:cubicBezTo>
                    <a:pt x="1764" y="452"/>
                    <a:pt x="1764" y="452"/>
                    <a:pt x="1764" y="452"/>
                  </a:cubicBezTo>
                  <a:cubicBezTo>
                    <a:pt x="1764" y="453"/>
                    <a:pt x="1764" y="453"/>
                    <a:pt x="1764" y="453"/>
                  </a:cubicBezTo>
                  <a:cubicBezTo>
                    <a:pt x="1763" y="456"/>
                    <a:pt x="1763" y="456"/>
                    <a:pt x="1763" y="456"/>
                  </a:cubicBezTo>
                  <a:cubicBezTo>
                    <a:pt x="1763" y="457"/>
                    <a:pt x="1763" y="457"/>
                    <a:pt x="1763" y="457"/>
                  </a:cubicBezTo>
                  <a:cubicBezTo>
                    <a:pt x="1763" y="457"/>
                    <a:pt x="1763" y="457"/>
                    <a:pt x="1763" y="457"/>
                  </a:cubicBezTo>
                  <a:cubicBezTo>
                    <a:pt x="1763" y="458"/>
                    <a:pt x="1763" y="458"/>
                    <a:pt x="1763" y="458"/>
                  </a:cubicBezTo>
                  <a:cubicBezTo>
                    <a:pt x="1762" y="458"/>
                    <a:pt x="1762" y="458"/>
                    <a:pt x="1762" y="458"/>
                  </a:cubicBezTo>
                  <a:cubicBezTo>
                    <a:pt x="1761" y="460"/>
                    <a:pt x="1761" y="460"/>
                    <a:pt x="1761" y="460"/>
                  </a:cubicBezTo>
                  <a:cubicBezTo>
                    <a:pt x="1760" y="462"/>
                    <a:pt x="1759" y="463"/>
                    <a:pt x="1758" y="464"/>
                  </a:cubicBezTo>
                  <a:cubicBezTo>
                    <a:pt x="1758" y="464"/>
                    <a:pt x="1758" y="464"/>
                    <a:pt x="1758" y="464"/>
                  </a:cubicBezTo>
                  <a:cubicBezTo>
                    <a:pt x="1758" y="464"/>
                    <a:pt x="1758" y="464"/>
                    <a:pt x="1758" y="464"/>
                  </a:cubicBezTo>
                  <a:cubicBezTo>
                    <a:pt x="1758" y="464"/>
                    <a:pt x="1758" y="464"/>
                    <a:pt x="1758" y="464"/>
                  </a:cubicBezTo>
                  <a:cubicBezTo>
                    <a:pt x="1758" y="464"/>
                    <a:pt x="1758" y="464"/>
                    <a:pt x="1758" y="464"/>
                  </a:cubicBezTo>
                  <a:cubicBezTo>
                    <a:pt x="1759" y="465"/>
                    <a:pt x="1759" y="465"/>
                    <a:pt x="1759" y="465"/>
                  </a:cubicBezTo>
                  <a:cubicBezTo>
                    <a:pt x="1759" y="465"/>
                    <a:pt x="1759" y="465"/>
                    <a:pt x="1759" y="466"/>
                  </a:cubicBezTo>
                  <a:cubicBezTo>
                    <a:pt x="1759" y="466"/>
                    <a:pt x="1759" y="466"/>
                    <a:pt x="1759" y="466"/>
                  </a:cubicBezTo>
                  <a:cubicBezTo>
                    <a:pt x="1759" y="466"/>
                    <a:pt x="1759" y="466"/>
                    <a:pt x="1759" y="466"/>
                  </a:cubicBezTo>
                  <a:cubicBezTo>
                    <a:pt x="1759" y="466"/>
                    <a:pt x="1759" y="466"/>
                    <a:pt x="1759" y="466"/>
                  </a:cubicBezTo>
                  <a:cubicBezTo>
                    <a:pt x="1759" y="467"/>
                    <a:pt x="1759" y="467"/>
                    <a:pt x="1759" y="467"/>
                  </a:cubicBezTo>
                  <a:cubicBezTo>
                    <a:pt x="1758" y="467"/>
                    <a:pt x="1758" y="467"/>
                    <a:pt x="1758" y="467"/>
                  </a:cubicBezTo>
                  <a:cubicBezTo>
                    <a:pt x="1758" y="468"/>
                    <a:pt x="1758" y="468"/>
                    <a:pt x="1758" y="468"/>
                  </a:cubicBezTo>
                  <a:cubicBezTo>
                    <a:pt x="1758" y="468"/>
                    <a:pt x="1758" y="468"/>
                    <a:pt x="1758" y="468"/>
                  </a:cubicBezTo>
                  <a:cubicBezTo>
                    <a:pt x="1757" y="469"/>
                    <a:pt x="1757" y="469"/>
                    <a:pt x="1757" y="469"/>
                  </a:cubicBezTo>
                  <a:cubicBezTo>
                    <a:pt x="1757" y="469"/>
                    <a:pt x="1757" y="469"/>
                    <a:pt x="1757" y="469"/>
                  </a:cubicBezTo>
                  <a:cubicBezTo>
                    <a:pt x="1757" y="470"/>
                    <a:pt x="1757" y="470"/>
                    <a:pt x="1757" y="470"/>
                  </a:cubicBezTo>
                  <a:cubicBezTo>
                    <a:pt x="1757" y="470"/>
                    <a:pt x="1757" y="470"/>
                    <a:pt x="1757" y="470"/>
                  </a:cubicBezTo>
                  <a:cubicBezTo>
                    <a:pt x="1757" y="471"/>
                    <a:pt x="1757" y="471"/>
                    <a:pt x="1757" y="471"/>
                  </a:cubicBezTo>
                  <a:cubicBezTo>
                    <a:pt x="1757" y="471"/>
                    <a:pt x="1757" y="471"/>
                    <a:pt x="1757" y="471"/>
                  </a:cubicBezTo>
                  <a:cubicBezTo>
                    <a:pt x="1757" y="471"/>
                    <a:pt x="1757" y="471"/>
                    <a:pt x="1757" y="471"/>
                  </a:cubicBezTo>
                  <a:cubicBezTo>
                    <a:pt x="1757" y="471"/>
                    <a:pt x="1758" y="471"/>
                    <a:pt x="1758" y="471"/>
                  </a:cubicBezTo>
                  <a:cubicBezTo>
                    <a:pt x="1759" y="471"/>
                    <a:pt x="1759" y="471"/>
                    <a:pt x="1759" y="471"/>
                  </a:cubicBezTo>
                  <a:cubicBezTo>
                    <a:pt x="1759" y="472"/>
                    <a:pt x="1759" y="472"/>
                    <a:pt x="1759" y="472"/>
                  </a:cubicBezTo>
                  <a:cubicBezTo>
                    <a:pt x="1759" y="472"/>
                    <a:pt x="1760" y="472"/>
                    <a:pt x="1760" y="472"/>
                  </a:cubicBezTo>
                  <a:cubicBezTo>
                    <a:pt x="1760" y="472"/>
                    <a:pt x="1760" y="472"/>
                    <a:pt x="1760" y="472"/>
                  </a:cubicBezTo>
                  <a:cubicBezTo>
                    <a:pt x="1761" y="472"/>
                    <a:pt x="1761" y="472"/>
                    <a:pt x="1761" y="472"/>
                  </a:cubicBezTo>
                  <a:cubicBezTo>
                    <a:pt x="1761" y="472"/>
                    <a:pt x="1761" y="472"/>
                    <a:pt x="1761" y="472"/>
                  </a:cubicBezTo>
                  <a:cubicBezTo>
                    <a:pt x="1760" y="472"/>
                    <a:pt x="1760" y="472"/>
                    <a:pt x="1760" y="472"/>
                  </a:cubicBezTo>
                  <a:cubicBezTo>
                    <a:pt x="1760" y="472"/>
                    <a:pt x="1760" y="472"/>
                    <a:pt x="1760" y="472"/>
                  </a:cubicBezTo>
                  <a:cubicBezTo>
                    <a:pt x="1758" y="472"/>
                    <a:pt x="1758" y="472"/>
                    <a:pt x="1758" y="472"/>
                  </a:cubicBezTo>
                  <a:cubicBezTo>
                    <a:pt x="1757" y="472"/>
                    <a:pt x="1757" y="472"/>
                    <a:pt x="1757" y="472"/>
                  </a:cubicBezTo>
                  <a:cubicBezTo>
                    <a:pt x="1757" y="472"/>
                    <a:pt x="1757" y="472"/>
                    <a:pt x="1757" y="472"/>
                  </a:cubicBezTo>
                  <a:cubicBezTo>
                    <a:pt x="1757" y="472"/>
                    <a:pt x="1757" y="472"/>
                    <a:pt x="1757" y="472"/>
                  </a:cubicBezTo>
                  <a:cubicBezTo>
                    <a:pt x="1756" y="471"/>
                    <a:pt x="1756" y="471"/>
                    <a:pt x="1756" y="471"/>
                  </a:cubicBezTo>
                  <a:cubicBezTo>
                    <a:pt x="1756" y="471"/>
                    <a:pt x="1756" y="471"/>
                    <a:pt x="1756" y="471"/>
                  </a:cubicBezTo>
                  <a:cubicBezTo>
                    <a:pt x="1756" y="471"/>
                    <a:pt x="1756" y="471"/>
                    <a:pt x="1756" y="471"/>
                  </a:cubicBezTo>
                  <a:cubicBezTo>
                    <a:pt x="1756" y="471"/>
                    <a:pt x="1756" y="471"/>
                    <a:pt x="1756" y="471"/>
                  </a:cubicBezTo>
                  <a:cubicBezTo>
                    <a:pt x="1756" y="471"/>
                    <a:pt x="1756" y="471"/>
                    <a:pt x="1756" y="471"/>
                  </a:cubicBezTo>
                  <a:cubicBezTo>
                    <a:pt x="1756" y="471"/>
                    <a:pt x="1755" y="470"/>
                    <a:pt x="1755" y="470"/>
                  </a:cubicBezTo>
                  <a:cubicBezTo>
                    <a:pt x="1754" y="470"/>
                    <a:pt x="1754" y="470"/>
                    <a:pt x="1754" y="470"/>
                  </a:cubicBezTo>
                  <a:cubicBezTo>
                    <a:pt x="1754" y="470"/>
                    <a:pt x="1754" y="470"/>
                    <a:pt x="1754" y="470"/>
                  </a:cubicBezTo>
                  <a:cubicBezTo>
                    <a:pt x="1754" y="470"/>
                    <a:pt x="1754" y="470"/>
                    <a:pt x="1754" y="470"/>
                  </a:cubicBezTo>
                  <a:cubicBezTo>
                    <a:pt x="1754" y="470"/>
                    <a:pt x="1754" y="470"/>
                    <a:pt x="1754" y="470"/>
                  </a:cubicBezTo>
                  <a:cubicBezTo>
                    <a:pt x="1753" y="470"/>
                    <a:pt x="1753" y="469"/>
                    <a:pt x="1752" y="470"/>
                  </a:cubicBezTo>
                  <a:cubicBezTo>
                    <a:pt x="1752" y="470"/>
                    <a:pt x="1752" y="470"/>
                    <a:pt x="1752" y="470"/>
                  </a:cubicBezTo>
                  <a:cubicBezTo>
                    <a:pt x="1752" y="470"/>
                    <a:pt x="1752" y="470"/>
                    <a:pt x="1752" y="470"/>
                  </a:cubicBezTo>
                  <a:cubicBezTo>
                    <a:pt x="1751" y="471"/>
                    <a:pt x="1751" y="471"/>
                    <a:pt x="1751" y="471"/>
                  </a:cubicBezTo>
                  <a:cubicBezTo>
                    <a:pt x="1751" y="471"/>
                    <a:pt x="1751" y="471"/>
                    <a:pt x="1751" y="471"/>
                  </a:cubicBezTo>
                  <a:cubicBezTo>
                    <a:pt x="1751" y="471"/>
                    <a:pt x="1751" y="471"/>
                    <a:pt x="1751" y="471"/>
                  </a:cubicBezTo>
                  <a:cubicBezTo>
                    <a:pt x="1751" y="471"/>
                    <a:pt x="1751" y="471"/>
                    <a:pt x="1751" y="471"/>
                  </a:cubicBezTo>
                  <a:cubicBezTo>
                    <a:pt x="1750" y="471"/>
                    <a:pt x="1750" y="471"/>
                    <a:pt x="1750" y="471"/>
                  </a:cubicBezTo>
                  <a:cubicBezTo>
                    <a:pt x="1750" y="471"/>
                    <a:pt x="1750" y="471"/>
                    <a:pt x="1750" y="471"/>
                  </a:cubicBezTo>
                  <a:cubicBezTo>
                    <a:pt x="1750" y="471"/>
                    <a:pt x="1750" y="471"/>
                    <a:pt x="1750" y="471"/>
                  </a:cubicBezTo>
                  <a:cubicBezTo>
                    <a:pt x="1749" y="471"/>
                    <a:pt x="1749" y="471"/>
                    <a:pt x="1749" y="471"/>
                  </a:cubicBezTo>
                  <a:cubicBezTo>
                    <a:pt x="1749" y="471"/>
                    <a:pt x="1749" y="471"/>
                    <a:pt x="1749" y="471"/>
                  </a:cubicBezTo>
                  <a:cubicBezTo>
                    <a:pt x="1749" y="471"/>
                    <a:pt x="1749" y="471"/>
                    <a:pt x="1749" y="471"/>
                  </a:cubicBezTo>
                  <a:cubicBezTo>
                    <a:pt x="1749" y="472"/>
                    <a:pt x="1749" y="472"/>
                    <a:pt x="1749" y="472"/>
                  </a:cubicBezTo>
                  <a:cubicBezTo>
                    <a:pt x="1749" y="473"/>
                    <a:pt x="1749" y="473"/>
                    <a:pt x="1749" y="473"/>
                  </a:cubicBezTo>
                  <a:cubicBezTo>
                    <a:pt x="1749" y="475"/>
                    <a:pt x="1749" y="475"/>
                    <a:pt x="1749" y="475"/>
                  </a:cubicBezTo>
                  <a:cubicBezTo>
                    <a:pt x="1749" y="476"/>
                    <a:pt x="1749" y="476"/>
                    <a:pt x="1749" y="476"/>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8"/>
                    <a:pt x="1749" y="478"/>
                    <a:pt x="1749" y="478"/>
                  </a:cubicBezTo>
                  <a:cubicBezTo>
                    <a:pt x="1749" y="478"/>
                    <a:pt x="1749" y="478"/>
                    <a:pt x="1749" y="478"/>
                  </a:cubicBezTo>
                  <a:cubicBezTo>
                    <a:pt x="1749" y="478"/>
                    <a:pt x="1749" y="478"/>
                    <a:pt x="1749" y="478"/>
                  </a:cubicBezTo>
                  <a:cubicBezTo>
                    <a:pt x="1750" y="478"/>
                    <a:pt x="1750" y="479"/>
                    <a:pt x="1750" y="479"/>
                  </a:cubicBezTo>
                  <a:cubicBezTo>
                    <a:pt x="1750" y="479"/>
                    <a:pt x="1750" y="479"/>
                    <a:pt x="1750" y="479"/>
                  </a:cubicBezTo>
                  <a:cubicBezTo>
                    <a:pt x="1750" y="480"/>
                    <a:pt x="1750" y="480"/>
                    <a:pt x="1750" y="480"/>
                  </a:cubicBezTo>
                  <a:cubicBezTo>
                    <a:pt x="1750" y="480"/>
                    <a:pt x="1750" y="480"/>
                    <a:pt x="1750" y="480"/>
                  </a:cubicBezTo>
                  <a:cubicBezTo>
                    <a:pt x="1751" y="482"/>
                    <a:pt x="1751" y="481"/>
                    <a:pt x="1753" y="481"/>
                  </a:cubicBezTo>
                  <a:cubicBezTo>
                    <a:pt x="1753" y="481"/>
                    <a:pt x="1753" y="481"/>
                    <a:pt x="1753" y="481"/>
                  </a:cubicBezTo>
                  <a:cubicBezTo>
                    <a:pt x="1754" y="481"/>
                    <a:pt x="1754" y="481"/>
                    <a:pt x="1754" y="481"/>
                  </a:cubicBezTo>
                  <a:cubicBezTo>
                    <a:pt x="1754" y="481"/>
                    <a:pt x="1754" y="481"/>
                    <a:pt x="1754" y="481"/>
                  </a:cubicBezTo>
                  <a:cubicBezTo>
                    <a:pt x="1754" y="481"/>
                    <a:pt x="1754" y="481"/>
                    <a:pt x="1754" y="481"/>
                  </a:cubicBezTo>
                  <a:cubicBezTo>
                    <a:pt x="1754" y="481"/>
                    <a:pt x="1754" y="481"/>
                    <a:pt x="1754" y="481"/>
                  </a:cubicBezTo>
                  <a:cubicBezTo>
                    <a:pt x="1754" y="482"/>
                    <a:pt x="1754" y="482"/>
                    <a:pt x="1755" y="482"/>
                  </a:cubicBezTo>
                  <a:cubicBezTo>
                    <a:pt x="1755" y="482"/>
                    <a:pt x="1755" y="482"/>
                    <a:pt x="1755" y="482"/>
                  </a:cubicBezTo>
                  <a:cubicBezTo>
                    <a:pt x="1755" y="482"/>
                    <a:pt x="1755" y="482"/>
                    <a:pt x="1755" y="482"/>
                  </a:cubicBezTo>
                  <a:cubicBezTo>
                    <a:pt x="1755" y="482"/>
                    <a:pt x="1755" y="482"/>
                    <a:pt x="1755" y="482"/>
                  </a:cubicBezTo>
                  <a:cubicBezTo>
                    <a:pt x="1755" y="482"/>
                    <a:pt x="1755" y="482"/>
                    <a:pt x="1755"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3"/>
                    <a:pt x="1756" y="483"/>
                    <a:pt x="1756" y="483"/>
                  </a:cubicBezTo>
                  <a:cubicBezTo>
                    <a:pt x="1757" y="483"/>
                    <a:pt x="1757" y="483"/>
                    <a:pt x="1757" y="483"/>
                  </a:cubicBezTo>
                  <a:cubicBezTo>
                    <a:pt x="1757" y="483"/>
                    <a:pt x="1757" y="483"/>
                    <a:pt x="1757" y="483"/>
                  </a:cubicBezTo>
                  <a:cubicBezTo>
                    <a:pt x="1757" y="483"/>
                    <a:pt x="1757" y="483"/>
                    <a:pt x="1757" y="483"/>
                  </a:cubicBezTo>
                  <a:cubicBezTo>
                    <a:pt x="1757" y="483"/>
                    <a:pt x="1757" y="483"/>
                    <a:pt x="1757" y="483"/>
                  </a:cubicBezTo>
                  <a:cubicBezTo>
                    <a:pt x="1757" y="484"/>
                    <a:pt x="1757" y="484"/>
                    <a:pt x="1758" y="484"/>
                  </a:cubicBezTo>
                  <a:cubicBezTo>
                    <a:pt x="1758" y="484"/>
                    <a:pt x="1758" y="484"/>
                    <a:pt x="1758" y="484"/>
                  </a:cubicBezTo>
                  <a:cubicBezTo>
                    <a:pt x="1758" y="484"/>
                    <a:pt x="1758" y="484"/>
                    <a:pt x="1758" y="484"/>
                  </a:cubicBezTo>
                  <a:cubicBezTo>
                    <a:pt x="1759" y="485"/>
                    <a:pt x="1759" y="485"/>
                    <a:pt x="1760" y="485"/>
                  </a:cubicBezTo>
                  <a:cubicBezTo>
                    <a:pt x="1760" y="485"/>
                    <a:pt x="1760" y="485"/>
                    <a:pt x="1760" y="485"/>
                  </a:cubicBezTo>
                  <a:cubicBezTo>
                    <a:pt x="1760" y="485"/>
                    <a:pt x="1760" y="485"/>
                    <a:pt x="1760" y="485"/>
                  </a:cubicBezTo>
                  <a:cubicBezTo>
                    <a:pt x="1760" y="486"/>
                    <a:pt x="1760" y="486"/>
                    <a:pt x="1760" y="486"/>
                  </a:cubicBezTo>
                  <a:cubicBezTo>
                    <a:pt x="1761" y="486"/>
                    <a:pt x="1761" y="486"/>
                    <a:pt x="1761" y="486"/>
                  </a:cubicBezTo>
                  <a:cubicBezTo>
                    <a:pt x="1760" y="486"/>
                    <a:pt x="1760" y="486"/>
                    <a:pt x="1760" y="486"/>
                  </a:cubicBezTo>
                  <a:cubicBezTo>
                    <a:pt x="1760" y="485"/>
                    <a:pt x="1760" y="485"/>
                    <a:pt x="1760" y="485"/>
                  </a:cubicBezTo>
                  <a:cubicBezTo>
                    <a:pt x="1758" y="485"/>
                    <a:pt x="1758" y="485"/>
                    <a:pt x="1758" y="485"/>
                  </a:cubicBezTo>
                  <a:cubicBezTo>
                    <a:pt x="1757" y="484"/>
                    <a:pt x="1756" y="484"/>
                    <a:pt x="1756" y="483"/>
                  </a:cubicBezTo>
                  <a:cubicBezTo>
                    <a:pt x="1756" y="483"/>
                    <a:pt x="1756" y="483"/>
                    <a:pt x="1756" y="483"/>
                  </a:cubicBezTo>
                  <a:cubicBezTo>
                    <a:pt x="1756" y="483"/>
                    <a:pt x="1756" y="483"/>
                    <a:pt x="1756" y="483"/>
                  </a:cubicBezTo>
                  <a:cubicBezTo>
                    <a:pt x="1755" y="483"/>
                    <a:pt x="1754" y="483"/>
                    <a:pt x="1753" y="482"/>
                  </a:cubicBezTo>
                  <a:cubicBezTo>
                    <a:pt x="1753" y="482"/>
                    <a:pt x="1753" y="482"/>
                    <a:pt x="1753" y="482"/>
                  </a:cubicBezTo>
                  <a:cubicBezTo>
                    <a:pt x="1753" y="482"/>
                    <a:pt x="1753" y="482"/>
                    <a:pt x="1753" y="482"/>
                  </a:cubicBezTo>
                  <a:cubicBezTo>
                    <a:pt x="1753" y="482"/>
                    <a:pt x="1753" y="482"/>
                    <a:pt x="1753" y="482"/>
                  </a:cubicBezTo>
                  <a:cubicBezTo>
                    <a:pt x="1753" y="482"/>
                    <a:pt x="1753" y="482"/>
                    <a:pt x="1753" y="482"/>
                  </a:cubicBezTo>
                  <a:cubicBezTo>
                    <a:pt x="1751" y="482"/>
                    <a:pt x="1751" y="483"/>
                    <a:pt x="1750" y="483"/>
                  </a:cubicBezTo>
                  <a:cubicBezTo>
                    <a:pt x="1750" y="483"/>
                    <a:pt x="1750" y="483"/>
                    <a:pt x="1750" y="483"/>
                  </a:cubicBezTo>
                  <a:cubicBezTo>
                    <a:pt x="1750" y="482"/>
                    <a:pt x="1750" y="482"/>
                    <a:pt x="1750" y="482"/>
                  </a:cubicBezTo>
                  <a:cubicBezTo>
                    <a:pt x="1749" y="482"/>
                    <a:pt x="1749" y="483"/>
                    <a:pt x="1748" y="482"/>
                  </a:cubicBezTo>
                  <a:cubicBezTo>
                    <a:pt x="1748" y="482"/>
                    <a:pt x="1748" y="482"/>
                    <a:pt x="1748" y="482"/>
                  </a:cubicBezTo>
                  <a:cubicBezTo>
                    <a:pt x="1748" y="482"/>
                    <a:pt x="1748" y="482"/>
                    <a:pt x="1748" y="482"/>
                  </a:cubicBezTo>
                  <a:cubicBezTo>
                    <a:pt x="1748" y="482"/>
                    <a:pt x="1748" y="482"/>
                    <a:pt x="1748" y="482"/>
                  </a:cubicBezTo>
                  <a:cubicBezTo>
                    <a:pt x="1748" y="482"/>
                    <a:pt x="1748" y="482"/>
                    <a:pt x="1748" y="482"/>
                  </a:cubicBezTo>
                  <a:cubicBezTo>
                    <a:pt x="1749" y="483"/>
                    <a:pt x="1750" y="484"/>
                    <a:pt x="1751" y="485"/>
                  </a:cubicBezTo>
                  <a:cubicBezTo>
                    <a:pt x="1751" y="485"/>
                    <a:pt x="1751" y="485"/>
                    <a:pt x="1751" y="485"/>
                  </a:cubicBezTo>
                  <a:cubicBezTo>
                    <a:pt x="1751" y="485"/>
                    <a:pt x="1751" y="485"/>
                    <a:pt x="1751" y="485"/>
                  </a:cubicBezTo>
                  <a:cubicBezTo>
                    <a:pt x="1751" y="485"/>
                    <a:pt x="1751" y="485"/>
                    <a:pt x="1751" y="485"/>
                  </a:cubicBezTo>
                  <a:cubicBezTo>
                    <a:pt x="1751" y="486"/>
                    <a:pt x="1751" y="486"/>
                    <a:pt x="1751" y="486"/>
                  </a:cubicBezTo>
                  <a:cubicBezTo>
                    <a:pt x="1750" y="487"/>
                    <a:pt x="1750" y="487"/>
                    <a:pt x="1750" y="487"/>
                  </a:cubicBezTo>
                  <a:cubicBezTo>
                    <a:pt x="1750" y="487"/>
                    <a:pt x="1750" y="487"/>
                    <a:pt x="1750" y="487"/>
                  </a:cubicBezTo>
                  <a:cubicBezTo>
                    <a:pt x="1750" y="487"/>
                    <a:pt x="1750" y="487"/>
                    <a:pt x="1750" y="487"/>
                  </a:cubicBezTo>
                  <a:cubicBezTo>
                    <a:pt x="1750" y="487"/>
                    <a:pt x="1750" y="487"/>
                    <a:pt x="1750" y="487"/>
                  </a:cubicBezTo>
                  <a:cubicBezTo>
                    <a:pt x="1751" y="487"/>
                    <a:pt x="1751" y="487"/>
                    <a:pt x="1751" y="488"/>
                  </a:cubicBezTo>
                  <a:cubicBezTo>
                    <a:pt x="1751" y="488"/>
                    <a:pt x="1751" y="488"/>
                    <a:pt x="1751" y="488"/>
                  </a:cubicBezTo>
                  <a:cubicBezTo>
                    <a:pt x="1751" y="488"/>
                    <a:pt x="1751" y="488"/>
                    <a:pt x="1751" y="488"/>
                  </a:cubicBezTo>
                  <a:cubicBezTo>
                    <a:pt x="1752" y="488"/>
                    <a:pt x="1752" y="488"/>
                    <a:pt x="1752" y="489"/>
                  </a:cubicBezTo>
                  <a:cubicBezTo>
                    <a:pt x="1752" y="489"/>
                    <a:pt x="1752" y="489"/>
                    <a:pt x="1752" y="489"/>
                  </a:cubicBezTo>
                  <a:cubicBezTo>
                    <a:pt x="1752" y="489"/>
                    <a:pt x="1752" y="489"/>
                    <a:pt x="1752" y="489"/>
                  </a:cubicBezTo>
                  <a:cubicBezTo>
                    <a:pt x="1752" y="489"/>
                    <a:pt x="1752" y="489"/>
                    <a:pt x="1752" y="489"/>
                  </a:cubicBezTo>
                  <a:cubicBezTo>
                    <a:pt x="1751" y="489"/>
                    <a:pt x="1751" y="489"/>
                    <a:pt x="1751" y="489"/>
                  </a:cubicBezTo>
                  <a:cubicBezTo>
                    <a:pt x="1750" y="488"/>
                    <a:pt x="1750" y="488"/>
                    <a:pt x="1750" y="488"/>
                  </a:cubicBezTo>
                  <a:cubicBezTo>
                    <a:pt x="1750" y="487"/>
                    <a:pt x="1750" y="487"/>
                    <a:pt x="1750"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8" y="486"/>
                    <a:pt x="1748" y="486"/>
                    <a:pt x="1748" y="486"/>
                  </a:cubicBezTo>
                  <a:cubicBezTo>
                    <a:pt x="1748" y="486"/>
                    <a:pt x="1748" y="486"/>
                    <a:pt x="1747" y="486"/>
                  </a:cubicBezTo>
                  <a:cubicBezTo>
                    <a:pt x="1747" y="486"/>
                    <a:pt x="1747" y="486"/>
                    <a:pt x="1747" y="486"/>
                  </a:cubicBezTo>
                  <a:cubicBezTo>
                    <a:pt x="1747" y="486"/>
                    <a:pt x="1747" y="486"/>
                    <a:pt x="1747" y="486"/>
                  </a:cubicBezTo>
                  <a:cubicBezTo>
                    <a:pt x="1747" y="486"/>
                    <a:pt x="1747" y="486"/>
                    <a:pt x="1747" y="486"/>
                  </a:cubicBezTo>
                  <a:cubicBezTo>
                    <a:pt x="1747" y="487"/>
                    <a:pt x="1747" y="487"/>
                    <a:pt x="1747" y="487"/>
                  </a:cubicBezTo>
                  <a:cubicBezTo>
                    <a:pt x="1748" y="488"/>
                    <a:pt x="1748" y="488"/>
                    <a:pt x="1748" y="488"/>
                  </a:cubicBezTo>
                  <a:cubicBezTo>
                    <a:pt x="1748" y="489"/>
                    <a:pt x="1748" y="489"/>
                    <a:pt x="1748" y="489"/>
                  </a:cubicBezTo>
                  <a:cubicBezTo>
                    <a:pt x="1748" y="489"/>
                    <a:pt x="1748" y="489"/>
                    <a:pt x="1748" y="489"/>
                  </a:cubicBezTo>
                  <a:cubicBezTo>
                    <a:pt x="1748" y="489"/>
                    <a:pt x="1748" y="489"/>
                    <a:pt x="1748" y="489"/>
                  </a:cubicBezTo>
                  <a:cubicBezTo>
                    <a:pt x="1749" y="489"/>
                    <a:pt x="1749" y="489"/>
                    <a:pt x="1749" y="489"/>
                  </a:cubicBezTo>
                  <a:cubicBezTo>
                    <a:pt x="1749" y="490"/>
                    <a:pt x="1749" y="490"/>
                    <a:pt x="1749" y="490"/>
                  </a:cubicBezTo>
                  <a:cubicBezTo>
                    <a:pt x="1749" y="490"/>
                    <a:pt x="1749" y="490"/>
                    <a:pt x="1749" y="490"/>
                  </a:cubicBezTo>
                  <a:cubicBezTo>
                    <a:pt x="1749" y="490"/>
                    <a:pt x="1749" y="490"/>
                    <a:pt x="1749" y="490"/>
                  </a:cubicBezTo>
                  <a:cubicBezTo>
                    <a:pt x="1749" y="490"/>
                    <a:pt x="1749" y="490"/>
                    <a:pt x="1749" y="490"/>
                  </a:cubicBezTo>
                  <a:cubicBezTo>
                    <a:pt x="1749" y="490"/>
                    <a:pt x="1749" y="490"/>
                    <a:pt x="1749" y="490"/>
                  </a:cubicBezTo>
                  <a:cubicBezTo>
                    <a:pt x="1748" y="491"/>
                    <a:pt x="1748" y="491"/>
                    <a:pt x="1748" y="491"/>
                  </a:cubicBezTo>
                  <a:cubicBezTo>
                    <a:pt x="1747" y="491"/>
                    <a:pt x="1747" y="491"/>
                    <a:pt x="1747" y="491"/>
                  </a:cubicBezTo>
                  <a:cubicBezTo>
                    <a:pt x="1747" y="492"/>
                    <a:pt x="1747" y="492"/>
                    <a:pt x="1747" y="492"/>
                  </a:cubicBezTo>
                  <a:cubicBezTo>
                    <a:pt x="1747" y="492"/>
                    <a:pt x="1747" y="492"/>
                    <a:pt x="1747" y="492"/>
                  </a:cubicBezTo>
                  <a:cubicBezTo>
                    <a:pt x="1746" y="492"/>
                    <a:pt x="1746" y="492"/>
                    <a:pt x="1746" y="492"/>
                  </a:cubicBezTo>
                  <a:cubicBezTo>
                    <a:pt x="1745" y="490"/>
                    <a:pt x="1745" y="490"/>
                    <a:pt x="1745" y="490"/>
                  </a:cubicBezTo>
                  <a:cubicBezTo>
                    <a:pt x="1745" y="490"/>
                    <a:pt x="1745" y="490"/>
                    <a:pt x="1745" y="490"/>
                  </a:cubicBezTo>
                  <a:cubicBezTo>
                    <a:pt x="1744" y="490"/>
                    <a:pt x="1744" y="490"/>
                    <a:pt x="1744" y="490"/>
                  </a:cubicBezTo>
                  <a:cubicBezTo>
                    <a:pt x="1744" y="490"/>
                    <a:pt x="1744" y="490"/>
                    <a:pt x="1744" y="490"/>
                  </a:cubicBezTo>
                  <a:cubicBezTo>
                    <a:pt x="1744" y="489"/>
                    <a:pt x="1744" y="489"/>
                    <a:pt x="1744" y="489"/>
                  </a:cubicBezTo>
                  <a:cubicBezTo>
                    <a:pt x="1744" y="489"/>
                    <a:pt x="1744" y="489"/>
                    <a:pt x="1744" y="489"/>
                  </a:cubicBezTo>
                  <a:cubicBezTo>
                    <a:pt x="1744" y="489"/>
                    <a:pt x="1744" y="489"/>
                    <a:pt x="1744" y="489"/>
                  </a:cubicBezTo>
                  <a:cubicBezTo>
                    <a:pt x="1743" y="489"/>
                    <a:pt x="1743" y="489"/>
                    <a:pt x="1743" y="489"/>
                  </a:cubicBezTo>
                  <a:cubicBezTo>
                    <a:pt x="1743" y="489"/>
                    <a:pt x="1743" y="489"/>
                    <a:pt x="1743" y="489"/>
                  </a:cubicBezTo>
                  <a:cubicBezTo>
                    <a:pt x="1743" y="490"/>
                    <a:pt x="1743" y="490"/>
                    <a:pt x="1743" y="490"/>
                  </a:cubicBezTo>
                  <a:cubicBezTo>
                    <a:pt x="1743" y="491"/>
                    <a:pt x="1743" y="491"/>
                    <a:pt x="1743" y="491"/>
                  </a:cubicBezTo>
                  <a:cubicBezTo>
                    <a:pt x="1744" y="492"/>
                    <a:pt x="1744" y="492"/>
                    <a:pt x="1744" y="492"/>
                  </a:cubicBezTo>
                  <a:cubicBezTo>
                    <a:pt x="1744" y="494"/>
                    <a:pt x="1744" y="493"/>
                    <a:pt x="1745" y="495"/>
                  </a:cubicBezTo>
                  <a:cubicBezTo>
                    <a:pt x="1745" y="495"/>
                    <a:pt x="1745" y="495"/>
                    <a:pt x="1745" y="495"/>
                  </a:cubicBezTo>
                  <a:cubicBezTo>
                    <a:pt x="1745" y="495"/>
                    <a:pt x="1745" y="495"/>
                    <a:pt x="1745" y="495"/>
                  </a:cubicBezTo>
                  <a:cubicBezTo>
                    <a:pt x="1745" y="495"/>
                    <a:pt x="1745" y="495"/>
                    <a:pt x="1745" y="495"/>
                  </a:cubicBezTo>
                  <a:cubicBezTo>
                    <a:pt x="1745" y="495"/>
                    <a:pt x="1745" y="495"/>
                    <a:pt x="1745" y="495"/>
                  </a:cubicBezTo>
                  <a:cubicBezTo>
                    <a:pt x="1745" y="495"/>
                    <a:pt x="1745" y="495"/>
                    <a:pt x="1745" y="495"/>
                  </a:cubicBezTo>
                  <a:cubicBezTo>
                    <a:pt x="1745" y="496"/>
                    <a:pt x="1745" y="496"/>
                    <a:pt x="1745" y="496"/>
                  </a:cubicBezTo>
                  <a:cubicBezTo>
                    <a:pt x="1745" y="496"/>
                    <a:pt x="1745" y="496"/>
                    <a:pt x="1745" y="496"/>
                  </a:cubicBezTo>
                  <a:cubicBezTo>
                    <a:pt x="1745" y="496"/>
                    <a:pt x="1745" y="496"/>
                    <a:pt x="1745" y="496"/>
                  </a:cubicBezTo>
                  <a:cubicBezTo>
                    <a:pt x="1745" y="496"/>
                    <a:pt x="1745" y="496"/>
                    <a:pt x="1745" y="496"/>
                  </a:cubicBezTo>
                  <a:cubicBezTo>
                    <a:pt x="1745" y="496"/>
                    <a:pt x="1745" y="496"/>
                    <a:pt x="1746" y="496"/>
                  </a:cubicBezTo>
                  <a:cubicBezTo>
                    <a:pt x="1746" y="496"/>
                    <a:pt x="1746" y="496"/>
                    <a:pt x="1746" y="496"/>
                  </a:cubicBezTo>
                  <a:cubicBezTo>
                    <a:pt x="1746" y="496"/>
                    <a:pt x="1746" y="496"/>
                    <a:pt x="1746" y="496"/>
                  </a:cubicBezTo>
                  <a:cubicBezTo>
                    <a:pt x="1746" y="496"/>
                    <a:pt x="1746" y="496"/>
                    <a:pt x="1746" y="496"/>
                  </a:cubicBezTo>
                  <a:cubicBezTo>
                    <a:pt x="1746" y="496"/>
                    <a:pt x="1746" y="496"/>
                    <a:pt x="1746" y="496"/>
                  </a:cubicBezTo>
                  <a:cubicBezTo>
                    <a:pt x="1748" y="496"/>
                    <a:pt x="1747" y="495"/>
                    <a:pt x="1750" y="496"/>
                  </a:cubicBezTo>
                  <a:cubicBezTo>
                    <a:pt x="1750" y="496"/>
                    <a:pt x="1750" y="496"/>
                    <a:pt x="1750" y="496"/>
                  </a:cubicBezTo>
                  <a:cubicBezTo>
                    <a:pt x="1750" y="496"/>
                    <a:pt x="1750" y="496"/>
                    <a:pt x="1750" y="496"/>
                  </a:cubicBezTo>
                  <a:cubicBezTo>
                    <a:pt x="1752" y="497"/>
                    <a:pt x="1752" y="496"/>
                    <a:pt x="1753" y="497"/>
                  </a:cubicBezTo>
                  <a:cubicBezTo>
                    <a:pt x="1753" y="497"/>
                    <a:pt x="1753" y="497"/>
                    <a:pt x="1753" y="497"/>
                  </a:cubicBezTo>
                  <a:cubicBezTo>
                    <a:pt x="1753" y="497"/>
                    <a:pt x="1753" y="497"/>
                    <a:pt x="1753" y="497"/>
                  </a:cubicBezTo>
                  <a:cubicBezTo>
                    <a:pt x="1753" y="497"/>
                    <a:pt x="1753" y="497"/>
                    <a:pt x="1753" y="497"/>
                  </a:cubicBezTo>
                  <a:cubicBezTo>
                    <a:pt x="1752" y="497"/>
                    <a:pt x="1752" y="497"/>
                    <a:pt x="1752" y="497"/>
                  </a:cubicBezTo>
                  <a:cubicBezTo>
                    <a:pt x="1751" y="497"/>
                    <a:pt x="1751" y="497"/>
                    <a:pt x="1751" y="497"/>
                  </a:cubicBezTo>
                  <a:cubicBezTo>
                    <a:pt x="1748" y="497"/>
                    <a:pt x="1748" y="497"/>
                    <a:pt x="1748" y="497"/>
                  </a:cubicBezTo>
                  <a:cubicBezTo>
                    <a:pt x="1746" y="497"/>
                    <a:pt x="1746" y="497"/>
                    <a:pt x="1746"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4" y="497"/>
                    <a:pt x="1744" y="497"/>
                    <a:pt x="1743" y="498"/>
                  </a:cubicBezTo>
                  <a:cubicBezTo>
                    <a:pt x="1743" y="498"/>
                    <a:pt x="1743" y="498"/>
                    <a:pt x="1743" y="498"/>
                  </a:cubicBezTo>
                  <a:cubicBezTo>
                    <a:pt x="1743" y="498"/>
                    <a:pt x="1743" y="498"/>
                    <a:pt x="1743" y="498"/>
                  </a:cubicBezTo>
                  <a:cubicBezTo>
                    <a:pt x="1743" y="498"/>
                    <a:pt x="1743" y="498"/>
                    <a:pt x="1743" y="498"/>
                  </a:cubicBezTo>
                  <a:cubicBezTo>
                    <a:pt x="1743" y="498"/>
                    <a:pt x="1743" y="498"/>
                    <a:pt x="1743" y="498"/>
                  </a:cubicBezTo>
                  <a:cubicBezTo>
                    <a:pt x="1744" y="499"/>
                    <a:pt x="1744" y="499"/>
                    <a:pt x="1744" y="499"/>
                  </a:cubicBezTo>
                  <a:cubicBezTo>
                    <a:pt x="1745" y="500"/>
                    <a:pt x="1745" y="500"/>
                    <a:pt x="1745" y="500"/>
                  </a:cubicBezTo>
                  <a:cubicBezTo>
                    <a:pt x="1745" y="500"/>
                    <a:pt x="1745" y="500"/>
                    <a:pt x="1745" y="500"/>
                  </a:cubicBezTo>
                  <a:cubicBezTo>
                    <a:pt x="1745" y="500"/>
                    <a:pt x="1745" y="500"/>
                    <a:pt x="1745" y="500"/>
                  </a:cubicBezTo>
                  <a:cubicBezTo>
                    <a:pt x="1745" y="500"/>
                    <a:pt x="1745" y="500"/>
                    <a:pt x="1745" y="500"/>
                  </a:cubicBezTo>
                  <a:cubicBezTo>
                    <a:pt x="1745" y="501"/>
                    <a:pt x="1745" y="501"/>
                    <a:pt x="1745" y="501"/>
                  </a:cubicBezTo>
                  <a:cubicBezTo>
                    <a:pt x="1745" y="501"/>
                    <a:pt x="1745" y="501"/>
                    <a:pt x="1745" y="501"/>
                  </a:cubicBezTo>
                  <a:cubicBezTo>
                    <a:pt x="1745" y="501"/>
                    <a:pt x="1745" y="501"/>
                    <a:pt x="1745" y="501"/>
                  </a:cubicBezTo>
                  <a:cubicBezTo>
                    <a:pt x="1744" y="501"/>
                    <a:pt x="1744" y="501"/>
                    <a:pt x="1744" y="501"/>
                  </a:cubicBezTo>
                  <a:cubicBezTo>
                    <a:pt x="1744" y="501"/>
                    <a:pt x="1744" y="501"/>
                    <a:pt x="1744" y="501"/>
                  </a:cubicBezTo>
                  <a:cubicBezTo>
                    <a:pt x="1742" y="500"/>
                    <a:pt x="1742" y="500"/>
                    <a:pt x="1742" y="500"/>
                  </a:cubicBezTo>
                  <a:cubicBezTo>
                    <a:pt x="1742" y="499"/>
                    <a:pt x="1742" y="499"/>
                    <a:pt x="1742"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0" y="498"/>
                    <a:pt x="1740" y="498"/>
                    <a:pt x="1740" y="498"/>
                  </a:cubicBezTo>
                  <a:cubicBezTo>
                    <a:pt x="1740" y="498"/>
                    <a:pt x="1740" y="498"/>
                    <a:pt x="1740" y="498"/>
                  </a:cubicBezTo>
                  <a:cubicBezTo>
                    <a:pt x="1740" y="499"/>
                    <a:pt x="1740" y="499"/>
                    <a:pt x="1740" y="499"/>
                  </a:cubicBezTo>
                  <a:cubicBezTo>
                    <a:pt x="1740" y="499"/>
                    <a:pt x="1740" y="499"/>
                    <a:pt x="1740" y="499"/>
                  </a:cubicBezTo>
                  <a:cubicBezTo>
                    <a:pt x="1739" y="502"/>
                    <a:pt x="1739" y="502"/>
                    <a:pt x="1739" y="502"/>
                  </a:cubicBezTo>
                  <a:cubicBezTo>
                    <a:pt x="1739" y="502"/>
                    <a:pt x="1739" y="502"/>
                    <a:pt x="1739" y="502"/>
                  </a:cubicBezTo>
                  <a:cubicBezTo>
                    <a:pt x="1739" y="503"/>
                    <a:pt x="1739" y="503"/>
                    <a:pt x="1739" y="503"/>
                  </a:cubicBezTo>
                  <a:cubicBezTo>
                    <a:pt x="1739" y="503"/>
                    <a:pt x="1739" y="503"/>
                    <a:pt x="1739"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1" y="503"/>
                    <a:pt x="1741" y="503"/>
                    <a:pt x="1741" y="503"/>
                  </a:cubicBezTo>
                  <a:cubicBezTo>
                    <a:pt x="1741" y="503"/>
                    <a:pt x="1741" y="503"/>
                    <a:pt x="1741" y="503"/>
                  </a:cubicBezTo>
                  <a:cubicBezTo>
                    <a:pt x="1741" y="503"/>
                    <a:pt x="1741" y="503"/>
                    <a:pt x="1741" y="503"/>
                  </a:cubicBezTo>
                  <a:cubicBezTo>
                    <a:pt x="1741" y="503"/>
                    <a:pt x="1741" y="503"/>
                    <a:pt x="1741" y="503"/>
                  </a:cubicBezTo>
                  <a:cubicBezTo>
                    <a:pt x="1742" y="503"/>
                    <a:pt x="1742" y="503"/>
                    <a:pt x="1742" y="503"/>
                  </a:cubicBezTo>
                  <a:cubicBezTo>
                    <a:pt x="1742" y="503"/>
                    <a:pt x="1742" y="503"/>
                    <a:pt x="1742" y="503"/>
                  </a:cubicBezTo>
                  <a:cubicBezTo>
                    <a:pt x="1742" y="503"/>
                    <a:pt x="1742" y="503"/>
                    <a:pt x="1742" y="503"/>
                  </a:cubicBezTo>
                  <a:cubicBezTo>
                    <a:pt x="1742" y="503"/>
                    <a:pt x="1742" y="503"/>
                    <a:pt x="1742" y="503"/>
                  </a:cubicBezTo>
                  <a:cubicBezTo>
                    <a:pt x="1742" y="503"/>
                    <a:pt x="1742" y="503"/>
                    <a:pt x="1742" y="503"/>
                  </a:cubicBezTo>
                  <a:cubicBezTo>
                    <a:pt x="1742" y="504"/>
                    <a:pt x="1742" y="504"/>
                    <a:pt x="1742" y="504"/>
                  </a:cubicBezTo>
                  <a:cubicBezTo>
                    <a:pt x="1742" y="504"/>
                    <a:pt x="1742" y="504"/>
                    <a:pt x="1742" y="504"/>
                  </a:cubicBezTo>
                  <a:cubicBezTo>
                    <a:pt x="1742" y="504"/>
                    <a:pt x="1742" y="504"/>
                    <a:pt x="1742" y="504"/>
                  </a:cubicBezTo>
                  <a:cubicBezTo>
                    <a:pt x="1740" y="505"/>
                    <a:pt x="1738" y="506"/>
                    <a:pt x="1736" y="508"/>
                  </a:cubicBezTo>
                  <a:cubicBezTo>
                    <a:pt x="1736" y="508"/>
                    <a:pt x="1736" y="508"/>
                    <a:pt x="1736" y="508"/>
                  </a:cubicBezTo>
                  <a:cubicBezTo>
                    <a:pt x="1736" y="508"/>
                    <a:pt x="1736" y="508"/>
                    <a:pt x="1736" y="508"/>
                  </a:cubicBezTo>
                  <a:cubicBezTo>
                    <a:pt x="1737" y="509"/>
                    <a:pt x="1737" y="509"/>
                    <a:pt x="1737" y="509"/>
                  </a:cubicBezTo>
                  <a:cubicBezTo>
                    <a:pt x="1736" y="509"/>
                    <a:pt x="1736" y="509"/>
                    <a:pt x="1736" y="509"/>
                  </a:cubicBezTo>
                  <a:cubicBezTo>
                    <a:pt x="1736" y="509"/>
                    <a:pt x="1736" y="509"/>
                    <a:pt x="1736" y="509"/>
                  </a:cubicBezTo>
                  <a:cubicBezTo>
                    <a:pt x="1736" y="509"/>
                    <a:pt x="1736" y="509"/>
                    <a:pt x="1736"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9" y="509"/>
                    <a:pt x="1738" y="510"/>
                    <a:pt x="1739" y="511"/>
                  </a:cubicBezTo>
                  <a:cubicBezTo>
                    <a:pt x="1739" y="511"/>
                    <a:pt x="1739" y="511"/>
                    <a:pt x="1739" y="511"/>
                  </a:cubicBezTo>
                  <a:cubicBezTo>
                    <a:pt x="1739" y="511"/>
                    <a:pt x="1739" y="511"/>
                    <a:pt x="1739" y="511"/>
                  </a:cubicBezTo>
                  <a:cubicBezTo>
                    <a:pt x="1739" y="511"/>
                    <a:pt x="1739" y="511"/>
                    <a:pt x="1739" y="511"/>
                  </a:cubicBezTo>
                  <a:cubicBezTo>
                    <a:pt x="1739" y="511"/>
                    <a:pt x="1739" y="511"/>
                    <a:pt x="1739" y="511"/>
                  </a:cubicBezTo>
                  <a:cubicBezTo>
                    <a:pt x="1740" y="511"/>
                    <a:pt x="1740" y="511"/>
                    <a:pt x="1740" y="511"/>
                  </a:cubicBezTo>
                  <a:cubicBezTo>
                    <a:pt x="1740" y="511"/>
                    <a:pt x="1740" y="511"/>
                    <a:pt x="1740" y="511"/>
                  </a:cubicBezTo>
                  <a:cubicBezTo>
                    <a:pt x="1740" y="511"/>
                    <a:pt x="1740" y="511"/>
                    <a:pt x="1740" y="511"/>
                  </a:cubicBezTo>
                  <a:cubicBezTo>
                    <a:pt x="1740" y="511"/>
                    <a:pt x="1740" y="511"/>
                    <a:pt x="1740" y="511"/>
                  </a:cubicBezTo>
                  <a:cubicBezTo>
                    <a:pt x="1740" y="512"/>
                    <a:pt x="1740" y="512"/>
                    <a:pt x="1740" y="512"/>
                  </a:cubicBezTo>
                  <a:cubicBezTo>
                    <a:pt x="1740" y="512"/>
                    <a:pt x="1740" y="512"/>
                    <a:pt x="1740" y="512"/>
                  </a:cubicBezTo>
                  <a:cubicBezTo>
                    <a:pt x="1740" y="512"/>
                    <a:pt x="1740" y="512"/>
                    <a:pt x="1741" y="513"/>
                  </a:cubicBezTo>
                  <a:cubicBezTo>
                    <a:pt x="1741" y="513"/>
                    <a:pt x="1741" y="513"/>
                    <a:pt x="1741" y="513"/>
                  </a:cubicBezTo>
                  <a:cubicBezTo>
                    <a:pt x="1741" y="513"/>
                    <a:pt x="1741" y="513"/>
                    <a:pt x="1741" y="513"/>
                  </a:cubicBezTo>
                  <a:cubicBezTo>
                    <a:pt x="1741" y="513"/>
                    <a:pt x="1741" y="513"/>
                    <a:pt x="1741" y="513"/>
                  </a:cubicBezTo>
                  <a:cubicBezTo>
                    <a:pt x="1741" y="513"/>
                    <a:pt x="1741" y="513"/>
                    <a:pt x="1741" y="513"/>
                  </a:cubicBezTo>
                  <a:cubicBezTo>
                    <a:pt x="1741" y="513"/>
                    <a:pt x="1741" y="513"/>
                    <a:pt x="1741" y="513"/>
                  </a:cubicBezTo>
                  <a:cubicBezTo>
                    <a:pt x="1740" y="514"/>
                    <a:pt x="1740" y="514"/>
                    <a:pt x="1740" y="514"/>
                  </a:cubicBezTo>
                  <a:cubicBezTo>
                    <a:pt x="1739" y="516"/>
                    <a:pt x="1739" y="516"/>
                    <a:pt x="1739" y="516"/>
                  </a:cubicBezTo>
                  <a:cubicBezTo>
                    <a:pt x="1739" y="517"/>
                    <a:pt x="1739" y="517"/>
                    <a:pt x="1739" y="517"/>
                  </a:cubicBezTo>
                  <a:cubicBezTo>
                    <a:pt x="1738" y="517"/>
                    <a:pt x="1738" y="517"/>
                    <a:pt x="1738"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8"/>
                    <a:pt x="1739" y="518"/>
                    <a:pt x="1739" y="518"/>
                  </a:cubicBezTo>
                  <a:cubicBezTo>
                    <a:pt x="1739" y="518"/>
                    <a:pt x="1739" y="518"/>
                    <a:pt x="1739" y="518"/>
                  </a:cubicBezTo>
                  <a:cubicBezTo>
                    <a:pt x="1738" y="518"/>
                    <a:pt x="1738" y="518"/>
                    <a:pt x="1738" y="518"/>
                  </a:cubicBezTo>
                  <a:cubicBezTo>
                    <a:pt x="1738" y="519"/>
                    <a:pt x="1739" y="519"/>
                    <a:pt x="1738" y="520"/>
                  </a:cubicBezTo>
                  <a:cubicBezTo>
                    <a:pt x="1737" y="521"/>
                    <a:pt x="1737" y="521"/>
                    <a:pt x="1737" y="521"/>
                  </a:cubicBezTo>
                  <a:cubicBezTo>
                    <a:pt x="1736" y="521"/>
                    <a:pt x="1736" y="521"/>
                    <a:pt x="1736" y="521"/>
                  </a:cubicBezTo>
                  <a:cubicBezTo>
                    <a:pt x="1736" y="521"/>
                    <a:pt x="1736" y="521"/>
                    <a:pt x="1736" y="521"/>
                  </a:cubicBezTo>
                  <a:cubicBezTo>
                    <a:pt x="1736" y="521"/>
                    <a:pt x="1736" y="521"/>
                    <a:pt x="1736" y="521"/>
                  </a:cubicBezTo>
                  <a:cubicBezTo>
                    <a:pt x="1737" y="519"/>
                    <a:pt x="1737" y="519"/>
                    <a:pt x="1737" y="519"/>
                  </a:cubicBezTo>
                  <a:cubicBezTo>
                    <a:pt x="1737" y="518"/>
                    <a:pt x="1737" y="518"/>
                    <a:pt x="1737" y="518"/>
                  </a:cubicBezTo>
                  <a:cubicBezTo>
                    <a:pt x="1738" y="517"/>
                    <a:pt x="1736" y="517"/>
                    <a:pt x="1737" y="515"/>
                  </a:cubicBezTo>
                  <a:cubicBezTo>
                    <a:pt x="1737" y="515"/>
                    <a:pt x="1737" y="515"/>
                    <a:pt x="1737" y="515"/>
                  </a:cubicBezTo>
                  <a:cubicBezTo>
                    <a:pt x="1738" y="514"/>
                    <a:pt x="1738" y="514"/>
                    <a:pt x="1738" y="514"/>
                  </a:cubicBezTo>
                  <a:cubicBezTo>
                    <a:pt x="1738" y="514"/>
                    <a:pt x="1738" y="514"/>
                    <a:pt x="1738" y="514"/>
                  </a:cubicBezTo>
                  <a:cubicBezTo>
                    <a:pt x="1738" y="513"/>
                    <a:pt x="1738" y="514"/>
                    <a:pt x="1739" y="512"/>
                  </a:cubicBezTo>
                  <a:cubicBezTo>
                    <a:pt x="1739" y="512"/>
                    <a:pt x="1739" y="512"/>
                    <a:pt x="1739" y="512"/>
                  </a:cubicBezTo>
                  <a:cubicBezTo>
                    <a:pt x="1739" y="512"/>
                    <a:pt x="1739" y="512"/>
                    <a:pt x="1739" y="512"/>
                  </a:cubicBezTo>
                  <a:cubicBezTo>
                    <a:pt x="1739" y="512"/>
                    <a:pt x="1739" y="512"/>
                    <a:pt x="1739" y="512"/>
                  </a:cubicBezTo>
                  <a:cubicBezTo>
                    <a:pt x="1739" y="512"/>
                    <a:pt x="1739" y="512"/>
                    <a:pt x="1739" y="512"/>
                  </a:cubicBezTo>
                  <a:cubicBezTo>
                    <a:pt x="1739" y="512"/>
                    <a:pt x="1739" y="512"/>
                    <a:pt x="1739" y="512"/>
                  </a:cubicBezTo>
                  <a:cubicBezTo>
                    <a:pt x="1738" y="512"/>
                    <a:pt x="1738" y="512"/>
                    <a:pt x="1738" y="512"/>
                  </a:cubicBezTo>
                  <a:cubicBezTo>
                    <a:pt x="1738" y="512"/>
                    <a:pt x="1738" y="512"/>
                    <a:pt x="1738" y="512"/>
                  </a:cubicBezTo>
                  <a:cubicBezTo>
                    <a:pt x="1738" y="512"/>
                    <a:pt x="1738" y="512"/>
                    <a:pt x="1738" y="512"/>
                  </a:cubicBezTo>
                  <a:cubicBezTo>
                    <a:pt x="1738" y="512"/>
                    <a:pt x="1738" y="512"/>
                    <a:pt x="1738" y="512"/>
                  </a:cubicBezTo>
                  <a:cubicBezTo>
                    <a:pt x="1738" y="512"/>
                    <a:pt x="1738" y="512"/>
                    <a:pt x="1738" y="512"/>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0"/>
                    <a:pt x="1737" y="510"/>
                    <a:pt x="1737" y="510"/>
                  </a:cubicBezTo>
                  <a:cubicBezTo>
                    <a:pt x="1737" y="510"/>
                    <a:pt x="1737" y="510"/>
                    <a:pt x="1737" y="510"/>
                  </a:cubicBezTo>
                  <a:cubicBezTo>
                    <a:pt x="1737" y="510"/>
                    <a:pt x="1737" y="510"/>
                    <a:pt x="1737" y="510"/>
                  </a:cubicBezTo>
                  <a:cubicBezTo>
                    <a:pt x="1737" y="510"/>
                    <a:pt x="1737" y="510"/>
                    <a:pt x="1737" y="510"/>
                  </a:cubicBezTo>
                  <a:cubicBezTo>
                    <a:pt x="1736" y="510"/>
                    <a:pt x="1736" y="510"/>
                    <a:pt x="1736" y="510"/>
                  </a:cubicBezTo>
                  <a:cubicBezTo>
                    <a:pt x="1735" y="510"/>
                    <a:pt x="1735" y="510"/>
                    <a:pt x="1735" y="510"/>
                  </a:cubicBezTo>
                  <a:cubicBezTo>
                    <a:pt x="1735" y="510"/>
                    <a:pt x="1735" y="510"/>
                    <a:pt x="1735" y="510"/>
                  </a:cubicBezTo>
                  <a:cubicBezTo>
                    <a:pt x="1735" y="510"/>
                    <a:pt x="1735" y="510"/>
                    <a:pt x="1735" y="510"/>
                  </a:cubicBezTo>
                  <a:cubicBezTo>
                    <a:pt x="1735" y="510"/>
                    <a:pt x="1735" y="510"/>
                    <a:pt x="1735" y="510"/>
                  </a:cubicBezTo>
                  <a:cubicBezTo>
                    <a:pt x="1735" y="510"/>
                    <a:pt x="1735" y="510"/>
                    <a:pt x="1735" y="510"/>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8"/>
                    <a:pt x="1735" y="508"/>
                    <a:pt x="1735" y="508"/>
                  </a:cubicBezTo>
                  <a:cubicBezTo>
                    <a:pt x="1735" y="508"/>
                    <a:pt x="1735" y="508"/>
                    <a:pt x="1735" y="508"/>
                  </a:cubicBezTo>
                  <a:cubicBezTo>
                    <a:pt x="1735" y="508"/>
                    <a:pt x="1735" y="508"/>
                    <a:pt x="1735" y="508"/>
                  </a:cubicBezTo>
                  <a:cubicBezTo>
                    <a:pt x="1734" y="508"/>
                    <a:pt x="1734" y="508"/>
                    <a:pt x="1734" y="508"/>
                  </a:cubicBezTo>
                  <a:cubicBezTo>
                    <a:pt x="1734" y="508"/>
                    <a:pt x="1734" y="508"/>
                    <a:pt x="1734" y="508"/>
                  </a:cubicBezTo>
                  <a:cubicBezTo>
                    <a:pt x="1734" y="508"/>
                    <a:pt x="1734" y="508"/>
                    <a:pt x="1734" y="508"/>
                  </a:cubicBezTo>
                  <a:cubicBezTo>
                    <a:pt x="1734" y="508"/>
                    <a:pt x="1734" y="508"/>
                    <a:pt x="1734" y="508"/>
                  </a:cubicBezTo>
                  <a:cubicBezTo>
                    <a:pt x="1734" y="508"/>
                    <a:pt x="1734" y="508"/>
                    <a:pt x="1734" y="508"/>
                  </a:cubicBezTo>
                  <a:cubicBezTo>
                    <a:pt x="1733" y="508"/>
                    <a:pt x="1733" y="508"/>
                    <a:pt x="1733" y="508"/>
                  </a:cubicBezTo>
                  <a:cubicBezTo>
                    <a:pt x="1733" y="507"/>
                    <a:pt x="1733" y="507"/>
                    <a:pt x="1733" y="507"/>
                  </a:cubicBezTo>
                  <a:cubicBezTo>
                    <a:pt x="1733" y="507"/>
                    <a:pt x="1733" y="507"/>
                    <a:pt x="1733" y="507"/>
                  </a:cubicBezTo>
                  <a:cubicBezTo>
                    <a:pt x="1733" y="507"/>
                    <a:pt x="1733" y="507"/>
                    <a:pt x="1733" y="507"/>
                  </a:cubicBezTo>
                  <a:cubicBezTo>
                    <a:pt x="1732" y="507"/>
                    <a:pt x="1732" y="506"/>
                    <a:pt x="1731" y="506"/>
                  </a:cubicBezTo>
                  <a:cubicBezTo>
                    <a:pt x="1731" y="506"/>
                    <a:pt x="1731" y="506"/>
                    <a:pt x="1731" y="506"/>
                  </a:cubicBezTo>
                  <a:cubicBezTo>
                    <a:pt x="1731" y="506"/>
                    <a:pt x="1731" y="506"/>
                    <a:pt x="1731" y="506"/>
                  </a:cubicBezTo>
                  <a:cubicBezTo>
                    <a:pt x="1731" y="506"/>
                    <a:pt x="1731" y="506"/>
                    <a:pt x="1731" y="506"/>
                  </a:cubicBezTo>
                  <a:cubicBezTo>
                    <a:pt x="1731" y="505"/>
                    <a:pt x="1731" y="505"/>
                    <a:pt x="1731"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29" y="505"/>
                    <a:pt x="1729" y="505"/>
                    <a:pt x="1729" y="505"/>
                  </a:cubicBezTo>
                  <a:cubicBezTo>
                    <a:pt x="1729" y="505"/>
                    <a:pt x="1729" y="505"/>
                    <a:pt x="1729" y="505"/>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8" y="504"/>
                    <a:pt x="1728" y="504"/>
                    <a:pt x="1728" y="504"/>
                  </a:cubicBezTo>
                  <a:cubicBezTo>
                    <a:pt x="1727" y="506"/>
                    <a:pt x="1727" y="506"/>
                    <a:pt x="1727" y="506"/>
                  </a:cubicBezTo>
                  <a:cubicBezTo>
                    <a:pt x="1725" y="509"/>
                    <a:pt x="1725" y="509"/>
                    <a:pt x="1725" y="509"/>
                  </a:cubicBezTo>
                  <a:cubicBezTo>
                    <a:pt x="1724" y="511"/>
                    <a:pt x="1724" y="511"/>
                    <a:pt x="1724" y="511"/>
                  </a:cubicBezTo>
                  <a:cubicBezTo>
                    <a:pt x="1724" y="512"/>
                    <a:pt x="1724" y="512"/>
                    <a:pt x="1724" y="512"/>
                  </a:cubicBezTo>
                  <a:cubicBezTo>
                    <a:pt x="1723" y="512"/>
                    <a:pt x="1723" y="512"/>
                    <a:pt x="1723" y="512"/>
                  </a:cubicBezTo>
                  <a:cubicBezTo>
                    <a:pt x="1723" y="512"/>
                    <a:pt x="1723" y="512"/>
                    <a:pt x="1723" y="512"/>
                  </a:cubicBezTo>
                  <a:cubicBezTo>
                    <a:pt x="1723" y="512"/>
                    <a:pt x="1723" y="512"/>
                    <a:pt x="1723" y="512"/>
                  </a:cubicBezTo>
                  <a:cubicBezTo>
                    <a:pt x="1723" y="513"/>
                    <a:pt x="1723" y="513"/>
                    <a:pt x="1723" y="513"/>
                  </a:cubicBezTo>
                  <a:cubicBezTo>
                    <a:pt x="1723" y="513"/>
                    <a:pt x="1723" y="513"/>
                    <a:pt x="1723" y="513"/>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2" y="515"/>
                    <a:pt x="1722" y="515"/>
                    <a:pt x="1722" y="515"/>
                  </a:cubicBezTo>
                  <a:cubicBezTo>
                    <a:pt x="1722" y="515"/>
                    <a:pt x="1722" y="515"/>
                    <a:pt x="1722" y="515"/>
                  </a:cubicBezTo>
                  <a:cubicBezTo>
                    <a:pt x="1722" y="515"/>
                    <a:pt x="1722" y="515"/>
                    <a:pt x="1722" y="515"/>
                  </a:cubicBezTo>
                  <a:cubicBezTo>
                    <a:pt x="1722" y="515"/>
                    <a:pt x="1722" y="515"/>
                    <a:pt x="1722" y="515"/>
                  </a:cubicBezTo>
                  <a:cubicBezTo>
                    <a:pt x="1722" y="515"/>
                    <a:pt x="1723" y="515"/>
                    <a:pt x="1723" y="516"/>
                  </a:cubicBezTo>
                  <a:cubicBezTo>
                    <a:pt x="1723" y="516"/>
                    <a:pt x="1723" y="516"/>
                    <a:pt x="1723" y="516"/>
                  </a:cubicBezTo>
                  <a:cubicBezTo>
                    <a:pt x="1723" y="516"/>
                    <a:pt x="1723" y="516"/>
                    <a:pt x="1723" y="516"/>
                  </a:cubicBezTo>
                  <a:cubicBezTo>
                    <a:pt x="1723" y="516"/>
                    <a:pt x="1723" y="516"/>
                    <a:pt x="1723" y="516"/>
                  </a:cubicBezTo>
                  <a:cubicBezTo>
                    <a:pt x="1721" y="517"/>
                    <a:pt x="1721" y="517"/>
                    <a:pt x="1721" y="517"/>
                  </a:cubicBezTo>
                  <a:cubicBezTo>
                    <a:pt x="1719" y="517"/>
                    <a:pt x="1719" y="517"/>
                    <a:pt x="1719" y="517"/>
                  </a:cubicBezTo>
                  <a:cubicBezTo>
                    <a:pt x="1702" y="524"/>
                    <a:pt x="1702" y="524"/>
                    <a:pt x="1702" y="524"/>
                  </a:cubicBezTo>
                  <a:cubicBezTo>
                    <a:pt x="1701" y="525"/>
                    <a:pt x="1700" y="526"/>
                    <a:pt x="1700" y="527"/>
                  </a:cubicBezTo>
                  <a:cubicBezTo>
                    <a:pt x="1699" y="528"/>
                    <a:pt x="1699" y="528"/>
                    <a:pt x="1699" y="528"/>
                  </a:cubicBezTo>
                  <a:cubicBezTo>
                    <a:pt x="1699" y="528"/>
                    <a:pt x="1699" y="528"/>
                    <a:pt x="1699" y="528"/>
                  </a:cubicBezTo>
                  <a:cubicBezTo>
                    <a:pt x="1699" y="528"/>
                    <a:pt x="1699" y="529"/>
                    <a:pt x="1699" y="530"/>
                  </a:cubicBezTo>
                  <a:cubicBezTo>
                    <a:pt x="1699" y="530"/>
                    <a:pt x="1699" y="530"/>
                    <a:pt x="1699" y="530"/>
                  </a:cubicBezTo>
                  <a:cubicBezTo>
                    <a:pt x="1699" y="530"/>
                    <a:pt x="1699" y="530"/>
                    <a:pt x="1699" y="530"/>
                  </a:cubicBezTo>
                  <a:cubicBezTo>
                    <a:pt x="1699" y="530"/>
                    <a:pt x="1699" y="530"/>
                    <a:pt x="1699" y="530"/>
                  </a:cubicBezTo>
                  <a:cubicBezTo>
                    <a:pt x="1699" y="530"/>
                    <a:pt x="1699" y="530"/>
                    <a:pt x="1699" y="530"/>
                  </a:cubicBezTo>
                  <a:cubicBezTo>
                    <a:pt x="1700" y="531"/>
                    <a:pt x="1699" y="531"/>
                    <a:pt x="1699" y="532"/>
                  </a:cubicBezTo>
                  <a:cubicBezTo>
                    <a:pt x="1698" y="532"/>
                    <a:pt x="1698" y="532"/>
                    <a:pt x="1698" y="532"/>
                  </a:cubicBezTo>
                  <a:cubicBezTo>
                    <a:pt x="1698" y="532"/>
                    <a:pt x="1698" y="532"/>
                    <a:pt x="1698" y="532"/>
                  </a:cubicBezTo>
                  <a:cubicBezTo>
                    <a:pt x="1698" y="532"/>
                    <a:pt x="1698" y="532"/>
                    <a:pt x="1698" y="532"/>
                  </a:cubicBezTo>
                  <a:cubicBezTo>
                    <a:pt x="1698" y="532"/>
                    <a:pt x="1698" y="532"/>
                    <a:pt x="1698" y="532"/>
                  </a:cubicBezTo>
                  <a:cubicBezTo>
                    <a:pt x="1698" y="532"/>
                    <a:pt x="1698" y="532"/>
                    <a:pt x="1698" y="532"/>
                  </a:cubicBezTo>
                  <a:cubicBezTo>
                    <a:pt x="1698" y="533"/>
                    <a:pt x="1698" y="533"/>
                    <a:pt x="1698" y="533"/>
                  </a:cubicBezTo>
                  <a:cubicBezTo>
                    <a:pt x="1698" y="533"/>
                    <a:pt x="1698" y="533"/>
                    <a:pt x="1698" y="533"/>
                  </a:cubicBezTo>
                  <a:cubicBezTo>
                    <a:pt x="1698" y="534"/>
                    <a:pt x="1698" y="534"/>
                    <a:pt x="1698" y="534"/>
                  </a:cubicBezTo>
                  <a:cubicBezTo>
                    <a:pt x="1697" y="533"/>
                    <a:pt x="1698" y="533"/>
                    <a:pt x="1698" y="532"/>
                  </a:cubicBezTo>
                  <a:cubicBezTo>
                    <a:pt x="1698" y="532"/>
                    <a:pt x="1698" y="532"/>
                    <a:pt x="1698" y="532"/>
                  </a:cubicBezTo>
                  <a:cubicBezTo>
                    <a:pt x="1698" y="531"/>
                    <a:pt x="1698" y="531"/>
                    <a:pt x="1698" y="531"/>
                  </a:cubicBezTo>
                  <a:cubicBezTo>
                    <a:pt x="1699" y="530"/>
                    <a:pt x="1698" y="530"/>
                    <a:pt x="1698" y="529"/>
                  </a:cubicBezTo>
                  <a:cubicBezTo>
                    <a:pt x="1698" y="529"/>
                    <a:pt x="1698" y="529"/>
                    <a:pt x="1698" y="529"/>
                  </a:cubicBezTo>
                  <a:cubicBezTo>
                    <a:pt x="1698" y="529"/>
                    <a:pt x="1698" y="529"/>
                    <a:pt x="1698" y="529"/>
                  </a:cubicBezTo>
                  <a:cubicBezTo>
                    <a:pt x="1698" y="529"/>
                    <a:pt x="1698" y="529"/>
                    <a:pt x="1698" y="529"/>
                  </a:cubicBezTo>
                  <a:cubicBezTo>
                    <a:pt x="1698" y="528"/>
                    <a:pt x="1698" y="528"/>
                    <a:pt x="1698" y="528"/>
                  </a:cubicBezTo>
                  <a:cubicBezTo>
                    <a:pt x="1698" y="528"/>
                    <a:pt x="1698" y="527"/>
                    <a:pt x="1698" y="526"/>
                  </a:cubicBezTo>
                  <a:cubicBezTo>
                    <a:pt x="1698" y="526"/>
                    <a:pt x="1698" y="526"/>
                    <a:pt x="1698" y="526"/>
                  </a:cubicBezTo>
                  <a:cubicBezTo>
                    <a:pt x="1698" y="526"/>
                    <a:pt x="1698" y="526"/>
                    <a:pt x="1698" y="526"/>
                  </a:cubicBezTo>
                  <a:cubicBezTo>
                    <a:pt x="1698" y="526"/>
                    <a:pt x="1698" y="526"/>
                    <a:pt x="1698" y="526"/>
                  </a:cubicBezTo>
                  <a:cubicBezTo>
                    <a:pt x="1699" y="526"/>
                    <a:pt x="1699" y="526"/>
                    <a:pt x="1699" y="526"/>
                  </a:cubicBezTo>
                  <a:cubicBezTo>
                    <a:pt x="1699" y="526"/>
                    <a:pt x="1699" y="526"/>
                    <a:pt x="1699" y="526"/>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4"/>
                    <a:pt x="1699" y="524"/>
                    <a:pt x="1699" y="524"/>
                  </a:cubicBezTo>
                  <a:cubicBezTo>
                    <a:pt x="1699" y="524"/>
                    <a:pt x="1699" y="524"/>
                    <a:pt x="1699" y="524"/>
                  </a:cubicBezTo>
                  <a:cubicBezTo>
                    <a:pt x="1699" y="524"/>
                    <a:pt x="1699" y="524"/>
                    <a:pt x="1699" y="524"/>
                  </a:cubicBezTo>
                  <a:cubicBezTo>
                    <a:pt x="1698" y="523"/>
                    <a:pt x="1698" y="523"/>
                    <a:pt x="1698" y="523"/>
                  </a:cubicBezTo>
                  <a:cubicBezTo>
                    <a:pt x="1697" y="522"/>
                    <a:pt x="1697" y="522"/>
                    <a:pt x="1697" y="522"/>
                  </a:cubicBezTo>
                  <a:cubicBezTo>
                    <a:pt x="1697" y="522"/>
                    <a:pt x="1697" y="522"/>
                    <a:pt x="1697" y="522"/>
                  </a:cubicBezTo>
                  <a:cubicBezTo>
                    <a:pt x="1697" y="521"/>
                    <a:pt x="1697" y="521"/>
                    <a:pt x="1697" y="521"/>
                  </a:cubicBezTo>
                  <a:cubicBezTo>
                    <a:pt x="1697" y="521"/>
                    <a:pt x="1697" y="521"/>
                    <a:pt x="1697" y="521"/>
                  </a:cubicBezTo>
                  <a:cubicBezTo>
                    <a:pt x="1699" y="520"/>
                    <a:pt x="1697" y="521"/>
                    <a:pt x="1698" y="518"/>
                  </a:cubicBezTo>
                  <a:cubicBezTo>
                    <a:pt x="1698" y="518"/>
                    <a:pt x="1698" y="518"/>
                    <a:pt x="1698" y="518"/>
                  </a:cubicBezTo>
                  <a:cubicBezTo>
                    <a:pt x="1698" y="518"/>
                    <a:pt x="1698" y="518"/>
                    <a:pt x="1698" y="518"/>
                  </a:cubicBezTo>
                  <a:cubicBezTo>
                    <a:pt x="1698" y="518"/>
                    <a:pt x="1698" y="518"/>
                    <a:pt x="1698" y="518"/>
                  </a:cubicBezTo>
                  <a:cubicBezTo>
                    <a:pt x="1696" y="519"/>
                    <a:pt x="1696" y="519"/>
                    <a:pt x="1696" y="519"/>
                  </a:cubicBezTo>
                  <a:cubicBezTo>
                    <a:pt x="1695" y="519"/>
                    <a:pt x="1695" y="519"/>
                    <a:pt x="1695" y="519"/>
                  </a:cubicBezTo>
                  <a:cubicBezTo>
                    <a:pt x="1695" y="520"/>
                    <a:pt x="1695" y="520"/>
                    <a:pt x="1695" y="520"/>
                  </a:cubicBezTo>
                  <a:cubicBezTo>
                    <a:pt x="1695" y="520"/>
                    <a:pt x="1695" y="520"/>
                    <a:pt x="1695" y="520"/>
                  </a:cubicBezTo>
                  <a:cubicBezTo>
                    <a:pt x="1695" y="520"/>
                    <a:pt x="1695" y="520"/>
                    <a:pt x="1695" y="520"/>
                  </a:cubicBezTo>
                  <a:cubicBezTo>
                    <a:pt x="1695" y="520"/>
                    <a:pt x="1695" y="520"/>
                    <a:pt x="1695" y="520"/>
                  </a:cubicBezTo>
                  <a:cubicBezTo>
                    <a:pt x="1695" y="521"/>
                    <a:pt x="1695" y="521"/>
                    <a:pt x="1695" y="521"/>
                  </a:cubicBezTo>
                  <a:cubicBezTo>
                    <a:pt x="1695" y="521"/>
                    <a:pt x="1695" y="521"/>
                    <a:pt x="1695" y="521"/>
                  </a:cubicBezTo>
                  <a:cubicBezTo>
                    <a:pt x="1695" y="521"/>
                    <a:pt x="1695" y="521"/>
                    <a:pt x="1695" y="521"/>
                  </a:cubicBezTo>
                  <a:cubicBezTo>
                    <a:pt x="1695" y="521"/>
                    <a:pt x="1695" y="521"/>
                    <a:pt x="1695" y="521"/>
                  </a:cubicBezTo>
                  <a:cubicBezTo>
                    <a:pt x="1695" y="522"/>
                    <a:pt x="1695" y="522"/>
                    <a:pt x="1695" y="522"/>
                  </a:cubicBezTo>
                  <a:cubicBezTo>
                    <a:pt x="1695" y="522"/>
                    <a:pt x="1695" y="522"/>
                    <a:pt x="1695" y="522"/>
                  </a:cubicBezTo>
                  <a:cubicBezTo>
                    <a:pt x="1695" y="523"/>
                    <a:pt x="1695" y="523"/>
                    <a:pt x="1695" y="523"/>
                  </a:cubicBezTo>
                  <a:cubicBezTo>
                    <a:pt x="1695" y="523"/>
                    <a:pt x="1695" y="523"/>
                    <a:pt x="1695" y="523"/>
                  </a:cubicBezTo>
                  <a:cubicBezTo>
                    <a:pt x="1695" y="523"/>
                    <a:pt x="1695" y="523"/>
                    <a:pt x="1695" y="523"/>
                  </a:cubicBezTo>
                  <a:cubicBezTo>
                    <a:pt x="1695" y="523"/>
                    <a:pt x="1695" y="523"/>
                    <a:pt x="1694" y="524"/>
                  </a:cubicBezTo>
                  <a:cubicBezTo>
                    <a:pt x="1694" y="524"/>
                    <a:pt x="1694" y="524"/>
                    <a:pt x="1694" y="524"/>
                  </a:cubicBezTo>
                  <a:cubicBezTo>
                    <a:pt x="1694" y="524"/>
                    <a:pt x="1694" y="524"/>
                    <a:pt x="1694" y="524"/>
                  </a:cubicBezTo>
                  <a:cubicBezTo>
                    <a:pt x="1694" y="524"/>
                    <a:pt x="1694" y="524"/>
                    <a:pt x="1694" y="524"/>
                  </a:cubicBezTo>
                  <a:cubicBezTo>
                    <a:pt x="1694" y="524"/>
                    <a:pt x="1694" y="524"/>
                    <a:pt x="1694" y="524"/>
                  </a:cubicBezTo>
                  <a:cubicBezTo>
                    <a:pt x="1694" y="524"/>
                    <a:pt x="1694" y="524"/>
                    <a:pt x="1694" y="524"/>
                  </a:cubicBezTo>
                  <a:cubicBezTo>
                    <a:pt x="1694" y="525"/>
                    <a:pt x="1694" y="525"/>
                    <a:pt x="1694" y="525"/>
                  </a:cubicBezTo>
                  <a:cubicBezTo>
                    <a:pt x="1694" y="525"/>
                    <a:pt x="1694" y="525"/>
                    <a:pt x="1694" y="525"/>
                  </a:cubicBezTo>
                  <a:cubicBezTo>
                    <a:pt x="1694" y="525"/>
                    <a:pt x="1694" y="525"/>
                    <a:pt x="1694" y="525"/>
                  </a:cubicBezTo>
                  <a:cubicBezTo>
                    <a:pt x="1694" y="525"/>
                    <a:pt x="1694" y="525"/>
                    <a:pt x="1694" y="525"/>
                  </a:cubicBezTo>
                  <a:cubicBezTo>
                    <a:pt x="1694" y="525"/>
                    <a:pt x="1694" y="525"/>
                    <a:pt x="1694" y="525"/>
                  </a:cubicBezTo>
                  <a:cubicBezTo>
                    <a:pt x="1693" y="525"/>
                    <a:pt x="1693" y="525"/>
                    <a:pt x="1693" y="525"/>
                  </a:cubicBezTo>
                  <a:cubicBezTo>
                    <a:pt x="1693" y="525"/>
                    <a:pt x="1693" y="525"/>
                    <a:pt x="1693" y="525"/>
                  </a:cubicBezTo>
                  <a:cubicBezTo>
                    <a:pt x="1693" y="525"/>
                    <a:pt x="1693" y="525"/>
                    <a:pt x="1693" y="525"/>
                  </a:cubicBezTo>
                  <a:cubicBezTo>
                    <a:pt x="1693" y="525"/>
                    <a:pt x="1693" y="525"/>
                    <a:pt x="1693" y="525"/>
                  </a:cubicBezTo>
                  <a:cubicBezTo>
                    <a:pt x="1693" y="525"/>
                    <a:pt x="1693" y="525"/>
                    <a:pt x="1693" y="525"/>
                  </a:cubicBezTo>
                  <a:cubicBezTo>
                    <a:pt x="1693" y="525"/>
                    <a:pt x="1692" y="525"/>
                    <a:pt x="1692" y="525"/>
                  </a:cubicBezTo>
                  <a:cubicBezTo>
                    <a:pt x="1692" y="526"/>
                    <a:pt x="1692" y="526"/>
                    <a:pt x="1692" y="526"/>
                  </a:cubicBezTo>
                  <a:cubicBezTo>
                    <a:pt x="1692" y="526"/>
                    <a:pt x="1692" y="526"/>
                    <a:pt x="1692" y="526"/>
                  </a:cubicBezTo>
                  <a:cubicBezTo>
                    <a:pt x="1691" y="526"/>
                    <a:pt x="1692" y="527"/>
                    <a:pt x="1691" y="527"/>
                  </a:cubicBezTo>
                  <a:cubicBezTo>
                    <a:pt x="1691" y="527"/>
                    <a:pt x="1691" y="527"/>
                    <a:pt x="1691" y="527"/>
                  </a:cubicBezTo>
                  <a:cubicBezTo>
                    <a:pt x="1691" y="527"/>
                    <a:pt x="1691" y="527"/>
                    <a:pt x="1691" y="527"/>
                  </a:cubicBezTo>
                  <a:cubicBezTo>
                    <a:pt x="1691" y="528"/>
                    <a:pt x="1691" y="528"/>
                    <a:pt x="1691" y="528"/>
                  </a:cubicBezTo>
                  <a:cubicBezTo>
                    <a:pt x="1691" y="528"/>
                    <a:pt x="1691" y="528"/>
                    <a:pt x="1691" y="528"/>
                  </a:cubicBezTo>
                  <a:cubicBezTo>
                    <a:pt x="1691" y="528"/>
                    <a:pt x="1690" y="528"/>
                    <a:pt x="1690" y="529"/>
                  </a:cubicBezTo>
                  <a:cubicBezTo>
                    <a:pt x="1690" y="529"/>
                    <a:pt x="1690" y="529"/>
                    <a:pt x="1690" y="529"/>
                  </a:cubicBezTo>
                  <a:cubicBezTo>
                    <a:pt x="1690" y="529"/>
                    <a:pt x="1690" y="529"/>
                    <a:pt x="1690" y="529"/>
                  </a:cubicBezTo>
                  <a:cubicBezTo>
                    <a:pt x="1689" y="529"/>
                    <a:pt x="1689" y="529"/>
                    <a:pt x="1689" y="530"/>
                  </a:cubicBezTo>
                  <a:cubicBezTo>
                    <a:pt x="1689" y="530"/>
                    <a:pt x="1689" y="530"/>
                    <a:pt x="1689" y="530"/>
                  </a:cubicBezTo>
                  <a:cubicBezTo>
                    <a:pt x="1689" y="530"/>
                    <a:pt x="1689" y="530"/>
                    <a:pt x="1689" y="530"/>
                  </a:cubicBezTo>
                  <a:cubicBezTo>
                    <a:pt x="1688" y="530"/>
                    <a:pt x="1688" y="530"/>
                    <a:pt x="1688" y="530"/>
                  </a:cubicBezTo>
                  <a:cubicBezTo>
                    <a:pt x="1688" y="530"/>
                    <a:pt x="1688" y="530"/>
                    <a:pt x="1688" y="530"/>
                  </a:cubicBezTo>
                  <a:cubicBezTo>
                    <a:pt x="1688" y="530"/>
                    <a:pt x="1688" y="530"/>
                    <a:pt x="1688" y="530"/>
                  </a:cubicBezTo>
                  <a:cubicBezTo>
                    <a:pt x="1688" y="529"/>
                    <a:pt x="1688" y="529"/>
                    <a:pt x="1688" y="529"/>
                  </a:cubicBezTo>
                  <a:cubicBezTo>
                    <a:pt x="1689" y="528"/>
                    <a:pt x="1689" y="528"/>
                    <a:pt x="1689" y="528"/>
                  </a:cubicBezTo>
                  <a:cubicBezTo>
                    <a:pt x="1689" y="527"/>
                    <a:pt x="1689" y="527"/>
                    <a:pt x="1689" y="527"/>
                  </a:cubicBezTo>
                  <a:cubicBezTo>
                    <a:pt x="1690" y="527"/>
                    <a:pt x="1690" y="527"/>
                    <a:pt x="1690" y="527"/>
                  </a:cubicBezTo>
                  <a:cubicBezTo>
                    <a:pt x="1690" y="526"/>
                    <a:pt x="1691" y="526"/>
                    <a:pt x="1692" y="525"/>
                  </a:cubicBezTo>
                  <a:cubicBezTo>
                    <a:pt x="1692" y="525"/>
                    <a:pt x="1692" y="525"/>
                    <a:pt x="1692" y="525"/>
                  </a:cubicBezTo>
                  <a:cubicBezTo>
                    <a:pt x="1692" y="525"/>
                    <a:pt x="1692" y="525"/>
                    <a:pt x="1692" y="525"/>
                  </a:cubicBezTo>
                  <a:cubicBezTo>
                    <a:pt x="1693" y="524"/>
                    <a:pt x="1694" y="523"/>
                    <a:pt x="1694" y="522"/>
                  </a:cubicBezTo>
                  <a:cubicBezTo>
                    <a:pt x="1694" y="522"/>
                    <a:pt x="1694" y="522"/>
                    <a:pt x="1694" y="522"/>
                  </a:cubicBezTo>
                  <a:cubicBezTo>
                    <a:pt x="1694" y="522"/>
                    <a:pt x="1694" y="522"/>
                    <a:pt x="1694" y="522"/>
                  </a:cubicBezTo>
                  <a:cubicBezTo>
                    <a:pt x="1694" y="521"/>
                    <a:pt x="1694" y="521"/>
                    <a:pt x="1694" y="521"/>
                  </a:cubicBezTo>
                  <a:cubicBezTo>
                    <a:pt x="1694" y="521"/>
                    <a:pt x="1694" y="521"/>
                    <a:pt x="1694" y="521"/>
                  </a:cubicBezTo>
                  <a:cubicBezTo>
                    <a:pt x="1693" y="520"/>
                    <a:pt x="1693" y="520"/>
                    <a:pt x="1693" y="520"/>
                  </a:cubicBezTo>
                  <a:cubicBezTo>
                    <a:pt x="1693" y="520"/>
                    <a:pt x="1693" y="520"/>
                    <a:pt x="1693" y="519"/>
                  </a:cubicBezTo>
                  <a:cubicBezTo>
                    <a:pt x="1693" y="519"/>
                    <a:pt x="1693" y="519"/>
                    <a:pt x="1693" y="519"/>
                  </a:cubicBezTo>
                  <a:cubicBezTo>
                    <a:pt x="1693" y="519"/>
                    <a:pt x="1693" y="519"/>
                    <a:pt x="1693" y="519"/>
                  </a:cubicBezTo>
                  <a:cubicBezTo>
                    <a:pt x="1693" y="518"/>
                    <a:pt x="1693" y="518"/>
                    <a:pt x="1693" y="518"/>
                  </a:cubicBezTo>
                  <a:cubicBezTo>
                    <a:pt x="1693" y="517"/>
                    <a:pt x="1693" y="517"/>
                    <a:pt x="1693" y="517"/>
                  </a:cubicBezTo>
                  <a:cubicBezTo>
                    <a:pt x="1693" y="517"/>
                    <a:pt x="1693" y="517"/>
                    <a:pt x="1693" y="517"/>
                  </a:cubicBezTo>
                  <a:cubicBezTo>
                    <a:pt x="1693" y="517"/>
                    <a:pt x="1693" y="517"/>
                    <a:pt x="1693" y="517"/>
                  </a:cubicBezTo>
                  <a:cubicBezTo>
                    <a:pt x="1693" y="517"/>
                    <a:pt x="1693" y="517"/>
                    <a:pt x="1693" y="517"/>
                  </a:cubicBezTo>
                  <a:cubicBezTo>
                    <a:pt x="1693" y="517"/>
                    <a:pt x="1693" y="516"/>
                    <a:pt x="1693" y="516"/>
                  </a:cubicBezTo>
                  <a:cubicBezTo>
                    <a:pt x="1693" y="516"/>
                    <a:pt x="1693" y="516"/>
                    <a:pt x="1693" y="516"/>
                  </a:cubicBezTo>
                  <a:cubicBezTo>
                    <a:pt x="1693" y="516"/>
                    <a:pt x="1693" y="516"/>
                    <a:pt x="1693" y="516"/>
                  </a:cubicBezTo>
                  <a:cubicBezTo>
                    <a:pt x="1691" y="514"/>
                    <a:pt x="1692" y="513"/>
                    <a:pt x="1689"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7" y="516"/>
                    <a:pt x="1687" y="516"/>
                    <a:pt x="1687" y="517"/>
                  </a:cubicBezTo>
                  <a:cubicBezTo>
                    <a:pt x="1687" y="518"/>
                    <a:pt x="1687" y="518"/>
                    <a:pt x="1687" y="518"/>
                  </a:cubicBezTo>
                  <a:cubicBezTo>
                    <a:pt x="1687" y="518"/>
                    <a:pt x="1687" y="518"/>
                    <a:pt x="1687" y="518"/>
                  </a:cubicBezTo>
                  <a:cubicBezTo>
                    <a:pt x="1687" y="518"/>
                    <a:pt x="1687" y="518"/>
                    <a:pt x="1687" y="518"/>
                  </a:cubicBezTo>
                  <a:cubicBezTo>
                    <a:pt x="1687" y="518"/>
                    <a:pt x="1687" y="519"/>
                    <a:pt x="1687" y="519"/>
                  </a:cubicBezTo>
                  <a:cubicBezTo>
                    <a:pt x="1687" y="519"/>
                    <a:pt x="1687" y="519"/>
                    <a:pt x="1687" y="519"/>
                  </a:cubicBezTo>
                  <a:cubicBezTo>
                    <a:pt x="1687" y="519"/>
                    <a:pt x="1687" y="519"/>
                    <a:pt x="1687" y="519"/>
                  </a:cubicBezTo>
                  <a:cubicBezTo>
                    <a:pt x="1686" y="520"/>
                    <a:pt x="1687" y="520"/>
                    <a:pt x="1686" y="521"/>
                  </a:cubicBezTo>
                  <a:cubicBezTo>
                    <a:pt x="1686" y="521"/>
                    <a:pt x="1686" y="521"/>
                    <a:pt x="1686" y="521"/>
                  </a:cubicBezTo>
                  <a:cubicBezTo>
                    <a:pt x="1686" y="521"/>
                    <a:pt x="1686" y="521"/>
                    <a:pt x="1686" y="521"/>
                  </a:cubicBezTo>
                  <a:cubicBezTo>
                    <a:pt x="1686" y="521"/>
                    <a:pt x="1686" y="521"/>
                    <a:pt x="1686" y="521"/>
                  </a:cubicBezTo>
                  <a:cubicBezTo>
                    <a:pt x="1686" y="521"/>
                    <a:pt x="1686" y="521"/>
                    <a:pt x="1686" y="521"/>
                  </a:cubicBezTo>
                  <a:cubicBezTo>
                    <a:pt x="1686" y="521"/>
                    <a:pt x="1686" y="521"/>
                    <a:pt x="1686" y="521"/>
                  </a:cubicBezTo>
                  <a:cubicBezTo>
                    <a:pt x="1685" y="523"/>
                    <a:pt x="1686" y="523"/>
                    <a:pt x="1685" y="524"/>
                  </a:cubicBezTo>
                  <a:cubicBezTo>
                    <a:pt x="1685" y="524"/>
                    <a:pt x="1685" y="524"/>
                    <a:pt x="1685" y="524"/>
                  </a:cubicBezTo>
                  <a:cubicBezTo>
                    <a:pt x="1685" y="524"/>
                    <a:pt x="1685" y="524"/>
                    <a:pt x="1685" y="524"/>
                  </a:cubicBezTo>
                  <a:cubicBezTo>
                    <a:pt x="1684" y="525"/>
                    <a:pt x="1684" y="525"/>
                    <a:pt x="1684" y="527"/>
                  </a:cubicBezTo>
                  <a:cubicBezTo>
                    <a:pt x="1684" y="527"/>
                    <a:pt x="1684" y="527"/>
                    <a:pt x="1684" y="527"/>
                  </a:cubicBezTo>
                  <a:cubicBezTo>
                    <a:pt x="1684" y="527"/>
                    <a:pt x="1684" y="527"/>
                    <a:pt x="1684" y="527"/>
                  </a:cubicBezTo>
                  <a:cubicBezTo>
                    <a:pt x="1684" y="527"/>
                    <a:pt x="1684" y="527"/>
                    <a:pt x="1684" y="527"/>
                  </a:cubicBezTo>
                  <a:cubicBezTo>
                    <a:pt x="1684" y="527"/>
                    <a:pt x="1684" y="527"/>
                    <a:pt x="1684" y="527"/>
                  </a:cubicBezTo>
                  <a:cubicBezTo>
                    <a:pt x="1684" y="527"/>
                    <a:pt x="1684" y="527"/>
                    <a:pt x="1684" y="527"/>
                  </a:cubicBezTo>
                  <a:cubicBezTo>
                    <a:pt x="1684" y="528"/>
                    <a:pt x="1684" y="528"/>
                    <a:pt x="1684" y="528"/>
                  </a:cubicBezTo>
                  <a:cubicBezTo>
                    <a:pt x="1684" y="528"/>
                    <a:pt x="1684" y="528"/>
                    <a:pt x="1684" y="528"/>
                  </a:cubicBezTo>
                  <a:cubicBezTo>
                    <a:pt x="1684" y="528"/>
                    <a:pt x="1684" y="528"/>
                    <a:pt x="1684" y="528"/>
                  </a:cubicBezTo>
                  <a:cubicBezTo>
                    <a:pt x="1684" y="529"/>
                    <a:pt x="1683" y="530"/>
                    <a:pt x="1682" y="530"/>
                  </a:cubicBezTo>
                  <a:cubicBezTo>
                    <a:pt x="1682" y="530"/>
                    <a:pt x="1682" y="530"/>
                    <a:pt x="1682" y="530"/>
                  </a:cubicBezTo>
                  <a:cubicBezTo>
                    <a:pt x="1682" y="530"/>
                    <a:pt x="1682" y="530"/>
                    <a:pt x="1682" y="530"/>
                  </a:cubicBezTo>
                  <a:cubicBezTo>
                    <a:pt x="1682" y="530"/>
                    <a:pt x="1682" y="530"/>
                    <a:pt x="1682" y="530"/>
                  </a:cubicBezTo>
                  <a:cubicBezTo>
                    <a:pt x="1682" y="531"/>
                    <a:pt x="1682" y="531"/>
                    <a:pt x="1682" y="531"/>
                  </a:cubicBezTo>
                  <a:cubicBezTo>
                    <a:pt x="1681" y="531"/>
                    <a:pt x="1681" y="531"/>
                    <a:pt x="1681" y="531"/>
                  </a:cubicBezTo>
                  <a:cubicBezTo>
                    <a:pt x="1681" y="531"/>
                    <a:pt x="1681" y="531"/>
                    <a:pt x="1681" y="531"/>
                  </a:cubicBezTo>
                  <a:cubicBezTo>
                    <a:pt x="1681" y="531"/>
                    <a:pt x="1681" y="532"/>
                    <a:pt x="1680" y="532"/>
                  </a:cubicBezTo>
                  <a:cubicBezTo>
                    <a:pt x="1680" y="532"/>
                    <a:pt x="1680" y="532"/>
                    <a:pt x="1680" y="532"/>
                  </a:cubicBezTo>
                  <a:cubicBezTo>
                    <a:pt x="1680" y="532"/>
                    <a:pt x="1680" y="532"/>
                    <a:pt x="1680" y="532"/>
                  </a:cubicBezTo>
                  <a:cubicBezTo>
                    <a:pt x="1680" y="532"/>
                    <a:pt x="1680" y="532"/>
                    <a:pt x="1680" y="532"/>
                  </a:cubicBezTo>
                  <a:cubicBezTo>
                    <a:pt x="1679" y="532"/>
                    <a:pt x="1679" y="532"/>
                    <a:pt x="1679" y="532"/>
                  </a:cubicBezTo>
                  <a:cubicBezTo>
                    <a:pt x="1677" y="533"/>
                    <a:pt x="1676" y="532"/>
                    <a:pt x="1672" y="534"/>
                  </a:cubicBezTo>
                  <a:cubicBezTo>
                    <a:pt x="1672" y="534"/>
                    <a:pt x="1672" y="534"/>
                    <a:pt x="1672"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69" y="534"/>
                    <a:pt x="1669" y="534"/>
                    <a:pt x="1669" y="534"/>
                  </a:cubicBezTo>
                  <a:cubicBezTo>
                    <a:pt x="1669" y="535"/>
                    <a:pt x="1669" y="535"/>
                    <a:pt x="1668" y="535"/>
                  </a:cubicBezTo>
                  <a:cubicBezTo>
                    <a:pt x="1668" y="535"/>
                    <a:pt x="1668" y="535"/>
                    <a:pt x="1668" y="535"/>
                  </a:cubicBezTo>
                  <a:cubicBezTo>
                    <a:pt x="1668" y="535"/>
                    <a:pt x="1668" y="535"/>
                    <a:pt x="1668" y="535"/>
                  </a:cubicBezTo>
                  <a:cubicBezTo>
                    <a:pt x="1668" y="535"/>
                    <a:pt x="1668" y="535"/>
                    <a:pt x="1668" y="535"/>
                  </a:cubicBezTo>
                  <a:cubicBezTo>
                    <a:pt x="1667" y="536"/>
                    <a:pt x="1667" y="536"/>
                    <a:pt x="1665" y="536"/>
                  </a:cubicBezTo>
                  <a:cubicBezTo>
                    <a:pt x="1665" y="536"/>
                    <a:pt x="1665" y="536"/>
                    <a:pt x="1665" y="536"/>
                  </a:cubicBezTo>
                  <a:cubicBezTo>
                    <a:pt x="1665" y="536"/>
                    <a:pt x="1665" y="536"/>
                    <a:pt x="1665" y="536"/>
                  </a:cubicBezTo>
                  <a:cubicBezTo>
                    <a:pt x="1665" y="536"/>
                    <a:pt x="1665" y="536"/>
                    <a:pt x="1665" y="536"/>
                  </a:cubicBezTo>
                  <a:cubicBezTo>
                    <a:pt x="1665" y="536"/>
                    <a:pt x="1665" y="536"/>
                    <a:pt x="1665" y="536"/>
                  </a:cubicBezTo>
                  <a:cubicBezTo>
                    <a:pt x="1664" y="537"/>
                    <a:pt x="1664" y="538"/>
                    <a:pt x="1663" y="538"/>
                  </a:cubicBezTo>
                  <a:cubicBezTo>
                    <a:pt x="1663" y="538"/>
                    <a:pt x="1663" y="538"/>
                    <a:pt x="1663" y="538"/>
                  </a:cubicBezTo>
                  <a:cubicBezTo>
                    <a:pt x="1662" y="538"/>
                    <a:pt x="1662" y="538"/>
                    <a:pt x="1662" y="538"/>
                  </a:cubicBezTo>
                  <a:cubicBezTo>
                    <a:pt x="1662" y="539"/>
                    <a:pt x="1661" y="540"/>
                    <a:pt x="1660" y="540"/>
                  </a:cubicBezTo>
                  <a:cubicBezTo>
                    <a:pt x="1660" y="540"/>
                    <a:pt x="1660" y="540"/>
                    <a:pt x="1660" y="540"/>
                  </a:cubicBezTo>
                  <a:cubicBezTo>
                    <a:pt x="1660" y="540"/>
                    <a:pt x="1660" y="540"/>
                    <a:pt x="1660" y="540"/>
                  </a:cubicBezTo>
                  <a:cubicBezTo>
                    <a:pt x="1659" y="540"/>
                    <a:pt x="1659" y="540"/>
                    <a:pt x="1659" y="540"/>
                  </a:cubicBezTo>
                  <a:cubicBezTo>
                    <a:pt x="1659" y="540"/>
                    <a:pt x="1659" y="540"/>
                    <a:pt x="1659" y="540"/>
                  </a:cubicBezTo>
                  <a:cubicBezTo>
                    <a:pt x="1659" y="540"/>
                    <a:pt x="1659" y="540"/>
                    <a:pt x="1659" y="540"/>
                  </a:cubicBezTo>
                  <a:cubicBezTo>
                    <a:pt x="1659" y="540"/>
                    <a:pt x="1659" y="540"/>
                    <a:pt x="1659" y="540"/>
                  </a:cubicBezTo>
                  <a:cubicBezTo>
                    <a:pt x="1660" y="540"/>
                    <a:pt x="1660" y="540"/>
                    <a:pt x="1660" y="540"/>
                  </a:cubicBezTo>
                  <a:cubicBezTo>
                    <a:pt x="1661" y="539"/>
                    <a:pt x="1661" y="539"/>
                    <a:pt x="1661" y="539"/>
                  </a:cubicBezTo>
                  <a:cubicBezTo>
                    <a:pt x="1661" y="539"/>
                    <a:pt x="1661" y="539"/>
                    <a:pt x="1661" y="539"/>
                  </a:cubicBezTo>
                  <a:cubicBezTo>
                    <a:pt x="1665" y="535"/>
                    <a:pt x="1666" y="537"/>
                    <a:pt x="1668" y="534"/>
                  </a:cubicBezTo>
                  <a:cubicBezTo>
                    <a:pt x="1668" y="534"/>
                    <a:pt x="1668" y="534"/>
                    <a:pt x="1668" y="534"/>
                  </a:cubicBezTo>
                  <a:cubicBezTo>
                    <a:pt x="1668" y="534"/>
                    <a:pt x="1668" y="534"/>
                    <a:pt x="1668" y="534"/>
                  </a:cubicBezTo>
                  <a:cubicBezTo>
                    <a:pt x="1668" y="534"/>
                    <a:pt x="1668" y="534"/>
                    <a:pt x="1668" y="534"/>
                  </a:cubicBezTo>
                  <a:cubicBezTo>
                    <a:pt x="1669" y="534"/>
                    <a:pt x="1669" y="534"/>
                    <a:pt x="1669" y="534"/>
                  </a:cubicBezTo>
                  <a:cubicBezTo>
                    <a:pt x="1669" y="534"/>
                    <a:pt x="1670" y="534"/>
                    <a:pt x="1670" y="534"/>
                  </a:cubicBezTo>
                  <a:cubicBezTo>
                    <a:pt x="1670" y="534"/>
                    <a:pt x="1670" y="534"/>
                    <a:pt x="1670" y="534"/>
                  </a:cubicBezTo>
                  <a:cubicBezTo>
                    <a:pt x="1670" y="534"/>
                    <a:pt x="1670" y="534"/>
                    <a:pt x="1670" y="534"/>
                  </a:cubicBezTo>
                  <a:cubicBezTo>
                    <a:pt x="1671" y="533"/>
                    <a:pt x="1671" y="533"/>
                    <a:pt x="1672" y="533"/>
                  </a:cubicBezTo>
                  <a:cubicBezTo>
                    <a:pt x="1672" y="533"/>
                    <a:pt x="1672" y="533"/>
                    <a:pt x="1672" y="533"/>
                  </a:cubicBezTo>
                  <a:cubicBezTo>
                    <a:pt x="1672" y="533"/>
                    <a:pt x="1672" y="533"/>
                    <a:pt x="1672" y="533"/>
                  </a:cubicBezTo>
                  <a:cubicBezTo>
                    <a:pt x="1672" y="533"/>
                    <a:pt x="1672" y="533"/>
                    <a:pt x="1672" y="533"/>
                  </a:cubicBezTo>
                  <a:cubicBezTo>
                    <a:pt x="1674" y="532"/>
                    <a:pt x="1674" y="532"/>
                    <a:pt x="1676" y="532"/>
                  </a:cubicBezTo>
                  <a:cubicBezTo>
                    <a:pt x="1676" y="532"/>
                    <a:pt x="1676" y="532"/>
                    <a:pt x="1676" y="532"/>
                  </a:cubicBezTo>
                  <a:cubicBezTo>
                    <a:pt x="1676" y="532"/>
                    <a:pt x="1676" y="532"/>
                    <a:pt x="1676" y="532"/>
                  </a:cubicBezTo>
                  <a:cubicBezTo>
                    <a:pt x="1676" y="532"/>
                    <a:pt x="1676" y="532"/>
                    <a:pt x="1676" y="532"/>
                  </a:cubicBezTo>
                  <a:cubicBezTo>
                    <a:pt x="1677" y="532"/>
                    <a:pt x="1677" y="532"/>
                    <a:pt x="1677" y="532"/>
                  </a:cubicBezTo>
                  <a:cubicBezTo>
                    <a:pt x="1677" y="532"/>
                    <a:pt x="1677" y="532"/>
                    <a:pt x="1677" y="532"/>
                  </a:cubicBezTo>
                  <a:cubicBezTo>
                    <a:pt x="1677" y="532"/>
                    <a:pt x="1677" y="532"/>
                    <a:pt x="1677" y="532"/>
                  </a:cubicBezTo>
                  <a:cubicBezTo>
                    <a:pt x="1679" y="531"/>
                    <a:pt x="1679" y="532"/>
                    <a:pt x="1681" y="530"/>
                  </a:cubicBezTo>
                  <a:cubicBezTo>
                    <a:pt x="1681" y="530"/>
                    <a:pt x="1681" y="530"/>
                    <a:pt x="1681" y="530"/>
                  </a:cubicBezTo>
                  <a:cubicBezTo>
                    <a:pt x="1681" y="530"/>
                    <a:pt x="1681" y="530"/>
                    <a:pt x="1681" y="530"/>
                  </a:cubicBezTo>
                  <a:cubicBezTo>
                    <a:pt x="1681" y="530"/>
                    <a:pt x="1681" y="530"/>
                    <a:pt x="1681" y="530"/>
                  </a:cubicBezTo>
                  <a:cubicBezTo>
                    <a:pt x="1681" y="530"/>
                    <a:pt x="1681" y="529"/>
                    <a:pt x="1682" y="529"/>
                  </a:cubicBezTo>
                  <a:cubicBezTo>
                    <a:pt x="1682" y="529"/>
                    <a:pt x="1682" y="529"/>
                    <a:pt x="1682" y="529"/>
                  </a:cubicBezTo>
                  <a:cubicBezTo>
                    <a:pt x="1682" y="529"/>
                    <a:pt x="1682" y="529"/>
                    <a:pt x="1682" y="529"/>
                  </a:cubicBezTo>
                  <a:cubicBezTo>
                    <a:pt x="1682" y="529"/>
                    <a:pt x="1683" y="529"/>
                    <a:pt x="1683" y="528"/>
                  </a:cubicBezTo>
                  <a:cubicBezTo>
                    <a:pt x="1683" y="528"/>
                    <a:pt x="1683" y="528"/>
                    <a:pt x="1683" y="528"/>
                  </a:cubicBezTo>
                  <a:cubicBezTo>
                    <a:pt x="1683" y="528"/>
                    <a:pt x="1683" y="528"/>
                    <a:pt x="1683" y="528"/>
                  </a:cubicBezTo>
                  <a:cubicBezTo>
                    <a:pt x="1683" y="527"/>
                    <a:pt x="1683" y="527"/>
                    <a:pt x="1683" y="527"/>
                  </a:cubicBezTo>
                  <a:cubicBezTo>
                    <a:pt x="1683" y="527"/>
                    <a:pt x="1683" y="527"/>
                    <a:pt x="1683" y="527"/>
                  </a:cubicBezTo>
                  <a:cubicBezTo>
                    <a:pt x="1683" y="527"/>
                    <a:pt x="1683" y="527"/>
                    <a:pt x="1683" y="527"/>
                  </a:cubicBezTo>
                  <a:cubicBezTo>
                    <a:pt x="1683" y="527"/>
                    <a:pt x="1683" y="527"/>
                    <a:pt x="1683" y="527"/>
                  </a:cubicBezTo>
                  <a:cubicBezTo>
                    <a:pt x="1683" y="526"/>
                    <a:pt x="1683" y="526"/>
                    <a:pt x="1683" y="525"/>
                  </a:cubicBezTo>
                  <a:cubicBezTo>
                    <a:pt x="1683" y="525"/>
                    <a:pt x="1683" y="525"/>
                    <a:pt x="1683" y="525"/>
                  </a:cubicBezTo>
                  <a:cubicBezTo>
                    <a:pt x="1683" y="525"/>
                    <a:pt x="1683" y="525"/>
                    <a:pt x="1683" y="525"/>
                  </a:cubicBezTo>
                  <a:cubicBezTo>
                    <a:pt x="1684" y="524"/>
                    <a:pt x="1684" y="524"/>
                    <a:pt x="1684" y="524"/>
                  </a:cubicBezTo>
                  <a:cubicBezTo>
                    <a:pt x="1684" y="523"/>
                    <a:pt x="1684" y="523"/>
                    <a:pt x="1684" y="523"/>
                  </a:cubicBezTo>
                  <a:cubicBezTo>
                    <a:pt x="1684" y="523"/>
                    <a:pt x="1684" y="523"/>
                    <a:pt x="1684" y="523"/>
                  </a:cubicBezTo>
                  <a:cubicBezTo>
                    <a:pt x="1684" y="523"/>
                    <a:pt x="1684" y="523"/>
                    <a:pt x="1684" y="523"/>
                  </a:cubicBezTo>
                  <a:cubicBezTo>
                    <a:pt x="1684" y="523"/>
                    <a:pt x="1684" y="523"/>
                    <a:pt x="1684" y="523"/>
                  </a:cubicBezTo>
                  <a:cubicBezTo>
                    <a:pt x="1684" y="523"/>
                    <a:pt x="1685" y="522"/>
                    <a:pt x="1685" y="522"/>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0"/>
                    <a:pt x="1685" y="520"/>
                    <a:pt x="1685" y="520"/>
                  </a:cubicBezTo>
                  <a:cubicBezTo>
                    <a:pt x="1685" y="520"/>
                    <a:pt x="1685" y="520"/>
                    <a:pt x="1685" y="520"/>
                  </a:cubicBezTo>
                  <a:cubicBezTo>
                    <a:pt x="1685" y="520"/>
                    <a:pt x="1685" y="520"/>
                    <a:pt x="1685" y="520"/>
                  </a:cubicBezTo>
                  <a:cubicBezTo>
                    <a:pt x="1686" y="520"/>
                    <a:pt x="1686" y="520"/>
                    <a:pt x="1686" y="520"/>
                  </a:cubicBezTo>
                  <a:cubicBezTo>
                    <a:pt x="1686" y="520"/>
                    <a:pt x="1686" y="520"/>
                    <a:pt x="1686" y="520"/>
                  </a:cubicBezTo>
                  <a:cubicBezTo>
                    <a:pt x="1686" y="520"/>
                    <a:pt x="1686" y="520"/>
                    <a:pt x="1686" y="520"/>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8"/>
                    <a:pt x="1686" y="518"/>
                    <a:pt x="1686" y="517"/>
                  </a:cubicBezTo>
                  <a:cubicBezTo>
                    <a:pt x="1686" y="517"/>
                    <a:pt x="1686" y="517"/>
                    <a:pt x="1686" y="517"/>
                  </a:cubicBezTo>
                  <a:cubicBezTo>
                    <a:pt x="1686" y="517"/>
                    <a:pt x="1686" y="517"/>
                    <a:pt x="1686" y="517"/>
                  </a:cubicBezTo>
                  <a:cubicBezTo>
                    <a:pt x="1686" y="516"/>
                    <a:pt x="1686" y="516"/>
                    <a:pt x="1686" y="515"/>
                  </a:cubicBezTo>
                  <a:cubicBezTo>
                    <a:pt x="1686" y="515"/>
                    <a:pt x="1686" y="515"/>
                    <a:pt x="1686" y="515"/>
                  </a:cubicBezTo>
                  <a:cubicBezTo>
                    <a:pt x="1686" y="515"/>
                    <a:pt x="1686" y="515"/>
                    <a:pt x="1686" y="515"/>
                  </a:cubicBezTo>
                  <a:cubicBezTo>
                    <a:pt x="1686" y="515"/>
                    <a:pt x="1686" y="515"/>
                    <a:pt x="1686" y="515"/>
                  </a:cubicBezTo>
                  <a:cubicBezTo>
                    <a:pt x="1686" y="514"/>
                    <a:pt x="1686" y="514"/>
                    <a:pt x="1686" y="514"/>
                  </a:cubicBezTo>
                  <a:cubicBezTo>
                    <a:pt x="1685" y="512"/>
                    <a:pt x="1685" y="512"/>
                    <a:pt x="1685" y="512"/>
                  </a:cubicBezTo>
                  <a:cubicBezTo>
                    <a:pt x="1684" y="509"/>
                    <a:pt x="1684" y="509"/>
                    <a:pt x="1684" y="509"/>
                  </a:cubicBezTo>
                  <a:cubicBezTo>
                    <a:pt x="1683" y="507"/>
                    <a:pt x="1683" y="507"/>
                    <a:pt x="1683" y="507"/>
                  </a:cubicBezTo>
                  <a:cubicBezTo>
                    <a:pt x="1683" y="507"/>
                    <a:pt x="1683" y="507"/>
                    <a:pt x="1683" y="507"/>
                  </a:cubicBezTo>
                  <a:cubicBezTo>
                    <a:pt x="1683" y="506"/>
                    <a:pt x="1683" y="506"/>
                    <a:pt x="1683" y="506"/>
                  </a:cubicBezTo>
                  <a:cubicBezTo>
                    <a:pt x="1682" y="506"/>
                    <a:pt x="1682" y="506"/>
                    <a:pt x="1682" y="506"/>
                  </a:cubicBezTo>
                  <a:cubicBezTo>
                    <a:pt x="1682" y="506"/>
                    <a:pt x="1682" y="506"/>
                    <a:pt x="1682" y="506"/>
                  </a:cubicBezTo>
                  <a:cubicBezTo>
                    <a:pt x="1682" y="506"/>
                    <a:pt x="1682" y="506"/>
                    <a:pt x="1682" y="506"/>
                  </a:cubicBezTo>
                  <a:cubicBezTo>
                    <a:pt x="1682" y="505"/>
                    <a:pt x="1682" y="505"/>
                    <a:pt x="1682" y="505"/>
                  </a:cubicBezTo>
                  <a:cubicBezTo>
                    <a:pt x="1682" y="505"/>
                    <a:pt x="1682" y="505"/>
                    <a:pt x="1682" y="505"/>
                  </a:cubicBezTo>
                  <a:cubicBezTo>
                    <a:pt x="1681" y="505"/>
                    <a:pt x="1681" y="505"/>
                    <a:pt x="1681" y="505"/>
                  </a:cubicBezTo>
                  <a:cubicBezTo>
                    <a:pt x="1679" y="504"/>
                    <a:pt x="1679" y="504"/>
                    <a:pt x="1679" y="504"/>
                  </a:cubicBezTo>
                  <a:cubicBezTo>
                    <a:pt x="1675" y="503"/>
                    <a:pt x="1675" y="503"/>
                    <a:pt x="1675" y="503"/>
                  </a:cubicBezTo>
                  <a:cubicBezTo>
                    <a:pt x="1673" y="502"/>
                    <a:pt x="1673" y="502"/>
                    <a:pt x="1673" y="502"/>
                  </a:cubicBezTo>
                  <a:cubicBezTo>
                    <a:pt x="1672" y="502"/>
                    <a:pt x="1672" y="502"/>
                    <a:pt x="1672" y="502"/>
                  </a:cubicBezTo>
                  <a:cubicBezTo>
                    <a:pt x="1672" y="502"/>
                    <a:pt x="1672" y="502"/>
                    <a:pt x="1672" y="502"/>
                  </a:cubicBezTo>
                  <a:cubicBezTo>
                    <a:pt x="1672" y="502"/>
                    <a:pt x="1672" y="502"/>
                    <a:pt x="1672" y="502"/>
                  </a:cubicBezTo>
                  <a:cubicBezTo>
                    <a:pt x="1671" y="502"/>
                    <a:pt x="1671" y="502"/>
                    <a:pt x="1671" y="502"/>
                  </a:cubicBezTo>
                  <a:cubicBezTo>
                    <a:pt x="1671" y="502"/>
                    <a:pt x="1671" y="502"/>
                    <a:pt x="1671" y="502"/>
                  </a:cubicBezTo>
                  <a:cubicBezTo>
                    <a:pt x="1671" y="502"/>
                    <a:pt x="1671" y="502"/>
                    <a:pt x="1671" y="502"/>
                  </a:cubicBezTo>
                  <a:cubicBezTo>
                    <a:pt x="1671" y="503"/>
                    <a:pt x="1671" y="503"/>
                    <a:pt x="1671" y="503"/>
                  </a:cubicBezTo>
                  <a:cubicBezTo>
                    <a:pt x="1671" y="503"/>
                    <a:pt x="1671" y="503"/>
                    <a:pt x="1671" y="503"/>
                  </a:cubicBezTo>
                  <a:cubicBezTo>
                    <a:pt x="1671" y="503"/>
                    <a:pt x="1671" y="503"/>
                    <a:pt x="1671" y="503"/>
                  </a:cubicBezTo>
                  <a:cubicBezTo>
                    <a:pt x="1670" y="503"/>
                    <a:pt x="1670" y="503"/>
                    <a:pt x="1670" y="503"/>
                  </a:cubicBezTo>
                  <a:cubicBezTo>
                    <a:pt x="1668" y="503"/>
                    <a:pt x="1668" y="502"/>
                    <a:pt x="1665" y="502"/>
                  </a:cubicBezTo>
                  <a:cubicBezTo>
                    <a:pt x="1665" y="502"/>
                    <a:pt x="1665" y="502"/>
                    <a:pt x="1665" y="502"/>
                  </a:cubicBezTo>
                  <a:cubicBezTo>
                    <a:pt x="1665" y="502"/>
                    <a:pt x="1665" y="502"/>
                    <a:pt x="1665" y="502"/>
                  </a:cubicBezTo>
                  <a:cubicBezTo>
                    <a:pt x="1665" y="502"/>
                    <a:pt x="1665" y="502"/>
                    <a:pt x="1665" y="502"/>
                  </a:cubicBezTo>
                  <a:cubicBezTo>
                    <a:pt x="1664" y="502"/>
                    <a:pt x="1664" y="502"/>
                    <a:pt x="1663" y="502"/>
                  </a:cubicBezTo>
                  <a:cubicBezTo>
                    <a:pt x="1663" y="502"/>
                    <a:pt x="1663" y="502"/>
                    <a:pt x="1663" y="502"/>
                  </a:cubicBezTo>
                  <a:cubicBezTo>
                    <a:pt x="1663" y="502"/>
                    <a:pt x="1663" y="502"/>
                    <a:pt x="1663" y="502"/>
                  </a:cubicBezTo>
                  <a:cubicBezTo>
                    <a:pt x="1662" y="503"/>
                    <a:pt x="1662" y="502"/>
                    <a:pt x="1661" y="502"/>
                  </a:cubicBezTo>
                  <a:cubicBezTo>
                    <a:pt x="1661" y="502"/>
                    <a:pt x="1661" y="502"/>
                    <a:pt x="1661" y="502"/>
                  </a:cubicBezTo>
                  <a:cubicBezTo>
                    <a:pt x="1661" y="502"/>
                    <a:pt x="1661" y="502"/>
                    <a:pt x="1661" y="502"/>
                  </a:cubicBezTo>
                  <a:cubicBezTo>
                    <a:pt x="1661" y="503"/>
                    <a:pt x="1661" y="503"/>
                    <a:pt x="1661" y="503"/>
                  </a:cubicBezTo>
                  <a:cubicBezTo>
                    <a:pt x="1661" y="503"/>
                    <a:pt x="1661" y="503"/>
                    <a:pt x="1661" y="503"/>
                  </a:cubicBezTo>
                  <a:cubicBezTo>
                    <a:pt x="1661" y="503"/>
                    <a:pt x="1661" y="503"/>
                    <a:pt x="1661" y="503"/>
                  </a:cubicBezTo>
                  <a:cubicBezTo>
                    <a:pt x="1661" y="503"/>
                    <a:pt x="1661" y="503"/>
                    <a:pt x="1661" y="503"/>
                  </a:cubicBezTo>
                  <a:cubicBezTo>
                    <a:pt x="1660" y="503"/>
                    <a:pt x="1660" y="503"/>
                    <a:pt x="1660" y="503"/>
                  </a:cubicBezTo>
                  <a:cubicBezTo>
                    <a:pt x="1660" y="503"/>
                    <a:pt x="1660" y="503"/>
                    <a:pt x="1660" y="503"/>
                  </a:cubicBezTo>
                  <a:cubicBezTo>
                    <a:pt x="1660" y="503"/>
                    <a:pt x="1659" y="503"/>
                    <a:pt x="1659" y="503"/>
                  </a:cubicBezTo>
                  <a:cubicBezTo>
                    <a:pt x="1659" y="503"/>
                    <a:pt x="1659" y="503"/>
                    <a:pt x="1659" y="503"/>
                  </a:cubicBezTo>
                  <a:cubicBezTo>
                    <a:pt x="1659" y="504"/>
                    <a:pt x="1659" y="504"/>
                    <a:pt x="1659" y="504"/>
                  </a:cubicBezTo>
                  <a:cubicBezTo>
                    <a:pt x="1658" y="504"/>
                    <a:pt x="1658" y="504"/>
                    <a:pt x="1658" y="505"/>
                  </a:cubicBezTo>
                  <a:cubicBezTo>
                    <a:pt x="1658" y="505"/>
                    <a:pt x="1658" y="505"/>
                    <a:pt x="1658" y="505"/>
                  </a:cubicBezTo>
                  <a:cubicBezTo>
                    <a:pt x="1658" y="505"/>
                    <a:pt x="1658" y="505"/>
                    <a:pt x="1658" y="505"/>
                  </a:cubicBezTo>
                  <a:cubicBezTo>
                    <a:pt x="1658" y="505"/>
                    <a:pt x="1658" y="505"/>
                    <a:pt x="1658" y="505"/>
                  </a:cubicBezTo>
                  <a:cubicBezTo>
                    <a:pt x="1658" y="505"/>
                    <a:pt x="1658" y="505"/>
                    <a:pt x="1658" y="505"/>
                  </a:cubicBezTo>
                  <a:cubicBezTo>
                    <a:pt x="1657" y="505"/>
                    <a:pt x="1657" y="505"/>
                    <a:pt x="1657" y="506"/>
                  </a:cubicBezTo>
                  <a:cubicBezTo>
                    <a:pt x="1656" y="506"/>
                    <a:pt x="1656" y="506"/>
                    <a:pt x="1656" y="506"/>
                  </a:cubicBezTo>
                  <a:cubicBezTo>
                    <a:pt x="1656" y="506"/>
                    <a:pt x="1656" y="506"/>
                    <a:pt x="1656" y="506"/>
                  </a:cubicBezTo>
                  <a:cubicBezTo>
                    <a:pt x="1656" y="507"/>
                    <a:pt x="1656" y="506"/>
                    <a:pt x="1655" y="506"/>
                  </a:cubicBezTo>
                  <a:cubicBezTo>
                    <a:pt x="1655" y="506"/>
                    <a:pt x="1655" y="506"/>
                    <a:pt x="1655" y="506"/>
                  </a:cubicBezTo>
                  <a:cubicBezTo>
                    <a:pt x="1654" y="507"/>
                    <a:pt x="1654" y="507"/>
                    <a:pt x="1654" y="507"/>
                  </a:cubicBezTo>
                  <a:cubicBezTo>
                    <a:pt x="1654" y="507"/>
                    <a:pt x="1654" y="507"/>
                    <a:pt x="1654" y="507"/>
                  </a:cubicBezTo>
                  <a:cubicBezTo>
                    <a:pt x="1654" y="507"/>
                    <a:pt x="1654" y="507"/>
                    <a:pt x="1654" y="507"/>
                  </a:cubicBezTo>
                  <a:cubicBezTo>
                    <a:pt x="1654" y="507"/>
                    <a:pt x="1654" y="507"/>
                    <a:pt x="1654" y="507"/>
                  </a:cubicBezTo>
                  <a:cubicBezTo>
                    <a:pt x="1652" y="508"/>
                    <a:pt x="1653" y="509"/>
                    <a:pt x="1652" y="509"/>
                  </a:cubicBezTo>
                  <a:cubicBezTo>
                    <a:pt x="1652" y="509"/>
                    <a:pt x="1652" y="509"/>
                    <a:pt x="1652" y="509"/>
                  </a:cubicBezTo>
                  <a:cubicBezTo>
                    <a:pt x="1652" y="509"/>
                    <a:pt x="1652" y="509"/>
                    <a:pt x="1652" y="509"/>
                  </a:cubicBezTo>
                  <a:cubicBezTo>
                    <a:pt x="1652" y="509"/>
                    <a:pt x="1652" y="509"/>
                    <a:pt x="1652" y="509"/>
                  </a:cubicBezTo>
                  <a:cubicBezTo>
                    <a:pt x="1651" y="509"/>
                    <a:pt x="1651" y="509"/>
                    <a:pt x="1651" y="509"/>
                  </a:cubicBezTo>
                  <a:cubicBezTo>
                    <a:pt x="1651" y="509"/>
                    <a:pt x="1651" y="509"/>
                    <a:pt x="1651" y="509"/>
                  </a:cubicBezTo>
                  <a:cubicBezTo>
                    <a:pt x="1651" y="509"/>
                    <a:pt x="1651" y="509"/>
                    <a:pt x="1651" y="509"/>
                  </a:cubicBezTo>
                  <a:cubicBezTo>
                    <a:pt x="1651" y="509"/>
                    <a:pt x="1651" y="509"/>
                    <a:pt x="1651" y="509"/>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0" y="511"/>
                    <a:pt x="1650" y="511"/>
                    <a:pt x="1649" y="512"/>
                  </a:cubicBezTo>
                  <a:cubicBezTo>
                    <a:pt x="1649" y="512"/>
                    <a:pt x="1649" y="512"/>
                    <a:pt x="1649" y="512"/>
                  </a:cubicBezTo>
                  <a:cubicBezTo>
                    <a:pt x="1649" y="512"/>
                    <a:pt x="1649" y="512"/>
                    <a:pt x="1649" y="512"/>
                  </a:cubicBezTo>
                  <a:cubicBezTo>
                    <a:pt x="1649" y="512"/>
                    <a:pt x="1649" y="512"/>
                    <a:pt x="1649" y="512"/>
                  </a:cubicBezTo>
                  <a:cubicBezTo>
                    <a:pt x="1649" y="512"/>
                    <a:pt x="1649" y="512"/>
                    <a:pt x="1649" y="512"/>
                  </a:cubicBezTo>
                  <a:cubicBezTo>
                    <a:pt x="1649" y="512"/>
                    <a:pt x="1649" y="512"/>
                    <a:pt x="1649" y="512"/>
                  </a:cubicBezTo>
                  <a:cubicBezTo>
                    <a:pt x="1649" y="513"/>
                    <a:pt x="1649" y="513"/>
                    <a:pt x="1649" y="513"/>
                  </a:cubicBezTo>
                  <a:cubicBezTo>
                    <a:pt x="1648" y="512"/>
                    <a:pt x="1648" y="512"/>
                    <a:pt x="1648" y="512"/>
                  </a:cubicBezTo>
                  <a:cubicBezTo>
                    <a:pt x="1647" y="511"/>
                    <a:pt x="1647" y="511"/>
                    <a:pt x="1647" y="511"/>
                  </a:cubicBezTo>
                  <a:cubicBezTo>
                    <a:pt x="1645" y="509"/>
                    <a:pt x="1645" y="509"/>
                    <a:pt x="1645" y="509"/>
                  </a:cubicBezTo>
                  <a:cubicBezTo>
                    <a:pt x="1644" y="508"/>
                    <a:pt x="1644" y="508"/>
                    <a:pt x="1644" y="508"/>
                  </a:cubicBezTo>
                  <a:cubicBezTo>
                    <a:pt x="1643" y="508"/>
                    <a:pt x="1643" y="508"/>
                    <a:pt x="1643" y="508"/>
                  </a:cubicBezTo>
                  <a:cubicBezTo>
                    <a:pt x="1643" y="507"/>
                    <a:pt x="1643" y="507"/>
                    <a:pt x="1643" y="507"/>
                  </a:cubicBezTo>
                  <a:cubicBezTo>
                    <a:pt x="1643" y="507"/>
                    <a:pt x="1643" y="507"/>
                    <a:pt x="1643" y="507"/>
                  </a:cubicBezTo>
                  <a:cubicBezTo>
                    <a:pt x="1643" y="507"/>
                    <a:pt x="1643" y="507"/>
                    <a:pt x="1643" y="507"/>
                  </a:cubicBezTo>
                  <a:cubicBezTo>
                    <a:pt x="1643" y="507"/>
                    <a:pt x="1643" y="507"/>
                    <a:pt x="1643" y="507"/>
                  </a:cubicBezTo>
                  <a:cubicBezTo>
                    <a:pt x="1643" y="507"/>
                    <a:pt x="1643" y="507"/>
                    <a:pt x="1643" y="507"/>
                  </a:cubicBezTo>
                  <a:cubicBezTo>
                    <a:pt x="1642" y="507"/>
                    <a:pt x="1642" y="507"/>
                    <a:pt x="1642" y="507"/>
                  </a:cubicBezTo>
                  <a:cubicBezTo>
                    <a:pt x="1642" y="507"/>
                    <a:pt x="1642" y="507"/>
                    <a:pt x="1642" y="507"/>
                  </a:cubicBezTo>
                  <a:cubicBezTo>
                    <a:pt x="1642" y="507"/>
                    <a:pt x="1642" y="507"/>
                    <a:pt x="1642" y="507"/>
                  </a:cubicBezTo>
                  <a:cubicBezTo>
                    <a:pt x="1641" y="507"/>
                    <a:pt x="1641" y="507"/>
                    <a:pt x="1641" y="507"/>
                  </a:cubicBezTo>
                  <a:cubicBezTo>
                    <a:pt x="1641" y="507"/>
                    <a:pt x="1641" y="507"/>
                    <a:pt x="1641" y="507"/>
                  </a:cubicBezTo>
                  <a:cubicBezTo>
                    <a:pt x="1641" y="507"/>
                    <a:pt x="1641" y="507"/>
                    <a:pt x="1641" y="507"/>
                  </a:cubicBezTo>
                  <a:cubicBezTo>
                    <a:pt x="1641" y="507"/>
                    <a:pt x="1641" y="507"/>
                    <a:pt x="1641" y="507"/>
                  </a:cubicBezTo>
                  <a:cubicBezTo>
                    <a:pt x="1640" y="506"/>
                    <a:pt x="1640" y="506"/>
                    <a:pt x="1640" y="506"/>
                  </a:cubicBezTo>
                  <a:cubicBezTo>
                    <a:pt x="1640" y="506"/>
                    <a:pt x="1640" y="506"/>
                    <a:pt x="1640" y="506"/>
                  </a:cubicBezTo>
                  <a:cubicBezTo>
                    <a:pt x="1640" y="506"/>
                    <a:pt x="1640" y="506"/>
                    <a:pt x="1640" y="506"/>
                  </a:cubicBezTo>
                  <a:cubicBezTo>
                    <a:pt x="1639" y="506"/>
                    <a:pt x="1639" y="506"/>
                    <a:pt x="1639" y="506"/>
                  </a:cubicBezTo>
                  <a:cubicBezTo>
                    <a:pt x="1639" y="506"/>
                    <a:pt x="1639" y="506"/>
                    <a:pt x="1639" y="506"/>
                  </a:cubicBezTo>
                  <a:cubicBezTo>
                    <a:pt x="1639" y="506"/>
                    <a:pt x="1639" y="506"/>
                    <a:pt x="1639" y="506"/>
                  </a:cubicBezTo>
                  <a:cubicBezTo>
                    <a:pt x="1640" y="506"/>
                    <a:pt x="1640" y="506"/>
                    <a:pt x="1640" y="506"/>
                  </a:cubicBezTo>
                  <a:cubicBezTo>
                    <a:pt x="1641" y="506"/>
                    <a:pt x="1643" y="506"/>
                    <a:pt x="1643" y="505"/>
                  </a:cubicBezTo>
                  <a:cubicBezTo>
                    <a:pt x="1644" y="505"/>
                    <a:pt x="1644" y="505"/>
                    <a:pt x="1644" y="505"/>
                  </a:cubicBezTo>
                  <a:cubicBezTo>
                    <a:pt x="1644" y="505"/>
                    <a:pt x="1644" y="505"/>
                    <a:pt x="1644" y="505"/>
                  </a:cubicBezTo>
                  <a:cubicBezTo>
                    <a:pt x="1644" y="505"/>
                    <a:pt x="1644" y="505"/>
                    <a:pt x="1644" y="505"/>
                  </a:cubicBezTo>
                  <a:cubicBezTo>
                    <a:pt x="1644" y="505"/>
                    <a:pt x="1644" y="505"/>
                    <a:pt x="1645" y="505"/>
                  </a:cubicBezTo>
                  <a:cubicBezTo>
                    <a:pt x="1645" y="505"/>
                    <a:pt x="1645" y="505"/>
                    <a:pt x="1645" y="505"/>
                  </a:cubicBezTo>
                  <a:cubicBezTo>
                    <a:pt x="1645" y="505"/>
                    <a:pt x="1645" y="505"/>
                    <a:pt x="1645" y="505"/>
                  </a:cubicBezTo>
                  <a:cubicBezTo>
                    <a:pt x="1646" y="505"/>
                    <a:pt x="1646" y="505"/>
                    <a:pt x="1646" y="505"/>
                  </a:cubicBezTo>
                  <a:cubicBezTo>
                    <a:pt x="1647" y="505"/>
                    <a:pt x="1647" y="505"/>
                    <a:pt x="1647" y="505"/>
                  </a:cubicBezTo>
                  <a:cubicBezTo>
                    <a:pt x="1647" y="505"/>
                    <a:pt x="1647" y="505"/>
                    <a:pt x="1647" y="505"/>
                  </a:cubicBezTo>
                  <a:cubicBezTo>
                    <a:pt x="1647" y="504"/>
                    <a:pt x="1647" y="504"/>
                    <a:pt x="1647" y="504"/>
                  </a:cubicBezTo>
                  <a:cubicBezTo>
                    <a:pt x="1647" y="504"/>
                    <a:pt x="1647" y="504"/>
                    <a:pt x="1647" y="504"/>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8" y="503"/>
                    <a:pt x="1648" y="503"/>
                    <a:pt x="1648" y="503"/>
                  </a:cubicBezTo>
                  <a:cubicBezTo>
                    <a:pt x="1648" y="504"/>
                    <a:pt x="1648" y="504"/>
                    <a:pt x="1648" y="504"/>
                  </a:cubicBezTo>
                  <a:cubicBezTo>
                    <a:pt x="1648" y="504"/>
                    <a:pt x="1648" y="504"/>
                    <a:pt x="1648" y="504"/>
                  </a:cubicBezTo>
                  <a:cubicBezTo>
                    <a:pt x="1648" y="504"/>
                    <a:pt x="1648" y="504"/>
                    <a:pt x="1648" y="504"/>
                  </a:cubicBezTo>
                  <a:cubicBezTo>
                    <a:pt x="1648" y="504"/>
                    <a:pt x="1648" y="504"/>
                    <a:pt x="1648" y="505"/>
                  </a:cubicBezTo>
                  <a:cubicBezTo>
                    <a:pt x="1649" y="505"/>
                    <a:pt x="1649" y="505"/>
                    <a:pt x="1649" y="505"/>
                  </a:cubicBezTo>
                  <a:cubicBezTo>
                    <a:pt x="1649" y="505"/>
                    <a:pt x="1649" y="505"/>
                    <a:pt x="1649" y="505"/>
                  </a:cubicBezTo>
                  <a:cubicBezTo>
                    <a:pt x="1649" y="505"/>
                    <a:pt x="1649" y="505"/>
                    <a:pt x="1649" y="505"/>
                  </a:cubicBezTo>
                  <a:cubicBezTo>
                    <a:pt x="1649" y="505"/>
                    <a:pt x="1649" y="505"/>
                    <a:pt x="1649" y="505"/>
                  </a:cubicBezTo>
                  <a:cubicBezTo>
                    <a:pt x="1649" y="505"/>
                    <a:pt x="1649" y="505"/>
                    <a:pt x="1649" y="505"/>
                  </a:cubicBezTo>
                  <a:cubicBezTo>
                    <a:pt x="1649" y="504"/>
                    <a:pt x="1649" y="504"/>
                    <a:pt x="1649" y="504"/>
                  </a:cubicBezTo>
                  <a:cubicBezTo>
                    <a:pt x="1649" y="504"/>
                    <a:pt x="1649" y="504"/>
                    <a:pt x="1649" y="504"/>
                  </a:cubicBezTo>
                  <a:cubicBezTo>
                    <a:pt x="1649" y="504"/>
                    <a:pt x="1649" y="504"/>
                    <a:pt x="1649" y="504"/>
                  </a:cubicBezTo>
                  <a:cubicBezTo>
                    <a:pt x="1649" y="503"/>
                    <a:pt x="1649" y="503"/>
                    <a:pt x="1649" y="503"/>
                  </a:cubicBezTo>
                  <a:cubicBezTo>
                    <a:pt x="1649" y="503"/>
                    <a:pt x="1649" y="503"/>
                    <a:pt x="1649" y="503"/>
                  </a:cubicBezTo>
                  <a:cubicBezTo>
                    <a:pt x="1649" y="502"/>
                    <a:pt x="1649" y="502"/>
                    <a:pt x="1649" y="502"/>
                  </a:cubicBezTo>
                  <a:cubicBezTo>
                    <a:pt x="1649" y="502"/>
                    <a:pt x="1649" y="502"/>
                    <a:pt x="1649" y="502"/>
                  </a:cubicBezTo>
                  <a:cubicBezTo>
                    <a:pt x="1649" y="502"/>
                    <a:pt x="1649" y="501"/>
                    <a:pt x="1649" y="501"/>
                  </a:cubicBezTo>
                  <a:cubicBezTo>
                    <a:pt x="1649" y="500"/>
                    <a:pt x="1649" y="500"/>
                    <a:pt x="1649" y="500"/>
                  </a:cubicBezTo>
                  <a:cubicBezTo>
                    <a:pt x="1648" y="498"/>
                    <a:pt x="1648" y="498"/>
                    <a:pt x="1648" y="498"/>
                  </a:cubicBezTo>
                  <a:cubicBezTo>
                    <a:pt x="1648" y="498"/>
                    <a:pt x="1648" y="498"/>
                    <a:pt x="1648" y="498"/>
                  </a:cubicBezTo>
                  <a:cubicBezTo>
                    <a:pt x="1648" y="498"/>
                    <a:pt x="1648" y="498"/>
                    <a:pt x="1648" y="498"/>
                  </a:cubicBezTo>
                  <a:cubicBezTo>
                    <a:pt x="1648" y="498"/>
                    <a:pt x="1648" y="498"/>
                    <a:pt x="1648" y="498"/>
                  </a:cubicBezTo>
                  <a:cubicBezTo>
                    <a:pt x="1649" y="498"/>
                    <a:pt x="1649" y="498"/>
                    <a:pt x="1649" y="498"/>
                  </a:cubicBezTo>
                  <a:cubicBezTo>
                    <a:pt x="1649" y="499"/>
                    <a:pt x="1649" y="499"/>
                    <a:pt x="1649" y="499"/>
                  </a:cubicBezTo>
                  <a:cubicBezTo>
                    <a:pt x="1649" y="499"/>
                    <a:pt x="1649" y="499"/>
                    <a:pt x="1649" y="499"/>
                  </a:cubicBezTo>
                  <a:cubicBezTo>
                    <a:pt x="1649" y="499"/>
                    <a:pt x="1649" y="499"/>
                    <a:pt x="1649" y="499"/>
                  </a:cubicBezTo>
                  <a:cubicBezTo>
                    <a:pt x="1649" y="500"/>
                    <a:pt x="1649" y="500"/>
                    <a:pt x="1649" y="500"/>
                  </a:cubicBezTo>
                  <a:cubicBezTo>
                    <a:pt x="1649" y="500"/>
                    <a:pt x="1649" y="500"/>
                    <a:pt x="1649" y="500"/>
                  </a:cubicBezTo>
                  <a:cubicBezTo>
                    <a:pt x="1649" y="500"/>
                    <a:pt x="1649" y="500"/>
                    <a:pt x="1649" y="500"/>
                  </a:cubicBezTo>
                  <a:cubicBezTo>
                    <a:pt x="1650" y="500"/>
                    <a:pt x="1650" y="500"/>
                    <a:pt x="1650" y="500"/>
                  </a:cubicBezTo>
                  <a:cubicBezTo>
                    <a:pt x="1650" y="500"/>
                    <a:pt x="1650" y="500"/>
                    <a:pt x="1650" y="500"/>
                  </a:cubicBezTo>
                  <a:cubicBezTo>
                    <a:pt x="1650" y="500"/>
                    <a:pt x="1650" y="500"/>
                    <a:pt x="1650" y="500"/>
                  </a:cubicBezTo>
                  <a:cubicBezTo>
                    <a:pt x="1650" y="500"/>
                    <a:pt x="1650" y="500"/>
                    <a:pt x="1650" y="500"/>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1" y="499"/>
                    <a:pt x="1651" y="499"/>
                    <a:pt x="1651" y="499"/>
                  </a:cubicBezTo>
                  <a:cubicBezTo>
                    <a:pt x="1651" y="499"/>
                    <a:pt x="1651" y="499"/>
                    <a:pt x="1651" y="499"/>
                  </a:cubicBezTo>
                  <a:cubicBezTo>
                    <a:pt x="1651" y="500"/>
                    <a:pt x="1651" y="500"/>
                    <a:pt x="1651" y="500"/>
                  </a:cubicBezTo>
                  <a:cubicBezTo>
                    <a:pt x="1651" y="500"/>
                    <a:pt x="1651" y="500"/>
                    <a:pt x="1651" y="500"/>
                  </a:cubicBezTo>
                  <a:cubicBezTo>
                    <a:pt x="1652" y="502"/>
                    <a:pt x="1652" y="500"/>
                    <a:pt x="1653" y="502"/>
                  </a:cubicBezTo>
                  <a:cubicBezTo>
                    <a:pt x="1653" y="505"/>
                    <a:pt x="1653" y="505"/>
                    <a:pt x="1653" y="505"/>
                  </a:cubicBezTo>
                  <a:cubicBezTo>
                    <a:pt x="1654" y="505"/>
                    <a:pt x="1654" y="505"/>
                    <a:pt x="1654" y="505"/>
                  </a:cubicBezTo>
                  <a:cubicBezTo>
                    <a:pt x="1654" y="506"/>
                    <a:pt x="1654" y="506"/>
                    <a:pt x="1654" y="506"/>
                  </a:cubicBezTo>
                  <a:cubicBezTo>
                    <a:pt x="1654" y="506"/>
                    <a:pt x="1654" y="506"/>
                    <a:pt x="1654" y="506"/>
                  </a:cubicBezTo>
                  <a:cubicBezTo>
                    <a:pt x="1654" y="506"/>
                    <a:pt x="1654" y="506"/>
                    <a:pt x="1654" y="506"/>
                  </a:cubicBezTo>
                  <a:cubicBezTo>
                    <a:pt x="1654" y="505"/>
                    <a:pt x="1654" y="505"/>
                    <a:pt x="1654" y="505"/>
                  </a:cubicBezTo>
                  <a:cubicBezTo>
                    <a:pt x="1655" y="505"/>
                    <a:pt x="1655" y="505"/>
                    <a:pt x="1655" y="504"/>
                  </a:cubicBezTo>
                  <a:cubicBezTo>
                    <a:pt x="1655" y="504"/>
                    <a:pt x="1655" y="504"/>
                    <a:pt x="1655" y="504"/>
                  </a:cubicBezTo>
                  <a:cubicBezTo>
                    <a:pt x="1655" y="504"/>
                    <a:pt x="1655" y="504"/>
                    <a:pt x="1655" y="504"/>
                  </a:cubicBezTo>
                  <a:cubicBezTo>
                    <a:pt x="1655" y="504"/>
                    <a:pt x="1655" y="504"/>
                    <a:pt x="1655" y="504"/>
                  </a:cubicBezTo>
                  <a:cubicBezTo>
                    <a:pt x="1655" y="504"/>
                    <a:pt x="1655" y="504"/>
                    <a:pt x="1655" y="504"/>
                  </a:cubicBezTo>
                  <a:cubicBezTo>
                    <a:pt x="1655" y="503"/>
                    <a:pt x="1655" y="503"/>
                    <a:pt x="1655" y="503"/>
                  </a:cubicBezTo>
                  <a:cubicBezTo>
                    <a:pt x="1655" y="503"/>
                    <a:pt x="1655" y="503"/>
                    <a:pt x="1655" y="503"/>
                  </a:cubicBezTo>
                  <a:cubicBezTo>
                    <a:pt x="1655" y="503"/>
                    <a:pt x="1655" y="503"/>
                    <a:pt x="1655" y="503"/>
                  </a:cubicBezTo>
                  <a:cubicBezTo>
                    <a:pt x="1655" y="503"/>
                    <a:pt x="1655" y="503"/>
                    <a:pt x="1655"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7" y="503"/>
                    <a:pt x="1657" y="503"/>
                    <a:pt x="1657" y="502"/>
                  </a:cubicBezTo>
                  <a:cubicBezTo>
                    <a:pt x="1657" y="502"/>
                    <a:pt x="1657" y="502"/>
                    <a:pt x="1657" y="502"/>
                  </a:cubicBezTo>
                  <a:cubicBezTo>
                    <a:pt x="1657" y="502"/>
                    <a:pt x="1657" y="502"/>
                    <a:pt x="1657" y="502"/>
                  </a:cubicBezTo>
                  <a:cubicBezTo>
                    <a:pt x="1657" y="500"/>
                    <a:pt x="1656" y="499"/>
                    <a:pt x="1656" y="497"/>
                  </a:cubicBezTo>
                  <a:cubicBezTo>
                    <a:pt x="1656" y="497"/>
                    <a:pt x="1656" y="497"/>
                    <a:pt x="1656" y="497"/>
                  </a:cubicBezTo>
                  <a:cubicBezTo>
                    <a:pt x="1656" y="496"/>
                    <a:pt x="1656" y="496"/>
                    <a:pt x="1656" y="496"/>
                  </a:cubicBezTo>
                  <a:cubicBezTo>
                    <a:pt x="1656" y="496"/>
                    <a:pt x="1656" y="496"/>
                    <a:pt x="1656" y="496"/>
                  </a:cubicBezTo>
                  <a:cubicBezTo>
                    <a:pt x="1656" y="496"/>
                    <a:pt x="1656" y="496"/>
                    <a:pt x="1656" y="496"/>
                  </a:cubicBezTo>
                  <a:cubicBezTo>
                    <a:pt x="1656" y="496"/>
                    <a:pt x="1656" y="496"/>
                    <a:pt x="1656" y="496"/>
                  </a:cubicBezTo>
                  <a:cubicBezTo>
                    <a:pt x="1657" y="497"/>
                    <a:pt x="1657" y="499"/>
                    <a:pt x="1658" y="497"/>
                  </a:cubicBezTo>
                  <a:cubicBezTo>
                    <a:pt x="1658" y="497"/>
                    <a:pt x="1658" y="497"/>
                    <a:pt x="1658" y="497"/>
                  </a:cubicBezTo>
                  <a:cubicBezTo>
                    <a:pt x="1658" y="497"/>
                    <a:pt x="1658" y="497"/>
                    <a:pt x="1658" y="497"/>
                  </a:cubicBezTo>
                  <a:cubicBezTo>
                    <a:pt x="1658" y="497"/>
                    <a:pt x="1658" y="497"/>
                    <a:pt x="1658" y="497"/>
                  </a:cubicBezTo>
                  <a:cubicBezTo>
                    <a:pt x="1658" y="496"/>
                    <a:pt x="1659" y="496"/>
                    <a:pt x="1659" y="496"/>
                  </a:cubicBezTo>
                  <a:cubicBezTo>
                    <a:pt x="1659" y="496"/>
                    <a:pt x="1659" y="496"/>
                    <a:pt x="1659" y="496"/>
                  </a:cubicBezTo>
                  <a:cubicBezTo>
                    <a:pt x="1659" y="496"/>
                    <a:pt x="1659" y="496"/>
                    <a:pt x="1659" y="496"/>
                  </a:cubicBezTo>
                  <a:cubicBezTo>
                    <a:pt x="1660" y="495"/>
                    <a:pt x="1659" y="493"/>
                    <a:pt x="1659" y="492"/>
                  </a:cubicBezTo>
                  <a:cubicBezTo>
                    <a:pt x="1659" y="491"/>
                    <a:pt x="1659" y="491"/>
                    <a:pt x="1659" y="491"/>
                  </a:cubicBezTo>
                  <a:cubicBezTo>
                    <a:pt x="1659" y="491"/>
                    <a:pt x="1659" y="491"/>
                    <a:pt x="1659" y="491"/>
                  </a:cubicBezTo>
                  <a:cubicBezTo>
                    <a:pt x="1659" y="490"/>
                    <a:pt x="1659" y="490"/>
                    <a:pt x="1659" y="490"/>
                  </a:cubicBezTo>
                  <a:cubicBezTo>
                    <a:pt x="1660" y="490"/>
                    <a:pt x="1660" y="490"/>
                    <a:pt x="1660" y="490"/>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1" y="491"/>
                    <a:pt x="1661" y="491"/>
                    <a:pt x="1661" y="491"/>
                  </a:cubicBezTo>
                  <a:cubicBezTo>
                    <a:pt x="1661" y="492"/>
                    <a:pt x="1661" y="492"/>
                    <a:pt x="1661" y="491"/>
                  </a:cubicBezTo>
                  <a:cubicBezTo>
                    <a:pt x="1661" y="491"/>
                    <a:pt x="1661" y="491"/>
                    <a:pt x="1661"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0"/>
                    <a:pt x="1662" y="490"/>
                    <a:pt x="1662" y="490"/>
                  </a:cubicBezTo>
                  <a:cubicBezTo>
                    <a:pt x="1662" y="490"/>
                    <a:pt x="1662" y="490"/>
                    <a:pt x="1662" y="490"/>
                  </a:cubicBezTo>
                  <a:cubicBezTo>
                    <a:pt x="1662" y="490"/>
                    <a:pt x="1662" y="489"/>
                    <a:pt x="1662" y="488"/>
                  </a:cubicBezTo>
                  <a:cubicBezTo>
                    <a:pt x="1662" y="488"/>
                    <a:pt x="1662" y="488"/>
                    <a:pt x="1662" y="488"/>
                  </a:cubicBezTo>
                  <a:cubicBezTo>
                    <a:pt x="1662" y="488"/>
                    <a:pt x="1662" y="488"/>
                    <a:pt x="1662" y="488"/>
                  </a:cubicBezTo>
                  <a:cubicBezTo>
                    <a:pt x="1662" y="488"/>
                    <a:pt x="1662" y="488"/>
                    <a:pt x="1662" y="488"/>
                  </a:cubicBezTo>
                  <a:cubicBezTo>
                    <a:pt x="1661" y="488"/>
                    <a:pt x="1661" y="488"/>
                    <a:pt x="1661" y="488"/>
                  </a:cubicBezTo>
                  <a:cubicBezTo>
                    <a:pt x="1660" y="488"/>
                    <a:pt x="1660" y="488"/>
                    <a:pt x="1660" y="488"/>
                  </a:cubicBezTo>
                  <a:cubicBezTo>
                    <a:pt x="1657" y="487"/>
                    <a:pt x="1657" y="487"/>
                    <a:pt x="1657" y="487"/>
                  </a:cubicBezTo>
                  <a:cubicBezTo>
                    <a:pt x="1656" y="487"/>
                    <a:pt x="1656" y="487"/>
                    <a:pt x="1655" y="487"/>
                  </a:cubicBezTo>
                  <a:cubicBezTo>
                    <a:pt x="1654" y="487"/>
                    <a:pt x="1654" y="487"/>
                    <a:pt x="1654" y="487"/>
                  </a:cubicBezTo>
                  <a:cubicBezTo>
                    <a:pt x="1654" y="487"/>
                    <a:pt x="1654" y="487"/>
                    <a:pt x="1654" y="487"/>
                  </a:cubicBezTo>
                  <a:cubicBezTo>
                    <a:pt x="1654" y="488"/>
                    <a:pt x="1654" y="488"/>
                    <a:pt x="1654" y="488"/>
                  </a:cubicBezTo>
                  <a:cubicBezTo>
                    <a:pt x="1654" y="488"/>
                    <a:pt x="1654" y="488"/>
                    <a:pt x="1654" y="488"/>
                  </a:cubicBezTo>
                  <a:cubicBezTo>
                    <a:pt x="1654" y="488"/>
                    <a:pt x="1654" y="488"/>
                    <a:pt x="1654" y="488"/>
                  </a:cubicBezTo>
                  <a:cubicBezTo>
                    <a:pt x="1653" y="488"/>
                    <a:pt x="1653" y="488"/>
                    <a:pt x="1653" y="488"/>
                  </a:cubicBezTo>
                  <a:cubicBezTo>
                    <a:pt x="1653" y="489"/>
                    <a:pt x="1652" y="488"/>
                    <a:pt x="1651" y="488"/>
                  </a:cubicBezTo>
                  <a:cubicBezTo>
                    <a:pt x="1651" y="488"/>
                    <a:pt x="1651" y="488"/>
                    <a:pt x="1651" y="488"/>
                  </a:cubicBezTo>
                  <a:cubicBezTo>
                    <a:pt x="1651" y="488"/>
                    <a:pt x="1651" y="488"/>
                    <a:pt x="1651" y="488"/>
                  </a:cubicBezTo>
                  <a:cubicBezTo>
                    <a:pt x="1651" y="488"/>
                    <a:pt x="1651" y="488"/>
                    <a:pt x="1651" y="488"/>
                  </a:cubicBezTo>
                  <a:cubicBezTo>
                    <a:pt x="1651" y="488"/>
                    <a:pt x="1651" y="488"/>
                    <a:pt x="1651" y="488"/>
                  </a:cubicBezTo>
                  <a:cubicBezTo>
                    <a:pt x="1652" y="487"/>
                    <a:pt x="1652" y="487"/>
                    <a:pt x="1652" y="487"/>
                  </a:cubicBezTo>
                  <a:cubicBezTo>
                    <a:pt x="1653" y="486"/>
                    <a:pt x="1653" y="486"/>
                    <a:pt x="1653" y="486"/>
                  </a:cubicBezTo>
                  <a:cubicBezTo>
                    <a:pt x="1653" y="486"/>
                    <a:pt x="1653" y="486"/>
                    <a:pt x="1653" y="485"/>
                  </a:cubicBezTo>
                  <a:cubicBezTo>
                    <a:pt x="1653" y="485"/>
                    <a:pt x="1653" y="485"/>
                    <a:pt x="1653" y="485"/>
                  </a:cubicBezTo>
                  <a:cubicBezTo>
                    <a:pt x="1653" y="485"/>
                    <a:pt x="1653" y="485"/>
                    <a:pt x="1653" y="485"/>
                  </a:cubicBezTo>
                  <a:cubicBezTo>
                    <a:pt x="1653" y="484"/>
                    <a:pt x="1653" y="484"/>
                    <a:pt x="1652" y="484"/>
                  </a:cubicBezTo>
                  <a:cubicBezTo>
                    <a:pt x="1652" y="484"/>
                    <a:pt x="1652" y="484"/>
                    <a:pt x="1652" y="484"/>
                  </a:cubicBezTo>
                  <a:cubicBezTo>
                    <a:pt x="1652" y="484"/>
                    <a:pt x="1652" y="484"/>
                    <a:pt x="1652" y="484"/>
                  </a:cubicBezTo>
                  <a:cubicBezTo>
                    <a:pt x="1652" y="483"/>
                    <a:pt x="1652" y="483"/>
                    <a:pt x="1652" y="483"/>
                  </a:cubicBezTo>
                  <a:cubicBezTo>
                    <a:pt x="1652" y="483"/>
                    <a:pt x="1652" y="483"/>
                    <a:pt x="1652" y="483"/>
                  </a:cubicBezTo>
                  <a:cubicBezTo>
                    <a:pt x="1652" y="482"/>
                    <a:pt x="1651" y="482"/>
                    <a:pt x="1651" y="481"/>
                  </a:cubicBezTo>
                  <a:cubicBezTo>
                    <a:pt x="1651" y="480"/>
                    <a:pt x="1651" y="480"/>
                    <a:pt x="1651" y="480"/>
                  </a:cubicBezTo>
                  <a:cubicBezTo>
                    <a:pt x="1651" y="480"/>
                    <a:pt x="1651" y="480"/>
                    <a:pt x="1651" y="480"/>
                  </a:cubicBezTo>
                  <a:cubicBezTo>
                    <a:pt x="1651" y="480"/>
                    <a:pt x="1651" y="480"/>
                    <a:pt x="1651" y="480"/>
                  </a:cubicBezTo>
                  <a:cubicBezTo>
                    <a:pt x="1652" y="480"/>
                    <a:pt x="1652" y="480"/>
                    <a:pt x="1652" y="480"/>
                  </a:cubicBezTo>
                  <a:cubicBezTo>
                    <a:pt x="1652" y="479"/>
                    <a:pt x="1652" y="479"/>
                    <a:pt x="1652" y="479"/>
                  </a:cubicBezTo>
                  <a:cubicBezTo>
                    <a:pt x="1652" y="479"/>
                    <a:pt x="1652" y="479"/>
                    <a:pt x="1652" y="479"/>
                  </a:cubicBezTo>
                  <a:cubicBezTo>
                    <a:pt x="1652" y="479"/>
                    <a:pt x="1652" y="479"/>
                    <a:pt x="1652" y="479"/>
                  </a:cubicBezTo>
                  <a:cubicBezTo>
                    <a:pt x="1652" y="479"/>
                    <a:pt x="1652" y="479"/>
                    <a:pt x="1652" y="479"/>
                  </a:cubicBezTo>
                  <a:cubicBezTo>
                    <a:pt x="1654" y="478"/>
                    <a:pt x="1654" y="479"/>
                    <a:pt x="1655" y="478"/>
                  </a:cubicBezTo>
                  <a:cubicBezTo>
                    <a:pt x="1655" y="478"/>
                    <a:pt x="1655" y="478"/>
                    <a:pt x="1655" y="478"/>
                  </a:cubicBezTo>
                  <a:cubicBezTo>
                    <a:pt x="1655" y="478"/>
                    <a:pt x="1655" y="478"/>
                    <a:pt x="1655" y="478"/>
                  </a:cubicBezTo>
                  <a:cubicBezTo>
                    <a:pt x="1655" y="478"/>
                    <a:pt x="1655" y="478"/>
                    <a:pt x="1655" y="478"/>
                  </a:cubicBezTo>
                  <a:cubicBezTo>
                    <a:pt x="1655" y="478"/>
                    <a:pt x="1655" y="477"/>
                    <a:pt x="1655" y="477"/>
                  </a:cubicBezTo>
                  <a:cubicBezTo>
                    <a:pt x="1655" y="477"/>
                    <a:pt x="1655" y="477"/>
                    <a:pt x="1655" y="477"/>
                  </a:cubicBezTo>
                  <a:cubicBezTo>
                    <a:pt x="1655" y="477"/>
                    <a:pt x="1655" y="477"/>
                    <a:pt x="1655" y="477"/>
                  </a:cubicBezTo>
                  <a:cubicBezTo>
                    <a:pt x="1655" y="477"/>
                    <a:pt x="1655" y="477"/>
                    <a:pt x="1655" y="477"/>
                  </a:cubicBezTo>
                  <a:cubicBezTo>
                    <a:pt x="1656" y="476"/>
                    <a:pt x="1656" y="476"/>
                    <a:pt x="1656" y="476"/>
                  </a:cubicBezTo>
                  <a:cubicBezTo>
                    <a:pt x="1656" y="476"/>
                    <a:pt x="1656" y="476"/>
                    <a:pt x="1656" y="476"/>
                  </a:cubicBezTo>
                  <a:cubicBezTo>
                    <a:pt x="1656" y="476"/>
                    <a:pt x="1656" y="476"/>
                    <a:pt x="1656" y="476"/>
                  </a:cubicBezTo>
                  <a:cubicBezTo>
                    <a:pt x="1656" y="476"/>
                    <a:pt x="1656" y="476"/>
                    <a:pt x="1656" y="476"/>
                  </a:cubicBezTo>
                  <a:cubicBezTo>
                    <a:pt x="1655" y="476"/>
                    <a:pt x="1655" y="476"/>
                    <a:pt x="1655" y="476"/>
                  </a:cubicBezTo>
                  <a:cubicBezTo>
                    <a:pt x="1655" y="475"/>
                    <a:pt x="1655" y="475"/>
                    <a:pt x="1655" y="475"/>
                  </a:cubicBezTo>
                  <a:cubicBezTo>
                    <a:pt x="1654" y="474"/>
                    <a:pt x="1654" y="474"/>
                    <a:pt x="1654" y="474"/>
                  </a:cubicBezTo>
                  <a:cubicBezTo>
                    <a:pt x="1654" y="474"/>
                    <a:pt x="1654" y="474"/>
                    <a:pt x="1654" y="474"/>
                  </a:cubicBezTo>
                  <a:cubicBezTo>
                    <a:pt x="1654" y="474"/>
                    <a:pt x="1654" y="474"/>
                    <a:pt x="1654" y="474"/>
                  </a:cubicBezTo>
                  <a:cubicBezTo>
                    <a:pt x="1654" y="474"/>
                    <a:pt x="1654" y="474"/>
                    <a:pt x="1654" y="474"/>
                  </a:cubicBezTo>
                  <a:cubicBezTo>
                    <a:pt x="1655" y="473"/>
                    <a:pt x="1654" y="473"/>
                    <a:pt x="1655" y="473"/>
                  </a:cubicBezTo>
                  <a:cubicBezTo>
                    <a:pt x="1655" y="473"/>
                    <a:pt x="1655" y="473"/>
                    <a:pt x="1655" y="473"/>
                  </a:cubicBezTo>
                  <a:cubicBezTo>
                    <a:pt x="1655" y="472"/>
                    <a:pt x="1655" y="472"/>
                    <a:pt x="1655" y="472"/>
                  </a:cubicBezTo>
                  <a:cubicBezTo>
                    <a:pt x="1655" y="472"/>
                    <a:pt x="1655" y="472"/>
                    <a:pt x="1655" y="472"/>
                  </a:cubicBezTo>
                  <a:cubicBezTo>
                    <a:pt x="1653" y="471"/>
                    <a:pt x="1654" y="471"/>
                    <a:pt x="1654" y="471"/>
                  </a:cubicBezTo>
                  <a:cubicBezTo>
                    <a:pt x="1654" y="470"/>
                    <a:pt x="1654" y="470"/>
                    <a:pt x="1654" y="470"/>
                  </a:cubicBezTo>
                  <a:cubicBezTo>
                    <a:pt x="1654" y="470"/>
                    <a:pt x="1654" y="470"/>
                    <a:pt x="1654" y="470"/>
                  </a:cubicBezTo>
                  <a:cubicBezTo>
                    <a:pt x="1654" y="470"/>
                    <a:pt x="1654" y="470"/>
                    <a:pt x="1655" y="469"/>
                  </a:cubicBezTo>
                  <a:cubicBezTo>
                    <a:pt x="1655" y="469"/>
                    <a:pt x="1655" y="469"/>
                    <a:pt x="1655" y="469"/>
                  </a:cubicBezTo>
                  <a:cubicBezTo>
                    <a:pt x="1655" y="469"/>
                    <a:pt x="1655" y="469"/>
                    <a:pt x="1655" y="469"/>
                  </a:cubicBezTo>
                  <a:cubicBezTo>
                    <a:pt x="1654" y="469"/>
                    <a:pt x="1654" y="469"/>
                    <a:pt x="1654" y="469"/>
                  </a:cubicBezTo>
                  <a:cubicBezTo>
                    <a:pt x="1654" y="468"/>
                    <a:pt x="1654" y="468"/>
                    <a:pt x="1654" y="468"/>
                  </a:cubicBezTo>
                  <a:cubicBezTo>
                    <a:pt x="1652" y="467"/>
                    <a:pt x="1652" y="467"/>
                    <a:pt x="1652" y="467"/>
                  </a:cubicBezTo>
                  <a:cubicBezTo>
                    <a:pt x="1651" y="466"/>
                    <a:pt x="1651" y="466"/>
                    <a:pt x="1651" y="466"/>
                  </a:cubicBezTo>
                  <a:cubicBezTo>
                    <a:pt x="1651" y="466"/>
                    <a:pt x="1651" y="466"/>
                    <a:pt x="1651" y="466"/>
                  </a:cubicBezTo>
                  <a:cubicBezTo>
                    <a:pt x="1651" y="466"/>
                    <a:pt x="1651" y="466"/>
                    <a:pt x="1651" y="466"/>
                  </a:cubicBezTo>
                  <a:cubicBezTo>
                    <a:pt x="1651" y="466"/>
                    <a:pt x="1651" y="466"/>
                    <a:pt x="1651" y="466"/>
                  </a:cubicBezTo>
                  <a:cubicBezTo>
                    <a:pt x="1647" y="465"/>
                    <a:pt x="1647" y="465"/>
                    <a:pt x="1647" y="465"/>
                  </a:cubicBezTo>
                  <a:cubicBezTo>
                    <a:pt x="1631" y="464"/>
                    <a:pt x="1631" y="464"/>
                    <a:pt x="1631" y="464"/>
                  </a:cubicBezTo>
                  <a:cubicBezTo>
                    <a:pt x="1633" y="464"/>
                    <a:pt x="1634" y="464"/>
                    <a:pt x="1635" y="464"/>
                  </a:cubicBezTo>
                  <a:cubicBezTo>
                    <a:pt x="1636" y="464"/>
                    <a:pt x="1637" y="464"/>
                    <a:pt x="1637" y="464"/>
                  </a:cubicBezTo>
                  <a:cubicBezTo>
                    <a:pt x="1637" y="464"/>
                    <a:pt x="1637" y="464"/>
                    <a:pt x="1637" y="463"/>
                  </a:cubicBezTo>
                  <a:cubicBezTo>
                    <a:pt x="1639" y="464"/>
                    <a:pt x="1640" y="464"/>
                    <a:pt x="1642" y="464"/>
                  </a:cubicBezTo>
                  <a:cubicBezTo>
                    <a:pt x="1644" y="464"/>
                    <a:pt x="1646" y="465"/>
                    <a:pt x="1648" y="465"/>
                  </a:cubicBezTo>
                  <a:cubicBezTo>
                    <a:pt x="1649" y="465"/>
                    <a:pt x="1649" y="465"/>
                    <a:pt x="1650" y="464"/>
                  </a:cubicBezTo>
                  <a:cubicBezTo>
                    <a:pt x="1650" y="463"/>
                    <a:pt x="1647" y="463"/>
                    <a:pt x="1649" y="462"/>
                  </a:cubicBezTo>
                  <a:cubicBezTo>
                    <a:pt x="1649" y="462"/>
                    <a:pt x="1650" y="462"/>
                    <a:pt x="1650" y="462"/>
                  </a:cubicBezTo>
                  <a:cubicBezTo>
                    <a:pt x="1651" y="462"/>
                    <a:pt x="1653" y="462"/>
                    <a:pt x="1653" y="462"/>
                  </a:cubicBezTo>
                  <a:cubicBezTo>
                    <a:pt x="1653" y="461"/>
                    <a:pt x="1654" y="458"/>
                    <a:pt x="1654" y="458"/>
                  </a:cubicBezTo>
                  <a:cubicBezTo>
                    <a:pt x="1654" y="458"/>
                    <a:pt x="1653" y="458"/>
                    <a:pt x="1653" y="458"/>
                  </a:cubicBezTo>
                  <a:cubicBezTo>
                    <a:pt x="1653" y="457"/>
                    <a:pt x="1653" y="457"/>
                    <a:pt x="1653" y="457"/>
                  </a:cubicBezTo>
                  <a:cubicBezTo>
                    <a:pt x="1653" y="457"/>
                    <a:pt x="1653" y="456"/>
                    <a:pt x="1653" y="456"/>
                  </a:cubicBezTo>
                  <a:cubicBezTo>
                    <a:pt x="1653" y="456"/>
                    <a:pt x="1652" y="456"/>
                    <a:pt x="1652" y="455"/>
                  </a:cubicBezTo>
                  <a:cubicBezTo>
                    <a:pt x="1652" y="455"/>
                    <a:pt x="1651" y="454"/>
                    <a:pt x="1651" y="454"/>
                  </a:cubicBezTo>
                  <a:cubicBezTo>
                    <a:pt x="1650" y="454"/>
                    <a:pt x="1650" y="453"/>
                    <a:pt x="1650" y="453"/>
                  </a:cubicBezTo>
                  <a:cubicBezTo>
                    <a:pt x="1650" y="452"/>
                    <a:pt x="1651" y="452"/>
                    <a:pt x="1651" y="451"/>
                  </a:cubicBezTo>
                  <a:cubicBezTo>
                    <a:pt x="1651" y="451"/>
                    <a:pt x="1651" y="451"/>
                    <a:pt x="1651" y="451"/>
                  </a:cubicBezTo>
                  <a:cubicBezTo>
                    <a:pt x="1651" y="451"/>
                    <a:pt x="1651" y="451"/>
                    <a:pt x="1651" y="451"/>
                  </a:cubicBezTo>
                  <a:cubicBezTo>
                    <a:pt x="1651" y="450"/>
                    <a:pt x="1650" y="449"/>
                    <a:pt x="1650" y="449"/>
                  </a:cubicBezTo>
                  <a:cubicBezTo>
                    <a:pt x="1649" y="447"/>
                    <a:pt x="1649" y="447"/>
                    <a:pt x="1650" y="446"/>
                  </a:cubicBezTo>
                  <a:cubicBezTo>
                    <a:pt x="1650" y="446"/>
                    <a:pt x="1650" y="445"/>
                    <a:pt x="1650" y="445"/>
                  </a:cubicBezTo>
                  <a:cubicBezTo>
                    <a:pt x="1650" y="445"/>
                    <a:pt x="1650" y="445"/>
                    <a:pt x="1651" y="445"/>
                  </a:cubicBezTo>
                  <a:cubicBezTo>
                    <a:pt x="1651" y="445"/>
                    <a:pt x="1651" y="445"/>
                    <a:pt x="1652" y="445"/>
                  </a:cubicBezTo>
                  <a:cubicBezTo>
                    <a:pt x="1652" y="445"/>
                    <a:pt x="1653" y="444"/>
                    <a:pt x="1652" y="443"/>
                  </a:cubicBezTo>
                  <a:cubicBezTo>
                    <a:pt x="1652" y="443"/>
                    <a:pt x="1652" y="443"/>
                    <a:pt x="1652" y="443"/>
                  </a:cubicBezTo>
                  <a:cubicBezTo>
                    <a:pt x="1652" y="443"/>
                    <a:pt x="1652" y="443"/>
                    <a:pt x="1652" y="443"/>
                  </a:cubicBezTo>
                  <a:cubicBezTo>
                    <a:pt x="1652" y="442"/>
                    <a:pt x="1652" y="441"/>
                    <a:pt x="1652" y="441"/>
                  </a:cubicBezTo>
                  <a:cubicBezTo>
                    <a:pt x="1652" y="440"/>
                    <a:pt x="1652" y="440"/>
                    <a:pt x="1653" y="440"/>
                  </a:cubicBezTo>
                  <a:cubicBezTo>
                    <a:pt x="1653" y="439"/>
                    <a:pt x="1653" y="439"/>
                    <a:pt x="1654" y="439"/>
                  </a:cubicBezTo>
                  <a:cubicBezTo>
                    <a:pt x="1655" y="438"/>
                    <a:pt x="1657" y="438"/>
                    <a:pt x="1658" y="437"/>
                  </a:cubicBezTo>
                  <a:cubicBezTo>
                    <a:pt x="1660" y="436"/>
                    <a:pt x="1659" y="434"/>
                    <a:pt x="1658" y="432"/>
                  </a:cubicBezTo>
                  <a:cubicBezTo>
                    <a:pt x="1658" y="432"/>
                    <a:pt x="1658" y="431"/>
                    <a:pt x="1657" y="431"/>
                  </a:cubicBezTo>
                  <a:cubicBezTo>
                    <a:pt x="1657" y="430"/>
                    <a:pt x="1657" y="430"/>
                    <a:pt x="1657" y="430"/>
                  </a:cubicBezTo>
                  <a:cubicBezTo>
                    <a:pt x="1657" y="430"/>
                    <a:pt x="1657" y="429"/>
                    <a:pt x="1656" y="428"/>
                  </a:cubicBezTo>
                  <a:cubicBezTo>
                    <a:pt x="1656" y="428"/>
                    <a:pt x="1656" y="428"/>
                    <a:pt x="1656" y="428"/>
                  </a:cubicBezTo>
                  <a:cubicBezTo>
                    <a:pt x="1656" y="427"/>
                    <a:pt x="1656" y="427"/>
                    <a:pt x="1655" y="427"/>
                  </a:cubicBezTo>
                  <a:cubicBezTo>
                    <a:pt x="1655" y="427"/>
                    <a:pt x="1655" y="427"/>
                    <a:pt x="1654" y="428"/>
                  </a:cubicBezTo>
                  <a:cubicBezTo>
                    <a:pt x="1652" y="428"/>
                    <a:pt x="1652" y="429"/>
                    <a:pt x="1652" y="430"/>
                  </a:cubicBezTo>
                  <a:cubicBezTo>
                    <a:pt x="1652" y="430"/>
                    <a:pt x="1652" y="430"/>
                    <a:pt x="1652" y="430"/>
                  </a:cubicBezTo>
                  <a:cubicBezTo>
                    <a:pt x="1652" y="431"/>
                    <a:pt x="1653" y="432"/>
                    <a:pt x="1653" y="432"/>
                  </a:cubicBezTo>
                  <a:cubicBezTo>
                    <a:pt x="1652" y="435"/>
                    <a:pt x="1650" y="433"/>
                    <a:pt x="1648" y="434"/>
                  </a:cubicBezTo>
                  <a:cubicBezTo>
                    <a:pt x="1647" y="434"/>
                    <a:pt x="1647" y="434"/>
                    <a:pt x="1647" y="434"/>
                  </a:cubicBezTo>
                  <a:cubicBezTo>
                    <a:pt x="1647" y="434"/>
                    <a:pt x="1647" y="434"/>
                    <a:pt x="1647" y="434"/>
                  </a:cubicBezTo>
                  <a:cubicBezTo>
                    <a:pt x="1647" y="434"/>
                    <a:pt x="1647" y="434"/>
                    <a:pt x="1647" y="435"/>
                  </a:cubicBezTo>
                  <a:cubicBezTo>
                    <a:pt x="1646" y="435"/>
                    <a:pt x="1646" y="435"/>
                    <a:pt x="1646" y="435"/>
                  </a:cubicBezTo>
                  <a:cubicBezTo>
                    <a:pt x="1645" y="435"/>
                    <a:pt x="1644" y="434"/>
                    <a:pt x="1643" y="433"/>
                  </a:cubicBezTo>
                  <a:cubicBezTo>
                    <a:pt x="1642" y="431"/>
                    <a:pt x="1642" y="429"/>
                    <a:pt x="1642" y="428"/>
                  </a:cubicBezTo>
                  <a:cubicBezTo>
                    <a:pt x="1642" y="428"/>
                    <a:pt x="1642" y="428"/>
                    <a:pt x="1642" y="427"/>
                  </a:cubicBezTo>
                  <a:cubicBezTo>
                    <a:pt x="1642" y="427"/>
                    <a:pt x="1642" y="427"/>
                    <a:pt x="1642" y="427"/>
                  </a:cubicBezTo>
                  <a:cubicBezTo>
                    <a:pt x="1642" y="427"/>
                    <a:pt x="1642" y="427"/>
                    <a:pt x="1642" y="427"/>
                  </a:cubicBezTo>
                  <a:cubicBezTo>
                    <a:pt x="1642" y="427"/>
                    <a:pt x="1642" y="427"/>
                    <a:pt x="1642" y="427"/>
                  </a:cubicBezTo>
                  <a:cubicBezTo>
                    <a:pt x="1642" y="427"/>
                    <a:pt x="1642" y="427"/>
                    <a:pt x="1641" y="427"/>
                  </a:cubicBezTo>
                  <a:cubicBezTo>
                    <a:pt x="1641" y="426"/>
                    <a:pt x="1641" y="427"/>
                    <a:pt x="1640" y="427"/>
                  </a:cubicBezTo>
                  <a:cubicBezTo>
                    <a:pt x="1637" y="427"/>
                    <a:pt x="1633" y="428"/>
                    <a:pt x="1631" y="428"/>
                  </a:cubicBezTo>
                  <a:cubicBezTo>
                    <a:pt x="1632" y="428"/>
                    <a:pt x="1632" y="429"/>
                    <a:pt x="1632" y="429"/>
                  </a:cubicBezTo>
                  <a:cubicBezTo>
                    <a:pt x="1632" y="429"/>
                    <a:pt x="1632" y="429"/>
                    <a:pt x="1632" y="429"/>
                  </a:cubicBezTo>
                  <a:cubicBezTo>
                    <a:pt x="1630" y="429"/>
                    <a:pt x="1628" y="429"/>
                    <a:pt x="1626" y="428"/>
                  </a:cubicBezTo>
                  <a:cubicBezTo>
                    <a:pt x="1626" y="428"/>
                    <a:pt x="1625" y="428"/>
                    <a:pt x="1625" y="428"/>
                  </a:cubicBezTo>
                  <a:cubicBezTo>
                    <a:pt x="1619" y="427"/>
                    <a:pt x="1613" y="425"/>
                    <a:pt x="1609" y="422"/>
                  </a:cubicBezTo>
                  <a:cubicBezTo>
                    <a:pt x="1607" y="421"/>
                    <a:pt x="1606" y="420"/>
                    <a:pt x="1605" y="420"/>
                  </a:cubicBezTo>
                  <a:cubicBezTo>
                    <a:pt x="1605" y="420"/>
                    <a:pt x="1605" y="420"/>
                    <a:pt x="1605" y="420"/>
                  </a:cubicBezTo>
                  <a:cubicBezTo>
                    <a:pt x="1605" y="419"/>
                    <a:pt x="1605" y="419"/>
                    <a:pt x="1605" y="419"/>
                  </a:cubicBezTo>
                  <a:cubicBezTo>
                    <a:pt x="1605" y="419"/>
                    <a:pt x="1605" y="419"/>
                    <a:pt x="1605" y="419"/>
                  </a:cubicBezTo>
                  <a:cubicBezTo>
                    <a:pt x="1605" y="419"/>
                    <a:pt x="1605" y="418"/>
                    <a:pt x="1606" y="418"/>
                  </a:cubicBezTo>
                  <a:cubicBezTo>
                    <a:pt x="1606" y="418"/>
                    <a:pt x="1606" y="418"/>
                    <a:pt x="1606" y="418"/>
                  </a:cubicBezTo>
                  <a:cubicBezTo>
                    <a:pt x="1605" y="417"/>
                    <a:pt x="1603" y="417"/>
                    <a:pt x="1602" y="416"/>
                  </a:cubicBezTo>
                  <a:cubicBezTo>
                    <a:pt x="1605" y="416"/>
                    <a:pt x="1605" y="416"/>
                    <a:pt x="1608" y="415"/>
                  </a:cubicBezTo>
                  <a:cubicBezTo>
                    <a:pt x="1606" y="414"/>
                    <a:pt x="1604" y="414"/>
                    <a:pt x="1603" y="413"/>
                  </a:cubicBezTo>
                  <a:cubicBezTo>
                    <a:pt x="1603" y="413"/>
                    <a:pt x="1604" y="413"/>
                    <a:pt x="1604" y="413"/>
                  </a:cubicBezTo>
                  <a:cubicBezTo>
                    <a:pt x="1603" y="412"/>
                    <a:pt x="1603" y="411"/>
                    <a:pt x="1602" y="410"/>
                  </a:cubicBezTo>
                  <a:cubicBezTo>
                    <a:pt x="1604" y="410"/>
                    <a:pt x="1610" y="410"/>
                    <a:pt x="1608" y="408"/>
                  </a:cubicBezTo>
                  <a:cubicBezTo>
                    <a:pt x="1608" y="408"/>
                    <a:pt x="1607" y="407"/>
                    <a:pt x="1606" y="407"/>
                  </a:cubicBezTo>
                  <a:cubicBezTo>
                    <a:pt x="1605" y="406"/>
                    <a:pt x="1604" y="405"/>
                    <a:pt x="1604" y="405"/>
                  </a:cubicBezTo>
                  <a:cubicBezTo>
                    <a:pt x="1603" y="405"/>
                    <a:pt x="1603" y="405"/>
                    <a:pt x="1602" y="406"/>
                  </a:cubicBezTo>
                  <a:cubicBezTo>
                    <a:pt x="1602" y="406"/>
                    <a:pt x="1602" y="406"/>
                    <a:pt x="1602" y="406"/>
                  </a:cubicBezTo>
                  <a:cubicBezTo>
                    <a:pt x="1602" y="406"/>
                    <a:pt x="1602" y="406"/>
                    <a:pt x="1602" y="406"/>
                  </a:cubicBezTo>
                  <a:cubicBezTo>
                    <a:pt x="1601" y="406"/>
                    <a:pt x="1600" y="406"/>
                    <a:pt x="1600" y="407"/>
                  </a:cubicBezTo>
                  <a:cubicBezTo>
                    <a:pt x="1599" y="407"/>
                    <a:pt x="1598" y="408"/>
                    <a:pt x="1597" y="408"/>
                  </a:cubicBezTo>
                  <a:cubicBezTo>
                    <a:pt x="1596" y="409"/>
                    <a:pt x="1595" y="409"/>
                    <a:pt x="1593" y="408"/>
                  </a:cubicBezTo>
                  <a:cubicBezTo>
                    <a:pt x="1595" y="408"/>
                    <a:pt x="1598" y="407"/>
                    <a:pt x="1598" y="405"/>
                  </a:cubicBezTo>
                  <a:cubicBezTo>
                    <a:pt x="1598" y="404"/>
                    <a:pt x="1595" y="403"/>
                    <a:pt x="1594" y="402"/>
                  </a:cubicBezTo>
                  <a:cubicBezTo>
                    <a:pt x="1594" y="402"/>
                    <a:pt x="1594" y="402"/>
                    <a:pt x="1593" y="401"/>
                  </a:cubicBezTo>
                  <a:cubicBezTo>
                    <a:pt x="1594" y="401"/>
                    <a:pt x="1595" y="401"/>
                    <a:pt x="1595" y="401"/>
                  </a:cubicBezTo>
                  <a:cubicBezTo>
                    <a:pt x="1594" y="400"/>
                    <a:pt x="1594" y="399"/>
                    <a:pt x="1593" y="398"/>
                  </a:cubicBezTo>
                  <a:cubicBezTo>
                    <a:pt x="1591" y="397"/>
                    <a:pt x="1587" y="397"/>
                    <a:pt x="1585" y="396"/>
                  </a:cubicBezTo>
                  <a:cubicBezTo>
                    <a:pt x="1584" y="398"/>
                    <a:pt x="1584" y="399"/>
                    <a:pt x="1584" y="401"/>
                  </a:cubicBezTo>
                  <a:cubicBezTo>
                    <a:pt x="1584" y="400"/>
                    <a:pt x="1582" y="397"/>
                    <a:pt x="1582" y="396"/>
                  </a:cubicBezTo>
                  <a:cubicBezTo>
                    <a:pt x="1582" y="395"/>
                    <a:pt x="1584" y="396"/>
                    <a:pt x="1584" y="395"/>
                  </a:cubicBezTo>
                  <a:cubicBezTo>
                    <a:pt x="1584" y="395"/>
                    <a:pt x="1584" y="395"/>
                    <a:pt x="1584" y="395"/>
                  </a:cubicBezTo>
                  <a:cubicBezTo>
                    <a:pt x="1584" y="395"/>
                    <a:pt x="1584" y="395"/>
                    <a:pt x="1584" y="395"/>
                  </a:cubicBezTo>
                  <a:cubicBezTo>
                    <a:pt x="1584" y="394"/>
                    <a:pt x="1584" y="393"/>
                    <a:pt x="1584" y="393"/>
                  </a:cubicBezTo>
                  <a:cubicBezTo>
                    <a:pt x="1584" y="392"/>
                    <a:pt x="1584" y="392"/>
                    <a:pt x="1584" y="392"/>
                  </a:cubicBezTo>
                  <a:cubicBezTo>
                    <a:pt x="1583" y="390"/>
                    <a:pt x="1584" y="390"/>
                    <a:pt x="1582" y="389"/>
                  </a:cubicBezTo>
                  <a:cubicBezTo>
                    <a:pt x="1582" y="389"/>
                    <a:pt x="1582" y="389"/>
                    <a:pt x="1581" y="389"/>
                  </a:cubicBezTo>
                  <a:cubicBezTo>
                    <a:pt x="1581" y="389"/>
                    <a:pt x="1581" y="389"/>
                    <a:pt x="1581" y="389"/>
                  </a:cubicBezTo>
                  <a:cubicBezTo>
                    <a:pt x="1578" y="388"/>
                    <a:pt x="1575" y="387"/>
                    <a:pt x="1573" y="386"/>
                  </a:cubicBezTo>
                  <a:cubicBezTo>
                    <a:pt x="1572" y="385"/>
                    <a:pt x="1571" y="385"/>
                    <a:pt x="1571" y="384"/>
                  </a:cubicBezTo>
                  <a:cubicBezTo>
                    <a:pt x="1570" y="384"/>
                    <a:pt x="1570" y="384"/>
                    <a:pt x="1570" y="384"/>
                  </a:cubicBezTo>
                  <a:cubicBezTo>
                    <a:pt x="1570" y="383"/>
                    <a:pt x="1570" y="383"/>
                    <a:pt x="1569" y="383"/>
                  </a:cubicBezTo>
                  <a:cubicBezTo>
                    <a:pt x="1569" y="382"/>
                    <a:pt x="1568" y="382"/>
                    <a:pt x="1567" y="381"/>
                  </a:cubicBezTo>
                  <a:cubicBezTo>
                    <a:pt x="1566" y="381"/>
                    <a:pt x="1565" y="380"/>
                    <a:pt x="1563" y="379"/>
                  </a:cubicBezTo>
                  <a:cubicBezTo>
                    <a:pt x="1562" y="378"/>
                    <a:pt x="1561" y="377"/>
                    <a:pt x="1560" y="377"/>
                  </a:cubicBezTo>
                  <a:cubicBezTo>
                    <a:pt x="1558" y="377"/>
                    <a:pt x="1556" y="379"/>
                    <a:pt x="1554" y="380"/>
                  </a:cubicBezTo>
                  <a:cubicBezTo>
                    <a:pt x="1553" y="380"/>
                    <a:pt x="1552" y="381"/>
                    <a:pt x="1551" y="381"/>
                  </a:cubicBezTo>
                  <a:cubicBezTo>
                    <a:pt x="1550" y="381"/>
                    <a:pt x="1550" y="381"/>
                    <a:pt x="1549" y="382"/>
                  </a:cubicBezTo>
                  <a:cubicBezTo>
                    <a:pt x="1548" y="382"/>
                    <a:pt x="1547" y="382"/>
                    <a:pt x="1546" y="383"/>
                  </a:cubicBezTo>
                  <a:cubicBezTo>
                    <a:pt x="1545" y="383"/>
                    <a:pt x="1545" y="383"/>
                    <a:pt x="1545" y="383"/>
                  </a:cubicBezTo>
                  <a:cubicBezTo>
                    <a:pt x="1543" y="384"/>
                    <a:pt x="1542" y="385"/>
                    <a:pt x="1540" y="385"/>
                  </a:cubicBezTo>
                  <a:cubicBezTo>
                    <a:pt x="1540" y="385"/>
                    <a:pt x="1540" y="385"/>
                    <a:pt x="1540" y="385"/>
                  </a:cubicBezTo>
                  <a:cubicBezTo>
                    <a:pt x="1538" y="385"/>
                    <a:pt x="1536" y="385"/>
                    <a:pt x="1535" y="386"/>
                  </a:cubicBezTo>
                  <a:cubicBezTo>
                    <a:pt x="1535" y="386"/>
                    <a:pt x="1535" y="386"/>
                    <a:pt x="1535" y="386"/>
                  </a:cubicBezTo>
                  <a:cubicBezTo>
                    <a:pt x="1535" y="386"/>
                    <a:pt x="1535" y="386"/>
                    <a:pt x="1535" y="386"/>
                  </a:cubicBezTo>
                  <a:cubicBezTo>
                    <a:pt x="1535" y="386"/>
                    <a:pt x="1535" y="386"/>
                    <a:pt x="1535" y="386"/>
                  </a:cubicBezTo>
                  <a:cubicBezTo>
                    <a:pt x="1535" y="386"/>
                    <a:pt x="1534" y="386"/>
                    <a:pt x="1535" y="387"/>
                  </a:cubicBezTo>
                  <a:cubicBezTo>
                    <a:pt x="1535" y="387"/>
                    <a:pt x="1535" y="387"/>
                    <a:pt x="1535" y="387"/>
                  </a:cubicBezTo>
                  <a:cubicBezTo>
                    <a:pt x="1535" y="387"/>
                    <a:pt x="1535" y="387"/>
                    <a:pt x="1535" y="387"/>
                  </a:cubicBezTo>
                  <a:cubicBezTo>
                    <a:pt x="1535" y="388"/>
                    <a:pt x="1538" y="389"/>
                    <a:pt x="1539" y="390"/>
                  </a:cubicBezTo>
                  <a:cubicBezTo>
                    <a:pt x="1539" y="390"/>
                    <a:pt x="1539" y="390"/>
                    <a:pt x="1539" y="390"/>
                  </a:cubicBezTo>
                  <a:cubicBezTo>
                    <a:pt x="1536" y="389"/>
                    <a:pt x="1534" y="388"/>
                    <a:pt x="1533" y="387"/>
                  </a:cubicBezTo>
                  <a:cubicBezTo>
                    <a:pt x="1530" y="385"/>
                    <a:pt x="1528" y="384"/>
                    <a:pt x="1524" y="383"/>
                  </a:cubicBezTo>
                  <a:cubicBezTo>
                    <a:pt x="1519" y="382"/>
                    <a:pt x="1513" y="385"/>
                    <a:pt x="1509" y="388"/>
                  </a:cubicBezTo>
                  <a:cubicBezTo>
                    <a:pt x="1509" y="388"/>
                    <a:pt x="1509" y="388"/>
                    <a:pt x="1510" y="387"/>
                  </a:cubicBezTo>
                  <a:cubicBezTo>
                    <a:pt x="1510" y="387"/>
                    <a:pt x="1510" y="387"/>
                    <a:pt x="1511" y="386"/>
                  </a:cubicBezTo>
                  <a:cubicBezTo>
                    <a:pt x="1512" y="386"/>
                    <a:pt x="1514" y="385"/>
                    <a:pt x="1514" y="384"/>
                  </a:cubicBezTo>
                  <a:cubicBezTo>
                    <a:pt x="1514" y="384"/>
                    <a:pt x="1514" y="384"/>
                    <a:pt x="1514" y="384"/>
                  </a:cubicBezTo>
                  <a:cubicBezTo>
                    <a:pt x="1514" y="384"/>
                    <a:pt x="1514" y="384"/>
                    <a:pt x="1514" y="384"/>
                  </a:cubicBezTo>
                  <a:cubicBezTo>
                    <a:pt x="1514" y="384"/>
                    <a:pt x="1514" y="384"/>
                    <a:pt x="1514" y="384"/>
                  </a:cubicBezTo>
                  <a:cubicBezTo>
                    <a:pt x="1514" y="383"/>
                    <a:pt x="1513" y="383"/>
                    <a:pt x="1513" y="383"/>
                  </a:cubicBezTo>
                  <a:cubicBezTo>
                    <a:pt x="1513" y="383"/>
                    <a:pt x="1513" y="383"/>
                    <a:pt x="1513" y="383"/>
                  </a:cubicBezTo>
                  <a:cubicBezTo>
                    <a:pt x="1511" y="383"/>
                    <a:pt x="1508" y="382"/>
                    <a:pt x="1507" y="382"/>
                  </a:cubicBezTo>
                  <a:cubicBezTo>
                    <a:pt x="1504" y="381"/>
                    <a:pt x="1501" y="380"/>
                    <a:pt x="1498" y="379"/>
                  </a:cubicBezTo>
                  <a:cubicBezTo>
                    <a:pt x="1497" y="379"/>
                    <a:pt x="1496" y="379"/>
                    <a:pt x="1496" y="378"/>
                  </a:cubicBezTo>
                  <a:cubicBezTo>
                    <a:pt x="1493" y="378"/>
                    <a:pt x="1490" y="377"/>
                    <a:pt x="1487" y="376"/>
                  </a:cubicBezTo>
                  <a:cubicBezTo>
                    <a:pt x="1487" y="376"/>
                    <a:pt x="1487" y="375"/>
                    <a:pt x="1486" y="375"/>
                  </a:cubicBezTo>
                  <a:cubicBezTo>
                    <a:pt x="1486" y="375"/>
                    <a:pt x="1486" y="375"/>
                    <a:pt x="1486" y="375"/>
                  </a:cubicBezTo>
                  <a:cubicBezTo>
                    <a:pt x="1485" y="375"/>
                    <a:pt x="1483" y="375"/>
                    <a:pt x="1482" y="375"/>
                  </a:cubicBezTo>
                  <a:cubicBezTo>
                    <a:pt x="1479" y="374"/>
                    <a:pt x="1475" y="373"/>
                    <a:pt x="1473" y="373"/>
                  </a:cubicBezTo>
                  <a:cubicBezTo>
                    <a:pt x="1472" y="373"/>
                    <a:pt x="1472" y="373"/>
                    <a:pt x="1470" y="374"/>
                  </a:cubicBezTo>
                  <a:cubicBezTo>
                    <a:pt x="1470" y="374"/>
                    <a:pt x="1470" y="374"/>
                    <a:pt x="1470" y="374"/>
                  </a:cubicBezTo>
                  <a:cubicBezTo>
                    <a:pt x="1466" y="375"/>
                    <a:pt x="1462" y="378"/>
                    <a:pt x="1459" y="381"/>
                  </a:cubicBezTo>
                  <a:cubicBezTo>
                    <a:pt x="1458" y="382"/>
                    <a:pt x="1457" y="382"/>
                    <a:pt x="1456" y="383"/>
                  </a:cubicBezTo>
                  <a:cubicBezTo>
                    <a:pt x="1456" y="383"/>
                    <a:pt x="1456" y="383"/>
                    <a:pt x="1455" y="384"/>
                  </a:cubicBezTo>
                  <a:cubicBezTo>
                    <a:pt x="1458" y="390"/>
                    <a:pt x="1460" y="398"/>
                    <a:pt x="1463" y="404"/>
                  </a:cubicBezTo>
                  <a:cubicBezTo>
                    <a:pt x="1464" y="405"/>
                    <a:pt x="1464" y="406"/>
                    <a:pt x="1465" y="407"/>
                  </a:cubicBezTo>
                  <a:cubicBezTo>
                    <a:pt x="1466" y="408"/>
                    <a:pt x="1466" y="408"/>
                    <a:pt x="1467" y="408"/>
                  </a:cubicBezTo>
                  <a:cubicBezTo>
                    <a:pt x="1467" y="408"/>
                    <a:pt x="1467" y="408"/>
                    <a:pt x="1467" y="408"/>
                  </a:cubicBezTo>
                  <a:cubicBezTo>
                    <a:pt x="1468" y="408"/>
                    <a:pt x="1470" y="409"/>
                    <a:pt x="1471" y="410"/>
                  </a:cubicBezTo>
                  <a:cubicBezTo>
                    <a:pt x="1470" y="410"/>
                    <a:pt x="1468" y="409"/>
                    <a:pt x="1467" y="410"/>
                  </a:cubicBezTo>
                  <a:cubicBezTo>
                    <a:pt x="1466" y="411"/>
                    <a:pt x="1468" y="411"/>
                    <a:pt x="1468" y="412"/>
                  </a:cubicBezTo>
                  <a:cubicBezTo>
                    <a:pt x="1468" y="412"/>
                    <a:pt x="1468" y="412"/>
                    <a:pt x="1469" y="412"/>
                  </a:cubicBezTo>
                  <a:cubicBezTo>
                    <a:pt x="1469" y="412"/>
                    <a:pt x="1469" y="412"/>
                    <a:pt x="1469" y="412"/>
                  </a:cubicBezTo>
                  <a:cubicBezTo>
                    <a:pt x="1469" y="412"/>
                    <a:pt x="1468" y="412"/>
                    <a:pt x="1468" y="413"/>
                  </a:cubicBezTo>
                  <a:cubicBezTo>
                    <a:pt x="1467" y="413"/>
                    <a:pt x="1467" y="414"/>
                    <a:pt x="1466" y="414"/>
                  </a:cubicBezTo>
                  <a:cubicBezTo>
                    <a:pt x="1466" y="414"/>
                    <a:pt x="1465" y="414"/>
                    <a:pt x="1465" y="413"/>
                  </a:cubicBezTo>
                  <a:cubicBezTo>
                    <a:pt x="1465" y="413"/>
                    <a:pt x="1464" y="413"/>
                    <a:pt x="1464" y="413"/>
                  </a:cubicBezTo>
                  <a:cubicBezTo>
                    <a:pt x="1463" y="414"/>
                    <a:pt x="1463" y="418"/>
                    <a:pt x="1464" y="421"/>
                  </a:cubicBezTo>
                  <a:cubicBezTo>
                    <a:pt x="1464" y="422"/>
                    <a:pt x="1464" y="424"/>
                    <a:pt x="1464" y="425"/>
                  </a:cubicBezTo>
                  <a:cubicBezTo>
                    <a:pt x="1464" y="425"/>
                    <a:pt x="1463" y="425"/>
                    <a:pt x="1463" y="426"/>
                  </a:cubicBezTo>
                  <a:cubicBezTo>
                    <a:pt x="1463" y="426"/>
                    <a:pt x="1463" y="427"/>
                    <a:pt x="1462" y="427"/>
                  </a:cubicBezTo>
                  <a:cubicBezTo>
                    <a:pt x="1462" y="428"/>
                    <a:pt x="1462" y="428"/>
                    <a:pt x="1461" y="428"/>
                  </a:cubicBezTo>
                  <a:cubicBezTo>
                    <a:pt x="1460" y="430"/>
                    <a:pt x="1457" y="432"/>
                    <a:pt x="1456" y="433"/>
                  </a:cubicBezTo>
                  <a:cubicBezTo>
                    <a:pt x="1455" y="434"/>
                    <a:pt x="1455" y="434"/>
                    <a:pt x="1455" y="434"/>
                  </a:cubicBezTo>
                  <a:cubicBezTo>
                    <a:pt x="1455" y="434"/>
                    <a:pt x="1455" y="434"/>
                    <a:pt x="1455" y="434"/>
                  </a:cubicBezTo>
                  <a:cubicBezTo>
                    <a:pt x="1455" y="434"/>
                    <a:pt x="1455" y="434"/>
                    <a:pt x="1455" y="434"/>
                  </a:cubicBezTo>
                  <a:cubicBezTo>
                    <a:pt x="1455" y="435"/>
                    <a:pt x="1455" y="435"/>
                    <a:pt x="1455" y="435"/>
                  </a:cubicBezTo>
                  <a:cubicBezTo>
                    <a:pt x="1455" y="436"/>
                    <a:pt x="1455" y="436"/>
                    <a:pt x="1455" y="436"/>
                  </a:cubicBezTo>
                  <a:cubicBezTo>
                    <a:pt x="1455" y="436"/>
                    <a:pt x="1455" y="436"/>
                    <a:pt x="1456" y="436"/>
                  </a:cubicBezTo>
                  <a:cubicBezTo>
                    <a:pt x="1457" y="436"/>
                    <a:pt x="1457" y="436"/>
                    <a:pt x="1458" y="436"/>
                  </a:cubicBezTo>
                  <a:cubicBezTo>
                    <a:pt x="1458" y="436"/>
                    <a:pt x="1459" y="436"/>
                    <a:pt x="1459" y="436"/>
                  </a:cubicBezTo>
                  <a:cubicBezTo>
                    <a:pt x="1461" y="436"/>
                    <a:pt x="1462" y="436"/>
                    <a:pt x="1463" y="436"/>
                  </a:cubicBezTo>
                  <a:cubicBezTo>
                    <a:pt x="1463" y="437"/>
                    <a:pt x="1463" y="437"/>
                    <a:pt x="1464" y="437"/>
                  </a:cubicBezTo>
                  <a:cubicBezTo>
                    <a:pt x="1466" y="437"/>
                    <a:pt x="1468" y="436"/>
                    <a:pt x="1470" y="435"/>
                  </a:cubicBezTo>
                  <a:cubicBezTo>
                    <a:pt x="1468" y="436"/>
                    <a:pt x="1467" y="437"/>
                    <a:pt x="1465" y="437"/>
                  </a:cubicBezTo>
                  <a:cubicBezTo>
                    <a:pt x="1470" y="437"/>
                    <a:pt x="1464" y="441"/>
                    <a:pt x="1463" y="442"/>
                  </a:cubicBezTo>
                  <a:cubicBezTo>
                    <a:pt x="1466" y="445"/>
                    <a:pt x="1469" y="443"/>
                    <a:pt x="1472" y="445"/>
                  </a:cubicBezTo>
                  <a:cubicBezTo>
                    <a:pt x="1471" y="445"/>
                    <a:pt x="1470" y="445"/>
                    <a:pt x="1470" y="446"/>
                  </a:cubicBezTo>
                  <a:cubicBezTo>
                    <a:pt x="1469" y="446"/>
                    <a:pt x="1469" y="446"/>
                    <a:pt x="1469" y="446"/>
                  </a:cubicBezTo>
                  <a:cubicBezTo>
                    <a:pt x="1468" y="446"/>
                    <a:pt x="1467" y="447"/>
                    <a:pt x="1467" y="447"/>
                  </a:cubicBezTo>
                  <a:cubicBezTo>
                    <a:pt x="1466" y="448"/>
                    <a:pt x="1466" y="448"/>
                    <a:pt x="1466" y="448"/>
                  </a:cubicBezTo>
                  <a:cubicBezTo>
                    <a:pt x="1466" y="448"/>
                    <a:pt x="1466" y="448"/>
                    <a:pt x="1465" y="449"/>
                  </a:cubicBezTo>
                  <a:cubicBezTo>
                    <a:pt x="1465" y="449"/>
                    <a:pt x="1465" y="449"/>
                    <a:pt x="1465" y="449"/>
                  </a:cubicBezTo>
                  <a:cubicBezTo>
                    <a:pt x="1465" y="449"/>
                    <a:pt x="1465" y="449"/>
                    <a:pt x="1465" y="449"/>
                  </a:cubicBezTo>
                  <a:cubicBezTo>
                    <a:pt x="1465" y="449"/>
                    <a:pt x="1465" y="449"/>
                    <a:pt x="1465" y="450"/>
                  </a:cubicBezTo>
                  <a:cubicBezTo>
                    <a:pt x="1465" y="450"/>
                    <a:pt x="1465" y="450"/>
                    <a:pt x="1465" y="450"/>
                  </a:cubicBezTo>
                  <a:cubicBezTo>
                    <a:pt x="1465" y="451"/>
                    <a:pt x="1465" y="451"/>
                    <a:pt x="1465" y="451"/>
                  </a:cubicBezTo>
                  <a:cubicBezTo>
                    <a:pt x="1466" y="453"/>
                    <a:pt x="1467" y="455"/>
                    <a:pt x="1468" y="457"/>
                  </a:cubicBezTo>
                  <a:cubicBezTo>
                    <a:pt x="1468" y="457"/>
                    <a:pt x="1468" y="457"/>
                    <a:pt x="1468" y="458"/>
                  </a:cubicBezTo>
                  <a:cubicBezTo>
                    <a:pt x="1468" y="458"/>
                    <a:pt x="1468" y="458"/>
                    <a:pt x="1468" y="458"/>
                  </a:cubicBezTo>
                  <a:cubicBezTo>
                    <a:pt x="1468" y="458"/>
                    <a:pt x="1468" y="459"/>
                    <a:pt x="1469" y="459"/>
                  </a:cubicBezTo>
                  <a:cubicBezTo>
                    <a:pt x="1469" y="459"/>
                    <a:pt x="1469" y="459"/>
                    <a:pt x="1469" y="459"/>
                  </a:cubicBezTo>
                  <a:cubicBezTo>
                    <a:pt x="1469" y="460"/>
                    <a:pt x="1469" y="460"/>
                    <a:pt x="1469" y="461"/>
                  </a:cubicBezTo>
                  <a:cubicBezTo>
                    <a:pt x="1468" y="461"/>
                    <a:pt x="1468" y="461"/>
                    <a:pt x="1468" y="462"/>
                  </a:cubicBezTo>
                  <a:cubicBezTo>
                    <a:pt x="1470" y="463"/>
                    <a:pt x="1473" y="464"/>
                    <a:pt x="1475" y="464"/>
                  </a:cubicBezTo>
                  <a:cubicBezTo>
                    <a:pt x="1475" y="464"/>
                    <a:pt x="1476" y="464"/>
                    <a:pt x="1476" y="464"/>
                  </a:cubicBezTo>
                  <a:cubicBezTo>
                    <a:pt x="1476" y="464"/>
                    <a:pt x="1477" y="464"/>
                    <a:pt x="1477" y="464"/>
                  </a:cubicBezTo>
                  <a:cubicBezTo>
                    <a:pt x="1477" y="464"/>
                    <a:pt x="1477" y="464"/>
                    <a:pt x="1477" y="464"/>
                  </a:cubicBezTo>
                  <a:cubicBezTo>
                    <a:pt x="1474" y="466"/>
                    <a:pt x="1474" y="466"/>
                    <a:pt x="1474" y="466"/>
                  </a:cubicBezTo>
                  <a:cubicBezTo>
                    <a:pt x="1473" y="466"/>
                    <a:pt x="1473" y="466"/>
                    <a:pt x="1473" y="466"/>
                  </a:cubicBezTo>
                  <a:cubicBezTo>
                    <a:pt x="1473" y="466"/>
                    <a:pt x="1473" y="466"/>
                    <a:pt x="1473" y="466"/>
                  </a:cubicBezTo>
                  <a:cubicBezTo>
                    <a:pt x="1473" y="467"/>
                    <a:pt x="1473" y="467"/>
                    <a:pt x="1473" y="467"/>
                  </a:cubicBezTo>
                  <a:cubicBezTo>
                    <a:pt x="1472" y="467"/>
                    <a:pt x="1472" y="467"/>
                    <a:pt x="1472" y="467"/>
                  </a:cubicBezTo>
                  <a:cubicBezTo>
                    <a:pt x="1472" y="467"/>
                    <a:pt x="1472" y="467"/>
                    <a:pt x="1472" y="467"/>
                  </a:cubicBezTo>
                  <a:cubicBezTo>
                    <a:pt x="1472" y="467"/>
                    <a:pt x="1472" y="467"/>
                    <a:pt x="1472" y="467"/>
                  </a:cubicBezTo>
                  <a:cubicBezTo>
                    <a:pt x="1474" y="469"/>
                    <a:pt x="1474" y="469"/>
                    <a:pt x="1475" y="471"/>
                  </a:cubicBezTo>
                  <a:cubicBezTo>
                    <a:pt x="1475" y="471"/>
                    <a:pt x="1475" y="471"/>
                    <a:pt x="1475" y="471"/>
                  </a:cubicBezTo>
                  <a:cubicBezTo>
                    <a:pt x="1475" y="471"/>
                    <a:pt x="1475" y="471"/>
                    <a:pt x="1475" y="471"/>
                  </a:cubicBezTo>
                  <a:cubicBezTo>
                    <a:pt x="1474" y="471"/>
                    <a:pt x="1474" y="471"/>
                    <a:pt x="1474" y="471"/>
                  </a:cubicBezTo>
                  <a:cubicBezTo>
                    <a:pt x="1473" y="472"/>
                    <a:pt x="1473" y="472"/>
                    <a:pt x="1473" y="472"/>
                  </a:cubicBezTo>
                  <a:cubicBezTo>
                    <a:pt x="1472" y="472"/>
                    <a:pt x="1472" y="472"/>
                    <a:pt x="1472" y="472"/>
                  </a:cubicBezTo>
                  <a:cubicBezTo>
                    <a:pt x="1472" y="472"/>
                    <a:pt x="1472" y="472"/>
                    <a:pt x="1472" y="472"/>
                  </a:cubicBezTo>
                  <a:cubicBezTo>
                    <a:pt x="1472" y="472"/>
                    <a:pt x="1472" y="472"/>
                    <a:pt x="1472" y="472"/>
                  </a:cubicBezTo>
                  <a:cubicBezTo>
                    <a:pt x="1472" y="472"/>
                    <a:pt x="1472" y="472"/>
                    <a:pt x="1472" y="472"/>
                  </a:cubicBezTo>
                  <a:cubicBezTo>
                    <a:pt x="1472" y="472"/>
                    <a:pt x="1472" y="472"/>
                    <a:pt x="1472" y="472"/>
                  </a:cubicBezTo>
                  <a:cubicBezTo>
                    <a:pt x="1471" y="472"/>
                    <a:pt x="1471" y="472"/>
                    <a:pt x="1471" y="472"/>
                  </a:cubicBezTo>
                  <a:cubicBezTo>
                    <a:pt x="1471" y="473"/>
                    <a:pt x="1471" y="473"/>
                    <a:pt x="1471" y="473"/>
                  </a:cubicBezTo>
                  <a:cubicBezTo>
                    <a:pt x="1471" y="474"/>
                    <a:pt x="1470" y="473"/>
                    <a:pt x="1470" y="473"/>
                  </a:cubicBezTo>
                  <a:cubicBezTo>
                    <a:pt x="1470" y="473"/>
                    <a:pt x="1470" y="473"/>
                    <a:pt x="1470" y="473"/>
                  </a:cubicBezTo>
                  <a:cubicBezTo>
                    <a:pt x="1470" y="473"/>
                    <a:pt x="1470" y="473"/>
                    <a:pt x="1470" y="473"/>
                  </a:cubicBezTo>
                  <a:cubicBezTo>
                    <a:pt x="1470" y="473"/>
                    <a:pt x="1470" y="473"/>
                    <a:pt x="1470" y="473"/>
                  </a:cubicBezTo>
                  <a:cubicBezTo>
                    <a:pt x="1470" y="474"/>
                    <a:pt x="1470" y="474"/>
                    <a:pt x="1470" y="474"/>
                  </a:cubicBezTo>
                  <a:cubicBezTo>
                    <a:pt x="1471" y="476"/>
                    <a:pt x="1472" y="476"/>
                    <a:pt x="1472" y="478"/>
                  </a:cubicBezTo>
                  <a:cubicBezTo>
                    <a:pt x="1472" y="478"/>
                    <a:pt x="1472" y="478"/>
                    <a:pt x="1472" y="478"/>
                  </a:cubicBezTo>
                  <a:cubicBezTo>
                    <a:pt x="1472" y="478"/>
                    <a:pt x="1472" y="478"/>
                    <a:pt x="1472" y="478"/>
                  </a:cubicBezTo>
                  <a:cubicBezTo>
                    <a:pt x="1472" y="479"/>
                    <a:pt x="1474" y="479"/>
                    <a:pt x="1475" y="479"/>
                  </a:cubicBezTo>
                  <a:cubicBezTo>
                    <a:pt x="1475" y="479"/>
                    <a:pt x="1475" y="479"/>
                    <a:pt x="1475" y="479"/>
                  </a:cubicBezTo>
                  <a:cubicBezTo>
                    <a:pt x="1475" y="479"/>
                    <a:pt x="1475" y="479"/>
                    <a:pt x="1475" y="479"/>
                  </a:cubicBezTo>
                  <a:cubicBezTo>
                    <a:pt x="1475" y="479"/>
                    <a:pt x="1475" y="479"/>
                    <a:pt x="1475" y="479"/>
                  </a:cubicBezTo>
                  <a:cubicBezTo>
                    <a:pt x="1474" y="479"/>
                    <a:pt x="1474" y="479"/>
                    <a:pt x="1474" y="479"/>
                  </a:cubicBezTo>
                  <a:cubicBezTo>
                    <a:pt x="1473" y="479"/>
                    <a:pt x="1473" y="479"/>
                    <a:pt x="1473" y="479"/>
                  </a:cubicBezTo>
                  <a:cubicBezTo>
                    <a:pt x="1470" y="479"/>
                    <a:pt x="1473" y="477"/>
                    <a:pt x="1470" y="476"/>
                  </a:cubicBezTo>
                  <a:cubicBezTo>
                    <a:pt x="1469" y="476"/>
                    <a:pt x="1469" y="476"/>
                    <a:pt x="1469" y="476"/>
                  </a:cubicBezTo>
                  <a:cubicBezTo>
                    <a:pt x="1469" y="476"/>
                    <a:pt x="1469" y="476"/>
                    <a:pt x="1469" y="476"/>
                  </a:cubicBezTo>
                  <a:cubicBezTo>
                    <a:pt x="1469" y="476"/>
                    <a:pt x="1469" y="476"/>
                    <a:pt x="1469" y="476"/>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8" y="475"/>
                    <a:pt x="1468" y="475"/>
                    <a:pt x="1468" y="475"/>
                  </a:cubicBezTo>
                  <a:cubicBezTo>
                    <a:pt x="1468" y="475"/>
                    <a:pt x="1468" y="475"/>
                    <a:pt x="1468" y="475"/>
                  </a:cubicBezTo>
                  <a:cubicBezTo>
                    <a:pt x="1468" y="475"/>
                    <a:pt x="1468" y="475"/>
                    <a:pt x="1468" y="475"/>
                  </a:cubicBezTo>
                  <a:cubicBezTo>
                    <a:pt x="1468" y="475"/>
                    <a:pt x="1468" y="475"/>
                    <a:pt x="1468" y="475"/>
                  </a:cubicBezTo>
                  <a:cubicBezTo>
                    <a:pt x="1468" y="475"/>
                    <a:pt x="1468" y="475"/>
                    <a:pt x="1468" y="475"/>
                  </a:cubicBezTo>
                  <a:cubicBezTo>
                    <a:pt x="1467" y="475"/>
                    <a:pt x="1466" y="476"/>
                    <a:pt x="1466" y="475"/>
                  </a:cubicBezTo>
                  <a:cubicBezTo>
                    <a:pt x="1466" y="475"/>
                    <a:pt x="1466" y="475"/>
                    <a:pt x="1466" y="475"/>
                  </a:cubicBezTo>
                  <a:cubicBezTo>
                    <a:pt x="1466" y="475"/>
                    <a:pt x="1466" y="475"/>
                    <a:pt x="1466" y="475"/>
                  </a:cubicBezTo>
                  <a:cubicBezTo>
                    <a:pt x="1466" y="475"/>
                    <a:pt x="1466" y="475"/>
                    <a:pt x="1466" y="475"/>
                  </a:cubicBezTo>
                  <a:cubicBezTo>
                    <a:pt x="1466" y="475"/>
                    <a:pt x="1466" y="475"/>
                    <a:pt x="1466" y="475"/>
                  </a:cubicBezTo>
                  <a:cubicBezTo>
                    <a:pt x="1466" y="475"/>
                    <a:pt x="1466" y="475"/>
                    <a:pt x="1466" y="475"/>
                  </a:cubicBezTo>
                  <a:cubicBezTo>
                    <a:pt x="1466" y="474"/>
                    <a:pt x="1466" y="474"/>
                    <a:pt x="1466" y="474"/>
                  </a:cubicBezTo>
                  <a:cubicBezTo>
                    <a:pt x="1465" y="474"/>
                    <a:pt x="1465" y="474"/>
                    <a:pt x="1465" y="474"/>
                  </a:cubicBezTo>
                  <a:cubicBezTo>
                    <a:pt x="1465" y="474"/>
                    <a:pt x="1465" y="474"/>
                    <a:pt x="1465" y="474"/>
                  </a:cubicBezTo>
                  <a:cubicBezTo>
                    <a:pt x="1465" y="474"/>
                    <a:pt x="1465" y="474"/>
                    <a:pt x="1465" y="474"/>
                  </a:cubicBezTo>
                  <a:cubicBezTo>
                    <a:pt x="1465" y="474"/>
                    <a:pt x="1465" y="474"/>
                    <a:pt x="1465" y="474"/>
                  </a:cubicBezTo>
                  <a:cubicBezTo>
                    <a:pt x="1464" y="474"/>
                    <a:pt x="1464" y="474"/>
                    <a:pt x="1464" y="474"/>
                  </a:cubicBezTo>
                  <a:cubicBezTo>
                    <a:pt x="1464" y="475"/>
                    <a:pt x="1464" y="475"/>
                    <a:pt x="1464" y="475"/>
                  </a:cubicBezTo>
                  <a:cubicBezTo>
                    <a:pt x="1464" y="475"/>
                    <a:pt x="1464" y="475"/>
                    <a:pt x="1464" y="475"/>
                  </a:cubicBezTo>
                  <a:cubicBezTo>
                    <a:pt x="1464" y="475"/>
                    <a:pt x="1464" y="475"/>
                    <a:pt x="1464" y="475"/>
                  </a:cubicBezTo>
                  <a:cubicBezTo>
                    <a:pt x="1464" y="476"/>
                    <a:pt x="1464" y="476"/>
                    <a:pt x="1464" y="476"/>
                  </a:cubicBezTo>
                  <a:cubicBezTo>
                    <a:pt x="1465" y="477"/>
                    <a:pt x="1465" y="477"/>
                    <a:pt x="1465" y="477"/>
                  </a:cubicBezTo>
                  <a:cubicBezTo>
                    <a:pt x="1465" y="478"/>
                    <a:pt x="1465" y="478"/>
                    <a:pt x="1465" y="478"/>
                  </a:cubicBezTo>
                  <a:cubicBezTo>
                    <a:pt x="1465" y="478"/>
                    <a:pt x="1465" y="478"/>
                    <a:pt x="1465" y="478"/>
                  </a:cubicBezTo>
                  <a:cubicBezTo>
                    <a:pt x="1465" y="479"/>
                    <a:pt x="1465" y="479"/>
                    <a:pt x="1465" y="479"/>
                  </a:cubicBezTo>
                  <a:cubicBezTo>
                    <a:pt x="1465" y="479"/>
                    <a:pt x="1465" y="479"/>
                    <a:pt x="1465" y="479"/>
                  </a:cubicBezTo>
                  <a:cubicBezTo>
                    <a:pt x="1465" y="480"/>
                    <a:pt x="1465" y="480"/>
                    <a:pt x="1465" y="480"/>
                  </a:cubicBezTo>
                  <a:cubicBezTo>
                    <a:pt x="1465" y="480"/>
                    <a:pt x="1465" y="480"/>
                    <a:pt x="1465" y="480"/>
                  </a:cubicBezTo>
                  <a:cubicBezTo>
                    <a:pt x="1465" y="480"/>
                    <a:pt x="1465" y="480"/>
                    <a:pt x="1465" y="480"/>
                  </a:cubicBezTo>
                  <a:cubicBezTo>
                    <a:pt x="1465" y="480"/>
                    <a:pt x="1465" y="480"/>
                    <a:pt x="1465" y="480"/>
                  </a:cubicBezTo>
                  <a:cubicBezTo>
                    <a:pt x="1463" y="481"/>
                    <a:pt x="1463" y="481"/>
                    <a:pt x="1463" y="481"/>
                  </a:cubicBezTo>
                  <a:cubicBezTo>
                    <a:pt x="1462" y="481"/>
                    <a:pt x="1462" y="481"/>
                    <a:pt x="1462" y="481"/>
                  </a:cubicBezTo>
                  <a:cubicBezTo>
                    <a:pt x="1462" y="481"/>
                    <a:pt x="1462" y="481"/>
                    <a:pt x="1462" y="481"/>
                  </a:cubicBezTo>
                  <a:cubicBezTo>
                    <a:pt x="1462" y="481"/>
                    <a:pt x="1462" y="481"/>
                    <a:pt x="1462" y="481"/>
                  </a:cubicBezTo>
                  <a:cubicBezTo>
                    <a:pt x="1462" y="482"/>
                    <a:pt x="1462" y="482"/>
                    <a:pt x="1462" y="482"/>
                  </a:cubicBezTo>
                  <a:cubicBezTo>
                    <a:pt x="1462" y="482"/>
                    <a:pt x="1462" y="482"/>
                    <a:pt x="1462" y="482"/>
                  </a:cubicBezTo>
                  <a:cubicBezTo>
                    <a:pt x="1462" y="482"/>
                    <a:pt x="1462" y="482"/>
                    <a:pt x="1462" y="482"/>
                  </a:cubicBezTo>
                  <a:cubicBezTo>
                    <a:pt x="1462" y="482"/>
                    <a:pt x="1462" y="482"/>
                    <a:pt x="1462" y="482"/>
                  </a:cubicBezTo>
                  <a:cubicBezTo>
                    <a:pt x="1461" y="483"/>
                    <a:pt x="1461" y="483"/>
                    <a:pt x="1461" y="483"/>
                  </a:cubicBezTo>
                  <a:cubicBezTo>
                    <a:pt x="1461" y="484"/>
                    <a:pt x="1461" y="484"/>
                    <a:pt x="1461" y="484"/>
                  </a:cubicBezTo>
                  <a:cubicBezTo>
                    <a:pt x="1462" y="484"/>
                    <a:pt x="1462" y="484"/>
                    <a:pt x="1462" y="484"/>
                  </a:cubicBezTo>
                  <a:cubicBezTo>
                    <a:pt x="1463" y="484"/>
                    <a:pt x="1463" y="484"/>
                    <a:pt x="1463" y="484"/>
                  </a:cubicBezTo>
                  <a:cubicBezTo>
                    <a:pt x="1464" y="484"/>
                    <a:pt x="1464" y="484"/>
                    <a:pt x="1464" y="484"/>
                  </a:cubicBezTo>
                  <a:cubicBezTo>
                    <a:pt x="1464" y="484"/>
                    <a:pt x="1464" y="484"/>
                    <a:pt x="1464" y="484"/>
                  </a:cubicBezTo>
                  <a:cubicBezTo>
                    <a:pt x="1464" y="484"/>
                    <a:pt x="1464" y="484"/>
                    <a:pt x="1464" y="484"/>
                  </a:cubicBezTo>
                  <a:cubicBezTo>
                    <a:pt x="1464" y="484"/>
                    <a:pt x="1464" y="484"/>
                    <a:pt x="1464" y="484"/>
                  </a:cubicBezTo>
                  <a:cubicBezTo>
                    <a:pt x="1464" y="484"/>
                    <a:pt x="1464" y="484"/>
                    <a:pt x="1464" y="484"/>
                  </a:cubicBezTo>
                  <a:cubicBezTo>
                    <a:pt x="1464" y="485"/>
                    <a:pt x="1464" y="485"/>
                    <a:pt x="1464" y="485"/>
                  </a:cubicBezTo>
                  <a:cubicBezTo>
                    <a:pt x="1464" y="485"/>
                    <a:pt x="1464" y="485"/>
                    <a:pt x="1464" y="485"/>
                  </a:cubicBezTo>
                  <a:cubicBezTo>
                    <a:pt x="1464" y="485"/>
                    <a:pt x="1464" y="485"/>
                    <a:pt x="1464" y="485"/>
                  </a:cubicBezTo>
                  <a:cubicBezTo>
                    <a:pt x="1464" y="485"/>
                    <a:pt x="1464" y="485"/>
                    <a:pt x="1464"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4" y="486"/>
                    <a:pt x="1464" y="486"/>
                    <a:pt x="1464" y="486"/>
                  </a:cubicBezTo>
                  <a:cubicBezTo>
                    <a:pt x="1462" y="489"/>
                    <a:pt x="1462" y="487"/>
                    <a:pt x="1461" y="488"/>
                  </a:cubicBezTo>
                  <a:cubicBezTo>
                    <a:pt x="1461" y="489"/>
                    <a:pt x="1461" y="489"/>
                    <a:pt x="1461" y="489"/>
                  </a:cubicBezTo>
                  <a:cubicBezTo>
                    <a:pt x="1461" y="489"/>
                    <a:pt x="1461" y="489"/>
                    <a:pt x="1461" y="489"/>
                  </a:cubicBezTo>
                  <a:cubicBezTo>
                    <a:pt x="1460" y="490"/>
                    <a:pt x="1460" y="490"/>
                    <a:pt x="1459" y="490"/>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8" y="491"/>
                    <a:pt x="1458" y="491"/>
                    <a:pt x="1458" y="491"/>
                  </a:cubicBezTo>
                  <a:cubicBezTo>
                    <a:pt x="1458" y="491"/>
                    <a:pt x="1458" y="491"/>
                    <a:pt x="1458" y="491"/>
                  </a:cubicBezTo>
                  <a:cubicBezTo>
                    <a:pt x="1458" y="491"/>
                    <a:pt x="1458" y="491"/>
                    <a:pt x="1458" y="491"/>
                  </a:cubicBezTo>
                  <a:cubicBezTo>
                    <a:pt x="1458" y="491"/>
                    <a:pt x="1458" y="491"/>
                    <a:pt x="1458" y="491"/>
                  </a:cubicBezTo>
                  <a:cubicBezTo>
                    <a:pt x="1458" y="491"/>
                    <a:pt x="1458" y="491"/>
                    <a:pt x="1458"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6" y="492"/>
                    <a:pt x="1456" y="492"/>
                    <a:pt x="1456" y="492"/>
                  </a:cubicBezTo>
                  <a:cubicBezTo>
                    <a:pt x="1456" y="492"/>
                    <a:pt x="1456" y="492"/>
                    <a:pt x="1456" y="492"/>
                  </a:cubicBezTo>
                  <a:cubicBezTo>
                    <a:pt x="1456" y="493"/>
                    <a:pt x="1456" y="493"/>
                    <a:pt x="1456" y="493"/>
                  </a:cubicBezTo>
                  <a:cubicBezTo>
                    <a:pt x="1456" y="493"/>
                    <a:pt x="1456" y="493"/>
                    <a:pt x="1456" y="493"/>
                  </a:cubicBezTo>
                  <a:cubicBezTo>
                    <a:pt x="1455" y="494"/>
                    <a:pt x="1455" y="494"/>
                    <a:pt x="1455" y="494"/>
                  </a:cubicBezTo>
                  <a:cubicBezTo>
                    <a:pt x="1455" y="494"/>
                    <a:pt x="1455" y="494"/>
                    <a:pt x="1455" y="494"/>
                  </a:cubicBezTo>
                  <a:cubicBezTo>
                    <a:pt x="1455" y="495"/>
                    <a:pt x="1455" y="495"/>
                    <a:pt x="1455" y="495"/>
                  </a:cubicBezTo>
                  <a:cubicBezTo>
                    <a:pt x="1455" y="495"/>
                    <a:pt x="1455" y="495"/>
                    <a:pt x="1455"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3" y="496"/>
                    <a:pt x="1453" y="496"/>
                    <a:pt x="1453" y="496"/>
                  </a:cubicBezTo>
                  <a:cubicBezTo>
                    <a:pt x="1453" y="496"/>
                    <a:pt x="1453" y="496"/>
                    <a:pt x="1453" y="496"/>
                  </a:cubicBezTo>
                  <a:cubicBezTo>
                    <a:pt x="1453" y="496"/>
                    <a:pt x="1453" y="496"/>
                    <a:pt x="1453" y="496"/>
                  </a:cubicBezTo>
                  <a:cubicBezTo>
                    <a:pt x="1453" y="496"/>
                    <a:pt x="1453" y="496"/>
                    <a:pt x="1453" y="496"/>
                  </a:cubicBezTo>
                  <a:cubicBezTo>
                    <a:pt x="1453" y="497"/>
                    <a:pt x="1453" y="497"/>
                    <a:pt x="1453" y="497"/>
                  </a:cubicBezTo>
                  <a:cubicBezTo>
                    <a:pt x="1453" y="497"/>
                    <a:pt x="1453" y="497"/>
                    <a:pt x="1453" y="497"/>
                  </a:cubicBezTo>
                  <a:cubicBezTo>
                    <a:pt x="1452" y="498"/>
                    <a:pt x="1452" y="500"/>
                    <a:pt x="1451" y="501"/>
                  </a:cubicBezTo>
                  <a:cubicBezTo>
                    <a:pt x="1451" y="501"/>
                    <a:pt x="1451" y="501"/>
                    <a:pt x="1451" y="501"/>
                  </a:cubicBezTo>
                  <a:cubicBezTo>
                    <a:pt x="1450" y="501"/>
                    <a:pt x="1450" y="501"/>
                    <a:pt x="1450" y="501"/>
                  </a:cubicBezTo>
                  <a:cubicBezTo>
                    <a:pt x="1450" y="501"/>
                    <a:pt x="1450" y="501"/>
                    <a:pt x="1450" y="501"/>
                  </a:cubicBezTo>
                  <a:cubicBezTo>
                    <a:pt x="1451" y="500"/>
                    <a:pt x="1451" y="500"/>
                    <a:pt x="1451" y="500"/>
                  </a:cubicBezTo>
                  <a:cubicBezTo>
                    <a:pt x="1450" y="500"/>
                    <a:pt x="1450" y="500"/>
                    <a:pt x="1450" y="500"/>
                  </a:cubicBezTo>
                  <a:cubicBezTo>
                    <a:pt x="1450" y="500"/>
                    <a:pt x="1450" y="500"/>
                    <a:pt x="1450" y="500"/>
                  </a:cubicBezTo>
                  <a:cubicBezTo>
                    <a:pt x="1450" y="500"/>
                    <a:pt x="1450" y="500"/>
                    <a:pt x="1450" y="500"/>
                  </a:cubicBezTo>
                  <a:cubicBezTo>
                    <a:pt x="1450" y="500"/>
                    <a:pt x="1450" y="500"/>
                    <a:pt x="1450" y="500"/>
                  </a:cubicBezTo>
                  <a:cubicBezTo>
                    <a:pt x="1450" y="500"/>
                    <a:pt x="1450" y="500"/>
                    <a:pt x="1450" y="500"/>
                  </a:cubicBezTo>
                  <a:cubicBezTo>
                    <a:pt x="1449" y="500"/>
                    <a:pt x="1449" y="500"/>
                    <a:pt x="1449" y="500"/>
                  </a:cubicBezTo>
                  <a:cubicBezTo>
                    <a:pt x="1449" y="500"/>
                    <a:pt x="1449" y="500"/>
                    <a:pt x="1449" y="500"/>
                  </a:cubicBezTo>
                  <a:cubicBezTo>
                    <a:pt x="1449" y="500"/>
                    <a:pt x="1449" y="500"/>
                    <a:pt x="1449" y="500"/>
                  </a:cubicBezTo>
                  <a:cubicBezTo>
                    <a:pt x="1449" y="500"/>
                    <a:pt x="1449"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7" y="501"/>
                    <a:pt x="1447" y="501"/>
                    <a:pt x="1447" y="501"/>
                  </a:cubicBezTo>
                  <a:cubicBezTo>
                    <a:pt x="1447" y="501"/>
                    <a:pt x="1447" y="501"/>
                    <a:pt x="1447" y="501"/>
                  </a:cubicBezTo>
                  <a:cubicBezTo>
                    <a:pt x="1447" y="500"/>
                    <a:pt x="1447" y="500"/>
                    <a:pt x="1447" y="500"/>
                  </a:cubicBezTo>
                  <a:cubicBezTo>
                    <a:pt x="1447" y="500"/>
                    <a:pt x="1447" y="500"/>
                    <a:pt x="1447" y="500"/>
                  </a:cubicBezTo>
                  <a:cubicBezTo>
                    <a:pt x="1447" y="500"/>
                    <a:pt x="1446" y="500"/>
                    <a:pt x="1446" y="500"/>
                  </a:cubicBezTo>
                  <a:cubicBezTo>
                    <a:pt x="1446" y="500"/>
                    <a:pt x="1446" y="500"/>
                    <a:pt x="1446" y="500"/>
                  </a:cubicBezTo>
                  <a:cubicBezTo>
                    <a:pt x="1446" y="500"/>
                    <a:pt x="1446" y="500"/>
                    <a:pt x="1446" y="500"/>
                  </a:cubicBezTo>
                  <a:cubicBezTo>
                    <a:pt x="1446" y="500"/>
                    <a:pt x="1446" y="500"/>
                    <a:pt x="1446" y="500"/>
                  </a:cubicBezTo>
                  <a:cubicBezTo>
                    <a:pt x="1446" y="501"/>
                    <a:pt x="1446" y="501"/>
                    <a:pt x="1446" y="501"/>
                  </a:cubicBezTo>
                  <a:cubicBezTo>
                    <a:pt x="1447" y="503"/>
                    <a:pt x="1447" y="503"/>
                    <a:pt x="1447" y="503"/>
                  </a:cubicBezTo>
                  <a:cubicBezTo>
                    <a:pt x="1448" y="505"/>
                    <a:pt x="1448" y="504"/>
                    <a:pt x="1448" y="506"/>
                  </a:cubicBezTo>
                  <a:cubicBezTo>
                    <a:pt x="1447" y="506"/>
                    <a:pt x="1447" y="506"/>
                    <a:pt x="1447" y="506"/>
                  </a:cubicBezTo>
                  <a:cubicBezTo>
                    <a:pt x="1447" y="507"/>
                    <a:pt x="1447" y="507"/>
                    <a:pt x="1447" y="507"/>
                  </a:cubicBezTo>
                  <a:cubicBezTo>
                    <a:pt x="1448" y="509"/>
                    <a:pt x="1448" y="508"/>
                    <a:pt x="1448" y="510"/>
                  </a:cubicBezTo>
                  <a:cubicBezTo>
                    <a:pt x="1448" y="511"/>
                    <a:pt x="1448" y="511"/>
                    <a:pt x="1448" y="511"/>
                  </a:cubicBezTo>
                  <a:cubicBezTo>
                    <a:pt x="1448" y="512"/>
                    <a:pt x="1448" y="512"/>
                    <a:pt x="1448" y="512"/>
                  </a:cubicBezTo>
                  <a:cubicBezTo>
                    <a:pt x="1448" y="512"/>
                    <a:pt x="1448" y="512"/>
                    <a:pt x="1448" y="512"/>
                  </a:cubicBezTo>
                  <a:cubicBezTo>
                    <a:pt x="1448" y="512"/>
                    <a:pt x="1448" y="512"/>
                    <a:pt x="1448" y="512"/>
                  </a:cubicBezTo>
                  <a:cubicBezTo>
                    <a:pt x="1449" y="512"/>
                    <a:pt x="1448" y="513"/>
                    <a:pt x="1449" y="513"/>
                  </a:cubicBezTo>
                  <a:cubicBezTo>
                    <a:pt x="1449" y="513"/>
                    <a:pt x="1449" y="513"/>
                    <a:pt x="1449" y="513"/>
                  </a:cubicBezTo>
                  <a:cubicBezTo>
                    <a:pt x="1449" y="513"/>
                    <a:pt x="1449" y="513"/>
                    <a:pt x="1449" y="513"/>
                  </a:cubicBezTo>
                  <a:cubicBezTo>
                    <a:pt x="1450" y="514"/>
                    <a:pt x="1450" y="514"/>
                    <a:pt x="1450" y="514"/>
                  </a:cubicBezTo>
                  <a:cubicBezTo>
                    <a:pt x="1451" y="514"/>
                    <a:pt x="1451" y="514"/>
                    <a:pt x="1451" y="514"/>
                  </a:cubicBezTo>
                  <a:cubicBezTo>
                    <a:pt x="1451" y="514"/>
                    <a:pt x="1451" y="514"/>
                    <a:pt x="1451" y="514"/>
                  </a:cubicBezTo>
                  <a:cubicBezTo>
                    <a:pt x="1451" y="514"/>
                    <a:pt x="1451" y="514"/>
                    <a:pt x="1451" y="514"/>
                  </a:cubicBezTo>
                  <a:cubicBezTo>
                    <a:pt x="1451" y="514"/>
                    <a:pt x="1451" y="514"/>
                    <a:pt x="1451" y="514"/>
                  </a:cubicBezTo>
                  <a:cubicBezTo>
                    <a:pt x="1451" y="513"/>
                    <a:pt x="1450" y="513"/>
                    <a:pt x="1449" y="512"/>
                  </a:cubicBezTo>
                  <a:cubicBezTo>
                    <a:pt x="1449" y="512"/>
                    <a:pt x="1449" y="512"/>
                    <a:pt x="1449" y="512"/>
                  </a:cubicBezTo>
                  <a:cubicBezTo>
                    <a:pt x="1449" y="512"/>
                    <a:pt x="1449" y="512"/>
                    <a:pt x="1449" y="512"/>
                  </a:cubicBezTo>
                  <a:cubicBezTo>
                    <a:pt x="1450" y="512"/>
                    <a:pt x="1450" y="512"/>
                    <a:pt x="1450" y="512"/>
                  </a:cubicBezTo>
                  <a:cubicBezTo>
                    <a:pt x="1451" y="512"/>
                    <a:pt x="1451" y="512"/>
                    <a:pt x="1451" y="512"/>
                  </a:cubicBezTo>
                  <a:cubicBezTo>
                    <a:pt x="1451" y="513"/>
                    <a:pt x="1451" y="513"/>
                    <a:pt x="1451" y="513"/>
                  </a:cubicBezTo>
                  <a:cubicBezTo>
                    <a:pt x="1451" y="513"/>
                    <a:pt x="1451" y="513"/>
                    <a:pt x="1451" y="513"/>
                  </a:cubicBezTo>
                  <a:cubicBezTo>
                    <a:pt x="1451" y="513"/>
                    <a:pt x="1451" y="513"/>
                    <a:pt x="1451" y="513"/>
                  </a:cubicBezTo>
                  <a:cubicBezTo>
                    <a:pt x="1453" y="514"/>
                    <a:pt x="1452" y="515"/>
                    <a:pt x="1454" y="515"/>
                  </a:cubicBezTo>
                  <a:cubicBezTo>
                    <a:pt x="1454" y="516"/>
                    <a:pt x="1454" y="516"/>
                    <a:pt x="1454" y="516"/>
                  </a:cubicBezTo>
                  <a:cubicBezTo>
                    <a:pt x="1454" y="516"/>
                    <a:pt x="1454" y="516"/>
                    <a:pt x="1454" y="516"/>
                  </a:cubicBezTo>
                  <a:cubicBezTo>
                    <a:pt x="1454" y="516"/>
                    <a:pt x="1454" y="516"/>
                    <a:pt x="1454" y="516"/>
                  </a:cubicBezTo>
                  <a:cubicBezTo>
                    <a:pt x="1454" y="516"/>
                    <a:pt x="1455" y="516"/>
                    <a:pt x="1455" y="516"/>
                  </a:cubicBezTo>
                  <a:cubicBezTo>
                    <a:pt x="1455" y="516"/>
                    <a:pt x="1455" y="516"/>
                    <a:pt x="1455" y="516"/>
                  </a:cubicBezTo>
                  <a:cubicBezTo>
                    <a:pt x="1455" y="517"/>
                    <a:pt x="1455" y="517"/>
                    <a:pt x="1455"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8"/>
                  </a:cubicBezTo>
                  <a:cubicBezTo>
                    <a:pt x="1457" y="518"/>
                    <a:pt x="1457" y="518"/>
                    <a:pt x="1457" y="518"/>
                  </a:cubicBezTo>
                  <a:cubicBezTo>
                    <a:pt x="1457" y="518"/>
                    <a:pt x="1457" y="518"/>
                    <a:pt x="1457" y="518"/>
                  </a:cubicBezTo>
                  <a:cubicBezTo>
                    <a:pt x="1458" y="518"/>
                    <a:pt x="1458" y="518"/>
                    <a:pt x="1458" y="518"/>
                  </a:cubicBezTo>
                  <a:cubicBezTo>
                    <a:pt x="1458" y="518"/>
                    <a:pt x="1458" y="518"/>
                    <a:pt x="1458" y="518"/>
                  </a:cubicBezTo>
                  <a:cubicBezTo>
                    <a:pt x="1459" y="519"/>
                    <a:pt x="1459" y="519"/>
                    <a:pt x="1459" y="519"/>
                  </a:cubicBezTo>
                  <a:cubicBezTo>
                    <a:pt x="1459" y="519"/>
                    <a:pt x="1459" y="519"/>
                    <a:pt x="1459" y="519"/>
                  </a:cubicBezTo>
                  <a:cubicBezTo>
                    <a:pt x="1459" y="519"/>
                    <a:pt x="1459" y="519"/>
                    <a:pt x="1459" y="519"/>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60" y="520"/>
                    <a:pt x="1460" y="520"/>
                    <a:pt x="1460" y="520"/>
                  </a:cubicBezTo>
                  <a:cubicBezTo>
                    <a:pt x="1460" y="520"/>
                    <a:pt x="1460" y="520"/>
                    <a:pt x="1460" y="520"/>
                  </a:cubicBezTo>
                  <a:cubicBezTo>
                    <a:pt x="1460" y="520"/>
                    <a:pt x="1460" y="520"/>
                    <a:pt x="1460" y="520"/>
                  </a:cubicBezTo>
                  <a:cubicBezTo>
                    <a:pt x="1460" y="521"/>
                    <a:pt x="1461" y="521"/>
                    <a:pt x="1461" y="521"/>
                  </a:cubicBezTo>
                  <a:cubicBezTo>
                    <a:pt x="1461" y="521"/>
                    <a:pt x="1461" y="521"/>
                    <a:pt x="1461" y="521"/>
                  </a:cubicBezTo>
                  <a:cubicBezTo>
                    <a:pt x="1462" y="521"/>
                    <a:pt x="1462" y="521"/>
                    <a:pt x="1462" y="521"/>
                  </a:cubicBezTo>
                  <a:cubicBezTo>
                    <a:pt x="1462" y="521"/>
                    <a:pt x="1462" y="521"/>
                    <a:pt x="1462" y="521"/>
                  </a:cubicBezTo>
                  <a:cubicBezTo>
                    <a:pt x="1462" y="521"/>
                    <a:pt x="1462" y="521"/>
                    <a:pt x="1462" y="521"/>
                  </a:cubicBezTo>
                  <a:cubicBezTo>
                    <a:pt x="1462" y="521"/>
                    <a:pt x="1462" y="521"/>
                    <a:pt x="1462" y="521"/>
                  </a:cubicBezTo>
                  <a:cubicBezTo>
                    <a:pt x="1462" y="521"/>
                    <a:pt x="1462" y="521"/>
                    <a:pt x="1462" y="521"/>
                  </a:cubicBezTo>
                  <a:cubicBezTo>
                    <a:pt x="1463" y="521"/>
                    <a:pt x="1463" y="521"/>
                    <a:pt x="1463" y="521"/>
                  </a:cubicBezTo>
                  <a:cubicBezTo>
                    <a:pt x="1464" y="522"/>
                    <a:pt x="1465" y="523"/>
                    <a:pt x="1466" y="523"/>
                  </a:cubicBezTo>
                  <a:cubicBezTo>
                    <a:pt x="1467" y="523"/>
                    <a:pt x="1467" y="523"/>
                    <a:pt x="1467" y="523"/>
                  </a:cubicBezTo>
                  <a:cubicBezTo>
                    <a:pt x="1467" y="523"/>
                    <a:pt x="1467" y="523"/>
                    <a:pt x="1467" y="523"/>
                  </a:cubicBezTo>
                  <a:cubicBezTo>
                    <a:pt x="1469" y="523"/>
                    <a:pt x="1469" y="525"/>
                    <a:pt x="1470" y="525"/>
                  </a:cubicBezTo>
                  <a:cubicBezTo>
                    <a:pt x="1470" y="525"/>
                    <a:pt x="1470" y="525"/>
                    <a:pt x="1470" y="525"/>
                  </a:cubicBezTo>
                  <a:cubicBezTo>
                    <a:pt x="1470" y="525"/>
                    <a:pt x="1470" y="525"/>
                    <a:pt x="1470" y="525"/>
                  </a:cubicBezTo>
                  <a:cubicBezTo>
                    <a:pt x="1471" y="525"/>
                    <a:pt x="1471" y="525"/>
                    <a:pt x="1471" y="525"/>
                  </a:cubicBezTo>
                  <a:cubicBezTo>
                    <a:pt x="1471" y="525"/>
                    <a:pt x="1471" y="525"/>
                    <a:pt x="1471" y="525"/>
                  </a:cubicBezTo>
                  <a:cubicBezTo>
                    <a:pt x="1471" y="525"/>
                    <a:pt x="1471" y="525"/>
                    <a:pt x="1471" y="525"/>
                  </a:cubicBezTo>
                  <a:cubicBezTo>
                    <a:pt x="1471" y="526"/>
                    <a:pt x="1472" y="526"/>
                    <a:pt x="1472" y="527"/>
                  </a:cubicBezTo>
                  <a:cubicBezTo>
                    <a:pt x="1472" y="527"/>
                    <a:pt x="1472" y="527"/>
                    <a:pt x="1472" y="527"/>
                  </a:cubicBezTo>
                  <a:cubicBezTo>
                    <a:pt x="1472" y="527"/>
                    <a:pt x="1472" y="527"/>
                    <a:pt x="1472" y="527"/>
                  </a:cubicBezTo>
                  <a:cubicBezTo>
                    <a:pt x="1472" y="528"/>
                    <a:pt x="1472" y="528"/>
                    <a:pt x="1472" y="528"/>
                  </a:cubicBezTo>
                  <a:cubicBezTo>
                    <a:pt x="1472" y="528"/>
                    <a:pt x="1472" y="528"/>
                    <a:pt x="1472" y="528"/>
                  </a:cubicBezTo>
                  <a:cubicBezTo>
                    <a:pt x="1472" y="528"/>
                    <a:pt x="1472" y="528"/>
                    <a:pt x="1472"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4" y="529"/>
                    <a:pt x="1474" y="529"/>
                    <a:pt x="1474" y="529"/>
                  </a:cubicBezTo>
                  <a:cubicBezTo>
                    <a:pt x="1475" y="529"/>
                    <a:pt x="1475" y="529"/>
                    <a:pt x="1475" y="529"/>
                  </a:cubicBezTo>
                  <a:cubicBezTo>
                    <a:pt x="1475" y="529"/>
                    <a:pt x="1475" y="529"/>
                    <a:pt x="1475" y="529"/>
                  </a:cubicBezTo>
                  <a:cubicBezTo>
                    <a:pt x="1475" y="530"/>
                    <a:pt x="1476" y="530"/>
                    <a:pt x="1476" y="530"/>
                  </a:cubicBezTo>
                  <a:cubicBezTo>
                    <a:pt x="1476" y="530"/>
                    <a:pt x="1476" y="530"/>
                    <a:pt x="1476" y="530"/>
                  </a:cubicBezTo>
                  <a:cubicBezTo>
                    <a:pt x="1477" y="530"/>
                    <a:pt x="1477" y="530"/>
                    <a:pt x="1477" y="530"/>
                  </a:cubicBezTo>
                  <a:cubicBezTo>
                    <a:pt x="1477" y="530"/>
                    <a:pt x="1477" y="530"/>
                    <a:pt x="1477" y="530"/>
                  </a:cubicBezTo>
                  <a:cubicBezTo>
                    <a:pt x="1477" y="531"/>
                    <a:pt x="1477" y="531"/>
                    <a:pt x="1477" y="531"/>
                  </a:cubicBezTo>
                  <a:cubicBezTo>
                    <a:pt x="1477" y="531"/>
                    <a:pt x="1477" y="531"/>
                    <a:pt x="1477" y="531"/>
                  </a:cubicBezTo>
                  <a:cubicBezTo>
                    <a:pt x="1477" y="531"/>
                    <a:pt x="1477" y="531"/>
                    <a:pt x="1477" y="531"/>
                  </a:cubicBezTo>
                  <a:cubicBezTo>
                    <a:pt x="1477" y="531"/>
                    <a:pt x="1477" y="531"/>
                    <a:pt x="1477" y="531"/>
                  </a:cubicBezTo>
                  <a:cubicBezTo>
                    <a:pt x="1478" y="531"/>
                    <a:pt x="1478" y="531"/>
                    <a:pt x="1478" y="531"/>
                  </a:cubicBezTo>
                  <a:cubicBezTo>
                    <a:pt x="1478" y="531"/>
                    <a:pt x="1478" y="531"/>
                    <a:pt x="1478" y="531"/>
                  </a:cubicBezTo>
                  <a:cubicBezTo>
                    <a:pt x="1478" y="531"/>
                    <a:pt x="1478" y="531"/>
                    <a:pt x="1478" y="531"/>
                  </a:cubicBezTo>
                  <a:cubicBezTo>
                    <a:pt x="1478" y="531"/>
                    <a:pt x="1478" y="531"/>
                    <a:pt x="1478" y="531"/>
                  </a:cubicBezTo>
                  <a:cubicBezTo>
                    <a:pt x="1478" y="531"/>
                    <a:pt x="1478" y="531"/>
                    <a:pt x="1478" y="531"/>
                  </a:cubicBezTo>
                  <a:cubicBezTo>
                    <a:pt x="1478" y="532"/>
                    <a:pt x="1478" y="532"/>
                    <a:pt x="1478" y="532"/>
                  </a:cubicBezTo>
                  <a:cubicBezTo>
                    <a:pt x="1478" y="532"/>
                    <a:pt x="1478" y="532"/>
                    <a:pt x="1478" y="532"/>
                  </a:cubicBezTo>
                  <a:cubicBezTo>
                    <a:pt x="1479" y="532"/>
                    <a:pt x="1479" y="532"/>
                    <a:pt x="1479" y="532"/>
                  </a:cubicBezTo>
                  <a:cubicBezTo>
                    <a:pt x="1479" y="532"/>
                    <a:pt x="1479" y="532"/>
                    <a:pt x="1479" y="532"/>
                  </a:cubicBezTo>
                  <a:cubicBezTo>
                    <a:pt x="1479" y="532"/>
                    <a:pt x="1479" y="532"/>
                    <a:pt x="1479" y="532"/>
                  </a:cubicBezTo>
                  <a:cubicBezTo>
                    <a:pt x="1479" y="532"/>
                    <a:pt x="1479" y="532"/>
                    <a:pt x="1479" y="532"/>
                  </a:cubicBezTo>
                  <a:cubicBezTo>
                    <a:pt x="1479" y="532"/>
                    <a:pt x="1479" y="532"/>
                    <a:pt x="1479" y="532"/>
                  </a:cubicBezTo>
                  <a:cubicBezTo>
                    <a:pt x="1479" y="533"/>
                    <a:pt x="1479" y="533"/>
                    <a:pt x="1479" y="533"/>
                  </a:cubicBezTo>
                  <a:cubicBezTo>
                    <a:pt x="1479" y="533"/>
                    <a:pt x="1479" y="533"/>
                    <a:pt x="1479" y="533"/>
                  </a:cubicBezTo>
                  <a:cubicBezTo>
                    <a:pt x="1479" y="534"/>
                    <a:pt x="1479" y="534"/>
                    <a:pt x="1479" y="534"/>
                  </a:cubicBezTo>
                  <a:cubicBezTo>
                    <a:pt x="1479" y="534"/>
                    <a:pt x="1479" y="534"/>
                    <a:pt x="1479" y="534"/>
                  </a:cubicBezTo>
                  <a:cubicBezTo>
                    <a:pt x="1480" y="534"/>
                    <a:pt x="1480" y="534"/>
                    <a:pt x="1480" y="534"/>
                  </a:cubicBezTo>
                  <a:cubicBezTo>
                    <a:pt x="1480" y="534"/>
                    <a:pt x="1480" y="534"/>
                    <a:pt x="1480" y="534"/>
                  </a:cubicBezTo>
                  <a:cubicBezTo>
                    <a:pt x="1481" y="535"/>
                    <a:pt x="1481" y="535"/>
                    <a:pt x="1481" y="535"/>
                  </a:cubicBezTo>
                  <a:cubicBezTo>
                    <a:pt x="1481" y="535"/>
                    <a:pt x="1481" y="535"/>
                    <a:pt x="1481" y="535"/>
                  </a:cubicBezTo>
                  <a:cubicBezTo>
                    <a:pt x="1481" y="535"/>
                    <a:pt x="1481" y="535"/>
                    <a:pt x="1481" y="536"/>
                  </a:cubicBezTo>
                  <a:cubicBezTo>
                    <a:pt x="1481" y="536"/>
                    <a:pt x="1481" y="536"/>
                    <a:pt x="1481" y="536"/>
                  </a:cubicBezTo>
                  <a:cubicBezTo>
                    <a:pt x="1481" y="536"/>
                    <a:pt x="1481" y="536"/>
                    <a:pt x="1481" y="536"/>
                  </a:cubicBezTo>
                  <a:cubicBezTo>
                    <a:pt x="1481" y="536"/>
                    <a:pt x="1481" y="536"/>
                    <a:pt x="1481" y="536"/>
                  </a:cubicBezTo>
                  <a:cubicBezTo>
                    <a:pt x="1482" y="536"/>
                    <a:pt x="1482" y="536"/>
                    <a:pt x="1482" y="536"/>
                  </a:cubicBezTo>
                  <a:cubicBezTo>
                    <a:pt x="1482" y="537"/>
                    <a:pt x="1482" y="537"/>
                    <a:pt x="1482" y="537"/>
                  </a:cubicBezTo>
                  <a:cubicBezTo>
                    <a:pt x="1482" y="538"/>
                    <a:pt x="1483" y="538"/>
                    <a:pt x="1483" y="539"/>
                  </a:cubicBezTo>
                  <a:cubicBezTo>
                    <a:pt x="1483" y="539"/>
                    <a:pt x="1483" y="539"/>
                    <a:pt x="1483" y="539"/>
                  </a:cubicBezTo>
                  <a:cubicBezTo>
                    <a:pt x="1483" y="539"/>
                    <a:pt x="1483" y="539"/>
                    <a:pt x="1483" y="539"/>
                  </a:cubicBezTo>
                  <a:cubicBezTo>
                    <a:pt x="1484" y="540"/>
                    <a:pt x="1485" y="541"/>
                    <a:pt x="1485" y="542"/>
                  </a:cubicBezTo>
                  <a:cubicBezTo>
                    <a:pt x="1485" y="542"/>
                    <a:pt x="1485" y="542"/>
                    <a:pt x="1485" y="542"/>
                  </a:cubicBezTo>
                  <a:cubicBezTo>
                    <a:pt x="1486" y="542"/>
                    <a:pt x="1486" y="542"/>
                    <a:pt x="1486" y="542"/>
                  </a:cubicBezTo>
                  <a:cubicBezTo>
                    <a:pt x="1486" y="542"/>
                    <a:pt x="1486" y="542"/>
                    <a:pt x="1486" y="542"/>
                  </a:cubicBezTo>
                  <a:cubicBezTo>
                    <a:pt x="1486" y="542"/>
                    <a:pt x="1486" y="542"/>
                    <a:pt x="1486" y="542"/>
                  </a:cubicBezTo>
                  <a:cubicBezTo>
                    <a:pt x="1486" y="543"/>
                    <a:pt x="1486" y="543"/>
                    <a:pt x="1486" y="543"/>
                  </a:cubicBezTo>
                  <a:cubicBezTo>
                    <a:pt x="1486" y="543"/>
                    <a:pt x="1486" y="543"/>
                    <a:pt x="1486" y="543"/>
                  </a:cubicBezTo>
                  <a:cubicBezTo>
                    <a:pt x="1487" y="545"/>
                    <a:pt x="1486" y="544"/>
                    <a:pt x="1487" y="546"/>
                  </a:cubicBezTo>
                  <a:cubicBezTo>
                    <a:pt x="1487" y="547"/>
                    <a:pt x="1487" y="547"/>
                    <a:pt x="1487" y="547"/>
                  </a:cubicBezTo>
                  <a:cubicBezTo>
                    <a:pt x="1487" y="547"/>
                    <a:pt x="1487" y="547"/>
                    <a:pt x="1487" y="547"/>
                  </a:cubicBezTo>
                  <a:cubicBezTo>
                    <a:pt x="1488" y="548"/>
                    <a:pt x="1488" y="548"/>
                    <a:pt x="1488" y="550"/>
                  </a:cubicBezTo>
                  <a:cubicBezTo>
                    <a:pt x="1488" y="550"/>
                    <a:pt x="1488" y="550"/>
                    <a:pt x="1488" y="550"/>
                  </a:cubicBezTo>
                  <a:cubicBezTo>
                    <a:pt x="1488" y="550"/>
                    <a:pt x="1488" y="550"/>
                    <a:pt x="1488" y="550"/>
                  </a:cubicBezTo>
                  <a:cubicBezTo>
                    <a:pt x="1488" y="550"/>
                    <a:pt x="1488" y="550"/>
                    <a:pt x="1488" y="550"/>
                  </a:cubicBezTo>
                  <a:cubicBezTo>
                    <a:pt x="1489" y="550"/>
                    <a:pt x="1489" y="550"/>
                    <a:pt x="1489" y="550"/>
                  </a:cubicBezTo>
                  <a:cubicBezTo>
                    <a:pt x="1489" y="550"/>
                    <a:pt x="1489" y="550"/>
                    <a:pt x="1489" y="550"/>
                  </a:cubicBezTo>
                  <a:cubicBezTo>
                    <a:pt x="1489" y="551"/>
                    <a:pt x="1489" y="550"/>
                    <a:pt x="1489" y="551"/>
                  </a:cubicBezTo>
                  <a:cubicBezTo>
                    <a:pt x="1489" y="551"/>
                    <a:pt x="1489" y="551"/>
                    <a:pt x="1489" y="551"/>
                  </a:cubicBezTo>
                  <a:cubicBezTo>
                    <a:pt x="1489" y="551"/>
                    <a:pt x="1489" y="551"/>
                    <a:pt x="1489" y="551"/>
                  </a:cubicBezTo>
                  <a:cubicBezTo>
                    <a:pt x="1489" y="552"/>
                    <a:pt x="1490" y="552"/>
                    <a:pt x="1490" y="553"/>
                  </a:cubicBezTo>
                  <a:cubicBezTo>
                    <a:pt x="1490" y="553"/>
                    <a:pt x="1490" y="553"/>
                    <a:pt x="1490" y="553"/>
                  </a:cubicBezTo>
                  <a:cubicBezTo>
                    <a:pt x="1490" y="553"/>
                    <a:pt x="1490" y="553"/>
                    <a:pt x="1490" y="553"/>
                  </a:cubicBezTo>
                  <a:cubicBezTo>
                    <a:pt x="1490" y="553"/>
                    <a:pt x="1490" y="553"/>
                    <a:pt x="1490" y="553"/>
                  </a:cubicBezTo>
                  <a:cubicBezTo>
                    <a:pt x="1490" y="553"/>
                    <a:pt x="1490" y="553"/>
                    <a:pt x="1490" y="553"/>
                  </a:cubicBezTo>
                  <a:cubicBezTo>
                    <a:pt x="1490" y="554"/>
                    <a:pt x="1491" y="554"/>
                    <a:pt x="1491" y="554"/>
                  </a:cubicBezTo>
                  <a:cubicBezTo>
                    <a:pt x="1491" y="555"/>
                    <a:pt x="1491" y="555"/>
                    <a:pt x="1491" y="555"/>
                  </a:cubicBezTo>
                  <a:cubicBezTo>
                    <a:pt x="1491" y="555"/>
                    <a:pt x="1491" y="555"/>
                    <a:pt x="1491" y="555"/>
                  </a:cubicBezTo>
                  <a:cubicBezTo>
                    <a:pt x="1491" y="555"/>
                    <a:pt x="1491" y="555"/>
                    <a:pt x="1491" y="556"/>
                  </a:cubicBezTo>
                  <a:cubicBezTo>
                    <a:pt x="1491" y="556"/>
                    <a:pt x="1491" y="556"/>
                    <a:pt x="1491" y="556"/>
                  </a:cubicBezTo>
                  <a:cubicBezTo>
                    <a:pt x="1491" y="556"/>
                    <a:pt x="1491" y="556"/>
                    <a:pt x="1491" y="556"/>
                  </a:cubicBezTo>
                  <a:cubicBezTo>
                    <a:pt x="1491" y="556"/>
                    <a:pt x="1491" y="556"/>
                    <a:pt x="1491" y="556"/>
                  </a:cubicBezTo>
                  <a:cubicBezTo>
                    <a:pt x="1491" y="556"/>
                    <a:pt x="1491" y="556"/>
                    <a:pt x="1491" y="556"/>
                  </a:cubicBezTo>
                  <a:cubicBezTo>
                    <a:pt x="1491" y="556"/>
                    <a:pt x="1491" y="556"/>
                    <a:pt x="1491" y="556"/>
                  </a:cubicBezTo>
                  <a:cubicBezTo>
                    <a:pt x="1491" y="557"/>
                    <a:pt x="1491" y="557"/>
                    <a:pt x="1491" y="557"/>
                  </a:cubicBezTo>
                  <a:cubicBezTo>
                    <a:pt x="1491" y="557"/>
                    <a:pt x="1491" y="557"/>
                    <a:pt x="1491" y="557"/>
                  </a:cubicBezTo>
                  <a:cubicBezTo>
                    <a:pt x="1492" y="557"/>
                    <a:pt x="1492" y="557"/>
                    <a:pt x="1492" y="557"/>
                  </a:cubicBezTo>
                  <a:cubicBezTo>
                    <a:pt x="1492" y="557"/>
                    <a:pt x="1492" y="557"/>
                    <a:pt x="1492" y="557"/>
                  </a:cubicBezTo>
                  <a:cubicBezTo>
                    <a:pt x="1492" y="557"/>
                    <a:pt x="1492" y="557"/>
                    <a:pt x="1492" y="557"/>
                  </a:cubicBezTo>
                  <a:cubicBezTo>
                    <a:pt x="1492" y="557"/>
                    <a:pt x="1492" y="557"/>
                    <a:pt x="1492" y="557"/>
                  </a:cubicBezTo>
                  <a:cubicBezTo>
                    <a:pt x="1492" y="559"/>
                    <a:pt x="1493" y="559"/>
                    <a:pt x="1492" y="560"/>
                  </a:cubicBezTo>
                  <a:cubicBezTo>
                    <a:pt x="1492" y="561"/>
                    <a:pt x="1492" y="561"/>
                    <a:pt x="1492" y="561"/>
                  </a:cubicBezTo>
                  <a:cubicBezTo>
                    <a:pt x="1492" y="561"/>
                    <a:pt x="1492" y="561"/>
                    <a:pt x="1492" y="561"/>
                  </a:cubicBezTo>
                  <a:cubicBezTo>
                    <a:pt x="1492" y="561"/>
                    <a:pt x="1492" y="561"/>
                    <a:pt x="1492" y="561"/>
                  </a:cubicBezTo>
                  <a:cubicBezTo>
                    <a:pt x="1492" y="561"/>
                    <a:pt x="1493" y="562"/>
                    <a:pt x="1493" y="562"/>
                  </a:cubicBezTo>
                  <a:cubicBezTo>
                    <a:pt x="1493" y="562"/>
                    <a:pt x="1493" y="562"/>
                    <a:pt x="1493" y="562"/>
                  </a:cubicBezTo>
                  <a:cubicBezTo>
                    <a:pt x="1493" y="562"/>
                    <a:pt x="1493" y="562"/>
                    <a:pt x="1493" y="562"/>
                  </a:cubicBezTo>
                  <a:cubicBezTo>
                    <a:pt x="1493" y="563"/>
                    <a:pt x="1493" y="564"/>
                    <a:pt x="1493" y="565"/>
                  </a:cubicBezTo>
                  <a:cubicBezTo>
                    <a:pt x="1492" y="565"/>
                    <a:pt x="1492" y="565"/>
                    <a:pt x="1492" y="565"/>
                  </a:cubicBezTo>
                  <a:cubicBezTo>
                    <a:pt x="1492" y="565"/>
                    <a:pt x="1492" y="565"/>
                    <a:pt x="1492" y="565"/>
                  </a:cubicBezTo>
                  <a:cubicBezTo>
                    <a:pt x="1492" y="566"/>
                    <a:pt x="1492" y="566"/>
                    <a:pt x="1492" y="566"/>
                  </a:cubicBezTo>
                  <a:cubicBezTo>
                    <a:pt x="1493" y="568"/>
                    <a:pt x="1493" y="570"/>
                    <a:pt x="1493" y="572"/>
                  </a:cubicBezTo>
                  <a:cubicBezTo>
                    <a:pt x="1493" y="572"/>
                    <a:pt x="1493" y="572"/>
                    <a:pt x="1493" y="572"/>
                  </a:cubicBezTo>
                  <a:cubicBezTo>
                    <a:pt x="1493" y="572"/>
                    <a:pt x="1493" y="572"/>
                    <a:pt x="1493" y="572"/>
                  </a:cubicBezTo>
                  <a:cubicBezTo>
                    <a:pt x="1493" y="572"/>
                    <a:pt x="1493" y="572"/>
                    <a:pt x="1493" y="572"/>
                  </a:cubicBezTo>
                  <a:cubicBezTo>
                    <a:pt x="1494" y="572"/>
                    <a:pt x="1494" y="572"/>
                    <a:pt x="1494" y="572"/>
                  </a:cubicBezTo>
                  <a:cubicBezTo>
                    <a:pt x="1494" y="575"/>
                    <a:pt x="1493" y="577"/>
                    <a:pt x="1493" y="580"/>
                  </a:cubicBezTo>
                  <a:cubicBezTo>
                    <a:pt x="1493" y="580"/>
                    <a:pt x="1493" y="580"/>
                    <a:pt x="1493" y="580"/>
                  </a:cubicBezTo>
                  <a:cubicBezTo>
                    <a:pt x="1493" y="580"/>
                    <a:pt x="1493" y="580"/>
                    <a:pt x="1493" y="580"/>
                  </a:cubicBezTo>
                  <a:cubicBezTo>
                    <a:pt x="1493" y="580"/>
                    <a:pt x="1493" y="580"/>
                    <a:pt x="1493" y="580"/>
                  </a:cubicBezTo>
                  <a:cubicBezTo>
                    <a:pt x="1493" y="582"/>
                    <a:pt x="1493" y="582"/>
                    <a:pt x="1493" y="584"/>
                  </a:cubicBezTo>
                  <a:cubicBezTo>
                    <a:pt x="1493" y="584"/>
                    <a:pt x="1493" y="584"/>
                    <a:pt x="1493" y="584"/>
                  </a:cubicBezTo>
                  <a:cubicBezTo>
                    <a:pt x="1493" y="584"/>
                    <a:pt x="1493" y="584"/>
                    <a:pt x="1493" y="584"/>
                  </a:cubicBezTo>
                  <a:cubicBezTo>
                    <a:pt x="1493" y="586"/>
                    <a:pt x="1493" y="587"/>
                    <a:pt x="1493" y="589"/>
                  </a:cubicBezTo>
                  <a:cubicBezTo>
                    <a:pt x="1493" y="589"/>
                    <a:pt x="1493" y="589"/>
                    <a:pt x="1493" y="589"/>
                  </a:cubicBezTo>
                  <a:cubicBezTo>
                    <a:pt x="1492" y="590"/>
                    <a:pt x="1492" y="590"/>
                    <a:pt x="1492" y="590"/>
                  </a:cubicBezTo>
                  <a:cubicBezTo>
                    <a:pt x="1491" y="593"/>
                    <a:pt x="1491" y="593"/>
                    <a:pt x="1491" y="593"/>
                  </a:cubicBezTo>
                  <a:cubicBezTo>
                    <a:pt x="1491" y="594"/>
                    <a:pt x="1491" y="594"/>
                    <a:pt x="1491" y="594"/>
                  </a:cubicBezTo>
                  <a:cubicBezTo>
                    <a:pt x="1491" y="595"/>
                    <a:pt x="1491" y="595"/>
                    <a:pt x="1491" y="595"/>
                  </a:cubicBezTo>
                  <a:cubicBezTo>
                    <a:pt x="1491" y="595"/>
                    <a:pt x="1491" y="595"/>
                    <a:pt x="1491" y="595"/>
                  </a:cubicBezTo>
                  <a:cubicBezTo>
                    <a:pt x="1491" y="595"/>
                    <a:pt x="1491" y="595"/>
                    <a:pt x="1491" y="595"/>
                  </a:cubicBezTo>
                  <a:cubicBezTo>
                    <a:pt x="1491" y="595"/>
                    <a:pt x="1491" y="595"/>
                    <a:pt x="1491" y="595"/>
                  </a:cubicBezTo>
                  <a:cubicBezTo>
                    <a:pt x="1491" y="595"/>
                    <a:pt x="1491" y="595"/>
                    <a:pt x="1491" y="595"/>
                  </a:cubicBezTo>
                  <a:cubicBezTo>
                    <a:pt x="1491" y="595"/>
                    <a:pt x="1490" y="596"/>
                    <a:pt x="1490" y="596"/>
                  </a:cubicBezTo>
                  <a:cubicBezTo>
                    <a:pt x="1490" y="596"/>
                    <a:pt x="1490" y="596"/>
                    <a:pt x="1490" y="596"/>
                  </a:cubicBezTo>
                  <a:cubicBezTo>
                    <a:pt x="1490" y="596"/>
                    <a:pt x="1490" y="596"/>
                    <a:pt x="1490" y="596"/>
                  </a:cubicBezTo>
                  <a:cubicBezTo>
                    <a:pt x="1490" y="597"/>
                    <a:pt x="1490" y="597"/>
                    <a:pt x="1490" y="598"/>
                  </a:cubicBezTo>
                  <a:cubicBezTo>
                    <a:pt x="1490" y="598"/>
                    <a:pt x="1490" y="598"/>
                    <a:pt x="1490" y="598"/>
                  </a:cubicBezTo>
                  <a:cubicBezTo>
                    <a:pt x="1489" y="598"/>
                    <a:pt x="1489" y="598"/>
                    <a:pt x="1489" y="598"/>
                  </a:cubicBezTo>
                  <a:cubicBezTo>
                    <a:pt x="1489" y="598"/>
                    <a:pt x="1489" y="598"/>
                    <a:pt x="1489" y="598"/>
                  </a:cubicBezTo>
                  <a:cubicBezTo>
                    <a:pt x="1489" y="598"/>
                    <a:pt x="1489" y="598"/>
                    <a:pt x="1489" y="598"/>
                  </a:cubicBezTo>
                  <a:cubicBezTo>
                    <a:pt x="1489" y="599"/>
                    <a:pt x="1488" y="599"/>
                    <a:pt x="1487" y="600"/>
                  </a:cubicBezTo>
                  <a:cubicBezTo>
                    <a:pt x="1486" y="600"/>
                    <a:pt x="1486" y="600"/>
                    <a:pt x="1486" y="600"/>
                  </a:cubicBezTo>
                  <a:cubicBezTo>
                    <a:pt x="1486" y="601"/>
                    <a:pt x="1486" y="601"/>
                    <a:pt x="1486" y="601"/>
                  </a:cubicBezTo>
                  <a:cubicBezTo>
                    <a:pt x="1486" y="601"/>
                    <a:pt x="1485" y="602"/>
                    <a:pt x="1485" y="602"/>
                  </a:cubicBezTo>
                  <a:cubicBezTo>
                    <a:pt x="1485" y="602"/>
                    <a:pt x="1485" y="602"/>
                    <a:pt x="1485" y="602"/>
                  </a:cubicBezTo>
                  <a:cubicBezTo>
                    <a:pt x="1484" y="602"/>
                    <a:pt x="1484" y="602"/>
                    <a:pt x="1484" y="602"/>
                  </a:cubicBezTo>
                  <a:cubicBezTo>
                    <a:pt x="1484" y="603"/>
                    <a:pt x="1484" y="603"/>
                    <a:pt x="1484" y="603"/>
                  </a:cubicBezTo>
                  <a:cubicBezTo>
                    <a:pt x="1484" y="603"/>
                    <a:pt x="1484" y="603"/>
                    <a:pt x="1484" y="603"/>
                  </a:cubicBezTo>
                  <a:cubicBezTo>
                    <a:pt x="1482" y="604"/>
                    <a:pt x="1481" y="607"/>
                    <a:pt x="1479" y="608"/>
                  </a:cubicBezTo>
                  <a:cubicBezTo>
                    <a:pt x="1478" y="609"/>
                    <a:pt x="1478" y="609"/>
                    <a:pt x="1478" y="609"/>
                  </a:cubicBezTo>
                  <a:cubicBezTo>
                    <a:pt x="1478" y="609"/>
                    <a:pt x="1478" y="609"/>
                    <a:pt x="1478" y="609"/>
                  </a:cubicBezTo>
                  <a:cubicBezTo>
                    <a:pt x="1478" y="609"/>
                    <a:pt x="1478" y="609"/>
                    <a:pt x="1478" y="609"/>
                  </a:cubicBezTo>
                  <a:cubicBezTo>
                    <a:pt x="1478" y="609"/>
                    <a:pt x="1478" y="609"/>
                    <a:pt x="1478" y="609"/>
                  </a:cubicBezTo>
                  <a:cubicBezTo>
                    <a:pt x="1478" y="609"/>
                    <a:pt x="1478" y="609"/>
                    <a:pt x="1478" y="609"/>
                  </a:cubicBezTo>
                  <a:cubicBezTo>
                    <a:pt x="1478" y="610"/>
                    <a:pt x="1481" y="607"/>
                    <a:pt x="1480" y="609"/>
                  </a:cubicBezTo>
                  <a:cubicBezTo>
                    <a:pt x="1480" y="609"/>
                    <a:pt x="1480" y="609"/>
                    <a:pt x="1480" y="609"/>
                  </a:cubicBezTo>
                  <a:cubicBezTo>
                    <a:pt x="1480" y="609"/>
                    <a:pt x="1480" y="609"/>
                    <a:pt x="1480" y="609"/>
                  </a:cubicBezTo>
                  <a:cubicBezTo>
                    <a:pt x="1479" y="610"/>
                    <a:pt x="1478" y="610"/>
                    <a:pt x="1478" y="611"/>
                  </a:cubicBezTo>
                  <a:cubicBezTo>
                    <a:pt x="1477" y="612"/>
                    <a:pt x="1477" y="612"/>
                    <a:pt x="1477" y="612"/>
                  </a:cubicBezTo>
                  <a:cubicBezTo>
                    <a:pt x="1477" y="612"/>
                    <a:pt x="1477" y="612"/>
                    <a:pt x="1477" y="612"/>
                  </a:cubicBezTo>
                  <a:cubicBezTo>
                    <a:pt x="1477" y="612"/>
                    <a:pt x="1477" y="612"/>
                    <a:pt x="1477" y="612"/>
                  </a:cubicBezTo>
                  <a:cubicBezTo>
                    <a:pt x="1477" y="612"/>
                    <a:pt x="1477" y="612"/>
                    <a:pt x="1477" y="612"/>
                  </a:cubicBezTo>
                  <a:cubicBezTo>
                    <a:pt x="1477" y="612"/>
                    <a:pt x="1477" y="612"/>
                    <a:pt x="1477" y="612"/>
                  </a:cubicBezTo>
                  <a:cubicBezTo>
                    <a:pt x="1476" y="613"/>
                    <a:pt x="1475" y="614"/>
                    <a:pt x="1474" y="615"/>
                  </a:cubicBezTo>
                  <a:cubicBezTo>
                    <a:pt x="1473" y="615"/>
                    <a:pt x="1473" y="615"/>
                    <a:pt x="1473" y="615"/>
                  </a:cubicBezTo>
                  <a:cubicBezTo>
                    <a:pt x="1473" y="615"/>
                    <a:pt x="1473" y="615"/>
                    <a:pt x="1473" y="615"/>
                  </a:cubicBezTo>
                  <a:cubicBezTo>
                    <a:pt x="1473" y="615"/>
                    <a:pt x="1472" y="616"/>
                    <a:pt x="1472" y="616"/>
                  </a:cubicBezTo>
                  <a:cubicBezTo>
                    <a:pt x="1472" y="616"/>
                    <a:pt x="1472" y="616"/>
                    <a:pt x="1472" y="616"/>
                  </a:cubicBezTo>
                  <a:cubicBezTo>
                    <a:pt x="1472" y="616"/>
                    <a:pt x="1472" y="616"/>
                    <a:pt x="1472" y="616"/>
                  </a:cubicBezTo>
                  <a:cubicBezTo>
                    <a:pt x="1472" y="616"/>
                    <a:pt x="1472" y="616"/>
                    <a:pt x="1472" y="616"/>
                  </a:cubicBezTo>
                  <a:cubicBezTo>
                    <a:pt x="1470" y="618"/>
                    <a:pt x="1465" y="621"/>
                    <a:pt x="1464" y="622"/>
                  </a:cubicBezTo>
                  <a:cubicBezTo>
                    <a:pt x="1464" y="622"/>
                    <a:pt x="1464" y="622"/>
                    <a:pt x="1464" y="622"/>
                  </a:cubicBezTo>
                  <a:cubicBezTo>
                    <a:pt x="1464" y="622"/>
                    <a:pt x="1464" y="622"/>
                    <a:pt x="1464" y="622"/>
                  </a:cubicBezTo>
                  <a:cubicBezTo>
                    <a:pt x="1464" y="622"/>
                    <a:pt x="1464" y="622"/>
                    <a:pt x="1464" y="622"/>
                  </a:cubicBezTo>
                  <a:cubicBezTo>
                    <a:pt x="1464" y="623"/>
                    <a:pt x="1464" y="623"/>
                    <a:pt x="1464" y="623"/>
                  </a:cubicBezTo>
                  <a:cubicBezTo>
                    <a:pt x="1464" y="623"/>
                    <a:pt x="1464" y="623"/>
                    <a:pt x="1464" y="623"/>
                  </a:cubicBezTo>
                  <a:cubicBezTo>
                    <a:pt x="1418" y="642"/>
                    <a:pt x="1418" y="642"/>
                    <a:pt x="1418" y="642"/>
                  </a:cubicBezTo>
                  <a:cubicBezTo>
                    <a:pt x="1420" y="642"/>
                    <a:pt x="1420" y="642"/>
                    <a:pt x="1420" y="642"/>
                  </a:cubicBezTo>
                  <a:cubicBezTo>
                    <a:pt x="1420" y="642"/>
                    <a:pt x="1420" y="642"/>
                    <a:pt x="1420" y="642"/>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2" y="643"/>
                    <a:pt x="1422" y="643"/>
                    <a:pt x="1422" y="643"/>
                  </a:cubicBezTo>
                  <a:cubicBezTo>
                    <a:pt x="1422" y="643"/>
                    <a:pt x="1422" y="643"/>
                    <a:pt x="1422" y="643"/>
                  </a:cubicBezTo>
                  <a:cubicBezTo>
                    <a:pt x="1422" y="643"/>
                    <a:pt x="1422" y="643"/>
                    <a:pt x="1422" y="643"/>
                  </a:cubicBezTo>
                  <a:cubicBezTo>
                    <a:pt x="1422" y="643"/>
                    <a:pt x="1422" y="643"/>
                    <a:pt x="1422" y="643"/>
                  </a:cubicBezTo>
                  <a:cubicBezTo>
                    <a:pt x="1422" y="643"/>
                    <a:pt x="1422" y="643"/>
                    <a:pt x="1422" y="643"/>
                  </a:cubicBezTo>
                  <a:cubicBezTo>
                    <a:pt x="1422" y="644"/>
                    <a:pt x="1422" y="644"/>
                    <a:pt x="1422" y="644"/>
                  </a:cubicBezTo>
                  <a:cubicBezTo>
                    <a:pt x="1422" y="644"/>
                    <a:pt x="1422" y="644"/>
                    <a:pt x="1422" y="644"/>
                  </a:cubicBezTo>
                  <a:cubicBezTo>
                    <a:pt x="1422" y="644"/>
                    <a:pt x="1422" y="644"/>
                    <a:pt x="1422" y="644"/>
                  </a:cubicBezTo>
                  <a:cubicBezTo>
                    <a:pt x="1422" y="644"/>
                    <a:pt x="1422" y="644"/>
                    <a:pt x="1422"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5"/>
                    <a:pt x="1423" y="645"/>
                    <a:pt x="1423" y="645"/>
                  </a:cubicBezTo>
                  <a:cubicBezTo>
                    <a:pt x="1424" y="645"/>
                    <a:pt x="1424" y="645"/>
                    <a:pt x="1424" y="645"/>
                  </a:cubicBezTo>
                  <a:cubicBezTo>
                    <a:pt x="1424" y="647"/>
                    <a:pt x="1424" y="647"/>
                    <a:pt x="1424" y="647"/>
                  </a:cubicBezTo>
                  <a:cubicBezTo>
                    <a:pt x="1424" y="648"/>
                    <a:pt x="1424" y="648"/>
                    <a:pt x="1424" y="648"/>
                  </a:cubicBezTo>
                  <a:cubicBezTo>
                    <a:pt x="1424" y="648"/>
                    <a:pt x="1424" y="648"/>
                    <a:pt x="1424" y="648"/>
                  </a:cubicBezTo>
                  <a:cubicBezTo>
                    <a:pt x="1425" y="649"/>
                    <a:pt x="1424" y="649"/>
                    <a:pt x="1425" y="650"/>
                  </a:cubicBezTo>
                  <a:cubicBezTo>
                    <a:pt x="1425" y="651"/>
                    <a:pt x="1425" y="651"/>
                    <a:pt x="1425" y="651"/>
                  </a:cubicBezTo>
                  <a:cubicBezTo>
                    <a:pt x="1426" y="653"/>
                    <a:pt x="1426" y="653"/>
                    <a:pt x="1426" y="653"/>
                  </a:cubicBezTo>
                  <a:cubicBezTo>
                    <a:pt x="1426" y="653"/>
                    <a:pt x="1426" y="653"/>
                    <a:pt x="1426" y="653"/>
                  </a:cubicBezTo>
                  <a:cubicBezTo>
                    <a:pt x="1426" y="654"/>
                    <a:pt x="1426" y="654"/>
                    <a:pt x="1426" y="654"/>
                  </a:cubicBezTo>
                  <a:cubicBezTo>
                    <a:pt x="1426" y="655"/>
                    <a:pt x="1426" y="655"/>
                    <a:pt x="1427" y="655"/>
                  </a:cubicBezTo>
                  <a:cubicBezTo>
                    <a:pt x="1427" y="655"/>
                    <a:pt x="1427" y="655"/>
                    <a:pt x="1427" y="655"/>
                  </a:cubicBezTo>
                  <a:cubicBezTo>
                    <a:pt x="1427" y="655"/>
                    <a:pt x="1427" y="655"/>
                    <a:pt x="1427" y="655"/>
                  </a:cubicBezTo>
                  <a:cubicBezTo>
                    <a:pt x="1429" y="655"/>
                    <a:pt x="1429" y="655"/>
                    <a:pt x="1429" y="656"/>
                  </a:cubicBezTo>
                  <a:cubicBezTo>
                    <a:pt x="1429" y="657"/>
                    <a:pt x="1429" y="657"/>
                    <a:pt x="1429" y="657"/>
                  </a:cubicBezTo>
                  <a:cubicBezTo>
                    <a:pt x="1429" y="658"/>
                    <a:pt x="1429" y="658"/>
                    <a:pt x="1429"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2" y="658"/>
                    <a:pt x="1432" y="658"/>
                    <a:pt x="1432" y="658"/>
                  </a:cubicBezTo>
                  <a:cubicBezTo>
                    <a:pt x="1432" y="658"/>
                    <a:pt x="1432" y="658"/>
                    <a:pt x="1432" y="658"/>
                  </a:cubicBezTo>
                  <a:cubicBezTo>
                    <a:pt x="1432" y="658"/>
                    <a:pt x="1433" y="658"/>
                    <a:pt x="1434" y="658"/>
                  </a:cubicBezTo>
                  <a:cubicBezTo>
                    <a:pt x="1434" y="658"/>
                    <a:pt x="1434" y="658"/>
                    <a:pt x="1434" y="658"/>
                  </a:cubicBezTo>
                  <a:cubicBezTo>
                    <a:pt x="1434" y="658"/>
                    <a:pt x="1434" y="658"/>
                    <a:pt x="1434" y="658"/>
                  </a:cubicBezTo>
                  <a:cubicBezTo>
                    <a:pt x="1434" y="658"/>
                    <a:pt x="1434" y="658"/>
                    <a:pt x="1434" y="658"/>
                  </a:cubicBezTo>
                  <a:cubicBezTo>
                    <a:pt x="1434" y="658"/>
                    <a:pt x="1434" y="658"/>
                    <a:pt x="1434" y="658"/>
                  </a:cubicBezTo>
                  <a:cubicBezTo>
                    <a:pt x="1432" y="659"/>
                    <a:pt x="1432" y="659"/>
                    <a:pt x="1432" y="659"/>
                  </a:cubicBezTo>
                  <a:cubicBezTo>
                    <a:pt x="1432" y="660"/>
                    <a:pt x="1432" y="660"/>
                    <a:pt x="1432" y="660"/>
                  </a:cubicBezTo>
                  <a:cubicBezTo>
                    <a:pt x="1431" y="660"/>
                    <a:pt x="1431" y="660"/>
                    <a:pt x="1431" y="660"/>
                  </a:cubicBezTo>
                  <a:cubicBezTo>
                    <a:pt x="1431" y="660"/>
                    <a:pt x="1431" y="660"/>
                    <a:pt x="1431" y="660"/>
                  </a:cubicBezTo>
                  <a:cubicBezTo>
                    <a:pt x="1431" y="661"/>
                    <a:pt x="1431" y="661"/>
                    <a:pt x="1431" y="661"/>
                  </a:cubicBezTo>
                  <a:cubicBezTo>
                    <a:pt x="1431" y="661"/>
                    <a:pt x="1431" y="661"/>
                    <a:pt x="1431" y="661"/>
                  </a:cubicBezTo>
                  <a:cubicBezTo>
                    <a:pt x="1430" y="661"/>
                    <a:pt x="1430" y="660"/>
                    <a:pt x="1430" y="660"/>
                  </a:cubicBezTo>
                  <a:cubicBezTo>
                    <a:pt x="1429" y="660"/>
                    <a:pt x="1429" y="660"/>
                    <a:pt x="1429" y="660"/>
                  </a:cubicBezTo>
                  <a:cubicBezTo>
                    <a:pt x="1429" y="660"/>
                    <a:pt x="1429" y="660"/>
                    <a:pt x="1429" y="660"/>
                  </a:cubicBezTo>
                  <a:cubicBezTo>
                    <a:pt x="1429" y="661"/>
                    <a:pt x="1429" y="661"/>
                    <a:pt x="1429" y="661"/>
                  </a:cubicBezTo>
                  <a:cubicBezTo>
                    <a:pt x="1430" y="661"/>
                    <a:pt x="1430" y="661"/>
                    <a:pt x="1430" y="661"/>
                  </a:cubicBezTo>
                  <a:cubicBezTo>
                    <a:pt x="1431" y="661"/>
                    <a:pt x="1431" y="661"/>
                    <a:pt x="1431" y="661"/>
                  </a:cubicBezTo>
                  <a:cubicBezTo>
                    <a:pt x="1431" y="661"/>
                    <a:pt x="1431" y="661"/>
                    <a:pt x="1431" y="661"/>
                  </a:cubicBezTo>
                  <a:cubicBezTo>
                    <a:pt x="1432" y="661"/>
                    <a:pt x="1432" y="661"/>
                    <a:pt x="1432" y="661"/>
                  </a:cubicBezTo>
                  <a:cubicBezTo>
                    <a:pt x="1432" y="661"/>
                    <a:pt x="1432" y="661"/>
                    <a:pt x="1432" y="661"/>
                  </a:cubicBezTo>
                  <a:cubicBezTo>
                    <a:pt x="1432" y="661"/>
                    <a:pt x="1432" y="661"/>
                    <a:pt x="1432" y="661"/>
                  </a:cubicBezTo>
                  <a:cubicBezTo>
                    <a:pt x="1432" y="661"/>
                    <a:pt x="1432" y="661"/>
                    <a:pt x="1432" y="661"/>
                  </a:cubicBezTo>
                  <a:cubicBezTo>
                    <a:pt x="1433" y="661"/>
                    <a:pt x="1433" y="661"/>
                    <a:pt x="1433" y="661"/>
                  </a:cubicBezTo>
                  <a:cubicBezTo>
                    <a:pt x="1433" y="661"/>
                    <a:pt x="1433" y="661"/>
                    <a:pt x="1433" y="661"/>
                  </a:cubicBezTo>
                  <a:cubicBezTo>
                    <a:pt x="1433" y="661"/>
                    <a:pt x="1433" y="661"/>
                    <a:pt x="1433" y="661"/>
                  </a:cubicBezTo>
                  <a:cubicBezTo>
                    <a:pt x="1433" y="661"/>
                    <a:pt x="1434" y="661"/>
                    <a:pt x="1434" y="662"/>
                  </a:cubicBezTo>
                  <a:cubicBezTo>
                    <a:pt x="1434" y="662"/>
                    <a:pt x="1434" y="662"/>
                    <a:pt x="1434" y="662"/>
                  </a:cubicBezTo>
                  <a:cubicBezTo>
                    <a:pt x="1434" y="662"/>
                    <a:pt x="1434" y="662"/>
                    <a:pt x="1434" y="662"/>
                  </a:cubicBezTo>
                  <a:cubicBezTo>
                    <a:pt x="1434" y="662"/>
                    <a:pt x="1434" y="662"/>
                    <a:pt x="1434" y="662"/>
                  </a:cubicBezTo>
                  <a:cubicBezTo>
                    <a:pt x="1434" y="662"/>
                    <a:pt x="1434" y="662"/>
                    <a:pt x="1434" y="662"/>
                  </a:cubicBezTo>
                  <a:cubicBezTo>
                    <a:pt x="1435" y="662"/>
                    <a:pt x="1435" y="662"/>
                    <a:pt x="1435" y="662"/>
                  </a:cubicBezTo>
                  <a:cubicBezTo>
                    <a:pt x="1435" y="662"/>
                    <a:pt x="1435" y="662"/>
                    <a:pt x="1435" y="662"/>
                  </a:cubicBezTo>
                  <a:cubicBezTo>
                    <a:pt x="1435" y="662"/>
                    <a:pt x="1435" y="662"/>
                    <a:pt x="1435" y="662"/>
                  </a:cubicBezTo>
                  <a:cubicBezTo>
                    <a:pt x="1435" y="663"/>
                    <a:pt x="1436" y="663"/>
                    <a:pt x="1436" y="663"/>
                  </a:cubicBezTo>
                  <a:cubicBezTo>
                    <a:pt x="1436" y="663"/>
                    <a:pt x="1436" y="663"/>
                    <a:pt x="1436" y="663"/>
                  </a:cubicBezTo>
                  <a:cubicBezTo>
                    <a:pt x="1436" y="663"/>
                    <a:pt x="1436" y="663"/>
                    <a:pt x="1436" y="663"/>
                  </a:cubicBezTo>
                  <a:cubicBezTo>
                    <a:pt x="1436" y="663"/>
                    <a:pt x="1436" y="663"/>
                    <a:pt x="1436" y="663"/>
                  </a:cubicBezTo>
                  <a:cubicBezTo>
                    <a:pt x="1436" y="663"/>
                    <a:pt x="1436" y="663"/>
                    <a:pt x="1436" y="663"/>
                  </a:cubicBezTo>
                  <a:cubicBezTo>
                    <a:pt x="1436" y="663"/>
                    <a:pt x="1436" y="663"/>
                    <a:pt x="1436" y="663"/>
                  </a:cubicBezTo>
                  <a:cubicBezTo>
                    <a:pt x="1435" y="663"/>
                    <a:pt x="1435" y="663"/>
                    <a:pt x="1435" y="663"/>
                  </a:cubicBezTo>
                  <a:cubicBezTo>
                    <a:pt x="1434" y="663"/>
                    <a:pt x="1434" y="663"/>
                    <a:pt x="1434" y="663"/>
                  </a:cubicBezTo>
                  <a:cubicBezTo>
                    <a:pt x="1434" y="663"/>
                    <a:pt x="1434" y="663"/>
                    <a:pt x="1434" y="663"/>
                  </a:cubicBezTo>
                  <a:cubicBezTo>
                    <a:pt x="1434" y="664"/>
                    <a:pt x="1434" y="664"/>
                    <a:pt x="1434" y="664"/>
                  </a:cubicBezTo>
                  <a:cubicBezTo>
                    <a:pt x="1434" y="664"/>
                    <a:pt x="1434" y="664"/>
                    <a:pt x="1434" y="664"/>
                  </a:cubicBezTo>
                  <a:cubicBezTo>
                    <a:pt x="1434" y="664"/>
                    <a:pt x="1434" y="664"/>
                    <a:pt x="1434" y="664"/>
                  </a:cubicBezTo>
                  <a:cubicBezTo>
                    <a:pt x="1433" y="664"/>
                    <a:pt x="1433" y="664"/>
                    <a:pt x="1433" y="664"/>
                  </a:cubicBezTo>
                  <a:cubicBezTo>
                    <a:pt x="1433" y="665"/>
                    <a:pt x="1433" y="665"/>
                    <a:pt x="1433" y="665"/>
                  </a:cubicBezTo>
                  <a:cubicBezTo>
                    <a:pt x="1433" y="665"/>
                    <a:pt x="1433" y="665"/>
                    <a:pt x="1433" y="665"/>
                  </a:cubicBezTo>
                  <a:cubicBezTo>
                    <a:pt x="1433" y="665"/>
                    <a:pt x="1433" y="665"/>
                    <a:pt x="1433" y="665"/>
                  </a:cubicBezTo>
                  <a:cubicBezTo>
                    <a:pt x="1433" y="665"/>
                    <a:pt x="1433" y="665"/>
                    <a:pt x="1433" y="665"/>
                  </a:cubicBezTo>
                  <a:cubicBezTo>
                    <a:pt x="1434" y="665"/>
                    <a:pt x="1435" y="665"/>
                    <a:pt x="1436" y="666"/>
                  </a:cubicBezTo>
                  <a:cubicBezTo>
                    <a:pt x="1436" y="666"/>
                    <a:pt x="1436" y="666"/>
                    <a:pt x="1436" y="666"/>
                  </a:cubicBezTo>
                  <a:cubicBezTo>
                    <a:pt x="1435" y="666"/>
                    <a:pt x="1435" y="666"/>
                    <a:pt x="1435" y="666"/>
                  </a:cubicBezTo>
                  <a:cubicBezTo>
                    <a:pt x="1435" y="666"/>
                    <a:pt x="1435" y="666"/>
                    <a:pt x="1435" y="666"/>
                  </a:cubicBezTo>
                  <a:cubicBezTo>
                    <a:pt x="1434" y="666"/>
                    <a:pt x="1434" y="666"/>
                    <a:pt x="1434" y="666"/>
                  </a:cubicBezTo>
                  <a:cubicBezTo>
                    <a:pt x="1434" y="667"/>
                    <a:pt x="1434" y="667"/>
                    <a:pt x="1434" y="667"/>
                  </a:cubicBezTo>
                  <a:cubicBezTo>
                    <a:pt x="1435" y="668"/>
                    <a:pt x="1435" y="668"/>
                    <a:pt x="1435" y="668"/>
                  </a:cubicBezTo>
                  <a:cubicBezTo>
                    <a:pt x="1436" y="668"/>
                    <a:pt x="1437" y="668"/>
                    <a:pt x="1438" y="669"/>
                  </a:cubicBezTo>
                  <a:cubicBezTo>
                    <a:pt x="1438" y="669"/>
                    <a:pt x="1438" y="669"/>
                    <a:pt x="1438" y="669"/>
                  </a:cubicBezTo>
                  <a:cubicBezTo>
                    <a:pt x="1438" y="669"/>
                    <a:pt x="1438" y="669"/>
                    <a:pt x="1438" y="669"/>
                  </a:cubicBezTo>
                  <a:cubicBezTo>
                    <a:pt x="1437" y="669"/>
                    <a:pt x="1437" y="669"/>
                    <a:pt x="1437" y="669"/>
                  </a:cubicBezTo>
                  <a:cubicBezTo>
                    <a:pt x="1436" y="669"/>
                    <a:pt x="1436" y="668"/>
                    <a:pt x="1435" y="669"/>
                  </a:cubicBezTo>
                  <a:cubicBezTo>
                    <a:pt x="1435" y="669"/>
                    <a:pt x="1435" y="669"/>
                    <a:pt x="1435" y="669"/>
                  </a:cubicBezTo>
                  <a:cubicBezTo>
                    <a:pt x="1434" y="669"/>
                    <a:pt x="1434" y="669"/>
                    <a:pt x="1434" y="669"/>
                  </a:cubicBezTo>
                  <a:cubicBezTo>
                    <a:pt x="1434" y="670"/>
                    <a:pt x="1434" y="671"/>
                    <a:pt x="1433" y="672"/>
                  </a:cubicBezTo>
                  <a:cubicBezTo>
                    <a:pt x="1433" y="672"/>
                    <a:pt x="1433" y="672"/>
                    <a:pt x="1433" y="672"/>
                  </a:cubicBezTo>
                  <a:cubicBezTo>
                    <a:pt x="1432" y="672"/>
                    <a:pt x="1432" y="672"/>
                    <a:pt x="1432" y="672"/>
                  </a:cubicBezTo>
                  <a:cubicBezTo>
                    <a:pt x="1433" y="673"/>
                    <a:pt x="1433" y="673"/>
                    <a:pt x="1433" y="673"/>
                  </a:cubicBezTo>
                  <a:cubicBezTo>
                    <a:pt x="1435" y="674"/>
                    <a:pt x="1436" y="672"/>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7" y="676"/>
                    <a:pt x="1437" y="676"/>
                    <a:pt x="1437" y="676"/>
                  </a:cubicBezTo>
                  <a:cubicBezTo>
                    <a:pt x="1437" y="676"/>
                    <a:pt x="1437" y="676"/>
                    <a:pt x="1437" y="676"/>
                  </a:cubicBezTo>
                  <a:cubicBezTo>
                    <a:pt x="1437" y="676"/>
                    <a:pt x="1437" y="676"/>
                    <a:pt x="1437" y="676"/>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6" y="677"/>
                    <a:pt x="1436" y="677"/>
                    <a:pt x="1436" y="677"/>
                  </a:cubicBezTo>
                  <a:cubicBezTo>
                    <a:pt x="1435" y="678"/>
                    <a:pt x="1435" y="678"/>
                    <a:pt x="1435" y="678"/>
                  </a:cubicBezTo>
                  <a:cubicBezTo>
                    <a:pt x="1435" y="678"/>
                    <a:pt x="1435" y="678"/>
                    <a:pt x="1435" y="678"/>
                  </a:cubicBezTo>
                  <a:cubicBezTo>
                    <a:pt x="1435" y="678"/>
                    <a:pt x="1435" y="678"/>
                    <a:pt x="1435" y="678"/>
                  </a:cubicBezTo>
                  <a:cubicBezTo>
                    <a:pt x="1434" y="678"/>
                    <a:pt x="1434" y="678"/>
                    <a:pt x="1434" y="678"/>
                  </a:cubicBezTo>
                  <a:cubicBezTo>
                    <a:pt x="1434" y="678"/>
                    <a:pt x="1434" y="678"/>
                    <a:pt x="1434" y="678"/>
                  </a:cubicBezTo>
                  <a:cubicBezTo>
                    <a:pt x="1434" y="678"/>
                    <a:pt x="1434" y="678"/>
                    <a:pt x="1434" y="678"/>
                  </a:cubicBezTo>
                  <a:cubicBezTo>
                    <a:pt x="1434" y="678"/>
                    <a:pt x="1434" y="678"/>
                    <a:pt x="1434" y="678"/>
                  </a:cubicBezTo>
                  <a:cubicBezTo>
                    <a:pt x="1434" y="679"/>
                    <a:pt x="1434" y="679"/>
                    <a:pt x="1434" y="679"/>
                  </a:cubicBezTo>
                  <a:cubicBezTo>
                    <a:pt x="1434" y="679"/>
                    <a:pt x="1434" y="679"/>
                    <a:pt x="1434" y="679"/>
                  </a:cubicBezTo>
                  <a:cubicBezTo>
                    <a:pt x="1433" y="679"/>
                    <a:pt x="1433" y="679"/>
                    <a:pt x="1433" y="679"/>
                  </a:cubicBezTo>
                  <a:cubicBezTo>
                    <a:pt x="1433" y="679"/>
                    <a:pt x="1433" y="679"/>
                    <a:pt x="1433" y="679"/>
                  </a:cubicBezTo>
                  <a:cubicBezTo>
                    <a:pt x="1433" y="679"/>
                    <a:pt x="1433" y="679"/>
                    <a:pt x="1433" y="679"/>
                  </a:cubicBezTo>
                  <a:cubicBezTo>
                    <a:pt x="1434" y="680"/>
                    <a:pt x="1434" y="680"/>
                    <a:pt x="1434" y="680"/>
                  </a:cubicBezTo>
                  <a:cubicBezTo>
                    <a:pt x="1435" y="680"/>
                    <a:pt x="1435" y="680"/>
                    <a:pt x="1435" y="680"/>
                  </a:cubicBezTo>
                  <a:cubicBezTo>
                    <a:pt x="1436" y="681"/>
                    <a:pt x="1436" y="681"/>
                    <a:pt x="1436" y="682"/>
                  </a:cubicBezTo>
                  <a:cubicBezTo>
                    <a:pt x="1437" y="682"/>
                    <a:pt x="1437" y="682"/>
                    <a:pt x="1437" y="682"/>
                  </a:cubicBezTo>
                  <a:cubicBezTo>
                    <a:pt x="1437" y="682"/>
                    <a:pt x="1437" y="682"/>
                    <a:pt x="1437" y="682"/>
                  </a:cubicBezTo>
                  <a:cubicBezTo>
                    <a:pt x="1437" y="683"/>
                    <a:pt x="1437" y="685"/>
                    <a:pt x="1437" y="686"/>
                  </a:cubicBezTo>
                  <a:cubicBezTo>
                    <a:pt x="1437" y="686"/>
                    <a:pt x="1437" y="686"/>
                    <a:pt x="1437" y="686"/>
                  </a:cubicBezTo>
                  <a:cubicBezTo>
                    <a:pt x="1438" y="686"/>
                    <a:pt x="1438" y="686"/>
                    <a:pt x="1438" y="686"/>
                  </a:cubicBezTo>
                  <a:cubicBezTo>
                    <a:pt x="1438" y="687"/>
                    <a:pt x="1438" y="687"/>
                    <a:pt x="1438" y="687"/>
                  </a:cubicBezTo>
                  <a:cubicBezTo>
                    <a:pt x="1438" y="687"/>
                    <a:pt x="1438" y="687"/>
                    <a:pt x="1438" y="687"/>
                  </a:cubicBezTo>
                  <a:cubicBezTo>
                    <a:pt x="1439" y="687"/>
                    <a:pt x="1437" y="695"/>
                    <a:pt x="1438" y="695"/>
                  </a:cubicBezTo>
                  <a:cubicBezTo>
                    <a:pt x="1438" y="695"/>
                    <a:pt x="1438" y="695"/>
                    <a:pt x="1438" y="695"/>
                  </a:cubicBezTo>
                  <a:cubicBezTo>
                    <a:pt x="1438" y="695"/>
                    <a:pt x="1438" y="695"/>
                    <a:pt x="1438" y="695"/>
                  </a:cubicBezTo>
                  <a:cubicBezTo>
                    <a:pt x="1438" y="695"/>
                    <a:pt x="1438" y="695"/>
                    <a:pt x="1438"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40" y="696"/>
                    <a:pt x="1440" y="696"/>
                    <a:pt x="1440" y="696"/>
                  </a:cubicBezTo>
                  <a:cubicBezTo>
                    <a:pt x="1440" y="696"/>
                    <a:pt x="1440" y="696"/>
                    <a:pt x="1440" y="696"/>
                  </a:cubicBezTo>
                  <a:cubicBezTo>
                    <a:pt x="1440" y="696"/>
                    <a:pt x="1440" y="696"/>
                    <a:pt x="1440" y="696"/>
                  </a:cubicBezTo>
                  <a:cubicBezTo>
                    <a:pt x="1440" y="696"/>
                    <a:pt x="1440" y="696"/>
                    <a:pt x="1440" y="696"/>
                  </a:cubicBezTo>
                  <a:cubicBezTo>
                    <a:pt x="1441" y="696"/>
                    <a:pt x="1441" y="696"/>
                    <a:pt x="1441" y="696"/>
                  </a:cubicBezTo>
                  <a:cubicBezTo>
                    <a:pt x="1441" y="697"/>
                    <a:pt x="1441" y="697"/>
                    <a:pt x="1441" y="697"/>
                  </a:cubicBezTo>
                  <a:cubicBezTo>
                    <a:pt x="1441" y="698"/>
                    <a:pt x="1441" y="698"/>
                    <a:pt x="1441" y="698"/>
                  </a:cubicBezTo>
                  <a:cubicBezTo>
                    <a:pt x="1441" y="699"/>
                    <a:pt x="1441" y="699"/>
                    <a:pt x="1441" y="699"/>
                  </a:cubicBezTo>
                  <a:cubicBezTo>
                    <a:pt x="1441" y="699"/>
                    <a:pt x="1441" y="699"/>
                    <a:pt x="1441" y="699"/>
                  </a:cubicBezTo>
                  <a:cubicBezTo>
                    <a:pt x="1442" y="699"/>
                    <a:pt x="1442" y="699"/>
                    <a:pt x="1442" y="699"/>
                  </a:cubicBezTo>
                  <a:cubicBezTo>
                    <a:pt x="1442" y="699"/>
                    <a:pt x="1442" y="699"/>
                    <a:pt x="1442" y="699"/>
                  </a:cubicBezTo>
                  <a:cubicBezTo>
                    <a:pt x="1443" y="699"/>
                    <a:pt x="1443" y="699"/>
                    <a:pt x="1443" y="699"/>
                  </a:cubicBezTo>
                  <a:cubicBezTo>
                    <a:pt x="1443" y="699"/>
                    <a:pt x="1443" y="699"/>
                    <a:pt x="1443" y="699"/>
                  </a:cubicBezTo>
                  <a:cubicBezTo>
                    <a:pt x="1443" y="701"/>
                    <a:pt x="1443" y="701"/>
                    <a:pt x="1443" y="701"/>
                  </a:cubicBezTo>
                  <a:cubicBezTo>
                    <a:pt x="1442" y="705"/>
                    <a:pt x="1442" y="705"/>
                    <a:pt x="1442" y="705"/>
                  </a:cubicBezTo>
                  <a:cubicBezTo>
                    <a:pt x="1442" y="706"/>
                    <a:pt x="1442" y="706"/>
                    <a:pt x="1442" y="706"/>
                  </a:cubicBezTo>
                  <a:cubicBezTo>
                    <a:pt x="1442" y="707"/>
                    <a:pt x="1442" y="707"/>
                    <a:pt x="1442" y="707"/>
                  </a:cubicBezTo>
                  <a:cubicBezTo>
                    <a:pt x="1442" y="707"/>
                    <a:pt x="1442" y="707"/>
                    <a:pt x="1442" y="707"/>
                  </a:cubicBezTo>
                  <a:cubicBezTo>
                    <a:pt x="1442" y="707"/>
                    <a:pt x="1442" y="707"/>
                    <a:pt x="1442" y="707"/>
                  </a:cubicBezTo>
                  <a:cubicBezTo>
                    <a:pt x="1443" y="707"/>
                    <a:pt x="1443" y="707"/>
                    <a:pt x="1443" y="707"/>
                  </a:cubicBezTo>
                  <a:cubicBezTo>
                    <a:pt x="1443" y="708"/>
                    <a:pt x="1443" y="708"/>
                    <a:pt x="1443" y="708"/>
                  </a:cubicBezTo>
                  <a:cubicBezTo>
                    <a:pt x="1443" y="708"/>
                    <a:pt x="1443" y="708"/>
                    <a:pt x="1443" y="708"/>
                  </a:cubicBezTo>
                  <a:cubicBezTo>
                    <a:pt x="1442" y="709"/>
                    <a:pt x="1442" y="709"/>
                    <a:pt x="1442" y="709"/>
                  </a:cubicBezTo>
                  <a:cubicBezTo>
                    <a:pt x="1442" y="709"/>
                    <a:pt x="1442" y="709"/>
                    <a:pt x="1442" y="709"/>
                  </a:cubicBezTo>
                  <a:cubicBezTo>
                    <a:pt x="1442" y="709"/>
                    <a:pt x="1442" y="709"/>
                    <a:pt x="1442" y="709"/>
                  </a:cubicBezTo>
                  <a:cubicBezTo>
                    <a:pt x="1442" y="709"/>
                    <a:pt x="1442" y="709"/>
                    <a:pt x="1442"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4" y="709"/>
                    <a:pt x="1444" y="709"/>
                    <a:pt x="1444" y="709"/>
                  </a:cubicBezTo>
                  <a:cubicBezTo>
                    <a:pt x="1444" y="709"/>
                    <a:pt x="1444" y="709"/>
                    <a:pt x="1444" y="709"/>
                  </a:cubicBezTo>
                  <a:cubicBezTo>
                    <a:pt x="1444" y="710"/>
                    <a:pt x="1444" y="710"/>
                    <a:pt x="1444" y="710"/>
                  </a:cubicBezTo>
                  <a:cubicBezTo>
                    <a:pt x="1444" y="710"/>
                    <a:pt x="1444" y="710"/>
                    <a:pt x="1444" y="710"/>
                  </a:cubicBezTo>
                  <a:cubicBezTo>
                    <a:pt x="1444" y="710"/>
                    <a:pt x="1444" y="710"/>
                    <a:pt x="1444" y="710"/>
                  </a:cubicBezTo>
                  <a:cubicBezTo>
                    <a:pt x="1444" y="710"/>
                    <a:pt x="1444" y="710"/>
                    <a:pt x="1444" y="710"/>
                  </a:cubicBezTo>
                  <a:cubicBezTo>
                    <a:pt x="1445" y="710"/>
                    <a:pt x="1445" y="710"/>
                    <a:pt x="1445" y="710"/>
                  </a:cubicBezTo>
                  <a:cubicBezTo>
                    <a:pt x="1445" y="709"/>
                    <a:pt x="1446" y="709"/>
                    <a:pt x="1446" y="710"/>
                  </a:cubicBezTo>
                  <a:cubicBezTo>
                    <a:pt x="1446" y="710"/>
                    <a:pt x="1446" y="710"/>
                    <a:pt x="1446" y="710"/>
                  </a:cubicBezTo>
                  <a:cubicBezTo>
                    <a:pt x="1446" y="710"/>
                    <a:pt x="1446" y="710"/>
                    <a:pt x="1446" y="710"/>
                  </a:cubicBezTo>
                  <a:cubicBezTo>
                    <a:pt x="1446" y="710"/>
                    <a:pt x="1446" y="710"/>
                    <a:pt x="1446" y="710"/>
                  </a:cubicBezTo>
                  <a:cubicBezTo>
                    <a:pt x="1446" y="711"/>
                    <a:pt x="1446" y="711"/>
                    <a:pt x="1446" y="711"/>
                  </a:cubicBezTo>
                  <a:cubicBezTo>
                    <a:pt x="1446" y="711"/>
                    <a:pt x="1446" y="711"/>
                    <a:pt x="1446" y="711"/>
                  </a:cubicBezTo>
                  <a:cubicBezTo>
                    <a:pt x="1447" y="711"/>
                    <a:pt x="1447" y="711"/>
                    <a:pt x="1447" y="711"/>
                  </a:cubicBezTo>
                  <a:cubicBezTo>
                    <a:pt x="1447" y="711"/>
                    <a:pt x="1447" y="711"/>
                    <a:pt x="1447" y="711"/>
                  </a:cubicBezTo>
                  <a:cubicBezTo>
                    <a:pt x="1447" y="711"/>
                    <a:pt x="1447" y="711"/>
                    <a:pt x="1447" y="711"/>
                  </a:cubicBezTo>
                  <a:cubicBezTo>
                    <a:pt x="1447" y="712"/>
                    <a:pt x="1447" y="712"/>
                    <a:pt x="1447" y="712"/>
                  </a:cubicBezTo>
                  <a:cubicBezTo>
                    <a:pt x="1447" y="712"/>
                    <a:pt x="1447" y="712"/>
                    <a:pt x="1447" y="712"/>
                  </a:cubicBezTo>
                  <a:cubicBezTo>
                    <a:pt x="1447" y="713"/>
                    <a:pt x="1447" y="713"/>
                    <a:pt x="1447" y="713"/>
                  </a:cubicBezTo>
                  <a:cubicBezTo>
                    <a:pt x="1447" y="714"/>
                    <a:pt x="1447" y="714"/>
                    <a:pt x="1447" y="714"/>
                  </a:cubicBezTo>
                  <a:cubicBezTo>
                    <a:pt x="1447" y="715"/>
                    <a:pt x="1447" y="715"/>
                    <a:pt x="1447" y="715"/>
                  </a:cubicBezTo>
                  <a:cubicBezTo>
                    <a:pt x="1447" y="716"/>
                    <a:pt x="1447" y="716"/>
                    <a:pt x="1447" y="716"/>
                  </a:cubicBezTo>
                  <a:cubicBezTo>
                    <a:pt x="1448" y="717"/>
                    <a:pt x="1448" y="717"/>
                    <a:pt x="1448" y="717"/>
                  </a:cubicBezTo>
                  <a:cubicBezTo>
                    <a:pt x="1448" y="718"/>
                    <a:pt x="1448" y="717"/>
                    <a:pt x="1449" y="718"/>
                  </a:cubicBezTo>
                  <a:cubicBezTo>
                    <a:pt x="1449" y="718"/>
                    <a:pt x="1449" y="718"/>
                    <a:pt x="1449" y="718"/>
                  </a:cubicBezTo>
                  <a:cubicBezTo>
                    <a:pt x="1449" y="719"/>
                    <a:pt x="1449" y="719"/>
                    <a:pt x="1449" y="719"/>
                  </a:cubicBezTo>
                  <a:cubicBezTo>
                    <a:pt x="1449" y="719"/>
                    <a:pt x="1449" y="719"/>
                    <a:pt x="1449" y="719"/>
                  </a:cubicBezTo>
                  <a:cubicBezTo>
                    <a:pt x="1448" y="720"/>
                    <a:pt x="1448" y="720"/>
                    <a:pt x="1448" y="720"/>
                  </a:cubicBezTo>
                  <a:cubicBezTo>
                    <a:pt x="1446" y="723"/>
                    <a:pt x="1446" y="723"/>
                    <a:pt x="1446" y="723"/>
                  </a:cubicBezTo>
                  <a:cubicBezTo>
                    <a:pt x="1440" y="731"/>
                    <a:pt x="1440" y="731"/>
                    <a:pt x="1440" y="731"/>
                  </a:cubicBezTo>
                  <a:cubicBezTo>
                    <a:pt x="1437" y="733"/>
                    <a:pt x="1437" y="733"/>
                    <a:pt x="1437" y="733"/>
                  </a:cubicBezTo>
                  <a:cubicBezTo>
                    <a:pt x="1436" y="735"/>
                    <a:pt x="1436" y="735"/>
                    <a:pt x="1436" y="735"/>
                  </a:cubicBezTo>
                  <a:cubicBezTo>
                    <a:pt x="1436" y="735"/>
                    <a:pt x="1436" y="735"/>
                    <a:pt x="1436" y="735"/>
                  </a:cubicBezTo>
                  <a:cubicBezTo>
                    <a:pt x="1437" y="735"/>
                    <a:pt x="1437" y="735"/>
                    <a:pt x="1437" y="735"/>
                  </a:cubicBezTo>
                  <a:cubicBezTo>
                    <a:pt x="1438" y="736"/>
                    <a:pt x="1436" y="737"/>
                    <a:pt x="1438" y="737"/>
                  </a:cubicBezTo>
                  <a:cubicBezTo>
                    <a:pt x="1437" y="738"/>
                    <a:pt x="1438" y="738"/>
                    <a:pt x="1439" y="739"/>
                  </a:cubicBezTo>
                  <a:cubicBezTo>
                    <a:pt x="1439" y="739"/>
                    <a:pt x="1439" y="739"/>
                    <a:pt x="1439" y="739"/>
                  </a:cubicBezTo>
                  <a:cubicBezTo>
                    <a:pt x="1439" y="739"/>
                    <a:pt x="1439" y="739"/>
                    <a:pt x="1439" y="739"/>
                  </a:cubicBezTo>
                  <a:cubicBezTo>
                    <a:pt x="1439" y="739"/>
                    <a:pt x="1439" y="739"/>
                    <a:pt x="1439" y="739"/>
                  </a:cubicBezTo>
                  <a:cubicBezTo>
                    <a:pt x="1439" y="739"/>
                    <a:pt x="1439" y="739"/>
                    <a:pt x="1439" y="739"/>
                  </a:cubicBezTo>
                  <a:cubicBezTo>
                    <a:pt x="1439" y="738"/>
                    <a:pt x="1439" y="738"/>
                    <a:pt x="1439" y="738"/>
                  </a:cubicBezTo>
                  <a:cubicBezTo>
                    <a:pt x="1438" y="737"/>
                    <a:pt x="1438" y="737"/>
                    <a:pt x="1438" y="737"/>
                  </a:cubicBezTo>
                  <a:cubicBezTo>
                    <a:pt x="1438" y="737"/>
                    <a:pt x="1438" y="737"/>
                    <a:pt x="1438" y="737"/>
                  </a:cubicBezTo>
                  <a:cubicBezTo>
                    <a:pt x="1439" y="737"/>
                    <a:pt x="1439" y="738"/>
                    <a:pt x="1440" y="738"/>
                  </a:cubicBezTo>
                  <a:cubicBezTo>
                    <a:pt x="1440" y="738"/>
                    <a:pt x="1440" y="738"/>
                    <a:pt x="1440" y="738"/>
                  </a:cubicBezTo>
                  <a:cubicBezTo>
                    <a:pt x="1440" y="739"/>
                    <a:pt x="1440" y="739"/>
                    <a:pt x="1440" y="739"/>
                  </a:cubicBezTo>
                  <a:cubicBezTo>
                    <a:pt x="1440" y="739"/>
                    <a:pt x="1440" y="739"/>
                    <a:pt x="1440" y="739"/>
                  </a:cubicBezTo>
                  <a:cubicBezTo>
                    <a:pt x="1440" y="739"/>
                    <a:pt x="1440" y="739"/>
                    <a:pt x="1440" y="739"/>
                  </a:cubicBezTo>
                  <a:cubicBezTo>
                    <a:pt x="1440" y="740"/>
                    <a:pt x="1439" y="741"/>
                    <a:pt x="1440" y="742"/>
                  </a:cubicBezTo>
                  <a:cubicBezTo>
                    <a:pt x="1440" y="742"/>
                    <a:pt x="1440" y="742"/>
                    <a:pt x="1440" y="742"/>
                  </a:cubicBezTo>
                  <a:cubicBezTo>
                    <a:pt x="1441" y="742"/>
                    <a:pt x="1441" y="742"/>
                    <a:pt x="1441" y="742"/>
                  </a:cubicBezTo>
                  <a:cubicBezTo>
                    <a:pt x="1441" y="742"/>
                    <a:pt x="1442" y="741"/>
                    <a:pt x="1443" y="742"/>
                  </a:cubicBezTo>
                  <a:cubicBezTo>
                    <a:pt x="1443" y="742"/>
                    <a:pt x="1443" y="742"/>
                    <a:pt x="1443" y="742"/>
                  </a:cubicBezTo>
                  <a:cubicBezTo>
                    <a:pt x="1443" y="742"/>
                    <a:pt x="1443" y="742"/>
                    <a:pt x="1443" y="742"/>
                  </a:cubicBezTo>
                  <a:cubicBezTo>
                    <a:pt x="1442" y="742"/>
                    <a:pt x="1442" y="742"/>
                    <a:pt x="1442" y="742"/>
                  </a:cubicBezTo>
                  <a:cubicBezTo>
                    <a:pt x="1442" y="743"/>
                    <a:pt x="1442" y="743"/>
                    <a:pt x="1442" y="743"/>
                  </a:cubicBezTo>
                  <a:cubicBezTo>
                    <a:pt x="1440" y="745"/>
                    <a:pt x="1440" y="745"/>
                    <a:pt x="1440" y="745"/>
                  </a:cubicBezTo>
                  <a:cubicBezTo>
                    <a:pt x="1439" y="745"/>
                    <a:pt x="1439" y="745"/>
                    <a:pt x="1439" y="745"/>
                  </a:cubicBezTo>
                  <a:cubicBezTo>
                    <a:pt x="1439" y="746"/>
                    <a:pt x="1439" y="746"/>
                    <a:pt x="1439" y="746"/>
                  </a:cubicBezTo>
                  <a:cubicBezTo>
                    <a:pt x="1439" y="746"/>
                    <a:pt x="1439" y="746"/>
                    <a:pt x="1439" y="746"/>
                  </a:cubicBezTo>
                  <a:cubicBezTo>
                    <a:pt x="1439" y="746"/>
                    <a:pt x="1439" y="746"/>
                    <a:pt x="1439" y="746"/>
                  </a:cubicBezTo>
                  <a:cubicBezTo>
                    <a:pt x="1439" y="746"/>
                    <a:pt x="1439" y="746"/>
                    <a:pt x="1439" y="746"/>
                  </a:cubicBezTo>
                  <a:cubicBezTo>
                    <a:pt x="1439" y="746"/>
                    <a:pt x="1439" y="746"/>
                    <a:pt x="1439" y="746"/>
                  </a:cubicBezTo>
                  <a:cubicBezTo>
                    <a:pt x="1440" y="746"/>
                    <a:pt x="1440" y="746"/>
                    <a:pt x="1440" y="746"/>
                  </a:cubicBezTo>
                  <a:cubicBezTo>
                    <a:pt x="1439" y="746"/>
                    <a:pt x="1439" y="746"/>
                    <a:pt x="1439" y="746"/>
                  </a:cubicBezTo>
                  <a:cubicBezTo>
                    <a:pt x="1439" y="747"/>
                    <a:pt x="1439" y="747"/>
                    <a:pt x="1439" y="747"/>
                  </a:cubicBezTo>
                  <a:cubicBezTo>
                    <a:pt x="1438" y="748"/>
                    <a:pt x="1438" y="748"/>
                    <a:pt x="1438" y="748"/>
                  </a:cubicBezTo>
                  <a:cubicBezTo>
                    <a:pt x="1438" y="748"/>
                    <a:pt x="1438" y="748"/>
                    <a:pt x="1438" y="748"/>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7" y="748"/>
                    <a:pt x="1437" y="747"/>
                    <a:pt x="1437" y="747"/>
                  </a:cubicBezTo>
                  <a:cubicBezTo>
                    <a:pt x="1437" y="746"/>
                    <a:pt x="1437" y="746"/>
                    <a:pt x="1437" y="746"/>
                  </a:cubicBezTo>
                  <a:cubicBezTo>
                    <a:pt x="1437" y="746"/>
                    <a:pt x="1437" y="746"/>
                    <a:pt x="1437" y="746"/>
                  </a:cubicBezTo>
                  <a:cubicBezTo>
                    <a:pt x="1436" y="746"/>
                    <a:pt x="1436" y="746"/>
                    <a:pt x="1436" y="745"/>
                  </a:cubicBezTo>
                  <a:cubicBezTo>
                    <a:pt x="1436" y="745"/>
                    <a:pt x="1436" y="745"/>
                    <a:pt x="1436" y="745"/>
                  </a:cubicBezTo>
                  <a:cubicBezTo>
                    <a:pt x="1436" y="745"/>
                    <a:pt x="1436" y="745"/>
                    <a:pt x="1436" y="745"/>
                  </a:cubicBezTo>
                  <a:cubicBezTo>
                    <a:pt x="1436" y="745"/>
                    <a:pt x="1436" y="745"/>
                    <a:pt x="1436" y="745"/>
                  </a:cubicBezTo>
                  <a:cubicBezTo>
                    <a:pt x="1436" y="745"/>
                    <a:pt x="1436" y="745"/>
                    <a:pt x="1436" y="745"/>
                  </a:cubicBezTo>
                  <a:cubicBezTo>
                    <a:pt x="1436" y="745"/>
                    <a:pt x="1436" y="745"/>
                    <a:pt x="1436" y="745"/>
                  </a:cubicBezTo>
                  <a:cubicBezTo>
                    <a:pt x="1435" y="744"/>
                    <a:pt x="1436" y="743"/>
                    <a:pt x="1435" y="742"/>
                  </a:cubicBezTo>
                  <a:cubicBezTo>
                    <a:pt x="1435" y="742"/>
                    <a:pt x="1435" y="742"/>
                    <a:pt x="1435" y="742"/>
                  </a:cubicBezTo>
                  <a:cubicBezTo>
                    <a:pt x="1435" y="742"/>
                    <a:pt x="1435" y="742"/>
                    <a:pt x="1435" y="742"/>
                  </a:cubicBezTo>
                  <a:cubicBezTo>
                    <a:pt x="1434" y="742"/>
                    <a:pt x="1433" y="741"/>
                    <a:pt x="1432" y="740"/>
                  </a:cubicBezTo>
                  <a:cubicBezTo>
                    <a:pt x="1431" y="739"/>
                    <a:pt x="1431" y="739"/>
                    <a:pt x="1431" y="739"/>
                  </a:cubicBezTo>
                  <a:cubicBezTo>
                    <a:pt x="1430" y="739"/>
                    <a:pt x="1430" y="739"/>
                    <a:pt x="1430" y="739"/>
                  </a:cubicBezTo>
                  <a:cubicBezTo>
                    <a:pt x="1430" y="738"/>
                    <a:pt x="1430" y="738"/>
                    <a:pt x="1430" y="738"/>
                  </a:cubicBezTo>
                  <a:cubicBezTo>
                    <a:pt x="1430" y="738"/>
                    <a:pt x="1430" y="738"/>
                    <a:pt x="1430" y="738"/>
                  </a:cubicBezTo>
                  <a:cubicBezTo>
                    <a:pt x="1430" y="738"/>
                    <a:pt x="1430" y="738"/>
                    <a:pt x="1430" y="738"/>
                  </a:cubicBezTo>
                  <a:cubicBezTo>
                    <a:pt x="1430" y="738"/>
                    <a:pt x="1430" y="738"/>
                    <a:pt x="1430" y="738"/>
                  </a:cubicBezTo>
                  <a:cubicBezTo>
                    <a:pt x="1430" y="738"/>
                    <a:pt x="1430" y="738"/>
                    <a:pt x="1430" y="738"/>
                  </a:cubicBezTo>
                  <a:cubicBezTo>
                    <a:pt x="1429" y="738"/>
                    <a:pt x="1429" y="738"/>
                    <a:pt x="1429" y="738"/>
                  </a:cubicBezTo>
                  <a:cubicBezTo>
                    <a:pt x="1429" y="738"/>
                    <a:pt x="1429" y="738"/>
                    <a:pt x="1429" y="738"/>
                  </a:cubicBezTo>
                  <a:cubicBezTo>
                    <a:pt x="1423" y="743"/>
                    <a:pt x="1423" y="743"/>
                    <a:pt x="1423" y="743"/>
                  </a:cubicBezTo>
                  <a:cubicBezTo>
                    <a:pt x="1421" y="744"/>
                    <a:pt x="1421" y="744"/>
                    <a:pt x="1421" y="744"/>
                  </a:cubicBezTo>
                  <a:cubicBezTo>
                    <a:pt x="1421" y="744"/>
                    <a:pt x="1421" y="744"/>
                    <a:pt x="1421" y="744"/>
                  </a:cubicBezTo>
                  <a:cubicBezTo>
                    <a:pt x="1420" y="745"/>
                    <a:pt x="1420" y="745"/>
                    <a:pt x="1420" y="745"/>
                  </a:cubicBezTo>
                  <a:cubicBezTo>
                    <a:pt x="1420" y="745"/>
                    <a:pt x="1420" y="745"/>
                    <a:pt x="1420" y="745"/>
                  </a:cubicBezTo>
                  <a:cubicBezTo>
                    <a:pt x="1420" y="745"/>
                    <a:pt x="1420" y="745"/>
                    <a:pt x="1420" y="745"/>
                  </a:cubicBezTo>
                  <a:cubicBezTo>
                    <a:pt x="1420" y="745"/>
                    <a:pt x="1420" y="745"/>
                    <a:pt x="1420" y="745"/>
                  </a:cubicBezTo>
                  <a:cubicBezTo>
                    <a:pt x="1420" y="745"/>
                    <a:pt x="1420" y="745"/>
                    <a:pt x="1420" y="745"/>
                  </a:cubicBezTo>
                  <a:cubicBezTo>
                    <a:pt x="1419" y="745"/>
                    <a:pt x="1419" y="745"/>
                    <a:pt x="1419" y="745"/>
                  </a:cubicBezTo>
                  <a:cubicBezTo>
                    <a:pt x="1419" y="745"/>
                    <a:pt x="1419" y="745"/>
                    <a:pt x="1419" y="745"/>
                  </a:cubicBezTo>
                  <a:cubicBezTo>
                    <a:pt x="1419" y="746"/>
                    <a:pt x="1419" y="746"/>
                    <a:pt x="1419" y="746"/>
                  </a:cubicBezTo>
                  <a:cubicBezTo>
                    <a:pt x="1419" y="748"/>
                    <a:pt x="1419" y="748"/>
                    <a:pt x="1419" y="748"/>
                  </a:cubicBezTo>
                  <a:cubicBezTo>
                    <a:pt x="1419" y="749"/>
                    <a:pt x="1419" y="749"/>
                    <a:pt x="1419" y="749"/>
                  </a:cubicBezTo>
                  <a:cubicBezTo>
                    <a:pt x="1419" y="749"/>
                    <a:pt x="1419" y="749"/>
                    <a:pt x="1419" y="749"/>
                  </a:cubicBezTo>
                  <a:cubicBezTo>
                    <a:pt x="1419" y="750"/>
                    <a:pt x="1419" y="750"/>
                    <a:pt x="1418" y="751"/>
                  </a:cubicBezTo>
                  <a:cubicBezTo>
                    <a:pt x="1419" y="752"/>
                    <a:pt x="1419" y="752"/>
                    <a:pt x="1419" y="752"/>
                  </a:cubicBezTo>
                  <a:cubicBezTo>
                    <a:pt x="1419" y="752"/>
                    <a:pt x="1419" y="752"/>
                    <a:pt x="1419" y="752"/>
                  </a:cubicBezTo>
                  <a:cubicBezTo>
                    <a:pt x="1423" y="758"/>
                    <a:pt x="1423" y="758"/>
                    <a:pt x="1423" y="758"/>
                  </a:cubicBezTo>
                  <a:cubicBezTo>
                    <a:pt x="1425" y="760"/>
                    <a:pt x="1425" y="760"/>
                    <a:pt x="1425" y="760"/>
                  </a:cubicBezTo>
                  <a:cubicBezTo>
                    <a:pt x="1426" y="761"/>
                    <a:pt x="1426" y="761"/>
                    <a:pt x="1427" y="762"/>
                  </a:cubicBezTo>
                  <a:cubicBezTo>
                    <a:pt x="1427" y="762"/>
                    <a:pt x="1427" y="762"/>
                    <a:pt x="1427" y="762"/>
                  </a:cubicBezTo>
                  <a:cubicBezTo>
                    <a:pt x="1427" y="762"/>
                    <a:pt x="1427" y="762"/>
                    <a:pt x="1427" y="762"/>
                  </a:cubicBezTo>
                  <a:cubicBezTo>
                    <a:pt x="1427" y="763"/>
                    <a:pt x="1427" y="763"/>
                    <a:pt x="1428" y="764"/>
                  </a:cubicBezTo>
                  <a:cubicBezTo>
                    <a:pt x="1428" y="764"/>
                    <a:pt x="1428" y="764"/>
                    <a:pt x="1428" y="764"/>
                  </a:cubicBezTo>
                  <a:cubicBezTo>
                    <a:pt x="1428" y="764"/>
                    <a:pt x="1428" y="764"/>
                    <a:pt x="1428" y="764"/>
                  </a:cubicBezTo>
                  <a:cubicBezTo>
                    <a:pt x="1428" y="764"/>
                    <a:pt x="1428" y="764"/>
                    <a:pt x="1428" y="764"/>
                  </a:cubicBezTo>
                  <a:cubicBezTo>
                    <a:pt x="1428" y="764"/>
                    <a:pt x="1428" y="764"/>
                    <a:pt x="1428" y="764"/>
                  </a:cubicBezTo>
                  <a:cubicBezTo>
                    <a:pt x="1427" y="763"/>
                    <a:pt x="1427" y="763"/>
                    <a:pt x="1427" y="763"/>
                  </a:cubicBezTo>
                  <a:cubicBezTo>
                    <a:pt x="1423" y="758"/>
                    <a:pt x="1423" y="758"/>
                    <a:pt x="1423" y="758"/>
                  </a:cubicBezTo>
                  <a:cubicBezTo>
                    <a:pt x="1419" y="754"/>
                    <a:pt x="1419" y="754"/>
                    <a:pt x="1419" y="754"/>
                  </a:cubicBezTo>
                  <a:cubicBezTo>
                    <a:pt x="1418" y="753"/>
                    <a:pt x="1418" y="753"/>
                    <a:pt x="1418" y="753"/>
                  </a:cubicBezTo>
                  <a:cubicBezTo>
                    <a:pt x="1418" y="753"/>
                    <a:pt x="1417" y="752"/>
                    <a:pt x="1417" y="752"/>
                  </a:cubicBezTo>
                  <a:cubicBezTo>
                    <a:pt x="1416" y="752"/>
                    <a:pt x="1416" y="752"/>
                    <a:pt x="1416" y="752"/>
                  </a:cubicBezTo>
                  <a:cubicBezTo>
                    <a:pt x="1416" y="752"/>
                    <a:pt x="1416" y="752"/>
                    <a:pt x="1416" y="752"/>
                  </a:cubicBezTo>
                  <a:cubicBezTo>
                    <a:pt x="1416" y="752"/>
                    <a:pt x="1415" y="752"/>
                    <a:pt x="1415" y="751"/>
                  </a:cubicBezTo>
                  <a:cubicBezTo>
                    <a:pt x="1415" y="751"/>
                    <a:pt x="1415" y="751"/>
                    <a:pt x="1415" y="751"/>
                  </a:cubicBezTo>
                  <a:cubicBezTo>
                    <a:pt x="1415" y="751"/>
                    <a:pt x="1415" y="751"/>
                    <a:pt x="1415" y="751"/>
                  </a:cubicBezTo>
                  <a:cubicBezTo>
                    <a:pt x="1414" y="751"/>
                    <a:pt x="1414" y="751"/>
                    <a:pt x="1414" y="751"/>
                  </a:cubicBezTo>
                  <a:cubicBezTo>
                    <a:pt x="1414" y="750"/>
                    <a:pt x="1413" y="749"/>
                    <a:pt x="1412" y="749"/>
                  </a:cubicBezTo>
                  <a:cubicBezTo>
                    <a:pt x="1412" y="749"/>
                    <a:pt x="1412" y="749"/>
                    <a:pt x="1412" y="749"/>
                  </a:cubicBezTo>
                  <a:cubicBezTo>
                    <a:pt x="1411" y="749"/>
                    <a:pt x="1411" y="749"/>
                    <a:pt x="1411" y="749"/>
                  </a:cubicBezTo>
                  <a:cubicBezTo>
                    <a:pt x="1411" y="749"/>
                    <a:pt x="1411" y="749"/>
                    <a:pt x="1411" y="749"/>
                  </a:cubicBezTo>
                  <a:cubicBezTo>
                    <a:pt x="1411" y="749"/>
                    <a:pt x="1411" y="749"/>
                    <a:pt x="1411" y="749"/>
                  </a:cubicBezTo>
                  <a:cubicBezTo>
                    <a:pt x="1411" y="749"/>
                    <a:pt x="1411" y="749"/>
                    <a:pt x="1411" y="749"/>
                  </a:cubicBezTo>
                  <a:cubicBezTo>
                    <a:pt x="1410" y="749"/>
                    <a:pt x="1410" y="748"/>
                    <a:pt x="1410" y="748"/>
                  </a:cubicBezTo>
                  <a:cubicBezTo>
                    <a:pt x="1409" y="748"/>
                    <a:pt x="1409" y="748"/>
                    <a:pt x="1409" y="748"/>
                  </a:cubicBezTo>
                  <a:cubicBezTo>
                    <a:pt x="1409" y="748"/>
                    <a:pt x="1409" y="748"/>
                    <a:pt x="1409" y="748"/>
                  </a:cubicBezTo>
                  <a:cubicBezTo>
                    <a:pt x="1408" y="748"/>
                    <a:pt x="1408" y="748"/>
                    <a:pt x="1407" y="748"/>
                  </a:cubicBezTo>
                  <a:cubicBezTo>
                    <a:pt x="1407" y="748"/>
                    <a:pt x="1407" y="748"/>
                    <a:pt x="1407" y="748"/>
                  </a:cubicBezTo>
                  <a:cubicBezTo>
                    <a:pt x="1407" y="748"/>
                    <a:pt x="1407" y="748"/>
                    <a:pt x="1407" y="748"/>
                  </a:cubicBezTo>
                  <a:cubicBezTo>
                    <a:pt x="1407" y="748"/>
                    <a:pt x="1407" y="748"/>
                    <a:pt x="1407" y="748"/>
                  </a:cubicBezTo>
                  <a:cubicBezTo>
                    <a:pt x="1406" y="747"/>
                    <a:pt x="1406" y="747"/>
                    <a:pt x="1406" y="747"/>
                  </a:cubicBezTo>
                  <a:cubicBezTo>
                    <a:pt x="1406" y="747"/>
                    <a:pt x="1405" y="747"/>
                    <a:pt x="1405" y="747"/>
                  </a:cubicBezTo>
                  <a:cubicBezTo>
                    <a:pt x="1405" y="747"/>
                    <a:pt x="1405" y="747"/>
                    <a:pt x="1405" y="747"/>
                  </a:cubicBezTo>
                  <a:cubicBezTo>
                    <a:pt x="1404" y="747"/>
                    <a:pt x="1404" y="747"/>
                    <a:pt x="1404" y="747"/>
                  </a:cubicBezTo>
                  <a:cubicBezTo>
                    <a:pt x="1404" y="747"/>
                    <a:pt x="1403" y="747"/>
                    <a:pt x="1403" y="747"/>
                  </a:cubicBezTo>
                  <a:cubicBezTo>
                    <a:pt x="1403" y="747"/>
                    <a:pt x="1403" y="747"/>
                    <a:pt x="1403" y="747"/>
                  </a:cubicBezTo>
                  <a:cubicBezTo>
                    <a:pt x="1402" y="747"/>
                    <a:pt x="1402" y="747"/>
                    <a:pt x="1402" y="747"/>
                  </a:cubicBezTo>
                  <a:cubicBezTo>
                    <a:pt x="1402" y="747"/>
                    <a:pt x="1402" y="747"/>
                    <a:pt x="1402" y="747"/>
                  </a:cubicBezTo>
                  <a:cubicBezTo>
                    <a:pt x="1402" y="747"/>
                    <a:pt x="1402" y="747"/>
                    <a:pt x="1402" y="747"/>
                  </a:cubicBezTo>
                  <a:cubicBezTo>
                    <a:pt x="1402" y="747"/>
                    <a:pt x="1402" y="747"/>
                    <a:pt x="1402" y="747"/>
                  </a:cubicBezTo>
                  <a:cubicBezTo>
                    <a:pt x="1402" y="747"/>
                    <a:pt x="1402" y="747"/>
                    <a:pt x="1402" y="747"/>
                  </a:cubicBezTo>
                  <a:cubicBezTo>
                    <a:pt x="1402" y="748"/>
                    <a:pt x="1402" y="748"/>
                    <a:pt x="1402" y="748"/>
                  </a:cubicBezTo>
                  <a:cubicBezTo>
                    <a:pt x="1401" y="748"/>
                    <a:pt x="1400" y="749"/>
                    <a:pt x="1399" y="749"/>
                  </a:cubicBezTo>
                  <a:cubicBezTo>
                    <a:pt x="1399" y="750"/>
                    <a:pt x="1399" y="750"/>
                    <a:pt x="1399" y="750"/>
                  </a:cubicBezTo>
                  <a:cubicBezTo>
                    <a:pt x="1399" y="750"/>
                    <a:pt x="1399" y="750"/>
                    <a:pt x="1399" y="750"/>
                  </a:cubicBezTo>
                  <a:cubicBezTo>
                    <a:pt x="1399" y="750"/>
                    <a:pt x="1399" y="750"/>
                    <a:pt x="1399" y="750"/>
                  </a:cubicBezTo>
                  <a:cubicBezTo>
                    <a:pt x="1398" y="750"/>
                    <a:pt x="1398" y="750"/>
                    <a:pt x="1398" y="751"/>
                  </a:cubicBezTo>
                  <a:cubicBezTo>
                    <a:pt x="1398" y="751"/>
                    <a:pt x="1398" y="751"/>
                    <a:pt x="1398" y="751"/>
                  </a:cubicBezTo>
                  <a:cubicBezTo>
                    <a:pt x="1398" y="751"/>
                    <a:pt x="1398" y="751"/>
                    <a:pt x="1398" y="751"/>
                  </a:cubicBezTo>
                  <a:cubicBezTo>
                    <a:pt x="1397" y="751"/>
                    <a:pt x="1397" y="752"/>
                    <a:pt x="1397" y="752"/>
                  </a:cubicBezTo>
                  <a:cubicBezTo>
                    <a:pt x="1396" y="752"/>
                    <a:pt x="1396" y="752"/>
                    <a:pt x="1396" y="752"/>
                  </a:cubicBezTo>
                  <a:cubicBezTo>
                    <a:pt x="1396" y="752"/>
                    <a:pt x="1396" y="752"/>
                    <a:pt x="1396" y="752"/>
                  </a:cubicBezTo>
                  <a:cubicBezTo>
                    <a:pt x="1396" y="752"/>
                    <a:pt x="1396" y="752"/>
                    <a:pt x="1396" y="752"/>
                  </a:cubicBezTo>
                  <a:cubicBezTo>
                    <a:pt x="1396" y="752"/>
                    <a:pt x="1396" y="752"/>
                    <a:pt x="1396" y="752"/>
                  </a:cubicBezTo>
                  <a:cubicBezTo>
                    <a:pt x="1396" y="752"/>
                    <a:pt x="1396" y="752"/>
                    <a:pt x="1396" y="752"/>
                  </a:cubicBezTo>
                  <a:cubicBezTo>
                    <a:pt x="1396" y="753"/>
                    <a:pt x="1396" y="753"/>
                    <a:pt x="1396" y="753"/>
                  </a:cubicBezTo>
                  <a:cubicBezTo>
                    <a:pt x="1395" y="753"/>
                    <a:pt x="1395" y="753"/>
                    <a:pt x="1394" y="753"/>
                  </a:cubicBezTo>
                  <a:cubicBezTo>
                    <a:pt x="1394" y="753"/>
                    <a:pt x="1394" y="753"/>
                    <a:pt x="1394" y="753"/>
                  </a:cubicBezTo>
                  <a:cubicBezTo>
                    <a:pt x="1394" y="753"/>
                    <a:pt x="1394" y="753"/>
                    <a:pt x="1394" y="753"/>
                  </a:cubicBezTo>
                  <a:cubicBezTo>
                    <a:pt x="1393" y="753"/>
                    <a:pt x="1393" y="753"/>
                    <a:pt x="1392" y="754"/>
                  </a:cubicBezTo>
                  <a:cubicBezTo>
                    <a:pt x="1392" y="754"/>
                    <a:pt x="1392" y="754"/>
                    <a:pt x="1392" y="754"/>
                  </a:cubicBezTo>
                  <a:cubicBezTo>
                    <a:pt x="1392" y="754"/>
                    <a:pt x="1392" y="754"/>
                    <a:pt x="1392" y="754"/>
                  </a:cubicBezTo>
                  <a:cubicBezTo>
                    <a:pt x="1392" y="754"/>
                    <a:pt x="1392" y="754"/>
                    <a:pt x="1392" y="754"/>
                  </a:cubicBezTo>
                  <a:cubicBezTo>
                    <a:pt x="1392" y="754"/>
                    <a:pt x="1392" y="754"/>
                    <a:pt x="1392" y="754"/>
                  </a:cubicBezTo>
                  <a:cubicBezTo>
                    <a:pt x="1392" y="755"/>
                    <a:pt x="1392" y="755"/>
                    <a:pt x="1392" y="756"/>
                  </a:cubicBezTo>
                  <a:cubicBezTo>
                    <a:pt x="1392" y="756"/>
                    <a:pt x="1392" y="756"/>
                    <a:pt x="1392" y="756"/>
                  </a:cubicBezTo>
                  <a:cubicBezTo>
                    <a:pt x="1391" y="756"/>
                    <a:pt x="1391" y="756"/>
                    <a:pt x="1391" y="756"/>
                  </a:cubicBezTo>
                  <a:cubicBezTo>
                    <a:pt x="1391" y="756"/>
                    <a:pt x="1391" y="756"/>
                    <a:pt x="1391" y="756"/>
                  </a:cubicBezTo>
                  <a:cubicBezTo>
                    <a:pt x="1391" y="756"/>
                    <a:pt x="1391" y="756"/>
                    <a:pt x="1391" y="756"/>
                  </a:cubicBezTo>
                  <a:cubicBezTo>
                    <a:pt x="1391" y="756"/>
                    <a:pt x="1391" y="756"/>
                    <a:pt x="1391" y="756"/>
                  </a:cubicBezTo>
                  <a:cubicBezTo>
                    <a:pt x="1391" y="756"/>
                    <a:pt x="1391" y="756"/>
                    <a:pt x="1391" y="756"/>
                  </a:cubicBezTo>
                  <a:cubicBezTo>
                    <a:pt x="1391" y="757"/>
                    <a:pt x="1391" y="757"/>
                    <a:pt x="1391" y="757"/>
                  </a:cubicBezTo>
                  <a:cubicBezTo>
                    <a:pt x="1391" y="757"/>
                    <a:pt x="1391" y="757"/>
                    <a:pt x="1391" y="757"/>
                  </a:cubicBezTo>
                  <a:cubicBezTo>
                    <a:pt x="1391" y="757"/>
                    <a:pt x="1391" y="757"/>
                    <a:pt x="1391" y="757"/>
                  </a:cubicBezTo>
                  <a:cubicBezTo>
                    <a:pt x="1391" y="757"/>
                    <a:pt x="1391" y="757"/>
                    <a:pt x="1391" y="757"/>
                  </a:cubicBezTo>
                  <a:cubicBezTo>
                    <a:pt x="1390" y="757"/>
                    <a:pt x="1390" y="757"/>
                    <a:pt x="1390" y="757"/>
                  </a:cubicBezTo>
                  <a:cubicBezTo>
                    <a:pt x="1390" y="756"/>
                    <a:pt x="1390" y="756"/>
                    <a:pt x="1390" y="756"/>
                  </a:cubicBezTo>
                  <a:cubicBezTo>
                    <a:pt x="1390" y="756"/>
                    <a:pt x="1390" y="756"/>
                    <a:pt x="1390" y="756"/>
                  </a:cubicBezTo>
                  <a:cubicBezTo>
                    <a:pt x="1389" y="756"/>
                    <a:pt x="1389" y="756"/>
                    <a:pt x="1389" y="756"/>
                  </a:cubicBezTo>
                  <a:cubicBezTo>
                    <a:pt x="1389" y="756"/>
                    <a:pt x="1389" y="756"/>
                    <a:pt x="1389" y="756"/>
                  </a:cubicBezTo>
                  <a:cubicBezTo>
                    <a:pt x="1389" y="756"/>
                    <a:pt x="1389" y="756"/>
                    <a:pt x="1389" y="756"/>
                  </a:cubicBezTo>
                  <a:cubicBezTo>
                    <a:pt x="1389" y="756"/>
                    <a:pt x="1389" y="756"/>
                    <a:pt x="1389" y="756"/>
                  </a:cubicBezTo>
                  <a:cubicBezTo>
                    <a:pt x="1390" y="756"/>
                    <a:pt x="1390" y="756"/>
                    <a:pt x="1390" y="756"/>
                  </a:cubicBezTo>
                  <a:cubicBezTo>
                    <a:pt x="1391" y="755"/>
                    <a:pt x="1391" y="755"/>
                    <a:pt x="1391" y="755"/>
                  </a:cubicBezTo>
                  <a:cubicBezTo>
                    <a:pt x="1391" y="755"/>
                    <a:pt x="1391" y="755"/>
                    <a:pt x="1391" y="755"/>
                  </a:cubicBezTo>
                  <a:cubicBezTo>
                    <a:pt x="1391" y="754"/>
                    <a:pt x="1391" y="754"/>
                    <a:pt x="1391" y="754"/>
                  </a:cubicBezTo>
                  <a:cubicBezTo>
                    <a:pt x="1392" y="754"/>
                    <a:pt x="1392" y="753"/>
                    <a:pt x="1393" y="753"/>
                  </a:cubicBezTo>
                  <a:cubicBezTo>
                    <a:pt x="1393" y="753"/>
                    <a:pt x="1393" y="753"/>
                    <a:pt x="1393" y="753"/>
                  </a:cubicBezTo>
                  <a:cubicBezTo>
                    <a:pt x="1393" y="752"/>
                    <a:pt x="1393" y="752"/>
                    <a:pt x="1393" y="752"/>
                  </a:cubicBezTo>
                  <a:cubicBezTo>
                    <a:pt x="1394" y="752"/>
                    <a:pt x="1394" y="752"/>
                    <a:pt x="1395" y="752"/>
                  </a:cubicBezTo>
                  <a:cubicBezTo>
                    <a:pt x="1395" y="751"/>
                    <a:pt x="1395" y="751"/>
                    <a:pt x="1395" y="751"/>
                  </a:cubicBezTo>
                  <a:cubicBezTo>
                    <a:pt x="1395" y="751"/>
                    <a:pt x="1395" y="751"/>
                    <a:pt x="1395" y="751"/>
                  </a:cubicBezTo>
                  <a:cubicBezTo>
                    <a:pt x="1395" y="751"/>
                    <a:pt x="1395" y="751"/>
                    <a:pt x="1395" y="751"/>
                  </a:cubicBezTo>
                  <a:cubicBezTo>
                    <a:pt x="1396" y="749"/>
                    <a:pt x="1397" y="749"/>
                    <a:pt x="1399" y="748"/>
                  </a:cubicBezTo>
                  <a:cubicBezTo>
                    <a:pt x="1399" y="747"/>
                    <a:pt x="1399" y="747"/>
                    <a:pt x="1399" y="747"/>
                  </a:cubicBezTo>
                  <a:cubicBezTo>
                    <a:pt x="1399" y="747"/>
                    <a:pt x="1399" y="747"/>
                    <a:pt x="1399" y="747"/>
                  </a:cubicBezTo>
                  <a:cubicBezTo>
                    <a:pt x="1400" y="747"/>
                    <a:pt x="1400" y="747"/>
                    <a:pt x="1400" y="747"/>
                  </a:cubicBezTo>
                  <a:cubicBezTo>
                    <a:pt x="1400" y="747"/>
                    <a:pt x="1400" y="747"/>
                    <a:pt x="1400" y="747"/>
                  </a:cubicBezTo>
                  <a:cubicBezTo>
                    <a:pt x="1401" y="747"/>
                    <a:pt x="1401" y="747"/>
                    <a:pt x="1402" y="746"/>
                  </a:cubicBezTo>
                  <a:cubicBezTo>
                    <a:pt x="1402" y="746"/>
                    <a:pt x="1402" y="746"/>
                    <a:pt x="1402" y="746"/>
                  </a:cubicBezTo>
                  <a:cubicBezTo>
                    <a:pt x="1402" y="746"/>
                    <a:pt x="1402" y="746"/>
                    <a:pt x="1402" y="746"/>
                  </a:cubicBezTo>
                  <a:cubicBezTo>
                    <a:pt x="1402" y="746"/>
                    <a:pt x="1402" y="746"/>
                    <a:pt x="1402" y="746"/>
                  </a:cubicBezTo>
                  <a:cubicBezTo>
                    <a:pt x="1403" y="746"/>
                    <a:pt x="1403" y="746"/>
                    <a:pt x="1403" y="746"/>
                  </a:cubicBezTo>
                  <a:cubicBezTo>
                    <a:pt x="1403" y="746"/>
                    <a:pt x="1403" y="746"/>
                    <a:pt x="1403" y="746"/>
                  </a:cubicBezTo>
                  <a:cubicBezTo>
                    <a:pt x="1403" y="746"/>
                    <a:pt x="1403" y="746"/>
                    <a:pt x="1403" y="746"/>
                  </a:cubicBezTo>
                  <a:cubicBezTo>
                    <a:pt x="1403" y="745"/>
                    <a:pt x="1403" y="745"/>
                    <a:pt x="1403" y="745"/>
                  </a:cubicBezTo>
                  <a:cubicBezTo>
                    <a:pt x="1402" y="745"/>
                    <a:pt x="1402" y="745"/>
                    <a:pt x="1402" y="745"/>
                  </a:cubicBezTo>
                  <a:cubicBezTo>
                    <a:pt x="1402" y="744"/>
                    <a:pt x="1402" y="744"/>
                    <a:pt x="1402" y="744"/>
                  </a:cubicBezTo>
                  <a:cubicBezTo>
                    <a:pt x="1402" y="744"/>
                    <a:pt x="1402" y="744"/>
                    <a:pt x="1402" y="743"/>
                  </a:cubicBezTo>
                  <a:cubicBezTo>
                    <a:pt x="1402" y="743"/>
                    <a:pt x="1402" y="743"/>
                    <a:pt x="1402" y="743"/>
                  </a:cubicBezTo>
                  <a:cubicBezTo>
                    <a:pt x="1402" y="742"/>
                    <a:pt x="1402" y="742"/>
                    <a:pt x="1402" y="742"/>
                  </a:cubicBezTo>
                  <a:cubicBezTo>
                    <a:pt x="1401" y="740"/>
                    <a:pt x="1401" y="740"/>
                    <a:pt x="1401" y="740"/>
                  </a:cubicBezTo>
                  <a:cubicBezTo>
                    <a:pt x="1397" y="735"/>
                    <a:pt x="1397" y="735"/>
                    <a:pt x="1397" y="735"/>
                  </a:cubicBezTo>
                  <a:cubicBezTo>
                    <a:pt x="1396" y="733"/>
                    <a:pt x="1396" y="733"/>
                    <a:pt x="1396" y="733"/>
                  </a:cubicBezTo>
                  <a:cubicBezTo>
                    <a:pt x="1395" y="732"/>
                    <a:pt x="1395" y="732"/>
                    <a:pt x="1395" y="732"/>
                  </a:cubicBezTo>
                  <a:cubicBezTo>
                    <a:pt x="1395" y="732"/>
                    <a:pt x="1395" y="732"/>
                    <a:pt x="1395" y="732"/>
                  </a:cubicBezTo>
                  <a:cubicBezTo>
                    <a:pt x="1395" y="732"/>
                    <a:pt x="1395" y="732"/>
                    <a:pt x="1395" y="732"/>
                  </a:cubicBezTo>
                  <a:cubicBezTo>
                    <a:pt x="1395" y="732"/>
                    <a:pt x="1395" y="732"/>
                    <a:pt x="1395" y="732"/>
                  </a:cubicBezTo>
                  <a:cubicBezTo>
                    <a:pt x="1395" y="731"/>
                    <a:pt x="1395" y="731"/>
                    <a:pt x="1395" y="731"/>
                  </a:cubicBezTo>
                  <a:cubicBezTo>
                    <a:pt x="1395" y="731"/>
                    <a:pt x="1395" y="731"/>
                    <a:pt x="1395" y="731"/>
                  </a:cubicBezTo>
                  <a:cubicBezTo>
                    <a:pt x="1395" y="731"/>
                    <a:pt x="1395" y="731"/>
                    <a:pt x="1395" y="731"/>
                  </a:cubicBezTo>
                  <a:cubicBezTo>
                    <a:pt x="1394" y="731"/>
                    <a:pt x="1394" y="731"/>
                    <a:pt x="1394" y="731"/>
                  </a:cubicBezTo>
                  <a:cubicBezTo>
                    <a:pt x="1394" y="731"/>
                    <a:pt x="1394" y="731"/>
                    <a:pt x="1394" y="731"/>
                  </a:cubicBezTo>
                  <a:cubicBezTo>
                    <a:pt x="1394" y="731"/>
                    <a:pt x="1394" y="731"/>
                    <a:pt x="1394" y="731"/>
                  </a:cubicBezTo>
                  <a:cubicBezTo>
                    <a:pt x="1394" y="731"/>
                    <a:pt x="1394" y="731"/>
                    <a:pt x="1394" y="731"/>
                  </a:cubicBezTo>
                  <a:cubicBezTo>
                    <a:pt x="1394" y="731"/>
                    <a:pt x="1394" y="731"/>
                    <a:pt x="1394" y="731"/>
                  </a:cubicBezTo>
                  <a:cubicBezTo>
                    <a:pt x="1394" y="730"/>
                    <a:pt x="1394" y="730"/>
                    <a:pt x="1394" y="730"/>
                  </a:cubicBezTo>
                  <a:cubicBezTo>
                    <a:pt x="1393" y="730"/>
                    <a:pt x="1393" y="730"/>
                    <a:pt x="1393" y="730"/>
                  </a:cubicBezTo>
                  <a:cubicBezTo>
                    <a:pt x="1393" y="730"/>
                    <a:pt x="1393" y="730"/>
                    <a:pt x="1393" y="730"/>
                  </a:cubicBezTo>
                  <a:cubicBezTo>
                    <a:pt x="1392" y="730"/>
                    <a:pt x="1392" y="730"/>
                    <a:pt x="1391" y="729"/>
                  </a:cubicBezTo>
                  <a:cubicBezTo>
                    <a:pt x="1391" y="729"/>
                    <a:pt x="1391" y="729"/>
                    <a:pt x="1391" y="729"/>
                  </a:cubicBezTo>
                  <a:cubicBezTo>
                    <a:pt x="1391" y="729"/>
                    <a:pt x="1391" y="729"/>
                    <a:pt x="1391" y="729"/>
                  </a:cubicBezTo>
                  <a:cubicBezTo>
                    <a:pt x="1391" y="728"/>
                    <a:pt x="1391" y="728"/>
                    <a:pt x="1391" y="728"/>
                  </a:cubicBezTo>
                  <a:cubicBezTo>
                    <a:pt x="1391" y="728"/>
                    <a:pt x="1391" y="728"/>
                    <a:pt x="1391" y="728"/>
                  </a:cubicBezTo>
                  <a:cubicBezTo>
                    <a:pt x="1391" y="728"/>
                    <a:pt x="1391" y="728"/>
                    <a:pt x="1391" y="728"/>
                  </a:cubicBezTo>
                  <a:cubicBezTo>
                    <a:pt x="1391" y="728"/>
                    <a:pt x="1391" y="728"/>
                    <a:pt x="1391" y="728"/>
                  </a:cubicBezTo>
                  <a:cubicBezTo>
                    <a:pt x="1390" y="728"/>
                    <a:pt x="1390" y="728"/>
                    <a:pt x="1390" y="728"/>
                  </a:cubicBezTo>
                  <a:cubicBezTo>
                    <a:pt x="1390" y="728"/>
                    <a:pt x="1390" y="728"/>
                    <a:pt x="1390" y="728"/>
                  </a:cubicBezTo>
                  <a:cubicBezTo>
                    <a:pt x="1390" y="727"/>
                    <a:pt x="1390" y="727"/>
                    <a:pt x="1390" y="727"/>
                  </a:cubicBezTo>
                  <a:cubicBezTo>
                    <a:pt x="1390" y="727"/>
                    <a:pt x="1390" y="727"/>
                    <a:pt x="1390" y="727"/>
                  </a:cubicBezTo>
                  <a:cubicBezTo>
                    <a:pt x="1390" y="727"/>
                    <a:pt x="1390" y="727"/>
                    <a:pt x="1390" y="727"/>
                  </a:cubicBezTo>
                  <a:cubicBezTo>
                    <a:pt x="1390" y="727"/>
                    <a:pt x="1390" y="727"/>
                    <a:pt x="1390" y="727"/>
                  </a:cubicBezTo>
                  <a:cubicBezTo>
                    <a:pt x="1390" y="727"/>
                    <a:pt x="1390" y="727"/>
                    <a:pt x="1390" y="727"/>
                  </a:cubicBezTo>
                  <a:cubicBezTo>
                    <a:pt x="1390" y="726"/>
                    <a:pt x="1390" y="726"/>
                    <a:pt x="1390"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8" y="726"/>
                    <a:pt x="1388" y="726"/>
                    <a:pt x="1388" y="726"/>
                  </a:cubicBezTo>
                  <a:cubicBezTo>
                    <a:pt x="1388" y="725"/>
                    <a:pt x="1388" y="725"/>
                    <a:pt x="1388" y="725"/>
                  </a:cubicBezTo>
                  <a:cubicBezTo>
                    <a:pt x="1388" y="725"/>
                    <a:pt x="1388" y="725"/>
                    <a:pt x="1388" y="725"/>
                  </a:cubicBezTo>
                  <a:cubicBezTo>
                    <a:pt x="1388" y="725"/>
                    <a:pt x="1388" y="725"/>
                    <a:pt x="1388" y="725"/>
                  </a:cubicBezTo>
                  <a:cubicBezTo>
                    <a:pt x="1388" y="725"/>
                    <a:pt x="1388" y="725"/>
                    <a:pt x="1388" y="725"/>
                  </a:cubicBezTo>
                  <a:cubicBezTo>
                    <a:pt x="1388" y="725"/>
                    <a:pt x="1388" y="725"/>
                    <a:pt x="1388" y="725"/>
                  </a:cubicBezTo>
                  <a:cubicBezTo>
                    <a:pt x="1387" y="725"/>
                    <a:pt x="1387" y="725"/>
                    <a:pt x="1387" y="725"/>
                  </a:cubicBezTo>
                  <a:cubicBezTo>
                    <a:pt x="1387" y="725"/>
                    <a:pt x="1387" y="725"/>
                    <a:pt x="1387" y="725"/>
                  </a:cubicBezTo>
                  <a:cubicBezTo>
                    <a:pt x="1387" y="725"/>
                    <a:pt x="1387" y="725"/>
                    <a:pt x="1387" y="725"/>
                  </a:cubicBezTo>
                  <a:cubicBezTo>
                    <a:pt x="1387" y="725"/>
                    <a:pt x="1387" y="725"/>
                    <a:pt x="1387" y="725"/>
                  </a:cubicBezTo>
                  <a:cubicBezTo>
                    <a:pt x="1387" y="724"/>
                    <a:pt x="1387" y="725"/>
                    <a:pt x="1387" y="725"/>
                  </a:cubicBezTo>
                  <a:cubicBezTo>
                    <a:pt x="1386" y="725"/>
                    <a:pt x="1386" y="725"/>
                    <a:pt x="1386" y="725"/>
                  </a:cubicBezTo>
                  <a:cubicBezTo>
                    <a:pt x="1386" y="725"/>
                    <a:pt x="1386" y="725"/>
                    <a:pt x="1386" y="725"/>
                  </a:cubicBezTo>
                  <a:cubicBezTo>
                    <a:pt x="1386" y="725"/>
                    <a:pt x="1386" y="725"/>
                    <a:pt x="1386" y="725"/>
                  </a:cubicBezTo>
                  <a:cubicBezTo>
                    <a:pt x="1386" y="725"/>
                    <a:pt x="1386" y="725"/>
                    <a:pt x="1386" y="725"/>
                  </a:cubicBezTo>
                  <a:cubicBezTo>
                    <a:pt x="1386" y="725"/>
                    <a:pt x="1386" y="725"/>
                    <a:pt x="1386" y="725"/>
                  </a:cubicBezTo>
                  <a:cubicBezTo>
                    <a:pt x="1385" y="725"/>
                    <a:pt x="1384" y="724"/>
                    <a:pt x="1384" y="724"/>
                  </a:cubicBezTo>
                  <a:cubicBezTo>
                    <a:pt x="1383" y="724"/>
                    <a:pt x="1383" y="724"/>
                    <a:pt x="1383" y="724"/>
                  </a:cubicBezTo>
                  <a:cubicBezTo>
                    <a:pt x="1383" y="724"/>
                    <a:pt x="1383" y="724"/>
                    <a:pt x="1383" y="724"/>
                  </a:cubicBezTo>
                  <a:cubicBezTo>
                    <a:pt x="1382" y="723"/>
                    <a:pt x="1381" y="723"/>
                    <a:pt x="1381" y="723"/>
                  </a:cubicBezTo>
                  <a:cubicBezTo>
                    <a:pt x="1381" y="723"/>
                    <a:pt x="1381" y="723"/>
                    <a:pt x="1381" y="723"/>
                  </a:cubicBezTo>
                  <a:cubicBezTo>
                    <a:pt x="1380" y="723"/>
                    <a:pt x="1380" y="723"/>
                    <a:pt x="1380" y="723"/>
                  </a:cubicBezTo>
                  <a:cubicBezTo>
                    <a:pt x="1380" y="722"/>
                    <a:pt x="1380" y="722"/>
                    <a:pt x="1380" y="722"/>
                  </a:cubicBezTo>
                  <a:cubicBezTo>
                    <a:pt x="1380" y="722"/>
                    <a:pt x="1380" y="722"/>
                    <a:pt x="1380" y="722"/>
                  </a:cubicBezTo>
                  <a:cubicBezTo>
                    <a:pt x="1380" y="722"/>
                    <a:pt x="1380" y="722"/>
                    <a:pt x="1380" y="722"/>
                  </a:cubicBezTo>
                  <a:cubicBezTo>
                    <a:pt x="1378" y="721"/>
                    <a:pt x="1379" y="719"/>
                    <a:pt x="1376" y="719"/>
                  </a:cubicBezTo>
                  <a:cubicBezTo>
                    <a:pt x="1376" y="719"/>
                    <a:pt x="1376" y="719"/>
                    <a:pt x="1376" y="719"/>
                  </a:cubicBezTo>
                  <a:cubicBezTo>
                    <a:pt x="1375" y="719"/>
                    <a:pt x="1375" y="719"/>
                    <a:pt x="1375" y="719"/>
                  </a:cubicBezTo>
                  <a:cubicBezTo>
                    <a:pt x="1375" y="719"/>
                    <a:pt x="1375" y="719"/>
                    <a:pt x="1375" y="719"/>
                  </a:cubicBezTo>
                  <a:cubicBezTo>
                    <a:pt x="1374" y="719"/>
                    <a:pt x="1374" y="719"/>
                    <a:pt x="1372" y="719"/>
                  </a:cubicBezTo>
                  <a:cubicBezTo>
                    <a:pt x="1372" y="719"/>
                    <a:pt x="1372" y="719"/>
                    <a:pt x="1372" y="719"/>
                  </a:cubicBezTo>
                  <a:cubicBezTo>
                    <a:pt x="1372" y="719"/>
                    <a:pt x="1372" y="719"/>
                    <a:pt x="1372" y="719"/>
                  </a:cubicBezTo>
                  <a:cubicBezTo>
                    <a:pt x="1371" y="719"/>
                    <a:pt x="1371" y="720"/>
                    <a:pt x="1370" y="720"/>
                  </a:cubicBezTo>
                  <a:cubicBezTo>
                    <a:pt x="1370" y="720"/>
                    <a:pt x="1370" y="720"/>
                    <a:pt x="1370" y="720"/>
                  </a:cubicBezTo>
                  <a:cubicBezTo>
                    <a:pt x="1370" y="720"/>
                    <a:pt x="1370" y="720"/>
                    <a:pt x="1370" y="720"/>
                  </a:cubicBezTo>
                  <a:cubicBezTo>
                    <a:pt x="1369" y="720"/>
                    <a:pt x="1369" y="720"/>
                    <a:pt x="1369" y="720"/>
                  </a:cubicBezTo>
                  <a:cubicBezTo>
                    <a:pt x="1369" y="720"/>
                    <a:pt x="1369" y="720"/>
                    <a:pt x="1369" y="720"/>
                  </a:cubicBezTo>
                  <a:cubicBezTo>
                    <a:pt x="1369" y="720"/>
                    <a:pt x="1369" y="720"/>
                    <a:pt x="1369" y="720"/>
                  </a:cubicBezTo>
                  <a:cubicBezTo>
                    <a:pt x="1369" y="720"/>
                    <a:pt x="1369" y="720"/>
                    <a:pt x="1369" y="720"/>
                  </a:cubicBezTo>
                  <a:cubicBezTo>
                    <a:pt x="1369" y="720"/>
                    <a:pt x="1369" y="720"/>
                    <a:pt x="1369" y="720"/>
                  </a:cubicBezTo>
                  <a:cubicBezTo>
                    <a:pt x="1370" y="719"/>
                    <a:pt x="1370" y="719"/>
                    <a:pt x="1370" y="719"/>
                  </a:cubicBezTo>
                  <a:cubicBezTo>
                    <a:pt x="1371" y="718"/>
                    <a:pt x="1371" y="718"/>
                    <a:pt x="1371" y="718"/>
                  </a:cubicBezTo>
                  <a:cubicBezTo>
                    <a:pt x="1371" y="718"/>
                    <a:pt x="1371" y="718"/>
                    <a:pt x="1371" y="718"/>
                  </a:cubicBezTo>
                  <a:cubicBezTo>
                    <a:pt x="1371" y="718"/>
                    <a:pt x="1371" y="718"/>
                    <a:pt x="1371" y="718"/>
                  </a:cubicBezTo>
                  <a:cubicBezTo>
                    <a:pt x="1372" y="718"/>
                    <a:pt x="1372" y="718"/>
                    <a:pt x="1372" y="718"/>
                  </a:cubicBezTo>
                  <a:cubicBezTo>
                    <a:pt x="1372" y="718"/>
                    <a:pt x="1372" y="718"/>
                    <a:pt x="1372" y="718"/>
                  </a:cubicBezTo>
                  <a:cubicBezTo>
                    <a:pt x="1372" y="718"/>
                    <a:pt x="1372" y="718"/>
                    <a:pt x="1373" y="718"/>
                  </a:cubicBezTo>
                  <a:cubicBezTo>
                    <a:pt x="1373" y="718"/>
                    <a:pt x="1373" y="718"/>
                    <a:pt x="1373" y="718"/>
                  </a:cubicBezTo>
                  <a:cubicBezTo>
                    <a:pt x="1373" y="718"/>
                    <a:pt x="1373" y="718"/>
                    <a:pt x="1373" y="718"/>
                  </a:cubicBezTo>
                  <a:cubicBezTo>
                    <a:pt x="1373" y="717"/>
                    <a:pt x="1374" y="717"/>
                    <a:pt x="1374" y="717"/>
                  </a:cubicBezTo>
                  <a:cubicBezTo>
                    <a:pt x="1374" y="717"/>
                    <a:pt x="1374" y="717"/>
                    <a:pt x="1374" y="717"/>
                  </a:cubicBezTo>
                  <a:cubicBezTo>
                    <a:pt x="1374" y="717"/>
                    <a:pt x="1374" y="717"/>
                    <a:pt x="1374" y="717"/>
                  </a:cubicBezTo>
                  <a:cubicBezTo>
                    <a:pt x="1374" y="717"/>
                    <a:pt x="1374" y="717"/>
                    <a:pt x="1374" y="717"/>
                  </a:cubicBezTo>
                  <a:cubicBezTo>
                    <a:pt x="1377" y="717"/>
                    <a:pt x="1376" y="716"/>
                    <a:pt x="1377" y="717"/>
                  </a:cubicBezTo>
                  <a:cubicBezTo>
                    <a:pt x="1378" y="717"/>
                    <a:pt x="1378" y="717"/>
                    <a:pt x="1378" y="717"/>
                  </a:cubicBezTo>
                  <a:cubicBezTo>
                    <a:pt x="1378" y="717"/>
                    <a:pt x="1378" y="717"/>
                    <a:pt x="1378" y="717"/>
                  </a:cubicBezTo>
                  <a:cubicBezTo>
                    <a:pt x="1378" y="716"/>
                    <a:pt x="1378" y="716"/>
                    <a:pt x="1378" y="716"/>
                  </a:cubicBezTo>
                  <a:cubicBezTo>
                    <a:pt x="1377" y="715"/>
                    <a:pt x="1377" y="715"/>
                    <a:pt x="1377" y="715"/>
                  </a:cubicBezTo>
                  <a:cubicBezTo>
                    <a:pt x="1375" y="713"/>
                    <a:pt x="1375" y="713"/>
                    <a:pt x="1375" y="713"/>
                  </a:cubicBezTo>
                  <a:cubicBezTo>
                    <a:pt x="1375" y="711"/>
                    <a:pt x="1375" y="711"/>
                    <a:pt x="1375" y="711"/>
                  </a:cubicBezTo>
                  <a:cubicBezTo>
                    <a:pt x="1374" y="711"/>
                    <a:pt x="1374" y="710"/>
                    <a:pt x="1373" y="710"/>
                  </a:cubicBezTo>
                  <a:cubicBezTo>
                    <a:pt x="1373" y="710"/>
                    <a:pt x="1373" y="710"/>
                    <a:pt x="1373" y="710"/>
                  </a:cubicBezTo>
                  <a:cubicBezTo>
                    <a:pt x="1373" y="710"/>
                    <a:pt x="1373" y="710"/>
                    <a:pt x="1373" y="710"/>
                  </a:cubicBezTo>
                  <a:cubicBezTo>
                    <a:pt x="1373" y="709"/>
                    <a:pt x="1372" y="709"/>
                    <a:pt x="1372" y="708"/>
                  </a:cubicBezTo>
                  <a:cubicBezTo>
                    <a:pt x="1372" y="708"/>
                    <a:pt x="1372" y="708"/>
                    <a:pt x="1372" y="708"/>
                  </a:cubicBezTo>
                  <a:cubicBezTo>
                    <a:pt x="1372" y="708"/>
                    <a:pt x="1372" y="708"/>
                    <a:pt x="1372" y="708"/>
                  </a:cubicBezTo>
                  <a:cubicBezTo>
                    <a:pt x="1372" y="708"/>
                    <a:pt x="1372" y="708"/>
                    <a:pt x="1372" y="708"/>
                  </a:cubicBezTo>
                  <a:cubicBezTo>
                    <a:pt x="1371" y="708"/>
                    <a:pt x="1371" y="708"/>
                    <a:pt x="1371" y="708"/>
                  </a:cubicBezTo>
                  <a:cubicBezTo>
                    <a:pt x="1371" y="707"/>
                    <a:pt x="1371" y="707"/>
                    <a:pt x="1370" y="707"/>
                  </a:cubicBezTo>
                  <a:cubicBezTo>
                    <a:pt x="1370" y="706"/>
                    <a:pt x="1370" y="706"/>
                    <a:pt x="1370" y="706"/>
                  </a:cubicBezTo>
                  <a:cubicBezTo>
                    <a:pt x="1370" y="706"/>
                    <a:pt x="1370" y="706"/>
                    <a:pt x="1370" y="706"/>
                  </a:cubicBezTo>
                  <a:cubicBezTo>
                    <a:pt x="1369" y="706"/>
                    <a:pt x="1369" y="706"/>
                    <a:pt x="1368" y="705"/>
                  </a:cubicBezTo>
                  <a:cubicBezTo>
                    <a:pt x="1368" y="705"/>
                    <a:pt x="1368" y="705"/>
                    <a:pt x="1368" y="705"/>
                  </a:cubicBezTo>
                  <a:cubicBezTo>
                    <a:pt x="1368" y="705"/>
                    <a:pt x="1368" y="705"/>
                    <a:pt x="1368" y="705"/>
                  </a:cubicBezTo>
                  <a:cubicBezTo>
                    <a:pt x="1368" y="705"/>
                    <a:pt x="1368" y="705"/>
                    <a:pt x="1368" y="705"/>
                  </a:cubicBezTo>
                  <a:cubicBezTo>
                    <a:pt x="1368" y="705"/>
                    <a:pt x="1368" y="705"/>
                    <a:pt x="1368" y="705"/>
                  </a:cubicBezTo>
                  <a:cubicBezTo>
                    <a:pt x="1368" y="705"/>
                    <a:pt x="1368" y="705"/>
                    <a:pt x="1368" y="705"/>
                  </a:cubicBezTo>
                  <a:cubicBezTo>
                    <a:pt x="1368" y="704"/>
                    <a:pt x="1368" y="704"/>
                    <a:pt x="1368" y="704"/>
                  </a:cubicBezTo>
                  <a:cubicBezTo>
                    <a:pt x="1367" y="703"/>
                    <a:pt x="1367" y="703"/>
                    <a:pt x="1367" y="702"/>
                  </a:cubicBezTo>
                  <a:cubicBezTo>
                    <a:pt x="1366" y="702"/>
                    <a:pt x="1366" y="702"/>
                    <a:pt x="1366" y="702"/>
                  </a:cubicBezTo>
                  <a:cubicBezTo>
                    <a:pt x="1366" y="701"/>
                    <a:pt x="1366" y="701"/>
                    <a:pt x="1366" y="701"/>
                  </a:cubicBezTo>
                  <a:cubicBezTo>
                    <a:pt x="1366" y="701"/>
                    <a:pt x="1366" y="701"/>
                    <a:pt x="1366" y="701"/>
                  </a:cubicBezTo>
                  <a:cubicBezTo>
                    <a:pt x="1366" y="701"/>
                    <a:pt x="1366" y="701"/>
                    <a:pt x="1366" y="701"/>
                  </a:cubicBezTo>
                  <a:cubicBezTo>
                    <a:pt x="1366" y="701"/>
                    <a:pt x="1366" y="701"/>
                    <a:pt x="1366" y="701"/>
                  </a:cubicBezTo>
                  <a:cubicBezTo>
                    <a:pt x="1366" y="701"/>
                    <a:pt x="1366" y="701"/>
                    <a:pt x="1366" y="701"/>
                  </a:cubicBezTo>
                  <a:cubicBezTo>
                    <a:pt x="1365" y="701"/>
                    <a:pt x="1365" y="701"/>
                    <a:pt x="1365" y="701"/>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4" y="700"/>
                    <a:pt x="1364" y="700"/>
                    <a:pt x="1364" y="700"/>
                  </a:cubicBezTo>
                  <a:cubicBezTo>
                    <a:pt x="1364" y="699"/>
                    <a:pt x="1364" y="699"/>
                    <a:pt x="1364" y="699"/>
                  </a:cubicBezTo>
                  <a:cubicBezTo>
                    <a:pt x="1364" y="699"/>
                    <a:pt x="1364" y="699"/>
                    <a:pt x="1364" y="699"/>
                  </a:cubicBezTo>
                  <a:cubicBezTo>
                    <a:pt x="1364" y="699"/>
                    <a:pt x="1363" y="698"/>
                    <a:pt x="1362" y="698"/>
                  </a:cubicBezTo>
                  <a:cubicBezTo>
                    <a:pt x="1362" y="698"/>
                    <a:pt x="1362" y="698"/>
                    <a:pt x="1362" y="698"/>
                  </a:cubicBezTo>
                  <a:cubicBezTo>
                    <a:pt x="1362" y="698"/>
                    <a:pt x="1362" y="698"/>
                    <a:pt x="1362" y="698"/>
                  </a:cubicBezTo>
                  <a:cubicBezTo>
                    <a:pt x="1362" y="698"/>
                    <a:pt x="1361" y="698"/>
                    <a:pt x="1360" y="697"/>
                  </a:cubicBezTo>
                  <a:cubicBezTo>
                    <a:pt x="1360" y="697"/>
                    <a:pt x="1360" y="697"/>
                    <a:pt x="1360" y="697"/>
                  </a:cubicBezTo>
                  <a:cubicBezTo>
                    <a:pt x="1360" y="697"/>
                    <a:pt x="1360" y="697"/>
                    <a:pt x="1360" y="697"/>
                  </a:cubicBezTo>
                  <a:cubicBezTo>
                    <a:pt x="1360" y="696"/>
                    <a:pt x="1360" y="696"/>
                    <a:pt x="1360" y="696"/>
                  </a:cubicBezTo>
                  <a:cubicBezTo>
                    <a:pt x="1360" y="696"/>
                    <a:pt x="1360" y="696"/>
                    <a:pt x="1360" y="696"/>
                  </a:cubicBezTo>
                  <a:cubicBezTo>
                    <a:pt x="1360" y="695"/>
                    <a:pt x="1360" y="695"/>
                    <a:pt x="1360" y="695"/>
                  </a:cubicBezTo>
                  <a:cubicBezTo>
                    <a:pt x="1360" y="694"/>
                    <a:pt x="1360" y="694"/>
                    <a:pt x="1360" y="694"/>
                  </a:cubicBezTo>
                  <a:cubicBezTo>
                    <a:pt x="1361" y="690"/>
                    <a:pt x="1361" y="690"/>
                    <a:pt x="1361" y="690"/>
                  </a:cubicBezTo>
                  <a:cubicBezTo>
                    <a:pt x="1362" y="688"/>
                    <a:pt x="1362" y="688"/>
                    <a:pt x="1362" y="688"/>
                  </a:cubicBezTo>
                  <a:cubicBezTo>
                    <a:pt x="1362" y="688"/>
                    <a:pt x="1362" y="688"/>
                    <a:pt x="1362" y="688"/>
                  </a:cubicBezTo>
                  <a:cubicBezTo>
                    <a:pt x="1362" y="687"/>
                    <a:pt x="1362" y="687"/>
                    <a:pt x="1362" y="687"/>
                  </a:cubicBezTo>
                  <a:cubicBezTo>
                    <a:pt x="1362" y="687"/>
                    <a:pt x="1362" y="687"/>
                    <a:pt x="1362" y="687"/>
                  </a:cubicBezTo>
                  <a:cubicBezTo>
                    <a:pt x="1362" y="687"/>
                    <a:pt x="1362" y="687"/>
                    <a:pt x="1362" y="687"/>
                  </a:cubicBezTo>
                  <a:cubicBezTo>
                    <a:pt x="1362" y="687"/>
                    <a:pt x="1362" y="687"/>
                    <a:pt x="1362"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4"/>
                    <a:pt x="1363" y="684"/>
                    <a:pt x="1363" y="684"/>
                  </a:cubicBezTo>
                  <a:cubicBezTo>
                    <a:pt x="1362" y="679"/>
                    <a:pt x="1362" y="679"/>
                    <a:pt x="1362" y="679"/>
                  </a:cubicBezTo>
                  <a:cubicBezTo>
                    <a:pt x="1361" y="667"/>
                    <a:pt x="1361" y="667"/>
                    <a:pt x="1361" y="667"/>
                  </a:cubicBezTo>
                  <a:cubicBezTo>
                    <a:pt x="1360" y="663"/>
                    <a:pt x="1360" y="663"/>
                    <a:pt x="1360" y="663"/>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8" y="659"/>
                    <a:pt x="1357" y="661"/>
                    <a:pt x="1357" y="659"/>
                  </a:cubicBezTo>
                  <a:cubicBezTo>
                    <a:pt x="1357" y="658"/>
                    <a:pt x="1357" y="658"/>
                    <a:pt x="1357" y="658"/>
                  </a:cubicBezTo>
                  <a:cubicBezTo>
                    <a:pt x="1357" y="658"/>
                    <a:pt x="1357" y="658"/>
                    <a:pt x="1357" y="658"/>
                  </a:cubicBezTo>
                  <a:cubicBezTo>
                    <a:pt x="1357" y="658"/>
                    <a:pt x="1357" y="658"/>
                    <a:pt x="1357" y="658"/>
                  </a:cubicBezTo>
                  <a:cubicBezTo>
                    <a:pt x="1357" y="658"/>
                    <a:pt x="1357" y="658"/>
                    <a:pt x="1357" y="658"/>
                  </a:cubicBezTo>
                  <a:cubicBezTo>
                    <a:pt x="1357" y="658"/>
                    <a:pt x="1357" y="658"/>
                    <a:pt x="1357" y="658"/>
                  </a:cubicBezTo>
                  <a:cubicBezTo>
                    <a:pt x="1357" y="657"/>
                    <a:pt x="1357" y="657"/>
                    <a:pt x="1357" y="657"/>
                  </a:cubicBezTo>
                  <a:cubicBezTo>
                    <a:pt x="1356" y="657"/>
                    <a:pt x="1356" y="657"/>
                    <a:pt x="1356" y="657"/>
                  </a:cubicBezTo>
                  <a:cubicBezTo>
                    <a:pt x="1356" y="657"/>
                    <a:pt x="1356" y="657"/>
                    <a:pt x="1356" y="657"/>
                  </a:cubicBezTo>
                  <a:cubicBezTo>
                    <a:pt x="1356" y="657"/>
                    <a:pt x="1356" y="657"/>
                    <a:pt x="1356" y="657"/>
                  </a:cubicBezTo>
                  <a:cubicBezTo>
                    <a:pt x="1357" y="655"/>
                    <a:pt x="1357" y="655"/>
                    <a:pt x="1357" y="655"/>
                  </a:cubicBezTo>
                  <a:cubicBezTo>
                    <a:pt x="1357" y="651"/>
                    <a:pt x="1357" y="651"/>
                    <a:pt x="1357" y="651"/>
                  </a:cubicBezTo>
                  <a:cubicBezTo>
                    <a:pt x="1360" y="641"/>
                    <a:pt x="1360" y="641"/>
                    <a:pt x="1360" y="641"/>
                  </a:cubicBezTo>
                  <a:cubicBezTo>
                    <a:pt x="1361" y="637"/>
                    <a:pt x="1361" y="637"/>
                    <a:pt x="1361" y="637"/>
                  </a:cubicBezTo>
                  <a:cubicBezTo>
                    <a:pt x="1360" y="628"/>
                    <a:pt x="1360" y="628"/>
                    <a:pt x="1360" y="628"/>
                  </a:cubicBezTo>
                  <a:cubicBezTo>
                    <a:pt x="1349" y="627"/>
                    <a:pt x="1349" y="627"/>
                    <a:pt x="1349" y="627"/>
                  </a:cubicBezTo>
                  <a:cubicBezTo>
                    <a:pt x="1348" y="627"/>
                    <a:pt x="1348" y="627"/>
                    <a:pt x="1348" y="627"/>
                  </a:cubicBezTo>
                  <a:cubicBezTo>
                    <a:pt x="1347" y="627"/>
                    <a:pt x="1347" y="627"/>
                    <a:pt x="1347" y="627"/>
                  </a:cubicBezTo>
                  <a:cubicBezTo>
                    <a:pt x="1347" y="627"/>
                    <a:pt x="1347" y="627"/>
                    <a:pt x="1347" y="627"/>
                  </a:cubicBezTo>
                  <a:cubicBezTo>
                    <a:pt x="1346" y="627"/>
                    <a:pt x="1346" y="627"/>
                    <a:pt x="1346" y="627"/>
                  </a:cubicBezTo>
                  <a:cubicBezTo>
                    <a:pt x="1346" y="626"/>
                    <a:pt x="1346" y="626"/>
                    <a:pt x="1346" y="626"/>
                  </a:cubicBezTo>
                  <a:cubicBezTo>
                    <a:pt x="1346" y="626"/>
                    <a:pt x="1346" y="626"/>
                    <a:pt x="1346" y="626"/>
                  </a:cubicBezTo>
                  <a:cubicBezTo>
                    <a:pt x="1345" y="626"/>
                    <a:pt x="1345" y="626"/>
                    <a:pt x="1345" y="626"/>
                  </a:cubicBezTo>
                  <a:cubicBezTo>
                    <a:pt x="1345" y="627"/>
                    <a:pt x="1345" y="627"/>
                    <a:pt x="1345" y="627"/>
                  </a:cubicBezTo>
                  <a:cubicBezTo>
                    <a:pt x="1345" y="627"/>
                    <a:pt x="1345" y="627"/>
                    <a:pt x="1345" y="627"/>
                  </a:cubicBezTo>
                  <a:cubicBezTo>
                    <a:pt x="1345" y="628"/>
                    <a:pt x="1345" y="628"/>
                    <a:pt x="1345" y="628"/>
                  </a:cubicBezTo>
                  <a:cubicBezTo>
                    <a:pt x="1344" y="628"/>
                    <a:pt x="1344" y="628"/>
                    <a:pt x="1344" y="628"/>
                  </a:cubicBezTo>
                  <a:cubicBezTo>
                    <a:pt x="1344" y="628"/>
                    <a:pt x="1344" y="628"/>
                    <a:pt x="1344" y="628"/>
                  </a:cubicBezTo>
                  <a:cubicBezTo>
                    <a:pt x="1344" y="627"/>
                    <a:pt x="1344" y="627"/>
                    <a:pt x="1344" y="627"/>
                  </a:cubicBezTo>
                  <a:cubicBezTo>
                    <a:pt x="1345" y="626"/>
                    <a:pt x="1345" y="626"/>
                    <a:pt x="1345" y="626"/>
                  </a:cubicBezTo>
                  <a:cubicBezTo>
                    <a:pt x="1345" y="625"/>
                    <a:pt x="1345" y="625"/>
                    <a:pt x="1345" y="625"/>
                  </a:cubicBezTo>
                  <a:cubicBezTo>
                    <a:pt x="1345" y="625"/>
                    <a:pt x="1345" y="625"/>
                    <a:pt x="1345" y="625"/>
                  </a:cubicBezTo>
                  <a:cubicBezTo>
                    <a:pt x="1345" y="624"/>
                    <a:pt x="1345" y="624"/>
                    <a:pt x="1345" y="624"/>
                  </a:cubicBezTo>
                  <a:cubicBezTo>
                    <a:pt x="1344" y="624"/>
                    <a:pt x="1344" y="624"/>
                    <a:pt x="1344" y="624"/>
                  </a:cubicBezTo>
                  <a:cubicBezTo>
                    <a:pt x="1344" y="624"/>
                    <a:pt x="1344" y="624"/>
                    <a:pt x="1344" y="624"/>
                  </a:cubicBezTo>
                  <a:cubicBezTo>
                    <a:pt x="1344" y="624"/>
                    <a:pt x="1344" y="624"/>
                    <a:pt x="1344" y="624"/>
                  </a:cubicBezTo>
                  <a:cubicBezTo>
                    <a:pt x="1343" y="624"/>
                    <a:pt x="1343" y="624"/>
                    <a:pt x="1343" y="624"/>
                  </a:cubicBezTo>
                  <a:cubicBezTo>
                    <a:pt x="1342" y="624"/>
                    <a:pt x="1342" y="624"/>
                    <a:pt x="1342" y="624"/>
                  </a:cubicBezTo>
                  <a:cubicBezTo>
                    <a:pt x="1338" y="624"/>
                    <a:pt x="1338" y="624"/>
                    <a:pt x="1338" y="624"/>
                  </a:cubicBezTo>
                  <a:cubicBezTo>
                    <a:pt x="1336" y="624"/>
                    <a:pt x="1336" y="624"/>
                    <a:pt x="1336" y="624"/>
                  </a:cubicBezTo>
                  <a:cubicBezTo>
                    <a:pt x="1335" y="624"/>
                    <a:pt x="1335" y="624"/>
                    <a:pt x="1335" y="624"/>
                  </a:cubicBezTo>
                  <a:cubicBezTo>
                    <a:pt x="1335" y="624"/>
                    <a:pt x="1335" y="624"/>
                    <a:pt x="1335" y="624"/>
                  </a:cubicBezTo>
                  <a:cubicBezTo>
                    <a:pt x="1334" y="624"/>
                    <a:pt x="1334" y="624"/>
                    <a:pt x="1334" y="624"/>
                  </a:cubicBezTo>
                  <a:cubicBezTo>
                    <a:pt x="1334" y="624"/>
                    <a:pt x="1334" y="624"/>
                    <a:pt x="1334" y="624"/>
                  </a:cubicBezTo>
                  <a:cubicBezTo>
                    <a:pt x="1333" y="624"/>
                    <a:pt x="1333" y="624"/>
                    <a:pt x="1333" y="624"/>
                  </a:cubicBezTo>
                  <a:cubicBezTo>
                    <a:pt x="1333" y="624"/>
                    <a:pt x="1333" y="624"/>
                    <a:pt x="1333" y="624"/>
                  </a:cubicBezTo>
                  <a:cubicBezTo>
                    <a:pt x="1332" y="624"/>
                    <a:pt x="1332" y="624"/>
                    <a:pt x="1332" y="624"/>
                  </a:cubicBezTo>
                  <a:cubicBezTo>
                    <a:pt x="1332" y="624"/>
                    <a:pt x="1332" y="624"/>
                    <a:pt x="1332" y="624"/>
                  </a:cubicBezTo>
                  <a:cubicBezTo>
                    <a:pt x="1332" y="624"/>
                    <a:pt x="1332" y="624"/>
                    <a:pt x="1332" y="624"/>
                  </a:cubicBezTo>
                  <a:cubicBezTo>
                    <a:pt x="1332" y="624"/>
                    <a:pt x="1332" y="624"/>
                    <a:pt x="1332" y="624"/>
                  </a:cubicBezTo>
                  <a:cubicBezTo>
                    <a:pt x="1331" y="624"/>
                    <a:pt x="1331" y="624"/>
                    <a:pt x="1331" y="624"/>
                  </a:cubicBezTo>
                  <a:cubicBezTo>
                    <a:pt x="1330" y="623"/>
                    <a:pt x="1330" y="623"/>
                    <a:pt x="1330" y="623"/>
                  </a:cubicBezTo>
                  <a:cubicBezTo>
                    <a:pt x="1329" y="623"/>
                    <a:pt x="1329" y="623"/>
                    <a:pt x="1329" y="623"/>
                  </a:cubicBezTo>
                  <a:cubicBezTo>
                    <a:pt x="1328" y="623"/>
                    <a:pt x="1328" y="623"/>
                    <a:pt x="1328" y="623"/>
                  </a:cubicBezTo>
                  <a:cubicBezTo>
                    <a:pt x="1327" y="622"/>
                    <a:pt x="1327" y="622"/>
                    <a:pt x="1327" y="622"/>
                  </a:cubicBezTo>
                  <a:cubicBezTo>
                    <a:pt x="1327" y="622"/>
                    <a:pt x="1327" y="622"/>
                    <a:pt x="1327" y="622"/>
                  </a:cubicBezTo>
                  <a:cubicBezTo>
                    <a:pt x="1327" y="622"/>
                    <a:pt x="1327" y="622"/>
                    <a:pt x="1327" y="622"/>
                  </a:cubicBezTo>
                  <a:cubicBezTo>
                    <a:pt x="1326" y="622"/>
                    <a:pt x="1326" y="622"/>
                    <a:pt x="1326" y="622"/>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8" y="623"/>
                    <a:pt x="1328" y="623"/>
                    <a:pt x="1328" y="623"/>
                  </a:cubicBezTo>
                  <a:cubicBezTo>
                    <a:pt x="1328" y="624"/>
                    <a:pt x="1328" y="624"/>
                    <a:pt x="1328" y="624"/>
                  </a:cubicBezTo>
                  <a:cubicBezTo>
                    <a:pt x="1329" y="624"/>
                    <a:pt x="1329" y="624"/>
                    <a:pt x="1329" y="624"/>
                  </a:cubicBezTo>
                  <a:cubicBezTo>
                    <a:pt x="1329" y="624"/>
                    <a:pt x="1329" y="624"/>
                    <a:pt x="1329" y="624"/>
                  </a:cubicBezTo>
                  <a:cubicBezTo>
                    <a:pt x="1329" y="624"/>
                    <a:pt x="1329" y="624"/>
                    <a:pt x="1329" y="624"/>
                  </a:cubicBezTo>
                  <a:cubicBezTo>
                    <a:pt x="1329" y="625"/>
                    <a:pt x="1329" y="625"/>
                    <a:pt x="1329" y="625"/>
                  </a:cubicBezTo>
                  <a:cubicBezTo>
                    <a:pt x="1330" y="625"/>
                    <a:pt x="1330" y="625"/>
                    <a:pt x="1330" y="625"/>
                  </a:cubicBezTo>
                  <a:cubicBezTo>
                    <a:pt x="1330" y="625"/>
                    <a:pt x="1330" y="625"/>
                    <a:pt x="1330" y="625"/>
                  </a:cubicBezTo>
                  <a:cubicBezTo>
                    <a:pt x="1330" y="625"/>
                    <a:pt x="1330" y="625"/>
                    <a:pt x="1330" y="625"/>
                  </a:cubicBezTo>
                  <a:cubicBezTo>
                    <a:pt x="1330" y="625"/>
                    <a:pt x="1330" y="625"/>
                    <a:pt x="1330" y="625"/>
                  </a:cubicBezTo>
                  <a:cubicBezTo>
                    <a:pt x="1330" y="625"/>
                    <a:pt x="1330" y="625"/>
                    <a:pt x="1330" y="625"/>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7"/>
                    <a:pt x="1330" y="627"/>
                    <a:pt x="1330" y="627"/>
                  </a:cubicBezTo>
                  <a:cubicBezTo>
                    <a:pt x="1330" y="627"/>
                    <a:pt x="1330" y="627"/>
                    <a:pt x="1330" y="627"/>
                  </a:cubicBezTo>
                  <a:cubicBezTo>
                    <a:pt x="1330" y="627"/>
                    <a:pt x="1330" y="627"/>
                    <a:pt x="1330" y="627"/>
                  </a:cubicBezTo>
                  <a:cubicBezTo>
                    <a:pt x="1329" y="627"/>
                    <a:pt x="1329" y="627"/>
                    <a:pt x="1329" y="627"/>
                  </a:cubicBezTo>
                  <a:cubicBezTo>
                    <a:pt x="1326" y="626"/>
                    <a:pt x="1326" y="626"/>
                    <a:pt x="1326" y="626"/>
                  </a:cubicBezTo>
                  <a:cubicBezTo>
                    <a:pt x="1320" y="624"/>
                    <a:pt x="1320" y="624"/>
                    <a:pt x="1320" y="624"/>
                  </a:cubicBezTo>
                  <a:cubicBezTo>
                    <a:pt x="1318" y="623"/>
                    <a:pt x="1318" y="623"/>
                    <a:pt x="1318" y="623"/>
                  </a:cubicBezTo>
                  <a:cubicBezTo>
                    <a:pt x="1317" y="623"/>
                    <a:pt x="1317" y="623"/>
                    <a:pt x="1317" y="623"/>
                  </a:cubicBezTo>
                  <a:cubicBezTo>
                    <a:pt x="1316" y="622"/>
                    <a:pt x="1315" y="622"/>
                    <a:pt x="1314" y="622"/>
                  </a:cubicBezTo>
                  <a:cubicBezTo>
                    <a:pt x="1314" y="622"/>
                    <a:pt x="1314" y="622"/>
                    <a:pt x="1314" y="622"/>
                  </a:cubicBezTo>
                  <a:cubicBezTo>
                    <a:pt x="1314" y="622"/>
                    <a:pt x="1314" y="622"/>
                    <a:pt x="1314" y="622"/>
                  </a:cubicBezTo>
                  <a:cubicBezTo>
                    <a:pt x="1313" y="622"/>
                    <a:pt x="1313" y="622"/>
                    <a:pt x="1312" y="622"/>
                  </a:cubicBezTo>
                  <a:cubicBezTo>
                    <a:pt x="1312" y="622"/>
                    <a:pt x="1312" y="622"/>
                    <a:pt x="1312" y="622"/>
                  </a:cubicBezTo>
                  <a:cubicBezTo>
                    <a:pt x="1312" y="622"/>
                    <a:pt x="1312" y="622"/>
                    <a:pt x="1312" y="622"/>
                  </a:cubicBezTo>
                  <a:cubicBezTo>
                    <a:pt x="1312" y="622"/>
                    <a:pt x="1312" y="622"/>
                    <a:pt x="1312" y="622"/>
                  </a:cubicBezTo>
                  <a:cubicBezTo>
                    <a:pt x="1310" y="622"/>
                    <a:pt x="1311" y="622"/>
                    <a:pt x="1309" y="623"/>
                  </a:cubicBezTo>
                  <a:cubicBezTo>
                    <a:pt x="1309" y="623"/>
                    <a:pt x="1309" y="623"/>
                    <a:pt x="1309" y="623"/>
                  </a:cubicBezTo>
                  <a:cubicBezTo>
                    <a:pt x="1308" y="623"/>
                    <a:pt x="1308" y="623"/>
                    <a:pt x="1308" y="623"/>
                  </a:cubicBezTo>
                  <a:cubicBezTo>
                    <a:pt x="1308" y="623"/>
                    <a:pt x="1308" y="623"/>
                    <a:pt x="1308" y="623"/>
                  </a:cubicBezTo>
                  <a:cubicBezTo>
                    <a:pt x="1304" y="624"/>
                    <a:pt x="1302" y="623"/>
                    <a:pt x="1298" y="622"/>
                  </a:cubicBezTo>
                  <a:cubicBezTo>
                    <a:pt x="1298" y="622"/>
                    <a:pt x="1298" y="622"/>
                    <a:pt x="1298" y="622"/>
                  </a:cubicBezTo>
                  <a:cubicBezTo>
                    <a:pt x="1298" y="622"/>
                    <a:pt x="1298" y="622"/>
                    <a:pt x="1298" y="622"/>
                  </a:cubicBezTo>
                  <a:cubicBezTo>
                    <a:pt x="1298" y="622"/>
                    <a:pt x="1298" y="622"/>
                    <a:pt x="1298" y="622"/>
                  </a:cubicBezTo>
                  <a:cubicBezTo>
                    <a:pt x="1298" y="622"/>
                    <a:pt x="1298" y="622"/>
                    <a:pt x="1298" y="622"/>
                  </a:cubicBezTo>
                  <a:cubicBezTo>
                    <a:pt x="1296" y="621"/>
                    <a:pt x="1292" y="623"/>
                    <a:pt x="1291" y="625"/>
                  </a:cubicBezTo>
                  <a:cubicBezTo>
                    <a:pt x="1291" y="625"/>
                    <a:pt x="1291" y="625"/>
                    <a:pt x="1291" y="625"/>
                  </a:cubicBezTo>
                  <a:cubicBezTo>
                    <a:pt x="1291" y="625"/>
                    <a:pt x="1291" y="625"/>
                    <a:pt x="1291" y="625"/>
                  </a:cubicBezTo>
                  <a:cubicBezTo>
                    <a:pt x="1291" y="625"/>
                    <a:pt x="1291" y="625"/>
                    <a:pt x="1291" y="625"/>
                  </a:cubicBezTo>
                  <a:cubicBezTo>
                    <a:pt x="1290" y="627"/>
                    <a:pt x="1289" y="627"/>
                    <a:pt x="1289" y="628"/>
                  </a:cubicBezTo>
                  <a:cubicBezTo>
                    <a:pt x="1289" y="628"/>
                    <a:pt x="1289" y="628"/>
                    <a:pt x="1289" y="628"/>
                  </a:cubicBezTo>
                  <a:cubicBezTo>
                    <a:pt x="1288" y="629"/>
                    <a:pt x="1288" y="629"/>
                    <a:pt x="1288" y="629"/>
                  </a:cubicBezTo>
                  <a:cubicBezTo>
                    <a:pt x="1288" y="630"/>
                    <a:pt x="1288" y="630"/>
                    <a:pt x="1287" y="631"/>
                  </a:cubicBezTo>
                  <a:cubicBezTo>
                    <a:pt x="1287" y="631"/>
                    <a:pt x="1287" y="631"/>
                    <a:pt x="1287" y="631"/>
                  </a:cubicBezTo>
                  <a:cubicBezTo>
                    <a:pt x="1287" y="631"/>
                    <a:pt x="1287" y="631"/>
                    <a:pt x="1287" y="631"/>
                  </a:cubicBezTo>
                  <a:cubicBezTo>
                    <a:pt x="1287" y="631"/>
                    <a:pt x="1287" y="631"/>
                    <a:pt x="1287" y="631"/>
                  </a:cubicBezTo>
                  <a:cubicBezTo>
                    <a:pt x="1287" y="632"/>
                    <a:pt x="1287" y="632"/>
                    <a:pt x="1287" y="632"/>
                  </a:cubicBezTo>
                  <a:cubicBezTo>
                    <a:pt x="1287" y="631"/>
                    <a:pt x="1287" y="631"/>
                    <a:pt x="1287" y="631"/>
                  </a:cubicBezTo>
                  <a:cubicBezTo>
                    <a:pt x="1287" y="631"/>
                    <a:pt x="1287" y="631"/>
                    <a:pt x="1287" y="631"/>
                  </a:cubicBezTo>
                  <a:cubicBezTo>
                    <a:pt x="1287" y="629"/>
                    <a:pt x="1287" y="629"/>
                    <a:pt x="1287" y="629"/>
                  </a:cubicBezTo>
                  <a:cubicBezTo>
                    <a:pt x="1287" y="629"/>
                    <a:pt x="1287" y="629"/>
                    <a:pt x="1287" y="629"/>
                  </a:cubicBezTo>
                  <a:cubicBezTo>
                    <a:pt x="1287" y="628"/>
                    <a:pt x="1287" y="628"/>
                    <a:pt x="1287" y="628"/>
                  </a:cubicBezTo>
                  <a:cubicBezTo>
                    <a:pt x="1287" y="628"/>
                    <a:pt x="1287" y="628"/>
                    <a:pt x="1287" y="628"/>
                  </a:cubicBezTo>
                  <a:cubicBezTo>
                    <a:pt x="1288" y="628"/>
                    <a:pt x="1288" y="628"/>
                    <a:pt x="1288" y="628"/>
                  </a:cubicBezTo>
                  <a:cubicBezTo>
                    <a:pt x="1288" y="628"/>
                    <a:pt x="1288" y="628"/>
                    <a:pt x="1288" y="628"/>
                  </a:cubicBezTo>
                  <a:cubicBezTo>
                    <a:pt x="1288" y="628"/>
                    <a:pt x="1288" y="628"/>
                    <a:pt x="1288" y="628"/>
                  </a:cubicBezTo>
                  <a:cubicBezTo>
                    <a:pt x="1288" y="627"/>
                    <a:pt x="1288" y="627"/>
                    <a:pt x="1288" y="627"/>
                  </a:cubicBezTo>
                  <a:cubicBezTo>
                    <a:pt x="1288" y="627"/>
                    <a:pt x="1288" y="627"/>
                    <a:pt x="1288" y="627"/>
                  </a:cubicBezTo>
                  <a:cubicBezTo>
                    <a:pt x="1288" y="627"/>
                    <a:pt x="1288" y="627"/>
                    <a:pt x="1288" y="627"/>
                  </a:cubicBezTo>
                  <a:cubicBezTo>
                    <a:pt x="1289" y="627"/>
                    <a:pt x="1289" y="627"/>
                    <a:pt x="1289" y="627"/>
                  </a:cubicBezTo>
                  <a:cubicBezTo>
                    <a:pt x="1289" y="627"/>
                    <a:pt x="1289" y="627"/>
                    <a:pt x="1289" y="627"/>
                  </a:cubicBezTo>
                  <a:cubicBezTo>
                    <a:pt x="1289" y="627"/>
                    <a:pt x="1289" y="627"/>
                    <a:pt x="1289" y="627"/>
                  </a:cubicBezTo>
                  <a:cubicBezTo>
                    <a:pt x="1289" y="627"/>
                    <a:pt x="1289" y="627"/>
                    <a:pt x="1289" y="627"/>
                  </a:cubicBezTo>
                  <a:cubicBezTo>
                    <a:pt x="1289" y="626"/>
                    <a:pt x="1289" y="626"/>
                    <a:pt x="1289" y="626"/>
                  </a:cubicBezTo>
                  <a:cubicBezTo>
                    <a:pt x="1290" y="626"/>
                    <a:pt x="1289" y="625"/>
                    <a:pt x="1290" y="625"/>
                  </a:cubicBezTo>
                  <a:cubicBezTo>
                    <a:pt x="1290" y="624"/>
                    <a:pt x="1290" y="624"/>
                    <a:pt x="1290" y="624"/>
                  </a:cubicBezTo>
                  <a:cubicBezTo>
                    <a:pt x="1290" y="624"/>
                    <a:pt x="1290" y="624"/>
                    <a:pt x="1290" y="624"/>
                  </a:cubicBezTo>
                  <a:cubicBezTo>
                    <a:pt x="1290" y="624"/>
                    <a:pt x="1290" y="624"/>
                    <a:pt x="1290" y="624"/>
                  </a:cubicBezTo>
                  <a:cubicBezTo>
                    <a:pt x="1290" y="624"/>
                    <a:pt x="1290" y="624"/>
                    <a:pt x="1290" y="624"/>
                  </a:cubicBezTo>
                  <a:cubicBezTo>
                    <a:pt x="1291" y="624"/>
                    <a:pt x="1291" y="624"/>
                    <a:pt x="1291" y="624"/>
                  </a:cubicBezTo>
                  <a:cubicBezTo>
                    <a:pt x="1291" y="624"/>
                    <a:pt x="1291" y="624"/>
                    <a:pt x="1291" y="624"/>
                  </a:cubicBezTo>
                  <a:cubicBezTo>
                    <a:pt x="1291" y="624"/>
                    <a:pt x="1291" y="624"/>
                    <a:pt x="1291" y="624"/>
                  </a:cubicBezTo>
                  <a:cubicBezTo>
                    <a:pt x="1291" y="623"/>
                    <a:pt x="1291" y="623"/>
                    <a:pt x="1291" y="623"/>
                  </a:cubicBezTo>
                  <a:cubicBezTo>
                    <a:pt x="1291" y="623"/>
                    <a:pt x="1291" y="623"/>
                    <a:pt x="1291" y="623"/>
                  </a:cubicBezTo>
                  <a:cubicBezTo>
                    <a:pt x="1291" y="623"/>
                    <a:pt x="1291" y="623"/>
                    <a:pt x="1291" y="623"/>
                  </a:cubicBezTo>
                  <a:cubicBezTo>
                    <a:pt x="1292" y="623"/>
                    <a:pt x="1292" y="623"/>
                    <a:pt x="1292" y="623"/>
                  </a:cubicBezTo>
                  <a:cubicBezTo>
                    <a:pt x="1292" y="623"/>
                    <a:pt x="1292" y="623"/>
                    <a:pt x="1292" y="623"/>
                  </a:cubicBezTo>
                  <a:cubicBezTo>
                    <a:pt x="1292" y="623"/>
                    <a:pt x="1292" y="623"/>
                    <a:pt x="1292" y="623"/>
                  </a:cubicBezTo>
                  <a:cubicBezTo>
                    <a:pt x="1292" y="623"/>
                    <a:pt x="1292" y="623"/>
                    <a:pt x="1292" y="623"/>
                  </a:cubicBezTo>
                  <a:cubicBezTo>
                    <a:pt x="1292" y="622"/>
                    <a:pt x="1292" y="622"/>
                    <a:pt x="1292" y="622"/>
                  </a:cubicBezTo>
                  <a:cubicBezTo>
                    <a:pt x="1292" y="622"/>
                    <a:pt x="1292" y="622"/>
                    <a:pt x="1292" y="622"/>
                  </a:cubicBezTo>
                  <a:cubicBezTo>
                    <a:pt x="1292" y="622"/>
                    <a:pt x="1292" y="622"/>
                    <a:pt x="1292" y="622"/>
                  </a:cubicBezTo>
                  <a:cubicBezTo>
                    <a:pt x="1292" y="622"/>
                    <a:pt x="1292" y="622"/>
                    <a:pt x="1292" y="622"/>
                  </a:cubicBezTo>
                  <a:cubicBezTo>
                    <a:pt x="1293" y="622"/>
                    <a:pt x="1294" y="622"/>
                    <a:pt x="1294" y="621"/>
                  </a:cubicBezTo>
                  <a:cubicBezTo>
                    <a:pt x="1294" y="621"/>
                    <a:pt x="1294" y="621"/>
                    <a:pt x="1294" y="621"/>
                  </a:cubicBezTo>
                  <a:cubicBezTo>
                    <a:pt x="1294" y="621"/>
                    <a:pt x="1294" y="621"/>
                    <a:pt x="1294" y="621"/>
                  </a:cubicBezTo>
                  <a:cubicBezTo>
                    <a:pt x="1294" y="620"/>
                    <a:pt x="1294" y="620"/>
                    <a:pt x="1294" y="620"/>
                  </a:cubicBezTo>
                  <a:cubicBezTo>
                    <a:pt x="1294" y="620"/>
                    <a:pt x="1294" y="620"/>
                    <a:pt x="1294" y="620"/>
                  </a:cubicBezTo>
                  <a:cubicBezTo>
                    <a:pt x="1293" y="620"/>
                    <a:pt x="1293" y="620"/>
                    <a:pt x="1293" y="620"/>
                  </a:cubicBezTo>
                  <a:cubicBezTo>
                    <a:pt x="1255" y="603"/>
                    <a:pt x="1255" y="603"/>
                    <a:pt x="1255" y="603"/>
                  </a:cubicBezTo>
                  <a:cubicBezTo>
                    <a:pt x="1254" y="603"/>
                    <a:pt x="1253" y="602"/>
                    <a:pt x="1252" y="602"/>
                  </a:cubicBezTo>
                  <a:cubicBezTo>
                    <a:pt x="1252" y="602"/>
                    <a:pt x="1252" y="602"/>
                    <a:pt x="1252" y="602"/>
                  </a:cubicBezTo>
                  <a:cubicBezTo>
                    <a:pt x="1251" y="602"/>
                    <a:pt x="1251" y="602"/>
                    <a:pt x="1251" y="602"/>
                  </a:cubicBezTo>
                  <a:cubicBezTo>
                    <a:pt x="1251" y="602"/>
                    <a:pt x="1251" y="602"/>
                    <a:pt x="1251" y="602"/>
                  </a:cubicBezTo>
                  <a:cubicBezTo>
                    <a:pt x="1251" y="602"/>
                    <a:pt x="1251" y="602"/>
                    <a:pt x="1251" y="602"/>
                  </a:cubicBezTo>
                  <a:cubicBezTo>
                    <a:pt x="1251" y="602"/>
                    <a:pt x="1251" y="602"/>
                    <a:pt x="1251" y="602"/>
                  </a:cubicBezTo>
                  <a:cubicBezTo>
                    <a:pt x="1250" y="601"/>
                    <a:pt x="1250" y="601"/>
                    <a:pt x="1250" y="601"/>
                  </a:cubicBezTo>
                  <a:cubicBezTo>
                    <a:pt x="1249" y="601"/>
                    <a:pt x="1249" y="601"/>
                    <a:pt x="1249" y="601"/>
                  </a:cubicBezTo>
                  <a:cubicBezTo>
                    <a:pt x="1249" y="601"/>
                    <a:pt x="1249" y="601"/>
                    <a:pt x="1249" y="601"/>
                  </a:cubicBezTo>
                  <a:cubicBezTo>
                    <a:pt x="1249" y="601"/>
                    <a:pt x="1249" y="601"/>
                    <a:pt x="1249" y="601"/>
                  </a:cubicBezTo>
                  <a:cubicBezTo>
                    <a:pt x="1249" y="601"/>
                    <a:pt x="1249" y="601"/>
                    <a:pt x="1249" y="601"/>
                  </a:cubicBezTo>
                  <a:cubicBezTo>
                    <a:pt x="1248" y="601"/>
                    <a:pt x="1248" y="601"/>
                    <a:pt x="1248" y="601"/>
                  </a:cubicBezTo>
                  <a:cubicBezTo>
                    <a:pt x="1248" y="601"/>
                    <a:pt x="1248" y="601"/>
                    <a:pt x="1248" y="601"/>
                  </a:cubicBezTo>
                  <a:cubicBezTo>
                    <a:pt x="1248" y="601"/>
                    <a:pt x="1248" y="601"/>
                    <a:pt x="1248" y="601"/>
                  </a:cubicBezTo>
                  <a:cubicBezTo>
                    <a:pt x="1248" y="601"/>
                    <a:pt x="1248" y="601"/>
                    <a:pt x="1248" y="601"/>
                  </a:cubicBezTo>
                  <a:cubicBezTo>
                    <a:pt x="1248" y="601"/>
                    <a:pt x="1248" y="601"/>
                    <a:pt x="1248" y="601"/>
                  </a:cubicBezTo>
                  <a:cubicBezTo>
                    <a:pt x="1247" y="601"/>
                    <a:pt x="1247" y="601"/>
                    <a:pt x="1247" y="601"/>
                  </a:cubicBezTo>
                  <a:cubicBezTo>
                    <a:pt x="1247" y="601"/>
                    <a:pt x="1247" y="601"/>
                    <a:pt x="1247" y="601"/>
                  </a:cubicBezTo>
                  <a:cubicBezTo>
                    <a:pt x="1246" y="601"/>
                    <a:pt x="1246" y="601"/>
                    <a:pt x="1245" y="601"/>
                  </a:cubicBezTo>
                  <a:cubicBezTo>
                    <a:pt x="1244" y="601"/>
                    <a:pt x="1244" y="601"/>
                    <a:pt x="1244" y="601"/>
                  </a:cubicBezTo>
                  <a:cubicBezTo>
                    <a:pt x="1244" y="601"/>
                    <a:pt x="1244" y="601"/>
                    <a:pt x="1244" y="601"/>
                  </a:cubicBezTo>
                  <a:cubicBezTo>
                    <a:pt x="1242" y="600"/>
                    <a:pt x="1243" y="601"/>
                    <a:pt x="1241" y="600"/>
                  </a:cubicBezTo>
                  <a:cubicBezTo>
                    <a:pt x="1240" y="600"/>
                    <a:pt x="1240" y="600"/>
                    <a:pt x="1240" y="600"/>
                  </a:cubicBezTo>
                  <a:cubicBezTo>
                    <a:pt x="1238" y="599"/>
                    <a:pt x="1238" y="599"/>
                    <a:pt x="1238" y="599"/>
                  </a:cubicBezTo>
                  <a:cubicBezTo>
                    <a:pt x="1237" y="598"/>
                    <a:pt x="1237" y="598"/>
                    <a:pt x="1237" y="598"/>
                  </a:cubicBezTo>
                  <a:cubicBezTo>
                    <a:pt x="1236" y="598"/>
                    <a:pt x="1236" y="598"/>
                    <a:pt x="1236" y="598"/>
                  </a:cubicBezTo>
                  <a:cubicBezTo>
                    <a:pt x="1236" y="598"/>
                    <a:pt x="1236" y="598"/>
                    <a:pt x="1236" y="598"/>
                  </a:cubicBezTo>
                  <a:cubicBezTo>
                    <a:pt x="1236" y="598"/>
                    <a:pt x="1236" y="598"/>
                    <a:pt x="1236" y="598"/>
                  </a:cubicBezTo>
                  <a:cubicBezTo>
                    <a:pt x="1236" y="599"/>
                    <a:pt x="1236" y="599"/>
                    <a:pt x="1236" y="599"/>
                  </a:cubicBezTo>
                  <a:cubicBezTo>
                    <a:pt x="1236" y="599"/>
                    <a:pt x="1236" y="599"/>
                    <a:pt x="1236" y="599"/>
                  </a:cubicBezTo>
                  <a:cubicBezTo>
                    <a:pt x="1236" y="599"/>
                    <a:pt x="1236" y="599"/>
                    <a:pt x="1236" y="599"/>
                  </a:cubicBezTo>
                  <a:cubicBezTo>
                    <a:pt x="1236" y="599"/>
                    <a:pt x="1236" y="599"/>
                    <a:pt x="1236" y="599"/>
                  </a:cubicBezTo>
                  <a:cubicBezTo>
                    <a:pt x="1236" y="599"/>
                    <a:pt x="1236" y="599"/>
                    <a:pt x="1236" y="599"/>
                  </a:cubicBezTo>
                  <a:cubicBezTo>
                    <a:pt x="1236" y="598"/>
                    <a:pt x="1236" y="598"/>
                    <a:pt x="1236" y="598"/>
                  </a:cubicBezTo>
                  <a:cubicBezTo>
                    <a:pt x="1235" y="597"/>
                    <a:pt x="1235" y="597"/>
                    <a:pt x="1235" y="597"/>
                  </a:cubicBezTo>
                  <a:cubicBezTo>
                    <a:pt x="1233" y="592"/>
                    <a:pt x="1234" y="593"/>
                    <a:pt x="1232" y="590"/>
                  </a:cubicBezTo>
                  <a:cubicBezTo>
                    <a:pt x="1231" y="590"/>
                    <a:pt x="1231" y="590"/>
                    <a:pt x="1231" y="590"/>
                  </a:cubicBezTo>
                  <a:cubicBezTo>
                    <a:pt x="1231" y="590"/>
                    <a:pt x="1231" y="590"/>
                    <a:pt x="1231" y="590"/>
                  </a:cubicBezTo>
                  <a:cubicBezTo>
                    <a:pt x="1231" y="589"/>
                    <a:pt x="1231" y="589"/>
                    <a:pt x="1231" y="589"/>
                  </a:cubicBezTo>
                  <a:cubicBezTo>
                    <a:pt x="1231" y="589"/>
                    <a:pt x="1231" y="589"/>
                    <a:pt x="1230" y="588"/>
                  </a:cubicBezTo>
                  <a:cubicBezTo>
                    <a:pt x="1230" y="588"/>
                    <a:pt x="1230" y="588"/>
                    <a:pt x="1230" y="588"/>
                  </a:cubicBezTo>
                  <a:cubicBezTo>
                    <a:pt x="1230" y="588"/>
                    <a:pt x="1230" y="588"/>
                    <a:pt x="1230" y="588"/>
                  </a:cubicBezTo>
                  <a:cubicBezTo>
                    <a:pt x="1229" y="587"/>
                    <a:pt x="1229" y="587"/>
                    <a:pt x="1229" y="587"/>
                  </a:cubicBezTo>
                  <a:cubicBezTo>
                    <a:pt x="1228" y="586"/>
                    <a:pt x="1228" y="586"/>
                    <a:pt x="1228" y="586"/>
                  </a:cubicBezTo>
                  <a:cubicBezTo>
                    <a:pt x="1228" y="586"/>
                    <a:pt x="1228" y="586"/>
                    <a:pt x="1228" y="586"/>
                  </a:cubicBezTo>
                  <a:cubicBezTo>
                    <a:pt x="1228" y="586"/>
                    <a:pt x="1228" y="586"/>
                    <a:pt x="1228" y="586"/>
                  </a:cubicBezTo>
                  <a:cubicBezTo>
                    <a:pt x="1228" y="586"/>
                    <a:pt x="1228" y="586"/>
                    <a:pt x="1228" y="586"/>
                  </a:cubicBezTo>
                  <a:cubicBezTo>
                    <a:pt x="1228" y="585"/>
                    <a:pt x="1228" y="585"/>
                    <a:pt x="1228" y="585"/>
                  </a:cubicBezTo>
                  <a:cubicBezTo>
                    <a:pt x="1228" y="585"/>
                    <a:pt x="1228" y="585"/>
                    <a:pt x="1228" y="585"/>
                  </a:cubicBezTo>
                  <a:cubicBezTo>
                    <a:pt x="1228" y="585"/>
                    <a:pt x="1228" y="585"/>
                    <a:pt x="1228" y="585"/>
                  </a:cubicBezTo>
                  <a:cubicBezTo>
                    <a:pt x="1228" y="585"/>
                    <a:pt x="1228" y="585"/>
                    <a:pt x="1228" y="585"/>
                  </a:cubicBezTo>
                  <a:cubicBezTo>
                    <a:pt x="1227" y="585"/>
                    <a:pt x="1227" y="585"/>
                    <a:pt x="1227" y="585"/>
                  </a:cubicBezTo>
                  <a:cubicBezTo>
                    <a:pt x="1227" y="585"/>
                    <a:pt x="1227" y="585"/>
                    <a:pt x="1227" y="585"/>
                  </a:cubicBezTo>
                  <a:cubicBezTo>
                    <a:pt x="1227" y="585"/>
                    <a:pt x="1227" y="585"/>
                    <a:pt x="1227" y="585"/>
                  </a:cubicBezTo>
                  <a:cubicBezTo>
                    <a:pt x="1204" y="571"/>
                    <a:pt x="1204" y="571"/>
                    <a:pt x="1204" y="571"/>
                  </a:cubicBezTo>
                  <a:cubicBezTo>
                    <a:pt x="1202" y="571"/>
                    <a:pt x="1202" y="571"/>
                    <a:pt x="1202" y="571"/>
                  </a:cubicBezTo>
                  <a:cubicBezTo>
                    <a:pt x="1195" y="569"/>
                    <a:pt x="1188" y="567"/>
                    <a:pt x="1180" y="565"/>
                  </a:cubicBezTo>
                  <a:cubicBezTo>
                    <a:pt x="1180" y="566"/>
                    <a:pt x="1180" y="567"/>
                    <a:pt x="1180" y="567"/>
                  </a:cubicBezTo>
                  <a:cubicBezTo>
                    <a:pt x="1180" y="565"/>
                    <a:pt x="1180" y="565"/>
                    <a:pt x="1177" y="564"/>
                  </a:cubicBezTo>
                  <a:cubicBezTo>
                    <a:pt x="1170" y="562"/>
                    <a:pt x="1161" y="556"/>
                    <a:pt x="1154" y="558"/>
                  </a:cubicBezTo>
                  <a:cubicBezTo>
                    <a:pt x="1151" y="559"/>
                    <a:pt x="1148" y="560"/>
                    <a:pt x="1146" y="561"/>
                  </a:cubicBezTo>
                  <a:cubicBezTo>
                    <a:pt x="1138" y="563"/>
                    <a:pt x="1131" y="566"/>
                    <a:pt x="1123" y="568"/>
                  </a:cubicBezTo>
                  <a:cubicBezTo>
                    <a:pt x="1125" y="567"/>
                    <a:pt x="1127" y="566"/>
                    <a:pt x="1128" y="564"/>
                  </a:cubicBezTo>
                  <a:cubicBezTo>
                    <a:pt x="1123" y="564"/>
                    <a:pt x="1118" y="567"/>
                    <a:pt x="1114" y="569"/>
                  </a:cubicBezTo>
                  <a:cubicBezTo>
                    <a:pt x="1120" y="566"/>
                    <a:pt x="1126" y="560"/>
                    <a:pt x="1124" y="553"/>
                  </a:cubicBezTo>
                  <a:cubicBezTo>
                    <a:pt x="1123" y="550"/>
                    <a:pt x="1121" y="547"/>
                    <a:pt x="1120" y="544"/>
                  </a:cubicBezTo>
                  <a:cubicBezTo>
                    <a:pt x="1120" y="543"/>
                    <a:pt x="1119" y="542"/>
                    <a:pt x="1118" y="541"/>
                  </a:cubicBezTo>
                  <a:cubicBezTo>
                    <a:pt x="1118" y="540"/>
                    <a:pt x="1117" y="539"/>
                    <a:pt x="1116" y="539"/>
                  </a:cubicBezTo>
                  <a:cubicBezTo>
                    <a:pt x="1116" y="538"/>
                    <a:pt x="1117" y="537"/>
                    <a:pt x="1117" y="536"/>
                  </a:cubicBezTo>
                  <a:cubicBezTo>
                    <a:pt x="1116" y="534"/>
                    <a:pt x="1116" y="531"/>
                    <a:pt x="1115" y="529"/>
                  </a:cubicBezTo>
                  <a:cubicBezTo>
                    <a:pt x="1113" y="526"/>
                    <a:pt x="1112" y="524"/>
                    <a:pt x="1110" y="521"/>
                  </a:cubicBezTo>
                  <a:cubicBezTo>
                    <a:pt x="1109" y="518"/>
                    <a:pt x="1109" y="516"/>
                    <a:pt x="1108" y="513"/>
                  </a:cubicBezTo>
                  <a:cubicBezTo>
                    <a:pt x="1108" y="512"/>
                    <a:pt x="1107" y="509"/>
                    <a:pt x="1106" y="508"/>
                  </a:cubicBezTo>
                  <a:cubicBezTo>
                    <a:pt x="1105" y="506"/>
                    <a:pt x="1105" y="507"/>
                    <a:pt x="1103" y="507"/>
                  </a:cubicBezTo>
                  <a:cubicBezTo>
                    <a:pt x="1102" y="507"/>
                    <a:pt x="1098" y="506"/>
                    <a:pt x="1096" y="506"/>
                  </a:cubicBezTo>
                  <a:cubicBezTo>
                    <a:pt x="1092" y="506"/>
                    <a:pt x="1088" y="507"/>
                    <a:pt x="1084" y="507"/>
                  </a:cubicBezTo>
                  <a:cubicBezTo>
                    <a:pt x="1085" y="508"/>
                    <a:pt x="1084" y="509"/>
                    <a:pt x="1083" y="511"/>
                  </a:cubicBezTo>
                  <a:cubicBezTo>
                    <a:pt x="1082" y="513"/>
                    <a:pt x="1082" y="513"/>
                    <a:pt x="1082" y="515"/>
                  </a:cubicBezTo>
                  <a:cubicBezTo>
                    <a:pt x="1082" y="519"/>
                    <a:pt x="1082" y="521"/>
                    <a:pt x="1079" y="525"/>
                  </a:cubicBezTo>
                  <a:cubicBezTo>
                    <a:pt x="1080" y="522"/>
                    <a:pt x="1081" y="519"/>
                    <a:pt x="1081" y="517"/>
                  </a:cubicBezTo>
                  <a:cubicBezTo>
                    <a:pt x="1081" y="515"/>
                    <a:pt x="1080" y="514"/>
                    <a:pt x="1081" y="513"/>
                  </a:cubicBezTo>
                  <a:cubicBezTo>
                    <a:pt x="1081" y="510"/>
                    <a:pt x="1083" y="510"/>
                    <a:pt x="1083" y="507"/>
                  </a:cubicBezTo>
                  <a:cubicBezTo>
                    <a:pt x="1083" y="504"/>
                    <a:pt x="1082" y="506"/>
                    <a:pt x="1081" y="506"/>
                  </a:cubicBezTo>
                  <a:cubicBezTo>
                    <a:pt x="1078" y="506"/>
                    <a:pt x="1076" y="506"/>
                    <a:pt x="1073" y="505"/>
                  </a:cubicBezTo>
                  <a:cubicBezTo>
                    <a:pt x="1071" y="504"/>
                    <a:pt x="1064" y="498"/>
                    <a:pt x="1065" y="496"/>
                  </a:cubicBezTo>
                  <a:cubicBezTo>
                    <a:pt x="1065" y="495"/>
                    <a:pt x="1069" y="496"/>
                    <a:pt x="1069" y="495"/>
                  </a:cubicBezTo>
                  <a:cubicBezTo>
                    <a:pt x="1070" y="494"/>
                    <a:pt x="1069" y="492"/>
                    <a:pt x="1070" y="491"/>
                  </a:cubicBezTo>
                  <a:cubicBezTo>
                    <a:pt x="1070" y="488"/>
                    <a:pt x="1071" y="488"/>
                    <a:pt x="1071" y="485"/>
                  </a:cubicBezTo>
                  <a:cubicBezTo>
                    <a:pt x="1070" y="483"/>
                    <a:pt x="1069" y="481"/>
                    <a:pt x="1069" y="478"/>
                  </a:cubicBezTo>
                  <a:cubicBezTo>
                    <a:pt x="1069" y="477"/>
                    <a:pt x="1069" y="475"/>
                    <a:pt x="1069" y="473"/>
                  </a:cubicBezTo>
                  <a:cubicBezTo>
                    <a:pt x="1070" y="470"/>
                    <a:pt x="1069" y="468"/>
                    <a:pt x="1069" y="464"/>
                  </a:cubicBezTo>
                  <a:cubicBezTo>
                    <a:pt x="1069" y="464"/>
                    <a:pt x="1069" y="464"/>
                    <a:pt x="1068" y="464"/>
                  </a:cubicBezTo>
                  <a:cubicBezTo>
                    <a:pt x="1071" y="464"/>
                    <a:pt x="1072" y="454"/>
                    <a:pt x="1073" y="451"/>
                  </a:cubicBezTo>
                  <a:cubicBezTo>
                    <a:pt x="1074" y="449"/>
                    <a:pt x="1071" y="447"/>
                    <a:pt x="1069" y="447"/>
                  </a:cubicBezTo>
                  <a:cubicBezTo>
                    <a:pt x="1071" y="445"/>
                    <a:pt x="1072" y="446"/>
                    <a:pt x="1073" y="446"/>
                  </a:cubicBezTo>
                  <a:cubicBezTo>
                    <a:pt x="1076" y="444"/>
                    <a:pt x="1077" y="438"/>
                    <a:pt x="1079" y="435"/>
                  </a:cubicBezTo>
                  <a:cubicBezTo>
                    <a:pt x="1080" y="434"/>
                    <a:pt x="1081" y="433"/>
                    <a:pt x="1082" y="431"/>
                  </a:cubicBezTo>
                  <a:cubicBezTo>
                    <a:pt x="1084" y="428"/>
                    <a:pt x="1085" y="428"/>
                    <a:pt x="1088" y="426"/>
                  </a:cubicBezTo>
                  <a:cubicBezTo>
                    <a:pt x="1088" y="426"/>
                    <a:pt x="1087" y="426"/>
                    <a:pt x="1087" y="426"/>
                  </a:cubicBezTo>
                  <a:cubicBezTo>
                    <a:pt x="1087" y="422"/>
                    <a:pt x="1088" y="421"/>
                    <a:pt x="1085" y="418"/>
                  </a:cubicBezTo>
                  <a:cubicBezTo>
                    <a:pt x="1087" y="419"/>
                    <a:pt x="1088" y="419"/>
                    <a:pt x="1089" y="418"/>
                  </a:cubicBezTo>
                  <a:cubicBezTo>
                    <a:pt x="1092" y="418"/>
                    <a:pt x="1092" y="417"/>
                    <a:pt x="1091" y="416"/>
                  </a:cubicBezTo>
                  <a:cubicBezTo>
                    <a:pt x="1090" y="415"/>
                    <a:pt x="1088" y="415"/>
                    <a:pt x="1089" y="413"/>
                  </a:cubicBezTo>
                  <a:cubicBezTo>
                    <a:pt x="1089" y="412"/>
                    <a:pt x="1091" y="410"/>
                    <a:pt x="1091" y="410"/>
                  </a:cubicBezTo>
                  <a:cubicBezTo>
                    <a:pt x="1092" y="409"/>
                    <a:pt x="1092" y="410"/>
                    <a:pt x="1093" y="410"/>
                  </a:cubicBezTo>
                  <a:cubicBezTo>
                    <a:pt x="1094" y="409"/>
                    <a:pt x="1094" y="408"/>
                    <a:pt x="1095" y="407"/>
                  </a:cubicBezTo>
                  <a:cubicBezTo>
                    <a:pt x="1098" y="406"/>
                    <a:pt x="1101" y="405"/>
                    <a:pt x="1103" y="403"/>
                  </a:cubicBezTo>
                  <a:cubicBezTo>
                    <a:pt x="1102" y="404"/>
                    <a:pt x="1101" y="403"/>
                    <a:pt x="1100" y="402"/>
                  </a:cubicBezTo>
                  <a:cubicBezTo>
                    <a:pt x="1101" y="402"/>
                    <a:pt x="1105" y="403"/>
                    <a:pt x="1105" y="402"/>
                  </a:cubicBezTo>
                  <a:cubicBezTo>
                    <a:pt x="1105" y="401"/>
                    <a:pt x="1103" y="402"/>
                    <a:pt x="1103" y="401"/>
                  </a:cubicBezTo>
                  <a:cubicBezTo>
                    <a:pt x="1103" y="400"/>
                    <a:pt x="1100" y="400"/>
                    <a:pt x="1099" y="399"/>
                  </a:cubicBezTo>
                  <a:cubicBezTo>
                    <a:pt x="1099" y="399"/>
                    <a:pt x="1099" y="398"/>
                    <a:pt x="1099" y="397"/>
                  </a:cubicBezTo>
                  <a:cubicBezTo>
                    <a:pt x="1099" y="397"/>
                    <a:pt x="1097" y="396"/>
                    <a:pt x="1097" y="395"/>
                  </a:cubicBezTo>
                  <a:cubicBezTo>
                    <a:pt x="1099" y="396"/>
                    <a:pt x="1101" y="397"/>
                    <a:pt x="1104" y="398"/>
                  </a:cubicBezTo>
                  <a:cubicBezTo>
                    <a:pt x="1104" y="397"/>
                    <a:pt x="1103" y="396"/>
                    <a:pt x="1102" y="396"/>
                  </a:cubicBezTo>
                  <a:cubicBezTo>
                    <a:pt x="1103" y="395"/>
                    <a:pt x="1105" y="396"/>
                    <a:pt x="1106" y="395"/>
                  </a:cubicBezTo>
                  <a:cubicBezTo>
                    <a:pt x="1104" y="395"/>
                    <a:pt x="1103" y="394"/>
                    <a:pt x="1102" y="393"/>
                  </a:cubicBezTo>
                  <a:cubicBezTo>
                    <a:pt x="1103" y="392"/>
                    <a:pt x="1105" y="392"/>
                    <a:pt x="1106" y="394"/>
                  </a:cubicBezTo>
                  <a:cubicBezTo>
                    <a:pt x="1107" y="391"/>
                    <a:pt x="1110" y="391"/>
                    <a:pt x="1112" y="390"/>
                  </a:cubicBezTo>
                  <a:cubicBezTo>
                    <a:pt x="1110" y="389"/>
                    <a:pt x="1107" y="388"/>
                    <a:pt x="1111" y="387"/>
                  </a:cubicBezTo>
                  <a:cubicBezTo>
                    <a:pt x="1113" y="386"/>
                    <a:pt x="1118" y="388"/>
                    <a:pt x="1115" y="385"/>
                  </a:cubicBezTo>
                  <a:cubicBezTo>
                    <a:pt x="1113" y="383"/>
                    <a:pt x="1108" y="383"/>
                    <a:pt x="1105" y="381"/>
                  </a:cubicBezTo>
                  <a:cubicBezTo>
                    <a:pt x="1109" y="382"/>
                    <a:pt x="1113" y="382"/>
                    <a:pt x="1116" y="384"/>
                  </a:cubicBezTo>
                  <a:cubicBezTo>
                    <a:pt x="1119" y="385"/>
                    <a:pt x="1120" y="389"/>
                    <a:pt x="1123" y="388"/>
                  </a:cubicBezTo>
                  <a:cubicBezTo>
                    <a:pt x="1120" y="387"/>
                    <a:pt x="1121" y="384"/>
                    <a:pt x="1120" y="382"/>
                  </a:cubicBezTo>
                  <a:cubicBezTo>
                    <a:pt x="1119" y="381"/>
                    <a:pt x="1114" y="380"/>
                    <a:pt x="1118" y="377"/>
                  </a:cubicBezTo>
                  <a:cubicBezTo>
                    <a:pt x="1119" y="376"/>
                    <a:pt x="1123" y="379"/>
                    <a:pt x="1122" y="375"/>
                  </a:cubicBezTo>
                  <a:cubicBezTo>
                    <a:pt x="1121" y="376"/>
                    <a:pt x="1121" y="373"/>
                    <a:pt x="1120" y="371"/>
                  </a:cubicBezTo>
                  <a:cubicBezTo>
                    <a:pt x="1121" y="372"/>
                    <a:pt x="1122" y="373"/>
                    <a:pt x="1122" y="373"/>
                  </a:cubicBezTo>
                  <a:cubicBezTo>
                    <a:pt x="1124" y="372"/>
                    <a:pt x="1122" y="374"/>
                    <a:pt x="1123" y="374"/>
                  </a:cubicBezTo>
                  <a:cubicBezTo>
                    <a:pt x="1126" y="375"/>
                    <a:pt x="1128" y="371"/>
                    <a:pt x="1130" y="372"/>
                  </a:cubicBezTo>
                  <a:cubicBezTo>
                    <a:pt x="1130" y="372"/>
                    <a:pt x="1130" y="374"/>
                    <a:pt x="1131" y="374"/>
                  </a:cubicBezTo>
                  <a:cubicBezTo>
                    <a:pt x="1132" y="375"/>
                    <a:pt x="1137" y="373"/>
                    <a:pt x="1137" y="372"/>
                  </a:cubicBezTo>
                  <a:cubicBezTo>
                    <a:pt x="1137" y="370"/>
                    <a:pt x="1133" y="370"/>
                    <a:pt x="1132" y="370"/>
                  </a:cubicBezTo>
                  <a:cubicBezTo>
                    <a:pt x="1129" y="370"/>
                    <a:pt x="1120" y="364"/>
                    <a:pt x="1127" y="364"/>
                  </a:cubicBezTo>
                  <a:cubicBezTo>
                    <a:pt x="1129" y="363"/>
                    <a:pt x="1131" y="363"/>
                    <a:pt x="1134" y="363"/>
                  </a:cubicBezTo>
                  <a:cubicBezTo>
                    <a:pt x="1136" y="363"/>
                    <a:pt x="1138" y="364"/>
                    <a:pt x="1140" y="364"/>
                  </a:cubicBezTo>
                  <a:cubicBezTo>
                    <a:pt x="1144" y="365"/>
                    <a:pt x="1146" y="366"/>
                    <a:pt x="1149" y="364"/>
                  </a:cubicBezTo>
                  <a:cubicBezTo>
                    <a:pt x="1151" y="363"/>
                    <a:pt x="1152" y="362"/>
                    <a:pt x="1154" y="361"/>
                  </a:cubicBezTo>
                  <a:cubicBezTo>
                    <a:pt x="1155" y="360"/>
                    <a:pt x="1157" y="360"/>
                    <a:pt x="1158" y="360"/>
                  </a:cubicBezTo>
                  <a:cubicBezTo>
                    <a:pt x="1161" y="358"/>
                    <a:pt x="1165" y="357"/>
                    <a:pt x="1165" y="354"/>
                  </a:cubicBezTo>
                  <a:cubicBezTo>
                    <a:pt x="1165" y="353"/>
                    <a:pt x="1165" y="351"/>
                    <a:pt x="1164" y="349"/>
                  </a:cubicBezTo>
                  <a:cubicBezTo>
                    <a:pt x="1164" y="346"/>
                    <a:pt x="1165" y="346"/>
                    <a:pt x="1163" y="345"/>
                  </a:cubicBezTo>
                  <a:cubicBezTo>
                    <a:pt x="1162" y="344"/>
                    <a:pt x="1160" y="344"/>
                    <a:pt x="1158" y="342"/>
                  </a:cubicBezTo>
                  <a:cubicBezTo>
                    <a:pt x="1159" y="343"/>
                    <a:pt x="1161" y="343"/>
                    <a:pt x="1162" y="343"/>
                  </a:cubicBezTo>
                  <a:cubicBezTo>
                    <a:pt x="1158" y="342"/>
                    <a:pt x="1155" y="340"/>
                    <a:pt x="1151" y="340"/>
                  </a:cubicBezTo>
                  <a:cubicBezTo>
                    <a:pt x="1150" y="339"/>
                    <a:pt x="1149" y="340"/>
                    <a:pt x="1149" y="340"/>
                  </a:cubicBezTo>
                  <a:cubicBezTo>
                    <a:pt x="1149" y="340"/>
                    <a:pt x="1147" y="338"/>
                    <a:pt x="1146" y="338"/>
                  </a:cubicBezTo>
                  <a:cubicBezTo>
                    <a:pt x="1146" y="338"/>
                    <a:pt x="1144" y="337"/>
                    <a:pt x="1144" y="337"/>
                  </a:cubicBezTo>
                  <a:cubicBezTo>
                    <a:pt x="1143" y="336"/>
                    <a:pt x="1144" y="335"/>
                    <a:pt x="1143" y="334"/>
                  </a:cubicBezTo>
                  <a:cubicBezTo>
                    <a:pt x="1140" y="330"/>
                    <a:pt x="1136" y="333"/>
                    <a:pt x="1133" y="334"/>
                  </a:cubicBezTo>
                  <a:cubicBezTo>
                    <a:pt x="1132" y="335"/>
                    <a:pt x="1131" y="335"/>
                    <a:pt x="1130" y="335"/>
                  </a:cubicBezTo>
                  <a:cubicBezTo>
                    <a:pt x="1129" y="337"/>
                    <a:pt x="1129" y="337"/>
                    <a:pt x="1128" y="338"/>
                  </a:cubicBezTo>
                  <a:cubicBezTo>
                    <a:pt x="1129" y="337"/>
                    <a:pt x="1125" y="338"/>
                    <a:pt x="1126" y="338"/>
                  </a:cubicBezTo>
                  <a:cubicBezTo>
                    <a:pt x="1124" y="338"/>
                    <a:pt x="1123" y="338"/>
                    <a:pt x="1122" y="337"/>
                  </a:cubicBezTo>
                  <a:cubicBezTo>
                    <a:pt x="1123" y="337"/>
                    <a:pt x="1125" y="337"/>
                    <a:pt x="1126" y="335"/>
                  </a:cubicBezTo>
                  <a:cubicBezTo>
                    <a:pt x="1127" y="333"/>
                    <a:pt x="1130" y="335"/>
                    <a:pt x="1131" y="332"/>
                  </a:cubicBezTo>
                  <a:cubicBezTo>
                    <a:pt x="1130" y="331"/>
                    <a:pt x="1128" y="331"/>
                    <a:pt x="1126" y="331"/>
                  </a:cubicBezTo>
                  <a:cubicBezTo>
                    <a:pt x="1126" y="330"/>
                    <a:pt x="1125" y="331"/>
                    <a:pt x="1124" y="330"/>
                  </a:cubicBezTo>
                  <a:cubicBezTo>
                    <a:pt x="1124" y="330"/>
                    <a:pt x="1124" y="329"/>
                    <a:pt x="1124" y="328"/>
                  </a:cubicBezTo>
                  <a:cubicBezTo>
                    <a:pt x="1121" y="327"/>
                    <a:pt x="1121" y="329"/>
                    <a:pt x="1119" y="329"/>
                  </a:cubicBezTo>
                  <a:cubicBezTo>
                    <a:pt x="1118" y="329"/>
                    <a:pt x="1115" y="327"/>
                    <a:pt x="1114" y="327"/>
                  </a:cubicBezTo>
                  <a:cubicBezTo>
                    <a:pt x="1111" y="326"/>
                    <a:pt x="1108" y="325"/>
                    <a:pt x="1104" y="324"/>
                  </a:cubicBezTo>
                  <a:cubicBezTo>
                    <a:pt x="1098" y="321"/>
                    <a:pt x="1102" y="326"/>
                    <a:pt x="1106" y="327"/>
                  </a:cubicBezTo>
                  <a:cubicBezTo>
                    <a:pt x="1103" y="327"/>
                    <a:pt x="1101" y="328"/>
                    <a:pt x="1099" y="327"/>
                  </a:cubicBezTo>
                  <a:cubicBezTo>
                    <a:pt x="1096" y="326"/>
                    <a:pt x="1094" y="324"/>
                    <a:pt x="1094" y="321"/>
                  </a:cubicBezTo>
                  <a:cubicBezTo>
                    <a:pt x="1095" y="321"/>
                    <a:pt x="1096" y="321"/>
                    <a:pt x="1098" y="321"/>
                  </a:cubicBezTo>
                  <a:cubicBezTo>
                    <a:pt x="1099" y="321"/>
                    <a:pt x="1097" y="319"/>
                    <a:pt x="1097" y="319"/>
                  </a:cubicBezTo>
                  <a:cubicBezTo>
                    <a:pt x="1096" y="317"/>
                    <a:pt x="1094" y="316"/>
                    <a:pt x="1093" y="314"/>
                  </a:cubicBezTo>
                  <a:cubicBezTo>
                    <a:pt x="1094" y="315"/>
                    <a:pt x="1095" y="315"/>
                    <a:pt x="1095" y="315"/>
                  </a:cubicBezTo>
                  <a:cubicBezTo>
                    <a:pt x="1096" y="315"/>
                    <a:pt x="1096" y="315"/>
                    <a:pt x="1097" y="315"/>
                  </a:cubicBezTo>
                  <a:cubicBezTo>
                    <a:pt x="1097" y="316"/>
                    <a:pt x="1096" y="316"/>
                    <a:pt x="1096" y="317"/>
                  </a:cubicBezTo>
                  <a:cubicBezTo>
                    <a:pt x="1097" y="318"/>
                    <a:pt x="1099" y="319"/>
                    <a:pt x="1100" y="320"/>
                  </a:cubicBezTo>
                  <a:cubicBezTo>
                    <a:pt x="1104" y="322"/>
                    <a:pt x="1108" y="323"/>
                    <a:pt x="1112" y="324"/>
                  </a:cubicBezTo>
                  <a:cubicBezTo>
                    <a:pt x="1112" y="324"/>
                    <a:pt x="1114" y="325"/>
                    <a:pt x="1114" y="325"/>
                  </a:cubicBezTo>
                  <a:cubicBezTo>
                    <a:pt x="1115" y="325"/>
                    <a:pt x="1116" y="325"/>
                    <a:pt x="1117" y="326"/>
                  </a:cubicBezTo>
                  <a:cubicBezTo>
                    <a:pt x="1117" y="326"/>
                    <a:pt x="1118" y="327"/>
                    <a:pt x="1119" y="327"/>
                  </a:cubicBezTo>
                  <a:cubicBezTo>
                    <a:pt x="1120" y="327"/>
                    <a:pt x="1121" y="327"/>
                    <a:pt x="1122" y="327"/>
                  </a:cubicBezTo>
                  <a:cubicBezTo>
                    <a:pt x="1123" y="328"/>
                    <a:pt x="1124" y="329"/>
                    <a:pt x="1125" y="329"/>
                  </a:cubicBezTo>
                  <a:cubicBezTo>
                    <a:pt x="1126" y="329"/>
                    <a:pt x="1127" y="329"/>
                    <a:pt x="1128" y="329"/>
                  </a:cubicBezTo>
                  <a:cubicBezTo>
                    <a:pt x="1132" y="330"/>
                    <a:pt x="1131" y="330"/>
                    <a:pt x="1135" y="328"/>
                  </a:cubicBezTo>
                  <a:cubicBezTo>
                    <a:pt x="1134" y="331"/>
                    <a:pt x="1137" y="331"/>
                    <a:pt x="1139" y="331"/>
                  </a:cubicBezTo>
                  <a:cubicBezTo>
                    <a:pt x="1141" y="330"/>
                    <a:pt x="1141" y="330"/>
                    <a:pt x="1142" y="330"/>
                  </a:cubicBezTo>
                  <a:cubicBezTo>
                    <a:pt x="1142" y="330"/>
                    <a:pt x="1141" y="331"/>
                    <a:pt x="1142" y="331"/>
                  </a:cubicBezTo>
                  <a:cubicBezTo>
                    <a:pt x="1142" y="332"/>
                    <a:pt x="1143" y="331"/>
                    <a:pt x="1144" y="332"/>
                  </a:cubicBezTo>
                  <a:cubicBezTo>
                    <a:pt x="1144" y="332"/>
                    <a:pt x="1146" y="331"/>
                    <a:pt x="1147" y="332"/>
                  </a:cubicBezTo>
                  <a:cubicBezTo>
                    <a:pt x="1148" y="332"/>
                    <a:pt x="1148" y="333"/>
                    <a:pt x="1149" y="334"/>
                  </a:cubicBezTo>
                  <a:cubicBezTo>
                    <a:pt x="1151" y="335"/>
                    <a:pt x="1153" y="335"/>
                    <a:pt x="1155" y="335"/>
                  </a:cubicBezTo>
                  <a:cubicBezTo>
                    <a:pt x="1156" y="336"/>
                    <a:pt x="1158" y="337"/>
                    <a:pt x="1160" y="337"/>
                  </a:cubicBezTo>
                  <a:cubicBezTo>
                    <a:pt x="1162" y="337"/>
                    <a:pt x="1168" y="336"/>
                    <a:pt x="1168" y="335"/>
                  </a:cubicBezTo>
                  <a:cubicBezTo>
                    <a:pt x="1167" y="334"/>
                    <a:pt x="1164" y="334"/>
                    <a:pt x="1165" y="332"/>
                  </a:cubicBezTo>
                  <a:cubicBezTo>
                    <a:pt x="1167" y="331"/>
                    <a:pt x="1168" y="333"/>
                    <a:pt x="1168" y="334"/>
                  </a:cubicBezTo>
                  <a:cubicBezTo>
                    <a:pt x="1170" y="335"/>
                    <a:pt x="1171" y="336"/>
                    <a:pt x="1174" y="334"/>
                  </a:cubicBezTo>
                  <a:cubicBezTo>
                    <a:pt x="1175" y="333"/>
                    <a:pt x="1181" y="330"/>
                    <a:pt x="1181" y="329"/>
                  </a:cubicBezTo>
                  <a:cubicBezTo>
                    <a:pt x="1182" y="327"/>
                    <a:pt x="1180" y="327"/>
                    <a:pt x="1179" y="326"/>
                  </a:cubicBezTo>
                  <a:cubicBezTo>
                    <a:pt x="1179" y="326"/>
                    <a:pt x="1178" y="324"/>
                    <a:pt x="1178" y="324"/>
                  </a:cubicBezTo>
                  <a:cubicBezTo>
                    <a:pt x="1177" y="323"/>
                    <a:pt x="1175" y="322"/>
                    <a:pt x="1174" y="321"/>
                  </a:cubicBezTo>
                  <a:cubicBezTo>
                    <a:pt x="1176" y="320"/>
                    <a:pt x="1177" y="322"/>
                    <a:pt x="1178" y="322"/>
                  </a:cubicBezTo>
                  <a:cubicBezTo>
                    <a:pt x="1179" y="322"/>
                    <a:pt x="1180" y="322"/>
                    <a:pt x="1181" y="322"/>
                  </a:cubicBezTo>
                  <a:cubicBezTo>
                    <a:pt x="1180" y="322"/>
                    <a:pt x="1183" y="326"/>
                    <a:pt x="1185" y="323"/>
                  </a:cubicBezTo>
                  <a:cubicBezTo>
                    <a:pt x="1186" y="322"/>
                    <a:pt x="1183" y="320"/>
                    <a:pt x="1182" y="319"/>
                  </a:cubicBezTo>
                  <a:cubicBezTo>
                    <a:pt x="1181" y="318"/>
                    <a:pt x="1181" y="316"/>
                    <a:pt x="1181" y="315"/>
                  </a:cubicBezTo>
                  <a:cubicBezTo>
                    <a:pt x="1182" y="314"/>
                    <a:pt x="1184" y="313"/>
                    <a:pt x="1185" y="313"/>
                  </a:cubicBezTo>
                  <a:cubicBezTo>
                    <a:pt x="1187" y="312"/>
                    <a:pt x="1186" y="313"/>
                    <a:pt x="1186" y="315"/>
                  </a:cubicBezTo>
                  <a:cubicBezTo>
                    <a:pt x="1188" y="317"/>
                    <a:pt x="1190" y="320"/>
                    <a:pt x="1192" y="323"/>
                  </a:cubicBezTo>
                  <a:cubicBezTo>
                    <a:pt x="1192" y="323"/>
                    <a:pt x="1192" y="322"/>
                    <a:pt x="1191" y="321"/>
                  </a:cubicBezTo>
                  <a:cubicBezTo>
                    <a:pt x="1198" y="321"/>
                    <a:pt x="1205" y="321"/>
                    <a:pt x="1211" y="322"/>
                  </a:cubicBezTo>
                  <a:cubicBezTo>
                    <a:pt x="1214" y="322"/>
                    <a:pt x="1218" y="318"/>
                    <a:pt x="1220" y="317"/>
                  </a:cubicBezTo>
                  <a:cubicBezTo>
                    <a:pt x="1222" y="316"/>
                    <a:pt x="1226" y="315"/>
                    <a:pt x="1227" y="314"/>
                  </a:cubicBezTo>
                  <a:cubicBezTo>
                    <a:pt x="1227" y="313"/>
                    <a:pt x="1226" y="313"/>
                    <a:pt x="1226" y="312"/>
                  </a:cubicBezTo>
                  <a:cubicBezTo>
                    <a:pt x="1227" y="311"/>
                    <a:pt x="1228" y="311"/>
                    <a:pt x="1228" y="310"/>
                  </a:cubicBezTo>
                  <a:cubicBezTo>
                    <a:pt x="1229" y="309"/>
                    <a:pt x="1230" y="307"/>
                    <a:pt x="1231" y="306"/>
                  </a:cubicBezTo>
                  <a:cubicBezTo>
                    <a:pt x="1235" y="302"/>
                    <a:pt x="1239" y="298"/>
                    <a:pt x="1242" y="293"/>
                  </a:cubicBezTo>
                  <a:cubicBezTo>
                    <a:pt x="1244" y="291"/>
                    <a:pt x="1245" y="289"/>
                    <a:pt x="1246" y="287"/>
                  </a:cubicBezTo>
                  <a:cubicBezTo>
                    <a:pt x="1247" y="285"/>
                    <a:pt x="1252" y="280"/>
                    <a:pt x="1251" y="278"/>
                  </a:cubicBezTo>
                  <a:cubicBezTo>
                    <a:pt x="1251" y="275"/>
                    <a:pt x="1247" y="274"/>
                    <a:pt x="1245" y="274"/>
                  </a:cubicBezTo>
                  <a:cubicBezTo>
                    <a:pt x="1243" y="274"/>
                    <a:pt x="1241" y="274"/>
                    <a:pt x="1239" y="273"/>
                  </a:cubicBezTo>
                  <a:cubicBezTo>
                    <a:pt x="1238" y="273"/>
                    <a:pt x="1236" y="273"/>
                    <a:pt x="1236" y="273"/>
                  </a:cubicBezTo>
                  <a:cubicBezTo>
                    <a:pt x="1234" y="273"/>
                    <a:pt x="1233" y="274"/>
                    <a:pt x="1233" y="274"/>
                  </a:cubicBezTo>
                  <a:cubicBezTo>
                    <a:pt x="1231" y="274"/>
                    <a:pt x="1228" y="273"/>
                    <a:pt x="1226" y="273"/>
                  </a:cubicBezTo>
                  <a:cubicBezTo>
                    <a:pt x="1224" y="274"/>
                    <a:pt x="1222" y="273"/>
                    <a:pt x="1220" y="273"/>
                  </a:cubicBezTo>
                  <a:cubicBezTo>
                    <a:pt x="1215" y="273"/>
                    <a:pt x="1211" y="272"/>
                    <a:pt x="1206" y="272"/>
                  </a:cubicBezTo>
                  <a:cubicBezTo>
                    <a:pt x="1204" y="271"/>
                    <a:pt x="1203" y="271"/>
                    <a:pt x="1201" y="270"/>
                  </a:cubicBezTo>
                  <a:cubicBezTo>
                    <a:pt x="1200" y="269"/>
                    <a:pt x="1200" y="268"/>
                    <a:pt x="1199" y="267"/>
                  </a:cubicBezTo>
                  <a:cubicBezTo>
                    <a:pt x="1198" y="266"/>
                    <a:pt x="1196" y="266"/>
                    <a:pt x="1195" y="265"/>
                  </a:cubicBezTo>
                  <a:cubicBezTo>
                    <a:pt x="1194" y="264"/>
                    <a:pt x="1194" y="262"/>
                    <a:pt x="1192" y="260"/>
                  </a:cubicBezTo>
                  <a:cubicBezTo>
                    <a:pt x="1191" y="260"/>
                    <a:pt x="1190" y="259"/>
                    <a:pt x="1189" y="259"/>
                  </a:cubicBezTo>
                  <a:cubicBezTo>
                    <a:pt x="1187" y="257"/>
                    <a:pt x="1186" y="256"/>
                    <a:pt x="1183" y="255"/>
                  </a:cubicBezTo>
                  <a:cubicBezTo>
                    <a:pt x="1182" y="254"/>
                    <a:pt x="1181" y="254"/>
                    <a:pt x="1180" y="253"/>
                  </a:cubicBezTo>
                  <a:cubicBezTo>
                    <a:pt x="1180" y="253"/>
                    <a:pt x="1180" y="254"/>
                    <a:pt x="1180" y="254"/>
                  </a:cubicBezTo>
                  <a:cubicBezTo>
                    <a:pt x="1180" y="254"/>
                    <a:pt x="1180" y="253"/>
                    <a:pt x="1180" y="253"/>
                  </a:cubicBezTo>
                  <a:cubicBezTo>
                    <a:pt x="1177" y="253"/>
                    <a:pt x="1173" y="252"/>
                    <a:pt x="1170" y="252"/>
                  </a:cubicBezTo>
                  <a:cubicBezTo>
                    <a:pt x="1162" y="250"/>
                    <a:pt x="1154" y="249"/>
                    <a:pt x="1146" y="248"/>
                  </a:cubicBezTo>
                  <a:cubicBezTo>
                    <a:pt x="1146" y="248"/>
                    <a:pt x="1146" y="248"/>
                    <a:pt x="1146" y="248"/>
                  </a:cubicBezTo>
                  <a:cubicBezTo>
                    <a:pt x="1149" y="247"/>
                    <a:pt x="1151" y="247"/>
                    <a:pt x="1154" y="248"/>
                  </a:cubicBezTo>
                  <a:cubicBezTo>
                    <a:pt x="1157" y="248"/>
                    <a:pt x="1160" y="249"/>
                    <a:pt x="1163" y="249"/>
                  </a:cubicBezTo>
                  <a:cubicBezTo>
                    <a:pt x="1164" y="249"/>
                    <a:pt x="1166" y="250"/>
                    <a:pt x="1167" y="250"/>
                  </a:cubicBezTo>
                  <a:cubicBezTo>
                    <a:pt x="1169" y="250"/>
                    <a:pt x="1169" y="250"/>
                    <a:pt x="1171" y="250"/>
                  </a:cubicBezTo>
                  <a:cubicBezTo>
                    <a:pt x="1174" y="251"/>
                    <a:pt x="1177" y="250"/>
                    <a:pt x="1180" y="250"/>
                  </a:cubicBezTo>
                  <a:cubicBezTo>
                    <a:pt x="1183" y="250"/>
                    <a:pt x="1185" y="249"/>
                    <a:pt x="1187" y="248"/>
                  </a:cubicBezTo>
                  <a:cubicBezTo>
                    <a:pt x="1190" y="248"/>
                    <a:pt x="1195" y="251"/>
                    <a:pt x="1198" y="252"/>
                  </a:cubicBezTo>
                  <a:cubicBezTo>
                    <a:pt x="1204" y="255"/>
                    <a:pt x="1212" y="256"/>
                    <a:pt x="1217" y="260"/>
                  </a:cubicBezTo>
                  <a:cubicBezTo>
                    <a:pt x="1216" y="260"/>
                    <a:pt x="1212" y="260"/>
                    <a:pt x="1210" y="259"/>
                  </a:cubicBezTo>
                  <a:cubicBezTo>
                    <a:pt x="1215" y="263"/>
                    <a:pt x="1220" y="267"/>
                    <a:pt x="1226" y="270"/>
                  </a:cubicBezTo>
                  <a:cubicBezTo>
                    <a:pt x="1230" y="273"/>
                    <a:pt x="1236" y="271"/>
                    <a:pt x="1240" y="271"/>
                  </a:cubicBezTo>
                  <a:cubicBezTo>
                    <a:pt x="1242" y="271"/>
                    <a:pt x="1248" y="270"/>
                    <a:pt x="1249" y="268"/>
                  </a:cubicBezTo>
                  <a:cubicBezTo>
                    <a:pt x="1249" y="267"/>
                    <a:pt x="1246" y="267"/>
                    <a:pt x="1248" y="266"/>
                  </a:cubicBezTo>
                  <a:cubicBezTo>
                    <a:pt x="1249" y="266"/>
                    <a:pt x="1250" y="265"/>
                    <a:pt x="1251" y="264"/>
                  </a:cubicBezTo>
                  <a:cubicBezTo>
                    <a:pt x="1253" y="263"/>
                    <a:pt x="1255" y="261"/>
                    <a:pt x="1257" y="260"/>
                  </a:cubicBezTo>
                  <a:cubicBezTo>
                    <a:pt x="1258" y="259"/>
                    <a:pt x="1262" y="258"/>
                    <a:pt x="1263" y="256"/>
                  </a:cubicBezTo>
                  <a:cubicBezTo>
                    <a:pt x="1263" y="253"/>
                    <a:pt x="1261" y="253"/>
                    <a:pt x="1263" y="251"/>
                  </a:cubicBezTo>
                  <a:cubicBezTo>
                    <a:pt x="1264" y="249"/>
                    <a:pt x="1268" y="248"/>
                    <a:pt x="1270" y="246"/>
                  </a:cubicBezTo>
                  <a:cubicBezTo>
                    <a:pt x="1272" y="245"/>
                    <a:pt x="1273" y="245"/>
                    <a:pt x="1274" y="243"/>
                  </a:cubicBezTo>
                  <a:cubicBezTo>
                    <a:pt x="1274" y="242"/>
                    <a:pt x="1273" y="242"/>
                    <a:pt x="1273" y="241"/>
                  </a:cubicBezTo>
                  <a:cubicBezTo>
                    <a:pt x="1274" y="241"/>
                    <a:pt x="1276" y="240"/>
                    <a:pt x="1276" y="239"/>
                  </a:cubicBezTo>
                  <a:cubicBezTo>
                    <a:pt x="1275" y="237"/>
                    <a:pt x="1264" y="234"/>
                    <a:pt x="1262" y="234"/>
                  </a:cubicBezTo>
                  <a:cubicBezTo>
                    <a:pt x="1260" y="234"/>
                    <a:pt x="1257" y="233"/>
                    <a:pt x="1256" y="231"/>
                  </a:cubicBezTo>
                  <a:cubicBezTo>
                    <a:pt x="1256" y="229"/>
                    <a:pt x="1258" y="229"/>
                    <a:pt x="1259" y="228"/>
                  </a:cubicBezTo>
                  <a:cubicBezTo>
                    <a:pt x="1261" y="225"/>
                    <a:pt x="1260" y="225"/>
                    <a:pt x="1262" y="225"/>
                  </a:cubicBezTo>
                  <a:cubicBezTo>
                    <a:pt x="1262" y="222"/>
                    <a:pt x="1265" y="219"/>
                    <a:pt x="1268" y="219"/>
                  </a:cubicBezTo>
                  <a:cubicBezTo>
                    <a:pt x="1271" y="219"/>
                    <a:pt x="1273" y="221"/>
                    <a:pt x="1274" y="224"/>
                  </a:cubicBezTo>
                  <a:cubicBezTo>
                    <a:pt x="1277" y="224"/>
                    <a:pt x="1280" y="224"/>
                    <a:pt x="1283" y="223"/>
                  </a:cubicBezTo>
                  <a:cubicBezTo>
                    <a:pt x="1285" y="223"/>
                    <a:pt x="1288" y="225"/>
                    <a:pt x="1289" y="227"/>
                  </a:cubicBezTo>
                  <a:cubicBezTo>
                    <a:pt x="1289" y="228"/>
                    <a:pt x="1290" y="232"/>
                    <a:pt x="1289" y="233"/>
                  </a:cubicBezTo>
                  <a:cubicBezTo>
                    <a:pt x="1290" y="233"/>
                    <a:pt x="1291" y="233"/>
                    <a:pt x="1292" y="233"/>
                  </a:cubicBezTo>
                  <a:cubicBezTo>
                    <a:pt x="1292" y="234"/>
                    <a:pt x="1292" y="234"/>
                    <a:pt x="1292" y="235"/>
                  </a:cubicBezTo>
                  <a:cubicBezTo>
                    <a:pt x="1293" y="240"/>
                    <a:pt x="1293" y="242"/>
                    <a:pt x="1297" y="245"/>
                  </a:cubicBezTo>
                  <a:cubicBezTo>
                    <a:pt x="1299" y="246"/>
                    <a:pt x="1299" y="246"/>
                    <a:pt x="1300" y="248"/>
                  </a:cubicBezTo>
                  <a:cubicBezTo>
                    <a:pt x="1301" y="249"/>
                    <a:pt x="1301" y="251"/>
                    <a:pt x="1303" y="250"/>
                  </a:cubicBezTo>
                  <a:cubicBezTo>
                    <a:pt x="1310" y="250"/>
                    <a:pt x="1304" y="240"/>
                    <a:pt x="1300" y="236"/>
                  </a:cubicBezTo>
                  <a:cubicBezTo>
                    <a:pt x="1304" y="237"/>
                    <a:pt x="1307" y="239"/>
                    <a:pt x="1311" y="239"/>
                  </a:cubicBezTo>
                  <a:cubicBezTo>
                    <a:pt x="1310" y="235"/>
                    <a:pt x="1305" y="236"/>
                    <a:pt x="1308" y="230"/>
                  </a:cubicBezTo>
                  <a:cubicBezTo>
                    <a:pt x="1308" y="231"/>
                    <a:pt x="1309" y="232"/>
                    <a:pt x="1310" y="232"/>
                  </a:cubicBezTo>
                  <a:cubicBezTo>
                    <a:pt x="1310" y="232"/>
                    <a:pt x="1310" y="233"/>
                    <a:pt x="1310" y="233"/>
                  </a:cubicBezTo>
                  <a:cubicBezTo>
                    <a:pt x="1311" y="233"/>
                    <a:pt x="1311" y="233"/>
                    <a:pt x="1312" y="233"/>
                  </a:cubicBezTo>
                  <a:cubicBezTo>
                    <a:pt x="1314" y="235"/>
                    <a:pt x="1317" y="236"/>
                    <a:pt x="1317" y="240"/>
                  </a:cubicBezTo>
                  <a:cubicBezTo>
                    <a:pt x="1317" y="242"/>
                    <a:pt x="1315" y="242"/>
                    <a:pt x="1318" y="243"/>
                  </a:cubicBezTo>
                  <a:cubicBezTo>
                    <a:pt x="1320" y="243"/>
                    <a:pt x="1320" y="243"/>
                    <a:pt x="1322" y="242"/>
                  </a:cubicBezTo>
                  <a:cubicBezTo>
                    <a:pt x="1323" y="242"/>
                    <a:pt x="1323" y="241"/>
                    <a:pt x="1325" y="241"/>
                  </a:cubicBezTo>
                  <a:cubicBezTo>
                    <a:pt x="1325" y="241"/>
                    <a:pt x="1326" y="243"/>
                    <a:pt x="1327" y="243"/>
                  </a:cubicBezTo>
                  <a:cubicBezTo>
                    <a:pt x="1326" y="243"/>
                    <a:pt x="1323" y="245"/>
                    <a:pt x="1323" y="246"/>
                  </a:cubicBezTo>
                  <a:cubicBezTo>
                    <a:pt x="1323" y="246"/>
                    <a:pt x="1327" y="247"/>
                    <a:pt x="1328" y="247"/>
                  </a:cubicBezTo>
                  <a:cubicBezTo>
                    <a:pt x="1328" y="246"/>
                    <a:pt x="1329" y="245"/>
                    <a:pt x="1329" y="245"/>
                  </a:cubicBezTo>
                  <a:cubicBezTo>
                    <a:pt x="1330" y="245"/>
                    <a:pt x="1329" y="246"/>
                    <a:pt x="1330" y="246"/>
                  </a:cubicBezTo>
                  <a:cubicBezTo>
                    <a:pt x="1331" y="246"/>
                    <a:pt x="1334" y="248"/>
                    <a:pt x="1334" y="248"/>
                  </a:cubicBezTo>
                  <a:cubicBezTo>
                    <a:pt x="1336" y="248"/>
                    <a:pt x="1338" y="247"/>
                    <a:pt x="1337" y="245"/>
                  </a:cubicBezTo>
                  <a:cubicBezTo>
                    <a:pt x="1336" y="244"/>
                    <a:pt x="1333" y="244"/>
                    <a:pt x="1332" y="244"/>
                  </a:cubicBezTo>
                  <a:cubicBezTo>
                    <a:pt x="1330" y="244"/>
                    <a:pt x="1329" y="243"/>
                    <a:pt x="1327" y="242"/>
                  </a:cubicBezTo>
                  <a:cubicBezTo>
                    <a:pt x="1323" y="239"/>
                    <a:pt x="1326" y="241"/>
                    <a:pt x="1327" y="238"/>
                  </a:cubicBezTo>
                  <a:cubicBezTo>
                    <a:pt x="1327" y="238"/>
                    <a:pt x="1327" y="238"/>
                    <a:pt x="1327" y="238"/>
                  </a:cubicBezTo>
                  <a:cubicBezTo>
                    <a:pt x="1327" y="236"/>
                    <a:pt x="1326" y="235"/>
                    <a:pt x="1325" y="235"/>
                  </a:cubicBezTo>
                  <a:cubicBezTo>
                    <a:pt x="1324" y="234"/>
                    <a:pt x="1323" y="233"/>
                    <a:pt x="1323" y="232"/>
                  </a:cubicBezTo>
                  <a:cubicBezTo>
                    <a:pt x="1322" y="231"/>
                    <a:pt x="1323" y="230"/>
                    <a:pt x="1321" y="228"/>
                  </a:cubicBezTo>
                  <a:cubicBezTo>
                    <a:pt x="1320" y="226"/>
                    <a:pt x="1317" y="225"/>
                    <a:pt x="1316" y="224"/>
                  </a:cubicBezTo>
                  <a:cubicBezTo>
                    <a:pt x="1315" y="222"/>
                    <a:pt x="1316" y="224"/>
                    <a:pt x="1316" y="222"/>
                  </a:cubicBezTo>
                  <a:cubicBezTo>
                    <a:pt x="1316" y="221"/>
                    <a:pt x="1317" y="220"/>
                    <a:pt x="1316" y="219"/>
                  </a:cubicBezTo>
                  <a:cubicBezTo>
                    <a:pt x="1315" y="218"/>
                    <a:pt x="1311" y="220"/>
                    <a:pt x="1310" y="218"/>
                  </a:cubicBezTo>
                  <a:cubicBezTo>
                    <a:pt x="1309" y="217"/>
                    <a:pt x="1311" y="217"/>
                    <a:pt x="1312" y="216"/>
                  </a:cubicBezTo>
                  <a:cubicBezTo>
                    <a:pt x="1310" y="215"/>
                    <a:pt x="1309" y="215"/>
                    <a:pt x="1307" y="214"/>
                  </a:cubicBezTo>
                  <a:cubicBezTo>
                    <a:pt x="1308" y="213"/>
                    <a:pt x="1306" y="213"/>
                    <a:pt x="1305" y="212"/>
                  </a:cubicBezTo>
                  <a:cubicBezTo>
                    <a:pt x="1305" y="211"/>
                    <a:pt x="1306" y="211"/>
                    <a:pt x="1306" y="210"/>
                  </a:cubicBezTo>
                  <a:cubicBezTo>
                    <a:pt x="1303" y="210"/>
                    <a:pt x="1300" y="211"/>
                    <a:pt x="1298" y="212"/>
                  </a:cubicBezTo>
                  <a:cubicBezTo>
                    <a:pt x="1297" y="213"/>
                    <a:pt x="1297" y="213"/>
                    <a:pt x="1296" y="214"/>
                  </a:cubicBezTo>
                  <a:cubicBezTo>
                    <a:pt x="1296" y="213"/>
                    <a:pt x="1296" y="213"/>
                    <a:pt x="1296" y="213"/>
                  </a:cubicBezTo>
                  <a:cubicBezTo>
                    <a:pt x="1295" y="213"/>
                    <a:pt x="1294" y="213"/>
                    <a:pt x="1293" y="213"/>
                  </a:cubicBezTo>
                  <a:cubicBezTo>
                    <a:pt x="1294" y="212"/>
                    <a:pt x="1296" y="212"/>
                    <a:pt x="1296" y="211"/>
                  </a:cubicBezTo>
                  <a:cubicBezTo>
                    <a:pt x="1296" y="211"/>
                    <a:pt x="1296" y="211"/>
                    <a:pt x="1296" y="211"/>
                  </a:cubicBezTo>
                  <a:cubicBezTo>
                    <a:pt x="1298" y="211"/>
                    <a:pt x="1300" y="210"/>
                    <a:pt x="1302" y="209"/>
                  </a:cubicBezTo>
                  <a:cubicBezTo>
                    <a:pt x="1303" y="209"/>
                    <a:pt x="1303" y="208"/>
                    <a:pt x="1304" y="207"/>
                  </a:cubicBezTo>
                  <a:cubicBezTo>
                    <a:pt x="1303" y="207"/>
                    <a:pt x="1300" y="206"/>
                    <a:pt x="1299" y="205"/>
                  </a:cubicBezTo>
                  <a:cubicBezTo>
                    <a:pt x="1301" y="206"/>
                    <a:pt x="1305" y="207"/>
                    <a:pt x="1308" y="207"/>
                  </a:cubicBezTo>
                  <a:cubicBezTo>
                    <a:pt x="1308" y="207"/>
                    <a:pt x="1307" y="208"/>
                    <a:pt x="1307" y="208"/>
                  </a:cubicBezTo>
                  <a:cubicBezTo>
                    <a:pt x="1308" y="209"/>
                    <a:pt x="1309" y="209"/>
                    <a:pt x="1311" y="210"/>
                  </a:cubicBezTo>
                  <a:cubicBezTo>
                    <a:pt x="1311" y="210"/>
                    <a:pt x="1310" y="212"/>
                    <a:pt x="1312" y="213"/>
                  </a:cubicBezTo>
                  <a:cubicBezTo>
                    <a:pt x="1309" y="213"/>
                    <a:pt x="1310" y="214"/>
                    <a:pt x="1312" y="215"/>
                  </a:cubicBezTo>
                  <a:cubicBezTo>
                    <a:pt x="1313" y="216"/>
                    <a:pt x="1316" y="218"/>
                    <a:pt x="1317" y="218"/>
                  </a:cubicBezTo>
                  <a:cubicBezTo>
                    <a:pt x="1318" y="216"/>
                    <a:pt x="1320" y="213"/>
                    <a:pt x="1322" y="212"/>
                  </a:cubicBezTo>
                  <a:cubicBezTo>
                    <a:pt x="1323" y="215"/>
                    <a:pt x="1319" y="216"/>
                    <a:pt x="1321" y="218"/>
                  </a:cubicBezTo>
                  <a:cubicBezTo>
                    <a:pt x="1317" y="218"/>
                    <a:pt x="1321" y="223"/>
                    <a:pt x="1322" y="224"/>
                  </a:cubicBezTo>
                  <a:cubicBezTo>
                    <a:pt x="1323" y="224"/>
                    <a:pt x="1326" y="224"/>
                    <a:pt x="1327" y="225"/>
                  </a:cubicBezTo>
                  <a:cubicBezTo>
                    <a:pt x="1328" y="226"/>
                    <a:pt x="1328" y="229"/>
                    <a:pt x="1329" y="229"/>
                  </a:cubicBezTo>
                  <a:cubicBezTo>
                    <a:pt x="1332" y="231"/>
                    <a:pt x="1334" y="232"/>
                    <a:pt x="1337" y="230"/>
                  </a:cubicBezTo>
                  <a:cubicBezTo>
                    <a:pt x="1340" y="229"/>
                    <a:pt x="1341" y="228"/>
                    <a:pt x="1344" y="227"/>
                  </a:cubicBezTo>
                  <a:cubicBezTo>
                    <a:pt x="1346" y="226"/>
                    <a:pt x="1350" y="225"/>
                    <a:pt x="1351" y="224"/>
                  </a:cubicBezTo>
                  <a:cubicBezTo>
                    <a:pt x="1352" y="223"/>
                    <a:pt x="1352" y="223"/>
                    <a:pt x="1353" y="222"/>
                  </a:cubicBezTo>
                  <a:cubicBezTo>
                    <a:pt x="1356" y="220"/>
                    <a:pt x="1359" y="220"/>
                    <a:pt x="1362" y="218"/>
                  </a:cubicBezTo>
                  <a:cubicBezTo>
                    <a:pt x="1361" y="216"/>
                    <a:pt x="1363" y="214"/>
                    <a:pt x="1364" y="213"/>
                  </a:cubicBezTo>
                  <a:cubicBezTo>
                    <a:pt x="1365" y="212"/>
                    <a:pt x="1365" y="212"/>
                    <a:pt x="1367" y="211"/>
                  </a:cubicBezTo>
                  <a:cubicBezTo>
                    <a:pt x="1370" y="209"/>
                    <a:pt x="1373" y="209"/>
                    <a:pt x="1376" y="208"/>
                  </a:cubicBezTo>
                  <a:cubicBezTo>
                    <a:pt x="1379" y="206"/>
                    <a:pt x="1380" y="202"/>
                    <a:pt x="1381" y="199"/>
                  </a:cubicBezTo>
                  <a:cubicBezTo>
                    <a:pt x="1381" y="196"/>
                    <a:pt x="1382" y="195"/>
                    <a:pt x="1382" y="193"/>
                  </a:cubicBezTo>
                  <a:cubicBezTo>
                    <a:pt x="1384" y="189"/>
                    <a:pt x="1384" y="188"/>
                    <a:pt x="1381" y="185"/>
                  </a:cubicBezTo>
                  <a:cubicBezTo>
                    <a:pt x="1378" y="182"/>
                    <a:pt x="1374" y="179"/>
                    <a:pt x="1370" y="177"/>
                  </a:cubicBezTo>
                  <a:cubicBezTo>
                    <a:pt x="1370" y="176"/>
                    <a:pt x="1371" y="176"/>
                    <a:pt x="1370" y="176"/>
                  </a:cubicBezTo>
                  <a:cubicBezTo>
                    <a:pt x="1370" y="175"/>
                    <a:pt x="1369" y="175"/>
                    <a:pt x="1369" y="175"/>
                  </a:cubicBezTo>
                  <a:cubicBezTo>
                    <a:pt x="1368" y="175"/>
                    <a:pt x="1367" y="173"/>
                    <a:pt x="1367" y="173"/>
                  </a:cubicBezTo>
                  <a:cubicBezTo>
                    <a:pt x="1365" y="172"/>
                    <a:pt x="1364" y="172"/>
                    <a:pt x="1363" y="169"/>
                  </a:cubicBezTo>
                  <a:cubicBezTo>
                    <a:pt x="1361" y="165"/>
                    <a:pt x="1365" y="165"/>
                    <a:pt x="1366" y="161"/>
                  </a:cubicBezTo>
                  <a:cubicBezTo>
                    <a:pt x="1364" y="162"/>
                    <a:pt x="1358" y="164"/>
                    <a:pt x="1358" y="160"/>
                  </a:cubicBezTo>
                  <a:cubicBezTo>
                    <a:pt x="1358" y="159"/>
                    <a:pt x="1362" y="158"/>
                    <a:pt x="1359" y="156"/>
                  </a:cubicBezTo>
                  <a:cubicBezTo>
                    <a:pt x="1359" y="156"/>
                    <a:pt x="1355" y="158"/>
                    <a:pt x="1356" y="156"/>
                  </a:cubicBezTo>
                  <a:cubicBezTo>
                    <a:pt x="1357" y="154"/>
                    <a:pt x="1358" y="155"/>
                    <a:pt x="1357" y="153"/>
                  </a:cubicBezTo>
                  <a:cubicBezTo>
                    <a:pt x="1355" y="151"/>
                    <a:pt x="1350" y="152"/>
                    <a:pt x="1352" y="148"/>
                  </a:cubicBezTo>
                  <a:cubicBezTo>
                    <a:pt x="1353" y="145"/>
                    <a:pt x="1353" y="147"/>
                    <a:pt x="1354" y="147"/>
                  </a:cubicBezTo>
                  <a:cubicBezTo>
                    <a:pt x="1356" y="147"/>
                    <a:pt x="1358" y="147"/>
                    <a:pt x="1360" y="146"/>
                  </a:cubicBezTo>
                  <a:cubicBezTo>
                    <a:pt x="1361" y="146"/>
                    <a:pt x="1363" y="147"/>
                    <a:pt x="1364" y="147"/>
                  </a:cubicBezTo>
                  <a:cubicBezTo>
                    <a:pt x="1367" y="148"/>
                    <a:pt x="1369" y="147"/>
                    <a:pt x="1372" y="147"/>
                  </a:cubicBezTo>
                  <a:cubicBezTo>
                    <a:pt x="1377" y="146"/>
                    <a:pt x="1383" y="144"/>
                    <a:pt x="1384" y="139"/>
                  </a:cubicBezTo>
                  <a:cubicBezTo>
                    <a:pt x="1384" y="137"/>
                    <a:pt x="1383" y="133"/>
                    <a:pt x="1381" y="133"/>
                  </a:cubicBezTo>
                  <a:cubicBezTo>
                    <a:pt x="1378" y="132"/>
                    <a:pt x="1373" y="136"/>
                    <a:pt x="1377" y="131"/>
                  </a:cubicBezTo>
                  <a:cubicBezTo>
                    <a:pt x="1379" y="128"/>
                    <a:pt x="1384" y="124"/>
                    <a:pt x="1382" y="121"/>
                  </a:cubicBezTo>
                  <a:cubicBezTo>
                    <a:pt x="1380" y="118"/>
                    <a:pt x="1378" y="119"/>
                    <a:pt x="1375" y="118"/>
                  </a:cubicBezTo>
                  <a:cubicBezTo>
                    <a:pt x="1373" y="117"/>
                    <a:pt x="1370" y="116"/>
                    <a:pt x="1367" y="116"/>
                  </a:cubicBezTo>
                  <a:cubicBezTo>
                    <a:pt x="1364" y="117"/>
                    <a:pt x="1364" y="118"/>
                    <a:pt x="1362" y="114"/>
                  </a:cubicBezTo>
                  <a:cubicBezTo>
                    <a:pt x="1361" y="111"/>
                    <a:pt x="1360" y="110"/>
                    <a:pt x="1356" y="109"/>
                  </a:cubicBezTo>
                  <a:cubicBezTo>
                    <a:pt x="1351" y="108"/>
                    <a:pt x="1345" y="108"/>
                    <a:pt x="1340" y="106"/>
                  </a:cubicBezTo>
                  <a:cubicBezTo>
                    <a:pt x="1339" y="105"/>
                    <a:pt x="1338" y="105"/>
                    <a:pt x="1337" y="104"/>
                  </a:cubicBezTo>
                  <a:cubicBezTo>
                    <a:pt x="1343" y="105"/>
                    <a:pt x="1349" y="108"/>
                    <a:pt x="1355" y="106"/>
                  </a:cubicBezTo>
                  <a:cubicBezTo>
                    <a:pt x="1353" y="105"/>
                    <a:pt x="1351" y="103"/>
                    <a:pt x="1352" y="101"/>
                  </a:cubicBezTo>
                  <a:cubicBezTo>
                    <a:pt x="1352" y="100"/>
                    <a:pt x="1359" y="101"/>
                    <a:pt x="1360" y="101"/>
                  </a:cubicBezTo>
                  <a:cubicBezTo>
                    <a:pt x="1358" y="101"/>
                    <a:pt x="1357" y="101"/>
                    <a:pt x="1356" y="101"/>
                  </a:cubicBezTo>
                  <a:cubicBezTo>
                    <a:pt x="1354" y="100"/>
                    <a:pt x="1353" y="99"/>
                    <a:pt x="1352" y="99"/>
                  </a:cubicBezTo>
                  <a:cubicBezTo>
                    <a:pt x="1351" y="99"/>
                    <a:pt x="1349" y="99"/>
                    <a:pt x="1348" y="99"/>
                  </a:cubicBezTo>
                  <a:cubicBezTo>
                    <a:pt x="1347" y="99"/>
                    <a:pt x="1345" y="99"/>
                    <a:pt x="1344" y="99"/>
                  </a:cubicBezTo>
                  <a:cubicBezTo>
                    <a:pt x="1341" y="99"/>
                    <a:pt x="1339" y="98"/>
                    <a:pt x="1336" y="99"/>
                  </a:cubicBezTo>
                  <a:cubicBezTo>
                    <a:pt x="1335" y="99"/>
                    <a:pt x="1334" y="99"/>
                    <a:pt x="1332" y="99"/>
                  </a:cubicBezTo>
                  <a:cubicBezTo>
                    <a:pt x="1331" y="99"/>
                    <a:pt x="1330" y="99"/>
                    <a:pt x="1328" y="99"/>
                  </a:cubicBezTo>
                  <a:cubicBezTo>
                    <a:pt x="1322" y="98"/>
                    <a:pt x="1318" y="94"/>
                    <a:pt x="1313" y="93"/>
                  </a:cubicBezTo>
                  <a:cubicBezTo>
                    <a:pt x="1310" y="92"/>
                    <a:pt x="1308" y="92"/>
                    <a:pt x="1305" y="92"/>
                  </a:cubicBezTo>
                  <a:cubicBezTo>
                    <a:pt x="1303" y="93"/>
                    <a:pt x="1298" y="93"/>
                    <a:pt x="1297" y="94"/>
                  </a:cubicBezTo>
                  <a:cubicBezTo>
                    <a:pt x="1297" y="94"/>
                    <a:pt x="1297" y="95"/>
                    <a:pt x="1296" y="95"/>
                  </a:cubicBezTo>
                  <a:cubicBezTo>
                    <a:pt x="1296" y="95"/>
                    <a:pt x="1296" y="95"/>
                    <a:pt x="1296" y="94"/>
                  </a:cubicBezTo>
                  <a:cubicBezTo>
                    <a:pt x="1294" y="98"/>
                    <a:pt x="1288" y="91"/>
                    <a:pt x="1284" y="92"/>
                  </a:cubicBezTo>
                  <a:cubicBezTo>
                    <a:pt x="1281" y="93"/>
                    <a:pt x="1285" y="93"/>
                    <a:pt x="1286" y="93"/>
                  </a:cubicBezTo>
                  <a:cubicBezTo>
                    <a:pt x="1290" y="95"/>
                    <a:pt x="1287" y="96"/>
                    <a:pt x="1285" y="96"/>
                  </a:cubicBezTo>
                  <a:cubicBezTo>
                    <a:pt x="1288" y="97"/>
                    <a:pt x="1284" y="98"/>
                    <a:pt x="1284" y="100"/>
                  </a:cubicBezTo>
                  <a:cubicBezTo>
                    <a:pt x="1284" y="102"/>
                    <a:pt x="1286" y="102"/>
                    <a:pt x="1286" y="103"/>
                  </a:cubicBezTo>
                  <a:cubicBezTo>
                    <a:pt x="1286" y="104"/>
                    <a:pt x="1282" y="112"/>
                    <a:pt x="1286" y="109"/>
                  </a:cubicBezTo>
                  <a:cubicBezTo>
                    <a:pt x="1284" y="111"/>
                    <a:pt x="1286" y="111"/>
                    <a:pt x="1287" y="114"/>
                  </a:cubicBezTo>
                  <a:cubicBezTo>
                    <a:pt x="1282" y="114"/>
                    <a:pt x="1288" y="118"/>
                    <a:pt x="1289" y="119"/>
                  </a:cubicBezTo>
                  <a:cubicBezTo>
                    <a:pt x="1289" y="120"/>
                    <a:pt x="1291" y="119"/>
                    <a:pt x="1290" y="120"/>
                  </a:cubicBezTo>
                  <a:cubicBezTo>
                    <a:pt x="1289" y="121"/>
                    <a:pt x="1289" y="121"/>
                    <a:pt x="1290" y="122"/>
                  </a:cubicBezTo>
                  <a:cubicBezTo>
                    <a:pt x="1292" y="122"/>
                    <a:pt x="1293" y="120"/>
                    <a:pt x="1295" y="120"/>
                  </a:cubicBezTo>
                  <a:cubicBezTo>
                    <a:pt x="1292" y="123"/>
                    <a:pt x="1295" y="122"/>
                    <a:pt x="1296" y="121"/>
                  </a:cubicBezTo>
                  <a:cubicBezTo>
                    <a:pt x="1296" y="122"/>
                    <a:pt x="1296" y="122"/>
                    <a:pt x="1296" y="123"/>
                  </a:cubicBezTo>
                  <a:cubicBezTo>
                    <a:pt x="1297" y="123"/>
                    <a:pt x="1297" y="124"/>
                    <a:pt x="1298" y="124"/>
                  </a:cubicBezTo>
                  <a:cubicBezTo>
                    <a:pt x="1299" y="124"/>
                    <a:pt x="1300" y="123"/>
                    <a:pt x="1301" y="124"/>
                  </a:cubicBezTo>
                  <a:cubicBezTo>
                    <a:pt x="1302" y="124"/>
                    <a:pt x="1302" y="125"/>
                    <a:pt x="1302" y="126"/>
                  </a:cubicBezTo>
                  <a:cubicBezTo>
                    <a:pt x="1304" y="126"/>
                    <a:pt x="1306" y="126"/>
                    <a:pt x="1307" y="127"/>
                  </a:cubicBezTo>
                  <a:cubicBezTo>
                    <a:pt x="1305" y="128"/>
                    <a:pt x="1300" y="127"/>
                    <a:pt x="1297" y="127"/>
                  </a:cubicBezTo>
                  <a:cubicBezTo>
                    <a:pt x="1298" y="128"/>
                    <a:pt x="1300" y="129"/>
                    <a:pt x="1301" y="130"/>
                  </a:cubicBezTo>
                  <a:cubicBezTo>
                    <a:pt x="1299" y="130"/>
                    <a:pt x="1298" y="130"/>
                    <a:pt x="1296" y="129"/>
                  </a:cubicBezTo>
                  <a:cubicBezTo>
                    <a:pt x="1296" y="130"/>
                    <a:pt x="1296" y="130"/>
                    <a:pt x="1296" y="130"/>
                  </a:cubicBezTo>
                  <a:cubicBezTo>
                    <a:pt x="1296" y="129"/>
                    <a:pt x="1296" y="129"/>
                    <a:pt x="1294" y="129"/>
                  </a:cubicBezTo>
                  <a:cubicBezTo>
                    <a:pt x="1294" y="129"/>
                    <a:pt x="1294" y="129"/>
                    <a:pt x="1293" y="130"/>
                  </a:cubicBezTo>
                  <a:cubicBezTo>
                    <a:pt x="1294" y="131"/>
                    <a:pt x="1292" y="132"/>
                    <a:pt x="1293" y="134"/>
                  </a:cubicBezTo>
                  <a:cubicBezTo>
                    <a:pt x="1293" y="135"/>
                    <a:pt x="1295" y="135"/>
                    <a:pt x="1296" y="135"/>
                  </a:cubicBezTo>
                  <a:cubicBezTo>
                    <a:pt x="1296" y="135"/>
                    <a:pt x="1296" y="135"/>
                    <a:pt x="1296" y="135"/>
                  </a:cubicBezTo>
                  <a:cubicBezTo>
                    <a:pt x="1300" y="134"/>
                    <a:pt x="1305" y="138"/>
                    <a:pt x="1299" y="138"/>
                  </a:cubicBezTo>
                  <a:cubicBezTo>
                    <a:pt x="1298" y="138"/>
                    <a:pt x="1296" y="136"/>
                    <a:pt x="1296" y="138"/>
                  </a:cubicBezTo>
                  <a:cubicBezTo>
                    <a:pt x="1296" y="138"/>
                    <a:pt x="1296" y="137"/>
                    <a:pt x="1296" y="137"/>
                  </a:cubicBezTo>
                  <a:cubicBezTo>
                    <a:pt x="1295" y="137"/>
                    <a:pt x="1294" y="137"/>
                    <a:pt x="1293" y="137"/>
                  </a:cubicBezTo>
                  <a:cubicBezTo>
                    <a:pt x="1293" y="137"/>
                    <a:pt x="1292" y="137"/>
                    <a:pt x="1292" y="137"/>
                  </a:cubicBezTo>
                  <a:cubicBezTo>
                    <a:pt x="1291" y="138"/>
                    <a:pt x="1292" y="139"/>
                    <a:pt x="1291" y="139"/>
                  </a:cubicBezTo>
                  <a:cubicBezTo>
                    <a:pt x="1289" y="139"/>
                    <a:pt x="1289" y="137"/>
                    <a:pt x="1288" y="137"/>
                  </a:cubicBezTo>
                  <a:cubicBezTo>
                    <a:pt x="1286" y="137"/>
                    <a:pt x="1287" y="138"/>
                    <a:pt x="1285" y="138"/>
                  </a:cubicBezTo>
                  <a:cubicBezTo>
                    <a:pt x="1282" y="138"/>
                    <a:pt x="1282" y="137"/>
                    <a:pt x="1281" y="140"/>
                  </a:cubicBezTo>
                  <a:cubicBezTo>
                    <a:pt x="1280" y="142"/>
                    <a:pt x="1279" y="143"/>
                    <a:pt x="1279" y="145"/>
                  </a:cubicBezTo>
                  <a:cubicBezTo>
                    <a:pt x="1280" y="148"/>
                    <a:pt x="1281" y="149"/>
                    <a:pt x="1279" y="152"/>
                  </a:cubicBezTo>
                  <a:cubicBezTo>
                    <a:pt x="1279" y="153"/>
                    <a:pt x="1277" y="154"/>
                    <a:pt x="1277" y="155"/>
                  </a:cubicBezTo>
                  <a:cubicBezTo>
                    <a:pt x="1277" y="157"/>
                    <a:pt x="1278" y="158"/>
                    <a:pt x="1277" y="160"/>
                  </a:cubicBezTo>
                  <a:cubicBezTo>
                    <a:pt x="1277" y="161"/>
                    <a:pt x="1276" y="165"/>
                    <a:pt x="1275" y="166"/>
                  </a:cubicBezTo>
                  <a:cubicBezTo>
                    <a:pt x="1274" y="167"/>
                    <a:pt x="1271" y="169"/>
                    <a:pt x="1271" y="167"/>
                  </a:cubicBezTo>
                  <a:cubicBezTo>
                    <a:pt x="1270" y="172"/>
                    <a:pt x="1264" y="174"/>
                    <a:pt x="1262" y="178"/>
                  </a:cubicBezTo>
                  <a:cubicBezTo>
                    <a:pt x="1261" y="181"/>
                    <a:pt x="1263" y="185"/>
                    <a:pt x="1262" y="189"/>
                  </a:cubicBezTo>
                  <a:cubicBezTo>
                    <a:pt x="1262" y="190"/>
                    <a:pt x="1262" y="192"/>
                    <a:pt x="1261" y="193"/>
                  </a:cubicBezTo>
                  <a:cubicBezTo>
                    <a:pt x="1260" y="194"/>
                    <a:pt x="1259" y="193"/>
                    <a:pt x="1259" y="191"/>
                  </a:cubicBezTo>
                  <a:cubicBezTo>
                    <a:pt x="1258" y="194"/>
                    <a:pt x="1256" y="190"/>
                    <a:pt x="1254" y="191"/>
                  </a:cubicBezTo>
                  <a:cubicBezTo>
                    <a:pt x="1252" y="191"/>
                    <a:pt x="1250" y="193"/>
                    <a:pt x="1249" y="193"/>
                  </a:cubicBezTo>
                  <a:cubicBezTo>
                    <a:pt x="1247" y="194"/>
                    <a:pt x="1250" y="196"/>
                    <a:pt x="1251" y="197"/>
                  </a:cubicBezTo>
                  <a:cubicBezTo>
                    <a:pt x="1249" y="197"/>
                    <a:pt x="1248" y="198"/>
                    <a:pt x="1248" y="200"/>
                  </a:cubicBezTo>
                  <a:cubicBezTo>
                    <a:pt x="1247" y="196"/>
                    <a:pt x="1245" y="199"/>
                    <a:pt x="1244" y="200"/>
                  </a:cubicBezTo>
                  <a:cubicBezTo>
                    <a:pt x="1243" y="203"/>
                    <a:pt x="1243" y="204"/>
                    <a:pt x="1242" y="200"/>
                  </a:cubicBezTo>
                  <a:cubicBezTo>
                    <a:pt x="1242" y="199"/>
                    <a:pt x="1241" y="197"/>
                    <a:pt x="1241" y="196"/>
                  </a:cubicBezTo>
                  <a:cubicBezTo>
                    <a:pt x="1241" y="196"/>
                    <a:pt x="1240" y="196"/>
                    <a:pt x="1240" y="196"/>
                  </a:cubicBezTo>
                  <a:cubicBezTo>
                    <a:pt x="1240" y="196"/>
                    <a:pt x="1240" y="195"/>
                    <a:pt x="1240" y="194"/>
                  </a:cubicBezTo>
                  <a:cubicBezTo>
                    <a:pt x="1238" y="193"/>
                    <a:pt x="1237" y="191"/>
                    <a:pt x="1235" y="190"/>
                  </a:cubicBezTo>
                  <a:cubicBezTo>
                    <a:pt x="1233" y="188"/>
                    <a:pt x="1232" y="187"/>
                    <a:pt x="1230" y="185"/>
                  </a:cubicBezTo>
                  <a:cubicBezTo>
                    <a:pt x="1229" y="184"/>
                    <a:pt x="1227" y="183"/>
                    <a:pt x="1225" y="182"/>
                  </a:cubicBezTo>
                  <a:cubicBezTo>
                    <a:pt x="1223" y="180"/>
                    <a:pt x="1223" y="179"/>
                    <a:pt x="1222" y="177"/>
                  </a:cubicBezTo>
                  <a:cubicBezTo>
                    <a:pt x="1221" y="175"/>
                    <a:pt x="1220" y="174"/>
                    <a:pt x="1219" y="172"/>
                  </a:cubicBezTo>
                  <a:cubicBezTo>
                    <a:pt x="1218" y="169"/>
                    <a:pt x="1219" y="168"/>
                    <a:pt x="1220" y="165"/>
                  </a:cubicBezTo>
                  <a:cubicBezTo>
                    <a:pt x="1220" y="162"/>
                    <a:pt x="1220" y="160"/>
                    <a:pt x="1218" y="157"/>
                  </a:cubicBezTo>
                  <a:cubicBezTo>
                    <a:pt x="1217" y="155"/>
                    <a:pt x="1219" y="156"/>
                    <a:pt x="1219" y="155"/>
                  </a:cubicBezTo>
                  <a:cubicBezTo>
                    <a:pt x="1220" y="155"/>
                    <a:pt x="1222" y="153"/>
                    <a:pt x="1222" y="153"/>
                  </a:cubicBezTo>
                  <a:cubicBezTo>
                    <a:pt x="1224" y="152"/>
                    <a:pt x="1222" y="156"/>
                    <a:pt x="1223" y="157"/>
                  </a:cubicBezTo>
                  <a:cubicBezTo>
                    <a:pt x="1223" y="158"/>
                    <a:pt x="1226" y="158"/>
                    <a:pt x="1227" y="157"/>
                  </a:cubicBezTo>
                  <a:cubicBezTo>
                    <a:pt x="1232" y="155"/>
                    <a:pt x="1232" y="153"/>
                    <a:pt x="1231" y="149"/>
                  </a:cubicBezTo>
                  <a:cubicBezTo>
                    <a:pt x="1230" y="148"/>
                    <a:pt x="1229" y="146"/>
                    <a:pt x="1229" y="145"/>
                  </a:cubicBezTo>
                  <a:cubicBezTo>
                    <a:pt x="1228" y="142"/>
                    <a:pt x="1229" y="140"/>
                    <a:pt x="1228" y="138"/>
                  </a:cubicBezTo>
                  <a:cubicBezTo>
                    <a:pt x="1224" y="129"/>
                    <a:pt x="1215" y="128"/>
                    <a:pt x="1208" y="123"/>
                  </a:cubicBezTo>
                  <a:cubicBezTo>
                    <a:pt x="1205" y="120"/>
                    <a:pt x="1205" y="115"/>
                    <a:pt x="1199" y="116"/>
                  </a:cubicBezTo>
                  <a:cubicBezTo>
                    <a:pt x="1196" y="117"/>
                    <a:pt x="1195" y="118"/>
                    <a:pt x="1194" y="121"/>
                  </a:cubicBezTo>
                  <a:cubicBezTo>
                    <a:pt x="1192" y="123"/>
                    <a:pt x="1190" y="124"/>
                    <a:pt x="1188" y="126"/>
                  </a:cubicBezTo>
                  <a:cubicBezTo>
                    <a:pt x="1188" y="129"/>
                    <a:pt x="1189" y="140"/>
                    <a:pt x="1186" y="142"/>
                  </a:cubicBezTo>
                  <a:cubicBezTo>
                    <a:pt x="1187" y="141"/>
                    <a:pt x="1186" y="140"/>
                    <a:pt x="1186" y="140"/>
                  </a:cubicBezTo>
                  <a:cubicBezTo>
                    <a:pt x="1182" y="140"/>
                    <a:pt x="1182" y="146"/>
                    <a:pt x="1183" y="147"/>
                  </a:cubicBezTo>
                  <a:cubicBezTo>
                    <a:pt x="1183" y="148"/>
                    <a:pt x="1183" y="149"/>
                    <a:pt x="1183" y="150"/>
                  </a:cubicBezTo>
                  <a:cubicBezTo>
                    <a:pt x="1183" y="150"/>
                    <a:pt x="1183" y="149"/>
                    <a:pt x="1183" y="149"/>
                  </a:cubicBezTo>
                  <a:cubicBezTo>
                    <a:pt x="1181" y="151"/>
                    <a:pt x="1181" y="153"/>
                    <a:pt x="1180" y="155"/>
                  </a:cubicBezTo>
                  <a:cubicBezTo>
                    <a:pt x="1180" y="154"/>
                    <a:pt x="1180" y="153"/>
                    <a:pt x="1180" y="152"/>
                  </a:cubicBezTo>
                  <a:cubicBezTo>
                    <a:pt x="1180" y="153"/>
                    <a:pt x="1176" y="158"/>
                    <a:pt x="1175" y="158"/>
                  </a:cubicBezTo>
                  <a:cubicBezTo>
                    <a:pt x="1174" y="158"/>
                    <a:pt x="1174" y="156"/>
                    <a:pt x="1173" y="156"/>
                  </a:cubicBezTo>
                  <a:cubicBezTo>
                    <a:pt x="1171" y="154"/>
                    <a:pt x="1169" y="152"/>
                    <a:pt x="1167" y="150"/>
                  </a:cubicBezTo>
                  <a:cubicBezTo>
                    <a:pt x="1166" y="149"/>
                    <a:pt x="1169" y="148"/>
                    <a:pt x="1169" y="147"/>
                  </a:cubicBezTo>
                  <a:cubicBezTo>
                    <a:pt x="1169" y="146"/>
                    <a:pt x="1168" y="144"/>
                    <a:pt x="1168" y="143"/>
                  </a:cubicBezTo>
                  <a:cubicBezTo>
                    <a:pt x="1168" y="142"/>
                    <a:pt x="1169" y="141"/>
                    <a:pt x="1169" y="141"/>
                  </a:cubicBezTo>
                  <a:cubicBezTo>
                    <a:pt x="1169" y="140"/>
                    <a:pt x="1168" y="138"/>
                    <a:pt x="1168" y="137"/>
                  </a:cubicBezTo>
                  <a:cubicBezTo>
                    <a:pt x="1170" y="135"/>
                    <a:pt x="1170" y="134"/>
                    <a:pt x="1167" y="135"/>
                  </a:cubicBezTo>
                  <a:cubicBezTo>
                    <a:pt x="1168" y="134"/>
                    <a:pt x="1169" y="134"/>
                    <a:pt x="1170" y="133"/>
                  </a:cubicBezTo>
                  <a:cubicBezTo>
                    <a:pt x="1167" y="128"/>
                    <a:pt x="1165" y="124"/>
                    <a:pt x="1160" y="121"/>
                  </a:cubicBezTo>
                  <a:cubicBezTo>
                    <a:pt x="1156" y="118"/>
                    <a:pt x="1152" y="116"/>
                    <a:pt x="1147" y="113"/>
                  </a:cubicBezTo>
                  <a:cubicBezTo>
                    <a:pt x="1153" y="115"/>
                    <a:pt x="1153" y="116"/>
                    <a:pt x="1158" y="113"/>
                  </a:cubicBezTo>
                  <a:cubicBezTo>
                    <a:pt x="1158" y="113"/>
                    <a:pt x="1155" y="115"/>
                    <a:pt x="1155" y="116"/>
                  </a:cubicBezTo>
                  <a:cubicBezTo>
                    <a:pt x="1155" y="117"/>
                    <a:pt x="1157" y="116"/>
                    <a:pt x="1158" y="116"/>
                  </a:cubicBezTo>
                  <a:cubicBezTo>
                    <a:pt x="1158" y="116"/>
                    <a:pt x="1159" y="118"/>
                    <a:pt x="1160" y="117"/>
                  </a:cubicBezTo>
                  <a:cubicBezTo>
                    <a:pt x="1161" y="116"/>
                    <a:pt x="1162" y="114"/>
                    <a:pt x="1162" y="112"/>
                  </a:cubicBezTo>
                  <a:cubicBezTo>
                    <a:pt x="1163" y="111"/>
                    <a:pt x="1164" y="111"/>
                    <a:pt x="1164" y="109"/>
                  </a:cubicBezTo>
                  <a:cubicBezTo>
                    <a:pt x="1164" y="108"/>
                    <a:pt x="1166" y="110"/>
                    <a:pt x="1167" y="110"/>
                  </a:cubicBezTo>
                  <a:cubicBezTo>
                    <a:pt x="1168" y="110"/>
                    <a:pt x="1171" y="110"/>
                    <a:pt x="1173" y="109"/>
                  </a:cubicBezTo>
                  <a:cubicBezTo>
                    <a:pt x="1170" y="107"/>
                    <a:pt x="1168" y="107"/>
                    <a:pt x="1166" y="106"/>
                  </a:cubicBezTo>
                  <a:cubicBezTo>
                    <a:pt x="1162" y="104"/>
                    <a:pt x="1165" y="109"/>
                    <a:pt x="1160" y="106"/>
                  </a:cubicBezTo>
                  <a:cubicBezTo>
                    <a:pt x="1160" y="105"/>
                    <a:pt x="1158" y="106"/>
                    <a:pt x="1157" y="106"/>
                  </a:cubicBezTo>
                  <a:cubicBezTo>
                    <a:pt x="1155" y="106"/>
                    <a:pt x="1155" y="105"/>
                    <a:pt x="1153" y="104"/>
                  </a:cubicBezTo>
                  <a:cubicBezTo>
                    <a:pt x="1152" y="104"/>
                    <a:pt x="1150" y="106"/>
                    <a:pt x="1149" y="106"/>
                  </a:cubicBezTo>
                  <a:cubicBezTo>
                    <a:pt x="1148" y="106"/>
                    <a:pt x="1146" y="106"/>
                    <a:pt x="1144" y="106"/>
                  </a:cubicBezTo>
                  <a:cubicBezTo>
                    <a:pt x="1146" y="105"/>
                    <a:pt x="1148" y="105"/>
                    <a:pt x="1150" y="104"/>
                  </a:cubicBezTo>
                  <a:cubicBezTo>
                    <a:pt x="1152" y="103"/>
                    <a:pt x="1152" y="102"/>
                    <a:pt x="1155" y="101"/>
                  </a:cubicBezTo>
                  <a:cubicBezTo>
                    <a:pt x="1153" y="100"/>
                    <a:pt x="1150" y="100"/>
                    <a:pt x="1148" y="100"/>
                  </a:cubicBezTo>
                  <a:cubicBezTo>
                    <a:pt x="1145" y="100"/>
                    <a:pt x="1145" y="102"/>
                    <a:pt x="1144" y="103"/>
                  </a:cubicBezTo>
                  <a:cubicBezTo>
                    <a:pt x="1143" y="104"/>
                    <a:pt x="1140" y="106"/>
                    <a:pt x="1139" y="106"/>
                  </a:cubicBezTo>
                  <a:cubicBezTo>
                    <a:pt x="1134" y="104"/>
                    <a:pt x="1128" y="101"/>
                    <a:pt x="1123" y="99"/>
                  </a:cubicBezTo>
                  <a:cubicBezTo>
                    <a:pt x="1120" y="99"/>
                    <a:pt x="1116" y="100"/>
                    <a:pt x="1113" y="99"/>
                  </a:cubicBezTo>
                  <a:cubicBezTo>
                    <a:pt x="1114" y="99"/>
                    <a:pt x="1115" y="98"/>
                    <a:pt x="1116" y="98"/>
                  </a:cubicBezTo>
                  <a:cubicBezTo>
                    <a:pt x="1118" y="96"/>
                    <a:pt x="1119" y="95"/>
                    <a:pt x="1121" y="94"/>
                  </a:cubicBezTo>
                  <a:cubicBezTo>
                    <a:pt x="1121" y="94"/>
                    <a:pt x="1121" y="94"/>
                    <a:pt x="1121" y="94"/>
                  </a:cubicBezTo>
                  <a:cubicBezTo>
                    <a:pt x="1122" y="95"/>
                    <a:pt x="1135" y="86"/>
                    <a:pt x="1135" y="84"/>
                  </a:cubicBezTo>
                  <a:cubicBezTo>
                    <a:pt x="1133" y="79"/>
                    <a:pt x="1123" y="85"/>
                    <a:pt x="1121" y="83"/>
                  </a:cubicBezTo>
                  <a:cubicBezTo>
                    <a:pt x="1121" y="83"/>
                    <a:pt x="1122" y="82"/>
                    <a:pt x="1122" y="82"/>
                  </a:cubicBezTo>
                  <a:cubicBezTo>
                    <a:pt x="1122" y="81"/>
                    <a:pt x="1124" y="81"/>
                    <a:pt x="1123" y="80"/>
                  </a:cubicBezTo>
                  <a:cubicBezTo>
                    <a:pt x="1123" y="80"/>
                    <a:pt x="1123" y="79"/>
                    <a:pt x="1123" y="79"/>
                  </a:cubicBezTo>
                  <a:cubicBezTo>
                    <a:pt x="1124" y="78"/>
                    <a:pt x="1130" y="79"/>
                    <a:pt x="1126" y="76"/>
                  </a:cubicBezTo>
                  <a:cubicBezTo>
                    <a:pt x="1128" y="75"/>
                    <a:pt x="1128" y="77"/>
                    <a:pt x="1129" y="78"/>
                  </a:cubicBezTo>
                  <a:cubicBezTo>
                    <a:pt x="1130" y="79"/>
                    <a:pt x="1133" y="81"/>
                    <a:pt x="1134" y="81"/>
                  </a:cubicBezTo>
                  <a:cubicBezTo>
                    <a:pt x="1136" y="82"/>
                    <a:pt x="1145" y="81"/>
                    <a:pt x="1145" y="80"/>
                  </a:cubicBezTo>
                  <a:cubicBezTo>
                    <a:pt x="1146" y="78"/>
                    <a:pt x="1142" y="77"/>
                    <a:pt x="1141" y="78"/>
                  </a:cubicBezTo>
                  <a:cubicBezTo>
                    <a:pt x="1141" y="77"/>
                    <a:pt x="1141" y="75"/>
                    <a:pt x="1141" y="74"/>
                  </a:cubicBezTo>
                  <a:cubicBezTo>
                    <a:pt x="1141" y="71"/>
                    <a:pt x="1140" y="72"/>
                    <a:pt x="1139" y="72"/>
                  </a:cubicBezTo>
                  <a:cubicBezTo>
                    <a:pt x="1138" y="72"/>
                    <a:pt x="1138" y="72"/>
                    <a:pt x="1138" y="72"/>
                  </a:cubicBezTo>
                  <a:cubicBezTo>
                    <a:pt x="1138" y="72"/>
                    <a:pt x="1138" y="72"/>
                    <a:pt x="1137" y="73"/>
                  </a:cubicBezTo>
                  <a:cubicBezTo>
                    <a:pt x="1137" y="74"/>
                    <a:pt x="1136" y="74"/>
                    <a:pt x="1135" y="75"/>
                  </a:cubicBezTo>
                  <a:cubicBezTo>
                    <a:pt x="1135" y="74"/>
                    <a:pt x="1135" y="72"/>
                    <a:pt x="1134" y="70"/>
                  </a:cubicBezTo>
                  <a:cubicBezTo>
                    <a:pt x="1134" y="69"/>
                    <a:pt x="1132" y="68"/>
                    <a:pt x="1132" y="67"/>
                  </a:cubicBezTo>
                  <a:cubicBezTo>
                    <a:pt x="1131" y="67"/>
                    <a:pt x="1128" y="57"/>
                    <a:pt x="1128" y="62"/>
                  </a:cubicBezTo>
                  <a:cubicBezTo>
                    <a:pt x="1127" y="57"/>
                    <a:pt x="1122" y="59"/>
                    <a:pt x="1120" y="57"/>
                  </a:cubicBezTo>
                  <a:cubicBezTo>
                    <a:pt x="1118" y="55"/>
                    <a:pt x="1119" y="54"/>
                    <a:pt x="1116" y="53"/>
                  </a:cubicBezTo>
                  <a:cubicBezTo>
                    <a:pt x="1114" y="52"/>
                    <a:pt x="1112" y="51"/>
                    <a:pt x="1110" y="49"/>
                  </a:cubicBezTo>
                  <a:cubicBezTo>
                    <a:pt x="1111" y="50"/>
                    <a:pt x="1111" y="50"/>
                    <a:pt x="1112" y="51"/>
                  </a:cubicBezTo>
                  <a:cubicBezTo>
                    <a:pt x="1112" y="46"/>
                    <a:pt x="1112" y="40"/>
                    <a:pt x="1111" y="35"/>
                  </a:cubicBezTo>
                  <a:cubicBezTo>
                    <a:pt x="1111" y="34"/>
                    <a:pt x="1112" y="31"/>
                    <a:pt x="1111" y="29"/>
                  </a:cubicBezTo>
                  <a:cubicBezTo>
                    <a:pt x="1110" y="28"/>
                    <a:pt x="1108" y="27"/>
                    <a:pt x="1107" y="26"/>
                  </a:cubicBezTo>
                  <a:cubicBezTo>
                    <a:pt x="1104" y="22"/>
                    <a:pt x="1099" y="22"/>
                    <a:pt x="1095" y="19"/>
                  </a:cubicBezTo>
                  <a:cubicBezTo>
                    <a:pt x="1093" y="17"/>
                    <a:pt x="1092" y="17"/>
                    <a:pt x="1093" y="15"/>
                  </a:cubicBezTo>
                  <a:cubicBezTo>
                    <a:pt x="1093" y="14"/>
                    <a:pt x="1095" y="12"/>
                    <a:pt x="1093" y="11"/>
                  </a:cubicBezTo>
                  <a:cubicBezTo>
                    <a:pt x="1092" y="11"/>
                    <a:pt x="1091" y="12"/>
                    <a:pt x="1090" y="12"/>
                  </a:cubicBezTo>
                  <a:cubicBezTo>
                    <a:pt x="1088" y="13"/>
                    <a:pt x="1088" y="11"/>
                    <a:pt x="1087" y="11"/>
                  </a:cubicBezTo>
                  <a:cubicBezTo>
                    <a:pt x="1086" y="11"/>
                    <a:pt x="1086" y="12"/>
                    <a:pt x="1085" y="12"/>
                  </a:cubicBezTo>
                  <a:cubicBezTo>
                    <a:pt x="1084" y="12"/>
                    <a:pt x="1084" y="10"/>
                    <a:pt x="1083" y="11"/>
                  </a:cubicBezTo>
                  <a:cubicBezTo>
                    <a:pt x="1082" y="11"/>
                    <a:pt x="1082" y="12"/>
                    <a:pt x="1081" y="13"/>
                  </a:cubicBezTo>
                  <a:cubicBezTo>
                    <a:pt x="1081" y="14"/>
                    <a:pt x="1079" y="15"/>
                    <a:pt x="1078" y="15"/>
                  </a:cubicBezTo>
                  <a:cubicBezTo>
                    <a:pt x="1079" y="14"/>
                    <a:pt x="1079" y="12"/>
                    <a:pt x="1079" y="11"/>
                  </a:cubicBezTo>
                  <a:cubicBezTo>
                    <a:pt x="1079" y="9"/>
                    <a:pt x="1078" y="10"/>
                    <a:pt x="1078" y="10"/>
                  </a:cubicBezTo>
                  <a:cubicBezTo>
                    <a:pt x="1076" y="10"/>
                    <a:pt x="1077" y="9"/>
                    <a:pt x="1076" y="10"/>
                  </a:cubicBezTo>
                  <a:cubicBezTo>
                    <a:pt x="1075" y="10"/>
                    <a:pt x="1074" y="11"/>
                    <a:pt x="1073" y="12"/>
                  </a:cubicBezTo>
                  <a:cubicBezTo>
                    <a:pt x="1072" y="9"/>
                    <a:pt x="1074" y="9"/>
                    <a:pt x="1075" y="8"/>
                  </a:cubicBezTo>
                  <a:cubicBezTo>
                    <a:pt x="1076" y="8"/>
                    <a:pt x="1076" y="8"/>
                    <a:pt x="1077" y="7"/>
                  </a:cubicBezTo>
                  <a:cubicBezTo>
                    <a:pt x="1077" y="7"/>
                    <a:pt x="1077" y="6"/>
                    <a:pt x="1077" y="5"/>
                  </a:cubicBezTo>
                  <a:cubicBezTo>
                    <a:pt x="1079" y="4"/>
                    <a:pt x="1078" y="3"/>
                    <a:pt x="1076" y="2"/>
                  </a:cubicBezTo>
                  <a:cubicBezTo>
                    <a:pt x="1074" y="0"/>
                    <a:pt x="1067" y="2"/>
                    <a:pt x="1065" y="3"/>
                  </a:cubicBezTo>
                  <a:cubicBezTo>
                    <a:pt x="1062" y="3"/>
                    <a:pt x="1060" y="3"/>
                    <a:pt x="1059" y="5"/>
                  </a:cubicBezTo>
                  <a:cubicBezTo>
                    <a:pt x="1059" y="6"/>
                    <a:pt x="1058" y="8"/>
                    <a:pt x="1060" y="8"/>
                  </a:cubicBezTo>
                  <a:cubicBezTo>
                    <a:pt x="1061" y="9"/>
                    <a:pt x="1065" y="8"/>
                    <a:pt x="1066" y="8"/>
                  </a:cubicBezTo>
                  <a:cubicBezTo>
                    <a:pt x="1069" y="8"/>
                    <a:pt x="1071" y="8"/>
                    <a:pt x="1073" y="7"/>
                  </a:cubicBezTo>
                  <a:cubicBezTo>
                    <a:pt x="1070" y="10"/>
                    <a:pt x="1064" y="7"/>
                    <a:pt x="1060" y="9"/>
                  </a:cubicBezTo>
                  <a:cubicBezTo>
                    <a:pt x="1058" y="10"/>
                    <a:pt x="1059" y="13"/>
                    <a:pt x="1058" y="13"/>
                  </a:cubicBezTo>
                  <a:cubicBezTo>
                    <a:pt x="1057" y="14"/>
                    <a:pt x="1053" y="14"/>
                    <a:pt x="1051" y="14"/>
                  </a:cubicBezTo>
                  <a:cubicBezTo>
                    <a:pt x="1049" y="15"/>
                    <a:pt x="1048" y="17"/>
                    <a:pt x="1046" y="17"/>
                  </a:cubicBezTo>
                  <a:cubicBezTo>
                    <a:pt x="1045" y="18"/>
                    <a:pt x="1042" y="19"/>
                    <a:pt x="1043" y="21"/>
                  </a:cubicBezTo>
                  <a:cubicBezTo>
                    <a:pt x="1043" y="22"/>
                    <a:pt x="1047" y="23"/>
                    <a:pt x="1048" y="23"/>
                  </a:cubicBezTo>
                  <a:cubicBezTo>
                    <a:pt x="1051" y="23"/>
                    <a:pt x="1053" y="23"/>
                    <a:pt x="1055" y="23"/>
                  </a:cubicBezTo>
                  <a:cubicBezTo>
                    <a:pt x="1052" y="24"/>
                    <a:pt x="1052" y="26"/>
                    <a:pt x="1054" y="28"/>
                  </a:cubicBezTo>
                  <a:cubicBezTo>
                    <a:pt x="1053" y="29"/>
                    <a:pt x="1052" y="29"/>
                    <a:pt x="1051" y="29"/>
                  </a:cubicBezTo>
                  <a:cubicBezTo>
                    <a:pt x="1053" y="30"/>
                    <a:pt x="1052" y="31"/>
                    <a:pt x="1051" y="32"/>
                  </a:cubicBezTo>
                  <a:cubicBezTo>
                    <a:pt x="1049" y="33"/>
                    <a:pt x="1043" y="29"/>
                    <a:pt x="1041" y="28"/>
                  </a:cubicBezTo>
                  <a:cubicBezTo>
                    <a:pt x="1037" y="27"/>
                    <a:pt x="1038" y="28"/>
                    <a:pt x="1035" y="30"/>
                  </a:cubicBezTo>
                  <a:cubicBezTo>
                    <a:pt x="1034" y="31"/>
                    <a:pt x="1031" y="31"/>
                    <a:pt x="1030" y="32"/>
                  </a:cubicBezTo>
                  <a:cubicBezTo>
                    <a:pt x="1032" y="33"/>
                    <a:pt x="1031" y="34"/>
                    <a:pt x="1031" y="36"/>
                  </a:cubicBezTo>
                  <a:cubicBezTo>
                    <a:pt x="1031" y="36"/>
                    <a:pt x="1031" y="36"/>
                    <a:pt x="1031" y="36"/>
                  </a:cubicBezTo>
                  <a:cubicBezTo>
                    <a:pt x="1031" y="37"/>
                    <a:pt x="1029" y="37"/>
                    <a:pt x="1029" y="38"/>
                  </a:cubicBezTo>
                  <a:cubicBezTo>
                    <a:pt x="1029" y="40"/>
                    <a:pt x="1028" y="39"/>
                    <a:pt x="1030" y="40"/>
                  </a:cubicBezTo>
                  <a:cubicBezTo>
                    <a:pt x="1031" y="40"/>
                    <a:pt x="1032" y="39"/>
                    <a:pt x="1033" y="40"/>
                  </a:cubicBezTo>
                  <a:cubicBezTo>
                    <a:pt x="1033" y="41"/>
                    <a:pt x="1031" y="42"/>
                    <a:pt x="1030" y="42"/>
                  </a:cubicBezTo>
                  <a:cubicBezTo>
                    <a:pt x="1029" y="43"/>
                    <a:pt x="1030" y="45"/>
                    <a:pt x="1029" y="47"/>
                  </a:cubicBezTo>
                  <a:cubicBezTo>
                    <a:pt x="1029" y="48"/>
                    <a:pt x="1027" y="50"/>
                    <a:pt x="1027" y="52"/>
                  </a:cubicBezTo>
                  <a:cubicBezTo>
                    <a:pt x="1027" y="54"/>
                    <a:pt x="1030" y="54"/>
                    <a:pt x="1031" y="56"/>
                  </a:cubicBezTo>
                  <a:cubicBezTo>
                    <a:pt x="1033" y="57"/>
                    <a:pt x="1033" y="59"/>
                    <a:pt x="1036" y="59"/>
                  </a:cubicBezTo>
                  <a:cubicBezTo>
                    <a:pt x="1039" y="60"/>
                    <a:pt x="1042" y="57"/>
                    <a:pt x="1044" y="57"/>
                  </a:cubicBezTo>
                  <a:cubicBezTo>
                    <a:pt x="1041" y="58"/>
                    <a:pt x="1038" y="60"/>
                    <a:pt x="1036" y="63"/>
                  </a:cubicBezTo>
                  <a:cubicBezTo>
                    <a:pt x="1034" y="64"/>
                    <a:pt x="1034" y="66"/>
                    <a:pt x="1033" y="68"/>
                  </a:cubicBezTo>
                  <a:cubicBezTo>
                    <a:pt x="1031" y="70"/>
                    <a:pt x="1029" y="71"/>
                    <a:pt x="1028" y="73"/>
                  </a:cubicBezTo>
                  <a:cubicBezTo>
                    <a:pt x="1028" y="75"/>
                    <a:pt x="1028" y="77"/>
                    <a:pt x="1029" y="79"/>
                  </a:cubicBezTo>
                  <a:cubicBezTo>
                    <a:pt x="1030" y="81"/>
                    <a:pt x="1030" y="83"/>
                    <a:pt x="1032" y="84"/>
                  </a:cubicBezTo>
                  <a:cubicBezTo>
                    <a:pt x="1033" y="85"/>
                    <a:pt x="1033" y="86"/>
                    <a:pt x="1034" y="87"/>
                  </a:cubicBezTo>
                  <a:cubicBezTo>
                    <a:pt x="1035" y="87"/>
                    <a:pt x="1037" y="87"/>
                    <a:pt x="1037" y="88"/>
                  </a:cubicBezTo>
                  <a:cubicBezTo>
                    <a:pt x="1039" y="88"/>
                    <a:pt x="1038" y="88"/>
                    <a:pt x="1039" y="89"/>
                  </a:cubicBezTo>
                  <a:cubicBezTo>
                    <a:pt x="1039" y="90"/>
                    <a:pt x="1038" y="90"/>
                    <a:pt x="1038" y="91"/>
                  </a:cubicBezTo>
                  <a:cubicBezTo>
                    <a:pt x="1038" y="92"/>
                    <a:pt x="1037" y="92"/>
                    <a:pt x="1037" y="92"/>
                  </a:cubicBezTo>
                  <a:cubicBezTo>
                    <a:pt x="1038" y="92"/>
                    <a:pt x="1038" y="92"/>
                    <a:pt x="1039" y="92"/>
                  </a:cubicBezTo>
                  <a:cubicBezTo>
                    <a:pt x="1039" y="93"/>
                    <a:pt x="1040" y="94"/>
                    <a:pt x="1041" y="94"/>
                  </a:cubicBezTo>
                  <a:cubicBezTo>
                    <a:pt x="1041" y="94"/>
                    <a:pt x="1041" y="94"/>
                    <a:pt x="1042" y="94"/>
                  </a:cubicBezTo>
                  <a:cubicBezTo>
                    <a:pt x="1041" y="96"/>
                    <a:pt x="1041" y="98"/>
                    <a:pt x="1041" y="99"/>
                  </a:cubicBezTo>
                  <a:cubicBezTo>
                    <a:pt x="1042" y="99"/>
                    <a:pt x="1042" y="99"/>
                    <a:pt x="1043" y="98"/>
                  </a:cubicBezTo>
                  <a:cubicBezTo>
                    <a:pt x="1043" y="97"/>
                    <a:pt x="1044" y="96"/>
                    <a:pt x="1044" y="95"/>
                  </a:cubicBezTo>
                  <a:cubicBezTo>
                    <a:pt x="1045" y="95"/>
                    <a:pt x="1046" y="95"/>
                    <a:pt x="1046" y="95"/>
                  </a:cubicBezTo>
                  <a:cubicBezTo>
                    <a:pt x="1046" y="95"/>
                    <a:pt x="1047" y="95"/>
                    <a:pt x="1048" y="95"/>
                  </a:cubicBezTo>
                  <a:cubicBezTo>
                    <a:pt x="1049" y="96"/>
                    <a:pt x="1049" y="97"/>
                    <a:pt x="1049" y="98"/>
                  </a:cubicBezTo>
                  <a:cubicBezTo>
                    <a:pt x="1049" y="99"/>
                    <a:pt x="1048" y="99"/>
                    <a:pt x="1048" y="100"/>
                  </a:cubicBezTo>
                  <a:cubicBezTo>
                    <a:pt x="1047" y="100"/>
                    <a:pt x="1047" y="101"/>
                    <a:pt x="1048" y="101"/>
                  </a:cubicBezTo>
                  <a:cubicBezTo>
                    <a:pt x="1048" y="101"/>
                    <a:pt x="1048" y="101"/>
                    <a:pt x="1048" y="101"/>
                  </a:cubicBezTo>
                  <a:cubicBezTo>
                    <a:pt x="1048" y="101"/>
                    <a:pt x="1048" y="101"/>
                    <a:pt x="1048" y="101"/>
                  </a:cubicBezTo>
                  <a:cubicBezTo>
                    <a:pt x="1048" y="102"/>
                    <a:pt x="1049" y="102"/>
                    <a:pt x="1050" y="102"/>
                  </a:cubicBezTo>
                  <a:cubicBezTo>
                    <a:pt x="1052" y="102"/>
                    <a:pt x="1054" y="100"/>
                    <a:pt x="1055" y="99"/>
                  </a:cubicBezTo>
                  <a:cubicBezTo>
                    <a:pt x="1056" y="99"/>
                    <a:pt x="1056" y="100"/>
                    <a:pt x="1057" y="100"/>
                  </a:cubicBezTo>
                  <a:cubicBezTo>
                    <a:pt x="1060" y="101"/>
                    <a:pt x="1061" y="102"/>
                    <a:pt x="1064" y="102"/>
                  </a:cubicBezTo>
                  <a:cubicBezTo>
                    <a:pt x="1067" y="102"/>
                    <a:pt x="1070" y="100"/>
                    <a:pt x="1073" y="99"/>
                  </a:cubicBezTo>
                  <a:cubicBezTo>
                    <a:pt x="1073" y="100"/>
                    <a:pt x="1077" y="107"/>
                    <a:pt x="1079" y="108"/>
                  </a:cubicBezTo>
                  <a:cubicBezTo>
                    <a:pt x="1083" y="110"/>
                    <a:pt x="1091" y="107"/>
                    <a:pt x="1095" y="106"/>
                  </a:cubicBezTo>
                  <a:cubicBezTo>
                    <a:pt x="1097" y="106"/>
                    <a:pt x="1097" y="105"/>
                    <a:pt x="1098" y="104"/>
                  </a:cubicBezTo>
                  <a:cubicBezTo>
                    <a:pt x="1098" y="105"/>
                    <a:pt x="1098" y="106"/>
                    <a:pt x="1098" y="106"/>
                  </a:cubicBezTo>
                  <a:cubicBezTo>
                    <a:pt x="1101" y="108"/>
                    <a:pt x="1099" y="109"/>
                    <a:pt x="1098" y="112"/>
                  </a:cubicBezTo>
                  <a:cubicBezTo>
                    <a:pt x="1100" y="112"/>
                    <a:pt x="1102" y="112"/>
                    <a:pt x="1105" y="112"/>
                  </a:cubicBezTo>
                  <a:cubicBezTo>
                    <a:pt x="1103" y="112"/>
                    <a:pt x="1102" y="113"/>
                    <a:pt x="1100" y="114"/>
                  </a:cubicBezTo>
                  <a:cubicBezTo>
                    <a:pt x="1097" y="116"/>
                    <a:pt x="1094" y="118"/>
                    <a:pt x="1091" y="120"/>
                  </a:cubicBezTo>
                  <a:cubicBezTo>
                    <a:pt x="1093" y="117"/>
                    <a:pt x="1083" y="113"/>
                    <a:pt x="1081" y="115"/>
                  </a:cubicBezTo>
                  <a:cubicBezTo>
                    <a:pt x="1081" y="114"/>
                    <a:pt x="1081" y="118"/>
                    <a:pt x="1081" y="118"/>
                  </a:cubicBezTo>
                  <a:cubicBezTo>
                    <a:pt x="1081" y="119"/>
                    <a:pt x="1079" y="121"/>
                    <a:pt x="1081" y="122"/>
                  </a:cubicBezTo>
                  <a:cubicBezTo>
                    <a:pt x="1079" y="125"/>
                    <a:pt x="1075" y="127"/>
                    <a:pt x="1074" y="129"/>
                  </a:cubicBezTo>
                  <a:cubicBezTo>
                    <a:pt x="1074" y="131"/>
                    <a:pt x="1073" y="135"/>
                    <a:pt x="1073" y="137"/>
                  </a:cubicBezTo>
                  <a:cubicBezTo>
                    <a:pt x="1075" y="136"/>
                    <a:pt x="1075" y="138"/>
                    <a:pt x="1076" y="138"/>
                  </a:cubicBezTo>
                  <a:cubicBezTo>
                    <a:pt x="1078" y="139"/>
                    <a:pt x="1079" y="138"/>
                    <a:pt x="1080" y="138"/>
                  </a:cubicBezTo>
                  <a:cubicBezTo>
                    <a:pt x="1085" y="137"/>
                    <a:pt x="1088" y="135"/>
                    <a:pt x="1092" y="132"/>
                  </a:cubicBezTo>
                  <a:cubicBezTo>
                    <a:pt x="1090" y="133"/>
                    <a:pt x="1085" y="134"/>
                    <a:pt x="1087" y="131"/>
                  </a:cubicBezTo>
                  <a:cubicBezTo>
                    <a:pt x="1087" y="130"/>
                    <a:pt x="1088" y="129"/>
                    <a:pt x="1089" y="129"/>
                  </a:cubicBezTo>
                  <a:cubicBezTo>
                    <a:pt x="1089" y="128"/>
                    <a:pt x="1089" y="127"/>
                    <a:pt x="1090" y="126"/>
                  </a:cubicBezTo>
                  <a:cubicBezTo>
                    <a:pt x="1090" y="127"/>
                    <a:pt x="1090" y="127"/>
                    <a:pt x="1090" y="127"/>
                  </a:cubicBezTo>
                  <a:cubicBezTo>
                    <a:pt x="1090" y="130"/>
                    <a:pt x="1092" y="127"/>
                    <a:pt x="1094" y="128"/>
                  </a:cubicBezTo>
                  <a:cubicBezTo>
                    <a:pt x="1096" y="130"/>
                    <a:pt x="1094" y="140"/>
                    <a:pt x="1094" y="143"/>
                  </a:cubicBezTo>
                  <a:cubicBezTo>
                    <a:pt x="1096" y="142"/>
                    <a:pt x="1100" y="142"/>
                    <a:pt x="1102" y="142"/>
                  </a:cubicBezTo>
                  <a:cubicBezTo>
                    <a:pt x="1098" y="144"/>
                    <a:pt x="1095" y="146"/>
                    <a:pt x="1092" y="148"/>
                  </a:cubicBezTo>
                  <a:cubicBezTo>
                    <a:pt x="1088" y="150"/>
                    <a:pt x="1086" y="154"/>
                    <a:pt x="1083" y="156"/>
                  </a:cubicBezTo>
                  <a:cubicBezTo>
                    <a:pt x="1082" y="157"/>
                    <a:pt x="1080" y="158"/>
                    <a:pt x="1078" y="159"/>
                  </a:cubicBezTo>
                  <a:cubicBezTo>
                    <a:pt x="1074" y="162"/>
                    <a:pt x="1072" y="166"/>
                    <a:pt x="1067" y="166"/>
                  </a:cubicBezTo>
                  <a:cubicBezTo>
                    <a:pt x="1066" y="166"/>
                    <a:pt x="1064" y="165"/>
                    <a:pt x="1063" y="165"/>
                  </a:cubicBezTo>
                  <a:cubicBezTo>
                    <a:pt x="1061" y="165"/>
                    <a:pt x="1061" y="165"/>
                    <a:pt x="1059" y="166"/>
                  </a:cubicBezTo>
                  <a:cubicBezTo>
                    <a:pt x="1060" y="164"/>
                    <a:pt x="1059" y="165"/>
                    <a:pt x="1057" y="164"/>
                  </a:cubicBezTo>
                  <a:cubicBezTo>
                    <a:pt x="1054" y="164"/>
                    <a:pt x="1053" y="167"/>
                    <a:pt x="1052" y="169"/>
                  </a:cubicBezTo>
                  <a:cubicBezTo>
                    <a:pt x="1051" y="171"/>
                    <a:pt x="1048" y="175"/>
                    <a:pt x="1048" y="177"/>
                  </a:cubicBezTo>
                  <a:cubicBezTo>
                    <a:pt x="1048" y="180"/>
                    <a:pt x="1049" y="179"/>
                    <a:pt x="1050" y="180"/>
                  </a:cubicBezTo>
                  <a:cubicBezTo>
                    <a:pt x="1052" y="181"/>
                    <a:pt x="1054" y="182"/>
                    <a:pt x="1055" y="184"/>
                  </a:cubicBezTo>
                  <a:cubicBezTo>
                    <a:pt x="1056" y="186"/>
                    <a:pt x="1055" y="188"/>
                    <a:pt x="1056" y="191"/>
                  </a:cubicBezTo>
                  <a:cubicBezTo>
                    <a:pt x="1056" y="192"/>
                    <a:pt x="1058" y="195"/>
                    <a:pt x="1058" y="196"/>
                  </a:cubicBezTo>
                  <a:cubicBezTo>
                    <a:pt x="1058" y="200"/>
                    <a:pt x="1057" y="201"/>
                    <a:pt x="1057" y="205"/>
                  </a:cubicBezTo>
                  <a:cubicBezTo>
                    <a:pt x="1058" y="206"/>
                    <a:pt x="1059" y="210"/>
                    <a:pt x="1058" y="211"/>
                  </a:cubicBezTo>
                  <a:cubicBezTo>
                    <a:pt x="1056" y="212"/>
                    <a:pt x="1056" y="210"/>
                    <a:pt x="1055" y="210"/>
                  </a:cubicBezTo>
                  <a:cubicBezTo>
                    <a:pt x="1053" y="210"/>
                    <a:pt x="1051" y="211"/>
                    <a:pt x="1048" y="210"/>
                  </a:cubicBezTo>
                  <a:cubicBezTo>
                    <a:pt x="1046" y="210"/>
                    <a:pt x="1043" y="209"/>
                    <a:pt x="1039" y="210"/>
                  </a:cubicBezTo>
                  <a:cubicBezTo>
                    <a:pt x="1042" y="213"/>
                    <a:pt x="1049" y="219"/>
                    <a:pt x="1046" y="223"/>
                  </a:cubicBezTo>
                  <a:cubicBezTo>
                    <a:pt x="1045" y="221"/>
                    <a:pt x="1046" y="218"/>
                    <a:pt x="1045" y="216"/>
                  </a:cubicBezTo>
                  <a:cubicBezTo>
                    <a:pt x="1043" y="215"/>
                    <a:pt x="1041" y="215"/>
                    <a:pt x="1039" y="214"/>
                  </a:cubicBezTo>
                  <a:cubicBezTo>
                    <a:pt x="1039" y="213"/>
                    <a:pt x="1038" y="212"/>
                    <a:pt x="1037" y="211"/>
                  </a:cubicBezTo>
                  <a:cubicBezTo>
                    <a:pt x="1036" y="210"/>
                    <a:pt x="1035" y="209"/>
                    <a:pt x="1034" y="208"/>
                  </a:cubicBezTo>
                  <a:cubicBezTo>
                    <a:pt x="1032" y="206"/>
                    <a:pt x="1029" y="204"/>
                    <a:pt x="1033" y="204"/>
                  </a:cubicBezTo>
                  <a:cubicBezTo>
                    <a:pt x="1036" y="203"/>
                    <a:pt x="1034" y="206"/>
                    <a:pt x="1035" y="207"/>
                  </a:cubicBezTo>
                  <a:cubicBezTo>
                    <a:pt x="1035" y="207"/>
                    <a:pt x="1039" y="208"/>
                    <a:pt x="1038" y="209"/>
                  </a:cubicBezTo>
                  <a:cubicBezTo>
                    <a:pt x="1040" y="208"/>
                    <a:pt x="1041" y="205"/>
                    <a:pt x="1042" y="204"/>
                  </a:cubicBezTo>
                  <a:cubicBezTo>
                    <a:pt x="1040" y="207"/>
                    <a:pt x="1044" y="209"/>
                    <a:pt x="1047" y="209"/>
                  </a:cubicBezTo>
                  <a:cubicBezTo>
                    <a:pt x="1047" y="208"/>
                    <a:pt x="1048" y="208"/>
                    <a:pt x="1049" y="208"/>
                  </a:cubicBezTo>
                  <a:cubicBezTo>
                    <a:pt x="1050" y="208"/>
                    <a:pt x="1049" y="209"/>
                    <a:pt x="1050" y="209"/>
                  </a:cubicBezTo>
                  <a:cubicBezTo>
                    <a:pt x="1052" y="209"/>
                    <a:pt x="1056" y="209"/>
                    <a:pt x="1057" y="207"/>
                  </a:cubicBezTo>
                  <a:cubicBezTo>
                    <a:pt x="1057" y="206"/>
                    <a:pt x="1056" y="206"/>
                    <a:pt x="1056" y="205"/>
                  </a:cubicBezTo>
                  <a:cubicBezTo>
                    <a:pt x="1055" y="204"/>
                    <a:pt x="1055" y="203"/>
                    <a:pt x="1055" y="202"/>
                  </a:cubicBezTo>
                  <a:cubicBezTo>
                    <a:pt x="1055" y="203"/>
                    <a:pt x="1053" y="200"/>
                    <a:pt x="1053" y="200"/>
                  </a:cubicBezTo>
                  <a:cubicBezTo>
                    <a:pt x="1053" y="200"/>
                    <a:pt x="1053" y="199"/>
                    <a:pt x="1053" y="199"/>
                  </a:cubicBezTo>
                  <a:cubicBezTo>
                    <a:pt x="1051" y="198"/>
                    <a:pt x="1047" y="200"/>
                    <a:pt x="1045" y="200"/>
                  </a:cubicBezTo>
                  <a:cubicBezTo>
                    <a:pt x="1046" y="199"/>
                    <a:pt x="1048" y="197"/>
                    <a:pt x="1050" y="196"/>
                  </a:cubicBezTo>
                  <a:cubicBezTo>
                    <a:pt x="1051" y="195"/>
                    <a:pt x="1053" y="191"/>
                    <a:pt x="1050" y="193"/>
                  </a:cubicBezTo>
                  <a:cubicBezTo>
                    <a:pt x="1048" y="195"/>
                    <a:pt x="1049" y="192"/>
                    <a:pt x="1048" y="192"/>
                  </a:cubicBezTo>
                  <a:cubicBezTo>
                    <a:pt x="1045" y="193"/>
                    <a:pt x="1041" y="197"/>
                    <a:pt x="1038" y="198"/>
                  </a:cubicBezTo>
                  <a:cubicBezTo>
                    <a:pt x="1038" y="196"/>
                    <a:pt x="1035" y="198"/>
                    <a:pt x="1036" y="195"/>
                  </a:cubicBezTo>
                  <a:cubicBezTo>
                    <a:pt x="1037" y="193"/>
                    <a:pt x="1039" y="192"/>
                    <a:pt x="1039" y="190"/>
                  </a:cubicBezTo>
                  <a:cubicBezTo>
                    <a:pt x="1037" y="191"/>
                    <a:pt x="1034" y="190"/>
                    <a:pt x="1033" y="189"/>
                  </a:cubicBezTo>
                  <a:cubicBezTo>
                    <a:pt x="1030" y="187"/>
                    <a:pt x="1032" y="187"/>
                    <a:pt x="1031" y="185"/>
                  </a:cubicBezTo>
                  <a:cubicBezTo>
                    <a:pt x="1034" y="184"/>
                    <a:pt x="1033" y="182"/>
                    <a:pt x="1034" y="180"/>
                  </a:cubicBezTo>
                  <a:cubicBezTo>
                    <a:pt x="1035" y="181"/>
                    <a:pt x="1036" y="183"/>
                    <a:pt x="1037" y="181"/>
                  </a:cubicBezTo>
                  <a:cubicBezTo>
                    <a:pt x="1038" y="180"/>
                    <a:pt x="1036" y="180"/>
                    <a:pt x="1036" y="180"/>
                  </a:cubicBezTo>
                  <a:cubicBezTo>
                    <a:pt x="1036" y="179"/>
                    <a:pt x="1037" y="179"/>
                    <a:pt x="1037" y="178"/>
                  </a:cubicBezTo>
                  <a:cubicBezTo>
                    <a:pt x="1036" y="175"/>
                    <a:pt x="1036" y="174"/>
                    <a:pt x="1038" y="172"/>
                  </a:cubicBezTo>
                  <a:cubicBezTo>
                    <a:pt x="1038" y="169"/>
                    <a:pt x="1039" y="167"/>
                    <a:pt x="1040" y="165"/>
                  </a:cubicBezTo>
                  <a:cubicBezTo>
                    <a:pt x="1040" y="165"/>
                    <a:pt x="1041" y="164"/>
                    <a:pt x="1041" y="164"/>
                  </a:cubicBezTo>
                  <a:cubicBezTo>
                    <a:pt x="1041" y="163"/>
                    <a:pt x="1040" y="162"/>
                    <a:pt x="1040" y="162"/>
                  </a:cubicBezTo>
                  <a:cubicBezTo>
                    <a:pt x="1040" y="163"/>
                    <a:pt x="1040" y="160"/>
                    <a:pt x="1040" y="161"/>
                  </a:cubicBezTo>
                  <a:cubicBezTo>
                    <a:pt x="1040" y="160"/>
                    <a:pt x="1041" y="159"/>
                    <a:pt x="1041" y="159"/>
                  </a:cubicBezTo>
                  <a:cubicBezTo>
                    <a:pt x="1039" y="159"/>
                    <a:pt x="1037" y="160"/>
                    <a:pt x="1036" y="161"/>
                  </a:cubicBezTo>
                  <a:cubicBezTo>
                    <a:pt x="1033" y="162"/>
                    <a:pt x="1033" y="164"/>
                    <a:pt x="1030" y="165"/>
                  </a:cubicBezTo>
                  <a:cubicBezTo>
                    <a:pt x="1029" y="166"/>
                    <a:pt x="1025" y="168"/>
                    <a:pt x="1023" y="167"/>
                  </a:cubicBezTo>
                  <a:cubicBezTo>
                    <a:pt x="1021" y="165"/>
                    <a:pt x="1025" y="164"/>
                    <a:pt x="1026" y="163"/>
                  </a:cubicBezTo>
                  <a:cubicBezTo>
                    <a:pt x="1027" y="162"/>
                    <a:pt x="1028" y="161"/>
                    <a:pt x="1029" y="160"/>
                  </a:cubicBezTo>
                  <a:cubicBezTo>
                    <a:pt x="1027" y="161"/>
                    <a:pt x="1024" y="159"/>
                    <a:pt x="1027" y="157"/>
                  </a:cubicBezTo>
                  <a:cubicBezTo>
                    <a:pt x="1025" y="156"/>
                    <a:pt x="1024" y="157"/>
                    <a:pt x="1022" y="157"/>
                  </a:cubicBezTo>
                  <a:cubicBezTo>
                    <a:pt x="1019" y="158"/>
                    <a:pt x="1018" y="157"/>
                    <a:pt x="1016" y="157"/>
                  </a:cubicBezTo>
                  <a:cubicBezTo>
                    <a:pt x="1018" y="156"/>
                    <a:pt x="1019" y="155"/>
                    <a:pt x="1018" y="153"/>
                  </a:cubicBezTo>
                  <a:cubicBezTo>
                    <a:pt x="1017" y="153"/>
                    <a:pt x="1014" y="153"/>
                    <a:pt x="1015" y="152"/>
                  </a:cubicBezTo>
                  <a:cubicBezTo>
                    <a:pt x="1016" y="152"/>
                    <a:pt x="1014" y="151"/>
                    <a:pt x="1013" y="151"/>
                  </a:cubicBezTo>
                  <a:cubicBezTo>
                    <a:pt x="1010" y="149"/>
                    <a:pt x="1008" y="151"/>
                    <a:pt x="1005" y="150"/>
                  </a:cubicBezTo>
                  <a:cubicBezTo>
                    <a:pt x="1004" y="150"/>
                    <a:pt x="1004" y="149"/>
                    <a:pt x="1003" y="149"/>
                  </a:cubicBezTo>
                  <a:cubicBezTo>
                    <a:pt x="1002" y="148"/>
                    <a:pt x="1001" y="147"/>
                    <a:pt x="998" y="147"/>
                  </a:cubicBezTo>
                  <a:cubicBezTo>
                    <a:pt x="988" y="144"/>
                    <a:pt x="1003" y="152"/>
                    <a:pt x="997" y="154"/>
                  </a:cubicBezTo>
                  <a:cubicBezTo>
                    <a:pt x="995" y="154"/>
                    <a:pt x="992" y="155"/>
                    <a:pt x="989" y="155"/>
                  </a:cubicBezTo>
                  <a:cubicBezTo>
                    <a:pt x="986" y="154"/>
                    <a:pt x="982" y="152"/>
                    <a:pt x="978" y="153"/>
                  </a:cubicBezTo>
                  <a:cubicBezTo>
                    <a:pt x="979" y="154"/>
                    <a:pt x="980" y="155"/>
                    <a:pt x="980" y="155"/>
                  </a:cubicBezTo>
                  <a:cubicBezTo>
                    <a:pt x="981" y="156"/>
                    <a:pt x="982" y="156"/>
                    <a:pt x="982" y="157"/>
                  </a:cubicBezTo>
                  <a:cubicBezTo>
                    <a:pt x="982" y="157"/>
                    <a:pt x="982" y="158"/>
                    <a:pt x="983" y="158"/>
                  </a:cubicBezTo>
                  <a:cubicBezTo>
                    <a:pt x="984" y="160"/>
                    <a:pt x="986" y="159"/>
                    <a:pt x="986" y="162"/>
                  </a:cubicBezTo>
                  <a:cubicBezTo>
                    <a:pt x="986" y="166"/>
                    <a:pt x="984" y="163"/>
                    <a:pt x="981" y="162"/>
                  </a:cubicBezTo>
                  <a:cubicBezTo>
                    <a:pt x="983" y="163"/>
                    <a:pt x="984" y="165"/>
                    <a:pt x="985" y="166"/>
                  </a:cubicBezTo>
                  <a:cubicBezTo>
                    <a:pt x="986" y="167"/>
                    <a:pt x="988" y="168"/>
                    <a:pt x="989" y="170"/>
                  </a:cubicBezTo>
                  <a:cubicBezTo>
                    <a:pt x="991" y="172"/>
                    <a:pt x="992" y="174"/>
                    <a:pt x="995" y="170"/>
                  </a:cubicBezTo>
                  <a:cubicBezTo>
                    <a:pt x="995" y="170"/>
                    <a:pt x="1001" y="167"/>
                    <a:pt x="1002" y="167"/>
                  </a:cubicBezTo>
                  <a:cubicBezTo>
                    <a:pt x="1003" y="167"/>
                    <a:pt x="1006" y="169"/>
                    <a:pt x="1007" y="170"/>
                  </a:cubicBezTo>
                  <a:cubicBezTo>
                    <a:pt x="1007" y="170"/>
                    <a:pt x="1008" y="172"/>
                    <a:pt x="1008" y="172"/>
                  </a:cubicBezTo>
                  <a:cubicBezTo>
                    <a:pt x="1010" y="172"/>
                    <a:pt x="1011" y="170"/>
                    <a:pt x="1013" y="171"/>
                  </a:cubicBezTo>
                  <a:cubicBezTo>
                    <a:pt x="1013" y="171"/>
                    <a:pt x="1015" y="175"/>
                    <a:pt x="1015" y="175"/>
                  </a:cubicBezTo>
                  <a:cubicBezTo>
                    <a:pt x="1015" y="177"/>
                    <a:pt x="1014" y="177"/>
                    <a:pt x="1014" y="178"/>
                  </a:cubicBezTo>
                  <a:cubicBezTo>
                    <a:pt x="1014" y="180"/>
                    <a:pt x="1016" y="180"/>
                    <a:pt x="1014" y="182"/>
                  </a:cubicBezTo>
                  <a:cubicBezTo>
                    <a:pt x="1012" y="183"/>
                    <a:pt x="1008" y="184"/>
                    <a:pt x="1006" y="183"/>
                  </a:cubicBezTo>
                  <a:cubicBezTo>
                    <a:pt x="1004" y="183"/>
                    <a:pt x="1004" y="183"/>
                    <a:pt x="1003" y="182"/>
                  </a:cubicBezTo>
                  <a:cubicBezTo>
                    <a:pt x="1001" y="181"/>
                    <a:pt x="999" y="181"/>
                    <a:pt x="998" y="180"/>
                  </a:cubicBezTo>
                  <a:cubicBezTo>
                    <a:pt x="995" y="178"/>
                    <a:pt x="993" y="177"/>
                    <a:pt x="991" y="173"/>
                  </a:cubicBezTo>
                  <a:cubicBezTo>
                    <a:pt x="989" y="171"/>
                    <a:pt x="986" y="167"/>
                    <a:pt x="983" y="166"/>
                  </a:cubicBezTo>
                  <a:cubicBezTo>
                    <a:pt x="980" y="165"/>
                    <a:pt x="977" y="164"/>
                    <a:pt x="978" y="167"/>
                  </a:cubicBezTo>
                  <a:cubicBezTo>
                    <a:pt x="978" y="169"/>
                    <a:pt x="979" y="170"/>
                    <a:pt x="981" y="171"/>
                  </a:cubicBezTo>
                  <a:cubicBezTo>
                    <a:pt x="979" y="173"/>
                    <a:pt x="977" y="175"/>
                    <a:pt x="975" y="177"/>
                  </a:cubicBezTo>
                  <a:cubicBezTo>
                    <a:pt x="973" y="179"/>
                    <a:pt x="973" y="179"/>
                    <a:pt x="970" y="179"/>
                  </a:cubicBezTo>
                  <a:cubicBezTo>
                    <a:pt x="967" y="179"/>
                    <a:pt x="965" y="178"/>
                    <a:pt x="963" y="177"/>
                  </a:cubicBezTo>
                  <a:cubicBezTo>
                    <a:pt x="959" y="175"/>
                    <a:pt x="955" y="175"/>
                    <a:pt x="950" y="175"/>
                  </a:cubicBezTo>
                  <a:cubicBezTo>
                    <a:pt x="948" y="175"/>
                    <a:pt x="946" y="174"/>
                    <a:pt x="944" y="174"/>
                  </a:cubicBezTo>
                  <a:cubicBezTo>
                    <a:pt x="939" y="173"/>
                    <a:pt x="932" y="176"/>
                    <a:pt x="926" y="177"/>
                  </a:cubicBezTo>
                  <a:cubicBezTo>
                    <a:pt x="922" y="178"/>
                    <a:pt x="916" y="181"/>
                    <a:pt x="911" y="180"/>
                  </a:cubicBezTo>
                  <a:cubicBezTo>
                    <a:pt x="909" y="179"/>
                    <a:pt x="903" y="178"/>
                    <a:pt x="902" y="180"/>
                  </a:cubicBezTo>
                  <a:cubicBezTo>
                    <a:pt x="902" y="180"/>
                    <a:pt x="902" y="180"/>
                    <a:pt x="902" y="179"/>
                  </a:cubicBezTo>
                  <a:cubicBezTo>
                    <a:pt x="897" y="180"/>
                    <a:pt x="896" y="179"/>
                    <a:pt x="892" y="176"/>
                  </a:cubicBezTo>
                  <a:cubicBezTo>
                    <a:pt x="889" y="175"/>
                    <a:pt x="885" y="176"/>
                    <a:pt x="882" y="174"/>
                  </a:cubicBezTo>
                  <a:cubicBezTo>
                    <a:pt x="882" y="173"/>
                    <a:pt x="881" y="172"/>
                    <a:pt x="880" y="171"/>
                  </a:cubicBezTo>
                  <a:cubicBezTo>
                    <a:pt x="879" y="171"/>
                    <a:pt x="877" y="170"/>
                    <a:pt x="876" y="170"/>
                  </a:cubicBezTo>
                  <a:cubicBezTo>
                    <a:pt x="875" y="169"/>
                    <a:pt x="871" y="168"/>
                    <a:pt x="870" y="166"/>
                  </a:cubicBezTo>
                  <a:cubicBezTo>
                    <a:pt x="865" y="165"/>
                    <a:pt x="859" y="167"/>
                    <a:pt x="853" y="167"/>
                  </a:cubicBezTo>
                  <a:cubicBezTo>
                    <a:pt x="851" y="167"/>
                    <a:pt x="849" y="166"/>
                    <a:pt x="847" y="166"/>
                  </a:cubicBezTo>
                  <a:cubicBezTo>
                    <a:pt x="846" y="166"/>
                    <a:pt x="845" y="166"/>
                    <a:pt x="844" y="166"/>
                  </a:cubicBezTo>
                  <a:cubicBezTo>
                    <a:pt x="843" y="166"/>
                    <a:pt x="844" y="165"/>
                    <a:pt x="844" y="165"/>
                  </a:cubicBezTo>
                  <a:cubicBezTo>
                    <a:pt x="842" y="164"/>
                    <a:pt x="843" y="164"/>
                    <a:pt x="842" y="163"/>
                  </a:cubicBezTo>
                  <a:cubicBezTo>
                    <a:pt x="842" y="162"/>
                    <a:pt x="840" y="162"/>
                    <a:pt x="840" y="162"/>
                  </a:cubicBezTo>
                  <a:cubicBezTo>
                    <a:pt x="840" y="161"/>
                    <a:pt x="841" y="161"/>
                    <a:pt x="841" y="160"/>
                  </a:cubicBezTo>
                  <a:cubicBezTo>
                    <a:pt x="841" y="158"/>
                    <a:pt x="843" y="158"/>
                    <a:pt x="838" y="158"/>
                  </a:cubicBezTo>
                  <a:cubicBezTo>
                    <a:pt x="837" y="158"/>
                    <a:pt x="833" y="159"/>
                    <a:pt x="834" y="157"/>
                  </a:cubicBezTo>
                  <a:cubicBezTo>
                    <a:pt x="831" y="157"/>
                    <a:pt x="829" y="156"/>
                    <a:pt x="827" y="155"/>
                  </a:cubicBezTo>
                  <a:cubicBezTo>
                    <a:pt x="826" y="154"/>
                    <a:pt x="825" y="153"/>
                    <a:pt x="825" y="153"/>
                  </a:cubicBezTo>
                  <a:cubicBezTo>
                    <a:pt x="824" y="152"/>
                    <a:pt x="825" y="152"/>
                    <a:pt x="825" y="151"/>
                  </a:cubicBezTo>
                  <a:cubicBezTo>
                    <a:pt x="824" y="151"/>
                    <a:pt x="822" y="152"/>
                    <a:pt x="821" y="151"/>
                  </a:cubicBezTo>
                  <a:cubicBezTo>
                    <a:pt x="817" y="149"/>
                    <a:pt x="825" y="150"/>
                    <a:pt x="825" y="148"/>
                  </a:cubicBezTo>
                  <a:cubicBezTo>
                    <a:pt x="825" y="148"/>
                    <a:pt x="822" y="145"/>
                    <a:pt x="822" y="144"/>
                  </a:cubicBezTo>
                  <a:cubicBezTo>
                    <a:pt x="821" y="143"/>
                    <a:pt x="820" y="142"/>
                    <a:pt x="820" y="142"/>
                  </a:cubicBezTo>
                  <a:cubicBezTo>
                    <a:pt x="820" y="140"/>
                    <a:pt x="822" y="140"/>
                    <a:pt x="821" y="139"/>
                  </a:cubicBezTo>
                  <a:cubicBezTo>
                    <a:pt x="821" y="138"/>
                    <a:pt x="819" y="136"/>
                    <a:pt x="817" y="135"/>
                  </a:cubicBezTo>
                  <a:cubicBezTo>
                    <a:pt x="814" y="133"/>
                    <a:pt x="809" y="130"/>
                    <a:pt x="805" y="130"/>
                  </a:cubicBezTo>
                  <a:cubicBezTo>
                    <a:pt x="803" y="130"/>
                    <a:pt x="800" y="132"/>
                    <a:pt x="798" y="133"/>
                  </a:cubicBezTo>
                  <a:cubicBezTo>
                    <a:pt x="793" y="135"/>
                    <a:pt x="788" y="136"/>
                    <a:pt x="783" y="137"/>
                  </a:cubicBezTo>
                  <a:cubicBezTo>
                    <a:pt x="775" y="139"/>
                    <a:pt x="767" y="140"/>
                    <a:pt x="759" y="142"/>
                  </a:cubicBezTo>
                  <a:cubicBezTo>
                    <a:pt x="756" y="143"/>
                    <a:pt x="755" y="143"/>
                    <a:pt x="753" y="146"/>
                  </a:cubicBezTo>
                  <a:cubicBezTo>
                    <a:pt x="752" y="147"/>
                    <a:pt x="751" y="149"/>
                    <a:pt x="750" y="151"/>
                  </a:cubicBezTo>
                  <a:cubicBezTo>
                    <a:pt x="748" y="152"/>
                    <a:pt x="747" y="153"/>
                    <a:pt x="745" y="155"/>
                  </a:cubicBezTo>
                  <a:cubicBezTo>
                    <a:pt x="740" y="161"/>
                    <a:pt x="757" y="151"/>
                    <a:pt x="753" y="158"/>
                  </a:cubicBezTo>
                  <a:cubicBezTo>
                    <a:pt x="759" y="158"/>
                    <a:pt x="766" y="161"/>
                    <a:pt x="772" y="161"/>
                  </a:cubicBezTo>
                  <a:cubicBezTo>
                    <a:pt x="770" y="159"/>
                    <a:pt x="767" y="159"/>
                    <a:pt x="767" y="155"/>
                  </a:cubicBezTo>
                  <a:cubicBezTo>
                    <a:pt x="767" y="153"/>
                    <a:pt x="772" y="153"/>
                    <a:pt x="774" y="154"/>
                  </a:cubicBezTo>
                  <a:cubicBezTo>
                    <a:pt x="776" y="154"/>
                    <a:pt x="777" y="156"/>
                    <a:pt x="779" y="156"/>
                  </a:cubicBezTo>
                  <a:cubicBezTo>
                    <a:pt x="783" y="157"/>
                    <a:pt x="784" y="156"/>
                    <a:pt x="786" y="154"/>
                  </a:cubicBezTo>
                  <a:cubicBezTo>
                    <a:pt x="788" y="153"/>
                    <a:pt x="790" y="151"/>
                    <a:pt x="792" y="152"/>
                  </a:cubicBezTo>
                  <a:cubicBezTo>
                    <a:pt x="794" y="152"/>
                    <a:pt x="795" y="155"/>
                    <a:pt x="797" y="156"/>
                  </a:cubicBezTo>
                  <a:cubicBezTo>
                    <a:pt x="795" y="154"/>
                    <a:pt x="798" y="153"/>
                    <a:pt x="798" y="152"/>
                  </a:cubicBezTo>
                  <a:cubicBezTo>
                    <a:pt x="798" y="151"/>
                    <a:pt x="796" y="149"/>
                    <a:pt x="797" y="148"/>
                  </a:cubicBezTo>
                  <a:cubicBezTo>
                    <a:pt x="797" y="146"/>
                    <a:pt x="799" y="146"/>
                    <a:pt x="801" y="145"/>
                  </a:cubicBezTo>
                  <a:cubicBezTo>
                    <a:pt x="806" y="144"/>
                    <a:pt x="812" y="141"/>
                    <a:pt x="817" y="142"/>
                  </a:cubicBezTo>
                  <a:cubicBezTo>
                    <a:pt x="817" y="142"/>
                    <a:pt x="815" y="145"/>
                    <a:pt x="815" y="145"/>
                  </a:cubicBezTo>
                  <a:cubicBezTo>
                    <a:pt x="815" y="146"/>
                    <a:pt x="816" y="147"/>
                    <a:pt x="816" y="148"/>
                  </a:cubicBezTo>
                  <a:cubicBezTo>
                    <a:pt x="816" y="151"/>
                    <a:pt x="805" y="152"/>
                    <a:pt x="803" y="152"/>
                  </a:cubicBezTo>
                  <a:cubicBezTo>
                    <a:pt x="799" y="154"/>
                    <a:pt x="799" y="154"/>
                    <a:pt x="799" y="158"/>
                  </a:cubicBezTo>
                  <a:cubicBezTo>
                    <a:pt x="798" y="163"/>
                    <a:pt x="798" y="158"/>
                    <a:pt x="794" y="158"/>
                  </a:cubicBezTo>
                  <a:cubicBezTo>
                    <a:pt x="793" y="158"/>
                    <a:pt x="790" y="158"/>
                    <a:pt x="791" y="160"/>
                  </a:cubicBezTo>
                  <a:cubicBezTo>
                    <a:pt x="785" y="162"/>
                    <a:pt x="778" y="164"/>
                    <a:pt x="772" y="167"/>
                  </a:cubicBezTo>
                  <a:cubicBezTo>
                    <a:pt x="766" y="169"/>
                    <a:pt x="768" y="168"/>
                    <a:pt x="766" y="164"/>
                  </a:cubicBezTo>
                  <a:cubicBezTo>
                    <a:pt x="766" y="164"/>
                    <a:pt x="765" y="166"/>
                    <a:pt x="765" y="166"/>
                  </a:cubicBezTo>
                  <a:cubicBezTo>
                    <a:pt x="765" y="167"/>
                    <a:pt x="765" y="167"/>
                    <a:pt x="765" y="167"/>
                  </a:cubicBezTo>
                  <a:cubicBezTo>
                    <a:pt x="765" y="167"/>
                    <a:pt x="766" y="168"/>
                    <a:pt x="766" y="168"/>
                  </a:cubicBezTo>
                  <a:cubicBezTo>
                    <a:pt x="768" y="169"/>
                    <a:pt x="772" y="169"/>
                    <a:pt x="770" y="171"/>
                  </a:cubicBezTo>
                  <a:cubicBezTo>
                    <a:pt x="768" y="174"/>
                    <a:pt x="763" y="173"/>
                    <a:pt x="763" y="177"/>
                  </a:cubicBezTo>
                  <a:cubicBezTo>
                    <a:pt x="762" y="177"/>
                    <a:pt x="762" y="177"/>
                    <a:pt x="761" y="178"/>
                  </a:cubicBezTo>
                  <a:cubicBezTo>
                    <a:pt x="761" y="178"/>
                    <a:pt x="760" y="178"/>
                    <a:pt x="760" y="178"/>
                  </a:cubicBezTo>
                  <a:cubicBezTo>
                    <a:pt x="760" y="179"/>
                    <a:pt x="762" y="181"/>
                    <a:pt x="763" y="182"/>
                  </a:cubicBezTo>
                  <a:cubicBezTo>
                    <a:pt x="763" y="182"/>
                    <a:pt x="764" y="182"/>
                    <a:pt x="764" y="182"/>
                  </a:cubicBezTo>
                  <a:cubicBezTo>
                    <a:pt x="764" y="182"/>
                    <a:pt x="765" y="182"/>
                    <a:pt x="765" y="181"/>
                  </a:cubicBezTo>
                  <a:cubicBezTo>
                    <a:pt x="765" y="181"/>
                    <a:pt x="765" y="181"/>
                    <a:pt x="765" y="181"/>
                  </a:cubicBezTo>
                  <a:cubicBezTo>
                    <a:pt x="767" y="183"/>
                    <a:pt x="769" y="184"/>
                    <a:pt x="770" y="185"/>
                  </a:cubicBezTo>
                  <a:cubicBezTo>
                    <a:pt x="773" y="188"/>
                    <a:pt x="773" y="187"/>
                    <a:pt x="771" y="189"/>
                  </a:cubicBezTo>
                  <a:cubicBezTo>
                    <a:pt x="770" y="192"/>
                    <a:pt x="769" y="189"/>
                    <a:pt x="770" y="192"/>
                  </a:cubicBezTo>
                  <a:cubicBezTo>
                    <a:pt x="770" y="192"/>
                    <a:pt x="771" y="193"/>
                    <a:pt x="772" y="194"/>
                  </a:cubicBezTo>
                  <a:cubicBezTo>
                    <a:pt x="773" y="195"/>
                    <a:pt x="773" y="197"/>
                    <a:pt x="774" y="199"/>
                  </a:cubicBezTo>
                  <a:cubicBezTo>
                    <a:pt x="775" y="201"/>
                    <a:pt x="779" y="202"/>
                    <a:pt x="781" y="202"/>
                  </a:cubicBezTo>
                  <a:cubicBezTo>
                    <a:pt x="780" y="203"/>
                    <a:pt x="778" y="204"/>
                    <a:pt x="777" y="205"/>
                  </a:cubicBezTo>
                  <a:cubicBezTo>
                    <a:pt x="777" y="206"/>
                    <a:pt x="778" y="206"/>
                    <a:pt x="779" y="207"/>
                  </a:cubicBezTo>
                  <a:cubicBezTo>
                    <a:pt x="781" y="208"/>
                    <a:pt x="783" y="211"/>
                    <a:pt x="783" y="214"/>
                  </a:cubicBezTo>
                  <a:cubicBezTo>
                    <a:pt x="781" y="211"/>
                    <a:pt x="779" y="209"/>
                    <a:pt x="776" y="208"/>
                  </a:cubicBezTo>
                  <a:cubicBezTo>
                    <a:pt x="777" y="210"/>
                    <a:pt x="777" y="213"/>
                    <a:pt x="776" y="214"/>
                  </a:cubicBezTo>
                  <a:cubicBezTo>
                    <a:pt x="775" y="214"/>
                    <a:pt x="774" y="214"/>
                    <a:pt x="773" y="213"/>
                  </a:cubicBezTo>
                  <a:cubicBezTo>
                    <a:pt x="773" y="213"/>
                    <a:pt x="774" y="212"/>
                    <a:pt x="772" y="211"/>
                  </a:cubicBezTo>
                  <a:cubicBezTo>
                    <a:pt x="773" y="210"/>
                    <a:pt x="775" y="211"/>
                    <a:pt x="774" y="209"/>
                  </a:cubicBezTo>
                  <a:cubicBezTo>
                    <a:pt x="774" y="207"/>
                    <a:pt x="772" y="205"/>
                    <a:pt x="771" y="204"/>
                  </a:cubicBezTo>
                  <a:cubicBezTo>
                    <a:pt x="771" y="206"/>
                    <a:pt x="769" y="206"/>
                    <a:pt x="768" y="208"/>
                  </a:cubicBezTo>
                  <a:cubicBezTo>
                    <a:pt x="768" y="209"/>
                    <a:pt x="769" y="210"/>
                    <a:pt x="769" y="211"/>
                  </a:cubicBezTo>
                  <a:cubicBezTo>
                    <a:pt x="769" y="212"/>
                    <a:pt x="770" y="214"/>
                    <a:pt x="769" y="215"/>
                  </a:cubicBezTo>
                  <a:cubicBezTo>
                    <a:pt x="767" y="217"/>
                    <a:pt x="768" y="216"/>
                    <a:pt x="770" y="218"/>
                  </a:cubicBezTo>
                  <a:cubicBezTo>
                    <a:pt x="771" y="219"/>
                    <a:pt x="772" y="220"/>
                    <a:pt x="772" y="221"/>
                  </a:cubicBezTo>
                  <a:cubicBezTo>
                    <a:pt x="773" y="222"/>
                    <a:pt x="774" y="223"/>
                    <a:pt x="775" y="224"/>
                  </a:cubicBezTo>
                  <a:cubicBezTo>
                    <a:pt x="777" y="226"/>
                    <a:pt x="780" y="229"/>
                    <a:pt x="780" y="232"/>
                  </a:cubicBezTo>
                  <a:cubicBezTo>
                    <a:pt x="778" y="231"/>
                    <a:pt x="777" y="228"/>
                    <a:pt x="775" y="227"/>
                  </a:cubicBezTo>
                  <a:cubicBezTo>
                    <a:pt x="773" y="225"/>
                    <a:pt x="771" y="224"/>
                    <a:pt x="770" y="222"/>
                  </a:cubicBezTo>
                  <a:cubicBezTo>
                    <a:pt x="769" y="221"/>
                    <a:pt x="770" y="220"/>
                    <a:pt x="767" y="220"/>
                  </a:cubicBezTo>
                  <a:cubicBezTo>
                    <a:pt x="766" y="220"/>
                    <a:pt x="765" y="219"/>
                    <a:pt x="764" y="218"/>
                  </a:cubicBezTo>
                  <a:cubicBezTo>
                    <a:pt x="764" y="216"/>
                    <a:pt x="765" y="216"/>
                    <a:pt x="763" y="214"/>
                  </a:cubicBezTo>
                  <a:cubicBezTo>
                    <a:pt x="762" y="213"/>
                    <a:pt x="759" y="214"/>
                    <a:pt x="758" y="213"/>
                  </a:cubicBezTo>
                  <a:cubicBezTo>
                    <a:pt x="763" y="212"/>
                    <a:pt x="759" y="209"/>
                    <a:pt x="757" y="208"/>
                  </a:cubicBezTo>
                  <a:cubicBezTo>
                    <a:pt x="756" y="207"/>
                    <a:pt x="755" y="206"/>
                    <a:pt x="753" y="206"/>
                  </a:cubicBezTo>
                  <a:cubicBezTo>
                    <a:pt x="752" y="205"/>
                    <a:pt x="751" y="206"/>
                    <a:pt x="750" y="205"/>
                  </a:cubicBezTo>
                  <a:cubicBezTo>
                    <a:pt x="750" y="204"/>
                    <a:pt x="749" y="202"/>
                    <a:pt x="749" y="201"/>
                  </a:cubicBezTo>
                  <a:cubicBezTo>
                    <a:pt x="752" y="203"/>
                    <a:pt x="754" y="205"/>
                    <a:pt x="757" y="206"/>
                  </a:cubicBezTo>
                  <a:cubicBezTo>
                    <a:pt x="759" y="206"/>
                    <a:pt x="761" y="205"/>
                    <a:pt x="763" y="205"/>
                  </a:cubicBezTo>
                  <a:cubicBezTo>
                    <a:pt x="766" y="205"/>
                    <a:pt x="765" y="205"/>
                    <a:pt x="765" y="203"/>
                  </a:cubicBezTo>
                  <a:cubicBezTo>
                    <a:pt x="766" y="200"/>
                    <a:pt x="764" y="196"/>
                    <a:pt x="761" y="195"/>
                  </a:cubicBezTo>
                  <a:cubicBezTo>
                    <a:pt x="758" y="193"/>
                    <a:pt x="753" y="194"/>
                    <a:pt x="751" y="192"/>
                  </a:cubicBezTo>
                  <a:cubicBezTo>
                    <a:pt x="750" y="190"/>
                    <a:pt x="751" y="188"/>
                    <a:pt x="750" y="187"/>
                  </a:cubicBezTo>
                  <a:cubicBezTo>
                    <a:pt x="749" y="184"/>
                    <a:pt x="747" y="181"/>
                    <a:pt x="746" y="185"/>
                  </a:cubicBezTo>
                  <a:cubicBezTo>
                    <a:pt x="745" y="188"/>
                    <a:pt x="746" y="190"/>
                    <a:pt x="744" y="193"/>
                  </a:cubicBezTo>
                  <a:cubicBezTo>
                    <a:pt x="743" y="190"/>
                    <a:pt x="739" y="191"/>
                    <a:pt x="739" y="189"/>
                  </a:cubicBezTo>
                  <a:cubicBezTo>
                    <a:pt x="739" y="187"/>
                    <a:pt x="741" y="188"/>
                    <a:pt x="741" y="186"/>
                  </a:cubicBezTo>
                  <a:cubicBezTo>
                    <a:pt x="741" y="185"/>
                    <a:pt x="740" y="185"/>
                    <a:pt x="740" y="184"/>
                  </a:cubicBezTo>
                  <a:cubicBezTo>
                    <a:pt x="740" y="182"/>
                    <a:pt x="740" y="180"/>
                    <a:pt x="738" y="179"/>
                  </a:cubicBezTo>
                  <a:cubicBezTo>
                    <a:pt x="736" y="178"/>
                    <a:pt x="731" y="179"/>
                    <a:pt x="728" y="180"/>
                  </a:cubicBezTo>
                  <a:cubicBezTo>
                    <a:pt x="726" y="180"/>
                    <a:pt x="725" y="179"/>
                    <a:pt x="723" y="179"/>
                  </a:cubicBezTo>
                  <a:cubicBezTo>
                    <a:pt x="724" y="179"/>
                    <a:pt x="724" y="178"/>
                    <a:pt x="725" y="178"/>
                  </a:cubicBezTo>
                  <a:cubicBezTo>
                    <a:pt x="722" y="176"/>
                    <a:pt x="724" y="176"/>
                    <a:pt x="722" y="174"/>
                  </a:cubicBezTo>
                  <a:cubicBezTo>
                    <a:pt x="720" y="173"/>
                    <a:pt x="714" y="174"/>
                    <a:pt x="712" y="175"/>
                  </a:cubicBezTo>
                  <a:cubicBezTo>
                    <a:pt x="693" y="176"/>
                    <a:pt x="675" y="178"/>
                    <a:pt x="657" y="180"/>
                  </a:cubicBezTo>
                  <a:cubicBezTo>
                    <a:pt x="647" y="181"/>
                    <a:pt x="638" y="180"/>
                    <a:pt x="628" y="180"/>
                  </a:cubicBezTo>
                  <a:cubicBezTo>
                    <a:pt x="621" y="180"/>
                    <a:pt x="615" y="177"/>
                    <a:pt x="608" y="176"/>
                  </a:cubicBezTo>
                  <a:cubicBezTo>
                    <a:pt x="604" y="176"/>
                    <a:pt x="600" y="176"/>
                    <a:pt x="596" y="175"/>
                  </a:cubicBezTo>
                  <a:cubicBezTo>
                    <a:pt x="596" y="174"/>
                    <a:pt x="595" y="173"/>
                    <a:pt x="594" y="173"/>
                  </a:cubicBezTo>
                  <a:cubicBezTo>
                    <a:pt x="593" y="172"/>
                    <a:pt x="591" y="173"/>
                    <a:pt x="589" y="172"/>
                  </a:cubicBezTo>
                  <a:cubicBezTo>
                    <a:pt x="586" y="170"/>
                    <a:pt x="590" y="170"/>
                    <a:pt x="592" y="169"/>
                  </a:cubicBezTo>
                  <a:cubicBezTo>
                    <a:pt x="594" y="169"/>
                    <a:pt x="596" y="168"/>
                    <a:pt x="598" y="167"/>
                  </a:cubicBezTo>
                  <a:cubicBezTo>
                    <a:pt x="596" y="166"/>
                    <a:pt x="594" y="165"/>
                    <a:pt x="596" y="163"/>
                  </a:cubicBezTo>
                  <a:cubicBezTo>
                    <a:pt x="597" y="161"/>
                    <a:pt x="600" y="162"/>
                    <a:pt x="602" y="162"/>
                  </a:cubicBezTo>
                  <a:cubicBezTo>
                    <a:pt x="604" y="161"/>
                    <a:pt x="604" y="160"/>
                    <a:pt x="606" y="160"/>
                  </a:cubicBezTo>
                  <a:cubicBezTo>
                    <a:pt x="606" y="160"/>
                    <a:pt x="605" y="159"/>
                    <a:pt x="605" y="159"/>
                  </a:cubicBezTo>
                  <a:cubicBezTo>
                    <a:pt x="610" y="158"/>
                    <a:pt x="615" y="158"/>
                    <a:pt x="621" y="158"/>
                  </a:cubicBezTo>
                  <a:cubicBezTo>
                    <a:pt x="624" y="158"/>
                    <a:pt x="622" y="157"/>
                    <a:pt x="623" y="154"/>
                  </a:cubicBezTo>
                  <a:cubicBezTo>
                    <a:pt x="623" y="154"/>
                    <a:pt x="625" y="153"/>
                    <a:pt x="625" y="152"/>
                  </a:cubicBezTo>
                  <a:cubicBezTo>
                    <a:pt x="625" y="151"/>
                    <a:pt x="622" y="152"/>
                    <a:pt x="621" y="151"/>
                  </a:cubicBezTo>
                  <a:cubicBezTo>
                    <a:pt x="621" y="150"/>
                    <a:pt x="622" y="150"/>
                    <a:pt x="622" y="149"/>
                  </a:cubicBezTo>
                  <a:cubicBezTo>
                    <a:pt x="622" y="147"/>
                    <a:pt x="621" y="147"/>
                    <a:pt x="620" y="146"/>
                  </a:cubicBezTo>
                  <a:cubicBezTo>
                    <a:pt x="619" y="145"/>
                    <a:pt x="619" y="145"/>
                    <a:pt x="618" y="144"/>
                  </a:cubicBezTo>
                  <a:cubicBezTo>
                    <a:pt x="617" y="144"/>
                    <a:pt x="615" y="144"/>
                    <a:pt x="615" y="143"/>
                  </a:cubicBezTo>
                  <a:cubicBezTo>
                    <a:pt x="613" y="141"/>
                    <a:pt x="614" y="140"/>
                    <a:pt x="611" y="139"/>
                  </a:cubicBezTo>
                  <a:cubicBezTo>
                    <a:pt x="610" y="138"/>
                    <a:pt x="609" y="138"/>
                    <a:pt x="608" y="138"/>
                  </a:cubicBezTo>
                  <a:cubicBezTo>
                    <a:pt x="606" y="137"/>
                    <a:pt x="606" y="136"/>
                    <a:pt x="605" y="136"/>
                  </a:cubicBezTo>
                  <a:cubicBezTo>
                    <a:pt x="603" y="134"/>
                    <a:pt x="601" y="134"/>
                    <a:pt x="598" y="133"/>
                  </a:cubicBezTo>
                  <a:cubicBezTo>
                    <a:pt x="592" y="131"/>
                    <a:pt x="585" y="127"/>
                    <a:pt x="578" y="127"/>
                  </a:cubicBezTo>
                  <a:cubicBezTo>
                    <a:pt x="576" y="127"/>
                    <a:pt x="569" y="127"/>
                    <a:pt x="570" y="130"/>
                  </a:cubicBezTo>
                  <a:cubicBezTo>
                    <a:pt x="571" y="130"/>
                    <a:pt x="573" y="131"/>
                    <a:pt x="573" y="131"/>
                  </a:cubicBezTo>
                  <a:cubicBezTo>
                    <a:pt x="575" y="132"/>
                    <a:pt x="577" y="133"/>
                    <a:pt x="578" y="135"/>
                  </a:cubicBezTo>
                  <a:cubicBezTo>
                    <a:pt x="572" y="134"/>
                    <a:pt x="566" y="133"/>
                    <a:pt x="560" y="132"/>
                  </a:cubicBezTo>
                  <a:cubicBezTo>
                    <a:pt x="556" y="132"/>
                    <a:pt x="552" y="132"/>
                    <a:pt x="548" y="131"/>
                  </a:cubicBezTo>
                  <a:cubicBezTo>
                    <a:pt x="545" y="129"/>
                    <a:pt x="543" y="129"/>
                    <a:pt x="541" y="128"/>
                  </a:cubicBezTo>
                  <a:cubicBezTo>
                    <a:pt x="535" y="128"/>
                    <a:pt x="532" y="127"/>
                    <a:pt x="527" y="125"/>
                  </a:cubicBezTo>
                  <a:cubicBezTo>
                    <a:pt x="525" y="124"/>
                    <a:pt x="522" y="123"/>
                    <a:pt x="520" y="122"/>
                  </a:cubicBezTo>
                  <a:cubicBezTo>
                    <a:pt x="518" y="121"/>
                    <a:pt x="517" y="119"/>
                    <a:pt x="515" y="118"/>
                  </a:cubicBezTo>
                  <a:cubicBezTo>
                    <a:pt x="512" y="116"/>
                    <a:pt x="507" y="116"/>
                    <a:pt x="504" y="116"/>
                  </a:cubicBezTo>
                  <a:cubicBezTo>
                    <a:pt x="497" y="115"/>
                    <a:pt x="491" y="114"/>
                    <a:pt x="484" y="113"/>
                  </a:cubicBezTo>
                  <a:cubicBezTo>
                    <a:pt x="484" y="113"/>
                    <a:pt x="484" y="113"/>
                    <a:pt x="484" y="114"/>
                  </a:cubicBezTo>
                  <a:cubicBezTo>
                    <a:pt x="485" y="116"/>
                    <a:pt x="484" y="121"/>
                    <a:pt x="484" y="122"/>
                  </a:cubicBezTo>
                  <a:cubicBezTo>
                    <a:pt x="484" y="119"/>
                    <a:pt x="484" y="117"/>
                    <a:pt x="484" y="114"/>
                  </a:cubicBezTo>
                  <a:cubicBezTo>
                    <a:pt x="484" y="113"/>
                    <a:pt x="484" y="113"/>
                    <a:pt x="484" y="113"/>
                  </a:cubicBezTo>
                  <a:cubicBezTo>
                    <a:pt x="478" y="109"/>
                    <a:pt x="472" y="106"/>
                    <a:pt x="465" y="103"/>
                  </a:cubicBezTo>
                  <a:cubicBezTo>
                    <a:pt x="459" y="100"/>
                    <a:pt x="453" y="96"/>
                    <a:pt x="447" y="95"/>
                  </a:cubicBezTo>
                  <a:cubicBezTo>
                    <a:pt x="443" y="94"/>
                    <a:pt x="439" y="94"/>
                    <a:pt x="434" y="94"/>
                  </a:cubicBezTo>
                  <a:cubicBezTo>
                    <a:pt x="429" y="94"/>
                    <a:pt x="420" y="91"/>
                    <a:pt x="415" y="94"/>
                  </a:cubicBezTo>
                  <a:cubicBezTo>
                    <a:pt x="414" y="94"/>
                    <a:pt x="412" y="95"/>
                    <a:pt x="412" y="95"/>
                  </a:cubicBezTo>
                  <a:cubicBezTo>
                    <a:pt x="412" y="96"/>
                    <a:pt x="412" y="97"/>
                    <a:pt x="412" y="98"/>
                  </a:cubicBezTo>
                  <a:cubicBezTo>
                    <a:pt x="412" y="99"/>
                    <a:pt x="412" y="100"/>
                    <a:pt x="412" y="100"/>
                  </a:cubicBezTo>
                  <a:cubicBezTo>
                    <a:pt x="412" y="101"/>
                    <a:pt x="411" y="101"/>
                    <a:pt x="411" y="102"/>
                  </a:cubicBezTo>
                  <a:cubicBezTo>
                    <a:pt x="411" y="102"/>
                    <a:pt x="412" y="103"/>
                    <a:pt x="412" y="103"/>
                  </a:cubicBezTo>
                  <a:cubicBezTo>
                    <a:pt x="411" y="107"/>
                    <a:pt x="408" y="107"/>
                    <a:pt x="403" y="108"/>
                  </a:cubicBezTo>
                  <a:cubicBezTo>
                    <a:pt x="397" y="110"/>
                    <a:pt x="388" y="114"/>
                    <a:pt x="382" y="112"/>
                  </a:cubicBezTo>
                  <a:cubicBezTo>
                    <a:pt x="381" y="112"/>
                    <a:pt x="380" y="112"/>
                    <a:pt x="380" y="111"/>
                  </a:cubicBezTo>
                  <a:cubicBezTo>
                    <a:pt x="380" y="110"/>
                    <a:pt x="381" y="111"/>
                    <a:pt x="381" y="110"/>
                  </a:cubicBezTo>
                  <a:cubicBezTo>
                    <a:pt x="381" y="111"/>
                    <a:pt x="382" y="109"/>
                    <a:pt x="382" y="109"/>
                  </a:cubicBezTo>
                  <a:cubicBezTo>
                    <a:pt x="382" y="109"/>
                    <a:pt x="382" y="107"/>
                    <a:pt x="383" y="107"/>
                  </a:cubicBezTo>
                  <a:cubicBezTo>
                    <a:pt x="384" y="106"/>
                    <a:pt x="385" y="106"/>
                    <a:pt x="386" y="105"/>
                  </a:cubicBezTo>
                  <a:cubicBezTo>
                    <a:pt x="388" y="103"/>
                    <a:pt x="387" y="101"/>
                    <a:pt x="389" y="100"/>
                  </a:cubicBezTo>
                  <a:cubicBezTo>
                    <a:pt x="387" y="99"/>
                    <a:pt x="381" y="99"/>
                    <a:pt x="380" y="96"/>
                  </a:cubicBezTo>
                  <a:cubicBezTo>
                    <a:pt x="380" y="95"/>
                    <a:pt x="381" y="94"/>
                    <a:pt x="382" y="92"/>
                  </a:cubicBezTo>
                  <a:cubicBezTo>
                    <a:pt x="379" y="89"/>
                    <a:pt x="381" y="89"/>
                    <a:pt x="382" y="85"/>
                  </a:cubicBezTo>
                  <a:cubicBezTo>
                    <a:pt x="382" y="83"/>
                    <a:pt x="383" y="81"/>
                    <a:pt x="382" y="80"/>
                  </a:cubicBezTo>
                  <a:cubicBezTo>
                    <a:pt x="381" y="79"/>
                    <a:pt x="378" y="80"/>
                    <a:pt x="376" y="79"/>
                  </a:cubicBezTo>
                  <a:cubicBezTo>
                    <a:pt x="377" y="79"/>
                    <a:pt x="378" y="78"/>
                    <a:pt x="379" y="78"/>
                  </a:cubicBezTo>
                  <a:cubicBezTo>
                    <a:pt x="378" y="78"/>
                    <a:pt x="375" y="77"/>
                    <a:pt x="375" y="78"/>
                  </a:cubicBezTo>
                  <a:cubicBezTo>
                    <a:pt x="373" y="79"/>
                    <a:pt x="375" y="78"/>
                    <a:pt x="375" y="79"/>
                  </a:cubicBezTo>
                  <a:cubicBezTo>
                    <a:pt x="375" y="80"/>
                    <a:pt x="374" y="81"/>
                    <a:pt x="375" y="81"/>
                  </a:cubicBezTo>
                  <a:cubicBezTo>
                    <a:pt x="376" y="82"/>
                    <a:pt x="377" y="81"/>
                    <a:pt x="379" y="82"/>
                  </a:cubicBezTo>
                  <a:cubicBezTo>
                    <a:pt x="375" y="83"/>
                    <a:pt x="371" y="84"/>
                    <a:pt x="368" y="85"/>
                  </a:cubicBezTo>
                  <a:cubicBezTo>
                    <a:pt x="366" y="85"/>
                    <a:pt x="365" y="86"/>
                    <a:pt x="364" y="87"/>
                  </a:cubicBezTo>
                  <a:cubicBezTo>
                    <a:pt x="364" y="87"/>
                    <a:pt x="364" y="89"/>
                    <a:pt x="364" y="89"/>
                  </a:cubicBezTo>
                  <a:cubicBezTo>
                    <a:pt x="364" y="89"/>
                    <a:pt x="367" y="87"/>
                    <a:pt x="368" y="86"/>
                  </a:cubicBezTo>
                  <a:cubicBezTo>
                    <a:pt x="369" y="86"/>
                    <a:pt x="370" y="86"/>
                    <a:pt x="372" y="86"/>
                  </a:cubicBezTo>
                  <a:cubicBezTo>
                    <a:pt x="370" y="88"/>
                    <a:pt x="360" y="94"/>
                    <a:pt x="364" y="96"/>
                  </a:cubicBezTo>
                  <a:cubicBezTo>
                    <a:pt x="364" y="96"/>
                    <a:pt x="367" y="96"/>
                    <a:pt x="368" y="96"/>
                  </a:cubicBezTo>
                  <a:cubicBezTo>
                    <a:pt x="370" y="97"/>
                    <a:pt x="370" y="99"/>
                    <a:pt x="370" y="101"/>
                  </a:cubicBezTo>
                  <a:cubicBezTo>
                    <a:pt x="370" y="96"/>
                    <a:pt x="358" y="98"/>
                    <a:pt x="359" y="102"/>
                  </a:cubicBezTo>
                  <a:cubicBezTo>
                    <a:pt x="359" y="103"/>
                    <a:pt x="363" y="103"/>
                    <a:pt x="362" y="104"/>
                  </a:cubicBezTo>
                  <a:cubicBezTo>
                    <a:pt x="361" y="106"/>
                    <a:pt x="364" y="106"/>
                    <a:pt x="365" y="107"/>
                  </a:cubicBezTo>
                  <a:cubicBezTo>
                    <a:pt x="362" y="106"/>
                    <a:pt x="355" y="107"/>
                    <a:pt x="354" y="110"/>
                  </a:cubicBezTo>
                  <a:cubicBezTo>
                    <a:pt x="356" y="109"/>
                    <a:pt x="359" y="108"/>
                    <a:pt x="361" y="108"/>
                  </a:cubicBezTo>
                  <a:cubicBezTo>
                    <a:pt x="366" y="109"/>
                    <a:pt x="361" y="115"/>
                    <a:pt x="357" y="114"/>
                  </a:cubicBezTo>
                  <a:cubicBezTo>
                    <a:pt x="352" y="112"/>
                    <a:pt x="347" y="110"/>
                    <a:pt x="342" y="107"/>
                  </a:cubicBezTo>
                  <a:cubicBezTo>
                    <a:pt x="337" y="104"/>
                    <a:pt x="327" y="96"/>
                    <a:pt x="327" y="90"/>
                  </a:cubicBezTo>
                  <a:cubicBezTo>
                    <a:pt x="326" y="89"/>
                    <a:pt x="327" y="89"/>
                    <a:pt x="327" y="87"/>
                  </a:cubicBezTo>
                  <a:cubicBezTo>
                    <a:pt x="327" y="87"/>
                    <a:pt x="325" y="87"/>
                    <a:pt x="325" y="86"/>
                  </a:cubicBezTo>
                  <a:cubicBezTo>
                    <a:pt x="324" y="84"/>
                    <a:pt x="322" y="82"/>
                    <a:pt x="322" y="81"/>
                  </a:cubicBezTo>
                  <a:cubicBezTo>
                    <a:pt x="316" y="72"/>
                    <a:pt x="308" y="67"/>
                    <a:pt x="299" y="62"/>
                  </a:cubicBezTo>
                  <a:cubicBezTo>
                    <a:pt x="298" y="63"/>
                    <a:pt x="294" y="69"/>
                    <a:pt x="295" y="70"/>
                  </a:cubicBezTo>
                  <a:cubicBezTo>
                    <a:pt x="296" y="71"/>
                    <a:pt x="300" y="70"/>
                    <a:pt x="301" y="70"/>
                  </a:cubicBezTo>
                  <a:cubicBezTo>
                    <a:pt x="300" y="73"/>
                    <a:pt x="296" y="73"/>
                    <a:pt x="300" y="75"/>
                  </a:cubicBezTo>
                  <a:cubicBezTo>
                    <a:pt x="303" y="76"/>
                    <a:pt x="306" y="76"/>
                    <a:pt x="309" y="77"/>
                  </a:cubicBezTo>
                  <a:cubicBezTo>
                    <a:pt x="308" y="76"/>
                    <a:pt x="304" y="77"/>
                    <a:pt x="303" y="78"/>
                  </a:cubicBezTo>
                  <a:cubicBezTo>
                    <a:pt x="301" y="78"/>
                    <a:pt x="298" y="78"/>
                    <a:pt x="296" y="79"/>
                  </a:cubicBezTo>
                  <a:cubicBezTo>
                    <a:pt x="294" y="79"/>
                    <a:pt x="290" y="81"/>
                    <a:pt x="291" y="84"/>
                  </a:cubicBezTo>
                  <a:cubicBezTo>
                    <a:pt x="291" y="88"/>
                    <a:pt x="291" y="88"/>
                    <a:pt x="288" y="90"/>
                  </a:cubicBezTo>
                  <a:cubicBezTo>
                    <a:pt x="285" y="92"/>
                    <a:pt x="282" y="94"/>
                    <a:pt x="280" y="97"/>
                  </a:cubicBezTo>
                  <a:cubicBezTo>
                    <a:pt x="278" y="98"/>
                    <a:pt x="277" y="99"/>
                    <a:pt x="276" y="99"/>
                  </a:cubicBezTo>
                  <a:cubicBezTo>
                    <a:pt x="276" y="99"/>
                    <a:pt x="272" y="99"/>
                    <a:pt x="272" y="99"/>
                  </a:cubicBezTo>
                  <a:cubicBezTo>
                    <a:pt x="272" y="98"/>
                    <a:pt x="272" y="93"/>
                    <a:pt x="273" y="93"/>
                  </a:cubicBezTo>
                  <a:cubicBezTo>
                    <a:pt x="274" y="92"/>
                    <a:pt x="276" y="93"/>
                    <a:pt x="277" y="92"/>
                  </a:cubicBezTo>
                  <a:cubicBezTo>
                    <a:pt x="277" y="92"/>
                    <a:pt x="277" y="90"/>
                    <a:pt x="278" y="89"/>
                  </a:cubicBezTo>
                  <a:cubicBezTo>
                    <a:pt x="276" y="90"/>
                    <a:pt x="274" y="92"/>
                    <a:pt x="272" y="92"/>
                  </a:cubicBezTo>
                  <a:cubicBezTo>
                    <a:pt x="271" y="93"/>
                    <a:pt x="269" y="92"/>
                    <a:pt x="268" y="93"/>
                  </a:cubicBezTo>
                  <a:cubicBezTo>
                    <a:pt x="264" y="93"/>
                    <a:pt x="262" y="94"/>
                    <a:pt x="259" y="95"/>
                  </a:cubicBezTo>
                  <a:cubicBezTo>
                    <a:pt x="254" y="97"/>
                    <a:pt x="249" y="97"/>
                    <a:pt x="245" y="99"/>
                  </a:cubicBezTo>
                  <a:cubicBezTo>
                    <a:pt x="244" y="100"/>
                    <a:pt x="243" y="101"/>
                    <a:pt x="242" y="102"/>
                  </a:cubicBezTo>
                  <a:cubicBezTo>
                    <a:pt x="240" y="104"/>
                    <a:pt x="237" y="106"/>
                    <a:pt x="235" y="109"/>
                  </a:cubicBezTo>
                  <a:cubicBezTo>
                    <a:pt x="236" y="109"/>
                    <a:pt x="236" y="109"/>
                    <a:pt x="236" y="109"/>
                  </a:cubicBezTo>
                  <a:cubicBezTo>
                    <a:pt x="235" y="111"/>
                    <a:pt x="233" y="113"/>
                    <a:pt x="231" y="115"/>
                  </a:cubicBezTo>
                  <a:cubicBezTo>
                    <a:pt x="231" y="117"/>
                    <a:pt x="231" y="121"/>
                    <a:pt x="230" y="122"/>
                  </a:cubicBezTo>
                  <a:cubicBezTo>
                    <a:pt x="227" y="122"/>
                    <a:pt x="231" y="115"/>
                    <a:pt x="231" y="114"/>
                  </a:cubicBezTo>
                  <a:cubicBezTo>
                    <a:pt x="228" y="114"/>
                    <a:pt x="228" y="115"/>
                    <a:pt x="230" y="112"/>
                  </a:cubicBezTo>
                  <a:cubicBezTo>
                    <a:pt x="231" y="109"/>
                    <a:pt x="232" y="108"/>
                    <a:pt x="230" y="105"/>
                  </a:cubicBezTo>
                  <a:cubicBezTo>
                    <a:pt x="230" y="108"/>
                    <a:pt x="228" y="111"/>
                    <a:pt x="227" y="114"/>
                  </a:cubicBezTo>
                  <a:cubicBezTo>
                    <a:pt x="229" y="110"/>
                    <a:pt x="230" y="105"/>
                    <a:pt x="225" y="103"/>
                  </a:cubicBezTo>
                  <a:cubicBezTo>
                    <a:pt x="225" y="104"/>
                    <a:pt x="227" y="104"/>
                    <a:pt x="227" y="106"/>
                  </a:cubicBezTo>
                  <a:cubicBezTo>
                    <a:pt x="228" y="107"/>
                    <a:pt x="227" y="110"/>
                    <a:pt x="226" y="112"/>
                  </a:cubicBezTo>
                  <a:cubicBezTo>
                    <a:pt x="227" y="109"/>
                    <a:pt x="227" y="105"/>
                    <a:pt x="223" y="104"/>
                  </a:cubicBezTo>
                  <a:cubicBezTo>
                    <a:pt x="225" y="107"/>
                    <a:pt x="226" y="107"/>
                    <a:pt x="223" y="111"/>
                  </a:cubicBezTo>
                  <a:cubicBezTo>
                    <a:pt x="221" y="112"/>
                    <a:pt x="219" y="113"/>
                    <a:pt x="217" y="114"/>
                  </a:cubicBezTo>
                  <a:cubicBezTo>
                    <a:pt x="217" y="114"/>
                    <a:pt x="219" y="109"/>
                    <a:pt x="219" y="110"/>
                  </a:cubicBezTo>
                  <a:cubicBezTo>
                    <a:pt x="219" y="108"/>
                    <a:pt x="209" y="110"/>
                    <a:pt x="207" y="111"/>
                  </a:cubicBezTo>
                  <a:cubicBezTo>
                    <a:pt x="213" y="109"/>
                    <a:pt x="204" y="118"/>
                    <a:pt x="203" y="119"/>
                  </a:cubicBezTo>
                  <a:cubicBezTo>
                    <a:pt x="199" y="123"/>
                    <a:pt x="191" y="123"/>
                    <a:pt x="186" y="125"/>
                  </a:cubicBezTo>
                  <a:cubicBezTo>
                    <a:pt x="187" y="126"/>
                    <a:pt x="186" y="126"/>
                    <a:pt x="186" y="127"/>
                  </a:cubicBezTo>
                  <a:cubicBezTo>
                    <a:pt x="186" y="128"/>
                    <a:pt x="187" y="128"/>
                    <a:pt x="188" y="128"/>
                  </a:cubicBezTo>
                  <a:cubicBezTo>
                    <a:pt x="188" y="129"/>
                    <a:pt x="187" y="130"/>
                    <a:pt x="187" y="131"/>
                  </a:cubicBezTo>
                  <a:cubicBezTo>
                    <a:pt x="187" y="132"/>
                    <a:pt x="189" y="131"/>
                    <a:pt x="188" y="133"/>
                  </a:cubicBezTo>
                  <a:cubicBezTo>
                    <a:pt x="189" y="133"/>
                    <a:pt x="197" y="128"/>
                    <a:pt x="195" y="134"/>
                  </a:cubicBezTo>
                  <a:cubicBezTo>
                    <a:pt x="194" y="136"/>
                    <a:pt x="191" y="135"/>
                    <a:pt x="189" y="135"/>
                  </a:cubicBezTo>
                  <a:cubicBezTo>
                    <a:pt x="188" y="135"/>
                    <a:pt x="187" y="135"/>
                    <a:pt x="186" y="135"/>
                  </a:cubicBezTo>
                  <a:cubicBezTo>
                    <a:pt x="185" y="134"/>
                    <a:pt x="184" y="135"/>
                    <a:pt x="182" y="135"/>
                  </a:cubicBezTo>
                  <a:cubicBezTo>
                    <a:pt x="180" y="135"/>
                    <a:pt x="177" y="134"/>
                    <a:pt x="174" y="134"/>
                  </a:cubicBezTo>
                  <a:cubicBezTo>
                    <a:pt x="174" y="135"/>
                    <a:pt x="175" y="136"/>
                    <a:pt x="177" y="136"/>
                  </a:cubicBezTo>
                  <a:cubicBezTo>
                    <a:pt x="176" y="138"/>
                    <a:pt x="183" y="139"/>
                    <a:pt x="184" y="139"/>
                  </a:cubicBezTo>
                  <a:cubicBezTo>
                    <a:pt x="182" y="140"/>
                    <a:pt x="171" y="137"/>
                    <a:pt x="172" y="134"/>
                  </a:cubicBezTo>
                  <a:cubicBezTo>
                    <a:pt x="172" y="133"/>
                    <a:pt x="175" y="132"/>
                    <a:pt x="176" y="131"/>
                  </a:cubicBezTo>
                  <a:cubicBezTo>
                    <a:pt x="178" y="130"/>
                    <a:pt x="177" y="129"/>
                    <a:pt x="179" y="127"/>
                  </a:cubicBezTo>
                  <a:cubicBezTo>
                    <a:pt x="180" y="123"/>
                    <a:pt x="185" y="124"/>
                    <a:pt x="186" y="128"/>
                  </a:cubicBezTo>
                  <a:cubicBezTo>
                    <a:pt x="185" y="126"/>
                    <a:pt x="185" y="124"/>
                    <a:pt x="187" y="123"/>
                  </a:cubicBezTo>
                  <a:cubicBezTo>
                    <a:pt x="186" y="123"/>
                    <a:pt x="186" y="123"/>
                    <a:pt x="186" y="123"/>
                  </a:cubicBezTo>
                  <a:cubicBezTo>
                    <a:pt x="186" y="120"/>
                    <a:pt x="189" y="116"/>
                    <a:pt x="191" y="116"/>
                  </a:cubicBezTo>
                  <a:cubicBezTo>
                    <a:pt x="195" y="115"/>
                    <a:pt x="194" y="118"/>
                    <a:pt x="195" y="120"/>
                  </a:cubicBezTo>
                  <a:cubicBezTo>
                    <a:pt x="195" y="119"/>
                    <a:pt x="196" y="118"/>
                    <a:pt x="197" y="118"/>
                  </a:cubicBezTo>
                  <a:cubicBezTo>
                    <a:pt x="199" y="117"/>
                    <a:pt x="198" y="116"/>
                    <a:pt x="199" y="115"/>
                  </a:cubicBezTo>
                  <a:cubicBezTo>
                    <a:pt x="201" y="114"/>
                    <a:pt x="203" y="113"/>
                    <a:pt x="204" y="111"/>
                  </a:cubicBezTo>
                  <a:cubicBezTo>
                    <a:pt x="205" y="109"/>
                    <a:pt x="205" y="107"/>
                    <a:pt x="207" y="105"/>
                  </a:cubicBezTo>
                  <a:cubicBezTo>
                    <a:pt x="211" y="103"/>
                    <a:pt x="218" y="104"/>
                    <a:pt x="222" y="103"/>
                  </a:cubicBezTo>
                  <a:cubicBezTo>
                    <a:pt x="225" y="102"/>
                    <a:pt x="228" y="100"/>
                    <a:pt x="230" y="103"/>
                  </a:cubicBezTo>
                  <a:cubicBezTo>
                    <a:pt x="232" y="105"/>
                    <a:pt x="234" y="100"/>
                    <a:pt x="236" y="100"/>
                  </a:cubicBezTo>
                  <a:cubicBezTo>
                    <a:pt x="239" y="98"/>
                    <a:pt x="239" y="96"/>
                    <a:pt x="243" y="95"/>
                  </a:cubicBezTo>
                  <a:cubicBezTo>
                    <a:pt x="246" y="93"/>
                    <a:pt x="250" y="92"/>
                    <a:pt x="253" y="90"/>
                  </a:cubicBezTo>
                  <a:cubicBezTo>
                    <a:pt x="256" y="89"/>
                    <a:pt x="260" y="88"/>
                    <a:pt x="263" y="86"/>
                  </a:cubicBezTo>
                  <a:cubicBezTo>
                    <a:pt x="263" y="86"/>
                    <a:pt x="266" y="84"/>
                    <a:pt x="266" y="83"/>
                  </a:cubicBezTo>
                  <a:cubicBezTo>
                    <a:pt x="266" y="82"/>
                    <a:pt x="263" y="82"/>
                    <a:pt x="265" y="80"/>
                  </a:cubicBezTo>
                  <a:cubicBezTo>
                    <a:pt x="264" y="80"/>
                    <a:pt x="263" y="80"/>
                    <a:pt x="263" y="79"/>
                  </a:cubicBezTo>
                  <a:cubicBezTo>
                    <a:pt x="261" y="78"/>
                    <a:pt x="262" y="79"/>
                    <a:pt x="260" y="77"/>
                  </a:cubicBezTo>
                  <a:cubicBezTo>
                    <a:pt x="258" y="73"/>
                    <a:pt x="255" y="83"/>
                    <a:pt x="253" y="83"/>
                  </a:cubicBezTo>
                  <a:cubicBezTo>
                    <a:pt x="253" y="83"/>
                    <a:pt x="253" y="83"/>
                    <a:pt x="254" y="82"/>
                  </a:cubicBezTo>
                  <a:cubicBezTo>
                    <a:pt x="252" y="83"/>
                    <a:pt x="250" y="84"/>
                    <a:pt x="248" y="84"/>
                  </a:cubicBezTo>
                  <a:cubicBezTo>
                    <a:pt x="248" y="82"/>
                    <a:pt x="242" y="82"/>
                    <a:pt x="241" y="82"/>
                  </a:cubicBezTo>
                  <a:cubicBezTo>
                    <a:pt x="236" y="82"/>
                    <a:pt x="232" y="81"/>
                    <a:pt x="229" y="85"/>
                  </a:cubicBezTo>
                  <a:cubicBezTo>
                    <a:pt x="229" y="85"/>
                    <a:pt x="230" y="85"/>
                    <a:pt x="231" y="85"/>
                  </a:cubicBezTo>
                  <a:cubicBezTo>
                    <a:pt x="228" y="86"/>
                    <a:pt x="227" y="91"/>
                    <a:pt x="225" y="93"/>
                  </a:cubicBezTo>
                  <a:cubicBezTo>
                    <a:pt x="224" y="84"/>
                    <a:pt x="211" y="94"/>
                    <a:pt x="208" y="96"/>
                  </a:cubicBezTo>
                  <a:cubicBezTo>
                    <a:pt x="204" y="99"/>
                    <a:pt x="202" y="99"/>
                    <a:pt x="198" y="98"/>
                  </a:cubicBezTo>
                  <a:cubicBezTo>
                    <a:pt x="193" y="97"/>
                    <a:pt x="192" y="97"/>
                    <a:pt x="196" y="101"/>
                  </a:cubicBezTo>
                  <a:cubicBezTo>
                    <a:pt x="192" y="102"/>
                    <a:pt x="188" y="100"/>
                    <a:pt x="184" y="102"/>
                  </a:cubicBezTo>
                  <a:cubicBezTo>
                    <a:pt x="178" y="105"/>
                    <a:pt x="171" y="109"/>
                    <a:pt x="165" y="112"/>
                  </a:cubicBezTo>
                  <a:cubicBezTo>
                    <a:pt x="161" y="114"/>
                    <a:pt x="157" y="116"/>
                    <a:pt x="155" y="118"/>
                  </a:cubicBezTo>
                  <a:cubicBezTo>
                    <a:pt x="154" y="119"/>
                    <a:pt x="153" y="119"/>
                    <a:pt x="153" y="120"/>
                  </a:cubicBezTo>
                  <a:cubicBezTo>
                    <a:pt x="153" y="120"/>
                    <a:pt x="153" y="120"/>
                    <a:pt x="153" y="120"/>
                  </a:cubicBezTo>
                  <a:cubicBezTo>
                    <a:pt x="152" y="121"/>
                    <a:pt x="151" y="122"/>
                    <a:pt x="150" y="122"/>
                  </a:cubicBezTo>
                  <a:cubicBezTo>
                    <a:pt x="149" y="122"/>
                    <a:pt x="149" y="122"/>
                    <a:pt x="149" y="122"/>
                  </a:cubicBezTo>
                  <a:cubicBezTo>
                    <a:pt x="149" y="121"/>
                    <a:pt x="148" y="120"/>
                    <a:pt x="148" y="120"/>
                  </a:cubicBezTo>
                  <a:cubicBezTo>
                    <a:pt x="147" y="119"/>
                    <a:pt x="147" y="119"/>
                    <a:pt x="147" y="118"/>
                  </a:cubicBezTo>
                  <a:cubicBezTo>
                    <a:pt x="147" y="118"/>
                    <a:pt x="147" y="118"/>
                    <a:pt x="146" y="118"/>
                  </a:cubicBezTo>
                  <a:cubicBezTo>
                    <a:pt x="145" y="117"/>
                    <a:pt x="144" y="117"/>
                    <a:pt x="144" y="116"/>
                  </a:cubicBezTo>
                  <a:cubicBezTo>
                    <a:pt x="144" y="115"/>
                    <a:pt x="144" y="115"/>
                    <a:pt x="144" y="114"/>
                  </a:cubicBezTo>
                  <a:cubicBezTo>
                    <a:pt x="144" y="114"/>
                    <a:pt x="144" y="114"/>
                    <a:pt x="145" y="113"/>
                  </a:cubicBezTo>
                  <a:cubicBezTo>
                    <a:pt x="145" y="112"/>
                    <a:pt x="146" y="111"/>
                    <a:pt x="146" y="111"/>
                  </a:cubicBezTo>
                  <a:cubicBezTo>
                    <a:pt x="147" y="110"/>
                    <a:pt x="148" y="110"/>
                    <a:pt x="149" y="110"/>
                  </a:cubicBezTo>
                  <a:cubicBezTo>
                    <a:pt x="150" y="109"/>
                    <a:pt x="150" y="109"/>
                    <a:pt x="151" y="108"/>
                  </a:cubicBezTo>
                  <a:cubicBezTo>
                    <a:pt x="152" y="108"/>
                    <a:pt x="152" y="107"/>
                    <a:pt x="153" y="107"/>
                  </a:cubicBezTo>
                  <a:cubicBezTo>
                    <a:pt x="153" y="106"/>
                    <a:pt x="153" y="106"/>
                    <a:pt x="153" y="106"/>
                  </a:cubicBezTo>
                  <a:cubicBezTo>
                    <a:pt x="153" y="105"/>
                    <a:pt x="154" y="105"/>
                    <a:pt x="154" y="105"/>
                  </a:cubicBezTo>
                  <a:cubicBezTo>
                    <a:pt x="154" y="105"/>
                    <a:pt x="154" y="104"/>
                    <a:pt x="155" y="104"/>
                  </a:cubicBezTo>
                  <a:cubicBezTo>
                    <a:pt x="155" y="103"/>
                    <a:pt x="156" y="103"/>
                    <a:pt x="157" y="103"/>
                  </a:cubicBezTo>
                  <a:cubicBezTo>
                    <a:pt x="157" y="103"/>
                    <a:pt x="157" y="102"/>
                    <a:pt x="157" y="102"/>
                  </a:cubicBezTo>
                  <a:cubicBezTo>
                    <a:pt x="158" y="102"/>
                    <a:pt x="158" y="101"/>
                    <a:pt x="159" y="100"/>
                  </a:cubicBezTo>
                  <a:cubicBezTo>
                    <a:pt x="159" y="100"/>
                    <a:pt x="160" y="99"/>
                    <a:pt x="160" y="98"/>
                  </a:cubicBezTo>
                  <a:cubicBezTo>
                    <a:pt x="161" y="98"/>
                    <a:pt x="163" y="97"/>
                    <a:pt x="164" y="96"/>
                  </a:cubicBezTo>
                  <a:cubicBezTo>
                    <a:pt x="165" y="94"/>
                    <a:pt x="165" y="93"/>
                    <a:pt x="165" y="91"/>
                  </a:cubicBezTo>
                  <a:cubicBezTo>
                    <a:pt x="164" y="92"/>
                    <a:pt x="164" y="92"/>
                    <a:pt x="164" y="93"/>
                  </a:cubicBezTo>
                  <a:cubicBezTo>
                    <a:pt x="164" y="93"/>
                    <a:pt x="163" y="93"/>
                    <a:pt x="163" y="93"/>
                  </a:cubicBezTo>
                  <a:cubicBezTo>
                    <a:pt x="163" y="93"/>
                    <a:pt x="162" y="94"/>
                    <a:pt x="160" y="93"/>
                  </a:cubicBezTo>
                  <a:cubicBezTo>
                    <a:pt x="160" y="93"/>
                    <a:pt x="160" y="93"/>
                    <a:pt x="160" y="93"/>
                  </a:cubicBezTo>
                  <a:cubicBezTo>
                    <a:pt x="160" y="93"/>
                    <a:pt x="160" y="93"/>
                    <a:pt x="160" y="93"/>
                  </a:cubicBezTo>
                  <a:cubicBezTo>
                    <a:pt x="160" y="93"/>
                    <a:pt x="160" y="93"/>
                    <a:pt x="160" y="93"/>
                  </a:cubicBezTo>
                  <a:cubicBezTo>
                    <a:pt x="159" y="93"/>
                    <a:pt x="159" y="92"/>
                    <a:pt x="159" y="92"/>
                  </a:cubicBezTo>
                  <a:cubicBezTo>
                    <a:pt x="158" y="92"/>
                    <a:pt x="158" y="92"/>
                    <a:pt x="158" y="92"/>
                  </a:cubicBezTo>
                  <a:cubicBezTo>
                    <a:pt x="157" y="92"/>
                    <a:pt x="157" y="92"/>
                    <a:pt x="157" y="92"/>
                  </a:cubicBezTo>
                  <a:cubicBezTo>
                    <a:pt x="157" y="92"/>
                    <a:pt x="157" y="92"/>
                    <a:pt x="157" y="92"/>
                  </a:cubicBezTo>
                  <a:cubicBezTo>
                    <a:pt x="156" y="91"/>
                    <a:pt x="156" y="89"/>
                    <a:pt x="155" y="88"/>
                  </a:cubicBezTo>
                  <a:cubicBezTo>
                    <a:pt x="155" y="87"/>
                    <a:pt x="154" y="87"/>
                    <a:pt x="153" y="87"/>
                  </a:cubicBezTo>
                  <a:cubicBezTo>
                    <a:pt x="152" y="86"/>
                    <a:pt x="151" y="85"/>
                    <a:pt x="151" y="85"/>
                  </a:cubicBezTo>
                  <a:cubicBezTo>
                    <a:pt x="151" y="86"/>
                    <a:pt x="150" y="86"/>
                    <a:pt x="150" y="87"/>
                  </a:cubicBezTo>
                  <a:cubicBezTo>
                    <a:pt x="150" y="87"/>
                    <a:pt x="150" y="87"/>
                    <a:pt x="150" y="88"/>
                  </a:cubicBezTo>
                  <a:cubicBezTo>
                    <a:pt x="150" y="90"/>
                    <a:pt x="150" y="92"/>
                    <a:pt x="150" y="94"/>
                  </a:cubicBezTo>
                  <a:cubicBezTo>
                    <a:pt x="150" y="97"/>
                    <a:pt x="148" y="96"/>
                    <a:pt x="146" y="96"/>
                  </a:cubicBezTo>
                  <a:cubicBezTo>
                    <a:pt x="144" y="95"/>
                    <a:pt x="142" y="95"/>
                    <a:pt x="140" y="95"/>
                  </a:cubicBezTo>
                  <a:cubicBezTo>
                    <a:pt x="140" y="95"/>
                    <a:pt x="139" y="95"/>
                    <a:pt x="138" y="95"/>
                  </a:cubicBezTo>
                  <a:cubicBezTo>
                    <a:pt x="138" y="95"/>
                    <a:pt x="137" y="95"/>
                    <a:pt x="136" y="95"/>
                  </a:cubicBezTo>
                  <a:cubicBezTo>
                    <a:pt x="135" y="95"/>
                    <a:pt x="135" y="95"/>
                    <a:pt x="135" y="95"/>
                  </a:cubicBezTo>
                  <a:cubicBezTo>
                    <a:pt x="132" y="96"/>
                    <a:pt x="130" y="97"/>
                    <a:pt x="130" y="99"/>
                  </a:cubicBezTo>
                  <a:cubicBezTo>
                    <a:pt x="131" y="100"/>
                    <a:pt x="132" y="102"/>
                    <a:pt x="132" y="104"/>
                  </a:cubicBezTo>
                  <a:cubicBezTo>
                    <a:pt x="128" y="103"/>
                    <a:pt x="122" y="99"/>
                    <a:pt x="123" y="105"/>
                  </a:cubicBezTo>
                  <a:cubicBezTo>
                    <a:pt x="122" y="104"/>
                    <a:pt x="119" y="103"/>
                    <a:pt x="117" y="103"/>
                  </a:cubicBezTo>
                  <a:cubicBezTo>
                    <a:pt x="117" y="107"/>
                    <a:pt x="124" y="109"/>
                    <a:pt x="126" y="110"/>
                  </a:cubicBezTo>
                  <a:cubicBezTo>
                    <a:pt x="125" y="110"/>
                    <a:pt x="123" y="109"/>
                    <a:pt x="121" y="109"/>
                  </a:cubicBezTo>
                  <a:cubicBezTo>
                    <a:pt x="121" y="109"/>
                    <a:pt x="121" y="108"/>
                    <a:pt x="121" y="108"/>
                  </a:cubicBezTo>
                  <a:cubicBezTo>
                    <a:pt x="120" y="108"/>
                    <a:pt x="120" y="108"/>
                    <a:pt x="120" y="108"/>
                  </a:cubicBezTo>
                  <a:cubicBezTo>
                    <a:pt x="120" y="108"/>
                    <a:pt x="120" y="108"/>
                    <a:pt x="120" y="108"/>
                  </a:cubicBezTo>
                  <a:cubicBezTo>
                    <a:pt x="120" y="108"/>
                    <a:pt x="120" y="108"/>
                    <a:pt x="120" y="108"/>
                  </a:cubicBezTo>
                  <a:cubicBezTo>
                    <a:pt x="118" y="107"/>
                    <a:pt x="116" y="105"/>
                    <a:pt x="115" y="105"/>
                  </a:cubicBezTo>
                  <a:cubicBezTo>
                    <a:pt x="115" y="105"/>
                    <a:pt x="115" y="105"/>
                    <a:pt x="115" y="105"/>
                  </a:cubicBezTo>
                  <a:cubicBezTo>
                    <a:pt x="115" y="105"/>
                    <a:pt x="114" y="106"/>
                    <a:pt x="114" y="107"/>
                  </a:cubicBezTo>
                  <a:cubicBezTo>
                    <a:pt x="114" y="108"/>
                    <a:pt x="114" y="109"/>
                    <a:pt x="114" y="109"/>
                  </a:cubicBezTo>
                  <a:cubicBezTo>
                    <a:pt x="114" y="109"/>
                    <a:pt x="115" y="109"/>
                    <a:pt x="115" y="110"/>
                  </a:cubicBezTo>
                  <a:cubicBezTo>
                    <a:pt x="115" y="110"/>
                    <a:pt x="115" y="110"/>
                    <a:pt x="115" y="110"/>
                  </a:cubicBezTo>
                  <a:cubicBezTo>
                    <a:pt x="115" y="111"/>
                    <a:pt x="116" y="111"/>
                    <a:pt x="117" y="111"/>
                  </a:cubicBezTo>
                  <a:cubicBezTo>
                    <a:pt x="117" y="111"/>
                    <a:pt x="117" y="112"/>
                    <a:pt x="117" y="112"/>
                  </a:cubicBezTo>
                  <a:cubicBezTo>
                    <a:pt x="119" y="113"/>
                    <a:pt x="120" y="113"/>
                    <a:pt x="121" y="114"/>
                  </a:cubicBezTo>
                  <a:cubicBezTo>
                    <a:pt x="122" y="114"/>
                    <a:pt x="123" y="114"/>
                    <a:pt x="124" y="114"/>
                  </a:cubicBezTo>
                  <a:cubicBezTo>
                    <a:pt x="121" y="116"/>
                    <a:pt x="117" y="115"/>
                    <a:pt x="113" y="117"/>
                  </a:cubicBezTo>
                  <a:cubicBezTo>
                    <a:pt x="114" y="118"/>
                    <a:pt x="116" y="118"/>
                    <a:pt x="117" y="118"/>
                  </a:cubicBezTo>
                  <a:cubicBezTo>
                    <a:pt x="118" y="119"/>
                    <a:pt x="118" y="119"/>
                    <a:pt x="119" y="119"/>
                  </a:cubicBezTo>
                  <a:cubicBezTo>
                    <a:pt x="120" y="118"/>
                    <a:pt x="121" y="119"/>
                    <a:pt x="122" y="118"/>
                  </a:cubicBezTo>
                  <a:cubicBezTo>
                    <a:pt x="123" y="118"/>
                    <a:pt x="124" y="118"/>
                    <a:pt x="124" y="118"/>
                  </a:cubicBezTo>
                  <a:cubicBezTo>
                    <a:pt x="124" y="118"/>
                    <a:pt x="124" y="118"/>
                    <a:pt x="124" y="118"/>
                  </a:cubicBezTo>
                  <a:cubicBezTo>
                    <a:pt x="124" y="118"/>
                    <a:pt x="124" y="117"/>
                    <a:pt x="124" y="117"/>
                  </a:cubicBezTo>
                  <a:cubicBezTo>
                    <a:pt x="124" y="117"/>
                    <a:pt x="124" y="116"/>
                    <a:pt x="125" y="116"/>
                  </a:cubicBezTo>
                  <a:cubicBezTo>
                    <a:pt x="125" y="116"/>
                    <a:pt x="127" y="117"/>
                    <a:pt x="127" y="118"/>
                  </a:cubicBezTo>
                  <a:cubicBezTo>
                    <a:pt x="128" y="118"/>
                    <a:pt x="130" y="117"/>
                    <a:pt x="131" y="117"/>
                  </a:cubicBezTo>
                  <a:cubicBezTo>
                    <a:pt x="133" y="118"/>
                    <a:pt x="134" y="119"/>
                    <a:pt x="135" y="119"/>
                  </a:cubicBezTo>
                  <a:cubicBezTo>
                    <a:pt x="136" y="119"/>
                    <a:pt x="136" y="119"/>
                    <a:pt x="137" y="118"/>
                  </a:cubicBezTo>
                  <a:cubicBezTo>
                    <a:pt x="137" y="118"/>
                    <a:pt x="138" y="118"/>
                    <a:pt x="138" y="118"/>
                  </a:cubicBezTo>
                  <a:cubicBezTo>
                    <a:pt x="138" y="116"/>
                    <a:pt x="139" y="116"/>
                    <a:pt x="139" y="116"/>
                  </a:cubicBezTo>
                  <a:cubicBezTo>
                    <a:pt x="140" y="115"/>
                    <a:pt x="140" y="115"/>
                    <a:pt x="142" y="116"/>
                  </a:cubicBezTo>
                  <a:cubicBezTo>
                    <a:pt x="142" y="117"/>
                    <a:pt x="142" y="117"/>
                    <a:pt x="143" y="117"/>
                  </a:cubicBezTo>
                  <a:cubicBezTo>
                    <a:pt x="143" y="117"/>
                    <a:pt x="143" y="118"/>
                    <a:pt x="143" y="118"/>
                  </a:cubicBezTo>
                  <a:cubicBezTo>
                    <a:pt x="144" y="119"/>
                    <a:pt x="146" y="122"/>
                    <a:pt x="148" y="123"/>
                  </a:cubicBezTo>
                  <a:cubicBezTo>
                    <a:pt x="145" y="126"/>
                    <a:pt x="145" y="128"/>
                    <a:pt x="148" y="131"/>
                  </a:cubicBezTo>
                  <a:cubicBezTo>
                    <a:pt x="149" y="133"/>
                    <a:pt x="150" y="134"/>
                    <a:pt x="151" y="136"/>
                  </a:cubicBezTo>
                  <a:cubicBezTo>
                    <a:pt x="152" y="137"/>
                    <a:pt x="154" y="138"/>
                    <a:pt x="154" y="140"/>
                  </a:cubicBezTo>
                  <a:cubicBezTo>
                    <a:pt x="151" y="139"/>
                    <a:pt x="150" y="139"/>
                    <a:pt x="147" y="136"/>
                  </a:cubicBezTo>
                  <a:cubicBezTo>
                    <a:pt x="146" y="135"/>
                    <a:pt x="145" y="133"/>
                    <a:pt x="143" y="132"/>
                  </a:cubicBezTo>
                  <a:cubicBezTo>
                    <a:pt x="142" y="131"/>
                    <a:pt x="140" y="131"/>
                    <a:pt x="138" y="131"/>
                  </a:cubicBezTo>
                  <a:cubicBezTo>
                    <a:pt x="138" y="131"/>
                    <a:pt x="138" y="131"/>
                    <a:pt x="138" y="131"/>
                  </a:cubicBezTo>
                  <a:cubicBezTo>
                    <a:pt x="137" y="131"/>
                    <a:pt x="136" y="131"/>
                    <a:pt x="136" y="131"/>
                  </a:cubicBezTo>
                  <a:cubicBezTo>
                    <a:pt x="135" y="131"/>
                    <a:pt x="135" y="131"/>
                    <a:pt x="135" y="131"/>
                  </a:cubicBezTo>
                  <a:cubicBezTo>
                    <a:pt x="131" y="132"/>
                    <a:pt x="128" y="134"/>
                    <a:pt x="125" y="135"/>
                  </a:cubicBezTo>
                  <a:cubicBezTo>
                    <a:pt x="128" y="137"/>
                    <a:pt x="131" y="139"/>
                    <a:pt x="133" y="141"/>
                  </a:cubicBezTo>
                  <a:cubicBezTo>
                    <a:pt x="129" y="141"/>
                    <a:pt x="123" y="138"/>
                    <a:pt x="119" y="137"/>
                  </a:cubicBezTo>
                  <a:cubicBezTo>
                    <a:pt x="114" y="135"/>
                    <a:pt x="109" y="133"/>
                    <a:pt x="104" y="131"/>
                  </a:cubicBezTo>
                  <a:cubicBezTo>
                    <a:pt x="104" y="132"/>
                    <a:pt x="103" y="132"/>
                    <a:pt x="103" y="132"/>
                  </a:cubicBezTo>
                  <a:cubicBezTo>
                    <a:pt x="103" y="132"/>
                    <a:pt x="103" y="131"/>
                    <a:pt x="101" y="130"/>
                  </a:cubicBezTo>
                  <a:cubicBezTo>
                    <a:pt x="85" y="125"/>
                    <a:pt x="69" y="119"/>
                    <a:pt x="53" y="113"/>
                  </a:cubicBezTo>
                  <a:cubicBezTo>
                    <a:pt x="50" y="112"/>
                    <a:pt x="46" y="112"/>
                    <a:pt x="43" y="110"/>
                  </a:cubicBezTo>
                  <a:cubicBezTo>
                    <a:pt x="42" y="108"/>
                    <a:pt x="41" y="106"/>
                    <a:pt x="39" y="106"/>
                  </a:cubicBezTo>
                  <a:cubicBezTo>
                    <a:pt x="26" y="105"/>
                    <a:pt x="13" y="103"/>
                    <a:pt x="0" y="101"/>
                  </a:cubicBezTo>
                  <a:cubicBezTo>
                    <a:pt x="0" y="142"/>
                    <a:pt x="0" y="142"/>
                    <a:pt x="0" y="142"/>
                  </a:cubicBezTo>
                  <a:cubicBezTo>
                    <a:pt x="0" y="177"/>
                    <a:pt x="0" y="212"/>
                    <a:pt x="0" y="239"/>
                  </a:cubicBezTo>
                  <a:cubicBezTo>
                    <a:pt x="0" y="240"/>
                    <a:pt x="0" y="240"/>
                    <a:pt x="0" y="240"/>
                  </a:cubicBezTo>
                  <a:cubicBezTo>
                    <a:pt x="0" y="264"/>
                    <a:pt x="0" y="289"/>
                    <a:pt x="0" y="313"/>
                  </a:cubicBezTo>
                  <a:cubicBezTo>
                    <a:pt x="0" y="378"/>
                    <a:pt x="0" y="378"/>
                    <a:pt x="0" y="378"/>
                  </a:cubicBezTo>
                  <a:cubicBezTo>
                    <a:pt x="0" y="388"/>
                    <a:pt x="0" y="398"/>
                    <a:pt x="0" y="409"/>
                  </a:cubicBezTo>
                  <a:cubicBezTo>
                    <a:pt x="0" y="416"/>
                    <a:pt x="0" y="424"/>
                    <a:pt x="0" y="431"/>
                  </a:cubicBezTo>
                  <a:cubicBezTo>
                    <a:pt x="0" y="443"/>
                    <a:pt x="0" y="443"/>
                    <a:pt x="0" y="443"/>
                  </a:cubicBezTo>
                  <a:cubicBezTo>
                    <a:pt x="0" y="445"/>
                    <a:pt x="0" y="448"/>
                    <a:pt x="0" y="450"/>
                  </a:cubicBezTo>
                  <a:cubicBezTo>
                    <a:pt x="0" y="450"/>
                    <a:pt x="0" y="451"/>
                    <a:pt x="0" y="451"/>
                  </a:cubicBezTo>
                  <a:cubicBezTo>
                    <a:pt x="20" y="455"/>
                    <a:pt x="20" y="455"/>
                    <a:pt x="20" y="455"/>
                  </a:cubicBezTo>
                  <a:cubicBezTo>
                    <a:pt x="20" y="455"/>
                    <a:pt x="21" y="454"/>
                    <a:pt x="23" y="453"/>
                  </a:cubicBezTo>
                  <a:cubicBezTo>
                    <a:pt x="24" y="452"/>
                    <a:pt x="25" y="450"/>
                    <a:pt x="27" y="450"/>
                  </a:cubicBezTo>
                  <a:cubicBezTo>
                    <a:pt x="30" y="449"/>
                    <a:pt x="32" y="449"/>
                    <a:pt x="34" y="449"/>
                  </a:cubicBezTo>
                  <a:cubicBezTo>
                    <a:pt x="34" y="449"/>
                    <a:pt x="34" y="449"/>
                    <a:pt x="34" y="449"/>
                  </a:cubicBezTo>
                  <a:cubicBezTo>
                    <a:pt x="35" y="449"/>
                    <a:pt x="35" y="449"/>
                    <a:pt x="35" y="449"/>
                  </a:cubicBezTo>
                  <a:cubicBezTo>
                    <a:pt x="39" y="449"/>
                    <a:pt x="42" y="449"/>
                    <a:pt x="43" y="450"/>
                  </a:cubicBezTo>
                  <a:cubicBezTo>
                    <a:pt x="45" y="452"/>
                    <a:pt x="44" y="456"/>
                    <a:pt x="43" y="459"/>
                  </a:cubicBezTo>
                  <a:cubicBezTo>
                    <a:pt x="43" y="460"/>
                    <a:pt x="43" y="461"/>
                    <a:pt x="44" y="462"/>
                  </a:cubicBezTo>
                  <a:cubicBezTo>
                    <a:pt x="44" y="462"/>
                    <a:pt x="44" y="462"/>
                    <a:pt x="44" y="462"/>
                  </a:cubicBezTo>
                  <a:cubicBezTo>
                    <a:pt x="47" y="464"/>
                    <a:pt x="51" y="467"/>
                    <a:pt x="54" y="469"/>
                  </a:cubicBezTo>
                  <a:cubicBezTo>
                    <a:pt x="68" y="480"/>
                    <a:pt x="68" y="480"/>
                    <a:pt x="68" y="480"/>
                  </a:cubicBezTo>
                  <a:cubicBezTo>
                    <a:pt x="68" y="481"/>
                    <a:pt x="69" y="481"/>
                    <a:pt x="70" y="482"/>
                  </a:cubicBezTo>
                  <a:cubicBezTo>
                    <a:pt x="73" y="484"/>
                    <a:pt x="76" y="486"/>
                    <a:pt x="78" y="488"/>
                  </a:cubicBezTo>
                  <a:cubicBezTo>
                    <a:pt x="79" y="489"/>
                    <a:pt x="80" y="492"/>
                    <a:pt x="80" y="494"/>
                  </a:cubicBezTo>
                  <a:cubicBezTo>
                    <a:pt x="81" y="497"/>
                    <a:pt x="81" y="497"/>
                    <a:pt x="81" y="497"/>
                  </a:cubicBezTo>
                  <a:cubicBezTo>
                    <a:pt x="82" y="496"/>
                    <a:pt x="83" y="496"/>
                    <a:pt x="83" y="496"/>
                  </a:cubicBezTo>
                  <a:cubicBezTo>
                    <a:pt x="85" y="495"/>
                    <a:pt x="86" y="494"/>
                    <a:pt x="88" y="493"/>
                  </a:cubicBezTo>
                  <a:cubicBezTo>
                    <a:pt x="89" y="493"/>
                    <a:pt x="89" y="493"/>
                    <a:pt x="89" y="493"/>
                  </a:cubicBezTo>
                  <a:cubicBezTo>
                    <a:pt x="91" y="492"/>
                    <a:pt x="92" y="491"/>
                    <a:pt x="94" y="490"/>
                  </a:cubicBezTo>
                  <a:cubicBezTo>
                    <a:pt x="94" y="490"/>
                    <a:pt x="94" y="490"/>
                    <a:pt x="94" y="490"/>
                  </a:cubicBezTo>
                  <a:cubicBezTo>
                    <a:pt x="94" y="490"/>
                    <a:pt x="95" y="490"/>
                    <a:pt x="96" y="490"/>
                  </a:cubicBezTo>
                  <a:cubicBezTo>
                    <a:pt x="97" y="490"/>
                    <a:pt x="97" y="490"/>
                    <a:pt x="97" y="490"/>
                  </a:cubicBezTo>
                  <a:cubicBezTo>
                    <a:pt x="97" y="490"/>
                    <a:pt x="98" y="490"/>
                    <a:pt x="98" y="490"/>
                  </a:cubicBezTo>
                  <a:cubicBezTo>
                    <a:pt x="98" y="490"/>
                    <a:pt x="98" y="490"/>
                    <a:pt x="99" y="490"/>
                  </a:cubicBezTo>
                  <a:cubicBezTo>
                    <a:pt x="99" y="489"/>
                    <a:pt x="100" y="488"/>
                    <a:pt x="100" y="487"/>
                  </a:cubicBezTo>
                  <a:cubicBezTo>
                    <a:pt x="100" y="487"/>
                    <a:pt x="100" y="487"/>
                    <a:pt x="100" y="487"/>
                  </a:cubicBezTo>
                  <a:cubicBezTo>
                    <a:pt x="100" y="487"/>
                    <a:pt x="100" y="487"/>
                    <a:pt x="100" y="487"/>
                  </a:cubicBezTo>
                  <a:cubicBezTo>
                    <a:pt x="100" y="486"/>
                    <a:pt x="99" y="485"/>
                    <a:pt x="100" y="484"/>
                  </a:cubicBezTo>
                  <a:cubicBezTo>
                    <a:pt x="100" y="483"/>
                    <a:pt x="100" y="480"/>
                    <a:pt x="103" y="480"/>
                  </a:cubicBezTo>
                  <a:cubicBezTo>
                    <a:pt x="99" y="478"/>
                    <a:pt x="99" y="478"/>
                    <a:pt x="99" y="478"/>
                  </a:cubicBezTo>
                  <a:cubicBezTo>
                    <a:pt x="105" y="475"/>
                    <a:pt x="105" y="475"/>
                    <a:pt x="105" y="475"/>
                  </a:cubicBezTo>
                  <a:cubicBezTo>
                    <a:pt x="106" y="474"/>
                    <a:pt x="109" y="474"/>
                    <a:pt x="110" y="473"/>
                  </a:cubicBezTo>
                  <a:cubicBezTo>
                    <a:pt x="112" y="473"/>
                    <a:pt x="112" y="473"/>
                    <a:pt x="112" y="473"/>
                  </a:cubicBezTo>
                  <a:cubicBezTo>
                    <a:pt x="113" y="473"/>
                    <a:pt x="114" y="473"/>
                    <a:pt x="115" y="472"/>
                  </a:cubicBezTo>
                  <a:cubicBezTo>
                    <a:pt x="115" y="472"/>
                    <a:pt x="116" y="472"/>
                    <a:pt x="117" y="472"/>
                  </a:cubicBezTo>
                  <a:cubicBezTo>
                    <a:pt x="118" y="471"/>
                    <a:pt x="118" y="471"/>
                    <a:pt x="118" y="471"/>
                  </a:cubicBezTo>
                  <a:cubicBezTo>
                    <a:pt x="119" y="471"/>
                    <a:pt x="119" y="470"/>
                    <a:pt x="120" y="470"/>
                  </a:cubicBezTo>
                  <a:cubicBezTo>
                    <a:pt x="121" y="469"/>
                    <a:pt x="123" y="469"/>
                    <a:pt x="124" y="469"/>
                  </a:cubicBezTo>
                  <a:cubicBezTo>
                    <a:pt x="127" y="469"/>
                    <a:pt x="129" y="472"/>
                    <a:pt x="131" y="475"/>
                  </a:cubicBezTo>
                  <a:cubicBezTo>
                    <a:pt x="134" y="478"/>
                    <a:pt x="136" y="481"/>
                    <a:pt x="138" y="485"/>
                  </a:cubicBezTo>
                  <a:cubicBezTo>
                    <a:pt x="139" y="486"/>
                    <a:pt x="141" y="487"/>
                    <a:pt x="142" y="488"/>
                  </a:cubicBezTo>
                  <a:cubicBezTo>
                    <a:pt x="143" y="488"/>
                    <a:pt x="144" y="489"/>
                    <a:pt x="144" y="489"/>
                  </a:cubicBezTo>
                  <a:cubicBezTo>
                    <a:pt x="145" y="489"/>
                    <a:pt x="146" y="490"/>
                    <a:pt x="146" y="490"/>
                  </a:cubicBezTo>
                  <a:cubicBezTo>
                    <a:pt x="149" y="491"/>
                    <a:pt x="152" y="494"/>
                    <a:pt x="154" y="497"/>
                  </a:cubicBezTo>
                  <a:cubicBezTo>
                    <a:pt x="156" y="501"/>
                    <a:pt x="159" y="504"/>
                    <a:pt x="163" y="507"/>
                  </a:cubicBezTo>
                  <a:cubicBezTo>
                    <a:pt x="174" y="516"/>
                    <a:pt x="174" y="516"/>
                    <a:pt x="174" y="516"/>
                  </a:cubicBezTo>
                  <a:cubicBezTo>
                    <a:pt x="177" y="517"/>
                    <a:pt x="178" y="520"/>
                    <a:pt x="179" y="522"/>
                  </a:cubicBezTo>
                  <a:cubicBezTo>
                    <a:pt x="180" y="523"/>
                    <a:pt x="180" y="523"/>
                    <a:pt x="180" y="523"/>
                  </a:cubicBezTo>
                  <a:cubicBezTo>
                    <a:pt x="180" y="524"/>
                    <a:pt x="181" y="526"/>
                    <a:pt x="182" y="528"/>
                  </a:cubicBezTo>
                  <a:cubicBezTo>
                    <a:pt x="184" y="530"/>
                    <a:pt x="184" y="531"/>
                    <a:pt x="186" y="533"/>
                  </a:cubicBezTo>
                  <a:cubicBezTo>
                    <a:pt x="188" y="535"/>
                    <a:pt x="189" y="538"/>
                    <a:pt x="191" y="540"/>
                  </a:cubicBezTo>
                  <a:cubicBezTo>
                    <a:pt x="192" y="541"/>
                    <a:pt x="192" y="541"/>
                    <a:pt x="192" y="541"/>
                  </a:cubicBezTo>
                  <a:cubicBezTo>
                    <a:pt x="195" y="545"/>
                    <a:pt x="198" y="549"/>
                    <a:pt x="200" y="553"/>
                  </a:cubicBezTo>
                  <a:cubicBezTo>
                    <a:pt x="201" y="554"/>
                    <a:pt x="202" y="555"/>
                    <a:pt x="203" y="557"/>
                  </a:cubicBezTo>
                  <a:cubicBezTo>
                    <a:pt x="203" y="557"/>
                    <a:pt x="204" y="558"/>
                    <a:pt x="203" y="560"/>
                  </a:cubicBezTo>
                  <a:cubicBezTo>
                    <a:pt x="203" y="561"/>
                    <a:pt x="203" y="562"/>
                    <a:pt x="202" y="562"/>
                  </a:cubicBezTo>
                  <a:cubicBezTo>
                    <a:pt x="202" y="562"/>
                    <a:pt x="202" y="563"/>
                    <a:pt x="202" y="563"/>
                  </a:cubicBezTo>
                  <a:cubicBezTo>
                    <a:pt x="202" y="563"/>
                    <a:pt x="202" y="563"/>
                    <a:pt x="202" y="563"/>
                  </a:cubicBezTo>
                  <a:cubicBezTo>
                    <a:pt x="202" y="563"/>
                    <a:pt x="202" y="563"/>
                    <a:pt x="202" y="563"/>
                  </a:cubicBezTo>
                  <a:cubicBezTo>
                    <a:pt x="203" y="564"/>
                    <a:pt x="204" y="565"/>
                    <a:pt x="204" y="566"/>
                  </a:cubicBezTo>
                  <a:cubicBezTo>
                    <a:pt x="205" y="567"/>
                    <a:pt x="205" y="567"/>
                    <a:pt x="205" y="567"/>
                  </a:cubicBezTo>
                  <a:cubicBezTo>
                    <a:pt x="205" y="567"/>
                    <a:pt x="206" y="568"/>
                    <a:pt x="206" y="568"/>
                  </a:cubicBezTo>
                  <a:cubicBezTo>
                    <a:pt x="207" y="570"/>
                    <a:pt x="208" y="571"/>
                    <a:pt x="210" y="572"/>
                  </a:cubicBezTo>
                  <a:cubicBezTo>
                    <a:pt x="210" y="573"/>
                    <a:pt x="210" y="573"/>
                    <a:pt x="210" y="573"/>
                  </a:cubicBezTo>
                  <a:cubicBezTo>
                    <a:pt x="211" y="574"/>
                    <a:pt x="211" y="574"/>
                    <a:pt x="211" y="575"/>
                  </a:cubicBezTo>
                  <a:cubicBezTo>
                    <a:pt x="212" y="575"/>
                    <a:pt x="212" y="576"/>
                    <a:pt x="212" y="576"/>
                  </a:cubicBezTo>
                  <a:cubicBezTo>
                    <a:pt x="213" y="576"/>
                    <a:pt x="213" y="577"/>
                    <a:pt x="214" y="577"/>
                  </a:cubicBezTo>
                  <a:cubicBezTo>
                    <a:pt x="216" y="577"/>
                    <a:pt x="218" y="577"/>
                    <a:pt x="220" y="578"/>
                  </a:cubicBezTo>
                  <a:cubicBezTo>
                    <a:pt x="220" y="578"/>
                    <a:pt x="220" y="578"/>
                    <a:pt x="220" y="578"/>
                  </a:cubicBezTo>
                  <a:cubicBezTo>
                    <a:pt x="222" y="579"/>
                    <a:pt x="224" y="580"/>
                    <a:pt x="226" y="581"/>
                  </a:cubicBezTo>
                  <a:cubicBezTo>
                    <a:pt x="227" y="581"/>
                    <a:pt x="228" y="582"/>
                    <a:pt x="230" y="582"/>
                  </a:cubicBezTo>
                  <a:cubicBezTo>
                    <a:pt x="230" y="584"/>
                    <a:pt x="230" y="584"/>
                    <a:pt x="230" y="584"/>
                  </a:cubicBezTo>
                  <a:cubicBezTo>
                    <a:pt x="230" y="583"/>
                    <a:pt x="230" y="583"/>
                    <a:pt x="230" y="583"/>
                  </a:cubicBezTo>
                  <a:cubicBezTo>
                    <a:pt x="232" y="583"/>
                    <a:pt x="234" y="584"/>
                    <a:pt x="236" y="585"/>
                  </a:cubicBezTo>
                  <a:cubicBezTo>
                    <a:pt x="236" y="585"/>
                    <a:pt x="237" y="585"/>
                    <a:pt x="238" y="585"/>
                  </a:cubicBezTo>
                  <a:cubicBezTo>
                    <a:pt x="238" y="586"/>
                    <a:pt x="238" y="586"/>
                    <a:pt x="238" y="586"/>
                  </a:cubicBezTo>
                  <a:cubicBezTo>
                    <a:pt x="245" y="588"/>
                    <a:pt x="251" y="591"/>
                    <a:pt x="253" y="595"/>
                  </a:cubicBezTo>
                  <a:cubicBezTo>
                    <a:pt x="256" y="598"/>
                    <a:pt x="255" y="601"/>
                    <a:pt x="255" y="603"/>
                  </a:cubicBezTo>
                  <a:cubicBezTo>
                    <a:pt x="254" y="606"/>
                    <a:pt x="253" y="607"/>
                    <a:pt x="253" y="609"/>
                  </a:cubicBezTo>
                  <a:cubicBezTo>
                    <a:pt x="253" y="609"/>
                    <a:pt x="253" y="609"/>
                    <a:pt x="253" y="609"/>
                  </a:cubicBezTo>
                  <a:cubicBezTo>
                    <a:pt x="254" y="610"/>
                    <a:pt x="253" y="612"/>
                    <a:pt x="253" y="612"/>
                  </a:cubicBezTo>
                  <a:cubicBezTo>
                    <a:pt x="253" y="612"/>
                    <a:pt x="253" y="612"/>
                    <a:pt x="253" y="612"/>
                  </a:cubicBezTo>
                  <a:cubicBezTo>
                    <a:pt x="253" y="613"/>
                    <a:pt x="254" y="614"/>
                    <a:pt x="254" y="615"/>
                  </a:cubicBezTo>
                  <a:cubicBezTo>
                    <a:pt x="255" y="618"/>
                    <a:pt x="256" y="620"/>
                    <a:pt x="256" y="622"/>
                  </a:cubicBezTo>
                  <a:cubicBezTo>
                    <a:pt x="256" y="622"/>
                    <a:pt x="256" y="622"/>
                    <a:pt x="257" y="621"/>
                  </a:cubicBezTo>
                  <a:cubicBezTo>
                    <a:pt x="258" y="618"/>
                    <a:pt x="257" y="615"/>
                    <a:pt x="257" y="611"/>
                  </a:cubicBezTo>
                  <a:cubicBezTo>
                    <a:pt x="257" y="611"/>
                    <a:pt x="257" y="612"/>
                    <a:pt x="258" y="612"/>
                  </a:cubicBezTo>
                  <a:cubicBezTo>
                    <a:pt x="259" y="614"/>
                    <a:pt x="260" y="616"/>
                    <a:pt x="262" y="616"/>
                  </a:cubicBezTo>
                  <a:cubicBezTo>
                    <a:pt x="263" y="617"/>
                    <a:pt x="263" y="617"/>
                    <a:pt x="263" y="617"/>
                  </a:cubicBezTo>
                  <a:cubicBezTo>
                    <a:pt x="264" y="616"/>
                    <a:pt x="264" y="616"/>
                    <a:pt x="264" y="616"/>
                  </a:cubicBezTo>
                  <a:cubicBezTo>
                    <a:pt x="264" y="616"/>
                    <a:pt x="264" y="616"/>
                    <a:pt x="264" y="616"/>
                  </a:cubicBezTo>
                  <a:cubicBezTo>
                    <a:pt x="262" y="618"/>
                    <a:pt x="261" y="618"/>
                    <a:pt x="259" y="620"/>
                  </a:cubicBezTo>
                  <a:cubicBezTo>
                    <a:pt x="258" y="622"/>
                    <a:pt x="257" y="623"/>
                    <a:pt x="256" y="625"/>
                  </a:cubicBezTo>
                  <a:cubicBezTo>
                    <a:pt x="256" y="625"/>
                    <a:pt x="256" y="625"/>
                    <a:pt x="256" y="625"/>
                  </a:cubicBezTo>
                  <a:cubicBezTo>
                    <a:pt x="256" y="626"/>
                    <a:pt x="256" y="626"/>
                    <a:pt x="255" y="626"/>
                  </a:cubicBezTo>
                  <a:cubicBezTo>
                    <a:pt x="255" y="626"/>
                    <a:pt x="255" y="627"/>
                    <a:pt x="255" y="627"/>
                  </a:cubicBezTo>
                  <a:cubicBezTo>
                    <a:pt x="254" y="628"/>
                    <a:pt x="254" y="630"/>
                    <a:pt x="253" y="631"/>
                  </a:cubicBezTo>
                  <a:cubicBezTo>
                    <a:pt x="253" y="631"/>
                    <a:pt x="253" y="631"/>
                    <a:pt x="253" y="631"/>
                  </a:cubicBezTo>
                  <a:cubicBezTo>
                    <a:pt x="253" y="631"/>
                    <a:pt x="253" y="631"/>
                    <a:pt x="253" y="631"/>
                  </a:cubicBezTo>
                  <a:cubicBezTo>
                    <a:pt x="253" y="631"/>
                    <a:pt x="253" y="631"/>
                    <a:pt x="253" y="631"/>
                  </a:cubicBezTo>
                  <a:cubicBezTo>
                    <a:pt x="253" y="631"/>
                    <a:pt x="253" y="631"/>
                    <a:pt x="253" y="631"/>
                  </a:cubicBezTo>
                  <a:cubicBezTo>
                    <a:pt x="253" y="631"/>
                    <a:pt x="253" y="631"/>
                    <a:pt x="254" y="631"/>
                  </a:cubicBezTo>
                  <a:cubicBezTo>
                    <a:pt x="254" y="631"/>
                    <a:pt x="254" y="631"/>
                    <a:pt x="254" y="631"/>
                  </a:cubicBezTo>
                  <a:cubicBezTo>
                    <a:pt x="254" y="631"/>
                    <a:pt x="255" y="631"/>
                    <a:pt x="256" y="631"/>
                  </a:cubicBezTo>
                  <a:cubicBezTo>
                    <a:pt x="257" y="632"/>
                    <a:pt x="259" y="632"/>
                    <a:pt x="260" y="631"/>
                  </a:cubicBezTo>
                  <a:cubicBezTo>
                    <a:pt x="260" y="631"/>
                    <a:pt x="261" y="631"/>
                    <a:pt x="261" y="631"/>
                  </a:cubicBezTo>
                  <a:cubicBezTo>
                    <a:pt x="259" y="632"/>
                    <a:pt x="258" y="631"/>
                    <a:pt x="256" y="632"/>
                  </a:cubicBezTo>
                  <a:cubicBezTo>
                    <a:pt x="255" y="632"/>
                    <a:pt x="255" y="633"/>
                    <a:pt x="254" y="634"/>
                  </a:cubicBezTo>
                  <a:cubicBezTo>
                    <a:pt x="253" y="634"/>
                    <a:pt x="252" y="634"/>
                    <a:pt x="252" y="634"/>
                  </a:cubicBezTo>
                  <a:cubicBezTo>
                    <a:pt x="252" y="634"/>
                    <a:pt x="252" y="634"/>
                    <a:pt x="252" y="634"/>
                  </a:cubicBezTo>
                  <a:cubicBezTo>
                    <a:pt x="251" y="634"/>
                    <a:pt x="251" y="634"/>
                    <a:pt x="251" y="634"/>
                  </a:cubicBezTo>
                  <a:cubicBezTo>
                    <a:pt x="251" y="634"/>
                    <a:pt x="251" y="633"/>
                    <a:pt x="251" y="634"/>
                  </a:cubicBezTo>
                  <a:cubicBezTo>
                    <a:pt x="250" y="634"/>
                    <a:pt x="249" y="635"/>
                    <a:pt x="249" y="636"/>
                  </a:cubicBezTo>
                  <a:cubicBezTo>
                    <a:pt x="249" y="636"/>
                    <a:pt x="250" y="635"/>
                    <a:pt x="251" y="635"/>
                  </a:cubicBezTo>
                  <a:cubicBezTo>
                    <a:pt x="250" y="636"/>
                    <a:pt x="248" y="638"/>
                    <a:pt x="248" y="639"/>
                  </a:cubicBezTo>
                  <a:cubicBezTo>
                    <a:pt x="248" y="641"/>
                    <a:pt x="253" y="643"/>
                    <a:pt x="255" y="643"/>
                  </a:cubicBezTo>
                  <a:cubicBezTo>
                    <a:pt x="254" y="643"/>
                    <a:pt x="254" y="643"/>
                    <a:pt x="253" y="643"/>
                  </a:cubicBezTo>
                  <a:cubicBezTo>
                    <a:pt x="253" y="643"/>
                    <a:pt x="253" y="643"/>
                    <a:pt x="253" y="643"/>
                  </a:cubicBezTo>
                  <a:cubicBezTo>
                    <a:pt x="252" y="643"/>
                    <a:pt x="251" y="642"/>
                    <a:pt x="250" y="642"/>
                  </a:cubicBezTo>
                  <a:cubicBezTo>
                    <a:pt x="249" y="641"/>
                    <a:pt x="248" y="641"/>
                    <a:pt x="247" y="641"/>
                  </a:cubicBezTo>
                  <a:cubicBezTo>
                    <a:pt x="247" y="641"/>
                    <a:pt x="247" y="641"/>
                    <a:pt x="247" y="641"/>
                  </a:cubicBezTo>
                  <a:cubicBezTo>
                    <a:pt x="247" y="641"/>
                    <a:pt x="246" y="641"/>
                    <a:pt x="246" y="641"/>
                  </a:cubicBezTo>
                  <a:cubicBezTo>
                    <a:pt x="246" y="641"/>
                    <a:pt x="246" y="641"/>
                    <a:pt x="246" y="641"/>
                  </a:cubicBezTo>
                  <a:cubicBezTo>
                    <a:pt x="246" y="641"/>
                    <a:pt x="246" y="641"/>
                    <a:pt x="246" y="641"/>
                  </a:cubicBezTo>
                  <a:cubicBezTo>
                    <a:pt x="246" y="641"/>
                    <a:pt x="245" y="641"/>
                    <a:pt x="245" y="641"/>
                  </a:cubicBezTo>
                  <a:cubicBezTo>
                    <a:pt x="245" y="641"/>
                    <a:pt x="245" y="641"/>
                    <a:pt x="245" y="642"/>
                  </a:cubicBezTo>
                  <a:cubicBezTo>
                    <a:pt x="244" y="642"/>
                    <a:pt x="244" y="642"/>
                    <a:pt x="244" y="643"/>
                  </a:cubicBezTo>
                  <a:cubicBezTo>
                    <a:pt x="245" y="645"/>
                    <a:pt x="249" y="647"/>
                    <a:pt x="251" y="647"/>
                  </a:cubicBezTo>
                  <a:cubicBezTo>
                    <a:pt x="252" y="647"/>
                    <a:pt x="252" y="647"/>
                    <a:pt x="252" y="647"/>
                  </a:cubicBezTo>
                  <a:cubicBezTo>
                    <a:pt x="252" y="647"/>
                    <a:pt x="252" y="647"/>
                    <a:pt x="252" y="647"/>
                  </a:cubicBezTo>
                  <a:cubicBezTo>
                    <a:pt x="252" y="647"/>
                    <a:pt x="252" y="647"/>
                    <a:pt x="252" y="647"/>
                  </a:cubicBezTo>
                  <a:cubicBezTo>
                    <a:pt x="252" y="647"/>
                    <a:pt x="253" y="647"/>
                    <a:pt x="253" y="647"/>
                  </a:cubicBezTo>
                  <a:cubicBezTo>
                    <a:pt x="250" y="649"/>
                    <a:pt x="250" y="650"/>
                    <a:pt x="252" y="653"/>
                  </a:cubicBezTo>
                  <a:cubicBezTo>
                    <a:pt x="250" y="652"/>
                    <a:pt x="248" y="649"/>
                    <a:pt x="247" y="647"/>
                  </a:cubicBezTo>
                  <a:cubicBezTo>
                    <a:pt x="246" y="647"/>
                    <a:pt x="246" y="647"/>
                    <a:pt x="246" y="646"/>
                  </a:cubicBezTo>
                  <a:cubicBezTo>
                    <a:pt x="245" y="646"/>
                    <a:pt x="245" y="645"/>
                    <a:pt x="245" y="645"/>
                  </a:cubicBezTo>
                  <a:cubicBezTo>
                    <a:pt x="244" y="645"/>
                    <a:pt x="244" y="644"/>
                    <a:pt x="244" y="644"/>
                  </a:cubicBezTo>
                  <a:cubicBezTo>
                    <a:pt x="244" y="644"/>
                    <a:pt x="244" y="644"/>
                    <a:pt x="244" y="644"/>
                  </a:cubicBezTo>
                  <a:cubicBezTo>
                    <a:pt x="243" y="643"/>
                    <a:pt x="242" y="643"/>
                    <a:pt x="242" y="646"/>
                  </a:cubicBezTo>
                  <a:cubicBezTo>
                    <a:pt x="242" y="647"/>
                    <a:pt x="242" y="647"/>
                    <a:pt x="243" y="648"/>
                  </a:cubicBezTo>
                  <a:cubicBezTo>
                    <a:pt x="243" y="648"/>
                    <a:pt x="243" y="648"/>
                    <a:pt x="243" y="648"/>
                  </a:cubicBezTo>
                  <a:cubicBezTo>
                    <a:pt x="243" y="649"/>
                    <a:pt x="242" y="649"/>
                    <a:pt x="242" y="649"/>
                  </a:cubicBezTo>
                  <a:cubicBezTo>
                    <a:pt x="239" y="649"/>
                    <a:pt x="235" y="651"/>
                    <a:pt x="236" y="654"/>
                  </a:cubicBezTo>
                  <a:cubicBezTo>
                    <a:pt x="236" y="656"/>
                    <a:pt x="241" y="656"/>
                    <a:pt x="243" y="656"/>
                  </a:cubicBezTo>
                  <a:cubicBezTo>
                    <a:pt x="244" y="656"/>
                    <a:pt x="244" y="656"/>
                    <a:pt x="246" y="654"/>
                  </a:cubicBezTo>
                  <a:cubicBezTo>
                    <a:pt x="246" y="653"/>
                    <a:pt x="247" y="653"/>
                    <a:pt x="247" y="653"/>
                  </a:cubicBezTo>
                  <a:cubicBezTo>
                    <a:pt x="247" y="654"/>
                    <a:pt x="246" y="654"/>
                    <a:pt x="246" y="655"/>
                  </a:cubicBezTo>
                  <a:cubicBezTo>
                    <a:pt x="246" y="655"/>
                    <a:pt x="246" y="655"/>
                    <a:pt x="246" y="655"/>
                  </a:cubicBezTo>
                  <a:cubicBezTo>
                    <a:pt x="246" y="655"/>
                    <a:pt x="246" y="655"/>
                    <a:pt x="246" y="655"/>
                  </a:cubicBezTo>
                  <a:cubicBezTo>
                    <a:pt x="246" y="656"/>
                    <a:pt x="246" y="656"/>
                    <a:pt x="246" y="656"/>
                  </a:cubicBezTo>
                  <a:cubicBezTo>
                    <a:pt x="246" y="656"/>
                    <a:pt x="246" y="656"/>
                    <a:pt x="246" y="656"/>
                  </a:cubicBezTo>
                  <a:cubicBezTo>
                    <a:pt x="246" y="656"/>
                    <a:pt x="246" y="656"/>
                    <a:pt x="246" y="656"/>
                  </a:cubicBezTo>
                  <a:cubicBezTo>
                    <a:pt x="246" y="656"/>
                    <a:pt x="246" y="656"/>
                    <a:pt x="246" y="656"/>
                  </a:cubicBezTo>
                  <a:cubicBezTo>
                    <a:pt x="246" y="656"/>
                    <a:pt x="246" y="656"/>
                    <a:pt x="247" y="656"/>
                  </a:cubicBezTo>
                  <a:cubicBezTo>
                    <a:pt x="247" y="657"/>
                    <a:pt x="247" y="657"/>
                    <a:pt x="247" y="657"/>
                  </a:cubicBezTo>
                  <a:cubicBezTo>
                    <a:pt x="247" y="657"/>
                    <a:pt x="248" y="659"/>
                    <a:pt x="248" y="660"/>
                  </a:cubicBezTo>
                  <a:cubicBezTo>
                    <a:pt x="248" y="660"/>
                    <a:pt x="249" y="660"/>
                    <a:pt x="250" y="660"/>
                  </a:cubicBezTo>
                  <a:cubicBezTo>
                    <a:pt x="250" y="660"/>
                    <a:pt x="250" y="661"/>
                    <a:pt x="250" y="661"/>
                  </a:cubicBezTo>
                  <a:cubicBezTo>
                    <a:pt x="250" y="662"/>
                    <a:pt x="250" y="662"/>
                    <a:pt x="250" y="662"/>
                  </a:cubicBezTo>
                  <a:cubicBezTo>
                    <a:pt x="250" y="662"/>
                    <a:pt x="250" y="662"/>
                    <a:pt x="251" y="662"/>
                  </a:cubicBezTo>
                  <a:cubicBezTo>
                    <a:pt x="251" y="662"/>
                    <a:pt x="251" y="663"/>
                    <a:pt x="251" y="663"/>
                  </a:cubicBezTo>
                  <a:cubicBezTo>
                    <a:pt x="251" y="663"/>
                    <a:pt x="251" y="663"/>
                    <a:pt x="251" y="663"/>
                  </a:cubicBezTo>
                  <a:cubicBezTo>
                    <a:pt x="251" y="663"/>
                    <a:pt x="251" y="664"/>
                    <a:pt x="251" y="664"/>
                  </a:cubicBezTo>
                  <a:cubicBezTo>
                    <a:pt x="251" y="664"/>
                    <a:pt x="251" y="663"/>
                    <a:pt x="251" y="663"/>
                  </a:cubicBezTo>
                  <a:cubicBezTo>
                    <a:pt x="251" y="663"/>
                    <a:pt x="251" y="664"/>
                    <a:pt x="251" y="664"/>
                  </a:cubicBezTo>
                  <a:cubicBezTo>
                    <a:pt x="251" y="665"/>
                    <a:pt x="251" y="666"/>
                    <a:pt x="252" y="667"/>
                  </a:cubicBezTo>
                  <a:cubicBezTo>
                    <a:pt x="252" y="667"/>
                    <a:pt x="252" y="667"/>
                    <a:pt x="252" y="667"/>
                  </a:cubicBezTo>
                  <a:cubicBezTo>
                    <a:pt x="252" y="667"/>
                    <a:pt x="252" y="668"/>
                    <a:pt x="253" y="668"/>
                  </a:cubicBezTo>
                  <a:cubicBezTo>
                    <a:pt x="253" y="668"/>
                    <a:pt x="253" y="668"/>
                    <a:pt x="254" y="669"/>
                  </a:cubicBezTo>
                  <a:cubicBezTo>
                    <a:pt x="254" y="669"/>
                    <a:pt x="254" y="669"/>
                    <a:pt x="254" y="669"/>
                  </a:cubicBezTo>
                  <a:cubicBezTo>
                    <a:pt x="257" y="671"/>
                    <a:pt x="259" y="673"/>
                    <a:pt x="262" y="675"/>
                  </a:cubicBezTo>
                  <a:cubicBezTo>
                    <a:pt x="262" y="675"/>
                    <a:pt x="262" y="676"/>
                    <a:pt x="263" y="676"/>
                  </a:cubicBezTo>
                  <a:cubicBezTo>
                    <a:pt x="263" y="676"/>
                    <a:pt x="263" y="676"/>
                    <a:pt x="263" y="676"/>
                  </a:cubicBezTo>
                  <a:cubicBezTo>
                    <a:pt x="265" y="677"/>
                    <a:pt x="268" y="679"/>
                    <a:pt x="270" y="681"/>
                  </a:cubicBezTo>
                  <a:cubicBezTo>
                    <a:pt x="270" y="681"/>
                    <a:pt x="270" y="680"/>
                    <a:pt x="270" y="680"/>
                  </a:cubicBezTo>
                  <a:cubicBezTo>
                    <a:pt x="270" y="677"/>
                    <a:pt x="270" y="675"/>
                    <a:pt x="273" y="673"/>
                  </a:cubicBezTo>
                  <a:cubicBezTo>
                    <a:pt x="273" y="672"/>
                    <a:pt x="274" y="672"/>
                    <a:pt x="275" y="672"/>
                  </a:cubicBezTo>
                  <a:cubicBezTo>
                    <a:pt x="275" y="672"/>
                    <a:pt x="275" y="672"/>
                    <a:pt x="275" y="672"/>
                  </a:cubicBezTo>
                  <a:cubicBezTo>
                    <a:pt x="275" y="671"/>
                    <a:pt x="275" y="671"/>
                    <a:pt x="275" y="671"/>
                  </a:cubicBezTo>
                  <a:cubicBezTo>
                    <a:pt x="275" y="671"/>
                    <a:pt x="275" y="671"/>
                    <a:pt x="275" y="671"/>
                  </a:cubicBezTo>
                  <a:cubicBezTo>
                    <a:pt x="275" y="671"/>
                    <a:pt x="274" y="670"/>
                    <a:pt x="275" y="670"/>
                  </a:cubicBezTo>
                  <a:cubicBezTo>
                    <a:pt x="275" y="670"/>
                    <a:pt x="275" y="670"/>
                    <a:pt x="275" y="670"/>
                  </a:cubicBezTo>
                  <a:cubicBezTo>
                    <a:pt x="277" y="671"/>
                    <a:pt x="277" y="669"/>
                    <a:pt x="276" y="668"/>
                  </a:cubicBezTo>
                  <a:cubicBezTo>
                    <a:pt x="276" y="668"/>
                    <a:pt x="276" y="668"/>
                    <a:pt x="276" y="668"/>
                  </a:cubicBezTo>
                  <a:cubicBezTo>
                    <a:pt x="276" y="667"/>
                    <a:pt x="276" y="667"/>
                    <a:pt x="276" y="667"/>
                  </a:cubicBezTo>
                  <a:cubicBezTo>
                    <a:pt x="277" y="667"/>
                    <a:pt x="277" y="668"/>
                    <a:pt x="278" y="668"/>
                  </a:cubicBezTo>
                  <a:cubicBezTo>
                    <a:pt x="278" y="668"/>
                    <a:pt x="278" y="668"/>
                    <a:pt x="278" y="668"/>
                  </a:cubicBezTo>
                  <a:cubicBezTo>
                    <a:pt x="278" y="668"/>
                    <a:pt x="279" y="668"/>
                    <a:pt x="279" y="668"/>
                  </a:cubicBezTo>
                  <a:cubicBezTo>
                    <a:pt x="280" y="668"/>
                    <a:pt x="281" y="666"/>
                    <a:pt x="281" y="666"/>
                  </a:cubicBezTo>
                  <a:cubicBezTo>
                    <a:pt x="282" y="665"/>
                    <a:pt x="283" y="663"/>
                    <a:pt x="285" y="662"/>
                  </a:cubicBezTo>
                  <a:cubicBezTo>
                    <a:pt x="284" y="664"/>
                    <a:pt x="284" y="665"/>
                    <a:pt x="283" y="667"/>
                  </a:cubicBezTo>
                  <a:cubicBezTo>
                    <a:pt x="284" y="667"/>
                    <a:pt x="285" y="667"/>
                    <a:pt x="286" y="668"/>
                  </a:cubicBezTo>
                  <a:cubicBezTo>
                    <a:pt x="284" y="668"/>
                    <a:pt x="281" y="669"/>
                    <a:pt x="280" y="671"/>
                  </a:cubicBezTo>
                  <a:cubicBezTo>
                    <a:pt x="280" y="671"/>
                    <a:pt x="281" y="671"/>
                    <a:pt x="281" y="671"/>
                  </a:cubicBezTo>
                  <a:cubicBezTo>
                    <a:pt x="281" y="672"/>
                    <a:pt x="281" y="673"/>
                    <a:pt x="281" y="673"/>
                  </a:cubicBezTo>
                  <a:cubicBezTo>
                    <a:pt x="281" y="674"/>
                    <a:pt x="281" y="674"/>
                    <a:pt x="281" y="674"/>
                  </a:cubicBezTo>
                  <a:cubicBezTo>
                    <a:pt x="280" y="675"/>
                    <a:pt x="280" y="675"/>
                    <a:pt x="280" y="675"/>
                  </a:cubicBezTo>
                  <a:cubicBezTo>
                    <a:pt x="279" y="675"/>
                    <a:pt x="279" y="674"/>
                    <a:pt x="278" y="673"/>
                  </a:cubicBezTo>
                  <a:cubicBezTo>
                    <a:pt x="277" y="673"/>
                    <a:pt x="276" y="673"/>
                    <a:pt x="275" y="673"/>
                  </a:cubicBezTo>
                  <a:cubicBezTo>
                    <a:pt x="275" y="673"/>
                    <a:pt x="275" y="673"/>
                    <a:pt x="274" y="673"/>
                  </a:cubicBezTo>
                  <a:cubicBezTo>
                    <a:pt x="274" y="673"/>
                    <a:pt x="274" y="673"/>
                    <a:pt x="274" y="673"/>
                  </a:cubicBezTo>
                  <a:cubicBezTo>
                    <a:pt x="274" y="673"/>
                    <a:pt x="274" y="673"/>
                    <a:pt x="274" y="673"/>
                  </a:cubicBezTo>
                  <a:cubicBezTo>
                    <a:pt x="274" y="674"/>
                    <a:pt x="274" y="674"/>
                    <a:pt x="274" y="674"/>
                  </a:cubicBezTo>
                  <a:cubicBezTo>
                    <a:pt x="274" y="675"/>
                    <a:pt x="274" y="676"/>
                    <a:pt x="274" y="677"/>
                  </a:cubicBezTo>
                  <a:cubicBezTo>
                    <a:pt x="274" y="677"/>
                    <a:pt x="274" y="678"/>
                    <a:pt x="274" y="678"/>
                  </a:cubicBezTo>
                  <a:cubicBezTo>
                    <a:pt x="274" y="679"/>
                    <a:pt x="274" y="679"/>
                    <a:pt x="274" y="679"/>
                  </a:cubicBezTo>
                  <a:cubicBezTo>
                    <a:pt x="273" y="680"/>
                    <a:pt x="273" y="680"/>
                    <a:pt x="272" y="680"/>
                  </a:cubicBezTo>
                  <a:cubicBezTo>
                    <a:pt x="272" y="681"/>
                    <a:pt x="272" y="681"/>
                    <a:pt x="272" y="681"/>
                  </a:cubicBezTo>
                  <a:cubicBezTo>
                    <a:pt x="272" y="681"/>
                    <a:pt x="272" y="681"/>
                    <a:pt x="272" y="682"/>
                  </a:cubicBezTo>
                  <a:cubicBezTo>
                    <a:pt x="272" y="682"/>
                    <a:pt x="272" y="682"/>
                    <a:pt x="272" y="683"/>
                  </a:cubicBezTo>
                  <a:cubicBezTo>
                    <a:pt x="271" y="684"/>
                    <a:pt x="271" y="684"/>
                    <a:pt x="272" y="685"/>
                  </a:cubicBezTo>
                  <a:cubicBezTo>
                    <a:pt x="272" y="685"/>
                    <a:pt x="273" y="685"/>
                    <a:pt x="273" y="685"/>
                  </a:cubicBezTo>
                  <a:cubicBezTo>
                    <a:pt x="273" y="685"/>
                    <a:pt x="273" y="685"/>
                    <a:pt x="273" y="685"/>
                  </a:cubicBezTo>
                  <a:cubicBezTo>
                    <a:pt x="274" y="686"/>
                    <a:pt x="275" y="685"/>
                    <a:pt x="275" y="684"/>
                  </a:cubicBezTo>
                  <a:cubicBezTo>
                    <a:pt x="275" y="684"/>
                    <a:pt x="275" y="684"/>
                    <a:pt x="276" y="684"/>
                  </a:cubicBezTo>
                  <a:cubicBezTo>
                    <a:pt x="276" y="684"/>
                    <a:pt x="277" y="683"/>
                    <a:pt x="278" y="682"/>
                  </a:cubicBezTo>
                  <a:cubicBezTo>
                    <a:pt x="278" y="682"/>
                    <a:pt x="278" y="682"/>
                    <a:pt x="278" y="682"/>
                  </a:cubicBezTo>
                  <a:cubicBezTo>
                    <a:pt x="277" y="683"/>
                    <a:pt x="276" y="684"/>
                    <a:pt x="276" y="684"/>
                  </a:cubicBezTo>
                  <a:cubicBezTo>
                    <a:pt x="275" y="685"/>
                    <a:pt x="274" y="685"/>
                    <a:pt x="274" y="686"/>
                  </a:cubicBezTo>
                  <a:cubicBezTo>
                    <a:pt x="274" y="686"/>
                    <a:pt x="274" y="686"/>
                    <a:pt x="274" y="687"/>
                  </a:cubicBezTo>
                  <a:cubicBezTo>
                    <a:pt x="273" y="687"/>
                    <a:pt x="273" y="687"/>
                    <a:pt x="273" y="687"/>
                  </a:cubicBezTo>
                  <a:cubicBezTo>
                    <a:pt x="273" y="687"/>
                    <a:pt x="273" y="687"/>
                    <a:pt x="273" y="688"/>
                  </a:cubicBezTo>
                  <a:cubicBezTo>
                    <a:pt x="273" y="688"/>
                    <a:pt x="273" y="688"/>
                    <a:pt x="273" y="689"/>
                  </a:cubicBezTo>
                  <a:cubicBezTo>
                    <a:pt x="273" y="689"/>
                    <a:pt x="274" y="690"/>
                    <a:pt x="274" y="691"/>
                  </a:cubicBezTo>
                  <a:cubicBezTo>
                    <a:pt x="275" y="691"/>
                    <a:pt x="275" y="691"/>
                    <a:pt x="275" y="691"/>
                  </a:cubicBezTo>
                  <a:cubicBezTo>
                    <a:pt x="276" y="692"/>
                    <a:pt x="277" y="693"/>
                    <a:pt x="278" y="693"/>
                  </a:cubicBezTo>
                  <a:cubicBezTo>
                    <a:pt x="279" y="693"/>
                    <a:pt x="280" y="693"/>
                    <a:pt x="281" y="693"/>
                  </a:cubicBezTo>
                  <a:cubicBezTo>
                    <a:pt x="281" y="693"/>
                    <a:pt x="281" y="693"/>
                    <a:pt x="281" y="693"/>
                  </a:cubicBezTo>
                  <a:cubicBezTo>
                    <a:pt x="281" y="693"/>
                    <a:pt x="281" y="692"/>
                    <a:pt x="281" y="692"/>
                  </a:cubicBezTo>
                  <a:cubicBezTo>
                    <a:pt x="281" y="692"/>
                    <a:pt x="281" y="692"/>
                    <a:pt x="282" y="692"/>
                  </a:cubicBezTo>
                  <a:cubicBezTo>
                    <a:pt x="282" y="691"/>
                    <a:pt x="282" y="691"/>
                    <a:pt x="282" y="691"/>
                  </a:cubicBezTo>
                  <a:cubicBezTo>
                    <a:pt x="282" y="691"/>
                    <a:pt x="283" y="692"/>
                    <a:pt x="283" y="693"/>
                  </a:cubicBezTo>
                  <a:cubicBezTo>
                    <a:pt x="284" y="693"/>
                    <a:pt x="284" y="694"/>
                    <a:pt x="285" y="694"/>
                  </a:cubicBezTo>
                  <a:cubicBezTo>
                    <a:pt x="284" y="695"/>
                    <a:pt x="283" y="695"/>
                    <a:pt x="283" y="695"/>
                  </a:cubicBezTo>
                  <a:cubicBezTo>
                    <a:pt x="282" y="695"/>
                    <a:pt x="282" y="696"/>
                    <a:pt x="282" y="696"/>
                  </a:cubicBezTo>
                  <a:cubicBezTo>
                    <a:pt x="282" y="696"/>
                    <a:pt x="282" y="696"/>
                    <a:pt x="282" y="696"/>
                  </a:cubicBezTo>
                  <a:cubicBezTo>
                    <a:pt x="282" y="696"/>
                    <a:pt x="282" y="696"/>
                    <a:pt x="282" y="697"/>
                  </a:cubicBezTo>
                  <a:cubicBezTo>
                    <a:pt x="282" y="697"/>
                    <a:pt x="282" y="697"/>
                    <a:pt x="282" y="698"/>
                  </a:cubicBezTo>
                  <a:cubicBezTo>
                    <a:pt x="282" y="698"/>
                    <a:pt x="282" y="698"/>
                    <a:pt x="282" y="698"/>
                  </a:cubicBezTo>
                  <a:cubicBezTo>
                    <a:pt x="281" y="697"/>
                    <a:pt x="280" y="697"/>
                    <a:pt x="280" y="697"/>
                  </a:cubicBezTo>
                  <a:cubicBezTo>
                    <a:pt x="280" y="697"/>
                    <a:pt x="280" y="697"/>
                    <a:pt x="280" y="697"/>
                  </a:cubicBezTo>
                  <a:cubicBezTo>
                    <a:pt x="280" y="697"/>
                    <a:pt x="280" y="697"/>
                    <a:pt x="280" y="697"/>
                  </a:cubicBezTo>
                  <a:cubicBezTo>
                    <a:pt x="281" y="698"/>
                    <a:pt x="283" y="698"/>
                    <a:pt x="284" y="699"/>
                  </a:cubicBezTo>
                  <a:cubicBezTo>
                    <a:pt x="285" y="699"/>
                    <a:pt x="285" y="699"/>
                    <a:pt x="285" y="699"/>
                  </a:cubicBezTo>
                  <a:cubicBezTo>
                    <a:pt x="285" y="700"/>
                    <a:pt x="286" y="700"/>
                    <a:pt x="286" y="700"/>
                  </a:cubicBezTo>
                  <a:cubicBezTo>
                    <a:pt x="286" y="700"/>
                    <a:pt x="287" y="700"/>
                    <a:pt x="287" y="700"/>
                  </a:cubicBezTo>
                  <a:cubicBezTo>
                    <a:pt x="287" y="700"/>
                    <a:pt x="287" y="700"/>
                    <a:pt x="287" y="700"/>
                  </a:cubicBezTo>
                  <a:cubicBezTo>
                    <a:pt x="287" y="700"/>
                    <a:pt x="287" y="700"/>
                    <a:pt x="287" y="700"/>
                  </a:cubicBezTo>
                  <a:cubicBezTo>
                    <a:pt x="287" y="700"/>
                    <a:pt x="287" y="700"/>
                    <a:pt x="287" y="700"/>
                  </a:cubicBezTo>
                  <a:cubicBezTo>
                    <a:pt x="287" y="700"/>
                    <a:pt x="287" y="700"/>
                    <a:pt x="287" y="700"/>
                  </a:cubicBezTo>
                  <a:cubicBezTo>
                    <a:pt x="287" y="699"/>
                    <a:pt x="287" y="699"/>
                    <a:pt x="287" y="699"/>
                  </a:cubicBezTo>
                  <a:cubicBezTo>
                    <a:pt x="287" y="699"/>
                    <a:pt x="287" y="698"/>
                    <a:pt x="287" y="698"/>
                  </a:cubicBezTo>
                  <a:cubicBezTo>
                    <a:pt x="287" y="698"/>
                    <a:pt x="287" y="698"/>
                    <a:pt x="287" y="698"/>
                  </a:cubicBezTo>
                  <a:cubicBezTo>
                    <a:pt x="288" y="699"/>
                    <a:pt x="288" y="700"/>
                    <a:pt x="289" y="700"/>
                  </a:cubicBezTo>
                  <a:cubicBezTo>
                    <a:pt x="289" y="700"/>
                    <a:pt x="289" y="700"/>
                    <a:pt x="289" y="700"/>
                  </a:cubicBezTo>
                  <a:cubicBezTo>
                    <a:pt x="289" y="701"/>
                    <a:pt x="289" y="701"/>
                    <a:pt x="289" y="701"/>
                  </a:cubicBezTo>
                  <a:cubicBezTo>
                    <a:pt x="289" y="701"/>
                    <a:pt x="288" y="701"/>
                    <a:pt x="288" y="701"/>
                  </a:cubicBezTo>
                  <a:cubicBezTo>
                    <a:pt x="288" y="701"/>
                    <a:pt x="288" y="701"/>
                    <a:pt x="288" y="701"/>
                  </a:cubicBezTo>
                  <a:cubicBezTo>
                    <a:pt x="288" y="701"/>
                    <a:pt x="288" y="701"/>
                    <a:pt x="288" y="701"/>
                  </a:cubicBezTo>
                  <a:cubicBezTo>
                    <a:pt x="288" y="701"/>
                    <a:pt x="288" y="702"/>
                    <a:pt x="288" y="702"/>
                  </a:cubicBezTo>
                  <a:cubicBezTo>
                    <a:pt x="288" y="702"/>
                    <a:pt x="289" y="702"/>
                    <a:pt x="289" y="702"/>
                  </a:cubicBezTo>
                  <a:cubicBezTo>
                    <a:pt x="290" y="702"/>
                    <a:pt x="290" y="702"/>
                    <a:pt x="291" y="701"/>
                  </a:cubicBezTo>
                  <a:cubicBezTo>
                    <a:pt x="292" y="701"/>
                    <a:pt x="292" y="701"/>
                    <a:pt x="293" y="701"/>
                  </a:cubicBezTo>
                  <a:cubicBezTo>
                    <a:pt x="293" y="701"/>
                    <a:pt x="293" y="701"/>
                    <a:pt x="293" y="701"/>
                  </a:cubicBezTo>
                  <a:cubicBezTo>
                    <a:pt x="293" y="701"/>
                    <a:pt x="293" y="701"/>
                    <a:pt x="293" y="701"/>
                  </a:cubicBezTo>
                  <a:cubicBezTo>
                    <a:pt x="294" y="700"/>
                    <a:pt x="294" y="700"/>
                    <a:pt x="294" y="700"/>
                  </a:cubicBezTo>
                  <a:cubicBezTo>
                    <a:pt x="294" y="700"/>
                    <a:pt x="294" y="700"/>
                    <a:pt x="294" y="700"/>
                  </a:cubicBezTo>
                  <a:cubicBezTo>
                    <a:pt x="295" y="700"/>
                    <a:pt x="295" y="699"/>
                    <a:pt x="295" y="699"/>
                  </a:cubicBezTo>
                  <a:cubicBezTo>
                    <a:pt x="295" y="699"/>
                    <a:pt x="296" y="698"/>
                    <a:pt x="296" y="697"/>
                  </a:cubicBezTo>
                  <a:cubicBezTo>
                    <a:pt x="296" y="698"/>
                    <a:pt x="297" y="698"/>
                    <a:pt x="298" y="698"/>
                  </a:cubicBezTo>
                  <a:cubicBezTo>
                    <a:pt x="296" y="699"/>
                    <a:pt x="296" y="699"/>
                    <a:pt x="296" y="700"/>
                  </a:cubicBezTo>
                  <a:cubicBezTo>
                    <a:pt x="296" y="701"/>
                    <a:pt x="296" y="702"/>
                    <a:pt x="296" y="703"/>
                  </a:cubicBezTo>
                  <a:cubicBezTo>
                    <a:pt x="295" y="705"/>
                    <a:pt x="294" y="706"/>
                    <a:pt x="294" y="708"/>
                  </a:cubicBezTo>
                  <a:cubicBezTo>
                    <a:pt x="294" y="708"/>
                    <a:pt x="294" y="708"/>
                    <a:pt x="294" y="708"/>
                  </a:cubicBezTo>
                  <a:cubicBezTo>
                    <a:pt x="293" y="709"/>
                    <a:pt x="293" y="709"/>
                    <a:pt x="292" y="710"/>
                  </a:cubicBezTo>
                  <a:cubicBezTo>
                    <a:pt x="292" y="711"/>
                    <a:pt x="292" y="712"/>
                    <a:pt x="293" y="712"/>
                  </a:cubicBezTo>
                  <a:cubicBezTo>
                    <a:pt x="293" y="712"/>
                    <a:pt x="293" y="713"/>
                    <a:pt x="293" y="713"/>
                  </a:cubicBezTo>
                  <a:cubicBezTo>
                    <a:pt x="293" y="713"/>
                    <a:pt x="293" y="713"/>
                    <a:pt x="293" y="712"/>
                  </a:cubicBezTo>
                  <a:cubicBezTo>
                    <a:pt x="293" y="712"/>
                    <a:pt x="293" y="712"/>
                    <a:pt x="293" y="712"/>
                  </a:cubicBezTo>
                  <a:cubicBezTo>
                    <a:pt x="293" y="712"/>
                    <a:pt x="293" y="712"/>
                    <a:pt x="293" y="712"/>
                  </a:cubicBezTo>
                  <a:cubicBezTo>
                    <a:pt x="293" y="712"/>
                    <a:pt x="293" y="713"/>
                    <a:pt x="293" y="713"/>
                  </a:cubicBezTo>
                  <a:cubicBezTo>
                    <a:pt x="293" y="714"/>
                    <a:pt x="292" y="714"/>
                    <a:pt x="291" y="715"/>
                  </a:cubicBezTo>
                  <a:cubicBezTo>
                    <a:pt x="291" y="715"/>
                    <a:pt x="291" y="715"/>
                    <a:pt x="291" y="716"/>
                  </a:cubicBezTo>
                  <a:cubicBezTo>
                    <a:pt x="291" y="716"/>
                    <a:pt x="291" y="716"/>
                    <a:pt x="291" y="716"/>
                  </a:cubicBezTo>
                  <a:cubicBezTo>
                    <a:pt x="291" y="716"/>
                    <a:pt x="291" y="716"/>
                    <a:pt x="291" y="716"/>
                  </a:cubicBezTo>
                  <a:cubicBezTo>
                    <a:pt x="291" y="716"/>
                    <a:pt x="291" y="716"/>
                    <a:pt x="291" y="716"/>
                  </a:cubicBezTo>
                  <a:cubicBezTo>
                    <a:pt x="290" y="717"/>
                    <a:pt x="290" y="717"/>
                    <a:pt x="290" y="717"/>
                  </a:cubicBezTo>
                  <a:cubicBezTo>
                    <a:pt x="292" y="717"/>
                    <a:pt x="293" y="716"/>
                    <a:pt x="294" y="715"/>
                  </a:cubicBezTo>
                  <a:cubicBezTo>
                    <a:pt x="294" y="715"/>
                    <a:pt x="294" y="715"/>
                    <a:pt x="294" y="716"/>
                  </a:cubicBezTo>
                  <a:cubicBezTo>
                    <a:pt x="294" y="716"/>
                    <a:pt x="294" y="716"/>
                    <a:pt x="294" y="716"/>
                  </a:cubicBezTo>
                  <a:cubicBezTo>
                    <a:pt x="293" y="716"/>
                    <a:pt x="293" y="717"/>
                    <a:pt x="293" y="717"/>
                  </a:cubicBezTo>
                  <a:cubicBezTo>
                    <a:pt x="294" y="718"/>
                    <a:pt x="295" y="719"/>
                    <a:pt x="296" y="720"/>
                  </a:cubicBezTo>
                  <a:cubicBezTo>
                    <a:pt x="296" y="720"/>
                    <a:pt x="296" y="721"/>
                    <a:pt x="296" y="721"/>
                  </a:cubicBezTo>
                  <a:cubicBezTo>
                    <a:pt x="296" y="721"/>
                    <a:pt x="296" y="721"/>
                    <a:pt x="296" y="722"/>
                  </a:cubicBezTo>
                  <a:cubicBezTo>
                    <a:pt x="297" y="722"/>
                    <a:pt x="298" y="722"/>
                    <a:pt x="298" y="720"/>
                  </a:cubicBezTo>
                  <a:cubicBezTo>
                    <a:pt x="299" y="719"/>
                    <a:pt x="299" y="717"/>
                    <a:pt x="300" y="715"/>
                  </a:cubicBezTo>
                  <a:cubicBezTo>
                    <a:pt x="300" y="715"/>
                    <a:pt x="300" y="715"/>
                    <a:pt x="301" y="715"/>
                  </a:cubicBezTo>
                  <a:cubicBezTo>
                    <a:pt x="302" y="713"/>
                    <a:pt x="300" y="714"/>
                    <a:pt x="301" y="713"/>
                  </a:cubicBezTo>
                  <a:cubicBezTo>
                    <a:pt x="301" y="712"/>
                    <a:pt x="301" y="711"/>
                    <a:pt x="301" y="710"/>
                  </a:cubicBezTo>
                  <a:cubicBezTo>
                    <a:pt x="302" y="711"/>
                    <a:pt x="302" y="711"/>
                    <a:pt x="302" y="711"/>
                  </a:cubicBezTo>
                  <a:cubicBezTo>
                    <a:pt x="302" y="712"/>
                    <a:pt x="302" y="712"/>
                    <a:pt x="302" y="712"/>
                  </a:cubicBezTo>
                  <a:cubicBezTo>
                    <a:pt x="301" y="713"/>
                    <a:pt x="301" y="714"/>
                    <a:pt x="301" y="714"/>
                  </a:cubicBezTo>
                  <a:cubicBezTo>
                    <a:pt x="302" y="715"/>
                    <a:pt x="302" y="715"/>
                    <a:pt x="302" y="715"/>
                  </a:cubicBezTo>
                  <a:cubicBezTo>
                    <a:pt x="301" y="715"/>
                    <a:pt x="301" y="715"/>
                    <a:pt x="301" y="716"/>
                  </a:cubicBezTo>
                  <a:cubicBezTo>
                    <a:pt x="301" y="717"/>
                    <a:pt x="301" y="718"/>
                    <a:pt x="302" y="719"/>
                  </a:cubicBezTo>
                  <a:cubicBezTo>
                    <a:pt x="306" y="717"/>
                    <a:pt x="303" y="714"/>
                    <a:pt x="308" y="717"/>
                  </a:cubicBezTo>
                  <a:cubicBezTo>
                    <a:pt x="308" y="717"/>
                    <a:pt x="308" y="716"/>
                    <a:pt x="309" y="716"/>
                  </a:cubicBezTo>
                  <a:cubicBezTo>
                    <a:pt x="309" y="716"/>
                    <a:pt x="309" y="716"/>
                    <a:pt x="309" y="716"/>
                  </a:cubicBezTo>
                  <a:cubicBezTo>
                    <a:pt x="310" y="715"/>
                    <a:pt x="312" y="714"/>
                    <a:pt x="313" y="713"/>
                  </a:cubicBezTo>
                  <a:cubicBezTo>
                    <a:pt x="313" y="713"/>
                    <a:pt x="314" y="713"/>
                    <a:pt x="314" y="713"/>
                  </a:cubicBezTo>
                  <a:cubicBezTo>
                    <a:pt x="315" y="712"/>
                    <a:pt x="315" y="712"/>
                    <a:pt x="316" y="711"/>
                  </a:cubicBezTo>
                  <a:cubicBezTo>
                    <a:pt x="316" y="711"/>
                    <a:pt x="316" y="709"/>
                    <a:pt x="317" y="709"/>
                  </a:cubicBezTo>
                  <a:cubicBezTo>
                    <a:pt x="318" y="707"/>
                    <a:pt x="320" y="707"/>
                    <a:pt x="321" y="706"/>
                  </a:cubicBezTo>
                  <a:cubicBezTo>
                    <a:pt x="322" y="705"/>
                    <a:pt x="322" y="705"/>
                    <a:pt x="322" y="705"/>
                  </a:cubicBezTo>
                  <a:cubicBezTo>
                    <a:pt x="322" y="705"/>
                    <a:pt x="322" y="704"/>
                    <a:pt x="322" y="704"/>
                  </a:cubicBezTo>
                  <a:cubicBezTo>
                    <a:pt x="322" y="704"/>
                    <a:pt x="322" y="704"/>
                    <a:pt x="322" y="704"/>
                  </a:cubicBezTo>
                  <a:cubicBezTo>
                    <a:pt x="322" y="704"/>
                    <a:pt x="322" y="704"/>
                    <a:pt x="322" y="704"/>
                  </a:cubicBezTo>
                  <a:cubicBezTo>
                    <a:pt x="323" y="702"/>
                    <a:pt x="321" y="700"/>
                    <a:pt x="320" y="699"/>
                  </a:cubicBezTo>
                  <a:cubicBezTo>
                    <a:pt x="321" y="699"/>
                    <a:pt x="321" y="699"/>
                    <a:pt x="322" y="700"/>
                  </a:cubicBezTo>
                  <a:cubicBezTo>
                    <a:pt x="322" y="700"/>
                    <a:pt x="322" y="700"/>
                    <a:pt x="322" y="700"/>
                  </a:cubicBezTo>
                  <a:cubicBezTo>
                    <a:pt x="323" y="702"/>
                    <a:pt x="323" y="703"/>
                    <a:pt x="323" y="705"/>
                  </a:cubicBezTo>
                  <a:cubicBezTo>
                    <a:pt x="322" y="707"/>
                    <a:pt x="322" y="706"/>
                    <a:pt x="321" y="707"/>
                  </a:cubicBezTo>
                  <a:cubicBezTo>
                    <a:pt x="320" y="708"/>
                    <a:pt x="318" y="708"/>
                    <a:pt x="317" y="710"/>
                  </a:cubicBezTo>
                  <a:cubicBezTo>
                    <a:pt x="317" y="710"/>
                    <a:pt x="317" y="711"/>
                    <a:pt x="317" y="711"/>
                  </a:cubicBezTo>
                  <a:cubicBezTo>
                    <a:pt x="316" y="714"/>
                    <a:pt x="320" y="716"/>
                    <a:pt x="322" y="715"/>
                  </a:cubicBezTo>
                  <a:cubicBezTo>
                    <a:pt x="324" y="715"/>
                    <a:pt x="325" y="714"/>
                    <a:pt x="326" y="714"/>
                  </a:cubicBezTo>
                  <a:cubicBezTo>
                    <a:pt x="327" y="714"/>
                    <a:pt x="327" y="714"/>
                    <a:pt x="328" y="714"/>
                  </a:cubicBezTo>
                  <a:cubicBezTo>
                    <a:pt x="327" y="715"/>
                    <a:pt x="326" y="715"/>
                    <a:pt x="325" y="715"/>
                  </a:cubicBezTo>
                  <a:cubicBezTo>
                    <a:pt x="325" y="715"/>
                    <a:pt x="325" y="715"/>
                    <a:pt x="325" y="715"/>
                  </a:cubicBezTo>
                  <a:cubicBezTo>
                    <a:pt x="324" y="716"/>
                    <a:pt x="324" y="716"/>
                    <a:pt x="324" y="717"/>
                  </a:cubicBezTo>
                  <a:cubicBezTo>
                    <a:pt x="323" y="718"/>
                    <a:pt x="324" y="719"/>
                    <a:pt x="325" y="721"/>
                  </a:cubicBezTo>
                  <a:cubicBezTo>
                    <a:pt x="325" y="721"/>
                    <a:pt x="325" y="721"/>
                    <a:pt x="325" y="721"/>
                  </a:cubicBezTo>
                  <a:cubicBezTo>
                    <a:pt x="324" y="719"/>
                    <a:pt x="322" y="717"/>
                    <a:pt x="320" y="717"/>
                  </a:cubicBezTo>
                  <a:cubicBezTo>
                    <a:pt x="318" y="716"/>
                    <a:pt x="317" y="718"/>
                    <a:pt x="315" y="719"/>
                  </a:cubicBezTo>
                  <a:cubicBezTo>
                    <a:pt x="314" y="720"/>
                    <a:pt x="313" y="719"/>
                    <a:pt x="312" y="720"/>
                  </a:cubicBezTo>
                  <a:cubicBezTo>
                    <a:pt x="312" y="721"/>
                    <a:pt x="312" y="721"/>
                    <a:pt x="312" y="721"/>
                  </a:cubicBezTo>
                  <a:cubicBezTo>
                    <a:pt x="312" y="721"/>
                    <a:pt x="312" y="721"/>
                    <a:pt x="312" y="721"/>
                  </a:cubicBezTo>
                  <a:cubicBezTo>
                    <a:pt x="312" y="722"/>
                    <a:pt x="312" y="722"/>
                    <a:pt x="313" y="723"/>
                  </a:cubicBezTo>
                  <a:cubicBezTo>
                    <a:pt x="313" y="723"/>
                    <a:pt x="313" y="723"/>
                    <a:pt x="312" y="723"/>
                  </a:cubicBezTo>
                  <a:cubicBezTo>
                    <a:pt x="312" y="724"/>
                    <a:pt x="309" y="723"/>
                    <a:pt x="308" y="725"/>
                  </a:cubicBezTo>
                  <a:cubicBezTo>
                    <a:pt x="308" y="724"/>
                    <a:pt x="315" y="720"/>
                    <a:pt x="309" y="723"/>
                  </a:cubicBezTo>
                  <a:cubicBezTo>
                    <a:pt x="307" y="723"/>
                    <a:pt x="308" y="725"/>
                    <a:pt x="307" y="726"/>
                  </a:cubicBezTo>
                  <a:cubicBezTo>
                    <a:pt x="306" y="728"/>
                    <a:pt x="306" y="727"/>
                    <a:pt x="304" y="728"/>
                  </a:cubicBezTo>
                  <a:cubicBezTo>
                    <a:pt x="302" y="729"/>
                    <a:pt x="302" y="730"/>
                    <a:pt x="302" y="731"/>
                  </a:cubicBezTo>
                  <a:cubicBezTo>
                    <a:pt x="301" y="734"/>
                    <a:pt x="302" y="740"/>
                    <a:pt x="304" y="741"/>
                  </a:cubicBezTo>
                  <a:cubicBezTo>
                    <a:pt x="304" y="742"/>
                    <a:pt x="305" y="742"/>
                    <a:pt x="306" y="742"/>
                  </a:cubicBezTo>
                  <a:cubicBezTo>
                    <a:pt x="307" y="742"/>
                    <a:pt x="308" y="742"/>
                    <a:pt x="309" y="741"/>
                  </a:cubicBezTo>
                  <a:cubicBezTo>
                    <a:pt x="309" y="741"/>
                    <a:pt x="309" y="741"/>
                    <a:pt x="309" y="741"/>
                  </a:cubicBezTo>
                  <a:cubicBezTo>
                    <a:pt x="309" y="740"/>
                    <a:pt x="309" y="740"/>
                    <a:pt x="309" y="740"/>
                  </a:cubicBezTo>
                  <a:cubicBezTo>
                    <a:pt x="309" y="740"/>
                    <a:pt x="308" y="740"/>
                    <a:pt x="309" y="740"/>
                  </a:cubicBezTo>
                  <a:cubicBezTo>
                    <a:pt x="309" y="739"/>
                    <a:pt x="309" y="739"/>
                    <a:pt x="309" y="738"/>
                  </a:cubicBezTo>
                  <a:cubicBezTo>
                    <a:pt x="310" y="737"/>
                    <a:pt x="311" y="738"/>
                    <a:pt x="311" y="737"/>
                  </a:cubicBezTo>
                  <a:cubicBezTo>
                    <a:pt x="311" y="736"/>
                    <a:pt x="311" y="735"/>
                    <a:pt x="311" y="734"/>
                  </a:cubicBezTo>
                  <a:cubicBezTo>
                    <a:pt x="312" y="733"/>
                    <a:pt x="313" y="733"/>
                    <a:pt x="313" y="733"/>
                  </a:cubicBezTo>
                  <a:cubicBezTo>
                    <a:pt x="313" y="732"/>
                    <a:pt x="314" y="731"/>
                    <a:pt x="314" y="731"/>
                  </a:cubicBezTo>
                  <a:cubicBezTo>
                    <a:pt x="314" y="733"/>
                    <a:pt x="312" y="734"/>
                    <a:pt x="312" y="736"/>
                  </a:cubicBezTo>
                  <a:cubicBezTo>
                    <a:pt x="313" y="736"/>
                    <a:pt x="314" y="736"/>
                    <a:pt x="315" y="736"/>
                  </a:cubicBezTo>
                  <a:cubicBezTo>
                    <a:pt x="315" y="736"/>
                    <a:pt x="316" y="736"/>
                    <a:pt x="317" y="736"/>
                  </a:cubicBezTo>
                  <a:cubicBezTo>
                    <a:pt x="317" y="736"/>
                    <a:pt x="318" y="736"/>
                    <a:pt x="319" y="736"/>
                  </a:cubicBezTo>
                  <a:cubicBezTo>
                    <a:pt x="319" y="736"/>
                    <a:pt x="319" y="736"/>
                    <a:pt x="320" y="736"/>
                  </a:cubicBezTo>
                  <a:cubicBezTo>
                    <a:pt x="321" y="736"/>
                    <a:pt x="322" y="736"/>
                    <a:pt x="323" y="736"/>
                  </a:cubicBezTo>
                  <a:cubicBezTo>
                    <a:pt x="324" y="736"/>
                    <a:pt x="326" y="737"/>
                    <a:pt x="327" y="736"/>
                  </a:cubicBezTo>
                  <a:cubicBezTo>
                    <a:pt x="328" y="736"/>
                    <a:pt x="329" y="736"/>
                    <a:pt x="330" y="736"/>
                  </a:cubicBezTo>
                  <a:cubicBezTo>
                    <a:pt x="329" y="737"/>
                    <a:pt x="328" y="737"/>
                    <a:pt x="325" y="737"/>
                  </a:cubicBezTo>
                  <a:cubicBezTo>
                    <a:pt x="323" y="737"/>
                    <a:pt x="322" y="737"/>
                    <a:pt x="321" y="737"/>
                  </a:cubicBezTo>
                  <a:cubicBezTo>
                    <a:pt x="319" y="737"/>
                    <a:pt x="315" y="736"/>
                    <a:pt x="312" y="737"/>
                  </a:cubicBezTo>
                  <a:cubicBezTo>
                    <a:pt x="312" y="738"/>
                    <a:pt x="311" y="738"/>
                    <a:pt x="311" y="738"/>
                  </a:cubicBezTo>
                  <a:cubicBezTo>
                    <a:pt x="311" y="738"/>
                    <a:pt x="310" y="739"/>
                    <a:pt x="310" y="739"/>
                  </a:cubicBezTo>
                  <a:cubicBezTo>
                    <a:pt x="309" y="741"/>
                    <a:pt x="309" y="742"/>
                    <a:pt x="307" y="744"/>
                  </a:cubicBezTo>
                  <a:cubicBezTo>
                    <a:pt x="307" y="744"/>
                    <a:pt x="306" y="745"/>
                    <a:pt x="306" y="745"/>
                  </a:cubicBezTo>
                  <a:cubicBezTo>
                    <a:pt x="305" y="745"/>
                    <a:pt x="304" y="746"/>
                    <a:pt x="304" y="746"/>
                  </a:cubicBezTo>
                  <a:cubicBezTo>
                    <a:pt x="304" y="746"/>
                    <a:pt x="304" y="747"/>
                    <a:pt x="304" y="747"/>
                  </a:cubicBezTo>
                  <a:cubicBezTo>
                    <a:pt x="305" y="747"/>
                    <a:pt x="305" y="747"/>
                    <a:pt x="305" y="747"/>
                  </a:cubicBezTo>
                  <a:cubicBezTo>
                    <a:pt x="306" y="747"/>
                    <a:pt x="308" y="747"/>
                    <a:pt x="309" y="747"/>
                  </a:cubicBezTo>
                  <a:cubicBezTo>
                    <a:pt x="310" y="747"/>
                    <a:pt x="310" y="747"/>
                    <a:pt x="311" y="747"/>
                  </a:cubicBezTo>
                  <a:cubicBezTo>
                    <a:pt x="311" y="747"/>
                    <a:pt x="312" y="747"/>
                    <a:pt x="312" y="747"/>
                  </a:cubicBezTo>
                  <a:cubicBezTo>
                    <a:pt x="313" y="747"/>
                    <a:pt x="313" y="747"/>
                    <a:pt x="314" y="748"/>
                  </a:cubicBezTo>
                  <a:cubicBezTo>
                    <a:pt x="315" y="748"/>
                    <a:pt x="317" y="748"/>
                    <a:pt x="318" y="747"/>
                  </a:cubicBezTo>
                  <a:cubicBezTo>
                    <a:pt x="318" y="746"/>
                    <a:pt x="319" y="746"/>
                    <a:pt x="319" y="745"/>
                  </a:cubicBezTo>
                  <a:cubicBezTo>
                    <a:pt x="319" y="746"/>
                    <a:pt x="319" y="746"/>
                    <a:pt x="319" y="747"/>
                  </a:cubicBezTo>
                  <a:cubicBezTo>
                    <a:pt x="319" y="747"/>
                    <a:pt x="318" y="747"/>
                    <a:pt x="318" y="747"/>
                  </a:cubicBezTo>
                  <a:cubicBezTo>
                    <a:pt x="318" y="747"/>
                    <a:pt x="318" y="747"/>
                    <a:pt x="318" y="748"/>
                  </a:cubicBezTo>
                  <a:cubicBezTo>
                    <a:pt x="318" y="748"/>
                    <a:pt x="318" y="748"/>
                    <a:pt x="317" y="748"/>
                  </a:cubicBezTo>
                  <a:cubicBezTo>
                    <a:pt x="317" y="748"/>
                    <a:pt x="317" y="748"/>
                    <a:pt x="316" y="748"/>
                  </a:cubicBezTo>
                  <a:cubicBezTo>
                    <a:pt x="314" y="749"/>
                    <a:pt x="312" y="748"/>
                    <a:pt x="310" y="748"/>
                  </a:cubicBezTo>
                  <a:cubicBezTo>
                    <a:pt x="310" y="748"/>
                    <a:pt x="309" y="748"/>
                    <a:pt x="309" y="748"/>
                  </a:cubicBezTo>
                  <a:cubicBezTo>
                    <a:pt x="308" y="748"/>
                    <a:pt x="307" y="748"/>
                    <a:pt x="306" y="749"/>
                  </a:cubicBezTo>
                  <a:cubicBezTo>
                    <a:pt x="305" y="749"/>
                    <a:pt x="305" y="749"/>
                    <a:pt x="305" y="749"/>
                  </a:cubicBezTo>
                  <a:cubicBezTo>
                    <a:pt x="303" y="749"/>
                    <a:pt x="301" y="749"/>
                    <a:pt x="301" y="748"/>
                  </a:cubicBezTo>
                  <a:cubicBezTo>
                    <a:pt x="298" y="748"/>
                    <a:pt x="292" y="750"/>
                    <a:pt x="289" y="751"/>
                  </a:cubicBezTo>
                  <a:cubicBezTo>
                    <a:pt x="290" y="754"/>
                    <a:pt x="292" y="758"/>
                    <a:pt x="295" y="760"/>
                  </a:cubicBezTo>
                  <a:cubicBezTo>
                    <a:pt x="297" y="761"/>
                    <a:pt x="300" y="760"/>
                    <a:pt x="302" y="760"/>
                  </a:cubicBezTo>
                  <a:cubicBezTo>
                    <a:pt x="304" y="759"/>
                    <a:pt x="311" y="759"/>
                    <a:pt x="307" y="757"/>
                  </a:cubicBezTo>
                  <a:cubicBezTo>
                    <a:pt x="308" y="757"/>
                    <a:pt x="309" y="757"/>
                    <a:pt x="311" y="757"/>
                  </a:cubicBezTo>
                  <a:cubicBezTo>
                    <a:pt x="311" y="757"/>
                    <a:pt x="311" y="757"/>
                    <a:pt x="311" y="757"/>
                  </a:cubicBezTo>
                  <a:cubicBezTo>
                    <a:pt x="310" y="759"/>
                    <a:pt x="309" y="758"/>
                    <a:pt x="310" y="760"/>
                  </a:cubicBezTo>
                  <a:cubicBezTo>
                    <a:pt x="310" y="761"/>
                    <a:pt x="311" y="763"/>
                    <a:pt x="312" y="764"/>
                  </a:cubicBezTo>
                  <a:cubicBezTo>
                    <a:pt x="308" y="762"/>
                    <a:pt x="307" y="760"/>
                    <a:pt x="304" y="761"/>
                  </a:cubicBezTo>
                  <a:cubicBezTo>
                    <a:pt x="302" y="761"/>
                    <a:pt x="301" y="761"/>
                    <a:pt x="301" y="762"/>
                  </a:cubicBezTo>
                  <a:cubicBezTo>
                    <a:pt x="298" y="765"/>
                    <a:pt x="301" y="765"/>
                    <a:pt x="303" y="768"/>
                  </a:cubicBezTo>
                  <a:cubicBezTo>
                    <a:pt x="304" y="769"/>
                    <a:pt x="302" y="771"/>
                    <a:pt x="301" y="771"/>
                  </a:cubicBezTo>
                  <a:cubicBezTo>
                    <a:pt x="303" y="771"/>
                    <a:pt x="305" y="770"/>
                    <a:pt x="307" y="770"/>
                  </a:cubicBezTo>
                  <a:cubicBezTo>
                    <a:pt x="307" y="770"/>
                    <a:pt x="311" y="770"/>
                    <a:pt x="311" y="770"/>
                  </a:cubicBezTo>
                  <a:cubicBezTo>
                    <a:pt x="312" y="771"/>
                    <a:pt x="310" y="773"/>
                    <a:pt x="312" y="773"/>
                  </a:cubicBezTo>
                  <a:cubicBezTo>
                    <a:pt x="314" y="774"/>
                    <a:pt x="316" y="772"/>
                    <a:pt x="315" y="771"/>
                  </a:cubicBezTo>
                  <a:cubicBezTo>
                    <a:pt x="317" y="771"/>
                    <a:pt x="318" y="772"/>
                    <a:pt x="319" y="772"/>
                  </a:cubicBezTo>
                  <a:cubicBezTo>
                    <a:pt x="318" y="773"/>
                    <a:pt x="317" y="776"/>
                    <a:pt x="317" y="777"/>
                  </a:cubicBezTo>
                  <a:cubicBezTo>
                    <a:pt x="318" y="780"/>
                    <a:pt x="324" y="780"/>
                    <a:pt x="324" y="776"/>
                  </a:cubicBezTo>
                  <a:cubicBezTo>
                    <a:pt x="325" y="777"/>
                    <a:pt x="326" y="777"/>
                    <a:pt x="327" y="777"/>
                  </a:cubicBezTo>
                  <a:cubicBezTo>
                    <a:pt x="326" y="777"/>
                    <a:pt x="326" y="776"/>
                    <a:pt x="326" y="776"/>
                  </a:cubicBezTo>
                  <a:cubicBezTo>
                    <a:pt x="329" y="777"/>
                    <a:pt x="330" y="779"/>
                    <a:pt x="331" y="782"/>
                  </a:cubicBezTo>
                  <a:cubicBezTo>
                    <a:pt x="332" y="785"/>
                    <a:pt x="333" y="782"/>
                    <a:pt x="334" y="782"/>
                  </a:cubicBezTo>
                  <a:cubicBezTo>
                    <a:pt x="335" y="782"/>
                    <a:pt x="336" y="781"/>
                    <a:pt x="335" y="782"/>
                  </a:cubicBezTo>
                  <a:cubicBezTo>
                    <a:pt x="334" y="785"/>
                    <a:pt x="334" y="784"/>
                    <a:pt x="336" y="785"/>
                  </a:cubicBezTo>
                  <a:cubicBezTo>
                    <a:pt x="338" y="785"/>
                    <a:pt x="341" y="785"/>
                    <a:pt x="343" y="785"/>
                  </a:cubicBezTo>
                  <a:cubicBezTo>
                    <a:pt x="340" y="786"/>
                    <a:pt x="334" y="785"/>
                    <a:pt x="332" y="788"/>
                  </a:cubicBezTo>
                  <a:cubicBezTo>
                    <a:pt x="332" y="789"/>
                    <a:pt x="332" y="793"/>
                    <a:pt x="333" y="794"/>
                  </a:cubicBezTo>
                  <a:cubicBezTo>
                    <a:pt x="336" y="791"/>
                    <a:pt x="335" y="792"/>
                    <a:pt x="339" y="792"/>
                  </a:cubicBezTo>
                  <a:cubicBezTo>
                    <a:pt x="339" y="791"/>
                    <a:pt x="346" y="793"/>
                    <a:pt x="347" y="792"/>
                  </a:cubicBezTo>
                  <a:cubicBezTo>
                    <a:pt x="347" y="793"/>
                    <a:pt x="345" y="797"/>
                    <a:pt x="345" y="797"/>
                  </a:cubicBezTo>
                  <a:cubicBezTo>
                    <a:pt x="346" y="800"/>
                    <a:pt x="350" y="796"/>
                    <a:pt x="350" y="794"/>
                  </a:cubicBezTo>
                  <a:cubicBezTo>
                    <a:pt x="350" y="796"/>
                    <a:pt x="349" y="797"/>
                    <a:pt x="350" y="798"/>
                  </a:cubicBezTo>
                  <a:cubicBezTo>
                    <a:pt x="351" y="799"/>
                    <a:pt x="351" y="800"/>
                    <a:pt x="351" y="800"/>
                  </a:cubicBezTo>
                  <a:cubicBezTo>
                    <a:pt x="352" y="800"/>
                    <a:pt x="353" y="799"/>
                    <a:pt x="354" y="799"/>
                  </a:cubicBezTo>
                  <a:cubicBezTo>
                    <a:pt x="353" y="800"/>
                    <a:pt x="352" y="802"/>
                    <a:pt x="351" y="802"/>
                  </a:cubicBezTo>
                  <a:cubicBezTo>
                    <a:pt x="350" y="802"/>
                    <a:pt x="347" y="801"/>
                    <a:pt x="349" y="803"/>
                  </a:cubicBezTo>
                  <a:cubicBezTo>
                    <a:pt x="350" y="805"/>
                    <a:pt x="358" y="804"/>
                    <a:pt x="360" y="804"/>
                  </a:cubicBezTo>
                  <a:cubicBezTo>
                    <a:pt x="362" y="805"/>
                    <a:pt x="364" y="805"/>
                    <a:pt x="366" y="805"/>
                  </a:cubicBezTo>
                  <a:cubicBezTo>
                    <a:pt x="371" y="806"/>
                    <a:pt x="372" y="803"/>
                    <a:pt x="373" y="798"/>
                  </a:cubicBezTo>
                  <a:cubicBezTo>
                    <a:pt x="373" y="801"/>
                    <a:pt x="373" y="803"/>
                    <a:pt x="371" y="805"/>
                  </a:cubicBezTo>
                  <a:cubicBezTo>
                    <a:pt x="369" y="807"/>
                    <a:pt x="368" y="808"/>
                    <a:pt x="366" y="810"/>
                  </a:cubicBezTo>
                  <a:cubicBezTo>
                    <a:pt x="365" y="811"/>
                    <a:pt x="363" y="812"/>
                    <a:pt x="366" y="813"/>
                  </a:cubicBezTo>
                  <a:cubicBezTo>
                    <a:pt x="374" y="816"/>
                    <a:pt x="382" y="819"/>
                    <a:pt x="389" y="822"/>
                  </a:cubicBezTo>
                  <a:cubicBezTo>
                    <a:pt x="393" y="823"/>
                    <a:pt x="397" y="824"/>
                    <a:pt x="400" y="826"/>
                  </a:cubicBezTo>
                  <a:cubicBezTo>
                    <a:pt x="401" y="826"/>
                    <a:pt x="402" y="826"/>
                    <a:pt x="402" y="825"/>
                  </a:cubicBezTo>
                  <a:cubicBezTo>
                    <a:pt x="402" y="825"/>
                    <a:pt x="403" y="826"/>
                    <a:pt x="403" y="826"/>
                  </a:cubicBezTo>
                  <a:cubicBezTo>
                    <a:pt x="404" y="827"/>
                    <a:pt x="404" y="826"/>
                    <a:pt x="405" y="826"/>
                  </a:cubicBezTo>
                  <a:cubicBezTo>
                    <a:pt x="406" y="825"/>
                    <a:pt x="405" y="824"/>
                    <a:pt x="404" y="822"/>
                  </a:cubicBezTo>
                  <a:cubicBezTo>
                    <a:pt x="404" y="822"/>
                    <a:pt x="405" y="822"/>
                    <a:pt x="405" y="822"/>
                  </a:cubicBezTo>
                  <a:cubicBezTo>
                    <a:pt x="405" y="822"/>
                    <a:pt x="406" y="823"/>
                    <a:pt x="407" y="823"/>
                  </a:cubicBezTo>
                  <a:cubicBezTo>
                    <a:pt x="410" y="822"/>
                    <a:pt x="408" y="820"/>
                    <a:pt x="407" y="818"/>
                  </a:cubicBezTo>
                  <a:cubicBezTo>
                    <a:pt x="405" y="815"/>
                    <a:pt x="406" y="815"/>
                    <a:pt x="402" y="816"/>
                  </a:cubicBezTo>
                  <a:cubicBezTo>
                    <a:pt x="403" y="813"/>
                    <a:pt x="401" y="814"/>
                    <a:pt x="400" y="813"/>
                  </a:cubicBezTo>
                  <a:cubicBezTo>
                    <a:pt x="400" y="812"/>
                    <a:pt x="402" y="812"/>
                    <a:pt x="401" y="810"/>
                  </a:cubicBezTo>
                  <a:cubicBezTo>
                    <a:pt x="400" y="808"/>
                    <a:pt x="396" y="807"/>
                    <a:pt x="396" y="805"/>
                  </a:cubicBezTo>
                  <a:cubicBezTo>
                    <a:pt x="395" y="804"/>
                    <a:pt x="398" y="804"/>
                    <a:pt x="396" y="802"/>
                  </a:cubicBezTo>
                  <a:cubicBezTo>
                    <a:pt x="395" y="801"/>
                    <a:pt x="394" y="801"/>
                    <a:pt x="393" y="800"/>
                  </a:cubicBezTo>
                  <a:cubicBezTo>
                    <a:pt x="392" y="799"/>
                    <a:pt x="393" y="799"/>
                    <a:pt x="392" y="798"/>
                  </a:cubicBezTo>
                  <a:cubicBezTo>
                    <a:pt x="391" y="798"/>
                    <a:pt x="389" y="797"/>
                    <a:pt x="388" y="797"/>
                  </a:cubicBezTo>
                  <a:cubicBezTo>
                    <a:pt x="389" y="796"/>
                    <a:pt x="384" y="795"/>
                    <a:pt x="382" y="794"/>
                  </a:cubicBezTo>
                  <a:cubicBezTo>
                    <a:pt x="379" y="794"/>
                    <a:pt x="378" y="793"/>
                    <a:pt x="375" y="792"/>
                  </a:cubicBezTo>
                  <a:cubicBezTo>
                    <a:pt x="374" y="791"/>
                    <a:pt x="374" y="791"/>
                    <a:pt x="372" y="790"/>
                  </a:cubicBezTo>
                  <a:cubicBezTo>
                    <a:pt x="372" y="789"/>
                    <a:pt x="371" y="788"/>
                    <a:pt x="371" y="787"/>
                  </a:cubicBezTo>
                  <a:cubicBezTo>
                    <a:pt x="370" y="786"/>
                    <a:pt x="369" y="786"/>
                    <a:pt x="369" y="785"/>
                  </a:cubicBezTo>
                  <a:cubicBezTo>
                    <a:pt x="369" y="784"/>
                    <a:pt x="370" y="784"/>
                    <a:pt x="370" y="783"/>
                  </a:cubicBezTo>
                  <a:cubicBezTo>
                    <a:pt x="370" y="782"/>
                    <a:pt x="368" y="781"/>
                    <a:pt x="367" y="780"/>
                  </a:cubicBezTo>
                  <a:cubicBezTo>
                    <a:pt x="365" y="778"/>
                    <a:pt x="364" y="776"/>
                    <a:pt x="363" y="774"/>
                  </a:cubicBezTo>
                  <a:cubicBezTo>
                    <a:pt x="362" y="773"/>
                    <a:pt x="361" y="772"/>
                    <a:pt x="360" y="772"/>
                  </a:cubicBezTo>
                  <a:cubicBezTo>
                    <a:pt x="361" y="772"/>
                    <a:pt x="363" y="772"/>
                    <a:pt x="364" y="773"/>
                  </a:cubicBezTo>
                  <a:cubicBezTo>
                    <a:pt x="364" y="773"/>
                    <a:pt x="364" y="773"/>
                    <a:pt x="364" y="773"/>
                  </a:cubicBezTo>
                  <a:cubicBezTo>
                    <a:pt x="364" y="774"/>
                    <a:pt x="365" y="774"/>
                    <a:pt x="365" y="775"/>
                  </a:cubicBezTo>
                  <a:cubicBezTo>
                    <a:pt x="365" y="774"/>
                    <a:pt x="365" y="774"/>
                    <a:pt x="364" y="773"/>
                  </a:cubicBezTo>
                  <a:cubicBezTo>
                    <a:pt x="365" y="774"/>
                    <a:pt x="365" y="774"/>
                    <a:pt x="366" y="774"/>
                  </a:cubicBezTo>
                  <a:cubicBezTo>
                    <a:pt x="366" y="773"/>
                    <a:pt x="366" y="772"/>
                    <a:pt x="367" y="771"/>
                  </a:cubicBezTo>
                  <a:cubicBezTo>
                    <a:pt x="368" y="771"/>
                    <a:pt x="368" y="771"/>
                    <a:pt x="369" y="771"/>
                  </a:cubicBezTo>
                  <a:cubicBezTo>
                    <a:pt x="368" y="771"/>
                    <a:pt x="368" y="772"/>
                    <a:pt x="368" y="772"/>
                  </a:cubicBezTo>
                  <a:cubicBezTo>
                    <a:pt x="368" y="772"/>
                    <a:pt x="368" y="773"/>
                    <a:pt x="368" y="773"/>
                  </a:cubicBezTo>
                  <a:cubicBezTo>
                    <a:pt x="367" y="773"/>
                    <a:pt x="367" y="773"/>
                    <a:pt x="367" y="773"/>
                  </a:cubicBezTo>
                  <a:cubicBezTo>
                    <a:pt x="367" y="773"/>
                    <a:pt x="367" y="774"/>
                    <a:pt x="367" y="774"/>
                  </a:cubicBezTo>
                  <a:cubicBezTo>
                    <a:pt x="367" y="775"/>
                    <a:pt x="367" y="777"/>
                    <a:pt x="367" y="777"/>
                  </a:cubicBezTo>
                  <a:cubicBezTo>
                    <a:pt x="368" y="777"/>
                    <a:pt x="369" y="776"/>
                    <a:pt x="368" y="775"/>
                  </a:cubicBezTo>
                  <a:cubicBezTo>
                    <a:pt x="371" y="775"/>
                    <a:pt x="372" y="778"/>
                    <a:pt x="374" y="777"/>
                  </a:cubicBezTo>
                  <a:cubicBezTo>
                    <a:pt x="375" y="777"/>
                    <a:pt x="375" y="775"/>
                    <a:pt x="376" y="775"/>
                  </a:cubicBezTo>
                  <a:cubicBezTo>
                    <a:pt x="377" y="774"/>
                    <a:pt x="379" y="775"/>
                    <a:pt x="380" y="774"/>
                  </a:cubicBezTo>
                  <a:cubicBezTo>
                    <a:pt x="381" y="774"/>
                    <a:pt x="382" y="773"/>
                    <a:pt x="383" y="772"/>
                  </a:cubicBezTo>
                  <a:cubicBezTo>
                    <a:pt x="383" y="773"/>
                    <a:pt x="381" y="774"/>
                    <a:pt x="379" y="775"/>
                  </a:cubicBezTo>
                  <a:cubicBezTo>
                    <a:pt x="377" y="775"/>
                    <a:pt x="375" y="776"/>
                    <a:pt x="375" y="777"/>
                  </a:cubicBezTo>
                  <a:cubicBezTo>
                    <a:pt x="375" y="778"/>
                    <a:pt x="375" y="778"/>
                    <a:pt x="376" y="779"/>
                  </a:cubicBezTo>
                  <a:cubicBezTo>
                    <a:pt x="376" y="780"/>
                    <a:pt x="376" y="781"/>
                    <a:pt x="377" y="782"/>
                  </a:cubicBezTo>
                  <a:cubicBezTo>
                    <a:pt x="377" y="782"/>
                    <a:pt x="377" y="782"/>
                    <a:pt x="377" y="782"/>
                  </a:cubicBezTo>
                  <a:cubicBezTo>
                    <a:pt x="376" y="782"/>
                    <a:pt x="376" y="782"/>
                    <a:pt x="377" y="783"/>
                  </a:cubicBezTo>
                  <a:cubicBezTo>
                    <a:pt x="376" y="783"/>
                    <a:pt x="376" y="783"/>
                    <a:pt x="376" y="784"/>
                  </a:cubicBezTo>
                  <a:cubicBezTo>
                    <a:pt x="376" y="784"/>
                    <a:pt x="376" y="784"/>
                    <a:pt x="376" y="784"/>
                  </a:cubicBezTo>
                  <a:cubicBezTo>
                    <a:pt x="376" y="785"/>
                    <a:pt x="375" y="786"/>
                    <a:pt x="376" y="788"/>
                  </a:cubicBezTo>
                  <a:cubicBezTo>
                    <a:pt x="375" y="787"/>
                    <a:pt x="374" y="786"/>
                    <a:pt x="372" y="786"/>
                  </a:cubicBezTo>
                  <a:cubicBezTo>
                    <a:pt x="373" y="786"/>
                    <a:pt x="373" y="786"/>
                    <a:pt x="373" y="787"/>
                  </a:cubicBezTo>
                  <a:cubicBezTo>
                    <a:pt x="375" y="789"/>
                    <a:pt x="380" y="791"/>
                    <a:pt x="384" y="793"/>
                  </a:cubicBezTo>
                  <a:cubicBezTo>
                    <a:pt x="384" y="793"/>
                    <a:pt x="385" y="793"/>
                    <a:pt x="385" y="793"/>
                  </a:cubicBezTo>
                  <a:cubicBezTo>
                    <a:pt x="385" y="793"/>
                    <a:pt x="385" y="793"/>
                    <a:pt x="385" y="793"/>
                  </a:cubicBezTo>
                  <a:cubicBezTo>
                    <a:pt x="387" y="794"/>
                    <a:pt x="388" y="794"/>
                    <a:pt x="389" y="794"/>
                  </a:cubicBezTo>
                  <a:cubicBezTo>
                    <a:pt x="389" y="794"/>
                    <a:pt x="389" y="794"/>
                    <a:pt x="389" y="794"/>
                  </a:cubicBezTo>
                  <a:cubicBezTo>
                    <a:pt x="390" y="793"/>
                    <a:pt x="390" y="793"/>
                    <a:pt x="390" y="793"/>
                  </a:cubicBezTo>
                  <a:cubicBezTo>
                    <a:pt x="390" y="793"/>
                    <a:pt x="390" y="793"/>
                    <a:pt x="390" y="792"/>
                  </a:cubicBezTo>
                  <a:cubicBezTo>
                    <a:pt x="390" y="792"/>
                    <a:pt x="390" y="792"/>
                    <a:pt x="390" y="792"/>
                  </a:cubicBezTo>
                  <a:cubicBezTo>
                    <a:pt x="390" y="792"/>
                    <a:pt x="390" y="792"/>
                    <a:pt x="390" y="791"/>
                  </a:cubicBezTo>
                  <a:cubicBezTo>
                    <a:pt x="390" y="791"/>
                    <a:pt x="390" y="790"/>
                    <a:pt x="391" y="790"/>
                  </a:cubicBezTo>
                  <a:cubicBezTo>
                    <a:pt x="392" y="790"/>
                    <a:pt x="392" y="791"/>
                    <a:pt x="393" y="791"/>
                  </a:cubicBezTo>
                  <a:cubicBezTo>
                    <a:pt x="393" y="791"/>
                    <a:pt x="393" y="791"/>
                    <a:pt x="393" y="791"/>
                  </a:cubicBezTo>
                  <a:cubicBezTo>
                    <a:pt x="392" y="790"/>
                    <a:pt x="391" y="789"/>
                    <a:pt x="392" y="788"/>
                  </a:cubicBezTo>
                  <a:cubicBezTo>
                    <a:pt x="392" y="788"/>
                    <a:pt x="392" y="787"/>
                    <a:pt x="392" y="787"/>
                  </a:cubicBezTo>
                  <a:cubicBezTo>
                    <a:pt x="393" y="787"/>
                    <a:pt x="393" y="786"/>
                    <a:pt x="394" y="786"/>
                  </a:cubicBezTo>
                  <a:cubicBezTo>
                    <a:pt x="394" y="786"/>
                    <a:pt x="395" y="786"/>
                    <a:pt x="395" y="786"/>
                  </a:cubicBezTo>
                  <a:cubicBezTo>
                    <a:pt x="395" y="786"/>
                    <a:pt x="395" y="786"/>
                    <a:pt x="395" y="786"/>
                  </a:cubicBezTo>
                  <a:cubicBezTo>
                    <a:pt x="395" y="786"/>
                    <a:pt x="395" y="786"/>
                    <a:pt x="395" y="786"/>
                  </a:cubicBezTo>
                  <a:cubicBezTo>
                    <a:pt x="395" y="785"/>
                    <a:pt x="395" y="785"/>
                    <a:pt x="395" y="785"/>
                  </a:cubicBezTo>
                  <a:cubicBezTo>
                    <a:pt x="395" y="785"/>
                    <a:pt x="395" y="785"/>
                    <a:pt x="395" y="784"/>
                  </a:cubicBezTo>
                  <a:cubicBezTo>
                    <a:pt x="395" y="784"/>
                    <a:pt x="395" y="784"/>
                    <a:pt x="395" y="784"/>
                  </a:cubicBezTo>
                  <a:cubicBezTo>
                    <a:pt x="394" y="783"/>
                    <a:pt x="393" y="782"/>
                    <a:pt x="392" y="781"/>
                  </a:cubicBezTo>
                  <a:cubicBezTo>
                    <a:pt x="393" y="782"/>
                    <a:pt x="395" y="782"/>
                    <a:pt x="395" y="783"/>
                  </a:cubicBezTo>
                  <a:cubicBezTo>
                    <a:pt x="395" y="783"/>
                    <a:pt x="396" y="783"/>
                    <a:pt x="396" y="783"/>
                  </a:cubicBezTo>
                  <a:cubicBezTo>
                    <a:pt x="396" y="783"/>
                    <a:pt x="396" y="783"/>
                    <a:pt x="396" y="783"/>
                  </a:cubicBezTo>
                  <a:cubicBezTo>
                    <a:pt x="396" y="784"/>
                    <a:pt x="396" y="784"/>
                    <a:pt x="396" y="785"/>
                  </a:cubicBezTo>
                  <a:cubicBezTo>
                    <a:pt x="396" y="785"/>
                    <a:pt x="396" y="785"/>
                    <a:pt x="396" y="785"/>
                  </a:cubicBezTo>
                  <a:cubicBezTo>
                    <a:pt x="396" y="785"/>
                    <a:pt x="396" y="785"/>
                    <a:pt x="396" y="785"/>
                  </a:cubicBezTo>
                  <a:cubicBezTo>
                    <a:pt x="396" y="786"/>
                    <a:pt x="395" y="786"/>
                    <a:pt x="394" y="787"/>
                  </a:cubicBezTo>
                  <a:cubicBezTo>
                    <a:pt x="394" y="787"/>
                    <a:pt x="393" y="787"/>
                    <a:pt x="393" y="787"/>
                  </a:cubicBezTo>
                  <a:cubicBezTo>
                    <a:pt x="393" y="788"/>
                    <a:pt x="393" y="788"/>
                    <a:pt x="393" y="788"/>
                  </a:cubicBezTo>
                  <a:cubicBezTo>
                    <a:pt x="392" y="789"/>
                    <a:pt x="394" y="791"/>
                    <a:pt x="394" y="793"/>
                  </a:cubicBezTo>
                  <a:cubicBezTo>
                    <a:pt x="394" y="793"/>
                    <a:pt x="394" y="793"/>
                    <a:pt x="394" y="794"/>
                  </a:cubicBezTo>
                  <a:cubicBezTo>
                    <a:pt x="394" y="794"/>
                    <a:pt x="394" y="794"/>
                    <a:pt x="394" y="794"/>
                  </a:cubicBezTo>
                  <a:cubicBezTo>
                    <a:pt x="394" y="794"/>
                    <a:pt x="394" y="794"/>
                    <a:pt x="394" y="795"/>
                  </a:cubicBezTo>
                  <a:cubicBezTo>
                    <a:pt x="394" y="796"/>
                    <a:pt x="397" y="797"/>
                    <a:pt x="398" y="797"/>
                  </a:cubicBezTo>
                  <a:cubicBezTo>
                    <a:pt x="400" y="798"/>
                    <a:pt x="401" y="797"/>
                    <a:pt x="402" y="797"/>
                  </a:cubicBezTo>
                  <a:cubicBezTo>
                    <a:pt x="402" y="797"/>
                    <a:pt x="402" y="797"/>
                    <a:pt x="401" y="798"/>
                  </a:cubicBezTo>
                  <a:cubicBezTo>
                    <a:pt x="401" y="798"/>
                    <a:pt x="401" y="798"/>
                    <a:pt x="401" y="798"/>
                  </a:cubicBezTo>
                  <a:cubicBezTo>
                    <a:pt x="400" y="798"/>
                    <a:pt x="399" y="798"/>
                    <a:pt x="398" y="799"/>
                  </a:cubicBezTo>
                  <a:cubicBezTo>
                    <a:pt x="397" y="800"/>
                    <a:pt x="397" y="801"/>
                    <a:pt x="397" y="802"/>
                  </a:cubicBezTo>
                  <a:cubicBezTo>
                    <a:pt x="398" y="803"/>
                    <a:pt x="399" y="804"/>
                    <a:pt x="401" y="805"/>
                  </a:cubicBezTo>
                  <a:cubicBezTo>
                    <a:pt x="402" y="805"/>
                    <a:pt x="403" y="806"/>
                    <a:pt x="404" y="805"/>
                  </a:cubicBezTo>
                  <a:cubicBezTo>
                    <a:pt x="404" y="805"/>
                    <a:pt x="404" y="805"/>
                    <a:pt x="404" y="805"/>
                  </a:cubicBezTo>
                  <a:cubicBezTo>
                    <a:pt x="404" y="805"/>
                    <a:pt x="404" y="805"/>
                    <a:pt x="404" y="805"/>
                  </a:cubicBezTo>
                  <a:cubicBezTo>
                    <a:pt x="404" y="805"/>
                    <a:pt x="404" y="805"/>
                    <a:pt x="404" y="805"/>
                  </a:cubicBezTo>
                  <a:cubicBezTo>
                    <a:pt x="404" y="805"/>
                    <a:pt x="404" y="805"/>
                    <a:pt x="404" y="805"/>
                  </a:cubicBezTo>
                  <a:cubicBezTo>
                    <a:pt x="404" y="804"/>
                    <a:pt x="404" y="804"/>
                    <a:pt x="404" y="804"/>
                  </a:cubicBezTo>
                  <a:cubicBezTo>
                    <a:pt x="403" y="804"/>
                    <a:pt x="403" y="803"/>
                    <a:pt x="403" y="803"/>
                  </a:cubicBezTo>
                  <a:cubicBezTo>
                    <a:pt x="404" y="803"/>
                    <a:pt x="404" y="802"/>
                    <a:pt x="405" y="802"/>
                  </a:cubicBezTo>
                  <a:cubicBezTo>
                    <a:pt x="405" y="802"/>
                    <a:pt x="405" y="802"/>
                    <a:pt x="405" y="802"/>
                  </a:cubicBezTo>
                  <a:cubicBezTo>
                    <a:pt x="405" y="801"/>
                    <a:pt x="405" y="801"/>
                    <a:pt x="406" y="801"/>
                  </a:cubicBezTo>
                  <a:cubicBezTo>
                    <a:pt x="407" y="801"/>
                    <a:pt x="408" y="800"/>
                    <a:pt x="409" y="800"/>
                  </a:cubicBezTo>
                  <a:cubicBezTo>
                    <a:pt x="409" y="799"/>
                    <a:pt x="410" y="799"/>
                    <a:pt x="410" y="798"/>
                  </a:cubicBezTo>
                  <a:cubicBezTo>
                    <a:pt x="410" y="798"/>
                    <a:pt x="410" y="798"/>
                    <a:pt x="410" y="798"/>
                  </a:cubicBezTo>
                  <a:cubicBezTo>
                    <a:pt x="410" y="798"/>
                    <a:pt x="410" y="798"/>
                    <a:pt x="410" y="798"/>
                  </a:cubicBezTo>
                  <a:cubicBezTo>
                    <a:pt x="410" y="798"/>
                    <a:pt x="410" y="798"/>
                    <a:pt x="410" y="797"/>
                  </a:cubicBezTo>
                  <a:cubicBezTo>
                    <a:pt x="410" y="797"/>
                    <a:pt x="411" y="797"/>
                    <a:pt x="411" y="797"/>
                  </a:cubicBezTo>
                  <a:cubicBezTo>
                    <a:pt x="411" y="798"/>
                    <a:pt x="410" y="802"/>
                    <a:pt x="409" y="805"/>
                  </a:cubicBezTo>
                  <a:cubicBezTo>
                    <a:pt x="410" y="804"/>
                    <a:pt x="411" y="804"/>
                    <a:pt x="412" y="804"/>
                  </a:cubicBezTo>
                  <a:cubicBezTo>
                    <a:pt x="414" y="804"/>
                    <a:pt x="415" y="805"/>
                    <a:pt x="417" y="806"/>
                  </a:cubicBezTo>
                  <a:cubicBezTo>
                    <a:pt x="417" y="806"/>
                    <a:pt x="417" y="805"/>
                    <a:pt x="418" y="805"/>
                  </a:cubicBezTo>
                  <a:cubicBezTo>
                    <a:pt x="418" y="805"/>
                    <a:pt x="418" y="805"/>
                    <a:pt x="418" y="804"/>
                  </a:cubicBezTo>
                  <a:cubicBezTo>
                    <a:pt x="418" y="804"/>
                    <a:pt x="418" y="804"/>
                    <a:pt x="418" y="804"/>
                  </a:cubicBezTo>
                  <a:cubicBezTo>
                    <a:pt x="418" y="804"/>
                    <a:pt x="418" y="804"/>
                    <a:pt x="418" y="804"/>
                  </a:cubicBezTo>
                  <a:cubicBezTo>
                    <a:pt x="418" y="804"/>
                    <a:pt x="418" y="804"/>
                    <a:pt x="418" y="804"/>
                  </a:cubicBezTo>
                  <a:cubicBezTo>
                    <a:pt x="418" y="804"/>
                    <a:pt x="418" y="804"/>
                    <a:pt x="418" y="804"/>
                  </a:cubicBezTo>
                  <a:cubicBezTo>
                    <a:pt x="418" y="804"/>
                    <a:pt x="418" y="805"/>
                    <a:pt x="418" y="805"/>
                  </a:cubicBezTo>
                  <a:cubicBezTo>
                    <a:pt x="418" y="806"/>
                    <a:pt x="418" y="806"/>
                    <a:pt x="417" y="807"/>
                  </a:cubicBezTo>
                  <a:cubicBezTo>
                    <a:pt x="418" y="808"/>
                    <a:pt x="418" y="809"/>
                    <a:pt x="418" y="810"/>
                  </a:cubicBezTo>
                  <a:cubicBezTo>
                    <a:pt x="418" y="813"/>
                    <a:pt x="416" y="815"/>
                    <a:pt x="413" y="816"/>
                  </a:cubicBezTo>
                  <a:cubicBezTo>
                    <a:pt x="413" y="817"/>
                    <a:pt x="413" y="817"/>
                    <a:pt x="413" y="818"/>
                  </a:cubicBezTo>
                  <a:cubicBezTo>
                    <a:pt x="414" y="818"/>
                    <a:pt x="416" y="818"/>
                    <a:pt x="417" y="818"/>
                  </a:cubicBezTo>
                  <a:cubicBezTo>
                    <a:pt x="417" y="817"/>
                    <a:pt x="417" y="817"/>
                    <a:pt x="417" y="817"/>
                  </a:cubicBezTo>
                  <a:cubicBezTo>
                    <a:pt x="420" y="815"/>
                    <a:pt x="420" y="815"/>
                    <a:pt x="420" y="815"/>
                  </a:cubicBezTo>
                  <a:cubicBezTo>
                    <a:pt x="420" y="815"/>
                    <a:pt x="420" y="815"/>
                    <a:pt x="420" y="815"/>
                  </a:cubicBezTo>
                  <a:cubicBezTo>
                    <a:pt x="483" y="815"/>
                    <a:pt x="483" y="815"/>
                    <a:pt x="483" y="815"/>
                  </a:cubicBezTo>
                  <a:cubicBezTo>
                    <a:pt x="744" y="815"/>
                    <a:pt x="744" y="815"/>
                    <a:pt x="744" y="815"/>
                  </a:cubicBezTo>
                  <a:cubicBezTo>
                    <a:pt x="750" y="815"/>
                    <a:pt x="835" y="815"/>
                    <a:pt x="835" y="815"/>
                  </a:cubicBezTo>
                  <a:cubicBezTo>
                    <a:pt x="839" y="815"/>
                    <a:pt x="844" y="815"/>
                    <a:pt x="844" y="815"/>
                  </a:cubicBezTo>
                  <a:cubicBezTo>
                    <a:pt x="846" y="815"/>
                    <a:pt x="853" y="815"/>
                    <a:pt x="854" y="815"/>
                  </a:cubicBezTo>
                  <a:cubicBezTo>
                    <a:pt x="856" y="815"/>
                    <a:pt x="954" y="815"/>
                    <a:pt x="1007" y="815"/>
                  </a:cubicBezTo>
                  <a:cubicBezTo>
                    <a:pt x="1047" y="815"/>
                    <a:pt x="1047" y="815"/>
                    <a:pt x="1047" y="815"/>
                  </a:cubicBezTo>
                  <a:cubicBezTo>
                    <a:pt x="1055" y="816"/>
                    <a:pt x="1058" y="816"/>
                    <a:pt x="1060" y="815"/>
                  </a:cubicBezTo>
                  <a:cubicBezTo>
                    <a:pt x="1060" y="813"/>
                    <a:pt x="1060" y="809"/>
                    <a:pt x="1060" y="808"/>
                  </a:cubicBezTo>
                  <a:cubicBezTo>
                    <a:pt x="1057" y="803"/>
                    <a:pt x="1057" y="803"/>
                    <a:pt x="1057" y="803"/>
                  </a:cubicBezTo>
                  <a:cubicBezTo>
                    <a:pt x="1063" y="804"/>
                    <a:pt x="1063" y="804"/>
                    <a:pt x="1063" y="804"/>
                  </a:cubicBezTo>
                  <a:cubicBezTo>
                    <a:pt x="1066" y="804"/>
                    <a:pt x="1073" y="805"/>
                    <a:pt x="1073" y="812"/>
                  </a:cubicBezTo>
                  <a:cubicBezTo>
                    <a:pt x="1073" y="814"/>
                    <a:pt x="1076" y="822"/>
                    <a:pt x="1077" y="823"/>
                  </a:cubicBezTo>
                  <a:cubicBezTo>
                    <a:pt x="1078" y="824"/>
                    <a:pt x="1078" y="824"/>
                    <a:pt x="1078" y="824"/>
                  </a:cubicBezTo>
                  <a:cubicBezTo>
                    <a:pt x="1081" y="823"/>
                    <a:pt x="1085" y="825"/>
                    <a:pt x="1086" y="826"/>
                  </a:cubicBezTo>
                  <a:cubicBezTo>
                    <a:pt x="1087" y="827"/>
                    <a:pt x="1097" y="831"/>
                    <a:pt x="1100" y="828"/>
                  </a:cubicBezTo>
                  <a:cubicBezTo>
                    <a:pt x="1104" y="825"/>
                    <a:pt x="1109" y="826"/>
                    <a:pt x="1113" y="827"/>
                  </a:cubicBezTo>
                  <a:cubicBezTo>
                    <a:pt x="1114" y="827"/>
                    <a:pt x="1114" y="827"/>
                    <a:pt x="1115" y="828"/>
                  </a:cubicBezTo>
                  <a:cubicBezTo>
                    <a:pt x="1120" y="828"/>
                    <a:pt x="1126" y="831"/>
                    <a:pt x="1128" y="836"/>
                  </a:cubicBezTo>
                  <a:cubicBezTo>
                    <a:pt x="1128" y="836"/>
                    <a:pt x="1128" y="836"/>
                    <a:pt x="1128" y="836"/>
                  </a:cubicBezTo>
                  <a:cubicBezTo>
                    <a:pt x="1131" y="834"/>
                    <a:pt x="1135" y="834"/>
                    <a:pt x="1138" y="836"/>
                  </a:cubicBezTo>
                  <a:cubicBezTo>
                    <a:pt x="1138" y="837"/>
                    <a:pt x="1139" y="837"/>
                    <a:pt x="1140" y="838"/>
                  </a:cubicBezTo>
                  <a:cubicBezTo>
                    <a:pt x="1145" y="843"/>
                    <a:pt x="1148" y="845"/>
                    <a:pt x="1152" y="842"/>
                  </a:cubicBezTo>
                  <a:cubicBezTo>
                    <a:pt x="1157" y="838"/>
                    <a:pt x="1161" y="837"/>
                    <a:pt x="1163" y="838"/>
                  </a:cubicBezTo>
                  <a:cubicBezTo>
                    <a:pt x="1164" y="839"/>
                    <a:pt x="1165" y="840"/>
                    <a:pt x="1165" y="841"/>
                  </a:cubicBezTo>
                  <a:cubicBezTo>
                    <a:pt x="1166" y="841"/>
                    <a:pt x="1166" y="841"/>
                    <a:pt x="1166" y="841"/>
                  </a:cubicBezTo>
                  <a:cubicBezTo>
                    <a:pt x="1166" y="842"/>
                    <a:pt x="1166" y="842"/>
                    <a:pt x="1166" y="842"/>
                  </a:cubicBezTo>
                  <a:cubicBezTo>
                    <a:pt x="1169" y="842"/>
                    <a:pt x="1179" y="844"/>
                    <a:pt x="1182" y="844"/>
                  </a:cubicBezTo>
                  <a:cubicBezTo>
                    <a:pt x="1183" y="844"/>
                    <a:pt x="1185" y="845"/>
                    <a:pt x="1192" y="845"/>
                  </a:cubicBezTo>
                  <a:cubicBezTo>
                    <a:pt x="1193" y="845"/>
                    <a:pt x="1193" y="845"/>
                    <a:pt x="1193" y="845"/>
                  </a:cubicBezTo>
                  <a:cubicBezTo>
                    <a:pt x="1193" y="846"/>
                    <a:pt x="1193" y="846"/>
                    <a:pt x="1193" y="846"/>
                  </a:cubicBezTo>
                  <a:cubicBezTo>
                    <a:pt x="1193" y="846"/>
                    <a:pt x="1193" y="846"/>
                    <a:pt x="1193" y="846"/>
                  </a:cubicBezTo>
                  <a:cubicBezTo>
                    <a:pt x="1193" y="846"/>
                    <a:pt x="1193" y="846"/>
                    <a:pt x="1193" y="846"/>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5" y="844"/>
                    <a:pt x="1195" y="844"/>
                    <a:pt x="1195" y="844"/>
                  </a:cubicBezTo>
                  <a:cubicBezTo>
                    <a:pt x="1195" y="844"/>
                    <a:pt x="1195" y="844"/>
                    <a:pt x="1195" y="844"/>
                  </a:cubicBezTo>
                  <a:cubicBezTo>
                    <a:pt x="1195" y="844"/>
                    <a:pt x="1195" y="844"/>
                    <a:pt x="1195" y="844"/>
                  </a:cubicBezTo>
                  <a:cubicBezTo>
                    <a:pt x="1195" y="844"/>
                    <a:pt x="1195" y="844"/>
                    <a:pt x="1195" y="844"/>
                  </a:cubicBezTo>
                  <a:cubicBezTo>
                    <a:pt x="1195" y="844"/>
                    <a:pt x="1195" y="844"/>
                    <a:pt x="1195" y="844"/>
                  </a:cubicBezTo>
                  <a:cubicBezTo>
                    <a:pt x="1195" y="844"/>
                    <a:pt x="1196" y="844"/>
                    <a:pt x="1196" y="844"/>
                  </a:cubicBezTo>
                  <a:cubicBezTo>
                    <a:pt x="1196" y="844"/>
                    <a:pt x="1196" y="844"/>
                    <a:pt x="1196" y="844"/>
                  </a:cubicBezTo>
                  <a:cubicBezTo>
                    <a:pt x="1196" y="844"/>
                    <a:pt x="1196" y="844"/>
                    <a:pt x="1196" y="844"/>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7" y="843"/>
                    <a:pt x="1197" y="843"/>
                    <a:pt x="1197" y="843"/>
                  </a:cubicBezTo>
                  <a:cubicBezTo>
                    <a:pt x="1197" y="842"/>
                    <a:pt x="1197" y="842"/>
                    <a:pt x="1197" y="842"/>
                  </a:cubicBezTo>
                  <a:cubicBezTo>
                    <a:pt x="1197" y="842"/>
                    <a:pt x="1197" y="842"/>
                    <a:pt x="1197" y="842"/>
                  </a:cubicBezTo>
                  <a:cubicBezTo>
                    <a:pt x="1197" y="842"/>
                    <a:pt x="1197" y="842"/>
                    <a:pt x="1197" y="842"/>
                  </a:cubicBezTo>
                  <a:cubicBezTo>
                    <a:pt x="1197" y="841"/>
                    <a:pt x="1197" y="841"/>
                    <a:pt x="1197" y="841"/>
                  </a:cubicBezTo>
                  <a:cubicBezTo>
                    <a:pt x="1197" y="841"/>
                    <a:pt x="1197" y="841"/>
                    <a:pt x="1197" y="841"/>
                  </a:cubicBezTo>
                  <a:cubicBezTo>
                    <a:pt x="1197" y="841"/>
                    <a:pt x="1197" y="841"/>
                    <a:pt x="1197" y="841"/>
                  </a:cubicBezTo>
                  <a:cubicBezTo>
                    <a:pt x="1197" y="841"/>
                    <a:pt x="1197" y="841"/>
                    <a:pt x="1197" y="841"/>
                  </a:cubicBezTo>
                  <a:cubicBezTo>
                    <a:pt x="1197" y="841"/>
                    <a:pt x="1197" y="841"/>
                    <a:pt x="1197" y="841"/>
                  </a:cubicBezTo>
                  <a:cubicBezTo>
                    <a:pt x="1198" y="841"/>
                    <a:pt x="1197" y="840"/>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8"/>
                    <a:pt x="1198" y="838"/>
                    <a:pt x="1198" y="838"/>
                  </a:cubicBezTo>
                  <a:cubicBezTo>
                    <a:pt x="1198" y="838"/>
                    <a:pt x="1198" y="838"/>
                    <a:pt x="1198" y="838"/>
                  </a:cubicBezTo>
                  <a:cubicBezTo>
                    <a:pt x="1198" y="838"/>
                    <a:pt x="1198" y="838"/>
                    <a:pt x="1198" y="838"/>
                  </a:cubicBezTo>
                  <a:cubicBezTo>
                    <a:pt x="1198" y="838"/>
                    <a:pt x="1198" y="838"/>
                    <a:pt x="1198" y="838"/>
                  </a:cubicBezTo>
                  <a:cubicBezTo>
                    <a:pt x="1199" y="838"/>
                    <a:pt x="1199" y="838"/>
                    <a:pt x="1199" y="838"/>
                  </a:cubicBezTo>
                  <a:cubicBezTo>
                    <a:pt x="1199" y="838"/>
                    <a:pt x="1199" y="838"/>
                    <a:pt x="1199" y="838"/>
                  </a:cubicBezTo>
                  <a:cubicBezTo>
                    <a:pt x="1199" y="838"/>
                    <a:pt x="1199" y="838"/>
                    <a:pt x="1199" y="838"/>
                  </a:cubicBezTo>
                  <a:cubicBezTo>
                    <a:pt x="1199" y="838"/>
                    <a:pt x="1199" y="838"/>
                    <a:pt x="1199" y="838"/>
                  </a:cubicBezTo>
                  <a:cubicBezTo>
                    <a:pt x="1199" y="838"/>
                    <a:pt x="1199" y="838"/>
                    <a:pt x="1199" y="838"/>
                  </a:cubicBezTo>
                  <a:cubicBezTo>
                    <a:pt x="1199" y="837"/>
                    <a:pt x="1199" y="837"/>
                    <a:pt x="1199" y="837"/>
                  </a:cubicBezTo>
                  <a:cubicBezTo>
                    <a:pt x="1199" y="837"/>
                    <a:pt x="1199" y="837"/>
                    <a:pt x="1199" y="837"/>
                  </a:cubicBezTo>
                  <a:cubicBezTo>
                    <a:pt x="1199" y="837"/>
                    <a:pt x="1199" y="837"/>
                    <a:pt x="1199" y="837"/>
                  </a:cubicBezTo>
                  <a:cubicBezTo>
                    <a:pt x="1199" y="836"/>
                    <a:pt x="1197" y="837"/>
                    <a:pt x="1198" y="835"/>
                  </a:cubicBezTo>
                  <a:cubicBezTo>
                    <a:pt x="1198" y="835"/>
                    <a:pt x="1198" y="835"/>
                    <a:pt x="1198" y="835"/>
                  </a:cubicBezTo>
                  <a:cubicBezTo>
                    <a:pt x="1198" y="835"/>
                    <a:pt x="1198" y="835"/>
                    <a:pt x="1198" y="835"/>
                  </a:cubicBezTo>
                  <a:cubicBezTo>
                    <a:pt x="1198" y="835"/>
                    <a:pt x="1198" y="835"/>
                    <a:pt x="1198" y="835"/>
                  </a:cubicBezTo>
                  <a:cubicBezTo>
                    <a:pt x="1199" y="835"/>
                    <a:pt x="1199" y="835"/>
                    <a:pt x="1199" y="835"/>
                  </a:cubicBezTo>
                  <a:cubicBezTo>
                    <a:pt x="1199" y="835"/>
                    <a:pt x="1199" y="835"/>
                    <a:pt x="1199" y="835"/>
                  </a:cubicBezTo>
                  <a:cubicBezTo>
                    <a:pt x="1199" y="835"/>
                    <a:pt x="1199" y="835"/>
                    <a:pt x="1199" y="835"/>
                  </a:cubicBezTo>
                  <a:cubicBezTo>
                    <a:pt x="1199" y="835"/>
                    <a:pt x="1199" y="835"/>
                    <a:pt x="1199" y="835"/>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200" y="834"/>
                    <a:pt x="1200" y="834"/>
                    <a:pt x="1200" y="834"/>
                  </a:cubicBezTo>
                  <a:cubicBezTo>
                    <a:pt x="1200" y="834"/>
                    <a:pt x="1200" y="834"/>
                    <a:pt x="1200" y="834"/>
                  </a:cubicBezTo>
                  <a:cubicBezTo>
                    <a:pt x="1200" y="834"/>
                    <a:pt x="1200" y="834"/>
                    <a:pt x="1200" y="834"/>
                  </a:cubicBezTo>
                  <a:cubicBezTo>
                    <a:pt x="1200" y="833"/>
                    <a:pt x="1200" y="833"/>
                    <a:pt x="1200" y="833"/>
                  </a:cubicBezTo>
                  <a:cubicBezTo>
                    <a:pt x="1200" y="833"/>
                    <a:pt x="1200" y="833"/>
                    <a:pt x="1200" y="833"/>
                  </a:cubicBezTo>
                  <a:cubicBezTo>
                    <a:pt x="1201" y="833"/>
                    <a:pt x="1201" y="833"/>
                    <a:pt x="1202" y="833"/>
                  </a:cubicBezTo>
                  <a:cubicBezTo>
                    <a:pt x="1202" y="833"/>
                    <a:pt x="1202" y="833"/>
                    <a:pt x="1202" y="833"/>
                  </a:cubicBezTo>
                  <a:cubicBezTo>
                    <a:pt x="1202" y="833"/>
                    <a:pt x="1202" y="833"/>
                    <a:pt x="1202" y="833"/>
                  </a:cubicBezTo>
                  <a:cubicBezTo>
                    <a:pt x="1203" y="832"/>
                    <a:pt x="1203" y="832"/>
                    <a:pt x="1204" y="832"/>
                  </a:cubicBezTo>
                  <a:cubicBezTo>
                    <a:pt x="1204" y="832"/>
                    <a:pt x="1204" y="832"/>
                    <a:pt x="1204" y="832"/>
                  </a:cubicBezTo>
                  <a:cubicBezTo>
                    <a:pt x="1204" y="832"/>
                    <a:pt x="1204" y="832"/>
                    <a:pt x="1204" y="832"/>
                  </a:cubicBezTo>
                  <a:cubicBezTo>
                    <a:pt x="1204" y="832"/>
                    <a:pt x="1204" y="832"/>
                    <a:pt x="1204" y="832"/>
                  </a:cubicBezTo>
                  <a:cubicBezTo>
                    <a:pt x="1204" y="832"/>
                    <a:pt x="1204" y="832"/>
                    <a:pt x="1204" y="832"/>
                  </a:cubicBezTo>
                  <a:cubicBezTo>
                    <a:pt x="1204" y="832"/>
                    <a:pt x="1204" y="832"/>
                    <a:pt x="1204" y="832"/>
                  </a:cubicBezTo>
                  <a:cubicBezTo>
                    <a:pt x="1205" y="832"/>
                    <a:pt x="1205" y="832"/>
                    <a:pt x="1205" y="832"/>
                  </a:cubicBezTo>
                  <a:cubicBezTo>
                    <a:pt x="1205" y="832"/>
                    <a:pt x="1205" y="832"/>
                    <a:pt x="1205" y="832"/>
                  </a:cubicBezTo>
                  <a:cubicBezTo>
                    <a:pt x="1205" y="832"/>
                    <a:pt x="1205" y="832"/>
                    <a:pt x="1205" y="832"/>
                  </a:cubicBezTo>
                  <a:cubicBezTo>
                    <a:pt x="1205" y="832"/>
                    <a:pt x="1205" y="832"/>
                    <a:pt x="1205" y="832"/>
                  </a:cubicBezTo>
                  <a:cubicBezTo>
                    <a:pt x="1205" y="832"/>
                    <a:pt x="1205" y="832"/>
                    <a:pt x="1205" y="832"/>
                  </a:cubicBezTo>
                  <a:cubicBezTo>
                    <a:pt x="1205" y="831"/>
                    <a:pt x="1205" y="831"/>
                    <a:pt x="1205" y="831"/>
                  </a:cubicBezTo>
                  <a:cubicBezTo>
                    <a:pt x="1205" y="831"/>
                    <a:pt x="1205" y="831"/>
                    <a:pt x="1205" y="831"/>
                  </a:cubicBezTo>
                  <a:cubicBezTo>
                    <a:pt x="1206" y="831"/>
                    <a:pt x="1206" y="831"/>
                    <a:pt x="1206" y="831"/>
                  </a:cubicBezTo>
                  <a:cubicBezTo>
                    <a:pt x="1206" y="831"/>
                    <a:pt x="1206" y="831"/>
                    <a:pt x="1206" y="831"/>
                  </a:cubicBezTo>
                  <a:cubicBezTo>
                    <a:pt x="1206" y="831"/>
                    <a:pt x="1206" y="831"/>
                    <a:pt x="1206" y="831"/>
                  </a:cubicBezTo>
                  <a:cubicBezTo>
                    <a:pt x="1206" y="831"/>
                    <a:pt x="1206" y="831"/>
                    <a:pt x="1206" y="831"/>
                  </a:cubicBezTo>
                  <a:cubicBezTo>
                    <a:pt x="1206" y="831"/>
                    <a:pt x="1206" y="831"/>
                    <a:pt x="1206"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8" y="831"/>
                    <a:pt x="1208" y="831"/>
                    <a:pt x="1208" y="831"/>
                  </a:cubicBezTo>
                  <a:cubicBezTo>
                    <a:pt x="1208" y="831"/>
                    <a:pt x="1208" y="831"/>
                    <a:pt x="1208" y="831"/>
                  </a:cubicBezTo>
                  <a:cubicBezTo>
                    <a:pt x="1208" y="831"/>
                    <a:pt x="1208" y="831"/>
                    <a:pt x="1208" y="831"/>
                  </a:cubicBezTo>
                  <a:cubicBezTo>
                    <a:pt x="1208" y="830"/>
                    <a:pt x="1208" y="830"/>
                    <a:pt x="1208" y="830"/>
                  </a:cubicBezTo>
                  <a:cubicBezTo>
                    <a:pt x="1208" y="830"/>
                    <a:pt x="1208" y="830"/>
                    <a:pt x="1208" y="830"/>
                  </a:cubicBezTo>
                  <a:cubicBezTo>
                    <a:pt x="1208" y="830"/>
                    <a:pt x="1208" y="830"/>
                    <a:pt x="1208" y="830"/>
                  </a:cubicBezTo>
                  <a:cubicBezTo>
                    <a:pt x="1209" y="830"/>
                    <a:pt x="1209" y="830"/>
                    <a:pt x="1209" y="830"/>
                  </a:cubicBezTo>
                  <a:cubicBezTo>
                    <a:pt x="1209" y="830"/>
                    <a:pt x="1209" y="830"/>
                    <a:pt x="1209" y="830"/>
                  </a:cubicBezTo>
                  <a:cubicBezTo>
                    <a:pt x="1209" y="830"/>
                    <a:pt x="1209" y="830"/>
                    <a:pt x="1209" y="830"/>
                  </a:cubicBezTo>
                  <a:cubicBezTo>
                    <a:pt x="1209" y="830"/>
                    <a:pt x="1209" y="830"/>
                    <a:pt x="1209" y="830"/>
                  </a:cubicBezTo>
                  <a:cubicBezTo>
                    <a:pt x="1209" y="830"/>
                    <a:pt x="1209" y="830"/>
                    <a:pt x="1209" y="830"/>
                  </a:cubicBezTo>
                  <a:cubicBezTo>
                    <a:pt x="1209" y="831"/>
                    <a:pt x="1209" y="831"/>
                    <a:pt x="1209" y="831"/>
                  </a:cubicBezTo>
                  <a:cubicBezTo>
                    <a:pt x="1208" y="832"/>
                    <a:pt x="1208" y="832"/>
                    <a:pt x="1208" y="832"/>
                  </a:cubicBezTo>
                  <a:cubicBezTo>
                    <a:pt x="1208" y="833"/>
                    <a:pt x="1207" y="833"/>
                    <a:pt x="1207" y="834"/>
                  </a:cubicBezTo>
                  <a:cubicBezTo>
                    <a:pt x="1207" y="834"/>
                    <a:pt x="1207" y="834"/>
                    <a:pt x="1207" y="834"/>
                  </a:cubicBezTo>
                  <a:cubicBezTo>
                    <a:pt x="1207" y="834"/>
                    <a:pt x="1207" y="834"/>
                    <a:pt x="1207" y="834"/>
                  </a:cubicBezTo>
                  <a:cubicBezTo>
                    <a:pt x="1207" y="834"/>
                    <a:pt x="1207" y="834"/>
                    <a:pt x="1207" y="834"/>
                  </a:cubicBezTo>
                  <a:cubicBezTo>
                    <a:pt x="1207" y="834"/>
                    <a:pt x="1207" y="834"/>
                    <a:pt x="1207" y="834"/>
                  </a:cubicBezTo>
                  <a:cubicBezTo>
                    <a:pt x="1207" y="834"/>
                    <a:pt x="1207" y="834"/>
                    <a:pt x="1207" y="834"/>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6" y="836"/>
                    <a:pt x="1206" y="836"/>
                    <a:pt x="1206" y="836"/>
                  </a:cubicBezTo>
                  <a:cubicBezTo>
                    <a:pt x="1206" y="836"/>
                    <a:pt x="1206" y="836"/>
                    <a:pt x="1206" y="836"/>
                  </a:cubicBezTo>
                  <a:cubicBezTo>
                    <a:pt x="1206" y="836"/>
                    <a:pt x="1206" y="836"/>
                    <a:pt x="1206" y="836"/>
                  </a:cubicBezTo>
                  <a:cubicBezTo>
                    <a:pt x="1206" y="836"/>
                    <a:pt x="1206" y="836"/>
                    <a:pt x="1206" y="836"/>
                  </a:cubicBezTo>
                  <a:cubicBezTo>
                    <a:pt x="1206" y="837"/>
                    <a:pt x="1206" y="837"/>
                    <a:pt x="1205" y="837"/>
                  </a:cubicBezTo>
                  <a:cubicBezTo>
                    <a:pt x="1205" y="838"/>
                    <a:pt x="1205" y="838"/>
                    <a:pt x="1205" y="838"/>
                  </a:cubicBezTo>
                  <a:cubicBezTo>
                    <a:pt x="1205" y="838"/>
                    <a:pt x="1205" y="838"/>
                    <a:pt x="1205" y="838"/>
                  </a:cubicBezTo>
                  <a:cubicBezTo>
                    <a:pt x="1205" y="838"/>
                    <a:pt x="1205" y="838"/>
                    <a:pt x="1205" y="838"/>
                  </a:cubicBezTo>
                  <a:cubicBezTo>
                    <a:pt x="1206" y="838"/>
                    <a:pt x="1206" y="838"/>
                    <a:pt x="1206" y="838"/>
                  </a:cubicBezTo>
                  <a:cubicBezTo>
                    <a:pt x="1206" y="838"/>
                    <a:pt x="1206" y="838"/>
                    <a:pt x="1206" y="838"/>
                  </a:cubicBezTo>
                  <a:cubicBezTo>
                    <a:pt x="1208" y="837"/>
                    <a:pt x="1208" y="837"/>
                    <a:pt x="1208" y="837"/>
                  </a:cubicBezTo>
                  <a:cubicBezTo>
                    <a:pt x="1210" y="837"/>
                    <a:pt x="1210" y="836"/>
                    <a:pt x="1211" y="834"/>
                  </a:cubicBezTo>
                  <a:cubicBezTo>
                    <a:pt x="1211" y="834"/>
                    <a:pt x="1211" y="834"/>
                    <a:pt x="1211" y="834"/>
                  </a:cubicBezTo>
                  <a:cubicBezTo>
                    <a:pt x="1211" y="833"/>
                    <a:pt x="1211" y="833"/>
                    <a:pt x="1211" y="833"/>
                  </a:cubicBezTo>
                  <a:cubicBezTo>
                    <a:pt x="1211" y="833"/>
                    <a:pt x="1211" y="833"/>
                    <a:pt x="1211" y="833"/>
                  </a:cubicBezTo>
                  <a:cubicBezTo>
                    <a:pt x="1211" y="833"/>
                    <a:pt x="1211" y="833"/>
                    <a:pt x="1211" y="832"/>
                  </a:cubicBezTo>
                  <a:cubicBezTo>
                    <a:pt x="1211" y="832"/>
                    <a:pt x="1211" y="832"/>
                    <a:pt x="1211" y="832"/>
                  </a:cubicBezTo>
                  <a:cubicBezTo>
                    <a:pt x="1211" y="832"/>
                    <a:pt x="1211" y="832"/>
                    <a:pt x="1211" y="832"/>
                  </a:cubicBezTo>
                  <a:cubicBezTo>
                    <a:pt x="1211" y="832"/>
                    <a:pt x="1212" y="832"/>
                    <a:pt x="1212" y="832"/>
                  </a:cubicBezTo>
                  <a:cubicBezTo>
                    <a:pt x="1212" y="832"/>
                    <a:pt x="1212" y="832"/>
                    <a:pt x="1212" y="832"/>
                  </a:cubicBezTo>
                  <a:cubicBezTo>
                    <a:pt x="1212" y="832"/>
                    <a:pt x="1212" y="832"/>
                    <a:pt x="1212" y="832"/>
                  </a:cubicBezTo>
                  <a:cubicBezTo>
                    <a:pt x="1212" y="831"/>
                    <a:pt x="1212" y="831"/>
                    <a:pt x="1212" y="831"/>
                  </a:cubicBezTo>
                  <a:cubicBezTo>
                    <a:pt x="1212" y="831"/>
                    <a:pt x="1212" y="831"/>
                    <a:pt x="1212" y="831"/>
                  </a:cubicBezTo>
                  <a:cubicBezTo>
                    <a:pt x="1212" y="831"/>
                    <a:pt x="1212" y="831"/>
                    <a:pt x="1212" y="831"/>
                  </a:cubicBezTo>
                  <a:cubicBezTo>
                    <a:pt x="1212" y="831"/>
                    <a:pt x="1212" y="831"/>
                    <a:pt x="1212" y="831"/>
                  </a:cubicBezTo>
                  <a:cubicBezTo>
                    <a:pt x="1212" y="831"/>
                    <a:pt x="1212" y="830"/>
                    <a:pt x="1212" y="830"/>
                  </a:cubicBezTo>
                  <a:cubicBezTo>
                    <a:pt x="1212" y="830"/>
                    <a:pt x="1212" y="830"/>
                    <a:pt x="1212" y="830"/>
                  </a:cubicBezTo>
                  <a:cubicBezTo>
                    <a:pt x="1212" y="830"/>
                    <a:pt x="1212" y="830"/>
                    <a:pt x="1212" y="830"/>
                  </a:cubicBezTo>
                  <a:cubicBezTo>
                    <a:pt x="1212" y="829"/>
                    <a:pt x="1212" y="829"/>
                    <a:pt x="1213" y="829"/>
                  </a:cubicBezTo>
                  <a:cubicBezTo>
                    <a:pt x="1213" y="829"/>
                    <a:pt x="1213" y="829"/>
                    <a:pt x="1213" y="829"/>
                  </a:cubicBezTo>
                  <a:cubicBezTo>
                    <a:pt x="1213" y="829"/>
                    <a:pt x="1213" y="829"/>
                    <a:pt x="1213" y="829"/>
                  </a:cubicBezTo>
                  <a:cubicBezTo>
                    <a:pt x="1214" y="829"/>
                    <a:pt x="1214" y="829"/>
                    <a:pt x="1214" y="829"/>
                  </a:cubicBezTo>
                  <a:cubicBezTo>
                    <a:pt x="1214" y="829"/>
                    <a:pt x="1214" y="829"/>
                    <a:pt x="1214" y="829"/>
                  </a:cubicBezTo>
                  <a:cubicBezTo>
                    <a:pt x="1215" y="828"/>
                    <a:pt x="1214" y="828"/>
                    <a:pt x="1214" y="828"/>
                  </a:cubicBezTo>
                  <a:cubicBezTo>
                    <a:pt x="1214" y="827"/>
                    <a:pt x="1214" y="827"/>
                    <a:pt x="1214" y="827"/>
                  </a:cubicBezTo>
                  <a:cubicBezTo>
                    <a:pt x="1214" y="827"/>
                    <a:pt x="1214" y="827"/>
                    <a:pt x="1214" y="827"/>
                  </a:cubicBezTo>
                  <a:cubicBezTo>
                    <a:pt x="1214" y="827"/>
                    <a:pt x="1214" y="827"/>
                    <a:pt x="1214"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4" y="826"/>
                    <a:pt x="1214" y="826"/>
                    <a:pt x="1214" y="826"/>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4"/>
                    <a:pt x="1214" y="824"/>
                    <a:pt x="1214" y="824"/>
                  </a:cubicBezTo>
                  <a:cubicBezTo>
                    <a:pt x="1214" y="824"/>
                    <a:pt x="1214" y="824"/>
                    <a:pt x="1214" y="824"/>
                  </a:cubicBezTo>
                  <a:cubicBezTo>
                    <a:pt x="1214" y="824"/>
                    <a:pt x="1214" y="824"/>
                    <a:pt x="1214" y="824"/>
                  </a:cubicBezTo>
                  <a:cubicBezTo>
                    <a:pt x="1215" y="824"/>
                    <a:pt x="1215" y="824"/>
                    <a:pt x="1215" y="824"/>
                  </a:cubicBezTo>
                  <a:cubicBezTo>
                    <a:pt x="1215" y="824"/>
                    <a:pt x="1215" y="824"/>
                    <a:pt x="1215" y="824"/>
                  </a:cubicBezTo>
                  <a:cubicBezTo>
                    <a:pt x="1215" y="824"/>
                    <a:pt x="1215" y="824"/>
                    <a:pt x="1215" y="824"/>
                  </a:cubicBezTo>
                  <a:cubicBezTo>
                    <a:pt x="1215" y="823"/>
                    <a:pt x="1216" y="823"/>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7" y="822"/>
                    <a:pt x="1217" y="822"/>
                    <a:pt x="1217" y="822"/>
                  </a:cubicBezTo>
                  <a:cubicBezTo>
                    <a:pt x="1217" y="822"/>
                    <a:pt x="1217" y="822"/>
                    <a:pt x="1217" y="822"/>
                  </a:cubicBezTo>
                  <a:cubicBezTo>
                    <a:pt x="1217" y="822"/>
                    <a:pt x="1217" y="822"/>
                    <a:pt x="1217" y="822"/>
                  </a:cubicBezTo>
                  <a:cubicBezTo>
                    <a:pt x="1217" y="822"/>
                    <a:pt x="1217" y="822"/>
                    <a:pt x="1217" y="822"/>
                  </a:cubicBezTo>
                  <a:cubicBezTo>
                    <a:pt x="1217" y="822"/>
                    <a:pt x="1217" y="822"/>
                    <a:pt x="1217" y="822"/>
                  </a:cubicBezTo>
                  <a:cubicBezTo>
                    <a:pt x="1218" y="822"/>
                    <a:pt x="1218" y="822"/>
                    <a:pt x="1218" y="822"/>
                  </a:cubicBezTo>
                  <a:cubicBezTo>
                    <a:pt x="1218" y="822"/>
                    <a:pt x="1218" y="822"/>
                    <a:pt x="1218" y="822"/>
                  </a:cubicBezTo>
                  <a:cubicBezTo>
                    <a:pt x="1218" y="823"/>
                    <a:pt x="1218" y="823"/>
                    <a:pt x="1218" y="823"/>
                  </a:cubicBezTo>
                  <a:cubicBezTo>
                    <a:pt x="1218" y="823"/>
                    <a:pt x="1218" y="823"/>
                    <a:pt x="1218" y="823"/>
                  </a:cubicBezTo>
                  <a:cubicBezTo>
                    <a:pt x="1219" y="825"/>
                    <a:pt x="1219" y="825"/>
                    <a:pt x="1219" y="825"/>
                  </a:cubicBezTo>
                  <a:cubicBezTo>
                    <a:pt x="1219" y="826"/>
                    <a:pt x="1219" y="826"/>
                    <a:pt x="1219" y="826"/>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8" y="827"/>
                    <a:pt x="1218" y="827"/>
                    <a:pt x="1218" y="827"/>
                  </a:cubicBezTo>
                  <a:cubicBezTo>
                    <a:pt x="1218" y="827"/>
                    <a:pt x="1218" y="827"/>
                    <a:pt x="1218" y="827"/>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7" y="829"/>
                    <a:pt x="1217" y="829"/>
                    <a:pt x="1216" y="829"/>
                  </a:cubicBezTo>
                  <a:cubicBezTo>
                    <a:pt x="1216" y="829"/>
                    <a:pt x="1216" y="829"/>
                    <a:pt x="1216" y="829"/>
                  </a:cubicBezTo>
                  <a:cubicBezTo>
                    <a:pt x="1216" y="830"/>
                    <a:pt x="1216" y="830"/>
                    <a:pt x="1216" y="830"/>
                  </a:cubicBezTo>
                  <a:cubicBezTo>
                    <a:pt x="1216" y="830"/>
                    <a:pt x="1215" y="830"/>
                    <a:pt x="1215" y="831"/>
                  </a:cubicBezTo>
                  <a:cubicBezTo>
                    <a:pt x="1215" y="831"/>
                    <a:pt x="1215" y="831"/>
                    <a:pt x="1215" y="831"/>
                  </a:cubicBezTo>
                  <a:cubicBezTo>
                    <a:pt x="1215" y="831"/>
                    <a:pt x="1215" y="831"/>
                    <a:pt x="1215" y="831"/>
                  </a:cubicBezTo>
                  <a:cubicBezTo>
                    <a:pt x="1215" y="831"/>
                    <a:pt x="1215" y="831"/>
                    <a:pt x="1215" y="831"/>
                  </a:cubicBezTo>
                  <a:cubicBezTo>
                    <a:pt x="1215" y="831"/>
                    <a:pt x="1215" y="831"/>
                    <a:pt x="1215" y="831"/>
                  </a:cubicBezTo>
                  <a:cubicBezTo>
                    <a:pt x="1214" y="831"/>
                    <a:pt x="1214" y="831"/>
                    <a:pt x="1214" y="832"/>
                  </a:cubicBezTo>
                  <a:cubicBezTo>
                    <a:pt x="1214" y="832"/>
                    <a:pt x="1214" y="832"/>
                    <a:pt x="1214" y="832"/>
                  </a:cubicBezTo>
                  <a:cubicBezTo>
                    <a:pt x="1213" y="832"/>
                    <a:pt x="1213" y="832"/>
                    <a:pt x="1213" y="832"/>
                  </a:cubicBezTo>
                  <a:cubicBezTo>
                    <a:pt x="1213" y="833"/>
                    <a:pt x="1213" y="833"/>
                    <a:pt x="1213" y="833"/>
                  </a:cubicBezTo>
                  <a:cubicBezTo>
                    <a:pt x="1213" y="833"/>
                    <a:pt x="1213" y="833"/>
                    <a:pt x="1213" y="833"/>
                  </a:cubicBezTo>
                  <a:cubicBezTo>
                    <a:pt x="1213" y="833"/>
                    <a:pt x="1213" y="833"/>
                    <a:pt x="1213" y="833"/>
                  </a:cubicBezTo>
                  <a:cubicBezTo>
                    <a:pt x="1213" y="833"/>
                    <a:pt x="1213" y="833"/>
                    <a:pt x="1213" y="833"/>
                  </a:cubicBezTo>
                  <a:cubicBezTo>
                    <a:pt x="1213" y="833"/>
                    <a:pt x="1213" y="833"/>
                    <a:pt x="1213" y="833"/>
                  </a:cubicBezTo>
                  <a:cubicBezTo>
                    <a:pt x="1214" y="833"/>
                    <a:pt x="1214" y="833"/>
                    <a:pt x="1214" y="833"/>
                  </a:cubicBezTo>
                  <a:cubicBezTo>
                    <a:pt x="1214" y="833"/>
                    <a:pt x="1214" y="833"/>
                    <a:pt x="1214" y="833"/>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5" y="833"/>
                    <a:pt x="1215" y="833"/>
                    <a:pt x="1215" y="833"/>
                  </a:cubicBezTo>
                  <a:cubicBezTo>
                    <a:pt x="1216" y="832"/>
                    <a:pt x="1216" y="832"/>
                    <a:pt x="1216" y="832"/>
                  </a:cubicBezTo>
                  <a:cubicBezTo>
                    <a:pt x="1216" y="831"/>
                    <a:pt x="1216" y="831"/>
                    <a:pt x="1216" y="831"/>
                  </a:cubicBezTo>
                  <a:cubicBezTo>
                    <a:pt x="1216" y="831"/>
                    <a:pt x="1216" y="831"/>
                    <a:pt x="1216" y="831"/>
                  </a:cubicBezTo>
                  <a:cubicBezTo>
                    <a:pt x="1217" y="831"/>
                    <a:pt x="1217" y="830"/>
                    <a:pt x="1218" y="831"/>
                  </a:cubicBezTo>
                  <a:cubicBezTo>
                    <a:pt x="1218" y="831"/>
                    <a:pt x="1218" y="831"/>
                    <a:pt x="1218" y="831"/>
                  </a:cubicBezTo>
                  <a:cubicBezTo>
                    <a:pt x="1218" y="831"/>
                    <a:pt x="1218" y="831"/>
                    <a:pt x="1218" y="831"/>
                  </a:cubicBezTo>
                  <a:cubicBezTo>
                    <a:pt x="1218" y="830"/>
                    <a:pt x="1218" y="830"/>
                    <a:pt x="1218" y="830"/>
                  </a:cubicBezTo>
                  <a:cubicBezTo>
                    <a:pt x="1219" y="830"/>
                    <a:pt x="1219" y="830"/>
                    <a:pt x="1219" y="830"/>
                  </a:cubicBezTo>
                  <a:cubicBezTo>
                    <a:pt x="1219" y="830"/>
                    <a:pt x="1219" y="830"/>
                    <a:pt x="1220" y="830"/>
                  </a:cubicBezTo>
                  <a:cubicBezTo>
                    <a:pt x="1220" y="830"/>
                    <a:pt x="1220" y="830"/>
                    <a:pt x="1220" y="830"/>
                  </a:cubicBezTo>
                  <a:cubicBezTo>
                    <a:pt x="1220" y="830"/>
                    <a:pt x="1220" y="830"/>
                    <a:pt x="1220" y="830"/>
                  </a:cubicBezTo>
                  <a:cubicBezTo>
                    <a:pt x="1219" y="829"/>
                    <a:pt x="1219" y="829"/>
                    <a:pt x="1219" y="828"/>
                  </a:cubicBezTo>
                  <a:cubicBezTo>
                    <a:pt x="1219" y="828"/>
                    <a:pt x="1219" y="828"/>
                    <a:pt x="1219" y="828"/>
                  </a:cubicBezTo>
                  <a:cubicBezTo>
                    <a:pt x="1219" y="828"/>
                    <a:pt x="1219" y="828"/>
                    <a:pt x="1219" y="828"/>
                  </a:cubicBezTo>
                  <a:cubicBezTo>
                    <a:pt x="1219" y="828"/>
                    <a:pt x="1219" y="828"/>
                    <a:pt x="1219" y="828"/>
                  </a:cubicBezTo>
                  <a:cubicBezTo>
                    <a:pt x="1219" y="828"/>
                    <a:pt x="1219" y="828"/>
                    <a:pt x="1219" y="828"/>
                  </a:cubicBezTo>
                  <a:cubicBezTo>
                    <a:pt x="1220" y="828"/>
                    <a:pt x="1220" y="828"/>
                    <a:pt x="1220" y="828"/>
                  </a:cubicBezTo>
                  <a:cubicBezTo>
                    <a:pt x="1221" y="828"/>
                    <a:pt x="1221" y="828"/>
                    <a:pt x="1221" y="828"/>
                  </a:cubicBezTo>
                  <a:cubicBezTo>
                    <a:pt x="1221" y="829"/>
                    <a:pt x="1221" y="829"/>
                    <a:pt x="1221" y="829"/>
                  </a:cubicBezTo>
                  <a:cubicBezTo>
                    <a:pt x="1222" y="829"/>
                    <a:pt x="1222" y="829"/>
                    <a:pt x="1223" y="828"/>
                  </a:cubicBezTo>
                  <a:cubicBezTo>
                    <a:pt x="1223" y="828"/>
                    <a:pt x="1223" y="828"/>
                    <a:pt x="1223" y="828"/>
                  </a:cubicBezTo>
                  <a:cubicBezTo>
                    <a:pt x="1223" y="828"/>
                    <a:pt x="1223" y="828"/>
                    <a:pt x="1223" y="828"/>
                  </a:cubicBezTo>
                  <a:cubicBezTo>
                    <a:pt x="1224" y="827"/>
                    <a:pt x="1224" y="827"/>
                    <a:pt x="1224" y="827"/>
                  </a:cubicBezTo>
                  <a:cubicBezTo>
                    <a:pt x="1224" y="826"/>
                    <a:pt x="1224" y="826"/>
                    <a:pt x="1224" y="826"/>
                  </a:cubicBezTo>
                  <a:cubicBezTo>
                    <a:pt x="1224" y="826"/>
                    <a:pt x="1224" y="826"/>
                    <a:pt x="1224" y="826"/>
                  </a:cubicBezTo>
                  <a:cubicBezTo>
                    <a:pt x="1224" y="826"/>
                    <a:pt x="1224" y="826"/>
                    <a:pt x="1224" y="826"/>
                  </a:cubicBezTo>
                  <a:cubicBezTo>
                    <a:pt x="1224" y="826"/>
                    <a:pt x="1224" y="826"/>
                    <a:pt x="1224" y="826"/>
                  </a:cubicBezTo>
                  <a:cubicBezTo>
                    <a:pt x="1224" y="825"/>
                    <a:pt x="1224" y="825"/>
                    <a:pt x="1224" y="825"/>
                  </a:cubicBezTo>
                  <a:cubicBezTo>
                    <a:pt x="1224" y="824"/>
                    <a:pt x="1224" y="824"/>
                    <a:pt x="1224" y="824"/>
                  </a:cubicBezTo>
                  <a:cubicBezTo>
                    <a:pt x="1224" y="824"/>
                    <a:pt x="1224" y="824"/>
                    <a:pt x="1224" y="824"/>
                  </a:cubicBezTo>
                  <a:cubicBezTo>
                    <a:pt x="1224" y="824"/>
                    <a:pt x="1224" y="824"/>
                    <a:pt x="1224" y="824"/>
                  </a:cubicBezTo>
                  <a:cubicBezTo>
                    <a:pt x="1224" y="824"/>
                    <a:pt x="1224" y="824"/>
                    <a:pt x="1224" y="824"/>
                  </a:cubicBezTo>
                  <a:cubicBezTo>
                    <a:pt x="1224" y="824"/>
                    <a:pt x="1224" y="824"/>
                    <a:pt x="1224" y="824"/>
                  </a:cubicBezTo>
                  <a:cubicBezTo>
                    <a:pt x="1224" y="823"/>
                    <a:pt x="1224" y="823"/>
                    <a:pt x="1224" y="823"/>
                  </a:cubicBezTo>
                  <a:cubicBezTo>
                    <a:pt x="1224" y="823"/>
                    <a:pt x="1224" y="823"/>
                    <a:pt x="1224" y="823"/>
                  </a:cubicBezTo>
                  <a:cubicBezTo>
                    <a:pt x="1223" y="823"/>
                    <a:pt x="1223" y="823"/>
                    <a:pt x="1223" y="823"/>
                  </a:cubicBezTo>
                  <a:cubicBezTo>
                    <a:pt x="1223" y="823"/>
                    <a:pt x="1223" y="823"/>
                    <a:pt x="1223" y="823"/>
                  </a:cubicBezTo>
                  <a:cubicBezTo>
                    <a:pt x="1223" y="823"/>
                    <a:pt x="1223" y="823"/>
                    <a:pt x="1223" y="823"/>
                  </a:cubicBezTo>
                  <a:cubicBezTo>
                    <a:pt x="1223" y="823"/>
                    <a:pt x="1223" y="823"/>
                    <a:pt x="1223" y="823"/>
                  </a:cubicBezTo>
                  <a:cubicBezTo>
                    <a:pt x="1223" y="822"/>
                    <a:pt x="1223" y="822"/>
                    <a:pt x="1223" y="822"/>
                  </a:cubicBezTo>
                  <a:cubicBezTo>
                    <a:pt x="1222" y="822"/>
                    <a:pt x="1222" y="822"/>
                    <a:pt x="1222" y="822"/>
                  </a:cubicBezTo>
                  <a:cubicBezTo>
                    <a:pt x="1221" y="822"/>
                    <a:pt x="1221" y="822"/>
                    <a:pt x="1221" y="822"/>
                  </a:cubicBezTo>
                  <a:cubicBezTo>
                    <a:pt x="1221" y="822"/>
                    <a:pt x="1221" y="822"/>
                    <a:pt x="1221" y="822"/>
                  </a:cubicBezTo>
                  <a:cubicBezTo>
                    <a:pt x="1221" y="822"/>
                    <a:pt x="1221" y="822"/>
                    <a:pt x="1221" y="822"/>
                  </a:cubicBezTo>
                  <a:cubicBezTo>
                    <a:pt x="1221" y="821"/>
                    <a:pt x="1221" y="821"/>
                    <a:pt x="1221" y="821"/>
                  </a:cubicBezTo>
                  <a:cubicBezTo>
                    <a:pt x="1221" y="821"/>
                    <a:pt x="1221" y="821"/>
                    <a:pt x="1221" y="821"/>
                  </a:cubicBezTo>
                  <a:cubicBezTo>
                    <a:pt x="1221" y="821"/>
                    <a:pt x="1221" y="820"/>
                    <a:pt x="1221" y="820"/>
                  </a:cubicBezTo>
                  <a:cubicBezTo>
                    <a:pt x="1221" y="820"/>
                    <a:pt x="1221" y="820"/>
                    <a:pt x="1221" y="820"/>
                  </a:cubicBezTo>
                  <a:cubicBezTo>
                    <a:pt x="1221" y="820"/>
                    <a:pt x="1221" y="820"/>
                    <a:pt x="1221" y="820"/>
                  </a:cubicBezTo>
                  <a:cubicBezTo>
                    <a:pt x="1221" y="819"/>
                    <a:pt x="1221" y="819"/>
                    <a:pt x="1221" y="818"/>
                  </a:cubicBezTo>
                  <a:cubicBezTo>
                    <a:pt x="1221" y="818"/>
                    <a:pt x="1221" y="818"/>
                    <a:pt x="1221" y="818"/>
                  </a:cubicBezTo>
                  <a:cubicBezTo>
                    <a:pt x="1221" y="818"/>
                    <a:pt x="1221" y="818"/>
                    <a:pt x="1221" y="818"/>
                  </a:cubicBezTo>
                  <a:cubicBezTo>
                    <a:pt x="1221" y="818"/>
                    <a:pt x="1221" y="818"/>
                    <a:pt x="1221" y="818"/>
                  </a:cubicBezTo>
                  <a:cubicBezTo>
                    <a:pt x="1221" y="818"/>
                    <a:pt x="1221" y="818"/>
                    <a:pt x="1221" y="818"/>
                  </a:cubicBezTo>
                  <a:cubicBezTo>
                    <a:pt x="1222" y="818"/>
                    <a:pt x="1222" y="818"/>
                    <a:pt x="1222" y="818"/>
                  </a:cubicBezTo>
                  <a:cubicBezTo>
                    <a:pt x="1223" y="818"/>
                    <a:pt x="1223" y="818"/>
                    <a:pt x="1223" y="818"/>
                  </a:cubicBezTo>
                  <a:cubicBezTo>
                    <a:pt x="1223" y="818"/>
                    <a:pt x="1223" y="818"/>
                    <a:pt x="1223" y="818"/>
                  </a:cubicBezTo>
                  <a:cubicBezTo>
                    <a:pt x="1223" y="818"/>
                    <a:pt x="1223" y="818"/>
                    <a:pt x="1223"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7"/>
                    <a:pt x="1225" y="817"/>
                    <a:pt x="1225" y="817"/>
                  </a:cubicBezTo>
                  <a:cubicBezTo>
                    <a:pt x="1225" y="817"/>
                    <a:pt x="1225" y="817"/>
                    <a:pt x="1225" y="817"/>
                  </a:cubicBezTo>
                  <a:cubicBezTo>
                    <a:pt x="1226" y="817"/>
                    <a:pt x="1226" y="817"/>
                    <a:pt x="1226" y="817"/>
                  </a:cubicBezTo>
                  <a:cubicBezTo>
                    <a:pt x="1226" y="817"/>
                    <a:pt x="1226" y="817"/>
                    <a:pt x="1226" y="817"/>
                  </a:cubicBezTo>
                  <a:cubicBezTo>
                    <a:pt x="1227" y="818"/>
                    <a:pt x="1227" y="818"/>
                    <a:pt x="1227" y="818"/>
                  </a:cubicBezTo>
                  <a:cubicBezTo>
                    <a:pt x="1230" y="819"/>
                    <a:pt x="1230" y="819"/>
                    <a:pt x="1230" y="819"/>
                  </a:cubicBezTo>
                  <a:cubicBezTo>
                    <a:pt x="1238" y="822"/>
                    <a:pt x="1238" y="822"/>
                    <a:pt x="1238" y="822"/>
                  </a:cubicBezTo>
                  <a:cubicBezTo>
                    <a:pt x="1241" y="823"/>
                    <a:pt x="1241" y="823"/>
                    <a:pt x="1241" y="823"/>
                  </a:cubicBezTo>
                  <a:cubicBezTo>
                    <a:pt x="1242" y="823"/>
                    <a:pt x="1244" y="824"/>
                    <a:pt x="1245" y="825"/>
                  </a:cubicBezTo>
                  <a:cubicBezTo>
                    <a:pt x="1245" y="825"/>
                    <a:pt x="1245" y="825"/>
                    <a:pt x="1245" y="825"/>
                  </a:cubicBezTo>
                  <a:cubicBezTo>
                    <a:pt x="1245" y="825"/>
                    <a:pt x="1245" y="825"/>
                    <a:pt x="1245" y="825"/>
                  </a:cubicBezTo>
                  <a:cubicBezTo>
                    <a:pt x="1246" y="824"/>
                    <a:pt x="1246" y="824"/>
                    <a:pt x="1247" y="824"/>
                  </a:cubicBezTo>
                  <a:cubicBezTo>
                    <a:pt x="1247" y="824"/>
                    <a:pt x="1247" y="824"/>
                    <a:pt x="1247" y="824"/>
                  </a:cubicBezTo>
                  <a:cubicBezTo>
                    <a:pt x="1248" y="824"/>
                    <a:pt x="1248" y="824"/>
                    <a:pt x="1248" y="824"/>
                  </a:cubicBezTo>
                  <a:cubicBezTo>
                    <a:pt x="1248" y="824"/>
                    <a:pt x="1248" y="824"/>
                    <a:pt x="1248" y="824"/>
                  </a:cubicBezTo>
                  <a:cubicBezTo>
                    <a:pt x="1248" y="824"/>
                    <a:pt x="1248" y="824"/>
                    <a:pt x="1248" y="824"/>
                  </a:cubicBezTo>
                  <a:cubicBezTo>
                    <a:pt x="1248" y="824"/>
                    <a:pt x="1249" y="824"/>
                    <a:pt x="1249" y="824"/>
                  </a:cubicBezTo>
                  <a:cubicBezTo>
                    <a:pt x="1249" y="824"/>
                    <a:pt x="1249" y="824"/>
                    <a:pt x="1249" y="824"/>
                  </a:cubicBezTo>
                  <a:cubicBezTo>
                    <a:pt x="1249" y="824"/>
                    <a:pt x="1249" y="824"/>
                    <a:pt x="1249" y="824"/>
                  </a:cubicBezTo>
                  <a:cubicBezTo>
                    <a:pt x="1250" y="824"/>
                    <a:pt x="1250" y="824"/>
                    <a:pt x="1250" y="824"/>
                  </a:cubicBezTo>
                  <a:cubicBezTo>
                    <a:pt x="1250" y="824"/>
                    <a:pt x="1250" y="824"/>
                    <a:pt x="1250" y="824"/>
                  </a:cubicBezTo>
                  <a:cubicBezTo>
                    <a:pt x="1250" y="823"/>
                    <a:pt x="1250" y="823"/>
                    <a:pt x="1250" y="823"/>
                  </a:cubicBezTo>
                  <a:cubicBezTo>
                    <a:pt x="1250" y="823"/>
                    <a:pt x="1250" y="823"/>
                    <a:pt x="1250" y="823"/>
                  </a:cubicBezTo>
                  <a:cubicBezTo>
                    <a:pt x="1250" y="823"/>
                    <a:pt x="1250" y="823"/>
                    <a:pt x="1250" y="823"/>
                  </a:cubicBezTo>
                  <a:cubicBezTo>
                    <a:pt x="1250" y="823"/>
                    <a:pt x="1250" y="823"/>
                    <a:pt x="1250" y="823"/>
                  </a:cubicBezTo>
                  <a:cubicBezTo>
                    <a:pt x="1251" y="823"/>
                    <a:pt x="1251" y="823"/>
                    <a:pt x="1251" y="823"/>
                  </a:cubicBezTo>
                  <a:cubicBezTo>
                    <a:pt x="1251" y="823"/>
                    <a:pt x="1251" y="823"/>
                    <a:pt x="1251" y="823"/>
                  </a:cubicBezTo>
                  <a:cubicBezTo>
                    <a:pt x="1252" y="824"/>
                    <a:pt x="1252" y="824"/>
                    <a:pt x="1252" y="824"/>
                  </a:cubicBezTo>
                  <a:cubicBezTo>
                    <a:pt x="1253" y="824"/>
                    <a:pt x="1253" y="824"/>
                    <a:pt x="1253" y="824"/>
                  </a:cubicBezTo>
                  <a:cubicBezTo>
                    <a:pt x="1254" y="824"/>
                    <a:pt x="1254" y="824"/>
                    <a:pt x="1254" y="824"/>
                  </a:cubicBezTo>
                  <a:cubicBezTo>
                    <a:pt x="1255" y="824"/>
                    <a:pt x="1255" y="824"/>
                    <a:pt x="1255" y="824"/>
                  </a:cubicBezTo>
                  <a:cubicBezTo>
                    <a:pt x="1255" y="824"/>
                    <a:pt x="1255" y="824"/>
                    <a:pt x="1255" y="824"/>
                  </a:cubicBezTo>
                  <a:cubicBezTo>
                    <a:pt x="1255" y="824"/>
                    <a:pt x="1255" y="824"/>
                    <a:pt x="1255" y="824"/>
                  </a:cubicBezTo>
                  <a:cubicBezTo>
                    <a:pt x="1255" y="824"/>
                    <a:pt x="1255" y="824"/>
                    <a:pt x="1255" y="824"/>
                  </a:cubicBezTo>
                  <a:cubicBezTo>
                    <a:pt x="1255" y="824"/>
                    <a:pt x="1256" y="824"/>
                    <a:pt x="1256" y="824"/>
                  </a:cubicBezTo>
                  <a:cubicBezTo>
                    <a:pt x="1256" y="824"/>
                    <a:pt x="1256" y="824"/>
                    <a:pt x="1256" y="824"/>
                  </a:cubicBezTo>
                  <a:cubicBezTo>
                    <a:pt x="1256" y="824"/>
                    <a:pt x="1256" y="824"/>
                    <a:pt x="1256" y="824"/>
                  </a:cubicBezTo>
                  <a:cubicBezTo>
                    <a:pt x="1256" y="824"/>
                    <a:pt x="1256" y="824"/>
                    <a:pt x="1256" y="824"/>
                  </a:cubicBezTo>
                  <a:cubicBezTo>
                    <a:pt x="1256" y="824"/>
                    <a:pt x="1256" y="824"/>
                    <a:pt x="1256" y="824"/>
                  </a:cubicBezTo>
                  <a:cubicBezTo>
                    <a:pt x="1256" y="823"/>
                    <a:pt x="1256" y="823"/>
                    <a:pt x="1256" y="823"/>
                  </a:cubicBezTo>
                  <a:cubicBezTo>
                    <a:pt x="1257" y="823"/>
                    <a:pt x="1257" y="823"/>
                    <a:pt x="1257" y="823"/>
                  </a:cubicBezTo>
                  <a:cubicBezTo>
                    <a:pt x="1257" y="823"/>
                    <a:pt x="1257" y="823"/>
                    <a:pt x="1257" y="823"/>
                  </a:cubicBezTo>
                  <a:cubicBezTo>
                    <a:pt x="1257" y="823"/>
                    <a:pt x="1257" y="823"/>
                    <a:pt x="1257" y="823"/>
                  </a:cubicBezTo>
                  <a:cubicBezTo>
                    <a:pt x="1258" y="824"/>
                    <a:pt x="1258" y="824"/>
                    <a:pt x="1258" y="824"/>
                  </a:cubicBezTo>
                  <a:cubicBezTo>
                    <a:pt x="1259" y="824"/>
                    <a:pt x="1259" y="824"/>
                    <a:pt x="1259" y="824"/>
                  </a:cubicBezTo>
                  <a:cubicBezTo>
                    <a:pt x="1259" y="824"/>
                    <a:pt x="1259" y="824"/>
                    <a:pt x="1259" y="824"/>
                  </a:cubicBezTo>
                  <a:cubicBezTo>
                    <a:pt x="1261" y="825"/>
                    <a:pt x="1261" y="825"/>
                    <a:pt x="1261" y="825"/>
                  </a:cubicBezTo>
                  <a:cubicBezTo>
                    <a:pt x="1261" y="825"/>
                    <a:pt x="1261" y="825"/>
                    <a:pt x="1261"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3" y="825"/>
                    <a:pt x="1263" y="825"/>
                    <a:pt x="1263" y="825"/>
                  </a:cubicBezTo>
                  <a:cubicBezTo>
                    <a:pt x="1263" y="824"/>
                    <a:pt x="1263" y="824"/>
                    <a:pt x="1263" y="824"/>
                  </a:cubicBezTo>
                  <a:cubicBezTo>
                    <a:pt x="1263" y="824"/>
                    <a:pt x="1263" y="824"/>
                    <a:pt x="1263" y="824"/>
                  </a:cubicBezTo>
                  <a:cubicBezTo>
                    <a:pt x="1263" y="825"/>
                    <a:pt x="1263" y="825"/>
                    <a:pt x="1263" y="825"/>
                  </a:cubicBezTo>
                  <a:cubicBezTo>
                    <a:pt x="1264" y="826"/>
                    <a:pt x="1264" y="826"/>
                    <a:pt x="1264" y="826"/>
                  </a:cubicBezTo>
                  <a:cubicBezTo>
                    <a:pt x="1266" y="829"/>
                    <a:pt x="1266" y="829"/>
                    <a:pt x="1266" y="829"/>
                  </a:cubicBezTo>
                  <a:cubicBezTo>
                    <a:pt x="1267" y="830"/>
                    <a:pt x="1267" y="830"/>
                    <a:pt x="1267" y="830"/>
                  </a:cubicBezTo>
                  <a:cubicBezTo>
                    <a:pt x="1267" y="831"/>
                    <a:pt x="1267" y="831"/>
                    <a:pt x="1267" y="831"/>
                  </a:cubicBezTo>
                  <a:cubicBezTo>
                    <a:pt x="1267" y="831"/>
                    <a:pt x="1268" y="832"/>
                    <a:pt x="1268" y="832"/>
                  </a:cubicBezTo>
                  <a:cubicBezTo>
                    <a:pt x="1268" y="832"/>
                    <a:pt x="1268" y="832"/>
                    <a:pt x="1268" y="832"/>
                  </a:cubicBezTo>
                  <a:cubicBezTo>
                    <a:pt x="1268" y="832"/>
                    <a:pt x="1268" y="832"/>
                    <a:pt x="1268" y="832"/>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4"/>
                    <a:pt x="1268" y="834"/>
                    <a:pt x="1268" y="834"/>
                  </a:cubicBezTo>
                  <a:cubicBezTo>
                    <a:pt x="1268" y="834"/>
                    <a:pt x="1268" y="834"/>
                    <a:pt x="1268" y="834"/>
                  </a:cubicBezTo>
                  <a:cubicBezTo>
                    <a:pt x="1268" y="834"/>
                    <a:pt x="1268" y="834"/>
                    <a:pt x="1268" y="834"/>
                  </a:cubicBezTo>
                  <a:cubicBezTo>
                    <a:pt x="1268" y="834"/>
                    <a:pt x="1268" y="834"/>
                    <a:pt x="1268" y="834"/>
                  </a:cubicBezTo>
                  <a:cubicBezTo>
                    <a:pt x="1268" y="835"/>
                    <a:pt x="1268" y="834"/>
                    <a:pt x="1268" y="835"/>
                  </a:cubicBezTo>
                  <a:cubicBezTo>
                    <a:pt x="1269" y="835"/>
                    <a:pt x="1269" y="835"/>
                    <a:pt x="1269" y="835"/>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8"/>
                    <a:pt x="1269" y="838"/>
                    <a:pt x="1269" y="838"/>
                  </a:cubicBezTo>
                  <a:cubicBezTo>
                    <a:pt x="1269" y="838"/>
                    <a:pt x="1269" y="838"/>
                    <a:pt x="1269" y="838"/>
                  </a:cubicBezTo>
                  <a:cubicBezTo>
                    <a:pt x="1269" y="838"/>
                    <a:pt x="1269" y="838"/>
                    <a:pt x="1269" y="838"/>
                  </a:cubicBezTo>
                  <a:cubicBezTo>
                    <a:pt x="1270" y="838"/>
                    <a:pt x="1270" y="839"/>
                    <a:pt x="1270" y="839"/>
                  </a:cubicBezTo>
                  <a:cubicBezTo>
                    <a:pt x="1270" y="839"/>
                    <a:pt x="1270" y="839"/>
                    <a:pt x="1270" y="839"/>
                  </a:cubicBezTo>
                  <a:cubicBezTo>
                    <a:pt x="1270" y="839"/>
                    <a:pt x="1270" y="839"/>
                    <a:pt x="1270" y="839"/>
                  </a:cubicBezTo>
                  <a:cubicBezTo>
                    <a:pt x="1270" y="840"/>
                    <a:pt x="1270" y="840"/>
                    <a:pt x="1270" y="840"/>
                  </a:cubicBezTo>
                  <a:cubicBezTo>
                    <a:pt x="1271" y="841"/>
                    <a:pt x="1271" y="841"/>
                    <a:pt x="1271" y="841"/>
                  </a:cubicBezTo>
                  <a:cubicBezTo>
                    <a:pt x="1271" y="841"/>
                    <a:pt x="1271" y="841"/>
                    <a:pt x="1271" y="841"/>
                  </a:cubicBezTo>
                  <a:cubicBezTo>
                    <a:pt x="1271" y="841"/>
                    <a:pt x="1271" y="841"/>
                    <a:pt x="1271" y="841"/>
                  </a:cubicBezTo>
                  <a:cubicBezTo>
                    <a:pt x="1271" y="841"/>
                    <a:pt x="1271" y="841"/>
                    <a:pt x="1271" y="841"/>
                  </a:cubicBezTo>
                  <a:cubicBezTo>
                    <a:pt x="1271" y="842"/>
                    <a:pt x="1271" y="842"/>
                    <a:pt x="1272" y="842"/>
                  </a:cubicBezTo>
                  <a:cubicBezTo>
                    <a:pt x="1272" y="843"/>
                    <a:pt x="1272" y="843"/>
                    <a:pt x="1272" y="843"/>
                  </a:cubicBezTo>
                  <a:cubicBezTo>
                    <a:pt x="1272" y="843"/>
                    <a:pt x="1272" y="843"/>
                    <a:pt x="1272" y="843"/>
                  </a:cubicBezTo>
                  <a:cubicBezTo>
                    <a:pt x="1272" y="843"/>
                    <a:pt x="1272" y="843"/>
                    <a:pt x="1273" y="844"/>
                  </a:cubicBezTo>
                  <a:cubicBezTo>
                    <a:pt x="1273" y="844"/>
                    <a:pt x="1273" y="844"/>
                    <a:pt x="1273" y="844"/>
                  </a:cubicBezTo>
                  <a:cubicBezTo>
                    <a:pt x="1273" y="844"/>
                    <a:pt x="1273" y="844"/>
                    <a:pt x="1273" y="844"/>
                  </a:cubicBezTo>
                  <a:cubicBezTo>
                    <a:pt x="1273" y="844"/>
                    <a:pt x="1273" y="844"/>
                    <a:pt x="1273" y="844"/>
                  </a:cubicBezTo>
                  <a:cubicBezTo>
                    <a:pt x="1273" y="844"/>
                    <a:pt x="1273" y="844"/>
                    <a:pt x="1273" y="844"/>
                  </a:cubicBezTo>
                  <a:cubicBezTo>
                    <a:pt x="1273" y="844"/>
                    <a:pt x="1273" y="844"/>
                    <a:pt x="1273" y="844"/>
                  </a:cubicBezTo>
                  <a:cubicBezTo>
                    <a:pt x="1273" y="845"/>
                    <a:pt x="1273" y="845"/>
                    <a:pt x="1273" y="845"/>
                  </a:cubicBezTo>
                  <a:cubicBezTo>
                    <a:pt x="1273" y="845"/>
                    <a:pt x="1273" y="845"/>
                    <a:pt x="1273" y="845"/>
                  </a:cubicBezTo>
                  <a:cubicBezTo>
                    <a:pt x="1274" y="845"/>
                    <a:pt x="1274" y="845"/>
                    <a:pt x="1274" y="845"/>
                  </a:cubicBezTo>
                  <a:cubicBezTo>
                    <a:pt x="1274" y="846"/>
                    <a:pt x="1275" y="847"/>
                    <a:pt x="1276" y="847"/>
                  </a:cubicBezTo>
                  <a:cubicBezTo>
                    <a:pt x="1276" y="847"/>
                    <a:pt x="1276" y="847"/>
                    <a:pt x="1276" y="847"/>
                  </a:cubicBezTo>
                  <a:cubicBezTo>
                    <a:pt x="1276" y="848"/>
                    <a:pt x="1276" y="848"/>
                    <a:pt x="1276" y="848"/>
                  </a:cubicBezTo>
                  <a:cubicBezTo>
                    <a:pt x="1276" y="848"/>
                    <a:pt x="1276" y="848"/>
                    <a:pt x="1276" y="848"/>
                  </a:cubicBezTo>
                  <a:cubicBezTo>
                    <a:pt x="1277" y="848"/>
                    <a:pt x="1277" y="848"/>
                    <a:pt x="1277" y="848"/>
                  </a:cubicBezTo>
                  <a:cubicBezTo>
                    <a:pt x="1279" y="848"/>
                    <a:pt x="1279" y="848"/>
                    <a:pt x="1279" y="848"/>
                  </a:cubicBezTo>
                  <a:cubicBezTo>
                    <a:pt x="1283" y="849"/>
                    <a:pt x="1283" y="849"/>
                    <a:pt x="1283" y="849"/>
                  </a:cubicBezTo>
                  <a:cubicBezTo>
                    <a:pt x="1284" y="849"/>
                    <a:pt x="1284" y="849"/>
                    <a:pt x="1284" y="849"/>
                  </a:cubicBezTo>
                  <a:cubicBezTo>
                    <a:pt x="1285" y="850"/>
                    <a:pt x="1285" y="850"/>
                    <a:pt x="1285" y="850"/>
                  </a:cubicBezTo>
                  <a:cubicBezTo>
                    <a:pt x="1285" y="850"/>
                    <a:pt x="1285" y="850"/>
                    <a:pt x="1285" y="850"/>
                  </a:cubicBezTo>
                  <a:cubicBezTo>
                    <a:pt x="1285" y="850"/>
                    <a:pt x="1285" y="850"/>
                    <a:pt x="1285" y="850"/>
                  </a:cubicBezTo>
                  <a:cubicBezTo>
                    <a:pt x="1286" y="850"/>
                    <a:pt x="1286" y="850"/>
                    <a:pt x="1286" y="850"/>
                  </a:cubicBezTo>
                  <a:cubicBezTo>
                    <a:pt x="1286" y="850"/>
                    <a:pt x="1286" y="850"/>
                    <a:pt x="1286" y="850"/>
                  </a:cubicBezTo>
                  <a:cubicBezTo>
                    <a:pt x="1286" y="850"/>
                    <a:pt x="1286" y="850"/>
                    <a:pt x="1286" y="850"/>
                  </a:cubicBezTo>
                  <a:cubicBezTo>
                    <a:pt x="1288" y="850"/>
                    <a:pt x="1288" y="849"/>
                    <a:pt x="1289" y="849"/>
                  </a:cubicBezTo>
                  <a:cubicBezTo>
                    <a:pt x="1290" y="849"/>
                    <a:pt x="1290" y="849"/>
                    <a:pt x="1290" y="849"/>
                  </a:cubicBezTo>
                  <a:cubicBezTo>
                    <a:pt x="1290" y="849"/>
                    <a:pt x="1290" y="849"/>
                    <a:pt x="1290" y="849"/>
                  </a:cubicBezTo>
                  <a:cubicBezTo>
                    <a:pt x="1290" y="849"/>
                    <a:pt x="1290" y="849"/>
                    <a:pt x="1290" y="849"/>
                  </a:cubicBezTo>
                  <a:cubicBezTo>
                    <a:pt x="1290" y="849"/>
                    <a:pt x="1290" y="849"/>
                    <a:pt x="1290" y="849"/>
                  </a:cubicBezTo>
                  <a:cubicBezTo>
                    <a:pt x="1291" y="849"/>
                    <a:pt x="1293" y="848"/>
                    <a:pt x="1294" y="848"/>
                  </a:cubicBezTo>
                  <a:cubicBezTo>
                    <a:pt x="1295" y="848"/>
                    <a:pt x="1295" y="848"/>
                    <a:pt x="1295" y="848"/>
                  </a:cubicBezTo>
                  <a:cubicBezTo>
                    <a:pt x="1296" y="848"/>
                    <a:pt x="1297" y="848"/>
                    <a:pt x="1299" y="849"/>
                  </a:cubicBezTo>
                  <a:cubicBezTo>
                    <a:pt x="1299" y="849"/>
                    <a:pt x="1299" y="849"/>
                    <a:pt x="1299" y="849"/>
                  </a:cubicBezTo>
                  <a:cubicBezTo>
                    <a:pt x="1299" y="849"/>
                    <a:pt x="1299" y="849"/>
                    <a:pt x="1299" y="849"/>
                  </a:cubicBezTo>
                  <a:cubicBezTo>
                    <a:pt x="1299" y="849"/>
                    <a:pt x="1299" y="849"/>
                    <a:pt x="1299" y="849"/>
                  </a:cubicBezTo>
                  <a:cubicBezTo>
                    <a:pt x="1299" y="849"/>
                    <a:pt x="1299" y="849"/>
                    <a:pt x="1299" y="849"/>
                  </a:cubicBezTo>
                  <a:cubicBezTo>
                    <a:pt x="1300" y="849"/>
                    <a:pt x="1300" y="849"/>
                    <a:pt x="1300" y="849"/>
                  </a:cubicBezTo>
                  <a:cubicBezTo>
                    <a:pt x="1299" y="849"/>
                    <a:pt x="1299" y="849"/>
                    <a:pt x="1299" y="849"/>
                  </a:cubicBezTo>
                  <a:cubicBezTo>
                    <a:pt x="1299" y="851"/>
                    <a:pt x="1299" y="851"/>
                    <a:pt x="1299" y="851"/>
                  </a:cubicBezTo>
                  <a:cubicBezTo>
                    <a:pt x="1299" y="851"/>
                    <a:pt x="1299" y="851"/>
                    <a:pt x="1299" y="851"/>
                  </a:cubicBezTo>
                  <a:cubicBezTo>
                    <a:pt x="1299" y="852"/>
                    <a:pt x="1299" y="852"/>
                    <a:pt x="1299"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3"/>
                    <a:pt x="1298" y="853"/>
                    <a:pt x="1298" y="853"/>
                  </a:cubicBezTo>
                  <a:cubicBezTo>
                    <a:pt x="1298" y="853"/>
                    <a:pt x="1298" y="853"/>
                    <a:pt x="1298" y="853"/>
                  </a:cubicBezTo>
                  <a:cubicBezTo>
                    <a:pt x="1298" y="853"/>
                    <a:pt x="1298" y="853"/>
                    <a:pt x="1298" y="853"/>
                  </a:cubicBezTo>
                  <a:cubicBezTo>
                    <a:pt x="1298" y="853"/>
                    <a:pt x="1298" y="853"/>
                    <a:pt x="1298" y="853"/>
                  </a:cubicBezTo>
                  <a:cubicBezTo>
                    <a:pt x="1299" y="853"/>
                    <a:pt x="1299" y="853"/>
                    <a:pt x="1299" y="853"/>
                  </a:cubicBezTo>
                  <a:cubicBezTo>
                    <a:pt x="1299" y="853"/>
                    <a:pt x="1299" y="853"/>
                    <a:pt x="1299" y="853"/>
                  </a:cubicBezTo>
                  <a:cubicBezTo>
                    <a:pt x="1299" y="854"/>
                    <a:pt x="1299" y="854"/>
                    <a:pt x="1299" y="854"/>
                  </a:cubicBezTo>
                  <a:cubicBezTo>
                    <a:pt x="1299" y="854"/>
                    <a:pt x="1299" y="854"/>
                    <a:pt x="1299" y="854"/>
                  </a:cubicBezTo>
                  <a:cubicBezTo>
                    <a:pt x="1299" y="854"/>
                    <a:pt x="1299" y="854"/>
                    <a:pt x="1299" y="854"/>
                  </a:cubicBezTo>
                  <a:cubicBezTo>
                    <a:pt x="1299" y="854"/>
                    <a:pt x="1299" y="854"/>
                    <a:pt x="1299" y="854"/>
                  </a:cubicBezTo>
                  <a:cubicBezTo>
                    <a:pt x="1299" y="854"/>
                    <a:pt x="1299" y="854"/>
                    <a:pt x="1299" y="854"/>
                  </a:cubicBezTo>
                  <a:cubicBezTo>
                    <a:pt x="1298" y="854"/>
                    <a:pt x="1298" y="854"/>
                    <a:pt x="1298" y="854"/>
                  </a:cubicBezTo>
                  <a:cubicBezTo>
                    <a:pt x="1298" y="854"/>
                    <a:pt x="1298" y="855"/>
                    <a:pt x="1298" y="855"/>
                  </a:cubicBezTo>
                  <a:cubicBezTo>
                    <a:pt x="1298" y="855"/>
                    <a:pt x="1298" y="855"/>
                    <a:pt x="1298" y="855"/>
                  </a:cubicBezTo>
                  <a:cubicBezTo>
                    <a:pt x="1298" y="855"/>
                    <a:pt x="1298" y="855"/>
                    <a:pt x="1298" y="855"/>
                  </a:cubicBezTo>
                  <a:cubicBezTo>
                    <a:pt x="1298" y="855"/>
                    <a:pt x="1298" y="855"/>
                    <a:pt x="1298" y="855"/>
                  </a:cubicBezTo>
                  <a:cubicBezTo>
                    <a:pt x="1297" y="855"/>
                    <a:pt x="1297" y="855"/>
                    <a:pt x="1297" y="855"/>
                  </a:cubicBezTo>
                  <a:cubicBezTo>
                    <a:pt x="1297" y="855"/>
                    <a:pt x="1297" y="855"/>
                    <a:pt x="1297" y="855"/>
                  </a:cubicBezTo>
                  <a:cubicBezTo>
                    <a:pt x="1297" y="855"/>
                    <a:pt x="1297" y="855"/>
                    <a:pt x="1297" y="855"/>
                  </a:cubicBezTo>
                  <a:cubicBezTo>
                    <a:pt x="1297" y="855"/>
                    <a:pt x="1297" y="855"/>
                    <a:pt x="1297" y="855"/>
                  </a:cubicBezTo>
                  <a:cubicBezTo>
                    <a:pt x="1297" y="856"/>
                    <a:pt x="1297" y="856"/>
                    <a:pt x="1297" y="856"/>
                  </a:cubicBezTo>
                  <a:cubicBezTo>
                    <a:pt x="1297" y="856"/>
                    <a:pt x="1297" y="856"/>
                    <a:pt x="1297" y="856"/>
                  </a:cubicBezTo>
                  <a:cubicBezTo>
                    <a:pt x="1297" y="856"/>
                    <a:pt x="1297" y="856"/>
                    <a:pt x="1297" y="856"/>
                  </a:cubicBezTo>
                  <a:cubicBezTo>
                    <a:pt x="1297" y="856"/>
                    <a:pt x="1297" y="856"/>
                    <a:pt x="1297" y="856"/>
                  </a:cubicBezTo>
                  <a:cubicBezTo>
                    <a:pt x="1297" y="856"/>
                    <a:pt x="1297" y="856"/>
                    <a:pt x="1297" y="856"/>
                  </a:cubicBezTo>
                  <a:cubicBezTo>
                    <a:pt x="1297" y="856"/>
                    <a:pt x="1297" y="856"/>
                    <a:pt x="1297" y="857"/>
                  </a:cubicBezTo>
                  <a:cubicBezTo>
                    <a:pt x="1297" y="857"/>
                    <a:pt x="1297" y="857"/>
                    <a:pt x="1297" y="857"/>
                  </a:cubicBezTo>
                  <a:cubicBezTo>
                    <a:pt x="1297" y="857"/>
                    <a:pt x="1297" y="857"/>
                    <a:pt x="1297" y="857"/>
                  </a:cubicBezTo>
                  <a:cubicBezTo>
                    <a:pt x="1297" y="857"/>
                    <a:pt x="1297" y="857"/>
                    <a:pt x="1297" y="857"/>
                  </a:cubicBezTo>
                  <a:cubicBezTo>
                    <a:pt x="1296" y="858"/>
                    <a:pt x="1296" y="858"/>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7" y="860"/>
                    <a:pt x="1297" y="860"/>
                    <a:pt x="1297" y="860"/>
                  </a:cubicBezTo>
                  <a:cubicBezTo>
                    <a:pt x="1297" y="860"/>
                    <a:pt x="1297" y="860"/>
                    <a:pt x="1297" y="860"/>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9" y="862"/>
                    <a:pt x="1299" y="862"/>
                    <a:pt x="1299" y="862"/>
                  </a:cubicBezTo>
                  <a:cubicBezTo>
                    <a:pt x="1300" y="863"/>
                    <a:pt x="1300" y="863"/>
                    <a:pt x="1300" y="863"/>
                  </a:cubicBezTo>
                  <a:cubicBezTo>
                    <a:pt x="1302" y="865"/>
                    <a:pt x="1302" y="865"/>
                    <a:pt x="1302" y="865"/>
                  </a:cubicBezTo>
                  <a:cubicBezTo>
                    <a:pt x="1303" y="865"/>
                    <a:pt x="1303" y="865"/>
                    <a:pt x="1303" y="865"/>
                  </a:cubicBezTo>
                  <a:cubicBezTo>
                    <a:pt x="1304" y="866"/>
                    <a:pt x="1304" y="866"/>
                    <a:pt x="1304" y="866"/>
                  </a:cubicBezTo>
                  <a:cubicBezTo>
                    <a:pt x="1304" y="866"/>
                    <a:pt x="1304" y="866"/>
                    <a:pt x="1304" y="866"/>
                  </a:cubicBezTo>
                  <a:cubicBezTo>
                    <a:pt x="1304" y="866"/>
                    <a:pt x="1304" y="866"/>
                    <a:pt x="1304" y="866"/>
                  </a:cubicBezTo>
                  <a:cubicBezTo>
                    <a:pt x="1304" y="866"/>
                    <a:pt x="1304" y="866"/>
                    <a:pt x="1304" y="866"/>
                  </a:cubicBezTo>
                  <a:cubicBezTo>
                    <a:pt x="1305" y="867"/>
                    <a:pt x="1305" y="867"/>
                    <a:pt x="1305" y="867"/>
                  </a:cubicBezTo>
                  <a:cubicBezTo>
                    <a:pt x="1306" y="867"/>
                    <a:pt x="1306" y="867"/>
                    <a:pt x="1306" y="867"/>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9"/>
                    <a:pt x="1306" y="869"/>
                    <a:pt x="1305" y="869"/>
                  </a:cubicBezTo>
                  <a:cubicBezTo>
                    <a:pt x="1305" y="869"/>
                    <a:pt x="1305" y="869"/>
                    <a:pt x="1305" y="869"/>
                  </a:cubicBezTo>
                  <a:cubicBezTo>
                    <a:pt x="1305" y="869"/>
                    <a:pt x="1305" y="869"/>
                    <a:pt x="1305" y="869"/>
                  </a:cubicBezTo>
                  <a:cubicBezTo>
                    <a:pt x="1305" y="870"/>
                    <a:pt x="1304" y="871"/>
                    <a:pt x="1304" y="871"/>
                  </a:cubicBezTo>
                  <a:cubicBezTo>
                    <a:pt x="1304" y="871"/>
                    <a:pt x="1304" y="871"/>
                    <a:pt x="1304" y="871"/>
                  </a:cubicBezTo>
                  <a:cubicBezTo>
                    <a:pt x="1304" y="871"/>
                    <a:pt x="1304" y="871"/>
                    <a:pt x="1304" y="871"/>
                  </a:cubicBezTo>
                  <a:cubicBezTo>
                    <a:pt x="1304" y="871"/>
                    <a:pt x="1304" y="871"/>
                    <a:pt x="1304" y="871"/>
                  </a:cubicBezTo>
                  <a:cubicBezTo>
                    <a:pt x="1304" y="871"/>
                    <a:pt x="1304" y="871"/>
                    <a:pt x="1304" y="871"/>
                  </a:cubicBezTo>
                  <a:cubicBezTo>
                    <a:pt x="1304" y="871"/>
                    <a:pt x="1304" y="871"/>
                    <a:pt x="1304" y="871"/>
                  </a:cubicBezTo>
                  <a:cubicBezTo>
                    <a:pt x="1304" y="872"/>
                    <a:pt x="1304" y="872"/>
                    <a:pt x="1304" y="872"/>
                  </a:cubicBezTo>
                  <a:cubicBezTo>
                    <a:pt x="1304" y="872"/>
                    <a:pt x="1304" y="872"/>
                    <a:pt x="1304" y="872"/>
                  </a:cubicBezTo>
                  <a:cubicBezTo>
                    <a:pt x="1304" y="872"/>
                    <a:pt x="1304" y="872"/>
                    <a:pt x="1304" y="872"/>
                  </a:cubicBezTo>
                  <a:cubicBezTo>
                    <a:pt x="1304" y="872"/>
                    <a:pt x="1304" y="872"/>
                    <a:pt x="1304" y="872"/>
                  </a:cubicBezTo>
                  <a:cubicBezTo>
                    <a:pt x="1303" y="872"/>
                    <a:pt x="1303" y="872"/>
                    <a:pt x="1303" y="872"/>
                  </a:cubicBezTo>
                  <a:cubicBezTo>
                    <a:pt x="1303" y="872"/>
                    <a:pt x="1303" y="872"/>
                    <a:pt x="1303" y="872"/>
                  </a:cubicBezTo>
                  <a:cubicBezTo>
                    <a:pt x="1303" y="872"/>
                    <a:pt x="1303" y="872"/>
                    <a:pt x="1303" y="872"/>
                  </a:cubicBezTo>
                  <a:cubicBezTo>
                    <a:pt x="1303" y="872"/>
                    <a:pt x="1303" y="872"/>
                    <a:pt x="1303" y="872"/>
                  </a:cubicBezTo>
                  <a:cubicBezTo>
                    <a:pt x="1303" y="872"/>
                    <a:pt x="1303" y="872"/>
                    <a:pt x="1303" y="872"/>
                  </a:cubicBezTo>
                  <a:cubicBezTo>
                    <a:pt x="1303" y="873"/>
                    <a:pt x="1303" y="873"/>
                    <a:pt x="1303" y="873"/>
                  </a:cubicBezTo>
                  <a:cubicBezTo>
                    <a:pt x="1303" y="873"/>
                    <a:pt x="1303" y="873"/>
                    <a:pt x="1303" y="873"/>
                  </a:cubicBezTo>
                  <a:cubicBezTo>
                    <a:pt x="1303" y="873"/>
                    <a:pt x="1303" y="873"/>
                    <a:pt x="1303" y="873"/>
                  </a:cubicBezTo>
                  <a:cubicBezTo>
                    <a:pt x="1303" y="873"/>
                    <a:pt x="1303" y="873"/>
                    <a:pt x="1303" y="873"/>
                  </a:cubicBezTo>
                  <a:cubicBezTo>
                    <a:pt x="1303" y="874"/>
                    <a:pt x="1304" y="874"/>
                    <a:pt x="1303" y="874"/>
                  </a:cubicBezTo>
                  <a:cubicBezTo>
                    <a:pt x="1303" y="875"/>
                    <a:pt x="1303" y="875"/>
                    <a:pt x="1303" y="875"/>
                  </a:cubicBezTo>
                  <a:cubicBezTo>
                    <a:pt x="1303" y="875"/>
                    <a:pt x="1303" y="875"/>
                    <a:pt x="1303" y="875"/>
                  </a:cubicBezTo>
                  <a:cubicBezTo>
                    <a:pt x="1302" y="875"/>
                    <a:pt x="1302" y="875"/>
                    <a:pt x="1302" y="875"/>
                  </a:cubicBezTo>
                  <a:cubicBezTo>
                    <a:pt x="1302" y="875"/>
                    <a:pt x="1302" y="875"/>
                    <a:pt x="1302" y="875"/>
                  </a:cubicBezTo>
                  <a:cubicBezTo>
                    <a:pt x="1302" y="875"/>
                    <a:pt x="1302" y="875"/>
                    <a:pt x="1302" y="876"/>
                  </a:cubicBezTo>
                  <a:cubicBezTo>
                    <a:pt x="1302" y="876"/>
                    <a:pt x="1302" y="876"/>
                    <a:pt x="1302" y="876"/>
                  </a:cubicBezTo>
                  <a:cubicBezTo>
                    <a:pt x="1302" y="876"/>
                    <a:pt x="1302" y="876"/>
                    <a:pt x="1302" y="876"/>
                  </a:cubicBezTo>
                  <a:cubicBezTo>
                    <a:pt x="1302" y="877"/>
                    <a:pt x="1302" y="877"/>
                    <a:pt x="1302" y="877"/>
                  </a:cubicBezTo>
                  <a:cubicBezTo>
                    <a:pt x="1302" y="877"/>
                    <a:pt x="1302" y="877"/>
                    <a:pt x="1302" y="877"/>
                  </a:cubicBezTo>
                  <a:cubicBezTo>
                    <a:pt x="1301" y="877"/>
                    <a:pt x="1301" y="877"/>
                    <a:pt x="1301" y="877"/>
                  </a:cubicBezTo>
                  <a:cubicBezTo>
                    <a:pt x="1301" y="877"/>
                    <a:pt x="1301" y="877"/>
                    <a:pt x="1301" y="877"/>
                  </a:cubicBezTo>
                  <a:cubicBezTo>
                    <a:pt x="1301" y="877"/>
                    <a:pt x="1301" y="877"/>
                    <a:pt x="1301" y="877"/>
                  </a:cubicBezTo>
                  <a:cubicBezTo>
                    <a:pt x="1301" y="877"/>
                    <a:pt x="1301" y="877"/>
                    <a:pt x="1301" y="877"/>
                  </a:cubicBezTo>
                  <a:cubicBezTo>
                    <a:pt x="1301" y="877"/>
                    <a:pt x="1301" y="877"/>
                    <a:pt x="1301" y="877"/>
                  </a:cubicBezTo>
                  <a:cubicBezTo>
                    <a:pt x="1302" y="877"/>
                    <a:pt x="1302" y="877"/>
                    <a:pt x="1302" y="877"/>
                  </a:cubicBezTo>
                  <a:cubicBezTo>
                    <a:pt x="1302" y="877"/>
                    <a:pt x="1302" y="877"/>
                    <a:pt x="1302" y="877"/>
                  </a:cubicBezTo>
                  <a:cubicBezTo>
                    <a:pt x="1302" y="878"/>
                    <a:pt x="1302" y="878"/>
                    <a:pt x="1302" y="878"/>
                  </a:cubicBezTo>
                  <a:cubicBezTo>
                    <a:pt x="1303" y="879"/>
                    <a:pt x="1303" y="879"/>
                    <a:pt x="1303" y="879"/>
                  </a:cubicBezTo>
                  <a:cubicBezTo>
                    <a:pt x="1306" y="881"/>
                    <a:pt x="1306" y="881"/>
                    <a:pt x="1306" y="881"/>
                  </a:cubicBezTo>
                  <a:cubicBezTo>
                    <a:pt x="1307" y="881"/>
                    <a:pt x="1307" y="881"/>
                    <a:pt x="1307" y="881"/>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3"/>
                    <a:pt x="1307" y="883"/>
                    <a:pt x="1307" y="883"/>
                  </a:cubicBezTo>
                  <a:cubicBezTo>
                    <a:pt x="1307" y="883"/>
                    <a:pt x="1307" y="883"/>
                    <a:pt x="1307" y="883"/>
                  </a:cubicBezTo>
                  <a:cubicBezTo>
                    <a:pt x="1307" y="883"/>
                    <a:pt x="1307" y="883"/>
                    <a:pt x="1307" y="883"/>
                  </a:cubicBezTo>
                  <a:cubicBezTo>
                    <a:pt x="1307" y="883"/>
                    <a:pt x="1307" y="883"/>
                    <a:pt x="1307" y="883"/>
                  </a:cubicBezTo>
                  <a:cubicBezTo>
                    <a:pt x="1307" y="883"/>
                    <a:pt x="1307" y="884"/>
                    <a:pt x="1307" y="884"/>
                  </a:cubicBezTo>
                  <a:cubicBezTo>
                    <a:pt x="1307" y="884"/>
                    <a:pt x="1307" y="884"/>
                    <a:pt x="1307" y="884"/>
                  </a:cubicBezTo>
                  <a:cubicBezTo>
                    <a:pt x="1307" y="884"/>
                    <a:pt x="1307" y="884"/>
                    <a:pt x="1307" y="884"/>
                  </a:cubicBezTo>
                  <a:cubicBezTo>
                    <a:pt x="1307" y="884"/>
                    <a:pt x="1307" y="884"/>
                    <a:pt x="1307" y="884"/>
                  </a:cubicBezTo>
                  <a:cubicBezTo>
                    <a:pt x="1306" y="885"/>
                    <a:pt x="1308" y="886"/>
                    <a:pt x="1308" y="887"/>
                  </a:cubicBezTo>
                  <a:cubicBezTo>
                    <a:pt x="1308" y="887"/>
                    <a:pt x="1308" y="887"/>
                    <a:pt x="1308" y="887"/>
                  </a:cubicBezTo>
                  <a:cubicBezTo>
                    <a:pt x="1308" y="887"/>
                    <a:pt x="1308" y="887"/>
                    <a:pt x="1308" y="887"/>
                  </a:cubicBezTo>
                  <a:cubicBezTo>
                    <a:pt x="1308" y="887"/>
                    <a:pt x="1308" y="887"/>
                    <a:pt x="1308" y="887"/>
                  </a:cubicBezTo>
                  <a:cubicBezTo>
                    <a:pt x="1308" y="887"/>
                    <a:pt x="1308" y="887"/>
                    <a:pt x="1308" y="887"/>
                  </a:cubicBezTo>
                  <a:cubicBezTo>
                    <a:pt x="1308" y="887"/>
                    <a:pt x="1308" y="887"/>
                    <a:pt x="1308" y="887"/>
                  </a:cubicBezTo>
                  <a:cubicBezTo>
                    <a:pt x="1308" y="888"/>
                    <a:pt x="1308" y="888"/>
                    <a:pt x="1308" y="888"/>
                  </a:cubicBezTo>
                  <a:cubicBezTo>
                    <a:pt x="1308" y="888"/>
                    <a:pt x="1308" y="888"/>
                    <a:pt x="1308" y="888"/>
                  </a:cubicBezTo>
                  <a:cubicBezTo>
                    <a:pt x="1307" y="888"/>
                    <a:pt x="1307" y="888"/>
                    <a:pt x="1307" y="889"/>
                  </a:cubicBezTo>
                  <a:cubicBezTo>
                    <a:pt x="1307" y="889"/>
                    <a:pt x="1307" y="889"/>
                    <a:pt x="1307" y="889"/>
                  </a:cubicBezTo>
                  <a:cubicBezTo>
                    <a:pt x="1306" y="889"/>
                    <a:pt x="1306" y="889"/>
                    <a:pt x="1306" y="889"/>
                  </a:cubicBezTo>
                  <a:cubicBezTo>
                    <a:pt x="1306" y="889"/>
                    <a:pt x="1306" y="890"/>
                    <a:pt x="1306" y="890"/>
                  </a:cubicBezTo>
                  <a:cubicBezTo>
                    <a:pt x="1307" y="890"/>
                    <a:pt x="1307" y="890"/>
                    <a:pt x="1307" y="890"/>
                  </a:cubicBezTo>
                  <a:cubicBezTo>
                    <a:pt x="1307" y="891"/>
                    <a:pt x="1306" y="891"/>
                    <a:pt x="1306" y="891"/>
                  </a:cubicBezTo>
                  <a:cubicBezTo>
                    <a:pt x="1306" y="890"/>
                    <a:pt x="1306" y="890"/>
                    <a:pt x="1306" y="890"/>
                  </a:cubicBezTo>
                  <a:cubicBezTo>
                    <a:pt x="1306" y="890"/>
                    <a:pt x="1306" y="890"/>
                    <a:pt x="1306" y="890"/>
                  </a:cubicBezTo>
                  <a:cubicBezTo>
                    <a:pt x="1306" y="891"/>
                    <a:pt x="1307" y="891"/>
                    <a:pt x="1308" y="892"/>
                  </a:cubicBezTo>
                  <a:cubicBezTo>
                    <a:pt x="1309" y="892"/>
                    <a:pt x="1310" y="892"/>
                    <a:pt x="1311" y="891"/>
                  </a:cubicBezTo>
                  <a:cubicBezTo>
                    <a:pt x="1312" y="891"/>
                    <a:pt x="1312" y="891"/>
                    <a:pt x="1312" y="891"/>
                  </a:cubicBezTo>
                  <a:cubicBezTo>
                    <a:pt x="1313" y="891"/>
                    <a:pt x="1313" y="891"/>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6" y="890"/>
                    <a:pt x="1316" y="890"/>
                    <a:pt x="1316" y="890"/>
                  </a:cubicBezTo>
                  <a:cubicBezTo>
                    <a:pt x="1316" y="890"/>
                    <a:pt x="1316" y="890"/>
                    <a:pt x="1316" y="890"/>
                  </a:cubicBezTo>
                  <a:cubicBezTo>
                    <a:pt x="1316" y="890"/>
                    <a:pt x="1316" y="890"/>
                    <a:pt x="1316" y="890"/>
                  </a:cubicBezTo>
                  <a:cubicBezTo>
                    <a:pt x="1316" y="890"/>
                    <a:pt x="1316" y="890"/>
                    <a:pt x="1316" y="890"/>
                  </a:cubicBezTo>
                  <a:cubicBezTo>
                    <a:pt x="1317" y="890"/>
                    <a:pt x="1317" y="890"/>
                    <a:pt x="1317" y="890"/>
                  </a:cubicBezTo>
                  <a:cubicBezTo>
                    <a:pt x="1317" y="891"/>
                    <a:pt x="1317" y="891"/>
                    <a:pt x="1317" y="891"/>
                  </a:cubicBezTo>
                  <a:cubicBezTo>
                    <a:pt x="1317" y="893"/>
                    <a:pt x="1317" y="893"/>
                    <a:pt x="1317" y="893"/>
                  </a:cubicBezTo>
                  <a:cubicBezTo>
                    <a:pt x="1317" y="893"/>
                    <a:pt x="1317" y="893"/>
                    <a:pt x="1317" y="893"/>
                  </a:cubicBezTo>
                  <a:cubicBezTo>
                    <a:pt x="1317" y="894"/>
                    <a:pt x="1317" y="894"/>
                    <a:pt x="1317" y="894"/>
                  </a:cubicBezTo>
                  <a:cubicBezTo>
                    <a:pt x="1317" y="894"/>
                    <a:pt x="1317" y="894"/>
                    <a:pt x="1317" y="894"/>
                  </a:cubicBezTo>
                  <a:cubicBezTo>
                    <a:pt x="1317" y="894"/>
                    <a:pt x="1317" y="894"/>
                    <a:pt x="1317" y="894"/>
                  </a:cubicBezTo>
                  <a:cubicBezTo>
                    <a:pt x="1317" y="894"/>
                    <a:pt x="1317" y="895"/>
                    <a:pt x="1317" y="895"/>
                  </a:cubicBezTo>
                  <a:cubicBezTo>
                    <a:pt x="1317" y="896"/>
                    <a:pt x="1317" y="896"/>
                    <a:pt x="1317" y="896"/>
                  </a:cubicBezTo>
                  <a:cubicBezTo>
                    <a:pt x="1317" y="896"/>
                    <a:pt x="1317" y="896"/>
                    <a:pt x="1317" y="896"/>
                  </a:cubicBezTo>
                  <a:cubicBezTo>
                    <a:pt x="1317" y="896"/>
                    <a:pt x="1317" y="896"/>
                    <a:pt x="1317" y="896"/>
                  </a:cubicBezTo>
                  <a:cubicBezTo>
                    <a:pt x="1318" y="896"/>
                    <a:pt x="1318" y="896"/>
                    <a:pt x="1318" y="896"/>
                  </a:cubicBezTo>
                  <a:cubicBezTo>
                    <a:pt x="1318" y="896"/>
                    <a:pt x="1318" y="896"/>
                    <a:pt x="1318" y="896"/>
                  </a:cubicBezTo>
                  <a:cubicBezTo>
                    <a:pt x="1318" y="896"/>
                    <a:pt x="1318" y="896"/>
                    <a:pt x="1318" y="896"/>
                  </a:cubicBezTo>
                  <a:cubicBezTo>
                    <a:pt x="1318" y="896"/>
                    <a:pt x="1318" y="896"/>
                    <a:pt x="1318" y="896"/>
                  </a:cubicBezTo>
                  <a:cubicBezTo>
                    <a:pt x="1320" y="897"/>
                    <a:pt x="1320" y="897"/>
                    <a:pt x="1320" y="897"/>
                  </a:cubicBezTo>
                  <a:cubicBezTo>
                    <a:pt x="1323" y="897"/>
                    <a:pt x="1323" y="897"/>
                    <a:pt x="1323" y="897"/>
                  </a:cubicBezTo>
                  <a:cubicBezTo>
                    <a:pt x="1331" y="899"/>
                    <a:pt x="1331" y="899"/>
                    <a:pt x="1331" y="899"/>
                  </a:cubicBezTo>
                  <a:cubicBezTo>
                    <a:pt x="1334" y="899"/>
                    <a:pt x="1334" y="899"/>
                    <a:pt x="1334" y="899"/>
                  </a:cubicBezTo>
                  <a:cubicBezTo>
                    <a:pt x="1336" y="900"/>
                    <a:pt x="1336" y="900"/>
                    <a:pt x="1336" y="900"/>
                  </a:cubicBezTo>
                  <a:cubicBezTo>
                    <a:pt x="1336" y="900"/>
                    <a:pt x="1336" y="900"/>
                    <a:pt x="1336" y="900"/>
                  </a:cubicBezTo>
                  <a:cubicBezTo>
                    <a:pt x="1336" y="900"/>
                    <a:pt x="1336" y="900"/>
                    <a:pt x="1336" y="900"/>
                  </a:cubicBezTo>
                  <a:cubicBezTo>
                    <a:pt x="1336" y="900"/>
                    <a:pt x="1336" y="900"/>
                    <a:pt x="1336" y="900"/>
                  </a:cubicBezTo>
                  <a:cubicBezTo>
                    <a:pt x="1337" y="900"/>
                    <a:pt x="1338" y="900"/>
                    <a:pt x="1338" y="900"/>
                  </a:cubicBezTo>
                  <a:cubicBezTo>
                    <a:pt x="1339" y="900"/>
                    <a:pt x="1339" y="900"/>
                    <a:pt x="1339" y="900"/>
                  </a:cubicBezTo>
                  <a:cubicBezTo>
                    <a:pt x="1339" y="900"/>
                    <a:pt x="1339" y="900"/>
                    <a:pt x="1339" y="900"/>
                  </a:cubicBezTo>
                  <a:cubicBezTo>
                    <a:pt x="1341" y="900"/>
                    <a:pt x="1341" y="900"/>
                    <a:pt x="1343" y="901"/>
                  </a:cubicBezTo>
                  <a:cubicBezTo>
                    <a:pt x="1343" y="901"/>
                    <a:pt x="1343" y="901"/>
                    <a:pt x="1343" y="901"/>
                  </a:cubicBezTo>
                  <a:cubicBezTo>
                    <a:pt x="1343" y="901"/>
                    <a:pt x="1343" y="901"/>
                    <a:pt x="1343" y="901"/>
                  </a:cubicBezTo>
                  <a:cubicBezTo>
                    <a:pt x="1343" y="901"/>
                    <a:pt x="1343" y="901"/>
                    <a:pt x="1343" y="901"/>
                  </a:cubicBezTo>
                  <a:cubicBezTo>
                    <a:pt x="1343" y="901"/>
                    <a:pt x="1343" y="901"/>
                    <a:pt x="1343" y="901"/>
                  </a:cubicBezTo>
                  <a:cubicBezTo>
                    <a:pt x="1344" y="901"/>
                    <a:pt x="1344" y="901"/>
                    <a:pt x="1344" y="901"/>
                  </a:cubicBezTo>
                  <a:cubicBezTo>
                    <a:pt x="1344" y="901"/>
                    <a:pt x="1344" y="901"/>
                    <a:pt x="1344" y="901"/>
                  </a:cubicBezTo>
                  <a:cubicBezTo>
                    <a:pt x="1344" y="901"/>
                    <a:pt x="1344" y="901"/>
                    <a:pt x="1344" y="901"/>
                  </a:cubicBezTo>
                  <a:cubicBezTo>
                    <a:pt x="1344" y="901"/>
                    <a:pt x="1344" y="901"/>
                    <a:pt x="1344" y="901"/>
                  </a:cubicBezTo>
                  <a:cubicBezTo>
                    <a:pt x="1344" y="900"/>
                    <a:pt x="1345" y="901"/>
                    <a:pt x="1346" y="901"/>
                  </a:cubicBezTo>
                  <a:cubicBezTo>
                    <a:pt x="1346" y="901"/>
                    <a:pt x="1346" y="901"/>
                    <a:pt x="1346" y="901"/>
                  </a:cubicBezTo>
                  <a:cubicBezTo>
                    <a:pt x="1346" y="901"/>
                    <a:pt x="1346" y="901"/>
                    <a:pt x="1346" y="901"/>
                  </a:cubicBezTo>
                  <a:cubicBezTo>
                    <a:pt x="1347" y="901"/>
                    <a:pt x="1347" y="901"/>
                    <a:pt x="1348" y="900"/>
                  </a:cubicBezTo>
                  <a:cubicBezTo>
                    <a:pt x="1348" y="900"/>
                    <a:pt x="1348" y="900"/>
                    <a:pt x="1348" y="900"/>
                  </a:cubicBezTo>
                  <a:cubicBezTo>
                    <a:pt x="1348" y="900"/>
                    <a:pt x="1348" y="900"/>
                    <a:pt x="1348" y="900"/>
                  </a:cubicBezTo>
                  <a:cubicBezTo>
                    <a:pt x="1348" y="900"/>
                    <a:pt x="1348" y="900"/>
                    <a:pt x="1348" y="900"/>
                  </a:cubicBezTo>
                  <a:cubicBezTo>
                    <a:pt x="1349" y="900"/>
                    <a:pt x="1349" y="900"/>
                    <a:pt x="1349" y="900"/>
                  </a:cubicBezTo>
                  <a:cubicBezTo>
                    <a:pt x="1349" y="900"/>
                    <a:pt x="1350" y="900"/>
                    <a:pt x="1350" y="900"/>
                  </a:cubicBezTo>
                  <a:cubicBezTo>
                    <a:pt x="1350" y="900"/>
                    <a:pt x="1350" y="900"/>
                    <a:pt x="1350" y="900"/>
                  </a:cubicBezTo>
                  <a:cubicBezTo>
                    <a:pt x="1350" y="900"/>
                    <a:pt x="1350" y="900"/>
                    <a:pt x="1350" y="900"/>
                  </a:cubicBezTo>
                  <a:cubicBezTo>
                    <a:pt x="1351" y="900"/>
                    <a:pt x="1351" y="900"/>
                    <a:pt x="1351" y="900"/>
                  </a:cubicBezTo>
                  <a:cubicBezTo>
                    <a:pt x="1351" y="900"/>
                    <a:pt x="1351" y="900"/>
                    <a:pt x="1351" y="900"/>
                  </a:cubicBezTo>
                  <a:cubicBezTo>
                    <a:pt x="1351" y="900"/>
                    <a:pt x="1351" y="900"/>
                    <a:pt x="1351" y="900"/>
                  </a:cubicBezTo>
                  <a:cubicBezTo>
                    <a:pt x="1351" y="900"/>
                    <a:pt x="1351" y="900"/>
                    <a:pt x="1351" y="900"/>
                  </a:cubicBezTo>
                  <a:cubicBezTo>
                    <a:pt x="1351" y="900"/>
                    <a:pt x="1351" y="900"/>
                    <a:pt x="1351" y="900"/>
                  </a:cubicBezTo>
                  <a:cubicBezTo>
                    <a:pt x="1352" y="900"/>
                    <a:pt x="1352" y="900"/>
                    <a:pt x="1352" y="900"/>
                  </a:cubicBezTo>
                  <a:cubicBezTo>
                    <a:pt x="1352" y="900"/>
                    <a:pt x="1352" y="900"/>
                    <a:pt x="1352" y="900"/>
                  </a:cubicBezTo>
                  <a:cubicBezTo>
                    <a:pt x="1354" y="900"/>
                    <a:pt x="1354" y="900"/>
                    <a:pt x="1354" y="900"/>
                  </a:cubicBezTo>
                  <a:cubicBezTo>
                    <a:pt x="1354" y="901"/>
                    <a:pt x="1354" y="901"/>
                    <a:pt x="1354" y="901"/>
                  </a:cubicBezTo>
                  <a:cubicBezTo>
                    <a:pt x="1355" y="901"/>
                    <a:pt x="1355" y="901"/>
                    <a:pt x="1355" y="901"/>
                  </a:cubicBezTo>
                  <a:cubicBezTo>
                    <a:pt x="1355" y="901"/>
                    <a:pt x="1355" y="901"/>
                    <a:pt x="1355" y="901"/>
                  </a:cubicBezTo>
                  <a:cubicBezTo>
                    <a:pt x="1355" y="900"/>
                    <a:pt x="1355" y="900"/>
                    <a:pt x="1355" y="900"/>
                  </a:cubicBezTo>
                  <a:cubicBezTo>
                    <a:pt x="1355" y="900"/>
                    <a:pt x="1355" y="900"/>
                    <a:pt x="1355" y="900"/>
                  </a:cubicBezTo>
                  <a:cubicBezTo>
                    <a:pt x="1355" y="900"/>
                    <a:pt x="1355" y="900"/>
                    <a:pt x="1355" y="900"/>
                  </a:cubicBezTo>
                  <a:cubicBezTo>
                    <a:pt x="1355" y="900"/>
                    <a:pt x="1355" y="900"/>
                    <a:pt x="1355" y="900"/>
                  </a:cubicBezTo>
                  <a:cubicBezTo>
                    <a:pt x="1355" y="900"/>
                    <a:pt x="1355" y="900"/>
                    <a:pt x="1355" y="900"/>
                  </a:cubicBezTo>
                  <a:cubicBezTo>
                    <a:pt x="1356" y="900"/>
                    <a:pt x="1357" y="901"/>
                    <a:pt x="1358" y="900"/>
                  </a:cubicBezTo>
                  <a:cubicBezTo>
                    <a:pt x="1358" y="900"/>
                    <a:pt x="1358" y="900"/>
                    <a:pt x="1358" y="900"/>
                  </a:cubicBezTo>
                  <a:cubicBezTo>
                    <a:pt x="1361" y="901"/>
                    <a:pt x="1363" y="902"/>
                    <a:pt x="1366" y="903"/>
                  </a:cubicBezTo>
                  <a:cubicBezTo>
                    <a:pt x="1367" y="903"/>
                    <a:pt x="1367" y="903"/>
                    <a:pt x="1367" y="903"/>
                  </a:cubicBezTo>
                  <a:cubicBezTo>
                    <a:pt x="1367" y="903"/>
                    <a:pt x="1367" y="903"/>
                    <a:pt x="1367" y="903"/>
                  </a:cubicBezTo>
                  <a:cubicBezTo>
                    <a:pt x="1367" y="903"/>
                    <a:pt x="1367" y="903"/>
                    <a:pt x="1367" y="903"/>
                  </a:cubicBezTo>
                  <a:cubicBezTo>
                    <a:pt x="1367" y="903"/>
                    <a:pt x="1367" y="903"/>
                    <a:pt x="1367" y="903"/>
                  </a:cubicBezTo>
                  <a:cubicBezTo>
                    <a:pt x="1368" y="903"/>
                    <a:pt x="1368" y="903"/>
                    <a:pt x="1369" y="903"/>
                  </a:cubicBezTo>
                  <a:cubicBezTo>
                    <a:pt x="1369" y="903"/>
                    <a:pt x="1369" y="903"/>
                    <a:pt x="1369" y="903"/>
                  </a:cubicBezTo>
                  <a:cubicBezTo>
                    <a:pt x="1369" y="903"/>
                    <a:pt x="1369" y="903"/>
                    <a:pt x="1369" y="903"/>
                  </a:cubicBezTo>
                  <a:cubicBezTo>
                    <a:pt x="1370" y="903"/>
                    <a:pt x="1370" y="903"/>
                    <a:pt x="1371" y="903"/>
                  </a:cubicBezTo>
                  <a:cubicBezTo>
                    <a:pt x="1369" y="903"/>
                    <a:pt x="1368" y="904"/>
                    <a:pt x="1367" y="905"/>
                  </a:cubicBezTo>
                  <a:cubicBezTo>
                    <a:pt x="1367" y="905"/>
                    <a:pt x="1367" y="905"/>
                    <a:pt x="1367" y="905"/>
                  </a:cubicBezTo>
                  <a:cubicBezTo>
                    <a:pt x="1368" y="904"/>
                    <a:pt x="1370" y="903"/>
                    <a:pt x="1371" y="903"/>
                  </a:cubicBezTo>
                  <a:cubicBezTo>
                    <a:pt x="1371" y="903"/>
                    <a:pt x="1371" y="903"/>
                    <a:pt x="1371" y="903"/>
                  </a:cubicBezTo>
                  <a:cubicBezTo>
                    <a:pt x="1371" y="903"/>
                    <a:pt x="1371" y="903"/>
                    <a:pt x="1371" y="903"/>
                  </a:cubicBezTo>
                  <a:cubicBezTo>
                    <a:pt x="1372" y="903"/>
                    <a:pt x="1372" y="903"/>
                    <a:pt x="1372" y="903"/>
                  </a:cubicBezTo>
                  <a:cubicBezTo>
                    <a:pt x="1372" y="903"/>
                    <a:pt x="1372" y="903"/>
                    <a:pt x="1372" y="903"/>
                  </a:cubicBezTo>
                  <a:cubicBezTo>
                    <a:pt x="1372" y="903"/>
                    <a:pt x="1372" y="903"/>
                    <a:pt x="1372" y="903"/>
                  </a:cubicBezTo>
                  <a:cubicBezTo>
                    <a:pt x="1372" y="903"/>
                    <a:pt x="1372" y="903"/>
                    <a:pt x="1372" y="903"/>
                  </a:cubicBezTo>
                  <a:cubicBezTo>
                    <a:pt x="1372" y="903"/>
                    <a:pt x="1372" y="903"/>
                    <a:pt x="1372" y="903"/>
                  </a:cubicBezTo>
                  <a:cubicBezTo>
                    <a:pt x="1372" y="904"/>
                    <a:pt x="1372" y="904"/>
                    <a:pt x="1372" y="904"/>
                  </a:cubicBezTo>
                  <a:cubicBezTo>
                    <a:pt x="1372" y="905"/>
                    <a:pt x="1372" y="905"/>
                    <a:pt x="1372" y="905"/>
                  </a:cubicBezTo>
                  <a:cubicBezTo>
                    <a:pt x="1372" y="905"/>
                    <a:pt x="1372" y="905"/>
                    <a:pt x="1372" y="905"/>
                  </a:cubicBezTo>
                  <a:cubicBezTo>
                    <a:pt x="1373" y="904"/>
                    <a:pt x="1373" y="904"/>
                    <a:pt x="1373" y="904"/>
                  </a:cubicBezTo>
                  <a:cubicBezTo>
                    <a:pt x="1374" y="903"/>
                    <a:pt x="1374" y="903"/>
                    <a:pt x="1374" y="903"/>
                  </a:cubicBezTo>
                  <a:cubicBezTo>
                    <a:pt x="1374" y="902"/>
                    <a:pt x="1374" y="902"/>
                    <a:pt x="1374" y="902"/>
                  </a:cubicBezTo>
                  <a:cubicBezTo>
                    <a:pt x="1375" y="903"/>
                    <a:pt x="1375" y="903"/>
                    <a:pt x="1375" y="903"/>
                  </a:cubicBezTo>
                  <a:cubicBezTo>
                    <a:pt x="1374" y="903"/>
                    <a:pt x="1374" y="903"/>
                    <a:pt x="1374" y="903"/>
                  </a:cubicBezTo>
                  <a:cubicBezTo>
                    <a:pt x="1374" y="904"/>
                    <a:pt x="1374" y="904"/>
                    <a:pt x="1374" y="904"/>
                  </a:cubicBezTo>
                  <a:cubicBezTo>
                    <a:pt x="1374" y="905"/>
                    <a:pt x="1374" y="905"/>
                    <a:pt x="1374" y="905"/>
                  </a:cubicBezTo>
                  <a:cubicBezTo>
                    <a:pt x="1374" y="905"/>
                    <a:pt x="1374" y="905"/>
                    <a:pt x="1374" y="905"/>
                  </a:cubicBezTo>
                  <a:cubicBezTo>
                    <a:pt x="1373" y="905"/>
                    <a:pt x="1373" y="905"/>
                    <a:pt x="1373" y="905"/>
                  </a:cubicBezTo>
                  <a:cubicBezTo>
                    <a:pt x="1373" y="905"/>
                    <a:pt x="1373" y="905"/>
                    <a:pt x="1373" y="905"/>
                  </a:cubicBezTo>
                  <a:cubicBezTo>
                    <a:pt x="1373" y="905"/>
                    <a:pt x="1373" y="905"/>
                    <a:pt x="1373" y="905"/>
                  </a:cubicBezTo>
                  <a:cubicBezTo>
                    <a:pt x="1373" y="905"/>
                    <a:pt x="1373" y="905"/>
                    <a:pt x="1373" y="905"/>
                  </a:cubicBezTo>
                  <a:cubicBezTo>
                    <a:pt x="1374" y="905"/>
                    <a:pt x="1374" y="905"/>
                    <a:pt x="1374" y="905"/>
                  </a:cubicBezTo>
                  <a:cubicBezTo>
                    <a:pt x="1376" y="905"/>
                    <a:pt x="1376" y="905"/>
                    <a:pt x="1376" y="905"/>
                  </a:cubicBezTo>
                  <a:cubicBezTo>
                    <a:pt x="1377" y="905"/>
                    <a:pt x="1377" y="905"/>
                    <a:pt x="1377" y="905"/>
                  </a:cubicBezTo>
                  <a:cubicBezTo>
                    <a:pt x="1377" y="905"/>
                    <a:pt x="1377" y="905"/>
                    <a:pt x="1377" y="905"/>
                  </a:cubicBezTo>
                  <a:cubicBezTo>
                    <a:pt x="1377" y="905"/>
                    <a:pt x="1377" y="905"/>
                    <a:pt x="1377" y="905"/>
                  </a:cubicBezTo>
                  <a:cubicBezTo>
                    <a:pt x="1376" y="906"/>
                    <a:pt x="1375" y="907"/>
                    <a:pt x="1374" y="907"/>
                  </a:cubicBezTo>
                  <a:cubicBezTo>
                    <a:pt x="1374" y="907"/>
                    <a:pt x="1374" y="907"/>
                    <a:pt x="1374" y="907"/>
                  </a:cubicBezTo>
                  <a:cubicBezTo>
                    <a:pt x="1374" y="907"/>
                    <a:pt x="1374" y="907"/>
                    <a:pt x="1374" y="907"/>
                  </a:cubicBezTo>
                  <a:cubicBezTo>
                    <a:pt x="1375" y="907"/>
                    <a:pt x="1375" y="907"/>
                    <a:pt x="1375" y="907"/>
                  </a:cubicBezTo>
                  <a:cubicBezTo>
                    <a:pt x="1376" y="906"/>
                    <a:pt x="1376" y="906"/>
                    <a:pt x="1376"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8" y="905"/>
                    <a:pt x="1378" y="905"/>
                    <a:pt x="1378" y="905"/>
                  </a:cubicBezTo>
                  <a:cubicBezTo>
                    <a:pt x="1378" y="905"/>
                    <a:pt x="1378" y="905"/>
                    <a:pt x="1378" y="905"/>
                  </a:cubicBezTo>
                  <a:cubicBezTo>
                    <a:pt x="1378" y="905"/>
                    <a:pt x="1378" y="905"/>
                    <a:pt x="1378" y="905"/>
                  </a:cubicBezTo>
                  <a:cubicBezTo>
                    <a:pt x="1378" y="906"/>
                    <a:pt x="1378" y="906"/>
                    <a:pt x="1378" y="906"/>
                  </a:cubicBezTo>
                  <a:cubicBezTo>
                    <a:pt x="1379" y="906"/>
                    <a:pt x="1379" y="906"/>
                    <a:pt x="1379" y="906"/>
                  </a:cubicBezTo>
                  <a:cubicBezTo>
                    <a:pt x="1380" y="906"/>
                    <a:pt x="1381" y="907"/>
                    <a:pt x="1382" y="907"/>
                  </a:cubicBezTo>
                  <a:cubicBezTo>
                    <a:pt x="1382" y="907"/>
                    <a:pt x="1382" y="907"/>
                    <a:pt x="1382" y="907"/>
                  </a:cubicBezTo>
                  <a:cubicBezTo>
                    <a:pt x="1382" y="907"/>
                    <a:pt x="1382" y="907"/>
                    <a:pt x="1382" y="907"/>
                  </a:cubicBezTo>
                  <a:cubicBezTo>
                    <a:pt x="1382" y="907"/>
                    <a:pt x="1382" y="907"/>
                    <a:pt x="1382" y="907"/>
                  </a:cubicBezTo>
                  <a:cubicBezTo>
                    <a:pt x="1383" y="907"/>
                    <a:pt x="1383" y="907"/>
                    <a:pt x="1383" y="907"/>
                  </a:cubicBezTo>
                  <a:cubicBezTo>
                    <a:pt x="1384" y="908"/>
                    <a:pt x="1384" y="907"/>
                    <a:pt x="1384" y="907"/>
                  </a:cubicBezTo>
                  <a:cubicBezTo>
                    <a:pt x="1385" y="907"/>
                    <a:pt x="1385" y="907"/>
                    <a:pt x="1385" y="907"/>
                  </a:cubicBezTo>
                  <a:cubicBezTo>
                    <a:pt x="1385" y="907"/>
                    <a:pt x="1385" y="907"/>
                    <a:pt x="1385" y="907"/>
                  </a:cubicBezTo>
                  <a:cubicBezTo>
                    <a:pt x="1385" y="907"/>
                    <a:pt x="1385" y="907"/>
                    <a:pt x="1385" y="907"/>
                  </a:cubicBezTo>
                  <a:cubicBezTo>
                    <a:pt x="1385" y="907"/>
                    <a:pt x="1385" y="907"/>
                    <a:pt x="1385" y="907"/>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5"/>
                    <a:pt x="1385" y="905"/>
                    <a:pt x="1385" y="905"/>
                  </a:cubicBezTo>
                  <a:cubicBezTo>
                    <a:pt x="1385" y="905"/>
                    <a:pt x="1385" y="905"/>
                    <a:pt x="1385" y="905"/>
                  </a:cubicBezTo>
                  <a:cubicBezTo>
                    <a:pt x="1386" y="906"/>
                    <a:pt x="1386" y="906"/>
                    <a:pt x="1386" y="906"/>
                  </a:cubicBezTo>
                  <a:cubicBezTo>
                    <a:pt x="1387" y="906"/>
                    <a:pt x="1387" y="906"/>
                    <a:pt x="1387" y="906"/>
                  </a:cubicBezTo>
                  <a:cubicBezTo>
                    <a:pt x="1390" y="907"/>
                    <a:pt x="1390" y="907"/>
                    <a:pt x="1390" y="907"/>
                  </a:cubicBezTo>
                  <a:cubicBezTo>
                    <a:pt x="1391" y="907"/>
                    <a:pt x="1391" y="907"/>
                    <a:pt x="1391" y="907"/>
                  </a:cubicBezTo>
                  <a:cubicBezTo>
                    <a:pt x="1392" y="907"/>
                    <a:pt x="1392" y="907"/>
                    <a:pt x="1392" y="907"/>
                  </a:cubicBezTo>
                  <a:cubicBezTo>
                    <a:pt x="1392" y="907"/>
                    <a:pt x="1392" y="907"/>
                    <a:pt x="1392" y="907"/>
                  </a:cubicBezTo>
                  <a:cubicBezTo>
                    <a:pt x="1393" y="908"/>
                    <a:pt x="1393" y="908"/>
                    <a:pt x="1393" y="908"/>
                  </a:cubicBezTo>
                  <a:cubicBezTo>
                    <a:pt x="1393" y="908"/>
                    <a:pt x="1393" y="908"/>
                    <a:pt x="1393" y="908"/>
                  </a:cubicBezTo>
                  <a:cubicBezTo>
                    <a:pt x="1394" y="908"/>
                    <a:pt x="1394" y="908"/>
                    <a:pt x="1394" y="908"/>
                  </a:cubicBezTo>
                  <a:cubicBezTo>
                    <a:pt x="1395" y="909"/>
                    <a:pt x="1395" y="909"/>
                    <a:pt x="1395" y="909"/>
                  </a:cubicBezTo>
                  <a:cubicBezTo>
                    <a:pt x="1398" y="912"/>
                    <a:pt x="1398" y="912"/>
                    <a:pt x="1398" y="912"/>
                  </a:cubicBezTo>
                  <a:cubicBezTo>
                    <a:pt x="1406" y="919"/>
                    <a:pt x="1406" y="919"/>
                    <a:pt x="1406" y="919"/>
                  </a:cubicBezTo>
                  <a:cubicBezTo>
                    <a:pt x="1409" y="922"/>
                    <a:pt x="1409" y="922"/>
                    <a:pt x="1409" y="922"/>
                  </a:cubicBezTo>
                  <a:cubicBezTo>
                    <a:pt x="1410" y="923"/>
                    <a:pt x="1410" y="923"/>
                    <a:pt x="1410" y="923"/>
                  </a:cubicBezTo>
                  <a:cubicBezTo>
                    <a:pt x="1411" y="923"/>
                    <a:pt x="1411" y="923"/>
                    <a:pt x="1411" y="923"/>
                  </a:cubicBezTo>
                  <a:cubicBezTo>
                    <a:pt x="1411" y="923"/>
                    <a:pt x="1411" y="923"/>
                    <a:pt x="1411" y="923"/>
                  </a:cubicBezTo>
                  <a:cubicBezTo>
                    <a:pt x="1411" y="924"/>
                    <a:pt x="1411" y="924"/>
                    <a:pt x="1411" y="924"/>
                  </a:cubicBezTo>
                  <a:cubicBezTo>
                    <a:pt x="1411" y="924"/>
                    <a:pt x="1411" y="924"/>
                    <a:pt x="1411" y="924"/>
                  </a:cubicBezTo>
                  <a:cubicBezTo>
                    <a:pt x="1411" y="925"/>
                    <a:pt x="1411" y="925"/>
                    <a:pt x="1411" y="925"/>
                  </a:cubicBezTo>
                  <a:cubicBezTo>
                    <a:pt x="1410" y="927"/>
                    <a:pt x="1410" y="927"/>
                    <a:pt x="1410" y="927"/>
                  </a:cubicBezTo>
                  <a:cubicBezTo>
                    <a:pt x="1410" y="928"/>
                    <a:pt x="1410" y="928"/>
                    <a:pt x="1410" y="928"/>
                  </a:cubicBezTo>
                  <a:cubicBezTo>
                    <a:pt x="1412" y="930"/>
                    <a:pt x="1412" y="930"/>
                    <a:pt x="1412" y="930"/>
                  </a:cubicBezTo>
                  <a:cubicBezTo>
                    <a:pt x="1412" y="933"/>
                    <a:pt x="1412" y="933"/>
                    <a:pt x="1412" y="933"/>
                  </a:cubicBezTo>
                  <a:cubicBezTo>
                    <a:pt x="1413" y="935"/>
                    <a:pt x="1413" y="935"/>
                    <a:pt x="1413" y="935"/>
                  </a:cubicBezTo>
                  <a:cubicBezTo>
                    <a:pt x="1418" y="939"/>
                    <a:pt x="1418" y="939"/>
                    <a:pt x="1418" y="939"/>
                  </a:cubicBezTo>
                  <a:cubicBezTo>
                    <a:pt x="1419" y="941"/>
                    <a:pt x="1419" y="941"/>
                    <a:pt x="1419" y="941"/>
                  </a:cubicBezTo>
                  <a:cubicBezTo>
                    <a:pt x="1420" y="942"/>
                    <a:pt x="1420" y="942"/>
                    <a:pt x="1420" y="942"/>
                  </a:cubicBezTo>
                  <a:cubicBezTo>
                    <a:pt x="1420" y="942"/>
                    <a:pt x="1420" y="942"/>
                    <a:pt x="1420" y="942"/>
                  </a:cubicBezTo>
                  <a:cubicBezTo>
                    <a:pt x="1420" y="942"/>
                    <a:pt x="1420" y="942"/>
                    <a:pt x="1420" y="942"/>
                  </a:cubicBezTo>
                  <a:cubicBezTo>
                    <a:pt x="1419" y="942"/>
                    <a:pt x="1419" y="942"/>
                    <a:pt x="1419" y="942"/>
                  </a:cubicBezTo>
                  <a:cubicBezTo>
                    <a:pt x="1419" y="942"/>
                    <a:pt x="1419" y="942"/>
                    <a:pt x="1418" y="942"/>
                  </a:cubicBezTo>
                  <a:cubicBezTo>
                    <a:pt x="1418" y="942"/>
                    <a:pt x="1418" y="942"/>
                    <a:pt x="1418" y="942"/>
                  </a:cubicBezTo>
                  <a:cubicBezTo>
                    <a:pt x="1418" y="942"/>
                    <a:pt x="1418" y="942"/>
                    <a:pt x="1418" y="942"/>
                  </a:cubicBezTo>
                  <a:cubicBezTo>
                    <a:pt x="1418" y="942"/>
                    <a:pt x="1418" y="942"/>
                    <a:pt x="1418" y="942"/>
                  </a:cubicBezTo>
                  <a:cubicBezTo>
                    <a:pt x="1418" y="942"/>
                    <a:pt x="1418" y="942"/>
                    <a:pt x="1418" y="942"/>
                  </a:cubicBezTo>
                  <a:cubicBezTo>
                    <a:pt x="1418" y="942"/>
                    <a:pt x="1418" y="942"/>
                    <a:pt x="1418" y="942"/>
                  </a:cubicBezTo>
                  <a:cubicBezTo>
                    <a:pt x="1417" y="942"/>
                    <a:pt x="1417" y="942"/>
                    <a:pt x="1417" y="942"/>
                  </a:cubicBezTo>
                  <a:cubicBezTo>
                    <a:pt x="1417" y="942"/>
                    <a:pt x="1417" y="942"/>
                    <a:pt x="1417" y="942"/>
                  </a:cubicBezTo>
                  <a:cubicBezTo>
                    <a:pt x="1417" y="942"/>
                    <a:pt x="1417" y="942"/>
                    <a:pt x="1417" y="942"/>
                  </a:cubicBezTo>
                  <a:cubicBezTo>
                    <a:pt x="1417" y="942"/>
                    <a:pt x="1417" y="942"/>
                    <a:pt x="1417" y="942"/>
                  </a:cubicBezTo>
                  <a:cubicBezTo>
                    <a:pt x="1417" y="941"/>
                    <a:pt x="1417" y="941"/>
                    <a:pt x="1417" y="941"/>
                  </a:cubicBezTo>
                  <a:cubicBezTo>
                    <a:pt x="1417" y="941"/>
                    <a:pt x="1417" y="941"/>
                    <a:pt x="1417" y="941"/>
                  </a:cubicBezTo>
                  <a:cubicBezTo>
                    <a:pt x="1417" y="941"/>
                    <a:pt x="1417" y="941"/>
                    <a:pt x="1417"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5" y="941"/>
                    <a:pt x="1415" y="941"/>
                    <a:pt x="1415" y="941"/>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4" y="940"/>
                    <a:pt x="1414" y="940"/>
                    <a:pt x="1414" y="940"/>
                  </a:cubicBezTo>
                  <a:cubicBezTo>
                    <a:pt x="1414" y="940"/>
                    <a:pt x="1414" y="940"/>
                    <a:pt x="1414" y="940"/>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3" y="939"/>
                    <a:pt x="1413" y="939"/>
                    <a:pt x="1413" y="939"/>
                  </a:cubicBezTo>
                  <a:cubicBezTo>
                    <a:pt x="1413" y="939"/>
                    <a:pt x="1413" y="939"/>
                    <a:pt x="1413" y="939"/>
                  </a:cubicBezTo>
                  <a:cubicBezTo>
                    <a:pt x="1412" y="939"/>
                    <a:pt x="1412" y="939"/>
                    <a:pt x="1412" y="939"/>
                  </a:cubicBezTo>
                  <a:cubicBezTo>
                    <a:pt x="1411" y="941"/>
                    <a:pt x="1411" y="941"/>
                    <a:pt x="1411" y="941"/>
                  </a:cubicBezTo>
                  <a:cubicBezTo>
                    <a:pt x="1410" y="941"/>
                    <a:pt x="1410" y="941"/>
                    <a:pt x="1410" y="941"/>
                  </a:cubicBezTo>
                  <a:cubicBezTo>
                    <a:pt x="1410" y="942"/>
                    <a:pt x="1410" y="942"/>
                    <a:pt x="1410" y="942"/>
                  </a:cubicBezTo>
                  <a:cubicBezTo>
                    <a:pt x="1410" y="942"/>
                    <a:pt x="1410" y="942"/>
                    <a:pt x="1410" y="942"/>
                  </a:cubicBezTo>
                  <a:cubicBezTo>
                    <a:pt x="1410" y="942"/>
                    <a:pt x="1410" y="942"/>
                    <a:pt x="1410" y="942"/>
                  </a:cubicBezTo>
                  <a:cubicBezTo>
                    <a:pt x="1410" y="943"/>
                    <a:pt x="1410" y="943"/>
                    <a:pt x="1410" y="943"/>
                  </a:cubicBezTo>
                  <a:cubicBezTo>
                    <a:pt x="1412" y="946"/>
                    <a:pt x="1412" y="946"/>
                    <a:pt x="1412" y="946"/>
                  </a:cubicBezTo>
                  <a:cubicBezTo>
                    <a:pt x="1411" y="949"/>
                    <a:pt x="1411" y="949"/>
                    <a:pt x="1411" y="949"/>
                  </a:cubicBezTo>
                  <a:cubicBezTo>
                    <a:pt x="1410" y="950"/>
                    <a:pt x="1410" y="950"/>
                    <a:pt x="1410" y="950"/>
                  </a:cubicBezTo>
                  <a:cubicBezTo>
                    <a:pt x="1410" y="950"/>
                    <a:pt x="1410" y="950"/>
                    <a:pt x="1410" y="950"/>
                  </a:cubicBezTo>
                  <a:cubicBezTo>
                    <a:pt x="1410" y="950"/>
                    <a:pt x="1410" y="950"/>
                    <a:pt x="1410" y="950"/>
                  </a:cubicBezTo>
                  <a:cubicBezTo>
                    <a:pt x="1409" y="950"/>
                    <a:pt x="1409" y="950"/>
                    <a:pt x="1409" y="950"/>
                  </a:cubicBezTo>
                  <a:cubicBezTo>
                    <a:pt x="1407" y="948"/>
                    <a:pt x="1404" y="948"/>
                    <a:pt x="1402" y="947"/>
                  </a:cubicBezTo>
                  <a:cubicBezTo>
                    <a:pt x="1402" y="947"/>
                    <a:pt x="1402" y="947"/>
                    <a:pt x="1402" y="947"/>
                  </a:cubicBezTo>
                  <a:cubicBezTo>
                    <a:pt x="1402" y="947"/>
                    <a:pt x="1402" y="947"/>
                    <a:pt x="1402" y="947"/>
                  </a:cubicBezTo>
                  <a:cubicBezTo>
                    <a:pt x="1402" y="947"/>
                    <a:pt x="1402" y="947"/>
                    <a:pt x="1402" y="947"/>
                  </a:cubicBezTo>
                  <a:cubicBezTo>
                    <a:pt x="1401" y="947"/>
                    <a:pt x="1401" y="947"/>
                    <a:pt x="1401" y="947"/>
                  </a:cubicBezTo>
                  <a:cubicBezTo>
                    <a:pt x="1401" y="947"/>
                    <a:pt x="1401" y="947"/>
                    <a:pt x="1401" y="947"/>
                  </a:cubicBezTo>
                  <a:cubicBezTo>
                    <a:pt x="1401" y="946"/>
                    <a:pt x="1401" y="946"/>
                    <a:pt x="1401" y="946"/>
                  </a:cubicBezTo>
                  <a:cubicBezTo>
                    <a:pt x="1400" y="946"/>
                    <a:pt x="1400" y="946"/>
                    <a:pt x="1400" y="946"/>
                  </a:cubicBezTo>
                  <a:cubicBezTo>
                    <a:pt x="1399" y="945"/>
                    <a:pt x="1399" y="945"/>
                    <a:pt x="1399" y="945"/>
                  </a:cubicBezTo>
                  <a:cubicBezTo>
                    <a:pt x="1397" y="944"/>
                    <a:pt x="1397" y="944"/>
                    <a:pt x="1397" y="944"/>
                  </a:cubicBezTo>
                  <a:cubicBezTo>
                    <a:pt x="1397" y="943"/>
                    <a:pt x="1397" y="943"/>
                    <a:pt x="1397" y="943"/>
                  </a:cubicBezTo>
                  <a:cubicBezTo>
                    <a:pt x="1396" y="943"/>
                    <a:pt x="1396" y="943"/>
                    <a:pt x="1396" y="943"/>
                  </a:cubicBezTo>
                  <a:cubicBezTo>
                    <a:pt x="1396" y="943"/>
                    <a:pt x="1396" y="943"/>
                    <a:pt x="1396" y="943"/>
                  </a:cubicBezTo>
                  <a:cubicBezTo>
                    <a:pt x="1395" y="943"/>
                    <a:pt x="1395" y="943"/>
                    <a:pt x="1395" y="943"/>
                  </a:cubicBezTo>
                  <a:cubicBezTo>
                    <a:pt x="1395" y="943"/>
                    <a:pt x="1395" y="943"/>
                    <a:pt x="1395" y="943"/>
                  </a:cubicBezTo>
                  <a:cubicBezTo>
                    <a:pt x="1395" y="943"/>
                    <a:pt x="1395" y="943"/>
                    <a:pt x="1395" y="943"/>
                  </a:cubicBezTo>
                  <a:cubicBezTo>
                    <a:pt x="1394" y="943"/>
                    <a:pt x="1394" y="943"/>
                    <a:pt x="1393" y="944"/>
                  </a:cubicBezTo>
                  <a:cubicBezTo>
                    <a:pt x="1391" y="946"/>
                    <a:pt x="1391" y="946"/>
                    <a:pt x="1391" y="946"/>
                  </a:cubicBezTo>
                  <a:cubicBezTo>
                    <a:pt x="1391" y="946"/>
                    <a:pt x="1391" y="946"/>
                    <a:pt x="1391" y="946"/>
                  </a:cubicBezTo>
                  <a:cubicBezTo>
                    <a:pt x="1391" y="946"/>
                    <a:pt x="1391" y="946"/>
                    <a:pt x="1391" y="946"/>
                  </a:cubicBezTo>
                  <a:cubicBezTo>
                    <a:pt x="1391" y="946"/>
                    <a:pt x="1391" y="946"/>
                    <a:pt x="1391" y="946"/>
                  </a:cubicBezTo>
                  <a:cubicBezTo>
                    <a:pt x="1391" y="946"/>
                    <a:pt x="1391" y="945"/>
                    <a:pt x="1391" y="945"/>
                  </a:cubicBezTo>
                  <a:cubicBezTo>
                    <a:pt x="1391" y="945"/>
                    <a:pt x="1391" y="945"/>
                    <a:pt x="1391" y="945"/>
                  </a:cubicBezTo>
                  <a:cubicBezTo>
                    <a:pt x="1391" y="944"/>
                    <a:pt x="1391" y="944"/>
                    <a:pt x="1391" y="944"/>
                  </a:cubicBezTo>
                  <a:cubicBezTo>
                    <a:pt x="1390" y="944"/>
                    <a:pt x="1390" y="944"/>
                    <a:pt x="1390" y="944"/>
                  </a:cubicBezTo>
                  <a:cubicBezTo>
                    <a:pt x="1388" y="942"/>
                    <a:pt x="1388" y="942"/>
                    <a:pt x="1388" y="942"/>
                  </a:cubicBezTo>
                  <a:cubicBezTo>
                    <a:pt x="1387" y="942"/>
                    <a:pt x="1387" y="942"/>
                    <a:pt x="1387" y="942"/>
                  </a:cubicBezTo>
                  <a:cubicBezTo>
                    <a:pt x="1386" y="942"/>
                    <a:pt x="1386" y="942"/>
                    <a:pt x="1386" y="942"/>
                  </a:cubicBezTo>
                  <a:cubicBezTo>
                    <a:pt x="1386" y="941"/>
                    <a:pt x="1386" y="941"/>
                    <a:pt x="1386" y="941"/>
                  </a:cubicBezTo>
                  <a:cubicBezTo>
                    <a:pt x="1387" y="939"/>
                    <a:pt x="1389" y="941"/>
                    <a:pt x="1390" y="936"/>
                  </a:cubicBezTo>
                  <a:cubicBezTo>
                    <a:pt x="1390" y="936"/>
                    <a:pt x="1390" y="936"/>
                    <a:pt x="1390" y="936"/>
                  </a:cubicBezTo>
                  <a:cubicBezTo>
                    <a:pt x="1390" y="936"/>
                    <a:pt x="1390" y="936"/>
                    <a:pt x="1390" y="936"/>
                  </a:cubicBezTo>
                  <a:cubicBezTo>
                    <a:pt x="1389" y="936"/>
                    <a:pt x="1389" y="936"/>
                    <a:pt x="1389" y="936"/>
                  </a:cubicBezTo>
                  <a:cubicBezTo>
                    <a:pt x="1387" y="937"/>
                    <a:pt x="1387" y="937"/>
                    <a:pt x="1387" y="937"/>
                  </a:cubicBezTo>
                  <a:cubicBezTo>
                    <a:pt x="1386" y="937"/>
                    <a:pt x="1386" y="937"/>
                    <a:pt x="1386" y="937"/>
                  </a:cubicBezTo>
                  <a:cubicBezTo>
                    <a:pt x="1386" y="937"/>
                    <a:pt x="1386" y="937"/>
                    <a:pt x="1386" y="937"/>
                  </a:cubicBezTo>
                  <a:cubicBezTo>
                    <a:pt x="1386" y="937"/>
                    <a:pt x="1386" y="937"/>
                    <a:pt x="1386" y="937"/>
                  </a:cubicBezTo>
                  <a:cubicBezTo>
                    <a:pt x="1386" y="937"/>
                    <a:pt x="1386" y="937"/>
                    <a:pt x="1386" y="937"/>
                  </a:cubicBezTo>
                  <a:cubicBezTo>
                    <a:pt x="1386" y="936"/>
                    <a:pt x="1386" y="936"/>
                    <a:pt x="1386" y="936"/>
                  </a:cubicBezTo>
                  <a:cubicBezTo>
                    <a:pt x="1385" y="936"/>
                    <a:pt x="1385" y="936"/>
                    <a:pt x="1385" y="936"/>
                  </a:cubicBezTo>
                  <a:cubicBezTo>
                    <a:pt x="1384" y="935"/>
                    <a:pt x="1384" y="935"/>
                    <a:pt x="1384" y="935"/>
                  </a:cubicBezTo>
                  <a:cubicBezTo>
                    <a:pt x="1384" y="935"/>
                    <a:pt x="1384" y="935"/>
                    <a:pt x="1384"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4"/>
                    <a:pt x="1383" y="934"/>
                    <a:pt x="1383" y="934"/>
                  </a:cubicBezTo>
                  <a:cubicBezTo>
                    <a:pt x="1383" y="934"/>
                    <a:pt x="1383" y="934"/>
                    <a:pt x="1383" y="933"/>
                  </a:cubicBezTo>
                  <a:cubicBezTo>
                    <a:pt x="1383" y="933"/>
                    <a:pt x="1383" y="933"/>
                    <a:pt x="1383" y="933"/>
                  </a:cubicBezTo>
                  <a:cubicBezTo>
                    <a:pt x="1383" y="933"/>
                    <a:pt x="1383" y="933"/>
                    <a:pt x="1383" y="933"/>
                  </a:cubicBezTo>
                  <a:cubicBezTo>
                    <a:pt x="1383" y="933"/>
                    <a:pt x="1383" y="933"/>
                    <a:pt x="1383" y="933"/>
                  </a:cubicBezTo>
                  <a:cubicBezTo>
                    <a:pt x="1383" y="933"/>
                    <a:pt x="1383" y="933"/>
                    <a:pt x="1383" y="933"/>
                  </a:cubicBezTo>
                  <a:cubicBezTo>
                    <a:pt x="1383" y="932"/>
                    <a:pt x="1383" y="932"/>
                    <a:pt x="1383" y="932"/>
                  </a:cubicBezTo>
                  <a:cubicBezTo>
                    <a:pt x="1383" y="931"/>
                    <a:pt x="1383" y="931"/>
                    <a:pt x="1383" y="931"/>
                  </a:cubicBezTo>
                  <a:cubicBezTo>
                    <a:pt x="1382" y="931"/>
                    <a:pt x="1382" y="931"/>
                    <a:pt x="1382" y="931"/>
                  </a:cubicBezTo>
                  <a:cubicBezTo>
                    <a:pt x="1382" y="931"/>
                    <a:pt x="1382" y="931"/>
                    <a:pt x="1382" y="930"/>
                  </a:cubicBezTo>
                  <a:cubicBezTo>
                    <a:pt x="1382" y="928"/>
                    <a:pt x="1382" y="928"/>
                    <a:pt x="1382" y="928"/>
                  </a:cubicBezTo>
                  <a:cubicBezTo>
                    <a:pt x="1382" y="928"/>
                    <a:pt x="1382" y="928"/>
                    <a:pt x="1382" y="928"/>
                  </a:cubicBezTo>
                  <a:cubicBezTo>
                    <a:pt x="1382" y="928"/>
                    <a:pt x="1382" y="928"/>
                    <a:pt x="1382" y="928"/>
                  </a:cubicBezTo>
                  <a:cubicBezTo>
                    <a:pt x="1382" y="928"/>
                    <a:pt x="1382" y="928"/>
                    <a:pt x="1382" y="928"/>
                  </a:cubicBezTo>
                  <a:cubicBezTo>
                    <a:pt x="1380" y="928"/>
                    <a:pt x="1377" y="927"/>
                    <a:pt x="1374" y="927"/>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6" y="929"/>
                    <a:pt x="1376" y="929"/>
                    <a:pt x="1376" y="929"/>
                  </a:cubicBezTo>
                  <a:cubicBezTo>
                    <a:pt x="1376" y="929"/>
                    <a:pt x="1376" y="929"/>
                    <a:pt x="1376" y="929"/>
                  </a:cubicBezTo>
                  <a:cubicBezTo>
                    <a:pt x="1376" y="929"/>
                    <a:pt x="1376" y="929"/>
                    <a:pt x="1376" y="929"/>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7" y="931"/>
                    <a:pt x="1377" y="931"/>
                    <a:pt x="1377" y="931"/>
                  </a:cubicBezTo>
                  <a:cubicBezTo>
                    <a:pt x="1377" y="931"/>
                    <a:pt x="1377" y="931"/>
                    <a:pt x="1377" y="931"/>
                  </a:cubicBezTo>
                  <a:cubicBezTo>
                    <a:pt x="1378" y="932"/>
                    <a:pt x="1377" y="932"/>
                    <a:pt x="1378" y="933"/>
                  </a:cubicBezTo>
                  <a:cubicBezTo>
                    <a:pt x="1378" y="933"/>
                    <a:pt x="1378" y="933"/>
                    <a:pt x="1378" y="933"/>
                  </a:cubicBezTo>
                  <a:cubicBezTo>
                    <a:pt x="1378" y="933"/>
                    <a:pt x="1378" y="933"/>
                    <a:pt x="1378" y="933"/>
                  </a:cubicBezTo>
                  <a:cubicBezTo>
                    <a:pt x="1378" y="933"/>
                    <a:pt x="1378" y="933"/>
                    <a:pt x="1378" y="933"/>
                  </a:cubicBezTo>
                  <a:cubicBezTo>
                    <a:pt x="1378" y="933"/>
                    <a:pt x="1378" y="933"/>
                    <a:pt x="1378" y="933"/>
                  </a:cubicBezTo>
                  <a:cubicBezTo>
                    <a:pt x="1378" y="933"/>
                    <a:pt x="1378" y="933"/>
                    <a:pt x="1378" y="933"/>
                  </a:cubicBezTo>
                  <a:cubicBezTo>
                    <a:pt x="1379" y="933"/>
                    <a:pt x="1379" y="933"/>
                    <a:pt x="1379" y="933"/>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80" y="935"/>
                    <a:pt x="1380" y="935"/>
                    <a:pt x="1380" y="935"/>
                  </a:cubicBezTo>
                  <a:cubicBezTo>
                    <a:pt x="1380" y="935"/>
                    <a:pt x="1380" y="935"/>
                    <a:pt x="1380" y="935"/>
                  </a:cubicBezTo>
                  <a:cubicBezTo>
                    <a:pt x="1380" y="935"/>
                    <a:pt x="1380" y="935"/>
                    <a:pt x="1380" y="935"/>
                  </a:cubicBezTo>
                  <a:cubicBezTo>
                    <a:pt x="1380" y="935"/>
                    <a:pt x="1380" y="935"/>
                    <a:pt x="1380" y="935"/>
                  </a:cubicBezTo>
                  <a:cubicBezTo>
                    <a:pt x="1380" y="935"/>
                    <a:pt x="1380" y="935"/>
                    <a:pt x="1380"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6"/>
                    <a:pt x="1381" y="936"/>
                    <a:pt x="1381" y="936"/>
                  </a:cubicBezTo>
                  <a:cubicBezTo>
                    <a:pt x="1381" y="936"/>
                    <a:pt x="1381" y="936"/>
                    <a:pt x="1381" y="936"/>
                  </a:cubicBezTo>
                  <a:cubicBezTo>
                    <a:pt x="1381" y="936"/>
                    <a:pt x="1381" y="936"/>
                    <a:pt x="1381" y="936"/>
                  </a:cubicBezTo>
                  <a:cubicBezTo>
                    <a:pt x="1381" y="936"/>
                    <a:pt x="1381" y="936"/>
                    <a:pt x="1381" y="936"/>
                  </a:cubicBezTo>
                  <a:cubicBezTo>
                    <a:pt x="1381" y="936"/>
                    <a:pt x="1381" y="936"/>
                    <a:pt x="1381" y="936"/>
                  </a:cubicBezTo>
                  <a:cubicBezTo>
                    <a:pt x="1381" y="937"/>
                    <a:pt x="1381" y="937"/>
                    <a:pt x="1381" y="938"/>
                  </a:cubicBezTo>
                  <a:cubicBezTo>
                    <a:pt x="1381" y="938"/>
                    <a:pt x="1381" y="938"/>
                    <a:pt x="1381" y="938"/>
                  </a:cubicBezTo>
                  <a:cubicBezTo>
                    <a:pt x="1381" y="938"/>
                    <a:pt x="1381" y="938"/>
                    <a:pt x="1381" y="938"/>
                  </a:cubicBezTo>
                  <a:cubicBezTo>
                    <a:pt x="1381" y="939"/>
                    <a:pt x="1382" y="938"/>
                    <a:pt x="1382" y="939"/>
                  </a:cubicBezTo>
                  <a:cubicBezTo>
                    <a:pt x="1382" y="939"/>
                    <a:pt x="1382" y="939"/>
                    <a:pt x="1382" y="939"/>
                  </a:cubicBezTo>
                  <a:cubicBezTo>
                    <a:pt x="1382" y="940"/>
                    <a:pt x="1382" y="940"/>
                    <a:pt x="1382" y="940"/>
                  </a:cubicBezTo>
                  <a:cubicBezTo>
                    <a:pt x="1382" y="940"/>
                    <a:pt x="1382" y="940"/>
                    <a:pt x="1382" y="940"/>
                  </a:cubicBezTo>
                  <a:cubicBezTo>
                    <a:pt x="1382" y="940"/>
                    <a:pt x="1382" y="940"/>
                    <a:pt x="1382" y="940"/>
                  </a:cubicBezTo>
                  <a:cubicBezTo>
                    <a:pt x="1383" y="940"/>
                    <a:pt x="1382" y="941"/>
                    <a:pt x="1383" y="941"/>
                  </a:cubicBezTo>
                  <a:cubicBezTo>
                    <a:pt x="1383" y="941"/>
                    <a:pt x="1383" y="941"/>
                    <a:pt x="1383" y="941"/>
                  </a:cubicBezTo>
                  <a:cubicBezTo>
                    <a:pt x="1383" y="941"/>
                    <a:pt x="1383" y="941"/>
                    <a:pt x="1383" y="941"/>
                  </a:cubicBezTo>
                  <a:cubicBezTo>
                    <a:pt x="1383" y="941"/>
                    <a:pt x="1383" y="941"/>
                    <a:pt x="1383" y="941"/>
                  </a:cubicBezTo>
                  <a:cubicBezTo>
                    <a:pt x="1383" y="941"/>
                    <a:pt x="1383" y="941"/>
                    <a:pt x="1383" y="941"/>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3"/>
                    <a:pt x="1383" y="943"/>
                    <a:pt x="1383" y="943"/>
                  </a:cubicBezTo>
                  <a:cubicBezTo>
                    <a:pt x="1383" y="943"/>
                    <a:pt x="1383" y="943"/>
                    <a:pt x="1383" y="943"/>
                  </a:cubicBezTo>
                  <a:cubicBezTo>
                    <a:pt x="1383" y="943"/>
                    <a:pt x="1383" y="943"/>
                    <a:pt x="1383" y="943"/>
                  </a:cubicBezTo>
                  <a:cubicBezTo>
                    <a:pt x="1383" y="943"/>
                    <a:pt x="1383" y="943"/>
                    <a:pt x="1383" y="943"/>
                  </a:cubicBezTo>
                  <a:cubicBezTo>
                    <a:pt x="1382" y="943"/>
                    <a:pt x="1382" y="943"/>
                    <a:pt x="1382" y="943"/>
                  </a:cubicBezTo>
                  <a:cubicBezTo>
                    <a:pt x="1382" y="944"/>
                    <a:pt x="1382" y="944"/>
                    <a:pt x="1382" y="944"/>
                  </a:cubicBezTo>
                  <a:cubicBezTo>
                    <a:pt x="1383" y="944"/>
                    <a:pt x="1383" y="944"/>
                    <a:pt x="1383" y="944"/>
                  </a:cubicBezTo>
                  <a:cubicBezTo>
                    <a:pt x="1383" y="944"/>
                    <a:pt x="1383" y="944"/>
                    <a:pt x="1383" y="944"/>
                  </a:cubicBezTo>
                  <a:cubicBezTo>
                    <a:pt x="1383" y="944"/>
                    <a:pt x="1383" y="944"/>
                    <a:pt x="1383" y="944"/>
                  </a:cubicBezTo>
                  <a:cubicBezTo>
                    <a:pt x="1384" y="946"/>
                    <a:pt x="1382" y="946"/>
                    <a:pt x="1381" y="948"/>
                  </a:cubicBezTo>
                  <a:cubicBezTo>
                    <a:pt x="1381" y="948"/>
                    <a:pt x="1381" y="948"/>
                    <a:pt x="1381" y="948"/>
                  </a:cubicBezTo>
                  <a:cubicBezTo>
                    <a:pt x="1381" y="948"/>
                    <a:pt x="1381" y="948"/>
                    <a:pt x="1381" y="948"/>
                  </a:cubicBezTo>
                  <a:cubicBezTo>
                    <a:pt x="1381" y="948"/>
                    <a:pt x="1381" y="948"/>
                    <a:pt x="1381" y="948"/>
                  </a:cubicBezTo>
                  <a:cubicBezTo>
                    <a:pt x="1381" y="948"/>
                    <a:pt x="1380" y="949"/>
                    <a:pt x="1380" y="949"/>
                  </a:cubicBezTo>
                  <a:cubicBezTo>
                    <a:pt x="1380" y="949"/>
                    <a:pt x="1380" y="949"/>
                    <a:pt x="1380" y="949"/>
                  </a:cubicBezTo>
                  <a:cubicBezTo>
                    <a:pt x="1380" y="950"/>
                    <a:pt x="1380" y="950"/>
                    <a:pt x="1380" y="950"/>
                  </a:cubicBezTo>
                  <a:cubicBezTo>
                    <a:pt x="1378" y="951"/>
                    <a:pt x="1378" y="951"/>
                    <a:pt x="1378" y="951"/>
                  </a:cubicBezTo>
                  <a:cubicBezTo>
                    <a:pt x="1378" y="951"/>
                    <a:pt x="1378" y="951"/>
                    <a:pt x="1378" y="951"/>
                  </a:cubicBezTo>
                  <a:cubicBezTo>
                    <a:pt x="1378" y="952"/>
                    <a:pt x="1378" y="952"/>
                    <a:pt x="1378" y="952"/>
                  </a:cubicBezTo>
                  <a:cubicBezTo>
                    <a:pt x="1378" y="952"/>
                    <a:pt x="1378" y="952"/>
                    <a:pt x="1378" y="952"/>
                  </a:cubicBezTo>
                  <a:cubicBezTo>
                    <a:pt x="1378" y="952"/>
                    <a:pt x="1378" y="952"/>
                    <a:pt x="1378" y="952"/>
                  </a:cubicBezTo>
                  <a:cubicBezTo>
                    <a:pt x="1377" y="952"/>
                    <a:pt x="1377" y="952"/>
                    <a:pt x="1377" y="952"/>
                  </a:cubicBezTo>
                  <a:cubicBezTo>
                    <a:pt x="1377" y="952"/>
                    <a:pt x="1377" y="952"/>
                    <a:pt x="1377" y="952"/>
                  </a:cubicBezTo>
                  <a:cubicBezTo>
                    <a:pt x="1376" y="953"/>
                    <a:pt x="1376" y="953"/>
                    <a:pt x="1376" y="953"/>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5" y="956"/>
                    <a:pt x="1375" y="957"/>
                    <a:pt x="1375" y="957"/>
                  </a:cubicBezTo>
                  <a:cubicBezTo>
                    <a:pt x="1375" y="957"/>
                    <a:pt x="1375" y="957"/>
                    <a:pt x="1375" y="957"/>
                  </a:cubicBezTo>
                  <a:cubicBezTo>
                    <a:pt x="1375" y="958"/>
                    <a:pt x="1375" y="958"/>
                    <a:pt x="1375" y="958"/>
                  </a:cubicBezTo>
                  <a:cubicBezTo>
                    <a:pt x="1374" y="959"/>
                    <a:pt x="1374" y="959"/>
                    <a:pt x="1372" y="960"/>
                  </a:cubicBezTo>
                  <a:cubicBezTo>
                    <a:pt x="1372" y="960"/>
                    <a:pt x="1372" y="960"/>
                    <a:pt x="1372" y="960"/>
                  </a:cubicBezTo>
                  <a:cubicBezTo>
                    <a:pt x="1372" y="961"/>
                    <a:pt x="1372" y="961"/>
                    <a:pt x="1372" y="961"/>
                  </a:cubicBezTo>
                  <a:cubicBezTo>
                    <a:pt x="1372" y="961"/>
                    <a:pt x="1372" y="961"/>
                    <a:pt x="1372" y="961"/>
                  </a:cubicBezTo>
                  <a:cubicBezTo>
                    <a:pt x="1372" y="961"/>
                    <a:pt x="1372" y="961"/>
                    <a:pt x="1372" y="961"/>
                  </a:cubicBezTo>
                  <a:cubicBezTo>
                    <a:pt x="1372" y="962"/>
                    <a:pt x="1372" y="962"/>
                    <a:pt x="1372" y="963"/>
                  </a:cubicBezTo>
                  <a:cubicBezTo>
                    <a:pt x="1372" y="963"/>
                    <a:pt x="1372" y="963"/>
                    <a:pt x="1372" y="963"/>
                  </a:cubicBezTo>
                  <a:cubicBezTo>
                    <a:pt x="1372" y="963"/>
                    <a:pt x="1372" y="963"/>
                    <a:pt x="1372" y="963"/>
                  </a:cubicBezTo>
                  <a:cubicBezTo>
                    <a:pt x="1372" y="963"/>
                    <a:pt x="1372" y="964"/>
                    <a:pt x="1373" y="964"/>
                  </a:cubicBezTo>
                  <a:cubicBezTo>
                    <a:pt x="1373" y="964"/>
                    <a:pt x="1373" y="964"/>
                    <a:pt x="1373" y="964"/>
                  </a:cubicBezTo>
                  <a:cubicBezTo>
                    <a:pt x="1373" y="965"/>
                    <a:pt x="1373" y="965"/>
                    <a:pt x="1373" y="965"/>
                  </a:cubicBezTo>
                  <a:cubicBezTo>
                    <a:pt x="1373" y="965"/>
                    <a:pt x="1373" y="965"/>
                    <a:pt x="1373" y="965"/>
                  </a:cubicBezTo>
                  <a:cubicBezTo>
                    <a:pt x="1373" y="965"/>
                    <a:pt x="1373" y="965"/>
                    <a:pt x="1373" y="965"/>
                  </a:cubicBezTo>
                  <a:cubicBezTo>
                    <a:pt x="1373" y="968"/>
                    <a:pt x="1372" y="972"/>
                    <a:pt x="1373" y="974"/>
                  </a:cubicBezTo>
                  <a:cubicBezTo>
                    <a:pt x="1371" y="976"/>
                    <a:pt x="1371" y="976"/>
                    <a:pt x="1371" y="976"/>
                  </a:cubicBezTo>
                  <a:cubicBezTo>
                    <a:pt x="1370" y="978"/>
                    <a:pt x="1370" y="978"/>
                    <a:pt x="1370" y="978"/>
                  </a:cubicBezTo>
                  <a:cubicBezTo>
                    <a:pt x="1356" y="991"/>
                    <a:pt x="1356" y="991"/>
                    <a:pt x="1356" y="991"/>
                  </a:cubicBezTo>
                  <a:cubicBezTo>
                    <a:pt x="1356" y="992"/>
                    <a:pt x="1356" y="992"/>
                    <a:pt x="1356" y="992"/>
                  </a:cubicBezTo>
                  <a:cubicBezTo>
                    <a:pt x="1356" y="994"/>
                    <a:pt x="1355" y="995"/>
                    <a:pt x="1354" y="997"/>
                  </a:cubicBezTo>
                  <a:cubicBezTo>
                    <a:pt x="1351" y="1004"/>
                    <a:pt x="1351" y="1004"/>
                    <a:pt x="1351" y="1004"/>
                  </a:cubicBezTo>
                  <a:cubicBezTo>
                    <a:pt x="1351" y="1004"/>
                    <a:pt x="1351" y="1004"/>
                    <a:pt x="1351" y="1004"/>
                  </a:cubicBezTo>
                  <a:cubicBezTo>
                    <a:pt x="1351" y="1004"/>
                    <a:pt x="1351" y="1004"/>
                    <a:pt x="1351" y="1004"/>
                  </a:cubicBezTo>
                  <a:cubicBezTo>
                    <a:pt x="1353" y="1005"/>
                    <a:pt x="1354" y="1005"/>
                    <a:pt x="1355" y="1006"/>
                  </a:cubicBezTo>
                  <a:cubicBezTo>
                    <a:pt x="1355" y="1006"/>
                    <a:pt x="1355" y="1006"/>
                    <a:pt x="1355" y="1006"/>
                  </a:cubicBezTo>
                  <a:cubicBezTo>
                    <a:pt x="1356" y="1006"/>
                    <a:pt x="1356" y="1006"/>
                    <a:pt x="1356" y="1006"/>
                  </a:cubicBezTo>
                  <a:cubicBezTo>
                    <a:pt x="1356" y="1007"/>
                    <a:pt x="1356" y="1007"/>
                    <a:pt x="1356" y="1007"/>
                  </a:cubicBezTo>
                  <a:cubicBezTo>
                    <a:pt x="1356" y="1007"/>
                    <a:pt x="1356" y="1007"/>
                    <a:pt x="1356" y="1007"/>
                  </a:cubicBezTo>
                  <a:cubicBezTo>
                    <a:pt x="1356" y="1007"/>
                    <a:pt x="1356" y="1007"/>
                    <a:pt x="1356" y="1007"/>
                  </a:cubicBezTo>
                  <a:cubicBezTo>
                    <a:pt x="1356" y="1007"/>
                    <a:pt x="1356" y="1007"/>
                    <a:pt x="1356" y="1008"/>
                  </a:cubicBezTo>
                  <a:cubicBezTo>
                    <a:pt x="1357" y="1008"/>
                    <a:pt x="1357" y="1009"/>
                    <a:pt x="1356" y="1009"/>
                  </a:cubicBezTo>
                  <a:cubicBezTo>
                    <a:pt x="1356" y="1009"/>
                    <a:pt x="1356" y="1009"/>
                    <a:pt x="1356" y="1009"/>
                  </a:cubicBezTo>
                  <a:cubicBezTo>
                    <a:pt x="1356" y="1010"/>
                    <a:pt x="1356" y="1010"/>
                    <a:pt x="1355" y="1011"/>
                  </a:cubicBezTo>
                  <a:cubicBezTo>
                    <a:pt x="1355" y="1011"/>
                    <a:pt x="1355" y="1011"/>
                    <a:pt x="1355" y="1011"/>
                  </a:cubicBezTo>
                  <a:cubicBezTo>
                    <a:pt x="1355" y="1011"/>
                    <a:pt x="1355" y="1011"/>
                    <a:pt x="1355" y="1011"/>
                  </a:cubicBezTo>
                  <a:cubicBezTo>
                    <a:pt x="1355" y="1011"/>
                    <a:pt x="1355" y="1011"/>
                    <a:pt x="1355" y="1011"/>
                  </a:cubicBezTo>
                  <a:cubicBezTo>
                    <a:pt x="1355" y="1011"/>
                    <a:pt x="1355" y="1011"/>
                    <a:pt x="1355" y="1011"/>
                  </a:cubicBezTo>
                  <a:cubicBezTo>
                    <a:pt x="1352" y="1012"/>
                    <a:pt x="1346" y="1010"/>
                    <a:pt x="1343" y="1011"/>
                  </a:cubicBezTo>
                  <a:cubicBezTo>
                    <a:pt x="1341" y="1012"/>
                    <a:pt x="1341" y="1012"/>
                    <a:pt x="1341" y="1012"/>
                  </a:cubicBezTo>
                  <a:cubicBezTo>
                    <a:pt x="1341" y="1012"/>
                    <a:pt x="1341" y="1012"/>
                    <a:pt x="1341" y="1012"/>
                  </a:cubicBezTo>
                  <a:cubicBezTo>
                    <a:pt x="1341" y="1013"/>
                    <a:pt x="1341" y="1013"/>
                    <a:pt x="1341" y="1014"/>
                  </a:cubicBezTo>
                  <a:cubicBezTo>
                    <a:pt x="1340" y="1014"/>
                    <a:pt x="1340" y="1015"/>
                    <a:pt x="1340" y="1015"/>
                  </a:cubicBezTo>
                  <a:cubicBezTo>
                    <a:pt x="1340" y="1015"/>
                    <a:pt x="1340" y="1015"/>
                    <a:pt x="1340" y="1015"/>
                  </a:cubicBezTo>
                  <a:cubicBezTo>
                    <a:pt x="1340" y="1015"/>
                    <a:pt x="1340" y="1015"/>
                    <a:pt x="1340" y="1015"/>
                  </a:cubicBezTo>
                  <a:cubicBezTo>
                    <a:pt x="1340" y="1016"/>
                    <a:pt x="1340" y="1016"/>
                    <a:pt x="1340" y="1016"/>
                  </a:cubicBezTo>
                  <a:cubicBezTo>
                    <a:pt x="1340" y="1017"/>
                    <a:pt x="1341" y="1018"/>
                    <a:pt x="1341" y="1018"/>
                  </a:cubicBezTo>
                  <a:cubicBezTo>
                    <a:pt x="1341" y="1018"/>
                    <a:pt x="1342" y="1019"/>
                    <a:pt x="1342" y="1019"/>
                  </a:cubicBezTo>
                  <a:cubicBezTo>
                    <a:pt x="1342" y="1019"/>
                    <a:pt x="1342" y="1019"/>
                    <a:pt x="1342" y="1019"/>
                  </a:cubicBezTo>
                  <a:cubicBezTo>
                    <a:pt x="1342" y="1019"/>
                    <a:pt x="1342" y="1019"/>
                    <a:pt x="1342" y="1019"/>
                  </a:cubicBezTo>
                  <a:cubicBezTo>
                    <a:pt x="1343" y="1019"/>
                    <a:pt x="1343" y="1019"/>
                    <a:pt x="1343" y="1019"/>
                  </a:cubicBezTo>
                  <a:cubicBezTo>
                    <a:pt x="1343" y="1019"/>
                    <a:pt x="1343" y="1019"/>
                    <a:pt x="1344" y="1019"/>
                  </a:cubicBezTo>
                  <a:cubicBezTo>
                    <a:pt x="1346" y="1020"/>
                    <a:pt x="1350" y="1019"/>
                    <a:pt x="1352" y="1020"/>
                  </a:cubicBezTo>
                  <a:cubicBezTo>
                    <a:pt x="1352" y="1020"/>
                    <a:pt x="1352" y="1020"/>
                    <a:pt x="1352" y="1020"/>
                  </a:cubicBezTo>
                  <a:cubicBezTo>
                    <a:pt x="1353" y="1020"/>
                    <a:pt x="1353" y="1020"/>
                    <a:pt x="1353" y="1020"/>
                  </a:cubicBezTo>
                  <a:cubicBezTo>
                    <a:pt x="1353" y="1020"/>
                    <a:pt x="1353" y="1020"/>
                    <a:pt x="1353" y="1020"/>
                  </a:cubicBezTo>
                  <a:cubicBezTo>
                    <a:pt x="1353" y="1020"/>
                    <a:pt x="1354" y="1020"/>
                    <a:pt x="1354" y="1021"/>
                  </a:cubicBezTo>
                  <a:cubicBezTo>
                    <a:pt x="1354" y="1021"/>
                    <a:pt x="1354" y="1021"/>
                    <a:pt x="1354" y="1022"/>
                  </a:cubicBezTo>
                  <a:cubicBezTo>
                    <a:pt x="1354" y="1022"/>
                    <a:pt x="1354" y="1022"/>
                    <a:pt x="1354" y="1022"/>
                  </a:cubicBezTo>
                  <a:cubicBezTo>
                    <a:pt x="1354" y="1022"/>
                    <a:pt x="1354" y="1022"/>
                    <a:pt x="1354" y="1022"/>
                  </a:cubicBezTo>
                  <a:cubicBezTo>
                    <a:pt x="1354" y="1022"/>
                    <a:pt x="1354" y="1021"/>
                    <a:pt x="1354" y="1021"/>
                  </a:cubicBezTo>
                  <a:cubicBezTo>
                    <a:pt x="1354" y="1021"/>
                    <a:pt x="1354" y="1021"/>
                    <a:pt x="1354" y="1021"/>
                  </a:cubicBezTo>
                  <a:cubicBezTo>
                    <a:pt x="1355" y="1019"/>
                    <a:pt x="1355" y="1019"/>
                    <a:pt x="1355" y="1019"/>
                  </a:cubicBezTo>
                  <a:cubicBezTo>
                    <a:pt x="1355" y="1017"/>
                    <a:pt x="1358" y="1016"/>
                    <a:pt x="1360" y="1015"/>
                  </a:cubicBezTo>
                  <a:cubicBezTo>
                    <a:pt x="1361" y="1014"/>
                    <a:pt x="1361" y="1014"/>
                    <a:pt x="1362" y="1014"/>
                  </a:cubicBezTo>
                  <a:cubicBezTo>
                    <a:pt x="1362" y="1014"/>
                    <a:pt x="1363" y="1013"/>
                    <a:pt x="1363" y="1013"/>
                  </a:cubicBezTo>
                  <a:cubicBezTo>
                    <a:pt x="1363" y="1013"/>
                    <a:pt x="1363" y="1013"/>
                    <a:pt x="1363" y="1013"/>
                  </a:cubicBezTo>
                  <a:cubicBezTo>
                    <a:pt x="1364" y="1013"/>
                    <a:pt x="1364" y="1013"/>
                    <a:pt x="1364" y="1013"/>
                  </a:cubicBezTo>
                  <a:cubicBezTo>
                    <a:pt x="1365" y="1012"/>
                    <a:pt x="1365" y="1012"/>
                    <a:pt x="1365" y="1012"/>
                  </a:cubicBezTo>
                  <a:cubicBezTo>
                    <a:pt x="1366" y="1012"/>
                    <a:pt x="1366" y="1012"/>
                    <a:pt x="1366" y="1012"/>
                  </a:cubicBezTo>
                  <a:cubicBezTo>
                    <a:pt x="1368" y="1011"/>
                    <a:pt x="1370" y="1009"/>
                    <a:pt x="1372" y="1008"/>
                  </a:cubicBezTo>
                  <a:cubicBezTo>
                    <a:pt x="1373" y="1007"/>
                    <a:pt x="1374" y="1006"/>
                    <a:pt x="1375" y="1005"/>
                  </a:cubicBezTo>
                  <a:cubicBezTo>
                    <a:pt x="1375" y="1005"/>
                    <a:pt x="1375" y="1005"/>
                    <a:pt x="1375" y="1005"/>
                  </a:cubicBezTo>
                  <a:cubicBezTo>
                    <a:pt x="1376" y="1005"/>
                    <a:pt x="1376" y="1005"/>
                    <a:pt x="1376" y="1005"/>
                  </a:cubicBezTo>
                  <a:cubicBezTo>
                    <a:pt x="1377" y="1004"/>
                    <a:pt x="1378" y="1003"/>
                    <a:pt x="1379" y="1002"/>
                  </a:cubicBezTo>
                  <a:cubicBezTo>
                    <a:pt x="1380" y="1002"/>
                    <a:pt x="1380" y="1002"/>
                    <a:pt x="1380" y="1002"/>
                  </a:cubicBezTo>
                  <a:cubicBezTo>
                    <a:pt x="1382" y="1002"/>
                    <a:pt x="1382" y="1002"/>
                    <a:pt x="1382" y="1002"/>
                  </a:cubicBezTo>
                  <a:cubicBezTo>
                    <a:pt x="1385" y="1001"/>
                    <a:pt x="1388" y="1002"/>
                    <a:pt x="1391" y="1002"/>
                  </a:cubicBezTo>
                  <a:cubicBezTo>
                    <a:pt x="1394" y="1002"/>
                    <a:pt x="1397" y="1002"/>
                    <a:pt x="1399" y="1003"/>
                  </a:cubicBezTo>
                  <a:cubicBezTo>
                    <a:pt x="1400" y="1003"/>
                    <a:pt x="1400" y="1003"/>
                    <a:pt x="1400" y="1003"/>
                  </a:cubicBezTo>
                  <a:cubicBezTo>
                    <a:pt x="1400" y="1003"/>
                    <a:pt x="1400" y="1003"/>
                    <a:pt x="1400" y="1003"/>
                  </a:cubicBezTo>
                  <a:cubicBezTo>
                    <a:pt x="1400" y="1003"/>
                    <a:pt x="1400" y="1003"/>
                    <a:pt x="1400" y="1003"/>
                  </a:cubicBezTo>
                  <a:cubicBezTo>
                    <a:pt x="1400" y="1004"/>
                    <a:pt x="1400" y="1004"/>
                    <a:pt x="1400" y="1004"/>
                  </a:cubicBezTo>
                  <a:cubicBezTo>
                    <a:pt x="1401" y="1004"/>
                    <a:pt x="1403" y="1003"/>
                    <a:pt x="1404" y="1004"/>
                  </a:cubicBezTo>
                  <a:cubicBezTo>
                    <a:pt x="1405" y="1004"/>
                    <a:pt x="1405" y="1004"/>
                    <a:pt x="1405" y="1004"/>
                  </a:cubicBezTo>
                  <a:cubicBezTo>
                    <a:pt x="1405" y="1004"/>
                    <a:pt x="1405" y="1004"/>
                    <a:pt x="1405" y="1004"/>
                  </a:cubicBezTo>
                  <a:cubicBezTo>
                    <a:pt x="1405" y="1004"/>
                    <a:pt x="1405" y="1004"/>
                    <a:pt x="1405" y="1004"/>
                  </a:cubicBezTo>
                  <a:cubicBezTo>
                    <a:pt x="1407" y="1004"/>
                    <a:pt x="1408" y="1004"/>
                    <a:pt x="1410" y="1004"/>
                  </a:cubicBezTo>
                  <a:cubicBezTo>
                    <a:pt x="1409" y="1004"/>
                    <a:pt x="1409" y="1004"/>
                    <a:pt x="1409" y="1004"/>
                  </a:cubicBezTo>
                  <a:cubicBezTo>
                    <a:pt x="1407" y="1004"/>
                    <a:pt x="1406" y="1004"/>
                    <a:pt x="1405" y="1003"/>
                  </a:cubicBezTo>
                  <a:cubicBezTo>
                    <a:pt x="1405" y="1003"/>
                    <a:pt x="1405" y="1003"/>
                    <a:pt x="1405" y="1003"/>
                  </a:cubicBezTo>
                  <a:cubicBezTo>
                    <a:pt x="1405" y="1003"/>
                    <a:pt x="1405" y="1003"/>
                    <a:pt x="1405" y="1003"/>
                  </a:cubicBezTo>
                  <a:cubicBezTo>
                    <a:pt x="1404" y="1003"/>
                    <a:pt x="1404" y="1003"/>
                    <a:pt x="1404" y="1003"/>
                  </a:cubicBezTo>
                  <a:cubicBezTo>
                    <a:pt x="1404" y="1003"/>
                    <a:pt x="1404" y="1003"/>
                    <a:pt x="1404" y="1003"/>
                  </a:cubicBezTo>
                  <a:cubicBezTo>
                    <a:pt x="1404" y="1003"/>
                    <a:pt x="1404" y="1003"/>
                    <a:pt x="1404" y="1003"/>
                  </a:cubicBezTo>
                  <a:cubicBezTo>
                    <a:pt x="1403" y="1003"/>
                    <a:pt x="1403" y="1003"/>
                    <a:pt x="1403" y="1003"/>
                  </a:cubicBezTo>
                  <a:cubicBezTo>
                    <a:pt x="1403" y="1003"/>
                    <a:pt x="1403" y="1003"/>
                    <a:pt x="1402" y="1003"/>
                  </a:cubicBezTo>
                  <a:cubicBezTo>
                    <a:pt x="1402" y="1003"/>
                    <a:pt x="1402" y="1003"/>
                    <a:pt x="1402" y="1003"/>
                  </a:cubicBezTo>
                  <a:cubicBezTo>
                    <a:pt x="1402" y="1003"/>
                    <a:pt x="1402" y="1003"/>
                    <a:pt x="1402" y="1003"/>
                  </a:cubicBezTo>
                  <a:cubicBezTo>
                    <a:pt x="1402" y="1002"/>
                    <a:pt x="1402" y="1002"/>
                    <a:pt x="1402" y="1002"/>
                  </a:cubicBezTo>
                  <a:cubicBezTo>
                    <a:pt x="1403" y="1002"/>
                    <a:pt x="1403" y="1002"/>
                    <a:pt x="1403" y="1002"/>
                  </a:cubicBezTo>
                  <a:cubicBezTo>
                    <a:pt x="1404" y="1001"/>
                    <a:pt x="1404" y="1001"/>
                    <a:pt x="1404" y="1001"/>
                  </a:cubicBezTo>
                  <a:cubicBezTo>
                    <a:pt x="1405" y="1001"/>
                    <a:pt x="1405" y="1001"/>
                    <a:pt x="1405" y="1001"/>
                  </a:cubicBezTo>
                  <a:cubicBezTo>
                    <a:pt x="1406" y="1000"/>
                    <a:pt x="1407" y="1000"/>
                    <a:pt x="1408" y="999"/>
                  </a:cubicBezTo>
                  <a:cubicBezTo>
                    <a:pt x="1412" y="997"/>
                    <a:pt x="1412" y="997"/>
                    <a:pt x="1412" y="997"/>
                  </a:cubicBezTo>
                  <a:cubicBezTo>
                    <a:pt x="1418" y="996"/>
                    <a:pt x="1418" y="996"/>
                    <a:pt x="1418" y="996"/>
                  </a:cubicBezTo>
                  <a:cubicBezTo>
                    <a:pt x="1424" y="995"/>
                    <a:pt x="1430" y="995"/>
                    <a:pt x="1436" y="994"/>
                  </a:cubicBezTo>
                  <a:cubicBezTo>
                    <a:pt x="1435" y="992"/>
                    <a:pt x="1435" y="991"/>
                    <a:pt x="1434" y="989"/>
                  </a:cubicBezTo>
                  <a:cubicBezTo>
                    <a:pt x="1434" y="989"/>
                    <a:pt x="1434" y="989"/>
                    <a:pt x="1434" y="989"/>
                  </a:cubicBezTo>
                  <a:cubicBezTo>
                    <a:pt x="1434" y="987"/>
                    <a:pt x="1434" y="987"/>
                    <a:pt x="1434" y="987"/>
                  </a:cubicBezTo>
                  <a:cubicBezTo>
                    <a:pt x="1434" y="986"/>
                    <a:pt x="1434" y="986"/>
                    <a:pt x="1434" y="986"/>
                  </a:cubicBezTo>
                  <a:cubicBezTo>
                    <a:pt x="1434" y="985"/>
                    <a:pt x="1434" y="985"/>
                    <a:pt x="1434" y="984"/>
                  </a:cubicBezTo>
                  <a:cubicBezTo>
                    <a:pt x="1425" y="986"/>
                    <a:pt x="1425" y="986"/>
                    <a:pt x="1425" y="986"/>
                  </a:cubicBezTo>
                  <a:cubicBezTo>
                    <a:pt x="1424" y="986"/>
                    <a:pt x="1424" y="986"/>
                    <a:pt x="1424" y="986"/>
                  </a:cubicBezTo>
                  <a:cubicBezTo>
                    <a:pt x="1423" y="986"/>
                    <a:pt x="1423" y="986"/>
                    <a:pt x="1423" y="986"/>
                  </a:cubicBezTo>
                  <a:cubicBezTo>
                    <a:pt x="1423" y="986"/>
                    <a:pt x="1423" y="986"/>
                    <a:pt x="1423" y="986"/>
                  </a:cubicBezTo>
                  <a:cubicBezTo>
                    <a:pt x="1422" y="986"/>
                    <a:pt x="1420" y="985"/>
                    <a:pt x="1419" y="985"/>
                  </a:cubicBezTo>
                  <a:cubicBezTo>
                    <a:pt x="1419" y="985"/>
                    <a:pt x="1419" y="985"/>
                    <a:pt x="1419" y="985"/>
                  </a:cubicBezTo>
                  <a:cubicBezTo>
                    <a:pt x="1419" y="984"/>
                    <a:pt x="1419" y="984"/>
                    <a:pt x="1419" y="984"/>
                  </a:cubicBezTo>
                  <a:cubicBezTo>
                    <a:pt x="1418" y="984"/>
                    <a:pt x="1418" y="983"/>
                    <a:pt x="1418" y="983"/>
                  </a:cubicBezTo>
                  <a:cubicBezTo>
                    <a:pt x="1418" y="982"/>
                    <a:pt x="1418" y="982"/>
                    <a:pt x="1418" y="982"/>
                  </a:cubicBezTo>
                  <a:cubicBezTo>
                    <a:pt x="1418" y="982"/>
                    <a:pt x="1418" y="982"/>
                    <a:pt x="1418" y="982"/>
                  </a:cubicBezTo>
                  <a:cubicBezTo>
                    <a:pt x="1418" y="982"/>
                    <a:pt x="1418" y="982"/>
                    <a:pt x="1418" y="982"/>
                  </a:cubicBezTo>
                  <a:cubicBezTo>
                    <a:pt x="1418" y="982"/>
                    <a:pt x="1418" y="982"/>
                    <a:pt x="1418" y="982"/>
                  </a:cubicBezTo>
                  <a:cubicBezTo>
                    <a:pt x="1418" y="982"/>
                    <a:pt x="1418" y="982"/>
                    <a:pt x="1418" y="982"/>
                  </a:cubicBezTo>
                  <a:cubicBezTo>
                    <a:pt x="1419" y="981"/>
                    <a:pt x="1420" y="980"/>
                    <a:pt x="1420" y="979"/>
                  </a:cubicBezTo>
                  <a:cubicBezTo>
                    <a:pt x="1420" y="979"/>
                    <a:pt x="1420" y="979"/>
                    <a:pt x="1420" y="979"/>
                  </a:cubicBezTo>
                  <a:cubicBezTo>
                    <a:pt x="1421" y="979"/>
                    <a:pt x="1421" y="979"/>
                    <a:pt x="1421" y="979"/>
                  </a:cubicBezTo>
                  <a:cubicBezTo>
                    <a:pt x="1421" y="978"/>
                    <a:pt x="1421" y="978"/>
                    <a:pt x="1421" y="977"/>
                  </a:cubicBezTo>
                  <a:cubicBezTo>
                    <a:pt x="1420" y="976"/>
                    <a:pt x="1420" y="974"/>
                    <a:pt x="1420" y="973"/>
                  </a:cubicBezTo>
                  <a:cubicBezTo>
                    <a:pt x="1420" y="969"/>
                    <a:pt x="1423" y="966"/>
                    <a:pt x="1426" y="966"/>
                  </a:cubicBezTo>
                  <a:cubicBezTo>
                    <a:pt x="1428" y="966"/>
                    <a:pt x="1431" y="968"/>
                    <a:pt x="1432" y="970"/>
                  </a:cubicBezTo>
                  <a:cubicBezTo>
                    <a:pt x="1432" y="970"/>
                    <a:pt x="1432" y="970"/>
                    <a:pt x="1432" y="970"/>
                  </a:cubicBezTo>
                  <a:cubicBezTo>
                    <a:pt x="1432" y="970"/>
                    <a:pt x="1432" y="970"/>
                    <a:pt x="1432" y="970"/>
                  </a:cubicBezTo>
                  <a:cubicBezTo>
                    <a:pt x="1432" y="970"/>
                    <a:pt x="1432" y="970"/>
                    <a:pt x="1432" y="970"/>
                  </a:cubicBezTo>
                  <a:cubicBezTo>
                    <a:pt x="1433" y="969"/>
                    <a:pt x="1433" y="969"/>
                    <a:pt x="1433" y="968"/>
                  </a:cubicBezTo>
                  <a:cubicBezTo>
                    <a:pt x="1433" y="968"/>
                    <a:pt x="1433" y="968"/>
                    <a:pt x="1433" y="968"/>
                  </a:cubicBezTo>
                  <a:cubicBezTo>
                    <a:pt x="1434" y="968"/>
                    <a:pt x="1434" y="968"/>
                    <a:pt x="1434" y="968"/>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7" y="963"/>
                    <a:pt x="1467" y="963"/>
                    <a:pt x="1467" y="963"/>
                  </a:cubicBezTo>
                  <a:cubicBezTo>
                    <a:pt x="1468" y="963"/>
                    <a:pt x="1468" y="963"/>
                    <a:pt x="1468" y="963"/>
                  </a:cubicBezTo>
                  <a:cubicBezTo>
                    <a:pt x="1468" y="962"/>
                    <a:pt x="1468" y="962"/>
                    <a:pt x="1468" y="962"/>
                  </a:cubicBezTo>
                  <a:cubicBezTo>
                    <a:pt x="1469" y="961"/>
                    <a:pt x="1469" y="961"/>
                    <a:pt x="1469" y="961"/>
                  </a:cubicBezTo>
                  <a:cubicBezTo>
                    <a:pt x="1469" y="961"/>
                    <a:pt x="1469" y="961"/>
                    <a:pt x="1469" y="961"/>
                  </a:cubicBezTo>
                  <a:cubicBezTo>
                    <a:pt x="1469" y="961"/>
                    <a:pt x="1469" y="961"/>
                    <a:pt x="1469" y="961"/>
                  </a:cubicBezTo>
                  <a:cubicBezTo>
                    <a:pt x="1468" y="961"/>
                    <a:pt x="1468" y="961"/>
                    <a:pt x="1468" y="961"/>
                  </a:cubicBezTo>
                  <a:cubicBezTo>
                    <a:pt x="1468" y="961"/>
                    <a:pt x="1468" y="961"/>
                    <a:pt x="1468" y="961"/>
                  </a:cubicBezTo>
                  <a:cubicBezTo>
                    <a:pt x="1469" y="961"/>
                    <a:pt x="1469" y="961"/>
                    <a:pt x="1469" y="961"/>
                  </a:cubicBezTo>
                  <a:cubicBezTo>
                    <a:pt x="1469" y="960"/>
                    <a:pt x="1469" y="960"/>
                    <a:pt x="1469" y="960"/>
                  </a:cubicBezTo>
                  <a:cubicBezTo>
                    <a:pt x="1470" y="960"/>
                    <a:pt x="1470" y="960"/>
                    <a:pt x="1470" y="960"/>
                  </a:cubicBezTo>
                  <a:cubicBezTo>
                    <a:pt x="1471" y="960"/>
                    <a:pt x="1471" y="960"/>
                    <a:pt x="1471" y="960"/>
                  </a:cubicBezTo>
                  <a:cubicBezTo>
                    <a:pt x="1472" y="960"/>
                    <a:pt x="1473" y="959"/>
                    <a:pt x="1474" y="959"/>
                  </a:cubicBezTo>
                  <a:cubicBezTo>
                    <a:pt x="1474" y="959"/>
                    <a:pt x="1474" y="959"/>
                    <a:pt x="1474" y="959"/>
                  </a:cubicBezTo>
                  <a:cubicBezTo>
                    <a:pt x="1475" y="959"/>
                    <a:pt x="1475" y="959"/>
                    <a:pt x="1475" y="959"/>
                  </a:cubicBezTo>
                  <a:cubicBezTo>
                    <a:pt x="1475" y="959"/>
                    <a:pt x="1475" y="959"/>
                    <a:pt x="1475" y="959"/>
                  </a:cubicBezTo>
                  <a:cubicBezTo>
                    <a:pt x="1475" y="959"/>
                    <a:pt x="1475" y="959"/>
                    <a:pt x="1475" y="959"/>
                  </a:cubicBezTo>
                  <a:cubicBezTo>
                    <a:pt x="1475" y="959"/>
                    <a:pt x="1475" y="959"/>
                    <a:pt x="1475" y="959"/>
                  </a:cubicBezTo>
                  <a:cubicBezTo>
                    <a:pt x="1475" y="959"/>
                    <a:pt x="1475" y="959"/>
                    <a:pt x="1475" y="959"/>
                  </a:cubicBezTo>
                  <a:cubicBezTo>
                    <a:pt x="1474" y="960"/>
                    <a:pt x="1474" y="960"/>
                    <a:pt x="1474" y="960"/>
                  </a:cubicBezTo>
                  <a:cubicBezTo>
                    <a:pt x="1475" y="960"/>
                    <a:pt x="1475" y="960"/>
                    <a:pt x="1475" y="960"/>
                  </a:cubicBezTo>
                  <a:cubicBezTo>
                    <a:pt x="1475" y="960"/>
                    <a:pt x="1475" y="960"/>
                    <a:pt x="1475" y="960"/>
                  </a:cubicBezTo>
                  <a:cubicBezTo>
                    <a:pt x="1475" y="960"/>
                    <a:pt x="1475" y="960"/>
                    <a:pt x="1475" y="960"/>
                  </a:cubicBezTo>
                  <a:cubicBezTo>
                    <a:pt x="1476" y="960"/>
                    <a:pt x="1476" y="959"/>
                    <a:pt x="1477" y="959"/>
                  </a:cubicBezTo>
                  <a:cubicBezTo>
                    <a:pt x="1477" y="959"/>
                    <a:pt x="1477" y="959"/>
                    <a:pt x="1477" y="959"/>
                  </a:cubicBezTo>
                  <a:cubicBezTo>
                    <a:pt x="1477" y="959"/>
                    <a:pt x="1477" y="959"/>
                    <a:pt x="1477" y="959"/>
                  </a:cubicBezTo>
                  <a:cubicBezTo>
                    <a:pt x="1478" y="959"/>
                    <a:pt x="1478" y="959"/>
                    <a:pt x="1479" y="959"/>
                  </a:cubicBezTo>
                  <a:cubicBezTo>
                    <a:pt x="1479" y="959"/>
                    <a:pt x="1479" y="959"/>
                    <a:pt x="1479" y="959"/>
                  </a:cubicBezTo>
                  <a:cubicBezTo>
                    <a:pt x="1479" y="959"/>
                    <a:pt x="1479" y="959"/>
                    <a:pt x="1479" y="959"/>
                  </a:cubicBezTo>
                  <a:cubicBezTo>
                    <a:pt x="1479" y="959"/>
                    <a:pt x="1479" y="959"/>
                    <a:pt x="1479" y="959"/>
                  </a:cubicBezTo>
                  <a:cubicBezTo>
                    <a:pt x="1479" y="959"/>
                    <a:pt x="1479" y="959"/>
                    <a:pt x="1479" y="959"/>
                  </a:cubicBezTo>
                  <a:cubicBezTo>
                    <a:pt x="1479" y="959"/>
                    <a:pt x="1480" y="958"/>
                    <a:pt x="1480" y="958"/>
                  </a:cubicBezTo>
                  <a:cubicBezTo>
                    <a:pt x="1480" y="958"/>
                    <a:pt x="1480" y="958"/>
                    <a:pt x="1480" y="958"/>
                  </a:cubicBezTo>
                  <a:cubicBezTo>
                    <a:pt x="1480" y="958"/>
                    <a:pt x="1480" y="958"/>
                    <a:pt x="1480" y="958"/>
                  </a:cubicBezTo>
                  <a:cubicBezTo>
                    <a:pt x="1480" y="958"/>
                    <a:pt x="1480" y="958"/>
                    <a:pt x="1480" y="958"/>
                  </a:cubicBezTo>
                  <a:cubicBezTo>
                    <a:pt x="1480" y="958"/>
                    <a:pt x="1480" y="958"/>
                    <a:pt x="1480" y="958"/>
                  </a:cubicBezTo>
                  <a:cubicBezTo>
                    <a:pt x="1480" y="959"/>
                    <a:pt x="1480" y="959"/>
                    <a:pt x="1480" y="959"/>
                  </a:cubicBezTo>
                  <a:cubicBezTo>
                    <a:pt x="1480" y="959"/>
                    <a:pt x="1480" y="959"/>
                    <a:pt x="1480" y="959"/>
                  </a:cubicBezTo>
                  <a:cubicBezTo>
                    <a:pt x="1480" y="959"/>
                    <a:pt x="1480" y="959"/>
                    <a:pt x="1480" y="959"/>
                  </a:cubicBezTo>
                  <a:cubicBezTo>
                    <a:pt x="1480" y="959"/>
                    <a:pt x="1480" y="959"/>
                    <a:pt x="1480" y="959"/>
                  </a:cubicBezTo>
                  <a:cubicBezTo>
                    <a:pt x="1480" y="960"/>
                    <a:pt x="1480" y="960"/>
                    <a:pt x="1480" y="960"/>
                  </a:cubicBezTo>
                  <a:cubicBezTo>
                    <a:pt x="1480" y="960"/>
                    <a:pt x="1480" y="960"/>
                    <a:pt x="1480" y="960"/>
                  </a:cubicBezTo>
                  <a:cubicBezTo>
                    <a:pt x="1482" y="960"/>
                    <a:pt x="1482" y="960"/>
                    <a:pt x="1482" y="960"/>
                  </a:cubicBezTo>
                  <a:cubicBezTo>
                    <a:pt x="1482" y="960"/>
                    <a:pt x="1482" y="960"/>
                    <a:pt x="1482" y="960"/>
                  </a:cubicBezTo>
                  <a:cubicBezTo>
                    <a:pt x="1482" y="960"/>
                    <a:pt x="1482" y="960"/>
                    <a:pt x="1482" y="960"/>
                  </a:cubicBezTo>
                  <a:cubicBezTo>
                    <a:pt x="1481" y="960"/>
                    <a:pt x="1481" y="960"/>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2"/>
                    <a:pt x="1481" y="962"/>
                    <a:pt x="1481" y="962"/>
                  </a:cubicBezTo>
                  <a:cubicBezTo>
                    <a:pt x="1481" y="962"/>
                    <a:pt x="1481" y="962"/>
                    <a:pt x="1481" y="962"/>
                  </a:cubicBezTo>
                  <a:cubicBezTo>
                    <a:pt x="1482" y="961"/>
                    <a:pt x="1482" y="961"/>
                    <a:pt x="1482" y="961"/>
                  </a:cubicBezTo>
                  <a:cubicBezTo>
                    <a:pt x="1482" y="961"/>
                    <a:pt x="1482" y="961"/>
                    <a:pt x="1482" y="961"/>
                  </a:cubicBezTo>
                  <a:cubicBezTo>
                    <a:pt x="1485" y="960"/>
                    <a:pt x="1485" y="960"/>
                    <a:pt x="1485" y="960"/>
                  </a:cubicBezTo>
                  <a:cubicBezTo>
                    <a:pt x="1485" y="960"/>
                    <a:pt x="1485" y="960"/>
                    <a:pt x="1485" y="960"/>
                  </a:cubicBezTo>
                  <a:cubicBezTo>
                    <a:pt x="1485" y="960"/>
                    <a:pt x="1485" y="960"/>
                    <a:pt x="1485" y="960"/>
                  </a:cubicBezTo>
                  <a:cubicBezTo>
                    <a:pt x="1485" y="960"/>
                    <a:pt x="1485" y="960"/>
                    <a:pt x="1485" y="960"/>
                  </a:cubicBezTo>
                  <a:cubicBezTo>
                    <a:pt x="1504" y="952"/>
                    <a:pt x="1504" y="952"/>
                    <a:pt x="1504" y="952"/>
                  </a:cubicBezTo>
                  <a:cubicBezTo>
                    <a:pt x="1503" y="951"/>
                    <a:pt x="1503" y="951"/>
                    <a:pt x="1503" y="951"/>
                  </a:cubicBezTo>
                  <a:cubicBezTo>
                    <a:pt x="1504" y="951"/>
                    <a:pt x="1504" y="951"/>
                    <a:pt x="1504" y="951"/>
                  </a:cubicBezTo>
                  <a:cubicBezTo>
                    <a:pt x="1507" y="949"/>
                    <a:pt x="1509" y="948"/>
                    <a:pt x="1510" y="947"/>
                  </a:cubicBezTo>
                  <a:cubicBezTo>
                    <a:pt x="1511" y="945"/>
                    <a:pt x="1513" y="944"/>
                    <a:pt x="1515" y="942"/>
                  </a:cubicBezTo>
                  <a:cubicBezTo>
                    <a:pt x="1516" y="942"/>
                    <a:pt x="1516" y="942"/>
                    <a:pt x="1516" y="942"/>
                  </a:cubicBezTo>
                  <a:cubicBezTo>
                    <a:pt x="1517" y="940"/>
                    <a:pt x="1519" y="939"/>
                    <a:pt x="1520" y="938"/>
                  </a:cubicBezTo>
                  <a:cubicBezTo>
                    <a:pt x="1524" y="934"/>
                    <a:pt x="1531" y="932"/>
                    <a:pt x="1540" y="932"/>
                  </a:cubicBezTo>
                  <a:cubicBezTo>
                    <a:pt x="1550" y="932"/>
                    <a:pt x="1598" y="932"/>
                    <a:pt x="1608" y="932"/>
                  </a:cubicBezTo>
                  <a:cubicBezTo>
                    <a:pt x="1610" y="928"/>
                    <a:pt x="1611" y="925"/>
                    <a:pt x="1614" y="924"/>
                  </a:cubicBezTo>
                  <a:cubicBezTo>
                    <a:pt x="1616" y="923"/>
                    <a:pt x="1619" y="923"/>
                    <a:pt x="1622" y="924"/>
                  </a:cubicBezTo>
                  <a:cubicBezTo>
                    <a:pt x="1625" y="925"/>
                    <a:pt x="1626" y="925"/>
                    <a:pt x="1628" y="921"/>
                  </a:cubicBezTo>
                  <a:cubicBezTo>
                    <a:pt x="1631" y="917"/>
                    <a:pt x="1635" y="911"/>
                    <a:pt x="1637" y="908"/>
                  </a:cubicBezTo>
                  <a:cubicBezTo>
                    <a:pt x="1637" y="908"/>
                    <a:pt x="1637" y="908"/>
                    <a:pt x="1637" y="908"/>
                  </a:cubicBezTo>
                  <a:cubicBezTo>
                    <a:pt x="1635" y="906"/>
                    <a:pt x="1637" y="902"/>
                    <a:pt x="1644" y="890"/>
                  </a:cubicBezTo>
                  <a:cubicBezTo>
                    <a:pt x="1644" y="889"/>
                    <a:pt x="1644" y="889"/>
                    <a:pt x="1644" y="889"/>
                  </a:cubicBezTo>
                  <a:cubicBezTo>
                    <a:pt x="1648" y="883"/>
                    <a:pt x="1659" y="865"/>
                    <a:pt x="1659" y="865"/>
                  </a:cubicBezTo>
                  <a:cubicBezTo>
                    <a:pt x="1659" y="864"/>
                    <a:pt x="1660" y="862"/>
                    <a:pt x="1662" y="861"/>
                  </a:cubicBezTo>
                  <a:cubicBezTo>
                    <a:pt x="1664" y="860"/>
                    <a:pt x="1665" y="860"/>
                    <a:pt x="1667" y="861"/>
                  </a:cubicBezTo>
                  <a:cubicBezTo>
                    <a:pt x="1671" y="863"/>
                    <a:pt x="1671" y="866"/>
                    <a:pt x="1670" y="867"/>
                  </a:cubicBezTo>
                  <a:cubicBezTo>
                    <a:pt x="1672" y="869"/>
                    <a:pt x="1672" y="869"/>
                    <a:pt x="1673" y="868"/>
                  </a:cubicBezTo>
                  <a:cubicBezTo>
                    <a:pt x="1673" y="868"/>
                    <a:pt x="1674" y="868"/>
                    <a:pt x="1674" y="868"/>
                  </a:cubicBezTo>
                  <a:cubicBezTo>
                    <a:pt x="1675" y="867"/>
                    <a:pt x="1675" y="867"/>
                    <a:pt x="1675" y="867"/>
                  </a:cubicBezTo>
                  <a:cubicBezTo>
                    <a:pt x="1680" y="865"/>
                    <a:pt x="1686" y="862"/>
                    <a:pt x="1689" y="865"/>
                  </a:cubicBezTo>
                  <a:cubicBezTo>
                    <a:pt x="1691" y="866"/>
                    <a:pt x="1692" y="867"/>
                    <a:pt x="1694" y="868"/>
                  </a:cubicBezTo>
                  <a:cubicBezTo>
                    <a:pt x="1694" y="869"/>
                    <a:pt x="1694" y="869"/>
                    <a:pt x="1694" y="869"/>
                  </a:cubicBezTo>
                  <a:cubicBezTo>
                    <a:pt x="1695" y="869"/>
                    <a:pt x="1695" y="870"/>
                    <a:pt x="1696" y="870"/>
                  </a:cubicBezTo>
                  <a:cubicBezTo>
                    <a:pt x="1698" y="872"/>
                    <a:pt x="1700" y="874"/>
                    <a:pt x="1700" y="883"/>
                  </a:cubicBezTo>
                  <a:cubicBezTo>
                    <a:pt x="1700" y="892"/>
                    <a:pt x="1700" y="910"/>
                    <a:pt x="1700" y="910"/>
                  </a:cubicBezTo>
                  <a:cubicBezTo>
                    <a:pt x="1700" y="910"/>
                    <a:pt x="1700" y="910"/>
                    <a:pt x="1700" y="910"/>
                  </a:cubicBezTo>
                  <a:cubicBezTo>
                    <a:pt x="1700" y="911"/>
                    <a:pt x="1700" y="911"/>
                    <a:pt x="1700" y="911"/>
                  </a:cubicBezTo>
                  <a:cubicBezTo>
                    <a:pt x="1700" y="911"/>
                    <a:pt x="1700" y="912"/>
                    <a:pt x="1700" y="913"/>
                  </a:cubicBezTo>
                  <a:cubicBezTo>
                    <a:pt x="1701" y="914"/>
                    <a:pt x="1702" y="915"/>
                    <a:pt x="1704" y="915"/>
                  </a:cubicBezTo>
                  <a:cubicBezTo>
                    <a:pt x="1704" y="915"/>
                    <a:pt x="1704" y="915"/>
                    <a:pt x="1704" y="915"/>
                  </a:cubicBezTo>
                  <a:cubicBezTo>
                    <a:pt x="1706" y="915"/>
                    <a:pt x="1707" y="915"/>
                    <a:pt x="1708" y="916"/>
                  </a:cubicBezTo>
                  <a:cubicBezTo>
                    <a:pt x="1709" y="918"/>
                    <a:pt x="1709" y="922"/>
                    <a:pt x="1708" y="925"/>
                  </a:cubicBezTo>
                  <a:cubicBezTo>
                    <a:pt x="1708" y="925"/>
                    <a:pt x="1708" y="925"/>
                    <a:pt x="1708" y="925"/>
                  </a:cubicBezTo>
                  <a:cubicBezTo>
                    <a:pt x="1708" y="926"/>
                    <a:pt x="1708" y="927"/>
                    <a:pt x="1708" y="927"/>
                  </a:cubicBezTo>
                  <a:cubicBezTo>
                    <a:pt x="1710" y="927"/>
                    <a:pt x="1713" y="927"/>
                    <a:pt x="1715" y="929"/>
                  </a:cubicBezTo>
                  <a:cubicBezTo>
                    <a:pt x="1716" y="930"/>
                    <a:pt x="1716" y="930"/>
                    <a:pt x="1716" y="930"/>
                  </a:cubicBezTo>
                  <a:cubicBezTo>
                    <a:pt x="1715" y="931"/>
                    <a:pt x="1715" y="931"/>
                    <a:pt x="1715" y="931"/>
                  </a:cubicBezTo>
                  <a:cubicBezTo>
                    <a:pt x="1715" y="931"/>
                    <a:pt x="1716" y="932"/>
                    <a:pt x="1717" y="932"/>
                  </a:cubicBezTo>
                  <a:cubicBezTo>
                    <a:pt x="1717" y="932"/>
                    <a:pt x="1717" y="932"/>
                    <a:pt x="1717" y="932"/>
                  </a:cubicBezTo>
                  <a:cubicBezTo>
                    <a:pt x="1717" y="932"/>
                    <a:pt x="1717" y="932"/>
                    <a:pt x="1717" y="932"/>
                  </a:cubicBezTo>
                  <a:cubicBezTo>
                    <a:pt x="1717" y="933"/>
                    <a:pt x="1716" y="933"/>
                    <a:pt x="1716" y="933"/>
                  </a:cubicBezTo>
                  <a:cubicBezTo>
                    <a:pt x="1716" y="933"/>
                    <a:pt x="1717" y="933"/>
                    <a:pt x="1717" y="932"/>
                  </a:cubicBezTo>
                  <a:cubicBezTo>
                    <a:pt x="1718" y="934"/>
                    <a:pt x="1726" y="932"/>
                    <a:pt x="1727" y="932"/>
                  </a:cubicBezTo>
                  <a:cubicBezTo>
                    <a:pt x="1727" y="932"/>
                    <a:pt x="1727" y="932"/>
                    <a:pt x="1727" y="933"/>
                  </a:cubicBezTo>
                  <a:cubicBezTo>
                    <a:pt x="1729" y="931"/>
                    <a:pt x="1731" y="929"/>
                    <a:pt x="1733" y="928"/>
                  </a:cubicBezTo>
                  <a:cubicBezTo>
                    <a:pt x="1734" y="926"/>
                    <a:pt x="1733" y="926"/>
                    <a:pt x="1733" y="925"/>
                  </a:cubicBezTo>
                  <a:cubicBezTo>
                    <a:pt x="1734" y="924"/>
                    <a:pt x="1736" y="923"/>
                    <a:pt x="1737" y="922"/>
                  </a:cubicBezTo>
                  <a:cubicBezTo>
                    <a:pt x="1736" y="924"/>
                    <a:pt x="1734" y="925"/>
                    <a:pt x="1735" y="926"/>
                  </a:cubicBezTo>
                  <a:cubicBezTo>
                    <a:pt x="1735" y="926"/>
                    <a:pt x="1737" y="928"/>
                    <a:pt x="1737" y="928"/>
                  </a:cubicBezTo>
                  <a:cubicBezTo>
                    <a:pt x="1738" y="928"/>
                    <a:pt x="1738" y="929"/>
                    <a:pt x="1739" y="929"/>
                  </a:cubicBezTo>
                  <a:cubicBezTo>
                    <a:pt x="1743" y="929"/>
                    <a:pt x="1749" y="924"/>
                    <a:pt x="1751" y="922"/>
                  </a:cubicBezTo>
                  <a:cubicBezTo>
                    <a:pt x="1757" y="919"/>
                    <a:pt x="1763" y="915"/>
                    <a:pt x="1769" y="912"/>
                  </a:cubicBezTo>
                  <a:cubicBezTo>
                    <a:pt x="1771" y="911"/>
                    <a:pt x="1770" y="911"/>
                    <a:pt x="1770" y="909"/>
                  </a:cubicBezTo>
                  <a:cubicBezTo>
                    <a:pt x="1769" y="908"/>
                    <a:pt x="1767" y="904"/>
                    <a:pt x="1766" y="904"/>
                  </a:cubicBezTo>
                  <a:cubicBezTo>
                    <a:pt x="1768" y="906"/>
                    <a:pt x="1774" y="911"/>
                    <a:pt x="1771" y="914"/>
                  </a:cubicBezTo>
                  <a:cubicBezTo>
                    <a:pt x="1773" y="913"/>
                    <a:pt x="1775" y="912"/>
                    <a:pt x="1777" y="911"/>
                  </a:cubicBezTo>
                  <a:cubicBezTo>
                    <a:pt x="1775" y="914"/>
                    <a:pt x="1773" y="916"/>
                    <a:pt x="1771" y="919"/>
                  </a:cubicBezTo>
                  <a:cubicBezTo>
                    <a:pt x="1770" y="920"/>
                    <a:pt x="1766" y="924"/>
                    <a:pt x="1766" y="925"/>
                  </a:cubicBezTo>
                  <a:cubicBezTo>
                    <a:pt x="1766" y="927"/>
                    <a:pt x="1770" y="923"/>
                    <a:pt x="1771" y="923"/>
                  </a:cubicBezTo>
                  <a:cubicBezTo>
                    <a:pt x="1773" y="923"/>
                    <a:pt x="1774" y="924"/>
                    <a:pt x="1776" y="924"/>
                  </a:cubicBezTo>
                  <a:cubicBezTo>
                    <a:pt x="1777" y="924"/>
                    <a:pt x="1779" y="923"/>
                    <a:pt x="1780" y="923"/>
                  </a:cubicBezTo>
                  <a:cubicBezTo>
                    <a:pt x="1782" y="923"/>
                    <a:pt x="1783" y="923"/>
                    <a:pt x="1784" y="924"/>
                  </a:cubicBezTo>
                  <a:cubicBezTo>
                    <a:pt x="1786" y="924"/>
                    <a:pt x="1786" y="924"/>
                    <a:pt x="1789" y="923"/>
                  </a:cubicBezTo>
                  <a:cubicBezTo>
                    <a:pt x="1790" y="923"/>
                    <a:pt x="1796" y="923"/>
                    <a:pt x="1797" y="924"/>
                  </a:cubicBezTo>
                  <a:cubicBezTo>
                    <a:pt x="1797" y="925"/>
                    <a:pt x="1798" y="924"/>
                    <a:pt x="1798" y="924"/>
                  </a:cubicBezTo>
                  <a:cubicBezTo>
                    <a:pt x="1793" y="928"/>
                    <a:pt x="1786" y="931"/>
                    <a:pt x="1781" y="935"/>
                  </a:cubicBezTo>
                  <a:cubicBezTo>
                    <a:pt x="1780" y="933"/>
                    <a:pt x="1779" y="932"/>
                    <a:pt x="1777" y="931"/>
                  </a:cubicBezTo>
                  <a:cubicBezTo>
                    <a:pt x="1775" y="930"/>
                    <a:pt x="1775" y="932"/>
                    <a:pt x="1775" y="929"/>
                  </a:cubicBezTo>
                  <a:cubicBezTo>
                    <a:pt x="1775" y="927"/>
                    <a:pt x="1777" y="927"/>
                    <a:pt x="1775" y="926"/>
                  </a:cubicBezTo>
                  <a:cubicBezTo>
                    <a:pt x="1774" y="924"/>
                    <a:pt x="1771" y="926"/>
                    <a:pt x="1769" y="927"/>
                  </a:cubicBezTo>
                  <a:cubicBezTo>
                    <a:pt x="1762" y="932"/>
                    <a:pt x="1754" y="937"/>
                    <a:pt x="1747" y="942"/>
                  </a:cubicBezTo>
                  <a:cubicBezTo>
                    <a:pt x="1743" y="945"/>
                    <a:pt x="1740" y="947"/>
                    <a:pt x="1737" y="950"/>
                  </a:cubicBezTo>
                  <a:cubicBezTo>
                    <a:pt x="1735" y="953"/>
                    <a:pt x="1735" y="954"/>
                    <a:pt x="1734" y="957"/>
                  </a:cubicBezTo>
                  <a:cubicBezTo>
                    <a:pt x="1734" y="958"/>
                    <a:pt x="1732" y="959"/>
                    <a:pt x="1732" y="961"/>
                  </a:cubicBezTo>
                  <a:cubicBezTo>
                    <a:pt x="1732" y="962"/>
                    <a:pt x="1733" y="963"/>
                    <a:pt x="1733" y="964"/>
                  </a:cubicBezTo>
                  <a:cubicBezTo>
                    <a:pt x="1734" y="966"/>
                    <a:pt x="1734" y="967"/>
                    <a:pt x="1734" y="968"/>
                  </a:cubicBezTo>
                  <a:cubicBezTo>
                    <a:pt x="1735" y="970"/>
                    <a:pt x="1735" y="970"/>
                    <a:pt x="1737" y="972"/>
                  </a:cubicBezTo>
                  <a:cubicBezTo>
                    <a:pt x="1737" y="971"/>
                    <a:pt x="1737" y="969"/>
                    <a:pt x="1737" y="968"/>
                  </a:cubicBezTo>
                  <a:cubicBezTo>
                    <a:pt x="1741" y="970"/>
                    <a:pt x="1741" y="972"/>
                    <a:pt x="1742" y="975"/>
                  </a:cubicBezTo>
                  <a:cubicBezTo>
                    <a:pt x="1743" y="976"/>
                    <a:pt x="1743" y="977"/>
                    <a:pt x="1744" y="978"/>
                  </a:cubicBezTo>
                  <a:cubicBezTo>
                    <a:pt x="1746" y="978"/>
                    <a:pt x="1749" y="976"/>
                    <a:pt x="1749" y="978"/>
                  </a:cubicBezTo>
                  <a:cubicBezTo>
                    <a:pt x="1750" y="976"/>
                    <a:pt x="1751" y="974"/>
                    <a:pt x="1753" y="972"/>
                  </a:cubicBezTo>
                  <a:cubicBezTo>
                    <a:pt x="1753" y="972"/>
                    <a:pt x="1752" y="968"/>
                    <a:pt x="1754" y="973"/>
                  </a:cubicBezTo>
                  <a:cubicBezTo>
                    <a:pt x="1754" y="972"/>
                    <a:pt x="1755" y="970"/>
                    <a:pt x="1755" y="969"/>
                  </a:cubicBezTo>
                  <a:cubicBezTo>
                    <a:pt x="1756" y="971"/>
                    <a:pt x="1757" y="972"/>
                    <a:pt x="1757" y="973"/>
                  </a:cubicBezTo>
                  <a:cubicBezTo>
                    <a:pt x="1760" y="969"/>
                    <a:pt x="1761" y="968"/>
                    <a:pt x="1764" y="965"/>
                  </a:cubicBezTo>
                  <a:cubicBezTo>
                    <a:pt x="1765" y="965"/>
                    <a:pt x="1770" y="963"/>
                    <a:pt x="1767" y="962"/>
                  </a:cubicBezTo>
                  <a:cubicBezTo>
                    <a:pt x="1768" y="961"/>
                    <a:pt x="1770" y="961"/>
                    <a:pt x="1771" y="960"/>
                  </a:cubicBezTo>
                  <a:cubicBezTo>
                    <a:pt x="1770" y="960"/>
                    <a:pt x="1770" y="960"/>
                    <a:pt x="1769" y="960"/>
                  </a:cubicBezTo>
                  <a:cubicBezTo>
                    <a:pt x="1770" y="958"/>
                    <a:pt x="1776" y="956"/>
                    <a:pt x="1775" y="955"/>
                  </a:cubicBezTo>
                  <a:cubicBezTo>
                    <a:pt x="1776" y="955"/>
                    <a:pt x="1776" y="956"/>
                    <a:pt x="1777" y="956"/>
                  </a:cubicBezTo>
                  <a:cubicBezTo>
                    <a:pt x="1776" y="954"/>
                    <a:pt x="1775" y="953"/>
                    <a:pt x="1777" y="952"/>
                  </a:cubicBezTo>
                  <a:cubicBezTo>
                    <a:pt x="1774" y="952"/>
                    <a:pt x="1777" y="949"/>
                    <a:pt x="1777" y="948"/>
                  </a:cubicBezTo>
                  <a:cubicBezTo>
                    <a:pt x="1778" y="948"/>
                    <a:pt x="1781" y="949"/>
                    <a:pt x="1781" y="950"/>
                  </a:cubicBezTo>
                  <a:cubicBezTo>
                    <a:pt x="1782" y="949"/>
                    <a:pt x="1782" y="947"/>
                    <a:pt x="1782" y="946"/>
                  </a:cubicBezTo>
                  <a:cubicBezTo>
                    <a:pt x="1783" y="945"/>
                    <a:pt x="1783" y="945"/>
                    <a:pt x="1784" y="945"/>
                  </a:cubicBezTo>
                  <a:cubicBezTo>
                    <a:pt x="1786" y="944"/>
                    <a:pt x="1785" y="944"/>
                    <a:pt x="1785" y="946"/>
                  </a:cubicBezTo>
                  <a:cubicBezTo>
                    <a:pt x="1786" y="948"/>
                    <a:pt x="1784" y="951"/>
                    <a:pt x="1788" y="949"/>
                  </a:cubicBezTo>
                  <a:cubicBezTo>
                    <a:pt x="1789" y="951"/>
                    <a:pt x="1791" y="950"/>
                    <a:pt x="1792" y="951"/>
                  </a:cubicBezTo>
                  <a:cubicBezTo>
                    <a:pt x="1796" y="946"/>
                    <a:pt x="1794" y="946"/>
                    <a:pt x="1792" y="943"/>
                  </a:cubicBezTo>
                  <a:cubicBezTo>
                    <a:pt x="1795" y="945"/>
                    <a:pt x="1795" y="947"/>
                    <a:pt x="1799" y="946"/>
                  </a:cubicBezTo>
                  <a:cubicBezTo>
                    <a:pt x="1803" y="945"/>
                    <a:pt x="1808" y="944"/>
                    <a:pt x="1812" y="942"/>
                  </a:cubicBezTo>
                  <a:cubicBezTo>
                    <a:pt x="1826" y="937"/>
                    <a:pt x="1840" y="931"/>
                    <a:pt x="1854" y="926"/>
                  </a:cubicBezTo>
                  <a:cubicBezTo>
                    <a:pt x="1851" y="923"/>
                    <a:pt x="1847" y="921"/>
                    <a:pt x="1845" y="918"/>
                  </a:cubicBezTo>
                  <a:cubicBezTo>
                    <a:pt x="1844" y="917"/>
                    <a:pt x="1844" y="916"/>
                    <a:pt x="1843" y="916"/>
                  </a:cubicBezTo>
                  <a:cubicBezTo>
                    <a:pt x="1841" y="914"/>
                    <a:pt x="1835" y="916"/>
                    <a:pt x="1832" y="917"/>
                  </a:cubicBezTo>
                  <a:cubicBezTo>
                    <a:pt x="1832" y="915"/>
                    <a:pt x="1832" y="911"/>
                    <a:pt x="1832" y="909"/>
                  </a:cubicBezTo>
                  <a:cubicBezTo>
                    <a:pt x="1830" y="911"/>
                    <a:pt x="1827" y="913"/>
                    <a:pt x="1825" y="914"/>
                  </a:cubicBezTo>
                  <a:cubicBezTo>
                    <a:pt x="1823" y="915"/>
                    <a:pt x="1820" y="915"/>
                    <a:pt x="1821" y="916"/>
                  </a:cubicBezTo>
                  <a:cubicBezTo>
                    <a:pt x="1819" y="918"/>
                    <a:pt x="1816" y="918"/>
                    <a:pt x="1814" y="917"/>
                  </a:cubicBezTo>
                  <a:cubicBezTo>
                    <a:pt x="1813" y="916"/>
                    <a:pt x="1817" y="914"/>
                    <a:pt x="1813" y="913"/>
                  </a:cubicBezTo>
                  <a:cubicBezTo>
                    <a:pt x="1814" y="913"/>
                    <a:pt x="1814" y="913"/>
                    <a:pt x="1814" y="913"/>
                  </a:cubicBezTo>
                  <a:cubicBezTo>
                    <a:pt x="1810" y="913"/>
                    <a:pt x="1805" y="913"/>
                    <a:pt x="1800" y="914"/>
                  </a:cubicBezTo>
                  <a:cubicBezTo>
                    <a:pt x="1800" y="909"/>
                    <a:pt x="1786" y="907"/>
                    <a:pt x="1783" y="906"/>
                  </a:cubicBezTo>
                  <a:cubicBezTo>
                    <a:pt x="1784" y="904"/>
                    <a:pt x="1787" y="904"/>
                    <a:pt x="1789" y="903"/>
                  </a:cubicBezTo>
                  <a:cubicBezTo>
                    <a:pt x="1786" y="902"/>
                    <a:pt x="1783" y="902"/>
                    <a:pt x="1781" y="901"/>
                  </a:cubicBezTo>
                  <a:cubicBezTo>
                    <a:pt x="1779" y="901"/>
                    <a:pt x="1778" y="900"/>
                    <a:pt x="1776" y="899"/>
                  </a:cubicBezTo>
                  <a:cubicBezTo>
                    <a:pt x="1775" y="899"/>
                    <a:pt x="1772" y="899"/>
                    <a:pt x="1771" y="899"/>
                  </a:cubicBezTo>
                  <a:cubicBezTo>
                    <a:pt x="1771" y="896"/>
                    <a:pt x="1772" y="895"/>
                    <a:pt x="1768" y="897"/>
                  </a:cubicBezTo>
                  <a:cubicBezTo>
                    <a:pt x="1770" y="894"/>
                    <a:pt x="1769" y="893"/>
                    <a:pt x="1768" y="891"/>
                  </a:cubicBezTo>
                  <a:cubicBezTo>
                    <a:pt x="1767" y="890"/>
                    <a:pt x="1768" y="887"/>
                    <a:pt x="1767" y="886"/>
                  </a:cubicBezTo>
                  <a:cubicBezTo>
                    <a:pt x="1764" y="883"/>
                    <a:pt x="1762" y="882"/>
                    <a:pt x="1763" y="879"/>
                  </a:cubicBezTo>
                  <a:cubicBezTo>
                    <a:pt x="1764" y="878"/>
                    <a:pt x="1765" y="878"/>
                    <a:pt x="1765" y="877"/>
                  </a:cubicBezTo>
                  <a:cubicBezTo>
                    <a:pt x="1765" y="876"/>
                    <a:pt x="1765" y="875"/>
                    <a:pt x="1765" y="875"/>
                  </a:cubicBezTo>
                  <a:cubicBezTo>
                    <a:pt x="1760" y="874"/>
                    <a:pt x="1757" y="876"/>
                    <a:pt x="1752" y="874"/>
                  </a:cubicBezTo>
                  <a:cubicBezTo>
                    <a:pt x="1756" y="872"/>
                    <a:pt x="1761" y="869"/>
                    <a:pt x="1763" y="865"/>
                  </a:cubicBezTo>
                  <a:cubicBezTo>
                    <a:pt x="1763" y="863"/>
                    <a:pt x="1763" y="861"/>
                    <a:pt x="1764" y="860"/>
                  </a:cubicBezTo>
                  <a:cubicBezTo>
                    <a:pt x="1765" y="857"/>
                    <a:pt x="1766" y="857"/>
                    <a:pt x="1768" y="856"/>
                  </a:cubicBezTo>
                  <a:cubicBezTo>
                    <a:pt x="1762" y="855"/>
                    <a:pt x="1755" y="855"/>
                    <a:pt x="1750" y="856"/>
                  </a:cubicBezTo>
                  <a:cubicBezTo>
                    <a:pt x="1749" y="857"/>
                    <a:pt x="1746" y="857"/>
                    <a:pt x="1746" y="858"/>
                  </a:cubicBezTo>
                  <a:cubicBezTo>
                    <a:pt x="1744" y="856"/>
                    <a:pt x="1745" y="854"/>
                    <a:pt x="1743" y="852"/>
                  </a:cubicBezTo>
                  <a:cubicBezTo>
                    <a:pt x="1741" y="849"/>
                    <a:pt x="1734" y="848"/>
                    <a:pt x="1731" y="846"/>
                  </a:cubicBezTo>
                  <a:cubicBezTo>
                    <a:pt x="1733" y="845"/>
                    <a:pt x="1733" y="845"/>
                    <a:pt x="1733" y="845"/>
                  </a:cubicBezTo>
                  <a:cubicBezTo>
                    <a:pt x="1735" y="845"/>
                    <a:pt x="1735" y="845"/>
                    <a:pt x="1735" y="845"/>
                  </a:cubicBezTo>
                  <a:cubicBezTo>
                    <a:pt x="1735" y="845"/>
                    <a:pt x="1735" y="845"/>
                    <a:pt x="1735" y="845"/>
                  </a:cubicBezTo>
                  <a:cubicBezTo>
                    <a:pt x="1736" y="844"/>
                    <a:pt x="1736" y="844"/>
                    <a:pt x="1736" y="844"/>
                  </a:cubicBezTo>
                  <a:cubicBezTo>
                    <a:pt x="1737" y="844"/>
                    <a:pt x="1737" y="844"/>
                    <a:pt x="1737" y="844"/>
                  </a:cubicBezTo>
                  <a:cubicBezTo>
                    <a:pt x="1739" y="843"/>
                    <a:pt x="1739" y="843"/>
                    <a:pt x="1739" y="843"/>
                  </a:cubicBezTo>
                  <a:cubicBezTo>
                    <a:pt x="1740" y="843"/>
                    <a:pt x="1740" y="843"/>
                    <a:pt x="1740" y="843"/>
                  </a:cubicBezTo>
                  <a:cubicBezTo>
                    <a:pt x="1741" y="843"/>
                    <a:pt x="1741" y="843"/>
                    <a:pt x="1741" y="843"/>
                  </a:cubicBezTo>
                  <a:cubicBezTo>
                    <a:pt x="1741" y="843"/>
                    <a:pt x="1741" y="843"/>
                    <a:pt x="1741" y="843"/>
                  </a:cubicBezTo>
                  <a:cubicBezTo>
                    <a:pt x="1741" y="843"/>
                    <a:pt x="1741" y="843"/>
                    <a:pt x="1741" y="843"/>
                  </a:cubicBezTo>
                  <a:cubicBezTo>
                    <a:pt x="1741" y="843"/>
                    <a:pt x="1741" y="843"/>
                    <a:pt x="1741" y="843"/>
                  </a:cubicBezTo>
                  <a:cubicBezTo>
                    <a:pt x="1741" y="843"/>
                    <a:pt x="1741" y="843"/>
                    <a:pt x="1741" y="843"/>
                  </a:cubicBezTo>
                  <a:cubicBezTo>
                    <a:pt x="1741" y="844"/>
                    <a:pt x="1741" y="844"/>
                    <a:pt x="1741" y="844"/>
                  </a:cubicBezTo>
                  <a:cubicBezTo>
                    <a:pt x="1741" y="844"/>
                    <a:pt x="1741" y="844"/>
                    <a:pt x="1741" y="844"/>
                  </a:cubicBezTo>
                  <a:cubicBezTo>
                    <a:pt x="1741" y="844"/>
                    <a:pt x="1741" y="844"/>
                    <a:pt x="1741" y="844"/>
                  </a:cubicBezTo>
                  <a:cubicBezTo>
                    <a:pt x="1742" y="844"/>
                    <a:pt x="1742" y="844"/>
                    <a:pt x="1742" y="844"/>
                  </a:cubicBezTo>
                  <a:cubicBezTo>
                    <a:pt x="1742" y="844"/>
                    <a:pt x="1742" y="844"/>
                    <a:pt x="1742" y="844"/>
                  </a:cubicBezTo>
                  <a:cubicBezTo>
                    <a:pt x="1742" y="844"/>
                    <a:pt x="1742" y="844"/>
                    <a:pt x="1742" y="844"/>
                  </a:cubicBezTo>
                  <a:cubicBezTo>
                    <a:pt x="1742" y="844"/>
                    <a:pt x="1742" y="844"/>
                    <a:pt x="1742" y="844"/>
                  </a:cubicBezTo>
                  <a:cubicBezTo>
                    <a:pt x="1742" y="844"/>
                    <a:pt x="1742" y="844"/>
                    <a:pt x="1742" y="844"/>
                  </a:cubicBezTo>
                  <a:cubicBezTo>
                    <a:pt x="1743" y="844"/>
                    <a:pt x="1743" y="844"/>
                    <a:pt x="1743" y="844"/>
                  </a:cubicBezTo>
                  <a:cubicBezTo>
                    <a:pt x="1743" y="844"/>
                    <a:pt x="1743" y="844"/>
                    <a:pt x="1743" y="844"/>
                  </a:cubicBezTo>
                  <a:cubicBezTo>
                    <a:pt x="1743" y="844"/>
                    <a:pt x="1743" y="844"/>
                    <a:pt x="1743" y="844"/>
                  </a:cubicBezTo>
                  <a:cubicBezTo>
                    <a:pt x="1743" y="844"/>
                    <a:pt x="1743" y="844"/>
                    <a:pt x="1743" y="844"/>
                  </a:cubicBezTo>
                  <a:cubicBezTo>
                    <a:pt x="1743" y="844"/>
                    <a:pt x="1743" y="844"/>
                    <a:pt x="1743" y="844"/>
                  </a:cubicBezTo>
                  <a:cubicBezTo>
                    <a:pt x="1744" y="844"/>
                    <a:pt x="1744" y="844"/>
                    <a:pt x="1744" y="844"/>
                  </a:cubicBezTo>
                  <a:cubicBezTo>
                    <a:pt x="1744" y="844"/>
                    <a:pt x="1744" y="844"/>
                    <a:pt x="1744" y="844"/>
                  </a:cubicBezTo>
                  <a:cubicBezTo>
                    <a:pt x="1744" y="844"/>
                    <a:pt x="1744" y="844"/>
                    <a:pt x="1744" y="844"/>
                  </a:cubicBezTo>
                  <a:cubicBezTo>
                    <a:pt x="1744" y="845"/>
                    <a:pt x="1744" y="845"/>
                    <a:pt x="1744" y="845"/>
                  </a:cubicBezTo>
                  <a:cubicBezTo>
                    <a:pt x="1744" y="845"/>
                    <a:pt x="1744" y="845"/>
                    <a:pt x="1744" y="845"/>
                  </a:cubicBezTo>
                  <a:cubicBezTo>
                    <a:pt x="1745" y="845"/>
                    <a:pt x="1746" y="845"/>
                    <a:pt x="1747" y="845"/>
                  </a:cubicBezTo>
                  <a:cubicBezTo>
                    <a:pt x="1747" y="845"/>
                    <a:pt x="1747" y="845"/>
                    <a:pt x="1747" y="845"/>
                  </a:cubicBezTo>
                  <a:cubicBezTo>
                    <a:pt x="1747" y="846"/>
                    <a:pt x="1747" y="846"/>
                    <a:pt x="1747" y="846"/>
                  </a:cubicBezTo>
                  <a:cubicBezTo>
                    <a:pt x="1747" y="846"/>
                    <a:pt x="1747" y="846"/>
                    <a:pt x="1747" y="846"/>
                  </a:cubicBezTo>
                  <a:cubicBezTo>
                    <a:pt x="1747" y="846"/>
                    <a:pt x="1747" y="846"/>
                    <a:pt x="1747" y="846"/>
                  </a:cubicBezTo>
                  <a:cubicBezTo>
                    <a:pt x="1748" y="846"/>
                    <a:pt x="1748" y="846"/>
                    <a:pt x="1748" y="846"/>
                  </a:cubicBezTo>
                  <a:cubicBezTo>
                    <a:pt x="1748" y="846"/>
                    <a:pt x="1748" y="846"/>
                    <a:pt x="1748" y="846"/>
                  </a:cubicBezTo>
                  <a:cubicBezTo>
                    <a:pt x="1748" y="846"/>
                    <a:pt x="1748" y="846"/>
                    <a:pt x="1748" y="846"/>
                  </a:cubicBezTo>
                  <a:cubicBezTo>
                    <a:pt x="1748" y="846"/>
                    <a:pt x="1748" y="846"/>
                    <a:pt x="1748"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7"/>
                    <a:pt x="1749" y="847"/>
                    <a:pt x="1749" y="847"/>
                  </a:cubicBezTo>
                  <a:cubicBezTo>
                    <a:pt x="1749" y="847"/>
                    <a:pt x="1749" y="847"/>
                    <a:pt x="1749" y="847"/>
                  </a:cubicBezTo>
                  <a:cubicBezTo>
                    <a:pt x="1749" y="847"/>
                    <a:pt x="1749" y="847"/>
                    <a:pt x="1749" y="847"/>
                  </a:cubicBezTo>
                  <a:cubicBezTo>
                    <a:pt x="1749" y="847"/>
                    <a:pt x="1749" y="847"/>
                    <a:pt x="1749" y="847"/>
                  </a:cubicBezTo>
                  <a:cubicBezTo>
                    <a:pt x="1750" y="847"/>
                    <a:pt x="1750" y="847"/>
                    <a:pt x="1750" y="847"/>
                  </a:cubicBezTo>
                  <a:cubicBezTo>
                    <a:pt x="1750" y="848"/>
                    <a:pt x="1750" y="847"/>
                    <a:pt x="1750" y="847"/>
                  </a:cubicBezTo>
                  <a:cubicBezTo>
                    <a:pt x="1751" y="847"/>
                    <a:pt x="1751" y="847"/>
                    <a:pt x="1751" y="847"/>
                  </a:cubicBezTo>
                  <a:cubicBezTo>
                    <a:pt x="1751" y="847"/>
                    <a:pt x="1751" y="847"/>
                    <a:pt x="1751" y="847"/>
                  </a:cubicBezTo>
                  <a:cubicBezTo>
                    <a:pt x="1752" y="847"/>
                    <a:pt x="1752" y="847"/>
                    <a:pt x="1753" y="847"/>
                  </a:cubicBezTo>
                  <a:cubicBezTo>
                    <a:pt x="1753" y="847"/>
                    <a:pt x="1753" y="847"/>
                    <a:pt x="1753" y="847"/>
                  </a:cubicBezTo>
                  <a:cubicBezTo>
                    <a:pt x="1753" y="847"/>
                    <a:pt x="1753" y="847"/>
                    <a:pt x="1753" y="847"/>
                  </a:cubicBezTo>
                  <a:cubicBezTo>
                    <a:pt x="1753" y="847"/>
                    <a:pt x="1753" y="847"/>
                    <a:pt x="1753" y="847"/>
                  </a:cubicBezTo>
                  <a:cubicBezTo>
                    <a:pt x="1754" y="847"/>
                    <a:pt x="1754" y="847"/>
                    <a:pt x="1754" y="847"/>
                  </a:cubicBezTo>
                  <a:cubicBezTo>
                    <a:pt x="1754" y="847"/>
                    <a:pt x="1754" y="847"/>
                    <a:pt x="1754" y="847"/>
                  </a:cubicBezTo>
                  <a:cubicBezTo>
                    <a:pt x="1754" y="847"/>
                    <a:pt x="1754" y="847"/>
                    <a:pt x="1754" y="847"/>
                  </a:cubicBezTo>
                  <a:cubicBezTo>
                    <a:pt x="1755" y="847"/>
                    <a:pt x="1755" y="847"/>
                    <a:pt x="1755" y="847"/>
                  </a:cubicBezTo>
                  <a:cubicBezTo>
                    <a:pt x="1756" y="846"/>
                    <a:pt x="1756" y="846"/>
                    <a:pt x="1756" y="846"/>
                  </a:cubicBezTo>
                  <a:cubicBezTo>
                    <a:pt x="1760" y="843"/>
                    <a:pt x="1760" y="843"/>
                    <a:pt x="1760" y="843"/>
                  </a:cubicBezTo>
                  <a:cubicBezTo>
                    <a:pt x="1762" y="842"/>
                    <a:pt x="1762" y="842"/>
                    <a:pt x="1762" y="842"/>
                  </a:cubicBezTo>
                  <a:cubicBezTo>
                    <a:pt x="1765" y="841"/>
                    <a:pt x="1765" y="841"/>
                    <a:pt x="1765" y="841"/>
                  </a:cubicBezTo>
                  <a:cubicBezTo>
                    <a:pt x="1766" y="840"/>
                    <a:pt x="1766" y="840"/>
                    <a:pt x="1766" y="840"/>
                  </a:cubicBezTo>
                  <a:cubicBezTo>
                    <a:pt x="1766" y="840"/>
                    <a:pt x="1766" y="840"/>
                    <a:pt x="1766" y="840"/>
                  </a:cubicBezTo>
                  <a:cubicBezTo>
                    <a:pt x="1766" y="840"/>
                    <a:pt x="1766" y="840"/>
                    <a:pt x="1766" y="840"/>
                  </a:cubicBezTo>
                  <a:cubicBezTo>
                    <a:pt x="1766" y="840"/>
                    <a:pt x="1766" y="840"/>
                    <a:pt x="1766" y="840"/>
                  </a:cubicBezTo>
                  <a:cubicBezTo>
                    <a:pt x="1767" y="840"/>
                    <a:pt x="1767" y="840"/>
                    <a:pt x="1767" y="840"/>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8"/>
                    <a:pt x="1767" y="838"/>
                    <a:pt x="1767" y="838"/>
                  </a:cubicBezTo>
                  <a:cubicBezTo>
                    <a:pt x="1767" y="838"/>
                    <a:pt x="1767" y="838"/>
                    <a:pt x="1767" y="838"/>
                  </a:cubicBezTo>
                  <a:cubicBezTo>
                    <a:pt x="1768" y="838"/>
                    <a:pt x="1768" y="838"/>
                    <a:pt x="1768" y="838"/>
                  </a:cubicBezTo>
                  <a:cubicBezTo>
                    <a:pt x="1768" y="838"/>
                    <a:pt x="1768" y="838"/>
                    <a:pt x="1768" y="838"/>
                  </a:cubicBezTo>
                  <a:cubicBezTo>
                    <a:pt x="1767" y="838"/>
                    <a:pt x="1767" y="838"/>
                    <a:pt x="1767" y="838"/>
                  </a:cubicBezTo>
                  <a:cubicBezTo>
                    <a:pt x="1767" y="838"/>
                    <a:pt x="1767" y="838"/>
                    <a:pt x="1767" y="838"/>
                  </a:cubicBezTo>
                  <a:cubicBezTo>
                    <a:pt x="1767" y="838"/>
                    <a:pt x="1767" y="838"/>
                    <a:pt x="1767" y="838"/>
                  </a:cubicBezTo>
                  <a:cubicBezTo>
                    <a:pt x="1767" y="838"/>
                    <a:pt x="1767" y="838"/>
                    <a:pt x="1767" y="838"/>
                  </a:cubicBezTo>
                  <a:cubicBezTo>
                    <a:pt x="1767" y="838"/>
                    <a:pt x="1767" y="838"/>
                    <a:pt x="1767" y="838"/>
                  </a:cubicBezTo>
                  <a:cubicBezTo>
                    <a:pt x="1767" y="837"/>
                    <a:pt x="1767" y="837"/>
                    <a:pt x="1767" y="837"/>
                  </a:cubicBezTo>
                  <a:cubicBezTo>
                    <a:pt x="1768" y="837"/>
                    <a:pt x="1768" y="837"/>
                    <a:pt x="1768" y="837"/>
                  </a:cubicBezTo>
                  <a:cubicBezTo>
                    <a:pt x="1769" y="837"/>
                    <a:pt x="1769" y="837"/>
                    <a:pt x="1769" y="837"/>
                  </a:cubicBezTo>
                  <a:cubicBezTo>
                    <a:pt x="1770" y="837"/>
                    <a:pt x="1770" y="836"/>
                    <a:pt x="1771" y="836"/>
                  </a:cubicBezTo>
                  <a:cubicBezTo>
                    <a:pt x="1771" y="836"/>
                    <a:pt x="1771" y="836"/>
                    <a:pt x="1771" y="836"/>
                  </a:cubicBezTo>
                  <a:cubicBezTo>
                    <a:pt x="1771" y="836"/>
                    <a:pt x="1771" y="836"/>
                    <a:pt x="1771" y="836"/>
                  </a:cubicBezTo>
                  <a:cubicBezTo>
                    <a:pt x="1773" y="835"/>
                    <a:pt x="1775" y="835"/>
                    <a:pt x="1776" y="834"/>
                  </a:cubicBezTo>
                  <a:cubicBezTo>
                    <a:pt x="1776" y="834"/>
                    <a:pt x="1776" y="834"/>
                    <a:pt x="1776" y="834"/>
                  </a:cubicBezTo>
                  <a:cubicBezTo>
                    <a:pt x="1776" y="834"/>
                    <a:pt x="1776" y="834"/>
                    <a:pt x="1776" y="834"/>
                  </a:cubicBezTo>
                  <a:cubicBezTo>
                    <a:pt x="1776" y="834"/>
                    <a:pt x="1776" y="834"/>
                    <a:pt x="1776" y="834"/>
                  </a:cubicBezTo>
                  <a:cubicBezTo>
                    <a:pt x="1777" y="834"/>
                    <a:pt x="1777" y="834"/>
                    <a:pt x="1777" y="834"/>
                  </a:cubicBezTo>
                  <a:cubicBezTo>
                    <a:pt x="1777" y="833"/>
                    <a:pt x="1777" y="833"/>
                    <a:pt x="1777" y="833"/>
                  </a:cubicBezTo>
                  <a:cubicBezTo>
                    <a:pt x="1778" y="833"/>
                    <a:pt x="1778" y="833"/>
                    <a:pt x="1778" y="833"/>
                  </a:cubicBezTo>
                  <a:cubicBezTo>
                    <a:pt x="1778" y="833"/>
                    <a:pt x="1778" y="833"/>
                    <a:pt x="1778" y="833"/>
                  </a:cubicBezTo>
                  <a:cubicBezTo>
                    <a:pt x="1779" y="833"/>
                    <a:pt x="1779" y="833"/>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8" y="832"/>
                    <a:pt x="1778" y="832"/>
                    <a:pt x="1778" y="832"/>
                  </a:cubicBezTo>
                  <a:cubicBezTo>
                    <a:pt x="1778" y="832"/>
                    <a:pt x="1778" y="832"/>
                    <a:pt x="1778" y="832"/>
                  </a:cubicBezTo>
                  <a:cubicBezTo>
                    <a:pt x="1778" y="831"/>
                    <a:pt x="1778" y="831"/>
                    <a:pt x="1778" y="831"/>
                  </a:cubicBezTo>
                  <a:cubicBezTo>
                    <a:pt x="1778" y="831"/>
                    <a:pt x="1778" y="831"/>
                    <a:pt x="1778" y="831"/>
                  </a:cubicBezTo>
                  <a:cubicBezTo>
                    <a:pt x="1778" y="831"/>
                    <a:pt x="1778" y="831"/>
                    <a:pt x="1778" y="831"/>
                  </a:cubicBezTo>
                  <a:cubicBezTo>
                    <a:pt x="1778" y="831"/>
                    <a:pt x="1778" y="831"/>
                    <a:pt x="1778" y="831"/>
                  </a:cubicBezTo>
                  <a:cubicBezTo>
                    <a:pt x="1778" y="831"/>
                    <a:pt x="1778" y="831"/>
                    <a:pt x="1778" y="831"/>
                  </a:cubicBezTo>
                  <a:cubicBezTo>
                    <a:pt x="1777" y="831"/>
                    <a:pt x="1777" y="831"/>
                    <a:pt x="1777" y="831"/>
                  </a:cubicBezTo>
                  <a:cubicBezTo>
                    <a:pt x="1777" y="831"/>
                    <a:pt x="1777" y="831"/>
                    <a:pt x="1777" y="831"/>
                  </a:cubicBezTo>
                  <a:cubicBezTo>
                    <a:pt x="1777" y="831"/>
                    <a:pt x="1777" y="831"/>
                    <a:pt x="1777" y="831"/>
                  </a:cubicBezTo>
                  <a:cubicBezTo>
                    <a:pt x="1777" y="831"/>
                    <a:pt x="1777" y="831"/>
                    <a:pt x="1777" y="831"/>
                  </a:cubicBezTo>
                  <a:cubicBezTo>
                    <a:pt x="1777" y="829"/>
                    <a:pt x="1777" y="829"/>
                    <a:pt x="1779" y="829"/>
                  </a:cubicBezTo>
                  <a:cubicBezTo>
                    <a:pt x="1779" y="828"/>
                    <a:pt x="1779" y="828"/>
                    <a:pt x="1779" y="828"/>
                  </a:cubicBezTo>
                  <a:cubicBezTo>
                    <a:pt x="1779" y="828"/>
                    <a:pt x="1779" y="828"/>
                    <a:pt x="1779" y="828"/>
                  </a:cubicBezTo>
                  <a:cubicBezTo>
                    <a:pt x="1779" y="828"/>
                    <a:pt x="1779" y="828"/>
                    <a:pt x="1779" y="828"/>
                  </a:cubicBezTo>
                  <a:cubicBezTo>
                    <a:pt x="1779" y="828"/>
                    <a:pt x="1779" y="828"/>
                    <a:pt x="1779" y="828"/>
                  </a:cubicBezTo>
                  <a:cubicBezTo>
                    <a:pt x="1779" y="828"/>
                    <a:pt x="1779" y="828"/>
                    <a:pt x="1779" y="828"/>
                  </a:cubicBezTo>
                  <a:cubicBezTo>
                    <a:pt x="1778" y="828"/>
                    <a:pt x="1779" y="828"/>
                    <a:pt x="1778" y="827"/>
                  </a:cubicBezTo>
                  <a:cubicBezTo>
                    <a:pt x="1778" y="827"/>
                    <a:pt x="1778" y="827"/>
                    <a:pt x="1778" y="827"/>
                  </a:cubicBezTo>
                  <a:cubicBezTo>
                    <a:pt x="1778" y="827"/>
                    <a:pt x="1778" y="827"/>
                    <a:pt x="1778" y="827"/>
                  </a:cubicBezTo>
                  <a:cubicBezTo>
                    <a:pt x="1778" y="826"/>
                    <a:pt x="1778" y="826"/>
                    <a:pt x="1777" y="826"/>
                  </a:cubicBezTo>
                  <a:cubicBezTo>
                    <a:pt x="1777" y="826"/>
                    <a:pt x="1777" y="826"/>
                    <a:pt x="1777" y="826"/>
                  </a:cubicBezTo>
                  <a:cubicBezTo>
                    <a:pt x="1777" y="826"/>
                    <a:pt x="1777" y="826"/>
                    <a:pt x="1777" y="826"/>
                  </a:cubicBezTo>
                  <a:cubicBezTo>
                    <a:pt x="1777" y="826"/>
                    <a:pt x="1777" y="826"/>
                    <a:pt x="1777" y="826"/>
                  </a:cubicBezTo>
                  <a:cubicBezTo>
                    <a:pt x="1777" y="826"/>
                    <a:pt x="1777" y="826"/>
                    <a:pt x="1777" y="826"/>
                  </a:cubicBezTo>
                  <a:cubicBezTo>
                    <a:pt x="1776" y="825"/>
                    <a:pt x="1776" y="825"/>
                    <a:pt x="1776" y="825"/>
                  </a:cubicBezTo>
                  <a:cubicBezTo>
                    <a:pt x="1776" y="825"/>
                    <a:pt x="1776" y="825"/>
                    <a:pt x="1776" y="825"/>
                  </a:cubicBezTo>
                  <a:cubicBezTo>
                    <a:pt x="1775" y="825"/>
                    <a:pt x="1775" y="825"/>
                    <a:pt x="1775" y="825"/>
                  </a:cubicBezTo>
                  <a:cubicBezTo>
                    <a:pt x="1775" y="824"/>
                    <a:pt x="1775" y="824"/>
                    <a:pt x="1774" y="824"/>
                  </a:cubicBezTo>
                  <a:cubicBezTo>
                    <a:pt x="1774" y="824"/>
                    <a:pt x="1774" y="824"/>
                    <a:pt x="1774" y="824"/>
                  </a:cubicBezTo>
                  <a:cubicBezTo>
                    <a:pt x="1774" y="824"/>
                    <a:pt x="1774" y="824"/>
                    <a:pt x="1774" y="824"/>
                  </a:cubicBezTo>
                  <a:cubicBezTo>
                    <a:pt x="1774" y="824"/>
                    <a:pt x="1774" y="824"/>
                    <a:pt x="1774" y="824"/>
                  </a:cubicBezTo>
                  <a:cubicBezTo>
                    <a:pt x="1774" y="824"/>
                    <a:pt x="1774" y="824"/>
                    <a:pt x="1774" y="824"/>
                  </a:cubicBezTo>
                  <a:cubicBezTo>
                    <a:pt x="1774" y="824"/>
                    <a:pt x="1774" y="824"/>
                    <a:pt x="1774" y="824"/>
                  </a:cubicBezTo>
                  <a:cubicBezTo>
                    <a:pt x="1775" y="824"/>
                    <a:pt x="1775" y="823"/>
                    <a:pt x="1774" y="823"/>
                  </a:cubicBezTo>
                  <a:cubicBezTo>
                    <a:pt x="1774" y="823"/>
                    <a:pt x="1774" y="823"/>
                    <a:pt x="1774" y="823"/>
                  </a:cubicBezTo>
                  <a:cubicBezTo>
                    <a:pt x="1774" y="823"/>
                    <a:pt x="1774" y="823"/>
                    <a:pt x="1774" y="823"/>
                  </a:cubicBezTo>
                  <a:cubicBezTo>
                    <a:pt x="1773" y="823"/>
                    <a:pt x="1772" y="823"/>
                    <a:pt x="1771" y="823"/>
                  </a:cubicBezTo>
                  <a:cubicBezTo>
                    <a:pt x="1771" y="823"/>
                    <a:pt x="1771" y="823"/>
                    <a:pt x="1771" y="823"/>
                  </a:cubicBezTo>
                  <a:cubicBezTo>
                    <a:pt x="1771" y="823"/>
                    <a:pt x="1771" y="823"/>
                    <a:pt x="1771" y="823"/>
                  </a:cubicBezTo>
                  <a:cubicBezTo>
                    <a:pt x="1771" y="823"/>
                    <a:pt x="1771" y="823"/>
                    <a:pt x="1771" y="823"/>
                  </a:cubicBezTo>
                  <a:cubicBezTo>
                    <a:pt x="1773" y="822"/>
                    <a:pt x="1772" y="822"/>
                    <a:pt x="1771" y="822"/>
                  </a:cubicBezTo>
                  <a:cubicBezTo>
                    <a:pt x="1771" y="821"/>
                    <a:pt x="1771" y="821"/>
                    <a:pt x="1771" y="821"/>
                  </a:cubicBezTo>
                  <a:cubicBezTo>
                    <a:pt x="1771" y="821"/>
                    <a:pt x="1771" y="821"/>
                    <a:pt x="1771" y="821"/>
                  </a:cubicBezTo>
                  <a:cubicBezTo>
                    <a:pt x="1774" y="822"/>
                    <a:pt x="1777" y="823"/>
                    <a:pt x="1780" y="825"/>
                  </a:cubicBezTo>
                  <a:cubicBezTo>
                    <a:pt x="1780" y="825"/>
                    <a:pt x="1780" y="825"/>
                    <a:pt x="1780" y="825"/>
                  </a:cubicBezTo>
                  <a:cubicBezTo>
                    <a:pt x="1780" y="825"/>
                    <a:pt x="1780" y="825"/>
                    <a:pt x="1780" y="825"/>
                  </a:cubicBezTo>
                  <a:cubicBezTo>
                    <a:pt x="1780" y="824"/>
                    <a:pt x="1780" y="824"/>
                    <a:pt x="1780" y="824"/>
                  </a:cubicBezTo>
                  <a:cubicBezTo>
                    <a:pt x="1779" y="823"/>
                    <a:pt x="1779" y="823"/>
                    <a:pt x="1779" y="823"/>
                  </a:cubicBezTo>
                  <a:cubicBezTo>
                    <a:pt x="1779" y="822"/>
                    <a:pt x="1779" y="822"/>
                    <a:pt x="1779" y="822"/>
                  </a:cubicBezTo>
                  <a:cubicBezTo>
                    <a:pt x="1779" y="822"/>
                    <a:pt x="1779" y="822"/>
                    <a:pt x="1779" y="822"/>
                  </a:cubicBezTo>
                  <a:cubicBezTo>
                    <a:pt x="1779" y="822"/>
                    <a:pt x="1779" y="822"/>
                    <a:pt x="1779" y="822"/>
                  </a:cubicBezTo>
                  <a:cubicBezTo>
                    <a:pt x="1779" y="821"/>
                    <a:pt x="1779" y="821"/>
                    <a:pt x="1778" y="820"/>
                  </a:cubicBezTo>
                  <a:cubicBezTo>
                    <a:pt x="1778" y="820"/>
                    <a:pt x="1778" y="820"/>
                    <a:pt x="1778" y="820"/>
                  </a:cubicBezTo>
                  <a:cubicBezTo>
                    <a:pt x="1778" y="820"/>
                    <a:pt x="1778" y="820"/>
                    <a:pt x="1778" y="820"/>
                  </a:cubicBezTo>
                  <a:cubicBezTo>
                    <a:pt x="1777" y="820"/>
                    <a:pt x="1777" y="819"/>
                    <a:pt x="1776" y="819"/>
                  </a:cubicBezTo>
                  <a:cubicBezTo>
                    <a:pt x="1776" y="819"/>
                    <a:pt x="1776" y="819"/>
                    <a:pt x="1776" y="819"/>
                  </a:cubicBezTo>
                  <a:cubicBezTo>
                    <a:pt x="1776" y="819"/>
                    <a:pt x="1776" y="819"/>
                    <a:pt x="1776" y="819"/>
                  </a:cubicBezTo>
                  <a:cubicBezTo>
                    <a:pt x="1776" y="819"/>
                    <a:pt x="1776" y="819"/>
                    <a:pt x="1776" y="819"/>
                  </a:cubicBezTo>
                  <a:cubicBezTo>
                    <a:pt x="1776" y="818"/>
                    <a:pt x="1776" y="818"/>
                    <a:pt x="1776" y="818"/>
                  </a:cubicBezTo>
                  <a:cubicBezTo>
                    <a:pt x="1775" y="818"/>
                    <a:pt x="1775" y="818"/>
                    <a:pt x="1775" y="818"/>
                  </a:cubicBezTo>
                  <a:cubicBezTo>
                    <a:pt x="1775" y="817"/>
                    <a:pt x="1775" y="817"/>
                    <a:pt x="1775" y="817"/>
                  </a:cubicBezTo>
                  <a:cubicBezTo>
                    <a:pt x="1775" y="817"/>
                    <a:pt x="1775" y="817"/>
                    <a:pt x="1775" y="817"/>
                  </a:cubicBezTo>
                  <a:cubicBezTo>
                    <a:pt x="1774" y="817"/>
                    <a:pt x="1774" y="817"/>
                    <a:pt x="1773" y="816"/>
                  </a:cubicBezTo>
                  <a:cubicBezTo>
                    <a:pt x="1773" y="816"/>
                    <a:pt x="1773" y="816"/>
                    <a:pt x="1773" y="816"/>
                  </a:cubicBezTo>
                  <a:cubicBezTo>
                    <a:pt x="1773" y="816"/>
                    <a:pt x="1773" y="816"/>
                    <a:pt x="1773" y="816"/>
                  </a:cubicBezTo>
                  <a:cubicBezTo>
                    <a:pt x="1772" y="816"/>
                    <a:pt x="1772" y="816"/>
                    <a:pt x="1772" y="816"/>
                  </a:cubicBezTo>
                  <a:cubicBezTo>
                    <a:pt x="1772" y="816"/>
                    <a:pt x="1772" y="816"/>
                    <a:pt x="1772" y="816"/>
                  </a:cubicBezTo>
                  <a:cubicBezTo>
                    <a:pt x="1772" y="816"/>
                    <a:pt x="1772" y="816"/>
                    <a:pt x="1772" y="816"/>
                  </a:cubicBezTo>
                  <a:cubicBezTo>
                    <a:pt x="1769" y="813"/>
                    <a:pt x="1771" y="815"/>
                    <a:pt x="1767" y="814"/>
                  </a:cubicBezTo>
                  <a:cubicBezTo>
                    <a:pt x="1767" y="813"/>
                    <a:pt x="1767" y="813"/>
                    <a:pt x="1767" y="813"/>
                  </a:cubicBezTo>
                  <a:cubicBezTo>
                    <a:pt x="1767" y="813"/>
                    <a:pt x="1767" y="813"/>
                    <a:pt x="1767" y="813"/>
                  </a:cubicBezTo>
                  <a:cubicBezTo>
                    <a:pt x="1767" y="813"/>
                    <a:pt x="1767" y="813"/>
                    <a:pt x="1767" y="813"/>
                  </a:cubicBezTo>
                  <a:cubicBezTo>
                    <a:pt x="1766" y="813"/>
                    <a:pt x="1766" y="813"/>
                    <a:pt x="1765" y="812"/>
                  </a:cubicBezTo>
                  <a:cubicBezTo>
                    <a:pt x="1765" y="812"/>
                    <a:pt x="1765" y="812"/>
                    <a:pt x="1765" y="812"/>
                  </a:cubicBezTo>
                  <a:cubicBezTo>
                    <a:pt x="1765" y="812"/>
                    <a:pt x="1765" y="812"/>
                    <a:pt x="1765" y="812"/>
                  </a:cubicBezTo>
                  <a:cubicBezTo>
                    <a:pt x="1764" y="812"/>
                    <a:pt x="1763" y="812"/>
                    <a:pt x="1762" y="811"/>
                  </a:cubicBezTo>
                  <a:cubicBezTo>
                    <a:pt x="1762" y="811"/>
                    <a:pt x="1762" y="811"/>
                    <a:pt x="1762" y="811"/>
                  </a:cubicBezTo>
                  <a:cubicBezTo>
                    <a:pt x="1762" y="811"/>
                    <a:pt x="1762" y="811"/>
                    <a:pt x="1762" y="811"/>
                  </a:cubicBezTo>
                  <a:cubicBezTo>
                    <a:pt x="1762" y="811"/>
                    <a:pt x="1762" y="811"/>
                    <a:pt x="1762" y="811"/>
                  </a:cubicBezTo>
                  <a:cubicBezTo>
                    <a:pt x="1761" y="811"/>
                    <a:pt x="1761" y="811"/>
                    <a:pt x="1761" y="811"/>
                  </a:cubicBezTo>
                  <a:cubicBezTo>
                    <a:pt x="1761" y="811"/>
                    <a:pt x="1761" y="811"/>
                    <a:pt x="1761" y="811"/>
                  </a:cubicBezTo>
                  <a:cubicBezTo>
                    <a:pt x="1761" y="811"/>
                    <a:pt x="1761" y="811"/>
                    <a:pt x="1761" y="811"/>
                  </a:cubicBezTo>
                  <a:cubicBezTo>
                    <a:pt x="1761" y="811"/>
                    <a:pt x="1761" y="811"/>
                    <a:pt x="1761" y="811"/>
                  </a:cubicBezTo>
                  <a:cubicBezTo>
                    <a:pt x="1759" y="811"/>
                    <a:pt x="1758" y="810"/>
                    <a:pt x="1756" y="811"/>
                  </a:cubicBezTo>
                  <a:cubicBezTo>
                    <a:pt x="1755" y="811"/>
                    <a:pt x="1755" y="811"/>
                    <a:pt x="1755" y="811"/>
                  </a:cubicBezTo>
                  <a:cubicBezTo>
                    <a:pt x="1755" y="811"/>
                    <a:pt x="1755" y="811"/>
                    <a:pt x="1755" y="811"/>
                  </a:cubicBezTo>
                  <a:cubicBezTo>
                    <a:pt x="1753" y="810"/>
                    <a:pt x="1752" y="810"/>
                    <a:pt x="1750" y="810"/>
                  </a:cubicBezTo>
                  <a:cubicBezTo>
                    <a:pt x="1749" y="810"/>
                    <a:pt x="1749" y="810"/>
                    <a:pt x="1749" y="810"/>
                  </a:cubicBezTo>
                  <a:cubicBezTo>
                    <a:pt x="1749" y="810"/>
                    <a:pt x="1749" y="810"/>
                    <a:pt x="1749" y="810"/>
                  </a:cubicBezTo>
                  <a:cubicBezTo>
                    <a:pt x="1749" y="810"/>
                    <a:pt x="1749" y="810"/>
                    <a:pt x="1749" y="810"/>
                  </a:cubicBezTo>
                  <a:cubicBezTo>
                    <a:pt x="1746" y="810"/>
                    <a:pt x="1744" y="811"/>
                    <a:pt x="1741" y="811"/>
                  </a:cubicBezTo>
                  <a:cubicBezTo>
                    <a:pt x="1741" y="811"/>
                    <a:pt x="1741" y="811"/>
                    <a:pt x="1741" y="811"/>
                  </a:cubicBezTo>
                  <a:cubicBezTo>
                    <a:pt x="1740" y="811"/>
                    <a:pt x="1740" y="811"/>
                    <a:pt x="1740" y="811"/>
                  </a:cubicBezTo>
                  <a:cubicBezTo>
                    <a:pt x="1739" y="811"/>
                    <a:pt x="1737" y="811"/>
                    <a:pt x="1735" y="811"/>
                  </a:cubicBezTo>
                  <a:cubicBezTo>
                    <a:pt x="1735" y="811"/>
                    <a:pt x="1735" y="811"/>
                    <a:pt x="1735" y="811"/>
                  </a:cubicBezTo>
                  <a:cubicBezTo>
                    <a:pt x="1735" y="811"/>
                    <a:pt x="1735" y="811"/>
                    <a:pt x="1735" y="811"/>
                  </a:cubicBezTo>
                  <a:cubicBezTo>
                    <a:pt x="1735" y="811"/>
                    <a:pt x="1735" y="811"/>
                    <a:pt x="1735" y="811"/>
                  </a:cubicBezTo>
                  <a:cubicBezTo>
                    <a:pt x="1735" y="811"/>
                    <a:pt x="1735" y="811"/>
                    <a:pt x="1735" y="811"/>
                  </a:cubicBezTo>
                  <a:cubicBezTo>
                    <a:pt x="1734" y="811"/>
                    <a:pt x="1734" y="811"/>
                    <a:pt x="1734" y="811"/>
                  </a:cubicBezTo>
                  <a:cubicBezTo>
                    <a:pt x="1734" y="811"/>
                    <a:pt x="1734" y="811"/>
                    <a:pt x="1734" y="811"/>
                  </a:cubicBezTo>
                  <a:cubicBezTo>
                    <a:pt x="1734" y="811"/>
                    <a:pt x="1734" y="811"/>
                    <a:pt x="1734" y="811"/>
                  </a:cubicBezTo>
                  <a:cubicBezTo>
                    <a:pt x="1724" y="813"/>
                    <a:pt x="1716" y="817"/>
                    <a:pt x="1707" y="820"/>
                  </a:cubicBezTo>
                  <a:cubicBezTo>
                    <a:pt x="1707" y="820"/>
                    <a:pt x="1707" y="820"/>
                    <a:pt x="1707" y="820"/>
                  </a:cubicBezTo>
                  <a:cubicBezTo>
                    <a:pt x="1706" y="820"/>
                    <a:pt x="1706" y="820"/>
                    <a:pt x="1706" y="820"/>
                  </a:cubicBezTo>
                  <a:cubicBezTo>
                    <a:pt x="1706" y="820"/>
                    <a:pt x="1706" y="820"/>
                    <a:pt x="1706" y="820"/>
                  </a:cubicBezTo>
                  <a:cubicBezTo>
                    <a:pt x="1706" y="820"/>
                    <a:pt x="1706" y="820"/>
                    <a:pt x="1706" y="820"/>
                  </a:cubicBezTo>
                  <a:cubicBezTo>
                    <a:pt x="1705" y="821"/>
                    <a:pt x="1704" y="822"/>
                    <a:pt x="1703" y="822"/>
                  </a:cubicBezTo>
                  <a:cubicBezTo>
                    <a:pt x="1703" y="822"/>
                    <a:pt x="1703" y="822"/>
                    <a:pt x="1703" y="822"/>
                  </a:cubicBezTo>
                  <a:cubicBezTo>
                    <a:pt x="1703" y="822"/>
                    <a:pt x="1703" y="822"/>
                    <a:pt x="1703" y="822"/>
                  </a:cubicBezTo>
                  <a:cubicBezTo>
                    <a:pt x="1701" y="822"/>
                    <a:pt x="1701" y="822"/>
                    <a:pt x="1700" y="823"/>
                  </a:cubicBezTo>
                  <a:cubicBezTo>
                    <a:pt x="1699" y="823"/>
                    <a:pt x="1699" y="823"/>
                    <a:pt x="1699" y="823"/>
                  </a:cubicBezTo>
                  <a:cubicBezTo>
                    <a:pt x="1699" y="823"/>
                    <a:pt x="1699" y="823"/>
                    <a:pt x="1699" y="823"/>
                  </a:cubicBezTo>
                  <a:cubicBezTo>
                    <a:pt x="1699" y="823"/>
                    <a:pt x="1699" y="823"/>
                    <a:pt x="1699" y="823"/>
                  </a:cubicBezTo>
                  <a:cubicBezTo>
                    <a:pt x="1698" y="824"/>
                    <a:pt x="1696" y="825"/>
                    <a:pt x="1694" y="825"/>
                  </a:cubicBezTo>
                  <a:cubicBezTo>
                    <a:pt x="1694" y="825"/>
                    <a:pt x="1694" y="825"/>
                    <a:pt x="1694" y="825"/>
                  </a:cubicBezTo>
                  <a:cubicBezTo>
                    <a:pt x="1694" y="825"/>
                    <a:pt x="1694" y="825"/>
                    <a:pt x="1694" y="825"/>
                  </a:cubicBezTo>
                  <a:cubicBezTo>
                    <a:pt x="1694" y="826"/>
                    <a:pt x="1694" y="826"/>
                    <a:pt x="1694" y="826"/>
                  </a:cubicBezTo>
                  <a:cubicBezTo>
                    <a:pt x="1694" y="826"/>
                    <a:pt x="1694" y="826"/>
                    <a:pt x="1694" y="826"/>
                  </a:cubicBezTo>
                  <a:cubicBezTo>
                    <a:pt x="1694" y="826"/>
                    <a:pt x="1694" y="826"/>
                    <a:pt x="1694" y="826"/>
                  </a:cubicBezTo>
                  <a:cubicBezTo>
                    <a:pt x="1694" y="826"/>
                    <a:pt x="1694" y="826"/>
                    <a:pt x="1694" y="826"/>
                  </a:cubicBezTo>
                  <a:cubicBezTo>
                    <a:pt x="1690" y="828"/>
                    <a:pt x="1691" y="826"/>
                    <a:pt x="1689" y="827"/>
                  </a:cubicBezTo>
                  <a:cubicBezTo>
                    <a:pt x="1688" y="828"/>
                    <a:pt x="1688" y="828"/>
                    <a:pt x="1688" y="828"/>
                  </a:cubicBezTo>
                  <a:cubicBezTo>
                    <a:pt x="1687" y="828"/>
                    <a:pt x="1687" y="828"/>
                    <a:pt x="1687" y="828"/>
                  </a:cubicBezTo>
                  <a:cubicBezTo>
                    <a:pt x="1687" y="828"/>
                    <a:pt x="1687" y="828"/>
                    <a:pt x="1687" y="828"/>
                  </a:cubicBezTo>
                  <a:cubicBezTo>
                    <a:pt x="1686" y="828"/>
                    <a:pt x="1685" y="829"/>
                    <a:pt x="1684" y="829"/>
                  </a:cubicBezTo>
                  <a:cubicBezTo>
                    <a:pt x="1683" y="831"/>
                    <a:pt x="1683" y="831"/>
                    <a:pt x="1683" y="831"/>
                  </a:cubicBezTo>
                  <a:cubicBezTo>
                    <a:pt x="1682" y="831"/>
                    <a:pt x="1682" y="831"/>
                    <a:pt x="1682" y="831"/>
                  </a:cubicBezTo>
                  <a:cubicBezTo>
                    <a:pt x="1681" y="831"/>
                    <a:pt x="1681" y="831"/>
                    <a:pt x="1681" y="831"/>
                  </a:cubicBezTo>
                  <a:cubicBezTo>
                    <a:pt x="1681" y="831"/>
                    <a:pt x="1681" y="831"/>
                    <a:pt x="1681" y="831"/>
                  </a:cubicBezTo>
                  <a:cubicBezTo>
                    <a:pt x="1681" y="831"/>
                    <a:pt x="1681" y="831"/>
                    <a:pt x="1681" y="831"/>
                  </a:cubicBezTo>
                  <a:cubicBezTo>
                    <a:pt x="1681" y="831"/>
                    <a:pt x="1681" y="831"/>
                    <a:pt x="1681" y="831"/>
                  </a:cubicBezTo>
                  <a:cubicBezTo>
                    <a:pt x="1681" y="831"/>
                    <a:pt x="1681" y="831"/>
                    <a:pt x="1681" y="831"/>
                  </a:cubicBezTo>
                  <a:cubicBezTo>
                    <a:pt x="1680" y="832"/>
                    <a:pt x="1680" y="832"/>
                    <a:pt x="1680" y="832"/>
                  </a:cubicBezTo>
                  <a:cubicBezTo>
                    <a:pt x="1678" y="833"/>
                    <a:pt x="1678" y="833"/>
                    <a:pt x="1678" y="833"/>
                  </a:cubicBezTo>
                  <a:cubicBezTo>
                    <a:pt x="1675" y="835"/>
                    <a:pt x="1675" y="835"/>
                    <a:pt x="1675" y="835"/>
                  </a:cubicBezTo>
                  <a:cubicBezTo>
                    <a:pt x="1673" y="836"/>
                    <a:pt x="1673" y="836"/>
                    <a:pt x="1673" y="836"/>
                  </a:cubicBezTo>
                  <a:cubicBezTo>
                    <a:pt x="1672" y="837"/>
                    <a:pt x="1672" y="837"/>
                    <a:pt x="1672" y="837"/>
                  </a:cubicBezTo>
                  <a:cubicBezTo>
                    <a:pt x="1672" y="837"/>
                    <a:pt x="1672" y="837"/>
                    <a:pt x="1672" y="837"/>
                  </a:cubicBezTo>
                  <a:cubicBezTo>
                    <a:pt x="1672" y="837"/>
                    <a:pt x="1672" y="837"/>
                    <a:pt x="1672" y="837"/>
                  </a:cubicBezTo>
                  <a:cubicBezTo>
                    <a:pt x="1644" y="864"/>
                    <a:pt x="1644" y="864"/>
                    <a:pt x="1644" y="864"/>
                  </a:cubicBezTo>
                  <a:cubicBezTo>
                    <a:pt x="1643" y="864"/>
                    <a:pt x="1643" y="864"/>
                    <a:pt x="1643" y="864"/>
                  </a:cubicBezTo>
                  <a:cubicBezTo>
                    <a:pt x="1643" y="864"/>
                    <a:pt x="1643" y="864"/>
                    <a:pt x="1643" y="864"/>
                  </a:cubicBezTo>
                  <a:cubicBezTo>
                    <a:pt x="1643" y="864"/>
                    <a:pt x="1643" y="864"/>
                    <a:pt x="1643" y="864"/>
                  </a:cubicBezTo>
                  <a:cubicBezTo>
                    <a:pt x="1643" y="865"/>
                    <a:pt x="1643" y="865"/>
                    <a:pt x="1643" y="865"/>
                  </a:cubicBezTo>
                  <a:cubicBezTo>
                    <a:pt x="1643" y="865"/>
                    <a:pt x="1643" y="865"/>
                    <a:pt x="1643" y="865"/>
                  </a:cubicBezTo>
                  <a:cubicBezTo>
                    <a:pt x="1644" y="865"/>
                    <a:pt x="1644" y="865"/>
                    <a:pt x="1644" y="865"/>
                  </a:cubicBezTo>
                  <a:cubicBezTo>
                    <a:pt x="1644" y="865"/>
                    <a:pt x="1644" y="865"/>
                    <a:pt x="1644" y="865"/>
                  </a:cubicBezTo>
                  <a:cubicBezTo>
                    <a:pt x="1643" y="865"/>
                    <a:pt x="1643" y="865"/>
                    <a:pt x="1643" y="865"/>
                  </a:cubicBezTo>
                  <a:cubicBezTo>
                    <a:pt x="1643" y="865"/>
                    <a:pt x="1643" y="865"/>
                    <a:pt x="1643" y="865"/>
                  </a:cubicBezTo>
                  <a:cubicBezTo>
                    <a:pt x="1643" y="866"/>
                    <a:pt x="1643" y="866"/>
                    <a:pt x="1643" y="866"/>
                  </a:cubicBezTo>
                  <a:cubicBezTo>
                    <a:pt x="1643" y="866"/>
                    <a:pt x="1643" y="866"/>
                    <a:pt x="1643" y="866"/>
                  </a:cubicBezTo>
                  <a:cubicBezTo>
                    <a:pt x="1643" y="866"/>
                    <a:pt x="1643" y="866"/>
                    <a:pt x="1643" y="866"/>
                  </a:cubicBezTo>
                  <a:cubicBezTo>
                    <a:pt x="1643" y="866"/>
                    <a:pt x="1643" y="866"/>
                    <a:pt x="1643" y="866"/>
                  </a:cubicBezTo>
                  <a:cubicBezTo>
                    <a:pt x="1642" y="866"/>
                    <a:pt x="1642" y="866"/>
                    <a:pt x="1642" y="866"/>
                  </a:cubicBezTo>
                  <a:cubicBezTo>
                    <a:pt x="1642" y="867"/>
                    <a:pt x="1642" y="867"/>
                    <a:pt x="1642" y="867"/>
                  </a:cubicBezTo>
                  <a:cubicBezTo>
                    <a:pt x="1640" y="869"/>
                    <a:pt x="1640" y="869"/>
                    <a:pt x="1640" y="869"/>
                  </a:cubicBezTo>
                  <a:cubicBezTo>
                    <a:pt x="1639" y="869"/>
                    <a:pt x="1639" y="869"/>
                    <a:pt x="1639" y="869"/>
                  </a:cubicBezTo>
                  <a:cubicBezTo>
                    <a:pt x="1639" y="870"/>
                    <a:pt x="1639" y="870"/>
                    <a:pt x="1639" y="870"/>
                  </a:cubicBezTo>
                  <a:cubicBezTo>
                    <a:pt x="1638" y="870"/>
                    <a:pt x="1638" y="871"/>
                    <a:pt x="1637" y="872"/>
                  </a:cubicBezTo>
                  <a:cubicBezTo>
                    <a:pt x="1637" y="872"/>
                    <a:pt x="1637" y="872"/>
                    <a:pt x="1637" y="872"/>
                  </a:cubicBezTo>
                  <a:cubicBezTo>
                    <a:pt x="1637" y="872"/>
                    <a:pt x="1637" y="872"/>
                    <a:pt x="1637" y="872"/>
                  </a:cubicBezTo>
                  <a:cubicBezTo>
                    <a:pt x="1637" y="872"/>
                    <a:pt x="1637" y="872"/>
                    <a:pt x="1637" y="872"/>
                  </a:cubicBezTo>
                  <a:cubicBezTo>
                    <a:pt x="1636" y="873"/>
                    <a:pt x="1635" y="874"/>
                    <a:pt x="1634" y="875"/>
                  </a:cubicBezTo>
                  <a:cubicBezTo>
                    <a:pt x="1634" y="875"/>
                    <a:pt x="1634" y="875"/>
                    <a:pt x="1634" y="875"/>
                  </a:cubicBezTo>
                  <a:cubicBezTo>
                    <a:pt x="1633" y="876"/>
                    <a:pt x="1633" y="876"/>
                    <a:pt x="1633" y="876"/>
                  </a:cubicBezTo>
                  <a:cubicBezTo>
                    <a:pt x="1632" y="877"/>
                    <a:pt x="1632" y="877"/>
                    <a:pt x="1632" y="877"/>
                  </a:cubicBezTo>
                  <a:cubicBezTo>
                    <a:pt x="1630" y="877"/>
                    <a:pt x="1630" y="877"/>
                    <a:pt x="1630" y="877"/>
                  </a:cubicBezTo>
                  <a:cubicBezTo>
                    <a:pt x="1621" y="881"/>
                    <a:pt x="1621" y="881"/>
                    <a:pt x="1621" y="881"/>
                  </a:cubicBezTo>
                  <a:cubicBezTo>
                    <a:pt x="1622" y="882"/>
                    <a:pt x="1618" y="881"/>
                    <a:pt x="1618" y="882"/>
                  </a:cubicBezTo>
                  <a:cubicBezTo>
                    <a:pt x="1619" y="880"/>
                    <a:pt x="1619" y="880"/>
                    <a:pt x="1619" y="880"/>
                  </a:cubicBezTo>
                  <a:cubicBezTo>
                    <a:pt x="1620" y="878"/>
                    <a:pt x="1620" y="878"/>
                    <a:pt x="1620" y="878"/>
                  </a:cubicBezTo>
                  <a:cubicBezTo>
                    <a:pt x="1621" y="878"/>
                    <a:pt x="1622" y="877"/>
                    <a:pt x="1622" y="876"/>
                  </a:cubicBezTo>
                  <a:cubicBezTo>
                    <a:pt x="1623" y="876"/>
                    <a:pt x="1623" y="876"/>
                    <a:pt x="1623" y="876"/>
                  </a:cubicBezTo>
                  <a:cubicBezTo>
                    <a:pt x="1623" y="876"/>
                    <a:pt x="1623" y="876"/>
                    <a:pt x="1623" y="876"/>
                  </a:cubicBezTo>
                  <a:cubicBezTo>
                    <a:pt x="1625" y="874"/>
                    <a:pt x="1628" y="875"/>
                    <a:pt x="1629" y="872"/>
                  </a:cubicBezTo>
                  <a:cubicBezTo>
                    <a:pt x="1629" y="872"/>
                    <a:pt x="1629" y="872"/>
                    <a:pt x="1629" y="872"/>
                  </a:cubicBezTo>
                  <a:cubicBezTo>
                    <a:pt x="1629" y="872"/>
                    <a:pt x="1629" y="872"/>
                    <a:pt x="1629" y="872"/>
                  </a:cubicBezTo>
                  <a:cubicBezTo>
                    <a:pt x="1629" y="872"/>
                    <a:pt x="1629" y="872"/>
                    <a:pt x="1629" y="872"/>
                  </a:cubicBezTo>
                  <a:cubicBezTo>
                    <a:pt x="1629" y="871"/>
                    <a:pt x="1629" y="871"/>
                    <a:pt x="1629" y="871"/>
                  </a:cubicBezTo>
                  <a:cubicBezTo>
                    <a:pt x="1629" y="871"/>
                    <a:pt x="1629" y="871"/>
                    <a:pt x="1629" y="871"/>
                  </a:cubicBezTo>
                  <a:cubicBezTo>
                    <a:pt x="1630" y="871"/>
                    <a:pt x="1630" y="870"/>
                    <a:pt x="1630" y="870"/>
                  </a:cubicBezTo>
                  <a:cubicBezTo>
                    <a:pt x="1630" y="870"/>
                    <a:pt x="1630" y="870"/>
                    <a:pt x="1630" y="870"/>
                  </a:cubicBezTo>
                  <a:cubicBezTo>
                    <a:pt x="1630" y="870"/>
                    <a:pt x="1630" y="870"/>
                    <a:pt x="1630" y="870"/>
                  </a:cubicBezTo>
                  <a:cubicBezTo>
                    <a:pt x="1631" y="869"/>
                    <a:pt x="1631" y="869"/>
                    <a:pt x="1631" y="869"/>
                  </a:cubicBezTo>
                  <a:cubicBezTo>
                    <a:pt x="1631" y="868"/>
                    <a:pt x="1631" y="868"/>
                    <a:pt x="1631" y="868"/>
                  </a:cubicBezTo>
                  <a:cubicBezTo>
                    <a:pt x="1631" y="868"/>
                    <a:pt x="1631" y="868"/>
                    <a:pt x="1631" y="868"/>
                  </a:cubicBezTo>
                  <a:cubicBezTo>
                    <a:pt x="1631" y="868"/>
                    <a:pt x="1631" y="868"/>
                    <a:pt x="1631" y="868"/>
                  </a:cubicBezTo>
                  <a:cubicBezTo>
                    <a:pt x="1631" y="867"/>
                    <a:pt x="1633" y="866"/>
                    <a:pt x="1633" y="865"/>
                  </a:cubicBezTo>
                  <a:cubicBezTo>
                    <a:pt x="1633" y="865"/>
                    <a:pt x="1633" y="865"/>
                    <a:pt x="1633" y="865"/>
                  </a:cubicBezTo>
                  <a:cubicBezTo>
                    <a:pt x="1633" y="865"/>
                    <a:pt x="1633" y="865"/>
                    <a:pt x="1633" y="865"/>
                  </a:cubicBezTo>
                  <a:cubicBezTo>
                    <a:pt x="1633" y="864"/>
                    <a:pt x="1633" y="864"/>
                    <a:pt x="1633" y="864"/>
                  </a:cubicBezTo>
                  <a:cubicBezTo>
                    <a:pt x="1633" y="864"/>
                    <a:pt x="1633" y="864"/>
                    <a:pt x="1633" y="864"/>
                  </a:cubicBezTo>
                  <a:cubicBezTo>
                    <a:pt x="1635" y="863"/>
                    <a:pt x="1635" y="863"/>
                    <a:pt x="1635" y="863"/>
                  </a:cubicBezTo>
                  <a:cubicBezTo>
                    <a:pt x="1638" y="862"/>
                    <a:pt x="1638" y="862"/>
                    <a:pt x="1638" y="862"/>
                  </a:cubicBezTo>
                  <a:cubicBezTo>
                    <a:pt x="1639" y="861"/>
                    <a:pt x="1639" y="861"/>
                    <a:pt x="1639" y="861"/>
                  </a:cubicBezTo>
                  <a:cubicBezTo>
                    <a:pt x="1640" y="861"/>
                    <a:pt x="1640" y="861"/>
                    <a:pt x="1640" y="861"/>
                  </a:cubicBezTo>
                  <a:cubicBezTo>
                    <a:pt x="1640" y="861"/>
                    <a:pt x="1640" y="861"/>
                    <a:pt x="1640" y="861"/>
                  </a:cubicBezTo>
                  <a:cubicBezTo>
                    <a:pt x="1640" y="861"/>
                    <a:pt x="1640" y="861"/>
                    <a:pt x="1640" y="861"/>
                  </a:cubicBezTo>
                  <a:cubicBezTo>
                    <a:pt x="1640" y="860"/>
                    <a:pt x="1640" y="860"/>
                    <a:pt x="1640" y="860"/>
                  </a:cubicBezTo>
                  <a:cubicBezTo>
                    <a:pt x="1640" y="860"/>
                    <a:pt x="1640" y="860"/>
                    <a:pt x="1640" y="860"/>
                  </a:cubicBezTo>
                  <a:cubicBezTo>
                    <a:pt x="1640" y="860"/>
                    <a:pt x="1640" y="860"/>
                    <a:pt x="1640" y="860"/>
                  </a:cubicBezTo>
                  <a:cubicBezTo>
                    <a:pt x="1640" y="859"/>
                    <a:pt x="1640" y="859"/>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2" y="857"/>
                    <a:pt x="1642" y="857"/>
                    <a:pt x="1642" y="857"/>
                  </a:cubicBezTo>
                  <a:cubicBezTo>
                    <a:pt x="1642" y="857"/>
                    <a:pt x="1644" y="857"/>
                    <a:pt x="1644" y="856"/>
                  </a:cubicBezTo>
                  <a:cubicBezTo>
                    <a:pt x="1644" y="856"/>
                    <a:pt x="1644" y="856"/>
                    <a:pt x="1644" y="856"/>
                  </a:cubicBezTo>
                  <a:cubicBezTo>
                    <a:pt x="1644" y="856"/>
                    <a:pt x="1644" y="856"/>
                    <a:pt x="1644" y="856"/>
                  </a:cubicBezTo>
                  <a:cubicBezTo>
                    <a:pt x="1645" y="856"/>
                    <a:pt x="1645" y="856"/>
                    <a:pt x="1645" y="856"/>
                  </a:cubicBezTo>
                  <a:cubicBezTo>
                    <a:pt x="1645" y="856"/>
                    <a:pt x="1645" y="856"/>
                    <a:pt x="1645" y="856"/>
                  </a:cubicBezTo>
                  <a:cubicBezTo>
                    <a:pt x="1645" y="855"/>
                    <a:pt x="1645" y="855"/>
                    <a:pt x="1645" y="855"/>
                  </a:cubicBezTo>
                  <a:cubicBezTo>
                    <a:pt x="1645" y="854"/>
                    <a:pt x="1646" y="855"/>
                    <a:pt x="1646" y="854"/>
                  </a:cubicBezTo>
                  <a:cubicBezTo>
                    <a:pt x="1646" y="854"/>
                    <a:pt x="1646" y="854"/>
                    <a:pt x="1646" y="854"/>
                  </a:cubicBezTo>
                  <a:cubicBezTo>
                    <a:pt x="1646" y="853"/>
                    <a:pt x="1646" y="853"/>
                    <a:pt x="1646" y="853"/>
                  </a:cubicBezTo>
                  <a:cubicBezTo>
                    <a:pt x="1647" y="853"/>
                    <a:pt x="1647" y="852"/>
                    <a:pt x="1647" y="851"/>
                  </a:cubicBezTo>
                  <a:cubicBezTo>
                    <a:pt x="1647" y="851"/>
                    <a:pt x="1647" y="851"/>
                    <a:pt x="1647" y="851"/>
                  </a:cubicBezTo>
                  <a:cubicBezTo>
                    <a:pt x="1648" y="851"/>
                    <a:pt x="1648" y="851"/>
                    <a:pt x="1648" y="851"/>
                  </a:cubicBezTo>
                  <a:cubicBezTo>
                    <a:pt x="1648" y="851"/>
                    <a:pt x="1648" y="851"/>
                    <a:pt x="1648" y="851"/>
                  </a:cubicBezTo>
                  <a:cubicBezTo>
                    <a:pt x="1648" y="851"/>
                    <a:pt x="1648" y="851"/>
                    <a:pt x="1648" y="851"/>
                  </a:cubicBezTo>
                  <a:cubicBezTo>
                    <a:pt x="1648" y="851"/>
                    <a:pt x="1648" y="851"/>
                    <a:pt x="1648" y="851"/>
                  </a:cubicBezTo>
                  <a:cubicBezTo>
                    <a:pt x="1648" y="850"/>
                    <a:pt x="1648" y="850"/>
                    <a:pt x="1648" y="850"/>
                  </a:cubicBezTo>
                  <a:cubicBezTo>
                    <a:pt x="1648" y="850"/>
                    <a:pt x="1648" y="849"/>
                    <a:pt x="1649" y="848"/>
                  </a:cubicBezTo>
                  <a:cubicBezTo>
                    <a:pt x="1649" y="848"/>
                    <a:pt x="1649" y="848"/>
                    <a:pt x="1649" y="848"/>
                  </a:cubicBezTo>
                  <a:cubicBezTo>
                    <a:pt x="1649" y="848"/>
                    <a:pt x="1649" y="848"/>
                    <a:pt x="1649" y="848"/>
                  </a:cubicBezTo>
                  <a:cubicBezTo>
                    <a:pt x="1649" y="848"/>
                    <a:pt x="1649" y="847"/>
                    <a:pt x="1649" y="847"/>
                  </a:cubicBezTo>
                  <a:cubicBezTo>
                    <a:pt x="1650" y="846"/>
                    <a:pt x="1650" y="846"/>
                    <a:pt x="1650" y="846"/>
                  </a:cubicBezTo>
                  <a:cubicBezTo>
                    <a:pt x="1650" y="846"/>
                    <a:pt x="1650" y="846"/>
                    <a:pt x="1650" y="846"/>
                  </a:cubicBezTo>
                  <a:cubicBezTo>
                    <a:pt x="1650" y="846"/>
                    <a:pt x="1650" y="846"/>
                    <a:pt x="1650" y="846"/>
                  </a:cubicBezTo>
                  <a:cubicBezTo>
                    <a:pt x="1650" y="845"/>
                    <a:pt x="1650" y="845"/>
                    <a:pt x="1651" y="844"/>
                  </a:cubicBezTo>
                  <a:cubicBezTo>
                    <a:pt x="1651" y="844"/>
                    <a:pt x="1651" y="844"/>
                    <a:pt x="1651" y="844"/>
                  </a:cubicBezTo>
                  <a:cubicBezTo>
                    <a:pt x="1650" y="844"/>
                    <a:pt x="1650" y="844"/>
                    <a:pt x="1650" y="844"/>
                  </a:cubicBezTo>
                  <a:cubicBezTo>
                    <a:pt x="1650" y="844"/>
                    <a:pt x="1649" y="844"/>
                    <a:pt x="1648" y="843"/>
                  </a:cubicBezTo>
                  <a:cubicBezTo>
                    <a:pt x="1648" y="843"/>
                    <a:pt x="1648" y="843"/>
                    <a:pt x="1648" y="843"/>
                  </a:cubicBezTo>
                  <a:cubicBezTo>
                    <a:pt x="1648" y="843"/>
                    <a:pt x="1648" y="843"/>
                    <a:pt x="1648" y="843"/>
                  </a:cubicBezTo>
                  <a:cubicBezTo>
                    <a:pt x="1648" y="843"/>
                    <a:pt x="1648" y="843"/>
                    <a:pt x="1648" y="843"/>
                  </a:cubicBezTo>
                  <a:cubicBezTo>
                    <a:pt x="1648" y="843"/>
                    <a:pt x="1648" y="843"/>
                    <a:pt x="1648" y="843"/>
                  </a:cubicBezTo>
                  <a:cubicBezTo>
                    <a:pt x="1647" y="843"/>
                    <a:pt x="1647" y="843"/>
                    <a:pt x="1647" y="843"/>
                  </a:cubicBezTo>
                  <a:cubicBezTo>
                    <a:pt x="1647" y="843"/>
                    <a:pt x="1647" y="843"/>
                    <a:pt x="1647" y="843"/>
                  </a:cubicBezTo>
                  <a:cubicBezTo>
                    <a:pt x="1647" y="843"/>
                    <a:pt x="1647" y="843"/>
                    <a:pt x="1647" y="843"/>
                  </a:cubicBezTo>
                  <a:cubicBezTo>
                    <a:pt x="1647" y="842"/>
                    <a:pt x="1647" y="842"/>
                    <a:pt x="1647" y="842"/>
                  </a:cubicBezTo>
                  <a:cubicBezTo>
                    <a:pt x="1647" y="842"/>
                    <a:pt x="1647" y="841"/>
                    <a:pt x="1646" y="841"/>
                  </a:cubicBezTo>
                  <a:cubicBezTo>
                    <a:pt x="1646" y="841"/>
                    <a:pt x="1646" y="841"/>
                    <a:pt x="1646" y="841"/>
                  </a:cubicBezTo>
                  <a:cubicBezTo>
                    <a:pt x="1646" y="841"/>
                    <a:pt x="1646" y="841"/>
                    <a:pt x="1646" y="841"/>
                  </a:cubicBezTo>
                  <a:cubicBezTo>
                    <a:pt x="1645" y="841"/>
                    <a:pt x="1644" y="840"/>
                    <a:pt x="1644" y="840"/>
                  </a:cubicBezTo>
                  <a:cubicBezTo>
                    <a:pt x="1643" y="840"/>
                    <a:pt x="1643" y="840"/>
                    <a:pt x="1643" y="840"/>
                  </a:cubicBezTo>
                  <a:cubicBezTo>
                    <a:pt x="1643" y="840"/>
                    <a:pt x="1643" y="840"/>
                    <a:pt x="1643" y="840"/>
                  </a:cubicBezTo>
                  <a:cubicBezTo>
                    <a:pt x="1643" y="840"/>
                    <a:pt x="1643" y="840"/>
                    <a:pt x="1643" y="840"/>
                  </a:cubicBezTo>
                  <a:cubicBezTo>
                    <a:pt x="1643" y="840"/>
                    <a:pt x="1643" y="840"/>
                    <a:pt x="1643" y="840"/>
                  </a:cubicBezTo>
                  <a:cubicBezTo>
                    <a:pt x="1642" y="840"/>
                    <a:pt x="1642" y="840"/>
                    <a:pt x="1642" y="840"/>
                  </a:cubicBezTo>
                  <a:cubicBezTo>
                    <a:pt x="1642" y="841"/>
                    <a:pt x="1642" y="841"/>
                    <a:pt x="1642" y="841"/>
                  </a:cubicBezTo>
                  <a:cubicBezTo>
                    <a:pt x="1642" y="841"/>
                    <a:pt x="1642" y="841"/>
                    <a:pt x="1642" y="841"/>
                  </a:cubicBezTo>
                  <a:cubicBezTo>
                    <a:pt x="1642" y="840"/>
                    <a:pt x="1642" y="840"/>
                    <a:pt x="1642" y="840"/>
                  </a:cubicBezTo>
                  <a:cubicBezTo>
                    <a:pt x="1641" y="840"/>
                    <a:pt x="1641" y="840"/>
                    <a:pt x="1641" y="840"/>
                  </a:cubicBezTo>
                  <a:cubicBezTo>
                    <a:pt x="1641" y="840"/>
                    <a:pt x="1641" y="840"/>
                    <a:pt x="1641" y="840"/>
                  </a:cubicBezTo>
                  <a:cubicBezTo>
                    <a:pt x="1641" y="840"/>
                    <a:pt x="1641" y="840"/>
                    <a:pt x="1641" y="840"/>
                  </a:cubicBezTo>
                  <a:cubicBezTo>
                    <a:pt x="1641" y="840"/>
                    <a:pt x="1641" y="840"/>
                    <a:pt x="1641" y="840"/>
                  </a:cubicBezTo>
                  <a:cubicBezTo>
                    <a:pt x="1640" y="840"/>
                    <a:pt x="1640" y="840"/>
                    <a:pt x="1640" y="840"/>
                  </a:cubicBezTo>
                  <a:cubicBezTo>
                    <a:pt x="1640" y="840"/>
                    <a:pt x="1640" y="840"/>
                    <a:pt x="1640" y="840"/>
                  </a:cubicBezTo>
                  <a:cubicBezTo>
                    <a:pt x="1640" y="840"/>
                    <a:pt x="1640" y="840"/>
                    <a:pt x="1640" y="840"/>
                  </a:cubicBezTo>
                  <a:cubicBezTo>
                    <a:pt x="1640" y="840"/>
                    <a:pt x="1640" y="840"/>
                    <a:pt x="1640" y="840"/>
                  </a:cubicBezTo>
                  <a:cubicBezTo>
                    <a:pt x="1640" y="840"/>
                    <a:pt x="1640" y="840"/>
                    <a:pt x="1640" y="840"/>
                  </a:cubicBezTo>
                  <a:cubicBezTo>
                    <a:pt x="1640" y="839"/>
                    <a:pt x="1639" y="839"/>
                    <a:pt x="1638" y="839"/>
                  </a:cubicBezTo>
                  <a:cubicBezTo>
                    <a:pt x="1638" y="839"/>
                    <a:pt x="1638" y="839"/>
                    <a:pt x="1638" y="839"/>
                  </a:cubicBezTo>
                  <a:cubicBezTo>
                    <a:pt x="1638" y="839"/>
                    <a:pt x="1638" y="839"/>
                    <a:pt x="1638" y="839"/>
                  </a:cubicBezTo>
                  <a:cubicBezTo>
                    <a:pt x="1638" y="839"/>
                    <a:pt x="1638" y="839"/>
                    <a:pt x="1638" y="839"/>
                  </a:cubicBezTo>
                  <a:cubicBezTo>
                    <a:pt x="1637" y="839"/>
                    <a:pt x="1637" y="839"/>
                    <a:pt x="1637" y="839"/>
                  </a:cubicBezTo>
                  <a:cubicBezTo>
                    <a:pt x="1637" y="839"/>
                    <a:pt x="1637" y="839"/>
                    <a:pt x="1637" y="839"/>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6" y="838"/>
                    <a:pt x="1636" y="838"/>
                    <a:pt x="1636" y="838"/>
                  </a:cubicBezTo>
                  <a:cubicBezTo>
                    <a:pt x="1636" y="838"/>
                    <a:pt x="1636" y="838"/>
                    <a:pt x="1636" y="838"/>
                  </a:cubicBezTo>
                  <a:cubicBezTo>
                    <a:pt x="1636" y="838"/>
                    <a:pt x="1636" y="838"/>
                    <a:pt x="1636" y="838"/>
                  </a:cubicBezTo>
                  <a:cubicBezTo>
                    <a:pt x="1636" y="838"/>
                    <a:pt x="1636" y="838"/>
                    <a:pt x="1636" y="838"/>
                  </a:cubicBezTo>
                  <a:cubicBezTo>
                    <a:pt x="1636" y="838"/>
                    <a:pt x="1636" y="838"/>
                    <a:pt x="1636" y="838"/>
                  </a:cubicBezTo>
                  <a:cubicBezTo>
                    <a:pt x="1635" y="838"/>
                    <a:pt x="1635" y="838"/>
                    <a:pt x="1635" y="838"/>
                  </a:cubicBezTo>
                  <a:cubicBezTo>
                    <a:pt x="1635" y="838"/>
                    <a:pt x="1635" y="838"/>
                    <a:pt x="1635" y="838"/>
                  </a:cubicBezTo>
                  <a:cubicBezTo>
                    <a:pt x="1635" y="837"/>
                    <a:pt x="1635" y="837"/>
                    <a:pt x="1635" y="837"/>
                  </a:cubicBezTo>
                  <a:cubicBezTo>
                    <a:pt x="1635" y="837"/>
                    <a:pt x="1635" y="837"/>
                    <a:pt x="1635" y="837"/>
                  </a:cubicBezTo>
                  <a:cubicBezTo>
                    <a:pt x="1634" y="837"/>
                    <a:pt x="1633" y="837"/>
                    <a:pt x="1632" y="837"/>
                  </a:cubicBezTo>
                  <a:cubicBezTo>
                    <a:pt x="1632" y="837"/>
                    <a:pt x="1632" y="837"/>
                    <a:pt x="1632" y="837"/>
                  </a:cubicBezTo>
                  <a:cubicBezTo>
                    <a:pt x="1632" y="837"/>
                    <a:pt x="1632" y="837"/>
                    <a:pt x="1632" y="837"/>
                  </a:cubicBezTo>
                  <a:cubicBezTo>
                    <a:pt x="1632" y="837"/>
                    <a:pt x="1632" y="837"/>
                    <a:pt x="1632" y="837"/>
                  </a:cubicBezTo>
                  <a:cubicBezTo>
                    <a:pt x="1632" y="837"/>
                    <a:pt x="1632" y="837"/>
                    <a:pt x="1632" y="837"/>
                  </a:cubicBezTo>
                  <a:cubicBezTo>
                    <a:pt x="1631" y="837"/>
                    <a:pt x="1630" y="837"/>
                    <a:pt x="1629" y="837"/>
                  </a:cubicBezTo>
                  <a:cubicBezTo>
                    <a:pt x="1629" y="837"/>
                    <a:pt x="1629" y="837"/>
                    <a:pt x="1629" y="837"/>
                  </a:cubicBezTo>
                  <a:cubicBezTo>
                    <a:pt x="1629" y="837"/>
                    <a:pt x="1629" y="837"/>
                    <a:pt x="1629" y="837"/>
                  </a:cubicBezTo>
                  <a:cubicBezTo>
                    <a:pt x="1628" y="837"/>
                    <a:pt x="1627" y="837"/>
                    <a:pt x="1626" y="837"/>
                  </a:cubicBezTo>
                  <a:cubicBezTo>
                    <a:pt x="1626" y="837"/>
                    <a:pt x="1626" y="837"/>
                    <a:pt x="1626" y="837"/>
                  </a:cubicBezTo>
                  <a:cubicBezTo>
                    <a:pt x="1625" y="838"/>
                    <a:pt x="1625" y="838"/>
                    <a:pt x="1625" y="838"/>
                  </a:cubicBezTo>
                  <a:cubicBezTo>
                    <a:pt x="1624" y="838"/>
                    <a:pt x="1624" y="838"/>
                    <a:pt x="1624" y="838"/>
                  </a:cubicBezTo>
                  <a:cubicBezTo>
                    <a:pt x="1624" y="838"/>
                    <a:pt x="1624" y="838"/>
                    <a:pt x="1624" y="838"/>
                  </a:cubicBezTo>
                  <a:cubicBezTo>
                    <a:pt x="1624" y="837"/>
                    <a:pt x="1624" y="837"/>
                    <a:pt x="1624" y="837"/>
                  </a:cubicBezTo>
                  <a:cubicBezTo>
                    <a:pt x="1624" y="837"/>
                    <a:pt x="1624" y="837"/>
                    <a:pt x="1624" y="837"/>
                  </a:cubicBezTo>
                  <a:cubicBezTo>
                    <a:pt x="1624" y="837"/>
                    <a:pt x="1624" y="837"/>
                    <a:pt x="1624" y="837"/>
                  </a:cubicBezTo>
                  <a:cubicBezTo>
                    <a:pt x="1624" y="837"/>
                    <a:pt x="1624" y="837"/>
                    <a:pt x="1624" y="837"/>
                  </a:cubicBezTo>
                  <a:cubicBezTo>
                    <a:pt x="1624" y="837"/>
                    <a:pt x="1624" y="837"/>
                    <a:pt x="1624" y="837"/>
                  </a:cubicBezTo>
                  <a:cubicBezTo>
                    <a:pt x="1625" y="837"/>
                    <a:pt x="1625" y="837"/>
                    <a:pt x="1625" y="837"/>
                  </a:cubicBezTo>
                  <a:cubicBezTo>
                    <a:pt x="1626" y="836"/>
                    <a:pt x="1626" y="836"/>
                    <a:pt x="1626" y="836"/>
                  </a:cubicBezTo>
                  <a:cubicBezTo>
                    <a:pt x="1626" y="836"/>
                    <a:pt x="1626" y="836"/>
                    <a:pt x="1626" y="836"/>
                  </a:cubicBezTo>
                  <a:cubicBezTo>
                    <a:pt x="1626" y="836"/>
                    <a:pt x="1626" y="836"/>
                    <a:pt x="1626" y="836"/>
                  </a:cubicBezTo>
                  <a:cubicBezTo>
                    <a:pt x="1626" y="835"/>
                    <a:pt x="1626" y="835"/>
                    <a:pt x="1626" y="835"/>
                  </a:cubicBezTo>
                  <a:cubicBezTo>
                    <a:pt x="1625" y="835"/>
                    <a:pt x="1625" y="835"/>
                    <a:pt x="1625" y="835"/>
                  </a:cubicBezTo>
                  <a:cubicBezTo>
                    <a:pt x="1625" y="835"/>
                    <a:pt x="1625" y="835"/>
                    <a:pt x="1624" y="835"/>
                  </a:cubicBezTo>
                  <a:cubicBezTo>
                    <a:pt x="1624" y="835"/>
                    <a:pt x="1624" y="835"/>
                    <a:pt x="1624" y="835"/>
                  </a:cubicBezTo>
                  <a:cubicBezTo>
                    <a:pt x="1624" y="835"/>
                    <a:pt x="1624" y="835"/>
                    <a:pt x="1624" y="835"/>
                  </a:cubicBezTo>
                  <a:cubicBezTo>
                    <a:pt x="1623" y="835"/>
                    <a:pt x="1623" y="835"/>
                    <a:pt x="1622" y="834"/>
                  </a:cubicBezTo>
                  <a:cubicBezTo>
                    <a:pt x="1622" y="834"/>
                    <a:pt x="1622" y="834"/>
                    <a:pt x="1622" y="834"/>
                  </a:cubicBezTo>
                  <a:cubicBezTo>
                    <a:pt x="1621" y="834"/>
                    <a:pt x="1621" y="834"/>
                    <a:pt x="1621" y="834"/>
                  </a:cubicBezTo>
                  <a:cubicBezTo>
                    <a:pt x="1621" y="834"/>
                    <a:pt x="1621" y="834"/>
                    <a:pt x="1621" y="834"/>
                  </a:cubicBezTo>
                  <a:cubicBezTo>
                    <a:pt x="1620" y="834"/>
                    <a:pt x="1620" y="834"/>
                    <a:pt x="1620" y="834"/>
                  </a:cubicBezTo>
                  <a:cubicBezTo>
                    <a:pt x="1621" y="834"/>
                    <a:pt x="1621" y="834"/>
                    <a:pt x="1621" y="834"/>
                  </a:cubicBezTo>
                  <a:cubicBezTo>
                    <a:pt x="1621" y="834"/>
                    <a:pt x="1621" y="834"/>
                    <a:pt x="1621" y="834"/>
                  </a:cubicBezTo>
                  <a:cubicBezTo>
                    <a:pt x="1621" y="834"/>
                    <a:pt x="1621" y="834"/>
                    <a:pt x="1621" y="834"/>
                  </a:cubicBezTo>
                  <a:cubicBezTo>
                    <a:pt x="1622" y="834"/>
                    <a:pt x="1622" y="834"/>
                    <a:pt x="1622" y="834"/>
                  </a:cubicBezTo>
                  <a:cubicBezTo>
                    <a:pt x="1622" y="834"/>
                    <a:pt x="1622" y="834"/>
                    <a:pt x="1622" y="834"/>
                  </a:cubicBezTo>
                  <a:cubicBezTo>
                    <a:pt x="1624" y="834"/>
                    <a:pt x="1625" y="835"/>
                    <a:pt x="1627" y="835"/>
                  </a:cubicBezTo>
                  <a:cubicBezTo>
                    <a:pt x="1628" y="835"/>
                    <a:pt x="1628" y="835"/>
                    <a:pt x="1628" y="835"/>
                  </a:cubicBezTo>
                  <a:cubicBezTo>
                    <a:pt x="1628" y="835"/>
                    <a:pt x="1628" y="835"/>
                    <a:pt x="1628" y="835"/>
                  </a:cubicBezTo>
                  <a:cubicBezTo>
                    <a:pt x="1628" y="836"/>
                    <a:pt x="1628" y="836"/>
                    <a:pt x="1629" y="836"/>
                  </a:cubicBezTo>
                  <a:cubicBezTo>
                    <a:pt x="1629" y="836"/>
                    <a:pt x="1629" y="836"/>
                    <a:pt x="1629" y="836"/>
                  </a:cubicBezTo>
                  <a:cubicBezTo>
                    <a:pt x="1629" y="836"/>
                    <a:pt x="1629" y="836"/>
                    <a:pt x="1629" y="836"/>
                  </a:cubicBezTo>
                  <a:cubicBezTo>
                    <a:pt x="1630" y="836"/>
                    <a:pt x="1630" y="836"/>
                    <a:pt x="1630" y="836"/>
                  </a:cubicBezTo>
                  <a:cubicBezTo>
                    <a:pt x="1631" y="836"/>
                    <a:pt x="1632" y="836"/>
                    <a:pt x="1633" y="836"/>
                  </a:cubicBezTo>
                  <a:cubicBezTo>
                    <a:pt x="1633" y="836"/>
                    <a:pt x="1633" y="836"/>
                    <a:pt x="1633" y="836"/>
                  </a:cubicBezTo>
                  <a:cubicBezTo>
                    <a:pt x="1633" y="836"/>
                    <a:pt x="1633" y="836"/>
                    <a:pt x="1633" y="836"/>
                  </a:cubicBezTo>
                  <a:cubicBezTo>
                    <a:pt x="1634" y="836"/>
                    <a:pt x="1634" y="836"/>
                    <a:pt x="1634" y="836"/>
                  </a:cubicBezTo>
                  <a:cubicBezTo>
                    <a:pt x="1634" y="837"/>
                    <a:pt x="1634" y="837"/>
                    <a:pt x="1634" y="837"/>
                  </a:cubicBezTo>
                  <a:cubicBezTo>
                    <a:pt x="1634" y="837"/>
                    <a:pt x="1634" y="837"/>
                    <a:pt x="1634" y="837"/>
                  </a:cubicBezTo>
                  <a:cubicBezTo>
                    <a:pt x="1635" y="837"/>
                    <a:pt x="1636" y="836"/>
                    <a:pt x="1636" y="837"/>
                  </a:cubicBezTo>
                  <a:cubicBezTo>
                    <a:pt x="1636" y="837"/>
                    <a:pt x="1636" y="837"/>
                    <a:pt x="1636" y="837"/>
                  </a:cubicBezTo>
                  <a:cubicBezTo>
                    <a:pt x="1637" y="837"/>
                    <a:pt x="1637" y="837"/>
                    <a:pt x="1637" y="837"/>
                  </a:cubicBezTo>
                  <a:cubicBezTo>
                    <a:pt x="1637" y="837"/>
                    <a:pt x="1637" y="837"/>
                    <a:pt x="1638" y="837"/>
                  </a:cubicBezTo>
                  <a:cubicBezTo>
                    <a:pt x="1638" y="837"/>
                    <a:pt x="1638" y="837"/>
                    <a:pt x="1638" y="837"/>
                  </a:cubicBezTo>
                  <a:cubicBezTo>
                    <a:pt x="1638" y="838"/>
                    <a:pt x="1638" y="838"/>
                    <a:pt x="1638" y="838"/>
                  </a:cubicBezTo>
                  <a:cubicBezTo>
                    <a:pt x="1638" y="838"/>
                    <a:pt x="1638" y="838"/>
                    <a:pt x="1638" y="838"/>
                  </a:cubicBezTo>
                  <a:cubicBezTo>
                    <a:pt x="1640" y="838"/>
                    <a:pt x="1639" y="838"/>
                    <a:pt x="1641" y="839"/>
                  </a:cubicBezTo>
                  <a:cubicBezTo>
                    <a:pt x="1641" y="839"/>
                    <a:pt x="1641" y="839"/>
                    <a:pt x="1641" y="839"/>
                  </a:cubicBezTo>
                  <a:cubicBezTo>
                    <a:pt x="1641" y="839"/>
                    <a:pt x="1641" y="839"/>
                    <a:pt x="1641" y="839"/>
                  </a:cubicBezTo>
                  <a:cubicBezTo>
                    <a:pt x="1641" y="839"/>
                    <a:pt x="1641" y="839"/>
                    <a:pt x="1641" y="839"/>
                  </a:cubicBezTo>
                  <a:cubicBezTo>
                    <a:pt x="1641" y="839"/>
                    <a:pt x="1641" y="839"/>
                    <a:pt x="1641" y="839"/>
                  </a:cubicBezTo>
                  <a:cubicBezTo>
                    <a:pt x="1642" y="839"/>
                    <a:pt x="1642" y="839"/>
                    <a:pt x="1642" y="839"/>
                  </a:cubicBezTo>
                  <a:cubicBezTo>
                    <a:pt x="1642" y="839"/>
                    <a:pt x="1642" y="839"/>
                    <a:pt x="1642" y="839"/>
                  </a:cubicBezTo>
                  <a:cubicBezTo>
                    <a:pt x="1643" y="840"/>
                    <a:pt x="1644" y="839"/>
                    <a:pt x="1645" y="839"/>
                  </a:cubicBezTo>
                  <a:cubicBezTo>
                    <a:pt x="1645" y="839"/>
                    <a:pt x="1645" y="839"/>
                    <a:pt x="1645" y="839"/>
                  </a:cubicBezTo>
                  <a:cubicBezTo>
                    <a:pt x="1645" y="839"/>
                    <a:pt x="1645" y="839"/>
                    <a:pt x="1645" y="839"/>
                  </a:cubicBezTo>
                  <a:cubicBezTo>
                    <a:pt x="1645" y="839"/>
                    <a:pt x="1645" y="839"/>
                    <a:pt x="1645" y="839"/>
                  </a:cubicBezTo>
                  <a:cubicBezTo>
                    <a:pt x="1646" y="840"/>
                    <a:pt x="1646" y="840"/>
                    <a:pt x="1646" y="840"/>
                  </a:cubicBezTo>
                  <a:cubicBezTo>
                    <a:pt x="1646" y="840"/>
                    <a:pt x="1646" y="840"/>
                    <a:pt x="1646" y="840"/>
                  </a:cubicBezTo>
                  <a:cubicBezTo>
                    <a:pt x="1646" y="840"/>
                    <a:pt x="1646" y="840"/>
                    <a:pt x="1646" y="840"/>
                  </a:cubicBezTo>
                  <a:cubicBezTo>
                    <a:pt x="1647" y="840"/>
                    <a:pt x="1647" y="840"/>
                    <a:pt x="1647" y="841"/>
                  </a:cubicBezTo>
                  <a:cubicBezTo>
                    <a:pt x="1647" y="841"/>
                    <a:pt x="1647" y="841"/>
                    <a:pt x="1647" y="841"/>
                  </a:cubicBezTo>
                  <a:cubicBezTo>
                    <a:pt x="1647" y="841"/>
                    <a:pt x="1647" y="841"/>
                    <a:pt x="1647" y="841"/>
                  </a:cubicBezTo>
                  <a:cubicBezTo>
                    <a:pt x="1647" y="841"/>
                    <a:pt x="1647" y="841"/>
                    <a:pt x="1647" y="841"/>
                  </a:cubicBezTo>
                  <a:cubicBezTo>
                    <a:pt x="1648" y="841"/>
                    <a:pt x="1648" y="841"/>
                    <a:pt x="1648" y="841"/>
                  </a:cubicBezTo>
                  <a:cubicBezTo>
                    <a:pt x="1648" y="841"/>
                    <a:pt x="1648" y="841"/>
                    <a:pt x="1648" y="841"/>
                  </a:cubicBezTo>
                  <a:cubicBezTo>
                    <a:pt x="1648" y="842"/>
                    <a:pt x="1649" y="843"/>
                    <a:pt x="1650" y="843"/>
                  </a:cubicBezTo>
                  <a:cubicBezTo>
                    <a:pt x="1650" y="843"/>
                    <a:pt x="1650" y="843"/>
                    <a:pt x="1650" y="843"/>
                  </a:cubicBezTo>
                  <a:cubicBezTo>
                    <a:pt x="1650" y="843"/>
                    <a:pt x="1650" y="843"/>
                    <a:pt x="1650" y="843"/>
                  </a:cubicBezTo>
                  <a:cubicBezTo>
                    <a:pt x="1650" y="843"/>
                    <a:pt x="1650" y="843"/>
                    <a:pt x="1650" y="843"/>
                  </a:cubicBezTo>
                  <a:cubicBezTo>
                    <a:pt x="1651" y="843"/>
                    <a:pt x="1651" y="843"/>
                    <a:pt x="1651" y="843"/>
                  </a:cubicBezTo>
                  <a:cubicBezTo>
                    <a:pt x="1652" y="843"/>
                    <a:pt x="1652" y="843"/>
                    <a:pt x="1652" y="843"/>
                  </a:cubicBezTo>
                  <a:cubicBezTo>
                    <a:pt x="1653" y="842"/>
                    <a:pt x="1653" y="842"/>
                    <a:pt x="1653" y="842"/>
                  </a:cubicBezTo>
                  <a:cubicBezTo>
                    <a:pt x="1656" y="840"/>
                    <a:pt x="1656" y="840"/>
                    <a:pt x="1656" y="840"/>
                  </a:cubicBezTo>
                  <a:cubicBezTo>
                    <a:pt x="1657" y="839"/>
                    <a:pt x="1657" y="839"/>
                    <a:pt x="1657" y="839"/>
                  </a:cubicBezTo>
                  <a:cubicBezTo>
                    <a:pt x="1658" y="838"/>
                    <a:pt x="1658" y="838"/>
                    <a:pt x="1658" y="838"/>
                  </a:cubicBezTo>
                  <a:cubicBezTo>
                    <a:pt x="1658" y="838"/>
                    <a:pt x="1658" y="838"/>
                    <a:pt x="1658" y="838"/>
                  </a:cubicBezTo>
                  <a:cubicBezTo>
                    <a:pt x="1658" y="838"/>
                    <a:pt x="1658" y="838"/>
                    <a:pt x="1658" y="838"/>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9" y="837"/>
                    <a:pt x="1659" y="837"/>
                    <a:pt x="1659" y="837"/>
                  </a:cubicBezTo>
                  <a:cubicBezTo>
                    <a:pt x="1659" y="836"/>
                    <a:pt x="1659" y="836"/>
                    <a:pt x="1659" y="836"/>
                  </a:cubicBezTo>
                  <a:cubicBezTo>
                    <a:pt x="1659" y="836"/>
                    <a:pt x="1659" y="836"/>
                    <a:pt x="1659" y="836"/>
                  </a:cubicBezTo>
                  <a:cubicBezTo>
                    <a:pt x="1659" y="836"/>
                    <a:pt x="1659" y="836"/>
                    <a:pt x="1659" y="836"/>
                  </a:cubicBezTo>
                  <a:cubicBezTo>
                    <a:pt x="1659" y="836"/>
                    <a:pt x="1659" y="836"/>
                    <a:pt x="1659" y="836"/>
                  </a:cubicBezTo>
                  <a:cubicBezTo>
                    <a:pt x="1659" y="836"/>
                    <a:pt x="1660" y="836"/>
                    <a:pt x="1660" y="835"/>
                  </a:cubicBezTo>
                  <a:cubicBezTo>
                    <a:pt x="1660" y="835"/>
                    <a:pt x="1660" y="835"/>
                    <a:pt x="1660" y="835"/>
                  </a:cubicBezTo>
                  <a:cubicBezTo>
                    <a:pt x="1660" y="835"/>
                    <a:pt x="1660" y="835"/>
                    <a:pt x="1660" y="835"/>
                  </a:cubicBezTo>
                  <a:cubicBezTo>
                    <a:pt x="1660" y="835"/>
                    <a:pt x="1660" y="834"/>
                    <a:pt x="1661" y="834"/>
                  </a:cubicBezTo>
                  <a:cubicBezTo>
                    <a:pt x="1661" y="834"/>
                    <a:pt x="1661" y="834"/>
                    <a:pt x="1661" y="834"/>
                  </a:cubicBezTo>
                  <a:cubicBezTo>
                    <a:pt x="1661" y="834"/>
                    <a:pt x="1661" y="834"/>
                    <a:pt x="1661" y="834"/>
                  </a:cubicBezTo>
                  <a:cubicBezTo>
                    <a:pt x="1661" y="834"/>
                    <a:pt x="1661" y="834"/>
                    <a:pt x="1661" y="834"/>
                  </a:cubicBezTo>
                  <a:cubicBezTo>
                    <a:pt x="1661" y="833"/>
                    <a:pt x="1661" y="833"/>
                    <a:pt x="1662" y="831"/>
                  </a:cubicBezTo>
                  <a:cubicBezTo>
                    <a:pt x="1662" y="831"/>
                    <a:pt x="1662" y="831"/>
                    <a:pt x="1662" y="831"/>
                  </a:cubicBezTo>
                  <a:cubicBezTo>
                    <a:pt x="1662" y="831"/>
                    <a:pt x="1662" y="831"/>
                    <a:pt x="1662" y="831"/>
                  </a:cubicBezTo>
                  <a:cubicBezTo>
                    <a:pt x="1662" y="831"/>
                    <a:pt x="1662" y="831"/>
                    <a:pt x="1662" y="831"/>
                  </a:cubicBezTo>
                  <a:cubicBezTo>
                    <a:pt x="1662" y="831"/>
                    <a:pt x="1662" y="831"/>
                    <a:pt x="1662" y="831"/>
                  </a:cubicBezTo>
                  <a:cubicBezTo>
                    <a:pt x="1662" y="831"/>
                    <a:pt x="1662" y="831"/>
                    <a:pt x="1662" y="831"/>
                  </a:cubicBezTo>
                  <a:cubicBezTo>
                    <a:pt x="1662" y="830"/>
                    <a:pt x="1662" y="830"/>
                    <a:pt x="1662" y="830"/>
                  </a:cubicBezTo>
                  <a:cubicBezTo>
                    <a:pt x="1662" y="830"/>
                    <a:pt x="1662" y="830"/>
                    <a:pt x="1662" y="830"/>
                  </a:cubicBezTo>
                  <a:cubicBezTo>
                    <a:pt x="1663" y="830"/>
                    <a:pt x="1663" y="830"/>
                    <a:pt x="1663" y="830"/>
                  </a:cubicBezTo>
                  <a:cubicBezTo>
                    <a:pt x="1663" y="830"/>
                    <a:pt x="1663" y="830"/>
                    <a:pt x="1663" y="830"/>
                  </a:cubicBezTo>
                  <a:cubicBezTo>
                    <a:pt x="1664" y="829"/>
                    <a:pt x="1664" y="829"/>
                    <a:pt x="1664" y="829"/>
                  </a:cubicBezTo>
                  <a:cubicBezTo>
                    <a:pt x="1665" y="829"/>
                    <a:pt x="1665" y="829"/>
                    <a:pt x="1665" y="829"/>
                  </a:cubicBezTo>
                  <a:cubicBezTo>
                    <a:pt x="1665" y="829"/>
                    <a:pt x="1665" y="829"/>
                    <a:pt x="1665" y="829"/>
                  </a:cubicBezTo>
                  <a:cubicBezTo>
                    <a:pt x="1665" y="828"/>
                    <a:pt x="1665" y="828"/>
                    <a:pt x="1665" y="828"/>
                  </a:cubicBezTo>
                  <a:cubicBezTo>
                    <a:pt x="1665" y="828"/>
                    <a:pt x="1665" y="828"/>
                    <a:pt x="1665" y="827"/>
                  </a:cubicBezTo>
                  <a:cubicBezTo>
                    <a:pt x="1665" y="827"/>
                    <a:pt x="1665" y="827"/>
                    <a:pt x="1665" y="827"/>
                  </a:cubicBezTo>
                  <a:cubicBezTo>
                    <a:pt x="1665" y="827"/>
                    <a:pt x="1665" y="827"/>
                    <a:pt x="1665" y="827"/>
                  </a:cubicBezTo>
                  <a:cubicBezTo>
                    <a:pt x="1666" y="827"/>
                    <a:pt x="1666" y="827"/>
                    <a:pt x="1666" y="827"/>
                  </a:cubicBezTo>
                  <a:cubicBezTo>
                    <a:pt x="1666" y="827"/>
                    <a:pt x="1666" y="827"/>
                    <a:pt x="1666" y="827"/>
                  </a:cubicBezTo>
                  <a:cubicBezTo>
                    <a:pt x="1666" y="826"/>
                    <a:pt x="1666" y="826"/>
                    <a:pt x="1666" y="826"/>
                  </a:cubicBezTo>
                  <a:cubicBezTo>
                    <a:pt x="1666" y="826"/>
                    <a:pt x="1666" y="826"/>
                    <a:pt x="1666" y="826"/>
                  </a:cubicBezTo>
                  <a:cubicBezTo>
                    <a:pt x="1666" y="825"/>
                    <a:pt x="1666" y="825"/>
                    <a:pt x="1666" y="825"/>
                  </a:cubicBezTo>
                  <a:cubicBezTo>
                    <a:pt x="1666" y="825"/>
                    <a:pt x="1666" y="825"/>
                    <a:pt x="1666" y="825"/>
                  </a:cubicBezTo>
                  <a:cubicBezTo>
                    <a:pt x="1667" y="824"/>
                    <a:pt x="1667" y="824"/>
                    <a:pt x="1667" y="824"/>
                  </a:cubicBezTo>
                  <a:cubicBezTo>
                    <a:pt x="1667" y="824"/>
                    <a:pt x="1667" y="824"/>
                    <a:pt x="1667" y="824"/>
                  </a:cubicBezTo>
                  <a:cubicBezTo>
                    <a:pt x="1668" y="824"/>
                    <a:pt x="1668" y="824"/>
                    <a:pt x="1668" y="824"/>
                  </a:cubicBezTo>
                  <a:cubicBezTo>
                    <a:pt x="1668" y="824"/>
                    <a:pt x="1668" y="824"/>
                    <a:pt x="1668" y="824"/>
                  </a:cubicBezTo>
                  <a:cubicBezTo>
                    <a:pt x="1669" y="823"/>
                    <a:pt x="1669" y="823"/>
                    <a:pt x="1669" y="823"/>
                  </a:cubicBezTo>
                  <a:cubicBezTo>
                    <a:pt x="1669" y="823"/>
                    <a:pt x="1669" y="823"/>
                    <a:pt x="1669" y="823"/>
                  </a:cubicBezTo>
                  <a:cubicBezTo>
                    <a:pt x="1669" y="823"/>
                    <a:pt x="1669" y="823"/>
                    <a:pt x="1669" y="823"/>
                  </a:cubicBezTo>
                  <a:cubicBezTo>
                    <a:pt x="1670" y="823"/>
                    <a:pt x="1670" y="822"/>
                    <a:pt x="1672" y="822"/>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3" y="820"/>
                    <a:pt x="1673" y="820"/>
                    <a:pt x="1673" y="820"/>
                  </a:cubicBezTo>
                  <a:cubicBezTo>
                    <a:pt x="1673" y="820"/>
                    <a:pt x="1673" y="820"/>
                    <a:pt x="1673" y="820"/>
                  </a:cubicBezTo>
                  <a:cubicBezTo>
                    <a:pt x="1674" y="820"/>
                    <a:pt x="1674" y="820"/>
                    <a:pt x="1674" y="820"/>
                  </a:cubicBezTo>
                  <a:cubicBezTo>
                    <a:pt x="1675" y="820"/>
                    <a:pt x="1675" y="820"/>
                    <a:pt x="1675" y="820"/>
                  </a:cubicBezTo>
                  <a:cubicBezTo>
                    <a:pt x="1675" y="819"/>
                    <a:pt x="1675" y="819"/>
                    <a:pt x="1675" y="819"/>
                  </a:cubicBezTo>
                  <a:cubicBezTo>
                    <a:pt x="1675" y="819"/>
                    <a:pt x="1675" y="819"/>
                    <a:pt x="1675" y="819"/>
                  </a:cubicBezTo>
                  <a:cubicBezTo>
                    <a:pt x="1675" y="819"/>
                    <a:pt x="1675" y="819"/>
                    <a:pt x="1675" y="819"/>
                  </a:cubicBezTo>
                  <a:cubicBezTo>
                    <a:pt x="1676" y="819"/>
                    <a:pt x="1676" y="819"/>
                    <a:pt x="1676" y="819"/>
                  </a:cubicBezTo>
                  <a:cubicBezTo>
                    <a:pt x="1676" y="819"/>
                    <a:pt x="1676" y="819"/>
                    <a:pt x="1676" y="819"/>
                  </a:cubicBezTo>
                  <a:cubicBezTo>
                    <a:pt x="1676" y="818"/>
                    <a:pt x="1676" y="818"/>
                    <a:pt x="1676" y="818"/>
                  </a:cubicBezTo>
                  <a:cubicBezTo>
                    <a:pt x="1676" y="818"/>
                    <a:pt x="1676" y="818"/>
                    <a:pt x="1676" y="818"/>
                  </a:cubicBezTo>
                  <a:cubicBezTo>
                    <a:pt x="1676" y="818"/>
                    <a:pt x="1676" y="818"/>
                    <a:pt x="1676" y="818"/>
                  </a:cubicBezTo>
                  <a:cubicBezTo>
                    <a:pt x="1676" y="818"/>
                    <a:pt x="1676" y="818"/>
                    <a:pt x="1676" y="818"/>
                  </a:cubicBezTo>
                  <a:cubicBezTo>
                    <a:pt x="1676" y="818"/>
                    <a:pt x="1676" y="818"/>
                    <a:pt x="1676" y="818"/>
                  </a:cubicBezTo>
                  <a:cubicBezTo>
                    <a:pt x="1676" y="817"/>
                    <a:pt x="1677" y="816"/>
                    <a:pt x="1677" y="816"/>
                  </a:cubicBezTo>
                  <a:cubicBezTo>
                    <a:pt x="1677" y="816"/>
                    <a:pt x="1677" y="816"/>
                    <a:pt x="1677" y="816"/>
                  </a:cubicBezTo>
                  <a:cubicBezTo>
                    <a:pt x="1678" y="816"/>
                    <a:pt x="1678" y="816"/>
                    <a:pt x="1678" y="816"/>
                  </a:cubicBezTo>
                  <a:cubicBezTo>
                    <a:pt x="1678" y="816"/>
                    <a:pt x="1678" y="816"/>
                    <a:pt x="1678" y="816"/>
                  </a:cubicBezTo>
                  <a:cubicBezTo>
                    <a:pt x="1679" y="815"/>
                    <a:pt x="1681" y="815"/>
                    <a:pt x="1681" y="814"/>
                  </a:cubicBezTo>
                  <a:cubicBezTo>
                    <a:pt x="1681" y="814"/>
                    <a:pt x="1681" y="814"/>
                    <a:pt x="1681" y="814"/>
                  </a:cubicBezTo>
                  <a:cubicBezTo>
                    <a:pt x="1681" y="814"/>
                    <a:pt x="1681" y="814"/>
                    <a:pt x="1681" y="814"/>
                  </a:cubicBezTo>
                  <a:cubicBezTo>
                    <a:pt x="1681" y="814"/>
                    <a:pt x="1681" y="814"/>
                    <a:pt x="1681" y="814"/>
                  </a:cubicBezTo>
                  <a:cubicBezTo>
                    <a:pt x="1682" y="814"/>
                    <a:pt x="1682" y="814"/>
                    <a:pt x="1682" y="814"/>
                  </a:cubicBezTo>
                  <a:cubicBezTo>
                    <a:pt x="1682" y="814"/>
                    <a:pt x="1682" y="814"/>
                    <a:pt x="1682" y="814"/>
                  </a:cubicBezTo>
                  <a:cubicBezTo>
                    <a:pt x="1682" y="814"/>
                    <a:pt x="1682" y="814"/>
                    <a:pt x="1682" y="814"/>
                  </a:cubicBezTo>
                  <a:cubicBezTo>
                    <a:pt x="1682" y="815"/>
                    <a:pt x="1682" y="815"/>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2" y="815"/>
                    <a:pt x="1682" y="815"/>
                    <a:pt x="1682" y="815"/>
                  </a:cubicBezTo>
                  <a:cubicBezTo>
                    <a:pt x="1684" y="812"/>
                    <a:pt x="1683" y="812"/>
                    <a:pt x="1687" y="811"/>
                  </a:cubicBezTo>
                  <a:cubicBezTo>
                    <a:pt x="1687" y="811"/>
                    <a:pt x="1687" y="811"/>
                    <a:pt x="1687" y="811"/>
                  </a:cubicBezTo>
                  <a:cubicBezTo>
                    <a:pt x="1688" y="810"/>
                    <a:pt x="1688" y="810"/>
                    <a:pt x="1688" y="810"/>
                  </a:cubicBezTo>
                  <a:cubicBezTo>
                    <a:pt x="1688" y="810"/>
                    <a:pt x="1688" y="810"/>
                    <a:pt x="1688" y="809"/>
                  </a:cubicBezTo>
                  <a:cubicBezTo>
                    <a:pt x="1691" y="809"/>
                    <a:pt x="1691" y="809"/>
                    <a:pt x="1691" y="809"/>
                  </a:cubicBezTo>
                  <a:cubicBezTo>
                    <a:pt x="1694" y="808"/>
                    <a:pt x="1694" y="808"/>
                    <a:pt x="1694" y="808"/>
                  </a:cubicBezTo>
                  <a:cubicBezTo>
                    <a:pt x="1703" y="805"/>
                    <a:pt x="1703" y="805"/>
                    <a:pt x="1703" y="805"/>
                  </a:cubicBezTo>
                  <a:cubicBezTo>
                    <a:pt x="1707" y="804"/>
                    <a:pt x="1707" y="804"/>
                    <a:pt x="1707" y="804"/>
                  </a:cubicBezTo>
                  <a:cubicBezTo>
                    <a:pt x="1709" y="804"/>
                    <a:pt x="1709" y="804"/>
                    <a:pt x="1709" y="804"/>
                  </a:cubicBezTo>
                  <a:cubicBezTo>
                    <a:pt x="1709" y="804"/>
                    <a:pt x="1709" y="804"/>
                    <a:pt x="1709" y="804"/>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2"/>
                    <a:pt x="1709" y="802"/>
                    <a:pt x="1709" y="802"/>
                  </a:cubicBezTo>
                  <a:cubicBezTo>
                    <a:pt x="1709" y="802"/>
                    <a:pt x="1709" y="802"/>
                    <a:pt x="1709" y="802"/>
                  </a:cubicBezTo>
                  <a:cubicBezTo>
                    <a:pt x="1709" y="802"/>
                    <a:pt x="1709" y="802"/>
                    <a:pt x="1709" y="802"/>
                  </a:cubicBezTo>
                  <a:cubicBezTo>
                    <a:pt x="1709" y="802"/>
                    <a:pt x="1709" y="802"/>
                    <a:pt x="1709" y="802"/>
                  </a:cubicBezTo>
                  <a:cubicBezTo>
                    <a:pt x="1709" y="801"/>
                    <a:pt x="1709" y="801"/>
                    <a:pt x="1709" y="801"/>
                  </a:cubicBezTo>
                  <a:cubicBezTo>
                    <a:pt x="1709" y="801"/>
                    <a:pt x="1709" y="801"/>
                    <a:pt x="1709" y="801"/>
                  </a:cubicBezTo>
                  <a:cubicBezTo>
                    <a:pt x="1708" y="800"/>
                    <a:pt x="1709" y="799"/>
                    <a:pt x="1709" y="799"/>
                  </a:cubicBezTo>
                  <a:cubicBezTo>
                    <a:pt x="1709" y="799"/>
                    <a:pt x="1709" y="799"/>
                    <a:pt x="1709" y="799"/>
                  </a:cubicBezTo>
                  <a:cubicBezTo>
                    <a:pt x="1709" y="798"/>
                    <a:pt x="1709" y="798"/>
                    <a:pt x="1709" y="798"/>
                  </a:cubicBezTo>
                  <a:cubicBezTo>
                    <a:pt x="1710" y="797"/>
                    <a:pt x="1711" y="798"/>
                    <a:pt x="1710" y="796"/>
                  </a:cubicBezTo>
                  <a:cubicBezTo>
                    <a:pt x="1710" y="796"/>
                    <a:pt x="1710" y="796"/>
                    <a:pt x="1710" y="796"/>
                  </a:cubicBezTo>
                  <a:cubicBezTo>
                    <a:pt x="1710" y="796"/>
                    <a:pt x="1710" y="796"/>
                    <a:pt x="1710" y="796"/>
                  </a:cubicBezTo>
                  <a:cubicBezTo>
                    <a:pt x="1710" y="796"/>
                    <a:pt x="1710" y="796"/>
                    <a:pt x="1710" y="796"/>
                  </a:cubicBezTo>
                  <a:cubicBezTo>
                    <a:pt x="1710" y="796"/>
                    <a:pt x="1710" y="796"/>
                    <a:pt x="1710" y="796"/>
                  </a:cubicBezTo>
                  <a:cubicBezTo>
                    <a:pt x="1710" y="795"/>
                    <a:pt x="1710" y="795"/>
                    <a:pt x="1710" y="795"/>
                  </a:cubicBezTo>
                  <a:cubicBezTo>
                    <a:pt x="1710" y="795"/>
                    <a:pt x="1710" y="795"/>
                    <a:pt x="1710" y="795"/>
                  </a:cubicBezTo>
                  <a:cubicBezTo>
                    <a:pt x="1710" y="794"/>
                    <a:pt x="1710" y="793"/>
                    <a:pt x="1711" y="793"/>
                  </a:cubicBezTo>
                  <a:cubicBezTo>
                    <a:pt x="1711" y="793"/>
                    <a:pt x="1711" y="793"/>
                    <a:pt x="1711" y="793"/>
                  </a:cubicBezTo>
                  <a:cubicBezTo>
                    <a:pt x="1711" y="792"/>
                    <a:pt x="1711" y="792"/>
                    <a:pt x="1711" y="792"/>
                  </a:cubicBezTo>
                  <a:cubicBezTo>
                    <a:pt x="1712" y="792"/>
                    <a:pt x="1712" y="792"/>
                    <a:pt x="1712" y="792"/>
                  </a:cubicBezTo>
                  <a:cubicBezTo>
                    <a:pt x="1712" y="792"/>
                    <a:pt x="1714" y="791"/>
                    <a:pt x="1714" y="791"/>
                  </a:cubicBezTo>
                  <a:cubicBezTo>
                    <a:pt x="1714" y="791"/>
                    <a:pt x="1714" y="791"/>
                    <a:pt x="1714" y="791"/>
                  </a:cubicBezTo>
                  <a:cubicBezTo>
                    <a:pt x="1714" y="791"/>
                    <a:pt x="1714" y="791"/>
                    <a:pt x="1714" y="791"/>
                  </a:cubicBezTo>
                  <a:cubicBezTo>
                    <a:pt x="1715" y="790"/>
                    <a:pt x="1715" y="790"/>
                    <a:pt x="1715" y="790"/>
                  </a:cubicBezTo>
                  <a:cubicBezTo>
                    <a:pt x="1715" y="790"/>
                    <a:pt x="1715" y="790"/>
                    <a:pt x="1715" y="790"/>
                  </a:cubicBezTo>
                  <a:cubicBezTo>
                    <a:pt x="1715" y="790"/>
                    <a:pt x="1715" y="790"/>
                    <a:pt x="1715" y="790"/>
                  </a:cubicBezTo>
                  <a:cubicBezTo>
                    <a:pt x="1715" y="789"/>
                    <a:pt x="1715" y="789"/>
                    <a:pt x="1715" y="789"/>
                  </a:cubicBezTo>
                  <a:cubicBezTo>
                    <a:pt x="1715" y="789"/>
                    <a:pt x="1715" y="789"/>
                    <a:pt x="1715" y="789"/>
                  </a:cubicBezTo>
                  <a:cubicBezTo>
                    <a:pt x="1715" y="789"/>
                    <a:pt x="1715" y="789"/>
                    <a:pt x="1715" y="789"/>
                  </a:cubicBezTo>
                  <a:cubicBezTo>
                    <a:pt x="1715" y="788"/>
                    <a:pt x="1716" y="788"/>
                    <a:pt x="1716" y="787"/>
                  </a:cubicBezTo>
                  <a:cubicBezTo>
                    <a:pt x="1717" y="787"/>
                    <a:pt x="1717" y="787"/>
                    <a:pt x="1717" y="787"/>
                  </a:cubicBezTo>
                  <a:cubicBezTo>
                    <a:pt x="1718" y="787"/>
                    <a:pt x="1718" y="787"/>
                    <a:pt x="1718" y="787"/>
                  </a:cubicBezTo>
                  <a:cubicBezTo>
                    <a:pt x="1722" y="785"/>
                    <a:pt x="1720" y="785"/>
                    <a:pt x="1722" y="783"/>
                  </a:cubicBezTo>
                  <a:cubicBezTo>
                    <a:pt x="1722" y="783"/>
                    <a:pt x="1722" y="783"/>
                    <a:pt x="1722" y="783"/>
                  </a:cubicBezTo>
                  <a:cubicBezTo>
                    <a:pt x="1722" y="783"/>
                    <a:pt x="1722" y="783"/>
                    <a:pt x="1722" y="783"/>
                  </a:cubicBezTo>
                  <a:cubicBezTo>
                    <a:pt x="1723" y="783"/>
                    <a:pt x="1723" y="783"/>
                    <a:pt x="1723" y="783"/>
                  </a:cubicBezTo>
                  <a:cubicBezTo>
                    <a:pt x="1723" y="783"/>
                    <a:pt x="1723" y="783"/>
                    <a:pt x="1723" y="783"/>
                  </a:cubicBezTo>
                  <a:cubicBezTo>
                    <a:pt x="1723" y="783"/>
                    <a:pt x="1723" y="783"/>
                    <a:pt x="1723" y="783"/>
                  </a:cubicBezTo>
                  <a:cubicBezTo>
                    <a:pt x="1723" y="783"/>
                    <a:pt x="1723" y="783"/>
                    <a:pt x="1723" y="783"/>
                  </a:cubicBezTo>
                  <a:cubicBezTo>
                    <a:pt x="1723" y="783"/>
                    <a:pt x="1723" y="783"/>
                    <a:pt x="1723" y="783"/>
                  </a:cubicBezTo>
                  <a:cubicBezTo>
                    <a:pt x="1723" y="782"/>
                    <a:pt x="1723" y="782"/>
                    <a:pt x="1723" y="782"/>
                  </a:cubicBezTo>
                  <a:cubicBezTo>
                    <a:pt x="1723" y="782"/>
                    <a:pt x="1723" y="782"/>
                    <a:pt x="1723" y="782"/>
                  </a:cubicBezTo>
                  <a:cubicBezTo>
                    <a:pt x="1723" y="782"/>
                    <a:pt x="1724" y="781"/>
                    <a:pt x="1725" y="781"/>
                  </a:cubicBezTo>
                  <a:cubicBezTo>
                    <a:pt x="1725" y="781"/>
                    <a:pt x="1725" y="781"/>
                    <a:pt x="1725" y="781"/>
                  </a:cubicBezTo>
                  <a:cubicBezTo>
                    <a:pt x="1725" y="781"/>
                    <a:pt x="1725" y="781"/>
                    <a:pt x="1725" y="781"/>
                  </a:cubicBezTo>
                  <a:cubicBezTo>
                    <a:pt x="1725" y="780"/>
                    <a:pt x="1726" y="780"/>
                    <a:pt x="1726" y="780"/>
                  </a:cubicBezTo>
                  <a:cubicBezTo>
                    <a:pt x="1726" y="780"/>
                    <a:pt x="1726" y="780"/>
                    <a:pt x="1726" y="780"/>
                  </a:cubicBezTo>
                  <a:cubicBezTo>
                    <a:pt x="1726" y="780"/>
                    <a:pt x="1726" y="780"/>
                    <a:pt x="1726" y="780"/>
                  </a:cubicBezTo>
                  <a:cubicBezTo>
                    <a:pt x="1726" y="780"/>
                    <a:pt x="1726" y="780"/>
                    <a:pt x="1726" y="780"/>
                  </a:cubicBezTo>
                  <a:cubicBezTo>
                    <a:pt x="1726" y="780"/>
                    <a:pt x="1726" y="780"/>
                    <a:pt x="1726" y="780"/>
                  </a:cubicBezTo>
                  <a:cubicBezTo>
                    <a:pt x="1729" y="780"/>
                    <a:pt x="1731" y="781"/>
                    <a:pt x="1734" y="782"/>
                  </a:cubicBezTo>
                  <a:cubicBezTo>
                    <a:pt x="1734" y="782"/>
                    <a:pt x="1734" y="782"/>
                    <a:pt x="1734" y="782"/>
                  </a:cubicBezTo>
                  <a:cubicBezTo>
                    <a:pt x="1734" y="782"/>
                    <a:pt x="1734" y="782"/>
                    <a:pt x="1734" y="782"/>
                  </a:cubicBezTo>
                  <a:cubicBezTo>
                    <a:pt x="1734" y="782"/>
                    <a:pt x="1734" y="782"/>
                    <a:pt x="1734" y="782"/>
                  </a:cubicBezTo>
                  <a:cubicBezTo>
                    <a:pt x="1735" y="782"/>
                    <a:pt x="1735" y="782"/>
                    <a:pt x="1735" y="782"/>
                  </a:cubicBezTo>
                  <a:cubicBezTo>
                    <a:pt x="1735" y="782"/>
                    <a:pt x="1735" y="782"/>
                    <a:pt x="1735" y="782"/>
                  </a:cubicBezTo>
                  <a:cubicBezTo>
                    <a:pt x="1737" y="781"/>
                    <a:pt x="1737" y="781"/>
                    <a:pt x="1737" y="781"/>
                  </a:cubicBezTo>
                  <a:cubicBezTo>
                    <a:pt x="1741" y="781"/>
                    <a:pt x="1741" y="781"/>
                    <a:pt x="1741" y="781"/>
                  </a:cubicBezTo>
                  <a:cubicBezTo>
                    <a:pt x="1750" y="779"/>
                    <a:pt x="1750" y="779"/>
                    <a:pt x="1750" y="779"/>
                  </a:cubicBezTo>
                  <a:cubicBezTo>
                    <a:pt x="1754" y="779"/>
                    <a:pt x="1754" y="779"/>
                    <a:pt x="1754" y="779"/>
                  </a:cubicBezTo>
                  <a:cubicBezTo>
                    <a:pt x="1756" y="779"/>
                    <a:pt x="1756" y="779"/>
                    <a:pt x="1756" y="779"/>
                  </a:cubicBezTo>
                  <a:cubicBezTo>
                    <a:pt x="1756" y="779"/>
                    <a:pt x="1756" y="779"/>
                    <a:pt x="1756" y="779"/>
                  </a:cubicBezTo>
                  <a:cubicBezTo>
                    <a:pt x="1757" y="779"/>
                    <a:pt x="1757" y="779"/>
                    <a:pt x="1757" y="779"/>
                  </a:cubicBezTo>
                  <a:cubicBezTo>
                    <a:pt x="1758" y="778"/>
                    <a:pt x="1759" y="779"/>
                    <a:pt x="1761" y="779"/>
                  </a:cubicBezTo>
                  <a:cubicBezTo>
                    <a:pt x="1761" y="779"/>
                    <a:pt x="1761" y="779"/>
                    <a:pt x="1761" y="779"/>
                  </a:cubicBezTo>
                  <a:cubicBezTo>
                    <a:pt x="1761" y="779"/>
                    <a:pt x="1761" y="779"/>
                    <a:pt x="1761" y="779"/>
                  </a:cubicBezTo>
                  <a:cubicBezTo>
                    <a:pt x="1761" y="779"/>
                    <a:pt x="1761" y="779"/>
                    <a:pt x="1761" y="779"/>
                  </a:cubicBezTo>
                  <a:cubicBezTo>
                    <a:pt x="1762" y="779"/>
                    <a:pt x="1762" y="779"/>
                    <a:pt x="1763" y="779"/>
                  </a:cubicBezTo>
                  <a:cubicBezTo>
                    <a:pt x="1763" y="779"/>
                    <a:pt x="1763" y="779"/>
                    <a:pt x="1763" y="779"/>
                  </a:cubicBezTo>
                  <a:cubicBezTo>
                    <a:pt x="1763" y="779"/>
                    <a:pt x="1763" y="779"/>
                    <a:pt x="1763" y="779"/>
                  </a:cubicBezTo>
                  <a:cubicBezTo>
                    <a:pt x="1765" y="779"/>
                    <a:pt x="1766" y="779"/>
                    <a:pt x="1767" y="779"/>
                  </a:cubicBezTo>
                  <a:cubicBezTo>
                    <a:pt x="1768" y="779"/>
                    <a:pt x="1768" y="779"/>
                    <a:pt x="1768" y="779"/>
                  </a:cubicBezTo>
                  <a:cubicBezTo>
                    <a:pt x="1768" y="779"/>
                    <a:pt x="1768" y="779"/>
                    <a:pt x="1768" y="779"/>
                  </a:cubicBezTo>
                  <a:cubicBezTo>
                    <a:pt x="1768" y="779"/>
                    <a:pt x="1768" y="779"/>
                    <a:pt x="1768" y="779"/>
                  </a:cubicBezTo>
                  <a:cubicBezTo>
                    <a:pt x="1769" y="779"/>
                    <a:pt x="1769" y="779"/>
                    <a:pt x="1769" y="779"/>
                  </a:cubicBezTo>
                  <a:cubicBezTo>
                    <a:pt x="1770" y="779"/>
                    <a:pt x="1770" y="779"/>
                    <a:pt x="1770" y="779"/>
                  </a:cubicBezTo>
                  <a:cubicBezTo>
                    <a:pt x="1773" y="779"/>
                    <a:pt x="1773" y="779"/>
                    <a:pt x="1773" y="779"/>
                  </a:cubicBezTo>
                  <a:cubicBezTo>
                    <a:pt x="1774" y="778"/>
                    <a:pt x="1774" y="778"/>
                    <a:pt x="1774" y="778"/>
                  </a:cubicBezTo>
                  <a:cubicBezTo>
                    <a:pt x="1775" y="778"/>
                    <a:pt x="1775" y="778"/>
                    <a:pt x="1775" y="778"/>
                  </a:cubicBezTo>
                  <a:cubicBezTo>
                    <a:pt x="1775" y="779"/>
                    <a:pt x="1775" y="779"/>
                    <a:pt x="1775" y="779"/>
                  </a:cubicBezTo>
                  <a:cubicBezTo>
                    <a:pt x="1775" y="779"/>
                    <a:pt x="1775" y="779"/>
                    <a:pt x="1775" y="779"/>
                  </a:cubicBezTo>
                  <a:cubicBezTo>
                    <a:pt x="1775" y="779"/>
                    <a:pt x="1775" y="779"/>
                    <a:pt x="1775" y="779"/>
                  </a:cubicBezTo>
                  <a:cubicBezTo>
                    <a:pt x="1776" y="779"/>
                    <a:pt x="1776" y="779"/>
                    <a:pt x="1776" y="779"/>
                  </a:cubicBezTo>
                  <a:cubicBezTo>
                    <a:pt x="1776" y="779"/>
                    <a:pt x="1776" y="779"/>
                    <a:pt x="1776" y="779"/>
                  </a:cubicBezTo>
                  <a:cubicBezTo>
                    <a:pt x="1776" y="779"/>
                    <a:pt x="1776" y="779"/>
                    <a:pt x="1776" y="779"/>
                  </a:cubicBezTo>
                  <a:cubicBezTo>
                    <a:pt x="1776" y="779"/>
                    <a:pt x="1777" y="779"/>
                    <a:pt x="1777" y="779"/>
                  </a:cubicBezTo>
                  <a:cubicBezTo>
                    <a:pt x="1777" y="779"/>
                    <a:pt x="1777" y="779"/>
                    <a:pt x="1777" y="779"/>
                  </a:cubicBezTo>
                  <a:cubicBezTo>
                    <a:pt x="1775" y="779"/>
                    <a:pt x="1773" y="779"/>
                    <a:pt x="1772" y="779"/>
                  </a:cubicBezTo>
                  <a:cubicBezTo>
                    <a:pt x="1775" y="781"/>
                    <a:pt x="1777" y="782"/>
                    <a:pt x="1781" y="783"/>
                  </a:cubicBezTo>
                  <a:cubicBezTo>
                    <a:pt x="1783" y="784"/>
                    <a:pt x="1784" y="784"/>
                    <a:pt x="1785" y="785"/>
                  </a:cubicBezTo>
                  <a:cubicBezTo>
                    <a:pt x="1787" y="786"/>
                    <a:pt x="1789" y="787"/>
                    <a:pt x="1791" y="788"/>
                  </a:cubicBezTo>
                  <a:cubicBezTo>
                    <a:pt x="1792" y="790"/>
                    <a:pt x="1792" y="793"/>
                    <a:pt x="1794" y="794"/>
                  </a:cubicBezTo>
                  <a:cubicBezTo>
                    <a:pt x="1795" y="794"/>
                    <a:pt x="1796" y="794"/>
                    <a:pt x="1797" y="795"/>
                  </a:cubicBezTo>
                  <a:cubicBezTo>
                    <a:pt x="1800" y="796"/>
                    <a:pt x="1802" y="797"/>
                    <a:pt x="1805" y="798"/>
                  </a:cubicBezTo>
                  <a:cubicBezTo>
                    <a:pt x="1808" y="799"/>
                    <a:pt x="1812" y="800"/>
                    <a:pt x="1816" y="801"/>
                  </a:cubicBezTo>
                  <a:cubicBezTo>
                    <a:pt x="1819" y="802"/>
                    <a:pt x="1825" y="803"/>
                    <a:pt x="1831" y="803"/>
                  </a:cubicBezTo>
                  <a:cubicBezTo>
                    <a:pt x="1831" y="803"/>
                    <a:pt x="1831" y="803"/>
                    <a:pt x="1831" y="803"/>
                  </a:cubicBezTo>
                  <a:cubicBezTo>
                    <a:pt x="1832" y="803"/>
                    <a:pt x="1833" y="803"/>
                    <a:pt x="1833" y="803"/>
                  </a:cubicBezTo>
                  <a:cubicBezTo>
                    <a:pt x="1834" y="803"/>
                    <a:pt x="1834" y="803"/>
                    <a:pt x="1835" y="802"/>
                  </a:cubicBezTo>
                  <a:cubicBezTo>
                    <a:pt x="1835" y="802"/>
                    <a:pt x="1835" y="802"/>
                    <a:pt x="1836" y="802"/>
                  </a:cubicBezTo>
                  <a:cubicBezTo>
                    <a:pt x="1836" y="802"/>
                    <a:pt x="1837" y="801"/>
                    <a:pt x="1838" y="801"/>
                  </a:cubicBezTo>
                  <a:cubicBezTo>
                    <a:pt x="1837" y="800"/>
                    <a:pt x="1837" y="800"/>
                    <a:pt x="1836" y="799"/>
                  </a:cubicBezTo>
                  <a:cubicBezTo>
                    <a:pt x="1835" y="797"/>
                    <a:pt x="1834" y="796"/>
                    <a:pt x="1832" y="795"/>
                  </a:cubicBezTo>
                  <a:cubicBezTo>
                    <a:pt x="1832" y="794"/>
                    <a:pt x="1831" y="794"/>
                    <a:pt x="1831" y="794"/>
                  </a:cubicBezTo>
                  <a:cubicBezTo>
                    <a:pt x="1831" y="794"/>
                    <a:pt x="1830" y="794"/>
                    <a:pt x="1830" y="794"/>
                  </a:cubicBezTo>
                  <a:cubicBezTo>
                    <a:pt x="1828" y="793"/>
                    <a:pt x="1827" y="793"/>
                    <a:pt x="1825" y="792"/>
                  </a:cubicBezTo>
                  <a:cubicBezTo>
                    <a:pt x="1825" y="792"/>
                    <a:pt x="1825" y="792"/>
                    <a:pt x="1824" y="791"/>
                  </a:cubicBezTo>
                  <a:cubicBezTo>
                    <a:pt x="1824" y="791"/>
                    <a:pt x="1823" y="791"/>
                    <a:pt x="1823" y="791"/>
                  </a:cubicBezTo>
                  <a:cubicBezTo>
                    <a:pt x="1823" y="791"/>
                    <a:pt x="1822" y="791"/>
                    <a:pt x="1822" y="791"/>
                  </a:cubicBezTo>
                  <a:cubicBezTo>
                    <a:pt x="1821" y="790"/>
                    <a:pt x="1820" y="789"/>
                    <a:pt x="1819" y="788"/>
                  </a:cubicBezTo>
                  <a:cubicBezTo>
                    <a:pt x="1818" y="788"/>
                    <a:pt x="1818" y="787"/>
                    <a:pt x="1817" y="787"/>
                  </a:cubicBezTo>
                  <a:cubicBezTo>
                    <a:pt x="1815" y="786"/>
                    <a:pt x="1811" y="785"/>
                    <a:pt x="1808" y="784"/>
                  </a:cubicBezTo>
                  <a:cubicBezTo>
                    <a:pt x="1806" y="783"/>
                    <a:pt x="1804" y="782"/>
                    <a:pt x="1801" y="781"/>
                  </a:cubicBezTo>
                  <a:cubicBezTo>
                    <a:pt x="1805" y="781"/>
                    <a:pt x="1810" y="779"/>
                    <a:pt x="1814" y="779"/>
                  </a:cubicBezTo>
                  <a:cubicBezTo>
                    <a:pt x="1816" y="779"/>
                    <a:pt x="1818" y="780"/>
                    <a:pt x="1820" y="780"/>
                  </a:cubicBezTo>
                  <a:cubicBezTo>
                    <a:pt x="1823" y="780"/>
                    <a:pt x="1825" y="780"/>
                    <a:pt x="1827" y="780"/>
                  </a:cubicBezTo>
                  <a:cubicBezTo>
                    <a:pt x="1829" y="781"/>
                    <a:pt x="1832" y="780"/>
                    <a:pt x="1834" y="781"/>
                  </a:cubicBezTo>
                  <a:cubicBezTo>
                    <a:pt x="1836" y="783"/>
                    <a:pt x="1834" y="784"/>
                    <a:pt x="1839" y="783"/>
                  </a:cubicBezTo>
                  <a:cubicBezTo>
                    <a:pt x="1837" y="783"/>
                    <a:pt x="1836" y="784"/>
                    <a:pt x="1835" y="785"/>
                  </a:cubicBezTo>
                  <a:cubicBezTo>
                    <a:pt x="1839" y="785"/>
                    <a:pt x="1845" y="783"/>
                    <a:pt x="1849" y="782"/>
                  </a:cubicBezTo>
                  <a:cubicBezTo>
                    <a:pt x="1852" y="782"/>
                    <a:pt x="1855" y="781"/>
                    <a:pt x="1858" y="781"/>
                  </a:cubicBezTo>
                  <a:cubicBezTo>
                    <a:pt x="1861" y="782"/>
                    <a:pt x="1872" y="779"/>
                    <a:pt x="1873" y="781"/>
                  </a:cubicBezTo>
                  <a:cubicBezTo>
                    <a:pt x="1879" y="777"/>
                    <a:pt x="1884" y="773"/>
                    <a:pt x="1890" y="768"/>
                  </a:cubicBezTo>
                  <a:cubicBezTo>
                    <a:pt x="1891" y="767"/>
                    <a:pt x="1898" y="763"/>
                    <a:pt x="1897" y="761"/>
                  </a:cubicBezTo>
                  <a:cubicBezTo>
                    <a:pt x="1899" y="768"/>
                    <a:pt x="1901" y="762"/>
                    <a:pt x="1900" y="759"/>
                  </a:cubicBezTo>
                  <a:cubicBezTo>
                    <a:pt x="1900" y="759"/>
                    <a:pt x="1900" y="756"/>
                    <a:pt x="1900" y="757"/>
                  </a:cubicBezTo>
                  <a:cubicBezTo>
                    <a:pt x="1901" y="755"/>
                    <a:pt x="1907" y="753"/>
                    <a:pt x="1909" y="751"/>
                  </a:cubicBezTo>
                  <a:cubicBezTo>
                    <a:pt x="1903" y="749"/>
                    <a:pt x="1918" y="746"/>
                    <a:pt x="1920" y="745"/>
                  </a:cubicBezTo>
                  <a:cubicBezTo>
                    <a:pt x="1923" y="744"/>
                    <a:pt x="1927" y="743"/>
                    <a:pt x="1931" y="743"/>
                  </a:cubicBezTo>
                  <a:cubicBezTo>
                    <a:pt x="1935" y="743"/>
                    <a:pt x="1940" y="745"/>
                    <a:pt x="1944" y="744"/>
                  </a:cubicBezTo>
                  <a:cubicBezTo>
                    <a:pt x="1944" y="744"/>
                    <a:pt x="1944" y="744"/>
                    <a:pt x="1945" y="744"/>
                  </a:cubicBezTo>
                  <a:cubicBezTo>
                    <a:pt x="1945" y="744"/>
                    <a:pt x="1945" y="744"/>
                    <a:pt x="1945" y="744"/>
                  </a:cubicBezTo>
                  <a:cubicBezTo>
                    <a:pt x="1947" y="746"/>
                    <a:pt x="1948" y="747"/>
                    <a:pt x="1945" y="749"/>
                  </a:cubicBezTo>
                  <a:cubicBezTo>
                    <a:pt x="1945" y="750"/>
                    <a:pt x="1944" y="751"/>
                    <a:pt x="1943" y="752"/>
                  </a:cubicBezTo>
                  <a:cubicBezTo>
                    <a:pt x="1941" y="753"/>
                    <a:pt x="1939" y="753"/>
                    <a:pt x="1937" y="754"/>
                  </a:cubicBezTo>
                  <a:cubicBezTo>
                    <a:pt x="1938" y="755"/>
                    <a:pt x="1940" y="756"/>
                    <a:pt x="1942" y="756"/>
                  </a:cubicBezTo>
                  <a:cubicBezTo>
                    <a:pt x="1942" y="756"/>
                    <a:pt x="1942" y="756"/>
                    <a:pt x="1942" y="756"/>
                  </a:cubicBezTo>
                  <a:cubicBezTo>
                    <a:pt x="1942" y="756"/>
                    <a:pt x="1942" y="756"/>
                    <a:pt x="1942" y="756"/>
                  </a:cubicBezTo>
                  <a:cubicBezTo>
                    <a:pt x="1940" y="757"/>
                    <a:pt x="1939" y="756"/>
                    <a:pt x="1937" y="758"/>
                  </a:cubicBezTo>
                  <a:cubicBezTo>
                    <a:pt x="1936" y="759"/>
                    <a:pt x="1935" y="761"/>
                    <a:pt x="1935" y="762"/>
                  </a:cubicBezTo>
                  <a:cubicBezTo>
                    <a:pt x="1934" y="763"/>
                    <a:pt x="1934" y="764"/>
                    <a:pt x="1934" y="764"/>
                  </a:cubicBezTo>
                  <a:cubicBezTo>
                    <a:pt x="1932" y="768"/>
                    <a:pt x="1930" y="772"/>
                    <a:pt x="1929" y="776"/>
                  </a:cubicBezTo>
                  <a:cubicBezTo>
                    <a:pt x="1928" y="778"/>
                    <a:pt x="1927" y="780"/>
                    <a:pt x="1926" y="781"/>
                  </a:cubicBezTo>
                  <a:cubicBezTo>
                    <a:pt x="1926" y="782"/>
                    <a:pt x="1926" y="782"/>
                    <a:pt x="1926" y="782"/>
                  </a:cubicBezTo>
                  <a:cubicBezTo>
                    <a:pt x="1924" y="784"/>
                    <a:pt x="1924" y="786"/>
                    <a:pt x="1923" y="788"/>
                  </a:cubicBezTo>
                  <a:cubicBezTo>
                    <a:pt x="1923" y="789"/>
                    <a:pt x="1921" y="790"/>
                    <a:pt x="1920" y="790"/>
                  </a:cubicBezTo>
                  <a:cubicBezTo>
                    <a:pt x="1919" y="792"/>
                    <a:pt x="1917" y="793"/>
                    <a:pt x="1918" y="795"/>
                  </a:cubicBezTo>
                  <a:cubicBezTo>
                    <a:pt x="1918" y="796"/>
                    <a:pt x="1918" y="796"/>
                    <a:pt x="1919" y="797"/>
                  </a:cubicBezTo>
                  <a:cubicBezTo>
                    <a:pt x="1920" y="798"/>
                    <a:pt x="1923" y="799"/>
                    <a:pt x="1924" y="798"/>
                  </a:cubicBezTo>
                  <a:cubicBezTo>
                    <a:pt x="1923" y="800"/>
                    <a:pt x="1922" y="800"/>
                    <a:pt x="1920" y="800"/>
                  </a:cubicBezTo>
                  <a:cubicBezTo>
                    <a:pt x="1920" y="800"/>
                    <a:pt x="1920" y="800"/>
                    <a:pt x="1920" y="800"/>
                  </a:cubicBezTo>
                  <a:cubicBezTo>
                    <a:pt x="1922" y="800"/>
                    <a:pt x="1924" y="800"/>
                    <a:pt x="1925" y="800"/>
                  </a:cubicBezTo>
                  <a:cubicBezTo>
                    <a:pt x="1926" y="800"/>
                    <a:pt x="1926" y="800"/>
                    <a:pt x="1926" y="800"/>
                  </a:cubicBezTo>
                  <a:cubicBezTo>
                    <a:pt x="1926" y="801"/>
                    <a:pt x="1925" y="801"/>
                    <a:pt x="1924" y="801"/>
                  </a:cubicBezTo>
                  <a:cubicBezTo>
                    <a:pt x="1923" y="801"/>
                    <a:pt x="1921" y="800"/>
                    <a:pt x="1920" y="801"/>
                  </a:cubicBezTo>
                  <a:cubicBezTo>
                    <a:pt x="1919" y="802"/>
                    <a:pt x="1920" y="803"/>
                    <a:pt x="1921" y="804"/>
                  </a:cubicBezTo>
                  <a:cubicBezTo>
                    <a:pt x="1922" y="805"/>
                    <a:pt x="1924" y="805"/>
                    <a:pt x="1924" y="806"/>
                  </a:cubicBezTo>
                  <a:cubicBezTo>
                    <a:pt x="1922" y="806"/>
                    <a:pt x="1922" y="806"/>
                    <a:pt x="1920" y="805"/>
                  </a:cubicBezTo>
                  <a:cubicBezTo>
                    <a:pt x="1920" y="805"/>
                    <a:pt x="1920" y="805"/>
                    <a:pt x="1920" y="804"/>
                  </a:cubicBezTo>
                  <a:cubicBezTo>
                    <a:pt x="1918" y="804"/>
                    <a:pt x="1917" y="804"/>
                    <a:pt x="1915" y="803"/>
                  </a:cubicBezTo>
                  <a:cubicBezTo>
                    <a:pt x="1915" y="803"/>
                    <a:pt x="1914" y="804"/>
                    <a:pt x="1914" y="802"/>
                  </a:cubicBezTo>
                  <a:cubicBezTo>
                    <a:pt x="1914" y="802"/>
                    <a:pt x="1914" y="802"/>
                    <a:pt x="1914" y="802"/>
                  </a:cubicBezTo>
                  <a:cubicBezTo>
                    <a:pt x="1914" y="801"/>
                    <a:pt x="1914" y="801"/>
                    <a:pt x="1913" y="802"/>
                  </a:cubicBezTo>
                  <a:cubicBezTo>
                    <a:pt x="1913" y="802"/>
                    <a:pt x="1912" y="803"/>
                    <a:pt x="1912" y="804"/>
                  </a:cubicBezTo>
                  <a:cubicBezTo>
                    <a:pt x="1911" y="805"/>
                    <a:pt x="1911" y="805"/>
                    <a:pt x="1911" y="805"/>
                  </a:cubicBezTo>
                  <a:cubicBezTo>
                    <a:pt x="1911" y="807"/>
                    <a:pt x="1911" y="808"/>
                    <a:pt x="1910" y="810"/>
                  </a:cubicBezTo>
                  <a:cubicBezTo>
                    <a:pt x="1909" y="811"/>
                    <a:pt x="1908" y="812"/>
                    <a:pt x="1908" y="813"/>
                  </a:cubicBezTo>
                  <a:cubicBezTo>
                    <a:pt x="1907" y="814"/>
                    <a:pt x="1907" y="817"/>
                    <a:pt x="1906" y="818"/>
                  </a:cubicBezTo>
                  <a:cubicBezTo>
                    <a:pt x="1905" y="819"/>
                    <a:pt x="1903" y="818"/>
                    <a:pt x="1903" y="816"/>
                  </a:cubicBezTo>
                  <a:cubicBezTo>
                    <a:pt x="1903" y="819"/>
                    <a:pt x="1901" y="818"/>
                    <a:pt x="1901" y="816"/>
                  </a:cubicBezTo>
                  <a:cubicBezTo>
                    <a:pt x="1901" y="815"/>
                    <a:pt x="1904" y="813"/>
                    <a:pt x="1905" y="812"/>
                  </a:cubicBezTo>
                  <a:cubicBezTo>
                    <a:pt x="1904" y="812"/>
                    <a:pt x="1904" y="813"/>
                    <a:pt x="1903" y="813"/>
                  </a:cubicBezTo>
                  <a:cubicBezTo>
                    <a:pt x="1900" y="815"/>
                    <a:pt x="1895" y="818"/>
                    <a:pt x="1894" y="820"/>
                  </a:cubicBezTo>
                  <a:cubicBezTo>
                    <a:pt x="1894" y="820"/>
                    <a:pt x="1895" y="820"/>
                    <a:pt x="1896" y="820"/>
                  </a:cubicBezTo>
                  <a:cubicBezTo>
                    <a:pt x="1899" y="820"/>
                    <a:pt x="1902" y="819"/>
                    <a:pt x="1905" y="819"/>
                  </a:cubicBezTo>
                  <a:cubicBezTo>
                    <a:pt x="1906" y="819"/>
                    <a:pt x="1906" y="819"/>
                    <a:pt x="1906" y="819"/>
                  </a:cubicBezTo>
                  <a:cubicBezTo>
                    <a:pt x="1908" y="819"/>
                    <a:pt x="1909" y="819"/>
                    <a:pt x="1911" y="820"/>
                  </a:cubicBezTo>
                  <a:cubicBezTo>
                    <a:pt x="1913" y="820"/>
                    <a:pt x="1914" y="820"/>
                    <a:pt x="1915" y="819"/>
                  </a:cubicBezTo>
                  <a:cubicBezTo>
                    <a:pt x="1915" y="819"/>
                    <a:pt x="1916" y="819"/>
                    <a:pt x="1916" y="819"/>
                  </a:cubicBezTo>
                  <a:cubicBezTo>
                    <a:pt x="1915" y="820"/>
                    <a:pt x="1914" y="821"/>
                    <a:pt x="1913" y="821"/>
                  </a:cubicBezTo>
                  <a:cubicBezTo>
                    <a:pt x="1912" y="822"/>
                    <a:pt x="1910" y="823"/>
                    <a:pt x="1909" y="823"/>
                  </a:cubicBezTo>
                  <a:cubicBezTo>
                    <a:pt x="1910" y="823"/>
                    <a:pt x="1910" y="822"/>
                    <a:pt x="1910" y="822"/>
                  </a:cubicBezTo>
                  <a:cubicBezTo>
                    <a:pt x="1906" y="824"/>
                    <a:pt x="1903" y="829"/>
                    <a:pt x="1899" y="831"/>
                  </a:cubicBezTo>
                  <a:cubicBezTo>
                    <a:pt x="1897" y="833"/>
                    <a:pt x="1895" y="834"/>
                    <a:pt x="1893" y="836"/>
                  </a:cubicBezTo>
                  <a:cubicBezTo>
                    <a:pt x="1891" y="837"/>
                    <a:pt x="1891" y="837"/>
                    <a:pt x="1891" y="839"/>
                  </a:cubicBezTo>
                  <a:cubicBezTo>
                    <a:pt x="1891" y="840"/>
                    <a:pt x="1892" y="841"/>
                    <a:pt x="1892" y="842"/>
                  </a:cubicBezTo>
                  <a:cubicBezTo>
                    <a:pt x="1892" y="842"/>
                    <a:pt x="1893" y="843"/>
                    <a:pt x="1893" y="843"/>
                  </a:cubicBezTo>
                  <a:cubicBezTo>
                    <a:pt x="1893" y="844"/>
                    <a:pt x="1892" y="844"/>
                    <a:pt x="1893" y="845"/>
                  </a:cubicBezTo>
                  <a:cubicBezTo>
                    <a:pt x="1893" y="846"/>
                    <a:pt x="1894" y="847"/>
                    <a:pt x="1896" y="847"/>
                  </a:cubicBezTo>
                  <a:cubicBezTo>
                    <a:pt x="1899" y="848"/>
                    <a:pt x="1902" y="847"/>
                    <a:pt x="1905" y="847"/>
                  </a:cubicBezTo>
                  <a:cubicBezTo>
                    <a:pt x="1906" y="846"/>
                    <a:pt x="1907" y="846"/>
                    <a:pt x="1908" y="846"/>
                  </a:cubicBezTo>
                  <a:cubicBezTo>
                    <a:pt x="1910" y="846"/>
                    <a:pt x="1912" y="846"/>
                    <a:pt x="1914" y="845"/>
                  </a:cubicBezTo>
                  <a:cubicBezTo>
                    <a:pt x="1915" y="844"/>
                    <a:pt x="1914" y="842"/>
                    <a:pt x="1916" y="842"/>
                  </a:cubicBezTo>
                  <a:cubicBezTo>
                    <a:pt x="1916" y="843"/>
                    <a:pt x="1915" y="844"/>
                    <a:pt x="1915" y="845"/>
                  </a:cubicBezTo>
                  <a:cubicBezTo>
                    <a:pt x="1915" y="845"/>
                    <a:pt x="1916" y="845"/>
                    <a:pt x="1916" y="845"/>
                  </a:cubicBezTo>
                  <a:cubicBezTo>
                    <a:pt x="1919" y="845"/>
                    <a:pt x="1922" y="844"/>
                    <a:pt x="1925" y="844"/>
                  </a:cubicBezTo>
                  <a:cubicBezTo>
                    <a:pt x="1925" y="844"/>
                    <a:pt x="1925" y="844"/>
                    <a:pt x="1926" y="844"/>
                  </a:cubicBezTo>
                  <a:cubicBezTo>
                    <a:pt x="1928" y="845"/>
                    <a:pt x="1931" y="845"/>
                    <a:pt x="1934" y="846"/>
                  </a:cubicBezTo>
                  <a:cubicBezTo>
                    <a:pt x="1934" y="846"/>
                    <a:pt x="1935" y="846"/>
                    <a:pt x="1936" y="846"/>
                  </a:cubicBezTo>
                  <a:cubicBezTo>
                    <a:pt x="1938" y="846"/>
                    <a:pt x="1940" y="846"/>
                    <a:pt x="1942" y="846"/>
                  </a:cubicBezTo>
                  <a:cubicBezTo>
                    <a:pt x="1943" y="846"/>
                    <a:pt x="1944" y="846"/>
                    <a:pt x="1945" y="847"/>
                  </a:cubicBezTo>
                  <a:cubicBezTo>
                    <a:pt x="1946" y="847"/>
                    <a:pt x="1947" y="848"/>
                    <a:pt x="1949" y="848"/>
                  </a:cubicBezTo>
                  <a:cubicBezTo>
                    <a:pt x="1950" y="849"/>
                    <a:pt x="1952" y="849"/>
                    <a:pt x="1953" y="848"/>
                  </a:cubicBezTo>
                  <a:cubicBezTo>
                    <a:pt x="1952" y="847"/>
                    <a:pt x="1952" y="847"/>
                    <a:pt x="1952" y="846"/>
                  </a:cubicBezTo>
                  <a:close/>
                  <a:moveTo>
                    <a:pt x="220" y="115"/>
                  </a:moveTo>
                  <a:cubicBezTo>
                    <a:pt x="221" y="115"/>
                    <a:pt x="224" y="112"/>
                    <a:pt x="224" y="111"/>
                  </a:cubicBezTo>
                  <a:cubicBezTo>
                    <a:pt x="224" y="112"/>
                    <a:pt x="221" y="115"/>
                    <a:pt x="220" y="115"/>
                  </a:cubicBezTo>
                  <a:close/>
                  <a:moveTo>
                    <a:pt x="246" y="651"/>
                  </a:moveTo>
                  <a:cubicBezTo>
                    <a:pt x="247" y="651"/>
                    <a:pt x="247" y="651"/>
                    <a:pt x="247" y="651"/>
                  </a:cubicBezTo>
                  <a:cubicBezTo>
                    <a:pt x="247" y="651"/>
                    <a:pt x="247" y="651"/>
                    <a:pt x="247" y="651"/>
                  </a:cubicBezTo>
                  <a:cubicBezTo>
                    <a:pt x="247" y="651"/>
                    <a:pt x="247" y="652"/>
                    <a:pt x="247" y="652"/>
                  </a:cubicBezTo>
                  <a:cubicBezTo>
                    <a:pt x="247" y="652"/>
                    <a:pt x="247" y="652"/>
                    <a:pt x="246" y="651"/>
                  </a:cubicBezTo>
                  <a:close/>
                  <a:moveTo>
                    <a:pt x="276" y="678"/>
                  </a:moveTo>
                  <a:cubicBezTo>
                    <a:pt x="276" y="678"/>
                    <a:pt x="276" y="679"/>
                    <a:pt x="277" y="679"/>
                  </a:cubicBezTo>
                  <a:cubicBezTo>
                    <a:pt x="277" y="679"/>
                    <a:pt x="277" y="679"/>
                    <a:pt x="277" y="679"/>
                  </a:cubicBezTo>
                  <a:cubicBezTo>
                    <a:pt x="277" y="679"/>
                    <a:pt x="277" y="679"/>
                    <a:pt x="277" y="679"/>
                  </a:cubicBezTo>
                  <a:cubicBezTo>
                    <a:pt x="277" y="679"/>
                    <a:pt x="277" y="679"/>
                    <a:pt x="277" y="679"/>
                  </a:cubicBezTo>
                  <a:cubicBezTo>
                    <a:pt x="277" y="679"/>
                    <a:pt x="277" y="679"/>
                    <a:pt x="277" y="679"/>
                  </a:cubicBezTo>
                  <a:cubicBezTo>
                    <a:pt x="276" y="679"/>
                    <a:pt x="276" y="678"/>
                    <a:pt x="276" y="678"/>
                  </a:cubicBezTo>
                  <a:close/>
                  <a:moveTo>
                    <a:pt x="287" y="695"/>
                  </a:moveTo>
                  <a:cubicBezTo>
                    <a:pt x="287" y="695"/>
                    <a:pt x="286" y="694"/>
                    <a:pt x="286" y="694"/>
                  </a:cubicBezTo>
                  <a:cubicBezTo>
                    <a:pt x="286" y="694"/>
                    <a:pt x="286" y="694"/>
                    <a:pt x="286" y="694"/>
                  </a:cubicBezTo>
                  <a:cubicBezTo>
                    <a:pt x="286" y="694"/>
                    <a:pt x="286" y="694"/>
                    <a:pt x="285" y="694"/>
                  </a:cubicBezTo>
                  <a:cubicBezTo>
                    <a:pt x="285" y="694"/>
                    <a:pt x="285" y="694"/>
                    <a:pt x="285" y="694"/>
                  </a:cubicBezTo>
                  <a:cubicBezTo>
                    <a:pt x="285" y="694"/>
                    <a:pt x="285" y="694"/>
                    <a:pt x="285" y="694"/>
                  </a:cubicBezTo>
                  <a:cubicBezTo>
                    <a:pt x="286" y="693"/>
                    <a:pt x="286" y="692"/>
                    <a:pt x="286" y="690"/>
                  </a:cubicBezTo>
                  <a:cubicBezTo>
                    <a:pt x="287" y="690"/>
                    <a:pt x="287" y="691"/>
                    <a:pt x="287" y="691"/>
                  </a:cubicBezTo>
                  <a:cubicBezTo>
                    <a:pt x="287" y="691"/>
                    <a:pt x="287" y="691"/>
                    <a:pt x="287" y="691"/>
                  </a:cubicBezTo>
                  <a:cubicBezTo>
                    <a:pt x="287" y="691"/>
                    <a:pt x="287" y="692"/>
                    <a:pt x="287" y="692"/>
                  </a:cubicBezTo>
                  <a:cubicBezTo>
                    <a:pt x="287" y="693"/>
                    <a:pt x="287" y="693"/>
                    <a:pt x="287" y="695"/>
                  </a:cubicBezTo>
                  <a:cubicBezTo>
                    <a:pt x="287" y="695"/>
                    <a:pt x="287" y="695"/>
                    <a:pt x="287" y="695"/>
                  </a:cubicBezTo>
                  <a:cubicBezTo>
                    <a:pt x="287" y="695"/>
                    <a:pt x="287" y="696"/>
                    <a:pt x="287" y="696"/>
                  </a:cubicBezTo>
                  <a:cubicBezTo>
                    <a:pt x="287" y="696"/>
                    <a:pt x="287" y="696"/>
                    <a:pt x="287" y="695"/>
                  </a:cubicBezTo>
                  <a:close/>
                  <a:moveTo>
                    <a:pt x="297" y="712"/>
                  </a:moveTo>
                  <a:cubicBezTo>
                    <a:pt x="297" y="712"/>
                    <a:pt x="297" y="712"/>
                    <a:pt x="297" y="712"/>
                  </a:cubicBezTo>
                  <a:cubicBezTo>
                    <a:pt x="297" y="712"/>
                    <a:pt x="297" y="712"/>
                    <a:pt x="297" y="712"/>
                  </a:cubicBezTo>
                  <a:cubicBezTo>
                    <a:pt x="296" y="712"/>
                    <a:pt x="296" y="713"/>
                    <a:pt x="295" y="713"/>
                  </a:cubicBezTo>
                  <a:cubicBezTo>
                    <a:pt x="295" y="713"/>
                    <a:pt x="296" y="712"/>
                    <a:pt x="296" y="712"/>
                  </a:cubicBezTo>
                  <a:cubicBezTo>
                    <a:pt x="298" y="710"/>
                    <a:pt x="299" y="710"/>
                    <a:pt x="301" y="708"/>
                  </a:cubicBezTo>
                  <a:cubicBezTo>
                    <a:pt x="301" y="710"/>
                    <a:pt x="298" y="711"/>
                    <a:pt x="297" y="712"/>
                  </a:cubicBezTo>
                  <a:close/>
                  <a:moveTo>
                    <a:pt x="527" y="249"/>
                  </a:moveTo>
                  <a:cubicBezTo>
                    <a:pt x="527" y="249"/>
                    <a:pt x="526" y="249"/>
                    <a:pt x="526" y="250"/>
                  </a:cubicBezTo>
                  <a:cubicBezTo>
                    <a:pt x="526" y="252"/>
                    <a:pt x="525" y="252"/>
                    <a:pt x="527" y="253"/>
                  </a:cubicBezTo>
                  <a:cubicBezTo>
                    <a:pt x="530" y="254"/>
                    <a:pt x="533" y="251"/>
                    <a:pt x="535" y="252"/>
                  </a:cubicBezTo>
                  <a:cubicBezTo>
                    <a:pt x="537" y="253"/>
                    <a:pt x="535" y="256"/>
                    <a:pt x="535" y="256"/>
                  </a:cubicBezTo>
                  <a:cubicBezTo>
                    <a:pt x="534" y="256"/>
                    <a:pt x="532" y="256"/>
                    <a:pt x="531" y="256"/>
                  </a:cubicBezTo>
                  <a:cubicBezTo>
                    <a:pt x="531" y="256"/>
                    <a:pt x="531" y="257"/>
                    <a:pt x="530" y="258"/>
                  </a:cubicBezTo>
                  <a:cubicBezTo>
                    <a:pt x="529" y="258"/>
                    <a:pt x="528" y="258"/>
                    <a:pt x="527" y="258"/>
                  </a:cubicBezTo>
                  <a:cubicBezTo>
                    <a:pt x="526" y="258"/>
                    <a:pt x="525" y="258"/>
                    <a:pt x="524" y="258"/>
                  </a:cubicBezTo>
                  <a:cubicBezTo>
                    <a:pt x="524" y="258"/>
                    <a:pt x="523" y="258"/>
                    <a:pt x="522" y="258"/>
                  </a:cubicBezTo>
                  <a:cubicBezTo>
                    <a:pt x="521" y="258"/>
                    <a:pt x="521" y="258"/>
                    <a:pt x="520" y="258"/>
                  </a:cubicBezTo>
                  <a:cubicBezTo>
                    <a:pt x="519" y="258"/>
                    <a:pt x="520" y="260"/>
                    <a:pt x="518" y="260"/>
                  </a:cubicBezTo>
                  <a:cubicBezTo>
                    <a:pt x="517" y="260"/>
                    <a:pt x="516" y="259"/>
                    <a:pt x="516" y="259"/>
                  </a:cubicBezTo>
                  <a:cubicBezTo>
                    <a:pt x="516" y="259"/>
                    <a:pt x="514" y="257"/>
                    <a:pt x="514" y="257"/>
                  </a:cubicBezTo>
                  <a:cubicBezTo>
                    <a:pt x="513" y="255"/>
                    <a:pt x="511" y="254"/>
                    <a:pt x="509" y="254"/>
                  </a:cubicBezTo>
                  <a:cubicBezTo>
                    <a:pt x="506" y="253"/>
                    <a:pt x="502" y="254"/>
                    <a:pt x="499" y="254"/>
                  </a:cubicBezTo>
                  <a:cubicBezTo>
                    <a:pt x="497" y="254"/>
                    <a:pt x="495" y="253"/>
                    <a:pt x="493" y="254"/>
                  </a:cubicBezTo>
                  <a:cubicBezTo>
                    <a:pt x="489" y="255"/>
                    <a:pt x="491" y="256"/>
                    <a:pt x="494" y="257"/>
                  </a:cubicBezTo>
                  <a:cubicBezTo>
                    <a:pt x="492" y="258"/>
                    <a:pt x="489" y="258"/>
                    <a:pt x="488" y="259"/>
                  </a:cubicBezTo>
                  <a:cubicBezTo>
                    <a:pt x="487" y="261"/>
                    <a:pt x="484" y="260"/>
                    <a:pt x="482" y="260"/>
                  </a:cubicBezTo>
                  <a:cubicBezTo>
                    <a:pt x="485" y="261"/>
                    <a:pt x="486" y="263"/>
                    <a:pt x="488" y="265"/>
                  </a:cubicBezTo>
                  <a:cubicBezTo>
                    <a:pt x="489" y="265"/>
                    <a:pt x="491" y="265"/>
                    <a:pt x="492" y="266"/>
                  </a:cubicBezTo>
                  <a:cubicBezTo>
                    <a:pt x="494" y="267"/>
                    <a:pt x="496" y="269"/>
                    <a:pt x="496" y="271"/>
                  </a:cubicBezTo>
                  <a:cubicBezTo>
                    <a:pt x="494" y="271"/>
                    <a:pt x="492" y="271"/>
                    <a:pt x="490" y="271"/>
                  </a:cubicBezTo>
                  <a:cubicBezTo>
                    <a:pt x="488" y="271"/>
                    <a:pt x="484" y="272"/>
                    <a:pt x="484" y="274"/>
                  </a:cubicBezTo>
                  <a:cubicBezTo>
                    <a:pt x="484" y="274"/>
                    <a:pt x="484" y="274"/>
                    <a:pt x="484" y="274"/>
                  </a:cubicBezTo>
                  <a:cubicBezTo>
                    <a:pt x="480" y="277"/>
                    <a:pt x="475" y="280"/>
                    <a:pt x="470" y="283"/>
                  </a:cubicBezTo>
                  <a:cubicBezTo>
                    <a:pt x="467" y="284"/>
                    <a:pt x="458" y="292"/>
                    <a:pt x="455" y="291"/>
                  </a:cubicBezTo>
                  <a:cubicBezTo>
                    <a:pt x="453" y="290"/>
                    <a:pt x="449" y="289"/>
                    <a:pt x="450" y="286"/>
                  </a:cubicBezTo>
                  <a:cubicBezTo>
                    <a:pt x="450" y="284"/>
                    <a:pt x="453" y="284"/>
                    <a:pt x="454" y="285"/>
                  </a:cubicBezTo>
                  <a:cubicBezTo>
                    <a:pt x="454" y="284"/>
                    <a:pt x="458" y="284"/>
                    <a:pt x="460" y="284"/>
                  </a:cubicBezTo>
                  <a:cubicBezTo>
                    <a:pt x="463" y="282"/>
                    <a:pt x="460" y="282"/>
                    <a:pt x="461" y="280"/>
                  </a:cubicBezTo>
                  <a:cubicBezTo>
                    <a:pt x="462" y="279"/>
                    <a:pt x="465" y="278"/>
                    <a:pt x="466" y="277"/>
                  </a:cubicBezTo>
                  <a:cubicBezTo>
                    <a:pt x="468" y="276"/>
                    <a:pt x="470" y="275"/>
                    <a:pt x="471" y="274"/>
                  </a:cubicBezTo>
                  <a:cubicBezTo>
                    <a:pt x="473" y="273"/>
                    <a:pt x="475" y="270"/>
                    <a:pt x="475" y="269"/>
                  </a:cubicBezTo>
                  <a:cubicBezTo>
                    <a:pt x="476" y="267"/>
                    <a:pt x="476" y="265"/>
                    <a:pt x="475" y="263"/>
                  </a:cubicBezTo>
                  <a:cubicBezTo>
                    <a:pt x="475" y="260"/>
                    <a:pt x="470" y="261"/>
                    <a:pt x="468" y="261"/>
                  </a:cubicBezTo>
                  <a:cubicBezTo>
                    <a:pt x="464" y="260"/>
                    <a:pt x="460" y="264"/>
                    <a:pt x="457" y="266"/>
                  </a:cubicBezTo>
                  <a:cubicBezTo>
                    <a:pt x="455" y="267"/>
                    <a:pt x="453" y="267"/>
                    <a:pt x="451" y="268"/>
                  </a:cubicBezTo>
                  <a:cubicBezTo>
                    <a:pt x="447" y="270"/>
                    <a:pt x="449" y="270"/>
                    <a:pt x="449" y="272"/>
                  </a:cubicBezTo>
                  <a:cubicBezTo>
                    <a:pt x="449" y="273"/>
                    <a:pt x="447" y="273"/>
                    <a:pt x="447" y="274"/>
                  </a:cubicBezTo>
                  <a:cubicBezTo>
                    <a:pt x="447" y="275"/>
                    <a:pt x="448" y="275"/>
                    <a:pt x="447" y="276"/>
                  </a:cubicBezTo>
                  <a:cubicBezTo>
                    <a:pt x="447" y="279"/>
                    <a:pt x="444" y="281"/>
                    <a:pt x="441" y="283"/>
                  </a:cubicBezTo>
                  <a:cubicBezTo>
                    <a:pt x="437" y="286"/>
                    <a:pt x="436" y="285"/>
                    <a:pt x="432" y="284"/>
                  </a:cubicBezTo>
                  <a:cubicBezTo>
                    <a:pt x="430" y="283"/>
                    <a:pt x="428" y="283"/>
                    <a:pt x="426" y="283"/>
                  </a:cubicBezTo>
                  <a:cubicBezTo>
                    <a:pt x="423" y="283"/>
                    <a:pt x="404" y="281"/>
                    <a:pt x="403" y="277"/>
                  </a:cubicBezTo>
                  <a:cubicBezTo>
                    <a:pt x="403" y="275"/>
                    <a:pt x="413" y="276"/>
                    <a:pt x="415" y="275"/>
                  </a:cubicBezTo>
                  <a:cubicBezTo>
                    <a:pt x="416" y="275"/>
                    <a:pt x="419" y="273"/>
                    <a:pt x="420" y="272"/>
                  </a:cubicBezTo>
                  <a:cubicBezTo>
                    <a:pt x="422" y="269"/>
                    <a:pt x="418" y="268"/>
                    <a:pt x="416" y="265"/>
                  </a:cubicBezTo>
                  <a:cubicBezTo>
                    <a:pt x="420" y="266"/>
                    <a:pt x="419" y="264"/>
                    <a:pt x="421" y="262"/>
                  </a:cubicBezTo>
                  <a:cubicBezTo>
                    <a:pt x="422" y="261"/>
                    <a:pt x="425" y="261"/>
                    <a:pt x="427" y="261"/>
                  </a:cubicBezTo>
                  <a:cubicBezTo>
                    <a:pt x="428" y="260"/>
                    <a:pt x="432" y="259"/>
                    <a:pt x="432" y="257"/>
                  </a:cubicBezTo>
                  <a:cubicBezTo>
                    <a:pt x="432" y="255"/>
                    <a:pt x="422" y="249"/>
                    <a:pt x="420" y="247"/>
                  </a:cubicBezTo>
                  <a:cubicBezTo>
                    <a:pt x="425" y="246"/>
                    <a:pt x="429" y="245"/>
                    <a:pt x="433" y="246"/>
                  </a:cubicBezTo>
                  <a:cubicBezTo>
                    <a:pt x="438" y="246"/>
                    <a:pt x="441" y="249"/>
                    <a:pt x="446" y="248"/>
                  </a:cubicBezTo>
                  <a:cubicBezTo>
                    <a:pt x="450" y="248"/>
                    <a:pt x="460" y="245"/>
                    <a:pt x="453" y="241"/>
                  </a:cubicBezTo>
                  <a:cubicBezTo>
                    <a:pt x="445" y="238"/>
                    <a:pt x="439" y="236"/>
                    <a:pt x="430" y="236"/>
                  </a:cubicBezTo>
                  <a:cubicBezTo>
                    <a:pt x="426" y="236"/>
                    <a:pt x="420" y="235"/>
                    <a:pt x="416" y="236"/>
                  </a:cubicBezTo>
                  <a:cubicBezTo>
                    <a:pt x="411" y="237"/>
                    <a:pt x="416" y="237"/>
                    <a:pt x="416" y="239"/>
                  </a:cubicBezTo>
                  <a:cubicBezTo>
                    <a:pt x="416" y="242"/>
                    <a:pt x="409" y="239"/>
                    <a:pt x="407" y="239"/>
                  </a:cubicBezTo>
                  <a:cubicBezTo>
                    <a:pt x="405" y="239"/>
                    <a:pt x="403" y="240"/>
                    <a:pt x="401" y="240"/>
                  </a:cubicBezTo>
                  <a:cubicBezTo>
                    <a:pt x="397" y="241"/>
                    <a:pt x="393" y="240"/>
                    <a:pt x="389" y="239"/>
                  </a:cubicBezTo>
                  <a:cubicBezTo>
                    <a:pt x="386" y="239"/>
                    <a:pt x="384" y="239"/>
                    <a:pt x="381" y="240"/>
                  </a:cubicBezTo>
                  <a:cubicBezTo>
                    <a:pt x="380" y="240"/>
                    <a:pt x="378" y="239"/>
                    <a:pt x="378" y="240"/>
                  </a:cubicBezTo>
                  <a:cubicBezTo>
                    <a:pt x="377" y="242"/>
                    <a:pt x="379" y="241"/>
                    <a:pt x="379" y="242"/>
                  </a:cubicBezTo>
                  <a:cubicBezTo>
                    <a:pt x="378" y="245"/>
                    <a:pt x="377" y="243"/>
                    <a:pt x="376" y="244"/>
                  </a:cubicBezTo>
                  <a:cubicBezTo>
                    <a:pt x="374" y="244"/>
                    <a:pt x="374" y="244"/>
                    <a:pt x="373" y="246"/>
                  </a:cubicBezTo>
                  <a:cubicBezTo>
                    <a:pt x="372" y="248"/>
                    <a:pt x="374" y="249"/>
                    <a:pt x="371" y="248"/>
                  </a:cubicBezTo>
                  <a:cubicBezTo>
                    <a:pt x="371" y="248"/>
                    <a:pt x="370" y="246"/>
                    <a:pt x="370" y="246"/>
                  </a:cubicBezTo>
                  <a:cubicBezTo>
                    <a:pt x="368" y="244"/>
                    <a:pt x="366" y="241"/>
                    <a:pt x="366" y="239"/>
                  </a:cubicBezTo>
                  <a:cubicBezTo>
                    <a:pt x="366" y="237"/>
                    <a:pt x="368" y="234"/>
                    <a:pt x="370" y="234"/>
                  </a:cubicBezTo>
                  <a:cubicBezTo>
                    <a:pt x="370" y="234"/>
                    <a:pt x="371" y="236"/>
                    <a:pt x="372" y="236"/>
                  </a:cubicBezTo>
                  <a:cubicBezTo>
                    <a:pt x="373" y="236"/>
                    <a:pt x="374" y="234"/>
                    <a:pt x="375" y="234"/>
                  </a:cubicBezTo>
                  <a:cubicBezTo>
                    <a:pt x="377" y="234"/>
                    <a:pt x="379" y="236"/>
                    <a:pt x="381" y="235"/>
                  </a:cubicBezTo>
                  <a:cubicBezTo>
                    <a:pt x="383" y="235"/>
                    <a:pt x="383" y="232"/>
                    <a:pt x="386" y="232"/>
                  </a:cubicBezTo>
                  <a:cubicBezTo>
                    <a:pt x="388" y="231"/>
                    <a:pt x="390" y="234"/>
                    <a:pt x="392" y="233"/>
                  </a:cubicBezTo>
                  <a:cubicBezTo>
                    <a:pt x="394" y="233"/>
                    <a:pt x="395" y="231"/>
                    <a:pt x="396" y="231"/>
                  </a:cubicBezTo>
                  <a:cubicBezTo>
                    <a:pt x="398" y="230"/>
                    <a:pt x="400" y="230"/>
                    <a:pt x="401" y="230"/>
                  </a:cubicBezTo>
                  <a:cubicBezTo>
                    <a:pt x="404" y="229"/>
                    <a:pt x="410" y="228"/>
                    <a:pt x="411" y="225"/>
                  </a:cubicBezTo>
                  <a:cubicBezTo>
                    <a:pt x="411" y="228"/>
                    <a:pt x="412" y="228"/>
                    <a:pt x="414" y="227"/>
                  </a:cubicBezTo>
                  <a:cubicBezTo>
                    <a:pt x="415" y="227"/>
                    <a:pt x="415" y="228"/>
                    <a:pt x="416" y="227"/>
                  </a:cubicBezTo>
                  <a:cubicBezTo>
                    <a:pt x="416" y="227"/>
                    <a:pt x="416" y="225"/>
                    <a:pt x="417" y="225"/>
                  </a:cubicBezTo>
                  <a:cubicBezTo>
                    <a:pt x="420" y="223"/>
                    <a:pt x="424" y="227"/>
                    <a:pt x="426" y="223"/>
                  </a:cubicBezTo>
                  <a:cubicBezTo>
                    <a:pt x="427" y="224"/>
                    <a:pt x="427" y="222"/>
                    <a:pt x="428" y="223"/>
                  </a:cubicBezTo>
                  <a:cubicBezTo>
                    <a:pt x="429" y="223"/>
                    <a:pt x="429" y="224"/>
                    <a:pt x="431" y="224"/>
                  </a:cubicBezTo>
                  <a:cubicBezTo>
                    <a:pt x="431" y="224"/>
                    <a:pt x="433" y="223"/>
                    <a:pt x="434" y="223"/>
                  </a:cubicBezTo>
                  <a:cubicBezTo>
                    <a:pt x="435" y="222"/>
                    <a:pt x="436" y="222"/>
                    <a:pt x="437" y="222"/>
                  </a:cubicBezTo>
                  <a:cubicBezTo>
                    <a:pt x="439" y="221"/>
                    <a:pt x="441" y="220"/>
                    <a:pt x="443" y="219"/>
                  </a:cubicBezTo>
                  <a:cubicBezTo>
                    <a:pt x="445" y="219"/>
                    <a:pt x="448" y="219"/>
                    <a:pt x="450" y="218"/>
                  </a:cubicBezTo>
                  <a:cubicBezTo>
                    <a:pt x="450" y="218"/>
                    <a:pt x="450" y="216"/>
                    <a:pt x="451" y="216"/>
                  </a:cubicBezTo>
                  <a:cubicBezTo>
                    <a:pt x="451" y="216"/>
                    <a:pt x="452" y="216"/>
                    <a:pt x="452" y="216"/>
                  </a:cubicBezTo>
                  <a:cubicBezTo>
                    <a:pt x="453" y="215"/>
                    <a:pt x="454" y="215"/>
                    <a:pt x="455" y="215"/>
                  </a:cubicBezTo>
                  <a:cubicBezTo>
                    <a:pt x="458" y="212"/>
                    <a:pt x="457" y="213"/>
                    <a:pt x="461" y="213"/>
                  </a:cubicBezTo>
                  <a:cubicBezTo>
                    <a:pt x="465" y="213"/>
                    <a:pt x="470" y="210"/>
                    <a:pt x="474" y="209"/>
                  </a:cubicBezTo>
                  <a:cubicBezTo>
                    <a:pt x="476" y="209"/>
                    <a:pt x="478" y="208"/>
                    <a:pt x="480" y="207"/>
                  </a:cubicBezTo>
                  <a:cubicBezTo>
                    <a:pt x="484" y="206"/>
                    <a:pt x="484" y="206"/>
                    <a:pt x="484" y="203"/>
                  </a:cubicBezTo>
                  <a:cubicBezTo>
                    <a:pt x="484" y="204"/>
                    <a:pt x="484" y="205"/>
                    <a:pt x="484" y="205"/>
                  </a:cubicBezTo>
                  <a:cubicBezTo>
                    <a:pt x="484" y="208"/>
                    <a:pt x="505" y="211"/>
                    <a:pt x="509" y="212"/>
                  </a:cubicBezTo>
                  <a:cubicBezTo>
                    <a:pt x="506" y="213"/>
                    <a:pt x="503" y="213"/>
                    <a:pt x="500" y="215"/>
                  </a:cubicBezTo>
                  <a:cubicBezTo>
                    <a:pt x="498" y="215"/>
                    <a:pt x="497" y="217"/>
                    <a:pt x="495" y="217"/>
                  </a:cubicBezTo>
                  <a:cubicBezTo>
                    <a:pt x="494" y="218"/>
                    <a:pt x="492" y="217"/>
                    <a:pt x="492" y="218"/>
                  </a:cubicBezTo>
                  <a:cubicBezTo>
                    <a:pt x="490" y="218"/>
                    <a:pt x="489" y="219"/>
                    <a:pt x="487" y="220"/>
                  </a:cubicBezTo>
                  <a:cubicBezTo>
                    <a:pt x="486" y="220"/>
                    <a:pt x="485" y="220"/>
                    <a:pt x="483" y="221"/>
                  </a:cubicBezTo>
                  <a:cubicBezTo>
                    <a:pt x="482" y="222"/>
                    <a:pt x="481" y="224"/>
                    <a:pt x="480" y="224"/>
                  </a:cubicBezTo>
                  <a:cubicBezTo>
                    <a:pt x="477" y="225"/>
                    <a:pt x="474" y="228"/>
                    <a:pt x="478" y="228"/>
                  </a:cubicBezTo>
                  <a:cubicBezTo>
                    <a:pt x="477" y="229"/>
                    <a:pt x="476" y="230"/>
                    <a:pt x="475" y="231"/>
                  </a:cubicBezTo>
                  <a:cubicBezTo>
                    <a:pt x="476" y="231"/>
                    <a:pt x="478" y="231"/>
                    <a:pt x="479" y="231"/>
                  </a:cubicBezTo>
                  <a:cubicBezTo>
                    <a:pt x="481" y="231"/>
                    <a:pt x="481" y="230"/>
                    <a:pt x="483" y="231"/>
                  </a:cubicBezTo>
                  <a:cubicBezTo>
                    <a:pt x="486" y="232"/>
                    <a:pt x="486" y="233"/>
                    <a:pt x="489" y="233"/>
                  </a:cubicBezTo>
                  <a:cubicBezTo>
                    <a:pt x="491" y="233"/>
                    <a:pt x="491" y="231"/>
                    <a:pt x="493" y="233"/>
                  </a:cubicBezTo>
                  <a:cubicBezTo>
                    <a:pt x="492" y="232"/>
                    <a:pt x="491" y="233"/>
                    <a:pt x="490" y="234"/>
                  </a:cubicBezTo>
                  <a:cubicBezTo>
                    <a:pt x="492" y="234"/>
                    <a:pt x="494" y="234"/>
                    <a:pt x="496" y="234"/>
                  </a:cubicBezTo>
                  <a:cubicBezTo>
                    <a:pt x="496" y="234"/>
                    <a:pt x="495" y="233"/>
                    <a:pt x="495" y="233"/>
                  </a:cubicBezTo>
                  <a:cubicBezTo>
                    <a:pt x="501" y="232"/>
                    <a:pt x="506" y="235"/>
                    <a:pt x="512" y="234"/>
                  </a:cubicBezTo>
                  <a:cubicBezTo>
                    <a:pt x="514" y="233"/>
                    <a:pt x="517" y="233"/>
                    <a:pt x="520" y="232"/>
                  </a:cubicBezTo>
                  <a:cubicBezTo>
                    <a:pt x="523" y="231"/>
                    <a:pt x="525" y="230"/>
                    <a:pt x="527" y="227"/>
                  </a:cubicBezTo>
                  <a:cubicBezTo>
                    <a:pt x="526" y="228"/>
                    <a:pt x="525" y="228"/>
                    <a:pt x="525" y="229"/>
                  </a:cubicBezTo>
                  <a:cubicBezTo>
                    <a:pt x="528" y="223"/>
                    <a:pt x="533" y="221"/>
                    <a:pt x="540" y="220"/>
                  </a:cubicBezTo>
                  <a:cubicBezTo>
                    <a:pt x="540" y="222"/>
                    <a:pt x="539" y="222"/>
                    <a:pt x="537" y="224"/>
                  </a:cubicBezTo>
                  <a:cubicBezTo>
                    <a:pt x="537" y="224"/>
                    <a:pt x="536" y="226"/>
                    <a:pt x="536" y="226"/>
                  </a:cubicBezTo>
                  <a:cubicBezTo>
                    <a:pt x="535" y="227"/>
                    <a:pt x="533" y="228"/>
                    <a:pt x="534" y="230"/>
                  </a:cubicBezTo>
                  <a:cubicBezTo>
                    <a:pt x="537" y="229"/>
                    <a:pt x="540" y="228"/>
                    <a:pt x="543" y="229"/>
                  </a:cubicBezTo>
                  <a:cubicBezTo>
                    <a:pt x="540" y="229"/>
                    <a:pt x="541" y="233"/>
                    <a:pt x="539" y="236"/>
                  </a:cubicBezTo>
                  <a:cubicBezTo>
                    <a:pt x="538" y="238"/>
                    <a:pt x="536" y="240"/>
                    <a:pt x="536" y="242"/>
                  </a:cubicBezTo>
                  <a:cubicBezTo>
                    <a:pt x="536" y="246"/>
                    <a:pt x="534" y="243"/>
                    <a:pt x="531" y="244"/>
                  </a:cubicBezTo>
                  <a:cubicBezTo>
                    <a:pt x="528" y="245"/>
                    <a:pt x="528" y="246"/>
                    <a:pt x="527" y="248"/>
                  </a:cubicBezTo>
                  <a:cubicBezTo>
                    <a:pt x="527" y="248"/>
                    <a:pt x="528" y="249"/>
                    <a:pt x="527" y="249"/>
                  </a:cubicBezTo>
                  <a:close/>
                  <a:moveTo>
                    <a:pt x="733" y="373"/>
                  </a:moveTo>
                  <a:cubicBezTo>
                    <a:pt x="732" y="369"/>
                    <a:pt x="734" y="369"/>
                    <a:pt x="730" y="367"/>
                  </a:cubicBezTo>
                  <a:cubicBezTo>
                    <a:pt x="728" y="367"/>
                    <a:pt x="726" y="367"/>
                    <a:pt x="724" y="366"/>
                  </a:cubicBezTo>
                  <a:cubicBezTo>
                    <a:pt x="719" y="365"/>
                    <a:pt x="716" y="364"/>
                    <a:pt x="711" y="364"/>
                  </a:cubicBezTo>
                  <a:cubicBezTo>
                    <a:pt x="709" y="364"/>
                    <a:pt x="707" y="364"/>
                    <a:pt x="705" y="364"/>
                  </a:cubicBezTo>
                  <a:cubicBezTo>
                    <a:pt x="701" y="364"/>
                    <a:pt x="698" y="365"/>
                    <a:pt x="694" y="367"/>
                  </a:cubicBezTo>
                  <a:cubicBezTo>
                    <a:pt x="688" y="370"/>
                    <a:pt x="679" y="372"/>
                    <a:pt x="678" y="381"/>
                  </a:cubicBezTo>
                  <a:cubicBezTo>
                    <a:pt x="683" y="378"/>
                    <a:pt x="689" y="372"/>
                    <a:pt x="695" y="370"/>
                  </a:cubicBezTo>
                  <a:cubicBezTo>
                    <a:pt x="696" y="370"/>
                    <a:pt x="705" y="370"/>
                    <a:pt x="705" y="370"/>
                  </a:cubicBezTo>
                  <a:cubicBezTo>
                    <a:pt x="706" y="367"/>
                    <a:pt x="703" y="365"/>
                    <a:pt x="707" y="366"/>
                  </a:cubicBezTo>
                  <a:cubicBezTo>
                    <a:pt x="710" y="366"/>
                    <a:pt x="711" y="366"/>
                    <a:pt x="714" y="366"/>
                  </a:cubicBezTo>
                  <a:cubicBezTo>
                    <a:pt x="717" y="366"/>
                    <a:pt x="719" y="367"/>
                    <a:pt x="722" y="368"/>
                  </a:cubicBezTo>
                  <a:cubicBezTo>
                    <a:pt x="717" y="368"/>
                    <a:pt x="713" y="367"/>
                    <a:pt x="708" y="367"/>
                  </a:cubicBezTo>
                  <a:cubicBezTo>
                    <a:pt x="712" y="372"/>
                    <a:pt x="719" y="367"/>
                    <a:pt x="724" y="370"/>
                  </a:cubicBezTo>
                  <a:cubicBezTo>
                    <a:pt x="718" y="372"/>
                    <a:pt x="712" y="372"/>
                    <a:pt x="707" y="374"/>
                  </a:cubicBezTo>
                  <a:cubicBezTo>
                    <a:pt x="704" y="375"/>
                    <a:pt x="702" y="374"/>
                    <a:pt x="699" y="374"/>
                  </a:cubicBezTo>
                  <a:cubicBezTo>
                    <a:pt x="703" y="377"/>
                    <a:pt x="705" y="374"/>
                    <a:pt x="709" y="374"/>
                  </a:cubicBezTo>
                  <a:cubicBezTo>
                    <a:pt x="707" y="376"/>
                    <a:pt x="706" y="376"/>
                    <a:pt x="705" y="377"/>
                  </a:cubicBezTo>
                  <a:cubicBezTo>
                    <a:pt x="706" y="377"/>
                    <a:pt x="707" y="376"/>
                    <a:pt x="708" y="375"/>
                  </a:cubicBezTo>
                  <a:cubicBezTo>
                    <a:pt x="710" y="375"/>
                    <a:pt x="711" y="376"/>
                    <a:pt x="711" y="376"/>
                  </a:cubicBezTo>
                  <a:cubicBezTo>
                    <a:pt x="714" y="376"/>
                    <a:pt x="717" y="373"/>
                    <a:pt x="720" y="374"/>
                  </a:cubicBezTo>
                  <a:cubicBezTo>
                    <a:pt x="714" y="378"/>
                    <a:pt x="709" y="382"/>
                    <a:pt x="702" y="380"/>
                  </a:cubicBezTo>
                  <a:cubicBezTo>
                    <a:pt x="702" y="380"/>
                    <a:pt x="695" y="379"/>
                    <a:pt x="694" y="380"/>
                  </a:cubicBezTo>
                  <a:cubicBezTo>
                    <a:pt x="691" y="380"/>
                    <a:pt x="687" y="385"/>
                    <a:pt x="685" y="387"/>
                  </a:cubicBezTo>
                  <a:cubicBezTo>
                    <a:pt x="682" y="389"/>
                    <a:pt x="679" y="391"/>
                    <a:pt x="677" y="393"/>
                  </a:cubicBezTo>
                  <a:cubicBezTo>
                    <a:pt x="677" y="392"/>
                    <a:pt x="682" y="391"/>
                    <a:pt x="682" y="391"/>
                  </a:cubicBezTo>
                  <a:cubicBezTo>
                    <a:pt x="683" y="392"/>
                    <a:pt x="680" y="394"/>
                    <a:pt x="679" y="395"/>
                  </a:cubicBezTo>
                  <a:cubicBezTo>
                    <a:pt x="676" y="398"/>
                    <a:pt x="671" y="402"/>
                    <a:pt x="667" y="404"/>
                  </a:cubicBezTo>
                  <a:cubicBezTo>
                    <a:pt x="665" y="406"/>
                    <a:pt x="665" y="408"/>
                    <a:pt x="663" y="409"/>
                  </a:cubicBezTo>
                  <a:cubicBezTo>
                    <a:pt x="657" y="412"/>
                    <a:pt x="652" y="413"/>
                    <a:pt x="645" y="412"/>
                  </a:cubicBezTo>
                  <a:cubicBezTo>
                    <a:pt x="642" y="412"/>
                    <a:pt x="639" y="413"/>
                    <a:pt x="636" y="416"/>
                  </a:cubicBezTo>
                  <a:cubicBezTo>
                    <a:pt x="634" y="418"/>
                    <a:pt x="632" y="419"/>
                    <a:pt x="631" y="422"/>
                  </a:cubicBezTo>
                  <a:cubicBezTo>
                    <a:pt x="630" y="422"/>
                    <a:pt x="632" y="423"/>
                    <a:pt x="630" y="424"/>
                  </a:cubicBezTo>
                  <a:cubicBezTo>
                    <a:pt x="634" y="422"/>
                    <a:pt x="632" y="429"/>
                    <a:pt x="629" y="429"/>
                  </a:cubicBezTo>
                  <a:cubicBezTo>
                    <a:pt x="621" y="430"/>
                    <a:pt x="613" y="432"/>
                    <a:pt x="605" y="433"/>
                  </a:cubicBezTo>
                  <a:cubicBezTo>
                    <a:pt x="599" y="434"/>
                    <a:pt x="592" y="436"/>
                    <a:pt x="586" y="435"/>
                  </a:cubicBezTo>
                  <a:cubicBezTo>
                    <a:pt x="582" y="434"/>
                    <a:pt x="579" y="435"/>
                    <a:pt x="575" y="434"/>
                  </a:cubicBezTo>
                  <a:cubicBezTo>
                    <a:pt x="573" y="433"/>
                    <a:pt x="572" y="433"/>
                    <a:pt x="570" y="432"/>
                  </a:cubicBezTo>
                  <a:cubicBezTo>
                    <a:pt x="568" y="431"/>
                    <a:pt x="567" y="430"/>
                    <a:pt x="566" y="429"/>
                  </a:cubicBezTo>
                  <a:cubicBezTo>
                    <a:pt x="561" y="427"/>
                    <a:pt x="555" y="429"/>
                    <a:pt x="550" y="427"/>
                  </a:cubicBezTo>
                  <a:cubicBezTo>
                    <a:pt x="548" y="426"/>
                    <a:pt x="545" y="424"/>
                    <a:pt x="544" y="423"/>
                  </a:cubicBezTo>
                  <a:cubicBezTo>
                    <a:pt x="543" y="422"/>
                    <a:pt x="543" y="421"/>
                    <a:pt x="542" y="420"/>
                  </a:cubicBezTo>
                  <a:cubicBezTo>
                    <a:pt x="541" y="420"/>
                    <a:pt x="539" y="419"/>
                    <a:pt x="538" y="419"/>
                  </a:cubicBezTo>
                  <a:cubicBezTo>
                    <a:pt x="540" y="419"/>
                    <a:pt x="542" y="419"/>
                    <a:pt x="544" y="420"/>
                  </a:cubicBezTo>
                  <a:cubicBezTo>
                    <a:pt x="549" y="420"/>
                    <a:pt x="556" y="422"/>
                    <a:pt x="561" y="422"/>
                  </a:cubicBezTo>
                  <a:cubicBezTo>
                    <a:pt x="555" y="415"/>
                    <a:pt x="568" y="419"/>
                    <a:pt x="571" y="420"/>
                  </a:cubicBezTo>
                  <a:cubicBezTo>
                    <a:pt x="574" y="420"/>
                    <a:pt x="578" y="422"/>
                    <a:pt x="579" y="420"/>
                  </a:cubicBezTo>
                  <a:cubicBezTo>
                    <a:pt x="582" y="418"/>
                    <a:pt x="579" y="417"/>
                    <a:pt x="576" y="416"/>
                  </a:cubicBezTo>
                  <a:cubicBezTo>
                    <a:pt x="577" y="416"/>
                    <a:pt x="578" y="415"/>
                    <a:pt x="579" y="415"/>
                  </a:cubicBezTo>
                  <a:cubicBezTo>
                    <a:pt x="579" y="414"/>
                    <a:pt x="581" y="415"/>
                    <a:pt x="582" y="415"/>
                  </a:cubicBezTo>
                  <a:cubicBezTo>
                    <a:pt x="585" y="414"/>
                    <a:pt x="583" y="413"/>
                    <a:pt x="583" y="411"/>
                  </a:cubicBezTo>
                  <a:cubicBezTo>
                    <a:pt x="583" y="410"/>
                    <a:pt x="585" y="408"/>
                    <a:pt x="585" y="408"/>
                  </a:cubicBezTo>
                  <a:cubicBezTo>
                    <a:pt x="586" y="406"/>
                    <a:pt x="587" y="406"/>
                    <a:pt x="588" y="405"/>
                  </a:cubicBezTo>
                  <a:cubicBezTo>
                    <a:pt x="586" y="403"/>
                    <a:pt x="589" y="402"/>
                    <a:pt x="591" y="402"/>
                  </a:cubicBezTo>
                  <a:cubicBezTo>
                    <a:pt x="593" y="402"/>
                    <a:pt x="595" y="402"/>
                    <a:pt x="598" y="403"/>
                  </a:cubicBezTo>
                  <a:cubicBezTo>
                    <a:pt x="600" y="404"/>
                    <a:pt x="606" y="402"/>
                    <a:pt x="608" y="400"/>
                  </a:cubicBezTo>
                  <a:cubicBezTo>
                    <a:pt x="608" y="400"/>
                    <a:pt x="607" y="400"/>
                    <a:pt x="607" y="399"/>
                  </a:cubicBezTo>
                  <a:cubicBezTo>
                    <a:pt x="610" y="399"/>
                    <a:pt x="608" y="399"/>
                    <a:pt x="608" y="398"/>
                  </a:cubicBezTo>
                  <a:cubicBezTo>
                    <a:pt x="608" y="395"/>
                    <a:pt x="609" y="397"/>
                    <a:pt x="606" y="395"/>
                  </a:cubicBezTo>
                  <a:cubicBezTo>
                    <a:pt x="606" y="395"/>
                    <a:pt x="605" y="394"/>
                    <a:pt x="605" y="393"/>
                  </a:cubicBezTo>
                  <a:cubicBezTo>
                    <a:pt x="604" y="392"/>
                    <a:pt x="602" y="392"/>
                    <a:pt x="601" y="391"/>
                  </a:cubicBezTo>
                  <a:cubicBezTo>
                    <a:pt x="598" y="389"/>
                    <a:pt x="600" y="388"/>
                    <a:pt x="598" y="386"/>
                  </a:cubicBezTo>
                  <a:cubicBezTo>
                    <a:pt x="595" y="384"/>
                    <a:pt x="591" y="387"/>
                    <a:pt x="595" y="383"/>
                  </a:cubicBezTo>
                  <a:cubicBezTo>
                    <a:pt x="592" y="382"/>
                    <a:pt x="594" y="380"/>
                    <a:pt x="594" y="378"/>
                  </a:cubicBezTo>
                  <a:cubicBezTo>
                    <a:pt x="594" y="377"/>
                    <a:pt x="595" y="377"/>
                    <a:pt x="594" y="376"/>
                  </a:cubicBezTo>
                  <a:cubicBezTo>
                    <a:pt x="592" y="376"/>
                    <a:pt x="591" y="377"/>
                    <a:pt x="590" y="377"/>
                  </a:cubicBezTo>
                  <a:cubicBezTo>
                    <a:pt x="588" y="377"/>
                    <a:pt x="585" y="377"/>
                    <a:pt x="584" y="376"/>
                  </a:cubicBezTo>
                  <a:cubicBezTo>
                    <a:pt x="584" y="376"/>
                    <a:pt x="583" y="374"/>
                    <a:pt x="583" y="374"/>
                  </a:cubicBezTo>
                  <a:cubicBezTo>
                    <a:pt x="583" y="375"/>
                    <a:pt x="581" y="372"/>
                    <a:pt x="582" y="372"/>
                  </a:cubicBezTo>
                  <a:cubicBezTo>
                    <a:pt x="581" y="371"/>
                    <a:pt x="576" y="370"/>
                    <a:pt x="576" y="368"/>
                  </a:cubicBezTo>
                  <a:cubicBezTo>
                    <a:pt x="576" y="366"/>
                    <a:pt x="579" y="366"/>
                    <a:pt x="580" y="367"/>
                  </a:cubicBezTo>
                  <a:cubicBezTo>
                    <a:pt x="582" y="368"/>
                    <a:pt x="584" y="370"/>
                    <a:pt x="586" y="370"/>
                  </a:cubicBezTo>
                  <a:cubicBezTo>
                    <a:pt x="588" y="371"/>
                    <a:pt x="590" y="371"/>
                    <a:pt x="592" y="372"/>
                  </a:cubicBezTo>
                  <a:cubicBezTo>
                    <a:pt x="595" y="372"/>
                    <a:pt x="595" y="373"/>
                    <a:pt x="597" y="375"/>
                  </a:cubicBezTo>
                  <a:cubicBezTo>
                    <a:pt x="598" y="377"/>
                    <a:pt x="600" y="376"/>
                    <a:pt x="602" y="377"/>
                  </a:cubicBezTo>
                  <a:cubicBezTo>
                    <a:pt x="606" y="378"/>
                    <a:pt x="608" y="382"/>
                    <a:pt x="612" y="381"/>
                  </a:cubicBezTo>
                  <a:cubicBezTo>
                    <a:pt x="613" y="380"/>
                    <a:pt x="616" y="379"/>
                    <a:pt x="617" y="379"/>
                  </a:cubicBezTo>
                  <a:cubicBezTo>
                    <a:pt x="619" y="379"/>
                    <a:pt x="619" y="383"/>
                    <a:pt x="621" y="384"/>
                  </a:cubicBezTo>
                  <a:cubicBezTo>
                    <a:pt x="621" y="384"/>
                    <a:pt x="623" y="384"/>
                    <a:pt x="623" y="384"/>
                  </a:cubicBezTo>
                  <a:cubicBezTo>
                    <a:pt x="624" y="385"/>
                    <a:pt x="625" y="385"/>
                    <a:pt x="625" y="386"/>
                  </a:cubicBezTo>
                  <a:cubicBezTo>
                    <a:pt x="626" y="386"/>
                    <a:pt x="626" y="387"/>
                    <a:pt x="627" y="388"/>
                  </a:cubicBezTo>
                  <a:cubicBezTo>
                    <a:pt x="628" y="389"/>
                    <a:pt x="629" y="388"/>
                    <a:pt x="630" y="389"/>
                  </a:cubicBezTo>
                  <a:cubicBezTo>
                    <a:pt x="631" y="390"/>
                    <a:pt x="631" y="390"/>
                    <a:pt x="633" y="391"/>
                  </a:cubicBezTo>
                  <a:cubicBezTo>
                    <a:pt x="633" y="392"/>
                    <a:pt x="635" y="393"/>
                    <a:pt x="635" y="393"/>
                  </a:cubicBezTo>
                  <a:cubicBezTo>
                    <a:pt x="636" y="393"/>
                    <a:pt x="637" y="393"/>
                    <a:pt x="638" y="393"/>
                  </a:cubicBezTo>
                  <a:cubicBezTo>
                    <a:pt x="638" y="393"/>
                    <a:pt x="639" y="394"/>
                    <a:pt x="639" y="394"/>
                  </a:cubicBezTo>
                  <a:cubicBezTo>
                    <a:pt x="641" y="394"/>
                    <a:pt x="642" y="393"/>
                    <a:pt x="644" y="393"/>
                  </a:cubicBezTo>
                  <a:cubicBezTo>
                    <a:pt x="645" y="393"/>
                    <a:pt x="645" y="394"/>
                    <a:pt x="646" y="393"/>
                  </a:cubicBezTo>
                  <a:cubicBezTo>
                    <a:pt x="647" y="393"/>
                    <a:pt x="647" y="392"/>
                    <a:pt x="648" y="392"/>
                  </a:cubicBezTo>
                  <a:cubicBezTo>
                    <a:pt x="649" y="391"/>
                    <a:pt x="649" y="392"/>
                    <a:pt x="651" y="393"/>
                  </a:cubicBezTo>
                  <a:cubicBezTo>
                    <a:pt x="651" y="393"/>
                    <a:pt x="652" y="392"/>
                    <a:pt x="653" y="392"/>
                  </a:cubicBezTo>
                  <a:cubicBezTo>
                    <a:pt x="655" y="391"/>
                    <a:pt x="658" y="392"/>
                    <a:pt x="660" y="391"/>
                  </a:cubicBezTo>
                  <a:cubicBezTo>
                    <a:pt x="663" y="390"/>
                    <a:pt x="666" y="387"/>
                    <a:pt x="668" y="385"/>
                  </a:cubicBezTo>
                  <a:cubicBezTo>
                    <a:pt x="670" y="384"/>
                    <a:pt x="671" y="383"/>
                    <a:pt x="672" y="382"/>
                  </a:cubicBezTo>
                  <a:cubicBezTo>
                    <a:pt x="673" y="381"/>
                    <a:pt x="676" y="381"/>
                    <a:pt x="677" y="380"/>
                  </a:cubicBezTo>
                  <a:cubicBezTo>
                    <a:pt x="678" y="379"/>
                    <a:pt x="678" y="377"/>
                    <a:pt x="679" y="375"/>
                  </a:cubicBezTo>
                  <a:cubicBezTo>
                    <a:pt x="680" y="373"/>
                    <a:pt x="681" y="373"/>
                    <a:pt x="682" y="371"/>
                  </a:cubicBezTo>
                  <a:cubicBezTo>
                    <a:pt x="685" y="365"/>
                    <a:pt x="694" y="362"/>
                    <a:pt x="700" y="361"/>
                  </a:cubicBezTo>
                  <a:cubicBezTo>
                    <a:pt x="707" y="359"/>
                    <a:pt x="715" y="360"/>
                    <a:pt x="722" y="361"/>
                  </a:cubicBezTo>
                  <a:cubicBezTo>
                    <a:pt x="724" y="361"/>
                    <a:pt x="725" y="362"/>
                    <a:pt x="727" y="362"/>
                  </a:cubicBezTo>
                  <a:cubicBezTo>
                    <a:pt x="729" y="363"/>
                    <a:pt x="731" y="363"/>
                    <a:pt x="733" y="363"/>
                  </a:cubicBezTo>
                  <a:cubicBezTo>
                    <a:pt x="736" y="363"/>
                    <a:pt x="739" y="366"/>
                    <a:pt x="742" y="365"/>
                  </a:cubicBezTo>
                  <a:cubicBezTo>
                    <a:pt x="739" y="368"/>
                    <a:pt x="736" y="370"/>
                    <a:pt x="733" y="373"/>
                  </a:cubicBezTo>
                  <a:close/>
                  <a:moveTo>
                    <a:pt x="988" y="663"/>
                  </a:moveTo>
                  <a:cubicBezTo>
                    <a:pt x="990" y="658"/>
                    <a:pt x="992" y="654"/>
                    <a:pt x="994" y="650"/>
                  </a:cubicBezTo>
                  <a:cubicBezTo>
                    <a:pt x="997" y="652"/>
                    <a:pt x="996" y="653"/>
                    <a:pt x="997" y="654"/>
                  </a:cubicBezTo>
                  <a:cubicBezTo>
                    <a:pt x="997" y="654"/>
                    <a:pt x="999" y="653"/>
                    <a:pt x="1000" y="654"/>
                  </a:cubicBezTo>
                  <a:cubicBezTo>
                    <a:pt x="997" y="657"/>
                    <a:pt x="992" y="656"/>
                    <a:pt x="991" y="659"/>
                  </a:cubicBezTo>
                  <a:cubicBezTo>
                    <a:pt x="991" y="660"/>
                    <a:pt x="991" y="661"/>
                    <a:pt x="991" y="662"/>
                  </a:cubicBezTo>
                  <a:cubicBezTo>
                    <a:pt x="991" y="663"/>
                    <a:pt x="988" y="664"/>
                    <a:pt x="992" y="665"/>
                  </a:cubicBezTo>
                  <a:cubicBezTo>
                    <a:pt x="993" y="665"/>
                    <a:pt x="993" y="665"/>
                    <a:pt x="995" y="664"/>
                  </a:cubicBezTo>
                  <a:cubicBezTo>
                    <a:pt x="995" y="663"/>
                    <a:pt x="996" y="663"/>
                    <a:pt x="997" y="662"/>
                  </a:cubicBezTo>
                  <a:cubicBezTo>
                    <a:pt x="998" y="662"/>
                    <a:pt x="998" y="663"/>
                    <a:pt x="999" y="663"/>
                  </a:cubicBezTo>
                  <a:cubicBezTo>
                    <a:pt x="1000" y="662"/>
                    <a:pt x="1000" y="661"/>
                    <a:pt x="1001" y="661"/>
                  </a:cubicBezTo>
                  <a:cubicBezTo>
                    <a:pt x="1003" y="661"/>
                    <a:pt x="998" y="664"/>
                    <a:pt x="997" y="664"/>
                  </a:cubicBezTo>
                  <a:cubicBezTo>
                    <a:pt x="995" y="665"/>
                    <a:pt x="996" y="664"/>
                    <a:pt x="996" y="666"/>
                  </a:cubicBezTo>
                  <a:cubicBezTo>
                    <a:pt x="996" y="666"/>
                    <a:pt x="996" y="667"/>
                    <a:pt x="996" y="667"/>
                  </a:cubicBezTo>
                  <a:cubicBezTo>
                    <a:pt x="996" y="668"/>
                    <a:pt x="997" y="668"/>
                    <a:pt x="997" y="669"/>
                  </a:cubicBezTo>
                  <a:cubicBezTo>
                    <a:pt x="997" y="669"/>
                    <a:pt x="998" y="670"/>
                    <a:pt x="998" y="671"/>
                  </a:cubicBezTo>
                  <a:cubicBezTo>
                    <a:pt x="994" y="671"/>
                    <a:pt x="995" y="670"/>
                    <a:pt x="992" y="668"/>
                  </a:cubicBezTo>
                  <a:cubicBezTo>
                    <a:pt x="991" y="667"/>
                    <a:pt x="986" y="666"/>
                    <a:pt x="988" y="663"/>
                  </a:cubicBezTo>
                  <a:close/>
                  <a:moveTo>
                    <a:pt x="1032" y="757"/>
                  </a:moveTo>
                  <a:cubicBezTo>
                    <a:pt x="1032" y="758"/>
                    <a:pt x="1033" y="759"/>
                    <a:pt x="1033" y="760"/>
                  </a:cubicBezTo>
                  <a:cubicBezTo>
                    <a:pt x="1033" y="763"/>
                    <a:pt x="1032" y="767"/>
                    <a:pt x="1034" y="768"/>
                  </a:cubicBezTo>
                  <a:cubicBezTo>
                    <a:pt x="1032" y="769"/>
                    <a:pt x="1029" y="766"/>
                    <a:pt x="1028" y="766"/>
                  </a:cubicBezTo>
                  <a:cubicBezTo>
                    <a:pt x="1027" y="766"/>
                    <a:pt x="1028" y="769"/>
                    <a:pt x="1028" y="770"/>
                  </a:cubicBezTo>
                  <a:cubicBezTo>
                    <a:pt x="1027" y="771"/>
                    <a:pt x="1028" y="773"/>
                    <a:pt x="1027" y="775"/>
                  </a:cubicBezTo>
                  <a:cubicBezTo>
                    <a:pt x="1027" y="776"/>
                    <a:pt x="1024" y="776"/>
                    <a:pt x="1023" y="776"/>
                  </a:cubicBezTo>
                  <a:cubicBezTo>
                    <a:pt x="1017" y="776"/>
                    <a:pt x="1019" y="767"/>
                    <a:pt x="1019" y="763"/>
                  </a:cubicBezTo>
                  <a:cubicBezTo>
                    <a:pt x="1019" y="760"/>
                    <a:pt x="1020" y="760"/>
                    <a:pt x="1020" y="757"/>
                  </a:cubicBezTo>
                  <a:cubicBezTo>
                    <a:pt x="1020" y="756"/>
                    <a:pt x="1020" y="755"/>
                    <a:pt x="1020" y="754"/>
                  </a:cubicBezTo>
                  <a:cubicBezTo>
                    <a:pt x="1020" y="754"/>
                    <a:pt x="1022" y="754"/>
                    <a:pt x="1022" y="754"/>
                  </a:cubicBezTo>
                  <a:cubicBezTo>
                    <a:pt x="1023" y="752"/>
                    <a:pt x="1023" y="751"/>
                    <a:pt x="1024" y="750"/>
                  </a:cubicBezTo>
                  <a:cubicBezTo>
                    <a:pt x="1025" y="749"/>
                    <a:pt x="1026" y="749"/>
                    <a:pt x="1027" y="747"/>
                  </a:cubicBezTo>
                  <a:cubicBezTo>
                    <a:pt x="1022" y="745"/>
                    <a:pt x="1023" y="751"/>
                    <a:pt x="1019" y="752"/>
                  </a:cubicBezTo>
                  <a:cubicBezTo>
                    <a:pt x="1019" y="748"/>
                    <a:pt x="1021" y="745"/>
                    <a:pt x="1023" y="742"/>
                  </a:cubicBezTo>
                  <a:cubicBezTo>
                    <a:pt x="1023" y="741"/>
                    <a:pt x="1025" y="740"/>
                    <a:pt x="1024" y="739"/>
                  </a:cubicBezTo>
                  <a:cubicBezTo>
                    <a:pt x="1024" y="737"/>
                    <a:pt x="1019" y="736"/>
                    <a:pt x="1017" y="736"/>
                  </a:cubicBezTo>
                  <a:cubicBezTo>
                    <a:pt x="1014" y="738"/>
                    <a:pt x="1016" y="741"/>
                    <a:pt x="1014" y="743"/>
                  </a:cubicBezTo>
                  <a:cubicBezTo>
                    <a:pt x="1009" y="747"/>
                    <a:pt x="1013" y="735"/>
                    <a:pt x="1013" y="732"/>
                  </a:cubicBezTo>
                  <a:cubicBezTo>
                    <a:pt x="1013" y="729"/>
                    <a:pt x="1010" y="723"/>
                    <a:pt x="1006" y="726"/>
                  </a:cubicBezTo>
                  <a:cubicBezTo>
                    <a:pt x="1006" y="727"/>
                    <a:pt x="1005" y="730"/>
                    <a:pt x="1005" y="728"/>
                  </a:cubicBezTo>
                  <a:cubicBezTo>
                    <a:pt x="1004" y="727"/>
                    <a:pt x="1006" y="724"/>
                    <a:pt x="1007" y="723"/>
                  </a:cubicBezTo>
                  <a:cubicBezTo>
                    <a:pt x="1005" y="722"/>
                    <a:pt x="1003" y="724"/>
                    <a:pt x="1002" y="722"/>
                  </a:cubicBezTo>
                  <a:cubicBezTo>
                    <a:pt x="1001" y="721"/>
                    <a:pt x="1000" y="723"/>
                    <a:pt x="1000" y="724"/>
                  </a:cubicBezTo>
                  <a:cubicBezTo>
                    <a:pt x="1000" y="724"/>
                    <a:pt x="1000" y="726"/>
                    <a:pt x="1000" y="727"/>
                  </a:cubicBezTo>
                  <a:cubicBezTo>
                    <a:pt x="1000" y="729"/>
                    <a:pt x="999" y="729"/>
                    <a:pt x="1000" y="731"/>
                  </a:cubicBezTo>
                  <a:cubicBezTo>
                    <a:pt x="997" y="729"/>
                    <a:pt x="995" y="729"/>
                    <a:pt x="993" y="726"/>
                  </a:cubicBezTo>
                  <a:cubicBezTo>
                    <a:pt x="991" y="723"/>
                    <a:pt x="989" y="719"/>
                    <a:pt x="986" y="716"/>
                  </a:cubicBezTo>
                  <a:cubicBezTo>
                    <a:pt x="985" y="714"/>
                    <a:pt x="984" y="713"/>
                    <a:pt x="982" y="710"/>
                  </a:cubicBezTo>
                  <a:cubicBezTo>
                    <a:pt x="981" y="708"/>
                    <a:pt x="979" y="707"/>
                    <a:pt x="978" y="706"/>
                  </a:cubicBezTo>
                  <a:cubicBezTo>
                    <a:pt x="976" y="703"/>
                    <a:pt x="976" y="701"/>
                    <a:pt x="978" y="697"/>
                  </a:cubicBezTo>
                  <a:cubicBezTo>
                    <a:pt x="979" y="695"/>
                    <a:pt x="983" y="696"/>
                    <a:pt x="985" y="694"/>
                  </a:cubicBezTo>
                  <a:cubicBezTo>
                    <a:pt x="983" y="693"/>
                    <a:pt x="980" y="693"/>
                    <a:pt x="978" y="693"/>
                  </a:cubicBezTo>
                  <a:cubicBezTo>
                    <a:pt x="976" y="693"/>
                    <a:pt x="976" y="693"/>
                    <a:pt x="975" y="694"/>
                  </a:cubicBezTo>
                  <a:cubicBezTo>
                    <a:pt x="974" y="694"/>
                    <a:pt x="971" y="694"/>
                    <a:pt x="970" y="693"/>
                  </a:cubicBezTo>
                  <a:cubicBezTo>
                    <a:pt x="969" y="693"/>
                    <a:pt x="969" y="690"/>
                    <a:pt x="966" y="689"/>
                  </a:cubicBezTo>
                  <a:cubicBezTo>
                    <a:pt x="966" y="689"/>
                    <a:pt x="966" y="688"/>
                    <a:pt x="966" y="687"/>
                  </a:cubicBezTo>
                  <a:cubicBezTo>
                    <a:pt x="968" y="682"/>
                    <a:pt x="969" y="673"/>
                    <a:pt x="972" y="669"/>
                  </a:cubicBezTo>
                  <a:cubicBezTo>
                    <a:pt x="975" y="666"/>
                    <a:pt x="978" y="668"/>
                    <a:pt x="980" y="668"/>
                  </a:cubicBezTo>
                  <a:cubicBezTo>
                    <a:pt x="984" y="669"/>
                    <a:pt x="986" y="667"/>
                    <a:pt x="990" y="669"/>
                  </a:cubicBezTo>
                  <a:cubicBezTo>
                    <a:pt x="992" y="670"/>
                    <a:pt x="993" y="671"/>
                    <a:pt x="994" y="672"/>
                  </a:cubicBezTo>
                  <a:cubicBezTo>
                    <a:pt x="996" y="673"/>
                    <a:pt x="995" y="673"/>
                    <a:pt x="998" y="673"/>
                  </a:cubicBezTo>
                  <a:cubicBezTo>
                    <a:pt x="999" y="673"/>
                    <a:pt x="998" y="671"/>
                    <a:pt x="999" y="673"/>
                  </a:cubicBezTo>
                  <a:cubicBezTo>
                    <a:pt x="1000" y="674"/>
                    <a:pt x="999" y="675"/>
                    <a:pt x="999" y="676"/>
                  </a:cubicBezTo>
                  <a:cubicBezTo>
                    <a:pt x="1000" y="678"/>
                    <a:pt x="1001" y="678"/>
                    <a:pt x="1002" y="679"/>
                  </a:cubicBezTo>
                  <a:cubicBezTo>
                    <a:pt x="1003" y="682"/>
                    <a:pt x="1004" y="685"/>
                    <a:pt x="1006" y="687"/>
                  </a:cubicBezTo>
                  <a:cubicBezTo>
                    <a:pt x="1007" y="689"/>
                    <a:pt x="1007" y="689"/>
                    <a:pt x="1008" y="691"/>
                  </a:cubicBezTo>
                  <a:cubicBezTo>
                    <a:pt x="1009" y="693"/>
                    <a:pt x="1008" y="694"/>
                    <a:pt x="1010" y="694"/>
                  </a:cubicBezTo>
                  <a:cubicBezTo>
                    <a:pt x="1008" y="697"/>
                    <a:pt x="1008" y="697"/>
                    <a:pt x="1009" y="700"/>
                  </a:cubicBezTo>
                  <a:cubicBezTo>
                    <a:pt x="1010" y="701"/>
                    <a:pt x="1011" y="702"/>
                    <a:pt x="1012" y="703"/>
                  </a:cubicBezTo>
                  <a:cubicBezTo>
                    <a:pt x="1013" y="706"/>
                    <a:pt x="1014" y="707"/>
                    <a:pt x="1015" y="710"/>
                  </a:cubicBezTo>
                  <a:cubicBezTo>
                    <a:pt x="1016" y="713"/>
                    <a:pt x="1017" y="714"/>
                    <a:pt x="1017" y="717"/>
                  </a:cubicBezTo>
                  <a:cubicBezTo>
                    <a:pt x="1017" y="720"/>
                    <a:pt x="1018" y="722"/>
                    <a:pt x="1020" y="725"/>
                  </a:cubicBezTo>
                  <a:cubicBezTo>
                    <a:pt x="1020" y="726"/>
                    <a:pt x="1022" y="726"/>
                    <a:pt x="1022" y="727"/>
                  </a:cubicBezTo>
                  <a:cubicBezTo>
                    <a:pt x="1022" y="728"/>
                    <a:pt x="1021" y="729"/>
                    <a:pt x="1021" y="730"/>
                  </a:cubicBezTo>
                  <a:cubicBezTo>
                    <a:pt x="1022" y="731"/>
                    <a:pt x="1022" y="730"/>
                    <a:pt x="1023" y="730"/>
                  </a:cubicBezTo>
                  <a:cubicBezTo>
                    <a:pt x="1023" y="731"/>
                    <a:pt x="1024" y="731"/>
                    <a:pt x="1025" y="732"/>
                  </a:cubicBezTo>
                  <a:cubicBezTo>
                    <a:pt x="1026" y="733"/>
                    <a:pt x="1024" y="733"/>
                    <a:pt x="1024" y="735"/>
                  </a:cubicBezTo>
                  <a:cubicBezTo>
                    <a:pt x="1025" y="736"/>
                    <a:pt x="1025" y="737"/>
                    <a:pt x="1027" y="738"/>
                  </a:cubicBezTo>
                  <a:cubicBezTo>
                    <a:pt x="1029" y="741"/>
                    <a:pt x="1028" y="743"/>
                    <a:pt x="1030" y="745"/>
                  </a:cubicBezTo>
                  <a:cubicBezTo>
                    <a:pt x="1031" y="746"/>
                    <a:pt x="1035" y="748"/>
                    <a:pt x="1035" y="751"/>
                  </a:cubicBezTo>
                  <a:cubicBezTo>
                    <a:pt x="1035" y="751"/>
                    <a:pt x="1034" y="754"/>
                    <a:pt x="1034" y="754"/>
                  </a:cubicBezTo>
                  <a:cubicBezTo>
                    <a:pt x="1031" y="755"/>
                    <a:pt x="1032" y="755"/>
                    <a:pt x="1032" y="757"/>
                  </a:cubicBezTo>
                  <a:close/>
                  <a:moveTo>
                    <a:pt x="1783" y="779"/>
                  </a:moveTo>
                  <a:cubicBezTo>
                    <a:pt x="1785" y="779"/>
                    <a:pt x="1787" y="778"/>
                    <a:pt x="1789" y="778"/>
                  </a:cubicBezTo>
                  <a:cubicBezTo>
                    <a:pt x="1789" y="778"/>
                    <a:pt x="1789" y="778"/>
                    <a:pt x="1789" y="778"/>
                  </a:cubicBezTo>
                  <a:cubicBezTo>
                    <a:pt x="1789" y="778"/>
                    <a:pt x="1789" y="778"/>
                    <a:pt x="1789" y="778"/>
                  </a:cubicBezTo>
                  <a:cubicBezTo>
                    <a:pt x="1790" y="778"/>
                    <a:pt x="1790" y="778"/>
                    <a:pt x="1790" y="778"/>
                  </a:cubicBezTo>
                  <a:cubicBezTo>
                    <a:pt x="1790" y="778"/>
                    <a:pt x="1790" y="778"/>
                    <a:pt x="1790" y="778"/>
                  </a:cubicBezTo>
                  <a:cubicBezTo>
                    <a:pt x="1791" y="778"/>
                    <a:pt x="1791" y="779"/>
                    <a:pt x="1791" y="779"/>
                  </a:cubicBezTo>
                  <a:cubicBezTo>
                    <a:pt x="1789" y="779"/>
                    <a:pt x="1786" y="779"/>
                    <a:pt x="1783" y="779"/>
                  </a:cubicBezTo>
                  <a:close/>
                  <a:moveTo>
                    <a:pt x="1795" y="780"/>
                  </a:moveTo>
                  <a:cubicBezTo>
                    <a:pt x="1795" y="780"/>
                    <a:pt x="1795" y="780"/>
                    <a:pt x="1795" y="780"/>
                  </a:cubicBezTo>
                  <a:cubicBezTo>
                    <a:pt x="1795" y="780"/>
                    <a:pt x="1795" y="780"/>
                    <a:pt x="1794" y="780"/>
                  </a:cubicBezTo>
                  <a:cubicBezTo>
                    <a:pt x="1795" y="780"/>
                    <a:pt x="1795" y="780"/>
                    <a:pt x="1796" y="780"/>
                  </a:cubicBezTo>
                  <a:cubicBezTo>
                    <a:pt x="1796" y="780"/>
                    <a:pt x="1796" y="780"/>
                    <a:pt x="1796" y="780"/>
                  </a:cubicBezTo>
                  <a:cubicBezTo>
                    <a:pt x="1796" y="780"/>
                    <a:pt x="1796" y="780"/>
                    <a:pt x="1796" y="780"/>
                  </a:cubicBezTo>
                  <a:cubicBezTo>
                    <a:pt x="1796" y="780"/>
                    <a:pt x="1796" y="780"/>
                    <a:pt x="1796" y="780"/>
                  </a:cubicBezTo>
                  <a:cubicBezTo>
                    <a:pt x="1796" y="780"/>
                    <a:pt x="1796" y="780"/>
                    <a:pt x="1795" y="780"/>
                  </a:cubicBezTo>
                  <a:close/>
                  <a:moveTo>
                    <a:pt x="1797" y="780"/>
                  </a:moveTo>
                  <a:cubicBezTo>
                    <a:pt x="1797" y="780"/>
                    <a:pt x="1797" y="780"/>
                    <a:pt x="1797" y="780"/>
                  </a:cubicBezTo>
                  <a:cubicBezTo>
                    <a:pt x="1797" y="780"/>
                    <a:pt x="1797" y="780"/>
                    <a:pt x="1797" y="780"/>
                  </a:cubicBezTo>
                  <a:cubicBezTo>
                    <a:pt x="1797" y="780"/>
                    <a:pt x="1797" y="780"/>
                    <a:pt x="1797" y="780"/>
                  </a:cubicBezTo>
                  <a:close/>
                  <a:moveTo>
                    <a:pt x="1946" y="745"/>
                  </a:moveTo>
                  <a:cubicBezTo>
                    <a:pt x="1946" y="744"/>
                    <a:pt x="1945" y="744"/>
                    <a:pt x="1945" y="744"/>
                  </a:cubicBezTo>
                  <a:cubicBezTo>
                    <a:pt x="1945" y="744"/>
                    <a:pt x="1945" y="744"/>
                    <a:pt x="1945" y="744"/>
                  </a:cubicBezTo>
                  <a:cubicBezTo>
                    <a:pt x="1946" y="743"/>
                    <a:pt x="1948" y="743"/>
                    <a:pt x="1949" y="742"/>
                  </a:cubicBezTo>
                  <a:cubicBezTo>
                    <a:pt x="1948" y="743"/>
                    <a:pt x="1946" y="743"/>
                    <a:pt x="1946" y="7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78" name="Text Placeholder 377"/>
          <p:cNvSpPr>
            <a:spLocks noGrp="1"/>
          </p:cNvSpPr>
          <p:nvPr>
            <p:ph type="body" sz="quarter" idx="12" hasCustomPrompt="1"/>
          </p:nvPr>
        </p:nvSpPr>
        <p:spPr>
          <a:xfrm>
            <a:off x="334963"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spTree>
    <p:extLst>
      <p:ext uri="{BB962C8B-B14F-4D97-AF65-F5344CB8AC3E}">
        <p14:creationId xmlns:p14="http://schemas.microsoft.com/office/powerpoint/2010/main" val="3061255907"/>
      </p:ext>
    </p:extLst>
  </p:cSld>
  <p:clrMapOvr>
    <a:masterClrMapping/>
  </p:clrMapOvr>
  <p:transition/>
  <p:timing/>
</p:sldLayout>
</file>

<file path=ppt/slideLayouts/slideLayout8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OUTH AMERIC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78" name="Text Placeholder 377"/>
          <p:cNvSpPr>
            <a:spLocks noGrp="1"/>
          </p:cNvSpPr>
          <p:nvPr>
            <p:ph type="body" sz="quarter" idx="12" hasCustomPrompt="1"/>
          </p:nvPr>
        </p:nvSpPr>
        <p:spPr>
          <a:xfrm>
            <a:off x="334963"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grpSp>
        <p:nvGrpSpPr>
          <p:cNvPr id="376" name="Group 375"/>
          <p:cNvGrpSpPr/>
          <p:nvPr userDrawn="1"/>
        </p:nvGrpSpPr>
        <p:grpSpPr>
          <a:xfrm>
            <a:off x="5680219" y="0"/>
            <a:ext cx="6445566" cy="6386400"/>
            <a:chOff x="5118971" y="0"/>
            <a:chExt cx="6921535" cy="6858000"/>
          </a:xfrm>
          <a:gradFill>
            <a:gsLst>
              <a:gs pos="0">
                <a:schemeClr val="accent4"/>
              </a:gs>
              <a:gs pos="100000">
                <a:schemeClr val="accent1"/>
              </a:gs>
            </a:gsLst>
            <a:lin ang="0" scaled="0"/>
          </a:gradFill>
        </p:grpSpPr>
        <p:sp>
          <p:nvSpPr>
            <p:cNvPr id="377" name="Freeform 5"/>
            <p:cNvSpPr/>
            <p:nvPr/>
          </p:nvSpPr>
          <p:spPr bwMode="auto">
            <a:xfrm>
              <a:off x="7531128" y="0"/>
              <a:ext cx="56491" cy="16947"/>
            </a:xfrm>
            <a:custGeom>
              <a:gdLst>
                <a:gd name="T0" fmla="*/ 17 w 17"/>
                <a:gd name="T1" fmla="*/ 0 h 5"/>
                <a:gd name="T2" fmla="*/ 3 w 17"/>
                <a:gd name="T3" fmla="*/ 0 h 5"/>
                <a:gd name="T4" fmla="*/ 4 w 17"/>
                <a:gd name="T5" fmla="*/ 3 h 5"/>
                <a:gd name="T6" fmla="*/ 4 w 17"/>
                <a:gd name="T7" fmla="*/ 3 h 5"/>
                <a:gd name="T8" fmla="*/ 1 w 17"/>
                <a:gd name="T9" fmla="*/ 1 h 5"/>
                <a:gd name="T10" fmla="*/ 1 w 17"/>
                <a:gd name="T11" fmla="*/ 5 h 5"/>
                <a:gd name="T12" fmla="*/ 4 w 17"/>
                <a:gd name="T13" fmla="*/ 5 h 5"/>
                <a:gd name="T14" fmla="*/ 6 w 17"/>
                <a:gd name="T15" fmla="*/ 4 h 5"/>
                <a:gd name="T16" fmla="*/ 6 w 17"/>
                <a:gd name="T17" fmla="*/ 4 h 5"/>
                <a:gd name="T18" fmla="*/ 8 w 17"/>
                <a:gd name="T19" fmla="*/ 4 h 5"/>
                <a:gd name="T20" fmla="*/ 8 w 17"/>
                <a:gd name="T21" fmla="*/ 4 h 5"/>
                <a:gd name="T22" fmla="*/ 11 w 17"/>
                <a:gd name="T23" fmla="*/ 3 h 5"/>
                <a:gd name="T24" fmla="*/ 13 w 17"/>
                <a:gd name="T25" fmla="*/ 3 h 5"/>
                <a:gd name="T26" fmla="*/ 15 w 17"/>
                <a:gd name="T27" fmla="*/ 4 h 5"/>
                <a:gd name="T28" fmla="*/ 14 w 17"/>
                <a:gd name="T29" fmla="*/ 3 h 5"/>
                <a:gd name="T30" fmla="*/ 17 w 17"/>
                <a:gd name="T31" fmla="*/ 4 h 5"/>
                <a:gd name="T32" fmla="*/ 16 w 17"/>
                <a:gd name="T33" fmla="*/ 1 h 5"/>
                <a:gd name="T34" fmla="*/ 17 w 17"/>
                <a:gd name="T35"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5">
                  <a:moveTo>
                    <a:pt x="17" y="0"/>
                  </a:moveTo>
                  <a:cubicBezTo>
                    <a:pt x="3" y="0"/>
                    <a:pt x="3" y="0"/>
                    <a:pt x="3" y="0"/>
                  </a:cubicBezTo>
                  <a:cubicBezTo>
                    <a:pt x="4" y="1"/>
                    <a:pt x="5" y="3"/>
                    <a:pt x="4" y="3"/>
                  </a:cubicBezTo>
                  <a:cubicBezTo>
                    <a:pt x="4" y="3"/>
                    <a:pt x="4" y="3"/>
                    <a:pt x="4" y="3"/>
                  </a:cubicBezTo>
                  <a:cubicBezTo>
                    <a:pt x="3" y="3"/>
                    <a:pt x="1" y="1"/>
                    <a:pt x="1" y="1"/>
                  </a:cubicBezTo>
                  <a:cubicBezTo>
                    <a:pt x="0" y="2"/>
                    <a:pt x="0" y="4"/>
                    <a:pt x="1" y="5"/>
                  </a:cubicBezTo>
                  <a:cubicBezTo>
                    <a:pt x="2" y="5"/>
                    <a:pt x="3" y="5"/>
                    <a:pt x="4" y="5"/>
                  </a:cubicBezTo>
                  <a:cubicBezTo>
                    <a:pt x="5" y="5"/>
                    <a:pt x="5" y="4"/>
                    <a:pt x="6" y="4"/>
                  </a:cubicBezTo>
                  <a:cubicBezTo>
                    <a:pt x="6" y="4"/>
                    <a:pt x="6" y="4"/>
                    <a:pt x="6" y="4"/>
                  </a:cubicBezTo>
                  <a:cubicBezTo>
                    <a:pt x="6" y="4"/>
                    <a:pt x="7" y="4"/>
                    <a:pt x="8" y="4"/>
                  </a:cubicBezTo>
                  <a:cubicBezTo>
                    <a:pt x="8" y="4"/>
                    <a:pt x="8" y="4"/>
                    <a:pt x="8" y="4"/>
                  </a:cubicBezTo>
                  <a:cubicBezTo>
                    <a:pt x="10" y="4"/>
                    <a:pt x="10" y="4"/>
                    <a:pt x="11" y="3"/>
                  </a:cubicBezTo>
                  <a:cubicBezTo>
                    <a:pt x="12" y="3"/>
                    <a:pt x="12" y="3"/>
                    <a:pt x="13" y="3"/>
                  </a:cubicBezTo>
                  <a:cubicBezTo>
                    <a:pt x="13" y="3"/>
                    <a:pt x="14" y="3"/>
                    <a:pt x="15" y="4"/>
                  </a:cubicBezTo>
                  <a:cubicBezTo>
                    <a:pt x="14" y="3"/>
                    <a:pt x="14" y="3"/>
                    <a:pt x="14" y="3"/>
                  </a:cubicBezTo>
                  <a:cubicBezTo>
                    <a:pt x="15" y="3"/>
                    <a:pt x="16" y="3"/>
                    <a:pt x="17" y="4"/>
                  </a:cubicBezTo>
                  <a:cubicBezTo>
                    <a:pt x="16" y="3"/>
                    <a:pt x="16" y="2"/>
                    <a:pt x="16" y="1"/>
                  </a:cubicBezTo>
                  <a:cubicBezTo>
                    <a:pt x="17" y="1"/>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6"/>
            <p:cNvSpPr>
              <a:spLocks noEditPoints="1"/>
            </p:cNvSpPr>
            <p:nvPr/>
          </p:nvSpPr>
          <p:spPr bwMode="auto">
            <a:xfrm>
              <a:off x="12030620" y="687777"/>
              <a:ext cx="5649" cy="19772"/>
            </a:xfrm>
            <a:custGeom>
              <a:gdLst>
                <a:gd name="T0" fmla="*/ 2 w 2"/>
                <a:gd name="T1" fmla="*/ 5 h 6"/>
                <a:gd name="T2" fmla="*/ 2 w 2"/>
                <a:gd name="T3" fmla="*/ 6 h 6"/>
                <a:gd name="T4" fmla="*/ 2 w 2"/>
                <a:gd name="T5" fmla="*/ 5 h 6"/>
                <a:gd name="T6" fmla="*/ 2 w 2"/>
                <a:gd name="T7" fmla="*/ 0 h 6"/>
                <a:gd name="T8" fmla="*/ 1 w 2"/>
                <a:gd name="T9" fmla="*/ 3 h 6"/>
                <a:gd name="T10" fmla="*/ 2 w 2"/>
                <a:gd name="T11" fmla="*/ 5 h 6"/>
                <a:gd name="T12" fmla="*/ 2 w 2"/>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2" h="6">
                  <a:moveTo>
                    <a:pt x="2" y="5"/>
                  </a:moveTo>
                  <a:cubicBezTo>
                    <a:pt x="2" y="5"/>
                    <a:pt x="2" y="6"/>
                    <a:pt x="2" y="6"/>
                  </a:cubicBezTo>
                  <a:cubicBezTo>
                    <a:pt x="2" y="6"/>
                    <a:pt x="2" y="5"/>
                    <a:pt x="2" y="5"/>
                  </a:cubicBezTo>
                  <a:moveTo>
                    <a:pt x="2" y="0"/>
                  </a:moveTo>
                  <a:cubicBezTo>
                    <a:pt x="0" y="0"/>
                    <a:pt x="1" y="2"/>
                    <a:pt x="1" y="3"/>
                  </a:cubicBezTo>
                  <a:cubicBezTo>
                    <a:pt x="2" y="3"/>
                    <a:pt x="2" y="4"/>
                    <a:pt x="2" y="5"/>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7"/>
            <p:cNvSpPr/>
            <p:nvPr/>
          </p:nvSpPr>
          <p:spPr bwMode="auto">
            <a:xfrm>
              <a:off x="12033445" y="737207"/>
              <a:ext cx="7061" cy="16947"/>
            </a:xfrm>
            <a:custGeom>
              <a:gdLst>
                <a:gd name="T0" fmla="*/ 2 w 2"/>
                <a:gd name="T1" fmla="*/ 0 h 5"/>
                <a:gd name="T2" fmla="*/ 1 w 2"/>
                <a:gd name="T3" fmla="*/ 0 h 5"/>
                <a:gd name="T4" fmla="*/ 0 w 2"/>
                <a:gd name="T5" fmla="*/ 4 h 5"/>
                <a:gd name="T6" fmla="*/ 2 w 2"/>
                <a:gd name="T7" fmla="*/ 5 h 5"/>
                <a:gd name="T8" fmla="*/ 2 w 2"/>
                <a:gd name="T9" fmla="*/ 0 h 5"/>
              </a:gdLst>
              <a:cxnLst>
                <a:cxn ang="0">
                  <a:pos x="T0" y="T1"/>
                </a:cxn>
                <a:cxn ang="0">
                  <a:pos x="T2" y="T3"/>
                </a:cxn>
                <a:cxn ang="0">
                  <a:pos x="T4" y="T5"/>
                </a:cxn>
                <a:cxn ang="0">
                  <a:pos x="T6" y="T7"/>
                </a:cxn>
                <a:cxn ang="0">
                  <a:pos x="T8" y="T9"/>
                </a:cxn>
              </a:cxnLst>
              <a:rect l="0" t="0" r="r" b="b"/>
              <a:pathLst>
                <a:path w="2" h="5">
                  <a:moveTo>
                    <a:pt x="2" y="0"/>
                  </a:moveTo>
                  <a:cubicBezTo>
                    <a:pt x="1" y="0"/>
                    <a:pt x="1" y="0"/>
                    <a:pt x="1" y="0"/>
                  </a:cubicBezTo>
                  <a:cubicBezTo>
                    <a:pt x="0" y="4"/>
                    <a:pt x="0" y="4"/>
                    <a:pt x="0" y="4"/>
                  </a:cubicBezTo>
                  <a:cubicBezTo>
                    <a:pt x="0" y="4"/>
                    <a:pt x="1" y="5"/>
                    <a:pt x="2"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8"/>
            <p:cNvSpPr/>
            <p:nvPr/>
          </p:nvSpPr>
          <p:spPr bwMode="auto">
            <a:xfrm flipH="1">
              <a:off x="7754267" y="1341660"/>
              <a:ext cx="0" cy="0"/>
            </a:xfrm>
            <a:custGeom>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9"/>
            <p:cNvSpPr/>
            <p:nvPr/>
          </p:nvSpPr>
          <p:spPr bwMode="auto">
            <a:xfrm>
              <a:off x="9006950" y="1234327"/>
              <a:ext cx="2825" cy="0"/>
            </a:xfrm>
            <a:custGeom>
              <a:gdLst>
                <a:gd name="T0" fmla="*/ 0 w 1"/>
                <a:gd name="T1" fmla="*/ 0 w 1"/>
                <a:gd name="T2" fmla="*/ 0 w 1"/>
                <a:gd name="T3" fmla="*/ 0 w 1"/>
                <a:gd name="T4" fmla="*/ 0 w 1"/>
                <a:gd name="T5" fmla="*/ 0 w 1"/>
                <a:gd name="T6" fmla="*/ 1 w 1"/>
                <a:gd name="T7" fmla="*/ 1 w 1"/>
                <a:gd name="T8" fmla="*/ 0 w 1"/>
                <a:gd name="T9" fmla="*/ 0 w 1"/>
              </a:gd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0"/>
            <p:cNvSpPr/>
            <p:nvPr/>
          </p:nvSpPr>
          <p:spPr bwMode="auto">
            <a:xfrm>
              <a:off x="10037907" y="4009444"/>
              <a:ext cx="7061" cy="7061"/>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1"/>
                    <a:pt x="2" y="2"/>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11"/>
            <p:cNvSpPr/>
            <p:nvPr/>
          </p:nvSpPr>
          <p:spPr bwMode="auto">
            <a:xfrm>
              <a:off x="10094398" y="3979787"/>
              <a:ext cx="2825" cy="2825"/>
            </a:xfrm>
            <a:custGeom>
              <a:gdLst>
                <a:gd name="T0" fmla="*/ 0 w 1"/>
                <a:gd name="T1" fmla="*/ 0 h 1"/>
                <a:gd name="T2" fmla="*/ 0 w 1"/>
                <a:gd name="T3" fmla="*/ 1 h 1"/>
                <a:gd name="T4" fmla="*/ 0 w 1"/>
                <a:gd name="T5" fmla="*/ 0 h 1"/>
              </a:gdLst>
              <a:cxnLst>
                <a:cxn ang="0">
                  <a:pos x="T0" y="T1"/>
                </a:cxn>
                <a:cxn ang="0">
                  <a:pos x="T2" y="T3"/>
                </a:cxn>
                <a:cxn ang="0">
                  <a:pos x="T4" y="T5"/>
                </a:cxn>
              </a:cxnLst>
              <a:rect l="0" t="0" r="r" b="b"/>
              <a:pathLst>
                <a:path w="1" h="1">
                  <a:moveTo>
                    <a:pt x="0" y="0"/>
                  </a:moveTo>
                  <a:cubicBezTo>
                    <a:pt x="0" y="1"/>
                    <a:pt x="0" y="1"/>
                    <a:pt x="0" y="1"/>
                  </a:cubicBezTo>
                  <a:cubicBezTo>
                    <a:pt x="0" y="0"/>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12"/>
            <p:cNvSpPr>
              <a:spLocks noChangeArrowheads="1"/>
            </p:cNvSpPr>
            <p:nvPr/>
          </p:nvSpPr>
          <p:spPr bwMode="auto">
            <a:xfrm>
              <a:off x="10094398" y="3982611"/>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13"/>
            <p:cNvSpPr/>
            <p:nvPr/>
          </p:nvSpPr>
          <p:spPr bwMode="auto">
            <a:xfrm flipH="1">
              <a:off x="10094398" y="398261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14"/>
            <p:cNvSpPr>
              <a:spLocks noChangeArrowheads="1"/>
            </p:cNvSpPr>
            <p:nvPr/>
          </p:nvSpPr>
          <p:spPr bwMode="auto">
            <a:xfrm>
              <a:off x="9883970" y="2136770"/>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15"/>
            <p:cNvSpPr/>
            <p:nvPr/>
          </p:nvSpPr>
          <p:spPr bwMode="auto">
            <a:xfrm flipH="1">
              <a:off x="9883970" y="2136770"/>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16"/>
            <p:cNvSpPr/>
            <p:nvPr/>
          </p:nvSpPr>
          <p:spPr bwMode="auto">
            <a:xfrm>
              <a:off x="9783699" y="1659421"/>
              <a:ext cx="7061" cy="9886"/>
            </a:xfrm>
            <a:custGeom>
              <a:gdLst>
                <a:gd name="T0" fmla="*/ 2 w 2"/>
                <a:gd name="T1" fmla="*/ 0 h 3"/>
                <a:gd name="T2" fmla="*/ 2 w 2"/>
                <a:gd name="T3" fmla="*/ 0 h 3"/>
                <a:gd name="T4" fmla="*/ 2 w 2"/>
                <a:gd name="T5" fmla="*/ 0 h 3"/>
                <a:gd name="T6" fmla="*/ 0 w 2"/>
                <a:gd name="T7" fmla="*/ 2 h 3"/>
                <a:gd name="T8" fmla="*/ 0 w 2"/>
                <a:gd name="T9" fmla="*/ 3 h 3"/>
                <a:gd name="T10" fmla="*/ 0 w 2"/>
                <a:gd name="T11" fmla="*/ 2 h 3"/>
                <a:gd name="T12" fmla="*/ 2 w 2"/>
                <a:gd name="T13" fmla="*/ 0 h 3"/>
                <a:gd name="T14" fmla="*/ 2 w 2"/>
                <a:gd name="T15" fmla="*/ 0 h 3"/>
                <a:gd name="T16" fmla="*/ 2 w 2"/>
                <a:gd name="T17" fmla="*/ 0 h 3"/>
                <a:gd name="T18" fmla="*/ 2 w 2"/>
                <a:gd name="T19"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2" y="0"/>
                  </a:moveTo>
                  <a:cubicBezTo>
                    <a:pt x="2" y="0"/>
                    <a:pt x="2" y="0"/>
                    <a:pt x="2" y="0"/>
                  </a:cubicBezTo>
                  <a:cubicBezTo>
                    <a:pt x="2" y="0"/>
                    <a:pt x="2" y="0"/>
                    <a:pt x="2" y="0"/>
                  </a:cubicBezTo>
                  <a:cubicBezTo>
                    <a:pt x="1" y="1"/>
                    <a:pt x="0" y="2"/>
                    <a:pt x="0" y="2"/>
                  </a:cubicBezTo>
                  <a:cubicBezTo>
                    <a:pt x="0" y="2"/>
                    <a:pt x="0" y="2"/>
                    <a:pt x="0" y="3"/>
                  </a:cubicBezTo>
                  <a:cubicBezTo>
                    <a:pt x="0" y="2"/>
                    <a:pt x="0" y="2"/>
                    <a:pt x="0" y="2"/>
                  </a:cubicBezTo>
                  <a:cubicBezTo>
                    <a:pt x="1" y="2"/>
                    <a:pt x="2" y="1"/>
                    <a:pt x="2" y="0"/>
                  </a:cubicBezTo>
                  <a:cubicBezTo>
                    <a:pt x="2" y="0"/>
                    <a:pt x="2" y="0"/>
                    <a:pt x="2"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28"/>
            <p:cNvSpPr/>
            <p:nvPr/>
          </p:nvSpPr>
          <p:spPr bwMode="auto">
            <a:xfrm>
              <a:off x="8235851" y="279630"/>
              <a:ext cx="12710" cy="7061"/>
            </a:xfrm>
            <a:custGeom>
              <a:gdLst>
                <a:gd name="T0" fmla="*/ 0 w 4"/>
                <a:gd name="T1" fmla="*/ 0 h 2"/>
                <a:gd name="T2" fmla="*/ 3 w 4"/>
                <a:gd name="T3" fmla="*/ 2 h 2"/>
                <a:gd name="T4" fmla="*/ 4 w 4"/>
                <a:gd name="T5" fmla="*/ 2 h 2"/>
                <a:gd name="T6" fmla="*/ 0 w 4"/>
                <a:gd name="T7" fmla="*/ 0 h 2"/>
              </a:gdLst>
              <a:cxnLst>
                <a:cxn ang="0">
                  <a:pos x="T0" y="T1"/>
                </a:cxn>
                <a:cxn ang="0">
                  <a:pos x="T2" y="T3"/>
                </a:cxn>
                <a:cxn ang="0">
                  <a:pos x="T4" y="T5"/>
                </a:cxn>
                <a:cxn ang="0">
                  <a:pos x="T6" y="T7"/>
                </a:cxn>
              </a:cxnLst>
              <a:rect l="0" t="0" r="r" b="b"/>
              <a:pathLst>
                <a:path w="4" h="2">
                  <a:moveTo>
                    <a:pt x="0" y="0"/>
                  </a:moveTo>
                  <a:cubicBezTo>
                    <a:pt x="1" y="1"/>
                    <a:pt x="2" y="2"/>
                    <a:pt x="3" y="2"/>
                  </a:cubicBezTo>
                  <a:cubicBezTo>
                    <a:pt x="3" y="2"/>
                    <a:pt x="3" y="2"/>
                    <a:pt x="4"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9"/>
            <p:cNvSpPr/>
            <p:nvPr/>
          </p:nvSpPr>
          <p:spPr bwMode="auto">
            <a:xfrm>
              <a:off x="8248561" y="286692"/>
              <a:ext cx="16947" cy="2825"/>
            </a:xfrm>
            <a:custGeom>
              <a:gdLst>
                <a:gd name="T0" fmla="*/ 3 w 5"/>
                <a:gd name="T1" fmla="*/ 0 h 1"/>
                <a:gd name="T2" fmla="*/ 0 w 5"/>
                <a:gd name="T3" fmla="*/ 1 h 1"/>
                <a:gd name="T4" fmla="*/ 5 w 5"/>
                <a:gd name="T5" fmla="*/ 1 h 1"/>
                <a:gd name="T6" fmla="*/ 3 w 5"/>
                <a:gd name="T7" fmla="*/ 0 h 1"/>
              </a:gdLst>
              <a:cxnLst>
                <a:cxn ang="0">
                  <a:pos x="T0" y="T1"/>
                </a:cxn>
                <a:cxn ang="0">
                  <a:pos x="T2" y="T3"/>
                </a:cxn>
                <a:cxn ang="0">
                  <a:pos x="T4" y="T5"/>
                </a:cxn>
                <a:cxn ang="0">
                  <a:pos x="T6" y="T7"/>
                </a:cxn>
              </a:cxnLst>
              <a:rect l="0" t="0" r="r" b="b"/>
              <a:pathLst>
                <a:path w="5" h="1">
                  <a:moveTo>
                    <a:pt x="3" y="0"/>
                  </a:moveTo>
                  <a:cubicBezTo>
                    <a:pt x="2" y="0"/>
                    <a:pt x="1" y="0"/>
                    <a:pt x="0" y="1"/>
                  </a:cubicBezTo>
                  <a:cubicBezTo>
                    <a:pt x="2" y="1"/>
                    <a:pt x="3"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30"/>
            <p:cNvSpPr>
              <a:spLocks noEditPoints="1"/>
            </p:cNvSpPr>
            <p:nvPr/>
          </p:nvSpPr>
          <p:spPr bwMode="auto">
            <a:xfrm>
              <a:off x="8209018" y="286692"/>
              <a:ext cx="16947" cy="2825"/>
            </a:xfrm>
            <a:custGeom>
              <a:gdLst>
                <a:gd name="T0" fmla="*/ 1 w 5"/>
                <a:gd name="T1" fmla="*/ 1 h 1"/>
                <a:gd name="T2" fmla="*/ 0 w 5"/>
                <a:gd name="T3" fmla="*/ 1 h 1"/>
                <a:gd name="T4" fmla="*/ 1 w 5"/>
                <a:gd name="T5" fmla="*/ 1 h 1"/>
                <a:gd name="T6" fmla="*/ 5 w 5"/>
                <a:gd name="T7" fmla="*/ 0 h 1"/>
                <a:gd name="T8" fmla="*/ 1 w 5"/>
                <a:gd name="T9" fmla="*/ 1 h 1"/>
                <a:gd name="T10" fmla="*/ 2 w 5"/>
                <a:gd name="T11" fmla="*/ 1 h 1"/>
                <a:gd name="T12" fmla="*/ 3 w 5"/>
                <a:gd name="T13" fmla="*/ 1 h 1"/>
                <a:gd name="T14" fmla="*/ 3 w 5"/>
                <a:gd name="T15" fmla="*/ 1 h 1"/>
                <a:gd name="T16" fmla="*/ 4 w 5"/>
                <a:gd name="T17" fmla="*/ 1 h 1"/>
                <a:gd name="T18" fmla="*/ 5 w 5"/>
                <a:gd name="T19" fmla="*/ 1 h 1"/>
                <a:gd name="T20" fmla="*/ 5 w 5"/>
                <a:gd name="T21"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
                  <a:moveTo>
                    <a:pt x="1" y="1"/>
                  </a:moveTo>
                  <a:cubicBezTo>
                    <a:pt x="1" y="1"/>
                    <a:pt x="1" y="1"/>
                    <a:pt x="0" y="1"/>
                  </a:cubicBezTo>
                  <a:cubicBezTo>
                    <a:pt x="1" y="1"/>
                    <a:pt x="1" y="1"/>
                    <a:pt x="1" y="1"/>
                  </a:cubicBezTo>
                  <a:moveTo>
                    <a:pt x="5" y="0"/>
                  </a:moveTo>
                  <a:cubicBezTo>
                    <a:pt x="4" y="1"/>
                    <a:pt x="3" y="1"/>
                    <a:pt x="1" y="1"/>
                  </a:cubicBezTo>
                  <a:cubicBezTo>
                    <a:pt x="1" y="1"/>
                    <a:pt x="1" y="1"/>
                    <a:pt x="2" y="1"/>
                  </a:cubicBezTo>
                  <a:cubicBezTo>
                    <a:pt x="2" y="1"/>
                    <a:pt x="2" y="1"/>
                    <a:pt x="3" y="1"/>
                  </a:cubicBezTo>
                  <a:cubicBezTo>
                    <a:pt x="3" y="1"/>
                    <a:pt x="3" y="1"/>
                    <a:pt x="3" y="1"/>
                  </a:cubicBezTo>
                  <a:cubicBezTo>
                    <a:pt x="4" y="1"/>
                    <a:pt x="4" y="1"/>
                    <a:pt x="4" y="1"/>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31"/>
            <p:cNvSpPr/>
            <p:nvPr/>
          </p:nvSpPr>
          <p:spPr bwMode="auto">
            <a:xfrm>
              <a:off x="9100160" y="1121345"/>
              <a:ext cx="26833" cy="14123"/>
            </a:xfrm>
            <a:custGeom>
              <a:gdLst>
                <a:gd name="T0" fmla="*/ 8 w 8"/>
                <a:gd name="T1" fmla="*/ 0 h 4"/>
                <a:gd name="T2" fmla="*/ 0 w 8"/>
                <a:gd name="T3" fmla="*/ 4 h 4"/>
                <a:gd name="T4" fmla="*/ 1 w 8"/>
                <a:gd name="T5" fmla="*/ 4 h 4"/>
                <a:gd name="T6" fmla="*/ 5 w 8"/>
                <a:gd name="T7" fmla="*/ 4 h 4"/>
                <a:gd name="T8" fmla="*/ 8 w 8"/>
                <a:gd name="T9" fmla="*/ 0 h 4"/>
              </a:gdLst>
              <a:cxnLst>
                <a:cxn ang="0">
                  <a:pos x="T0" y="T1"/>
                </a:cxn>
                <a:cxn ang="0">
                  <a:pos x="T2" y="T3"/>
                </a:cxn>
                <a:cxn ang="0">
                  <a:pos x="T4" y="T5"/>
                </a:cxn>
                <a:cxn ang="0">
                  <a:pos x="T6" y="T7"/>
                </a:cxn>
                <a:cxn ang="0">
                  <a:pos x="T8" y="T9"/>
                </a:cxn>
              </a:cxnLst>
              <a:rect l="0" t="0" r="r" b="b"/>
              <a:pathLst>
                <a:path w="8" h="4">
                  <a:moveTo>
                    <a:pt x="8" y="0"/>
                  </a:moveTo>
                  <a:cubicBezTo>
                    <a:pt x="5" y="1"/>
                    <a:pt x="3" y="3"/>
                    <a:pt x="0" y="4"/>
                  </a:cubicBezTo>
                  <a:cubicBezTo>
                    <a:pt x="1" y="4"/>
                    <a:pt x="1" y="4"/>
                    <a:pt x="1" y="4"/>
                  </a:cubicBezTo>
                  <a:cubicBezTo>
                    <a:pt x="2" y="4"/>
                    <a:pt x="4" y="4"/>
                    <a:pt x="5" y="4"/>
                  </a:cubicBezTo>
                  <a:cubicBezTo>
                    <a:pt x="7" y="3"/>
                    <a:pt x="8"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32"/>
            <p:cNvSpPr/>
            <p:nvPr/>
          </p:nvSpPr>
          <p:spPr bwMode="auto">
            <a:xfrm>
              <a:off x="9083213" y="903855"/>
              <a:ext cx="16947" cy="31070"/>
            </a:xfrm>
            <a:custGeom>
              <a:gdLst>
                <a:gd name="T0" fmla="*/ 3 w 5"/>
                <a:gd name="T1" fmla="*/ 0 h 9"/>
                <a:gd name="T2" fmla="*/ 0 w 5"/>
                <a:gd name="T3" fmla="*/ 6 h 9"/>
                <a:gd name="T4" fmla="*/ 3 w 5"/>
                <a:gd name="T5" fmla="*/ 9 h 9"/>
                <a:gd name="T6" fmla="*/ 4 w 5"/>
                <a:gd name="T7" fmla="*/ 5 h 9"/>
                <a:gd name="T8" fmla="*/ 3 w 5"/>
                <a:gd name="T9" fmla="*/ 0 h 9"/>
              </a:gdLst>
              <a:cxnLst>
                <a:cxn ang="0">
                  <a:pos x="T0" y="T1"/>
                </a:cxn>
                <a:cxn ang="0">
                  <a:pos x="T2" y="T3"/>
                </a:cxn>
                <a:cxn ang="0">
                  <a:pos x="T4" y="T5"/>
                </a:cxn>
                <a:cxn ang="0">
                  <a:pos x="T6" y="T7"/>
                </a:cxn>
                <a:cxn ang="0">
                  <a:pos x="T8" y="T9"/>
                </a:cxn>
              </a:cxnLst>
              <a:rect l="0" t="0" r="r" b="b"/>
              <a:pathLst>
                <a:path w="5" h="9">
                  <a:moveTo>
                    <a:pt x="3" y="0"/>
                  </a:moveTo>
                  <a:cubicBezTo>
                    <a:pt x="2" y="1"/>
                    <a:pt x="0" y="4"/>
                    <a:pt x="0" y="6"/>
                  </a:cubicBezTo>
                  <a:cubicBezTo>
                    <a:pt x="0" y="8"/>
                    <a:pt x="2" y="8"/>
                    <a:pt x="3" y="9"/>
                  </a:cubicBezTo>
                  <a:cubicBezTo>
                    <a:pt x="3" y="8"/>
                    <a:pt x="4" y="6"/>
                    <a:pt x="4" y="5"/>
                  </a:cubicBezTo>
                  <a:cubicBezTo>
                    <a:pt x="5" y="3"/>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33"/>
            <p:cNvSpPr/>
            <p:nvPr/>
          </p:nvSpPr>
          <p:spPr bwMode="auto">
            <a:xfrm>
              <a:off x="8943398" y="643997"/>
              <a:ext cx="16947" cy="9886"/>
            </a:xfrm>
            <a:custGeom>
              <a:gdLst>
                <a:gd name="T0" fmla="*/ 0 w 5"/>
                <a:gd name="T1" fmla="*/ 0 h 3"/>
                <a:gd name="T2" fmla="*/ 5 w 5"/>
                <a:gd name="T3" fmla="*/ 3 h 3"/>
                <a:gd name="T4" fmla="*/ 0 w 5"/>
                <a:gd name="T5" fmla="*/ 0 h 3"/>
              </a:gdLst>
              <a:cxnLst>
                <a:cxn ang="0">
                  <a:pos x="T0" y="T1"/>
                </a:cxn>
                <a:cxn ang="0">
                  <a:pos x="T2" y="T3"/>
                </a:cxn>
                <a:cxn ang="0">
                  <a:pos x="T4" y="T5"/>
                </a:cxn>
              </a:cxnLst>
              <a:rect l="0" t="0" r="r" b="b"/>
              <a:pathLst>
                <a:path w="5" h="3">
                  <a:moveTo>
                    <a:pt x="0" y="0"/>
                  </a:moveTo>
                  <a:cubicBezTo>
                    <a:pt x="1" y="2"/>
                    <a:pt x="3" y="3"/>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34"/>
            <p:cNvSpPr/>
            <p:nvPr/>
          </p:nvSpPr>
          <p:spPr bwMode="auto">
            <a:xfrm>
              <a:off x="8605866" y="553611"/>
              <a:ext cx="129929" cy="46605"/>
            </a:xfrm>
            <a:custGeom>
              <a:gdLst>
                <a:gd name="T0" fmla="*/ 3 w 39"/>
                <a:gd name="T1" fmla="*/ 0 h 14"/>
                <a:gd name="T2" fmla="*/ 0 w 39"/>
                <a:gd name="T3" fmla="*/ 5 h 14"/>
                <a:gd name="T4" fmla="*/ 1 w 39"/>
                <a:gd name="T5" fmla="*/ 9 h 14"/>
                <a:gd name="T6" fmla="*/ 5 w 39"/>
                <a:gd name="T7" fmla="*/ 13 h 14"/>
                <a:gd name="T8" fmla="*/ 5 w 39"/>
                <a:gd name="T9" fmla="*/ 13 h 14"/>
                <a:gd name="T10" fmla="*/ 10 w 39"/>
                <a:gd name="T11" fmla="*/ 13 h 14"/>
                <a:gd name="T12" fmla="*/ 14 w 39"/>
                <a:gd name="T13" fmla="*/ 12 h 14"/>
                <a:gd name="T14" fmla="*/ 22 w 39"/>
                <a:gd name="T15" fmla="*/ 13 h 14"/>
                <a:gd name="T16" fmla="*/ 25 w 39"/>
                <a:gd name="T17" fmla="*/ 14 h 14"/>
                <a:gd name="T18" fmla="*/ 33 w 39"/>
                <a:gd name="T19" fmla="*/ 11 h 14"/>
                <a:gd name="T20" fmla="*/ 34 w 39"/>
                <a:gd name="T21" fmla="*/ 3 h 14"/>
                <a:gd name="T22" fmla="*/ 28 w 39"/>
                <a:gd name="T23" fmla="*/ 1 h 14"/>
                <a:gd name="T24" fmla="*/ 28 w 39"/>
                <a:gd name="T25" fmla="*/ 1 h 14"/>
                <a:gd name="T26" fmla="*/ 27 w 39"/>
                <a:gd name="T27" fmla="*/ 2 h 14"/>
                <a:gd name="T28" fmla="*/ 26 w 39"/>
                <a:gd name="T29" fmla="*/ 2 h 14"/>
                <a:gd name="T30" fmla="*/ 26 w 39"/>
                <a:gd name="T31" fmla="*/ 2 h 14"/>
                <a:gd name="T32" fmla="*/ 25 w 39"/>
                <a:gd name="T33" fmla="*/ 1 h 14"/>
                <a:gd name="T34" fmla="*/ 20 w 39"/>
                <a:gd name="T35" fmla="*/ 1 h 14"/>
                <a:gd name="T36" fmla="*/ 3 w 39"/>
                <a:gd name="T3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4">
                  <a:moveTo>
                    <a:pt x="3" y="0"/>
                  </a:moveTo>
                  <a:cubicBezTo>
                    <a:pt x="2" y="2"/>
                    <a:pt x="0" y="2"/>
                    <a:pt x="0" y="5"/>
                  </a:cubicBezTo>
                  <a:cubicBezTo>
                    <a:pt x="0" y="6"/>
                    <a:pt x="1" y="8"/>
                    <a:pt x="1" y="9"/>
                  </a:cubicBezTo>
                  <a:cubicBezTo>
                    <a:pt x="2" y="12"/>
                    <a:pt x="2" y="13"/>
                    <a:pt x="5" y="13"/>
                  </a:cubicBezTo>
                  <a:cubicBezTo>
                    <a:pt x="5" y="13"/>
                    <a:pt x="5" y="13"/>
                    <a:pt x="5" y="13"/>
                  </a:cubicBezTo>
                  <a:cubicBezTo>
                    <a:pt x="7" y="13"/>
                    <a:pt x="9" y="13"/>
                    <a:pt x="10" y="13"/>
                  </a:cubicBezTo>
                  <a:cubicBezTo>
                    <a:pt x="11" y="12"/>
                    <a:pt x="12" y="12"/>
                    <a:pt x="14" y="12"/>
                  </a:cubicBezTo>
                  <a:cubicBezTo>
                    <a:pt x="17" y="12"/>
                    <a:pt x="21" y="13"/>
                    <a:pt x="22" y="13"/>
                  </a:cubicBezTo>
                  <a:cubicBezTo>
                    <a:pt x="23" y="14"/>
                    <a:pt x="24" y="14"/>
                    <a:pt x="25" y="14"/>
                  </a:cubicBezTo>
                  <a:cubicBezTo>
                    <a:pt x="28" y="14"/>
                    <a:pt x="32" y="12"/>
                    <a:pt x="33" y="11"/>
                  </a:cubicBezTo>
                  <a:cubicBezTo>
                    <a:pt x="36" y="7"/>
                    <a:pt x="39" y="5"/>
                    <a:pt x="34" y="3"/>
                  </a:cubicBezTo>
                  <a:cubicBezTo>
                    <a:pt x="32" y="2"/>
                    <a:pt x="30" y="2"/>
                    <a:pt x="28" y="1"/>
                  </a:cubicBezTo>
                  <a:cubicBezTo>
                    <a:pt x="28" y="1"/>
                    <a:pt x="28" y="1"/>
                    <a:pt x="28" y="1"/>
                  </a:cubicBezTo>
                  <a:cubicBezTo>
                    <a:pt x="28" y="1"/>
                    <a:pt x="28" y="1"/>
                    <a:pt x="27" y="2"/>
                  </a:cubicBezTo>
                  <a:cubicBezTo>
                    <a:pt x="27" y="2"/>
                    <a:pt x="27" y="2"/>
                    <a:pt x="26" y="2"/>
                  </a:cubicBezTo>
                  <a:cubicBezTo>
                    <a:pt x="26" y="2"/>
                    <a:pt x="26" y="2"/>
                    <a:pt x="26" y="2"/>
                  </a:cubicBezTo>
                  <a:cubicBezTo>
                    <a:pt x="26" y="1"/>
                    <a:pt x="26" y="1"/>
                    <a:pt x="25" y="1"/>
                  </a:cubicBezTo>
                  <a:cubicBezTo>
                    <a:pt x="23" y="1"/>
                    <a:pt x="22" y="1"/>
                    <a:pt x="20" y="1"/>
                  </a:cubicBezTo>
                  <a:cubicBezTo>
                    <a:pt x="14" y="1"/>
                    <a:pt x="9"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35"/>
            <p:cNvSpPr/>
            <p:nvPr/>
          </p:nvSpPr>
          <p:spPr bwMode="auto">
            <a:xfrm>
              <a:off x="8732970" y="583269"/>
              <a:ext cx="16947" cy="4237"/>
            </a:xfrm>
            <a:custGeom>
              <a:gdLst>
                <a:gd name="T0" fmla="*/ 5 w 5"/>
                <a:gd name="T1" fmla="*/ 0 h 1"/>
                <a:gd name="T2" fmla="*/ 0 w 5"/>
                <a:gd name="T3" fmla="*/ 1 h 1"/>
                <a:gd name="T4" fmla="*/ 3 w 5"/>
                <a:gd name="T5" fmla="*/ 1 h 1"/>
                <a:gd name="T6" fmla="*/ 5 w 5"/>
                <a:gd name="T7" fmla="*/ 0 h 1"/>
              </a:gdLst>
              <a:cxnLst>
                <a:cxn ang="0">
                  <a:pos x="T0" y="T1"/>
                </a:cxn>
                <a:cxn ang="0">
                  <a:pos x="T2" y="T3"/>
                </a:cxn>
                <a:cxn ang="0">
                  <a:pos x="T4" y="T5"/>
                </a:cxn>
                <a:cxn ang="0">
                  <a:pos x="T6" y="T7"/>
                </a:cxn>
              </a:cxnLst>
              <a:rect l="0" t="0" r="r" b="b"/>
              <a:pathLst>
                <a:path w="5" h="1">
                  <a:moveTo>
                    <a:pt x="5" y="0"/>
                  </a:moveTo>
                  <a:cubicBezTo>
                    <a:pt x="4" y="0"/>
                    <a:pt x="2" y="0"/>
                    <a:pt x="0" y="1"/>
                  </a:cubicBezTo>
                  <a:cubicBezTo>
                    <a:pt x="2" y="1"/>
                    <a:pt x="2" y="1"/>
                    <a:pt x="3" y="1"/>
                  </a:cubicBezTo>
                  <a:cubicBezTo>
                    <a:pt x="4"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36"/>
            <p:cNvSpPr/>
            <p:nvPr/>
          </p:nvSpPr>
          <p:spPr bwMode="auto">
            <a:xfrm>
              <a:off x="8997064" y="690602"/>
              <a:ext cx="2825" cy="9886"/>
            </a:xfrm>
            <a:custGeom>
              <a:gdLst>
                <a:gd name="T0" fmla="*/ 0 w 1"/>
                <a:gd name="T1" fmla="*/ 0 h 3"/>
                <a:gd name="T2" fmla="*/ 0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0" y="3"/>
                  </a:cubicBezTo>
                  <a:cubicBezTo>
                    <a:pt x="0"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37"/>
            <p:cNvSpPr/>
            <p:nvPr/>
          </p:nvSpPr>
          <p:spPr bwMode="auto">
            <a:xfrm>
              <a:off x="9066266" y="844540"/>
              <a:ext cx="36719" cy="33895"/>
            </a:xfrm>
            <a:custGeom>
              <a:gdLst>
                <a:gd name="T0" fmla="*/ 3 w 11"/>
                <a:gd name="T1" fmla="*/ 0 h 10"/>
                <a:gd name="T2" fmla="*/ 3 w 11"/>
                <a:gd name="T3" fmla="*/ 5 h 10"/>
                <a:gd name="T4" fmla="*/ 6 w 11"/>
                <a:gd name="T5" fmla="*/ 8 h 10"/>
                <a:gd name="T6" fmla="*/ 5 w 11"/>
                <a:gd name="T7" fmla="*/ 8 h 10"/>
                <a:gd name="T8" fmla="*/ 5 w 11"/>
                <a:gd name="T9" fmla="*/ 10 h 10"/>
                <a:gd name="T10" fmla="*/ 7 w 11"/>
                <a:gd name="T11" fmla="*/ 9 h 10"/>
                <a:gd name="T12" fmla="*/ 8 w 11"/>
                <a:gd name="T13" fmla="*/ 9 h 10"/>
                <a:gd name="T14" fmla="*/ 9 w 11"/>
                <a:gd name="T15" fmla="*/ 9 h 10"/>
                <a:gd name="T16" fmla="*/ 11 w 11"/>
                <a:gd name="T17" fmla="*/ 9 h 10"/>
                <a:gd name="T18" fmla="*/ 4 w 11"/>
                <a:gd name="T19" fmla="*/ 0 h 10"/>
                <a:gd name="T20" fmla="*/ 3 w 11"/>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3" y="0"/>
                  </a:moveTo>
                  <a:cubicBezTo>
                    <a:pt x="0" y="0"/>
                    <a:pt x="2" y="4"/>
                    <a:pt x="3" y="5"/>
                  </a:cubicBezTo>
                  <a:cubicBezTo>
                    <a:pt x="4" y="6"/>
                    <a:pt x="8" y="8"/>
                    <a:pt x="6" y="8"/>
                  </a:cubicBezTo>
                  <a:cubicBezTo>
                    <a:pt x="6" y="8"/>
                    <a:pt x="5" y="8"/>
                    <a:pt x="5" y="8"/>
                  </a:cubicBezTo>
                  <a:cubicBezTo>
                    <a:pt x="5" y="8"/>
                    <a:pt x="5" y="9"/>
                    <a:pt x="5" y="10"/>
                  </a:cubicBezTo>
                  <a:cubicBezTo>
                    <a:pt x="6" y="9"/>
                    <a:pt x="7" y="9"/>
                    <a:pt x="7" y="9"/>
                  </a:cubicBezTo>
                  <a:cubicBezTo>
                    <a:pt x="8" y="9"/>
                    <a:pt x="8" y="9"/>
                    <a:pt x="8" y="9"/>
                  </a:cubicBezTo>
                  <a:cubicBezTo>
                    <a:pt x="9" y="9"/>
                    <a:pt x="9" y="9"/>
                    <a:pt x="9" y="9"/>
                  </a:cubicBezTo>
                  <a:cubicBezTo>
                    <a:pt x="10" y="9"/>
                    <a:pt x="10" y="9"/>
                    <a:pt x="11" y="9"/>
                  </a:cubicBezTo>
                  <a:cubicBezTo>
                    <a:pt x="10" y="5"/>
                    <a:pt x="7"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39"/>
            <p:cNvSpPr/>
            <p:nvPr/>
          </p:nvSpPr>
          <p:spPr bwMode="auto">
            <a:xfrm>
              <a:off x="7744381" y="553611"/>
              <a:ext cx="168060" cy="63552"/>
            </a:xfrm>
            <a:custGeom>
              <a:gdLst>
                <a:gd name="T0" fmla="*/ 14 w 50"/>
                <a:gd name="T1" fmla="*/ 0 h 19"/>
                <a:gd name="T2" fmla="*/ 0 w 50"/>
                <a:gd name="T3" fmla="*/ 5 h 19"/>
                <a:gd name="T4" fmla="*/ 22 w 50"/>
                <a:gd name="T5" fmla="*/ 16 h 19"/>
                <a:gd name="T6" fmla="*/ 28 w 50"/>
                <a:gd name="T7" fmla="*/ 19 h 19"/>
                <a:gd name="T8" fmla="*/ 28 w 50"/>
                <a:gd name="T9" fmla="*/ 19 h 19"/>
                <a:gd name="T10" fmla="*/ 27 w 50"/>
                <a:gd name="T11" fmla="*/ 18 h 19"/>
                <a:gd name="T12" fmla="*/ 28 w 50"/>
                <a:gd name="T13" fmla="*/ 15 h 19"/>
                <a:gd name="T14" fmla="*/ 33 w 50"/>
                <a:gd name="T15" fmla="*/ 14 h 19"/>
                <a:gd name="T16" fmla="*/ 36 w 50"/>
                <a:gd name="T17" fmla="*/ 13 h 19"/>
                <a:gd name="T18" fmla="*/ 40 w 50"/>
                <a:gd name="T19" fmla="*/ 14 h 19"/>
                <a:gd name="T20" fmla="*/ 46 w 50"/>
                <a:gd name="T21" fmla="*/ 15 h 19"/>
                <a:gd name="T22" fmla="*/ 50 w 50"/>
                <a:gd name="T23" fmla="*/ 15 h 19"/>
                <a:gd name="T24" fmla="*/ 33 w 50"/>
                <a:gd name="T25" fmla="*/ 4 h 19"/>
                <a:gd name="T26" fmla="*/ 14 w 50"/>
                <a:gd name="T27"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9">
                  <a:moveTo>
                    <a:pt x="14" y="0"/>
                  </a:moveTo>
                  <a:cubicBezTo>
                    <a:pt x="9" y="1"/>
                    <a:pt x="5" y="3"/>
                    <a:pt x="0" y="5"/>
                  </a:cubicBezTo>
                  <a:cubicBezTo>
                    <a:pt x="7" y="9"/>
                    <a:pt x="14" y="15"/>
                    <a:pt x="22" y="16"/>
                  </a:cubicBezTo>
                  <a:cubicBezTo>
                    <a:pt x="24" y="16"/>
                    <a:pt x="26" y="19"/>
                    <a:pt x="28" y="19"/>
                  </a:cubicBezTo>
                  <a:cubicBezTo>
                    <a:pt x="28" y="19"/>
                    <a:pt x="28" y="19"/>
                    <a:pt x="28" y="19"/>
                  </a:cubicBezTo>
                  <a:cubicBezTo>
                    <a:pt x="27" y="18"/>
                    <a:pt x="27" y="18"/>
                    <a:pt x="27" y="18"/>
                  </a:cubicBezTo>
                  <a:cubicBezTo>
                    <a:pt x="27" y="17"/>
                    <a:pt x="28" y="16"/>
                    <a:pt x="28" y="15"/>
                  </a:cubicBezTo>
                  <a:cubicBezTo>
                    <a:pt x="29" y="14"/>
                    <a:pt x="32" y="14"/>
                    <a:pt x="33" y="14"/>
                  </a:cubicBezTo>
                  <a:cubicBezTo>
                    <a:pt x="34" y="13"/>
                    <a:pt x="35" y="13"/>
                    <a:pt x="36" y="13"/>
                  </a:cubicBezTo>
                  <a:cubicBezTo>
                    <a:pt x="37" y="13"/>
                    <a:pt x="38" y="14"/>
                    <a:pt x="40" y="14"/>
                  </a:cubicBezTo>
                  <a:cubicBezTo>
                    <a:pt x="43" y="15"/>
                    <a:pt x="45" y="15"/>
                    <a:pt x="46" y="15"/>
                  </a:cubicBezTo>
                  <a:cubicBezTo>
                    <a:pt x="48" y="15"/>
                    <a:pt x="49" y="15"/>
                    <a:pt x="50" y="15"/>
                  </a:cubicBezTo>
                  <a:cubicBezTo>
                    <a:pt x="48" y="9"/>
                    <a:pt x="39" y="6"/>
                    <a:pt x="33" y="4"/>
                  </a:cubicBezTo>
                  <a:cubicBezTo>
                    <a:pt x="27" y="1"/>
                    <a:pt x="21"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40"/>
            <p:cNvSpPr/>
            <p:nvPr/>
          </p:nvSpPr>
          <p:spPr bwMode="auto">
            <a:xfrm>
              <a:off x="7156877" y="714610"/>
              <a:ext cx="7061" cy="5649"/>
            </a:xfrm>
            <a:custGeom>
              <a:gdLst>
                <a:gd name="T0" fmla="*/ 2 w 2"/>
                <a:gd name="T1" fmla="*/ 0 h 2"/>
                <a:gd name="T2" fmla="*/ 0 w 2"/>
                <a:gd name="T3" fmla="*/ 2 h 2"/>
                <a:gd name="T4" fmla="*/ 2 w 2"/>
                <a:gd name="T5" fmla="*/ 0 h 2"/>
                <a:gd name="T6" fmla="*/ 2 w 2"/>
                <a:gd name="T7" fmla="*/ 0 h 2"/>
              </a:gdLst>
              <a:cxnLst>
                <a:cxn ang="0">
                  <a:pos x="T0" y="T1"/>
                </a:cxn>
                <a:cxn ang="0">
                  <a:pos x="T2" y="T3"/>
                </a:cxn>
                <a:cxn ang="0">
                  <a:pos x="T4" y="T5"/>
                </a:cxn>
                <a:cxn ang="0">
                  <a:pos x="T6" y="T7"/>
                </a:cxn>
              </a:cxnLst>
              <a:rect l="0" t="0" r="r" b="b"/>
              <a:pathLst>
                <a:path w="2" h="2">
                  <a:moveTo>
                    <a:pt x="2" y="0"/>
                  </a:moveTo>
                  <a:cubicBezTo>
                    <a:pt x="1" y="0"/>
                    <a:pt x="0" y="1"/>
                    <a:pt x="0" y="2"/>
                  </a:cubicBezTo>
                  <a:cubicBezTo>
                    <a:pt x="0" y="2"/>
                    <a:pt x="1"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41"/>
            <p:cNvSpPr/>
            <p:nvPr/>
          </p:nvSpPr>
          <p:spPr bwMode="auto">
            <a:xfrm>
              <a:off x="8135580" y="521129"/>
              <a:ext cx="43780" cy="15535"/>
            </a:xfrm>
            <a:custGeom>
              <a:gdLst>
                <a:gd name="T0" fmla="*/ 1 w 13"/>
                <a:gd name="T1" fmla="*/ 0 h 5"/>
                <a:gd name="T2" fmla="*/ 0 w 13"/>
                <a:gd name="T3" fmla="*/ 0 h 5"/>
                <a:gd name="T4" fmla="*/ 8 w 13"/>
                <a:gd name="T5" fmla="*/ 4 h 5"/>
                <a:gd name="T6" fmla="*/ 12 w 13"/>
                <a:gd name="T7" fmla="*/ 5 h 5"/>
                <a:gd name="T8" fmla="*/ 1 w 13"/>
                <a:gd name="T9" fmla="*/ 0 h 5"/>
              </a:gdLst>
              <a:cxnLst>
                <a:cxn ang="0">
                  <a:pos x="T0" y="T1"/>
                </a:cxn>
                <a:cxn ang="0">
                  <a:pos x="T2" y="T3"/>
                </a:cxn>
                <a:cxn ang="0">
                  <a:pos x="T4" y="T5"/>
                </a:cxn>
                <a:cxn ang="0">
                  <a:pos x="T6" y="T7"/>
                </a:cxn>
                <a:cxn ang="0">
                  <a:pos x="T8" y="T9"/>
                </a:cxn>
              </a:cxnLst>
              <a:rect l="0" t="0" r="r" b="b"/>
              <a:pathLst>
                <a:path w="13" h="5">
                  <a:moveTo>
                    <a:pt x="1" y="0"/>
                  </a:moveTo>
                  <a:cubicBezTo>
                    <a:pt x="1" y="0"/>
                    <a:pt x="1" y="0"/>
                    <a:pt x="0" y="0"/>
                  </a:cubicBezTo>
                  <a:cubicBezTo>
                    <a:pt x="2" y="2"/>
                    <a:pt x="6" y="4"/>
                    <a:pt x="8" y="4"/>
                  </a:cubicBezTo>
                  <a:cubicBezTo>
                    <a:pt x="9" y="5"/>
                    <a:pt x="11" y="5"/>
                    <a:pt x="12" y="5"/>
                  </a:cubicBezTo>
                  <a:cubicBezTo>
                    <a:pt x="13" y="1"/>
                    <a:pt x="5"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42"/>
            <p:cNvSpPr/>
            <p:nvPr/>
          </p:nvSpPr>
          <p:spPr bwMode="auto">
            <a:xfrm>
              <a:off x="8162413" y="430743"/>
              <a:ext cx="26833" cy="2825"/>
            </a:xfrm>
            <a:custGeom>
              <a:gdLst>
                <a:gd name="T0" fmla="*/ 0 w 8"/>
                <a:gd name="T1" fmla="*/ 0 h 1"/>
                <a:gd name="T2" fmla="*/ 2 w 8"/>
                <a:gd name="T3" fmla="*/ 0 h 1"/>
                <a:gd name="T4" fmla="*/ 8 w 8"/>
                <a:gd name="T5" fmla="*/ 1 h 1"/>
                <a:gd name="T6" fmla="*/ 8 w 8"/>
                <a:gd name="T7" fmla="*/ 1 h 1"/>
                <a:gd name="T8" fmla="*/ 8 w 8"/>
                <a:gd name="T9" fmla="*/ 1 h 1"/>
                <a:gd name="T10" fmla="*/ 8 w 8"/>
                <a:gd name="T11" fmla="*/ 1 h 1"/>
                <a:gd name="T12" fmla="*/ 8 w 8"/>
                <a:gd name="T13" fmla="*/ 1 h 1"/>
                <a:gd name="T14" fmla="*/ 7 w 8"/>
                <a:gd name="T15" fmla="*/ 1 h 1"/>
                <a:gd name="T16" fmla="*/ 5 w 8"/>
                <a:gd name="T17" fmla="*/ 1 h 1"/>
                <a:gd name="T18" fmla="*/ 0 w 8"/>
                <a:gd name="T1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
                  <a:moveTo>
                    <a:pt x="0" y="0"/>
                  </a:moveTo>
                  <a:cubicBezTo>
                    <a:pt x="1" y="0"/>
                    <a:pt x="1" y="0"/>
                    <a:pt x="2" y="0"/>
                  </a:cubicBezTo>
                  <a:cubicBezTo>
                    <a:pt x="4" y="1"/>
                    <a:pt x="6"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6" y="1"/>
                    <a:pt x="6" y="1"/>
                    <a:pt x="5" y="1"/>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43"/>
            <p:cNvSpPr/>
            <p:nvPr/>
          </p:nvSpPr>
          <p:spPr bwMode="auto">
            <a:xfrm>
              <a:off x="9039432" y="717435"/>
              <a:ext cx="33894" cy="19772"/>
            </a:xfrm>
            <a:custGeom>
              <a:gdLst>
                <a:gd name="T0" fmla="*/ 5 w 10"/>
                <a:gd name="T1" fmla="*/ 0 h 6"/>
                <a:gd name="T2" fmla="*/ 4 w 10"/>
                <a:gd name="T3" fmla="*/ 6 h 6"/>
                <a:gd name="T4" fmla="*/ 4 w 10"/>
                <a:gd name="T5" fmla="*/ 6 h 6"/>
                <a:gd name="T6" fmla="*/ 7 w 10"/>
                <a:gd name="T7" fmla="*/ 5 h 6"/>
                <a:gd name="T8" fmla="*/ 10 w 10"/>
                <a:gd name="T9" fmla="*/ 5 h 6"/>
                <a:gd name="T10" fmla="*/ 10 w 10"/>
                <a:gd name="T11" fmla="*/ 5 h 6"/>
                <a:gd name="T12" fmla="*/ 5 w 10"/>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10" h="6">
                  <a:moveTo>
                    <a:pt x="5" y="0"/>
                  </a:moveTo>
                  <a:cubicBezTo>
                    <a:pt x="3" y="1"/>
                    <a:pt x="0" y="5"/>
                    <a:pt x="4" y="6"/>
                  </a:cubicBezTo>
                  <a:cubicBezTo>
                    <a:pt x="4" y="6"/>
                    <a:pt x="4" y="6"/>
                    <a:pt x="4" y="6"/>
                  </a:cubicBezTo>
                  <a:cubicBezTo>
                    <a:pt x="5" y="6"/>
                    <a:pt x="6" y="6"/>
                    <a:pt x="7" y="5"/>
                  </a:cubicBezTo>
                  <a:cubicBezTo>
                    <a:pt x="8" y="5"/>
                    <a:pt x="9" y="5"/>
                    <a:pt x="10" y="5"/>
                  </a:cubicBezTo>
                  <a:cubicBezTo>
                    <a:pt x="10" y="5"/>
                    <a:pt x="10" y="5"/>
                    <a:pt x="10" y="5"/>
                  </a:cubicBezTo>
                  <a:cubicBezTo>
                    <a:pt x="9" y="4"/>
                    <a:pt x="5"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44"/>
            <p:cNvSpPr/>
            <p:nvPr/>
          </p:nvSpPr>
          <p:spPr bwMode="auto">
            <a:xfrm>
              <a:off x="9063441" y="756979"/>
              <a:ext cx="9886" cy="7061"/>
            </a:xfrm>
            <a:custGeom>
              <a:gdLst>
                <a:gd name="T0" fmla="*/ 2 w 3"/>
                <a:gd name="T1" fmla="*/ 0 h 2"/>
                <a:gd name="T2" fmla="*/ 0 w 3"/>
                <a:gd name="T3" fmla="*/ 0 h 2"/>
                <a:gd name="T4" fmla="*/ 2 w 3"/>
                <a:gd name="T5" fmla="*/ 2 h 2"/>
                <a:gd name="T6" fmla="*/ 3 w 3"/>
                <a:gd name="T7" fmla="*/ 0 h 2"/>
                <a:gd name="T8" fmla="*/ 2 w 3"/>
                <a:gd name="T9" fmla="*/ 0 h 2"/>
              </a:gdLst>
              <a:cxnLst>
                <a:cxn ang="0">
                  <a:pos x="T0" y="T1"/>
                </a:cxn>
                <a:cxn ang="0">
                  <a:pos x="T2" y="T3"/>
                </a:cxn>
                <a:cxn ang="0">
                  <a:pos x="T4" y="T5"/>
                </a:cxn>
                <a:cxn ang="0">
                  <a:pos x="T6" y="T7"/>
                </a:cxn>
                <a:cxn ang="0">
                  <a:pos x="T8" y="T9"/>
                </a:cxn>
              </a:cxnLst>
              <a:rect l="0" t="0" r="r" b="b"/>
              <a:pathLst>
                <a:path w="3" h="2">
                  <a:moveTo>
                    <a:pt x="2" y="0"/>
                  </a:moveTo>
                  <a:cubicBezTo>
                    <a:pt x="2" y="0"/>
                    <a:pt x="1" y="0"/>
                    <a:pt x="0" y="0"/>
                  </a:cubicBezTo>
                  <a:cubicBezTo>
                    <a:pt x="1" y="1"/>
                    <a:pt x="1" y="1"/>
                    <a:pt x="2" y="2"/>
                  </a:cubicBezTo>
                  <a:cubicBezTo>
                    <a:pt x="2" y="1"/>
                    <a:pt x="2"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45"/>
            <p:cNvSpPr/>
            <p:nvPr/>
          </p:nvSpPr>
          <p:spPr bwMode="auto">
            <a:xfrm>
              <a:off x="9026722" y="730145"/>
              <a:ext cx="22596" cy="24009"/>
            </a:xfrm>
            <a:custGeom>
              <a:gdLst>
                <a:gd name="T0" fmla="*/ 4 w 7"/>
                <a:gd name="T1" fmla="*/ 0 h 7"/>
                <a:gd name="T2" fmla="*/ 0 w 7"/>
                <a:gd name="T3" fmla="*/ 1 h 7"/>
                <a:gd name="T4" fmla="*/ 3 w 7"/>
                <a:gd name="T5" fmla="*/ 7 h 7"/>
                <a:gd name="T6" fmla="*/ 4 w 7"/>
                <a:gd name="T7" fmla="*/ 7 h 7"/>
                <a:gd name="T8" fmla="*/ 4 w 7"/>
                <a:gd name="T9" fmla="*/ 0 h 7"/>
              </a:gdLst>
              <a:cxnLst>
                <a:cxn ang="0">
                  <a:pos x="T0" y="T1"/>
                </a:cxn>
                <a:cxn ang="0">
                  <a:pos x="T2" y="T3"/>
                </a:cxn>
                <a:cxn ang="0">
                  <a:pos x="T4" y="T5"/>
                </a:cxn>
                <a:cxn ang="0">
                  <a:pos x="T6" y="T7"/>
                </a:cxn>
                <a:cxn ang="0">
                  <a:pos x="T8" y="T9"/>
                </a:cxn>
              </a:cxnLst>
              <a:rect l="0" t="0" r="r" b="b"/>
              <a:pathLst>
                <a:path w="7" h="7">
                  <a:moveTo>
                    <a:pt x="4" y="0"/>
                  </a:moveTo>
                  <a:cubicBezTo>
                    <a:pt x="3" y="0"/>
                    <a:pt x="1" y="0"/>
                    <a:pt x="0" y="1"/>
                  </a:cubicBezTo>
                  <a:cubicBezTo>
                    <a:pt x="1" y="3"/>
                    <a:pt x="1" y="7"/>
                    <a:pt x="3" y="7"/>
                  </a:cubicBezTo>
                  <a:cubicBezTo>
                    <a:pt x="3" y="7"/>
                    <a:pt x="4" y="7"/>
                    <a:pt x="4" y="7"/>
                  </a:cubicBezTo>
                  <a:cubicBezTo>
                    <a:pt x="7" y="7"/>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46"/>
            <p:cNvSpPr/>
            <p:nvPr/>
          </p:nvSpPr>
          <p:spPr bwMode="auto">
            <a:xfrm>
              <a:off x="9026722" y="1050731"/>
              <a:ext cx="12710" cy="16947"/>
            </a:xfrm>
            <a:custGeom>
              <a:gdLst>
                <a:gd name="T0" fmla="*/ 3 w 4"/>
                <a:gd name="T1" fmla="*/ 0 h 5"/>
                <a:gd name="T2" fmla="*/ 0 w 4"/>
                <a:gd name="T3" fmla="*/ 5 h 5"/>
                <a:gd name="T4" fmla="*/ 4 w 4"/>
                <a:gd name="T5" fmla="*/ 2 h 5"/>
                <a:gd name="T6" fmla="*/ 3 w 4"/>
                <a:gd name="T7" fmla="*/ 0 h 5"/>
              </a:gdLst>
              <a:cxnLst>
                <a:cxn ang="0">
                  <a:pos x="T0" y="T1"/>
                </a:cxn>
                <a:cxn ang="0">
                  <a:pos x="T2" y="T3"/>
                </a:cxn>
                <a:cxn ang="0">
                  <a:pos x="T4" y="T5"/>
                </a:cxn>
                <a:cxn ang="0">
                  <a:pos x="T6" y="T7"/>
                </a:cxn>
              </a:cxnLst>
              <a:rect l="0" t="0" r="r" b="b"/>
              <a:pathLst>
                <a:path w="4" h="5">
                  <a:moveTo>
                    <a:pt x="3" y="0"/>
                  </a:moveTo>
                  <a:cubicBezTo>
                    <a:pt x="2" y="0"/>
                    <a:pt x="1" y="5"/>
                    <a:pt x="0" y="5"/>
                  </a:cubicBezTo>
                  <a:cubicBezTo>
                    <a:pt x="2" y="4"/>
                    <a:pt x="3" y="3"/>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58"/>
            <p:cNvSpPr/>
            <p:nvPr/>
          </p:nvSpPr>
          <p:spPr bwMode="auto">
            <a:xfrm>
              <a:off x="6800985" y="1972946"/>
              <a:ext cx="9886" cy="2825"/>
            </a:xfrm>
            <a:custGeom>
              <a:gdLst>
                <a:gd name="T0" fmla="*/ 1 w 3"/>
                <a:gd name="T1" fmla="*/ 0 h 1"/>
                <a:gd name="T2" fmla="*/ 0 w 3"/>
                <a:gd name="T3" fmla="*/ 1 h 1"/>
                <a:gd name="T4" fmla="*/ 3 w 3"/>
                <a:gd name="T5" fmla="*/ 1 h 1"/>
                <a:gd name="T6" fmla="*/ 1 w 3"/>
                <a:gd name="T7" fmla="*/ 0 h 1"/>
              </a:gdLst>
              <a:cxnLst>
                <a:cxn ang="0">
                  <a:pos x="T0" y="T1"/>
                </a:cxn>
                <a:cxn ang="0">
                  <a:pos x="T2" y="T3"/>
                </a:cxn>
                <a:cxn ang="0">
                  <a:pos x="T4" y="T5"/>
                </a:cxn>
                <a:cxn ang="0">
                  <a:pos x="T6" y="T7"/>
                </a:cxn>
              </a:cxnLst>
              <a:rect l="0" t="0" r="r" b="b"/>
              <a:pathLst>
                <a:path w="3" h="1">
                  <a:moveTo>
                    <a:pt x="1" y="0"/>
                  </a:moveTo>
                  <a:cubicBezTo>
                    <a:pt x="1" y="0"/>
                    <a:pt x="1" y="1"/>
                    <a:pt x="0" y="1"/>
                  </a:cubicBezTo>
                  <a:cubicBezTo>
                    <a:pt x="1" y="1"/>
                    <a:pt x="2" y="1"/>
                    <a:pt x="3"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59"/>
            <p:cNvSpPr/>
            <p:nvPr/>
          </p:nvSpPr>
          <p:spPr bwMode="auto">
            <a:xfrm>
              <a:off x="6713424" y="2026612"/>
              <a:ext cx="24009" cy="16947"/>
            </a:xfrm>
            <a:custGeom>
              <a:gdLst>
                <a:gd name="T0" fmla="*/ 4 w 7"/>
                <a:gd name="T1" fmla="*/ 0 h 5"/>
                <a:gd name="T2" fmla="*/ 0 w 7"/>
                <a:gd name="T3" fmla="*/ 0 h 5"/>
                <a:gd name="T4" fmla="*/ 3 w 7"/>
                <a:gd name="T5" fmla="*/ 5 h 5"/>
                <a:gd name="T6" fmla="*/ 4 w 7"/>
                <a:gd name="T7" fmla="*/ 5 h 5"/>
                <a:gd name="T8" fmla="*/ 7 w 7"/>
                <a:gd name="T9" fmla="*/ 2 h 5"/>
                <a:gd name="T10" fmla="*/ 4 w 7"/>
                <a:gd name="T11" fmla="*/ 0 h 5"/>
              </a:gdLst>
              <a:cxnLst>
                <a:cxn ang="0">
                  <a:pos x="T0" y="T1"/>
                </a:cxn>
                <a:cxn ang="0">
                  <a:pos x="T2" y="T3"/>
                </a:cxn>
                <a:cxn ang="0">
                  <a:pos x="T4" y="T5"/>
                </a:cxn>
                <a:cxn ang="0">
                  <a:pos x="T6" y="T7"/>
                </a:cxn>
                <a:cxn ang="0">
                  <a:pos x="T8" y="T9"/>
                </a:cxn>
                <a:cxn ang="0">
                  <a:pos x="T10" y="T11"/>
                </a:cxn>
              </a:cxnLst>
              <a:rect l="0" t="0" r="r" b="b"/>
              <a:pathLst>
                <a:path w="7" h="5">
                  <a:moveTo>
                    <a:pt x="4" y="0"/>
                  </a:moveTo>
                  <a:cubicBezTo>
                    <a:pt x="3" y="0"/>
                    <a:pt x="2" y="0"/>
                    <a:pt x="0" y="0"/>
                  </a:cubicBezTo>
                  <a:cubicBezTo>
                    <a:pt x="1" y="2"/>
                    <a:pt x="2" y="3"/>
                    <a:pt x="3" y="5"/>
                  </a:cubicBezTo>
                  <a:cubicBezTo>
                    <a:pt x="4" y="5"/>
                    <a:pt x="4" y="5"/>
                    <a:pt x="4" y="5"/>
                  </a:cubicBezTo>
                  <a:cubicBezTo>
                    <a:pt x="6" y="5"/>
                    <a:pt x="7" y="4"/>
                    <a:pt x="7" y="2"/>
                  </a:cubicBezTo>
                  <a:cubicBezTo>
                    <a:pt x="7" y="0"/>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60"/>
            <p:cNvSpPr/>
            <p:nvPr/>
          </p:nvSpPr>
          <p:spPr bwMode="auto">
            <a:xfrm>
              <a:off x="6867361" y="2056270"/>
              <a:ext cx="36719" cy="19772"/>
            </a:xfrm>
            <a:custGeom>
              <a:gdLst>
                <a:gd name="T0" fmla="*/ 10 w 11"/>
                <a:gd name="T1" fmla="*/ 0 h 6"/>
                <a:gd name="T2" fmla="*/ 4 w 11"/>
                <a:gd name="T3" fmla="*/ 6 h 6"/>
                <a:gd name="T4" fmla="*/ 9 w 11"/>
                <a:gd name="T5" fmla="*/ 2 h 6"/>
                <a:gd name="T6" fmla="*/ 10 w 11"/>
                <a:gd name="T7" fmla="*/ 1 h 6"/>
                <a:gd name="T8" fmla="*/ 10 w 11"/>
                <a:gd name="T9" fmla="*/ 0 h 6"/>
              </a:gdLst>
              <a:cxnLst>
                <a:cxn ang="0">
                  <a:pos x="T0" y="T1"/>
                </a:cxn>
                <a:cxn ang="0">
                  <a:pos x="T2" y="T3"/>
                </a:cxn>
                <a:cxn ang="0">
                  <a:pos x="T4" y="T5"/>
                </a:cxn>
                <a:cxn ang="0">
                  <a:pos x="T6" y="T7"/>
                </a:cxn>
                <a:cxn ang="0">
                  <a:pos x="T8" y="T9"/>
                </a:cxn>
              </a:cxnLst>
              <a:rect l="0" t="0" r="r" b="b"/>
              <a:pathLst>
                <a:path w="11" h="6">
                  <a:moveTo>
                    <a:pt x="10" y="0"/>
                  </a:moveTo>
                  <a:cubicBezTo>
                    <a:pt x="7" y="0"/>
                    <a:pt x="0" y="4"/>
                    <a:pt x="4" y="6"/>
                  </a:cubicBezTo>
                  <a:cubicBezTo>
                    <a:pt x="6" y="6"/>
                    <a:pt x="8" y="4"/>
                    <a:pt x="9" y="2"/>
                  </a:cubicBezTo>
                  <a:cubicBezTo>
                    <a:pt x="9" y="2"/>
                    <a:pt x="11" y="1"/>
                    <a:pt x="10" y="1"/>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61"/>
            <p:cNvSpPr/>
            <p:nvPr/>
          </p:nvSpPr>
          <p:spPr bwMode="auto">
            <a:xfrm>
              <a:off x="6806634" y="2100051"/>
              <a:ext cx="7061" cy="9886"/>
            </a:xfrm>
            <a:custGeom>
              <a:gdLst>
                <a:gd name="T0" fmla="*/ 1 w 2"/>
                <a:gd name="T1" fmla="*/ 0 h 3"/>
                <a:gd name="T2" fmla="*/ 0 w 2"/>
                <a:gd name="T3" fmla="*/ 2 h 3"/>
                <a:gd name="T4" fmla="*/ 1 w 2"/>
                <a:gd name="T5" fmla="*/ 3 h 3"/>
                <a:gd name="T6" fmla="*/ 1 w 2"/>
                <a:gd name="T7" fmla="*/ 0 h 3"/>
              </a:gdLst>
              <a:cxnLst>
                <a:cxn ang="0">
                  <a:pos x="T0" y="T1"/>
                </a:cxn>
                <a:cxn ang="0">
                  <a:pos x="T2" y="T3"/>
                </a:cxn>
                <a:cxn ang="0">
                  <a:pos x="T4" y="T5"/>
                </a:cxn>
                <a:cxn ang="0">
                  <a:pos x="T6" y="T7"/>
                </a:cxn>
              </a:cxnLst>
              <a:rect l="0" t="0" r="r" b="b"/>
              <a:pathLst>
                <a:path w="2" h="3">
                  <a:moveTo>
                    <a:pt x="1" y="0"/>
                  </a:moveTo>
                  <a:cubicBezTo>
                    <a:pt x="1" y="1"/>
                    <a:pt x="0" y="1"/>
                    <a:pt x="0" y="2"/>
                  </a:cubicBezTo>
                  <a:cubicBezTo>
                    <a:pt x="0" y="2"/>
                    <a:pt x="0" y="3"/>
                    <a:pt x="1" y="3"/>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62"/>
            <p:cNvSpPr/>
            <p:nvPr/>
          </p:nvSpPr>
          <p:spPr bwMode="auto">
            <a:xfrm>
              <a:off x="6760029" y="2016727"/>
              <a:ext cx="40956" cy="12710"/>
            </a:xfrm>
            <a:custGeom>
              <a:gdLst>
                <a:gd name="T0" fmla="*/ 7 w 12"/>
                <a:gd name="T1" fmla="*/ 0 h 4"/>
                <a:gd name="T2" fmla="*/ 6 w 12"/>
                <a:gd name="T3" fmla="*/ 0 h 4"/>
                <a:gd name="T4" fmla="*/ 11 w 12"/>
                <a:gd name="T5" fmla="*/ 4 h 4"/>
                <a:gd name="T6" fmla="*/ 9 w 12"/>
                <a:gd name="T7" fmla="*/ 0 h 4"/>
                <a:gd name="T8" fmla="*/ 7 w 12"/>
                <a:gd name="T9" fmla="*/ 0 h 4"/>
              </a:gdLst>
              <a:cxnLst>
                <a:cxn ang="0">
                  <a:pos x="T0" y="T1"/>
                </a:cxn>
                <a:cxn ang="0">
                  <a:pos x="T2" y="T3"/>
                </a:cxn>
                <a:cxn ang="0">
                  <a:pos x="T4" y="T5"/>
                </a:cxn>
                <a:cxn ang="0">
                  <a:pos x="T6" y="T7"/>
                </a:cxn>
                <a:cxn ang="0">
                  <a:pos x="T8" y="T9"/>
                </a:cxn>
              </a:cxnLst>
              <a:rect l="0" t="0" r="r" b="b"/>
              <a:pathLst>
                <a:path w="12" h="4">
                  <a:moveTo>
                    <a:pt x="7" y="0"/>
                  </a:moveTo>
                  <a:cubicBezTo>
                    <a:pt x="6" y="0"/>
                    <a:pt x="6" y="0"/>
                    <a:pt x="6" y="0"/>
                  </a:cubicBezTo>
                  <a:cubicBezTo>
                    <a:pt x="0" y="3"/>
                    <a:pt x="11" y="4"/>
                    <a:pt x="11" y="4"/>
                  </a:cubicBezTo>
                  <a:cubicBezTo>
                    <a:pt x="12" y="2"/>
                    <a:pt x="10"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63"/>
            <p:cNvSpPr/>
            <p:nvPr/>
          </p:nvSpPr>
          <p:spPr bwMode="auto">
            <a:xfrm>
              <a:off x="6717661" y="1989893"/>
              <a:ext cx="66377" cy="96035"/>
            </a:xfrm>
            <a:custGeom>
              <a:gdLst>
                <a:gd name="T0" fmla="*/ 6 w 20"/>
                <a:gd name="T1" fmla="*/ 0 h 29"/>
                <a:gd name="T2" fmla="*/ 3 w 20"/>
                <a:gd name="T3" fmla="*/ 3 h 29"/>
                <a:gd name="T4" fmla="*/ 1 w 20"/>
                <a:gd name="T5" fmla="*/ 4 h 29"/>
                <a:gd name="T6" fmla="*/ 2 w 20"/>
                <a:gd name="T7" fmla="*/ 5 h 29"/>
                <a:gd name="T8" fmla="*/ 3 w 20"/>
                <a:gd name="T9" fmla="*/ 5 h 29"/>
                <a:gd name="T10" fmla="*/ 4 w 20"/>
                <a:gd name="T11" fmla="*/ 4 h 29"/>
                <a:gd name="T12" fmla="*/ 4 w 20"/>
                <a:gd name="T13" fmla="*/ 5 h 29"/>
                <a:gd name="T14" fmla="*/ 6 w 20"/>
                <a:gd name="T15" fmla="*/ 8 h 29"/>
                <a:gd name="T16" fmla="*/ 8 w 20"/>
                <a:gd name="T17" fmla="*/ 13 h 29"/>
                <a:gd name="T18" fmla="*/ 12 w 20"/>
                <a:gd name="T19" fmla="*/ 19 h 29"/>
                <a:gd name="T20" fmla="*/ 5 w 20"/>
                <a:gd name="T21" fmla="*/ 22 h 29"/>
                <a:gd name="T22" fmla="*/ 11 w 20"/>
                <a:gd name="T23" fmla="*/ 29 h 29"/>
                <a:gd name="T24" fmla="*/ 20 w 20"/>
                <a:gd name="T25" fmla="*/ 21 h 29"/>
                <a:gd name="T26" fmla="*/ 17 w 20"/>
                <a:gd name="T27" fmla="*/ 19 h 29"/>
                <a:gd name="T28" fmla="*/ 17 w 20"/>
                <a:gd name="T29" fmla="*/ 19 h 29"/>
                <a:gd name="T30" fmla="*/ 15 w 20"/>
                <a:gd name="T31" fmla="*/ 13 h 29"/>
                <a:gd name="T32" fmla="*/ 12 w 20"/>
                <a:gd name="T33" fmla="*/ 11 h 29"/>
                <a:gd name="T34" fmla="*/ 6 w 20"/>
                <a:gd name="T35" fmla="*/ 0 h 29"/>
                <a:gd name="T36" fmla="*/ 6 w 20"/>
                <a:gd name="T37"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8">
                  <a:moveTo>
                    <a:pt x="6" y="0"/>
                  </a:moveTo>
                  <a:cubicBezTo>
                    <a:pt x="6" y="0"/>
                    <a:pt x="4" y="2"/>
                    <a:pt x="3" y="3"/>
                  </a:cubicBezTo>
                  <a:cubicBezTo>
                    <a:pt x="1" y="4"/>
                    <a:pt x="1" y="4"/>
                    <a:pt x="1" y="4"/>
                  </a:cubicBezTo>
                  <a:cubicBezTo>
                    <a:pt x="1" y="5"/>
                    <a:pt x="1" y="5"/>
                    <a:pt x="2" y="5"/>
                  </a:cubicBezTo>
                  <a:cubicBezTo>
                    <a:pt x="2" y="5"/>
                    <a:pt x="2" y="5"/>
                    <a:pt x="3" y="5"/>
                  </a:cubicBezTo>
                  <a:cubicBezTo>
                    <a:pt x="3" y="5"/>
                    <a:pt x="4" y="4"/>
                    <a:pt x="4" y="4"/>
                  </a:cubicBezTo>
                  <a:cubicBezTo>
                    <a:pt x="4" y="4"/>
                    <a:pt x="4" y="5"/>
                    <a:pt x="4" y="5"/>
                  </a:cubicBezTo>
                  <a:cubicBezTo>
                    <a:pt x="6" y="5"/>
                    <a:pt x="5" y="7"/>
                    <a:pt x="6" y="8"/>
                  </a:cubicBezTo>
                  <a:cubicBezTo>
                    <a:pt x="6" y="11"/>
                    <a:pt x="7" y="11"/>
                    <a:pt x="8" y="13"/>
                  </a:cubicBezTo>
                  <a:cubicBezTo>
                    <a:pt x="10" y="14"/>
                    <a:pt x="13" y="17"/>
                    <a:pt x="12" y="19"/>
                  </a:cubicBezTo>
                  <a:cubicBezTo>
                    <a:pt x="10" y="21"/>
                    <a:pt x="7" y="20"/>
                    <a:pt x="5" y="22"/>
                  </a:cubicBezTo>
                  <a:cubicBezTo>
                    <a:pt x="0" y="27"/>
                    <a:pt x="7" y="27"/>
                    <a:pt x="11" y="29"/>
                  </a:cubicBezTo>
                  <a:cubicBezTo>
                    <a:pt x="14" y="26"/>
                    <a:pt x="17" y="24"/>
                    <a:pt x="20" y="21"/>
                  </a:cubicBezTo>
                  <a:cubicBezTo>
                    <a:pt x="18" y="21"/>
                    <a:pt x="18" y="19"/>
                    <a:pt x="17" y="19"/>
                  </a:cubicBezTo>
                  <a:cubicBezTo>
                    <a:pt x="17" y="19"/>
                    <a:pt x="17" y="19"/>
                    <a:pt x="17" y="19"/>
                  </a:cubicBezTo>
                  <a:cubicBezTo>
                    <a:pt x="16" y="16"/>
                    <a:pt x="16" y="15"/>
                    <a:pt x="15" y="13"/>
                  </a:cubicBezTo>
                  <a:cubicBezTo>
                    <a:pt x="14" y="12"/>
                    <a:pt x="13" y="12"/>
                    <a:pt x="12" y="11"/>
                  </a:cubicBezTo>
                  <a:cubicBezTo>
                    <a:pt x="10" y="8"/>
                    <a:pt x="10"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64"/>
            <p:cNvSpPr/>
            <p:nvPr/>
          </p:nvSpPr>
          <p:spPr bwMode="auto">
            <a:xfrm>
              <a:off x="6796748" y="2043560"/>
              <a:ext cx="36719" cy="15535"/>
            </a:xfrm>
            <a:custGeom>
              <a:gdLst>
                <a:gd name="T0" fmla="*/ 6 w 11"/>
                <a:gd name="T1" fmla="*/ 0 h 5"/>
                <a:gd name="T2" fmla="*/ 5 w 11"/>
                <a:gd name="T3" fmla="*/ 0 h 5"/>
                <a:gd name="T4" fmla="*/ 6 w 11"/>
                <a:gd name="T5" fmla="*/ 5 h 5"/>
                <a:gd name="T6" fmla="*/ 9 w 11"/>
                <a:gd name="T7" fmla="*/ 5 h 5"/>
                <a:gd name="T8" fmla="*/ 6 w 11"/>
                <a:gd name="T9" fmla="*/ 0 h 5"/>
              </a:gdLst>
              <a:cxnLst>
                <a:cxn ang="0">
                  <a:pos x="T0" y="T1"/>
                </a:cxn>
                <a:cxn ang="0">
                  <a:pos x="T2" y="T3"/>
                </a:cxn>
                <a:cxn ang="0">
                  <a:pos x="T4" y="T5"/>
                </a:cxn>
                <a:cxn ang="0">
                  <a:pos x="T6" y="T7"/>
                </a:cxn>
                <a:cxn ang="0">
                  <a:pos x="T8" y="T9"/>
                </a:cxn>
              </a:cxnLst>
              <a:rect l="0" t="0" r="r" b="b"/>
              <a:pathLst>
                <a:path w="11" h="5">
                  <a:moveTo>
                    <a:pt x="6" y="0"/>
                  </a:moveTo>
                  <a:cubicBezTo>
                    <a:pt x="6" y="0"/>
                    <a:pt x="5" y="0"/>
                    <a:pt x="5" y="0"/>
                  </a:cubicBezTo>
                  <a:cubicBezTo>
                    <a:pt x="0" y="1"/>
                    <a:pt x="1" y="5"/>
                    <a:pt x="6" y="5"/>
                  </a:cubicBezTo>
                  <a:cubicBezTo>
                    <a:pt x="7" y="5"/>
                    <a:pt x="8" y="5"/>
                    <a:pt x="9" y="5"/>
                  </a:cubicBezTo>
                  <a:cubicBezTo>
                    <a:pt x="11"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65"/>
            <p:cNvSpPr/>
            <p:nvPr/>
          </p:nvSpPr>
          <p:spPr bwMode="auto">
            <a:xfrm>
              <a:off x="8485823" y="580444"/>
              <a:ext cx="16947" cy="2825"/>
            </a:xfrm>
            <a:custGeom>
              <a:gdLst>
                <a:gd name="T0" fmla="*/ 2 w 5"/>
                <a:gd name="T1" fmla="*/ 0 h 1"/>
                <a:gd name="T2" fmla="*/ 0 w 5"/>
                <a:gd name="T3" fmla="*/ 0 h 1"/>
                <a:gd name="T4" fmla="*/ 4 w 5"/>
                <a:gd name="T5" fmla="*/ 1 h 1"/>
                <a:gd name="T6" fmla="*/ 5 w 5"/>
                <a:gd name="T7" fmla="*/ 1 h 1"/>
                <a:gd name="T8" fmla="*/ 5 w 5"/>
                <a:gd name="T9" fmla="*/ 1 h 1"/>
                <a:gd name="T10" fmla="*/ 5 w 5"/>
                <a:gd name="T11" fmla="*/ 1 h 1"/>
                <a:gd name="T12" fmla="*/ 4 w 5"/>
                <a:gd name="T13" fmla="*/ 1 h 1"/>
                <a:gd name="T14" fmla="*/ 4 w 5"/>
                <a:gd name="T15" fmla="*/ 1 h 1"/>
                <a:gd name="T16" fmla="*/ 3 w 5"/>
                <a:gd name="T17" fmla="*/ 0 h 1"/>
                <a:gd name="T18" fmla="*/ 2 w 5"/>
                <a:gd name="T1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
                  <a:moveTo>
                    <a:pt x="2" y="0"/>
                  </a:moveTo>
                  <a:cubicBezTo>
                    <a:pt x="1" y="0"/>
                    <a:pt x="1" y="0"/>
                    <a:pt x="0" y="0"/>
                  </a:cubicBezTo>
                  <a:cubicBezTo>
                    <a:pt x="1" y="1"/>
                    <a:pt x="3" y="1"/>
                    <a:pt x="4"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3" y="0"/>
                    <a:pt x="3" y="0"/>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66"/>
            <p:cNvSpPr/>
            <p:nvPr/>
          </p:nvSpPr>
          <p:spPr bwMode="auto">
            <a:xfrm>
              <a:off x="9049318" y="783812"/>
              <a:ext cx="24009" cy="33895"/>
            </a:xfrm>
            <a:custGeom>
              <a:gdLst>
                <a:gd name="T0" fmla="*/ 1 w 7"/>
                <a:gd name="T1" fmla="*/ 0 h 10"/>
                <a:gd name="T2" fmla="*/ 4 w 7"/>
                <a:gd name="T3" fmla="*/ 10 h 10"/>
                <a:gd name="T4" fmla="*/ 1 w 7"/>
                <a:gd name="T5" fmla="*/ 0 h 10"/>
              </a:gdLst>
              <a:cxnLst>
                <a:cxn ang="0">
                  <a:pos x="T0" y="T1"/>
                </a:cxn>
                <a:cxn ang="0">
                  <a:pos x="T2" y="T3"/>
                </a:cxn>
                <a:cxn ang="0">
                  <a:pos x="T4" y="T5"/>
                </a:cxn>
              </a:cxnLst>
              <a:rect l="0" t="0" r="r" b="b"/>
              <a:pathLst>
                <a:path w="7" h="10">
                  <a:moveTo>
                    <a:pt x="1" y="0"/>
                  </a:moveTo>
                  <a:cubicBezTo>
                    <a:pt x="0" y="2"/>
                    <a:pt x="1" y="8"/>
                    <a:pt x="4" y="10"/>
                  </a:cubicBezTo>
                  <a:cubicBezTo>
                    <a:pt x="7"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67"/>
            <p:cNvSpPr/>
            <p:nvPr/>
          </p:nvSpPr>
          <p:spPr bwMode="auto">
            <a:xfrm>
              <a:off x="7805108" y="279630"/>
              <a:ext cx="7061" cy="7061"/>
            </a:xfrm>
            <a:custGeom>
              <a:gdLst>
                <a:gd name="T0" fmla="*/ 0 w 2"/>
                <a:gd name="T1" fmla="*/ 0 h 2"/>
                <a:gd name="T2" fmla="*/ 2 w 2"/>
                <a:gd name="T3" fmla="*/ 2 h 2"/>
                <a:gd name="T4" fmla="*/ 1 w 2"/>
                <a:gd name="T5" fmla="*/ 1 h 2"/>
                <a:gd name="T6" fmla="*/ 0 w 2"/>
                <a:gd name="T7" fmla="*/ 0 h 2"/>
              </a:gdLst>
              <a:cxnLst>
                <a:cxn ang="0">
                  <a:pos x="T0" y="T1"/>
                </a:cxn>
                <a:cxn ang="0">
                  <a:pos x="T2" y="T3"/>
                </a:cxn>
                <a:cxn ang="0">
                  <a:pos x="T4" y="T5"/>
                </a:cxn>
                <a:cxn ang="0">
                  <a:pos x="T6" y="T7"/>
                </a:cxn>
              </a:cxnLst>
              <a:rect l="0" t="0" r="r" b="b"/>
              <a:pathLst>
                <a:path w="2" h="2">
                  <a:moveTo>
                    <a:pt x="0" y="0"/>
                  </a:moveTo>
                  <a:cubicBezTo>
                    <a:pt x="0" y="1"/>
                    <a:pt x="1" y="2"/>
                    <a:pt x="2" y="2"/>
                  </a:cubicBezTo>
                  <a:cubicBezTo>
                    <a:pt x="2" y="2"/>
                    <a:pt x="2" y="1"/>
                    <a:pt x="1" y="1"/>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68"/>
            <p:cNvSpPr/>
            <p:nvPr/>
          </p:nvSpPr>
          <p:spPr bwMode="auto">
            <a:xfrm>
              <a:off x="7717548" y="225964"/>
              <a:ext cx="26833" cy="11298"/>
            </a:xfrm>
            <a:custGeom>
              <a:gdLst>
                <a:gd name="T0" fmla="*/ 0 w 8"/>
                <a:gd name="T1" fmla="*/ 0 h 3"/>
                <a:gd name="T2" fmla="*/ 8 w 8"/>
                <a:gd name="T3" fmla="*/ 3 h 3"/>
                <a:gd name="T4" fmla="*/ 7 w 8"/>
                <a:gd name="T5" fmla="*/ 0 h 3"/>
                <a:gd name="T6" fmla="*/ 6 w 8"/>
                <a:gd name="T7" fmla="*/ 1 h 3"/>
                <a:gd name="T8" fmla="*/ 4 w 8"/>
                <a:gd name="T9" fmla="*/ 1 h 3"/>
                <a:gd name="T10" fmla="*/ 3 w 8"/>
                <a:gd name="T11" fmla="*/ 1 h 3"/>
                <a:gd name="T12" fmla="*/ 0 w 8"/>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8" h="3">
                  <a:moveTo>
                    <a:pt x="0" y="0"/>
                  </a:moveTo>
                  <a:cubicBezTo>
                    <a:pt x="3" y="2"/>
                    <a:pt x="6" y="2"/>
                    <a:pt x="8" y="3"/>
                  </a:cubicBezTo>
                  <a:cubicBezTo>
                    <a:pt x="8" y="1"/>
                    <a:pt x="8" y="0"/>
                    <a:pt x="7" y="0"/>
                  </a:cubicBezTo>
                  <a:cubicBezTo>
                    <a:pt x="7" y="0"/>
                    <a:pt x="6" y="1"/>
                    <a:pt x="6" y="1"/>
                  </a:cubicBezTo>
                  <a:cubicBezTo>
                    <a:pt x="5" y="1"/>
                    <a:pt x="5" y="1"/>
                    <a:pt x="4" y="1"/>
                  </a:cubicBezTo>
                  <a:cubicBezTo>
                    <a:pt x="4" y="1"/>
                    <a:pt x="4"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69"/>
            <p:cNvSpPr/>
            <p:nvPr/>
          </p:nvSpPr>
          <p:spPr bwMode="auto">
            <a:xfrm>
              <a:off x="7508532" y="484410"/>
              <a:ext cx="22596" cy="9886"/>
            </a:xfrm>
            <a:custGeom>
              <a:gdLst>
                <a:gd name="T0" fmla="*/ 0 w 7"/>
                <a:gd name="T1" fmla="*/ 0 h 3"/>
                <a:gd name="T2" fmla="*/ 2 w 7"/>
                <a:gd name="T3" fmla="*/ 3 h 3"/>
                <a:gd name="T4" fmla="*/ 3 w 7"/>
                <a:gd name="T5" fmla="*/ 3 h 3"/>
                <a:gd name="T6" fmla="*/ 7 w 7"/>
                <a:gd name="T7" fmla="*/ 1 h 3"/>
                <a:gd name="T8" fmla="*/ 7 w 7"/>
                <a:gd name="T9" fmla="*/ 1 h 3"/>
                <a:gd name="T10" fmla="*/ 0 w 7"/>
                <a:gd name="T11" fmla="*/ 0 h 3"/>
              </a:gdLst>
              <a:cxnLst>
                <a:cxn ang="0">
                  <a:pos x="T0" y="T1"/>
                </a:cxn>
                <a:cxn ang="0">
                  <a:pos x="T2" y="T3"/>
                </a:cxn>
                <a:cxn ang="0">
                  <a:pos x="T4" y="T5"/>
                </a:cxn>
                <a:cxn ang="0">
                  <a:pos x="T6" y="T7"/>
                </a:cxn>
                <a:cxn ang="0">
                  <a:pos x="T8" y="T9"/>
                </a:cxn>
                <a:cxn ang="0">
                  <a:pos x="T10" y="T11"/>
                </a:cxn>
              </a:cxnLst>
              <a:rect l="0" t="0" r="r" b="b"/>
              <a:pathLst>
                <a:path w="7" h="3">
                  <a:moveTo>
                    <a:pt x="0" y="0"/>
                  </a:moveTo>
                  <a:cubicBezTo>
                    <a:pt x="1" y="1"/>
                    <a:pt x="0" y="3"/>
                    <a:pt x="2" y="3"/>
                  </a:cubicBezTo>
                  <a:cubicBezTo>
                    <a:pt x="2" y="3"/>
                    <a:pt x="2" y="3"/>
                    <a:pt x="3" y="3"/>
                  </a:cubicBezTo>
                  <a:cubicBezTo>
                    <a:pt x="4" y="2"/>
                    <a:pt x="6" y="2"/>
                    <a:pt x="7" y="1"/>
                  </a:cubicBezTo>
                  <a:cubicBezTo>
                    <a:pt x="7" y="1"/>
                    <a:pt x="7" y="1"/>
                    <a:pt x="7"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70"/>
            <p:cNvSpPr>
              <a:spLocks noEditPoints="1"/>
            </p:cNvSpPr>
            <p:nvPr/>
          </p:nvSpPr>
          <p:spPr bwMode="auto">
            <a:xfrm>
              <a:off x="7230315" y="176534"/>
              <a:ext cx="841713" cy="271157"/>
            </a:xfrm>
            <a:custGeom>
              <a:gdLst>
                <a:gd name="T0" fmla="*/ 11 w 252"/>
                <a:gd name="T1" fmla="*/ 34 h 81"/>
                <a:gd name="T2" fmla="*/ 11 w 252"/>
                <a:gd name="T3" fmla="*/ 34 h 81"/>
                <a:gd name="T4" fmla="*/ 47 w 252"/>
                <a:gd name="T5" fmla="*/ 5 h 81"/>
                <a:gd name="T6" fmla="*/ 15 w 252"/>
                <a:gd name="T7" fmla="*/ 19 h 81"/>
                <a:gd name="T8" fmla="*/ 13 w 252"/>
                <a:gd name="T9" fmla="*/ 29 h 81"/>
                <a:gd name="T10" fmla="*/ 11 w 252"/>
                <a:gd name="T11" fmla="*/ 29 h 81"/>
                <a:gd name="T12" fmla="*/ 5 w 252"/>
                <a:gd name="T13" fmla="*/ 31 h 81"/>
                <a:gd name="T14" fmla="*/ 5 w 252"/>
                <a:gd name="T15" fmla="*/ 33 h 81"/>
                <a:gd name="T16" fmla="*/ 9 w 252"/>
                <a:gd name="T17" fmla="*/ 33 h 81"/>
                <a:gd name="T18" fmla="*/ 11 w 252"/>
                <a:gd name="T19" fmla="*/ 34 h 81"/>
                <a:gd name="T20" fmla="*/ 19 w 252"/>
                <a:gd name="T21" fmla="*/ 31 h 81"/>
                <a:gd name="T22" fmla="*/ 26 w 252"/>
                <a:gd name="T23" fmla="*/ 25 h 81"/>
                <a:gd name="T24" fmla="*/ 32 w 252"/>
                <a:gd name="T25" fmla="*/ 23 h 81"/>
                <a:gd name="T26" fmla="*/ 39 w 252"/>
                <a:gd name="T27" fmla="*/ 22 h 81"/>
                <a:gd name="T28" fmla="*/ 54 w 252"/>
                <a:gd name="T29" fmla="*/ 12 h 81"/>
                <a:gd name="T30" fmla="*/ 64 w 252"/>
                <a:gd name="T31" fmla="*/ 12 h 81"/>
                <a:gd name="T32" fmla="*/ 67 w 252"/>
                <a:gd name="T33" fmla="*/ 12 h 81"/>
                <a:gd name="T34" fmla="*/ 73 w 252"/>
                <a:gd name="T35" fmla="*/ 12 h 81"/>
                <a:gd name="T36" fmla="*/ 73 w 252"/>
                <a:gd name="T37" fmla="*/ 18 h 81"/>
                <a:gd name="T38" fmla="*/ 72 w 252"/>
                <a:gd name="T39" fmla="*/ 18 h 81"/>
                <a:gd name="T40" fmla="*/ 71 w 252"/>
                <a:gd name="T41" fmla="*/ 18 h 81"/>
                <a:gd name="T42" fmla="*/ 69 w 252"/>
                <a:gd name="T43" fmla="*/ 18 h 81"/>
                <a:gd name="T44" fmla="*/ 74 w 252"/>
                <a:gd name="T45" fmla="*/ 24 h 81"/>
                <a:gd name="T46" fmla="*/ 88 w 252"/>
                <a:gd name="T47" fmla="*/ 22 h 81"/>
                <a:gd name="T48" fmla="*/ 95 w 252"/>
                <a:gd name="T49" fmla="*/ 27 h 81"/>
                <a:gd name="T50" fmla="*/ 98 w 252"/>
                <a:gd name="T51" fmla="*/ 27 h 81"/>
                <a:gd name="T52" fmla="*/ 114 w 252"/>
                <a:gd name="T53" fmla="*/ 33 h 81"/>
                <a:gd name="T54" fmla="*/ 145 w 252"/>
                <a:gd name="T55" fmla="*/ 39 h 81"/>
                <a:gd name="T56" fmla="*/ 151 w 252"/>
                <a:gd name="T57" fmla="*/ 52 h 81"/>
                <a:gd name="T58" fmla="*/ 174 w 252"/>
                <a:gd name="T59" fmla="*/ 61 h 81"/>
                <a:gd name="T60" fmla="*/ 176 w 252"/>
                <a:gd name="T61" fmla="*/ 60 h 81"/>
                <a:gd name="T62" fmla="*/ 177 w 252"/>
                <a:gd name="T63" fmla="*/ 60 h 81"/>
                <a:gd name="T64" fmla="*/ 180 w 252"/>
                <a:gd name="T65" fmla="*/ 70 h 81"/>
                <a:gd name="T66" fmla="*/ 168 w 252"/>
                <a:gd name="T67" fmla="*/ 80 h 81"/>
                <a:gd name="T68" fmla="*/ 201 w 252"/>
                <a:gd name="T69" fmla="*/ 79 h 81"/>
                <a:gd name="T70" fmla="*/ 219 w 252"/>
                <a:gd name="T71" fmla="*/ 79 h 81"/>
                <a:gd name="T72" fmla="*/ 227 w 252"/>
                <a:gd name="T73" fmla="*/ 80 h 81"/>
                <a:gd name="T74" fmla="*/ 230 w 252"/>
                <a:gd name="T75" fmla="*/ 80 h 81"/>
                <a:gd name="T76" fmla="*/ 241 w 252"/>
                <a:gd name="T77" fmla="*/ 76 h 81"/>
                <a:gd name="T78" fmla="*/ 245 w 252"/>
                <a:gd name="T79" fmla="*/ 76 h 81"/>
                <a:gd name="T80" fmla="*/ 251 w 252"/>
                <a:gd name="T81" fmla="*/ 73 h 81"/>
                <a:gd name="T82" fmla="*/ 227 w 252"/>
                <a:gd name="T83" fmla="*/ 60 h 81"/>
                <a:gd name="T84" fmla="*/ 213 w 252"/>
                <a:gd name="T85" fmla="*/ 50 h 81"/>
                <a:gd name="T86" fmla="*/ 208 w 252"/>
                <a:gd name="T87" fmla="*/ 50 h 81"/>
                <a:gd name="T88" fmla="*/ 194 w 252"/>
                <a:gd name="T89" fmla="*/ 45 h 81"/>
                <a:gd name="T90" fmla="*/ 182 w 252"/>
                <a:gd name="T91" fmla="*/ 37 h 81"/>
                <a:gd name="T92" fmla="*/ 176 w 252"/>
                <a:gd name="T93" fmla="*/ 34 h 81"/>
                <a:gd name="T94" fmla="*/ 163 w 252"/>
                <a:gd name="T95" fmla="*/ 29 h 81"/>
                <a:gd name="T96" fmla="*/ 136 w 252"/>
                <a:gd name="T97" fmla="*/ 18 h 81"/>
                <a:gd name="T98" fmla="*/ 110 w 252"/>
                <a:gd name="T99" fmla="*/ 7 h 81"/>
                <a:gd name="T100" fmla="*/ 100 w 252"/>
                <a:gd name="T101" fmla="*/ 2 h 81"/>
                <a:gd name="T102" fmla="*/ 93 w 252"/>
                <a:gd name="T103" fmla="*/ 3 h 81"/>
                <a:gd name="T104" fmla="*/ 86 w 252"/>
                <a:gd name="T105" fmla="*/ 2 h 81"/>
                <a:gd name="T106" fmla="*/ 82 w 252"/>
                <a:gd name="T107" fmla="*/ 2 h 81"/>
                <a:gd name="T108" fmla="*/ 67 w 252"/>
                <a:gd name="T109"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81">
                  <a:moveTo>
                    <a:pt x="11" y="34"/>
                  </a:moveTo>
                  <a:cubicBezTo>
                    <a:pt x="11" y="34"/>
                    <a:pt x="11" y="34"/>
                    <a:pt x="11" y="34"/>
                  </a:cubicBezTo>
                  <a:cubicBezTo>
                    <a:pt x="11" y="34"/>
                    <a:pt x="11" y="34"/>
                    <a:pt x="11" y="34"/>
                  </a:cubicBezTo>
                  <a:cubicBezTo>
                    <a:pt x="11" y="34"/>
                    <a:pt x="11" y="34"/>
                    <a:pt x="11" y="34"/>
                  </a:cubicBezTo>
                  <a:moveTo>
                    <a:pt x="67" y="0"/>
                  </a:moveTo>
                  <a:cubicBezTo>
                    <a:pt x="61" y="2"/>
                    <a:pt x="54" y="3"/>
                    <a:pt x="47" y="5"/>
                  </a:cubicBezTo>
                  <a:cubicBezTo>
                    <a:pt x="41" y="6"/>
                    <a:pt x="35" y="8"/>
                    <a:pt x="28" y="10"/>
                  </a:cubicBezTo>
                  <a:cubicBezTo>
                    <a:pt x="24" y="11"/>
                    <a:pt x="18" y="15"/>
                    <a:pt x="15" y="19"/>
                  </a:cubicBezTo>
                  <a:cubicBezTo>
                    <a:pt x="13" y="22"/>
                    <a:pt x="15" y="25"/>
                    <a:pt x="16" y="28"/>
                  </a:cubicBezTo>
                  <a:cubicBezTo>
                    <a:pt x="15" y="29"/>
                    <a:pt x="14" y="29"/>
                    <a:pt x="13" y="29"/>
                  </a:cubicBezTo>
                  <a:cubicBezTo>
                    <a:pt x="13" y="29"/>
                    <a:pt x="13" y="29"/>
                    <a:pt x="12" y="29"/>
                  </a:cubicBezTo>
                  <a:cubicBezTo>
                    <a:pt x="12" y="29"/>
                    <a:pt x="11" y="29"/>
                    <a:pt x="11" y="29"/>
                  </a:cubicBezTo>
                  <a:cubicBezTo>
                    <a:pt x="10" y="29"/>
                    <a:pt x="9" y="29"/>
                    <a:pt x="8" y="29"/>
                  </a:cubicBezTo>
                  <a:cubicBezTo>
                    <a:pt x="7" y="29"/>
                    <a:pt x="6" y="30"/>
                    <a:pt x="5" y="31"/>
                  </a:cubicBezTo>
                  <a:cubicBezTo>
                    <a:pt x="3" y="31"/>
                    <a:pt x="0" y="31"/>
                    <a:pt x="2" y="33"/>
                  </a:cubicBezTo>
                  <a:cubicBezTo>
                    <a:pt x="3" y="33"/>
                    <a:pt x="4" y="33"/>
                    <a:pt x="5" y="33"/>
                  </a:cubicBezTo>
                  <a:cubicBezTo>
                    <a:pt x="6" y="33"/>
                    <a:pt x="6" y="33"/>
                    <a:pt x="7" y="33"/>
                  </a:cubicBezTo>
                  <a:cubicBezTo>
                    <a:pt x="8" y="33"/>
                    <a:pt x="8" y="33"/>
                    <a:pt x="9" y="33"/>
                  </a:cubicBezTo>
                  <a:cubicBezTo>
                    <a:pt x="9" y="33"/>
                    <a:pt x="9" y="33"/>
                    <a:pt x="9" y="33"/>
                  </a:cubicBezTo>
                  <a:cubicBezTo>
                    <a:pt x="9" y="33"/>
                    <a:pt x="11" y="34"/>
                    <a:pt x="11" y="34"/>
                  </a:cubicBezTo>
                  <a:cubicBezTo>
                    <a:pt x="11" y="34"/>
                    <a:pt x="11" y="34"/>
                    <a:pt x="11" y="34"/>
                  </a:cubicBezTo>
                  <a:cubicBezTo>
                    <a:pt x="13" y="34"/>
                    <a:pt x="17" y="32"/>
                    <a:pt x="19" y="31"/>
                  </a:cubicBezTo>
                  <a:cubicBezTo>
                    <a:pt x="21" y="31"/>
                    <a:pt x="22" y="31"/>
                    <a:pt x="22" y="30"/>
                  </a:cubicBezTo>
                  <a:cubicBezTo>
                    <a:pt x="24" y="28"/>
                    <a:pt x="23" y="25"/>
                    <a:pt x="26" y="25"/>
                  </a:cubicBezTo>
                  <a:cubicBezTo>
                    <a:pt x="28" y="24"/>
                    <a:pt x="30" y="23"/>
                    <a:pt x="32" y="23"/>
                  </a:cubicBezTo>
                  <a:cubicBezTo>
                    <a:pt x="32" y="23"/>
                    <a:pt x="32" y="23"/>
                    <a:pt x="32" y="23"/>
                  </a:cubicBezTo>
                  <a:cubicBezTo>
                    <a:pt x="34" y="23"/>
                    <a:pt x="35" y="24"/>
                    <a:pt x="36" y="24"/>
                  </a:cubicBezTo>
                  <a:cubicBezTo>
                    <a:pt x="36" y="24"/>
                    <a:pt x="37" y="23"/>
                    <a:pt x="39" y="22"/>
                  </a:cubicBezTo>
                  <a:cubicBezTo>
                    <a:pt x="41" y="19"/>
                    <a:pt x="44" y="17"/>
                    <a:pt x="47" y="16"/>
                  </a:cubicBezTo>
                  <a:cubicBezTo>
                    <a:pt x="49" y="15"/>
                    <a:pt x="52" y="12"/>
                    <a:pt x="54" y="12"/>
                  </a:cubicBezTo>
                  <a:cubicBezTo>
                    <a:pt x="54" y="12"/>
                    <a:pt x="54" y="12"/>
                    <a:pt x="54" y="12"/>
                  </a:cubicBezTo>
                  <a:cubicBezTo>
                    <a:pt x="58" y="12"/>
                    <a:pt x="61" y="12"/>
                    <a:pt x="64" y="12"/>
                  </a:cubicBezTo>
                  <a:cubicBezTo>
                    <a:pt x="65" y="12"/>
                    <a:pt x="65" y="12"/>
                    <a:pt x="65" y="12"/>
                  </a:cubicBezTo>
                  <a:cubicBezTo>
                    <a:pt x="65" y="12"/>
                    <a:pt x="66" y="12"/>
                    <a:pt x="67" y="12"/>
                  </a:cubicBezTo>
                  <a:cubicBezTo>
                    <a:pt x="68" y="12"/>
                    <a:pt x="68" y="12"/>
                    <a:pt x="69" y="12"/>
                  </a:cubicBezTo>
                  <a:cubicBezTo>
                    <a:pt x="71" y="12"/>
                    <a:pt x="72" y="12"/>
                    <a:pt x="73" y="12"/>
                  </a:cubicBezTo>
                  <a:cubicBezTo>
                    <a:pt x="76" y="14"/>
                    <a:pt x="79" y="16"/>
                    <a:pt x="75" y="18"/>
                  </a:cubicBezTo>
                  <a:cubicBezTo>
                    <a:pt x="74" y="18"/>
                    <a:pt x="74" y="18"/>
                    <a:pt x="73" y="18"/>
                  </a:cubicBezTo>
                  <a:cubicBezTo>
                    <a:pt x="73" y="18"/>
                    <a:pt x="73" y="18"/>
                    <a:pt x="73" y="18"/>
                  </a:cubicBezTo>
                  <a:cubicBezTo>
                    <a:pt x="73" y="18"/>
                    <a:pt x="72" y="18"/>
                    <a:pt x="72" y="18"/>
                  </a:cubicBezTo>
                  <a:cubicBezTo>
                    <a:pt x="72" y="18"/>
                    <a:pt x="72" y="18"/>
                    <a:pt x="72" y="18"/>
                  </a:cubicBezTo>
                  <a:cubicBezTo>
                    <a:pt x="72" y="18"/>
                    <a:pt x="71" y="18"/>
                    <a:pt x="71" y="18"/>
                  </a:cubicBezTo>
                  <a:cubicBezTo>
                    <a:pt x="71" y="18"/>
                    <a:pt x="71" y="18"/>
                    <a:pt x="70" y="18"/>
                  </a:cubicBezTo>
                  <a:cubicBezTo>
                    <a:pt x="70" y="18"/>
                    <a:pt x="69" y="18"/>
                    <a:pt x="69" y="18"/>
                  </a:cubicBezTo>
                  <a:cubicBezTo>
                    <a:pt x="67" y="18"/>
                    <a:pt x="66" y="18"/>
                    <a:pt x="66" y="19"/>
                  </a:cubicBezTo>
                  <a:cubicBezTo>
                    <a:pt x="66" y="21"/>
                    <a:pt x="72" y="24"/>
                    <a:pt x="74" y="24"/>
                  </a:cubicBezTo>
                  <a:cubicBezTo>
                    <a:pt x="74" y="24"/>
                    <a:pt x="75" y="24"/>
                    <a:pt x="76" y="24"/>
                  </a:cubicBezTo>
                  <a:cubicBezTo>
                    <a:pt x="80" y="24"/>
                    <a:pt x="87" y="23"/>
                    <a:pt x="88" y="22"/>
                  </a:cubicBezTo>
                  <a:cubicBezTo>
                    <a:pt x="90" y="25"/>
                    <a:pt x="89" y="27"/>
                    <a:pt x="93" y="27"/>
                  </a:cubicBezTo>
                  <a:cubicBezTo>
                    <a:pt x="94" y="27"/>
                    <a:pt x="94" y="27"/>
                    <a:pt x="95" y="27"/>
                  </a:cubicBezTo>
                  <a:cubicBezTo>
                    <a:pt x="95" y="27"/>
                    <a:pt x="96" y="27"/>
                    <a:pt x="97" y="27"/>
                  </a:cubicBezTo>
                  <a:cubicBezTo>
                    <a:pt x="97" y="27"/>
                    <a:pt x="98" y="27"/>
                    <a:pt x="98" y="27"/>
                  </a:cubicBezTo>
                  <a:cubicBezTo>
                    <a:pt x="101" y="27"/>
                    <a:pt x="103" y="27"/>
                    <a:pt x="105" y="28"/>
                  </a:cubicBezTo>
                  <a:cubicBezTo>
                    <a:pt x="109" y="29"/>
                    <a:pt x="111" y="32"/>
                    <a:pt x="114" y="33"/>
                  </a:cubicBezTo>
                  <a:cubicBezTo>
                    <a:pt x="121" y="36"/>
                    <a:pt x="127" y="37"/>
                    <a:pt x="135" y="38"/>
                  </a:cubicBezTo>
                  <a:cubicBezTo>
                    <a:pt x="138" y="38"/>
                    <a:pt x="141" y="39"/>
                    <a:pt x="145" y="39"/>
                  </a:cubicBezTo>
                  <a:cubicBezTo>
                    <a:pt x="148" y="40"/>
                    <a:pt x="149" y="43"/>
                    <a:pt x="150" y="46"/>
                  </a:cubicBezTo>
                  <a:cubicBezTo>
                    <a:pt x="151" y="48"/>
                    <a:pt x="150" y="50"/>
                    <a:pt x="151" y="52"/>
                  </a:cubicBezTo>
                  <a:cubicBezTo>
                    <a:pt x="151" y="53"/>
                    <a:pt x="153" y="54"/>
                    <a:pt x="154" y="55"/>
                  </a:cubicBezTo>
                  <a:cubicBezTo>
                    <a:pt x="160" y="59"/>
                    <a:pt x="167" y="60"/>
                    <a:pt x="174" y="61"/>
                  </a:cubicBezTo>
                  <a:cubicBezTo>
                    <a:pt x="174" y="61"/>
                    <a:pt x="174" y="61"/>
                    <a:pt x="174" y="61"/>
                  </a:cubicBezTo>
                  <a:cubicBezTo>
                    <a:pt x="175" y="61"/>
                    <a:pt x="175" y="60"/>
                    <a:pt x="176" y="60"/>
                  </a:cubicBezTo>
                  <a:cubicBezTo>
                    <a:pt x="176" y="60"/>
                    <a:pt x="177" y="60"/>
                    <a:pt x="177" y="60"/>
                  </a:cubicBezTo>
                  <a:cubicBezTo>
                    <a:pt x="177" y="60"/>
                    <a:pt x="177" y="60"/>
                    <a:pt x="177" y="60"/>
                  </a:cubicBezTo>
                  <a:cubicBezTo>
                    <a:pt x="178" y="60"/>
                    <a:pt x="180" y="63"/>
                    <a:pt x="181" y="63"/>
                  </a:cubicBezTo>
                  <a:cubicBezTo>
                    <a:pt x="184" y="66"/>
                    <a:pt x="183" y="67"/>
                    <a:pt x="180" y="70"/>
                  </a:cubicBezTo>
                  <a:cubicBezTo>
                    <a:pt x="178" y="72"/>
                    <a:pt x="174" y="74"/>
                    <a:pt x="171" y="77"/>
                  </a:cubicBezTo>
                  <a:cubicBezTo>
                    <a:pt x="170" y="78"/>
                    <a:pt x="169" y="79"/>
                    <a:pt x="168" y="80"/>
                  </a:cubicBezTo>
                  <a:cubicBezTo>
                    <a:pt x="171" y="81"/>
                    <a:pt x="173" y="81"/>
                    <a:pt x="176" y="81"/>
                  </a:cubicBezTo>
                  <a:cubicBezTo>
                    <a:pt x="185" y="81"/>
                    <a:pt x="194" y="79"/>
                    <a:pt x="201" y="79"/>
                  </a:cubicBezTo>
                  <a:cubicBezTo>
                    <a:pt x="204" y="78"/>
                    <a:pt x="206" y="78"/>
                    <a:pt x="208" y="78"/>
                  </a:cubicBezTo>
                  <a:cubicBezTo>
                    <a:pt x="212" y="78"/>
                    <a:pt x="215" y="79"/>
                    <a:pt x="219" y="79"/>
                  </a:cubicBezTo>
                  <a:cubicBezTo>
                    <a:pt x="220" y="79"/>
                    <a:pt x="222" y="80"/>
                    <a:pt x="224" y="80"/>
                  </a:cubicBezTo>
                  <a:cubicBezTo>
                    <a:pt x="225" y="80"/>
                    <a:pt x="226" y="80"/>
                    <a:pt x="227" y="80"/>
                  </a:cubicBezTo>
                  <a:cubicBezTo>
                    <a:pt x="227" y="80"/>
                    <a:pt x="228" y="78"/>
                    <a:pt x="229" y="78"/>
                  </a:cubicBezTo>
                  <a:cubicBezTo>
                    <a:pt x="229" y="78"/>
                    <a:pt x="230" y="78"/>
                    <a:pt x="230" y="80"/>
                  </a:cubicBezTo>
                  <a:cubicBezTo>
                    <a:pt x="233" y="78"/>
                    <a:pt x="236" y="76"/>
                    <a:pt x="239" y="76"/>
                  </a:cubicBezTo>
                  <a:cubicBezTo>
                    <a:pt x="240" y="76"/>
                    <a:pt x="240" y="76"/>
                    <a:pt x="241" y="76"/>
                  </a:cubicBezTo>
                  <a:cubicBezTo>
                    <a:pt x="242" y="76"/>
                    <a:pt x="242" y="76"/>
                    <a:pt x="243" y="76"/>
                  </a:cubicBezTo>
                  <a:cubicBezTo>
                    <a:pt x="244" y="76"/>
                    <a:pt x="244" y="76"/>
                    <a:pt x="245" y="76"/>
                  </a:cubicBezTo>
                  <a:cubicBezTo>
                    <a:pt x="246" y="76"/>
                    <a:pt x="247" y="76"/>
                    <a:pt x="248" y="75"/>
                  </a:cubicBezTo>
                  <a:cubicBezTo>
                    <a:pt x="248" y="75"/>
                    <a:pt x="252" y="73"/>
                    <a:pt x="251" y="73"/>
                  </a:cubicBezTo>
                  <a:cubicBezTo>
                    <a:pt x="248" y="68"/>
                    <a:pt x="241" y="65"/>
                    <a:pt x="236" y="62"/>
                  </a:cubicBezTo>
                  <a:cubicBezTo>
                    <a:pt x="233" y="61"/>
                    <a:pt x="231" y="60"/>
                    <a:pt x="227" y="60"/>
                  </a:cubicBezTo>
                  <a:cubicBezTo>
                    <a:pt x="222" y="59"/>
                    <a:pt x="221" y="60"/>
                    <a:pt x="220" y="56"/>
                  </a:cubicBezTo>
                  <a:cubicBezTo>
                    <a:pt x="218" y="52"/>
                    <a:pt x="217" y="50"/>
                    <a:pt x="213" y="50"/>
                  </a:cubicBezTo>
                  <a:cubicBezTo>
                    <a:pt x="212" y="50"/>
                    <a:pt x="212" y="50"/>
                    <a:pt x="211" y="50"/>
                  </a:cubicBezTo>
                  <a:cubicBezTo>
                    <a:pt x="210" y="50"/>
                    <a:pt x="209" y="50"/>
                    <a:pt x="208" y="50"/>
                  </a:cubicBezTo>
                  <a:cubicBezTo>
                    <a:pt x="206" y="50"/>
                    <a:pt x="205" y="50"/>
                    <a:pt x="202" y="47"/>
                  </a:cubicBezTo>
                  <a:cubicBezTo>
                    <a:pt x="200" y="46"/>
                    <a:pt x="196" y="46"/>
                    <a:pt x="194" y="45"/>
                  </a:cubicBezTo>
                  <a:cubicBezTo>
                    <a:pt x="191" y="44"/>
                    <a:pt x="188" y="43"/>
                    <a:pt x="186" y="41"/>
                  </a:cubicBezTo>
                  <a:cubicBezTo>
                    <a:pt x="185" y="40"/>
                    <a:pt x="183" y="38"/>
                    <a:pt x="182" y="37"/>
                  </a:cubicBezTo>
                  <a:cubicBezTo>
                    <a:pt x="181" y="36"/>
                    <a:pt x="179" y="35"/>
                    <a:pt x="178" y="35"/>
                  </a:cubicBezTo>
                  <a:cubicBezTo>
                    <a:pt x="177" y="34"/>
                    <a:pt x="176" y="34"/>
                    <a:pt x="176" y="34"/>
                  </a:cubicBezTo>
                  <a:cubicBezTo>
                    <a:pt x="175" y="34"/>
                    <a:pt x="176" y="35"/>
                    <a:pt x="176" y="37"/>
                  </a:cubicBezTo>
                  <a:cubicBezTo>
                    <a:pt x="171" y="34"/>
                    <a:pt x="167" y="33"/>
                    <a:pt x="163" y="29"/>
                  </a:cubicBezTo>
                  <a:cubicBezTo>
                    <a:pt x="159" y="26"/>
                    <a:pt x="155" y="24"/>
                    <a:pt x="150" y="23"/>
                  </a:cubicBezTo>
                  <a:cubicBezTo>
                    <a:pt x="146" y="21"/>
                    <a:pt x="141" y="19"/>
                    <a:pt x="136" y="18"/>
                  </a:cubicBezTo>
                  <a:cubicBezTo>
                    <a:pt x="129" y="17"/>
                    <a:pt x="128" y="16"/>
                    <a:pt x="124" y="11"/>
                  </a:cubicBezTo>
                  <a:cubicBezTo>
                    <a:pt x="122" y="7"/>
                    <a:pt x="113" y="8"/>
                    <a:pt x="110" y="7"/>
                  </a:cubicBezTo>
                  <a:cubicBezTo>
                    <a:pt x="107" y="6"/>
                    <a:pt x="105" y="4"/>
                    <a:pt x="103" y="3"/>
                  </a:cubicBezTo>
                  <a:cubicBezTo>
                    <a:pt x="102" y="3"/>
                    <a:pt x="101" y="2"/>
                    <a:pt x="100" y="2"/>
                  </a:cubicBezTo>
                  <a:cubicBezTo>
                    <a:pt x="99" y="2"/>
                    <a:pt x="97" y="3"/>
                    <a:pt x="96" y="3"/>
                  </a:cubicBezTo>
                  <a:cubicBezTo>
                    <a:pt x="95" y="3"/>
                    <a:pt x="94" y="3"/>
                    <a:pt x="93" y="3"/>
                  </a:cubicBezTo>
                  <a:cubicBezTo>
                    <a:pt x="91" y="3"/>
                    <a:pt x="90" y="3"/>
                    <a:pt x="88" y="2"/>
                  </a:cubicBezTo>
                  <a:cubicBezTo>
                    <a:pt x="87" y="2"/>
                    <a:pt x="87" y="2"/>
                    <a:pt x="86" y="2"/>
                  </a:cubicBezTo>
                  <a:cubicBezTo>
                    <a:pt x="85" y="2"/>
                    <a:pt x="85" y="2"/>
                    <a:pt x="84" y="2"/>
                  </a:cubicBezTo>
                  <a:cubicBezTo>
                    <a:pt x="84" y="2"/>
                    <a:pt x="83" y="2"/>
                    <a:pt x="82" y="2"/>
                  </a:cubicBezTo>
                  <a:cubicBezTo>
                    <a:pt x="82" y="2"/>
                    <a:pt x="82" y="2"/>
                    <a:pt x="82" y="2"/>
                  </a:cubicBezTo>
                  <a:cubicBezTo>
                    <a:pt x="77" y="2"/>
                    <a:pt x="72"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71"/>
            <p:cNvSpPr/>
            <p:nvPr/>
          </p:nvSpPr>
          <p:spPr bwMode="auto">
            <a:xfrm>
              <a:off x="7655408" y="210429"/>
              <a:ext cx="5649" cy="5649"/>
            </a:xfrm>
            <a:custGeom>
              <a:gdLst>
                <a:gd name="T0" fmla="*/ 0 w 2"/>
                <a:gd name="T1" fmla="*/ 0 h 2"/>
                <a:gd name="T2" fmla="*/ 2 w 2"/>
                <a:gd name="T3" fmla="*/ 2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0" y="1"/>
                    <a:pt x="1" y="2"/>
                    <a:pt x="2" y="2"/>
                  </a:cubicBezTo>
                  <a:cubicBezTo>
                    <a:pt x="2" y="2"/>
                    <a:pt x="2" y="2"/>
                    <a:pt x="2"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72"/>
            <p:cNvSpPr/>
            <p:nvPr/>
          </p:nvSpPr>
          <p:spPr bwMode="auto">
            <a:xfrm>
              <a:off x="7648347" y="206192"/>
              <a:ext cx="2825" cy="4237"/>
            </a:xfrm>
            <a:custGeom>
              <a:gdLst>
                <a:gd name="T0" fmla="*/ 0 w 1"/>
                <a:gd name="T1" fmla="*/ 0 h 1"/>
                <a:gd name="T2" fmla="*/ 0 w 1"/>
                <a:gd name="T3" fmla="*/ 0 h 1"/>
                <a:gd name="T4" fmla="*/ 1 w 1"/>
                <a:gd name="T5" fmla="*/ 1 h 1"/>
                <a:gd name="T6" fmla="*/ 0 w 1"/>
                <a:gd name="T7" fmla="*/ 0 h 1"/>
              </a:gd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73"/>
            <p:cNvSpPr>
              <a:spLocks noEditPoints="1"/>
            </p:cNvSpPr>
            <p:nvPr/>
          </p:nvSpPr>
          <p:spPr bwMode="auto">
            <a:xfrm>
              <a:off x="7661057" y="216078"/>
              <a:ext cx="9886" cy="7061"/>
            </a:xfrm>
            <a:custGeom>
              <a:gdLst>
                <a:gd name="T0" fmla="*/ 2 w 3"/>
                <a:gd name="T1" fmla="*/ 1 h 2"/>
                <a:gd name="T2" fmla="*/ 3 w 3"/>
                <a:gd name="T3" fmla="*/ 2 h 2"/>
                <a:gd name="T4" fmla="*/ 2 w 3"/>
                <a:gd name="T5" fmla="*/ 1 h 2"/>
                <a:gd name="T6" fmla="*/ 0 w 3"/>
                <a:gd name="T7" fmla="*/ 0 h 2"/>
                <a:gd name="T8" fmla="*/ 2 w 3"/>
                <a:gd name="T9" fmla="*/ 1 h 2"/>
                <a:gd name="T10" fmla="*/ 0 w 3"/>
                <a:gd name="T11" fmla="*/ 0 h 2"/>
              </a:gdLst>
              <a:cxnLst>
                <a:cxn ang="0">
                  <a:pos x="T0" y="T1"/>
                </a:cxn>
                <a:cxn ang="0">
                  <a:pos x="T2" y="T3"/>
                </a:cxn>
                <a:cxn ang="0">
                  <a:pos x="T4" y="T5"/>
                </a:cxn>
                <a:cxn ang="0">
                  <a:pos x="T6" y="T7"/>
                </a:cxn>
                <a:cxn ang="0">
                  <a:pos x="T8" y="T9"/>
                </a:cxn>
                <a:cxn ang="0">
                  <a:pos x="T10" y="T11"/>
                </a:cxn>
              </a:cxnLst>
              <a:rect l="0" t="0" r="r" b="b"/>
              <a:pathLst>
                <a:path w="3" h="2">
                  <a:moveTo>
                    <a:pt x="2" y="1"/>
                  </a:moveTo>
                  <a:cubicBezTo>
                    <a:pt x="2" y="2"/>
                    <a:pt x="3" y="2"/>
                    <a:pt x="3" y="2"/>
                  </a:cubicBezTo>
                  <a:cubicBezTo>
                    <a:pt x="3" y="2"/>
                    <a:pt x="2" y="2"/>
                    <a:pt x="2" y="1"/>
                  </a:cubicBezTo>
                  <a:moveTo>
                    <a:pt x="0" y="0"/>
                  </a:moveTo>
                  <a:cubicBezTo>
                    <a:pt x="1" y="0"/>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74"/>
            <p:cNvSpPr/>
            <p:nvPr/>
          </p:nvSpPr>
          <p:spPr bwMode="auto">
            <a:xfrm>
              <a:off x="7754267" y="249972"/>
              <a:ext cx="48017" cy="29658"/>
            </a:xfrm>
            <a:custGeom>
              <a:gdLst>
                <a:gd name="T0" fmla="*/ 6 w 14"/>
                <a:gd name="T1" fmla="*/ 0 h 9"/>
                <a:gd name="T2" fmla="*/ 12 w 14"/>
                <a:gd name="T3" fmla="*/ 9 h 9"/>
                <a:gd name="T4" fmla="*/ 14 w 14"/>
                <a:gd name="T5" fmla="*/ 6 h 9"/>
                <a:gd name="T6" fmla="*/ 11 w 14"/>
                <a:gd name="T7" fmla="*/ 4 h 9"/>
                <a:gd name="T8" fmla="*/ 10 w 14"/>
                <a:gd name="T9" fmla="*/ 6 h 9"/>
                <a:gd name="T10" fmla="*/ 9 w 14"/>
                <a:gd name="T11" fmla="*/ 4 h 9"/>
                <a:gd name="T12" fmla="*/ 9 w 14"/>
                <a:gd name="T13" fmla="*/ 4 h 9"/>
                <a:gd name="T14" fmla="*/ 8 w 14"/>
                <a:gd name="T15" fmla="*/ 1 h 9"/>
                <a:gd name="T16" fmla="*/ 7 w 14"/>
                <a:gd name="T17" fmla="*/ 2 h 9"/>
                <a:gd name="T18" fmla="*/ 7 w 14"/>
                <a:gd name="T19" fmla="*/ 1 h 9"/>
                <a:gd name="T20" fmla="*/ 6 w 14"/>
                <a:gd name="T21" fmla="*/ 1 h 9"/>
                <a:gd name="T22" fmla="*/ 6 w 14"/>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9">
                  <a:moveTo>
                    <a:pt x="6" y="0"/>
                  </a:moveTo>
                  <a:cubicBezTo>
                    <a:pt x="0" y="2"/>
                    <a:pt x="11" y="8"/>
                    <a:pt x="12" y="9"/>
                  </a:cubicBezTo>
                  <a:cubicBezTo>
                    <a:pt x="13" y="8"/>
                    <a:pt x="13" y="7"/>
                    <a:pt x="14" y="6"/>
                  </a:cubicBezTo>
                  <a:cubicBezTo>
                    <a:pt x="13" y="5"/>
                    <a:pt x="12" y="5"/>
                    <a:pt x="11" y="4"/>
                  </a:cubicBezTo>
                  <a:cubicBezTo>
                    <a:pt x="11" y="5"/>
                    <a:pt x="10" y="5"/>
                    <a:pt x="10" y="6"/>
                  </a:cubicBezTo>
                  <a:cubicBezTo>
                    <a:pt x="10" y="5"/>
                    <a:pt x="10" y="4"/>
                    <a:pt x="9" y="4"/>
                  </a:cubicBezTo>
                  <a:cubicBezTo>
                    <a:pt x="9" y="4"/>
                    <a:pt x="9" y="4"/>
                    <a:pt x="9" y="4"/>
                  </a:cubicBezTo>
                  <a:cubicBezTo>
                    <a:pt x="10" y="2"/>
                    <a:pt x="8" y="3"/>
                    <a:pt x="8" y="1"/>
                  </a:cubicBezTo>
                  <a:cubicBezTo>
                    <a:pt x="7" y="2"/>
                    <a:pt x="7" y="2"/>
                    <a:pt x="7" y="2"/>
                  </a:cubicBezTo>
                  <a:cubicBezTo>
                    <a:pt x="7" y="1"/>
                    <a:pt x="7" y="1"/>
                    <a:pt x="7" y="1"/>
                  </a:cubicBezTo>
                  <a:cubicBezTo>
                    <a:pt x="6" y="1"/>
                    <a:pt x="6" y="1"/>
                    <a:pt x="6" y="1"/>
                  </a:cubicBezTo>
                  <a:cubicBezTo>
                    <a:pt x="6" y="1"/>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75"/>
            <p:cNvSpPr/>
            <p:nvPr/>
          </p:nvSpPr>
          <p:spPr bwMode="auto">
            <a:xfrm>
              <a:off x="7734495" y="384138"/>
              <a:ext cx="14123" cy="5649"/>
            </a:xfrm>
            <a:custGeom>
              <a:gdLst>
                <a:gd name="T0" fmla="*/ 1 w 4"/>
                <a:gd name="T1" fmla="*/ 0 h 2"/>
                <a:gd name="T2" fmla="*/ 0 w 4"/>
                <a:gd name="T3" fmla="*/ 0 h 2"/>
                <a:gd name="T4" fmla="*/ 4 w 4"/>
                <a:gd name="T5" fmla="*/ 2 h 2"/>
                <a:gd name="T6" fmla="*/ 1 w 4"/>
                <a:gd name="T7" fmla="*/ 0 h 2"/>
              </a:gdLst>
              <a:cxnLst>
                <a:cxn ang="0">
                  <a:pos x="T0" y="T1"/>
                </a:cxn>
                <a:cxn ang="0">
                  <a:pos x="T2" y="T3"/>
                </a:cxn>
                <a:cxn ang="0">
                  <a:pos x="T4" y="T5"/>
                </a:cxn>
                <a:cxn ang="0">
                  <a:pos x="T6" y="T7"/>
                </a:cxn>
              </a:cxnLst>
              <a:rect l="0" t="0" r="r" b="b"/>
              <a:pathLst>
                <a:path w="4" h="2">
                  <a:moveTo>
                    <a:pt x="1" y="0"/>
                  </a:moveTo>
                  <a:cubicBezTo>
                    <a:pt x="0" y="0"/>
                    <a:pt x="0" y="0"/>
                    <a:pt x="0" y="0"/>
                  </a:cubicBezTo>
                  <a:cubicBezTo>
                    <a:pt x="1" y="1"/>
                    <a:pt x="2" y="1"/>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76"/>
            <p:cNvSpPr/>
            <p:nvPr/>
          </p:nvSpPr>
          <p:spPr bwMode="auto">
            <a:xfrm>
              <a:off x="7374366" y="276806"/>
              <a:ext cx="50842" cy="39544"/>
            </a:xfrm>
            <a:custGeom>
              <a:gdLst>
                <a:gd name="T0" fmla="*/ 5 w 15"/>
                <a:gd name="T1" fmla="*/ 0 h 12"/>
                <a:gd name="T2" fmla="*/ 2 w 15"/>
                <a:gd name="T3" fmla="*/ 10 h 12"/>
                <a:gd name="T4" fmla="*/ 7 w 15"/>
                <a:gd name="T5" fmla="*/ 12 h 12"/>
                <a:gd name="T6" fmla="*/ 11 w 15"/>
                <a:gd name="T7" fmla="*/ 11 h 12"/>
                <a:gd name="T8" fmla="*/ 14 w 15"/>
                <a:gd name="T9" fmla="*/ 9 h 12"/>
                <a:gd name="T10" fmla="*/ 10 w 15"/>
                <a:gd name="T11" fmla="*/ 3 h 12"/>
                <a:gd name="T12" fmla="*/ 6 w 15"/>
                <a:gd name="T13" fmla="*/ 0 h 12"/>
                <a:gd name="T14" fmla="*/ 5 w 15"/>
                <a:gd name="T15" fmla="*/ 0 h 1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5" y="0"/>
                  </a:moveTo>
                  <a:cubicBezTo>
                    <a:pt x="0" y="0"/>
                    <a:pt x="2" y="6"/>
                    <a:pt x="2" y="10"/>
                  </a:cubicBezTo>
                  <a:cubicBezTo>
                    <a:pt x="4" y="11"/>
                    <a:pt x="5" y="12"/>
                    <a:pt x="7" y="12"/>
                  </a:cubicBezTo>
                  <a:cubicBezTo>
                    <a:pt x="8" y="12"/>
                    <a:pt x="9" y="11"/>
                    <a:pt x="11" y="11"/>
                  </a:cubicBezTo>
                  <a:cubicBezTo>
                    <a:pt x="12" y="10"/>
                    <a:pt x="13" y="10"/>
                    <a:pt x="14" y="9"/>
                  </a:cubicBezTo>
                  <a:cubicBezTo>
                    <a:pt x="15" y="7"/>
                    <a:pt x="12" y="4"/>
                    <a:pt x="10" y="3"/>
                  </a:cubicBezTo>
                  <a:cubicBezTo>
                    <a:pt x="12" y="1"/>
                    <a:pt x="8" y="0"/>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77"/>
            <p:cNvSpPr/>
            <p:nvPr/>
          </p:nvSpPr>
          <p:spPr bwMode="auto">
            <a:xfrm>
              <a:off x="7678004" y="353068"/>
              <a:ext cx="9886" cy="7061"/>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0"/>
                    <a:pt x="2" y="1"/>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78"/>
            <p:cNvSpPr/>
            <p:nvPr/>
          </p:nvSpPr>
          <p:spPr bwMode="auto">
            <a:xfrm>
              <a:off x="7748618" y="237262"/>
              <a:ext cx="22596" cy="12710"/>
            </a:xfrm>
            <a:custGeom>
              <a:gdLst>
                <a:gd name="T0" fmla="*/ 2 w 7"/>
                <a:gd name="T1" fmla="*/ 0 h 4"/>
                <a:gd name="T2" fmla="*/ 0 w 7"/>
                <a:gd name="T3" fmla="*/ 0 h 4"/>
                <a:gd name="T4" fmla="*/ 7 w 7"/>
                <a:gd name="T5" fmla="*/ 4 h 4"/>
                <a:gd name="T6" fmla="*/ 2 w 7"/>
                <a:gd name="T7" fmla="*/ 0 h 4"/>
              </a:gdLst>
              <a:cxnLst>
                <a:cxn ang="0">
                  <a:pos x="T0" y="T1"/>
                </a:cxn>
                <a:cxn ang="0">
                  <a:pos x="T2" y="T3"/>
                </a:cxn>
                <a:cxn ang="0">
                  <a:pos x="T4" y="T5"/>
                </a:cxn>
                <a:cxn ang="0">
                  <a:pos x="T6" y="T7"/>
                </a:cxn>
              </a:cxnLst>
              <a:rect l="0" t="0" r="r" b="b"/>
              <a:pathLst>
                <a:path w="7" h="4">
                  <a:moveTo>
                    <a:pt x="2" y="0"/>
                  </a:moveTo>
                  <a:cubicBezTo>
                    <a:pt x="1" y="0"/>
                    <a:pt x="1" y="0"/>
                    <a:pt x="0" y="0"/>
                  </a:cubicBezTo>
                  <a:cubicBezTo>
                    <a:pt x="2" y="2"/>
                    <a:pt x="5" y="3"/>
                    <a:pt x="7" y="4"/>
                  </a:cubicBezTo>
                  <a:cubicBezTo>
                    <a:pt x="5"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79"/>
            <p:cNvSpPr/>
            <p:nvPr/>
          </p:nvSpPr>
          <p:spPr bwMode="auto">
            <a:xfrm>
              <a:off x="8011300" y="132754"/>
              <a:ext cx="11298" cy="4237"/>
            </a:xfrm>
            <a:custGeom>
              <a:gdLst>
                <a:gd name="T0" fmla="*/ 2 w 3"/>
                <a:gd name="T1" fmla="*/ 0 h 1"/>
                <a:gd name="T2" fmla="*/ 0 w 3"/>
                <a:gd name="T3" fmla="*/ 1 h 1"/>
                <a:gd name="T4" fmla="*/ 3 w 3"/>
                <a:gd name="T5" fmla="*/ 0 h 1"/>
                <a:gd name="T6" fmla="*/ 2 w 3"/>
                <a:gd name="T7" fmla="*/ 0 h 1"/>
              </a:gdLst>
              <a:cxnLst>
                <a:cxn ang="0">
                  <a:pos x="T0" y="T1"/>
                </a:cxn>
                <a:cxn ang="0">
                  <a:pos x="T2" y="T3"/>
                </a:cxn>
                <a:cxn ang="0">
                  <a:pos x="T4" y="T5"/>
                </a:cxn>
                <a:cxn ang="0">
                  <a:pos x="T6" y="T7"/>
                </a:cxn>
              </a:cxnLst>
              <a:rect l="0" t="0" r="r" b="b"/>
              <a:pathLst>
                <a:path w="3" h="1">
                  <a:moveTo>
                    <a:pt x="2" y="0"/>
                  </a:moveTo>
                  <a:cubicBezTo>
                    <a:pt x="2" y="0"/>
                    <a:pt x="1" y="0"/>
                    <a:pt x="0" y="1"/>
                  </a:cubicBezTo>
                  <a:cubicBezTo>
                    <a:pt x="1" y="1"/>
                    <a:pt x="2" y="0"/>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0"/>
            <p:cNvSpPr>
              <a:spLocks noEditPoints="1"/>
            </p:cNvSpPr>
            <p:nvPr/>
          </p:nvSpPr>
          <p:spPr bwMode="auto">
            <a:xfrm>
              <a:off x="7932213" y="142640"/>
              <a:ext cx="22596" cy="14123"/>
            </a:xfrm>
            <a:custGeom>
              <a:gdLst>
                <a:gd name="T0" fmla="*/ 0 w 7"/>
                <a:gd name="T1" fmla="*/ 0 h 4"/>
                <a:gd name="T2" fmla="*/ 3 w 7"/>
                <a:gd name="T3" fmla="*/ 3 h 4"/>
                <a:gd name="T4" fmla="*/ 7 w 7"/>
                <a:gd name="T5" fmla="*/ 4 h 4"/>
                <a:gd name="T6" fmla="*/ 0 w 7"/>
                <a:gd name="T7" fmla="*/ 0 h 4"/>
                <a:gd name="T8" fmla="*/ 0 w 7"/>
                <a:gd name="T9" fmla="*/ 0 h 4"/>
                <a:gd name="T10" fmla="*/ 0 w 7"/>
                <a:gd name="T11" fmla="*/ 0 h 4"/>
                <a:gd name="T12" fmla="*/ 0 w 7"/>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cubicBezTo>
                    <a:pt x="2" y="1"/>
                    <a:pt x="2" y="2"/>
                    <a:pt x="3" y="3"/>
                  </a:cubicBezTo>
                  <a:cubicBezTo>
                    <a:pt x="4" y="3"/>
                    <a:pt x="5" y="3"/>
                    <a:pt x="7" y="4"/>
                  </a:cubicBezTo>
                  <a:cubicBezTo>
                    <a:pt x="5" y="2"/>
                    <a:pt x="2"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81"/>
            <p:cNvSpPr/>
            <p:nvPr/>
          </p:nvSpPr>
          <p:spPr bwMode="auto">
            <a:xfrm>
              <a:off x="7981642" y="163824"/>
              <a:ext cx="29658" cy="25421"/>
            </a:xfrm>
            <a:custGeom>
              <a:gdLst>
                <a:gd name="T0" fmla="*/ 4 w 9"/>
                <a:gd name="T1" fmla="*/ 0 h 8"/>
                <a:gd name="T2" fmla="*/ 3 w 9"/>
                <a:gd name="T3" fmla="*/ 5 h 8"/>
                <a:gd name="T4" fmla="*/ 9 w 9"/>
                <a:gd name="T5" fmla="*/ 8 h 8"/>
                <a:gd name="T6" fmla="*/ 4 w 9"/>
                <a:gd name="T7" fmla="*/ 0 h 8"/>
              </a:gdLst>
              <a:cxnLst>
                <a:cxn ang="0">
                  <a:pos x="T0" y="T1"/>
                </a:cxn>
                <a:cxn ang="0">
                  <a:pos x="T2" y="T3"/>
                </a:cxn>
                <a:cxn ang="0">
                  <a:pos x="T4" y="T5"/>
                </a:cxn>
                <a:cxn ang="0">
                  <a:pos x="T6" y="T7"/>
                </a:cxn>
              </a:cxnLst>
              <a:rect l="0" t="0" r="r" b="b"/>
              <a:pathLst>
                <a:path w="9" h="8">
                  <a:moveTo>
                    <a:pt x="4" y="0"/>
                  </a:moveTo>
                  <a:cubicBezTo>
                    <a:pt x="5" y="3"/>
                    <a:pt x="0" y="3"/>
                    <a:pt x="3" y="5"/>
                  </a:cubicBezTo>
                  <a:cubicBezTo>
                    <a:pt x="5" y="7"/>
                    <a:pt x="7" y="6"/>
                    <a:pt x="9" y="8"/>
                  </a:cubicBezTo>
                  <a:cubicBezTo>
                    <a:pt x="7" y="6"/>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82"/>
            <p:cNvSpPr>
              <a:spLocks noEditPoints="1"/>
            </p:cNvSpPr>
            <p:nvPr/>
          </p:nvSpPr>
          <p:spPr bwMode="auto">
            <a:xfrm>
              <a:off x="7778275" y="86149"/>
              <a:ext cx="29658" cy="46605"/>
            </a:xfrm>
            <a:custGeom>
              <a:gdLst>
                <a:gd name="T0" fmla="*/ 0 w 9"/>
                <a:gd name="T1" fmla="*/ 5 h 14"/>
                <a:gd name="T2" fmla="*/ 0 w 9"/>
                <a:gd name="T3" fmla="*/ 5 h 14"/>
                <a:gd name="T4" fmla="*/ 0 w 9"/>
                <a:gd name="T5" fmla="*/ 5 h 14"/>
                <a:gd name="T6" fmla="*/ 4 w 9"/>
                <a:gd name="T7" fmla="*/ 0 h 14"/>
                <a:gd name="T8" fmla="*/ 0 w 9"/>
                <a:gd name="T9" fmla="*/ 5 h 14"/>
                <a:gd name="T10" fmla="*/ 0 w 9"/>
                <a:gd name="T11" fmla="*/ 5 h 14"/>
                <a:gd name="T12" fmla="*/ 1 w 9"/>
                <a:gd name="T13" fmla="*/ 6 h 14"/>
                <a:gd name="T14" fmla="*/ 3 w 9"/>
                <a:gd name="T15" fmla="*/ 7 h 14"/>
                <a:gd name="T16" fmla="*/ 3 w 9"/>
                <a:gd name="T17" fmla="*/ 7 h 14"/>
                <a:gd name="T18" fmla="*/ 4 w 9"/>
                <a:gd name="T19" fmla="*/ 11 h 14"/>
                <a:gd name="T20" fmla="*/ 6 w 9"/>
                <a:gd name="T21" fmla="*/ 14 h 14"/>
                <a:gd name="T22" fmla="*/ 8 w 9"/>
                <a:gd name="T23" fmla="*/ 12 h 14"/>
                <a:gd name="T24" fmla="*/ 9 w 9"/>
                <a:gd name="T25" fmla="*/ 12 h 14"/>
                <a:gd name="T26" fmla="*/ 7 w 9"/>
                <a:gd name="T27" fmla="*/ 2 h 14"/>
                <a:gd name="T28" fmla="*/ 7 w 9"/>
                <a:gd name="T29" fmla="*/ 2 h 14"/>
                <a:gd name="T30" fmla="*/ 6 w 9"/>
                <a:gd name="T31" fmla="*/ 2 h 14"/>
                <a:gd name="T32" fmla="*/ 4 w 9"/>
                <a:gd name="T33" fmla="*/ 3 h 14"/>
                <a:gd name="T34" fmla="*/ 4 w 9"/>
                <a:gd name="T35" fmla="*/ 3 h 14"/>
                <a:gd name="T36" fmla="*/ 4 w 9"/>
                <a:gd name="T3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4">
                  <a:moveTo>
                    <a:pt x="0" y="5"/>
                  </a:moveTo>
                  <a:cubicBezTo>
                    <a:pt x="0" y="5"/>
                    <a:pt x="0" y="5"/>
                    <a:pt x="0" y="5"/>
                  </a:cubicBezTo>
                  <a:cubicBezTo>
                    <a:pt x="0" y="5"/>
                    <a:pt x="0" y="5"/>
                    <a:pt x="0" y="5"/>
                  </a:cubicBezTo>
                  <a:moveTo>
                    <a:pt x="4" y="0"/>
                  </a:moveTo>
                  <a:cubicBezTo>
                    <a:pt x="3" y="0"/>
                    <a:pt x="0" y="3"/>
                    <a:pt x="0" y="5"/>
                  </a:cubicBezTo>
                  <a:cubicBezTo>
                    <a:pt x="0" y="5"/>
                    <a:pt x="0" y="5"/>
                    <a:pt x="0" y="5"/>
                  </a:cubicBezTo>
                  <a:cubicBezTo>
                    <a:pt x="0" y="5"/>
                    <a:pt x="1" y="5"/>
                    <a:pt x="1" y="6"/>
                  </a:cubicBezTo>
                  <a:cubicBezTo>
                    <a:pt x="2" y="7"/>
                    <a:pt x="3" y="7"/>
                    <a:pt x="3" y="7"/>
                  </a:cubicBezTo>
                  <a:cubicBezTo>
                    <a:pt x="3" y="7"/>
                    <a:pt x="3" y="7"/>
                    <a:pt x="3" y="7"/>
                  </a:cubicBezTo>
                  <a:cubicBezTo>
                    <a:pt x="2" y="9"/>
                    <a:pt x="2" y="11"/>
                    <a:pt x="4" y="11"/>
                  </a:cubicBezTo>
                  <a:cubicBezTo>
                    <a:pt x="3" y="14"/>
                    <a:pt x="5" y="13"/>
                    <a:pt x="6" y="14"/>
                  </a:cubicBezTo>
                  <a:cubicBezTo>
                    <a:pt x="6" y="13"/>
                    <a:pt x="7" y="12"/>
                    <a:pt x="8" y="12"/>
                  </a:cubicBezTo>
                  <a:cubicBezTo>
                    <a:pt x="8" y="12"/>
                    <a:pt x="9" y="12"/>
                    <a:pt x="9" y="12"/>
                  </a:cubicBezTo>
                  <a:cubicBezTo>
                    <a:pt x="9" y="11"/>
                    <a:pt x="9" y="2"/>
                    <a:pt x="7" y="2"/>
                  </a:cubicBezTo>
                  <a:cubicBezTo>
                    <a:pt x="7" y="2"/>
                    <a:pt x="7" y="2"/>
                    <a:pt x="7" y="2"/>
                  </a:cubicBezTo>
                  <a:cubicBezTo>
                    <a:pt x="7" y="2"/>
                    <a:pt x="7" y="2"/>
                    <a:pt x="6" y="2"/>
                  </a:cubicBezTo>
                  <a:cubicBezTo>
                    <a:pt x="6" y="3"/>
                    <a:pt x="5" y="3"/>
                    <a:pt x="4" y="3"/>
                  </a:cubicBezTo>
                  <a:cubicBezTo>
                    <a:pt x="4" y="3"/>
                    <a:pt x="4" y="3"/>
                    <a:pt x="4" y="3"/>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83"/>
            <p:cNvSpPr/>
            <p:nvPr/>
          </p:nvSpPr>
          <p:spPr bwMode="auto">
            <a:xfrm>
              <a:off x="8069203" y="210429"/>
              <a:ext cx="5649" cy="2825"/>
            </a:xfrm>
            <a:custGeom>
              <a:gdLst>
                <a:gd name="T0" fmla="*/ 0 w 2"/>
                <a:gd name="T1" fmla="*/ 0 h 1"/>
                <a:gd name="T2" fmla="*/ 1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1" y="1"/>
                    <a:pt x="1" y="1"/>
                    <a:pt x="1" y="1"/>
                  </a:cubicBezTo>
                  <a:cubicBezTo>
                    <a:pt x="2" y="1"/>
                    <a:pt x="2" y="1"/>
                    <a:pt x="2"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84"/>
            <p:cNvSpPr/>
            <p:nvPr/>
          </p:nvSpPr>
          <p:spPr bwMode="auto">
            <a:xfrm>
              <a:off x="8074852" y="213253"/>
              <a:ext cx="4237" cy="0"/>
            </a:xfrm>
            <a:custGeom>
              <a:gdLst>
                <a:gd name="T0" fmla="*/ 0 w 1"/>
                <a:gd name="T1" fmla="*/ 0 w 1"/>
                <a:gd name="T2" fmla="*/ 0 w 1"/>
                <a:gd name="T3" fmla="*/ 0 w 1"/>
                <a:gd name="T4" fmla="*/ 1 w 1"/>
                <a:gd name="T5" fmla="*/ 0 w 1"/>
              </a:gd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0" y="0"/>
                    <a:pt x="0" y="0"/>
                  </a:cubicBezTo>
                  <a:cubicBezTo>
                    <a:pt x="0" y="0"/>
                    <a:pt x="0" y="0"/>
                    <a:pt x="0" y="0"/>
                  </a:cubicBezTo>
                  <a:cubicBezTo>
                    <a:pt x="0" y="0"/>
                    <a:pt x="1" y="0"/>
                    <a:pt x="1" y="0"/>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85"/>
            <p:cNvSpPr/>
            <p:nvPr/>
          </p:nvSpPr>
          <p:spPr bwMode="auto">
            <a:xfrm>
              <a:off x="8059317" y="210429"/>
              <a:ext cx="9886" cy="0"/>
            </a:xfrm>
            <a:custGeom>
              <a:gdLst>
                <a:gd name="T0" fmla="*/ 1 w 3"/>
                <a:gd name="T1" fmla="*/ 0 w 3"/>
                <a:gd name="T2" fmla="*/ 3 w 3"/>
                <a:gd name="T3" fmla="*/ 1 w 3"/>
              </a:gdLst>
              <a:cxnLst>
                <a:cxn ang="0">
                  <a:pos x="T0" y="0"/>
                </a:cxn>
                <a:cxn ang="0">
                  <a:pos x="T1" y="0"/>
                </a:cxn>
                <a:cxn ang="0">
                  <a:pos x="T2" y="0"/>
                </a:cxn>
                <a:cxn ang="0">
                  <a:pos x="T3" y="0"/>
                </a:cxn>
              </a:cxnLst>
              <a:rect l="0" t="0" r="r" b="b"/>
              <a:pathLst>
                <a:path w="3">
                  <a:moveTo>
                    <a:pt x="1" y="0"/>
                  </a:moveTo>
                  <a:cubicBezTo>
                    <a:pt x="1" y="0"/>
                    <a:pt x="0" y="0"/>
                    <a:pt x="0" y="0"/>
                  </a:cubicBezTo>
                  <a:cubicBezTo>
                    <a:pt x="1" y="0"/>
                    <a:pt x="2" y="0"/>
                    <a:pt x="3" y="0"/>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86"/>
            <p:cNvSpPr/>
            <p:nvPr/>
          </p:nvSpPr>
          <p:spPr bwMode="auto">
            <a:xfrm>
              <a:off x="8101685" y="326235"/>
              <a:ext cx="60728" cy="31070"/>
            </a:xfrm>
            <a:custGeom>
              <a:gdLst>
                <a:gd name="T0" fmla="*/ 16 w 18"/>
                <a:gd name="T1" fmla="*/ 0 h 9"/>
                <a:gd name="T2" fmla="*/ 16 w 18"/>
                <a:gd name="T3" fmla="*/ 0 h 9"/>
                <a:gd name="T4" fmla="*/ 13 w 18"/>
                <a:gd name="T5" fmla="*/ 4 h 9"/>
                <a:gd name="T6" fmla="*/ 11 w 18"/>
                <a:gd name="T7" fmla="*/ 4 h 9"/>
                <a:gd name="T8" fmla="*/ 8 w 18"/>
                <a:gd name="T9" fmla="*/ 2 h 9"/>
                <a:gd name="T10" fmla="*/ 5 w 18"/>
                <a:gd name="T11" fmla="*/ 4 h 9"/>
                <a:gd name="T12" fmla="*/ 1 w 18"/>
                <a:gd name="T13" fmla="*/ 5 h 9"/>
                <a:gd name="T14" fmla="*/ 3 w 18"/>
                <a:gd name="T15" fmla="*/ 9 h 9"/>
                <a:gd name="T16" fmla="*/ 4 w 18"/>
                <a:gd name="T17" fmla="*/ 9 h 9"/>
                <a:gd name="T18" fmla="*/ 5 w 18"/>
                <a:gd name="T19" fmla="*/ 9 h 9"/>
                <a:gd name="T20" fmla="*/ 7 w 18"/>
                <a:gd name="T21" fmla="*/ 9 h 9"/>
                <a:gd name="T22" fmla="*/ 15 w 18"/>
                <a:gd name="T23" fmla="*/ 6 h 9"/>
                <a:gd name="T24" fmla="*/ 16 w 18"/>
                <a:gd name="T25"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9">
                  <a:moveTo>
                    <a:pt x="16" y="0"/>
                  </a:moveTo>
                  <a:cubicBezTo>
                    <a:pt x="16" y="0"/>
                    <a:pt x="16" y="0"/>
                    <a:pt x="16" y="0"/>
                  </a:cubicBezTo>
                  <a:cubicBezTo>
                    <a:pt x="15" y="1"/>
                    <a:pt x="14" y="3"/>
                    <a:pt x="13" y="4"/>
                  </a:cubicBezTo>
                  <a:cubicBezTo>
                    <a:pt x="12" y="4"/>
                    <a:pt x="12" y="4"/>
                    <a:pt x="11" y="4"/>
                  </a:cubicBezTo>
                  <a:cubicBezTo>
                    <a:pt x="10" y="4"/>
                    <a:pt x="9" y="4"/>
                    <a:pt x="8" y="2"/>
                  </a:cubicBezTo>
                  <a:cubicBezTo>
                    <a:pt x="7" y="4"/>
                    <a:pt x="6" y="3"/>
                    <a:pt x="5" y="4"/>
                  </a:cubicBezTo>
                  <a:cubicBezTo>
                    <a:pt x="4" y="4"/>
                    <a:pt x="3" y="5"/>
                    <a:pt x="1" y="5"/>
                  </a:cubicBezTo>
                  <a:cubicBezTo>
                    <a:pt x="2" y="7"/>
                    <a:pt x="0" y="8"/>
                    <a:pt x="3" y="9"/>
                  </a:cubicBezTo>
                  <a:cubicBezTo>
                    <a:pt x="3" y="9"/>
                    <a:pt x="4" y="9"/>
                    <a:pt x="4" y="9"/>
                  </a:cubicBezTo>
                  <a:cubicBezTo>
                    <a:pt x="5" y="9"/>
                    <a:pt x="5" y="9"/>
                    <a:pt x="5" y="9"/>
                  </a:cubicBezTo>
                  <a:cubicBezTo>
                    <a:pt x="6" y="9"/>
                    <a:pt x="6" y="9"/>
                    <a:pt x="7" y="9"/>
                  </a:cubicBezTo>
                  <a:cubicBezTo>
                    <a:pt x="10" y="9"/>
                    <a:pt x="14" y="9"/>
                    <a:pt x="15" y="6"/>
                  </a:cubicBezTo>
                  <a:cubicBezTo>
                    <a:pt x="15" y="5"/>
                    <a:pt x="18"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87"/>
            <p:cNvSpPr/>
            <p:nvPr/>
          </p:nvSpPr>
          <p:spPr bwMode="auto">
            <a:xfrm>
              <a:off x="8062142" y="213253"/>
              <a:ext cx="33894" cy="39544"/>
            </a:xfrm>
            <a:custGeom>
              <a:gdLst>
                <a:gd name="T0" fmla="*/ 9 w 10"/>
                <a:gd name="T1" fmla="*/ 0 h 12"/>
                <a:gd name="T2" fmla="*/ 7 w 10"/>
                <a:gd name="T3" fmla="*/ 0 h 12"/>
                <a:gd name="T4" fmla="*/ 7 w 10"/>
                <a:gd name="T5" fmla="*/ 0 h 12"/>
                <a:gd name="T6" fmla="*/ 6 w 10"/>
                <a:gd name="T7" fmla="*/ 1 h 12"/>
                <a:gd name="T8" fmla="*/ 6 w 10"/>
                <a:gd name="T9" fmla="*/ 1 h 12"/>
                <a:gd name="T10" fmla="*/ 5 w 10"/>
                <a:gd name="T11" fmla="*/ 2 h 12"/>
                <a:gd name="T12" fmla="*/ 6 w 10"/>
                <a:gd name="T13" fmla="*/ 7 h 12"/>
                <a:gd name="T14" fmla="*/ 0 w 10"/>
                <a:gd name="T15" fmla="*/ 12 h 12"/>
                <a:gd name="T16" fmla="*/ 9 w 10"/>
                <a:gd name="T17" fmla="*/ 5 h 12"/>
                <a:gd name="T18" fmla="*/ 9 w 10"/>
                <a:gd name="T19"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9" y="0"/>
                  </a:moveTo>
                  <a:cubicBezTo>
                    <a:pt x="8" y="0"/>
                    <a:pt x="8" y="0"/>
                    <a:pt x="7" y="0"/>
                  </a:cubicBezTo>
                  <a:cubicBezTo>
                    <a:pt x="7" y="0"/>
                    <a:pt x="7" y="0"/>
                    <a:pt x="7" y="0"/>
                  </a:cubicBezTo>
                  <a:cubicBezTo>
                    <a:pt x="7" y="1"/>
                    <a:pt x="7" y="1"/>
                    <a:pt x="6" y="1"/>
                  </a:cubicBezTo>
                  <a:cubicBezTo>
                    <a:pt x="6" y="1"/>
                    <a:pt x="6" y="1"/>
                    <a:pt x="6" y="1"/>
                  </a:cubicBezTo>
                  <a:cubicBezTo>
                    <a:pt x="6" y="1"/>
                    <a:pt x="5" y="2"/>
                    <a:pt x="5" y="2"/>
                  </a:cubicBezTo>
                  <a:cubicBezTo>
                    <a:pt x="10" y="4"/>
                    <a:pt x="9" y="5"/>
                    <a:pt x="6" y="7"/>
                  </a:cubicBezTo>
                  <a:cubicBezTo>
                    <a:pt x="4" y="8"/>
                    <a:pt x="2" y="9"/>
                    <a:pt x="0" y="12"/>
                  </a:cubicBezTo>
                  <a:cubicBezTo>
                    <a:pt x="3" y="10"/>
                    <a:pt x="7" y="8"/>
                    <a:pt x="9" y="5"/>
                  </a:cubicBezTo>
                  <a:cubicBezTo>
                    <a:pt x="10" y="4"/>
                    <a:pt x="10"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88"/>
            <p:cNvSpPr/>
            <p:nvPr/>
          </p:nvSpPr>
          <p:spPr bwMode="auto">
            <a:xfrm>
              <a:off x="8145466" y="237262"/>
              <a:ext cx="36719" cy="9886"/>
            </a:xfrm>
            <a:custGeom>
              <a:gdLst>
                <a:gd name="T0" fmla="*/ 2 w 11"/>
                <a:gd name="T1" fmla="*/ 0 h 3"/>
                <a:gd name="T2" fmla="*/ 1 w 11"/>
                <a:gd name="T3" fmla="*/ 1 h 3"/>
                <a:gd name="T4" fmla="*/ 3 w 11"/>
                <a:gd name="T5" fmla="*/ 2 h 3"/>
                <a:gd name="T6" fmla="*/ 10 w 11"/>
                <a:gd name="T7" fmla="*/ 3 h 3"/>
                <a:gd name="T8" fmla="*/ 11 w 11"/>
                <a:gd name="T9" fmla="*/ 2 h 3"/>
                <a:gd name="T10" fmla="*/ 7 w 11"/>
                <a:gd name="T11" fmla="*/ 1 h 3"/>
                <a:gd name="T12" fmla="*/ 6 w 11"/>
                <a:gd name="T13" fmla="*/ 1 h 3"/>
                <a:gd name="T14" fmla="*/ 6 w 11"/>
                <a:gd name="T15" fmla="*/ 1 h 3"/>
                <a:gd name="T16" fmla="*/ 6 w 11"/>
                <a:gd name="T17" fmla="*/ 1 h 3"/>
                <a:gd name="T18" fmla="*/ 5 w 11"/>
                <a:gd name="T19" fmla="*/ 1 h 3"/>
                <a:gd name="T20" fmla="*/ 2 w 11"/>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3">
                  <a:moveTo>
                    <a:pt x="2" y="0"/>
                  </a:moveTo>
                  <a:cubicBezTo>
                    <a:pt x="1" y="0"/>
                    <a:pt x="1" y="0"/>
                    <a:pt x="1" y="1"/>
                  </a:cubicBezTo>
                  <a:cubicBezTo>
                    <a:pt x="0" y="2"/>
                    <a:pt x="2" y="2"/>
                    <a:pt x="3" y="2"/>
                  </a:cubicBezTo>
                  <a:cubicBezTo>
                    <a:pt x="5" y="2"/>
                    <a:pt x="7" y="3"/>
                    <a:pt x="10" y="3"/>
                  </a:cubicBezTo>
                  <a:cubicBezTo>
                    <a:pt x="10" y="3"/>
                    <a:pt x="10" y="3"/>
                    <a:pt x="11" y="2"/>
                  </a:cubicBezTo>
                  <a:cubicBezTo>
                    <a:pt x="9" y="2"/>
                    <a:pt x="9" y="1"/>
                    <a:pt x="7" y="1"/>
                  </a:cubicBezTo>
                  <a:cubicBezTo>
                    <a:pt x="7" y="1"/>
                    <a:pt x="7" y="1"/>
                    <a:pt x="6" y="1"/>
                  </a:cubicBezTo>
                  <a:cubicBezTo>
                    <a:pt x="6" y="1"/>
                    <a:pt x="6" y="1"/>
                    <a:pt x="6" y="1"/>
                  </a:cubicBezTo>
                  <a:cubicBezTo>
                    <a:pt x="6" y="1"/>
                    <a:pt x="6" y="1"/>
                    <a:pt x="6" y="1"/>
                  </a:cubicBezTo>
                  <a:cubicBezTo>
                    <a:pt x="5" y="1"/>
                    <a:pt x="5" y="1"/>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89"/>
            <p:cNvSpPr/>
            <p:nvPr/>
          </p:nvSpPr>
          <p:spPr bwMode="auto">
            <a:xfrm>
              <a:off x="8038133" y="96035"/>
              <a:ext cx="7061" cy="14123"/>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1" y="1"/>
                    <a:pt x="0" y="2"/>
                    <a:pt x="1"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90"/>
            <p:cNvSpPr/>
            <p:nvPr/>
          </p:nvSpPr>
          <p:spPr bwMode="auto">
            <a:xfrm>
              <a:off x="8152527" y="310700"/>
              <a:ext cx="9886" cy="9886"/>
            </a:xfrm>
            <a:custGeom>
              <a:gdLst>
                <a:gd name="T0" fmla="*/ 3 w 3"/>
                <a:gd name="T1" fmla="*/ 0 h 3"/>
                <a:gd name="T2" fmla="*/ 1 w 3"/>
                <a:gd name="T3" fmla="*/ 3 h 3"/>
                <a:gd name="T4" fmla="*/ 3 w 3"/>
                <a:gd name="T5" fmla="*/ 0 h 3"/>
              </a:gdLst>
              <a:cxnLst>
                <a:cxn ang="0">
                  <a:pos x="T0" y="T1"/>
                </a:cxn>
                <a:cxn ang="0">
                  <a:pos x="T2" y="T3"/>
                </a:cxn>
                <a:cxn ang="0">
                  <a:pos x="T4" y="T5"/>
                </a:cxn>
              </a:cxnLst>
              <a:rect l="0" t="0" r="r" b="b"/>
              <a:pathLst>
                <a:path w="3" h="3">
                  <a:moveTo>
                    <a:pt x="3" y="0"/>
                  </a:moveTo>
                  <a:cubicBezTo>
                    <a:pt x="1" y="0"/>
                    <a:pt x="0" y="1"/>
                    <a:pt x="1" y="3"/>
                  </a:cubicBezTo>
                  <a:cubicBezTo>
                    <a:pt x="2"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91"/>
            <p:cNvSpPr/>
            <p:nvPr/>
          </p:nvSpPr>
          <p:spPr bwMode="auto">
            <a:xfrm>
              <a:off x="9190545" y="967407"/>
              <a:ext cx="25421" cy="16947"/>
            </a:xfrm>
            <a:custGeom>
              <a:gdLst>
                <a:gd name="T0" fmla="*/ 3 w 8"/>
                <a:gd name="T1" fmla="*/ 0 h 5"/>
                <a:gd name="T2" fmla="*/ 3 w 8"/>
                <a:gd name="T3" fmla="*/ 5 h 5"/>
                <a:gd name="T4" fmla="*/ 3 w 8"/>
                <a:gd name="T5" fmla="*/ 5 h 5"/>
                <a:gd name="T6" fmla="*/ 3 w 8"/>
                <a:gd name="T7" fmla="*/ 0 h 5"/>
              </a:gdLst>
              <a:cxnLst>
                <a:cxn ang="0">
                  <a:pos x="T0" y="T1"/>
                </a:cxn>
                <a:cxn ang="0">
                  <a:pos x="T2" y="T3"/>
                </a:cxn>
                <a:cxn ang="0">
                  <a:pos x="T4" y="T5"/>
                </a:cxn>
                <a:cxn ang="0">
                  <a:pos x="T6" y="T7"/>
                </a:cxn>
              </a:cxnLst>
              <a:rect l="0" t="0" r="r" b="b"/>
              <a:pathLst>
                <a:path w="8" h="5">
                  <a:moveTo>
                    <a:pt x="3" y="0"/>
                  </a:moveTo>
                  <a:cubicBezTo>
                    <a:pt x="0" y="0"/>
                    <a:pt x="1" y="5"/>
                    <a:pt x="3" y="5"/>
                  </a:cubicBezTo>
                  <a:cubicBezTo>
                    <a:pt x="3" y="5"/>
                    <a:pt x="3" y="5"/>
                    <a:pt x="3" y="5"/>
                  </a:cubicBezTo>
                  <a:cubicBezTo>
                    <a:pt x="8" y="5"/>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92"/>
            <p:cNvSpPr/>
            <p:nvPr/>
          </p:nvSpPr>
          <p:spPr bwMode="auto">
            <a:xfrm>
              <a:off x="8919389" y="573383"/>
              <a:ext cx="16947" cy="7061"/>
            </a:xfrm>
            <a:custGeom>
              <a:gdLst>
                <a:gd name="T0" fmla="*/ 5 w 5"/>
                <a:gd name="T1" fmla="*/ 0 h 2"/>
                <a:gd name="T2" fmla="*/ 0 w 5"/>
                <a:gd name="T3" fmla="*/ 2 h 2"/>
                <a:gd name="T4" fmla="*/ 5 w 5"/>
                <a:gd name="T5" fmla="*/ 0 h 2"/>
              </a:gdLst>
              <a:cxnLst>
                <a:cxn ang="0">
                  <a:pos x="T0" y="T1"/>
                </a:cxn>
                <a:cxn ang="0">
                  <a:pos x="T2" y="T3"/>
                </a:cxn>
                <a:cxn ang="0">
                  <a:pos x="T4" y="T5"/>
                </a:cxn>
              </a:cxnLst>
              <a:rect l="0" t="0" r="r" b="b"/>
              <a:pathLst>
                <a:path w="5" h="2">
                  <a:moveTo>
                    <a:pt x="5" y="0"/>
                  </a:moveTo>
                  <a:cubicBezTo>
                    <a:pt x="3" y="0"/>
                    <a:pt x="2" y="1"/>
                    <a:pt x="0" y="2"/>
                  </a:cubicBezTo>
                  <a:cubicBezTo>
                    <a:pt x="2" y="2"/>
                    <a:pt x="4"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93"/>
            <p:cNvSpPr/>
            <p:nvPr/>
          </p:nvSpPr>
          <p:spPr bwMode="auto">
            <a:xfrm>
              <a:off x="9019661" y="660944"/>
              <a:ext cx="16947" cy="12710"/>
            </a:xfrm>
            <a:custGeom>
              <a:gdLst>
                <a:gd name="T0" fmla="*/ 2 w 5"/>
                <a:gd name="T1" fmla="*/ 0 h 4"/>
                <a:gd name="T2" fmla="*/ 0 w 5"/>
                <a:gd name="T3" fmla="*/ 3 h 4"/>
                <a:gd name="T4" fmla="*/ 2 w 5"/>
                <a:gd name="T5" fmla="*/ 4 h 4"/>
                <a:gd name="T6" fmla="*/ 3 w 5"/>
                <a:gd name="T7" fmla="*/ 4 h 4"/>
                <a:gd name="T8" fmla="*/ 3 w 5"/>
                <a:gd name="T9" fmla="*/ 4 h 4"/>
                <a:gd name="T10" fmla="*/ 5 w 5"/>
                <a:gd name="T11" fmla="*/ 3 h 4"/>
                <a:gd name="T12" fmla="*/ 3 w 5"/>
                <a:gd name="T13" fmla="*/ 0 h 4"/>
                <a:gd name="T14" fmla="*/ 2 w 5"/>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2" y="0"/>
                  </a:moveTo>
                  <a:cubicBezTo>
                    <a:pt x="1" y="0"/>
                    <a:pt x="1" y="2"/>
                    <a:pt x="0" y="3"/>
                  </a:cubicBezTo>
                  <a:cubicBezTo>
                    <a:pt x="0" y="4"/>
                    <a:pt x="1" y="4"/>
                    <a:pt x="2" y="4"/>
                  </a:cubicBezTo>
                  <a:cubicBezTo>
                    <a:pt x="2" y="4"/>
                    <a:pt x="2" y="4"/>
                    <a:pt x="3" y="4"/>
                  </a:cubicBezTo>
                  <a:cubicBezTo>
                    <a:pt x="3" y="4"/>
                    <a:pt x="3" y="4"/>
                    <a:pt x="3" y="4"/>
                  </a:cubicBezTo>
                  <a:cubicBezTo>
                    <a:pt x="4" y="4"/>
                    <a:pt x="4" y="3"/>
                    <a:pt x="5" y="3"/>
                  </a:cubicBezTo>
                  <a:cubicBezTo>
                    <a:pt x="4" y="2"/>
                    <a:pt x="3"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94"/>
            <p:cNvSpPr/>
            <p:nvPr/>
          </p:nvSpPr>
          <p:spPr bwMode="auto">
            <a:xfrm>
              <a:off x="9016836" y="617164"/>
              <a:ext cx="5649" cy="9886"/>
            </a:xfrm>
            <a:custGeom>
              <a:gdLst>
                <a:gd name="T0" fmla="*/ 2 w 2"/>
                <a:gd name="T1" fmla="*/ 0 h 3"/>
                <a:gd name="T2" fmla="*/ 2 w 2"/>
                <a:gd name="T3" fmla="*/ 3 h 3"/>
                <a:gd name="T4" fmla="*/ 2 w 2"/>
                <a:gd name="T5" fmla="*/ 0 h 3"/>
              </a:gdLst>
              <a:cxnLst>
                <a:cxn ang="0">
                  <a:pos x="T0" y="T1"/>
                </a:cxn>
                <a:cxn ang="0">
                  <a:pos x="T2" y="T3"/>
                </a:cxn>
                <a:cxn ang="0">
                  <a:pos x="T4" y="T5"/>
                </a:cxn>
              </a:cxnLst>
              <a:rect l="0" t="0" r="r" b="b"/>
              <a:pathLst>
                <a:path w="2" h="3">
                  <a:moveTo>
                    <a:pt x="2" y="0"/>
                  </a:moveTo>
                  <a:cubicBezTo>
                    <a:pt x="0" y="1"/>
                    <a:pt x="2" y="2"/>
                    <a:pt x="2"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95"/>
            <p:cNvSpPr/>
            <p:nvPr/>
          </p:nvSpPr>
          <p:spPr bwMode="auto">
            <a:xfrm>
              <a:off x="7694951" y="4707107"/>
              <a:ext cx="16947" cy="7061"/>
            </a:xfrm>
            <a:custGeom>
              <a:gdLst>
                <a:gd name="T0" fmla="*/ 2 w 5"/>
                <a:gd name="T1" fmla="*/ 0 h 2"/>
                <a:gd name="T2" fmla="*/ 0 w 5"/>
                <a:gd name="T3" fmla="*/ 2 h 2"/>
                <a:gd name="T4" fmla="*/ 5 w 5"/>
                <a:gd name="T5" fmla="*/ 1 h 2"/>
                <a:gd name="T6" fmla="*/ 2 w 5"/>
                <a:gd name="T7" fmla="*/ 0 h 2"/>
              </a:gdLst>
              <a:cxnLst>
                <a:cxn ang="0">
                  <a:pos x="T0" y="T1"/>
                </a:cxn>
                <a:cxn ang="0">
                  <a:pos x="T2" y="T3"/>
                </a:cxn>
                <a:cxn ang="0">
                  <a:pos x="T4" y="T5"/>
                </a:cxn>
                <a:cxn ang="0">
                  <a:pos x="T6" y="T7"/>
                </a:cxn>
              </a:cxnLst>
              <a:rect l="0" t="0" r="r" b="b"/>
              <a:pathLst>
                <a:path w="5" h="2">
                  <a:moveTo>
                    <a:pt x="2" y="0"/>
                  </a:moveTo>
                  <a:cubicBezTo>
                    <a:pt x="2" y="0"/>
                    <a:pt x="1" y="1"/>
                    <a:pt x="0" y="2"/>
                  </a:cubicBezTo>
                  <a:cubicBezTo>
                    <a:pt x="2" y="2"/>
                    <a:pt x="4" y="2"/>
                    <a:pt x="5" y="1"/>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97"/>
            <p:cNvSpPr/>
            <p:nvPr/>
          </p:nvSpPr>
          <p:spPr bwMode="auto">
            <a:xfrm>
              <a:off x="8786636" y="614339"/>
              <a:ext cx="26833" cy="5649"/>
            </a:xfrm>
            <a:custGeom>
              <a:gdLst>
                <a:gd name="T0" fmla="*/ 8 w 8"/>
                <a:gd name="T1" fmla="*/ 0 h 2"/>
                <a:gd name="T2" fmla="*/ 0 w 8"/>
                <a:gd name="T3" fmla="*/ 2 h 2"/>
                <a:gd name="T4" fmla="*/ 8 w 8"/>
                <a:gd name="T5" fmla="*/ 0 h 2"/>
              </a:gdLst>
              <a:cxnLst>
                <a:cxn ang="0">
                  <a:pos x="T0" y="T1"/>
                </a:cxn>
                <a:cxn ang="0">
                  <a:pos x="T2" y="T3"/>
                </a:cxn>
                <a:cxn ang="0">
                  <a:pos x="T4" y="T5"/>
                </a:cxn>
              </a:cxnLst>
              <a:rect l="0" t="0" r="r" b="b"/>
              <a:pathLst>
                <a:path w="8" h="2">
                  <a:moveTo>
                    <a:pt x="8" y="0"/>
                  </a:moveTo>
                  <a:cubicBezTo>
                    <a:pt x="5" y="0"/>
                    <a:pt x="3" y="1"/>
                    <a:pt x="0" y="2"/>
                  </a:cubicBezTo>
                  <a:cubicBezTo>
                    <a:pt x="3" y="1"/>
                    <a:pt x="5"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98"/>
            <p:cNvSpPr/>
            <p:nvPr/>
          </p:nvSpPr>
          <p:spPr bwMode="auto">
            <a:xfrm>
              <a:off x="8776750" y="563497"/>
              <a:ext cx="15535" cy="7061"/>
            </a:xfrm>
            <a:custGeom>
              <a:gdLst>
                <a:gd name="T0" fmla="*/ 0 w 5"/>
                <a:gd name="T1" fmla="*/ 0 h 2"/>
                <a:gd name="T2" fmla="*/ 4 w 5"/>
                <a:gd name="T3" fmla="*/ 2 h 2"/>
                <a:gd name="T4" fmla="*/ 5 w 5"/>
                <a:gd name="T5" fmla="*/ 1 h 2"/>
                <a:gd name="T6" fmla="*/ 0 w 5"/>
                <a:gd name="T7" fmla="*/ 0 h 2"/>
              </a:gdLst>
              <a:cxnLst>
                <a:cxn ang="0">
                  <a:pos x="T0" y="T1"/>
                </a:cxn>
                <a:cxn ang="0">
                  <a:pos x="T2" y="T3"/>
                </a:cxn>
                <a:cxn ang="0">
                  <a:pos x="T4" y="T5"/>
                </a:cxn>
                <a:cxn ang="0">
                  <a:pos x="T6" y="T7"/>
                </a:cxn>
              </a:cxnLst>
              <a:rect l="0" t="0" r="r" b="b"/>
              <a:pathLst>
                <a:path w="5" h="2">
                  <a:moveTo>
                    <a:pt x="0" y="0"/>
                  </a:moveTo>
                  <a:cubicBezTo>
                    <a:pt x="2" y="1"/>
                    <a:pt x="3" y="2"/>
                    <a:pt x="4" y="2"/>
                  </a:cubicBezTo>
                  <a:cubicBezTo>
                    <a:pt x="4" y="2"/>
                    <a:pt x="4" y="2"/>
                    <a:pt x="5" y="1"/>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99"/>
            <p:cNvSpPr/>
            <p:nvPr/>
          </p:nvSpPr>
          <p:spPr bwMode="auto">
            <a:xfrm>
              <a:off x="8802171" y="553611"/>
              <a:ext cx="14123" cy="9886"/>
            </a:xfrm>
            <a:custGeom>
              <a:gdLst>
                <a:gd name="T0" fmla="*/ 4 w 4"/>
                <a:gd name="T1" fmla="*/ 0 h 3"/>
                <a:gd name="T2" fmla="*/ 0 w 4"/>
                <a:gd name="T3" fmla="*/ 3 h 3"/>
                <a:gd name="T4" fmla="*/ 4 w 4"/>
                <a:gd name="T5" fmla="*/ 0 h 3"/>
              </a:gdLst>
              <a:cxnLst>
                <a:cxn ang="0">
                  <a:pos x="T0" y="T1"/>
                </a:cxn>
                <a:cxn ang="0">
                  <a:pos x="T2" y="T3"/>
                </a:cxn>
                <a:cxn ang="0">
                  <a:pos x="T4" y="T5"/>
                </a:cxn>
              </a:cxnLst>
              <a:rect l="0" t="0" r="r" b="b"/>
              <a:pathLst>
                <a:path w="4" h="3">
                  <a:moveTo>
                    <a:pt x="4" y="0"/>
                  </a:moveTo>
                  <a:cubicBezTo>
                    <a:pt x="3" y="1"/>
                    <a:pt x="2" y="2"/>
                    <a:pt x="0" y="3"/>
                  </a:cubicBezTo>
                  <a:cubicBezTo>
                    <a:pt x="2" y="3"/>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00"/>
            <p:cNvSpPr/>
            <p:nvPr/>
          </p:nvSpPr>
          <p:spPr bwMode="auto">
            <a:xfrm>
              <a:off x="9066266" y="961758"/>
              <a:ext cx="14123" cy="19772"/>
            </a:xfrm>
            <a:custGeom>
              <a:gdLst>
                <a:gd name="T0" fmla="*/ 3 w 4"/>
                <a:gd name="T1" fmla="*/ 0 h 6"/>
                <a:gd name="T2" fmla="*/ 0 w 4"/>
                <a:gd name="T3" fmla="*/ 3 h 6"/>
                <a:gd name="T4" fmla="*/ 0 w 4"/>
                <a:gd name="T5" fmla="*/ 4 h 6"/>
                <a:gd name="T6" fmla="*/ 2 w 4"/>
                <a:gd name="T7" fmla="*/ 6 h 6"/>
                <a:gd name="T8" fmla="*/ 4 w 4"/>
                <a:gd name="T9" fmla="*/ 3 h 6"/>
                <a:gd name="T10" fmla="*/ 3 w 4"/>
                <a:gd name="T11" fmla="*/ 0 h 6"/>
              </a:gdLst>
              <a:cxnLst>
                <a:cxn ang="0">
                  <a:pos x="T0" y="T1"/>
                </a:cxn>
                <a:cxn ang="0">
                  <a:pos x="T2" y="T3"/>
                </a:cxn>
                <a:cxn ang="0">
                  <a:pos x="T4" y="T5"/>
                </a:cxn>
                <a:cxn ang="0">
                  <a:pos x="T6" y="T7"/>
                </a:cxn>
                <a:cxn ang="0">
                  <a:pos x="T8" y="T9"/>
                </a:cxn>
                <a:cxn ang="0">
                  <a:pos x="T10" y="T11"/>
                </a:cxn>
              </a:cxnLst>
              <a:rect l="0" t="0" r="r" b="b"/>
              <a:pathLst>
                <a:path w="4" h="6">
                  <a:moveTo>
                    <a:pt x="3" y="0"/>
                  </a:moveTo>
                  <a:cubicBezTo>
                    <a:pt x="2" y="0"/>
                    <a:pt x="1" y="1"/>
                    <a:pt x="0" y="3"/>
                  </a:cubicBezTo>
                  <a:cubicBezTo>
                    <a:pt x="0" y="3"/>
                    <a:pt x="0" y="4"/>
                    <a:pt x="0" y="4"/>
                  </a:cubicBezTo>
                  <a:cubicBezTo>
                    <a:pt x="1" y="5"/>
                    <a:pt x="2" y="6"/>
                    <a:pt x="2" y="6"/>
                  </a:cubicBezTo>
                  <a:cubicBezTo>
                    <a:pt x="3" y="6"/>
                    <a:pt x="3" y="4"/>
                    <a:pt x="4" y="3"/>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01"/>
            <p:cNvSpPr>
              <a:spLocks noEditPoints="1"/>
            </p:cNvSpPr>
            <p:nvPr/>
          </p:nvSpPr>
          <p:spPr bwMode="auto">
            <a:xfrm>
              <a:off x="7508532" y="46605"/>
              <a:ext cx="5649" cy="9886"/>
            </a:xfrm>
            <a:custGeom>
              <a:gdLst>
                <a:gd name="T0" fmla="*/ 0 w 2"/>
                <a:gd name="T1" fmla="*/ 1 h 3"/>
                <a:gd name="T2" fmla="*/ 1 w 2"/>
                <a:gd name="T3" fmla="*/ 2 h 3"/>
                <a:gd name="T4" fmla="*/ 1 w 2"/>
                <a:gd name="T5" fmla="*/ 3 h 3"/>
                <a:gd name="T6" fmla="*/ 2 w 2"/>
                <a:gd name="T7" fmla="*/ 3 h 3"/>
                <a:gd name="T8" fmla="*/ 2 w 2"/>
                <a:gd name="T9" fmla="*/ 3 h 3"/>
                <a:gd name="T10" fmla="*/ 1 w 2"/>
                <a:gd name="T11" fmla="*/ 3 h 3"/>
                <a:gd name="T12" fmla="*/ 0 w 2"/>
                <a:gd name="T13" fmla="*/ 1 h 3"/>
                <a:gd name="T14" fmla="*/ 0 w 2"/>
                <a:gd name="T15" fmla="*/ 0 h 3"/>
                <a:gd name="T16" fmla="*/ 0 w 2"/>
                <a:gd name="T17" fmla="*/ 1 h 3"/>
                <a:gd name="T18" fmla="*/ 0 w 2"/>
                <a:gd name="T19"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1"/>
                  </a:moveTo>
                  <a:cubicBezTo>
                    <a:pt x="0" y="1"/>
                    <a:pt x="1" y="1"/>
                    <a:pt x="1" y="2"/>
                  </a:cubicBezTo>
                  <a:cubicBezTo>
                    <a:pt x="1" y="2"/>
                    <a:pt x="1" y="3"/>
                    <a:pt x="1" y="3"/>
                  </a:cubicBezTo>
                  <a:cubicBezTo>
                    <a:pt x="2" y="3"/>
                    <a:pt x="2" y="3"/>
                    <a:pt x="2" y="3"/>
                  </a:cubicBezTo>
                  <a:cubicBezTo>
                    <a:pt x="2" y="3"/>
                    <a:pt x="2" y="3"/>
                    <a:pt x="2" y="3"/>
                  </a:cubicBezTo>
                  <a:cubicBezTo>
                    <a:pt x="1" y="3"/>
                    <a:pt x="1" y="3"/>
                    <a:pt x="1" y="3"/>
                  </a:cubicBezTo>
                  <a:cubicBezTo>
                    <a:pt x="1" y="2"/>
                    <a:pt x="1" y="1"/>
                    <a:pt x="0" y="1"/>
                  </a:cubicBezTo>
                  <a:moveTo>
                    <a:pt x="0" y="0"/>
                  </a:moveTo>
                  <a:cubicBezTo>
                    <a:pt x="0" y="0"/>
                    <a:pt x="0" y="0"/>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02"/>
            <p:cNvSpPr/>
            <p:nvPr/>
          </p:nvSpPr>
          <p:spPr bwMode="auto">
            <a:xfrm>
              <a:off x="9016836" y="1160889"/>
              <a:ext cx="76263" cy="60728"/>
            </a:xfrm>
            <a:custGeom>
              <a:gdLst>
                <a:gd name="T0" fmla="*/ 22 w 23"/>
                <a:gd name="T1" fmla="*/ 0 h 18"/>
                <a:gd name="T2" fmla="*/ 18 w 23"/>
                <a:gd name="T3" fmla="*/ 1 h 18"/>
                <a:gd name="T4" fmla="*/ 6 w 23"/>
                <a:gd name="T5" fmla="*/ 3 h 18"/>
                <a:gd name="T6" fmla="*/ 11 w 23"/>
                <a:gd name="T7" fmla="*/ 8 h 18"/>
                <a:gd name="T8" fmla="*/ 10 w 23"/>
                <a:gd name="T9" fmla="*/ 14 h 18"/>
                <a:gd name="T10" fmla="*/ 6 w 23"/>
                <a:gd name="T11" fmla="*/ 15 h 18"/>
                <a:gd name="T12" fmla="*/ 0 w 23"/>
                <a:gd name="T13" fmla="*/ 18 h 18"/>
                <a:gd name="T14" fmla="*/ 3 w 23"/>
                <a:gd name="T15" fmla="*/ 18 h 18"/>
                <a:gd name="T16" fmla="*/ 5 w 23"/>
                <a:gd name="T17" fmla="*/ 18 h 18"/>
                <a:gd name="T18" fmla="*/ 8 w 23"/>
                <a:gd name="T19" fmla="*/ 18 h 18"/>
                <a:gd name="T20" fmla="*/ 10 w 23"/>
                <a:gd name="T21" fmla="*/ 18 h 18"/>
                <a:gd name="T22" fmla="*/ 13 w 23"/>
                <a:gd name="T23" fmla="*/ 18 h 18"/>
                <a:gd name="T24" fmla="*/ 19 w 23"/>
                <a:gd name="T25" fmla="*/ 17 h 18"/>
                <a:gd name="T26" fmla="*/ 21 w 23"/>
                <a:gd name="T27" fmla="*/ 8 h 18"/>
                <a:gd name="T28" fmla="*/ 23 w 23"/>
                <a:gd name="T29" fmla="*/ 0 h 18"/>
                <a:gd name="T30" fmla="*/ 22 w 23"/>
                <a:gd name="T3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18">
                  <a:moveTo>
                    <a:pt x="22" y="0"/>
                  </a:moveTo>
                  <a:cubicBezTo>
                    <a:pt x="21" y="0"/>
                    <a:pt x="19" y="0"/>
                    <a:pt x="18" y="1"/>
                  </a:cubicBezTo>
                  <a:cubicBezTo>
                    <a:pt x="14" y="1"/>
                    <a:pt x="10" y="2"/>
                    <a:pt x="6" y="3"/>
                  </a:cubicBezTo>
                  <a:cubicBezTo>
                    <a:pt x="10" y="4"/>
                    <a:pt x="10" y="5"/>
                    <a:pt x="11" y="8"/>
                  </a:cubicBezTo>
                  <a:cubicBezTo>
                    <a:pt x="11" y="10"/>
                    <a:pt x="11" y="12"/>
                    <a:pt x="10" y="14"/>
                  </a:cubicBezTo>
                  <a:cubicBezTo>
                    <a:pt x="10" y="14"/>
                    <a:pt x="7" y="14"/>
                    <a:pt x="6" y="15"/>
                  </a:cubicBezTo>
                  <a:cubicBezTo>
                    <a:pt x="5" y="16"/>
                    <a:pt x="2" y="17"/>
                    <a:pt x="0" y="18"/>
                  </a:cubicBezTo>
                  <a:cubicBezTo>
                    <a:pt x="1" y="18"/>
                    <a:pt x="2" y="18"/>
                    <a:pt x="3" y="18"/>
                  </a:cubicBezTo>
                  <a:cubicBezTo>
                    <a:pt x="4" y="18"/>
                    <a:pt x="4" y="18"/>
                    <a:pt x="5" y="18"/>
                  </a:cubicBezTo>
                  <a:cubicBezTo>
                    <a:pt x="6" y="18"/>
                    <a:pt x="7" y="18"/>
                    <a:pt x="8" y="18"/>
                  </a:cubicBezTo>
                  <a:cubicBezTo>
                    <a:pt x="9" y="18"/>
                    <a:pt x="9" y="18"/>
                    <a:pt x="10" y="18"/>
                  </a:cubicBezTo>
                  <a:cubicBezTo>
                    <a:pt x="11" y="18"/>
                    <a:pt x="12" y="18"/>
                    <a:pt x="13" y="18"/>
                  </a:cubicBezTo>
                  <a:cubicBezTo>
                    <a:pt x="15" y="18"/>
                    <a:pt x="17" y="18"/>
                    <a:pt x="19" y="17"/>
                  </a:cubicBezTo>
                  <a:cubicBezTo>
                    <a:pt x="23" y="15"/>
                    <a:pt x="21" y="11"/>
                    <a:pt x="21" y="8"/>
                  </a:cubicBezTo>
                  <a:cubicBezTo>
                    <a:pt x="20" y="5"/>
                    <a:pt x="22" y="3"/>
                    <a:pt x="23" y="0"/>
                  </a:cubicBezTo>
                  <a:cubicBezTo>
                    <a:pt x="23" y="0"/>
                    <a:pt x="22"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103"/>
            <p:cNvSpPr/>
            <p:nvPr/>
          </p:nvSpPr>
          <p:spPr bwMode="auto">
            <a:xfrm>
              <a:off x="7471813" y="1412273"/>
              <a:ext cx="22596" cy="22596"/>
            </a:xfrm>
            <a:custGeom>
              <a:gdLst>
                <a:gd name="T0" fmla="*/ 3 w 7"/>
                <a:gd name="T1" fmla="*/ 0 h 7"/>
                <a:gd name="T2" fmla="*/ 0 w 7"/>
                <a:gd name="T3" fmla="*/ 3 h 7"/>
                <a:gd name="T4" fmla="*/ 6 w 7"/>
                <a:gd name="T5" fmla="*/ 7 h 7"/>
                <a:gd name="T6" fmla="*/ 7 w 7"/>
                <a:gd name="T7" fmla="*/ 7 h 7"/>
                <a:gd name="T8" fmla="*/ 3 w 7"/>
                <a:gd name="T9" fmla="*/ 0 h 7"/>
              </a:gdLst>
              <a:cxnLst>
                <a:cxn ang="0">
                  <a:pos x="T0" y="T1"/>
                </a:cxn>
                <a:cxn ang="0">
                  <a:pos x="T2" y="T3"/>
                </a:cxn>
                <a:cxn ang="0">
                  <a:pos x="T4" y="T5"/>
                </a:cxn>
                <a:cxn ang="0">
                  <a:pos x="T6" y="T7"/>
                </a:cxn>
                <a:cxn ang="0">
                  <a:pos x="T8" y="T9"/>
                </a:cxn>
              </a:cxnLst>
              <a:rect l="0" t="0" r="r" b="b"/>
              <a:pathLst>
                <a:path w="7" h="7">
                  <a:moveTo>
                    <a:pt x="3" y="0"/>
                  </a:moveTo>
                  <a:cubicBezTo>
                    <a:pt x="2" y="0"/>
                    <a:pt x="1" y="2"/>
                    <a:pt x="0" y="3"/>
                  </a:cubicBezTo>
                  <a:cubicBezTo>
                    <a:pt x="1" y="5"/>
                    <a:pt x="4" y="7"/>
                    <a:pt x="6" y="7"/>
                  </a:cubicBezTo>
                  <a:cubicBezTo>
                    <a:pt x="6" y="7"/>
                    <a:pt x="7" y="7"/>
                    <a:pt x="7" y="7"/>
                  </a:cubicBezTo>
                  <a:cubicBezTo>
                    <a:pt x="6" y="4"/>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104"/>
            <p:cNvSpPr/>
            <p:nvPr/>
          </p:nvSpPr>
          <p:spPr bwMode="auto">
            <a:xfrm>
              <a:off x="7531128" y="1415098"/>
              <a:ext cx="7061" cy="4237"/>
            </a:xfrm>
            <a:custGeom>
              <a:gdLst>
                <a:gd name="T0" fmla="*/ 2 w 2"/>
                <a:gd name="T1" fmla="*/ 0 h 1"/>
                <a:gd name="T2" fmla="*/ 0 w 2"/>
                <a:gd name="T3" fmla="*/ 1 h 1"/>
                <a:gd name="T4" fmla="*/ 0 w 2"/>
                <a:gd name="T5" fmla="*/ 1 h 1"/>
                <a:gd name="T6" fmla="*/ 1 w 2"/>
                <a:gd name="T7" fmla="*/ 1 h 1"/>
                <a:gd name="T8" fmla="*/ 1 w 2"/>
                <a:gd name="T9" fmla="*/ 1 h 1"/>
                <a:gd name="T10" fmla="*/ 2 w 2"/>
                <a:gd name="T11" fmla="*/ 0 h 1"/>
              </a:gdLst>
              <a:cxnLst>
                <a:cxn ang="0">
                  <a:pos x="T0" y="T1"/>
                </a:cxn>
                <a:cxn ang="0">
                  <a:pos x="T2" y="T3"/>
                </a:cxn>
                <a:cxn ang="0">
                  <a:pos x="T4" y="T5"/>
                </a:cxn>
                <a:cxn ang="0">
                  <a:pos x="T6" y="T7"/>
                </a:cxn>
                <a:cxn ang="0">
                  <a:pos x="T8" y="T9"/>
                </a:cxn>
                <a:cxn ang="0">
                  <a:pos x="T10" y="T11"/>
                </a:cxn>
              </a:cxnLst>
              <a:rect l="0" t="0" r="r" b="b"/>
              <a:pathLst>
                <a:path w="2" h="1">
                  <a:moveTo>
                    <a:pt x="2" y="0"/>
                  </a:moveTo>
                  <a:cubicBezTo>
                    <a:pt x="1" y="1"/>
                    <a:pt x="1" y="1"/>
                    <a:pt x="0" y="1"/>
                  </a:cubicBezTo>
                  <a:cubicBezTo>
                    <a:pt x="0" y="1"/>
                    <a:pt x="0" y="1"/>
                    <a:pt x="0" y="1"/>
                  </a:cubicBezTo>
                  <a:cubicBezTo>
                    <a:pt x="1" y="1"/>
                    <a:pt x="1" y="1"/>
                    <a:pt x="1" y="1"/>
                  </a:cubicBezTo>
                  <a:cubicBezTo>
                    <a:pt x="1" y="1"/>
                    <a:pt x="1" y="1"/>
                    <a:pt x="1" y="1"/>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05"/>
            <p:cNvSpPr/>
            <p:nvPr/>
          </p:nvSpPr>
          <p:spPr bwMode="auto">
            <a:xfrm>
              <a:off x="7528304" y="1419335"/>
              <a:ext cx="2825" cy="0"/>
            </a:xfrm>
            <a:custGeom>
              <a:gdLst>
                <a:gd name="T0" fmla="*/ 1 w 1"/>
                <a:gd name="T1" fmla="*/ 0 w 1"/>
                <a:gd name="T2" fmla="*/ 1 w 1"/>
                <a:gd name="T3" fmla="*/ 1 w 1"/>
              </a:gdLst>
              <a:cxnLst>
                <a:cxn ang="0">
                  <a:pos x="T0" y="0"/>
                </a:cxn>
                <a:cxn ang="0">
                  <a:pos x="T1" y="0"/>
                </a:cxn>
                <a:cxn ang="0">
                  <a:pos x="T2" y="0"/>
                </a:cxn>
                <a:cxn ang="0">
                  <a:pos x="T3" y="0"/>
                </a:cxn>
              </a:cxnLst>
              <a:rect l="0" t="0" r="r" b="b"/>
              <a:pathLst>
                <a:path w="1">
                  <a:moveTo>
                    <a:pt x="1" y="0"/>
                  </a:moveTo>
                  <a:cubicBezTo>
                    <a:pt x="1" y="0"/>
                    <a:pt x="1" y="0"/>
                    <a:pt x="0"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06"/>
            <p:cNvSpPr/>
            <p:nvPr/>
          </p:nvSpPr>
          <p:spPr bwMode="auto">
            <a:xfrm>
              <a:off x="7447804" y="1278107"/>
              <a:ext cx="9886" cy="7061"/>
            </a:xfrm>
            <a:custGeom>
              <a:gdLst>
                <a:gd name="T0" fmla="*/ 0 w 3"/>
                <a:gd name="T1" fmla="*/ 0 h 2"/>
                <a:gd name="T2" fmla="*/ 1 w 3"/>
                <a:gd name="T3" fmla="*/ 2 h 2"/>
                <a:gd name="T4" fmla="*/ 3 w 3"/>
                <a:gd name="T5" fmla="*/ 1 h 2"/>
                <a:gd name="T6" fmla="*/ 0 w 3"/>
                <a:gd name="T7" fmla="*/ 0 h 2"/>
              </a:gdLst>
              <a:cxnLst>
                <a:cxn ang="0">
                  <a:pos x="T0" y="T1"/>
                </a:cxn>
                <a:cxn ang="0">
                  <a:pos x="T2" y="T3"/>
                </a:cxn>
                <a:cxn ang="0">
                  <a:pos x="T4" y="T5"/>
                </a:cxn>
                <a:cxn ang="0">
                  <a:pos x="T6" y="T7"/>
                </a:cxn>
              </a:cxnLst>
              <a:rect l="0" t="0" r="r" b="b"/>
              <a:pathLst>
                <a:path w="3" h="2">
                  <a:moveTo>
                    <a:pt x="0" y="0"/>
                  </a:moveTo>
                  <a:cubicBezTo>
                    <a:pt x="0" y="1"/>
                    <a:pt x="1" y="2"/>
                    <a:pt x="1" y="2"/>
                  </a:cubicBezTo>
                  <a:cubicBezTo>
                    <a:pt x="2" y="2"/>
                    <a:pt x="2" y="2"/>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07"/>
            <p:cNvSpPr/>
            <p:nvPr/>
          </p:nvSpPr>
          <p:spPr bwMode="auto">
            <a:xfrm>
              <a:off x="7694951" y="1348721"/>
              <a:ext cx="9886" cy="16947"/>
            </a:xfrm>
            <a:custGeom>
              <a:gdLst>
                <a:gd name="T0" fmla="*/ 3 w 3"/>
                <a:gd name="T1" fmla="*/ 0 h 5"/>
                <a:gd name="T2" fmla="*/ 2 w 3"/>
                <a:gd name="T3" fmla="*/ 5 h 5"/>
                <a:gd name="T4" fmla="*/ 3 w 3"/>
                <a:gd name="T5" fmla="*/ 0 h 5"/>
              </a:gdLst>
              <a:cxnLst>
                <a:cxn ang="0">
                  <a:pos x="T0" y="T1"/>
                </a:cxn>
                <a:cxn ang="0">
                  <a:pos x="T2" y="T3"/>
                </a:cxn>
                <a:cxn ang="0">
                  <a:pos x="T4" y="T5"/>
                </a:cxn>
              </a:cxnLst>
              <a:rect l="0" t="0" r="r" b="b"/>
              <a:pathLst>
                <a:path w="3" h="5">
                  <a:moveTo>
                    <a:pt x="3" y="0"/>
                  </a:moveTo>
                  <a:cubicBezTo>
                    <a:pt x="0" y="0"/>
                    <a:pt x="1" y="4"/>
                    <a:pt x="2" y="5"/>
                  </a:cubicBezTo>
                  <a:cubicBezTo>
                    <a:pt x="3"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08"/>
            <p:cNvSpPr/>
            <p:nvPr/>
          </p:nvSpPr>
          <p:spPr bwMode="auto">
            <a:xfrm>
              <a:off x="8466051" y="1045082"/>
              <a:ext cx="9886" cy="9886"/>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0" y="2"/>
                    <a:pt x="1"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09"/>
            <p:cNvSpPr/>
            <p:nvPr/>
          </p:nvSpPr>
          <p:spPr bwMode="auto">
            <a:xfrm>
              <a:off x="8475937" y="1054968"/>
              <a:ext cx="12710" cy="12710"/>
            </a:xfrm>
            <a:custGeom>
              <a:gdLst>
                <a:gd name="T0" fmla="*/ 0 w 4"/>
                <a:gd name="T1" fmla="*/ 0 h 4"/>
                <a:gd name="T2" fmla="*/ 0 w 4"/>
                <a:gd name="T3" fmla="*/ 0 h 4"/>
                <a:gd name="T4" fmla="*/ 4 w 4"/>
                <a:gd name="T5" fmla="*/ 4 h 4"/>
                <a:gd name="T6" fmla="*/ 0 w 4"/>
                <a:gd name="T7" fmla="*/ 0 h 4"/>
              </a:gdLst>
              <a:cxnLst>
                <a:cxn ang="0">
                  <a:pos x="T0" y="T1"/>
                </a:cxn>
                <a:cxn ang="0">
                  <a:pos x="T2" y="T3"/>
                </a:cxn>
                <a:cxn ang="0">
                  <a:pos x="T4" y="T5"/>
                </a:cxn>
                <a:cxn ang="0">
                  <a:pos x="T6" y="T7"/>
                </a:cxn>
              </a:cxnLst>
              <a:rect l="0" t="0" r="r" b="b"/>
              <a:pathLst>
                <a:path w="4" h="4">
                  <a:moveTo>
                    <a:pt x="0" y="0"/>
                  </a:moveTo>
                  <a:cubicBezTo>
                    <a:pt x="0" y="0"/>
                    <a:pt x="0" y="0"/>
                    <a:pt x="0" y="0"/>
                  </a:cubicBezTo>
                  <a:cubicBezTo>
                    <a:pt x="1" y="1"/>
                    <a:pt x="3" y="2"/>
                    <a:pt x="4" y="4"/>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10"/>
            <p:cNvSpPr/>
            <p:nvPr/>
          </p:nvSpPr>
          <p:spPr bwMode="auto">
            <a:xfrm>
              <a:off x="8456165" y="1038021"/>
              <a:ext cx="9886" cy="7061"/>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1"/>
                    <a:pt x="2" y="2"/>
                    <a:pt x="3" y="2"/>
                  </a:cubicBezTo>
                  <a:cubicBezTo>
                    <a:pt x="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11"/>
            <p:cNvSpPr/>
            <p:nvPr/>
          </p:nvSpPr>
          <p:spPr bwMode="auto">
            <a:xfrm>
              <a:off x="8515480" y="1045082"/>
              <a:ext cx="19772" cy="22596"/>
            </a:xfrm>
            <a:custGeom>
              <a:gdLst>
                <a:gd name="T0" fmla="*/ 0 w 6"/>
                <a:gd name="T1" fmla="*/ 0 h 7"/>
                <a:gd name="T2" fmla="*/ 3 w 6"/>
                <a:gd name="T3" fmla="*/ 7 h 7"/>
                <a:gd name="T4" fmla="*/ 0 w 6"/>
                <a:gd name="T5" fmla="*/ 0 h 7"/>
              </a:gdLst>
              <a:cxnLst>
                <a:cxn ang="0">
                  <a:pos x="T0" y="T1"/>
                </a:cxn>
                <a:cxn ang="0">
                  <a:pos x="T2" y="T3"/>
                </a:cxn>
                <a:cxn ang="0">
                  <a:pos x="T4" y="T5"/>
                </a:cxn>
              </a:cxnLst>
              <a:rect l="0" t="0" r="r" b="b"/>
              <a:pathLst>
                <a:path w="6" h="7">
                  <a:moveTo>
                    <a:pt x="0" y="0"/>
                  </a:moveTo>
                  <a:cubicBezTo>
                    <a:pt x="1" y="3"/>
                    <a:pt x="2" y="5"/>
                    <a:pt x="3" y="7"/>
                  </a:cubicBezTo>
                  <a:cubicBezTo>
                    <a:pt x="6" y="2"/>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112"/>
            <p:cNvSpPr/>
            <p:nvPr/>
          </p:nvSpPr>
          <p:spPr bwMode="auto">
            <a:xfrm>
              <a:off x="5552538" y="296577"/>
              <a:ext cx="9886" cy="14123"/>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1" y="2"/>
                    <a:pt x="2" y="3"/>
                    <a:pt x="3"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13"/>
            <p:cNvSpPr/>
            <p:nvPr/>
          </p:nvSpPr>
          <p:spPr bwMode="auto">
            <a:xfrm>
              <a:off x="6710599" y="536664"/>
              <a:ext cx="7061" cy="4237"/>
            </a:xfrm>
            <a:custGeom>
              <a:gdLst>
                <a:gd name="T0" fmla="*/ 2 w 2"/>
                <a:gd name="T1" fmla="*/ 0 h 1"/>
                <a:gd name="T2" fmla="*/ 2 w 2"/>
                <a:gd name="T3" fmla="*/ 0 h 1"/>
                <a:gd name="T4" fmla="*/ 1 w 2"/>
                <a:gd name="T5" fmla="*/ 0 h 1"/>
                <a:gd name="T6" fmla="*/ 0 w 2"/>
                <a:gd name="T7" fmla="*/ 1 h 1"/>
                <a:gd name="T8" fmla="*/ 1 w 2"/>
                <a:gd name="T9" fmla="*/ 1 h 1"/>
                <a:gd name="T10" fmla="*/ 1 w 2"/>
                <a:gd name="T11" fmla="*/ 1 h 1"/>
                <a:gd name="T12" fmla="*/ 2 w 2"/>
                <a:gd name="T13" fmla="*/ 0 h 1"/>
                <a:gd name="T14" fmla="*/ 2 w 2"/>
                <a:gd name="T15" fmla="*/ 0 h 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2" y="0"/>
                  </a:moveTo>
                  <a:cubicBezTo>
                    <a:pt x="2" y="0"/>
                    <a:pt x="2" y="0"/>
                    <a:pt x="2" y="0"/>
                  </a:cubicBezTo>
                  <a:cubicBezTo>
                    <a:pt x="1" y="0"/>
                    <a:pt x="1" y="0"/>
                    <a:pt x="1" y="0"/>
                  </a:cubicBezTo>
                  <a:cubicBezTo>
                    <a:pt x="0" y="1"/>
                    <a:pt x="0" y="1"/>
                    <a:pt x="0" y="1"/>
                  </a:cubicBezTo>
                  <a:cubicBezTo>
                    <a:pt x="0" y="1"/>
                    <a:pt x="1" y="1"/>
                    <a:pt x="1" y="1"/>
                  </a:cubicBezTo>
                  <a:cubicBezTo>
                    <a:pt x="1" y="1"/>
                    <a:pt x="1" y="1"/>
                    <a:pt x="1" y="1"/>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114"/>
            <p:cNvSpPr/>
            <p:nvPr/>
          </p:nvSpPr>
          <p:spPr bwMode="auto">
            <a:xfrm>
              <a:off x="7104623" y="720259"/>
              <a:ext cx="29658" cy="9886"/>
            </a:xfrm>
            <a:custGeom>
              <a:gdLst>
                <a:gd name="T0" fmla="*/ 9 w 9"/>
                <a:gd name="T1" fmla="*/ 0 h 3"/>
                <a:gd name="T2" fmla="*/ 0 w 9"/>
                <a:gd name="T3" fmla="*/ 3 h 3"/>
                <a:gd name="T4" fmla="*/ 9 w 9"/>
                <a:gd name="T5" fmla="*/ 0 h 3"/>
                <a:gd name="T6" fmla="*/ 9 w 9"/>
                <a:gd name="T7" fmla="*/ 0 h 3"/>
              </a:gdLst>
              <a:cxnLst>
                <a:cxn ang="0">
                  <a:pos x="T0" y="T1"/>
                </a:cxn>
                <a:cxn ang="0">
                  <a:pos x="T2" y="T3"/>
                </a:cxn>
                <a:cxn ang="0">
                  <a:pos x="T4" y="T5"/>
                </a:cxn>
                <a:cxn ang="0">
                  <a:pos x="T6" y="T7"/>
                </a:cxn>
              </a:cxnLst>
              <a:rect l="0" t="0" r="r" b="b"/>
              <a:pathLst>
                <a:path w="9" h="3">
                  <a:moveTo>
                    <a:pt x="9" y="0"/>
                  </a:moveTo>
                  <a:cubicBezTo>
                    <a:pt x="6" y="0"/>
                    <a:pt x="2" y="2"/>
                    <a:pt x="0" y="3"/>
                  </a:cubicBezTo>
                  <a:cubicBezTo>
                    <a:pt x="3" y="2"/>
                    <a:pt x="6" y="1"/>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15"/>
            <p:cNvSpPr/>
            <p:nvPr/>
          </p:nvSpPr>
          <p:spPr bwMode="auto">
            <a:xfrm>
              <a:off x="7738732" y="9886"/>
              <a:ext cx="59315" cy="76263"/>
            </a:xfrm>
            <a:custGeom>
              <a:gdLst>
                <a:gd name="T0" fmla="*/ 5 w 18"/>
                <a:gd name="T1" fmla="*/ 0 h 23"/>
                <a:gd name="T2" fmla="*/ 5 w 18"/>
                <a:gd name="T3" fmla="*/ 9 h 23"/>
                <a:gd name="T4" fmla="*/ 4 w 18"/>
                <a:gd name="T5" fmla="*/ 12 h 23"/>
                <a:gd name="T6" fmla="*/ 5 w 18"/>
                <a:gd name="T7" fmla="*/ 16 h 23"/>
                <a:gd name="T8" fmla="*/ 2 w 18"/>
                <a:gd name="T9" fmla="*/ 13 h 23"/>
                <a:gd name="T10" fmla="*/ 0 w 18"/>
                <a:gd name="T11" fmla="*/ 14 h 23"/>
                <a:gd name="T12" fmla="*/ 5 w 18"/>
                <a:gd name="T13" fmla="*/ 18 h 23"/>
                <a:gd name="T14" fmla="*/ 8 w 18"/>
                <a:gd name="T15" fmla="*/ 20 h 23"/>
                <a:gd name="T16" fmla="*/ 10 w 18"/>
                <a:gd name="T17" fmla="*/ 23 h 23"/>
                <a:gd name="T18" fmla="*/ 10 w 18"/>
                <a:gd name="T19" fmla="*/ 23 h 23"/>
                <a:gd name="T20" fmla="*/ 14 w 18"/>
                <a:gd name="T21" fmla="*/ 19 h 23"/>
                <a:gd name="T22" fmla="*/ 17 w 18"/>
                <a:gd name="T23" fmla="*/ 18 h 23"/>
                <a:gd name="T24" fmla="*/ 15 w 18"/>
                <a:gd name="T25" fmla="*/ 10 h 23"/>
                <a:gd name="T26" fmla="*/ 5 w 18"/>
                <a:gd name="T27"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3">
                  <a:moveTo>
                    <a:pt x="5" y="0"/>
                  </a:moveTo>
                  <a:cubicBezTo>
                    <a:pt x="6" y="4"/>
                    <a:pt x="7" y="6"/>
                    <a:pt x="5" y="9"/>
                  </a:cubicBezTo>
                  <a:cubicBezTo>
                    <a:pt x="4" y="10"/>
                    <a:pt x="3" y="11"/>
                    <a:pt x="4" y="12"/>
                  </a:cubicBezTo>
                  <a:cubicBezTo>
                    <a:pt x="4" y="14"/>
                    <a:pt x="7" y="14"/>
                    <a:pt x="5" y="16"/>
                  </a:cubicBezTo>
                  <a:cubicBezTo>
                    <a:pt x="4" y="15"/>
                    <a:pt x="3" y="14"/>
                    <a:pt x="2" y="13"/>
                  </a:cubicBezTo>
                  <a:cubicBezTo>
                    <a:pt x="2" y="13"/>
                    <a:pt x="0" y="14"/>
                    <a:pt x="0" y="14"/>
                  </a:cubicBezTo>
                  <a:cubicBezTo>
                    <a:pt x="0" y="16"/>
                    <a:pt x="4" y="17"/>
                    <a:pt x="5" y="18"/>
                  </a:cubicBezTo>
                  <a:cubicBezTo>
                    <a:pt x="6" y="19"/>
                    <a:pt x="7" y="19"/>
                    <a:pt x="8" y="20"/>
                  </a:cubicBezTo>
                  <a:cubicBezTo>
                    <a:pt x="9" y="21"/>
                    <a:pt x="9" y="23"/>
                    <a:pt x="10" y="23"/>
                  </a:cubicBezTo>
                  <a:cubicBezTo>
                    <a:pt x="10" y="23"/>
                    <a:pt x="10" y="23"/>
                    <a:pt x="10" y="23"/>
                  </a:cubicBezTo>
                  <a:cubicBezTo>
                    <a:pt x="12" y="22"/>
                    <a:pt x="13" y="20"/>
                    <a:pt x="14" y="19"/>
                  </a:cubicBezTo>
                  <a:cubicBezTo>
                    <a:pt x="14" y="19"/>
                    <a:pt x="16" y="19"/>
                    <a:pt x="17" y="18"/>
                  </a:cubicBezTo>
                  <a:cubicBezTo>
                    <a:pt x="18" y="16"/>
                    <a:pt x="16" y="11"/>
                    <a:pt x="15" y="10"/>
                  </a:cubicBezTo>
                  <a:cubicBezTo>
                    <a:pt x="12" y="4"/>
                    <a:pt x="12"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116"/>
            <p:cNvSpPr/>
            <p:nvPr/>
          </p:nvSpPr>
          <p:spPr bwMode="auto">
            <a:xfrm>
              <a:off x="7814994" y="22596"/>
              <a:ext cx="12710" cy="4237"/>
            </a:xfrm>
            <a:custGeom>
              <a:gdLst>
                <a:gd name="T0" fmla="*/ 4 w 4"/>
                <a:gd name="T1" fmla="*/ 0 h 1"/>
                <a:gd name="T2" fmla="*/ 0 w 4"/>
                <a:gd name="T3" fmla="*/ 1 h 1"/>
                <a:gd name="T4" fmla="*/ 0 w 4"/>
                <a:gd name="T5" fmla="*/ 1 h 1"/>
                <a:gd name="T6" fmla="*/ 4 w 4"/>
                <a:gd name="T7" fmla="*/ 0 h 1"/>
              </a:gdLst>
              <a:cxnLst>
                <a:cxn ang="0">
                  <a:pos x="T0" y="T1"/>
                </a:cxn>
                <a:cxn ang="0">
                  <a:pos x="T2" y="T3"/>
                </a:cxn>
                <a:cxn ang="0">
                  <a:pos x="T4" y="T5"/>
                </a:cxn>
                <a:cxn ang="0">
                  <a:pos x="T6" y="T7"/>
                </a:cxn>
              </a:cxnLst>
              <a:rect l="0" t="0" r="r" b="b"/>
              <a:pathLst>
                <a:path w="4" h="1">
                  <a:moveTo>
                    <a:pt x="4" y="0"/>
                  </a:moveTo>
                  <a:cubicBezTo>
                    <a:pt x="2" y="0"/>
                    <a:pt x="1" y="1"/>
                    <a:pt x="0" y="1"/>
                  </a:cubicBezTo>
                  <a:cubicBezTo>
                    <a:pt x="0" y="1"/>
                    <a:pt x="0" y="1"/>
                    <a:pt x="0" y="1"/>
                  </a:cubicBezTo>
                  <a:cubicBezTo>
                    <a:pt x="1"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17"/>
            <p:cNvSpPr/>
            <p:nvPr/>
          </p:nvSpPr>
          <p:spPr bwMode="auto">
            <a:xfrm>
              <a:off x="7901143" y="5649"/>
              <a:ext cx="16947" cy="50842"/>
            </a:xfrm>
            <a:custGeom>
              <a:gdLst>
                <a:gd name="T0" fmla="*/ 1 w 5"/>
                <a:gd name="T1" fmla="*/ 0 h 15"/>
                <a:gd name="T2" fmla="*/ 4 w 5"/>
                <a:gd name="T3" fmla="*/ 3 h 15"/>
                <a:gd name="T4" fmla="*/ 3 w 5"/>
                <a:gd name="T5" fmla="*/ 9 h 15"/>
                <a:gd name="T6" fmla="*/ 4 w 5"/>
                <a:gd name="T7" fmla="*/ 9 h 15"/>
                <a:gd name="T8" fmla="*/ 1 w 5"/>
                <a:gd name="T9" fmla="*/ 11 h 15"/>
                <a:gd name="T10" fmla="*/ 0 w 5"/>
                <a:gd name="T11" fmla="*/ 11 h 15"/>
                <a:gd name="T12" fmla="*/ 4 w 5"/>
                <a:gd name="T13" fmla="*/ 15 h 15"/>
                <a:gd name="T14" fmla="*/ 4 w 5"/>
                <a:gd name="T15" fmla="*/ 7 h 15"/>
                <a:gd name="T16" fmla="*/ 1 w 5"/>
                <a:gd name="T17"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5">
                  <a:moveTo>
                    <a:pt x="1" y="0"/>
                  </a:moveTo>
                  <a:cubicBezTo>
                    <a:pt x="1" y="2"/>
                    <a:pt x="3" y="2"/>
                    <a:pt x="4" y="3"/>
                  </a:cubicBezTo>
                  <a:cubicBezTo>
                    <a:pt x="5" y="6"/>
                    <a:pt x="2" y="7"/>
                    <a:pt x="3" y="9"/>
                  </a:cubicBezTo>
                  <a:cubicBezTo>
                    <a:pt x="4" y="9"/>
                    <a:pt x="4" y="9"/>
                    <a:pt x="4" y="9"/>
                  </a:cubicBezTo>
                  <a:cubicBezTo>
                    <a:pt x="3" y="10"/>
                    <a:pt x="2" y="11"/>
                    <a:pt x="1" y="11"/>
                  </a:cubicBezTo>
                  <a:cubicBezTo>
                    <a:pt x="1" y="11"/>
                    <a:pt x="1" y="11"/>
                    <a:pt x="0" y="11"/>
                  </a:cubicBezTo>
                  <a:cubicBezTo>
                    <a:pt x="2" y="12"/>
                    <a:pt x="2" y="14"/>
                    <a:pt x="4" y="15"/>
                  </a:cubicBezTo>
                  <a:cubicBezTo>
                    <a:pt x="5" y="12"/>
                    <a:pt x="4" y="9"/>
                    <a:pt x="4" y="7"/>
                  </a:cubicBezTo>
                  <a:cubicBezTo>
                    <a:pt x="5" y="3"/>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118"/>
            <p:cNvSpPr/>
            <p:nvPr/>
          </p:nvSpPr>
          <p:spPr bwMode="auto">
            <a:xfrm>
              <a:off x="7944923" y="53666"/>
              <a:ext cx="36719" cy="46605"/>
            </a:xfrm>
            <a:custGeom>
              <a:gdLst>
                <a:gd name="T0" fmla="*/ 1 w 11"/>
                <a:gd name="T1" fmla="*/ 0 h 14"/>
                <a:gd name="T2" fmla="*/ 5 w 11"/>
                <a:gd name="T3" fmla="*/ 5 h 14"/>
                <a:gd name="T4" fmla="*/ 7 w 11"/>
                <a:gd name="T5" fmla="*/ 14 h 14"/>
                <a:gd name="T6" fmla="*/ 8 w 11"/>
                <a:gd name="T7" fmla="*/ 9 h 14"/>
                <a:gd name="T8" fmla="*/ 1 w 11"/>
                <a:gd name="T9" fmla="*/ 0 h 14"/>
              </a:gdLst>
              <a:cxnLst>
                <a:cxn ang="0">
                  <a:pos x="T0" y="T1"/>
                </a:cxn>
                <a:cxn ang="0">
                  <a:pos x="T2" y="T3"/>
                </a:cxn>
                <a:cxn ang="0">
                  <a:pos x="T4" y="T5"/>
                </a:cxn>
                <a:cxn ang="0">
                  <a:pos x="T6" y="T7"/>
                </a:cxn>
                <a:cxn ang="0">
                  <a:pos x="T8" y="T9"/>
                </a:cxn>
              </a:cxnLst>
              <a:rect l="0" t="0" r="r" b="b"/>
              <a:pathLst>
                <a:path w="11" h="14">
                  <a:moveTo>
                    <a:pt x="1" y="0"/>
                  </a:moveTo>
                  <a:cubicBezTo>
                    <a:pt x="0" y="1"/>
                    <a:pt x="4" y="4"/>
                    <a:pt x="5" y="5"/>
                  </a:cubicBezTo>
                  <a:cubicBezTo>
                    <a:pt x="7" y="8"/>
                    <a:pt x="9" y="10"/>
                    <a:pt x="7" y="14"/>
                  </a:cubicBezTo>
                  <a:cubicBezTo>
                    <a:pt x="10" y="12"/>
                    <a:pt x="11" y="12"/>
                    <a:pt x="8" y="9"/>
                  </a:cubicBezTo>
                  <a:cubicBezTo>
                    <a:pt x="6" y="6"/>
                    <a:pt x="3"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19"/>
            <p:cNvSpPr/>
            <p:nvPr/>
          </p:nvSpPr>
          <p:spPr bwMode="auto">
            <a:xfrm>
              <a:off x="8388376" y="1021074"/>
              <a:ext cx="14123" cy="16947"/>
            </a:xfrm>
            <a:custGeom>
              <a:gdLst>
                <a:gd name="T0" fmla="*/ 0 w 4"/>
                <a:gd name="T1" fmla="*/ 0 h 5"/>
                <a:gd name="T2" fmla="*/ 1 w 4"/>
                <a:gd name="T3" fmla="*/ 3 h 5"/>
                <a:gd name="T4" fmla="*/ 4 w 4"/>
                <a:gd name="T5" fmla="*/ 5 h 5"/>
                <a:gd name="T6" fmla="*/ 0 w 4"/>
                <a:gd name="T7" fmla="*/ 0 h 5"/>
              </a:gdLst>
              <a:cxnLst>
                <a:cxn ang="0">
                  <a:pos x="T0" y="T1"/>
                </a:cxn>
                <a:cxn ang="0">
                  <a:pos x="T2" y="T3"/>
                </a:cxn>
                <a:cxn ang="0">
                  <a:pos x="T4" y="T5"/>
                </a:cxn>
                <a:cxn ang="0">
                  <a:pos x="T6" y="T7"/>
                </a:cxn>
              </a:cxnLst>
              <a:rect l="0" t="0" r="r" b="b"/>
              <a:pathLst>
                <a:path w="4" h="5">
                  <a:moveTo>
                    <a:pt x="0" y="0"/>
                  </a:moveTo>
                  <a:cubicBezTo>
                    <a:pt x="0" y="1"/>
                    <a:pt x="0" y="2"/>
                    <a:pt x="1" y="3"/>
                  </a:cubicBezTo>
                  <a:cubicBezTo>
                    <a:pt x="2" y="4"/>
                    <a:pt x="2" y="5"/>
                    <a:pt x="4" y="5"/>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20"/>
            <p:cNvSpPr/>
            <p:nvPr/>
          </p:nvSpPr>
          <p:spPr bwMode="auto">
            <a:xfrm>
              <a:off x="8855837" y="1165126"/>
              <a:ext cx="7061" cy="2825"/>
            </a:xfrm>
            <a:custGeom>
              <a:gdLst>
                <a:gd name="T0" fmla="*/ 0 w 2"/>
                <a:gd name="T1" fmla="*/ 0 h 1"/>
                <a:gd name="T2" fmla="*/ 2 w 2"/>
                <a:gd name="T3" fmla="*/ 1 h 1"/>
                <a:gd name="T4" fmla="*/ 0 w 2"/>
                <a:gd name="T5" fmla="*/ 0 h 1"/>
              </a:gdLst>
              <a:cxnLst>
                <a:cxn ang="0">
                  <a:pos x="T0" y="T1"/>
                </a:cxn>
                <a:cxn ang="0">
                  <a:pos x="T2" y="T3"/>
                </a:cxn>
                <a:cxn ang="0">
                  <a:pos x="T4" y="T5"/>
                </a:cxn>
              </a:cxnLst>
              <a:rect l="0" t="0" r="r" b="b"/>
              <a:pathLst>
                <a:path w="2" h="1">
                  <a:moveTo>
                    <a:pt x="0" y="0"/>
                  </a:moveTo>
                  <a:cubicBezTo>
                    <a:pt x="1" y="0"/>
                    <a:pt x="1"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21"/>
            <p:cNvSpPr/>
            <p:nvPr/>
          </p:nvSpPr>
          <p:spPr bwMode="auto">
            <a:xfrm>
              <a:off x="8745680" y="1151003"/>
              <a:ext cx="14123" cy="7061"/>
            </a:xfrm>
            <a:custGeom>
              <a:gdLst>
                <a:gd name="T0" fmla="*/ 2 w 4"/>
                <a:gd name="T1" fmla="*/ 0 h 2"/>
                <a:gd name="T2" fmla="*/ 0 w 4"/>
                <a:gd name="T3" fmla="*/ 1 h 2"/>
                <a:gd name="T4" fmla="*/ 3 w 4"/>
                <a:gd name="T5" fmla="*/ 2 h 2"/>
                <a:gd name="T6" fmla="*/ 4 w 4"/>
                <a:gd name="T7" fmla="*/ 0 h 2"/>
                <a:gd name="T8" fmla="*/ 2 w 4"/>
                <a:gd name="T9" fmla="*/ 0 h 2"/>
              </a:gdLst>
              <a:cxnLst>
                <a:cxn ang="0">
                  <a:pos x="T0" y="T1"/>
                </a:cxn>
                <a:cxn ang="0">
                  <a:pos x="T2" y="T3"/>
                </a:cxn>
                <a:cxn ang="0">
                  <a:pos x="T4" y="T5"/>
                </a:cxn>
                <a:cxn ang="0">
                  <a:pos x="T6" y="T7"/>
                </a:cxn>
                <a:cxn ang="0">
                  <a:pos x="T8" y="T9"/>
                </a:cxn>
              </a:cxnLst>
              <a:rect l="0" t="0" r="r" b="b"/>
              <a:pathLst>
                <a:path w="4" h="2">
                  <a:moveTo>
                    <a:pt x="2" y="0"/>
                  </a:moveTo>
                  <a:cubicBezTo>
                    <a:pt x="2" y="0"/>
                    <a:pt x="1" y="0"/>
                    <a:pt x="0" y="1"/>
                  </a:cubicBezTo>
                  <a:cubicBezTo>
                    <a:pt x="1" y="1"/>
                    <a:pt x="2" y="2"/>
                    <a:pt x="3" y="2"/>
                  </a:cubicBezTo>
                  <a:cubicBezTo>
                    <a:pt x="4" y="1"/>
                    <a:pt x="4" y="1"/>
                    <a:pt x="4"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22"/>
            <p:cNvSpPr/>
            <p:nvPr/>
          </p:nvSpPr>
          <p:spPr bwMode="auto">
            <a:xfrm>
              <a:off x="8826180" y="1135468"/>
              <a:ext cx="46605" cy="22596"/>
            </a:xfrm>
            <a:custGeom>
              <a:gdLst>
                <a:gd name="T0" fmla="*/ 12 w 14"/>
                <a:gd name="T1" fmla="*/ 0 h 7"/>
                <a:gd name="T2" fmla="*/ 6 w 14"/>
                <a:gd name="T3" fmla="*/ 4 h 7"/>
                <a:gd name="T4" fmla="*/ 6 w 14"/>
                <a:gd name="T5" fmla="*/ 4 h 7"/>
                <a:gd name="T6" fmla="*/ 4 w 14"/>
                <a:gd name="T7" fmla="*/ 3 h 7"/>
                <a:gd name="T8" fmla="*/ 3 w 14"/>
                <a:gd name="T9" fmla="*/ 2 h 7"/>
                <a:gd name="T10" fmla="*/ 0 w 14"/>
                <a:gd name="T11" fmla="*/ 3 h 7"/>
                <a:gd name="T12" fmla="*/ 8 w 14"/>
                <a:gd name="T13" fmla="*/ 7 h 7"/>
                <a:gd name="T14" fmla="*/ 13 w 14"/>
                <a:gd name="T15" fmla="*/ 5 h 7"/>
                <a:gd name="T16" fmla="*/ 12 w 14"/>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12" y="0"/>
                  </a:moveTo>
                  <a:cubicBezTo>
                    <a:pt x="10" y="1"/>
                    <a:pt x="8" y="4"/>
                    <a:pt x="6" y="4"/>
                  </a:cubicBezTo>
                  <a:cubicBezTo>
                    <a:pt x="6" y="4"/>
                    <a:pt x="6" y="4"/>
                    <a:pt x="6" y="4"/>
                  </a:cubicBezTo>
                  <a:cubicBezTo>
                    <a:pt x="5" y="4"/>
                    <a:pt x="5" y="3"/>
                    <a:pt x="4" y="3"/>
                  </a:cubicBezTo>
                  <a:cubicBezTo>
                    <a:pt x="4" y="2"/>
                    <a:pt x="3" y="2"/>
                    <a:pt x="3" y="2"/>
                  </a:cubicBezTo>
                  <a:cubicBezTo>
                    <a:pt x="2" y="2"/>
                    <a:pt x="1" y="2"/>
                    <a:pt x="0" y="3"/>
                  </a:cubicBezTo>
                  <a:cubicBezTo>
                    <a:pt x="3" y="4"/>
                    <a:pt x="5" y="6"/>
                    <a:pt x="8" y="7"/>
                  </a:cubicBezTo>
                  <a:cubicBezTo>
                    <a:pt x="10" y="6"/>
                    <a:pt x="12" y="7"/>
                    <a:pt x="13" y="5"/>
                  </a:cubicBezTo>
                  <a:cubicBezTo>
                    <a:pt x="14" y="4"/>
                    <a:pt x="13"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23"/>
            <p:cNvSpPr/>
            <p:nvPr/>
          </p:nvSpPr>
          <p:spPr bwMode="auto">
            <a:xfrm>
              <a:off x="10865497" y="6654633"/>
              <a:ext cx="173709" cy="96035"/>
            </a:xfrm>
            <a:custGeom>
              <a:gdLst>
                <a:gd name="T0" fmla="*/ 7 w 52"/>
                <a:gd name="T1" fmla="*/ 0 h 29"/>
                <a:gd name="T2" fmla="*/ 5 w 52"/>
                <a:gd name="T3" fmla="*/ 1 h 29"/>
                <a:gd name="T4" fmla="*/ 4 w 52"/>
                <a:gd name="T5" fmla="*/ 0 h 29"/>
                <a:gd name="T6" fmla="*/ 0 w 52"/>
                <a:gd name="T7" fmla="*/ 1 h 29"/>
                <a:gd name="T8" fmla="*/ 8 w 52"/>
                <a:gd name="T9" fmla="*/ 6 h 29"/>
                <a:gd name="T10" fmla="*/ 14 w 52"/>
                <a:gd name="T11" fmla="*/ 5 h 29"/>
                <a:gd name="T12" fmla="*/ 15 w 52"/>
                <a:gd name="T13" fmla="*/ 6 h 29"/>
                <a:gd name="T14" fmla="*/ 14 w 52"/>
                <a:gd name="T15" fmla="*/ 9 h 29"/>
                <a:gd name="T16" fmla="*/ 45 w 52"/>
                <a:gd name="T17" fmla="*/ 29 h 29"/>
                <a:gd name="T18" fmla="*/ 45 w 52"/>
                <a:gd name="T19" fmla="*/ 25 h 29"/>
                <a:gd name="T20" fmla="*/ 52 w 52"/>
                <a:gd name="T21" fmla="*/ 25 h 29"/>
                <a:gd name="T22" fmla="*/ 49 w 52"/>
                <a:gd name="T23" fmla="*/ 18 h 29"/>
                <a:gd name="T24" fmla="*/ 48 w 52"/>
                <a:gd name="T25" fmla="*/ 18 h 29"/>
                <a:gd name="T26" fmla="*/ 43 w 52"/>
                <a:gd name="T27" fmla="*/ 14 h 29"/>
                <a:gd name="T28" fmla="*/ 42 w 52"/>
                <a:gd name="T29" fmla="*/ 12 h 29"/>
                <a:gd name="T30" fmla="*/ 40 w 52"/>
                <a:gd name="T31" fmla="*/ 9 h 29"/>
                <a:gd name="T32" fmla="*/ 36 w 52"/>
                <a:gd name="T33" fmla="*/ 11 h 29"/>
                <a:gd name="T34" fmla="*/ 35 w 52"/>
                <a:gd name="T35" fmla="*/ 8 h 29"/>
                <a:gd name="T36" fmla="*/ 33 w 52"/>
                <a:gd name="T37" fmla="*/ 9 h 29"/>
                <a:gd name="T38" fmla="*/ 36 w 52"/>
                <a:gd name="T39" fmla="*/ 7 h 29"/>
                <a:gd name="T40" fmla="*/ 34 w 52"/>
                <a:gd name="T41" fmla="*/ 6 h 29"/>
                <a:gd name="T42" fmla="*/ 32 w 52"/>
                <a:gd name="T43" fmla="*/ 6 h 29"/>
                <a:gd name="T44" fmla="*/ 30 w 52"/>
                <a:gd name="T45" fmla="*/ 4 h 29"/>
                <a:gd name="T46" fmla="*/ 27 w 52"/>
                <a:gd name="T47" fmla="*/ 3 h 29"/>
                <a:gd name="T48" fmla="*/ 24 w 52"/>
                <a:gd name="T49" fmla="*/ 2 h 29"/>
                <a:gd name="T50" fmla="*/ 21 w 52"/>
                <a:gd name="T51" fmla="*/ 4 h 29"/>
                <a:gd name="T52" fmla="*/ 20 w 52"/>
                <a:gd name="T53" fmla="*/ 2 h 29"/>
                <a:gd name="T54" fmla="*/ 19 w 52"/>
                <a:gd name="T55" fmla="*/ 2 h 29"/>
                <a:gd name="T56" fmla="*/ 19 w 52"/>
                <a:gd name="T57" fmla="*/ 2 h 29"/>
                <a:gd name="T58" fmla="*/ 16 w 52"/>
                <a:gd name="T59" fmla="*/ 2 h 29"/>
                <a:gd name="T60" fmla="*/ 11 w 52"/>
                <a:gd name="T61" fmla="*/ 1 h 29"/>
                <a:gd name="T62" fmla="*/ 7 w 52"/>
                <a:gd name="T63"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8">
                  <a:moveTo>
                    <a:pt x="7" y="0"/>
                  </a:moveTo>
                  <a:cubicBezTo>
                    <a:pt x="7" y="0"/>
                    <a:pt x="7" y="0"/>
                    <a:pt x="7" y="0"/>
                  </a:cubicBezTo>
                  <a:cubicBezTo>
                    <a:pt x="6" y="0"/>
                    <a:pt x="6" y="1"/>
                    <a:pt x="5" y="1"/>
                  </a:cubicBezTo>
                  <a:cubicBezTo>
                    <a:pt x="5" y="1"/>
                    <a:pt x="5" y="1"/>
                    <a:pt x="5" y="1"/>
                  </a:cubicBezTo>
                  <a:cubicBezTo>
                    <a:pt x="5" y="1"/>
                    <a:pt x="5" y="1"/>
                    <a:pt x="4" y="1"/>
                  </a:cubicBezTo>
                  <a:cubicBezTo>
                    <a:pt x="4" y="0"/>
                    <a:pt x="4" y="0"/>
                    <a:pt x="4" y="0"/>
                  </a:cubicBezTo>
                  <a:cubicBezTo>
                    <a:pt x="4" y="0"/>
                    <a:pt x="4" y="0"/>
                    <a:pt x="4" y="0"/>
                  </a:cubicBezTo>
                  <a:cubicBezTo>
                    <a:pt x="2" y="0"/>
                    <a:pt x="1" y="1"/>
                    <a:pt x="0" y="1"/>
                  </a:cubicBezTo>
                  <a:cubicBezTo>
                    <a:pt x="1" y="1"/>
                    <a:pt x="9" y="1"/>
                    <a:pt x="9" y="2"/>
                  </a:cubicBezTo>
                  <a:cubicBezTo>
                    <a:pt x="10" y="4"/>
                    <a:pt x="6" y="5"/>
                    <a:pt x="8" y="6"/>
                  </a:cubicBezTo>
                  <a:cubicBezTo>
                    <a:pt x="8" y="6"/>
                    <a:pt x="9" y="6"/>
                    <a:pt x="9" y="6"/>
                  </a:cubicBezTo>
                  <a:cubicBezTo>
                    <a:pt x="10" y="6"/>
                    <a:pt x="13" y="5"/>
                    <a:pt x="14" y="5"/>
                  </a:cubicBezTo>
                  <a:cubicBezTo>
                    <a:pt x="15" y="5"/>
                    <a:pt x="17" y="5"/>
                    <a:pt x="18" y="5"/>
                  </a:cubicBezTo>
                  <a:cubicBezTo>
                    <a:pt x="17" y="6"/>
                    <a:pt x="16" y="6"/>
                    <a:pt x="15" y="6"/>
                  </a:cubicBezTo>
                  <a:cubicBezTo>
                    <a:pt x="14" y="7"/>
                    <a:pt x="15" y="7"/>
                    <a:pt x="15" y="7"/>
                  </a:cubicBezTo>
                  <a:cubicBezTo>
                    <a:pt x="15" y="7"/>
                    <a:pt x="16" y="8"/>
                    <a:pt x="14" y="9"/>
                  </a:cubicBezTo>
                  <a:cubicBezTo>
                    <a:pt x="19" y="9"/>
                    <a:pt x="23" y="9"/>
                    <a:pt x="27" y="12"/>
                  </a:cubicBezTo>
                  <a:cubicBezTo>
                    <a:pt x="35" y="16"/>
                    <a:pt x="40" y="22"/>
                    <a:pt x="45" y="29"/>
                  </a:cubicBezTo>
                  <a:cubicBezTo>
                    <a:pt x="46" y="29"/>
                    <a:pt x="48" y="28"/>
                    <a:pt x="48" y="28"/>
                  </a:cubicBezTo>
                  <a:cubicBezTo>
                    <a:pt x="47" y="27"/>
                    <a:pt x="46" y="26"/>
                    <a:pt x="45" y="25"/>
                  </a:cubicBezTo>
                  <a:cubicBezTo>
                    <a:pt x="47" y="26"/>
                    <a:pt x="48" y="26"/>
                    <a:pt x="49" y="26"/>
                  </a:cubicBezTo>
                  <a:cubicBezTo>
                    <a:pt x="50" y="26"/>
                    <a:pt x="50" y="26"/>
                    <a:pt x="52" y="25"/>
                  </a:cubicBezTo>
                  <a:cubicBezTo>
                    <a:pt x="49" y="23"/>
                    <a:pt x="48" y="22"/>
                    <a:pt x="50" y="18"/>
                  </a:cubicBezTo>
                  <a:cubicBezTo>
                    <a:pt x="50" y="18"/>
                    <a:pt x="49" y="18"/>
                    <a:pt x="49" y="18"/>
                  </a:cubicBezTo>
                  <a:cubicBezTo>
                    <a:pt x="49" y="18"/>
                    <a:pt x="49" y="18"/>
                    <a:pt x="49" y="18"/>
                  </a:cubicBezTo>
                  <a:cubicBezTo>
                    <a:pt x="48" y="18"/>
                    <a:pt x="48" y="18"/>
                    <a:pt x="48" y="18"/>
                  </a:cubicBezTo>
                  <a:cubicBezTo>
                    <a:pt x="46" y="18"/>
                    <a:pt x="43" y="18"/>
                    <a:pt x="47" y="16"/>
                  </a:cubicBezTo>
                  <a:cubicBezTo>
                    <a:pt x="46" y="15"/>
                    <a:pt x="44" y="15"/>
                    <a:pt x="43" y="14"/>
                  </a:cubicBezTo>
                  <a:cubicBezTo>
                    <a:pt x="43" y="14"/>
                    <a:pt x="44" y="13"/>
                    <a:pt x="43" y="13"/>
                  </a:cubicBezTo>
                  <a:cubicBezTo>
                    <a:pt x="42" y="12"/>
                    <a:pt x="42" y="12"/>
                    <a:pt x="42" y="12"/>
                  </a:cubicBezTo>
                  <a:cubicBezTo>
                    <a:pt x="42" y="12"/>
                    <a:pt x="41" y="13"/>
                    <a:pt x="42" y="11"/>
                  </a:cubicBezTo>
                  <a:cubicBezTo>
                    <a:pt x="41" y="11"/>
                    <a:pt x="41" y="9"/>
                    <a:pt x="40" y="9"/>
                  </a:cubicBezTo>
                  <a:cubicBezTo>
                    <a:pt x="40" y="9"/>
                    <a:pt x="39" y="9"/>
                    <a:pt x="39" y="9"/>
                  </a:cubicBezTo>
                  <a:cubicBezTo>
                    <a:pt x="38" y="9"/>
                    <a:pt x="37" y="10"/>
                    <a:pt x="36" y="11"/>
                  </a:cubicBezTo>
                  <a:cubicBezTo>
                    <a:pt x="35" y="10"/>
                    <a:pt x="36" y="8"/>
                    <a:pt x="36" y="8"/>
                  </a:cubicBezTo>
                  <a:cubicBezTo>
                    <a:pt x="35" y="8"/>
                    <a:pt x="35" y="8"/>
                    <a:pt x="35" y="8"/>
                  </a:cubicBezTo>
                  <a:cubicBezTo>
                    <a:pt x="34" y="8"/>
                    <a:pt x="34" y="9"/>
                    <a:pt x="33" y="9"/>
                  </a:cubicBezTo>
                  <a:cubicBezTo>
                    <a:pt x="33" y="9"/>
                    <a:pt x="33" y="9"/>
                    <a:pt x="33" y="9"/>
                  </a:cubicBezTo>
                  <a:cubicBezTo>
                    <a:pt x="31" y="9"/>
                    <a:pt x="31" y="8"/>
                    <a:pt x="32" y="8"/>
                  </a:cubicBezTo>
                  <a:cubicBezTo>
                    <a:pt x="33" y="7"/>
                    <a:pt x="35" y="7"/>
                    <a:pt x="36" y="7"/>
                  </a:cubicBezTo>
                  <a:cubicBezTo>
                    <a:pt x="36" y="7"/>
                    <a:pt x="36" y="7"/>
                    <a:pt x="36" y="7"/>
                  </a:cubicBezTo>
                  <a:cubicBezTo>
                    <a:pt x="35" y="6"/>
                    <a:pt x="34" y="6"/>
                    <a:pt x="34" y="6"/>
                  </a:cubicBezTo>
                  <a:cubicBezTo>
                    <a:pt x="33" y="6"/>
                    <a:pt x="33" y="6"/>
                    <a:pt x="33" y="6"/>
                  </a:cubicBezTo>
                  <a:cubicBezTo>
                    <a:pt x="32" y="6"/>
                    <a:pt x="32" y="6"/>
                    <a:pt x="32" y="6"/>
                  </a:cubicBezTo>
                  <a:cubicBezTo>
                    <a:pt x="31" y="6"/>
                    <a:pt x="30" y="6"/>
                    <a:pt x="32" y="4"/>
                  </a:cubicBezTo>
                  <a:cubicBezTo>
                    <a:pt x="31" y="4"/>
                    <a:pt x="31" y="4"/>
                    <a:pt x="30" y="4"/>
                  </a:cubicBezTo>
                  <a:cubicBezTo>
                    <a:pt x="30" y="4"/>
                    <a:pt x="29" y="4"/>
                    <a:pt x="28" y="5"/>
                  </a:cubicBezTo>
                  <a:cubicBezTo>
                    <a:pt x="28" y="3"/>
                    <a:pt x="28" y="3"/>
                    <a:pt x="27" y="3"/>
                  </a:cubicBezTo>
                  <a:cubicBezTo>
                    <a:pt x="26" y="3"/>
                    <a:pt x="24" y="4"/>
                    <a:pt x="23" y="4"/>
                  </a:cubicBezTo>
                  <a:cubicBezTo>
                    <a:pt x="24" y="4"/>
                    <a:pt x="24" y="3"/>
                    <a:pt x="24" y="2"/>
                  </a:cubicBezTo>
                  <a:cubicBezTo>
                    <a:pt x="22" y="2"/>
                    <a:pt x="22" y="4"/>
                    <a:pt x="21" y="4"/>
                  </a:cubicBezTo>
                  <a:cubicBezTo>
                    <a:pt x="21" y="4"/>
                    <a:pt x="21" y="4"/>
                    <a:pt x="21" y="4"/>
                  </a:cubicBezTo>
                  <a:cubicBezTo>
                    <a:pt x="21" y="4"/>
                    <a:pt x="21" y="2"/>
                    <a:pt x="21" y="2"/>
                  </a:cubicBezTo>
                  <a:cubicBezTo>
                    <a:pt x="20" y="2"/>
                    <a:pt x="20" y="2"/>
                    <a:pt x="20" y="2"/>
                  </a:cubicBezTo>
                  <a:cubicBezTo>
                    <a:pt x="20" y="2"/>
                    <a:pt x="20" y="2"/>
                    <a:pt x="20" y="2"/>
                  </a:cubicBezTo>
                  <a:cubicBezTo>
                    <a:pt x="19" y="2"/>
                    <a:pt x="19" y="2"/>
                    <a:pt x="19" y="2"/>
                  </a:cubicBezTo>
                  <a:cubicBezTo>
                    <a:pt x="19" y="2"/>
                    <a:pt x="19" y="2"/>
                    <a:pt x="19" y="2"/>
                  </a:cubicBezTo>
                  <a:cubicBezTo>
                    <a:pt x="19" y="2"/>
                    <a:pt x="19" y="2"/>
                    <a:pt x="19" y="2"/>
                  </a:cubicBezTo>
                  <a:cubicBezTo>
                    <a:pt x="18" y="2"/>
                    <a:pt x="18" y="2"/>
                    <a:pt x="17" y="2"/>
                  </a:cubicBezTo>
                  <a:cubicBezTo>
                    <a:pt x="17" y="2"/>
                    <a:pt x="17" y="2"/>
                    <a:pt x="16" y="2"/>
                  </a:cubicBezTo>
                  <a:cubicBezTo>
                    <a:pt x="15" y="2"/>
                    <a:pt x="13" y="2"/>
                    <a:pt x="13" y="0"/>
                  </a:cubicBezTo>
                  <a:cubicBezTo>
                    <a:pt x="13" y="1"/>
                    <a:pt x="12" y="1"/>
                    <a:pt x="11" y="1"/>
                  </a:cubicBezTo>
                  <a:cubicBezTo>
                    <a:pt x="11" y="1"/>
                    <a:pt x="10" y="1"/>
                    <a:pt x="10" y="1"/>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24"/>
            <p:cNvSpPr/>
            <p:nvPr/>
          </p:nvSpPr>
          <p:spPr bwMode="auto">
            <a:xfrm>
              <a:off x="8038133" y="5788909"/>
              <a:ext cx="26833" cy="26833"/>
            </a:xfrm>
            <a:custGeom>
              <a:gdLst>
                <a:gd name="T0" fmla="*/ 5 w 8"/>
                <a:gd name="T1" fmla="*/ 0 h 8"/>
                <a:gd name="T2" fmla="*/ 4 w 8"/>
                <a:gd name="T3" fmla="*/ 8 h 8"/>
                <a:gd name="T4" fmla="*/ 8 w 8"/>
                <a:gd name="T5" fmla="*/ 5 h 8"/>
                <a:gd name="T6" fmla="*/ 7 w 8"/>
                <a:gd name="T7" fmla="*/ 1 h 8"/>
                <a:gd name="T8" fmla="*/ 5 w 8"/>
                <a:gd name="T9" fmla="*/ 0 h 8"/>
              </a:gdLst>
              <a:cxnLst>
                <a:cxn ang="0">
                  <a:pos x="T0" y="T1"/>
                </a:cxn>
                <a:cxn ang="0">
                  <a:pos x="T2" y="T3"/>
                </a:cxn>
                <a:cxn ang="0">
                  <a:pos x="T4" y="T5"/>
                </a:cxn>
                <a:cxn ang="0">
                  <a:pos x="T6" y="T7"/>
                </a:cxn>
                <a:cxn ang="0">
                  <a:pos x="T8" y="T9"/>
                </a:cxn>
              </a:cxnLst>
              <a:rect l="0" t="0" r="r" b="b"/>
              <a:pathLst>
                <a:path w="8" h="8">
                  <a:moveTo>
                    <a:pt x="5" y="0"/>
                  </a:moveTo>
                  <a:cubicBezTo>
                    <a:pt x="2" y="0"/>
                    <a:pt x="0" y="8"/>
                    <a:pt x="4" y="8"/>
                  </a:cubicBezTo>
                  <a:cubicBezTo>
                    <a:pt x="5" y="6"/>
                    <a:pt x="7" y="7"/>
                    <a:pt x="8" y="5"/>
                  </a:cubicBezTo>
                  <a:cubicBezTo>
                    <a:pt x="8" y="4"/>
                    <a:pt x="7" y="2"/>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125"/>
            <p:cNvSpPr/>
            <p:nvPr/>
          </p:nvSpPr>
          <p:spPr bwMode="auto">
            <a:xfrm>
              <a:off x="8011300" y="6461151"/>
              <a:ext cx="24009" cy="12710"/>
            </a:xfrm>
            <a:custGeom>
              <a:gdLst>
                <a:gd name="T0" fmla="*/ 0 w 7"/>
                <a:gd name="T1" fmla="*/ 0 h 4"/>
                <a:gd name="T2" fmla="*/ 4 w 7"/>
                <a:gd name="T3" fmla="*/ 4 h 4"/>
                <a:gd name="T4" fmla="*/ 7 w 7"/>
                <a:gd name="T5" fmla="*/ 1 h 4"/>
                <a:gd name="T6" fmla="*/ 5 w 7"/>
                <a:gd name="T7" fmla="*/ 1 h 4"/>
                <a:gd name="T8" fmla="*/ 4 w 7"/>
                <a:gd name="T9" fmla="*/ 1 h 4"/>
                <a:gd name="T10" fmla="*/ 3 w 7"/>
                <a:gd name="T11" fmla="*/ 1 h 4"/>
                <a:gd name="T12" fmla="*/ 0 w 7"/>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cubicBezTo>
                    <a:pt x="1" y="2"/>
                    <a:pt x="2" y="3"/>
                    <a:pt x="4" y="4"/>
                  </a:cubicBezTo>
                  <a:cubicBezTo>
                    <a:pt x="5" y="3"/>
                    <a:pt x="6" y="2"/>
                    <a:pt x="7" y="1"/>
                  </a:cubicBezTo>
                  <a:cubicBezTo>
                    <a:pt x="6" y="1"/>
                    <a:pt x="6" y="1"/>
                    <a:pt x="5" y="1"/>
                  </a:cubicBezTo>
                  <a:cubicBezTo>
                    <a:pt x="5" y="1"/>
                    <a:pt x="5" y="1"/>
                    <a:pt x="4" y="1"/>
                  </a:cubicBezTo>
                  <a:cubicBezTo>
                    <a:pt x="4" y="1"/>
                    <a:pt x="4" y="1"/>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26"/>
            <p:cNvSpPr/>
            <p:nvPr/>
          </p:nvSpPr>
          <p:spPr bwMode="auto">
            <a:xfrm>
              <a:off x="7985879" y="6140565"/>
              <a:ext cx="29658" cy="22596"/>
            </a:xfrm>
            <a:custGeom>
              <a:gdLst>
                <a:gd name="T0" fmla="*/ 7 w 9"/>
                <a:gd name="T1" fmla="*/ 0 h 7"/>
                <a:gd name="T2" fmla="*/ 6 w 9"/>
                <a:gd name="T3" fmla="*/ 0 h 7"/>
                <a:gd name="T4" fmla="*/ 5 w 9"/>
                <a:gd name="T5" fmla="*/ 0 h 7"/>
                <a:gd name="T6" fmla="*/ 4 w 9"/>
                <a:gd name="T7" fmla="*/ 0 h 7"/>
                <a:gd name="T8" fmla="*/ 3 w 9"/>
                <a:gd name="T9" fmla="*/ 0 h 7"/>
                <a:gd name="T10" fmla="*/ 2 w 9"/>
                <a:gd name="T11" fmla="*/ 1 h 7"/>
                <a:gd name="T12" fmla="*/ 4 w 9"/>
                <a:gd name="T13" fmla="*/ 5 h 7"/>
                <a:gd name="T14" fmla="*/ 8 w 9"/>
                <a:gd name="T15" fmla="*/ 7 h 7"/>
                <a:gd name="T16" fmla="*/ 7 w 9"/>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7" y="0"/>
                  </a:moveTo>
                  <a:cubicBezTo>
                    <a:pt x="6" y="0"/>
                    <a:pt x="6" y="0"/>
                    <a:pt x="6" y="0"/>
                  </a:cubicBezTo>
                  <a:cubicBezTo>
                    <a:pt x="5" y="0"/>
                    <a:pt x="5" y="0"/>
                    <a:pt x="5" y="0"/>
                  </a:cubicBezTo>
                  <a:cubicBezTo>
                    <a:pt x="4" y="0"/>
                    <a:pt x="4" y="0"/>
                    <a:pt x="4" y="0"/>
                  </a:cubicBezTo>
                  <a:cubicBezTo>
                    <a:pt x="4" y="0"/>
                    <a:pt x="3" y="0"/>
                    <a:pt x="3" y="0"/>
                  </a:cubicBezTo>
                  <a:cubicBezTo>
                    <a:pt x="3" y="0"/>
                    <a:pt x="2" y="0"/>
                    <a:pt x="2" y="1"/>
                  </a:cubicBezTo>
                  <a:cubicBezTo>
                    <a:pt x="0" y="3"/>
                    <a:pt x="2" y="4"/>
                    <a:pt x="4" y="5"/>
                  </a:cubicBezTo>
                  <a:cubicBezTo>
                    <a:pt x="5" y="6"/>
                    <a:pt x="6" y="7"/>
                    <a:pt x="8" y="7"/>
                  </a:cubicBezTo>
                  <a:cubicBezTo>
                    <a:pt x="8" y="6"/>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27"/>
            <p:cNvSpPr/>
            <p:nvPr/>
          </p:nvSpPr>
          <p:spPr bwMode="auto">
            <a:xfrm>
              <a:off x="8028247" y="5803032"/>
              <a:ext cx="14123" cy="12710"/>
            </a:xfrm>
            <a:custGeom>
              <a:gdLst>
                <a:gd name="T0" fmla="*/ 4 w 4"/>
                <a:gd name="T1" fmla="*/ 0 h 4"/>
                <a:gd name="T2" fmla="*/ 0 w 4"/>
                <a:gd name="T3" fmla="*/ 4 h 4"/>
                <a:gd name="T4" fmla="*/ 2 w 4"/>
                <a:gd name="T5" fmla="*/ 4 h 4"/>
                <a:gd name="T6" fmla="*/ 4 w 4"/>
                <a:gd name="T7" fmla="*/ 0 h 4"/>
              </a:gdLst>
              <a:cxnLst>
                <a:cxn ang="0">
                  <a:pos x="T0" y="T1"/>
                </a:cxn>
                <a:cxn ang="0">
                  <a:pos x="T2" y="T3"/>
                </a:cxn>
                <a:cxn ang="0">
                  <a:pos x="T4" y="T5"/>
                </a:cxn>
                <a:cxn ang="0">
                  <a:pos x="T6" y="T7"/>
                </a:cxn>
              </a:cxnLst>
              <a:rect l="0" t="0" r="r" b="b"/>
              <a:pathLst>
                <a:path w="4" h="4">
                  <a:moveTo>
                    <a:pt x="4" y="0"/>
                  </a:moveTo>
                  <a:cubicBezTo>
                    <a:pt x="2" y="1"/>
                    <a:pt x="1" y="2"/>
                    <a:pt x="0" y="4"/>
                  </a:cubicBezTo>
                  <a:cubicBezTo>
                    <a:pt x="1" y="4"/>
                    <a:pt x="1" y="4"/>
                    <a:pt x="2" y="4"/>
                  </a:cubicBezTo>
                  <a:cubicBezTo>
                    <a:pt x="3" y="4"/>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28"/>
            <p:cNvSpPr/>
            <p:nvPr/>
          </p:nvSpPr>
          <p:spPr bwMode="auto">
            <a:xfrm>
              <a:off x="7954809" y="6079837"/>
              <a:ext cx="31070" cy="26833"/>
            </a:xfrm>
            <a:custGeom>
              <a:gdLst>
                <a:gd name="T0" fmla="*/ 6 w 9"/>
                <a:gd name="T1" fmla="*/ 0 h 8"/>
                <a:gd name="T2" fmla="*/ 4 w 9"/>
                <a:gd name="T3" fmla="*/ 1 h 8"/>
                <a:gd name="T4" fmla="*/ 3 w 9"/>
                <a:gd name="T5" fmla="*/ 1 h 8"/>
                <a:gd name="T6" fmla="*/ 2 w 9"/>
                <a:gd name="T7" fmla="*/ 1 h 8"/>
                <a:gd name="T8" fmla="*/ 2 w 9"/>
                <a:gd name="T9" fmla="*/ 1 h 8"/>
                <a:gd name="T10" fmla="*/ 2 w 9"/>
                <a:gd name="T11" fmla="*/ 1 h 8"/>
                <a:gd name="T12" fmla="*/ 2 w 9"/>
                <a:gd name="T13" fmla="*/ 1 h 8"/>
                <a:gd name="T14" fmla="*/ 1 w 9"/>
                <a:gd name="T15" fmla="*/ 0 h 8"/>
                <a:gd name="T16" fmla="*/ 0 w 9"/>
                <a:gd name="T17" fmla="*/ 0 h 8"/>
                <a:gd name="T18" fmla="*/ 0 w 9"/>
                <a:gd name="T19" fmla="*/ 1 h 8"/>
                <a:gd name="T20" fmla="*/ 4 w 9"/>
                <a:gd name="T21" fmla="*/ 5 h 8"/>
                <a:gd name="T22" fmla="*/ 2 w 9"/>
                <a:gd name="T23" fmla="*/ 8 h 8"/>
                <a:gd name="T24" fmla="*/ 7 w 9"/>
                <a:gd name="T25" fmla="*/ 1 h 8"/>
                <a:gd name="T26" fmla="*/ 6 w 9"/>
                <a:gd name="T2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8">
                  <a:moveTo>
                    <a:pt x="6" y="0"/>
                  </a:moveTo>
                  <a:cubicBezTo>
                    <a:pt x="5" y="0"/>
                    <a:pt x="5" y="0"/>
                    <a:pt x="4" y="1"/>
                  </a:cubicBezTo>
                  <a:cubicBezTo>
                    <a:pt x="4" y="1"/>
                    <a:pt x="4" y="1"/>
                    <a:pt x="3" y="1"/>
                  </a:cubicBezTo>
                  <a:cubicBezTo>
                    <a:pt x="3" y="1"/>
                    <a:pt x="3" y="1"/>
                    <a:pt x="2" y="1"/>
                  </a:cubicBezTo>
                  <a:cubicBezTo>
                    <a:pt x="2" y="1"/>
                    <a:pt x="2" y="1"/>
                    <a:pt x="2" y="1"/>
                  </a:cubicBezTo>
                  <a:cubicBezTo>
                    <a:pt x="2" y="1"/>
                    <a:pt x="2" y="1"/>
                    <a:pt x="2" y="1"/>
                  </a:cubicBezTo>
                  <a:cubicBezTo>
                    <a:pt x="2" y="1"/>
                    <a:pt x="2" y="1"/>
                    <a:pt x="2" y="1"/>
                  </a:cubicBezTo>
                  <a:cubicBezTo>
                    <a:pt x="2" y="1"/>
                    <a:pt x="1" y="0"/>
                    <a:pt x="1" y="0"/>
                  </a:cubicBezTo>
                  <a:cubicBezTo>
                    <a:pt x="1" y="0"/>
                    <a:pt x="1" y="0"/>
                    <a:pt x="0" y="0"/>
                  </a:cubicBezTo>
                  <a:cubicBezTo>
                    <a:pt x="0" y="0"/>
                    <a:pt x="0" y="1"/>
                    <a:pt x="0" y="1"/>
                  </a:cubicBezTo>
                  <a:cubicBezTo>
                    <a:pt x="1" y="3"/>
                    <a:pt x="3" y="5"/>
                    <a:pt x="4" y="5"/>
                  </a:cubicBezTo>
                  <a:cubicBezTo>
                    <a:pt x="4" y="6"/>
                    <a:pt x="3" y="7"/>
                    <a:pt x="2" y="8"/>
                  </a:cubicBezTo>
                  <a:cubicBezTo>
                    <a:pt x="5" y="7"/>
                    <a:pt x="9" y="5"/>
                    <a:pt x="7" y="1"/>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29"/>
            <p:cNvSpPr/>
            <p:nvPr/>
          </p:nvSpPr>
          <p:spPr bwMode="auto">
            <a:xfrm>
              <a:off x="7954809" y="6036057"/>
              <a:ext cx="46605" cy="70614"/>
            </a:xfrm>
            <a:custGeom>
              <a:gdLst>
                <a:gd name="T0" fmla="*/ 6 w 14"/>
                <a:gd name="T1" fmla="*/ 0 h 21"/>
                <a:gd name="T2" fmla="*/ 3 w 14"/>
                <a:gd name="T3" fmla="*/ 1 h 21"/>
                <a:gd name="T4" fmla="*/ 2 w 14"/>
                <a:gd name="T5" fmla="*/ 9 h 21"/>
                <a:gd name="T6" fmla="*/ 3 w 14"/>
                <a:gd name="T7" fmla="*/ 9 h 21"/>
                <a:gd name="T8" fmla="*/ 4 w 14"/>
                <a:gd name="T9" fmla="*/ 9 h 21"/>
                <a:gd name="T10" fmla="*/ 6 w 14"/>
                <a:gd name="T11" fmla="*/ 9 h 21"/>
                <a:gd name="T12" fmla="*/ 7 w 14"/>
                <a:gd name="T13" fmla="*/ 9 h 21"/>
                <a:gd name="T14" fmla="*/ 2 w 14"/>
                <a:gd name="T15" fmla="*/ 12 h 21"/>
                <a:gd name="T16" fmla="*/ 4 w 14"/>
                <a:gd name="T17" fmla="*/ 12 h 21"/>
                <a:gd name="T18" fmla="*/ 7 w 14"/>
                <a:gd name="T19" fmla="*/ 10 h 21"/>
                <a:gd name="T20" fmla="*/ 9 w 14"/>
                <a:gd name="T21" fmla="*/ 21 h 21"/>
                <a:gd name="T22" fmla="*/ 12 w 14"/>
                <a:gd name="T23" fmla="*/ 14 h 21"/>
                <a:gd name="T24" fmla="*/ 9 w 14"/>
                <a:gd name="T25" fmla="*/ 8 h 21"/>
                <a:gd name="T26" fmla="*/ 7 w 14"/>
                <a:gd name="T27" fmla="*/ 2 h 21"/>
                <a:gd name="T28" fmla="*/ 6 w 14"/>
                <a:gd name="T29" fmla="*/ 0 h 21"/>
                <a:gd name="T30" fmla="*/ 6 w 14"/>
                <a:gd name="T31"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1">
                  <a:moveTo>
                    <a:pt x="6" y="0"/>
                  </a:moveTo>
                  <a:cubicBezTo>
                    <a:pt x="5" y="0"/>
                    <a:pt x="3" y="1"/>
                    <a:pt x="3" y="1"/>
                  </a:cubicBezTo>
                  <a:cubicBezTo>
                    <a:pt x="0" y="4"/>
                    <a:pt x="5" y="6"/>
                    <a:pt x="2" y="9"/>
                  </a:cubicBezTo>
                  <a:cubicBezTo>
                    <a:pt x="2" y="9"/>
                    <a:pt x="3" y="9"/>
                    <a:pt x="3" y="9"/>
                  </a:cubicBezTo>
                  <a:cubicBezTo>
                    <a:pt x="4" y="9"/>
                    <a:pt x="4" y="9"/>
                    <a:pt x="4" y="9"/>
                  </a:cubicBezTo>
                  <a:cubicBezTo>
                    <a:pt x="5" y="9"/>
                    <a:pt x="5" y="9"/>
                    <a:pt x="6" y="9"/>
                  </a:cubicBezTo>
                  <a:cubicBezTo>
                    <a:pt x="6" y="9"/>
                    <a:pt x="6" y="9"/>
                    <a:pt x="7" y="9"/>
                  </a:cubicBezTo>
                  <a:cubicBezTo>
                    <a:pt x="5" y="11"/>
                    <a:pt x="3" y="10"/>
                    <a:pt x="2" y="12"/>
                  </a:cubicBezTo>
                  <a:cubicBezTo>
                    <a:pt x="3" y="12"/>
                    <a:pt x="3" y="12"/>
                    <a:pt x="4" y="12"/>
                  </a:cubicBezTo>
                  <a:cubicBezTo>
                    <a:pt x="5" y="12"/>
                    <a:pt x="7" y="12"/>
                    <a:pt x="7" y="10"/>
                  </a:cubicBezTo>
                  <a:cubicBezTo>
                    <a:pt x="8" y="14"/>
                    <a:pt x="9" y="18"/>
                    <a:pt x="9" y="21"/>
                  </a:cubicBezTo>
                  <a:cubicBezTo>
                    <a:pt x="13" y="18"/>
                    <a:pt x="14" y="17"/>
                    <a:pt x="12" y="14"/>
                  </a:cubicBezTo>
                  <a:cubicBezTo>
                    <a:pt x="11" y="11"/>
                    <a:pt x="10" y="10"/>
                    <a:pt x="9" y="8"/>
                  </a:cubicBezTo>
                  <a:cubicBezTo>
                    <a:pt x="8" y="6"/>
                    <a:pt x="8" y="3"/>
                    <a:pt x="7" y="2"/>
                  </a:cubicBezTo>
                  <a:cubicBezTo>
                    <a:pt x="6" y="1"/>
                    <a:pt x="8"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30"/>
            <p:cNvSpPr>
              <a:spLocks noEditPoints="1"/>
            </p:cNvSpPr>
            <p:nvPr/>
          </p:nvSpPr>
          <p:spPr bwMode="auto">
            <a:xfrm>
              <a:off x="7971756" y="6236600"/>
              <a:ext cx="50842" cy="43780"/>
            </a:xfrm>
            <a:custGeom>
              <a:gdLst>
                <a:gd name="T0" fmla="*/ 3 w 15"/>
                <a:gd name="T1" fmla="*/ 0 h 13"/>
                <a:gd name="T2" fmla="*/ 1 w 15"/>
                <a:gd name="T3" fmla="*/ 1 h 13"/>
                <a:gd name="T4" fmla="*/ 6 w 15"/>
                <a:gd name="T5" fmla="*/ 5 h 13"/>
                <a:gd name="T6" fmla="*/ 7 w 15"/>
                <a:gd name="T7" fmla="*/ 4 h 13"/>
                <a:gd name="T8" fmla="*/ 4 w 15"/>
                <a:gd name="T9" fmla="*/ 7 h 13"/>
                <a:gd name="T10" fmla="*/ 3 w 15"/>
                <a:gd name="T11" fmla="*/ 7 h 13"/>
                <a:gd name="T12" fmla="*/ 2 w 15"/>
                <a:gd name="T13" fmla="*/ 5 h 13"/>
                <a:gd name="T14" fmla="*/ 2 w 15"/>
                <a:gd name="T15" fmla="*/ 5 h 13"/>
                <a:gd name="T16" fmla="*/ 1 w 15"/>
                <a:gd name="T17" fmla="*/ 5 h 13"/>
                <a:gd name="T18" fmla="*/ 1 w 15"/>
                <a:gd name="T19" fmla="*/ 7 h 13"/>
                <a:gd name="T20" fmla="*/ 5 w 15"/>
                <a:gd name="T21" fmla="*/ 9 h 13"/>
                <a:gd name="T22" fmla="*/ 5 w 15"/>
                <a:gd name="T23" fmla="*/ 9 h 13"/>
                <a:gd name="T24" fmla="*/ 4 w 15"/>
                <a:gd name="T25" fmla="*/ 13 h 13"/>
                <a:gd name="T26" fmla="*/ 11 w 15"/>
                <a:gd name="T27" fmla="*/ 7 h 13"/>
                <a:gd name="T28" fmla="*/ 14 w 15"/>
                <a:gd name="T29" fmla="*/ 6 h 13"/>
                <a:gd name="T30" fmla="*/ 14 w 15"/>
                <a:gd name="T31" fmla="*/ 4 h 13"/>
                <a:gd name="T32" fmla="*/ 8 w 15"/>
                <a:gd name="T33" fmla="*/ 6 h 13"/>
                <a:gd name="T34" fmla="*/ 11 w 15"/>
                <a:gd name="T35" fmla="*/ 2 h 13"/>
                <a:gd name="T36" fmla="*/ 8 w 15"/>
                <a:gd name="T37" fmla="*/ 3 h 13"/>
                <a:gd name="T38" fmla="*/ 7 w 15"/>
                <a:gd name="T39" fmla="*/ 3 h 13"/>
                <a:gd name="T40" fmla="*/ 7 w 15"/>
                <a:gd name="T41" fmla="*/ 1 h 13"/>
                <a:gd name="T42" fmla="*/ 6 w 15"/>
                <a:gd name="T43" fmla="*/ 1 h 13"/>
                <a:gd name="T44" fmla="*/ 6 w 15"/>
                <a:gd name="T45" fmla="*/ 1 h 13"/>
                <a:gd name="T46" fmla="*/ 5 w 15"/>
                <a:gd name="T47" fmla="*/ 1 h 13"/>
                <a:gd name="T48" fmla="*/ 4 w 15"/>
                <a:gd name="T49" fmla="*/ 1 h 13"/>
                <a:gd name="T50" fmla="*/ 5 w 15"/>
                <a:gd name="T51" fmla="*/ 1 h 13"/>
                <a:gd name="T52" fmla="*/ 3 w 15"/>
                <a:gd name="T53" fmla="*/ 0 h 13"/>
                <a:gd name="T54" fmla="*/ 3 w 15"/>
                <a:gd name="T55" fmla="*/ 0 h 13"/>
                <a:gd name="T56" fmla="*/ 3 w 15"/>
                <a:gd name="T57" fmla="*/ 0 h 13"/>
                <a:gd name="T58" fmla="*/ 3 w 15"/>
                <a:gd name="T59"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13">
                  <a:moveTo>
                    <a:pt x="3" y="0"/>
                  </a:moveTo>
                  <a:cubicBezTo>
                    <a:pt x="3" y="0"/>
                    <a:pt x="0" y="0"/>
                    <a:pt x="1" y="1"/>
                  </a:cubicBezTo>
                  <a:cubicBezTo>
                    <a:pt x="2" y="2"/>
                    <a:pt x="4" y="5"/>
                    <a:pt x="6" y="5"/>
                  </a:cubicBezTo>
                  <a:cubicBezTo>
                    <a:pt x="6" y="5"/>
                    <a:pt x="7" y="5"/>
                    <a:pt x="7" y="4"/>
                  </a:cubicBezTo>
                  <a:cubicBezTo>
                    <a:pt x="6" y="6"/>
                    <a:pt x="5" y="7"/>
                    <a:pt x="4" y="7"/>
                  </a:cubicBezTo>
                  <a:cubicBezTo>
                    <a:pt x="3" y="7"/>
                    <a:pt x="3" y="7"/>
                    <a:pt x="3" y="7"/>
                  </a:cubicBezTo>
                  <a:cubicBezTo>
                    <a:pt x="3" y="6"/>
                    <a:pt x="1" y="5"/>
                    <a:pt x="2" y="5"/>
                  </a:cubicBezTo>
                  <a:cubicBezTo>
                    <a:pt x="2" y="5"/>
                    <a:pt x="2" y="5"/>
                    <a:pt x="2" y="5"/>
                  </a:cubicBezTo>
                  <a:cubicBezTo>
                    <a:pt x="2" y="5"/>
                    <a:pt x="2" y="5"/>
                    <a:pt x="1" y="5"/>
                  </a:cubicBezTo>
                  <a:cubicBezTo>
                    <a:pt x="0" y="5"/>
                    <a:pt x="0" y="6"/>
                    <a:pt x="1" y="7"/>
                  </a:cubicBezTo>
                  <a:cubicBezTo>
                    <a:pt x="1" y="8"/>
                    <a:pt x="3" y="9"/>
                    <a:pt x="5" y="9"/>
                  </a:cubicBezTo>
                  <a:cubicBezTo>
                    <a:pt x="5" y="9"/>
                    <a:pt x="5" y="9"/>
                    <a:pt x="5" y="9"/>
                  </a:cubicBezTo>
                  <a:cubicBezTo>
                    <a:pt x="5" y="10"/>
                    <a:pt x="5" y="12"/>
                    <a:pt x="4" y="13"/>
                  </a:cubicBezTo>
                  <a:cubicBezTo>
                    <a:pt x="6" y="11"/>
                    <a:pt x="9" y="8"/>
                    <a:pt x="11" y="7"/>
                  </a:cubicBezTo>
                  <a:cubicBezTo>
                    <a:pt x="12" y="6"/>
                    <a:pt x="13" y="7"/>
                    <a:pt x="14" y="6"/>
                  </a:cubicBezTo>
                  <a:cubicBezTo>
                    <a:pt x="15" y="5"/>
                    <a:pt x="15" y="4"/>
                    <a:pt x="14" y="4"/>
                  </a:cubicBezTo>
                  <a:cubicBezTo>
                    <a:pt x="12" y="4"/>
                    <a:pt x="9" y="5"/>
                    <a:pt x="8" y="6"/>
                  </a:cubicBezTo>
                  <a:cubicBezTo>
                    <a:pt x="9" y="4"/>
                    <a:pt x="10" y="4"/>
                    <a:pt x="11" y="2"/>
                  </a:cubicBezTo>
                  <a:cubicBezTo>
                    <a:pt x="10" y="3"/>
                    <a:pt x="9" y="3"/>
                    <a:pt x="8" y="3"/>
                  </a:cubicBezTo>
                  <a:cubicBezTo>
                    <a:pt x="8" y="3"/>
                    <a:pt x="8" y="3"/>
                    <a:pt x="7" y="3"/>
                  </a:cubicBezTo>
                  <a:cubicBezTo>
                    <a:pt x="7" y="2"/>
                    <a:pt x="8" y="1"/>
                    <a:pt x="7" y="1"/>
                  </a:cubicBezTo>
                  <a:cubicBezTo>
                    <a:pt x="7" y="1"/>
                    <a:pt x="6" y="1"/>
                    <a:pt x="6" y="1"/>
                  </a:cubicBezTo>
                  <a:cubicBezTo>
                    <a:pt x="6" y="1"/>
                    <a:pt x="6" y="1"/>
                    <a:pt x="6" y="1"/>
                  </a:cubicBezTo>
                  <a:cubicBezTo>
                    <a:pt x="5" y="1"/>
                    <a:pt x="5" y="1"/>
                    <a:pt x="5" y="1"/>
                  </a:cubicBezTo>
                  <a:cubicBezTo>
                    <a:pt x="5" y="1"/>
                    <a:pt x="5" y="1"/>
                    <a:pt x="4" y="1"/>
                  </a:cubicBezTo>
                  <a:cubicBezTo>
                    <a:pt x="4" y="1"/>
                    <a:pt x="5" y="1"/>
                    <a:pt x="5" y="1"/>
                  </a:cubicBezTo>
                  <a:cubicBezTo>
                    <a:pt x="4" y="1"/>
                    <a:pt x="2" y="0"/>
                    <a:pt x="3" y="0"/>
                  </a:cubicBezTo>
                  <a:moveTo>
                    <a:pt x="3" y="0"/>
                  </a:move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31"/>
            <p:cNvSpPr/>
            <p:nvPr/>
          </p:nvSpPr>
          <p:spPr bwMode="auto">
            <a:xfrm>
              <a:off x="7951985" y="6119381"/>
              <a:ext cx="33894" cy="16947"/>
            </a:xfrm>
            <a:custGeom>
              <a:gdLst>
                <a:gd name="T0" fmla="*/ 7 w 10"/>
                <a:gd name="T1" fmla="*/ 0 h 5"/>
                <a:gd name="T2" fmla="*/ 4 w 10"/>
                <a:gd name="T3" fmla="*/ 2 h 5"/>
                <a:gd name="T4" fmla="*/ 3 w 10"/>
                <a:gd name="T5" fmla="*/ 0 h 5"/>
                <a:gd name="T6" fmla="*/ 3 w 10"/>
                <a:gd name="T7" fmla="*/ 0 h 5"/>
                <a:gd name="T8" fmla="*/ 1 w 10"/>
                <a:gd name="T9" fmla="*/ 1 h 5"/>
                <a:gd name="T10" fmla="*/ 10 w 10"/>
                <a:gd name="T11" fmla="*/ 5 h 5"/>
                <a:gd name="T12" fmla="*/ 8 w 10"/>
                <a:gd name="T13" fmla="*/ 0 h 5"/>
                <a:gd name="T14" fmla="*/ 6 w 10"/>
                <a:gd name="T15" fmla="*/ 1 h 5"/>
                <a:gd name="T16" fmla="*/ 7 w 10"/>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
                  <a:moveTo>
                    <a:pt x="7" y="0"/>
                  </a:moveTo>
                  <a:cubicBezTo>
                    <a:pt x="6" y="0"/>
                    <a:pt x="5" y="2"/>
                    <a:pt x="4" y="2"/>
                  </a:cubicBezTo>
                  <a:cubicBezTo>
                    <a:pt x="4" y="2"/>
                    <a:pt x="4" y="0"/>
                    <a:pt x="3" y="0"/>
                  </a:cubicBezTo>
                  <a:cubicBezTo>
                    <a:pt x="3" y="0"/>
                    <a:pt x="3" y="0"/>
                    <a:pt x="3" y="0"/>
                  </a:cubicBezTo>
                  <a:cubicBezTo>
                    <a:pt x="3" y="0"/>
                    <a:pt x="1" y="1"/>
                    <a:pt x="1" y="1"/>
                  </a:cubicBezTo>
                  <a:cubicBezTo>
                    <a:pt x="0" y="3"/>
                    <a:pt x="8" y="4"/>
                    <a:pt x="10" y="5"/>
                  </a:cubicBezTo>
                  <a:cubicBezTo>
                    <a:pt x="10" y="4"/>
                    <a:pt x="9" y="0"/>
                    <a:pt x="8" y="0"/>
                  </a:cubicBezTo>
                  <a:cubicBezTo>
                    <a:pt x="7" y="0"/>
                    <a:pt x="7" y="1"/>
                    <a:pt x="6" y="1"/>
                  </a:cubicBezTo>
                  <a:cubicBezTo>
                    <a:pt x="6" y="1"/>
                    <a:pt x="6"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32"/>
            <p:cNvSpPr/>
            <p:nvPr/>
          </p:nvSpPr>
          <p:spPr bwMode="auto">
            <a:xfrm>
              <a:off x="8052256" y="5441490"/>
              <a:ext cx="83324" cy="151113"/>
            </a:xfrm>
            <a:custGeom>
              <a:gdLst>
                <a:gd name="T0" fmla="*/ 10 w 25"/>
                <a:gd name="T1" fmla="*/ 0 h 45"/>
                <a:gd name="T2" fmla="*/ 8 w 25"/>
                <a:gd name="T3" fmla="*/ 2 h 45"/>
                <a:gd name="T4" fmla="*/ 6 w 25"/>
                <a:gd name="T5" fmla="*/ 11 h 45"/>
                <a:gd name="T6" fmla="*/ 4 w 25"/>
                <a:gd name="T7" fmla="*/ 19 h 45"/>
                <a:gd name="T8" fmla="*/ 3 w 25"/>
                <a:gd name="T9" fmla="*/ 34 h 45"/>
                <a:gd name="T10" fmla="*/ 0 w 25"/>
                <a:gd name="T11" fmla="*/ 40 h 45"/>
                <a:gd name="T12" fmla="*/ 12 w 25"/>
                <a:gd name="T13" fmla="*/ 45 h 45"/>
                <a:gd name="T14" fmla="*/ 16 w 25"/>
                <a:gd name="T15" fmla="*/ 41 h 45"/>
                <a:gd name="T16" fmla="*/ 14 w 25"/>
                <a:gd name="T17" fmla="*/ 37 h 45"/>
                <a:gd name="T18" fmla="*/ 15 w 25"/>
                <a:gd name="T19" fmla="*/ 37 h 45"/>
                <a:gd name="T20" fmla="*/ 16 w 25"/>
                <a:gd name="T21" fmla="*/ 37 h 45"/>
                <a:gd name="T22" fmla="*/ 16 w 25"/>
                <a:gd name="T23" fmla="*/ 37 h 45"/>
                <a:gd name="T24" fmla="*/ 19 w 25"/>
                <a:gd name="T25" fmla="*/ 35 h 45"/>
                <a:gd name="T26" fmla="*/ 20 w 25"/>
                <a:gd name="T27" fmla="*/ 35 h 45"/>
                <a:gd name="T28" fmla="*/ 16 w 25"/>
                <a:gd name="T29" fmla="*/ 30 h 45"/>
                <a:gd name="T30" fmla="*/ 19 w 25"/>
                <a:gd name="T31" fmla="*/ 31 h 45"/>
                <a:gd name="T32" fmla="*/ 21 w 25"/>
                <a:gd name="T33" fmla="*/ 29 h 45"/>
                <a:gd name="T34" fmla="*/ 16 w 25"/>
                <a:gd name="T35" fmla="*/ 24 h 45"/>
                <a:gd name="T36" fmla="*/ 13 w 25"/>
                <a:gd name="T37" fmla="*/ 21 h 45"/>
                <a:gd name="T38" fmla="*/ 14 w 25"/>
                <a:gd name="T39" fmla="*/ 19 h 45"/>
                <a:gd name="T40" fmla="*/ 18 w 25"/>
                <a:gd name="T41" fmla="*/ 20 h 45"/>
                <a:gd name="T42" fmla="*/ 19 w 25"/>
                <a:gd name="T43" fmla="*/ 15 h 45"/>
                <a:gd name="T44" fmla="*/ 23 w 25"/>
                <a:gd name="T45" fmla="*/ 11 h 45"/>
                <a:gd name="T46" fmla="*/ 21 w 25"/>
                <a:gd name="T47" fmla="*/ 9 h 45"/>
                <a:gd name="T48" fmla="*/ 22 w 25"/>
                <a:gd name="T49" fmla="*/ 8 h 45"/>
                <a:gd name="T50" fmla="*/ 20 w 25"/>
                <a:gd name="T51" fmla="*/ 6 h 45"/>
                <a:gd name="T52" fmla="*/ 21 w 25"/>
                <a:gd name="T53" fmla="*/ 1 h 45"/>
                <a:gd name="T54" fmla="*/ 18 w 25"/>
                <a:gd name="T55" fmla="*/ 0 h 45"/>
                <a:gd name="T56" fmla="*/ 13 w 25"/>
                <a:gd name="T57" fmla="*/ 2 h 45"/>
                <a:gd name="T58" fmla="*/ 11 w 25"/>
                <a:gd name="T59" fmla="*/ 3 h 45"/>
                <a:gd name="T60" fmla="*/ 9 w 25"/>
                <a:gd name="T61" fmla="*/ 2 h 45"/>
                <a:gd name="T62" fmla="*/ 10 w 25"/>
                <a:gd name="T63" fmla="*/ 2 h 45"/>
                <a:gd name="T64" fmla="*/ 11 w 25"/>
                <a:gd name="T65" fmla="*/ 1 h 45"/>
                <a:gd name="T66" fmla="*/ 10 w 25"/>
                <a:gd name="T67"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45">
                  <a:moveTo>
                    <a:pt x="10" y="0"/>
                  </a:moveTo>
                  <a:cubicBezTo>
                    <a:pt x="10" y="0"/>
                    <a:pt x="9" y="1"/>
                    <a:pt x="8" y="2"/>
                  </a:cubicBezTo>
                  <a:cubicBezTo>
                    <a:pt x="7" y="5"/>
                    <a:pt x="7" y="9"/>
                    <a:pt x="6" y="11"/>
                  </a:cubicBezTo>
                  <a:cubicBezTo>
                    <a:pt x="5" y="14"/>
                    <a:pt x="4" y="17"/>
                    <a:pt x="4" y="19"/>
                  </a:cubicBezTo>
                  <a:cubicBezTo>
                    <a:pt x="3" y="25"/>
                    <a:pt x="5" y="29"/>
                    <a:pt x="3" y="34"/>
                  </a:cubicBezTo>
                  <a:cubicBezTo>
                    <a:pt x="2" y="36"/>
                    <a:pt x="1" y="38"/>
                    <a:pt x="0" y="40"/>
                  </a:cubicBezTo>
                  <a:cubicBezTo>
                    <a:pt x="4" y="42"/>
                    <a:pt x="8" y="44"/>
                    <a:pt x="12" y="45"/>
                  </a:cubicBezTo>
                  <a:cubicBezTo>
                    <a:pt x="14" y="44"/>
                    <a:pt x="17" y="44"/>
                    <a:pt x="16" y="41"/>
                  </a:cubicBezTo>
                  <a:cubicBezTo>
                    <a:pt x="16" y="41"/>
                    <a:pt x="13" y="38"/>
                    <a:pt x="14" y="37"/>
                  </a:cubicBezTo>
                  <a:cubicBezTo>
                    <a:pt x="14" y="37"/>
                    <a:pt x="15" y="37"/>
                    <a:pt x="15" y="37"/>
                  </a:cubicBezTo>
                  <a:cubicBezTo>
                    <a:pt x="15" y="37"/>
                    <a:pt x="15" y="37"/>
                    <a:pt x="16" y="37"/>
                  </a:cubicBezTo>
                  <a:cubicBezTo>
                    <a:pt x="16" y="37"/>
                    <a:pt x="16" y="37"/>
                    <a:pt x="16" y="37"/>
                  </a:cubicBezTo>
                  <a:cubicBezTo>
                    <a:pt x="19" y="37"/>
                    <a:pt x="24" y="37"/>
                    <a:pt x="19" y="35"/>
                  </a:cubicBezTo>
                  <a:cubicBezTo>
                    <a:pt x="20" y="35"/>
                    <a:pt x="20" y="35"/>
                    <a:pt x="20" y="35"/>
                  </a:cubicBezTo>
                  <a:cubicBezTo>
                    <a:pt x="19" y="33"/>
                    <a:pt x="18" y="31"/>
                    <a:pt x="16" y="30"/>
                  </a:cubicBezTo>
                  <a:cubicBezTo>
                    <a:pt x="17" y="30"/>
                    <a:pt x="18" y="31"/>
                    <a:pt x="19" y="31"/>
                  </a:cubicBezTo>
                  <a:cubicBezTo>
                    <a:pt x="20" y="31"/>
                    <a:pt x="21" y="30"/>
                    <a:pt x="21" y="29"/>
                  </a:cubicBezTo>
                  <a:cubicBezTo>
                    <a:pt x="21" y="27"/>
                    <a:pt x="17" y="25"/>
                    <a:pt x="16" y="24"/>
                  </a:cubicBezTo>
                  <a:cubicBezTo>
                    <a:pt x="14" y="23"/>
                    <a:pt x="13" y="23"/>
                    <a:pt x="13" y="21"/>
                  </a:cubicBezTo>
                  <a:cubicBezTo>
                    <a:pt x="14" y="20"/>
                    <a:pt x="14" y="19"/>
                    <a:pt x="14" y="19"/>
                  </a:cubicBezTo>
                  <a:cubicBezTo>
                    <a:pt x="15" y="19"/>
                    <a:pt x="16" y="20"/>
                    <a:pt x="18" y="20"/>
                  </a:cubicBezTo>
                  <a:cubicBezTo>
                    <a:pt x="15" y="18"/>
                    <a:pt x="17" y="16"/>
                    <a:pt x="19" y="15"/>
                  </a:cubicBezTo>
                  <a:cubicBezTo>
                    <a:pt x="21" y="14"/>
                    <a:pt x="25" y="15"/>
                    <a:pt x="23" y="11"/>
                  </a:cubicBezTo>
                  <a:cubicBezTo>
                    <a:pt x="23" y="10"/>
                    <a:pt x="21" y="10"/>
                    <a:pt x="21" y="9"/>
                  </a:cubicBezTo>
                  <a:cubicBezTo>
                    <a:pt x="20" y="9"/>
                    <a:pt x="22" y="9"/>
                    <a:pt x="22" y="8"/>
                  </a:cubicBezTo>
                  <a:cubicBezTo>
                    <a:pt x="21" y="7"/>
                    <a:pt x="21" y="7"/>
                    <a:pt x="20" y="6"/>
                  </a:cubicBezTo>
                  <a:cubicBezTo>
                    <a:pt x="20" y="4"/>
                    <a:pt x="18" y="3"/>
                    <a:pt x="21" y="1"/>
                  </a:cubicBezTo>
                  <a:cubicBezTo>
                    <a:pt x="20" y="1"/>
                    <a:pt x="19" y="0"/>
                    <a:pt x="18" y="0"/>
                  </a:cubicBezTo>
                  <a:cubicBezTo>
                    <a:pt x="16" y="0"/>
                    <a:pt x="15" y="2"/>
                    <a:pt x="13" y="2"/>
                  </a:cubicBezTo>
                  <a:cubicBezTo>
                    <a:pt x="13" y="2"/>
                    <a:pt x="12" y="3"/>
                    <a:pt x="11" y="3"/>
                  </a:cubicBezTo>
                  <a:cubicBezTo>
                    <a:pt x="11" y="3"/>
                    <a:pt x="10" y="2"/>
                    <a:pt x="9" y="2"/>
                  </a:cubicBezTo>
                  <a:cubicBezTo>
                    <a:pt x="9" y="2"/>
                    <a:pt x="9" y="2"/>
                    <a:pt x="10" y="2"/>
                  </a:cubicBezTo>
                  <a:cubicBezTo>
                    <a:pt x="11" y="2"/>
                    <a:pt x="11" y="1"/>
                    <a:pt x="11" y="1"/>
                  </a:cubicBezTo>
                  <a:cubicBezTo>
                    <a:pt x="11" y="1"/>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33"/>
            <p:cNvSpPr/>
            <p:nvPr/>
          </p:nvSpPr>
          <p:spPr bwMode="auto">
            <a:xfrm>
              <a:off x="8018361" y="5702760"/>
              <a:ext cx="9886" cy="12710"/>
            </a:xfrm>
            <a:custGeom>
              <a:gdLst>
                <a:gd name="T0" fmla="*/ 1 w 3"/>
                <a:gd name="T1" fmla="*/ 0 h 4"/>
                <a:gd name="T2" fmla="*/ 1 w 3"/>
                <a:gd name="T3" fmla="*/ 4 h 4"/>
                <a:gd name="T4" fmla="*/ 1 w 3"/>
                <a:gd name="T5" fmla="*/ 0 h 4"/>
              </a:gdLst>
              <a:cxnLst>
                <a:cxn ang="0">
                  <a:pos x="T0" y="T1"/>
                </a:cxn>
                <a:cxn ang="0">
                  <a:pos x="T2" y="T3"/>
                </a:cxn>
                <a:cxn ang="0">
                  <a:pos x="T4" y="T5"/>
                </a:cxn>
              </a:cxnLst>
              <a:rect l="0" t="0" r="r" b="b"/>
              <a:pathLst>
                <a:path w="3" h="4">
                  <a:moveTo>
                    <a:pt x="1" y="0"/>
                  </a:moveTo>
                  <a:cubicBezTo>
                    <a:pt x="0" y="1"/>
                    <a:pt x="1" y="2"/>
                    <a:pt x="1" y="4"/>
                  </a:cubicBezTo>
                  <a:cubicBezTo>
                    <a:pt x="2"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34"/>
            <p:cNvSpPr/>
            <p:nvPr/>
          </p:nvSpPr>
          <p:spPr bwMode="auto">
            <a:xfrm>
              <a:off x="8072027" y="5629322"/>
              <a:ext cx="26833" cy="12710"/>
            </a:xfrm>
            <a:custGeom>
              <a:gdLst>
                <a:gd name="T0" fmla="*/ 6 w 8"/>
                <a:gd name="T1" fmla="*/ 0 h 4"/>
                <a:gd name="T2" fmla="*/ 4 w 8"/>
                <a:gd name="T3" fmla="*/ 0 h 4"/>
                <a:gd name="T4" fmla="*/ 2 w 8"/>
                <a:gd name="T5" fmla="*/ 1 h 4"/>
                <a:gd name="T6" fmla="*/ 0 w 8"/>
                <a:gd name="T7" fmla="*/ 1 h 4"/>
                <a:gd name="T8" fmla="*/ 3 w 8"/>
                <a:gd name="T9" fmla="*/ 4 h 4"/>
                <a:gd name="T10" fmla="*/ 5 w 8"/>
                <a:gd name="T11" fmla="*/ 2 h 4"/>
                <a:gd name="T12" fmla="*/ 6 w 8"/>
                <a:gd name="T13" fmla="*/ 2 h 4"/>
                <a:gd name="T14" fmla="*/ 8 w 8"/>
                <a:gd name="T15" fmla="*/ 3 h 4"/>
                <a:gd name="T16" fmla="*/ 8 w 8"/>
                <a:gd name="T17" fmla="*/ 3 h 4"/>
                <a:gd name="T18" fmla="*/ 6 w 8"/>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6" y="0"/>
                  </a:moveTo>
                  <a:cubicBezTo>
                    <a:pt x="5" y="0"/>
                    <a:pt x="5" y="0"/>
                    <a:pt x="4" y="0"/>
                  </a:cubicBezTo>
                  <a:cubicBezTo>
                    <a:pt x="3" y="1"/>
                    <a:pt x="3" y="1"/>
                    <a:pt x="2" y="1"/>
                  </a:cubicBezTo>
                  <a:cubicBezTo>
                    <a:pt x="1" y="1"/>
                    <a:pt x="1" y="1"/>
                    <a:pt x="0" y="1"/>
                  </a:cubicBezTo>
                  <a:cubicBezTo>
                    <a:pt x="1" y="2"/>
                    <a:pt x="2" y="3"/>
                    <a:pt x="3" y="4"/>
                  </a:cubicBezTo>
                  <a:cubicBezTo>
                    <a:pt x="4" y="2"/>
                    <a:pt x="4" y="2"/>
                    <a:pt x="5" y="2"/>
                  </a:cubicBezTo>
                  <a:cubicBezTo>
                    <a:pt x="5" y="2"/>
                    <a:pt x="6" y="2"/>
                    <a:pt x="6" y="2"/>
                  </a:cubicBezTo>
                  <a:cubicBezTo>
                    <a:pt x="7" y="3"/>
                    <a:pt x="7" y="3"/>
                    <a:pt x="8" y="3"/>
                  </a:cubicBezTo>
                  <a:cubicBezTo>
                    <a:pt x="8" y="3"/>
                    <a:pt x="8" y="3"/>
                    <a:pt x="8" y="3"/>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35"/>
            <p:cNvSpPr/>
            <p:nvPr/>
          </p:nvSpPr>
          <p:spPr bwMode="auto">
            <a:xfrm>
              <a:off x="8052256" y="5705585"/>
              <a:ext cx="39544" cy="19772"/>
            </a:xfrm>
            <a:custGeom>
              <a:gdLst>
                <a:gd name="T0" fmla="*/ 6 w 12"/>
                <a:gd name="T1" fmla="*/ 0 h 6"/>
                <a:gd name="T2" fmla="*/ 0 w 12"/>
                <a:gd name="T3" fmla="*/ 1 h 6"/>
                <a:gd name="T4" fmla="*/ 3 w 12"/>
                <a:gd name="T5" fmla="*/ 6 h 6"/>
                <a:gd name="T6" fmla="*/ 12 w 12"/>
                <a:gd name="T7" fmla="*/ 3 h 6"/>
                <a:gd name="T8" fmla="*/ 6 w 12"/>
                <a:gd name="T9" fmla="*/ 0 h 6"/>
              </a:gdLst>
              <a:cxnLst>
                <a:cxn ang="0">
                  <a:pos x="T0" y="T1"/>
                </a:cxn>
                <a:cxn ang="0">
                  <a:pos x="T2" y="T3"/>
                </a:cxn>
                <a:cxn ang="0">
                  <a:pos x="T4" y="T5"/>
                </a:cxn>
                <a:cxn ang="0">
                  <a:pos x="T6" y="T7"/>
                </a:cxn>
                <a:cxn ang="0">
                  <a:pos x="T8" y="T9"/>
                </a:cxn>
              </a:cxnLst>
              <a:rect l="0" t="0" r="r" b="b"/>
              <a:pathLst>
                <a:path w="12" h="6">
                  <a:moveTo>
                    <a:pt x="6" y="0"/>
                  </a:moveTo>
                  <a:cubicBezTo>
                    <a:pt x="4" y="0"/>
                    <a:pt x="2" y="1"/>
                    <a:pt x="0" y="1"/>
                  </a:cubicBezTo>
                  <a:cubicBezTo>
                    <a:pt x="1" y="3"/>
                    <a:pt x="2" y="4"/>
                    <a:pt x="3" y="6"/>
                  </a:cubicBezTo>
                  <a:cubicBezTo>
                    <a:pt x="6" y="5"/>
                    <a:pt x="9" y="3"/>
                    <a:pt x="12" y="3"/>
                  </a:cubicBezTo>
                  <a:cubicBezTo>
                    <a:pt x="10"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36"/>
            <p:cNvSpPr/>
            <p:nvPr/>
          </p:nvSpPr>
          <p:spPr bwMode="auto">
            <a:xfrm>
              <a:off x="7998589" y="6050180"/>
              <a:ext cx="46605" cy="56491"/>
            </a:xfrm>
            <a:custGeom>
              <a:gdLst>
                <a:gd name="T0" fmla="*/ 8 w 14"/>
                <a:gd name="T1" fmla="*/ 0 h 17"/>
                <a:gd name="T2" fmla="*/ 7 w 14"/>
                <a:gd name="T3" fmla="*/ 11 h 17"/>
                <a:gd name="T4" fmla="*/ 5 w 14"/>
                <a:gd name="T5" fmla="*/ 8 h 17"/>
                <a:gd name="T6" fmla="*/ 3 w 14"/>
                <a:gd name="T7" fmla="*/ 9 h 17"/>
                <a:gd name="T8" fmla="*/ 2 w 14"/>
                <a:gd name="T9" fmla="*/ 14 h 17"/>
                <a:gd name="T10" fmla="*/ 9 w 14"/>
                <a:gd name="T11" fmla="*/ 16 h 17"/>
                <a:gd name="T12" fmla="*/ 11 w 14"/>
                <a:gd name="T13" fmla="*/ 17 h 17"/>
                <a:gd name="T14" fmla="*/ 11 w 14"/>
                <a:gd name="T15" fmla="*/ 17 h 17"/>
                <a:gd name="T16" fmla="*/ 10 w 14"/>
                <a:gd name="T17" fmla="*/ 9 h 17"/>
                <a:gd name="T18" fmla="*/ 9 w 14"/>
                <a:gd name="T19" fmla="*/ 3 h 17"/>
                <a:gd name="T20" fmla="*/ 8 w 14"/>
                <a:gd name="T21"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7">
                  <a:moveTo>
                    <a:pt x="8" y="0"/>
                  </a:moveTo>
                  <a:cubicBezTo>
                    <a:pt x="5" y="4"/>
                    <a:pt x="7" y="6"/>
                    <a:pt x="7" y="11"/>
                  </a:cubicBezTo>
                  <a:cubicBezTo>
                    <a:pt x="6" y="9"/>
                    <a:pt x="6" y="8"/>
                    <a:pt x="5" y="8"/>
                  </a:cubicBezTo>
                  <a:cubicBezTo>
                    <a:pt x="4" y="8"/>
                    <a:pt x="4" y="8"/>
                    <a:pt x="3" y="9"/>
                  </a:cubicBezTo>
                  <a:cubicBezTo>
                    <a:pt x="2" y="10"/>
                    <a:pt x="0" y="12"/>
                    <a:pt x="2" y="14"/>
                  </a:cubicBezTo>
                  <a:cubicBezTo>
                    <a:pt x="4" y="15"/>
                    <a:pt x="7" y="15"/>
                    <a:pt x="9" y="16"/>
                  </a:cubicBezTo>
                  <a:cubicBezTo>
                    <a:pt x="10" y="16"/>
                    <a:pt x="10" y="17"/>
                    <a:pt x="11" y="17"/>
                  </a:cubicBezTo>
                  <a:cubicBezTo>
                    <a:pt x="11" y="17"/>
                    <a:pt x="11" y="17"/>
                    <a:pt x="11" y="17"/>
                  </a:cubicBezTo>
                  <a:cubicBezTo>
                    <a:pt x="14" y="16"/>
                    <a:pt x="10" y="10"/>
                    <a:pt x="10" y="9"/>
                  </a:cubicBezTo>
                  <a:cubicBezTo>
                    <a:pt x="11" y="6"/>
                    <a:pt x="9" y="5"/>
                    <a:pt x="9" y="3"/>
                  </a:cubicBezTo>
                  <a:cubicBezTo>
                    <a:pt x="9" y="2"/>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37"/>
            <p:cNvSpPr/>
            <p:nvPr/>
          </p:nvSpPr>
          <p:spPr bwMode="auto">
            <a:xfrm>
              <a:off x="8052256" y="6451265"/>
              <a:ext cx="36719" cy="32482"/>
            </a:xfrm>
            <a:custGeom>
              <a:gdLst>
                <a:gd name="T0" fmla="*/ 2 w 11"/>
                <a:gd name="T1" fmla="*/ 0 h 10"/>
                <a:gd name="T2" fmla="*/ 0 w 11"/>
                <a:gd name="T3" fmla="*/ 1 h 10"/>
                <a:gd name="T4" fmla="*/ 5 w 11"/>
                <a:gd name="T5" fmla="*/ 3 h 10"/>
                <a:gd name="T6" fmla="*/ 6 w 11"/>
                <a:gd name="T7" fmla="*/ 10 h 10"/>
                <a:gd name="T8" fmla="*/ 10 w 11"/>
                <a:gd name="T9" fmla="*/ 8 h 10"/>
                <a:gd name="T10" fmla="*/ 10 w 11"/>
                <a:gd name="T11" fmla="*/ 8 h 10"/>
                <a:gd name="T12" fmla="*/ 7 w 11"/>
                <a:gd name="T13" fmla="*/ 3 h 10"/>
                <a:gd name="T14" fmla="*/ 2 w 11"/>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0">
                  <a:moveTo>
                    <a:pt x="2" y="0"/>
                  </a:moveTo>
                  <a:cubicBezTo>
                    <a:pt x="1" y="0"/>
                    <a:pt x="0" y="0"/>
                    <a:pt x="0" y="1"/>
                  </a:cubicBezTo>
                  <a:cubicBezTo>
                    <a:pt x="1" y="2"/>
                    <a:pt x="5" y="2"/>
                    <a:pt x="5" y="3"/>
                  </a:cubicBezTo>
                  <a:cubicBezTo>
                    <a:pt x="7" y="6"/>
                    <a:pt x="2" y="6"/>
                    <a:pt x="6" y="10"/>
                  </a:cubicBezTo>
                  <a:cubicBezTo>
                    <a:pt x="6" y="9"/>
                    <a:pt x="10" y="8"/>
                    <a:pt x="10" y="8"/>
                  </a:cubicBezTo>
                  <a:cubicBezTo>
                    <a:pt x="10" y="8"/>
                    <a:pt x="10" y="8"/>
                    <a:pt x="10" y="8"/>
                  </a:cubicBezTo>
                  <a:cubicBezTo>
                    <a:pt x="11" y="7"/>
                    <a:pt x="8" y="4"/>
                    <a:pt x="7" y="3"/>
                  </a:cubicBezTo>
                  <a:cubicBezTo>
                    <a:pt x="5"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38"/>
            <p:cNvSpPr/>
            <p:nvPr/>
          </p:nvSpPr>
          <p:spPr bwMode="auto">
            <a:xfrm>
              <a:off x="7981642" y="6366529"/>
              <a:ext cx="26833" cy="36719"/>
            </a:xfrm>
            <a:custGeom>
              <a:gdLst>
                <a:gd name="T0" fmla="*/ 3 w 8"/>
                <a:gd name="T1" fmla="*/ 0 h 11"/>
                <a:gd name="T2" fmla="*/ 0 w 8"/>
                <a:gd name="T3" fmla="*/ 11 h 11"/>
                <a:gd name="T4" fmla="*/ 2 w 8"/>
                <a:gd name="T5" fmla="*/ 8 h 11"/>
                <a:gd name="T6" fmla="*/ 3 w 8"/>
                <a:gd name="T7" fmla="*/ 9 h 11"/>
                <a:gd name="T8" fmla="*/ 3 w 8"/>
                <a:gd name="T9" fmla="*/ 5 h 11"/>
                <a:gd name="T10" fmla="*/ 4 w 8"/>
                <a:gd name="T11" fmla="*/ 5 h 11"/>
                <a:gd name="T12" fmla="*/ 7 w 8"/>
                <a:gd name="T13" fmla="*/ 2 h 11"/>
                <a:gd name="T14" fmla="*/ 7 w 8"/>
                <a:gd name="T15" fmla="*/ 2 h 11"/>
                <a:gd name="T16" fmla="*/ 3 w 8"/>
                <a:gd name="T1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3" y="0"/>
                  </a:moveTo>
                  <a:cubicBezTo>
                    <a:pt x="1" y="0"/>
                    <a:pt x="0" y="9"/>
                    <a:pt x="0" y="11"/>
                  </a:cubicBezTo>
                  <a:cubicBezTo>
                    <a:pt x="1" y="11"/>
                    <a:pt x="2" y="10"/>
                    <a:pt x="2" y="8"/>
                  </a:cubicBezTo>
                  <a:cubicBezTo>
                    <a:pt x="2" y="9"/>
                    <a:pt x="3" y="9"/>
                    <a:pt x="3" y="9"/>
                  </a:cubicBezTo>
                  <a:cubicBezTo>
                    <a:pt x="4" y="9"/>
                    <a:pt x="3" y="6"/>
                    <a:pt x="3" y="5"/>
                  </a:cubicBezTo>
                  <a:cubicBezTo>
                    <a:pt x="3" y="5"/>
                    <a:pt x="4" y="5"/>
                    <a:pt x="4" y="5"/>
                  </a:cubicBezTo>
                  <a:cubicBezTo>
                    <a:pt x="5" y="5"/>
                    <a:pt x="8" y="3"/>
                    <a:pt x="7" y="2"/>
                  </a:cubicBezTo>
                  <a:cubicBezTo>
                    <a:pt x="7" y="2"/>
                    <a:pt x="7" y="2"/>
                    <a:pt x="7" y="2"/>
                  </a:cubicBezTo>
                  <a:cubicBezTo>
                    <a:pt x="7" y="2"/>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39"/>
            <p:cNvSpPr/>
            <p:nvPr/>
          </p:nvSpPr>
          <p:spPr bwMode="auto">
            <a:xfrm>
              <a:off x="8038133" y="5773374"/>
              <a:ext cx="14123" cy="9886"/>
            </a:xfrm>
            <a:custGeom>
              <a:gdLst>
                <a:gd name="T0" fmla="*/ 3 w 4"/>
                <a:gd name="T1" fmla="*/ 0 h 3"/>
                <a:gd name="T2" fmla="*/ 2 w 4"/>
                <a:gd name="T3" fmla="*/ 0 h 3"/>
                <a:gd name="T4" fmla="*/ 4 w 4"/>
                <a:gd name="T5" fmla="*/ 3 h 3"/>
                <a:gd name="T6" fmla="*/ 3 w 4"/>
                <a:gd name="T7" fmla="*/ 0 h 3"/>
              </a:gdLst>
              <a:cxnLst>
                <a:cxn ang="0">
                  <a:pos x="T0" y="T1"/>
                </a:cxn>
                <a:cxn ang="0">
                  <a:pos x="T2" y="T3"/>
                </a:cxn>
                <a:cxn ang="0">
                  <a:pos x="T4" y="T5"/>
                </a:cxn>
                <a:cxn ang="0">
                  <a:pos x="T6" y="T7"/>
                </a:cxn>
              </a:cxnLst>
              <a:rect l="0" t="0" r="r" b="b"/>
              <a:pathLst>
                <a:path w="4" h="3">
                  <a:moveTo>
                    <a:pt x="3" y="0"/>
                  </a:moveTo>
                  <a:cubicBezTo>
                    <a:pt x="3" y="0"/>
                    <a:pt x="2" y="0"/>
                    <a:pt x="2" y="0"/>
                  </a:cubicBezTo>
                  <a:cubicBezTo>
                    <a:pt x="0" y="0"/>
                    <a:pt x="3" y="2"/>
                    <a:pt x="4" y="3"/>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40"/>
            <p:cNvSpPr/>
            <p:nvPr/>
          </p:nvSpPr>
          <p:spPr bwMode="auto">
            <a:xfrm>
              <a:off x="8074852" y="6434318"/>
              <a:ext cx="31070" cy="22596"/>
            </a:xfrm>
            <a:custGeom>
              <a:gdLst>
                <a:gd name="T0" fmla="*/ 1 w 9"/>
                <a:gd name="T1" fmla="*/ 0 h 7"/>
                <a:gd name="T2" fmla="*/ 0 w 9"/>
                <a:gd name="T3" fmla="*/ 0 h 7"/>
                <a:gd name="T4" fmla="*/ 9 w 9"/>
                <a:gd name="T5" fmla="*/ 7 h 7"/>
                <a:gd name="T6" fmla="*/ 1 w 9"/>
                <a:gd name="T7" fmla="*/ 0 h 7"/>
              </a:gdLst>
              <a:cxnLst>
                <a:cxn ang="0">
                  <a:pos x="T0" y="T1"/>
                </a:cxn>
                <a:cxn ang="0">
                  <a:pos x="T2" y="T3"/>
                </a:cxn>
                <a:cxn ang="0">
                  <a:pos x="T4" y="T5"/>
                </a:cxn>
                <a:cxn ang="0">
                  <a:pos x="T6" y="T7"/>
                </a:cxn>
              </a:cxnLst>
              <a:rect l="0" t="0" r="r" b="b"/>
              <a:pathLst>
                <a:path w="9" h="7">
                  <a:moveTo>
                    <a:pt x="1" y="0"/>
                  </a:moveTo>
                  <a:cubicBezTo>
                    <a:pt x="0" y="0"/>
                    <a:pt x="0" y="0"/>
                    <a:pt x="0" y="0"/>
                  </a:cubicBezTo>
                  <a:cubicBezTo>
                    <a:pt x="3" y="3"/>
                    <a:pt x="6" y="5"/>
                    <a:pt x="9" y="7"/>
                  </a:cubicBezTo>
                  <a:cubicBezTo>
                    <a:pt x="8" y="5"/>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41"/>
            <p:cNvSpPr/>
            <p:nvPr/>
          </p:nvSpPr>
          <p:spPr bwMode="auto">
            <a:xfrm>
              <a:off x="8045194" y="6020522"/>
              <a:ext cx="53666" cy="12710"/>
            </a:xfrm>
            <a:custGeom>
              <a:gdLst>
                <a:gd name="T0" fmla="*/ 6 w 16"/>
                <a:gd name="T1" fmla="*/ 0 h 4"/>
                <a:gd name="T2" fmla="*/ 0 w 16"/>
                <a:gd name="T3" fmla="*/ 2 h 4"/>
                <a:gd name="T4" fmla="*/ 4 w 16"/>
                <a:gd name="T5" fmla="*/ 4 h 4"/>
                <a:gd name="T6" fmla="*/ 10 w 16"/>
                <a:gd name="T7" fmla="*/ 3 h 4"/>
                <a:gd name="T8" fmla="*/ 11 w 16"/>
                <a:gd name="T9" fmla="*/ 4 h 4"/>
                <a:gd name="T10" fmla="*/ 11 w 16"/>
                <a:gd name="T11" fmla="*/ 4 h 4"/>
                <a:gd name="T12" fmla="*/ 12 w 16"/>
                <a:gd name="T13" fmla="*/ 3 h 4"/>
                <a:gd name="T14" fmla="*/ 12 w 16"/>
                <a:gd name="T15" fmla="*/ 3 h 4"/>
                <a:gd name="T16" fmla="*/ 13 w 16"/>
                <a:gd name="T17" fmla="*/ 3 h 4"/>
                <a:gd name="T18" fmla="*/ 13 w 16"/>
                <a:gd name="T19" fmla="*/ 4 h 4"/>
                <a:gd name="T20" fmla="*/ 13 w 16"/>
                <a:gd name="T21" fmla="*/ 4 h 4"/>
                <a:gd name="T22" fmla="*/ 16 w 16"/>
                <a:gd name="T23" fmla="*/ 2 h 4"/>
                <a:gd name="T24" fmla="*/ 6 w 16"/>
                <a:gd name="T25"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
                  <a:moveTo>
                    <a:pt x="6" y="0"/>
                  </a:moveTo>
                  <a:cubicBezTo>
                    <a:pt x="4" y="0"/>
                    <a:pt x="2" y="0"/>
                    <a:pt x="0" y="2"/>
                  </a:cubicBezTo>
                  <a:cubicBezTo>
                    <a:pt x="1" y="3"/>
                    <a:pt x="2" y="4"/>
                    <a:pt x="4" y="4"/>
                  </a:cubicBezTo>
                  <a:cubicBezTo>
                    <a:pt x="6" y="4"/>
                    <a:pt x="8" y="3"/>
                    <a:pt x="10" y="3"/>
                  </a:cubicBezTo>
                  <a:cubicBezTo>
                    <a:pt x="10" y="3"/>
                    <a:pt x="11" y="3"/>
                    <a:pt x="11" y="4"/>
                  </a:cubicBezTo>
                  <a:cubicBezTo>
                    <a:pt x="11" y="4"/>
                    <a:pt x="11" y="4"/>
                    <a:pt x="11" y="4"/>
                  </a:cubicBezTo>
                  <a:cubicBezTo>
                    <a:pt x="11" y="4"/>
                    <a:pt x="12" y="3"/>
                    <a:pt x="12" y="3"/>
                  </a:cubicBezTo>
                  <a:cubicBezTo>
                    <a:pt x="12" y="3"/>
                    <a:pt x="12" y="3"/>
                    <a:pt x="12" y="3"/>
                  </a:cubicBezTo>
                  <a:cubicBezTo>
                    <a:pt x="13" y="3"/>
                    <a:pt x="13" y="3"/>
                    <a:pt x="13" y="3"/>
                  </a:cubicBezTo>
                  <a:cubicBezTo>
                    <a:pt x="13" y="3"/>
                    <a:pt x="13" y="4"/>
                    <a:pt x="13" y="4"/>
                  </a:cubicBezTo>
                  <a:cubicBezTo>
                    <a:pt x="13" y="4"/>
                    <a:pt x="13" y="4"/>
                    <a:pt x="13" y="4"/>
                  </a:cubicBezTo>
                  <a:cubicBezTo>
                    <a:pt x="15" y="3"/>
                    <a:pt x="15" y="4"/>
                    <a:pt x="16" y="2"/>
                  </a:cubicBezTo>
                  <a:cubicBezTo>
                    <a:pt x="13"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42"/>
            <p:cNvSpPr/>
            <p:nvPr/>
          </p:nvSpPr>
          <p:spPr bwMode="auto">
            <a:xfrm>
              <a:off x="8201956" y="6667343"/>
              <a:ext cx="16947" cy="9886"/>
            </a:xfrm>
            <a:custGeom>
              <a:gdLst>
                <a:gd name="T0" fmla="*/ 5 w 5"/>
                <a:gd name="T1" fmla="*/ 0 h 3"/>
                <a:gd name="T2" fmla="*/ 0 w 5"/>
                <a:gd name="T3" fmla="*/ 1 h 3"/>
                <a:gd name="T4" fmla="*/ 3 w 5"/>
                <a:gd name="T5" fmla="*/ 3 h 3"/>
                <a:gd name="T6" fmla="*/ 5 w 5"/>
                <a:gd name="T7" fmla="*/ 0 h 3"/>
              </a:gdLst>
              <a:cxnLst>
                <a:cxn ang="0">
                  <a:pos x="T0" y="T1"/>
                </a:cxn>
                <a:cxn ang="0">
                  <a:pos x="T2" y="T3"/>
                </a:cxn>
                <a:cxn ang="0">
                  <a:pos x="T4" y="T5"/>
                </a:cxn>
                <a:cxn ang="0">
                  <a:pos x="T6" y="T7"/>
                </a:cxn>
              </a:cxnLst>
              <a:rect l="0" t="0" r="r" b="b"/>
              <a:pathLst>
                <a:path w="5" h="3">
                  <a:moveTo>
                    <a:pt x="5" y="0"/>
                  </a:moveTo>
                  <a:cubicBezTo>
                    <a:pt x="4" y="0"/>
                    <a:pt x="2" y="0"/>
                    <a:pt x="0" y="1"/>
                  </a:cubicBezTo>
                  <a:cubicBezTo>
                    <a:pt x="1" y="2"/>
                    <a:pt x="2" y="3"/>
                    <a:pt x="3" y="3"/>
                  </a:cubicBezTo>
                  <a:cubicBezTo>
                    <a:pt x="4" y="3"/>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43"/>
            <p:cNvSpPr/>
            <p:nvPr/>
          </p:nvSpPr>
          <p:spPr bwMode="auto">
            <a:xfrm>
              <a:off x="8081913" y="5658980"/>
              <a:ext cx="9886" cy="9886"/>
            </a:xfrm>
            <a:custGeom>
              <a:gdLst>
                <a:gd name="T0" fmla="*/ 1 w 3"/>
                <a:gd name="T1" fmla="*/ 0 h 3"/>
                <a:gd name="T2" fmla="*/ 0 w 3"/>
                <a:gd name="T3" fmla="*/ 1 h 3"/>
                <a:gd name="T4" fmla="*/ 3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1" y="0"/>
                    <a:pt x="0" y="0"/>
                    <a:pt x="0" y="1"/>
                  </a:cubicBezTo>
                  <a:cubicBezTo>
                    <a:pt x="1" y="2"/>
                    <a:pt x="2" y="2"/>
                    <a:pt x="3"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44"/>
            <p:cNvSpPr/>
            <p:nvPr/>
          </p:nvSpPr>
          <p:spPr bwMode="auto">
            <a:xfrm>
              <a:off x="8022598" y="5605313"/>
              <a:ext cx="9886" cy="9886"/>
            </a:xfrm>
            <a:custGeom>
              <a:gdLst>
                <a:gd name="T0" fmla="*/ 1 w 3"/>
                <a:gd name="T1" fmla="*/ 0 h 3"/>
                <a:gd name="T2" fmla="*/ 0 w 3"/>
                <a:gd name="T3" fmla="*/ 3 h 3"/>
                <a:gd name="T4" fmla="*/ 3 w 3"/>
                <a:gd name="T5" fmla="*/ 2 h 3"/>
                <a:gd name="T6" fmla="*/ 1 w 3"/>
                <a:gd name="T7" fmla="*/ 0 h 3"/>
              </a:gdLst>
              <a:cxnLst>
                <a:cxn ang="0">
                  <a:pos x="T0" y="T1"/>
                </a:cxn>
                <a:cxn ang="0">
                  <a:pos x="T2" y="T3"/>
                </a:cxn>
                <a:cxn ang="0">
                  <a:pos x="T4" y="T5"/>
                </a:cxn>
                <a:cxn ang="0">
                  <a:pos x="T6" y="T7"/>
                </a:cxn>
              </a:cxnLst>
              <a:rect l="0" t="0" r="r" b="b"/>
              <a:pathLst>
                <a:path w="3" h="3">
                  <a:moveTo>
                    <a:pt x="1" y="0"/>
                  </a:moveTo>
                  <a:cubicBezTo>
                    <a:pt x="0" y="0"/>
                    <a:pt x="0" y="1"/>
                    <a:pt x="0" y="3"/>
                  </a:cubicBezTo>
                  <a:cubicBezTo>
                    <a:pt x="1" y="3"/>
                    <a:pt x="2" y="2"/>
                    <a:pt x="3" y="2"/>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45"/>
            <p:cNvSpPr/>
            <p:nvPr/>
          </p:nvSpPr>
          <p:spPr bwMode="auto">
            <a:xfrm>
              <a:off x="8011300" y="6310038"/>
              <a:ext cx="43780" cy="36719"/>
            </a:xfrm>
            <a:custGeom>
              <a:gdLst>
                <a:gd name="T0" fmla="*/ 5 w 13"/>
                <a:gd name="T1" fmla="*/ 0 h 11"/>
                <a:gd name="T2" fmla="*/ 8 w 13"/>
                <a:gd name="T3" fmla="*/ 3 h 11"/>
                <a:gd name="T4" fmla="*/ 5 w 13"/>
                <a:gd name="T5" fmla="*/ 5 h 11"/>
                <a:gd name="T6" fmla="*/ 3 w 13"/>
                <a:gd name="T7" fmla="*/ 5 h 11"/>
                <a:gd name="T8" fmla="*/ 0 w 13"/>
                <a:gd name="T9" fmla="*/ 5 h 11"/>
                <a:gd name="T10" fmla="*/ 3 w 13"/>
                <a:gd name="T11" fmla="*/ 9 h 11"/>
                <a:gd name="T12" fmla="*/ 4 w 13"/>
                <a:gd name="T13" fmla="*/ 11 h 11"/>
                <a:gd name="T14" fmla="*/ 6 w 13"/>
                <a:gd name="T15" fmla="*/ 11 h 11"/>
                <a:gd name="T16" fmla="*/ 7 w 13"/>
                <a:gd name="T17" fmla="*/ 10 h 11"/>
                <a:gd name="T18" fmla="*/ 8 w 13"/>
                <a:gd name="T19" fmla="*/ 9 h 11"/>
                <a:gd name="T20" fmla="*/ 10 w 13"/>
                <a:gd name="T21" fmla="*/ 9 h 11"/>
                <a:gd name="T22" fmla="*/ 12 w 13"/>
                <a:gd name="T23" fmla="*/ 11 h 11"/>
                <a:gd name="T24" fmla="*/ 11 w 13"/>
                <a:gd name="T25" fmla="*/ 7 h 11"/>
                <a:gd name="T26" fmla="*/ 12 w 13"/>
                <a:gd name="T27" fmla="*/ 4 h 11"/>
                <a:gd name="T28" fmla="*/ 5 w 13"/>
                <a:gd name="T29"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1">
                  <a:moveTo>
                    <a:pt x="5" y="0"/>
                  </a:moveTo>
                  <a:cubicBezTo>
                    <a:pt x="6" y="1"/>
                    <a:pt x="7" y="2"/>
                    <a:pt x="8" y="3"/>
                  </a:cubicBezTo>
                  <a:cubicBezTo>
                    <a:pt x="7" y="4"/>
                    <a:pt x="6" y="4"/>
                    <a:pt x="5" y="5"/>
                  </a:cubicBezTo>
                  <a:cubicBezTo>
                    <a:pt x="4" y="5"/>
                    <a:pt x="4" y="5"/>
                    <a:pt x="3" y="5"/>
                  </a:cubicBezTo>
                  <a:cubicBezTo>
                    <a:pt x="2" y="5"/>
                    <a:pt x="1" y="5"/>
                    <a:pt x="0" y="5"/>
                  </a:cubicBezTo>
                  <a:cubicBezTo>
                    <a:pt x="0" y="6"/>
                    <a:pt x="2" y="8"/>
                    <a:pt x="3" y="9"/>
                  </a:cubicBezTo>
                  <a:cubicBezTo>
                    <a:pt x="4" y="11"/>
                    <a:pt x="4" y="11"/>
                    <a:pt x="4" y="11"/>
                  </a:cubicBezTo>
                  <a:cubicBezTo>
                    <a:pt x="5" y="11"/>
                    <a:pt x="5" y="11"/>
                    <a:pt x="6" y="11"/>
                  </a:cubicBezTo>
                  <a:cubicBezTo>
                    <a:pt x="7" y="10"/>
                    <a:pt x="7" y="10"/>
                    <a:pt x="7" y="10"/>
                  </a:cubicBezTo>
                  <a:cubicBezTo>
                    <a:pt x="8" y="9"/>
                    <a:pt x="8" y="9"/>
                    <a:pt x="8" y="9"/>
                  </a:cubicBezTo>
                  <a:cubicBezTo>
                    <a:pt x="9" y="9"/>
                    <a:pt x="9" y="9"/>
                    <a:pt x="10" y="9"/>
                  </a:cubicBezTo>
                  <a:cubicBezTo>
                    <a:pt x="11" y="9"/>
                    <a:pt x="11" y="9"/>
                    <a:pt x="12" y="11"/>
                  </a:cubicBezTo>
                  <a:cubicBezTo>
                    <a:pt x="13" y="9"/>
                    <a:pt x="12" y="9"/>
                    <a:pt x="11" y="7"/>
                  </a:cubicBezTo>
                  <a:cubicBezTo>
                    <a:pt x="11" y="6"/>
                    <a:pt x="12" y="5"/>
                    <a:pt x="12" y="4"/>
                  </a:cubicBezTo>
                  <a:cubicBezTo>
                    <a:pt x="11" y="2"/>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46"/>
            <p:cNvSpPr/>
            <p:nvPr/>
          </p:nvSpPr>
          <p:spPr bwMode="auto">
            <a:xfrm>
              <a:off x="8064966" y="6571308"/>
              <a:ext cx="14123" cy="5649"/>
            </a:xfrm>
            <a:custGeom>
              <a:gdLst>
                <a:gd name="T0" fmla="*/ 3 w 4"/>
                <a:gd name="T1" fmla="*/ 0 h 2"/>
                <a:gd name="T2" fmla="*/ 0 w 4"/>
                <a:gd name="T3" fmla="*/ 2 h 2"/>
                <a:gd name="T4" fmla="*/ 4 w 4"/>
                <a:gd name="T5" fmla="*/ 0 h 2"/>
                <a:gd name="T6" fmla="*/ 3 w 4"/>
                <a:gd name="T7" fmla="*/ 0 h 2"/>
              </a:gdLst>
              <a:cxnLst>
                <a:cxn ang="0">
                  <a:pos x="T0" y="T1"/>
                </a:cxn>
                <a:cxn ang="0">
                  <a:pos x="T2" y="T3"/>
                </a:cxn>
                <a:cxn ang="0">
                  <a:pos x="T4" y="T5"/>
                </a:cxn>
                <a:cxn ang="0">
                  <a:pos x="T6" y="T7"/>
                </a:cxn>
              </a:cxnLst>
              <a:rect l="0" t="0" r="r" b="b"/>
              <a:pathLst>
                <a:path w="4" h="2">
                  <a:moveTo>
                    <a:pt x="3" y="0"/>
                  </a:moveTo>
                  <a:cubicBezTo>
                    <a:pt x="1" y="0"/>
                    <a:pt x="0" y="1"/>
                    <a:pt x="0" y="2"/>
                  </a:cubicBezTo>
                  <a:cubicBezTo>
                    <a:pt x="1" y="1"/>
                    <a:pt x="2"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47"/>
            <p:cNvSpPr>
              <a:spLocks noEditPoints="1"/>
            </p:cNvSpPr>
            <p:nvPr/>
          </p:nvSpPr>
          <p:spPr bwMode="auto">
            <a:xfrm>
              <a:off x="8022598" y="6517642"/>
              <a:ext cx="125692" cy="66377"/>
            </a:xfrm>
            <a:custGeom>
              <a:gdLst>
                <a:gd name="T0" fmla="*/ 28 w 38"/>
                <a:gd name="T1" fmla="*/ 12 h 20"/>
                <a:gd name="T2" fmla="*/ 28 w 38"/>
                <a:gd name="T3" fmla="*/ 12 h 20"/>
                <a:gd name="T4" fmla="*/ 28 w 38"/>
                <a:gd name="T5" fmla="*/ 12 h 20"/>
                <a:gd name="T6" fmla="*/ 2 w 38"/>
                <a:gd name="T7" fmla="*/ 0 h 20"/>
                <a:gd name="T8" fmla="*/ 1 w 38"/>
                <a:gd name="T9" fmla="*/ 0 h 20"/>
                <a:gd name="T10" fmla="*/ 6 w 38"/>
                <a:gd name="T11" fmla="*/ 7 h 20"/>
                <a:gd name="T12" fmla="*/ 11 w 38"/>
                <a:gd name="T13" fmla="*/ 11 h 20"/>
                <a:gd name="T14" fmla="*/ 13 w 38"/>
                <a:gd name="T15" fmla="*/ 11 h 20"/>
                <a:gd name="T16" fmla="*/ 21 w 38"/>
                <a:gd name="T17" fmla="*/ 10 h 20"/>
                <a:gd name="T18" fmla="*/ 27 w 38"/>
                <a:gd name="T19" fmla="*/ 18 h 20"/>
                <a:gd name="T20" fmla="*/ 38 w 38"/>
                <a:gd name="T21" fmla="*/ 20 h 20"/>
                <a:gd name="T22" fmla="*/ 34 w 38"/>
                <a:gd name="T23" fmla="*/ 17 h 20"/>
                <a:gd name="T24" fmla="*/ 34 w 38"/>
                <a:gd name="T25" fmla="*/ 17 h 20"/>
                <a:gd name="T26" fmla="*/ 34 w 38"/>
                <a:gd name="T27" fmla="*/ 17 h 20"/>
                <a:gd name="T28" fmla="*/ 33 w 38"/>
                <a:gd name="T29" fmla="*/ 17 h 20"/>
                <a:gd name="T30" fmla="*/ 33 w 38"/>
                <a:gd name="T31" fmla="*/ 17 h 20"/>
                <a:gd name="T32" fmla="*/ 33 w 38"/>
                <a:gd name="T33" fmla="*/ 15 h 20"/>
                <a:gd name="T34" fmla="*/ 31 w 38"/>
                <a:gd name="T35" fmla="*/ 13 h 20"/>
                <a:gd name="T36" fmla="*/ 31 w 38"/>
                <a:gd name="T37" fmla="*/ 13 h 20"/>
                <a:gd name="T38" fmla="*/ 29 w 38"/>
                <a:gd name="T39" fmla="*/ 16 h 20"/>
                <a:gd name="T40" fmla="*/ 28 w 38"/>
                <a:gd name="T41" fmla="*/ 12 h 20"/>
                <a:gd name="T42" fmla="*/ 28 w 38"/>
                <a:gd name="T43" fmla="*/ 12 h 20"/>
                <a:gd name="T44" fmla="*/ 28 w 38"/>
                <a:gd name="T45" fmla="*/ 11 h 20"/>
                <a:gd name="T46" fmla="*/ 27 w 38"/>
                <a:gd name="T47" fmla="*/ 11 h 20"/>
                <a:gd name="T48" fmla="*/ 27 w 38"/>
                <a:gd name="T49" fmla="*/ 11 h 20"/>
                <a:gd name="T50" fmla="*/ 27 w 38"/>
                <a:gd name="T51" fmla="*/ 10 h 20"/>
                <a:gd name="T52" fmla="*/ 26 w 38"/>
                <a:gd name="T53" fmla="*/ 11 h 20"/>
                <a:gd name="T54" fmla="*/ 25 w 38"/>
                <a:gd name="T55" fmla="*/ 11 h 20"/>
                <a:gd name="T56" fmla="*/ 25 w 38"/>
                <a:gd name="T57" fmla="*/ 11 h 20"/>
                <a:gd name="T58" fmla="*/ 22 w 38"/>
                <a:gd name="T59" fmla="*/ 10 h 20"/>
                <a:gd name="T60" fmla="*/ 20 w 38"/>
                <a:gd name="T61" fmla="*/ 9 h 20"/>
                <a:gd name="T62" fmla="*/ 19 w 38"/>
                <a:gd name="T63" fmla="*/ 9 h 20"/>
                <a:gd name="T64" fmla="*/ 19 w 38"/>
                <a:gd name="T65" fmla="*/ 9 h 20"/>
                <a:gd name="T66" fmla="*/ 18 w 38"/>
                <a:gd name="T67" fmla="*/ 8 h 20"/>
                <a:gd name="T68" fmla="*/ 16 w 38"/>
                <a:gd name="T69" fmla="*/ 7 h 20"/>
                <a:gd name="T70" fmla="*/ 14 w 38"/>
                <a:gd name="T71" fmla="*/ 7 h 20"/>
                <a:gd name="T72" fmla="*/ 9 w 38"/>
                <a:gd name="T73" fmla="*/ 6 h 20"/>
                <a:gd name="T74" fmla="*/ 8 w 38"/>
                <a:gd name="T75" fmla="*/ 4 h 20"/>
                <a:gd name="T76" fmla="*/ 7 w 38"/>
                <a:gd name="T77" fmla="*/ 3 h 20"/>
                <a:gd name="T78" fmla="*/ 4 w 38"/>
                <a:gd name="T79" fmla="*/ 1 h 20"/>
                <a:gd name="T80" fmla="*/ 2 w 38"/>
                <a:gd name="T81"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 h="20">
                  <a:moveTo>
                    <a:pt x="28" y="12"/>
                  </a:moveTo>
                  <a:cubicBezTo>
                    <a:pt x="28" y="12"/>
                    <a:pt x="28" y="12"/>
                    <a:pt x="28" y="12"/>
                  </a:cubicBezTo>
                  <a:cubicBezTo>
                    <a:pt x="28" y="12"/>
                    <a:pt x="28" y="12"/>
                    <a:pt x="28" y="12"/>
                  </a:cubicBezTo>
                  <a:moveTo>
                    <a:pt x="2" y="0"/>
                  </a:moveTo>
                  <a:cubicBezTo>
                    <a:pt x="2" y="0"/>
                    <a:pt x="2" y="0"/>
                    <a:pt x="1" y="0"/>
                  </a:cubicBezTo>
                  <a:cubicBezTo>
                    <a:pt x="0" y="1"/>
                    <a:pt x="5" y="6"/>
                    <a:pt x="6" y="7"/>
                  </a:cubicBezTo>
                  <a:cubicBezTo>
                    <a:pt x="8" y="8"/>
                    <a:pt x="9" y="11"/>
                    <a:pt x="11" y="11"/>
                  </a:cubicBezTo>
                  <a:cubicBezTo>
                    <a:pt x="11" y="11"/>
                    <a:pt x="12" y="11"/>
                    <a:pt x="13" y="11"/>
                  </a:cubicBezTo>
                  <a:cubicBezTo>
                    <a:pt x="15" y="11"/>
                    <a:pt x="20" y="11"/>
                    <a:pt x="21" y="10"/>
                  </a:cubicBezTo>
                  <a:cubicBezTo>
                    <a:pt x="23" y="12"/>
                    <a:pt x="25" y="16"/>
                    <a:pt x="27" y="18"/>
                  </a:cubicBezTo>
                  <a:cubicBezTo>
                    <a:pt x="30" y="20"/>
                    <a:pt x="35" y="20"/>
                    <a:pt x="38" y="20"/>
                  </a:cubicBezTo>
                  <a:cubicBezTo>
                    <a:pt x="37" y="19"/>
                    <a:pt x="36" y="18"/>
                    <a:pt x="34" y="17"/>
                  </a:cubicBezTo>
                  <a:cubicBezTo>
                    <a:pt x="34" y="17"/>
                    <a:pt x="34" y="17"/>
                    <a:pt x="34" y="17"/>
                  </a:cubicBezTo>
                  <a:cubicBezTo>
                    <a:pt x="34" y="17"/>
                    <a:pt x="34" y="17"/>
                    <a:pt x="34" y="17"/>
                  </a:cubicBezTo>
                  <a:cubicBezTo>
                    <a:pt x="33" y="17"/>
                    <a:pt x="33" y="17"/>
                    <a:pt x="33" y="17"/>
                  </a:cubicBezTo>
                  <a:cubicBezTo>
                    <a:pt x="33" y="17"/>
                    <a:pt x="33" y="17"/>
                    <a:pt x="33" y="17"/>
                  </a:cubicBezTo>
                  <a:cubicBezTo>
                    <a:pt x="32" y="17"/>
                    <a:pt x="33" y="16"/>
                    <a:pt x="33" y="15"/>
                  </a:cubicBezTo>
                  <a:cubicBezTo>
                    <a:pt x="31" y="13"/>
                    <a:pt x="31" y="13"/>
                    <a:pt x="31" y="13"/>
                  </a:cubicBezTo>
                  <a:cubicBezTo>
                    <a:pt x="31" y="13"/>
                    <a:pt x="31" y="13"/>
                    <a:pt x="31" y="13"/>
                  </a:cubicBezTo>
                  <a:cubicBezTo>
                    <a:pt x="29" y="13"/>
                    <a:pt x="30" y="15"/>
                    <a:pt x="29" y="16"/>
                  </a:cubicBezTo>
                  <a:cubicBezTo>
                    <a:pt x="28" y="15"/>
                    <a:pt x="29" y="14"/>
                    <a:pt x="28" y="12"/>
                  </a:cubicBezTo>
                  <a:cubicBezTo>
                    <a:pt x="28" y="12"/>
                    <a:pt x="28" y="12"/>
                    <a:pt x="28" y="12"/>
                  </a:cubicBezTo>
                  <a:cubicBezTo>
                    <a:pt x="28" y="12"/>
                    <a:pt x="28" y="12"/>
                    <a:pt x="28" y="11"/>
                  </a:cubicBezTo>
                  <a:cubicBezTo>
                    <a:pt x="27" y="11"/>
                    <a:pt x="27" y="11"/>
                    <a:pt x="27" y="11"/>
                  </a:cubicBezTo>
                  <a:cubicBezTo>
                    <a:pt x="27" y="11"/>
                    <a:pt x="27" y="11"/>
                    <a:pt x="27" y="11"/>
                  </a:cubicBezTo>
                  <a:cubicBezTo>
                    <a:pt x="27" y="10"/>
                    <a:pt x="27" y="10"/>
                    <a:pt x="27" y="10"/>
                  </a:cubicBezTo>
                  <a:cubicBezTo>
                    <a:pt x="26" y="10"/>
                    <a:pt x="26" y="11"/>
                    <a:pt x="26" y="11"/>
                  </a:cubicBezTo>
                  <a:cubicBezTo>
                    <a:pt x="25" y="11"/>
                    <a:pt x="25" y="11"/>
                    <a:pt x="25" y="11"/>
                  </a:cubicBezTo>
                  <a:cubicBezTo>
                    <a:pt x="25" y="11"/>
                    <a:pt x="25" y="11"/>
                    <a:pt x="25" y="11"/>
                  </a:cubicBezTo>
                  <a:cubicBezTo>
                    <a:pt x="24" y="11"/>
                    <a:pt x="23" y="10"/>
                    <a:pt x="22" y="10"/>
                  </a:cubicBezTo>
                  <a:cubicBezTo>
                    <a:pt x="22" y="10"/>
                    <a:pt x="21" y="9"/>
                    <a:pt x="20" y="9"/>
                  </a:cubicBezTo>
                  <a:cubicBezTo>
                    <a:pt x="21" y="9"/>
                    <a:pt x="20" y="9"/>
                    <a:pt x="19" y="9"/>
                  </a:cubicBezTo>
                  <a:cubicBezTo>
                    <a:pt x="19" y="9"/>
                    <a:pt x="19" y="9"/>
                    <a:pt x="19" y="9"/>
                  </a:cubicBezTo>
                  <a:cubicBezTo>
                    <a:pt x="18" y="9"/>
                    <a:pt x="19" y="8"/>
                    <a:pt x="18" y="8"/>
                  </a:cubicBezTo>
                  <a:cubicBezTo>
                    <a:pt x="18" y="7"/>
                    <a:pt x="17" y="7"/>
                    <a:pt x="16" y="7"/>
                  </a:cubicBezTo>
                  <a:cubicBezTo>
                    <a:pt x="15" y="7"/>
                    <a:pt x="15" y="7"/>
                    <a:pt x="14" y="7"/>
                  </a:cubicBezTo>
                  <a:cubicBezTo>
                    <a:pt x="14" y="6"/>
                    <a:pt x="10" y="7"/>
                    <a:pt x="9" y="6"/>
                  </a:cubicBezTo>
                  <a:cubicBezTo>
                    <a:pt x="9" y="6"/>
                    <a:pt x="8" y="4"/>
                    <a:pt x="8" y="4"/>
                  </a:cubicBezTo>
                  <a:cubicBezTo>
                    <a:pt x="7" y="3"/>
                    <a:pt x="7" y="3"/>
                    <a:pt x="7" y="3"/>
                  </a:cubicBezTo>
                  <a:cubicBezTo>
                    <a:pt x="6" y="3"/>
                    <a:pt x="6" y="2"/>
                    <a:pt x="4" y="1"/>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48"/>
            <p:cNvSpPr/>
            <p:nvPr/>
          </p:nvSpPr>
          <p:spPr bwMode="auto">
            <a:xfrm>
              <a:off x="8072027" y="5695699"/>
              <a:ext cx="9886" cy="7061"/>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0" y="1"/>
                    <a:pt x="1"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49"/>
            <p:cNvSpPr/>
            <p:nvPr/>
          </p:nvSpPr>
          <p:spPr bwMode="auto">
            <a:xfrm>
              <a:off x="8105922" y="6584019"/>
              <a:ext cx="120043" cy="80500"/>
            </a:xfrm>
            <a:custGeom>
              <a:gdLst>
                <a:gd name="T0" fmla="*/ 15 w 36"/>
                <a:gd name="T1" fmla="*/ 0 h 24"/>
                <a:gd name="T2" fmla="*/ 11 w 36"/>
                <a:gd name="T3" fmla="*/ 4 h 24"/>
                <a:gd name="T4" fmla="*/ 10 w 36"/>
                <a:gd name="T5" fmla="*/ 4 h 24"/>
                <a:gd name="T6" fmla="*/ 7 w 36"/>
                <a:gd name="T7" fmla="*/ 3 h 24"/>
                <a:gd name="T8" fmla="*/ 14 w 36"/>
                <a:gd name="T9" fmla="*/ 8 h 24"/>
                <a:gd name="T10" fmla="*/ 15 w 36"/>
                <a:gd name="T11" fmla="*/ 7 h 24"/>
                <a:gd name="T12" fmla="*/ 15 w 36"/>
                <a:gd name="T13" fmla="*/ 7 h 24"/>
                <a:gd name="T14" fmla="*/ 16 w 36"/>
                <a:gd name="T15" fmla="*/ 9 h 24"/>
                <a:gd name="T16" fmla="*/ 14 w 36"/>
                <a:gd name="T17" fmla="*/ 10 h 24"/>
                <a:gd name="T18" fmla="*/ 9 w 36"/>
                <a:gd name="T19" fmla="*/ 8 h 24"/>
                <a:gd name="T20" fmla="*/ 6 w 36"/>
                <a:gd name="T21" fmla="*/ 6 h 24"/>
                <a:gd name="T22" fmla="*/ 3 w 36"/>
                <a:gd name="T23" fmla="*/ 7 h 24"/>
                <a:gd name="T24" fmla="*/ 5 w 36"/>
                <a:gd name="T25" fmla="*/ 12 h 24"/>
                <a:gd name="T26" fmla="*/ 6 w 36"/>
                <a:gd name="T27" fmla="*/ 11 h 24"/>
                <a:gd name="T28" fmla="*/ 10 w 36"/>
                <a:gd name="T29" fmla="*/ 11 h 24"/>
                <a:gd name="T30" fmla="*/ 9 w 36"/>
                <a:gd name="T31" fmla="*/ 16 h 24"/>
                <a:gd name="T32" fmla="*/ 9 w 36"/>
                <a:gd name="T33" fmla="*/ 19 h 24"/>
                <a:gd name="T34" fmla="*/ 14 w 36"/>
                <a:gd name="T35" fmla="*/ 16 h 24"/>
                <a:gd name="T36" fmla="*/ 15 w 36"/>
                <a:gd name="T37" fmla="*/ 15 h 24"/>
                <a:gd name="T38" fmla="*/ 17 w 36"/>
                <a:gd name="T39" fmla="*/ 15 h 24"/>
                <a:gd name="T40" fmla="*/ 19 w 36"/>
                <a:gd name="T41" fmla="*/ 16 h 24"/>
                <a:gd name="T42" fmla="*/ 20 w 36"/>
                <a:gd name="T43" fmla="*/ 15 h 24"/>
                <a:gd name="T44" fmla="*/ 20 w 36"/>
                <a:gd name="T45" fmla="*/ 15 h 24"/>
                <a:gd name="T46" fmla="*/ 24 w 36"/>
                <a:gd name="T47" fmla="*/ 16 h 24"/>
                <a:gd name="T48" fmla="*/ 20 w 36"/>
                <a:gd name="T49" fmla="*/ 18 h 24"/>
                <a:gd name="T50" fmla="*/ 18 w 36"/>
                <a:gd name="T51" fmla="*/ 21 h 24"/>
                <a:gd name="T52" fmla="*/ 16 w 36"/>
                <a:gd name="T53" fmla="*/ 22 h 24"/>
                <a:gd name="T54" fmla="*/ 20 w 36"/>
                <a:gd name="T55" fmla="*/ 24 h 24"/>
                <a:gd name="T56" fmla="*/ 25 w 36"/>
                <a:gd name="T57" fmla="*/ 21 h 24"/>
                <a:gd name="T58" fmla="*/ 26 w 36"/>
                <a:gd name="T59" fmla="*/ 23 h 24"/>
                <a:gd name="T60" fmla="*/ 28 w 36"/>
                <a:gd name="T61" fmla="*/ 20 h 24"/>
                <a:gd name="T62" fmla="*/ 31 w 36"/>
                <a:gd name="T63" fmla="*/ 21 h 24"/>
                <a:gd name="T64" fmla="*/ 31 w 36"/>
                <a:gd name="T65" fmla="*/ 21 h 24"/>
                <a:gd name="T66" fmla="*/ 30 w 36"/>
                <a:gd name="T67" fmla="*/ 17 h 24"/>
                <a:gd name="T68" fmla="*/ 31 w 36"/>
                <a:gd name="T69" fmla="*/ 17 h 24"/>
                <a:gd name="T70" fmla="*/ 31 w 36"/>
                <a:gd name="T71" fmla="*/ 15 h 24"/>
                <a:gd name="T72" fmla="*/ 31 w 36"/>
                <a:gd name="T73" fmla="*/ 15 h 24"/>
                <a:gd name="T74" fmla="*/ 32 w 36"/>
                <a:gd name="T75" fmla="*/ 15 h 24"/>
                <a:gd name="T76" fmla="*/ 32 w 36"/>
                <a:gd name="T77" fmla="*/ 16 h 24"/>
                <a:gd name="T78" fmla="*/ 34 w 36"/>
                <a:gd name="T79" fmla="*/ 15 h 24"/>
                <a:gd name="T80" fmla="*/ 36 w 36"/>
                <a:gd name="T81" fmla="*/ 14 h 24"/>
                <a:gd name="T82" fmla="*/ 31 w 36"/>
                <a:gd name="T83" fmla="*/ 10 h 24"/>
                <a:gd name="T84" fmla="*/ 30 w 36"/>
                <a:gd name="T85" fmla="*/ 11 h 24"/>
                <a:gd name="T86" fmla="*/ 29 w 36"/>
                <a:gd name="T87" fmla="*/ 11 h 24"/>
                <a:gd name="T88" fmla="*/ 29 w 36"/>
                <a:gd name="T89" fmla="*/ 7 h 24"/>
                <a:gd name="T90" fmla="*/ 26 w 36"/>
                <a:gd name="T91" fmla="*/ 6 h 24"/>
                <a:gd name="T92" fmla="*/ 22 w 36"/>
                <a:gd name="T93" fmla="*/ 6 h 24"/>
                <a:gd name="T94" fmla="*/ 20 w 36"/>
                <a:gd name="T95" fmla="*/ 3 h 24"/>
                <a:gd name="T96" fmla="*/ 18 w 36"/>
                <a:gd name="T97" fmla="*/ 3 h 24"/>
                <a:gd name="T98" fmla="*/ 16 w 36"/>
                <a:gd name="T99" fmla="*/ 1 h 24"/>
                <a:gd name="T100" fmla="*/ 16 w 36"/>
                <a:gd name="T101" fmla="*/ 1 h 24"/>
                <a:gd name="T102" fmla="*/ 15 w 36"/>
                <a:gd name="T103"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 h="24">
                  <a:moveTo>
                    <a:pt x="15" y="0"/>
                  </a:moveTo>
                  <a:cubicBezTo>
                    <a:pt x="14" y="0"/>
                    <a:pt x="11" y="4"/>
                    <a:pt x="11" y="4"/>
                  </a:cubicBezTo>
                  <a:cubicBezTo>
                    <a:pt x="11" y="4"/>
                    <a:pt x="10" y="4"/>
                    <a:pt x="10" y="4"/>
                  </a:cubicBezTo>
                  <a:cubicBezTo>
                    <a:pt x="9" y="4"/>
                    <a:pt x="8" y="3"/>
                    <a:pt x="7" y="3"/>
                  </a:cubicBezTo>
                  <a:cubicBezTo>
                    <a:pt x="9" y="5"/>
                    <a:pt x="12" y="8"/>
                    <a:pt x="14" y="8"/>
                  </a:cubicBezTo>
                  <a:cubicBezTo>
                    <a:pt x="14" y="8"/>
                    <a:pt x="15" y="7"/>
                    <a:pt x="15" y="7"/>
                  </a:cubicBezTo>
                  <a:cubicBezTo>
                    <a:pt x="15" y="7"/>
                    <a:pt x="15" y="7"/>
                    <a:pt x="15" y="7"/>
                  </a:cubicBezTo>
                  <a:cubicBezTo>
                    <a:pt x="17" y="7"/>
                    <a:pt x="17" y="8"/>
                    <a:pt x="16" y="9"/>
                  </a:cubicBezTo>
                  <a:cubicBezTo>
                    <a:pt x="15" y="10"/>
                    <a:pt x="14" y="10"/>
                    <a:pt x="14" y="10"/>
                  </a:cubicBezTo>
                  <a:cubicBezTo>
                    <a:pt x="12" y="10"/>
                    <a:pt x="10" y="9"/>
                    <a:pt x="9" y="8"/>
                  </a:cubicBezTo>
                  <a:cubicBezTo>
                    <a:pt x="8" y="7"/>
                    <a:pt x="7" y="6"/>
                    <a:pt x="6" y="6"/>
                  </a:cubicBezTo>
                  <a:cubicBezTo>
                    <a:pt x="3" y="7"/>
                    <a:pt x="3" y="7"/>
                    <a:pt x="3" y="7"/>
                  </a:cubicBezTo>
                  <a:cubicBezTo>
                    <a:pt x="0" y="9"/>
                    <a:pt x="3" y="12"/>
                    <a:pt x="5" y="12"/>
                  </a:cubicBezTo>
                  <a:cubicBezTo>
                    <a:pt x="5" y="12"/>
                    <a:pt x="6" y="12"/>
                    <a:pt x="6" y="11"/>
                  </a:cubicBezTo>
                  <a:cubicBezTo>
                    <a:pt x="7" y="11"/>
                    <a:pt x="9" y="11"/>
                    <a:pt x="10" y="11"/>
                  </a:cubicBezTo>
                  <a:cubicBezTo>
                    <a:pt x="10" y="12"/>
                    <a:pt x="10" y="14"/>
                    <a:pt x="9" y="16"/>
                  </a:cubicBezTo>
                  <a:cubicBezTo>
                    <a:pt x="9" y="17"/>
                    <a:pt x="11" y="18"/>
                    <a:pt x="9" y="19"/>
                  </a:cubicBezTo>
                  <a:cubicBezTo>
                    <a:pt x="11" y="18"/>
                    <a:pt x="13" y="18"/>
                    <a:pt x="14" y="16"/>
                  </a:cubicBezTo>
                  <a:cubicBezTo>
                    <a:pt x="15" y="15"/>
                    <a:pt x="15" y="15"/>
                    <a:pt x="15" y="15"/>
                  </a:cubicBezTo>
                  <a:cubicBezTo>
                    <a:pt x="15" y="15"/>
                    <a:pt x="16" y="15"/>
                    <a:pt x="17" y="15"/>
                  </a:cubicBezTo>
                  <a:cubicBezTo>
                    <a:pt x="17" y="15"/>
                    <a:pt x="18" y="16"/>
                    <a:pt x="19" y="16"/>
                  </a:cubicBezTo>
                  <a:cubicBezTo>
                    <a:pt x="19" y="16"/>
                    <a:pt x="20" y="15"/>
                    <a:pt x="20" y="15"/>
                  </a:cubicBezTo>
                  <a:cubicBezTo>
                    <a:pt x="20" y="15"/>
                    <a:pt x="20" y="15"/>
                    <a:pt x="20" y="15"/>
                  </a:cubicBezTo>
                  <a:cubicBezTo>
                    <a:pt x="22" y="15"/>
                    <a:pt x="22" y="15"/>
                    <a:pt x="24" y="16"/>
                  </a:cubicBezTo>
                  <a:cubicBezTo>
                    <a:pt x="23" y="17"/>
                    <a:pt x="21" y="17"/>
                    <a:pt x="20" y="18"/>
                  </a:cubicBezTo>
                  <a:cubicBezTo>
                    <a:pt x="20" y="19"/>
                    <a:pt x="19" y="20"/>
                    <a:pt x="18" y="21"/>
                  </a:cubicBezTo>
                  <a:cubicBezTo>
                    <a:pt x="18" y="22"/>
                    <a:pt x="17" y="22"/>
                    <a:pt x="16" y="22"/>
                  </a:cubicBezTo>
                  <a:cubicBezTo>
                    <a:pt x="17" y="23"/>
                    <a:pt x="19" y="24"/>
                    <a:pt x="20" y="24"/>
                  </a:cubicBezTo>
                  <a:cubicBezTo>
                    <a:pt x="23" y="23"/>
                    <a:pt x="23" y="23"/>
                    <a:pt x="25" y="21"/>
                  </a:cubicBezTo>
                  <a:cubicBezTo>
                    <a:pt x="25" y="22"/>
                    <a:pt x="26" y="23"/>
                    <a:pt x="26" y="23"/>
                  </a:cubicBezTo>
                  <a:cubicBezTo>
                    <a:pt x="27" y="23"/>
                    <a:pt x="27" y="21"/>
                    <a:pt x="28" y="20"/>
                  </a:cubicBezTo>
                  <a:cubicBezTo>
                    <a:pt x="29" y="20"/>
                    <a:pt x="29" y="21"/>
                    <a:pt x="31" y="21"/>
                  </a:cubicBezTo>
                  <a:cubicBezTo>
                    <a:pt x="31" y="21"/>
                    <a:pt x="31" y="21"/>
                    <a:pt x="31" y="21"/>
                  </a:cubicBezTo>
                  <a:cubicBezTo>
                    <a:pt x="34" y="21"/>
                    <a:pt x="30" y="18"/>
                    <a:pt x="30" y="17"/>
                  </a:cubicBezTo>
                  <a:cubicBezTo>
                    <a:pt x="30" y="17"/>
                    <a:pt x="31" y="17"/>
                    <a:pt x="31" y="17"/>
                  </a:cubicBezTo>
                  <a:cubicBezTo>
                    <a:pt x="32" y="17"/>
                    <a:pt x="31" y="16"/>
                    <a:pt x="31" y="15"/>
                  </a:cubicBezTo>
                  <a:cubicBezTo>
                    <a:pt x="31" y="15"/>
                    <a:pt x="31" y="15"/>
                    <a:pt x="31" y="15"/>
                  </a:cubicBezTo>
                  <a:cubicBezTo>
                    <a:pt x="31" y="15"/>
                    <a:pt x="32" y="15"/>
                    <a:pt x="32" y="15"/>
                  </a:cubicBezTo>
                  <a:cubicBezTo>
                    <a:pt x="32" y="16"/>
                    <a:pt x="32" y="16"/>
                    <a:pt x="32" y="16"/>
                  </a:cubicBezTo>
                  <a:cubicBezTo>
                    <a:pt x="33" y="16"/>
                    <a:pt x="34" y="16"/>
                    <a:pt x="34" y="15"/>
                  </a:cubicBezTo>
                  <a:cubicBezTo>
                    <a:pt x="35" y="15"/>
                    <a:pt x="35" y="14"/>
                    <a:pt x="36" y="14"/>
                  </a:cubicBezTo>
                  <a:cubicBezTo>
                    <a:pt x="34" y="13"/>
                    <a:pt x="33" y="10"/>
                    <a:pt x="31" y="10"/>
                  </a:cubicBezTo>
                  <a:cubicBezTo>
                    <a:pt x="31" y="10"/>
                    <a:pt x="30" y="11"/>
                    <a:pt x="30" y="11"/>
                  </a:cubicBezTo>
                  <a:cubicBezTo>
                    <a:pt x="29" y="11"/>
                    <a:pt x="29" y="11"/>
                    <a:pt x="29" y="11"/>
                  </a:cubicBezTo>
                  <a:cubicBezTo>
                    <a:pt x="28" y="11"/>
                    <a:pt x="30" y="8"/>
                    <a:pt x="29" y="7"/>
                  </a:cubicBezTo>
                  <a:cubicBezTo>
                    <a:pt x="29" y="6"/>
                    <a:pt x="26" y="6"/>
                    <a:pt x="26" y="6"/>
                  </a:cubicBezTo>
                  <a:cubicBezTo>
                    <a:pt x="25" y="6"/>
                    <a:pt x="22" y="6"/>
                    <a:pt x="22" y="6"/>
                  </a:cubicBezTo>
                  <a:cubicBezTo>
                    <a:pt x="21" y="5"/>
                    <a:pt x="21" y="3"/>
                    <a:pt x="20" y="3"/>
                  </a:cubicBezTo>
                  <a:cubicBezTo>
                    <a:pt x="19" y="3"/>
                    <a:pt x="19" y="3"/>
                    <a:pt x="18" y="3"/>
                  </a:cubicBezTo>
                  <a:cubicBezTo>
                    <a:pt x="19" y="2"/>
                    <a:pt x="17" y="1"/>
                    <a:pt x="16" y="1"/>
                  </a:cubicBezTo>
                  <a:cubicBezTo>
                    <a:pt x="16" y="1"/>
                    <a:pt x="16" y="1"/>
                    <a:pt x="16" y="1"/>
                  </a:cubicBezTo>
                  <a:cubicBezTo>
                    <a:pt x="16" y="1"/>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50"/>
            <p:cNvSpPr/>
            <p:nvPr/>
          </p:nvSpPr>
          <p:spPr bwMode="auto">
            <a:xfrm>
              <a:off x="8069203" y="5766313"/>
              <a:ext cx="29658" cy="12710"/>
            </a:xfrm>
            <a:custGeom>
              <a:gdLst>
                <a:gd name="T0" fmla="*/ 3 w 9"/>
                <a:gd name="T1" fmla="*/ 0 h 4"/>
                <a:gd name="T2" fmla="*/ 1 w 9"/>
                <a:gd name="T3" fmla="*/ 2 h 4"/>
                <a:gd name="T4" fmla="*/ 4 w 9"/>
                <a:gd name="T5" fmla="*/ 4 h 4"/>
                <a:gd name="T6" fmla="*/ 9 w 9"/>
                <a:gd name="T7" fmla="*/ 3 h 4"/>
                <a:gd name="T8" fmla="*/ 3 w 9"/>
                <a:gd name="T9" fmla="*/ 0 h 4"/>
              </a:gdLst>
              <a:cxnLst>
                <a:cxn ang="0">
                  <a:pos x="T0" y="T1"/>
                </a:cxn>
                <a:cxn ang="0">
                  <a:pos x="T2" y="T3"/>
                </a:cxn>
                <a:cxn ang="0">
                  <a:pos x="T4" y="T5"/>
                </a:cxn>
                <a:cxn ang="0">
                  <a:pos x="T6" y="T7"/>
                </a:cxn>
                <a:cxn ang="0">
                  <a:pos x="T8" y="T9"/>
                </a:cxn>
              </a:cxnLst>
              <a:rect l="0" t="0" r="r" b="b"/>
              <a:pathLst>
                <a:path w="9" h="4">
                  <a:moveTo>
                    <a:pt x="3" y="0"/>
                  </a:moveTo>
                  <a:cubicBezTo>
                    <a:pt x="2" y="0"/>
                    <a:pt x="2" y="0"/>
                    <a:pt x="1" y="2"/>
                  </a:cubicBezTo>
                  <a:cubicBezTo>
                    <a:pt x="0" y="3"/>
                    <a:pt x="3" y="4"/>
                    <a:pt x="4" y="4"/>
                  </a:cubicBezTo>
                  <a:cubicBezTo>
                    <a:pt x="6" y="4"/>
                    <a:pt x="8" y="4"/>
                    <a:pt x="9" y="3"/>
                  </a:cubicBezTo>
                  <a:cubicBezTo>
                    <a:pt x="8" y="3"/>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51"/>
            <p:cNvSpPr/>
            <p:nvPr/>
          </p:nvSpPr>
          <p:spPr bwMode="auto">
            <a:xfrm>
              <a:off x="8321999" y="6603791"/>
              <a:ext cx="43780" cy="70614"/>
            </a:xfrm>
            <a:custGeom>
              <a:gdLst>
                <a:gd name="T0" fmla="*/ 10 w 13"/>
                <a:gd name="T1" fmla="*/ 0 h 21"/>
                <a:gd name="T2" fmla="*/ 5 w 13"/>
                <a:gd name="T3" fmla="*/ 4 h 21"/>
                <a:gd name="T4" fmla="*/ 4 w 13"/>
                <a:gd name="T5" fmla="*/ 8 h 21"/>
                <a:gd name="T6" fmla="*/ 3 w 13"/>
                <a:gd name="T7" fmla="*/ 9 h 21"/>
                <a:gd name="T8" fmla="*/ 3 w 13"/>
                <a:gd name="T9" fmla="*/ 9 h 21"/>
                <a:gd name="T10" fmla="*/ 3 w 13"/>
                <a:gd name="T11" fmla="*/ 9 h 21"/>
                <a:gd name="T12" fmla="*/ 2 w 13"/>
                <a:gd name="T13" fmla="*/ 9 h 21"/>
                <a:gd name="T14" fmla="*/ 0 w 13"/>
                <a:gd name="T15" fmla="*/ 14 h 21"/>
                <a:gd name="T16" fmla="*/ 9 w 13"/>
                <a:gd name="T17" fmla="*/ 21 h 21"/>
                <a:gd name="T18" fmla="*/ 7 w 13"/>
                <a:gd name="T19" fmla="*/ 15 h 21"/>
                <a:gd name="T20" fmla="*/ 5 w 13"/>
                <a:gd name="T21" fmla="*/ 12 h 21"/>
                <a:gd name="T22" fmla="*/ 11 w 13"/>
                <a:gd name="T23" fmla="*/ 15 h 21"/>
                <a:gd name="T24" fmla="*/ 12 w 13"/>
                <a:gd name="T25" fmla="*/ 15 h 21"/>
                <a:gd name="T26" fmla="*/ 10 w 13"/>
                <a:gd name="T27" fmla="*/ 9 h 21"/>
                <a:gd name="T28" fmla="*/ 10 w 13"/>
                <a:gd name="T29"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1">
                  <a:moveTo>
                    <a:pt x="10" y="0"/>
                  </a:moveTo>
                  <a:cubicBezTo>
                    <a:pt x="9" y="1"/>
                    <a:pt x="6" y="3"/>
                    <a:pt x="5" y="4"/>
                  </a:cubicBezTo>
                  <a:cubicBezTo>
                    <a:pt x="4" y="5"/>
                    <a:pt x="4" y="7"/>
                    <a:pt x="4" y="8"/>
                  </a:cubicBezTo>
                  <a:cubicBezTo>
                    <a:pt x="4" y="9"/>
                    <a:pt x="4" y="9"/>
                    <a:pt x="3" y="9"/>
                  </a:cubicBezTo>
                  <a:cubicBezTo>
                    <a:pt x="3" y="9"/>
                    <a:pt x="3" y="9"/>
                    <a:pt x="3" y="9"/>
                  </a:cubicBezTo>
                  <a:cubicBezTo>
                    <a:pt x="3" y="9"/>
                    <a:pt x="3" y="9"/>
                    <a:pt x="3" y="9"/>
                  </a:cubicBezTo>
                  <a:cubicBezTo>
                    <a:pt x="3" y="9"/>
                    <a:pt x="3" y="9"/>
                    <a:pt x="2" y="9"/>
                  </a:cubicBezTo>
                  <a:cubicBezTo>
                    <a:pt x="0" y="11"/>
                    <a:pt x="0" y="10"/>
                    <a:pt x="0" y="14"/>
                  </a:cubicBezTo>
                  <a:cubicBezTo>
                    <a:pt x="1" y="18"/>
                    <a:pt x="6" y="20"/>
                    <a:pt x="9" y="21"/>
                  </a:cubicBezTo>
                  <a:cubicBezTo>
                    <a:pt x="9" y="19"/>
                    <a:pt x="8" y="17"/>
                    <a:pt x="7" y="15"/>
                  </a:cubicBezTo>
                  <a:cubicBezTo>
                    <a:pt x="6" y="14"/>
                    <a:pt x="5" y="13"/>
                    <a:pt x="5" y="12"/>
                  </a:cubicBezTo>
                  <a:cubicBezTo>
                    <a:pt x="6" y="12"/>
                    <a:pt x="9" y="15"/>
                    <a:pt x="11" y="15"/>
                  </a:cubicBezTo>
                  <a:cubicBezTo>
                    <a:pt x="12" y="15"/>
                    <a:pt x="12" y="15"/>
                    <a:pt x="12" y="15"/>
                  </a:cubicBezTo>
                  <a:cubicBezTo>
                    <a:pt x="13" y="14"/>
                    <a:pt x="11" y="10"/>
                    <a:pt x="10" y="9"/>
                  </a:cubicBezTo>
                  <a:cubicBezTo>
                    <a:pt x="10" y="6"/>
                    <a:pt x="10"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52"/>
            <p:cNvSpPr/>
            <p:nvPr/>
          </p:nvSpPr>
          <p:spPr bwMode="auto">
            <a:xfrm>
              <a:off x="7964695" y="6106671"/>
              <a:ext cx="90385" cy="134166"/>
            </a:xfrm>
            <a:custGeom>
              <a:gdLst>
                <a:gd name="T0" fmla="*/ 18 w 27"/>
                <a:gd name="T1" fmla="*/ 0 h 40"/>
                <a:gd name="T2" fmla="*/ 15 w 27"/>
                <a:gd name="T3" fmla="*/ 0 h 40"/>
                <a:gd name="T4" fmla="*/ 12 w 27"/>
                <a:gd name="T5" fmla="*/ 4 h 40"/>
                <a:gd name="T6" fmla="*/ 15 w 27"/>
                <a:gd name="T7" fmla="*/ 4 h 40"/>
                <a:gd name="T8" fmla="*/ 11 w 27"/>
                <a:gd name="T9" fmla="*/ 6 h 40"/>
                <a:gd name="T10" fmla="*/ 14 w 27"/>
                <a:gd name="T11" fmla="*/ 7 h 40"/>
                <a:gd name="T12" fmla="*/ 16 w 27"/>
                <a:gd name="T13" fmla="*/ 7 h 40"/>
                <a:gd name="T14" fmla="*/ 13 w 27"/>
                <a:gd name="T15" fmla="*/ 9 h 40"/>
                <a:gd name="T16" fmla="*/ 16 w 27"/>
                <a:gd name="T17" fmla="*/ 12 h 40"/>
                <a:gd name="T18" fmla="*/ 14 w 27"/>
                <a:gd name="T19" fmla="*/ 20 h 40"/>
                <a:gd name="T20" fmla="*/ 10 w 27"/>
                <a:gd name="T21" fmla="*/ 15 h 40"/>
                <a:gd name="T22" fmla="*/ 9 w 27"/>
                <a:gd name="T23" fmla="*/ 18 h 40"/>
                <a:gd name="T24" fmla="*/ 8 w 27"/>
                <a:gd name="T25" fmla="*/ 18 h 40"/>
                <a:gd name="T26" fmla="*/ 7 w 27"/>
                <a:gd name="T27" fmla="*/ 19 h 40"/>
                <a:gd name="T28" fmla="*/ 5 w 27"/>
                <a:gd name="T29" fmla="*/ 17 h 40"/>
                <a:gd name="T30" fmla="*/ 4 w 27"/>
                <a:gd name="T31" fmla="*/ 19 h 40"/>
                <a:gd name="T32" fmla="*/ 2 w 27"/>
                <a:gd name="T33" fmla="*/ 17 h 40"/>
                <a:gd name="T34" fmla="*/ 2 w 27"/>
                <a:gd name="T35" fmla="*/ 17 h 40"/>
                <a:gd name="T36" fmla="*/ 3 w 27"/>
                <a:gd name="T37" fmla="*/ 23 h 40"/>
                <a:gd name="T38" fmla="*/ 8 w 27"/>
                <a:gd name="T39" fmla="*/ 33 h 40"/>
                <a:gd name="T40" fmla="*/ 9 w 27"/>
                <a:gd name="T41" fmla="*/ 34 h 40"/>
                <a:gd name="T42" fmla="*/ 11 w 27"/>
                <a:gd name="T43" fmla="*/ 33 h 40"/>
                <a:gd name="T44" fmla="*/ 12 w 27"/>
                <a:gd name="T45" fmla="*/ 31 h 40"/>
                <a:gd name="T46" fmla="*/ 13 w 27"/>
                <a:gd name="T47" fmla="*/ 29 h 40"/>
                <a:gd name="T48" fmla="*/ 12 w 27"/>
                <a:gd name="T49" fmla="*/ 23 h 40"/>
                <a:gd name="T50" fmla="*/ 14 w 27"/>
                <a:gd name="T51" fmla="*/ 24 h 40"/>
                <a:gd name="T52" fmla="*/ 17 w 27"/>
                <a:gd name="T53" fmla="*/ 21 h 40"/>
                <a:gd name="T54" fmla="*/ 20 w 27"/>
                <a:gd name="T55" fmla="*/ 19 h 40"/>
                <a:gd name="T56" fmla="*/ 15 w 27"/>
                <a:gd name="T57" fmla="*/ 25 h 40"/>
                <a:gd name="T58" fmla="*/ 18 w 27"/>
                <a:gd name="T59" fmla="*/ 28 h 40"/>
                <a:gd name="T60" fmla="*/ 18 w 27"/>
                <a:gd name="T61" fmla="*/ 28 h 40"/>
                <a:gd name="T62" fmla="*/ 16 w 27"/>
                <a:gd name="T63" fmla="*/ 28 h 40"/>
                <a:gd name="T64" fmla="*/ 15 w 27"/>
                <a:gd name="T65" fmla="*/ 27 h 40"/>
                <a:gd name="T66" fmla="*/ 14 w 27"/>
                <a:gd name="T67" fmla="*/ 28 h 40"/>
                <a:gd name="T68" fmla="*/ 16 w 27"/>
                <a:gd name="T69" fmla="*/ 35 h 40"/>
                <a:gd name="T70" fmla="*/ 14 w 27"/>
                <a:gd name="T71" fmla="*/ 36 h 40"/>
                <a:gd name="T72" fmla="*/ 16 w 27"/>
                <a:gd name="T73" fmla="*/ 36 h 40"/>
                <a:gd name="T74" fmla="*/ 18 w 27"/>
                <a:gd name="T75" fmla="*/ 36 h 40"/>
                <a:gd name="T76" fmla="*/ 19 w 27"/>
                <a:gd name="T77" fmla="*/ 37 h 40"/>
                <a:gd name="T78" fmla="*/ 16 w 27"/>
                <a:gd name="T79" fmla="*/ 39 h 40"/>
                <a:gd name="T80" fmla="*/ 19 w 27"/>
                <a:gd name="T81" fmla="*/ 40 h 40"/>
                <a:gd name="T82" fmla="*/ 21 w 27"/>
                <a:gd name="T83" fmla="*/ 40 h 40"/>
                <a:gd name="T84" fmla="*/ 24 w 27"/>
                <a:gd name="T85" fmla="*/ 34 h 40"/>
                <a:gd name="T86" fmla="*/ 25 w 27"/>
                <a:gd name="T87" fmla="*/ 35 h 40"/>
                <a:gd name="T88" fmla="*/ 24 w 27"/>
                <a:gd name="T89" fmla="*/ 31 h 40"/>
                <a:gd name="T90" fmla="*/ 25 w 27"/>
                <a:gd name="T91" fmla="*/ 31 h 40"/>
                <a:gd name="T92" fmla="*/ 23 w 27"/>
                <a:gd name="T93" fmla="*/ 25 h 40"/>
                <a:gd name="T94" fmla="*/ 25 w 27"/>
                <a:gd name="T95" fmla="*/ 18 h 40"/>
                <a:gd name="T96" fmla="*/ 24 w 27"/>
                <a:gd name="T97" fmla="*/ 10 h 40"/>
                <a:gd name="T98" fmla="*/ 24 w 27"/>
                <a:gd name="T99" fmla="*/ 9 h 40"/>
                <a:gd name="T100" fmla="*/ 24 w 27"/>
                <a:gd name="T101" fmla="*/ 8 h 40"/>
                <a:gd name="T102" fmla="*/ 23 w 27"/>
                <a:gd name="T103" fmla="*/ 4 h 40"/>
                <a:gd name="T104" fmla="*/ 23 w 27"/>
                <a:gd name="T105" fmla="*/ 1 h 40"/>
                <a:gd name="T106" fmla="*/ 22 w 27"/>
                <a:gd name="T107" fmla="*/ 0 h 40"/>
                <a:gd name="T108" fmla="*/ 22 w 27"/>
                <a:gd name="T109" fmla="*/ 1 h 40"/>
                <a:gd name="T110" fmla="*/ 21 w 27"/>
                <a:gd name="T111" fmla="*/ 1 h 40"/>
                <a:gd name="T112" fmla="*/ 20 w 27"/>
                <a:gd name="T113" fmla="*/ 1 h 40"/>
                <a:gd name="T114" fmla="*/ 18 w 27"/>
                <a:gd name="T115"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40">
                  <a:moveTo>
                    <a:pt x="18" y="0"/>
                  </a:moveTo>
                  <a:cubicBezTo>
                    <a:pt x="17" y="0"/>
                    <a:pt x="16" y="0"/>
                    <a:pt x="15" y="0"/>
                  </a:cubicBezTo>
                  <a:cubicBezTo>
                    <a:pt x="12" y="2"/>
                    <a:pt x="10" y="4"/>
                    <a:pt x="12" y="4"/>
                  </a:cubicBezTo>
                  <a:cubicBezTo>
                    <a:pt x="13" y="4"/>
                    <a:pt x="14" y="4"/>
                    <a:pt x="15" y="4"/>
                  </a:cubicBezTo>
                  <a:cubicBezTo>
                    <a:pt x="14" y="5"/>
                    <a:pt x="12" y="5"/>
                    <a:pt x="11" y="6"/>
                  </a:cubicBezTo>
                  <a:cubicBezTo>
                    <a:pt x="12" y="7"/>
                    <a:pt x="13" y="7"/>
                    <a:pt x="14" y="7"/>
                  </a:cubicBezTo>
                  <a:cubicBezTo>
                    <a:pt x="15" y="7"/>
                    <a:pt x="15" y="7"/>
                    <a:pt x="16" y="7"/>
                  </a:cubicBezTo>
                  <a:cubicBezTo>
                    <a:pt x="15" y="8"/>
                    <a:pt x="14" y="8"/>
                    <a:pt x="13" y="9"/>
                  </a:cubicBezTo>
                  <a:cubicBezTo>
                    <a:pt x="14" y="10"/>
                    <a:pt x="16" y="11"/>
                    <a:pt x="16" y="12"/>
                  </a:cubicBezTo>
                  <a:cubicBezTo>
                    <a:pt x="16" y="15"/>
                    <a:pt x="15" y="17"/>
                    <a:pt x="14" y="20"/>
                  </a:cubicBezTo>
                  <a:cubicBezTo>
                    <a:pt x="14" y="18"/>
                    <a:pt x="12" y="17"/>
                    <a:pt x="10" y="15"/>
                  </a:cubicBezTo>
                  <a:cubicBezTo>
                    <a:pt x="9" y="15"/>
                    <a:pt x="9" y="17"/>
                    <a:pt x="9" y="18"/>
                  </a:cubicBezTo>
                  <a:cubicBezTo>
                    <a:pt x="8" y="18"/>
                    <a:pt x="8" y="18"/>
                    <a:pt x="8" y="18"/>
                  </a:cubicBezTo>
                  <a:cubicBezTo>
                    <a:pt x="8" y="18"/>
                    <a:pt x="8" y="18"/>
                    <a:pt x="7" y="19"/>
                  </a:cubicBezTo>
                  <a:cubicBezTo>
                    <a:pt x="7" y="18"/>
                    <a:pt x="6" y="17"/>
                    <a:pt x="5" y="17"/>
                  </a:cubicBezTo>
                  <a:cubicBezTo>
                    <a:pt x="4" y="17"/>
                    <a:pt x="4" y="17"/>
                    <a:pt x="4" y="19"/>
                  </a:cubicBezTo>
                  <a:cubicBezTo>
                    <a:pt x="4" y="18"/>
                    <a:pt x="3" y="17"/>
                    <a:pt x="2" y="17"/>
                  </a:cubicBezTo>
                  <a:cubicBezTo>
                    <a:pt x="2" y="17"/>
                    <a:pt x="2" y="17"/>
                    <a:pt x="2" y="17"/>
                  </a:cubicBezTo>
                  <a:cubicBezTo>
                    <a:pt x="0" y="18"/>
                    <a:pt x="2" y="21"/>
                    <a:pt x="3" y="23"/>
                  </a:cubicBezTo>
                  <a:cubicBezTo>
                    <a:pt x="4" y="26"/>
                    <a:pt x="5" y="30"/>
                    <a:pt x="8" y="33"/>
                  </a:cubicBezTo>
                  <a:cubicBezTo>
                    <a:pt x="8" y="34"/>
                    <a:pt x="9" y="34"/>
                    <a:pt x="9" y="34"/>
                  </a:cubicBezTo>
                  <a:cubicBezTo>
                    <a:pt x="10" y="34"/>
                    <a:pt x="10" y="34"/>
                    <a:pt x="11" y="33"/>
                  </a:cubicBezTo>
                  <a:cubicBezTo>
                    <a:pt x="13" y="33"/>
                    <a:pt x="12" y="32"/>
                    <a:pt x="12" y="31"/>
                  </a:cubicBezTo>
                  <a:cubicBezTo>
                    <a:pt x="13" y="29"/>
                    <a:pt x="13" y="29"/>
                    <a:pt x="13" y="29"/>
                  </a:cubicBezTo>
                  <a:cubicBezTo>
                    <a:pt x="13" y="26"/>
                    <a:pt x="11" y="25"/>
                    <a:pt x="12" y="23"/>
                  </a:cubicBezTo>
                  <a:cubicBezTo>
                    <a:pt x="13" y="24"/>
                    <a:pt x="14" y="24"/>
                    <a:pt x="14" y="24"/>
                  </a:cubicBezTo>
                  <a:cubicBezTo>
                    <a:pt x="14" y="23"/>
                    <a:pt x="18" y="23"/>
                    <a:pt x="17" y="21"/>
                  </a:cubicBezTo>
                  <a:cubicBezTo>
                    <a:pt x="18" y="20"/>
                    <a:pt x="19" y="20"/>
                    <a:pt x="20" y="19"/>
                  </a:cubicBezTo>
                  <a:cubicBezTo>
                    <a:pt x="19" y="22"/>
                    <a:pt x="17" y="23"/>
                    <a:pt x="15" y="25"/>
                  </a:cubicBezTo>
                  <a:cubicBezTo>
                    <a:pt x="16" y="26"/>
                    <a:pt x="17" y="26"/>
                    <a:pt x="18" y="28"/>
                  </a:cubicBezTo>
                  <a:cubicBezTo>
                    <a:pt x="18" y="28"/>
                    <a:pt x="18" y="28"/>
                    <a:pt x="18" y="28"/>
                  </a:cubicBezTo>
                  <a:cubicBezTo>
                    <a:pt x="17" y="28"/>
                    <a:pt x="17" y="28"/>
                    <a:pt x="16" y="28"/>
                  </a:cubicBezTo>
                  <a:cubicBezTo>
                    <a:pt x="16" y="27"/>
                    <a:pt x="16" y="27"/>
                    <a:pt x="15" y="27"/>
                  </a:cubicBezTo>
                  <a:cubicBezTo>
                    <a:pt x="15" y="27"/>
                    <a:pt x="14" y="28"/>
                    <a:pt x="14" y="28"/>
                  </a:cubicBezTo>
                  <a:cubicBezTo>
                    <a:pt x="13" y="31"/>
                    <a:pt x="19" y="31"/>
                    <a:pt x="16" y="35"/>
                  </a:cubicBezTo>
                  <a:cubicBezTo>
                    <a:pt x="16" y="35"/>
                    <a:pt x="12" y="36"/>
                    <a:pt x="14" y="36"/>
                  </a:cubicBezTo>
                  <a:cubicBezTo>
                    <a:pt x="15" y="36"/>
                    <a:pt x="15" y="36"/>
                    <a:pt x="16" y="36"/>
                  </a:cubicBezTo>
                  <a:cubicBezTo>
                    <a:pt x="16" y="36"/>
                    <a:pt x="17" y="36"/>
                    <a:pt x="18" y="36"/>
                  </a:cubicBezTo>
                  <a:cubicBezTo>
                    <a:pt x="18" y="36"/>
                    <a:pt x="19" y="36"/>
                    <a:pt x="19" y="37"/>
                  </a:cubicBezTo>
                  <a:cubicBezTo>
                    <a:pt x="19" y="37"/>
                    <a:pt x="13" y="38"/>
                    <a:pt x="16" y="39"/>
                  </a:cubicBezTo>
                  <a:cubicBezTo>
                    <a:pt x="17" y="40"/>
                    <a:pt x="18" y="40"/>
                    <a:pt x="19" y="40"/>
                  </a:cubicBezTo>
                  <a:cubicBezTo>
                    <a:pt x="19" y="40"/>
                    <a:pt x="20" y="40"/>
                    <a:pt x="21" y="40"/>
                  </a:cubicBezTo>
                  <a:cubicBezTo>
                    <a:pt x="23" y="39"/>
                    <a:pt x="24" y="37"/>
                    <a:pt x="24" y="34"/>
                  </a:cubicBezTo>
                  <a:cubicBezTo>
                    <a:pt x="25" y="35"/>
                    <a:pt x="25" y="35"/>
                    <a:pt x="25" y="35"/>
                  </a:cubicBezTo>
                  <a:cubicBezTo>
                    <a:pt x="25" y="34"/>
                    <a:pt x="25" y="32"/>
                    <a:pt x="24" y="31"/>
                  </a:cubicBezTo>
                  <a:cubicBezTo>
                    <a:pt x="24" y="31"/>
                    <a:pt x="25" y="31"/>
                    <a:pt x="25" y="31"/>
                  </a:cubicBezTo>
                  <a:cubicBezTo>
                    <a:pt x="27" y="31"/>
                    <a:pt x="23" y="25"/>
                    <a:pt x="23" y="25"/>
                  </a:cubicBezTo>
                  <a:cubicBezTo>
                    <a:pt x="23" y="23"/>
                    <a:pt x="25" y="20"/>
                    <a:pt x="25" y="18"/>
                  </a:cubicBezTo>
                  <a:cubicBezTo>
                    <a:pt x="25" y="15"/>
                    <a:pt x="24" y="13"/>
                    <a:pt x="24" y="10"/>
                  </a:cubicBezTo>
                  <a:cubicBezTo>
                    <a:pt x="24" y="10"/>
                    <a:pt x="24" y="9"/>
                    <a:pt x="24" y="9"/>
                  </a:cubicBezTo>
                  <a:cubicBezTo>
                    <a:pt x="24" y="9"/>
                    <a:pt x="24" y="8"/>
                    <a:pt x="24" y="8"/>
                  </a:cubicBezTo>
                  <a:cubicBezTo>
                    <a:pt x="24" y="6"/>
                    <a:pt x="23" y="5"/>
                    <a:pt x="23" y="4"/>
                  </a:cubicBezTo>
                  <a:cubicBezTo>
                    <a:pt x="23" y="3"/>
                    <a:pt x="23" y="2"/>
                    <a:pt x="23" y="1"/>
                  </a:cubicBezTo>
                  <a:cubicBezTo>
                    <a:pt x="23" y="1"/>
                    <a:pt x="22" y="0"/>
                    <a:pt x="22" y="0"/>
                  </a:cubicBezTo>
                  <a:cubicBezTo>
                    <a:pt x="22" y="0"/>
                    <a:pt x="22" y="0"/>
                    <a:pt x="22" y="1"/>
                  </a:cubicBezTo>
                  <a:cubicBezTo>
                    <a:pt x="22" y="1"/>
                    <a:pt x="21" y="1"/>
                    <a:pt x="21" y="1"/>
                  </a:cubicBezTo>
                  <a:cubicBezTo>
                    <a:pt x="21" y="1"/>
                    <a:pt x="21" y="1"/>
                    <a:pt x="20" y="1"/>
                  </a:cubicBezTo>
                  <a:cubicBezTo>
                    <a:pt x="19" y="0"/>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53"/>
            <p:cNvSpPr/>
            <p:nvPr/>
          </p:nvSpPr>
          <p:spPr bwMode="auto">
            <a:xfrm>
              <a:off x="8064966" y="5742304"/>
              <a:ext cx="40956" cy="31070"/>
            </a:xfrm>
            <a:custGeom>
              <a:gdLst>
                <a:gd name="T0" fmla="*/ 7 w 12"/>
                <a:gd name="T1" fmla="*/ 0 h 9"/>
                <a:gd name="T2" fmla="*/ 0 w 12"/>
                <a:gd name="T3" fmla="*/ 3 h 9"/>
                <a:gd name="T4" fmla="*/ 11 w 12"/>
                <a:gd name="T5" fmla="*/ 9 h 9"/>
                <a:gd name="T6" fmla="*/ 8 w 12"/>
                <a:gd name="T7" fmla="*/ 0 h 9"/>
                <a:gd name="T8" fmla="*/ 7 w 12"/>
                <a:gd name="T9" fmla="*/ 0 h 9"/>
              </a:gdLst>
              <a:cxnLst>
                <a:cxn ang="0">
                  <a:pos x="T0" y="T1"/>
                </a:cxn>
                <a:cxn ang="0">
                  <a:pos x="T2" y="T3"/>
                </a:cxn>
                <a:cxn ang="0">
                  <a:pos x="T4" y="T5"/>
                </a:cxn>
                <a:cxn ang="0">
                  <a:pos x="T6" y="T7"/>
                </a:cxn>
                <a:cxn ang="0">
                  <a:pos x="T8" y="T9"/>
                </a:cxn>
              </a:cxnLst>
              <a:rect l="0" t="0" r="r" b="b"/>
              <a:pathLst>
                <a:path w="12" h="9">
                  <a:moveTo>
                    <a:pt x="7" y="0"/>
                  </a:moveTo>
                  <a:cubicBezTo>
                    <a:pt x="5" y="0"/>
                    <a:pt x="0" y="1"/>
                    <a:pt x="0" y="3"/>
                  </a:cubicBezTo>
                  <a:cubicBezTo>
                    <a:pt x="3" y="5"/>
                    <a:pt x="7" y="7"/>
                    <a:pt x="11" y="9"/>
                  </a:cubicBezTo>
                  <a:cubicBezTo>
                    <a:pt x="12" y="6"/>
                    <a:pt x="12"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54"/>
            <p:cNvSpPr/>
            <p:nvPr/>
          </p:nvSpPr>
          <p:spPr bwMode="auto">
            <a:xfrm>
              <a:off x="8052256" y="5759251"/>
              <a:ext cx="9886" cy="14123"/>
            </a:xfrm>
            <a:custGeom>
              <a:gdLst>
                <a:gd name="T0" fmla="*/ 0 w 3"/>
                <a:gd name="T1" fmla="*/ 0 h 4"/>
                <a:gd name="T2" fmla="*/ 1 w 3"/>
                <a:gd name="T3" fmla="*/ 4 h 4"/>
                <a:gd name="T4" fmla="*/ 0 w 3"/>
                <a:gd name="T5" fmla="*/ 0 h 4"/>
              </a:gdLst>
              <a:cxnLst>
                <a:cxn ang="0">
                  <a:pos x="T0" y="T1"/>
                </a:cxn>
                <a:cxn ang="0">
                  <a:pos x="T2" y="T3"/>
                </a:cxn>
                <a:cxn ang="0">
                  <a:pos x="T4" y="T5"/>
                </a:cxn>
              </a:cxnLst>
              <a:rect l="0" t="0" r="r" b="b"/>
              <a:pathLst>
                <a:path w="3" h="4">
                  <a:moveTo>
                    <a:pt x="0" y="0"/>
                  </a:moveTo>
                  <a:cubicBezTo>
                    <a:pt x="0" y="1"/>
                    <a:pt x="1" y="3"/>
                    <a:pt x="1"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55"/>
            <p:cNvSpPr/>
            <p:nvPr/>
          </p:nvSpPr>
          <p:spPr bwMode="auto">
            <a:xfrm>
              <a:off x="8619988" y="6781737"/>
              <a:ext cx="12710" cy="5649"/>
            </a:xfrm>
            <a:custGeom>
              <a:gdLst>
                <a:gd name="T0" fmla="*/ 3 w 4"/>
                <a:gd name="T1" fmla="*/ 0 h 2"/>
                <a:gd name="T2" fmla="*/ 0 w 4"/>
                <a:gd name="T3" fmla="*/ 2 h 2"/>
                <a:gd name="T4" fmla="*/ 1 w 4"/>
                <a:gd name="T5" fmla="*/ 2 h 2"/>
                <a:gd name="T6" fmla="*/ 4 w 4"/>
                <a:gd name="T7" fmla="*/ 1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0" y="1"/>
                    <a:pt x="0" y="2"/>
                  </a:cubicBezTo>
                  <a:cubicBezTo>
                    <a:pt x="0" y="2"/>
                    <a:pt x="0" y="2"/>
                    <a:pt x="1" y="2"/>
                  </a:cubicBezTo>
                  <a:cubicBezTo>
                    <a:pt x="2" y="2"/>
                    <a:pt x="3" y="1"/>
                    <a:pt x="4"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156"/>
            <p:cNvSpPr>
              <a:spLocks noEditPoints="1"/>
            </p:cNvSpPr>
            <p:nvPr/>
          </p:nvSpPr>
          <p:spPr bwMode="auto">
            <a:xfrm>
              <a:off x="8388376" y="6750667"/>
              <a:ext cx="160999" cy="83324"/>
            </a:xfrm>
            <a:custGeom>
              <a:gdLst>
                <a:gd name="T0" fmla="*/ 23 w 48"/>
                <a:gd name="T1" fmla="*/ 4 h 25"/>
                <a:gd name="T2" fmla="*/ 35 w 48"/>
                <a:gd name="T3" fmla="*/ 0 h 25"/>
                <a:gd name="T4" fmla="*/ 24 w 48"/>
                <a:gd name="T5" fmla="*/ 1 h 25"/>
                <a:gd name="T6" fmla="*/ 22 w 48"/>
                <a:gd name="T7" fmla="*/ 1 h 25"/>
                <a:gd name="T8" fmla="*/ 17 w 48"/>
                <a:gd name="T9" fmla="*/ 2 h 25"/>
                <a:gd name="T10" fmla="*/ 15 w 48"/>
                <a:gd name="T11" fmla="*/ 3 h 25"/>
                <a:gd name="T12" fmla="*/ 14 w 48"/>
                <a:gd name="T13" fmla="*/ 3 h 25"/>
                <a:gd name="T14" fmla="*/ 13 w 48"/>
                <a:gd name="T15" fmla="*/ 3 h 25"/>
                <a:gd name="T16" fmla="*/ 12 w 48"/>
                <a:gd name="T17" fmla="*/ 3 h 25"/>
                <a:gd name="T18" fmla="*/ 11 w 48"/>
                <a:gd name="T19" fmla="*/ 7 h 25"/>
                <a:gd name="T20" fmla="*/ 9 w 48"/>
                <a:gd name="T21" fmla="*/ 3 h 25"/>
                <a:gd name="T22" fmla="*/ 0 w 48"/>
                <a:gd name="T23" fmla="*/ 7 h 25"/>
                <a:gd name="T24" fmla="*/ 12 w 48"/>
                <a:gd name="T25" fmla="*/ 8 h 25"/>
                <a:gd name="T26" fmla="*/ 6 w 48"/>
                <a:gd name="T27" fmla="*/ 12 h 25"/>
                <a:gd name="T28" fmla="*/ 15 w 48"/>
                <a:gd name="T29" fmla="*/ 15 h 25"/>
                <a:gd name="T30" fmla="*/ 17 w 48"/>
                <a:gd name="T31" fmla="*/ 15 h 25"/>
                <a:gd name="T32" fmla="*/ 18 w 48"/>
                <a:gd name="T33" fmla="*/ 15 h 25"/>
                <a:gd name="T34" fmla="*/ 13 w 48"/>
                <a:gd name="T35" fmla="*/ 10 h 25"/>
                <a:gd name="T36" fmla="*/ 16 w 48"/>
                <a:gd name="T37" fmla="*/ 7 h 25"/>
                <a:gd name="T38" fmla="*/ 22 w 48"/>
                <a:gd name="T39" fmla="*/ 8 h 25"/>
                <a:gd name="T40" fmla="*/ 28 w 48"/>
                <a:gd name="T41" fmla="*/ 8 h 25"/>
                <a:gd name="T42" fmla="*/ 29 w 48"/>
                <a:gd name="T43" fmla="*/ 13 h 25"/>
                <a:gd name="T44" fmla="*/ 27 w 48"/>
                <a:gd name="T45" fmla="*/ 17 h 25"/>
                <a:gd name="T46" fmla="*/ 33 w 48"/>
                <a:gd name="T47" fmla="*/ 16 h 25"/>
                <a:gd name="T48" fmla="*/ 45 w 48"/>
                <a:gd name="T49" fmla="*/ 25 h 25"/>
                <a:gd name="T50" fmla="*/ 45 w 48"/>
                <a:gd name="T51" fmla="*/ 20 h 25"/>
                <a:gd name="T52" fmla="*/ 43 w 48"/>
                <a:gd name="T53" fmla="*/ 17 h 25"/>
                <a:gd name="T54" fmla="*/ 37 w 48"/>
                <a:gd name="T55" fmla="*/ 13 h 25"/>
                <a:gd name="T56" fmla="*/ 33 w 48"/>
                <a:gd name="T57" fmla="*/ 14 h 25"/>
                <a:gd name="T58" fmla="*/ 39 w 48"/>
                <a:gd name="T59" fmla="*/ 12 h 25"/>
                <a:gd name="T60" fmla="*/ 35 w 48"/>
                <a:gd name="T61" fmla="*/ 8 h 25"/>
                <a:gd name="T62" fmla="*/ 24 w 48"/>
                <a:gd name="T63" fmla="*/ 4 h 25"/>
                <a:gd name="T64" fmla="*/ 33 w 48"/>
                <a:gd name="T65" fmla="*/ 5 h 25"/>
                <a:gd name="T66" fmla="*/ 37 w 48"/>
                <a:gd name="T67" fmla="*/ 4 h 25"/>
                <a:gd name="T68" fmla="*/ 39 w 48"/>
                <a:gd name="T69" fmla="*/ 2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25">
                  <a:moveTo>
                    <a:pt x="23" y="4"/>
                  </a:moveTo>
                  <a:cubicBezTo>
                    <a:pt x="23" y="4"/>
                    <a:pt x="23" y="4"/>
                    <a:pt x="23" y="4"/>
                  </a:cubicBezTo>
                  <a:cubicBezTo>
                    <a:pt x="23" y="4"/>
                    <a:pt x="23" y="4"/>
                    <a:pt x="23" y="4"/>
                  </a:cubicBezTo>
                  <a:moveTo>
                    <a:pt x="35" y="0"/>
                  </a:moveTo>
                  <a:cubicBezTo>
                    <a:pt x="34" y="0"/>
                    <a:pt x="33" y="0"/>
                    <a:pt x="33" y="0"/>
                  </a:cubicBezTo>
                  <a:cubicBezTo>
                    <a:pt x="30" y="0"/>
                    <a:pt x="27" y="1"/>
                    <a:pt x="24" y="1"/>
                  </a:cubicBezTo>
                  <a:cubicBezTo>
                    <a:pt x="24" y="1"/>
                    <a:pt x="23" y="1"/>
                    <a:pt x="23" y="1"/>
                  </a:cubicBezTo>
                  <a:cubicBezTo>
                    <a:pt x="23" y="1"/>
                    <a:pt x="22" y="1"/>
                    <a:pt x="22" y="1"/>
                  </a:cubicBezTo>
                  <a:cubicBezTo>
                    <a:pt x="22" y="1"/>
                    <a:pt x="21" y="1"/>
                    <a:pt x="21" y="1"/>
                  </a:cubicBezTo>
                  <a:cubicBezTo>
                    <a:pt x="19" y="1"/>
                    <a:pt x="18" y="1"/>
                    <a:pt x="17" y="2"/>
                  </a:cubicBezTo>
                  <a:cubicBezTo>
                    <a:pt x="16" y="2"/>
                    <a:pt x="16" y="3"/>
                    <a:pt x="15" y="3"/>
                  </a:cubicBezTo>
                  <a:cubicBezTo>
                    <a:pt x="15" y="3"/>
                    <a:pt x="15" y="3"/>
                    <a:pt x="15" y="3"/>
                  </a:cubicBezTo>
                  <a:cubicBezTo>
                    <a:pt x="15" y="3"/>
                    <a:pt x="15" y="3"/>
                    <a:pt x="14" y="3"/>
                  </a:cubicBezTo>
                  <a:cubicBezTo>
                    <a:pt x="14" y="3"/>
                    <a:pt x="14" y="3"/>
                    <a:pt x="14" y="3"/>
                  </a:cubicBezTo>
                  <a:cubicBezTo>
                    <a:pt x="14" y="3"/>
                    <a:pt x="14" y="3"/>
                    <a:pt x="14" y="3"/>
                  </a:cubicBezTo>
                  <a:cubicBezTo>
                    <a:pt x="14" y="3"/>
                    <a:pt x="14" y="3"/>
                    <a:pt x="13" y="3"/>
                  </a:cubicBezTo>
                  <a:cubicBezTo>
                    <a:pt x="13" y="3"/>
                    <a:pt x="13" y="3"/>
                    <a:pt x="13" y="3"/>
                  </a:cubicBezTo>
                  <a:cubicBezTo>
                    <a:pt x="13" y="3"/>
                    <a:pt x="13" y="3"/>
                    <a:pt x="12" y="3"/>
                  </a:cubicBezTo>
                  <a:cubicBezTo>
                    <a:pt x="12" y="3"/>
                    <a:pt x="12" y="3"/>
                    <a:pt x="12" y="3"/>
                  </a:cubicBezTo>
                  <a:cubicBezTo>
                    <a:pt x="11" y="4"/>
                    <a:pt x="11" y="6"/>
                    <a:pt x="11" y="7"/>
                  </a:cubicBezTo>
                  <a:cubicBezTo>
                    <a:pt x="11" y="5"/>
                    <a:pt x="11" y="4"/>
                    <a:pt x="10" y="3"/>
                  </a:cubicBezTo>
                  <a:cubicBezTo>
                    <a:pt x="10" y="3"/>
                    <a:pt x="9" y="3"/>
                    <a:pt x="9" y="3"/>
                  </a:cubicBezTo>
                  <a:cubicBezTo>
                    <a:pt x="9" y="3"/>
                    <a:pt x="6" y="4"/>
                    <a:pt x="6" y="4"/>
                  </a:cubicBezTo>
                  <a:cubicBezTo>
                    <a:pt x="3" y="4"/>
                    <a:pt x="2" y="6"/>
                    <a:pt x="0" y="7"/>
                  </a:cubicBezTo>
                  <a:cubicBezTo>
                    <a:pt x="3" y="7"/>
                    <a:pt x="6" y="8"/>
                    <a:pt x="9" y="8"/>
                  </a:cubicBezTo>
                  <a:cubicBezTo>
                    <a:pt x="10" y="8"/>
                    <a:pt x="11" y="8"/>
                    <a:pt x="12" y="8"/>
                  </a:cubicBezTo>
                  <a:cubicBezTo>
                    <a:pt x="11" y="9"/>
                    <a:pt x="8" y="9"/>
                    <a:pt x="9" y="11"/>
                  </a:cubicBezTo>
                  <a:cubicBezTo>
                    <a:pt x="8" y="11"/>
                    <a:pt x="7" y="11"/>
                    <a:pt x="6" y="12"/>
                  </a:cubicBezTo>
                  <a:cubicBezTo>
                    <a:pt x="8" y="13"/>
                    <a:pt x="14" y="15"/>
                    <a:pt x="14" y="18"/>
                  </a:cubicBezTo>
                  <a:cubicBezTo>
                    <a:pt x="14" y="17"/>
                    <a:pt x="15" y="15"/>
                    <a:pt x="15" y="15"/>
                  </a:cubicBezTo>
                  <a:cubicBezTo>
                    <a:pt x="15" y="15"/>
                    <a:pt x="15" y="15"/>
                    <a:pt x="16" y="15"/>
                  </a:cubicBezTo>
                  <a:cubicBezTo>
                    <a:pt x="16" y="15"/>
                    <a:pt x="16" y="15"/>
                    <a:pt x="17" y="15"/>
                  </a:cubicBezTo>
                  <a:cubicBezTo>
                    <a:pt x="17" y="15"/>
                    <a:pt x="17" y="15"/>
                    <a:pt x="17" y="15"/>
                  </a:cubicBezTo>
                  <a:cubicBezTo>
                    <a:pt x="18" y="15"/>
                    <a:pt x="18" y="15"/>
                    <a:pt x="18" y="15"/>
                  </a:cubicBezTo>
                  <a:cubicBezTo>
                    <a:pt x="19" y="13"/>
                    <a:pt x="16" y="14"/>
                    <a:pt x="17" y="13"/>
                  </a:cubicBezTo>
                  <a:cubicBezTo>
                    <a:pt x="16" y="12"/>
                    <a:pt x="13" y="11"/>
                    <a:pt x="13" y="10"/>
                  </a:cubicBezTo>
                  <a:cubicBezTo>
                    <a:pt x="15" y="10"/>
                    <a:pt x="16" y="10"/>
                    <a:pt x="18" y="9"/>
                  </a:cubicBezTo>
                  <a:cubicBezTo>
                    <a:pt x="18" y="8"/>
                    <a:pt x="17" y="7"/>
                    <a:pt x="16" y="7"/>
                  </a:cubicBezTo>
                  <a:cubicBezTo>
                    <a:pt x="17" y="7"/>
                    <a:pt x="17" y="7"/>
                    <a:pt x="18" y="7"/>
                  </a:cubicBezTo>
                  <a:cubicBezTo>
                    <a:pt x="19" y="7"/>
                    <a:pt x="21" y="7"/>
                    <a:pt x="22" y="8"/>
                  </a:cubicBezTo>
                  <a:cubicBezTo>
                    <a:pt x="24" y="8"/>
                    <a:pt x="25" y="9"/>
                    <a:pt x="26" y="9"/>
                  </a:cubicBezTo>
                  <a:cubicBezTo>
                    <a:pt x="27" y="9"/>
                    <a:pt x="28" y="9"/>
                    <a:pt x="28" y="8"/>
                  </a:cubicBezTo>
                  <a:cubicBezTo>
                    <a:pt x="28" y="10"/>
                    <a:pt x="26" y="13"/>
                    <a:pt x="25" y="14"/>
                  </a:cubicBezTo>
                  <a:cubicBezTo>
                    <a:pt x="26" y="14"/>
                    <a:pt x="28" y="13"/>
                    <a:pt x="29" y="13"/>
                  </a:cubicBezTo>
                  <a:cubicBezTo>
                    <a:pt x="29" y="13"/>
                    <a:pt x="25" y="15"/>
                    <a:pt x="25" y="15"/>
                  </a:cubicBezTo>
                  <a:cubicBezTo>
                    <a:pt x="25" y="17"/>
                    <a:pt x="26" y="17"/>
                    <a:pt x="27" y="17"/>
                  </a:cubicBezTo>
                  <a:cubicBezTo>
                    <a:pt x="28" y="17"/>
                    <a:pt x="29" y="17"/>
                    <a:pt x="30" y="17"/>
                  </a:cubicBezTo>
                  <a:cubicBezTo>
                    <a:pt x="32" y="17"/>
                    <a:pt x="33" y="16"/>
                    <a:pt x="33" y="16"/>
                  </a:cubicBezTo>
                  <a:cubicBezTo>
                    <a:pt x="34" y="16"/>
                    <a:pt x="35" y="16"/>
                    <a:pt x="36" y="17"/>
                  </a:cubicBezTo>
                  <a:cubicBezTo>
                    <a:pt x="39" y="19"/>
                    <a:pt x="42" y="23"/>
                    <a:pt x="45" y="25"/>
                  </a:cubicBezTo>
                  <a:cubicBezTo>
                    <a:pt x="47" y="25"/>
                    <a:pt x="48" y="24"/>
                    <a:pt x="47" y="22"/>
                  </a:cubicBezTo>
                  <a:cubicBezTo>
                    <a:pt x="47" y="21"/>
                    <a:pt x="46" y="21"/>
                    <a:pt x="45" y="20"/>
                  </a:cubicBezTo>
                  <a:cubicBezTo>
                    <a:pt x="45" y="18"/>
                    <a:pt x="46" y="17"/>
                    <a:pt x="45" y="17"/>
                  </a:cubicBezTo>
                  <a:cubicBezTo>
                    <a:pt x="44" y="17"/>
                    <a:pt x="44" y="17"/>
                    <a:pt x="43" y="17"/>
                  </a:cubicBezTo>
                  <a:cubicBezTo>
                    <a:pt x="45" y="14"/>
                    <a:pt x="40" y="15"/>
                    <a:pt x="39" y="14"/>
                  </a:cubicBezTo>
                  <a:cubicBezTo>
                    <a:pt x="39" y="14"/>
                    <a:pt x="38" y="13"/>
                    <a:pt x="37" y="13"/>
                  </a:cubicBezTo>
                  <a:cubicBezTo>
                    <a:pt x="37" y="13"/>
                    <a:pt x="37" y="13"/>
                    <a:pt x="37" y="13"/>
                  </a:cubicBezTo>
                  <a:cubicBezTo>
                    <a:pt x="36" y="13"/>
                    <a:pt x="34" y="13"/>
                    <a:pt x="33" y="14"/>
                  </a:cubicBezTo>
                  <a:cubicBezTo>
                    <a:pt x="33" y="12"/>
                    <a:pt x="32" y="13"/>
                    <a:pt x="32" y="11"/>
                  </a:cubicBezTo>
                  <a:cubicBezTo>
                    <a:pt x="33" y="11"/>
                    <a:pt x="36" y="12"/>
                    <a:pt x="39" y="12"/>
                  </a:cubicBezTo>
                  <a:cubicBezTo>
                    <a:pt x="40" y="12"/>
                    <a:pt x="41" y="12"/>
                    <a:pt x="42" y="11"/>
                  </a:cubicBezTo>
                  <a:cubicBezTo>
                    <a:pt x="43" y="10"/>
                    <a:pt x="37" y="8"/>
                    <a:pt x="35" y="8"/>
                  </a:cubicBezTo>
                  <a:cubicBezTo>
                    <a:pt x="33" y="8"/>
                    <a:pt x="30" y="8"/>
                    <a:pt x="28" y="7"/>
                  </a:cubicBezTo>
                  <a:cubicBezTo>
                    <a:pt x="26" y="6"/>
                    <a:pt x="25" y="5"/>
                    <a:pt x="24" y="4"/>
                  </a:cubicBezTo>
                  <a:cubicBezTo>
                    <a:pt x="26" y="5"/>
                    <a:pt x="31" y="7"/>
                    <a:pt x="33" y="7"/>
                  </a:cubicBezTo>
                  <a:cubicBezTo>
                    <a:pt x="34" y="7"/>
                    <a:pt x="35" y="6"/>
                    <a:pt x="33" y="5"/>
                  </a:cubicBezTo>
                  <a:cubicBezTo>
                    <a:pt x="34" y="5"/>
                    <a:pt x="35" y="5"/>
                    <a:pt x="36" y="5"/>
                  </a:cubicBezTo>
                  <a:cubicBezTo>
                    <a:pt x="37" y="5"/>
                    <a:pt x="37" y="5"/>
                    <a:pt x="37" y="4"/>
                  </a:cubicBezTo>
                  <a:cubicBezTo>
                    <a:pt x="38" y="4"/>
                    <a:pt x="38" y="4"/>
                    <a:pt x="39" y="4"/>
                  </a:cubicBezTo>
                  <a:cubicBezTo>
                    <a:pt x="39" y="4"/>
                    <a:pt x="40" y="4"/>
                    <a:pt x="39" y="2"/>
                  </a:cubicBezTo>
                  <a:cubicBezTo>
                    <a:pt x="39" y="0"/>
                    <a:pt x="36"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57"/>
            <p:cNvSpPr/>
            <p:nvPr/>
          </p:nvSpPr>
          <p:spPr bwMode="auto">
            <a:xfrm>
              <a:off x="7964695" y="6283205"/>
              <a:ext cx="33894" cy="33895"/>
            </a:xfrm>
            <a:custGeom>
              <a:gdLst>
                <a:gd name="T0" fmla="*/ 4 w 10"/>
                <a:gd name="T1" fmla="*/ 0 h 10"/>
                <a:gd name="T2" fmla="*/ 3 w 10"/>
                <a:gd name="T3" fmla="*/ 0 h 10"/>
                <a:gd name="T4" fmla="*/ 1 w 10"/>
                <a:gd name="T5" fmla="*/ 3 h 10"/>
                <a:gd name="T6" fmla="*/ 4 w 10"/>
                <a:gd name="T7" fmla="*/ 10 h 10"/>
                <a:gd name="T8" fmla="*/ 5 w 10"/>
                <a:gd name="T9" fmla="*/ 6 h 10"/>
                <a:gd name="T10" fmla="*/ 4 w 10"/>
                <a:gd name="T11" fmla="*/ 3 h 10"/>
                <a:gd name="T12" fmla="*/ 7 w 10"/>
                <a:gd name="T13" fmla="*/ 4 h 10"/>
                <a:gd name="T14" fmla="*/ 7 w 10"/>
                <a:gd name="T15" fmla="*/ 3 h 10"/>
                <a:gd name="T16" fmla="*/ 7 w 10"/>
                <a:gd name="T17" fmla="*/ 3 h 10"/>
                <a:gd name="T18" fmla="*/ 10 w 10"/>
                <a:gd name="T19" fmla="*/ 1 h 10"/>
                <a:gd name="T20" fmla="*/ 4 w 10"/>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4" y="0"/>
                  </a:moveTo>
                  <a:cubicBezTo>
                    <a:pt x="4" y="0"/>
                    <a:pt x="3" y="0"/>
                    <a:pt x="3" y="0"/>
                  </a:cubicBezTo>
                  <a:cubicBezTo>
                    <a:pt x="2" y="0"/>
                    <a:pt x="1" y="0"/>
                    <a:pt x="1" y="3"/>
                  </a:cubicBezTo>
                  <a:cubicBezTo>
                    <a:pt x="0" y="7"/>
                    <a:pt x="1" y="7"/>
                    <a:pt x="4" y="10"/>
                  </a:cubicBezTo>
                  <a:cubicBezTo>
                    <a:pt x="5" y="8"/>
                    <a:pt x="6" y="6"/>
                    <a:pt x="5" y="6"/>
                  </a:cubicBezTo>
                  <a:cubicBezTo>
                    <a:pt x="7" y="5"/>
                    <a:pt x="3" y="3"/>
                    <a:pt x="4" y="3"/>
                  </a:cubicBezTo>
                  <a:cubicBezTo>
                    <a:pt x="4" y="3"/>
                    <a:pt x="5" y="3"/>
                    <a:pt x="7" y="4"/>
                  </a:cubicBezTo>
                  <a:cubicBezTo>
                    <a:pt x="7" y="3"/>
                    <a:pt x="7" y="3"/>
                    <a:pt x="7" y="3"/>
                  </a:cubicBezTo>
                  <a:cubicBezTo>
                    <a:pt x="7" y="3"/>
                    <a:pt x="7" y="3"/>
                    <a:pt x="7" y="3"/>
                  </a:cubicBezTo>
                  <a:cubicBezTo>
                    <a:pt x="8" y="3"/>
                    <a:pt x="9" y="2"/>
                    <a:pt x="10" y="1"/>
                  </a:cubicBezTo>
                  <a:cubicBezTo>
                    <a:pt x="7"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58"/>
            <p:cNvSpPr/>
            <p:nvPr/>
          </p:nvSpPr>
          <p:spPr bwMode="auto">
            <a:xfrm>
              <a:off x="7998589" y="5722532"/>
              <a:ext cx="2825" cy="14123"/>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2"/>
                    <a:pt x="0" y="3"/>
                    <a:pt x="0" y="4"/>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59"/>
            <p:cNvSpPr/>
            <p:nvPr/>
          </p:nvSpPr>
          <p:spPr bwMode="auto">
            <a:xfrm>
              <a:off x="8118632" y="5685813"/>
              <a:ext cx="63552" cy="53666"/>
            </a:xfrm>
            <a:custGeom>
              <a:gdLst>
                <a:gd name="T0" fmla="*/ 12 w 19"/>
                <a:gd name="T1" fmla="*/ 0 h 16"/>
                <a:gd name="T2" fmla="*/ 8 w 19"/>
                <a:gd name="T3" fmla="*/ 1 h 16"/>
                <a:gd name="T4" fmla="*/ 8 w 19"/>
                <a:gd name="T5" fmla="*/ 1 h 16"/>
                <a:gd name="T6" fmla="*/ 8 w 19"/>
                <a:gd name="T7" fmla="*/ 1 h 16"/>
                <a:gd name="T8" fmla="*/ 7 w 19"/>
                <a:gd name="T9" fmla="*/ 1 h 16"/>
                <a:gd name="T10" fmla="*/ 7 w 19"/>
                <a:gd name="T11" fmla="*/ 1 h 16"/>
                <a:gd name="T12" fmla="*/ 9 w 19"/>
                <a:gd name="T13" fmla="*/ 5 h 16"/>
                <a:gd name="T14" fmla="*/ 8 w 19"/>
                <a:gd name="T15" fmla="*/ 4 h 16"/>
                <a:gd name="T16" fmla="*/ 5 w 19"/>
                <a:gd name="T17" fmla="*/ 6 h 16"/>
                <a:gd name="T18" fmla="*/ 3 w 19"/>
                <a:gd name="T19" fmla="*/ 6 h 16"/>
                <a:gd name="T20" fmla="*/ 3 w 19"/>
                <a:gd name="T21" fmla="*/ 6 h 16"/>
                <a:gd name="T22" fmla="*/ 7 w 19"/>
                <a:gd name="T23" fmla="*/ 12 h 16"/>
                <a:gd name="T24" fmla="*/ 6 w 19"/>
                <a:gd name="T25" fmla="*/ 12 h 16"/>
                <a:gd name="T26" fmla="*/ 3 w 19"/>
                <a:gd name="T27" fmla="*/ 12 h 16"/>
                <a:gd name="T28" fmla="*/ 6 w 19"/>
                <a:gd name="T29" fmla="*/ 16 h 16"/>
                <a:gd name="T30" fmla="*/ 13 w 19"/>
                <a:gd name="T31" fmla="*/ 12 h 16"/>
                <a:gd name="T32" fmla="*/ 15 w 19"/>
                <a:gd name="T33" fmla="*/ 10 h 16"/>
                <a:gd name="T34" fmla="*/ 13 w 19"/>
                <a:gd name="T35" fmla="*/ 7 h 16"/>
                <a:gd name="T36" fmla="*/ 16 w 19"/>
                <a:gd name="T37" fmla="*/ 7 h 16"/>
                <a:gd name="T38" fmla="*/ 18 w 19"/>
                <a:gd name="T39" fmla="*/ 5 h 16"/>
                <a:gd name="T40" fmla="*/ 16 w 19"/>
                <a:gd name="T41" fmla="*/ 2 h 16"/>
                <a:gd name="T42" fmla="*/ 13 w 19"/>
                <a:gd name="T43" fmla="*/ 3 h 16"/>
                <a:gd name="T44" fmla="*/ 12 w 19"/>
                <a:gd name="T45" fmla="*/ 0 h 16"/>
                <a:gd name="T46" fmla="*/ 12 w 19"/>
                <a:gd name="T47"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6">
                  <a:moveTo>
                    <a:pt x="12" y="0"/>
                  </a:moveTo>
                  <a:cubicBezTo>
                    <a:pt x="11" y="0"/>
                    <a:pt x="8" y="1"/>
                    <a:pt x="8" y="1"/>
                  </a:cubicBezTo>
                  <a:cubicBezTo>
                    <a:pt x="8" y="1"/>
                    <a:pt x="8" y="1"/>
                    <a:pt x="8" y="1"/>
                  </a:cubicBezTo>
                  <a:cubicBezTo>
                    <a:pt x="8" y="1"/>
                    <a:pt x="8" y="1"/>
                    <a:pt x="8" y="1"/>
                  </a:cubicBezTo>
                  <a:cubicBezTo>
                    <a:pt x="8" y="1"/>
                    <a:pt x="8" y="1"/>
                    <a:pt x="7" y="1"/>
                  </a:cubicBezTo>
                  <a:cubicBezTo>
                    <a:pt x="7" y="1"/>
                    <a:pt x="7" y="1"/>
                    <a:pt x="7" y="1"/>
                  </a:cubicBezTo>
                  <a:cubicBezTo>
                    <a:pt x="7" y="2"/>
                    <a:pt x="9" y="4"/>
                    <a:pt x="9" y="5"/>
                  </a:cubicBezTo>
                  <a:cubicBezTo>
                    <a:pt x="8" y="4"/>
                    <a:pt x="8" y="4"/>
                    <a:pt x="8" y="4"/>
                  </a:cubicBezTo>
                  <a:cubicBezTo>
                    <a:pt x="6" y="4"/>
                    <a:pt x="7" y="5"/>
                    <a:pt x="5" y="6"/>
                  </a:cubicBezTo>
                  <a:cubicBezTo>
                    <a:pt x="5" y="6"/>
                    <a:pt x="4" y="6"/>
                    <a:pt x="3" y="6"/>
                  </a:cubicBezTo>
                  <a:cubicBezTo>
                    <a:pt x="3" y="6"/>
                    <a:pt x="3" y="6"/>
                    <a:pt x="3" y="6"/>
                  </a:cubicBezTo>
                  <a:cubicBezTo>
                    <a:pt x="0" y="8"/>
                    <a:pt x="5" y="10"/>
                    <a:pt x="7" y="12"/>
                  </a:cubicBezTo>
                  <a:cubicBezTo>
                    <a:pt x="7" y="12"/>
                    <a:pt x="7" y="12"/>
                    <a:pt x="6" y="12"/>
                  </a:cubicBezTo>
                  <a:cubicBezTo>
                    <a:pt x="5" y="12"/>
                    <a:pt x="4" y="12"/>
                    <a:pt x="3" y="12"/>
                  </a:cubicBezTo>
                  <a:cubicBezTo>
                    <a:pt x="4" y="14"/>
                    <a:pt x="5" y="15"/>
                    <a:pt x="6" y="16"/>
                  </a:cubicBezTo>
                  <a:cubicBezTo>
                    <a:pt x="9" y="15"/>
                    <a:pt x="10" y="14"/>
                    <a:pt x="13" y="12"/>
                  </a:cubicBezTo>
                  <a:cubicBezTo>
                    <a:pt x="13" y="11"/>
                    <a:pt x="15" y="11"/>
                    <a:pt x="15" y="10"/>
                  </a:cubicBezTo>
                  <a:cubicBezTo>
                    <a:pt x="17" y="8"/>
                    <a:pt x="14" y="8"/>
                    <a:pt x="13" y="7"/>
                  </a:cubicBezTo>
                  <a:cubicBezTo>
                    <a:pt x="14" y="7"/>
                    <a:pt x="15" y="7"/>
                    <a:pt x="16" y="7"/>
                  </a:cubicBezTo>
                  <a:cubicBezTo>
                    <a:pt x="17" y="7"/>
                    <a:pt x="17" y="7"/>
                    <a:pt x="18" y="5"/>
                  </a:cubicBezTo>
                  <a:cubicBezTo>
                    <a:pt x="19" y="3"/>
                    <a:pt x="17" y="2"/>
                    <a:pt x="16" y="2"/>
                  </a:cubicBezTo>
                  <a:cubicBezTo>
                    <a:pt x="15" y="2"/>
                    <a:pt x="14" y="2"/>
                    <a:pt x="13" y="3"/>
                  </a:cubicBezTo>
                  <a:cubicBezTo>
                    <a:pt x="14" y="2"/>
                    <a:pt x="14"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160"/>
            <p:cNvSpPr/>
            <p:nvPr/>
          </p:nvSpPr>
          <p:spPr bwMode="auto">
            <a:xfrm>
              <a:off x="7998589" y="6403248"/>
              <a:ext cx="24009" cy="50842"/>
            </a:xfrm>
            <a:custGeom>
              <a:gdLst>
                <a:gd name="T0" fmla="*/ 5 w 7"/>
                <a:gd name="T1" fmla="*/ 0 h 15"/>
                <a:gd name="T2" fmla="*/ 4 w 7"/>
                <a:gd name="T3" fmla="*/ 0 h 15"/>
                <a:gd name="T4" fmla="*/ 5 w 7"/>
                <a:gd name="T5" fmla="*/ 6 h 15"/>
                <a:gd name="T6" fmla="*/ 3 w 7"/>
                <a:gd name="T7" fmla="*/ 5 h 15"/>
                <a:gd name="T8" fmla="*/ 1 w 7"/>
                <a:gd name="T9" fmla="*/ 8 h 15"/>
                <a:gd name="T10" fmla="*/ 3 w 7"/>
                <a:gd name="T11" fmla="*/ 15 h 15"/>
                <a:gd name="T12" fmla="*/ 7 w 7"/>
                <a:gd name="T13" fmla="*/ 5 h 15"/>
                <a:gd name="T14" fmla="*/ 7 w 7"/>
                <a:gd name="T15" fmla="*/ 1 h 15"/>
                <a:gd name="T16" fmla="*/ 5 w 7"/>
                <a:gd name="T17"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5">
                  <a:moveTo>
                    <a:pt x="5" y="0"/>
                  </a:moveTo>
                  <a:cubicBezTo>
                    <a:pt x="5" y="0"/>
                    <a:pt x="5" y="0"/>
                    <a:pt x="4" y="0"/>
                  </a:cubicBezTo>
                  <a:cubicBezTo>
                    <a:pt x="3" y="0"/>
                    <a:pt x="5" y="5"/>
                    <a:pt x="5" y="6"/>
                  </a:cubicBezTo>
                  <a:cubicBezTo>
                    <a:pt x="4" y="6"/>
                    <a:pt x="4" y="5"/>
                    <a:pt x="3" y="5"/>
                  </a:cubicBezTo>
                  <a:cubicBezTo>
                    <a:pt x="2" y="5"/>
                    <a:pt x="2" y="7"/>
                    <a:pt x="1" y="8"/>
                  </a:cubicBezTo>
                  <a:cubicBezTo>
                    <a:pt x="0" y="11"/>
                    <a:pt x="1" y="12"/>
                    <a:pt x="3" y="15"/>
                  </a:cubicBezTo>
                  <a:cubicBezTo>
                    <a:pt x="5" y="13"/>
                    <a:pt x="6" y="8"/>
                    <a:pt x="7" y="5"/>
                  </a:cubicBezTo>
                  <a:cubicBezTo>
                    <a:pt x="7" y="4"/>
                    <a:pt x="7" y="2"/>
                    <a:pt x="7" y="1"/>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61"/>
            <p:cNvSpPr>
              <a:spLocks noEditPoints="1"/>
            </p:cNvSpPr>
            <p:nvPr/>
          </p:nvSpPr>
          <p:spPr bwMode="auto">
            <a:xfrm>
              <a:off x="8218904" y="6634861"/>
              <a:ext cx="96034" cy="56491"/>
            </a:xfrm>
            <a:custGeom>
              <a:gdLst>
                <a:gd name="T0" fmla="*/ 20 w 29"/>
                <a:gd name="T1" fmla="*/ 4 h 17"/>
                <a:gd name="T2" fmla="*/ 20 w 29"/>
                <a:gd name="T3" fmla="*/ 4 h 17"/>
                <a:gd name="T4" fmla="*/ 20 w 29"/>
                <a:gd name="T5" fmla="*/ 4 h 17"/>
                <a:gd name="T6" fmla="*/ 7 w 29"/>
                <a:gd name="T7" fmla="*/ 0 h 17"/>
                <a:gd name="T8" fmla="*/ 7 w 29"/>
                <a:gd name="T9" fmla="*/ 0 h 17"/>
                <a:gd name="T10" fmla="*/ 3 w 29"/>
                <a:gd name="T11" fmla="*/ 4 h 17"/>
                <a:gd name="T12" fmla="*/ 0 w 29"/>
                <a:gd name="T13" fmla="*/ 3 h 17"/>
                <a:gd name="T14" fmla="*/ 0 w 29"/>
                <a:gd name="T15" fmla="*/ 3 h 17"/>
                <a:gd name="T16" fmla="*/ 9 w 29"/>
                <a:gd name="T17" fmla="*/ 16 h 17"/>
                <a:gd name="T18" fmla="*/ 8 w 29"/>
                <a:gd name="T19" fmla="*/ 10 h 17"/>
                <a:gd name="T20" fmla="*/ 7 w 29"/>
                <a:gd name="T21" fmla="*/ 5 h 17"/>
                <a:gd name="T22" fmla="*/ 12 w 29"/>
                <a:gd name="T23" fmla="*/ 10 h 17"/>
                <a:gd name="T24" fmla="*/ 13 w 29"/>
                <a:gd name="T25" fmla="*/ 10 h 17"/>
                <a:gd name="T26" fmla="*/ 13 w 29"/>
                <a:gd name="T27" fmla="*/ 12 h 17"/>
                <a:gd name="T28" fmla="*/ 14 w 29"/>
                <a:gd name="T29" fmla="*/ 12 h 17"/>
                <a:gd name="T30" fmla="*/ 19 w 29"/>
                <a:gd name="T31" fmla="*/ 9 h 17"/>
                <a:gd name="T32" fmla="*/ 26 w 29"/>
                <a:gd name="T33" fmla="*/ 17 h 17"/>
                <a:gd name="T34" fmla="*/ 29 w 29"/>
                <a:gd name="T35" fmla="*/ 10 h 17"/>
                <a:gd name="T36" fmla="*/ 26 w 29"/>
                <a:gd name="T37" fmla="*/ 8 h 17"/>
                <a:gd name="T38" fmla="*/ 23 w 29"/>
                <a:gd name="T39" fmla="*/ 11 h 17"/>
                <a:gd name="T40" fmla="*/ 22 w 29"/>
                <a:gd name="T41" fmla="*/ 8 h 17"/>
                <a:gd name="T42" fmla="*/ 20 w 29"/>
                <a:gd name="T43" fmla="*/ 4 h 17"/>
                <a:gd name="T44" fmla="*/ 20 w 29"/>
                <a:gd name="T45" fmla="*/ 4 h 17"/>
                <a:gd name="T46" fmla="*/ 18 w 29"/>
                <a:gd name="T47" fmla="*/ 4 h 17"/>
                <a:gd name="T48" fmla="*/ 18 w 29"/>
                <a:gd name="T49" fmla="*/ 4 h 17"/>
                <a:gd name="T50" fmla="*/ 18 w 29"/>
                <a:gd name="T51" fmla="*/ 4 h 17"/>
                <a:gd name="T52" fmla="*/ 18 w 29"/>
                <a:gd name="T53" fmla="*/ 4 h 17"/>
                <a:gd name="T54" fmla="*/ 18 w 29"/>
                <a:gd name="T55" fmla="*/ 4 h 17"/>
                <a:gd name="T56" fmla="*/ 17 w 29"/>
                <a:gd name="T57" fmla="*/ 4 h 17"/>
                <a:gd name="T58" fmla="*/ 17 w 29"/>
                <a:gd name="T59" fmla="*/ 4 h 17"/>
                <a:gd name="T60" fmla="*/ 15 w 29"/>
                <a:gd name="T61" fmla="*/ 3 h 17"/>
                <a:gd name="T62" fmla="*/ 14 w 29"/>
                <a:gd name="T63" fmla="*/ 3 h 17"/>
                <a:gd name="T64" fmla="*/ 13 w 29"/>
                <a:gd name="T65" fmla="*/ 7 h 17"/>
                <a:gd name="T66" fmla="*/ 12 w 29"/>
                <a:gd name="T67" fmla="*/ 6 h 17"/>
                <a:gd name="T68" fmla="*/ 13 w 29"/>
                <a:gd name="T69" fmla="*/ 5 h 17"/>
                <a:gd name="T70" fmla="*/ 13 w 29"/>
                <a:gd name="T71" fmla="*/ 3 h 17"/>
                <a:gd name="T72" fmla="*/ 11 w 29"/>
                <a:gd name="T73" fmla="*/ 2 h 17"/>
                <a:gd name="T74" fmla="*/ 9 w 29"/>
                <a:gd name="T75" fmla="*/ 4 h 17"/>
                <a:gd name="T76" fmla="*/ 7 w 29"/>
                <a:gd name="T77"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 h="17">
                  <a:moveTo>
                    <a:pt x="20" y="4"/>
                  </a:moveTo>
                  <a:cubicBezTo>
                    <a:pt x="20" y="4"/>
                    <a:pt x="20" y="4"/>
                    <a:pt x="20" y="4"/>
                  </a:cubicBezTo>
                  <a:cubicBezTo>
                    <a:pt x="20" y="4"/>
                    <a:pt x="20" y="4"/>
                    <a:pt x="20" y="4"/>
                  </a:cubicBezTo>
                  <a:moveTo>
                    <a:pt x="7" y="0"/>
                  </a:moveTo>
                  <a:cubicBezTo>
                    <a:pt x="7" y="0"/>
                    <a:pt x="7" y="0"/>
                    <a:pt x="7" y="0"/>
                  </a:cubicBezTo>
                  <a:cubicBezTo>
                    <a:pt x="6" y="0"/>
                    <a:pt x="4" y="4"/>
                    <a:pt x="3" y="4"/>
                  </a:cubicBezTo>
                  <a:cubicBezTo>
                    <a:pt x="3" y="3"/>
                    <a:pt x="2" y="3"/>
                    <a:pt x="0" y="3"/>
                  </a:cubicBezTo>
                  <a:cubicBezTo>
                    <a:pt x="0" y="3"/>
                    <a:pt x="0" y="3"/>
                    <a:pt x="0" y="3"/>
                  </a:cubicBezTo>
                  <a:cubicBezTo>
                    <a:pt x="2" y="7"/>
                    <a:pt x="6" y="12"/>
                    <a:pt x="9" y="16"/>
                  </a:cubicBezTo>
                  <a:cubicBezTo>
                    <a:pt x="11" y="12"/>
                    <a:pt x="11" y="13"/>
                    <a:pt x="8" y="10"/>
                  </a:cubicBezTo>
                  <a:cubicBezTo>
                    <a:pt x="7" y="9"/>
                    <a:pt x="7" y="7"/>
                    <a:pt x="7" y="5"/>
                  </a:cubicBezTo>
                  <a:cubicBezTo>
                    <a:pt x="8" y="6"/>
                    <a:pt x="10" y="10"/>
                    <a:pt x="12" y="10"/>
                  </a:cubicBezTo>
                  <a:cubicBezTo>
                    <a:pt x="12" y="10"/>
                    <a:pt x="12" y="10"/>
                    <a:pt x="13" y="10"/>
                  </a:cubicBezTo>
                  <a:cubicBezTo>
                    <a:pt x="13" y="11"/>
                    <a:pt x="13" y="11"/>
                    <a:pt x="13" y="12"/>
                  </a:cubicBezTo>
                  <a:cubicBezTo>
                    <a:pt x="13" y="12"/>
                    <a:pt x="14" y="12"/>
                    <a:pt x="14" y="12"/>
                  </a:cubicBezTo>
                  <a:cubicBezTo>
                    <a:pt x="16" y="12"/>
                    <a:pt x="18" y="9"/>
                    <a:pt x="19" y="9"/>
                  </a:cubicBezTo>
                  <a:cubicBezTo>
                    <a:pt x="22" y="11"/>
                    <a:pt x="24" y="15"/>
                    <a:pt x="26" y="17"/>
                  </a:cubicBezTo>
                  <a:cubicBezTo>
                    <a:pt x="28" y="15"/>
                    <a:pt x="29" y="13"/>
                    <a:pt x="29" y="10"/>
                  </a:cubicBezTo>
                  <a:cubicBezTo>
                    <a:pt x="28" y="8"/>
                    <a:pt x="27" y="8"/>
                    <a:pt x="26" y="8"/>
                  </a:cubicBezTo>
                  <a:cubicBezTo>
                    <a:pt x="25" y="8"/>
                    <a:pt x="24" y="9"/>
                    <a:pt x="23" y="11"/>
                  </a:cubicBezTo>
                  <a:cubicBezTo>
                    <a:pt x="23" y="10"/>
                    <a:pt x="23" y="9"/>
                    <a:pt x="22" y="8"/>
                  </a:cubicBezTo>
                  <a:cubicBezTo>
                    <a:pt x="24" y="6"/>
                    <a:pt x="21" y="5"/>
                    <a:pt x="20" y="4"/>
                  </a:cubicBezTo>
                  <a:cubicBezTo>
                    <a:pt x="20" y="4"/>
                    <a:pt x="20" y="4"/>
                    <a:pt x="20" y="4"/>
                  </a:cubicBezTo>
                  <a:cubicBezTo>
                    <a:pt x="19" y="4"/>
                    <a:pt x="19" y="4"/>
                    <a:pt x="18" y="4"/>
                  </a:cubicBezTo>
                  <a:cubicBezTo>
                    <a:pt x="18" y="4"/>
                    <a:pt x="18" y="4"/>
                    <a:pt x="18" y="4"/>
                  </a:cubicBezTo>
                  <a:cubicBezTo>
                    <a:pt x="18" y="4"/>
                    <a:pt x="18" y="4"/>
                    <a:pt x="18" y="4"/>
                  </a:cubicBezTo>
                  <a:cubicBezTo>
                    <a:pt x="18" y="4"/>
                    <a:pt x="18" y="4"/>
                    <a:pt x="18" y="4"/>
                  </a:cubicBezTo>
                  <a:cubicBezTo>
                    <a:pt x="18" y="4"/>
                    <a:pt x="18" y="4"/>
                    <a:pt x="18" y="4"/>
                  </a:cubicBezTo>
                  <a:cubicBezTo>
                    <a:pt x="17" y="4"/>
                    <a:pt x="17" y="4"/>
                    <a:pt x="17" y="4"/>
                  </a:cubicBezTo>
                  <a:cubicBezTo>
                    <a:pt x="17" y="4"/>
                    <a:pt x="17" y="4"/>
                    <a:pt x="17" y="4"/>
                  </a:cubicBezTo>
                  <a:cubicBezTo>
                    <a:pt x="17" y="4"/>
                    <a:pt x="16" y="3"/>
                    <a:pt x="15" y="3"/>
                  </a:cubicBezTo>
                  <a:cubicBezTo>
                    <a:pt x="15" y="3"/>
                    <a:pt x="14" y="3"/>
                    <a:pt x="14" y="3"/>
                  </a:cubicBezTo>
                  <a:cubicBezTo>
                    <a:pt x="14" y="4"/>
                    <a:pt x="13" y="6"/>
                    <a:pt x="13" y="7"/>
                  </a:cubicBezTo>
                  <a:cubicBezTo>
                    <a:pt x="12" y="7"/>
                    <a:pt x="12" y="7"/>
                    <a:pt x="12" y="6"/>
                  </a:cubicBezTo>
                  <a:cubicBezTo>
                    <a:pt x="12" y="6"/>
                    <a:pt x="13" y="5"/>
                    <a:pt x="13" y="5"/>
                  </a:cubicBezTo>
                  <a:cubicBezTo>
                    <a:pt x="13" y="4"/>
                    <a:pt x="12" y="4"/>
                    <a:pt x="13" y="3"/>
                  </a:cubicBezTo>
                  <a:cubicBezTo>
                    <a:pt x="12" y="2"/>
                    <a:pt x="11" y="2"/>
                    <a:pt x="11" y="2"/>
                  </a:cubicBezTo>
                  <a:cubicBezTo>
                    <a:pt x="10" y="2"/>
                    <a:pt x="10" y="3"/>
                    <a:pt x="9" y="4"/>
                  </a:cubicBezTo>
                  <a:cubicBezTo>
                    <a:pt x="9" y="3"/>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62"/>
            <p:cNvSpPr/>
            <p:nvPr/>
          </p:nvSpPr>
          <p:spPr bwMode="auto">
            <a:xfrm>
              <a:off x="7954809" y="6197056"/>
              <a:ext cx="36719" cy="29658"/>
            </a:xfrm>
            <a:custGeom>
              <a:gdLst>
                <a:gd name="T0" fmla="*/ 3 w 11"/>
                <a:gd name="T1" fmla="*/ 0 h 9"/>
                <a:gd name="T2" fmla="*/ 1 w 11"/>
                <a:gd name="T3" fmla="*/ 2 h 9"/>
                <a:gd name="T4" fmla="*/ 2 w 11"/>
                <a:gd name="T5" fmla="*/ 6 h 9"/>
                <a:gd name="T6" fmla="*/ 7 w 11"/>
                <a:gd name="T7" fmla="*/ 5 h 9"/>
                <a:gd name="T8" fmla="*/ 11 w 11"/>
                <a:gd name="T9" fmla="*/ 9 h 9"/>
                <a:gd name="T10" fmla="*/ 6 w 11"/>
                <a:gd name="T11" fmla="*/ 1 h 9"/>
                <a:gd name="T12" fmla="*/ 3 w 11"/>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11" h="9">
                  <a:moveTo>
                    <a:pt x="3" y="0"/>
                  </a:moveTo>
                  <a:cubicBezTo>
                    <a:pt x="2" y="0"/>
                    <a:pt x="1" y="1"/>
                    <a:pt x="1" y="2"/>
                  </a:cubicBezTo>
                  <a:cubicBezTo>
                    <a:pt x="0" y="5"/>
                    <a:pt x="1" y="6"/>
                    <a:pt x="2" y="6"/>
                  </a:cubicBezTo>
                  <a:cubicBezTo>
                    <a:pt x="3" y="6"/>
                    <a:pt x="5" y="5"/>
                    <a:pt x="7" y="5"/>
                  </a:cubicBezTo>
                  <a:cubicBezTo>
                    <a:pt x="5" y="9"/>
                    <a:pt x="9" y="8"/>
                    <a:pt x="11" y="9"/>
                  </a:cubicBezTo>
                  <a:cubicBezTo>
                    <a:pt x="9" y="6"/>
                    <a:pt x="7" y="4"/>
                    <a:pt x="6"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63"/>
            <p:cNvSpPr/>
            <p:nvPr/>
          </p:nvSpPr>
          <p:spPr bwMode="auto">
            <a:xfrm>
              <a:off x="8519717" y="6747843"/>
              <a:ext cx="103096" cy="43780"/>
            </a:xfrm>
            <a:custGeom>
              <a:gdLst>
                <a:gd name="T0" fmla="*/ 6 w 31"/>
                <a:gd name="T1" fmla="*/ 0 h 13"/>
                <a:gd name="T2" fmla="*/ 0 w 31"/>
                <a:gd name="T3" fmla="*/ 1 h 13"/>
                <a:gd name="T4" fmla="*/ 4 w 31"/>
                <a:gd name="T5" fmla="*/ 4 h 13"/>
                <a:gd name="T6" fmla="*/ 4 w 31"/>
                <a:gd name="T7" fmla="*/ 6 h 13"/>
                <a:gd name="T8" fmla="*/ 5 w 31"/>
                <a:gd name="T9" fmla="*/ 9 h 13"/>
                <a:gd name="T10" fmla="*/ 14 w 31"/>
                <a:gd name="T11" fmla="*/ 11 h 13"/>
                <a:gd name="T12" fmla="*/ 11 w 31"/>
                <a:gd name="T13" fmla="*/ 11 h 13"/>
                <a:gd name="T14" fmla="*/ 14 w 31"/>
                <a:gd name="T15" fmla="*/ 12 h 13"/>
                <a:gd name="T16" fmla="*/ 16 w 31"/>
                <a:gd name="T17" fmla="*/ 11 h 13"/>
                <a:gd name="T18" fmla="*/ 20 w 31"/>
                <a:gd name="T19" fmla="*/ 9 h 13"/>
                <a:gd name="T20" fmla="*/ 21 w 31"/>
                <a:gd name="T21" fmla="*/ 9 h 13"/>
                <a:gd name="T22" fmla="*/ 23 w 31"/>
                <a:gd name="T23" fmla="*/ 13 h 13"/>
                <a:gd name="T24" fmla="*/ 24 w 31"/>
                <a:gd name="T25" fmla="*/ 13 h 13"/>
                <a:gd name="T26" fmla="*/ 30 w 31"/>
                <a:gd name="T27" fmla="*/ 8 h 13"/>
                <a:gd name="T28" fmla="*/ 17 w 31"/>
                <a:gd name="T29" fmla="*/ 1 h 13"/>
                <a:gd name="T30" fmla="*/ 15 w 31"/>
                <a:gd name="T31" fmla="*/ 1 h 13"/>
                <a:gd name="T32" fmla="*/ 8 w 31"/>
                <a:gd name="T33" fmla="*/ 0 h 13"/>
                <a:gd name="T34" fmla="*/ 6 w 31"/>
                <a:gd name="T3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13">
                  <a:moveTo>
                    <a:pt x="6" y="0"/>
                  </a:moveTo>
                  <a:cubicBezTo>
                    <a:pt x="4" y="0"/>
                    <a:pt x="2" y="0"/>
                    <a:pt x="0" y="1"/>
                  </a:cubicBezTo>
                  <a:cubicBezTo>
                    <a:pt x="1" y="2"/>
                    <a:pt x="3" y="3"/>
                    <a:pt x="4" y="4"/>
                  </a:cubicBezTo>
                  <a:cubicBezTo>
                    <a:pt x="4" y="5"/>
                    <a:pt x="4" y="5"/>
                    <a:pt x="4" y="6"/>
                  </a:cubicBezTo>
                  <a:cubicBezTo>
                    <a:pt x="4" y="7"/>
                    <a:pt x="4" y="8"/>
                    <a:pt x="5" y="9"/>
                  </a:cubicBezTo>
                  <a:cubicBezTo>
                    <a:pt x="2" y="11"/>
                    <a:pt x="13" y="10"/>
                    <a:pt x="14" y="11"/>
                  </a:cubicBezTo>
                  <a:cubicBezTo>
                    <a:pt x="13" y="11"/>
                    <a:pt x="12" y="11"/>
                    <a:pt x="11" y="11"/>
                  </a:cubicBezTo>
                  <a:cubicBezTo>
                    <a:pt x="12" y="11"/>
                    <a:pt x="13" y="12"/>
                    <a:pt x="14" y="12"/>
                  </a:cubicBezTo>
                  <a:cubicBezTo>
                    <a:pt x="15" y="12"/>
                    <a:pt x="16" y="12"/>
                    <a:pt x="16" y="11"/>
                  </a:cubicBezTo>
                  <a:cubicBezTo>
                    <a:pt x="17" y="10"/>
                    <a:pt x="18" y="9"/>
                    <a:pt x="20" y="9"/>
                  </a:cubicBezTo>
                  <a:cubicBezTo>
                    <a:pt x="20" y="9"/>
                    <a:pt x="20" y="9"/>
                    <a:pt x="21" y="9"/>
                  </a:cubicBezTo>
                  <a:cubicBezTo>
                    <a:pt x="22" y="10"/>
                    <a:pt x="21" y="13"/>
                    <a:pt x="23" y="13"/>
                  </a:cubicBezTo>
                  <a:cubicBezTo>
                    <a:pt x="24" y="13"/>
                    <a:pt x="24" y="13"/>
                    <a:pt x="24" y="13"/>
                  </a:cubicBezTo>
                  <a:cubicBezTo>
                    <a:pt x="26" y="13"/>
                    <a:pt x="29" y="10"/>
                    <a:pt x="30" y="8"/>
                  </a:cubicBezTo>
                  <a:cubicBezTo>
                    <a:pt x="31" y="3"/>
                    <a:pt x="21" y="2"/>
                    <a:pt x="17" y="1"/>
                  </a:cubicBezTo>
                  <a:cubicBezTo>
                    <a:pt x="17" y="1"/>
                    <a:pt x="16" y="1"/>
                    <a:pt x="15" y="1"/>
                  </a:cubicBezTo>
                  <a:cubicBezTo>
                    <a:pt x="13" y="1"/>
                    <a:pt x="10" y="0"/>
                    <a:pt x="8"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64"/>
            <p:cNvSpPr/>
            <p:nvPr/>
          </p:nvSpPr>
          <p:spPr bwMode="auto">
            <a:xfrm>
              <a:off x="8096036" y="5786084"/>
              <a:ext cx="12710" cy="29658"/>
            </a:xfrm>
            <a:custGeom>
              <a:gdLst>
                <a:gd name="T0" fmla="*/ 4 w 4"/>
                <a:gd name="T1" fmla="*/ 0 h 9"/>
                <a:gd name="T2" fmla="*/ 1 w 4"/>
                <a:gd name="T3" fmla="*/ 5 h 9"/>
                <a:gd name="T4" fmla="*/ 2 w 4"/>
                <a:gd name="T5" fmla="*/ 8 h 9"/>
                <a:gd name="T6" fmla="*/ 4 w 4"/>
                <a:gd name="T7" fmla="*/ 9 h 9"/>
                <a:gd name="T8" fmla="*/ 4 w 4"/>
                <a:gd name="T9" fmla="*/ 0 h 9"/>
              </a:gdLst>
              <a:cxnLst>
                <a:cxn ang="0">
                  <a:pos x="T0" y="T1"/>
                </a:cxn>
                <a:cxn ang="0">
                  <a:pos x="T2" y="T3"/>
                </a:cxn>
                <a:cxn ang="0">
                  <a:pos x="T4" y="T5"/>
                </a:cxn>
                <a:cxn ang="0">
                  <a:pos x="T6" y="T7"/>
                </a:cxn>
                <a:cxn ang="0">
                  <a:pos x="T8" y="T9"/>
                </a:cxn>
              </a:cxnLst>
              <a:rect l="0" t="0" r="r" b="b"/>
              <a:pathLst>
                <a:path w="4" h="9">
                  <a:moveTo>
                    <a:pt x="4" y="0"/>
                  </a:moveTo>
                  <a:cubicBezTo>
                    <a:pt x="1" y="2"/>
                    <a:pt x="1" y="3"/>
                    <a:pt x="1" y="5"/>
                  </a:cubicBezTo>
                  <a:cubicBezTo>
                    <a:pt x="1" y="7"/>
                    <a:pt x="0" y="6"/>
                    <a:pt x="2" y="8"/>
                  </a:cubicBezTo>
                  <a:cubicBezTo>
                    <a:pt x="3" y="8"/>
                    <a:pt x="3" y="9"/>
                    <a:pt x="4" y="9"/>
                  </a:cubicBezTo>
                  <a:cubicBezTo>
                    <a:pt x="4" y="6"/>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65"/>
            <p:cNvSpPr/>
            <p:nvPr/>
          </p:nvSpPr>
          <p:spPr bwMode="auto">
            <a:xfrm>
              <a:off x="8079089" y="5663217"/>
              <a:ext cx="12710" cy="15535"/>
            </a:xfrm>
            <a:custGeom>
              <a:gdLst>
                <a:gd name="T0" fmla="*/ 0 w 4"/>
                <a:gd name="T1" fmla="*/ 0 h 5"/>
                <a:gd name="T2" fmla="*/ 1 w 4"/>
                <a:gd name="T3" fmla="*/ 5 h 5"/>
                <a:gd name="T4" fmla="*/ 3 w 4"/>
                <a:gd name="T5" fmla="*/ 3 h 5"/>
                <a:gd name="T6" fmla="*/ 4 w 4"/>
                <a:gd name="T7" fmla="*/ 3 h 5"/>
                <a:gd name="T8" fmla="*/ 0 w 4"/>
                <a:gd name="T9" fmla="*/ 0 h 5"/>
              </a:gdLst>
              <a:cxnLst>
                <a:cxn ang="0">
                  <a:pos x="T0" y="T1"/>
                </a:cxn>
                <a:cxn ang="0">
                  <a:pos x="T2" y="T3"/>
                </a:cxn>
                <a:cxn ang="0">
                  <a:pos x="T4" y="T5"/>
                </a:cxn>
                <a:cxn ang="0">
                  <a:pos x="T6" y="T7"/>
                </a:cxn>
                <a:cxn ang="0">
                  <a:pos x="T8" y="T9"/>
                </a:cxn>
              </a:cxnLst>
              <a:rect l="0" t="0" r="r" b="b"/>
              <a:pathLst>
                <a:path w="4" h="5">
                  <a:moveTo>
                    <a:pt x="0" y="0"/>
                  </a:moveTo>
                  <a:cubicBezTo>
                    <a:pt x="0" y="2"/>
                    <a:pt x="0" y="4"/>
                    <a:pt x="1" y="5"/>
                  </a:cubicBezTo>
                  <a:cubicBezTo>
                    <a:pt x="1" y="4"/>
                    <a:pt x="2" y="3"/>
                    <a:pt x="3" y="3"/>
                  </a:cubicBezTo>
                  <a:cubicBezTo>
                    <a:pt x="3" y="3"/>
                    <a:pt x="3" y="3"/>
                    <a:pt x="4" y="3"/>
                  </a:cubicBezTo>
                  <a:cubicBezTo>
                    <a:pt x="2" y="2"/>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166"/>
            <p:cNvSpPr/>
            <p:nvPr/>
          </p:nvSpPr>
          <p:spPr bwMode="auto">
            <a:xfrm>
              <a:off x="8069203" y="5798795"/>
              <a:ext cx="22596" cy="14123"/>
            </a:xfrm>
            <a:custGeom>
              <a:gdLst>
                <a:gd name="T0" fmla="*/ 4 w 7"/>
                <a:gd name="T1" fmla="*/ 0 h 4"/>
                <a:gd name="T2" fmla="*/ 6 w 7"/>
                <a:gd name="T3" fmla="*/ 4 h 4"/>
                <a:gd name="T4" fmla="*/ 5 w 7"/>
                <a:gd name="T5" fmla="*/ 0 h 4"/>
                <a:gd name="T6" fmla="*/ 4 w 7"/>
                <a:gd name="T7" fmla="*/ 0 h 4"/>
              </a:gdLst>
              <a:cxnLst>
                <a:cxn ang="0">
                  <a:pos x="T0" y="T1"/>
                </a:cxn>
                <a:cxn ang="0">
                  <a:pos x="T2" y="T3"/>
                </a:cxn>
                <a:cxn ang="0">
                  <a:pos x="T4" y="T5"/>
                </a:cxn>
                <a:cxn ang="0">
                  <a:pos x="T6" y="T7"/>
                </a:cxn>
              </a:cxnLst>
              <a:rect l="0" t="0" r="r" b="b"/>
              <a:pathLst>
                <a:path w="7" h="4">
                  <a:moveTo>
                    <a:pt x="4" y="0"/>
                  </a:moveTo>
                  <a:cubicBezTo>
                    <a:pt x="0" y="0"/>
                    <a:pt x="3" y="2"/>
                    <a:pt x="6" y="4"/>
                  </a:cubicBezTo>
                  <a:cubicBezTo>
                    <a:pt x="6" y="2"/>
                    <a:pt x="7"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67"/>
            <p:cNvSpPr/>
            <p:nvPr/>
          </p:nvSpPr>
          <p:spPr bwMode="auto">
            <a:xfrm>
              <a:off x="8579032" y="6821281"/>
              <a:ext cx="26833" cy="22596"/>
            </a:xfrm>
            <a:custGeom>
              <a:gdLst>
                <a:gd name="T0" fmla="*/ 4 w 8"/>
                <a:gd name="T1" fmla="*/ 0 h 7"/>
                <a:gd name="T2" fmla="*/ 4 w 8"/>
                <a:gd name="T3" fmla="*/ 4 h 7"/>
                <a:gd name="T4" fmla="*/ 1 w 8"/>
                <a:gd name="T5" fmla="*/ 3 h 7"/>
                <a:gd name="T6" fmla="*/ 0 w 8"/>
                <a:gd name="T7" fmla="*/ 4 h 7"/>
                <a:gd name="T8" fmla="*/ 5 w 8"/>
                <a:gd name="T9" fmla="*/ 6 h 7"/>
                <a:gd name="T10" fmla="*/ 6 w 8"/>
                <a:gd name="T11" fmla="*/ 6 h 7"/>
                <a:gd name="T12" fmla="*/ 7 w 8"/>
                <a:gd name="T13" fmla="*/ 7 h 7"/>
                <a:gd name="T14" fmla="*/ 7 w 8"/>
                <a:gd name="T15" fmla="*/ 6 h 7"/>
                <a:gd name="T16" fmla="*/ 4 w 8"/>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0"/>
                  </a:moveTo>
                  <a:cubicBezTo>
                    <a:pt x="4" y="1"/>
                    <a:pt x="4" y="3"/>
                    <a:pt x="4" y="4"/>
                  </a:cubicBezTo>
                  <a:cubicBezTo>
                    <a:pt x="3" y="3"/>
                    <a:pt x="2" y="3"/>
                    <a:pt x="1" y="3"/>
                  </a:cubicBezTo>
                  <a:cubicBezTo>
                    <a:pt x="1" y="3"/>
                    <a:pt x="1" y="3"/>
                    <a:pt x="0" y="4"/>
                  </a:cubicBezTo>
                  <a:cubicBezTo>
                    <a:pt x="1" y="5"/>
                    <a:pt x="4" y="6"/>
                    <a:pt x="5" y="6"/>
                  </a:cubicBezTo>
                  <a:cubicBezTo>
                    <a:pt x="5" y="6"/>
                    <a:pt x="6" y="6"/>
                    <a:pt x="6" y="6"/>
                  </a:cubicBezTo>
                  <a:cubicBezTo>
                    <a:pt x="5" y="6"/>
                    <a:pt x="6" y="7"/>
                    <a:pt x="7" y="7"/>
                  </a:cubicBezTo>
                  <a:cubicBezTo>
                    <a:pt x="7" y="7"/>
                    <a:pt x="7" y="7"/>
                    <a:pt x="7" y="6"/>
                  </a:cubicBezTo>
                  <a:cubicBezTo>
                    <a:pt x="8" y="5"/>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68"/>
            <p:cNvSpPr/>
            <p:nvPr/>
          </p:nvSpPr>
          <p:spPr bwMode="auto">
            <a:xfrm>
              <a:off x="8062142" y="5732418"/>
              <a:ext cx="26833" cy="14123"/>
            </a:xfrm>
            <a:custGeom>
              <a:gdLst>
                <a:gd name="T0" fmla="*/ 4 w 8"/>
                <a:gd name="T1" fmla="*/ 0 h 4"/>
                <a:gd name="T2" fmla="*/ 0 w 8"/>
                <a:gd name="T3" fmla="*/ 4 h 4"/>
                <a:gd name="T4" fmla="*/ 8 w 8"/>
                <a:gd name="T5" fmla="*/ 2 h 4"/>
                <a:gd name="T6" fmla="*/ 4 w 8"/>
                <a:gd name="T7" fmla="*/ 0 h 4"/>
              </a:gdLst>
              <a:cxnLst>
                <a:cxn ang="0">
                  <a:pos x="T0" y="T1"/>
                </a:cxn>
                <a:cxn ang="0">
                  <a:pos x="T2" y="T3"/>
                </a:cxn>
                <a:cxn ang="0">
                  <a:pos x="T4" y="T5"/>
                </a:cxn>
                <a:cxn ang="0">
                  <a:pos x="T6" y="T7"/>
                </a:cxn>
              </a:cxnLst>
              <a:rect l="0" t="0" r="r" b="b"/>
              <a:pathLst>
                <a:path w="8" h="4">
                  <a:moveTo>
                    <a:pt x="4" y="0"/>
                  </a:moveTo>
                  <a:cubicBezTo>
                    <a:pt x="2" y="0"/>
                    <a:pt x="1" y="2"/>
                    <a:pt x="0" y="4"/>
                  </a:cubicBezTo>
                  <a:cubicBezTo>
                    <a:pt x="2" y="3"/>
                    <a:pt x="5" y="4"/>
                    <a:pt x="8"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69"/>
            <p:cNvSpPr/>
            <p:nvPr/>
          </p:nvSpPr>
          <p:spPr bwMode="auto">
            <a:xfrm>
              <a:off x="7985879" y="6043118"/>
              <a:ext cx="32482" cy="36719"/>
            </a:xfrm>
            <a:custGeom>
              <a:gdLst>
                <a:gd name="T0" fmla="*/ 0 w 10"/>
                <a:gd name="T1" fmla="*/ 0 h 11"/>
                <a:gd name="T2" fmla="*/ 0 w 10"/>
                <a:gd name="T3" fmla="*/ 0 h 11"/>
                <a:gd name="T4" fmla="*/ 5 w 10"/>
                <a:gd name="T5" fmla="*/ 11 h 11"/>
                <a:gd name="T6" fmla="*/ 10 w 10"/>
                <a:gd name="T7" fmla="*/ 4 h 11"/>
                <a:gd name="T8" fmla="*/ 8 w 10"/>
                <a:gd name="T9" fmla="*/ 5 h 11"/>
                <a:gd name="T10" fmla="*/ 5 w 10"/>
                <a:gd name="T11" fmla="*/ 1 h 11"/>
                <a:gd name="T12" fmla="*/ 0 w 10"/>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10" h="11">
                  <a:moveTo>
                    <a:pt x="0" y="0"/>
                  </a:moveTo>
                  <a:cubicBezTo>
                    <a:pt x="0" y="0"/>
                    <a:pt x="0" y="0"/>
                    <a:pt x="0" y="0"/>
                  </a:cubicBezTo>
                  <a:cubicBezTo>
                    <a:pt x="1" y="5"/>
                    <a:pt x="3" y="7"/>
                    <a:pt x="5" y="11"/>
                  </a:cubicBezTo>
                  <a:cubicBezTo>
                    <a:pt x="7" y="9"/>
                    <a:pt x="9" y="6"/>
                    <a:pt x="10" y="4"/>
                  </a:cubicBezTo>
                  <a:cubicBezTo>
                    <a:pt x="10" y="4"/>
                    <a:pt x="9" y="5"/>
                    <a:pt x="8" y="5"/>
                  </a:cubicBezTo>
                  <a:cubicBezTo>
                    <a:pt x="8" y="3"/>
                    <a:pt x="7" y="2"/>
                    <a:pt x="5"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70"/>
            <p:cNvSpPr/>
            <p:nvPr/>
          </p:nvSpPr>
          <p:spPr bwMode="auto">
            <a:xfrm>
              <a:off x="7954809" y="6136328"/>
              <a:ext cx="31070" cy="26833"/>
            </a:xfrm>
            <a:custGeom>
              <a:gdLst>
                <a:gd name="T0" fmla="*/ 7 w 9"/>
                <a:gd name="T1" fmla="*/ 0 h 8"/>
                <a:gd name="T2" fmla="*/ 1 w 9"/>
                <a:gd name="T3" fmla="*/ 4 h 8"/>
                <a:gd name="T4" fmla="*/ 3 w 9"/>
                <a:gd name="T5" fmla="*/ 8 h 8"/>
                <a:gd name="T6" fmla="*/ 5 w 9"/>
                <a:gd name="T7" fmla="*/ 4 h 8"/>
                <a:gd name="T8" fmla="*/ 5 w 9"/>
                <a:gd name="T9" fmla="*/ 4 h 8"/>
                <a:gd name="T10" fmla="*/ 6 w 9"/>
                <a:gd name="T11" fmla="*/ 4 h 8"/>
                <a:gd name="T12" fmla="*/ 7 w 9"/>
                <a:gd name="T13" fmla="*/ 4 h 8"/>
                <a:gd name="T14" fmla="*/ 7 w 9"/>
                <a:gd name="T15" fmla="*/ 4 h 8"/>
                <a:gd name="T16" fmla="*/ 7 w 9"/>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7" y="0"/>
                  </a:moveTo>
                  <a:cubicBezTo>
                    <a:pt x="5" y="1"/>
                    <a:pt x="3" y="2"/>
                    <a:pt x="1" y="4"/>
                  </a:cubicBezTo>
                  <a:cubicBezTo>
                    <a:pt x="0" y="6"/>
                    <a:pt x="0" y="6"/>
                    <a:pt x="3" y="8"/>
                  </a:cubicBezTo>
                  <a:cubicBezTo>
                    <a:pt x="3" y="7"/>
                    <a:pt x="4" y="5"/>
                    <a:pt x="5" y="4"/>
                  </a:cubicBezTo>
                  <a:cubicBezTo>
                    <a:pt x="5" y="4"/>
                    <a:pt x="5" y="4"/>
                    <a:pt x="5" y="4"/>
                  </a:cubicBezTo>
                  <a:cubicBezTo>
                    <a:pt x="6" y="4"/>
                    <a:pt x="6" y="4"/>
                    <a:pt x="6" y="4"/>
                  </a:cubicBezTo>
                  <a:cubicBezTo>
                    <a:pt x="6" y="4"/>
                    <a:pt x="6" y="4"/>
                    <a:pt x="7" y="4"/>
                  </a:cubicBezTo>
                  <a:cubicBezTo>
                    <a:pt x="7" y="4"/>
                    <a:pt x="7" y="4"/>
                    <a:pt x="7" y="4"/>
                  </a:cubicBezTo>
                  <a:cubicBezTo>
                    <a:pt x="9" y="2"/>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71"/>
            <p:cNvSpPr/>
            <p:nvPr/>
          </p:nvSpPr>
          <p:spPr bwMode="auto">
            <a:xfrm>
              <a:off x="8042370" y="5715471"/>
              <a:ext cx="9886" cy="16947"/>
            </a:xfrm>
            <a:custGeom>
              <a:gdLst>
                <a:gd name="T0" fmla="*/ 1 w 3"/>
                <a:gd name="T1" fmla="*/ 0 h 5"/>
                <a:gd name="T2" fmla="*/ 0 w 3"/>
                <a:gd name="T3" fmla="*/ 1 h 5"/>
                <a:gd name="T4" fmla="*/ 3 w 3"/>
                <a:gd name="T5" fmla="*/ 5 h 5"/>
                <a:gd name="T6" fmla="*/ 1 w 3"/>
                <a:gd name="T7" fmla="*/ 0 h 5"/>
              </a:gdLst>
              <a:cxnLst>
                <a:cxn ang="0">
                  <a:pos x="T0" y="T1"/>
                </a:cxn>
                <a:cxn ang="0">
                  <a:pos x="T2" y="T3"/>
                </a:cxn>
                <a:cxn ang="0">
                  <a:pos x="T4" y="T5"/>
                </a:cxn>
                <a:cxn ang="0">
                  <a:pos x="T6" y="T7"/>
                </a:cxn>
              </a:cxnLst>
              <a:rect l="0" t="0" r="r" b="b"/>
              <a:pathLst>
                <a:path w="3" h="5">
                  <a:moveTo>
                    <a:pt x="1" y="0"/>
                  </a:moveTo>
                  <a:cubicBezTo>
                    <a:pt x="1" y="0"/>
                    <a:pt x="1" y="1"/>
                    <a:pt x="0" y="1"/>
                  </a:cubicBezTo>
                  <a:cubicBezTo>
                    <a:pt x="1" y="2"/>
                    <a:pt x="2" y="3"/>
                    <a:pt x="3" y="5"/>
                  </a:cubicBezTo>
                  <a:cubicBezTo>
                    <a:pt x="3"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72"/>
            <p:cNvSpPr/>
            <p:nvPr/>
          </p:nvSpPr>
          <p:spPr bwMode="auto">
            <a:xfrm>
              <a:off x="8399674" y="6745018"/>
              <a:ext cx="56491" cy="15535"/>
            </a:xfrm>
            <a:custGeom>
              <a:gdLst>
                <a:gd name="T0" fmla="*/ 5 w 17"/>
                <a:gd name="T1" fmla="*/ 0 h 5"/>
                <a:gd name="T2" fmla="*/ 0 w 17"/>
                <a:gd name="T3" fmla="*/ 5 h 5"/>
                <a:gd name="T4" fmla="*/ 10 w 17"/>
                <a:gd name="T5" fmla="*/ 4 h 5"/>
                <a:gd name="T6" fmla="*/ 17 w 17"/>
                <a:gd name="T7" fmla="*/ 3 h 5"/>
                <a:gd name="T8" fmla="*/ 6 w 17"/>
                <a:gd name="T9" fmla="*/ 0 h 5"/>
                <a:gd name="T10" fmla="*/ 5 w 17"/>
                <a:gd name="T11" fmla="*/ 0 h 5"/>
              </a:gdLst>
              <a:cxnLst>
                <a:cxn ang="0">
                  <a:pos x="T0" y="T1"/>
                </a:cxn>
                <a:cxn ang="0">
                  <a:pos x="T2" y="T3"/>
                </a:cxn>
                <a:cxn ang="0">
                  <a:pos x="T4" y="T5"/>
                </a:cxn>
                <a:cxn ang="0">
                  <a:pos x="T6" y="T7"/>
                </a:cxn>
                <a:cxn ang="0">
                  <a:pos x="T8" y="T9"/>
                </a:cxn>
                <a:cxn ang="0">
                  <a:pos x="T10" y="T11"/>
                </a:cxn>
              </a:cxnLst>
              <a:rect l="0" t="0" r="r" b="b"/>
              <a:pathLst>
                <a:path w="17" h="5">
                  <a:moveTo>
                    <a:pt x="5" y="0"/>
                  </a:moveTo>
                  <a:cubicBezTo>
                    <a:pt x="2" y="0"/>
                    <a:pt x="1" y="2"/>
                    <a:pt x="0" y="5"/>
                  </a:cubicBezTo>
                  <a:cubicBezTo>
                    <a:pt x="2" y="4"/>
                    <a:pt x="7" y="5"/>
                    <a:pt x="10" y="4"/>
                  </a:cubicBezTo>
                  <a:cubicBezTo>
                    <a:pt x="11" y="4"/>
                    <a:pt x="14" y="3"/>
                    <a:pt x="17" y="3"/>
                  </a:cubicBezTo>
                  <a:cubicBezTo>
                    <a:pt x="14" y="2"/>
                    <a:pt x="10"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73"/>
            <p:cNvSpPr/>
            <p:nvPr/>
          </p:nvSpPr>
          <p:spPr bwMode="auto">
            <a:xfrm>
              <a:off x="7995765" y="6413134"/>
              <a:ext cx="12710" cy="16947"/>
            </a:xfrm>
            <a:custGeom>
              <a:gdLst>
                <a:gd name="T0" fmla="*/ 4 w 4"/>
                <a:gd name="T1" fmla="*/ 0 h 5"/>
                <a:gd name="T2" fmla="*/ 0 w 4"/>
                <a:gd name="T3" fmla="*/ 5 h 5"/>
                <a:gd name="T4" fmla="*/ 4 w 4"/>
                <a:gd name="T5" fmla="*/ 0 h 5"/>
              </a:gdLst>
              <a:cxnLst>
                <a:cxn ang="0">
                  <a:pos x="T0" y="T1"/>
                </a:cxn>
                <a:cxn ang="0">
                  <a:pos x="T2" y="T3"/>
                </a:cxn>
                <a:cxn ang="0">
                  <a:pos x="T4" y="T5"/>
                </a:cxn>
              </a:cxnLst>
              <a:rect l="0" t="0" r="r" b="b"/>
              <a:pathLst>
                <a:path w="4" h="5">
                  <a:moveTo>
                    <a:pt x="4" y="0"/>
                  </a:moveTo>
                  <a:cubicBezTo>
                    <a:pt x="2" y="1"/>
                    <a:pt x="1" y="3"/>
                    <a:pt x="0" y="5"/>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174"/>
            <p:cNvSpPr/>
            <p:nvPr/>
          </p:nvSpPr>
          <p:spPr bwMode="auto">
            <a:xfrm>
              <a:off x="8231614" y="6718185"/>
              <a:ext cx="7061" cy="12710"/>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0" y="0"/>
                    <a:pt x="0" y="2"/>
                    <a:pt x="2" y="4"/>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75"/>
            <p:cNvSpPr/>
            <p:nvPr/>
          </p:nvSpPr>
          <p:spPr bwMode="auto">
            <a:xfrm>
              <a:off x="8125694" y="6654633"/>
              <a:ext cx="16947" cy="9886"/>
            </a:xfrm>
            <a:custGeom>
              <a:gdLst>
                <a:gd name="T0" fmla="*/ 2 w 5"/>
                <a:gd name="T1" fmla="*/ 0 h 3"/>
                <a:gd name="T2" fmla="*/ 0 w 5"/>
                <a:gd name="T3" fmla="*/ 1 h 3"/>
                <a:gd name="T4" fmla="*/ 5 w 5"/>
                <a:gd name="T5" fmla="*/ 3 h 3"/>
                <a:gd name="T6" fmla="*/ 2 w 5"/>
                <a:gd name="T7" fmla="*/ 0 h 3"/>
              </a:gdLst>
              <a:cxnLst>
                <a:cxn ang="0">
                  <a:pos x="T0" y="T1"/>
                </a:cxn>
                <a:cxn ang="0">
                  <a:pos x="T2" y="T3"/>
                </a:cxn>
                <a:cxn ang="0">
                  <a:pos x="T4" y="T5"/>
                </a:cxn>
                <a:cxn ang="0">
                  <a:pos x="T6" y="T7"/>
                </a:cxn>
              </a:cxnLst>
              <a:rect l="0" t="0" r="r" b="b"/>
              <a:pathLst>
                <a:path w="5" h="3">
                  <a:moveTo>
                    <a:pt x="2" y="0"/>
                  </a:moveTo>
                  <a:cubicBezTo>
                    <a:pt x="1" y="0"/>
                    <a:pt x="1" y="0"/>
                    <a:pt x="0" y="1"/>
                  </a:cubicBezTo>
                  <a:cubicBezTo>
                    <a:pt x="1" y="2"/>
                    <a:pt x="3" y="2"/>
                    <a:pt x="5"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76"/>
            <p:cNvSpPr/>
            <p:nvPr/>
          </p:nvSpPr>
          <p:spPr bwMode="auto">
            <a:xfrm>
              <a:off x="8005651" y="6302977"/>
              <a:ext cx="22596" cy="24009"/>
            </a:xfrm>
            <a:custGeom>
              <a:gdLst>
                <a:gd name="T0" fmla="*/ 3 w 7"/>
                <a:gd name="T1" fmla="*/ 0 h 7"/>
                <a:gd name="T2" fmla="*/ 2 w 7"/>
                <a:gd name="T3" fmla="*/ 1 h 7"/>
                <a:gd name="T4" fmla="*/ 7 w 7"/>
                <a:gd name="T5" fmla="*/ 7 h 7"/>
                <a:gd name="T6" fmla="*/ 6 w 7"/>
                <a:gd name="T7" fmla="*/ 3 h 7"/>
                <a:gd name="T8" fmla="*/ 5 w 7"/>
                <a:gd name="T9" fmla="*/ 1 h 7"/>
                <a:gd name="T10" fmla="*/ 3 w 7"/>
                <a:gd name="T11" fmla="*/ 0 h 7"/>
              </a:gdLst>
              <a:cxnLst>
                <a:cxn ang="0">
                  <a:pos x="T0" y="T1"/>
                </a:cxn>
                <a:cxn ang="0">
                  <a:pos x="T2" y="T3"/>
                </a:cxn>
                <a:cxn ang="0">
                  <a:pos x="T4" y="T5"/>
                </a:cxn>
                <a:cxn ang="0">
                  <a:pos x="T6" y="T7"/>
                </a:cxn>
                <a:cxn ang="0">
                  <a:pos x="T8" y="T9"/>
                </a:cxn>
                <a:cxn ang="0">
                  <a:pos x="T10" y="T11"/>
                </a:cxn>
              </a:cxnLst>
              <a:rect l="0" t="0" r="r" b="b"/>
              <a:pathLst>
                <a:path w="7" h="7">
                  <a:moveTo>
                    <a:pt x="3" y="0"/>
                  </a:moveTo>
                  <a:cubicBezTo>
                    <a:pt x="3" y="0"/>
                    <a:pt x="2" y="0"/>
                    <a:pt x="2" y="1"/>
                  </a:cubicBezTo>
                  <a:cubicBezTo>
                    <a:pt x="0" y="3"/>
                    <a:pt x="5" y="6"/>
                    <a:pt x="7" y="7"/>
                  </a:cubicBezTo>
                  <a:cubicBezTo>
                    <a:pt x="5" y="4"/>
                    <a:pt x="6" y="5"/>
                    <a:pt x="6" y="3"/>
                  </a:cubicBezTo>
                  <a:cubicBezTo>
                    <a:pt x="5" y="1"/>
                    <a:pt x="6"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77"/>
            <p:cNvSpPr/>
            <p:nvPr/>
          </p:nvSpPr>
          <p:spPr bwMode="auto">
            <a:xfrm>
              <a:off x="8069203" y="5786084"/>
              <a:ext cx="32482" cy="12710"/>
            </a:xfrm>
            <a:custGeom>
              <a:gdLst>
                <a:gd name="T0" fmla="*/ 3 w 10"/>
                <a:gd name="T1" fmla="*/ 0 h 4"/>
                <a:gd name="T2" fmla="*/ 2 w 10"/>
                <a:gd name="T3" fmla="*/ 1 h 4"/>
                <a:gd name="T4" fmla="*/ 2 w 10"/>
                <a:gd name="T5" fmla="*/ 4 h 4"/>
                <a:gd name="T6" fmla="*/ 2 w 10"/>
                <a:gd name="T7" fmla="*/ 4 h 4"/>
                <a:gd name="T8" fmla="*/ 4 w 10"/>
                <a:gd name="T9" fmla="*/ 3 h 4"/>
                <a:gd name="T10" fmla="*/ 5 w 10"/>
                <a:gd name="T11" fmla="*/ 3 h 4"/>
                <a:gd name="T12" fmla="*/ 6 w 10"/>
                <a:gd name="T13" fmla="*/ 3 h 4"/>
                <a:gd name="T14" fmla="*/ 7 w 10"/>
                <a:gd name="T15" fmla="*/ 3 h 4"/>
                <a:gd name="T16" fmla="*/ 4 w 10"/>
                <a:gd name="T17" fmla="*/ 0 h 4"/>
                <a:gd name="T18" fmla="*/ 4 w 10"/>
                <a:gd name="T19" fmla="*/ 0 h 4"/>
                <a:gd name="T20" fmla="*/ 4 w 10"/>
                <a:gd name="T21" fmla="*/ 0 h 4"/>
                <a:gd name="T22" fmla="*/ 4 w 10"/>
                <a:gd name="T23" fmla="*/ 0 h 4"/>
                <a:gd name="T24" fmla="*/ 3 w 10"/>
                <a:gd name="T25"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4">
                  <a:moveTo>
                    <a:pt x="3" y="0"/>
                  </a:moveTo>
                  <a:cubicBezTo>
                    <a:pt x="3" y="0"/>
                    <a:pt x="2" y="0"/>
                    <a:pt x="2" y="1"/>
                  </a:cubicBezTo>
                  <a:cubicBezTo>
                    <a:pt x="1" y="2"/>
                    <a:pt x="0" y="4"/>
                    <a:pt x="2" y="4"/>
                  </a:cubicBezTo>
                  <a:cubicBezTo>
                    <a:pt x="2" y="4"/>
                    <a:pt x="2" y="4"/>
                    <a:pt x="2" y="4"/>
                  </a:cubicBezTo>
                  <a:cubicBezTo>
                    <a:pt x="3" y="3"/>
                    <a:pt x="3" y="3"/>
                    <a:pt x="4" y="3"/>
                  </a:cubicBezTo>
                  <a:cubicBezTo>
                    <a:pt x="4" y="3"/>
                    <a:pt x="5" y="3"/>
                    <a:pt x="5" y="3"/>
                  </a:cubicBezTo>
                  <a:cubicBezTo>
                    <a:pt x="5" y="3"/>
                    <a:pt x="6" y="3"/>
                    <a:pt x="6" y="3"/>
                  </a:cubicBezTo>
                  <a:cubicBezTo>
                    <a:pt x="6" y="3"/>
                    <a:pt x="7" y="3"/>
                    <a:pt x="7" y="3"/>
                  </a:cubicBezTo>
                  <a:cubicBezTo>
                    <a:pt x="10" y="3"/>
                    <a:pt x="6" y="0"/>
                    <a:pt x="4" y="0"/>
                  </a:cubicBezTo>
                  <a:cubicBezTo>
                    <a:pt x="4" y="0"/>
                    <a:pt x="4" y="0"/>
                    <a:pt x="4" y="0"/>
                  </a:cubicBezTo>
                  <a:cubicBezTo>
                    <a:pt x="4" y="0"/>
                    <a:pt x="4" y="0"/>
                    <a:pt x="4" y="0"/>
                  </a:cubicBezTo>
                  <a:cubicBezTo>
                    <a:pt x="4" y="0"/>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78"/>
            <p:cNvSpPr/>
            <p:nvPr/>
          </p:nvSpPr>
          <p:spPr bwMode="auto">
            <a:xfrm flipH="1">
              <a:off x="8615751" y="6843877"/>
              <a:ext cx="0" cy="14123"/>
            </a:xfrm>
            <a:custGeom>
              <a:gdLst>
                <a:gd name="T0" fmla="*/ 0 h 4"/>
                <a:gd name="T1" fmla="*/ 4 h 4"/>
                <a:gd name="T2" fmla="*/ 0 h 4"/>
              </a:gdLst>
              <a:cxnLst>
                <a:cxn ang="0">
                  <a:pos x="0" y="T0"/>
                </a:cxn>
                <a:cxn ang="0">
                  <a:pos x="0" y="T1"/>
                </a:cxn>
                <a:cxn ang="0">
                  <a:pos x="0" y="T2"/>
                </a:cxn>
              </a:cxnLst>
              <a:rect l="0" t="0" r="r" b="b"/>
              <a:pathLst>
                <a:path h="4">
                  <a:moveTo>
                    <a:pt x="0" y="0"/>
                  </a:moveTo>
                  <a:cubicBezTo>
                    <a:pt x="0" y="1"/>
                    <a:pt x="0" y="3"/>
                    <a:pt x="0" y="4"/>
                  </a:cubicBezTo>
                  <a:cubicBezTo>
                    <a:pt x="0" y="3"/>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79"/>
            <p:cNvSpPr/>
            <p:nvPr/>
          </p:nvSpPr>
          <p:spPr bwMode="auto">
            <a:xfrm>
              <a:off x="8032484" y="5709822"/>
              <a:ext cx="12710" cy="5649"/>
            </a:xfrm>
            <a:custGeom>
              <a:gdLst>
                <a:gd name="T0" fmla="*/ 1 w 4"/>
                <a:gd name="T1" fmla="*/ 0 h 2"/>
                <a:gd name="T2" fmla="*/ 0 w 4"/>
                <a:gd name="T3" fmla="*/ 1 h 2"/>
                <a:gd name="T4" fmla="*/ 4 w 4"/>
                <a:gd name="T5" fmla="*/ 2 h 2"/>
                <a:gd name="T6" fmla="*/ 1 w 4"/>
                <a:gd name="T7" fmla="*/ 0 h 2"/>
              </a:gdLst>
              <a:cxnLst>
                <a:cxn ang="0">
                  <a:pos x="T0" y="T1"/>
                </a:cxn>
                <a:cxn ang="0">
                  <a:pos x="T2" y="T3"/>
                </a:cxn>
                <a:cxn ang="0">
                  <a:pos x="T4" y="T5"/>
                </a:cxn>
                <a:cxn ang="0">
                  <a:pos x="T6" y="T7"/>
                </a:cxn>
              </a:cxnLst>
              <a:rect l="0" t="0" r="r" b="b"/>
              <a:pathLst>
                <a:path w="4" h="2">
                  <a:moveTo>
                    <a:pt x="1" y="0"/>
                  </a:moveTo>
                  <a:cubicBezTo>
                    <a:pt x="1" y="0"/>
                    <a:pt x="0" y="0"/>
                    <a:pt x="0" y="1"/>
                  </a:cubicBezTo>
                  <a:cubicBezTo>
                    <a:pt x="1" y="2"/>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80"/>
            <p:cNvSpPr/>
            <p:nvPr/>
          </p:nvSpPr>
          <p:spPr bwMode="auto">
            <a:xfrm>
              <a:off x="8045194" y="6410309"/>
              <a:ext cx="36719" cy="26833"/>
            </a:xfrm>
            <a:custGeom>
              <a:gdLst>
                <a:gd name="T0" fmla="*/ 0 w 11"/>
                <a:gd name="T1" fmla="*/ 0 h 8"/>
                <a:gd name="T2" fmla="*/ 7 w 11"/>
                <a:gd name="T3" fmla="*/ 8 h 8"/>
                <a:gd name="T4" fmla="*/ 4 w 11"/>
                <a:gd name="T5" fmla="*/ 3 h 8"/>
                <a:gd name="T6" fmla="*/ 0 w 11"/>
                <a:gd name="T7" fmla="*/ 0 h 8"/>
              </a:gdLst>
              <a:cxnLst>
                <a:cxn ang="0">
                  <a:pos x="T0" y="T1"/>
                </a:cxn>
                <a:cxn ang="0">
                  <a:pos x="T2" y="T3"/>
                </a:cxn>
                <a:cxn ang="0">
                  <a:pos x="T4" y="T5"/>
                </a:cxn>
                <a:cxn ang="0">
                  <a:pos x="T6" y="T7"/>
                </a:cxn>
              </a:cxnLst>
              <a:rect l="0" t="0" r="r" b="b"/>
              <a:pathLst>
                <a:path w="11" h="8">
                  <a:moveTo>
                    <a:pt x="0" y="0"/>
                  </a:moveTo>
                  <a:cubicBezTo>
                    <a:pt x="2" y="3"/>
                    <a:pt x="5" y="5"/>
                    <a:pt x="7" y="8"/>
                  </a:cubicBezTo>
                  <a:cubicBezTo>
                    <a:pt x="11" y="5"/>
                    <a:pt x="5" y="4"/>
                    <a:pt x="4" y="3"/>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81"/>
            <p:cNvSpPr/>
            <p:nvPr/>
          </p:nvSpPr>
          <p:spPr bwMode="auto">
            <a:xfrm>
              <a:off x="8559261" y="6848114"/>
              <a:ext cx="19772" cy="0"/>
            </a:xfrm>
            <a:custGeom>
              <a:gdLst>
                <a:gd name="T0" fmla="*/ 2 w 6"/>
                <a:gd name="T1" fmla="*/ 0 w 6"/>
                <a:gd name="T2" fmla="*/ 1 w 6"/>
                <a:gd name="T3" fmla="*/ 6 w 6"/>
                <a:gd name="T4" fmla="*/ 2 w 6"/>
              </a:gdLst>
              <a:cxnLst>
                <a:cxn ang="0">
                  <a:pos x="T0" y="0"/>
                </a:cxn>
                <a:cxn ang="0">
                  <a:pos x="T1" y="0"/>
                </a:cxn>
                <a:cxn ang="0">
                  <a:pos x="T2" y="0"/>
                </a:cxn>
                <a:cxn ang="0">
                  <a:pos x="T3" y="0"/>
                </a:cxn>
                <a:cxn ang="0">
                  <a:pos x="T4" y="0"/>
                </a:cxn>
              </a:cxnLst>
              <a:rect l="0" t="0" r="r" b="b"/>
              <a:pathLst>
                <a:path w="6">
                  <a:moveTo>
                    <a:pt x="2" y="0"/>
                  </a:moveTo>
                  <a:cubicBezTo>
                    <a:pt x="1" y="0"/>
                    <a:pt x="0" y="0"/>
                    <a:pt x="0" y="0"/>
                  </a:cubicBezTo>
                  <a:cubicBezTo>
                    <a:pt x="0" y="0"/>
                    <a:pt x="1" y="0"/>
                    <a:pt x="1" y="0"/>
                  </a:cubicBezTo>
                  <a:cubicBezTo>
                    <a:pt x="3" y="0"/>
                    <a:pt x="4" y="0"/>
                    <a:pt x="6" y="0"/>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82"/>
            <p:cNvSpPr/>
            <p:nvPr/>
          </p:nvSpPr>
          <p:spPr bwMode="auto">
            <a:xfrm>
              <a:off x="8194895" y="6687115"/>
              <a:ext cx="21184" cy="9886"/>
            </a:xfrm>
            <a:custGeom>
              <a:gdLst>
                <a:gd name="T0" fmla="*/ 2 w 6"/>
                <a:gd name="T1" fmla="*/ 0 h 3"/>
                <a:gd name="T2" fmla="*/ 2 w 6"/>
                <a:gd name="T3" fmla="*/ 3 h 3"/>
                <a:gd name="T4" fmla="*/ 4 w 6"/>
                <a:gd name="T5" fmla="*/ 0 h 3"/>
                <a:gd name="T6" fmla="*/ 5 w 6"/>
                <a:gd name="T7" fmla="*/ 0 h 3"/>
                <a:gd name="T8" fmla="*/ 5 w 6"/>
                <a:gd name="T9" fmla="*/ 0 h 3"/>
                <a:gd name="T10" fmla="*/ 2 w 6"/>
                <a:gd name="T11" fmla="*/ 0 h 3"/>
              </a:gdLst>
              <a:cxnLst>
                <a:cxn ang="0">
                  <a:pos x="T0" y="T1"/>
                </a:cxn>
                <a:cxn ang="0">
                  <a:pos x="T2" y="T3"/>
                </a:cxn>
                <a:cxn ang="0">
                  <a:pos x="T4" y="T5"/>
                </a:cxn>
                <a:cxn ang="0">
                  <a:pos x="T6" y="T7"/>
                </a:cxn>
                <a:cxn ang="0">
                  <a:pos x="T8" y="T9"/>
                </a:cxn>
                <a:cxn ang="0">
                  <a:pos x="T10" y="T11"/>
                </a:cxn>
              </a:cxnLst>
              <a:rect l="0" t="0" r="r" b="b"/>
              <a:pathLst>
                <a:path w="6" h="3">
                  <a:moveTo>
                    <a:pt x="2" y="0"/>
                  </a:moveTo>
                  <a:cubicBezTo>
                    <a:pt x="1" y="0"/>
                    <a:pt x="0" y="0"/>
                    <a:pt x="2" y="3"/>
                  </a:cubicBezTo>
                  <a:cubicBezTo>
                    <a:pt x="3" y="2"/>
                    <a:pt x="4" y="1"/>
                    <a:pt x="4" y="0"/>
                  </a:cubicBezTo>
                  <a:cubicBezTo>
                    <a:pt x="4" y="0"/>
                    <a:pt x="5" y="0"/>
                    <a:pt x="5" y="0"/>
                  </a:cubicBezTo>
                  <a:cubicBezTo>
                    <a:pt x="6" y="0"/>
                    <a:pt x="6"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83"/>
            <p:cNvSpPr>
              <a:spLocks noEditPoints="1"/>
            </p:cNvSpPr>
            <p:nvPr/>
          </p:nvSpPr>
          <p:spPr bwMode="auto">
            <a:xfrm>
              <a:off x="8655295" y="6781737"/>
              <a:ext cx="11298" cy="5649"/>
            </a:xfrm>
            <a:custGeom>
              <a:gdLst>
                <a:gd name="T0" fmla="*/ 1 w 3"/>
                <a:gd name="T1" fmla="*/ 2 h 2"/>
                <a:gd name="T2" fmla="*/ 0 w 3"/>
                <a:gd name="T3" fmla="*/ 2 h 2"/>
                <a:gd name="T4" fmla="*/ 1 w 3"/>
                <a:gd name="T5" fmla="*/ 2 h 2"/>
                <a:gd name="T6" fmla="*/ 3 w 3"/>
                <a:gd name="T7" fmla="*/ 0 h 2"/>
                <a:gd name="T8" fmla="*/ 1 w 3"/>
                <a:gd name="T9" fmla="*/ 2 h 2"/>
                <a:gd name="T10" fmla="*/ 3 w 3"/>
                <a:gd name="T11" fmla="*/ 0 h 2"/>
              </a:gdLst>
              <a:cxnLst>
                <a:cxn ang="0">
                  <a:pos x="T0" y="T1"/>
                </a:cxn>
                <a:cxn ang="0">
                  <a:pos x="T2" y="T3"/>
                </a:cxn>
                <a:cxn ang="0">
                  <a:pos x="T4" y="T5"/>
                </a:cxn>
                <a:cxn ang="0">
                  <a:pos x="T6" y="T7"/>
                </a:cxn>
                <a:cxn ang="0">
                  <a:pos x="T8" y="T9"/>
                </a:cxn>
                <a:cxn ang="0">
                  <a:pos x="T10" y="T11"/>
                </a:cxn>
              </a:cxnLst>
              <a:rect l="0" t="0" r="r" b="b"/>
              <a:pathLst>
                <a:path w="3" h="2">
                  <a:moveTo>
                    <a:pt x="1" y="2"/>
                  </a:moveTo>
                  <a:cubicBezTo>
                    <a:pt x="1" y="2"/>
                    <a:pt x="0" y="2"/>
                    <a:pt x="0" y="2"/>
                  </a:cubicBezTo>
                  <a:cubicBezTo>
                    <a:pt x="0" y="2"/>
                    <a:pt x="1" y="2"/>
                    <a:pt x="1" y="2"/>
                  </a:cubicBezTo>
                  <a:moveTo>
                    <a:pt x="3" y="0"/>
                  </a:moveTo>
                  <a:cubicBezTo>
                    <a:pt x="2" y="1"/>
                    <a:pt x="1" y="1"/>
                    <a:pt x="1" y="2"/>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84"/>
            <p:cNvSpPr/>
            <p:nvPr/>
          </p:nvSpPr>
          <p:spPr bwMode="auto">
            <a:xfrm>
              <a:off x="8091799" y="6593905"/>
              <a:ext cx="16947" cy="14123"/>
            </a:xfrm>
            <a:custGeom>
              <a:gdLst>
                <a:gd name="T0" fmla="*/ 1 w 5"/>
                <a:gd name="T1" fmla="*/ 0 h 4"/>
                <a:gd name="T2" fmla="*/ 1 w 5"/>
                <a:gd name="T3" fmla="*/ 4 h 4"/>
                <a:gd name="T4" fmla="*/ 1 w 5"/>
                <a:gd name="T5" fmla="*/ 0 h 4"/>
              </a:gdLst>
              <a:cxnLst>
                <a:cxn ang="0">
                  <a:pos x="T0" y="T1"/>
                </a:cxn>
                <a:cxn ang="0">
                  <a:pos x="T2" y="T3"/>
                </a:cxn>
                <a:cxn ang="0">
                  <a:pos x="T4" y="T5"/>
                </a:cxn>
              </a:cxnLst>
              <a:rect l="0" t="0" r="r" b="b"/>
              <a:pathLst>
                <a:path w="5" h="4">
                  <a:moveTo>
                    <a:pt x="1" y="0"/>
                  </a:moveTo>
                  <a:cubicBezTo>
                    <a:pt x="0" y="1"/>
                    <a:pt x="1" y="3"/>
                    <a:pt x="1" y="4"/>
                  </a:cubicBezTo>
                  <a:cubicBezTo>
                    <a:pt x="4" y="1"/>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85"/>
            <p:cNvSpPr/>
            <p:nvPr/>
          </p:nvSpPr>
          <p:spPr bwMode="auto">
            <a:xfrm>
              <a:off x="8045194" y="5945671"/>
              <a:ext cx="14123" cy="7061"/>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2" y="0"/>
                    <a:pt x="1" y="1"/>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86"/>
            <p:cNvSpPr/>
            <p:nvPr/>
          </p:nvSpPr>
          <p:spPr bwMode="auto">
            <a:xfrm>
              <a:off x="8038133" y="5685813"/>
              <a:ext cx="26833" cy="9886"/>
            </a:xfrm>
            <a:custGeom>
              <a:gdLst>
                <a:gd name="T0" fmla="*/ 6 w 8"/>
                <a:gd name="T1" fmla="*/ 0 h 3"/>
                <a:gd name="T2" fmla="*/ 4 w 8"/>
                <a:gd name="T3" fmla="*/ 2 h 3"/>
                <a:gd name="T4" fmla="*/ 3 w 8"/>
                <a:gd name="T5" fmla="*/ 2 h 3"/>
                <a:gd name="T6" fmla="*/ 3 w 8"/>
                <a:gd name="T7" fmla="*/ 2 h 3"/>
                <a:gd name="T8" fmla="*/ 2 w 8"/>
                <a:gd name="T9" fmla="*/ 2 h 3"/>
                <a:gd name="T10" fmla="*/ 0 w 8"/>
                <a:gd name="T11" fmla="*/ 2 h 3"/>
                <a:gd name="T12" fmla="*/ 4 w 8"/>
                <a:gd name="T13" fmla="*/ 3 h 3"/>
                <a:gd name="T14" fmla="*/ 6 w 8"/>
                <a:gd name="T15" fmla="*/ 3 h 3"/>
                <a:gd name="T16" fmla="*/ 8 w 8"/>
                <a:gd name="T17" fmla="*/ 3 h 3"/>
                <a:gd name="T18" fmla="*/ 8 w 8"/>
                <a:gd name="T19" fmla="*/ 3 h 3"/>
                <a:gd name="T20" fmla="*/ 6 w 8"/>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6" y="0"/>
                  </a:moveTo>
                  <a:cubicBezTo>
                    <a:pt x="5" y="0"/>
                    <a:pt x="5" y="2"/>
                    <a:pt x="4" y="2"/>
                  </a:cubicBezTo>
                  <a:cubicBezTo>
                    <a:pt x="4" y="2"/>
                    <a:pt x="4" y="2"/>
                    <a:pt x="3" y="2"/>
                  </a:cubicBezTo>
                  <a:cubicBezTo>
                    <a:pt x="3" y="2"/>
                    <a:pt x="3" y="2"/>
                    <a:pt x="3" y="2"/>
                  </a:cubicBezTo>
                  <a:cubicBezTo>
                    <a:pt x="2" y="2"/>
                    <a:pt x="2" y="2"/>
                    <a:pt x="2" y="2"/>
                  </a:cubicBezTo>
                  <a:cubicBezTo>
                    <a:pt x="1" y="2"/>
                    <a:pt x="1" y="2"/>
                    <a:pt x="0" y="2"/>
                  </a:cubicBezTo>
                  <a:cubicBezTo>
                    <a:pt x="2" y="3"/>
                    <a:pt x="3" y="3"/>
                    <a:pt x="4" y="3"/>
                  </a:cubicBezTo>
                  <a:cubicBezTo>
                    <a:pt x="5" y="3"/>
                    <a:pt x="5" y="3"/>
                    <a:pt x="6" y="3"/>
                  </a:cubicBezTo>
                  <a:cubicBezTo>
                    <a:pt x="7" y="3"/>
                    <a:pt x="7" y="3"/>
                    <a:pt x="8" y="3"/>
                  </a:cubicBezTo>
                  <a:cubicBezTo>
                    <a:pt x="8" y="3"/>
                    <a:pt x="8" y="3"/>
                    <a:pt x="8" y="3"/>
                  </a:cubicBezTo>
                  <a:cubicBezTo>
                    <a:pt x="7" y="1"/>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87"/>
            <p:cNvSpPr/>
            <p:nvPr/>
          </p:nvSpPr>
          <p:spPr bwMode="auto">
            <a:xfrm>
              <a:off x="8096036" y="5699936"/>
              <a:ext cx="12710" cy="15535"/>
            </a:xfrm>
            <a:custGeom>
              <a:gdLst>
                <a:gd name="T0" fmla="*/ 3 w 4"/>
                <a:gd name="T1" fmla="*/ 0 h 5"/>
                <a:gd name="T2" fmla="*/ 1 w 4"/>
                <a:gd name="T3" fmla="*/ 1 h 5"/>
                <a:gd name="T4" fmla="*/ 2 w 4"/>
                <a:gd name="T5" fmla="*/ 5 h 5"/>
                <a:gd name="T6" fmla="*/ 4 w 4"/>
                <a:gd name="T7" fmla="*/ 4 h 5"/>
                <a:gd name="T8" fmla="*/ 3 w 4"/>
                <a:gd name="T9" fmla="*/ 0 h 5"/>
              </a:gdLst>
              <a:cxnLst>
                <a:cxn ang="0">
                  <a:pos x="T0" y="T1"/>
                </a:cxn>
                <a:cxn ang="0">
                  <a:pos x="T2" y="T3"/>
                </a:cxn>
                <a:cxn ang="0">
                  <a:pos x="T4" y="T5"/>
                </a:cxn>
                <a:cxn ang="0">
                  <a:pos x="T6" y="T7"/>
                </a:cxn>
                <a:cxn ang="0">
                  <a:pos x="T8" y="T9"/>
                </a:cxn>
              </a:cxnLst>
              <a:rect l="0" t="0" r="r" b="b"/>
              <a:pathLst>
                <a:path w="4" h="5">
                  <a:moveTo>
                    <a:pt x="3" y="0"/>
                  </a:moveTo>
                  <a:cubicBezTo>
                    <a:pt x="2" y="0"/>
                    <a:pt x="2" y="1"/>
                    <a:pt x="1" y="1"/>
                  </a:cubicBezTo>
                  <a:cubicBezTo>
                    <a:pt x="0" y="2"/>
                    <a:pt x="0" y="5"/>
                    <a:pt x="2" y="5"/>
                  </a:cubicBezTo>
                  <a:cubicBezTo>
                    <a:pt x="3" y="5"/>
                    <a:pt x="3" y="5"/>
                    <a:pt x="4" y="4"/>
                  </a:cubicBezTo>
                  <a:cubicBezTo>
                    <a:pt x="4" y="3"/>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88"/>
            <p:cNvSpPr/>
            <p:nvPr/>
          </p:nvSpPr>
          <p:spPr bwMode="auto">
            <a:xfrm>
              <a:off x="8005651" y="6356643"/>
              <a:ext cx="36719" cy="31070"/>
            </a:xfrm>
            <a:custGeom>
              <a:gdLst>
                <a:gd name="T0" fmla="*/ 8 w 11"/>
                <a:gd name="T1" fmla="*/ 0 h 9"/>
                <a:gd name="T2" fmla="*/ 0 w 11"/>
                <a:gd name="T3" fmla="*/ 9 h 9"/>
                <a:gd name="T4" fmla="*/ 6 w 11"/>
                <a:gd name="T5" fmla="*/ 4 h 9"/>
                <a:gd name="T6" fmla="*/ 7 w 11"/>
                <a:gd name="T7" fmla="*/ 3 h 9"/>
                <a:gd name="T8" fmla="*/ 9 w 11"/>
                <a:gd name="T9" fmla="*/ 7 h 9"/>
                <a:gd name="T10" fmla="*/ 9 w 11"/>
                <a:gd name="T11" fmla="*/ 7 h 9"/>
                <a:gd name="T12" fmla="*/ 9 w 11"/>
                <a:gd name="T13" fmla="*/ 3 h 9"/>
                <a:gd name="T14" fmla="*/ 10 w 11"/>
                <a:gd name="T15" fmla="*/ 3 h 9"/>
                <a:gd name="T16" fmla="*/ 8 w 11"/>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9">
                  <a:moveTo>
                    <a:pt x="8" y="0"/>
                  </a:moveTo>
                  <a:cubicBezTo>
                    <a:pt x="5" y="0"/>
                    <a:pt x="1" y="7"/>
                    <a:pt x="0" y="9"/>
                  </a:cubicBezTo>
                  <a:cubicBezTo>
                    <a:pt x="3" y="8"/>
                    <a:pt x="7" y="7"/>
                    <a:pt x="6" y="4"/>
                  </a:cubicBezTo>
                  <a:cubicBezTo>
                    <a:pt x="6" y="4"/>
                    <a:pt x="7" y="3"/>
                    <a:pt x="7" y="3"/>
                  </a:cubicBezTo>
                  <a:cubicBezTo>
                    <a:pt x="7" y="4"/>
                    <a:pt x="8" y="7"/>
                    <a:pt x="9" y="7"/>
                  </a:cubicBezTo>
                  <a:cubicBezTo>
                    <a:pt x="9" y="7"/>
                    <a:pt x="9" y="7"/>
                    <a:pt x="9" y="7"/>
                  </a:cubicBezTo>
                  <a:cubicBezTo>
                    <a:pt x="11" y="6"/>
                    <a:pt x="9" y="4"/>
                    <a:pt x="9" y="3"/>
                  </a:cubicBezTo>
                  <a:cubicBezTo>
                    <a:pt x="9" y="3"/>
                    <a:pt x="10" y="3"/>
                    <a:pt x="10" y="3"/>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89"/>
            <p:cNvSpPr/>
            <p:nvPr/>
          </p:nvSpPr>
          <p:spPr bwMode="auto">
            <a:xfrm>
              <a:off x="7985879" y="6020522"/>
              <a:ext cx="36719" cy="22596"/>
            </a:xfrm>
            <a:custGeom>
              <a:gdLst>
                <a:gd name="T0" fmla="*/ 8 w 11"/>
                <a:gd name="T1" fmla="*/ 0 h 7"/>
                <a:gd name="T2" fmla="*/ 7 w 11"/>
                <a:gd name="T3" fmla="*/ 5 h 7"/>
                <a:gd name="T4" fmla="*/ 3 w 11"/>
                <a:gd name="T5" fmla="*/ 3 h 7"/>
                <a:gd name="T6" fmla="*/ 0 w 11"/>
                <a:gd name="T7" fmla="*/ 6 h 7"/>
                <a:gd name="T8" fmla="*/ 7 w 11"/>
                <a:gd name="T9" fmla="*/ 7 h 7"/>
                <a:gd name="T10" fmla="*/ 8 w 11"/>
                <a:gd name="T11" fmla="*/ 0 h 7"/>
              </a:gdLst>
              <a:cxnLst>
                <a:cxn ang="0">
                  <a:pos x="T0" y="T1"/>
                </a:cxn>
                <a:cxn ang="0">
                  <a:pos x="T2" y="T3"/>
                </a:cxn>
                <a:cxn ang="0">
                  <a:pos x="T4" y="T5"/>
                </a:cxn>
                <a:cxn ang="0">
                  <a:pos x="T6" y="T7"/>
                </a:cxn>
                <a:cxn ang="0">
                  <a:pos x="T8" y="T9"/>
                </a:cxn>
                <a:cxn ang="0">
                  <a:pos x="T10" y="T11"/>
                </a:cxn>
              </a:cxnLst>
              <a:rect l="0" t="0" r="r" b="b"/>
              <a:pathLst>
                <a:path w="11" h="7">
                  <a:moveTo>
                    <a:pt x="8" y="0"/>
                  </a:moveTo>
                  <a:cubicBezTo>
                    <a:pt x="7" y="2"/>
                    <a:pt x="6" y="4"/>
                    <a:pt x="7" y="5"/>
                  </a:cubicBezTo>
                  <a:cubicBezTo>
                    <a:pt x="6" y="4"/>
                    <a:pt x="4" y="3"/>
                    <a:pt x="3" y="3"/>
                  </a:cubicBezTo>
                  <a:cubicBezTo>
                    <a:pt x="1" y="3"/>
                    <a:pt x="0" y="4"/>
                    <a:pt x="0" y="6"/>
                  </a:cubicBezTo>
                  <a:cubicBezTo>
                    <a:pt x="2" y="6"/>
                    <a:pt x="5" y="7"/>
                    <a:pt x="7" y="7"/>
                  </a:cubicBezTo>
                  <a:cubicBezTo>
                    <a:pt x="11" y="7"/>
                    <a:pt x="9"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190"/>
            <p:cNvSpPr/>
            <p:nvPr/>
          </p:nvSpPr>
          <p:spPr bwMode="auto">
            <a:xfrm>
              <a:off x="8062142" y="6397599"/>
              <a:ext cx="26833" cy="22596"/>
            </a:xfrm>
            <a:custGeom>
              <a:gdLst>
                <a:gd name="T0" fmla="*/ 5 w 8"/>
                <a:gd name="T1" fmla="*/ 0 h 7"/>
                <a:gd name="T2" fmla="*/ 3 w 8"/>
                <a:gd name="T3" fmla="*/ 3 h 7"/>
                <a:gd name="T4" fmla="*/ 1 w 8"/>
                <a:gd name="T5" fmla="*/ 3 h 7"/>
                <a:gd name="T6" fmla="*/ 1 w 8"/>
                <a:gd name="T7" fmla="*/ 4 h 7"/>
                <a:gd name="T8" fmla="*/ 4 w 8"/>
                <a:gd name="T9" fmla="*/ 6 h 7"/>
                <a:gd name="T10" fmla="*/ 6 w 8"/>
                <a:gd name="T11" fmla="*/ 7 h 7"/>
                <a:gd name="T12" fmla="*/ 5 w 8"/>
                <a:gd name="T13" fmla="*/ 0 h 7"/>
                <a:gd name="T14" fmla="*/ 5 w 8"/>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5" y="0"/>
                  </a:moveTo>
                  <a:cubicBezTo>
                    <a:pt x="2" y="0"/>
                    <a:pt x="4" y="2"/>
                    <a:pt x="3" y="3"/>
                  </a:cubicBezTo>
                  <a:cubicBezTo>
                    <a:pt x="1" y="3"/>
                    <a:pt x="1" y="3"/>
                    <a:pt x="1" y="3"/>
                  </a:cubicBezTo>
                  <a:cubicBezTo>
                    <a:pt x="1" y="3"/>
                    <a:pt x="0" y="3"/>
                    <a:pt x="1" y="4"/>
                  </a:cubicBezTo>
                  <a:cubicBezTo>
                    <a:pt x="2" y="5"/>
                    <a:pt x="3" y="6"/>
                    <a:pt x="4" y="6"/>
                  </a:cubicBezTo>
                  <a:cubicBezTo>
                    <a:pt x="5" y="7"/>
                    <a:pt x="5" y="7"/>
                    <a:pt x="6" y="7"/>
                  </a:cubicBezTo>
                  <a:cubicBezTo>
                    <a:pt x="8" y="7"/>
                    <a:pt x="6" y="3"/>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91"/>
            <p:cNvSpPr/>
            <p:nvPr/>
          </p:nvSpPr>
          <p:spPr bwMode="auto">
            <a:xfrm>
              <a:off x="7978818" y="6006399"/>
              <a:ext cx="26833" cy="16947"/>
            </a:xfrm>
            <a:custGeom>
              <a:gdLst>
                <a:gd name="T0" fmla="*/ 4 w 8"/>
                <a:gd name="T1" fmla="*/ 0 h 5"/>
                <a:gd name="T2" fmla="*/ 2 w 8"/>
                <a:gd name="T3" fmla="*/ 2 h 5"/>
                <a:gd name="T4" fmla="*/ 3 w 8"/>
                <a:gd name="T5" fmla="*/ 5 h 5"/>
                <a:gd name="T6" fmla="*/ 5 w 8"/>
                <a:gd name="T7" fmla="*/ 1 h 5"/>
                <a:gd name="T8" fmla="*/ 4 w 8"/>
                <a:gd name="T9" fmla="*/ 0 h 5"/>
              </a:gdLst>
              <a:cxnLst>
                <a:cxn ang="0">
                  <a:pos x="T0" y="T1"/>
                </a:cxn>
                <a:cxn ang="0">
                  <a:pos x="T2" y="T3"/>
                </a:cxn>
                <a:cxn ang="0">
                  <a:pos x="T4" y="T5"/>
                </a:cxn>
                <a:cxn ang="0">
                  <a:pos x="T6" y="T7"/>
                </a:cxn>
                <a:cxn ang="0">
                  <a:pos x="T8" y="T9"/>
                </a:cxn>
              </a:cxnLst>
              <a:rect l="0" t="0" r="r" b="b"/>
              <a:pathLst>
                <a:path w="8" h="5">
                  <a:moveTo>
                    <a:pt x="4" y="0"/>
                  </a:moveTo>
                  <a:cubicBezTo>
                    <a:pt x="4" y="0"/>
                    <a:pt x="3" y="1"/>
                    <a:pt x="2" y="2"/>
                  </a:cubicBezTo>
                  <a:cubicBezTo>
                    <a:pt x="0" y="3"/>
                    <a:pt x="2" y="4"/>
                    <a:pt x="3" y="5"/>
                  </a:cubicBezTo>
                  <a:cubicBezTo>
                    <a:pt x="5" y="5"/>
                    <a:pt x="8" y="3"/>
                    <a:pt x="5"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92"/>
            <p:cNvSpPr/>
            <p:nvPr/>
          </p:nvSpPr>
          <p:spPr bwMode="auto">
            <a:xfrm>
              <a:off x="8079089" y="6487984"/>
              <a:ext cx="29658" cy="29658"/>
            </a:xfrm>
            <a:custGeom>
              <a:gdLst>
                <a:gd name="T0" fmla="*/ 7 w 9"/>
                <a:gd name="T1" fmla="*/ 0 h 9"/>
                <a:gd name="T2" fmla="*/ 0 w 9"/>
                <a:gd name="T3" fmla="*/ 4 h 9"/>
                <a:gd name="T4" fmla="*/ 1 w 9"/>
                <a:gd name="T5" fmla="*/ 4 h 9"/>
                <a:gd name="T6" fmla="*/ 4 w 9"/>
                <a:gd name="T7" fmla="*/ 3 h 9"/>
                <a:gd name="T8" fmla="*/ 3 w 9"/>
                <a:gd name="T9" fmla="*/ 9 h 9"/>
                <a:gd name="T10" fmla="*/ 7 w 9"/>
                <a:gd name="T11" fmla="*/ 5 h 9"/>
                <a:gd name="T12" fmla="*/ 7 w 9"/>
                <a:gd name="T13" fmla="*/ 2 h 9"/>
                <a:gd name="T14" fmla="*/ 9 w 9"/>
                <a:gd name="T15" fmla="*/ 1 h 9"/>
                <a:gd name="T16" fmla="*/ 7 w 9"/>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7" y="0"/>
                  </a:moveTo>
                  <a:cubicBezTo>
                    <a:pt x="5" y="0"/>
                    <a:pt x="1" y="2"/>
                    <a:pt x="0" y="4"/>
                  </a:cubicBezTo>
                  <a:cubicBezTo>
                    <a:pt x="0" y="4"/>
                    <a:pt x="1" y="4"/>
                    <a:pt x="1" y="4"/>
                  </a:cubicBezTo>
                  <a:cubicBezTo>
                    <a:pt x="2" y="4"/>
                    <a:pt x="3" y="4"/>
                    <a:pt x="4" y="3"/>
                  </a:cubicBezTo>
                  <a:cubicBezTo>
                    <a:pt x="4" y="5"/>
                    <a:pt x="3" y="7"/>
                    <a:pt x="3" y="9"/>
                  </a:cubicBezTo>
                  <a:cubicBezTo>
                    <a:pt x="5" y="8"/>
                    <a:pt x="7" y="7"/>
                    <a:pt x="7" y="5"/>
                  </a:cubicBezTo>
                  <a:cubicBezTo>
                    <a:pt x="7" y="5"/>
                    <a:pt x="7" y="3"/>
                    <a:pt x="7" y="2"/>
                  </a:cubicBezTo>
                  <a:cubicBezTo>
                    <a:pt x="8" y="2"/>
                    <a:pt x="9" y="2"/>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93"/>
            <p:cNvSpPr/>
            <p:nvPr/>
          </p:nvSpPr>
          <p:spPr bwMode="auto">
            <a:xfrm>
              <a:off x="8088975" y="5722532"/>
              <a:ext cx="9886" cy="19772"/>
            </a:xfrm>
            <a:custGeom>
              <a:gdLst>
                <a:gd name="T0" fmla="*/ 1 w 3"/>
                <a:gd name="T1" fmla="*/ 0 h 6"/>
                <a:gd name="T2" fmla="*/ 2 w 3"/>
                <a:gd name="T3" fmla="*/ 6 h 6"/>
                <a:gd name="T4" fmla="*/ 2 w 3"/>
                <a:gd name="T5" fmla="*/ 0 h 6"/>
                <a:gd name="T6" fmla="*/ 1 w 3"/>
                <a:gd name="T7" fmla="*/ 0 h 6"/>
              </a:gdLst>
              <a:cxnLst>
                <a:cxn ang="0">
                  <a:pos x="T0" y="T1"/>
                </a:cxn>
                <a:cxn ang="0">
                  <a:pos x="T2" y="T3"/>
                </a:cxn>
                <a:cxn ang="0">
                  <a:pos x="T4" y="T5"/>
                </a:cxn>
                <a:cxn ang="0">
                  <a:pos x="T6" y="T7"/>
                </a:cxn>
              </a:cxnLst>
              <a:rect l="0" t="0" r="r" b="b"/>
              <a:pathLst>
                <a:path w="3" h="6">
                  <a:moveTo>
                    <a:pt x="1" y="0"/>
                  </a:moveTo>
                  <a:cubicBezTo>
                    <a:pt x="0" y="0"/>
                    <a:pt x="2" y="5"/>
                    <a:pt x="2" y="6"/>
                  </a:cubicBezTo>
                  <a:cubicBezTo>
                    <a:pt x="3" y="4"/>
                    <a:pt x="3" y="2"/>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94"/>
            <p:cNvSpPr/>
            <p:nvPr/>
          </p:nvSpPr>
          <p:spPr bwMode="auto">
            <a:xfrm>
              <a:off x="8312113" y="6747843"/>
              <a:ext cx="63552" cy="26833"/>
            </a:xfrm>
            <a:custGeom>
              <a:gdLst>
                <a:gd name="T0" fmla="*/ 15 w 19"/>
                <a:gd name="T1" fmla="*/ 0 h 8"/>
                <a:gd name="T2" fmla="*/ 7 w 19"/>
                <a:gd name="T3" fmla="*/ 2 h 8"/>
                <a:gd name="T4" fmla="*/ 7 w 19"/>
                <a:gd name="T5" fmla="*/ 2 h 8"/>
                <a:gd name="T6" fmla="*/ 6 w 19"/>
                <a:gd name="T7" fmla="*/ 1 h 8"/>
                <a:gd name="T8" fmla="*/ 6 w 19"/>
                <a:gd name="T9" fmla="*/ 1 h 8"/>
                <a:gd name="T10" fmla="*/ 5 w 19"/>
                <a:gd name="T11" fmla="*/ 2 h 8"/>
                <a:gd name="T12" fmla="*/ 4 w 19"/>
                <a:gd name="T13" fmla="*/ 2 h 8"/>
                <a:gd name="T14" fmla="*/ 4 w 19"/>
                <a:gd name="T15" fmla="*/ 1 h 8"/>
                <a:gd name="T16" fmla="*/ 3 w 19"/>
                <a:gd name="T17" fmla="*/ 1 h 8"/>
                <a:gd name="T18" fmla="*/ 0 w 19"/>
                <a:gd name="T19" fmla="*/ 2 h 8"/>
                <a:gd name="T20" fmla="*/ 15 w 19"/>
                <a:gd name="T21" fmla="*/ 8 h 8"/>
                <a:gd name="T22" fmla="*/ 17 w 19"/>
                <a:gd name="T23" fmla="*/ 4 h 8"/>
                <a:gd name="T24" fmla="*/ 16 w 19"/>
                <a:gd name="T25" fmla="*/ 4 h 8"/>
                <a:gd name="T26" fmla="*/ 14 w 19"/>
                <a:gd name="T27" fmla="*/ 4 h 8"/>
                <a:gd name="T28" fmla="*/ 12 w 19"/>
                <a:gd name="T29" fmla="*/ 4 h 8"/>
                <a:gd name="T30" fmla="*/ 12 w 19"/>
                <a:gd name="T31" fmla="*/ 4 h 8"/>
                <a:gd name="T32" fmla="*/ 7 w 19"/>
                <a:gd name="T33" fmla="*/ 4 h 8"/>
                <a:gd name="T34" fmla="*/ 12 w 19"/>
                <a:gd name="T35" fmla="*/ 3 h 8"/>
                <a:gd name="T36" fmla="*/ 13 w 19"/>
                <a:gd name="T37" fmla="*/ 1 h 8"/>
                <a:gd name="T38" fmla="*/ 16 w 19"/>
                <a:gd name="T39" fmla="*/ 0 h 8"/>
                <a:gd name="T40" fmla="*/ 15 w 19"/>
                <a:gd name="T4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8">
                  <a:moveTo>
                    <a:pt x="15" y="0"/>
                  </a:moveTo>
                  <a:cubicBezTo>
                    <a:pt x="12" y="0"/>
                    <a:pt x="9" y="1"/>
                    <a:pt x="7" y="2"/>
                  </a:cubicBezTo>
                  <a:cubicBezTo>
                    <a:pt x="7" y="2"/>
                    <a:pt x="7" y="2"/>
                    <a:pt x="7" y="2"/>
                  </a:cubicBezTo>
                  <a:cubicBezTo>
                    <a:pt x="7" y="2"/>
                    <a:pt x="6" y="2"/>
                    <a:pt x="6" y="1"/>
                  </a:cubicBezTo>
                  <a:cubicBezTo>
                    <a:pt x="6" y="1"/>
                    <a:pt x="6" y="1"/>
                    <a:pt x="6" y="1"/>
                  </a:cubicBezTo>
                  <a:cubicBezTo>
                    <a:pt x="5" y="1"/>
                    <a:pt x="5" y="1"/>
                    <a:pt x="5" y="2"/>
                  </a:cubicBezTo>
                  <a:cubicBezTo>
                    <a:pt x="5" y="2"/>
                    <a:pt x="5" y="2"/>
                    <a:pt x="4" y="2"/>
                  </a:cubicBezTo>
                  <a:cubicBezTo>
                    <a:pt x="4" y="2"/>
                    <a:pt x="4" y="2"/>
                    <a:pt x="4" y="1"/>
                  </a:cubicBezTo>
                  <a:cubicBezTo>
                    <a:pt x="4" y="1"/>
                    <a:pt x="4" y="1"/>
                    <a:pt x="3" y="1"/>
                  </a:cubicBezTo>
                  <a:cubicBezTo>
                    <a:pt x="3" y="1"/>
                    <a:pt x="1" y="2"/>
                    <a:pt x="0" y="2"/>
                  </a:cubicBezTo>
                  <a:cubicBezTo>
                    <a:pt x="5" y="4"/>
                    <a:pt x="10" y="6"/>
                    <a:pt x="15" y="8"/>
                  </a:cubicBezTo>
                  <a:cubicBezTo>
                    <a:pt x="16" y="8"/>
                    <a:pt x="19" y="6"/>
                    <a:pt x="17" y="4"/>
                  </a:cubicBezTo>
                  <a:cubicBezTo>
                    <a:pt x="17" y="4"/>
                    <a:pt x="16" y="4"/>
                    <a:pt x="16" y="4"/>
                  </a:cubicBezTo>
                  <a:cubicBezTo>
                    <a:pt x="15" y="4"/>
                    <a:pt x="14" y="4"/>
                    <a:pt x="14" y="4"/>
                  </a:cubicBezTo>
                  <a:cubicBezTo>
                    <a:pt x="13" y="4"/>
                    <a:pt x="13" y="4"/>
                    <a:pt x="12" y="4"/>
                  </a:cubicBezTo>
                  <a:cubicBezTo>
                    <a:pt x="12" y="4"/>
                    <a:pt x="12" y="4"/>
                    <a:pt x="12" y="4"/>
                  </a:cubicBezTo>
                  <a:cubicBezTo>
                    <a:pt x="11" y="4"/>
                    <a:pt x="9" y="4"/>
                    <a:pt x="7" y="4"/>
                  </a:cubicBezTo>
                  <a:cubicBezTo>
                    <a:pt x="9" y="3"/>
                    <a:pt x="10" y="3"/>
                    <a:pt x="12" y="3"/>
                  </a:cubicBezTo>
                  <a:cubicBezTo>
                    <a:pt x="12" y="3"/>
                    <a:pt x="12" y="1"/>
                    <a:pt x="13" y="1"/>
                  </a:cubicBezTo>
                  <a:cubicBezTo>
                    <a:pt x="14" y="1"/>
                    <a:pt x="15" y="1"/>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95"/>
            <p:cNvSpPr/>
            <p:nvPr/>
          </p:nvSpPr>
          <p:spPr bwMode="auto">
            <a:xfrm>
              <a:off x="8282456" y="6740781"/>
              <a:ext cx="36719" cy="14123"/>
            </a:xfrm>
            <a:custGeom>
              <a:gdLst>
                <a:gd name="T0" fmla="*/ 3 w 11"/>
                <a:gd name="T1" fmla="*/ 0 h 4"/>
                <a:gd name="T2" fmla="*/ 2 w 11"/>
                <a:gd name="T3" fmla="*/ 4 h 4"/>
                <a:gd name="T4" fmla="*/ 5 w 11"/>
                <a:gd name="T5" fmla="*/ 1 h 4"/>
                <a:gd name="T6" fmla="*/ 7 w 11"/>
                <a:gd name="T7" fmla="*/ 2 h 4"/>
                <a:gd name="T8" fmla="*/ 7 w 11"/>
                <a:gd name="T9" fmla="*/ 2 h 4"/>
                <a:gd name="T10" fmla="*/ 8 w 11"/>
                <a:gd name="T11" fmla="*/ 4 h 4"/>
                <a:gd name="T12" fmla="*/ 8 w 11"/>
                <a:gd name="T13" fmla="*/ 4 h 4"/>
                <a:gd name="T14" fmla="*/ 9 w 11"/>
                <a:gd name="T15" fmla="*/ 3 h 4"/>
                <a:gd name="T16" fmla="*/ 9 w 11"/>
                <a:gd name="T17" fmla="*/ 3 h 4"/>
                <a:gd name="T18" fmla="*/ 10 w 11"/>
                <a:gd name="T19" fmla="*/ 3 h 4"/>
                <a:gd name="T20" fmla="*/ 11 w 11"/>
                <a:gd name="T21" fmla="*/ 3 h 4"/>
                <a:gd name="T22" fmla="*/ 11 w 11"/>
                <a:gd name="T23" fmla="*/ 3 h 4"/>
                <a:gd name="T24" fmla="*/ 4 w 11"/>
                <a:gd name="T25" fmla="*/ 0 h 4"/>
                <a:gd name="T26" fmla="*/ 3 w 11"/>
                <a:gd name="T2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3" y="0"/>
                  </a:moveTo>
                  <a:cubicBezTo>
                    <a:pt x="0" y="0"/>
                    <a:pt x="1" y="0"/>
                    <a:pt x="2" y="4"/>
                  </a:cubicBezTo>
                  <a:cubicBezTo>
                    <a:pt x="3" y="2"/>
                    <a:pt x="3" y="1"/>
                    <a:pt x="5" y="1"/>
                  </a:cubicBezTo>
                  <a:cubicBezTo>
                    <a:pt x="4" y="1"/>
                    <a:pt x="7" y="2"/>
                    <a:pt x="7" y="2"/>
                  </a:cubicBezTo>
                  <a:cubicBezTo>
                    <a:pt x="7" y="2"/>
                    <a:pt x="7" y="2"/>
                    <a:pt x="7" y="2"/>
                  </a:cubicBezTo>
                  <a:cubicBezTo>
                    <a:pt x="8" y="2"/>
                    <a:pt x="7" y="3"/>
                    <a:pt x="8" y="4"/>
                  </a:cubicBezTo>
                  <a:cubicBezTo>
                    <a:pt x="8" y="4"/>
                    <a:pt x="8" y="4"/>
                    <a:pt x="8" y="4"/>
                  </a:cubicBezTo>
                  <a:cubicBezTo>
                    <a:pt x="9" y="4"/>
                    <a:pt x="9" y="3"/>
                    <a:pt x="9" y="3"/>
                  </a:cubicBezTo>
                  <a:cubicBezTo>
                    <a:pt x="9" y="3"/>
                    <a:pt x="9" y="3"/>
                    <a:pt x="9" y="3"/>
                  </a:cubicBezTo>
                  <a:cubicBezTo>
                    <a:pt x="9" y="3"/>
                    <a:pt x="10" y="3"/>
                    <a:pt x="10" y="3"/>
                  </a:cubicBezTo>
                  <a:cubicBezTo>
                    <a:pt x="10" y="3"/>
                    <a:pt x="10" y="3"/>
                    <a:pt x="11" y="3"/>
                  </a:cubicBezTo>
                  <a:cubicBezTo>
                    <a:pt x="11" y="3"/>
                    <a:pt x="11" y="3"/>
                    <a:pt x="11" y="3"/>
                  </a:cubicBezTo>
                  <a:cubicBezTo>
                    <a:pt x="9" y="1"/>
                    <a:pt x="6"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96"/>
            <p:cNvSpPr>
              <a:spLocks noEditPoints="1"/>
            </p:cNvSpPr>
            <p:nvPr/>
          </p:nvSpPr>
          <p:spPr bwMode="auto">
            <a:xfrm>
              <a:off x="8032484" y="6280380"/>
              <a:ext cx="39544" cy="43780"/>
            </a:xfrm>
            <a:custGeom>
              <a:gdLst>
                <a:gd name="T0" fmla="*/ 10 w 12"/>
                <a:gd name="T1" fmla="*/ 13 h 13"/>
                <a:gd name="T2" fmla="*/ 10 w 12"/>
                <a:gd name="T3" fmla="*/ 13 h 13"/>
                <a:gd name="T4" fmla="*/ 10 w 12"/>
                <a:gd name="T5" fmla="*/ 13 h 13"/>
                <a:gd name="T6" fmla="*/ 1 w 12"/>
                <a:gd name="T7" fmla="*/ 0 h 13"/>
                <a:gd name="T8" fmla="*/ 0 w 12"/>
                <a:gd name="T9" fmla="*/ 1 h 13"/>
                <a:gd name="T10" fmla="*/ 6 w 12"/>
                <a:gd name="T11" fmla="*/ 12 h 13"/>
                <a:gd name="T12" fmla="*/ 9 w 12"/>
                <a:gd name="T13" fmla="*/ 12 h 13"/>
                <a:gd name="T14" fmla="*/ 10 w 12"/>
                <a:gd name="T15" fmla="*/ 13 h 13"/>
                <a:gd name="T16" fmla="*/ 7 w 12"/>
                <a:gd name="T17" fmla="*/ 7 h 13"/>
                <a:gd name="T18" fmla="*/ 9 w 12"/>
                <a:gd name="T19" fmla="*/ 8 h 13"/>
                <a:gd name="T20" fmla="*/ 7 w 12"/>
                <a:gd name="T21" fmla="*/ 3 h 13"/>
                <a:gd name="T22" fmla="*/ 6 w 12"/>
                <a:gd name="T23" fmla="*/ 1 h 13"/>
                <a:gd name="T24" fmla="*/ 4 w 12"/>
                <a:gd name="T25" fmla="*/ 1 h 13"/>
                <a:gd name="T26" fmla="*/ 1 w 12"/>
                <a:gd name="T27"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10" y="13"/>
                  </a:moveTo>
                  <a:cubicBezTo>
                    <a:pt x="10" y="13"/>
                    <a:pt x="10" y="13"/>
                    <a:pt x="10" y="13"/>
                  </a:cubicBezTo>
                  <a:cubicBezTo>
                    <a:pt x="10" y="13"/>
                    <a:pt x="10" y="13"/>
                    <a:pt x="10" y="13"/>
                  </a:cubicBezTo>
                  <a:moveTo>
                    <a:pt x="1" y="0"/>
                  </a:moveTo>
                  <a:cubicBezTo>
                    <a:pt x="0" y="0"/>
                    <a:pt x="0" y="0"/>
                    <a:pt x="0" y="1"/>
                  </a:cubicBezTo>
                  <a:cubicBezTo>
                    <a:pt x="0" y="4"/>
                    <a:pt x="3" y="11"/>
                    <a:pt x="6" y="12"/>
                  </a:cubicBezTo>
                  <a:cubicBezTo>
                    <a:pt x="6" y="12"/>
                    <a:pt x="8" y="12"/>
                    <a:pt x="9" y="12"/>
                  </a:cubicBezTo>
                  <a:cubicBezTo>
                    <a:pt x="10" y="12"/>
                    <a:pt x="11" y="12"/>
                    <a:pt x="10" y="13"/>
                  </a:cubicBezTo>
                  <a:cubicBezTo>
                    <a:pt x="12" y="11"/>
                    <a:pt x="8" y="9"/>
                    <a:pt x="7" y="7"/>
                  </a:cubicBezTo>
                  <a:cubicBezTo>
                    <a:pt x="8" y="8"/>
                    <a:pt x="8" y="8"/>
                    <a:pt x="9" y="8"/>
                  </a:cubicBezTo>
                  <a:cubicBezTo>
                    <a:pt x="9" y="7"/>
                    <a:pt x="8" y="4"/>
                    <a:pt x="7" y="3"/>
                  </a:cubicBezTo>
                  <a:cubicBezTo>
                    <a:pt x="6" y="1"/>
                    <a:pt x="6" y="1"/>
                    <a:pt x="6" y="1"/>
                  </a:cubicBezTo>
                  <a:cubicBezTo>
                    <a:pt x="6" y="1"/>
                    <a:pt x="5" y="1"/>
                    <a:pt x="4" y="1"/>
                  </a:cubicBezTo>
                  <a:cubicBezTo>
                    <a:pt x="4"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97"/>
            <p:cNvSpPr/>
            <p:nvPr/>
          </p:nvSpPr>
          <p:spPr bwMode="auto">
            <a:xfrm>
              <a:off x="9903742" y="1835956"/>
              <a:ext cx="4237" cy="2825"/>
            </a:xfrm>
            <a:custGeom>
              <a:gdLst>
                <a:gd name="T0" fmla="*/ 1 w 1"/>
                <a:gd name="T1" fmla="*/ 0 h 1"/>
                <a:gd name="T2" fmla="*/ 0 w 1"/>
                <a:gd name="T3" fmla="*/ 0 h 1"/>
                <a:gd name="T4" fmla="*/ 0 w 1"/>
                <a:gd name="T5" fmla="*/ 1 h 1"/>
                <a:gd name="T6" fmla="*/ 1 w 1"/>
                <a:gd name="T7" fmla="*/ 0 h 1"/>
                <a:gd name="T8" fmla="*/ 1 w 1"/>
                <a:gd name="T9" fmla="*/ 0 h 1"/>
                <a:gd name="T10" fmla="*/ 1 w 1"/>
                <a:gd name="T11" fmla="*/ 0 h 1"/>
                <a:gd name="T12" fmla="*/ 1 w 1"/>
                <a:gd name="T13" fmla="*/ 0 h 1"/>
              </a:gd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1" y="0"/>
                    <a:pt x="0" y="0"/>
                  </a:cubicBezTo>
                  <a:cubicBezTo>
                    <a:pt x="0" y="1"/>
                    <a:pt x="0" y="1"/>
                    <a:pt x="0" y="1"/>
                  </a:cubicBezTo>
                  <a:cubicBezTo>
                    <a:pt x="0" y="1"/>
                    <a:pt x="0" y="0"/>
                    <a:pt x="1"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198"/>
            <p:cNvSpPr/>
            <p:nvPr/>
          </p:nvSpPr>
          <p:spPr bwMode="auto">
            <a:xfrm>
              <a:off x="9861373" y="2006841"/>
              <a:ext cx="36719" cy="19772"/>
            </a:xfrm>
            <a:custGeom>
              <a:gdLst>
                <a:gd name="T0" fmla="*/ 8 w 11"/>
                <a:gd name="T1" fmla="*/ 0 h 6"/>
                <a:gd name="T2" fmla="*/ 7 w 11"/>
                <a:gd name="T3" fmla="*/ 0 h 6"/>
                <a:gd name="T4" fmla="*/ 4 w 11"/>
                <a:gd name="T5" fmla="*/ 1 h 6"/>
                <a:gd name="T6" fmla="*/ 1 w 11"/>
                <a:gd name="T7" fmla="*/ 3 h 6"/>
                <a:gd name="T8" fmla="*/ 3 w 11"/>
                <a:gd name="T9" fmla="*/ 5 h 6"/>
                <a:gd name="T10" fmla="*/ 3 w 11"/>
                <a:gd name="T11" fmla="*/ 5 h 6"/>
                <a:gd name="T12" fmla="*/ 4 w 11"/>
                <a:gd name="T13" fmla="*/ 6 h 6"/>
                <a:gd name="T14" fmla="*/ 5 w 11"/>
                <a:gd name="T15" fmla="*/ 5 h 6"/>
                <a:gd name="T16" fmla="*/ 6 w 11"/>
                <a:gd name="T17" fmla="*/ 4 h 6"/>
                <a:gd name="T18" fmla="*/ 6 w 11"/>
                <a:gd name="T19" fmla="*/ 4 h 6"/>
                <a:gd name="T20" fmla="*/ 11 w 11"/>
                <a:gd name="T21" fmla="*/ 1 h 6"/>
                <a:gd name="T22" fmla="*/ 8 w 11"/>
                <a:gd name="T2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6">
                  <a:moveTo>
                    <a:pt x="8" y="0"/>
                  </a:moveTo>
                  <a:cubicBezTo>
                    <a:pt x="8" y="0"/>
                    <a:pt x="8" y="0"/>
                    <a:pt x="7" y="0"/>
                  </a:cubicBezTo>
                  <a:cubicBezTo>
                    <a:pt x="6" y="0"/>
                    <a:pt x="5" y="0"/>
                    <a:pt x="4" y="1"/>
                  </a:cubicBezTo>
                  <a:cubicBezTo>
                    <a:pt x="2" y="1"/>
                    <a:pt x="1" y="1"/>
                    <a:pt x="1" y="3"/>
                  </a:cubicBezTo>
                  <a:cubicBezTo>
                    <a:pt x="0" y="4"/>
                    <a:pt x="1" y="5"/>
                    <a:pt x="3" y="5"/>
                  </a:cubicBezTo>
                  <a:cubicBezTo>
                    <a:pt x="3" y="5"/>
                    <a:pt x="3" y="5"/>
                    <a:pt x="3" y="5"/>
                  </a:cubicBezTo>
                  <a:cubicBezTo>
                    <a:pt x="4" y="6"/>
                    <a:pt x="4" y="6"/>
                    <a:pt x="4" y="6"/>
                  </a:cubicBezTo>
                  <a:cubicBezTo>
                    <a:pt x="5" y="5"/>
                    <a:pt x="5" y="5"/>
                    <a:pt x="5" y="5"/>
                  </a:cubicBezTo>
                  <a:cubicBezTo>
                    <a:pt x="6" y="4"/>
                    <a:pt x="6" y="4"/>
                    <a:pt x="6" y="4"/>
                  </a:cubicBezTo>
                  <a:cubicBezTo>
                    <a:pt x="6" y="4"/>
                    <a:pt x="6" y="4"/>
                    <a:pt x="6" y="4"/>
                  </a:cubicBezTo>
                  <a:cubicBezTo>
                    <a:pt x="8" y="3"/>
                    <a:pt x="9" y="2"/>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99"/>
            <p:cNvSpPr/>
            <p:nvPr/>
          </p:nvSpPr>
          <p:spPr bwMode="auto">
            <a:xfrm>
              <a:off x="9907978" y="1980007"/>
              <a:ext cx="63552" cy="22596"/>
            </a:xfrm>
            <a:custGeom>
              <a:gdLst>
                <a:gd name="T0" fmla="*/ 16 w 19"/>
                <a:gd name="T1" fmla="*/ 0 h 7"/>
                <a:gd name="T2" fmla="*/ 11 w 19"/>
                <a:gd name="T3" fmla="*/ 0 h 7"/>
                <a:gd name="T4" fmla="*/ 10 w 19"/>
                <a:gd name="T5" fmla="*/ 0 h 7"/>
                <a:gd name="T6" fmla="*/ 8 w 19"/>
                <a:gd name="T7" fmla="*/ 1 h 7"/>
                <a:gd name="T8" fmla="*/ 4 w 19"/>
                <a:gd name="T9" fmla="*/ 2 h 7"/>
                <a:gd name="T10" fmla="*/ 3 w 19"/>
                <a:gd name="T11" fmla="*/ 2 h 7"/>
                <a:gd name="T12" fmla="*/ 1 w 19"/>
                <a:gd name="T13" fmla="*/ 3 h 7"/>
                <a:gd name="T14" fmla="*/ 2 w 19"/>
                <a:gd name="T15" fmla="*/ 6 h 7"/>
                <a:gd name="T16" fmla="*/ 8 w 19"/>
                <a:gd name="T17" fmla="*/ 7 h 7"/>
                <a:gd name="T18" fmla="*/ 10 w 19"/>
                <a:gd name="T19" fmla="*/ 7 h 7"/>
                <a:gd name="T20" fmla="*/ 11 w 19"/>
                <a:gd name="T21" fmla="*/ 7 h 7"/>
                <a:gd name="T22" fmla="*/ 12 w 19"/>
                <a:gd name="T23" fmla="*/ 7 h 7"/>
                <a:gd name="T24" fmla="*/ 13 w 19"/>
                <a:gd name="T25" fmla="*/ 5 h 7"/>
                <a:gd name="T26" fmla="*/ 14 w 19"/>
                <a:gd name="T27" fmla="*/ 5 h 7"/>
                <a:gd name="T28" fmla="*/ 16 w 19"/>
                <a:gd name="T29" fmla="*/ 3 h 7"/>
                <a:gd name="T30" fmla="*/ 18 w 19"/>
                <a:gd name="T31" fmla="*/ 2 h 7"/>
                <a:gd name="T32" fmla="*/ 16 w 19"/>
                <a:gd name="T3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7">
                  <a:moveTo>
                    <a:pt x="16" y="0"/>
                  </a:moveTo>
                  <a:cubicBezTo>
                    <a:pt x="14" y="0"/>
                    <a:pt x="11" y="0"/>
                    <a:pt x="11" y="0"/>
                  </a:cubicBezTo>
                  <a:cubicBezTo>
                    <a:pt x="10" y="0"/>
                    <a:pt x="10" y="0"/>
                    <a:pt x="10" y="0"/>
                  </a:cubicBezTo>
                  <a:cubicBezTo>
                    <a:pt x="10" y="1"/>
                    <a:pt x="9" y="1"/>
                    <a:pt x="8" y="1"/>
                  </a:cubicBezTo>
                  <a:cubicBezTo>
                    <a:pt x="7" y="1"/>
                    <a:pt x="5" y="2"/>
                    <a:pt x="4" y="2"/>
                  </a:cubicBezTo>
                  <a:cubicBezTo>
                    <a:pt x="3" y="2"/>
                    <a:pt x="3" y="2"/>
                    <a:pt x="3" y="2"/>
                  </a:cubicBezTo>
                  <a:cubicBezTo>
                    <a:pt x="2" y="2"/>
                    <a:pt x="2" y="2"/>
                    <a:pt x="1" y="3"/>
                  </a:cubicBezTo>
                  <a:cubicBezTo>
                    <a:pt x="0" y="4"/>
                    <a:pt x="1" y="5"/>
                    <a:pt x="2" y="6"/>
                  </a:cubicBezTo>
                  <a:cubicBezTo>
                    <a:pt x="3" y="7"/>
                    <a:pt x="6" y="7"/>
                    <a:pt x="8" y="7"/>
                  </a:cubicBezTo>
                  <a:cubicBezTo>
                    <a:pt x="9" y="7"/>
                    <a:pt x="9" y="7"/>
                    <a:pt x="10" y="7"/>
                  </a:cubicBezTo>
                  <a:cubicBezTo>
                    <a:pt x="11" y="7"/>
                    <a:pt x="11" y="7"/>
                    <a:pt x="11" y="7"/>
                  </a:cubicBezTo>
                  <a:cubicBezTo>
                    <a:pt x="12" y="7"/>
                    <a:pt x="12" y="7"/>
                    <a:pt x="12" y="7"/>
                  </a:cubicBezTo>
                  <a:cubicBezTo>
                    <a:pt x="13" y="7"/>
                    <a:pt x="13" y="6"/>
                    <a:pt x="13" y="5"/>
                  </a:cubicBezTo>
                  <a:cubicBezTo>
                    <a:pt x="14" y="5"/>
                    <a:pt x="14" y="5"/>
                    <a:pt x="14" y="5"/>
                  </a:cubicBezTo>
                  <a:cubicBezTo>
                    <a:pt x="15" y="4"/>
                    <a:pt x="16" y="4"/>
                    <a:pt x="16" y="3"/>
                  </a:cubicBezTo>
                  <a:cubicBezTo>
                    <a:pt x="17" y="3"/>
                    <a:pt x="18" y="3"/>
                    <a:pt x="18" y="2"/>
                  </a:cubicBezTo>
                  <a:cubicBezTo>
                    <a:pt x="19"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200"/>
            <p:cNvSpPr/>
            <p:nvPr/>
          </p:nvSpPr>
          <p:spPr bwMode="auto">
            <a:xfrm>
              <a:off x="8789461" y="6728071"/>
              <a:ext cx="80499" cy="19772"/>
            </a:xfrm>
            <a:custGeom>
              <a:gdLst>
                <a:gd name="T0" fmla="*/ 15 w 24"/>
                <a:gd name="T1" fmla="*/ 0 h 6"/>
                <a:gd name="T2" fmla="*/ 4 w 24"/>
                <a:gd name="T3" fmla="*/ 6 h 6"/>
                <a:gd name="T4" fmla="*/ 24 w 24"/>
                <a:gd name="T5" fmla="*/ 0 h 6"/>
                <a:gd name="T6" fmla="*/ 15 w 24"/>
                <a:gd name="T7" fmla="*/ 0 h 6"/>
              </a:gdLst>
              <a:cxnLst>
                <a:cxn ang="0">
                  <a:pos x="T0" y="T1"/>
                </a:cxn>
                <a:cxn ang="0">
                  <a:pos x="T2" y="T3"/>
                </a:cxn>
                <a:cxn ang="0">
                  <a:pos x="T4" y="T5"/>
                </a:cxn>
                <a:cxn ang="0">
                  <a:pos x="T6" y="T7"/>
                </a:cxn>
              </a:cxnLst>
              <a:rect l="0" t="0" r="r" b="b"/>
              <a:pathLst>
                <a:path w="24" h="6">
                  <a:moveTo>
                    <a:pt x="15" y="0"/>
                  </a:moveTo>
                  <a:cubicBezTo>
                    <a:pt x="8" y="0"/>
                    <a:pt x="0" y="1"/>
                    <a:pt x="4" y="6"/>
                  </a:cubicBezTo>
                  <a:cubicBezTo>
                    <a:pt x="11" y="4"/>
                    <a:pt x="18" y="2"/>
                    <a:pt x="24" y="0"/>
                  </a:cubicBezTo>
                  <a:cubicBezTo>
                    <a:pt x="23" y="0"/>
                    <a:pt x="19"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201"/>
            <p:cNvSpPr/>
            <p:nvPr/>
          </p:nvSpPr>
          <p:spPr bwMode="auto">
            <a:xfrm>
              <a:off x="9002713" y="5195754"/>
              <a:ext cx="19772" cy="12710"/>
            </a:xfrm>
            <a:custGeom>
              <a:gdLst>
                <a:gd name="T0" fmla="*/ 0 w 6"/>
                <a:gd name="T1" fmla="*/ 0 h 4"/>
                <a:gd name="T2" fmla="*/ 5 w 6"/>
                <a:gd name="T3" fmla="*/ 4 h 4"/>
                <a:gd name="T4" fmla="*/ 0 w 6"/>
                <a:gd name="T5" fmla="*/ 0 h 4"/>
              </a:gdLst>
              <a:cxnLst>
                <a:cxn ang="0">
                  <a:pos x="T0" y="T1"/>
                </a:cxn>
                <a:cxn ang="0">
                  <a:pos x="T2" y="T3"/>
                </a:cxn>
                <a:cxn ang="0">
                  <a:pos x="T4" y="T5"/>
                </a:cxn>
              </a:cxnLst>
              <a:rect l="0" t="0" r="r" b="b"/>
              <a:pathLst>
                <a:path w="6" h="4">
                  <a:moveTo>
                    <a:pt x="0" y="0"/>
                  </a:moveTo>
                  <a:cubicBezTo>
                    <a:pt x="2" y="1"/>
                    <a:pt x="3" y="3"/>
                    <a:pt x="5" y="4"/>
                  </a:cubicBezTo>
                  <a:cubicBezTo>
                    <a:pt x="6" y="0"/>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202"/>
            <p:cNvSpPr>
              <a:spLocks noEditPoints="1"/>
            </p:cNvSpPr>
            <p:nvPr/>
          </p:nvSpPr>
          <p:spPr bwMode="auto">
            <a:xfrm>
              <a:off x="9186308" y="6363704"/>
              <a:ext cx="156762" cy="112982"/>
            </a:xfrm>
            <a:custGeom>
              <a:gdLst>
                <a:gd name="T0" fmla="*/ 30 w 47"/>
                <a:gd name="T1" fmla="*/ 7 h 34"/>
                <a:gd name="T2" fmla="*/ 30 w 47"/>
                <a:gd name="T3" fmla="*/ 7 h 34"/>
                <a:gd name="T4" fmla="*/ 15 w 47"/>
                <a:gd name="T5" fmla="*/ 5 h 34"/>
                <a:gd name="T6" fmla="*/ 15 w 47"/>
                <a:gd name="T7" fmla="*/ 8 h 34"/>
                <a:gd name="T8" fmla="*/ 17 w 47"/>
                <a:gd name="T9" fmla="*/ 17 h 34"/>
                <a:gd name="T10" fmla="*/ 13 w 47"/>
                <a:gd name="T11" fmla="*/ 14 h 34"/>
                <a:gd name="T12" fmla="*/ 3 w 47"/>
                <a:gd name="T13" fmla="*/ 29 h 34"/>
                <a:gd name="T14" fmla="*/ 3 w 47"/>
                <a:gd name="T15" fmla="*/ 29 h 34"/>
                <a:gd name="T16" fmla="*/ 4 w 47"/>
                <a:gd name="T17" fmla="*/ 29 h 34"/>
                <a:gd name="T18" fmla="*/ 5 w 47"/>
                <a:gd name="T19" fmla="*/ 31 h 34"/>
                <a:gd name="T20" fmla="*/ 7 w 47"/>
                <a:gd name="T21" fmla="*/ 27 h 34"/>
                <a:gd name="T22" fmla="*/ 10 w 47"/>
                <a:gd name="T23" fmla="*/ 28 h 34"/>
                <a:gd name="T24" fmla="*/ 15 w 47"/>
                <a:gd name="T25" fmla="*/ 30 h 34"/>
                <a:gd name="T26" fmla="*/ 13 w 47"/>
                <a:gd name="T27" fmla="*/ 23 h 34"/>
                <a:gd name="T28" fmla="*/ 19 w 47"/>
                <a:gd name="T29" fmla="*/ 26 h 34"/>
                <a:gd name="T30" fmla="*/ 22 w 47"/>
                <a:gd name="T31" fmla="*/ 25 h 34"/>
                <a:gd name="T32" fmla="*/ 25 w 47"/>
                <a:gd name="T33" fmla="*/ 27 h 34"/>
                <a:gd name="T34" fmla="*/ 26 w 47"/>
                <a:gd name="T35" fmla="*/ 23 h 34"/>
                <a:gd name="T36" fmla="*/ 18 w 47"/>
                <a:gd name="T37" fmla="*/ 17 h 34"/>
                <a:gd name="T38" fmla="*/ 22 w 47"/>
                <a:gd name="T39" fmla="*/ 20 h 34"/>
                <a:gd name="T40" fmla="*/ 24 w 47"/>
                <a:gd name="T41" fmla="*/ 20 h 34"/>
                <a:gd name="T42" fmla="*/ 25 w 47"/>
                <a:gd name="T43" fmla="*/ 20 h 34"/>
                <a:gd name="T44" fmla="*/ 29 w 47"/>
                <a:gd name="T45" fmla="*/ 20 h 34"/>
                <a:gd name="T46" fmla="*/ 37 w 47"/>
                <a:gd name="T47" fmla="*/ 16 h 34"/>
                <a:gd name="T48" fmla="*/ 37 w 47"/>
                <a:gd name="T49" fmla="*/ 10 h 34"/>
                <a:gd name="T50" fmla="*/ 41 w 47"/>
                <a:gd name="T51" fmla="*/ 9 h 34"/>
                <a:gd name="T52" fmla="*/ 43 w 47"/>
                <a:gd name="T53" fmla="*/ 5 h 34"/>
                <a:gd name="T54" fmla="*/ 36 w 47"/>
                <a:gd name="T55" fmla="*/ 4 h 34"/>
                <a:gd name="T56" fmla="*/ 33 w 47"/>
                <a:gd name="T57" fmla="*/ 10 h 34"/>
                <a:gd name="T58" fmla="*/ 32 w 47"/>
                <a:gd name="T59" fmla="*/ 10 h 34"/>
                <a:gd name="T60" fmla="*/ 32 w 47"/>
                <a:gd name="T61" fmla="*/ 10 h 34"/>
                <a:gd name="T62" fmla="*/ 30 w 47"/>
                <a:gd name="T63" fmla="*/ 8 h 34"/>
                <a:gd name="T64" fmla="*/ 30 w 47"/>
                <a:gd name="T65" fmla="*/ 7 h 34"/>
                <a:gd name="T66" fmla="*/ 29 w 47"/>
                <a:gd name="T67" fmla="*/ 7 h 34"/>
                <a:gd name="T68" fmla="*/ 28 w 47"/>
                <a:gd name="T69" fmla="*/ 7 h 34"/>
                <a:gd name="T70" fmla="*/ 29 w 47"/>
                <a:gd name="T71" fmla="*/ 5 h 34"/>
                <a:gd name="T72" fmla="*/ 32 w 47"/>
                <a:gd name="T73" fmla="*/ 6 h 34"/>
                <a:gd name="T74" fmla="*/ 28 w 47"/>
                <a:gd name="T75" fmla="*/ 2 h 34"/>
                <a:gd name="T76" fmla="*/ 23 w 47"/>
                <a:gd name="T77" fmla="*/ 2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34">
                  <a:moveTo>
                    <a:pt x="30" y="7"/>
                  </a:moveTo>
                  <a:cubicBezTo>
                    <a:pt x="30" y="7"/>
                    <a:pt x="30" y="7"/>
                    <a:pt x="30" y="7"/>
                  </a:cubicBezTo>
                  <a:cubicBezTo>
                    <a:pt x="30" y="7"/>
                    <a:pt x="30" y="7"/>
                    <a:pt x="30" y="7"/>
                  </a:cubicBezTo>
                  <a:cubicBezTo>
                    <a:pt x="30" y="7"/>
                    <a:pt x="30" y="7"/>
                    <a:pt x="30" y="7"/>
                  </a:cubicBezTo>
                  <a:moveTo>
                    <a:pt x="19" y="0"/>
                  </a:moveTo>
                  <a:cubicBezTo>
                    <a:pt x="20" y="4"/>
                    <a:pt x="20" y="4"/>
                    <a:pt x="15" y="5"/>
                  </a:cubicBezTo>
                  <a:cubicBezTo>
                    <a:pt x="16" y="7"/>
                    <a:pt x="18" y="7"/>
                    <a:pt x="17" y="10"/>
                  </a:cubicBezTo>
                  <a:cubicBezTo>
                    <a:pt x="16" y="9"/>
                    <a:pt x="15" y="9"/>
                    <a:pt x="15" y="8"/>
                  </a:cubicBezTo>
                  <a:cubicBezTo>
                    <a:pt x="14" y="12"/>
                    <a:pt x="16" y="11"/>
                    <a:pt x="17" y="13"/>
                  </a:cubicBezTo>
                  <a:cubicBezTo>
                    <a:pt x="18" y="13"/>
                    <a:pt x="17" y="15"/>
                    <a:pt x="17" y="17"/>
                  </a:cubicBezTo>
                  <a:cubicBezTo>
                    <a:pt x="16" y="15"/>
                    <a:pt x="16" y="14"/>
                    <a:pt x="15" y="14"/>
                  </a:cubicBezTo>
                  <a:cubicBezTo>
                    <a:pt x="14" y="14"/>
                    <a:pt x="14" y="14"/>
                    <a:pt x="13" y="14"/>
                  </a:cubicBezTo>
                  <a:cubicBezTo>
                    <a:pt x="8" y="16"/>
                    <a:pt x="4" y="23"/>
                    <a:pt x="0" y="27"/>
                  </a:cubicBezTo>
                  <a:cubicBezTo>
                    <a:pt x="2" y="27"/>
                    <a:pt x="2" y="28"/>
                    <a:pt x="3" y="29"/>
                  </a:cubicBezTo>
                  <a:cubicBezTo>
                    <a:pt x="3" y="29"/>
                    <a:pt x="3" y="29"/>
                    <a:pt x="3" y="29"/>
                  </a:cubicBezTo>
                  <a:cubicBezTo>
                    <a:pt x="3" y="29"/>
                    <a:pt x="3" y="29"/>
                    <a:pt x="3" y="29"/>
                  </a:cubicBezTo>
                  <a:cubicBezTo>
                    <a:pt x="3" y="29"/>
                    <a:pt x="3" y="29"/>
                    <a:pt x="4" y="29"/>
                  </a:cubicBezTo>
                  <a:cubicBezTo>
                    <a:pt x="4" y="29"/>
                    <a:pt x="4" y="29"/>
                    <a:pt x="4" y="29"/>
                  </a:cubicBezTo>
                  <a:cubicBezTo>
                    <a:pt x="4" y="30"/>
                    <a:pt x="4" y="30"/>
                    <a:pt x="4" y="31"/>
                  </a:cubicBezTo>
                  <a:cubicBezTo>
                    <a:pt x="5" y="31"/>
                    <a:pt x="5" y="31"/>
                    <a:pt x="5" y="31"/>
                  </a:cubicBezTo>
                  <a:cubicBezTo>
                    <a:pt x="7" y="32"/>
                    <a:pt x="8" y="33"/>
                    <a:pt x="9" y="34"/>
                  </a:cubicBezTo>
                  <a:cubicBezTo>
                    <a:pt x="9" y="32"/>
                    <a:pt x="7" y="30"/>
                    <a:pt x="7" y="27"/>
                  </a:cubicBezTo>
                  <a:cubicBezTo>
                    <a:pt x="7" y="27"/>
                    <a:pt x="8" y="27"/>
                    <a:pt x="8" y="27"/>
                  </a:cubicBezTo>
                  <a:cubicBezTo>
                    <a:pt x="9" y="27"/>
                    <a:pt x="9" y="27"/>
                    <a:pt x="10" y="28"/>
                  </a:cubicBezTo>
                  <a:cubicBezTo>
                    <a:pt x="12" y="29"/>
                    <a:pt x="11" y="29"/>
                    <a:pt x="13" y="30"/>
                  </a:cubicBezTo>
                  <a:cubicBezTo>
                    <a:pt x="14" y="30"/>
                    <a:pt x="14" y="30"/>
                    <a:pt x="15" y="30"/>
                  </a:cubicBezTo>
                  <a:cubicBezTo>
                    <a:pt x="18" y="30"/>
                    <a:pt x="13" y="24"/>
                    <a:pt x="10" y="23"/>
                  </a:cubicBezTo>
                  <a:cubicBezTo>
                    <a:pt x="11" y="23"/>
                    <a:pt x="12" y="23"/>
                    <a:pt x="13" y="23"/>
                  </a:cubicBezTo>
                  <a:cubicBezTo>
                    <a:pt x="14" y="23"/>
                    <a:pt x="16" y="23"/>
                    <a:pt x="17" y="24"/>
                  </a:cubicBezTo>
                  <a:cubicBezTo>
                    <a:pt x="18" y="25"/>
                    <a:pt x="18" y="26"/>
                    <a:pt x="19" y="26"/>
                  </a:cubicBezTo>
                  <a:cubicBezTo>
                    <a:pt x="19" y="26"/>
                    <a:pt x="20" y="26"/>
                    <a:pt x="20" y="26"/>
                  </a:cubicBezTo>
                  <a:cubicBezTo>
                    <a:pt x="21" y="25"/>
                    <a:pt x="21" y="25"/>
                    <a:pt x="22" y="25"/>
                  </a:cubicBezTo>
                  <a:cubicBezTo>
                    <a:pt x="22" y="25"/>
                    <a:pt x="23" y="25"/>
                    <a:pt x="24" y="25"/>
                  </a:cubicBezTo>
                  <a:cubicBezTo>
                    <a:pt x="24" y="25"/>
                    <a:pt x="25" y="27"/>
                    <a:pt x="25" y="27"/>
                  </a:cubicBezTo>
                  <a:cubicBezTo>
                    <a:pt x="25" y="27"/>
                    <a:pt x="25" y="27"/>
                    <a:pt x="25" y="27"/>
                  </a:cubicBezTo>
                  <a:cubicBezTo>
                    <a:pt x="26" y="27"/>
                    <a:pt x="26" y="24"/>
                    <a:pt x="26" y="23"/>
                  </a:cubicBezTo>
                  <a:cubicBezTo>
                    <a:pt x="24" y="22"/>
                    <a:pt x="21" y="21"/>
                    <a:pt x="19" y="20"/>
                  </a:cubicBezTo>
                  <a:cubicBezTo>
                    <a:pt x="18" y="19"/>
                    <a:pt x="17" y="17"/>
                    <a:pt x="18" y="17"/>
                  </a:cubicBezTo>
                  <a:cubicBezTo>
                    <a:pt x="19" y="17"/>
                    <a:pt x="19" y="17"/>
                    <a:pt x="19" y="18"/>
                  </a:cubicBezTo>
                  <a:cubicBezTo>
                    <a:pt x="20" y="18"/>
                    <a:pt x="21" y="19"/>
                    <a:pt x="22" y="20"/>
                  </a:cubicBezTo>
                  <a:cubicBezTo>
                    <a:pt x="23" y="20"/>
                    <a:pt x="23" y="20"/>
                    <a:pt x="23" y="20"/>
                  </a:cubicBezTo>
                  <a:cubicBezTo>
                    <a:pt x="23" y="20"/>
                    <a:pt x="24" y="20"/>
                    <a:pt x="24" y="20"/>
                  </a:cubicBezTo>
                  <a:cubicBezTo>
                    <a:pt x="24" y="20"/>
                    <a:pt x="25" y="20"/>
                    <a:pt x="25" y="20"/>
                  </a:cubicBezTo>
                  <a:cubicBezTo>
                    <a:pt x="25" y="20"/>
                    <a:pt x="25" y="20"/>
                    <a:pt x="25" y="20"/>
                  </a:cubicBezTo>
                  <a:cubicBezTo>
                    <a:pt x="26" y="20"/>
                    <a:pt x="26" y="20"/>
                    <a:pt x="27" y="20"/>
                  </a:cubicBezTo>
                  <a:cubicBezTo>
                    <a:pt x="28" y="20"/>
                    <a:pt x="29" y="20"/>
                    <a:pt x="29" y="20"/>
                  </a:cubicBezTo>
                  <a:cubicBezTo>
                    <a:pt x="31" y="19"/>
                    <a:pt x="32" y="20"/>
                    <a:pt x="33" y="19"/>
                  </a:cubicBezTo>
                  <a:cubicBezTo>
                    <a:pt x="35" y="18"/>
                    <a:pt x="36" y="16"/>
                    <a:pt x="37" y="16"/>
                  </a:cubicBezTo>
                  <a:cubicBezTo>
                    <a:pt x="40" y="15"/>
                    <a:pt x="43" y="15"/>
                    <a:pt x="46" y="14"/>
                  </a:cubicBezTo>
                  <a:cubicBezTo>
                    <a:pt x="45" y="10"/>
                    <a:pt x="38" y="12"/>
                    <a:pt x="37" y="10"/>
                  </a:cubicBezTo>
                  <a:cubicBezTo>
                    <a:pt x="37" y="9"/>
                    <a:pt x="38" y="8"/>
                    <a:pt x="39" y="8"/>
                  </a:cubicBezTo>
                  <a:cubicBezTo>
                    <a:pt x="39" y="8"/>
                    <a:pt x="40" y="9"/>
                    <a:pt x="41" y="9"/>
                  </a:cubicBezTo>
                  <a:cubicBezTo>
                    <a:pt x="42" y="9"/>
                    <a:pt x="43" y="9"/>
                    <a:pt x="44" y="9"/>
                  </a:cubicBezTo>
                  <a:cubicBezTo>
                    <a:pt x="46" y="9"/>
                    <a:pt x="47" y="8"/>
                    <a:pt x="43" y="5"/>
                  </a:cubicBezTo>
                  <a:cubicBezTo>
                    <a:pt x="42" y="4"/>
                    <a:pt x="40" y="4"/>
                    <a:pt x="39" y="4"/>
                  </a:cubicBezTo>
                  <a:cubicBezTo>
                    <a:pt x="37" y="4"/>
                    <a:pt x="36" y="4"/>
                    <a:pt x="36" y="4"/>
                  </a:cubicBezTo>
                  <a:cubicBezTo>
                    <a:pt x="31" y="7"/>
                    <a:pt x="38" y="10"/>
                    <a:pt x="35" y="12"/>
                  </a:cubicBezTo>
                  <a:cubicBezTo>
                    <a:pt x="35" y="11"/>
                    <a:pt x="34" y="10"/>
                    <a:pt x="33" y="10"/>
                  </a:cubicBezTo>
                  <a:cubicBezTo>
                    <a:pt x="33" y="10"/>
                    <a:pt x="33" y="9"/>
                    <a:pt x="33" y="9"/>
                  </a:cubicBezTo>
                  <a:cubicBezTo>
                    <a:pt x="33" y="9"/>
                    <a:pt x="33" y="10"/>
                    <a:pt x="32" y="10"/>
                  </a:cubicBezTo>
                  <a:cubicBezTo>
                    <a:pt x="32" y="10"/>
                    <a:pt x="32" y="10"/>
                    <a:pt x="32" y="10"/>
                  </a:cubicBezTo>
                  <a:cubicBezTo>
                    <a:pt x="32" y="10"/>
                    <a:pt x="32" y="10"/>
                    <a:pt x="32" y="10"/>
                  </a:cubicBezTo>
                  <a:cubicBezTo>
                    <a:pt x="30" y="8"/>
                    <a:pt x="30" y="8"/>
                    <a:pt x="30" y="8"/>
                  </a:cubicBezTo>
                  <a:cubicBezTo>
                    <a:pt x="30" y="8"/>
                    <a:pt x="30" y="8"/>
                    <a:pt x="30" y="8"/>
                  </a:cubicBezTo>
                  <a:cubicBezTo>
                    <a:pt x="31" y="8"/>
                    <a:pt x="30" y="8"/>
                    <a:pt x="30" y="8"/>
                  </a:cubicBezTo>
                  <a:cubicBezTo>
                    <a:pt x="30" y="7"/>
                    <a:pt x="30" y="7"/>
                    <a:pt x="30" y="7"/>
                  </a:cubicBezTo>
                  <a:cubicBezTo>
                    <a:pt x="30" y="7"/>
                    <a:pt x="30" y="7"/>
                    <a:pt x="30" y="7"/>
                  </a:cubicBezTo>
                  <a:cubicBezTo>
                    <a:pt x="30" y="7"/>
                    <a:pt x="29" y="7"/>
                    <a:pt x="29" y="7"/>
                  </a:cubicBezTo>
                  <a:cubicBezTo>
                    <a:pt x="29" y="7"/>
                    <a:pt x="29" y="7"/>
                    <a:pt x="29" y="7"/>
                  </a:cubicBezTo>
                  <a:cubicBezTo>
                    <a:pt x="28" y="7"/>
                    <a:pt x="28" y="7"/>
                    <a:pt x="28" y="7"/>
                  </a:cubicBezTo>
                  <a:cubicBezTo>
                    <a:pt x="28" y="7"/>
                    <a:pt x="28" y="6"/>
                    <a:pt x="28" y="6"/>
                  </a:cubicBezTo>
                  <a:cubicBezTo>
                    <a:pt x="28" y="5"/>
                    <a:pt x="28" y="5"/>
                    <a:pt x="29" y="5"/>
                  </a:cubicBezTo>
                  <a:cubicBezTo>
                    <a:pt x="29" y="5"/>
                    <a:pt x="30" y="5"/>
                    <a:pt x="30" y="5"/>
                  </a:cubicBezTo>
                  <a:cubicBezTo>
                    <a:pt x="31" y="5"/>
                    <a:pt x="31" y="6"/>
                    <a:pt x="32" y="6"/>
                  </a:cubicBezTo>
                  <a:cubicBezTo>
                    <a:pt x="32" y="6"/>
                    <a:pt x="33" y="5"/>
                    <a:pt x="32" y="4"/>
                  </a:cubicBezTo>
                  <a:cubicBezTo>
                    <a:pt x="31" y="2"/>
                    <a:pt x="30" y="2"/>
                    <a:pt x="28" y="2"/>
                  </a:cubicBezTo>
                  <a:cubicBezTo>
                    <a:pt x="28" y="2"/>
                    <a:pt x="28" y="2"/>
                    <a:pt x="28" y="2"/>
                  </a:cubicBezTo>
                  <a:cubicBezTo>
                    <a:pt x="26" y="2"/>
                    <a:pt x="25" y="2"/>
                    <a:pt x="23" y="2"/>
                  </a:cubicBezTo>
                  <a:cubicBezTo>
                    <a:pt x="22" y="2"/>
                    <a:pt x="20" y="2"/>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203"/>
            <p:cNvSpPr/>
            <p:nvPr/>
          </p:nvSpPr>
          <p:spPr bwMode="auto">
            <a:xfrm>
              <a:off x="9076151" y="6417371"/>
              <a:ext cx="24009" cy="19772"/>
            </a:xfrm>
            <a:custGeom>
              <a:gdLst>
                <a:gd name="T0" fmla="*/ 6 w 7"/>
                <a:gd name="T1" fmla="*/ 0 h 6"/>
                <a:gd name="T2" fmla="*/ 5 w 7"/>
                <a:gd name="T3" fmla="*/ 0 h 6"/>
                <a:gd name="T4" fmla="*/ 2 w 7"/>
                <a:gd name="T5" fmla="*/ 2 h 6"/>
                <a:gd name="T6" fmla="*/ 1 w 7"/>
                <a:gd name="T7" fmla="*/ 2 h 6"/>
                <a:gd name="T8" fmla="*/ 1 w 7"/>
                <a:gd name="T9" fmla="*/ 2 h 6"/>
                <a:gd name="T10" fmla="*/ 1 w 7"/>
                <a:gd name="T11" fmla="*/ 2 h 6"/>
                <a:gd name="T12" fmla="*/ 1 w 7"/>
                <a:gd name="T13" fmla="*/ 2 h 6"/>
                <a:gd name="T14" fmla="*/ 4 w 7"/>
                <a:gd name="T15" fmla="*/ 6 h 6"/>
                <a:gd name="T16" fmla="*/ 6 w 7"/>
                <a:gd name="T17" fmla="*/ 2 h 6"/>
                <a:gd name="T18" fmla="*/ 6 w 7"/>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6" y="0"/>
                  </a:moveTo>
                  <a:cubicBezTo>
                    <a:pt x="6" y="0"/>
                    <a:pt x="5" y="0"/>
                    <a:pt x="5" y="0"/>
                  </a:cubicBezTo>
                  <a:cubicBezTo>
                    <a:pt x="4" y="0"/>
                    <a:pt x="2" y="1"/>
                    <a:pt x="2" y="2"/>
                  </a:cubicBezTo>
                  <a:cubicBezTo>
                    <a:pt x="2" y="2"/>
                    <a:pt x="1" y="2"/>
                    <a:pt x="1" y="2"/>
                  </a:cubicBezTo>
                  <a:cubicBezTo>
                    <a:pt x="1" y="2"/>
                    <a:pt x="1" y="2"/>
                    <a:pt x="1" y="2"/>
                  </a:cubicBezTo>
                  <a:cubicBezTo>
                    <a:pt x="1" y="2"/>
                    <a:pt x="1" y="2"/>
                    <a:pt x="1" y="2"/>
                  </a:cubicBezTo>
                  <a:cubicBezTo>
                    <a:pt x="1" y="2"/>
                    <a:pt x="0" y="2"/>
                    <a:pt x="1" y="2"/>
                  </a:cubicBezTo>
                  <a:cubicBezTo>
                    <a:pt x="1" y="4"/>
                    <a:pt x="3" y="5"/>
                    <a:pt x="4" y="6"/>
                  </a:cubicBezTo>
                  <a:cubicBezTo>
                    <a:pt x="7" y="6"/>
                    <a:pt x="6" y="5"/>
                    <a:pt x="6" y="2"/>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204"/>
            <p:cNvSpPr/>
            <p:nvPr/>
          </p:nvSpPr>
          <p:spPr bwMode="auto">
            <a:xfrm>
              <a:off x="9086037" y="6373590"/>
              <a:ext cx="141227" cy="93210"/>
            </a:xfrm>
            <a:custGeom>
              <a:gdLst>
                <a:gd name="T0" fmla="*/ 38 w 42"/>
                <a:gd name="T1" fmla="*/ 0 h 28"/>
                <a:gd name="T2" fmla="*/ 36 w 42"/>
                <a:gd name="T3" fmla="*/ 1 h 28"/>
                <a:gd name="T4" fmla="*/ 31 w 42"/>
                <a:gd name="T5" fmla="*/ 3 h 28"/>
                <a:gd name="T6" fmla="*/ 30 w 42"/>
                <a:gd name="T7" fmla="*/ 3 h 28"/>
                <a:gd name="T8" fmla="*/ 28 w 42"/>
                <a:gd name="T9" fmla="*/ 2 h 28"/>
                <a:gd name="T10" fmla="*/ 26 w 42"/>
                <a:gd name="T11" fmla="*/ 1 h 28"/>
                <a:gd name="T12" fmla="*/ 25 w 42"/>
                <a:gd name="T13" fmla="*/ 2 h 28"/>
                <a:gd name="T14" fmla="*/ 18 w 42"/>
                <a:gd name="T15" fmla="*/ 4 h 28"/>
                <a:gd name="T16" fmla="*/ 16 w 42"/>
                <a:gd name="T17" fmla="*/ 3 h 28"/>
                <a:gd name="T18" fmla="*/ 9 w 42"/>
                <a:gd name="T19" fmla="*/ 0 h 28"/>
                <a:gd name="T20" fmla="*/ 15 w 42"/>
                <a:gd name="T21" fmla="*/ 4 h 28"/>
                <a:gd name="T22" fmla="*/ 15 w 42"/>
                <a:gd name="T23" fmla="*/ 4 h 28"/>
                <a:gd name="T24" fmla="*/ 12 w 42"/>
                <a:gd name="T25" fmla="*/ 4 h 28"/>
                <a:gd name="T26" fmla="*/ 22 w 42"/>
                <a:gd name="T27" fmla="*/ 10 h 28"/>
                <a:gd name="T28" fmla="*/ 17 w 42"/>
                <a:gd name="T29" fmla="*/ 10 h 28"/>
                <a:gd name="T30" fmla="*/ 15 w 42"/>
                <a:gd name="T31" fmla="*/ 10 h 28"/>
                <a:gd name="T32" fmla="*/ 12 w 42"/>
                <a:gd name="T33" fmla="*/ 11 h 28"/>
                <a:gd name="T34" fmla="*/ 9 w 42"/>
                <a:gd name="T35" fmla="*/ 10 h 28"/>
                <a:gd name="T36" fmla="*/ 12 w 42"/>
                <a:gd name="T37" fmla="*/ 13 h 28"/>
                <a:gd name="T38" fmla="*/ 19 w 42"/>
                <a:gd name="T39" fmla="*/ 11 h 28"/>
                <a:gd name="T40" fmla="*/ 19 w 42"/>
                <a:gd name="T41" fmla="*/ 11 h 28"/>
                <a:gd name="T42" fmla="*/ 15 w 42"/>
                <a:gd name="T43" fmla="*/ 14 h 28"/>
                <a:gd name="T44" fmla="*/ 15 w 42"/>
                <a:gd name="T45" fmla="*/ 13 h 28"/>
                <a:gd name="T46" fmla="*/ 10 w 42"/>
                <a:gd name="T47" fmla="*/ 18 h 28"/>
                <a:gd name="T48" fmla="*/ 12 w 42"/>
                <a:gd name="T49" fmla="*/ 18 h 28"/>
                <a:gd name="T50" fmla="*/ 14 w 42"/>
                <a:gd name="T51" fmla="*/ 17 h 28"/>
                <a:gd name="T52" fmla="*/ 10 w 42"/>
                <a:gd name="T53" fmla="*/ 19 h 28"/>
                <a:gd name="T54" fmla="*/ 9 w 42"/>
                <a:gd name="T55" fmla="*/ 19 h 28"/>
                <a:gd name="T56" fmla="*/ 7 w 42"/>
                <a:gd name="T57" fmla="*/ 19 h 28"/>
                <a:gd name="T58" fmla="*/ 7 w 42"/>
                <a:gd name="T59" fmla="*/ 19 h 28"/>
                <a:gd name="T60" fmla="*/ 3 w 42"/>
                <a:gd name="T61" fmla="*/ 21 h 28"/>
                <a:gd name="T62" fmla="*/ 2 w 42"/>
                <a:gd name="T63" fmla="*/ 21 h 28"/>
                <a:gd name="T64" fmla="*/ 0 w 42"/>
                <a:gd name="T65" fmla="*/ 20 h 28"/>
                <a:gd name="T66" fmla="*/ 9 w 42"/>
                <a:gd name="T67" fmla="*/ 28 h 28"/>
                <a:gd name="T68" fmla="*/ 11 w 42"/>
                <a:gd name="T69" fmla="*/ 24 h 28"/>
                <a:gd name="T70" fmla="*/ 14 w 42"/>
                <a:gd name="T71" fmla="*/ 25 h 28"/>
                <a:gd name="T72" fmla="*/ 17 w 42"/>
                <a:gd name="T73" fmla="*/ 24 h 28"/>
                <a:gd name="T74" fmla="*/ 19 w 42"/>
                <a:gd name="T75" fmla="*/ 19 h 28"/>
                <a:gd name="T76" fmla="*/ 19 w 42"/>
                <a:gd name="T77" fmla="*/ 19 h 28"/>
                <a:gd name="T78" fmla="*/ 20 w 42"/>
                <a:gd name="T79" fmla="*/ 20 h 28"/>
                <a:gd name="T80" fmla="*/ 21 w 42"/>
                <a:gd name="T81" fmla="*/ 20 h 28"/>
                <a:gd name="T82" fmla="*/ 21 w 42"/>
                <a:gd name="T83" fmla="*/ 20 h 28"/>
                <a:gd name="T84" fmla="*/ 22 w 42"/>
                <a:gd name="T85" fmla="*/ 19 h 28"/>
                <a:gd name="T86" fmla="*/ 22 w 42"/>
                <a:gd name="T87" fmla="*/ 19 h 28"/>
                <a:gd name="T88" fmla="*/ 23 w 42"/>
                <a:gd name="T89" fmla="*/ 19 h 28"/>
                <a:gd name="T90" fmla="*/ 25 w 42"/>
                <a:gd name="T91" fmla="*/ 19 h 28"/>
                <a:gd name="T92" fmla="*/ 26 w 42"/>
                <a:gd name="T93" fmla="*/ 19 h 28"/>
                <a:gd name="T94" fmla="*/ 32 w 42"/>
                <a:gd name="T95" fmla="*/ 13 h 28"/>
                <a:gd name="T96" fmla="*/ 34 w 42"/>
                <a:gd name="T97" fmla="*/ 10 h 28"/>
                <a:gd name="T98" fmla="*/ 36 w 42"/>
                <a:gd name="T99" fmla="*/ 8 h 28"/>
                <a:gd name="T100" fmla="*/ 36 w 42"/>
                <a:gd name="T101" fmla="*/ 8 h 28"/>
                <a:gd name="T102" fmla="*/ 37 w 42"/>
                <a:gd name="T103" fmla="*/ 8 h 28"/>
                <a:gd name="T104" fmla="*/ 37 w 42"/>
                <a:gd name="T105" fmla="*/ 8 h 28"/>
                <a:gd name="T106" fmla="*/ 37 w 42"/>
                <a:gd name="T107" fmla="*/ 8 h 28"/>
                <a:gd name="T108" fmla="*/ 39 w 42"/>
                <a:gd name="T109" fmla="*/ 4 h 28"/>
                <a:gd name="T110" fmla="*/ 42 w 42"/>
                <a:gd name="T111" fmla="*/ 2 h 28"/>
                <a:gd name="T112" fmla="*/ 38 w 42"/>
                <a:gd name="T113"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28">
                  <a:moveTo>
                    <a:pt x="38" y="0"/>
                  </a:moveTo>
                  <a:cubicBezTo>
                    <a:pt x="37" y="0"/>
                    <a:pt x="37" y="0"/>
                    <a:pt x="36" y="1"/>
                  </a:cubicBezTo>
                  <a:cubicBezTo>
                    <a:pt x="34" y="2"/>
                    <a:pt x="33" y="3"/>
                    <a:pt x="31" y="3"/>
                  </a:cubicBezTo>
                  <a:cubicBezTo>
                    <a:pt x="31" y="3"/>
                    <a:pt x="30" y="3"/>
                    <a:pt x="30" y="3"/>
                  </a:cubicBezTo>
                  <a:cubicBezTo>
                    <a:pt x="29" y="3"/>
                    <a:pt x="29" y="2"/>
                    <a:pt x="28" y="2"/>
                  </a:cubicBezTo>
                  <a:cubicBezTo>
                    <a:pt x="27" y="1"/>
                    <a:pt x="27" y="1"/>
                    <a:pt x="26" y="1"/>
                  </a:cubicBezTo>
                  <a:cubicBezTo>
                    <a:pt x="26" y="1"/>
                    <a:pt x="26" y="2"/>
                    <a:pt x="25" y="2"/>
                  </a:cubicBezTo>
                  <a:cubicBezTo>
                    <a:pt x="22" y="2"/>
                    <a:pt x="21" y="4"/>
                    <a:pt x="18" y="4"/>
                  </a:cubicBezTo>
                  <a:cubicBezTo>
                    <a:pt x="17" y="4"/>
                    <a:pt x="17" y="4"/>
                    <a:pt x="16" y="3"/>
                  </a:cubicBezTo>
                  <a:cubicBezTo>
                    <a:pt x="14" y="2"/>
                    <a:pt x="12" y="1"/>
                    <a:pt x="9" y="0"/>
                  </a:cubicBezTo>
                  <a:cubicBezTo>
                    <a:pt x="11" y="3"/>
                    <a:pt x="13" y="2"/>
                    <a:pt x="15" y="4"/>
                  </a:cubicBezTo>
                  <a:cubicBezTo>
                    <a:pt x="15" y="4"/>
                    <a:pt x="15" y="4"/>
                    <a:pt x="15" y="4"/>
                  </a:cubicBezTo>
                  <a:cubicBezTo>
                    <a:pt x="14" y="4"/>
                    <a:pt x="13" y="4"/>
                    <a:pt x="12" y="4"/>
                  </a:cubicBezTo>
                  <a:cubicBezTo>
                    <a:pt x="15" y="7"/>
                    <a:pt x="19" y="9"/>
                    <a:pt x="22" y="10"/>
                  </a:cubicBezTo>
                  <a:cubicBezTo>
                    <a:pt x="20" y="10"/>
                    <a:pt x="19" y="10"/>
                    <a:pt x="17" y="10"/>
                  </a:cubicBezTo>
                  <a:cubicBezTo>
                    <a:pt x="16" y="10"/>
                    <a:pt x="16" y="10"/>
                    <a:pt x="15" y="10"/>
                  </a:cubicBezTo>
                  <a:cubicBezTo>
                    <a:pt x="14" y="10"/>
                    <a:pt x="13" y="11"/>
                    <a:pt x="12" y="11"/>
                  </a:cubicBezTo>
                  <a:cubicBezTo>
                    <a:pt x="11" y="11"/>
                    <a:pt x="10" y="10"/>
                    <a:pt x="9" y="10"/>
                  </a:cubicBezTo>
                  <a:cubicBezTo>
                    <a:pt x="10" y="11"/>
                    <a:pt x="11" y="13"/>
                    <a:pt x="12" y="13"/>
                  </a:cubicBezTo>
                  <a:cubicBezTo>
                    <a:pt x="13" y="12"/>
                    <a:pt x="16" y="11"/>
                    <a:pt x="19" y="11"/>
                  </a:cubicBezTo>
                  <a:cubicBezTo>
                    <a:pt x="19" y="11"/>
                    <a:pt x="19" y="11"/>
                    <a:pt x="19" y="11"/>
                  </a:cubicBezTo>
                  <a:cubicBezTo>
                    <a:pt x="18" y="12"/>
                    <a:pt x="16" y="13"/>
                    <a:pt x="15" y="14"/>
                  </a:cubicBezTo>
                  <a:cubicBezTo>
                    <a:pt x="15" y="13"/>
                    <a:pt x="15" y="13"/>
                    <a:pt x="15" y="13"/>
                  </a:cubicBezTo>
                  <a:cubicBezTo>
                    <a:pt x="13" y="13"/>
                    <a:pt x="12" y="16"/>
                    <a:pt x="10" y="18"/>
                  </a:cubicBezTo>
                  <a:cubicBezTo>
                    <a:pt x="11" y="18"/>
                    <a:pt x="11" y="18"/>
                    <a:pt x="12" y="18"/>
                  </a:cubicBezTo>
                  <a:cubicBezTo>
                    <a:pt x="13" y="18"/>
                    <a:pt x="14" y="18"/>
                    <a:pt x="14" y="17"/>
                  </a:cubicBezTo>
                  <a:cubicBezTo>
                    <a:pt x="13" y="19"/>
                    <a:pt x="11" y="19"/>
                    <a:pt x="10" y="19"/>
                  </a:cubicBezTo>
                  <a:cubicBezTo>
                    <a:pt x="10" y="19"/>
                    <a:pt x="9" y="19"/>
                    <a:pt x="9" y="19"/>
                  </a:cubicBezTo>
                  <a:cubicBezTo>
                    <a:pt x="8" y="19"/>
                    <a:pt x="7" y="19"/>
                    <a:pt x="7" y="19"/>
                  </a:cubicBezTo>
                  <a:cubicBezTo>
                    <a:pt x="7" y="19"/>
                    <a:pt x="7" y="19"/>
                    <a:pt x="7" y="19"/>
                  </a:cubicBezTo>
                  <a:cubicBezTo>
                    <a:pt x="4" y="19"/>
                    <a:pt x="5" y="19"/>
                    <a:pt x="3" y="21"/>
                  </a:cubicBezTo>
                  <a:cubicBezTo>
                    <a:pt x="2" y="21"/>
                    <a:pt x="2" y="21"/>
                    <a:pt x="2" y="21"/>
                  </a:cubicBezTo>
                  <a:cubicBezTo>
                    <a:pt x="1" y="21"/>
                    <a:pt x="1" y="21"/>
                    <a:pt x="0" y="20"/>
                  </a:cubicBezTo>
                  <a:cubicBezTo>
                    <a:pt x="3" y="23"/>
                    <a:pt x="6" y="25"/>
                    <a:pt x="9" y="28"/>
                  </a:cubicBezTo>
                  <a:cubicBezTo>
                    <a:pt x="12" y="27"/>
                    <a:pt x="13" y="26"/>
                    <a:pt x="11" y="24"/>
                  </a:cubicBezTo>
                  <a:cubicBezTo>
                    <a:pt x="12" y="25"/>
                    <a:pt x="13" y="25"/>
                    <a:pt x="14" y="25"/>
                  </a:cubicBezTo>
                  <a:cubicBezTo>
                    <a:pt x="15" y="25"/>
                    <a:pt x="16" y="25"/>
                    <a:pt x="17" y="24"/>
                  </a:cubicBezTo>
                  <a:cubicBezTo>
                    <a:pt x="19" y="22"/>
                    <a:pt x="16" y="20"/>
                    <a:pt x="19" y="19"/>
                  </a:cubicBezTo>
                  <a:cubicBezTo>
                    <a:pt x="19" y="19"/>
                    <a:pt x="19" y="19"/>
                    <a:pt x="19" y="19"/>
                  </a:cubicBezTo>
                  <a:cubicBezTo>
                    <a:pt x="19" y="19"/>
                    <a:pt x="20" y="20"/>
                    <a:pt x="20" y="20"/>
                  </a:cubicBezTo>
                  <a:cubicBezTo>
                    <a:pt x="21" y="20"/>
                    <a:pt x="21" y="20"/>
                    <a:pt x="21" y="20"/>
                  </a:cubicBezTo>
                  <a:cubicBezTo>
                    <a:pt x="21" y="20"/>
                    <a:pt x="21" y="20"/>
                    <a:pt x="21" y="20"/>
                  </a:cubicBezTo>
                  <a:cubicBezTo>
                    <a:pt x="22" y="20"/>
                    <a:pt x="22" y="19"/>
                    <a:pt x="22" y="19"/>
                  </a:cubicBezTo>
                  <a:cubicBezTo>
                    <a:pt x="22" y="19"/>
                    <a:pt x="22" y="19"/>
                    <a:pt x="22" y="19"/>
                  </a:cubicBezTo>
                  <a:cubicBezTo>
                    <a:pt x="23" y="19"/>
                    <a:pt x="23" y="19"/>
                    <a:pt x="23" y="19"/>
                  </a:cubicBezTo>
                  <a:cubicBezTo>
                    <a:pt x="24" y="19"/>
                    <a:pt x="24" y="19"/>
                    <a:pt x="25" y="19"/>
                  </a:cubicBezTo>
                  <a:cubicBezTo>
                    <a:pt x="25" y="19"/>
                    <a:pt x="26" y="19"/>
                    <a:pt x="26" y="19"/>
                  </a:cubicBezTo>
                  <a:cubicBezTo>
                    <a:pt x="28" y="18"/>
                    <a:pt x="30" y="14"/>
                    <a:pt x="32" y="13"/>
                  </a:cubicBezTo>
                  <a:cubicBezTo>
                    <a:pt x="32" y="12"/>
                    <a:pt x="33" y="11"/>
                    <a:pt x="34" y="10"/>
                  </a:cubicBezTo>
                  <a:cubicBezTo>
                    <a:pt x="35" y="9"/>
                    <a:pt x="35" y="9"/>
                    <a:pt x="36" y="8"/>
                  </a:cubicBezTo>
                  <a:cubicBezTo>
                    <a:pt x="36" y="8"/>
                    <a:pt x="36" y="8"/>
                    <a:pt x="36" y="8"/>
                  </a:cubicBezTo>
                  <a:cubicBezTo>
                    <a:pt x="36" y="8"/>
                    <a:pt x="36" y="8"/>
                    <a:pt x="37" y="8"/>
                  </a:cubicBezTo>
                  <a:cubicBezTo>
                    <a:pt x="37" y="8"/>
                    <a:pt x="37" y="8"/>
                    <a:pt x="37" y="8"/>
                  </a:cubicBezTo>
                  <a:cubicBezTo>
                    <a:pt x="37" y="8"/>
                    <a:pt x="37" y="8"/>
                    <a:pt x="37" y="8"/>
                  </a:cubicBezTo>
                  <a:cubicBezTo>
                    <a:pt x="38" y="7"/>
                    <a:pt x="38" y="5"/>
                    <a:pt x="39" y="4"/>
                  </a:cubicBezTo>
                  <a:cubicBezTo>
                    <a:pt x="39" y="4"/>
                    <a:pt x="41" y="3"/>
                    <a:pt x="42" y="2"/>
                  </a:cubicBezTo>
                  <a:cubicBezTo>
                    <a:pt x="41" y="1"/>
                    <a:pt x="39"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206"/>
            <p:cNvSpPr/>
            <p:nvPr/>
          </p:nvSpPr>
          <p:spPr bwMode="auto">
            <a:xfrm>
              <a:off x="6997290" y="580444"/>
              <a:ext cx="14123" cy="24009"/>
            </a:xfrm>
            <a:custGeom>
              <a:gdLst>
                <a:gd name="T0" fmla="*/ 4 w 4"/>
                <a:gd name="T1" fmla="*/ 0 h 7"/>
                <a:gd name="T2" fmla="*/ 0 w 4"/>
                <a:gd name="T3" fmla="*/ 7 h 7"/>
                <a:gd name="T4" fmla="*/ 1 w 4"/>
                <a:gd name="T5" fmla="*/ 6 h 7"/>
                <a:gd name="T6" fmla="*/ 2 w 4"/>
                <a:gd name="T7" fmla="*/ 5 h 7"/>
                <a:gd name="T8" fmla="*/ 2 w 4"/>
                <a:gd name="T9" fmla="*/ 4 h 7"/>
                <a:gd name="T10" fmla="*/ 4 w 4"/>
                <a:gd name="T11" fmla="*/ 1 h 7"/>
                <a:gd name="T12" fmla="*/ 4 w 4"/>
                <a:gd name="T13" fmla="*/ 1 h 7"/>
                <a:gd name="T14" fmla="*/ 4 w 4"/>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4" y="0"/>
                  </a:moveTo>
                  <a:cubicBezTo>
                    <a:pt x="2" y="2"/>
                    <a:pt x="1" y="5"/>
                    <a:pt x="0" y="7"/>
                  </a:cubicBezTo>
                  <a:cubicBezTo>
                    <a:pt x="1" y="6"/>
                    <a:pt x="1" y="6"/>
                    <a:pt x="1" y="6"/>
                  </a:cubicBezTo>
                  <a:cubicBezTo>
                    <a:pt x="2" y="5"/>
                    <a:pt x="2" y="5"/>
                    <a:pt x="2" y="5"/>
                  </a:cubicBezTo>
                  <a:cubicBezTo>
                    <a:pt x="2" y="5"/>
                    <a:pt x="2" y="5"/>
                    <a:pt x="2" y="4"/>
                  </a:cubicBezTo>
                  <a:cubicBezTo>
                    <a:pt x="3" y="3"/>
                    <a:pt x="4" y="2"/>
                    <a:pt x="4" y="1"/>
                  </a:cubicBezTo>
                  <a:cubicBezTo>
                    <a:pt x="4" y="1"/>
                    <a:pt x="4" y="1"/>
                    <a:pt x="4" y="1"/>
                  </a:cubicBezTo>
                  <a:cubicBezTo>
                    <a:pt x="4"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207"/>
            <p:cNvSpPr/>
            <p:nvPr/>
          </p:nvSpPr>
          <p:spPr bwMode="auto">
            <a:xfrm>
              <a:off x="10294940" y="3876691"/>
              <a:ext cx="16947" cy="19772"/>
            </a:xfrm>
            <a:custGeom>
              <a:gdLst>
                <a:gd name="T0" fmla="*/ 3 w 5"/>
                <a:gd name="T1" fmla="*/ 0 h 6"/>
                <a:gd name="T2" fmla="*/ 3 w 5"/>
                <a:gd name="T3" fmla="*/ 0 h 6"/>
                <a:gd name="T4" fmla="*/ 3 w 5"/>
                <a:gd name="T5" fmla="*/ 0 h 6"/>
                <a:gd name="T6" fmla="*/ 0 w 5"/>
                <a:gd name="T7" fmla="*/ 3 h 6"/>
                <a:gd name="T8" fmla="*/ 0 w 5"/>
                <a:gd name="T9" fmla="*/ 4 h 6"/>
                <a:gd name="T10" fmla="*/ 2 w 5"/>
                <a:gd name="T11" fmla="*/ 5 h 6"/>
                <a:gd name="T12" fmla="*/ 4 w 5"/>
                <a:gd name="T13" fmla="*/ 6 h 6"/>
                <a:gd name="T14" fmla="*/ 4 w 5"/>
                <a:gd name="T15" fmla="*/ 6 h 6"/>
                <a:gd name="T16" fmla="*/ 4 w 5"/>
                <a:gd name="T17" fmla="*/ 2 h 6"/>
                <a:gd name="T18" fmla="*/ 5 w 5"/>
                <a:gd name="T19" fmla="*/ 1 h 6"/>
                <a:gd name="T20" fmla="*/ 4 w 5"/>
                <a:gd name="T21" fmla="*/ 1 h 6"/>
                <a:gd name="T22" fmla="*/ 4 w 5"/>
                <a:gd name="T23" fmla="*/ 0 h 6"/>
                <a:gd name="T24" fmla="*/ 3 w 5"/>
                <a:gd name="T25" fmla="*/ 0 h 6"/>
                <a:gd name="T26" fmla="*/ 3 w 5"/>
                <a:gd name="T2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3" y="0"/>
                  </a:moveTo>
                  <a:cubicBezTo>
                    <a:pt x="3" y="0"/>
                    <a:pt x="3" y="0"/>
                    <a:pt x="3" y="0"/>
                  </a:cubicBezTo>
                  <a:cubicBezTo>
                    <a:pt x="3" y="0"/>
                    <a:pt x="3" y="0"/>
                    <a:pt x="3" y="0"/>
                  </a:cubicBezTo>
                  <a:cubicBezTo>
                    <a:pt x="2" y="1"/>
                    <a:pt x="0" y="3"/>
                    <a:pt x="0" y="3"/>
                  </a:cubicBezTo>
                  <a:cubicBezTo>
                    <a:pt x="0" y="4"/>
                    <a:pt x="0" y="4"/>
                    <a:pt x="0" y="4"/>
                  </a:cubicBezTo>
                  <a:cubicBezTo>
                    <a:pt x="0" y="5"/>
                    <a:pt x="0" y="5"/>
                    <a:pt x="2" y="5"/>
                  </a:cubicBezTo>
                  <a:cubicBezTo>
                    <a:pt x="2" y="5"/>
                    <a:pt x="3" y="6"/>
                    <a:pt x="4" y="6"/>
                  </a:cubicBezTo>
                  <a:cubicBezTo>
                    <a:pt x="4" y="6"/>
                    <a:pt x="4" y="6"/>
                    <a:pt x="4" y="6"/>
                  </a:cubicBezTo>
                  <a:cubicBezTo>
                    <a:pt x="3" y="5"/>
                    <a:pt x="4" y="3"/>
                    <a:pt x="4" y="2"/>
                  </a:cubicBezTo>
                  <a:cubicBezTo>
                    <a:pt x="5" y="1"/>
                    <a:pt x="5" y="1"/>
                    <a:pt x="5" y="1"/>
                  </a:cubicBezTo>
                  <a:cubicBezTo>
                    <a:pt x="4" y="1"/>
                    <a:pt x="4" y="1"/>
                    <a:pt x="4" y="1"/>
                  </a:cubicBezTo>
                  <a:cubicBezTo>
                    <a:pt x="4" y="0"/>
                    <a:pt x="4" y="0"/>
                    <a:pt x="4" y="0"/>
                  </a:cubicBez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208"/>
            <p:cNvSpPr/>
            <p:nvPr/>
          </p:nvSpPr>
          <p:spPr bwMode="auto">
            <a:xfrm>
              <a:off x="9920689" y="1933402"/>
              <a:ext cx="19772" cy="12710"/>
            </a:xfrm>
            <a:custGeom>
              <a:gdLst>
                <a:gd name="T0" fmla="*/ 6 w 6"/>
                <a:gd name="T1" fmla="*/ 0 h 4"/>
                <a:gd name="T2" fmla="*/ 0 w 6"/>
                <a:gd name="T3" fmla="*/ 4 h 4"/>
                <a:gd name="T4" fmla="*/ 3 w 6"/>
                <a:gd name="T5" fmla="*/ 4 h 4"/>
                <a:gd name="T6" fmla="*/ 5 w 6"/>
                <a:gd name="T7" fmla="*/ 2 h 4"/>
                <a:gd name="T8" fmla="*/ 5 w 6"/>
                <a:gd name="T9" fmla="*/ 2 h 4"/>
                <a:gd name="T10" fmla="*/ 6 w 6"/>
                <a:gd name="T11" fmla="*/ 0 h 4"/>
              </a:gdLst>
              <a:cxnLst>
                <a:cxn ang="0">
                  <a:pos x="T0" y="T1"/>
                </a:cxn>
                <a:cxn ang="0">
                  <a:pos x="T2" y="T3"/>
                </a:cxn>
                <a:cxn ang="0">
                  <a:pos x="T4" y="T5"/>
                </a:cxn>
                <a:cxn ang="0">
                  <a:pos x="T6" y="T7"/>
                </a:cxn>
                <a:cxn ang="0">
                  <a:pos x="T8" y="T9"/>
                </a:cxn>
                <a:cxn ang="0">
                  <a:pos x="T10" y="T11"/>
                </a:cxn>
              </a:cxnLst>
              <a:rect l="0" t="0" r="r" b="b"/>
              <a:pathLst>
                <a:path w="6" h="4">
                  <a:moveTo>
                    <a:pt x="6" y="0"/>
                  </a:moveTo>
                  <a:cubicBezTo>
                    <a:pt x="4" y="1"/>
                    <a:pt x="2" y="3"/>
                    <a:pt x="0" y="4"/>
                  </a:cubicBezTo>
                  <a:cubicBezTo>
                    <a:pt x="1" y="4"/>
                    <a:pt x="2" y="4"/>
                    <a:pt x="3" y="4"/>
                  </a:cubicBezTo>
                  <a:cubicBezTo>
                    <a:pt x="4" y="3"/>
                    <a:pt x="4" y="3"/>
                    <a:pt x="5" y="2"/>
                  </a:cubicBezTo>
                  <a:cubicBezTo>
                    <a:pt x="5" y="2"/>
                    <a:pt x="5" y="2"/>
                    <a:pt x="5" y="2"/>
                  </a:cubicBezTo>
                  <a:cubicBezTo>
                    <a:pt x="5" y="1"/>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209"/>
            <p:cNvSpPr/>
            <p:nvPr/>
          </p:nvSpPr>
          <p:spPr bwMode="auto">
            <a:xfrm>
              <a:off x="9917864" y="1955999"/>
              <a:ext cx="19772" cy="19772"/>
            </a:xfrm>
            <a:custGeom>
              <a:gdLst>
                <a:gd name="T0" fmla="*/ 4 w 6"/>
                <a:gd name="T1" fmla="*/ 0 h 6"/>
                <a:gd name="T2" fmla="*/ 1 w 6"/>
                <a:gd name="T3" fmla="*/ 1 h 6"/>
                <a:gd name="T4" fmla="*/ 1 w 6"/>
                <a:gd name="T5" fmla="*/ 1 h 6"/>
                <a:gd name="T6" fmla="*/ 0 w 6"/>
                <a:gd name="T7" fmla="*/ 2 h 6"/>
                <a:gd name="T8" fmla="*/ 1 w 6"/>
                <a:gd name="T9" fmla="*/ 6 h 6"/>
                <a:gd name="T10" fmla="*/ 6 w 6"/>
                <a:gd name="T11" fmla="*/ 2 h 6"/>
                <a:gd name="T12" fmla="*/ 6 w 6"/>
                <a:gd name="T13" fmla="*/ 1 h 6"/>
                <a:gd name="T14" fmla="*/ 6 w 6"/>
                <a:gd name="T15" fmla="*/ 1 h 6"/>
                <a:gd name="T16" fmla="*/ 6 w 6"/>
                <a:gd name="T17" fmla="*/ 1 h 6"/>
                <a:gd name="T18" fmla="*/ 6 w 6"/>
                <a:gd name="T19" fmla="*/ 0 h 6"/>
                <a:gd name="T20" fmla="*/ 5 w 6"/>
                <a:gd name="T21" fmla="*/ 0 h 6"/>
                <a:gd name="T22" fmla="*/ 5 w 6"/>
                <a:gd name="T23" fmla="*/ 0 h 6"/>
                <a:gd name="T24" fmla="*/ 5 w 6"/>
                <a:gd name="T25" fmla="*/ 0 h 6"/>
                <a:gd name="T26" fmla="*/ 4 w 6"/>
                <a:gd name="T2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6">
                  <a:moveTo>
                    <a:pt x="4" y="0"/>
                  </a:moveTo>
                  <a:cubicBezTo>
                    <a:pt x="3" y="0"/>
                    <a:pt x="2" y="0"/>
                    <a:pt x="1" y="1"/>
                  </a:cubicBezTo>
                  <a:cubicBezTo>
                    <a:pt x="1" y="1"/>
                    <a:pt x="1" y="1"/>
                    <a:pt x="1" y="1"/>
                  </a:cubicBezTo>
                  <a:cubicBezTo>
                    <a:pt x="0" y="2"/>
                    <a:pt x="0" y="2"/>
                    <a:pt x="0" y="2"/>
                  </a:cubicBezTo>
                  <a:cubicBezTo>
                    <a:pt x="0" y="4"/>
                    <a:pt x="1" y="5"/>
                    <a:pt x="1" y="6"/>
                  </a:cubicBezTo>
                  <a:cubicBezTo>
                    <a:pt x="2" y="6"/>
                    <a:pt x="6" y="3"/>
                    <a:pt x="6" y="2"/>
                  </a:cubicBezTo>
                  <a:cubicBezTo>
                    <a:pt x="6" y="1"/>
                    <a:pt x="6" y="1"/>
                    <a:pt x="6" y="1"/>
                  </a:cubicBezTo>
                  <a:cubicBezTo>
                    <a:pt x="6" y="1"/>
                    <a:pt x="6" y="1"/>
                    <a:pt x="6" y="1"/>
                  </a:cubicBezTo>
                  <a:cubicBezTo>
                    <a:pt x="6" y="1"/>
                    <a:pt x="6" y="1"/>
                    <a:pt x="6" y="1"/>
                  </a:cubicBezTo>
                  <a:cubicBezTo>
                    <a:pt x="6" y="0"/>
                    <a:pt x="6" y="0"/>
                    <a:pt x="6" y="0"/>
                  </a:cubicBezTo>
                  <a:cubicBezTo>
                    <a:pt x="6" y="0"/>
                    <a:pt x="5" y="0"/>
                    <a:pt x="5" y="0"/>
                  </a:cubicBezTo>
                  <a:cubicBezTo>
                    <a:pt x="5" y="0"/>
                    <a:pt x="5" y="0"/>
                    <a:pt x="5" y="0"/>
                  </a:cubicBezTo>
                  <a:cubicBezTo>
                    <a:pt x="5" y="0"/>
                    <a:pt x="5" y="0"/>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210"/>
            <p:cNvSpPr/>
            <p:nvPr/>
          </p:nvSpPr>
          <p:spPr bwMode="auto">
            <a:xfrm>
              <a:off x="9893856" y="1989893"/>
              <a:ext cx="14123" cy="12710"/>
            </a:xfrm>
            <a:custGeom>
              <a:gdLst>
                <a:gd name="T0" fmla="*/ 1 w 4"/>
                <a:gd name="T1" fmla="*/ 0 h 4"/>
                <a:gd name="T2" fmla="*/ 1 w 4"/>
                <a:gd name="T3" fmla="*/ 3 h 4"/>
                <a:gd name="T4" fmla="*/ 1 w 4"/>
                <a:gd name="T5" fmla="*/ 4 h 4"/>
                <a:gd name="T6" fmla="*/ 4 w 4"/>
                <a:gd name="T7" fmla="*/ 4 h 4"/>
                <a:gd name="T8" fmla="*/ 2 w 4"/>
                <a:gd name="T9" fmla="*/ 1 h 4"/>
                <a:gd name="T10" fmla="*/ 1 w 4"/>
                <a:gd name="T11" fmla="*/ 0 h 4"/>
              </a:gdLst>
              <a:cxnLst>
                <a:cxn ang="0">
                  <a:pos x="T0" y="T1"/>
                </a:cxn>
                <a:cxn ang="0">
                  <a:pos x="T2" y="T3"/>
                </a:cxn>
                <a:cxn ang="0">
                  <a:pos x="T4" y="T5"/>
                </a:cxn>
                <a:cxn ang="0">
                  <a:pos x="T6" y="T7"/>
                </a:cxn>
                <a:cxn ang="0">
                  <a:pos x="T8" y="T9"/>
                </a:cxn>
                <a:cxn ang="0">
                  <a:pos x="T10" y="T11"/>
                </a:cxn>
              </a:cxnLst>
              <a:rect l="0" t="0" r="r" b="b"/>
              <a:pathLst>
                <a:path w="4" h="4">
                  <a:moveTo>
                    <a:pt x="1" y="0"/>
                  </a:moveTo>
                  <a:cubicBezTo>
                    <a:pt x="0" y="1"/>
                    <a:pt x="0" y="3"/>
                    <a:pt x="1" y="3"/>
                  </a:cubicBezTo>
                  <a:cubicBezTo>
                    <a:pt x="1" y="4"/>
                    <a:pt x="1" y="4"/>
                    <a:pt x="1" y="4"/>
                  </a:cubicBezTo>
                  <a:cubicBezTo>
                    <a:pt x="2" y="4"/>
                    <a:pt x="3" y="4"/>
                    <a:pt x="4" y="4"/>
                  </a:cubicBezTo>
                  <a:cubicBezTo>
                    <a:pt x="4" y="3"/>
                    <a:pt x="4" y="1"/>
                    <a:pt x="2" y="1"/>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211"/>
            <p:cNvSpPr/>
            <p:nvPr/>
          </p:nvSpPr>
          <p:spPr bwMode="auto">
            <a:xfrm>
              <a:off x="9903742" y="1955999"/>
              <a:ext cx="9886" cy="33895"/>
            </a:xfrm>
            <a:custGeom>
              <a:gdLst>
                <a:gd name="T0" fmla="*/ 2 w 3"/>
                <a:gd name="T1" fmla="*/ 0 h 10"/>
                <a:gd name="T2" fmla="*/ 2 w 3"/>
                <a:gd name="T3" fmla="*/ 0 h 10"/>
                <a:gd name="T4" fmla="*/ 2 w 3"/>
                <a:gd name="T5" fmla="*/ 2 h 10"/>
                <a:gd name="T6" fmla="*/ 1 w 3"/>
                <a:gd name="T7" fmla="*/ 3 h 10"/>
                <a:gd name="T8" fmla="*/ 0 w 3"/>
                <a:gd name="T9" fmla="*/ 5 h 10"/>
                <a:gd name="T10" fmla="*/ 1 w 3"/>
                <a:gd name="T11" fmla="*/ 10 h 10"/>
                <a:gd name="T12" fmla="*/ 3 w 3"/>
                <a:gd name="T13" fmla="*/ 8 h 10"/>
                <a:gd name="T14" fmla="*/ 3 w 3"/>
                <a:gd name="T15" fmla="*/ 8 h 10"/>
                <a:gd name="T16" fmla="*/ 3 w 3"/>
                <a:gd name="T17" fmla="*/ 7 h 10"/>
                <a:gd name="T18" fmla="*/ 3 w 3"/>
                <a:gd name="T19" fmla="*/ 6 h 10"/>
                <a:gd name="T20" fmla="*/ 3 w 3"/>
                <a:gd name="T21" fmla="*/ 5 h 10"/>
                <a:gd name="T22" fmla="*/ 3 w 3"/>
                <a:gd name="T23" fmla="*/ 1 h 10"/>
                <a:gd name="T24" fmla="*/ 2 w 3"/>
                <a:gd name="T25" fmla="*/ 1 h 10"/>
                <a:gd name="T26" fmla="*/ 2 w 3"/>
                <a:gd name="T2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0">
                  <a:moveTo>
                    <a:pt x="2" y="0"/>
                  </a:moveTo>
                  <a:cubicBezTo>
                    <a:pt x="2" y="0"/>
                    <a:pt x="2" y="0"/>
                    <a:pt x="2" y="0"/>
                  </a:cubicBezTo>
                  <a:cubicBezTo>
                    <a:pt x="2" y="1"/>
                    <a:pt x="2" y="1"/>
                    <a:pt x="2" y="2"/>
                  </a:cubicBezTo>
                  <a:cubicBezTo>
                    <a:pt x="1" y="2"/>
                    <a:pt x="1" y="3"/>
                    <a:pt x="1" y="3"/>
                  </a:cubicBezTo>
                  <a:cubicBezTo>
                    <a:pt x="1" y="4"/>
                    <a:pt x="1" y="5"/>
                    <a:pt x="0" y="5"/>
                  </a:cubicBezTo>
                  <a:cubicBezTo>
                    <a:pt x="0" y="7"/>
                    <a:pt x="0" y="8"/>
                    <a:pt x="1" y="10"/>
                  </a:cubicBezTo>
                  <a:cubicBezTo>
                    <a:pt x="2" y="9"/>
                    <a:pt x="2" y="8"/>
                    <a:pt x="3" y="8"/>
                  </a:cubicBezTo>
                  <a:cubicBezTo>
                    <a:pt x="3" y="8"/>
                    <a:pt x="3" y="8"/>
                    <a:pt x="3" y="8"/>
                  </a:cubicBezTo>
                  <a:cubicBezTo>
                    <a:pt x="3" y="7"/>
                    <a:pt x="3" y="7"/>
                    <a:pt x="3" y="7"/>
                  </a:cubicBezTo>
                  <a:cubicBezTo>
                    <a:pt x="3" y="7"/>
                    <a:pt x="3" y="7"/>
                    <a:pt x="3" y="6"/>
                  </a:cubicBezTo>
                  <a:cubicBezTo>
                    <a:pt x="3" y="5"/>
                    <a:pt x="3" y="5"/>
                    <a:pt x="3" y="5"/>
                  </a:cubicBezTo>
                  <a:cubicBezTo>
                    <a:pt x="3" y="4"/>
                    <a:pt x="3" y="2"/>
                    <a:pt x="3" y="1"/>
                  </a:cubicBezTo>
                  <a:cubicBezTo>
                    <a:pt x="2" y="1"/>
                    <a:pt x="2"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212"/>
            <p:cNvSpPr/>
            <p:nvPr/>
          </p:nvSpPr>
          <p:spPr bwMode="auto">
            <a:xfrm>
              <a:off x="9793585" y="2043560"/>
              <a:ext cx="60728" cy="73438"/>
            </a:xfrm>
            <a:custGeom>
              <a:gdLst>
                <a:gd name="T0" fmla="*/ 14 w 18"/>
                <a:gd name="T1" fmla="*/ 0 h 22"/>
                <a:gd name="T2" fmla="*/ 11 w 18"/>
                <a:gd name="T3" fmla="*/ 1 h 22"/>
                <a:gd name="T4" fmla="*/ 0 w 18"/>
                <a:gd name="T5" fmla="*/ 22 h 22"/>
                <a:gd name="T6" fmla="*/ 3 w 18"/>
                <a:gd name="T7" fmla="*/ 21 h 22"/>
                <a:gd name="T8" fmla="*/ 4 w 18"/>
                <a:gd name="T9" fmla="*/ 21 h 22"/>
                <a:gd name="T10" fmla="*/ 5 w 18"/>
                <a:gd name="T11" fmla="*/ 20 h 22"/>
                <a:gd name="T12" fmla="*/ 5 w 18"/>
                <a:gd name="T13" fmla="*/ 20 h 22"/>
                <a:gd name="T14" fmla="*/ 10 w 18"/>
                <a:gd name="T15" fmla="*/ 16 h 22"/>
                <a:gd name="T16" fmla="*/ 14 w 18"/>
                <a:gd name="T17" fmla="*/ 11 h 22"/>
                <a:gd name="T18" fmla="*/ 16 w 18"/>
                <a:gd name="T19" fmla="*/ 2 h 22"/>
                <a:gd name="T20" fmla="*/ 15 w 18"/>
                <a:gd name="T21" fmla="*/ 1 h 22"/>
                <a:gd name="T22" fmla="*/ 14 w 18"/>
                <a:gd name="T23"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2">
                  <a:moveTo>
                    <a:pt x="14" y="0"/>
                  </a:moveTo>
                  <a:cubicBezTo>
                    <a:pt x="13" y="0"/>
                    <a:pt x="13" y="1"/>
                    <a:pt x="11" y="1"/>
                  </a:cubicBezTo>
                  <a:cubicBezTo>
                    <a:pt x="4" y="4"/>
                    <a:pt x="2" y="16"/>
                    <a:pt x="0" y="22"/>
                  </a:cubicBezTo>
                  <a:cubicBezTo>
                    <a:pt x="1" y="22"/>
                    <a:pt x="2" y="22"/>
                    <a:pt x="3" y="21"/>
                  </a:cubicBezTo>
                  <a:cubicBezTo>
                    <a:pt x="3" y="21"/>
                    <a:pt x="4" y="21"/>
                    <a:pt x="4" y="21"/>
                  </a:cubicBezTo>
                  <a:cubicBezTo>
                    <a:pt x="4" y="21"/>
                    <a:pt x="5" y="21"/>
                    <a:pt x="5" y="20"/>
                  </a:cubicBezTo>
                  <a:cubicBezTo>
                    <a:pt x="5" y="20"/>
                    <a:pt x="5" y="20"/>
                    <a:pt x="5" y="20"/>
                  </a:cubicBezTo>
                  <a:cubicBezTo>
                    <a:pt x="7" y="19"/>
                    <a:pt x="9" y="17"/>
                    <a:pt x="10" y="16"/>
                  </a:cubicBezTo>
                  <a:cubicBezTo>
                    <a:pt x="12" y="14"/>
                    <a:pt x="13" y="13"/>
                    <a:pt x="14" y="11"/>
                  </a:cubicBezTo>
                  <a:cubicBezTo>
                    <a:pt x="16" y="8"/>
                    <a:pt x="18" y="4"/>
                    <a:pt x="16" y="2"/>
                  </a:cubicBezTo>
                  <a:cubicBezTo>
                    <a:pt x="16" y="1"/>
                    <a:pt x="16" y="1"/>
                    <a:pt x="15" y="1"/>
                  </a:cubicBezTo>
                  <a:cubicBezTo>
                    <a:pt x="15"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213"/>
            <p:cNvSpPr/>
            <p:nvPr/>
          </p:nvSpPr>
          <p:spPr bwMode="auto">
            <a:xfrm>
              <a:off x="10050618" y="4180329"/>
              <a:ext cx="14123" cy="36719"/>
            </a:xfrm>
            <a:custGeom>
              <a:gdLst>
                <a:gd name="T0" fmla="*/ 4 w 4"/>
                <a:gd name="T1" fmla="*/ 0 h 11"/>
                <a:gd name="T2" fmla="*/ 0 w 4"/>
                <a:gd name="T3" fmla="*/ 11 h 11"/>
                <a:gd name="T4" fmla="*/ 2 w 4"/>
                <a:gd name="T5" fmla="*/ 9 h 11"/>
                <a:gd name="T6" fmla="*/ 2 w 4"/>
                <a:gd name="T7" fmla="*/ 8 h 11"/>
                <a:gd name="T8" fmla="*/ 4 w 4"/>
                <a:gd name="T9" fmla="*/ 3 h 11"/>
                <a:gd name="T10" fmla="*/ 4 w 4"/>
                <a:gd name="T11" fmla="*/ 3 h 11"/>
                <a:gd name="T12" fmla="*/ 4 w 4"/>
                <a:gd name="T13" fmla="*/ 2 h 11"/>
                <a:gd name="T14" fmla="*/ 4 w 4"/>
                <a:gd name="T15" fmla="*/ 1 h 11"/>
                <a:gd name="T16" fmla="*/ 4 w 4"/>
                <a:gd name="T1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1">
                  <a:moveTo>
                    <a:pt x="4" y="0"/>
                  </a:moveTo>
                  <a:cubicBezTo>
                    <a:pt x="2" y="3"/>
                    <a:pt x="1" y="7"/>
                    <a:pt x="0" y="11"/>
                  </a:cubicBezTo>
                  <a:cubicBezTo>
                    <a:pt x="1" y="10"/>
                    <a:pt x="1" y="9"/>
                    <a:pt x="2" y="9"/>
                  </a:cubicBezTo>
                  <a:cubicBezTo>
                    <a:pt x="2" y="8"/>
                    <a:pt x="2" y="8"/>
                    <a:pt x="2" y="8"/>
                  </a:cubicBezTo>
                  <a:cubicBezTo>
                    <a:pt x="3" y="7"/>
                    <a:pt x="4" y="5"/>
                    <a:pt x="4" y="3"/>
                  </a:cubicBezTo>
                  <a:cubicBezTo>
                    <a:pt x="4" y="3"/>
                    <a:pt x="4" y="3"/>
                    <a:pt x="4" y="3"/>
                  </a:cubicBezTo>
                  <a:cubicBezTo>
                    <a:pt x="4" y="2"/>
                    <a:pt x="4" y="2"/>
                    <a:pt x="4" y="2"/>
                  </a:cubicBezTo>
                  <a:cubicBezTo>
                    <a:pt x="4" y="1"/>
                    <a:pt x="4" y="1"/>
                    <a:pt x="4" y="1"/>
                  </a:cubicBezTo>
                  <a:cubicBezTo>
                    <a:pt x="4"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214"/>
            <p:cNvSpPr/>
            <p:nvPr/>
          </p:nvSpPr>
          <p:spPr bwMode="auto">
            <a:xfrm>
              <a:off x="9850075" y="2049209"/>
              <a:ext cx="26833" cy="31070"/>
            </a:xfrm>
            <a:custGeom>
              <a:gdLst>
                <a:gd name="T0" fmla="*/ 8 w 8"/>
                <a:gd name="T1" fmla="*/ 0 h 9"/>
                <a:gd name="T2" fmla="*/ 1 w 8"/>
                <a:gd name="T3" fmla="*/ 5 h 9"/>
                <a:gd name="T4" fmla="*/ 0 w 8"/>
                <a:gd name="T5" fmla="*/ 9 h 9"/>
                <a:gd name="T6" fmla="*/ 4 w 8"/>
                <a:gd name="T7" fmla="*/ 6 h 9"/>
                <a:gd name="T8" fmla="*/ 5 w 8"/>
                <a:gd name="T9" fmla="*/ 4 h 9"/>
                <a:gd name="T10" fmla="*/ 5 w 8"/>
                <a:gd name="T11" fmla="*/ 3 h 9"/>
                <a:gd name="T12" fmla="*/ 7 w 8"/>
                <a:gd name="T13" fmla="*/ 2 h 9"/>
                <a:gd name="T14" fmla="*/ 8 w 8"/>
                <a:gd name="T15" fmla="*/ 0 h 9"/>
                <a:gd name="T16" fmla="*/ 8 w 8"/>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0"/>
                  </a:moveTo>
                  <a:cubicBezTo>
                    <a:pt x="4" y="1"/>
                    <a:pt x="2" y="2"/>
                    <a:pt x="1" y="5"/>
                  </a:cubicBezTo>
                  <a:cubicBezTo>
                    <a:pt x="1" y="6"/>
                    <a:pt x="1" y="7"/>
                    <a:pt x="0" y="9"/>
                  </a:cubicBezTo>
                  <a:cubicBezTo>
                    <a:pt x="1" y="8"/>
                    <a:pt x="3" y="7"/>
                    <a:pt x="4" y="6"/>
                  </a:cubicBezTo>
                  <a:cubicBezTo>
                    <a:pt x="4" y="5"/>
                    <a:pt x="4" y="4"/>
                    <a:pt x="5" y="4"/>
                  </a:cubicBezTo>
                  <a:cubicBezTo>
                    <a:pt x="5" y="3"/>
                    <a:pt x="5" y="3"/>
                    <a:pt x="5" y="3"/>
                  </a:cubicBezTo>
                  <a:cubicBezTo>
                    <a:pt x="6" y="3"/>
                    <a:pt x="7" y="2"/>
                    <a:pt x="7" y="2"/>
                  </a:cubicBezTo>
                  <a:cubicBezTo>
                    <a:pt x="8" y="2"/>
                    <a:pt x="8"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215"/>
            <p:cNvSpPr/>
            <p:nvPr/>
          </p:nvSpPr>
          <p:spPr bwMode="auto">
            <a:xfrm>
              <a:off x="9834540" y="2012490"/>
              <a:ext cx="22596" cy="26833"/>
            </a:xfrm>
            <a:custGeom>
              <a:gdLst>
                <a:gd name="T0" fmla="*/ 6 w 7"/>
                <a:gd name="T1" fmla="*/ 0 h 8"/>
                <a:gd name="T2" fmla="*/ 0 w 7"/>
                <a:gd name="T3" fmla="*/ 8 h 8"/>
                <a:gd name="T4" fmla="*/ 5 w 7"/>
                <a:gd name="T5" fmla="*/ 4 h 8"/>
                <a:gd name="T6" fmla="*/ 5 w 7"/>
                <a:gd name="T7" fmla="*/ 4 h 8"/>
                <a:gd name="T8" fmla="*/ 6 w 7"/>
                <a:gd name="T9" fmla="*/ 2 h 8"/>
                <a:gd name="T10" fmla="*/ 6 w 7"/>
                <a:gd name="T11" fmla="*/ 0 h 8"/>
              </a:gdLst>
              <a:cxnLst>
                <a:cxn ang="0">
                  <a:pos x="T0" y="T1"/>
                </a:cxn>
                <a:cxn ang="0">
                  <a:pos x="T2" y="T3"/>
                </a:cxn>
                <a:cxn ang="0">
                  <a:pos x="T4" y="T5"/>
                </a:cxn>
                <a:cxn ang="0">
                  <a:pos x="T6" y="T7"/>
                </a:cxn>
                <a:cxn ang="0">
                  <a:pos x="T8" y="T9"/>
                </a:cxn>
                <a:cxn ang="0">
                  <a:pos x="T10" y="T11"/>
                </a:cxn>
              </a:cxnLst>
              <a:rect l="0" t="0" r="r" b="b"/>
              <a:pathLst>
                <a:path w="7" h="8">
                  <a:moveTo>
                    <a:pt x="6" y="0"/>
                  </a:moveTo>
                  <a:cubicBezTo>
                    <a:pt x="4" y="3"/>
                    <a:pt x="2" y="6"/>
                    <a:pt x="0" y="8"/>
                  </a:cubicBezTo>
                  <a:cubicBezTo>
                    <a:pt x="1" y="7"/>
                    <a:pt x="4" y="6"/>
                    <a:pt x="5" y="4"/>
                  </a:cubicBezTo>
                  <a:cubicBezTo>
                    <a:pt x="5" y="4"/>
                    <a:pt x="5" y="4"/>
                    <a:pt x="5" y="4"/>
                  </a:cubicBezTo>
                  <a:cubicBezTo>
                    <a:pt x="7" y="3"/>
                    <a:pt x="6" y="3"/>
                    <a:pt x="6" y="2"/>
                  </a:cubicBezTo>
                  <a:cubicBezTo>
                    <a:pt x="6" y="2"/>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216"/>
            <p:cNvSpPr/>
            <p:nvPr/>
          </p:nvSpPr>
          <p:spPr bwMode="auto">
            <a:xfrm>
              <a:off x="9954583" y="2002604"/>
              <a:ext cx="32482" cy="14123"/>
            </a:xfrm>
            <a:custGeom>
              <a:gdLst>
                <a:gd name="T0" fmla="*/ 5 w 10"/>
                <a:gd name="T1" fmla="*/ 0 h 4"/>
                <a:gd name="T2" fmla="*/ 2 w 10"/>
                <a:gd name="T3" fmla="*/ 0 h 4"/>
                <a:gd name="T4" fmla="*/ 1 w 10"/>
                <a:gd name="T5" fmla="*/ 0 h 4"/>
                <a:gd name="T6" fmla="*/ 0 w 10"/>
                <a:gd name="T7" fmla="*/ 2 h 4"/>
                <a:gd name="T8" fmla="*/ 0 w 10"/>
                <a:gd name="T9" fmla="*/ 2 h 4"/>
                <a:gd name="T10" fmla="*/ 0 w 10"/>
                <a:gd name="T11" fmla="*/ 2 h 4"/>
                <a:gd name="T12" fmla="*/ 2 w 10"/>
                <a:gd name="T13" fmla="*/ 3 h 4"/>
                <a:gd name="T14" fmla="*/ 3 w 10"/>
                <a:gd name="T15" fmla="*/ 4 h 4"/>
                <a:gd name="T16" fmla="*/ 10 w 10"/>
                <a:gd name="T17" fmla="*/ 0 h 4"/>
                <a:gd name="T18" fmla="*/ 5 w 10"/>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
                  <a:moveTo>
                    <a:pt x="5" y="0"/>
                  </a:moveTo>
                  <a:cubicBezTo>
                    <a:pt x="4" y="0"/>
                    <a:pt x="3" y="0"/>
                    <a:pt x="2" y="0"/>
                  </a:cubicBezTo>
                  <a:cubicBezTo>
                    <a:pt x="1" y="0"/>
                    <a:pt x="1" y="0"/>
                    <a:pt x="1" y="0"/>
                  </a:cubicBezTo>
                  <a:cubicBezTo>
                    <a:pt x="1" y="1"/>
                    <a:pt x="0" y="1"/>
                    <a:pt x="0" y="2"/>
                  </a:cubicBezTo>
                  <a:cubicBezTo>
                    <a:pt x="0" y="2"/>
                    <a:pt x="0" y="2"/>
                    <a:pt x="0" y="2"/>
                  </a:cubicBezTo>
                  <a:cubicBezTo>
                    <a:pt x="0" y="2"/>
                    <a:pt x="0" y="2"/>
                    <a:pt x="0" y="2"/>
                  </a:cubicBezTo>
                  <a:cubicBezTo>
                    <a:pt x="1" y="3"/>
                    <a:pt x="1" y="3"/>
                    <a:pt x="2" y="3"/>
                  </a:cubicBezTo>
                  <a:cubicBezTo>
                    <a:pt x="2" y="4"/>
                    <a:pt x="2" y="4"/>
                    <a:pt x="3" y="4"/>
                  </a:cubicBezTo>
                  <a:cubicBezTo>
                    <a:pt x="5" y="4"/>
                    <a:pt x="8" y="1"/>
                    <a:pt x="10"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217"/>
            <p:cNvSpPr/>
            <p:nvPr/>
          </p:nvSpPr>
          <p:spPr bwMode="auto">
            <a:xfrm>
              <a:off x="10378264" y="3823024"/>
              <a:ext cx="19772" cy="12710"/>
            </a:xfrm>
            <a:custGeom>
              <a:gdLst>
                <a:gd name="T0" fmla="*/ 3 w 6"/>
                <a:gd name="T1" fmla="*/ 0 h 4"/>
                <a:gd name="T2" fmla="*/ 3 w 6"/>
                <a:gd name="T3" fmla="*/ 1 h 4"/>
                <a:gd name="T4" fmla="*/ 0 w 6"/>
                <a:gd name="T5" fmla="*/ 4 h 4"/>
                <a:gd name="T6" fmla="*/ 5 w 6"/>
                <a:gd name="T7" fmla="*/ 2 h 4"/>
                <a:gd name="T8" fmla="*/ 6 w 6"/>
                <a:gd name="T9" fmla="*/ 2 h 4"/>
                <a:gd name="T10" fmla="*/ 5 w 6"/>
                <a:gd name="T11" fmla="*/ 2 h 4"/>
                <a:gd name="T12" fmla="*/ 5 w 6"/>
                <a:gd name="T13" fmla="*/ 2 h 4"/>
                <a:gd name="T14" fmla="*/ 3 w 6"/>
                <a:gd name="T15" fmla="*/ 0 h 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3" y="0"/>
                    <a:pt x="3" y="1"/>
                    <a:pt x="3" y="1"/>
                  </a:cubicBezTo>
                  <a:cubicBezTo>
                    <a:pt x="2" y="1"/>
                    <a:pt x="2" y="2"/>
                    <a:pt x="0" y="4"/>
                  </a:cubicBezTo>
                  <a:cubicBezTo>
                    <a:pt x="2" y="3"/>
                    <a:pt x="4" y="2"/>
                    <a:pt x="5" y="2"/>
                  </a:cubicBezTo>
                  <a:cubicBezTo>
                    <a:pt x="5" y="2"/>
                    <a:pt x="6" y="2"/>
                    <a:pt x="6" y="2"/>
                  </a:cubicBezTo>
                  <a:cubicBezTo>
                    <a:pt x="5" y="2"/>
                    <a:pt x="5" y="2"/>
                    <a:pt x="5" y="2"/>
                  </a:cubicBezTo>
                  <a:cubicBezTo>
                    <a:pt x="5" y="2"/>
                    <a:pt x="5" y="2"/>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218"/>
            <p:cNvSpPr/>
            <p:nvPr/>
          </p:nvSpPr>
          <p:spPr bwMode="auto">
            <a:xfrm>
              <a:off x="7572084" y="0"/>
              <a:ext cx="25421" cy="29658"/>
            </a:xfrm>
            <a:custGeom>
              <a:gdLst>
                <a:gd name="T0" fmla="*/ 8 w 8"/>
                <a:gd name="T1" fmla="*/ 0 h 9"/>
                <a:gd name="T2" fmla="*/ 2 w 8"/>
                <a:gd name="T3" fmla="*/ 7 h 9"/>
                <a:gd name="T4" fmla="*/ 1 w 8"/>
                <a:gd name="T5" fmla="*/ 9 h 9"/>
                <a:gd name="T6" fmla="*/ 0 w 8"/>
                <a:gd name="T7" fmla="*/ 9 h 9"/>
                <a:gd name="T8" fmla="*/ 8 w 8"/>
                <a:gd name="T9" fmla="*/ 0 h 9"/>
              </a:gdLst>
              <a:cxnLst>
                <a:cxn ang="0">
                  <a:pos x="T0" y="T1"/>
                </a:cxn>
                <a:cxn ang="0">
                  <a:pos x="T2" y="T3"/>
                </a:cxn>
                <a:cxn ang="0">
                  <a:pos x="T4" y="T5"/>
                </a:cxn>
                <a:cxn ang="0">
                  <a:pos x="T6" y="T7"/>
                </a:cxn>
                <a:cxn ang="0">
                  <a:pos x="T8" y="T9"/>
                </a:cxn>
              </a:cxnLst>
              <a:rect l="0" t="0" r="r" b="b"/>
              <a:pathLst>
                <a:path w="8" h="9">
                  <a:moveTo>
                    <a:pt x="8" y="0"/>
                  </a:moveTo>
                  <a:cubicBezTo>
                    <a:pt x="6" y="2"/>
                    <a:pt x="4" y="4"/>
                    <a:pt x="2" y="7"/>
                  </a:cubicBezTo>
                  <a:cubicBezTo>
                    <a:pt x="2" y="7"/>
                    <a:pt x="1" y="8"/>
                    <a:pt x="1" y="9"/>
                  </a:cubicBezTo>
                  <a:cubicBezTo>
                    <a:pt x="0" y="9"/>
                    <a:pt x="0" y="9"/>
                    <a:pt x="0" y="9"/>
                  </a:cubicBezTo>
                  <a:cubicBezTo>
                    <a:pt x="3" y="7"/>
                    <a:pt x="6"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219"/>
            <p:cNvSpPr/>
            <p:nvPr/>
          </p:nvSpPr>
          <p:spPr bwMode="auto">
            <a:xfrm>
              <a:off x="5239014" y="16947"/>
              <a:ext cx="12710" cy="19772"/>
            </a:xfrm>
            <a:custGeom>
              <a:gdLst>
                <a:gd name="T0" fmla="*/ 0 w 4"/>
                <a:gd name="T1" fmla="*/ 0 h 6"/>
                <a:gd name="T2" fmla="*/ 3 w 4"/>
                <a:gd name="T3" fmla="*/ 5 h 6"/>
                <a:gd name="T4" fmla="*/ 3 w 4"/>
                <a:gd name="T5" fmla="*/ 6 h 6"/>
                <a:gd name="T6" fmla="*/ 3 w 4"/>
                <a:gd name="T7" fmla="*/ 6 h 6"/>
                <a:gd name="T8" fmla="*/ 3 w 4"/>
                <a:gd name="T9" fmla="*/ 6 h 6"/>
                <a:gd name="T10" fmla="*/ 4 w 4"/>
                <a:gd name="T11" fmla="*/ 6 h 6"/>
                <a:gd name="T12" fmla="*/ 0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0" y="0"/>
                  </a:moveTo>
                  <a:cubicBezTo>
                    <a:pt x="1" y="3"/>
                    <a:pt x="1" y="4"/>
                    <a:pt x="3" y="5"/>
                  </a:cubicBezTo>
                  <a:cubicBezTo>
                    <a:pt x="3" y="6"/>
                    <a:pt x="3" y="6"/>
                    <a:pt x="3" y="6"/>
                  </a:cubicBezTo>
                  <a:cubicBezTo>
                    <a:pt x="3" y="6"/>
                    <a:pt x="3" y="6"/>
                    <a:pt x="3" y="6"/>
                  </a:cubicBezTo>
                  <a:cubicBezTo>
                    <a:pt x="3" y="6"/>
                    <a:pt x="3" y="6"/>
                    <a:pt x="3" y="6"/>
                  </a:cubicBezTo>
                  <a:cubicBezTo>
                    <a:pt x="3" y="6"/>
                    <a:pt x="4" y="6"/>
                    <a:pt x="4" y="6"/>
                  </a:cubicBezTo>
                  <a:cubicBezTo>
                    <a:pt x="3"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220"/>
            <p:cNvSpPr/>
            <p:nvPr/>
          </p:nvSpPr>
          <p:spPr bwMode="auto">
            <a:xfrm>
              <a:off x="5302566" y="79087"/>
              <a:ext cx="9886" cy="16947"/>
            </a:xfrm>
            <a:custGeom>
              <a:gdLst>
                <a:gd name="T0" fmla="*/ 0 w 3"/>
                <a:gd name="T1" fmla="*/ 0 h 5"/>
                <a:gd name="T2" fmla="*/ 3 w 3"/>
                <a:gd name="T3" fmla="*/ 5 h 5"/>
                <a:gd name="T4" fmla="*/ 0 w 3"/>
                <a:gd name="T5" fmla="*/ 0 h 5"/>
              </a:gdLst>
              <a:cxnLst>
                <a:cxn ang="0">
                  <a:pos x="T0" y="T1"/>
                </a:cxn>
                <a:cxn ang="0">
                  <a:pos x="T2" y="T3"/>
                </a:cxn>
                <a:cxn ang="0">
                  <a:pos x="T4" y="T5"/>
                </a:cxn>
              </a:cxnLst>
              <a:rect l="0" t="0" r="r" b="b"/>
              <a:pathLst>
                <a:path w="3" h="5">
                  <a:moveTo>
                    <a:pt x="0" y="0"/>
                  </a:moveTo>
                  <a:cubicBezTo>
                    <a:pt x="1" y="2"/>
                    <a:pt x="2" y="4"/>
                    <a:pt x="3" y="5"/>
                  </a:cubicBezTo>
                  <a:cubicBezTo>
                    <a:pt x="2" y="4"/>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221"/>
            <p:cNvSpPr/>
            <p:nvPr/>
          </p:nvSpPr>
          <p:spPr bwMode="auto">
            <a:xfrm>
              <a:off x="7073553" y="386963"/>
              <a:ext cx="21184" cy="26833"/>
            </a:xfrm>
            <a:custGeom>
              <a:gdLst>
                <a:gd name="T0" fmla="*/ 6 w 6"/>
                <a:gd name="T1" fmla="*/ 0 h 8"/>
                <a:gd name="T2" fmla="*/ 5 w 6"/>
                <a:gd name="T3" fmla="*/ 0 h 8"/>
                <a:gd name="T4" fmla="*/ 5 w 6"/>
                <a:gd name="T5" fmla="*/ 1 h 8"/>
                <a:gd name="T6" fmla="*/ 3 w 6"/>
                <a:gd name="T7" fmla="*/ 1 h 8"/>
                <a:gd name="T8" fmla="*/ 2 w 6"/>
                <a:gd name="T9" fmla="*/ 1 h 8"/>
                <a:gd name="T10" fmla="*/ 1 w 6"/>
                <a:gd name="T11" fmla="*/ 8 h 8"/>
                <a:gd name="T12" fmla="*/ 6 w 6"/>
                <a:gd name="T13" fmla="*/ 1 h 8"/>
                <a:gd name="T14" fmla="*/ 6 w 6"/>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6" y="0"/>
                  </a:moveTo>
                  <a:cubicBezTo>
                    <a:pt x="5" y="0"/>
                    <a:pt x="5" y="0"/>
                    <a:pt x="5" y="0"/>
                  </a:cubicBezTo>
                  <a:cubicBezTo>
                    <a:pt x="5" y="1"/>
                    <a:pt x="5" y="1"/>
                    <a:pt x="5" y="1"/>
                  </a:cubicBezTo>
                  <a:cubicBezTo>
                    <a:pt x="4" y="1"/>
                    <a:pt x="4" y="1"/>
                    <a:pt x="3" y="1"/>
                  </a:cubicBezTo>
                  <a:cubicBezTo>
                    <a:pt x="2" y="1"/>
                    <a:pt x="2" y="1"/>
                    <a:pt x="2" y="1"/>
                  </a:cubicBezTo>
                  <a:cubicBezTo>
                    <a:pt x="0" y="3"/>
                    <a:pt x="0" y="6"/>
                    <a:pt x="1" y="8"/>
                  </a:cubicBezTo>
                  <a:cubicBezTo>
                    <a:pt x="2" y="6"/>
                    <a:pt x="5" y="3"/>
                    <a:pt x="6" y="1"/>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222"/>
            <p:cNvSpPr/>
            <p:nvPr/>
          </p:nvSpPr>
          <p:spPr bwMode="auto">
            <a:xfrm>
              <a:off x="5265847" y="66377"/>
              <a:ext cx="5649" cy="9886"/>
            </a:xfrm>
            <a:custGeom>
              <a:gdLst>
                <a:gd name="T0" fmla="*/ 1 w 2"/>
                <a:gd name="T1" fmla="*/ 0 h 3"/>
                <a:gd name="T2" fmla="*/ 1 w 2"/>
                <a:gd name="T3" fmla="*/ 0 h 3"/>
                <a:gd name="T4" fmla="*/ 1 w 2"/>
                <a:gd name="T5" fmla="*/ 3 h 3"/>
                <a:gd name="T6" fmla="*/ 1 w 2"/>
                <a:gd name="T7" fmla="*/ 0 h 3"/>
                <a:gd name="T8" fmla="*/ 1 w 2"/>
                <a:gd name="T9" fmla="*/ 0 h 3"/>
                <a:gd name="T10" fmla="*/ 1 w 2"/>
                <a:gd name="T11" fmla="*/ 0 h 3"/>
                <a:gd name="T12" fmla="*/ 1 w 2"/>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2" h="3">
                  <a:moveTo>
                    <a:pt x="1" y="0"/>
                  </a:moveTo>
                  <a:cubicBezTo>
                    <a:pt x="1" y="0"/>
                    <a:pt x="1" y="0"/>
                    <a:pt x="1" y="0"/>
                  </a:cubicBezTo>
                  <a:cubicBezTo>
                    <a:pt x="0" y="0"/>
                    <a:pt x="1" y="2"/>
                    <a:pt x="1" y="3"/>
                  </a:cubicBezTo>
                  <a:cubicBezTo>
                    <a:pt x="2" y="2"/>
                    <a:pt x="2" y="1"/>
                    <a:pt x="1"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223"/>
            <p:cNvSpPr/>
            <p:nvPr/>
          </p:nvSpPr>
          <p:spPr bwMode="auto">
            <a:xfrm>
              <a:off x="5118971" y="2825"/>
              <a:ext cx="12710" cy="60728"/>
            </a:xfrm>
            <a:custGeom>
              <a:gdLst>
                <a:gd name="T0" fmla="*/ 3 w 4"/>
                <a:gd name="T1" fmla="*/ 0 h 18"/>
                <a:gd name="T2" fmla="*/ 2 w 4"/>
                <a:gd name="T3" fmla="*/ 5 h 18"/>
                <a:gd name="T4" fmla="*/ 0 w 4"/>
                <a:gd name="T5" fmla="*/ 11 h 18"/>
                <a:gd name="T6" fmla="*/ 3 w 4"/>
                <a:gd name="T7" fmla="*/ 15 h 18"/>
                <a:gd name="T8" fmla="*/ 3 w 4"/>
                <a:gd name="T9" fmla="*/ 16 h 18"/>
                <a:gd name="T10" fmla="*/ 4 w 4"/>
                <a:gd name="T11" fmla="*/ 18 h 18"/>
                <a:gd name="T12" fmla="*/ 2 w 4"/>
                <a:gd name="T13" fmla="*/ 11 h 18"/>
                <a:gd name="T14" fmla="*/ 2 w 4"/>
                <a:gd name="T15" fmla="*/ 6 h 18"/>
                <a:gd name="T16" fmla="*/ 2 w 4"/>
                <a:gd name="T17" fmla="*/ 6 h 18"/>
                <a:gd name="T18" fmla="*/ 3 w 4"/>
                <a:gd name="T19" fmla="*/ 2 h 18"/>
                <a:gd name="T20" fmla="*/ 3 w 4"/>
                <a:gd name="T2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8">
                  <a:moveTo>
                    <a:pt x="3" y="0"/>
                  </a:moveTo>
                  <a:cubicBezTo>
                    <a:pt x="3" y="2"/>
                    <a:pt x="2" y="3"/>
                    <a:pt x="2" y="5"/>
                  </a:cubicBezTo>
                  <a:cubicBezTo>
                    <a:pt x="1" y="7"/>
                    <a:pt x="1" y="9"/>
                    <a:pt x="0" y="11"/>
                  </a:cubicBezTo>
                  <a:cubicBezTo>
                    <a:pt x="2" y="12"/>
                    <a:pt x="2" y="13"/>
                    <a:pt x="3" y="15"/>
                  </a:cubicBezTo>
                  <a:cubicBezTo>
                    <a:pt x="3" y="15"/>
                    <a:pt x="2" y="15"/>
                    <a:pt x="3" y="16"/>
                  </a:cubicBezTo>
                  <a:cubicBezTo>
                    <a:pt x="3" y="17"/>
                    <a:pt x="4" y="18"/>
                    <a:pt x="4" y="18"/>
                  </a:cubicBezTo>
                  <a:cubicBezTo>
                    <a:pt x="4" y="16"/>
                    <a:pt x="3" y="12"/>
                    <a:pt x="2" y="11"/>
                  </a:cubicBezTo>
                  <a:cubicBezTo>
                    <a:pt x="2" y="9"/>
                    <a:pt x="2" y="8"/>
                    <a:pt x="2" y="6"/>
                  </a:cubicBezTo>
                  <a:cubicBezTo>
                    <a:pt x="2" y="6"/>
                    <a:pt x="2" y="6"/>
                    <a:pt x="2" y="6"/>
                  </a:cubicBezTo>
                  <a:cubicBezTo>
                    <a:pt x="3" y="4"/>
                    <a:pt x="3" y="3"/>
                    <a:pt x="3" y="2"/>
                  </a:cubicBezTo>
                  <a:cubicBezTo>
                    <a:pt x="3"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224"/>
            <p:cNvSpPr/>
            <p:nvPr/>
          </p:nvSpPr>
          <p:spPr bwMode="auto">
            <a:xfrm>
              <a:off x="5215005" y="523953"/>
              <a:ext cx="7061" cy="12710"/>
            </a:xfrm>
            <a:custGeom>
              <a:gdLst>
                <a:gd name="T0" fmla="*/ 1 w 2"/>
                <a:gd name="T1" fmla="*/ 0 h 4"/>
                <a:gd name="T2" fmla="*/ 0 w 2"/>
                <a:gd name="T3" fmla="*/ 1 h 4"/>
                <a:gd name="T4" fmla="*/ 0 w 2"/>
                <a:gd name="T5" fmla="*/ 1 h 4"/>
                <a:gd name="T6" fmla="*/ 0 w 2"/>
                <a:gd name="T7" fmla="*/ 2 h 4"/>
                <a:gd name="T8" fmla="*/ 0 w 2"/>
                <a:gd name="T9" fmla="*/ 2 h 4"/>
                <a:gd name="T10" fmla="*/ 0 w 2"/>
                <a:gd name="T11" fmla="*/ 3 h 4"/>
                <a:gd name="T12" fmla="*/ 2 w 2"/>
                <a:gd name="T13" fmla="*/ 4 h 4"/>
                <a:gd name="T14" fmla="*/ 2 w 2"/>
                <a:gd name="T15" fmla="*/ 3 h 4"/>
                <a:gd name="T16" fmla="*/ 2 w 2"/>
                <a:gd name="T17" fmla="*/ 3 h 4"/>
                <a:gd name="T18" fmla="*/ 1 w 2"/>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1" y="0"/>
                  </a:moveTo>
                  <a:cubicBezTo>
                    <a:pt x="0" y="0"/>
                    <a:pt x="0" y="1"/>
                    <a:pt x="0" y="1"/>
                  </a:cubicBezTo>
                  <a:cubicBezTo>
                    <a:pt x="0" y="1"/>
                    <a:pt x="0" y="1"/>
                    <a:pt x="0" y="1"/>
                  </a:cubicBezTo>
                  <a:cubicBezTo>
                    <a:pt x="0" y="2"/>
                    <a:pt x="0" y="2"/>
                    <a:pt x="0" y="2"/>
                  </a:cubicBezTo>
                  <a:cubicBezTo>
                    <a:pt x="0" y="2"/>
                    <a:pt x="0" y="2"/>
                    <a:pt x="0" y="2"/>
                  </a:cubicBezTo>
                  <a:cubicBezTo>
                    <a:pt x="0" y="3"/>
                    <a:pt x="0" y="3"/>
                    <a:pt x="0" y="3"/>
                  </a:cubicBezTo>
                  <a:cubicBezTo>
                    <a:pt x="1" y="3"/>
                    <a:pt x="1" y="3"/>
                    <a:pt x="2" y="4"/>
                  </a:cubicBezTo>
                  <a:cubicBezTo>
                    <a:pt x="2" y="3"/>
                    <a:pt x="2" y="3"/>
                    <a:pt x="2" y="3"/>
                  </a:cubicBezTo>
                  <a:cubicBezTo>
                    <a:pt x="2" y="3"/>
                    <a:pt x="2" y="3"/>
                    <a:pt x="2"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225"/>
            <p:cNvSpPr/>
            <p:nvPr/>
          </p:nvSpPr>
          <p:spPr bwMode="auto">
            <a:xfrm flipH="1">
              <a:off x="7011413" y="641172"/>
              <a:ext cx="0" cy="9886"/>
            </a:xfrm>
            <a:custGeom>
              <a:gdLst>
                <a:gd name="T0" fmla="*/ 0 h 3"/>
                <a:gd name="T1" fmla="*/ 2 h 3"/>
                <a:gd name="T2" fmla="*/ 2 h 3"/>
                <a:gd name="T3" fmla="*/ 2 h 3"/>
                <a:gd name="T4" fmla="*/ 3 h 3"/>
                <a:gd name="T5" fmla="*/ 2 h 3"/>
                <a:gd name="T6" fmla="*/ 0 h 3"/>
              </a:gdLst>
              <a:cxnLst>
                <a:cxn ang="0">
                  <a:pos x="0" y="T0"/>
                </a:cxn>
                <a:cxn ang="0">
                  <a:pos x="0" y="T1"/>
                </a:cxn>
                <a:cxn ang="0">
                  <a:pos x="0" y="T2"/>
                </a:cxn>
                <a:cxn ang="0">
                  <a:pos x="0" y="T3"/>
                </a:cxn>
                <a:cxn ang="0">
                  <a:pos x="0" y="T4"/>
                </a:cxn>
                <a:cxn ang="0">
                  <a:pos x="0" y="T5"/>
                </a:cxn>
                <a:cxn ang="0">
                  <a:pos x="0" y="T6"/>
                </a:cxn>
              </a:cxnLst>
              <a:rect l="0" t="0" r="r" b="b"/>
              <a:pathLst>
                <a:path h="3">
                  <a:moveTo>
                    <a:pt x="0" y="0"/>
                  </a:moveTo>
                  <a:cubicBezTo>
                    <a:pt x="0" y="1"/>
                    <a:pt x="0" y="1"/>
                    <a:pt x="0" y="2"/>
                  </a:cubicBezTo>
                  <a:cubicBezTo>
                    <a:pt x="0" y="2"/>
                    <a:pt x="0" y="2"/>
                    <a:pt x="0" y="2"/>
                  </a:cubicBezTo>
                  <a:cubicBezTo>
                    <a:pt x="0" y="2"/>
                    <a:pt x="0" y="2"/>
                    <a:pt x="0" y="2"/>
                  </a:cubicBezTo>
                  <a:cubicBezTo>
                    <a:pt x="0" y="3"/>
                    <a:pt x="0" y="3"/>
                    <a:pt x="0" y="3"/>
                  </a:cubicBezTo>
                  <a:cubicBezTo>
                    <a:pt x="0" y="2"/>
                    <a:pt x="0" y="2"/>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226"/>
            <p:cNvSpPr/>
            <p:nvPr/>
          </p:nvSpPr>
          <p:spPr bwMode="auto">
            <a:xfrm>
              <a:off x="7000115" y="636935"/>
              <a:ext cx="14123" cy="16947"/>
            </a:xfrm>
            <a:custGeom>
              <a:gdLst>
                <a:gd name="T0" fmla="*/ 2 w 4"/>
                <a:gd name="T1" fmla="*/ 0 h 5"/>
                <a:gd name="T2" fmla="*/ 2 w 4"/>
                <a:gd name="T3" fmla="*/ 1 h 5"/>
                <a:gd name="T4" fmla="*/ 1 w 4"/>
                <a:gd name="T5" fmla="*/ 2 h 5"/>
                <a:gd name="T6" fmla="*/ 0 w 4"/>
                <a:gd name="T7" fmla="*/ 5 h 5"/>
                <a:gd name="T8" fmla="*/ 4 w 4"/>
                <a:gd name="T9" fmla="*/ 0 h 5"/>
                <a:gd name="T10" fmla="*/ 2 w 4"/>
                <a:gd name="T11" fmla="*/ 0 h 5"/>
                <a:gd name="T12" fmla="*/ 2 w 4"/>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4" h="5">
                  <a:moveTo>
                    <a:pt x="2" y="0"/>
                  </a:moveTo>
                  <a:cubicBezTo>
                    <a:pt x="2" y="1"/>
                    <a:pt x="2" y="1"/>
                    <a:pt x="2" y="1"/>
                  </a:cubicBezTo>
                  <a:cubicBezTo>
                    <a:pt x="2" y="1"/>
                    <a:pt x="1" y="1"/>
                    <a:pt x="1" y="2"/>
                  </a:cubicBezTo>
                  <a:cubicBezTo>
                    <a:pt x="1" y="3"/>
                    <a:pt x="1" y="4"/>
                    <a:pt x="0" y="5"/>
                  </a:cubicBezTo>
                  <a:cubicBezTo>
                    <a:pt x="2" y="3"/>
                    <a:pt x="3" y="2"/>
                    <a:pt x="4" y="0"/>
                  </a:cubicBezTo>
                  <a:cubicBezTo>
                    <a:pt x="3" y="0"/>
                    <a:pt x="3"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227"/>
            <p:cNvSpPr/>
            <p:nvPr/>
          </p:nvSpPr>
          <p:spPr bwMode="auto">
            <a:xfrm>
              <a:off x="7594680" y="2210208"/>
              <a:ext cx="33894" cy="26833"/>
            </a:xfrm>
            <a:custGeom>
              <a:gdLst>
                <a:gd name="T0" fmla="*/ 7 w 10"/>
                <a:gd name="T1" fmla="*/ 0 h 8"/>
                <a:gd name="T2" fmla="*/ 1 w 10"/>
                <a:gd name="T3" fmla="*/ 4 h 8"/>
                <a:gd name="T4" fmla="*/ 2 w 10"/>
                <a:gd name="T5" fmla="*/ 8 h 8"/>
                <a:gd name="T6" fmla="*/ 7 w 10"/>
                <a:gd name="T7" fmla="*/ 0 h 8"/>
              </a:gdLst>
              <a:cxnLst>
                <a:cxn ang="0">
                  <a:pos x="T0" y="T1"/>
                </a:cxn>
                <a:cxn ang="0">
                  <a:pos x="T2" y="T3"/>
                </a:cxn>
                <a:cxn ang="0">
                  <a:pos x="T4" y="T5"/>
                </a:cxn>
                <a:cxn ang="0">
                  <a:pos x="T6" y="T7"/>
                </a:cxn>
              </a:cxnLst>
              <a:rect l="0" t="0" r="r" b="b"/>
              <a:pathLst>
                <a:path w="10" h="8">
                  <a:moveTo>
                    <a:pt x="7" y="0"/>
                  </a:moveTo>
                  <a:cubicBezTo>
                    <a:pt x="4" y="0"/>
                    <a:pt x="1" y="1"/>
                    <a:pt x="1" y="4"/>
                  </a:cubicBezTo>
                  <a:cubicBezTo>
                    <a:pt x="0" y="7"/>
                    <a:pt x="1" y="8"/>
                    <a:pt x="2" y="8"/>
                  </a:cubicBezTo>
                  <a:cubicBezTo>
                    <a:pt x="5" y="8"/>
                    <a:pt x="10"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228"/>
            <p:cNvSpPr/>
            <p:nvPr/>
          </p:nvSpPr>
          <p:spPr bwMode="auto">
            <a:xfrm>
              <a:off x="11842788" y="660944"/>
              <a:ext cx="43780" cy="19772"/>
            </a:xfrm>
            <a:custGeom>
              <a:gdLst>
                <a:gd name="T0" fmla="*/ 7 w 13"/>
                <a:gd name="T1" fmla="*/ 0 h 6"/>
                <a:gd name="T2" fmla="*/ 5 w 13"/>
                <a:gd name="T3" fmla="*/ 0 h 6"/>
                <a:gd name="T4" fmla="*/ 3 w 13"/>
                <a:gd name="T5" fmla="*/ 6 h 6"/>
                <a:gd name="T6" fmla="*/ 8 w 13"/>
                <a:gd name="T7" fmla="*/ 0 h 6"/>
                <a:gd name="T8" fmla="*/ 7 w 13"/>
                <a:gd name="T9" fmla="*/ 0 h 6"/>
              </a:gdLst>
              <a:cxnLst>
                <a:cxn ang="0">
                  <a:pos x="T0" y="T1"/>
                </a:cxn>
                <a:cxn ang="0">
                  <a:pos x="T2" y="T3"/>
                </a:cxn>
                <a:cxn ang="0">
                  <a:pos x="T4" y="T5"/>
                </a:cxn>
                <a:cxn ang="0">
                  <a:pos x="T6" y="T7"/>
                </a:cxn>
                <a:cxn ang="0">
                  <a:pos x="T8" y="T9"/>
                </a:cxn>
              </a:cxnLst>
              <a:rect l="0" t="0" r="r" b="b"/>
              <a:pathLst>
                <a:path w="13" h="6">
                  <a:moveTo>
                    <a:pt x="7" y="0"/>
                  </a:moveTo>
                  <a:cubicBezTo>
                    <a:pt x="7" y="0"/>
                    <a:pt x="6" y="0"/>
                    <a:pt x="5" y="0"/>
                  </a:cubicBezTo>
                  <a:cubicBezTo>
                    <a:pt x="0" y="2"/>
                    <a:pt x="3" y="3"/>
                    <a:pt x="3" y="6"/>
                  </a:cubicBezTo>
                  <a:cubicBezTo>
                    <a:pt x="5" y="5"/>
                    <a:pt x="13"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229"/>
            <p:cNvSpPr/>
            <p:nvPr/>
          </p:nvSpPr>
          <p:spPr bwMode="auto">
            <a:xfrm>
              <a:off x="11862560" y="680716"/>
              <a:ext cx="16947" cy="9886"/>
            </a:xfrm>
            <a:custGeom>
              <a:gdLst>
                <a:gd name="T0" fmla="*/ 5 w 5"/>
                <a:gd name="T1" fmla="*/ 0 h 3"/>
                <a:gd name="T2" fmla="*/ 4 w 5"/>
                <a:gd name="T3" fmla="*/ 3 h 3"/>
                <a:gd name="T4" fmla="*/ 5 w 5"/>
                <a:gd name="T5" fmla="*/ 0 h 3"/>
              </a:gdLst>
              <a:cxnLst>
                <a:cxn ang="0">
                  <a:pos x="T0" y="T1"/>
                </a:cxn>
                <a:cxn ang="0">
                  <a:pos x="T2" y="T3"/>
                </a:cxn>
                <a:cxn ang="0">
                  <a:pos x="T4" y="T5"/>
                </a:cxn>
              </a:cxnLst>
              <a:rect l="0" t="0" r="r" b="b"/>
              <a:pathLst>
                <a:path w="5" h="3">
                  <a:moveTo>
                    <a:pt x="5" y="0"/>
                  </a:moveTo>
                  <a:cubicBezTo>
                    <a:pt x="3" y="0"/>
                    <a:pt x="0" y="2"/>
                    <a:pt x="4" y="3"/>
                  </a:cubicBezTo>
                  <a:cubicBezTo>
                    <a:pt x="4" y="2"/>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230"/>
            <p:cNvSpPr/>
            <p:nvPr/>
          </p:nvSpPr>
          <p:spPr bwMode="auto">
            <a:xfrm>
              <a:off x="11916226" y="700488"/>
              <a:ext cx="33894" cy="14123"/>
            </a:xfrm>
            <a:custGeom>
              <a:gdLst>
                <a:gd name="T0" fmla="*/ 3 w 10"/>
                <a:gd name="T1" fmla="*/ 0 h 4"/>
                <a:gd name="T2" fmla="*/ 4 w 10"/>
                <a:gd name="T3" fmla="*/ 4 h 4"/>
                <a:gd name="T4" fmla="*/ 10 w 10"/>
                <a:gd name="T5" fmla="*/ 2 h 4"/>
                <a:gd name="T6" fmla="*/ 6 w 10"/>
                <a:gd name="T7" fmla="*/ 1 h 4"/>
                <a:gd name="T8" fmla="*/ 3 w 10"/>
                <a:gd name="T9" fmla="*/ 0 h 4"/>
              </a:gdLst>
              <a:cxnLst>
                <a:cxn ang="0">
                  <a:pos x="T0" y="T1"/>
                </a:cxn>
                <a:cxn ang="0">
                  <a:pos x="T2" y="T3"/>
                </a:cxn>
                <a:cxn ang="0">
                  <a:pos x="T4" y="T5"/>
                </a:cxn>
                <a:cxn ang="0">
                  <a:pos x="T6" y="T7"/>
                </a:cxn>
                <a:cxn ang="0">
                  <a:pos x="T8" y="T9"/>
                </a:cxn>
              </a:cxnLst>
              <a:rect l="0" t="0" r="r" b="b"/>
              <a:pathLst>
                <a:path w="10" h="4">
                  <a:moveTo>
                    <a:pt x="3" y="0"/>
                  </a:moveTo>
                  <a:cubicBezTo>
                    <a:pt x="0" y="0"/>
                    <a:pt x="3" y="1"/>
                    <a:pt x="4" y="4"/>
                  </a:cubicBezTo>
                  <a:cubicBezTo>
                    <a:pt x="6" y="4"/>
                    <a:pt x="8" y="3"/>
                    <a:pt x="10" y="2"/>
                  </a:cubicBezTo>
                  <a:cubicBezTo>
                    <a:pt x="9" y="1"/>
                    <a:pt x="7" y="1"/>
                    <a:pt x="6"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231"/>
            <p:cNvSpPr/>
            <p:nvPr/>
          </p:nvSpPr>
          <p:spPr bwMode="auto">
            <a:xfrm>
              <a:off x="12009436" y="807820"/>
              <a:ext cx="7061" cy="16947"/>
            </a:xfrm>
            <a:custGeom>
              <a:gdLst>
                <a:gd name="T0" fmla="*/ 2 w 2"/>
                <a:gd name="T1" fmla="*/ 0 h 5"/>
                <a:gd name="T2" fmla="*/ 2 w 2"/>
                <a:gd name="T3" fmla="*/ 5 h 5"/>
                <a:gd name="T4" fmla="*/ 2 w 2"/>
                <a:gd name="T5" fmla="*/ 0 h 5"/>
              </a:gdLst>
              <a:cxnLst>
                <a:cxn ang="0">
                  <a:pos x="T0" y="T1"/>
                </a:cxn>
                <a:cxn ang="0">
                  <a:pos x="T2" y="T3"/>
                </a:cxn>
                <a:cxn ang="0">
                  <a:pos x="T4" y="T5"/>
                </a:cxn>
              </a:cxnLst>
              <a:rect l="0" t="0" r="r" b="b"/>
              <a:pathLst>
                <a:path w="2" h="5">
                  <a:moveTo>
                    <a:pt x="2" y="0"/>
                  </a:moveTo>
                  <a:cubicBezTo>
                    <a:pt x="0" y="1"/>
                    <a:pt x="0" y="4"/>
                    <a:pt x="2" y="5"/>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232"/>
            <p:cNvSpPr/>
            <p:nvPr/>
          </p:nvSpPr>
          <p:spPr bwMode="auto">
            <a:xfrm>
              <a:off x="11967068" y="807820"/>
              <a:ext cx="29658" cy="33895"/>
            </a:xfrm>
            <a:custGeom>
              <a:gdLst>
                <a:gd name="T0" fmla="*/ 1 w 9"/>
                <a:gd name="T1" fmla="*/ 0 h 10"/>
                <a:gd name="T2" fmla="*/ 7 w 9"/>
                <a:gd name="T3" fmla="*/ 10 h 10"/>
                <a:gd name="T4" fmla="*/ 1 w 9"/>
                <a:gd name="T5" fmla="*/ 0 h 10"/>
              </a:gdLst>
              <a:cxnLst>
                <a:cxn ang="0">
                  <a:pos x="T0" y="T1"/>
                </a:cxn>
                <a:cxn ang="0">
                  <a:pos x="T2" y="T3"/>
                </a:cxn>
                <a:cxn ang="0">
                  <a:pos x="T4" y="T5"/>
                </a:cxn>
              </a:cxnLst>
              <a:rect l="0" t="0" r="r" b="b"/>
              <a:pathLst>
                <a:path w="9" h="10">
                  <a:moveTo>
                    <a:pt x="1" y="0"/>
                  </a:moveTo>
                  <a:cubicBezTo>
                    <a:pt x="2" y="4"/>
                    <a:pt x="0" y="9"/>
                    <a:pt x="7" y="10"/>
                  </a:cubicBezTo>
                  <a:cubicBezTo>
                    <a:pt x="9"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233"/>
            <p:cNvSpPr/>
            <p:nvPr/>
          </p:nvSpPr>
          <p:spPr bwMode="auto">
            <a:xfrm>
              <a:off x="11909165" y="830417"/>
              <a:ext cx="14123" cy="16947"/>
            </a:xfrm>
            <a:custGeom>
              <a:gdLst>
                <a:gd name="T0" fmla="*/ 4 w 4"/>
                <a:gd name="T1" fmla="*/ 0 h 5"/>
                <a:gd name="T2" fmla="*/ 4 w 4"/>
                <a:gd name="T3" fmla="*/ 5 h 5"/>
                <a:gd name="T4" fmla="*/ 4 w 4"/>
                <a:gd name="T5" fmla="*/ 0 h 5"/>
              </a:gdLst>
              <a:cxnLst>
                <a:cxn ang="0">
                  <a:pos x="T0" y="T1"/>
                </a:cxn>
                <a:cxn ang="0">
                  <a:pos x="T2" y="T3"/>
                </a:cxn>
                <a:cxn ang="0">
                  <a:pos x="T4" y="T5"/>
                </a:cxn>
              </a:cxnLst>
              <a:rect l="0" t="0" r="r" b="b"/>
              <a:pathLst>
                <a:path w="4" h="5">
                  <a:moveTo>
                    <a:pt x="4" y="0"/>
                  </a:moveTo>
                  <a:cubicBezTo>
                    <a:pt x="0" y="1"/>
                    <a:pt x="0" y="4"/>
                    <a:pt x="4" y="5"/>
                  </a:cubicBezTo>
                  <a:cubicBezTo>
                    <a:pt x="4"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234"/>
            <p:cNvSpPr/>
            <p:nvPr/>
          </p:nvSpPr>
          <p:spPr bwMode="auto">
            <a:xfrm flipH="1">
              <a:off x="8262684" y="497120"/>
              <a:ext cx="0" cy="0"/>
            </a:xfrm>
            <a:custGeom>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235"/>
            <p:cNvSpPr/>
            <p:nvPr/>
          </p:nvSpPr>
          <p:spPr bwMode="auto">
            <a:xfrm>
              <a:off x="7183710" y="1101573"/>
              <a:ext cx="14123" cy="12710"/>
            </a:xfrm>
            <a:custGeom>
              <a:gdLst>
                <a:gd name="T0" fmla="*/ 0 w 4"/>
                <a:gd name="T1" fmla="*/ 0 h 4"/>
                <a:gd name="T2" fmla="*/ 4 w 4"/>
                <a:gd name="T3" fmla="*/ 4 h 4"/>
                <a:gd name="T4" fmla="*/ 0 w 4"/>
                <a:gd name="T5" fmla="*/ 0 h 4"/>
              </a:gdLst>
              <a:cxnLst>
                <a:cxn ang="0">
                  <a:pos x="T0" y="T1"/>
                </a:cxn>
                <a:cxn ang="0">
                  <a:pos x="T2" y="T3"/>
                </a:cxn>
                <a:cxn ang="0">
                  <a:pos x="T4" y="T5"/>
                </a:cxn>
              </a:cxnLst>
              <a:rect l="0" t="0" r="r" b="b"/>
              <a:pathLst>
                <a:path w="4" h="4">
                  <a:moveTo>
                    <a:pt x="0" y="0"/>
                  </a:moveTo>
                  <a:cubicBezTo>
                    <a:pt x="0" y="2"/>
                    <a:pt x="3" y="4"/>
                    <a:pt x="4" y="4"/>
                  </a:cubicBezTo>
                  <a:cubicBezTo>
                    <a:pt x="4" y="4"/>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Rectangle 236"/>
            <p:cNvSpPr>
              <a:spLocks noChangeArrowheads="1"/>
            </p:cNvSpPr>
            <p:nvPr/>
          </p:nvSpPr>
          <p:spPr bwMode="auto">
            <a:xfrm>
              <a:off x="9252685" y="1916455"/>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237"/>
            <p:cNvSpPr/>
            <p:nvPr/>
          </p:nvSpPr>
          <p:spPr bwMode="auto">
            <a:xfrm flipH="1">
              <a:off x="9252685" y="1916455"/>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Rectangle 238"/>
            <p:cNvSpPr>
              <a:spLocks noChangeArrowheads="1"/>
            </p:cNvSpPr>
            <p:nvPr/>
          </p:nvSpPr>
          <p:spPr bwMode="auto">
            <a:xfrm>
              <a:off x="9480061" y="1862789"/>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239"/>
            <p:cNvSpPr/>
            <p:nvPr/>
          </p:nvSpPr>
          <p:spPr bwMode="auto">
            <a:xfrm flipH="1">
              <a:off x="9480061" y="186278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Rectangle 240"/>
            <p:cNvSpPr>
              <a:spLocks noChangeArrowheads="1"/>
            </p:cNvSpPr>
            <p:nvPr/>
          </p:nvSpPr>
          <p:spPr bwMode="auto">
            <a:xfrm>
              <a:off x="9279518" y="4163382"/>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241"/>
            <p:cNvSpPr/>
            <p:nvPr/>
          </p:nvSpPr>
          <p:spPr bwMode="auto">
            <a:xfrm flipH="1">
              <a:off x="9279518" y="416338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242"/>
            <p:cNvSpPr>
              <a:spLocks noEditPoints="1"/>
            </p:cNvSpPr>
            <p:nvPr/>
          </p:nvSpPr>
          <p:spPr bwMode="auto">
            <a:xfrm>
              <a:off x="8098861" y="1605755"/>
              <a:ext cx="3019433" cy="3108414"/>
            </a:xfrm>
            <a:custGeom>
              <a:gdLst>
                <a:gd name="T0" fmla="*/ 296 w 905"/>
                <a:gd name="T1" fmla="*/ 16 h 931"/>
                <a:gd name="T2" fmla="*/ 240 w 905"/>
                <a:gd name="T3" fmla="*/ 33 h 931"/>
                <a:gd name="T4" fmla="*/ 229 w 905"/>
                <a:gd name="T5" fmla="*/ 59 h 931"/>
                <a:gd name="T6" fmla="*/ 218 w 905"/>
                <a:gd name="T7" fmla="*/ 89 h 931"/>
                <a:gd name="T8" fmla="*/ 162 w 905"/>
                <a:gd name="T9" fmla="*/ 95 h 931"/>
                <a:gd name="T10" fmla="*/ 99 w 905"/>
                <a:gd name="T11" fmla="*/ 81 h 931"/>
                <a:gd name="T12" fmla="*/ 88 w 905"/>
                <a:gd name="T13" fmla="*/ 118 h 931"/>
                <a:gd name="T14" fmla="*/ 82 w 905"/>
                <a:gd name="T15" fmla="*/ 221 h 931"/>
                <a:gd name="T16" fmla="*/ 24 w 905"/>
                <a:gd name="T17" fmla="*/ 240 h 931"/>
                <a:gd name="T18" fmla="*/ 4 w 905"/>
                <a:gd name="T19" fmla="*/ 291 h 931"/>
                <a:gd name="T20" fmla="*/ 51 w 905"/>
                <a:gd name="T21" fmla="*/ 350 h 931"/>
                <a:gd name="T22" fmla="*/ 86 w 905"/>
                <a:gd name="T23" fmla="*/ 372 h 931"/>
                <a:gd name="T24" fmla="*/ 122 w 905"/>
                <a:gd name="T25" fmla="*/ 374 h 931"/>
                <a:gd name="T26" fmla="*/ 184 w 905"/>
                <a:gd name="T27" fmla="*/ 343 h 931"/>
                <a:gd name="T28" fmla="*/ 198 w 905"/>
                <a:gd name="T29" fmla="*/ 356 h 931"/>
                <a:gd name="T30" fmla="*/ 222 w 905"/>
                <a:gd name="T31" fmla="*/ 408 h 931"/>
                <a:gd name="T32" fmla="*/ 252 w 905"/>
                <a:gd name="T33" fmla="*/ 416 h 931"/>
                <a:gd name="T34" fmla="*/ 297 w 905"/>
                <a:gd name="T35" fmla="*/ 432 h 931"/>
                <a:gd name="T36" fmla="*/ 315 w 905"/>
                <a:gd name="T37" fmla="*/ 473 h 931"/>
                <a:gd name="T38" fmla="*/ 361 w 905"/>
                <a:gd name="T39" fmla="*/ 501 h 931"/>
                <a:gd name="T40" fmla="*/ 376 w 905"/>
                <a:gd name="T41" fmla="*/ 562 h 931"/>
                <a:gd name="T42" fmla="*/ 360 w 905"/>
                <a:gd name="T43" fmla="*/ 588 h 931"/>
                <a:gd name="T44" fmla="*/ 271 w 905"/>
                <a:gd name="T45" fmla="*/ 603 h 931"/>
                <a:gd name="T46" fmla="*/ 275 w 905"/>
                <a:gd name="T47" fmla="*/ 657 h 931"/>
                <a:gd name="T48" fmla="*/ 361 w 905"/>
                <a:gd name="T49" fmla="*/ 709 h 931"/>
                <a:gd name="T50" fmla="*/ 402 w 905"/>
                <a:gd name="T51" fmla="*/ 771 h 931"/>
                <a:gd name="T52" fmla="*/ 442 w 905"/>
                <a:gd name="T53" fmla="*/ 727 h 931"/>
                <a:gd name="T54" fmla="*/ 467 w 905"/>
                <a:gd name="T55" fmla="*/ 761 h 931"/>
                <a:gd name="T56" fmla="*/ 421 w 905"/>
                <a:gd name="T57" fmla="*/ 793 h 931"/>
                <a:gd name="T58" fmla="*/ 417 w 905"/>
                <a:gd name="T59" fmla="*/ 860 h 931"/>
                <a:gd name="T60" fmla="*/ 465 w 905"/>
                <a:gd name="T61" fmla="*/ 887 h 931"/>
                <a:gd name="T62" fmla="*/ 502 w 905"/>
                <a:gd name="T63" fmla="*/ 889 h 931"/>
                <a:gd name="T64" fmla="*/ 535 w 905"/>
                <a:gd name="T65" fmla="*/ 846 h 931"/>
                <a:gd name="T66" fmla="*/ 577 w 905"/>
                <a:gd name="T67" fmla="*/ 804 h 931"/>
                <a:gd name="T68" fmla="*/ 585 w 905"/>
                <a:gd name="T69" fmla="*/ 735 h 931"/>
                <a:gd name="T70" fmla="*/ 589 w 905"/>
                <a:gd name="T71" fmla="*/ 718 h 931"/>
                <a:gd name="T72" fmla="*/ 636 w 905"/>
                <a:gd name="T73" fmla="*/ 683 h 931"/>
                <a:gd name="T74" fmla="*/ 694 w 905"/>
                <a:gd name="T75" fmla="*/ 660 h 931"/>
                <a:gd name="T76" fmla="*/ 762 w 905"/>
                <a:gd name="T77" fmla="*/ 636 h 931"/>
                <a:gd name="T78" fmla="*/ 804 w 905"/>
                <a:gd name="T79" fmla="*/ 439 h 931"/>
                <a:gd name="T80" fmla="*/ 847 w 905"/>
                <a:gd name="T81" fmla="*/ 380 h 931"/>
                <a:gd name="T82" fmla="*/ 878 w 905"/>
                <a:gd name="T83" fmla="*/ 236 h 931"/>
                <a:gd name="T84" fmla="*/ 726 w 905"/>
                <a:gd name="T85" fmla="*/ 181 h 931"/>
                <a:gd name="T86" fmla="*/ 682 w 905"/>
                <a:gd name="T87" fmla="*/ 169 h 931"/>
                <a:gd name="T88" fmla="*/ 669 w 905"/>
                <a:gd name="T89" fmla="*/ 155 h 931"/>
                <a:gd name="T90" fmla="*/ 648 w 905"/>
                <a:gd name="T91" fmla="*/ 145 h 931"/>
                <a:gd name="T92" fmla="*/ 628 w 905"/>
                <a:gd name="T93" fmla="*/ 139 h 931"/>
                <a:gd name="T94" fmla="*/ 588 w 905"/>
                <a:gd name="T95" fmla="*/ 156 h 931"/>
                <a:gd name="T96" fmla="*/ 560 w 905"/>
                <a:gd name="T97" fmla="*/ 159 h 931"/>
                <a:gd name="T98" fmla="*/ 567 w 905"/>
                <a:gd name="T99" fmla="*/ 157 h 931"/>
                <a:gd name="T100" fmla="*/ 587 w 905"/>
                <a:gd name="T101" fmla="*/ 136 h 931"/>
                <a:gd name="T102" fmla="*/ 541 w 905"/>
                <a:gd name="T103" fmla="*/ 122 h 931"/>
                <a:gd name="T104" fmla="*/ 535 w 905"/>
                <a:gd name="T105" fmla="*/ 143 h 931"/>
                <a:gd name="T106" fmla="*/ 533 w 905"/>
                <a:gd name="T107" fmla="*/ 148 h 931"/>
                <a:gd name="T108" fmla="*/ 549 w 905"/>
                <a:gd name="T109" fmla="*/ 96 h 931"/>
                <a:gd name="T110" fmla="*/ 534 w 905"/>
                <a:gd name="T111" fmla="*/ 68 h 931"/>
                <a:gd name="T112" fmla="*/ 497 w 905"/>
                <a:gd name="T113" fmla="*/ 57 h 931"/>
                <a:gd name="T114" fmla="*/ 455 w 905"/>
                <a:gd name="T115" fmla="*/ 72 h 931"/>
                <a:gd name="T116" fmla="*/ 417 w 905"/>
                <a:gd name="T117" fmla="*/ 73 h 931"/>
                <a:gd name="T118" fmla="*/ 392 w 905"/>
                <a:gd name="T119" fmla="*/ 77 h 931"/>
                <a:gd name="T120" fmla="*/ 321 w 905"/>
                <a:gd name="T121" fmla="*/ 66 h 9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5" h="931">
                  <a:moveTo>
                    <a:pt x="198" y="381"/>
                  </a:moveTo>
                  <a:cubicBezTo>
                    <a:pt x="198" y="381"/>
                    <a:pt x="198" y="381"/>
                    <a:pt x="198" y="381"/>
                  </a:cubicBezTo>
                  <a:cubicBezTo>
                    <a:pt x="198" y="381"/>
                    <a:pt x="198" y="381"/>
                    <a:pt x="198" y="381"/>
                  </a:cubicBezTo>
                  <a:moveTo>
                    <a:pt x="311" y="0"/>
                  </a:moveTo>
                  <a:cubicBezTo>
                    <a:pt x="311" y="0"/>
                    <a:pt x="310" y="0"/>
                    <a:pt x="309" y="0"/>
                  </a:cubicBezTo>
                  <a:cubicBezTo>
                    <a:pt x="309" y="0"/>
                    <a:pt x="308" y="0"/>
                    <a:pt x="308" y="1"/>
                  </a:cubicBezTo>
                  <a:cubicBezTo>
                    <a:pt x="308" y="1"/>
                    <a:pt x="308" y="1"/>
                    <a:pt x="308" y="2"/>
                  </a:cubicBezTo>
                  <a:cubicBezTo>
                    <a:pt x="308" y="2"/>
                    <a:pt x="308" y="3"/>
                    <a:pt x="308" y="4"/>
                  </a:cubicBezTo>
                  <a:cubicBezTo>
                    <a:pt x="308" y="4"/>
                    <a:pt x="308" y="4"/>
                    <a:pt x="308" y="4"/>
                  </a:cubicBezTo>
                  <a:cubicBezTo>
                    <a:pt x="308" y="5"/>
                    <a:pt x="308" y="6"/>
                    <a:pt x="307" y="6"/>
                  </a:cubicBezTo>
                  <a:cubicBezTo>
                    <a:pt x="312" y="10"/>
                    <a:pt x="312" y="10"/>
                    <a:pt x="312" y="10"/>
                  </a:cubicBezTo>
                  <a:cubicBezTo>
                    <a:pt x="307" y="8"/>
                    <a:pt x="307" y="8"/>
                    <a:pt x="307" y="8"/>
                  </a:cubicBezTo>
                  <a:cubicBezTo>
                    <a:pt x="306" y="8"/>
                    <a:pt x="306" y="8"/>
                    <a:pt x="306" y="8"/>
                  </a:cubicBezTo>
                  <a:cubicBezTo>
                    <a:pt x="306" y="8"/>
                    <a:pt x="306" y="8"/>
                    <a:pt x="306" y="8"/>
                  </a:cubicBezTo>
                  <a:cubicBezTo>
                    <a:pt x="305" y="9"/>
                    <a:pt x="305" y="9"/>
                    <a:pt x="305" y="9"/>
                  </a:cubicBezTo>
                  <a:cubicBezTo>
                    <a:pt x="304" y="10"/>
                    <a:pt x="302" y="12"/>
                    <a:pt x="301" y="13"/>
                  </a:cubicBezTo>
                  <a:cubicBezTo>
                    <a:pt x="304" y="16"/>
                    <a:pt x="304" y="16"/>
                    <a:pt x="304" y="16"/>
                  </a:cubicBezTo>
                  <a:cubicBezTo>
                    <a:pt x="300" y="14"/>
                    <a:pt x="300" y="14"/>
                    <a:pt x="300" y="14"/>
                  </a:cubicBezTo>
                  <a:cubicBezTo>
                    <a:pt x="299" y="14"/>
                    <a:pt x="299" y="14"/>
                    <a:pt x="299" y="14"/>
                  </a:cubicBezTo>
                  <a:cubicBezTo>
                    <a:pt x="299" y="15"/>
                    <a:pt x="298" y="16"/>
                    <a:pt x="296" y="16"/>
                  </a:cubicBezTo>
                  <a:cubicBezTo>
                    <a:pt x="296" y="16"/>
                    <a:pt x="295" y="16"/>
                    <a:pt x="294" y="17"/>
                  </a:cubicBezTo>
                  <a:cubicBezTo>
                    <a:pt x="293" y="17"/>
                    <a:pt x="293" y="17"/>
                    <a:pt x="293" y="17"/>
                  </a:cubicBezTo>
                  <a:cubicBezTo>
                    <a:pt x="293" y="17"/>
                    <a:pt x="293" y="17"/>
                    <a:pt x="293" y="17"/>
                  </a:cubicBezTo>
                  <a:cubicBezTo>
                    <a:pt x="292" y="17"/>
                    <a:pt x="291" y="17"/>
                    <a:pt x="290" y="18"/>
                  </a:cubicBezTo>
                  <a:cubicBezTo>
                    <a:pt x="289" y="18"/>
                    <a:pt x="289" y="19"/>
                    <a:pt x="288" y="19"/>
                  </a:cubicBezTo>
                  <a:cubicBezTo>
                    <a:pt x="287" y="21"/>
                    <a:pt x="285" y="22"/>
                    <a:pt x="282" y="22"/>
                  </a:cubicBezTo>
                  <a:cubicBezTo>
                    <a:pt x="278" y="23"/>
                    <a:pt x="278" y="23"/>
                    <a:pt x="278" y="23"/>
                  </a:cubicBezTo>
                  <a:cubicBezTo>
                    <a:pt x="272" y="24"/>
                    <a:pt x="267" y="25"/>
                    <a:pt x="262" y="26"/>
                  </a:cubicBezTo>
                  <a:cubicBezTo>
                    <a:pt x="261" y="26"/>
                    <a:pt x="260" y="27"/>
                    <a:pt x="260" y="27"/>
                  </a:cubicBezTo>
                  <a:cubicBezTo>
                    <a:pt x="259" y="27"/>
                    <a:pt x="258" y="27"/>
                    <a:pt x="258" y="27"/>
                  </a:cubicBezTo>
                  <a:cubicBezTo>
                    <a:pt x="258" y="27"/>
                    <a:pt x="258" y="27"/>
                    <a:pt x="258" y="27"/>
                  </a:cubicBezTo>
                  <a:cubicBezTo>
                    <a:pt x="258" y="28"/>
                    <a:pt x="258" y="28"/>
                    <a:pt x="258" y="28"/>
                  </a:cubicBezTo>
                  <a:cubicBezTo>
                    <a:pt x="258" y="28"/>
                    <a:pt x="258" y="28"/>
                    <a:pt x="258" y="28"/>
                  </a:cubicBezTo>
                  <a:cubicBezTo>
                    <a:pt x="258" y="29"/>
                    <a:pt x="258" y="30"/>
                    <a:pt x="258" y="32"/>
                  </a:cubicBezTo>
                  <a:cubicBezTo>
                    <a:pt x="258" y="32"/>
                    <a:pt x="258" y="32"/>
                    <a:pt x="258" y="32"/>
                  </a:cubicBezTo>
                  <a:cubicBezTo>
                    <a:pt x="257" y="36"/>
                    <a:pt x="255" y="38"/>
                    <a:pt x="252" y="38"/>
                  </a:cubicBezTo>
                  <a:cubicBezTo>
                    <a:pt x="249" y="38"/>
                    <a:pt x="247" y="36"/>
                    <a:pt x="245" y="33"/>
                  </a:cubicBezTo>
                  <a:cubicBezTo>
                    <a:pt x="244" y="32"/>
                    <a:pt x="243" y="31"/>
                    <a:pt x="243" y="30"/>
                  </a:cubicBezTo>
                  <a:cubicBezTo>
                    <a:pt x="242" y="30"/>
                    <a:pt x="242" y="30"/>
                    <a:pt x="241" y="30"/>
                  </a:cubicBezTo>
                  <a:cubicBezTo>
                    <a:pt x="240" y="33"/>
                    <a:pt x="240" y="33"/>
                    <a:pt x="240" y="33"/>
                  </a:cubicBezTo>
                  <a:cubicBezTo>
                    <a:pt x="237" y="31"/>
                    <a:pt x="237" y="31"/>
                    <a:pt x="237" y="31"/>
                  </a:cubicBezTo>
                  <a:cubicBezTo>
                    <a:pt x="236" y="30"/>
                    <a:pt x="235" y="30"/>
                    <a:pt x="234" y="30"/>
                  </a:cubicBezTo>
                  <a:cubicBezTo>
                    <a:pt x="233" y="30"/>
                    <a:pt x="232" y="30"/>
                    <a:pt x="231" y="30"/>
                  </a:cubicBezTo>
                  <a:cubicBezTo>
                    <a:pt x="230" y="30"/>
                    <a:pt x="229" y="30"/>
                    <a:pt x="229" y="31"/>
                  </a:cubicBezTo>
                  <a:cubicBezTo>
                    <a:pt x="228" y="31"/>
                    <a:pt x="228" y="31"/>
                    <a:pt x="227" y="31"/>
                  </a:cubicBezTo>
                  <a:cubicBezTo>
                    <a:pt x="226" y="31"/>
                    <a:pt x="225" y="30"/>
                    <a:pt x="224" y="30"/>
                  </a:cubicBezTo>
                  <a:cubicBezTo>
                    <a:pt x="224" y="30"/>
                    <a:pt x="224" y="30"/>
                    <a:pt x="224" y="30"/>
                  </a:cubicBezTo>
                  <a:cubicBezTo>
                    <a:pt x="223" y="29"/>
                    <a:pt x="222" y="28"/>
                    <a:pt x="220" y="27"/>
                  </a:cubicBezTo>
                  <a:cubicBezTo>
                    <a:pt x="218" y="26"/>
                    <a:pt x="217" y="25"/>
                    <a:pt x="215" y="24"/>
                  </a:cubicBezTo>
                  <a:cubicBezTo>
                    <a:pt x="216" y="26"/>
                    <a:pt x="217" y="27"/>
                    <a:pt x="217" y="27"/>
                  </a:cubicBezTo>
                  <a:cubicBezTo>
                    <a:pt x="218" y="28"/>
                    <a:pt x="219" y="28"/>
                    <a:pt x="219" y="29"/>
                  </a:cubicBezTo>
                  <a:cubicBezTo>
                    <a:pt x="221" y="30"/>
                    <a:pt x="222" y="31"/>
                    <a:pt x="224" y="32"/>
                  </a:cubicBezTo>
                  <a:cubicBezTo>
                    <a:pt x="224" y="33"/>
                    <a:pt x="225" y="34"/>
                    <a:pt x="225" y="36"/>
                  </a:cubicBezTo>
                  <a:cubicBezTo>
                    <a:pt x="226" y="37"/>
                    <a:pt x="225" y="38"/>
                    <a:pt x="225" y="38"/>
                  </a:cubicBezTo>
                  <a:cubicBezTo>
                    <a:pt x="225" y="39"/>
                    <a:pt x="225" y="39"/>
                    <a:pt x="225" y="39"/>
                  </a:cubicBezTo>
                  <a:cubicBezTo>
                    <a:pt x="225" y="41"/>
                    <a:pt x="226" y="43"/>
                    <a:pt x="227" y="46"/>
                  </a:cubicBezTo>
                  <a:cubicBezTo>
                    <a:pt x="228" y="48"/>
                    <a:pt x="229" y="51"/>
                    <a:pt x="230" y="53"/>
                  </a:cubicBezTo>
                  <a:cubicBezTo>
                    <a:pt x="230" y="55"/>
                    <a:pt x="229" y="56"/>
                    <a:pt x="229" y="58"/>
                  </a:cubicBezTo>
                  <a:cubicBezTo>
                    <a:pt x="229" y="58"/>
                    <a:pt x="229" y="58"/>
                    <a:pt x="229" y="58"/>
                  </a:cubicBezTo>
                  <a:cubicBezTo>
                    <a:pt x="229" y="59"/>
                    <a:pt x="229" y="59"/>
                    <a:pt x="229" y="59"/>
                  </a:cubicBezTo>
                  <a:cubicBezTo>
                    <a:pt x="230" y="59"/>
                    <a:pt x="233" y="60"/>
                    <a:pt x="240" y="60"/>
                  </a:cubicBezTo>
                  <a:cubicBezTo>
                    <a:pt x="241" y="60"/>
                    <a:pt x="241" y="60"/>
                    <a:pt x="241" y="60"/>
                  </a:cubicBezTo>
                  <a:cubicBezTo>
                    <a:pt x="241" y="60"/>
                    <a:pt x="242" y="60"/>
                    <a:pt x="242" y="60"/>
                  </a:cubicBezTo>
                  <a:cubicBezTo>
                    <a:pt x="245" y="60"/>
                    <a:pt x="245" y="60"/>
                    <a:pt x="245" y="60"/>
                  </a:cubicBezTo>
                  <a:cubicBezTo>
                    <a:pt x="244" y="64"/>
                    <a:pt x="244" y="64"/>
                    <a:pt x="244" y="64"/>
                  </a:cubicBezTo>
                  <a:cubicBezTo>
                    <a:pt x="244" y="64"/>
                    <a:pt x="244" y="65"/>
                    <a:pt x="244" y="65"/>
                  </a:cubicBezTo>
                  <a:cubicBezTo>
                    <a:pt x="244" y="68"/>
                    <a:pt x="242" y="69"/>
                    <a:pt x="240" y="70"/>
                  </a:cubicBezTo>
                  <a:cubicBezTo>
                    <a:pt x="242" y="76"/>
                    <a:pt x="242" y="76"/>
                    <a:pt x="242" y="76"/>
                  </a:cubicBezTo>
                  <a:cubicBezTo>
                    <a:pt x="239" y="71"/>
                    <a:pt x="239" y="71"/>
                    <a:pt x="239" y="71"/>
                  </a:cubicBezTo>
                  <a:cubicBezTo>
                    <a:pt x="235" y="72"/>
                    <a:pt x="235" y="72"/>
                    <a:pt x="235" y="72"/>
                  </a:cubicBezTo>
                  <a:cubicBezTo>
                    <a:pt x="233" y="73"/>
                    <a:pt x="231" y="74"/>
                    <a:pt x="229" y="75"/>
                  </a:cubicBezTo>
                  <a:cubicBezTo>
                    <a:pt x="229" y="76"/>
                    <a:pt x="229" y="77"/>
                    <a:pt x="228" y="77"/>
                  </a:cubicBezTo>
                  <a:cubicBezTo>
                    <a:pt x="228" y="78"/>
                    <a:pt x="228" y="78"/>
                    <a:pt x="228" y="79"/>
                  </a:cubicBezTo>
                  <a:cubicBezTo>
                    <a:pt x="227" y="81"/>
                    <a:pt x="224" y="86"/>
                    <a:pt x="222" y="88"/>
                  </a:cubicBezTo>
                  <a:cubicBezTo>
                    <a:pt x="221" y="88"/>
                    <a:pt x="221" y="88"/>
                    <a:pt x="221" y="88"/>
                  </a:cubicBezTo>
                  <a:cubicBezTo>
                    <a:pt x="220" y="89"/>
                    <a:pt x="220" y="89"/>
                    <a:pt x="220" y="89"/>
                  </a:cubicBezTo>
                  <a:cubicBezTo>
                    <a:pt x="220" y="89"/>
                    <a:pt x="220" y="89"/>
                    <a:pt x="219" y="89"/>
                  </a:cubicBezTo>
                  <a:cubicBezTo>
                    <a:pt x="219" y="90"/>
                    <a:pt x="219" y="90"/>
                    <a:pt x="219" y="90"/>
                  </a:cubicBezTo>
                  <a:cubicBezTo>
                    <a:pt x="218" y="89"/>
                    <a:pt x="218" y="89"/>
                    <a:pt x="218" y="89"/>
                  </a:cubicBezTo>
                  <a:cubicBezTo>
                    <a:pt x="218" y="89"/>
                    <a:pt x="218" y="89"/>
                    <a:pt x="218" y="89"/>
                  </a:cubicBezTo>
                  <a:cubicBezTo>
                    <a:pt x="217" y="89"/>
                    <a:pt x="217" y="89"/>
                    <a:pt x="216" y="89"/>
                  </a:cubicBezTo>
                  <a:cubicBezTo>
                    <a:pt x="216" y="89"/>
                    <a:pt x="216" y="89"/>
                    <a:pt x="216" y="89"/>
                  </a:cubicBezTo>
                  <a:cubicBezTo>
                    <a:pt x="214" y="90"/>
                    <a:pt x="211" y="92"/>
                    <a:pt x="209" y="93"/>
                  </a:cubicBezTo>
                  <a:cubicBezTo>
                    <a:pt x="208" y="93"/>
                    <a:pt x="208" y="93"/>
                    <a:pt x="208" y="93"/>
                  </a:cubicBezTo>
                  <a:cubicBezTo>
                    <a:pt x="204" y="94"/>
                    <a:pt x="203" y="94"/>
                    <a:pt x="201" y="96"/>
                  </a:cubicBezTo>
                  <a:cubicBezTo>
                    <a:pt x="201" y="98"/>
                    <a:pt x="200" y="98"/>
                    <a:pt x="199" y="99"/>
                  </a:cubicBezTo>
                  <a:cubicBezTo>
                    <a:pt x="199" y="99"/>
                    <a:pt x="199" y="99"/>
                    <a:pt x="199" y="99"/>
                  </a:cubicBezTo>
                  <a:cubicBezTo>
                    <a:pt x="199" y="100"/>
                    <a:pt x="199" y="100"/>
                    <a:pt x="199" y="100"/>
                  </a:cubicBezTo>
                  <a:cubicBezTo>
                    <a:pt x="198" y="100"/>
                    <a:pt x="198" y="101"/>
                    <a:pt x="197" y="102"/>
                  </a:cubicBezTo>
                  <a:cubicBezTo>
                    <a:pt x="197" y="102"/>
                    <a:pt x="197" y="102"/>
                    <a:pt x="197" y="102"/>
                  </a:cubicBezTo>
                  <a:cubicBezTo>
                    <a:pt x="193" y="105"/>
                    <a:pt x="192" y="106"/>
                    <a:pt x="191" y="106"/>
                  </a:cubicBezTo>
                  <a:cubicBezTo>
                    <a:pt x="190" y="106"/>
                    <a:pt x="189" y="105"/>
                    <a:pt x="188" y="104"/>
                  </a:cubicBezTo>
                  <a:cubicBezTo>
                    <a:pt x="187" y="103"/>
                    <a:pt x="187" y="102"/>
                    <a:pt x="187" y="100"/>
                  </a:cubicBezTo>
                  <a:cubicBezTo>
                    <a:pt x="186" y="101"/>
                    <a:pt x="185" y="101"/>
                    <a:pt x="184" y="102"/>
                  </a:cubicBezTo>
                  <a:cubicBezTo>
                    <a:pt x="184" y="102"/>
                    <a:pt x="184" y="102"/>
                    <a:pt x="184" y="102"/>
                  </a:cubicBezTo>
                  <a:cubicBezTo>
                    <a:pt x="181" y="103"/>
                    <a:pt x="179" y="104"/>
                    <a:pt x="177" y="104"/>
                  </a:cubicBezTo>
                  <a:cubicBezTo>
                    <a:pt x="177" y="104"/>
                    <a:pt x="177" y="104"/>
                    <a:pt x="177" y="104"/>
                  </a:cubicBezTo>
                  <a:cubicBezTo>
                    <a:pt x="173" y="104"/>
                    <a:pt x="170" y="102"/>
                    <a:pt x="167" y="100"/>
                  </a:cubicBezTo>
                  <a:cubicBezTo>
                    <a:pt x="166" y="99"/>
                    <a:pt x="165" y="98"/>
                    <a:pt x="164" y="97"/>
                  </a:cubicBezTo>
                  <a:cubicBezTo>
                    <a:pt x="162" y="95"/>
                    <a:pt x="162" y="95"/>
                    <a:pt x="162" y="95"/>
                  </a:cubicBezTo>
                  <a:cubicBezTo>
                    <a:pt x="161" y="95"/>
                    <a:pt x="161" y="95"/>
                    <a:pt x="161" y="95"/>
                  </a:cubicBezTo>
                  <a:cubicBezTo>
                    <a:pt x="161" y="95"/>
                    <a:pt x="161" y="95"/>
                    <a:pt x="161" y="95"/>
                  </a:cubicBezTo>
                  <a:cubicBezTo>
                    <a:pt x="160" y="94"/>
                    <a:pt x="160" y="94"/>
                    <a:pt x="159" y="93"/>
                  </a:cubicBezTo>
                  <a:cubicBezTo>
                    <a:pt x="159" y="93"/>
                    <a:pt x="159" y="93"/>
                    <a:pt x="159" y="93"/>
                  </a:cubicBezTo>
                  <a:cubicBezTo>
                    <a:pt x="159" y="93"/>
                    <a:pt x="159" y="93"/>
                    <a:pt x="159" y="93"/>
                  </a:cubicBezTo>
                  <a:cubicBezTo>
                    <a:pt x="158" y="93"/>
                    <a:pt x="158" y="93"/>
                    <a:pt x="157" y="93"/>
                  </a:cubicBezTo>
                  <a:cubicBezTo>
                    <a:pt x="157" y="93"/>
                    <a:pt x="157" y="93"/>
                    <a:pt x="157" y="93"/>
                  </a:cubicBezTo>
                  <a:cubicBezTo>
                    <a:pt x="157" y="93"/>
                    <a:pt x="157" y="93"/>
                    <a:pt x="157" y="93"/>
                  </a:cubicBezTo>
                  <a:cubicBezTo>
                    <a:pt x="156" y="93"/>
                    <a:pt x="155" y="93"/>
                    <a:pt x="154" y="92"/>
                  </a:cubicBezTo>
                  <a:cubicBezTo>
                    <a:pt x="152" y="90"/>
                    <a:pt x="152" y="86"/>
                    <a:pt x="153" y="83"/>
                  </a:cubicBezTo>
                  <a:cubicBezTo>
                    <a:pt x="153" y="81"/>
                    <a:pt x="150" y="76"/>
                    <a:pt x="148" y="73"/>
                  </a:cubicBezTo>
                  <a:cubicBezTo>
                    <a:pt x="147" y="73"/>
                    <a:pt x="146" y="74"/>
                    <a:pt x="143" y="76"/>
                  </a:cubicBezTo>
                  <a:cubicBezTo>
                    <a:pt x="142" y="77"/>
                    <a:pt x="141" y="78"/>
                    <a:pt x="141" y="78"/>
                  </a:cubicBezTo>
                  <a:cubicBezTo>
                    <a:pt x="139" y="79"/>
                    <a:pt x="138" y="80"/>
                    <a:pt x="137" y="80"/>
                  </a:cubicBezTo>
                  <a:cubicBezTo>
                    <a:pt x="139" y="81"/>
                    <a:pt x="139" y="81"/>
                    <a:pt x="139" y="81"/>
                  </a:cubicBezTo>
                  <a:cubicBezTo>
                    <a:pt x="130" y="81"/>
                    <a:pt x="130" y="81"/>
                    <a:pt x="130" y="81"/>
                  </a:cubicBezTo>
                  <a:cubicBezTo>
                    <a:pt x="128" y="81"/>
                    <a:pt x="125" y="81"/>
                    <a:pt x="121" y="81"/>
                  </a:cubicBezTo>
                  <a:cubicBezTo>
                    <a:pt x="114" y="81"/>
                    <a:pt x="107" y="81"/>
                    <a:pt x="102" y="81"/>
                  </a:cubicBezTo>
                  <a:cubicBezTo>
                    <a:pt x="101" y="81"/>
                    <a:pt x="101" y="81"/>
                    <a:pt x="100" y="81"/>
                  </a:cubicBezTo>
                  <a:cubicBezTo>
                    <a:pt x="100" y="81"/>
                    <a:pt x="99" y="81"/>
                    <a:pt x="99" y="81"/>
                  </a:cubicBezTo>
                  <a:cubicBezTo>
                    <a:pt x="97" y="81"/>
                    <a:pt x="95" y="81"/>
                    <a:pt x="94" y="81"/>
                  </a:cubicBezTo>
                  <a:cubicBezTo>
                    <a:pt x="94" y="82"/>
                    <a:pt x="94" y="82"/>
                    <a:pt x="94" y="82"/>
                  </a:cubicBezTo>
                  <a:cubicBezTo>
                    <a:pt x="94" y="85"/>
                    <a:pt x="94" y="87"/>
                    <a:pt x="94" y="90"/>
                  </a:cubicBezTo>
                  <a:cubicBezTo>
                    <a:pt x="94" y="90"/>
                    <a:pt x="95" y="90"/>
                    <a:pt x="95" y="90"/>
                  </a:cubicBezTo>
                  <a:cubicBezTo>
                    <a:pt x="97" y="90"/>
                    <a:pt x="99" y="91"/>
                    <a:pt x="101" y="91"/>
                  </a:cubicBezTo>
                  <a:cubicBezTo>
                    <a:pt x="101" y="91"/>
                    <a:pt x="102" y="91"/>
                    <a:pt x="103" y="91"/>
                  </a:cubicBezTo>
                  <a:cubicBezTo>
                    <a:pt x="103" y="91"/>
                    <a:pt x="103" y="91"/>
                    <a:pt x="103" y="91"/>
                  </a:cubicBezTo>
                  <a:cubicBezTo>
                    <a:pt x="106" y="91"/>
                    <a:pt x="108" y="94"/>
                    <a:pt x="109" y="96"/>
                  </a:cubicBezTo>
                  <a:cubicBezTo>
                    <a:pt x="109" y="97"/>
                    <a:pt x="110" y="100"/>
                    <a:pt x="111" y="103"/>
                  </a:cubicBezTo>
                  <a:cubicBezTo>
                    <a:pt x="111" y="106"/>
                    <a:pt x="111" y="106"/>
                    <a:pt x="111" y="106"/>
                  </a:cubicBezTo>
                  <a:cubicBezTo>
                    <a:pt x="108" y="106"/>
                    <a:pt x="108" y="106"/>
                    <a:pt x="108" y="106"/>
                  </a:cubicBezTo>
                  <a:cubicBezTo>
                    <a:pt x="108" y="106"/>
                    <a:pt x="108" y="106"/>
                    <a:pt x="107" y="106"/>
                  </a:cubicBezTo>
                  <a:cubicBezTo>
                    <a:pt x="106" y="106"/>
                    <a:pt x="103" y="106"/>
                    <a:pt x="101" y="105"/>
                  </a:cubicBezTo>
                  <a:cubicBezTo>
                    <a:pt x="100" y="104"/>
                    <a:pt x="99" y="104"/>
                    <a:pt x="99" y="104"/>
                  </a:cubicBezTo>
                  <a:cubicBezTo>
                    <a:pt x="98" y="104"/>
                    <a:pt x="98" y="105"/>
                    <a:pt x="97" y="105"/>
                  </a:cubicBezTo>
                  <a:cubicBezTo>
                    <a:pt x="96" y="105"/>
                    <a:pt x="95" y="105"/>
                    <a:pt x="95" y="105"/>
                  </a:cubicBezTo>
                  <a:cubicBezTo>
                    <a:pt x="94" y="106"/>
                    <a:pt x="94" y="106"/>
                    <a:pt x="94" y="106"/>
                  </a:cubicBezTo>
                  <a:cubicBezTo>
                    <a:pt x="90" y="106"/>
                    <a:pt x="89" y="107"/>
                    <a:pt x="89" y="107"/>
                  </a:cubicBezTo>
                  <a:cubicBezTo>
                    <a:pt x="89" y="110"/>
                    <a:pt x="89" y="112"/>
                    <a:pt x="89" y="115"/>
                  </a:cubicBezTo>
                  <a:cubicBezTo>
                    <a:pt x="89" y="116"/>
                    <a:pt x="89" y="117"/>
                    <a:pt x="88" y="118"/>
                  </a:cubicBezTo>
                  <a:cubicBezTo>
                    <a:pt x="88" y="121"/>
                    <a:pt x="92" y="125"/>
                    <a:pt x="96" y="127"/>
                  </a:cubicBezTo>
                  <a:cubicBezTo>
                    <a:pt x="100" y="129"/>
                    <a:pt x="101" y="133"/>
                    <a:pt x="101" y="137"/>
                  </a:cubicBezTo>
                  <a:cubicBezTo>
                    <a:pt x="102" y="138"/>
                    <a:pt x="102" y="139"/>
                    <a:pt x="102" y="140"/>
                  </a:cubicBezTo>
                  <a:cubicBezTo>
                    <a:pt x="104" y="145"/>
                    <a:pt x="103" y="152"/>
                    <a:pt x="101" y="165"/>
                  </a:cubicBezTo>
                  <a:cubicBezTo>
                    <a:pt x="100" y="171"/>
                    <a:pt x="100" y="171"/>
                    <a:pt x="100" y="171"/>
                  </a:cubicBezTo>
                  <a:cubicBezTo>
                    <a:pt x="100" y="172"/>
                    <a:pt x="100" y="172"/>
                    <a:pt x="100" y="172"/>
                  </a:cubicBezTo>
                  <a:cubicBezTo>
                    <a:pt x="99" y="175"/>
                    <a:pt x="99" y="175"/>
                    <a:pt x="99" y="175"/>
                  </a:cubicBezTo>
                  <a:cubicBezTo>
                    <a:pt x="99" y="176"/>
                    <a:pt x="99" y="176"/>
                    <a:pt x="99" y="176"/>
                  </a:cubicBezTo>
                  <a:cubicBezTo>
                    <a:pt x="98" y="179"/>
                    <a:pt x="98" y="179"/>
                    <a:pt x="98" y="179"/>
                  </a:cubicBezTo>
                  <a:cubicBezTo>
                    <a:pt x="98" y="180"/>
                    <a:pt x="98" y="180"/>
                    <a:pt x="98" y="181"/>
                  </a:cubicBezTo>
                  <a:cubicBezTo>
                    <a:pt x="98" y="183"/>
                    <a:pt x="98" y="183"/>
                    <a:pt x="98" y="183"/>
                  </a:cubicBezTo>
                  <a:cubicBezTo>
                    <a:pt x="98" y="184"/>
                    <a:pt x="97" y="184"/>
                    <a:pt x="97" y="185"/>
                  </a:cubicBezTo>
                  <a:cubicBezTo>
                    <a:pt x="97" y="186"/>
                    <a:pt x="97" y="186"/>
                    <a:pt x="97" y="186"/>
                  </a:cubicBezTo>
                  <a:cubicBezTo>
                    <a:pt x="97" y="187"/>
                    <a:pt x="97" y="189"/>
                    <a:pt x="96" y="190"/>
                  </a:cubicBezTo>
                  <a:cubicBezTo>
                    <a:pt x="96" y="190"/>
                    <a:pt x="96" y="190"/>
                    <a:pt x="96" y="190"/>
                  </a:cubicBezTo>
                  <a:cubicBezTo>
                    <a:pt x="94" y="201"/>
                    <a:pt x="92" y="212"/>
                    <a:pt x="91" y="216"/>
                  </a:cubicBezTo>
                  <a:cubicBezTo>
                    <a:pt x="92" y="218"/>
                    <a:pt x="92" y="220"/>
                    <a:pt x="90" y="222"/>
                  </a:cubicBezTo>
                  <a:cubicBezTo>
                    <a:pt x="88" y="223"/>
                    <a:pt x="88" y="223"/>
                    <a:pt x="88" y="223"/>
                  </a:cubicBezTo>
                  <a:cubicBezTo>
                    <a:pt x="87" y="222"/>
                    <a:pt x="87" y="222"/>
                    <a:pt x="87" y="222"/>
                  </a:cubicBezTo>
                  <a:cubicBezTo>
                    <a:pt x="85" y="222"/>
                    <a:pt x="84" y="221"/>
                    <a:pt x="82" y="221"/>
                  </a:cubicBezTo>
                  <a:cubicBezTo>
                    <a:pt x="81" y="221"/>
                    <a:pt x="78" y="221"/>
                    <a:pt x="78" y="218"/>
                  </a:cubicBezTo>
                  <a:cubicBezTo>
                    <a:pt x="77" y="218"/>
                    <a:pt x="77" y="218"/>
                    <a:pt x="77" y="218"/>
                  </a:cubicBezTo>
                  <a:cubicBezTo>
                    <a:pt x="77" y="218"/>
                    <a:pt x="77" y="217"/>
                    <a:pt x="76" y="217"/>
                  </a:cubicBezTo>
                  <a:cubicBezTo>
                    <a:pt x="76" y="217"/>
                    <a:pt x="75" y="217"/>
                    <a:pt x="75" y="218"/>
                  </a:cubicBezTo>
                  <a:cubicBezTo>
                    <a:pt x="74" y="218"/>
                    <a:pt x="74" y="218"/>
                    <a:pt x="73" y="219"/>
                  </a:cubicBezTo>
                  <a:cubicBezTo>
                    <a:pt x="72" y="219"/>
                    <a:pt x="72" y="219"/>
                    <a:pt x="71" y="220"/>
                  </a:cubicBezTo>
                  <a:cubicBezTo>
                    <a:pt x="71" y="220"/>
                    <a:pt x="71" y="220"/>
                    <a:pt x="71" y="220"/>
                  </a:cubicBezTo>
                  <a:cubicBezTo>
                    <a:pt x="70" y="221"/>
                    <a:pt x="69" y="222"/>
                    <a:pt x="67" y="223"/>
                  </a:cubicBezTo>
                  <a:cubicBezTo>
                    <a:pt x="66" y="224"/>
                    <a:pt x="65" y="224"/>
                    <a:pt x="64" y="224"/>
                  </a:cubicBezTo>
                  <a:cubicBezTo>
                    <a:pt x="63" y="224"/>
                    <a:pt x="62" y="224"/>
                    <a:pt x="61" y="224"/>
                  </a:cubicBezTo>
                  <a:cubicBezTo>
                    <a:pt x="60" y="224"/>
                    <a:pt x="60" y="224"/>
                    <a:pt x="60" y="224"/>
                  </a:cubicBezTo>
                  <a:cubicBezTo>
                    <a:pt x="58" y="224"/>
                    <a:pt x="56" y="224"/>
                    <a:pt x="54" y="225"/>
                  </a:cubicBezTo>
                  <a:cubicBezTo>
                    <a:pt x="53" y="225"/>
                    <a:pt x="53" y="225"/>
                    <a:pt x="53" y="225"/>
                  </a:cubicBezTo>
                  <a:cubicBezTo>
                    <a:pt x="52" y="226"/>
                    <a:pt x="51" y="226"/>
                    <a:pt x="50" y="226"/>
                  </a:cubicBezTo>
                  <a:cubicBezTo>
                    <a:pt x="50" y="226"/>
                    <a:pt x="50" y="226"/>
                    <a:pt x="50" y="226"/>
                  </a:cubicBezTo>
                  <a:cubicBezTo>
                    <a:pt x="46" y="227"/>
                    <a:pt x="42" y="228"/>
                    <a:pt x="38" y="231"/>
                  </a:cubicBezTo>
                  <a:cubicBezTo>
                    <a:pt x="36" y="232"/>
                    <a:pt x="35" y="233"/>
                    <a:pt x="33" y="234"/>
                  </a:cubicBezTo>
                  <a:cubicBezTo>
                    <a:pt x="33" y="234"/>
                    <a:pt x="33" y="234"/>
                    <a:pt x="33" y="234"/>
                  </a:cubicBezTo>
                  <a:cubicBezTo>
                    <a:pt x="31" y="236"/>
                    <a:pt x="29" y="237"/>
                    <a:pt x="27" y="238"/>
                  </a:cubicBezTo>
                  <a:cubicBezTo>
                    <a:pt x="24" y="240"/>
                    <a:pt x="24" y="240"/>
                    <a:pt x="24" y="240"/>
                  </a:cubicBezTo>
                  <a:cubicBezTo>
                    <a:pt x="24" y="240"/>
                    <a:pt x="24" y="240"/>
                    <a:pt x="24" y="240"/>
                  </a:cubicBezTo>
                  <a:cubicBezTo>
                    <a:pt x="24" y="241"/>
                    <a:pt x="24" y="241"/>
                    <a:pt x="24" y="241"/>
                  </a:cubicBezTo>
                  <a:cubicBezTo>
                    <a:pt x="23" y="244"/>
                    <a:pt x="23" y="247"/>
                    <a:pt x="22" y="250"/>
                  </a:cubicBezTo>
                  <a:cubicBezTo>
                    <a:pt x="22" y="250"/>
                    <a:pt x="22" y="250"/>
                    <a:pt x="22" y="250"/>
                  </a:cubicBezTo>
                  <a:cubicBezTo>
                    <a:pt x="22" y="251"/>
                    <a:pt x="21" y="252"/>
                    <a:pt x="21" y="253"/>
                  </a:cubicBezTo>
                  <a:cubicBezTo>
                    <a:pt x="21" y="254"/>
                    <a:pt x="20" y="256"/>
                    <a:pt x="19" y="257"/>
                  </a:cubicBezTo>
                  <a:cubicBezTo>
                    <a:pt x="19" y="258"/>
                    <a:pt x="18" y="260"/>
                    <a:pt x="18" y="261"/>
                  </a:cubicBezTo>
                  <a:cubicBezTo>
                    <a:pt x="17" y="261"/>
                    <a:pt x="17" y="261"/>
                    <a:pt x="17" y="261"/>
                  </a:cubicBezTo>
                  <a:cubicBezTo>
                    <a:pt x="17" y="262"/>
                    <a:pt x="17" y="262"/>
                    <a:pt x="17" y="262"/>
                  </a:cubicBezTo>
                  <a:cubicBezTo>
                    <a:pt x="17" y="262"/>
                    <a:pt x="17" y="262"/>
                    <a:pt x="17" y="262"/>
                  </a:cubicBezTo>
                  <a:cubicBezTo>
                    <a:pt x="17" y="263"/>
                    <a:pt x="17" y="263"/>
                    <a:pt x="17" y="264"/>
                  </a:cubicBezTo>
                  <a:cubicBezTo>
                    <a:pt x="17" y="264"/>
                    <a:pt x="17" y="264"/>
                    <a:pt x="17" y="264"/>
                  </a:cubicBezTo>
                  <a:cubicBezTo>
                    <a:pt x="18" y="265"/>
                    <a:pt x="18" y="265"/>
                    <a:pt x="18" y="266"/>
                  </a:cubicBezTo>
                  <a:cubicBezTo>
                    <a:pt x="18" y="266"/>
                    <a:pt x="18" y="266"/>
                    <a:pt x="18" y="266"/>
                  </a:cubicBezTo>
                  <a:cubicBezTo>
                    <a:pt x="18" y="268"/>
                    <a:pt x="18" y="270"/>
                    <a:pt x="16" y="271"/>
                  </a:cubicBezTo>
                  <a:cubicBezTo>
                    <a:pt x="15" y="273"/>
                    <a:pt x="14" y="274"/>
                    <a:pt x="12" y="275"/>
                  </a:cubicBezTo>
                  <a:cubicBezTo>
                    <a:pt x="11" y="275"/>
                    <a:pt x="10" y="275"/>
                    <a:pt x="10" y="276"/>
                  </a:cubicBezTo>
                  <a:cubicBezTo>
                    <a:pt x="7" y="278"/>
                    <a:pt x="5" y="279"/>
                    <a:pt x="3" y="282"/>
                  </a:cubicBezTo>
                  <a:cubicBezTo>
                    <a:pt x="3" y="284"/>
                    <a:pt x="3" y="284"/>
                    <a:pt x="3" y="286"/>
                  </a:cubicBezTo>
                  <a:cubicBezTo>
                    <a:pt x="4" y="286"/>
                    <a:pt x="5" y="288"/>
                    <a:pt x="4" y="291"/>
                  </a:cubicBezTo>
                  <a:cubicBezTo>
                    <a:pt x="4" y="292"/>
                    <a:pt x="4" y="292"/>
                    <a:pt x="4" y="292"/>
                  </a:cubicBezTo>
                  <a:cubicBezTo>
                    <a:pt x="3" y="292"/>
                    <a:pt x="3" y="292"/>
                    <a:pt x="3" y="292"/>
                  </a:cubicBezTo>
                  <a:cubicBezTo>
                    <a:pt x="2" y="293"/>
                    <a:pt x="1" y="293"/>
                    <a:pt x="0" y="294"/>
                  </a:cubicBezTo>
                  <a:cubicBezTo>
                    <a:pt x="2" y="296"/>
                    <a:pt x="4" y="297"/>
                    <a:pt x="5" y="300"/>
                  </a:cubicBezTo>
                  <a:cubicBezTo>
                    <a:pt x="6" y="302"/>
                    <a:pt x="6" y="304"/>
                    <a:pt x="7" y="305"/>
                  </a:cubicBezTo>
                  <a:cubicBezTo>
                    <a:pt x="7" y="307"/>
                    <a:pt x="7" y="309"/>
                    <a:pt x="8" y="310"/>
                  </a:cubicBezTo>
                  <a:cubicBezTo>
                    <a:pt x="10" y="314"/>
                    <a:pt x="13" y="318"/>
                    <a:pt x="16" y="321"/>
                  </a:cubicBezTo>
                  <a:cubicBezTo>
                    <a:pt x="17" y="322"/>
                    <a:pt x="17" y="322"/>
                    <a:pt x="17" y="322"/>
                  </a:cubicBezTo>
                  <a:cubicBezTo>
                    <a:pt x="18" y="322"/>
                    <a:pt x="18" y="323"/>
                    <a:pt x="18" y="323"/>
                  </a:cubicBezTo>
                  <a:cubicBezTo>
                    <a:pt x="20" y="325"/>
                    <a:pt x="22" y="327"/>
                    <a:pt x="22" y="329"/>
                  </a:cubicBezTo>
                  <a:cubicBezTo>
                    <a:pt x="22" y="332"/>
                    <a:pt x="21" y="334"/>
                    <a:pt x="20" y="336"/>
                  </a:cubicBezTo>
                  <a:cubicBezTo>
                    <a:pt x="27" y="336"/>
                    <a:pt x="36" y="337"/>
                    <a:pt x="38" y="343"/>
                  </a:cubicBezTo>
                  <a:cubicBezTo>
                    <a:pt x="38" y="343"/>
                    <a:pt x="38" y="344"/>
                    <a:pt x="38" y="344"/>
                  </a:cubicBezTo>
                  <a:cubicBezTo>
                    <a:pt x="38" y="344"/>
                    <a:pt x="38" y="344"/>
                    <a:pt x="38" y="344"/>
                  </a:cubicBezTo>
                  <a:cubicBezTo>
                    <a:pt x="39" y="345"/>
                    <a:pt x="39" y="345"/>
                    <a:pt x="39" y="346"/>
                  </a:cubicBezTo>
                  <a:cubicBezTo>
                    <a:pt x="40" y="347"/>
                    <a:pt x="40" y="348"/>
                    <a:pt x="41" y="349"/>
                  </a:cubicBezTo>
                  <a:cubicBezTo>
                    <a:pt x="41" y="349"/>
                    <a:pt x="42" y="349"/>
                    <a:pt x="43" y="349"/>
                  </a:cubicBezTo>
                  <a:cubicBezTo>
                    <a:pt x="45" y="350"/>
                    <a:pt x="45" y="350"/>
                    <a:pt x="45" y="350"/>
                  </a:cubicBezTo>
                  <a:cubicBezTo>
                    <a:pt x="46" y="350"/>
                    <a:pt x="48" y="350"/>
                    <a:pt x="49" y="350"/>
                  </a:cubicBezTo>
                  <a:cubicBezTo>
                    <a:pt x="50" y="350"/>
                    <a:pt x="50" y="350"/>
                    <a:pt x="51" y="350"/>
                  </a:cubicBezTo>
                  <a:cubicBezTo>
                    <a:pt x="54" y="350"/>
                    <a:pt x="56" y="349"/>
                    <a:pt x="57" y="349"/>
                  </a:cubicBezTo>
                  <a:cubicBezTo>
                    <a:pt x="58" y="349"/>
                    <a:pt x="58" y="348"/>
                    <a:pt x="58" y="348"/>
                  </a:cubicBezTo>
                  <a:cubicBezTo>
                    <a:pt x="59" y="348"/>
                    <a:pt x="59" y="348"/>
                    <a:pt x="59" y="347"/>
                  </a:cubicBezTo>
                  <a:cubicBezTo>
                    <a:pt x="60" y="347"/>
                    <a:pt x="60" y="347"/>
                    <a:pt x="61" y="346"/>
                  </a:cubicBezTo>
                  <a:cubicBezTo>
                    <a:pt x="61" y="346"/>
                    <a:pt x="61" y="346"/>
                    <a:pt x="61" y="346"/>
                  </a:cubicBezTo>
                  <a:cubicBezTo>
                    <a:pt x="62" y="346"/>
                    <a:pt x="62" y="346"/>
                    <a:pt x="63" y="345"/>
                  </a:cubicBezTo>
                  <a:cubicBezTo>
                    <a:pt x="64" y="344"/>
                    <a:pt x="64" y="344"/>
                    <a:pt x="64" y="344"/>
                  </a:cubicBezTo>
                  <a:cubicBezTo>
                    <a:pt x="65" y="343"/>
                    <a:pt x="65" y="343"/>
                    <a:pt x="65" y="343"/>
                  </a:cubicBezTo>
                  <a:cubicBezTo>
                    <a:pt x="68" y="340"/>
                    <a:pt x="72" y="338"/>
                    <a:pt x="74" y="336"/>
                  </a:cubicBezTo>
                  <a:cubicBezTo>
                    <a:pt x="82" y="332"/>
                    <a:pt x="82" y="332"/>
                    <a:pt x="82" y="332"/>
                  </a:cubicBezTo>
                  <a:cubicBezTo>
                    <a:pt x="78" y="340"/>
                    <a:pt x="78" y="340"/>
                    <a:pt x="78" y="340"/>
                  </a:cubicBezTo>
                  <a:cubicBezTo>
                    <a:pt x="78" y="341"/>
                    <a:pt x="78" y="342"/>
                    <a:pt x="77" y="342"/>
                  </a:cubicBezTo>
                  <a:cubicBezTo>
                    <a:pt x="78" y="343"/>
                    <a:pt x="78" y="343"/>
                    <a:pt x="78" y="344"/>
                  </a:cubicBezTo>
                  <a:cubicBezTo>
                    <a:pt x="78" y="345"/>
                    <a:pt x="78" y="347"/>
                    <a:pt x="77" y="348"/>
                  </a:cubicBezTo>
                  <a:cubicBezTo>
                    <a:pt x="75" y="353"/>
                    <a:pt x="75" y="360"/>
                    <a:pt x="76" y="367"/>
                  </a:cubicBezTo>
                  <a:cubicBezTo>
                    <a:pt x="76" y="369"/>
                    <a:pt x="76" y="371"/>
                    <a:pt x="76" y="372"/>
                  </a:cubicBezTo>
                  <a:cubicBezTo>
                    <a:pt x="77" y="372"/>
                    <a:pt x="78" y="373"/>
                    <a:pt x="79" y="373"/>
                  </a:cubicBezTo>
                  <a:cubicBezTo>
                    <a:pt x="80" y="374"/>
                    <a:pt x="81" y="374"/>
                    <a:pt x="81" y="374"/>
                  </a:cubicBezTo>
                  <a:cubicBezTo>
                    <a:pt x="82" y="374"/>
                    <a:pt x="83" y="373"/>
                    <a:pt x="85" y="373"/>
                  </a:cubicBezTo>
                  <a:cubicBezTo>
                    <a:pt x="86" y="372"/>
                    <a:pt x="86" y="372"/>
                    <a:pt x="86" y="372"/>
                  </a:cubicBezTo>
                  <a:cubicBezTo>
                    <a:pt x="88" y="371"/>
                    <a:pt x="89" y="371"/>
                    <a:pt x="90" y="371"/>
                  </a:cubicBezTo>
                  <a:cubicBezTo>
                    <a:pt x="90" y="371"/>
                    <a:pt x="91" y="371"/>
                    <a:pt x="91" y="371"/>
                  </a:cubicBezTo>
                  <a:cubicBezTo>
                    <a:pt x="91" y="371"/>
                    <a:pt x="92" y="371"/>
                    <a:pt x="92" y="371"/>
                  </a:cubicBezTo>
                  <a:cubicBezTo>
                    <a:pt x="92" y="371"/>
                    <a:pt x="92" y="371"/>
                    <a:pt x="92" y="371"/>
                  </a:cubicBezTo>
                  <a:cubicBezTo>
                    <a:pt x="93" y="371"/>
                    <a:pt x="93" y="371"/>
                    <a:pt x="93" y="371"/>
                  </a:cubicBezTo>
                  <a:cubicBezTo>
                    <a:pt x="90" y="368"/>
                    <a:pt x="90" y="368"/>
                    <a:pt x="90" y="368"/>
                  </a:cubicBezTo>
                  <a:cubicBezTo>
                    <a:pt x="99" y="372"/>
                    <a:pt x="99" y="372"/>
                    <a:pt x="99" y="372"/>
                  </a:cubicBezTo>
                  <a:cubicBezTo>
                    <a:pt x="105" y="373"/>
                    <a:pt x="105" y="373"/>
                    <a:pt x="105" y="373"/>
                  </a:cubicBezTo>
                  <a:cubicBezTo>
                    <a:pt x="106" y="373"/>
                    <a:pt x="107" y="373"/>
                    <a:pt x="108" y="374"/>
                  </a:cubicBezTo>
                  <a:cubicBezTo>
                    <a:pt x="108" y="375"/>
                    <a:pt x="108" y="375"/>
                    <a:pt x="108" y="375"/>
                  </a:cubicBezTo>
                  <a:cubicBezTo>
                    <a:pt x="108" y="375"/>
                    <a:pt x="108" y="375"/>
                    <a:pt x="108" y="375"/>
                  </a:cubicBezTo>
                  <a:cubicBezTo>
                    <a:pt x="108" y="374"/>
                    <a:pt x="108" y="374"/>
                    <a:pt x="108" y="374"/>
                  </a:cubicBezTo>
                  <a:cubicBezTo>
                    <a:pt x="109" y="374"/>
                    <a:pt x="110" y="374"/>
                    <a:pt x="111" y="374"/>
                  </a:cubicBezTo>
                  <a:cubicBezTo>
                    <a:pt x="112" y="374"/>
                    <a:pt x="112" y="374"/>
                    <a:pt x="112" y="374"/>
                  </a:cubicBezTo>
                  <a:cubicBezTo>
                    <a:pt x="112" y="374"/>
                    <a:pt x="113" y="375"/>
                    <a:pt x="114" y="375"/>
                  </a:cubicBezTo>
                  <a:cubicBezTo>
                    <a:pt x="114" y="375"/>
                    <a:pt x="115" y="375"/>
                    <a:pt x="115" y="375"/>
                  </a:cubicBezTo>
                  <a:cubicBezTo>
                    <a:pt x="116" y="375"/>
                    <a:pt x="116" y="375"/>
                    <a:pt x="117" y="375"/>
                  </a:cubicBezTo>
                  <a:cubicBezTo>
                    <a:pt x="118" y="375"/>
                    <a:pt x="118" y="375"/>
                    <a:pt x="118" y="375"/>
                  </a:cubicBezTo>
                  <a:cubicBezTo>
                    <a:pt x="119" y="375"/>
                    <a:pt x="120" y="375"/>
                    <a:pt x="122" y="374"/>
                  </a:cubicBezTo>
                  <a:cubicBezTo>
                    <a:pt x="122" y="374"/>
                    <a:pt x="122" y="374"/>
                    <a:pt x="122" y="374"/>
                  </a:cubicBezTo>
                  <a:cubicBezTo>
                    <a:pt x="123" y="374"/>
                    <a:pt x="124" y="374"/>
                    <a:pt x="125" y="373"/>
                  </a:cubicBezTo>
                  <a:cubicBezTo>
                    <a:pt x="126" y="373"/>
                    <a:pt x="126" y="372"/>
                    <a:pt x="127" y="372"/>
                  </a:cubicBezTo>
                  <a:cubicBezTo>
                    <a:pt x="128" y="370"/>
                    <a:pt x="129" y="369"/>
                    <a:pt x="132" y="368"/>
                  </a:cubicBezTo>
                  <a:cubicBezTo>
                    <a:pt x="133" y="368"/>
                    <a:pt x="133" y="368"/>
                    <a:pt x="134" y="367"/>
                  </a:cubicBezTo>
                  <a:cubicBezTo>
                    <a:pt x="135" y="367"/>
                    <a:pt x="135" y="367"/>
                    <a:pt x="135" y="367"/>
                  </a:cubicBezTo>
                  <a:cubicBezTo>
                    <a:pt x="137" y="367"/>
                    <a:pt x="138" y="367"/>
                    <a:pt x="139" y="366"/>
                  </a:cubicBezTo>
                  <a:cubicBezTo>
                    <a:pt x="139" y="366"/>
                    <a:pt x="139" y="366"/>
                    <a:pt x="140" y="365"/>
                  </a:cubicBezTo>
                  <a:cubicBezTo>
                    <a:pt x="140" y="364"/>
                    <a:pt x="140" y="364"/>
                    <a:pt x="140" y="364"/>
                  </a:cubicBezTo>
                  <a:cubicBezTo>
                    <a:pt x="141" y="363"/>
                    <a:pt x="142" y="362"/>
                    <a:pt x="143" y="362"/>
                  </a:cubicBezTo>
                  <a:cubicBezTo>
                    <a:pt x="145" y="361"/>
                    <a:pt x="147" y="360"/>
                    <a:pt x="148" y="359"/>
                  </a:cubicBezTo>
                  <a:cubicBezTo>
                    <a:pt x="150" y="358"/>
                    <a:pt x="151" y="358"/>
                    <a:pt x="152" y="357"/>
                  </a:cubicBezTo>
                  <a:cubicBezTo>
                    <a:pt x="154" y="356"/>
                    <a:pt x="156" y="354"/>
                    <a:pt x="158" y="353"/>
                  </a:cubicBezTo>
                  <a:cubicBezTo>
                    <a:pt x="158" y="353"/>
                    <a:pt x="158" y="353"/>
                    <a:pt x="158" y="353"/>
                  </a:cubicBezTo>
                  <a:cubicBezTo>
                    <a:pt x="159" y="352"/>
                    <a:pt x="160" y="351"/>
                    <a:pt x="161" y="350"/>
                  </a:cubicBezTo>
                  <a:cubicBezTo>
                    <a:pt x="163" y="348"/>
                    <a:pt x="166" y="347"/>
                    <a:pt x="168" y="347"/>
                  </a:cubicBezTo>
                  <a:cubicBezTo>
                    <a:pt x="171" y="346"/>
                    <a:pt x="171" y="346"/>
                    <a:pt x="171" y="346"/>
                  </a:cubicBezTo>
                  <a:cubicBezTo>
                    <a:pt x="181" y="344"/>
                    <a:pt x="181" y="344"/>
                    <a:pt x="181" y="344"/>
                  </a:cubicBezTo>
                  <a:cubicBezTo>
                    <a:pt x="182" y="344"/>
                    <a:pt x="182" y="344"/>
                    <a:pt x="183" y="344"/>
                  </a:cubicBezTo>
                  <a:cubicBezTo>
                    <a:pt x="183" y="344"/>
                    <a:pt x="183" y="344"/>
                    <a:pt x="183" y="344"/>
                  </a:cubicBezTo>
                  <a:cubicBezTo>
                    <a:pt x="183" y="343"/>
                    <a:pt x="184" y="343"/>
                    <a:pt x="184" y="343"/>
                  </a:cubicBezTo>
                  <a:cubicBezTo>
                    <a:pt x="184" y="343"/>
                    <a:pt x="185" y="344"/>
                    <a:pt x="185" y="344"/>
                  </a:cubicBezTo>
                  <a:cubicBezTo>
                    <a:pt x="186" y="344"/>
                    <a:pt x="186" y="344"/>
                    <a:pt x="186" y="344"/>
                  </a:cubicBezTo>
                  <a:cubicBezTo>
                    <a:pt x="186" y="344"/>
                    <a:pt x="187" y="344"/>
                    <a:pt x="187" y="344"/>
                  </a:cubicBezTo>
                  <a:cubicBezTo>
                    <a:pt x="188" y="344"/>
                    <a:pt x="189" y="345"/>
                    <a:pt x="189" y="345"/>
                  </a:cubicBezTo>
                  <a:cubicBezTo>
                    <a:pt x="190" y="345"/>
                    <a:pt x="190" y="345"/>
                    <a:pt x="190" y="345"/>
                  </a:cubicBezTo>
                  <a:cubicBezTo>
                    <a:pt x="190" y="345"/>
                    <a:pt x="190" y="345"/>
                    <a:pt x="190" y="345"/>
                  </a:cubicBezTo>
                  <a:cubicBezTo>
                    <a:pt x="190" y="344"/>
                    <a:pt x="190" y="344"/>
                    <a:pt x="190" y="344"/>
                  </a:cubicBezTo>
                  <a:cubicBezTo>
                    <a:pt x="190" y="344"/>
                    <a:pt x="191" y="343"/>
                    <a:pt x="191" y="343"/>
                  </a:cubicBezTo>
                  <a:cubicBezTo>
                    <a:pt x="193" y="342"/>
                    <a:pt x="193" y="342"/>
                    <a:pt x="193" y="342"/>
                  </a:cubicBezTo>
                  <a:cubicBezTo>
                    <a:pt x="194" y="342"/>
                    <a:pt x="194" y="342"/>
                    <a:pt x="194" y="342"/>
                  </a:cubicBezTo>
                  <a:cubicBezTo>
                    <a:pt x="194" y="342"/>
                    <a:pt x="194" y="342"/>
                    <a:pt x="194" y="342"/>
                  </a:cubicBezTo>
                  <a:cubicBezTo>
                    <a:pt x="194" y="342"/>
                    <a:pt x="195" y="342"/>
                    <a:pt x="195" y="342"/>
                  </a:cubicBezTo>
                  <a:cubicBezTo>
                    <a:pt x="195" y="342"/>
                    <a:pt x="195" y="342"/>
                    <a:pt x="196" y="343"/>
                  </a:cubicBezTo>
                  <a:cubicBezTo>
                    <a:pt x="197" y="343"/>
                    <a:pt x="197" y="343"/>
                    <a:pt x="197" y="343"/>
                  </a:cubicBezTo>
                  <a:cubicBezTo>
                    <a:pt x="197" y="344"/>
                    <a:pt x="197" y="344"/>
                    <a:pt x="197" y="344"/>
                  </a:cubicBezTo>
                  <a:cubicBezTo>
                    <a:pt x="197" y="344"/>
                    <a:pt x="197" y="344"/>
                    <a:pt x="197" y="344"/>
                  </a:cubicBezTo>
                  <a:cubicBezTo>
                    <a:pt x="198" y="344"/>
                    <a:pt x="198" y="344"/>
                    <a:pt x="198" y="344"/>
                  </a:cubicBezTo>
                  <a:cubicBezTo>
                    <a:pt x="198" y="345"/>
                    <a:pt x="199" y="345"/>
                    <a:pt x="199" y="346"/>
                  </a:cubicBezTo>
                  <a:cubicBezTo>
                    <a:pt x="199" y="348"/>
                    <a:pt x="199" y="350"/>
                    <a:pt x="199" y="353"/>
                  </a:cubicBezTo>
                  <a:cubicBezTo>
                    <a:pt x="198" y="356"/>
                    <a:pt x="198" y="356"/>
                    <a:pt x="198" y="356"/>
                  </a:cubicBezTo>
                  <a:cubicBezTo>
                    <a:pt x="198" y="357"/>
                    <a:pt x="198" y="358"/>
                    <a:pt x="198" y="360"/>
                  </a:cubicBezTo>
                  <a:cubicBezTo>
                    <a:pt x="198" y="361"/>
                    <a:pt x="198" y="361"/>
                    <a:pt x="197" y="361"/>
                  </a:cubicBezTo>
                  <a:cubicBezTo>
                    <a:pt x="197" y="362"/>
                    <a:pt x="197" y="362"/>
                    <a:pt x="197" y="362"/>
                  </a:cubicBezTo>
                  <a:cubicBezTo>
                    <a:pt x="197" y="364"/>
                    <a:pt x="197" y="367"/>
                    <a:pt x="197" y="369"/>
                  </a:cubicBezTo>
                  <a:cubicBezTo>
                    <a:pt x="197" y="370"/>
                    <a:pt x="197" y="370"/>
                    <a:pt x="197" y="370"/>
                  </a:cubicBezTo>
                  <a:cubicBezTo>
                    <a:pt x="197" y="370"/>
                    <a:pt x="197" y="370"/>
                    <a:pt x="197" y="371"/>
                  </a:cubicBezTo>
                  <a:cubicBezTo>
                    <a:pt x="197" y="371"/>
                    <a:pt x="197" y="371"/>
                    <a:pt x="197" y="371"/>
                  </a:cubicBezTo>
                  <a:cubicBezTo>
                    <a:pt x="198" y="372"/>
                    <a:pt x="198" y="372"/>
                    <a:pt x="198" y="373"/>
                  </a:cubicBezTo>
                  <a:cubicBezTo>
                    <a:pt x="198" y="375"/>
                    <a:pt x="199" y="377"/>
                    <a:pt x="198" y="378"/>
                  </a:cubicBezTo>
                  <a:cubicBezTo>
                    <a:pt x="198" y="379"/>
                    <a:pt x="198" y="380"/>
                    <a:pt x="197" y="380"/>
                  </a:cubicBezTo>
                  <a:cubicBezTo>
                    <a:pt x="197" y="380"/>
                    <a:pt x="197" y="380"/>
                    <a:pt x="197" y="380"/>
                  </a:cubicBezTo>
                  <a:cubicBezTo>
                    <a:pt x="198" y="381"/>
                    <a:pt x="198" y="381"/>
                    <a:pt x="198" y="381"/>
                  </a:cubicBezTo>
                  <a:cubicBezTo>
                    <a:pt x="198" y="381"/>
                    <a:pt x="198" y="381"/>
                    <a:pt x="198" y="381"/>
                  </a:cubicBezTo>
                  <a:cubicBezTo>
                    <a:pt x="198" y="381"/>
                    <a:pt x="198" y="382"/>
                    <a:pt x="198" y="382"/>
                  </a:cubicBezTo>
                  <a:cubicBezTo>
                    <a:pt x="199" y="384"/>
                    <a:pt x="200" y="386"/>
                    <a:pt x="201" y="387"/>
                  </a:cubicBezTo>
                  <a:cubicBezTo>
                    <a:pt x="202" y="389"/>
                    <a:pt x="202" y="389"/>
                    <a:pt x="202" y="389"/>
                  </a:cubicBezTo>
                  <a:cubicBezTo>
                    <a:pt x="203" y="391"/>
                    <a:pt x="204" y="393"/>
                    <a:pt x="206" y="394"/>
                  </a:cubicBezTo>
                  <a:cubicBezTo>
                    <a:pt x="215" y="402"/>
                    <a:pt x="215" y="402"/>
                    <a:pt x="215" y="402"/>
                  </a:cubicBezTo>
                  <a:cubicBezTo>
                    <a:pt x="215" y="403"/>
                    <a:pt x="216" y="403"/>
                    <a:pt x="217" y="404"/>
                  </a:cubicBezTo>
                  <a:cubicBezTo>
                    <a:pt x="218" y="406"/>
                    <a:pt x="220" y="408"/>
                    <a:pt x="222" y="408"/>
                  </a:cubicBezTo>
                  <a:cubicBezTo>
                    <a:pt x="222" y="408"/>
                    <a:pt x="223" y="408"/>
                    <a:pt x="224" y="408"/>
                  </a:cubicBezTo>
                  <a:cubicBezTo>
                    <a:pt x="224" y="409"/>
                    <a:pt x="224" y="409"/>
                    <a:pt x="224" y="409"/>
                  </a:cubicBezTo>
                  <a:cubicBezTo>
                    <a:pt x="225" y="409"/>
                    <a:pt x="226" y="409"/>
                    <a:pt x="226" y="409"/>
                  </a:cubicBezTo>
                  <a:cubicBezTo>
                    <a:pt x="227" y="409"/>
                    <a:pt x="228" y="409"/>
                    <a:pt x="229" y="408"/>
                  </a:cubicBezTo>
                  <a:cubicBezTo>
                    <a:pt x="230" y="408"/>
                    <a:pt x="230" y="408"/>
                    <a:pt x="230" y="408"/>
                  </a:cubicBezTo>
                  <a:cubicBezTo>
                    <a:pt x="231" y="407"/>
                    <a:pt x="232" y="407"/>
                    <a:pt x="232" y="407"/>
                  </a:cubicBezTo>
                  <a:cubicBezTo>
                    <a:pt x="233" y="408"/>
                    <a:pt x="233" y="408"/>
                    <a:pt x="233" y="408"/>
                  </a:cubicBezTo>
                  <a:cubicBezTo>
                    <a:pt x="233" y="407"/>
                    <a:pt x="233" y="407"/>
                    <a:pt x="233" y="407"/>
                  </a:cubicBezTo>
                  <a:cubicBezTo>
                    <a:pt x="233" y="407"/>
                    <a:pt x="233" y="407"/>
                    <a:pt x="233" y="407"/>
                  </a:cubicBezTo>
                  <a:cubicBezTo>
                    <a:pt x="233" y="407"/>
                    <a:pt x="234" y="407"/>
                    <a:pt x="235" y="408"/>
                  </a:cubicBezTo>
                  <a:cubicBezTo>
                    <a:pt x="235" y="408"/>
                    <a:pt x="235" y="408"/>
                    <a:pt x="235" y="408"/>
                  </a:cubicBezTo>
                  <a:cubicBezTo>
                    <a:pt x="236" y="408"/>
                    <a:pt x="236" y="408"/>
                    <a:pt x="236" y="408"/>
                  </a:cubicBezTo>
                  <a:cubicBezTo>
                    <a:pt x="237" y="408"/>
                    <a:pt x="237" y="408"/>
                    <a:pt x="237" y="408"/>
                  </a:cubicBezTo>
                  <a:cubicBezTo>
                    <a:pt x="237" y="408"/>
                    <a:pt x="238" y="408"/>
                    <a:pt x="239" y="409"/>
                  </a:cubicBezTo>
                  <a:cubicBezTo>
                    <a:pt x="241" y="409"/>
                    <a:pt x="242" y="410"/>
                    <a:pt x="244" y="411"/>
                  </a:cubicBezTo>
                  <a:cubicBezTo>
                    <a:pt x="244" y="411"/>
                    <a:pt x="244" y="411"/>
                    <a:pt x="244" y="411"/>
                  </a:cubicBezTo>
                  <a:cubicBezTo>
                    <a:pt x="245" y="411"/>
                    <a:pt x="245" y="411"/>
                    <a:pt x="245" y="411"/>
                  </a:cubicBezTo>
                  <a:cubicBezTo>
                    <a:pt x="247" y="411"/>
                    <a:pt x="248" y="411"/>
                    <a:pt x="249" y="412"/>
                  </a:cubicBezTo>
                  <a:cubicBezTo>
                    <a:pt x="250" y="413"/>
                    <a:pt x="251" y="414"/>
                    <a:pt x="252" y="415"/>
                  </a:cubicBezTo>
                  <a:cubicBezTo>
                    <a:pt x="252" y="416"/>
                    <a:pt x="252" y="416"/>
                    <a:pt x="252" y="416"/>
                  </a:cubicBezTo>
                  <a:cubicBezTo>
                    <a:pt x="253" y="417"/>
                    <a:pt x="253" y="417"/>
                    <a:pt x="253" y="417"/>
                  </a:cubicBezTo>
                  <a:cubicBezTo>
                    <a:pt x="253" y="417"/>
                    <a:pt x="254" y="418"/>
                    <a:pt x="254" y="418"/>
                  </a:cubicBezTo>
                  <a:cubicBezTo>
                    <a:pt x="255" y="418"/>
                    <a:pt x="255" y="418"/>
                    <a:pt x="255" y="418"/>
                  </a:cubicBezTo>
                  <a:cubicBezTo>
                    <a:pt x="255" y="419"/>
                    <a:pt x="256" y="419"/>
                    <a:pt x="256" y="420"/>
                  </a:cubicBezTo>
                  <a:cubicBezTo>
                    <a:pt x="258" y="421"/>
                    <a:pt x="260" y="421"/>
                    <a:pt x="263" y="421"/>
                  </a:cubicBezTo>
                  <a:cubicBezTo>
                    <a:pt x="263" y="421"/>
                    <a:pt x="263" y="421"/>
                    <a:pt x="263" y="421"/>
                  </a:cubicBezTo>
                  <a:cubicBezTo>
                    <a:pt x="265" y="422"/>
                    <a:pt x="267" y="422"/>
                    <a:pt x="269" y="423"/>
                  </a:cubicBezTo>
                  <a:cubicBezTo>
                    <a:pt x="272" y="424"/>
                    <a:pt x="273" y="425"/>
                    <a:pt x="274" y="427"/>
                  </a:cubicBezTo>
                  <a:cubicBezTo>
                    <a:pt x="275" y="428"/>
                    <a:pt x="275" y="429"/>
                    <a:pt x="276" y="429"/>
                  </a:cubicBezTo>
                  <a:cubicBezTo>
                    <a:pt x="277" y="430"/>
                    <a:pt x="277" y="431"/>
                    <a:pt x="278" y="431"/>
                  </a:cubicBezTo>
                  <a:cubicBezTo>
                    <a:pt x="278" y="432"/>
                    <a:pt x="278" y="432"/>
                    <a:pt x="278" y="432"/>
                  </a:cubicBezTo>
                  <a:cubicBezTo>
                    <a:pt x="279" y="432"/>
                    <a:pt x="279" y="432"/>
                    <a:pt x="279" y="432"/>
                  </a:cubicBezTo>
                  <a:cubicBezTo>
                    <a:pt x="279" y="432"/>
                    <a:pt x="279" y="432"/>
                    <a:pt x="279" y="432"/>
                  </a:cubicBezTo>
                  <a:cubicBezTo>
                    <a:pt x="280" y="432"/>
                    <a:pt x="280" y="432"/>
                    <a:pt x="280" y="432"/>
                  </a:cubicBezTo>
                  <a:cubicBezTo>
                    <a:pt x="281" y="432"/>
                    <a:pt x="281" y="432"/>
                    <a:pt x="281" y="432"/>
                  </a:cubicBezTo>
                  <a:cubicBezTo>
                    <a:pt x="282" y="432"/>
                    <a:pt x="283" y="432"/>
                    <a:pt x="284" y="432"/>
                  </a:cubicBezTo>
                  <a:cubicBezTo>
                    <a:pt x="285" y="431"/>
                    <a:pt x="285" y="431"/>
                    <a:pt x="285" y="431"/>
                  </a:cubicBezTo>
                  <a:cubicBezTo>
                    <a:pt x="285" y="431"/>
                    <a:pt x="285" y="431"/>
                    <a:pt x="285" y="431"/>
                  </a:cubicBezTo>
                  <a:cubicBezTo>
                    <a:pt x="288" y="431"/>
                    <a:pt x="290" y="431"/>
                    <a:pt x="292" y="431"/>
                  </a:cubicBezTo>
                  <a:cubicBezTo>
                    <a:pt x="294" y="431"/>
                    <a:pt x="295" y="431"/>
                    <a:pt x="297" y="432"/>
                  </a:cubicBezTo>
                  <a:cubicBezTo>
                    <a:pt x="297" y="432"/>
                    <a:pt x="298" y="432"/>
                    <a:pt x="298" y="433"/>
                  </a:cubicBezTo>
                  <a:cubicBezTo>
                    <a:pt x="299" y="433"/>
                    <a:pt x="299" y="433"/>
                    <a:pt x="299" y="433"/>
                  </a:cubicBezTo>
                  <a:cubicBezTo>
                    <a:pt x="300" y="434"/>
                    <a:pt x="300" y="434"/>
                    <a:pt x="300" y="434"/>
                  </a:cubicBezTo>
                  <a:cubicBezTo>
                    <a:pt x="300" y="434"/>
                    <a:pt x="301" y="434"/>
                    <a:pt x="301" y="434"/>
                  </a:cubicBezTo>
                  <a:cubicBezTo>
                    <a:pt x="303" y="436"/>
                    <a:pt x="305" y="437"/>
                    <a:pt x="306" y="438"/>
                  </a:cubicBezTo>
                  <a:cubicBezTo>
                    <a:pt x="310" y="441"/>
                    <a:pt x="310" y="441"/>
                    <a:pt x="310" y="441"/>
                  </a:cubicBezTo>
                  <a:cubicBezTo>
                    <a:pt x="311" y="442"/>
                    <a:pt x="311" y="442"/>
                    <a:pt x="312" y="443"/>
                  </a:cubicBezTo>
                  <a:cubicBezTo>
                    <a:pt x="313" y="444"/>
                    <a:pt x="313" y="446"/>
                    <a:pt x="313" y="447"/>
                  </a:cubicBezTo>
                  <a:cubicBezTo>
                    <a:pt x="313" y="448"/>
                    <a:pt x="313" y="448"/>
                    <a:pt x="313" y="448"/>
                  </a:cubicBezTo>
                  <a:cubicBezTo>
                    <a:pt x="313" y="448"/>
                    <a:pt x="313" y="448"/>
                    <a:pt x="313" y="448"/>
                  </a:cubicBezTo>
                  <a:cubicBezTo>
                    <a:pt x="313" y="449"/>
                    <a:pt x="313" y="449"/>
                    <a:pt x="313" y="449"/>
                  </a:cubicBezTo>
                  <a:cubicBezTo>
                    <a:pt x="313" y="452"/>
                    <a:pt x="314" y="454"/>
                    <a:pt x="315" y="457"/>
                  </a:cubicBezTo>
                  <a:cubicBezTo>
                    <a:pt x="315" y="460"/>
                    <a:pt x="316" y="464"/>
                    <a:pt x="316" y="467"/>
                  </a:cubicBezTo>
                  <a:cubicBezTo>
                    <a:pt x="317" y="468"/>
                    <a:pt x="317" y="468"/>
                    <a:pt x="317" y="468"/>
                  </a:cubicBezTo>
                  <a:cubicBezTo>
                    <a:pt x="317" y="469"/>
                    <a:pt x="317" y="469"/>
                    <a:pt x="317" y="469"/>
                  </a:cubicBezTo>
                  <a:cubicBezTo>
                    <a:pt x="317" y="470"/>
                    <a:pt x="317" y="470"/>
                    <a:pt x="317" y="470"/>
                  </a:cubicBezTo>
                  <a:cubicBezTo>
                    <a:pt x="317" y="470"/>
                    <a:pt x="317" y="470"/>
                    <a:pt x="317" y="470"/>
                  </a:cubicBezTo>
                  <a:cubicBezTo>
                    <a:pt x="317" y="470"/>
                    <a:pt x="317" y="470"/>
                    <a:pt x="317" y="470"/>
                  </a:cubicBezTo>
                  <a:cubicBezTo>
                    <a:pt x="316" y="471"/>
                    <a:pt x="316" y="471"/>
                    <a:pt x="316" y="471"/>
                  </a:cubicBezTo>
                  <a:cubicBezTo>
                    <a:pt x="316" y="472"/>
                    <a:pt x="316" y="472"/>
                    <a:pt x="315" y="473"/>
                  </a:cubicBezTo>
                  <a:cubicBezTo>
                    <a:pt x="315" y="473"/>
                    <a:pt x="315" y="473"/>
                    <a:pt x="315" y="473"/>
                  </a:cubicBezTo>
                  <a:cubicBezTo>
                    <a:pt x="314" y="474"/>
                    <a:pt x="314" y="474"/>
                    <a:pt x="314" y="474"/>
                  </a:cubicBezTo>
                  <a:cubicBezTo>
                    <a:pt x="314" y="474"/>
                    <a:pt x="314" y="474"/>
                    <a:pt x="314" y="474"/>
                  </a:cubicBezTo>
                  <a:cubicBezTo>
                    <a:pt x="313" y="474"/>
                    <a:pt x="313" y="475"/>
                    <a:pt x="313" y="475"/>
                  </a:cubicBezTo>
                  <a:cubicBezTo>
                    <a:pt x="315" y="477"/>
                    <a:pt x="315" y="477"/>
                    <a:pt x="315" y="477"/>
                  </a:cubicBezTo>
                  <a:cubicBezTo>
                    <a:pt x="318" y="481"/>
                    <a:pt x="318" y="486"/>
                    <a:pt x="318" y="491"/>
                  </a:cubicBezTo>
                  <a:cubicBezTo>
                    <a:pt x="318" y="492"/>
                    <a:pt x="318" y="493"/>
                    <a:pt x="319" y="494"/>
                  </a:cubicBezTo>
                  <a:cubicBezTo>
                    <a:pt x="319" y="495"/>
                    <a:pt x="319" y="495"/>
                    <a:pt x="319" y="496"/>
                  </a:cubicBezTo>
                  <a:cubicBezTo>
                    <a:pt x="319" y="497"/>
                    <a:pt x="319" y="497"/>
                    <a:pt x="319" y="497"/>
                  </a:cubicBezTo>
                  <a:cubicBezTo>
                    <a:pt x="319" y="497"/>
                    <a:pt x="319" y="497"/>
                    <a:pt x="319" y="497"/>
                  </a:cubicBezTo>
                  <a:cubicBezTo>
                    <a:pt x="320" y="497"/>
                    <a:pt x="321" y="497"/>
                    <a:pt x="321" y="497"/>
                  </a:cubicBezTo>
                  <a:cubicBezTo>
                    <a:pt x="329" y="497"/>
                    <a:pt x="329" y="497"/>
                    <a:pt x="329" y="497"/>
                  </a:cubicBezTo>
                  <a:cubicBezTo>
                    <a:pt x="331" y="498"/>
                    <a:pt x="333" y="498"/>
                    <a:pt x="335" y="498"/>
                  </a:cubicBezTo>
                  <a:cubicBezTo>
                    <a:pt x="337" y="498"/>
                    <a:pt x="339" y="498"/>
                    <a:pt x="342" y="498"/>
                  </a:cubicBezTo>
                  <a:cubicBezTo>
                    <a:pt x="359" y="497"/>
                    <a:pt x="359" y="497"/>
                    <a:pt x="359" y="497"/>
                  </a:cubicBezTo>
                  <a:cubicBezTo>
                    <a:pt x="359" y="498"/>
                    <a:pt x="359" y="498"/>
                    <a:pt x="359" y="498"/>
                  </a:cubicBezTo>
                  <a:cubicBezTo>
                    <a:pt x="360" y="498"/>
                    <a:pt x="360" y="498"/>
                    <a:pt x="361" y="498"/>
                  </a:cubicBezTo>
                  <a:cubicBezTo>
                    <a:pt x="361" y="499"/>
                    <a:pt x="361" y="499"/>
                    <a:pt x="361" y="499"/>
                  </a:cubicBezTo>
                  <a:cubicBezTo>
                    <a:pt x="362" y="501"/>
                    <a:pt x="362" y="501"/>
                    <a:pt x="362" y="501"/>
                  </a:cubicBezTo>
                  <a:cubicBezTo>
                    <a:pt x="361" y="501"/>
                    <a:pt x="361" y="501"/>
                    <a:pt x="361" y="501"/>
                  </a:cubicBezTo>
                  <a:cubicBezTo>
                    <a:pt x="362" y="502"/>
                    <a:pt x="362" y="503"/>
                    <a:pt x="361" y="504"/>
                  </a:cubicBezTo>
                  <a:cubicBezTo>
                    <a:pt x="361" y="505"/>
                    <a:pt x="360" y="506"/>
                    <a:pt x="360" y="507"/>
                  </a:cubicBezTo>
                  <a:cubicBezTo>
                    <a:pt x="359" y="508"/>
                    <a:pt x="359" y="508"/>
                    <a:pt x="359" y="508"/>
                  </a:cubicBezTo>
                  <a:cubicBezTo>
                    <a:pt x="359" y="508"/>
                    <a:pt x="359" y="508"/>
                    <a:pt x="359" y="508"/>
                  </a:cubicBezTo>
                  <a:cubicBezTo>
                    <a:pt x="358" y="511"/>
                    <a:pt x="358" y="512"/>
                    <a:pt x="359" y="515"/>
                  </a:cubicBezTo>
                  <a:cubicBezTo>
                    <a:pt x="359" y="520"/>
                    <a:pt x="360" y="522"/>
                    <a:pt x="364" y="524"/>
                  </a:cubicBezTo>
                  <a:cubicBezTo>
                    <a:pt x="365" y="526"/>
                    <a:pt x="367" y="526"/>
                    <a:pt x="369" y="527"/>
                  </a:cubicBezTo>
                  <a:cubicBezTo>
                    <a:pt x="373" y="528"/>
                    <a:pt x="374" y="531"/>
                    <a:pt x="375" y="534"/>
                  </a:cubicBezTo>
                  <a:cubicBezTo>
                    <a:pt x="376" y="535"/>
                    <a:pt x="376" y="536"/>
                    <a:pt x="376" y="537"/>
                  </a:cubicBezTo>
                  <a:cubicBezTo>
                    <a:pt x="377" y="538"/>
                    <a:pt x="377" y="539"/>
                    <a:pt x="377" y="540"/>
                  </a:cubicBezTo>
                  <a:cubicBezTo>
                    <a:pt x="378" y="541"/>
                    <a:pt x="378" y="541"/>
                    <a:pt x="378" y="541"/>
                  </a:cubicBezTo>
                  <a:cubicBezTo>
                    <a:pt x="378" y="541"/>
                    <a:pt x="378" y="541"/>
                    <a:pt x="378" y="541"/>
                  </a:cubicBezTo>
                  <a:cubicBezTo>
                    <a:pt x="379" y="543"/>
                    <a:pt x="380" y="544"/>
                    <a:pt x="381" y="546"/>
                  </a:cubicBezTo>
                  <a:cubicBezTo>
                    <a:pt x="382" y="551"/>
                    <a:pt x="382" y="551"/>
                    <a:pt x="382" y="551"/>
                  </a:cubicBezTo>
                  <a:cubicBezTo>
                    <a:pt x="379" y="550"/>
                    <a:pt x="379" y="550"/>
                    <a:pt x="379" y="550"/>
                  </a:cubicBezTo>
                  <a:cubicBezTo>
                    <a:pt x="378" y="552"/>
                    <a:pt x="378" y="554"/>
                    <a:pt x="377" y="556"/>
                  </a:cubicBezTo>
                  <a:cubicBezTo>
                    <a:pt x="377" y="557"/>
                    <a:pt x="377" y="557"/>
                    <a:pt x="377" y="557"/>
                  </a:cubicBezTo>
                  <a:cubicBezTo>
                    <a:pt x="377" y="558"/>
                    <a:pt x="377" y="559"/>
                    <a:pt x="377" y="560"/>
                  </a:cubicBezTo>
                  <a:cubicBezTo>
                    <a:pt x="376" y="560"/>
                    <a:pt x="376" y="560"/>
                    <a:pt x="376" y="560"/>
                  </a:cubicBezTo>
                  <a:cubicBezTo>
                    <a:pt x="376" y="561"/>
                    <a:pt x="376" y="561"/>
                    <a:pt x="376" y="562"/>
                  </a:cubicBezTo>
                  <a:cubicBezTo>
                    <a:pt x="376" y="563"/>
                    <a:pt x="375" y="564"/>
                    <a:pt x="375" y="565"/>
                  </a:cubicBezTo>
                  <a:cubicBezTo>
                    <a:pt x="374" y="567"/>
                    <a:pt x="374" y="568"/>
                    <a:pt x="373" y="570"/>
                  </a:cubicBezTo>
                  <a:cubicBezTo>
                    <a:pt x="371" y="573"/>
                    <a:pt x="371" y="573"/>
                    <a:pt x="371" y="573"/>
                  </a:cubicBezTo>
                  <a:cubicBezTo>
                    <a:pt x="371" y="574"/>
                    <a:pt x="370" y="575"/>
                    <a:pt x="370" y="576"/>
                  </a:cubicBezTo>
                  <a:cubicBezTo>
                    <a:pt x="369" y="578"/>
                    <a:pt x="369" y="578"/>
                    <a:pt x="369" y="578"/>
                  </a:cubicBezTo>
                  <a:cubicBezTo>
                    <a:pt x="369" y="579"/>
                    <a:pt x="368" y="580"/>
                    <a:pt x="368" y="582"/>
                  </a:cubicBezTo>
                  <a:cubicBezTo>
                    <a:pt x="373" y="583"/>
                    <a:pt x="373" y="583"/>
                    <a:pt x="373" y="583"/>
                  </a:cubicBezTo>
                  <a:cubicBezTo>
                    <a:pt x="367" y="583"/>
                    <a:pt x="367" y="583"/>
                    <a:pt x="367" y="583"/>
                  </a:cubicBezTo>
                  <a:cubicBezTo>
                    <a:pt x="368" y="584"/>
                    <a:pt x="368" y="584"/>
                    <a:pt x="368" y="584"/>
                  </a:cubicBezTo>
                  <a:cubicBezTo>
                    <a:pt x="369" y="584"/>
                    <a:pt x="369" y="584"/>
                    <a:pt x="369" y="584"/>
                  </a:cubicBezTo>
                  <a:cubicBezTo>
                    <a:pt x="371" y="586"/>
                    <a:pt x="372" y="588"/>
                    <a:pt x="372" y="590"/>
                  </a:cubicBezTo>
                  <a:cubicBezTo>
                    <a:pt x="372" y="592"/>
                    <a:pt x="370" y="592"/>
                    <a:pt x="369" y="593"/>
                  </a:cubicBezTo>
                  <a:cubicBezTo>
                    <a:pt x="368" y="593"/>
                    <a:pt x="368" y="593"/>
                    <a:pt x="368" y="593"/>
                  </a:cubicBezTo>
                  <a:cubicBezTo>
                    <a:pt x="367" y="593"/>
                    <a:pt x="367" y="593"/>
                    <a:pt x="367" y="593"/>
                  </a:cubicBezTo>
                  <a:cubicBezTo>
                    <a:pt x="367" y="594"/>
                    <a:pt x="366" y="594"/>
                    <a:pt x="365" y="595"/>
                  </a:cubicBezTo>
                  <a:cubicBezTo>
                    <a:pt x="365" y="595"/>
                    <a:pt x="365" y="595"/>
                    <a:pt x="365" y="595"/>
                  </a:cubicBezTo>
                  <a:cubicBezTo>
                    <a:pt x="351" y="610"/>
                    <a:pt x="351" y="610"/>
                    <a:pt x="351" y="610"/>
                  </a:cubicBezTo>
                  <a:cubicBezTo>
                    <a:pt x="360" y="593"/>
                    <a:pt x="360" y="593"/>
                    <a:pt x="360" y="593"/>
                  </a:cubicBezTo>
                  <a:cubicBezTo>
                    <a:pt x="360" y="592"/>
                    <a:pt x="360" y="592"/>
                    <a:pt x="360" y="592"/>
                  </a:cubicBezTo>
                  <a:cubicBezTo>
                    <a:pt x="360" y="590"/>
                    <a:pt x="360" y="590"/>
                    <a:pt x="360" y="588"/>
                  </a:cubicBezTo>
                  <a:cubicBezTo>
                    <a:pt x="360" y="588"/>
                    <a:pt x="360" y="588"/>
                    <a:pt x="360" y="588"/>
                  </a:cubicBezTo>
                  <a:cubicBezTo>
                    <a:pt x="360" y="587"/>
                    <a:pt x="360" y="587"/>
                    <a:pt x="360" y="587"/>
                  </a:cubicBezTo>
                  <a:cubicBezTo>
                    <a:pt x="360" y="587"/>
                    <a:pt x="360" y="587"/>
                    <a:pt x="360" y="587"/>
                  </a:cubicBezTo>
                  <a:cubicBezTo>
                    <a:pt x="341" y="575"/>
                    <a:pt x="341" y="575"/>
                    <a:pt x="341" y="575"/>
                  </a:cubicBezTo>
                  <a:cubicBezTo>
                    <a:pt x="340" y="575"/>
                    <a:pt x="338" y="575"/>
                    <a:pt x="337" y="575"/>
                  </a:cubicBezTo>
                  <a:cubicBezTo>
                    <a:pt x="334" y="575"/>
                    <a:pt x="334" y="575"/>
                    <a:pt x="334" y="575"/>
                  </a:cubicBezTo>
                  <a:cubicBezTo>
                    <a:pt x="334" y="575"/>
                    <a:pt x="333" y="575"/>
                    <a:pt x="333" y="575"/>
                  </a:cubicBezTo>
                  <a:cubicBezTo>
                    <a:pt x="331" y="575"/>
                    <a:pt x="329" y="575"/>
                    <a:pt x="327" y="575"/>
                  </a:cubicBezTo>
                  <a:cubicBezTo>
                    <a:pt x="326" y="575"/>
                    <a:pt x="326" y="575"/>
                    <a:pt x="326" y="575"/>
                  </a:cubicBezTo>
                  <a:cubicBezTo>
                    <a:pt x="323" y="575"/>
                    <a:pt x="319" y="576"/>
                    <a:pt x="315" y="577"/>
                  </a:cubicBezTo>
                  <a:cubicBezTo>
                    <a:pt x="313" y="577"/>
                    <a:pt x="313" y="577"/>
                    <a:pt x="313" y="577"/>
                  </a:cubicBezTo>
                  <a:cubicBezTo>
                    <a:pt x="310" y="578"/>
                    <a:pt x="307" y="579"/>
                    <a:pt x="304" y="579"/>
                  </a:cubicBezTo>
                  <a:cubicBezTo>
                    <a:pt x="300" y="580"/>
                    <a:pt x="295" y="581"/>
                    <a:pt x="291" y="582"/>
                  </a:cubicBezTo>
                  <a:cubicBezTo>
                    <a:pt x="283" y="583"/>
                    <a:pt x="283" y="583"/>
                    <a:pt x="283" y="583"/>
                  </a:cubicBezTo>
                  <a:cubicBezTo>
                    <a:pt x="282" y="583"/>
                    <a:pt x="281" y="584"/>
                    <a:pt x="281" y="585"/>
                  </a:cubicBezTo>
                  <a:cubicBezTo>
                    <a:pt x="280" y="587"/>
                    <a:pt x="280" y="587"/>
                    <a:pt x="280" y="587"/>
                  </a:cubicBezTo>
                  <a:cubicBezTo>
                    <a:pt x="280" y="589"/>
                    <a:pt x="279" y="592"/>
                    <a:pt x="277" y="594"/>
                  </a:cubicBezTo>
                  <a:cubicBezTo>
                    <a:pt x="277" y="595"/>
                    <a:pt x="276" y="595"/>
                    <a:pt x="275" y="596"/>
                  </a:cubicBezTo>
                  <a:cubicBezTo>
                    <a:pt x="275" y="597"/>
                    <a:pt x="274" y="599"/>
                    <a:pt x="272" y="601"/>
                  </a:cubicBezTo>
                  <a:cubicBezTo>
                    <a:pt x="272" y="601"/>
                    <a:pt x="272" y="602"/>
                    <a:pt x="271" y="603"/>
                  </a:cubicBezTo>
                  <a:cubicBezTo>
                    <a:pt x="271" y="604"/>
                    <a:pt x="271" y="605"/>
                    <a:pt x="271" y="606"/>
                  </a:cubicBezTo>
                  <a:cubicBezTo>
                    <a:pt x="271" y="610"/>
                    <a:pt x="271" y="610"/>
                    <a:pt x="271" y="610"/>
                  </a:cubicBezTo>
                  <a:cubicBezTo>
                    <a:pt x="270" y="611"/>
                    <a:pt x="270" y="612"/>
                    <a:pt x="270" y="614"/>
                  </a:cubicBezTo>
                  <a:cubicBezTo>
                    <a:pt x="270" y="617"/>
                    <a:pt x="269" y="620"/>
                    <a:pt x="267" y="624"/>
                  </a:cubicBezTo>
                  <a:cubicBezTo>
                    <a:pt x="267" y="625"/>
                    <a:pt x="267" y="625"/>
                    <a:pt x="267" y="625"/>
                  </a:cubicBezTo>
                  <a:cubicBezTo>
                    <a:pt x="267" y="626"/>
                    <a:pt x="266" y="627"/>
                    <a:pt x="266" y="628"/>
                  </a:cubicBezTo>
                  <a:cubicBezTo>
                    <a:pt x="265" y="633"/>
                    <a:pt x="265" y="633"/>
                    <a:pt x="265" y="633"/>
                  </a:cubicBezTo>
                  <a:cubicBezTo>
                    <a:pt x="264" y="634"/>
                    <a:pt x="263" y="637"/>
                    <a:pt x="263" y="639"/>
                  </a:cubicBezTo>
                  <a:cubicBezTo>
                    <a:pt x="262" y="640"/>
                    <a:pt x="262" y="641"/>
                    <a:pt x="262" y="642"/>
                  </a:cubicBezTo>
                  <a:cubicBezTo>
                    <a:pt x="262" y="643"/>
                    <a:pt x="262" y="643"/>
                    <a:pt x="262" y="643"/>
                  </a:cubicBezTo>
                  <a:cubicBezTo>
                    <a:pt x="262" y="643"/>
                    <a:pt x="263" y="644"/>
                    <a:pt x="266" y="646"/>
                  </a:cubicBezTo>
                  <a:cubicBezTo>
                    <a:pt x="266" y="646"/>
                    <a:pt x="267" y="647"/>
                    <a:pt x="267" y="647"/>
                  </a:cubicBezTo>
                  <a:cubicBezTo>
                    <a:pt x="268" y="648"/>
                    <a:pt x="268" y="648"/>
                    <a:pt x="269" y="649"/>
                  </a:cubicBezTo>
                  <a:cubicBezTo>
                    <a:pt x="270" y="650"/>
                    <a:pt x="271" y="651"/>
                    <a:pt x="272" y="653"/>
                  </a:cubicBezTo>
                  <a:cubicBezTo>
                    <a:pt x="272" y="653"/>
                    <a:pt x="272" y="653"/>
                    <a:pt x="272" y="653"/>
                  </a:cubicBezTo>
                  <a:cubicBezTo>
                    <a:pt x="272" y="654"/>
                    <a:pt x="272" y="654"/>
                    <a:pt x="272" y="654"/>
                  </a:cubicBezTo>
                  <a:cubicBezTo>
                    <a:pt x="275" y="652"/>
                    <a:pt x="275" y="652"/>
                    <a:pt x="275" y="652"/>
                  </a:cubicBezTo>
                  <a:cubicBezTo>
                    <a:pt x="273" y="655"/>
                    <a:pt x="273" y="655"/>
                    <a:pt x="273" y="655"/>
                  </a:cubicBezTo>
                  <a:cubicBezTo>
                    <a:pt x="274" y="656"/>
                    <a:pt x="274" y="656"/>
                    <a:pt x="274" y="656"/>
                  </a:cubicBezTo>
                  <a:cubicBezTo>
                    <a:pt x="274" y="656"/>
                    <a:pt x="274" y="657"/>
                    <a:pt x="275" y="657"/>
                  </a:cubicBezTo>
                  <a:cubicBezTo>
                    <a:pt x="276" y="659"/>
                    <a:pt x="276" y="659"/>
                    <a:pt x="276" y="659"/>
                  </a:cubicBezTo>
                  <a:cubicBezTo>
                    <a:pt x="277" y="659"/>
                    <a:pt x="277" y="660"/>
                    <a:pt x="278" y="661"/>
                  </a:cubicBezTo>
                  <a:cubicBezTo>
                    <a:pt x="281" y="664"/>
                    <a:pt x="281" y="664"/>
                    <a:pt x="281" y="664"/>
                  </a:cubicBezTo>
                  <a:cubicBezTo>
                    <a:pt x="281" y="665"/>
                    <a:pt x="282" y="665"/>
                    <a:pt x="282" y="666"/>
                  </a:cubicBezTo>
                  <a:cubicBezTo>
                    <a:pt x="284" y="667"/>
                    <a:pt x="284" y="667"/>
                    <a:pt x="284" y="667"/>
                  </a:cubicBezTo>
                  <a:cubicBezTo>
                    <a:pt x="285" y="668"/>
                    <a:pt x="285" y="668"/>
                    <a:pt x="285" y="668"/>
                  </a:cubicBezTo>
                  <a:cubicBezTo>
                    <a:pt x="287" y="669"/>
                    <a:pt x="288" y="671"/>
                    <a:pt x="289" y="672"/>
                  </a:cubicBezTo>
                  <a:cubicBezTo>
                    <a:pt x="290" y="672"/>
                    <a:pt x="290" y="672"/>
                    <a:pt x="290" y="672"/>
                  </a:cubicBezTo>
                  <a:cubicBezTo>
                    <a:pt x="291" y="674"/>
                    <a:pt x="292" y="675"/>
                    <a:pt x="294" y="676"/>
                  </a:cubicBezTo>
                  <a:cubicBezTo>
                    <a:pt x="297" y="678"/>
                    <a:pt x="299" y="680"/>
                    <a:pt x="302" y="681"/>
                  </a:cubicBezTo>
                  <a:cubicBezTo>
                    <a:pt x="302" y="681"/>
                    <a:pt x="302" y="681"/>
                    <a:pt x="302" y="681"/>
                  </a:cubicBezTo>
                  <a:cubicBezTo>
                    <a:pt x="303" y="681"/>
                    <a:pt x="303" y="681"/>
                    <a:pt x="303" y="681"/>
                  </a:cubicBezTo>
                  <a:cubicBezTo>
                    <a:pt x="303" y="681"/>
                    <a:pt x="303" y="681"/>
                    <a:pt x="303" y="681"/>
                  </a:cubicBezTo>
                  <a:cubicBezTo>
                    <a:pt x="305" y="682"/>
                    <a:pt x="308" y="682"/>
                    <a:pt x="310" y="682"/>
                  </a:cubicBezTo>
                  <a:cubicBezTo>
                    <a:pt x="311" y="682"/>
                    <a:pt x="312" y="683"/>
                    <a:pt x="313" y="683"/>
                  </a:cubicBezTo>
                  <a:cubicBezTo>
                    <a:pt x="316" y="683"/>
                    <a:pt x="318" y="684"/>
                    <a:pt x="321" y="685"/>
                  </a:cubicBezTo>
                  <a:cubicBezTo>
                    <a:pt x="324" y="686"/>
                    <a:pt x="326" y="688"/>
                    <a:pt x="329" y="690"/>
                  </a:cubicBezTo>
                  <a:cubicBezTo>
                    <a:pt x="331" y="691"/>
                    <a:pt x="331" y="691"/>
                    <a:pt x="331" y="691"/>
                  </a:cubicBezTo>
                  <a:cubicBezTo>
                    <a:pt x="333" y="693"/>
                    <a:pt x="334" y="694"/>
                    <a:pt x="336" y="695"/>
                  </a:cubicBezTo>
                  <a:cubicBezTo>
                    <a:pt x="344" y="700"/>
                    <a:pt x="353" y="705"/>
                    <a:pt x="361" y="709"/>
                  </a:cubicBezTo>
                  <a:cubicBezTo>
                    <a:pt x="365" y="711"/>
                    <a:pt x="370" y="713"/>
                    <a:pt x="374" y="715"/>
                  </a:cubicBezTo>
                  <a:cubicBezTo>
                    <a:pt x="376" y="716"/>
                    <a:pt x="377" y="718"/>
                    <a:pt x="378" y="721"/>
                  </a:cubicBezTo>
                  <a:cubicBezTo>
                    <a:pt x="379" y="723"/>
                    <a:pt x="378" y="726"/>
                    <a:pt x="377" y="728"/>
                  </a:cubicBezTo>
                  <a:cubicBezTo>
                    <a:pt x="376" y="731"/>
                    <a:pt x="374" y="733"/>
                    <a:pt x="372" y="736"/>
                  </a:cubicBezTo>
                  <a:cubicBezTo>
                    <a:pt x="371" y="738"/>
                    <a:pt x="369" y="739"/>
                    <a:pt x="368" y="741"/>
                  </a:cubicBezTo>
                  <a:cubicBezTo>
                    <a:pt x="365" y="746"/>
                    <a:pt x="363" y="751"/>
                    <a:pt x="361" y="757"/>
                  </a:cubicBezTo>
                  <a:cubicBezTo>
                    <a:pt x="361" y="759"/>
                    <a:pt x="361" y="759"/>
                    <a:pt x="361" y="759"/>
                  </a:cubicBezTo>
                  <a:cubicBezTo>
                    <a:pt x="360" y="761"/>
                    <a:pt x="358" y="763"/>
                    <a:pt x="356" y="764"/>
                  </a:cubicBezTo>
                  <a:cubicBezTo>
                    <a:pt x="355" y="765"/>
                    <a:pt x="355" y="765"/>
                    <a:pt x="354" y="766"/>
                  </a:cubicBezTo>
                  <a:cubicBezTo>
                    <a:pt x="354" y="766"/>
                    <a:pt x="354" y="766"/>
                    <a:pt x="354" y="766"/>
                  </a:cubicBezTo>
                  <a:cubicBezTo>
                    <a:pt x="358" y="765"/>
                    <a:pt x="360" y="765"/>
                    <a:pt x="363" y="765"/>
                  </a:cubicBezTo>
                  <a:cubicBezTo>
                    <a:pt x="366" y="765"/>
                    <a:pt x="369" y="766"/>
                    <a:pt x="372" y="766"/>
                  </a:cubicBezTo>
                  <a:cubicBezTo>
                    <a:pt x="372" y="766"/>
                    <a:pt x="372" y="766"/>
                    <a:pt x="372" y="766"/>
                  </a:cubicBezTo>
                  <a:cubicBezTo>
                    <a:pt x="374" y="766"/>
                    <a:pt x="376" y="767"/>
                    <a:pt x="378" y="768"/>
                  </a:cubicBezTo>
                  <a:cubicBezTo>
                    <a:pt x="380" y="768"/>
                    <a:pt x="382" y="769"/>
                    <a:pt x="385" y="769"/>
                  </a:cubicBezTo>
                  <a:cubicBezTo>
                    <a:pt x="386" y="769"/>
                    <a:pt x="386" y="769"/>
                    <a:pt x="387" y="769"/>
                  </a:cubicBezTo>
                  <a:cubicBezTo>
                    <a:pt x="389" y="769"/>
                    <a:pt x="389" y="769"/>
                    <a:pt x="389" y="769"/>
                  </a:cubicBezTo>
                  <a:cubicBezTo>
                    <a:pt x="390" y="769"/>
                    <a:pt x="391" y="769"/>
                    <a:pt x="392" y="769"/>
                  </a:cubicBezTo>
                  <a:cubicBezTo>
                    <a:pt x="394" y="769"/>
                    <a:pt x="397" y="769"/>
                    <a:pt x="399" y="770"/>
                  </a:cubicBezTo>
                  <a:cubicBezTo>
                    <a:pt x="400" y="770"/>
                    <a:pt x="401" y="771"/>
                    <a:pt x="402" y="771"/>
                  </a:cubicBezTo>
                  <a:cubicBezTo>
                    <a:pt x="403" y="772"/>
                    <a:pt x="403" y="772"/>
                    <a:pt x="403" y="772"/>
                  </a:cubicBezTo>
                  <a:cubicBezTo>
                    <a:pt x="403" y="772"/>
                    <a:pt x="403" y="772"/>
                    <a:pt x="403" y="772"/>
                  </a:cubicBezTo>
                  <a:cubicBezTo>
                    <a:pt x="404" y="771"/>
                    <a:pt x="404" y="771"/>
                    <a:pt x="405" y="771"/>
                  </a:cubicBezTo>
                  <a:cubicBezTo>
                    <a:pt x="406" y="770"/>
                    <a:pt x="406" y="770"/>
                    <a:pt x="406" y="770"/>
                  </a:cubicBezTo>
                  <a:cubicBezTo>
                    <a:pt x="407" y="769"/>
                    <a:pt x="409" y="768"/>
                    <a:pt x="411" y="767"/>
                  </a:cubicBezTo>
                  <a:cubicBezTo>
                    <a:pt x="412" y="767"/>
                    <a:pt x="412" y="767"/>
                    <a:pt x="412" y="767"/>
                  </a:cubicBezTo>
                  <a:cubicBezTo>
                    <a:pt x="412" y="767"/>
                    <a:pt x="413" y="766"/>
                    <a:pt x="413" y="766"/>
                  </a:cubicBezTo>
                  <a:cubicBezTo>
                    <a:pt x="414" y="767"/>
                    <a:pt x="415" y="767"/>
                    <a:pt x="416" y="768"/>
                  </a:cubicBezTo>
                  <a:cubicBezTo>
                    <a:pt x="417" y="768"/>
                    <a:pt x="417" y="768"/>
                    <a:pt x="417" y="768"/>
                  </a:cubicBezTo>
                  <a:cubicBezTo>
                    <a:pt x="417" y="768"/>
                    <a:pt x="417" y="768"/>
                    <a:pt x="417" y="768"/>
                  </a:cubicBezTo>
                  <a:cubicBezTo>
                    <a:pt x="417" y="768"/>
                    <a:pt x="417" y="768"/>
                    <a:pt x="418" y="768"/>
                  </a:cubicBezTo>
                  <a:cubicBezTo>
                    <a:pt x="418" y="767"/>
                    <a:pt x="418" y="767"/>
                    <a:pt x="418" y="767"/>
                  </a:cubicBezTo>
                  <a:cubicBezTo>
                    <a:pt x="418" y="767"/>
                    <a:pt x="419" y="767"/>
                    <a:pt x="419" y="767"/>
                  </a:cubicBezTo>
                  <a:cubicBezTo>
                    <a:pt x="419" y="767"/>
                    <a:pt x="419" y="767"/>
                    <a:pt x="419" y="767"/>
                  </a:cubicBezTo>
                  <a:cubicBezTo>
                    <a:pt x="419" y="763"/>
                    <a:pt x="422" y="761"/>
                    <a:pt x="423" y="761"/>
                  </a:cubicBezTo>
                  <a:cubicBezTo>
                    <a:pt x="423" y="760"/>
                    <a:pt x="425" y="760"/>
                    <a:pt x="426" y="759"/>
                  </a:cubicBezTo>
                  <a:cubicBezTo>
                    <a:pt x="428" y="758"/>
                    <a:pt x="429" y="757"/>
                    <a:pt x="431" y="755"/>
                  </a:cubicBezTo>
                  <a:cubicBezTo>
                    <a:pt x="432" y="754"/>
                    <a:pt x="434" y="752"/>
                    <a:pt x="436" y="751"/>
                  </a:cubicBezTo>
                  <a:cubicBezTo>
                    <a:pt x="438" y="749"/>
                    <a:pt x="439" y="748"/>
                    <a:pt x="439" y="747"/>
                  </a:cubicBezTo>
                  <a:cubicBezTo>
                    <a:pt x="441" y="741"/>
                    <a:pt x="441" y="734"/>
                    <a:pt x="442" y="727"/>
                  </a:cubicBezTo>
                  <a:cubicBezTo>
                    <a:pt x="443" y="720"/>
                    <a:pt x="443" y="720"/>
                    <a:pt x="443" y="720"/>
                  </a:cubicBezTo>
                  <a:cubicBezTo>
                    <a:pt x="448" y="724"/>
                    <a:pt x="448" y="724"/>
                    <a:pt x="448" y="724"/>
                  </a:cubicBezTo>
                  <a:cubicBezTo>
                    <a:pt x="448" y="724"/>
                    <a:pt x="448" y="724"/>
                    <a:pt x="448" y="724"/>
                  </a:cubicBezTo>
                  <a:cubicBezTo>
                    <a:pt x="451" y="720"/>
                    <a:pt x="451" y="720"/>
                    <a:pt x="451" y="720"/>
                  </a:cubicBezTo>
                  <a:cubicBezTo>
                    <a:pt x="450" y="725"/>
                    <a:pt x="450" y="725"/>
                    <a:pt x="450" y="725"/>
                  </a:cubicBezTo>
                  <a:cubicBezTo>
                    <a:pt x="450" y="725"/>
                    <a:pt x="451" y="725"/>
                    <a:pt x="451" y="724"/>
                  </a:cubicBezTo>
                  <a:cubicBezTo>
                    <a:pt x="452" y="724"/>
                    <a:pt x="452" y="724"/>
                    <a:pt x="453" y="723"/>
                  </a:cubicBezTo>
                  <a:cubicBezTo>
                    <a:pt x="453" y="723"/>
                    <a:pt x="454" y="723"/>
                    <a:pt x="455" y="723"/>
                  </a:cubicBezTo>
                  <a:cubicBezTo>
                    <a:pt x="456" y="723"/>
                    <a:pt x="456" y="723"/>
                    <a:pt x="457" y="723"/>
                  </a:cubicBezTo>
                  <a:cubicBezTo>
                    <a:pt x="458" y="723"/>
                    <a:pt x="458" y="723"/>
                    <a:pt x="458" y="723"/>
                  </a:cubicBezTo>
                  <a:cubicBezTo>
                    <a:pt x="459" y="723"/>
                    <a:pt x="461" y="724"/>
                    <a:pt x="462" y="725"/>
                  </a:cubicBezTo>
                  <a:cubicBezTo>
                    <a:pt x="462" y="726"/>
                    <a:pt x="462" y="726"/>
                    <a:pt x="462" y="726"/>
                  </a:cubicBezTo>
                  <a:cubicBezTo>
                    <a:pt x="463" y="726"/>
                    <a:pt x="463" y="726"/>
                    <a:pt x="463" y="727"/>
                  </a:cubicBezTo>
                  <a:cubicBezTo>
                    <a:pt x="469" y="739"/>
                    <a:pt x="469" y="739"/>
                    <a:pt x="469" y="739"/>
                  </a:cubicBezTo>
                  <a:cubicBezTo>
                    <a:pt x="471" y="743"/>
                    <a:pt x="470" y="748"/>
                    <a:pt x="469" y="752"/>
                  </a:cubicBezTo>
                  <a:cubicBezTo>
                    <a:pt x="469" y="753"/>
                    <a:pt x="469" y="753"/>
                    <a:pt x="469" y="753"/>
                  </a:cubicBezTo>
                  <a:cubicBezTo>
                    <a:pt x="469" y="754"/>
                    <a:pt x="469" y="755"/>
                    <a:pt x="468" y="756"/>
                  </a:cubicBezTo>
                  <a:cubicBezTo>
                    <a:pt x="468" y="756"/>
                    <a:pt x="468" y="757"/>
                    <a:pt x="468" y="757"/>
                  </a:cubicBezTo>
                  <a:cubicBezTo>
                    <a:pt x="468" y="759"/>
                    <a:pt x="468" y="759"/>
                    <a:pt x="468" y="759"/>
                  </a:cubicBezTo>
                  <a:cubicBezTo>
                    <a:pt x="467" y="760"/>
                    <a:pt x="467" y="760"/>
                    <a:pt x="467" y="761"/>
                  </a:cubicBezTo>
                  <a:cubicBezTo>
                    <a:pt x="467" y="763"/>
                    <a:pt x="467" y="763"/>
                    <a:pt x="467" y="763"/>
                  </a:cubicBezTo>
                  <a:cubicBezTo>
                    <a:pt x="466" y="763"/>
                    <a:pt x="466" y="763"/>
                    <a:pt x="466" y="764"/>
                  </a:cubicBezTo>
                  <a:cubicBezTo>
                    <a:pt x="466" y="765"/>
                    <a:pt x="465" y="766"/>
                    <a:pt x="465" y="767"/>
                  </a:cubicBezTo>
                  <a:cubicBezTo>
                    <a:pt x="464" y="768"/>
                    <a:pt x="463" y="768"/>
                    <a:pt x="462" y="769"/>
                  </a:cubicBezTo>
                  <a:cubicBezTo>
                    <a:pt x="461" y="769"/>
                    <a:pt x="461" y="769"/>
                    <a:pt x="461" y="769"/>
                  </a:cubicBezTo>
                  <a:cubicBezTo>
                    <a:pt x="461" y="770"/>
                    <a:pt x="460" y="770"/>
                    <a:pt x="460" y="770"/>
                  </a:cubicBezTo>
                  <a:cubicBezTo>
                    <a:pt x="454" y="773"/>
                    <a:pt x="449" y="775"/>
                    <a:pt x="443" y="777"/>
                  </a:cubicBezTo>
                  <a:cubicBezTo>
                    <a:pt x="441" y="777"/>
                    <a:pt x="440" y="779"/>
                    <a:pt x="438" y="780"/>
                  </a:cubicBezTo>
                  <a:cubicBezTo>
                    <a:pt x="437" y="781"/>
                    <a:pt x="436" y="782"/>
                    <a:pt x="436" y="783"/>
                  </a:cubicBezTo>
                  <a:cubicBezTo>
                    <a:pt x="435" y="783"/>
                    <a:pt x="434" y="784"/>
                    <a:pt x="433" y="785"/>
                  </a:cubicBezTo>
                  <a:cubicBezTo>
                    <a:pt x="432" y="785"/>
                    <a:pt x="432" y="785"/>
                    <a:pt x="432" y="785"/>
                  </a:cubicBezTo>
                  <a:cubicBezTo>
                    <a:pt x="432" y="786"/>
                    <a:pt x="431" y="787"/>
                    <a:pt x="430" y="787"/>
                  </a:cubicBezTo>
                  <a:cubicBezTo>
                    <a:pt x="430" y="787"/>
                    <a:pt x="430" y="788"/>
                    <a:pt x="429" y="788"/>
                  </a:cubicBezTo>
                  <a:cubicBezTo>
                    <a:pt x="429" y="789"/>
                    <a:pt x="428" y="789"/>
                    <a:pt x="428" y="790"/>
                  </a:cubicBezTo>
                  <a:cubicBezTo>
                    <a:pt x="427" y="790"/>
                    <a:pt x="427" y="790"/>
                    <a:pt x="427" y="790"/>
                  </a:cubicBezTo>
                  <a:cubicBezTo>
                    <a:pt x="427" y="790"/>
                    <a:pt x="427" y="791"/>
                    <a:pt x="426" y="791"/>
                  </a:cubicBezTo>
                  <a:cubicBezTo>
                    <a:pt x="426" y="791"/>
                    <a:pt x="426" y="791"/>
                    <a:pt x="426" y="791"/>
                  </a:cubicBezTo>
                  <a:cubicBezTo>
                    <a:pt x="425" y="791"/>
                    <a:pt x="425" y="791"/>
                    <a:pt x="424" y="791"/>
                  </a:cubicBezTo>
                  <a:cubicBezTo>
                    <a:pt x="423" y="792"/>
                    <a:pt x="423" y="792"/>
                    <a:pt x="423" y="792"/>
                  </a:cubicBezTo>
                  <a:cubicBezTo>
                    <a:pt x="422" y="792"/>
                    <a:pt x="421" y="793"/>
                    <a:pt x="421" y="793"/>
                  </a:cubicBezTo>
                  <a:cubicBezTo>
                    <a:pt x="421" y="793"/>
                    <a:pt x="421" y="793"/>
                    <a:pt x="421" y="793"/>
                  </a:cubicBezTo>
                  <a:cubicBezTo>
                    <a:pt x="422" y="794"/>
                    <a:pt x="422" y="795"/>
                    <a:pt x="422" y="796"/>
                  </a:cubicBezTo>
                  <a:cubicBezTo>
                    <a:pt x="423" y="799"/>
                    <a:pt x="423" y="799"/>
                    <a:pt x="423" y="799"/>
                  </a:cubicBezTo>
                  <a:cubicBezTo>
                    <a:pt x="420" y="799"/>
                    <a:pt x="420" y="799"/>
                    <a:pt x="420" y="799"/>
                  </a:cubicBezTo>
                  <a:cubicBezTo>
                    <a:pt x="419" y="799"/>
                    <a:pt x="419" y="799"/>
                    <a:pt x="419" y="799"/>
                  </a:cubicBezTo>
                  <a:cubicBezTo>
                    <a:pt x="416" y="801"/>
                    <a:pt x="412" y="805"/>
                    <a:pt x="410" y="807"/>
                  </a:cubicBezTo>
                  <a:cubicBezTo>
                    <a:pt x="407" y="810"/>
                    <a:pt x="405" y="812"/>
                    <a:pt x="403" y="815"/>
                  </a:cubicBezTo>
                  <a:cubicBezTo>
                    <a:pt x="402" y="817"/>
                    <a:pt x="401" y="818"/>
                    <a:pt x="400" y="819"/>
                  </a:cubicBezTo>
                  <a:cubicBezTo>
                    <a:pt x="394" y="827"/>
                    <a:pt x="387" y="833"/>
                    <a:pt x="381" y="840"/>
                  </a:cubicBezTo>
                  <a:cubicBezTo>
                    <a:pt x="381" y="840"/>
                    <a:pt x="381" y="840"/>
                    <a:pt x="381" y="840"/>
                  </a:cubicBezTo>
                  <a:cubicBezTo>
                    <a:pt x="381" y="840"/>
                    <a:pt x="383" y="841"/>
                    <a:pt x="383" y="841"/>
                  </a:cubicBezTo>
                  <a:cubicBezTo>
                    <a:pt x="383" y="841"/>
                    <a:pt x="383" y="841"/>
                    <a:pt x="383" y="841"/>
                  </a:cubicBezTo>
                  <a:cubicBezTo>
                    <a:pt x="384" y="840"/>
                    <a:pt x="384" y="839"/>
                    <a:pt x="385" y="838"/>
                  </a:cubicBezTo>
                  <a:cubicBezTo>
                    <a:pt x="386" y="837"/>
                    <a:pt x="388" y="836"/>
                    <a:pt x="390" y="836"/>
                  </a:cubicBezTo>
                  <a:cubicBezTo>
                    <a:pt x="393" y="836"/>
                    <a:pt x="396" y="837"/>
                    <a:pt x="398" y="839"/>
                  </a:cubicBezTo>
                  <a:cubicBezTo>
                    <a:pt x="400" y="840"/>
                    <a:pt x="401" y="842"/>
                    <a:pt x="403" y="844"/>
                  </a:cubicBezTo>
                  <a:cubicBezTo>
                    <a:pt x="405" y="845"/>
                    <a:pt x="407" y="847"/>
                    <a:pt x="409" y="848"/>
                  </a:cubicBezTo>
                  <a:cubicBezTo>
                    <a:pt x="414" y="853"/>
                    <a:pt x="414" y="853"/>
                    <a:pt x="414" y="853"/>
                  </a:cubicBezTo>
                  <a:cubicBezTo>
                    <a:pt x="414" y="854"/>
                    <a:pt x="416" y="857"/>
                    <a:pt x="416" y="860"/>
                  </a:cubicBezTo>
                  <a:cubicBezTo>
                    <a:pt x="417" y="860"/>
                    <a:pt x="417" y="860"/>
                    <a:pt x="417" y="860"/>
                  </a:cubicBezTo>
                  <a:cubicBezTo>
                    <a:pt x="417" y="860"/>
                    <a:pt x="417" y="860"/>
                    <a:pt x="417" y="860"/>
                  </a:cubicBezTo>
                  <a:cubicBezTo>
                    <a:pt x="417" y="859"/>
                    <a:pt x="418" y="859"/>
                    <a:pt x="418" y="859"/>
                  </a:cubicBezTo>
                  <a:cubicBezTo>
                    <a:pt x="418" y="858"/>
                    <a:pt x="418" y="858"/>
                    <a:pt x="418" y="858"/>
                  </a:cubicBezTo>
                  <a:cubicBezTo>
                    <a:pt x="418" y="857"/>
                    <a:pt x="418" y="857"/>
                    <a:pt x="418" y="857"/>
                  </a:cubicBezTo>
                  <a:cubicBezTo>
                    <a:pt x="418" y="858"/>
                    <a:pt x="418" y="858"/>
                    <a:pt x="418" y="858"/>
                  </a:cubicBezTo>
                  <a:cubicBezTo>
                    <a:pt x="419" y="857"/>
                    <a:pt x="419" y="856"/>
                    <a:pt x="421" y="855"/>
                  </a:cubicBezTo>
                  <a:cubicBezTo>
                    <a:pt x="421" y="855"/>
                    <a:pt x="422" y="855"/>
                    <a:pt x="422" y="855"/>
                  </a:cubicBezTo>
                  <a:cubicBezTo>
                    <a:pt x="425" y="855"/>
                    <a:pt x="427" y="859"/>
                    <a:pt x="430" y="863"/>
                  </a:cubicBezTo>
                  <a:cubicBezTo>
                    <a:pt x="430" y="863"/>
                    <a:pt x="430" y="863"/>
                    <a:pt x="430" y="863"/>
                  </a:cubicBezTo>
                  <a:cubicBezTo>
                    <a:pt x="431" y="864"/>
                    <a:pt x="432" y="866"/>
                    <a:pt x="432" y="866"/>
                  </a:cubicBezTo>
                  <a:cubicBezTo>
                    <a:pt x="433" y="867"/>
                    <a:pt x="436" y="868"/>
                    <a:pt x="438" y="868"/>
                  </a:cubicBezTo>
                  <a:cubicBezTo>
                    <a:pt x="441" y="869"/>
                    <a:pt x="444" y="870"/>
                    <a:pt x="446" y="871"/>
                  </a:cubicBezTo>
                  <a:cubicBezTo>
                    <a:pt x="448" y="873"/>
                    <a:pt x="449" y="874"/>
                    <a:pt x="450" y="876"/>
                  </a:cubicBezTo>
                  <a:cubicBezTo>
                    <a:pt x="450" y="876"/>
                    <a:pt x="450" y="876"/>
                    <a:pt x="450" y="876"/>
                  </a:cubicBezTo>
                  <a:cubicBezTo>
                    <a:pt x="451" y="878"/>
                    <a:pt x="452" y="878"/>
                    <a:pt x="454" y="879"/>
                  </a:cubicBezTo>
                  <a:cubicBezTo>
                    <a:pt x="455" y="880"/>
                    <a:pt x="455" y="880"/>
                    <a:pt x="455" y="880"/>
                  </a:cubicBezTo>
                  <a:cubicBezTo>
                    <a:pt x="455" y="880"/>
                    <a:pt x="456" y="880"/>
                    <a:pt x="456" y="880"/>
                  </a:cubicBezTo>
                  <a:cubicBezTo>
                    <a:pt x="457" y="881"/>
                    <a:pt x="457" y="881"/>
                    <a:pt x="458" y="881"/>
                  </a:cubicBezTo>
                  <a:cubicBezTo>
                    <a:pt x="460" y="882"/>
                    <a:pt x="462" y="883"/>
                    <a:pt x="464" y="885"/>
                  </a:cubicBezTo>
                  <a:cubicBezTo>
                    <a:pt x="465" y="887"/>
                    <a:pt x="465" y="887"/>
                    <a:pt x="465" y="887"/>
                  </a:cubicBezTo>
                  <a:cubicBezTo>
                    <a:pt x="466" y="889"/>
                    <a:pt x="467" y="890"/>
                    <a:pt x="468" y="892"/>
                  </a:cubicBezTo>
                  <a:cubicBezTo>
                    <a:pt x="469" y="894"/>
                    <a:pt x="469" y="894"/>
                    <a:pt x="469" y="894"/>
                  </a:cubicBezTo>
                  <a:cubicBezTo>
                    <a:pt x="471" y="897"/>
                    <a:pt x="474" y="899"/>
                    <a:pt x="478" y="901"/>
                  </a:cubicBezTo>
                  <a:cubicBezTo>
                    <a:pt x="482" y="903"/>
                    <a:pt x="482" y="903"/>
                    <a:pt x="482" y="903"/>
                  </a:cubicBezTo>
                  <a:cubicBezTo>
                    <a:pt x="481" y="906"/>
                    <a:pt x="481" y="906"/>
                    <a:pt x="481" y="906"/>
                  </a:cubicBezTo>
                  <a:cubicBezTo>
                    <a:pt x="480" y="908"/>
                    <a:pt x="479" y="909"/>
                    <a:pt x="477" y="911"/>
                  </a:cubicBezTo>
                  <a:cubicBezTo>
                    <a:pt x="476" y="913"/>
                    <a:pt x="474" y="915"/>
                    <a:pt x="473" y="917"/>
                  </a:cubicBezTo>
                  <a:cubicBezTo>
                    <a:pt x="472" y="919"/>
                    <a:pt x="472" y="926"/>
                    <a:pt x="473" y="927"/>
                  </a:cubicBezTo>
                  <a:cubicBezTo>
                    <a:pt x="473" y="928"/>
                    <a:pt x="473" y="928"/>
                    <a:pt x="473" y="928"/>
                  </a:cubicBezTo>
                  <a:cubicBezTo>
                    <a:pt x="474" y="929"/>
                    <a:pt x="474" y="929"/>
                    <a:pt x="474" y="929"/>
                  </a:cubicBezTo>
                  <a:cubicBezTo>
                    <a:pt x="474" y="930"/>
                    <a:pt x="474" y="930"/>
                    <a:pt x="474" y="930"/>
                  </a:cubicBezTo>
                  <a:cubicBezTo>
                    <a:pt x="474" y="930"/>
                    <a:pt x="474" y="930"/>
                    <a:pt x="474" y="930"/>
                  </a:cubicBezTo>
                  <a:cubicBezTo>
                    <a:pt x="477" y="928"/>
                    <a:pt x="477" y="928"/>
                    <a:pt x="477" y="928"/>
                  </a:cubicBezTo>
                  <a:cubicBezTo>
                    <a:pt x="476" y="931"/>
                    <a:pt x="476" y="931"/>
                    <a:pt x="476" y="931"/>
                  </a:cubicBezTo>
                  <a:cubicBezTo>
                    <a:pt x="478" y="929"/>
                    <a:pt x="481" y="927"/>
                    <a:pt x="483" y="924"/>
                  </a:cubicBezTo>
                  <a:cubicBezTo>
                    <a:pt x="486" y="922"/>
                    <a:pt x="489" y="919"/>
                    <a:pt x="491" y="915"/>
                  </a:cubicBezTo>
                  <a:cubicBezTo>
                    <a:pt x="493" y="911"/>
                    <a:pt x="494" y="906"/>
                    <a:pt x="497" y="902"/>
                  </a:cubicBezTo>
                  <a:cubicBezTo>
                    <a:pt x="499" y="899"/>
                    <a:pt x="503" y="895"/>
                    <a:pt x="503" y="890"/>
                  </a:cubicBezTo>
                  <a:cubicBezTo>
                    <a:pt x="504" y="889"/>
                    <a:pt x="503" y="888"/>
                    <a:pt x="503" y="888"/>
                  </a:cubicBezTo>
                  <a:cubicBezTo>
                    <a:pt x="503" y="888"/>
                    <a:pt x="502" y="889"/>
                    <a:pt x="502" y="889"/>
                  </a:cubicBezTo>
                  <a:cubicBezTo>
                    <a:pt x="502" y="888"/>
                    <a:pt x="502" y="887"/>
                    <a:pt x="502" y="886"/>
                  </a:cubicBezTo>
                  <a:cubicBezTo>
                    <a:pt x="502" y="884"/>
                    <a:pt x="500" y="883"/>
                    <a:pt x="500" y="882"/>
                  </a:cubicBezTo>
                  <a:cubicBezTo>
                    <a:pt x="500" y="880"/>
                    <a:pt x="502" y="877"/>
                    <a:pt x="504" y="877"/>
                  </a:cubicBezTo>
                  <a:cubicBezTo>
                    <a:pt x="504" y="877"/>
                    <a:pt x="505" y="877"/>
                    <a:pt x="505" y="878"/>
                  </a:cubicBezTo>
                  <a:cubicBezTo>
                    <a:pt x="506" y="875"/>
                    <a:pt x="506" y="872"/>
                    <a:pt x="508" y="870"/>
                  </a:cubicBezTo>
                  <a:cubicBezTo>
                    <a:pt x="510" y="868"/>
                    <a:pt x="515" y="866"/>
                    <a:pt x="518" y="864"/>
                  </a:cubicBezTo>
                  <a:cubicBezTo>
                    <a:pt x="518" y="862"/>
                    <a:pt x="520" y="859"/>
                    <a:pt x="520" y="856"/>
                  </a:cubicBezTo>
                  <a:cubicBezTo>
                    <a:pt x="520" y="854"/>
                    <a:pt x="520" y="853"/>
                    <a:pt x="520" y="853"/>
                  </a:cubicBezTo>
                  <a:cubicBezTo>
                    <a:pt x="521" y="853"/>
                    <a:pt x="522" y="855"/>
                    <a:pt x="522" y="856"/>
                  </a:cubicBezTo>
                  <a:cubicBezTo>
                    <a:pt x="522" y="855"/>
                    <a:pt x="522" y="854"/>
                    <a:pt x="522" y="853"/>
                  </a:cubicBezTo>
                  <a:cubicBezTo>
                    <a:pt x="522" y="852"/>
                    <a:pt x="522" y="850"/>
                    <a:pt x="523" y="849"/>
                  </a:cubicBezTo>
                  <a:cubicBezTo>
                    <a:pt x="524" y="847"/>
                    <a:pt x="526" y="846"/>
                    <a:pt x="527" y="845"/>
                  </a:cubicBezTo>
                  <a:cubicBezTo>
                    <a:pt x="526" y="845"/>
                    <a:pt x="526" y="845"/>
                    <a:pt x="525" y="846"/>
                  </a:cubicBezTo>
                  <a:cubicBezTo>
                    <a:pt x="524" y="842"/>
                    <a:pt x="523" y="840"/>
                    <a:pt x="523" y="837"/>
                  </a:cubicBezTo>
                  <a:cubicBezTo>
                    <a:pt x="524" y="838"/>
                    <a:pt x="523" y="841"/>
                    <a:pt x="525" y="842"/>
                  </a:cubicBezTo>
                  <a:cubicBezTo>
                    <a:pt x="526" y="843"/>
                    <a:pt x="528" y="843"/>
                    <a:pt x="531" y="843"/>
                  </a:cubicBezTo>
                  <a:cubicBezTo>
                    <a:pt x="534" y="843"/>
                    <a:pt x="537" y="843"/>
                    <a:pt x="539" y="843"/>
                  </a:cubicBezTo>
                  <a:cubicBezTo>
                    <a:pt x="539" y="844"/>
                    <a:pt x="539" y="845"/>
                    <a:pt x="539" y="846"/>
                  </a:cubicBezTo>
                  <a:cubicBezTo>
                    <a:pt x="538" y="846"/>
                    <a:pt x="537" y="846"/>
                    <a:pt x="536" y="846"/>
                  </a:cubicBezTo>
                  <a:cubicBezTo>
                    <a:pt x="535" y="846"/>
                    <a:pt x="535" y="846"/>
                    <a:pt x="535" y="846"/>
                  </a:cubicBezTo>
                  <a:cubicBezTo>
                    <a:pt x="537" y="849"/>
                    <a:pt x="536" y="857"/>
                    <a:pt x="533" y="858"/>
                  </a:cubicBezTo>
                  <a:cubicBezTo>
                    <a:pt x="527" y="860"/>
                    <a:pt x="532" y="860"/>
                    <a:pt x="529" y="865"/>
                  </a:cubicBezTo>
                  <a:cubicBezTo>
                    <a:pt x="529" y="865"/>
                    <a:pt x="529" y="865"/>
                    <a:pt x="529" y="865"/>
                  </a:cubicBezTo>
                  <a:cubicBezTo>
                    <a:pt x="528" y="865"/>
                    <a:pt x="529" y="864"/>
                    <a:pt x="529" y="864"/>
                  </a:cubicBezTo>
                  <a:cubicBezTo>
                    <a:pt x="528" y="864"/>
                    <a:pt x="528" y="864"/>
                    <a:pt x="528" y="864"/>
                  </a:cubicBezTo>
                  <a:cubicBezTo>
                    <a:pt x="522" y="864"/>
                    <a:pt x="525" y="871"/>
                    <a:pt x="521" y="875"/>
                  </a:cubicBezTo>
                  <a:cubicBezTo>
                    <a:pt x="520" y="877"/>
                    <a:pt x="518" y="877"/>
                    <a:pt x="516" y="879"/>
                  </a:cubicBezTo>
                  <a:cubicBezTo>
                    <a:pt x="515" y="880"/>
                    <a:pt x="514" y="881"/>
                    <a:pt x="512" y="882"/>
                  </a:cubicBezTo>
                  <a:cubicBezTo>
                    <a:pt x="510" y="884"/>
                    <a:pt x="509" y="884"/>
                    <a:pt x="508" y="884"/>
                  </a:cubicBezTo>
                  <a:cubicBezTo>
                    <a:pt x="507" y="884"/>
                    <a:pt x="506" y="883"/>
                    <a:pt x="504" y="883"/>
                  </a:cubicBezTo>
                  <a:cubicBezTo>
                    <a:pt x="504" y="883"/>
                    <a:pt x="504" y="883"/>
                    <a:pt x="504" y="883"/>
                  </a:cubicBezTo>
                  <a:cubicBezTo>
                    <a:pt x="502" y="883"/>
                    <a:pt x="504" y="885"/>
                    <a:pt x="504" y="885"/>
                  </a:cubicBezTo>
                  <a:cubicBezTo>
                    <a:pt x="505" y="887"/>
                    <a:pt x="504" y="890"/>
                    <a:pt x="504" y="892"/>
                  </a:cubicBezTo>
                  <a:cubicBezTo>
                    <a:pt x="505" y="888"/>
                    <a:pt x="509" y="885"/>
                    <a:pt x="513" y="883"/>
                  </a:cubicBezTo>
                  <a:cubicBezTo>
                    <a:pt x="517" y="881"/>
                    <a:pt x="520" y="879"/>
                    <a:pt x="523" y="876"/>
                  </a:cubicBezTo>
                  <a:cubicBezTo>
                    <a:pt x="530" y="870"/>
                    <a:pt x="535" y="864"/>
                    <a:pt x="539" y="857"/>
                  </a:cubicBezTo>
                  <a:cubicBezTo>
                    <a:pt x="542" y="853"/>
                    <a:pt x="544" y="850"/>
                    <a:pt x="546" y="846"/>
                  </a:cubicBezTo>
                  <a:cubicBezTo>
                    <a:pt x="549" y="840"/>
                    <a:pt x="552" y="834"/>
                    <a:pt x="555" y="828"/>
                  </a:cubicBezTo>
                  <a:cubicBezTo>
                    <a:pt x="556" y="824"/>
                    <a:pt x="558" y="820"/>
                    <a:pt x="561" y="818"/>
                  </a:cubicBezTo>
                  <a:cubicBezTo>
                    <a:pt x="566" y="813"/>
                    <a:pt x="571" y="808"/>
                    <a:pt x="577" y="804"/>
                  </a:cubicBezTo>
                  <a:cubicBezTo>
                    <a:pt x="578" y="802"/>
                    <a:pt x="580" y="801"/>
                    <a:pt x="581" y="799"/>
                  </a:cubicBezTo>
                  <a:cubicBezTo>
                    <a:pt x="581" y="799"/>
                    <a:pt x="580" y="799"/>
                    <a:pt x="580" y="799"/>
                  </a:cubicBezTo>
                  <a:cubicBezTo>
                    <a:pt x="578" y="799"/>
                    <a:pt x="578" y="796"/>
                    <a:pt x="579" y="794"/>
                  </a:cubicBezTo>
                  <a:cubicBezTo>
                    <a:pt x="580" y="795"/>
                    <a:pt x="580" y="796"/>
                    <a:pt x="581" y="798"/>
                  </a:cubicBezTo>
                  <a:cubicBezTo>
                    <a:pt x="581" y="794"/>
                    <a:pt x="584" y="791"/>
                    <a:pt x="584" y="786"/>
                  </a:cubicBezTo>
                  <a:cubicBezTo>
                    <a:pt x="584" y="781"/>
                    <a:pt x="584" y="776"/>
                    <a:pt x="584" y="770"/>
                  </a:cubicBezTo>
                  <a:cubicBezTo>
                    <a:pt x="584" y="766"/>
                    <a:pt x="584" y="767"/>
                    <a:pt x="587" y="765"/>
                  </a:cubicBezTo>
                  <a:cubicBezTo>
                    <a:pt x="587" y="765"/>
                    <a:pt x="587" y="765"/>
                    <a:pt x="587" y="765"/>
                  </a:cubicBezTo>
                  <a:cubicBezTo>
                    <a:pt x="583" y="765"/>
                    <a:pt x="583" y="758"/>
                    <a:pt x="583" y="754"/>
                  </a:cubicBezTo>
                  <a:cubicBezTo>
                    <a:pt x="582" y="752"/>
                    <a:pt x="585" y="748"/>
                    <a:pt x="584" y="746"/>
                  </a:cubicBezTo>
                  <a:cubicBezTo>
                    <a:pt x="583" y="745"/>
                    <a:pt x="583" y="745"/>
                    <a:pt x="583" y="745"/>
                  </a:cubicBezTo>
                  <a:cubicBezTo>
                    <a:pt x="584" y="746"/>
                    <a:pt x="584" y="746"/>
                    <a:pt x="585" y="747"/>
                  </a:cubicBezTo>
                  <a:cubicBezTo>
                    <a:pt x="585" y="746"/>
                    <a:pt x="587" y="742"/>
                    <a:pt x="587" y="742"/>
                  </a:cubicBezTo>
                  <a:cubicBezTo>
                    <a:pt x="587" y="741"/>
                    <a:pt x="586" y="741"/>
                    <a:pt x="586" y="741"/>
                  </a:cubicBezTo>
                  <a:cubicBezTo>
                    <a:pt x="586" y="741"/>
                    <a:pt x="585" y="741"/>
                    <a:pt x="585" y="741"/>
                  </a:cubicBezTo>
                  <a:cubicBezTo>
                    <a:pt x="584" y="741"/>
                    <a:pt x="583" y="742"/>
                    <a:pt x="583" y="743"/>
                  </a:cubicBezTo>
                  <a:cubicBezTo>
                    <a:pt x="582" y="743"/>
                    <a:pt x="582" y="743"/>
                    <a:pt x="582" y="743"/>
                  </a:cubicBezTo>
                  <a:cubicBezTo>
                    <a:pt x="581" y="742"/>
                    <a:pt x="581" y="740"/>
                    <a:pt x="580" y="737"/>
                  </a:cubicBezTo>
                  <a:cubicBezTo>
                    <a:pt x="580" y="739"/>
                    <a:pt x="581" y="740"/>
                    <a:pt x="581" y="741"/>
                  </a:cubicBezTo>
                  <a:cubicBezTo>
                    <a:pt x="583" y="740"/>
                    <a:pt x="585" y="737"/>
                    <a:pt x="585" y="735"/>
                  </a:cubicBezTo>
                  <a:cubicBezTo>
                    <a:pt x="585" y="733"/>
                    <a:pt x="585" y="732"/>
                    <a:pt x="583" y="732"/>
                  </a:cubicBezTo>
                  <a:cubicBezTo>
                    <a:pt x="583" y="732"/>
                    <a:pt x="583" y="732"/>
                    <a:pt x="583" y="732"/>
                  </a:cubicBezTo>
                  <a:cubicBezTo>
                    <a:pt x="583" y="732"/>
                    <a:pt x="583" y="732"/>
                    <a:pt x="583" y="732"/>
                  </a:cubicBezTo>
                  <a:cubicBezTo>
                    <a:pt x="582" y="732"/>
                    <a:pt x="582" y="732"/>
                    <a:pt x="581" y="732"/>
                  </a:cubicBezTo>
                  <a:cubicBezTo>
                    <a:pt x="581" y="732"/>
                    <a:pt x="581" y="732"/>
                    <a:pt x="581" y="732"/>
                  </a:cubicBezTo>
                  <a:cubicBezTo>
                    <a:pt x="583" y="732"/>
                    <a:pt x="583" y="732"/>
                    <a:pt x="584" y="731"/>
                  </a:cubicBezTo>
                  <a:cubicBezTo>
                    <a:pt x="585" y="730"/>
                    <a:pt x="590" y="726"/>
                    <a:pt x="590" y="725"/>
                  </a:cubicBezTo>
                  <a:cubicBezTo>
                    <a:pt x="590" y="725"/>
                    <a:pt x="590" y="725"/>
                    <a:pt x="590" y="725"/>
                  </a:cubicBezTo>
                  <a:cubicBezTo>
                    <a:pt x="589" y="725"/>
                    <a:pt x="589" y="725"/>
                    <a:pt x="589" y="725"/>
                  </a:cubicBezTo>
                  <a:cubicBezTo>
                    <a:pt x="589" y="725"/>
                    <a:pt x="589" y="725"/>
                    <a:pt x="589" y="725"/>
                  </a:cubicBezTo>
                  <a:cubicBezTo>
                    <a:pt x="589" y="725"/>
                    <a:pt x="589" y="725"/>
                    <a:pt x="589" y="725"/>
                  </a:cubicBezTo>
                  <a:cubicBezTo>
                    <a:pt x="588" y="725"/>
                    <a:pt x="586" y="724"/>
                    <a:pt x="586" y="724"/>
                  </a:cubicBezTo>
                  <a:cubicBezTo>
                    <a:pt x="585" y="724"/>
                    <a:pt x="584" y="723"/>
                    <a:pt x="583" y="722"/>
                  </a:cubicBezTo>
                  <a:cubicBezTo>
                    <a:pt x="583" y="722"/>
                    <a:pt x="583" y="722"/>
                    <a:pt x="583" y="722"/>
                  </a:cubicBezTo>
                  <a:cubicBezTo>
                    <a:pt x="582" y="721"/>
                    <a:pt x="582" y="721"/>
                    <a:pt x="581" y="720"/>
                  </a:cubicBezTo>
                  <a:cubicBezTo>
                    <a:pt x="581" y="720"/>
                    <a:pt x="581" y="720"/>
                    <a:pt x="581" y="720"/>
                  </a:cubicBezTo>
                  <a:cubicBezTo>
                    <a:pt x="582" y="721"/>
                    <a:pt x="582" y="721"/>
                    <a:pt x="583" y="722"/>
                  </a:cubicBezTo>
                  <a:cubicBezTo>
                    <a:pt x="583" y="722"/>
                    <a:pt x="583" y="722"/>
                    <a:pt x="584" y="722"/>
                  </a:cubicBezTo>
                  <a:cubicBezTo>
                    <a:pt x="584" y="722"/>
                    <a:pt x="585" y="722"/>
                    <a:pt x="585" y="721"/>
                  </a:cubicBezTo>
                  <a:cubicBezTo>
                    <a:pt x="587" y="720"/>
                    <a:pt x="588" y="718"/>
                    <a:pt x="589" y="718"/>
                  </a:cubicBezTo>
                  <a:cubicBezTo>
                    <a:pt x="589" y="718"/>
                    <a:pt x="589" y="718"/>
                    <a:pt x="589" y="718"/>
                  </a:cubicBezTo>
                  <a:cubicBezTo>
                    <a:pt x="590" y="718"/>
                    <a:pt x="590" y="718"/>
                    <a:pt x="591" y="717"/>
                  </a:cubicBezTo>
                  <a:cubicBezTo>
                    <a:pt x="591" y="718"/>
                    <a:pt x="591" y="719"/>
                    <a:pt x="591" y="720"/>
                  </a:cubicBezTo>
                  <a:cubicBezTo>
                    <a:pt x="592" y="719"/>
                    <a:pt x="593" y="719"/>
                    <a:pt x="594" y="719"/>
                  </a:cubicBezTo>
                  <a:cubicBezTo>
                    <a:pt x="594" y="719"/>
                    <a:pt x="595" y="719"/>
                    <a:pt x="596" y="719"/>
                  </a:cubicBezTo>
                  <a:cubicBezTo>
                    <a:pt x="596" y="719"/>
                    <a:pt x="596" y="719"/>
                    <a:pt x="596" y="719"/>
                  </a:cubicBezTo>
                  <a:cubicBezTo>
                    <a:pt x="597" y="719"/>
                    <a:pt x="601" y="714"/>
                    <a:pt x="601" y="713"/>
                  </a:cubicBezTo>
                  <a:cubicBezTo>
                    <a:pt x="601" y="713"/>
                    <a:pt x="599" y="712"/>
                    <a:pt x="598" y="712"/>
                  </a:cubicBezTo>
                  <a:cubicBezTo>
                    <a:pt x="598" y="712"/>
                    <a:pt x="598" y="712"/>
                    <a:pt x="598" y="712"/>
                  </a:cubicBezTo>
                  <a:cubicBezTo>
                    <a:pt x="598" y="712"/>
                    <a:pt x="598" y="712"/>
                    <a:pt x="598" y="712"/>
                  </a:cubicBezTo>
                  <a:cubicBezTo>
                    <a:pt x="598" y="712"/>
                    <a:pt x="598" y="712"/>
                    <a:pt x="598" y="712"/>
                  </a:cubicBezTo>
                  <a:cubicBezTo>
                    <a:pt x="598" y="712"/>
                    <a:pt x="598" y="712"/>
                    <a:pt x="598" y="712"/>
                  </a:cubicBezTo>
                  <a:cubicBezTo>
                    <a:pt x="598" y="712"/>
                    <a:pt x="598" y="712"/>
                    <a:pt x="598" y="712"/>
                  </a:cubicBezTo>
                  <a:cubicBezTo>
                    <a:pt x="598" y="711"/>
                    <a:pt x="598" y="711"/>
                    <a:pt x="598" y="711"/>
                  </a:cubicBezTo>
                  <a:cubicBezTo>
                    <a:pt x="599" y="712"/>
                    <a:pt x="598" y="711"/>
                    <a:pt x="598" y="712"/>
                  </a:cubicBezTo>
                  <a:cubicBezTo>
                    <a:pt x="598" y="712"/>
                    <a:pt x="598" y="712"/>
                    <a:pt x="598" y="712"/>
                  </a:cubicBezTo>
                  <a:cubicBezTo>
                    <a:pt x="602" y="709"/>
                    <a:pt x="605" y="706"/>
                    <a:pt x="609" y="704"/>
                  </a:cubicBezTo>
                  <a:cubicBezTo>
                    <a:pt x="615" y="700"/>
                    <a:pt x="621" y="697"/>
                    <a:pt x="627" y="693"/>
                  </a:cubicBezTo>
                  <a:cubicBezTo>
                    <a:pt x="630" y="691"/>
                    <a:pt x="633" y="689"/>
                    <a:pt x="636" y="687"/>
                  </a:cubicBezTo>
                  <a:cubicBezTo>
                    <a:pt x="637" y="687"/>
                    <a:pt x="636" y="684"/>
                    <a:pt x="636" y="683"/>
                  </a:cubicBezTo>
                  <a:cubicBezTo>
                    <a:pt x="636" y="684"/>
                    <a:pt x="637" y="684"/>
                    <a:pt x="638" y="684"/>
                  </a:cubicBezTo>
                  <a:cubicBezTo>
                    <a:pt x="639" y="684"/>
                    <a:pt x="641" y="683"/>
                    <a:pt x="642" y="683"/>
                  </a:cubicBezTo>
                  <a:cubicBezTo>
                    <a:pt x="645" y="682"/>
                    <a:pt x="647" y="681"/>
                    <a:pt x="650" y="681"/>
                  </a:cubicBezTo>
                  <a:cubicBezTo>
                    <a:pt x="651" y="681"/>
                    <a:pt x="651" y="681"/>
                    <a:pt x="652" y="681"/>
                  </a:cubicBezTo>
                  <a:cubicBezTo>
                    <a:pt x="653" y="681"/>
                    <a:pt x="656" y="682"/>
                    <a:pt x="657" y="682"/>
                  </a:cubicBezTo>
                  <a:cubicBezTo>
                    <a:pt x="658" y="682"/>
                    <a:pt x="658" y="682"/>
                    <a:pt x="659" y="682"/>
                  </a:cubicBezTo>
                  <a:cubicBezTo>
                    <a:pt x="659" y="682"/>
                    <a:pt x="658" y="681"/>
                    <a:pt x="659" y="680"/>
                  </a:cubicBezTo>
                  <a:cubicBezTo>
                    <a:pt x="660" y="679"/>
                    <a:pt x="661" y="678"/>
                    <a:pt x="663" y="677"/>
                  </a:cubicBezTo>
                  <a:cubicBezTo>
                    <a:pt x="668" y="674"/>
                    <a:pt x="674" y="672"/>
                    <a:pt x="680" y="669"/>
                  </a:cubicBezTo>
                  <a:cubicBezTo>
                    <a:pt x="679" y="668"/>
                    <a:pt x="678" y="668"/>
                    <a:pt x="678" y="668"/>
                  </a:cubicBezTo>
                  <a:cubicBezTo>
                    <a:pt x="677" y="667"/>
                    <a:pt x="676" y="665"/>
                    <a:pt x="676" y="664"/>
                  </a:cubicBezTo>
                  <a:cubicBezTo>
                    <a:pt x="676" y="663"/>
                    <a:pt x="676" y="663"/>
                    <a:pt x="676" y="663"/>
                  </a:cubicBezTo>
                  <a:cubicBezTo>
                    <a:pt x="676" y="663"/>
                    <a:pt x="676" y="663"/>
                    <a:pt x="676" y="663"/>
                  </a:cubicBezTo>
                  <a:cubicBezTo>
                    <a:pt x="676" y="663"/>
                    <a:pt x="676" y="663"/>
                    <a:pt x="676" y="663"/>
                  </a:cubicBezTo>
                  <a:cubicBezTo>
                    <a:pt x="677" y="663"/>
                    <a:pt x="677" y="663"/>
                    <a:pt x="677" y="663"/>
                  </a:cubicBezTo>
                  <a:cubicBezTo>
                    <a:pt x="677" y="662"/>
                    <a:pt x="682" y="660"/>
                    <a:pt x="683" y="660"/>
                  </a:cubicBezTo>
                  <a:cubicBezTo>
                    <a:pt x="683" y="660"/>
                    <a:pt x="684" y="660"/>
                    <a:pt x="684" y="660"/>
                  </a:cubicBezTo>
                  <a:cubicBezTo>
                    <a:pt x="685" y="660"/>
                    <a:pt x="683" y="662"/>
                    <a:pt x="683" y="662"/>
                  </a:cubicBezTo>
                  <a:cubicBezTo>
                    <a:pt x="688" y="663"/>
                    <a:pt x="688" y="663"/>
                    <a:pt x="688" y="663"/>
                  </a:cubicBezTo>
                  <a:cubicBezTo>
                    <a:pt x="690" y="663"/>
                    <a:pt x="692" y="660"/>
                    <a:pt x="694" y="660"/>
                  </a:cubicBezTo>
                  <a:cubicBezTo>
                    <a:pt x="694" y="660"/>
                    <a:pt x="695" y="660"/>
                    <a:pt x="695" y="660"/>
                  </a:cubicBezTo>
                  <a:cubicBezTo>
                    <a:pt x="699" y="660"/>
                    <a:pt x="703" y="661"/>
                    <a:pt x="706" y="661"/>
                  </a:cubicBezTo>
                  <a:cubicBezTo>
                    <a:pt x="707" y="661"/>
                    <a:pt x="708" y="662"/>
                    <a:pt x="709" y="662"/>
                  </a:cubicBezTo>
                  <a:cubicBezTo>
                    <a:pt x="710" y="662"/>
                    <a:pt x="711" y="661"/>
                    <a:pt x="711" y="660"/>
                  </a:cubicBezTo>
                  <a:cubicBezTo>
                    <a:pt x="711" y="659"/>
                    <a:pt x="710" y="659"/>
                    <a:pt x="709" y="659"/>
                  </a:cubicBezTo>
                  <a:cubicBezTo>
                    <a:pt x="709" y="659"/>
                    <a:pt x="709" y="658"/>
                    <a:pt x="709" y="658"/>
                  </a:cubicBezTo>
                  <a:cubicBezTo>
                    <a:pt x="710" y="657"/>
                    <a:pt x="712" y="654"/>
                    <a:pt x="713" y="654"/>
                  </a:cubicBezTo>
                  <a:cubicBezTo>
                    <a:pt x="714" y="654"/>
                    <a:pt x="714" y="654"/>
                    <a:pt x="714" y="654"/>
                  </a:cubicBezTo>
                  <a:cubicBezTo>
                    <a:pt x="715" y="655"/>
                    <a:pt x="713" y="656"/>
                    <a:pt x="713" y="656"/>
                  </a:cubicBezTo>
                  <a:cubicBezTo>
                    <a:pt x="713" y="657"/>
                    <a:pt x="713" y="658"/>
                    <a:pt x="712" y="659"/>
                  </a:cubicBezTo>
                  <a:cubicBezTo>
                    <a:pt x="716" y="660"/>
                    <a:pt x="720" y="661"/>
                    <a:pt x="724" y="661"/>
                  </a:cubicBezTo>
                  <a:cubicBezTo>
                    <a:pt x="726" y="661"/>
                    <a:pt x="730" y="662"/>
                    <a:pt x="734" y="662"/>
                  </a:cubicBezTo>
                  <a:cubicBezTo>
                    <a:pt x="736" y="662"/>
                    <a:pt x="737" y="662"/>
                    <a:pt x="738" y="661"/>
                  </a:cubicBezTo>
                  <a:cubicBezTo>
                    <a:pt x="738" y="661"/>
                    <a:pt x="738" y="661"/>
                    <a:pt x="738" y="661"/>
                  </a:cubicBezTo>
                  <a:cubicBezTo>
                    <a:pt x="737" y="661"/>
                    <a:pt x="737" y="659"/>
                    <a:pt x="738" y="659"/>
                  </a:cubicBezTo>
                  <a:cubicBezTo>
                    <a:pt x="738" y="658"/>
                    <a:pt x="740" y="657"/>
                    <a:pt x="741" y="656"/>
                  </a:cubicBezTo>
                  <a:cubicBezTo>
                    <a:pt x="740" y="656"/>
                    <a:pt x="740" y="656"/>
                    <a:pt x="740" y="656"/>
                  </a:cubicBezTo>
                  <a:cubicBezTo>
                    <a:pt x="739" y="656"/>
                    <a:pt x="738" y="655"/>
                    <a:pt x="738" y="654"/>
                  </a:cubicBezTo>
                  <a:cubicBezTo>
                    <a:pt x="738" y="648"/>
                    <a:pt x="747" y="645"/>
                    <a:pt x="752" y="642"/>
                  </a:cubicBezTo>
                  <a:cubicBezTo>
                    <a:pt x="754" y="641"/>
                    <a:pt x="761" y="639"/>
                    <a:pt x="762" y="636"/>
                  </a:cubicBezTo>
                  <a:cubicBezTo>
                    <a:pt x="762" y="635"/>
                    <a:pt x="761" y="634"/>
                    <a:pt x="761" y="633"/>
                  </a:cubicBezTo>
                  <a:cubicBezTo>
                    <a:pt x="760" y="631"/>
                    <a:pt x="760" y="627"/>
                    <a:pt x="760" y="626"/>
                  </a:cubicBezTo>
                  <a:cubicBezTo>
                    <a:pt x="761" y="621"/>
                    <a:pt x="764" y="614"/>
                    <a:pt x="767" y="610"/>
                  </a:cubicBezTo>
                  <a:cubicBezTo>
                    <a:pt x="769" y="607"/>
                    <a:pt x="772" y="605"/>
                    <a:pt x="775" y="603"/>
                  </a:cubicBezTo>
                  <a:cubicBezTo>
                    <a:pt x="777" y="601"/>
                    <a:pt x="776" y="597"/>
                    <a:pt x="776" y="595"/>
                  </a:cubicBezTo>
                  <a:cubicBezTo>
                    <a:pt x="777" y="595"/>
                    <a:pt x="778" y="596"/>
                    <a:pt x="778" y="596"/>
                  </a:cubicBezTo>
                  <a:cubicBezTo>
                    <a:pt x="780" y="596"/>
                    <a:pt x="779" y="591"/>
                    <a:pt x="781" y="589"/>
                  </a:cubicBezTo>
                  <a:cubicBezTo>
                    <a:pt x="784" y="585"/>
                    <a:pt x="790" y="579"/>
                    <a:pt x="791" y="574"/>
                  </a:cubicBezTo>
                  <a:cubicBezTo>
                    <a:pt x="792" y="572"/>
                    <a:pt x="791" y="569"/>
                    <a:pt x="791" y="567"/>
                  </a:cubicBezTo>
                  <a:cubicBezTo>
                    <a:pt x="790" y="566"/>
                    <a:pt x="790" y="565"/>
                    <a:pt x="790" y="563"/>
                  </a:cubicBezTo>
                  <a:cubicBezTo>
                    <a:pt x="790" y="559"/>
                    <a:pt x="790" y="551"/>
                    <a:pt x="793" y="547"/>
                  </a:cubicBezTo>
                  <a:cubicBezTo>
                    <a:pt x="796" y="544"/>
                    <a:pt x="804" y="537"/>
                    <a:pt x="804" y="533"/>
                  </a:cubicBezTo>
                  <a:cubicBezTo>
                    <a:pt x="804" y="532"/>
                    <a:pt x="803" y="530"/>
                    <a:pt x="803" y="530"/>
                  </a:cubicBezTo>
                  <a:cubicBezTo>
                    <a:pt x="801" y="519"/>
                    <a:pt x="806" y="506"/>
                    <a:pt x="809" y="496"/>
                  </a:cubicBezTo>
                  <a:cubicBezTo>
                    <a:pt x="809" y="492"/>
                    <a:pt x="808" y="487"/>
                    <a:pt x="808" y="483"/>
                  </a:cubicBezTo>
                  <a:cubicBezTo>
                    <a:pt x="808" y="475"/>
                    <a:pt x="808" y="467"/>
                    <a:pt x="808" y="459"/>
                  </a:cubicBezTo>
                  <a:cubicBezTo>
                    <a:pt x="808" y="455"/>
                    <a:pt x="808" y="451"/>
                    <a:pt x="809" y="447"/>
                  </a:cubicBezTo>
                  <a:cubicBezTo>
                    <a:pt x="809" y="445"/>
                    <a:pt x="809" y="443"/>
                    <a:pt x="809" y="443"/>
                  </a:cubicBezTo>
                  <a:cubicBezTo>
                    <a:pt x="809" y="443"/>
                    <a:pt x="809" y="444"/>
                    <a:pt x="808" y="444"/>
                  </a:cubicBezTo>
                  <a:cubicBezTo>
                    <a:pt x="808" y="443"/>
                    <a:pt x="804" y="440"/>
                    <a:pt x="804" y="439"/>
                  </a:cubicBezTo>
                  <a:cubicBezTo>
                    <a:pt x="804" y="439"/>
                    <a:pt x="804" y="439"/>
                    <a:pt x="804" y="439"/>
                  </a:cubicBezTo>
                  <a:cubicBezTo>
                    <a:pt x="805" y="439"/>
                    <a:pt x="805" y="439"/>
                    <a:pt x="805" y="439"/>
                  </a:cubicBezTo>
                  <a:cubicBezTo>
                    <a:pt x="808" y="438"/>
                    <a:pt x="808" y="434"/>
                    <a:pt x="807" y="434"/>
                  </a:cubicBezTo>
                  <a:cubicBezTo>
                    <a:pt x="806" y="434"/>
                    <a:pt x="806" y="435"/>
                    <a:pt x="805" y="436"/>
                  </a:cubicBezTo>
                  <a:cubicBezTo>
                    <a:pt x="806" y="434"/>
                    <a:pt x="806" y="432"/>
                    <a:pt x="806" y="430"/>
                  </a:cubicBezTo>
                  <a:cubicBezTo>
                    <a:pt x="807" y="431"/>
                    <a:pt x="807" y="431"/>
                    <a:pt x="807" y="431"/>
                  </a:cubicBezTo>
                  <a:cubicBezTo>
                    <a:pt x="810" y="428"/>
                    <a:pt x="812" y="423"/>
                    <a:pt x="814" y="419"/>
                  </a:cubicBezTo>
                  <a:cubicBezTo>
                    <a:pt x="814" y="419"/>
                    <a:pt x="814" y="419"/>
                    <a:pt x="813" y="419"/>
                  </a:cubicBezTo>
                  <a:cubicBezTo>
                    <a:pt x="812" y="419"/>
                    <a:pt x="809" y="416"/>
                    <a:pt x="810" y="414"/>
                  </a:cubicBezTo>
                  <a:cubicBezTo>
                    <a:pt x="810" y="415"/>
                    <a:pt x="810" y="416"/>
                    <a:pt x="810" y="417"/>
                  </a:cubicBezTo>
                  <a:cubicBezTo>
                    <a:pt x="812" y="415"/>
                    <a:pt x="813" y="413"/>
                    <a:pt x="815" y="413"/>
                  </a:cubicBezTo>
                  <a:cubicBezTo>
                    <a:pt x="815" y="413"/>
                    <a:pt x="816" y="413"/>
                    <a:pt x="816" y="414"/>
                  </a:cubicBezTo>
                  <a:cubicBezTo>
                    <a:pt x="819" y="416"/>
                    <a:pt x="819" y="419"/>
                    <a:pt x="820" y="422"/>
                  </a:cubicBezTo>
                  <a:cubicBezTo>
                    <a:pt x="823" y="420"/>
                    <a:pt x="825" y="418"/>
                    <a:pt x="828" y="415"/>
                  </a:cubicBezTo>
                  <a:cubicBezTo>
                    <a:pt x="829" y="414"/>
                    <a:pt x="830" y="413"/>
                    <a:pt x="831" y="411"/>
                  </a:cubicBezTo>
                  <a:cubicBezTo>
                    <a:pt x="833" y="408"/>
                    <a:pt x="835" y="405"/>
                    <a:pt x="837" y="401"/>
                  </a:cubicBezTo>
                  <a:cubicBezTo>
                    <a:pt x="839" y="397"/>
                    <a:pt x="844" y="391"/>
                    <a:pt x="845" y="386"/>
                  </a:cubicBezTo>
                  <a:cubicBezTo>
                    <a:pt x="844" y="386"/>
                    <a:pt x="843" y="387"/>
                    <a:pt x="843" y="387"/>
                  </a:cubicBezTo>
                  <a:cubicBezTo>
                    <a:pt x="843" y="385"/>
                    <a:pt x="844" y="382"/>
                    <a:pt x="845" y="380"/>
                  </a:cubicBezTo>
                  <a:cubicBezTo>
                    <a:pt x="846" y="380"/>
                    <a:pt x="846" y="380"/>
                    <a:pt x="847" y="380"/>
                  </a:cubicBezTo>
                  <a:cubicBezTo>
                    <a:pt x="847" y="380"/>
                    <a:pt x="847" y="380"/>
                    <a:pt x="847" y="380"/>
                  </a:cubicBezTo>
                  <a:cubicBezTo>
                    <a:pt x="848" y="380"/>
                    <a:pt x="848" y="380"/>
                    <a:pt x="848" y="380"/>
                  </a:cubicBezTo>
                  <a:cubicBezTo>
                    <a:pt x="848" y="380"/>
                    <a:pt x="849" y="380"/>
                    <a:pt x="849" y="379"/>
                  </a:cubicBezTo>
                  <a:cubicBezTo>
                    <a:pt x="852" y="378"/>
                    <a:pt x="848" y="377"/>
                    <a:pt x="848" y="375"/>
                  </a:cubicBezTo>
                  <a:cubicBezTo>
                    <a:pt x="850" y="375"/>
                    <a:pt x="855" y="373"/>
                    <a:pt x="851" y="371"/>
                  </a:cubicBezTo>
                  <a:cubicBezTo>
                    <a:pt x="851" y="370"/>
                    <a:pt x="852" y="369"/>
                    <a:pt x="852" y="369"/>
                  </a:cubicBezTo>
                  <a:cubicBezTo>
                    <a:pt x="853" y="370"/>
                    <a:pt x="853" y="372"/>
                    <a:pt x="854" y="373"/>
                  </a:cubicBezTo>
                  <a:cubicBezTo>
                    <a:pt x="855" y="371"/>
                    <a:pt x="858" y="369"/>
                    <a:pt x="860" y="367"/>
                  </a:cubicBezTo>
                  <a:cubicBezTo>
                    <a:pt x="861" y="366"/>
                    <a:pt x="863" y="365"/>
                    <a:pt x="865" y="364"/>
                  </a:cubicBezTo>
                  <a:cubicBezTo>
                    <a:pt x="868" y="363"/>
                    <a:pt x="868" y="362"/>
                    <a:pt x="870" y="359"/>
                  </a:cubicBezTo>
                  <a:cubicBezTo>
                    <a:pt x="872" y="355"/>
                    <a:pt x="876" y="352"/>
                    <a:pt x="879" y="348"/>
                  </a:cubicBezTo>
                  <a:cubicBezTo>
                    <a:pt x="882" y="345"/>
                    <a:pt x="880" y="344"/>
                    <a:pt x="879" y="342"/>
                  </a:cubicBezTo>
                  <a:cubicBezTo>
                    <a:pt x="879" y="342"/>
                    <a:pt x="879" y="343"/>
                    <a:pt x="880" y="343"/>
                  </a:cubicBezTo>
                  <a:cubicBezTo>
                    <a:pt x="882" y="343"/>
                    <a:pt x="887" y="340"/>
                    <a:pt x="887" y="339"/>
                  </a:cubicBezTo>
                  <a:cubicBezTo>
                    <a:pt x="891" y="334"/>
                    <a:pt x="896" y="328"/>
                    <a:pt x="898" y="322"/>
                  </a:cubicBezTo>
                  <a:cubicBezTo>
                    <a:pt x="900" y="316"/>
                    <a:pt x="903" y="309"/>
                    <a:pt x="904" y="302"/>
                  </a:cubicBezTo>
                  <a:cubicBezTo>
                    <a:pt x="904" y="299"/>
                    <a:pt x="902" y="296"/>
                    <a:pt x="903" y="293"/>
                  </a:cubicBezTo>
                  <a:cubicBezTo>
                    <a:pt x="904" y="290"/>
                    <a:pt x="905" y="287"/>
                    <a:pt x="905" y="284"/>
                  </a:cubicBezTo>
                  <a:cubicBezTo>
                    <a:pt x="904" y="271"/>
                    <a:pt x="897" y="256"/>
                    <a:pt x="893" y="244"/>
                  </a:cubicBezTo>
                  <a:cubicBezTo>
                    <a:pt x="890" y="237"/>
                    <a:pt x="884" y="236"/>
                    <a:pt x="878" y="236"/>
                  </a:cubicBezTo>
                  <a:cubicBezTo>
                    <a:pt x="876" y="236"/>
                    <a:pt x="873" y="236"/>
                    <a:pt x="871" y="236"/>
                  </a:cubicBezTo>
                  <a:cubicBezTo>
                    <a:pt x="868" y="237"/>
                    <a:pt x="866" y="237"/>
                    <a:pt x="864" y="237"/>
                  </a:cubicBezTo>
                  <a:cubicBezTo>
                    <a:pt x="864" y="237"/>
                    <a:pt x="864" y="237"/>
                    <a:pt x="864" y="237"/>
                  </a:cubicBezTo>
                  <a:cubicBezTo>
                    <a:pt x="858" y="237"/>
                    <a:pt x="851" y="233"/>
                    <a:pt x="847" y="230"/>
                  </a:cubicBezTo>
                  <a:cubicBezTo>
                    <a:pt x="842" y="225"/>
                    <a:pt x="836" y="221"/>
                    <a:pt x="831" y="217"/>
                  </a:cubicBezTo>
                  <a:cubicBezTo>
                    <a:pt x="821" y="207"/>
                    <a:pt x="810" y="200"/>
                    <a:pt x="797" y="193"/>
                  </a:cubicBezTo>
                  <a:cubicBezTo>
                    <a:pt x="790" y="189"/>
                    <a:pt x="784" y="187"/>
                    <a:pt x="776" y="184"/>
                  </a:cubicBezTo>
                  <a:cubicBezTo>
                    <a:pt x="775" y="184"/>
                    <a:pt x="774" y="184"/>
                    <a:pt x="774" y="184"/>
                  </a:cubicBezTo>
                  <a:cubicBezTo>
                    <a:pt x="772" y="184"/>
                    <a:pt x="772" y="184"/>
                    <a:pt x="770" y="184"/>
                  </a:cubicBezTo>
                  <a:cubicBezTo>
                    <a:pt x="767" y="184"/>
                    <a:pt x="765" y="185"/>
                    <a:pt x="763" y="185"/>
                  </a:cubicBezTo>
                  <a:cubicBezTo>
                    <a:pt x="762" y="185"/>
                    <a:pt x="762" y="185"/>
                    <a:pt x="762" y="185"/>
                  </a:cubicBezTo>
                  <a:cubicBezTo>
                    <a:pt x="761" y="185"/>
                    <a:pt x="760" y="185"/>
                    <a:pt x="760" y="185"/>
                  </a:cubicBezTo>
                  <a:cubicBezTo>
                    <a:pt x="759" y="185"/>
                    <a:pt x="758" y="185"/>
                    <a:pt x="758" y="185"/>
                  </a:cubicBezTo>
                  <a:cubicBezTo>
                    <a:pt x="756" y="185"/>
                    <a:pt x="755" y="185"/>
                    <a:pt x="754" y="186"/>
                  </a:cubicBezTo>
                  <a:cubicBezTo>
                    <a:pt x="755" y="186"/>
                    <a:pt x="755" y="188"/>
                    <a:pt x="755" y="189"/>
                  </a:cubicBezTo>
                  <a:cubicBezTo>
                    <a:pt x="752" y="187"/>
                    <a:pt x="745" y="183"/>
                    <a:pt x="742" y="183"/>
                  </a:cubicBezTo>
                  <a:cubicBezTo>
                    <a:pt x="741" y="183"/>
                    <a:pt x="741" y="183"/>
                    <a:pt x="741" y="183"/>
                  </a:cubicBezTo>
                  <a:cubicBezTo>
                    <a:pt x="738" y="183"/>
                    <a:pt x="735" y="184"/>
                    <a:pt x="733" y="184"/>
                  </a:cubicBezTo>
                  <a:cubicBezTo>
                    <a:pt x="733" y="184"/>
                    <a:pt x="732" y="184"/>
                    <a:pt x="732" y="184"/>
                  </a:cubicBezTo>
                  <a:cubicBezTo>
                    <a:pt x="730" y="184"/>
                    <a:pt x="728" y="182"/>
                    <a:pt x="726" y="181"/>
                  </a:cubicBezTo>
                  <a:cubicBezTo>
                    <a:pt x="720" y="179"/>
                    <a:pt x="714" y="177"/>
                    <a:pt x="709" y="175"/>
                  </a:cubicBezTo>
                  <a:cubicBezTo>
                    <a:pt x="708" y="175"/>
                    <a:pt x="705" y="174"/>
                    <a:pt x="704" y="174"/>
                  </a:cubicBezTo>
                  <a:cubicBezTo>
                    <a:pt x="704" y="174"/>
                    <a:pt x="703" y="174"/>
                    <a:pt x="704" y="175"/>
                  </a:cubicBezTo>
                  <a:cubicBezTo>
                    <a:pt x="700" y="176"/>
                    <a:pt x="696" y="176"/>
                    <a:pt x="693" y="178"/>
                  </a:cubicBezTo>
                  <a:cubicBezTo>
                    <a:pt x="692" y="178"/>
                    <a:pt x="691" y="179"/>
                    <a:pt x="691" y="180"/>
                  </a:cubicBezTo>
                  <a:cubicBezTo>
                    <a:pt x="689" y="182"/>
                    <a:pt x="688" y="183"/>
                    <a:pt x="686" y="183"/>
                  </a:cubicBezTo>
                  <a:cubicBezTo>
                    <a:pt x="685" y="183"/>
                    <a:pt x="685" y="183"/>
                    <a:pt x="683" y="183"/>
                  </a:cubicBezTo>
                  <a:cubicBezTo>
                    <a:pt x="687" y="181"/>
                    <a:pt x="689" y="177"/>
                    <a:pt x="690" y="174"/>
                  </a:cubicBezTo>
                  <a:cubicBezTo>
                    <a:pt x="690" y="174"/>
                    <a:pt x="690" y="174"/>
                    <a:pt x="690" y="174"/>
                  </a:cubicBezTo>
                  <a:cubicBezTo>
                    <a:pt x="688" y="174"/>
                    <a:pt x="684" y="176"/>
                    <a:pt x="683" y="177"/>
                  </a:cubicBezTo>
                  <a:cubicBezTo>
                    <a:pt x="682" y="178"/>
                    <a:pt x="682" y="182"/>
                    <a:pt x="682" y="183"/>
                  </a:cubicBezTo>
                  <a:cubicBezTo>
                    <a:pt x="681" y="188"/>
                    <a:pt x="678" y="190"/>
                    <a:pt x="675" y="194"/>
                  </a:cubicBezTo>
                  <a:cubicBezTo>
                    <a:pt x="674" y="194"/>
                    <a:pt x="674" y="194"/>
                    <a:pt x="674" y="194"/>
                  </a:cubicBezTo>
                  <a:cubicBezTo>
                    <a:pt x="673" y="194"/>
                    <a:pt x="674" y="193"/>
                    <a:pt x="674" y="193"/>
                  </a:cubicBezTo>
                  <a:cubicBezTo>
                    <a:pt x="674" y="193"/>
                    <a:pt x="674" y="193"/>
                    <a:pt x="674" y="193"/>
                  </a:cubicBezTo>
                  <a:cubicBezTo>
                    <a:pt x="674" y="193"/>
                    <a:pt x="675" y="192"/>
                    <a:pt x="675" y="192"/>
                  </a:cubicBezTo>
                  <a:cubicBezTo>
                    <a:pt x="676" y="187"/>
                    <a:pt x="676" y="183"/>
                    <a:pt x="678" y="178"/>
                  </a:cubicBezTo>
                  <a:cubicBezTo>
                    <a:pt x="678" y="177"/>
                    <a:pt x="678" y="177"/>
                    <a:pt x="678" y="177"/>
                  </a:cubicBezTo>
                  <a:cubicBezTo>
                    <a:pt x="678" y="178"/>
                    <a:pt x="677" y="178"/>
                    <a:pt x="676" y="179"/>
                  </a:cubicBezTo>
                  <a:cubicBezTo>
                    <a:pt x="682" y="169"/>
                    <a:pt x="682" y="169"/>
                    <a:pt x="682" y="169"/>
                  </a:cubicBezTo>
                  <a:cubicBezTo>
                    <a:pt x="682" y="168"/>
                    <a:pt x="681" y="168"/>
                    <a:pt x="681" y="168"/>
                  </a:cubicBezTo>
                  <a:cubicBezTo>
                    <a:pt x="680" y="168"/>
                    <a:pt x="679" y="169"/>
                    <a:pt x="679" y="169"/>
                  </a:cubicBezTo>
                  <a:cubicBezTo>
                    <a:pt x="678" y="169"/>
                    <a:pt x="677" y="171"/>
                    <a:pt x="677" y="171"/>
                  </a:cubicBezTo>
                  <a:cubicBezTo>
                    <a:pt x="676" y="171"/>
                    <a:pt x="676" y="171"/>
                    <a:pt x="676" y="171"/>
                  </a:cubicBezTo>
                  <a:cubicBezTo>
                    <a:pt x="676" y="171"/>
                    <a:pt x="675" y="171"/>
                    <a:pt x="675" y="171"/>
                  </a:cubicBezTo>
                  <a:cubicBezTo>
                    <a:pt x="674" y="171"/>
                    <a:pt x="674" y="171"/>
                    <a:pt x="673" y="171"/>
                  </a:cubicBezTo>
                  <a:cubicBezTo>
                    <a:pt x="673" y="171"/>
                    <a:pt x="673" y="171"/>
                    <a:pt x="672" y="171"/>
                  </a:cubicBezTo>
                  <a:cubicBezTo>
                    <a:pt x="674" y="171"/>
                    <a:pt x="675" y="171"/>
                    <a:pt x="676" y="170"/>
                  </a:cubicBezTo>
                  <a:cubicBezTo>
                    <a:pt x="677" y="169"/>
                    <a:pt x="679" y="162"/>
                    <a:pt x="679" y="161"/>
                  </a:cubicBezTo>
                  <a:cubicBezTo>
                    <a:pt x="678" y="160"/>
                    <a:pt x="677" y="159"/>
                    <a:pt x="676" y="158"/>
                  </a:cubicBezTo>
                  <a:cubicBezTo>
                    <a:pt x="676" y="160"/>
                    <a:pt x="675" y="160"/>
                    <a:pt x="674" y="160"/>
                  </a:cubicBezTo>
                  <a:cubicBezTo>
                    <a:pt x="674" y="160"/>
                    <a:pt x="673" y="160"/>
                    <a:pt x="673" y="160"/>
                  </a:cubicBezTo>
                  <a:cubicBezTo>
                    <a:pt x="673" y="160"/>
                    <a:pt x="674" y="159"/>
                    <a:pt x="675" y="158"/>
                  </a:cubicBezTo>
                  <a:cubicBezTo>
                    <a:pt x="675" y="158"/>
                    <a:pt x="675" y="158"/>
                    <a:pt x="675" y="158"/>
                  </a:cubicBezTo>
                  <a:cubicBezTo>
                    <a:pt x="673" y="158"/>
                    <a:pt x="673" y="157"/>
                    <a:pt x="673" y="156"/>
                  </a:cubicBezTo>
                  <a:cubicBezTo>
                    <a:pt x="673" y="156"/>
                    <a:pt x="673" y="156"/>
                    <a:pt x="673" y="156"/>
                  </a:cubicBezTo>
                  <a:cubicBezTo>
                    <a:pt x="672" y="155"/>
                    <a:pt x="672" y="155"/>
                    <a:pt x="672" y="155"/>
                  </a:cubicBezTo>
                  <a:cubicBezTo>
                    <a:pt x="672" y="155"/>
                    <a:pt x="672" y="155"/>
                    <a:pt x="672" y="156"/>
                  </a:cubicBezTo>
                  <a:cubicBezTo>
                    <a:pt x="671" y="156"/>
                    <a:pt x="671" y="156"/>
                    <a:pt x="671" y="156"/>
                  </a:cubicBezTo>
                  <a:cubicBezTo>
                    <a:pt x="670" y="156"/>
                    <a:pt x="670" y="156"/>
                    <a:pt x="669" y="155"/>
                  </a:cubicBezTo>
                  <a:cubicBezTo>
                    <a:pt x="670" y="155"/>
                    <a:pt x="671" y="153"/>
                    <a:pt x="671" y="151"/>
                  </a:cubicBezTo>
                  <a:cubicBezTo>
                    <a:pt x="670" y="153"/>
                    <a:pt x="669" y="153"/>
                    <a:pt x="669" y="154"/>
                  </a:cubicBezTo>
                  <a:cubicBezTo>
                    <a:pt x="668" y="153"/>
                    <a:pt x="667" y="153"/>
                    <a:pt x="666" y="152"/>
                  </a:cubicBezTo>
                  <a:cubicBezTo>
                    <a:pt x="666" y="153"/>
                    <a:pt x="666" y="153"/>
                    <a:pt x="666" y="153"/>
                  </a:cubicBezTo>
                  <a:cubicBezTo>
                    <a:pt x="666" y="153"/>
                    <a:pt x="666" y="153"/>
                    <a:pt x="665" y="153"/>
                  </a:cubicBezTo>
                  <a:cubicBezTo>
                    <a:pt x="665" y="153"/>
                    <a:pt x="665" y="153"/>
                    <a:pt x="665" y="153"/>
                  </a:cubicBezTo>
                  <a:cubicBezTo>
                    <a:pt x="663" y="153"/>
                    <a:pt x="662" y="157"/>
                    <a:pt x="661" y="159"/>
                  </a:cubicBezTo>
                  <a:cubicBezTo>
                    <a:pt x="661" y="155"/>
                    <a:pt x="661" y="152"/>
                    <a:pt x="660" y="149"/>
                  </a:cubicBezTo>
                  <a:cubicBezTo>
                    <a:pt x="659" y="151"/>
                    <a:pt x="659" y="151"/>
                    <a:pt x="656" y="153"/>
                  </a:cubicBezTo>
                  <a:cubicBezTo>
                    <a:pt x="657" y="152"/>
                    <a:pt x="657" y="150"/>
                    <a:pt x="658" y="148"/>
                  </a:cubicBezTo>
                  <a:cubicBezTo>
                    <a:pt x="658" y="149"/>
                    <a:pt x="658" y="149"/>
                    <a:pt x="657" y="149"/>
                  </a:cubicBezTo>
                  <a:cubicBezTo>
                    <a:pt x="657" y="149"/>
                    <a:pt x="656" y="149"/>
                    <a:pt x="656" y="148"/>
                  </a:cubicBezTo>
                  <a:cubicBezTo>
                    <a:pt x="655" y="148"/>
                    <a:pt x="655" y="148"/>
                    <a:pt x="654" y="148"/>
                  </a:cubicBezTo>
                  <a:cubicBezTo>
                    <a:pt x="654" y="148"/>
                    <a:pt x="654" y="148"/>
                    <a:pt x="654" y="148"/>
                  </a:cubicBezTo>
                  <a:cubicBezTo>
                    <a:pt x="653" y="148"/>
                    <a:pt x="653" y="150"/>
                    <a:pt x="652" y="150"/>
                  </a:cubicBezTo>
                  <a:cubicBezTo>
                    <a:pt x="652" y="150"/>
                    <a:pt x="652" y="150"/>
                    <a:pt x="652" y="150"/>
                  </a:cubicBezTo>
                  <a:cubicBezTo>
                    <a:pt x="651" y="150"/>
                    <a:pt x="651" y="145"/>
                    <a:pt x="651" y="145"/>
                  </a:cubicBezTo>
                  <a:cubicBezTo>
                    <a:pt x="651" y="145"/>
                    <a:pt x="651" y="147"/>
                    <a:pt x="650" y="147"/>
                  </a:cubicBezTo>
                  <a:cubicBezTo>
                    <a:pt x="650" y="147"/>
                    <a:pt x="650" y="147"/>
                    <a:pt x="650" y="147"/>
                  </a:cubicBezTo>
                  <a:cubicBezTo>
                    <a:pt x="649" y="146"/>
                    <a:pt x="648" y="145"/>
                    <a:pt x="648" y="145"/>
                  </a:cubicBezTo>
                  <a:cubicBezTo>
                    <a:pt x="647" y="146"/>
                    <a:pt x="647" y="146"/>
                    <a:pt x="647" y="146"/>
                  </a:cubicBezTo>
                  <a:cubicBezTo>
                    <a:pt x="647" y="146"/>
                    <a:pt x="647" y="146"/>
                    <a:pt x="647" y="146"/>
                  </a:cubicBezTo>
                  <a:cubicBezTo>
                    <a:pt x="647" y="146"/>
                    <a:pt x="646" y="146"/>
                    <a:pt x="646" y="146"/>
                  </a:cubicBezTo>
                  <a:cubicBezTo>
                    <a:pt x="646" y="146"/>
                    <a:pt x="646" y="146"/>
                    <a:pt x="645" y="146"/>
                  </a:cubicBezTo>
                  <a:cubicBezTo>
                    <a:pt x="645" y="146"/>
                    <a:pt x="645" y="146"/>
                    <a:pt x="645" y="146"/>
                  </a:cubicBezTo>
                  <a:cubicBezTo>
                    <a:pt x="645" y="145"/>
                    <a:pt x="645" y="144"/>
                    <a:pt x="645" y="143"/>
                  </a:cubicBezTo>
                  <a:cubicBezTo>
                    <a:pt x="644" y="144"/>
                    <a:pt x="644" y="145"/>
                    <a:pt x="643" y="146"/>
                  </a:cubicBezTo>
                  <a:cubicBezTo>
                    <a:pt x="643" y="144"/>
                    <a:pt x="643" y="144"/>
                    <a:pt x="642" y="144"/>
                  </a:cubicBezTo>
                  <a:cubicBezTo>
                    <a:pt x="642" y="144"/>
                    <a:pt x="640" y="145"/>
                    <a:pt x="639" y="145"/>
                  </a:cubicBezTo>
                  <a:cubicBezTo>
                    <a:pt x="640" y="144"/>
                    <a:pt x="640" y="142"/>
                    <a:pt x="640" y="140"/>
                  </a:cubicBezTo>
                  <a:cubicBezTo>
                    <a:pt x="640" y="140"/>
                    <a:pt x="640" y="139"/>
                    <a:pt x="640" y="139"/>
                  </a:cubicBezTo>
                  <a:cubicBezTo>
                    <a:pt x="640" y="139"/>
                    <a:pt x="640" y="140"/>
                    <a:pt x="640" y="140"/>
                  </a:cubicBezTo>
                  <a:cubicBezTo>
                    <a:pt x="639" y="140"/>
                    <a:pt x="639" y="141"/>
                    <a:pt x="639" y="141"/>
                  </a:cubicBezTo>
                  <a:cubicBezTo>
                    <a:pt x="639" y="141"/>
                    <a:pt x="639" y="141"/>
                    <a:pt x="639" y="141"/>
                  </a:cubicBezTo>
                  <a:cubicBezTo>
                    <a:pt x="639" y="141"/>
                    <a:pt x="638" y="143"/>
                    <a:pt x="637" y="143"/>
                  </a:cubicBezTo>
                  <a:cubicBezTo>
                    <a:pt x="636" y="143"/>
                    <a:pt x="636" y="143"/>
                    <a:pt x="636" y="143"/>
                  </a:cubicBezTo>
                  <a:cubicBezTo>
                    <a:pt x="633" y="143"/>
                    <a:pt x="630" y="143"/>
                    <a:pt x="627" y="142"/>
                  </a:cubicBezTo>
                  <a:cubicBezTo>
                    <a:pt x="629" y="141"/>
                    <a:pt x="632" y="138"/>
                    <a:pt x="629" y="138"/>
                  </a:cubicBezTo>
                  <a:cubicBezTo>
                    <a:pt x="629" y="138"/>
                    <a:pt x="629" y="138"/>
                    <a:pt x="629" y="138"/>
                  </a:cubicBezTo>
                  <a:cubicBezTo>
                    <a:pt x="629" y="138"/>
                    <a:pt x="628" y="138"/>
                    <a:pt x="628" y="139"/>
                  </a:cubicBezTo>
                  <a:cubicBezTo>
                    <a:pt x="628" y="139"/>
                    <a:pt x="628" y="140"/>
                    <a:pt x="627" y="140"/>
                  </a:cubicBezTo>
                  <a:cubicBezTo>
                    <a:pt x="627" y="140"/>
                    <a:pt x="627" y="139"/>
                    <a:pt x="627" y="139"/>
                  </a:cubicBezTo>
                  <a:cubicBezTo>
                    <a:pt x="626" y="138"/>
                    <a:pt x="626" y="136"/>
                    <a:pt x="626" y="135"/>
                  </a:cubicBezTo>
                  <a:cubicBezTo>
                    <a:pt x="625" y="137"/>
                    <a:pt x="624" y="137"/>
                    <a:pt x="623" y="139"/>
                  </a:cubicBezTo>
                  <a:cubicBezTo>
                    <a:pt x="622" y="138"/>
                    <a:pt x="622" y="137"/>
                    <a:pt x="622" y="136"/>
                  </a:cubicBezTo>
                  <a:cubicBezTo>
                    <a:pt x="621" y="137"/>
                    <a:pt x="621" y="138"/>
                    <a:pt x="620" y="138"/>
                  </a:cubicBezTo>
                  <a:cubicBezTo>
                    <a:pt x="618" y="138"/>
                    <a:pt x="615" y="134"/>
                    <a:pt x="614" y="133"/>
                  </a:cubicBezTo>
                  <a:cubicBezTo>
                    <a:pt x="613" y="133"/>
                    <a:pt x="612" y="133"/>
                    <a:pt x="611" y="133"/>
                  </a:cubicBezTo>
                  <a:cubicBezTo>
                    <a:pt x="609" y="133"/>
                    <a:pt x="607" y="133"/>
                    <a:pt x="605" y="134"/>
                  </a:cubicBezTo>
                  <a:cubicBezTo>
                    <a:pt x="600" y="134"/>
                    <a:pt x="596" y="135"/>
                    <a:pt x="593" y="139"/>
                  </a:cubicBezTo>
                  <a:cubicBezTo>
                    <a:pt x="592" y="140"/>
                    <a:pt x="591" y="141"/>
                    <a:pt x="591" y="142"/>
                  </a:cubicBezTo>
                  <a:cubicBezTo>
                    <a:pt x="591" y="142"/>
                    <a:pt x="592" y="143"/>
                    <a:pt x="592" y="144"/>
                  </a:cubicBezTo>
                  <a:cubicBezTo>
                    <a:pt x="592" y="144"/>
                    <a:pt x="593" y="145"/>
                    <a:pt x="592" y="146"/>
                  </a:cubicBezTo>
                  <a:cubicBezTo>
                    <a:pt x="591" y="146"/>
                    <a:pt x="589" y="147"/>
                    <a:pt x="588" y="148"/>
                  </a:cubicBezTo>
                  <a:cubicBezTo>
                    <a:pt x="587" y="149"/>
                    <a:pt x="586" y="151"/>
                    <a:pt x="587" y="152"/>
                  </a:cubicBezTo>
                  <a:cubicBezTo>
                    <a:pt x="587" y="153"/>
                    <a:pt x="588" y="153"/>
                    <a:pt x="589" y="153"/>
                  </a:cubicBezTo>
                  <a:cubicBezTo>
                    <a:pt x="589" y="153"/>
                    <a:pt x="590" y="153"/>
                    <a:pt x="591" y="153"/>
                  </a:cubicBezTo>
                  <a:cubicBezTo>
                    <a:pt x="592" y="152"/>
                    <a:pt x="593" y="152"/>
                    <a:pt x="593" y="152"/>
                  </a:cubicBezTo>
                  <a:cubicBezTo>
                    <a:pt x="593" y="152"/>
                    <a:pt x="594" y="152"/>
                    <a:pt x="594" y="152"/>
                  </a:cubicBezTo>
                  <a:cubicBezTo>
                    <a:pt x="590" y="153"/>
                    <a:pt x="586" y="152"/>
                    <a:pt x="588" y="156"/>
                  </a:cubicBezTo>
                  <a:cubicBezTo>
                    <a:pt x="586" y="156"/>
                    <a:pt x="585" y="154"/>
                    <a:pt x="584" y="154"/>
                  </a:cubicBezTo>
                  <a:cubicBezTo>
                    <a:pt x="583" y="154"/>
                    <a:pt x="583" y="154"/>
                    <a:pt x="582" y="155"/>
                  </a:cubicBezTo>
                  <a:cubicBezTo>
                    <a:pt x="578" y="157"/>
                    <a:pt x="573" y="160"/>
                    <a:pt x="570" y="163"/>
                  </a:cubicBezTo>
                  <a:cubicBezTo>
                    <a:pt x="567" y="167"/>
                    <a:pt x="566" y="174"/>
                    <a:pt x="564" y="178"/>
                  </a:cubicBezTo>
                  <a:cubicBezTo>
                    <a:pt x="563" y="176"/>
                    <a:pt x="565" y="170"/>
                    <a:pt x="566" y="168"/>
                  </a:cubicBezTo>
                  <a:cubicBezTo>
                    <a:pt x="567" y="165"/>
                    <a:pt x="568" y="162"/>
                    <a:pt x="568" y="158"/>
                  </a:cubicBezTo>
                  <a:cubicBezTo>
                    <a:pt x="565" y="159"/>
                    <a:pt x="564" y="160"/>
                    <a:pt x="561" y="161"/>
                  </a:cubicBezTo>
                  <a:cubicBezTo>
                    <a:pt x="560" y="162"/>
                    <a:pt x="559" y="162"/>
                    <a:pt x="557" y="162"/>
                  </a:cubicBezTo>
                  <a:cubicBezTo>
                    <a:pt x="556" y="163"/>
                    <a:pt x="556" y="163"/>
                    <a:pt x="555" y="165"/>
                  </a:cubicBezTo>
                  <a:cubicBezTo>
                    <a:pt x="555" y="162"/>
                    <a:pt x="552" y="161"/>
                    <a:pt x="550" y="161"/>
                  </a:cubicBezTo>
                  <a:cubicBezTo>
                    <a:pt x="549" y="161"/>
                    <a:pt x="548" y="161"/>
                    <a:pt x="548" y="163"/>
                  </a:cubicBezTo>
                  <a:cubicBezTo>
                    <a:pt x="546" y="162"/>
                    <a:pt x="544" y="162"/>
                    <a:pt x="543" y="161"/>
                  </a:cubicBezTo>
                  <a:cubicBezTo>
                    <a:pt x="546" y="161"/>
                    <a:pt x="548" y="160"/>
                    <a:pt x="550" y="160"/>
                  </a:cubicBezTo>
                  <a:cubicBezTo>
                    <a:pt x="551" y="160"/>
                    <a:pt x="553" y="160"/>
                    <a:pt x="555" y="161"/>
                  </a:cubicBezTo>
                  <a:cubicBezTo>
                    <a:pt x="555" y="161"/>
                    <a:pt x="555" y="161"/>
                    <a:pt x="555" y="161"/>
                  </a:cubicBezTo>
                  <a:cubicBezTo>
                    <a:pt x="556" y="161"/>
                    <a:pt x="556" y="160"/>
                    <a:pt x="557" y="160"/>
                  </a:cubicBezTo>
                  <a:cubicBezTo>
                    <a:pt x="557" y="160"/>
                    <a:pt x="558" y="159"/>
                    <a:pt x="558" y="159"/>
                  </a:cubicBezTo>
                  <a:cubicBezTo>
                    <a:pt x="559" y="159"/>
                    <a:pt x="559" y="159"/>
                    <a:pt x="559" y="159"/>
                  </a:cubicBezTo>
                  <a:cubicBezTo>
                    <a:pt x="559" y="159"/>
                    <a:pt x="559" y="159"/>
                    <a:pt x="560" y="159"/>
                  </a:cubicBezTo>
                  <a:cubicBezTo>
                    <a:pt x="560" y="159"/>
                    <a:pt x="560" y="159"/>
                    <a:pt x="560" y="159"/>
                  </a:cubicBezTo>
                  <a:cubicBezTo>
                    <a:pt x="561" y="159"/>
                    <a:pt x="561" y="159"/>
                    <a:pt x="561" y="159"/>
                  </a:cubicBezTo>
                  <a:cubicBezTo>
                    <a:pt x="561" y="159"/>
                    <a:pt x="561" y="159"/>
                    <a:pt x="561" y="159"/>
                  </a:cubicBezTo>
                  <a:cubicBezTo>
                    <a:pt x="561" y="159"/>
                    <a:pt x="561" y="159"/>
                    <a:pt x="561" y="159"/>
                  </a:cubicBezTo>
                  <a:cubicBezTo>
                    <a:pt x="562" y="159"/>
                    <a:pt x="562" y="159"/>
                    <a:pt x="562" y="159"/>
                  </a:cubicBezTo>
                  <a:cubicBezTo>
                    <a:pt x="562" y="158"/>
                    <a:pt x="562" y="158"/>
                    <a:pt x="562" y="158"/>
                  </a:cubicBezTo>
                  <a:cubicBezTo>
                    <a:pt x="563" y="157"/>
                    <a:pt x="563" y="157"/>
                    <a:pt x="563" y="157"/>
                  </a:cubicBezTo>
                  <a:cubicBezTo>
                    <a:pt x="563" y="157"/>
                    <a:pt x="563" y="157"/>
                    <a:pt x="563" y="157"/>
                  </a:cubicBezTo>
                  <a:cubicBezTo>
                    <a:pt x="563" y="156"/>
                    <a:pt x="563" y="156"/>
                    <a:pt x="563" y="156"/>
                  </a:cubicBezTo>
                  <a:cubicBezTo>
                    <a:pt x="563" y="155"/>
                    <a:pt x="563" y="155"/>
                    <a:pt x="563" y="155"/>
                  </a:cubicBezTo>
                  <a:cubicBezTo>
                    <a:pt x="563" y="155"/>
                    <a:pt x="563" y="154"/>
                    <a:pt x="563" y="154"/>
                  </a:cubicBezTo>
                  <a:cubicBezTo>
                    <a:pt x="564" y="155"/>
                    <a:pt x="564" y="155"/>
                    <a:pt x="564" y="155"/>
                  </a:cubicBezTo>
                  <a:cubicBezTo>
                    <a:pt x="564" y="156"/>
                    <a:pt x="565" y="156"/>
                    <a:pt x="565" y="157"/>
                  </a:cubicBezTo>
                  <a:cubicBezTo>
                    <a:pt x="565" y="157"/>
                    <a:pt x="565" y="157"/>
                    <a:pt x="565" y="157"/>
                  </a:cubicBezTo>
                  <a:cubicBezTo>
                    <a:pt x="565" y="157"/>
                    <a:pt x="565" y="157"/>
                    <a:pt x="565" y="157"/>
                  </a:cubicBezTo>
                  <a:cubicBezTo>
                    <a:pt x="565" y="157"/>
                    <a:pt x="565" y="157"/>
                    <a:pt x="565" y="157"/>
                  </a:cubicBezTo>
                  <a:cubicBezTo>
                    <a:pt x="566" y="157"/>
                    <a:pt x="566" y="157"/>
                    <a:pt x="566" y="157"/>
                  </a:cubicBezTo>
                  <a:cubicBezTo>
                    <a:pt x="566" y="157"/>
                    <a:pt x="566" y="157"/>
                    <a:pt x="566" y="157"/>
                  </a:cubicBezTo>
                  <a:cubicBezTo>
                    <a:pt x="566" y="157"/>
                    <a:pt x="566" y="157"/>
                    <a:pt x="566" y="157"/>
                  </a:cubicBezTo>
                  <a:cubicBezTo>
                    <a:pt x="566" y="157"/>
                    <a:pt x="566" y="157"/>
                    <a:pt x="566" y="157"/>
                  </a:cubicBezTo>
                  <a:cubicBezTo>
                    <a:pt x="567" y="157"/>
                    <a:pt x="567" y="157"/>
                    <a:pt x="567" y="157"/>
                  </a:cubicBezTo>
                  <a:cubicBezTo>
                    <a:pt x="567" y="157"/>
                    <a:pt x="567" y="157"/>
                    <a:pt x="567" y="157"/>
                  </a:cubicBezTo>
                  <a:cubicBezTo>
                    <a:pt x="567" y="157"/>
                    <a:pt x="567" y="157"/>
                    <a:pt x="567" y="157"/>
                  </a:cubicBezTo>
                  <a:cubicBezTo>
                    <a:pt x="568" y="157"/>
                    <a:pt x="569" y="157"/>
                    <a:pt x="570" y="157"/>
                  </a:cubicBezTo>
                  <a:cubicBezTo>
                    <a:pt x="570" y="157"/>
                    <a:pt x="571" y="157"/>
                    <a:pt x="571" y="157"/>
                  </a:cubicBezTo>
                  <a:cubicBezTo>
                    <a:pt x="573" y="156"/>
                    <a:pt x="577" y="155"/>
                    <a:pt x="579" y="153"/>
                  </a:cubicBezTo>
                  <a:cubicBezTo>
                    <a:pt x="580" y="152"/>
                    <a:pt x="581" y="148"/>
                    <a:pt x="582" y="146"/>
                  </a:cubicBezTo>
                  <a:cubicBezTo>
                    <a:pt x="582" y="145"/>
                    <a:pt x="582" y="145"/>
                    <a:pt x="582" y="145"/>
                  </a:cubicBezTo>
                  <a:cubicBezTo>
                    <a:pt x="582" y="145"/>
                    <a:pt x="582" y="145"/>
                    <a:pt x="582" y="145"/>
                  </a:cubicBezTo>
                  <a:cubicBezTo>
                    <a:pt x="583" y="145"/>
                    <a:pt x="583" y="144"/>
                    <a:pt x="584" y="144"/>
                  </a:cubicBezTo>
                  <a:cubicBezTo>
                    <a:pt x="584" y="143"/>
                    <a:pt x="584" y="142"/>
                    <a:pt x="584" y="142"/>
                  </a:cubicBezTo>
                  <a:cubicBezTo>
                    <a:pt x="584" y="141"/>
                    <a:pt x="584" y="141"/>
                    <a:pt x="584" y="141"/>
                  </a:cubicBezTo>
                  <a:cubicBezTo>
                    <a:pt x="585" y="140"/>
                    <a:pt x="585" y="140"/>
                    <a:pt x="585" y="140"/>
                  </a:cubicBezTo>
                  <a:cubicBezTo>
                    <a:pt x="585" y="140"/>
                    <a:pt x="586" y="140"/>
                    <a:pt x="586" y="139"/>
                  </a:cubicBezTo>
                  <a:cubicBezTo>
                    <a:pt x="586" y="139"/>
                    <a:pt x="586" y="139"/>
                    <a:pt x="586" y="139"/>
                  </a:cubicBezTo>
                  <a:cubicBezTo>
                    <a:pt x="586" y="139"/>
                    <a:pt x="586" y="139"/>
                    <a:pt x="586" y="139"/>
                  </a:cubicBezTo>
                  <a:cubicBezTo>
                    <a:pt x="586" y="139"/>
                    <a:pt x="586" y="138"/>
                    <a:pt x="586" y="138"/>
                  </a:cubicBezTo>
                  <a:cubicBezTo>
                    <a:pt x="586" y="138"/>
                    <a:pt x="586" y="138"/>
                    <a:pt x="586" y="138"/>
                  </a:cubicBezTo>
                  <a:cubicBezTo>
                    <a:pt x="586" y="137"/>
                    <a:pt x="586" y="137"/>
                    <a:pt x="586" y="136"/>
                  </a:cubicBezTo>
                  <a:cubicBezTo>
                    <a:pt x="587" y="136"/>
                    <a:pt x="587" y="136"/>
                    <a:pt x="587" y="136"/>
                  </a:cubicBezTo>
                  <a:cubicBezTo>
                    <a:pt x="587" y="136"/>
                    <a:pt x="587" y="136"/>
                    <a:pt x="587" y="136"/>
                  </a:cubicBezTo>
                  <a:cubicBezTo>
                    <a:pt x="587" y="135"/>
                    <a:pt x="587" y="134"/>
                    <a:pt x="587" y="133"/>
                  </a:cubicBezTo>
                  <a:cubicBezTo>
                    <a:pt x="588" y="132"/>
                    <a:pt x="588" y="131"/>
                    <a:pt x="589" y="130"/>
                  </a:cubicBezTo>
                  <a:cubicBezTo>
                    <a:pt x="589" y="129"/>
                    <a:pt x="589" y="129"/>
                    <a:pt x="589" y="128"/>
                  </a:cubicBezTo>
                  <a:cubicBezTo>
                    <a:pt x="589" y="128"/>
                    <a:pt x="589" y="128"/>
                    <a:pt x="589" y="128"/>
                  </a:cubicBezTo>
                  <a:cubicBezTo>
                    <a:pt x="589" y="127"/>
                    <a:pt x="589" y="127"/>
                    <a:pt x="589" y="126"/>
                  </a:cubicBezTo>
                  <a:cubicBezTo>
                    <a:pt x="588" y="126"/>
                    <a:pt x="588" y="126"/>
                    <a:pt x="586" y="126"/>
                  </a:cubicBezTo>
                  <a:cubicBezTo>
                    <a:pt x="583" y="125"/>
                    <a:pt x="580" y="124"/>
                    <a:pt x="577" y="124"/>
                  </a:cubicBezTo>
                  <a:cubicBezTo>
                    <a:pt x="576" y="123"/>
                    <a:pt x="574" y="123"/>
                    <a:pt x="572" y="123"/>
                  </a:cubicBezTo>
                  <a:cubicBezTo>
                    <a:pt x="571" y="123"/>
                    <a:pt x="571" y="123"/>
                    <a:pt x="571" y="123"/>
                  </a:cubicBezTo>
                  <a:cubicBezTo>
                    <a:pt x="571" y="123"/>
                    <a:pt x="571" y="123"/>
                    <a:pt x="571" y="123"/>
                  </a:cubicBezTo>
                  <a:cubicBezTo>
                    <a:pt x="569" y="123"/>
                    <a:pt x="567" y="123"/>
                    <a:pt x="567" y="124"/>
                  </a:cubicBezTo>
                  <a:cubicBezTo>
                    <a:pt x="566" y="125"/>
                    <a:pt x="566" y="125"/>
                    <a:pt x="566" y="125"/>
                  </a:cubicBezTo>
                  <a:cubicBezTo>
                    <a:pt x="566" y="125"/>
                    <a:pt x="566" y="125"/>
                    <a:pt x="566" y="125"/>
                  </a:cubicBezTo>
                  <a:cubicBezTo>
                    <a:pt x="565" y="125"/>
                    <a:pt x="565" y="125"/>
                    <a:pt x="565" y="125"/>
                  </a:cubicBezTo>
                  <a:cubicBezTo>
                    <a:pt x="559" y="124"/>
                    <a:pt x="553" y="123"/>
                    <a:pt x="548" y="123"/>
                  </a:cubicBezTo>
                  <a:cubicBezTo>
                    <a:pt x="548" y="123"/>
                    <a:pt x="548" y="123"/>
                    <a:pt x="548" y="123"/>
                  </a:cubicBezTo>
                  <a:cubicBezTo>
                    <a:pt x="548" y="123"/>
                    <a:pt x="548" y="123"/>
                    <a:pt x="548" y="123"/>
                  </a:cubicBezTo>
                  <a:cubicBezTo>
                    <a:pt x="547" y="122"/>
                    <a:pt x="546" y="122"/>
                    <a:pt x="545" y="122"/>
                  </a:cubicBezTo>
                  <a:cubicBezTo>
                    <a:pt x="544" y="122"/>
                    <a:pt x="543" y="122"/>
                    <a:pt x="542" y="122"/>
                  </a:cubicBezTo>
                  <a:cubicBezTo>
                    <a:pt x="542" y="122"/>
                    <a:pt x="542" y="122"/>
                    <a:pt x="541" y="122"/>
                  </a:cubicBezTo>
                  <a:cubicBezTo>
                    <a:pt x="540" y="123"/>
                    <a:pt x="539" y="123"/>
                    <a:pt x="538" y="124"/>
                  </a:cubicBezTo>
                  <a:cubicBezTo>
                    <a:pt x="536" y="126"/>
                    <a:pt x="535" y="128"/>
                    <a:pt x="536" y="131"/>
                  </a:cubicBezTo>
                  <a:cubicBezTo>
                    <a:pt x="536" y="132"/>
                    <a:pt x="536" y="132"/>
                    <a:pt x="536" y="132"/>
                  </a:cubicBezTo>
                  <a:cubicBezTo>
                    <a:pt x="537" y="133"/>
                    <a:pt x="537" y="133"/>
                    <a:pt x="537" y="133"/>
                  </a:cubicBezTo>
                  <a:cubicBezTo>
                    <a:pt x="537" y="133"/>
                    <a:pt x="537" y="133"/>
                    <a:pt x="537" y="133"/>
                  </a:cubicBezTo>
                  <a:cubicBezTo>
                    <a:pt x="538" y="134"/>
                    <a:pt x="538" y="134"/>
                    <a:pt x="539" y="135"/>
                  </a:cubicBezTo>
                  <a:cubicBezTo>
                    <a:pt x="537" y="135"/>
                    <a:pt x="535" y="134"/>
                    <a:pt x="535" y="132"/>
                  </a:cubicBezTo>
                  <a:cubicBezTo>
                    <a:pt x="535" y="133"/>
                    <a:pt x="534" y="133"/>
                    <a:pt x="534" y="134"/>
                  </a:cubicBezTo>
                  <a:cubicBezTo>
                    <a:pt x="534" y="135"/>
                    <a:pt x="534" y="135"/>
                    <a:pt x="534" y="135"/>
                  </a:cubicBezTo>
                  <a:cubicBezTo>
                    <a:pt x="534" y="135"/>
                    <a:pt x="533" y="136"/>
                    <a:pt x="533" y="136"/>
                  </a:cubicBezTo>
                  <a:cubicBezTo>
                    <a:pt x="533" y="137"/>
                    <a:pt x="533" y="137"/>
                    <a:pt x="533" y="137"/>
                  </a:cubicBezTo>
                  <a:cubicBezTo>
                    <a:pt x="533" y="138"/>
                    <a:pt x="533" y="138"/>
                    <a:pt x="533" y="139"/>
                  </a:cubicBezTo>
                  <a:cubicBezTo>
                    <a:pt x="533" y="139"/>
                    <a:pt x="533" y="139"/>
                    <a:pt x="533" y="139"/>
                  </a:cubicBezTo>
                  <a:cubicBezTo>
                    <a:pt x="534" y="140"/>
                    <a:pt x="534" y="140"/>
                    <a:pt x="534" y="140"/>
                  </a:cubicBezTo>
                  <a:cubicBezTo>
                    <a:pt x="534" y="141"/>
                    <a:pt x="534" y="141"/>
                    <a:pt x="534" y="141"/>
                  </a:cubicBezTo>
                  <a:cubicBezTo>
                    <a:pt x="534" y="141"/>
                    <a:pt x="534" y="141"/>
                    <a:pt x="534" y="141"/>
                  </a:cubicBezTo>
                  <a:cubicBezTo>
                    <a:pt x="534" y="141"/>
                    <a:pt x="534" y="141"/>
                    <a:pt x="534" y="141"/>
                  </a:cubicBezTo>
                  <a:cubicBezTo>
                    <a:pt x="534" y="142"/>
                    <a:pt x="534" y="142"/>
                    <a:pt x="534" y="142"/>
                  </a:cubicBezTo>
                  <a:cubicBezTo>
                    <a:pt x="535" y="142"/>
                    <a:pt x="535" y="142"/>
                    <a:pt x="535" y="142"/>
                  </a:cubicBezTo>
                  <a:cubicBezTo>
                    <a:pt x="535" y="143"/>
                    <a:pt x="535" y="143"/>
                    <a:pt x="535" y="143"/>
                  </a:cubicBezTo>
                  <a:cubicBezTo>
                    <a:pt x="536" y="143"/>
                    <a:pt x="536" y="144"/>
                    <a:pt x="537" y="144"/>
                  </a:cubicBezTo>
                  <a:cubicBezTo>
                    <a:pt x="538" y="144"/>
                    <a:pt x="539" y="143"/>
                    <a:pt x="540" y="143"/>
                  </a:cubicBezTo>
                  <a:cubicBezTo>
                    <a:pt x="540" y="143"/>
                    <a:pt x="540" y="143"/>
                    <a:pt x="540" y="143"/>
                  </a:cubicBezTo>
                  <a:cubicBezTo>
                    <a:pt x="540" y="144"/>
                    <a:pt x="540" y="144"/>
                    <a:pt x="540" y="144"/>
                  </a:cubicBezTo>
                  <a:cubicBezTo>
                    <a:pt x="539" y="144"/>
                    <a:pt x="539" y="144"/>
                    <a:pt x="539" y="144"/>
                  </a:cubicBezTo>
                  <a:cubicBezTo>
                    <a:pt x="538" y="145"/>
                    <a:pt x="537" y="146"/>
                    <a:pt x="536" y="146"/>
                  </a:cubicBezTo>
                  <a:cubicBezTo>
                    <a:pt x="536" y="146"/>
                    <a:pt x="535" y="145"/>
                    <a:pt x="534" y="145"/>
                  </a:cubicBezTo>
                  <a:cubicBezTo>
                    <a:pt x="534" y="145"/>
                    <a:pt x="534" y="145"/>
                    <a:pt x="534" y="145"/>
                  </a:cubicBezTo>
                  <a:cubicBezTo>
                    <a:pt x="534" y="145"/>
                    <a:pt x="534" y="145"/>
                    <a:pt x="534" y="145"/>
                  </a:cubicBezTo>
                  <a:cubicBezTo>
                    <a:pt x="534" y="145"/>
                    <a:pt x="534" y="145"/>
                    <a:pt x="534" y="145"/>
                  </a:cubicBezTo>
                  <a:cubicBezTo>
                    <a:pt x="533" y="145"/>
                    <a:pt x="533" y="145"/>
                    <a:pt x="533" y="145"/>
                  </a:cubicBezTo>
                  <a:cubicBezTo>
                    <a:pt x="533" y="145"/>
                    <a:pt x="533" y="148"/>
                    <a:pt x="534" y="150"/>
                  </a:cubicBezTo>
                  <a:cubicBezTo>
                    <a:pt x="535" y="151"/>
                    <a:pt x="535" y="152"/>
                    <a:pt x="535" y="152"/>
                  </a:cubicBezTo>
                  <a:cubicBezTo>
                    <a:pt x="536" y="154"/>
                    <a:pt x="538" y="157"/>
                    <a:pt x="539" y="159"/>
                  </a:cubicBezTo>
                  <a:cubicBezTo>
                    <a:pt x="540" y="160"/>
                    <a:pt x="540" y="160"/>
                    <a:pt x="540" y="161"/>
                  </a:cubicBezTo>
                  <a:cubicBezTo>
                    <a:pt x="539" y="160"/>
                    <a:pt x="537" y="160"/>
                    <a:pt x="535" y="159"/>
                  </a:cubicBezTo>
                  <a:cubicBezTo>
                    <a:pt x="535" y="159"/>
                    <a:pt x="535" y="159"/>
                    <a:pt x="535" y="159"/>
                  </a:cubicBezTo>
                  <a:cubicBezTo>
                    <a:pt x="535" y="159"/>
                    <a:pt x="535" y="159"/>
                    <a:pt x="535" y="159"/>
                  </a:cubicBezTo>
                  <a:cubicBezTo>
                    <a:pt x="535" y="159"/>
                    <a:pt x="535" y="159"/>
                    <a:pt x="535" y="159"/>
                  </a:cubicBezTo>
                  <a:cubicBezTo>
                    <a:pt x="535" y="155"/>
                    <a:pt x="533" y="152"/>
                    <a:pt x="533" y="148"/>
                  </a:cubicBezTo>
                  <a:cubicBezTo>
                    <a:pt x="533" y="145"/>
                    <a:pt x="532" y="140"/>
                    <a:pt x="530" y="140"/>
                  </a:cubicBezTo>
                  <a:cubicBezTo>
                    <a:pt x="530" y="140"/>
                    <a:pt x="529" y="140"/>
                    <a:pt x="529" y="141"/>
                  </a:cubicBezTo>
                  <a:cubicBezTo>
                    <a:pt x="528" y="141"/>
                    <a:pt x="527" y="143"/>
                    <a:pt x="526" y="144"/>
                  </a:cubicBezTo>
                  <a:cubicBezTo>
                    <a:pt x="524" y="145"/>
                    <a:pt x="523" y="146"/>
                    <a:pt x="522" y="147"/>
                  </a:cubicBezTo>
                  <a:cubicBezTo>
                    <a:pt x="519" y="149"/>
                    <a:pt x="516" y="150"/>
                    <a:pt x="513" y="151"/>
                  </a:cubicBezTo>
                  <a:cubicBezTo>
                    <a:pt x="513" y="152"/>
                    <a:pt x="512" y="152"/>
                    <a:pt x="512" y="152"/>
                  </a:cubicBezTo>
                  <a:cubicBezTo>
                    <a:pt x="512" y="152"/>
                    <a:pt x="511" y="152"/>
                    <a:pt x="511" y="152"/>
                  </a:cubicBezTo>
                  <a:cubicBezTo>
                    <a:pt x="508" y="154"/>
                    <a:pt x="503" y="158"/>
                    <a:pt x="500" y="158"/>
                  </a:cubicBezTo>
                  <a:cubicBezTo>
                    <a:pt x="500" y="158"/>
                    <a:pt x="499" y="158"/>
                    <a:pt x="499" y="157"/>
                  </a:cubicBezTo>
                  <a:cubicBezTo>
                    <a:pt x="499" y="156"/>
                    <a:pt x="499" y="155"/>
                    <a:pt x="498" y="154"/>
                  </a:cubicBezTo>
                  <a:cubicBezTo>
                    <a:pt x="498" y="154"/>
                    <a:pt x="497" y="154"/>
                    <a:pt x="497" y="154"/>
                  </a:cubicBezTo>
                  <a:cubicBezTo>
                    <a:pt x="494" y="154"/>
                    <a:pt x="490" y="155"/>
                    <a:pt x="489" y="156"/>
                  </a:cubicBezTo>
                  <a:cubicBezTo>
                    <a:pt x="489" y="153"/>
                    <a:pt x="497" y="151"/>
                    <a:pt x="499" y="150"/>
                  </a:cubicBezTo>
                  <a:cubicBezTo>
                    <a:pt x="501" y="150"/>
                    <a:pt x="502" y="150"/>
                    <a:pt x="503" y="150"/>
                  </a:cubicBezTo>
                  <a:cubicBezTo>
                    <a:pt x="503" y="150"/>
                    <a:pt x="503" y="150"/>
                    <a:pt x="503" y="150"/>
                  </a:cubicBezTo>
                  <a:cubicBezTo>
                    <a:pt x="504" y="151"/>
                    <a:pt x="504" y="151"/>
                    <a:pt x="505" y="151"/>
                  </a:cubicBezTo>
                  <a:cubicBezTo>
                    <a:pt x="508" y="151"/>
                    <a:pt x="508" y="145"/>
                    <a:pt x="509" y="143"/>
                  </a:cubicBezTo>
                  <a:cubicBezTo>
                    <a:pt x="513" y="137"/>
                    <a:pt x="516" y="132"/>
                    <a:pt x="520" y="127"/>
                  </a:cubicBezTo>
                  <a:cubicBezTo>
                    <a:pt x="522" y="123"/>
                    <a:pt x="524" y="121"/>
                    <a:pt x="527" y="118"/>
                  </a:cubicBezTo>
                  <a:cubicBezTo>
                    <a:pt x="535" y="111"/>
                    <a:pt x="542" y="103"/>
                    <a:pt x="549" y="96"/>
                  </a:cubicBezTo>
                  <a:cubicBezTo>
                    <a:pt x="550" y="95"/>
                    <a:pt x="555" y="92"/>
                    <a:pt x="554" y="90"/>
                  </a:cubicBezTo>
                  <a:cubicBezTo>
                    <a:pt x="554" y="90"/>
                    <a:pt x="553" y="89"/>
                    <a:pt x="553" y="89"/>
                  </a:cubicBezTo>
                  <a:cubicBezTo>
                    <a:pt x="552" y="89"/>
                    <a:pt x="550" y="90"/>
                    <a:pt x="549" y="90"/>
                  </a:cubicBezTo>
                  <a:cubicBezTo>
                    <a:pt x="554" y="88"/>
                    <a:pt x="555" y="87"/>
                    <a:pt x="555" y="83"/>
                  </a:cubicBezTo>
                  <a:cubicBezTo>
                    <a:pt x="554" y="79"/>
                    <a:pt x="553" y="78"/>
                    <a:pt x="549" y="77"/>
                  </a:cubicBezTo>
                  <a:cubicBezTo>
                    <a:pt x="548" y="76"/>
                    <a:pt x="544" y="77"/>
                    <a:pt x="543" y="76"/>
                  </a:cubicBezTo>
                  <a:cubicBezTo>
                    <a:pt x="543" y="75"/>
                    <a:pt x="543" y="75"/>
                    <a:pt x="543" y="75"/>
                  </a:cubicBezTo>
                  <a:cubicBezTo>
                    <a:pt x="543" y="75"/>
                    <a:pt x="543" y="75"/>
                    <a:pt x="543" y="75"/>
                  </a:cubicBezTo>
                  <a:cubicBezTo>
                    <a:pt x="544" y="75"/>
                    <a:pt x="545" y="74"/>
                    <a:pt x="545" y="73"/>
                  </a:cubicBezTo>
                  <a:cubicBezTo>
                    <a:pt x="545" y="72"/>
                    <a:pt x="545" y="71"/>
                    <a:pt x="544" y="71"/>
                  </a:cubicBezTo>
                  <a:cubicBezTo>
                    <a:pt x="543" y="70"/>
                    <a:pt x="543" y="70"/>
                    <a:pt x="542" y="70"/>
                  </a:cubicBezTo>
                  <a:cubicBezTo>
                    <a:pt x="542" y="70"/>
                    <a:pt x="541" y="70"/>
                    <a:pt x="541" y="70"/>
                  </a:cubicBezTo>
                  <a:cubicBezTo>
                    <a:pt x="540" y="71"/>
                    <a:pt x="540" y="71"/>
                    <a:pt x="540" y="71"/>
                  </a:cubicBezTo>
                  <a:cubicBezTo>
                    <a:pt x="540" y="71"/>
                    <a:pt x="540" y="71"/>
                    <a:pt x="540" y="71"/>
                  </a:cubicBezTo>
                  <a:cubicBezTo>
                    <a:pt x="540" y="71"/>
                    <a:pt x="540" y="72"/>
                    <a:pt x="540" y="72"/>
                  </a:cubicBezTo>
                  <a:cubicBezTo>
                    <a:pt x="539" y="71"/>
                    <a:pt x="538" y="69"/>
                    <a:pt x="537" y="69"/>
                  </a:cubicBezTo>
                  <a:cubicBezTo>
                    <a:pt x="537" y="69"/>
                    <a:pt x="537" y="69"/>
                    <a:pt x="537" y="69"/>
                  </a:cubicBezTo>
                  <a:cubicBezTo>
                    <a:pt x="536" y="69"/>
                    <a:pt x="536" y="69"/>
                    <a:pt x="535" y="69"/>
                  </a:cubicBezTo>
                  <a:cubicBezTo>
                    <a:pt x="535" y="70"/>
                    <a:pt x="535" y="70"/>
                    <a:pt x="534" y="70"/>
                  </a:cubicBezTo>
                  <a:cubicBezTo>
                    <a:pt x="534" y="70"/>
                    <a:pt x="534" y="69"/>
                    <a:pt x="534" y="68"/>
                  </a:cubicBezTo>
                  <a:cubicBezTo>
                    <a:pt x="535" y="69"/>
                    <a:pt x="535" y="69"/>
                    <a:pt x="535" y="69"/>
                  </a:cubicBezTo>
                  <a:cubicBezTo>
                    <a:pt x="534" y="61"/>
                    <a:pt x="530" y="52"/>
                    <a:pt x="528" y="44"/>
                  </a:cubicBezTo>
                  <a:cubicBezTo>
                    <a:pt x="527" y="39"/>
                    <a:pt x="528" y="33"/>
                    <a:pt x="526" y="27"/>
                  </a:cubicBezTo>
                  <a:cubicBezTo>
                    <a:pt x="525" y="29"/>
                    <a:pt x="525" y="31"/>
                    <a:pt x="524" y="33"/>
                  </a:cubicBezTo>
                  <a:cubicBezTo>
                    <a:pt x="525" y="27"/>
                    <a:pt x="524" y="23"/>
                    <a:pt x="520" y="19"/>
                  </a:cubicBezTo>
                  <a:cubicBezTo>
                    <a:pt x="519" y="19"/>
                    <a:pt x="516" y="16"/>
                    <a:pt x="516" y="16"/>
                  </a:cubicBezTo>
                  <a:cubicBezTo>
                    <a:pt x="516" y="16"/>
                    <a:pt x="516" y="16"/>
                    <a:pt x="516" y="16"/>
                  </a:cubicBezTo>
                  <a:cubicBezTo>
                    <a:pt x="515" y="17"/>
                    <a:pt x="516" y="21"/>
                    <a:pt x="517" y="22"/>
                  </a:cubicBezTo>
                  <a:cubicBezTo>
                    <a:pt x="516" y="21"/>
                    <a:pt x="516" y="21"/>
                    <a:pt x="515" y="20"/>
                  </a:cubicBezTo>
                  <a:cubicBezTo>
                    <a:pt x="515" y="21"/>
                    <a:pt x="515" y="21"/>
                    <a:pt x="515" y="22"/>
                  </a:cubicBezTo>
                  <a:cubicBezTo>
                    <a:pt x="517" y="23"/>
                    <a:pt x="517" y="23"/>
                    <a:pt x="517" y="23"/>
                  </a:cubicBezTo>
                  <a:cubicBezTo>
                    <a:pt x="515" y="28"/>
                    <a:pt x="515" y="28"/>
                    <a:pt x="515" y="28"/>
                  </a:cubicBezTo>
                  <a:cubicBezTo>
                    <a:pt x="511" y="33"/>
                    <a:pt x="511" y="33"/>
                    <a:pt x="511" y="33"/>
                  </a:cubicBezTo>
                  <a:cubicBezTo>
                    <a:pt x="510" y="35"/>
                    <a:pt x="509" y="36"/>
                    <a:pt x="508" y="38"/>
                  </a:cubicBezTo>
                  <a:cubicBezTo>
                    <a:pt x="505" y="41"/>
                    <a:pt x="503" y="43"/>
                    <a:pt x="502" y="46"/>
                  </a:cubicBezTo>
                  <a:cubicBezTo>
                    <a:pt x="501" y="48"/>
                    <a:pt x="501" y="48"/>
                    <a:pt x="501" y="48"/>
                  </a:cubicBezTo>
                  <a:cubicBezTo>
                    <a:pt x="500" y="48"/>
                    <a:pt x="500" y="49"/>
                    <a:pt x="500" y="50"/>
                  </a:cubicBezTo>
                  <a:cubicBezTo>
                    <a:pt x="499" y="51"/>
                    <a:pt x="499" y="51"/>
                    <a:pt x="499" y="51"/>
                  </a:cubicBezTo>
                  <a:cubicBezTo>
                    <a:pt x="499" y="53"/>
                    <a:pt x="498" y="54"/>
                    <a:pt x="497" y="56"/>
                  </a:cubicBezTo>
                  <a:cubicBezTo>
                    <a:pt x="497" y="57"/>
                    <a:pt x="497" y="57"/>
                    <a:pt x="497" y="57"/>
                  </a:cubicBezTo>
                  <a:cubicBezTo>
                    <a:pt x="496" y="57"/>
                    <a:pt x="496" y="58"/>
                    <a:pt x="496" y="59"/>
                  </a:cubicBezTo>
                  <a:cubicBezTo>
                    <a:pt x="495" y="60"/>
                    <a:pt x="495" y="62"/>
                    <a:pt x="494" y="63"/>
                  </a:cubicBezTo>
                  <a:cubicBezTo>
                    <a:pt x="494" y="63"/>
                    <a:pt x="494" y="64"/>
                    <a:pt x="494" y="64"/>
                  </a:cubicBezTo>
                  <a:cubicBezTo>
                    <a:pt x="493" y="64"/>
                    <a:pt x="493" y="64"/>
                    <a:pt x="493" y="64"/>
                  </a:cubicBezTo>
                  <a:cubicBezTo>
                    <a:pt x="492" y="66"/>
                    <a:pt x="490" y="67"/>
                    <a:pt x="489" y="69"/>
                  </a:cubicBezTo>
                  <a:cubicBezTo>
                    <a:pt x="488" y="69"/>
                    <a:pt x="488" y="69"/>
                    <a:pt x="488" y="69"/>
                  </a:cubicBezTo>
                  <a:cubicBezTo>
                    <a:pt x="488" y="70"/>
                    <a:pt x="487" y="70"/>
                    <a:pt x="486" y="70"/>
                  </a:cubicBezTo>
                  <a:cubicBezTo>
                    <a:pt x="485" y="71"/>
                    <a:pt x="484" y="71"/>
                    <a:pt x="484" y="71"/>
                  </a:cubicBezTo>
                  <a:cubicBezTo>
                    <a:pt x="483" y="72"/>
                    <a:pt x="482" y="72"/>
                    <a:pt x="482" y="72"/>
                  </a:cubicBezTo>
                  <a:cubicBezTo>
                    <a:pt x="476" y="71"/>
                    <a:pt x="476" y="71"/>
                    <a:pt x="476" y="71"/>
                  </a:cubicBezTo>
                  <a:cubicBezTo>
                    <a:pt x="475" y="71"/>
                    <a:pt x="474" y="70"/>
                    <a:pt x="473" y="69"/>
                  </a:cubicBezTo>
                  <a:cubicBezTo>
                    <a:pt x="473" y="68"/>
                    <a:pt x="473" y="68"/>
                    <a:pt x="473" y="68"/>
                  </a:cubicBezTo>
                  <a:cubicBezTo>
                    <a:pt x="473" y="68"/>
                    <a:pt x="473" y="68"/>
                    <a:pt x="473" y="68"/>
                  </a:cubicBezTo>
                  <a:cubicBezTo>
                    <a:pt x="472" y="68"/>
                    <a:pt x="471" y="69"/>
                    <a:pt x="470" y="69"/>
                  </a:cubicBezTo>
                  <a:cubicBezTo>
                    <a:pt x="466" y="69"/>
                    <a:pt x="463" y="70"/>
                    <a:pt x="460" y="71"/>
                  </a:cubicBezTo>
                  <a:cubicBezTo>
                    <a:pt x="459" y="72"/>
                    <a:pt x="459" y="72"/>
                    <a:pt x="459" y="72"/>
                  </a:cubicBezTo>
                  <a:cubicBezTo>
                    <a:pt x="459" y="72"/>
                    <a:pt x="458" y="73"/>
                    <a:pt x="457" y="73"/>
                  </a:cubicBezTo>
                  <a:cubicBezTo>
                    <a:pt x="457" y="73"/>
                    <a:pt x="457" y="73"/>
                    <a:pt x="457" y="73"/>
                  </a:cubicBezTo>
                  <a:cubicBezTo>
                    <a:pt x="456" y="73"/>
                    <a:pt x="456" y="73"/>
                    <a:pt x="455" y="73"/>
                  </a:cubicBezTo>
                  <a:cubicBezTo>
                    <a:pt x="455" y="72"/>
                    <a:pt x="455" y="72"/>
                    <a:pt x="455" y="72"/>
                  </a:cubicBezTo>
                  <a:cubicBezTo>
                    <a:pt x="455" y="73"/>
                    <a:pt x="455" y="73"/>
                    <a:pt x="455" y="73"/>
                  </a:cubicBezTo>
                  <a:cubicBezTo>
                    <a:pt x="455" y="73"/>
                    <a:pt x="455" y="73"/>
                    <a:pt x="455" y="73"/>
                  </a:cubicBezTo>
                  <a:cubicBezTo>
                    <a:pt x="454" y="72"/>
                    <a:pt x="453" y="72"/>
                    <a:pt x="453" y="72"/>
                  </a:cubicBezTo>
                  <a:cubicBezTo>
                    <a:pt x="452" y="72"/>
                    <a:pt x="452" y="72"/>
                    <a:pt x="452" y="72"/>
                  </a:cubicBezTo>
                  <a:cubicBezTo>
                    <a:pt x="450" y="71"/>
                    <a:pt x="448" y="70"/>
                    <a:pt x="446" y="69"/>
                  </a:cubicBezTo>
                  <a:cubicBezTo>
                    <a:pt x="443" y="67"/>
                    <a:pt x="443" y="67"/>
                    <a:pt x="443" y="67"/>
                  </a:cubicBezTo>
                  <a:cubicBezTo>
                    <a:pt x="441" y="66"/>
                    <a:pt x="441" y="66"/>
                    <a:pt x="441" y="66"/>
                  </a:cubicBezTo>
                  <a:cubicBezTo>
                    <a:pt x="441" y="66"/>
                    <a:pt x="441" y="66"/>
                    <a:pt x="441" y="66"/>
                  </a:cubicBezTo>
                  <a:cubicBezTo>
                    <a:pt x="439" y="65"/>
                    <a:pt x="439" y="65"/>
                    <a:pt x="439" y="65"/>
                  </a:cubicBezTo>
                  <a:cubicBezTo>
                    <a:pt x="435" y="62"/>
                    <a:pt x="435" y="62"/>
                    <a:pt x="435" y="62"/>
                  </a:cubicBezTo>
                  <a:cubicBezTo>
                    <a:pt x="434" y="62"/>
                    <a:pt x="433" y="63"/>
                    <a:pt x="432" y="63"/>
                  </a:cubicBezTo>
                  <a:cubicBezTo>
                    <a:pt x="430" y="64"/>
                    <a:pt x="428" y="65"/>
                    <a:pt x="425" y="65"/>
                  </a:cubicBezTo>
                  <a:cubicBezTo>
                    <a:pt x="425" y="65"/>
                    <a:pt x="425" y="65"/>
                    <a:pt x="425" y="65"/>
                  </a:cubicBezTo>
                  <a:cubicBezTo>
                    <a:pt x="424" y="65"/>
                    <a:pt x="424" y="65"/>
                    <a:pt x="424" y="65"/>
                  </a:cubicBezTo>
                  <a:cubicBezTo>
                    <a:pt x="423" y="65"/>
                    <a:pt x="423" y="65"/>
                    <a:pt x="422" y="65"/>
                  </a:cubicBezTo>
                  <a:cubicBezTo>
                    <a:pt x="420" y="65"/>
                    <a:pt x="417" y="65"/>
                    <a:pt x="415" y="64"/>
                  </a:cubicBezTo>
                  <a:cubicBezTo>
                    <a:pt x="414" y="65"/>
                    <a:pt x="414" y="66"/>
                    <a:pt x="414" y="66"/>
                  </a:cubicBezTo>
                  <a:cubicBezTo>
                    <a:pt x="415" y="67"/>
                    <a:pt x="415" y="67"/>
                    <a:pt x="415" y="67"/>
                  </a:cubicBezTo>
                  <a:cubicBezTo>
                    <a:pt x="415" y="68"/>
                    <a:pt x="416" y="69"/>
                    <a:pt x="417" y="70"/>
                  </a:cubicBezTo>
                  <a:cubicBezTo>
                    <a:pt x="418" y="71"/>
                    <a:pt x="418" y="72"/>
                    <a:pt x="417" y="73"/>
                  </a:cubicBezTo>
                  <a:cubicBezTo>
                    <a:pt x="417" y="75"/>
                    <a:pt x="417" y="77"/>
                    <a:pt x="416" y="78"/>
                  </a:cubicBezTo>
                  <a:cubicBezTo>
                    <a:pt x="415" y="78"/>
                    <a:pt x="415" y="78"/>
                    <a:pt x="414" y="78"/>
                  </a:cubicBezTo>
                  <a:cubicBezTo>
                    <a:pt x="414" y="78"/>
                    <a:pt x="414" y="78"/>
                    <a:pt x="414" y="78"/>
                  </a:cubicBezTo>
                  <a:cubicBezTo>
                    <a:pt x="413" y="79"/>
                    <a:pt x="413" y="79"/>
                    <a:pt x="413" y="79"/>
                  </a:cubicBezTo>
                  <a:cubicBezTo>
                    <a:pt x="413" y="79"/>
                    <a:pt x="413" y="79"/>
                    <a:pt x="413" y="79"/>
                  </a:cubicBezTo>
                  <a:cubicBezTo>
                    <a:pt x="412" y="79"/>
                    <a:pt x="412" y="79"/>
                    <a:pt x="412" y="79"/>
                  </a:cubicBezTo>
                  <a:cubicBezTo>
                    <a:pt x="412" y="79"/>
                    <a:pt x="412" y="79"/>
                    <a:pt x="412" y="79"/>
                  </a:cubicBezTo>
                  <a:cubicBezTo>
                    <a:pt x="412" y="79"/>
                    <a:pt x="411" y="78"/>
                    <a:pt x="410" y="78"/>
                  </a:cubicBezTo>
                  <a:cubicBezTo>
                    <a:pt x="407" y="78"/>
                    <a:pt x="407" y="78"/>
                    <a:pt x="407" y="78"/>
                  </a:cubicBezTo>
                  <a:cubicBezTo>
                    <a:pt x="405" y="78"/>
                    <a:pt x="402" y="77"/>
                    <a:pt x="400" y="76"/>
                  </a:cubicBezTo>
                  <a:cubicBezTo>
                    <a:pt x="400" y="76"/>
                    <a:pt x="400" y="76"/>
                    <a:pt x="400" y="76"/>
                  </a:cubicBezTo>
                  <a:cubicBezTo>
                    <a:pt x="399" y="77"/>
                    <a:pt x="399" y="77"/>
                    <a:pt x="399" y="77"/>
                  </a:cubicBezTo>
                  <a:cubicBezTo>
                    <a:pt x="399" y="77"/>
                    <a:pt x="399" y="77"/>
                    <a:pt x="399" y="77"/>
                  </a:cubicBezTo>
                  <a:cubicBezTo>
                    <a:pt x="398" y="77"/>
                    <a:pt x="398" y="77"/>
                    <a:pt x="398" y="77"/>
                  </a:cubicBezTo>
                  <a:cubicBezTo>
                    <a:pt x="397" y="77"/>
                    <a:pt x="397" y="77"/>
                    <a:pt x="397" y="77"/>
                  </a:cubicBezTo>
                  <a:cubicBezTo>
                    <a:pt x="397" y="77"/>
                    <a:pt x="396" y="77"/>
                    <a:pt x="395" y="77"/>
                  </a:cubicBezTo>
                  <a:cubicBezTo>
                    <a:pt x="395" y="77"/>
                    <a:pt x="395" y="77"/>
                    <a:pt x="395" y="77"/>
                  </a:cubicBezTo>
                  <a:cubicBezTo>
                    <a:pt x="395" y="77"/>
                    <a:pt x="394" y="77"/>
                    <a:pt x="394" y="77"/>
                  </a:cubicBezTo>
                  <a:cubicBezTo>
                    <a:pt x="393" y="77"/>
                    <a:pt x="393" y="77"/>
                    <a:pt x="392" y="77"/>
                  </a:cubicBezTo>
                  <a:cubicBezTo>
                    <a:pt x="392" y="77"/>
                    <a:pt x="392" y="77"/>
                    <a:pt x="392" y="77"/>
                  </a:cubicBezTo>
                  <a:cubicBezTo>
                    <a:pt x="391" y="77"/>
                    <a:pt x="391" y="77"/>
                    <a:pt x="391" y="77"/>
                  </a:cubicBezTo>
                  <a:cubicBezTo>
                    <a:pt x="389" y="77"/>
                    <a:pt x="388" y="77"/>
                    <a:pt x="387" y="76"/>
                  </a:cubicBezTo>
                  <a:cubicBezTo>
                    <a:pt x="385" y="76"/>
                    <a:pt x="385" y="76"/>
                    <a:pt x="385" y="76"/>
                  </a:cubicBezTo>
                  <a:cubicBezTo>
                    <a:pt x="384" y="76"/>
                    <a:pt x="383" y="76"/>
                    <a:pt x="383" y="77"/>
                  </a:cubicBezTo>
                  <a:cubicBezTo>
                    <a:pt x="379" y="82"/>
                    <a:pt x="375" y="83"/>
                    <a:pt x="375" y="83"/>
                  </a:cubicBezTo>
                  <a:cubicBezTo>
                    <a:pt x="375" y="83"/>
                    <a:pt x="375" y="83"/>
                    <a:pt x="374" y="83"/>
                  </a:cubicBezTo>
                  <a:cubicBezTo>
                    <a:pt x="373" y="84"/>
                    <a:pt x="368" y="85"/>
                    <a:pt x="358" y="87"/>
                  </a:cubicBezTo>
                  <a:cubicBezTo>
                    <a:pt x="358" y="88"/>
                    <a:pt x="358" y="89"/>
                    <a:pt x="358" y="89"/>
                  </a:cubicBezTo>
                  <a:cubicBezTo>
                    <a:pt x="357" y="91"/>
                    <a:pt x="355" y="92"/>
                    <a:pt x="351" y="94"/>
                  </a:cubicBezTo>
                  <a:cubicBezTo>
                    <a:pt x="350" y="94"/>
                    <a:pt x="349" y="94"/>
                    <a:pt x="348" y="94"/>
                  </a:cubicBezTo>
                  <a:cubicBezTo>
                    <a:pt x="347" y="94"/>
                    <a:pt x="347" y="94"/>
                    <a:pt x="346" y="94"/>
                  </a:cubicBezTo>
                  <a:cubicBezTo>
                    <a:pt x="346" y="94"/>
                    <a:pt x="346" y="94"/>
                    <a:pt x="346" y="94"/>
                  </a:cubicBezTo>
                  <a:cubicBezTo>
                    <a:pt x="345" y="93"/>
                    <a:pt x="345" y="93"/>
                    <a:pt x="344" y="93"/>
                  </a:cubicBezTo>
                  <a:cubicBezTo>
                    <a:pt x="344" y="93"/>
                    <a:pt x="344" y="93"/>
                    <a:pt x="344" y="93"/>
                  </a:cubicBezTo>
                  <a:cubicBezTo>
                    <a:pt x="344" y="92"/>
                    <a:pt x="343" y="92"/>
                    <a:pt x="343" y="92"/>
                  </a:cubicBezTo>
                  <a:cubicBezTo>
                    <a:pt x="342" y="91"/>
                    <a:pt x="342" y="91"/>
                    <a:pt x="341" y="91"/>
                  </a:cubicBezTo>
                  <a:cubicBezTo>
                    <a:pt x="336" y="90"/>
                    <a:pt x="333" y="87"/>
                    <a:pt x="332" y="85"/>
                  </a:cubicBezTo>
                  <a:cubicBezTo>
                    <a:pt x="331" y="85"/>
                    <a:pt x="331" y="85"/>
                    <a:pt x="331" y="85"/>
                  </a:cubicBezTo>
                  <a:cubicBezTo>
                    <a:pt x="330" y="84"/>
                    <a:pt x="325" y="80"/>
                    <a:pt x="324" y="74"/>
                  </a:cubicBezTo>
                  <a:cubicBezTo>
                    <a:pt x="324" y="68"/>
                    <a:pt x="321" y="66"/>
                    <a:pt x="321" y="66"/>
                  </a:cubicBezTo>
                  <a:cubicBezTo>
                    <a:pt x="321" y="66"/>
                    <a:pt x="321" y="66"/>
                    <a:pt x="321" y="66"/>
                  </a:cubicBezTo>
                  <a:cubicBezTo>
                    <a:pt x="320" y="65"/>
                    <a:pt x="319" y="64"/>
                    <a:pt x="319" y="61"/>
                  </a:cubicBezTo>
                  <a:cubicBezTo>
                    <a:pt x="317" y="58"/>
                    <a:pt x="317" y="52"/>
                    <a:pt x="320" y="43"/>
                  </a:cubicBezTo>
                  <a:cubicBezTo>
                    <a:pt x="320" y="43"/>
                    <a:pt x="324" y="32"/>
                    <a:pt x="326" y="30"/>
                  </a:cubicBezTo>
                  <a:cubicBezTo>
                    <a:pt x="327" y="30"/>
                    <a:pt x="327" y="29"/>
                    <a:pt x="328" y="29"/>
                  </a:cubicBezTo>
                  <a:cubicBezTo>
                    <a:pt x="324" y="25"/>
                    <a:pt x="323" y="22"/>
                    <a:pt x="324" y="18"/>
                  </a:cubicBezTo>
                  <a:cubicBezTo>
                    <a:pt x="322" y="18"/>
                    <a:pt x="320" y="17"/>
                    <a:pt x="317" y="17"/>
                  </a:cubicBezTo>
                  <a:cubicBezTo>
                    <a:pt x="312" y="17"/>
                    <a:pt x="312" y="17"/>
                    <a:pt x="312" y="17"/>
                  </a:cubicBezTo>
                  <a:cubicBezTo>
                    <a:pt x="314" y="13"/>
                    <a:pt x="314" y="13"/>
                    <a:pt x="314" y="13"/>
                  </a:cubicBezTo>
                  <a:cubicBezTo>
                    <a:pt x="317" y="7"/>
                    <a:pt x="318" y="3"/>
                    <a:pt x="316" y="2"/>
                  </a:cubicBezTo>
                  <a:cubicBezTo>
                    <a:pt x="316" y="1"/>
                    <a:pt x="316" y="1"/>
                    <a:pt x="315" y="1"/>
                  </a:cubicBezTo>
                  <a:cubicBezTo>
                    <a:pt x="315" y="1"/>
                    <a:pt x="315" y="1"/>
                    <a:pt x="315" y="1"/>
                  </a:cubicBezTo>
                  <a:cubicBezTo>
                    <a:pt x="314" y="0"/>
                    <a:pt x="313" y="0"/>
                    <a:pt x="313" y="0"/>
                  </a:cubicBezTo>
                  <a:cubicBezTo>
                    <a:pt x="312" y="0"/>
                    <a:pt x="312" y="0"/>
                    <a:pt x="312" y="0"/>
                  </a:cubicBezTo>
                  <a:cubicBezTo>
                    <a:pt x="312" y="0"/>
                    <a:pt x="312" y="0"/>
                    <a:pt x="3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243"/>
            <p:cNvSpPr/>
            <p:nvPr/>
          </p:nvSpPr>
          <p:spPr bwMode="auto">
            <a:xfrm>
              <a:off x="8429332" y="2770881"/>
              <a:ext cx="917975" cy="1022486"/>
            </a:xfrm>
            <a:custGeom>
              <a:gdLst>
                <a:gd name="T0" fmla="*/ 85 w 275"/>
                <a:gd name="T1" fmla="*/ 0 h 306"/>
                <a:gd name="T2" fmla="*/ 56 w 275"/>
                <a:gd name="T3" fmla="*/ 13 h 306"/>
                <a:gd name="T4" fmla="*/ 37 w 275"/>
                <a:gd name="T5" fmla="*/ 24 h 306"/>
                <a:gd name="T6" fmla="*/ 25 w 275"/>
                <a:gd name="T7" fmla="*/ 31 h 306"/>
                <a:gd name="T8" fmla="*/ 14 w 275"/>
                <a:gd name="T9" fmla="*/ 31 h 306"/>
                <a:gd name="T10" fmla="*/ 5 w 275"/>
                <a:gd name="T11" fmla="*/ 29 h 306"/>
                <a:gd name="T12" fmla="*/ 18 w 275"/>
                <a:gd name="T13" fmla="*/ 71 h 306"/>
                <a:gd name="T14" fmla="*/ 13 w 275"/>
                <a:gd name="T15" fmla="*/ 86 h 306"/>
                <a:gd name="T16" fmla="*/ 16 w 275"/>
                <a:gd name="T17" fmla="*/ 96 h 306"/>
                <a:gd name="T18" fmla="*/ 16 w 275"/>
                <a:gd name="T19" fmla="*/ 105 h 306"/>
                <a:gd name="T20" fmla="*/ 8 w 275"/>
                <a:gd name="T21" fmla="*/ 120 h 306"/>
                <a:gd name="T22" fmla="*/ 13 w 275"/>
                <a:gd name="T23" fmla="*/ 148 h 306"/>
                <a:gd name="T24" fmla="*/ 13 w 275"/>
                <a:gd name="T25" fmla="*/ 161 h 306"/>
                <a:gd name="T26" fmla="*/ 0 w 275"/>
                <a:gd name="T27" fmla="*/ 175 h 306"/>
                <a:gd name="T28" fmla="*/ 3 w 275"/>
                <a:gd name="T29" fmla="*/ 179 h 306"/>
                <a:gd name="T30" fmla="*/ 5 w 275"/>
                <a:gd name="T31" fmla="*/ 184 h 306"/>
                <a:gd name="T32" fmla="*/ 10 w 275"/>
                <a:gd name="T33" fmla="*/ 190 h 306"/>
                <a:gd name="T34" fmla="*/ 21 w 275"/>
                <a:gd name="T35" fmla="*/ 219 h 306"/>
                <a:gd name="T36" fmla="*/ 23 w 275"/>
                <a:gd name="T37" fmla="*/ 233 h 306"/>
                <a:gd name="T38" fmla="*/ 25 w 275"/>
                <a:gd name="T39" fmla="*/ 253 h 306"/>
                <a:gd name="T40" fmla="*/ 29 w 275"/>
                <a:gd name="T41" fmla="*/ 263 h 306"/>
                <a:gd name="T42" fmla="*/ 34 w 275"/>
                <a:gd name="T43" fmla="*/ 273 h 306"/>
                <a:gd name="T44" fmla="*/ 36 w 275"/>
                <a:gd name="T45" fmla="*/ 284 h 306"/>
                <a:gd name="T46" fmla="*/ 40 w 275"/>
                <a:gd name="T47" fmla="*/ 298 h 306"/>
                <a:gd name="T48" fmla="*/ 53 w 275"/>
                <a:gd name="T49" fmla="*/ 306 h 306"/>
                <a:gd name="T50" fmla="*/ 72 w 275"/>
                <a:gd name="T51" fmla="*/ 289 h 306"/>
                <a:gd name="T52" fmla="*/ 74 w 275"/>
                <a:gd name="T53" fmla="*/ 280 h 306"/>
                <a:gd name="T54" fmla="*/ 102 w 275"/>
                <a:gd name="T55" fmla="*/ 289 h 306"/>
                <a:gd name="T56" fmla="*/ 126 w 275"/>
                <a:gd name="T57" fmla="*/ 289 h 306"/>
                <a:gd name="T58" fmla="*/ 137 w 275"/>
                <a:gd name="T59" fmla="*/ 286 h 306"/>
                <a:gd name="T60" fmla="*/ 154 w 275"/>
                <a:gd name="T61" fmla="*/ 286 h 306"/>
                <a:gd name="T62" fmla="*/ 159 w 275"/>
                <a:gd name="T63" fmla="*/ 286 h 306"/>
                <a:gd name="T64" fmla="*/ 166 w 275"/>
                <a:gd name="T65" fmla="*/ 260 h 306"/>
                <a:gd name="T66" fmla="*/ 172 w 275"/>
                <a:gd name="T67" fmla="*/ 243 h 306"/>
                <a:gd name="T68" fmla="*/ 204 w 275"/>
                <a:gd name="T69" fmla="*/ 225 h 306"/>
                <a:gd name="T70" fmla="*/ 235 w 275"/>
                <a:gd name="T71" fmla="*/ 220 h 306"/>
                <a:gd name="T72" fmla="*/ 263 w 275"/>
                <a:gd name="T73" fmla="*/ 232 h 306"/>
                <a:gd name="T74" fmla="*/ 271 w 275"/>
                <a:gd name="T75" fmla="*/ 214 h 306"/>
                <a:gd name="T76" fmla="*/ 275 w 275"/>
                <a:gd name="T77" fmla="*/ 197 h 306"/>
                <a:gd name="T78" fmla="*/ 271 w 275"/>
                <a:gd name="T79" fmla="*/ 187 h 306"/>
                <a:gd name="T80" fmla="*/ 257 w 275"/>
                <a:gd name="T81" fmla="*/ 154 h 306"/>
                <a:gd name="T82" fmla="*/ 214 w 275"/>
                <a:gd name="T83" fmla="*/ 147 h 306"/>
                <a:gd name="T84" fmla="*/ 207 w 275"/>
                <a:gd name="T85" fmla="*/ 121 h 306"/>
                <a:gd name="T86" fmla="*/ 210 w 275"/>
                <a:gd name="T87" fmla="*/ 110 h 306"/>
                <a:gd name="T88" fmla="*/ 207 w 275"/>
                <a:gd name="T89" fmla="*/ 96 h 306"/>
                <a:gd name="T90" fmla="*/ 196 w 275"/>
                <a:gd name="T91" fmla="*/ 88 h 306"/>
                <a:gd name="T92" fmla="*/ 183 w 275"/>
                <a:gd name="T93" fmla="*/ 89 h 306"/>
                <a:gd name="T94" fmla="*/ 170 w 275"/>
                <a:gd name="T95" fmla="*/ 81 h 306"/>
                <a:gd name="T96" fmla="*/ 151 w 275"/>
                <a:gd name="T97" fmla="*/ 73 h 306"/>
                <a:gd name="T98" fmla="*/ 147 w 275"/>
                <a:gd name="T99" fmla="*/ 68 h 306"/>
                <a:gd name="T100" fmla="*/ 133 w 275"/>
                <a:gd name="T101" fmla="*/ 64 h 306"/>
                <a:gd name="T102" fmla="*/ 126 w 275"/>
                <a:gd name="T103" fmla="*/ 65 h 306"/>
                <a:gd name="T104" fmla="*/ 112 w 275"/>
                <a:gd name="T105" fmla="*/ 57 h 306"/>
                <a:gd name="T106" fmla="*/ 93 w 275"/>
                <a:gd name="T107" fmla="*/ 32 h 306"/>
                <a:gd name="T108" fmla="*/ 93 w 275"/>
                <a:gd name="T109" fmla="*/ 22 h 306"/>
                <a:gd name="T110" fmla="*/ 94 w 275"/>
                <a:gd name="T111" fmla="*/ 5 h 30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5" h="306">
                  <a:moveTo>
                    <a:pt x="95" y="0"/>
                  </a:moveTo>
                  <a:cubicBezTo>
                    <a:pt x="94" y="1"/>
                    <a:pt x="93" y="1"/>
                    <a:pt x="91" y="1"/>
                  </a:cubicBezTo>
                  <a:cubicBezTo>
                    <a:pt x="91" y="1"/>
                    <a:pt x="90" y="1"/>
                    <a:pt x="90" y="1"/>
                  </a:cubicBezTo>
                  <a:cubicBezTo>
                    <a:pt x="88" y="1"/>
                    <a:pt x="87" y="1"/>
                    <a:pt x="87" y="1"/>
                  </a:cubicBezTo>
                  <a:cubicBezTo>
                    <a:pt x="86" y="0"/>
                    <a:pt x="85" y="0"/>
                    <a:pt x="85" y="0"/>
                  </a:cubicBezTo>
                  <a:cubicBezTo>
                    <a:pt x="85" y="0"/>
                    <a:pt x="85" y="0"/>
                    <a:pt x="85" y="0"/>
                  </a:cubicBezTo>
                  <a:cubicBezTo>
                    <a:pt x="84" y="0"/>
                    <a:pt x="84" y="0"/>
                    <a:pt x="84" y="0"/>
                  </a:cubicBezTo>
                  <a:cubicBezTo>
                    <a:pt x="83" y="0"/>
                    <a:pt x="83" y="0"/>
                    <a:pt x="83" y="0"/>
                  </a:cubicBezTo>
                  <a:cubicBezTo>
                    <a:pt x="71" y="3"/>
                    <a:pt x="71" y="3"/>
                    <a:pt x="71" y="3"/>
                  </a:cubicBezTo>
                  <a:cubicBezTo>
                    <a:pt x="69" y="4"/>
                    <a:pt x="67" y="4"/>
                    <a:pt x="66" y="6"/>
                  </a:cubicBezTo>
                  <a:cubicBezTo>
                    <a:pt x="65" y="6"/>
                    <a:pt x="64" y="7"/>
                    <a:pt x="63" y="8"/>
                  </a:cubicBezTo>
                  <a:cubicBezTo>
                    <a:pt x="60" y="10"/>
                    <a:pt x="58" y="12"/>
                    <a:pt x="56" y="13"/>
                  </a:cubicBezTo>
                  <a:cubicBezTo>
                    <a:pt x="54" y="14"/>
                    <a:pt x="53" y="15"/>
                    <a:pt x="51" y="15"/>
                  </a:cubicBezTo>
                  <a:cubicBezTo>
                    <a:pt x="50" y="16"/>
                    <a:pt x="49" y="17"/>
                    <a:pt x="47" y="17"/>
                  </a:cubicBezTo>
                  <a:cubicBezTo>
                    <a:pt x="47" y="18"/>
                    <a:pt x="46" y="18"/>
                    <a:pt x="46" y="19"/>
                  </a:cubicBezTo>
                  <a:cubicBezTo>
                    <a:pt x="45" y="19"/>
                    <a:pt x="45" y="19"/>
                    <a:pt x="45" y="19"/>
                  </a:cubicBezTo>
                  <a:cubicBezTo>
                    <a:pt x="45" y="20"/>
                    <a:pt x="44" y="21"/>
                    <a:pt x="43" y="22"/>
                  </a:cubicBezTo>
                  <a:cubicBezTo>
                    <a:pt x="41" y="23"/>
                    <a:pt x="39" y="24"/>
                    <a:pt x="37" y="24"/>
                  </a:cubicBezTo>
                  <a:cubicBezTo>
                    <a:pt x="37" y="24"/>
                    <a:pt x="37" y="24"/>
                    <a:pt x="37" y="24"/>
                  </a:cubicBezTo>
                  <a:cubicBezTo>
                    <a:pt x="36" y="24"/>
                    <a:pt x="35" y="24"/>
                    <a:pt x="34" y="25"/>
                  </a:cubicBezTo>
                  <a:cubicBezTo>
                    <a:pt x="33" y="25"/>
                    <a:pt x="33" y="25"/>
                    <a:pt x="32" y="26"/>
                  </a:cubicBezTo>
                  <a:cubicBezTo>
                    <a:pt x="31" y="27"/>
                    <a:pt x="31" y="28"/>
                    <a:pt x="29" y="29"/>
                  </a:cubicBezTo>
                  <a:cubicBezTo>
                    <a:pt x="28" y="30"/>
                    <a:pt x="26" y="30"/>
                    <a:pt x="25" y="31"/>
                  </a:cubicBezTo>
                  <a:cubicBezTo>
                    <a:pt x="25" y="31"/>
                    <a:pt x="25" y="31"/>
                    <a:pt x="25" y="31"/>
                  </a:cubicBezTo>
                  <a:cubicBezTo>
                    <a:pt x="24" y="31"/>
                    <a:pt x="24" y="31"/>
                    <a:pt x="24" y="31"/>
                  </a:cubicBezTo>
                  <a:cubicBezTo>
                    <a:pt x="23" y="31"/>
                    <a:pt x="21" y="32"/>
                    <a:pt x="19" y="32"/>
                  </a:cubicBezTo>
                  <a:cubicBezTo>
                    <a:pt x="19" y="32"/>
                    <a:pt x="19" y="32"/>
                    <a:pt x="18" y="32"/>
                  </a:cubicBezTo>
                  <a:cubicBezTo>
                    <a:pt x="18" y="32"/>
                    <a:pt x="18" y="32"/>
                    <a:pt x="17" y="32"/>
                  </a:cubicBezTo>
                  <a:cubicBezTo>
                    <a:pt x="17" y="32"/>
                    <a:pt x="17" y="32"/>
                    <a:pt x="16" y="32"/>
                  </a:cubicBezTo>
                  <a:cubicBezTo>
                    <a:pt x="15" y="31"/>
                    <a:pt x="15" y="31"/>
                    <a:pt x="14" y="31"/>
                  </a:cubicBezTo>
                  <a:cubicBezTo>
                    <a:pt x="14" y="31"/>
                    <a:pt x="13" y="31"/>
                    <a:pt x="13" y="31"/>
                  </a:cubicBezTo>
                  <a:cubicBezTo>
                    <a:pt x="12" y="31"/>
                    <a:pt x="12" y="31"/>
                    <a:pt x="12" y="31"/>
                  </a:cubicBezTo>
                  <a:cubicBezTo>
                    <a:pt x="12" y="31"/>
                    <a:pt x="11" y="31"/>
                    <a:pt x="11" y="31"/>
                  </a:cubicBezTo>
                  <a:cubicBezTo>
                    <a:pt x="10" y="31"/>
                    <a:pt x="9" y="30"/>
                    <a:pt x="8" y="30"/>
                  </a:cubicBezTo>
                  <a:cubicBezTo>
                    <a:pt x="7" y="30"/>
                    <a:pt x="7" y="30"/>
                    <a:pt x="7" y="30"/>
                  </a:cubicBezTo>
                  <a:cubicBezTo>
                    <a:pt x="7" y="30"/>
                    <a:pt x="6" y="30"/>
                    <a:pt x="5" y="29"/>
                  </a:cubicBezTo>
                  <a:cubicBezTo>
                    <a:pt x="5" y="30"/>
                    <a:pt x="5" y="30"/>
                    <a:pt x="5" y="30"/>
                  </a:cubicBezTo>
                  <a:cubicBezTo>
                    <a:pt x="8" y="34"/>
                    <a:pt x="10" y="38"/>
                    <a:pt x="12" y="42"/>
                  </a:cubicBezTo>
                  <a:cubicBezTo>
                    <a:pt x="15" y="47"/>
                    <a:pt x="18" y="52"/>
                    <a:pt x="20" y="57"/>
                  </a:cubicBezTo>
                  <a:cubicBezTo>
                    <a:pt x="22" y="60"/>
                    <a:pt x="22" y="60"/>
                    <a:pt x="22" y="60"/>
                  </a:cubicBezTo>
                  <a:cubicBezTo>
                    <a:pt x="22" y="61"/>
                    <a:pt x="23" y="62"/>
                    <a:pt x="22" y="63"/>
                  </a:cubicBezTo>
                  <a:cubicBezTo>
                    <a:pt x="22" y="65"/>
                    <a:pt x="20" y="68"/>
                    <a:pt x="18" y="71"/>
                  </a:cubicBezTo>
                  <a:cubicBezTo>
                    <a:pt x="17" y="72"/>
                    <a:pt x="17" y="72"/>
                    <a:pt x="17" y="72"/>
                  </a:cubicBezTo>
                  <a:cubicBezTo>
                    <a:pt x="17" y="73"/>
                    <a:pt x="16" y="74"/>
                    <a:pt x="16" y="75"/>
                  </a:cubicBezTo>
                  <a:cubicBezTo>
                    <a:pt x="15" y="76"/>
                    <a:pt x="15" y="78"/>
                    <a:pt x="15" y="80"/>
                  </a:cubicBezTo>
                  <a:cubicBezTo>
                    <a:pt x="15" y="81"/>
                    <a:pt x="14" y="82"/>
                    <a:pt x="14" y="83"/>
                  </a:cubicBezTo>
                  <a:cubicBezTo>
                    <a:pt x="14" y="84"/>
                    <a:pt x="13" y="85"/>
                    <a:pt x="13" y="86"/>
                  </a:cubicBezTo>
                  <a:cubicBezTo>
                    <a:pt x="13" y="86"/>
                    <a:pt x="13" y="86"/>
                    <a:pt x="13" y="86"/>
                  </a:cubicBezTo>
                  <a:cubicBezTo>
                    <a:pt x="13" y="87"/>
                    <a:pt x="13" y="87"/>
                    <a:pt x="13" y="88"/>
                  </a:cubicBezTo>
                  <a:cubicBezTo>
                    <a:pt x="13" y="89"/>
                    <a:pt x="13" y="89"/>
                    <a:pt x="13" y="89"/>
                  </a:cubicBezTo>
                  <a:cubicBezTo>
                    <a:pt x="14" y="90"/>
                    <a:pt x="14" y="90"/>
                    <a:pt x="14" y="90"/>
                  </a:cubicBezTo>
                  <a:cubicBezTo>
                    <a:pt x="14" y="91"/>
                    <a:pt x="14" y="92"/>
                    <a:pt x="15" y="93"/>
                  </a:cubicBezTo>
                  <a:cubicBezTo>
                    <a:pt x="15" y="94"/>
                    <a:pt x="15" y="94"/>
                    <a:pt x="15" y="94"/>
                  </a:cubicBezTo>
                  <a:cubicBezTo>
                    <a:pt x="16" y="96"/>
                    <a:pt x="16" y="96"/>
                    <a:pt x="16" y="96"/>
                  </a:cubicBezTo>
                  <a:cubicBezTo>
                    <a:pt x="16" y="97"/>
                    <a:pt x="17" y="98"/>
                    <a:pt x="17" y="99"/>
                  </a:cubicBezTo>
                  <a:cubicBezTo>
                    <a:pt x="18" y="100"/>
                    <a:pt x="18" y="100"/>
                    <a:pt x="18" y="100"/>
                  </a:cubicBezTo>
                  <a:cubicBezTo>
                    <a:pt x="18" y="102"/>
                    <a:pt x="18" y="102"/>
                    <a:pt x="18" y="102"/>
                  </a:cubicBezTo>
                  <a:cubicBezTo>
                    <a:pt x="18" y="103"/>
                    <a:pt x="18" y="103"/>
                    <a:pt x="18" y="103"/>
                  </a:cubicBezTo>
                  <a:cubicBezTo>
                    <a:pt x="17" y="104"/>
                    <a:pt x="17" y="104"/>
                    <a:pt x="16" y="105"/>
                  </a:cubicBezTo>
                  <a:cubicBezTo>
                    <a:pt x="16" y="105"/>
                    <a:pt x="16" y="105"/>
                    <a:pt x="16" y="105"/>
                  </a:cubicBezTo>
                  <a:cubicBezTo>
                    <a:pt x="16" y="105"/>
                    <a:pt x="15" y="106"/>
                    <a:pt x="15" y="106"/>
                  </a:cubicBezTo>
                  <a:cubicBezTo>
                    <a:pt x="15" y="107"/>
                    <a:pt x="15" y="107"/>
                    <a:pt x="15" y="108"/>
                  </a:cubicBezTo>
                  <a:cubicBezTo>
                    <a:pt x="14" y="109"/>
                    <a:pt x="12" y="110"/>
                    <a:pt x="11" y="111"/>
                  </a:cubicBezTo>
                  <a:cubicBezTo>
                    <a:pt x="11" y="111"/>
                    <a:pt x="11" y="111"/>
                    <a:pt x="11" y="111"/>
                  </a:cubicBezTo>
                  <a:cubicBezTo>
                    <a:pt x="10" y="112"/>
                    <a:pt x="10" y="112"/>
                    <a:pt x="9" y="113"/>
                  </a:cubicBezTo>
                  <a:cubicBezTo>
                    <a:pt x="7" y="116"/>
                    <a:pt x="7" y="116"/>
                    <a:pt x="8" y="120"/>
                  </a:cubicBezTo>
                  <a:cubicBezTo>
                    <a:pt x="8" y="120"/>
                    <a:pt x="8" y="121"/>
                    <a:pt x="9" y="123"/>
                  </a:cubicBezTo>
                  <a:cubicBezTo>
                    <a:pt x="11" y="125"/>
                    <a:pt x="12" y="127"/>
                    <a:pt x="11" y="128"/>
                  </a:cubicBezTo>
                  <a:cubicBezTo>
                    <a:pt x="6" y="135"/>
                    <a:pt x="6" y="135"/>
                    <a:pt x="6" y="135"/>
                  </a:cubicBezTo>
                  <a:cubicBezTo>
                    <a:pt x="6" y="137"/>
                    <a:pt x="6" y="137"/>
                    <a:pt x="6" y="137"/>
                  </a:cubicBezTo>
                  <a:cubicBezTo>
                    <a:pt x="6" y="138"/>
                    <a:pt x="7" y="139"/>
                    <a:pt x="7" y="141"/>
                  </a:cubicBezTo>
                  <a:cubicBezTo>
                    <a:pt x="8" y="145"/>
                    <a:pt x="9" y="147"/>
                    <a:pt x="13" y="148"/>
                  </a:cubicBezTo>
                  <a:cubicBezTo>
                    <a:pt x="13" y="148"/>
                    <a:pt x="13" y="148"/>
                    <a:pt x="13" y="148"/>
                  </a:cubicBezTo>
                  <a:cubicBezTo>
                    <a:pt x="16" y="148"/>
                    <a:pt x="17" y="148"/>
                    <a:pt x="18" y="149"/>
                  </a:cubicBezTo>
                  <a:cubicBezTo>
                    <a:pt x="19" y="151"/>
                    <a:pt x="18" y="153"/>
                    <a:pt x="18" y="153"/>
                  </a:cubicBezTo>
                  <a:cubicBezTo>
                    <a:pt x="18" y="154"/>
                    <a:pt x="18" y="154"/>
                    <a:pt x="18" y="154"/>
                  </a:cubicBezTo>
                  <a:cubicBezTo>
                    <a:pt x="14" y="160"/>
                    <a:pt x="14" y="160"/>
                    <a:pt x="14" y="160"/>
                  </a:cubicBezTo>
                  <a:cubicBezTo>
                    <a:pt x="13" y="160"/>
                    <a:pt x="13" y="160"/>
                    <a:pt x="13" y="161"/>
                  </a:cubicBezTo>
                  <a:cubicBezTo>
                    <a:pt x="12" y="161"/>
                    <a:pt x="12" y="162"/>
                    <a:pt x="11" y="163"/>
                  </a:cubicBezTo>
                  <a:cubicBezTo>
                    <a:pt x="11" y="164"/>
                    <a:pt x="11" y="164"/>
                    <a:pt x="11" y="164"/>
                  </a:cubicBezTo>
                  <a:cubicBezTo>
                    <a:pt x="9" y="166"/>
                    <a:pt x="8" y="168"/>
                    <a:pt x="6" y="170"/>
                  </a:cubicBezTo>
                  <a:cubicBezTo>
                    <a:pt x="6" y="170"/>
                    <a:pt x="5" y="170"/>
                    <a:pt x="4" y="171"/>
                  </a:cubicBezTo>
                  <a:cubicBezTo>
                    <a:pt x="4" y="171"/>
                    <a:pt x="4" y="171"/>
                    <a:pt x="4" y="171"/>
                  </a:cubicBezTo>
                  <a:cubicBezTo>
                    <a:pt x="2" y="173"/>
                    <a:pt x="1" y="174"/>
                    <a:pt x="0" y="175"/>
                  </a:cubicBezTo>
                  <a:cubicBezTo>
                    <a:pt x="0" y="175"/>
                    <a:pt x="0" y="175"/>
                    <a:pt x="0" y="175"/>
                  </a:cubicBezTo>
                  <a:cubicBezTo>
                    <a:pt x="1" y="175"/>
                    <a:pt x="1" y="176"/>
                    <a:pt x="2" y="177"/>
                  </a:cubicBezTo>
                  <a:cubicBezTo>
                    <a:pt x="2" y="177"/>
                    <a:pt x="2" y="177"/>
                    <a:pt x="2" y="177"/>
                  </a:cubicBezTo>
                  <a:cubicBezTo>
                    <a:pt x="3" y="178"/>
                    <a:pt x="3" y="178"/>
                    <a:pt x="3" y="178"/>
                  </a:cubicBezTo>
                  <a:cubicBezTo>
                    <a:pt x="3" y="178"/>
                    <a:pt x="3" y="178"/>
                    <a:pt x="3" y="179"/>
                  </a:cubicBezTo>
                  <a:cubicBezTo>
                    <a:pt x="3" y="179"/>
                    <a:pt x="3" y="179"/>
                    <a:pt x="3" y="179"/>
                  </a:cubicBezTo>
                  <a:cubicBezTo>
                    <a:pt x="3" y="180"/>
                    <a:pt x="3" y="180"/>
                    <a:pt x="3" y="180"/>
                  </a:cubicBezTo>
                  <a:cubicBezTo>
                    <a:pt x="4" y="182"/>
                    <a:pt x="4" y="182"/>
                    <a:pt x="4" y="182"/>
                  </a:cubicBezTo>
                  <a:cubicBezTo>
                    <a:pt x="4" y="182"/>
                    <a:pt x="4" y="182"/>
                    <a:pt x="4" y="182"/>
                  </a:cubicBezTo>
                  <a:cubicBezTo>
                    <a:pt x="4" y="182"/>
                    <a:pt x="5" y="183"/>
                    <a:pt x="5" y="183"/>
                  </a:cubicBezTo>
                  <a:cubicBezTo>
                    <a:pt x="4" y="184"/>
                    <a:pt x="4" y="184"/>
                    <a:pt x="4" y="184"/>
                  </a:cubicBezTo>
                  <a:cubicBezTo>
                    <a:pt x="5" y="184"/>
                    <a:pt x="5" y="184"/>
                    <a:pt x="5" y="184"/>
                  </a:cubicBezTo>
                  <a:cubicBezTo>
                    <a:pt x="5" y="184"/>
                    <a:pt x="5" y="184"/>
                    <a:pt x="5" y="184"/>
                  </a:cubicBezTo>
                  <a:cubicBezTo>
                    <a:pt x="5" y="185"/>
                    <a:pt x="6" y="186"/>
                    <a:pt x="6" y="187"/>
                  </a:cubicBezTo>
                  <a:cubicBezTo>
                    <a:pt x="7" y="189"/>
                    <a:pt x="7" y="189"/>
                    <a:pt x="8" y="189"/>
                  </a:cubicBezTo>
                  <a:cubicBezTo>
                    <a:pt x="9" y="190"/>
                    <a:pt x="9" y="190"/>
                    <a:pt x="9" y="190"/>
                  </a:cubicBezTo>
                  <a:cubicBezTo>
                    <a:pt x="10" y="190"/>
                    <a:pt x="10" y="190"/>
                    <a:pt x="10" y="190"/>
                  </a:cubicBezTo>
                  <a:cubicBezTo>
                    <a:pt x="10" y="190"/>
                    <a:pt x="10" y="190"/>
                    <a:pt x="10" y="190"/>
                  </a:cubicBezTo>
                  <a:cubicBezTo>
                    <a:pt x="10" y="190"/>
                    <a:pt x="11" y="190"/>
                    <a:pt x="11" y="190"/>
                  </a:cubicBezTo>
                  <a:cubicBezTo>
                    <a:pt x="13" y="191"/>
                    <a:pt x="14" y="194"/>
                    <a:pt x="14" y="196"/>
                  </a:cubicBezTo>
                  <a:cubicBezTo>
                    <a:pt x="14" y="198"/>
                    <a:pt x="14" y="201"/>
                    <a:pt x="14" y="203"/>
                  </a:cubicBezTo>
                  <a:cubicBezTo>
                    <a:pt x="14" y="204"/>
                    <a:pt x="14" y="205"/>
                    <a:pt x="14" y="206"/>
                  </a:cubicBezTo>
                  <a:cubicBezTo>
                    <a:pt x="15" y="211"/>
                    <a:pt x="15" y="213"/>
                    <a:pt x="18" y="216"/>
                  </a:cubicBezTo>
                  <a:cubicBezTo>
                    <a:pt x="19" y="217"/>
                    <a:pt x="20" y="218"/>
                    <a:pt x="21" y="219"/>
                  </a:cubicBezTo>
                  <a:cubicBezTo>
                    <a:pt x="21" y="219"/>
                    <a:pt x="21" y="219"/>
                    <a:pt x="21" y="219"/>
                  </a:cubicBezTo>
                  <a:cubicBezTo>
                    <a:pt x="23" y="221"/>
                    <a:pt x="25" y="223"/>
                    <a:pt x="27" y="225"/>
                  </a:cubicBezTo>
                  <a:cubicBezTo>
                    <a:pt x="30" y="228"/>
                    <a:pt x="30" y="228"/>
                    <a:pt x="30" y="228"/>
                  </a:cubicBezTo>
                  <a:cubicBezTo>
                    <a:pt x="26" y="229"/>
                    <a:pt x="26" y="229"/>
                    <a:pt x="26" y="229"/>
                  </a:cubicBezTo>
                  <a:cubicBezTo>
                    <a:pt x="25" y="230"/>
                    <a:pt x="25" y="230"/>
                    <a:pt x="25" y="230"/>
                  </a:cubicBezTo>
                  <a:cubicBezTo>
                    <a:pt x="24" y="231"/>
                    <a:pt x="24" y="232"/>
                    <a:pt x="23" y="233"/>
                  </a:cubicBezTo>
                  <a:cubicBezTo>
                    <a:pt x="24" y="233"/>
                    <a:pt x="24" y="234"/>
                    <a:pt x="24" y="235"/>
                  </a:cubicBezTo>
                  <a:cubicBezTo>
                    <a:pt x="26" y="238"/>
                    <a:pt x="25" y="241"/>
                    <a:pt x="23" y="243"/>
                  </a:cubicBezTo>
                  <a:cubicBezTo>
                    <a:pt x="22" y="244"/>
                    <a:pt x="21" y="244"/>
                    <a:pt x="20" y="244"/>
                  </a:cubicBezTo>
                  <a:cubicBezTo>
                    <a:pt x="20" y="244"/>
                    <a:pt x="20" y="244"/>
                    <a:pt x="20" y="244"/>
                  </a:cubicBezTo>
                  <a:cubicBezTo>
                    <a:pt x="20" y="248"/>
                    <a:pt x="21" y="249"/>
                    <a:pt x="22" y="250"/>
                  </a:cubicBezTo>
                  <a:cubicBezTo>
                    <a:pt x="24" y="251"/>
                    <a:pt x="25" y="252"/>
                    <a:pt x="25" y="253"/>
                  </a:cubicBezTo>
                  <a:cubicBezTo>
                    <a:pt x="27" y="255"/>
                    <a:pt x="27" y="257"/>
                    <a:pt x="27" y="259"/>
                  </a:cubicBezTo>
                  <a:cubicBezTo>
                    <a:pt x="27" y="260"/>
                    <a:pt x="27" y="260"/>
                    <a:pt x="27" y="260"/>
                  </a:cubicBezTo>
                  <a:cubicBezTo>
                    <a:pt x="26" y="260"/>
                    <a:pt x="26" y="261"/>
                    <a:pt x="26" y="261"/>
                  </a:cubicBezTo>
                  <a:cubicBezTo>
                    <a:pt x="27" y="261"/>
                    <a:pt x="27" y="261"/>
                    <a:pt x="27" y="261"/>
                  </a:cubicBezTo>
                  <a:cubicBezTo>
                    <a:pt x="27" y="261"/>
                    <a:pt x="27" y="262"/>
                    <a:pt x="28" y="263"/>
                  </a:cubicBezTo>
                  <a:cubicBezTo>
                    <a:pt x="29" y="263"/>
                    <a:pt x="29" y="263"/>
                    <a:pt x="29" y="263"/>
                  </a:cubicBezTo>
                  <a:cubicBezTo>
                    <a:pt x="30" y="264"/>
                    <a:pt x="30" y="265"/>
                    <a:pt x="30" y="265"/>
                  </a:cubicBezTo>
                  <a:cubicBezTo>
                    <a:pt x="31" y="266"/>
                    <a:pt x="32" y="267"/>
                    <a:pt x="32" y="269"/>
                  </a:cubicBezTo>
                  <a:cubicBezTo>
                    <a:pt x="33" y="269"/>
                    <a:pt x="33" y="269"/>
                    <a:pt x="33" y="269"/>
                  </a:cubicBezTo>
                  <a:cubicBezTo>
                    <a:pt x="33" y="270"/>
                    <a:pt x="33" y="271"/>
                    <a:pt x="34" y="272"/>
                  </a:cubicBezTo>
                  <a:cubicBezTo>
                    <a:pt x="34" y="272"/>
                    <a:pt x="34" y="273"/>
                    <a:pt x="34" y="273"/>
                  </a:cubicBezTo>
                  <a:cubicBezTo>
                    <a:pt x="34" y="273"/>
                    <a:pt x="34" y="273"/>
                    <a:pt x="34" y="273"/>
                  </a:cubicBezTo>
                  <a:cubicBezTo>
                    <a:pt x="34" y="274"/>
                    <a:pt x="34" y="274"/>
                    <a:pt x="35" y="274"/>
                  </a:cubicBezTo>
                  <a:cubicBezTo>
                    <a:pt x="35" y="275"/>
                    <a:pt x="35" y="276"/>
                    <a:pt x="35" y="276"/>
                  </a:cubicBezTo>
                  <a:cubicBezTo>
                    <a:pt x="35" y="277"/>
                    <a:pt x="35" y="277"/>
                    <a:pt x="35" y="277"/>
                  </a:cubicBezTo>
                  <a:cubicBezTo>
                    <a:pt x="35" y="278"/>
                    <a:pt x="35" y="279"/>
                    <a:pt x="35" y="280"/>
                  </a:cubicBezTo>
                  <a:cubicBezTo>
                    <a:pt x="35" y="281"/>
                    <a:pt x="35" y="281"/>
                    <a:pt x="35" y="281"/>
                  </a:cubicBezTo>
                  <a:cubicBezTo>
                    <a:pt x="36" y="282"/>
                    <a:pt x="36" y="283"/>
                    <a:pt x="36" y="284"/>
                  </a:cubicBezTo>
                  <a:cubicBezTo>
                    <a:pt x="36" y="285"/>
                    <a:pt x="36" y="287"/>
                    <a:pt x="37" y="288"/>
                  </a:cubicBezTo>
                  <a:cubicBezTo>
                    <a:pt x="37" y="288"/>
                    <a:pt x="37" y="288"/>
                    <a:pt x="37" y="288"/>
                  </a:cubicBezTo>
                  <a:cubicBezTo>
                    <a:pt x="37" y="289"/>
                    <a:pt x="37" y="289"/>
                    <a:pt x="37" y="289"/>
                  </a:cubicBezTo>
                  <a:cubicBezTo>
                    <a:pt x="38" y="290"/>
                    <a:pt x="40" y="292"/>
                    <a:pt x="40" y="294"/>
                  </a:cubicBezTo>
                  <a:cubicBezTo>
                    <a:pt x="40" y="295"/>
                    <a:pt x="40" y="296"/>
                    <a:pt x="40" y="296"/>
                  </a:cubicBezTo>
                  <a:cubicBezTo>
                    <a:pt x="40" y="297"/>
                    <a:pt x="40" y="297"/>
                    <a:pt x="40" y="298"/>
                  </a:cubicBezTo>
                  <a:cubicBezTo>
                    <a:pt x="40" y="298"/>
                    <a:pt x="40" y="298"/>
                    <a:pt x="40" y="298"/>
                  </a:cubicBezTo>
                  <a:cubicBezTo>
                    <a:pt x="41" y="300"/>
                    <a:pt x="41" y="301"/>
                    <a:pt x="41" y="303"/>
                  </a:cubicBezTo>
                  <a:cubicBezTo>
                    <a:pt x="41" y="304"/>
                    <a:pt x="41" y="305"/>
                    <a:pt x="41" y="306"/>
                  </a:cubicBezTo>
                  <a:cubicBezTo>
                    <a:pt x="41" y="306"/>
                    <a:pt x="41" y="306"/>
                    <a:pt x="41" y="306"/>
                  </a:cubicBezTo>
                  <a:cubicBezTo>
                    <a:pt x="52" y="306"/>
                    <a:pt x="52" y="306"/>
                    <a:pt x="52" y="306"/>
                  </a:cubicBezTo>
                  <a:cubicBezTo>
                    <a:pt x="53" y="306"/>
                    <a:pt x="53" y="306"/>
                    <a:pt x="53" y="306"/>
                  </a:cubicBezTo>
                  <a:cubicBezTo>
                    <a:pt x="53" y="306"/>
                    <a:pt x="53" y="306"/>
                    <a:pt x="53" y="306"/>
                  </a:cubicBezTo>
                  <a:cubicBezTo>
                    <a:pt x="54" y="305"/>
                    <a:pt x="56" y="303"/>
                    <a:pt x="56" y="302"/>
                  </a:cubicBezTo>
                  <a:cubicBezTo>
                    <a:pt x="57" y="301"/>
                    <a:pt x="57" y="301"/>
                    <a:pt x="58" y="300"/>
                  </a:cubicBezTo>
                  <a:cubicBezTo>
                    <a:pt x="60" y="298"/>
                    <a:pt x="62" y="296"/>
                    <a:pt x="64" y="293"/>
                  </a:cubicBezTo>
                  <a:cubicBezTo>
                    <a:pt x="66" y="292"/>
                    <a:pt x="67" y="291"/>
                    <a:pt x="70" y="290"/>
                  </a:cubicBezTo>
                  <a:cubicBezTo>
                    <a:pt x="71" y="289"/>
                    <a:pt x="72" y="289"/>
                    <a:pt x="72" y="289"/>
                  </a:cubicBezTo>
                  <a:cubicBezTo>
                    <a:pt x="72" y="289"/>
                    <a:pt x="72" y="289"/>
                    <a:pt x="72" y="289"/>
                  </a:cubicBezTo>
                  <a:cubicBezTo>
                    <a:pt x="72" y="288"/>
                    <a:pt x="72" y="288"/>
                    <a:pt x="72" y="288"/>
                  </a:cubicBezTo>
                  <a:cubicBezTo>
                    <a:pt x="73" y="287"/>
                    <a:pt x="73" y="286"/>
                    <a:pt x="73" y="285"/>
                  </a:cubicBezTo>
                  <a:cubicBezTo>
                    <a:pt x="74" y="283"/>
                    <a:pt x="74" y="283"/>
                    <a:pt x="74" y="283"/>
                  </a:cubicBezTo>
                  <a:cubicBezTo>
                    <a:pt x="74" y="283"/>
                    <a:pt x="74" y="283"/>
                    <a:pt x="74" y="283"/>
                  </a:cubicBezTo>
                  <a:cubicBezTo>
                    <a:pt x="74" y="280"/>
                    <a:pt x="74" y="280"/>
                    <a:pt x="74" y="280"/>
                  </a:cubicBezTo>
                  <a:cubicBezTo>
                    <a:pt x="77" y="281"/>
                    <a:pt x="77" y="281"/>
                    <a:pt x="77" y="281"/>
                  </a:cubicBezTo>
                  <a:cubicBezTo>
                    <a:pt x="80" y="281"/>
                    <a:pt x="83" y="284"/>
                    <a:pt x="85" y="285"/>
                  </a:cubicBezTo>
                  <a:cubicBezTo>
                    <a:pt x="87" y="287"/>
                    <a:pt x="89" y="289"/>
                    <a:pt x="91" y="289"/>
                  </a:cubicBezTo>
                  <a:cubicBezTo>
                    <a:pt x="94" y="289"/>
                    <a:pt x="94" y="289"/>
                    <a:pt x="94" y="289"/>
                  </a:cubicBezTo>
                  <a:cubicBezTo>
                    <a:pt x="95" y="289"/>
                    <a:pt x="95" y="289"/>
                    <a:pt x="96" y="289"/>
                  </a:cubicBezTo>
                  <a:cubicBezTo>
                    <a:pt x="98" y="289"/>
                    <a:pt x="100" y="289"/>
                    <a:pt x="102" y="289"/>
                  </a:cubicBezTo>
                  <a:cubicBezTo>
                    <a:pt x="103" y="289"/>
                    <a:pt x="105" y="289"/>
                    <a:pt x="106" y="289"/>
                  </a:cubicBezTo>
                  <a:cubicBezTo>
                    <a:pt x="107" y="289"/>
                    <a:pt x="107" y="289"/>
                    <a:pt x="107" y="289"/>
                  </a:cubicBezTo>
                  <a:cubicBezTo>
                    <a:pt x="108" y="290"/>
                    <a:pt x="110" y="290"/>
                    <a:pt x="112" y="290"/>
                  </a:cubicBezTo>
                  <a:cubicBezTo>
                    <a:pt x="115" y="291"/>
                    <a:pt x="116" y="292"/>
                    <a:pt x="118" y="295"/>
                  </a:cubicBezTo>
                  <a:cubicBezTo>
                    <a:pt x="119" y="296"/>
                    <a:pt x="120" y="299"/>
                    <a:pt x="121" y="301"/>
                  </a:cubicBezTo>
                  <a:cubicBezTo>
                    <a:pt x="123" y="297"/>
                    <a:pt x="124" y="293"/>
                    <a:pt x="126" y="289"/>
                  </a:cubicBezTo>
                  <a:cubicBezTo>
                    <a:pt x="127" y="288"/>
                    <a:pt x="127" y="288"/>
                    <a:pt x="127" y="288"/>
                  </a:cubicBezTo>
                  <a:cubicBezTo>
                    <a:pt x="127" y="288"/>
                    <a:pt x="127" y="288"/>
                    <a:pt x="127" y="288"/>
                  </a:cubicBezTo>
                  <a:cubicBezTo>
                    <a:pt x="129" y="287"/>
                    <a:pt x="131" y="286"/>
                    <a:pt x="133" y="286"/>
                  </a:cubicBezTo>
                  <a:cubicBezTo>
                    <a:pt x="133" y="286"/>
                    <a:pt x="133" y="286"/>
                    <a:pt x="133" y="286"/>
                  </a:cubicBezTo>
                  <a:cubicBezTo>
                    <a:pt x="134" y="286"/>
                    <a:pt x="135" y="286"/>
                    <a:pt x="136" y="286"/>
                  </a:cubicBezTo>
                  <a:cubicBezTo>
                    <a:pt x="136" y="286"/>
                    <a:pt x="137" y="286"/>
                    <a:pt x="137" y="286"/>
                  </a:cubicBezTo>
                  <a:cubicBezTo>
                    <a:pt x="150" y="286"/>
                    <a:pt x="150" y="286"/>
                    <a:pt x="150" y="286"/>
                  </a:cubicBezTo>
                  <a:cubicBezTo>
                    <a:pt x="150" y="286"/>
                    <a:pt x="151" y="286"/>
                    <a:pt x="151" y="286"/>
                  </a:cubicBezTo>
                  <a:cubicBezTo>
                    <a:pt x="151" y="286"/>
                    <a:pt x="151" y="286"/>
                    <a:pt x="151" y="286"/>
                  </a:cubicBezTo>
                  <a:cubicBezTo>
                    <a:pt x="152" y="286"/>
                    <a:pt x="153" y="286"/>
                    <a:pt x="153" y="286"/>
                  </a:cubicBezTo>
                  <a:cubicBezTo>
                    <a:pt x="154" y="286"/>
                    <a:pt x="154" y="286"/>
                    <a:pt x="154" y="286"/>
                  </a:cubicBezTo>
                  <a:cubicBezTo>
                    <a:pt x="154" y="286"/>
                    <a:pt x="154" y="286"/>
                    <a:pt x="154" y="286"/>
                  </a:cubicBezTo>
                  <a:cubicBezTo>
                    <a:pt x="154" y="286"/>
                    <a:pt x="154" y="286"/>
                    <a:pt x="154" y="286"/>
                  </a:cubicBezTo>
                  <a:cubicBezTo>
                    <a:pt x="155" y="286"/>
                    <a:pt x="155" y="286"/>
                    <a:pt x="155" y="286"/>
                  </a:cubicBezTo>
                  <a:cubicBezTo>
                    <a:pt x="156" y="286"/>
                    <a:pt x="156" y="286"/>
                    <a:pt x="156" y="286"/>
                  </a:cubicBezTo>
                  <a:cubicBezTo>
                    <a:pt x="156" y="286"/>
                    <a:pt x="157" y="286"/>
                    <a:pt x="157" y="286"/>
                  </a:cubicBezTo>
                  <a:cubicBezTo>
                    <a:pt x="158" y="287"/>
                    <a:pt x="158" y="287"/>
                    <a:pt x="158" y="288"/>
                  </a:cubicBezTo>
                  <a:cubicBezTo>
                    <a:pt x="159" y="286"/>
                    <a:pt x="159" y="286"/>
                    <a:pt x="159" y="286"/>
                  </a:cubicBezTo>
                  <a:cubicBezTo>
                    <a:pt x="159" y="285"/>
                    <a:pt x="160" y="283"/>
                    <a:pt x="160" y="282"/>
                  </a:cubicBezTo>
                  <a:cubicBezTo>
                    <a:pt x="162" y="278"/>
                    <a:pt x="162" y="278"/>
                    <a:pt x="162" y="278"/>
                  </a:cubicBezTo>
                  <a:cubicBezTo>
                    <a:pt x="162" y="276"/>
                    <a:pt x="162" y="275"/>
                    <a:pt x="163" y="274"/>
                  </a:cubicBezTo>
                  <a:cubicBezTo>
                    <a:pt x="163" y="273"/>
                    <a:pt x="163" y="273"/>
                    <a:pt x="163" y="273"/>
                  </a:cubicBezTo>
                  <a:cubicBezTo>
                    <a:pt x="164" y="270"/>
                    <a:pt x="165" y="267"/>
                    <a:pt x="166" y="264"/>
                  </a:cubicBezTo>
                  <a:cubicBezTo>
                    <a:pt x="166" y="263"/>
                    <a:pt x="166" y="262"/>
                    <a:pt x="166" y="260"/>
                  </a:cubicBezTo>
                  <a:cubicBezTo>
                    <a:pt x="166" y="260"/>
                    <a:pt x="166" y="259"/>
                    <a:pt x="166" y="258"/>
                  </a:cubicBezTo>
                  <a:cubicBezTo>
                    <a:pt x="166" y="256"/>
                    <a:pt x="166" y="256"/>
                    <a:pt x="166" y="256"/>
                  </a:cubicBezTo>
                  <a:cubicBezTo>
                    <a:pt x="166" y="255"/>
                    <a:pt x="167" y="254"/>
                    <a:pt x="167" y="253"/>
                  </a:cubicBezTo>
                  <a:cubicBezTo>
                    <a:pt x="167" y="251"/>
                    <a:pt x="168" y="250"/>
                    <a:pt x="169" y="248"/>
                  </a:cubicBezTo>
                  <a:cubicBezTo>
                    <a:pt x="170" y="247"/>
                    <a:pt x="171" y="245"/>
                    <a:pt x="172" y="244"/>
                  </a:cubicBezTo>
                  <a:cubicBezTo>
                    <a:pt x="172" y="243"/>
                    <a:pt x="172" y="243"/>
                    <a:pt x="172" y="243"/>
                  </a:cubicBezTo>
                  <a:cubicBezTo>
                    <a:pt x="173" y="242"/>
                    <a:pt x="173" y="242"/>
                    <a:pt x="173" y="242"/>
                  </a:cubicBezTo>
                  <a:cubicBezTo>
                    <a:pt x="175" y="240"/>
                    <a:pt x="175" y="238"/>
                    <a:pt x="176" y="236"/>
                  </a:cubicBezTo>
                  <a:cubicBezTo>
                    <a:pt x="177" y="234"/>
                    <a:pt x="177" y="234"/>
                    <a:pt x="177" y="234"/>
                  </a:cubicBezTo>
                  <a:cubicBezTo>
                    <a:pt x="178" y="231"/>
                    <a:pt x="180" y="230"/>
                    <a:pt x="183" y="229"/>
                  </a:cubicBezTo>
                  <a:cubicBezTo>
                    <a:pt x="192" y="227"/>
                    <a:pt x="192" y="227"/>
                    <a:pt x="192" y="227"/>
                  </a:cubicBezTo>
                  <a:cubicBezTo>
                    <a:pt x="196" y="226"/>
                    <a:pt x="200" y="226"/>
                    <a:pt x="204" y="225"/>
                  </a:cubicBezTo>
                  <a:cubicBezTo>
                    <a:pt x="207" y="224"/>
                    <a:pt x="210" y="224"/>
                    <a:pt x="212" y="223"/>
                  </a:cubicBezTo>
                  <a:cubicBezTo>
                    <a:pt x="215" y="222"/>
                    <a:pt x="215" y="222"/>
                    <a:pt x="215" y="222"/>
                  </a:cubicBezTo>
                  <a:cubicBezTo>
                    <a:pt x="219" y="221"/>
                    <a:pt x="223" y="221"/>
                    <a:pt x="226" y="221"/>
                  </a:cubicBezTo>
                  <a:cubicBezTo>
                    <a:pt x="228" y="221"/>
                    <a:pt x="228" y="221"/>
                    <a:pt x="228" y="221"/>
                  </a:cubicBezTo>
                  <a:cubicBezTo>
                    <a:pt x="230" y="221"/>
                    <a:pt x="232" y="220"/>
                    <a:pt x="234" y="220"/>
                  </a:cubicBezTo>
                  <a:cubicBezTo>
                    <a:pt x="234" y="220"/>
                    <a:pt x="234" y="220"/>
                    <a:pt x="235" y="220"/>
                  </a:cubicBezTo>
                  <a:cubicBezTo>
                    <a:pt x="235" y="220"/>
                    <a:pt x="235" y="220"/>
                    <a:pt x="235" y="220"/>
                  </a:cubicBezTo>
                  <a:cubicBezTo>
                    <a:pt x="236" y="220"/>
                    <a:pt x="237" y="220"/>
                    <a:pt x="238" y="220"/>
                  </a:cubicBezTo>
                  <a:cubicBezTo>
                    <a:pt x="239" y="220"/>
                    <a:pt x="241" y="220"/>
                    <a:pt x="242" y="220"/>
                  </a:cubicBezTo>
                  <a:cubicBezTo>
                    <a:pt x="243" y="220"/>
                    <a:pt x="243" y="220"/>
                    <a:pt x="243" y="220"/>
                  </a:cubicBezTo>
                  <a:cubicBezTo>
                    <a:pt x="243" y="220"/>
                    <a:pt x="244" y="221"/>
                    <a:pt x="244" y="221"/>
                  </a:cubicBezTo>
                  <a:cubicBezTo>
                    <a:pt x="263" y="232"/>
                    <a:pt x="263" y="232"/>
                    <a:pt x="263" y="232"/>
                  </a:cubicBezTo>
                  <a:cubicBezTo>
                    <a:pt x="263" y="232"/>
                    <a:pt x="263" y="232"/>
                    <a:pt x="263" y="232"/>
                  </a:cubicBezTo>
                  <a:cubicBezTo>
                    <a:pt x="263" y="230"/>
                    <a:pt x="264" y="228"/>
                    <a:pt x="265" y="226"/>
                  </a:cubicBezTo>
                  <a:cubicBezTo>
                    <a:pt x="266" y="225"/>
                    <a:pt x="266" y="225"/>
                    <a:pt x="266" y="225"/>
                  </a:cubicBezTo>
                  <a:cubicBezTo>
                    <a:pt x="266" y="224"/>
                    <a:pt x="267" y="223"/>
                    <a:pt x="267" y="222"/>
                  </a:cubicBezTo>
                  <a:cubicBezTo>
                    <a:pt x="269" y="218"/>
                    <a:pt x="269" y="218"/>
                    <a:pt x="269" y="218"/>
                  </a:cubicBezTo>
                  <a:cubicBezTo>
                    <a:pt x="269" y="217"/>
                    <a:pt x="270" y="215"/>
                    <a:pt x="271" y="214"/>
                  </a:cubicBezTo>
                  <a:cubicBezTo>
                    <a:pt x="271" y="213"/>
                    <a:pt x="271" y="212"/>
                    <a:pt x="271" y="211"/>
                  </a:cubicBezTo>
                  <a:cubicBezTo>
                    <a:pt x="272" y="211"/>
                    <a:pt x="272" y="210"/>
                    <a:pt x="272" y="210"/>
                  </a:cubicBezTo>
                  <a:cubicBezTo>
                    <a:pt x="272" y="209"/>
                    <a:pt x="272" y="208"/>
                    <a:pt x="273" y="207"/>
                  </a:cubicBezTo>
                  <a:cubicBezTo>
                    <a:pt x="273" y="206"/>
                    <a:pt x="273" y="206"/>
                    <a:pt x="273" y="206"/>
                  </a:cubicBezTo>
                  <a:cubicBezTo>
                    <a:pt x="273" y="204"/>
                    <a:pt x="273" y="201"/>
                    <a:pt x="274" y="199"/>
                  </a:cubicBezTo>
                  <a:cubicBezTo>
                    <a:pt x="274" y="198"/>
                    <a:pt x="275" y="197"/>
                    <a:pt x="275" y="197"/>
                  </a:cubicBezTo>
                  <a:cubicBezTo>
                    <a:pt x="275" y="196"/>
                    <a:pt x="275" y="196"/>
                    <a:pt x="275" y="196"/>
                  </a:cubicBezTo>
                  <a:cubicBezTo>
                    <a:pt x="274" y="195"/>
                    <a:pt x="274" y="195"/>
                    <a:pt x="274" y="195"/>
                  </a:cubicBezTo>
                  <a:cubicBezTo>
                    <a:pt x="273" y="194"/>
                    <a:pt x="273" y="194"/>
                    <a:pt x="273" y="194"/>
                  </a:cubicBezTo>
                  <a:cubicBezTo>
                    <a:pt x="272" y="192"/>
                    <a:pt x="272" y="190"/>
                    <a:pt x="272" y="189"/>
                  </a:cubicBezTo>
                  <a:cubicBezTo>
                    <a:pt x="272" y="189"/>
                    <a:pt x="272" y="189"/>
                    <a:pt x="272" y="189"/>
                  </a:cubicBezTo>
                  <a:cubicBezTo>
                    <a:pt x="271" y="188"/>
                    <a:pt x="271" y="187"/>
                    <a:pt x="271" y="187"/>
                  </a:cubicBezTo>
                  <a:cubicBezTo>
                    <a:pt x="270" y="184"/>
                    <a:pt x="270" y="183"/>
                    <a:pt x="268" y="183"/>
                  </a:cubicBezTo>
                  <a:cubicBezTo>
                    <a:pt x="266" y="182"/>
                    <a:pt x="264" y="182"/>
                    <a:pt x="262" y="180"/>
                  </a:cubicBezTo>
                  <a:cubicBezTo>
                    <a:pt x="256" y="177"/>
                    <a:pt x="255" y="173"/>
                    <a:pt x="254" y="167"/>
                  </a:cubicBezTo>
                  <a:cubicBezTo>
                    <a:pt x="253" y="164"/>
                    <a:pt x="253" y="160"/>
                    <a:pt x="255" y="157"/>
                  </a:cubicBezTo>
                  <a:cubicBezTo>
                    <a:pt x="255" y="156"/>
                    <a:pt x="256" y="156"/>
                    <a:pt x="256" y="156"/>
                  </a:cubicBezTo>
                  <a:cubicBezTo>
                    <a:pt x="256" y="155"/>
                    <a:pt x="257" y="154"/>
                    <a:pt x="257" y="154"/>
                  </a:cubicBezTo>
                  <a:cubicBezTo>
                    <a:pt x="244" y="154"/>
                    <a:pt x="244" y="154"/>
                    <a:pt x="244" y="154"/>
                  </a:cubicBezTo>
                  <a:cubicBezTo>
                    <a:pt x="241" y="154"/>
                    <a:pt x="239" y="154"/>
                    <a:pt x="236" y="154"/>
                  </a:cubicBezTo>
                  <a:cubicBezTo>
                    <a:pt x="234" y="154"/>
                    <a:pt x="232" y="154"/>
                    <a:pt x="229" y="154"/>
                  </a:cubicBezTo>
                  <a:cubicBezTo>
                    <a:pt x="222" y="154"/>
                    <a:pt x="222" y="154"/>
                    <a:pt x="222" y="154"/>
                  </a:cubicBezTo>
                  <a:cubicBezTo>
                    <a:pt x="221" y="154"/>
                    <a:pt x="220" y="154"/>
                    <a:pt x="220" y="154"/>
                  </a:cubicBezTo>
                  <a:cubicBezTo>
                    <a:pt x="215" y="153"/>
                    <a:pt x="214" y="151"/>
                    <a:pt x="214" y="147"/>
                  </a:cubicBezTo>
                  <a:cubicBezTo>
                    <a:pt x="214" y="147"/>
                    <a:pt x="214" y="146"/>
                    <a:pt x="214" y="146"/>
                  </a:cubicBezTo>
                  <a:cubicBezTo>
                    <a:pt x="214" y="144"/>
                    <a:pt x="214" y="143"/>
                    <a:pt x="214" y="142"/>
                  </a:cubicBezTo>
                  <a:cubicBezTo>
                    <a:pt x="214" y="138"/>
                    <a:pt x="213" y="134"/>
                    <a:pt x="211" y="132"/>
                  </a:cubicBezTo>
                  <a:cubicBezTo>
                    <a:pt x="210" y="130"/>
                    <a:pt x="208" y="127"/>
                    <a:pt x="206" y="125"/>
                  </a:cubicBezTo>
                  <a:cubicBezTo>
                    <a:pt x="203" y="122"/>
                    <a:pt x="203" y="122"/>
                    <a:pt x="203" y="122"/>
                  </a:cubicBezTo>
                  <a:cubicBezTo>
                    <a:pt x="207" y="121"/>
                    <a:pt x="207" y="121"/>
                    <a:pt x="207" y="121"/>
                  </a:cubicBezTo>
                  <a:cubicBezTo>
                    <a:pt x="208" y="120"/>
                    <a:pt x="209" y="120"/>
                    <a:pt x="210" y="120"/>
                  </a:cubicBezTo>
                  <a:cubicBezTo>
                    <a:pt x="211" y="120"/>
                    <a:pt x="211" y="120"/>
                    <a:pt x="211" y="120"/>
                  </a:cubicBezTo>
                  <a:cubicBezTo>
                    <a:pt x="207" y="119"/>
                    <a:pt x="207" y="119"/>
                    <a:pt x="207" y="119"/>
                  </a:cubicBezTo>
                  <a:cubicBezTo>
                    <a:pt x="212" y="119"/>
                    <a:pt x="212" y="119"/>
                    <a:pt x="212" y="119"/>
                  </a:cubicBezTo>
                  <a:cubicBezTo>
                    <a:pt x="212" y="118"/>
                    <a:pt x="212" y="118"/>
                    <a:pt x="212" y="118"/>
                  </a:cubicBezTo>
                  <a:cubicBezTo>
                    <a:pt x="212" y="116"/>
                    <a:pt x="211" y="113"/>
                    <a:pt x="210" y="110"/>
                  </a:cubicBezTo>
                  <a:cubicBezTo>
                    <a:pt x="210" y="110"/>
                    <a:pt x="210" y="110"/>
                    <a:pt x="210" y="110"/>
                  </a:cubicBezTo>
                  <a:cubicBezTo>
                    <a:pt x="209" y="107"/>
                    <a:pt x="208" y="103"/>
                    <a:pt x="208" y="100"/>
                  </a:cubicBezTo>
                  <a:cubicBezTo>
                    <a:pt x="208" y="100"/>
                    <a:pt x="208" y="100"/>
                    <a:pt x="208" y="100"/>
                  </a:cubicBezTo>
                  <a:cubicBezTo>
                    <a:pt x="208" y="99"/>
                    <a:pt x="208" y="99"/>
                    <a:pt x="208" y="99"/>
                  </a:cubicBezTo>
                  <a:cubicBezTo>
                    <a:pt x="208" y="98"/>
                    <a:pt x="208" y="98"/>
                    <a:pt x="208" y="98"/>
                  </a:cubicBezTo>
                  <a:cubicBezTo>
                    <a:pt x="208" y="97"/>
                    <a:pt x="208" y="97"/>
                    <a:pt x="207" y="96"/>
                  </a:cubicBezTo>
                  <a:cubicBezTo>
                    <a:pt x="207" y="96"/>
                    <a:pt x="207" y="96"/>
                    <a:pt x="207" y="96"/>
                  </a:cubicBezTo>
                  <a:cubicBezTo>
                    <a:pt x="206" y="95"/>
                    <a:pt x="205" y="94"/>
                    <a:pt x="204" y="93"/>
                  </a:cubicBezTo>
                  <a:cubicBezTo>
                    <a:pt x="202" y="92"/>
                    <a:pt x="201" y="91"/>
                    <a:pt x="199" y="90"/>
                  </a:cubicBezTo>
                  <a:cubicBezTo>
                    <a:pt x="199" y="90"/>
                    <a:pt x="198" y="89"/>
                    <a:pt x="197" y="89"/>
                  </a:cubicBezTo>
                  <a:cubicBezTo>
                    <a:pt x="196" y="88"/>
                    <a:pt x="196" y="88"/>
                    <a:pt x="196" y="88"/>
                  </a:cubicBezTo>
                  <a:cubicBezTo>
                    <a:pt x="196" y="88"/>
                    <a:pt x="196" y="88"/>
                    <a:pt x="196" y="88"/>
                  </a:cubicBezTo>
                  <a:cubicBezTo>
                    <a:pt x="195" y="88"/>
                    <a:pt x="194" y="88"/>
                    <a:pt x="193" y="88"/>
                  </a:cubicBezTo>
                  <a:cubicBezTo>
                    <a:pt x="191" y="88"/>
                    <a:pt x="190" y="88"/>
                    <a:pt x="187" y="88"/>
                  </a:cubicBezTo>
                  <a:cubicBezTo>
                    <a:pt x="187" y="88"/>
                    <a:pt x="187" y="88"/>
                    <a:pt x="187" y="88"/>
                  </a:cubicBezTo>
                  <a:cubicBezTo>
                    <a:pt x="186" y="88"/>
                    <a:pt x="186" y="88"/>
                    <a:pt x="185" y="88"/>
                  </a:cubicBezTo>
                  <a:cubicBezTo>
                    <a:pt x="185" y="88"/>
                    <a:pt x="184" y="88"/>
                    <a:pt x="184" y="88"/>
                  </a:cubicBezTo>
                  <a:cubicBezTo>
                    <a:pt x="183" y="89"/>
                    <a:pt x="183" y="89"/>
                    <a:pt x="183" y="89"/>
                  </a:cubicBezTo>
                  <a:cubicBezTo>
                    <a:pt x="182" y="89"/>
                    <a:pt x="181" y="89"/>
                    <a:pt x="180" y="89"/>
                  </a:cubicBezTo>
                  <a:cubicBezTo>
                    <a:pt x="178" y="89"/>
                    <a:pt x="177" y="89"/>
                    <a:pt x="176" y="88"/>
                  </a:cubicBezTo>
                  <a:cubicBezTo>
                    <a:pt x="176" y="88"/>
                    <a:pt x="175" y="87"/>
                    <a:pt x="175" y="86"/>
                  </a:cubicBezTo>
                  <a:cubicBezTo>
                    <a:pt x="174" y="86"/>
                    <a:pt x="174" y="86"/>
                    <a:pt x="174" y="86"/>
                  </a:cubicBezTo>
                  <a:cubicBezTo>
                    <a:pt x="174" y="85"/>
                    <a:pt x="174" y="85"/>
                    <a:pt x="173" y="85"/>
                  </a:cubicBezTo>
                  <a:cubicBezTo>
                    <a:pt x="172" y="84"/>
                    <a:pt x="171" y="82"/>
                    <a:pt x="170" y="81"/>
                  </a:cubicBezTo>
                  <a:cubicBezTo>
                    <a:pt x="169" y="80"/>
                    <a:pt x="169" y="79"/>
                    <a:pt x="168" y="79"/>
                  </a:cubicBezTo>
                  <a:cubicBezTo>
                    <a:pt x="167" y="78"/>
                    <a:pt x="165" y="78"/>
                    <a:pt x="163" y="78"/>
                  </a:cubicBezTo>
                  <a:cubicBezTo>
                    <a:pt x="161" y="78"/>
                    <a:pt x="158" y="78"/>
                    <a:pt x="156" y="77"/>
                  </a:cubicBezTo>
                  <a:cubicBezTo>
                    <a:pt x="155" y="76"/>
                    <a:pt x="155" y="76"/>
                    <a:pt x="154" y="76"/>
                  </a:cubicBezTo>
                  <a:cubicBezTo>
                    <a:pt x="153" y="75"/>
                    <a:pt x="152" y="74"/>
                    <a:pt x="152" y="74"/>
                  </a:cubicBezTo>
                  <a:cubicBezTo>
                    <a:pt x="151" y="73"/>
                    <a:pt x="151" y="73"/>
                    <a:pt x="151" y="73"/>
                  </a:cubicBezTo>
                  <a:cubicBezTo>
                    <a:pt x="151" y="73"/>
                    <a:pt x="151" y="73"/>
                    <a:pt x="150" y="72"/>
                  </a:cubicBezTo>
                  <a:cubicBezTo>
                    <a:pt x="150" y="72"/>
                    <a:pt x="150" y="72"/>
                    <a:pt x="150" y="72"/>
                  </a:cubicBezTo>
                  <a:cubicBezTo>
                    <a:pt x="149" y="71"/>
                    <a:pt x="149" y="71"/>
                    <a:pt x="149" y="71"/>
                  </a:cubicBezTo>
                  <a:cubicBezTo>
                    <a:pt x="149" y="71"/>
                    <a:pt x="149" y="71"/>
                    <a:pt x="149" y="71"/>
                  </a:cubicBezTo>
                  <a:cubicBezTo>
                    <a:pt x="148" y="70"/>
                    <a:pt x="148" y="69"/>
                    <a:pt x="147" y="69"/>
                  </a:cubicBezTo>
                  <a:cubicBezTo>
                    <a:pt x="147" y="68"/>
                    <a:pt x="147" y="68"/>
                    <a:pt x="147" y="68"/>
                  </a:cubicBezTo>
                  <a:cubicBezTo>
                    <a:pt x="147" y="68"/>
                    <a:pt x="146" y="67"/>
                    <a:pt x="145" y="67"/>
                  </a:cubicBezTo>
                  <a:cubicBezTo>
                    <a:pt x="145" y="67"/>
                    <a:pt x="145" y="67"/>
                    <a:pt x="145" y="67"/>
                  </a:cubicBezTo>
                  <a:cubicBezTo>
                    <a:pt x="144" y="67"/>
                    <a:pt x="144" y="67"/>
                    <a:pt x="143" y="67"/>
                  </a:cubicBezTo>
                  <a:cubicBezTo>
                    <a:pt x="142" y="66"/>
                    <a:pt x="141" y="66"/>
                    <a:pt x="139" y="65"/>
                  </a:cubicBezTo>
                  <a:cubicBezTo>
                    <a:pt x="138" y="65"/>
                    <a:pt x="138" y="65"/>
                    <a:pt x="138" y="65"/>
                  </a:cubicBezTo>
                  <a:cubicBezTo>
                    <a:pt x="136" y="64"/>
                    <a:pt x="135" y="64"/>
                    <a:pt x="133" y="64"/>
                  </a:cubicBezTo>
                  <a:cubicBezTo>
                    <a:pt x="133" y="64"/>
                    <a:pt x="133" y="64"/>
                    <a:pt x="133" y="64"/>
                  </a:cubicBezTo>
                  <a:cubicBezTo>
                    <a:pt x="132" y="64"/>
                    <a:pt x="132" y="65"/>
                    <a:pt x="131" y="65"/>
                  </a:cubicBezTo>
                  <a:cubicBezTo>
                    <a:pt x="130" y="65"/>
                    <a:pt x="129" y="65"/>
                    <a:pt x="128" y="65"/>
                  </a:cubicBezTo>
                  <a:cubicBezTo>
                    <a:pt x="128" y="65"/>
                    <a:pt x="128" y="65"/>
                    <a:pt x="128" y="65"/>
                  </a:cubicBezTo>
                  <a:cubicBezTo>
                    <a:pt x="127" y="65"/>
                    <a:pt x="127" y="65"/>
                    <a:pt x="126" y="65"/>
                  </a:cubicBezTo>
                  <a:cubicBezTo>
                    <a:pt x="126" y="65"/>
                    <a:pt x="126" y="65"/>
                    <a:pt x="126" y="65"/>
                  </a:cubicBezTo>
                  <a:cubicBezTo>
                    <a:pt x="125" y="65"/>
                    <a:pt x="125" y="65"/>
                    <a:pt x="125" y="65"/>
                  </a:cubicBezTo>
                  <a:cubicBezTo>
                    <a:pt x="125" y="65"/>
                    <a:pt x="125" y="65"/>
                    <a:pt x="124" y="65"/>
                  </a:cubicBezTo>
                  <a:cubicBezTo>
                    <a:pt x="124" y="65"/>
                    <a:pt x="124" y="65"/>
                    <a:pt x="123" y="65"/>
                  </a:cubicBezTo>
                  <a:cubicBezTo>
                    <a:pt x="122" y="65"/>
                    <a:pt x="121" y="65"/>
                    <a:pt x="121" y="64"/>
                  </a:cubicBezTo>
                  <a:cubicBezTo>
                    <a:pt x="118" y="63"/>
                    <a:pt x="116" y="61"/>
                    <a:pt x="114" y="59"/>
                  </a:cubicBezTo>
                  <a:cubicBezTo>
                    <a:pt x="113" y="59"/>
                    <a:pt x="113" y="58"/>
                    <a:pt x="112" y="57"/>
                  </a:cubicBezTo>
                  <a:cubicBezTo>
                    <a:pt x="103" y="50"/>
                    <a:pt x="103" y="50"/>
                    <a:pt x="103" y="50"/>
                  </a:cubicBezTo>
                  <a:cubicBezTo>
                    <a:pt x="101" y="48"/>
                    <a:pt x="99" y="45"/>
                    <a:pt x="98" y="43"/>
                  </a:cubicBezTo>
                  <a:cubicBezTo>
                    <a:pt x="97" y="41"/>
                    <a:pt x="97" y="41"/>
                    <a:pt x="97" y="41"/>
                  </a:cubicBezTo>
                  <a:cubicBezTo>
                    <a:pt x="96" y="40"/>
                    <a:pt x="95" y="38"/>
                    <a:pt x="94" y="36"/>
                  </a:cubicBezTo>
                  <a:cubicBezTo>
                    <a:pt x="93" y="35"/>
                    <a:pt x="93" y="34"/>
                    <a:pt x="93" y="33"/>
                  </a:cubicBezTo>
                  <a:cubicBezTo>
                    <a:pt x="93" y="33"/>
                    <a:pt x="93" y="32"/>
                    <a:pt x="93" y="32"/>
                  </a:cubicBezTo>
                  <a:cubicBezTo>
                    <a:pt x="93" y="31"/>
                    <a:pt x="93" y="31"/>
                    <a:pt x="93" y="30"/>
                  </a:cubicBezTo>
                  <a:cubicBezTo>
                    <a:pt x="93" y="29"/>
                    <a:pt x="93" y="28"/>
                    <a:pt x="94" y="28"/>
                  </a:cubicBezTo>
                  <a:cubicBezTo>
                    <a:pt x="94" y="27"/>
                    <a:pt x="94" y="26"/>
                    <a:pt x="93" y="26"/>
                  </a:cubicBezTo>
                  <a:cubicBezTo>
                    <a:pt x="93" y="25"/>
                    <a:pt x="93" y="25"/>
                    <a:pt x="93" y="25"/>
                  </a:cubicBezTo>
                  <a:cubicBezTo>
                    <a:pt x="93" y="24"/>
                    <a:pt x="93" y="24"/>
                    <a:pt x="93" y="23"/>
                  </a:cubicBezTo>
                  <a:cubicBezTo>
                    <a:pt x="93" y="23"/>
                    <a:pt x="93" y="22"/>
                    <a:pt x="93" y="22"/>
                  </a:cubicBezTo>
                  <a:cubicBezTo>
                    <a:pt x="93" y="21"/>
                    <a:pt x="93" y="21"/>
                    <a:pt x="93" y="21"/>
                  </a:cubicBezTo>
                  <a:cubicBezTo>
                    <a:pt x="93" y="21"/>
                    <a:pt x="93" y="21"/>
                    <a:pt x="93" y="21"/>
                  </a:cubicBezTo>
                  <a:cubicBezTo>
                    <a:pt x="93" y="20"/>
                    <a:pt x="93" y="20"/>
                    <a:pt x="93" y="20"/>
                  </a:cubicBezTo>
                  <a:cubicBezTo>
                    <a:pt x="92" y="18"/>
                    <a:pt x="92" y="15"/>
                    <a:pt x="93" y="12"/>
                  </a:cubicBezTo>
                  <a:cubicBezTo>
                    <a:pt x="93" y="11"/>
                    <a:pt x="93" y="11"/>
                    <a:pt x="93" y="10"/>
                  </a:cubicBezTo>
                  <a:cubicBezTo>
                    <a:pt x="93" y="8"/>
                    <a:pt x="94" y="7"/>
                    <a:pt x="94" y="5"/>
                  </a:cubicBezTo>
                  <a:cubicBezTo>
                    <a:pt x="94" y="3"/>
                    <a:pt x="94" y="3"/>
                    <a:pt x="94" y="3"/>
                  </a:cubicBezTo>
                  <a:cubicBezTo>
                    <a:pt x="94" y="2"/>
                    <a:pt x="95" y="1"/>
                    <a:pt x="9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244"/>
            <p:cNvSpPr/>
            <p:nvPr/>
          </p:nvSpPr>
          <p:spPr bwMode="auto">
            <a:xfrm>
              <a:off x="8348832" y="2306243"/>
              <a:ext cx="29658" cy="21184"/>
            </a:xfrm>
            <a:custGeom>
              <a:gdLst>
                <a:gd name="T0" fmla="*/ 5 w 9"/>
                <a:gd name="T1" fmla="*/ 0 h 6"/>
                <a:gd name="T2" fmla="*/ 4 w 9"/>
                <a:gd name="T3" fmla="*/ 1 h 6"/>
                <a:gd name="T4" fmla="*/ 3 w 9"/>
                <a:gd name="T5" fmla="*/ 1 h 6"/>
                <a:gd name="T6" fmla="*/ 3 w 9"/>
                <a:gd name="T7" fmla="*/ 1 h 6"/>
                <a:gd name="T8" fmla="*/ 3 w 9"/>
                <a:gd name="T9" fmla="*/ 1 h 6"/>
                <a:gd name="T10" fmla="*/ 2 w 9"/>
                <a:gd name="T11" fmla="*/ 1 h 6"/>
                <a:gd name="T12" fmla="*/ 0 w 9"/>
                <a:gd name="T13" fmla="*/ 1 h 6"/>
                <a:gd name="T14" fmla="*/ 0 w 9"/>
                <a:gd name="T15" fmla="*/ 1 h 6"/>
                <a:gd name="T16" fmla="*/ 0 w 9"/>
                <a:gd name="T17" fmla="*/ 2 h 6"/>
                <a:gd name="T18" fmla="*/ 1 w 9"/>
                <a:gd name="T19" fmla="*/ 2 h 6"/>
                <a:gd name="T20" fmla="*/ 5 w 9"/>
                <a:gd name="T21" fmla="*/ 3 h 6"/>
                <a:gd name="T22" fmla="*/ 8 w 9"/>
                <a:gd name="T23" fmla="*/ 6 h 6"/>
                <a:gd name="T24" fmla="*/ 9 w 9"/>
                <a:gd name="T25" fmla="*/ 6 h 6"/>
                <a:gd name="T26" fmla="*/ 6 w 9"/>
                <a:gd name="T27" fmla="*/ 2 h 6"/>
                <a:gd name="T28" fmla="*/ 5 w 9"/>
                <a:gd name="T2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6">
                  <a:moveTo>
                    <a:pt x="5" y="0"/>
                  </a:moveTo>
                  <a:cubicBezTo>
                    <a:pt x="4" y="1"/>
                    <a:pt x="4" y="1"/>
                    <a:pt x="4" y="1"/>
                  </a:cubicBezTo>
                  <a:cubicBezTo>
                    <a:pt x="3" y="1"/>
                    <a:pt x="3" y="1"/>
                    <a:pt x="3" y="1"/>
                  </a:cubicBezTo>
                  <a:cubicBezTo>
                    <a:pt x="3" y="1"/>
                    <a:pt x="3" y="1"/>
                    <a:pt x="3" y="1"/>
                  </a:cubicBezTo>
                  <a:cubicBezTo>
                    <a:pt x="3" y="1"/>
                    <a:pt x="3" y="1"/>
                    <a:pt x="3" y="1"/>
                  </a:cubicBezTo>
                  <a:cubicBezTo>
                    <a:pt x="2" y="1"/>
                    <a:pt x="2" y="1"/>
                    <a:pt x="2" y="1"/>
                  </a:cubicBezTo>
                  <a:cubicBezTo>
                    <a:pt x="1" y="1"/>
                    <a:pt x="1" y="1"/>
                    <a:pt x="0" y="1"/>
                  </a:cubicBezTo>
                  <a:cubicBezTo>
                    <a:pt x="0" y="1"/>
                    <a:pt x="0" y="1"/>
                    <a:pt x="0" y="1"/>
                  </a:cubicBezTo>
                  <a:cubicBezTo>
                    <a:pt x="0" y="2"/>
                    <a:pt x="0" y="2"/>
                    <a:pt x="0" y="2"/>
                  </a:cubicBezTo>
                  <a:cubicBezTo>
                    <a:pt x="0" y="2"/>
                    <a:pt x="1" y="2"/>
                    <a:pt x="1" y="2"/>
                  </a:cubicBezTo>
                  <a:cubicBezTo>
                    <a:pt x="3" y="2"/>
                    <a:pt x="5" y="2"/>
                    <a:pt x="5" y="3"/>
                  </a:cubicBezTo>
                  <a:cubicBezTo>
                    <a:pt x="6" y="4"/>
                    <a:pt x="7" y="4"/>
                    <a:pt x="8" y="6"/>
                  </a:cubicBezTo>
                  <a:cubicBezTo>
                    <a:pt x="9" y="6"/>
                    <a:pt x="9" y="6"/>
                    <a:pt x="9" y="6"/>
                  </a:cubicBezTo>
                  <a:cubicBezTo>
                    <a:pt x="6" y="2"/>
                    <a:pt x="6" y="2"/>
                    <a:pt x="6" y="2"/>
                  </a:cubicBezTo>
                  <a:cubicBezTo>
                    <a:pt x="5"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245"/>
            <p:cNvSpPr/>
            <p:nvPr/>
          </p:nvSpPr>
          <p:spPr bwMode="auto">
            <a:xfrm>
              <a:off x="7514181" y="2022376"/>
              <a:ext cx="971642" cy="1413686"/>
            </a:xfrm>
            <a:custGeom>
              <a:gdLst>
                <a:gd name="T0" fmla="*/ 139 w 291"/>
                <a:gd name="T1" fmla="*/ 2 h 423"/>
                <a:gd name="T2" fmla="*/ 144 w 291"/>
                <a:gd name="T3" fmla="*/ 17 h 423"/>
                <a:gd name="T4" fmla="*/ 135 w 291"/>
                <a:gd name="T5" fmla="*/ 33 h 423"/>
                <a:gd name="T6" fmla="*/ 96 w 291"/>
                <a:gd name="T7" fmla="*/ 61 h 423"/>
                <a:gd name="T8" fmla="*/ 77 w 291"/>
                <a:gd name="T9" fmla="*/ 73 h 423"/>
                <a:gd name="T10" fmla="*/ 63 w 291"/>
                <a:gd name="T11" fmla="*/ 102 h 423"/>
                <a:gd name="T12" fmla="*/ 54 w 291"/>
                <a:gd name="T13" fmla="*/ 112 h 423"/>
                <a:gd name="T14" fmla="*/ 39 w 291"/>
                <a:gd name="T15" fmla="*/ 103 h 423"/>
                <a:gd name="T16" fmla="*/ 31 w 291"/>
                <a:gd name="T17" fmla="*/ 98 h 423"/>
                <a:gd name="T18" fmla="*/ 21 w 291"/>
                <a:gd name="T19" fmla="*/ 100 h 423"/>
                <a:gd name="T20" fmla="*/ 18 w 291"/>
                <a:gd name="T21" fmla="*/ 94 h 423"/>
                <a:gd name="T22" fmla="*/ 23 w 291"/>
                <a:gd name="T23" fmla="*/ 83 h 423"/>
                <a:gd name="T24" fmla="*/ 1 w 291"/>
                <a:gd name="T25" fmla="*/ 104 h 423"/>
                <a:gd name="T26" fmla="*/ 48 w 291"/>
                <a:gd name="T27" fmla="*/ 180 h 423"/>
                <a:gd name="T28" fmla="*/ 85 w 291"/>
                <a:gd name="T29" fmla="*/ 256 h 423"/>
                <a:gd name="T30" fmla="*/ 105 w 291"/>
                <a:gd name="T31" fmla="*/ 286 h 423"/>
                <a:gd name="T32" fmla="*/ 117 w 291"/>
                <a:gd name="T33" fmla="*/ 325 h 423"/>
                <a:gd name="T34" fmla="*/ 154 w 291"/>
                <a:gd name="T35" fmla="*/ 360 h 423"/>
                <a:gd name="T36" fmla="*/ 251 w 291"/>
                <a:gd name="T37" fmla="*/ 423 h 423"/>
                <a:gd name="T38" fmla="*/ 269 w 291"/>
                <a:gd name="T39" fmla="*/ 403 h 423"/>
                <a:gd name="T40" fmla="*/ 268 w 291"/>
                <a:gd name="T41" fmla="*/ 399 h 423"/>
                <a:gd name="T42" fmla="*/ 282 w 291"/>
                <a:gd name="T43" fmla="*/ 381 h 423"/>
                <a:gd name="T44" fmla="*/ 275 w 291"/>
                <a:gd name="T45" fmla="*/ 363 h 423"/>
                <a:gd name="T46" fmla="*/ 281 w 291"/>
                <a:gd name="T47" fmla="*/ 331 h 423"/>
                <a:gd name="T48" fmla="*/ 285 w 291"/>
                <a:gd name="T49" fmla="*/ 322 h 423"/>
                <a:gd name="T50" fmla="*/ 282 w 291"/>
                <a:gd name="T51" fmla="*/ 310 h 423"/>
                <a:gd name="T52" fmla="*/ 286 w 291"/>
                <a:gd name="T53" fmla="*/ 294 h 423"/>
                <a:gd name="T54" fmla="*/ 271 w 291"/>
                <a:gd name="T55" fmla="*/ 252 h 423"/>
                <a:gd name="T56" fmla="*/ 267 w 291"/>
                <a:gd name="T57" fmla="*/ 252 h 423"/>
                <a:gd name="T58" fmla="*/ 256 w 291"/>
                <a:gd name="T59" fmla="*/ 255 h 423"/>
                <a:gd name="T60" fmla="*/ 245 w 291"/>
                <a:gd name="T61" fmla="*/ 243 h 423"/>
                <a:gd name="T62" fmla="*/ 241 w 291"/>
                <a:gd name="T63" fmla="*/ 225 h 423"/>
                <a:gd name="T64" fmla="*/ 226 w 291"/>
                <a:gd name="T65" fmla="*/ 230 h 423"/>
                <a:gd name="T66" fmla="*/ 209 w 291"/>
                <a:gd name="T67" fmla="*/ 224 h 423"/>
                <a:gd name="T68" fmla="*/ 182 w 291"/>
                <a:gd name="T69" fmla="*/ 215 h 423"/>
                <a:gd name="T70" fmla="*/ 178 w 291"/>
                <a:gd name="T71" fmla="*/ 188 h 423"/>
                <a:gd name="T72" fmla="*/ 168 w 291"/>
                <a:gd name="T73" fmla="*/ 167 h 423"/>
                <a:gd name="T74" fmla="*/ 183 w 291"/>
                <a:gd name="T75" fmla="*/ 145 h 423"/>
                <a:gd name="T76" fmla="*/ 187 w 291"/>
                <a:gd name="T77" fmla="*/ 137 h 423"/>
                <a:gd name="T78" fmla="*/ 191 w 291"/>
                <a:gd name="T79" fmla="*/ 126 h 423"/>
                <a:gd name="T80" fmla="*/ 196 w 291"/>
                <a:gd name="T81" fmla="*/ 110 h 423"/>
                <a:gd name="T82" fmla="*/ 224 w 291"/>
                <a:gd name="T83" fmla="*/ 95 h 423"/>
                <a:gd name="T84" fmla="*/ 240 w 291"/>
                <a:gd name="T85" fmla="*/ 93 h 423"/>
                <a:gd name="T86" fmla="*/ 249 w 291"/>
                <a:gd name="T87" fmla="*/ 87 h 423"/>
                <a:gd name="T88" fmla="*/ 251 w 291"/>
                <a:gd name="T89" fmla="*/ 69 h 423"/>
                <a:gd name="T90" fmla="*/ 255 w 291"/>
                <a:gd name="T91" fmla="*/ 55 h 423"/>
                <a:gd name="T92" fmla="*/ 242 w 291"/>
                <a:gd name="T93" fmla="*/ 50 h 423"/>
                <a:gd name="T94" fmla="*/ 238 w 291"/>
                <a:gd name="T95" fmla="*/ 50 h 423"/>
                <a:gd name="T96" fmla="*/ 225 w 291"/>
                <a:gd name="T97" fmla="*/ 50 h 423"/>
                <a:gd name="T98" fmla="*/ 216 w 291"/>
                <a:gd name="T99" fmla="*/ 54 h 423"/>
                <a:gd name="T100" fmla="*/ 208 w 291"/>
                <a:gd name="T101" fmla="*/ 55 h 423"/>
                <a:gd name="T102" fmla="*/ 202 w 291"/>
                <a:gd name="T103" fmla="*/ 55 h 423"/>
                <a:gd name="T104" fmla="*/ 189 w 291"/>
                <a:gd name="T105" fmla="*/ 42 h 423"/>
                <a:gd name="T106" fmla="*/ 187 w 291"/>
                <a:gd name="T107" fmla="*/ 40 h 423"/>
                <a:gd name="T108" fmla="*/ 182 w 291"/>
                <a:gd name="T109" fmla="*/ 39 h 423"/>
                <a:gd name="T110" fmla="*/ 179 w 291"/>
                <a:gd name="T111" fmla="*/ 32 h 423"/>
                <a:gd name="T112" fmla="*/ 171 w 291"/>
                <a:gd name="T113" fmla="*/ 25 h 423"/>
                <a:gd name="T114" fmla="*/ 159 w 291"/>
                <a:gd name="T115" fmla="*/ 10 h 423"/>
                <a:gd name="T116" fmla="*/ 149 w 291"/>
                <a:gd name="T117" fmla="*/ 1 h 4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1" h="422">
                  <a:moveTo>
                    <a:pt x="147" y="0"/>
                  </a:moveTo>
                  <a:cubicBezTo>
                    <a:pt x="140" y="0"/>
                    <a:pt x="140" y="0"/>
                    <a:pt x="140" y="0"/>
                  </a:cubicBezTo>
                  <a:cubicBezTo>
                    <a:pt x="140" y="0"/>
                    <a:pt x="140" y="0"/>
                    <a:pt x="140" y="0"/>
                  </a:cubicBezTo>
                  <a:cubicBezTo>
                    <a:pt x="139" y="0"/>
                    <a:pt x="139" y="0"/>
                    <a:pt x="139" y="0"/>
                  </a:cubicBezTo>
                  <a:cubicBezTo>
                    <a:pt x="139" y="0"/>
                    <a:pt x="139" y="1"/>
                    <a:pt x="139" y="1"/>
                  </a:cubicBezTo>
                  <a:cubicBezTo>
                    <a:pt x="139" y="2"/>
                    <a:pt x="139" y="2"/>
                    <a:pt x="139" y="2"/>
                  </a:cubicBezTo>
                  <a:cubicBezTo>
                    <a:pt x="140" y="2"/>
                    <a:pt x="140" y="2"/>
                    <a:pt x="140" y="2"/>
                  </a:cubicBezTo>
                  <a:cubicBezTo>
                    <a:pt x="140" y="3"/>
                    <a:pt x="140" y="3"/>
                    <a:pt x="140" y="3"/>
                  </a:cubicBezTo>
                  <a:cubicBezTo>
                    <a:pt x="140" y="4"/>
                    <a:pt x="141" y="4"/>
                    <a:pt x="141" y="5"/>
                  </a:cubicBezTo>
                  <a:cubicBezTo>
                    <a:pt x="142" y="6"/>
                    <a:pt x="142" y="7"/>
                    <a:pt x="143" y="8"/>
                  </a:cubicBezTo>
                  <a:cubicBezTo>
                    <a:pt x="143" y="9"/>
                    <a:pt x="144" y="10"/>
                    <a:pt x="144" y="11"/>
                  </a:cubicBezTo>
                  <a:cubicBezTo>
                    <a:pt x="145" y="13"/>
                    <a:pt x="145" y="15"/>
                    <a:pt x="144" y="17"/>
                  </a:cubicBezTo>
                  <a:cubicBezTo>
                    <a:pt x="144" y="18"/>
                    <a:pt x="143" y="20"/>
                    <a:pt x="141" y="22"/>
                  </a:cubicBezTo>
                  <a:cubicBezTo>
                    <a:pt x="141" y="22"/>
                    <a:pt x="141" y="23"/>
                    <a:pt x="140" y="23"/>
                  </a:cubicBezTo>
                  <a:cubicBezTo>
                    <a:pt x="140" y="24"/>
                    <a:pt x="140" y="24"/>
                    <a:pt x="140" y="24"/>
                  </a:cubicBezTo>
                  <a:cubicBezTo>
                    <a:pt x="139" y="25"/>
                    <a:pt x="139" y="25"/>
                    <a:pt x="139" y="25"/>
                  </a:cubicBezTo>
                  <a:cubicBezTo>
                    <a:pt x="139" y="26"/>
                    <a:pt x="139" y="26"/>
                    <a:pt x="139" y="26"/>
                  </a:cubicBezTo>
                  <a:cubicBezTo>
                    <a:pt x="138" y="28"/>
                    <a:pt x="137" y="31"/>
                    <a:pt x="135" y="33"/>
                  </a:cubicBezTo>
                  <a:cubicBezTo>
                    <a:pt x="135" y="33"/>
                    <a:pt x="135" y="33"/>
                    <a:pt x="135" y="33"/>
                  </a:cubicBezTo>
                  <a:cubicBezTo>
                    <a:pt x="134" y="34"/>
                    <a:pt x="134" y="34"/>
                    <a:pt x="134" y="34"/>
                  </a:cubicBezTo>
                  <a:cubicBezTo>
                    <a:pt x="132" y="36"/>
                    <a:pt x="130" y="38"/>
                    <a:pt x="128" y="40"/>
                  </a:cubicBezTo>
                  <a:cubicBezTo>
                    <a:pt x="127" y="42"/>
                    <a:pt x="125" y="43"/>
                    <a:pt x="123" y="45"/>
                  </a:cubicBezTo>
                  <a:cubicBezTo>
                    <a:pt x="120" y="48"/>
                    <a:pt x="116" y="52"/>
                    <a:pt x="112" y="55"/>
                  </a:cubicBezTo>
                  <a:cubicBezTo>
                    <a:pt x="107" y="58"/>
                    <a:pt x="102" y="60"/>
                    <a:pt x="96" y="61"/>
                  </a:cubicBezTo>
                  <a:cubicBezTo>
                    <a:pt x="95" y="62"/>
                    <a:pt x="95" y="62"/>
                    <a:pt x="95" y="62"/>
                  </a:cubicBezTo>
                  <a:cubicBezTo>
                    <a:pt x="94" y="62"/>
                    <a:pt x="92" y="63"/>
                    <a:pt x="90" y="63"/>
                  </a:cubicBezTo>
                  <a:cubicBezTo>
                    <a:pt x="86" y="64"/>
                    <a:pt x="83" y="66"/>
                    <a:pt x="80" y="68"/>
                  </a:cubicBezTo>
                  <a:cubicBezTo>
                    <a:pt x="80" y="69"/>
                    <a:pt x="80" y="69"/>
                    <a:pt x="79" y="69"/>
                  </a:cubicBezTo>
                  <a:cubicBezTo>
                    <a:pt x="79" y="70"/>
                    <a:pt x="79" y="70"/>
                    <a:pt x="79" y="70"/>
                  </a:cubicBezTo>
                  <a:cubicBezTo>
                    <a:pt x="78" y="71"/>
                    <a:pt x="77" y="72"/>
                    <a:pt x="77" y="73"/>
                  </a:cubicBezTo>
                  <a:cubicBezTo>
                    <a:pt x="77" y="73"/>
                    <a:pt x="77" y="73"/>
                    <a:pt x="77" y="73"/>
                  </a:cubicBezTo>
                  <a:cubicBezTo>
                    <a:pt x="77" y="75"/>
                    <a:pt x="76" y="77"/>
                    <a:pt x="74" y="78"/>
                  </a:cubicBezTo>
                  <a:cubicBezTo>
                    <a:pt x="73" y="78"/>
                    <a:pt x="72" y="79"/>
                    <a:pt x="71" y="79"/>
                  </a:cubicBezTo>
                  <a:cubicBezTo>
                    <a:pt x="71" y="79"/>
                    <a:pt x="71" y="80"/>
                    <a:pt x="71" y="81"/>
                  </a:cubicBezTo>
                  <a:cubicBezTo>
                    <a:pt x="71" y="81"/>
                    <a:pt x="71" y="81"/>
                    <a:pt x="71" y="82"/>
                  </a:cubicBezTo>
                  <a:cubicBezTo>
                    <a:pt x="69" y="88"/>
                    <a:pt x="67" y="96"/>
                    <a:pt x="63" y="102"/>
                  </a:cubicBezTo>
                  <a:cubicBezTo>
                    <a:pt x="62" y="104"/>
                    <a:pt x="61" y="106"/>
                    <a:pt x="59" y="108"/>
                  </a:cubicBezTo>
                  <a:cubicBezTo>
                    <a:pt x="59" y="108"/>
                    <a:pt x="59" y="108"/>
                    <a:pt x="59" y="108"/>
                  </a:cubicBezTo>
                  <a:cubicBezTo>
                    <a:pt x="58" y="109"/>
                    <a:pt x="57" y="109"/>
                    <a:pt x="57" y="110"/>
                  </a:cubicBezTo>
                  <a:cubicBezTo>
                    <a:pt x="56" y="111"/>
                    <a:pt x="56" y="111"/>
                    <a:pt x="55" y="111"/>
                  </a:cubicBezTo>
                  <a:cubicBezTo>
                    <a:pt x="55" y="112"/>
                    <a:pt x="55" y="112"/>
                    <a:pt x="54" y="112"/>
                  </a:cubicBezTo>
                  <a:cubicBezTo>
                    <a:pt x="54" y="112"/>
                    <a:pt x="54" y="112"/>
                    <a:pt x="54" y="112"/>
                  </a:cubicBezTo>
                  <a:cubicBezTo>
                    <a:pt x="53" y="113"/>
                    <a:pt x="53" y="113"/>
                    <a:pt x="52" y="113"/>
                  </a:cubicBezTo>
                  <a:cubicBezTo>
                    <a:pt x="51" y="113"/>
                    <a:pt x="50" y="113"/>
                    <a:pt x="49" y="112"/>
                  </a:cubicBezTo>
                  <a:cubicBezTo>
                    <a:pt x="49" y="112"/>
                    <a:pt x="49" y="112"/>
                    <a:pt x="49" y="112"/>
                  </a:cubicBezTo>
                  <a:cubicBezTo>
                    <a:pt x="46" y="112"/>
                    <a:pt x="44" y="110"/>
                    <a:pt x="42" y="108"/>
                  </a:cubicBezTo>
                  <a:cubicBezTo>
                    <a:pt x="41" y="107"/>
                    <a:pt x="41" y="107"/>
                    <a:pt x="41" y="107"/>
                  </a:cubicBezTo>
                  <a:cubicBezTo>
                    <a:pt x="41" y="106"/>
                    <a:pt x="40" y="104"/>
                    <a:pt x="39" y="103"/>
                  </a:cubicBezTo>
                  <a:cubicBezTo>
                    <a:pt x="39" y="102"/>
                    <a:pt x="39" y="101"/>
                    <a:pt x="38" y="100"/>
                  </a:cubicBezTo>
                  <a:cubicBezTo>
                    <a:pt x="37" y="100"/>
                    <a:pt x="37" y="100"/>
                    <a:pt x="37" y="100"/>
                  </a:cubicBezTo>
                  <a:cubicBezTo>
                    <a:pt x="37" y="101"/>
                    <a:pt x="37" y="101"/>
                    <a:pt x="37" y="101"/>
                  </a:cubicBezTo>
                  <a:cubicBezTo>
                    <a:pt x="36" y="100"/>
                    <a:pt x="36" y="100"/>
                    <a:pt x="36" y="100"/>
                  </a:cubicBezTo>
                  <a:cubicBezTo>
                    <a:pt x="35" y="100"/>
                    <a:pt x="33" y="99"/>
                    <a:pt x="32" y="98"/>
                  </a:cubicBezTo>
                  <a:cubicBezTo>
                    <a:pt x="31" y="98"/>
                    <a:pt x="31" y="98"/>
                    <a:pt x="31" y="98"/>
                  </a:cubicBezTo>
                  <a:cubicBezTo>
                    <a:pt x="30" y="98"/>
                    <a:pt x="29" y="97"/>
                    <a:pt x="28" y="97"/>
                  </a:cubicBezTo>
                  <a:cubicBezTo>
                    <a:pt x="27" y="97"/>
                    <a:pt x="27" y="97"/>
                    <a:pt x="27" y="97"/>
                  </a:cubicBezTo>
                  <a:cubicBezTo>
                    <a:pt x="27" y="98"/>
                    <a:pt x="27" y="98"/>
                    <a:pt x="26" y="98"/>
                  </a:cubicBezTo>
                  <a:cubicBezTo>
                    <a:pt x="25" y="99"/>
                    <a:pt x="24" y="99"/>
                    <a:pt x="23" y="99"/>
                  </a:cubicBezTo>
                  <a:cubicBezTo>
                    <a:pt x="22" y="99"/>
                    <a:pt x="22" y="99"/>
                    <a:pt x="22" y="99"/>
                  </a:cubicBezTo>
                  <a:cubicBezTo>
                    <a:pt x="22" y="100"/>
                    <a:pt x="21" y="100"/>
                    <a:pt x="21" y="100"/>
                  </a:cubicBezTo>
                  <a:cubicBezTo>
                    <a:pt x="21" y="100"/>
                    <a:pt x="21" y="100"/>
                    <a:pt x="20" y="100"/>
                  </a:cubicBezTo>
                  <a:cubicBezTo>
                    <a:pt x="20" y="100"/>
                    <a:pt x="20" y="100"/>
                    <a:pt x="20" y="100"/>
                  </a:cubicBezTo>
                  <a:cubicBezTo>
                    <a:pt x="20" y="100"/>
                    <a:pt x="18" y="99"/>
                    <a:pt x="18" y="98"/>
                  </a:cubicBezTo>
                  <a:cubicBezTo>
                    <a:pt x="17" y="97"/>
                    <a:pt x="17" y="96"/>
                    <a:pt x="17" y="95"/>
                  </a:cubicBezTo>
                  <a:cubicBezTo>
                    <a:pt x="17" y="95"/>
                    <a:pt x="17" y="95"/>
                    <a:pt x="17" y="95"/>
                  </a:cubicBezTo>
                  <a:cubicBezTo>
                    <a:pt x="18" y="94"/>
                    <a:pt x="18" y="94"/>
                    <a:pt x="18" y="94"/>
                  </a:cubicBezTo>
                  <a:cubicBezTo>
                    <a:pt x="17" y="94"/>
                    <a:pt x="17" y="94"/>
                    <a:pt x="17" y="94"/>
                  </a:cubicBezTo>
                  <a:cubicBezTo>
                    <a:pt x="17" y="93"/>
                    <a:pt x="17" y="93"/>
                    <a:pt x="17" y="93"/>
                  </a:cubicBezTo>
                  <a:cubicBezTo>
                    <a:pt x="17" y="91"/>
                    <a:pt x="15" y="87"/>
                    <a:pt x="19" y="85"/>
                  </a:cubicBezTo>
                  <a:cubicBezTo>
                    <a:pt x="19" y="85"/>
                    <a:pt x="19" y="85"/>
                    <a:pt x="19" y="85"/>
                  </a:cubicBezTo>
                  <a:cubicBezTo>
                    <a:pt x="20" y="84"/>
                    <a:pt x="20" y="84"/>
                    <a:pt x="20" y="84"/>
                  </a:cubicBezTo>
                  <a:cubicBezTo>
                    <a:pt x="21" y="84"/>
                    <a:pt x="22" y="83"/>
                    <a:pt x="23" y="83"/>
                  </a:cubicBezTo>
                  <a:cubicBezTo>
                    <a:pt x="24" y="83"/>
                    <a:pt x="24" y="83"/>
                    <a:pt x="24" y="83"/>
                  </a:cubicBezTo>
                  <a:cubicBezTo>
                    <a:pt x="24" y="83"/>
                    <a:pt x="23" y="82"/>
                    <a:pt x="23" y="82"/>
                  </a:cubicBezTo>
                  <a:cubicBezTo>
                    <a:pt x="22" y="80"/>
                    <a:pt x="21" y="78"/>
                    <a:pt x="21" y="76"/>
                  </a:cubicBezTo>
                  <a:cubicBezTo>
                    <a:pt x="19" y="77"/>
                    <a:pt x="16" y="79"/>
                    <a:pt x="15" y="80"/>
                  </a:cubicBezTo>
                  <a:cubicBezTo>
                    <a:pt x="12" y="83"/>
                    <a:pt x="9" y="87"/>
                    <a:pt x="6" y="90"/>
                  </a:cubicBezTo>
                  <a:cubicBezTo>
                    <a:pt x="0" y="95"/>
                    <a:pt x="0" y="97"/>
                    <a:pt x="1" y="104"/>
                  </a:cubicBezTo>
                  <a:cubicBezTo>
                    <a:pt x="1" y="112"/>
                    <a:pt x="10" y="119"/>
                    <a:pt x="10" y="127"/>
                  </a:cubicBezTo>
                  <a:cubicBezTo>
                    <a:pt x="10" y="130"/>
                    <a:pt x="9" y="129"/>
                    <a:pt x="8" y="131"/>
                  </a:cubicBezTo>
                  <a:cubicBezTo>
                    <a:pt x="6" y="132"/>
                    <a:pt x="4" y="134"/>
                    <a:pt x="4" y="136"/>
                  </a:cubicBezTo>
                  <a:cubicBezTo>
                    <a:pt x="7" y="137"/>
                    <a:pt x="10" y="139"/>
                    <a:pt x="14" y="141"/>
                  </a:cubicBezTo>
                  <a:cubicBezTo>
                    <a:pt x="21" y="144"/>
                    <a:pt x="30" y="149"/>
                    <a:pt x="34" y="156"/>
                  </a:cubicBezTo>
                  <a:cubicBezTo>
                    <a:pt x="39" y="164"/>
                    <a:pt x="43" y="172"/>
                    <a:pt x="48" y="180"/>
                  </a:cubicBezTo>
                  <a:cubicBezTo>
                    <a:pt x="51" y="183"/>
                    <a:pt x="54" y="185"/>
                    <a:pt x="56" y="189"/>
                  </a:cubicBezTo>
                  <a:cubicBezTo>
                    <a:pt x="58" y="194"/>
                    <a:pt x="60" y="198"/>
                    <a:pt x="62" y="203"/>
                  </a:cubicBezTo>
                  <a:cubicBezTo>
                    <a:pt x="64" y="209"/>
                    <a:pt x="68" y="214"/>
                    <a:pt x="71" y="221"/>
                  </a:cubicBezTo>
                  <a:cubicBezTo>
                    <a:pt x="73" y="227"/>
                    <a:pt x="76" y="234"/>
                    <a:pt x="79" y="240"/>
                  </a:cubicBezTo>
                  <a:cubicBezTo>
                    <a:pt x="81" y="243"/>
                    <a:pt x="83" y="245"/>
                    <a:pt x="84" y="248"/>
                  </a:cubicBezTo>
                  <a:cubicBezTo>
                    <a:pt x="85" y="250"/>
                    <a:pt x="84" y="254"/>
                    <a:pt x="85" y="256"/>
                  </a:cubicBezTo>
                  <a:cubicBezTo>
                    <a:pt x="86" y="259"/>
                    <a:pt x="90" y="261"/>
                    <a:pt x="92" y="262"/>
                  </a:cubicBezTo>
                  <a:cubicBezTo>
                    <a:pt x="95" y="265"/>
                    <a:pt x="96" y="266"/>
                    <a:pt x="96" y="270"/>
                  </a:cubicBezTo>
                  <a:cubicBezTo>
                    <a:pt x="97" y="269"/>
                    <a:pt x="98" y="269"/>
                    <a:pt x="99" y="269"/>
                  </a:cubicBezTo>
                  <a:cubicBezTo>
                    <a:pt x="103" y="269"/>
                    <a:pt x="106" y="272"/>
                    <a:pt x="106" y="275"/>
                  </a:cubicBezTo>
                  <a:cubicBezTo>
                    <a:pt x="106" y="278"/>
                    <a:pt x="104" y="280"/>
                    <a:pt x="101" y="281"/>
                  </a:cubicBezTo>
                  <a:cubicBezTo>
                    <a:pt x="103" y="283"/>
                    <a:pt x="104" y="284"/>
                    <a:pt x="105" y="286"/>
                  </a:cubicBezTo>
                  <a:cubicBezTo>
                    <a:pt x="109" y="292"/>
                    <a:pt x="113" y="298"/>
                    <a:pt x="117" y="305"/>
                  </a:cubicBezTo>
                  <a:cubicBezTo>
                    <a:pt x="118" y="306"/>
                    <a:pt x="120" y="311"/>
                    <a:pt x="119" y="312"/>
                  </a:cubicBezTo>
                  <a:cubicBezTo>
                    <a:pt x="117" y="314"/>
                    <a:pt x="115" y="317"/>
                    <a:pt x="115" y="319"/>
                  </a:cubicBezTo>
                  <a:cubicBezTo>
                    <a:pt x="115" y="319"/>
                    <a:pt x="115" y="319"/>
                    <a:pt x="115" y="319"/>
                  </a:cubicBezTo>
                  <a:cubicBezTo>
                    <a:pt x="115" y="319"/>
                    <a:pt x="116" y="321"/>
                    <a:pt x="116" y="322"/>
                  </a:cubicBezTo>
                  <a:cubicBezTo>
                    <a:pt x="116" y="323"/>
                    <a:pt x="117" y="324"/>
                    <a:pt x="117" y="325"/>
                  </a:cubicBezTo>
                  <a:cubicBezTo>
                    <a:pt x="117" y="325"/>
                    <a:pt x="118" y="325"/>
                    <a:pt x="118" y="325"/>
                  </a:cubicBezTo>
                  <a:cubicBezTo>
                    <a:pt x="119" y="325"/>
                    <a:pt x="121" y="329"/>
                    <a:pt x="122" y="330"/>
                  </a:cubicBezTo>
                  <a:cubicBezTo>
                    <a:pt x="123" y="332"/>
                    <a:pt x="124" y="335"/>
                    <a:pt x="125" y="337"/>
                  </a:cubicBezTo>
                  <a:cubicBezTo>
                    <a:pt x="127" y="339"/>
                    <a:pt x="130" y="340"/>
                    <a:pt x="133" y="341"/>
                  </a:cubicBezTo>
                  <a:cubicBezTo>
                    <a:pt x="137" y="345"/>
                    <a:pt x="141" y="350"/>
                    <a:pt x="144" y="354"/>
                  </a:cubicBezTo>
                  <a:cubicBezTo>
                    <a:pt x="146" y="357"/>
                    <a:pt x="151" y="359"/>
                    <a:pt x="154" y="360"/>
                  </a:cubicBezTo>
                  <a:cubicBezTo>
                    <a:pt x="165" y="366"/>
                    <a:pt x="175" y="373"/>
                    <a:pt x="187" y="378"/>
                  </a:cubicBezTo>
                  <a:cubicBezTo>
                    <a:pt x="197" y="382"/>
                    <a:pt x="207" y="386"/>
                    <a:pt x="216" y="392"/>
                  </a:cubicBezTo>
                  <a:cubicBezTo>
                    <a:pt x="220" y="394"/>
                    <a:pt x="223" y="397"/>
                    <a:pt x="227" y="399"/>
                  </a:cubicBezTo>
                  <a:cubicBezTo>
                    <a:pt x="229" y="401"/>
                    <a:pt x="229" y="404"/>
                    <a:pt x="230" y="407"/>
                  </a:cubicBezTo>
                  <a:cubicBezTo>
                    <a:pt x="231" y="411"/>
                    <a:pt x="238" y="412"/>
                    <a:pt x="242" y="415"/>
                  </a:cubicBezTo>
                  <a:cubicBezTo>
                    <a:pt x="245" y="418"/>
                    <a:pt x="248" y="420"/>
                    <a:pt x="251" y="423"/>
                  </a:cubicBezTo>
                  <a:cubicBezTo>
                    <a:pt x="264" y="418"/>
                    <a:pt x="264" y="418"/>
                    <a:pt x="264" y="418"/>
                  </a:cubicBezTo>
                  <a:cubicBezTo>
                    <a:pt x="264" y="418"/>
                    <a:pt x="264" y="418"/>
                    <a:pt x="264" y="418"/>
                  </a:cubicBezTo>
                  <a:cubicBezTo>
                    <a:pt x="264" y="417"/>
                    <a:pt x="264" y="417"/>
                    <a:pt x="264" y="417"/>
                  </a:cubicBezTo>
                  <a:cubicBezTo>
                    <a:pt x="265" y="416"/>
                    <a:pt x="264" y="413"/>
                    <a:pt x="264" y="412"/>
                  </a:cubicBezTo>
                  <a:cubicBezTo>
                    <a:pt x="262" y="409"/>
                    <a:pt x="266" y="406"/>
                    <a:pt x="267" y="405"/>
                  </a:cubicBezTo>
                  <a:cubicBezTo>
                    <a:pt x="268" y="404"/>
                    <a:pt x="269" y="404"/>
                    <a:pt x="269" y="403"/>
                  </a:cubicBezTo>
                  <a:cubicBezTo>
                    <a:pt x="270" y="403"/>
                    <a:pt x="270" y="403"/>
                    <a:pt x="270" y="403"/>
                  </a:cubicBezTo>
                  <a:cubicBezTo>
                    <a:pt x="270" y="403"/>
                    <a:pt x="270" y="403"/>
                    <a:pt x="270" y="403"/>
                  </a:cubicBezTo>
                  <a:cubicBezTo>
                    <a:pt x="270" y="402"/>
                    <a:pt x="270" y="402"/>
                    <a:pt x="270" y="402"/>
                  </a:cubicBezTo>
                  <a:cubicBezTo>
                    <a:pt x="269" y="402"/>
                    <a:pt x="269" y="402"/>
                    <a:pt x="269" y="401"/>
                  </a:cubicBezTo>
                  <a:cubicBezTo>
                    <a:pt x="268" y="401"/>
                    <a:pt x="268" y="401"/>
                    <a:pt x="268" y="401"/>
                  </a:cubicBezTo>
                  <a:cubicBezTo>
                    <a:pt x="268" y="399"/>
                    <a:pt x="268" y="399"/>
                    <a:pt x="268" y="399"/>
                  </a:cubicBezTo>
                  <a:cubicBezTo>
                    <a:pt x="268" y="397"/>
                    <a:pt x="269" y="396"/>
                    <a:pt x="274" y="391"/>
                  </a:cubicBezTo>
                  <a:cubicBezTo>
                    <a:pt x="275" y="390"/>
                    <a:pt x="275" y="390"/>
                    <a:pt x="275" y="390"/>
                  </a:cubicBezTo>
                  <a:cubicBezTo>
                    <a:pt x="276" y="390"/>
                    <a:pt x="276" y="390"/>
                    <a:pt x="276" y="389"/>
                  </a:cubicBezTo>
                  <a:cubicBezTo>
                    <a:pt x="278" y="388"/>
                    <a:pt x="279" y="386"/>
                    <a:pt x="280" y="384"/>
                  </a:cubicBezTo>
                  <a:cubicBezTo>
                    <a:pt x="281" y="383"/>
                    <a:pt x="281" y="383"/>
                    <a:pt x="281" y="383"/>
                  </a:cubicBezTo>
                  <a:cubicBezTo>
                    <a:pt x="281" y="383"/>
                    <a:pt x="282" y="382"/>
                    <a:pt x="282" y="381"/>
                  </a:cubicBezTo>
                  <a:cubicBezTo>
                    <a:pt x="282" y="381"/>
                    <a:pt x="283" y="381"/>
                    <a:pt x="283" y="380"/>
                  </a:cubicBezTo>
                  <a:cubicBezTo>
                    <a:pt x="285" y="379"/>
                    <a:pt x="285" y="379"/>
                    <a:pt x="285" y="379"/>
                  </a:cubicBezTo>
                  <a:cubicBezTo>
                    <a:pt x="286" y="377"/>
                    <a:pt x="286" y="377"/>
                    <a:pt x="286" y="377"/>
                  </a:cubicBezTo>
                  <a:cubicBezTo>
                    <a:pt x="278" y="376"/>
                    <a:pt x="277" y="371"/>
                    <a:pt x="276" y="366"/>
                  </a:cubicBezTo>
                  <a:cubicBezTo>
                    <a:pt x="275" y="365"/>
                    <a:pt x="275" y="364"/>
                    <a:pt x="275" y="363"/>
                  </a:cubicBezTo>
                  <a:cubicBezTo>
                    <a:pt x="275" y="363"/>
                    <a:pt x="275" y="363"/>
                    <a:pt x="275" y="363"/>
                  </a:cubicBezTo>
                  <a:cubicBezTo>
                    <a:pt x="274" y="361"/>
                    <a:pt x="273" y="358"/>
                    <a:pt x="275" y="356"/>
                  </a:cubicBezTo>
                  <a:cubicBezTo>
                    <a:pt x="279" y="350"/>
                    <a:pt x="279" y="350"/>
                    <a:pt x="279" y="350"/>
                  </a:cubicBezTo>
                  <a:cubicBezTo>
                    <a:pt x="279" y="350"/>
                    <a:pt x="279" y="350"/>
                    <a:pt x="279" y="350"/>
                  </a:cubicBezTo>
                  <a:cubicBezTo>
                    <a:pt x="277" y="348"/>
                    <a:pt x="276" y="347"/>
                    <a:pt x="276" y="345"/>
                  </a:cubicBezTo>
                  <a:cubicBezTo>
                    <a:pt x="275" y="339"/>
                    <a:pt x="276" y="338"/>
                    <a:pt x="279" y="334"/>
                  </a:cubicBezTo>
                  <a:cubicBezTo>
                    <a:pt x="279" y="333"/>
                    <a:pt x="280" y="332"/>
                    <a:pt x="281" y="331"/>
                  </a:cubicBezTo>
                  <a:cubicBezTo>
                    <a:pt x="282" y="330"/>
                    <a:pt x="282" y="330"/>
                    <a:pt x="282" y="330"/>
                  </a:cubicBezTo>
                  <a:cubicBezTo>
                    <a:pt x="283" y="330"/>
                    <a:pt x="283" y="329"/>
                    <a:pt x="284" y="329"/>
                  </a:cubicBezTo>
                  <a:cubicBezTo>
                    <a:pt x="284" y="328"/>
                    <a:pt x="284" y="328"/>
                    <a:pt x="284" y="328"/>
                  </a:cubicBezTo>
                  <a:cubicBezTo>
                    <a:pt x="284" y="327"/>
                    <a:pt x="285" y="325"/>
                    <a:pt x="285" y="325"/>
                  </a:cubicBezTo>
                  <a:cubicBezTo>
                    <a:pt x="286" y="325"/>
                    <a:pt x="286" y="325"/>
                    <a:pt x="286" y="325"/>
                  </a:cubicBezTo>
                  <a:cubicBezTo>
                    <a:pt x="285" y="324"/>
                    <a:pt x="285" y="323"/>
                    <a:pt x="285" y="322"/>
                  </a:cubicBezTo>
                  <a:cubicBezTo>
                    <a:pt x="283" y="317"/>
                    <a:pt x="283" y="317"/>
                    <a:pt x="283" y="317"/>
                  </a:cubicBezTo>
                  <a:cubicBezTo>
                    <a:pt x="283" y="316"/>
                    <a:pt x="283" y="316"/>
                    <a:pt x="283" y="316"/>
                  </a:cubicBezTo>
                  <a:cubicBezTo>
                    <a:pt x="282" y="316"/>
                    <a:pt x="282" y="316"/>
                    <a:pt x="282" y="316"/>
                  </a:cubicBezTo>
                  <a:cubicBezTo>
                    <a:pt x="282" y="315"/>
                    <a:pt x="282" y="315"/>
                    <a:pt x="282" y="315"/>
                  </a:cubicBezTo>
                  <a:cubicBezTo>
                    <a:pt x="282" y="314"/>
                    <a:pt x="281" y="313"/>
                    <a:pt x="281" y="312"/>
                  </a:cubicBezTo>
                  <a:cubicBezTo>
                    <a:pt x="281" y="311"/>
                    <a:pt x="281" y="310"/>
                    <a:pt x="282" y="310"/>
                  </a:cubicBezTo>
                  <a:cubicBezTo>
                    <a:pt x="282" y="309"/>
                    <a:pt x="282" y="309"/>
                    <a:pt x="282" y="309"/>
                  </a:cubicBezTo>
                  <a:cubicBezTo>
                    <a:pt x="282" y="308"/>
                    <a:pt x="282" y="307"/>
                    <a:pt x="282" y="306"/>
                  </a:cubicBezTo>
                  <a:cubicBezTo>
                    <a:pt x="282" y="305"/>
                    <a:pt x="282" y="305"/>
                    <a:pt x="282" y="305"/>
                  </a:cubicBezTo>
                  <a:cubicBezTo>
                    <a:pt x="283" y="304"/>
                    <a:pt x="283" y="303"/>
                    <a:pt x="283" y="303"/>
                  </a:cubicBezTo>
                  <a:cubicBezTo>
                    <a:pt x="283" y="301"/>
                    <a:pt x="284" y="299"/>
                    <a:pt x="284" y="297"/>
                  </a:cubicBezTo>
                  <a:cubicBezTo>
                    <a:pt x="285" y="296"/>
                    <a:pt x="286" y="295"/>
                    <a:pt x="286" y="294"/>
                  </a:cubicBezTo>
                  <a:cubicBezTo>
                    <a:pt x="287" y="292"/>
                    <a:pt x="287" y="292"/>
                    <a:pt x="287" y="292"/>
                  </a:cubicBezTo>
                  <a:cubicBezTo>
                    <a:pt x="288" y="291"/>
                    <a:pt x="290" y="288"/>
                    <a:pt x="291" y="286"/>
                  </a:cubicBezTo>
                  <a:cubicBezTo>
                    <a:pt x="289" y="283"/>
                    <a:pt x="289" y="283"/>
                    <a:pt x="289" y="283"/>
                  </a:cubicBezTo>
                  <a:cubicBezTo>
                    <a:pt x="287" y="279"/>
                    <a:pt x="284" y="274"/>
                    <a:pt x="281" y="269"/>
                  </a:cubicBezTo>
                  <a:cubicBezTo>
                    <a:pt x="279" y="265"/>
                    <a:pt x="279" y="265"/>
                    <a:pt x="279" y="265"/>
                  </a:cubicBezTo>
                  <a:cubicBezTo>
                    <a:pt x="276" y="261"/>
                    <a:pt x="274" y="257"/>
                    <a:pt x="271" y="252"/>
                  </a:cubicBezTo>
                  <a:cubicBezTo>
                    <a:pt x="271" y="252"/>
                    <a:pt x="271" y="252"/>
                    <a:pt x="271" y="252"/>
                  </a:cubicBezTo>
                  <a:cubicBezTo>
                    <a:pt x="271" y="252"/>
                    <a:pt x="271" y="252"/>
                    <a:pt x="271" y="252"/>
                  </a:cubicBezTo>
                  <a:cubicBezTo>
                    <a:pt x="270" y="252"/>
                    <a:pt x="270" y="252"/>
                    <a:pt x="270" y="252"/>
                  </a:cubicBezTo>
                  <a:cubicBezTo>
                    <a:pt x="270" y="252"/>
                    <a:pt x="270" y="252"/>
                    <a:pt x="269" y="252"/>
                  </a:cubicBezTo>
                  <a:cubicBezTo>
                    <a:pt x="269" y="252"/>
                    <a:pt x="269" y="252"/>
                    <a:pt x="268" y="252"/>
                  </a:cubicBezTo>
                  <a:cubicBezTo>
                    <a:pt x="268" y="252"/>
                    <a:pt x="267" y="252"/>
                    <a:pt x="267" y="252"/>
                  </a:cubicBezTo>
                  <a:cubicBezTo>
                    <a:pt x="266" y="252"/>
                    <a:pt x="266" y="252"/>
                    <a:pt x="266" y="252"/>
                  </a:cubicBezTo>
                  <a:cubicBezTo>
                    <a:pt x="266" y="252"/>
                    <a:pt x="266" y="252"/>
                    <a:pt x="265" y="252"/>
                  </a:cubicBezTo>
                  <a:cubicBezTo>
                    <a:pt x="265" y="252"/>
                    <a:pt x="265" y="252"/>
                    <a:pt x="263" y="252"/>
                  </a:cubicBezTo>
                  <a:cubicBezTo>
                    <a:pt x="262" y="253"/>
                    <a:pt x="262" y="253"/>
                    <a:pt x="262" y="253"/>
                  </a:cubicBezTo>
                  <a:cubicBezTo>
                    <a:pt x="261" y="254"/>
                    <a:pt x="259" y="254"/>
                    <a:pt x="257" y="255"/>
                  </a:cubicBezTo>
                  <a:cubicBezTo>
                    <a:pt x="257" y="255"/>
                    <a:pt x="256" y="255"/>
                    <a:pt x="256" y="255"/>
                  </a:cubicBezTo>
                  <a:cubicBezTo>
                    <a:pt x="256" y="255"/>
                    <a:pt x="256" y="255"/>
                    <a:pt x="255" y="255"/>
                  </a:cubicBezTo>
                  <a:cubicBezTo>
                    <a:pt x="254" y="254"/>
                    <a:pt x="253" y="254"/>
                    <a:pt x="251" y="253"/>
                  </a:cubicBezTo>
                  <a:cubicBezTo>
                    <a:pt x="251" y="253"/>
                    <a:pt x="250" y="253"/>
                    <a:pt x="250" y="253"/>
                  </a:cubicBezTo>
                  <a:cubicBezTo>
                    <a:pt x="245" y="259"/>
                    <a:pt x="245" y="259"/>
                    <a:pt x="245" y="259"/>
                  </a:cubicBezTo>
                  <a:cubicBezTo>
                    <a:pt x="245" y="251"/>
                    <a:pt x="245" y="251"/>
                    <a:pt x="245" y="251"/>
                  </a:cubicBezTo>
                  <a:cubicBezTo>
                    <a:pt x="245" y="248"/>
                    <a:pt x="245" y="246"/>
                    <a:pt x="245" y="243"/>
                  </a:cubicBezTo>
                  <a:cubicBezTo>
                    <a:pt x="245" y="235"/>
                    <a:pt x="244" y="227"/>
                    <a:pt x="246" y="221"/>
                  </a:cubicBezTo>
                  <a:cubicBezTo>
                    <a:pt x="247" y="220"/>
                    <a:pt x="247" y="220"/>
                    <a:pt x="247" y="220"/>
                  </a:cubicBezTo>
                  <a:cubicBezTo>
                    <a:pt x="247" y="220"/>
                    <a:pt x="247" y="220"/>
                    <a:pt x="247" y="220"/>
                  </a:cubicBezTo>
                  <a:cubicBezTo>
                    <a:pt x="246" y="220"/>
                    <a:pt x="245" y="221"/>
                    <a:pt x="244" y="222"/>
                  </a:cubicBezTo>
                  <a:cubicBezTo>
                    <a:pt x="243" y="223"/>
                    <a:pt x="243" y="223"/>
                    <a:pt x="243" y="223"/>
                  </a:cubicBezTo>
                  <a:cubicBezTo>
                    <a:pt x="242" y="224"/>
                    <a:pt x="242" y="225"/>
                    <a:pt x="241" y="225"/>
                  </a:cubicBezTo>
                  <a:cubicBezTo>
                    <a:pt x="240" y="226"/>
                    <a:pt x="240" y="226"/>
                    <a:pt x="239" y="226"/>
                  </a:cubicBezTo>
                  <a:cubicBezTo>
                    <a:pt x="238" y="227"/>
                    <a:pt x="238" y="227"/>
                    <a:pt x="238" y="227"/>
                  </a:cubicBezTo>
                  <a:cubicBezTo>
                    <a:pt x="238" y="227"/>
                    <a:pt x="238" y="227"/>
                    <a:pt x="237" y="227"/>
                  </a:cubicBezTo>
                  <a:cubicBezTo>
                    <a:pt x="237" y="228"/>
                    <a:pt x="237" y="228"/>
                    <a:pt x="237" y="228"/>
                  </a:cubicBezTo>
                  <a:cubicBezTo>
                    <a:pt x="236" y="228"/>
                    <a:pt x="235" y="229"/>
                    <a:pt x="234" y="229"/>
                  </a:cubicBezTo>
                  <a:cubicBezTo>
                    <a:pt x="232" y="230"/>
                    <a:pt x="229" y="230"/>
                    <a:pt x="226" y="230"/>
                  </a:cubicBezTo>
                  <a:cubicBezTo>
                    <a:pt x="223" y="230"/>
                    <a:pt x="221" y="230"/>
                    <a:pt x="218" y="230"/>
                  </a:cubicBezTo>
                  <a:cubicBezTo>
                    <a:pt x="216" y="230"/>
                    <a:pt x="216" y="230"/>
                    <a:pt x="216" y="230"/>
                  </a:cubicBezTo>
                  <a:cubicBezTo>
                    <a:pt x="215" y="230"/>
                    <a:pt x="213" y="230"/>
                    <a:pt x="212" y="230"/>
                  </a:cubicBezTo>
                  <a:cubicBezTo>
                    <a:pt x="208" y="230"/>
                    <a:pt x="208" y="230"/>
                    <a:pt x="208" y="230"/>
                  </a:cubicBezTo>
                  <a:cubicBezTo>
                    <a:pt x="209" y="226"/>
                    <a:pt x="209" y="226"/>
                    <a:pt x="209" y="226"/>
                  </a:cubicBezTo>
                  <a:cubicBezTo>
                    <a:pt x="210" y="225"/>
                    <a:pt x="210" y="225"/>
                    <a:pt x="209" y="224"/>
                  </a:cubicBezTo>
                  <a:cubicBezTo>
                    <a:pt x="209" y="223"/>
                    <a:pt x="209" y="223"/>
                    <a:pt x="209" y="223"/>
                  </a:cubicBezTo>
                  <a:cubicBezTo>
                    <a:pt x="208" y="222"/>
                    <a:pt x="208" y="222"/>
                    <a:pt x="208" y="221"/>
                  </a:cubicBezTo>
                  <a:cubicBezTo>
                    <a:pt x="207" y="221"/>
                    <a:pt x="207" y="220"/>
                    <a:pt x="207" y="219"/>
                  </a:cubicBezTo>
                  <a:cubicBezTo>
                    <a:pt x="206" y="217"/>
                    <a:pt x="197" y="216"/>
                    <a:pt x="193" y="216"/>
                  </a:cubicBezTo>
                  <a:cubicBezTo>
                    <a:pt x="191" y="216"/>
                    <a:pt x="189" y="216"/>
                    <a:pt x="188" y="216"/>
                  </a:cubicBezTo>
                  <a:cubicBezTo>
                    <a:pt x="182" y="215"/>
                    <a:pt x="182" y="215"/>
                    <a:pt x="182" y="215"/>
                  </a:cubicBezTo>
                  <a:cubicBezTo>
                    <a:pt x="186" y="211"/>
                    <a:pt x="186" y="211"/>
                    <a:pt x="186" y="211"/>
                  </a:cubicBezTo>
                  <a:cubicBezTo>
                    <a:pt x="191" y="207"/>
                    <a:pt x="192" y="205"/>
                    <a:pt x="191" y="205"/>
                  </a:cubicBezTo>
                  <a:cubicBezTo>
                    <a:pt x="191" y="204"/>
                    <a:pt x="190" y="203"/>
                    <a:pt x="189" y="202"/>
                  </a:cubicBezTo>
                  <a:cubicBezTo>
                    <a:pt x="189" y="202"/>
                    <a:pt x="188" y="201"/>
                    <a:pt x="188" y="201"/>
                  </a:cubicBezTo>
                  <a:cubicBezTo>
                    <a:pt x="187" y="200"/>
                    <a:pt x="187" y="200"/>
                    <a:pt x="187" y="200"/>
                  </a:cubicBezTo>
                  <a:cubicBezTo>
                    <a:pt x="184" y="196"/>
                    <a:pt x="181" y="193"/>
                    <a:pt x="178" y="188"/>
                  </a:cubicBezTo>
                  <a:cubicBezTo>
                    <a:pt x="177" y="186"/>
                    <a:pt x="176" y="184"/>
                    <a:pt x="176" y="182"/>
                  </a:cubicBezTo>
                  <a:cubicBezTo>
                    <a:pt x="176" y="180"/>
                    <a:pt x="175" y="178"/>
                    <a:pt x="175" y="177"/>
                  </a:cubicBezTo>
                  <a:cubicBezTo>
                    <a:pt x="174" y="176"/>
                    <a:pt x="172" y="174"/>
                    <a:pt x="171" y="173"/>
                  </a:cubicBezTo>
                  <a:cubicBezTo>
                    <a:pt x="170" y="172"/>
                    <a:pt x="169" y="172"/>
                    <a:pt x="168" y="171"/>
                  </a:cubicBezTo>
                  <a:cubicBezTo>
                    <a:pt x="166" y="169"/>
                    <a:pt x="166" y="169"/>
                    <a:pt x="166" y="169"/>
                  </a:cubicBezTo>
                  <a:cubicBezTo>
                    <a:pt x="168" y="167"/>
                    <a:pt x="168" y="167"/>
                    <a:pt x="168" y="167"/>
                  </a:cubicBezTo>
                  <a:cubicBezTo>
                    <a:pt x="169" y="167"/>
                    <a:pt x="170" y="166"/>
                    <a:pt x="171" y="165"/>
                  </a:cubicBezTo>
                  <a:cubicBezTo>
                    <a:pt x="172" y="164"/>
                    <a:pt x="173" y="164"/>
                    <a:pt x="173" y="163"/>
                  </a:cubicBezTo>
                  <a:cubicBezTo>
                    <a:pt x="173" y="163"/>
                    <a:pt x="173" y="163"/>
                    <a:pt x="173" y="163"/>
                  </a:cubicBezTo>
                  <a:cubicBezTo>
                    <a:pt x="172" y="160"/>
                    <a:pt x="172" y="158"/>
                    <a:pt x="173" y="155"/>
                  </a:cubicBezTo>
                  <a:cubicBezTo>
                    <a:pt x="175" y="150"/>
                    <a:pt x="178" y="148"/>
                    <a:pt x="182" y="146"/>
                  </a:cubicBezTo>
                  <a:cubicBezTo>
                    <a:pt x="182" y="146"/>
                    <a:pt x="183" y="145"/>
                    <a:pt x="183" y="145"/>
                  </a:cubicBezTo>
                  <a:cubicBezTo>
                    <a:pt x="184" y="145"/>
                    <a:pt x="184" y="145"/>
                    <a:pt x="184" y="145"/>
                  </a:cubicBezTo>
                  <a:cubicBezTo>
                    <a:pt x="185" y="144"/>
                    <a:pt x="186" y="143"/>
                    <a:pt x="187" y="143"/>
                  </a:cubicBezTo>
                  <a:cubicBezTo>
                    <a:pt x="187" y="142"/>
                    <a:pt x="187" y="142"/>
                    <a:pt x="187" y="142"/>
                  </a:cubicBezTo>
                  <a:cubicBezTo>
                    <a:pt x="187" y="141"/>
                    <a:pt x="187" y="141"/>
                    <a:pt x="187" y="141"/>
                  </a:cubicBezTo>
                  <a:cubicBezTo>
                    <a:pt x="187" y="141"/>
                    <a:pt x="187" y="141"/>
                    <a:pt x="187" y="140"/>
                  </a:cubicBezTo>
                  <a:cubicBezTo>
                    <a:pt x="187" y="139"/>
                    <a:pt x="187" y="138"/>
                    <a:pt x="187" y="137"/>
                  </a:cubicBezTo>
                  <a:cubicBezTo>
                    <a:pt x="186" y="137"/>
                    <a:pt x="187" y="136"/>
                    <a:pt x="187" y="136"/>
                  </a:cubicBezTo>
                  <a:cubicBezTo>
                    <a:pt x="187" y="135"/>
                    <a:pt x="187" y="135"/>
                    <a:pt x="187" y="135"/>
                  </a:cubicBezTo>
                  <a:cubicBezTo>
                    <a:pt x="187" y="134"/>
                    <a:pt x="187" y="134"/>
                    <a:pt x="187" y="134"/>
                  </a:cubicBezTo>
                  <a:cubicBezTo>
                    <a:pt x="188" y="132"/>
                    <a:pt x="188" y="131"/>
                    <a:pt x="189" y="130"/>
                  </a:cubicBezTo>
                  <a:cubicBezTo>
                    <a:pt x="189" y="129"/>
                    <a:pt x="189" y="129"/>
                    <a:pt x="189" y="129"/>
                  </a:cubicBezTo>
                  <a:cubicBezTo>
                    <a:pt x="190" y="128"/>
                    <a:pt x="190" y="127"/>
                    <a:pt x="191" y="126"/>
                  </a:cubicBezTo>
                  <a:cubicBezTo>
                    <a:pt x="191" y="126"/>
                    <a:pt x="191" y="125"/>
                    <a:pt x="191" y="125"/>
                  </a:cubicBezTo>
                  <a:cubicBezTo>
                    <a:pt x="191" y="124"/>
                    <a:pt x="191" y="124"/>
                    <a:pt x="191" y="124"/>
                  </a:cubicBezTo>
                  <a:cubicBezTo>
                    <a:pt x="191" y="123"/>
                    <a:pt x="191" y="123"/>
                    <a:pt x="191" y="123"/>
                  </a:cubicBezTo>
                  <a:cubicBezTo>
                    <a:pt x="192" y="120"/>
                    <a:pt x="193" y="118"/>
                    <a:pt x="193" y="115"/>
                  </a:cubicBezTo>
                  <a:cubicBezTo>
                    <a:pt x="193" y="114"/>
                    <a:pt x="193" y="114"/>
                    <a:pt x="193" y="114"/>
                  </a:cubicBezTo>
                  <a:cubicBezTo>
                    <a:pt x="194" y="112"/>
                    <a:pt x="195" y="111"/>
                    <a:pt x="196" y="110"/>
                  </a:cubicBezTo>
                  <a:cubicBezTo>
                    <a:pt x="198" y="109"/>
                    <a:pt x="198" y="109"/>
                    <a:pt x="198" y="109"/>
                  </a:cubicBezTo>
                  <a:cubicBezTo>
                    <a:pt x="198" y="109"/>
                    <a:pt x="199" y="108"/>
                    <a:pt x="199" y="108"/>
                  </a:cubicBezTo>
                  <a:cubicBezTo>
                    <a:pt x="201" y="107"/>
                    <a:pt x="203" y="106"/>
                    <a:pt x="205" y="104"/>
                  </a:cubicBezTo>
                  <a:cubicBezTo>
                    <a:pt x="206" y="103"/>
                    <a:pt x="208" y="102"/>
                    <a:pt x="210" y="101"/>
                  </a:cubicBezTo>
                  <a:cubicBezTo>
                    <a:pt x="215" y="98"/>
                    <a:pt x="220" y="96"/>
                    <a:pt x="224" y="95"/>
                  </a:cubicBezTo>
                  <a:cubicBezTo>
                    <a:pt x="224" y="95"/>
                    <a:pt x="224" y="95"/>
                    <a:pt x="224" y="95"/>
                  </a:cubicBezTo>
                  <a:cubicBezTo>
                    <a:pt x="225" y="95"/>
                    <a:pt x="226" y="95"/>
                    <a:pt x="226" y="95"/>
                  </a:cubicBezTo>
                  <a:cubicBezTo>
                    <a:pt x="227" y="95"/>
                    <a:pt x="227" y="95"/>
                    <a:pt x="227" y="95"/>
                  </a:cubicBezTo>
                  <a:cubicBezTo>
                    <a:pt x="230" y="94"/>
                    <a:pt x="233" y="93"/>
                    <a:pt x="235" y="93"/>
                  </a:cubicBezTo>
                  <a:cubicBezTo>
                    <a:pt x="237" y="93"/>
                    <a:pt x="237" y="93"/>
                    <a:pt x="237" y="93"/>
                  </a:cubicBezTo>
                  <a:cubicBezTo>
                    <a:pt x="238" y="93"/>
                    <a:pt x="239" y="93"/>
                    <a:pt x="239" y="93"/>
                  </a:cubicBezTo>
                  <a:cubicBezTo>
                    <a:pt x="239" y="93"/>
                    <a:pt x="240" y="93"/>
                    <a:pt x="240" y="93"/>
                  </a:cubicBezTo>
                  <a:cubicBezTo>
                    <a:pt x="240" y="93"/>
                    <a:pt x="241" y="92"/>
                    <a:pt x="241" y="92"/>
                  </a:cubicBezTo>
                  <a:cubicBezTo>
                    <a:pt x="242" y="91"/>
                    <a:pt x="242" y="91"/>
                    <a:pt x="242" y="91"/>
                  </a:cubicBezTo>
                  <a:cubicBezTo>
                    <a:pt x="243" y="89"/>
                    <a:pt x="245" y="89"/>
                    <a:pt x="246" y="88"/>
                  </a:cubicBezTo>
                  <a:cubicBezTo>
                    <a:pt x="246" y="88"/>
                    <a:pt x="246" y="88"/>
                    <a:pt x="246" y="88"/>
                  </a:cubicBezTo>
                  <a:cubicBezTo>
                    <a:pt x="247" y="88"/>
                    <a:pt x="247" y="88"/>
                    <a:pt x="247" y="88"/>
                  </a:cubicBezTo>
                  <a:cubicBezTo>
                    <a:pt x="248" y="87"/>
                    <a:pt x="248" y="87"/>
                    <a:pt x="249" y="87"/>
                  </a:cubicBezTo>
                  <a:cubicBezTo>
                    <a:pt x="249" y="86"/>
                    <a:pt x="249" y="86"/>
                    <a:pt x="249" y="86"/>
                  </a:cubicBezTo>
                  <a:cubicBezTo>
                    <a:pt x="248" y="86"/>
                    <a:pt x="248" y="86"/>
                    <a:pt x="248" y="86"/>
                  </a:cubicBezTo>
                  <a:cubicBezTo>
                    <a:pt x="246" y="85"/>
                    <a:pt x="245" y="84"/>
                    <a:pt x="245" y="83"/>
                  </a:cubicBezTo>
                  <a:cubicBezTo>
                    <a:pt x="245" y="81"/>
                    <a:pt x="245" y="79"/>
                    <a:pt x="246" y="77"/>
                  </a:cubicBezTo>
                  <a:cubicBezTo>
                    <a:pt x="247" y="75"/>
                    <a:pt x="247" y="75"/>
                    <a:pt x="247" y="75"/>
                  </a:cubicBezTo>
                  <a:cubicBezTo>
                    <a:pt x="249" y="73"/>
                    <a:pt x="250" y="71"/>
                    <a:pt x="251" y="69"/>
                  </a:cubicBezTo>
                  <a:cubicBezTo>
                    <a:pt x="252" y="68"/>
                    <a:pt x="252" y="68"/>
                    <a:pt x="252" y="68"/>
                  </a:cubicBezTo>
                  <a:cubicBezTo>
                    <a:pt x="254" y="65"/>
                    <a:pt x="256" y="62"/>
                    <a:pt x="258" y="59"/>
                  </a:cubicBezTo>
                  <a:cubicBezTo>
                    <a:pt x="258" y="58"/>
                    <a:pt x="258" y="57"/>
                    <a:pt x="258" y="57"/>
                  </a:cubicBezTo>
                  <a:cubicBezTo>
                    <a:pt x="258" y="57"/>
                    <a:pt x="258" y="57"/>
                    <a:pt x="258" y="57"/>
                  </a:cubicBezTo>
                  <a:cubicBezTo>
                    <a:pt x="258" y="57"/>
                    <a:pt x="257" y="56"/>
                    <a:pt x="257" y="56"/>
                  </a:cubicBezTo>
                  <a:cubicBezTo>
                    <a:pt x="255" y="55"/>
                    <a:pt x="255" y="55"/>
                    <a:pt x="255" y="55"/>
                  </a:cubicBezTo>
                  <a:cubicBezTo>
                    <a:pt x="254" y="55"/>
                    <a:pt x="254" y="55"/>
                    <a:pt x="254" y="55"/>
                  </a:cubicBezTo>
                  <a:cubicBezTo>
                    <a:pt x="253" y="55"/>
                    <a:pt x="253" y="55"/>
                    <a:pt x="252" y="54"/>
                  </a:cubicBezTo>
                  <a:cubicBezTo>
                    <a:pt x="252" y="54"/>
                    <a:pt x="252" y="54"/>
                    <a:pt x="252" y="54"/>
                  </a:cubicBezTo>
                  <a:cubicBezTo>
                    <a:pt x="249" y="53"/>
                    <a:pt x="247" y="53"/>
                    <a:pt x="246" y="52"/>
                  </a:cubicBezTo>
                  <a:cubicBezTo>
                    <a:pt x="245" y="51"/>
                    <a:pt x="245" y="51"/>
                    <a:pt x="244" y="51"/>
                  </a:cubicBezTo>
                  <a:cubicBezTo>
                    <a:pt x="243" y="50"/>
                    <a:pt x="243" y="50"/>
                    <a:pt x="242" y="50"/>
                  </a:cubicBezTo>
                  <a:cubicBezTo>
                    <a:pt x="242" y="50"/>
                    <a:pt x="242" y="50"/>
                    <a:pt x="242" y="50"/>
                  </a:cubicBezTo>
                  <a:cubicBezTo>
                    <a:pt x="242" y="50"/>
                    <a:pt x="242" y="50"/>
                    <a:pt x="242" y="50"/>
                  </a:cubicBezTo>
                  <a:cubicBezTo>
                    <a:pt x="241" y="50"/>
                    <a:pt x="240" y="50"/>
                    <a:pt x="240" y="50"/>
                  </a:cubicBezTo>
                  <a:cubicBezTo>
                    <a:pt x="239" y="51"/>
                    <a:pt x="239" y="51"/>
                    <a:pt x="239" y="51"/>
                  </a:cubicBezTo>
                  <a:cubicBezTo>
                    <a:pt x="239" y="50"/>
                    <a:pt x="239" y="50"/>
                    <a:pt x="239" y="50"/>
                  </a:cubicBezTo>
                  <a:cubicBezTo>
                    <a:pt x="238" y="50"/>
                    <a:pt x="238" y="50"/>
                    <a:pt x="238" y="50"/>
                  </a:cubicBezTo>
                  <a:cubicBezTo>
                    <a:pt x="238" y="51"/>
                    <a:pt x="238" y="51"/>
                    <a:pt x="238" y="51"/>
                  </a:cubicBezTo>
                  <a:cubicBezTo>
                    <a:pt x="237" y="51"/>
                    <a:pt x="237" y="51"/>
                    <a:pt x="236" y="52"/>
                  </a:cubicBezTo>
                  <a:cubicBezTo>
                    <a:pt x="235" y="52"/>
                    <a:pt x="234" y="52"/>
                    <a:pt x="233" y="52"/>
                  </a:cubicBezTo>
                  <a:cubicBezTo>
                    <a:pt x="232" y="52"/>
                    <a:pt x="232" y="52"/>
                    <a:pt x="232" y="52"/>
                  </a:cubicBezTo>
                  <a:cubicBezTo>
                    <a:pt x="231" y="52"/>
                    <a:pt x="231" y="52"/>
                    <a:pt x="231" y="52"/>
                  </a:cubicBezTo>
                  <a:cubicBezTo>
                    <a:pt x="228" y="52"/>
                    <a:pt x="226" y="51"/>
                    <a:pt x="225" y="50"/>
                  </a:cubicBezTo>
                  <a:cubicBezTo>
                    <a:pt x="224" y="50"/>
                    <a:pt x="224" y="50"/>
                    <a:pt x="224" y="50"/>
                  </a:cubicBezTo>
                  <a:cubicBezTo>
                    <a:pt x="223" y="50"/>
                    <a:pt x="223" y="49"/>
                    <a:pt x="223" y="49"/>
                  </a:cubicBezTo>
                  <a:cubicBezTo>
                    <a:pt x="222" y="50"/>
                    <a:pt x="222" y="50"/>
                    <a:pt x="222" y="50"/>
                  </a:cubicBezTo>
                  <a:cubicBezTo>
                    <a:pt x="220" y="52"/>
                    <a:pt x="219" y="52"/>
                    <a:pt x="218" y="52"/>
                  </a:cubicBezTo>
                  <a:cubicBezTo>
                    <a:pt x="217" y="52"/>
                    <a:pt x="217" y="52"/>
                    <a:pt x="217" y="52"/>
                  </a:cubicBezTo>
                  <a:cubicBezTo>
                    <a:pt x="217" y="53"/>
                    <a:pt x="216" y="53"/>
                    <a:pt x="216" y="54"/>
                  </a:cubicBezTo>
                  <a:cubicBezTo>
                    <a:pt x="215" y="54"/>
                    <a:pt x="214" y="54"/>
                    <a:pt x="214" y="54"/>
                  </a:cubicBezTo>
                  <a:cubicBezTo>
                    <a:pt x="213" y="54"/>
                    <a:pt x="213" y="54"/>
                    <a:pt x="213" y="54"/>
                  </a:cubicBezTo>
                  <a:cubicBezTo>
                    <a:pt x="213" y="54"/>
                    <a:pt x="213" y="54"/>
                    <a:pt x="213" y="54"/>
                  </a:cubicBezTo>
                  <a:cubicBezTo>
                    <a:pt x="212" y="55"/>
                    <a:pt x="211" y="55"/>
                    <a:pt x="210" y="55"/>
                  </a:cubicBezTo>
                  <a:cubicBezTo>
                    <a:pt x="210" y="55"/>
                    <a:pt x="210" y="55"/>
                    <a:pt x="210" y="55"/>
                  </a:cubicBezTo>
                  <a:cubicBezTo>
                    <a:pt x="210" y="55"/>
                    <a:pt x="209" y="55"/>
                    <a:pt x="208" y="55"/>
                  </a:cubicBezTo>
                  <a:cubicBezTo>
                    <a:pt x="208" y="54"/>
                    <a:pt x="208" y="54"/>
                    <a:pt x="208" y="54"/>
                  </a:cubicBezTo>
                  <a:cubicBezTo>
                    <a:pt x="207" y="54"/>
                    <a:pt x="207" y="54"/>
                    <a:pt x="207" y="54"/>
                  </a:cubicBezTo>
                  <a:cubicBezTo>
                    <a:pt x="206" y="54"/>
                    <a:pt x="206" y="54"/>
                    <a:pt x="206" y="54"/>
                  </a:cubicBezTo>
                  <a:cubicBezTo>
                    <a:pt x="205" y="54"/>
                    <a:pt x="205" y="53"/>
                    <a:pt x="204" y="53"/>
                  </a:cubicBezTo>
                  <a:cubicBezTo>
                    <a:pt x="204" y="53"/>
                    <a:pt x="204" y="53"/>
                    <a:pt x="204" y="53"/>
                  </a:cubicBezTo>
                  <a:cubicBezTo>
                    <a:pt x="204" y="54"/>
                    <a:pt x="203" y="54"/>
                    <a:pt x="202" y="55"/>
                  </a:cubicBezTo>
                  <a:cubicBezTo>
                    <a:pt x="201" y="55"/>
                    <a:pt x="201" y="55"/>
                    <a:pt x="199" y="55"/>
                  </a:cubicBezTo>
                  <a:cubicBezTo>
                    <a:pt x="198" y="55"/>
                    <a:pt x="197" y="55"/>
                    <a:pt x="197" y="55"/>
                  </a:cubicBezTo>
                  <a:cubicBezTo>
                    <a:pt x="191" y="54"/>
                    <a:pt x="190" y="49"/>
                    <a:pt x="189" y="45"/>
                  </a:cubicBezTo>
                  <a:cubicBezTo>
                    <a:pt x="189" y="44"/>
                    <a:pt x="189" y="44"/>
                    <a:pt x="189" y="44"/>
                  </a:cubicBezTo>
                  <a:cubicBezTo>
                    <a:pt x="189" y="44"/>
                    <a:pt x="189" y="43"/>
                    <a:pt x="189" y="43"/>
                  </a:cubicBezTo>
                  <a:cubicBezTo>
                    <a:pt x="189" y="42"/>
                    <a:pt x="189" y="42"/>
                    <a:pt x="189" y="42"/>
                  </a:cubicBezTo>
                  <a:cubicBezTo>
                    <a:pt x="189" y="41"/>
                    <a:pt x="189" y="41"/>
                    <a:pt x="189" y="41"/>
                  </a:cubicBezTo>
                  <a:cubicBezTo>
                    <a:pt x="189" y="41"/>
                    <a:pt x="189" y="41"/>
                    <a:pt x="189" y="41"/>
                  </a:cubicBezTo>
                  <a:cubicBezTo>
                    <a:pt x="188" y="40"/>
                    <a:pt x="188" y="40"/>
                    <a:pt x="188" y="40"/>
                  </a:cubicBezTo>
                  <a:cubicBezTo>
                    <a:pt x="188" y="40"/>
                    <a:pt x="188" y="40"/>
                    <a:pt x="188" y="40"/>
                  </a:cubicBezTo>
                  <a:cubicBezTo>
                    <a:pt x="188" y="40"/>
                    <a:pt x="188" y="40"/>
                    <a:pt x="188" y="40"/>
                  </a:cubicBezTo>
                  <a:cubicBezTo>
                    <a:pt x="187" y="40"/>
                    <a:pt x="187" y="40"/>
                    <a:pt x="187" y="40"/>
                  </a:cubicBezTo>
                  <a:cubicBezTo>
                    <a:pt x="186" y="40"/>
                    <a:pt x="186" y="40"/>
                    <a:pt x="186" y="40"/>
                  </a:cubicBezTo>
                  <a:cubicBezTo>
                    <a:pt x="185" y="40"/>
                    <a:pt x="185" y="40"/>
                    <a:pt x="185" y="40"/>
                  </a:cubicBezTo>
                  <a:cubicBezTo>
                    <a:pt x="185" y="40"/>
                    <a:pt x="185" y="40"/>
                    <a:pt x="185" y="40"/>
                  </a:cubicBezTo>
                  <a:cubicBezTo>
                    <a:pt x="183" y="46"/>
                    <a:pt x="183" y="46"/>
                    <a:pt x="183" y="46"/>
                  </a:cubicBezTo>
                  <a:cubicBezTo>
                    <a:pt x="183" y="40"/>
                    <a:pt x="183" y="40"/>
                    <a:pt x="183" y="40"/>
                  </a:cubicBezTo>
                  <a:cubicBezTo>
                    <a:pt x="182" y="39"/>
                    <a:pt x="182" y="39"/>
                    <a:pt x="182" y="39"/>
                  </a:cubicBezTo>
                  <a:cubicBezTo>
                    <a:pt x="182" y="39"/>
                    <a:pt x="182" y="39"/>
                    <a:pt x="182" y="39"/>
                  </a:cubicBezTo>
                  <a:cubicBezTo>
                    <a:pt x="182" y="39"/>
                    <a:pt x="181" y="39"/>
                    <a:pt x="181" y="38"/>
                  </a:cubicBezTo>
                  <a:cubicBezTo>
                    <a:pt x="180" y="37"/>
                    <a:pt x="180" y="37"/>
                    <a:pt x="180" y="37"/>
                  </a:cubicBezTo>
                  <a:cubicBezTo>
                    <a:pt x="180" y="37"/>
                    <a:pt x="180" y="37"/>
                    <a:pt x="180" y="37"/>
                  </a:cubicBezTo>
                  <a:cubicBezTo>
                    <a:pt x="179" y="35"/>
                    <a:pt x="179" y="33"/>
                    <a:pt x="179" y="32"/>
                  </a:cubicBezTo>
                  <a:cubicBezTo>
                    <a:pt x="179" y="32"/>
                    <a:pt x="179" y="32"/>
                    <a:pt x="179" y="32"/>
                  </a:cubicBezTo>
                  <a:cubicBezTo>
                    <a:pt x="180" y="31"/>
                    <a:pt x="180" y="31"/>
                    <a:pt x="180" y="31"/>
                  </a:cubicBezTo>
                  <a:cubicBezTo>
                    <a:pt x="179" y="30"/>
                    <a:pt x="179" y="30"/>
                    <a:pt x="179" y="30"/>
                  </a:cubicBezTo>
                  <a:cubicBezTo>
                    <a:pt x="179" y="29"/>
                    <a:pt x="178" y="29"/>
                    <a:pt x="178" y="29"/>
                  </a:cubicBezTo>
                  <a:cubicBezTo>
                    <a:pt x="178" y="28"/>
                    <a:pt x="178" y="28"/>
                    <a:pt x="178" y="28"/>
                  </a:cubicBezTo>
                  <a:cubicBezTo>
                    <a:pt x="177" y="28"/>
                    <a:pt x="176" y="27"/>
                    <a:pt x="175" y="27"/>
                  </a:cubicBezTo>
                  <a:cubicBezTo>
                    <a:pt x="174" y="26"/>
                    <a:pt x="172" y="26"/>
                    <a:pt x="171" y="25"/>
                  </a:cubicBezTo>
                  <a:cubicBezTo>
                    <a:pt x="171" y="25"/>
                    <a:pt x="170" y="24"/>
                    <a:pt x="169" y="23"/>
                  </a:cubicBezTo>
                  <a:cubicBezTo>
                    <a:pt x="168" y="23"/>
                    <a:pt x="168" y="22"/>
                    <a:pt x="167" y="22"/>
                  </a:cubicBezTo>
                  <a:cubicBezTo>
                    <a:pt x="166" y="22"/>
                    <a:pt x="166" y="22"/>
                    <a:pt x="166" y="22"/>
                  </a:cubicBezTo>
                  <a:cubicBezTo>
                    <a:pt x="165" y="21"/>
                    <a:pt x="164" y="21"/>
                    <a:pt x="163" y="20"/>
                  </a:cubicBezTo>
                  <a:cubicBezTo>
                    <a:pt x="161" y="19"/>
                    <a:pt x="160" y="15"/>
                    <a:pt x="159" y="12"/>
                  </a:cubicBezTo>
                  <a:cubicBezTo>
                    <a:pt x="159" y="12"/>
                    <a:pt x="159" y="11"/>
                    <a:pt x="159" y="10"/>
                  </a:cubicBezTo>
                  <a:cubicBezTo>
                    <a:pt x="159" y="9"/>
                    <a:pt x="159" y="9"/>
                    <a:pt x="159" y="9"/>
                  </a:cubicBezTo>
                  <a:cubicBezTo>
                    <a:pt x="158" y="9"/>
                    <a:pt x="157" y="7"/>
                    <a:pt x="154" y="4"/>
                  </a:cubicBezTo>
                  <a:cubicBezTo>
                    <a:pt x="153" y="3"/>
                    <a:pt x="153" y="3"/>
                    <a:pt x="153" y="3"/>
                  </a:cubicBezTo>
                  <a:cubicBezTo>
                    <a:pt x="152" y="2"/>
                    <a:pt x="150" y="2"/>
                    <a:pt x="150" y="1"/>
                  </a:cubicBezTo>
                  <a:cubicBezTo>
                    <a:pt x="149" y="1"/>
                    <a:pt x="149" y="1"/>
                    <a:pt x="149" y="1"/>
                  </a:cubicBezTo>
                  <a:cubicBezTo>
                    <a:pt x="149" y="1"/>
                    <a:pt x="149" y="1"/>
                    <a:pt x="149" y="1"/>
                  </a:cubicBezTo>
                  <a:cubicBezTo>
                    <a:pt x="149" y="1"/>
                    <a:pt x="149" y="1"/>
                    <a:pt x="149" y="1"/>
                  </a:cubicBezTo>
                  <a:cubicBezTo>
                    <a:pt x="148" y="0"/>
                    <a:pt x="148" y="0"/>
                    <a:pt x="148" y="0"/>
                  </a:cubicBezTo>
                  <a:cubicBezTo>
                    <a:pt x="148"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246"/>
            <p:cNvSpPr>
              <a:spLocks noEditPoints="1"/>
            </p:cNvSpPr>
            <p:nvPr/>
          </p:nvSpPr>
          <p:spPr bwMode="auto">
            <a:xfrm>
              <a:off x="7944923" y="3385220"/>
              <a:ext cx="668004" cy="3252466"/>
            </a:xfrm>
            <a:custGeom>
              <a:gdLst>
                <a:gd name="T0" fmla="*/ 76 w 200"/>
                <a:gd name="T1" fmla="*/ 913 h 974"/>
                <a:gd name="T2" fmla="*/ 58 w 200"/>
                <a:gd name="T3" fmla="*/ 920 h 974"/>
                <a:gd name="T4" fmla="*/ 64 w 200"/>
                <a:gd name="T5" fmla="*/ 907 h 974"/>
                <a:gd name="T6" fmla="*/ 125 w 200"/>
                <a:gd name="T7" fmla="*/ 21 h 974"/>
                <a:gd name="T8" fmla="*/ 114 w 200"/>
                <a:gd name="T9" fmla="*/ 226 h 974"/>
                <a:gd name="T10" fmla="*/ 98 w 200"/>
                <a:gd name="T11" fmla="*/ 360 h 974"/>
                <a:gd name="T12" fmla="*/ 53 w 200"/>
                <a:gd name="T13" fmla="*/ 491 h 974"/>
                <a:gd name="T14" fmla="*/ 47 w 200"/>
                <a:gd name="T15" fmla="*/ 615 h 974"/>
                <a:gd name="T16" fmla="*/ 76 w 200"/>
                <a:gd name="T17" fmla="*/ 631 h 974"/>
                <a:gd name="T18" fmla="*/ 68 w 200"/>
                <a:gd name="T19" fmla="*/ 673 h 974"/>
                <a:gd name="T20" fmla="*/ 55 w 200"/>
                <a:gd name="T21" fmla="*/ 715 h 974"/>
                <a:gd name="T22" fmla="*/ 52 w 200"/>
                <a:gd name="T23" fmla="*/ 730 h 974"/>
                <a:gd name="T24" fmla="*/ 41 w 200"/>
                <a:gd name="T25" fmla="*/ 744 h 974"/>
                <a:gd name="T26" fmla="*/ 34 w 200"/>
                <a:gd name="T27" fmla="*/ 730 h 974"/>
                <a:gd name="T28" fmla="*/ 24 w 200"/>
                <a:gd name="T29" fmla="*/ 733 h 974"/>
                <a:gd name="T30" fmla="*/ 1 w 200"/>
                <a:gd name="T31" fmla="*/ 758 h 974"/>
                <a:gd name="T32" fmla="*/ 21 w 200"/>
                <a:gd name="T33" fmla="*/ 759 h 974"/>
                <a:gd name="T34" fmla="*/ 42 w 200"/>
                <a:gd name="T35" fmla="*/ 772 h 974"/>
                <a:gd name="T36" fmla="*/ 37 w 200"/>
                <a:gd name="T37" fmla="*/ 783 h 974"/>
                <a:gd name="T38" fmla="*/ 30 w 200"/>
                <a:gd name="T39" fmla="*/ 787 h 974"/>
                <a:gd name="T40" fmla="*/ 53 w 200"/>
                <a:gd name="T41" fmla="*/ 799 h 974"/>
                <a:gd name="T42" fmla="*/ 35 w 200"/>
                <a:gd name="T43" fmla="*/ 804 h 974"/>
                <a:gd name="T44" fmla="*/ 36 w 200"/>
                <a:gd name="T45" fmla="*/ 815 h 974"/>
                <a:gd name="T46" fmla="*/ 40 w 200"/>
                <a:gd name="T47" fmla="*/ 828 h 974"/>
                <a:gd name="T48" fmla="*/ 35 w 200"/>
                <a:gd name="T49" fmla="*/ 846 h 974"/>
                <a:gd name="T50" fmla="*/ 34 w 200"/>
                <a:gd name="T51" fmla="*/ 855 h 974"/>
                <a:gd name="T52" fmla="*/ 25 w 200"/>
                <a:gd name="T53" fmla="*/ 860 h 974"/>
                <a:gd name="T54" fmla="*/ 53 w 200"/>
                <a:gd name="T55" fmla="*/ 874 h 974"/>
                <a:gd name="T56" fmla="*/ 47 w 200"/>
                <a:gd name="T57" fmla="*/ 890 h 974"/>
                <a:gd name="T58" fmla="*/ 50 w 200"/>
                <a:gd name="T59" fmla="*/ 906 h 974"/>
                <a:gd name="T60" fmla="*/ 50 w 200"/>
                <a:gd name="T61" fmla="*/ 935 h 974"/>
                <a:gd name="T62" fmla="*/ 61 w 200"/>
                <a:gd name="T63" fmla="*/ 950 h 974"/>
                <a:gd name="T64" fmla="*/ 78 w 200"/>
                <a:gd name="T65" fmla="*/ 941 h 974"/>
                <a:gd name="T66" fmla="*/ 66 w 200"/>
                <a:gd name="T67" fmla="*/ 958 h 974"/>
                <a:gd name="T68" fmla="*/ 78 w 200"/>
                <a:gd name="T69" fmla="*/ 949 h 974"/>
                <a:gd name="T70" fmla="*/ 88 w 200"/>
                <a:gd name="T71" fmla="*/ 964 h 974"/>
                <a:gd name="T72" fmla="*/ 104 w 200"/>
                <a:gd name="T73" fmla="*/ 974 h 974"/>
                <a:gd name="T74" fmla="*/ 134 w 200"/>
                <a:gd name="T75" fmla="*/ 918 h 974"/>
                <a:gd name="T76" fmla="*/ 77 w 200"/>
                <a:gd name="T77" fmla="*/ 896 h 974"/>
                <a:gd name="T78" fmla="*/ 70 w 200"/>
                <a:gd name="T79" fmla="*/ 876 h 974"/>
                <a:gd name="T80" fmla="*/ 57 w 200"/>
                <a:gd name="T81" fmla="*/ 876 h 974"/>
                <a:gd name="T82" fmla="*/ 49 w 200"/>
                <a:gd name="T83" fmla="*/ 856 h 974"/>
                <a:gd name="T84" fmla="*/ 65 w 200"/>
                <a:gd name="T85" fmla="*/ 822 h 974"/>
                <a:gd name="T86" fmla="*/ 74 w 200"/>
                <a:gd name="T87" fmla="*/ 795 h 974"/>
                <a:gd name="T88" fmla="*/ 91 w 200"/>
                <a:gd name="T89" fmla="*/ 752 h 974"/>
                <a:gd name="T90" fmla="*/ 95 w 200"/>
                <a:gd name="T91" fmla="*/ 720 h 974"/>
                <a:gd name="T92" fmla="*/ 89 w 200"/>
                <a:gd name="T93" fmla="*/ 708 h 974"/>
                <a:gd name="T94" fmla="*/ 98 w 200"/>
                <a:gd name="T95" fmla="*/ 692 h 974"/>
                <a:gd name="T96" fmla="*/ 89 w 200"/>
                <a:gd name="T97" fmla="*/ 657 h 974"/>
                <a:gd name="T98" fmla="*/ 89 w 200"/>
                <a:gd name="T99" fmla="*/ 620 h 974"/>
                <a:gd name="T100" fmla="*/ 93 w 200"/>
                <a:gd name="T101" fmla="*/ 566 h 974"/>
                <a:gd name="T102" fmla="*/ 110 w 200"/>
                <a:gd name="T103" fmla="*/ 525 h 974"/>
                <a:gd name="T104" fmla="*/ 118 w 200"/>
                <a:gd name="T105" fmla="*/ 462 h 974"/>
                <a:gd name="T106" fmla="*/ 125 w 200"/>
                <a:gd name="T107" fmla="*/ 426 h 974"/>
                <a:gd name="T108" fmla="*/ 126 w 200"/>
                <a:gd name="T109" fmla="*/ 365 h 974"/>
                <a:gd name="T110" fmla="*/ 125 w 200"/>
                <a:gd name="T111" fmla="*/ 327 h 974"/>
                <a:gd name="T112" fmla="*/ 132 w 200"/>
                <a:gd name="T113" fmla="*/ 283 h 974"/>
                <a:gd name="T114" fmla="*/ 169 w 200"/>
                <a:gd name="T115" fmla="*/ 227 h 974"/>
                <a:gd name="T116" fmla="*/ 189 w 200"/>
                <a:gd name="T117" fmla="*/ 154 h 974"/>
                <a:gd name="T118" fmla="*/ 181 w 200"/>
                <a:gd name="T119" fmla="*/ 126 h 974"/>
                <a:gd name="T120" fmla="*/ 173 w 200"/>
                <a:gd name="T121" fmla="*/ 88 h 974"/>
                <a:gd name="T122" fmla="*/ 164 w 200"/>
                <a:gd name="T123" fmla="*/ 55 h 974"/>
                <a:gd name="T124" fmla="*/ 151 w 200"/>
                <a:gd name="T125" fmla="*/ 10 h 9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974">
                  <a:moveTo>
                    <a:pt x="87" y="969"/>
                  </a:moveTo>
                  <a:cubicBezTo>
                    <a:pt x="87" y="969"/>
                    <a:pt x="87" y="969"/>
                    <a:pt x="87" y="969"/>
                  </a:cubicBezTo>
                  <a:cubicBezTo>
                    <a:pt x="87" y="969"/>
                    <a:pt x="87" y="969"/>
                    <a:pt x="87" y="969"/>
                  </a:cubicBezTo>
                  <a:moveTo>
                    <a:pt x="43" y="880"/>
                  </a:moveTo>
                  <a:cubicBezTo>
                    <a:pt x="43" y="880"/>
                    <a:pt x="43" y="880"/>
                    <a:pt x="43" y="880"/>
                  </a:cubicBezTo>
                  <a:cubicBezTo>
                    <a:pt x="43" y="880"/>
                    <a:pt x="43" y="880"/>
                    <a:pt x="43" y="880"/>
                  </a:cubicBezTo>
                  <a:moveTo>
                    <a:pt x="71" y="910"/>
                  </a:moveTo>
                  <a:cubicBezTo>
                    <a:pt x="73" y="910"/>
                    <a:pt x="75" y="908"/>
                    <a:pt x="74" y="907"/>
                  </a:cubicBezTo>
                  <a:cubicBezTo>
                    <a:pt x="73" y="906"/>
                    <a:pt x="72" y="906"/>
                    <a:pt x="71" y="906"/>
                  </a:cubicBezTo>
                  <a:cubicBezTo>
                    <a:pt x="71" y="905"/>
                    <a:pt x="71" y="904"/>
                    <a:pt x="70" y="904"/>
                  </a:cubicBezTo>
                  <a:cubicBezTo>
                    <a:pt x="69" y="903"/>
                    <a:pt x="68" y="903"/>
                    <a:pt x="67" y="902"/>
                  </a:cubicBezTo>
                  <a:cubicBezTo>
                    <a:pt x="63" y="901"/>
                    <a:pt x="62" y="900"/>
                    <a:pt x="58" y="899"/>
                  </a:cubicBezTo>
                  <a:cubicBezTo>
                    <a:pt x="59" y="898"/>
                    <a:pt x="60" y="898"/>
                    <a:pt x="61" y="898"/>
                  </a:cubicBezTo>
                  <a:cubicBezTo>
                    <a:pt x="62" y="898"/>
                    <a:pt x="63" y="899"/>
                    <a:pt x="65" y="900"/>
                  </a:cubicBezTo>
                  <a:cubicBezTo>
                    <a:pt x="68" y="902"/>
                    <a:pt x="71" y="902"/>
                    <a:pt x="74" y="906"/>
                  </a:cubicBezTo>
                  <a:cubicBezTo>
                    <a:pt x="76" y="908"/>
                    <a:pt x="78" y="911"/>
                    <a:pt x="76" y="913"/>
                  </a:cubicBezTo>
                  <a:cubicBezTo>
                    <a:pt x="75" y="915"/>
                    <a:pt x="74" y="913"/>
                    <a:pt x="72" y="916"/>
                  </a:cubicBezTo>
                  <a:cubicBezTo>
                    <a:pt x="72" y="918"/>
                    <a:pt x="77" y="920"/>
                    <a:pt x="76" y="923"/>
                  </a:cubicBezTo>
                  <a:cubicBezTo>
                    <a:pt x="76" y="927"/>
                    <a:pt x="69" y="928"/>
                    <a:pt x="66" y="929"/>
                  </a:cubicBezTo>
                  <a:cubicBezTo>
                    <a:pt x="69" y="928"/>
                    <a:pt x="76" y="925"/>
                    <a:pt x="75" y="921"/>
                  </a:cubicBezTo>
                  <a:cubicBezTo>
                    <a:pt x="74" y="918"/>
                    <a:pt x="72" y="918"/>
                    <a:pt x="72" y="916"/>
                  </a:cubicBezTo>
                  <a:cubicBezTo>
                    <a:pt x="71" y="914"/>
                    <a:pt x="70" y="913"/>
                    <a:pt x="69" y="913"/>
                  </a:cubicBezTo>
                  <a:cubicBezTo>
                    <a:pt x="67" y="913"/>
                    <a:pt x="65" y="918"/>
                    <a:pt x="66" y="921"/>
                  </a:cubicBezTo>
                  <a:cubicBezTo>
                    <a:pt x="67" y="920"/>
                    <a:pt x="68" y="918"/>
                    <a:pt x="70" y="917"/>
                  </a:cubicBezTo>
                  <a:cubicBezTo>
                    <a:pt x="70" y="918"/>
                    <a:pt x="69" y="921"/>
                    <a:pt x="68" y="922"/>
                  </a:cubicBezTo>
                  <a:cubicBezTo>
                    <a:pt x="68" y="922"/>
                    <a:pt x="67" y="923"/>
                    <a:pt x="67" y="923"/>
                  </a:cubicBezTo>
                  <a:cubicBezTo>
                    <a:pt x="67" y="923"/>
                    <a:pt x="66" y="922"/>
                    <a:pt x="66" y="922"/>
                  </a:cubicBezTo>
                  <a:cubicBezTo>
                    <a:pt x="65" y="922"/>
                    <a:pt x="65" y="922"/>
                    <a:pt x="64" y="922"/>
                  </a:cubicBezTo>
                  <a:cubicBezTo>
                    <a:pt x="64" y="922"/>
                    <a:pt x="63" y="922"/>
                    <a:pt x="62" y="922"/>
                  </a:cubicBezTo>
                  <a:cubicBezTo>
                    <a:pt x="63" y="920"/>
                    <a:pt x="64" y="919"/>
                    <a:pt x="64" y="917"/>
                  </a:cubicBezTo>
                  <a:cubicBezTo>
                    <a:pt x="62" y="917"/>
                    <a:pt x="59" y="919"/>
                    <a:pt x="59" y="920"/>
                  </a:cubicBezTo>
                  <a:cubicBezTo>
                    <a:pt x="59" y="920"/>
                    <a:pt x="58" y="920"/>
                    <a:pt x="58" y="920"/>
                  </a:cubicBezTo>
                  <a:cubicBezTo>
                    <a:pt x="58" y="919"/>
                    <a:pt x="57" y="916"/>
                    <a:pt x="57" y="914"/>
                  </a:cubicBezTo>
                  <a:cubicBezTo>
                    <a:pt x="58" y="916"/>
                    <a:pt x="58" y="918"/>
                    <a:pt x="59" y="918"/>
                  </a:cubicBezTo>
                  <a:cubicBezTo>
                    <a:pt x="59" y="918"/>
                    <a:pt x="60" y="917"/>
                    <a:pt x="60" y="917"/>
                  </a:cubicBezTo>
                  <a:cubicBezTo>
                    <a:pt x="61" y="915"/>
                    <a:pt x="60" y="914"/>
                    <a:pt x="62" y="913"/>
                  </a:cubicBezTo>
                  <a:cubicBezTo>
                    <a:pt x="62" y="912"/>
                    <a:pt x="68" y="910"/>
                    <a:pt x="65" y="910"/>
                  </a:cubicBezTo>
                  <a:cubicBezTo>
                    <a:pt x="65" y="910"/>
                    <a:pt x="65" y="910"/>
                    <a:pt x="65" y="910"/>
                  </a:cubicBezTo>
                  <a:cubicBezTo>
                    <a:pt x="64" y="910"/>
                    <a:pt x="64" y="911"/>
                    <a:pt x="63" y="911"/>
                  </a:cubicBezTo>
                  <a:cubicBezTo>
                    <a:pt x="62" y="911"/>
                    <a:pt x="61" y="911"/>
                    <a:pt x="60" y="911"/>
                  </a:cubicBezTo>
                  <a:cubicBezTo>
                    <a:pt x="60" y="911"/>
                    <a:pt x="60" y="911"/>
                    <a:pt x="60" y="911"/>
                  </a:cubicBezTo>
                  <a:cubicBezTo>
                    <a:pt x="62" y="911"/>
                    <a:pt x="60" y="910"/>
                    <a:pt x="61" y="909"/>
                  </a:cubicBezTo>
                  <a:cubicBezTo>
                    <a:pt x="62" y="908"/>
                    <a:pt x="62" y="908"/>
                    <a:pt x="62" y="908"/>
                  </a:cubicBezTo>
                  <a:cubicBezTo>
                    <a:pt x="63" y="908"/>
                    <a:pt x="63" y="908"/>
                    <a:pt x="64" y="908"/>
                  </a:cubicBezTo>
                  <a:cubicBezTo>
                    <a:pt x="63" y="907"/>
                    <a:pt x="62" y="906"/>
                    <a:pt x="61" y="906"/>
                  </a:cubicBezTo>
                  <a:cubicBezTo>
                    <a:pt x="61" y="906"/>
                    <a:pt x="61" y="906"/>
                    <a:pt x="62" y="906"/>
                  </a:cubicBezTo>
                  <a:cubicBezTo>
                    <a:pt x="62" y="906"/>
                    <a:pt x="62" y="906"/>
                    <a:pt x="62" y="906"/>
                  </a:cubicBezTo>
                  <a:cubicBezTo>
                    <a:pt x="63" y="906"/>
                    <a:pt x="63" y="906"/>
                    <a:pt x="64" y="907"/>
                  </a:cubicBezTo>
                  <a:cubicBezTo>
                    <a:pt x="64" y="908"/>
                    <a:pt x="65" y="908"/>
                    <a:pt x="65" y="908"/>
                  </a:cubicBezTo>
                  <a:cubicBezTo>
                    <a:pt x="65" y="908"/>
                    <a:pt x="65" y="908"/>
                    <a:pt x="65" y="908"/>
                  </a:cubicBezTo>
                  <a:cubicBezTo>
                    <a:pt x="66" y="908"/>
                    <a:pt x="66" y="908"/>
                    <a:pt x="66" y="908"/>
                  </a:cubicBezTo>
                  <a:cubicBezTo>
                    <a:pt x="66" y="908"/>
                    <a:pt x="66" y="908"/>
                    <a:pt x="66" y="908"/>
                  </a:cubicBezTo>
                  <a:cubicBezTo>
                    <a:pt x="67" y="908"/>
                    <a:pt x="68" y="908"/>
                    <a:pt x="68" y="908"/>
                  </a:cubicBezTo>
                  <a:cubicBezTo>
                    <a:pt x="69" y="908"/>
                    <a:pt x="70" y="910"/>
                    <a:pt x="71" y="910"/>
                  </a:cubicBezTo>
                  <a:cubicBezTo>
                    <a:pt x="71" y="910"/>
                    <a:pt x="71" y="910"/>
                    <a:pt x="71" y="910"/>
                  </a:cubicBezTo>
                  <a:moveTo>
                    <a:pt x="144" y="0"/>
                  </a:moveTo>
                  <a:cubicBezTo>
                    <a:pt x="144" y="0"/>
                    <a:pt x="144" y="0"/>
                    <a:pt x="144" y="0"/>
                  </a:cubicBezTo>
                  <a:cubicBezTo>
                    <a:pt x="143" y="1"/>
                    <a:pt x="143" y="1"/>
                    <a:pt x="143" y="1"/>
                  </a:cubicBezTo>
                  <a:cubicBezTo>
                    <a:pt x="142" y="1"/>
                    <a:pt x="142" y="1"/>
                    <a:pt x="141" y="1"/>
                  </a:cubicBezTo>
                  <a:cubicBezTo>
                    <a:pt x="141" y="2"/>
                    <a:pt x="141" y="2"/>
                    <a:pt x="140" y="2"/>
                  </a:cubicBezTo>
                  <a:cubicBezTo>
                    <a:pt x="141" y="4"/>
                    <a:pt x="141" y="8"/>
                    <a:pt x="140" y="11"/>
                  </a:cubicBezTo>
                  <a:cubicBezTo>
                    <a:pt x="140" y="14"/>
                    <a:pt x="138" y="15"/>
                    <a:pt x="137" y="15"/>
                  </a:cubicBezTo>
                  <a:cubicBezTo>
                    <a:pt x="125" y="20"/>
                    <a:pt x="125" y="20"/>
                    <a:pt x="125" y="20"/>
                  </a:cubicBezTo>
                  <a:cubicBezTo>
                    <a:pt x="125" y="20"/>
                    <a:pt x="125" y="20"/>
                    <a:pt x="125" y="21"/>
                  </a:cubicBezTo>
                  <a:cubicBezTo>
                    <a:pt x="126" y="25"/>
                    <a:pt x="126" y="29"/>
                    <a:pt x="127" y="34"/>
                  </a:cubicBezTo>
                  <a:cubicBezTo>
                    <a:pt x="129" y="48"/>
                    <a:pt x="130" y="63"/>
                    <a:pt x="131" y="78"/>
                  </a:cubicBezTo>
                  <a:cubicBezTo>
                    <a:pt x="132" y="82"/>
                    <a:pt x="133" y="88"/>
                    <a:pt x="132" y="92"/>
                  </a:cubicBezTo>
                  <a:cubicBezTo>
                    <a:pt x="131" y="100"/>
                    <a:pt x="130" y="109"/>
                    <a:pt x="128" y="117"/>
                  </a:cubicBezTo>
                  <a:cubicBezTo>
                    <a:pt x="127" y="123"/>
                    <a:pt x="128" y="131"/>
                    <a:pt x="121" y="131"/>
                  </a:cubicBezTo>
                  <a:cubicBezTo>
                    <a:pt x="121" y="131"/>
                    <a:pt x="121" y="131"/>
                    <a:pt x="121" y="131"/>
                  </a:cubicBezTo>
                  <a:cubicBezTo>
                    <a:pt x="121" y="135"/>
                    <a:pt x="120" y="138"/>
                    <a:pt x="119" y="141"/>
                  </a:cubicBezTo>
                  <a:cubicBezTo>
                    <a:pt x="120" y="142"/>
                    <a:pt x="120" y="142"/>
                    <a:pt x="121" y="142"/>
                  </a:cubicBezTo>
                  <a:cubicBezTo>
                    <a:pt x="121" y="142"/>
                    <a:pt x="122" y="141"/>
                    <a:pt x="122" y="140"/>
                  </a:cubicBezTo>
                  <a:cubicBezTo>
                    <a:pt x="122" y="149"/>
                    <a:pt x="121" y="158"/>
                    <a:pt x="120" y="167"/>
                  </a:cubicBezTo>
                  <a:cubicBezTo>
                    <a:pt x="120" y="169"/>
                    <a:pt x="120" y="172"/>
                    <a:pt x="121" y="174"/>
                  </a:cubicBezTo>
                  <a:cubicBezTo>
                    <a:pt x="123" y="178"/>
                    <a:pt x="124" y="182"/>
                    <a:pt x="123" y="186"/>
                  </a:cubicBezTo>
                  <a:cubicBezTo>
                    <a:pt x="123" y="188"/>
                    <a:pt x="122" y="189"/>
                    <a:pt x="121" y="191"/>
                  </a:cubicBezTo>
                  <a:cubicBezTo>
                    <a:pt x="119" y="193"/>
                    <a:pt x="117" y="197"/>
                    <a:pt x="117" y="199"/>
                  </a:cubicBezTo>
                  <a:cubicBezTo>
                    <a:pt x="117" y="201"/>
                    <a:pt x="119" y="203"/>
                    <a:pt x="119" y="205"/>
                  </a:cubicBezTo>
                  <a:cubicBezTo>
                    <a:pt x="118" y="213"/>
                    <a:pt x="117" y="219"/>
                    <a:pt x="114" y="226"/>
                  </a:cubicBezTo>
                  <a:cubicBezTo>
                    <a:pt x="112" y="232"/>
                    <a:pt x="112" y="234"/>
                    <a:pt x="112" y="239"/>
                  </a:cubicBezTo>
                  <a:cubicBezTo>
                    <a:pt x="112" y="242"/>
                    <a:pt x="113" y="243"/>
                    <a:pt x="111" y="245"/>
                  </a:cubicBezTo>
                  <a:cubicBezTo>
                    <a:pt x="110" y="248"/>
                    <a:pt x="107" y="250"/>
                    <a:pt x="107" y="253"/>
                  </a:cubicBezTo>
                  <a:cubicBezTo>
                    <a:pt x="107" y="260"/>
                    <a:pt x="106" y="264"/>
                    <a:pt x="104" y="270"/>
                  </a:cubicBezTo>
                  <a:cubicBezTo>
                    <a:pt x="102" y="273"/>
                    <a:pt x="98" y="274"/>
                    <a:pt x="99" y="278"/>
                  </a:cubicBezTo>
                  <a:cubicBezTo>
                    <a:pt x="99" y="283"/>
                    <a:pt x="100" y="284"/>
                    <a:pt x="103" y="288"/>
                  </a:cubicBezTo>
                  <a:cubicBezTo>
                    <a:pt x="104" y="289"/>
                    <a:pt x="103" y="291"/>
                    <a:pt x="104" y="293"/>
                  </a:cubicBezTo>
                  <a:cubicBezTo>
                    <a:pt x="104" y="295"/>
                    <a:pt x="104" y="299"/>
                    <a:pt x="104" y="302"/>
                  </a:cubicBezTo>
                  <a:cubicBezTo>
                    <a:pt x="104" y="302"/>
                    <a:pt x="103" y="303"/>
                    <a:pt x="102" y="304"/>
                  </a:cubicBezTo>
                  <a:cubicBezTo>
                    <a:pt x="102" y="305"/>
                    <a:pt x="102" y="308"/>
                    <a:pt x="101" y="308"/>
                  </a:cubicBezTo>
                  <a:cubicBezTo>
                    <a:pt x="101" y="308"/>
                    <a:pt x="101" y="308"/>
                    <a:pt x="100" y="308"/>
                  </a:cubicBezTo>
                  <a:cubicBezTo>
                    <a:pt x="99" y="309"/>
                    <a:pt x="99" y="310"/>
                    <a:pt x="98" y="311"/>
                  </a:cubicBezTo>
                  <a:cubicBezTo>
                    <a:pt x="95" y="312"/>
                    <a:pt x="95" y="313"/>
                    <a:pt x="95" y="316"/>
                  </a:cubicBezTo>
                  <a:cubicBezTo>
                    <a:pt x="95" y="321"/>
                    <a:pt x="95" y="325"/>
                    <a:pt x="96" y="330"/>
                  </a:cubicBezTo>
                  <a:cubicBezTo>
                    <a:pt x="96" y="336"/>
                    <a:pt x="97" y="343"/>
                    <a:pt x="97" y="350"/>
                  </a:cubicBezTo>
                  <a:cubicBezTo>
                    <a:pt x="97" y="353"/>
                    <a:pt x="97" y="357"/>
                    <a:pt x="98" y="360"/>
                  </a:cubicBezTo>
                  <a:cubicBezTo>
                    <a:pt x="99" y="361"/>
                    <a:pt x="102" y="363"/>
                    <a:pt x="101" y="365"/>
                  </a:cubicBezTo>
                  <a:cubicBezTo>
                    <a:pt x="100" y="368"/>
                    <a:pt x="100" y="372"/>
                    <a:pt x="99" y="374"/>
                  </a:cubicBezTo>
                  <a:cubicBezTo>
                    <a:pt x="97" y="376"/>
                    <a:pt x="94" y="380"/>
                    <a:pt x="94" y="382"/>
                  </a:cubicBezTo>
                  <a:cubicBezTo>
                    <a:pt x="93" y="385"/>
                    <a:pt x="95" y="388"/>
                    <a:pt x="95" y="391"/>
                  </a:cubicBezTo>
                  <a:cubicBezTo>
                    <a:pt x="95" y="396"/>
                    <a:pt x="96" y="398"/>
                    <a:pt x="92" y="402"/>
                  </a:cubicBezTo>
                  <a:cubicBezTo>
                    <a:pt x="88" y="408"/>
                    <a:pt x="87" y="417"/>
                    <a:pt x="86" y="424"/>
                  </a:cubicBezTo>
                  <a:cubicBezTo>
                    <a:pt x="84" y="429"/>
                    <a:pt x="83" y="433"/>
                    <a:pt x="80" y="438"/>
                  </a:cubicBezTo>
                  <a:cubicBezTo>
                    <a:pt x="78" y="441"/>
                    <a:pt x="75" y="445"/>
                    <a:pt x="73" y="449"/>
                  </a:cubicBezTo>
                  <a:cubicBezTo>
                    <a:pt x="72" y="450"/>
                    <a:pt x="74" y="453"/>
                    <a:pt x="73" y="454"/>
                  </a:cubicBezTo>
                  <a:cubicBezTo>
                    <a:pt x="72" y="456"/>
                    <a:pt x="69" y="459"/>
                    <a:pt x="69" y="461"/>
                  </a:cubicBezTo>
                  <a:cubicBezTo>
                    <a:pt x="68" y="464"/>
                    <a:pt x="67" y="468"/>
                    <a:pt x="66" y="471"/>
                  </a:cubicBezTo>
                  <a:cubicBezTo>
                    <a:pt x="65" y="478"/>
                    <a:pt x="65" y="477"/>
                    <a:pt x="60" y="480"/>
                  </a:cubicBezTo>
                  <a:cubicBezTo>
                    <a:pt x="61" y="481"/>
                    <a:pt x="60" y="485"/>
                    <a:pt x="60" y="487"/>
                  </a:cubicBezTo>
                  <a:cubicBezTo>
                    <a:pt x="60" y="489"/>
                    <a:pt x="60" y="489"/>
                    <a:pt x="58" y="490"/>
                  </a:cubicBezTo>
                  <a:cubicBezTo>
                    <a:pt x="57" y="490"/>
                    <a:pt x="55" y="491"/>
                    <a:pt x="54" y="491"/>
                  </a:cubicBezTo>
                  <a:cubicBezTo>
                    <a:pt x="54" y="491"/>
                    <a:pt x="54" y="491"/>
                    <a:pt x="53" y="491"/>
                  </a:cubicBezTo>
                  <a:cubicBezTo>
                    <a:pt x="52" y="490"/>
                    <a:pt x="52" y="490"/>
                    <a:pt x="51" y="490"/>
                  </a:cubicBezTo>
                  <a:cubicBezTo>
                    <a:pt x="51" y="490"/>
                    <a:pt x="50" y="490"/>
                    <a:pt x="50" y="490"/>
                  </a:cubicBezTo>
                  <a:cubicBezTo>
                    <a:pt x="48" y="492"/>
                    <a:pt x="49" y="495"/>
                    <a:pt x="49" y="496"/>
                  </a:cubicBezTo>
                  <a:cubicBezTo>
                    <a:pt x="50" y="501"/>
                    <a:pt x="48" y="503"/>
                    <a:pt x="50" y="507"/>
                  </a:cubicBezTo>
                  <a:cubicBezTo>
                    <a:pt x="54" y="513"/>
                    <a:pt x="51" y="519"/>
                    <a:pt x="52" y="525"/>
                  </a:cubicBezTo>
                  <a:cubicBezTo>
                    <a:pt x="53" y="533"/>
                    <a:pt x="56" y="540"/>
                    <a:pt x="58" y="547"/>
                  </a:cubicBezTo>
                  <a:cubicBezTo>
                    <a:pt x="59" y="553"/>
                    <a:pt x="57" y="559"/>
                    <a:pt x="55" y="564"/>
                  </a:cubicBezTo>
                  <a:cubicBezTo>
                    <a:pt x="55" y="563"/>
                    <a:pt x="54" y="562"/>
                    <a:pt x="54" y="562"/>
                  </a:cubicBezTo>
                  <a:cubicBezTo>
                    <a:pt x="52" y="562"/>
                    <a:pt x="50" y="564"/>
                    <a:pt x="49" y="565"/>
                  </a:cubicBezTo>
                  <a:cubicBezTo>
                    <a:pt x="47" y="568"/>
                    <a:pt x="47" y="572"/>
                    <a:pt x="47" y="575"/>
                  </a:cubicBezTo>
                  <a:cubicBezTo>
                    <a:pt x="45" y="581"/>
                    <a:pt x="43" y="587"/>
                    <a:pt x="41" y="592"/>
                  </a:cubicBezTo>
                  <a:cubicBezTo>
                    <a:pt x="40" y="596"/>
                    <a:pt x="43" y="602"/>
                    <a:pt x="44" y="605"/>
                  </a:cubicBezTo>
                  <a:cubicBezTo>
                    <a:pt x="45" y="607"/>
                    <a:pt x="45" y="609"/>
                    <a:pt x="47" y="610"/>
                  </a:cubicBezTo>
                  <a:cubicBezTo>
                    <a:pt x="48" y="610"/>
                    <a:pt x="48" y="611"/>
                    <a:pt x="49" y="611"/>
                  </a:cubicBezTo>
                  <a:cubicBezTo>
                    <a:pt x="51" y="611"/>
                    <a:pt x="52" y="610"/>
                    <a:pt x="53" y="609"/>
                  </a:cubicBezTo>
                  <a:cubicBezTo>
                    <a:pt x="51" y="613"/>
                    <a:pt x="48" y="610"/>
                    <a:pt x="47" y="615"/>
                  </a:cubicBezTo>
                  <a:cubicBezTo>
                    <a:pt x="47" y="615"/>
                    <a:pt x="47" y="615"/>
                    <a:pt x="47" y="615"/>
                  </a:cubicBezTo>
                  <a:cubicBezTo>
                    <a:pt x="49" y="615"/>
                    <a:pt x="50" y="615"/>
                    <a:pt x="51" y="616"/>
                  </a:cubicBezTo>
                  <a:cubicBezTo>
                    <a:pt x="52" y="616"/>
                    <a:pt x="53" y="616"/>
                    <a:pt x="54" y="616"/>
                  </a:cubicBezTo>
                  <a:cubicBezTo>
                    <a:pt x="54" y="616"/>
                    <a:pt x="54" y="616"/>
                    <a:pt x="55" y="616"/>
                  </a:cubicBezTo>
                  <a:cubicBezTo>
                    <a:pt x="55" y="615"/>
                    <a:pt x="60" y="616"/>
                    <a:pt x="61" y="615"/>
                  </a:cubicBezTo>
                  <a:cubicBezTo>
                    <a:pt x="63" y="613"/>
                    <a:pt x="61" y="610"/>
                    <a:pt x="63" y="610"/>
                  </a:cubicBezTo>
                  <a:cubicBezTo>
                    <a:pt x="63" y="610"/>
                    <a:pt x="63" y="610"/>
                    <a:pt x="64" y="610"/>
                  </a:cubicBezTo>
                  <a:cubicBezTo>
                    <a:pt x="66" y="611"/>
                    <a:pt x="71" y="614"/>
                    <a:pt x="74" y="614"/>
                  </a:cubicBezTo>
                  <a:cubicBezTo>
                    <a:pt x="75" y="614"/>
                    <a:pt x="75" y="614"/>
                    <a:pt x="76" y="613"/>
                  </a:cubicBezTo>
                  <a:cubicBezTo>
                    <a:pt x="72" y="615"/>
                    <a:pt x="69" y="617"/>
                    <a:pt x="67" y="620"/>
                  </a:cubicBezTo>
                  <a:cubicBezTo>
                    <a:pt x="67" y="620"/>
                    <a:pt x="70" y="622"/>
                    <a:pt x="71" y="622"/>
                  </a:cubicBezTo>
                  <a:cubicBezTo>
                    <a:pt x="71" y="623"/>
                    <a:pt x="72" y="623"/>
                    <a:pt x="72" y="623"/>
                  </a:cubicBezTo>
                  <a:cubicBezTo>
                    <a:pt x="74" y="623"/>
                    <a:pt x="75" y="622"/>
                    <a:pt x="77" y="621"/>
                  </a:cubicBezTo>
                  <a:cubicBezTo>
                    <a:pt x="76" y="623"/>
                    <a:pt x="79" y="634"/>
                    <a:pt x="78" y="635"/>
                  </a:cubicBezTo>
                  <a:cubicBezTo>
                    <a:pt x="77" y="635"/>
                    <a:pt x="77" y="635"/>
                    <a:pt x="77" y="635"/>
                  </a:cubicBezTo>
                  <a:cubicBezTo>
                    <a:pt x="77" y="635"/>
                    <a:pt x="76" y="632"/>
                    <a:pt x="76" y="631"/>
                  </a:cubicBezTo>
                  <a:cubicBezTo>
                    <a:pt x="75" y="630"/>
                    <a:pt x="75" y="628"/>
                    <a:pt x="74" y="627"/>
                  </a:cubicBezTo>
                  <a:cubicBezTo>
                    <a:pt x="74" y="627"/>
                    <a:pt x="73" y="627"/>
                    <a:pt x="73" y="627"/>
                  </a:cubicBezTo>
                  <a:cubicBezTo>
                    <a:pt x="72" y="627"/>
                    <a:pt x="69" y="629"/>
                    <a:pt x="68" y="630"/>
                  </a:cubicBezTo>
                  <a:cubicBezTo>
                    <a:pt x="69" y="631"/>
                    <a:pt x="70" y="633"/>
                    <a:pt x="71" y="634"/>
                  </a:cubicBezTo>
                  <a:cubicBezTo>
                    <a:pt x="72" y="636"/>
                    <a:pt x="73" y="636"/>
                    <a:pt x="75" y="638"/>
                  </a:cubicBezTo>
                  <a:cubicBezTo>
                    <a:pt x="73" y="637"/>
                    <a:pt x="72" y="636"/>
                    <a:pt x="71" y="636"/>
                  </a:cubicBezTo>
                  <a:cubicBezTo>
                    <a:pt x="70" y="636"/>
                    <a:pt x="69" y="636"/>
                    <a:pt x="68" y="638"/>
                  </a:cubicBezTo>
                  <a:cubicBezTo>
                    <a:pt x="65" y="642"/>
                    <a:pt x="69" y="648"/>
                    <a:pt x="70" y="652"/>
                  </a:cubicBezTo>
                  <a:cubicBezTo>
                    <a:pt x="69" y="651"/>
                    <a:pt x="69" y="650"/>
                    <a:pt x="68" y="650"/>
                  </a:cubicBezTo>
                  <a:cubicBezTo>
                    <a:pt x="68" y="650"/>
                    <a:pt x="68" y="651"/>
                    <a:pt x="68" y="651"/>
                  </a:cubicBezTo>
                  <a:cubicBezTo>
                    <a:pt x="67" y="651"/>
                    <a:pt x="67" y="655"/>
                    <a:pt x="66" y="657"/>
                  </a:cubicBezTo>
                  <a:cubicBezTo>
                    <a:pt x="65" y="658"/>
                    <a:pt x="64" y="659"/>
                    <a:pt x="63" y="660"/>
                  </a:cubicBezTo>
                  <a:cubicBezTo>
                    <a:pt x="61" y="663"/>
                    <a:pt x="63" y="667"/>
                    <a:pt x="66" y="667"/>
                  </a:cubicBezTo>
                  <a:cubicBezTo>
                    <a:pt x="65" y="668"/>
                    <a:pt x="64" y="669"/>
                    <a:pt x="63" y="670"/>
                  </a:cubicBezTo>
                  <a:cubicBezTo>
                    <a:pt x="64" y="670"/>
                    <a:pt x="66" y="670"/>
                    <a:pt x="67" y="670"/>
                  </a:cubicBezTo>
                  <a:cubicBezTo>
                    <a:pt x="68" y="670"/>
                    <a:pt x="69" y="670"/>
                    <a:pt x="68" y="673"/>
                  </a:cubicBezTo>
                  <a:cubicBezTo>
                    <a:pt x="68" y="672"/>
                    <a:pt x="67" y="672"/>
                    <a:pt x="67" y="672"/>
                  </a:cubicBezTo>
                  <a:cubicBezTo>
                    <a:pt x="66" y="672"/>
                    <a:pt x="66" y="672"/>
                    <a:pt x="65" y="673"/>
                  </a:cubicBezTo>
                  <a:cubicBezTo>
                    <a:pt x="64" y="673"/>
                    <a:pt x="63" y="678"/>
                    <a:pt x="62" y="679"/>
                  </a:cubicBezTo>
                  <a:cubicBezTo>
                    <a:pt x="61" y="681"/>
                    <a:pt x="59" y="682"/>
                    <a:pt x="58" y="683"/>
                  </a:cubicBezTo>
                  <a:cubicBezTo>
                    <a:pt x="59" y="684"/>
                    <a:pt x="60" y="685"/>
                    <a:pt x="62" y="686"/>
                  </a:cubicBezTo>
                  <a:cubicBezTo>
                    <a:pt x="63" y="686"/>
                    <a:pt x="64" y="686"/>
                    <a:pt x="65" y="687"/>
                  </a:cubicBezTo>
                  <a:cubicBezTo>
                    <a:pt x="67" y="689"/>
                    <a:pt x="69" y="693"/>
                    <a:pt x="73" y="693"/>
                  </a:cubicBezTo>
                  <a:cubicBezTo>
                    <a:pt x="73" y="693"/>
                    <a:pt x="73" y="692"/>
                    <a:pt x="73" y="692"/>
                  </a:cubicBezTo>
                  <a:cubicBezTo>
                    <a:pt x="71" y="693"/>
                    <a:pt x="72" y="696"/>
                    <a:pt x="71" y="697"/>
                  </a:cubicBezTo>
                  <a:cubicBezTo>
                    <a:pt x="70" y="700"/>
                    <a:pt x="71" y="699"/>
                    <a:pt x="69" y="700"/>
                  </a:cubicBezTo>
                  <a:cubicBezTo>
                    <a:pt x="68" y="701"/>
                    <a:pt x="66" y="702"/>
                    <a:pt x="65" y="703"/>
                  </a:cubicBezTo>
                  <a:cubicBezTo>
                    <a:pt x="63" y="703"/>
                    <a:pt x="62" y="704"/>
                    <a:pt x="61" y="705"/>
                  </a:cubicBezTo>
                  <a:cubicBezTo>
                    <a:pt x="60" y="705"/>
                    <a:pt x="59" y="705"/>
                    <a:pt x="58" y="706"/>
                  </a:cubicBezTo>
                  <a:cubicBezTo>
                    <a:pt x="52" y="707"/>
                    <a:pt x="57" y="708"/>
                    <a:pt x="57" y="711"/>
                  </a:cubicBezTo>
                  <a:cubicBezTo>
                    <a:pt x="57" y="712"/>
                    <a:pt x="51" y="715"/>
                    <a:pt x="55" y="715"/>
                  </a:cubicBezTo>
                  <a:cubicBezTo>
                    <a:pt x="55" y="715"/>
                    <a:pt x="55" y="715"/>
                    <a:pt x="55" y="715"/>
                  </a:cubicBezTo>
                  <a:cubicBezTo>
                    <a:pt x="56" y="715"/>
                    <a:pt x="57" y="715"/>
                    <a:pt x="57" y="714"/>
                  </a:cubicBezTo>
                  <a:cubicBezTo>
                    <a:pt x="57" y="714"/>
                    <a:pt x="58" y="714"/>
                    <a:pt x="58" y="714"/>
                  </a:cubicBezTo>
                  <a:cubicBezTo>
                    <a:pt x="58" y="714"/>
                    <a:pt x="59" y="714"/>
                    <a:pt x="59" y="714"/>
                  </a:cubicBezTo>
                  <a:cubicBezTo>
                    <a:pt x="61" y="714"/>
                    <a:pt x="63" y="717"/>
                    <a:pt x="65" y="718"/>
                  </a:cubicBezTo>
                  <a:cubicBezTo>
                    <a:pt x="66" y="719"/>
                    <a:pt x="70" y="720"/>
                    <a:pt x="66" y="720"/>
                  </a:cubicBezTo>
                  <a:cubicBezTo>
                    <a:pt x="66" y="720"/>
                    <a:pt x="66" y="720"/>
                    <a:pt x="66" y="720"/>
                  </a:cubicBezTo>
                  <a:cubicBezTo>
                    <a:pt x="65" y="720"/>
                    <a:pt x="64" y="719"/>
                    <a:pt x="63" y="719"/>
                  </a:cubicBezTo>
                  <a:cubicBezTo>
                    <a:pt x="62" y="718"/>
                    <a:pt x="60" y="715"/>
                    <a:pt x="58" y="715"/>
                  </a:cubicBezTo>
                  <a:cubicBezTo>
                    <a:pt x="57" y="715"/>
                    <a:pt x="57" y="716"/>
                    <a:pt x="57" y="718"/>
                  </a:cubicBezTo>
                  <a:cubicBezTo>
                    <a:pt x="56" y="717"/>
                    <a:pt x="56" y="717"/>
                    <a:pt x="56" y="717"/>
                  </a:cubicBezTo>
                  <a:cubicBezTo>
                    <a:pt x="54" y="721"/>
                    <a:pt x="52" y="725"/>
                    <a:pt x="51" y="729"/>
                  </a:cubicBezTo>
                  <a:cubicBezTo>
                    <a:pt x="52" y="728"/>
                    <a:pt x="53" y="726"/>
                    <a:pt x="54" y="726"/>
                  </a:cubicBezTo>
                  <a:cubicBezTo>
                    <a:pt x="55" y="725"/>
                    <a:pt x="56" y="725"/>
                    <a:pt x="56" y="725"/>
                  </a:cubicBezTo>
                  <a:cubicBezTo>
                    <a:pt x="57" y="725"/>
                    <a:pt x="58" y="726"/>
                    <a:pt x="60" y="726"/>
                  </a:cubicBezTo>
                  <a:cubicBezTo>
                    <a:pt x="58" y="727"/>
                    <a:pt x="56" y="726"/>
                    <a:pt x="54" y="727"/>
                  </a:cubicBezTo>
                  <a:cubicBezTo>
                    <a:pt x="53" y="728"/>
                    <a:pt x="53" y="729"/>
                    <a:pt x="52" y="730"/>
                  </a:cubicBezTo>
                  <a:cubicBezTo>
                    <a:pt x="52" y="732"/>
                    <a:pt x="50" y="734"/>
                    <a:pt x="49" y="736"/>
                  </a:cubicBezTo>
                  <a:cubicBezTo>
                    <a:pt x="49" y="737"/>
                    <a:pt x="47" y="744"/>
                    <a:pt x="48" y="745"/>
                  </a:cubicBezTo>
                  <a:cubicBezTo>
                    <a:pt x="48" y="745"/>
                    <a:pt x="48" y="745"/>
                    <a:pt x="49" y="745"/>
                  </a:cubicBezTo>
                  <a:cubicBezTo>
                    <a:pt x="49" y="745"/>
                    <a:pt x="50" y="742"/>
                    <a:pt x="50" y="742"/>
                  </a:cubicBezTo>
                  <a:cubicBezTo>
                    <a:pt x="50" y="742"/>
                    <a:pt x="51" y="742"/>
                    <a:pt x="51" y="742"/>
                  </a:cubicBezTo>
                  <a:cubicBezTo>
                    <a:pt x="52" y="742"/>
                    <a:pt x="52" y="744"/>
                    <a:pt x="52" y="745"/>
                  </a:cubicBezTo>
                  <a:cubicBezTo>
                    <a:pt x="52" y="746"/>
                    <a:pt x="48" y="749"/>
                    <a:pt x="47" y="751"/>
                  </a:cubicBezTo>
                  <a:cubicBezTo>
                    <a:pt x="47" y="751"/>
                    <a:pt x="47" y="751"/>
                    <a:pt x="47" y="751"/>
                  </a:cubicBezTo>
                  <a:cubicBezTo>
                    <a:pt x="46" y="751"/>
                    <a:pt x="46" y="751"/>
                    <a:pt x="45" y="752"/>
                  </a:cubicBezTo>
                  <a:cubicBezTo>
                    <a:pt x="45" y="752"/>
                    <a:pt x="44" y="753"/>
                    <a:pt x="43" y="753"/>
                  </a:cubicBezTo>
                  <a:cubicBezTo>
                    <a:pt x="43" y="753"/>
                    <a:pt x="43" y="753"/>
                    <a:pt x="42" y="752"/>
                  </a:cubicBezTo>
                  <a:cubicBezTo>
                    <a:pt x="40" y="751"/>
                    <a:pt x="45" y="748"/>
                    <a:pt x="46" y="746"/>
                  </a:cubicBezTo>
                  <a:cubicBezTo>
                    <a:pt x="47" y="743"/>
                    <a:pt x="46" y="740"/>
                    <a:pt x="43" y="740"/>
                  </a:cubicBezTo>
                  <a:cubicBezTo>
                    <a:pt x="42" y="740"/>
                    <a:pt x="41" y="741"/>
                    <a:pt x="41" y="742"/>
                  </a:cubicBezTo>
                  <a:cubicBezTo>
                    <a:pt x="42" y="742"/>
                    <a:pt x="43" y="744"/>
                    <a:pt x="44" y="745"/>
                  </a:cubicBezTo>
                  <a:cubicBezTo>
                    <a:pt x="43" y="745"/>
                    <a:pt x="42" y="744"/>
                    <a:pt x="41" y="744"/>
                  </a:cubicBezTo>
                  <a:cubicBezTo>
                    <a:pt x="40" y="744"/>
                    <a:pt x="40" y="744"/>
                    <a:pt x="40" y="745"/>
                  </a:cubicBezTo>
                  <a:cubicBezTo>
                    <a:pt x="40" y="744"/>
                    <a:pt x="40" y="742"/>
                    <a:pt x="40" y="741"/>
                  </a:cubicBezTo>
                  <a:cubicBezTo>
                    <a:pt x="38" y="742"/>
                    <a:pt x="36" y="743"/>
                    <a:pt x="34" y="743"/>
                  </a:cubicBezTo>
                  <a:cubicBezTo>
                    <a:pt x="32" y="743"/>
                    <a:pt x="31" y="742"/>
                    <a:pt x="30" y="740"/>
                  </a:cubicBezTo>
                  <a:cubicBezTo>
                    <a:pt x="31" y="742"/>
                    <a:pt x="32" y="742"/>
                    <a:pt x="34" y="742"/>
                  </a:cubicBezTo>
                  <a:cubicBezTo>
                    <a:pt x="35" y="742"/>
                    <a:pt x="36" y="742"/>
                    <a:pt x="37" y="742"/>
                  </a:cubicBezTo>
                  <a:cubicBezTo>
                    <a:pt x="38" y="741"/>
                    <a:pt x="43" y="739"/>
                    <a:pt x="42" y="737"/>
                  </a:cubicBezTo>
                  <a:cubicBezTo>
                    <a:pt x="42" y="737"/>
                    <a:pt x="41" y="736"/>
                    <a:pt x="41" y="736"/>
                  </a:cubicBezTo>
                  <a:cubicBezTo>
                    <a:pt x="40" y="736"/>
                    <a:pt x="39" y="739"/>
                    <a:pt x="38" y="739"/>
                  </a:cubicBezTo>
                  <a:cubicBezTo>
                    <a:pt x="39" y="738"/>
                    <a:pt x="40" y="735"/>
                    <a:pt x="40" y="734"/>
                  </a:cubicBezTo>
                  <a:cubicBezTo>
                    <a:pt x="40" y="733"/>
                    <a:pt x="39" y="733"/>
                    <a:pt x="38" y="733"/>
                  </a:cubicBezTo>
                  <a:cubicBezTo>
                    <a:pt x="38" y="733"/>
                    <a:pt x="38" y="733"/>
                    <a:pt x="38" y="733"/>
                  </a:cubicBezTo>
                  <a:cubicBezTo>
                    <a:pt x="38" y="732"/>
                    <a:pt x="39" y="731"/>
                    <a:pt x="38" y="730"/>
                  </a:cubicBezTo>
                  <a:cubicBezTo>
                    <a:pt x="38" y="730"/>
                    <a:pt x="37" y="730"/>
                    <a:pt x="37" y="730"/>
                  </a:cubicBezTo>
                  <a:cubicBezTo>
                    <a:pt x="36" y="730"/>
                    <a:pt x="35" y="730"/>
                    <a:pt x="34" y="730"/>
                  </a:cubicBezTo>
                  <a:cubicBezTo>
                    <a:pt x="34" y="730"/>
                    <a:pt x="34" y="730"/>
                    <a:pt x="34" y="730"/>
                  </a:cubicBezTo>
                  <a:cubicBezTo>
                    <a:pt x="33" y="730"/>
                    <a:pt x="33" y="730"/>
                    <a:pt x="33" y="730"/>
                  </a:cubicBezTo>
                  <a:cubicBezTo>
                    <a:pt x="32" y="730"/>
                    <a:pt x="32" y="730"/>
                    <a:pt x="32" y="730"/>
                  </a:cubicBezTo>
                  <a:cubicBezTo>
                    <a:pt x="31" y="730"/>
                    <a:pt x="30" y="731"/>
                    <a:pt x="30" y="733"/>
                  </a:cubicBezTo>
                  <a:cubicBezTo>
                    <a:pt x="30" y="733"/>
                    <a:pt x="30" y="733"/>
                    <a:pt x="30" y="733"/>
                  </a:cubicBezTo>
                  <a:cubicBezTo>
                    <a:pt x="29" y="733"/>
                    <a:pt x="29" y="733"/>
                    <a:pt x="28" y="732"/>
                  </a:cubicBezTo>
                  <a:cubicBezTo>
                    <a:pt x="28" y="731"/>
                    <a:pt x="28" y="731"/>
                    <a:pt x="27" y="731"/>
                  </a:cubicBezTo>
                  <a:cubicBezTo>
                    <a:pt x="26" y="731"/>
                    <a:pt x="25" y="731"/>
                    <a:pt x="24" y="732"/>
                  </a:cubicBezTo>
                  <a:cubicBezTo>
                    <a:pt x="25" y="731"/>
                    <a:pt x="25" y="730"/>
                    <a:pt x="24" y="730"/>
                  </a:cubicBezTo>
                  <a:cubicBezTo>
                    <a:pt x="22" y="730"/>
                    <a:pt x="20" y="732"/>
                    <a:pt x="19" y="732"/>
                  </a:cubicBezTo>
                  <a:cubicBezTo>
                    <a:pt x="19" y="732"/>
                    <a:pt x="20" y="733"/>
                    <a:pt x="21" y="733"/>
                  </a:cubicBezTo>
                  <a:cubicBezTo>
                    <a:pt x="19" y="733"/>
                    <a:pt x="18" y="732"/>
                    <a:pt x="17" y="732"/>
                  </a:cubicBezTo>
                  <a:cubicBezTo>
                    <a:pt x="16" y="732"/>
                    <a:pt x="16" y="732"/>
                    <a:pt x="15" y="732"/>
                  </a:cubicBezTo>
                  <a:cubicBezTo>
                    <a:pt x="17" y="736"/>
                    <a:pt x="17" y="734"/>
                    <a:pt x="21" y="736"/>
                  </a:cubicBezTo>
                  <a:cubicBezTo>
                    <a:pt x="19" y="736"/>
                    <a:pt x="13" y="737"/>
                    <a:pt x="17" y="739"/>
                  </a:cubicBezTo>
                  <a:cubicBezTo>
                    <a:pt x="18" y="739"/>
                    <a:pt x="18" y="739"/>
                    <a:pt x="18" y="739"/>
                  </a:cubicBezTo>
                  <a:cubicBezTo>
                    <a:pt x="21" y="739"/>
                    <a:pt x="22" y="734"/>
                    <a:pt x="24" y="733"/>
                  </a:cubicBezTo>
                  <a:cubicBezTo>
                    <a:pt x="24" y="736"/>
                    <a:pt x="24" y="739"/>
                    <a:pt x="23" y="742"/>
                  </a:cubicBezTo>
                  <a:cubicBezTo>
                    <a:pt x="22" y="741"/>
                    <a:pt x="22" y="741"/>
                    <a:pt x="22" y="741"/>
                  </a:cubicBezTo>
                  <a:cubicBezTo>
                    <a:pt x="21" y="741"/>
                    <a:pt x="20" y="743"/>
                    <a:pt x="18" y="743"/>
                  </a:cubicBezTo>
                  <a:cubicBezTo>
                    <a:pt x="18" y="743"/>
                    <a:pt x="18" y="743"/>
                    <a:pt x="18" y="743"/>
                  </a:cubicBezTo>
                  <a:cubicBezTo>
                    <a:pt x="18" y="743"/>
                    <a:pt x="17" y="743"/>
                    <a:pt x="17" y="743"/>
                  </a:cubicBezTo>
                  <a:cubicBezTo>
                    <a:pt x="17" y="743"/>
                    <a:pt x="16" y="743"/>
                    <a:pt x="16" y="743"/>
                  </a:cubicBezTo>
                  <a:cubicBezTo>
                    <a:pt x="16" y="743"/>
                    <a:pt x="15" y="743"/>
                    <a:pt x="15" y="743"/>
                  </a:cubicBezTo>
                  <a:cubicBezTo>
                    <a:pt x="14" y="745"/>
                    <a:pt x="16" y="745"/>
                    <a:pt x="17" y="746"/>
                  </a:cubicBezTo>
                  <a:cubicBezTo>
                    <a:pt x="16" y="746"/>
                    <a:pt x="16" y="745"/>
                    <a:pt x="15" y="745"/>
                  </a:cubicBezTo>
                  <a:cubicBezTo>
                    <a:pt x="14" y="745"/>
                    <a:pt x="14" y="746"/>
                    <a:pt x="13" y="747"/>
                  </a:cubicBezTo>
                  <a:cubicBezTo>
                    <a:pt x="13" y="747"/>
                    <a:pt x="13" y="747"/>
                    <a:pt x="13" y="747"/>
                  </a:cubicBezTo>
                  <a:cubicBezTo>
                    <a:pt x="13" y="747"/>
                    <a:pt x="12" y="747"/>
                    <a:pt x="12" y="746"/>
                  </a:cubicBezTo>
                  <a:cubicBezTo>
                    <a:pt x="12" y="746"/>
                    <a:pt x="12" y="746"/>
                    <a:pt x="12" y="746"/>
                  </a:cubicBezTo>
                  <a:cubicBezTo>
                    <a:pt x="12" y="746"/>
                    <a:pt x="12" y="746"/>
                    <a:pt x="12" y="746"/>
                  </a:cubicBezTo>
                  <a:cubicBezTo>
                    <a:pt x="11" y="747"/>
                    <a:pt x="10" y="748"/>
                    <a:pt x="9" y="749"/>
                  </a:cubicBezTo>
                  <a:cubicBezTo>
                    <a:pt x="7" y="752"/>
                    <a:pt x="0" y="752"/>
                    <a:pt x="1" y="758"/>
                  </a:cubicBezTo>
                  <a:cubicBezTo>
                    <a:pt x="2" y="759"/>
                    <a:pt x="3" y="761"/>
                    <a:pt x="4" y="762"/>
                  </a:cubicBezTo>
                  <a:cubicBezTo>
                    <a:pt x="5" y="762"/>
                    <a:pt x="5" y="762"/>
                    <a:pt x="6" y="762"/>
                  </a:cubicBezTo>
                  <a:cubicBezTo>
                    <a:pt x="8" y="762"/>
                    <a:pt x="11" y="760"/>
                    <a:pt x="8" y="760"/>
                  </a:cubicBezTo>
                  <a:cubicBezTo>
                    <a:pt x="10" y="758"/>
                    <a:pt x="8" y="759"/>
                    <a:pt x="8" y="758"/>
                  </a:cubicBezTo>
                  <a:cubicBezTo>
                    <a:pt x="7" y="757"/>
                    <a:pt x="9" y="757"/>
                    <a:pt x="7" y="756"/>
                  </a:cubicBezTo>
                  <a:cubicBezTo>
                    <a:pt x="7" y="756"/>
                    <a:pt x="7" y="756"/>
                    <a:pt x="7" y="756"/>
                  </a:cubicBezTo>
                  <a:cubicBezTo>
                    <a:pt x="6" y="756"/>
                    <a:pt x="4" y="757"/>
                    <a:pt x="3" y="757"/>
                  </a:cubicBezTo>
                  <a:cubicBezTo>
                    <a:pt x="4" y="756"/>
                    <a:pt x="6" y="755"/>
                    <a:pt x="8" y="754"/>
                  </a:cubicBezTo>
                  <a:cubicBezTo>
                    <a:pt x="8" y="754"/>
                    <a:pt x="8" y="754"/>
                    <a:pt x="8" y="754"/>
                  </a:cubicBezTo>
                  <a:cubicBezTo>
                    <a:pt x="9" y="754"/>
                    <a:pt x="9" y="754"/>
                    <a:pt x="9" y="754"/>
                  </a:cubicBezTo>
                  <a:cubicBezTo>
                    <a:pt x="9" y="754"/>
                    <a:pt x="10" y="754"/>
                    <a:pt x="10" y="754"/>
                  </a:cubicBezTo>
                  <a:cubicBezTo>
                    <a:pt x="11" y="754"/>
                    <a:pt x="12" y="754"/>
                    <a:pt x="13" y="753"/>
                  </a:cubicBezTo>
                  <a:cubicBezTo>
                    <a:pt x="13" y="753"/>
                    <a:pt x="13" y="753"/>
                    <a:pt x="14" y="753"/>
                  </a:cubicBezTo>
                  <a:cubicBezTo>
                    <a:pt x="15" y="753"/>
                    <a:pt x="16" y="752"/>
                    <a:pt x="17" y="751"/>
                  </a:cubicBezTo>
                  <a:cubicBezTo>
                    <a:pt x="16" y="755"/>
                    <a:pt x="17" y="758"/>
                    <a:pt x="21" y="759"/>
                  </a:cubicBezTo>
                  <a:cubicBezTo>
                    <a:pt x="21" y="759"/>
                    <a:pt x="21" y="759"/>
                    <a:pt x="21" y="759"/>
                  </a:cubicBezTo>
                  <a:cubicBezTo>
                    <a:pt x="21" y="759"/>
                    <a:pt x="21" y="759"/>
                    <a:pt x="21" y="759"/>
                  </a:cubicBezTo>
                  <a:cubicBezTo>
                    <a:pt x="22" y="758"/>
                    <a:pt x="22" y="758"/>
                    <a:pt x="22" y="758"/>
                  </a:cubicBezTo>
                  <a:cubicBezTo>
                    <a:pt x="22" y="758"/>
                    <a:pt x="22" y="758"/>
                    <a:pt x="22" y="758"/>
                  </a:cubicBezTo>
                  <a:cubicBezTo>
                    <a:pt x="22" y="758"/>
                    <a:pt x="22" y="759"/>
                    <a:pt x="23" y="759"/>
                  </a:cubicBezTo>
                  <a:cubicBezTo>
                    <a:pt x="24" y="759"/>
                    <a:pt x="24" y="760"/>
                    <a:pt x="25" y="760"/>
                  </a:cubicBezTo>
                  <a:cubicBezTo>
                    <a:pt x="25" y="761"/>
                    <a:pt x="27" y="761"/>
                    <a:pt x="28" y="761"/>
                  </a:cubicBezTo>
                  <a:cubicBezTo>
                    <a:pt x="29" y="761"/>
                    <a:pt x="30" y="761"/>
                    <a:pt x="31" y="760"/>
                  </a:cubicBezTo>
                  <a:cubicBezTo>
                    <a:pt x="31" y="760"/>
                    <a:pt x="31" y="760"/>
                    <a:pt x="30" y="760"/>
                  </a:cubicBezTo>
                  <a:cubicBezTo>
                    <a:pt x="29" y="760"/>
                    <a:pt x="27" y="759"/>
                    <a:pt x="26" y="758"/>
                  </a:cubicBezTo>
                  <a:cubicBezTo>
                    <a:pt x="27" y="758"/>
                    <a:pt x="27" y="758"/>
                    <a:pt x="27" y="758"/>
                  </a:cubicBezTo>
                  <a:cubicBezTo>
                    <a:pt x="28" y="758"/>
                    <a:pt x="29" y="758"/>
                    <a:pt x="30" y="758"/>
                  </a:cubicBezTo>
                  <a:cubicBezTo>
                    <a:pt x="29" y="758"/>
                    <a:pt x="28" y="757"/>
                    <a:pt x="28" y="757"/>
                  </a:cubicBezTo>
                  <a:cubicBezTo>
                    <a:pt x="30" y="758"/>
                    <a:pt x="33" y="757"/>
                    <a:pt x="34" y="759"/>
                  </a:cubicBezTo>
                  <a:cubicBezTo>
                    <a:pt x="35" y="759"/>
                    <a:pt x="35" y="760"/>
                    <a:pt x="35" y="761"/>
                  </a:cubicBezTo>
                  <a:cubicBezTo>
                    <a:pt x="37" y="763"/>
                    <a:pt x="39" y="764"/>
                    <a:pt x="41" y="765"/>
                  </a:cubicBezTo>
                  <a:cubicBezTo>
                    <a:pt x="43" y="766"/>
                    <a:pt x="42" y="770"/>
                    <a:pt x="42" y="772"/>
                  </a:cubicBezTo>
                  <a:cubicBezTo>
                    <a:pt x="41" y="771"/>
                    <a:pt x="41" y="771"/>
                    <a:pt x="41" y="770"/>
                  </a:cubicBezTo>
                  <a:cubicBezTo>
                    <a:pt x="40" y="771"/>
                    <a:pt x="39" y="773"/>
                    <a:pt x="38" y="775"/>
                  </a:cubicBezTo>
                  <a:cubicBezTo>
                    <a:pt x="37" y="773"/>
                    <a:pt x="38" y="771"/>
                    <a:pt x="36" y="771"/>
                  </a:cubicBezTo>
                  <a:cubicBezTo>
                    <a:pt x="36" y="771"/>
                    <a:pt x="36" y="771"/>
                    <a:pt x="36" y="771"/>
                  </a:cubicBezTo>
                  <a:cubicBezTo>
                    <a:pt x="34" y="771"/>
                    <a:pt x="30" y="775"/>
                    <a:pt x="29" y="777"/>
                  </a:cubicBezTo>
                  <a:cubicBezTo>
                    <a:pt x="29" y="778"/>
                    <a:pt x="29" y="778"/>
                    <a:pt x="29" y="778"/>
                  </a:cubicBezTo>
                  <a:cubicBezTo>
                    <a:pt x="29" y="778"/>
                    <a:pt x="30" y="778"/>
                    <a:pt x="30" y="777"/>
                  </a:cubicBezTo>
                  <a:cubicBezTo>
                    <a:pt x="30" y="779"/>
                    <a:pt x="31" y="779"/>
                    <a:pt x="32" y="780"/>
                  </a:cubicBezTo>
                  <a:cubicBezTo>
                    <a:pt x="33" y="782"/>
                    <a:pt x="33" y="782"/>
                    <a:pt x="33" y="782"/>
                  </a:cubicBezTo>
                  <a:cubicBezTo>
                    <a:pt x="34" y="782"/>
                    <a:pt x="34" y="782"/>
                    <a:pt x="35" y="782"/>
                  </a:cubicBezTo>
                  <a:cubicBezTo>
                    <a:pt x="35" y="782"/>
                    <a:pt x="36" y="782"/>
                    <a:pt x="36" y="782"/>
                  </a:cubicBezTo>
                  <a:cubicBezTo>
                    <a:pt x="36" y="782"/>
                    <a:pt x="36" y="782"/>
                    <a:pt x="37" y="782"/>
                  </a:cubicBezTo>
                  <a:cubicBezTo>
                    <a:pt x="38" y="782"/>
                    <a:pt x="39" y="782"/>
                    <a:pt x="40" y="783"/>
                  </a:cubicBezTo>
                  <a:cubicBezTo>
                    <a:pt x="39" y="783"/>
                    <a:pt x="39" y="783"/>
                    <a:pt x="39" y="783"/>
                  </a:cubicBezTo>
                  <a:cubicBezTo>
                    <a:pt x="38" y="783"/>
                    <a:pt x="38" y="783"/>
                    <a:pt x="38" y="783"/>
                  </a:cubicBezTo>
                  <a:cubicBezTo>
                    <a:pt x="38" y="783"/>
                    <a:pt x="38" y="783"/>
                    <a:pt x="37" y="783"/>
                  </a:cubicBezTo>
                  <a:cubicBezTo>
                    <a:pt x="37" y="783"/>
                    <a:pt x="36" y="783"/>
                    <a:pt x="35" y="784"/>
                  </a:cubicBezTo>
                  <a:cubicBezTo>
                    <a:pt x="36" y="784"/>
                    <a:pt x="37" y="784"/>
                    <a:pt x="38" y="784"/>
                  </a:cubicBezTo>
                  <a:cubicBezTo>
                    <a:pt x="34" y="784"/>
                    <a:pt x="33" y="786"/>
                    <a:pt x="37" y="787"/>
                  </a:cubicBezTo>
                  <a:cubicBezTo>
                    <a:pt x="37" y="787"/>
                    <a:pt x="37" y="787"/>
                    <a:pt x="36" y="787"/>
                  </a:cubicBezTo>
                  <a:cubicBezTo>
                    <a:pt x="35" y="787"/>
                    <a:pt x="35" y="786"/>
                    <a:pt x="34" y="786"/>
                  </a:cubicBezTo>
                  <a:cubicBezTo>
                    <a:pt x="33" y="785"/>
                    <a:pt x="34" y="785"/>
                    <a:pt x="33" y="784"/>
                  </a:cubicBezTo>
                  <a:cubicBezTo>
                    <a:pt x="33" y="784"/>
                    <a:pt x="33" y="784"/>
                    <a:pt x="33" y="784"/>
                  </a:cubicBezTo>
                  <a:cubicBezTo>
                    <a:pt x="32" y="784"/>
                    <a:pt x="31" y="785"/>
                    <a:pt x="30" y="785"/>
                  </a:cubicBezTo>
                  <a:cubicBezTo>
                    <a:pt x="31" y="784"/>
                    <a:pt x="33" y="784"/>
                    <a:pt x="32" y="782"/>
                  </a:cubicBezTo>
                  <a:cubicBezTo>
                    <a:pt x="32" y="782"/>
                    <a:pt x="32" y="782"/>
                    <a:pt x="32" y="782"/>
                  </a:cubicBezTo>
                  <a:cubicBezTo>
                    <a:pt x="31" y="782"/>
                    <a:pt x="32" y="781"/>
                    <a:pt x="31" y="781"/>
                  </a:cubicBezTo>
                  <a:cubicBezTo>
                    <a:pt x="30" y="781"/>
                    <a:pt x="29" y="783"/>
                    <a:pt x="28" y="784"/>
                  </a:cubicBezTo>
                  <a:cubicBezTo>
                    <a:pt x="27" y="785"/>
                    <a:pt x="23" y="784"/>
                    <a:pt x="25" y="787"/>
                  </a:cubicBezTo>
                  <a:cubicBezTo>
                    <a:pt x="26" y="787"/>
                    <a:pt x="27" y="787"/>
                    <a:pt x="27" y="787"/>
                  </a:cubicBezTo>
                  <a:cubicBezTo>
                    <a:pt x="28" y="787"/>
                    <a:pt x="28" y="787"/>
                    <a:pt x="29" y="787"/>
                  </a:cubicBezTo>
                  <a:cubicBezTo>
                    <a:pt x="29" y="787"/>
                    <a:pt x="29" y="787"/>
                    <a:pt x="30" y="787"/>
                  </a:cubicBezTo>
                  <a:cubicBezTo>
                    <a:pt x="30" y="787"/>
                    <a:pt x="30" y="787"/>
                    <a:pt x="30" y="787"/>
                  </a:cubicBezTo>
                  <a:cubicBezTo>
                    <a:pt x="32" y="787"/>
                    <a:pt x="33" y="787"/>
                    <a:pt x="35" y="787"/>
                  </a:cubicBezTo>
                  <a:cubicBezTo>
                    <a:pt x="37" y="787"/>
                    <a:pt x="40" y="789"/>
                    <a:pt x="42" y="789"/>
                  </a:cubicBezTo>
                  <a:cubicBezTo>
                    <a:pt x="43" y="789"/>
                    <a:pt x="43" y="789"/>
                    <a:pt x="43" y="789"/>
                  </a:cubicBezTo>
                  <a:cubicBezTo>
                    <a:pt x="47" y="788"/>
                    <a:pt x="46" y="784"/>
                    <a:pt x="49" y="782"/>
                  </a:cubicBezTo>
                  <a:cubicBezTo>
                    <a:pt x="49" y="784"/>
                    <a:pt x="48" y="785"/>
                    <a:pt x="48" y="788"/>
                  </a:cubicBezTo>
                  <a:cubicBezTo>
                    <a:pt x="48" y="789"/>
                    <a:pt x="50" y="790"/>
                    <a:pt x="51" y="791"/>
                  </a:cubicBezTo>
                  <a:cubicBezTo>
                    <a:pt x="54" y="794"/>
                    <a:pt x="55" y="792"/>
                    <a:pt x="59" y="794"/>
                  </a:cubicBezTo>
                  <a:cubicBezTo>
                    <a:pt x="58" y="794"/>
                    <a:pt x="56" y="794"/>
                    <a:pt x="55" y="794"/>
                  </a:cubicBezTo>
                  <a:cubicBezTo>
                    <a:pt x="54" y="793"/>
                    <a:pt x="52" y="793"/>
                    <a:pt x="51" y="793"/>
                  </a:cubicBezTo>
                  <a:cubicBezTo>
                    <a:pt x="50" y="793"/>
                    <a:pt x="50" y="793"/>
                    <a:pt x="50" y="793"/>
                  </a:cubicBezTo>
                  <a:cubicBezTo>
                    <a:pt x="49" y="794"/>
                    <a:pt x="52" y="797"/>
                    <a:pt x="53" y="798"/>
                  </a:cubicBezTo>
                  <a:cubicBezTo>
                    <a:pt x="54" y="798"/>
                    <a:pt x="55" y="799"/>
                    <a:pt x="55" y="799"/>
                  </a:cubicBezTo>
                  <a:cubicBezTo>
                    <a:pt x="56" y="799"/>
                    <a:pt x="57" y="798"/>
                    <a:pt x="58" y="797"/>
                  </a:cubicBezTo>
                  <a:cubicBezTo>
                    <a:pt x="58" y="799"/>
                    <a:pt x="57" y="799"/>
                    <a:pt x="56" y="800"/>
                  </a:cubicBezTo>
                  <a:cubicBezTo>
                    <a:pt x="55" y="800"/>
                    <a:pt x="54" y="799"/>
                    <a:pt x="53" y="799"/>
                  </a:cubicBezTo>
                  <a:cubicBezTo>
                    <a:pt x="53" y="799"/>
                    <a:pt x="52" y="800"/>
                    <a:pt x="51" y="801"/>
                  </a:cubicBezTo>
                  <a:cubicBezTo>
                    <a:pt x="50" y="800"/>
                    <a:pt x="51" y="799"/>
                    <a:pt x="50" y="798"/>
                  </a:cubicBezTo>
                  <a:cubicBezTo>
                    <a:pt x="49" y="797"/>
                    <a:pt x="47" y="797"/>
                    <a:pt x="46" y="797"/>
                  </a:cubicBezTo>
                  <a:cubicBezTo>
                    <a:pt x="47" y="796"/>
                    <a:pt x="47" y="795"/>
                    <a:pt x="46" y="795"/>
                  </a:cubicBezTo>
                  <a:cubicBezTo>
                    <a:pt x="46" y="795"/>
                    <a:pt x="45" y="796"/>
                    <a:pt x="44" y="797"/>
                  </a:cubicBezTo>
                  <a:cubicBezTo>
                    <a:pt x="45" y="795"/>
                    <a:pt x="40" y="794"/>
                    <a:pt x="37" y="794"/>
                  </a:cubicBezTo>
                  <a:cubicBezTo>
                    <a:pt x="35" y="794"/>
                    <a:pt x="34" y="794"/>
                    <a:pt x="33" y="795"/>
                  </a:cubicBezTo>
                  <a:cubicBezTo>
                    <a:pt x="34" y="796"/>
                    <a:pt x="38" y="801"/>
                    <a:pt x="36" y="801"/>
                  </a:cubicBezTo>
                  <a:cubicBezTo>
                    <a:pt x="36" y="801"/>
                    <a:pt x="36" y="801"/>
                    <a:pt x="36" y="800"/>
                  </a:cubicBezTo>
                  <a:cubicBezTo>
                    <a:pt x="34" y="800"/>
                    <a:pt x="35" y="798"/>
                    <a:pt x="34" y="796"/>
                  </a:cubicBezTo>
                  <a:cubicBezTo>
                    <a:pt x="33" y="794"/>
                    <a:pt x="31" y="793"/>
                    <a:pt x="30" y="793"/>
                  </a:cubicBezTo>
                  <a:cubicBezTo>
                    <a:pt x="30" y="793"/>
                    <a:pt x="30" y="793"/>
                    <a:pt x="30" y="793"/>
                  </a:cubicBezTo>
                  <a:cubicBezTo>
                    <a:pt x="26" y="793"/>
                    <a:pt x="26" y="797"/>
                    <a:pt x="27" y="797"/>
                  </a:cubicBezTo>
                  <a:cubicBezTo>
                    <a:pt x="28" y="797"/>
                    <a:pt x="28" y="796"/>
                    <a:pt x="29" y="796"/>
                  </a:cubicBezTo>
                  <a:cubicBezTo>
                    <a:pt x="29" y="798"/>
                    <a:pt x="31" y="799"/>
                    <a:pt x="33" y="800"/>
                  </a:cubicBezTo>
                  <a:cubicBezTo>
                    <a:pt x="33" y="801"/>
                    <a:pt x="35" y="804"/>
                    <a:pt x="35" y="804"/>
                  </a:cubicBezTo>
                  <a:cubicBezTo>
                    <a:pt x="35" y="804"/>
                    <a:pt x="35" y="804"/>
                    <a:pt x="35" y="804"/>
                  </a:cubicBezTo>
                  <a:cubicBezTo>
                    <a:pt x="35" y="804"/>
                    <a:pt x="36" y="804"/>
                    <a:pt x="36" y="804"/>
                  </a:cubicBezTo>
                  <a:cubicBezTo>
                    <a:pt x="37" y="803"/>
                    <a:pt x="38" y="803"/>
                    <a:pt x="38" y="803"/>
                  </a:cubicBezTo>
                  <a:cubicBezTo>
                    <a:pt x="38" y="803"/>
                    <a:pt x="39" y="803"/>
                    <a:pt x="39" y="803"/>
                  </a:cubicBezTo>
                  <a:cubicBezTo>
                    <a:pt x="38" y="804"/>
                    <a:pt x="37" y="804"/>
                    <a:pt x="36" y="805"/>
                  </a:cubicBezTo>
                  <a:cubicBezTo>
                    <a:pt x="36" y="805"/>
                    <a:pt x="36" y="805"/>
                    <a:pt x="36" y="805"/>
                  </a:cubicBezTo>
                  <a:cubicBezTo>
                    <a:pt x="37" y="805"/>
                    <a:pt x="38" y="805"/>
                    <a:pt x="40" y="805"/>
                  </a:cubicBezTo>
                  <a:cubicBezTo>
                    <a:pt x="41" y="806"/>
                    <a:pt x="42" y="806"/>
                    <a:pt x="43" y="806"/>
                  </a:cubicBezTo>
                  <a:cubicBezTo>
                    <a:pt x="43" y="806"/>
                    <a:pt x="43" y="806"/>
                    <a:pt x="43" y="806"/>
                  </a:cubicBezTo>
                  <a:cubicBezTo>
                    <a:pt x="42" y="807"/>
                    <a:pt x="43" y="811"/>
                    <a:pt x="41" y="812"/>
                  </a:cubicBezTo>
                  <a:cubicBezTo>
                    <a:pt x="41" y="812"/>
                    <a:pt x="41" y="812"/>
                    <a:pt x="41" y="812"/>
                  </a:cubicBezTo>
                  <a:cubicBezTo>
                    <a:pt x="40" y="812"/>
                    <a:pt x="41" y="811"/>
                    <a:pt x="40" y="810"/>
                  </a:cubicBezTo>
                  <a:cubicBezTo>
                    <a:pt x="39" y="810"/>
                    <a:pt x="37" y="808"/>
                    <a:pt x="36" y="808"/>
                  </a:cubicBezTo>
                  <a:cubicBezTo>
                    <a:pt x="36" y="808"/>
                    <a:pt x="36" y="808"/>
                    <a:pt x="36" y="808"/>
                  </a:cubicBezTo>
                  <a:cubicBezTo>
                    <a:pt x="34" y="809"/>
                    <a:pt x="32" y="813"/>
                    <a:pt x="33" y="814"/>
                  </a:cubicBezTo>
                  <a:cubicBezTo>
                    <a:pt x="33" y="815"/>
                    <a:pt x="34" y="815"/>
                    <a:pt x="36" y="815"/>
                  </a:cubicBezTo>
                  <a:cubicBezTo>
                    <a:pt x="36" y="815"/>
                    <a:pt x="36" y="815"/>
                    <a:pt x="36" y="815"/>
                  </a:cubicBezTo>
                  <a:cubicBezTo>
                    <a:pt x="36" y="815"/>
                    <a:pt x="36" y="815"/>
                    <a:pt x="37" y="815"/>
                  </a:cubicBezTo>
                  <a:cubicBezTo>
                    <a:pt x="37" y="815"/>
                    <a:pt x="39" y="816"/>
                    <a:pt x="40" y="816"/>
                  </a:cubicBezTo>
                  <a:cubicBezTo>
                    <a:pt x="38" y="816"/>
                    <a:pt x="33" y="816"/>
                    <a:pt x="32" y="818"/>
                  </a:cubicBezTo>
                  <a:cubicBezTo>
                    <a:pt x="30" y="819"/>
                    <a:pt x="31" y="818"/>
                    <a:pt x="31" y="820"/>
                  </a:cubicBezTo>
                  <a:cubicBezTo>
                    <a:pt x="31" y="820"/>
                    <a:pt x="32" y="821"/>
                    <a:pt x="31" y="822"/>
                  </a:cubicBezTo>
                  <a:cubicBezTo>
                    <a:pt x="31" y="823"/>
                    <a:pt x="30" y="824"/>
                    <a:pt x="30" y="825"/>
                  </a:cubicBezTo>
                  <a:cubicBezTo>
                    <a:pt x="30" y="826"/>
                    <a:pt x="31" y="826"/>
                    <a:pt x="31" y="826"/>
                  </a:cubicBezTo>
                  <a:cubicBezTo>
                    <a:pt x="31" y="826"/>
                    <a:pt x="31" y="826"/>
                    <a:pt x="31" y="826"/>
                  </a:cubicBezTo>
                  <a:cubicBezTo>
                    <a:pt x="31" y="826"/>
                    <a:pt x="31" y="827"/>
                    <a:pt x="31" y="828"/>
                  </a:cubicBezTo>
                  <a:cubicBezTo>
                    <a:pt x="32" y="831"/>
                    <a:pt x="31" y="834"/>
                    <a:pt x="32" y="836"/>
                  </a:cubicBezTo>
                  <a:cubicBezTo>
                    <a:pt x="33" y="838"/>
                    <a:pt x="34" y="839"/>
                    <a:pt x="36" y="839"/>
                  </a:cubicBezTo>
                  <a:cubicBezTo>
                    <a:pt x="36" y="839"/>
                    <a:pt x="36" y="839"/>
                    <a:pt x="37" y="839"/>
                  </a:cubicBezTo>
                  <a:cubicBezTo>
                    <a:pt x="38" y="837"/>
                    <a:pt x="37" y="832"/>
                    <a:pt x="37" y="830"/>
                  </a:cubicBezTo>
                  <a:cubicBezTo>
                    <a:pt x="37" y="830"/>
                    <a:pt x="38" y="831"/>
                    <a:pt x="38" y="831"/>
                  </a:cubicBezTo>
                  <a:cubicBezTo>
                    <a:pt x="39" y="831"/>
                    <a:pt x="40" y="829"/>
                    <a:pt x="40" y="828"/>
                  </a:cubicBezTo>
                  <a:cubicBezTo>
                    <a:pt x="40" y="826"/>
                    <a:pt x="40" y="824"/>
                    <a:pt x="41" y="824"/>
                  </a:cubicBezTo>
                  <a:cubicBezTo>
                    <a:pt x="41" y="824"/>
                    <a:pt x="42" y="824"/>
                    <a:pt x="43" y="825"/>
                  </a:cubicBezTo>
                  <a:cubicBezTo>
                    <a:pt x="42" y="826"/>
                    <a:pt x="41" y="830"/>
                    <a:pt x="41" y="831"/>
                  </a:cubicBezTo>
                  <a:cubicBezTo>
                    <a:pt x="41" y="833"/>
                    <a:pt x="43" y="833"/>
                    <a:pt x="44" y="834"/>
                  </a:cubicBezTo>
                  <a:cubicBezTo>
                    <a:pt x="44" y="834"/>
                    <a:pt x="44" y="834"/>
                    <a:pt x="44" y="834"/>
                  </a:cubicBezTo>
                  <a:cubicBezTo>
                    <a:pt x="43" y="834"/>
                    <a:pt x="42" y="834"/>
                    <a:pt x="41" y="833"/>
                  </a:cubicBezTo>
                  <a:cubicBezTo>
                    <a:pt x="40" y="834"/>
                    <a:pt x="38" y="838"/>
                    <a:pt x="39" y="839"/>
                  </a:cubicBezTo>
                  <a:cubicBezTo>
                    <a:pt x="40" y="839"/>
                    <a:pt x="41" y="839"/>
                    <a:pt x="42" y="839"/>
                  </a:cubicBezTo>
                  <a:cubicBezTo>
                    <a:pt x="43" y="840"/>
                    <a:pt x="43" y="843"/>
                    <a:pt x="45" y="844"/>
                  </a:cubicBezTo>
                  <a:cubicBezTo>
                    <a:pt x="46" y="844"/>
                    <a:pt x="49" y="846"/>
                    <a:pt x="47" y="847"/>
                  </a:cubicBezTo>
                  <a:cubicBezTo>
                    <a:pt x="47" y="845"/>
                    <a:pt x="45" y="845"/>
                    <a:pt x="44" y="844"/>
                  </a:cubicBezTo>
                  <a:cubicBezTo>
                    <a:pt x="43" y="843"/>
                    <a:pt x="42" y="840"/>
                    <a:pt x="41" y="840"/>
                  </a:cubicBezTo>
                  <a:cubicBezTo>
                    <a:pt x="41" y="840"/>
                    <a:pt x="41" y="841"/>
                    <a:pt x="41" y="842"/>
                  </a:cubicBezTo>
                  <a:cubicBezTo>
                    <a:pt x="41" y="841"/>
                    <a:pt x="40" y="840"/>
                    <a:pt x="39" y="840"/>
                  </a:cubicBezTo>
                  <a:cubicBezTo>
                    <a:pt x="37" y="840"/>
                    <a:pt x="34" y="842"/>
                    <a:pt x="34" y="843"/>
                  </a:cubicBezTo>
                  <a:cubicBezTo>
                    <a:pt x="33" y="845"/>
                    <a:pt x="34" y="846"/>
                    <a:pt x="35" y="846"/>
                  </a:cubicBezTo>
                  <a:cubicBezTo>
                    <a:pt x="35" y="846"/>
                    <a:pt x="36" y="846"/>
                    <a:pt x="36" y="846"/>
                  </a:cubicBezTo>
                  <a:cubicBezTo>
                    <a:pt x="37" y="846"/>
                    <a:pt x="37" y="846"/>
                    <a:pt x="38" y="846"/>
                  </a:cubicBezTo>
                  <a:cubicBezTo>
                    <a:pt x="38" y="846"/>
                    <a:pt x="39" y="846"/>
                    <a:pt x="39" y="846"/>
                  </a:cubicBezTo>
                  <a:cubicBezTo>
                    <a:pt x="36" y="846"/>
                    <a:pt x="31" y="848"/>
                    <a:pt x="35" y="851"/>
                  </a:cubicBezTo>
                  <a:cubicBezTo>
                    <a:pt x="36" y="851"/>
                    <a:pt x="37" y="851"/>
                    <a:pt x="38" y="851"/>
                  </a:cubicBezTo>
                  <a:cubicBezTo>
                    <a:pt x="38" y="852"/>
                    <a:pt x="38" y="853"/>
                    <a:pt x="39" y="853"/>
                  </a:cubicBezTo>
                  <a:cubicBezTo>
                    <a:pt x="39" y="853"/>
                    <a:pt x="39" y="853"/>
                    <a:pt x="39" y="853"/>
                  </a:cubicBezTo>
                  <a:cubicBezTo>
                    <a:pt x="40" y="853"/>
                    <a:pt x="41" y="852"/>
                    <a:pt x="41" y="852"/>
                  </a:cubicBezTo>
                  <a:cubicBezTo>
                    <a:pt x="41" y="852"/>
                    <a:pt x="42" y="851"/>
                    <a:pt x="42" y="851"/>
                  </a:cubicBezTo>
                  <a:cubicBezTo>
                    <a:pt x="43" y="851"/>
                    <a:pt x="43" y="851"/>
                    <a:pt x="43" y="851"/>
                  </a:cubicBezTo>
                  <a:cubicBezTo>
                    <a:pt x="42" y="853"/>
                    <a:pt x="40" y="854"/>
                    <a:pt x="42" y="855"/>
                  </a:cubicBezTo>
                  <a:cubicBezTo>
                    <a:pt x="42" y="855"/>
                    <a:pt x="41" y="855"/>
                    <a:pt x="41" y="855"/>
                  </a:cubicBezTo>
                  <a:cubicBezTo>
                    <a:pt x="40" y="855"/>
                    <a:pt x="38" y="854"/>
                    <a:pt x="37" y="854"/>
                  </a:cubicBezTo>
                  <a:cubicBezTo>
                    <a:pt x="36" y="853"/>
                    <a:pt x="36" y="852"/>
                    <a:pt x="35" y="852"/>
                  </a:cubicBezTo>
                  <a:cubicBezTo>
                    <a:pt x="35" y="852"/>
                    <a:pt x="35" y="852"/>
                    <a:pt x="35" y="852"/>
                  </a:cubicBezTo>
                  <a:cubicBezTo>
                    <a:pt x="32" y="852"/>
                    <a:pt x="33" y="854"/>
                    <a:pt x="34" y="855"/>
                  </a:cubicBezTo>
                  <a:cubicBezTo>
                    <a:pt x="34" y="856"/>
                    <a:pt x="35" y="856"/>
                    <a:pt x="36" y="857"/>
                  </a:cubicBezTo>
                  <a:cubicBezTo>
                    <a:pt x="37" y="859"/>
                    <a:pt x="36" y="859"/>
                    <a:pt x="38" y="860"/>
                  </a:cubicBezTo>
                  <a:cubicBezTo>
                    <a:pt x="38" y="860"/>
                    <a:pt x="40" y="861"/>
                    <a:pt x="40" y="861"/>
                  </a:cubicBezTo>
                  <a:cubicBezTo>
                    <a:pt x="41" y="861"/>
                    <a:pt x="43" y="862"/>
                    <a:pt x="44" y="863"/>
                  </a:cubicBezTo>
                  <a:cubicBezTo>
                    <a:pt x="44" y="863"/>
                    <a:pt x="44" y="863"/>
                    <a:pt x="44" y="863"/>
                  </a:cubicBezTo>
                  <a:cubicBezTo>
                    <a:pt x="42" y="863"/>
                    <a:pt x="41" y="861"/>
                    <a:pt x="39" y="861"/>
                  </a:cubicBezTo>
                  <a:cubicBezTo>
                    <a:pt x="39" y="861"/>
                    <a:pt x="38" y="861"/>
                    <a:pt x="38" y="861"/>
                  </a:cubicBezTo>
                  <a:cubicBezTo>
                    <a:pt x="38" y="861"/>
                    <a:pt x="38" y="861"/>
                    <a:pt x="37" y="861"/>
                  </a:cubicBezTo>
                  <a:cubicBezTo>
                    <a:pt x="37" y="861"/>
                    <a:pt x="37" y="861"/>
                    <a:pt x="37" y="861"/>
                  </a:cubicBezTo>
                  <a:cubicBezTo>
                    <a:pt x="37" y="861"/>
                    <a:pt x="37" y="861"/>
                    <a:pt x="36" y="860"/>
                  </a:cubicBezTo>
                  <a:cubicBezTo>
                    <a:pt x="35" y="859"/>
                    <a:pt x="34" y="857"/>
                    <a:pt x="32" y="857"/>
                  </a:cubicBezTo>
                  <a:cubicBezTo>
                    <a:pt x="32" y="856"/>
                    <a:pt x="32" y="856"/>
                    <a:pt x="32" y="856"/>
                  </a:cubicBezTo>
                  <a:cubicBezTo>
                    <a:pt x="31" y="856"/>
                    <a:pt x="31" y="857"/>
                    <a:pt x="30" y="857"/>
                  </a:cubicBezTo>
                  <a:cubicBezTo>
                    <a:pt x="30" y="857"/>
                    <a:pt x="29" y="858"/>
                    <a:pt x="29" y="858"/>
                  </a:cubicBezTo>
                  <a:cubicBezTo>
                    <a:pt x="29" y="858"/>
                    <a:pt x="29" y="858"/>
                    <a:pt x="29" y="857"/>
                  </a:cubicBezTo>
                  <a:cubicBezTo>
                    <a:pt x="27" y="858"/>
                    <a:pt x="26" y="859"/>
                    <a:pt x="25" y="860"/>
                  </a:cubicBezTo>
                  <a:cubicBezTo>
                    <a:pt x="27" y="861"/>
                    <a:pt x="27" y="862"/>
                    <a:pt x="29" y="863"/>
                  </a:cubicBezTo>
                  <a:cubicBezTo>
                    <a:pt x="30" y="864"/>
                    <a:pt x="31" y="865"/>
                    <a:pt x="32" y="865"/>
                  </a:cubicBezTo>
                  <a:cubicBezTo>
                    <a:pt x="32" y="865"/>
                    <a:pt x="33" y="865"/>
                    <a:pt x="33" y="865"/>
                  </a:cubicBezTo>
                  <a:cubicBezTo>
                    <a:pt x="33" y="866"/>
                    <a:pt x="34" y="867"/>
                    <a:pt x="35" y="867"/>
                  </a:cubicBezTo>
                  <a:cubicBezTo>
                    <a:pt x="36" y="867"/>
                    <a:pt x="38" y="866"/>
                    <a:pt x="39" y="866"/>
                  </a:cubicBezTo>
                  <a:cubicBezTo>
                    <a:pt x="36" y="868"/>
                    <a:pt x="40" y="868"/>
                    <a:pt x="40" y="868"/>
                  </a:cubicBezTo>
                  <a:cubicBezTo>
                    <a:pt x="42" y="869"/>
                    <a:pt x="42" y="870"/>
                    <a:pt x="44" y="871"/>
                  </a:cubicBezTo>
                  <a:cubicBezTo>
                    <a:pt x="42" y="870"/>
                    <a:pt x="40" y="870"/>
                    <a:pt x="39" y="869"/>
                  </a:cubicBezTo>
                  <a:cubicBezTo>
                    <a:pt x="39" y="871"/>
                    <a:pt x="39" y="871"/>
                    <a:pt x="38" y="871"/>
                  </a:cubicBezTo>
                  <a:cubicBezTo>
                    <a:pt x="38" y="871"/>
                    <a:pt x="36" y="869"/>
                    <a:pt x="34" y="869"/>
                  </a:cubicBezTo>
                  <a:cubicBezTo>
                    <a:pt x="36" y="872"/>
                    <a:pt x="38" y="879"/>
                    <a:pt x="41" y="879"/>
                  </a:cubicBezTo>
                  <a:cubicBezTo>
                    <a:pt x="42" y="879"/>
                    <a:pt x="43" y="879"/>
                    <a:pt x="43" y="878"/>
                  </a:cubicBezTo>
                  <a:cubicBezTo>
                    <a:pt x="46" y="876"/>
                    <a:pt x="45" y="874"/>
                    <a:pt x="46" y="872"/>
                  </a:cubicBezTo>
                  <a:cubicBezTo>
                    <a:pt x="47" y="869"/>
                    <a:pt x="49" y="869"/>
                    <a:pt x="51" y="866"/>
                  </a:cubicBezTo>
                  <a:cubicBezTo>
                    <a:pt x="51" y="868"/>
                    <a:pt x="48" y="871"/>
                    <a:pt x="48" y="871"/>
                  </a:cubicBezTo>
                  <a:cubicBezTo>
                    <a:pt x="48" y="873"/>
                    <a:pt x="52" y="874"/>
                    <a:pt x="53" y="874"/>
                  </a:cubicBezTo>
                  <a:cubicBezTo>
                    <a:pt x="53" y="875"/>
                    <a:pt x="52" y="875"/>
                    <a:pt x="52" y="875"/>
                  </a:cubicBezTo>
                  <a:cubicBezTo>
                    <a:pt x="51" y="875"/>
                    <a:pt x="51" y="875"/>
                    <a:pt x="50" y="874"/>
                  </a:cubicBezTo>
                  <a:cubicBezTo>
                    <a:pt x="50" y="874"/>
                    <a:pt x="50" y="874"/>
                    <a:pt x="49" y="874"/>
                  </a:cubicBezTo>
                  <a:cubicBezTo>
                    <a:pt x="49" y="874"/>
                    <a:pt x="48" y="874"/>
                    <a:pt x="47" y="875"/>
                  </a:cubicBezTo>
                  <a:cubicBezTo>
                    <a:pt x="47" y="876"/>
                    <a:pt x="47" y="883"/>
                    <a:pt x="45" y="883"/>
                  </a:cubicBezTo>
                  <a:cubicBezTo>
                    <a:pt x="45" y="883"/>
                    <a:pt x="45" y="883"/>
                    <a:pt x="45" y="883"/>
                  </a:cubicBezTo>
                  <a:cubicBezTo>
                    <a:pt x="45" y="883"/>
                    <a:pt x="44" y="881"/>
                    <a:pt x="43" y="880"/>
                  </a:cubicBezTo>
                  <a:cubicBezTo>
                    <a:pt x="44" y="881"/>
                    <a:pt x="40" y="881"/>
                    <a:pt x="40" y="881"/>
                  </a:cubicBezTo>
                  <a:cubicBezTo>
                    <a:pt x="38" y="881"/>
                    <a:pt x="36" y="883"/>
                    <a:pt x="36" y="886"/>
                  </a:cubicBezTo>
                  <a:cubicBezTo>
                    <a:pt x="36" y="887"/>
                    <a:pt x="38" y="890"/>
                    <a:pt x="39" y="891"/>
                  </a:cubicBezTo>
                  <a:cubicBezTo>
                    <a:pt x="39" y="891"/>
                    <a:pt x="39" y="891"/>
                    <a:pt x="40" y="891"/>
                  </a:cubicBezTo>
                  <a:cubicBezTo>
                    <a:pt x="41" y="891"/>
                    <a:pt x="40" y="889"/>
                    <a:pt x="41" y="888"/>
                  </a:cubicBezTo>
                  <a:cubicBezTo>
                    <a:pt x="41" y="889"/>
                    <a:pt x="42" y="891"/>
                    <a:pt x="43" y="892"/>
                  </a:cubicBezTo>
                  <a:cubicBezTo>
                    <a:pt x="43" y="892"/>
                    <a:pt x="43" y="892"/>
                    <a:pt x="43" y="892"/>
                  </a:cubicBezTo>
                  <a:cubicBezTo>
                    <a:pt x="44" y="892"/>
                    <a:pt x="45" y="891"/>
                    <a:pt x="45" y="891"/>
                  </a:cubicBezTo>
                  <a:cubicBezTo>
                    <a:pt x="46" y="890"/>
                    <a:pt x="46" y="890"/>
                    <a:pt x="47" y="890"/>
                  </a:cubicBezTo>
                  <a:cubicBezTo>
                    <a:pt x="47" y="890"/>
                    <a:pt x="47" y="890"/>
                    <a:pt x="48" y="890"/>
                  </a:cubicBezTo>
                  <a:cubicBezTo>
                    <a:pt x="47" y="891"/>
                    <a:pt x="47" y="891"/>
                    <a:pt x="46" y="892"/>
                  </a:cubicBezTo>
                  <a:cubicBezTo>
                    <a:pt x="48" y="893"/>
                    <a:pt x="47" y="895"/>
                    <a:pt x="48" y="897"/>
                  </a:cubicBezTo>
                  <a:cubicBezTo>
                    <a:pt x="49" y="898"/>
                    <a:pt x="50" y="898"/>
                    <a:pt x="50" y="899"/>
                  </a:cubicBezTo>
                  <a:cubicBezTo>
                    <a:pt x="51" y="900"/>
                    <a:pt x="50" y="903"/>
                    <a:pt x="50" y="904"/>
                  </a:cubicBezTo>
                  <a:cubicBezTo>
                    <a:pt x="50" y="903"/>
                    <a:pt x="49" y="901"/>
                    <a:pt x="48" y="900"/>
                  </a:cubicBezTo>
                  <a:cubicBezTo>
                    <a:pt x="47" y="898"/>
                    <a:pt x="46" y="898"/>
                    <a:pt x="46" y="897"/>
                  </a:cubicBezTo>
                  <a:cubicBezTo>
                    <a:pt x="44" y="899"/>
                    <a:pt x="44" y="901"/>
                    <a:pt x="44" y="903"/>
                  </a:cubicBezTo>
                  <a:cubicBezTo>
                    <a:pt x="45" y="904"/>
                    <a:pt x="46" y="906"/>
                    <a:pt x="47" y="907"/>
                  </a:cubicBezTo>
                  <a:cubicBezTo>
                    <a:pt x="47" y="908"/>
                    <a:pt x="48" y="908"/>
                    <a:pt x="48" y="908"/>
                  </a:cubicBezTo>
                  <a:cubicBezTo>
                    <a:pt x="48" y="908"/>
                    <a:pt x="48" y="908"/>
                    <a:pt x="48" y="908"/>
                  </a:cubicBezTo>
                  <a:cubicBezTo>
                    <a:pt x="49" y="906"/>
                    <a:pt x="49" y="906"/>
                    <a:pt x="49" y="906"/>
                  </a:cubicBezTo>
                  <a:cubicBezTo>
                    <a:pt x="49" y="906"/>
                    <a:pt x="49" y="906"/>
                    <a:pt x="49" y="906"/>
                  </a:cubicBezTo>
                  <a:cubicBezTo>
                    <a:pt x="49" y="906"/>
                    <a:pt x="49" y="906"/>
                    <a:pt x="49" y="906"/>
                  </a:cubicBezTo>
                  <a:cubicBezTo>
                    <a:pt x="50" y="906"/>
                    <a:pt x="50" y="906"/>
                    <a:pt x="50" y="906"/>
                  </a:cubicBezTo>
                  <a:cubicBezTo>
                    <a:pt x="50" y="906"/>
                    <a:pt x="50" y="906"/>
                    <a:pt x="50" y="906"/>
                  </a:cubicBezTo>
                  <a:cubicBezTo>
                    <a:pt x="53" y="906"/>
                    <a:pt x="53" y="906"/>
                    <a:pt x="53" y="906"/>
                  </a:cubicBezTo>
                  <a:cubicBezTo>
                    <a:pt x="52" y="907"/>
                    <a:pt x="51" y="907"/>
                    <a:pt x="51" y="908"/>
                  </a:cubicBezTo>
                  <a:cubicBezTo>
                    <a:pt x="51" y="910"/>
                    <a:pt x="54" y="914"/>
                    <a:pt x="55" y="916"/>
                  </a:cubicBezTo>
                  <a:cubicBezTo>
                    <a:pt x="54" y="915"/>
                    <a:pt x="52" y="912"/>
                    <a:pt x="51" y="912"/>
                  </a:cubicBezTo>
                  <a:cubicBezTo>
                    <a:pt x="51" y="912"/>
                    <a:pt x="51" y="912"/>
                    <a:pt x="51" y="912"/>
                  </a:cubicBezTo>
                  <a:cubicBezTo>
                    <a:pt x="46" y="912"/>
                    <a:pt x="54" y="918"/>
                    <a:pt x="55" y="919"/>
                  </a:cubicBezTo>
                  <a:cubicBezTo>
                    <a:pt x="53" y="918"/>
                    <a:pt x="50" y="916"/>
                    <a:pt x="48" y="916"/>
                  </a:cubicBezTo>
                  <a:cubicBezTo>
                    <a:pt x="48" y="916"/>
                    <a:pt x="47" y="917"/>
                    <a:pt x="48" y="919"/>
                  </a:cubicBezTo>
                  <a:cubicBezTo>
                    <a:pt x="49" y="920"/>
                    <a:pt x="51" y="921"/>
                    <a:pt x="51" y="922"/>
                  </a:cubicBezTo>
                  <a:cubicBezTo>
                    <a:pt x="51" y="923"/>
                    <a:pt x="50" y="924"/>
                    <a:pt x="50" y="924"/>
                  </a:cubicBezTo>
                  <a:cubicBezTo>
                    <a:pt x="50" y="925"/>
                    <a:pt x="51" y="925"/>
                    <a:pt x="51" y="926"/>
                  </a:cubicBezTo>
                  <a:cubicBezTo>
                    <a:pt x="51" y="927"/>
                    <a:pt x="48" y="927"/>
                    <a:pt x="49" y="928"/>
                  </a:cubicBezTo>
                  <a:cubicBezTo>
                    <a:pt x="49" y="929"/>
                    <a:pt x="49" y="929"/>
                    <a:pt x="50" y="929"/>
                  </a:cubicBezTo>
                  <a:cubicBezTo>
                    <a:pt x="51" y="929"/>
                    <a:pt x="52" y="928"/>
                    <a:pt x="52" y="928"/>
                  </a:cubicBezTo>
                  <a:cubicBezTo>
                    <a:pt x="52" y="930"/>
                    <a:pt x="47" y="935"/>
                    <a:pt x="49" y="935"/>
                  </a:cubicBezTo>
                  <a:cubicBezTo>
                    <a:pt x="50" y="935"/>
                    <a:pt x="50" y="935"/>
                    <a:pt x="50" y="935"/>
                  </a:cubicBezTo>
                  <a:cubicBezTo>
                    <a:pt x="50" y="936"/>
                    <a:pt x="50" y="937"/>
                    <a:pt x="50" y="938"/>
                  </a:cubicBezTo>
                  <a:cubicBezTo>
                    <a:pt x="51" y="937"/>
                    <a:pt x="52" y="937"/>
                    <a:pt x="52" y="936"/>
                  </a:cubicBezTo>
                  <a:cubicBezTo>
                    <a:pt x="54" y="935"/>
                    <a:pt x="54" y="934"/>
                    <a:pt x="55" y="932"/>
                  </a:cubicBezTo>
                  <a:cubicBezTo>
                    <a:pt x="56" y="934"/>
                    <a:pt x="57" y="936"/>
                    <a:pt x="58" y="936"/>
                  </a:cubicBezTo>
                  <a:cubicBezTo>
                    <a:pt x="58" y="936"/>
                    <a:pt x="58" y="936"/>
                    <a:pt x="58" y="936"/>
                  </a:cubicBezTo>
                  <a:cubicBezTo>
                    <a:pt x="60" y="934"/>
                    <a:pt x="60" y="934"/>
                    <a:pt x="60" y="934"/>
                  </a:cubicBezTo>
                  <a:cubicBezTo>
                    <a:pt x="61" y="932"/>
                    <a:pt x="62" y="930"/>
                    <a:pt x="64" y="930"/>
                  </a:cubicBezTo>
                  <a:cubicBezTo>
                    <a:pt x="64" y="930"/>
                    <a:pt x="65" y="931"/>
                    <a:pt x="66" y="931"/>
                  </a:cubicBezTo>
                  <a:cubicBezTo>
                    <a:pt x="63" y="933"/>
                    <a:pt x="56" y="937"/>
                    <a:pt x="59" y="940"/>
                  </a:cubicBezTo>
                  <a:cubicBezTo>
                    <a:pt x="58" y="940"/>
                    <a:pt x="58" y="940"/>
                    <a:pt x="57" y="940"/>
                  </a:cubicBezTo>
                  <a:cubicBezTo>
                    <a:pt x="55" y="940"/>
                    <a:pt x="53" y="940"/>
                    <a:pt x="51" y="940"/>
                  </a:cubicBezTo>
                  <a:cubicBezTo>
                    <a:pt x="53" y="941"/>
                    <a:pt x="56" y="943"/>
                    <a:pt x="57" y="943"/>
                  </a:cubicBezTo>
                  <a:cubicBezTo>
                    <a:pt x="57" y="943"/>
                    <a:pt x="57" y="943"/>
                    <a:pt x="57" y="942"/>
                  </a:cubicBezTo>
                  <a:cubicBezTo>
                    <a:pt x="58" y="944"/>
                    <a:pt x="60" y="943"/>
                    <a:pt x="58" y="945"/>
                  </a:cubicBezTo>
                  <a:cubicBezTo>
                    <a:pt x="58" y="945"/>
                    <a:pt x="55" y="946"/>
                    <a:pt x="54" y="946"/>
                  </a:cubicBezTo>
                  <a:cubicBezTo>
                    <a:pt x="56" y="947"/>
                    <a:pt x="58" y="950"/>
                    <a:pt x="61" y="950"/>
                  </a:cubicBezTo>
                  <a:cubicBezTo>
                    <a:pt x="61" y="950"/>
                    <a:pt x="62" y="949"/>
                    <a:pt x="64" y="949"/>
                  </a:cubicBezTo>
                  <a:cubicBezTo>
                    <a:pt x="65" y="948"/>
                    <a:pt x="65" y="947"/>
                    <a:pt x="65" y="945"/>
                  </a:cubicBezTo>
                  <a:cubicBezTo>
                    <a:pt x="65" y="945"/>
                    <a:pt x="64" y="942"/>
                    <a:pt x="64" y="942"/>
                  </a:cubicBezTo>
                  <a:cubicBezTo>
                    <a:pt x="65" y="940"/>
                    <a:pt x="68" y="940"/>
                    <a:pt x="70" y="938"/>
                  </a:cubicBezTo>
                  <a:cubicBezTo>
                    <a:pt x="72" y="936"/>
                    <a:pt x="71" y="936"/>
                    <a:pt x="71" y="935"/>
                  </a:cubicBezTo>
                  <a:cubicBezTo>
                    <a:pt x="71" y="935"/>
                    <a:pt x="68" y="934"/>
                    <a:pt x="68" y="934"/>
                  </a:cubicBezTo>
                  <a:cubicBezTo>
                    <a:pt x="67" y="934"/>
                    <a:pt x="66" y="937"/>
                    <a:pt x="64" y="937"/>
                  </a:cubicBezTo>
                  <a:cubicBezTo>
                    <a:pt x="65" y="937"/>
                    <a:pt x="66" y="935"/>
                    <a:pt x="67" y="934"/>
                  </a:cubicBezTo>
                  <a:cubicBezTo>
                    <a:pt x="69" y="932"/>
                    <a:pt x="75" y="931"/>
                    <a:pt x="78" y="931"/>
                  </a:cubicBezTo>
                  <a:cubicBezTo>
                    <a:pt x="78" y="932"/>
                    <a:pt x="78" y="932"/>
                    <a:pt x="78" y="932"/>
                  </a:cubicBezTo>
                  <a:cubicBezTo>
                    <a:pt x="78" y="932"/>
                    <a:pt x="77" y="932"/>
                    <a:pt x="77" y="932"/>
                  </a:cubicBezTo>
                  <a:cubicBezTo>
                    <a:pt x="77" y="932"/>
                    <a:pt x="77" y="932"/>
                    <a:pt x="77" y="932"/>
                  </a:cubicBezTo>
                  <a:cubicBezTo>
                    <a:pt x="77" y="932"/>
                    <a:pt x="77" y="932"/>
                    <a:pt x="77" y="932"/>
                  </a:cubicBezTo>
                  <a:cubicBezTo>
                    <a:pt x="77" y="935"/>
                    <a:pt x="78" y="935"/>
                    <a:pt x="80" y="935"/>
                  </a:cubicBezTo>
                  <a:cubicBezTo>
                    <a:pt x="81" y="935"/>
                    <a:pt x="82" y="935"/>
                    <a:pt x="84" y="935"/>
                  </a:cubicBezTo>
                  <a:cubicBezTo>
                    <a:pt x="83" y="938"/>
                    <a:pt x="79" y="938"/>
                    <a:pt x="78" y="941"/>
                  </a:cubicBezTo>
                  <a:cubicBezTo>
                    <a:pt x="78" y="941"/>
                    <a:pt x="77" y="942"/>
                    <a:pt x="77" y="942"/>
                  </a:cubicBezTo>
                  <a:cubicBezTo>
                    <a:pt x="77" y="942"/>
                    <a:pt x="76" y="941"/>
                    <a:pt x="75" y="941"/>
                  </a:cubicBezTo>
                  <a:cubicBezTo>
                    <a:pt x="75" y="940"/>
                    <a:pt x="75" y="940"/>
                    <a:pt x="74" y="940"/>
                  </a:cubicBezTo>
                  <a:cubicBezTo>
                    <a:pt x="73" y="940"/>
                    <a:pt x="73" y="941"/>
                    <a:pt x="71" y="942"/>
                  </a:cubicBezTo>
                  <a:cubicBezTo>
                    <a:pt x="71" y="941"/>
                    <a:pt x="73" y="940"/>
                    <a:pt x="73" y="938"/>
                  </a:cubicBezTo>
                  <a:cubicBezTo>
                    <a:pt x="73" y="938"/>
                    <a:pt x="72" y="938"/>
                    <a:pt x="72" y="938"/>
                  </a:cubicBezTo>
                  <a:cubicBezTo>
                    <a:pt x="70" y="938"/>
                    <a:pt x="69" y="939"/>
                    <a:pt x="68" y="940"/>
                  </a:cubicBezTo>
                  <a:cubicBezTo>
                    <a:pt x="66" y="942"/>
                    <a:pt x="65" y="948"/>
                    <a:pt x="66" y="950"/>
                  </a:cubicBezTo>
                  <a:cubicBezTo>
                    <a:pt x="67" y="952"/>
                    <a:pt x="70" y="953"/>
                    <a:pt x="71" y="955"/>
                  </a:cubicBezTo>
                  <a:cubicBezTo>
                    <a:pt x="70" y="955"/>
                    <a:pt x="68" y="952"/>
                    <a:pt x="66" y="952"/>
                  </a:cubicBezTo>
                  <a:cubicBezTo>
                    <a:pt x="65" y="952"/>
                    <a:pt x="65" y="951"/>
                    <a:pt x="65" y="951"/>
                  </a:cubicBezTo>
                  <a:cubicBezTo>
                    <a:pt x="64" y="951"/>
                    <a:pt x="63" y="952"/>
                    <a:pt x="62" y="952"/>
                  </a:cubicBezTo>
                  <a:cubicBezTo>
                    <a:pt x="62" y="952"/>
                    <a:pt x="61" y="952"/>
                    <a:pt x="61" y="952"/>
                  </a:cubicBezTo>
                  <a:cubicBezTo>
                    <a:pt x="60" y="952"/>
                    <a:pt x="59" y="952"/>
                    <a:pt x="57" y="952"/>
                  </a:cubicBezTo>
                  <a:cubicBezTo>
                    <a:pt x="60" y="953"/>
                    <a:pt x="61" y="955"/>
                    <a:pt x="64" y="956"/>
                  </a:cubicBezTo>
                  <a:cubicBezTo>
                    <a:pt x="65" y="957"/>
                    <a:pt x="66" y="957"/>
                    <a:pt x="66" y="958"/>
                  </a:cubicBezTo>
                  <a:cubicBezTo>
                    <a:pt x="67" y="958"/>
                    <a:pt x="68" y="960"/>
                    <a:pt x="69" y="960"/>
                  </a:cubicBezTo>
                  <a:cubicBezTo>
                    <a:pt x="69" y="960"/>
                    <a:pt x="69" y="960"/>
                    <a:pt x="70" y="959"/>
                  </a:cubicBezTo>
                  <a:cubicBezTo>
                    <a:pt x="71" y="962"/>
                    <a:pt x="75" y="963"/>
                    <a:pt x="78" y="963"/>
                  </a:cubicBezTo>
                  <a:cubicBezTo>
                    <a:pt x="78" y="963"/>
                    <a:pt x="79" y="963"/>
                    <a:pt x="79" y="963"/>
                  </a:cubicBezTo>
                  <a:cubicBezTo>
                    <a:pt x="77" y="961"/>
                    <a:pt x="75" y="960"/>
                    <a:pt x="73" y="958"/>
                  </a:cubicBezTo>
                  <a:cubicBezTo>
                    <a:pt x="73" y="958"/>
                    <a:pt x="74" y="958"/>
                    <a:pt x="74" y="958"/>
                  </a:cubicBezTo>
                  <a:cubicBezTo>
                    <a:pt x="75" y="958"/>
                    <a:pt x="76" y="957"/>
                    <a:pt x="76" y="955"/>
                  </a:cubicBezTo>
                  <a:cubicBezTo>
                    <a:pt x="76" y="955"/>
                    <a:pt x="76" y="955"/>
                    <a:pt x="77" y="955"/>
                  </a:cubicBezTo>
                  <a:cubicBezTo>
                    <a:pt x="78" y="955"/>
                    <a:pt x="77" y="954"/>
                    <a:pt x="75" y="953"/>
                  </a:cubicBezTo>
                  <a:cubicBezTo>
                    <a:pt x="76" y="953"/>
                    <a:pt x="77" y="954"/>
                    <a:pt x="78" y="954"/>
                  </a:cubicBezTo>
                  <a:cubicBezTo>
                    <a:pt x="80" y="954"/>
                    <a:pt x="80" y="953"/>
                    <a:pt x="79" y="952"/>
                  </a:cubicBezTo>
                  <a:cubicBezTo>
                    <a:pt x="80" y="953"/>
                    <a:pt x="81" y="953"/>
                    <a:pt x="82" y="953"/>
                  </a:cubicBezTo>
                  <a:cubicBezTo>
                    <a:pt x="82" y="953"/>
                    <a:pt x="83" y="953"/>
                    <a:pt x="83" y="952"/>
                  </a:cubicBezTo>
                  <a:cubicBezTo>
                    <a:pt x="83" y="951"/>
                    <a:pt x="81" y="951"/>
                    <a:pt x="80" y="951"/>
                  </a:cubicBezTo>
                  <a:cubicBezTo>
                    <a:pt x="79" y="950"/>
                    <a:pt x="80" y="949"/>
                    <a:pt x="78" y="949"/>
                  </a:cubicBezTo>
                  <a:cubicBezTo>
                    <a:pt x="78" y="949"/>
                    <a:pt x="78" y="949"/>
                    <a:pt x="78" y="949"/>
                  </a:cubicBezTo>
                  <a:cubicBezTo>
                    <a:pt x="77" y="949"/>
                    <a:pt x="77" y="949"/>
                    <a:pt x="76" y="949"/>
                  </a:cubicBezTo>
                  <a:cubicBezTo>
                    <a:pt x="76" y="949"/>
                    <a:pt x="76" y="949"/>
                    <a:pt x="75" y="949"/>
                  </a:cubicBezTo>
                  <a:cubicBezTo>
                    <a:pt x="75" y="949"/>
                    <a:pt x="75" y="949"/>
                    <a:pt x="75" y="949"/>
                  </a:cubicBezTo>
                  <a:cubicBezTo>
                    <a:pt x="75" y="948"/>
                    <a:pt x="76" y="948"/>
                    <a:pt x="77" y="948"/>
                  </a:cubicBezTo>
                  <a:cubicBezTo>
                    <a:pt x="80" y="948"/>
                    <a:pt x="83" y="950"/>
                    <a:pt x="85" y="950"/>
                  </a:cubicBezTo>
                  <a:cubicBezTo>
                    <a:pt x="85" y="950"/>
                    <a:pt x="85" y="951"/>
                    <a:pt x="86" y="951"/>
                  </a:cubicBezTo>
                  <a:cubicBezTo>
                    <a:pt x="87" y="951"/>
                    <a:pt x="88" y="949"/>
                    <a:pt x="89" y="948"/>
                  </a:cubicBezTo>
                  <a:cubicBezTo>
                    <a:pt x="91" y="946"/>
                    <a:pt x="93" y="944"/>
                    <a:pt x="96" y="943"/>
                  </a:cubicBezTo>
                  <a:cubicBezTo>
                    <a:pt x="99" y="941"/>
                    <a:pt x="102" y="941"/>
                    <a:pt x="105" y="941"/>
                  </a:cubicBezTo>
                  <a:cubicBezTo>
                    <a:pt x="106" y="941"/>
                    <a:pt x="106" y="941"/>
                    <a:pt x="106" y="941"/>
                  </a:cubicBezTo>
                  <a:cubicBezTo>
                    <a:pt x="109" y="941"/>
                    <a:pt x="108" y="942"/>
                    <a:pt x="107" y="944"/>
                  </a:cubicBezTo>
                  <a:cubicBezTo>
                    <a:pt x="106" y="946"/>
                    <a:pt x="104" y="949"/>
                    <a:pt x="102" y="950"/>
                  </a:cubicBezTo>
                  <a:cubicBezTo>
                    <a:pt x="100" y="951"/>
                    <a:pt x="98" y="951"/>
                    <a:pt x="97" y="952"/>
                  </a:cubicBezTo>
                  <a:cubicBezTo>
                    <a:pt x="96" y="952"/>
                    <a:pt x="94" y="953"/>
                    <a:pt x="93" y="954"/>
                  </a:cubicBezTo>
                  <a:cubicBezTo>
                    <a:pt x="91" y="956"/>
                    <a:pt x="94" y="960"/>
                    <a:pt x="92" y="962"/>
                  </a:cubicBezTo>
                  <a:cubicBezTo>
                    <a:pt x="92" y="963"/>
                    <a:pt x="89" y="964"/>
                    <a:pt x="88" y="964"/>
                  </a:cubicBezTo>
                  <a:cubicBezTo>
                    <a:pt x="87" y="964"/>
                    <a:pt x="87" y="964"/>
                    <a:pt x="87" y="963"/>
                  </a:cubicBezTo>
                  <a:cubicBezTo>
                    <a:pt x="88" y="962"/>
                    <a:pt x="91" y="962"/>
                    <a:pt x="91" y="961"/>
                  </a:cubicBezTo>
                  <a:cubicBezTo>
                    <a:pt x="93" y="960"/>
                    <a:pt x="92" y="957"/>
                    <a:pt x="91" y="955"/>
                  </a:cubicBezTo>
                  <a:cubicBezTo>
                    <a:pt x="91" y="954"/>
                    <a:pt x="90" y="953"/>
                    <a:pt x="88" y="953"/>
                  </a:cubicBezTo>
                  <a:cubicBezTo>
                    <a:pt x="88" y="953"/>
                    <a:pt x="88" y="953"/>
                    <a:pt x="87" y="954"/>
                  </a:cubicBezTo>
                  <a:cubicBezTo>
                    <a:pt x="86" y="955"/>
                    <a:pt x="88" y="957"/>
                    <a:pt x="87" y="958"/>
                  </a:cubicBezTo>
                  <a:cubicBezTo>
                    <a:pt x="87" y="959"/>
                    <a:pt x="84" y="960"/>
                    <a:pt x="83" y="960"/>
                  </a:cubicBezTo>
                  <a:cubicBezTo>
                    <a:pt x="82" y="960"/>
                    <a:pt x="82" y="960"/>
                    <a:pt x="82" y="960"/>
                  </a:cubicBezTo>
                  <a:cubicBezTo>
                    <a:pt x="86" y="959"/>
                    <a:pt x="86" y="954"/>
                    <a:pt x="82" y="954"/>
                  </a:cubicBezTo>
                  <a:cubicBezTo>
                    <a:pt x="82" y="954"/>
                    <a:pt x="81" y="954"/>
                    <a:pt x="81" y="954"/>
                  </a:cubicBezTo>
                  <a:cubicBezTo>
                    <a:pt x="76" y="956"/>
                    <a:pt x="81" y="966"/>
                    <a:pt x="85" y="968"/>
                  </a:cubicBezTo>
                  <a:cubicBezTo>
                    <a:pt x="85" y="968"/>
                    <a:pt x="86" y="968"/>
                    <a:pt x="87" y="969"/>
                  </a:cubicBezTo>
                  <a:cubicBezTo>
                    <a:pt x="87" y="969"/>
                    <a:pt x="87" y="969"/>
                    <a:pt x="87" y="969"/>
                  </a:cubicBezTo>
                  <a:cubicBezTo>
                    <a:pt x="87" y="969"/>
                    <a:pt x="88" y="969"/>
                    <a:pt x="89" y="969"/>
                  </a:cubicBezTo>
                  <a:cubicBezTo>
                    <a:pt x="90" y="970"/>
                    <a:pt x="92" y="970"/>
                    <a:pt x="93" y="971"/>
                  </a:cubicBezTo>
                  <a:cubicBezTo>
                    <a:pt x="96" y="973"/>
                    <a:pt x="100" y="974"/>
                    <a:pt x="104" y="974"/>
                  </a:cubicBezTo>
                  <a:cubicBezTo>
                    <a:pt x="104" y="974"/>
                    <a:pt x="105" y="974"/>
                    <a:pt x="105" y="974"/>
                  </a:cubicBezTo>
                  <a:cubicBezTo>
                    <a:pt x="110" y="973"/>
                    <a:pt x="110" y="972"/>
                    <a:pt x="111" y="968"/>
                  </a:cubicBezTo>
                  <a:cubicBezTo>
                    <a:pt x="111" y="967"/>
                    <a:pt x="112" y="966"/>
                    <a:pt x="112" y="964"/>
                  </a:cubicBezTo>
                  <a:cubicBezTo>
                    <a:pt x="112" y="962"/>
                    <a:pt x="111" y="961"/>
                    <a:pt x="111" y="959"/>
                  </a:cubicBezTo>
                  <a:cubicBezTo>
                    <a:pt x="111" y="956"/>
                    <a:pt x="112" y="953"/>
                    <a:pt x="113" y="950"/>
                  </a:cubicBezTo>
                  <a:cubicBezTo>
                    <a:pt x="114" y="948"/>
                    <a:pt x="117" y="944"/>
                    <a:pt x="114" y="943"/>
                  </a:cubicBezTo>
                  <a:cubicBezTo>
                    <a:pt x="115" y="942"/>
                    <a:pt x="115" y="940"/>
                    <a:pt x="116" y="940"/>
                  </a:cubicBezTo>
                  <a:cubicBezTo>
                    <a:pt x="116" y="939"/>
                    <a:pt x="115" y="939"/>
                    <a:pt x="114" y="938"/>
                  </a:cubicBezTo>
                  <a:cubicBezTo>
                    <a:pt x="118" y="937"/>
                    <a:pt x="121" y="937"/>
                    <a:pt x="125" y="936"/>
                  </a:cubicBezTo>
                  <a:cubicBezTo>
                    <a:pt x="131" y="934"/>
                    <a:pt x="139" y="934"/>
                    <a:pt x="145" y="928"/>
                  </a:cubicBezTo>
                  <a:cubicBezTo>
                    <a:pt x="147" y="926"/>
                    <a:pt x="149" y="923"/>
                    <a:pt x="151" y="923"/>
                  </a:cubicBezTo>
                  <a:cubicBezTo>
                    <a:pt x="150" y="922"/>
                    <a:pt x="150" y="922"/>
                    <a:pt x="150" y="922"/>
                  </a:cubicBezTo>
                  <a:cubicBezTo>
                    <a:pt x="149" y="922"/>
                    <a:pt x="148" y="922"/>
                    <a:pt x="146" y="922"/>
                  </a:cubicBezTo>
                  <a:cubicBezTo>
                    <a:pt x="144" y="921"/>
                    <a:pt x="142" y="920"/>
                    <a:pt x="140" y="920"/>
                  </a:cubicBezTo>
                  <a:cubicBezTo>
                    <a:pt x="138" y="919"/>
                    <a:pt x="136" y="919"/>
                    <a:pt x="135" y="918"/>
                  </a:cubicBezTo>
                  <a:cubicBezTo>
                    <a:pt x="134" y="918"/>
                    <a:pt x="134" y="918"/>
                    <a:pt x="134" y="918"/>
                  </a:cubicBezTo>
                  <a:cubicBezTo>
                    <a:pt x="133" y="918"/>
                    <a:pt x="133" y="918"/>
                    <a:pt x="133" y="918"/>
                  </a:cubicBezTo>
                  <a:cubicBezTo>
                    <a:pt x="131" y="918"/>
                    <a:pt x="129" y="917"/>
                    <a:pt x="127" y="917"/>
                  </a:cubicBezTo>
                  <a:cubicBezTo>
                    <a:pt x="125" y="917"/>
                    <a:pt x="123" y="918"/>
                    <a:pt x="121" y="918"/>
                  </a:cubicBezTo>
                  <a:cubicBezTo>
                    <a:pt x="121" y="918"/>
                    <a:pt x="121" y="918"/>
                    <a:pt x="121" y="918"/>
                  </a:cubicBezTo>
                  <a:cubicBezTo>
                    <a:pt x="118" y="918"/>
                    <a:pt x="116" y="918"/>
                    <a:pt x="114" y="918"/>
                  </a:cubicBezTo>
                  <a:cubicBezTo>
                    <a:pt x="92" y="918"/>
                    <a:pt x="92" y="918"/>
                    <a:pt x="92" y="918"/>
                  </a:cubicBezTo>
                  <a:cubicBezTo>
                    <a:pt x="89" y="918"/>
                    <a:pt x="87" y="917"/>
                    <a:pt x="86" y="915"/>
                  </a:cubicBezTo>
                  <a:cubicBezTo>
                    <a:pt x="85" y="914"/>
                    <a:pt x="85" y="913"/>
                    <a:pt x="85" y="913"/>
                  </a:cubicBezTo>
                  <a:cubicBezTo>
                    <a:pt x="85" y="912"/>
                    <a:pt x="84" y="911"/>
                    <a:pt x="84" y="910"/>
                  </a:cubicBezTo>
                  <a:cubicBezTo>
                    <a:pt x="84" y="910"/>
                    <a:pt x="83" y="910"/>
                    <a:pt x="83" y="910"/>
                  </a:cubicBezTo>
                  <a:cubicBezTo>
                    <a:pt x="81" y="908"/>
                    <a:pt x="81" y="908"/>
                    <a:pt x="81" y="908"/>
                  </a:cubicBezTo>
                  <a:cubicBezTo>
                    <a:pt x="79" y="907"/>
                    <a:pt x="78" y="907"/>
                    <a:pt x="77" y="904"/>
                  </a:cubicBezTo>
                  <a:cubicBezTo>
                    <a:pt x="76" y="904"/>
                    <a:pt x="76" y="904"/>
                    <a:pt x="76" y="904"/>
                  </a:cubicBezTo>
                  <a:cubicBezTo>
                    <a:pt x="75" y="902"/>
                    <a:pt x="75" y="902"/>
                    <a:pt x="75" y="902"/>
                  </a:cubicBezTo>
                  <a:cubicBezTo>
                    <a:pt x="75" y="901"/>
                    <a:pt x="75" y="900"/>
                    <a:pt x="76" y="898"/>
                  </a:cubicBezTo>
                  <a:cubicBezTo>
                    <a:pt x="76" y="897"/>
                    <a:pt x="77" y="897"/>
                    <a:pt x="77" y="896"/>
                  </a:cubicBezTo>
                  <a:cubicBezTo>
                    <a:pt x="78" y="895"/>
                    <a:pt x="78" y="894"/>
                    <a:pt x="78" y="893"/>
                  </a:cubicBezTo>
                  <a:cubicBezTo>
                    <a:pt x="78" y="893"/>
                    <a:pt x="78" y="893"/>
                    <a:pt x="78" y="893"/>
                  </a:cubicBezTo>
                  <a:cubicBezTo>
                    <a:pt x="77" y="892"/>
                    <a:pt x="77" y="892"/>
                    <a:pt x="77" y="892"/>
                  </a:cubicBezTo>
                  <a:cubicBezTo>
                    <a:pt x="77" y="891"/>
                    <a:pt x="77" y="891"/>
                    <a:pt x="77" y="891"/>
                  </a:cubicBezTo>
                  <a:cubicBezTo>
                    <a:pt x="76" y="891"/>
                    <a:pt x="76" y="891"/>
                    <a:pt x="76" y="891"/>
                  </a:cubicBezTo>
                  <a:cubicBezTo>
                    <a:pt x="76" y="890"/>
                    <a:pt x="76" y="889"/>
                    <a:pt x="76" y="888"/>
                  </a:cubicBezTo>
                  <a:cubicBezTo>
                    <a:pt x="76" y="886"/>
                    <a:pt x="77" y="885"/>
                    <a:pt x="77" y="884"/>
                  </a:cubicBezTo>
                  <a:cubicBezTo>
                    <a:pt x="78" y="883"/>
                    <a:pt x="78" y="883"/>
                    <a:pt x="78" y="883"/>
                  </a:cubicBezTo>
                  <a:cubicBezTo>
                    <a:pt x="78" y="882"/>
                    <a:pt x="78" y="880"/>
                    <a:pt x="78" y="879"/>
                  </a:cubicBezTo>
                  <a:cubicBezTo>
                    <a:pt x="78" y="878"/>
                    <a:pt x="78" y="877"/>
                    <a:pt x="78" y="876"/>
                  </a:cubicBezTo>
                  <a:cubicBezTo>
                    <a:pt x="78" y="875"/>
                    <a:pt x="78" y="875"/>
                    <a:pt x="78" y="875"/>
                  </a:cubicBezTo>
                  <a:cubicBezTo>
                    <a:pt x="77" y="875"/>
                    <a:pt x="77" y="875"/>
                    <a:pt x="76" y="876"/>
                  </a:cubicBezTo>
                  <a:cubicBezTo>
                    <a:pt x="75" y="876"/>
                    <a:pt x="75" y="876"/>
                    <a:pt x="75" y="876"/>
                  </a:cubicBezTo>
                  <a:cubicBezTo>
                    <a:pt x="74" y="877"/>
                    <a:pt x="74" y="877"/>
                    <a:pt x="74" y="877"/>
                  </a:cubicBezTo>
                  <a:cubicBezTo>
                    <a:pt x="74" y="877"/>
                    <a:pt x="73" y="877"/>
                    <a:pt x="73" y="877"/>
                  </a:cubicBezTo>
                  <a:cubicBezTo>
                    <a:pt x="71" y="877"/>
                    <a:pt x="71" y="876"/>
                    <a:pt x="70" y="876"/>
                  </a:cubicBezTo>
                  <a:cubicBezTo>
                    <a:pt x="70" y="876"/>
                    <a:pt x="70" y="876"/>
                    <a:pt x="70" y="876"/>
                  </a:cubicBezTo>
                  <a:cubicBezTo>
                    <a:pt x="69" y="876"/>
                    <a:pt x="69" y="876"/>
                    <a:pt x="68" y="877"/>
                  </a:cubicBezTo>
                  <a:cubicBezTo>
                    <a:pt x="68" y="877"/>
                    <a:pt x="67" y="878"/>
                    <a:pt x="67" y="878"/>
                  </a:cubicBezTo>
                  <a:cubicBezTo>
                    <a:pt x="66" y="879"/>
                    <a:pt x="66" y="879"/>
                    <a:pt x="65" y="879"/>
                  </a:cubicBezTo>
                  <a:cubicBezTo>
                    <a:pt x="65" y="879"/>
                    <a:pt x="64" y="879"/>
                    <a:pt x="64" y="880"/>
                  </a:cubicBezTo>
                  <a:cubicBezTo>
                    <a:pt x="63" y="880"/>
                    <a:pt x="63" y="880"/>
                    <a:pt x="63" y="880"/>
                  </a:cubicBezTo>
                  <a:cubicBezTo>
                    <a:pt x="63" y="880"/>
                    <a:pt x="63" y="880"/>
                    <a:pt x="62" y="880"/>
                  </a:cubicBezTo>
                  <a:cubicBezTo>
                    <a:pt x="62" y="880"/>
                    <a:pt x="62" y="880"/>
                    <a:pt x="62" y="880"/>
                  </a:cubicBezTo>
                  <a:cubicBezTo>
                    <a:pt x="61" y="880"/>
                    <a:pt x="61" y="880"/>
                    <a:pt x="61" y="880"/>
                  </a:cubicBezTo>
                  <a:cubicBezTo>
                    <a:pt x="61" y="880"/>
                    <a:pt x="60" y="880"/>
                    <a:pt x="60" y="880"/>
                  </a:cubicBezTo>
                  <a:cubicBezTo>
                    <a:pt x="59" y="879"/>
                    <a:pt x="59" y="879"/>
                    <a:pt x="59" y="879"/>
                  </a:cubicBezTo>
                  <a:cubicBezTo>
                    <a:pt x="59" y="878"/>
                    <a:pt x="59" y="878"/>
                    <a:pt x="59" y="878"/>
                  </a:cubicBezTo>
                  <a:cubicBezTo>
                    <a:pt x="58" y="878"/>
                    <a:pt x="58" y="878"/>
                    <a:pt x="58" y="878"/>
                  </a:cubicBezTo>
                  <a:cubicBezTo>
                    <a:pt x="58" y="877"/>
                    <a:pt x="58" y="877"/>
                    <a:pt x="58" y="877"/>
                  </a:cubicBezTo>
                  <a:cubicBezTo>
                    <a:pt x="57" y="877"/>
                    <a:pt x="57" y="877"/>
                    <a:pt x="57" y="877"/>
                  </a:cubicBezTo>
                  <a:cubicBezTo>
                    <a:pt x="57" y="876"/>
                    <a:pt x="57" y="876"/>
                    <a:pt x="57" y="876"/>
                  </a:cubicBezTo>
                  <a:cubicBezTo>
                    <a:pt x="57" y="874"/>
                    <a:pt x="57" y="874"/>
                    <a:pt x="57" y="874"/>
                  </a:cubicBezTo>
                  <a:cubicBezTo>
                    <a:pt x="56" y="872"/>
                    <a:pt x="56" y="872"/>
                    <a:pt x="56" y="872"/>
                  </a:cubicBezTo>
                  <a:cubicBezTo>
                    <a:pt x="56" y="871"/>
                    <a:pt x="56" y="871"/>
                    <a:pt x="56" y="870"/>
                  </a:cubicBezTo>
                  <a:cubicBezTo>
                    <a:pt x="56" y="869"/>
                    <a:pt x="56" y="869"/>
                    <a:pt x="56" y="869"/>
                  </a:cubicBezTo>
                  <a:cubicBezTo>
                    <a:pt x="56" y="868"/>
                    <a:pt x="55" y="867"/>
                    <a:pt x="55" y="866"/>
                  </a:cubicBezTo>
                  <a:cubicBezTo>
                    <a:pt x="55" y="865"/>
                    <a:pt x="55" y="865"/>
                    <a:pt x="55" y="865"/>
                  </a:cubicBezTo>
                  <a:cubicBezTo>
                    <a:pt x="55" y="864"/>
                    <a:pt x="55" y="864"/>
                    <a:pt x="55" y="864"/>
                  </a:cubicBezTo>
                  <a:cubicBezTo>
                    <a:pt x="54" y="863"/>
                    <a:pt x="54" y="863"/>
                    <a:pt x="53" y="863"/>
                  </a:cubicBezTo>
                  <a:cubicBezTo>
                    <a:pt x="52" y="862"/>
                    <a:pt x="52" y="862"/>
                    <a:pt x="52" y="862"/>
                  </a:cubicBezTo>
                  <a:cubicBezTo>
                    <a:pt x="52" y="862"/>
                    <a:pt x="52" y="861"/>
                    <a:pt x="51" y="861"/>
                  </a:cubicBezTo>
                  <a:cubicBezTo>
                    <a:pt x="51" y="861"/>
                    <a:pt x="51" y="860"/>
                    <a:pt x="50" y="860"/>
                  </a:cubicBezTo>
                  <a:cubicBezTo>
                    <a:pt x="45" y="863"/>
                    <a:pt x="45" y="863"/>
                    <a:pt x="45" y="863"/>
                  </a:cubicBezTo>
                  <a:cubicBezTo>
                    <a:pt x="50" y="859"/>
                    <a:pt x="50" y="859"/>
                    <a:pt x="50" y="859"/>
                  </a:cubicBezTo>
                  <a:cubicBezTo>
                    <a:pt x="49" y="858"/>
                    <a:pt x="49" y="858"/>
                    <a:pt x="49" y="858"/>
                  </a:cubicBezTo>
                  <a:cubicBezTo>
                    <a:pt x="49" y="857"/>
                    <a:pt x="49" y="857"/>
                    <a:pt x="49" y="857"/>
                  </a:cubicBezTo>
                  <a:cubicBezTo>
                    <a:pt x="49" y="857"/>
                    <a:pt x="49" y="856"/>
                    <a:pt x="49" y="856"/>
                  </a:cubicBezTo>
                  <a:cubicBezTo>
                    <a:pt x="49" y="855"/>
                    <a:pt x="49" y="855"/>
                    <a:pt x="49" y="855"/>
                  </a:cubicBezTo>
                  <a:cubicBezTo>
                    <a:pt x="49" y="855"/>
                    <a:pt x="49" y="854"/>
                    <a:pt x="49" y="854"/>
                  </a:cubicBezTo>
                  <a:cubicBezTo>
                    <a:pt x="49" y="852"/>
                    <a:pt x="49" y="850"/>
                    <a:pt x="49" y="847"/>
                  </a:cubicBezTo>
                  <a:cubicBezTo>
                    <a:pt x="49" y="846"/>
                    <a:pt x="50" y="844"/>
                    <a:pt x="50" y="843"/>
                  </a:cubicBezTo>
                  <a:cubicBezTo>
                    <a:pt x="49" y="842"/>
                    <a:pt x="49" y="842"/>
                    <a:pt x="49" y="842"/>
                  </a:cubicBezTo>
                  <a:cubicBezTo>
                    <a:pt x="48" y="842"/>
                    <a:pt x="48" y="842"/>
                    <a:pt x="48" y="842"/>
                  </a:cubicBezTo>
                  <a:cubicBezTo>
                    <a:pt x="48" y="841"/>
                    <a:pt x="48" y="841"/>
                    <a:pt x="48" y="841"/>
                  </a:cubicBezTo>
                  <a:cubicBezTo>
                    <a:pt x="48" y="840"/>
                    <a:pt x="48" y="839"/>
                    <a:pt x="48" y="839"/>
                  </a:cubicBezTo>
                  <a:cubicBezTo>
                    <a:pt x="49" y="837"/>
                    <a:pt x="49" y="835"/>
                    <a:pt x="50" y="833"/>
                  </a:cubicBezTo>
                  <a:cubicBezTo>
                    <a:pt x="51" y="832"/>
                    <a:pt x="51" y="832"/>
                    <a:pt x="51" y="832"/>
                  </a:cubicBezTo>
                  <a:cubicBezTo>
                    <a:pt x="53" y="830"/>
                    <a:pt x="55" y="830"/>
                    <a:pt x="56" y="829"/>
                  </a:cubicBezTo>
                  <a:cubicBezTo>
                    <a:pt x="57" y="829"/>
                    <a:pt x="58" y="829"/>
                    <a:pt x="59" y="829"/>
                  </a:cubicBezTo>
                  <a:cubicBezTo>
                    <a:pt x="59" y="829"/>
                    <a:pt x="59" y="829"/>
                    <a:pt x="59" y="829"/>
                  </a:cubicBezTo>
                  <a:cubicBezTo>
                    <a:pt x="60" y="828"/>
                    <a:pt x="61" y="827"/>
                    <a:pt x="63" y="825"/>
                  </a:cubicBezTo>
                  <a:cubicBezTo>
                    <a:pt x="63" y="824"/>
                    <a:pt x="63" y="824"/>
                    <a:pt x="63" y="824"/>
                  </a:cubicBezTo>
                  <a:cubicBezTo>
                    <a:pt x="64" y="823"/>
                    <a:pt x="64" y="823"/>
                    <a:pt x="65" y="822"/>
                  </a:cubicBezTo>
                  <a:cubicBezTo>
                    <a:pt x="65" y="821"/>
                    <a:pt x="66" y="821"/>
                    <a:pt x="67" y="820"/>
                  </a:cubicBezTo>
                  <a:cubicBezTo>
                    <a:pt x="68" y="819"/>
                    <a:pt x="68" y="819"/>
                    <a:pt x="68" y="819"/>
                  </a:cubicBezTo>
                  <a:cubicBezTo>
                    <a:pt x="68" y="819"/>
                    <a:pt x="69" y="818"/>
                    <a:pt x="70" y="818"/>
                  </a:cubicBezTo>
                  <a:cubicBezTo>
                    <a:pt x="71" y="817"/>
                    <a:pt x="71" y="817"/>
                    <a:pt x="71" y="816"/>
                  </a:cubicBezTo>
                  <a:cubicBezTo>
                    <a:pt x="71" y="811"/>
                    <a:pt x="71" y="811"/>
                    <a:pt x="71" y="811"/>
                  </a:cubicBezTo>
                  <a:cubicBezTo>
                    <a:pt x="71" y="810"/>
                    <a:pt x="71" y="809"/>
                    <a:pt x="71" y="808"/>
                  </a:cubicBezTo>
                  <a:cubicBezTo>
                    <a:pt x="72" y="807"/>
                    <a:pt x="73" y="806"/>
                    <a:pt x="73" y="805"/>
                  </a:cubicBezTo>
                  <a:cubicBezTo>
                    <a:pt x="74" y="804"/>
                    <a:pt x="75" y="804"/>
                    <a:pt x="76" y="803"/>
                  </a:cubicBezTo>
                  <a:cubicBezTo>
                    <a:pt x="77" y="803"/>
                    <a:pt x="77" y="803"/>
                    <a:pt x="78" y="802"/>
                  </a:cubicBezTo>
                  <a:cubicBezTo>
                    <a:pt x="78" y="802"/>
                    <a:pt x="78" y="802"/>
                    <a:pt x="78" y="802"/>
                  </a:cubicBezTo>
                  <a:cubicBezTo>
                    <a:pt x="78" y="801"/>
                    <a:pt x="78" y="800"/>
                    <a:pt x="77" y="799"/>
                  </a:cubicBezTo>
                  <a:cubicBezTo>
                    <a:pt x="77" y="798"/>
                    <a:pt x="77" y="798"/>
                    <a:pt x="77" y="798"/>
                  </a:cubicBezTo>
                  <a:cubicBezTo>
                    <a:pt x="77" y="798"/>
                    <a:pt x="77" y="798"/>
                    <a:pt x="77" y="798"/>
                  </a:cubicBezTo>
                  <a:cubicBezTo>
                    <a:pt x="76" y="797"/>
                    <a:pt x="76" y="797"/>
                    <a:pt x="76" y="797"/>
                  </a:cubicBezTo>
                  <a:cubicBezTo>
                    <a:pt x="76" y="797"/>
                    <a:pt x="75" y="796"/>
                    <a:pt x="75" y="796"/>
                  </a:cubicBezTo>
                  <a:cubicBezTo>
                    <a:pt x="74" y="795"/>
                    <a:pt x="74" y="795"/>
                    <a:pt x="74" y="795"/>
                  </a:cubicBezTo>
                  <a:cubicBezTo>
                    <a:pt x="72" y="792"/>
                    <a:pt x="72" y="790"/>
                    <a:pt x="74" y="788"/>
                  </a:cubicBezTo>
                  <a:cubicBezTo>
                    <a:pt x="77" y="780"/>
                    <a:pt x="77" y="780"/>
                    <a:pt x="77" y="780"/>
                  </a:cubicBezTo>
                  <a:cubicBezTo>
                    <a:pt x="76" y="779"/>
                    <a:pt x="76" y="779"/>
                    <a:pt x="76" y="779"/>
                  </a:cubicBezTo>
                  <a:cubicBezTo>
                    <a:pt x="77" y="778"/>
                    <a:pt x="77" y="778"/>
                    <a:pt x="77" y="778"/>
                  </a:cubicBezTo>
                  <a:cubicBezTo>
                    <a:pt x="78" y="776"/>
                    <a:pt x="80" y="774"/>
                    <a:pt x="82" y="773"/>
                  </a:cubicBezTo>
                  <a:cubicBezTo>
                    <a:pt x="83" y="773"/>
                    <a:pt x="83" y="773"/>
                    <a:pt x="83" y="773"/>
                  </a:cubicBezTo>
                  <a:cubicBezTo>
                    <a:pt x="83" y="772"/>
                    <a:pt x="84" y="772"/>
                    <a:pt x="85" y="771"/>
                  </a:cubicBezTo>
                  <a:cubicBezTo>
                    <a:pt x="85" y="771"/>
                    <a:pt x="85" y="771"/>
                    <a:pt x="85" y="771"/>
                  </a:cubicBezTo>
                  <a:cubicBezTo>
                    <a:pt x="86" y="771"/>
                    <a:pt x="87" y="770"/>
                    <a:pt x="87" y="770"/>
                  </a:cubicBezTo>
                  <a:cubicBezTo>
                    <a:pt x="87" y="770"/>
                    <a:pt x="87" y="770"/>
                    <a:pt x="87" y="770"/>
                  </a:cubicBezTo>
                  <a:cubicBezTo>
                    <a:pt x="87" y="769"/>
                    <a:pt x="87" y="769"/>
                    <a:pt x="87" y="769"/>
                  </a:cubicBezTo>
                  <a:cubicBezTo>
                    <a:pt x="86" y="764"/>
                    <a:pt x="85" y="762"/>
                    <a:pt x="89" y="757"/>
                  </a:cubicBezTo>
                  <a:cubicBezTo>
                    <a:pt x="89" y="757"/>
                    <a:pt x="89" y="757"/>
                    <a:pt x="89" y="757"/>
                  </a:cubicBezTo>
                  <a:cubicBezTo>
                    <a:pt x="91" y="755"/>
                    <a:pt x="91" y="755"/>
                    <a:pt x="91" y="755"/>
                  </a:cubicBezTo>
                  <a:cubicBezTo>
                    <a:pt x="92" y="754"/>
                    <a:pt x="92" y="754"/>
                    <a:pt x="92" y="754"/>
                  </a:cubicBezTo>
                  <a:cubicBezTo>
                    <a:pt x="92" y="753"/>
                    <a:pt x="91" y="752"/>
                    <a:pt x="91" y="752"/>
                  </a:cubicBezTo>
                  <a:cubicBezTo>
                    <a:pt x="91" y="750"/>
                    <a:pt x="91" y="750"/>
                    <a:pt x="91" y="750"/>
                  </a:cubicBezTo>
                  <a:cubicBezTo>
                    <a:pt x="88" y="742"/>
                    <a:pt x="88" y="742"/>
                    <a:pt x="88" y="742"/>
                  </a:cubicBezTo>
                  <a:cubicBezTo>
                    <a:pt x="88" y="742"/>
                    <a:pt x="88" y="742"/>
                    <a:pt x="88" y="742"/>
                  </a:cubicBezTo>
                  <a:cubicBezTo>
                    <a:pt x="88" y="740"/>
                    <a:pt x="89" y="739"/>
                    <a:pt x="89" y="738"/>
                  </a:cubicBezTo>
                  <a:cubicBezTo>
                    <a:pt x="92" y="735"/>
                    <a:pt x="92" y="735"/>
                    <a:pt x="92" y="735"/>
                  </a:cubicBezTo>
                  <a:cubicBezTo>
                    <a:pt x="92" y="735"/>
                    <a:pt x="92" y="735"/>
                    <a:pt x="92" y="735"/>
                  </a:cubicBezTo>
                  <a:cubicBezTo>
                    <a:pt x="92" y="734"/>
                    <a:pt x="92" y="734"/>
                    <a:pt x="92" y="734"/>
                  </a:cubicBezTo>
                  <a:cubicBezTo>
                    <a:pt x="92" y="734"/>
                    <a:pt x="92" y="734"/>
                    <a:pt x="92" y="734"/>
                  </a:cubicBezTo>
                  <a:cubicBezTo>
                    <a:pt x="92" y="734"/>
                    <a:pt x="92" y="733"/>
                    <a:pt x="91" y="733"/>
                  </a:cubicBezTo>
                  <a:cubicBezTo>
                    <a:pt x="91" y="732"/>
                    <a:pt x="91" y="732"/>
                    <a:pt x="91" y="732"/>
                  </a:cubicBezTo>
                  <a:cubicBezTo>
                    <a:pt x="90" y="730"/>
                    <a:pt x="90" y="729"/>
                    <a:pt x="90" y="728"/>
                  </a:cubicBezTo>
                  <a:cubicBezTo>
                    <a:pt x="89" y="724"/>
                    <a:pt x="91" y="722"/>
                    <a:pt x="94" y="720"/>
                  </a:cubicBezTo>
                  <a:cubicBezTo>
                    <a:pt x="94" y="720"/>
                    <a:pt x="95" y="720"/>
                    <a:pt x="95" y="720"/>
                  </a:cubicBezTo>
                  <a:cubicBezTo>
                    <a:pt x="96" y="721"/>
                    <a:pt x="96" y="721"/>
                    <a:pt x="96" y="721"/>
                  </a:cubicBezTo>
                  <a:cubicBezTo>
                    <a:pt x="96" y="721"/>
                    <a:pt x="96" y="721"/>
                    <a:pt x="96" y="721"/>
                  </a:cubicBezTo>
                  <a:cubicBezTo>
                    <a:pt x="95" y="720"/>
                    <a:pt x="95" y="720"/>
                    <a:pt x="95" y="720"/>
                  </a:cubicBezTo>
                  <a:cubicBezTo>
                    <a:pt x="96" y="720"/>
                    <a:pt x="96" y="719"/>
                    <a:pt x="97" y="719"/>
                  </a:cubicBezTo>
                  <a:cubicBezTo>
                    <a:pt x="97" y="719"/>
                    <a:pt x="98" y="719"/>
                    <a:pt x="98" y="717"/>
                  </a:cubicBezTo>
                  <a:cubicBezTo>
                    <a:pt x="98" y="717"/>
                    <a:pt x="98" y="717"/>
                    <a:pt x="98" y="717"/>
                  </a:cubicBezTo>
                  <a:cubicBezTo>
                    <a:pt x="99" y="716"/>
                    <a:pt x="99" y="716"/>
                    <a:pt x="99" y="716"/>
                  </a:cubicBezTo>
                  <a:cubicBezTo>
                    <a:pt x="99" y="716"/>
                    <a:pt x="100" y="715"/>
                    <a:pt x="100" y="715"/>
                  </a:cubicBezTo>
                  <a:cubicBezTo>
                    <a:pt x="100" y="715"/>
                    <a:pt x="100" y="715"/>
                    <a:pt x="100" y="715"/>
                  </a:cubicBezTo>
                  <a:cubicBezTo>
                    <a:pt x="100" y="715"/>
                    <a:pt x="100" y="714"/>
                    <a:pt x="99" y="714"/>
                  </a:cubicBezTo>
                  <a:cubicBezTo>
                    <a:pt x="99" y="713"/>
                    <a:pt x="99" y="713"/>
                    <a:pt x="99" y="713"/>
                  </a:cubicBezTo>
                  <a:cubicBezTo>
                    <a:pt x="98" y="713"/>
                    <a:pt x="98" y="713"/>
                    <a:pt x="98" y="713"/>
                  </a:cubicBezTo>
                  <a:cubicBezTo>
                    <a:pt x="98" y="712"/>
                    <a:pt x="97" y="711"/>
                    <a:pt x="97" y="710"/>
                  </a:cubicBezTo>
                  <a:cubicBezTo>
                    <a:pt x="97" y="710"/>
                    <a:pt x="96" y="710"/>
                    <a:pt x="96" y="709"/>
                  </a:cubicBezTo>
                  <a:cubicBezTo>
                    <a:pt x="96" y="708"/>
                    <a:pt x="96" y="708"/>
                    <a:pt x="96" y="708"/>
                  </a:cubicBezTo>
                  <a:cubicBezTo>
                    <a:pt x="95" y="708"/>
                    <a:pt x="93" y="708"/>
                    <a:pt x="92" y="708"/>
                  </a:cubicBezTo>
                  <a:cubicBezTo>
                    <a:pt x="92" y="708"/>
                    <a:pt x="92" y="708"/>
                    <a:pt x="92" y="708"/>
                  </a:cubicBezTo>
                  <a:cubicBezTo>
                    <a:pt x="91" y="708"/>
                    <a:pt x="90" y="708"/>
                    <a:pt x="90" y="708"/>
                  </a:cubicBezTo>
                  <a:cubicBezTo>
                    <a:pt x="90" y="708"/>
                    <a:pt x="89" y="708"/>
                    <a:pt x="89" y="708"/>
                  </a:cubicBezTo>
                  <a:cubicBezTo>
                    <a:pt x="88" y="707"/>
                    <a:pt x="86" y="707"/>
                    <a:pt x="85" y="706"/>
                  </a:cubicBezTo>
                  <a:cubicBezTo>
                    <a:pt x="84" y="705"/>
                    <a:pt x="83" y="704"/>
                    <a:pt x="83" y="703"/>
                  </a:cubicBezTo>
                  <a:cubicBezTo>
                    <a:pt x="83" y="703"/>
                    <a:pt x="83" y="703"/>
                    <a:pt x="83" y="703"/>
                  </a:cubicBezTo>
                  <a:cubicBezTo>
                    <a:pt x="83" y="702"/>
                    <a:pt x="83" y="702"/>
                    <a:pt x="83" y="702"/>
                  </a:cubicBezTo>
                  <a:cubicBezTo>
                    <a:pt x="81" y="698"/>
                    <a:pt x="81" y="698"/>
                    <a:pt x="81" y="698"/>
                  </a:cubicBezTo>
                  <a:cubicBezTo>
                    <a:pt x="85" y="698"/>
                    <a:pt x="85" y="698"/>
                    <a:pt x="85" y="698"/>
                  </a:cubicBezTo>
                  <a:cubicBezTo>
                    <a:pt x="86" y="697"/>
                    <a:pt x="88" y="697"/>
                    <a:pt x="89" y="697"/>
                  </a:cubicBezTo>
                  <a:cubicBezTo>
                    <a:pt x="90" y="697"/>
                    <a:pt x="90" y="697"/>
                    <a:pt x="90" y="697"/>
                  </a:cubicBezTo>
                  <a:cubicBezTo>
                    <a:pt x="90" y="697"/>
                    <a:pt x="91" y="697"/>
                    <a:pt x="91" y="697"/>
                  </a:cubicBezTo>
                  <a:cubicBezTo>
                    <a:pt x="93" y="697"/>
                    <a:pt x="95" y="697"/>
                    <a:pt x="97" y="697"/>
                  </a:cubicBezTo>
                  <a:cubicBezTo>
                    <a:pt x="100" y="698"/>
                    <a:pt x="100" y="698"/>
                    <a:pt x="100" y="698"/>
                  </a:cubicBezTo>
                  <a:cubicBezTo>
                    <a:pt x="101" y="698"/>
                    <a:pt x="102" y="698"/>
                    <a:pt x="102" y="698"/>
                  </a:cubicBezTo>
                  <a:cubicBezTo>
                    <a:pt x="102" y="697"/>
                    <a:pt x="102" y="697"/>
                    <a:pt x="102" y="697"/>
                  </a:cubicBezTo>
                  <a:cubicBezTo>
                    <a:pt x="103" y="696"/>
                    <a:pt x="103" y="694"/>
                    <a:pt x="105" y="693"/>
                  </a:cubicBezTo>
                  <a:cubicBezTo>
                    <a:pt x="105" y="693"/>
                    <a:pt x="105" y="693"/>
                    <a:pt x="105" y="693"/>
                  </a:cubicBezTo>
                  <a:cubicBezTo>
                    <a:pt x="104" y="692"/>
                    <a:pt x="100" y="692"/>
                    <a:pt x="98" y="692"/>
                  </a:cubicBezTo>
                  <a:cubicBezTo>
                    <a:pt x="96" y="692"/>
                    <a:pt x="95" y="692"/>
                    <a:pt x="94" y="692"/>
                  </a:cubicBezTo>
                  <a:cubicBezTo>
                    <a:pt x="93" y="692"/>
                    <a:pt x="93" y="692"/>
                    <a:pt x="93" y="692"/>
                  </a:cubicBezTo>
                  <a:cubicBezTo>
                    <a:pt x="92" y="693"/>
                    <a:pt x="92" y="693"/>
                    <a:pt x="92" y="693"/>
                  </a:cubicBezTo>
                  <a:cubicBezTo>
                    <a:pt x="91" y="692"/>
                    <a:pt x="91" y="692"/>
                    <a:pt x="91" y="692"/>
                  </a:cubicBezTo>
                  <a:cubicBezTo>
                    <a:pt x="88" y="690"/>
                    <a:pt x="89" y="688"/>
                    <a:pt x="89" y="686"/>
                  </a:cubicBezTo>
                  <a:cubicBezTo>
                    <a:pt x="90" y="681"/>
                    <a:pt x="90" y="681"/>
                    <a:pt x="90" y="681"/>
                  </a:cubicBezTo>
                  <a:cubicBezTo>
                    <a:pt x="90" y="680"/>
                    <a:pt x="91" y="679"/>
                    <a:pt x="92" y="678"/>
                  </a:cubicBezTo>
                  <a:cubicBezTo>
                    <a:pt x="92" y="676"/>
                    <a:pt x="92" y="676"/>
                    <a:pt x="92" y="676"/>
                  </a:cubicBezTo>
                  <a:cubicBezTo>
                    <a:pt x="93" y="676"/>
                    <a:pt x="93" y="676"/>
                    <a:pt x="93" y="676"/>
                  </a:cubicBezTo>
                  <a:cubicBezTo>
                    <a:pt x="93" y="675"/>
                    <a:pt x="92" y="673"/>
                    <a:pt x="91" y="671"/>
                  </a:cubicBezTo>
                  <a:cubicBezTo>
                    <a:pt x="91" y="669"/>
                    <a:pt x="91" y="669"/>
                    <a:pt x="91" y="668"/>
                  </a:cubicBezTo>
                  <a:cubicBezTo>
                    <a:pt x="90" y="667"/>
                    <a:pt x="90" y="667"/>
                    <a:pt x="90" y="667"/>
                  </a:cubicBezTo>
                  <a:cubicBezTo>
                    <a:pt x="90" y="667"/>
                    <a:pt x="90" y="667"/>
                    <a:pt x="90" y="667"/>
                  </a:cubicBezTo>
                  <a:cubicBezTo>
                    <a:pt x="90" y="667"/>
                    <a:pt x="90" y="667"/>
                    <a:pt x="90" y="667"/>
                  </a:cubicBezTo>
                  <a:cubicBezTo>
                    <a:pt x="88" y="665"/>
                    <a:pt x="87" y="664"/>
                    <a:pt x="86" y="662"/>
                  </a:cubicBezTo>
                  <a:cubicBezTo>
                    <a:pt x="86" y="660"/>
                    <a:pt x="87" y="659"/>
                    <a:pt x="89" y="657"/>
                  </a:cubicBezTo>
                  <a:cubicBezTo>
                    <a:pt x="89" y="657"/>
                    <a:pt x="89" y="657"/>
                    <a:pt x="89" y="657"/>
                  </a:cubicBezTo>
                  <a:cubicBezTo>
                    <a:pt x="89" y="657"/>
                    <a:pt x="89" y="657"/>
                    <a:pt x="89" y="657"/>
                  </a:cubicBezTo>
                  <a:cubicBezTo>
                    <a:pt x="90" y="657"/>
                    <a:pt x="90" y="657"/>
                    <a:pt x="90" y="657"/>
                  </a:cubicBezTo>
                  <a:cubicBezTo>
                    <a:pt x="90" y="656"/>
                    <a:pt x="89" y="656"/>
                    <a:pt x="89" y="656"/>
                  </a:cubicBezTo>
                  <a:cubicBezTo>
                    <a:pt x="87" y="656"/>
                    <a:pt x="84" y="655"/>
                    <a:pt x="82" y="653"/>
                  </a:cubicBezTo>
                  <a:cubicBezTo>
                    <a:pt x="81" y="651"/>
                    <a:pt x="81" y="649"/>
                    <a:pt x="82" y="647"/>
                  </a:cubicBezTo>
                  <a:cubicBezTo>
                    <a:pt x="82" y="647"/>
                    <a:pt x="82" y="647"/>
                    <a:pt x="82" y="646"/>
                  </a:cubicBezTo>
                  <a:cubicBezTo>
                    <a:pt x="82" y="644"/>
                    <a:pt x="82" y="644"/>
                    <a:pt x="82" y="644"/>
                  </a:cubicBezTo>
                  <a:cubicBezTo>
                    <a:pt x="82" y="643"/>
                    <a:pt x="82" y="641"/>
                    <a:pt x="82" y="639"/>
                  </a:cubicBezTo>
                  <a:cubicBezTo>
                    <a:pt x="82" y="638"/>
                    <a:pt x="82" y="638"/>
                    <a:pt x="82" y="638"/>
                  </a:cubicBezTo>
                  <a:cubicBezTo>
                    <a:pt x="82" y="637"/>
                    <a:pt x="82" y="635"/>
                    <a:pt x="83" y="634"/>
                  </a:cubicBezTo>
                  <a:cubicBezTo>
                    <a:pt x="83" y="634"/>
                    <a:pt x="83" y="633"/>
                    <a:pt x="83" y="632"/>
                  </a:cubicBezTo>
                  <a:cubicBezTo>
                    <a:pt x="83" y="628"/>
                    <a:pt x="83" y="626"/>
                    <a:pt x="89" y="624"/>
                  </a:cubicBezTo>
                  <a:cubicBezTo>
                    <a:pt x="90" y="623"/>
                    <a:pt x="90" y="623"/>
                    <a:pt x="90" y="623"/>
                  </a:cubicBezTo>
                  <a:cubicBezTo>
                    <a:pt x="90" y="623"/>
                    <a:pt x="90" y="622"/>
                    <a:pt x="90" y="622"/>
                  </a:cubicBezTo>
                  <a:cubicBezTo>
                    <a:pt x="89" y="620"/>
                    <a:pt x="89" y="620"/>
                    <a:pt x="89" y="620"/>
                  </a:cubicBezTo>
                  <a:cubicBezTo>
                    <a:pt x="88" y="615"/>
                    <a:pt x="86" y="612"/>
                    <a:pt x="87" y="606"/>
                  </a:cubicBezTo>
                  <a:cubicBezTo>
                    <a:pt x="87" y="605"/>
                    <a:pt x="87" y="604"/>
                    <a:pt x="87" y="603"/>
                  </a:cubicBezTo>
                  <a:cubicBezTo>
                    <a:pt x="87" y="602"/>
                    <a:pt x="87" y="602"/>
                    <a:pt x="87" y="602"/>
                  </a:cubicBezTo>
                  <a:cubicBezTo>
                    <a:pt x="88" y="599"/>
                    <a:pt x="88" y="597"/>
                    <a:pt x="88" y="594"/>
                  </a:cubicBezTo>
                  <a:cubicBezTo>
                    <a:pt x="88" y="594"/>
                    <a:pt x="88" y="594"/>
                    <a:pt x="88" y="594"/>
                  </a:cubicBezTo>
                  <a:cubicBezTo>
                    <a:pt x="88" y="593"/>
                    <a:pt x="88" y="592"/>
                    <a:pt x="87" y="592"/>
                  </a:cubicBezTo>
                  <a:cubicBezTo>
                    <a:pt x="87" y="591"/>
                    <a:pt x="87" y="591"/>
                    <a:pt x="87" y="591"/>
                  </a:cubicBezTo>
                  <a:cubicBezTo>
                    <a:pt x="87" y="589"/>
                    <a:pt x="87" y="586"/>
                    <a:pt x="87" y="584"/>
                  </a:cubicBezTo>
                  <a:cubicBezTo>
                    <a:pt x="87" y="583"/>
                    <a:pt x="87" y="583"/>
                    <a:pt x="87" y="583"/>
                  </a:cubicBezTo>
                  <a:cubicBezTo>
                    <a:pt x="88" y="581"/>
                    <a:pt x="90" y="578"/>
                    <a:pt x="91" y="576"/>
                  </a:cubicBezTo>
                  <a:cubicBezTo>
                    <a:pt x="91" y="576"/>
                    <a:pt x="91" y="576"/>
                    <a:pt x="91" y="576"/>
                  </a:cubicBezTo>
                  <a:cubicBezTo>
                    <a:pt x="91" y="576"/>
                    <a:pt x="91" y="576"/>
                    <a:pt x="91" y="576"/>
                  </a:cubicBezTo>
                  <a:cubicBezTo>
                    <a:pt x="90" y="575"/>
                    <a:pt x="89" y="573"/>
                    <a:pt x="89" y="571"/>
                  </a:cubicBezTo>
                  <a:cubicBezTo>
                    <a:pt x="89" y="570"/>
                    <a:pt x="89" y="568"/>
                    <a:pt x="91" y="567"/>
                  </a:cubicBezTo>
                  <a:cubicBezTo>
                    <a:pt x="91" y="566"/>
                    <a:pt x="92" y="566"/>
                    <a:pt x="93" y="566"/>
                  </a:cubicBezTo>
                  <a:cubicBezTo>
                    <a:pt x="93" y="566"/>
                    <a:pt x="93" y="566"/>
                    <a:pt x="93" y="566"/>
                  </a:cubicBezTo>
                  <a:cubicBezTo>
                    <a:pt x="93" y="565"/>
                    <a:pt x="93" y="563"/>
                    <a:pt x="93" y="559"/>
                  </a:cubicBezTo>
                  <a:cubicBezTo>
                    <a:pt x="93" y="558"/>
                    <a:pt x="93" y="558"/>
                    <a:pt x="93" y="558"/>
                  </a:cubicBezTo>
                  <a:cubicBezTo>
                    <a:pt x="93" y="557"/>
                    <a:pt x="93" y="556"/>
                    <a:pt x="93" y="555"/>
                  </a:cubicBezTo>
                  <a:cubicBezTo>
                    <a:pt x="93" y="552"/>
                    <a:pt x="93" y="552"/>
                    <a:pt x="93" y="552"/>
                  </a:cubicBezTo>
                  <a:cubicBezTo>
                    <a:pt x="96" y="553"/>
                    <a:pt x="96" y="553"/>
                    <a:pt x="96" y="553"/>
                  </a:cubicBezTo>
                  <a:cubicBezTo>
                    <a:pt x="97" y="553"/>
                    <a:pt x="97" y="553"/>
                    <a:pt x="97" y="553"/>
                  </a:cubicBezTo>
                  <a:cubicBezTo>
                    <a:pt x="97" y="552"/>
                    <a:pt x="97" y="552"/>
                    <a:pt x="97" y="551"/>
                  </a:cubicBezTo>
                  <a:cubicBezTo>
                    <a:pt x="97" y="551"/>
                    <a:pt x="97" y="551"/>
                    <a:pt x="97" y="551"/>
                  </a:cubicBezTo>
                  <a:cubicBezTo>
                    <a:pt x="99" y="538"/>
                    <a:pt x="99" y="538"/>
                    <a:pt x="99" y="538"/>
                  </a:cubicBezTo>
                  <a:cubicBezTo>
                    <a:pt x="99" y="537"/>
                    <a:pt x="99" y="536"/>
                    <a:pt x="99" y="536"/>
                  </a:cubicBezTo>
                  <a:cubicBezTo>
                    <a:pt x="100" y="535"/>
                    <a:pt x="100" y="535"/>
                    <a:pt x="101" y="534"/>
                  </a:cubicBezTo>
                  <a:cubicBezTo>
                    <a:pt x="101" y="534"/>
                    <a:pt x="102" y="533"/>
                    <a:pt x="103" y="533"/>
                  </a:cubicBezTo>
                  <a:cubicBezTo>
                    <a:pt x="104" y="532"/>
                    <a:pt x="104" y="532"/>
                    <a:pt x="104" y="532"/>
                  </a:cubicBezTo>
                  <a:cubicBezTo>
                    <a:pt x="105" y="532"/>
                    <a:pt x="106" y="532"/>
                    <a:pt x="107" y="531"/>
                  </a:cubicBezTo>
                  <a:cubicBezTo>
                    <a:pt x="109" y="530"/>
                    <a:pt x="111" y="530"/>
                    <a:pt x="111" y="530"/>
                  </a:cubicBezTo>
                  <a:cubicBezTo>
                    <a:pt x="111" y="529"/>
                    <a:pt x="110" y="527"/>
                    <a:pt x="110" y="525"/>
                  </a:cubicBezTo>
                  <a:cubicBezTo>
                    <a:pt x="109" y="524"/>
                    <a:pt x="109" y="523"/>
                    <a:pt x="109" y="523"/>
                  </a:cubicBezTo>
                  <a:cubicBezTo>
                    <a:pt x="109" y="522"/>
                    <a:pt x="108" y="520"/>
                    <a:pt x="108" y="518"/>
                  </a:cubicBezTo>
                  <a:cubicBezTo>
                    <a:pt x="107" y="515"/>
                    <a:pt x="106" y="512"/>
                    <a:pt x="106" y="509"/>
                  </a:cubicBezTo>
                  <a:cubicBezTo>
                    <a:pt x="106" y="508"/>
                    <a:pt x="106" y="508"/>
                    <a:pt x="106" y="508"/>
                  </a:cubicBezTo>
                  <a:cubicBezTo>
                    <a:pt x="106" y="507"/>
                    <a:pt x="105" y="506"/>
                    <a:pt x="105" y="504"/>
                  </a:cubicBezTo>
                  <a:cubicBezTo>
                    <a:pt x="105" y="504"/>
                    <a:pt x="105" y="504"/>
                    <a:pt x="105" y="504"/>
                  </a:cubicBezTo>
                  <a:cubicBezTo>
                    <a:pt x="105" y="500"/>
                    <a:pt x="104" y="497"/>
                    <a:pt x="104" y="493"/>
                  </a:cubicBezTo>
                  <a:cubicBezTo>
                    <a:pt x="104" y="492"/>
                    <a:pt x="104" y="492"/>
                    <a:pt x="104" y="492"/>
                  </a:cubicBezTo>
                  <a:cubicBezTo>
                    <a:pt x="104" y="492"/>
                    <a:pt x="104" y="491"/>
                    <a:pt x="104" y="491"/>
                  </a:cubicBezTo>
                  <a:cubicBezTo>
                    <a:pt x="105" y="487"/>
                    <a:pt x="105" y="483"/>
                    <a:pt x="106" y="478"/>
                  </a:cubicBezTo>
                  <a:cubicBezTo>
                    <a:pt x="107" y="474"/>
                    <a:pt x="107" y="474"/>
                    <a:pt x="107" y="474"/>
                  </a:cubicBezTo>
                  <a:cubicBezTo>
                    <a:pt x="107" y="469"/>
                    <a:pt x="111" y="468"/>
                    <a:pt x="113" y="468"/>
                  </a:cubicBezTo>
                  <a:cubicBezTo>
                    <a:pt x="114" y="468"/>
                    <a:pt x="115" y="468"/>
                    <a:pt x="116" y="467"/>
                  </a:cubicBezTo>
                  <a:cubicBezTo>
                    <a:pt x="116" y="467"/>
                    <a:pt x="116" y="466"/>
                    <a:pt x="117" y="465"/>
                  </a:cubicBezTo>
                  <a:cubicBezTo>
                    <a:pt x="117" y="464"/>
                    <a:pt x="117" y="463"/>
                    <a:pt x="118" y="462"/>
                  </a:cubicBezTo>
                  <a:cubicBezTo>
                    <a:pt x="118" y="462"/>
                    <a:pt x="118" y="462"/>
                    <a:pt x="118" y="462"/>
                  </a:cubicBezTo>
                  <a:cubicBezTo>
                    <a:pt x="115" y="462"/>
                    <a:pt x="115" y="462"/>
                    <a:pt x="115" y="462"/>
                  </a:cubicBezTo>
                  <a:cubicBezTo>
                    <a:pt x="121" y="460"/>
                    <a:pt x="121" y="460"/>
                    <a:pt x="121" y="460"/>
                  </a:cubicBezTo>
                  <a:cubicBezTo>
                    <a:pt x="121" y="460"/>
                    <a:pt x="121" y="460"/>
                    <a:pt x="121" y="460"/>
                  </a:cubicBezTo>
                  <a:cubicBezTo>
                    <a:pt x="121" y="460"/>
                    <a:pt x="121" y="459"/>
                    <a:pt x="121" y="458"/>
                  </a:cubicBezTo>
                  <a:cubicBezTo>
                    <a:pt x="122" y="454"/>
                    <a:pt x="122" y="449"/>
                    <a:pt x="120" y="445"/>
                  </a:cubicBezTo>
                  <a:cubicBezTo>
                    <a:pt x="120" y="445"/>
                    <a:pt x="120" y="445"/>
                    <a:pt x="120" y="445"/>
                  </a:cubicBezTo>
                  <a:cubicBezTo>
                    <a:pt x="120" y="444"/>
                    <a:pt x="120" y="444"/>
                    <a:pt x="120" y="444"/>
                  </a:cubicBezTo>
                  <a:cubicBezTo>
                    <a:pt x="119" y="442"/>
                    <a:pt x="117" y="440"/>
                    <a:pt x="118" y="438"/>
                  </a:cubicBezTo>
                  <a:cubicBezTo>
                    <a:pt x="119" y="437"/>
                    <a:pt x="119" y="436"/>
                    <a:pt x="120" y="436"/>
                  </a:cubicBezTo>
                  <a:cubicBezTo>
                    <a:pt x="116" y="433"/>
                    <a:pt x="116" y="433"/>
                    <a:pt x="116" y="433"/>
                  </a:cubicBezTo>
                  <a:cubicBezTo>
                    <a:pt x="121" y="435"/>
                    <a:pt x="121" y="435"/>
                    <a:pt x="121" y="435"/>
                  </a:cubicBezTo>
                  <a:cubicBezTo>
                    <a:pt x="121" y="435"/>
                    <a:pt x="121" y="435"/>
                    <a:pt x="121" y="435"/>
                  </a:cubicBezTo>
                  <a:cubicBezTo>
                    <a:pt x="122" y="434"/>
                    <a:pt x="122" y="433"/>
                    <a:pt x="123" y="432"/>
                  </a:cubicBezTo>
                  <a:cubicBezTo>
                    <a:pt x="123" y="432"/>
                    <a:pt x="123" y="432"/>
                    <a:pt x="123" y="432"/>
                  </a:cubicBezTo>
                  <a:cubicBezTo>
                    <a:pt x="123" y="431"/>
                    <a:pt x="124" y="430"/>
                    <a:pt x="124" y="429"/>
                  </a:cubicBezTo>
                  <a:cubicBezTo>
                    <a:pt x="125" y="426"/>
                    <a:pt x="125" y="426"/>
                    <a:pt x="125" y="426"/>
                  </a:cubicBezTo>
                  <a:cubicBezTo>
                    <a:pt x="125" y="425"/>
                    <a:pt x="125" y="425"/>
                    <a:pt x="125" y="424"/>
                  </a:cubicBezTo>
                  <a:cubicBezTo>
                    <a:pt x="130" y="414"/>
                    <a:pt x="130" y="414"/>
                    <a:pt x="130" y="414"/>
                  </a:cubicBezTo>
                  <a:cubicBezTo>
                    <a:pt x="131" y="412"/>
                    <a:pt x="133" y="411"/>
                    <a:pt x="134" y="410"/>
                  </a:cubicBezTo>
                  <a:cubicBezTo>
                    <a:pt x="134" y="409"/>
                    <a:pt x="134" y="407"/>
                    <a:pt x="134" y="407"/>
                  </a:cubicBezTo>
                  <a:cubicBezTo>
                    <a:pt x="134" y="405"/>
                    <a:pt x="134" y="404"/>
                    <a:pt x="134" y="403"/>
                  </a:cubicBezTo>
                  <a:cubicBezTo>
                    <a:pt x="136" y="392"/>
                    <a:pt x="136" y="392"/>
                    <a:pt x="136" y="392"/>
                  </a:cubicBezTo>
                  <a:cubicBezTo>
                    <a:pt x="135" y="392"/>
                    <a:pt x="135" y="392"/>
                    <a:pt x="135" y="392"/>
                  </a:cubicBezTo>
                  <a:cubicBezTo>
                    <a:pt x="134" y="391"/>
                    <a:pt x="134" y="391"/>
                    <a:pt x="133" y="391"/>
                  </a:cubicBezTo>
                  <a:cubicBezTo>
                    <a:pt x="131" y="389"/>
                    <a:pt x="130" y="387"/>
                    <a:pt x="129" y="385"/>
                  </a:cubicBezTo>
                  <a:cubicBezTo>
                    <a:pt x="129" y="384"/>
                    <a:pt x="129" y="384"/>
                    <a:pt x="129" y="384"/>
                  </a:cubicBezTo>
                  <a:cubicBezTo>
                    <a:pt x="128" y="382"/>
                    <a:pt x="129" y="380"/>
                    <a:pt x="129" y="378"/>
                  </a:cubicBezTo>
                  <a:cubicBezTo>
                    <a:pt x="129" y="377"/>
                    <a:pt x="129" y="376"/>
                    <a:pt x="129" y="375"/>
                  </a:cubicBezTo>
                  <a:cubicBezTo>
                    <a:pt x="129" y="373"/>
                    <a:pt x="129" y="373"/>
                    <a:pt x="129" y="373"/>
                  </a:cubicBezTo>
                  <a:cubicBezTo>
                    <a:pt x="128" y="371"/>
                    <a:pt x="128" y="369"/>
                    <a:pt x="127" y="366"/>
                  </a:cubicBezTo>
                  <a:cubicBezTo>
                    <a:pt x="123" y="368"/>
                    <a:pt x="123" y="368"/>
                    <a:pt x="123" y="368"/>
                  </a:cubicBezTo>
                  <a:cubicBezTo>
                    <a:pt x="126" y="365"/>
                    <a:pt x="126" y="365"/>
                    <a:pt x="126" y="365"/>
                  </a:cubicBezTo>
                  <a:cubicBezTo>
                    <a:pt x="126" y="364"/>
                    <a:pt x="126" y="364"/>
                    <a:pt x="126" y="364"/>
                  </a:cubicBezTo>
                  <a:cubicBezTo>
                    <a:pt x="126" y="364"/>
                    <a:pt x="126" y="364"/>
                    <a:pt x="125" y="364"/>
                  </a:cubicBezTo>
                  <a:cubicBezTo>
                    <a:pt x="125" y="363"/>
                    <a:pt x="125" y="363"/>
                    <a:pt x="125" y="363"/>
                  </a:cubicBezTo>
                  <a:cubicBezTo>
                    <a:pt x="124" y="361"/>
                    <a:pt x="123" y="360"/>
                    <a:pt x="123" y="358"/>
                  </a:cubicBezTo>
                  <a:cubicBezTo>
                    <a:pt x="122" y="356"/>
                    <a:pt x="123" y="356"/>
                    <a:pt x="123" y="355"/>
                  </a:cubicBezTo>
                  <a:cubicBezTo>
                    <a:pt x="123" y="354"/>
                    <a:pt x="124" y="353"/>
                    <a:pt x="125" y="353"/>
                  </a:cubicBezTo>
                  <a:cubicBezTo>
                    <a:pt x="124" y="352"/>
                    <a:pt x="124" y="352"/>
                    <a:pt x="124" y="352"/>
                  </a:cubicBezTo>
                  <a:cubicBezTo>
                    <a:pt x="124" y="352"/>
                    <a:pt x="124" y="352"/>
                    <a:pt x="124" y="352"/>
                  </a:cubicBezTo>
                  <a:cubicBezTo>
                    <a:pt x="123" y="349"/>
                    <a:pt x="122" y="347"/>
                    <a:pt x="121" y="345"/>
                  </a:cubicBezTo>
                  <a:cubicBezTo>
                    <a:pt x="120" y="343"/>
                    <a:pt x="120" y="343"/>
                    <a:pt x="120" y="343"/>
                  </a:cubicBezTo>
                  <a:cubicBezTo>
                    <a:pt x="118" y="339"/>
                    <a:pt x="118" y="335"/>
                    <a:pt x="120" y="331"/>
                  </a:cubicBezTo>
                  <a:cubicBezTo>
                    <a:pt x="121" y="330"/>
                    <a:pt x="121" y="330"/>
                    <a:pt x="122" y="329"/>
                  </a:cubicBezTo>
                  <a:cubicBezTo>
                    <a:pt x="123" y="329"/>
                    <a:pt x="123" y="328"/>
                    <a:pt x="124" y="328"/>
                  </a:cubicBezTo>
                  <a:cubicBezTo>
                    <a:pt x="125" y="328"/>
                    <a:pt x="125" y="328"/>
                    <a:pt x="125" y="328"/>
                  </a:cubicBezTo>
                  <a:cubicBezTo>
                    <a:pt x="125" y="328"/>
                    <a:pt x="125" y="328"/>
                    <a:pt x="125" y="328"/>
                  </a:cubicBezTo>
                  <a:cubicBezTo>
                    <a:pt x="125" y="327"/>
                    <a:pt x="125" y="327"/>
                    <a:pt x="125" y="327"/>
                  </a:cubicBezTo>
                  <a:cubicBezTo>
                    <a:pt x="125" y="323"/>
                    <a:pt x="125" y="320"/>
                    <a:pt x="126" y="317"/>
                  </a:cubicBezTo>
                  <a:cubicBezTo>
                    <a:pt x="126" y="316"/>
                    <a:pt x="126" y="316"/>
                    <a:pt x="126" y="316"/>
                  </a:cubicBezTo>
                  <a:cubicBezTo>
                    <a:pt x="127" y="315"/>
                    <a:pt x="127" y="315"/>
                    <a:pt x="127" y="315"/>
                  </a:cubicBezTo>
                  <a:cubicBezTo>
                    <a:pt x="128" y="312"/>
                    <a:pt x="130" y="310"/>
                    <a:pt x="133" y="308"/>
                  </a:cubicBezTo>
                  <a:cubicBezTo>
                    <a:pt x="133" y="308"/>
                    <a:pt x="133" y="308"/>
                    <a:pt x="133" y="308"/>
                  </a:cubicBezTo>
                  <a:cubicBezTo>
                    <a:pt x="133" y="306"/>
                    <a:pt x="133" y="306"/>
                    <a:pt x="133" y="306"/>
                  </a:cubicBezTo>
                  <a:cubicBezTo>
                    <a:pt x="132" y="305"/>
                    <a:pt x="132" y="304"/>
                    <a:pt x="132" y="303"/>
                  </a:cubicBezTo>
                  <a:cubicBezTo>
                    <a:pt x="132" y="303"/>
                    <a:pt x="132" y="302"/>
                    <a:pt x="133" y="301"/>
                  </a:cubicBezTo>
                  <a:cubicBezTo>
                    <a:pt x="133" y="299"/>
                    <a:pt x="133" y="299"/>
                    <a:pt x="133" y="299"/>
                  </a:cubicBezTo>
                  <a:cubicBezTo>
                    <a:pt x="133" y="299"/>
                    <a:pt x="133" y="299"/>
                    <a:pt x="133" y="298"/>
                  </a:cubicBezTo>
                  <a:cubicBezTo>
                    <a:pt x="127" y="298"/>
                    <a:pt x="127" y="298"/>
                    <a:pt x="127" y="298"/>
                  </a:cubicBezTo>
                  <a:cubicBezTo>
                    <a:pt x="133" y="297"/>
                    <a:pt x="133" y="297"/>
                    <a:pt x="133" y="297"/>
                  </a:cubicBezTo>
                  <a:cubicBezTo>
                    <a:pt x="133" y="296"/>
                    <a:pt x="133" y="296"/>
                    <a:pt x="133" y="296"/>
                  </a:cubicBezTo>
                  <a:cubicBezTo>
                    <a:pt x="133" y="295"/>
                    <a:pt x="132" y="294"/>
                    <a:pt x="132" y="293"/>
                  </a:cubicBezTo>
                  <a:cubicBezTo>
                    <a:pt x="131" y="291"/>
                    <a:pt x="131" y="289"/>
                    <a:pt x="131" y="287"/>
                  </a:cubicBezTo>
                  <a:cubicBezTo>
                    <a:pt x="131" y="285"/>
                    <a:pt x="131" y="284"/>
                    <a:pt x="132" y="283"/>
                  </a:cubicBezTo>
                  <a:cubicBezTo>
                    <a:pt x="132" y="282"/>
                    <a:pt x="132" y="282"/>
                    <a:pt x="133" y="281"/>
                  </a:cubicBezTo>
                  <a:cubicBezTo>
                    <a:pt x="135" y="278"/>
                    <a:pt x="136" y="273"/>
                    <a:pt x="138" y="268"/>
                  </a:cubicBezTo>
                  <a:cubicBezTo>
                    <a:pt x="138" y="267"/>
                    <a:pt x="138" y="265"/>
                    <a:pt x="139" y="264"/>
                  </a:cubicBezTo>
                  <a:cubicBezTo>
                    <a:pt x="139" y="264"/>
                    <a:pt x="139" y="263"/>
                    <a:pt x="139" y="262"/>
                  </a:cubicBezTo>
                  <a:cubicBezTo>
                    <a:pt x="141" y="258"/>
                    <a:pt x="144" y="255"/>
                    <a:pt x="146" y="253"/>
                  </a:cubicBezTo>
                  <a:cubicBezTo>
                    <a:pt x="148" y="251"/>
                    <a:pt x="149" y="249"/>
                    <a:pt x="150" y="248"/>
                  </a:cubicBezTo>
                  <a:cubicBezTo>
                    <a:pt x="151" y="247"/>
                    <a:pt x="151" y="247"/>
                    <a:pt x="151" y="247"/>
                  </a:cubicBezTo>
                  <a:cubicBezTo>
                    <a:pt x="153" y="244"/>
                    <a:pt x="155" y="240"/>
                    <a:pt x="156" y="236"/>
                  </a:cubicBezTo>
                  <a:cubicBezTo>
                    <a:pt x="157" y="234"/>
                    <a:pt x="158" y="232"/>
                    <a:pt x="159" y="231"/>
                  </a:cubicBezTo>
                  <a:cubicBezTo>
                    <a:pt x="160" y="228"/>
                    <a:pt x="161" y="228"/>
                    <a:pt x="163" y="228"/>
                  </a:cubicBezTo>
                  <a:cubicBezTo>
                    <a:pt x="163" y="228"/>
                    <a:pt x="164" y="228"/>
                    <a:pt x="164" y="228"/>
                  </a:cubicBezTo>
                  <a:cubicBezTo>
                    <a:pt x="165" y="228"/>
                    <a:pt x="165" y="228"/>
                    <a:pt x="165" y="228"/>
                  </a:cubicBezTo>
                  <a:cubicBezTo>
                    <a:pt x="166" y="228"/>
                    <a:pt x="166" y="228"/>
                    <a:pt x="166" y="228"/>
                  </a:cubicBezTo>
                  <a:cubicBezTo>
                    <a:pt x="166" y="228"/>
                    <a:pt x="166" y="228"/>
                    <a:pt x="166" y="228"/>
                  </a:cubicBezTo>
                  <a:cubicBezTo>
                    <a:pt x="167" y="227"/>
                    <a:pt x="168" y="227"/>
                    <a:pt x="168" y="227"/>
                  </a:cubicBezTo>
                  <a:cubicBezTo>
                    <a:pt x="169" y="227"/>
                    <a:pt x="169" y="227"/>
                    <a:pt x="169" y="227"/>
                  </a:cubicBezTo>
                  <a:cubicBezTo>
                    <a:pt x="170" y="227"/>
                    <a:pt x="170" y="227"/>
                    <a:pt x="170" y="227"/>
                  </a:cubicBezTo>
                  <a:cubicBezTo>
                    <a:pt x="170" y="226"/>
                    <a:pt x="170" y="226"/>
                    <a:pt x="170" y="226"/>
                  </a:cubicBezTo>
                  <a:cubicBezTo>
                    <a:pt x="170" y="226"/>
                    <a:pt x="170" y="226"/>
                    <a:pt x="170" y="226"/>
                  </a:cubicBezTo>
                  <a:cubicBezTo>
                    <a:pt x="170" y="225"/>
                    <a:pt x="170" y="225"/>
                    <a:pt x="170" y="225"/>
                  </a:cubicBezTo>
                  <a:cubicBezTo>
                    <a:pt x="169" y="224"/>
                    <a:pt x="168" y="223"/>
                    <a:pt x="168" y="222"/>
                  </a:cubicBezTo>
                  <a:cubicBezTo>
                    <a:pt x="166" y="220"/>
                    <a:pt x="164" y="218"/>
                    <a:pt x="164" y="216"/>
                  </a:cubicBezTo>
                  <a:cubicBezTo>
                    <a:pt x="164" y="215"/>
                    <a:pt x="164" y="213"/>
                    <a:pt x="164" y="212"/>
                  </a:cubicBezTo>
                  <a:cubicBezTo>
                    <a:pt x="164" y="211"/>
                    <a:pt x="164" y="211"/>
                    <a:pt x="164" y="211"/>
                  </a:cubicBezTo>
                  <a:cubicBezTo>
                    <a:pt x="164" y="207"/>
                    <a:pt x="165" y="203"/>
                    <a:pt x="165" y="198"/>
                  </a:cubicBezTo>
                  <a:cubicBezTo>
                    <a:pt x="165" y="186"/>
                    <a:pt x="165" y="186"/>
                    <a:pt x="165" y="186"/>
                  </a:cubicBezTo>
                  <a:cubicBezTo>
                    <a:pt x="165" y="183"/>
                    <a:pt x="166" y="181"/>
                    <a:pt x="168" y="180"/>
                  </a:cubicBezTo>
                  <a:cubicBezTo>
                    <a:pt x="166" y="178"/>
                    <a:pt x="164" y="175"/>
                    <a:pt x="165" y="172"/>
                  </a:cubicBezTo>
                  <a:cubicBezTo>
                    <a:pt x="165" y="172"/>
                    <a:pt x="165" y="167"/>
                    <a:pt x="168" y="166"/>
                  </a:cubicBezTo>
                  <a:cubicBezTo>
                    <a:pt x="168" y="166"/>
                    <a:pt x="169" y="165"/>
                    <a:pt x="169" y="164"/>
                  </a:cubicBezTo>
                  <a:cubicBezTo>
                    <a:pt x="172" y="162"/>
                    <a:pt x="174" y="160"/>
                    <a:pt x="178" y="159"/>
                  </a:cubicBezTo>
                  <a:cubicBezTo>
                    <a:pt x="189" y="154"/>
                    <a:pt x="189" y="154"/>
                    <a:pt x="189" y="154"/>
                  </a:cubicBezTo>
                  <a:cubicBezTo>
                    <a:pt x="190" y="154"/>
                    <a:pt x="191" y="153"/>
                    <a:pt x="192" y="153"/>
                  </a:cubicBezTo>
                  <a:cubicBezTo>
                    <a:pt x="193" y="152"/>
                    <a:pt x="193" y="152"/>
                    <a:pt x="194" y="152"/>
                  </a:cubicBezTo>
                  <a:cubicBezTo>
                    <a:pt x="195" y="150"/>
                    <a:pt x="195" y="147"/>
                    <a:pt x="196" y="145"/>
                  </a:cubicBezTo>
                  <a:cubicBezTo>
                    <a:pt x="196" y="144"/>
                    <a:pt x="196" y="144"/>
                    <a:pt x="196" y="144"/>
                  </a:cubicBezTo>
                  <a:cubicBezTo>
                    <a:pt x="196" y="143"/>
                    <a:pt x="196" y="141"/>
                    <a:pt x="197" y="140"/>
                  </a:cubicBezTo>
                  <a:cubicBezTo>
                    <a:pt x="197" y="139"/>
                    <a:pt x="197" y="139"/>
                    <a:pt x="198" y="138"/>
                  </a:cubicBezTo>
                  <a:cubicBezTo>
                    <a:pt x="198" y="136"/>
                    <a:pt x="199" y="133"/>
                    <a:pt x="200" y="131"/>
                  </a:cubicBezTo>
                  <a:cubicBezTo>
                    <a:pt x="200" y="130"/>
                    <a:pt x="200" y="130"/>
                    <a:pt x="200" y="130"/>
                  </a:cubicBezTo>
                  <a:cubicBezTo>
                    <a:pt x="200" y="129"/>
                    <a:pt x="200" y="129"/>
                    <a:pt x="200" y="129"/>
                  </a:cubicBezTo>
                  <a:cubicBezTo>
                    <a:pt x="200" y="128"/>
                    <a:pt x="199" y="128"/>
                    <a:pt x="199" y="128"/>
                  </a:cubicBezTo>
                  <a:cubicBezTo>
                    <a:pt x="198" y="128"/>
                    <a:pt x="198" y="128"/>
                    <a:pt x="198" y="128"/>
                  </a:cubicBezTo>
                  <a:cubicBezTo>
                    <a:pt x="197" y="128"/>
                    <a:pt x="197" y="128"/>
                    <a:pt x="197" y="128"/>
                  </a:cubicBezTo>
                  <a:cubicBezTo>
                    <a:pt x="186" y="128"/>
                    <a:pt x="186" y="128"/>
                    <a:pt x="186" y="128"/>
                  </a:cubicBezTo>
                  <a:cubicBezTo>
                    <a:pt x="186" y="128"/>
                    <a:pt x="186" y="128"/>
                    <a:pt x="185" y="128"/>
                  </a:cubicBezTo>
                  <a:cubicBezTo>
                    <a:pt x="184" y="127"/>
                    <a:pt x="183" y="127"/>
                    <a:pt x="182" y="126"/>
                  </a:cubicBezTo>
                  <a:cubicBezTo>
                    <a:pt x="181" y="126"/>
                    <a:pt x="181" y="126"/>
                    <a:pt x="181" y="126"/>
                  </a:cubicBezTo>
                  <a:cubicBezTo>
                    <a:pt x="181" y="125"/>
                    <a:pt x="180" y="125"/>
                    <a:pt x="180" y="124"/>
                  </a:cubicBezTo>
                  <a:cubicBezTo>
                    <a:pt x="180" y="123"/>
                    <a:pt x="180" y="122"/>
                    <a:pt x="180" y="121"/>
                  </a:cubicBezTo>
                  <a:cubicBezTo>
                    <a:pt x="181" y="121"/>
                    <a:pt x="181" y="120"/>
                    <a:pt x="181" y="119"/>
                  </a:cubicBezTo>
                  <a:cubicBezTo>
                    <a:pt x="181" y="118"/>
                    <a:pt x="180" y="117"/>
                    <a:pt x="180" y="116"/>
                  </a:cubicBezTo>
                  <a:cubicBezTo>
                    <a:pt x="180" y="115"/>
                    <a:pt x="180" y="115"/>
                    <a:pt x="180" y="115"/>
                  </a:cubicBezTo>
                  <a:cubicBezTo>
                    <a:pt x="179" y="115"/>
                    <a:pt x="179" y="114"/>
                    <a:pt x="179" y="113"/>
                  </a:cubicBezTo>
                  <a:cubicBezTo>
                    <a:pt x="179" y="113"/>
                    <a:pt x="179" y="113"/>
                    <a:pt x="179" y="113"/>
                  </a:cubicBezTo>
                  <a:cubicBezTo>
                    <a:pt x="179" y="112"/>
                    <a:pt x="179" y="112"/>
                    <a:pt x="179" y="112"/>
                  </a:cubicBezTo>
                  <a:cubicBezTo>
                    <a:pt x="179" y="111"/>
                    <a:pt x="179" y="111"/>
                    <a:pt x="179" y="111"/>
                  </a:cubicBezTo>
                  <a:cubicBezTo>
                    <a:pt x="179" y="110"/>
                    <a:pt x="179" y="109"/>
                    <a:pt x="178" y="108"/>
                  </a:cubicBezTo>
                  <a:cubicBezTo>
                    <a:pt x="177" y="108"/>
                    <a:pt x="177" y="108"/>
                    <a:pt x="177" y="108"/>
                  </a:cubicBezTo>
                  <a:cubicBezTo>
                    <a:pt x="177" y="107"/>
                    <a:pt x="177" y="107"/>
                    <a:pt x="177" y="106"/>
                  </a:cubicBezTo>
                  <a:cubicBezTo>
                    <a:pt x="175" y="104"/>
                    <a:pt x="175" y="102"/>
                    <a:pt x="175" y="100"/>
                  </a:cubicBezTo>
                  <a:cubicBezTo>
                    <a:pt x="175" y="100"/>
                    <a:pt x="175" y="99"/>
                    <a:pt x="175" y="98"/>
                  </a:cubicBezTo>
                  <a:cubicBezTo>
                    <a:pt x="174" y="96"/>
                    <a:pt x="174" y="96"/>
                    <a:pt x="174" y="96"/>
                  </a:cubicBezTo>
                  <a:cubicBezTo>
                    <a:pt x="174" y="93"/>
                    <a:pt x="174" y="90"/>
                    <a:pt x="173" y="88"/>
                  </a:cubicBezTo>
                  <a:cubicBezTo>
                    <a:pt x="173" y="88"/>
                    <a:pt x="172" y="88"/>
                    <a:pt x="172" y="87"/>
                  </a:cubicBezTo>
                  <a:cubicBezTo>
                    <a:pt x="172" y="86"/>
                    <a:pt x="171" y="85"/>
                    <a:pt x="171" y="84"/>
                  </a:cubicBezTo>
                  <a:cubicBezTo>
                    <a:pt x="170" y="84"/>
                    <a:pt x="170" y="83"/>
                    <a:pt x="170" y="83"/>
                  </a:cubicBezTo>
                  <a:cubicBezTo>
                    <a:pt x="169" y="83"/>
                    <a:pt x="169" y="83"/>
                    <a:pt x="169" y="83"/>
                  </a:cubicBezTo>
                  <a:cubicBezTo>
                    <a:pt x="169" y="82"/>
                    <a:pt x="169" y="82"/>
                    <a:pt x="169" y="82"/>
                  </a:cubicBezTo>
                  <a:cubicBezTo>
                    <a:pt x="168" y="82"/>
                    <a:pt x="168" y="82"/>
                    <a:pt x="168" y="82"/>
                  </a:cubicBezTo>
                  <a:cubicBezTo>
                    <a:pt x="165" y="80"/>
                    <a:pt x="165" y="78"/>
                    <a:pt x="166" y="75"/>
                  </a:cubicBezTo>
                  <a:cubicBezTo>
                    <a:pt x="166" y="74"/>
                    <a:pt x="166" y="74"/>
                    <a:pt x="166" y="74"/>
                  </a:cubicBezTo>
                  <a:cubicBezTo>
                    <a:pt x="166" y="74"/>
                    <a:pt x="166" y="74"/>
                    <a:pt x="166" y="74"/>
                  </a:cubicBezTo>
                  <a:cubicBezTo>
                    <a:pt x="166" y="73"/>
                    <a:pt x="166" y="73"/>
                    <a:pt x="166" y="73"/>
                  </a:cubicBezTo>
                  <a:cubicBezTo>
                    <a:pt x="165" y="72"/>
                    <a:pt x="165" y="71"/>
                    <a:pt x="164" y="71"/>
                  </a:cubicBezTo>
                  <a:cubicBezTo>
                    <a:pt x="160" y="67"/>
                    <a:pt x="159" y="64"/>
                    <a:pt x="159" y="60"/>
                  </a:cubicBezTo>
                  <a:cubicBezTo>
                    <a:pt x="159" y="59"/>
                    <a:pt x="159" y="59"/>
                    <a:pt x="159" y="59"/>
                  </a:cubicBezTo>
                  <a:cubicBezTo>
                    <a:pt x="159" y="58"/>
                    <a:pt x="160" y="57"/>
                    <a:pt x="160" y="57"/>
                  </a:cubicBezTo>
                  <a:cubicBezTo>
                    <a:pt x="161" y="56"/>
                    <a:pt x="162" y="55"/>
                    <a:pt x="163" y="55"/>
                  </a:cubicBezTo>
                  <a:cubicBezTo>
                    <a:pt x="164" y="55"/>
                    <a:pt x="164" y="55"/>
                    <a:pt x="164" y="55"/>
                  </a:cubicBezTo>
                  <a:cubicBezTo>
                    <a:pt x="164" y="54"/>
                    <a:pt x="164" y="54"/>
                    <a:pt x="164" y="54"/>
                  </a:cubicBezTo>
                  <a:cubicBezTo>
                    <a:pt x="165" y="54"/>
                    <a:pt x="165" y="54"/>
                    <a:pt x="165" y="54"/>
                  </a:cubicBezTo>
                  <a:cubicBezTo>
                    <a:pt x="164" y="53"/>
                    <a:pt x="164" y="53"/>
                    <a:pt x="164" y="53"/>
                  </a:cubicBezTo>
                  <a:cubicBezTo>
                    <a:pt x="164" y="53"/>
                    <a:pt x="164" y="53"/>
                    <a:pt x="164" y="53"/>
                  </a:cubicBezTo>
                  <a:cubicBezTo>
                    <a:pt x="161" y="51"/>
                    <a:pt x="162" y="48"/>
                    <a:pt x="163" y="47"/>
                  </a:cubicBezTo>
                  <a:cubicBezTo>
                    <a:pt x="163" y="46"/>
                    <a:pt x="164" y="44"/>
                    <a:pt x="166" y="42"/>
                  </a:cubicBezTo>
                  <a:cubicBezTo>
                    <a:pt x="165" y="41"/>
                    <a:pt x="163" y="40"/>
                    <a:pt x="162" y="39"/>
                  </a:cubicBezTo>
                  <a:cubicBezTo>
                    <a:pt x="162" y="39"/>
                    <a:pt x="162" y="39"/>
                    <a:pt x="162" y="39"/>
                  </a:cubicBezTo>
                  <a:cubicBezTo>
                    <a:pt x="161" y="38"/>
                    <a:pt x="160" y="37"/>
                    <a:pt x="159" y="36"/>
                  </a:cubicBezTo>
                  <a:cubicBezTo>
                    <a:pt x="155" y="32"/>
                    <a:pt x="154" y="28"/>
                    <a:pt x="154" y="23"/>
                  </a:cubicBezTo>
                  <a:cubicBezTo>
                    <a:pt x="153" y="22"/>
                    <a:pt x="153" y="20"/>
                    <a:pt x="153" y="19"/>
                  </a:cubicBezTo>
                  <a:cubicBezTo>
                    <a:pt x="153" y="19"/>
                    <a:pt x="153" y="19"/>
                    <a:pt x="153" y="19"/>
                  </a:cubicBezTo>
                  <a:cubicBezTo>
                    <a:pt x="153" y="17"/>
                    <a:pt x="153" y="14"/>
                    <a:pt x="153" y="13"/>
                  </a:cubicBezTo>
                  <a:cubicBezTo>
                    <a:pt x="153" y="12"/>
                    <a:pt x="153" y="12"/>
                    <a:pt x="153" y="11"/>
                  </a:cubicBezTo>
                  <a:cubicBezTo>
                    <a:pt x="153" y="11"/>
                    <a:pt x="153" y="11"/>
                    <a:pt x="153" y="11"/>
                  </a:cubicBezTo>
                  <a:cubicBezTo>
                    <a:pt x="151" y="10"/>
                    <a:pt x="151" y="10"/>
                    <a:pt x="151" y="10"/>
                  </a:cubicBezTo>
                  <a:cubicBezTo>
                    <a:pt x="148" y="9"/>
                    <a:pt x="147" y="8"/>
                    <a:pt x="146" y="5"/>
                  </a:cubicBezTo>
                  <a:cubicBezTo>
                    <a:pt x="145" y="4"/>
                    <a:pt x="145" y="3"/>
                    <a:pt x="145" y="2"/>
                  </a:cubicBezTo>
                  <a:cubicBezTo>
                    <a:pt x="145" y="2"/>
                    <a:pt x="145" y="2"/>
                    <a:pt x="145" y="2"/>
                  </a:cubicBezTo>
                  <a:cubicBezTo>
                    <a:pt x="144" y="1"/>
                    <a:pt x="144" y="1"/>
                    <a:pt x="1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247"/>
            <p:cNvSpPr/>
            <p:nvPr/>
          </p:nvSpPr>
          <p:spPr bwMode="auto">
            <a:xfrm>
              <a:off x="8125694" y="3732639"/>
              <a:ext cx="1525252" cy="2734161"/>
            </a:xfrm>
            <a:custGeom>
              <a:gdLst>
                <a:gd name="T0" fmla="*/ 150 w 457"/>
                <a:gd name="T1" fmla="*/ 21 h 819"/>
                <a:gd name="T2" fmla="*/ 141 w 457"/>
                <a:gd name="T3" fmla="*/ 54 h 819"/>
                <a:gd name="T4" fmla="*/ 116 w 457"/>
                <a:gd name="T5" fmla="*/ 82 h 819"/>
                <a:gd name="T6" fmla="*/ 122 w 457"/>
                <a:gd name="T7" fmla="*/ 124 h 819"/>
                <a:gd name="T8" fmla="*/ 109 w 457"/>
                <a:gd name="T9" fmla="*/ 130 h 819"/>
                <a:gd name="T10" fmla="*/ 83 w 457"/>
                <a:gd name="T11" fmla="*/ 182 h 819"/>
                <a:gd name="T12" fmla="*/ 84 w 457"/>
                <a:gd name="T13" fmla="*/ 199 h 819"/>
                <a:gd name="T14" fmla="*/ 75 w 457"/>
                <a:gd name="T15" fmla="*/ 228 h 819"/>
                <a:gd name="T16" fmla="*/ 75 w 457"/>
                <a:gd name="T17" fmla="*/ 253 h 819"/>
                <a:gd name="T18" fmla="*/ 81 w 457"/>
                <a:gd name="T19" fmla="*/ 279 h 819"/>
                <a:gd name="T20" fmla="*/ 85 w 457"/>
                <a:gd name="T21" fmla="*/ 311 h 819"/>
                <a:gd name="T22" fmla="*/ 71 w 457"/>
                <a:gd name="T23" fmla="*/ 335 h 819"/>
                <a:gd name="T24" fmla="*/ 73 w 457"/>
                <a:gd name="T25" fmla="*/ 361 h 819"/>
                <a:gd name="T26" fmla="*/ 56 w 457"/>
                <a:gd name="T27" fmla="*/ 388 h 819"/>
                <a:gd name="T28" fmla="*/ 55 w 457"/>
                <a:gd name="T29" fmla="*/ 433 h 819"/>
                <a:gd name="T30" fmla="*/ 41 w 457"/>
                <a:gd name="T31" fmla="*/ 468 h 819"/>
                <a:gd name="T32" fmla="*/ 39 w 457"/>
                <a:gd name="T33" fmla="*/ 486 h 819"/>
                <a:gd name="T34" fmla="*/ 34 w 457"/>
                <a:gd name="T35" fmla="*/ 531 h 819"/>
                <a:gd name="T36" fmla="*/ 39 w 457"/>
                <a:gd name="T37" fmla="*/ 558 h 819"/>
                <a:gd name="T38" fmla="*/ 55 w 457"/>
                <a:gd name="T39" fmla="*/ 585 h 819"/>
                <a:gd name="T40" fmla="*/ 46 w 457"/>
                <a:gd name="T41" fmla="*/ 601 h 819"/>
                <a:gd name="T42" fmla="*/ 45 w 457"/>
                <a:gd name="T43" fmla="*/ 620 h 819"/>
                <a:gd name="T44" fmla="*/ 42 w 457"/>
                <a:gd name="T45" fmla="*/ 645 h 819"/>
                <a:gd name="T46" fmla="*/ 33 w 457"/>
                <a:gd name="T47" fmla="*/ 671 h 819"/>
                <a:gd name="T48" fmla="*/ 25 w 457"/>
                <a:gd name="T49" fmla="*/ 688 h 819"/>
                <a:gd name="T50" fmla="*/ 23 w 457"/>
                <a:gd name="T51" fmla="*/ 706 h 819"/>
                <a:gd name="T52" fmla="*/ 1 w 457"/>
                <a:gd name="T53" fmla="*/ 732 h 819"/>
                <a:gd name="T54" fmla="*/ 3 w 457"/>
                <a:gd name="T55" fmla="*/ 754 h 819"/>
                <a:gd name="T56" fmla="*/ 10 w 457"/>
                <a:gd name="T57" fmla="*/ 769 h 819"/>
                <a:gd name="T58" fmla="*/ 29 w 457"/>
                <a:gd name="T59" fmla="*/ 769 h 819"/>
                <a:gd name="T60" fmla="*/ 29 w 457"/>
                <a:gd name="T61" fmla="*/ 799 h 819"/>
                <a:gd name="T62" fmla="*/ 81 w 457"/>
                <a:gd name="T63" fmla="*/ 808 h 819"/>
                <a:gd name="T64" fmla="*/ 100 w 457"/>
                <a:gd name="T65" fmla="*/ 800 h 819"/>
                <a:gd name="T66" fmla="*/ 98 w 457"/>
                <a:gd name="T67" fmla="*/ 779 h 819"/>
                <a:gd name="T68" fmla="*/ 107 w 457"/>
                <a:gd name="T69" fmla="*/ 750 h 819"/>
                <a:gd name="T70" fmla="*/ 134 w 457"/>
                <a:gd name="T71" fmla="*/ 726 h 819"/>
                <a:gd name="T72" fmla="*/ 165 w 457"/>
                <a:gd name="T73" fmla="*/ 663 h 819"/>
                <a:gd name="T74" fmla="*/ 183 w 457"/>
                <a:gd name="T75" fmla="*/ 601 h 819"/>
                <a:gd name="T76" fmla="*/ 196 w 457"/>
                <a:gd name="T77" fmla="*/ 538 h 819"/>
                <a:gd name="T78" fmla="*/ 215 w 457"/>
                <a:gd name="T79" fmla="*/ 530 h 819"/>
                <a:gd name="T80" fmla="*/ 202 w 457"/>
                <a:gd name="T81" fmla="*/ 485 h 819"/>
                <a:gd name="T82" fmla="*/ 261 w 457"/>
                <a:gd name="T83" fmla="*/ 480 h 819"/>
                <a:gd name="T84" fmla="*/ 260 w 457"/>
                <a:gd name="T85" fmla="*/ 444 h 819"/>
                <a:gd name="T86" fmla="*/ 351 w 457"/>
                <a:gd name="T87" fmla="*/ 421 h 819"/>
                <a:gd name="T88" fmla="*/ 369 w 457"/>
                <a:gd name="T89" fmla="*/ 329 h 819"/>
                <a:gd name="T90" fmla="*/ 354 w 457"/>
                <a:gd name="T91" fmla="*/ 276 h 819"/>
                <a:gd name="T92" fmla="*/ 354 w 457"/>
                <a:gd name="T93" fmla="*/ 244 h 819"/>
                <a:gd name="T94" fmla="*/ 359 w 457"/>
                <a:gd name="T95" fmla="*/ 218 h 819"/>
                <a:gd name="T96" fmla="*/ 407 w 457"/>
                <a:gd name="T97" fmla="*/ 154 h 819"/>
                <a:gd name="T98" fmla="*/ 434 w 457"/>
                <a:gd name="T99" fmla="*/ 134 h 819"/>
                <a:gd name="T100" fmla="*/ 455 w 457"/>
                <a:gd name="T101" fmla="*/ 114 h 819"/>
                <a:gd name="T102" fmla="*/ 442 w 457"/>
                <a:gd name="T103" fmla="*/ 94 h 819"/>
                <a:gd name="T104" fmla="*/ 420 w 457"/>
                <a:gd name="T105" fmla="*/ 127 h 819"/>
                <a:gd name="T106" fmla="*/ 406 w 457"/>
                <a:gd name="T107" fmla="*/ 136 h 819"/>
                <a:gd name="T108" fmla="*/ 392 w 457"/>
                <a:gd name="T109" fmla="*/ 140 h 819"/>
                <a:gd name="T110" fmla="*/ 345 w 457"/>
                <a:gd name="T111" fmla="*/ 135 h 819"/>
                <a:gd name="T112" fmla="*/ 360 w 457"/>
                <a:gd name="T113" fmla="*/ 95 h 819"/>
                <a:gd name="T114" fmla="*/ 294 w 457"/>
                <a:gd name="T115" fmla="*/ 50 h 819"/>
                <a:gd name="T116" fmla="*/ 266 w 457"/>
                <a:gd name="T117" fmla="*/ 28 h 819"/>
                <a:gd name="T118" fmla="*/ 250 w 457"/>
                <a:gd name="T119" fmla="*/ 11 h 819"/>
                <a:gd name="T120" fmla="*/ 226 w 457"/>
                <a:gd name="T121" fmla="*/ 4 h 819"/>
                <a:gd name="T122" fmla="*/ 196 w 457"/>
                <a:gd name="T123" fmla="*/ 7 h 8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7" h="819">
                  <a:moveTo>
                    <a:pt x="170" y="0"/>
                  </a:moveTo>
                  <a:cubicBezTo>
                    <a:pt x="169" y="1"/>
                    <a:pt x="169" y="2"/>
                    <a:pt x="169" y="2"/>
                  </a:cubicBezTo>
                  <a:cubicBezTo>
                    <a:pt x="168" y="4"/>
                    <a:pt x="168" y="5"/>
                    <a:pt x="167" y="5"/>
                  </a:cubicBezTo>
                  <a:cubicBezTo>
                    <a:pt x="166" y="6"/>
                    <a:pt x="164" y="7"/>
                    <a:pt x="163" y="7"/>
                  </a:cubicBezTo>
                  <a:cubicBezTo>
                    <a:pt x="161" y="8"/>
                    <a:pt x="160" y="8"/>
                    <a:pt x="159" y="9"/>
                  </a:cubicBezTo>
                  <a:cubicBezTo>
                    <a:pt x="157" y="12"/>
                    <a:pt x="155" y="14"/>
                    <a:pt x="153" y="16"/>
                  </a:cubicBezTo>
                  <a:cubicBezTo>
                    <a:pt x="152" y="17"/>
                    <a:pt x="152" y="17"/>
                    <a:pt x="152" y="17"/>
                  </a:cubicBezTo>
                  <a:cubicBezTo>
                    <a:pt x="152" y="17"/>
                    <a:pt x="152" y="17"/>
                    <a:pt x="152" y="17"/>
                  </a:cubicBezTo>
                  <a:cubicBezTo>
                    <a:pt x="151" y="18"/>
                    <a:pt x="151" y="19"/>
                    <a:pt x="150" y="20"/>
                  </a:cubicBezTo>
                  <a:cubicBezTo>
                    <a:pt x="150" y="21"/>
                    <a:pt x="150" y="21"/>
                    <a:pt x="150" y="21"/>
                  </a:cubicBezTo>
                  <a:cubicBezTo>
                    <a:pt x="150" y="21"/>
                    <a:pt x="150" y="21"/>
                    <a:pt x="150" y="21"/>
                  </a:cubicBezTo>
                  <a:cubicBezTo>
                    <a:pt x="150" y="21"/>
                    <a:pt x="150" y="21"/>
                    <a:pt x="150" y="21"/>
                  </a:cubicBezTo>
                  <a:cubicBezTo>
                    <a:pt x="151" y="22"/>
                    <a:pt x="151" y="23"/>
                    <a:pt x="151" y="23"/>
                  </a:cubicBezTo>
                  <a:cubicBezTo>
                    <a:pt x="152" y="25"/>
                    <a:pt x="152" y="26"/>
                    <a:pt x="151" y="27"/>
                  </a:cubicBezTo>
                  <a:cubicBezTo>
                    <a:pt x="151" y="28"/>
                    <a:pt x="151" y="28"/>
                    <a:pt x="151" y="28"/>
                  </a:cubicBezTo>
                  <a:cubicBezTo>
                    <a:pt x="151" y="31"/>
                    <a:pt x="150" y="34"/>
                    <a:pt x="149" y="36"/>
                  </a:cubicBezTo>
                  <a:cubicBezTo>
                    <a:pt x="149" y="36"/>
                    <a:pt x="149" y="36"/>
                    <a:pt x="149" y="36"/>
                  </a:cubicBezTo>
                  <a:cubicBezTo>
                    <a:pt x="149" y="37"/>
                    <a:pt x="148" y="37"/>
                    <a:pt x="148" y="38"/>
                  </a:cubicBezTo>
                  <a:cubicBezTo>
                    <a:pt x="148" y="39"/>
                    <a:pt x="148" y="40"/>
                    <a:pt x="147" y="41"/>
                  </a:cubicBezTo>
                  <a:cubicBezTo>
                    <a:pt x="147" y="42"/>
                    <a:pt x="147" y="42"/>
                    <a:pt x="147" y="42"/>
                  </a:cubicBezTo>
                  <a:cubicBezTo>
                    <a:pt x="147" y="45"/>
                    <a:pt x="146" y="49"/>
                    <a:pt x="144" y="51"/>
                  </a:cubicBezTo>
                  <a:cubicBezTo>
                    <a:pt x="143" y="52"/>
                    <a:pt x="142" y="53"/>
                    <a:pt x="141" y="54"/>
                  </a:cubicBezTo>
                  <a:cubicBezTo>
                    <a:pt x="140" y="54"/>
                    <a:pt x="138" y="55"/>
                    <a:pt x="137" y="55"/>
                  </a:cubicBezTo>
                  <a:cubicBezTo>
                    <a:pt x="136" y="56"/>
                    <a:pt x="136" y="56"/>
                    <a:pt x="136" y="56"/>
                  </a:cubicBezTo>
                  <a:cubicBezTo>
                    <a:pt x="126" y="60"/>
                    <a:pt x="126" y="60"/>
                    <a:pt x="126" y="60"/>
                  </a:cubicBezTo>
                  <a:cubicBezTo>
                    <a:pt x="123" y="61"/>
                    <a:pt x="121" y="63"/>
                    <a:pt x="120" y="64"/>
                  </a:cubicBezTo>
                  <a:cubicBezTo>
                    <a:pt x="119" y="65"/>
                    <a:pt x="119" y="66"/>
                    <a:pt x="118" y="66"/>
                  </a:cubicBezTo>
                  <a:cubicBezTo>
                    <a:pt x="116" y="69"/>
                    <a:pt x="116" y="69"/>
                    <a:pt x="116" y="69"/>
                  </a:cubicBezTo>
                  <a:cubicBezTo>
                    <a:pt x="117" y="71"/>
                    <a:pt x="118" y="74"/>
                    <a:pt x="120" y="75"/>
                  </a:cubicBezTo>
                  <a:cubicBezTo>
                    <a:pt x="123" y="77"/>
                    <a:pt x="123" y="77"/>
                    <a:pt x="123" y="77"/>
                  </a:cubicBezTo>
                  <a:cubicBezTo>
                    <a:pt x="120" y="79"/>
                    <a:pt x="120" y="79"/>
                    <a:pt x="120" y="79"/>
                  </a:cubicBezTo>
                  <a:cubicBezTo>
                    <a:pt x="119" y="80"/>
                    <a:pt x="118" y="80"/>
                    <a:pt x="118" y="80"/>
                  </a:cubicBezTo>
                  <a:cubicBezTo>
                    <a:pt x="116" y="81"/>
                    <a:pt x="116" y="81"/>
                    <a:pt x="116" y="82"/>
                  </a:cubicBezTo>
                  <a:cubicBezTo>
                    <a:pt x="116" y="94"/>
                    <a:pt x="116" y="94"/>
                    <a:pt x="116" y="94"/>
                  </a:cubicBezTo>
                  <a:cubicBezTo>
                    <a:pt x="116" y="98"/>
                    <a:pt x="116" y="103"/>
                    <a:pt x="116" y="108"/>
                  </a:cubicBezTo>
                  <a:cubicBezTo>
                    <a:pt x="116" y="109"/>
                    <a:pt x="116" y="109"/>
                    <a:pt x="116" y="109"/>
                  </a:cubicBezTo>
                  <a:cubicBezTo>
                    <a:pt x="115" y="110"/>
                    <a:pt x="115" y="110"/>
                    <a:pt x="115" y="111"/>
                  </a:cubicBezTo>
                  <a:cubicBezTo>
                    <a:pt x="116" y="112"/>
                    <a:pt x="117" y="113"/>
                    <a:pt x="118" y="114"/>
                  </a:cubicBezTo>
                  <a:cubicBezTo>
                    <a:pt x="119" y="116"/>
                    <a:pt x="120" y="117"/>
                    <a:pt x="121" y="118"/>
                  </a:cubicBezTo>
                  <a:cubicBezTo>
                    <a:pt x="121" y="119"/>
                    <a:pt x="121" y="119"/>
                    <a:pt x="121" y="120"/>
                  </a:cubicBezTo>
                  <a:cubicBezTo>
                    <a:pt x="122" y="120"/>
                    <a:pt x="122" y="121"/>
                    <a:pt x="122" y="121"/>
                  </a:cubicBezTo>
                  <a:cubicBezTo>
                    <a:pt x="122" y="122"/>
                    <a:pt x="122" y="122"/>
                    <a:pt x="122" y="122"/>
                  </a:cubicBezTo>
                  <a:cubicBezTo>
                    <a:pt x="122" y="122"/>
                    <a:pt x="122" y="123"/>
                    <a:pt x="122" y="123"/>
                  </a:cubicBezTo>
                  <a:cubicBezTo>
                    <a:pt x="122" y="124"/>
                    <a:pt x="122" y="124"/>
                    <a:pt x="122" y="124"/>
                  </a:cubicBezTo>
                  <a:cubicBezTo>
                    <a:pt x="122" y="124"/>
                    <a:pt x="122" y="125"/>
                    <a:pt x="121" y="125"/>
                  </a:cubicBezTo>
                  <a:cubicBezTo>
                    <a:pt x="120" y="128"/>
                    <a:pt x="118" y="128"/>
                    <a:pt x="116" y="128"/>
                  </a:cubicBezTo>
                  <a:cubicBezTo>
                    <a:pt x="116" y="129"/>
                    <a:pt x="116" y="129"/>
                    <a:pt x="116" y="129"/>
                  </a:cubicBezTo>
                  <a:cubicBezTo>
                    <a:pt x="116" y="129"/>
                    <a:pt x="116" y="129"/>
                    <a:pt x="116" y="129"/>
                  </a:cubicBezTo>
                  <a:cubicBezTo>
                    <a:pt x="115" y="129"/>
                    <a:pt x="115" y="129"/>
                    <a:pt x="115" y="130"/>
                  </a:cubicBezTo>
                  <a:cubicBezTo>
                    <a:pt x="114" y="130"/>
                    <a:pt x="114" y="130"/>
                    <a:pt x="113" y="130"/>
                  </a:cubicBezTo>
                  <a:cubicBezTo>
                    <a:pt x="113" y="130"/>
                    <a:pt x="112" y="130"/>
                    <a:pt x="112" y="130"/>
                  </a:cubicBezTo>
                  <a:cubicBezTo>
                    <a:pt x="112" y="130"/>
                    <a:pt x="111" y="130"/>
                    <a:pt x="111" y="130"/>
                  </a:cubicBezTo>
                  <a:cubicBezTo>
                    <a:pt x="111" y="130"/>
                    <a:pt x="110" y="130"/>
                    <a:pt x="110" y="130"/>
                  </a:cubicBezTo>
                  <a:cubicBezTo>
                    <a:pt x="109" y="130"/>
                    <a:pt x="109" y="130"/>
                    <a:pt x="109" y="130"/>
                  </a:cubicBezTo>
                  <a:cubicBezTo>
                    <a:pt x="109" y="130"/>
                    <a:pt x="109" y="130"/>
                    <a:pt x="109" y="130"/>
                  </a:cubicBezTo>
                  <a:cubicBezTo>
                    <a:pt x="109" y="131"/>
                    <a:pt x="108" y="132"/>
                    <a:pt x="108" y="134"/>
                  </a:cubicBezTo>
                  <a:cubicBezTo>
                    <a:pt x="108" y="134"/>
                    <a:pt x="108" y="134"/>
                    <a:pt x="108" y="134"/>
                  </a:cubicBezTo>
                  <a:cubicBezTo>
                    <a:pt x="106" y="139"/>
                    <a:pt x="104" y="143"/>
                    <a:pt x="101" y="146"/>
                  </a:cubicBezTo>
                  <a:cubicBezTo>
                    <a:pt x="101" y="147"/>
                    <a:pt x="101" y="147"/>
                    <a:pt x="101" y="147"/>
                  </a:cubicBezTo>
                  <a:cubicBezTo>
                    <a:pt x="100" y="149"/>
                    <a:pt x="98" y="151"/>
                    <a:pt x="97" y="152"/>
                  </a:cubicBezTo>
                  <a:cubicBezTo>
                    <a:pt x="94" y="155"/>
                    <a:pt x="92" y="158"/>
                    <a:pt x="91" y="160"/>
                  </a:cubicBezTo>
                  <a:cubicBezTo>
                    <a:pt x="90" y="161"/>
                    <a:pt x="90" y="161"/>
                    <a:pt x="90" y="162"/>
                  </a:cubicBezTo>
                  <a:cubicBezTo>
                    <a:pt x="90" y="163"/>
                    <a:pt x="89" y="164"/>
                    <a:pt x="89" y="165"/>
                  </a:cubicBezTo>
                  <a:cubicBezTo>
                    <a:pt x="89" y="165"/>
                    <a:pt x="89" y="165"/>
                    <a:pt x="89" y="165"/>
                  </a:cubicBezTo>
                  <a:cubicBezTo>
                    <a:pt x="88" y="171"/>
                    <a:pt x="86" y="176"/>
                    <a:pt x="84" y="180"/>
                  </a:cubicBezTo>
                  <a:cubicBezTo>
                    <a:pt x="83" y="181"/>
                    <a:pt x="83" y="181"/>
                    <a:pt x="83" y="182"/>
                  </a:cubicBezTo>
                  <a:cubicBezTo>
                    <a:pt x="83" y="182"/>
                    <a:pt x="83" y="182"/>
                    <a:pt x="83" y="182"/>
                  </a:cubicBezTo>
                  <a:cubicBezTo>
                    <a:pt x="82" y="182"/>
                    <a:pt x="82" y="182"/>
                    <a:pt x="82" y="183"/>
                  </a:cubicBezTo>
                  <a:cubicBezTo>
                    <a:pt x="82" y="184"/>
                    <a:pt x="83" y="185"/>
                    <a:pt x="83" y="187"/>
                  </a:cubicBezTo>
                  <a:cubicBezTo>
                    <a:pt x="84" y="188"/>
                    <a:pt x="85" y="190"/>
                    <a:pt x="85" y="192"/>
                  </a:cubicBezTo>
                  <a:cubicBezTo>
                    <a:pt x="85" y="192"/>
                    <a:pt x="85" y="192"/>
                    <a:pt x="85" y="192"/>
                  </a:cubicBezTo>
                  <a:cubicBezTo>
                    <a:pt x="85" y="192"/>
                    <a:pt x="85" y="192"/>
                    <a:pt x="85" y="192"/>
                  </a:cubicBezTo>
                  <a:cubicBezTo>
                    <a:pt x="85" y="193"/>
                    <a:pt x="85" y="193"/>
                    <a:pt x="85" y="193"/>
                  </a:cubicBezTo>
                  <a:cubicBezTo>
                    <a:pt x="85" y="193"/>
                    <a:pt x="85" y="193"/>
                    <a:pt x="85" y="193"/>
                  </a:cubicBezTo>
                  <a:cubicBezTo>
                    <a:pt x="84" y="194"/>
                    <a:pt x="84" y="195"/>
                    <a:pt x="84" y="196"/>
                  </a:cubicBezTo>
                  <a:cubicBezTo>
                    <a:pt x="84" y="198"/>
                    <a:pt x="84" y="198"/>
                    <a:pt x="84" y="198"/>
                  </a:cubicBezTo>
                  <a:cubicBezTo>
                    <a:pt x="84" y="198"/>
                    <a:pt x="84" y="199"/>
                    <a:pt x="84" y="199"/>
                  </a:cubicBezTo>
                  <a:cubicBezTo>
                    <a:pt x="85" y="199"/>
                    <a:pt x="85" y="200"/>
                    <a:pt x="85" y="200"/>
                  </a:cubicBezTo>
                  <a:cubicBezTo>
                    <a:pt x="86" y="200"/>
                    <a:pt x="86" y="201"/>
                    <a:pt x="86" y="202"/>
                  </a:cubicBezTo>
                  <a:cubicBezTo>
                    <a:pt x="87" y="202"/>
                    <a:pt x="87" y="203"/>
                    <a:pt x="87" y="203"/>
                  </a:cubicBezTo>
                  <a:cubicBezTo>
                    <a:pt x="87" y="206"/>
                    <a:pt x="83" y="208"/>
                    <a:pt x="81" y="209"/>
                  </a:cubicBezTo>
                  <a:cubicBezTo>
                    <a:pt x="80" y="210"/>
                    <a:pt x="79" y="211"/>
                    <a:pt x="78" y="213"/>
                  </a:cubicBezTo>
                  <a:cubicBezTo>
                    <a:pt x="78" y="213"/>
                    <a:pt x="78" y="214"/>
                    <a:pt x="78" y="215"/>
                  </a:cubicBezTo>
                  <a:cubicBezTo>
                    <a:pt x="77" y="218"/>
                    <a:pt x="76" y="220"/>
                    <a:pt x="76" y="222"/>
                  </a:cubicBezTo>
                  <a:cubicBezTo>
                    <a:pt x="76" y="223"/>
                    <a:pt x="76" y="223"/>
                    <a:pt x="76" y="223"/>
                  </a:cubicBezTo>
                  <a:cubicBezTo>
                    <a:pt x="76" y="224"/>
                    <a:pt x="77" y="225"/>
                    <a:pt x="76" y="226"/>
                  </a:cubicBezTo>
                  <a:cubicBezTo>
                    <a:pt x="76" y="227"/>
                    <a:pt x="76" y="227"/>
                    <a:pt x="75" y="228"/>
                  </a:cubicBezTo>
                  <a:cubicBezTo>
                    <a:pt x="75" y="228"/>
                    <a:pt x="75" y="228"/>
                    <a:pt x="75" y="228"/>
                  </a:cubicBezTo>
                  <a:cubicBezTo>
                    <a:pt x="74" y="229"/>
                    <a:pt x="74" y="229"/>
                    <a:pt x="74" y="229"/>
                  </a:cubicBezTo>
                  <a:cubicBezTo>
                    <a:pt x="73" y="228"/>
                    <a:pt x="73" y="228"/>
                    <a:pt x="73" y="228"/>
                  </a:cubicBezTo>
                  <a:cubicBezTo>
                    <a:pt x="73" y="229"/>
                    <a:pt x="73" y="229"/>
                    <a:pt x="73" y="229"/>
                  </a:cubicBezTo>
                  <a:cubicBezTo>
                    <a:pt x="71" y="230"/>
                    <a:pt x="71" y="230"/>
                    <a:pt x="71" y="230"/>
                  </a:cubicBezTo>
                  <a:cubicBezTo>
                    <a:pt x="71" y="230"/>
                    <a:pt x="71" y="230"/>
                    <a:pt x="71" y="230"/>
                  </a:cubicBezTo>
                  <a:cubicBezTo>
                    <a:pt x="70" y="232"/>
                    <a:pt x="70" y="234"/>
                    <a:pt x="71" y="237"/>
                  </a:cubicBezTo>
                  <a:cubicBezTo>
                    <a:pt x="72" y="239"/>
                    <a:pt x="72" y="239"/>
                    <a:pt x="72" y="239"/>
                  </a:cubicBezTo>
                  <a:cubicBezTo>
                    <a:pt x="73" y="241"/>
                    <a:pt x="74" y="243"/>
                    <a:pt x="75" y="245"/>
                  </a:cubicBezTo>
                  <a:cubicBezTo>
                    <a:pt x="75" y="246"/>
                    <a:pt x="76" y="246"/>
                    <a:pt x="76" y="247"/>
                  </a:cubicBezTo>
                  <a:cubicBezTo>
                    <a:pt x="77" y="247"/>
                    <a:pt x="77" y="248"/>
                    <a:pt x="77" y="249"/>
                  </a:cubicBezTo>
                  <a:cubicBezTo>
                    <a:pt x="77" y="251"/>
                    <a:pt x="75" y="252"/>
                    <a:pt x="75" y="253"/>
                  </a:cubicBezTo>
                  <a:cubicBezTo>
                    <a:pt x="74" y="253"/>
                    <a:pt x="74" y="253"/>
                    <a:pt x="74" y="253"/>
                  </a:cubicBezTo>
                  <a:cubicBezTo>
                    <a:pt x="75" y="254"/>
                    <a:pt x="75" y="255"/>
                    <a:pt x="76" y="256"/>
                  </a:cubicBezTo>
                  <a:cubicBezTo>
                    <a:pt x="76" y="256"/>
                    <a:pt x="76" y="256"/>
                    <a:pt x="76" y="256"/>
                  </a:cubicBezTo>
                  <a:cubicBezTo>
                    <a:pt x="76" y="257"/>
                    <a:pt x="77" y="257"/>
                    <a:pt x="77" y="258"/>
                  </a:cubicBezTo>
                  <a:cubicBezTo>
                    <a:pt x="78" y="259"/>
                    <a:pt x="78" y="259"/>
                    <a:pt x="78" y="259"/>
                  </a:cubicBezTo>
                  <a:cubicBezTo>
                    <a:pt x="79" y="262"/>
                    <a:pt x="80" y="265"/>
                    <a:pt x="80" y="268"/>
                  </a:cubicBezTo>
                  <a:cubicBezTo>
                    <a:pt x="80" y="270"/>
                    <a:pt x="80" y="270"/>
                    <a:pt x="80" y="270"/>
                  </a:cubicBezTo>
                  <a:cubicBezTo>
                    <a:pt x="81" y="271"/>
                    <a:pt x="81" y="273"/>
                    <a:pt x="80" y="274"/>
                  </a:cubicBezTo>
                  <a:cubicBezTo>
                    <a:pt x="80" y="276"/>
                    <a:pt x="80" y="277"/>
                    <a:pt x="81" y="278"/>
                  </a:cubicBezTo>
                  <a:cubicBezTo>
                    <a:pt x="81" y="278"/>
                    <a:pt x="81" y="279"/>
                    <a:pt x="81" y="279"/>
                  </a:cubicBezTo>
                  <a:cubicBezTo>
                    <a:pt x="81" y="279"/>
                    <a:pt x="81" y="279"/>
                    <a:pt x="81" y="279"/>
                  </a:cubicBezTo>
                  <a:cubicBezTo>
                    <a:pt x="81" y="280"/>
                    <a:pt x="81" y="281"/>
                    <a:pt x="82" y="282"/>
                  </a:cubicBezTo>
                  <a:cubicBezTo>
                    <a:pt x="82" y="282"/>
                    <a:pt x="83" y="282"/>
                    <a:pt x="83" y="282"/>
                  </a:cubicBezTo>
                  <a:cubicBezTo>
                    <a:pt x="84" y="283"/>
                    <a:pt x="87" y="283"/>
                    <a:pt x="87" y="286"/>
                  </a:cubicBezTo>
                  <a:cubicBezTo>
                    <a:pt x="87" y="286"/>
                    <a:pt x="87" y="287"/>
                    <a:pt x="87" y="288"/>
                  </a:cubicBezTo>
                  <a:cubicBezTo>
                    <a:pt x="88" y="288"/>
                    <a:pt x="88" y="288"/>
                    <a:pt x="88" y="288"/>
                  </a:cubicBezTo>
                  <a:cubicBezTo>
                    <a:pt x="87" y="289"/>
                    <a:pt x="87" y="289"/>
                    <a:pt x="87" y="289"/>
                  </a:cubicBezTo>
                  <a:cubicBezTo>
                    <a:pt x="85" y="300"/>
                    <a:pt x="85" y="300"/>
                    <a:pt x="85" y="300"/>
                  </a:cubicBezTo>
                  <a:cubicBezTo>
                    <a:pt x="85" y="301"/>
                    <a:pt x="85" y="301"/>
                    <a:pt x="85" y="302"/>
                  </a:cubicBezTo>
                  <a:cubicBezTo>
                    <a:pt x="85" y="304"/>
                    <a:pt x="86" y="306"/>
                    <a:pt x="86" y="307"/>
                  </a:cubicBezTo>
                  <a:cubicBezTo>
                    <a:pt x="88" y="310"/>
                    <a:pt x="88" y="310"/>
                    <a:pt x="88" y="310"/>
                  </a:cubicBezTo>
                  <a:cubicBezTo>
                    <a:pt x="85" y="311"/>
                    <a:pt x="85" y="311"/>
                    <a:pt x="85" y="311"/>
                  </a:cubicBezTo>
                  <a:cubicBezTo>
                    <a:pt x="84" y="311"/>
                    <a:pt x="83" y="312"/>
                    <a:pt x="82" y="312"/>
                  </a:cubicBezTo>
                  <a:cubicBezTo>
                    <a:pt x="81" y="312"/>
                    <a:pt x="81" y="312"/>
                    <a:pt x="81" y="312"/>
                  </a:cubicBezTo>
                  <a:cubicBezTo>
                    <a:pt x="77" y="322"/>
                    <a:pt x="77" y="322"/>
                    <a:pt x="77" y="322"/>
                  </a:cubicBezTo>
                  <a:cubicBezTo>
                    <a:pt x="76" y="323"/>
                    <a:pt x="76" y="323"/>
                    <a:pt x="76" y="323"/>
                  </a:cubicBezTo>
                  <a:cubicBezTo>
                    <a:pt x="76" y="324"/>
                    <a:pt x="76" y="324"/>
                    <a:pt x="76" y="324"/>
                  </a:cubicBezTo>
                  <a:cubicBezTo>
                    <a:pt x="76" y="325"/>
                    <a:pt x="76" y="325"/>
                    <a:pt x="76" y="326"/>
                  </a:cubicBezTo>
                  <a:cubicBezTo>
                    <a:pt x="75" y="326"/>
                    <a:pt x="75" y="326"/>
                    <a:pt x="75" y="326"/>
                  </a:cubicBezTo>
                  <a:cubicBezTo>
                    <a:pt x="75" y="328"/>
                    <a:pt x="75" y="329"/>
                    <a:pt x="74" y="331"/>
                  </a:cubicBezTo>
                  <a:cubicBezTo>
                    <a:pt x="74" y="331"/>
                    <a:pt x="74" y="331"/>
                    <a:pt x="74" y="331"/>
                  </a:cubicBezTo>
                  <a:cubicBezTo>
                    <a:pt x="73" y="332"/>
                    <a:pt x="72" y="333"/>
                    <a:pt x="72" y="334"/>
                  </a:cubicBezTo>
                  <a:cubicBezTo>
                    <a:pt x="71" y="335"/>
                    <a:pt x="71" y="335"/>
                    <a:pt x="71" y="335"/>
                  </a:cubicBezTo>
                  <a:cubicBezTo>
                    <a:pt x="71" y="335"/>
                    <a:pt x="71" y="335"/>
                    <a:pt x="71" y="335"/>
                  </a:cubicBezTo>
                  <a:cubicBezTo>
                    <a:pt x="70" y="336"/>
                    <a:pt x="70" y="336"/>
                    <a:pt x="70" y="336"/>
                  </a:cubicBezTo>
                  <a:cubicBezTo>
                    <a:pt x="70" y="337"/>
                    <a:pt x="71" y="337"/>
                    <a:pt x="71" y="338"/>
                  </a:cubicBezTo>
                  <a:cubicBezTo>
                    <a:pt x="71" y="338"/>
                    <a:pt x="71" y="338"/>
                    <a:pt x="71" y="338"/>
                  </a:cubicBezTo>
                  <a:cubicBezTo>
                    <a:pt x="71" y="338"/>
                    <a:pt x="71" y="339"/>
                    <a:pt x="71" y="339"/>
                  </a:cubicBezTo>
                  <a:cubicBezTo>
                    <a:pt x="74" y="344"/>
                    <a:pt x="73" y="349"/>
                    <a:pt x="73" y="355"/>
                  </a:cubicBezTo>
                  <a:cubicBezTo>
                    <a:pt x="73" y="355"/>
                    <a:pt x="73" y="356"/>
                    <a:pt x="73" y="356"/>
                  </a:cubicBezTo>
                  <a:cubicBezTo>
                    <a:pt x="76" y="356"/>
                    <a:pt x="76" y="356"/>
                    <a:pt x="76" y="356"/>
                  </a:cubicBezTo>
                  <a:cubicBezTo>
                    <a:pt x="73" y="357"/>
                    <a:pt x="73" y="357"/>
                    <a:pt x="73" y="357"/>
                  </a:cubicBezTo>
                  <a:cubicBezTo>
                    <a:pt x="73" y="358"/>
                    <a:pt x="73" y="358"/>
                    <a:pt x="73" y="359"/>
                  </a:cubicBezTo>
                  <a:cubicBezTo>
                    <a:pt x="73" y="361"/>
                    <a:pt x="73" y="361"/>
                    <a:pt x="73" y="361"/>
                  </a:cubicBezTo>
                  <a:cubicBezTo>
                    <a:pt x="70" y="361"/>
                    <a:pt x="70" y="361"/>
                    <a:pt x="70" y="361"/>
                  </a:cubicBezTo>
                  <a:cubicBezTo>
                    <a:pt x="70" y="361"/>
                    <a:pt x="69" y="362"/>
                    <a:pt x="69" y="362"/>
                  </a:cubicBezTo>
                  <a:cubicBezTo>
                    <a:pt x="69" y="362"/>
                    <a:pt x="69" y="362"/>
                    <a:pt x="69" y="362"/>
                  </a:cubicBezTo>
                  <a:cubicBezTo>
                    <a:pt x="68" y="362"/>
                    <a:pt x="68" y="362"/>
                    <a:pt x="68" y="363"/>
                  </a:cubicBezTo>
                  <a:cubicBezTo>
                    <a:pt x="68" y="364"/>
                    <a:pt x="67" y="366"/>
                    <a:pt x="66" y="367"/>
                  </a:cubicBezTo>
                  <a:cubicBezTo>
                    <a:pt x="64" y="369"/>
                    <a:pt x="62" y="369"/>
                    <a:pt x="60" y="370"/>
                  </a:cubicBezTo>
                  <a:cubicBezTo>
                    <a:pt x="60" y="370"/>
                    <a:pt x="59" y="370"/>
                    <a:pt x="59" y="370"/>
                  </a:cubicBezTo>
                  <a:cubicBezTo>
                    <a:pt x="59" y="370"/>
                    <a:pt x="59" y="370"/>
                    <a:pt x="59" y="370"/>
                  </a:cubicBezTo>
                  <a:cubicBezTo>
                    <a:pt x="58" y="370"/>
                    <a:pt x="58" y="370"/>
                    <a:pt x="58" y="370"/>
                  </a:cubicBezTo>
                  <a:cubicBezTo>
                    <a:pt x="58" y="375"/>
                    <a:pt x="58" y="375"/>
                    <a:pt x="58" y="375"/>
                  </a:cubicBezTo>
                  <a:cubicBezTo>
                    <a:pt x="57" y="379"/>
                    <a:pt x="57" y="384"/>
                    <a:pt x="56" y="388"/>
                  </a:cubicBezTo>
                  <a:cubicBezTo>
                    <a:pt x="56" y="388"/>
                    <a:pt x="56" y="388"/>
                    <a:pt x="56" y="388"/>
                  </a:cubicBezTo>
                  <a:cubicBezTo>
                    <a:pt x="56" y="389"/>
                    <a:pt x="56" y="389"/>
                    <a:pt x="56" y="389"/>
                  </a:cubicBezTo>
                  <a:cubicBezTo>
                    <a:pt x="56" y="392"/>
                    <a:pt x="56" y="396"/>
                    <a:pt x="57" y="400"/>
                  </a:cubicBezTo>
                  <a:cubicBezTo>
                    <a:pt x="57" y="401"/>
                    <a:pt x="57" y="401"/>
                    <a:pt x="57" y="401"/>
                  </a:cubicBezTo>
                  <a:cubicBezTo>
                    <a:pt x="57" y="402"/>
                    <a:pt x="57" y="403"/>
                    <a:pt x="57" y="404"/>
                  </a:cubicBezTo>
                  <a:cubicBezTo>
                    <a:pt x="57" y="405"/>
                    <a:pt x="57" y="405"/>
                    <a:pt x="57" y="405"/>
                  </a:cubicBezTo>
                  <a:cubicBezTo>
                    <a:pt x="58" y="407"/>
                    <a:pt x="59" y="410"/>
                    <a:pt x="59" y="413"/>
                  </a:cubicBezTo>
                  <a:cubicBezTo>
                    <a:pt x="60" y="415"/>
                    <a:pt x="60" y="416"/>
                    <a:pt x="61" y="418"/>
                  </a:cubicBezTo>
                  <a:cubicBezTo>
                    <a:pt x="61" y="418"/>
                    <a:pt x="61" y="419"/>
                    <a:pt x="61" y="419"/>
                  </a:cubicBezTo>
                  <a:cubicBezTo>
                    <a:pt x="63" y="424"/>
                    <a:pt x="63" y="427"/>
                    <a:pt x="62" y="428"/>
                  </a:cubicBezTo>
                  <a:cubicBezTo>
                    <a:pt x="61" y="430"/>
                    <a:pt x="59" y="431"/>
                    <a:pt x="55" y="433"/>
                  </a:cubicBezTo>
                  <a:cubicBezTo>
                    <a:pt x="54" y="433"/>
                    <a:pt x="53" y="433"/>
                    <a:pt x="53" y="433"/>
                  </a:cubicBezTo>
                  <a:cubicBezTo>
                    <a:pt x="52" y="434"/>
                    <a:pt x="52" y="434"/>
                    <a:pt x="52" y="434"/>
                  </a:cubicBezTo>
                  <a:cubicBezTo>
                    <a:pt x="52" y="434"/>
                    <a:pt x="51" y="434"/>
                    <a:pt x="51" y="435"/>
                  </a:cubicBezTo>
                  <a:cubicBezTo>
                    <a:pt x="51" y="435"/>
                    <a:pt x="51" y="435"/>
                    <a:pt x="51" y="435"/>
                  </a:cubicBezTo>
                  <a:cubicBezTo>
                    <a:pt x="49" y="447"/>
                    <a:pt x="49" y="447"/>
                    <a:pt x="49" y="447"/>
                  </a:cubicBezTo>
                  <a:cubicBezTo>
                    <a:pt x="49" y="448"/>
                    <a:pt x="49" y="449"/>
                    <a:pt x="49" y="451"/>
                  </a:cubicBezTo>
                  <a:cubicBezTo>
                    <a:pt x="48" y="451"/>
                    <a:pt x="48" y="451"/>
                    <a:pt x="48" y="451"/>
                  </a:cubicBezTo>
                  <a:cubicBezTo>
                    <a:pt x="48" y="452"/>
                    <a:pt x="48" y="452"/>
                    <a:pt x="48" y="452"/>
                  </a:cubicBezTo>
                  <a:cubicBezTo>
                    <a:pt x="47" y="453"/>
                    <a:pt x="46" y="454"/>
                    <a:pt x="45" y="454"/>
                  </a:cubicBezTo>
                  <a:cubicBezTo>
                    <a:pt x="45" y="461"/>
                    <a:pt x="45" y="464"/>
                    <a:pt x="43" y="466"/>
                  </a:cubicBezTo>
                  <a:cubicBezTo>
                    <a:pt x="43" y="467"/>
                    <a:pt x="42" y="468"/>
                    <a:pt x="41" y="468"/>
                  </a:cubicBezTo>
                  <a:cubicBezTo>
                    <a:pt x="41" y="468"/>
                    <a:pt x="42" y="469"/>
                    <a:pt x="42" y="469"/>
                  </a:cubicBezTo>
                  <a:cubicBezTo>
                    <a:pt x="42" y="469"/>
                    <a:pt x="42" y="470"/>
                    <a:pt x="42" y="470"/>
                  </a:cubicBezTo>
                  <a:cubicBezTo>
                    <a:pt x="43" y="471"/>
                    <a:pt x="43" y="471"/>
                    <a:pt x="43" y="471"/>
                  </a:cubicBezTo>
                  <a:cubicBezTo>
                    <a:pt x="43" y="472"/>
                    <a:pt x="43" y="472"/>
                    <a:pt x="43" y="472"/>
                  </a:cubicBezTo>
                  <a:cubicBezTo>
                    <a:pt x="42" y="473"/>
                    <a:pt x="42" y="473"/>
                    <a:pt x="42" y="473"/>
                  </a:cubicBezTo>
                  <a:cubicBezTo>
                    <a:pt x="43" y="474"/>
                    <a:pt x="43" y="474"/>
                    <a:pt x="43" y="474"/>
                  </a:cubicBezTo>
                  <a:cubicBezTo>
                    <a:pt x="42" y="475"/>
                    <a:pt x="42" y="475"/>
                    <a:pt x="42" y="475"/>
                  </a:cubicBezTo>
                  <a:cubicBezTo>
                    <a:pt x="42" y="475"/>
                    <a:pt x="42" y="475"/>
                    <a:pt x="42" y="475"/>
                  </a:cubicBezTo>
                  <a:cubicBezTo>
                    <a:pt x="41" y="477"/>
                    <a:pt x="40" y="479"/>
                    <a:pt x="39" y="481"/>
                  </a:cubicBezTo>
                  <a:cubicBezTo>
                    <a:pt x="39" y="483"/>
                    <a:pt x="39" y="484"/>
                    <a:pt x="39" y="486"/>
                  </a:cubicBezTo>
                  <a:cubicBezTo>
                    <a:pt x="39" y="486"/>
                    <a:pt x="39" y="486"/>
                    <a:pt x="39" y="486"/>
                  </a:cubicBezTo>
                  <a:cubicBezTo>
                    <a:pt x="39" y="487"/>
                    <a:pt x="39" y="488"/>
                    <a:pt x="39" y="489"/>
                  </a:cubicBezTo>
                  <a:cubicBezTo>
                    <a:pt x="39" y="489"/>
                    <a:pt x="40" y="490"/>
                    <a:pt x="40" y="490"/>
                  </a:cubicBezTo>
                  <a:cubicBezTo>
                    <a:pt x="40" y="493"/>
                    <a:pt x="39" y="496"/>
                    <a:pt x="39" y="499"/>
                  </a:cubicBezTo>
                  <a:cubicBezTo>
                    <a:pt x="39" y="500"/>
                    <a:pt x="39" y="501"/>
                    <a:pt x="39" y="502"/>
                  </a:cubicBezTo>
                  <a:cubicBezTo>
                    <a:pt x="38" y="507"/>
                    <a:pt x="39" y="510"/>
                    <a:pt x="41" y="514"/>
                  </a:cubicBezTo>
                  <a:cubicBezTo>
                    <a:pt x="41" y="515"/>
                    <a:pt x="41" y="515"/>
                    <a:pt x="41" y="515"/>
                  </a:cubicBezTo>
                  <a:cubicBezTo>
                    <a:pt x="42" y="516"/>
                    <a:pt x="42" y="517"/>
                    <a:pt x="42" y="518"/>
                  </a:cubicBezTo>
                  <a:cubicBezTo>
                    <a:pt x="43" y="521"/>
                    <a:pt x="42" y="523"/>
                    <a:pt x="39" y="524"/>
                  </a:cubicBezTo>
                  <a:cubicBezTo>
                    <a:pt x="37" y="525"/>
                    <a:pt x="37" y="525"/>
                    <a:pt x="37" y="525"/>
                  </a:cubicBezTo>
                  <a:cubicBezTo>
                    <a:pt x="35" y="526"/>
                    <a:pt x="35" y="526"/>
                    <a:pt x="34" y="528"/>
                  </a:cubicBezTo>
                  <a:cubicBezTo>
                    <a:pt x="34" y="529"/>
                    <a:pt x="34" y="530"/>
                    <a:pt x="34" y="531"/>
                  </a:cubicBezTo>
                  <a:cubicBezTo>
                    <a:pt x="34" y="532"/>
                    <a:pt x="34" y="533"/>
                    <a:pt x="34" y="534"/>
                  </a:cubicBezTo>
                  <a:cubicBezTo>
                    <a:pt x="33" y="536"/>
                    <a:pt x="33" y="536"/>
                    <a:pt x="33" y="536"/>
                  </a:cubicBezTo>
                  <a:cubicBezTo>
                    <a:pt x="33" y="541"/>
                    <a:pt x="33" y="541"/>
                    <a:pt x="33" y="541"/>
                  </a:cubicBezTo>
                  <a:cubicBezTo>
                    <a:pt x="33" y="543"/>
                    <a:pt x="33" y="543"/>
                    <a:pt x="33" y="544"/>
                  </a:cubicBezTo>
                  <a:cubicBezTo>
                    <a:pt x="33" y="544"/>
                    <a:pt x="33" y="545"/>
                    <a:pt x="33" y="546"/>
                  </a:cubicBezTo>
                  <a:cubicBezTo>
                    <a:pt x="34" y="546"/>
                    <a:pt x="34" y="546"/>
                    <a:pt x="36" y="547"/>
                  </a:cubicBezTo>
                  <a:cubicBezTo>
                    <a:pt x="37" y="547"/>
                    <a:pt x="39" y="547"/>
                    <a:pt x="41" y="549"/>
                  </a:cubicBezTo>
                  <a:cubicBezTo>
                    <a:pt x="42" y="550"/>
                    <a:pt x="43" y="551"/>
                    <a:pt x="43" y="552"/>
                  </a:cubicBezTo>
                  <a:cubicBezTo>
                    <a:pt x="43" y="553"/>
                    <a:pt x="43" y="554"/>
                    <a:pt x="42" y="555"/>
                  </a:cubicBezTo>
                  <a:cubicBezTo>
                    <a:pt x="42" y="555"/>
                    <a:pt x="42" y="556"/>
                    <a:pt x="41" y="556"/>
                  </a:cubicBezTo>
                  <a:cubicBezTo>
                    <a:pt x="41" y="557"/>
                    <a:pt x="40" y="557"/>
                    <a:pt x="39" y="558"/>
                  </a:cubicBezTo>
                  <a:cubicBezTo>
                    <a:pt x="39" y="558"/>
                    <a:pt x="39" y="558"/>
                    <a:pt x="39" y="558"/>
                  </a:cubicBezTo>
                  <a:cubicBezTo>
                    <a:pt x="40" y="559"/>
                    <a:pt x="40" y="559"/>
                    <a:pt x="40" y="559"/>
                  </a:cubicBezTo>
                  <a:cubicBezTo>
                    <a:pt x="41" y="560"/>
                    <a:pt x="42" y="560"/>
                    <a:pt x="42" y="562"/>
                  </a:cubicBezTo>
                  <a:cubicBezTo>
                    <a:pt x="42" y="563"/>
                    <a:pt x="43" y="564"/>
                    <a:pt x="43" y="565"/>
                  </a:cubicBezTo>
                  <a:cubicBezTo>
                    <a:pt x="44" y="568"/>
                    <a:pt x="45" y="571"/>
                    <a:pt x="44" y="573"/>
                  </a:cubicBezTo>
                  <a:cubicBezTo>
                    <a:pt x="44" y="574"/>
                    <a:pt x="43" y="575"/>
                    <a:pt x="43" y="576"/>
                  </a:cubicBezTo>
                  <a:cubicBezTo>
                    <a:pt x="43" y="576"/>
                    <a:pt x="43" y="576"/>
                    <a:pt x="43" y="576"/>
                  </a:cubicBezTo>
                  <a:cubicBezTo>
                    <a:pt x="42" y="577"/>
                    <a:pt x="42" y="578"/>
                    <a:pt x="42" y="578"/>
                  </a:cubicBezTo>
                  <a:cubicBezTo>
                    <a:pt x="41" y="582"/>
                    <a:pt x="41" y="582"/>
                    <a:pt x="41" y="582"/>
                  </a:cubicBezTo>
                  <a:cubicBezTo>
                    <a:pt x="42" y="582"/>
                    <a:pt x="43" y="582"/>
                    <a:pt x="44" y="582"/>
                  </a:cubicBezTo>
                  <a:cubicBezTo>
                    <a:pt x="48" y="582"/>
                    <a:pt x="53" y="583"/>
                    <a:pt x="55" y="585"/>
                  </a:cubicBezTo>
                  <a:cubicBezTo>
                    <a:pt x="56" y="586"/>
                    <a:pt x="56" y="586"/>
                    <a:pt x="56" y="586"/>
                  </a:cubicBezTo>
                  <a:cubicBezTo>
                    <a:pt x="57" y="587"/>
                    <a:pt x="57" y="589"/>
                    <a:pt x="57" y="591"/>
                  </a:cubicBezTo>
                  <a:cubicBezTo>
                    <a:pt x="56" y="592"/>
                    <a:pt x="55" y="593"/>
                    <a:pt x="55" y="593"/>
                  </a:cubicBezTo>
                  <a:cubicBezTo>
                    <a:pt x="54" y="594"/>
                    <a:pt x="54" y="594"/>
                    <a:pt x="54" y="595"/>
                  </a:cubicBezTo>
                  <a:cubicBezTo>
                    <a:pt x="53" y="597"/>
                    <a:pt x="53" y="599"/>
                    <a:pt x="51" y="599"/>
                  </a:cubicBezTo>
                  <a:cubicBezTo>
                    <a:pt x="50" y="600"/>
                    <a:pt x="50" y="600"/>
                    <a:pt x="49" y="600"/>
                  </a:cubicBezTo>
                  <a:cubicBezTo>
                    <a:pt x="49" y="600"/>
                    <a:pt x="48" y="600"/>
                    <a:pt x="48" y="600"/>
                  </a:cubicBezTo>
                  <a:cubicBezTo>
                    <a:pt x="47" y="600"/>
                    <a:pt x="46" y="599"/>
                    <a:pt x="45" y="599"/>
                  </a:cubicBezTo>
                  <a:cubicBezTo>
                    <a:pt x="44" y="599"/>
                    <a:pt x="44" y="599"/>
                    <a:pt x="44" y="599"/>
                  </a:cubicBezTo>
                  <a:cubicBezTo>
                    <a:pt x="45" y="600"/>
                    <a:pt x="45" y="600"/>
                    <a:pt x="45" y="600"/>
                  </a:cubicBezTo>
                  <a:cubicBezTo>
                    <a:pt x="46" y="601"/>
                    <a:pt x="46" y="601"/>
                    <a:pt x="46" y="601"/>
                  </a:cubicBezTo>
                  <a:cubicBezTo>
                    <a:pt x="47" y="601"/>
                    <a:pt x="47" y="602"/>
                    <a:pt x="47" y="602"/>
                  </a:cubicBezTo>
                  <a:cubicBezTo>
                    <a:pt x="47" y="603"/>
                    <a:pt x="47" y="603"/>
                    <a:pt x="47" y="603"/>
                  </a:cubicBezTo>
                  <a:cubicBezTo>
                    <a:pt x="48" y="604"/>
                    <a:pt x="48" y="604"/>
                    <a:pt x="48" y="604"/>
                  </a:cubicBezTo>
                  <a:cubicBezTo>
                    <a:pt x="48" y="604"/>
                    <a:pt x="48" y="604"/>
                    <a:pt x="49" y="605"/>
                  </a:cubicBezTo>
                  <a:cubicBezTo>
                    <a:pt x="49" y="605"/>
                    <a:pt x="50" y="606"/>
                    <a:pt x="50" y="606"/>
                  </a:cubicBezTo>
                  <a:cubicBezTo>
                    <a:pt x="51" y="608"/>
                    <a:pt x="52" y="609"/>
                    <a:pt x="52" y="611"/>
                  </a:cubicBezTo>
                  <a:cubicBezTo>
                    <a:pt x="52" y="613"/>
                    <a:pt x="51" y="614"/>
                    <a:pt x="50" y="615"/>
                  </a:cubicBezTo>
                  <a:cubicBezTo>
                    <a:pt x="50" y="615"/>
                    <a:pt x="50" y="615"/>
                    <a:pt x="50" y="615"/>
                  </a:cubicBezTo>
                  <a:cubicBezTo>
                    <a:pt x="50" y="616"/>
                    <a:pt x="50" y="616"/>
                    <a:pt x="50" y="616"/>
                  </a:cubicBezTo>
                  <a:cubicBezTo>
                    <a:pt x="49" y="616"/>
                    <a:pt x="49" y="616"/>
                    <a:pt x="49" y="616"/>
                  </a:cubicBezTo>
                  <a:cubicBezTo>
                    <a:pt x="48" y="618"/>
                    <a:pt x="48" y="619"/>
                    <a:pt x="45" y="620"/>
                  </a:cubicBezTo>
                  <a:cubicBezTo>
                    <a:pt x="44" y="621"/>
                    <a:pt x="43" y="621"/>
                    <a:pt x="43" y="621"/>
                  </a:cubicBezTo>
                  <a:cubicBezTo>
                    <a:pt x="42" y="622"/>
                    <a:pt x="42" y="622"/>
                    <a:pt x="42" y="622"/>
                  </a:cubicBezTo>
                  <a:cubicBezTo>
                    <a:pt x="42" y="622"/>
                    <a:pt x="41" y="622"/>
                    <a:pt x="41" y="623"/>
                  </a:cubicBezTo>
                  <a:cubicBezTo>
                    <a:pt x="41" y="624"/>
                    <a:pt x="42" y="624"/>
                    <a:pt x="42" y="625"/>
                  </a:cubicBezTo>
                  <a:cubicBezTo>
                    <a:pt x="42" y="626"/>
                    <a:pt x="43" y="626"/>
                    <a:pt x="43" y="627"/>
                  </a:cubicBezTo>
                  <a:cubicBezTo>
                    <a:pt x="43" y="627"/>
                    <a:pt x="43" y="627"/>
                    <a:pt x="43" y="627"/>
                  </a:cubicBezTo>
                  <a:cubicBezTo>
                    <a:pt x="44" y="629"/>
                    <a:pt x="45" y="631"/>
                    <a:pt x="44" y="633"/>
                  </a:cubicBezTo>
                  <a:cubicBezTo>
                    <a:pt x="43" y="634"/>
                    <a:pt x="43" y="634"/>
                    <a:pt x="43" y="634"/>
                  </a:cubicBezTo>
                  <a:cubicBezTo>
                    <a:pt x="43" y="634"/>
                    <a:pt x="43" y="635"/>
                    <a:pt x="42" y="635"/>
                  </a:cubicBezTo>
                  <a:cubicBezTo>
                    <a:pt x="40" y="638"/>
                    <a:pt x="40" y="638"/>
                    <a:pt x="40" y="638"/>
                  </a:cubicBezTo>
                  <a:cubicBezTo>
                    <a:pt x="42" y="645"/>
                    <a:pt x="42" y="645"/>
                    <a:pt x="42" y="645"/>
                  </a:cubicBezTo>
                  <a:cubicBezTo>
                    <a:pt x="43" y="646"/>
                    <a:pt x="43" y="646"/>
                    <a:pt x="43" y="646"/>
                  </a:cubicBezTo>
                  <a:cubicBezTo>
                    <a:pt x="43" y="648"/>
                    <a:pt x="44" y="651"/>
                    <a:pt x="43" y="653"/>
                  </a:cubicBezTo>
                  <a:cubicBezTo>
                    <a:pt x="43" y="654"/>
                    <a:pt x="41" y="655"/>
                    <a:pt x="41" y="655"/>
                  </a:cubicBezTo>
                  <a:cubicBezTo>
                    <a:pt x="40" y="656"/>
                    <a:pt x="40" y="656"/>
                    <a:pt x="40" y="656"/>
                  </a:cubicBezTo>
                  <a:cubicBezTo>
                    <a:pt x="40" y="656"/>
                    <a:pt x="39" y="657"/>
                    <a:pt x="39" y="657"/>
                  </a:cubicBezTo>
                  <a:cubicBezTo>
                    <a:pt x="37" y="659"/>
                    <a:pt x="37" y="659"/>
                    <a:pt x="38" y="663"/>
                  </a:cubicBezTo>
                  <a:cubicBezTo>
                    <a:pt x="39" y="666"/>
                    <a:pt x="39" y="666"/>
                    <a:pt x="39" y="666"/>
                  </a:cubicBezTo>
                  <a:cubicBezTo>
                    <a:pt x="40" y="669"/>
                    <a:pt x="37" y="670"/>
                    <a:pt x="36" y="671"/>
                  </a:cubicBezTo>
                  <a:cubicBezTo>
                    <a:pt x="36" y="671"/>
                    <a:pt x="35" y="672"/>
                    <a:pt x="34" y="672"/>
                  </a:cubicBezTo>
                  <a:cubicBezTo>
                    <a:pt x="33" y="671"/>
                    <a:pt x="33" y="671"/>
                    <a:pt x="33" y="671"/>
                  </a:cubicBezTo>
                  <a:cubicBezTo>
                    <a:pt x="33" y="671"/>
                    <a:pt x="33" y="671"/>
                    <a:pt x="33" y="671"/>
                  </a:cubicBezTo>
                  <a:cubicBezTo>
                    <a:pt x="33" y="672"/>
                    <a:pt x="33" y="672"/>
                    <a:pt x="33" y="672"/>
                  </a:cubicBezTo>
                  <a:cubicBezTo>
                    <a:pt x="33" y="673"/>
                    <a:pt x="32" y="673"/>
                    <a:pt x="32" y="673"/>
                  </a:cubicBezTo>
                  <a:cubicBezTo>
                    <a:pt x="31" y="674"/>
                    <a:pt x="31" y="674"/>
                    <a:pt x="31" y="674"/>
                  </a:cubicBezTo>
                  <a:cubicBezTo>
                    <a:pt x="30" y="674"/>
                    <a:pt x="30" y="675"/>
                    <a:pt x="29" y="675"/>
                  </a:cubicBezTo>
                  <a:cubicBezTo>
                    <a:pt x="29" y="675"/>
                    <a:pt x="29" y="676"/>
                    <a:pt x="29" y="676"/>
                  </a:cubicBezTo>
                  <a:cubicBezTo>
                    <a:pt x="28" y="677"/>
                    <a:pt x="28" y="677"/>
                    <a:pt x="28" y="677"/>
                  </a:cubicBezTo>
                  <a:cubicBezTo>
                    <a:pt x="25" y="686"/>
                    <a:pt x="25" y="686"/>
                    <a:pt x="25" y="686"/>
                  </a:cubicBezTo>
                  <a:cubicBezTo>
                    <a:pt x="24" y="686"/>
                    <a:pt x="24" y="687"/>
                    <a:pt x="24" y="687"/>
                  </a:cubicBezTo>
                  <a:cubicBezTo>
                    <a:pt x="24" y="687"/>
                    <a:pt x="24" y="687"/>
                    <a:pt x="24" y="687"/>
                  </a:cubicBezTo>
                  <a:cubicBezTo>
                    <a:pt x="25" y="688"/>
                    <a:pt x="25" y="688"/>
                    <a:pt x="25" y="688"/>
                  </a:cubicBezTo>
                  <a:cubicBezTo>
                    <a:pt x="25" y="688"/>
                    <a:pt x="25" y="688"/>
                    <a:pt x="25" y="688"/>
                  </a:cubicBezTo>
                  <a:cubicBezTo>
                    <a:pt x="27" y="689"/>
                    <a:pt x="28" y="690"/>
                    <a:pt x="29" y="691"/>
                  </a:cubicBezTo>
                  <a:cubicBezTo>
                    <a:pt x="29" y="692"/>
                    <a:pt x="29" y="694"/>
                    <a:pt x="29" y="695"/>
                  </a:cubicBezTo>
                  <a:cubicBezTo>
                    <a:pt x="29" y="695"/>
                    <a:pt x="29" y="697"/>
                    <a:pt x="29" y="698"/>
                  </a:cubicBezTo>
                  <a:cubicBezTo>
                    <a:pt x="29" y="698"/>
                    <a:pt x="29" y="699"/>
                    <a:pt x="29" y="701"/>
                  </a:cubicBezTo>
                  <a:cubicBezTo>
                    <a:pt x="29" y="702"/>
                    <a:pt x="28" y="703"/>
                    <a:pt x="27" y="703"/>
                  </a:cubicBezTo>
                  <a:cubicBezTo>
                    <a:pt x="26" y="703"/>
                    <a:pt x="25" y="704"/>
                    <a:pt x="25" y="705"/>
                  </a:cubicBezTo>
                  <a:cubicBezTo>
                    <a:pt x="25" y="705"/>
                    <a:pt x="25" y="705"/>
                    <a:pt x="25" y="705"/>
                  </a:cubicBezTo>
                  <a:cubicBezTo>
                    <a:pt x="24" y="705"/>
                    <a:pt x="23" y="705"/>
                    <a:pt x="23" y="705"/>
                  </a:cubicBezTo>
                  <a:cubicBezTo>
                    <a:pt x="23" y="705"/>
                    <a:pt x="23" y="705"/>
                    <a:pt x="23" y="705"/>
                  </a:cubicBezTo>
                  <a:cubicBezTo>
                    <a:pt x="23" y="706"/>
                    <a:pt x="23" y="706"/>
                    <a:pt x="23" y="706"/>
                  </a:cubicBezTo>
                  <a:cubicBezTo>
                    <a:pt x="23" y="706"/>
                    <a:pt x="23" y="706"/>
                    <a:pt x="23" y="706"/>
                  </a:cubicBezTo>
                  <a:cubicBezTo>
                    <a:pt x="23" y="708"/>
                    <a:pt x="23" y="708"/>
                    <a:pt x="23" y="708"/>
                  </a:cubicBezTo>
                  <a:cubicBezTo>
                    <a:pt x="23" y="710"/>
                    <a:pt x="23" y="711"/>
                    <a:pt x="23" y="711"/>
                  </a:cubicBezTo>
                  <a:cubicBezTo>
                    <a:pt x="23" y="712"/>
                    <a:pt x="23" y="712"/>
                    <a:pt x="23" y="712"/>
                  </a:cubicBezTo>
                  <a:cubicBezTo>
                    <a:pt x="23" y="716"/>
                    <a:pt x="21" y="717"/>
                    <a:pt x="19" y="718"/>
                  </a:cubicBezTo>
                  <a:cubicBezTo>
                    <a:pt x="19" y="719"/>
                    <a:pt x="18" y="719"/>
                    <a:pt x="18" y="719"/>
                  </a:cubicBezTo>
                  <a:cubicBezTo>
                    <a:pt x="17" y="720"/>
                    <a:pt x="17" y="720"/>
                    <a:pt x="17" y="720"/>
                  </a:cubicBezTo>
                  <a:cubicBezTo>
                    <a:pt x="16" y="721"/>
                    <a:pt x="15" y="721"/>
                    <a:pt x="15" y="722"/>
                  </a:cubicBezTo>
                  <a:cubicBezTo>
                    <a:pt x="15" y="722"/>
                    <a:pt x="14" y="723"/>
                    <a:pt x="14" y="724"/>
                  </a:cubicBezTo>
                  <a:cubicBezTo>
                    <a:pt x="11" y="727"/>
                    <a:pt x="9" y="730"/>
                    <a:pt x="7" y="730"/>
                  </a:cubicBezTo>
                  <a:cubicBezTo>
                    <a:pt x="6" y="731"/>
                    <a:pt x="4" y="731"/>
                    <a:pt x="3" y="731"/>
                  </a:cubicBezTo>
                  <a:cubicBezTo>
                    <a:pt x="2" y="731"/>
                    <a:pt x="2" y="732"/>
                    <a:pt x="1" y="732"/>
                  </a:cubicBezTo>
                  <a:cubicBezTo>
                    <a:pt x="1" y="733"/>
                    <a:pt x="0" y="734"/>
                    <a:pt x="0" y="735"/>
                  </a:cubicBezTo>
                  <a:cubicBezTo>
                    <a:pt x="1" y="736"/>
                    <a:pt x="1" y="736"/>
                    <a:pt x="1" y="736"/>
                  </a:cubicBezTo>
                  <a:cubicBezTo>
                    <a:pt x="1" y="737"/>
                    <a:pt x="1" y="737"/>
                    <a:pt x="1" y="738"/>
                  </a:cubicBezTo>
                  <a:cubicBezTo>
                    <a:pt x="1" y="740"/>
                    <a:pt x="1" y="742"/>
                    <a:pt x="1" y="744"/>
                  </a:cubicBezTo>
                  <a:cubicBezTo>
                    <a:pt x="1" y="746"/>
                    <a:pt x="0" y="748"/>
                    <a:pt x="1" y="749"/>
                  </a:cubicBezTo>
                  <a:cubicBezTo>
                    <a:pt x="1" y="751"/>
                    <a:pt x="1" y="751"/>
                    <a:pt x="1" y="751"/>
                  </a:cubicBezTo>
                  <a:cubicBezTo>
                    <a:pt x="1" y="752"/>
                    <a:pt x="1" y="752"/>
                    <a:pt x="1" y="752"/>
                  </a:cubicBezTo>
                  <a:cubicBezTo>
                    <a:pt x="1" y="752"/>
                    <a:pt x="1" y="752"/>
                    <a:pt x="1" y="752"/>
                  </a:cubicBezTo>
                  <a:cubicBezTo>
                    <a:pt x="1" y="753"/>
                    <a:pt x="1" y="753"/>
                    <a:pt x="1" y="753"/>
                  </a:cubicBezTo>
                  <a:cubicBezTo>
                    <a:pt x="2" y="753"/>
                    <a:pt x="2" y="753"/>
                    <a:pt x="2" y="753"/>
                  </a:cubicBezTo>
                  <a:cubicBezTo>
                    <a:pt x="3" y="754"/>
                    <a:pt x="3" y="754"/>
                    <a:pt x="3" y="754"/>
                  </a:cubicBezTo>
                  <a:cubicBezTo>
                    <a:pt x="3" y="754"/>
                    <a:pt x="4" y="755"/>
                    <a:pt x="5" y="756"/>
                  </a:cubicBezTo>
                  <a:cubicBezTo>
                    <a:pt x="6" y="757"/>
                    <a:pt x="6" y="758"/>
                    <a:pt x="6" y="759"/>
                  </a:cubicBezTo>
                  <a:cubicBezTo>
                    <a:pt x="7" y="761"/>
                    <a:pt x="7" y="761"/>
                    <a:pt x="7" y="761"/>
                  </a:cubicBezTo>
                  <a:cubicBezTo>
                    <a:pt x="7" y="762"/>
                    <a:pt x="7" y="763"/>
                    <a:pt x="7" y="764"/>
                  </a:cubicBezTo>
                  <a:cubicBezTo>
                    <a:pt x="7" y="765"/>
                    <a:pt x="8" y="766"/>
                    <a:pt x="8" y="767"/>
                  </a:cubicBezTo>
                  <a:cubicBezTo>
                    <a:pt x="8" y="770"/>
                    <a:pt x="8" y="770"/>
                    <a:pt x="8" y="770"/>
                  </a:cubicBezTo>
                  <a:cubicBezTo>
                    <a:pt x="8" y="770"/>
                    <a:pt x="8" y="770"/>
                    <a:pt x="8" y="770"/>
                  </a:cubicBezTo>
                  <a:cubicBezTo>
                    <a:pt x="8" y="770"/>
                    <a:pt x="8" y="770"/>
                    <a:pt x="8" y="770"/>
                  </a:cubicBezTo>
                  <a:cubicBezTo>
                    <a:pt x="9" y="770"/>
                    <a:pt x="9" y="770"/>
                    <a:pt x="9" y="770"/>
                  </a:cubicBezTo>
                  <a:cubicBezTo>
                    <a:pt x="9" y="769"/>
                    <a:pt x="10" y="769"/>
                    <a:pt x="10" y="769"/>
                  </a:cubicBezTo>
                  <a:cubicBezTo>
                    <a:pt x="10" y="769"/>
                    <a:pt x="10" y="769"/>
                    <a:pt x="10" y="769"/>
                  </a:cubicBezTo>
                  <a:cubicBezTo>
                    <a:pt x="11" y="768"/>
                    <a:pt x="12" y="767"/>
                    <a:pt x="12" y="767"/>
                  </a:cubicBezTo>
                  <a:cubicBezTo>
                    <a:pt x="14" y="766"/>
                    <a:pt x="15" y="766"/>
                    <a:pt x="16" y="766"/>
                  </a:cubicBezTo>
                  <a:cubicBezTo>
                    <a:pt x="16" y="766"/>
                    <a:pt x="16" y="766"/>
                    <a:pt x="17" y="766"/>
                  </a:cubicBezTo>
                  <a:cubicBezTo>
                    <a:pt x="18" y="766"/>
                    <a:pt x="18" y="766"/>
                    <a:pt x="19" y="767"/>
                  </a:cubicBezTo>
                  <a:cubicBezTo>
                    <a:pt x="19" y="766"/>
                    <a:pt x="19" y="766"/>
                    <a:pt x="19" y="766"/>
                  </a:cubicBezTo>
                  <a:cubicBezTo>
                    <a:pt x="21" y="766"/>
                    <a:pt x="23" y="765"/>
                    <a:pt x="24" y="765"/>
                  </a:cubicBezTo>
                  <a:cubicBezTo>
                    <a:pt x="25" y="765"/>
                    <a:pt x="25" y="765"/>
                    <a:pt x="25" y="765"/>
                  </a:cubicBezTo>
                  <a:cubicBezTo>
                    <a:pt x="25" y="764"/>
                    <a:pt x="25" y="764"/>
                    <a:pt x="25" y="764"/>
                  </a:cubicBezTo>
                  <a:cubicBezTo>
                    <a:pt x="25" y="766"/>
                    <a:pt x="25" y="766"/>
                    <a:pt x="25" y="766"/>
                  </a:cubicBezTo>
                  <a:cubicBezTo>
                    <a:pt x="26" y="766"/>
                    <a:pt x="27" y="766"/>
                    <a:pt x="28" y="766"/>
                  </a:cubicBezTo>
                  <a:cubicBezTo>
                    <a:pt x="29" y="767"/>
                    <a:pt x="29" y="768"/>
                    <a:pt x="29" y="769"/>
                  </a:cubicBezTo>
                  <a:cubicBezTo>
                    <a:pt x="29" y="770"/>
                    <a:pt x="29" y="770"/>
                    <a:pt x="29" y="770"/>
                  </a:cubicBezTo>
                  <a:cubicBezTo>
                    <a:pt x="30" y="772"/>
                    <a:pt x="30" y="773"/>
                    <a:pt x="30" y="775"/>
                  </a:cubicBezTo>
                  <a:cubicBezTo>
                    <a:pt x="30" y="776"/>
                    <a:pt x="30" y="778"/>
                    <a:pt x="30" y="780"/>
                  </a:cubicBezTo>
                  <a:cubicBezTo>
                    <a:pt x="29" y="782"/>
                    <a:pt x="29" y="783"/>
                    <a:pt x="28" y="784"/>
                  </a:cubicBezTo>
                  <a:cubicBezTo>
                    <a:pt x="28" y="784"/>
                    <a:pt x="28" y="784"/>
                    <a:pt x="28" y="784"/>
                  </a:cubicBezTo>
                  <a:cubicBezTo>
                    <a:pt x="28" y="785"/>
                    <a:pt x="28" y="785"/>
                    <a:pt x="28" y="785"/>
                  </a:cubicBezTo>
                  <a:cubicBezTo>
                    <a:pt x="29" y="786"/>
                    <a:pt x="30" y="787"/>
                    <a:pt x="30" y="788"/>
                  </a:cubicBezTo>
                  <a:cubicBezTo>
                    <a:pt x="30" y="790"/>
                    <a:pt x="29" y="793"/>
                    <a:pt x="28" y="794"/>
                  </a:cubicBezTo>
                  <a:cubicBezTo>
                    <a:pt x="28" y="795"/>
                    <a:pt x="28" y="796"/>
                    <a:pt x="27" y="796"/>
                  </a:cubicBezTo>
                  <a:cubicBezTo>
                    <a:pt x="27" y="797"/>
                    <a:pt x="27" y="797"/>
                    <a:pt x="27" y="797"/>
                  </a:cubicBezTo>
                  <a:cubicBezTo>
                    <a:pt x="28" y="799"/>
                    <a:pt x="28" y="799"/>
                    <a:pt x="29" y="799"/>
                  </a:cubicBezTo>
                  <a:cubicBezTo>
                    <a:pt x="31" y="800"/>
                    <a:pt x="31" y="800"/>
                    <a:pt x="31" y="800"/>
                  </a:cubicBezTo>
                  <a:cubicBezTo>
                    <a:pt x="31" y="800"/>
                    <a:pt x="31" y="800"/>
                    <a:pt x="31" y="801"/>
                  </a:cubicBezTo>
                  <a:cubicBezTo>
                    <a:pt x="32" y="801"/>
                    <a:pt x="33" y="802"/>
                    <a:pt x="34" y="803"/>
                  </a:cubicBezTo>
                  <a:cubicBezTo>
                    <a:pt x="35" y="804"/>
                    <a:pt x="36" y="806"/>
                    <a:pt x="36" y="807"/>
                  </a:cubicBezTo>
                  <a:cubicBezTo>
                    <a:pt x="36" y="807"/>
                    <a:pt x="37" y="807"/>
                    <a:pt x="37" y="808"/>
                  </a:cubicBezTo>
                  <a:cubicBezTo>
                    <a:pt x="37" y="808"/>
                    <a:pt x="37" y="808"/>
                    <a:pt x="38" y="808"/>
                  </a:cubicBezTo>
                  <a:cubicBezTo>
                    <a:pt x="60" y="808"/>
                    <a:pt x="60" y="808"/>
                    <a:pt x="60" y="808"/>
                  </a:cubicBezTo>
                  <a:cubicBezTo>
                    <a:pt x="62" y="808"/>
                    <a:pt x="64" y="808"/>
                    <a:pt x="66" y="808"/>
                  </a:cubicBezTo>
                  <a:cubicBezTo>
                    <a:pt x="68" y="808"/>
                    <a:pt x="71" y="808"/>
                    <a:pt x="73" y="808"/>
                  </a:cubicBezTo>
                  <a:cubicBezTo>
                    <a:pt x="75" y="808"/>
                    <a:pt x="78" y="808"/>
                    <a:pt x="80" y="808"/>
                  </a:cubicBezTo>
                  <a:cubicBezTo>
                    <a:pt x="81" y="808"/>
                    <a:pt x="81" y="808"/>
                    <a:pt x="81" y="808"/>
                  </a:cubicBezTo>
                  <a:cubicBezTo>
                    <a:pt x="81" y="808"/>
                    <a:pt x="82" y="809"/>
                    <a:pt x="82" y="809"/>
                  </a:cubicBezTo>
                  <a:cubicBezTo>
                    <a:pt x="84" y="809"/>
                    <a:pt x="86" y="810"/>
                    <a:pt x="87" y="810"/>
                  </a:cubicBezTo>
                  <a:cubicBezTo>
                    <a:pt x="88" y="810"/>
                    <a:pt x="88" y="810"/>
                    <a:pt x="88" y="810"/>
                  </a:cubicBezTo>
                  <a:cubicBezTo>
                    <a:pt x="90" y="811"/>
                    <a:pt x="91" y="812"/>
                    <a:pt x="93" y="812"/>
                  </a:cubicBezTo>
                  <a:cubicBezTo>
                    <a:pt x="94" y="812"/>
                    <a:pt x="96" y="812"/>
                    <a:pt x="98" y="813"/>
                  </a:cubicBezTo>
                  <a:cubicBezTo>
                    <a:pt x="103" y="814"/>
                    <a:pt x="109" y="817"/>
                    <a:pt x="114" y="819"/>
                  </a:cubicBezTo>
                  <a:cubicBezTo>
                    <a:pt x="111" y="814"/>
                    <a:pt x="108" y="809"/>
                    <a:pt x="106" y="804"/>
                  </a:cubicBezTo>
                  <a:cubicBezTo>
                    <a:pt x="105" y="802"/>
                    <a:pt x="104" y="800"/>
                    <a:pt x="102" y="799"/>
                  </a:cubicBezTo>
                  <a:cubicBezTo>
                    <a:pt x="102" y="799"/>
                    <a:pt x="102" y="799"/>
                    <a:pt x="102" y="799"/>
                  </a:cubicBezTo>
                  <a:cubicBezTo>
                    <a:pt x="102" y="799"/>
                    <a:pt x="102" y="800"/>
                    <a:pt x="101" y="800"/>
                  </a:cubicBezTo>
                  <a:cubicBezTo>
                    <a:pt x="101" y="800"/>
                    <a:pt x="101" y="800"/>
                    <a:pt x="100" y="800"/>
                  </a:cubicBezTo>
                  <a:cubicBezTo>
                    <a:pt x="100" y="800"/>
                    <a:pt x="100" y="800"/>
                    <a:pt x="100" y="800"/>
                  </a:cubicBezTo>
                  <a:cubicBezTo>
                    <a:pt x="99" y="800"/>
                    <a:pt x="97" y="799"/>
                    <a:pt x="96" y="799"/>
                  </a:cubicBezTo>
                  <a:cubicBezTo>
                    <a:pt x="95" y="799"/>
                    <a:pt x="95" y="799"/>
                    <a:pt x="94" y="799"/>
                  </a:cubicBezTo>
                  <a:cubicBezTo>
                    <a:pt x="92" y="799"/>
                    <a:pt x="91" y="799"/>
                    <a:pt x="89" y="799"/>
                  </a:cubicBezTo>
                  <a:cubicBezTo>
                    <a:pt x="91" y="799"/>
                    <a:pt x="93" y="798"/>
                    <a:pt x="95" y="798"/>
                  </a:cubicBezTo>
                  <a:cubicBezTo>
                    <a:pt x="96" y="798"/>
                    <a:pt x="96" y="798"/>
                    <a:pt x="97" y="798"/>
                  </a:cubicBezTo>
                  <a:cubicBezTo>
                    <a:pt x="98" y="798"/>
                    <a:pt x="99" y="799"/>
                    <a:pt x="100" y="799"/>
                  </a:cubicBezTo>
                  <a:cubicBezTo>
                    <a:pt x="100" y="799"/>
                    <a:pt x="100" y="799"/>
                    <a:pt x="100" y="799"/>
                  </a:cubicBezTo>
                  <a:cubicBezTo>
                    <a:pt x="101" y="799"/>
                    <a:pt x="101" y="798"/>
                    <a:pt x="102" y="798"/>
                  </a:cubicBezTo>
                  <a:cubicBezTo>
                    <a:pt x="103" y="798"/>
                    <a:pt x="103" y="798"/>
                    <a:pt x="103" y="798"/>
                  </a:cubicBezTo>
                  <a:cubicBezTo>
                    <a:pt x="102" y="792"/>
                    <a:pt x="101" y="785"/>
                    <a:pt x="98" y="779"/>
                  </a:cubicBezTo>
                  <a:cubicBezTo>
                    <a:pt x="97" y="780"/>
                    <a:pt x="95" y="781"/>
                    <a:pt x="94" y="783"/>
                  </a:cubicBezTo>
                  <a:cubicBezTo>
                    <a:pt x="94" y="782"/>
                    <a:pt x="94" y="782"/>
                    <a:pt x="94" y="782"/>
                  </a:cubicBezTo>
                  <a:cubicBezTo>
                    <a:pt x="94" y="780"/>
                    <a:pt x="98" y="779"/>
                    <a:pt x="99" y="777"/>
                  </a:cubicBezTo>
                  <a:cubicBezTo>
                    <a:pt x="101" y="775"/>
                    <a:pt x="99" y="772"/>
                    <a:pt x="100" y="770"/>
                  </a:cubicBezTo>
                  <a:cubicBezTo>
                    <a:pt x="102" y="767"/>
                    <a:pt x="104" y="764"/>
                    <a:pt x="105" y="761"/>
                  </a:cubicBezTo>
                  <a:cubicBezTo>
                    <a:pt x="107" y="759"/>
                    <a:pt x="109" y="758"/>
                    <a:pt x="111" y="757"/>
                  </a:cubicBezTo>
                  <a:cubicBezTo>
                    <a:pt x="113" y="757"/>
                    <a:pt x="118" y="755"/>
                    <a:pt x="117" y="754"/>
                  </a:cubicBezTo>
                  <a:cubicBezTo>
                    <a:pt x="116" y="753"/>
                    <a:pt x="116" y="753"/>
                    <a:pt x="116" y="753"/>
                  </a:cubicBezTo>
                  <a:cubicBezTo>
                    <a:pt x="115" y="752"/>
                    <a:pt x="114" y="750"/>
                    <a:pt x="113" y="750"/>
                  </a:cubicBezTo>
                  <a:cubicBezTo>
                    <a:pt x="113" y="749"/>
                    <a:pt x="112" y="749"/>
                    <a:pt x="111" y="749"/>
                  </a:cubicBezTo>
                  <a:cubicBezTo>
                    <a:pt x="110" y="749"/>
                    <a:pt x="109" y="749"/>
                    <a:pt x="107" y="750"/>
                  </a:cubicBezTo>
                  <a:cubicBezTo>
                    <a:pt x="106" y="750"/>
                    <a:pt x="105" y="750"/>
                    <a:pt x="104" y="750"/>
                  </a:cubicBezTo>
                  <a:cubicBezTo>
                    <a:pt x="104" y="750"/>
                    <a:pt x="103" y="750"/>
                    <a:pt x="103" y="750"/>
                  </a:cubicBezTo>
                  <a:cubicBezTo>
                    <a:pt x="105" y="749"/>
                    <a:pt x="108" y="749"/>
                    <a:pt x="110" y="748"/>
                  </a:cubicBezTo>
                  <a:cubicBezTo>
                    <a:pt x="114" y="747"/>
                    <a:pt x="111" y="744"/>
                    <a:pt x="109" y="742"/>
                  </a:cubicBezTo>
                  <a:cubicBezTo>
                    <a:pt x="113" y="742"/>
                    <a:pt x="113" y="751"/>
                    <a:pt x="118" y="753"/>
                  </a:cubicBezTo>
                  <a:cubicBezTo>
                    <a:pt x="118" y="753"/>
                    <a:pt x="118" y="753"/>
                    <a:pt x="118" y="753"/>
                  </a:cubicBezTo>
                  <a:cubicBezTo>
                    <a:pt x="121" y="753"/>
                    <a:pt x="130" y="749"/>
                    <a:pt x="131" y="747"/>
                  </a:cubicBezTo>
                  <a:cubicBezTo>
                    <a:pt x="132" y="746"/>
                    <a:pt x="132" y="744"/>
                    <a:pt x="132" y="743"/>
                  </a:cubicBezTo>
                  <a:cubicBezTo>
                    <a:pt x="133" y="738"/>
                    <a:pt x="135" y="732"/>
                    <a:pt x="135" y="727"/>
                  </a:cubicBezTo>
                  <a:cubicBezTo>
                    <a:pt x="134" y="729"/>
                    <a:pt x="132" y="730"/>
                    <a:pt x="130" y="731"/>
                  </a:cubicBezTo>
                  <a:cubicBezTo>
                    <a:pt x="131" y="729"/>
                    <a:pt x="133" y="728"/>
                    <a:pt x="134" y="726"/>
                  </a:cubicBezTo>
                  <a:cubicBezTo>
                    <a:pt x="138" y="719"/>
                    <a:pt x="142" y="716"/>
                    <a:pt x="147" y="711"/>
                  </a:cubicBezTo>
                  <a:cubicBezTo>
                    <a:pt x="152" y="707"/>
                    <a:pt x="156" y="704"/>
                    <a:pt x="161" y="701"/>
                  </a:cubicBezTo>
                  <a:cubicBezTo>
                    <a:pt x="166" y="698"/>
                    <a:pt x="173" y="696"/>
                    <a:pt x="177" y="690"/>
                  </a:cubicBezTo>
                  <a:cubicBezTo>
                    <a:pt x="178" y="688"/>
                    <a:pt x="177" y="688"/>
                    <a:pt x="175" y="687"/>
                  </a:cubicBezTo>
                  <a:cubicBezTo>
                    <a:pt x="175" y="685"/>
                    <a:pt x="176" y="684"/>
                    <a:pt x="173" y="684"/>
                  </a:cubicBezTo>
                  <a:cubicBezTo>
                    <a:pt x="173" y="684"/>
                    <a:pt x="173" y="684"/>
                    <a:pt x="173" y="684"/>
                  </a:cubicBezTo>
                  <a:cubicBezTo>
                    <a:pt x="174" y="683"/>
                    <a:pt x="175" y="683"/>
                    <a:pt x="176" y="682"/>
                  </a:cubicBezTo>
                  <a:cubicBezTo>
                    <a:pt x="177" y="680"/>
                    <a:pt x="178" y="677"/>
                    <a:pt x="178" y="675"/>
                  </a:cubicBezTo>
                  <a:cubicBezTo>
                    <a:pt x="179" y="674"/>
                    <a:pt x="179" y="672"/>
                    <a:pt x="179" y="671"/>
                  </a:cubicBezTo>
                  <a:cubicBezTo>
                    <a:pt x="179" y="669"/>
                    <a:pt x="179" y="667"/>
                    <a:pt x="177" y="666"/>
                  </a:cubicBezTo>
                  <a:cubicBezTo>
                    <a:pt x="173" y="665"/>
                    <a:pt x="169" y="664"/>
                    <a:pt x="165" y="663"/>
                  </a:cubicBezTo>
                  <a:cubicBezTo>
                    <a:pt x="160" y="662"/>
                    <a:pt x="156" y="661"/>
                    <a:pt x="153" y="659"/>
                  </a:cubicBezTo>
                  <a:cubicBezTo>
                    <a:pt x="150" y="657"/>
                    <a:pt x="148" y="655"/>
                    <a:pt x="146" y="653"/>
                  </a:cubicBezTo>
                  <a:cubicBezTo>
                    <a:pt x="140" y="648"/>
                    <a:pt x="136" y="644"/>
                    <a:pt x="135" y="636"/>
                  </a:cubicBezTo>
                  <a:cubicBezTo>
                    <a:pt x="135" y="632"/>
                    <a:pt x="138" y="629"/>
                    <a:pt x="140" y="625"/>
                  </a:cubicBezTo>
                  <a:cubicBezTo>
                    <a:pt x="143" y="621"/>
                    <a:pt x="146" y="614"/>
                    <a:pt x="150" y="610"/>
                  </a:cubicBezTo>
                  <a:cubicBezTo>
                    <a:pt x="152" y="609"/>
                    <a:pt x="153" y="609"/>
                    <a:pt x="155" y="608"/>
                  </a:cubicBezTo>
                  <a:cubicBezTo>
                    <a:pt x="158" y="606"/>
                    <a:pt x="161" y="605"/>
                    <a:pt x="164" y="603"/>
                  </a:cubicBezTo>
                  <a:cubicBezTo>
                    <a:pt x="167" y="602"/>
                    <a:pt x="168" y="602"/>
                    <a:pt x="169" y="602"/>
                  </a:cubicBezTo>
                  <a:cubicBezTo>
                    <a:pt x="170" y="602"/>
                    <a:pt x="172" y="602"/>
                    <a:pt x="173" y="602"/>
                  </a:cubicBezTo>
                  <a:cubicBezTo>
                    <a:pt x="175" y="602"/>
                    <a:pt x="177" y="603"/>
                    <a:pt x="179" y="603"/>
                  </a:cubicBezTo>
                  <a:cubicBezTo>
                    <a:pt x="181" y="603"/>
                    <a:pt x="182" y="603"/>
                    <a:pt x="183" y="601"/>
                  </a:cubicBezTo>
                  <a:cubicBezTo>
                    <a:pt x="184" y="598"/>
                    <a:pt x="180" y="597"/>
                    <a:pt x="180" y="595"/>
                  </a:cubicBezTo>
                  <a:cubicBezTo>
                    <a:pt x="180" y="593"/>
                    <a:pt x="182" y="592"/>
                    <a:pt x="183" y="591"/>
                  </a:cubicBezTo>
                  <a:cubicBezTo>
                    <a:pt x="186" y="589"/>
                    <a:pt x="189" y="586"/>
                    <a:pt x="190" y="583"/>
                  </a:cubicBezTo>
                  <a:cubicBezTo>
                    <a:pt x="191" y="581"/>
                    <a:pt x="191" y="575"/>
                    <a:pt x="191" y="573"/>
                  </a:cubicBezTo>
                  <a:cubicBezTo>
                    <a:pt x="191" y="573"/>
                    <a:pt x="191" y="573"/>
                    <a:pt x="191" y="573"/>
                  </a:cubicBezTo>
                  <a:cubicBezTo>
                    <a:pt x="189" y="573"/>
                    <a:pt x="188" y="568"/>
                    <a:pt x="188" y="567"/>
                  </a:cubicBezTo>
                  <a:cubicBezTo>
                    <a:pt x="191" y="563"/>
                    <a:pt x="193" y="557"/>
                    <a:pt x="196" y="553"/>
                  </a:cubicBezTo>
                  <a:cubicBezTo>
                    <a:pt x="199" y="551"/>
                    <a:pt x="201" y="550"/>
                    <a:pt x="204" y="549"/>
                  </a:cubicBezTo>
                  <a:cubicBezTo>
                    <a:pt x="205" y="549"/>
                    <a:pt x="213" y="546"/>
                    <a:pt x="212" y="544"/>
                  </a:cubicBezTo>
                  <a:cubicBezTo>
                    <a:pt x="208" y="545"/>
                    <a:pt x="208" y="545"/>
                    <a:pt x="208" y="545"/>
                  </a:cubicBezTo>
                  <a:cubicBezTo>
                    <a:pt x="204" y="545"/>
                    <a:pt x="199" y="541"/>
                    <a:pt x="196" y="538"/>
                  </a:cubicBezTo>
                  <a:cubicBezTo>
                    <a:pt x="197" y="535"/>
                    <a:pt x="204" y="532"/>
                    <a:pt x="207" y="532"/>
                  </a:cubicBezTo>
                  <a:cubicBezTo>
                    <a:pt x="207" y="532"/>
                    <a:pt x="207" y="532"/>
                    <a:pt x="207" y="532"/>
                  </a:cubicBezTo>
                  <a:cubicBezTo>
                    <a:pt x="211" y="532"/>
                    <a:pt x="215" y="535"/>
                    <a:pt x="214" y="538"/>
                  </a:cubicBezTo>
                  <a:cubicBezTo>
                    <a:pt x="218" y="539"/>
                    <a:pt x="223" y="539"/>
                    <a:pt x="228" y="539"/>
                  </a:cubicBezTo>
                  <a:cubicBezTo>
                    <a:pt x="228" y="534"/>
                    <a:pt x="230" y="521"/>
                    <a:pt x="223" y="521"/>
                  </a:cubicBezTo>
                  <a:cubicBezTo>
                    <a:pt x="223" y="521"/>
                    <a:pt x="222" y="521"/>
                    <a:pt x="221" y="521"/>
                  </a:cubicBezTo>
                  <a:cubicBezTo>
                    <a:pt x="218" y="522"/>
                    <a:pt x="214" y="524"/>
                    <a:pt x="211" y="525"/>
                  </a:cubicBezTo>
                  <a:cubicBezTo>
                    <a:pt x="213" y="525"/>
                    <a:pt x="221" y="525"/>
                    <a:pt x="218" y="529"/>
                  </a:cubicBezTo>
                  <a:cubicBezTo>
                    <a:pt x="217" y="530"/>
                    <a:pt x="216" y="530"/>
                    <a:pt x="215" y="530"/>
                  </a:cubicBezTo>
                  <a:cubicBezTo>
                    <a:pt x="215" y="530"/>
                    <a:pt x="215" y="530"/>
                    <a:pt x="215" y="530"/>
                  </a:cubicBezTo>
                  <a:cubicBezTo>
                    <a:pt x="215" y="530"/>
                    <a:pt x="215" y="530"/>
                    <a:pt x="215" y="530"/>
                  </a:cubicBezTo>
                  <a:cubicBezTo>
                    <a:pt x="214" y="530"/>
                    <a:pt x="214" y="530"/>
                    <a:pt x="214" y="530"/>
                  </a:cubicBezTo>
                  <a:cubicBezTo>
                    <a:pt x="213" y="530"/>
                    <a:pt x="212" y="530"/>
                    <a:pt x="210" y="530"/>
                  </a:cubicBezTo>
                  <a:cubicBezTo>
                    <a:pt x="208" y="530"/>
                    <a:pt x="207" y="530"/>
                    <a:pt x="205" y="530"/>
                  </a:cubicBezTo>
                  <a:cubicBezTo>
                    <a:pt x="206" y="528"/>
                    <a:pt x="204" y="526"/>
                    <a:pt x="202" y="525"/>
                  </a:cubicBezTo>
                  <a:cubicBezTo>
                    <a:pt x="200" y="523"/>
                    <a:pt x="198" y="521"/>
                    <a:pt x="195" y="519"/>
                  </a:cubicBezTo>
                  <a:cubicBezTo>
                    <a:pt x="194" y="518"/>
                    <a:pt x="195" y="517"/>
                    <a:pt x="195" y="515"/>
                  </a:cubicBezTo>
                  <a:cubicBezTo>
                    <a:pt x="195" y="511"/>
                    <a:pt x="196" y="507"/>
                    <a:pt x="196" y="504"/>
                  </a:cubicBezTo>
                  <a:cubicBezTo>
                    <a:pt x="195" y="500"/>
                    <a:pt x="194" y="496"/>
                    <a:pt x="193" y="492"/>
                  </a:cubicBezTo>
                  <a:cubicBezTo>
                    <a:pt x="192" y="487"/>
                    <a:pt x="192" y="486"/>
                    <a:pt x="196" y="484"/>
                  </a:cubicBezTo>
                  <a:cubicBezTo>
                    <a:pt x="197" y="483"/>
                    <a:pt x="198" y="482"/>
                    <a:pt x="199" y="482"/>
                  </a:cubicBezTo>
                  <a:cubicBezTo>
                    <a:pt x="200" y="482"/>
                    <a:pt x="201" y="483"/>
                    <a:pt x="202" y="485"/>
                  </a:cubicBezTo>
                  <a:cubicBezTo>
                    <a:pt x="200" y="485"/>
                    <a:pt x="199" y="485"/>
                    <a:pt x="198" y="485"/>
                  </a:cubicBezTo>
                  <a:cubicBezTo>
                    <a:pt x="198" y="485"/>
                    <a:pt x="199" y="486"/>
                    <a:pt x="199" y="486"/>
                  </a:cubicBezTo>
                  <a:cubicBezTo>
                    <a:pt x="200" y="486"/>
                    <a:pt x="200" y="486"/>
                    <a:pt x="200" y="485"/>
                  </a:cubicBezTo>
                  <a:cubicBezTo>
                    <a:pt x="201" y="485"/>
                    <a:pt x="201" y="485"/>
                    <a:pt x="201" y="485"/>
                  </a:cubicBezTo>
                  <a:cubicBezTo>
                    <a:pt x="201" y="485"/>
                    <a:pt x="202" y="485"/>
                    <a:pt x="202" y="485"/>
                  </a:cubicBezTo>
                  <a:cubicBezTo>
                    <a:pt x="207" y="486"/>
                    <a:pt x="214" y="490"/>
                    <a:pt x="219" y="492"/>
                  </a:cubicBezTo>
                  <a:cubicBezTo>
                    <a:pt x="224" y="494"/>
                    <a:pt x="226" y="494"/>
                    <a:pt x="231" y="494"/>
                  </a:cubicBezTo>
                  <a:cubicBezTo>
                    <a:pt x="233" y="495"/>
                    <a:pt x="235" y="495"/>
                    <a:pt x="237" y="495"/>
                  </a:cubicBezTo>
                  <a:cubicBezTo>
                    <a:pt x="238" y="495"/>
                    <a:pt x="240" y="495"/>
                    <a:pt x="241" y="494"/>
                  </a:cubicBezTo>
                  <a:cubicBezTo>
                    <a:pt x="244" y="493"/>
                    <a:pt x="247" y="492"/>
                    <a:pt x="250" y="490"/>
                  </a:cubicBezTo>
                  <a:cubicBezTo>
                    <a:pt x="255" y="488"/>
                    <a:pt x="259" y="487"/>
                    <a:pt x="261" y="480"/>
                  </a:cubicBezTo>
                  <a:cubicBezTo>
                    <a:pt x="261" y="480"/>
                    <a:pt x="261" y="480"/>
                    <a:pt x="261" y="480"/>
                  </a:cubicBezTo>
                  <a:cubicBezTo>
                    <a:pt x="259" y="480"/>
                    <a:pt x="257" y="476"/>
                    <a:pt x="256" y="475"/>
                  </a:cubicBezTo>
                  <a:cubicBezTo>
                    <a:pt x="253" y="469"/>
                    <a:pt x="256" y="471"/>
                    <a:pt x="256" y="467"/>
                  </a:cubicBezTo>
                  <a:cubicBezTo>
                    <a:pt x="257" y="464"/>
                    <a:pt x="257" y="462"/>
                    <a:pt x="258" y="459"/>
                  </a:cubicBezTo>
                  <a:cubicBezTo>
                    <a:pt x="258" y="458"/>
                    <a:pt x="258" y="458"/>
                    <a:pt x="259" y="458"/>
                  </a:cubicBezTo>
                  <a:cubicBezTo>
                    <a:pt x="259" y="458"/>
                    <a:pt x="259" y="458"/>
                    <a:pt x="259" y="458"/>
                  </a:cubicBezTo>
                  <a:cubicBezTo>
                    <a:pt x="259" y="458"/>
                    <a:pt x="259" y="458"/>
                    <a:pt x="259" y="458"/>
                  </a:cubicBezTo>
                  <a:cubicBezTo>
                    <a:pt x="259" y="458"/>
                    <a:pt x="259" y="458"/>
                    <a:pt x="259" y="458"/>
                  </a:cubicBezTo>
                  <a:cubicBezTo>
                    <a:pt x="261" y="456"/>
                    <a:pt x="263" y="453"/>
                    <a:pt x="264" y="450"/>
                  </a:cubicBezTo>
                  <a:cubicBezTo>
                    <a:pt x="264" y="447"/>
                    <a:pt x="261" y="446"/>
                    <a:pt x="259" y="444"/>
                  </a:cubicBezTo>
                  <a:cubicBezTo>
                    <a:pt x="259" y="444"/>
                    <a:pt x="260" y="444"/>
                    <a:pt x="260" y="444"/>
                  </a:cubicBezTo>
                  <a:cubicBezTo>
                    <a:pt x="261" y="444"/>
                    <a:pt x="261" y="444"/>
                    <a:pt x="262" y="445"/>
                  </a:cubicBezTo>
                  <a:cubicBezTo>
                    <a:pt x="262" y="445"/>
                    <a:pt x="263" y="445"/>
                    <a:pt x="263" y="445"/>
                  </a:cubicBezTo>
                  <a:cubicBezTo>
                    <a:pt x="264" y="445"/>
                    <a:pt x="264" y="445"/>
                    <a:pt x="265" y="445"/>
                  </a:cubicBezTo>
                  <a:cubicBezTo>
                    <a:pt x="264" y="444"/>
                    <a:pt x="263" y="444"/>
                    <a:pt x="262" y="443"/>
                  </a:cubicBezTo>
                  <a:cubicBezTo>
                    <a:pt x="260" y="442"/>
                    <a:pt x="258" y="443"/>
                    <a:pt x="258" y="440"/>
                  </a:cubicBezTo>
                  <a:cubicBezTo>
                    <a:pt x="257" y="437"/>
                    <a:pt x="257" y="433"/>
                    <a:pt x="257" y="430"/>
                  </a:cubicBezTo>
                  <a:cubicBezTo>
                    <a:pt x="261" y="431"/>
                    <a:pt x="266" y="432"/>
                    <a:pt x="270" y="433"/>
                  </a:cubicBezTo>
                  <a:cubicBezTo>
                    <a:pt x="276" y="434"/>
                    <a:pt x="281" y="435"/>
                    <a:pt x="286" y="435"/>
                  </a:cubicBezTo>
                  <a:cubicBezTo>
                    <a:pt x="287" y="435"/>
                    <a:pt x="289" y="435"/>
                    <a:pt x="290" y="435"/>
                  </a:cubicBezTo>
                  <a:cubicBezTo>
                    <a:pt x="297" y="434"/>
                    <a:pt x="304" y="433"/>
                    <a:pt x="311" y="431"/>
                  </a:cubicBezTo>
                  <a:cubicBezTo>
                    <a:pt x="325" y="429"/>
                    <a:pt x="338" y="425"/>
                    <a:pt x="351" y="421"/>
                  </a:cubicBezTo>
                  <a:cubicBezTo>
                    <a:pt x="358" y="419"/>
                    <a:pt x="363" y="416"/>
                    <a:pt x="367" y="410"/>
                  </a:cubicBezTo>
                  <a:cubicBezTo>
                    <a:pt x="370" y="406"/>
                    <a:pt x="374" y="401"/>
                    <a:pt x="377" y="396"/>
                  </a:cubicBezTo>
                  <a:cubicBezTo>
                    <a:pt x="380" y="392"/>
                    <a:pt x="382" y="389"/>
                    <a:pt x="385" y="385"/>
                  </a:cubicBezTo>
                  <a:cubicBezTo>
                    <a:pt x="386" y="384"/>
                    <a:pt x="389" y="380"/>
                    <a:pt x="389" y="378"/>
                  </a:cubicBezTo>
                  <a:cubicBezTo>
                    <a:pt x="389" y="376"/>
                    <a:pt x="389" y="365"/>
                    <a:pt x="387" y="363"/>
                  </a:cubicBezTo>
                  <a:cubicBezTo>
                    <a:pt x="387" y="364"/>
                    <a:pt x="386" y="364"/>
                    <a:pt x="385" y="364"/>
                  </a:cubicBezTo>
                  <a:cubicBezTo>
                    <a:pt x="383" y="364"/>
                    <a:pt x="381" y="364"/>
                    <a:pt x="380" y="363"/>
                  </a:cubicBezTo>
                  <a:cubicBezTo>
                    <a:pt x="376" y="360"/>
                    <a:pt x="375" y="357"/>
                    <a:pt x="374" y="352"/>
                  </a:cubicBezTo>
                  <a:cubicBezTo>
                    <a:pt x="373" y="347"/>
                    <a:pt x="374" y="346"/>
                    <a:pt x="377" y="342"/>
                  </a:cubicBezTo>
                  <a:cubicBezTo>
                    <a:pt x="379" y="339"/>
                    <a:pt x="377" y="336"/>
                    <a:pt x="374" y="333"/>
                  </a:cubicBezTo>
                  <a:cubicBezTo>
                    <a:pt x="373" y="332"/>
                    <a:pt x="371" y="331"/>
                    <a:pt x="369" y="329"/>
                  </a:cubicBezTo>
                  <a:cubicBezTo>
                    <a:pt x="364" y="326"/>
                    <a:pt x="359" y="324"/>
                    <a:pt x="353" y="321"/>
                  </a:cubicBezTo>
                  <a:cubicBezTo>
                    <a:pt x="352" y="323"/>
                    <a:pt x="350" y="324"/>
                    <a:pt x="348" y="324"/>
                  </a:cubicBezTo>
                  <a:cubicBezTo>
                    <a:pt x="344" y="324"/>
                    <a:pt x="341" y="322"/>
                    <a:pt x="341" y="318"/>
                  </a:cubicBezTo>
                  <a:cubicBezTo>
                    <a:pt x="341" y="315"/>
                    <a:pt x="344" y="313"/>
                    <a:pt x="347" y="312"/>
                  </a:cubicBezTo>
                  <a:cubicBezTo>
                    <a:pt x="347" y="312"/>
                    <a:pt x="344" y="303"/>
                    <a:pt x="347" y="298"/>
                  </a:cubicBezTo>
                  <a:cubicBezTo>
                    <a:pt x="345" y="298"/>
                    <a:pt x="345" y="298"/>
                    <a:pt x="345" y="298"/>
                  </a:cubicBezTo>
                  <a:cubicBezTo>
                    <a:pt x="345" y="297"/>
                    <a:pt x="345" y="297"/>
                    <a:pt x="345" y="297"/>
                  </a:cubicBezTo>
                  <a:cubicBezTo>
                    <a:pt x="346" y="294"/>
                    <a:pt x="346" y="290"/>
                    <a:pt x="346" y="288"/>
                  </a:cubicBezTo>
                  <a:cubicBezTo>
                    <a:pt x="346" y="286"/>
                    <a:pt x="348" y="283"/>
                    <a:pt x="350" y="279"/>
                  </a:cubicBezTo>
                  <a:cubicBezTo>
                    <a:pt x="351" y="278"/>
                    <a:pt x="352" y="277"/>
                    <a:pt x="353" y="277"/>
                  </a:cubicBezTo>
                  <a:cubicBezTo>
                    <a:pt x="354" y="276"/>
                    <a:pt x="354" y="276"/>
                    <a:pt x="354" y="276"/>
                  </a:cubicBezTo>
                  <a:cubicBezTo>
                    <a:pt x="355" y="275"/>
                    <a:pt x="354" y="273"/>
                    <a:pt x="353" y="271"/>
                  </a:cubicBezTo>
                  <a:cubicBezTo>
                    <a:pt x="353" y="270"/>
                    <a:pt x="353" y="269"/>
                    <a:pt x="352" y="269"/>
                  </a:cubicBezTo>
                  <a:cubicBezTo>
                    <a:pt x="351" y="265"/>
                    <a:pt x="351" y="263"/>
                    <a:pt x="351" y="259"/>
                  </a:cubicBezTo>
                  <a:cubicBezTo>
                    <a:pt x="351" y="258"/>
                    <a:pt x="351" y="258"/>
                    <a:pt x="351" y="257"/>
                  </a:cubicBezTo>
                  <a:cubicBezTo>
                    <a:pt x="351" y="255"/>
                    <a:pt x="351" y="255"/>
                    <a:pt x="351" y="255"/>
                  </a:cubicBezTo>
                  <a:cubicBezTo>
                    <a:pt x="351" y="254"/>
                    <a:pt x="351" y="253"/>
                    <a:pt x="351" y="252"/>
                  </a:cubicBezTo>
                  <a:cubicBezTo>
                    <a:pt x="351" y="251"/>
                    <a:pt x="351" y="251"/>
                    <a:pt x="351" y="251"/>
                  </a:cubicBezTo>
                  <a:cubicBezTo>
                    <a:pt x="351" y="250"/>
                    <a:pt x="351" y="250"/>
                    <a:pt x="351" y="250"/>
                  </a:cubicBezTo>
                  <a:cubicBezTo>
                    <a:pt x="351" y="249"/>
                    <a:pt x="351" y="249"/>
                    <a:pt x="351" y="249"/>
                  </a:cubicBezTo>
                  <a:cubicBezTo>
                    <a:pt x="351" y="248"/>
                    <a:pt x="351" y="248"/>
                    <a:pt x="351" y="248"/>
                  </a:cubicBezTo>
                  <a:cubicBezTo>
                    <a:pt x="352" y="246"/>
                    <a:pt x="353" y="245"/>
                    <a:pt x="354" y="244"/>
                  </a:cubicBezTo>
                  <a:cubicBezTo>
                    <a:pt x="355" y="243"/>
                    <a:pt x="355" y="243"/>
                    <a:pt x="355" y="243"/>
                  </a:cubicBezTo>
                  <a:cubicBezTo>
                    <a:pt x="355" y="243"/>
                    <a:pt x="355" y="243"/>
                    <a:pt x="355" y="241"/>
                  </a:cubicBezTo>
                  <a:cubicBezTo>
                    <a:pt x="355" y="241"/>
                    <a:pt x="355" y="241"/>
                    <a:pt x="355" y="241"/>
                  </a:cubicBezTo>
                  <a:cubicBezTo>
                    <a:pt x="355" y="239"/>
                    <a:pt x="355" y="237"/>
                    <a:pt x="356" y="235"/>
                  </a:cubicBezTo>
                  <a:cubicBezTo>
                    <a:pt x="356" y="233"/>
                    <a:pt x="356" y="233"/>
                    <a:pt x="356" y="233"/>
                  </a:cubicBezTo>
                  <a:cubicBezTo>
                    <a:pt x="357" y="233"/>
                    <a:pt x="357" y="232"/>
                    <a:pt x="357" y="232"/>
                  </a:cubicBezTo>
                  <a:cubicBezTo>
                    <a:pt x="358" y="230"/>
                    <a:pt x="358" y="227"/>
                    <a:pt x="359" y="225"/>
                  </a:cubicBezTo>
                  <a:cubicBezTo>
                    <a:pt x="359" y="223"/>
                    <a:pt x="359" y="222"/>
                    <a:pt x="360" y="221"/>
                  </a:cubicBezTo>
                  <a:cubicBezTo>
                    <a:pt x="360" y="221"/>
                    <a:pt x="360" y="220"/>
                    <a:pt x="360" y="220"/>
                  </a:cubicBezTo>
                  <a:cubicBezTo>
                    <a:pt x="360" y="219"/>
                    <a:pt x="359" y="219"/>
                    <a:pt x="359" y="218"/>
                  </a:cubicBezTo>
                  <a:cubicBezTo>
                    <a:pt x="359" y="218"/>
                    <a:pt x="359" y="218"/>
                    <a:pt x="359" y="218"/>
                  </a:cubicBezTo>
                  <a:cubicBezTo>
                    <a:pt x="359" y="217"/>
                    <a:pt x="358" y="216"/>
                    <a:pt x="358" y="214"/>
                  </a:cubicBezTo>
                  <a:cubicBezTo>
                    <a:pt x="358" y="212"/>
                    <a:pt x="359" y="209"/>
                    <a:pt x="361" y="207"/>
                  </a:cubicBezTo>
                  <a:cubicBezTo>
                    <a:pt x="362" y="205"/>
                    <a:pt x="364" y="204"/>
                    <a:pt x="365" y="202"/>
                  </a:cubicBezTo>
                  <a:cubicBezTo>
                    <a:pt x="366" y="202"/>
                    <a:pt x="366" y="202"/>
                    <a:pt x="366" y="202"/>
                  </a:cubicBezTo>
                  <a:cubicBezTo>
                    <a:pt x="366" y="201"/>
                    <a:pt x="367" y="201"/>
                    <a:pt x="367" y="201"/>
                  </a:cubicBezTo>
                  <a:cubicBezTo>
                    <a:pt x="369" y="199"/>
                    <a:pt x="369" y="199"/>
                    <a:pt x="369" y="199"/>
                  </a:cubicBezTo>
                  <a:cubicBezTo>
                    <a:pt x="375" y="193"/>
                    <a:pt x="382" y="186"/>
                    <a:pt x="388" y="179"/>
                  </a:cubicBezTo>
                  <a:cubicBezTo>
                    <a:pt x="389" y="177"/>
                    <a:pt x="390" y="176"/>
                    <a:pt x="391" y="175"/>
                  </a:cubicBezTo>
                  <a:cubicBezTo>
                    <a:pt x="393" y="172"/>
                    <a:pt x="395" y="169"/>
                    <a:pt x="398" y="166"/>
                  </a:cubicBezTo>
                  <a:cubicBezTo>
                    <a:pt x="400" y="164"/>
                    <a:pt x="404" y="160"/>
                    <a:pt x="408" y="158"/>
                  </a:cubicBezTo>
                  <a:cubicBezTo>
                    <a:pt x="407" y="157"/>
                    <a:pt x="407" y="155"/>
                    <a:pt x="407" y="154"/>
                  </a:cubicBezTo>
                  <a:cubicBezTo>
                    <a:pt x="408" y="154"/>
                    <a:pt x="408" y="153"/>
                    <a:pt x="408" y="153"/>
                  </a:cubicBezTo>
                  <a:cubicBezTo>
                    <a:pt x="409" y="152"/>
                    <a:pt x="410" y="151"/>
                    <a:pt x="412" y="150"/>
                  </a:cubicBezTo>
                  <a:cubicBezTo>
                    <a:pt x="413" y="149"/>
                    <a:pt x="413" y="149"/>
                    <a:pt x="413" y="149"/>
                  </a:cubicBezTo>
                  <a:cubicBezTo>
                    <a:pt x="413" y="149"/>
                    <a:pt x="414" y="149"/>
                    <a:pt x="414" y="149"/>
                  </a:cubicBezTo>
                  <a:cubicBezTo>
                    <a:pt x="416" y="149"/>
                    <a:pt x="416" y="149"/>
                    <a:pt x="416" y="149"/>
                  </a:cubicBezTo>
                  <a:cubicBezTo>
                    <a:pt x="416" y="148"/>
                    <a:pt x="416" y="148"/>
                    <a:pt x="416" y="148"/>
                  </a:cubicBezTo>
                  <a:cubicBezTo>
                    <a:pt x="417" y="147"/>
                    <a:pt x="418" y="146"/>
                    <a:pt x="418" y="146"/>
                  </a:cubicBezTo>
                  <a:cubicBezTo>
                    <a:pt x="419" y="145"/>
                    <a:pt x="420" y="144"/>
                    <a:pt x="421" y="144"/>
                  </a:cubicBezTo>
                  <a:cubicBezTo>
                    <a:pt x="422" y="143"/>
                    <a:pt x="423" y="142"/>
                    <a:pt x="424" y="141"/>
                  </a:cubicBezTo>
                  <a:cubicBezTo>
                    <a:pt x="425" y="141"/>
                    <a:pt x="425" y="140"/>
                    <a:pt x="426" y="140"/>
                  </a:cubicBezTo>
                  <a:cubicBezTo>
                    <a:pt x="428" y="137"/>
                    <a:pt x="430" y="135"/>
                    <a:pt x="434" y="134"/>
                  </a:cubicBezTo>
                  <a:cubicBezTo>
                    <a:pt x="439" y="133"/>
                    <a:pt x="444" y="131"/>
                    <a:pt x="449" y="128"/>
                  </a:cubicBezTo>
                  <a:cubicBezTo>
                    <a:pt x="449" y="128"/>
                    <a:pt x="450" y="128"/>
                    <a:pt x="450" y="128"/>
                  </a:cubicBezTo>
                  <a:cubicBezTo>
                    <a:pt x="452" y="127"/>
                    <a:pt x="452" y="127"/>
                    <a:pt x="452" y="127"/>
                  </a:cubicBezTo>
                  <a:cubicBezTo>
                    <a:pt x="452" y="126"/>
                    <a:pt x="452" y="126"/>
                    <a:pt x="452" y="126"/>
                  </a:cubicBezTo>
                  <a:cubicBezTo>
                    <a:pt x="452" y="126"/>
                    <a:pt x="453" y="126"/>
                    <a:pt x="453" y="125"/>
                  </a:cubicBezTo>
                  <a:cubicBezTo>
                    <a:pt x="453" y="124"/>
                    <a:pt x="453" y="124"/>
                    <a:pt x="453" y="123"/>
                  </a:cubicBezTo>
                  <a:cubicBezTo>
                    <a:pt x="454" y="122"/>
                    <a:pt x="454" y="122"/>
                    <a:pt x="454" y="122"/>
                  </a:cubicBezTo>
                  <a:cubicBezTo>
                    <a:pt x="454" y="122"/>
                    <a:pt x="454" y="121"/>
                    <a:pt x="454" y="121"/>
                  </a:cubicBezTo>
                  <a:cubicBezTo>
                    <a:pt x="455" y="118"/>
                    <a:pt x="455" y="118"/>
                    <a:pt x="455" y="118"/>
                  </a:cubicBezTo>
                  <a:cubicBezTo>
                    <a:pt x="455" y="117"/>
                    <a:pt x="455" y="116"/>
                    <a:pt x="455" y="115"/>
                  </a:cubicBezTo>
                  <a:cubicBezTo>
                    <a:pt x="455" y="114"/>
                    <a:pt x="455" y="114"/>
                    <a:pt x="455" y="114"/>
                  </a:cubicBezTo>
                  <a:cubicBezTo>
                    <a:pt x="456" y="111"/>
                    <a:pt x="457" y="107"/>
                    <a:pt x="456" y="105"/>
                  </a:cubicBezTo>
                  <a:cubicBezTo>
                    <a:pt x="450" y="92"/>
                    <a:pt x="450" y="92"/>
                    <a:pt x="450" y="92"/>
                  </a:cubicBezTo>
                  <a:cubicBezTo>
                    <a:pt x="450" y="92"/>
                    <a:pt x="450" y="92"/>
                    <a:pt x="450" y="92"/>
                  </a:cubicBezTo>
                  <a:cubicBezTo>
                    <a:pt x="450" y="92"/>
                    <a:pt x="449" y="92"/>
                    <a:pt x="449" y="92"/>
                  </a:cubicBezTo>
                  <a:cubicBezTo>
                    <a:pt x="449" y="92"/>
                    <a:pt x="449" y="92"/>
                    <a:pt x="449" y="92"/>
                  </a:cubicBezTo>
                  <a:cubicBezTo>
                    <a:pt x="449" y="92"/>
                    <a:pt x="449" y="92"/>
                    <a:pt x="448" y="92"/>
                  </a:cubicBezTo>
                  <a:cubicBezTo>
                    <a:pt x="448" y="92"/>
                    <a:pt x="448" y="92"/>
                    <a:pt x="448" y="92"/>
                  </a:cubicBezTo>
                  <a:cubicBezTo>
                    <a:pt x="447" y="91"/>
                    <a:pt x="447" y="91"/>
                    <a:pt x="447" y="91"/>
                  </a:cubicBezTo>
                  <a:cubicBezTo>
                    <a:pt x="447" y="92"/>
                    <a:pt x="447" y="92"/>
                    <a:pt x="447" y="92"/>
                  </a:cubicBezTo>
                  <a:cubicBezTo>
                    <a:pt x="446" y="92"/>
                    <a:pt x="446" y="92"/>
                    <a:pt x="446" y="92"/>
                  </a:cubicBezTo>
                  <a:cubicBezTo>
                    <a:pt x="445" y="93"/>
                    <a:pt x="443" y="94"/>
                    <a:pt x="442" y="94"/>
                  </a:cubicBezTo>
                  <a:cubicBezTo>
                    <a:pt x="441" y="94"/>
                    <a:pt x="441" y="94"/>
                    <a:pt x="441" y="94"/>
                  </a:cubicBezTo>
                  <a:cubicBezTo>
                    <a:pt x="441" y="98"/>
                    <a:pt x="441" y="98"/>
                    <a:pt x="441" y="98"/>
                  </a:cubicBezTo>
                  <a:cubicBezTo>
                    <a:pt x="440" y="94"/>
                    <a:pt x="440" y="94"/>
                    <a:pt x="440" y="94"/>
                  </a:cubicBezTo>
                  <a:cubicBezTo>
                    <a:pt x="440" y="93"/>
                    <a:pt x="440" y="93"/>
                    <a:pt x="440" y="93"/>
                  </a:cubicBezTo>
                  <a:cubicBezTo>
                    <a:pt x="440" y="93"/>
                    <a:pt x="440" y="93"/>
                    <a:pt x="440" y="93"/>
                  </a:cubicBezTo>
                  <a:cubicBezTo>
                    <a:pt x="440" y="93"/>
                    <a:pt x="440" y="93"/>
                    <a:pt x="440" y="93"/>
                  </a:cubicBezTo>
                  <a:cubicBezTo>
                    <a:pt x="440" y="93"/>
                    <a:pt x="440" y="93"/>
                    <a:pt x="440" y="93"/>
                  </a:cubicBezTo>
                  <a:cubicBezTo>
                    <a:pt x="439" y="99"/>
                    <a:pt x="438" y="105"/>
                    <a:pt x="436" y="112"/>
                  </a:cubicBezTo>
                  <a:cubicBezTo>
                    <a:pt x="435" y="114"/>
                    <a:pt x="434" y="116"/>
                    <a:pt x="432" y="118"/>
                  </a:cubicBezTo>
                  <a:cubicBezTo>
                    <a:pt x="430" y="119"/>
                    <a:pt x="428" y="121"/>
                    <a:pt x="427" y="122"/>
                  </a:cubicBezTo>
                  <a:cubicBezTo>
                    <a:pt x="425" y="124"/>
                    <a:pt x="423" y="126"/>
                    <a:pt x="420" y="127"/>
                  </a:cubicBezTo>
                  <a:cubicBezTo>
                    <a:pt x="419" y="128"/>
                    <a:pt x="418" y="128"/>
                    <a:pt x="418" y="128"/>
                  </a:cubicBezTo>
                  <a:cubicBezTo>
                    <a:pt x="417" y="129"/>
                    <a:pt x="417" y="129"/>
                    <a:pt x="417" y="129"/>
                  </a:cubicBezTo>
                  <a:cubicBezTo>
                    <a:pt x="417" y="131"/>
                    <a:pt x="417" y="131"/>
                    <a:pt x="417" y="131"/>
                  </a:cubicBezTo>
                  <a:cubicBezTo>
                    <a:pt x="417" y="131"/>
                    <a:pt x="417" y="131"/>
                    <a:pt x="417" y="131"/>
                  </a:cubicBezTo>
                  <a:cubicBezTo>
                    <a:pt x="417" y="132"/>
                    <a:pt x="416" y="133"/>
                    <a:pt x="415" y="134"/>
                  </a:cubicBezTo>
                  <a:cubicBezTo>
                    <a:pt x="414" y="135"/>
                    <a:pt x="414" y="135"/>
                    <a:pt x="414" y="135"/>
                  </a:cubicBezTo>
                  <a:cubicBezTo>
                    <a:pt x="414" y="135"/>
                    <a:pt x="414" y="135"/>
                    <a:pt x="414" y="135"/>
                  </a:cubicBezTo>
                  <a:cubicBezTo>
                    <a:pt x="413" y="135"/>
                    <a:pt x="413" y="135"/>
                    <a:pt x="413" y="135"/>
                  </a:cubicBezTo>
                  <a:cubicBezTo>
                    <a:pt x="413" y="135"/>
                    <a:pt x="413" y="135"/>
                    <a:pt x="413" y="135"/>
                  </a:cubicBezTo>
                  <a:cubicBezTo>
                    <a:pt x="412" y="136"/>
                    <a:pt x="411" y="137"/>
                    <a:pt x="409" y="137"/>
                  </a:cubicBezTo>
                  <a:cubicBezTo>
                    <a:pt x="408" y="137"/>
                    <a:pt x="407" y="137"/>
                    <a:pt x="406" y="136"/>
                  </a:cubicBezTo>
                  <a:cubicBezTo>
                    <a:pt x="406" y="136"/>
                    <a:pt x="406" y="136"/>
                    <a:pt x="406" y="136"/>
                  </a:cubicBezTo>
                  <a:cubicBezTo>
                    <a:pt x="405" y="136"/>
                    <a:pt x="405" y="136"/>
                    <a:pt x="405" y="136"/>
                  </a:cubicBezTo>
                  <a:cubicBezTo>
                    <a:pt x="405" y="136"/>
                    <a:pt x="405" y="136"/>
                    <a:pt x="405" y="136"/>
                  </a:cubicBezTo>
                  <a:cubicBezTo>
                    <a:pt x="404" y="136"/>
                    <a:pt x="402" y="137"/>
                    <a:pt x="401" y="138"/>
                  </a:cubicBezTo>
                  <a:cubicBezTo>
                    <a:pt x="399" y="139"/>
                    <a:pt x="399" y="139"/>
                    <a:pt x="399" y="139"/>
                  </a:cubicBezTo>
                  <a:cubicBezTo>
                    <a:pt x="399" y="139"/>
                    <a:pt x="399" y="140"/>
                    <a:pt x="398" y="140"/>
                  </a:cubicBezTo>
                  <a:cubicBezTo>
                    <a:pt x="398" y="141"/>
                    <a:pt x="397" y="141"/>
                    <a:pt x="396" y="141"/>
                  </a:cubicBezTo>
                  <a:cubicBezTo>
                    <a:pt x="396" y="141"/>
                    <a:pt x="396" y="141"/>
                    <a:pt x="396" y="141"/>
                  </a:cubicBezTo>
                  <a:cubicBezTo>
                    <a:pt x="395" y="141"/>
                    <a:pt x="395" y="141"/>
                    <a:pt x="395" y="141"/>
                  </a:cubicBezTo>
                  <a:cubicBezTo>
                    <a:pt x="394" y="141"/>
                    <a:pt x="393" y="140"/>
                    <a:pt x="392" y="140"/>
                  </a:cubicBezTo>
                  <a:cubicBezTo>
                    <a:pt x="392" y="140"/>
                    <a:pt x="392" y="140"/>
                    <a:pt x="392" y="140"/>
                  </a:cubicBezTo>
                  <a:cubicBezTo>
                    <a:pt x="390" y="139"/>
                    <a:pt x="390" y="139"/>
                    <a:pt x="390" y="139"/>
                  </a:cubicBezTo>
                  <a:cubicBezTo>
                    <a:pt x="390" y="138"/>
                    <a:pt x="389" y="138"/>
                    <a:pt x="389" y="138"/>
                  </a:cubicBezTo>
                  <a:cubicBezTo>
                    <a:pt x="387" y="138"/>
                    <a:pt x="386" y="137"/>
                    <a:pt x="384" y="137"/>
                  </a:cubicBezTo>
                  <a:cubicBezTo>
                    <a:pt x="383" y="137"/>
                    <a:pt x="382" y="137"/>
                    <a:pt x="382" y="137"/>
                  </a:cubicBezTo>
                  <a:cubicBezTo>
                    <a:pt x="379" y="138"/>
                    <a:pt x="379" y="138"/>
                    <a:pt x="379" y="138"/>
                  </a:cubicBezTo>
                  <a:cubicBezTo>
                    <a:pt x="378" y="138"/>
                    <a:pt x="378" y="138"/>
                    <a:pt x="377" y="138"/>
                  </a:cubicBezTo>
                  <a:cubicBezTo>
                    <a:pt x="374" y="138"/>
                    <a:pt x="371" y="137"/>
                    <a:pt x="368" y="136"/>
                  </a:cubicBezTo>
                  <a:cubicBezTo>
                    <a:pt x="366" y="135"/>
                    <a:pt x="365" y="135"/>
                    <a:pt x="364" y="135"/>
                  </a:cubicBezTo>
                  <a:cubicBezTo>
                    <a:pt x="363" y="135"/>
                    <a:pt x="363" y="135"/>
                    <a:pt x="363" y="135"/>
                  </a:cubicBezTo>
                  <a:cubicBezTo>
                    <a:pt x="361" y="134"/>
                    <a:pt x="358" y="134"/>
                    <a:pt x="355" y="134"/>
                  </a:cubicBezTo>
                  <a:cubicBezTo>
                    <a:pt x="352" y="134"/>
                    <a:pt x="348" y="134"/>
                    <a:pt x="345" y="135"/>
                  </a:cubicBezTo>
                  <a:cubicBezTo>
                    <a:pt x="342" y="135"/>
                    <a:pt x="342" y="135"/>
                    <a:pt x="342" y="135"/>
                  </a:cubicBezTo>
                  <a:cubicBezTo>
                    <a:pt x="341" y="132"/>
                    <a:pt x="341" y="132"/>
                    <a:pt x="341" y="132"/>
                  </a:cubicBezTo>
                  <a:cubicBezTo>
                    <a:pt x="341" y="132"/>
                    <a:pt x="341" y="131"/>
                    <a:pt x="341" y="131"/>
                  </a:cubicBezTo>
                  <a:cubicBezTo>
                    <a:pt x="341" y="130"/>
                    <a:pt x="340" y="129"/>
                    <a:pt x="341" y="127"/>
                  </a:cubicBezTo>
                  <a:cubicBezTo>
                    <a:pt x="341" y="126"/>
                    <a:pt x="342" y="126"/>
                    <a:pt x="342" y="125"/>
                  </a:cubicBezTo>
                  <a:cubicBezTo>
                    <a:pt x="343" y="124"/>
                    <a:pt x="343" y="124"/>
                    <a:pt x="344" y="123"/>
                  </a:cubicBezTo>
                  <a:cubicBezTo>
                    <a:pt x="345" y="122"/>
                    <a:pt x="347" y="121"/>
                    <a:pt x="347" y="120"/>
                  </a:cubicBezTo>
                  <a:cubicBezTo>
                    <a:pt x="348" y="118"/>
                    <a:pt x="348" y="118"/>
                    <a:pt x="348" y="118"/>
                  </a:cubicBezTo>
                  <a:cubicBezTo>
                    <a:pt x="350" y="112"/>
                    <a:pt x="352" y="106"/>
                    <a:pt x="356" y="100"/>
                  </a:cubicBezTo>
                  <a:cubicBezTo>
                    <a:pt x="357" y="99"/>
                    <a:pt x="358" y="97"/>
                    <a:pt x="359" y="96"/>
                  </a:cubicBezTo>
                  <a:cubicBezTo>
                    <a:pt x="360" y="95"/>
                    <a:pt x="360" y="95"/>
                    <a:pt x="360" y="95"/>
                  </a:cubicBezTo>
                  <a:cubicBezTo>
                    <a:pt x="361" y="93"/>
                    <a:pt x="363" y="90"/>
                    <a:pt x="364" y="88"/>
                  </a:cubicBezTo>
                  <a:cubicBezTo>
                    <a:pt x="365" y="88"/>
                    <a:pt x="365" y="87"/>
                    <a:pt x="364" y="85"/>
                  </a:cubicBezTo>
                  <a:cubicBezTo>
                    <a:pt x="364" y="85"/>
                    <a:pt x="364" y="84"/>
                    <a:pt x="363" y="83"/>
                  </a:cubicBezTo>
                  <a:cubicBezTo>
                    <a:pt x="359" y="81"/>
                    <a:pt x="355" y="79"/>
                    <a:pt x="351" y="77"/>
                  </a:cubicBezTo>
                  <a:cubicBezTo>
                    <a:pt x="341" y="72"/>
                    <a:pt x="333" y="68"/>
                    <a:pt x="324" y="62"/>
                  </a:cubicBezTo>
                  <a:cubicBezTo>
                    <a:pt x="323" y="61"/>
                    <a:pt x="322" y="61"/>
                    <a:pt x="320" y="60"/>
                  </a:cubicBezTo>
                  <a:cubicBezTo>
                    <a:pt x="317" y="57"/>
                    <a:pt x="317" y="57"/>
                    <a:pt x="317" y="57"/>
                  </a:cubicBezTo>
                  <a:cubicBezTo>
                    <a:pt x="315" y="56"/>
                    <a:pt x="313" y="54"/>
                    <a:pt x="311" y="53"/>
                  </a:cubicBezTo>
                  <a:cubicBezTo>
                    <a:pt x="309" y="52"/>
                    <a:pt x="306" y="52"/>
                    <a:pt x="304" y="51"/>
                  </a:cubicBezTo>
                  <a:cubicBezTo>
                    <a:pt x="303" y="51"/>
                    <a:pt x="302" y="51"/>
                    <a:pt x="301" y="51"/>
                  </a:cubicBezTo>
                  <a:cubicBezTo>
                    <a:pt x="298" y="50"/>
                    <a:pt x="296" y="50"/>
                    <a:pt x="294" y="50"/>
                  </a:cubicBezTo>
                  <a:cubicBezTo>
                    <a:pt x="292" y="49"/>
                    <a:pt x="292" y="49"/>
                    <a:pt x="292" y="49"/>
                  </a:cubicBezTo>
                  <a:cubicBezTo>
                    <a:pt x="291" y="49"/>
                    <a:pt x="290" y="49"/>
                    <a:pt x="290" y="48"/>
                  </a:cubicBezTo>
                  <a:cubicBezTo>
                    <a:pt x="287" y="47"/>
                    <a:pt x="285" y="46"/>
                    <a:pt x="282" y="43"/>
                  </a:cubicBezTo>
                  <a:cubicBezTo>
                    <a:pt x="280" y="42"/>
                    <a:pt x="279" y="41"/>
                    <a:pt x="277" y="39"/>
                  </a:cubicBezTo>
                  <a:cubicBezTo>
                    <a:pt x="276" y="38"/>
                    <a:pt x="275" y="37"/>
                    <a:pt x="274" y="36"/>
                  </a:cubicBezTo>
                  <a:cubicBezTo>
                    <a:pt x="273" y="35"/>
                    <a:pt x="273" y="35"/>
                    <a:pt x="272" y="35"/>
                  </a:cubicBezTo>
                  <a:cubicBezTo>
                    <a:pt x="270" y="33"/>
                    <a:pt x="270" y="33"/>
                    <a:pt x="270" y="33"/>
                  </a:cubicBezTo>
                  <a:cubicBezTo>
                    <a:pt x="270" y="32"/>
                    <a:pt x="269" y="31"/>
                    <a:pt x="268" y="31"/>
                  </a:cubicBezTo>
                  <a:cubicBezTo>
                    <a:pt x="268" y="31"/>
                    <a:pt x="268" y="31"/>
                    <a:pt x="268" y="31"/>
                  </a:cubicBezTo>
                  <a:cubicBezTo>
                    <a:pt x="268" y="30"/>
                    <a:pt x="267" y="30"/>
                    <a:pt x="267" y="29"/>
                  </a:cubicBezTo>
                  <a:cubicBezTo>
                    <a:pt x="266" y="28"/>
                    <a:pt x="266" y="28"/>
                    <a:pt x="266" y="28"/>
                  </a:cubicBezTo>
                  <a:cubicBezTo>
                    <a:pt x="265" y="27"/>
                    <a:pt x="264" y="26"/>
                    <a:pt x="263" y="25"/>
                  </a:cubicBezTo>
                  <a:cubicBezTo>
                    <a:pt x="262" y="24"/>
                    <a:pt x="262" y="24"/>
                    <a:pt x="262" y="24"/>
                  </a:cubicBezTo>
                  <a:cubicBezTo>
                    <a:pt x="262" y="23"/>
                    <a:pt x="261" y="23"/>
                    <a:pt x="261" y="22"/>
                  </a:cubicBezTo>
                  <a:cubicBezTo>
                    <a:pt x="260" y="21"/>
                    <a:pt x="260" y="21"/>
                    <a:pt x="260" y="21"/>
                  </a:cubicBezTo>
                  <a:cubicBezTo>
                    <a:pt x="260" y="20"/>
                    <a:pt x="259" y="19"/>
                    <a:pt x="259" y="19"/>
                  </a:cubicBezTo>
                  <a:cubicBezTo>
                    <a:pt x="258" y="18"/>
                    <a:pt x="257" y="16"/>
                    <a:pt x="257" y="15"/>
                  </a:cubicBezTo>
                  <a:cubicBezTo>
                    <a:pt x="256" y="15"/>
                    <a:pt x="256" y="15"/>
                    <a:pt x="256" y="14"/>
                  </a:cubicBezTo>
                  <a:cubicBezTo>
                    <a:pt x="255" y="14"/>
                    <a:pt x="255" y="14"/>
                    <a:pt x="254" y="14"/>
                  </a:cubicBezTo>
                  <a:cubicBezTo>
                    <a:pt x="253" y="13"/>
                    <a:pt x="252" y="12"/>
                    <a:pt x="252" y="12"/>
                  </a:cubicBezTo>
                  <a:cubicBezTo>
                    <a:pt x="252" y="12"/>
                    <a:pt x="252" y="12"/>
                    <a:pt x="252" y="12"/>
                  </a:cubicBezTo>
                  <a:cubicBezTo>
                    <a:pt x="250" y="11"/>
                    <a:pt x="250" y="11"/>
                    <a:pt x="250" y="11"/>
                  </a:cubicBezTo>
                  <a:cubicBezTo>
                    <a:pt x="248" y="8"/>
                    <a:pt x="248" y="8"/>
                    <a:pt x="248" y="8"/>
                  </a:cubicBezTo>
                  <a:cubicBezTo>
                    <a:pt x="247" y="8"/>
                    <a:pt x="247" y="7"/>
                    <a:pt x="247" y="7"/>
                  </a:cubicBezTo>
                  <a:cubicBezTo>
                    <a:pt x="247" y="7"/>
                    <a:pt x="247" y="7"/>
                    <a:pt x="247" y="7"/>
                  </a:cubicBezTo>
                  <a:cubicBezTo>
                    <a:pt x="246" y="6"/>
                    <a:pt x="246" y="5"/>
                    <a:pt x="245" y="4"/>
                  </a:cubicBezTo>
                  <a:cubicBezTo>
                    <a:pt x="245" y="4"/>
                    <a:pt x="245" y="4"/>
                    <a:pt x="245" y="4"/>
                  </a:cubicBezTo>
                  <a:cubicBezTo>
                    <a:pt x="244" y="3"/>
                    <a:pt x="244" y="3"/>
                    <a:pt x="244" y="3"/>
                  </a:cubicBezTo>
                  <a:cubicBezTo>
                    <a:pt x="244" y="3"/>
                    <a:pt x="243" y="4"/>
                    <a:pt x="242" y="4"/>
                  </a:cubicBezTo>
                  <a:cubicBezTo>
                    <a:pt x="242" y="4"/>
                    <a:pt x="242" y="4"/>
                    <a:pt x="241" y="4"/>
                  </a:cubicBezTo>
                  <a:cubicBezTo>
                    <a:pt x="228" y="4"/>
                    <a:pt x="228" y="4"/>
                    <a:pt x="228" y="4"/>
                  </a:cubicBezTo>
                  <a:cubicBezTo>
                    <a:pt x="228" y="4"/>
                    <a:pt x="227" y="4"/>
                    <a:pt x="227" y="4"/>
                  </a:cubicBezTo>
                  <a:cubicBezTo>
                    <a:pt x="226" y="4"/>
                    <a:pt x="226" y="4"/>
                    <a:pt x="226" y="4"/>
                  </a:cubicBezTo>
                  <a:cubicBezTo>
                    <a:pt x="225" y="4"/>
                    <a:pt x="225" y="4"/>
                    <a:pt x="224" y="4"/>
                  </a:cubicBezTo>
                  <a:cubicBezTo>
                    <a:pt x="223" y="4"/>
                    <a:pt x="223" y="4"/>
                    <a:pt x="222" y="4"/>
                  </a:cubicBezTo>
                  <a:cubicBezTo>
                    <a:pt x="219" y="10"/>
                    <a:pt x="217" y="16"/>
                    <a:pt x="215" y="22"/>
                  </a:cubicBezTo>
                  <a:cubicBezTo>
                    <a:pt x="212" y="29"/>
                    <a:pt x="212" y="29"/>
                    <a:pt x="212" y="29"/>
                  </a:cubicBezTo>
                  <a:cubicBezTo>
                    <a:pt x="209" y="22"/>
                    <a:pt x="209" y="22"/>
                    <a:pt x="209" y="22"/>
                  </a:cubicBezTo>
                  <a:cubicBezTo>
                    <a:pt x="209" y="21"/>
                    <a:pt x="208" y="19"/>
                    <a:pt x="207" y="17"/>
                  </a:cubicBezTo>
                  <a:cubicBezTo>
                    <a:pt x="207" y="17"/>
                    <a:pt x="207" y="17"/>
                    <a:pt x="207" y="17"/>
                  </a:cubicBezTo>
                  <a:cubicBezTo>
                    <a:pt x="206" y="14"/>
                    <a:pt x="205" y="11"/>
                    <a:pt x="204" y="9"/>
                  </a:cubicBezTo>
                  <a:cubicBezTo>
                    <a:pt x="203" y="9"/>
                    <a:pt x="203" y="9"/>
                    <a:pt x="201" y="8"/>
                  </a:cubicBezTo>
                  <a:cubicBezTo>
                    <a:pt x="200" y="8"/>
                    <a:pt x="199" y="7"/>
                    <a:pt x="197" y="7"/>
                  </a:cubicBezTo>
                  <a:cubicBezTo>
                    <a:pt x="196" y="7"/>
                    <a:pt x="196" y="7"/>
                    <a:pt x="196" y="7"/>
                  </a:cubicBezTo>
                  <a:cubicBezTo>
                    <a:pt x="195" y="7"/>
                    <a:pt x="194" y="6"/>
                    <a:pt x="193" y="6"/>
                  </a:cubicBezTo>
                  <a:cubicBezTo>
                    <a:pt x="192" y="6"/>
                    <a:pt x="192" y="6"/>
                    <a:pt x="192" y="6"/>
                  </a:cubicBezTo>
                  <a:cubicBezTo>
                    <a:pt x="190" y="6"/>
                    <a:pt x="189" y="6"/>
                    <a:pt x="187" y="6"/>
                  </a:cubicBezTo>
                  <a:cubicBezTo>
                    <a:pt x="186" y="6"/>
                    <a:pt x="184" y="6"/>
                    <a:pt x="182" y="6"/>
                  </a:cubicBezTo>
                  <a:cubicBezTo>
                    <a:pt x="182" y="6"/>
                    <a:pt x="181" y="6"/>
                    <a:pt x="181" y="6"/>
                  </a:cubicBezTo>
                  <a:cubicBezTo>
                    <a:pt x="177" y="6"/>
                    <a:pt x="175" y="4"/>
                    <a:pt x="172" y="2"/>
                  </a:cubicBezTo>
                  <a:cubicBezTo>
                    <a:pt x="172" y="2"/>
                    <a:pt x="172" y="2"/>
                    <a:pt x="172" y="2"/>
                  </a:cubicBezTo>
                  <a:cubicBezTo>
                    <a:pt x="171" y="1"/>
                    <a:pt x="170" y="0"/>
                    <a:pt x="1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248"/>
            <p:cNvSpPr/>
            <p:nvPr/>
          </p:nvSpPr>
          <p:spPr bwMode="auto">
            <a:xfrm flipH="1">
              <a:off x="8282456" y="5238122"/>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249"/>
            <p:cNvSpPr/>
            <p:nvPr/>
          </p:nvSpPr>
          <p:spPr bwMode="auto">
            <a:xfrm flipH="1">
              <a:off x="8282456" y="5238122"/>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250"/>
            <p:cNvSpPr/>
            <p:nvPr/>
          </p:nvSpPr>
          <p:spPr bwMode="auto">
            <a:xfrm>
              <a:off x="8505594" y="6520467"/>
              <a:ext cx="264094" cy="244323"/>
            </a:xfrm>
            <a:custGeom>
              <a:gdLst>
                <a:gd name="T0" fmla="*/ 0 w 79"/>
                <a:gd name="T1" fmla="*/ 0 h 73"/>
                <a:gd name="T2" fmla="*/ 0 w 79"/>
                <a:gd name="T3" fmla="*/ 67 h 73"/>
                <a:gd name="T4" fmla="*/ 28 w 79"/>
                <a:gd name="T5" fmla="*/ 68 h 73"/>
                <a:gd name="T6" fmla="*/ 25 w 79"/>
                <a:gd name="T7" fmla="*/ 67 h 73"/>
                <a:gd name="T8" fmla="*/ 25 w 79"/>
                <a:gd name="T9" fmla="*/ 67 h 73"/>
                <a:gd name="T10" fmla="*/ 44 w 79"/>
                <a:gd name="T11" fmla="*/ 72 h 73"/>
                <a:gd name="T12" fmla="*/ 48 w 79"/>
                <a:gd name="T13" fmla="*/ 73 h 73"/>
                <a:gd name="T14" fmla="*/ 50 w 79"/>
                <a:gd name="T15" fmla="*/ 72 h 73"/>
                <a:gd name="T16" fmla="*/ 74 w 79"/>
                <a:gd name="T17" fmla="*/ 69 h 73"/>
                <a:gd name="T18" fmla="*/ 79 w 79"/>
                <a:gd name="T19" fmla="*/ 60 h 73"/>
                <a:gd name="T20" fmla="*/ 75 w 79"/>
                <a:gd name="T21" fmla="*/ 60 h 73"/>
                <a:gd name="T22" fmla="*/ 67 w 79"/>
                <a:gd name="T23" fmla="*/ 60 h 73"/>
                <a:gd name="T24" fmla="*/ 67 w 79"/>
                <a:gd name="T25" fmla="*/ 60 h 73"/>
                <a:gd name="T26" fmla="*/ 45 w 79"/>
                <a:gd name="T27" fmla="*/ 51 h 73"/>
                <a:gd name="T28" fmla="*/ 25 w 79"/>
                <a:gd name="T29" fmla="*/ 38 h 73"/>
                <a:gd name="T30" fmla="*/ 14 w 79"/>
                <a:gd name="T31" fmla="*/ 28 h 73"/>
                <a:gd name="T32" fmla="*/ 8 w 79"/>
                <a:gd name="T33" fmla="*/ 19 h 73"/>
                <a:gd name="T34" fmla="*/ 2 w 79"/>
                <a:gd name="T35" fmla="*/ 16 h 73"/>
                <a:gd name="T36" fmla="*/ 0 w 79"/>
                <a:gd name="T37" fmla="*/ 14 h 73"/>
                <a:gd name="T38" fmla="*/ 0 w 79"/>
                <a:gd name="T39" fmla="*/ 14 h 73"/>
                <a:gd name="T40" fmla="*/ 0 w 79"/>
                <a:gd name="T41" fmla="*/ 13 h 73"/>
                <a:gd name="T42" fmla="*/ 5 w 79"/>
                <a:gd name="T43" fmla="*/ 7 h 73"/>
                <a:gd name="T44" fmla="*/ 0 w 79"/>
                <a:gd name="T45" fmla="*/ 0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 h="73">
                  <a:moveTo>
                    <a:pt x="0" y="0"/>
                  </a:moveTo>
                  <a:cubicBezTo>
                    <a:pt x="0" y="28"/>
                    <a:pt x="0" y="60"/>
                    <a:pt x="0" y="67"/>
                  </a:cubicBezTo>
                  <a:cubicBezTo>
                    <a:pt x="10" y="68"/>
                    <a:pt x="19" y="68"/>
                    <a:pt x="28" y="68"/>
                  </a:cubicBezTo>
                  <a:cubicBezTo>
                    <a:pt x="27" y="68"/>
                    <a:pt x="26" y="68"/>
                    <a:pt x="25" y="67"/>
                  </a:cubicBezTo>
                  <a:cubicBezTo>
                    <a:pt x="25" y="67"/>
                    <a:pt x="25" y="67"/>
                    <a:pt x="25" y="67"/>
                  </a:cubicBezTo>
                  <a:cubicBezTo>
                    <a:pt x="31" y="68"/>
                    <a:pt x="38" y="70"/>
                    <a:pt x="44" y="72"/>
                  </a:cubicBezTo>
                  <a:cubicBezTo>
                    <a:pt x="45" y="72"/>
                    <a:pt x="46" y="73"/>
                    <a:pt x="48" y="73"/>
                  </a:cubicBezTo>
                  <a:cubicBezTo>
                    <a:pt x="49" y="73"/>
                    <a:pt x="49" y="72"/>
                    <a:pt x="50" y="72"/>
                  </a:cubicBezTo>
                  <a:cubicBezTo>
                    <a:pt x="58" y="71"/>
                    <a:pt x="66" y="70"/>
                    <a:pt x="74" y="69"/>
                  </a:cubicBezTo>
                  <a:cubicBezTo>
                    <a:pt x="76" y="68"/>
                    <a:pt x="76" y="61"/>
                    <a:pt x="79" y="60"/>
                  </a:cubicBezTo>
                  <a:cubicBezTo>
                    <a:pt x="77" y="60"/>
                    <a:pt x="76" y="60"/>
                    <a:pt x="75" y="60"/>
                  </a:cubicBezTo>
                  <a:cubicBezTo>
                    <a:pt x="72" y="60"/>
                    <a:pt x="70" y="60"/>
                    <a:pt x="67" y="60"/>
                  </a:cubicBezTo>
                  <a:cubicBezTo>
                    <a:pt x="67" y="60"/>
                    <a:pt x="67" y="60"/>
                    <a:pt x="67" y="60"/>
                  </a:cubicBezTo>
                  <a:cubicBezTo>
                    <a:pt x="59" y="60"/>
                    <a:pt x="51" y="55"/>
                    <a:pt x="45" y="51"/>
                  </a:cubicBezTo>
                  <a:cubicBezTo>
                    <a:pt x="38" y="47"/>
                    <a:pt x="32" y="42"/>
                    <a:pt x="25" y="38"/>
                  </a:cubicBezTo>
                  <a:cubicBezTo>
                    <a:pt x="21" y="36"/>
                    <a:pt x="18" y="31"/>
                    <a:pt x="14" y="28"/>
                  </a:cubicBezTo>
                  <a:cubicBezTo>
                    <a:pt x="12" y="25"/>
                    <a:pt x="10" y="22"/>
                    <a:pt x="8" y="19"/>
                  </a:cubicBezTo>
                  <a:cubicBezTo>
                    <a:pt x="6" y="16"/>
                    <a:pt x="5" y="18"/>
                    <a:pt x="2" y="16"/>
                  </a:cubicBezTo>
                  <a:cubicBezTo>
                    <a:pt x="1" y="16"/>
                    <a:pt x="0" y="15"/>
                    <a:pt x="0" y="14"/>
                  </a:cubicBezTo>
                  <a:cubicBezTo>
                    <a:pt x="0" y="14"/>
                    <a:pt x="0" y="14"/>
                    <a:pt x="0" y="14"/>
                  </a:cubicBezTo>
                  <a:cubicBezTo>
                    <a:pt x="0" y="13"/>
                    <a:pt x="0" y="13"/>
                    <a:pt x="0" y="13"/>
                  </a:cubicBezTo>
                  <a:cubicBezTo>
                    <a:pt x="1" y="10"/>
                    <a:pt x="3" y="8"/>
                    <a:pt x="5" y="7"/>
                  </a:cubicBezTo>
                  <a:cubicBezTo>
                    <a:pt x="3" y="5"/>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251"/>
            <p:cNvSpPr/>
            <p:nvPr/>
          </p:nvSpPr>
          <p:spPr bwMode="auto">
            <a:xfrm>
              <a:off x="7538189" y="1902332"/>
              <a:ext cx="440628" cy="477348"/>
            </a:xfrm>
            <a:custGeom>
              <a:gdLst>
                <a:gd name="T0" fmla="*/ 47 w 132"/>
                <a:gd name="T1" fmla="*/ 3 h 143"/>
                <a:gd name="T2" fmla="*/ 29 w 132"/>
                <a:gd name="T3" fmla="*/ 9 h 143"/>
                <a:gd name="T4" fmla="*/ 23 w 132"/>
                <a:gd name="T5" fmla="*/ 19 h 143"/>
                <a:gd name="T6" fmla="*/ 13 w 132"/>
                <a:gd name="T7" fmla="*/ 40 h 143"/>
                <a:gd name="T8" fmla="*/ 9 w 132"/>
                <a:gd name="T9" fmla="*/ 51 h 143"/>
                <a:gd name="T10" fmla="*/ 2 w 132"/>
                <a:gd name="T11" fmla="*/ 81 h 143"/>
                <a:gd name="T12" fmla="*/ 15 w 132"/>
                <a:gd name="T13" fmla="*/ 92 h 143"/>
                <a:gd name="T14" fmla="*/ 17 w 132"/>
                <a:gd name="T15" fmla="*/ 91 h 143"/>
                <a:gd name="T16" fmla="*/ 18 w 132"/>
                <a:gd name="T17" fmla="*/ 91 h 143"/>
                <a:gd name="T18" fmla="*/ 23 w 132"/>
                <a:gd name="T19" fmla="*/ 90 h 143"/>
                <a:gd name="T20" fmla="*/ 30 w 132"/>
                <a:gd name="T21" fmla="*/ 88 h 143"/>
                <a:gd name="T22" fmla="*/ 19 w 132"/>
                <a:gd name="T23" fmla="*/ 108 h 143"/>
                <a:gd name="T24" fmla="*/ 21 w 132"/>
                <a:gd name="T25" fmla="*/ 116 h 143"/>
                <a:gd name="T26" fmla="*/ 22 w 132"/>
                <a:gd name="T27" fmla="*/ 121 h 143"/>
                <a:gd name="T28" fmla="*/ 18 w 132"/>
                <a:gd name="T29" fmla="*/ 124 h 143"/>
                <a:gd name="T30" fmla="*/ 15 w 132"/>
                <a:gd name="T31" fmla="*/ 126 h 143"/>
                <a:gd name="T32" fmla="*/ 17 w 132"/>
                <a:gd name="T33" fmla="*/ 129 h 143"/>
                <a:gd name="T34" fmla="*/ 23 w 132"/>
                <a:gd name="T35" fmla="*/ 127 h 143"/>
                <a:gd name="T36" fmla="*/ 32 w 132"/>
                <a:gd name="T37" fmla="*/ 130 h 143"/>
                <a:gd name="T38" fmla="*/ 34 w 132"/>
                <a:gd name="T39" fmla="*/ 131 h 143"/>
                <a:gd name="T40" fmla="*/ 39 w 132"/>
                <a:gd name="T41" fmla="*/ 140 h 143"/>
                <a:gd name="T42" fmla="*/ 44 w 132"/>
                <a:gd name="T43" fmla="*/ 143 h 143"/>
                <a:gd name="T44" fmla="*/ 45 w 132"/>
                <a:gd name="T45" fmla="*/ 143 h 143"/>
                <a:gd name="T46" fmla="*/ 51 w 132"/>
                <a:gd name="T47" fmla="*/ 135 h 143"/>
                <a:gd name="T48" fmla="*/ 63 w 132"/>
                <a:gd name="T49" fmla="*/ 109 h 143"/>
                <a:gd name="T50" fmla="*/ 65 w 132"/>
                <a:gd name="T51" fmla="*/ 105 h 143"/>
                <a:gd name="T52" fmla="*/ 69 w 132"/>
                <a:gd name="T53" fmla="*/ 100 h 143"/>
                <a:gd name="T54" fmla="*/ 101 w 132"/>
                <a:gd name="T55" fmla="*/ 86 h 143"/>
                <a:gd name="T56" fmla="*/ 123 w 132"/>
                <a:gd name="T57" fmla="*/ 66 h 143"/>
                <a:gd name="T58" fmla="*/ 127 w 132"/>
                <a:gd name="T59" fmla="*/ 60 h 143"/>
                <a:gd name="T60" fmla="*/ 129 w 132"/>
                <a:gd name="T61" fmla="*/ 56 h 143"/>
                <a:gd name="T62" fmla="*/ 132 w 132"/>
                <a:gd name="T63" fmla="*/ 49 h 143"/>
                <a:gd name="T64" fmla="*/ 128 w 132"/>
                <a:gd name="T65" fmla="*/ 41 h 143"/>
                <a:gd name="T66" fmla="*/ 127 w 132"/>
                <a:gd name="T67" fmla="*/ 38 h 143"/>
                <a:gd name="T68" fmla="*/ 125 w 132"/>
                <a:gd name="T69" fmla="*/ 37 h 143"/>
                <a:gd name="T70" fmla="*/ 122 w 132"/>
                <a:gd name="T71" fmla="*/ 34 h 143"/>
                <a:gd name="T72" fmla="*/ 124 w 132"/>
                <a:gd name="T73" fmla="*/ 31 h 143"/>
                <a:gd name="T74" fmla="*/ 114 w 132"/>
                <a:gd name="T75" fmla="*/ 25 h 143"/>
                <a:gd name="T76" fmla="*/ 109 w 132"/>
                <a:gd name="T77" fmla="*/ 25 h 143"/>
                <a:gd name="T78" fmla="*/ 94 w 132"/>
                <a:gd name="T79" fmla="*/ 25 h 143"/>
                <a:gd name="T80" fmla="*/ 87 w 132"/>
                <a:gd name="T81" fmla="*/ 25 h 143"/>
                <a:gd name="T82" fmla="*/ 81 w 132"/>
                <a:gd name="T83" fmla="*/ 22 h 143"/>
                <a:gd name="T84" fmla="*/ 79 w 132"/>
                <a:gd name="T85" fmla="*/ 16 h 143"/>
                <a:gd name="T86" fmla="*/ 50 w 132"/>
                <a:gd name="T87" fmla="*/ 0 h 1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2" h="143">
                  <a:moveTo>
                    <a:pt x="50" y="0"/>
                  </a:moveTo>
                  <a:cubicBezTo>
                    <a:pt x="49" y="1"/>
                    <a:pt x="48" y="3"/>
                    <a:pt x="47" y="4"/>
                  </a:cubicBezTo>
                  <a:cubicBezTo>
                    <a:pt x="47" y="4"/>
                    <a:pt x="47" y="3"/>
                    <a:pt x="47" y="3"/>
                  </a:cubicBezTo>
                  <a:cubicBezTo>
                    <a:pt x="45" y="4"/>
                    <a:pt x="43" y="5"/>
                    <a:pt x="40" y="5"/>
                  </a:cubicBezTo>
                  <a:cubicBezTo>
                    <a:pt x="37" y="6"/>
                    <a:pt x="31" y="6"/>
                    <a:pt x="33" y="10"/>
                  </a:cubicBezTo>
                  <a:cubicBezTo>
                    <a:pt x="32" y="10"/>
                    <a:pt x="31" y="9"/>
                    <a:pt x="29" y="9"/>
                  </a:cubicBezTo>
                  <a:cubicBezTo>
                    <a:pt x="26" y="9"/>
                    <a:pt x="21" y="11"/>
                    <a:pt x="21" y="14"/>
                  </a:cubicBezTo>
                  <a:cubicBezTo>
                    <a:pt x="22" y="15"/>
                    <a:pt x="23" y="15"/>
                    <a:pt x="23" y="16"/>
                  </a:cubicBezTo>
                  <a:cubicBezTo>
                    <a:pt x="23" y="17"/>
                    <a:pt x="23" y="18"/>
                    <a:pt x="23" y="19"/>
                  </a:cubicBezTo>
                  <a:cubicBezTo>
                    <a:pt x="23" y="20"/>
                    <a:pt x="24" y="22"/>
                    <a:pt x="24" y="22"/>
                  </a:cubicBezTo>
                  <a:cubicBezTo>
                    <a:pt x="23" y="25"/>
                    <a:pt x="23" y="29"/>
                    <a:pt x="21" y="31"/>
                  </a:cubicBezTo>
                  <a:cubicBezTo>
                    <a:pt x="18" y="33"/>
                    <a:pt x="12" y="37"/>
                    <a:pt x="13" y="40"/>
                  </a:cubicBezTo>
                  <a:cubicBezTo>
                    <a:pt x="13" y="42"/>
                    <a:pt x="15" y="45"/>
                    <a:pt x="17" y="45"/>
                  </a:cubicBezTo>
                  <a:cubicBezTo>
                    <a:pt x="15" y="45"/>
                    <a:pt x="14" y="47"/>
                    <a:pt x="13" y="48"/>
                  </a:cubicBezTo>
                  <a:cubicBezTo>
                    <a:pt x="11" y="51"/>
                    <a:pt x="10" y="51"/>
                    <a:pt x="9" y="51"/>
                  </a:cubicBezTo>
                  <a:cubicBezTo>
                    <a:pt x="5" y="53"/>
                    <a:pt x="2" y="53"/>
                    <a:pt x="3" y="57"/>
                  </a:cubicBezTo>
                  <a:cubicBezTo>
                    <a:pt x="5" y="60"/>
                    <a:pt x="6" y="60"/>
                    <a:pt x="5" y="65"/>
                  </a:cubicBezTo>
                  <a:cubicBezTo>
                    <a:pt x="5" y="69"/>
                    <a:pt x="9" y="81"/>
                    <a:pt x="2" y="81"/>
                  </a:cubicBezTo>
                  <a:cubicBezTo>
                    <a:pt x="2" y="81"/>
                    <a:pt x="1" y="81"/>
                    <a:pt x="0" y="81"/>
                  </a:cubicBezTo>
                  <a:cubicBezTo>
                    <a:pt x="2" y="84"/>
                    <a:pt x="4" y="84"/>
                    <a:pt x="6" y="85"/>
                  </a:cubicBezTo>
                  <a:cubicBezTo>
                    <a:pt x="10" y="87"/>
                    <a:pt x="12" y="90"/>
                    <a:pt x="15" y="92"/>
                  </a:cubicBezTo>
                  <a:cubicBezTo>
                    <a:pt x="16" y="93"/>
                    <a:pt x="17" y="93"/>
                    <a:pt x="17" y="93"/>
                  </a:cubicBezTo>
                  <a:cubicBezTo>
                    <a:pt x="17" y="93"/>
                    <a:pt x="18" y="93"/>
                    <a:pt x="18" y="93"/>
                  </a:cubicBezTo>
                  <a:cubicBezTo>
                    <a:pt x="18" y="93"/>
                    <a:pt x="17" y="91"/>
                    <a:pt x="17" y="91"/>
                  </a:cubicBezTo>
                  <a:cubicBezTo>
                    <a:pt x="17" y="91"/>
                    <a:pt x="17" y="91"/>
                    <a:pt x="18" y="91"/>
                  </a:cubicBezTo>
                  <a:cubicBezTo>
                    <a:pt x="18" y="91"/>
                    <a:pt x="18" y="91"/>
                    <a:pt x="18" y="91"/>
                  </a:cubicBezTo>
                  <a:cubicBezTo>
                    <a:pt x="18" y="91"/>
                    <a:pt x="18" y="91"/>
                    <a:pt x="18" y="91"/>
                  </a:cubicBezTo>
                  <a:cubicBezTo>
                    <a:pt x="19" y="91"/>
                    <a:pt x="19" y="91"/>
                    <a:pt x="19" y="91"/>
                  </a:cubicBezTo>
                  <a:cubicBezTo>
                    <a:pt x="21" y="89"/>
                    <a:pt x="22" y="87"/>
                    <a:pt x="24" y="85"/>
                  </a:cubicBezTo>
                  <a:cubicBezTo>
                    <a:pt x="25" y="88"/>
                    <a:pt x="25" y="88"/>
                    <a:pt x="23" y="90"/>
                  </a:cubicBezTo>
                  <a:cubicBezTo>
                    <a:pt x="23" y="91"/>
                    <a:pt x="24" y="91"/>
                    <a:pt x="24" y="91"/>
                  </a:cubicBezTo>
                  <a:cubicBezTo>
                    <a:pt x="27" y="91"/>
                    <a:pt x="27" y="85"/>
                    <a:pt x="27" y="83"/>
                  </a:cubicBezTo>
                  <a:cubicBezTo>
                    <a:pt x="28" y="85"/>
                    <a:pt x="29" y="86"/>
                    <a:pt x="30" y="88"/>
                  </a:cubicBezTo>
                  <a:cubicBezTo>
                    <a:pt x="30" y="90"/>
                    <a:pt x="30" y="90"/>
                    <a:pt x="29" y="92"/>
                  </a:cubicBezTo>
                  <a:cubicBezTo>
                    <a:pt x="28" y="95"/>
                    <a:pt x="27" y="99"/>
                    <a:pt x="25" y="103"/>
                  </a:cubicBezTo>
                  <a:cubicBezTo>
                    <a:pt x="24" y="106"/>
                    <a:pt x="22" y="107"/>
                    <a:pt x="19" y="108"/>
                  </a:cubicBezTo>
                  <a:cubicBezTo>
                    <a:pt x="19" y="108"/>
                    <a:pt x="19" y="108"/>
                    <a:pt x="19" y="108"/>
                  </a:cubicBezTo>
                  <a:cubicBezTo>
                    <a:pt x="19" y="109"/>
                    <a:pt x="19" y="109"/>
                    <a:pt x="19" y="109"/>
                  </a:cubicBezTo>
                  <a:cubicBezTo>
                    <a:pt x="19" y="110"/>
                    <a:pt x="20" y="112"/>
                    <a:pt x="21" y="116"/>
                  </a:cubicBezTo>
                  <a:cubicBezTo>
                    <a:pt x="22" y="116"/>
                    <a:pt x="22" y="116"/>
                    <a:pt x="22" y="116"/>
                  </a:cubicBezTo>
                  <a:cubicBezTo>
                    <a:pt x="22" y="117"/>
                    <a:pt x="22" y="117"/>
                    <a:pt x="22" y="117"/>
                  </a:cubicBezTo>
                  <a:cubicBezTo>
                    <a:pt x="23" y="119"/>
                    <a:pt x="23" y="120"/>
                    <a:pt x="22" y="121"/>
                  </a:cubicBezTo>
                  <a:cubicBezTo>
                    <a:pt x="22" y="122"/>
                    <a:pt x="22" y="123"/>
                    <a:pt x="21" y="123"/>
                  </a:cubicBezTo>
                  <a:cubicBezTo>
                    <a:pt x="21" y="123"/>
                    <a:pt x="21" y="123"/>
                    <a:pt x="21" y="123"/>
                  </a:cubicBezTo>
                  <a:cubicBezTo>
                    <a:pt x="20" y="124"/>
                    <a:pt x="19" y="124"/>
                    <a:pt x="18" y="124"/>
                  </a:cubicBezTo>
                  <a:cubicBezTo>
                    <a:pt x="18" y="124"/>
                    <a:pt x="18" y="124"/>
                    <a:pt x="18" y="124"/>
                  </a:cubicBezTo>
                  <a:cubicBezTo>
                    <a:pt x="17" y="125"/>
                    <a:pt x="16" y="125"/>
                    <a:pt x="16" y="125"/>
                  </a:cubicBezTo>
                  <a:cubicBezTo>
                    <a:pt x="15" y="126"/>
                    <a:pt x="15" y="126"/>
                    <a:pt x="15" y="126"/>
                  </a:cubicBezTo>
                  <a:cubicBezTo>
                    <a:pt x="15" y="126"/>
                    <a:pt x="16" y="127"/>
                    <a:pt x="16" y="127"/>
                  </a:cubicBezTo>
                  <a:cubicBezTo>
                    <a:pt x="16" y="128"/>
                    <a:pt x="16" y="129"/>
                    <a:pt x="16" y="129"/>
                  </a:cubicBezTo>
                  <a:cubicBezTo>
                    <a:pt x="17" y="129"/>
                    <a:pt x="17" y="129"/>
                    <a:pt x="17" y="129"/>
                  </a:cubicBezTo>
                  <a:cubicBezTo>
                    <a:pt x="18" y="128"/>
                    <a:pt x="18" y="128"/>
                    <a:pt x="18" y="127"/>
                  </a:cubicBezTo>
                  <a:cubicBezTo>
                    <a:pt x="20" y="127"/>
                    <a:pt x="20" y="127"/>
                    <a:pt x="21" y="127"/>
                  </a:cubicBezTo>
                  <a:cubicBezTo>
                    <a:pt x="22" y="127"/>
                    <a:pt x="23" y="127"/>
                    <a:pt x="23" y="127"/>
                  </a:cubicBezTo>
                  <a:cubicBezTo>
                    <a:pt x="24" y="128"/>
                    <a:pt x="25" y="128"/>
                    <a:pt x="26" y="129"/>
                  </a:cubicBezTo>
                  <a:cubicBezTo>
                    <a:pt x="28" y="130"/>
                    <a:pt x="29" y="130"/>
                    <a:pt x="30" y="131"/>
                  </a:cubicBezTo>
                  <a:cubicBezTo>
                    <a:pt x="31" y="130"/>
                    <a:pt x="31" y="130"/>
                    <a:pt x="32" y="130"/>
                  </a:cubicBezTo>
                  <a:cubicBezTo>
                    <a:pt x="32" y="130"/>
                    <a:pt x="32" y="130"/>
                    <a:pt x="32" y="130"/>
                  </a:cubicBezTo>
                  <a:cubicBezTo>
                    <a:pt x="33" y="131"/>
                    <a:pt x="33" y="131"/>
                    <a:pt x="33" y="131"/>
                  </a:cubicBezTo>
                  <a:cubicBezTo>
                    <a:pt x="34" y="131"/>
                    <a:pt x="34" y="131"/>
                    <a:pt x="34" y="131"/>
                  </a:cubicBezTo>
                  <a:cubicBezTo>
                    <a:pt x="36" y="133"/>
                    <a:pt x="37" y="135"/>
                    <a:pt x="38" y="137"/>
                  </a:cubicBezTo>
                  <a:cubicBezTo>
                    <a:pt x="38" y="138"/>
                    <a:pt x="38" y="139"/>
                    <a:pt x="39" y="139"/>
                  </a:cubicBezTo>
                  <a:cubicBezTo>
                    <a:pt x="39" y="140"/>
                    <a:pt x="39" y="140"/>
                    <a:pt x="39" y="140"/>
                  </a:cubicBezTo>
                  <a:cubicBezTo>
                    <a:pt x="40" y="140"/>
                    <a:pt x="40" y="140"/>
                    <a:pt x="40" y="140"/>
                  </a:cubicBezTo>
                  <a:cubicBezTo>
                    <a:pt x="41" y="142"/>
                    <a:pt x="42" y="143"/>
                    <a:pt x="43" y="143"/>
                  </a:cubicBezTo>
                  <a:cubicBezTo>
                    <a:pt x="44" y="143"/>
                    <a:pt x="44" y="143"/>
                    <a:pt x="44" y="143"/>
                  </a:cubicBezTo>
                  <a:cubicBezTo>
                    <a:pt x="45" y="143"/>
                    <a:pt x="45" y="143"/>
                    <a:pt x="45" y="143"/>
                  </a:cubicBezTo>
                  <a:cubicBezTo>
                    <a:pt x="45" y="143"/>
                    <a:pt x="45" y="143"/>
                    <a:pt x="45" y="143"/>
                  </a:cubicBezTo>
                  <a:cubicBezTo>
                    <a:pt x="45" y="143"/>
                    <a:pt x="45" y="143"/>
                    <a:pt x="45" y="143"/>
                  </a:cubicBezTo>
                  <a:cubicBezTo>
                    <a:pt x="46" y="142"/>
                    <a:pt x="46" y="141"/>
                    <a:pt x="47" y="141"/>
                  </a:cubicBezTo>
                  <a:cubicBezTo>
                    <a:pt x="47" y="140"/>
                    <a:pt x="47" y="140"/>
                    <a:pt x="47" y="140"/>
                  </a:cubicBezTo>
                  <a:cubicBezTo>
                    <a:pt x="49" y="138"/>
                    <a:pt x="51" y="137"/>
                    <a:pt x="51" y="135"/>
                  </a:cubicBezTo>
                  <a:cubicBezTo>
                    <a:pt x="54" y="130"/>
                    <a:pt x="57" y="123"/>
                    <a:pt x="58" y="117"/>
                  </a:cubicBezTo>
                  <a:cubicBezTo>
                    <a:pt x="58" y="116"/>
                    <a:pt x="58" y="116"/>
                    <a:pt x="58" y="116"/>
                  </a:cubicBezTo>
                  <a:cubicBezTo>
                    <a:pt x="59" y="112"/>
                    <a:pt x="59" y="110"/>
                    <a:pt x="63" y="109"/>
                  </a:cubicBezTo>
                  <a:cubicBezTo>
                    <a:pt x="63" y="109"/>
                    <a:pt x="64" y="109"/>
                    <a:pt x="64" y="109"/>
                  </a:cubicBezTo>
                  <a:cubicBezTo>
                    <a:pt x="64" y="109"/>
                    <a:pt x="64" y="109"/>
                    <a:pt x="64" y="109"/>
                  </a:cubicBezTo>
                  <a:cubicBezTo>
                    <a:pt x="64" y="108"/>
                    <a:pt x="64" y="106"/>
                    <a:pt x="65" y="105"/>
                  </a:cubicBezTo>
                  <a:cubicBezTo>
                    <a:pt x="66" y="104"/>
                    <a:pt x="66" y="104"/>
                    <a:pt x="67" y="103"/>
                  </a:cubicBezTo>
                  <a:cubicBezTo>
                    <a:pt x="68" y="102"/>
                    <a:pt x="68" y="102"/>
                    <a:pt x="68" y="102"/>
                  </a:cubicBezTo>
                  <a:cubicBezTo>
                    <a:pt x="68" y="101"/>
                    <a:pt x="68" y="101"/>
                    <a:pt x="69" y="100"/>
                  </a:cubicBezTo>
                  <a:cubicBezTo>
                    <a:pt x="73" y="97"/>
                    <a:pt x="77" y="95"/>
                    <a:pt x="81" y="94"/>
                  </a:cubicBezTo>
                  <a:cubicBezTo>
                    <a:pt x="83" y="93"/>
                    <a:pt x="85" y="93"/>
                    <a:pt x="87" y="92"/>
                  </a:cubicBezTo>
                  <a:cubicBezTo>
                    <a:pt x="93" y="90"/>
                    <a:pt x="98" y="89"/>
                    <a:pt x="101" y="86"/>
                  </a:cubicBezTo>
                  <a:cubicBezTo>
                    <a:pt x="105" y="83"/>
                    <a:pt x="109" y="80"/>
                    <a:pt x="113" y="76"/>
                  </a:cubicBezTo>
                  <a:cubicBezTo>
                    <a:pt x="114" y="75"/>
                    <a:pt x="116" y="73"/>
                    <a:pt x="117" y="72"/>
                  </a:cubicBezTo>
                  <a:cubicBezTo>
                    <a:pt x="119" y="70"/>
                    <a:pt x="121" y="68"/>
                    <a:pt x="123" y="66"/>
                  </a:cubicBezTo>
                  <a:cubicBezTo>
                    <a:pt x="123" y="66"/>
                    <a:pt x="123" y="66"/>
                    <a:pt x="123" y="65"/>
                  </a:cubicBezTo>
                  <a:cubicBezTo>
                    <a:pt x="124" y="65"/>
                    <a:pt x="124" y="65"/>
                    <a:pt x="124" y="65"/>
                  </a:cubicBezTo>
                  <a:cubicBezTo>
                    <a:pt x="125" y="63"/>
                    <a:pt x="126" y="62"/>
                    <a:pt x="127" y="60"/>
                  </a:cubicBezTo>
                  <a:cubicBezTo>
                    <a:pt x="127" y="59"/>
                    <a:pt x="127" y="59"/>
                    <a:pt x="127" y="59"/>
                  </a:cubicBezTo>
                  <a:cubicBezTo>
                    <a:pt x="127" y="59"/>
                    <a:pt x="128" y="58"/>
                    <a:pt x="128" y="58"/>
                  </a:cubicBezTo>
                  <a:cubicBezTo>
                    <a:pt x="129" y="56"/>
                    <a:pt x="129" y="56"/>
                    <a:pt x="129" y="56"/>
                  </a:cubicBezTo>
                  <a:cubicBezTo>
                    <a:pt x="129" y="56"/>
                    <a:pt x="129" y="55"/>
                    <a:pt x="130" y="54"/>
                  </a:cubicBezTo>
                  <a:cubicBezTo>
                    <a:pt x="130" y="54"/>
                    <a:pt x="132" y="52"/>
                    <a:pt x="132" y="51"/>
                  </a:cubicBezTo>
                  <a:cubicBezTo>
                    <a:pt x="132" y="51"/>
                    <a:pt x="132" y="50"/>
                    <a:pt x="132" y="49"/>
                  </a:cubicBezTo>
                  <a:cubicBezTo>
                    <a:pt x="131" y="48"/>
                    <a:pt x="131" y="47"/>
                    <a:pt x="131" y="46"/>
                  </a:cubicBezTo>
                  <a:cubicBezTo>
                    <a:pt x="130" y="46"/>
                    <a:pt x="130" y="45"/>
                    <a:pt x="129" y="44"/>
                  </a:cubicBezTo>
                  <a:cubicBezTo>
                    <a:pt x="129" y="43"/>
                    <a:pt x="128" y="42"/>
                    <a:pt x="128" y="41"/>
                  </a:cubicBezTo>
                  <a:cubicBezTo>
                    <a:pt x="128" y="41"/>
                    <a:pt x="127" y="40"/>
                    <a:pt x="127" y="40"/>
                  </a:cubicBezTo>
                  <a:cubicBezTo>
                    <a:pt x="127" y="40"/>
                    <a:pt x="127" y="40"/>
                    <a:pt x="127" y="40"/>
                  </a:cubicBezTo>
                  <a:cubicBezTo>
                    <a:pt x="127" y="38"/>
                    <a:pt x="127" y="38"/>
                    <a:pt x="127" y="38"/>
                  </a:cubicBezTo>
                  <a:cubicBezTo>
                    <a:pt x="127" y="38"/>
                    <a:pt x="127" y="38"/>
                    <a:pt x="127" y="38"/>
                  </a:cubicBezTo>
                  <a:cubicBezTo>
                    <a:pt x="126" y="38"/>
                    <a:pt x="126" y="38"/>
                    <a:pt x="126" y="38"/>
                  </a:cubicBezTo>
                  <a:cubicBezTo>
                    <a:pt x="126" y="37"/>
                    <a:pt x="126" y="37"/>
                    <a:pt x="125" y="37"/>
                  </a:cubicBezTo>
                  <a:cubicBezTo>
                    <a:pt x="125" y="37"/>
                    <a:pt x="125" y="37"/>
                    <a:pt x="125" y="37"/>
                  </a:cubicBezTo>
                  <a:cubicBezTo>
                    <a:pt x="124" y="36"/>
                    <a:pt x="123" y="36"/>
                    <a:pt x="123" y="35"/>
                  </a:cubicBezTo>
                  <a:cubicBezTo>
                    <a:pt x="122" y="34"/>
                    <a:pt x="122" y="34"/>
                    <a:pt x="122" y="34"/>
                  </a:cubicBezTo>
                  <a:cubicBezTo>
                    <a:pt x="123" y="32"/>
                    <a:pt x="123" y="32"/>
                    <a:pt x="123" y="32"/>
                  </a:cubicBezTo>
                  <a:cubicBezTo>
                    <a:pt x="123" y="31"/>
                    <a:pt x="123" y="31"/>
                    <a:pt x="123" y="31"/>
                  </a:cubicBezTo>
                  <a:cubicBezTo>
                    <a:pt x="124" y="31"/>
                    <a:pt x="124" y="31"/>
                    <a:pt x="124" y="31"/>
                  </a:cubicBezTo>
                  <a:cubicBezTo>
                    <a:pt x="119" y="28"/>
                    <a:pt x="119" y="28"/>
                    <a:pt x="119" y="28"/>
                  </a:cubicBezTo>
                  <a:cubicBezTo>
                    <a:pt x="118" y="28"/>
                    <a:pt x="117" y="27"/>
                    <a:pt x="117" y="27"/>
                  </a:cubicBezTo>
                  <a:cubicBezTo>
                    <a:pt x="115" y="26"/>
                    <a:pt x="114" y="25"/>
                    <a:pt x="114" y="25"/>
                  </a:cubicBezTo>
                  <a:cubicBezTo>
                    <a:pt x="113" y="25"/>
                    <a:pt x="113" y="25"/>
                    <a:pt x="113" y="25"/>
                  </a:cubicBezTo>
                  <a:cubicBezTo>
                    <a:pt x="113" y="25"/>
                    <a:pt x="112" y="25"/>
                    <a:pt x="112" y="25"/>
                  </a:cubicBezTo>
                  <a:cubicBezTo>
                    <a:pt x="111" y="25"/>
                    <a:pt x="110" y="25"/>
                    <a:pt x="109" y="25"/>
                  </a:cubicBezTo>
                  <a:cubicBezTo>
                    <a:pt x="108" y="26"/>
                    <a:pt x="108" y="26"/>
                    <a:pt x="108" y="26"/>
                  </a:cubicBezTo>
                  <a:cubicBezTo>
                    <a:pt x="105" y="26"/>
                    <a:pt x="103" y="26"/>
                    <a:pt x="102" y="26"/>
                  </a:cubicBezTo>
                  <a:cubicBezTo>
                    <a:pt x="99" y="26"/>
                    <a:pt x="97" y="26"/>
                    <a:pt x="94" y="25"/>
                  </a:cubicBezTo>
                  <a:cubicBezTo>
                    <a:pt x="93" y="25"/>
                    <a:pt x="92" y="25"/>
                    <a:pt x="91" y="25"/>
                  </a:cubicBezTo>
                  <a:cubicBezTo>
                    <a:pt x="91" y="25"/>
                    <a:pt x="91" y="25"/>
                    <a:pt x="91" y="25"/>
                  </a:cubicBezTo>
                  <a:cubicBezTo>
                    <a:pt x="89" y="25"/>
                    <a:pt x="88" y="25"/>
                    <a:pt x="87" y="25"/>
                  </a:cubicBezTo>
                  <a:cubicBezTo>
                    <a:pt x="86" y="25"/>
                    <a:pt x="86" y="25"/>
                    <a:pt x="85" y="24"/>
                  </a:cubicBezTo>
                  <a:cubicBezTo>
                    <a:pt x="84" y="24"/>
                    <a:pt x="83" y="24"/>
                    <a:pt x="82" y="23"/>
                  </a:cubicBezTo>
                  <a:cubicBezTo>
                    <a:pt x="82" y="22"/>
                    <a:pt x="82" y="22"/>
                    <a:pt x="81" y="22"/>
                  </a:cubicBezTo>
                  <a:cubicBezTo>
                    <a:pt x="81" y="21"/>
                    <a:pt x="80" y="20"/>
                    <a:pt x="80" y="19"/>
                  </a:cubicBezTo>
                  <a:cubicBezTo>
                    <a:pt x="80" y="18"/>
                    <a:pt x="79" y="17"/>
                    <a:pt x="79" y="17"/>
                  </a:cubicBezTo>
                  <a:cubicBezTo>
                    <a:pt x="79" y="16"/>
                    <a:pt x="79" y="16"/>
                    <a:pt x="79" y="16"/>
                  </a:cubicBezTo>
                  <a:cubicBezTo>
                    <a:pt x="78" y="14"/>
                    <a:pt x="77" y="14"/>
                    <a:pt x="74" y="13"/>
                  </a:cubicBezTo>
                  <a:cubicBezTo>
                    <a:pt x="73" y="13"/>
                    <a:pt x="72" y="13"/>
                    <a:pt x="72" y="12"/>
                  </a:cubicBezTo>
                  <a:cubicBezTo>
                    <a:pt x="64" y="9"/>
                    <a:pt x="58" y="5"/>
                    <a:pt x="50" y="0"/>
                  </a:cubicBezTo>
                  <a:cubicBezTo>
                    <a:pt x="50" y="0"/>
                    <a:pt x="50" y="0"/>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252"/>
            <p:cNvSpPr>
              <a:spLocks noEditPoints="1"/>
            </p:cNvSpPr>
            <p:nvPr/>
          </p:nvSpPr>
          <p:spPr bwMode="auto">
            <a:xfrm>
              <a:off x="8152527" y="1054968"/>
              <a:ext cx="1016834" cy="878434"/>
            </a:xfrm>
            <a:custGeom>
              <a:gdLst>
                <a:gd name="T0" fmla="*/ 257 w 305"/>
                <a:gd name="T1" fmla="*/ 54 h 263"/>
                <a:gd name="T2" fmla="*/ 256 w 305"/>
                <a:gd name="T3" fmla="*/ 54 h 263"/>
                <a:gd name="T4" fmla="*/ 71 w 305"/>
                <a:gd name="T5" fmla="*/ 13 h 263"/>
                <a:gd name="T6" fmla="*/ 67 w 305"/>
                <a:gd name="T7" fmla="*/ 20 h 263"/>
                <a:gd name="T8" fmla="*/ 46 w 305"/>
                <a:gd name="T9" fmla="*/ 57 h 263"/>
                <a:gd name="T10" fmla="*/ 23 w 305"/>
                <a:gd name="T11" fmla="*/ 58 h 263"/>
                <a:gd name="T12" fmla="*/ 28 w 305"/>
                <a:gd name="T13" fmla="*/ 21 h 263"/>
                <a:gd name="T14" fmla="*/ 13 w 305"/>
                <a:gd name="T15" fmla="*/ 33 h 263"/>
                <a:gd name="T16" fmla="*/ 6 w 305"/>
                <a:gd name="T17" fmla="*/ 48 h 263"/>
                <a:gd name="T18" fmla="*/ 5 w 305"/>
                <a:gd name="T19" fmla="*/ 67 h 263"/>
                <a:gd name="T20" fmla="*/ 10 w 305"/>
                <a:gd name="T21" fmla="*/ 72 h 263"/>
                <a:gd name="T22" fmla="*/ 18 w 305"/>
                <a:gd name="T23" fmla="*/ 108 h 263"/>
                <a:gd name="T24" fmla="*/ 27 w 305"/>
                <a:gd name="T25" fmla="*/ 118 h 263"/>
                <a:gd name="T26" fmla="*/ 40 w 305"/>
                <a:gd name="T27" fmla="*/ 119 h 263"/>
                <a:gd name="T28" fmla="*/ 65 w 305"/>
                <a:gd name="T29" fmla="*/ 118 h 263"/>
                <a:gd name="T30" fmla="*/ 87 w 305"/>
                <a:gd name="T31" fmla="*/ 139 h 263"/>
                <a:gd name="T32" fmla="*/ 110 w 305"/>
                <a:gd name="T33" fmla="*/ 136 h 263"/>
                <a:gd name="T34" fmla="*/ 129 w 305"/>
                <a:gd name="T35" fmla="*/ 155 h 263"/>
                <a:gd name="T36" fmla="*/ 124 w 305"/>
                <a:gd name="T37" fmla="*/ 176 h 263"/>
                <a:gd name="T38" fmla="*/ 130 w 305"/>
                <a:gd name="T39" fmla="*/ 196 h 263"/>
                <a:gd name="T40" fmla="*/ 132 w 305"/>
                <a:gd name="T41" fmla="*/ 212 h 263"/>
                <a:gd name="T42" fmla="*/ 129 w 305"/>
                <a:gd name="T43" fmla="*/ 217 h 263"/>
                <a:gd name="T44" fmla="*/ 146 w 305"/>
                <a:gd name="T45" fmla="*/ 251 h 263"/>
                <a:gd name="T46" fmla="*/ 151 w 305"/>
                <a:gd name="T47" fmla="*/ 257 h 263"/>
                <a:gd name="T48" fmla="*/ 175 w 305"/>
                <a:gd name="T49" fmla="*/ 259 h 263"/>
                <a:gd name="T50" fmla="*/ 198 w 305"/>
                <a:gd name="T51" fmla="*/ 249 h 263"/>
                <a:gd name="T52" fmla="*/ 217 w 305"/>
                <a:gd name="T53" fmla="*/ 232 h 263"/>
                <a:gd name="T54" fmla="*/ 206 w 305"/>
                <a:gd name="T55" fmla="*/ 213 h 263"/>
                <a:gd name="T56" fmla="*/ 194 w 305"/>
                <a:gd name="T57" fmla="*/ 192 h 263"/>
                <a:gd name="T58" fmla="*/ 207 w 305"/>
                <a:gd name="T59" fmla="*/ 187 h 263"/>
                <a:gd name="T60" fmla="*/ 218 w 305"/>
                <a:gd name="T61" fmla="*/ 189 h 263"/>
                <a:gd name="T62" fmla="*/ 236 w 305"/>
                <a:gd name="T63" fmla="*/ 197 h 263"/>
                <a:gd name="T64" fmla="*/ 243 w 305"/>
                <a:gd name="T65" fmla="*/ 186 h 263"/>
                <a:gd name="T66" fmla="*/ 276 w 305"/>
                <a:gd name="T67" fmla="*/ 176 h 263"/>
                <a:gd name="T68" fmla="*/ 281 w 305"/>
                <a:gd name="T69" fmla="*/ 167 h 263"/>
                <a:gd name="T70" fmla="*/ 286 w 305"/>
                <a:gd name="T71" fmla="*/ 166 h 263"/>
                <a:gd name="T72" fmla="*/ 270 w 305"/>
                <a:gd name="T73" fmla="*/ 144 h 263"/>
                <a:gd name="T74" fmla="*/ 274 w 305"/>
                <a:gd name="T75" fmla="*/ 133 h 263"/>
                <a:gd name="T76" fmla="*/ 284 w 305"/>
                <a:gd name="T77" fmla="*/ 123 h 263"/>
                <a:gd name="T78" fmla="*/ 293 w 305"/>
                <a:gd name="T79" fmla="*/ 121 h 263"/>
                <a:gd name="T80" fmla="*/ 288 w 305"/>
                <a:gd name="T81" fmla="*/ 119 h 263"/>
                <a:gd name="T82" fmla="*/ 287 w 305"/>
                <a:gd name="T83" fmla="*/ 106 h 263"/>
                <a:gd name="T84" fmla="*/ 302 w 305"/>
                <a:gd name="T85" fmla="*/ 87 h 263"/>
                <a:gd name="T86" fmla="*/ 280 w 305"/>
                <a:gd name="T87" fmla="*/ 88 h 263"/>
                <a:gd name="T88" fmla="*/ 269 w 305"/>
                <a:gd name="T89" fmla="*/ 84 h 263"/>
                <a:gd name="T90" fmla="*/ 278 w 305"/>
                <a:gd name="T91" fmla="*/ 74 h 263"/>
                <a:gd name="T92" fmla="*/ 253 w 305"/>
                <a:gd name="T93" fmla="*/ 53 h 263"/>
                <a:gd name="T94" fmla="*/ 240 w 305"/>
                <a:gd name="T95" fmla="*/ 51 h 263"/>
                <a:gd name="T96" fmla="*/ 240 w 305"/>
                <a:gd name="T97" fmla="*/ 49 h 263"/>
                <a:gd name="T98" fmla="*/ 235 w 305"/>
                <a:gd name="T99" fmla="*/ 40 h 263"/>
                <a:gd name="T100" fmla="*/ 220 w 305"/>
                <a:gd name="T101" fmla="*/ 37 h 263"/>
                <a:gd name="T102" fmla="*/ 212 w 305"/>
                <a:gd name="T103" fmla="*/ 40 h 263"/>
                <a:gd name="T104" fmla="*/ 169 w 305"/>
                <a:gd name="T105" fmla="*/ 46 h 263"/>
                <a:gd name="T106" fmla="*/ 137 w 305"/>
                <a:gd name="T107" fmla="*/ 38 h 263"/>
                <a:gd name="T108" fmla="*/ 89 w 305"/>
                <a:gd name="T109" fmla="*/ 17 h 2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5" h="263">
                  <a:moveTo>
                    <a:pt x="205" y="36"/>
                  </a:moveTo>
                  <a:cubicBezTo>
                    <a:pt x="205" y="36"/>
                    <a:pt x="205" y="36"/>
                    <a:pt x="205" y="36"/>
                  </a:cubicBezTo>
                  <a:cubicBezTo>
                    <a:pt x="205" y="36"/>
                    <a:pt x="205" y="36"/>
                    <a:pt x="205" y="36"/>
                  </a:cubicBezTo>
                  <a:moveTo>
                    <a:pt x="256" y="54"/>
                  </a:moveTo>
                  <a:cubicBezTo>
                    <a:pt x="256" y="54"/>
                    <a:pt x="256" y="54"/>
                    <a:pt x="256" y="54"/>
                  </a:cubicBezTo>
                  <a:cubicBezTo>
                    <a:pt x="256" y="54"/>
                    <a:pt x="256" y="54"/>
                    <a:pt x="256" y="54"/>
                  </a:cubicBezTo>
                  <a:cubicBezTo>
                    <a:pt x="257" y="54"/>
                    <a:pt x="257" y="54"/>
                    <a:pt x="257" y="54"/>
                  </a:cubicBezTo>
                  <a:cubicBezTo>
                    <a:pt x="257" y="54"/>
                    <a:pt x="257" y="54"/>
                    <a:pt x="257" y="54"/>
                  </a:cubicBezTo>
                  <a:cubicBezTo>
                    <a:pt x="257" y="54"/>
                    <a:pt x="257" y="54"/>
                    <a:pt x="257"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moveTo>
                    <a:pt x="71" y="0"/>
                  </a:moveTo>
                  <a:cubicBezTo>
                    <a:pt x="69" y="0"/>
                    <a:pt x="68" y="2"/>
                    <a:pt x="66" y="4"/>
                  </a:cubicBezTo>
                  <a:cubicBezTo>
                    <a:pt x="65" y="6"/>
                    <a:pt x="65" y="7"/>
                    <a:pt x="66" y="9"/>
                  </a:cubicBezTo>
                  <a:cubicBezTo>
                    <a:pt x="67" y="11"/>
                    <a:pt x="68" y="13"/>
                    <a:pt x="69" y="13"/>
                  </a:cubicBezTo>
                  <a:cubicBezTo>
                    <a:pt x="69" y="13"/>
                    <a:pt x="69" y="13"/>
                    <a:pt x="70" y="13"/>
                  </a:cubicBezTo>
                  <a:cubicBezTo>
                    <a:pt x="70" y="13"/>
                    <a:pt x="70" y="13"/>
                    <a:pt x="71" y="13"/>
                  </a:cubicBezTo>
                  <a:cubicBezTo>
                    <a:pt x="71" y="13"/>
                    <a:pt x="71" y="13"/>
                    <a:pt x="71" y="13"/>
                  </a:cubicBezTo>
                  <a:cubicBezTo>
                    <a:pt x="73" y="13"/>
                    <a:pt x="75" y="12"/>
                    <a:pt x="76" y="12"/>
                  </a:cubicBezTo>
                  <a:cubicBezTo>
                    <a:pt x="77" y="13"/>
                    <a:pt x="77" y="15"/>
                    <a:pt x="78" y="16"/>
                  </a:cubicBezTo>
                  <a:cubicBezTo>
                    <a:pt x="77" y="16"/>
                    <a:pt x="76" y="16"/>
                    <a:pt x="75" y="16"/>
                  </a:cubicBezTo>
                  <a:cubicBezTo>
                    <a:pt x="73" y="16"/>
                    <a:pt x="71" y="16"/>
                    <a:pt x="69" y="15"/>
                  </a:cubicBezTo>
                  <a:cubicBezTo>
                    <a:pt x="70" y="15"/>
                    <a:pt x="71" y="16"/>
                    <a:pt x="71" y="17"/>
                  </a:cubicBezTo>
                  <a:cubicBezTo>
                    <a:pt x="70" y="18"/>
                    <a:pt x="68" y="19"/>
                    <a:pt x="67" y="20"/>
                  </a:cubicBezTo>
                  <a:cubicBezTo>
                    <a:pt x="62" y="20"/>
                    <a:pt x="55" y="23"/>
                    <a:pt x="50" y="24"/>
                  </a:cubicBezTo>
                  <a:cubicBezTo>
                    <a:pt x="47" y="25"/>
                    <a:pt x="45" y="27"/>
                    <a:pt x="42" y="28"/>
                  </a:cubicBezTo>
                  <a:cubicBezTo>
                    <a:pt x="42" y="28"/>
                    <a:pt x="42" y="28"/>
                    <a:pt x="41" y="28"/>
                  </a:cubicBezTo>
                  <a:cubicBezTo>
                    <a:pt x="41" y="28"/>
                    <a:pt x="41" y="28"/>
                    <a:pt x="40" y="28"/>
                  </a:cubicBezTo>
                  <a:cubicBezTo>
                    <a:pt x="40" y="28"/>
                    <a:pt x="40" y="28"/>
                    <a:pt x="40" y="28"/>
                  </a:cubicBezTo>
                  <a:cubicBezTo>
                    <a:pt x="39" y="28"/>
                    <a:pt x="39" y="28"/>
                    <a:pt x="38" y="29"/>
                  </a:cubicBezTo>
                  <a:cubicBezTo>
                    <a:pt x="32" y="32"/>
                    <a:pt x="44" y="52"/>
                    <a:pt x="46" y="57"/>
                  </a:cubicBezTo>
                  <a:cubicBezTo>
                    <a:pt x="48" y="62"/>
                    <a:pt x="48" y="67"/>
                    <a:pt x="43" y="71"/>
                  </a:cubicBezTo>
                  <a:cubicBezTo>
                    <a:pt x="42" y="72"/>
                    <a:pt x="39" y="73"/>
                    <a:pt x="37" y="74"/>
                  </a:cubicBezTo>
                  <a:cubicBezTo>
                    <a:pt x="36" y="74"/>
                    <a:pt x="35" y="74"/>
                    <a:pt x="35" y="74"/>
                  </a:cubicBezTo>
                  <a:cubicBezTo>
                    <a:pt x="34" y="74"/>
                    <a:pt x="34" y="74"/>
                    <a:pt x="33" y="74"/>
                  </a:cubicBezTo>
                  <a:cubicBezTo>
                    <a:pt x="32" y="73"/>
                    <a:pt x="32" y="70"/>
                    <a:pt x="32" y="68"/>
                  </a:cubicBezTo>
                  <a:cubicBezTo>
                    <a:pt x="32" y="66"/>
                    <a:pt x="31" y="66"/>
                    <a:pt x="28" y="64"/>
                  </a:cubicBezTo>
                  <a:cubicBezTo>
                    <a:pt x="27" y="64"/>
                    <a:pt x="24" y="60"/>
                    <a:pt x="23" y="58"/>
                  </a:cubicBezTo>
                  <a:cubicBezTo>
                    <a:pt x="22" y="55"/>
                    <a:pt x="24" y="53"/>
                    <a:pt x="26" y="50"/>
                  </a:cubicBezTo>
                  <a:cubicBezTo>
                    <a:pt x="28" y="47"/>
                    <a:pt x="30" y="45"/>
                    <a:pt x="32" y="42"/>
                  </a:cubicBezTo>
                  <a:cubicBezTo>
                    <a:pt x="34" y="39"/>
                    <a:pt x="34" y="37"/>
                    <a:pt x="33" y="34"/>
                  </a:cubicBezTo>
                  <a:cubicBezTo>
                    <a:pt x="33" y="32"/>
                    <a:pt x="32" y="29"/>
                    <a:pt x="31" y="28"/>
                  </a:cubicBezTo>
                  <a:cubicBezTo>
                    <a:pt x="32" y="28"/>
                    <a:pt x="32" y="28"/>
                    <a:pt x="33" y="28"/>
                  </a:cubicBezTo>
                  <a:cubicBezTo>
                    <a:pt x="33" y="28"/>
                    <a:pt x="34" y="28"/>
                    <a:pt x="34" y="28"/>
                  </a:cubicBezTo>
                  <a:cubicBezTo>
                    <a:pt x="31" y="26"/>
                    <a:pt x="29" y="24"/>
                    <a:pt x="28" y="21"/>
                  </a:cubicBezTo>
                  <a:cubicBezTo>
                    <a:pt x="27" y="20"/>
                    <a:pt x="26" y="18"/>
                    <a:pt x="26" y="17"/>
                  </a:cubicBezTo>
                  <a:cubicBezTo>
                    <a:pt x="26" y="17"/>
                    <a:pt x="25" y="18"/>
                    <a:pt x="25" y="20"/>
                  </a:cubicBezTo>
                  <a:cubicBezTo>
                    <a:pt x="24" y="21"/>
                    <a:pt x="24" y="22"/>
                    <a:pt x="23" y="23"/>
                  </a:cubicBezTo>
                  <a:cubicBezTo>
                    <a:pt x="23" y="24"/>
                    <a:pt x="23" y="24"/>
                    <a:pt x="23" y="24"/>
                  </a:cubicBezTo>
                  <a:cubicBezTo>
                    <a:pt x="21" y="27"/>
                    <a:pt x="19" y="27"/>
                    <a:pt x="18" y="27"/>
                  </a:cubicBezTo>
                  <a:cubicBezTo>
                    <a:pt x="17" y="28"/>
                    <a:pt x="16" y="28"/>
                    <a:pt x="15" y="28"/>
                  </a:cubicBezTo>
                  <a:cubicBezTo>
                    <a:pt x="14" y="29"/>
                    <a:pt x="13" y="31"/>
                    <a:pt x="13" y="33"/>
                  </a:cubicBezTo>
                  <a:cubicBezTo>
                    <a:pt x="12" y="34"/>
                    <a:pt x="12" y="34"/>
                    <a:pt x="12" y="34"/>
                  </a:cubicBezTo>
                  <a:cubicBezTo>
                    <a:pt x="11" y="35"/>
                    <a:pt x="11" y="36"/>
                    <a:pt x="10" y="37"/>
                  </a:cubicBezTo>
                  <a:cubicBezTo>
                    <a:pt x="9" y="37"/>
                    <a:pt x="9" y="37"/>
                    <a:pt x="9" y="37"/>
                  </a:cubicBezTo>
                  <a:cubicBezTo>
                    <a:pt x="9" y="37"/>
                    <a:pt x="9" y="37"/>
                    <a:pt x="9" y="37"/>
                  </a:cubicBezTo>
                  <a:cubicBezTo>
                    <a:pt x="10" y="38"/>
                    <a:pt x="10" y="38"/>
                    <a:pt x="10" y="38"/>
                  </a:cubicBezTo>
                  <a:cubicBezTo>
                    <a:pt x="9" y="39"/>
                    <a:pt x="7" y="41"/>
                    <a:pt x="7" y="42"/>
                  </a:cubicBezTo>
                  <a:cubicBezTo>
                    <a:pt x="7" y="44"/>
                    <a:pt x="6" y="46"/>
                    <a:pt x="6" y="48"/>
                  </a:cubicBezTo>
                  <a:cubicBezTo>
                    <a:pt x="6" y="48"/>
                    <a:pt x="6" y="48"/>
                    <a:pt x="6" y="48"/>
                  </a:cubicBezTo>
                  <a:cubicBezTo>
                    <a:pt x="6" y="50"/>
                    <a:pt x="6" y="51"/>
                    <a:pt x="5" y="53"/>
                  </a:cubicBezTo>
                  <a:cubicBezTo>
                    <a:pt x="5" y="54"/>
                    <a:pt x="5" y="55"/>
                    <a:pt x="5" y="56"/>
                  </a:cubicBezTo>
                  <a:cubicBezTo>
                    <a:pt x="3" y="60"/>
                    <a:pt x="2" y="63"/>
                    <a:pt x="0" y="66"/>
                  </a:cubicBezTo>
                  <a:cubicBezTo>
                    <a:pt x="0" y="66"/>
                    <a:pt x="1" y="65"/>
                    <a:pt x="1" y="65"/>
                  </a:cubicBezTo>
                  <a:cubicBezTo>
                    <a:pt x="4" y="64"/>
                    <a:pt x="4" y="64"/>
                    <a:pt x="4" y="64"/>
                  </a:cubicBezTo>
                  <a:cubicBezTo>
                    <a:pt x="5" y="67"/>
                    <a:pt x="5" y="67"/>
                    <a:pt x="5" y="67"/>
                  </a:cubicBezTo>
                  <a:cubicBezTo>
                    <a:pt x="5" y="68"/>
                    <a:pt x="5" y="68"/>
                    <a:pt x="5" y="69"/>
                  </a:cubicBezTo>
                  <a:cubicBezTo>
                    <a:pt x="5" y="69"/>
                    <a:pt x="5" y="69"/>
                    <a:pt x="5" y="69"/>
                  </a:cubicBezTo>
                  <a:cubicBezTo>
                    <a:pt x="6" y="69"/>
                    <a:pt x="6" y="69"/>
                    <a:pt x="6" y="69"/>
                  </a:cubicBezTo>
                  <a:cubicBezTo>
                    <a:pt x="6" y="69"/>
                    <a:pt x="6" y="69"/>
                    <a:pt x="6" y="69"/>
                  </a:cubicBezTo>
                  <a:cubicBezTo>
                    <a:pt x="6" y="69"/>
                    <a:pt x="6" y="69"/>
                    <a:pt x="6" y="69"/>
                  </a:cubicBezTo>
                  <a:cubicBezTo>
                    <a:pt x="7" y="69"/>
                    <a:pt x="7" y="69"/>
                    <a:pt x="7" y="69"/>
                  </a:cubicBezTo>
                  <a:cubicBezTo>
                    <a:pt x="9" y="70"/>
                    <a:pt x="10" y="71"/>
                    <a:pt x="10" y="72"/>
                  </a:cubicBezTo>
                  <a:cubicBezTo>
                    <a:pt x="12" y="74"/>
                    <a:pt x="13" y="76"/>
                    <a:pt x="13" y="79"/>
                  </a:cubicBezTo>
                  <a:cubicBezTo>
                    <a:pt x="17" y="87"/>
                    <a:pt x="17" y="87"/>
                    <a:pt x="17" y="87"/>
                  </a:cubicBezTo>
                  <a:cubicBezTo>
                    <a:pt x="18" y="89"/>
                    <a:pt x="19" y="92"/>
                    <a:pt x="20" y="96"/>
                  </a:cubicBezTo>
                  <a:cubicBezTo>
                    <a:pt x="20" y="96"/>
                    <a:pt x="20" y="96"/>
                    <a:pt x="20" y="96"/>
                  </a:cubicBezTo>
                  <a:cubicBezTo>
                    <a:pt x="20" y="97"/>
                    <a:pt x="20" y="97"/>
                    <a:pt x="20" y="97"/>
                  </a:cubicBezTo>
                  <a:cubicBezTo>
                    <a:pt x="19" y="98"/>
                    <a:pt x="19" y="99"/>
                    <a:pt x="19" y="100"/>
                  </a:cubicBezTo>
                  <a:cubicBezTo>
                    <a:pt x="17" y="102"/>
                    <a:pt x="17" y="105"/>
                    <a:pt x="18" y="108"/>
                  </a:cubicBezTo>
                  <a:cubicBezTo>
                    <a:pt x="18" y="109"/>
                    <a:pt x="18" y="109"/>
                    <a:pt x="18" y="109"/>
                  </a:cubicBezTo>
                  <a:cubicBezTo>
                    <a:pt x="18" y="109"/>
                    <a:pt x="19" y="109"/>
                    <a:pt x="19" y="109"/>
                  </a:cubicBezTo>
                  <a:cubicBezTo>
                    <a:pt x="21" y="110"/>
                    <a:pt x="23" y="110"/>
                    <a:pt x="25" y="113"/>
                  </a:cubicBezTo>
                  <a:cubicBezTo>
                    <a:pt x="25" y="113"/>
                    <a:pt x="25" y="113"/>
                    <a:pt x="25" y="113"/>
                  </a:cubicBezTo>
                  <a:cubicBezTo>
                    <a:pt x="25" y="114"/>
                    <a:pt x="25" y="114"/>
                    <a:pt x="25" y="114"/>
                  </a:cubicBezTo>
                  <a:cubicBezTo>
                    <a:pt x="25" y="115"/>
                    <a:pt x="26" y="115"/>
                    <a:pt x="26" y="116"/>
                  </a:cubicBezTo>
                  <a:cubicBezTo>
                    <a:pt x="26" y="117"/>
                    <a:pt x="27" y="118"/>
                    <a:pt x="27" y="118"/>
                  </a:cubicBezTo>
                  <a:cubicBezTo>
                    <a:pt x="27" y="118"/>
                    <a:pt x="27" y="118"/>
                    <a:pt x="27" y="118"/>
                  </a:cubicBezTo>
                  <a:cubicBezTo>
                    <a:pt x="27" y="118"/>
                    <a:pt x="27" y="118"/>
                    <a:pt x="27" y="118"/>
                  </a:cubicBezTo>
                  <a:cubicBezTo>
                    <a:pt x="28" y="118"/>
                    <a:pt x="28" y="118"/>
                    <a:pt x="28" y="118"/>
                  </a:cubicBezTo>
                  <a:cubicBezTo>
                    <a:pt x="30" y="118"/>
                    <a:pt x="32" y="118"/>
                    <a:pt x="34" y="118"/>
                  </a:cubicBezTo>
                  <a:cubicBezTo>
                    <a:pt x="35" y="118"/>
                    <a:pt x="36" y="118"/>
                    <a:pt x="37" y="118"/>
                  </a:cubicBezTo>
                  <a:cubicBezTo>
                    <a:pt x="38" y="118"/>
                    <a:pt x="39" y="118"/>
                    <a:pt x="40" y="118"/>
                  </a:cubicBezTo>
                  <a:cubicBezTo>
                    <a:pt x="40" y="119"/>
                    <a:pt x="40" y="119"/>
                    <a:pt x="40" y="119"/>
                  </a:cubicBezTo>
                  <a:cubicBezTo>
                    <a:pt x="42" y="119"/>
                    <a:pt x="44" y="119"/>
                    <a:pt x="45" y="119"/>
                  </a:cubicBezTo>
                  <a:cubicBezTo>
                    <a:pt x="45" y="119"/>
                    <a:pt x="46" y="119"/>
                    <a:pt x="46" y="119"/>
                  </a:cubicBezTo>
                  <a:cubicBezTo>
                    <a:pt x="47" y="119"/>
                    <a:pt x="47" y="119"/>
                    <a:pt x="47" y="119"/>
                  </a:cubicBezTo>
                  <a:cubicBezTo>
                    <a:pt x="48" y="119"/>
                    <a:pt x="49" y="118"/>
                    <a:pt x="50" y="118"/>
                  </a:cubicBezTo>
                  <a:cubicBezTo>
                    <a:pt x="52" y="117"/>
                    <a:pt x="54" y="117"/>
                    <a:pt x="56" y="117"/>
                  </a:cubicBezTo>
                  <a:cubicBezTo>
                    <a:pt x="56" y="117"/>
                    <a:pt x="57" y="117"/>
                    <a:pt x="57" y="117"/>
                  </a:cubicBezTo>
                  <a:cubicBezTo>
                    <a:pt x="60" y="117"/>
                    <a:pt x="62" y="118"/>
                    <a:pt x="65" y="118"/>
                  </a:cubicBezTo>
                  <a:cubicBezTo>
                    <a:pt x="70" y="120"/>
                    <a:pt x="71" y="121"/>
                    <a:pt x="74" y="124"/>
                  </a:cubicBezTo>
                  <a:cubicBezTo>
                    <a:pt x="75" y="125"/>
                    <a:pt x="76" y="126"/>
                    <a:pt x="77" y="127"/>
                  </a:cubicBezTo>
                  <a:cubicBezTo>
                    <a:pt x="78" y="128"/>
                    <a:pt x="78" y="128"/>
                    <a:pt x="78" y="128"/>
                  </a:cubicBezTo>
                  <a:cubicBezTo>
                    <a:pt x="78" y="129"/>
                    <a:pt x="79" y="130"/>
                    <a:pt x="79" y="131"/>
                  </a:cubicBezTo>
                  <a:cubicBezTo>
                    <a:pt x="83" y="136"/>
                    <a:pt x="85" y="139"/>
                    <a:pt x="86" y="139"/>
                  </a:cubicBezTo>
                  <a:cubicBezTo>
                    <a:pt x="87" y="139"/>
                    <a:pt x="87" y="139"/>
                    <a:pt x="87" y="139"/>
                  </a:cubicBezTo>
                  <a:cubicBezTo>
                    <a:pt x="87" y="139"/>
                    <a:pt x="87" y="139"/>
                    <a:pt x="87" y="139"/>
                  </a:cubicBezTo>
                  <a:cubicBezTo>
                    <a:pt x="88" y="139"/>
                    <a:pt x="91" y="139"/>
                    <a:pt x="92" y="139"/>
                  </a:cubicBezTo>
                  <a:cubicBezTo>
                    <a:pt x="93" y="138"/>
                    <a:pt x="93" y="138"/>
                    <a:pt x="93" y="138"/>
                  </a:cubicBezTo>
                  <a:cubicBezTo>
                    <a:pt x="94" y="138"/>
                    <a:pt x="94" y="138"/>
                    <a:pt x="95" y="138"/>
                  </a:cubicBezTo>
                  <a:cubicBezTo>
                    <a:pt x="97" y="138"/>
                    <a:pt x="100" y="138"/>
                    <a:pt x="102" y="137"/>
                  </a:cubicBezTo>
                  <a:cubicBezTo>
                    <a:pt x="105" y="137"/>
                    <a:pt x="105" y="137"/>
                    <a:pt x="105" y="137"/>
                  </a:cubicBezTo>
                  <a:cubicBezTo>
                    <a:pt x="106" y="137"/>
                    <a:pt x="108" y="137"/>
                    <a:pt x="109" y="136"/>
                  </a:cubicBezTo>
                  <a:cubicBezTo>
                    <a:pt x="110" y="136"/>
                    <a:pt x="110" y="136"/>
                    <a:pt x="110" y="136"/>
                  </a:cubicBezTo>
                  <a:cubicBezTo>
                    <a:pt x="114" y="136"/>
                    <a:pt x="117" y="135"/>
                    <a:pt x="121" y="135"/>
                  </a:cubicBezTo>
                  <a:cubicBezTo>
                    <a:pt x="122" y="135"/>
                    <a:pt x="123" y="135"/>
                    <a:pt x="123" y="135"/>
                  </a:cubicBezTo>
                  <a:cubicBezTo>
                    <a:pt x="131" y="136"/>
                    <a:pt x="134" y="139"/>
                    <a:pt x="134" y="142"/>
                  </a:cubicBezTo>
                  <a:cubicBezTo>
                    <a:pt x="134" y="144"/>
                    <a:pt x="134" y="147"/>
                    <a:pt x="133" y="149"/>
                  </a:cubicBezTo>
                  <a:cubicBezTo>
                    <a:pt x="132" y="151"/>
                    <a:pt x="131" y="153"/>
                    <a:pt x="130" y="154"/>
                  </a:cubicBezTo>
                  <a:cubicBezTo>
                    <a:pt x="129" y="154"/>
                    <a:pt x="129" y="154"/>
                    <a:pt x="129" y="154"/>
                  </a:cubicBezTo>
                  <a:cubicBezTo>
                    <a:pt x="129" y="155"/>
                    <a:pt x="129" y="155"/>
                    <a:pt x="129" y="155"/>
                  </a:cubicBezTo>
                  <a:cubicBezTo>
                    <a:pt x="128" y="156"/>
                    <a:pt x="128" y="156"/>
                    <a:pt x="128" y="157"/>
                  </a:cubicBezTo>
                  <a:cubicBezTo>
                    <a:pt x="127" y="157"/>
                    <a:pt x="127" y="157"/>
                    <a:pt x="127" y="157"/>
                  </a:cubicBezTo>
                  <a:cubicBezTo>
                    <a:pt x="126" y="159"/>
                    <a:pt x="125" y="160"/>
                    <a:pt x="125" y="161"/>
                  </a:cubicBezTo>
                  <a:cubicBezTo>
                    <a:pt x="125" y="163"/>
                    <a:pt x="125" y="163"/>
                    <a:pt x="125" y="163"/>
                  </a:cubicBezTo>
                  <a:cubicBezTo>
                    <a:pt x="125" y="166"/>
                    <a:pt x="125" y="168"/>
                    <a:pt x="124" y="170"/>
                  </a:cubicBezTo>
                  <a:cubicBezTo>
                    <a:pt x="124" y="171"/>
                    <a:pt x="124" y="171"/>
                    <a:pt x="124" y="171"/>
                  </a:cubicBezTo>
                  <a:cubicBezTo>
                    <a:pt x="124" y="172"/>
                    <a:pt x="124" y="174"/>
                    <a:pt x="124" y="176"/>
                  </a:cubicBezTo>
                  <a:cubicBezTo>
                    <a:pt x="124" y="176"/>
                    <a:pt x="124" y="177"/>
                    <a:pt x="124" y="177"/>
                  </a:cubicBezTo>
                  <a:cubicBezTo>
                    <a:pt x="124" y="179"/>
                    <a:pt x="124" y="179"/>
                    <a:pt x="124" y="179"/>
                  </a:cubicBezTo>
                  <a:cubicBezTo>
                    <a:pt x="125" y="179"/>
                    <a:pt x="125" y="180"/>
                    <a:pt x="125" y="180"/>
                  </a:cubicBezTo>
                  <a:cubicBezTo>
                    <a:pt x="125" y="183"/>
                    <a:pt x="126" y="186"/>
                    <a:pt x="127" y="189"/>
                  </a:cubicBezTo>
                  <a:cubicBezTo>
                    <a:pt x="128" y="190"/>
                    <a:pt x="128" y="191"/>
                    <a:pt x="129" y="192"/>
                  </a:cubicBezTo>
                  <a:cubicBezTo>
                    <a:pt x="129" y="193"/>
                    <a:pt x="130" y="195"/>
                    <a:pt x="130" y="195"/>
                  </a:cubicBezTo>
                  <a:cubicBezTo>
                    <a:pt x="130" y="196"/>
                    <a:pt x="130" y="196"/>
                    <a:pt x="130" y="196"/>
                  </a:cubicBezTo>
                  <a:cubicBezTo>
                    <a:pt x="130" y="196"/>
                    <a:pt x="130" y="196"/>
                    <a:pt x="130" y="196"/>
                  </a:cubicBezTo>
                  <a:cubicBezTo>
                    <a:pt x="133" y="198"/>
                    <a:pt x="134" y="199"/>
                    <a:pt x="135" y="201"/>
                  </a:cubicBezTo>
                  <a:cubicBezTo>
                    <a:pt x="135" y="201"/>
                    <a:pt x="135" y="201"/>
                    <a:pt x="135" y="201"/>
                  </a:cubicBezTo>
                  <a:cubicBezTo>
                    <a:pt x="136" y="202"/>
                    <a:pt x="137" y="203"/>
                    <a:pt x="137" y="204"/>
                  </a:cubicBezTo>
                  <a:cubicBezTo>
                    <a:pt x="137" y="205"/>
                    <a:pt x="137" y="205"/>
                    <a:pt x="137" y="206"/>
                  </a:cubicBezTo>
                  <a:cubicBezTo>
                    <a:pt x="136" y="207"/>
                    <a:pt x="136" y="207"/>
                    <a:pt x="136" y="207"/>
                  </a:cubicBezTo>
                  <a:cubicBezTo>
                    <a:pt x="135" y="209"/>
                    <a:pt x="134" y="211"/>
                    <a:pt x="132" y="212"/>
                  </a:cubicBezTo>
                  <a:cubicBezTo>
                    <a:pt x="132" y="212"/>
                    <a:pt x="132" y="212"/>
                    <a:pt x="132" y="212"/>
                  </a:cubicBezTo>
                  <a:cubicBezTo>
                    <a:pt x="131" y="213"/>
                    <a:pt x="131" y="213"/>
                    <a:pt x="131" y="213"/>
                  </a:cubicBezTo>
                  <a:cubicBezTo>
                    <a:pt x="131" y="213"/>
                    <a:pt x="131" y="213"/>
                    <a:pt x="130" y="214"/>
                  </a:cubicBezTo>
                  <a:cubicBezTo>
                    <a:pt x="130" y="214"/>
                    <a:pt x="130" y="214"/>
                    <a:pt x="130" y="214"/>
                  </a:cubicBezTo>
                  <a:cubicBezTo>
                    <a:pt x="129" y="215"/>
                    <a:pt x="128" y="216"/>
                    <a:pt x="127" y="217"/>
                  </a:cubicBezTo>
                  <a:cubicBezTo>
                    <a:pt x="127" y="217"/>
                    <a:pt x="127" y="217"/>
                    <a:pt x="127" y="217"/>
                  </a:cubicBezTo>
                  <a:cubicBezTo>
                    <a:pt x="128" y="217"/>
                    <a:pt x="128" y="217"/>
                    <a:pt x="129" y="217"/>
                  </a:cubicBezTo>
                  <a:cubicBezTo>
                    <a:pt x="129" y="218"/>
                    <a:pt x="130" y="218"/>
                    <a:pt x="130" y="218"/>
                  </a:cubicBezTo>
                  <a:cubicBezTo>
                    <a:pt x="131" y="219"/>
                    <a:pt x="131" y="219"/>
                    <a:pt x="131" y="219"/>
                  </a:cubicBezTo>
                  <a:cubicBezTo>
                    <a:pt x="132" y="220"/>
                    <a:pt x="133" y="221"/>
                    <a:pt x="134" y="222"/>
                  </a:cubicBezTo>
                  <a:cubicBezTo>
                    <a:pt x="135" y="224"/>
                    <a:pt x="136" y="225"/>
                    <a:pt x="137" y="227"/>
                  </a:cubicBezTo>
                  <a:cubicBezTo>
                    <a:pt x="139" y="232"/>
                    <a:pt x="142" y="238"/>
                    <a:pt x="144" y="245"/>
                  </a:cubicBezTo>
                  <a:cubicBezTo>
                    <a:pt x="144" y="246"/>
                    <a:pt x="144" y="247"/>
                    <a:pt x="145" y="248"/>
                  </a:cubicBezTo>
                  <a:cubicBezTo>
                    <a:pt x="145" y="249"/>
                    <a:pt x="145" y="250"/>
                    <a:pt x="146" y="251"/>
                  </a:cubicBezTo>
                  <a:cubicBezTo>
                    <a:pt x="146" y="252"/>
                    <a:pt x="146" y="252"/>
                    <a:pt x="146" y="252"/>
                  </a:cubicBezTo>
                  <a:cubicBezTo>
                    <a:pt x="146" y="252"/>
                    <a:pt x="146" y="253"/>
                    <a:pt x="146" y="253"/>
                  </a:cubicBezTo>
                  <a:cubicBezTo>
                    <a:pt x="147" y="253"/>
                    <a:pt x="147" y="253"/>
                    <a:pt x="147" y="253"/>
                  </a:cubicBezTo>
                  <a:cubicBezTo>
                    <a:pt x="147" y="254"/>
                    <a:pt x="148" y="255"/>
                    <a:pt x="148" y="255"/>
                  </a:cubicBezTo>
                  <a:cubicBezTo>
                    <a:pt x="149" y="255"/>
                    <a:pt x="149" y="255"/>
                    <a:pt x="149" y="255"/>
                  </a:cubicBezTo>
                  <a:cubicBezTo>
                    <a:pt x="150" y="256"/>
                    <a:pt x="150" y="256"/>
                    <a:pt x="150" y="256"/>
                  </a:cubicBezTo>
                  <a:cubicBezTo>
                    <a:pt x="151" y="257"/>
                    <a:pt x="151" y="257"/>
                    <a:pt x="151" y="257"/>
                  </a:cubicBezTo>
                  <a:cubicBezTo>
                    <a:pt x="152" y="258"/>
                    <a:pt x="154" y="259"/>
                    <a:pt x="155" y="261"/>
                  </a:cubicBezTo>
                  <a:cubicBezTo>
                    <a:pt x="157" y="262"/>
                    <a:pt x="159" y="263"/>
                    <a:pt x="161" y="263"/>
                  </a:cubicBezTo>
                  <a:cubicBezTo>
                    <a:pt x="161" y="263"/>
                    <a:pt x="161" y="263"/>
                    <a:pt x="161" y="263"/>
                  </a:cubicBezTo>
                  <a:cubicBezTo>
                    <a:pt x="162" y="263"/>
                    <a:pt x="164" y="262"/>
                    <a:pt x="165" y="262"/>
                  </a:cubicBezTo>
                  <a:cubicBezTo>
                    <a:pt x="166" y="261"/>
                    <a:pt x="166" y="261"/>
                    <a:pt x="166" y="261"/>
                  </a:cubicBezTo>
                  <a:cubicBezTo>
                    <a:pt x="169" y="260"/>
                    <a:pt x="172" y="259"/>
                    <a:pt x="174" y="259"/>
                  </a:cubicBezTo>
                  <a:cubicBezTo>
                    <a:pt x="175" y="259"/>
                    <a:pt x="175" y="259"/>
                    <a:pt x="175" y="259"/>
                  </a:cubicBezTo>
                  <a:cubicBezTo>
                    <a:pt x="176" y="259"/>
                    <a:pt x="177" y="260"/>
                    <a:pt x="178" y="260"/>
                  </a:cubicBezTo>
                  <a:cubicBezTo>
                    <a:pt x="178" y="261"/>
                    <a:pt x="178" y="261"/>
                    <a:pt x="178" y="261"/>
                  </a:cubicBezTo>
                  <a:cubicBezTo>
                    <a:pt x="179" y="260"/>
                    <a:pt x="180" y="259"/>
                    <a:pt x="181" y="258"/>
                  </a:cubicBezTo>
                  <a:cubicBezTo>
                    <a:pt x="184" y="254"/>
                    <a:pt x="186" y="254"/>
                    <a:pt x="190" y="252"/>
                  </a:cubicBezTo>
                  <a:cubicBezTo>
                    <a:pt x="191" y="252"/>
                    <a:pt x="191" y="252"/>
                    <a:pt x="191" y="252"/>
                  </a:cubicBezTo>
                  <a:cubicBezTo>
                    <a:pt x="193" y="252"/>
                    <a:pt x="195" y="250"/>
                    <a:pt x="197" y="249"/>
                  </a:cubicBezTo>
                  <a:cubicBezTo>
                    <a:pt x="198" y="249"/>
                    <a:pt x="198" y="249"/>
                    <a:pt x="198" y="249"/>
                  </a:cubicBezTo>
                  <a:cubicBezTo>
                    <a:pt x="199" y="248"/>
                    <a:pt x="200" y="247"/>
                    <a:pt x="201" y="247"/>
                  </a:cubicBezTo>
                  <a:cubicBezTo>
                    <a:pt x="204" y="245"/>
                    <a:pt x="204" y="245"/>
                    <a:pt x="204" y="245"/>
                  </a:cubicBezTo>
                  <a:cubicBezTo>
                    <a:pt x="205" y="244"/>
                    <a:pt x="206" y="242"/>
                    <a:pt x="207" y="241"/>
                  </a:cubicBezTo>
                  <a:cubicBezTo>
                    <a:pt x="207" y="240"/>
                    <a:pt x="207" y="240"/>
                    <a:pt x="207" y="240"/>
                  </a:cubicBezTo>
                  <a:cubicBezTo>
                    <a:pt x="207" y="240"/>
                    <a:pt x="207" y="240"/>
                    <a:pt x="207" y="240"/>
                  </a:cubicBezTo>
                  <a:cubicBezTo>
                    <a:pt x="207" y="238"/>
                    <a:pt x="208" y="237"/>
                    <a:pt x="210" y="235"/>
                  </a:cubicBezTo>
                  <a:cubicBezTo>
                    <a:pt x="212" y="234"/>
                    <a:pt x="215" y="233"/>
                    <a:pt x="217" y="232"/>
                  </a:cubicBezTo>
                  <a:cubicBezTo>
                    <a:pt x="220" y="231"/>
                    <a:pt x="220" y="231"/>
                    <a:pt x="220" y="231"/>
                  </a:cubicBezTo>
                  <a:cubicBezTo>
                    <a:pt x="220" y="231"/>
                    <a:pt x="220" y="231"/>
                    <a:pt x="220" y="231"/>
                  </a:cubicBezTo>
                  <a:cubicBezTo>
                    <a:pt x="220" y="231"/>
                    <a:pt x="220" y="231"/>
                    <a:pt x="220" y="231"/>
                  </a:cubicBezTo>
                  <a:cubicBezTo>
                    <a:pt x="211" y="230"/>
                    <a:pt x="208" y="229"/>
                    <a:pt x="207" y="227"/>
                  </a:cubicBezTo>
                  <a:cubicBezTo>
                    <a:pt x="207" y="225"/>
                    <a:pt x="207" y="224"/>
                    <a:pt x="207" y="222"/>
                  </a:cubicBezTo>
                  <a:cubicBezTo>
                    <a:pt x="208" y="221"/>
                    <a:pt x="208" y="220"/>
                    <a:pt x="208" y="219"/>
                  </a:cubicBezTo>
                  <a:cubicBezTo>
                    <a:pt x="208" y="217"/>
                    <a:pt x="207" y="215"/>
                    <a:pt x="206" y="213"/>
                  </a:cubicBezTo>
                  <a:cubicBezTo>
                    <a:pt x="205" y="211"/>
                    <a:pt x="203" y="208"/>
                    <a:pt x="203" y="205"/>
                  </a:cubicBezTo>
                  <a:cubicBezTo>
                    <a:pt x="203" y="204"/>
                    <a:pt x="203" y="203"/>
                    <a:pt x="203" y="202"/>
                  </a:cubicBezTo>
                  <a:cubicBezTo>
                    <a:pt x="204" y="202"/>
                    <a:pt x="204" y="202"/>
                    <a:pt x="204" y="202"/>
                  </a:cubicBezTo>
                  <a:cubicBezTo>
                    <a:pt x="203" y="201"/>
                    <a:pt x="203" y="201"/>
                    <a:pt x="203" y="201"/>
                  </a:cubicBezTo>
                  <a:cubicBezTo>
                    <a:pt x="202" y="200"/>
                    <a:pt x="201" y="199"/>
                    <a:pt x="200" y="199"/>
                  </a:cubicBezTo>
                  <a:cubicBezTo>
                    <a:pt x="199" y="198"/>
                    <a:pt x="198" y="197"/>
                    <a:pt x="198" y="197"/>
                  </a:cubicBezTo>
                  <a:cubicBezTo>
                    <a:pt x="196" y="195"/>
                    <a:pt x="195" y="194"/>
                    <a:pt x="194" y="192"/>
                  </a:cubicBezTo>
                  <a:cubicBezTo>
                    <a:pt x="193" y="191"/>
                    <a:pt x="193" y="190"/>
                    <a:pt x="192" y="189"/>
                  </a:cubicBezTo>
                  <a:cubicBezTo>
                    <a:pt x="192" y="189"/>
                    <a:pt x="191" y="189"/>
                    <a:pt x="191" y="189"/>
                  </a:cubicBezTo>
                  <a:cubicBezTo>
                    <a:pt x="185" y="186"/>
                    <a:pt x="185" y="186"/>
                    <a:pt x="185" y="186"/>
                  </a:cubicBezTo>
                  <a:cubicBezTo>
                    <a:pt x="191" y="183"/>
                    <a:pt x="191" y="183"/>
                    <a:pt x="191" y="183"/>
                  </a:cubicBezTo>
                  <a:cubicBezTo>
                    <a:pt x="192" y="183"/>
                    <a:pt x="193" y="183"/>
                    <a:pt x="194" y="183"/>
                  </a:cubicBezTo>
                  <a:cubicBezTo>
                    <a:pt x="195" y="183"/>
                    <a:pt x="195" y="183"/>
                    <a:pt x="195" y="183"/>
                  </a:cubicBezTo>
                  <a:cubicBezTo>
                    <a:pt x="200" y="183"/>
                    <a:pt x="204" y="185"/>
                    <a:pt x="207" y="187"/>
                  </a:cubicBezTo>
                  <a:cubicBezTo>
                    <a:pt x="208" y="188"/>
                    <a:pt x="208" y="188"/>
                    <a:pt x="208" y="188"/>
                  </a:cubicBezTo>
                  <a:cubicBezTo>
                    <a:pt x="209" y="188"/>
                    <a:pt x="210" y="189"/>
                    <a:pt x="211" y="190"/>
                  </a:cubicBezTo>
                  <a:cubicBezTo>
                    <a:pt x="211" y="190"/>
                    <a:pt x="211" y="190"/>
                    <a:pt x="211" y="190"/>
                  </a:cubicBezTo>
                  <a:cubicBezTo>
                    <a:pt x="212" y="190"/>
                    <a:pt x="212" y="190"/>
                    <a:pt x="212" y="190"/>
                  </a:cubicBezTo>
                  <a:cubicBezTo>
                    <a:pt x="212" y="190"/>
                    <a:pt x="213" y="190"/>
                    <a:pt x="213" y="190"/>
                  </a:cubicBezTo>
                  <a:cubicBezTo>
                    <a:pt x="214" y="190"/>
                    <a:pt x="214" y="190"/>
                    <a:pt x="214" y="190"/>
                  </a:cubicBezTo>
                  <a:cubicBezTo>
                    <a:pt x="215" y="189"/>
                    <a:pt x="216" y="189"/>
                    <a:pt x="218" y="189"/>
                  </a:cubicBezTo>
                  <a:cubicBezTo>
                    <a:pt x="219" y="189"/>
                    <a:pt x="220" y="189"/>
                    <a:pt x="222" y="190"/>
                  </a:cubicBezTo>
                  <a:cubicBezTo>
                    <a:pt x="222" y="189"/>
                    <a:pt x="223" y="189"/>
                    <a:pt x="224" y="189"/>
                  </a:cubicBezTo>
                  <a:cubicBezTo>
                    <a:pt x="224" y="189"/>
                    <a:pt x="225" y="189"/>
                    <a:pt x="225" y="189"/>
                  </a:cubicBezTo>
                  <a:cubicBezTo>
                    <a:pt x="227" y="189"/>
                    <a:pt x="229" y="190"/>
                    <a:pt x="231" y="191"/>
                  </a:cubicBezTo>
                  <a:cubicBezTo>
                    <a:pt x="232" y="192"/>
                    <a:pt x="232" y="193"/>
                    <a:pt x="233" y="194"/>
                  </a:cubicBezTo>
                  <a:cubicBezTo>
                    <a:pt x="233" y="195"/>
                    <a:pt x="233" y="195"/>
                    <a:pt x="233" y="195"/>
                  </a:cubicBezTo>
                  <a:cubicBezTo>
                    <a:pt x="234" y="195"/>
                    <a:pt x="235" y="196"/>
                    <a:pt x="236" y="197"/>
                  </a:cubicBezTo>
                  <a:cubicBezTo>
                    <a:pt x="236" y="197"/>
                    <a:pt x="236" y="196"/>
                    <a:pt x="236" y="196"/>
                  </a:cubicBezTo>
                  <a:cubicBezTo>
                    <a:pt x="237" y="194"/>
                    <a:pt x="237" y="194"/>
                    <a:pt x="237" y="194"/>
                  </a:cubicBezTo>
                  <a:cubicBezTo>
                    <a:pt x="237" y="194"/>
                    <a:pt x="237" y="194"/>
                    <a:pt x="237" y="194"/>
                  </a:cubicBezTo>
                  <a:cubicBezTo>
                    <a:pt x="236" y="192"/>
                    <a:pt x="236" y="192"/>
                    <a:pt x="236" y="192"/>
                  </a:cubicBezTo>
                  <a:cubicBezTo>
                    <a:pt x="236" y="192"/>
                    <a:pt x="237" y="191"/>
                    <a:pt x="237" y="191"/>
                  </a:cubicBezTo>
                  <a:cubicBezTo>
                    <a:pt x="238" y="187"/>
                    <a:pt x="240" y="187"/>
                    <a:pt x="243" y="186"/>
                  </a:cubicBezTo>
                  <a:cubicBezTo>
                    <a:pt x="243" y="186"/>
                    <a:pt x="243" y="186"/>
                    <a:pt x="243" y="186"/>
                  </a:cubicBezTo>
                  <a:cubicBezTo>
                    <a:pt x="243" y="186"/>
                    <a:pt x="244" y="186"/>
                    <a:pt x="244" y="186"/>
                  </a:cubicBezTo>
                  <a:cubicBezTo>
                    <a:pt x="250" y="184"/>
                    <a:pt x="257" y="183"/>
                    <a:pt x="262" y="182"/>
                  </a:cubicBezTo>
                  <a:cubicBezTo>
                    <a:pt x="265" y="182"/>
                    <a:pt x="265" y="182"/>
                    <a:pt x="265" y="182"/>
                  </a:cubicBezTo>
                  <a:cubicBezTo>
                    <a:pt x="266" y="182"/>
                    <a:pt x="268" y="181"/>
                    <a:pt x="269" y="180"/>
                  </a:cubicBezTo>
                  <a:cubicBezTo>
                    <a:pt x="270" y="179"/>
                    <a:pt x="270" y="179"/>
                    <a:pt x="271" y="178"/>
                  </a:cubicBezTo>
                  <a:cubicBezTo>
                    <a:pt x="272" y="177"/>
                    <a:pt x="273" y="177"/>
                    <a:pt x="275" y="176"/>
                  </a:cubicBezTo>
                  <a:cubicBezTo>
                    <a:pt x="275" y="176"/>
                    <a:pt x="276" y="176"/>
                    <a:pt x="276" y="176"/>
                  </a:cubicBezTo>
                  <a:cubicBezTo>
                    <a:pt x="276" y="176"/>
                    <a:pt x="277" y="176"/>
                    <a:pt x="278" y="176"/>
                  </a:cubicBezTo>
                  <a:cubicBezTo>
                    <a:pt x="278" y="176"/>
                    <a:pt x="279" y="176"/>
                    <a:pt x="279" y="176"/>
                  </a:cubicBezTo>
                  <a:cubicBezTo>
                    <a:pt x="279" y="176"/>
                    <a:pt x="279" y="175"/>
                    <a:pt x="280" y="175"/>
                  </a:cubicBezTo>
                  <a:cubicBezTo>
                    <a:pt x="280" y="174"/>
                    <a:pt x="280" y="174"/>
                    <a:pt x="280" y="174"/>
                  </a:cubicBezTo>
                  <a:cubicBezTo>
                    <a:pt x="280" y="174"/>
                    <a:pt x="280" y="174"/>
                    <a:pt x="280" y="174"/>
                  </a:cubicBezTo>
                  <a:cubicBezTo>
                    <a:pt x="282" y="173"/>
                    <a:pt x="284" y="172"/>
                    <a:pt x="285" y="170"/>
                  </a:cubicBezTo>
                  <a:cubicBezTo>
                    <a:pt x="281" y="167"/>
                    <a:pt x="281" y="167"/>
                    <a:pt x="281" y="167"/>
                  </a:cubicBezTo>
                  <a:cubicBezTo>
                    <a:pt x="286" y="169"/>
                    <a:pt x="286" y="169"/>
                    <a:pt x="286" y="169"/>
                  </a:cubicBezTo>
                  <a:cubicBezTo>
                    <a:pt x="286" y="169"/>
                    <a:pt x="286" y="169"/>
                    <a:pt x="286" y="169"/>
                  </a:cubicBezTo>
                  <a:cubicBezTo>
                    <a:pt x="287" y="168"/>
                    <a:pt x="287" y="168"/>
                    <a:pt x="287" y="168"/>
                  </a:cubicBezTo>
                  <a:cubicBezTo>
                    <a:pt x="287" y="168"/>
                    <a:pt x="287" y="168"/>
                    <a:pt x="287" y="168"/>
                  </a:cubicBezTo>
                  <a:cubicBezTo>
                    <a:pt x="286" y="167"/>
                    <a:pt x="286" y="167"/>
                    <a:pt x="286" y="167"/>
                  </a:cubicBezTo>
                  <a:cubicBezTo>
                    <a:pt x="286" y="166"/>
                    <a:pt x="286" y="166"/>
                    <a:pt x="286" y="166"/>
                  </a:cubicBezTo>
                  <a:cubicBezTo>
                    <a:pt x="286" y="166"/>
                    <a:pt x="286" y="166"/>
                    <a:pt x="286" y="166"/>
                  </a:cubicBezTo>
                  <a:cubicBezTo>
                    <a:pt x="285" y="165"/>
                    <a:pt x="285" y="165"/>
                    <a:pt x="285" y="165"/>
                  </a:cubicBezTo>
                  <a:cubicBezTo>
                    <a:pt x="284" y="164"/>
                    <a:pt x="282" y="162"/>
                    <a:pt x="281" y="161"/>
                  </a:cubicBezTo>
                  <a:cubicBezTo>
                    <a:pt x="281" y="161"/>
                    <a:pt x="281" y="161"/>
                    <a:pt x="281" y="161"/>
                  </a:cubicBezTo>
                  <a:cubicBezTo>
                    <a:pt x="280" y="160"/>
                    <a:pt x="280" y="160"/>
                    <a:pt x="280" y="159"/>
                  </a:cubicBezTo>
                  <a:cubicBezTo>
                    <a:pt x="270" y="149"/>
                    <a:pt x="270" y="149"/>
                    <a:pt x="270" y="149"/>
                  </a:cubicBezTo>
                  <a:cubicBezTo>
                    <a:pt x="269" y="148"/>
                    <a:pt x="269" y="146"/>
                    <a:pt x="270" y="144"/>
                  </a:cubicBezTo>
                  <a:cubicBezTo>
                    <a:pt x="270" y="144"/>
                    <a:pt x="270" y="144"/>
                    <a:pt x="270" y="144"/>
                  </a:cubicBezTo>
                  <a:cubicBezTo>
                    <a:pt x="271" y="143"/>
                    <a:pt x="272" y="142"/>
                    <a:pt x="273" y="141"/>
                  </a:cubicBezTo>
                  <a:cubicBezTo>
                    <a:pt x="274" y="141"/>
                    <a:pt x="275" y="140"/>
                    <a:pt x="275" y="139"/>
                  </a:cubicBezTo>
                  <a:cubicBezTo>
                    <a:pt x="275" y="139"/>
                    <a:pt x="275" y="139"/>
                    <a:pt x="275" y="139"/>
                  </a:cubicBezTo>
                  <a:cubicBezTo>
                    <a:pt x="275" y="138"/>
                    <a:pt x="275" y="138"/>
                    <a:pt x="275" y="138"/>
                  </a:cubicBezTo>
                  <a:cubicBezTo>
                    <a:pt x="275" y="137"/>
                    <a:pt x="274" y="136"/>
                    <a:pt x="274" y="135"/>
                  </a:cubicBezTo>
                  <a:cubicBezTo>
                    <a:pt x="274" y="134"/>
                    <a:pt x="274" y="134"/>
                    <a:pt x="274" y="134"/>
                  </a:cubicBezTo>
                  <a:cubicBezTo>
                    <a:pt x="274" y="133"/>
                    <a:pt x="274" y="133"/>
                    <a:pt x="274" y="133"/>
                  </a:cubicBezTo>
                  <a:cubicBezTo>
                    <a:pt x="274" y="131"/>
                    <a:pt x="274" y="128"/>
                    <a:pt x="276" y="126"/>
                  </a:cubicBezTo>
                  <a:cubicBezTo>
                    <a:pt x="277" y="125"/>
                    <a:pt x="277" y="125"/>
                    <a:pt x="277" y="125"/>
                  </a:cubicBezTo>
                  <a:cubicBezTo>
                    <a:pt x="279" y="125"/>
                    <a:pt x="279" y="125"/>
                    <a:pt x="279" y="125"/>
                  </a:cubicBezTo>
                  <a:cubicBezTo>
                    <a:pt x="279" y="125"/>
                    <a:pt x="279" y="125"/>
                    <a:pt x="279" y="125"/>
                  </a:cubicBezTo>
                  <a:cubicBezTo>
                    <a:pt x="279" y="125"/>
                    <a:pt x="279" y="125"/>
                    <a:pt x="279" y="125"/>
                  </a:cubicBezTo>
                  <a:cubicBezTo>
                    <a:pt x="281" y="124"/>
                    <a:pt x="282" y="124"/>
                    <a:pt x="283" y="123"/>
                  </a:cubicBezTo>
                  <a:cubicBezTo>
                    <a:pt x="283" y="123"/>
                    <a:pt x="284" y="123"/>
                    <a:pt x="284" y="123"/>
                  </a:cubicBezTo>
                  <a:cubicBezTo>
                    <a:pt x="284" y="123"/>
                    <a:pt x="285" y="124"/>
                    <a:pt x="285" y="124"/>
                  </a:cubicBezTo>
                  <a:cubicBezTo>
                    <a:pt x="286" y="124"/>
                    <a:pt x="286" y="124"/>
                    <a:pt x="286" y="124"/>
                  </a:cubicBezTo>
                  <a:cubicBezTo>
                    <a:pt x="286" y="124"/>
                    <a:pt x="286" y="124"/>
                    <a:pt x="286" y="124"/>
                  </a:cubicBezTo>
                  <a:cubicBezTo>
                    <a:pt x="286" y="124"/>
                    <a:pt x="286" y="124"/>
                    <a:pt x="286" y="124"/>
                  </a:cubicBezTo>
                  <a:cubicBezTo>
                    <a:pt x="288" y="123"/>
                    <a:pt x="288" y="123"/>
                    <a:pt x="289" y="123"/>
                  </a:cubicBezTo>
                  <a:cubicBezTo>
                    <a:pt x="291" y="122"/>
                    <a:pt x="291" y="122"/>
                    <a:pt x="291" y="122"/>
                  </a:cubicBezTo>
                  <a:cubicBezTo>
                    <a:pt x="292" y="122"/>
                    <a:pt x="293" y="121"/>
                    <a:pt x="293" y="121"/>
                  </a:cubicBezTo>
                  <a:cubicBezTo>
                    <a:pt x="293" y="121"/>
                    <a:pt x="293" y="121"/>
                    <a:pt x="293" y="121"/>
                  </a:cubicBezTo>
                  <a:cubicBezTo>
                    <a:pt x="293" y="120"/>
                    <a:pt x="293" y="120"/>
                    <a:pt x="293" y="120"/>
                  </a:cubicBezTo>
                  <a:cubicBezTo>
                    <a:pt x="293" y="120"/>
                    <a:pt x="293" y="120"/>
                    <a:pt x="293" y="120"/>
                  </a:cubicBezTo>
                  <a:cubicBezTo>
                    <a:pt x="293" y="120"/>
                    <a:pt x="293" y="120"/>
                    <a:pt x="293" y="120"/>
                  </a:cubicBezTo>
                  <a:cubicBezTo>
                    <a:pt x="291" y="120"/>
                    <a:pt x="291" y="120"/>
                    <a:pt x="290" y="120"/>
                  </a:cubicBezTo>
                  <a:cubicBezTo>
                    <a:pt x="289" y="120"/>
                    <a:pt x="289" y="120"/>
                    <a:pt x="289" y="120"/>
                  </a:cubicBezTo>
                  <a:cubicBezTo>
                    <a:pt x="288" y="119"/>
                    <a:pt x="288" y="119"/>
                    <a:pt x="288" y="119"/>
                  </a:cubicBezTo>
                  <a:cubicBezTo>
                    <a:pt x="288" y="119"/>
                    <a:pt x="287" y="118"/>
                    <a:pt x="287" y="117"/>
                  </a:cubicBezTo>
                  <a:cubicBezTo>
                    <a:pt x="286" y="116"/>
                    <a:pt x="286" y="116"/>
                    <a:pt x="286" y="116"/>
                  </a:cubicBezTo>
                  <a:cubicBezTo>
                    <a:pt x="286" y="116"/>
                    <a:pt x="286" y="116"/>
                    <a:pt x="286" y="116"/>
                  </a:cubicBezTo>
                  <a:cubicBezTo>
                    <a:pt x="286" y="115"/>
                    <a:pt x="286" y="113"/>
                    <a:pt x="285" y="112"/>
                  </a:cubicBezTo>
                  <a:cubicBezTo>
                    <a:pt x="285" y="112"/>
                    <a:pt x="285" y="112"/>
                    <a:pt x="285" y="112"/>
                  </a:cubicBezTo>
                  <a:cubicBezTo>
                    <a:pt x="285" y="111"/>
                    <a:pt x="285" y="111"/>
                    <a:pt x="285" y="111"/>
                  </a:cubicBezTo>
                  <a:cubicBezTo>
                    <a:pt x="285" y="109"/>
                    <a:pt x="285" y="107"/>
                    <a:pt x="287" y="106"/>
                  </a:cubicBezTo>
                  <a:cubicBezTo>
                    <a:pt x="287" y="105"/>
                    <a:pt x="287" y="105"/>
                    <a:pt x="288" y="105"/>
                  </a:cubicBezTo>
                  <a:cubicBezTo>
                    <a:pt x="288" y="103"/>
                    <a:pt x="289" y="102"/>
                    <a:pt x="291" y="100"/>
                  </a:cubicBezTo>
                  <a:cubicBezTo>
                    <a:pt x="292" y="100"/>
                    <a:pt x="292" y="100"/>
                    <a:pt x="292" y="100"/>
                  </a:cubicBezTo>
                  <a:cubicBezTo>
                    <a:pt x="295" y="99"/>
                    <a:pt x="297" y="97"/>
                    <a:pt x="300" y="95"/>
                  </a:cubicBezTo>
                  <a:cubicBezTo>
                    <a:pt x="300" y="95"/>
                    <a:pt x="301" y="94"/>
                    <a:pt x="302" y="94"/>
                  </a:cubicBezTo>
                  <a:cubicBezTo>
                    <a:pt x="303" y="93"/>
                    <a:pt x="304" y="92"/>
                    <a:pt x="305" y="91"/>
                  </a:cubicBezTo>
                  <a:cubicBezTo>
                    <a:pt x="304" y="91"/>
                    <a:pt x="303" y="89"/>
                    <a:pt x="302" y="87"/>
                  </a:cubicBezTo>
                  <a:cubicBezTo>
                    <a:pt x="301" y="86"/>
                    <a:pt x="301" y="86"/>
                    <a:pt x="301" y="86"/>
                  </a:cubicBezTo>
                  <a:cubicBezTo>
                    <a:pt x="301" y="85"/>
                    <a:pt x="301" y="85"/>
                    <a:pt x="301" y="85"/>
                  </a:cubicBezTo>
                  <a:cubicBezTo>
                    <a:pt x="300" y="84"/>
                    <a:pt x="300" y="84"/>
                    <a:pt x="300" y="84"/>
                  </a:cubicBezTo>
                  <a:cubicBezTo>
                    <a:pt x="300" y="84"/>
                    <a:pt x="300" y="84"/>
                    <a:pt x="300" y="84"/>
                  </a:cubicBezTo>
                  <a:cubicBezTo>
                    <a:pt x="299" y="84"/>
                    <a:pt x="298" y="84"/>
                    <a:pt x="296" y="83"/>
                  </a:cubicBezTo>
                  <a:cubicBezTo>
                    <a:pt x="296" y="83"/>
                    <a:pt x="296" y="83"/>
                    <a:pt x="296" y="83"/>
                  </a:cubicBezTo>
                  <a:cubicBezTo>
                    <a:pt x="291" y="83"/>
                    <a:pt x="284" y="86"/>
                    <a:pt x="280" y="88"/>
                  </a:cubicBezTo>
                  <a:cubicBezTo>
                    <a:pt x="280" y="87"/>
                    <a:pt x="280" y="87"/>
                    <a:pt x="280" y="87"/>
                  </a:cubicBezTo>
                  <a:cubicBezTo>
                    <a:pt x="278" y="87"/>
                    <a:pt x="276" y="89"/>
                    <a:pt x="274" y="89"/>
                  </a:cubicBezTo>
                  <a:cubicBezTo>
                    <a:pt x="274" y="89"/>
                    <a:pt x="274" y="89"/>
                    <a:pt x="274" y="89"/>
                  </a:cubicBezTo>
                  <a:cubicBezTo>
                    <a:pt x="271" y="88"/>
                    <a:pt x="268" y="86"/>
                    <a:pt x="266" y="85"/>
                  </a:cubicBezTo>
                  <a:cubicBezTo>
                    <a:pt x="265" y="84"/>
                    <a:pt x="266" y="84"/>
                    <a:pt x="267" y="84"/>
                  </a:cubicBezTo>
                  <a:cubicBezTo>
                    <a:pt x="267" y="84"/>
                    <a:pt x="269" y="84"/>
                    <a:pt x="269" y="84"/>
                  </a:cubicBezTo>
                  <a:cubicBezTo>
                    <a:pt x="269" y="84"/>
                    <a:pt x="269" y="84"/>
                    <a:pt x="269" y="84"/>
                  </a:cubicBezTo>
                  <a:cubicBezTo>
                    <a:pt x="270" y="84"/>
                    <a:pt x="270" y="84"/>
                    <a:pt x="270" y="84"/>
                  </a:cubicBezTo>
                  <a:cubicBezTo>
                    <a:pt x="270" y="84"/>
                    <a:pt x="271" y="84"/>
                    <a:pt x="271" y="84"/>
                  </a:cubicBezTo>
                  <a:cubicBezTo>
                    <a:pt x="271" y="84"/>
                    <a:pt x="271" y="84"/>
                    <a:pt x="271" y="84"/>
                  </a:cubicBezTo>
                  <a:cubicBezTo>
                    <a:pt x="272" y="84"/>
                    <a:pt x="273" y="85"/>
                    <a:pt x="274" y="85"/>
                  </a:cubicBezTo>
                  <a:cubicBezTo>
                    <a:pt x="274" y="85"/>
                    <a:pt x="274" y="85"/>
                    <a:pt x="274" y="85"/>
                  </a:cubicBezTo>
                  <a:cubicBezTo>
                    <a:pt x="277" y="84"/>
                    <a:pt x="279" y="75"/>
                    <a:pt x="280" y="72"/>
                  </a:cubicBezTo>
                  <a:cubicBezTo>
                    <a:pt x="279" y="73"/>
                    <a:pt x="279" y="73"/>
                    <a:pt x="278" y="74"/>
                  </a:cubicBezTo>
                  <a:cubicBezTo>
                    <a:pt x="279" y="71"/>
                    <a:pt x="284" y="69"/>
                    <a:pt x="286" y="67"/>
                  </a:cubicBezTo>
                  <a:cubicBezTo>
                    <a:pt x="281" y="63"/>
                    <a:pt x="275" y="60"/>
                    <a:pt x="270" y="56"/>
                  </a:cubicBezTo>
                  <a:cubicBezTo>
                    <a:pt x="269" y="55"/>
                    <a:pt x="268" y="55"/>
                    <a:pt x="267" y="54"/>
                  </a:cubicBezTo>
                  <a:cubicBezTo>
                    <a:pt x="269" y="58"/>
                    <a:pt x="263" y="57"/>
                    <a:pt x="264" y="61"/>
                  </a:cubicBezTo>
                  <a:cubicBezTo>
                    <a:pt x="260" y="56"/>
                    <a:pt x="259" y="53"/>
                    <a:pt x="253" y="51"/>
                  </a:cubicBezTo>
                  <a:cubicBezTo>
                    <a:pt x="254" y="52"/>
                    <a:pt x="255" y="53"/>
                    <a:pt x="255" y="54"/>
                  </a:cubicBezTo>
                  <a:cubicBezTo>
                    <a:pt x="255" y="53"/>
                    <a:pt x="254" y="53"/>
                    <a:pt x="253" y="53"/>
                  </a:cubicBezTo>
                  <a:cubicBezTo>
                    <a:pt x="253" y="55"/>
                    <a:pt x="254" y="57"/>
                    <a:pt x="254" y="59"/>
                  </a:cubicBezTo>
                  <a:cubicBezTo>
                    <a:pt x="253" y="56"/>
                    <a:pt x="254" y="55"/>
                    <a:pt x="252" y="52"/>
                  </a:cubicBezTo>
                  <a:cubicBezTo>
                    <a:pt x="251" y="54"/>
                    <a:pt x="251" y="56"/>
                    <a:pt x="250" y="58"/>
                  </a:cubicBezTo>
                  <a:cubicBezTo>
                    <a:pt x="249" y="55"/>
                    <a:pt x="248" y="52"/>
                    <a:pt x="246" y="49"/>
                  </a:cubicBezTo>
                  <a:cubicBezTo>
                    <a:pt x="246" y="48"/>
                    <a:pt x="246" y="47"/>
                    <a:pt x="245" y="47"/>
                  </a:cubicBezTo>
                  <a:cubicBezTo>
                    <a:pt x="245" y="47"/>
                    <a:pt x="244" y="47"/>
                    <a:pt x="244" y="48"/>
                  </a:cubicBezTo>
                  <a:cubicBezTo>
                    <a:pt x="242" y="50"/>
                    <a:pt x="241" y="51"/>
                    <a:pt x="240" y="51"/>
                  </a:cubicBezTo>
                  <a:cubicBezTo>
                    <a:pt x="238" y="51"/>
                    <a:pt x="237" y="50"/>
                    <a:pt x="234" y="49"/>
                  </a:cubicBezTo>
                  <a:cubicBezTo>
                    <a:pt x="234" y="49"/>
                    <a:pt x="235" y="49"/>
                    <a:pt x="235" y="49"/>
                  </a:cubicBezTo>
                  <a:cubicBezTo>
                    <a:pt x="236" y="49"/>
                    <a:pt x="237" y="50"/>
                    <a:pt x="238" y="50"/>
                  </a:cubicBezTo>
                  <a:cubicBezTo>
                    <a:pt x="239" y="50"/>
                    <a:pt x="239" y="50"/>
                    <a:pt x="239" y="50"/>
                  </a:cubicBezTo>
                  <a:cubicBezTo>
                    <a:pt x="239" y="50"/>
                    <a:pt x="239" y="50"/>
                    <a:pt x="239" y="50"/>
                  </a:cubicBezTo>
                  <a:cubicBezTo>
                    <a:pt x="239" y="50"/>
                    <a:pt x="239" y="49"/>
                    <a:pt x="240" y="49"/>
                  </a:cubicBezTo>
                  <a:cubicBezTo>
                    <a:pt x="240" y="49"/>
                    <a:pt x="240" y="49"/>
                    <a:pt x="240" y="49"/>
                  </a:cubicBezTo>
                  <a:cubicBezTo>
                    <a:pt x="240" y="49"/>
                    <a:pt x="240" y="49"/>
                    <a:pt x="241" y="50"/>
                  </a:cubicBezTo>
                  <a:cubicBezTo>
                    <a:pt x="241" y="50"/>
                    <a:pt x="241" y="50"/>
                    <a:pt x="241" y="50"/>
                  </a:cubicBezTo>
                  <a:cubicBezTo>
                    <a:pt x="242" y="50"/>
                    <a:pt x="242" y="50"/>
                    <a:pt x="242" y="49"/>
                  </a:cubicBezTo>
                  <a:cubicBezTo>
                    <a:pt x="245" y="47"/>
                    <a:pt x="240" y="43"/>
                    <a:pt x="237" y="43"/>
                  </a:cubicBezTo>
                  <a:cubicBezTo>
                    <a:pt x="236" y="43"/>
                    <a:pt x="236" y="43"/>
                    <a:pt x="236" y="43"/>
                  </a:cubicBezTo>
                  <a:cubicBezTo>
                    <a:pt x="237" y="43"/>
                    <a:pt x="237" y="42"/>
                    <a:pt x="238" y="42"/>
                  </a:cubicBezTo>
                  <a:cubicBezTo>
                    <a:pt x="237" y="41"/>
                    <a:pt x="236" y="41"/>
                    <a:pt x="235" y="40"/>
                  </a:cubicBezTo>
                  <a:cubicBezTo>
                    <a:pt x="236" y="39"/>
                    <a:pt x="237" y="39"/>
                    <a:pt x="239" y="39"/>
                  </a:cubicBezTo>
                  <a:cubicBezTo>
                    <a:pt x="240" y="39"/>
                    <a:pt x="241" y="39"/>
                    <a:pt x="242" y="39"/>
                  </a:cubicBezTo>
                  <a:cubicBezTo>
                    <a:pt x="243" y="39"/>
                    <a:pt x="244" y="39"/>
                    <a:pt x="245" y="39"/>
                  </a:cubicBezTo>
                  <a:cubicBezTo>
                    <a:pt x="246" y="39"/>
                    <a:pt x="247" y="39"/>
                    <a:pt x="247" y="39"/>
                  </a:cubicBezTo>
                  <a:cubicBezTo>
                    <a:pt x="252" y="37"/>
                    <a:pt x="256" y="36"/>
                    <a:pt x="260" y="35"/>
                  </a:cubicBezTo>
                  <a:cubicBezTo>
                    <a:pt x="250" y="35"/>
                    <a:pt x="241" y="35"/>
                    <a:pt x="231" y="35"/>
                  </a:cubicBezTo>
                  <a:cubicBezTo>
                    <a:pt x="228" y="35"/>
                    <a:pt x="224" y="37"/>
                    <a:pt x="220" y="37"/>
                  </a:cubicBezTo>
                  <a:cubicBezTo>
                    <a:pt x="218" y="37"/>
                    <a:pt x="216" y="36"/>
                    <a:pt x="215" y="35"/>
                  </a:cubicBezTo>
                  <a:cubicBezTo>
                    <a:pt x="215" y="37"/>
                    <a:pt x="213" y="37"/>
                    <a:pt x="211" y="37"/>
                  </a:cubicBezTo>
                  <a:cubicBezTo>
                    <a:pt x="210" y="37"/>
                    <a:pt x="209" y="37"/>
                    <a:pt x="209" y="37"/>
                  </a:cubicBezTo>
                  <a:cubicBezTo>
                    <a:pt x="208" y="37"/>
                    <a:pt x="205" y="36"/>
                    <a:pt x="205" y="36"/>
                  </a:cubicBezTo>
                  <a:cubicBezTo>
                    <a:pt x="203" y="37"/>
                    <a:pt x="206" y="39"/>
                    <a:pt x="207" y="39"/>
                  </a:cubicBezTo>
                  <a:cubicBezTo>
                    <a:pt x="208" y="40"/>
                    <a:pt x="209" y="40"/>
                    <a:pt x="210" y="40"/>
                  </a:cubicBezTo>
                  <a:cubicBezTo>
                    <a:pt x="211" y="40"/>
                    <a:pt x="212" y="40"/>
                    <a:pt x="212" y="40"/>
                  </a:cubicBezTo>
                  <a:cubicBezTo>
                    <a:pt x="213" y="39"/>
                    <a:pt x="214" y="39"/>
                    <a:pt x="214" y="39"/>
                  </a:cubicBezTo>
                  <a:cubicBezTo>
                    <a:pt x="216" y="39"/>
                    <a:pt x="217" y="40"/>
                    <a:pt x="218" y="40"/>
                  </a:cubicBezTo>
                  <a:cubicBezTo>
                    <a:pt x="211" y="41"/>
                    <a:pt x="206" y="43"/>
                    <a:pt x="199" y="45"/>
                  </a:cubicBezTo>
                  <a:cubicBezTo>
                    <a:pt x="196" y="46"/>
                    <a:pt x="193" y="48"/>
                    <a:pt x="191" y="49"/>
                  </a:cubicBezTo>
                  <a:cubicBezTo>
                    <a:pt x="190" y="50"/>
                    <a:pt x="190" y="50"/>
                    <a:pt x="189" y="50"/>
                  </a:cubicBezTo>
                  <a:cubicBezTo>
                    <a:pt x="187" y="50"/>
                    <a:pt x="183" y="49"/>
                    <a:pt x="182" y="49"/>
                  </a:cubicBezTo>
                  <a:cubicBezTo>
                    <a:pt x="178" y="48"/>
                    <a:pt x="173" y="48"/>
                    <a:pt x="169" y="46"/>
                  </a:cubicBezTo>
                  <a:cubicBezTo>
                    <a:pt x="166" y="45"/>
                    <a:pt x="163" y="41"/>
                    <a:pt x="164" y="38"/>
                  </a:cubicBezTo>
                  <a:cubicBezTo>
                    <a:pt x="161" y="37"/>
                    <a:pt x="159" y="37"/>
                    <a:pt x="156" y="37"/>
                  </a:cubicBezTo>
                  <a:cubicBezTo>
                    <a:pt x="154" y="37"/>
                    <a:pt x="152" y="37"/>
                    <a:pt x="149" y="37"/>
                  </a:cubicBezTo>
                  <a:cubicBezTo>
                    <a:pt x="149" y="38"/>
                    <a:pt x="150" y="39"/>
                    <a:pt x="150" y="40"/>
                  </a:cubicBezTo>
                  <a:cubicBezTo>
                    <a:pt x="150" y="43"/>
                    <a:pt x="147" y="46"/>
                    <a:pt x="143" y="46"/>
                  </a:cubicBezTo>
                  <a:cubicBezTo>
                    <a:pt x="140" y="46"/>
                    <a:pt x="137" y="43"/>
                    <a:pt x="137" y="40"/>
                  </a:cubicBezTo>
                  <a:cubicBezTo>
                    <a:pt x="137" y="39"/>
                    <a:pt x="137" y="39"/>
                    <a:pt x="137" y="38"/>
                  </a:cubicBezTo>
                  <a:cubicBezTo>
                    <a:pt x="134" y="39"/>
                    <a:pt x="131" y="39"/>
                    <a:pt x="127" y="39"/>
                  </a:cubicBezTo>
                  <a:cubicBezTo>
                    <a:pt x="125" y="40"/>
                    <a:pt x="124" y="40"/>
                    <a:pt x="122" y="40"/>
                  </a:cubicBezTo>
                  <a:cubicBezTo>
                    <a:pt x="121" y="40"/>
                    <a:pt x="120" y="40"/>
                    <a:pt x="118" y="39"/>
                  </a:cubicBezTo>
                  <a:cubicBezTo>
                    <a:pt x="114" y="38"/>
                    <a:pt x="112" y="39"/>
                    <a:pt x="112" y="34"/>
                  </a:cubicBezTo>
                  <a:cubicBezTo>
                    <a:pt x="111" y="32"/>
                    <a:pt x="111" y="27"/>
                    <a:pt x="109" y="25"/>
                  </a:cubicBezTo>
                  <a:cubicBezTo>
                    <a:pt x="107" y="24"/>
                    <a:pt x="104" y="20"/>
                    <a:pt x="101" y="20"/>
                  </a:cubicBezTo>
                  <a:cubicBezTo>
                    <a:pt x="97" y="19"/>
                    <a:pt x="93" y="18"/>
                    <a:pt x="89" y="17"/>
                  </a:cubicBezTo>
                  <a:cubicBezTo>
                    <a:pt x="86" y="17"/>
                    <a:pt x="83" y="17"/>
                    <a:pt x="81" y="16"/>
                  </a:cubicBezTo>
                  <a:cubicBezTo>
                    <a:pt x="79" y="15"/>
                    <a:pt x="78" y="15"/>
                    <a:pt x="77" y="12"/>
                  </a:cubicBezTo>
                  <a:cubicBezTo>
                    <a:pt x="77" y="10"/>
                    <a:pt x="76" y="8"/>
                    <a:pt x="76" y="6"/>
                  </a:cubicBezTo>
                  <a:cubicBezTo>
                    <a:pt x="75" y="3"/>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253"/>
            <p:cNvSpPr/>
            <p:nvPr/>
          </p:nvSpPr>
          <p:spPr bwMode="auto">
            <a:xfrm>
              <a:off x="9073327" y="1358607"/>
              <a:ext cx="333296" cy="543725"/>
            </a:xfrm>
            <a:custGeom>
              <a:gdLst>
                <a:gd name="T0" fmla="*/ 29 w 100"/>
                <a:gd name="T1" fmla="*/ 7 h 163"/>
                <a:gd name="T2" fmla="*/ 18 w 100"/>
                <a:gd name="T3" fmla="*/ 14 h 163"/>
                <a:gd name="T4" fmla="*/ 15 w 100"/>
                <a:gd name="T5" fmla="*/ 19 h 163"/>
                <a:gd name="T6" fmla="*/ 16 w 100"/>
                <a:gd name="T7" fmla="*/ 24 h 163"/>
                <a:gd name="T8" fmla="*/ 23 w 100"/>
                <a:gd name="T9" fmla="*/ 28 h 163"/>
                <a:gd name="T10" fmla="*/ 21 w 100"/>
                <a:gd name="T11" fmla="*/ 34 h 163"/>
                <a:gd name="T12" fmla="*/ 13 w 100"/>
                <a:gd name="T13" fmla="*/ 38 h 163"/>
                <a:gd name="T14" fmla="*/ 8 w 100"/>
                <a:gd name="T15" fmla="*/ 38 h 163"/>
                <a:gd name="T16" fmla="*/ 5 w 100"/>
                <a:gd name="T17" fmla="*/ 40 h 163"/>
                <a:gd name="T18" fmla="*/ 4 w 100"/>
                <a:gd name="T19" fmla="*/ 42 h 163"/>
                <a:gd name="T20" fmla="*/ 5 w 100"/>
                <a:gd name="T21" fmla="*/ 47 h 163"/>
                <a:gd name="T22" fmla="*/ 0 w 100"/>
                <a:gd name="T23" fmla="*/ 55 h 163"/>
                <a:gd name="T24" fmla="*/ 9 w 100"/>
                <a:gd name="T25" fmla="*/ 66 h 163"/>
                <a:gd name="T26" fmla="*/ 13 w 100"/>
                <a:gd name="T27" fmla="*/ 69 h 163"/>
                <a:gd name="T28" fmla="*/ 15 w 100"/>
                <a:gd name="T29" fmla="*/ 69 h 163"/>
                <a:gd name="T30" fmla="*/ 18 w 100"/>
                <a:gd name="T31" fmla="*/ 69 h 163"/>
                <a:gd name="T32" fmla="*/ 21 w 100"/>
                <a:gd name="T33" fmla="*/ 69 h 163"/>
                <a:gd name="T34" fmla="*/ 23 w 100"/>
                <a:gd name="T35" fmla="*/ 69 h 163"/>
                <a:gd name="T36" fmla="*/ 26 w 100"/>
                <a:gd name="T37" fmla="*/ 70 h 163"/>
                <a:gd name="T38" fmla="*/ 29 w 100"/>
                <a:gd name="T39" fmla="*/ 72 h 163"/>
                <a:gd name="T40" fmla="*/ 38 w 100"/>
                <a:gd name="T41" fmla="*/ 92 h 163"/>
                <a:gd name="T42" fmla="*/ 42 w 100"/>
                <a:gd name="T43" fmla="*/ 101 h 163"/>
                <a:gd name="T44" fmla="*/ 32 w 100"/>
                <a:gd name="T45" fmla="*/ 132 h 163"/>
                <a:gd name="T46" fmla="*/ 38 w 100"/>
                <a:gd name="T47" fmla="*/ 148 h 163"/>
                <a:gd name="T48" fmla="*/ 49 w 100"/>
                <a:gd name="T49" fmla="*/ 159 h 163"/>
                <a:gd name="T50" fmla="*/ 57 w 100"/>
                <a:gd name="T51" fmla="*/ 162 h 163"/>
                <a:gd name="T52" fmla="*/ 58 w 100"/>
                <a:gd name="T53" fmla="*/ 158 h 163"/>
                <a:gd name="T54" fmla="*/ 86 w 100"/>
                <a:gd name="T55" fmla="*/ 148 h 163"/>
                <a:gd name="T56" fmla="*/ 97 w 100"/>
                <a:gd name="T57" fmla="*/ 144 h 163"/>
                <a:gd name="T58" fmla="*/ 100 w 100"/>
                <a:gd name="T59" fmla="*/ 145 h 163"/>
                <a:gd name="T60" fmla="*/ 98 w 100"/>
                <a:gd name="T61" fmla="*/ 142 h 163"/>
                <a:gd name="T62" fmla="*/ 90 w 100"/>
                <a:gd name="T63" fmla="*/ 129 h 163"/>
                <a:gd name="T64" fmla="*/ 88 w 100"/>
                <a:gd name="T65" fmla="*/ 118 h 163"/>
                <a:gd name="T66" fmla="*/ 81 w 100"/>
                <a:gd name="T67" fmla="*/ 116 h 163"/>
                <a:gd name="T68" fmla="*/ 72 w 100"/>
                <a:gd name="T69" fmla="*/ 93 h 163"/>
                <a:gd name="T70" fmla="*/ 73 w 100"/>
                <a:gd name="T71" fmla="*/ 90 h 163"/>
                <a:gd name="T72" fmla="*/ 74 w 100"/>
                <a:gd name="T73" fmla="*/ 86 h 163"/>
                <a:gd name="T74" fmla="*/ 76 w 100"/>
                <a:gd name="T75" fmla="*/ 79 h 163"/>
                <a:gd name="T76" fmla="*/ 86 w 100"/>
                <a:gd name="T77" fmla="*/ 74 h 163"/>
                <a:gd name="T78" fmla="*/ 88 w 100"/>
                <a:gd name="T79" fmla="*/ 73 h 163"/>
                <a:gd name="T80" fmla="*/ 89 w 100"/>
                <a:gd name="T81" fmla="*/ 67 h 163"/>
                <a:gd name="T82" fmla="*/ 91 w 100"/>
                <a:gd name="T83" fmla="*/ 57 h 163"/>
                <a:gd name="T84" fmla="*/ 92 w 100"/>
                <a:gd name="T85" fmla="*/ 55 h 163"/>
                <a:gd name="T86" fmla="*/ 86 w 100"/>
                <a:gd name="T87" fmla="*/ 48 h 163"/>
                <a:gd name="T88" fmla="*/ 68 w 100"/>
                <a:gd name="T89" fmla="*/ 33 h 163"/>
                <a:gd name="T90" fmla="*/ 63 w 100"/>
                <a:gd name="T91" fmla="*/ 28 h 163"/>
                <a:gd name="T92" fmla="*/ 34 w 100"/>
                <a:gd name="T93" fmla="*/ 0 h 1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0" h="163">
                  <a:moveTo>
                    <a:pt x="34" y="0"/>
                  </a:moveTo>
                  <a:cubicBezTo>
                    <a:pt x="35" y="1"/>
                    <a:pt x="34" y="2"/>
                    <a:pt x="34" y="3"/>
                  </a:cubicBezTo>
                  <a:cubicBezTo>
                    <a:pt x="33" y="5"/>
                    <a:pt x="31" y="6"/>
                    <a:pt x="29" y="7"/>
                  </a:cubicBezTo>
                  <a:cubicBezTo>
                    <a:pt x="28" y="8"/>
                    <a:pt x="28" y="8"/>
                    <a:pt x="27" y="9"/>
                  </a:cubicBezTo>
                  <a:cubicBezTo>
                    <a:pt x="25" y="11"/>
                    <a:pt x="22" y="12"/>
                    <a:pt x="19" y="14"/>
                  </a:cubicBezTo>
                  <a:cubicBezTo>
                    <a:pt x="18" y="14"/>
                    <a:pt x="18" y="14"/>
                    <a:pt x="18" y="14"/>
                  </a:cubicBezTo>
                  <a:cubicBezTo>
                    <a:pt x="17" y="15"/>
                    <a:pt x="17" y="15"/>
                    <a:pt x="17" y="16"/>
                  </a:cubicBezTo>
                  <a:cubicBezTo>
                    <a:pt x="16" y="17"/>
                    <a:pt x="16" y="17"/>
                    <a:pt x="15" y="18"/>
                  </a:cubicBezTo>
                  <a:cubicBezTo>
                    <a:pt x="15" y="19"/>
                    <a:pt x="15" y="19"/>
                    <a:pt x="15" y="19"/>
                  </a:cubicBezTo>
                  <a:cubicBezTo>
                    <a:pt x="15" y="20"/>
                    <a:pt x="15" y="20"/>
                    <a:pt x="15" y="20"/>
                  </a:cubicBezTo>
                  <a:cubicBezTo>
                    <a:pt x="15" y="21"/>
                    <a:pt x="16" y="22"/>
                    <a:pt x="16" y="23"/>
                  </a:cubicBezTo>
                  <a:cubicBezTo>
                    <a:pt x="16" y="24"/>
                    <a:pt x="16" y="24"/>
                    <a:pt x="16" y="24"/>
                  </a:cubicBezTo>
                  <a:cubicBezTo>
                    <a:pt x="17" y="24"/>
                    <a:pt x="17" y="24"/>
                    <a:pt x="17" y="24"/>
                  </a:cubicBezTo>
                  <a:cubicBezTo>
                    <a:pt x="19" y="24"/>
                    <a:pt x="22" y="24"/>
                    <a:pt x="23" y="27"/>
                  </a:cubicBezTo>
                  <a:cubicBezTo>
                    <a:pt x="23" y="27"/>
                    <a:pt x="23" y="28"/>
                    <a:pt x="23" y="28"/>
                  </a:cubicBezTo>
                  <a:cubicBezTo>
                    <a:pt x="23" y="29"/>
                    <a:pt x="23" y="29"/>
                    <a:pt x="23" y="29"/>
                  </a:cubicBezTo>
                  <a:cubicBezTo>
                    <a:pt x="23" y="30"/>
                    <a:pt x="23" y="32"/>
                    <a:pt x="21" y="34"/>
                  </a:cubicBezTo>
                  <a:cubicBezTo>
                    <a:pt x="21" y="34"/>
                    <a:pt x="21" y="34"/>
                    <a:pt x="21" y="34"/>
                  </a:cubicBezTo>
                  <a:cubicBezTo>
                    <a:pt x="19" y="35"/>
                    <a:pt x="18" y="36"/>
                    <a:pt x="17" y="36"/>
                  </a:cubicBezTo>
                  <a:cubicBezTo>
                    <a:pt x="16" y="37"/>
                    <a:pt x="16" y="37"/>
                    <a:pt x="16" y="37"/>
                  </a:cubicBezTo>
                  <a:cubicBezTo>
                    <a:pt x="15" y="37"/>
                    <a:pt x="14" y="38"/>
                    <a:pt x="13" y="38"/>
                  </a:cubicBezTo>
                  <a:cubicBezTo>
                    <a:pt x="13" y="38"/>
                    <a:pt x="12" y="39"/>
                    <a:pt x="11" y="39"/>
                  </a:cubicBezTo>
                  <a:cubicBezTo>
                    <a:pt x="11" y="39"/>
                    <a:pt x="11" y="39"/>
                    <a:pt x="11" y="39"/>
                  </a:cubicBezTo>
                  <a:cubicBezTo>
                    <a:pt x="10" y="39"/>
                    <a:pt x="9" y="39"/>
                    <a:pt x="8" y="38"/>
                  </a:cubicBezTo>
                  <a:cubicBezTo>
                    <a:pt x="8" y="38"/>
                    <a:pt x="8" y="38"/>
                    <a:pt x="8" y="38"/>
                  </a:cubicBezTo>
                  <a:cubicBezTo>
                    <a:pt x="6" y="39"/>
                    <a:pt x="6" y="39"/>
                    <a:pt x="6" y="39"/>
                  </a:cubicBezTo>
                  <a:cubicBezTo>
                    <a:pt x="6" y="39"/>
                    <a:pt x="6" y="39"/>
                    <a:pt x="5" y="40"/>
                  </a:cubicBezTo>
                  <a:cubicBezTo>
                    <a:pt x="5" y="40"/>
                    <a:pt x="5" y="40"/>
                    <a:pt x="4" y="40"/>
                  </a:cubicBezTo>
                  <a:cubicBezTo>
                    <a:pt x="4" y="41"/>
                    <a:pt x="4" y="41"/>
                    <a:pt x="4" y="42"/>
                  </a:cubicBezTo>
                  <a:cubicBezTo>
                    <a:pt x="4" y="42"/>
                    <a:pt x="4" y="42"/>
                    <a:pt x="4" y="42"/>
                  </a:cubicBezTo>
                  <a:cubicBezTo>
                    <a:pt x="4" y="43"/>
                    <a:pt x="4" y="43"/>
                    <a:pt x="4" y="44"/>
                  </a:cubicBezTo>
                  <a:cubicBezTo>
                    <a:pt x="4" y="45"/>
                    <a:pt x="4" y="45"/>
                    <a:pt x="4" y="46"/>
                  </a:cubicBezTo>
                  <a:cubicBezTo>
                    <a:pt x="4" y="46"/>
                    <a:pt x="5" y="47"/>
                    <a:pt x="5" y="47"/>
                  </a:cubicBezTo>
                  <a:cubicBezTo>
                    <a:pt x="5" y="48"/>
                    <a:pt x="5" y="49"/>
                    <a:pt x="4" y="51"/>
                  </a:cubicBezTo>
                  <a:cubicBezTo>
                    <a:pt x="4" y="52"/>
                    <a:pt x="2" y="53"/>
                    <a:pt x="1" y="54"/>
                  </a:cubicBezTo>
                  <a:cubicBezTo>
                    <a:pt x="0" y="55"/>
                    <a:pt x="0" y="55"/>
                    <a:pt x="0" y="55"/>
                  </a:cubicBezTo>
                  <a:cubicBezTo>
                    <a:pt x="0" y="55"/>
                    <a:pt x="0" y="55"/>
                    <a:pt x="0" y="55"/>
                  </a:cubicBezTo>
                  <a:cubicBezTo>
                    <a:pt x="8" y="65"/>
                    <a:pt x="8" y="65"/>
                    <a:pt x="8" y="65"/>
                  </a:cubicBezTo>
                  <a:cubicBezTo>
                    <a:pt x="9" y="66"/>
                    <a:pt x="9" y="66"/>
                    <a:pt x="9" y="66"/>
                  </a:cubicBezTo>
                  <a:cubicBezTo>
                    <a:pt x="9" y="66"/>
                    <a:pt x="9" y="66"/>
                    <a:pt x="9" y="66"/>
                  </a:cubicBezTo>
                  <a:cubicBezTo>
                    <a:pt x="10" y="67"/>
                    <a:pt x="11" y="68"/>
                    <a:pt x="12" y="69"/>
                  </a:cubicBezTo>
                  <a:cubicBezTo>
                    <a:pt x="13" y="69"/>
                    <a:pt x="13" y="69"/>
                    <a:pt x="13" y="69"/>
                  </a:cubicBezTo>
                  <a:cubicBezTo>
                    <a:pt x="13" y="69"/>
                    <a:pt x="13" y="69"/>
                    <a:pt x="13" y="69"/>
                  </a:cubicBezTo>
                  <a:cubicBezTo>
                    <a:pt x="14" y="69"/>
                    <a:pt x="14" y="69"/>
                    <a:pt x="14" y="69"/>
                  </a:cubicBezTo>
                  <a:cubicBezTo>
                    <a:pt x="14" y="69"/>
                    <a:pt x="14" y="69"/>
                    <a:pt x="15" y="69"/>
                  </a:cubicBezTo>
                  <a:cubicBezTo>
                    <a:pt x="16" y="69"/>
                    <a:pt x="16" y="69"/>
                    <a:pt x="16" y="69"/>
                  </a:cubicBezTo>
                  <a:cubicBezTo>
                    <a:pt x="16" y="69"/>
                    <a:pt x="16" y="69"/>
                    <a:pt x="17" y="69"/>
                  </a:cubicBezTo>
                  <a:cubicBezTo>
                    <a:pt x="18" y="69"/>
                    <a:pt x="18" y="69"/>
                    <a:pt x="18" y="69"/>
                  </a:cubicBezTo>
                  <a:cubicBezTo>
                    <a:pt x="18" y="69"/>
                    <a:pt x="19" y="69"/>
                    <a:pt x="20" y="69"/>
                  </a:cubicBezTo>
                  <a:cubicBezTo>
                    <a:pt x="20" y="69"/>
                    <a:pt x="20" y="69"/>
                    <a:pt x="20" y="69"/>
                  </a:cubicBezTo>
                  <a:cubicBezTo>
                    <a:pt x="21" y="69"/>
                    <a:pt x="21" y="69"/>
                    <a:pt x="21" y="69"/>
                  </a:cubicBezTo>
                  <a:cubicBezTo>
                    <a:pt x="21" y="69"/>
                    <a:pt x="21" y="69"/>
                    <a:pt x="21" y="69"/>
                  </a:cubicBezTo>
                  <a:cubicBezTo>
                    <a:pt x="21" y="69"/>
                    <a:pt x="21" y="69"/>
                    <a:pt x="22" y="69"/>
                  </a:cubicBezTo>
                  <a:cubicBezTo>
                    <a:pt x="22" y="69"/>
                    <a:pt x="23" y="69"/>
                    <a:pt x="23" y="69"/>
                  </a:cubicBezTo>
                  <a:cubicBezTo>
                    <a:pt x="24" y="69"/>
                    <a:pt x="24" y="69"/>
                    <a:pt x="24" y="69"/>
                  </a:cubicBezTo>
                  <a:cubicBezTo>
                    <a:pt x="24" y="69"/>
                    <a:pt x="24" y="69"/>
                    <a:pt x="24" y="69"/>
                  </a:cubicBezTo>
                  <a:cubicBezTo>
                    <a:pt x="25" y="69"/>
                    <a:pt x="25" y="70"/>
                    <a:pt x="26" y="70"/>
                  </a:cubicBezTo>
                  <a:cubicBezTo>
                    <a:pt x="26" y="70"/>
                    <a:pt x="26" y="70"/>
                    <a:pt x="26" y="70"/>
                  </a:cubicBezTo>
                  <a:cubicBezTo>
                    <a:pt x="27" y="70"/>
                    <a:pt x="27" y="70"/>
                    <a:pt x="27" y="70"/>
                  </a:cubicBezTo>
                  <a:cubicBezTo>
                    <a:pt x="28" y="71"/>
                    <a:pt x="28" y="71"/>
                    <a:pt x="29" y="72"/>
                  </a:cubicBezTo>
                  <a:cubicBezTo>
                    <a:pt x="31" y="75"/>
                    <a:pt x="31" y="80"/>
                    <a:pt x="29" y="86"/>
                  </a:cubicBezTo>
                  <a:cubicBezTo>
                    <a:pt x="33" y="86"/>
                    <a:pt x="38" y="88"/>
                    <a:pt x="38" y="92"/>
                  </a:cubicBezTo>
                  <a:cubicBezTo>
                    <a:pt x="38" y="92"/>
                    <a:pt x="38" y="92"/>
                    <a:pt x="38" y="92"/>
                  </a:cubicBezTo>
                  <a:cubicBezTo>
                    <a:pt x="37" y="93"/>
                    <a:pt x="37" y="93"/>
                    <a:pt x="37" y="93"/>
                  </a:cubicBezTo>
                  <a:cubicBezTo>
                    <a:pt x="37" y="94"/>
                    <a:pt x="38" y="97"/>
                    <a:pt x="41" y="100"/>
                  </a:cubicBezTo>
                  <a:cubicBezTo>
                    <a:pt x="42" y="101"/>
                    <a:pt x="42" y="101"/>
                    <a:pt x="42" y="101"/>
                  </a:cubicBezTo>
                  <a:cubicBezTo>
                    <a:pt x="42" y="103"/>
                    <a:pt x="42" y="103"/>
                    <a:pt x="42" y="103"/>
                  </a:cubicBezTo>
                  <a:cubicBezTo>
                    <a:pt x="41" y="106"/>
                    <a:pt x="39" y="108"/>
                    <a:pt x="38" y="109"/>
                  </a:cubicBezTo>
                  <a:cubicBezTo>
                    <a:pt x="36" y="112"/>
                    <a:pt x="29" y="129"/>
                    <a:pt x="32" y="132"/>
                  </a:cubicBezTo>
                  <a:cubicBezTo>
                    <a:pt x="32" y="133"/>
                    <a:pt x="32" y="133"/>
                    <a:pt x="32" y="133"/>
                  </a:cubicBezTo>
                  <a:cubicBezTo>
                    <a:pt x="32" y="134"/>
                    <a:pt x="33" y="135"/>
                    <a:pt x="33" y="136"/>
                  </a:cubicBezTo>
                  <a:cubicBezTo>
                    <a:pt x="35" y="137"/>
                    <a:pt x="38" y="141"/>
                    <a:pt x="38" y="148"/>
                  </a:cubicBezTo>
                  <a:cubicBezTo>
                    <a:pt x="38" y="150"/>
                    <a:pt x="41" y="153"/>
                    <a:pt x="43" y="154"/>
                  </a:cubicBezTo>
                  <a:cubicBezTo>
                    <a:pt x="43" y="155"/>
                    <a:pt x="43" y="155"/>
                    <a:pt x="44" y="156"/>
                  </a:cubicBezTo>
                  <a:cubicBezTo>
                    <a:pt x="45" y="157"/>
                    <a:pt x="47" y="159"/>
                    <a:pt x="49" y="159"/>
                  </a:cubicBezTo>
                  <a:cubicBezTo>
                    <a:pt x="52" y="159"/>
                    <a:pt x="54" y="161"/>
                    <a:pt x="55" y="162"/>
                  </a:cubicBezTo>
                  <a:cubicBezTo>
                    <a:pt x="55" y="162"/>
                    <a:pt x="56" y="163"/>
                    <a:pt x="56" y="163"/>
                  </a:cubicBezTo>
                  <a:cubicBezTo>
                    <a:pt x="57" y="163"/>
                    <a:pt x="57" y="162"/>
                    <a:pt x="57" y="162"/>
                  </a:cubicBezTo>
                  <a:cubicBezTo>
                    <a:pt x="59" y="162"/>
                    <a:pt x="60" y="161"/>
                    <a:pt x="60" y="161"/>
                  </a:cubicBezTo>
                  <a:cubicBezTo>
                    <a:pt x="60" y="161"/>
                    <a:pt x="60" y="161"/>
                    <a:pt x="60" y="161"/>
                  </a:cubicBezTo>
                  <a:cubicBezTo>
                    <a:pt x="58" y="158"/>
                    <a:pt x="58" y="158"/>
                    <a:pt x="58" y="158"/>
                  </a:cubicBezTo>
                  <a:cubicBezTo>
                    <a:pt x="62" y="157"/>
                    <a:pt x="62" y="157"/>
                    <a:pt x="62" y="157"/>
                  </a:cubicBezTo>
                  <a:cubicBezTo>
                    <a:pt x="77" y="153"/>
                    <a:pt x="81" y="152"/>
                    <a:pt x="81" y="152"/>
                  </a:cubicBezTo>
                  <a:cubicBezTo>
                    <a:pt x="82" y="152"/>
                    <a:pt x="84" y="151"/>
                    <a:pt x="86" y="148"/>
                  </a:cubicBezTo>
                  <a:cubicBezTo>
                    <a:pt x="88" y="145"/>
                    <a:pt x="92" y="143"/>
                    <a:pt x="94" y="143"/>
                  </a:cubicBezTo>
                  <a:cubicBezTo>
                    <a:pt x="94" y="143"/>
                    <a:pt x="94" y="143"/>
                    <a:pt x="95" y="143"/>
                  </a:cubicBezTo>
                  <a:cubicBezTo>
                    <a:pt x="95" y="143"/>
                    <a:pt x="96" y="144"/>
                    <a:pt x="97" y="144"/>
                  </a:cubicBezTo>
                  <a:cubicBezTo>
                    <a:pt x="98" y="144"/>
                    <a:pt x="98" y="145"/>
                    <a:pt x="99" y="145"/>
                  </a:cubicBezTo>
                  <a:cubicBezTo>
                    <a:pt x="99" y="145"/>
                    <a:pt x="99" y="145"/>
                    <a:pt x="99" y="145"/>
                  </a:cubicBezTo>
                  <a:cubicBezTo>
                    <a:pt x="100" y="145"/>
                    <a:pt x="100" y="145"/>
                    <a:pt x="100" y="145"/>
                  </a:cubicBezTo>
                  <a:cubicBezTo>
                    <a:pt x="100" y="144"/>
                    <a:pt x="100" y="144"/>
                    <a:pt x="100" y="144"/>
                  </a:cubicBezTo>
                  <a:cubicBezTo>
                    <a:pt x="99" y="144"/>
                    <a:pt x="99" y="144"/>
                    <a:pt x="99" y="143"/>
                  </a:cubicBezTo>
                  <a:cubicBezTo>
                    <a:pt x="98" y="142"/>
                    <a:pt x="98" y="142"/>
                    <a:pt x="98" y="142"/>
                  </a:cubicBezTo>
                  <a:cubicBezTo>
                    <a:pt x="96" y="139"/>
                    <a:pt x="95" y="136"/>
                    <a:pt x="93" y="133"/>
                  </a:cubicBezTo>
                  <a:cubicBezTo>
                    <a:pt x="91" y="131"/>
                    <a:pt x="91" y="131"/>
                    <a:pt x="91" y="131"/>
                  </a:cubicBezTo>
                  <a:cubicBezTo>
                    <a:pt x="91" y="130"/>
                    <a:pt x="91" y="130"/>
                    <a:pt x="90" y="129"/>
                  </a:cubicBezTo>
                  <a:cubicBezTo>
                    <a:pt x="90" y="128"/>
                    <a:pt x="90" y="127"/>
                    <a:pt x="90" y="126"/>
                  </a:cubicBezTo>
                  <a:cubicBezTo>
                    <a:pt x="90" y="126"/>
                    <a:pt x="90" y="125"/>
                    <a:pt x="90" y="125"/>
                  </a:cubicBezTo>
                  <a:cubicBezTo>
                    <a:pt x="89" y="123"/>
                    <a:pt x="89" y="121"/>
                    <a:pt x="88" y="118"/>
                  </a:cubicBezTo>
                  <a:cubicBezTo>
                    <a:pt x="88" y="119"/>
                    <a:pt x="87" y="119"/>
                    <a:pt x="87" y="119"/>
                  </a:cubicBezTo>
                  <a:cubicBezTo>
                    <a:pt x="85" y="119"/>
                    <a:pt x="83" y="118"/>
                    <a:pt x="81" y="117"/>
                  </a:cubicBezTo>
                  <a:cubicBezTo>
                    <a:pt x="81" y="116"/>
                    <a:pt x="81" y="116"/>
                    <a:pt x="81" y="116"/>
                  </a:cubicBezTo>
                  <a:cubicBezTo>
                    <a:pt x="78" y="115"/>
                    <a:pt x="77" y="112"/>
                    <a:pt x="75" y="109"/>
                  </a:cubicBezTo>
                  <a:cubicBezTo>
                    <a:pt x="72" y="104"/>
                    <a:pt x="69" y="99"/>
                    <a:pt x="70" y="96"/>
                  </a:cubicBezTo>
                  <a:cubicBezTo>
                    <a:pt x="70" y="94"/>
                    <a:pt x="72" y="93"/>
                    <a:pt x="72" y="93"/>
                  </a:cubicBezTo>
                  <a:cubicBezTo>
                    <a:pt x="73" y="92"/>
                    <a:pt x="73" y="92"/>
                    <a:pt x="73" y="92"/>
                  </a:cubicBezTo>
                  <a:cubicBezTo>
                    <a:pt x="73" y="92"/>
                    <a:pt x="73" y="92"/>
                    <a:pt x="73" y="92"/>
                  </a:cubicBezTo>
                  <a:cubicBezTo>
                    <a:pt x="73" y="92"/>
                    <a:pt x="73" y="91"/>
                    <a:pt x="73" y="90"/>
                  </a:cubicBezTo>
                  <a:cubicBezTo>
                    <a:pt x="73" y="89"/>
                    <a:pt x="73" y="89"/>
                    <a:pt x="73" y="89"/>
                  </a:cubicBezTo>
                  <a:cubicBezTo>
                    <a:pt x="73" y="88"/>
                    <a:pt x="74" y="87"/>
                    <a:pt x="74" y="87"/>
                  </a:cubicBezTo>
                  <a:cubicBezTo>
                    <a:pt x="74" y="86"/>
                    <a:pt x="74" y="86"/>
                    <a:pt x="74" y="86"/>
                  </a:cubicBezTo>
                  <a:cubicBezTo>
                    <a:pt x="74" y="85"/>
                    <a:pt x="75" y="84"/>
                    <a:pt x="75" y="82"/>
                  </a:cubicBezTo>
                  <a:cubicBezTo>
                    <a:pt x="75" y="80"/>
                    <a:pt x="75" y="80"/>
                    <a:pt x="75" y="80"/>
                  </a:cubicBezTo>
                  <a:cubicBezTo>
                    <a:pt x="75" y="80"/>
                    <a:pt x="75" y="79"/>
                    <a:pt x="76" y="79"/>
                  </a:cubicBezTo>
                  <a:cubicBezTo>
                    <a:pt x="76" y="77"/>
                    <a:pt x="78" y="75"/>
                    <a:pt x="81" y="74"/>
                  </a:cubicBezTo>
                  <a:cubicBezTo>
                    <a:pt x="81" y="74"/>
                    <a:pt x="82" y="74"/>
                    <a:pt x="83" y="74"/>
                  </a:cubicBezTo>
                  <a:cubicBezTo>
                    <a:pt x="84" y="74"/>
                    <a:pt x="85" y="74"/>
                    <a:pt x="86" y="74"/>
                  </a:cubicBezTo>
                  <a:cubicBezTo>
                    <a:pt x="86" y="74"/>
                    <a:pt x="87" y="74"/>
                    <a:pt x="87" y="74"/>
                  </a:cubicBezTo>
                  <a:cubicBezTo>
                    <a:pt x="88" y="74"/>
                    <a:pt x="88" y="74"/>
                    <a:pt x="88" y="74"/>
                  </a:cubicBezTo>
                  <a:cubicBezTo>
                    <a:pt x="88" y="74"/>
                    <a:pt x="88" y="73"/>
                    <a:pt x="88" y="73"/>
                  </a:cubicBezTo>
                  <a:cubicBezTo>
                    <a:pt x="88" y="72"/>
                    <a:pt x="88" y="72"/>
                    <a:pt x="88" y="72"/>
                  </a:cubicBezTo>
                  <a:cubicBezTo>
                    <a:pt x="89" y="71"/>
                    <a:pt x="89" y="69"/>
                    <a:pt x="89" y="68"/>
                  </a:cubicBezTo>
                  <a:cubicBezTo>
                    <a:pt x="89" y="67"/>
                    <a:pt x="89" y="67"/>
                    <a:pt x="89" y="67"/>
                  </a:cubicBezTo>
                  <a:cubicBezTo>
                    <a:pt x="89" y="65"/>
                    <a:pt x="89" y="62"/>
                    <a:pt x="90" y="60"/>
                  </a:cubicBezTo>
                  <a:cubicBezTo>
                    <a:pt x="90" y="59"/>
                    <a:pt x="91" y="58"/>
                    <a:pt x="91" y="58"/>
                  </a:cubicBezTo>
                  <a:cubicBezTo>
                    <a:pt x="91" y="57"/>
                    <a:pt x="91" y="57"/>
                    <a:pt x="91" y="57"/>
                  </a:cubicBezTo>
                  <a:cubicBezTo>
                    <a:pt x="92" y="56"/>
                    <a:pt x="92" y="56"/>
                    <a:pt x="92" y="56"/>
                  </a:cubicBezTo>
                  <a:cubicBezTo>
                    <a:pt x="92" y="56"/>
                    <a:pt x="92" y="56"/>
                    <a:pt x="92" y="56"/>
                  </a:cubicBezTo>
                  <a:cubicBezTo>
                    <a:pt x="92" y="55"/>
                    <a:pt x="92" y="55"/>
                    <a:pt x="92" y="55"/>
                  </a:cubicBezTo>
                  <a:cubicBezTo>
                    <a:pt x="94" y="55"/>
                    <a:pt x="94" y="55"/>
                    <a:pt x="94" y="55"/>
                  </a:cubicBezTo>
                  <a:cubicBezTo>
                    <a:pt x="93" y="53"/>
                    <a:pt x="92" y="50"/>
                    <a:pt x="91" y="49"/>
                  </a:cubicBezTo>
                  <a:cubicBezTo>
                    <a:pt x="90" y="48"/>
                    <a:pt x="87" y="48"/>
                    <a:pt x="86" y="48"/>
                  </a:cubicBezTo>
                  <a:cubicBezTo>
                    <a:pt x="85" y="47"/>
                    <a:pt x="84" y="46"/>
                    <a:pt x="83" y="45"/>
                  </a:cubicBezTo>
                  <a:cubicBezTo>
                    <a:pt x="81" y="42"/>
                    <a:pt x="79" y="40"/>
                    <a:pt x="76" y="37"/>
                  </a:cubicBezTo>
                  <a:cubicBezTo>
                    <a:pt x="73" y="35"/>
                    <a:pt x="71" y="35"/>
                    <a:pt x="68" y="33"/>
                  </a:cubicBezTo>
                  <a:cubicBezTo>
                    <a:pt x="67" y="33"/>
                    <a:pt x="67" y="33"/>
                    <a:pt x="66" y="33"/>
                  </a:cubicBezTo>
                  <a:cubicBezTo>
                    <a:pt x="63" y="33"/>
                    <a:pt x="61" y="42"/>
                    <a:pt x="60" y="44"/>
                  </a:cubicBezTo>
                  <a:cubicBezTo>
                    <a:pt x="58" y="39"/>
                    <a:pt x="63" y="33"/>
                    <a:pt x="63" y="28"/>
                  </a:cubicBezTo>
                  <a:cubicBezTo>
                    <a:pt x="63" y="21"/>
                    <a:pt x="59" y="17"/>
                    <a:pt x="55" y="13"/>
                  </a:cubicBezTo>
                  <a:cubicBezTo>
                    <a:pt x="51" y="9"/>
                    <a:pt x="49" y="7"/>
                    <a:pt x="44" y="5"/>
                  </a:cubicBezTo>
                  <a:cubicBezTo>
                    <a:pt x="41" y="3"/>
                    <a:pt x="37" y="1"/>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254"/>
            <p:cNvSpPr/>
            <p:nvPr/>
          </p:nvSpPr>
          <p:spPr bwMode="auto">
            <a:xfrm>
              <a:off x="9323299" y="1539378"/>
              <a:ext cx="296577" cy="310700"/>
            </a:xfrm>
            <a:custGeom>
              <a:gdLst>
                <a:gd name="T0" fmla="*/ 65 w 89"/>
                <a:gd name="T1" fmla="*/ 1 h 93"/>
                <a:gd name="T2" fmla="*/ 52 w 89"/>
                <a:gd name="T3" fmla="*/ 1 h 93"/>
                <a:gd name="T4" fmla="*/ 48 w 89"/>
                <a:gd name="T5" fmla="*/ 2 h 93"/>
                <a:gd name="T6" fmla="*/ 29 w 89"/>
                <a:gd name="T7" fmla="*/ 1 h 93"/>
                <a:gd name="T8" fmla="*/ 21 w 89"/>
                <a:gd name="T9" fmla="*/ 1 h 93"/>
                <a:gd name="T10" fmla="*/ 23 w 89"/>
                <a:gd name="T11" fmla="*/ 2 h 93"/>
                <a:gd name="T12" fmla="*/ 21 w 89"/>
                <a:gd name="T13" fmla="*/ 6 h 93"/>
                <a:gd name="T14" fmla="*/ 21 w 89"/>
                <a:gd name="T15" fmla="*/ 8 h 93"/>
                <a:gd name="T16" fmla="*/ 20 w 89"/>
                <a:gd name="T17" fmla="*/ 14 h 93"/>
                <a:gd name="T18" fmla="*/ 19 w 89"/>
                <a:gd name="T19" fmla="*/ 19 h 93"/>
                <a:gd name="T20" fmla="*/ 19 w 89"/>
                <a:gd name="T21" fmla="*/ 22 h 93"/>
                <a:gd name="T22" fmla="*/ 18 w 89"/>
                <a:gd name="T23" fmla="*/ 24 h 93"/>
                <a:gd name="T24" fmla="*/ 13 w 89"/>
                <a:gd name="T25" fmla="*/ 26 h 93"/>
                <a:gd name="T26" fmla="*/ 8 w 89"/>
                <a:gd name="T27" fmla="*/ 26 h 93"/>
                <a:gd name="T28" fmla="*/ 6 w 89"/>
                <a:gd name="T29" fmla="*/ 27 h 93"/>
                <a:gd name="T30" fmla="*/ 4 w 89"/>
                <a:gd name="T31" fmla="*/ 34 h 93"/>
                <a:gd name="T32" fmla="*/ 3 w 89"/>
                <a:gd name="T33" fmla="*/ 38 h 93"/>
                <a:gd name="T34" fmla="*/ 2 w 89"/>
                <a:gd name="T35" fmla="*/ 42 h 93"/>
                <a:gd name="T36" fmla="*/ 1 w 89"/>
                <a:gd name="T37" fmla="*/ 43 h 93"/>
                <a:gd name="T38" fmla="*/ 0 w 89"/>
                <a:gd name="T39" fmla="*/ 43 h 93"/>
                <a:gd name="T40" fmla="*/ 9 w 89"/>
                <a:gd name="T41" fmla="*/ 58 h 93"/>
                <a:gd name="T42" fmla="*/ 12 w 89"/>
                <a:gd name="T43" fmla="*/ 59 h 93"/>
                <a:gd name="T44" fmla="*/ 17 w 89"/>
                <a:gd name="T45" fmla="*/ 57 h 93"/>
                <a:gd name="T46" fmla="*/ 20 w 89"/>
                <a:gd name="T47" fmla="*/ 70 h 93"/>
                <a:gd name="T48" fmla="*/ 21 w 89"/>
                <a:gd name="T49" fmla="*/ 73 h 93"/>
                <a:gd name="T50" fmla="*/ 23 w 89"/>
                <a:gd name="T51" fmla="*/ 76 h 93"/>
                <a:gd name="T52" fmla="*/ 29 w 89"/>
                <a:gd name="T53" fmla="*/ 86 h 93"/>
                <a:gd name="T54" fmla="*/ 30 w 89"/>
                <a:gd name="T55" fmla="*/ 87 h 93"/>
                <a:gd name="T56" fmla="*/ 30 w 89"/>
                <a:gd name="T57" fmla="*/ 88 h 93"/>
                <a:gd name="T58" fmla="*/ 34 w 89"/>
                <a:gd name="T59" fmla="*/ 91 h 93"/>
                <a:gd name="T60" fmla="*/ 41 w 89"/>
                <a:gd name="T61" fmla="*/ 92 h 93"/>
                <a:gd name="T62" fmla="*/ 45 w 89"/>
                <a:gd name="T63" fmla="*/ 93 h 93"/>
                <a:gd name="T64" fmla="*/ 44 w 89"/>
                <a:gd name="T65" fmla="*/ 91 h 93"/>
                <a:gd name="T66" fmla="*/ 44 w 89"/>
                <a:gd name="T67" fmla="*/ 79 h 93"/>
                <a:gd name="T68" fmla="*/ 49 w 89"/>
                <a:gd name="T69" fmla="*/ 79 h 93"/>
                <a:gd name="T70" fmla="*/ 58 w 89"/>
                <a:gd name="T71" fmla="*/ 80 h 93"/>
                <a:gd name="T72" fmla="*/ 62 w 89"/>
                <a:gd name="T73" fmla="*/ 78 h 93"/>
                <a:gd name="T74" fmla="*/ 67 w 89"/>
                <a:gd name="T75" fmla="*/ 76 h 93"/>
                <a:gd name="T76" fmla="*/ 72 w 89"/>
                <a:gd name="T77" fmla="*/ 78 h 93"/>
                <a:gd name="T78" fmla="*/ 75 w 89"/>
                <a:gd name="T79" fmla="*/ 79 h 93"/>
                <a:gd name="T80" fmla="*/ 78 w 89"/>
                <a:gd name="T81" fmla="*/ 81 h 93"/>
                <a:gd name="T82" fmla="*/ 82 w 89"/>
                <a:gd name="T83" fmla="*/ 77 h 93"/>
                <a:gd name="T84" fmla="*/ 85 w 89"/>
                <a:gd name="T85" fmla="*/ 73 h 93"/>
                <a:gd name="T86" fmla="*/ 86 w 89"/>
                <a:gd name="T87" fmla="*/ 68 h 93"/>
                <a:gd name="T88" fmla="*/ 88 w 89"/>
                <a:gd name="T89" fmla="*/ 67 h 93"/>
                <a:gd name="T90" fmla="*/ 87 w 89"/>
                <a:gd name="T91" fmla="*/ 66 h 93"/>
                <a:gd name="T92" fmla="*/ 89 w 89"/>
                <a:gd name="T93" fmla="*/ 57 h 93"/>
                <a:gd name="T94" fmla="*/ 89 w 89"/>
                <a:gd name="T95" fmla="*/ 56 h 93"/>
                <a:gd name="T96" fmla="*/ 88 w 89"/>
                <a:gd name="T97" fmla="*/ 55 h 93"/>
                <a:gd name="T98" fmla="*/ 86 w 89"/>
                <a:gd name="T99" fmla="*/ 51 h 93"/>
                <a:gd name="T100" fmla="*/ 78 w 89"/>
                <a:gd name="T101" fmla="*/ 30 h 93"/>
                <a:gd name="T102" fmla="*/ 82 w 89"/>
                <a:gd name="T103" fmla="*/ 17 h 93"/>
                <a:gd name="T104" fmla="*/ 87 w 89"/>
                <a:gd name="T105" fmla="*/ 9 h 93"/>
                <a:gd name="T106" fmla="*/ 89 w 89"/>
                <a:gd name="T107" fmla="*/ 3 h 93"/>
                <a:gd name="T108" fmla="*/ 82 w 89"/>
                <a:gd name="T109" fmla="*/ 2 h 93"/>
                <a:gd name="T110" fmla="*/ 67 w 89"/>
                <a:gd name="T111"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93">
                  <a:moveTo>
                    <a:pt x="67" y="0"/>
                  </a:moveTo>
                  <a:cubicBezTo>
                    <a:pt x="66" y="0"/>
                    <a:pt x="65" y="0"/>
                    <a:pt x="65" y="1"/>
                  </a:cubicBezTo>
                  <a:cubicBezTo>
                    <a:pt x="66" y="4"/>
                    <a:pt x="66" y="4"/>
                    <a:pt x="66" y="4"/>
                  </a:cubicBezTo>
                  <a:cubicBezTo>
                    <a:pt x="62" y="1"/>
                    <a:pt x="57" y="1"/>
                    <a:pt x="52" y="1"/>
                  </a:cubicBezTo>
                  <a:cubicBezTo>
                    <a:pt x="51" y="1"/>
                    <a:pt x="51" y="1"/>
                    <a:pt x="50" y="1"/>
                  </a:cubicBezTo>
                  <a:cubicBezTo>
                    <a:pt x="49" y="1"/>
                    <a:pt x="49" y="1"/>
                    <a:pt x="48" y="2"/>
                  </a:cubicBezTo>
                  <a:cubicBezTo>
                    <a:pt x="47" y="3"/>
                    <a:pt x="48" y="5"/>
                    <a:pt x="48" y="7"/>
                  </a:cubicBezTo>
                  <a:cubicBezTo>
                    <a:pt x="42" y="5"/>
                    <a:pt x="35" y="1"/>
                    <a:pt x="29" y="1"/>
                  </a:cubicBezTo>
                  <a:cubicBezTo>
                    <a:pt x="28" y="1"/>
                    <a:pt x="25" y="1"/>
                    <a:pt x="23" y="1"/>
                  </a:cubicBezTo>
                  <a:cubicBezTo>
                    <a:pt x="22" y="1"/>
                    <a:pt x="21" y="1"/>
                    <a:pt x="21" y="1"/>
                  </a:cubicBezTo>
                  <a:cubicBezTo>
                    <a:pt x="21" y="2"/>
                    <a:pt x="21" y="2"/>
                    <a:pt x="21" y="2"/>
                  </a:cubicBezTo>
                  <a:cubicBezTo>
                    <a:pt x="23" y="2"/>
                    <a:pt x="23" y="2"/>
                    <a:pt x="23" y="2"/>
                  </a:cubicBezTo>
                  <a:cubicBezTo>
                    <a:pt x="22" y="3"/>
                    <a:pt x="22" y="3"/>
                    <a:pt x="22" y="3"/>
                  </a:cubicBezTo>
                  <a:cubicBezTo>
                    <a:pt x="22" y="4"/>
                    <a:pt x="22" y="5"/>
                    <a:pt x="21" y="6"/>
                  </a:cubicBezTo>
                  <a:cubicBezTo>
                    <a:pt x="21" y="6"/>
                    <a:pt x="21" y="6"/>
                    <a:pt x="21" y="6"/>
                  </a:cubicBezTo>
                  <a:cubicBezTo>
                    <a:pt x="21" y="7"/>
                    <a:pt x="21" y="7"/>
                    <a:pt x="21" y="8"/>
                  </a:cubicBezTo>
                  <a:cubicBezTo>
                    <a:pt x="20" y="9"/>
                    <a:pt x="19" y="11"/>
                    <a:pt x="20" y="13"/>
                  </a:cubicBezTo>
                  <a:cubicBezTo>
                    <a:pt x="20" y="14"/>
                    <a:pt x="20" y="14"/>
                    <a:pt x="20" y="14"/>
                  </a:cubicBezTo>
                  <a:cubicBezTo>
                    <a:pt x="20" y="14"/>
                    <a:pt x="20" y="14"/>
                    <a:pt x="20" y="14"/>
                  </a:cubicBezTo>
                  <a:cubicBezTo>
                    <a:pt x="20" y="16"/>
                    <a:pt x="19" y="18"/>
                    <a:pt x="19" y="19"/>
                  </a:cubicBezTo>
                  <a:cubicBezTo>
                    <a:pt x="19" y="20"/>
                    <a:pt x="19" y="20"/>
                    <a:pt x="19" y="20"/>
                  </a:cubicBezTo>
                  <a:cubicBezTo>
                    <a:pt x="19" y="20"/>
                    <a:pt x="19" y="21"/>
                    <a:pt x="19" y="22"/>
                  </a:cubicBezTo>
                  <a:cubicBezTo>
                    <a:pt x="18" y="23"/>
                    <a:pt x="18" y="23"/>
                    <a:pt x="18" y="23"/>
                  </a:cubicBezTo>
                  <a:cubicBezTo>
                    <a:pt x="18" y="24"/>
                    <a:pt x="18" y="24"/>
                    <a:pt x="18" y="24"/>
                  </a:cubicBezTo>
                  <a:cubicBezTo>
                    <a:pt x="17" y="25"/>
                    <a:pt x="16" y="26"/>
                    <a:pt x="14" y="26"/>
                  </a:cubicBezTo>
                  <a:cubicBezTo>
                    <a:pt x="13" y="26"/>
                    <a:pt x="13" y="26"/>
                    <a:pt x="13" y="26"/>
                  </a:cubicBezTo>
                  <a:cubicBezTo>
                    <a:pt x="11" y="26"/>
                    <a:pt x="11" y="26"/>
                    <a:pt x="10" y="26"/>
                  </a:cubicBezTo>
                  <a:cubicBezTo>
                    <a:pt x="9" y="26"/>
                    <a:pt x="9" y="26"/>
                    <a:pt x="8" y="26"/>
                  </a:cubicBezTo>
                  <a:cubicBezTo>
                    <a:pt x="7" y="26"/>
                    <a:pt x="7" y="26"/>
                    <a:pt x="7" y="26"/>
                  </a:cubicBezTo>
                  <a:cubicBezTo>
                    <a:pt x="7" y="26"/>
                    <a:pt x="6" y="26"/>
                    <a:pt x="6" y="27"/>
                  </a:cubicBezTo>
                  <a:cubicBezTo>
                    <a:pt x="6" y="28"/>
                    <a:pt x="6" y="28"/>
                    <a:pt x="6" y="28"/>
                  </a:cubicBezTo>
                  <a:cubicBezTo>
                    <a:pt x="5" y="31"/>
                    <a:pt x="5" y="33"/>
                    <a:pt x="4" y="34"/>
                  </a:cubicBezTo>
                  <a:cubicBezTo>
                    <a:pt x="4" y="35"/>
                    <a:pt x="4" y="36"/>
                    <a:pt x="3" y="37"/>
                  </a:cubicBezTo>
                  <a:cubicBezTo>
                    <a:pt x="3" y="37"/>
                    <a:pt x="3" y="38"/>
                    <a:pt x="3" y="38"/>
                  </a:cubicBezTo>
                  <a:cubicBezTo>
                    <a:pt x="3" y="39"/>
                    <a:pt x="3" y="40"/>
                    <a:pt x="3" y="40"/>
                  </a:cubicBezTo>
                  <a:cubicBezTo>
                    <a:pt x="3" y="41"/>
                    <a:pt x="2" y="41"/>
                    <a:pt x="2" y="42"/>
                  </a:cubicBezTo>
                  <a:cubicBezTo>
                    <a:pt x="2" y="42"/>
                    <a:pt x="2" y="42"/>
                    <a:pt x="2" y="42"/>
                  </a:cubicBezTo>
                  <a:cubicBezTo>
                    <a:pt x="1" y="43"/>
                    <a:pt x="1" y="43"/>
                    <a:pt x="1" y="43"/>
                  </a:cubicBezTo>
                  <a:cubicBezTo>
                    <a:pt x="1" y="43"/>
                    <a:pt x="1" y="43"/>
                    <a:pt x="1" y="43"/>
                  </a:cubicBezTo>
                  <a:cubicBezTo>
                    <a:pt x="0" y="43"/>
                    <a:pt x="0" y="43"/>
                    <a:pt x="0" y="43"/>
                  </a:cubicBezTo>
                  <a:cubicBezTo>
                    <a:pt x="0" y="44"/>
                    <a:pt x="0" y="45"/>
                    <a:pt x="5" y="52"/>
                  </a:cubicBezTo>
                  <a:cubicBezTo>
                    <a:pt x="7" y="55"/>
                    <a:pt x="8" y="57"/>
                    <a:pt x="9" y="58"/>
                  </a:cubicBezTo>
                  <a:cubicBezTo>
                    <a:pt x="10" y="59"/>
                    <a:pt x="10" y="59"/>
                    <a:pt x="11" y="59"/>
                  </a:cubicBezTo>
                  <a:cubicBezTo>
                    <a:pt x="12" y="59"/>
                    <a:pt x="12" y="59"/>
                    <a:pt x="12" y="59"/>
                  </a:cubicBezTo>
                  <a:cubicBezTo>
                    <a:pt x="12" y="59"/>
                    <a:pt x="13" y="59"/>
                    <a:pt x="13" y="58"/>
                  </a:cubicBezTo>
                  <a:cubicBezTo>
                    <a:pt x="17" y="57"/>
                    <a:pt x="17" y="57"/>
                    <a:pt x="17" y="57"/>
                  </a:cubicBezTo>
                  <a:cubicBezTo>
                    <a:pt x="18" y="60"/>
                    <a:pt x="18" y="60"/>
                    <a:pt x="18" y="60"/>
                  </a:cubicBezTo>
                  <a:cubicBezTo>
                    <a:pt x="19" y="63"/>
                    <a:pt x="20" y="66"/>
                    <a:pt x="20" y="70"/>
                  </a:cubicBezTo>
                  <a:cubicBezTo>
                    <a:pt x="20" y="70"/>
                    <a:pt x="20" y="71"/>
                    <a:pt x="20" y="71"/>
                  </a:cubicBezTo>
                  <a:cubicBezTo>
                    <a:pt x="21" y="72"/>
                    <a:pt x="21" y="72"/>
                    <a:pt x="21" y="73"/>
                  </a:cubicBezTo>
                  <a:cubicBezTo>
                    <a:pt x="21" y="74"/>
                    <a:pt x="21" y="74"/>
                    <a:pt x="21" y="74"/>
                  </a:cubicBezTo>
                  <a:cubicBezTo>
                    <a:pt x="23" y="76"/>
                    <a:pt x="23" y="76"/>
                    <a:pt x="23" y="76"/>
                  </a:cubicBezTo>
                  <a:cubicBezTo>
                    <a:pt x="25" y="79"/>
                    <a:pt x="26" y="82"/>
                    <a:pt x="28" y="85"/>
                  </a:cubicBezTo>
                  <a:cubicBezTo>
                    <a:pt x="29" y="86"/>
                    <a:pt x="29" y="86"/>
                    <a:pt x="29" y="86"/>
                  </a:cubicBezTo>
                  <a:cubicBezTo>
                    <a:pt x="29" y="87"/>
                    <a:pt x="29" y="87"/>
                    <a:pt x="29" y="87"/>
                  </a:cubicBezTo>
                  <a:cubicBezTo>
                    <a:pt x="30" y="87"/>
                    <a:pt x="30" y="87"/>
                    <a:pt x="30" y="87"/>
                  </a:cubicBezTo>
                  <a:cubicBezTo>
                    <a:pt x="32" y="85"/>
                    <a:pt x="32" y="85"/>
                    <a:pt x="32" y="85"/>
                  </a:cubicBezTo>
                  <a:cubicBezTo>
                    <a:pt x="30" y="88"/>
                    <a:pt x="30" y="88"/>
                    <a:pt x="30" y="88"/>
                  </a:cubicBezTo>
                  <a:cubicBezTo>
                    <a:pt x="31" y="89"/>
                    <a:pt x="31" y="89"/>
                    <a:pt x="31" y="89"/>
                  </a:cubicBezTo>
                  <a:cubicBezTo>
                    <a:pt x="32" y="90"/>
                    <a:pt x="33" y="90"/>
                    <a:pt x="34" y="91"/>
                  </a:cubicBezTo>
                  <a:cubicBezTo>
                    <a:pt x="35" y="91"/>
                    <a:pt x="35" y="91"/>
                    <a:pt x="35" y="91"/>
                  </a:cubicBezTo>
                  <a:cubicBezTo>
                    <a:pt x="37" y="92"/>
                    <a:pt x="39" y="92"/>
                    <a:pt x="41" y="92"/>
                  </a:cubicBezTo>
                  <a:cubicBezTo>
                    <a:pt x="44" y="93"/>
                    <a:pt x="44" y="93"/>
                    <a:pt x="44" y="93"/>
                  </a:cubicBezTo>
                  <a:cubicBezTo>
                    <a:pt x="45" y="93"/>
                    <a:pt x="45" y="93"/>
                    <a:pt x="45" y="93"/>
                  </a:cubicBezTo>
                  <a:cubicBezTo>
                    <a:pt x="45" y="93"/>
                    <a:pt x="45" y="93"/>
                    <a:pt x="45" y="93"/>
                  </a:cubicBezTo>
                  <a:cubicBezTo>
                    <a:pt x="44" y="92"/>
                    <a:pt x="44" y="92"/>
                    <a:pt x="44" y="91"/>
                  </a:cubicBezTo>
                  <a:cubicBezTo>
                    <a:pt x="43" y="90"/>
                    <a:pt x="41" y="89"/>
                    <a:pt x="41" y="87"/>
                  </a:cubicBezTo>
                  <a:cubicBezTo>
                    <a:pt x="41" y="85"/>
                    <a:pt x="42" y="81"/>
                    <a:pt x="44" y="79"/>
                  </a:cubicBezTo>
                  <a:cubicBezTo>
                    <a:pt x="45" y="78"/>
                    <a:pt x="46" y="78"/>
                    <a:pt x="47" y="78"/>
                  </a:cubicBezTo>
                  <a:cubicBezTo>
                    <a:pt x="48" y="78"/>
                    <a:pt x="48" y="78"/>
                    <a:pt x="49" y="79"/>
                  </a:cubicBezTo>
                  <a:cubicBezTo>
                    <a:pt x="50" y="79"/>
                    <a:pt x="53" y="80"/>
                    <a:pt x="55" y="80"/>
                  </a:cubicBezTo>
                  <a:cubicBezTo>
                    <a:pt x="56" y="80"/>
                    <a:pt x="57" y="80"/>
                    <a:pt x="58" y="80"/>
                  </a:cubicBezTo>
                  <a:cubicBezTo>
                    <a:pt x="58" y="80"/>
                    <a:pt x="58" y="80"/>
                    <a:pt x="58" y="80"/>
                  </a:cubicBezTo>
                  <a:cubicBezTo>
                    <a:pt x="60" y="80"/>
                    <a:pt x="61" y="79"/>
                    <a:pt x="62" y="78"/>
                  </a:cubicBezTo>
                  <a:cubicBezTo>
                    <a:pt x="64" y="78"/>
                    <a:pt x="65" y="77"/>
                    <a:pt x="67" y="76"/>
                  </a:cubicBezTo>
                  <a:cubicBezTo>
                    <a:pt x="67" y="76"/>
                    <a:pt x="67" y="76"/>
                    <a:pt x="67" y="76"/>
                  </a:cubicBezTo>
                  <a:cubicBezTo>
                    <a:pt x="69" y="76"/>
                    <a:pt x="69" y="76"/>
                    <a:pt x="69" y="76"/>
                  </a:cubicBezTo>
                  <a:cubicBezTo>
                    <a:pt x="70" y="76"/>
                    <a:pt x="71" y="77"/>
                    <a:pt x="72" y="78"/>
                  </a:cubicBezTo>
                  <a:cubicBezTo>
                    <a:pt x="73" y="78"/>
                    <a:pt x="74" y="79"/>
                    <a:pt x="75" y="79"/>
                  </a:cubicBezTo>
                  <a:cubicBezTo>
                    <a:pt x="75" y="79"/>
                    <a:pt x="75" y="79"/>
                    <a:pt x="75" y="79"/>
                  </a:cubicBezTo>
                  <a:cubicBezTo>
                    <a:pt x="76" y="80"/>
                    <a:pt x="76" y="80"/>
                    <a:pt x="76" y="80"/>
                  </a:cubicBezTo>
                  <a:cubicBezTo>
                    <a:pt x="78" y="81"/>
                    <a:pt x="78" y="81"/>
                    <a:pt x="78" y="81"/>
                  </a:cubicBezTo>
                  <a:cubicBezTo>
                    <a:pt x="79" y="80"/>
                    <a:pt x="79" y="80"/>
                    <a:pt x="79" y="80"/>
                  </a:cubicBezTo>
                  <a:cubicBezTo>
                    <a:pt x="80" y="79"/>
                    <a:pt x="81" y="78"/>
                    <a:pt x="82" y="77"/>
                  </a:cubicBezTo>
                  <a:cubicBezTo>
                    <a:pt x="83" y="76"/>
                    <a:pt x="83" y="76"/>
                    <a:pt x="84" y="75"/>
                  </a:cubicBezTo>
                  <a:cubicBezTo>
                    <a:pt x="84" y="75"/>
                    <a:pt x="85" y="74"/>
                    <a:pt x="85" y="73"/>
                  </a:cubicBezTo>
                  <a:cubicBezTo>
                    <a:pt x="85" y="73"/>
                    <a:pt x="85" y="72"/>
                    <a:pt x="85" y="72"/>
                  </a:cubicBezTo>
                  <a:cubicBezTo>
                    <a:pt x="86" y="71"/>
                    <a:pt x="86" y="69"/>
                    <a:pt x="86" y="68"/>
                  </a:cubicBezTo>
                  <a:cubicBezTo>
                    <a:pt x="86" y="67"/>
                    <a:pt x="86" y="67"/>
                    <a:pt x="86" y="67"/>
                  </a:cubicBezTo>
                  <a:cubicBezTo>
                    <a:pt x="88" y="67"/>
                    <a:pt x="88" y="67"/>
                    <a:pt x="88" y="67"/>
                  </a:cubicBezTo>
                  <a:cubicBezTo>
                    <a:pt x="88" y="67"/>
                    <a:pt x="88" y="67"/>
                    <a:pt x="88" y="67"/>
                  </a:cubicBezTo>
                  <a:cubicBezTo>
                    <a:pt x="87" y="66"/>
                    <a:pt x="87" y="66"/>
                    <a:pt x="87" y="66"/>
                  </a:cubicBezTo>
                  <a:cubicBezTo>
                    <a:pt x="87" y="63"/>
                    <a:pt x="87" y="60"/>
                    <a:pt x="89" y="58"/>
                  </a:cubicBezTo>
                  <a:cubicBezTo>
                    <a:pt x="89" y="57"/>
                    <a:pt x="89" y="57"/>
                    <a:pt x="89" y="57"/>
                  </a:cubicBezTo>
                  <a:cubicBezTo>
                    <a:pt x="89" y="56"/>
                    <a:pt x="89" y="56"/>
                    <a:pt x="89" y="56"/>
                  </a:cubicBezTo>
                  <a:cubicBezTo>
                    <a:pt x="89" y="56"/>
                    <a:pt x="89" y="56"/>
                    <a:pt x="89" y="56"/>
                  </a:cubicBezTo>
                  <a:cubicBezTo>
                    <a:pt x="89" y="56"/>
                    <a:pt x="89" y="56"/>
                    <a:pt x="89" y="56"/>
                  </a:cubicBezTo>
                  <a:cubicBezTo>
                    <a:pt x="88" y="55"/>
                    <a:pt x="88" y="55"/>
                    <a:pt x="88" y="55"/>
                  </a:cubicBezTo>
                  <a:cubicBezTo>
                    <a:pt x="88" y="55"/>
                    <a:pt x="87" y="54"/>
                    <a:pt x="87" y="53"/>
                  </a:cubicBezTo>
                  <a:cubicBezTo>
                    <a:pt x="86" y="51"/>
                    <a:pt x="86" y="51"/>
                    <a:pt x="86" y="51"/>
                  </a:cubicBezTo>
                  <a:cubicBezTo>
                    <a:pt x="84" y="48"/>
                    <a:pt x="83" y="46"/>
                    <a:pt x="82" y="43"/>
                  </a:cubicBezTo>
                  <a:cubicBezTo>
                    <a:pt x="80" y="38"/>
                    <a:pt x="79" y="34"/>
                    <a:pt x="78" y="30"/>
                  </a:cubicBezTo>
                  <a:cubicBezTo>
                    <a:pt x="78" y="26"/>
                    <a:pt x="78" y="23"/>
                    <a:pt x="80" y="20"/>
                  </a:cubicBezTo>
                  <a:cubicBezTo>
                    <a:pt x="81" y="19"/>
                    <a:pt x="82" y="18"/>
                    <a:pt x="82" y="17"/>
                  </a:cubicBezTo>
                  <a:cubicBezTo>
                    <a:pt x="83" y="16"/>
                    <a:pt x="83" y="15"/>
                    <a:pt x="84" y="15"/>
                  </a:cubicBezTo>
                  <a:cubicBezTo>
                    <a:pt x="85" y="13"/>
                    <a:pt x="86" y="12"/>
                    <a:pt x="87" y="9"/>
                  </a:cubicBezTo>
                  <a:cubicBezTo>
                    <a:pt x="88" y="8"/>
                    <a:pt x="88" y="8"/>
                    <a:pt x="88" y="8"/>
                  </a:cubicBezTo>
                  <a:cubicBezTo>
                    <a:pt x="89" y="3"/>
                    <a:pt x="89" y="3"/>
                    <a:pt x="89" y="3"/>
                  </a:cubicBezTo>
                  <a:cubicBezTo>
                    <a:pt x="88" y="3"/>
                    <a:pt x="88" y="3"/>
                    <a:pt x="88" y="3"/>
                  </a:cubicBezTo>
                  <a:cubicBezTo>
                    <a:pt x="86" y="2"/>
                    <a:pt x="84" y="2"/>
                    <a:pt x="82" y="2"/>
                  </a:cubicBezTo>
                  <a:cubicBezTo>
                    <a:pt x="79" y="1"/>
                    <a:pt x="76" y="1"/>
                    <a:pt x="73" y="1"/>
                  </a:cubicBezTo>
                  <a:cubicBezTo>
                    <a:pt x="72" y="1"/>
                    <a:pt x="69"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255"/>
            <p:cNvSpPr/>
            <p:nvPr/>
          </p:nvSpPr>
          <p:spPr bwMode="auto">
            <a:xfrm>
              <a:off x="9600104" y="1554913"/>
              <a:ext cx="210428" cy="273981"/>
            </a:xfrm>
            <a:custGeom>
              <a:gdLst>
                <a:gd name="T0" fmla="*/ 10 w 63"/>
                <a:gd name="T1" fmla="*/ 4 h 82"/>
                <a:gd name="T2" fmla="*/ 5 w 63"/>
                <a:gd name="T3" fmla="*/ 14 h 82"/>
                <a:gd name="T4" fmla="*/ 2 w 63"/>
                <a:gd name="T5" fmla="*/ 18 h 82"/>
                <a:gd name="T6" fmla="*/ 4 w 63"/>
                <a:gd name="T7" fmla="*/ 36 h 82"/>
                <a:gd name="T8" fmla="*/ 9 w 63"/>
                <a:gd name="T9" fmla="*/ 46 h 82"/>
                <a:gd name="T10" fmla="*/ 10 w 63"/>
                <a:gd name="T11" fmla="*/ 47 h 82"/>
                <a:gd name="T12" fmla="*/ 12 w 63"/>
                <a:gd name="T13" fmla="*/ 51 h 82"/>
                <a:gd name="T14" fmla="*/ 9 w 63"/>
                <a:gd name="T15" fmla="*/ 62 h 82"/>
                <a:gd name="T16" fmla="*/ 9 w 63"/>
                <a:gd name="T17" fmla="*/ 64 h 82"/>
                <a:gd name="T18" fmla="*/ 7 w 63"/>
                <a:gd name="T19" fmla="*/ 70 h 82"/>
                <a:gd name="T20" fmla="*/ 3 w 63"/>
                <a:gd name="T21" fmla="*/ 76 h 82"/>
                <a:gd name="T22" fmla="*/ 0 w 63"/>
                <a:gd name="T23" fmla="*/ 79 h 82"/>
                <a:gd name="T24" fmla="*/ 5 w 63"/>
                <a:gd name="T25" fmla="*/ 82 h 82"/>
                <a:gd name="T26" fmla="*/ 6 w 63"/>
                <a:gd name="T27" fmla="*/ 82 h 82"/>
                <a:gd name="T28" fmla="*/ 19 w 63"/>
                <a:gd name="T29" fmla="*/ 78 h 82"/>
                <a:gd name="T30" fmla="*/ 24 w 63"/>
                <a:gd name="T31" fmla="*/ 78 h 82"/>
                <a:gd name="T32" fmla="*/ 25 w 63"/>
                <a:gd name="T33" fmla="*/ 78 h 82"/>
                <a:gd name="T34" fmla="*/ 32 w 63"/>
                <a:gd name="T35" fmla="*/ 81 h 82"/>
                <a:gd name="T36" fmla="*/ 33 w 63"/>
                <a:gd name="T37" fmla="*/ 80 h 82"/>
                <a:gd name="T38" fmla="*/ 35 w 63"/>
                <a:gd name="T39" fmla="*/ 79 h 82"/>
                <a:gd name="T40" fmla="*/ 39 w 63"/>
                <a:gd name="T41" fmla="*/ 75 h 82"/>
                <a:gd name="T42" fmla="*/ 40 w 63"/>
                <a:gd name="T43" fmla="*/ 72 h 82"/>
                <a:gd name="T44" fmla="*/ 37 w 63"/>
                <a:gd name="T45" fmla="*/ 68 h 82"/>
                <a:gd name="T46" fmla="*/ 42 w 63"/>
                <a:gd name="T47" fmla="*/ 68 h 82"/>
                <a:gd name="T48" fmla="*/ 44 w 63"/>
                <a:gd name="T49" fmla="*/ 63 h 82"/>
                <a:gd name="T50" fmla="*/ 47 w 63"/>
                <a:gd name="T51" fmla="*/ 58 h 82"/>
                <a:gd name="T52" fmla="*/ 60 w 63"/>
                <a:gd name="T53" fmla="*/ 40 h 82"/>
                <a:gd name="T54" fmla="*/ 63 w 63"/>
                <a:gd name="T55" fmla="*/ 36 h 82"/>
                <a:gd name="T56" fmla="*/ 57 w 63"/>
                <a:gd name="T57" fmla="*/ 27 h 82"/>
                <a:gd name="T58" fmla="*/ 57 w 63"/>
                <a:gd name="T59" fmla="*/ 31 h 82"/>
                <a:gd name="T60" fmla="*/ 55 w 63"/>
                <a:gd name="T61" fmla="*/ 33 h 82"/>
                <a:gd name="T62" fmla="*/ 55 w 63"/>
                <a:gd name="T63" fmla="*/ 34 h 82"/>
                <a:gd name="T64" fmla="*/ 57 w 63"/>
                <a:gd name="T65" fmla="*/ 31 h 82"/>
                <a:gd name="T66" fmla="*/ 55 w 63"/>
                <a:gd name="T67" fmla="*/ 27 h 82"/>
                <a:gd name="T68" fmla="*/ 47 w 63"/>
                <a:gd name="T69" fmla="*/ 24 h 82"/>
                <a:gd name="T70" fmla="*/ 47 w 63"/>
                <a:gd name="T71" fmla="*/ 21 h 82"/>
                <a:gd name="T72" fmla="*/ 11 w 63"/>
                <a:gd name="T73" fmla="*/ 0 h 8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82">
                  <a:moveTo>
                    <a:pt x="11" y="0"/>
                  </a:moveTo>
                  <a:cubicBezTo>
                    <a:pt x="10" y="4"/>
                    <a:pt x="10" y="4"/>
                    <a:pt x="10" y="4"/>
                  </a:cubicBezTo>
                  <a:cubicBezTo>
                    <a:pt x="9" y="6"/>
                    <a:pt x="9" y="6"/>
                    <a:pt x="9" y="6"/>
                  </a:cubicBezTo>
                  <a:cubicBezTo>
                    <a:pt x="8" y="9"/>
                    <a:pt x="7" y="11"/>
                    <a:pt x="5" y="14"/>
                  </a:cubicBezTo>
                  <a:cubicBezTo>
                    <a:pt x="4" y="15"/>
                    <a:pt x="4" y="15"/>
                    <a:pt x="4" y="15"/>
                  </a:cubicBezTo>
                  <a:cubicBezTo>
                    <a:pt x="3" y="16"/>
                    <a:pt x="3" y="17"/>
                    <a:pt x="2" y="18"/>
                  </a:cubicBezTo>
                  <a:cubicBezTo>
                    <a:pt x="1" y="20"/>
                    <a:pt x="1" y="22"/>
                    <a:pt x="1" y="25"/>
                  </a:cubicBezTo>
                  <a:cubicBezTo>
                    <a:pt x="1" y="28"/>
                    <a:pt x="2" y="31"/>
                    <a:pt x="4" y="36"/>
                  </a:cubicBezTo>
                  <a:cubicBezTo>
                    <a:pt x="5" y="38"/>
                    <a:pt x="6" y="40"/>
                    <a:pt x="7" y="42"/>
                  </a:cubicBezTo>
                  <a:cubicBezTo>
                    <a:pt x="9" y="46"/>
                    <a:pt x="9" y="46"/>
                    <a:pt x="9" y="46"/>
                  </a:cubicBezTo>
                  <a:cubicBezTo>
                    <a:pt x="9" y="46"/>
                    <a:pt x="10" y="47"/>
                    <a:pt x="10" y="47"/>
                  </a:cubicBezTo>
                  <a:cubicBezTo>
                    <a:pt x="10" y="47"/>
                    <a:pt x="10" y="47"/>
                    <a:pt x="10" y="47"/>
                  </a:cubicBezTo>
                  <a:cubicBezTo>
                    <a:pt x="11" y="48"/>
                    <a:pt x="11" y="48"/>
                    <a:pt x="11" y="48"/>
                  </a:cubicBezTo>
                  <a:cubicBezTo>
                    <a:pt x="11" y="49"/>
                    <a:pt x="12" y="50"/>
                    <a:pt x="12" y="51"/>
                  </a:cubicBezTo>
                  <a:cubicBezTo>
                    <a:pt x="12" y="52"/>
                    <a:pt x="12" y="54"/>
                    <a:pt x="11" y="56"/>
                  </a:cubicBezTo>
                  <a:cubicBezTo>
                    <a:pt x="10" y="58"/>
                    <a:pt x="9" y="59"/>
                    <a:pt x="9" y="62"/>
                  </a:cubicBezTo>
                  <a:cubicBezTo>
                    <a:pt x="9" y="62"/>
                    <a:pt x="9" y="63"/>
                    <a:pt x="9" y="64"/>
                  </a:cubicBezTo>
                  <a:cubicBezTo>
                    <a:pt x="9" y="64"/>
                    <a:pt x="9" y="64"/>
                    <a:pt x="9" y="64"/>
                  </a:cubicBezTo>
                  <a:cubicBezTo>
                    <a:pt x="8" y="66"/>
                    <a:pt x="8" y="68"/>
                    <a:pt x="7" y="70"/>
                  </a:cubicBezTo>
                  <a:cubicBezTo>
                    <a:pt x="7" y="70"/>
                    <a:pt x="7" y="70"/>
                    <a:pt x="7" y="70"/>
                  </a:cubicBezTo>
                  <a:cubicBezTo>
                    <a:pt x="7" y="72"/>
                    <a:pt x="6" y="73"/>
                    <a:pt x="5" y="73"/>
                  </a:cubicBezTo>
                  <a:cubicBezTo>
                    <a:pt x="5" y="74"/>
                    <a:pt x="4" y="75"/>
                    <a:pt x="3" y="76"/>
                  </a:cubicBezTo>
                  <a:cubicBezTo>
                    <a:pt x="2" y="77"/>
                    <a:pt x="1" y="78"/>
                    <a:pt x="0" y="79"/>
                  </a:cubicBezTo>
                  <a:cubicBezTo>
                    <a:pt x="0" y="79"/>
                    <a:pt x="0" y="79"/>
                    <a:pt x="0" y="79"/>
                  </a:cubicBezTo>
                  <a:cubicBezTo>
                    <a:pt x="2" y="80"/>
                    <a:pt x="3" y="81"/>
                    <a:pt x="4" y="81"/>
                  </a:cubicBezTo>
                  <a:cubicBezTo>
                    <a:pt x="5" y="82"/>
                    <a:pt x="5" y="82"/>
                    <a:pt x="5" y="82"/>
                  </a:cubicBezTo>
                  <a:cubicBezTo>
                    <a:pt x="6" y="82"/>
                    <a:pt x="6" y="82"/>
                    <a:pt x="6" y="82"/>
                  </a:cubicBezTo>
                  <a:cubicBezTo>
                    <a:pt x="6" y="82"/>
                    <a:pt x="6" y="82"/>
                    <a:pt x="6" y="82"/>
                  </a:cubicBezTo>
                  <a:cubicBezTo>
                    <a:pt x="8" y="81"/>
                    <a:pt x="8" y="81"/>
                    <a:pt x="8" y="81"/>
                  </a:cubicBezTo>
                  <a:cubicBezTo>
                    <a:pt x="11" y="79"/>
                    <a:pt x="15" y="79"/>
                    <a:pt x="19" y="78"/>
                  </a:cubicBezTo>
                  <a:cubicBezTo>
                    <a:pt x="20" y="78"/>
                    <a:pt x="21" y="78"/>
                    <a:pt x="23" y="78"/>
                  </a:cubicBezTo>
                  <a:cubicBezTo>
                    <a:pt x="23" y="78"/>
                    <a:pt x="23" y="78"/>
                    <a:pt x="24" y="78"/>
                  </a:cubicBezTo>
                  <a:cubicBezTo>
                    <a:pt x="25" y="77"/>
                    <a:pt x="25" y="77"/>
                    <a:pt x="25" y="77"/>
                  </a:cubicBezTo>
                  <a:cubicBezTo>
                    <a:pt x="25" y="78"/>
                    <a:pt x="25" y="78"/>
                    <a:pt x="25" y="78"/>
                  </a:cubicBezTo>
                  <a:cubicBezTo>
                    <a:pt x="26" y="78"/>
                    <a:pt x="28" y="78"/>
                    <a:pt x="28" y="81"/>
                  </a:cubicBezTo>
                  <a:cubicBezTo>
                    <a:pt x="32" y="81"/>
                    <a:pt x="32" y="81"/>
                    <a:pt x="32" y="81"/>
                  </a:cubicBezTo>
                  <a:cubicBezTo>
                    <a:pt x="32" y="81"/>
                    <a:pt x="32" y="81"/>
                    <a:pt x="32" y="81"/>
                  </a:cubicBezTo>
                  <a:cubicBezTo>
                    <a:pt x="33" y="81"/>
                    <a:pt x="33" y="81"/>
                    <a:pt x="33" y="80"/>
                  </a:cubicBezTo>
                  <a:cubicBezTo>
                    <a:pt x="34" y="80"/>
                    <a:pt x="34" y="80"/>
                    <a:pt x="35" y="80"/>
                  </a:cubicBezTo>
                  <a:cubicBezTo>
                    <a:pt x="35" y="79"/>
                    <a:pt x="35" y="79"/>
                    <a:pt x="35" y="79"/>
                  </a:cubicBezTo>
                  <a:cubicBezTo>
                    <a:pt x="37" y="78"/>
                    <a:pt x="38" y="77"/>
                    <a:pt x="39" y="76"/>
                  </a:cubicBezTo>
                  <a:cubicBezTo>
                    <a:pt x="39" y="75"/>
                    <a:pt x="39" y="75"/>
                    <a:pt x="39" y="75"/>
                  </a:cubicBezTo>
                  <a:cubicBezTo>
                    <a:pt x="40" y="74"/>
                    <a:pt x="40" y="74"/>
                    <a:pt x="40" y="73"/>
                  </a:cubicBezTo>
                  <a:cubicBezTo>
                    <a:pt x="40" y="72"/>
                    <a:pt x="40" y="72"/>
                    <a:pt x="40" y="72"/>
                  </a:cubicBezTo>
                  <a:cubicBezTo>
                    <a:pt x="41" y="72"/>
                    <a:pt x="41" y="71"/>
                    <a:pt x="41" y="70"/>
                  </a:cubicBezTo>
                  <a:cubicBezTo>
                    <a:pt x="37" y="68"/>
                    <a:pt x="37" y="68"/>
                    <a:pt x="37" y="68"/>
                  </a:cubicBezTo>
                  <a:cubicBezTo>
                    <a:pt x="42" y="69"/>
                    <a:pt x="42" y="69"/>
                    <a:pt x="42" y="69"/>
                  </a:cubicBezTo>
                  <a:cubicBezTo>
                    <a:pt x="42" y="68"/>
                    <a:pt x="42" y="68"/>
                    <a:pt x="42" y="68"/>
                  </a:cubicBezTo>
                  <a:cubicBezTo>
                    <a:pt x="43" y="67"/>
                    <a:pt x="43" y="65"/>
                    <a:pt x="44" y="64"/>
                  </a:cubicBezTo>
                  <a:cubicBezTo>
                    <a:pt x="44" y="63"/>
                    <a:pt x="44" y="63"/>
                    <a:pt x="44" y="63"/>
                  </a:cubicBezTo>
                  <a:cubicBezTo>
                    <a:pt x="45" y="62"/>
                    <a:pt x="45" y="61"/>
                    <a:pt x="46" y="59"/>
                  </a:cubicBezTo>
                  <a:cubicBezTo>
                    <a:pt x="47" y="58"/>
                    <a:pt x="47" y="58"/>
                    <a:pt x="47" y="58"/>
                  </a:cubicBezTo>
                  <a:cubicBezTo>
                    <a:pt x="49" y="55"/>
                    <a:pt x="51" y="52"/>
                    <a:pt x="53" y="49"/>
                  </a:cubicBezTo>
                  <a:cubicBezTo>
                    <a:pt x="60" y="40"/>
                    <a:pt x="60" y="40"/>
                    <a:pt x="60" y="40"/>
                  </a:cubicBezTo>
                  <a:cubicBezTo>
                    <a:pt x="61" y="36"/>
                    <a:pt x="61" y="36"/>
                    <a:pt x="61" y="36"/>
                  </a:cubicBezTo>
                  <a:cubicBezTo>
                    <a:pt x="63" y="36"/>
                    <a:pt x="63" y="36"/>
                    <a:pt x="63" y="36"/>
                  </a:cubicBezTo>
                  <a:cubicBezTo>
                    <a:pt x="62" y="34"/>
                    <a:pt x="62" y="32"/>
                    <a:pt x="62" y="31"/>
                  </a:cubicBezTo>
                  <a:cubicBezTo>
                    <a:pt x="61" y="30"/>
                    <a:pt x="59" y="27"/>
                    <a:pt x="57" y="27"/>
                  </a:cubicBezTo>
                  <a:cubicBezTo>
                    <a:pt x="57" y="28"/>
                    <a:pt x="57" y="30"/>
                    <a:pt x="57" y="31"/>
                  </a:cubicBezTo>
                  <a:cubicBezTo>
                    <a:pt x="57" y="31"/>
                    <a:pt x="57" y="31"/>
                    <a:pt x="57" y="31"/>
                  </a:cubicBezTo>
                  <a:cubicBezTo>
                    <a:pt x="57" y="31"/>
                    <a:pt x="57" y="31"/>
                    <a:pt x="57" y="31"/>
                  </a:cubicBezTo>
                  <a:cubicBezTo>
                    <a:pt x="57" y="32"/>
                    <a:pt x="56" y="33"/>
                    <a:pt x="55" y="33"/>
                  </a:cubicBezTo>
                  <a:cubicBezTo>
                    <a:pt x="55" y="33"/>
                    <a:pt x="55" y="33"/>
                    <a:pt x="55" y="34"/>
                  </a:cubicBezTo>
                  <a:cubicBezTo>
                    <a:pt x="55" y="34"/>
                    <a:pt x="55" y="34"/>
                    <a:pt x="55" y="34"/>
                  </a:cubicBezTo>
                  <a:cubicBezTo>
                    <a:pt x="55" y="33"/>
                    <a:pt x="55" y="33"/>
                    <a:pt x="55" y="33"/>
                  </a:cubicBezTo>
                  <a:cubicBezTo>
                    <a:pt x="55" y="33"/>
                    <a:pt x="56" y="32"/>
                    <a:pt x="57" y="31"/>
                  </a:cubicBezTo>
                  <a:cubicBezTo>
                    <a:pt x="57" y="31"/>
                    <a:pt x="57" y="31"/>
                    <a:pt x="57" y="31"/>
                  </a:cubicBezTo>
                  <a:cubicBezTo>
                    <a:pt x="56" y="29"/>
                    <a:pt x="55" y="28"/>
                    <a:pt x="55" y="27"/>
                  </a:cubicBezTo>
                  <a:cubicBezTo>
                    <a:pt x="53" y="24"/>
                    <a:pt x="52" y="23"/>
                    <a:pt x="51" y="23"/>
                  </a:cubicBezTo>
                  <a:cubicBezTo>
                    <a:pt x="50" y="23"/>
                    <a:pt x="49" y="24"/>
                    <a:pt x="47" y="24"/>
                  </a:cubicBezTo>
                  <a:cubicBezTo>
                    <a:pt x="49" y="23"/>
                    <a:pt x="49" y="21"/>
                    <a:pt x="47" y="20"/>
                  </a:cubicBezTo>
                  <a:cubicBezTo>
                    <a:pt x="47" y="21"/>
                    <a:pt x="47" y="21"/>
                    <a:pt x="47" y="21"/>
                  </a:cubicBezTo>
                  <a:cubicBezTo>
                    <a:pt x="42" y="13"/>
                    <a:pt x="33" y="8"/>
                    <a:pt x="25" y="6"/>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256"/>
            <p:cNvSpPr/>
            <p:nvPr/>
          </p:nvSpPr>
          <p:spPr bwMode="auto">
            <a:xfrm>
              <a:off x="9286580" y="4417591"/>
              <a:ext cx="394023" cy="409559"/>
            </a:xfrm>
            <a:custGeom>
              <a:gdLst>
                <a:gd name="T0" fmla="*/ 33 w 118"/>
                <a:gd name="T1" fmla="*/ 0 h 123"/>
                <a:gd name="T2" fmla="*/ 31 w 118"/>
                <a:gd name="T3" fmla="*/ 4 h 123"/>
                <a:gd name="T4" fmla="*/ 21 w 118"/>
                <a:gd name="T5" fmla="*/ 3 h 123"/>
                <a:gd name="T6" fmla="*/ 20 w 118"/>
                <a:gd name="T7" fmla="*/ 3 h 123"/>
                <a:gd name="T8" fmla="*/ 18 w 118"/>
                <a:gd name="T9" fmla="*/ 5 h 123"/>
                <a:gd name="T10" fmla="*/ 16 w 118"/>
                <a:gd name="T11" fmla="*/ 11 h 123"/>
                <a:gd name="T12" fmla="*/ 17 w 118"/>
                <a:gd name="T13" fmla="*/ 17 h 123"/>
                <a:gd name="T14" fmla="*/ 14 w 118"/>
                <a:gd name="T15" fmla="*/ 29 h 123"/>
                <a:gd name="T16" fmla="*/ 13 w 118"/>
                <a:gd name="T17" fmla="*/ 32 h 123"/>
                <a:gd name="T18" fmla="*/ 12 w 118"/>
                <a:gd name="T19" fmla="*/ 41 h 123"/>
                <a:gd name="T20" fmla="*/ 9 w 118"/>
                <a:gd name="T21" fmla="*/ 44 h 123"/>
                <a:gd name="T22" fmla="*/ 9 w 118"/>
                <a:gd name="T23" fmla="*/ 47 h 123"/>
                <a:gd name="T24" fmla="*/ 9 w 118"/>
                <a:gd name="T25" fmla="*/ 52 h 123"/>
                <a:gd name="T26" fmla="*/ 10 w 118"/>
                <a:gd name="T27" fmla="*/ 62 h 123"/>
                <a:gd name="T28" fmla="*/ 10 w 118"/>
                <a:gd name="T29" fmla="*/ 64 h 123"/>
                <a:gd name="T30" fmla="*/ 8 w 118"/>
                <a:gd name="T31" fmla="*/ 77 h 123"/>
                <a:gd name="T32" fmla="*/ 4 w 118"/>
                <a:gd name="T33" fmla="*/ 84 h 123"/>
                <a:gd name="T34" fmla="*/ 3 w 118"/>
                <a:gd name="T35" fmla="*/ 94 h 123"/>
                <a:gd name="T36" fmla="*/ 1 w 118"/>
                <a:gd name="T37" fmla="*/ 94 h 123"/>
                <a:gd name="T38" fmla="*/ 14 w 118"/>
                <a:gd name="T39" fmla="*/ 110 h 123"/>
                <a:gd name="T40" fmla="*/ 19 w 118"/>
                <a:gd name="T41" fmla="*/ 110 h 123"/>
                <a:gd name="T42" fmla="*/ 22 w 118"/>
                <a:gd name="T43" fmla="*/ 109 h 123"/>
                <a:gd name="T44" fmla="*/ 24 w 118"/>
                <a:gd name="T45" fmla="*/ 109 h 123"/>
                <a:gd name="T46" fmla="*/ 31 w 118"/>
                <a:gd name="T47" fmla="*/ 110 h 123"/>
                <a:gd name="T48" fmla="*/ 57 w 118"/>
                <a:gd name="T49" fmla="*/ 120 h 123"/>
                <a:gd name="T50" fmla="*/ 70 w 118"/>
                <a:gd name="T51" fmla="*/ 118 h 123"/>
                <a:gd name="T52" fmla="*/ 81 w 118"/>
                <a:gd name="T53" fmla="*/ 123 h 123"/>
                <a:gd name="T54" fmla="*/ 91 w 118"/>
                <a:gd name="T55" fmla="*/ 119 h 123"/>
                <a:gd name="T56" fmla="*/ 96 w 118"/>
                <a:gd name="T57" fmla="*/ 112 h 123"/>
                <a:gd name="T58" fmla="*/ 108 w 118"/>
                <a:gd name="T59" fmla="*/ 107 h 123"/>
                <a:gd name="T60" fmla="*/ 114 w 118"/>
                <a:gd name="T61" fmla="*/ 98 h 123"/>
                <a:gd name="T62" fmla="*/ 116 w 118"/>
                <a:gd name="T63" fmla="*/ 93 h 123"/>
                <a:gd name="T64" fmla="*/ 112 w 118"/>
                <a:gd name="T65" fmla="*/ 89 h 123"/>
                <a:gd name="T66" fmla="*/ 112 w 118"/>
                <a:gd name="T67" fmla="*/ 73 h 123"/>
                <a:gd name="T68" fmla="*/ 118 w 118"/>
                <a:gd name="T69" fmla="*/ 63 h 123"/>
                <a:gd name="T70" fmla="*/ 107 w 118"/>
                <a:gd name="T71" fmla="*/ 53 h 123"/>
                <a:gd name="T72" fmla="*/ 103 w 118"/>
                <a:gd name="T73" fmla="*/ 47 h 123"/>
                <a:gd name="T74" fmla="*/ 97 w 118"/>
                <a:gd name="T75" fmla="*/ 43 h 123"/>
                <a:gd name="T76" fmla="*/ 89 w 118"/>
                <a:gd name="T77" fmla="*/ 37 h 123"/>
                <a:gd name="T78" fmla="*/ 87 w 118"/>
                <a:gd name="T79" fmla="*/ 34 h 123"/>
                <a:gd name="T80" fmla="*/ 72 w 118"/>
                <a:gd name="T81" fmla="*/ 28 h 123"/>
                <a:gd name="T82" fmla="*/ 67 w 118"/>
                <a:gd name="T83" fmla="*/ 20 h 123"/>
                <a:gd name="T84" fmla="*/ 67 w 118"/>
                <a:gd name="T85" fmla="*/ 21 h 123"/>
                <a:gd name="T86" fmla="*/ 66 w 118"/>
                <a:gd name="T87" fmla="*/ 21 h 123"/>
                <a:gd name="T88" fmla="*/ 66 w 118"/>
                <a:gd name="T89" fmla="*/ 21 h 123"/>
                <a:gd name="T90" fmla="*/ 65 w 118"/>
                <a:gd name="T91" fmla="*/ 22 h 123"/>
                <a:gd name="T92" fmla="*/ 64 w 118"/>
                <a:gd name="T93" fmla="*/ 23 h 123"/>
                <a:gd name="T94" fmla="*/ 62 w 118"/>
                <a:gd name="T95" fmla="*/ 24 h 123"/>
                <a:gd name="T96" fmla="*/ 57 w 118"/>
                <a:gd name="T97" fmla="*/ 25 h 123"/>
                <a:gd name="T98" fmla="*/ 54 w 118"/>
                <a:gd name="T99" fmla="*/ 21 h 123"/>
                <a:gd name="T100" fmla="*/ 53 w 118"/>
                <a:gd name="T101" fmla="*/ 14 h 123"/>
                <a:gd name="T102" fmla="*/ 43 w 118"/>
                <a:gd name="T103" fmla="*/ 6 h 123"/>
                <a:gd name="T104" fmla="*/ 34 w 118"/>
                <a:gd name="T105" fmla="*/ 0 h 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123">
                  <a:moveTo>
                    <a:pt x="34" y="0"/>
                  </a:moveTo>
                  <a:cubicBezTo>
                    <a:pt x="34" y="0"/>
                    <a:pt x="33" y="0"/>
                    <a:pt x="33" y="0"/>
                  </a:cubicBezTo>
                  <a:cubicBezTo>
                    <a:pt x="33" y="0"/>
                    <a:pt x="33" y="0"/>
                    <a:pt x="33" y="0"/>
                  </a:cubicBezTo>
                  <a:cubicBezTo>
                    <a:pt x="33" y="1"/>
                    <a:pt x="32" y="3"/>
                    <a:pt x="31" y="4"/>
                  </a:cubicBezTo>
                  <a:cubicBezTo>
                    <a:pt x="30" y="4"/>
                    <a:pt x="29" y="5"/>
                    <a:pt x="28" y="5"/>
                  </a:cubicBezTo>
                  <a:cubicBezTo>
                    <a:pt x="26" y="5"/>
                    <a:pt x="23" y="4"/>
                    <a:pt x="21" y="3"/>
                  </a:cubicBezTo>
                  <a:cubicBezTo>
                    <a:pt x="21" y="3"/>
                    <a:pt x="21" y="3"/>
                    <a:pt x="21" y="3"/>
                  </a:cubicBezTo>
                  <a:cubicBezTo>
                    <a:pt x="20" y="3"/>
                    <a:pt x="20" y="3"/>
                    <a:pt x="20" y="3"/>
                  </a:cubicBezTo>
                  <a:cubicBezTo>
                    <a:pt x="19" y="3"/>
                    <a:pt x="19" y="3"/>
                    <a:pt x="19" y="3"/>
                  </a:cubicBezTo>
                  <a:cubicBezTo>
                    <a:pt x="19" y="4"/>
                    <a:pt x="18" y="4"/>
                    <a:pt x="18" y="5"/>
                  </a:cubicBezTo>
                  <a:cubicBezTo>
                    <a:pt x="17" y="6"/>
                    <a:pt x="16" y="8"/>
                    <a:pt x="16" y="9"/>
                  </a:cubicBezTo>
                  <a:cubicBezTo>
                    <a:pt x="16" y="10"/>
                    <a:pt x="16" y="10"/>
                    <a:pt x="16" y="11"/>
                  </a:cubicBezTo>
                  <a:cubicBezTo>
                    <a:pt x="17" y="12"/>
                    <a:pt x="17" y="13"/>
                    <a:pt x="17" y="14"/>
                  </a:cubicBezTo>
                  <a:cubicBezTo>
                    <a:pt x="17" y="15"/>
                    <a:pt x="17" y="16"/>
                    <a:pt x="17" y="17"/>
                  </a:cubicBezTo>
                  <a:cubicBezTo>
                    <a:pt x="17" y="18"/>
                    <a:pt x="17" y="19"/>
                    <a:pt x="17" y="21"/>
                  </a:cubicBezTo>
                  <a:cubicBezTo>
                    <a:pt x="16" y="23"/>
                    <a:pt x="15" y="26"/>
                    <a:pt x="14" y="29"/>
                  </a:cubicBezTo>
                  <a:cubicBezTo>
                    <a:pt x="14" y="30"/>
                    <a:pt x="14" y="30"/>
                    <a:pt x="13" y="31"/>
                  </a:cubicBezTo>
                  <a:cubicBezTo>
                    <a:pt x="13" y="32"/>
                    <a:pt x="13" y="32"/>
                    <a:pt x="13" y="32"/>
                  </a:cubicBezTo>
                  <a:cubicBezTo>
                    <a:pt x="13" y="33"/>
                    <a:pt x="12" y="35"/>
                    <a:pt x="12" y="36"/>
                  </a:cubicBezTo>
                  <a:cubicBezTo>
                    <a:pt x="13" y="38"/>
                    <a:pt x="13" y="39"/>
                    <a:pt x="12" y="41"/>
                  </a:cubicBezTo>
                  <a:cubicBezTo>
                    <a:pt x="11" y="42"/>
                    <a:pt x="10" y="43"/>
                    <a:pt x="9" y="44"/>
                  </a:cubicBezTo>
                  <a:cubicBezTo>
                    <a:pt x="9" y="44"/>
                    <a:pt x="9" y="44"/>
                    <a:pt x="9" y="44"/>
                  </a:cubicBezTo>
                  <a:cubicBezTo>
                    <a:pt x="9" y="45"/>
                    <a:pt x="9" y="45"/>
                    <a:pt x="9" y="45"/>
                  </a:cubicBezTo>
                  <a:cubicBezTo>
                    <a:pt x="9" y="45"/>
                    <a:pt x="9" y="46"/>
                    <a:pt x="9" y="47"/>
                  </a:cubicBezTo>
                  <a:cubicBezTo>
                    <a:pt x="9" y="48"/>
                    <a:pt x="9" y="50"/>
                    <a:pt x="9" y="51"/>
                  </a:cubicBezTo>
                  <a:cubicBezTo>
                    <a:pt x="9" y="52"/>
                    <a:pt x="9" y="52"/>
                    <a:pt x="9" y="52"/>
                  </a:cubicBezTo>
                  <a:cubicBezTo>
                    <a:pt x="9" y="52"/>
                    <a:pt x="9" y="53"/>
                    <a:pt x="9" y="54"/>
                  </a:cubicBezTo>
                  <a:cubicBezTo>
                    <a:pt x="9" y="57"/>
                    <a:pt x="9" y="59"/>
                    <a:pt x="10" y="62"/>
                  </a:cubicBezTo>
                  <a:cubicBezTo>
                    <a:pt x="10" y="63"/>
                    <a:pt x="10" y="63"/>
                    <a:pt x="10" y="63"/>
                  </a:cubicBezTo>
                  <a:cubicBezTo>
                    <a:pt x="10" y="64"/>
                    <a:pt x="10" y="64"/>
                    <a:pt x="10" y="64"/>
                  </a:cubicBezTo>
                  <a:cubicBezTo>
                    <a:pt x="11" y="67"/>
                    <a:pt x="13" y="71"/>
                    <a:pt x="10" y="75"/>
                  </a:cubicBezTo>
                  <a:cubicBezTo>
                    <a:pt x="10" y="76"/>
                    <a:pt x="9" y="76"/>
                    <a:pt x="8" y="77"/>
                  </a:cubicBezTo>
                  <a:cubicBezTo>
                    <a:pt x="7" y="77"/>
                    <a:pt x="7" y="77"/>
                    <a:pt x="7" y="77"/>
                  </a:cubicBezTo>
                  <a:cubicBezTo>
                    <a:pt x="5" y="80"/>
                    <a:pt x="4" y="82"/>
                    <a:pt x="4" y="84"/>
                  </a:cubicBezTo>
                  <a:cubicBezTo>
                    <a:pt x="4" y="86"/>
                    <a:pt x="3" y="90"/>
                    <a:pt x="3" y="93"/>
                  </a:cubicBezTo>
                  <a:cubicBezTo>
                    <a:pt x="3" y="94"/>
                    <a:pt x="3" y="94"/>
                    <a:pt x="3" y="94"/>
                  </a:cubicBezTo>
                  <a:cubicBezTo>
                    <a:pt x="0" y="94"/>
                    <a:pt x="0" y="94"/>
                    <a:pt x="0" y="94"/>
                  </a:cubicBezTo>
                  <a:cubicBezTo>
                    <a:pt x="1" y="94"/>
                    <a:pt x="1" y="94"/>
                    <a:pt x="1" y="94"/>
                  </a:cubicBezTo>
                  <a:cubicBezTo>
                    <a:pt x="2" y="97"/>
                    <a:pt x="6" y="101"/>
                    <a:pt x="8" y="103"/>
                  </a:cubicBezTo>
                  <a:cubicBezTo>
                    <a:pt x="10" y="106"/>
                    <a:pt x="12" y="108"/>
                    <a:pt x="14" y="110"/>
                  </a:cubicBezTo>
                  <a:cubicBezTo>
                    <a:pt x="14" y="110"/>
                    <a:pt x="14" y="110"/>
                    <a:pt x="15" y="110"/>
                  </a:cubicBezTo>
                  <a:cubicBezTo>
                    <a:pt x="16" y="110"/>
                    <a:pt x="17" y="110"/>
                    <a:pt x="19" y="110"/>
                  </a:cubicBezTo>
                  <a:cubicBezTo>
                    <a:pt x="20" y="110"/>
                    <a:pt x="21" y="109"/>
                    <a:pt x="22" y="109"/>
                  </a:cubicBezTo>
                  <a:cubicBezTo>
                    <a:pt x="22" y="109"/>
                    <a:pt x="22" y="109"/>
                    <a:pt x="22" y="109"/>
                  </a:cubicBezTo>
                  <a:cubicBezTo>
                    <a:pt x="22" y="109"/>
                    <a:pt x="22" y="109"/>
                    <a:pt x="22" y="109"/>
                  </a:cubicBezTo>
                  <a:cubicBezTo>
                    <a:pt x="23" y="109"/>
                    <a:pt x="24" y="109"/>
                    <a:pt x="24" y="109"/>
                  </a:cubicBezTo>
                  <a:cubicBezTo>
                    <a:pt x="25" y="109"/>
                    <a:pt x="26" y="109"/>
                    <a:pt x="27" y="109"/>
                  </a:cubicBezTo>
                  <a:cubicBezTo>
                    <a:pt x="28" y="109"/>
                    <a:pt x="30" y="109"/>
                    <a:pt x="31" y="110"/>
                  </a:cubicBezTo>
                  <a:cubicBezTo>
                    <a:pt x="38" y="113"/>
                    <a:pt x="45" y="117"/>
                    <a:pt x="52" y="119"/>
                  </a:cubicBezTo>
                  <a:cubicBezTo>
                    <a:pt x="54" y="120"/>
                    <a:pt x="55" y="120"/>
                    <a:pt x="57" y="120"/>
                  </a:cubicBezTo>
                  <a:cubicBezTo>
                    <a:pt x="58" y="120"/>
                    <a:pt x="60" y="120"/>
                    <a:pt x="62" y="120"/>
                  </a:cubicBezTo>
                  <a:cubicBezTo>
                    <a:pt x="63" y="120"/>
                    <a:pt x="67" y="118"/>
                    <a:pt x="70" y="118"/>
                  </a:cubicBezTo>
                  <a:cubicBezTo>
                    <a:pt x="70" y="118"/>
                    <a:pt x="71" y="118"/>
                    <a:pt x="71" y="119"/>
                  </a:cubicBezTo>
                  <a:cubicBezTo>
                    <a:pt x="73" y="119"/>
                    <a:pt x="79" y="123"/>
                    <a:pt x="81" y="123"/>
                  </a:cubicBezTo>
                  <a:cubicBezTo>
                    <a:pt x="81" y="123"/>
                    <a:pt x="81" y="123"/>
                    <a:pt x="81" y="123"/>
                  </a:cubicBezTo>
                  <a:cubicBezTo>
                    <a:pt x="84" y="121"/>
                    <a:pt x="88" y="120"/>
                    <a:pt x="91" y="119"/>
                  </a:cubicBezTo>
                  <a:cubicBezTo>
                    <a:pt x="93" y="118"/>
                    <a:pt x="96" y="117"/>
                    <a:pt x="96" y="115"/>
                  </a:cubicBezTo>
                  <a:cubicBezTo>
                    <a:pt x="97" y="114"/>
                    <a:pt x="95" y="113"/>
                    <a:pt x="96" y="112"/>
                  </a:cubicBezTo>
                  <a:cubicBezTo>
                    <a:pt x="96" y="112"/>
                    <a:pt x="99" y="111"/>
                    <a:pt x="99" y="111"/>
                  </a:cubicBezTo>
                  <a:cubicBezTo>
                    <a:pt x="101" y="110"/>
                    <a:pt x="107" y="109"/>
                    <a:pt x="108" y="107"/>
                  </a:cubicBezTo>
                  <a:cubicBezTo>
                    <a:pt x="109" y="107"/>
                    <a:pt x="108" y="106"/>
                    <a:pt x="108" y="106"/>
                  </a:cubicBezTo>
                  <a:cubicBezTo>
                    <a:pt x="110" y="103"/>
                    <a:pt x="113" y="101"/>
                    <a:pt x="114" y="98"/>
                  </a:cubicBezTo>
                  <a:cubicBezTo>
                    <a:pt x="114" y="98"/>
                    <a:pt x="115" y="96"/>
                    <a:pt x="116" y="93"/>
                  </a:cubicBezTo>
                  <a:cubicBezTo>
                    <a:pt x="116" y="93"/>
                    <a:pt x="116" y="93"/>
                    <a:pt x="116" y="93"/>
                  </a:cubicBezTo>
                  <a:cubicBezTo>
                    <a:pt x="114" y="92"/>
                    <a:pt x="114" y="91"/>
                    <a:pt x="113" y="90"/>
                  </a:cubicBezTo>
                  <a:cubicBezTo>
                    <a:pt x="113" y="90"/>
                    <a:pt x="112" y="89"/>
                    <a:pt x="112" y="89"/>
                  </a:cubicBezTo>
                  <a:cubicBezTo>
                    <a:pt x="110" y="86"/>
                    <a:pt x="111" y="75"/>
                    <a:pt x="112" y="73"/>
                  </a:cubicBezTo>
                  <a:cubicBezTo>
                    <a:pt x="112" y="73"/>
                    <a:pt x="112" y="73"/>
                    <a:pt x="112" y="73"/>
                  </a:cubicBezTo>
                  <a:cubicBezTo>
                    <a:pt x="113" y="70"/>
                    <a:pt x="115" y="68"/>
                    <a:pt x="117" y="65"/>
                  </a:cubicBezTo>
                  <a:cubicBezTo>
                    <a:pt x="117" y="65"/>
                    <a:pt x="118" y="64"/>
                    <a:pt x="118" y="63"/>
                  </a:cubicBezTo>
                  <a:cubicBezTo>
                    <a:pt x="114" y="61"/>
                    <a:pt x="111" y="59"/>
                    <a:pt x="108" y="55"/>
                  </a:cubicBezTo>
                  <a:cubicBezTo>
                    <a:pt x="107" y="53"/>
                    <a:pt x="107" y="53"/>
                    <a:pt x="107" y="53"/>
                  </a:cubicBezTo>
                  <a:cubicBezTo>
                    <a:pt x="106" y="52"/>
                    <a:pt x="105" y="50"/>
                    <a:pt x="104" y="48"/>
                  </a:cubicBezTo>
                  <a:cubicBezTo>
                    <a:pt x="103" y="47"/>
                    <a:pt x="103" y="47"/>
                    <a:pt x="103" y="47"/>
                  </a:cubicBezTo>
                  <a:cubicBezTo>
                    <a:pt x="102" y="46"/>
                    <a:pt x="101" y="45"/>
                    <a:pt x="99" y="44"/>
                  </a:cubicBezTo>
                  <a:cubicBezTo>
                    <a:pt x="99" y="44"/>
                    <a:pt x="98" y="44"/>
                    <a:pt x="97" y="43"/>
                  </a:cubicBezTo>
                  <a:cubicBezTo>
                    <a:pt x="97" y="43"/>
                    <a:pt x="96" y="43"/>
                    <a:pt x="96" y="42"/>
                  </a:cubicBezTo>
                  <a:cubicBezTo>
                    <a:pt x="93" y="41"/>
                    <a:pt x="90" y="40"/>
                    <a:pt x="89" y="37"/>
                  </a:cubicBezTo>
                  <a:cubicBezTo>
                    <a:pt x="88" y="36"/>
                    <a:pt x="88" y="36"/>
                    <a:pt x="88" y="36"/>
                  </a:cubicBezTo>
                  <a:cubicBezTo>
                    <a:pt x="88" y="35"/>
                    <a:pt x="87" y="34"/>
                    <a:pt x="87" y="34"/>
                  </a:cubicBezTo>
                  <a:cubicBezTo>
                    <a:pt x="85" y="33"/>
                    <a:pt x="83" y="32"/>
                    <a:pt x="81" y="32"/>
                  </a:cubicBezTo>
                  <a:cubicBezTo>
                    <a:pt x="78" y="31"/>
                    <a:pt x="75" y="30"/>
                    <a:pt x="72" y="28"/>
                  </a:cubicBezTo>
                  <a:cubicBezTo>
                    <a:pt x="71" y="27"/>
                    <a:pt x="70" y="26"/>
                    <a:pt x="69" y="24"/>
                  </a:cubicBezTo>
                  <a:cubicBezTo>
                    <a:pt x="68" y="23"/>
                    <a:pt x="68" y="22"/>
                    <a:pt x="67" y="20"/>
                  </a:cubicBezTo>
                  <a:cubicBezTo>
                    <a:pt x="66" y="21"/>
                    <a:pt x="66" y="21"/>
                    <a:pt x="66" y="21"/>
                  </a:cubicBezTo>
                  <a:cubicBezTo>
                    <a:pt x="67" y="21"/>
                    <a:pt x="67" y="21"/>
                    <a:pt x="67" y="21"/>
                  </a:cubicBezTo>
                  <a:cubicBezTo>
                    <a:pt x="66" y="21"/>
                    <a:pt x="66" y="21"/>
                    <a:pt x="66" y="21"/>
                  </a:cubicBezTo>
                  <a:cubicBezTo>
                    <a:pt x="66" y="21"/>
                    <a:pt x="66" y="21"/>
                    <a:pt x="66" y="21"/>
                  </a:cubicBezTo>
                  <a:cubicBezTo>
                    <a:pt x="66" y="21"/>
                    <a:pt x="66" y="21"/>
                    <a:pt x="66" y="21"/>
                  </a:cubicBezTo>
                  <a:cubicBezTo>
                    <a:pt x="66" y="21"/>
                    <a:pt x="66" y="21"/>
                    <a:pt x="66" y="21"/>
                  </a:cubicBezTo>
                  <a:cubicBezTo>
                    <a:pt x="65" y="22"/>
                    <a:pt x="65" y="22"/>
                    <a:pt x="65" y="22"/>
                  </a:cubicBezTo>
                  <a:cubicBezTo>
                    <a:pt x="65" y="22"/>
                    <a:pt x="65" y="22"/>
                    <a:pt x="65" y="22"/>
                  </a:cubicBezTo>
                  <a:cubicBezTo>
                    <a:pt x="64" y="22"/>
                    <a:pt x="64" y="22"/>
                    <a:pt x="64" y="22"/>
                  </a:cubicBezTo>
                  <a:cubicBezTo>
                    <a:pt x="64" y="23"/>
                    <a:pt x="64" y="23"/>
                    <a:pt x="64" y="23"/>
                  </a:cubicBezTo>
                  <a:cubicBezTo>
                    <a:pt x="64" y="23"/>
                    <a:pt x="64" y="23"/>
                    <a:pt x="64" y="23"/>
                  </a:cubicBezTo>
                  <a:cubicBezTo>
                    <a:pt x="62" y="24"/>
                    <a:pt x="62" y="24"/>
                    <a:pt x="62" y="24"/>
                  </a:cubicBezTo>
                  <a:cubicBezTo>
                    <a:pt x="62" y="24"/>
                    <a:pt x="62" y="24"/>
                    <a:pt x="62" y="24"/>
                  </a:cubicBezTo>
                  <a:cubicBezTo>
                    <a:pt x="60" y="24"/>
                    <a:pt x="59" y="24"/>
                    <a:pt x="57" y="25"/>
                  </a:cubicBezTo>
                  <a:cubicBezTo>
                    <a:pt x="52" y="26"/>
                    <a:pt x="52" y="26"/>
                    <a:pt x="52" y="26"/>
                  </a:cubicBezTo>
                  <a:cubicBezTo>
                    <a:pt x="54" y="21"/>
                    <a:pt x="54" y="21"/>
                    <a:pt x="54" y="21"/>
                  </a:cubicBezTo>
                  <a:cubicBezTo>
                    <a:pt x="54" y="20"/>
                    <a:pt x="54" y="20"/>
                    <a:pt x="54" y="19"/>
                  </a:cubicBezTo>
                  <a:cubicBezTo>
                    <a:pt x="54" y="17"/>
                    <a:pt x="54" y="15"/>
                    <a:pt x="53" y="14"/>
                  </a:cubicBezTo>
                  <a:cubicBezTo>
                    <a:pt x="49" y="11"/>
                    <a:pt x="49" y="11"/>
                    <a:pt x="49" y="11"/>
                  </a:cubicBezTo>
                  <a:cubicBezTo>
                    <a:pt x="47" y="9"/>
                    <a:pt x="45" y="7"/>
                    <a:pt x="43" y="6"/>
                  </a:cubicBezTo>
                  <a:cubicBezTo>
                    <a:pt x="42" y="4"/>
                    <a:pt x="40" y="3"/>
                    <a:pt x="38" y="1"/>
                  </a:cubicBezTo>
                  <a:cubicBezTo>
                    <a:pt x="37" y="0"/>
                    <a:pt x="35"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257"/>
            <p:cNvSpPr/>
            <p:nvPr/>
          </p:nvSpPr>
          <p:spPr bwMode="auto">
            <a:xfrm>
              <a:off x="8235851" y="6490809"/>
              <a:ext cx="252796" cy="259858"/>
            </a:xfrm>
            <a:custGeom>
              <a:gdLst>
                <a:gd name="T0" fmla="*/ 56 w 76"/>
                <a:gd name="T1" fmla="*/ 2 h 78"/>
                <a:gd name="T2" fmla="*/ 45 w 76"/>
                <a:gd name="T3" fmla="*/ 9 h 78"/>
                <a:gd name="T4" fmla="*/ 37 w 76"/>
                <a:gd name="T5" fmla="*/ 9 h 78"/>
                <a:gd name="T6" fmla="*/ 41 w 76"/>
                <a:gd name="T7" fmla="*/ 13 h 78"/>
                <a:gd name="T8" fmla="*/ 42 w 76"/>
                <a:gd name="T9" fmla="*/ 13 h 78"/>
                <a:gd name="T10" fmla="*/ 44 w 76"/>
                <a:gd name="T11" fmla="*/ 13 h 78"/>
                <a:gd name="T12" fmla="*/ 39 w 76"/>
                <a:gd name="T13" fmla="*/ 15 h 78"/>
                <a:gd name="T14" fmla="*/ 45 w 76"/>
                <a:gd name="T15" fmla="*/ 30 h 78"/>
                <a:gd name="T16" fmla="*/ 58 w 76"/>
                <a:gd name="T17" fmla="*/ 27 h 78"/>
                <a:gd name="T18" fmla="*/ 49 w 76"/>
                <a:gd name="T19" fmla="*/ 37 h 78"/>
                <a:gd name="T20" fmla="*/ 43 w 76"/>
                <a:gd name="T21" fmla="*/ 41 h 78"/>
                <a:gd name="T22" fmla="*/ 49 w 76"/>
                <a:gd name="T23" fmla="*/ 53 h 78"/>
                <a:gd name="T24" fmla="*/ 66 w 76"/>
                <a:gd name="T25" fmla="*/ 60 h 78"/>
                <a:gd name="T26" fmla="*/ 61 w 76"/>
                <a:gd name="T27" fmla="*/ 68 h 78"/>
                <a:gd name="T28" fmla="*/ 60 w 76"/>
                <a:gd name="T29" fmla="*/ 60 h 78"/>
                <a:gd name="T30" fmla="*/ 59 w 76"/>
                <a:gd name="T31" fmla="*/ 59 h 78"/>
                <a:gd name="T32" fmla="*/ 58 w 76"/>
                <a:gd name="T33" fmla="*/ 61 h 78"/>
                <a:gd name="T34" fmla="*/ 52 w 76"/>
                <a:gd name="T35" fmla="*/ 57 h 78"/>
                <a:gd name="T36" fmla="*/ 52 w 76"/>
                <a:gd name="T37" fmla="*/ 65 h 78"/>
                <a:gd name="T38" fmla="*/ 47 w 76"/>
                <a:gd name="T39" fmla="*/ 58 h 78"/>
                <a:gd name="T40" fmla="*/ 45 w 76"/>
                <a:gd name="T41" fmla="*/ 58 h 78"/>
                <a:gd name="T42" fmla="*/ 40 w 76"/>
                <a:gd name="T43" fmla="*/ 59 h 78"/>
                <a:gd name="T44" fmla="*/ 30 w 76"/>
                <a:gd name="T45" fmla="*/ 56 h 78"/>
                <a:gd name="T46" fmla="*/ 36 w 76"/>
                <a:gd name="T47" fmla="*/ 60 h 78"/>
                <a:gd name="T48" fmla="*/ 34 w 76"/>
                <a:gd name="T49" fmla="*/ 61 h 78"/>
                <a:gd name="T50" fmla="*/ 30 w 76"/>
                <a:gd name="T51" fmla="*/ 66 h 78"/>
                <a:gd name="T52" fmla="*/ 33 w 76"/>
                <a:gd name="T53" fmla="*/ 59 h 78"/>
                <a:gd name="T54" fmla="*/ 21 w 76"/>
                <a:gd name="T55" fmla="*/ 62 h 78"/>
                <a:gd name="T56" fmla="*/ 16 w 76"/>
                <a:gd name="T57" fmla="*/ 62 h 78"/>
                <a:gd name="T58" fmla="*/ 12 w 76"/>
                <a:gd name="T59" fmla="*/ 64 h 78"/>
                <a:gd name="T60" fmla="*/ 6 w 76"/>
                <a:gd name="T61" fmla="*/ 63 h 78"/>
                <a:gd name="T62" fmla="*/ 8 w 76"/>
                <a:gd name="T63" fmla="*/ 66 h 78"/>
                <a:gd name="T64" fmla="*/ 8 w 76"/>
                <a:gd name="T65" fmla="*/ 66 h 78"/>
                <a:gd name="T66" fmla="*/ 3 w 76"/>
                <a:gd name="T67" fmla="*/ 67 h 78"/>
                <a:gd name="T68" fmla="*/ 3 w 76"/>
                <a:gd name="T69" fmla="*/ 69 h 78"/>
                <a:gd name="T70" fmla="*/ 15 w 76"/>
                <a:gd name="T71" fmla="*/ 65 h 78"/>
                <a:gd name="T72" fmla="*/ 18 w 76"/>
                <a:gd name="T73" fmla="*/ 69 h 78"/>
                <a:gd name="T74" fmla="*/ 19 w 76"/>
                <a:gd name="T75" fmla="*/ 70 h 78"/>
                <a:gd name="T76" fmla="*/ 23 w 76"/>
                <a:gd name="T77" fmla="*/ 73 h 78"/>
                <a:gd name="T78" fmla="*/ 28 w 76"/>
                <a:gd name="T79" fmla="*/ 69 h 78"/>
                <a:gd name="T80" fmla="*/ 32 w 76"/>
                <a:gd name="T81" fmla="*/ 70 h 78"/>
                <a:gd name="T82" fmla="*/ 35 w 76"/>
                <a:gd name="T83" fmla="*/ 68 h 78"/>
                <a:gd name="T84" fmla="*/ 28 w 76"/>
                <a:gd name="T85" fmla="*/ 73 h 78"/>
                <a:gd name="T86" fmla="*/ 35 w 76"/>
                <a:gd name="T87" fmla="*/ 73 h 78"/>
                <a:gd name="T88" fmla="*/ 40 w 76"/>
                <a:gd name="T89" fmla="*/ 75 h 78"/>
                <a:gd name="T90" fmla="*/ 47 w 76"/>
                <a:gd name="T91" fmla="*/ 70 h 78"/>
                <a:gd name="T92" fmla="*/ 52 w 76"/>
                <a:gd name="T93" fmla="*/ 71 h 78"/>
                <a:gd name="T94" fmla="*/ 55 w 76"/>
                <a:gd name="T95" fmla="*/ 74 h 78"/>
                <a:gd name="T96" fmla="*/ 67 w 76"/>
                <a:gd name="T97" fmla="*/ 78 h 78"/>
                <a:gd name="T98" fmla="*/ 71 w 76"/>
                <a:gd name="T99" fmla="*/ 73 h 78"/>
                <a:gd name="T100" fmla="*/ 76 w 76"/>
                <a:gd name="T101" fmla="*/ 5 h 78"/>
                <a:gd name="T102" fmla="*/ 72 w 76"/>
                <a:gd name="T103" fmla="*/ 5 h 78"/>
                <a:gd name="T104" fmla="*/ 70 w 76"/>
                <a:gd name="T105" fmla="*/ 5 h 78"/>
                <a:gd name="T106" fmla="*/ 59 w 76"/>
                <a:gd name="T107" fmla="*/ 0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 h="78">
                  <a:moveTo>
                    <a:pt x="59" y="0"/>
                  </a:moveTo>
                  <a:cubicBezTo>
                    <a:pt x="59" y="0"/>
                    <a:pt x="58" y="1"/>
                    <a:pt x="56" y="2"/>
                  </a:cubicBezTo>
                  <a:cubicBezTo>
                    <a:pt x="53" y="5"/>
                    <a:pt x="51" y="11"/>
                    <a:pt x="48" y="11"/>
                  </a:cubicBezTo>
                  <a:cubicBezTo>
                    <a:pt x="47" y="11"/>
                    <a:pt x="46" y="10"/>
                    <a:pt x="45" y="9"/>
                  </a:cubicBezTo>
                  <a:cubicBezTo>
                    <a:pt x="44" y="8"/>
                    <a:pt x="42" y="8"/>
                    <a:pt x="41" y="8"/>
                  </a:cubicBezTo>
                  <a:cubicBezTo>
                    <a:pt x="39" y="8"/>
                    <a:pt x="38" y="8"/>
                    <a:pt x="37" y="9"/>
                  </a:cubicBezTo>
                  <a:cubicBezTo>
                    <a:pt x="38" y="9"/>
                    <a:pt x="40" y="9"/>
                    <a:pt x="40" y="10"/>
                  </a:cubicBezTo>
                  <a:cubicBezTo>
                    <a:pt x="41" y="11"/>
                    <a:pt x="40" y="12"/>
                    <a:pt x="41" y="13"/>
                  </a:cubicBezTo>
                  <a:cubicBezTo>
                    <a:pt x="41" y="13"/>
                    <a:pt x="41" y="13"/>
                    <a:pt x="41" y="13"/>
                  </a:cubicBezTo>
                  <a:cubicBezTo>
                    <a:pt x="41" y="13"/>
                    <a:pt x="42" y="13"/>
                    <a:pt x="42" y="13"/>
                  </a:cubicBezTo>
                  <a:cubicBezTo>
                    <a:pt x="43" y="13"/>
                    <a:pt x="43" y="12"/>
                    <a:pt x="43" y="12"/>
                  </a:cubicBezTo>
                  <a:cubicBezTo>
                    <a:pt x="44" y="12"/>
                    <a:pt x="44" y="13"/>
                    <a:pt x="44" y="13"/>
                  </a:cubicBezTo>
                  <a:cubicBezTo>
                    <a:pt x="45" y="13"/>
                    <a:pt x="42" y="17"/>
                    <a:pt x="40" y="17"/>
                  </a:cubicBezTo>
                  <a:cubicBezTo>
                    <a:pt x="39" y="17"/>
                    <a:pt x="39" y="17"/>
                    <a:pt x="39" y="15"/>
                  </a:cubicBezTo>
                  <a:cubicBezTo>
                    <a:pt x="34" y="18"/>
                    <a:pt x="36" y="31"/>
                    <a:pt x="42" y="31"/>
                  </a:cubicBezTo>
                  <a:cubicBezTo>
                    <a:pt x="43" y="31"/>
                    <a:pt x="44" y="31"/>
                    <a:pt x="45" y="30"/>
                  </a:cubicBezTo>
                  <a:cubicBezTo>
                    <a:pt x="48" y="28"/>
                    <a:pt x="50" y="27"/>
                    <a:pt x="54" y="27"/>
                  </a:cubicBezTo>
                  <a:cubicBezTo>
                    <a:pt x="55" y="27"/>
                    <a:pt x="57" y="27"/>
                    <a:pt x="58" y="27"/>
                  </a:cubicBezTo>
                  <a:cubicBezTo>
                    <a:pt x="60" y="27"/>
                    <a:pt x="62" y="27"/>
                    <a:pt x="62" y="30"/>
                  </a:cubicBezTo>
                  <a:cubicBezTo>
                    <a:pt x="62" y="35"/>
                    <a:pt x="53" y="36"/>
                    <a:pt x="49" y="37"/>
                  </a:cubicBezTo>
                  <a:cubicBezTo>
                    <a:pt x="48" y="37"/>
                    <a:pt x="46" y="39"/>
                    <a:pt x="45" y="39"/>
                  </a:cubicBezTo>
                  <a:cubicBezTo>
                    <a:pt x="44" y="40"/>
                    <a:pt x="43" y="39"/>
                    <a:pt x="43" y="41"/>
                  </a:cubicBezTo>
                  <a:cubicBezTo>
                    <a:pt x="43" y="43"/>
                    <a:pt x="43" y="45"/>
                    <a:pt x="44" y="46"/>
                  </a:cubicBezTo>
                  <a:cubicBezTo>
                    <a:pt x="45" y="49"/>
                    <a:pt x="46" y="51"/>
                    <a:pt x="49" y="53"/>
                  </a:cubicBezTo>
                  <a:cubicBezTo>
                    <a:pt x="52" y="54"/>
                    <a:pt x="55" y="55"/>
                    <a:pt x="58" y="56"/>
                  </a:cubicBezTo>
                  <a:cubicBezTo>
                    <a:pt x="61" y="58"/>
                    <a:pt x="64" y="59"/>
                    <a:pt x="66" y="60"/>
                  </a:cubicBezTo>
                  <a:cubicBezTo>
                    <a:pt x="68" y="61"/>
                    <a:pt x="70" y="61"/>
                    <a:pt x="70" y="62"/>
                  </a:cubicBezTo>
                  <a:cubicBezTo>
                    <a:pt x="70" y="65"/>
                    <a:pt x="63" y="66"/>
                    <a:pt x="61" y="68"/>
                  </a:cubicBezTo>
                  <a:cubicBezTo>
                    <a:pt x="61" y="65"/>
                    <a:pt x="66" y="65"/>
                    <a:pt x="64" y="62"/>
                  </a:cubicBezTo>
                  <a:cubicBezTo>
                    <a:pt x="64" y="62"/>
                    <a:pt x="61" y="60"/>
                    <a:pt x="60" y="60"/>
                  </a:cubicBezTo>
                  <a:cubicBezTo>
                    <a:pt x="60" y="60"/>
                    <a:pt x="60" y="59"/>
                    <a:pt x="59" y="59"/>
                  </a:cubicBezTo>
                  <a:cubicBezTo>
                    <a:pt x="59" y="59"/>
                    <a:pt x="59" y="59"/>
                    <a:pt x="59" y="59"/>
                  </a:cubicBezTo>
                  <a:cubicBezTo>
                    <a:pt x="57" y="59"/>
                    <a:pt x="59" y="60"/>
                    <a:pt x="58" y="61"/>
                  </a:cubicBezTo>
                  <a:cubicBezTo>
                    <a:pt x="58" y="61"/>
                    <a:pt x="58" y="61"/>
                    <a:pt x="58" y="61"/>
                  </a:cubicBezTo>
                  <a:cubicBezTo>
                    <a:pt x="57" y="61"/>
                    <a:pt x="56" y="60"/>
                    <a:pt x="55" y="59"/>
                  </a:cubicBezTo>
                  <a:cubicBezTo>
                    <a:pt x="54" y="58"/>
                    <a:pt x="52" y="57"/>
                    <a:pt x="52" y="57"/>
                  </a:cubicBezTo>
                  <a:cubicBezTo>
                    <a:pt x="51" y="57"/>
                    <a:pt x="51" y="58"/>
                    <a:pt x="51" y="59"/>
                  </a:cubicBezTo>
                  <a:cubicBezTo>
                    <a:pt x="51" y="62"/>
                    <a:pt x="53" y="63"/>
                    <a:pt x="52" y="65"/>
                  </a:cubicBezTo>
                  <a:cubicBezTo>
                    <a:pt x="51" y="64"/>
                    <a:pt x="50" y="62"/>
                    <a:pt x="49" y="61"/>
                  </a:cubicBezTo>
                  <a:cubicBezTo>
                    <a:pt x="49" y="60"/>
                    <a:pt x="48" y="58"/>
                    <a:pt x="47" y="58"/>
                  </a:cubicBezTo>
                  <a:cubicBezTo>
                    <a:pt x="47" y="57"/>
                    <a:pt x="46" y="56"/>
                    <a:pt x="46" y="56"/>
                  </a:cubicBezTo>
                  <a:cubicBezTo>
                    <a:pt x="45" y="56"/>
                    <a:pt x="45" y="57"/>
                    <a:pt x="45" y="58"/>
                  </a:cubicBezTo>
                  <a:cubicBezTo>
                    <a:pt x="45" y="60"/>
                    <a:pt x="45" y="61"/>
                    <a:pt x="44" y="61"/>
                  </a:cubicBezTo>
                  <a:cubicBezTo>
                    <a:pt x="43" y="61"/>
                    <a:pt x="41" y="60"/>
                    <a:pt x="40" y="59"/>
                  </a:cubicBezTo>
                  <a:cubicBezTo>
                    <a:pt x="35" y="56"/>
                    <a:pt x="30" y="54"/>
                    <a:pt x="26" y="52"/>
                  </a:cubicBezTo>
                  <a:cubicBezTo>
                    <a:pt x="27" y="53"/>
                    <a:pt x="28" y="55"/>
                    <a:pt x="30" y="56"/>
                  </a:cubicBezTo>
                  <a:cubicBezTo>
                    <a:pt x="31" y="57"/>
                    <a:pt x="32" y="56"/>
                    <a:pt x="33" y="57"/>
                  </a:cubicBezTo>
                  <a:cubicBezTo>
                    <a:pt x="35" y="58"/>
                    <a:pt x="35" y="59"/>
                    <a:pt x="36" y="60"/>
                  </a:cubicBezTo>
                  <a:cubicBezTo>
                    <a:pt x="38" y="63"/>
                    <a:pt x="41" y="64"/>
                    <a:pt x="43" y="65"/>
                  </a:cubicBezTo>
                  <a:cubicBezTo>
                    <a:pt x="41" y="64"/>
                    <a:pt x="35" y="63"/>
                    <a:pt x="34" y="61"/>
                  </a:cubicBezTo>
                  <a:cubicBezTo>
                    <a:pt x="33" y="62"/>
                    <a:pt x="31" y="66"/>
                    <a:pt x="30" y="66"/>
                  </a:cubicBezTo>
                  <a:cubicBezTo>
                    <a:pt x="30" y="66"/>
                    <a:pt x="30" y="66"/>
                    <a:pt x="30" y="66"/>
                  </a:cubicBezTo>
                  <a:cubicBezTo>
                    <a:pt x="29" y="65"/>
                    <a:pt x="29" y="63"/>
                    <a:pt x="30" y="62"/>
                  </a:cubicBezTo>
                  <a:cubicBezTo>
                    <a:pt x="31" y="61"/>
                    <a:pt x="32" y="60"/>
                    <a:pt x="33" y="59"/>
                  </a:cubicBezTo>
                  <a:cubicBezTo>
                    <a:pt x="29" y="60"/>
                    <a:pt x="26" y="62"/>
                    <a:pt x="22" y="62"/>
                  </a:cubicBezTo>
                  <a:cubicBezTo>
                    <a:pt x="22" y="62"/>
                    <a:pt x="22" y="62"/>
                    <a:pt x="21" y="62"/>
                  </a:cubicBezTo>
                  <a:cubicBezTo>
                    <a:pt x="20" y="62"/>
                    <a:pt x="20" y="62"/>
                    <a:pt x="19" y="62"/>
                  </a:cubicBezTo>
                  <a:cubicBezTo>
                    <a:pt x="18" y="62"/>
                    <a:pt x="17" y="62"/>
                    <a:pt x="16" y="62"/>
                  </a:cubicBezTo>
                  <a:cubicBezTo>
                    <a:pt x="14" y="62"/>
                    <a:pt x="12" y="62"/>
                    <a:pt x="10" y="63"/>
                  </a:cubicBezTo>
                  <a:cubicBezTo>
                    <a:pt x="11" y="63"/>
                    <a:pt x="11" y="64"/>
                    <a:pt x="12" y="64"/>
                  </a:cubicBezTo>
                  <a:cubicBezTo>
                    <a:pt x="11" y="64"/>
                    <a:pt x="11" y="64"/>
                    <a:pt x="10" y="64"/>
                  </a:cubicBezTo>
                  <a:cubicBezTo>
                    <a:pt x="9" y="64"/>
                    <a:pt x="8" y="64"/>
                    <a:pt x="6" y="63"/>
                  </a:cubicBezTo>
                  <a:cubicBezTo>
                    <a:pt x="7" y="64"/>
                    <a:pt x="9" y="64"/>
                    <a:pt x="10" y="65"/>
                  </a:cubicBezTo>
                  <a:cubicBezTo>
                    <a:pt x="9" y="66"/>
                    <a:pt x="9" y="66"/>
                    <a:pt x="8" y="66"/>
                  </a:cubicBezTo>
                  <a:cubicBezTo>
                    <a:pt x="8" y="66"/>
                    <a:pt x="7" y="66"/>
                    <a:pt x="7" y="66"/>
                  </a:cubicBezTo>
                  <a:cubicBezTo>
                    <a:pt x="8" y="66"/>
                    <a:pt x="8" y="66"/>
                    <a:pt x="8" y="66"/>
                  </a:cubicBezTo>
                  <a:cubicBezTo>
                    <a:pt x="5" y="66"/>
                    <a:pt x="3" y="65"/>
                    <a:pt x="0" y="65"/>
                  </a:cubicBezTo>
                  <a:cubicBezTo>
                    <a:pt x="0" y="66"/>
                    <a:pt x="1" y="66"/>
                    <a:pt x="3" y="67"/>
                  </a:cubicBezTo>
                  <a:cubicBezTo>
                    <a:pt x="0" y="68"/>
                    <a:pt x="1" y="69"/>
                    <a:pt x="3" y="69"/>
                  </a:cubicBezTo>
                  <a:cubicBezTo>
                    <a:pt x="3" y="69"/>
                    <a:pt x="3" y="69"/>
                    <a:pt x="3" y="69"/>
                  </a:cubicBezTo>
                  <a:cubicBezTo>
                    <a:pt x="7" y="68"/>
                    <a:pt x="11" y="68"/>
                    <a:pt x="15" y="67"/>
                  </a:cubicBezTo>
                  <a:cubicBezTo>
                    <a:pt x="14" y="66"/>
                    <a:pt x="15" y="66"/>
                    <a:pt x="15" y="65"/>
                  </a:cubicBezTo>
                  <a:cubicBezTo>
                    <a:pt x="17" y="66"/>
                    <a:pt x="18" y="67"/>
                    <a:pt x="18" y="69"/>
                  </a:cubicBezTo>
                  <a:cubicBezTo>
                    <a:pt x="18" y="69"/>
                    <a:pt x="18" y="69"/>
                    <a:pt x="18" y="69"/>
                  </a:cubicBezTo>
                  <a:cubicBezTo>
                    <a:pt x="17" y="69"/>
                    <a:pt x="16" y="69"/>
                    <a:pt x="18" y="70"/>
                  </a:cubicBezTo>
                  <a:cubicBezTo>
                    <a:pt x="18" y="70"/>
                    <a:pt x="18" y="70"/>
                    <a:pt x="19" y="70"/>
                  </a:cubicBezTo>
                  <a:cubicBezTo>
                    <a:pt x="20" y="70"/>
                    <a:pt x="21" y="69"/>
                    <a:pt x="22" y="67"/>
                  </a:cubicBezTo>
                  <a:cubicBezTo>
                    <a:pt x="23" y="69"/>
                    <a:pt x="24" y="71"/>
                    <a:pt x="23" y="73"/>
                  </a:cubicBezTo>
                  <a:cubicBezTo>
                    <a:pt x="24" y="71"/>
                    <a:pt x="24" y="70"/>
                    <a:pt x="26" y="69"/>
                  </a:cubicBezTo>
                  <a:cubicBezTo>
                    <a:pt x="26" y="69"/>
                    <a:pt x="27" y="69"/>
                    <a:pt x="28" y="69"/>
                  </a:cubicBezTo>
                  <a:cubicBezTo>
                    <a:pt x="28" y="69"/>
                    <a:pt x="29" y="69"/>
                    <a:pt x="30" y="69"/>
                  </a:cubicBezTo>
                  <a:cubicBezTo>
                    <a:pt x="31" y="70"/>
                    <a:pt x="32" y="70"/>
                    <a:pt x="32" y="70"/>
                  </a:cubicBezTo>
                  <a:cubicBezTo>
                    <a:pt x="32" y="70"/>
                    <a:pt x="32" y="70"/>
                    <a:pt x="33" y="70"/>
                  </a:cubicBezTo>
                  <a:cubicBezTo>
                    <a:pt x="33" y="69"/>
                    <a:pt x="34" y="68"/>
                    <a:pt x="35" y="68"/>
                  </a:cubicBezTo>
                  <a:cubicBezTo>
                    <a:pt x="35" y="68"/>
                    <a:pt x="35" y="68"/>
                    <a:pt x="35" y="68"/>
                  </a:cubicBezTo>
                  <a:cubicBezTo>
                    <a:pt x="34" y="72"/>
                    <a:pt x="29" y="70"/>
                    <a:pt x="28" y="73"/>
                  </a:cubicBezTo>
                  <a:cubicBezTo>
                    <a:pt x="27" y="74"/>
                    <a:pt x="28" y="75"/>
                    <a:pt x="29" y="75"/>
                  </a:cubicBezTo>
                  <a:cubicBezTo>
                    <a:pt x="31" y="75"/>
                    <a:pt x="34" y="73"/>
                    <a:pt x="35" y="73"/>
                  </a:cubicBezTo>
                  <a:cubicBezTo>
                    <a:pt x="37" y="73"/>
                    <a:pt x="40" y="72"/>
                    <a:pt x="41" y="70"/>
                  </a:cubicBezTo>
                  <a:cubicBezTo>
                    <a:pt x="41" y="70"/>
                    <a:pt x="38" y="75"/>
                    <a:pt x="40" y="75"/>
                  </a:cubicBezTo>
                  <a:cubicBezTo>
                    <a:pt x="40" y="75"/>
                    <a:pt x="40" y="75"/>
                    <a:pt x="41" y="75"/>
                  </a:cubicBezTo>
                  <a:cubicBezTo>
                    <a:pt x="44" y="74"/>
                    <a:pt x="47" y="73"/>
                    <a:pt x="47" y="70"/>
                  </a:cubicBezTo>
                  <a:cubicBezTo>
                    <a:pt x="48" y="72"/>
                    <a:pt x="48" y="73"/>
                    <a:pt x="48" y="73"/>
                  </a:cubicBezTo>
                  <a:cubicBezTo>
                    <a:pt x="49" y="73"/>
                    <a:pt x="50" y="72"/>
                    <a:pt x="52" y="71"/>
                  </a:cubicBezTo>
                  <a:cubicBezTo>
                    <a:pt x="53" y="71"/>
                    <a:pt x="53" y="71"/>
                    <a:pt x="53" y="71"/>
                  </a:cubicBezTo>
                  <a:cubicBezTo>
                    <a:pt x="55" y="71"/>
                    <a:pt x="54" y="73"/>
                    <a:pt x="55" y="74"/>
                  </a:cubicBezTo>
                  <a:cubicBezTo>
                    <a:pt x="56" y="76"/>
                    <a:pt x="61" y="77"/>
                    <a:pt x="63" y="77"/>
                  </a:cubicBezTo>
                  <a:cubicBezTo>
                    <a:pt x="64" y="77"/>
                    <a:pt x="65" y="78"/>
                    <a:pt x="67" y="78"/>
                  </a:cubicBezTo>
                  <a:cubicBezTo>
                    <a:pt x="69" y="78"/>
                    <a:pt x="70" y="77"/>
                    <a:pt x="72" y="74"/>
                  </a:cubicBezTo>
                  <a:cubicBezTo>
                    <a:pt x="72" y="74"/>
                    <a:pt x="71" y="73"/>
                    <a:pt x="71" y="73"/>
                  </a:cubicBezTo>
                  <a:cubicBezTo>
                    <a:pt x="72" y="73"/>
                    <a:pt x="74" y="74"/>
                    <a:pt x="76" y="75"/>
                  </a:cubicBezTo>
                  <a:cubicBezTo>
                    <a:pt x="75" y="62"/>
                    <a:pt x="76" y="19"/>
                    <a:pt x="76" y="5"/>
                  </a:cubicBezTo>
                  <a:cubicBezTo>
                    <a:pt x="76" y="5"/>
                    <a:pt x="75" y="5"/>
                    <a:pt x="75" y="5"/>
                  </a:cubicBezTo>
                  <a:cubicBezTo>
                    <a:pt x="74" y="5"/>
                    <a:pt x="73" y="5"/>
                    <a:pt x="72" y="5"/>
                  </a:cubicBezTo>
                  <a:cubicBezTo>
                    <a:pt x="71" y="5"/>
                    <a:pt x="71" y="5"/>
                    <a:pt x="70" y="5"/>
                  </a:cubicBezTo>
                  <a:cubicBezTo>
                    <a:pt x="70" y="5"/>
                    <a:pt x="70" y="5"/>
                    <a:pt x="70" y="5"/>
                  </a:cubicBezTo>
                  <a:cubicBezTo>
                    <a:pt x="66" y="5"/>
                    <a:pt x="64" y="2"/>
                    <a:pt x="61" y="1"/>
                  </a:cubicBezTo>
                  <a:cubicBezTo>
                    <a:pt x="61" y="0"/>
                    <a:pt x="60"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258"/>
            <p:cNvSpPr/>
            <p:nvPr/>
          </p:nvSpPr>
          <p:spPr bwMode="auto">
            <a:xfrm>
              <a:off x="7156877" y="1145354"/>
              <a:ext cx="244323" cy="210429"/>
            </a:xfrm>
            <a:custGeom>
              <a:gdLst>
                <a:gd name="T0" fmla="*/ 7 w 73"/>
                <a:gd name="T1" fmla="*/ 1 h 63"/>
                <a:gd name="T2" fmla="*/ 5 w 73"/>
                <a:gd name="T3" fmla="*/ 1 h 63"/>
                <a:gd name="T4" fmla="*/ 2 w 73"/>
                <a:gd name="T5" fmla="*/ 2 h 63"/>
                <a:gd name="T6" fmla="*/ 6 w 73"/>
                <a:gd name="T7" fmla="*/ 6 h 63"/>
                <a:gd name="T8" fmla="*/ 3 w 73"/>
                <a:gd name="T9" fmla="*/ 13 h 63"/>
                <a:gd name="T10" fmla="*/ 11 w 73"/>
                <a:gd name="T11" fmla="*/ 28 h 63"/>
                <a:gd name="T12" fmla="*/ 19 w 73"/>
                <a:gd name="T13" fmla="*/ 34 h 63"/>
                <a:gd name="T14" fmla="*/ 19 w 73"/>
                <a:gd name="T15" fmla="*/ 35 h 63"/>
                <a:gd name="T16" fmla="*/ 25 w 73"/>
                <a:gd name="T17" fmla="*/ 29 h 63"/>
                <a:gd name="T18" fmla="*/ 15 w 73"/>
                <a:gd name="T19" fmla="*/ 18 h 63"/>
                <a:gd name="T20" fmla="*/ 27 w 73"/>
                <a:gd name="T21" fmla="*/ 25 h 63"/>
                <a:gd name="T22" fmla="*/ 36 w 73"/>
                <a:gd name="T23" fmla="*/ 36 h 63"/>
                <a:gd name="T24" fmla="*/ 40 w 73"/>
                <a:gd name="T25" fmla="*/ 37 h 63"/>
                <a:gd name="T26" fmla="*/ 52 w 73"/>
                <a:gd name="T27" fmla="*/ 45 h 63"/>
                <a:gd name="T28" fmla="*/ 55 w 73"/>
                <a:gd name="T29" fmla="*/ 60 h 63"/>
                <a:gd name="T30" fmla="*/ 57 w 73"/>
                <a:gd name="T31" fmla="*/ 55 h 63"/>
                <a:gd name="T32" fmla="*/ 65 w 73"/>
                <a:gd name="T33" fmla="*/ 59 h 63"/>
                <a:gd name="T34" fmla="*/ 66 w 73"/>
                <a:gd name="T35" fmla="*/ 60 h 63"/>
                <a:gd name="T36" fmla="*/ 68 w 73"/>
                <a:gd name="T37" fmla="*/ 58 h 63"/>
                <a:gd name="T38" fmla="*/ 70 w 73"/>
                <a:gd name="T39" fmla="*/ 50 h 63"/>
                <a:gd name="T40" fmla="*/ 67 w 73"/>
                <a:gd name="T41" fmla="*/ 48 h 63"/>
                <a:gd name="T42" fmla="*/ 67 w 73"/>
                <a:gd name="T43" fmla="*/ 46 h 63"/>
                <a:gd name="T44" fmla="*/ 67 w 73"/>
                <a:gd name="T45" fmla="*/ 44 h 63"/>
                <a:gd name="T46" fmla="*/ 70 w 73"/>
                <a:gd name="T47" fmla="*/ 32 h 63"/>
                <a:gd name="T48" fmla="*/ 71 w 73"/>
                <a:gd name="T49" fmla="*/ 31 h 63"/>
                <a:gd name="T50" fmla="*/ 73 w 73"/>
                <a:gd name="T51" fmla="*/ 31 h 63"/>
                <a:gd name="T52" fmla="*/ 55 w 73"/>
                <a:gd name="T53" fmla="*/ 6 h 63"/>
                <a:gd name="T54" fmla="*/ 50 w 73"/>
                <a:gd name="T55" fmla="*/ 9 h 63"/>
                <a:gd name="T56" fmla="*/ 48 w 73"/>
                <a:gd name="T57" fmla="*/ 9 h 63"/>
                <a:gd name="T58" fmla="*/ 46 w 73"/>
                <a:gd name="T59" fmla="*/ 9 h 63"/>
                <a:gd name="T60" fmla="*/ 36 w 73"/>
                <a:gd name="T61" fmla="*/ 6 h 63"/>
                <a:gd name="T62" fmla="*/ 32 w 73"/>
                <a:gd name="T63" fmla="*/ 4 h 63"/>
                <a:gd name="T64" fmla="*/ 32 w 73"/>
                <a:gd name="T65" fmla="*/ 3 h 63"/>
                <a:gd name="T66" fmla="*/ 31 w 73"/>
                <a:gd name="T67" fmla="*/ 3 h 63"/>
                <a:gd name="T68" fmla="*/ 25 w 73"/>
                <a:gd name="T69" fmla="*/ 5 h 63"/>
                <a:gd name="T70" fmla="*/ 24 w 73"/>
                <a:gd name="T71" fmla="*/ 5 h 63"/>
                <a:gd name="T72" fmla="*/ 10 w 73"/>
                <a:gd name="T73" fmla="*/ 0 h 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62">
                  <a:moveTo>
                    <a:pt x="9" y="0"/>
                  </a:moveTo>
                  <a:cubicBezTo>
                    <a:pt x="8" y="0"/>
                    <a:pt x="7" y="1"/>
                    <a:pt x="7" y="1"/>
                  </a:cubicBezTo>
                  <a:cubicBezTo>
                    <a:pt x="5" y="2"/>
                    <a:pt x="5" y="2"/>
                    <a:pt x="5" y="2"/>
                  </a:cubicBezTo>
                  <a:cubicBezTo>
                    <a:pt x="5" y="1"/>
                    <a:pt x="5" y="1"/>
                    <a:pt x="5" y="1"/>
                  </a:cubicBezTo>
                  <a:cubicBezTo>
                    <a:pt x="3" y="3"/>
                    <a:pt x="3" y="3"/>
                    <a:pt x="3" y="3"/>
                  </a:cubicBezTo>
                  <a:cubicBezTo>
                    <a:pt x="3" y="3"/>
                    <a:pt x="3" y="2"/>
                    <a:pt x="2" y="2"/>
                  </a:cubicBezTo>
                  <a:cubicBezTo>
                    <a:pt x="2" y="2"/>
                    <a:pt x="1" y="3"/>
                    <a:pt x="0" y="4"/>
                  </a:cubicBezTo>
                  <a:cubicBezTo>
                    <a:pt x="1" y="4"/>
                    <a:pt x="6" y="5"/>
                    <a:pt x="6" y="6"/>
                  </a:cubicBezTo>
                  <a:cubicBezTo>
                    <a:pt x="6" y="7"/>
                    <a:pt x="8" y="10"/>
                    <a:pt x="7" y="10"/>
                  </a:cubicBezTo>
                  <a:cubicBezTo>
                    <a:pt x="6" y="10"/>
                    <a:pt x="3" y="12"/>
                    <a:pt x="3" y="13"/>
                  </a:cubicBezTo>
                  <a:cubicBezTo>
                    <a:pt x="4" y="16"/>
                    <a:pt x="5" y="20"/>
                    <a:pt x="5" y="24"/>
                  </a:cubicBezTo>
                  <a:cubicBezTo>
                    <a:pt x="6" y="26"/>
                    <a:pt x="9" y="27"/>
                    <a:pt x="11" y="28"/>
                  </a:cubicBezTo>
                  <a:cubicBezTo>
                    <a:pt x="14" y="29"/>
                    <a:pt x="16" y="31"/>
                    <a:pt x="18" y="33"/>
                  </a:cubicBezTo>
                  <a:cubicBezTo>
                    <a:pt x="19" y="34"/>
                    <a:pt x="19" y="34"/>
                    <a:pt x="19" y="34"/>
                  </a:cubicBezTo>
                  <a:cubicBezTo>
                    <a:pt x="19" y="34"/>
                    <a:pt x="19" y="35"/>
                    <a:pt x="19" y="35"/>
                  </a:cubicBezTo>
                  <a:cubicBezTo>
                    <a:pt x="19" y="35"/>
                    <a:pt x="19" y="35"/>
                    <a:pt x="19" y="35"/>
                  </a:cubicBezTo>
                  <a:cubicBezTo>
                    <a:pt x="19" y="35"/>
                    <a:pt x="21" y="32"/>
                    <a:pt x="22" y="32"/>
                  </a:cubicBezTo>
                  <a:cubicBezTo>
                    <a:pt x="23" y="31"/>
                    <a:pt x="24" y="29"/>
                    <a:pt x="25" y="29"/>
                  </a:cubicBezTo>
                  <a:cubicBezTo>
                    <a:pt x="23" y="27"/>
                    <a:pt x="20" y="26"/>
                    <a:pt x="18" y="24"/>
                  </a:cubicBezTo>
                  <a:cubicBezTo>
                    <a:pt x="17" y="23"/>
                    <a:pt x="16" y="20"/>
                    <a:pt x="15" y="18"/>
                  </a:cubicBezTo>
                  <a:cubicBezTo>
                    <a:pt x="17" y="20"/>
                    <a:pt x="18" y="20"/>
                    <a:pt x="20" y="21"/>
                  </a:cubicBezTo>
                  <a:cubicBezTo>
                    <a:pt x="23" y="22"/>
                    <a:pt x="25" y="24"/>
                    <a:pt x="27" y="25"/>
                  </a:cubicBezTo>
                  <a:cubicBezTo>
                    <a:pt x="29" y="26"/>
                    <a:pt x="28" y="30"/>
                    <a:pt x="29" y="32"/>
                  </a:cubicBezTo>
                  <a:cubicBezTo>
                    <a:pt x="30" y="34"/>
                    <a:pt x="33" y="35"/>
                    <a:pt x="36" y="36"/>
                  </a:cubicBezTo>
                  <a:cubicBezTo>
                    <a:pt x="37" y="37"/>
                    <a:pt x="39" y="37"/>
                    <a:pt x="40" y="37"/>
                  </a:cubicBezTo>
                  <a:cubicBezTo>
                    <a:pt x="40" y="37"/>
                    <a:pt x="40" y="37"/>
                    <a:pt x="40" y="37"/>
                  </a:cubicBezTo>
                  <a:cubicBezTo>
                    <a:pt x="43" y="39"/>
                    <a:pt x="46" y="40"/>
                    <a:pt x="48" y="42"/>
                  </a:cubicBezTo>
                  <a:cubicBezTo>
                    <a:pt x="50" y="43"/>
                    <a:pt x="51" y="44"/>
                    <a:pt x="52" y="45"/>
                  </a:cubicBezTo>
                  <a:cubicBezTo>
                    <a:pt x="53" y="46"/>
                    <a:pt x="53" y="46"/>
                    <a:pt x="53" y="48"/>
                  </a:cubicBezTo>
                  <a:cubicBezTo>
                    <a:pt x="55" y="54"/>
                    <a:pt x="48" y="56"/>
                    <a:pt x="55" y="60"/>
                  </a:cubicBezTo>
                  <a:cubicBezTo>
                    <a:pt x="56" y="61"/>
                    <a:pt x="60" y="62"/>
                    <a:pt x="62" y="63"/>
                  </a:cubicBezTo>
                  <a:cubicBezTo>
                    <a:pt x="60" y="60"/>
                    <a:pt x="59" y="58"/>
                    <a:pt x="57" y="55"/>
                  </a:cubicBezTo>
                  <a:cubicBezTo>
                    <a:pt x="58" y="55"/>
                    <a:pt x="59" y="55"/>
                    <a:pt x="60" y="55"/>
                  </a:cubicBezTo>
                  <a:cubicBezTo>
                    <a:pt x="63" y="55"/>
                    <a:pt x="65" y="56"/>
                    <a:pt x="65" y="59"/>
                  </a:cubicBezTo>
                  <a:cubicBezTo>
                    <a:pt x="65" y="60"/>
                    <a:pt x="65" y="61"/>
                    <a:pt x="65" y="61"/>
                  </a:cubicBezTo>
                  <a:cubicBezTo>
                    <a:pt x="66" y="61"/>
                    <a:pt x="66" y="60"/>
                    <a:pt x="66" y="60"/>
                  </a:cubicBezTo>
                  <a:cubicBezTo>
                    <a:pt x="67" y="60"/>
                    <a:pt x="67" y="60"/>
                    <a:pt x="67" y="60"/>
                  </a:cubicBezTo>
                  <a:cubicBezTo>
                    <a:pt x="67" y="59"/>
                    <a:pt x="68" y="58"/>
                    <a:pt x="68" y="58"/>
                  </a:cubicBezTo>
                  <a:cubicBezTo>
                    <a:pt x="68" y="57"/>
                    <a:pt x="67" y="55"/>
                    <a:pt x="67" y="54"/>
                  </a:cubicBezTo>
                  <a:cubicBezTo>
                    <a:pt x="68" y="52"/>
                    <a:pt x="69" y="51"/>
                    <a:pt x="70" y="50"/>
                  </a:cubicBezTo>
                  <a:cubicBezTo>
                    <a:pt x="69" y="49"/>
                    <a:pt x="69" y="49"/>
                    <a:pt x="69" y="49"/>
                  </a:cubicBezTo>
                  <a:cubicBezTo>
                    <a:pt x="67" y="48"/>
                    <a:pt x="67" y="48"/>
                    <a:pt x="67" y="48"/>
                  </a:cubicBezTo>
                  <a:cubicBezTo>
                    <a:pt x="67" y="46"/>
                    <a:pt x="67" y="46"/>
                    <a:pt x="67" y="46"/>
                  </a:cubicBezTo>
                  <a:cubicBezTo>
                    <a:pt x="67" y="46"/>
                    <a:pt x="67" y="46"/>
                    <a:pt x="67" y="46"/>
                  </a:cubicBezTo>
                  <a:cubicBezTo>
                    <a:pt x="67" y="46"/>
                    <a:pt x="67" y="45"/>
                    <a:pt x="67" y="44"/>
                  </a:cubicBezTo>
                  <a:cubicBezTo>
                    <a:pt x="67" y="44"/>
                    <a:pt x="67" y="44"/>
                    <a:pt x="67" y="44"/>
                  </a:cubicBezTo>
                  <a:cubicBezTo>
                    <a:pt x="67" y="42"/>
                    <a:pt x="67" y="39"/>
                    <a:pt x="68" y="37"/>
                  </a:cubicBezTo>
                  <a:cubicBezTo>
                    <a:pt x="68" y="35"/>
                    <a:pt x="68" y="33"/>
                    <a:pt x="70" y="32"/>
                  </a:cubicBezTo>
                  <a:cubicBezTo>
                    <a:pt x="70" y="32"/>
                    <a:pt x="70" y="31"/>
                    <a:pt x="71" y="31"/>
                  </a:cubicBezTo>
                  <a:cubicBezTo>
                    <a:pt x="71" y="31"/>
                    <a:pt x="71" y="31"/>
                    <a:pt x="71" y="31"/>
                  </a:cubicBezTo>
                  <a:cubicBezTo>
                    <a:pt x="72" y="31"/>
                    <a:pt x="72" y="31"/>
                    <a:pt x="72" y="31"/>
                  </a:cubicBezTo>
                  <a:cubicBezTo>
                    <a:pt x="73" y="31"/>
                    <a:pt x="73" y="31"/>
                    <a:pt x="73" y="31"/>
                  </a:cubicBezTo>
                  <a:cubicBezTo>
                    <a:pt x="70" y="28"/>
                    <a:pt x="67" y="25"/>
                    <a:pt x="63" y="21"/>
                  </a:cubicBezTo>
                  <a:cubicBezTo>
                    <a:pt x="59" y="17"/>
                    <a:pt x="57" y="11"/>
                    <a:pt x="55" y="6"/>
                  </a:cubicBezTo>
                  <a:cubicBezTo>
                    <a:pt x="53" y="7"/>
                    <a:pt x="53" y="8"/>
                    <a:pt x="52" y="8"/>
                  </a:cubicBezTo>
                  <a:cubicBezTo>
                    <a:pt x="51" y="9"/>
                    <a:pt x="50" y="9"/>
                    <a:pt x="50" y="9"/>
                  </a:cubicBezTo>
                  <a:cubicBezTo>
                    <a:pt x="49" y="9"/>
                    <a:pt x="49" y="9"/>
                    <a:pt x="49" y="9"/>
                  </a:cubicBezTo>
                  <a:cubicBezTo>
                    <a:pt x="48" y="9"/>
                    <a:pt x="48" y="9"/>
                    <a:pt x="48" y="9"/>
                  </a:cubicBezTo>
                  <a:cubicBezTo>
                    <a:pt x="48" y="9"/>
                    <a:pt x="48" y="9"/>
                    <a:pt x="48" y="9"/>
                  </a:cubicBezTo>
                  <a:cubicBezTo>
                    <a:pt x="46" y="9"/>
                    <a:pt x="46" y="9"/>
                    <a:pt x="46" y="9"/>
                  </a:cubicBezTo>
                  <a:cubicBezTo>
                    <a:pt x="43" y="9"/>
                    <a:pt x="41" y="9"/>
                    <a:pt x="37" y="7"/>
                  </a:cubicBezTo>
                  <a:cubicBezTo>
                    <a:pt x="37" y="7"/>
                    <a:pt x="37" y="7"/>
                    <a:pt x="36" y="6"/>
                  </a:cubicBezTo>
                  <a:cubicBezTo>
                    <a:pt x="36" y="6"/>
                    <a:pt x="36" y="6"/>
                    <a:pt x="36" y="6"/>
                  </a:cubicBezTo>
                  <a:cubicBezTo>
                    <a:pt x="35" y="5"/>
                    <a:pt x="33" y="4"/>
                    <a:pt x="32" y="4"/>
                  </a:cubicBezTo>
                  <a:cubicBezTo>
                    <a:pt x="32" y="3"/>
                    <a:pt x="32" y="3"/>
                    <a:pt x="32" y="3"/>
                  </a:cubicBezTo>
                  <a:cubicBezTo>
                    <a:pt x="32" y="3"/>
                    <a:pt x="32" y="3"/>
                    <a:pt x="32" y="3"/>
                  </a:cubicBezTo>
                  <a:cubicBezTo>
                    <a:pt x="31" y="3"/>
                    <a:pt x="31" y="3"/>
                    <a:pt x="31" y="3"/>
                  </a:cubicBezTo>
                  <a:cubicBezTo>
                    <a:pt x="31" y="3"/>
                    <a:pt x="31" y="3"/>
                    <a:pt x="31" y="3"/>
                  </a:cubicBezTo>
                  <a:cubicBezTo>
                    <a:pt x="31" y="3"/>
                    <a:pt x="30" y="4"/>
                    <a:pt x="29" y="4"/>
                  </a:cubicBezTo>
                  <a:cubicBezTo>
                    <a:pt x="27" y="4"/>
                    <a:pt x="26" y="5"/>
                    <a:pt x="25" y="5"/>
                  </a:cubicBezTo>
                  <a:cubicBezTo>
                    <a:pt x="25" y="5"/>
                    <a:pt x="25" y="5"/>
                    <a:pt x="25" y="5"/>
                  </a:cubicBezTo>
                  <a:cubicBezTo>
                    <a:pt x="24" y="5"/>
                    <a:pt x="24" y="5"/>
                    <a:pt x="24" y="5"/>
                  </a:cubicBezTo>
                  <a:cubicBezTo>
                    <a:pt x="20" y="4"/>
                    <a:pt x="17" y="3"/>
                    <a:pt x="14" y="1"/>
                  </a:cubicBezTo>
                  <a:cubicBezTo>
                    <a:pt x="12" y="1"/>
                    <a:pt x="11" y="0"/>
                    <a:pt x="10"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259"/>
            <p:cNvSpPr/>
            <p:nvPr/>
          </p:nvSpPr>
          <p:spPr bwMode="auto">
            <a:xfrm flipH="1">
              <a:off x="7048132" y="994241"/>
              <a:ext cx="0" cy="4237"/>
            </a:xfrm>
            <a:custGeom>
              <a:gdLst>
                <a:gd name="T0" fmla="*/ 0 h 3"/>
                <a:gd name="T1" fmla="*/ 0 h 3"/>
                <a:gd name="T2" fmla="*/ 3 h 3"/>
                <a:gd name="T3" fmla="*/ 0 h 3"/>
              </a:gdLst>
              <a:cxnLst>
                <a:cxn ang="0">
                  <a:pos x="0" y="T0"/>
                </a:cxn>
                <a:cxn ang="0">
                  <a:pos x="0" y="T1"/>
                </a:cxn>
                <a:cxn ang="0">
                  <a:pos x="0" y="T2"/>
                </a:cxn>
                <a:cxn ang="0">
                  <a:pos x="0" y="T3"/>
                </a:cxn>
              </a:cxnLst>
              <a:rect l="0" t="0" r="r" b="b"/>
              <a:pathLst>
                <a:path h="3">
                  <a:moveTo>
                    <a:pt x="0" y="0"/>
                  </a:moveTo>
                  <a:lnTo>
                    <a:pt x="0" y="0"/>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260"/>
            <p:cNvSpPr/>
            <p:nvPr/>
          </p:nvSpPr>
          <p:spPr bwMode="auto">
            <a:xfrm flipH="1">
              <a:off x="7048132" y="994241"/>
              <a:ext cx="0" cy="4237"/>
            </a:xfrm>
            <a:custGeom>
              <a:gdLst>
                <a:gd name="T0" fmla="*/ 0 h 3"/>
                <a:gd name="T1" fmla="*/ 0 h 3"/>
                <a:gd name="T2" fmla="*/ 3 h 3"/>
                <a:gd name="T3" fmla="*/ 0 h 3"/>
              </a:gdLst>
              <a:cxnLst>
                <a:cxn ang="0">
                  <a:pos x="0" y="T0"/>
                </a:cxn>
                <a:cxn ang="0">
                  <a:pos x="0" y="T1"/>
                </a:cxn>
                <a:cxn ang="0">
                  <a:pos x="0" y="T2"/>
                </a:cxn>
                <a:cxn ang="0">
                  <a:pos x="0" y="T3"/>
                </a:cxn>
              </a:cxnLst>
              <a:rect l="0" t="0" r="r" b="b"/>
              <a:pathLst>
                <a:path h="3">
                  <a:moveTo>
                    <a:pt x="0" y="0"/>
                  </a:moveTo>
                  <a:lnTo>
                    <a:pt x="0" y="0"/>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261"/>
            <p:cNvSpPr/>
            <p:nvPr/>
          </p:nvSpPr>
          <p:spPr bwMode="auto">
            <a:xfrm>
              <a:off x="7017062" y="851601"/>
              <a:ext cx="354480" cy="303639"/>
            </a:xfrm>
            <a:custGeom>
              <a:gdLst>
                <a:gd name="T0" fmla="*/ 97 w 106"/>
                <a:gd name="T1" fmla="*/ 1 h 91"/>
                <a:gd name="T2" fmla="*/ 85 w 106"/>
                <a:gd name="T3" fmla="*/ 4 h 91"/>
                <a:gd name="T4" fmla="*/ 83 w 106"/>
                <a:gd name="T5" fmla="*/ 4 h 91"/>
                <a:gd name="T6" fmla="*/ 82 w 106"/>
                <a:gd name="T7" fmla="*/ 5 h 91"/>
                <a:gd name="T8" fmla="*/ 79 w 106"/>
                <a:gd name="T9" fmla="*/ 6 h 91"/>
                <a:gd name="T10" fmla="*/ 71 w 106"/>
                <a:gd name="T11" fmla="*/ 4 h 91"/>
                <a:gd name="T12" fmla="*/ 68 w 106"/>
                <a:gd name="T13" fmla="*/ 2 h 91"/>
                <a:gd name="T14" fmla="*/ 66 w 106"/>
                <a:gd name="T15" fmla="*/ 3 h 91"/>
                <a:gd name="T16" fmla="*/ 63 w 106"/>
                <a:gd name="T17" fmla="*/ 7 h 91"/>
                <a:gd name="T18" fmla="*/ 62 w 106"/>
                <a:gd name="T19" fmla="*/ 13 h 91"/>
                <a:gd name="T20" fmla="*/ 58 w 106"/>
                <a:gd name="T21" fmla="*/ 15 h 91"/>
                <a:gd name="T22" fmla="*/ 51 w 106"/>
                <a:gd name="T23" fmla="*/ 21 h 91"/>
                <a:gd name="T24" fmla="*/ 46 w 106"/>
                <a:gd name="T25" fmla="*/ 25 h 91"/>
                <a:gd name="T26" fmla="*/ 40 w 106"/>
                <a:gd name="T27" fmla="*/ 21 h 91"/>
                <a:gd name="T28" fmla="*/ 39 w 106"/>
                <a:gd name="T29" fmla="*/ 21 h 91"/>
                <a:gd name="T30" fmla="*/ 31 w 106"/>
                <a:gd name="T31" fmla="*/ 27 h 91"/>
                <a:gd name="T32" fmla="*/ 28 w 106"/>
                <a:gd name="T33" fmla="*/ 26 h 91"/>
                <a:gd name="T34" fmla="*/ 26 w 106"/>
                <a:gd name="T35" fmla="*/ 27 h 91"/>
                <a:gd name="T36" fmla="*/ 27 w 106"/>
                <a:gd name="T37" fmla="*/ 31 h 91"/>
                <a:gd name="T38" fmla="*/ 25 w 106"/>
                <a:gd name="T39" fmla="*/ 37 h 91"/>
                <a:gd name="T40" fmla="*/ 22 w 106"/>
                <a:gd name="T41" fmla="*/ 38 h 91"/>
                <a:gd name="T42" fmla="*/ 20 w 106"/>
                <a:gd name="T43" fmla="*/ 41 h 91"/>
                <a:gd name="T44" fmla="*/ 12 w 106"/>
                <a:gd name="T45" fmla="*/ 45 h 91"/>
                <a:gd name="T46" fmla="*/ 11 w 106"/>
                <a:gd name="T47" fmla="*/ 45 h 91"/>
                <a:gd name="T48" fmla="*/ 9 w 106"/>
                <a:gd name="T49" fmla="*/ 44 h 91"/>
                <a:gd name="T50" fmla="*/ 4 w 106"/>
                <a:gd name="T51" fmla="*/ 40 h 91"/>
                <a:gd name="T52" fmla="*/ 15 w 106"/>
                <a:gd name="T53" fmla="*/ 55 h 91"/>
                <a:gd name="T54" fmla="*/ 25 w 106"/>
                <a:gd name="T55" fmla="*/ 66 h 91"/>
                <a:gd name="T56" fmla="*/ 46 w 106"/>
                <a:gd name="T57" fmla="*/ 84 h 91"/>
                <a:gd name="T58" fmla="*/ 47 w 106"/>
                <a:gd name="T59" fmla="*/ 83 h 91"/>
                <a:gd name="T60" fmla="*/ 50 w 106"/>
                <a:gd name="T61" fmla="*/ 82 h 91"/>
                <a:gd name="T62" fmla="*/ 51 w 106"/>
                <a:gd name="T63" fmla="*/ 82 h 91"/>
                <a:gd name="T64" fmla="*/ 53 w 106"/>
                <a:gd name="T65" fmla="*/ 82 h 91"/>
                <a:gd name="T66" fmla="*/ 43 w 106"/>
                <a:gd name="T67" fmla="*/ 69 h 91"/>
                <a:gd name="T68" fmla="*/ 49 w 106"/>
                <a:gd name="T69" fmla="*/ 64 h 91"/>
                <a:gd name="T70" fmla="*/ 73 w 106"/>
                <a:gd name="T71" fmla="*/ 86 h 91"/>
                <a:gd name="T72" fmla="*/ 74 w 106"/>
                <a:gd name="T73" fmla="*/ 86 h 91"/>
                <a:gd name="T74" fmla="*/ 82 w 106"/>
                <a:gd name="T75" fmla="*/ 90 h 91"/>
                <a:gd name="T76" fmla="*/ 89 w 106"/>
                <a:gd name="T77" fmla="*/ 91 h 91"/>
                <a:gd name="T78" fmla="*/ 91 w 106"/>
                <a:gd name="T79" fmla="*/ 91 h 91"/>
                <a:gd name="T80" fmla="*/ 93 w 106"/>
                <a:gd name="T81" fmla="*/ 89 h 91"/>
                <a:gd name="T82" fmla="*/ 95 w 106"/>
                <a:gd name="T83" fmla="*/ 75 h 91"/>
                <a:gd name="T84" fmla="*/ 94 w 106"/>
                <a:gd name="T85" fmla="*/ 66 h 91"/>
                <a:gd name="T86" fmla="*/ 93 w 106"/>
                <a:gd name="T87" fmla="*/ 54 h 91"/>
                <a:gd name="T88" fmla="*/ 97 w 106"/>
                <a:gd name="T89" fmla="*/ 49 h 91"/>
                <a:gd name="T90" fmla="*/ 96 w 106"/>
                <a:gd name="T91" fmla="*/ 57 h 91"/>
                <a:gd name="T92" fmla="*/ 98 w 106"/>
                <a:gd name="T93" fmla="*/ 49 h 91"/>
                <a:gd name="T94" fmla="*/ 104 w 106"/>
                <a:gd name="T95" fmla="*/ 15 h 91"/>
                <a:gd name="T96" fmla="*/ 102 w 106"/>
                <a:gd name="T97" fmla="*/ 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 h="91">
                  <a:moveTo>
                    <a:pt x="102" y="0"/>
                  </a:moveTo>
                  <a:cubicBezTo>
                    <a:pt x="100" y="0"/>
                    <a:pt x="98" y="1"/>
                    <a:pt x="97" y="1"/>
                  </a:cubicBezTo>
                  <a:cubicBezTo>
                    <a:pt x="93" y="2"/>
                    <a:pt x="93" y="2"/>
                    <a:pt x="93" y="2"/>
                  </a:cubicBezTo>
                  <a:cubicBezTo>
                    <a:pt x="90" y="3"/>
                    <a:pt x="87" y="3"/>
                    <a:pt x="85" y="4"/>
                  </a:cubicBezTo>
                  <a:cubicBezTo>
                    <a:pt x="84" y="4"/>
                    <a:pt x="84" y="4"/>
                    <a:pt x="84" y="4"/>
                  </a:cubicBezTo>
                  <a:cubicBezTo>
                    <a:pt x="84" y="4"/>
                    <a:pt x="83" y="4"/>
                    <a:pt x="83" y="4"/>
                  </a:cubicBezTo>
                  <a:cubicBezTo>
                    <a:pt x="83" y="4"/>
                    <a:pt x="83" y="4"/>
                    <a:pt x="83" y="4"/>
                  </a:cubicBezTo>
                  <a:cubicBezTo>
                    <a:pt x="82" y="4"/>
                    <a:pt x="82" y="5"/>
                    <a:pt x="82" y="5"/>
                  </a:cubicBezTo>
                  <a:cubicBezTo>
                    <a:pt x="81" y="5"/>
                    <a:pt x="80" y="5"/>
                    <a:pt x="80" y="6"/>
                  </a:cubicBezTo>
                  <a:cubicBezTo>
                    <a:pt x="79" y="6"/>
                    <a:pt x="79" y="6"/>
                    <a:pt x="79" y="6"/>
                  </a:cubicBezTo>
                  <a:cubicBezTo>
                    <a:pt x="78" y="6"/>
                    <a:pt x="78" y="6"/>
                    <a:pt x="77" y="6"/>
                  </a:cubicBezTo>
                  <a:cubicBezTo>
                    <a:pt x="74" y="6"/>
                    <a:pt x="72" y="5"/>
                    <a:pt x="71" y="4"/>
                  </a:cubicBezTo>
                  <a:cubicBezTo>
                    <a:pt x="70" y="3"/>
                    <a:pt x="70" y="3"/>
                    <a:pt x="70" y="3"/>
                  </a:cubicBezTo>
                  <a:cubicBezTo>
                    <a:pt x="69" y="3"/>
                    <a:pt x="68" y="2"/>
                    <a:pt x="68" y="2"/>
                  </a:cubicBezTo>
                  <a:cubicBezTo>
                    <a:pt x="68" y="2"/>
                    <a:pt x="68" y="2"/>
                    <a:pt x="68" y="2"/>
                  </a:cubicBezTo>
                  <a:cubicBezTo>
                    <a:pt x="67" y="2"/>
                    <a:pt x="66" y="3"/>
                    <a:pt x="66" y="3"/>
                  </a:cubicBezTo>
                  <a:cubicBezTo>
                    <a:pt x="66" y="4"/>
                    <a:pt x="66" y="5"/>
                    <a:pt x="65" y="6"/>
                  </a:cubicBezTo>
                  <a:cubicBezTo>
                    <a:pt x="65" y="7"/>
                    <a:pt x="64" y="7"/>
                    <a:pt x="63" y="7"/>
                  </a:cubicBezTo>
                  <a:cubicBezTo>
                    <a:pt x="63" y="8"/>
                    <a:pt x="63" y="9"/>
                    <a:pt x="63" y="10"/>
                  </a:cubicBezTo>
                  <a:cubicBezTo>
                    <a:pt x="63" y="11"/>
                    <a:pt x="63" y="12"/>
                    <a:pt x="62" y="13"/>
                  </a:cubicBezTo>
                  <a:cubicBezTo>
                    <a:pt x="61" y="14"/>
                    <a:pt x="60" y="14"/>
                    <a:pt x="59" y="15"/>
                  </a:cubicBezTo>
                  <a:cubicBezTo>
                    <a:pt x="58" y="15"/>
                    <a:pt x="58" y="15"/>
                    <a:pt x="58" y="15"/>
                  </a:cubicBezTo>
                  <a:cubicBezTo>
                    <a:pt x="56" y="17"/>
                    <a:pt x="54" y="18"/>
                    <a:pt x="53" y="19"/>
                  </a:cubicBezTo>
                  <a:cubicBezTo>
                    <a:pt x="52" y="20"/>
                    <a:pt x="52" y="20"/>
                    <a:pt x="51" y="21"/>
                  </a:cubicBezTo>
                  <a:cubicBezTo>
                    <a:pt x="51" y="21"/>
                    <a:pt x="51" y="21"/>
                    <a:pt x="51" y="21"/>
                  </a:cubicBezTo>
                  <a:cubicBezTo>
                    <a:pt x="50" y="23"/>
                    <a:pt x="49" y="25"/>
                    <a:pt x="46" y="25"/>
                  </a:cubicBezTo>
                  <a:cubicBezTo>
                    <a:pt x="46" y="25"/>
                    <a:pt x="45" y="24"/>
                    <a:pt x="43" y="24"/>
                  </a:cubicBezTo>
                  <a:cubicBezTo>
                    <a:pt x="42" y="23"/>
                    <a:pt x="41" y="22"/>
                    <a:pt x="40" y="21"/>
                  </a:cubicBezTo>
                  <a:cubicBezTo>
                    <a:pt x="40" y="21"/>
                    <a:pt x="40" y="21"/>
                    <a:pt x="40" y="21"/>
                  </a:cubicBezTo>
                  <a:cubicBezTo>
                    <a:pt x="39" y="21"/>
                    <a:pt x="39" y="21"/>
                    <a:pt x="39" y="21"/>
                  </a:cubicBezTo>
                  <a:cubicBezTo>
                    <a:pt x="38" y="23"/>
                    <a:pt x="37" y="24"/>
                    <a:pt x="36" y="25"/>
                  </a:cubicBezTo>
                  <a:cubicBezTo>
                    <a:pt x="34" y="26"/>
                    <a:pt x="33" y="27"/>
                    <a:pt x="31" y="27"/>
                  </a:cubicBezTo>
                  <a:cubicBezTo>
                    <a:pt x="30" y="27"/>
                    <a:pt x="30" y="27"/>
                    <a:pt x="29" y="26"/>
                  </a:cubicBezTo>
                  <a:cubicBezTo>
                    <a:pt x="28" y="26"/>
                    <a:pt x="28" y="26"/>
                    <a:pt x="28" y="26"/>
                  </a:cubicBezTo>
                  <a:cubicBezTo>
                    <a:pt x="28" y="26"/>
                    <a:pt x="27" y="26"/>
                    <a:pt x="26" y="26"/>
                  </a:cubicBezTo>
                  <a:cubicBezTo>
                    <a:pt x="26" y="27"/>
                    <a:pt x="26" y="27"/>
                    <a:pt x="26" y="27"/>
                  </a:cubicBezTo>
                  <a:cubicBezTo>
                    <a:pt x="26" y="28"/>
                    <a:pt x="26" y="29"/>
                    <a:pt x="26" y="30"/>
                  </a:cubicBezTo>
                  <a:cubicBezTo>
                    <a:pt x="27" y="31"/>
                    <a:pt x="27" y="31"/>
                    <a:pt x="27" y="31"/>
                  </a:cubicBezTo>
                  <a:cubicBezTo>
                    <a:pt x="27" y="32"/>
                    <a:pt x="27" y="32"/>
                    <a:pt x="27" y="33"/>
                  </a:cubicBezTo>
                  <a:cubicBezTo>
                    <a:pt x="27" y="35"/>
                    <a:pt x="26" y="36"/>
                    <a:pt x="25" y="37"/>
                  </a:cubicBezTo>
                  <a:cubicBezTo>
                    <a:pt x="24" y="38"/>
                    <a:pt x="24" y="38"/>
                    <a:pt x="24" y="38"/>
                  </a:cubicBezTo>
                  <a:cubicBezTo>
                    <a:pt x="24" y="38"/>
                    <a:pt x="23" y="38"/>
                    <a:pt x="22" y="38"/>
                  </a:cubicBezTo>
                  <a:cubicBezTo>
                    <a:pt x="22" y="38"/>
                    <a:pt x="22" y="38"/>
                    <a:pt x="22" y="38"/>
                  </a:cubicBezTo>
                  <a:cubicBezTo>
                    <a:pt x="22" y="39"/>
                    <a:pt x="21" y="40"/>
                    <a:pt x="20" y="41"/>
                  </a:cubicBezTo>
                  <a:cubicBezTo>
                    <a:pt x="20" y="42"/>
                    <a:pt x="20" y="42"/>
                    <a:pt x="20" y="42"/>
                  </a:cubicBezTo>
                  <a:cubicBezTo>
                    <a:pt x="17" y="44"/>
                    <a:pt x="16" y="45"/>
                    <a:pt x="12" y="45"/>
                  </a:cubicBezTo>
                  <a:cubicBezTo>
                    <a:pt x="11" y="45"/>
                    <a:pt x="11" y="45"/>
                    <a:pt x="11" y="45"/>
                  </a:cubicBezTo>
                  <a:cubicBezTo>
                    <a:pt x="11" y="45"/>
                    <a:pt x="11" y="45"/>
                    <a:pt x="11" y="45"/>
                  </a:cubicBezTo>
                  <a:cubicBezTo>
                    <a:pt x="10" y="45"/>
                    <a:pt x="10" y="45"/>
                    <a:pt x="10" y="45"/>
                  </a:cubicBezTo>
                  <a:cubicBezTo>
                    <a:pt x="9" y="44"/>
                    <a:pt x="9" y="44"/>
                    <a:pt x="9" y="44"/>
                  </a:cubicBezTo>
                  <a:cubicBezTo>
                    <a:pt x="9" y="44"/>
                    <a:pt x="9" y="44"/>
                    <a:pt x="9" y="44"/>
                  </a:cubicBezTo>
                  <a:cubicBezTo>
                    <a:pt x="6" y="43"/>
                    <a:pt x="6" y="42"/>
                    <a:pt x="4" y="40"/>
                  </a:cubicBezTo>
                  <a:cubicBezTo>
                    <a:pt x="3" y="42"/>
                    <a:pt x="0" y="43"/>
                    <a:pt x="3" y="45"/>
                  </a:cubicBezTo>
                  <a:cubicBezTo>
                    <a:pt x="6" y="48"/>
                    <a:pt x="11" y="52"/>
                    <a:pt x="15" y="55"/>
                  </a:cubicBezTo>
                  <a:cubicBezTo>
                    <a:pt x="17" y="56"/>
                    <a:pt x="19" y="58"/>
                    <a:pt x="22" y="60"/>
                  </a:cubicBezTo>
                  <a:cubicBezTo>
                    <a:pt x="23" y="61"/>
                    <a:pt x="24" y="64"/>
                    <a:pt x="25" y="66"/>
                  </a:cubicBezTo>
                  <a:cubicBezTo>
                    <a:pt x="30" y="73"/>
                    <a:pt x="38" y="79"/>
                    <a:pt x="45" y="85"/>
                  </a:cubicBezTo>
                  <a:cubicBezTo>
                    <a:pt x="46" y="84"/>
                    <a:pt x="46" y="84"/>
                    <a:pt x="46" y="84"/>
                  </a:cubicBezTo>
                  <a:cubicBezTo>
                    <a:pt x="47" y="83"/>
                    <a:pt x="47" y="83"/>
                    <a:pt x="47" y="83"/>
                  </a:cubicBezTo>
                  <a:cubicBezTo>
                    <a:pt x="47" y="83"/>
                    <a:pt x="47" y="83"/>
                    <a:pt x="47" y="83"/>
                  </a:cubicBezTo>
                  <a:cubicBezTo>
                    <a:pt x="48" y="82"/>
                    <a:pt x="48" y="82"/>
                    <a:pt x="48" y="82"/>
                  </a:cubicBezTo>
                  <a:cubicBezTo>
                    <a:pt x="49" y="82"/>
                    <a:pt x="49" y="82"/>
                    <a:pt x="50" y="82"/>
                  </a:cubicBezTo>
                  <a:cubicBezTo>
                    <a:pt x="50" y="82"/>
                    <a:pt x="50" y="82"/>
                    <a:pt x="51" y="82"/>
                  </a:cubicBezTo>
                  <a:cubicBezTo>
                    <a:pt x="51" y="82"/>
                    <a:pt x="51" y="82"/>
                    <a:pt x="51" y="82"/>
                  </a:cubicBezTo>
                  <a:cubicBezTo>
                    <a:pt x="51" y="82"/>
                    <a:pt x="52" y="82"/>
                    <a:pt x="53" y="82"/>
                  </a:cubicBezTo>
                  <a:cubicBezTo>
                    <a:pt x="53" y="82"/>
                    <a:pt x="53" y="82"/>
                    <a:pt x="53" y="82"/>
                  </a:cubicBezTo>
                  <a:cubicBezTo>
                    <a:pt x="50" y="81"/>
                    <a:pt x="48" y="80"/>
                    <a:pt x="46" y="78"/>
                  </a:cubicBezTo>
                  <a:cubicBezTo>
                    <a:pt x="44" y="75"/>
                    <a:pt x="44" y="72"/>
                    <a:pt x="43" y="69"/>
                  </a:cubicBezTo>
                  <a:cubicBezTo>
                    <a:pt x="43" y="66"/>
                    <a:pt x="44" y="63"/>
                    <a:pt x="46" y="63"/>
                  </a:cubicBezTo>
                  <a:cubicBezTo>
                    <a:pt x="47" y="63"/>
                    <a:pt x="48" y="63"/>
                    <a:pt x="49" y="64"/>
                  </a:cubicBezTo>
                  <a:cubicBezTo>
                    <a:pt x="54" y="65"/>
                    <a:pt x="72" y="81"/>
                    <a:pt x="70" y="86"/>
                  </a:cubicBezTo>
                  <a:cubicBezTo>
                    <a:pt x="71" y="86"/>
                    <a:pt x="72" y="86"/>
                    <a:pt x="73" y="86"/>
                  </a:cubicBezTo>
                  <a:cubicBezTo>
                    <a:pt x="74" y="86"/>
                    <a:pt x="74" y="86"/>
                    <a:pt x="74" y="86"/>
                  </a:cubicBezTo>
                  <a:cubicBezTo>
                    <a:pt x="74" y="86"/>
                    <a:pt x="74" y="86"/>
                    <a:pt x="74" y="86"/>
                  </a:cubicBezTo>
                  <a:cubicBezTo>
                    <a:pt x="76" y="86"/>
                    <a:pt x="78" y="87"/>
                    <a:pt x="81" y="89"/>
                  </a:cubicBezTo>
                  <a:cubicBezTo>
                    <a:pt x="82" y="90"/>
                    <a:pt x="82" y="90"/>
                    <a:pt x="82" y="90"/>
                  </a:cubicBezTo>
                  <a:cubicBezTo>
                    <a:pt x="84" y="91"/>
                    <a:pt x="85" y="91"/>
                    <a:pt x="88" y="91"/>
                  </a:cubicBezTo>
                  <a:cubicBezTo>
                    <a:pt x="89" y="91"/>
                    <a:pt x="89" y="91"/>
                    <a:pt x="89" y="91"/>
                  </a:cubicBezTo>
                  <a:cubicBezTo>
                    <a:pt x="90" y="91"/>
                    <a:pt x="90" y="91"/>
                    <a:pt x="90" y="91"/>
                  </a:cubicBezTo>
                  <a:cubicBezTo>
                    <a:pt x="91" y="91"/>
                    <a:pt x="91" y="91"/>
                    <a:pt x="91" y="91"/>
                  </a:cubicBezTo>
                  <a:cubicBezTo>
                    <a:pt x="91" y="91"/>
                    <a:pt x="91" y="91"/>
                    <a:pt x="91" y="91"/>
                  </a:cubicBezTo>
                  <a:cubicBezTo>
                    <a:pt x="91" y="91"/>
                    <a:pt x="92" y="90"/>
                    <a:pt x="93" y="89"/>
                  </a:cubicBezTo>
                  <a:cubicBezTo>
                    <a:pt x="91" y="87"/>
                    <a:pt x="90" y="84"/>
                    <a:pt x="90" y="83"/>
                  </a:cubicBezTo>
                  <a:cubicBezTo>
                    <a:pt x="90" y="80"/>
                    <a:pt x="92" y="75"/>
                    <a:pt x="95" y="75"/>
                  </a:cubicBezTo>
                  <a:cubicBezTo>
                    <a:pt x="91" y="68"/>
                    <a:pt x="91" y="70"/>
                    <a:pt x="92" y="62"/>
                  </a:cubicBezTo>
                  <a:cubicBezTo>
                    <a:pt x="93" y="63"/>
                    <a:pt x="94" y="65"/>
                    <a:pt x="94" y="66"/>
                  </a:cubicBezTo>
                  <a:cubicBezTo>
                    <a:pt x="95" y="62"/>
                    <a:pt x="95" y="59"/>
                    <a:pt x="93" y="55"/>
                  </a:cubicBezTo>
                  <a:cubicBezTo>
                    <a:pt x="93" y="54"/>
                    <a:pt x="93" y="54"/>
                    <a:pt x="93" y="54"/>
                  </a:cubicBezTo>
                  <a:cubicBezTo>
                    <a:pt x="92" y="54"/>
                    <a:pt x="92" y="54"/>
                    <a:pt x="92" y="54"/>
                  </a:cubicBezTo>
                  <a:cubicBezTo>
                    <a:pt x="92" y="52"/>
                    <a:pt x="96" y="52"/>
                    <a:pt x="97" y="49"/>
                  </a:cubicBezTo>
                  <a:cubicBezTo>
                    <a:pt x="97" y="52"/>
                    <a:pt x="96" y="54"/>
                    <a:pt x="96" y="57"/>
                  </a:cubicBezTo>
                  <a:cubicBezTo>
                    <a:pt x="96" y="57"/>
                    <a:pt x="96" y="57"/>
                    <a:pt x="96" y="57"/>
                  </a:cubicBezTo>
                  <a:cubicBezTo>
                    <a:pt x="97" y="57"/>
                    <a:pt x="97" y="57"/>
                    <a:pt x="97" y="57"/>
                  </a:cubicBezTo>
                  <a:cubicBezTo>
                    <a:pt x="100" y="57"/>
                    <a:pt x="99" y="50"/>
                    <a:pt x="98" y="49"/>
                  </a:cubicBezTo>
                  <a:cubicBezTo>
                    <a:pt x="98" y="42"/>
                    <a:pt x="99" y="36"/>
                    <a:pt x="101" y="28"/>
                  </a:cubicBezTo>
                  <a:cubicBezTo>
                    <a:pt x="102" y="24"/>
                    <a:pt x="102" y="19"/>
                    <a:pt x="104" y="15"/>
                  </a:cubicBezTo>
                  <a:cubicBezTo>
                    <a:pt x="104" y="14"/>
                    <a:pt x="105" y="13"/>
                    <a:pt x="105" y="12"/>
                  </a:cubicBezTo>
                  <a:cubicBezTo>
                    <a:pt x="106" y="9"/>
                    <a:pt x="105" y="1"/>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Rectangle 262"/>
            <p:cNvSpPr>
              <a:spLocks noChangeArrowheads="1"/>
            </p:cNvSpPr>
            <p:nvPr/>
          </p:nvSpPr>
          <p:spPr bwMode="auto">
            <a:xfrm>
              <a:off x="6860300" y="915153"/>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263"/>
            <p:cNvSpPr/>
            <p:nvPr/>
          </p:nvSpPr>
          <p:spPr bwMode="auto">
            <a:xfrm flipH="1">
              <a:off x="6860300" y="91515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264"/>
            <p:cNvSpPr/>
            <p:nvPr/>
          </p:nvSpPr>
          <p:spPr bwMode="auto">
            <a:xfrm>
              <a:off x="6887133" y="888320"/>
              <a:ext cx="2825" cy="0"/>
            </a:xfrm>
            <a:custGeom>
              <a:gdLst>
                <a:gd name="T0" fmla="*/ 0 w 2"/>
                <a:gd name="T1" fmla="*/ 0 w 2"/>
                <a:gd name="T2" fmla="*/ 0 w 2"/>
                <a:gd name="T3" fmla="*/ 2 w 2"/>
                <a:gd name="T4" fmla="*/ 0 w 2"/>
              </a:gd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265"/>
            <p:cNvSpPr/>
            <p:nvPr/>
          </p:nvSpPr>
          <p:spPr bwMode="auto">
            <a:xfrm>
              <a:off x="6887133" y="888320"/>
              <a:ext cx="2825" cy="0"/>
            </a:xfrm>
            <a:custGeom>
              <a:gdLst>
                <a:gd name="T0" fmla="*/ 0 w 2"/>
                <a:gd name="T1" fmla="*/ 0 w 2"/>
                <a:gd name="T2" fmla="*/ 0 w 2"/>
                <a:gd name="T3" fmla="*/ 2 w 2"/>
                <a:gd name="T4" fmla="*/ 0 w 2"/>
              </a:gd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266"/>
            <p:cNvSpPr/>
            <p:nvPr/>
          </p:nvSpPr>
          <p:spPr bwMode="auto">
            <a:xfrm>
              <a:off x="6843353" y="888320"/>
              <a:ext cx="168060" cy="93210"/>
            </a:xfrm>
            <a:custGeom>
              <a:gdLst>
                <a:gd name="T0" fmla="*/ 16 w 50"/>
                <a:gd name="T1" fmla="*/ 0 h 28"/>
                <a:gd name="T2" fmla="*/ 16 w 50"/>
                <a:gd name="T3" fmla="*/ 1 h 28"/>
                <a:gd name="T4" fmla="*/ 15 w 50"/>
                <a:gd name="T5" fmla="*/ 1 h 28"/>
                <a:gd name="T6" fmla="*/ 14 w 50"/>
                <a:gd name="T7" fmla="*/ 1 h 28"/>
                <a:gd name="T8" fmla="*/ 13 w 50"/>
                <a:gd name="T9" fmla="*/ 3 h 28"/>
                <a:gd name="T10" fmla="*/ 9 w 50"/>
                <a:gd name="T11" fmla="*/ 6 h 28"/>
                <a:gd name="T12" fmla="*/ 9 w 50"/>
                <a:gd name="T13" fmla="*/ 6 h 28"/>
                <a:gd name="T14" fmla="*/ 9 w 50"/>
                <a:gd name="T15" fmla="*/ 6 h 28"/>
                <a:gd name="T16" fmla="*/ 9 w 50"/>
                <a:gd name="T17" fmla="*/ 6 h 28"/>
                <a:gd name="T18" fmla="*/ 9 w 50"/>
                <a:gd name="T19" fmla="*/ 14 h 28"/>
                <a:gd name="T20" fmla="*/ 4 w 50"/>
                <a:gd name="T21" fmla="*/ 9 h 28"/>
                <a:gd name="T22" fmla="*/ 4 w 50"/>
                <a:gd name="T23" fmla="*/ 9 h 28"/>
                <a:gd name="T24" fmla="*/ 2 w 50"/>
                <a:gd name="T25" fmla="*/ 10 h 28"/>
                <a:gd name="T26" fmla="*/ 0 w 50"/>
                <a:gd name="T27" fmla="*/ 14 h 28"/>
                <a:gd name="T28" fmla="*/ 0 w 50"/>
                <a:gd name="T29" fmla="*/ 15 h 28"/>
                <a:gd name="T30" fmla="*/ 12 w 50"/>
                <a:gd name="T31" fmla="*/ 20 h 28"/>
                <a:gd name="T32" fmla="*/ 27 w 50"/>
                <a:gd name="T33" fmla="*/ 25 h 28"/>
                <a:gd name="T34" fmla="*/ 44 w 50"/>
                <a:gd name="T35" fmla="*/ 27 h 28"/>
                <a:gd name="T36" fmla="*/ 48 w 50"/>
                <a:gd name="T37" fmla="*/ 28 h 28"/>
                <a:gd name="T38" fmla="*/ 48 w 50"/>
                <a:gd name="T39" fmla="*/ 27 h 28"/>
                <a:gd name="T40" fmla="*/ 50 w 50"/>
                <a:gd name="T41" fmla="*/ 23 h 28"/>
                <a:gd name="T42" fmla="*/ 49 w 50"/>
                <a:gd name="T43" fmla="*/ 23 h 28"/>
                <a:gd name="T44" fmla="*/ 49 w 50"/>
                <a:gd name="T45" fmla="*/ 22 h 28"/>
                <a:gd name="T46" fmla="*/ 49 w 50"/>
                <a:gd name="T47" fmla="*/ 20 h 28"/>
                <a:gd name="T48" fmla="*/ 49 w 50"/>
                <a:gd name="T49" fmla="*/ 20 h 28"/>
                <a:gd name="T50" fmla="*/ 49 w 50"/>
                <a:gd name="T51" fmla="*/ 16 h 28"/>
                <a:gd name="T52" fmla="*/ 49 w 50"/>
                <a:gd name="T53" fmla="*/ 15 h 28"/>
                <a:gd name="T54" fmla="*/ 50 w 50"/>
                <a:gd name="T55" fmla="*/ 13 h 28"/>
                <a:gd name="T56" fmla="*/ 50 w 50"/>
                <a:gd name="T57" fmla="*/ 13 h 28"/>
                <a:gd name="T58" fmla="*/ 49 w 50"/>
                <a:gd name="T59" fmla="*/ 13 h 28"/>
                <a:gd name="T60" fmla="*/ 48 w 50"/>
                <a:gd name="T61" fmla="*/ 13 h 28"/>
                <a:gd name="T62" fmla="*/ 48 w 50"/>
                <a:gd name="T63" fmla="*/ 13 h 28"/>
                <a:gd name="T64" fmla="*/ 47 w 50"/>
                <a:gd name="T65" fmla="*/ 13 h 28"/>
                <a:gd name="T66" fmla="*/ 46 w 50"/>
                <a:gd name="T67" fmla="*/ 12 h 28"/>
                <a:gd name="T68" fmla="*/ 43 w 50"/>
                <a:gd name="T69" fmla="*/ 11 h 28"/>
                <a:gd name="T70" fmla="*/ 43 w 50"/>
                <a:gd name="T71" fmla="*/ 10 h 28"/>
                <a:gd name="T72" fmla="*/ 43 w 50"/>
                <a:gd name="T73" fmla="*/ 10 h 28"/>
                <a:gd name="T74" fmla="*/ 42 w 50"/>
                <a:gd name="T75" fmla="*/ 10 h 28"/>
                <a:gd name="T76" fmla="*/ 41 w 50"/>
                <a:gd name="T77" fmla="*/ 12 h 28"/>
                <a:gd name="T78" fmla="*/ 39 w 50"/>
                <a:gd name="T79" fmla="*/ 12 h 28"/>
                <a:gd name="T80" fmla="*/ 37 w 50"/>
                <a:gd name="T81" fmla="*/ 13 h 28"/>
                <a:gd name="T82" fmla="*/ 36 w 50"/>
                <a:gd name="T83" fmla="*/ 13 h 28"/>
                <a:gd name="T84" fmla="*/ 31 w 50"/>
                <a:gd name="T85" fmla="*/ 14 h 28"/>
                <a:gd name="T86" fmla="*/ 32 w 50"/>
                <a:gd name="T87" fmla="*/ 10 h 28"/>
                <a:gd name="T88" fmla="*/ 31 w 50"/>
                <a:gd name="T89" fmla="*/ 10 h 28"/>
                <a:gd name="T90" fmla="*/ 30 w 50"/>
                <a:gd name="T91" fmla="*/ 10 h 28"/>
                <a:gd name="T92" fmla="*/ 27 w 50"/>
                <a:gd name="T93" fmla="*/ 8 h 28"/>
                <a:gd name="T94" fmla="*/ 27 w 50"/>
                <a:gd name="T95" fmla="*/ 7 h 28"/>
                <a:gd name="T96" fmla="*/ 25 w 50"/>
                <a:gd name="T97" fmla="*/ 6 h 28"/>
                <a:gd name="T98" fmla="*/ 22 w 50"/>
                <a:gd name="T99" fmla="*/ 10 h 28"/>
                <a:gd name="T100" fmla="*/ 24 w 50"/>
                <a:gd name="T101" fmla="*/ 5 h 28"/>
                <a:gd name="T102" fmla="*/ 21 w 50"/>
                <a:gd name="T103" fmla="*/ 3 h 28"/>
                <a:gd name="T104" fmla="*/ 19 w 50"/>
                <a:gd name="T105" fmla="*/ 1 h 28"/>
                <a:gd name="T106" fmla="*/ 19 w 50"/>
                <a:gd name="T107" fmla="*/ 1 h 28"/>
                <a:gd name="T108" fmla="*/ 16 w 50"/>
                <a:gd name="T109" fmla="*/ 0 h 28"/>
                <a:gd name="T110" fmla="*/ 16 w 50"/>
                <a:gd name="T111"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28">
                  <a:moveTo>
                    <a:pt x="16" y="0"/>
                  </a:moveTo>
                  <a:cubicBezTo>
                    <a:pt x="16" y="1"/>
                    <a:pt x="16" y="1"/>
                    <a:pt x="16" y="1"/>
                  </a:cubicBezTo>
                  <a:cubicBezTo>
                    <a:pt x="15" y="1"/>
                    <a:pt x="15" y="1"/>
                    <a:pt x="15" y="1"/>
                  </a:cubicBezTo>
                  <a:cubicBezTo>
                    <a:pt x="14" y="1"/>
                    <a:pt x="14" y="1"/>
                    <a:pt x="14" y="1"/>
                  </a:cubicBezTo>
                  <a:cubicBezTo>
                    <a:pt x="14" y="2"/>
                    <a:pt x="14" y="3"/>
                    <a:pt x="13" y="3"/>
                  </a:cubicBezTo>
                  <a:cubicBezTo>
                    <a:pt x="12" y="5"/>
                    <a:pt x="10" y="6"/>
                    <a:pt x="9" y="6"/>
                  </a:cubicBezTo>
                  <a:cubicBezTo>
                    <a:pt x="9" y="6"/>
                    <a:pt x="9" y="6"/>
                    <a:pt x="9" y="6"/>
                  </a:cubicBezTo>
                  <a:cubicBezTo>
                    <a:pt x="9" y="6"/>
                    <a:pt x="9" y="6"/>
                    <a:pt x="9" y="6"/>
                  </a:cubicBezTo>
                  <a:cubicBezTo>
                    <a:pt x="9" y="6"/>
                    <a:pt x="9" y="6"/>
                    <a:pt x="9" y="6"/>
                  </a:cubicBezTo>
                  <a:cubicBezTo>
                    <a:pt x="9" y="14"/>
                    <a:pt x="9" y="14"/>
                    <a:pt x="9" y="14"/>
                  </a:cubicBezTo>
                  <a:cubicBezTo>
                    <a:pt x="4" y="9"/>
                    <a:pt x="4" y="9"/>
                    <a:pt x="4" y="9"/>
                  </a:cubicBezTo>
                  <a:cubicBezTo>
                    <a:pt x="4" y="9"/>
                    <a:pt x="4" y="9"/>
                    <a:pt x="4" y="9"/>
                  </a:cubicBezTo>
                  <a:cubicBezTo>
                    <a:pt x="3" y="9"/>
                    <a:pt x="2" y="10"/>
                    <a:pt x="2" y="10"/>
                  </a:cubicBezTo>
                  <a:cubicBezTo>
                    <a:pt x="2" y="10"/>
                    <a:pt x="1" y="12"/>
                    <a:pt x="0" y="14"/>
                  </a:cubicBezTo>
                  <a:cubicBezTo>
                    <a:pt x="0" y="15"/>
                    <a:pt x="0" y="15"/>
                    <a:pt x="0" y="15"/>
                  </a:cubicBezTo>
                  <a:cubicBezTo>
                    <a:pt x="4" y="17"/>
                    <a:pt x="8" y="19"/>
                    <a:pt x="12" y="20"/>
                  </a:cubicBezTo>
                  <a:cubicBezTo>
                    <a:pt x="18" y="21"/>
                    <a:pt x="22" y="23"/>
                    <a:pt x="27" y="25"/>
                  </a:cubicBezTo>
                  <a:cubicBezTo>
                    <a:pt x="32" y="27"/>
                    <a:pt x="38" y="26"/>
                    <a:pt x="44" y="27"/>
                  </a:cubicBezTo>
                  <a:cubicBezTo>
                    <a:pt x="44" y="27"/>
                    <a:pt x="46" y="28"/>
                    <a:pt x="48" y="28"/>
                  </a:cubicBezTo>
                  <a:cubicBezTo>
                    <a:pt x="48" y="28"/>
                    <a:pt x="48" y="27"/>
                    <a:pt x="48" y="27"/>
                  </a:cubicBezTo>
                  <a:cubicBezTo>
                    <a:pt x="49" y="27"/>
                    <a:pt x="50" y="25"/>
                    <a:pt x="50" y="23"/>
                  </a:cubicBezTo>
                  <a:cubicBezTo>
                    <a:pt x="49" y="23"/>
                    <a:pt x="49" y="23"/>
                    <a:pt x="49" y="23"/>
                  </a:cubicBezTo>
                  <a:cubicBezTo>
                    <a:pt x="49" y="22"/>
                    <a:pt x="49" y="22"/>
                    <a:pt x="49" y="22"/>
                  </a:cubicBezTo>
                  <a:cubicBezTo>
                    <a:pt x="49" y="22"/>
                    <a:pt x="49" y="21"/>
                    <a:pt x="49" y="20"/>
                  </a:cubicBezTo>
                  <a:cubicBezTo>
                    <a:pt x="49" y="20"/>
                    <a:pt x="49" y="20"/>
                    <a:pt x="49" y="20"/>
                  </a:cubicBezTo>
                  <a:cubicBezTo>
                    <a:pt x="49" y="18"/>
                    <a:pt x="49" y="17"/>
                    <a:pt x="49" y="16"/>
                  </a:cubicBezTo>
                  <a:cubicBezTo>
                    <a:pt x="49" y="16"/>
                    <a:pt x="49" y="15"/>
                    <a:pt x="49" y="15"/>
                  </a:cubicBezTo>
                  <a:cubicBezTo>
                    <a:pt x="50" y="14"/>
                    <a:pt x="50" y="13"/>
                    <a:pt x="50" y="13"/>
                  </a:cubicBezTo>
                  <a:cubicBezTo>
                    <a:pt x="50" y="13"/>
                    <a:pt x="50" y="13"/>
                    <a:pt x="50" y="13"/>
                  </a:cubicBezTo>
                  <a:cubicBezTo>
                    <a:pt x="50" y="13"/>
                    <a:pt x="49" y="13"/>
                    <a:pt x="49" y="13"/>
                  </a:cubicBezTo>
                  <a:cubicBezTo>
                    <a:pt x="49" y="13"/>
                    <a:pt x="48" y="13"/>
                    <a:pt x="48" y="13"/>
                  </a:cubicBezTo>
                  <a:cubicBezTo>
                    <a:pt x="48" y="13"/>
                    <a:pt x="48" y="13"/>
                    <a:pt x="48" y="13"/>
                  </a:cubicBezTo>
                  <a:cubicBezTo>
                    <a:pt x="47" y="13"/>
                    <a:pt x="47" y="13"/>
                    <a:pt x="47" y="13"/>
                  </a:cubicBezTo>
                  <a:cubicBezTo>
                    <a:pt x="46" y="12"/>
                    <a:pt x="46" y="12"/>
                    <a:pt x="46" y="12"/>
                  </a:cubicBezTo>
                  <a:cubicBezTo>
                    <a:pt x="45" y="12"/>
                    <a:pt x="44" y="11"/>
                    <a:pt x="43" y="11"/>
                  </a:cubicBezTo>
                  <a:cubicBezTo>
                    <a:pt x="43" y="10"/>
                    <a:pt x="43" y="10"/>
                    <a:pt x="43" y="10"/>
                  </a:cubicBezTo>
                  <a:cubicBezTo>
                    <a:pt x="43" y="10"/>
                    <a:pt x="43" y="10"/>
                    <a:pt x="43" y="10"/>
                  </a:cubicBezTo>
                  <a:cubicBezTo>
                    <a:pt x="42" y="10"/>
                    <a:pt x="42" y="10"/>
                    <a:pt x="42" y="10"/>
                  </a:cubicBezTo>
                  <a:cubicBezTo>
                    <a:pt x="42" y="11"/>
                    <a:pt x="42" y="11"/>
                    <a:pt x="41" y="12"/>
                  </a:cubicBezTo>
                  <a:cubicBezTo>
                    <a:pt x="41" y="12"/>
                    <a:pt x="40" y="12"/>
                    <a:pt x="39" y="12"/>
                  </a:cubicBezTo>
                  <a:cubicBezTo>
                    <a:pt x="37" y="13"/>
                    <a:pt x="37" y="13"/>
                    <a:pt x="37" y="13"/>
                  </a:cubicBezTo>
                  <a:cubicBezTo>
                    <a:pt x="37" y="13"/>
                    <a:pt x="36" y="13"/>
                    <a:pt x="36" y="13"/>
                  </a:cubicBezTo>
                  <a:cubicBezTo>
                    <a:pt x="31" y="14"/>
                    <a:pt x="31" y="14"/>
                    <a:pt x="31" y="14"/>
                  </a:cubicBezTo>
                  <a:cubicBezTo>
                    <a:pt x="32" y="10"/>
                    <a:pt x="32" y="10"/>
                    <a:pt x="32" y="10"/>
                  </a:cubicBezTo>
                  <a:cubicBezTo>
                    <a:pt x="31" y="10"/>
                    <a:pt x="31" y="10"/>
                    <a:pt x="31" y="10"/>
                  </a:cubicBezTo>
                  <a:cubicBezTo>
                    <a:pt x="30" y="10"/>
                    <a:pt x="30" y="10"/>
                    <a:pt x="30" y="10"/>
                  </a:cubicBezTo>
                  <a:cubicBezTo>
                    <a:pt x="29" y="9"/>
                    <a:pt x="28" y="8"/>
                    <a:pt x="27" y="8"/>
                  </a:cubicBezTo>
                  <a:cubicBezTo>
                    <a:pt x="27" y="7"/>
                    <a:pt x="27" y="7"/>
                    <a:pt x="27" y="7"/>
                  </a:cubicBezTo>
                  <a:cubicBezTo>
                    <a:pt x="26" y="7"/>
                    <a:pt x="26" y="6"/>
                    <a:pt x="25" y="6"/>
                  </a:cubicBezTo>
                  <a:cubicBezTo>
                    <a:pt x="22" y="10"/>
                    <a:pt x="22" y="10"/>
                    <a:pt x="22" y="10"/>
                  </a:cubicBezTo>
                  <a:cubicBezTo>
                    <a:pt x="24" y="5"/>
                    <a:pt x="24" y="5"/>
                    <a:pt x="24" y="5"/>
                  </a:cubicBezTo>
                  <a:cubicBezTo>
                    <a:pt x="23" y="5"/>
                    <a:pt x="23" y="4"/>
                    <a:pt x="21" y="3"/>
                  </a:cubicBezTo>
                  <a:cubicBezTo>
                    <a:pt x="21" y="2"/>
                    <a:pt x="20" y="1"/>
                    <a:pt x="19" y="1"/>
                  </a:cubicBezTo>
                  <a:cubicBezTo>
                    <a:pt x="19" y="1"/>
                    <a:pt x="19" y="1"/>
                    <a:pt x="19" y="1"/>
                  </a:cubicBezTo>
                  <a:cubicBezTo>
                    <a:pt x="19" y="1"/>
                    <a:pt x="17" y="0"/>
                    <a:pt x="16" y="0"/>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267"/>
            <p:cNvSpPr/>
            <p:nvPr/>
          </p:nvSpPr>
          <p:spPr bwMode="auto">
            <a:xfrm>
              <a:off x="6913966" y="751329"/>
              <a:ext cx="453339" cy="233025"/>
            </a:xfrm>
            <a:custGeom>
              <a:gdLst>
                <a:gd name="T0" fmla="*/ 60 w 136"/>
                <a:gd name="T1" fmla="*/ 6 h 70"/>
                <a:gd name="T2" fmla="*/ 53 w 136"/>
                <a:gd name="T3" fmla="*/ 6 h 70"/>
                <a:gd name="T4" fmla="*/ 33 w 136"/>
                <a:gd name="T5" fmla="*/ 3 h 70"/>
                <a:gd name="T6" fmla="*/ 23 w 136"/>
                <a:gd name="T7" fmla="*/ 8 h 70"/>
                <a:gd name="T8" fmla="*/ 16 w 136"/>
                <a:gd name="T9" fmla="*/ 14 h 70"/>
                <a:gd name="T10" fmla="*/ 8 w 136"/>
                <a:gd name="T11" fmla="*/ 21 h 70"/>
                <a:gd name="T12" fmla="*/ 1 w 136"/>
                <a:gd name="T13" fmla="*/ 25 h 70"/>
                <a:gd name="T14" fmla="*/ 4 w 136"/>
                <a:gd name="T15" fmla="*/ 25 h 70"/>
                <a:gd name="T16" fmla="*/ 2 w 136"/>
                <a:gd name="T17" fmla="*/ 32 h 70"/>
                <a:gd name="T18" fmla="*/ 0 w 136"/>
                <a:gd name="T19" fmla="*/ 36 h 70"/>
                <a:gd name="T20" fmla="*/ 7 w 136"/>
                <a:gd name="T21" fmla="*/ 42 h 70"/>
                <a:gd name="T22" fmla="*/ 15 w 136"/>
                <a:gd name="T23" fmla="*/ 47 h 70"/>
                <a:gd name="T24" fmla="*/ 17 w 136"/>
                <a:gd name="T25" fmla="*/ 48 h 70"/>
                <a:gd name="T26" fmla="*/ 21 w 136"/>
                <a:gd name="T27" fmla="*/ 45 h 70"/>
                <a:gd name="T28" fmla="*/ 27 w 136"/>
                <a:gd name="T29" fmla="*/ 48 h 70"/>
                <a:gd name="T30" fmla="*/ 35 w 136"/>
                <a:gd name="T31" fmla="*/ 54 h 70"/>
                <a:gd name="T32" fmla="*/ 34 w 136"/>
                <a:gd name="T33" fmla="*/ 58 h 70"/>
                <a:gd name="T34" fmla="*/ 34 w 136"/>
                <a:gd name="T35" fmla="*/ 62 h 70"/>
                <a:gd name="T36" fmla="*/ 37 w 136"/>
                <a:gd name="T37" fmla="*/ 65 h 70"/>
                <a:gd name="T38" fmla="*/ 43 w 136"/>
                <a:gd name="T39" fmla="*/ 69 h 70"/>
                <a:gd name="T40" fmla="*/ 47 w 136"/>
                <a:gd name="T41" fmla="*/ 67 h 70"/>
                <a:gd name="T42" fmla="*/ 48 w 136"/>
                <a:gd name="T43" fmla="*/ 65 h 70"/>
                <a:gd name="T44" fmla="*/ 52 w 136"/>
                <a:gd name="T45" fmla="*/ 62 h 70"/>
                <a:gd name="T46" fmla="*/ 59 w 136"/>
                <a:gd name="T47" fmla="*/ 50 h 70"/>
                <a:gd name="T48" fmla="*/ 67 w 136"/>
                <a:gd name="T49" fmla="*/ 47 h 70"/>
                <a:gd name="T50" fmla="*/ 72 w 136"/>
                <a:gd name="T51" fmla="*/ 43 h 70"/>
                <a:gd name="T52" fmla="*/ 75 w 136"/>
                <a:gd name="T53" fmla="*/ 47 h 70"/>
                <a:gd name="T54" fmla="*/ 77 w 136"/>
                <a:gd name="T55" fmla="*/ 48 h 70"/>
                <a:gd name="T56" fmla="*/ 86 w 136"/>
                <a:gd name="T57" fmla="*/ 40 h 70"/>
                <a:gd name="T58" fmla="*/ 88 w 136"/>
                <a:gd name="T59" fmla="*/ 37 h 70"/>
                <a:gd name="T60" fmla="*/ 92 w 136"/>
                <a:gd name="T61" fmla="*/ 32 h 70"/>
                <a:gd name="T62" fmla="*/ 99 w 136"/>
                <a:gd name="T63" fmla="*/ 26 h 70"/>
                <a:gd name="T64" fmla="*/ 105 w 136"/>
                <a:gd name="T65" fmla="*/ 29 h 70"/>
                <a:gd name="T66" fmla="*/ 109 w 136"/>
                <a:gd name="T67" fmla="*/ 30 h 70"/>
                <a:gd name="T68" fmla="*/ 112 w 136"/>
                <a:gd name="T69" fmla="*/ 29 h 70"/>
                <a:gd name="T70" fmla="*/ 123 w 136"/>
                <a:gd name="T71" fmla="*/ 26 h 70"/>
                <a:gd name="T72" fmla="*/ 135 w 136"/>
                <a:gd name="T73" fmla="*/ 23 h 70"/>
                <a:gd name="T74" fmla="*/ 125 w 136"/>
                <a:gd name="T75" fmla="*/ 20 h 70"/>
                <a:gd name="T76" fmla="*/ 117 w 136"/>
                <a:gd name="T77" fmla="*/ 17 h 70"/>
                <a:gd name="T78" fmla="*/ 124 w 136"/>
                <a:gd name="T79" fmla="*/ 15 h 70"/>
                <a:gd name="T80" fmla="*/ 110 w 136"/>
                <a:gd name="T81" fmla="*/ 6 h 70"/>
                <a:gd name="T82" fmla="*/ 95 w 136"/>
                <a:gd name="T83" fmla="*/ 1 h 70"/>
                <a:gd name="T84" fmla="*/ 87 w 136"/>
                <a:gd name="T85" fmla="*/ 3 h 70"/>
                <a:gd name="T86" fmla="*/ 73 w 136"/>
                <a:gd name="T87" fmla="*/ 0 h 7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0">
                  <a:moveTo>
                    <a:pt x="73" y="0"/>
                  </a:moveTo>
                  <a:cubicBezTo>
                    <a:pt x="74" y="1"/>
                    <a:pt x="73" y="2"/>
                    <a:pt x="72" y="3"/>
                  </a:cubicBezTo>
                  <a:cubicBezTo>
                    <a:pt x="68" y="4"/>
                    <a:pt x="64" y="6"/>
                    <a:pt x="60" y="6"/>
                  </a:cubicBezTo>
                  <a:cubicBezTo>
                    <a:pt x="60" y="6"/>
                    <a:pt x="59" y="6"/>
                    <a:pt x="59" y="6"/>
                  </a:cubicBezTo>
                  <a:cubicBezTo>
                    <a:pt x="58" y="6"/>
                    <a:pt x="58" y="6"/>
                    <a:pt x="57" y="6"/>
                  </a:cubicBezTo>
                  <a:cubicBezTo>
                    <a:pt x="56" y="6"/>
                    <a:pt x="54" y="6"/>
                    <a:pt x="53" y="6"/>
                  </a:cubicBezTo>
                  <a:cubicBezTo>
                    <a:pt x="52" y="6"/>
                    <a:pt x="51" y="6"/>
                    <a:pt x="49" y="6"/>
                  </a:cubicBezTo>
                  <a:cubicBezTo>
                    <a:pt x="48" y="6"/>
                    <a:pt x="47" y="6"/>
                    <a:pt x="46" y="6"/>
                  </a:cubicBezTo>
                  <a:cubicBezTo>
                    <a:pt x="42" y="5"/>
                    <a:pt x="37" y="4"/>
                    <a:pt x="33" y="3"/>
                  </a:cubicBezTo>
                  <a:cubicBezTo>
                    <a:pt x="32" y="3"/>
                    <a:pt x="32" y="3"/>
                    <a:pt x="32" y="3"/>
                  </a:cubicBezTo>
                  <a:cubicBezTo>
                    <a:pt x="30" y="3"/>
                    <a:pt x="25" y="5"/>
                    <a:pt x="22" y="7"/>
                  </a:cubicBezTo>
                  <a:cubicBezTo>
                    <a:pt x="23" y="8"/>
                    <a:pt x="23" y="8"/>
                    <a:pt x="23" y="8"/>
                  </a:cubicBezTo>
                  <a:cubicBezTo>
                    <a:pt x="22" y="9"/>
                    <a:pt x="22" y="9"/>
                    <a:pt x="22" y="9"/>
                  </a:cubicBezTo>
                  <a:cubicBezTo>
                    <a:pt x="21" y="10"/>
                    <a:pt x="19" y="12"/>
                    <a:pt x="17" y="13"/>
                  </a:cubicBezTo>
                  <a:cubicBezTo>
                    <a:pt x="16" y="14"/>
                    <a:pt x="16" y="14"/>
                    <a:pt x="16" y="14"/>
                  </a:cubicBezTo>
                  <a:cubicBezTo>
                    <a:pt x="16" y="15"/>
                    <a:pt x="15" y="15"/>
                    <a:pt x="15" y="16"/>
                  </a:cubicBezTo>
                  <a:cubicBezTo>
                    <a:pt x="13" y="17"/>
                    <a:pt x="10" y="19"/>
                    <a:pt x="8" y="21"/>
                  </a:cubicBezTo>
                  <a:cubicBezTo>
                    <a:pt x="8" y="21"/>
                    <a:pt x="8" y="21"/>
                    <a:pt x="8" y="21"/>
                  </a:cubicBezTo>
                  <a:cubicBezTo>
                    <a:pt x="7" y="22"/>
                    <a:pt x="6" y="23"/>
                    <a:pt x="5" y="23"/>
                  </a:cubicBezTo>
                  <a:cubicBezTo>
                    <a:pt x="3" y="24"/>
                    <a:pt x="3" y="24"/>
                    <a:pt x="3" y="24"/>
                  </a:cubicBezTo>
                  <a:cubicBezTo>
                    <a:pt x="2" y="24"/>
                    <a:pt x="2" y="25"/>
                    <a:pt x="1" y="25"/>
                  </a:cubicBezTo>
                  <a:cubicBezTo>
                    <a:pt x="1" y="25"/>
                    <a:pt x="1" y="26"/>
                    <a:pt x="1" y="26"/>
                  </a:cubicBezTo>
                  <a:cubicBezTo>
                    <a:pt x="1" y="27"/>
                    <a:pt x="1" y="27"/>
                    <a:pt x="1" y="27"/>
                  </a:cubicBezTo>
                  <a:cubicBezTo>
                    <a:pt x="4" y="25"/>
                    <a:pt x="4" y="25"/>
                    <a:pt x="4" y="25"/>
                  </a:cubicBezTo>
                  <a:cubicBezTo>
                    <a:pt x="1" y="29"/>
                    <a:pt x="1" y="29"/>
                    <a:pt x="1" y="29"/>
                  </a:cubicBezTo>
                  <a:cubicBezTo>
                    <a:pt x="1" y="29"/>
                    <a:pt x="1" y="30"/>
                    <a:pt x="1" y="30"/>
                  </a:cubicBezTo>
                  <a:cubicBezTo>
                    <a:pt x="1" y="31"/>
                    <a:pt x="2" y="31"/>
                    <a:pt x="2" y="32"/>
                  </a:cubicBezTo>
                  <a:cubicBezTo>
                    <a:pt x="2" y="33"/>
                    <a:pt x="1" y="34"/>
                    <a:pt x="1" y="34"/>
                  </a:cubicBezTo>
                  <a:cubicBezTo>
                    <a:pt x="1" y="35"/>
                    <a:pt x="1" y="35"/>
                    <a:pt x="1" y="35"/>
                  </a:cubicBezTo>
                  <a:cubicBezTo>
                    <a:pt x="1" y="35"/>
                    <a:pt x="0" y="36"/>
                    <a:pt x="0" y="36"/>
                  </a:cubicBezTo>
                  <a:cubicBezTo>
                    <a:pt x="1" y="36"/>
                    <a:pt x="2" y="37"/>
                    <a:pt x="4" y="40"/>
                  </a:cubicBezTo>
                  <a:cubicBezTo>
                    <a:pt x="5" y="40"/>
                    <a:pt x="6" y="42"/>
                    <a:pt x="7" y="42"/>
                  </a:cubicBezTo>
                  <a:cubicBezTo>
                    <a:pt x="7" y="42"/>
                    <a:pt x="7" y="42"/>
                    <a:pt x="7" y="42"/>
                  </a:cubicBezTo>
                  <a:cubicBezTo>
                    <a:pt x="8" y="43"/>
                    <a:pt x="9" y="43"/>
                    <a:pt x="10" y="44"/>
                  </a:cubicBezTo>
                  <a:cubicBezTo>
                    <a:pt x="10" y="44"/>
                    <a:pt x="11" y="45"/>
                    <a:pt x="11" y="45"/>
                  </a:cubicBezTo>
                  <a:cubicBezTo>
                    <a:pt x="13" y="45"/>
                    <a:pt x="14" y="46"/>
                    <a:pt x="15" y="47"/>
                  </a:cubicBezTo>
                  <a:cubicBezTo>
                    <a:pt x="15" y="47"/>
                    <a:pt x="16" y="47"/>
                    <a:pt x="16" y="48"/>
                  </a:cubicBezTo>
                  <a:cubicBezTo>
                    <a:pt x="17" y="48"/>
                    <a:pt x="17" y="48"/>
                    <a:pt x="17" y="48"/>
                  </a:cubicBezTo>
                  <a:cubicBezTo>
                    <a:pt x="17" y="48"/>
                    <a:pt x="17" y="48"/>
                    <a:pt x="17" y="48"/>
                  </a:cubicBezTo>
                  <a:cubicBezTo>
                    <a:pt x="17" y="48"/>
                    <a:pt x="17" y="48"/>
                    <a:pt x="17" y="48"/>
                  </a:cubicBezTo>
                  <a:cubicBezTo>
                    <a:pt x="17" y="47"/>
                    <a:pt x="18" y="47"/>
                    <a:pt x="19" y="46"/>
                  </a:cubicBezTo>
                  <a:cubicBezTo>
                    <a:pt x="19" y="46"/>
                    <a:pt x="20" y="45"/>
                    <a:pt x="21" y="45"/>
                  </a:cubicBezTo>
                  <a:cubicBezTo>
                    <a:pt x="23" y="45"/>
                    <a:pt x="24" y="46"/>
                    <a:pt x="26" y="47"/>
                  </a:cubicBezTo>
                  <a:cubicBezTo>
                    <a:pt x="26" y="47"/>
                    <a:pt x="26" y="47"/>
                    <a:pt x="26" y="47"/>
                  </a:cubicBezTo>
                  <a:cubicBezTo>
                    <a:pt x="26" y="47"/>
                    <a:pt x="26" y="48"/>
                    <a:pt x="27" y="48"/>
                  </a:cubicBezTo>
                  <a:cubicBezTo>
                    <a:pt x="28" y="48"/>
                    <a:pt x="30" y="48"/>
                    <a:pt x="32" y="49"/>
                  </a:cubicBezTo>
                  <a:cubicBezTo>
                    <a:pt x="33" y="49"/>
                    <a:pt x="33" y="49"/>
                    <a:pt x="33" y="49"/>
                  </a:cubicBezTo>
                  <a:cubicBezTo>
                    <a:pt x="34" y="50"/>
                    <a:pt x="35" y="52"/>
                    <a:pt x="35" y="54"/>
                  </a:cubicBezTo>
                  <a:cubicBezTo>
                    <a:pt x="35" y="55"/>
                    <a:pt x="34" y="56"/>
                    <a:pt x="34" y="57"/>
                  </a:cubicBezTo>
                  <a:cubicBezTo>
                    <a:pt x="34" y="58"/>
                    <a:pt x="34" y="58"/>
                    <a:pt x="34" y="58"/>
                  </a:cubicBezTo>
                  <a:cubicBezTo>
                    <a:pt x="34" y="58"/>
                    <a:pt x="34" y="58"/>
                    <a:pt x="34" y="58"/>
                  </a:cubicBezTo>
                  <a:cubicBezTo>
                    <a:pt x="34" y="59"/>
                    <a:pt x="34" y="59"/>
                    <a:pt x="34" y="60"/>
                  </a:cubicBezTo>
                  <a:cubicBezTo>
                    <a:pt x="34" y="61"/>
                    <a:pt x="34" y="61"/>
                    <a:pt x="34" y="61"/>
                  </a:cubicBezTo>
                  <a:cubicBezTo>
                    <a:pt x="34" y="62"/>
                    <a:pt x="34" y="62"/>
                    <a:pt x="34" y="62"/>
                  </a:cubicBezTo>
                  <a:cubicBezTo>
                    <a:pt x="34" y="62"/>
                    <a:pt x="34" y="62"/>
                    <a:pt x="34" y="62"/>
                  </a:cubicBezTo>
                  <a:cubicBezTo>
                    <a:pt x="36" y="62"/>
                    <a:pt x="38" y="62"/>
                    <a:pt x="40" y="63"/>
                  </a:cubicBezTo>
                  <a:cubicBezTo>
                    <a:pt x="39" y="63"/>
                    <a:pt x="37" y="65"/>
                    <a:pt x="37" y="65"/>
                  </a:cubicBezTo>
                  <a:cubicBezTo>
                    <a:pt x="36" y="67"/>
                    <a:pt x="40" y="68"/>
                    <a:pt x="41" y="70"/>
                  </a:cubicBezTo>
                  <a:cubicBezTo>
                    <a:pt x="41" y="69"/>
                    <a:pt x="41" y="69"/>
                    <a:pt x="41" y="69"/>
                  </a:cubicBezTo>
                  <a:cubicBezTo>
                    <a:pt x="43" y="69"/>
                    <a:pt x="43" y="69"/>
                    <a:pt x="43" y="69"/>
                  </a:cubicBezTo>
                  <a:cubicBezTo>
                    <a:pt x="43" y="69"/>
                    <a:pt x="43" y="69"/>
                    <a:pt x="43" y="69"/>
                  </a:cubicBezTo>
                  <a:cubicBezTo>
                    <a:pt x="45" y="69"/>
                    <a:pt x="45" y="69"/>
                    <a:pt x="47" y="67"/>
                  </a:cubicBezTo>
                  <a:cubicBezTo>
                    <a:pt x="47" y="67"/>
                    <a:pt x="47" y="67"/>
                    <a:pt x="47" y="67"/>
                  </a:cubicBezTo>
                  <a:cubicBezTo>
                    <a:pt x="48" y="67"/>
                    <a:pt x="48" y="67"/>
                    <a:pt x="48" y="67"/>
                  </a:cubicBezTo>
                  <a:cubicBezTo>
                    <a:pt x="48" y="66"/>
                    <a:pt x="48" y="66"/>
                    <a:pt x="48" y="66"/>
                  </a:cubicBezTo>
                  <a:cubicBezTo>
                    <a:pt x="48" y="65"/>
                    <a:pt x="48" y="65"/>
                    <a:pt x="48" y="65"/>
                  </a:cubicBezTo>
                  <a:cubicBezTo>
                    <a:pt x="49" y="63"/>
                    <a:pt x="51" y="63"/>
                    <a:pt x="52" y="63"/>
                  </a:cubicBezTo>
                  <a:cubicBezTo>
                    <a:pt x="52" y="62"/>
                    <a:pt x="52" y="62"/>
                    <a:pt x="52" y="62"/>
                  </a:cubicBezTo>
                  <a:cubicBezTo>
                    <a:pt x="52" y="62"/>
                    <a:pt x="52" y="62"/>
                    <a:pt x="52" y="62"/>
                  </a:cubicBezTo>
                  <a:cubicBezTo>
                    <a:pt x="52" y="60"/>
                    <a:pt x="51" y="59"/>
                    <a:pt x="51" y="58"/>
                  </a:cubicBezTo>
                  <a:cubicBezTo>
                    <a:pt x="51" y="56"/>
                    <a:pt x="51" y="54"/>
                    <a:pt x="52" y="52"/>
                  </a:cubicBezTo>
                  <a:cubicBezTo>
                    <a:pt x="53" y="51"/>
                    <a:pt x="59" y="50"/>
                    <a:pt x="59" y="50"/>
                  </a:cubicBezTo>
                  <a:cubicBezTo>
                    <a:pt x="60" y="50"/>
                    <a:pt x="61" y="51"/>
                    <a:pt x="62" y="51"/>
                  </a:cubicBezTo>
                  <a:cubicBezTo>
                    <a:pt x="62" y="51"/>
                    <a:pt x="62" y="51"/>
                    <a:pt x="62" y="51"/>
                  </a:cubicBezTo>
                  <a:cubicBezTo>
                    <a:pt x="64" y="49"/>
                    <a:pt x="65" y="48"/>
                    <a:pt x="67" y="47"/>
                  </a:cubicBezTo>
                  <a:cubicBezTo>
                    <a:pt x="68" y="46"/>
                    <a:pt x="68" y="46"/>
                    <a:pt x="68" y="46"/>
                  </a:cubicBezTo>
                  <a:cubicBezTo>
                    <a:pt x="69" y="45"/>
                    <a:pt x="70" y="44"/>
                    <a:pt x="71" y="44"/>
                  </a:cubicBezTo>
                  <a:cubicBezTo>
                    <a:pt x="72" y="43"/>
                    <a:pt x="72" y="43"/>
                    <a:pt x="72" y="43"/>
                  </a:cubicBezTo>
                  <a:cubicBezTo>
                    <a:pt x="74" y="45"/>
                    <a:pt x="74" y="45"/>
                    <a:pt x="74" y="45"/>
                  </a:cubicBezTo>
                  <a:cubicBezTo>
                    <a:pt x="74" y="45"/>
                    <a:pt x="74" y="46"/>
                    <a:pt x="74" y="47"/>
                  </a:cubicBezTo>
                  <a:cubicBezTo>
                    <a:pt x="75" y="47"/>
                    <a:pt x="75" y="47"/>
                    <a:pt x="75" y="47"/>
                  </a:cubicBezTo>
                  <a:cubicBezTo>
                    <a:pt x="75" y="48"/>
                    <a:pt x="76" y="48"/>
                    <a:pt x="77" y="49"/>
                  </a:cubicBezTo>
                  <a:cubicBezTo>
                    <a:pt x="77" y="49"/>
                    <a:pt x="77" y="49"/>
                    <a:pt x="77" y="49"/>
                  </a:cubicBezTo>
                  <a:cubicBezTo>
                    <a:pt x="77" y="48"/>
                    <a:pt x="77" y="48"/>
                    <a:pt x="77" y="48"/>
                  </a:cubicBezTo>
                  <a:cubicBezTo>
                    <a:pt x="78" y="48"/>
                    <a:pt x="78" y="48"/>
                    <a:pt x="78" y="48"/>
                  </a:cubicBezTo>
                  <a:cubicBezTo>
                    <a:pt x="78" y="47"/>
                    <a:pt x="79" y="46"/>
                    <a:pt x="80" y="45"/>
                  </a:cubicBezTo>
                  <a:cubicBezTo>
                    <a:pt x="82" y="43"/>
                    <a:pt x="84" y="42"/>
                    <a:pt x="86" y="40"/>
                  </a:cubicBezTo>
                  <a:cubicBezTo>
                    <a:pt x="87" y="40"/>
                    <a:pt x="88" y="39"/>
                    <a:pt x="88" y="39"/>
                  </a:cubicBezTo>
                  <a:cubicBezTo>
                    <a:pt x="89" y="38"/>
                    <a:pt x="88" y="38"/>
                    <a:pt x="88" y="37"/>
                  </a:cubicBezTo>
                  <a:cubicBezTo>
                    <a:pt x="88" y="37"/>
                    <a:pt x="88" y="37"/>
                    <a:pt x="88" y="37"/>
                  </a:cubicBezTo>
                  <a:cubicBezTo>
                    <a:pt x="88" y="36"/>
                    <a:pt x="88" y="36"/>
                    <a:pt x="88" y="36"/>
                  </a:cubicBezTo>
                  <a:cubicBezTo>
                    <a:pt x="88" y="35"/>
                    <a:pt x="88" y="35"/>
                    <a:pt x="88" y="35"/>
                  </a:cubicBezTo>
                  <a:cubicBezTo>
                    <a:pt x="88" y="34"/>
                    <a:pt x="89" y="32"/>
                    <a:pt x="92" y="32"/>
                  </a:cubicBezTo>
                  <a:cubicBezTo>
                    <a:pt x="92" y="29"/>
                    <a:pt x="95" y="27"/>
                    <a:pt x="97" y="26"/>
                  </a:cubicBezTo>
                  <a:cubicBezTo>
                    <a:pt x="98" y="26"/>
                    <a:pt x="98" y="26"/>
                    <a:pt x="99" y="26"/>
                  </a:cubicBezTo>
                  <a:cubicBezTo>
                    <a:pt x="99" y="26"/>
                    <a:pt x="99" y="26"/>
                    <a:pt x="99" y="26"/>
                  </a:cubicBezTo>
                  <a:cubicBezTo>
                    <a:pt x="101" y="26"/>
                    <a:pt x="101" y="26"/>
                    <a:pt x="101" y="26"/>
                  </a:cubicBezTo>
                  <a:cubicBezTo>
                    <a:pt x="101" y="27"/>
                    <a:pt x="101" y="27"/>
                    <a:pt x="101" y="27"/>
                  </a:cubicBezTo>
                  <a:cubicBezTo>
                    <a:pt x="102" y="27"/>
                    <a:pt x="103" y="28"/>
                    <a:pt x="105" y="29"/>
                  </a:cubicBezTo>
                  <a:cubicBezTo>
                    <a:pt x="106" y="30"/>
                    <a:pt x="107" y="30"/>
                    <a:pt x="108" y="30"/>
                  </a:cubicBezTo>
                  <a:cubicBezTo>
                    <a:pt x="108" y="30"/>
                    <a:pt x="108" y="30"/>
                    <a:pt x="108" y="30"/>
                  </a:cubicBezTo>
                  <a:cubicBezTo>
                    <a:pt x="109" y="30"/>
                    <a:pt x="109" y="30"/>
                    <a:pt x="109" y="30"/>
                  </a:cubicBezTo>
                  <a:cubicBezTo>
                    <a:pt x="110" y="30"/>
                    <a:pt x="110" y="30"/>
                    <a:pt x="110" y="30"/>
                  </a:cubicBezTo>
                  <a:cubicBezTo>
                    <a:pt x="110" y="30"/>
                    <a:pt x="110" y="30"/>
                    <a:pt x="110" y="30"/>
                  </a:cubicBezTo>
                  <a:cubicBezTo>
                    <a:pt x="111" y="29"/>
                    <a:pt x="111" y="29"/>
                    <a:pt x="112" y="29"/>
                  </a:cubicBezTo>
                  <a:cubicBezTo>
                    <a:pt x="113" y="29"/>
                    <a:pt x="113" y="29"/>
                    <a:pt x="114" y="29"/>
                  </a:cubicBezTo>
                  <a:cubicBezTo>
                    <a:pt x="115" y="28"/>
                    <a:pt x="115" y="28"/>
                    <a:pt x="115" y="28"/>
                  </a:cubicBezTo>
                  <a:cubicBezTo>
                    <a:pt x="117" y="28"/>
                    <a:pt x="120" y="27"/>
                    <a:pt x="123" y="26"/>
                  </a:cubicBezTo>
                  <a:cubicBezTo>
                    <a:pt x="127" y="25"/>
                    <a:pt x="132" y="24"/>
                    <a:pt x="136" y="23"/>
                  </a:cubicBezTo>
                  <a:cubicBezTo>
                    <a:pt x="136" y="23"/>
                    <a:pt x="136" y="23"/>
                    <a:pt x="136" y="23"/>
                  </a:cubicBezTo>
                  <a:cubicBezTo>
                    <a:pt x="136" y="23"/>
                    <a:pt x="135" y="23"/>
                    <a:pt x="135" y="23"/>
                  </a:cubicBezTo>
                  <a:cubicBezTo>
                    <a:pt x="132" y="22"/>
                    <a:pt x="129" y="21"/>
                    <a:pt x="127" y="21"/>
                  </a:cubicBezTo>
                  <a:cubicBezTo>
                    <a:pt x="128" y="20"/>
                    <a:pt x="129" y="19"/>
                    <a:pt x="129" y="18"/>
                  </a:cubicBezTo>
                  <a:cubicBezTo>
                    <a:pt x="128" y="18"/>
                    <a:pt x="125" y="20"/>
                    <a:pt x="125" y="20"/>
                  </a:cubicBezTo>
                  <a:cubicBezTo>
                    <a:pt x="125" y="20"/>
                    <a:pt x="125" y="20"/>
                    <a:pt x="125" y="20"/>
                  </a:cubicBezTo>
                  <a:cubicBezTo>
                    <a:pt x="123" y="20"/>
                    <a:pt x="122" y="19"/>
                    <a:pt x="121" y="19"/>
                  </a:cubicBezTo>
                  <a:cubicBezTo>
                    <a:pt x="120" y="18"/>
                    <a:pt x="119" y="19"/>
                    <a:pt x="117" y="17"/>
                  </a:cubicBezTo>
                  <a:cubicBezTo>
                    <a:pt x="117" y="16"/>
                    <a:pt x="116" y="13"/>
                    <a:pt x="118" y="12"/>
                  </a:cubicBezTo>
                  <a:cubicBezTo>
                    <a:pt x="119" y="13"/>
                    <a:pt x="119" y="13"/>
                    <a:pt x="119" y="13"/>
                  </a:cubicBezTo>
                  <a:cubicBezTo>
                    <a:pt x="120" y="13"/>
                    <a:pt x="122" y="15"/>
                    <a:pt x="124" y="15"/>
                  </a:cubicBezTo>
                  <a:cubicBezTo>
                    <a:pt x="124" y="15"/>
                    <a:pt x="124" y="15"/>
                    <a:pt x="124" y="15"/>
                  </a:cubicBezTo>
                  <a:cubicBezTo>
                    <a:pt x="122" y="13"/>
                    <a:pt x="119" y="11"/>
                    <a:pt x="116" y="9"/>
                  </a:cubicBezTo>
                  <a:cubicBezTo>
                    <a:pt x="113" y="6"/>
                    <a:pt x="113" y="6"/>
                    <a:pt x="110" y="6"/>
                  </a:cubicBezTo>
                  <a:cubicBezTo>
                    <a:pt x="110" y="6"/>
                    <a:pt x="109" y="6"/>
                    <a:pt x="108" y="6"/>
                  </a:cubicBezTo>
                  <a:cubicBezTo>
                    <a:pt x="107" y="6"/>
                    <a:pt x="107" y="6"/>
                    <a:pt x="106" y="6"/>
                  </a:cubicBezTo>
                  <a:cubicBezTo>
                    <a:pt x="102" y="6"/>
                    <a:pt x="100" y="4"/>
                    <a:pt x="95" y="1"/>
                  </a:cubicBezTo>
                  <a:cubicBezTo>
                    <a:pt x="95" y="1"/>
                    <a:pt x="95" y="1"/>
                    <a:pt x="94" y="1"/>
                  </a:cubicBezTo>
                  <a:cubicBezTo>
                    <a:pt x="93" y="1"/>
                    <a:pt x="92" y="2"/>
                    <a:pt x="91" y="2"/>
                  </a:cubicBezTo>
                  <a:cubicBezTo>
                    <a:pt x="89" y="3"/>
                    <a:pt x="88" y="3"/>
                    <a:pt x="87" y="3"/>
                  </a:cubicBezTo>
                  <a:cubicBezTo>
                    <a:pt x="87" y="3"/>
                    <a:pt x="87" y="3"/>
                    <a:pt x="87" y="3"/>
                  </a:cubicBezTo>
                  <a:cubicBezTo>
                    <a:pt x="83" y="3"/>
                    <a:pt x="80" y="2"/>
                    <a:pt x="77" y="1"/>
                  </a:cubicBezTo>
                  <a:cubicBezTo>
                    <a:pt x="76" y="1"/>
                    <a:pt x="74" y="1"/>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268"/>
            <p:cNvSpPr/>
            <p:nvPr/>
          </p:nvSpPr>
          <p:spPr bwMode="auto">
            <a:xfrm flipH="1">
              <a:off x="6901256" y="837478"/>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269"/>
            <p:cNvSpPr/>
            <p:nvPr/>
          </p:nvSpPr>
          <p:spPr bwMode="auto">
            <a:xfrm flipH="1">
              <a:off x="6901256" y="837478"/>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270"/>
            <p:cNvSpPr/>
            <p:nvPr/>
          </p:nvSpPr>
          <p:spPr bwMode="auto">
            <a:xfrm>
              <a:off x="6676705" y="617164"/>
              <a:ext cx="293752" cy="310700"/>
            </a:xfrm>
            <a:custGeom>
              <a:gdLst>
                <a:gd name="T0" fmla="*/ 29 w 88"/>
                <a:gd name="T1" fmla="*/ 0 h 93"/>
                <a:gd name="T2" fmla="*/ 30 w 88"/>
                <a:gd name="T3" fmla="*/ 10 h 93"/>
                <a:gd name="T4" fmla="*/ 30 w 88"/>
                <a:gd name="T5" fmla="*/ 11 h 93"/>
                <a:gd name="T6" fmla="*/ 24 w 88"/>
                <a:gd name="T7" fmla="*/ 14 h 93"/>
                <a:gd name="T8" fmla="*/ 29 w 88"/>
                <a:gd name="T9" fmla="*/ 18 h 93"/>
                <a:gd name="T10" fmla="*/ 32 w 88"/>
                <a:gd name="T11" fmla="*/ 21 h 93"/>
                <a:gd name="T12" fmla="*/ 39 w 88"/>
                <a:gd name="T13" fmla="*/ 27 h 93"/>
                <a:gd name="T14" fmla="*/ 42 w 88"/>
                <a:gd name="T15" fmla="*/ 29 h 93"/>
                <a:gd name="T16" fmla="*/ 43 w 88"/>
                <a:gd name="T17" fmla="*/ 34 h 93"/>
                <a:gd name="T18" fmla="*/ 43 w 88"/>
                <a:gd name="T19" fmla="*/ 36 h 93"/>
                <a:gd name="T20" fmla="*/ 38 w 88"/>
                <a:gd name="T21" fmla="*/ 42 h 93"/>
                <a:gd name="T22" fmla="*/ 24 w 88"/>
                <a:gd name="T23" fmla="*/ 42 h 93"/>
                <a:gd name="T24" fmla="*/ 16 w 88"/>
                <a:gd name="T25" fmla="*/ 42 h 93"/>
                <a:gd name="T26" fmla="*/ 12 w 88"/>
                <a:gd name="T27" fmla="*/ 44 h 93"/>
                <a:gd name="T28" fmla="*/ 9 w 88"/>
                <a:gd name="T29" fmla="*/ 46 h 93"/>
                <a:gd name="T30" fmla="*/ 3 w 88"/>
                <a:gd name="T31" fmla="*/ 57 h 93"/>
                <a:gd name="T32" fmla="*/ 2 w 88"/>
                <a:gd name="T33" fmla="*/ 58 h 93"/>
                <a:gd name="T34" fmla="*/ 2 w 88"/>
                <a:gd name="T35" fmla="*/ 58 h 93"/>
                <a:gd name="T36" fmla="*/ 3 w 88"/>
                <a:gd name="T37" fmla="*/ 59 h 93"/>
                <a:gd name="T38" fmla="*/ 4 w 88"/>
                <a:gd name="T39" fmla="*/ 64 h 93"/>
                <a:gd name="T40" fmla="*/ 3 w 88"/>
                <a:gd name="T41" fmla="*/ 66 h 93"/>
                <a:gd name="T42" fmla="*/ 2 w 88"/>
                <a:gd name="T43" fmla="*/ 69 h 93"/>
                <a:gd name="T44" fmla="*/ 2 w 88"/>
                <a:gd name="T45" fmla="*/ 71 h 93"/>
                <a:gd name="T46" fmla="*/ 2 w 88"/>
                <a:gd name="T47" fmla="*/ 73 h 93"/>
                <a:gd name="T48" fmla="*/ 1 w 88"/>
                <a:gd name="T49" fmla="*/ 76 h 93"/>
                <a:gd name="T50" fmla="*/ 1 w 88"/>
                <a:gd name="T51" fmla="*/ 78 h 93"/>
                <a:gd name="T52" fmla="*/ 26 w 88"/>
                <a:gd name="T53" fmla="*/ 90 h 93"/>
                <a:gd name="T54" fmla="*/ 31 w 88"/>
                <a:gd name="T55" fmla="*/ 90 h 93"/>
                <a:gd name="T56" fmla="*/ 35 w 88"/>
                <a:gd name="T57" fmla="*/ 90 h 93"/>
                <a:gd name="T58" fmla="*/ 45 w 88"/>
                <a:gd name="T59" fmla="*/ 93 h 93"/>
                <a:gd name="T60" fmla="*/ 48 w 88"/>
                <a:gd name="T61" fmla="*/ 88 h 93"/>
                <a:gd name="T62" fmla="*/ 54 w 88"/>
                <a:gd name="T63" fmla="*/ 84 h 93"/>
                <a:gd name="T64" fmla="*/ 57 w 88"/>
                <a:gd name="T65" fmla="*/ 82 h 93"/>
                <a:gd name="T66" fmla="*/ 62 w 88"/>
                <a:gd name="T67" fmla="*/ 75 h 93"/>
                <a:gd name="T68" fmla="*/ 64 w 88"/>
                <a:gd name="T69" fmla="*/ 75 h 93"/>
                <a:gd name="T70" fmla="*/ 67 w 88"/>
                <a:gd name="T71" fmla="*/ 72 h 93"/>
                <a:gd name="T72" fmla="*/ 66 w 88"/>
                <a:gd name="T73" fmla="*/ 69 h 93"/>
                <a:gd name="T74" fmla="*/ 66 w 88"/>
                <a:gd name="T75" fmla="*/ 65 h 93"/>
                <a:gd name="T76" fmla="*/ 67 w 88"/>
                <a:gd name="T77" fmla="*/ 63 h 93"/>
                <a:gd name="T78" fmla="*/ 73 w 88"/>
                <a:gd name="T79" fmla="*/ 60 h 93"/>
                <a:gd name="T80" fmla="*/ 73 w 88"/>
                <a:gd name="T81" fmla="*/ 58 h 93"/>
                <a:gd name="T82" fmla="*/ 76 w 88"/>
                <a:gd name="T83" fmla="*/ 56 h 93"/>
                <a:gd name="T84" fmla="*/ 84 w 88"/>
                <a:gd name="T85" fmla="*/ 50 h 93"/>
                <a:gd name="T86" fmla="*/ 88 w 88"/>
                <a:gd name="T87" fmla="*/ 46 h 93"/>
                <a:gd name="T88" fmla="*/ 85 w 88"/>
                <a:gd name="T89" fmla="*/ 45 h 93"/>
                <a:gd name="T90" fmla="*/ 77 w 88"/>
                <a:gd name="T91" fmla="*/ 44 h 93"/>
                <a:gd name="T92" fmla="*/ 77 w 88"/>
                <a:gd name="T93" fmla="*/ 45 h 93"/>
                <a:gd name="T94" fmla="*/ 75 w 88"/>
                <a:gd name="T95" fmla="*/ 46 h 93"/>
                <a:gd name="T96" fmla="*/ 73 w 88"/>
                <a:gd name="T97" fmla="*/ 47 h 93"/>
                <a:gd name="T98" fmla="*/ 73 w 88"/>
                <a:gd name="T99" fmla="*/ 46 h 93"/>
                <a:gd name="T100" fmla="*/ 69 w 88"/>
                <a:gd name="T101" fmla="*/ 46 h 93"/>
                <a:gd name="T102" fmla="*/ 65 w 88"/>
                <a:gd name="T103" fmla="*/ 42 h 93"/>
                <a:gd name="T104" fmla="*/ 67 w 88"/>
                <a:gd name="T105" fmla="*/ 12 h 93"/>
                <a:gd name="T106" fmla="*/ 67 w 88"/>
                <a:gd name="T107" fmla="*/ 4 h 93"/>
                <a:gd name="T108" fmla="*/ 37 w 88"/>
                <a:gd name="T109" fmla="*/ 0 h 93"/>
                <a:gd name="T110" fmla="*/ 34 w 88"/>
                <a:gd name="T111"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93">
                  <a:moveTo>
                    <a:pt x="29" y="0"/>
                  </a:moveTo>
                  <a:cubicBezTo>
                    <a:pt x="29" y="0"/>
                    <a:pt x="29" y="0"/>
                    <a:pt x="29" y="0"/>
                  </a:cubicBezTo>
                  <a:cubicBezTo>
                    <a:pt x="29" y="2"/>
                    <a:pt x="29" y="6"/>
                    <a:pt x="30" y="7"/>
                  </a:cubicBezTo>
                  <a:cubicBezTo>
                    <a:pt x="30" y="8"/>
                    <a:pt x="30" y="9"/>
                    <a:pt x="30" y="10"/>
                  </a:cubicBezTo>
                  <a:cubicBezTo>
                    <a:pt x="30" y="11"/>
                    <a:pt x="30" y="11"/>
                    <a:pt x="30" y="11"/>
                  </a:cubicBezTo>
                  <a:cubicBezTo>
                    <a:pt x="30" y="11"/>
                    <a:pt x="30" y="11"/>
                    <a:pt x="30" y="11"/>
                  </a:cubicBezTo>
                  <a:cubicBezTo>
                    <a:pt x="29" y="13"/>
                    <a:pt x="27" y="14"/>
                    <a:pt x="26" y="14"/>
                  </a:cubicBezTo>
                  <a:cubicBezTo>
                    <a:pt x="24" y="14"/>
                    <a:pt x="24" y="14"/>
                    <a:pt x="24" y="14"/>
                  </a:cubicBezTo>
                  <a:cubicBezTo>
                    <a:pt x="26" y="15"/>
                    <a:pt x="26" y="15"/>
                    <a:pt x="26" y="15"/>
                  </a:cubicBezTo>
                  <a:cubicBezTo>
                    <a:pt x="27" y="16"/>
                    <a:pt x="28" y="17"/>
                    <a:pt x="29" y="18"/>
                  </a:cubicBezTo>
                  <a:cubicBezTo>
                    <a:pt x="30" y="19"/>
                    <a:pt x="31" y="20"/>
                    <a:pt x="31" y="21"/>
                  </a:cubicBezTo>
                  <a:cubicBezTo>
                    <a:pt x="32" y="21"/>
                    <a:pt x="32" y="21"/>
                    <a:pt x="32" y="21"/>
                  </a:cubicBezTo>
                  <a:cubicBezTo>
                    <a:pt x="34" y="23"/>
                    <a:pt x="36" y="25"/>
                    <a:pt x="38" y="27"/>
                  </a:cubicBezTo>
                  <a:cubicBezTo>
                    <a:pt x="39" y="27"/>
                    <a:pt x="39" y="27"/>
                    <a:pt x="39" y="27"/>
                  </a:cubicBezTo>
                  <a:cubicBezTo>
                    <a:pt x="39" y="27"/>
                    <a:pt x="39" y="27"/>
                    <a:pt x="40" y="28"/>
                  </a:cubicBezTo>
                  <a:cubicBezTo>
                    <a:pt x="41" y="28"/>
                    <a:pt x="41" y="28"/>
                    <a:pt x="42" y="29"/>
                  </a:cubicBezTo>
                  <a:cubicBezTo>
                    <a:pt x="42" y="29"/>
                    <a:pt x="42" y="29"/>
                    <a:pt x="42" y="29"/>
                  </a:cubicBezTo>
                  <a:cubicBezTo>
                    <a:pt x="44" y="31"/>
                    <a:pt x="44" y="32"/>
                    <a:pt x="43" y="34"/>
                  </a:cubicBezTo>
                  <a:cubicBezTo>
                    <a:pt x="43" y="35"/>
                    <a:pt x="43" y="35"/>
                    <a:pt x="43" y="36"/>
                  </a:cubicBezTo>
                  <a:cubicBezTo>
                    <a:pt x="43" y="36"/>
                    <a:pt x="43" y="36"/>
                    <a:pt x="43" y="36"/>
                  </a:cubicBezTo>
                  <a:cubicBezTo>
                    <a:pt x="43" y="37"/>
                    <a:pt x="43" y="38"/>
                    <a:pt x="42" y="39"/>
                  </a:cubicBezTo>
                  <a:cubicBezTo>
                    <a:pt x="42" y="40"/>
                    <a:pt x="41" y="42"/>
                    <a:pt x="38" y="42"/>
                  </a:cubicBezTo>
                  <a:cubicBezTo>
                    <a:pt x="27" y="42"/>
                    <a:pt x="27" y="42"/>
                    <a:pt x="27" y="42"/>
                  </a:cubicBezTo>
                  <a:cubicBezTo>
                    <a:pt x="24" y="42"/>
                    <a:pt x="24" y="42"/>
                    <a:pt x="24" y="42"/>
                  </a:cubicBezTo>
                  <a:cubicBezTo>
                    <a:pt x="23" y="42"/>
                    <a:pt x="22" y="42"/>
                    <a:pt x="21" y="42"/>
                  </a:cubicBezTo>
                  <a:cubicBezTo>
                    <a:pt x="19" y="42"/>
                    <a:pt x="17" y="42"/>
                    <a:pt x="16" y="42"/>
                  </a:cubicBezTo>
                  <a:cubicBezTo>
                    <a:pt x="15" y="42"/>
                    <a:pt x="13" y="43"/>
                    <a:pt x="12" y="43"/>
                  </a:cubicBezTo>
                  <a:cubicBezTo>
                    <a:pt x="12" y="44"/>
                    <a:pt x="12" y="44"/>
                    <a:pt x="12" y="44"/>
                  </a:cubicBezTo>
                  <a:cubicBezTo>
                    <a:pt x="11" y="44"/>
                    <a:pt x="11" y="44"/>
                    <a:pt x="11" y="44"/>
                  </a:cubicBezTo>
                  <a:cubicBezTo>
                    <a:pt x="10" y="44"/>
                    <a:pt x="10" y="45"/>
                    <a:pt x="9" y="46"/>
                  </a:cubicBezTo>
                  <a:cubicBezTo>
                    <a:pt x="9" y="47"/>
                    <a:pt x="9" y="47"/>
                    <a:pt x="9" y="47"/>
                  </a:cubicBezTo>
                  <a:cubicBezTo>
                    <a:pt x="7" y="50"/>
                    <a:pt x="4" y="53"/>
                    <a:pt x="3" y="57"/>
                  </a:cubicBezTo>
                  <a:cubicBezTo>
                    <a:pt x="2" y="58"/>
                    <a:pt x="2" y="58"/>
                    <a:pt x="2" y="58"/>
                  </a:cubicBezTo>
                  <a:cubicBezTo>
                    <a:pt x="2" y="58"/>
                    <a:pt x="2" y="58"/>
                    <a:pt x="2" y="58"/>
                  </a:cubicBezTo>
                  <a:cubicBezTo>
                    <a:pt x="2" y="58"/>
                    <a:pt x="2" y="58"/>
                    <a:pt x="2" y="58"/>
                  </a:cubicBezTo>
                  <a:cubicBezTo>
                    <a:pt x="2" y="58"/>
                    <a:pt x="2" y="58"/>
                    <a:pt x="2" y="58"/>
                  </a:cubicBezTo>
                  <a:cubicBezTo>
                    <a:pt x="2" y="59"/>
                    <a:pt x="2" y="59"/>
                    <a:pt x="2" y="59"/>
                  </a:cubicBezTo>
                  <a:cubicBezTo>
                    <a:pt x="3" y="59"/>
                    <a:pt x="3" y="59"/>
                    <a:pt x="3" y="59"/>
                  </a:cubicBezTo>
                  <a:cubicBezTo>
                    <a:pt x="4" y="61"/>
                    <a:pt x="4" y="62"/>
                    <a:pt x="4" y="64"/>
                  </a:cubicBezTo>
                  <a:cubicBezTo>
                    <a:pt x="4" y="64"/>
                    <a:pt x="4" y="64"/>
                    <a:pt x="4" y="64"/>
                  </a:cubicBezTo>
                  <a:cubicBezTo>
                    <a:pt x="4" y="65"/>
                    <a:pt x="4" y="65"/>
                    <a:pt x="4" y="65"/>
                  </a:cubicBezTo>
                  <a:cubicBezTo>
                    <a:pt x="3" y="66"/>
                    <a:pt x="3" y="66"/>
                    <a:pt x="3" y="66"/>
                  </a:cubicBezTo>
                  <a:cubicBezTo>
                    <a:pt x="3" y="67"/>
                    <a:pt x="3" y="67"/>
                    <a:pt x="3" y="67"/>
                  </a:cubicBezTo>
                  <a:cubicBezTo>
                    <a:pt x="3" y="68"/>
                    <a:pt x="3" y="68"/>
                    <a:pt x="2" y="69"/>
                  </a:cubicBezTo>
                  <a:cubicBezTo>
                    <a:pt x="2" y="69"/>
                    <a:pt x="2" y="69"/>
                    <a:pt x="2" y="70"/>
                  </a:cubicBezTo>
                  <a:cubicBezTo>
                    <a:pt x="2" y="70"/>
                    <a:pt x="2" y="71"/>
                    <a:pt x="2" y="71"/>
                  </a:cubicBezTo>
                  <a:cubicBezTo>
                    <a:pt x="2" y="72"/>
                    <a:pt x="2" y="72"/>
                    <a:pt x="2" y="72"/>
                  </a:cubicBezTo>
                  <a:cubicBezTo>
                    <a:pt x="2" y="72"/>
                    <a:pt x="2" y="73"/>
                    <a:pt x="2" y="73"/>
                  </a:cubicBezTo>
                  <a:cubicBezTo>
                    <a:pt x="2" y="75"/>
                    <a:pt x="2" y="75"/>
                    <a:pt x="2" y="75"/>
                  </a:cubicBezTo>
                  <a:cubicBezTo>
                    <a:pt x="2" y="75"/>
                    <a:pt x="1" y="75"/>
                    <a:pt x="1" y="76"/>
                  </a:cubicBezTo>
                  <a:cubicBezTo>
                    <a:pt x="0" y="77"/>
                    <a:pt x="0" y="77"/>
                    <a:pt x="0" y="77"/>
                  </a:cubicBezTo>
                  <a:cubicBezTo>
                    <a:pt x="1" y="78"/>
                    <a:pt x="1" y="78"/>
                    <a:pt x="1" y="78"/>
                  </a:cubicBezTo>
                  <a:cubicBezTo>
                    <a:pt x="4" y="80"/>
                    <a:pt x="6" y="82"/>
                    <a:pt x="8" y="84"/>
                  </a:cubicBezTo>
                  <a:cubicBezTo>
                    <a:pt x="15" y="87"/>
                    <a:pt x="19" y="89"/>
                    <a:pt x="26" y="90"/>
                  </a:cubicBezTo>
                  <a:cubicBezTo>
                    <a:pt x="27" y="90"/>
                    <a:pt x="27" y="90"/>
                    <a:pt x="28" y="90"/>
                  </a:cubicBezTo>
                  <a:cubicBezTo>
                    <a:pt x="29" y="90"/>
                    <a:pt x="30" y="90"/>
                    <a:pt x="31" y="90"/>
                  </a:cubicBezTo>
                  <a:cubicBezTo>
                    <a:pt x="32" y="90"/>
                    <a:pt x="33" y="90"/>
                    <a:pt x="34" y="90"/>
                  </a:cubicBezTo>
                  <a:cubicBezTo>
                    <a:pt x="34" y="90"/>
                    <a:pt x="35" y="90"/>
                    <a:pt x="35" y="90"/>
                  </a:cubicBezTo>
                  <a:cubicBezTo>
                    <a:pt x="38" y="90"/>
                    <a:pt x="41" y="92"/>
                    <a:pt x="44" y="93"/>
                  </a:cubicBezTo>
                  <a:cubicBezTo>
                    <a:pt x="45" y="93"/>
                    <a:pt x="45" y="93"/>
                    <a:pt x="45" y="93"/>
                  </a:cubicBezTo>
                  <a:cubicBezTo>
                    <a:pt x="45" y="93"/>
                    <a:pt x="45" y="93"/>
                    <a:pt x="45" y="93"/>
                  </a:cubicBezTo>
                  <a:cubicBezTo>
                    <a:pt x="47" y="88"/>
                    <a:pt x="47" y="88"/>
                    <a:pt x="48" y="88"/>
                  </a:cubicBezTo>
                  <a:cubicBezTo>
                    <a:pt x="48" y="86"/>
                    <a:pt x="50" y="85"/>
                    <a:pt x="52" y="85"/>
                  </a:cubicBezTo>
                  <a:cubicBezTo>
                    <a:pt x="52" y="84"/>
                    <a:pt x="53" y="84"/>
                    <a:pt x="54" y="84"/>
                  </a:cubicBezTo>
                  <a:cubicBezTo>
                    <a:pt x="54" y="83"/>
                    <a:pt x="56" y="82"/>
                    <a:pt x="57" y="82"/>
                  </a:cubicBezTo>
                  <a:cubicBezTo>
                    <a:pt x="57" y="82"/>
                    <a:pt x="57" y="82"/>
                    <a:pt x="57" y="82"/>
                  </a:cubicBezTo>
                  <a:cubicBezTo>
                    <a:pt x="57" y="81"/>
                    <a:pt x="56" y="80"/>
                    <a:pt x="57" y="79"/>
                  </a:cubicBezTo>
                  <a:cubicBezTo>
                    <a:pt x="57" y="77"/>
                    <a:pt x="59" y="76"/>
                    <a:pt x="62" y="75"/>
                  </a:cubicBezTo>
                  <a:cubicBezTo>
                    <a:pt x="62" y="75"/>
                    <a:pt x="62" y="75"/>
                    <a:pt x="63" y="75"/>
                  </a:cubicBezTo>
                  <a:cubicBezTo>
                    <a:pt x="64" y="75"/>
                    <a:pt x="64" y="75"/>
                    <a:pt x="64" y="75"/>
                  </a:cubicBezTo>
                  <a:cubicBezTo>
                    <a:pt x="65" y="74"/>
                    <a:pt x="65" y="74"/>
                    <a:pt x="65" y="74"/>
                  </a:cubicBezTo>
                  <a:cubicBezTo>
                    <a:pt x="65" y="74"/>
                    <a:pt x="67" y="72"/>
                    <a:pt x="67" y="72"/>
                  </a:cubicBezTo>
                  <a:cubicBezTo>
                    <a:pt x="67" y="72"/>
                    <a:pt x="67" y="72"/>
                    <a:pt x="67" y="72"/>
                  </a:cubicBezTo>
                  <a:cubicBezTo>
                    <a:pt x="66" y="71"/>
                    <a:pt x="66" y="70"/>
                    <a:pt x="66" y="69"/>
                  </a:cubicBezTo>
                  <a:cubicBezTo>
                    <a:pt x="66" y="68"/>
                    <a:pt x="66" y="66"/>
                    <a:pt x="66" y="65"/>
                  </a:cubicBezTo>
                  <a:cubicBezTo>
                    <a:pt x="66" y="65"/>
                    <a:pt x="66" y="65"/>
                    <a:pt x="66" y="65"/>
                  </a:cubicBezTo>
                  <a:cubicBezTo>
                    <a:pt x="66" y="65"/>
                    <a:pt x="66" y="65"/>
                    <a:pt x="66" y="65"/>
                  </a:cubicBezTo>
                  <a:cubicBezTo>
                    <a:pt x="66" y="64"/>
                    <a:pt x="67" y="64"/>
                    <a:pt x="67" y="63"/>
                  </a:cubicBezTo>
                  <a:cubicBezTo>
                    <a:pt x="67" y="61"/>
                    <a:pt x="70" y="60"/>
                    <a:pt x="72" y="59"/>
                  </a:cubicBezTo>
                  <a:cubicBezTo>
                    <a:pt x="73" y="60"/>
                    <a:pt x="73" y="60"/>
                    <a:pt x="73" y="60"/>
                  </a:cubicBezTo>
                  <a:cubicBezTo>
                    <a:pt x="72" y="58"/>
                    <a:pt x="72" y="58"/>
                    <a:pt x="72" y="58"/>
                  </a:cubicBezTo>
                  <a:cubicBezTo>
                    <a:pt x="73" y="58"/>
                    <a:pt x="73" y="58"/>
                    <a:pt x="73" y="58"/>
                  </a:cubicBezTo>
                  <a:cubicBezTo>
                    <a:pt x="74" y="58"/>
                    <a:pt x="75" y="57"/>
                    <a:pt x="75" y="57"/>
                  </a:cubicBezTo>
                  <a:cubicBezTo>
                    <a:pt x="76" y="56"/>
                    <a:pt x="76" y="56"/>
                    <a:pt x="76" y="56"/>
                  </a:cubicBezTo>
                  <a:cubicBezTo>
                    <a:pt x="78" y="55"/>
                    <a:pt x="80" y="53"/>
                    <a:pt x="82" y="51"/>
                  </a:cubicBezTo>
                  <a:cubicBezTo>
                    <a:pt x="82" y="51"/>
                    <a:pt x="83" y="50"/>
                    <a:pt x="84" y="50"/>
                  </a:cubicBezTo>
                  <a:cubicBezTo>
                    <a:pt x="84" y="49"/>
                    <a:pt x="84" y="49"/>
                    <a:pt x="84" y="49"/>
                  </a:cubicBezTo>
                  <a:cubicBezTo>
                    <a:pt x="86" y="48"/>
                    <a:pt x="87" y="47"/>
                    <a:pt x="88" y="46"/>
                  </a:cubicBezTo>
                  <a:cubicBezTo>
                    <a:pt x="86" y="44"/>
                    <a:pt x="84" y="43"/>
                    <a:pt x="82" y="42"/>
                  </a:cubicBezTo>
                  <a:cubicBezTo>
                    <a:pt x="83" y="43"/>
                    <a:pt x="84" y="44"/>
                    <a:pt x="85" y="45"/>
                  </a:cubicBezTo>
                  <a:cubicBezTo>
                    <a:pt x="83" y="45"/>
                    <a:pt x="82" y="46"/>
                    <a:pt x="81" y="46"/>
                  </a:cubicBezTo>
                  <a:cubicBezTo>
                    <a:pt x="80" y="46"/>
                    <a:pt x="79" y="45"/>
                    <a:pt x="77" y="44"/>
                  </a:cubicBezTo>
                  <a:cubicBezTo>
                    <a:pt x="76" y="44"/>
                    <a:pt x="76" y="44"/>
                    <a:pt x="76" y="44"/>
                  </a:cubicBezTo>
                  <a:cubicBezTo>
                    <a:pt x="77" y="45"/>
                    <a:pt x="77" y="45"/>
                    <a:pt x="77" y="45"/>
                  </a:cubicBezTo>
                  <a:cubicBezTo>
                    <a:pt x="75" y="46"/>
                    <a:pt x="75" y="46"/>
                    <a:pt x="75" y="46"/>
                  </a:cubicBezTo>
                  <a:cubicBezTo>
                    <a:pt x="75" y="46"/>
                    <a:pt x="75" y="46"/>
                    <a:pt x="75" y="46"/>
                  </a:cubicBezTo>
                  <a:cubicBezTo>
                    <a:pt x="75" y="46"/>
                    <a:pt x="75" y="46"/>
                    <a:pt x="75" y="46"/>
                  </a:cubicBezTo>
                  <a:cubicBezTo>
                    <a:pt x="73" y="47"/>
                    <a:pt x="73" y="47"/>
                    <a:pt x="73" y="47"/>
                  </a:cubicBezTo>
                  <a:cubicBezTo>
                    <a:pt x="73" y="46"/>
                    <a:pt x="73" y="46"/>
                    <a:pt x="73" y="46"/>
                  </a:cubicBezTo>
                  <a:cubicBezTo>
                    <a:pt x="73" y="46"/>
                    <a:pt x="73" y="46"/>
                    <a:pt x="73" y="46"/>
                  </a:cubicBezTo>
                  <a:cubicBezTo>
                    <a:pt x="72" y="46"/>
                    <a:pt x="72" y="46"/>
                    <a:pt x="72" y="46"/>
                  </a:cubicBezTo>
                  <a:cubicBezTo>
                    <a:pt x="71" y="46"/>
                    <a:pt x="70" y="46"/>
                    <a:pt x="69" y="46"/>
                  </a:cubicBezTo>
                  <a:cubicBezTo>
                    <a:pt x="65" y="46"/>
                    <a:pt x="65" y="46"/>
                    <a:pt x="65" y="46"/>
                  </a:cubicBezTo>
                  <a:cubicBezTo>
                    <a:pt x="65" y="42"/>
                    <a:pt x="65" y="42"/>
                    <a:pt x="65" y="42"/>
                  </a:cubicBezTo>
                  <a:cubicBezTo>
                    <a:pt x="66" y="31"/>
                    <a:pt x="66" y="22"/>
                    <a:pt x="67" y="13"/>
                  </a:cubicBezTo>
                  <a:cubicBezTo>
                    <a:pt x="67" y="12"/>
                    <a:pt x="67" y="12"/>
                    <a:pt x="67" y="12"/>
                  </a:cubicBezTo>
                  <a:cubicBezTo>
                    <a:pt x="67" y="10"/>
                    <a:pt x="67" y="8"/>
                    <a:pt x="67" y="6"/>
                  </a:cubicBezTo>
                  <a:cubicBezTo>
                    <a:pt x="67" y="4"/>
                    <a:pt x="67" y="4"/>
                    <a:pt x="67" y="4"/>
                  </a:cubicBezTo>
                  <a:cubicBezTo>
                    <a:pt x="67" y="3"/>
                    <a:pt x="67" y="2"/>
                    <a:pt x="67" y="0"/>
                  </a:cubicBezTo>
                  <a:cubicBezTo>
                    <a:pt x="37" y="0"/>
                    <a:pt x="37" y="0"/>
                    <a:pt x="37" y="0"/>
                  </a:cubicBezTo>
                  <a:cubicBezTo>
                    <a:pt x="37" y="0"/>
                    <a:pt x="36" y="0"/>
                    <a:pt x="35" y="0"/>
                  </a:cubicBezTo>
                  <a:cubicBezTo>
                    <a:pt x="34" y="0"/>
                    <a:pt x="34" y="0"/>
                    <a:pt x="34" y="0"/>
                  </a:cubicBezTo>
                  <a:cubicBezTo>
                    <a:pt x="32"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271"/>
            <p:cNvSpPr/>
            <p:nvPr/>
          </p:nvSpPr>
          <p:spPr bwMode="auto">
            <a:xfrm>
              <a:off x="7692127" y="1035196"/>
              <a:ext cx="903853" cy="1271046"/>
            </a:xfrm>
            <a:custGeom>
              <a:gdLst>
                <a:gd name="T0" fmla="*/ 135 w 271"/>
                <a:gd name="T1" fmla="*/ 26 h 381"/>
                <a:gd name="T2" fmla="*/ 107 w 271"/>
                <a:gd name="T3" fmla="*/ 40 h 381"/>
                <a:gd name="T4" fmla="*/ 109 w 271"/>
                <a:gd name="T5" fmla="*/ 35 h 381"/>
                <a:gd name="T6" fmla="*/ 97 w 271"/>
                <a:gd name="T7" fmla="*/ 32 h 381"/>
                <a:gd name="T8" fmla="*/ 81 w 271"/>
                <a:gd name="T9" fmla="*/ 52 h 381"/>
                <a:gd name="T10" fmla="*/ 70 w 271"/>
                <a:gd name="T11" fmla="*/ 73 h 381"/>
                <a:gd name="T12" fmla="*/ 53 w 271"/>
                <a:gd name="T13" fmla="*/ 106 h 381"/>
                <a:gd name="T14" fmla="*/ 46 w 271"/>
                <a:gd name="T15" fmla="*/ 104 h 381"/>
                <a:gd name="T16" fmla="*/ 33 w 271"/>
                <a:gd name="T17" fmla="*/ 118 h 381"/>
                <a:gd name="T18" fmla="*/ 39 w 271"/>
                <a:gd name="T19" fmla="*/ 137 h 381"/>
                <a:gd name="T20" fmla="*/ 40 w 271"/>
                <a:gd name="T21" fmla="*/ 180 h 381"/>
                <a:gd name="T22" fmla="*/ 46 w 271"/>
                <a:gd name="T23" fmla="*/ 199 h 381"/>
                <a:gd name="T24" fmla="*/ 8 w 271"/>
                <a:gd name="T25" fmla="*/ 240 h 381"/>
                <a:gd name="T26" fmla="*/ 5 w 271"/>
                <a:gd name="T27" fmla="*/ 254 h 381"/>
                <a:gd name="T28" fmla="*/ 40 w 271"/>
                <a:gd name="T29" fmla="*/ 278 h 381"/>
                <a:gd name="T30" fmla="*/ 56 w 271"/>
                <a:gd name="T31" fmla="*/ 281 h 381"/>
                <a:gd name="T32" fmla="*/ 74 w 271"/>
                <a:gd name="T33" fmla="*/ 282 h 381"/>
                <a:gd name="T34" fmla="*/ 90 w 271"/>
                <a:gd name="T35" fmla="*/ 289 h 381"/>
                <a:gd name="T36" fmla="*/ 95 w 271"/>
                <a:gd name="T37" fmla="*/ 290 h 381"/>
                <a:gd name="T38" fmla="*/ 99 w 271"/>
                <a:gd name="T39" fmla="*/ 292 h 381"/>
                <a:gd name="T40" fmla="*/ 111 w 271"/>
                <a:gd name="T41" fmla="*/ 304 h 381"/>
                <a:gd name="T42" fmla="*/ 117 w 271"/>
                <a:gd name="T43" fmla="*/ 313 h 381"/>
                <a:gd name="T44" fmla="*/ 132 w 271"/>
                <a:gd name="T45" fmla="*/ 326 h 381"/>
                <a:gd name="T46" fmla="*/ 132 w 271"/>
                <a:gd name="T47" fmla="*/ 330 h 381"/>
                <a:gd name="T48" fmla="*/ 141 w 271"/>
                <a:gd name="T49" fmla="*/ 334 h 381"/>
                <a:gd name="T50" fmla="*/ 142 w 271"/>
                <a:gd name="T51" fmla="*/ 340 h 381"/>
                <a:gd name="T52" fmla="*/ 155 w 271"/>
                <a:gd name="T53" fmla="*/ 344 h 381"/>
                <a:gd name="T54" fmla="*/ 160 w 271"/>
                <a:gd name="T55" fmla="*/ 344 h 381"/>
                <a:gd name="T56" fmla="*/ 163 w 271"/>
                <a:gd name="T57" fmla="*/ 343 h 381"/>
                <a:gd name="T58" fmla="*/ 173 w 271"/>
                <a:gd name="T59" fmla="*/ 341 h 381"/>
                <a:gd name="T60" fmla="*/ 181 w 271"/>
                <a:gd name="T61" fmla="*/ 342 h 381"/>
                <a:gd name="T62" fmla="*/ 189 w 271"/>
                <a:gd name="T63" fmla="*/ 340 h 381"/>
                <a:gd name="T64" fmla="*/ 209 w 271"/>
                <a:gd name="T65" fmla="*/ 350 h 381"/>
                <a:gd name="T66" fmla="*/ 198 w 271"/>
                <a:gd name="T67" fmla="*/ 376 h 381"/>
                <a:gd name="T68" fmla="*/ 207 w 271"/>
                <a:gd name="T69" fmla="*/ 379 h 381"/>
                <a:gd name="T70" fmla="*/ 212 w 271"/>
                <a:gd name="T71" fmla="*/ 365 h 381"/>
                <a:gd name="T72" fmla="*/ 215 w 271"/>
                <a:gd name="T73" fmla="*/ 350 h 381"/>
                <a:gd name="T74" fmla="*/ 217 w 271"/>
                <a:gd name="T75" fmla="*/ 339 h 381"/>
                <a:gd name="T76" fmla="*/ 216 w 271"/>
                <a:gd name="T77" fmla="*/ 303 h 381"/>
                <a:gd name="T78" fmla="*/ 215 w 271"/>
                <a:gd name="T79" fmla="*/ 271 h 381"/>
                <a:gd name="T80" fmla="*/ 225 w 271"/>
                <a:gd name="T81" fmla="*/ 268 h 381"/>
                <a:gd name="T82" fmla="*/ 210 w 271"/>
                <a:gd name="T83" fmla="*/ 265 h 381"/>
                <a:gd name="T84" fmla="*/ 242 w 271"/>
                <a:gd name="T85" fmla="*/ 247 h 381"/>
                <a:gd name="T86" fmla="*/ 259 w 271"/>
                <a:gd name="T87" fmla="*/ 245 h 381"/>
                <a:gd name="T88" fmla="*/ 265 w 271"/>
                <a:gd name="T89" fmla="*/ 229 h 381"/>
                <a:gd name="T90" fmla="*/ 259 w 271"/>
                <a:gd name="T91" fmla="*/ 220 h 381"/>
                <a:gd name="T92" fmla="*/ 266 w 271"/>
                <a:gd name="T93" fmla="*/ 214 h 381"/>
                <a:gd name="T94" fmla="*/ 263 w 271"/>
                <a:gd name="T95" fmla="*/ 205 h 381"/>
                <a:gd name="T96" fmla="*/ 251 w 271"/>
                <a:gd name="T97" fmla="*/ 186 h 381"/>
                <a:gd name="T98" fmla="*/ 257 w 271"/>
                <a:gd name="T99" fmla="*/ 167 h 381"/>
                <a:gd name="T100" fmla="*/ 266 w 271"/>
                <a:gd name="T101" fmla="*/ 149 h 381"/>
                <a:gd name="T102" fmla="*/ 234 w 271"/>
                <a:gd name="T103" fmla="*/ 150 h 381"/>
                <a:gd name="T104" fmla="*/ 211 w 271"/>
                <a:gd name="T105" fmla="*/ 138 h 381"/>
                <a:gd name="T106" fmla="*/ 185 w 271"/>
                <a:gd name="T107" fmla="*/ 130 h 381"/>
                <a:gd name="T108" fmla="*/ 165 w 271"/>
                <a:gd name="T109" fmla="*/ 130 h 381"/>
                <a:gd name="T110" fmla="*/ 154 w 271"/>
                <a:gd name="T111" fmla="*/ 121 h 381"/>
                <a:gd name="T112" fmla="*/ 146 w 271"/>
                <a:gd name="T113" fmla="*/ 86 h 381"/>
                <a:gd name="T114" fmla="*/ 133 w 271"/>
                <a:gd name="T115" fmla="*/ 80 h 381"/>
                <a:gd name="T116" fmla="*/ 132 w 271"/>
                <a:gd name="T117" fmla="*/ 71 h 381"/>
                <a:gd name="T118" fmla="*/ 143 w 271"/>
                <a:gd name="T119" fmla="*/ 40 h 381"/>
                <a:gd name="T120" fmla="*/ 156 w 271"/>
                <a:gd name="T121" fmla="*/ 27 h 381"/>
                <a:gd name="T122" fmla="*/ 174 w 271"/>
                <a:gd name="T123" fmla="*/ 13 h 381"/>
                <a:gd name="T124" fmla="*/ 180 w 271"/>
                <a:gd name="T125" fmla="*/ 2 h 3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 h="381">
                  <a:moveTo>
                    <a:pt x="172" y="0"/>
                  </a:moveTo>
                  <a:cubicBezTo>
                    <a:pt x="172" y="0"/>
                    <a:pt x="172" y="0"/>
                    <a:pt x="172" y="0"/>
                  </a:cubicBezTo>
                  <a:cubicBezTo>
                    <a:pt x="169" y="0"/>
                    <a:pt x="164" y="3"/>
                    <a:pt x="161" y="5"/>
                  </a:cubicBezTo>
                  <a:cubicBezTo>
                    <a:pt x="158" y="6"/>
                    <a:pt x="157" y="11"/>
                    <a:pt x="155" y="14"/>
                  </a:cubicBezTo>
                  <a:cubicBezTo>
                    <a:pt x="151" y="16"/>
                    <a:pt x="147" y="18"/>
                    <a:pt x="143" y="20"/>
                  </a:cubicBezTo>
                  <a:cubicBezTo>
                    <a:pt x="140" y="22"/>
                    <a:pt x="138" y="25"/>
                    <a:pt x="135" y="26"/>
                  </a:cubicBezTo>
                  <a:cubicBezTo>
                    <a:pt x="133" y="27"/>
                    <a:pt x="129" y="28"/>
                    <a:pt x="126" y="28"/>
                  </a:cubicBezTo>
                  <a:cubicBezTo>
                    <a:pt x="124" y="28"/>
                    <a:pt x="121" y="27"/>
                    <a:pt x="119" y="27"/>
                  </a:cubicBezTo>
                  <a:cubicBezTo>
                    <a:pt x="117" y="26"/>
                    <a:pt x="117" y="26"/>
                    <a:pt x="116" y="26"/>
                  </a:cubicBezTo>
                  <a:cubicBezTo>
                    <a:pt x="116" y="26"/>
                    <a:pt x="115" y="26"/>
                    <a:pt x="114" y="26"/>
                  </a:cubicBezTo>
                  <a:cubicBezTo>
                    <a:pt x="113" y="28"/>
                    <a:pt x="111" y="33"/>
                    <a:pt x="110" y="36"/>
                  </a:cubicBezTo>
                  <a:cubicBezTo>
                    <a:pt x="109" y="38"/>
                    <a:pt x="108" y="40"/>
                    <a:pt x="107" y="40"/>
                  </a:cubicBezTo>
                  <a:cubicBezTo>
                    <a:pt x="106" y="40"/>
                    <a:pt x="105" y="39"/>
                    <a:pt x="104" y="38"/>
                  </a:cubicBezTo>
                  <a:cubicBezTo>
                    <a:pt x="103" y="39"/>
                    <a:pt x="103" y="39"/>
                    <a:pt x="103" y="39"/>
                  </a:cubicBezTo>
                  <a:cubicBezTo>
                    <a:pt x="104" y="38"/>
                    <a:pt x="105" y="36"/>
                    <a:pt x="106" y="35"/>
                  </a:cubicBezTo>
                  <a:cubicBezTo>
                    <a:pt x="106" y="35"/>
                    <a:pt x="106" y="34"/>
                    <a:pt x="107" y="34"/>
                  </a:cubicBezTo>
                  <a:cubicBezTo>
                    <a:pt x="107" y="34"/>
                    <a:pt x="107" y="35"/>
                    <a:pt x="108" y="35"/>
                  </a:cubicBezTo>
                  <a:cubicBezTo>
                    <a:pt x="108" y="35"/>
                    <a:pt x="108" y="35"/>
                    <a:pt x="109" y="35"/>
                  </a:cubicBezTo>
                  <a:cubicBezTo>
                    <a:pt x="109" y="35"/>
                    <a:pt x="109" y="35"/>
                    <a:pt x="109" y="35"/>
                  </a:cubicBezTo>
                  <a:cubicBezTo>
                    <a:pt x="110" y="35"/>
                    <a:pt x="110" y="34"/>
                    <a:pt x="110" y="34"/>
                  </a:cubicBezTo>
                  <a:cubicBezTo>
                    <a:pt x="109" y="34"/>
                    <a:pt x="108" y="34"/>
                    <a:pt x="107" y="34"/>
                  </a:cubicBezTo>
                  <a:cubicBezTo>
                    <a:pt x="106" y="34"/>
                    <a:pt x="105" y="34"/>
                    <a:pt x="104" y="34"/>
                  </a:cubicBezTo>
                  <a:cubicBezTo>
                    <a:pt x="103" y="33"/>
                    <a:pt x="99" y="31"/>
                    <a:pt x="98" y="31"/>
                  </a:cubicBezTo>
                  <a:cubicBezTo>
                    <a:pt x="97" y="31"/>
                    <a:pt x="97" y="31"/>
                    <a:pt x="97" y="32"/>
                  </a:cubicBezTo>
                  <a:cubicBezTo>
                    <a:pt x="95" y="33"/>
                    <a:pt x="94" y="36"/>
                    <a:pt x="92" y="37"/>
                  </a:cubicBezTo>
                  <a:cubicBezTo>
                    <a:pt x="91" y="37"/>
                    <a:pt x="89" y="38"/>
                    <a:pt x="89" y="39"/>
                  </a:cubicBezTo>
                  <a:cubicBezTo>
                    <a:pt x="88" y="40"/>
                    <a:pt x="88" y="41"/>
                    <a:pt x="88" y="41"/>
                  </a:cubicBezTo>
                  <a:cubicBezTo>
                    <a:pt x="87" y="42"/>
                    <a:pt x="83" y="42"/>
                    <a:pt x="82" y="44"/>
                  </a:cubicBezTo>
                  <a:cubicBezTo>
                    <a:pt x="80" y="47"/>
                    <a:pt x="80" y="51"/>
                    <a:pt x="77" y="54"/>
                  </a:cubicBezTo>
                  <a:cubicBezTo>
                    <a:pt x="79" y="53"/>
                    <a:pt x="80" y="52"/>
                    <a:pt x="81" y="52"/>
                  </a:cubicBezTo>
                  <a:cubicBezTo>
                    <a:pt x="81" y="55"/>
                    <a:pt x="79" y="60"/>
                    <a:pt x="78" y="63"/>
                  </a:cubicBezTo>
                  <a:cubicBezTo>
                    <a:pt x="77" y="66"/>
                    <a:pt x="80" y="65"/>
                    <a:pt x="80" y="67"/>
                  </a:cubicBezTo>
                  <a:cubicBezTo>
                    <a:pt x="79" y="68"/>
                    <a:pt x="79" y="71"/>
                    <a:pt x="77" y="71"/>
                  </a:cubicBezTo>
                  <a:cubicBezTo>
                    <a:pt x="76" y="71"/>
                    <a:pt x="76" y="71"/>
                    <a:pt x="76" y="71"/>
                  </a:cubicBezTo>
                  <a:cubicBezTo>
                    <a:pt x="76" y="71"/>
                    <a:pt x="75" y="71"/>
                    <a:pt x="75" y="71"/>
                  </a:cubicBezTo>
                  <a:cubicBezTo>
                    <a:pt x="73" y="71"/>
                    <a:pt x="72" y="72"/>
                    <a:pt x="70" y="73"/>
                  </a:cubicBezTo>
                  <a:cubicBezTo>
                    <a:pt x="67" y="74"/>
                    <a:pt x="66" y="79"/>
                    <a:pt x="64" y="82"/>
                  </a:cubicBezTo>
                  <a:cubicBezTo>
                    <a:pt x="62" y="85"/>
                    <a:pt x="55" y="88"/>
                    <a:pt x="52" y="89"/>
                  </a:cubicBezTo>
                  <a:cubicBezTo>
                    <a:pt x="52" y="89"/>
                    <a:pt x="51" y="89"/>
                    <a:pt x="50" y="90"/>
                  </a:cubicBezTo>
                  <a:cubicBezTo>
                    <a:pt x="47" y="92"/>
                    <a:pt x="50" y="94"/>
                    <a:pt x="52" y="97"/>
                  </a:cubicBezTo>
                  <a:cubicBezTo>
                    <a:pt x="53" y="98"/>
                    <a:pt x="54" y="102"/>
                    <a:pt x="54" y="103"/>
                  </a:cubicBezTo>
                  <a:cubicBezTo>
                    <a:pt x="54" y="104"/>
                    <a:pt x="54" y="106"/>
                    <a:pt x="53" y="106"/>
                  </a:cubicBezTo>
                  <a:cubicBezTo>
                    <a:pt x="53" y="106"/>
                    <a:pt x="53" y="106"/>
                    <a:pt x="52" y="106"/>
                  </a:cubicBezTo>
                  <a:cubicBezTo>
                    <a:pt x="51" y="106"/>
                    <a:pt x="51" y="105"/>
                    <a:pt x="51" y="104"/>
                  </a:cubicBezTo>
                  <a:cubicBezTo>
                    <a:pt x="48" y="99"/>
                    <a:pt x="44" y="95"/>
                    <a:pt x="41" y="91"/>
                  </a:cubicBezTo>
                  <a:cubicBezTo>
                    <a:pt x="40" y="91"/>
                    <a:pt x="40" y="92"/>
                    <a:pt x="40" y="92"/>
                  </a:cubicBezTo>
                  <a:cubicBezTo>
                    <a:pt x="41" y="93"/>
                    <a:pt x="42" y="95"/>
                    <a:pt x="42" y="97"/>
                  </a:cubicBezTo>
                  <a:cubicBezTo>
                    <a:pt x="43" y="99"/>
                    <a:pt x="45" y="101"/>
                    <a:pt x="46" y="104"/>
                  </a:cubicBezTo>
                  <a:cubicBezTo>
                    <a:pt x="48" y="107"/>
                    <a:pt x="48" y="107"/>
                    <a:pt x="48" y="107"/>
                  </a:cubicBezTo>
                  <a:cubicBezTo>
                    <a:pt x="45" y="108"/>
                    <a:pt x="45" y="108"/>
                    <a:pt x="45" y="108"/>
                  </a:cubicBezTo>
                  <a:cubicBezTo>
                    <a:pt x="43" y="110"/>
                    <a:pt x="41" y="112"/>
                    <a:pt x="39" y="113"/>
                  </a:cubicBezTo>
                  <a:cubicBezTo>
                    <a:pt x="37" y="116"/>
                    <a:pt x="36" y="118"/>
                    <a:pt x="35" y="118"/>
                  </a:cubicBezTo>
                  <a:cubicBezTo>
                    <a:pt x="34" y="118"/>
                    <a:pt x="34" y="118"/>
                    <a:pt x="34" y="118"/>
                  </a:cubicBezTo>
                  <a:cubicBezTo>
                    <a:pt x="33" y="118"/>
                    <a:pt x="33" y="118"/>
                    <a:pt x="33" y="118"/>
                  </a:cubicBezTo>
                  <a:cubicBezTo>
                    <a:pt x="32" y="119"/>
                    <a:pt x="31" y="120"/>
                    <a:pt x="31" y="121"/>
                  </a:cubicBezTo>
                  <a:cubicBezTo>
                    <a:pt x="30" y="122"/>
                    <a:pt x="30" y="122"/>
                    <a:pt x="30" y="122"/>
                  </a:cubicBezTo>
                  <a:cubicBezTo>
                    <a:pt x="30" y="125"/>
                    <a:pt x="30" y="125"/>
                    <a:pt x="30" y="125"/>
                  </a:cubicBezTo>
                  <a:cubicBezTo>
                    <a:pt x="29" y="125"/>
                    <a:pt x="29" y="125"/>
                    <a:pt x="29" y="125"/>
                  </a:cubicBezTo>
                  <a:cubicBezTo>
                    <a:pt x="31" y="128"/>
                    <a:pt x="33" y="130"/>
                    <a:pt x="35" y="133"/>
                  </a:cubicBezTo>
                  <a:cubicBezTo>
                    <a:pt x="36" y="134"/>
                    <a:pt x="39" y="136"/>
                    <a:pt x="39" y="137"/>
                  </a:cubicBezTo>
                  <a:cubicBezTo>
                    <a:pt x="40" y="140"/>
                    <a:pt x="36" y="143"/>
                    <a:pt x="36" y="145"/>
                  </a:cubicBezTo>
                  <a:cubicBezTo>
                    <a:pt x="37" y="148"/>
                    <a:pt x="39" y="151"/>
                    <a:pt x="40" y="154"/>
                  </a:cubicBezTo>
                  <a:cubicBezTo>
                    <a:pt x="41" y="154"/>
                    <a:pt x="42" y="155"/>
                    <a:pt x="42" y="156"/>
                  </a:cubicBezTo>
                  <a:cubicBezTo>
                    <a:pt x="42" y="159"/>
                    <a:pt x="35" y="160"/>
                    <a:pt x="36" y="162"/>
                  </a:cubicBezTo>
                  <a:cubicBezTo>
                    <a:pt x="37" y="164"/>
                    <a:pt x="39" y="167"/>
                    <a:pt x="39" y="169"/>
                  </a:cubicBezTo>
                  <a:cubicBezTo>
                    <a:pt x="40" y="173"/>
                    <a:pt x="40" y="177"/>
                    <a:pt x="40" y="180"/>
                  </a:cubicBezTo>
                  <a:cubicBezTo>
                    <a:pt x="40" y="183"/>
                    <a:pt x="40" y="185"/>
                    <a:pt x="39" y="188"/>
                  </a:cubicBezTo>
                  <a:cubicBezTo>
                    <a:pt x="38" y="190"/>
                    <a:pt x="40" y="191"/>
                    <a:pt x="42" y="192"/>
                  </a:cubicBezTo>
                  <a:cubicBezTo>
                    <a:pt x="39" y="195"/>
                    <a:pt x="35" y="194"/>
                    <a:pt x="40" y="198"/>
                  </a:cubicBezTo>
                  <a:cubicBezTo>
                    <a:pt x="40" y="196"/>
                    <a:pt x="41" y="196"/>
                    <a:pt x="42" y="195"/>
                  </a:cubicBezTo>
                  <a:cubicBezTo>
                    <a:pt x="44" y="196"/>
                    <a:pt x="43" y="199"/>
                    <a:pt x="43" y="201"/>
                  </a:cubicBezTo>
                  <a:cubicBezTo>
                    <a:pt x="44" y="200"/>
                    <a:pt x="45" y="199"/>
                    <a:pt x="46" y="199"/>
                  </a:cubicBezTo>
                  <a:cubicBezTo>
                    <a:pt x="46" y="199"/>
                    <a:pt x="46" y="199"/>
                    <a:pt x="47" y="199"/>
                  </a:cubicBezTo>
                  <a:cubicBezTo>
                    <a:pt x="43" y="205"/>
                    <a:pt x="39" y="217"/>
                    <a:pt x="31" y="219"/>
                  </a:cubicBezTo>
                  <a:cubicBezTo>
                    <a:pt x="32" y="223"/>
                    <a:pt x="33" y="223"/>
                    <a:pt x="30" y="226"/>
                  </a:cubicBezTo>
                  <a:cubicBezTo>
                    <a:pt x="29" y="228"/>
                    <a:pt x="27" y="230"/>
                    <a:pt x="25" y="231"/>
                  </a:cubicBezTo>
                  <a:cubicBezTo>
                    <a:pt x="20" y="233"/>
                    <a:pt x="15" y="231"/>
                    <a:pt x="11" y="235"/>
                  </a:cubicBezTo>
                  <a:cubicBezTo>
                    <a:pt x="10" y="236"/>
                    <a:pt x="8" y="238"/>
                    <a:pt x="8" y="240"/>
                  </a:cubicBezTo>
                  <a:cubicBezTo>
                    <a:pt x="8" y="242"/>
                    <a:pt x="11" y="244"/>
                    <a:pt x="12" y="246"/>
                  </a:cubicBezTo>
                  <a:cubicBezTo>
                    <a:pt x="12" y="250"/>
                    <a:pt x="3" y="251"/>
                    <a:pt x="0" y="252"/>
                  </a:cubicBezTo>
                  <a:cubicBezTo>
                    <a:pt x="1" y="254"/>
                    <a:pt x="1" y="253"/>
                    <a:pt x="2" y="253"/>
                  </a:cubicBezTo>
                  <a:cubicBezTo>
                    <a:pt x="3" y="254"/>
                    <a:pt x="3" y="254"/>
                    <a:pt x="3" y="254"/>
                  </a:cubicBezTo>
                  <a:cubicBezTo>
                    <a:pt x="3" y="254"/>
                    <a:pt x="3" y="254"/>
                    <a:pt x="3" y="254"/>
                  </a:cubicBezTo>
                  <a:cubicBezTo>
                    <a:pt x="5" y="254"/>
                    <a:pt x="5" y="254"/>
                    <a:pt x="5" y="254"/>
                  </a:cubicBezTo>
                  <a:cubicBezTo>
                    <a:pt x="6" y="254"/>
                    <a:pt x="7" y="254"/>
                    <a:pt x="7" y="255"/>
                  </a:cubicBezTo>
                  <a:cubicBezTo>
                    <a:pt x="14" y="260"/>
                    <a:pt x="20" y="264"/>
                    <a:pt x="28" y="267"/>
                  </a:cubicBezTo>
                  <a:cubicBezTo>
                    <a:pt x="28" y="267"/>
                    <a:pt x="29" y="268"/>
                    <a:pt x="30" y="268"/>
                  </a:cubicBezTo>
                  <a:cubicBezTo>
                    <a:pt x="33" y="269"/>
                    <a:pt x="36" y="270"/>
                    <a:pt x="38" y="274"/>
                  </a:cubicBezTo>
                  <a:cubicBezTo>
                    <a:pt x="39" y="275"/>
                    <a:pt x="39" y="276"/>
                    <a:pt x="39" y="277"/>
                  </a:cubicBezTo>
                  <a:cubicBezTo>
                    <a:pt x="40" y="277"/>
                    <a:pt x="40" y="278"/>
                    <a:pt x="40" y="278"/>
                  </a:cubicBezTo>
                  <a:cubicBezTo>
                    <a:pt x="41" y="279"/>
                    <a:pt x="41" y="279"/>
                    <a:pt x="41" y="279"/>
                  </a:cubicBezTo>
                  <a:cubicBezTo>
                    <a:pt x="41" y="279"/>
                    <a:pt x="41" y="279"/>
                    <a:pt x="41" y="279"/>
                  </a:cubicBezTo>
                  <a:cubicBezTo>
                    <a:pt x="43" y="279"/>
                    <a:pt x="44" y="279"/>
                    <a:pt x="45" y="279"/>
                  </a:cubicBezTo>
                  <a:cubicBezTo>
                    <a:pt x="45" y="279"/>
                    <a:pt x="46" y="279"/>
                    <a:pt x="46" y="279"/>
                  </a:cubicBezTo>
                  <a:cubicBezTo>
                    <a:pt x="47" y="279"/>
                    <a:pt x="48" y="280"/>
                    <a:pt x="49" y="280"/>
                  </a:cubicBezTo>
                  <a:cubicBezTo>
                    <a:pt x="52" y="280"/>
                    <a:pt x="54" y="281"/>
                    <a:pt x="56" y="281"/>
                  </a:cubicBezTo>
                  <a:cubicBezTo>
                    <a:pt x="57" y="281"/>
                    <a:pt x="58" y="280"/>
                    <a:pt x="60" y="280"/>
                  </a:cubicBezTo>
                  <a:cubicBezTo>
                    <a:pt x="61" y="280"/>
                    <a:pt x="61" y="280"/>
                    <a:pt x="61" y="280"/>
                  </a:cubicBezTo>
                  <a:cubicBezTo>
                    <a:pt x="62" y="279"/>
                    <a:pt x="64" y="279"/>
                    <a:pt x="66" y="279"/>
                  </a:cubicBezTo>
                  <a:cubicBezTo>
                    <a:pt x="67" y="279"/>
                    <a:pt x="68" y="279"/>
                    <a:pt x="70" y="280"/>
                  </a:cubicBezTo>
                  <a:cubicBezTo>
                    <a:pt x="71" y="280"/>
                    <a:pt x="72" y="281"/>
                    <a:pt x="73" y="282"/>
                  </a:cubicBezTo>
                  <a:cubicBezTo>
                    <a:pt x="74" y="282"/>
                    <a:pt x="74" y="282"/>
                    <a:pt x="74" y="282"/>
                  </a:cubicBezTo>
                  <a:cubicBezTo>
                    <a:pt x="74" y="282"/>
                    <a:pt x="75" y="283"/>
                    <a:pt x="76" y="283"/>
                  </a:cubicBezTo>
                  <a:cubicBezTo>
                    <a:pt x="81" y="286"/>
                    <a:pt x="81" y="286"/>
                    <a:pt x="81" y="286"/>
                  </a:cubicBezTo>
                  <a:cubicBezTo>
                    <a:pt x="82" y="287"/>
                    <a:pt x="83" y="287"/>
                    <a:pt x="83" y="288"/>
                  </a:cubicBezTo>
                  <a:cubicBezTo>
                    <a:pt x="85" y="289"/>
                    <a:pt x="85" y="289"/>
                    <a:pt x="85" y="289"/>
                  </a:cubicBezTo>
                  <a:cubicBezTo>
                    <a:pt x="86" y="289"/>
                    <a:pt x="87" y="289"/>
                    <a:pt x="87" y="290"/>
                  </a:cubicBezTo>
                  <a:cubicBezTo>
                    <a:pt x="88" y="290"/>
                    <a:pt x="89" y="289"/>
                    <a:pt x="90" y="289"/>
                  </a:cubicBezTo>
                  <a:cubicBezTo>
                    <a:pt x="90" y="289"/>
                    <a:pt x="90" y="289"/>
                    <a:pt x="90" y="289"/>
                  </a:cubicBezTo>
                  <a:cubicBezTo>
                    <a:pt x="91" y="289"/>
                    <a:pt x="91" y="289"/>
                    <a:pt x="91" y="289"/>
                  </a:cubicBezTo>
                  <a:cubicBezTo>
                    <a:pt x="91" y="289"/>
                    <a:pt x="91" y="289"/>
                    <a:pt x="91" y="289"/>
                  </a:cubicBezTo>
                  <a:cubicBezTo>
                    <a:pt x="91" y="289"/>
                    <a:pt x="92" y="289"/>
                    <a:pt x="93" y="290"/>
                  </a:cubicBezTo>
                  <a:cubicBezTo>
                    <a:pt x="93" y="290"/>
                    <a:pt x="94" y="290"/>
                    <a:pt x="94" y="290"/>
                  </a:cubicBezTo>
                  <a:cubicBezTo>
                    <a:pt x="95" y="290"/>
                    <a:pt x="95" y="290"/>
                    <a:pt x="95" y="290"/>
                  </a:cubicBezTo>
                  <a:cubicBezTo>
                    <a:pt x="96" y="291"/>
                    <a:pt x="96" y="291"/>
                    <a:pt x="96" y="291"/>
                  </a:cubicBezTo>
                  <a:cubicBezTo>
                    <a:pt x="98" y="287"/>
                    <a:pt x="98" y="287"/>
                    <a:pt x="98" y="287"/>
                  </a:cubicBezTo>
                  <a:cubicBezTo>
                    <a:pt x="97" y="291"/>
                    <a:pt x="97" y="291"/>
                    <a:pt x="97" y="291"/>
                  </a:cubicBezTo>
                  <a:cubicBezTo>
                    <a:pt x="98" y="292"/>
                    <a:pt x="98" y="292"/>
                    <a:pt x="98" y="292"/>
                  </a:cubicBezTo>
                  <a:cubicBezTo>
                    <a:pt x="99" y="292"/>
                    <a:pt x="99" y="292"/>
                    <a:pt x="99" y="292"/>
                  </a:cubicBezTo>
                  <a:cubicBezTo>
                    <a:pt x="99" y="292"/>
                    <a:pt x="99" y="292"/>
                    <a:pt x="99" y="292"/>
                  </a:cubicBezTo>
                  <a:cubicBezTo>
                    <a:pt x="100" y="292"/>
                    <a:pt x="100" y="292"/>
                    <a:pt x="100" y="292"/>
                  </a:cubicBezTo>
                  <a:cubicBezTo>
                    <a:pt x="100" y="293"/>
                    <a:pt x="101" y="293"/>
                    <a:pt x="102" y="294"/>
                  </a:cubicBezTo>
                  <a:cubicBezTo>
                    <a:pt x="104" y="291"/>
                    <a:pt x="104" y="291"/>
                    <a:pt x="104" y="291"/>
                  </a:cubicBezTo>
                  <a:cubicBezTo>
                    <a:pt x="103" y="295"/>
                    <a:pt x="103" y="295"/>
                    <a:pt x="103" y="295"/>
                  </a:cubicBezTo>
                  <a:cubicBezTo>
                    <a:pt x="104" y="295"/>
                    <a:pt x="104" y="295"/>
                    <a:pt x="104" y="295"/>
                  </a:cubicBezTo>
                  <a:cubicBezTo>
                    <a:pt x="107" y="298"/>
                    <a:pt x="110" y="301"/>
                    <a:pt x="111" y="304"/>
                  </a:cubicBezTo>
                  <a:cubicBezTo>
                    <a:pt x="111" y="304"/>
                    <a:pt x="111" y="304"/>
                    <a:pt x="111" y="304"/>
                  </a:cubicBezTo>
                  <a:cubicBezTo>
                    <a:pt x="112" y="305"/>
                    <a:pt x="112" y="306"/>
                    <a:pt x="112" y="307"/>
                  </a:cubicBezTo>
                  <a:cubicBezTo>
                    <a:pt x="112" y="308"/>
                    <a:pt x="113" y="311"/>
                    <a:pt x="114" y="312"/>
                  </a:cubicBezTo>
                  <a:cubicBezTo>
                    <a:pt x="114" y="312"/>
                    <a:pt x="114" y="312"/>
                    <a:pt x="114" y="312"/>
                  </a:cubicBezTo>
                  <a:cubicBezTo>
                    <a:pt x="115" y="312"/>
                    <a:pt x="116" y="312"/>
                    <a:pt x="117" y="313"/>
                  </a:cubicBezTo>
                  <a:cubicBezTo>
                    <a:pt x="117" y="313"/>
                    <a:pt x="117" y="313"/>
                    <a:pt x="117" y="313"/>
                  </a:cubicBezTo>
                  <a:cubicBezTo>
                    <a:pt x="118" y="313"/>
                    <a:pt x="119" y="314"/>
                    <a:pt x="120" y="315"/>
                  </a:cubicBezTo>
                  <a:cubicBezTo>
                    <a:pt x="121" y="316"/>
                    <a:pt x="121" y="316"/>
                    <a:pt x="122" y="316"/>
                  </a:cubicBezTo>
                  <a:cubicBezTo>
                    <a:pt x="122" y="317"/>
                    <a:pt x="123" y="317"/>
                    <a:pt x="124" y="318"/>
                  </a:cubicBezTo>
                  <a:cubicBezTo>
                    <a:pt x="126" y="318"/>
                    <a:pt x="127" y="319"/>
                    <a:pt x="129" y="320"/>
                  </a:cubicBezTo>
                  <a:cubicBezTo>
                    <a:pt x="130" y="321"/>
                    <a:pt x="131" y="323"/>
                    <a:pt x="132" y="324"/>
                  </a:cubicBezTo>
                  <a:cubicBezTo>
                    <a:pt x="132" y="325"/>
                    <a:pt x="132" y="325"/>
                    <a:pt x="132" y="326"/>
                  </a:cubicBezTo>
                  <a:cubicBezTo>
                    <a:pt x="132" y="327"/>
                    <a:pt x="132" y="328"/>
                    <a:pt x="132" y="329"/>
                  </a:cubicBezTo>
                  <a:cubicBezTo>
                    <a:pt x="132" y="329"/>
                    <a:pt x="132" y="329"/>
                    <a:pt x="132" y="329"/>
                  </a:cubicBezTo>
                  <a:cubicBezTo>
                    <a:pt x="132" y="329"/>
                    <a:pt x="132" y="329"/>
                    <a:pt x="132" y="329"/>
                  </a:cubicBezTo>
                  <a:cubicBezTo>
                    <a:pt x="132" y="330"/>
                    <a:pt x="132" y="330"/>
                    <a:pt x="132" y="330"/>
                  </a:cubicBezTo>
                  <a:cubicBezTo>
                    <a:pt x="132" y="330"/>
                    <a:pt x="132" y="330"/>
                    <a:pt x="132" y="330"/>
                  </a:cubicBezTo>
                  <a:cubicBezTo>
                    <a:pt x="132" y="330"/>
                    <a:pt x="132" y="330"/>
                    <a:pt x="132" y="330"/>
                  </a:cubicBezTo>
                  <a:cubicBezTo>
                    <a:pt x="133" y="330"/>
                    <a:pt x="133" y="330"/>
                    <a:pt x="134" y="330"/>
                  </a:cubicBezTo>
                  <a:cubicBezTo>
                    <a:pt x="134" y="330"/>
                    <a:pt x="134" y="330"/>
                    <a:pt x="135" y="330"/>
                  </a:cubicBezTo>
                  <a:cubicBezTo>
                    <a:pt x="136" y="330"/>
                    <a:pt x="137" y="330"/>
                    <a:pt x="139" y="331"/>
                  </a:cubicBezTo>
                  <a:cubicBezTo>
                    <a:pt x="139" y="332"/>
                    <a:pt x="140" y="332"/>
                    <a:pt x="140" y="333"/>
                  </a:cubicBezTo>
                  <a:cubicBezTo>
                    <a:pt x="140" y="333"/>
                    <a:pt x="140" y="333"/>
                    <a:pt x="140" y="333"/>
                  </a:cubicBezTo>
                  <a:cubicBezTo>
                    <a:pt x="141" y="334"/>
                    <a:pt x="141" y="334"/>
                    <a:pt x="141" y="334"/>
                  </a:cubicBezTo>
                  <a:cubicBezTo>
                    <a:pt x="146" y="332"/>
                    <a:pt x="146" y="332"/>
                    <a:pt x="146" y="332"/>
                  </a:cubicBezTo>
                  <a:cubicBezTo>
                    <a:pt x="141" y="335"/>
                    <a:pt x="141" y="335"/>
                    <a:pt x="141" y="335"/>
                  </a:cubicBezTo>
                  <a:cubicBezTo>
                    <a:pt x="141" y="336"/>
                    <a:pt x="141" y="336"/>
                    <a:pt x="141" y="336"/>
                  </a:cubicBezTo>
                  <a:cubicBezTo>
                    <a:pt x="141" y="336"/>
                    <a:pt x="141" y="337"/>
                    <a:pt x="141" y="338"/>
                  </a:cubicBezTo>
                  <a:cubicBezTo>
                    <a:pt x="141" y="338"/>
                    <a:pt x="141" y="339"/>
                    <a:pt x="142" y="339"/>
                  </a:cubicBezTo>
                  <a:cubicBezTo>
                    <a:pt x="142" y="340"/>
                    <a:pt x="142" y="340"/>
                    <a:pt x="142" y="340"/>
                  </a:cubicBezTo>
                  <a:cubicBezTo>
                    <a:pt x="143" y="344"/>
                    <a:pt x="143" y="345"/>
                    <a:pt x="145" y="345"/>
                  </a:cubicBezTo>
                  <a:cubicBezTo>
                    <a:pt x="145" y="345"/>
                    <a:pt x="146" y="345"/>
                    <a:pt x="147" y="345"/>
                  </a:cubicBezTo>
                  <a:cubicBezTo>
                    <a:pt x="147" y="344"/>
                    <a:pt x="148" y="344"/>
                    <a:pt x="149" y="343"/>
                  </a:cubicBezTo>
                  <a:cubicBezTo>
                    <a:pt x="150" y="343"/>
                    <a:pt x="150" y="343"/>
                    <a:pt x="150" y="343"/>
                  </a:cubicBezTo>
                  <a:cubicBezTo>
                    <a:pt x="151" y="343"/>
                    <a:pt x="152" y="343"/>
                    <a:pt x="153" y="344"/>
                  </a:cubicBezTo>
                  <a:cubicBezTo>
                    <a:pt x="153" y="344"/>
                    <a:pt x="154" y="344"/>
                    <a:pt x="155" y="344"/>
                  </a:cubicBezTo>
                  <a:cubicBezTo>
                    <a:pt x="156" y="345"/>
                    <a:pt x="156" y="345"/>
                    <a:pt x="156" y="345"/>
                  </a:cubicBezTo>
                  <a:cubicBezTo>
                    <a:pt x="157" y="345"/>
                    <a:pt x="157" y="345"/>
                    <a:pt x="157" y="345"/>
                  </a:cubicBezTo>
                  <a:cubicBezTo>
                    <a:pt x="157" y="345"/>
                    <a:pt x="157" y="345"/>
                    <a:pt x="157" y="345"/>
                  </a:cubicBezTo>
                  <a:cubicBezTo>
                    <a:pt x="157" y="345"/>
                    <a:pt x="158" y="345"/>
                    <a:pt x="158" y="344"/>
                  </a:cubicBezTo>
                  <a:cubicBezTo>
                    <a:pt x="158" y="344"/>
                    <a:pt x="159" y="344"/>
                    <a:pt x="159" y="344"/>
                  </a:cubicBezTo>
                  <a:cubicBezTo>
                    <a:pt x="159" y="344"/>
                    <a:pt x="159" y="344"/>
                    <a:pt x="160" y="344"/>
                  </a:cubicBezTo>
                  <a:cubicBezTo>
                    <a:pt x="160" y="344"/>
                    <a:pt x="160" y="344"/>
                    <a:pt x="160" y="344"/>
                  </a:cubicBezTo>
                  <a:cubicBezTo>
                    <a:pt x="160" y="344"/>
                    <a:pt x="160" y="344"/>
                    <a:pt x="160" y="344"/>
                  </a:cubicBezTo>
                  <a:cubicBezTo>
                    <a:pt x="160" y="344"/>
                    <a:pt x="160" y="344"/>
                    <a:pt x="160" y="344"/>
                  </a:cubicBezTo>
                  <a:cubicBezTo>
                    <a:pt x="161" y="343"/>
                    <a:pt x="161" y="343"/>
                    <a:pt x="161" y="343"/>
                  </a:cubicBezTo>
                  <a:cubicBezTo>
                    <a:pt x="162" y="343"/>
                    <a:pt x="162" y="343"/>
                    <a:pt x="163" y="343"/>
                  </a:cubicBezTo>
                  <a:cubicBezTo>
                    <a:pt x="163" y="343"/>
                    <a:pt x="163" y="343"/>
                    <a:pt x="163" y="343"/>
                  </a:cubicBezTo>
                  <a:cubicBezTo>
                    <a:pt x="164" y="342"/>
                    <a:pt x="164" y="342"/>
                    <a:pt x="165" y="342"/>
                  </a:cubicBezTo>
                  <a:cubicBezTo>
                    <a:pt x="165" y="342"/>
                    <a:pt x="165" y="342"/>
                    <a:pt x="165" y="342"/>
                  </a:cubicBezTo>
                  <a:cubicBezTo>
                    <a:pt x="166" y="341"/>
                    <a:pt x="166" y="341"/>
                    <a:pt x="166" y="341"/>
                  </a:cubicBezTo>
                  <a:cubicBezTo>
                    <a:pt x="166" y="340"/>
                    <a:pt x="167" y="339"/>
                    <a:pt x="168" y="339"/>
                  </a:cubicBezTo>
                  <a:cubicBezTo>
                    <a:pt x="169" y="339"/>
                    <a:pt x="170" y="339"/>
                    <a:pt x="171" y="340"/>
                  </a:cubicBezTo>
                  <a:cubicBezTo>
                    <a:pt x="171" y="340"/>
                    <a:pt x="172" y="340"/>
                    <a:pt x="173" y="341"/>
                  </a:cubicBezTo>
                  <a:cubicBezTo>
                    <a:pt x="174" y="341"/>
                    <a:pt x="174" y="341"/>
                    <a:pt x="174" y="341"/>
                  </a:cubicBezTo>
                  <a:cubicBezTo>
                    <a:pt x="176" y="342"/>
                    <a:pt x="177" y="342"/>
                    <a:pt x="179" y="343"/>
                  </a:cubicBezTo>
                  <a:cubicBezTo>
                    <a:pt x="179" y="343"/>
                    <a:pt x="179" y="343"/>
                    <a:pt x="179" y="343"/>
                  </a:cubicBezTo>
                  <a:cubicBezTo>
                    <a:pt x="179" y="343"/>
                    <a:pt x="179" y="343"/>
                    <a:pt x="179" y="343"/>
                  </a:cubicBezTo>
                  <a:cubicBezTo>
                    <a:pt x="180" y="343"/>
                    <a:pt x="180" y="343"/>
                    <a:pt x="181" y="342"/>
                  </a:cubicBezTo>
                  <a:cubicBezTo>
                    <a:pt x="181" y="342"/>
                    <a:pt x="181" y="342"/>
                    <a:pt x="181" y="342"/>
                  </a:cubicBezTo>
                  <a:cubicBezTo>
                    <a:pt x="182" y="342"/>
                    <a:pt x="182" y="342"/>
                    <a:pt x="182" y="342"/>
                  </a:cubicBezTo>
                  <a:cubicBezTo>
                    <a:pt x="183" y="341"/>
                    <a:pt x="183" y="341"/>
                    <a:pt x="183" y="341"/>
                  </a:cubicBezTo>
                  <a:cubicBezTo>
                    <a:pt x="184" y="341"/>
                    <a:pt x="185" y="341"/>
                    <a:pt x="185" y="341"/>
                  </a:cubicBezTo>
                  <a:cubicBezTo>
                    <a:pt x="185" y="341"/>
                    <a:pt x="185" y="341"/>
                    <a:pt x="185" y="341"/>
                  </a:cubicBezTo>
                  <a:cubicBezTo>
                    <a:pt x="186" y="341"/>
                    <a:pt x="186" y="340"/>
                    <a:pt x="187" y="340"/>
                  </a:cubicBezTo>
                  <a:cubicBezTo>
                    <a:pt x="188" y="340"/>
                    <a:pt x="189" y="340"/>
                    <a:pt x="189" y="340"/>
                  </a:cubicBezTo>
                  <a:cubicBezTo>
                    <a:pt x="192" y="340"/>
                    <a:pt x="194" y="341"/>
                    <a:pt x="195" y="342"/>
                  </a:cubicBezTo>
                  <a:cubicBezTo>
                    <a:pt x="195" y="343"/>
                    <a:pt x="196" y="343"/>
                    <a:pt x="196" y="343"/>
                  </a:cubicBezTo>
                  <a:cubicBezTo>
                    <a:pt x="197" y="344"/>
                    <a:pt x="198" y="344"/>
                    <a:pt x="200" y="345"/>
                  </a:cubicBezTo>
                  <a:cubicBezTo>
                    <a:pt x="201" y="345"/>
                    <a:pt x="202" y="345"/>
                    <a:pt x="203" y="345"/>
                  </a:cubicBezTo>
                  <a:cubicBezTo>
                    <a:pt x="204" y="346"/>
                    <a:pt x="205" y="346"/>
                    <a:pt x="207" y="347"/>
                  </a:cubicBezTo>
                  <a:cubicBezTo>
                    <a:pt x="208" y="348"/>
                    <a:pt x="209" y="349"/>
                    <a:pt x="209" y="350"/>
                  </a:cubicBezTo>
                  <a:cubicBezTo>
                    <a:pt x="210" y="350"/>
                    <a:pt x="210" y="350"/>
                    <a:pt x="210" y="351"/>
                  </a:cubicBezTo>
                  <a:cubicBezTo>
                    <a:pt x="212" y="354"/>
                    <a:pt x="210" y="356"/>
                    <a:pt x="210" y="357"/>
                  </a:cubicBezTo>
                  <a:cubicBezTo>
                    <a:pt x="208" y="361"/>
                    <a:pt x="205" y="365"/>
                    <a:pt x="203" y="368"/>
                  </a:cubicBezTo>
                  <a:cubicBezTo>
                    <a:pt x="203" y="368"/>
                    <a:pt x="203" y="368"/>
                    <a:pt x="203" y="368"/>
                  </a:cubicBezTo>
                  <a:cubicBezTo>
                    <a:pt x="202" y="370"/>
                    <a:pt x="200" y="372"/>
                    <a:pt x="199" y="374"/>
                  </a:cubicBezTo>
                  <a:cubicBezTo>
                    <a:pt x="198" y="376"/>
                    <a:pt x="198" y="376"/>
                    <a:pt x="198" y="376"/>
                  </a:cubicBezTo>
                  <a:cubicBezTo>
                    <a:pt x="198" y="376"/>
                    <a:pt x="198" y="376"/>
                    <a:pt x="198" y="377"/>
                  </a:cubicBezTo>
                  <a:cubicBezTo>
                    <a:pt x="198" y="377"/>
                    <a:pt x="199" y="376"/>
                    <a:pt x="200" y="376"/>
                  </a:cubicBezTo>
                  <a:cubicBezTo>
                    <a:pt x="200" y="376"/>
                    <a:pt x="200" y="376"/>
                    <a:pt x="200" y="376"/>
                  </a:cubicBezTo>
                  <a:cubicBezTo>
                    <a:pt x="200" y="376"/>
                    <a:pt x="201" y="376"/>
                    <a:pt x="201" y="376"/>
                  </a:cubicBezTo>
                  <a:cubicBezTo>
                    <a:pt x="202" y="376"/>
                    <a:pt x="203" y="376"/>
                    <a:pt x="204" y="376"/>
                  </a:cubicBezTo>
                  <a:cubicBezTo>
                    <a:pt x="205" y="377"/>
                    <a:pt x="206" y="378"/>
                    <a:pt x="207" y="379"/>
                  </a:cubicBezTo>
                  <a:cubicBezTo>
                    <a:pt x="209" y="381"/>
                    <a:pt x="209" y="381"/>
                    <a:pt x="209" y="381"/>
                  </a:cubicBezTo>
                  <a:cubicBezTo>
                    <a:pt x="209" y="379"/>
                    <a:pt x="210" y="376"/>
                    <a:pt x="210" y="374"/>
                  </a:cubicBezTo>
                  <a:cubicBezTo>
                    <a:pt x="211" y="369"/>
                    <a:pt x="211" y="369"/>
                    <a:pt x="211" y="369"/>
                  </a:cubicBezTo>
                  <a:cubicBezTo>
                    <a:pt x="212" y="369"/>
                    <a:pt x="212" y="369"/>
                    <a:pt x="212" y="369"/>
                  </a:cubicBezTo>
                  <a:cubicBezTo>
                    <a:pt x="211" y="369"/>
                    <a:pt x="211" y="369"/>
                    <a:pt x="211" y="369"/>
                  </a:cubicBezTo>
                  <a:cubicBezTo>
                    <a:pt x="212" y="365"/>
                    <a:pt x="212" y="365"/>
                    <a:pt x="212" y="365"/>
                  </a:cubicBezTo>
                  <a:cubicBezTo>
                    <a:pt x="212" y="364"/>
                    <a:pt x="212" y="364"/>
                    <a:pt x="212" y="363"/>
                  </a:cubicBezTo>
                  <a:cubicBezTo>
                    <a:pt x="212" y="362"/>
                    <a:pt x="212" y="362"/>
                    <a:pt x="212" y="362"/>
                  </a:cubicBezTo>
                  <a:cubicBezTo>
                    <a:pt x="212" y="362"/>
                    <a:pt x="213" y="361"/>
                    <a:pt x="213" y="361"/>
                  </a:cubicBezTo>
                  <a:cubicBezTo>
                    <a:pt x="214" y="354"/>
                    <a:pt x="214" y="354"/>
                    <a:pt x="214" y="354"/>
                  </a:cubicBezTo>
                  <a:cubicBezTo>
                    <a:pt x="214" y="353"/>
                    <a:pt x="214" y="353"/>
                    <a:pt x="214" y="353"/>
                  </a:cubicBezTo>
                  <a:cubicBezTo>
                    <a:pt x="215" y="350"/>
                    <a:pt x="215" y="350"/>
                    <a:pt x="215" y="350"/>
                  </a:cubicBezTo>
                  <a:cubicBezTo>
                    <a:pt x="215" y="350"/>
                    <a:pt x="215" y="349"/>
                    <a:pt x="215" y="349"/>
                  </a:cubicBezTo>
                  <a:cubicBezTo>
                    <a:pt x="215" y="348"/>
                    <a:pt x="215" y="347"/>
                    <a:pt x="215" y="347"/>
                  </a:cubicBezTo>
                  <a:cubicBezTo>
                    <a:pt x="216" y="343"/>
                    <a:pt x="216" y="343"/>
                    <a:pt x="216" y="343"/>
                  </a:cubicBezTo>
                  <a:cubicBezTo>
                    <a:pt x="216" y="342"/>
                    <a:pt x="216" y="342"/>
                    <a:pt x="216" y="342"/>
                  </a:cubicBezTo>
                  <a:cubicBezTo>
                    <a:pt x="216" y="340"/>
                    <a:pt x="216" y="340"/>
                    <a:pt x="216" y="340"/>
                  </a:cubicBezTo>
                  <a:cubicBezTo>
                    <a:pt x="217" y="339"/>
                    <a:pt x="217" y="339"/>
                    <a:pt x="217" y="339"/>
                  </a:cubicBezTo>
                  <a:cubicBezTo>
                    <a:pt x="217" y="338"/>
                    <a:pt x="217" y="338"/>
                    <a:pt x="217" y="338"/>
                  </a:cubicBezTo>
                  <a:cubicBezTo>
                    <a:pt x="217" y="338"/>
                    <a:pt x="217" y="338"/>
                    <a:pt x="217" y="337"/>
                  </a:cubicBezTo>
                  <a:cubicBezTo>
                    <a:pt x="217" y="335"/>
                    <a:pt x="217" y="335"/>
                    <a:pt x="217" y="335"/>
                  </a:cubicBezTo>
                  <a:cubicBezTo>
                    <a:pt x="219" y="325"/>
                    <a:pt x="220" y="316"/>
                    <a:pt x="219" y="314"/>
                  </a:cubicBezTo>
                  <a:cubicBezTo>
                    <a:pt x="218" y="312"/>
                    <a:pt x="218" y="310"/>
                    <a:pt x="218" y="308"/>
                  </a:cubicBezTo>
                  <a:cubicBezTo>
                    <a:pt x="217" y="305"/>
                    <a:pt x="217" y="303"/>
                    <a:pt x="216" y="303"/>
                  </a:cubicBezTo>
                  <a:cubicBezTo>
                    <a:pt x="212" y="301"/>
                    <a:pt x="204" y="295"/>
                    <a:pt x="205" y="289"/>
                  </a:cubicBezTo>
                  <a:cubicBezTo>
                    <a:pt x="205" y="287"/>
                    <a:pt x="205" y="286"/>
                    <a:pt x="205" y="285"/>
                  </a:cubicBezTo>
                  <a:cubicBezTo>
                    <a:pt x="205" y="285"/>
                    <a:pt x="205" y="285"/>
                    <a:pt x="205" y="285"/>
                  </a:cubicBezTo>
                  <a:cubicBezTo>
                    <a:pt x="205" y="283"/>
                    <a:pt x="206" y="281"/>
                    <a:pt x="205" y="279"/>
                  </a:cubicBezTo>
                  <a:cubicBezTo>
                    <a:pt x="204" y="273"/>
                    <a:pt x="212" y="272"/>
                    <a:pt x="215" y="271"/>
                  </a:cubicBezTo>
                  <a:cubicBezTo>
                    <a:pt x="215" y="271"/>
                    <a:pt x="215" y="271"/>
                    <a:pt x="215" y="271"/>
                  </a:cubicBezTo>
                  <a:cubicBezTo>
                    <a:pt x="216" y="271"/>
                    <a:pt x="216" y="271"/>
                    <a:pt x="217" y="270"/>
                  </a:cubicBezTo>
                  <a:cubicBezTo>
                    <a:pt x="218" y="270"/>
                    <a:pt x="219" y="270"/>
                    <a:pt x="221" y="270"/>
                  </a:cubicBezTo>
                  <a:cubicBezTo>
                    <a:pt x="222" y="270"/>
                    <a:pt x="223" y="270"/>
                    <a:pt x="225" y="270"/>
                  </a:cubicBezTo>
                  <a:cubicBezTo>
                    <a:pt x="225" y="271"/>
                    <a:pt x="226" y="271"/>
                    <a:pt x="226" y="271"/>
                  </a:cubicBezTo>
                  <a:cubicBezTo>
                    <a:pt x="226" y="270"/>
                    <a:pt x="226" y="270"/>
                    <a:pt x="226" y="269"/>
                  </a:cubicBezTo>
                  <a:cubicBezTo>
                    <a:pt x="225" y="269"/>
                    <a:pt x="225" y="268"/>
                    <a:pt x="225" y="268"/>
                  </a:cubicBezTo>
                  <a:cubicBezTo>
                    <a:pt x="224" y="269"/>
                    <a:pt x="224" y="269"/>
                    <a:pt x="224" y="269"/>
                  </a:cubicBezTo>
                  <a:cubicBezTo>
                    <a:pt x="222" y="268"/>
                    <a:pt x="222" y="268"/>
                    <a:pt x="222" y="268"/>
                  </a:cubicBezTo>
                  <a:cubicBezTo>
                    <a:pt x="220" y="267"/>
                    <a:pt x="218" y="267"/>
                    <a:pt x="217" y="267"/>
                  </a:cubicBezTo>
                  <a:cubicBezTo>
                    <a:pt x="216" y="267"/>
                    <a:pt x="215" y="267"/>
                    <a:pt x="215" y="267"/>
                  </a:cubicBezTo>
                  <a:cubicBezTo>
                    <a:pt x="210" y="270"/>
                    <a:pt x="210" y="270"/>
                    <a:pt x="210" y="270"/>
                  </a:cubicBezTo>
                  <a:cubicBezTo>
                    <a:pt x="210" y="265"/>
                    <a:pt x="210" y="265"/>
                    <a:pt x="210" y="265"/>
                  </a:cubicBezTo>
                  <a:cubicBezTo>
                    <a:pt x="210" y="260"/>
                    <a:pt x="210" y="250"/>
                    <a:pt x="210" y="250"/>
                  </a:cubicBezTo>
                  <a:cubicBezTo>
                    <a:pt x="210" y="248"/>
                    <a:pt x="210" y="248"/>
                    <a:pt x="210" y="248"/>
                  </a:cubicBezTo>
                  <a:cubicBezTo>
                    <a:pt x="212" y="247"/>
                    <a:pt x="212" y="247"/>
                    <a:pt x="212" y="247"/>
                  </a:cubicBezTo>
                  <a:cubicBezTo>
                    <a:pt x="212" y="247"/>
                    <a:pt x="215" y="246"/>
                    <a:pt x="222" y="246"/>
                  </a:cubicBezTo>
                  <a:cubicBezTo>
                    <a:pt x="223" y="246"/>
                    <a:pt x="224" y="246"/>
                    <a:pt x="224" y="247"/>
                  </a:cubicBezTo>
                  <a:cubicBezTo>
                    <a:pt x="229" y="247"/>
                    <a:pt x="236" y="247"/>
                    <a:pt x="242" y="247"/>
                  </a:cubicBezTo>
                  <a:cubicBezTo>
                    <a:pt x="244" y="247"/>
                    <a:pt x="246" y="247"/>
                    <a:pt x="247" y="247"/>
                  </a:cubicBezTo>
                  <a:cubicBezTo>
                    <a:pt x="247" y="245"/>
                    <a:pt x="248" y="243"/>
                    <a:pt x="249" y="241"/>
                  </a:cubicBezTo>
                  <a:cubicBezTo>
                    <a:pt x="252" y="238"/>
                    <a:pt x="252" y="238"/>
                    <a:pt x="252" y="238"/>
                  </a:cubicBezTo>
                  <a:cubicBezTo>
                    <a:pt x="255" y="243"/>
                    <a:pt x="255" y="243"/>
                    <a:pt x="255" y="243"/>
                  </a:cubicBezTo>
                  <a:cubicBezTo>
                    <a:pt x="256" y="244"/>
                    <a:pt x="257" y="245"/>
                    <a:pt x="258" y="246"/>
                  </a:cubicBezTo>
                  <a:cubicBezTo>
                    <a:pt x="258" y="246"/>
                    <a:pt x="258" y="245"/>
                    <a:pt x="259" y="245"/>
                  </a:cubicBezTo>
                  <a:cubicBezTo>
                    <a:pt x="259" y="244"/>
                    <a:pt x="260" y="244"/>
                    <a:pt x="261" y="243"/>
                  </a:cubicBezTo>
                  <a:cubicBezTo>
                    <a:pt x="264" y="241"/>
                    <a:pt x="267" y="238"/>
                    <a:pt x="270" y="238"/>
                  </a:cubicBezTo>
                  <a:cubicBezTo>
                    <a:pt x="270" y="238"/>
                    <a:pt x="271" y="238"/>
                    <a:pt x="271" y="238"/>
                  </a:cubicBezTo>
                  <a:cubicBezTo>
                    <a:pt x="271" y="237"/>
                    <a:pt x="270" y="236"/>
                    <a:pt x="270" y="235"/>
                  </a:cubicBezTo>
                  <a:cubicBezTo>
                    <a:pt x="269" y="234"/>
                    <a:pt x="268" y="233"/>
                    <a:pt x="268" y="232"/>
                  </a:cubicBezTo>
                  <a:cubicBezTo>
                    <a:pt x="267" y="231"/>
                    <a:pt x="266" y="230"/>
                    <a:pt x="265" y="229"/>
                  </a:cubicBezTo>
                  <a:cubicBezTo>
                    <a:pt x="264" y="228"/>
                    <a:pt x="264" y="228"/>
                    <a:pt x="264" y="228"/>
                  </a:cubicBezTo>
                  <a:cubicBezTo>
                    <a:pt x="264" y="228"/>
                    <a:pt x="264" y="228"/>
                    <a:pt x="264" y="228"/>
                  </a:cubicBezTo>
                  <a:cubicBezTo>
                    <a:pt x="264" y="228"/>
                    <a:pt x="263" y="228"/>
                    <a:pt x="262" y="228"/>
                  </a:cubicBezTo>
                  <a:cubicBezTo>
                    <a:pt x="262" y="228"/>
                    <a:pt x="261" y="228"/>
                    <a:pt x="260" y="228"/>
                  </a:cubicBezTo>
                  <a:cubicBezTo>
                    <a:pt x="258" y="228"/>
                    <a:pt x="257" y="226"/>
                    <a:pt x="257" y="224"/>
                  </a:cubicBezTo>
                  <a:cubicBezTo>
                    <a:pt x="257" y="222"/>
                    <a:pt x="258" y="221"/>
                    <a:pt x="259" y="220"/>
                  </a:cubicBezTo>
                  <a:cubicBezTo>
                    <a:pt x="260" y="219"/>
                    <a:pt x="262" y="217"/>
                    <a:pt x="264" y="216"/>
                  </a:cubicBezTo>
                  <a:cubicBezTo>
                    <a:pt x="264" y="216"/>
                    <a:pt x="264" y="216"/>
                    <a:pt x="264" y="216"/>
                  </a:cubicBezTo>
                  <a:cubicBezTo>
                    <a:pt x="265" y="215"/>
                    <a:pt x="265" y="215"/>
                    <a:pt x="265" y="215"/>
                  </a:cubicBezTo>
                  <a:cubicBezTo>
                    <a:pt x="262" y="211"/>
                    <a:pt x="262" y="211"/>
                    <a:pt x="262" y="211"/>
                  </a:cubicBezTo>
                  <a:cubicBezTo>
                    <a:pt x="266" y="214"/>
                    <a:pt x="266" y="214"/>
                    <a:pt x="266" y="214"/>
                  </a:cubicBezTo>
                  <a:cubicBezTo>
                    <a:pt x="266" y="214"/>
                    <a:pt x="266" y="214"/>
                    <a:pt x="266" y="214"/>
                  </a:cubicBezTo>
                  <a:cubicBezTo>
                    <a:pt x="267" y="213"/>
                    <a:pt x="268" y="212"/>
                    <a:pt x="269" y="211"/>
                  </a:cubicBezTo>
                  <a:cubicBezTo>
                    <a:pt x="269" y="211"/>
                    <a:pt x="269" y="211"/>
                    <a:pt x="269" y="211"/>
                  </a:cubicBezTo>
                  <a:cubicBezTo>
                    <a:pt x="268" y="210"/>
                    <a:pt x="268" y="210"/>
                    <a:pt x="268" y="210"/>
                  </a:cubicBezTo>
                  <a:cubicBezTo>
                    <a:pt x="268" y="210"/>
                    <a:pt x="268" y="210"/>
                    <a:pt x="268" y="210"/>
                  </a:cubicBezTo>
                  <a:cubicBezTo>
                    <a:pt x="267" y="208"/>
                    <a:pt x="267" y="207"/>
                    <a:pt x="266" y="207"/>
                  </a:cubicBezTo>
                  <a:cubicBezTo>
                    <a:pt x="265" y="207"/>
                    <a:pt x="264" y="206"/>
                    <a:pt x="263" y="205"/>
                  </a:cubicBezTo>
                  <a:cubicBezTo>
                    <a:pt x="262" y="203"/>
                    <a:pt x="262" y="202"/>
                    <a:pt x="261" y="200"/>
                  </a:cubicBezTo>
                  <a:cubicBezTo>
                    <a:pt x="261" y="200"/>
                    <a:pt x="261" y="200"/>
                    <a:pt x="261" y="200"/>
                  </a:cubicBezTo>
                  <a:cubicBezTo>
                    <a:pt x="261" y="199"/>
                    <a:pt x="261" y="198"/>
                    <a:pt x="260" y="197"/>
                  </a:cubicBezTo>
                  <a:cubicBezTo>
                    <a:pt x="259" y="194"/>
                    <a:pt x="258" y="191"/>
                    <a:pt x="257" y="187"/>
                  </a:cubicBezTo>
                  <a:cubicBezTo>
                    <a:pt x="257" y="187"/>
                    <a:pt x="257" y="186"/>
                    <a:pt x="257" y="186"/>
                  </a:cubicBezTo>
                  <a:cubicBezTo>
                    <a:pt x="251" y="186"/>
                    <a:pt x="251" y="186"/>
                    <a:pt x="251" y="186"/>
                  </a:cubicBezTo>
                  <a:cubicBezTo>
                    <a:pt x="257" y="184"/>
                    <a:pt x="257" y="184"/>
                    <a:pt x="257" y="184"/>
                  </a:cubicBezTo>
                  <a:cubicBezTo>
                    <a:pt x="257" y="183"/>
                    <a:pt x="257" y="183"/>
                    <a:pt x="257" y="183"/>
                  </a:cubicBezTo>
                  <a:cubicBezTo>
                    <a:pt x="257" y="183"/>
                    <a:pt x="257" y="182"/>
                    <a:pt x="257" y="181"/>
                  </a:cubicBezTo>
                  <a:cubicBezTo>
                    <a:pt x="257" y="180"/>
                    <a:pt x="257" y="178"/>
                    <a:pt x="257" y="176"/>
                  </a:cubicBezTo>
                  <a:cubicBezTo>
                    <a:pt x="257" y="174"/>
                    <a:pt x="257" y="171"/>
                    <a:pt x="257" y="168"/>
                  </a:cubicBezTo>
                  <a:cubicBezTo>
                    <a:pt x="257" y="167"/>
                    <a:pt x="257" y="167"/>
                    <a:pt x="257" y="167"/>
                  </a:cubicBezTo>
                  <a:cubicBezTo>
                    <a:pt x="257" y="164"/>
                    <a:pt x="259" y="162"/>
                    <a:pt x="261" y="160"/>
                  </a:cubicBezTo>
                  <a:cubicBezTo>
                    <a:pt x="261" y="159"/>
                    <a:pt x="261" y="159"/>
                    <a:pt x="262" y="158"/>
                  </a:cubicBezTo>
                  <a:cubicBezTo>
                    <a:pt x="262" y="158"/>
                    <a:pt x="263" y="157"/>
                    <a:pt x="263" y="157"/>
                  </a:cubicBezTo>
                  <a:cubicBezTo>
                    <a:pt x="263" y="156"/>
                    <a:pt x="263" y="156"/>
                    <a:pt x="263" y="156"/>
                  </a:cubicBezTo>
                  <a:cubicBezTo>
                    <a:pt x="264" y="155"/>
                    <a:pt x="265" y="154"/>
                    <a:pt x="266" y="152"/>
                  </a:cubicBezTo>
                  <a:cubicBezTo>
                    <a:pt x="266" y="151"/>
                    <a:pt x="267" y="150"/>
                    <a:pt x="266" y="149"/>
                  </a:cubicBezTo>
                  <a:cubicBezTo>
                    <a:pt x="266" y="147"/>
                    <a:pt x="262" y="147"/>
                    <a:pt x="261" y="147"/>
                  </a:cubicBezTo>
                  <a:cubicBezTo>
                    <a:pt x="260" y="147"/>
                    <a:pt x="260" y="147"/>
                    <a:pt x="259" y="147"/>
                  </a:cubicBezTo>
                  <a:cubicBezTo>
                    <a:pt x="256" y="147"/>
                    <a:pt x="252" y="147"/>
                    <a:pt x="249" y="148"/>
                  </a:cubicBezTo>
                  <a:cubicBezTo>
                    <a:pt x="247" y="148"/>
                    <a:pt x="245" y="148"/>
                    <a:pt x="244" y="149"/>
                  </a:cubicBezTo>
                  <a:cubicBezTo>
                    <a:pt x="241" y="149"/>
                    <a:pt x="241" y="149"/>
                    <a:pt x="241" y="149"/>
                  </a:cubicBezTo>
                  <a:cubicBezTo>
                    <a:pt x="238" y="149"/>
                    <a:pt x="236" y="149"/>
                    <a:pt x="234" y="150"/>
                  </a:cubicBezTo>
                  <a:cubicBezTo>
                    <a:pt x="233" y="150"/>
                    <a:pt x="233" y="150"/>
                    <a:pt x="233" y="150"/>
                  </a:cubicBezTo>
                  <a:cubicBezTo>
                    <a:pt x="233" y="150"/>
                    <a:pt x="232" y="150"/>
                    <a:pt x="232" y="150"/>
                  </a:cubicBezTo>
                  <a:cubicBezTo>
                    <a:pt x="229" y="151"/>
                    <a:pt x="226" y="151"/>
                    <a:pt x="225" y="151"/>
                  </a:cubicBezTo>
                  <a:cubicBezTo>
                    <a:pt x="223" y="151"/>
                    <a:pt x="222" y="151"/>
                    <a:pt x="221" y="150"/>
                  </a:cubicBezTo>
                  <a:cubicBezTo>
                    <a:pt x="219" y="149"/>
                    <a:pt x="216" y="145"/>
                    <a:pt x="212" y="140"/>
                  </a:cubicBezTo>
                  <a:cubicBezTo>
                    <a:pt x="212" y="139"/>
                    <a:pt x="212" y="139"/>
                    <a:pt x="211" y="138"/>
                  </a:cubicBezTo>
                  <a:cubicBezTo>
                    <a:pt x="210" y="137"/>
                    <a:pt x="210" y="137"/>
                    <a:pt x="210" y="137"/>
                  </a:cubicBezTo>
                  <a:cubicBezTo>
                    <a:pt x="210" y="136"/>
                    <a:pt x="209" y="135"/>
                    <a:pt x="208" y="134"/>
                  </a:cubicBezTo>
                  <a:cubicBezTo>
                    <a:pt x="205" y="131"/>
                    <a:pt x="205" y="131"/>
                    <a:pt x="202" y="130"/>
                  </a:cubicBezTo>
                  <a:cubicBezTo>
                    <a:pt x="199" y="129"/>
                    <a:pt x="197" y="129"/>
                    <a:pt x="194" y="128"/>
                  </a:cubicBezTo>
                  <a:cubicBezTo>
                    <a:pt x="193" y="128"/>
                    <a:pt x="192" y="129"/>
                    <a:pt x="190" y="129"/>
                  </a:cubicBezTo>
                  <a:cubicBezTo>
                    <a:pt x="188" y="130"/>
                    <a:pt x="187" y="130"/>
                    <a:pt x="185" y="130"/>
                  </a:cubicBezTo>
                  <a:cubicBezTo>
                    <a:pt x="184" y="131"/>
                    <a:pt x="184" y="131"/>
                    <a:pt x="183" y="131"/>
                  </a:cubicBezTo>
                  <a:cubicBezTo>
                    <a:pt x="181" y="131"/>
                    <a:pt x="179" y="130"/>
                    <a:pt x="177" y="130"/>
                  </a:cubicBezTo>
                  <a:cubicBezTo>
                    <a:pt x="176" y="130"/>
                    <a:pt x="176" y="130"/>
                    <a:pt x="175" y="130"/>
                  </a:cubicBezTo>
                  <a:cubicBezTo>
                    <a:pt x="174" y="130"/>
                    <a:pt x="173" y="130"/>
                    <a:pt x="172" y="130"/>
                  </a:cubicBezTo>
                  <a:cubicBezTo>
                    <a:pt x="170" y="130"/>
                    <a:pt x="169" y="130"/>
                    <a:pt x="167" y="130"/>
                  </a:cubicBezTo>
                  <a:cubicBezTo>
                    <a:pt x="167" y="130"/>
                    <a:pt x="166" y="130"/>
                    <a:pt x="165" y="130"/>
                  </a:cubicBezTo>
                  <a:cubicBezTo>
                    <a:pt x="164" y="130"/>
                    <a:pt x="163" y="130"/>
                    <a:pt x="162" y="129"/>
                  </a:cubicBezTo>
                  <a:cubicBezTo>
                    <a:pt x="161" y="128"/>
                    <a:pt x="160" y="126"/>
                    <a:pt x="159" y="124"/>
                  </a:cubicBezTo>
                  <a:cubicBezTo>
                    <a:pt x="159" y="124"/>
                    <a:pt x="158" y="123"/>
                    <a:pt x="158" y="123"/>
                  </a:cubicBezTo>
                  <a:cubicBezTo>
                    <a:pt x="158" y="122"/>
                    <a:pt x="158" y="122"/>
                    <a:pt x="157" y="122"/>
                  </a:cubicBezTo>
                  <a:cubicBezTo>
                    <a:pt x="157" y="121"/>
                    <a:pt x="157" y="121"/>
                    <a:pt x="156" y="121"/>
                  </a:cubicBezTo>
                  <a:cubicBezTo>
                    <a:pt x="156" y="121"/>
                    <a:pt x="155" y="121"/>
                    <a:pt x="154" y="121"/>
                  </a:cubicBezTo>
                  <a:cubicBezTo>
                    <a:pt x="151" y="120"/>
                    <a:pt x="151" y="118"/>
                    <a:pt x="150" y="115"/>
                  </a:cubicBezTo>
                  <a:cubicBezTo>
                    <a:pt x="149" y="110"/>
                    <a:pt x="150" y="106"/>
                    <a:pt x="152" y="103"/>
                  </a:cubicBezTo>
                  <a:cubicBezTo>
                    <a:pt x="152" y="103"/>
                    <a:pt x="152" y="102"/>
                    <a:pt x="152" y="102"/>
                  </a:cubicBezTo>
                  <a:cubicBezTo>
                    <a:pt x="152" y="99"/>
                    <a:pt x="151" y="97"/>
                    <a:pt x="150" y="95"/>
                  </a:cubicBezTo>
                  <a:cubicBezTo>
                    <a:pt x="149" y="94"/>
                    <a:pt x="149" y="94"/>
                    <a:pt x="149" y="94"/>
                  </a:cubicBezTo>
                  <a:cubicBezTo>
                    <a:pt x="146" y="86"/>
                    <a:pt x="146" y="86"/>
                    <a:pt x="146" y="86"/>
                  </a:cubicBezTo>
                  <a:cubicBezTo>
                    <a:pt x="145" y="84"/>
                    <a:pt x="144" y="83"/>
                    <a:pt x="143" y="81"/>
                  </a:cubicBezTo>
                  <a:cubicBezTo>
                    <a:pt x="143" y="81"/>
                    <a:pt x="142" y="81"/>
                    <a:pt x="142" y="81"/>
                  </a:cubicBezTo>
                  <a:cubicBezTo>
                    <a:pt x="140" y="81"/>
                    <a:pt x="139" y="80"/>
                    <a:pt x="139" y="80"/>
                  </a:cubicBezTo>
                  <a:cubicBezTo>
                    <a:pt x="139" y="79"/>
                    <a:pt x="139" y="79"/>
                    <a:pt x="139" y="79"/>
                  </a:cubicBezTo>
                  <a:cubicBezTo>
                    <a:pt x="138" y="79"/>
                    <a:pt x="138" y="78"/>
                    <a:pt x="138" y="78"/>
                  </a:cubicBezTo>
                  <a:cubicBezTo>
                    <a:pt x="136" y="79"/>
                    <a:pt x="134" y="79"/>
                    <a:pt x="133" y="80"/>
                  </a:cubicBezTo>
                  <a:cubicBezTo>
                    <a:pt x="131" y="80"/>
                    <a:pt x="131" y="80"/>
                    <a:pt x="131" y="80"/>
                  </a:cubicBezTo>
                  <a:cubicBezTo>
                    <a:pt x="130" y="79"/>
                    <a:pt x="130" y="79"/>
                    <a:pt x="130" y="79"/>
                  </a:cubicBezTo>
                  <a:cubicBezTo>
                    <a:pt x="128" y="77"/>
                    <a:pt x="129" y="74"/>
                    <a:pt x="130" y="73"/>
                  </a:cubicBezTo>
                  <a:cubicBezTo>
                    <a:pt x="131" y="72"/>
                    <a:pt x="131" y="72"/>
                    <a:pt x="131" y="72"/>
                  </a:cubicBezTo>
                  <a:cubicBezTo>
                    <a:pt x="131" y="72"/>
                    <a:pt x="131" y="71"/>
                    <a:pt x="132" y="71"/>
                  </a:cubicBezTo>
                  <a:cubicBezTo>
                    <a:pt x="132" y="71"/>
                    <a:pt x="132" y="71"/>
                    <a:pt x="132" y="71"/>
                  </a:cubicBezTo>
                  <a:cubicBezTo>
                    <a:pt x="134" y="67"/>
                    <a:pt x="136" y="64"/>
                    <a:pt x="137" y="60"/>
                  </a:cubicBezTo>
                  <a:cubicBezTo>
                    <a:pt x="137" y="60"/>
                    <a:pt x="138" y="59"/>
                    <a:pt x="138" y="58"/>
                  </a:cubicBezTo>
                  <a:cubicBezTo>
                    <a:pt x="138" y="56"/>
                    <a:pt x="138" y="55"/>
                    <a:pt x="138" y="53"/>
                  </a:cubicBezTo>
                  <a:cubicBezTo>
                    <a:pt x="139" y="51"/>
                    <a:pt x="139" y="49"/>
                    <a:pt x="140" y="47"/>
                  </a:cubicBezTo>
                  <a:cubicBezTo>
                    <a:pt x="140" y="45"/>
                    <a:pt x="142" y="42"/>
                    <a:pt x="143" y="40"/>
                  </a:cubicBezTo>
                  <a:cubicBezTo>
                    <a:pt x="143" y="40"/>
                    <a:pt x="143" y="40"/>
                    <a:pt x="143" y="40"/>
                  </a:cubicBezTo>
                  <a:cubicBezTo>
                    <a:pt x="144" y="39"/>
                    <a:pt x="144" y="38"/>
                    <a:pt x="145" y="37"/>
                  </a:cubicBezTo>
                  <a:cubicBezTo>
                    <a:pt x="145" y="36"/>
                    <a:pt x="145" y="36"/>
                    <a:pt x="145" y="36"/>
                  </a:cubicBezTo>
                  <a:cubicBezTo>
                    <a:pt x="145" y="36"/>
                    <a:pt x="145" y="36"/>
                    <a:pt x="145" y="36"/>
                  </a:cubicBezTo>
                  <a:cubicBezTo>
                    <a:pt x="146" y="34"/>
                    <a:pt x="148" y="32"/>
                    <a:pt x="150" y="30"/>
                  </a:cubicBezTo>
                  <a:cubicBezTo>
                    <a:pt x="152" y="29"/>
                    <a:pt x="153" y="28"/>
                    <a:pt x="154" y="28"/>
                  </a:cubicBezTo>
                  <a:cubicBezTo>
                    <a:pt x="155" y="28"/>
                    <a:pt x="156" y="28"/>
                    <a:pt x="156" y="27"/>
                  </a:cubicBezTo>
                  <a:cubicBezTo>
                    <a:pt x="156" y="26"/>
                    <a:pt x="156" y="26"/>
                    <a:pt x="156" y="26"/>
                  </a:cubicBezTo>
                  <a:cubicBezTo>
                    <a:pt x="157" y="25"/>
                    <a:pt x="157" y="25"/>
                    <a:pt x="158" y="24"/>
                  </a:cubicBezTo>
                  <a:cubicBezTo>
                    <a:pt x="159" y="20"/>
                    <a:pt x="160" y="17"/>
                    <a:pt x="162" y="16"/>
                  </a:cubicBezTo>
                  <a:cubicBezTo>
                    <a:pt x="164" y="15"/>
                    <a:pt x="166" y="14"/>
                    <a:pt x="168" y="14"/>
                  </a:cubicBezTo>
                  <a:cubicBezTo>
                    <a:pt x="169" y="14"/>
                    <a:pt x="170" y="14"/>
                    <a:pt x="170" y="14"/>
                  </a:cubicBezTo>
                  <a:cubicBezTo>
                    <a:pt x="174" y="13"/>
                    <a:pt x="174" y="13"/>
                    <a:pt x="174" y="13"/>
                  </a:cubicBezTo>
                  <a:cubicBezTo>
                    <a:pt x="175" y="12"/>
                    <a:pt x="176" y="12"/>
                    <a:pt x="178" y="12"/>
                  </a:cubicBezTo>
                  <a:cubicBezTo>
                    <a:pt x="180" y="12"/>
                    <a:pt x="180" y="12"/>
                    <a:pt x="180" y="12"/>
                  </a:cubicBezTo>
                  <a:cubicBezTo>
                    <a:pt x="180" y="13"/>
                    <a:pt x="180" y="13"/>
                    <a:pt x="180" y="13"/>
                  </a:cubicBezTo>
                  <a:cubicBezTo>
                    <a:pt x="180" y="12"/>
                    <a:pt x="181" y="12"/>
                    <a:pt x="182" y="11"/>
                  </a:cubicBezTo>
                  <a:cubicBezTo>
                    <a:pt x="184" y="9"/>
                    <a:pt x="184" y="10"/>
                    <a:pt x="183" y="7"/>
                  </a:cubicBezTo>
                  <a:cubicBezTo>
                    <a:pt x="182" y="5"/>
                    <a:pt x="181" y="3"/>
                    <a:pt x="180" y="2"/>
                  </a:cubicBezTo>
                  <a:cubicBezTo>
                    <a:pt x="178" y="1"/>
                    <a:pt x="175" y="0"/>
                    <a:pt x="1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272"/>
            <p:cNvSpPr>
              <a:spLocks noEditPoints="1"/>
            </p:cNvSpPr>
            <p:nvPr/>
          </p:nvSpPr>
          <p:spPr bwMode="auto">
            <a:xfrm>
              <a:off x="7391313" y="1261160"/>
              <a:ext cx="433567" cy="180771"/>
            </a:xfrm>
            <a:custGeom>
              <a:gdLst>
                <a:gd name="T0" fmla="*/ 105 w 130"/>
                <a:gd name="T1" fmla="*/ 28 h 54"/>
                <a:gd name="T2" fmla="*/ 105 w 130"/>
                <a:gd name="T3" fmla="*/ 28 h 54"/>
                <a:gd name="T4" fmla="*/ 109 w 130"/>
                <a:gd name="T5" fmla="*/ 24 h 54"/>
                <a:gd name="T6" fmla="*/ 109 w 130"/>
                <a:gd name="T7" fmla="*/ 24 h 54"/>
                <a:gd name="T8" fmla="*/ 81 w 130"/>
                <a:gd name="T9" fmla="*/ 0 h 54"/>
                <a:gd name="T10" fmla="*/ 51 w 130"/>
                <a:gd name="T11" fmla="*/ 14 h 54"/>
                <a:gd name="T12" fmla="*/ 38 w 130"/>
                <a:gd name="T13" fmla="*/ 17 h 54"/>
                <a:gd name="T14" fmla="*/ 27 w 130"/>
                <a:gd name="T15" fmla="*/ 13 h 54"/>
                <a:gd name="T16" fmla="*/ 20 w 130"/>
                <a:gd name="T17" fmla="*/ 14 h 54"/>
                <a:gd name="T18" fmla="*/ 17 w 130"/>
                <a:gd name="T19" fmla="*/ 9 h 54"/>
                <a:gd name="T20" fmla="*/ 9 w 130"/>
                <a:gd name="T21" fmla="*/ 2 h 54"/>
                <a:gd name="T22" fmla="*/ 4 w 130"/>
                <a:gd name="T23" fmla="*/ 2 h 54"/>
                <a:gd name="T24" fmla="*/ 3 w 130"/>
                <a:gd name="T25" fmla="*/ 3 h 54"/>
                <a:gd name="T26" fmla="*/ 3 w 130"/>
                <a:gd name="T27" fmla="*/ 9 h 54"/>
                <a:gd name="T28" fmla="*/ 5 w 130"/>
                <a:gd name="T29" fmla="*/ 11 h 54"/>
                <a:gd name="T30" fmla="*/ 9 w 130"/>
                <a:gd name="T31" fmla="*/ 14 h 54"/>
                <a:gd name="T32" fmla="*/ 6 w 130"/>
                <a:gd name="T33" fmla="*/ 18 h 54"/>
                <a:gd name="T34" fmla="*/ 3 w 130"/>
                <a:gd name="T35" fmla="*/ 20 h 54"/>
                <a:gd name="T36" fmla="*/ 3 w 130"/>
                <a:gd name="T37" fmla="*/ 26 h 54"/>
                <a:gd name="T38" fmla="*/ 1 w 130"/>
                <a:gd name="T39" fmla="*/ 28 h 54"/>
                <a:gd name="T40" fmla="*/ 0 w 130"/>
                <a:gd name="T41" fmla="*/ 29 h 54"/>
                <a:gd name="T42" fmla="*/ 6 w 130"/>
                <a:gd name="T43" fmla="*/ 29 h 54"/>
                <a:gd name="T44" fmla="*/ 18 w 130"/>
                <a:gd name="T45" fmla="*/ 32 h 54"/>
                <a:gd name="T46" fmla="*/ 23 w 130"/>
                <a:gd name="T47" fmla="*/ 31 h 54"/>
                <a:gd name="T48" fmla="*/ 24 w 130"/>
                <a:gd name="T49" fmla="*/ 32 h 54"/>
                <a:gd name="T50" fmla="*/ 27 w 130"/>
                <a:gd name="T51" fmla="*/ 32 h 54"/>
                <a:gd name="T52" fmla="*/ 36 w 130"/>
                <a:gd name="T53" fmla="*/ 44 h 54"/>
                <a:gd name="T54" fmla="*/ 42 w 130"/>
                <a:gd name="T55" fmla="*/ 39 h 54"/>
                <a:gd name="T56" fmla="*/ 45 w 130"/>
                <a:gd name="T57" fmla="*/ 45 h 54"/>
                <a:gd name="T58" fmla="*/ 46 w 130"/>
                <a:gd name="T59" fmla="*/ 54 h 54"/>
                <a:gd name="T60" fmla="*/ 56 w 130"/>
                <a:gd name="T61" fmla="*/ 53 h 54"/>
                <a:gd name="T62" fmla="*/ 61 w 130"/>
                <a:gd name="T63" fmla="*/ 39 h 54"/>
                <a:gd name="T64" fmla="*/ 60 w 130"/>
                <a:gd name="T65" fmla="*/ 29 h 54"/>
                <a:gd name="T66" fmla="*/ 73 w 130"/>
                <a:gd name="T67" fmla="*/ 22 h 54"/>
                <a:gd name="T68" fmla="*/ 72 w 130"/>
                <a:gd name="T69" fmla="*/ 22 h 54"/>
                <a:gd name="T70" fmla="*/ 75 w 130"/>
                <a:gd name="T71" fmla="*/ 16 h 54"/>
                <a:gd name="T72" fmla="*/ 89 w 130"/>
                <a:gd name="T73" fmla="*/ 11 h 54"/>
                <a:gd name="T74" fmla="*/ 100 w 130"/>
                <a:gd name="T75" fmla="*/ 19 h 54"/>
                <a:gd name="T76" fmla="*/ 105 w 130"/>
                <a:gd name="T77" fmla="*/ 28 h 54"/>
                <a:gd name="T78" fmla="*/ 105 w 130"/>
                <a:gd name="T79" fmla="*/ 24 h 54"/>
                <a:gd name="T80" fmla="*/ 106 w 130"/>
                <a:gd name="T81" fmla="*/ 24 h 54"/>
                <a:gd name="T82" fmla="*/ 108 w 130"/>
                <a:gd name="T83" fmla="*/ 27 h 54"/>
                <a:gd name="T84" fmla="*/ 112 w 130"/>
                <a:gd name="T85" fmla="*/ 26 h 54"/>
                <a:gd name="T86" fmla="*/ 118 w 130"/>
                <a:gd name="T87" fmla="*/ 33 h 54"/>
                <a:gd name="T88" fmla="*/ 113 w 130"/>
                <a:gd name="T89" fmla="*/ 30 h 54"/>
                <a:gd name="T90" fmla="*/ 111 w 130"/>
                <a:gd name="T91" fmla="*/ 27 h 54"/>
                <a:gd name="T92" fmla="*/ 105 w 130"/>
                <a:gd name="T93" fmla="*/ 34 h 54"/>
                <a:gd name="T94" fmla="*/ 115 w 130"/>
                <a:gd name="T95" fmla="*/ 52 h 54"/>
                <a:gd name="T96" fmla="*/ 116 w 130"/>
                <a:gd name="T97" fmla="*/ 50 h 54"/>
                <a:gd name="T98" fmla="*/ 117 w 130"/>
                <a:gd name="T99" fmla="*/ 47 h 54"/>
                <a:gd name="T100" fmla="*/ 118 w 130"/>
                <a:gd name="T101" fmla="*/ 44 h 54"/>
                <a:gd name="T102" fmla="*/ 118 w 130"/>
                <a:gd name="T103" fmla="*/ 41 h 54"/>
                <a:gd name="T104" fmla="*/ 122 w 130"/>
                <a:gd name="T105" fmla="*/ 40 h 54"/>
                <a:gd name="T106" fmla="*/ 124 w 130"/>
                <a:gd name="T107" fmla="*/ 43 h 54"/>
                <a:gd name="T108" fmla="*/ 130 w 130"/>
                <a:gd name="T109" fmla="*/ 37 h 54"/>
                <a:gd name="T110" fmla="*/ 125 w 130"/>
                <a:gd name="T111" fmla="*/ 26 h 54"/>
                <a:gd name="T112" fmla="*/ 116 w 130"/>
                <a:gd name="T113" fmla="*/ 10 h 54"/>
                <a:gd name="T114" fmla="*/ 81 w 130"/>
                <a:gd name="T115" fmla="*/ 0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54">
                  <a:moveTo>
                    <a:pt x="105" y="28"/>
                  </a:moveTo>
                  <a:cubicBezTo>
                    <a:pt x="105" y="28"/>
                    <a:pt x="105" y="28"/>
                    <a:pt x="105" y="28"/>
                  </a:cubicBezTo>
                  <a:cubicBezTo>
                    <a:pt x="105" y="28"/>
                    <a:pt x="105" y="28"/>
                    <a:pt x="105" y="28"/>
                  </a:cubicBezTo>
                  <a:cubicBezTo>
                    <a:pt x="105" y="28"/>
                    <a:pt x="105" y="28"/>
                    <a:pt x="105" y="28"/>
                  </a:cubicBezTo>
                  <a:moveTo>
                    <a:pt x="109" y="24"/>
                  </a:moveTo>
                  <a:cubicBezTo>
                    <a:pt x="109" y="24"/>
                    <a:pt x="109" y="24"/>
                    <a:pt x="109" y="24"/>
                  </a:cubicBezTo>
                  <a:cubicBezTo>
                    <a:pt x="109" y="24"/>
                    <a:pt x="109" y="24"/>
                    <a:pt x="109" y="24"/>
                  </a:cubicBezTo>
                  <a:cubicBezTo>
                    <a:pt x="109" y="24"/>
                    <a:pt x="109" y="24"/>
                    <a:pt x="109" y="24"/>
                  </a:cubicBezTo>
                  <a:cubicBezTo>
                    <a:pt x="109" y="24"/>
                    <a:pt x="109" y="24"/>
                    <a:pt x="109" y="24"/>
                  </a:cubicBezTo>
                  <a:moveTo>
                    <a:pt x="81" y="0"/>
                  </a:moveTo>
                  <a:cubicBezTo>
                    <a:pt x="77" y="0"/>
                    <a:pt x="70" y="3"/>
                    <a:pt x="67" y="6"/>
                  </a:cubicBezTo>
                  <a:cubicBezTo>
                    <a:pt x="63" y="10"/>
                    <a:pt x="56" y="12"/>
                    <a:pt x="51" y="14"/>
                  </a:cubicBezTo>
                  <a:cubicBezTo>
                    <a:pt x="48" y="16"/>
                    <a:pt x="44" y="18"/>
                    <a:pt x="41" y="18"/>
                  </a:cubicBezTo>
                  <a:cubicBezTo>
                    <a:pt x="40" y="18"/>
                    <a:pt x="39" y="17"/>
                    <a:pt x="38" y="17"/>
                  </a:cubicBezTo>
                  <a:cubicBezTo>
                    <a:pt x="34" y="15"/>
                    <a:pt x="27" y="13"/>
                    <a:pt x="24" y="9"/>
                  </a:cubicBezTo>
                  <a:cubicBezTo>
                    <a:pt x="25" y="10"/>
                    <a:pt x="26" y="12"/>
                    <a:pt x="27" y="13"/>
                  </a:cubicBezTo>
                  <a:cubicBezTo>
                    <a:pt x="25" y="14"/>
                    <a:pt x="23" y="15"/>
                    <a:pt x="21" y="15"/>
                  </a:cubicBezTo>
                  <a:cubicBezTo>
                    <a:pt x="21" y="15"/>
                    <a:pt x="21" y="15"/>
                    <a:pt x="20" y="14"/>
                  </a:cubicBezTo>
                  <a:cubicBezTo>
                    <a:pt x="18" y="14"/>
                    <a:pt x="14" y="11"/>
                    <a:pt x="17" y="9"/>
                  </a:cubicBezTo>
                  <a:cubicBezTo>
                    <a:pt x="17" y="9"/>
                    <a:pt x="17" y="9"/>
                    <a:pt x="17" y="9"/>
                  </a:cubicBezTo>
                  <a:cubicBezTo>
                    <a:pt x="14" y="9"/>
                    <a:pt x="12" y="5"/>
                    <a:pt x="10" y="2"/>
                  </a:cubicBezTo>
                  <a:cubicBezTo>
                    <a:pt x="9" y="2"/>
                    <a:pt x="9" y="2"/>
                    <a:pt x="9" y="2"/>
                  </a:cubicBezTo>
                  <a:cubicBezTo>
                    <a:pt x="7" y="2"/>
                    <a:pt x="5" y="3"/>
                    <a:pt x="4" y="3"/>
                  </a:cubicBezTo>
                  <a:cubicBezTo>
                    <a:pt x="4" y="2"/>
                    <a:pt x="4" y="2"/>
                    <a:pt x="4" y="2"/>
                  </a:cubicBezTo>
                  <a:cubicBezTo>
                    <a:pt x="3" y="2"/>
                    <a:pt x="3" y="2"/>
                    <a:pt x="3" y="2"/>
                  </a:cubicBezTo>
                  <a:cubicBezTo>
                    <a:pt x="3" y="3"/>
                    <a:pt x="3" y="3"/>
                    <a:pt x="3" y="3"/>
                  </a:cubicBezTo>
                  <a:cubicBezTo>
                    <a:pt x="3" y="3"/>
                    <a:pt x="3" y="3"/>
                    <a:pt x="3" y="3"/>
                  </a:cubicBezTo>
                  <a:cubicBezTo>
                    <a:pt x="3" y="5"/>
                    <a:pt x="3" y="7"/>
                    <a:pt x="3" y="9"/>
                  </a:cubicBezTo>
                  <a:cubicBezTo>
                    <a:pt x="3" y="10"/>
                    <a:pt x="3" y="10"/>
                    <a:pt x="3" y="10"/>
                  </a:cubicBezTo>
                  <a:cubicBezTo>
                    <a:pt x="4" y="11"/>
                    <a:pt x="4" y="11"/>
                    <a:pt x="5" y="11"/>
                  </a:cubicBezTo>
                  <a:cubicBezTo>
                    <a:pt x="5" y="12"/>
                    <a:pt x="6" y="12"/>
                    <a:pt x="6" y="12"/>
                  </a:cubicBezTo>
                  <a:cubicBezTo>
                    <a:pt x="9" y="14"/>
                    <a:pt x="9" y="14"/>
                    <a:pt x="9" y="14"/>
                  </a:cubicBezTo>
                  <a:cubicBezTo>
                    <a:pt x="7" y="17"/>
                    <a:pt x="7" y="17"/>
                    <a:pt x="7" y="17"/>
                  </a:cubicBezTo>
                  <a:cubicBezTo>
                    <a:pt x="7" y="17"/>
                    <a:pt x="6" y="17"/>
                    <a:pt x="6" y="18"/>
                  </a:cubicBezTo>
                  <a:cubicBezTo>
                    <a:pt x="5" y="18"/>
                    <a:pt x="5" y="18"/>
                    <a:pt x="5" y="18"/>
                  </a:cubicBezTo>
                  <a:cubicBezTo>
                    <a:pt x="4" y="19"/>
                    <a:pt x="4" y="19"/>
                    <a:pt x="3" y="20"/>
                  </a:cubicBezTo>
                  <a:cubicBezTo>
                    <a:pt x="4" y="20"/>
                    <a:pt x="5" y="21"/>
                    <a:pt x="5" y="22"/>
                  </a:cubicBezTo>
                  <a:cubicBezTo>
                    <a:pt x="5" y="24"/>
                    <a:pt x="4" y="25"/>
                    <a:pt x="3" y="26"/>
                  </a:cubicBezTo>
                  <a:cubicBezTo>
                    <a:pt x="3" y="26"/>
                    <a:pt x="3" y="26"/>
                    <a:pt x="3" y="26"/>
                  </a:cubicBezTo>
                  <a:cubicBezTo>
                    <a:pt x="2" y="27"/>
                    <a:pt x="1" y="28"/>
                    <a:pt x="1" y="28"/>
                  </a:cubicBezTo>
                  <a:cubicBezTo>
                    <a:pt x="0" y="29"/>
                    <a:pt x="0" y="29"/>
                    <a:pt x="0" y="29"/>
                  </a:cubicBezTo>
                  <a:cubicBezTo>
                    <a:pt x="0" y="29"/>
                    <a:pt x="0" y="29"/>
                    <a:pt x="0" y="29"/>
                  </a:cubicBezTo>
                  <a:cubicBezTo>
                    <a:pt x="2" y="33"/>
                    <a:pt x="2" y="33"/>
                    <a:pt x="2" y="33"/>
                  </a:cubicBezTo>
                  <a:cubicBezTo>
                    <a:pt x="3" y="31"/>
                    <a:pt x="5" y="29"/>
                    <a:pt x="6" y="29"/>
                  </a:cubicBezTo>
                  <a:cubicBezTo>
                    <a:pt x="10" y="29"/>
                    <a:pt x="13" y="29"/>
                    <a:pt x="16" y="28"/>
                  </a:cubicBezTo>
                  <a:cubicBezTo>
                    <a:pt x="17" y="30"/>
                    <a:pt x="16" y="32"/>
                    <a:pt x="18" y="32"/>
                  </a:cubicBezTo>
                  <a:cubicBezTo>
                    <a:pt x="18" y="32"/>
                    <a:pt x="18" y="32"/>
                    <a:pt x="18" y="32"/>
                  </a:cubicBezTo>
                  <a:cubicBezTo>
                    <a:pt x="19" y="32"/>
                    <a:pt x="21" y="31"/>
                    <a:pt x="23" y="31"/>
                  </a:cubicBezTo>
                  <a:cubicBezTo>
                    <a:pt x="23" y="31"/>
                    <a:pt x="23" y="31"/>
                    <a:pt x="23" y="31"/>
                  </a:cubicBezTo>
                  <a:cubicBezTo>
                    <a:pt x="24" y="31"/>
                    <a:pt x="24" y="31"/>
                    <a:pt x="24" y="32"/>
                  </a:cubicBezTo>
                  <a:cubicBezTo>
                    <a:pt x="25" y="32"/>
                    <a:pt x="25" y="33"/>
                    <a:pt x="26" y="33"/>
                  </a:cubicBezTo>
                  <a:cubicBezTo>
                    <a:pt x="26" y="33"/>
                    <a:pt x="27" y="32"/>
                    <a:pt x="27" y="32"/>
                  </a:cubicBezTo>
                  <a:cubicBezTo>
                    <a:pt x="29" y="36"/>
                    <a:pt x="30" y="39"/>
                    <a:pt x="33" y="42"/>
                  </a:cubicBezTo>
                  <a:cubicBezTo>
                    <a:pt x="32" y="43"/>
                    <a:pt x="35" y="44"/>
                    <a:pt x="36" y="44"/>
                  </a:cubicBezTo>
                  <a:cubicBezTo>
                    <a:pt x="37" y="44"/>
                    <a:pt x="38" y="45"/>
                    <a:pt x="39" y="45"/>
                  </a:cubicBezTo>
                  <a:cubicBezTo>
                    <a:pt x="40" y="42"/>
                    <a:pt x="38" y="39"/>
                    <a:pt x="42" y="39"/>
                  </a:cubicBezTo>
                  <a:cubicBezTo>
                    <a:pt x="42" y="39"/>
                    <a:pt x="42" y="39"/>
                    <a:pt x="42" y="39"/>
                  </a:cubicBezTo>
                  <a:cubicBezTo>
                    <a:pt x="44" y="39"/>
                    <a:pt x="44" y="43"/>
                    <a:pt x="45" y="45"/>
                  </a:cubicBezTo>
                  <a:cubicBezTo>
                    <a:pt x="46" y="47"/>
                    <a:pt x="47" y="50"/>
                    <a:pt x="47" y="51"/>
                  </a:cubicBezTo>
                  <a:cubicBezTo>
                    <a:pt x="47" y="52"/>
                    <a:pt x="47" y="53"/>
                    <a:pt x="46" y="54"/>
                  </a:cubicBezTo>
                  <a:cubicBezTo>
                    <a:pt x="48" y="54"/>
                    <a:pt x="49" y="54"/>
                    <a:pt x="51" y="54"/>
                  </a:cubicBezTo>
                  <a:cubicBezTo>
                    <a:pt x="53" y="54"/>
                    <a:pt x="54" y="54"/>
                    <a:pt x="56" y="53"/>
                  </a:cubicBezTo>
                  <a:cubicBezTo>
                    <a:pt x="60" y="51"/>
                    <a:pt x="63" y="50"/>
                    <a:pt x="68" y="49"/>
                  </a:cubicBezTo>
                  <a:cubicBezTo>
                    <a:pt x="66" y="44"/>
                    <a:pt x="64" y="42"/>
                    <a:pt x="61" y="39"/>
                  </a:cubicBezTo>
                  <a:cubicBezTo>
                    <a:pt x="58" y="36"/>
                    <a:pt x="55" y="33"/>
                    <a:pt x="59" y="29"/>
                  </a:cubicBezTo>
                  <a:cubicBezTo>
                    <a:pt x="59" y="29"/>
                    <a:pt x="60" y="29"/>
                    <a:pt x="60" y="29"/>
                  </a:cubicBezTo>
                  <a:cubicBezTo>
                    <a:pt x="64" y="29"/>
                    <a:pt x="72" y="23"/>
                    <a:pt x="75" y="21"/>
                  </a:cubicBezTo>
                  <a:cubicBezTo>
                    <a:pt x="74" y="21"/>
                    <a:pt x="74" y="22"/>
                    <a:pt x="73" y="22"/>
                  </a:cubicBezTo>
                  <a:cubicBezTo>
                    <a:pt x="73" y="22"/>
                    <a:pt x="73" y="22"/>
                    <a:pt x="73" y="22"/>
                  </a:cubicBezTo>
                  <a:cubicBezTo>
                    <a:pt x="73" y="22"/>
                    <a:pt x="73" y="22"/>
                    <a:pt x="72" y="22"/>
                  </a:cubicBezTo>
                  <a:cubicBezTo>
                    <a:pt x="72" y="22"/>
                    <a:pt x="72" y="22"/>
                    <a:pt x="72" y="22"/>
                  </a:cubicBezTo>
                  <a:cubicBezTo>
                    <a:pt x="73" y="20"/>
                    <a:pt x="73" y="18"/>
                    <a:pt x="75" y="16"/>
                  </a:cubicBezTo>
                  <a:cubicBezTo>
                    <a:pt x="75" y="16"/>
                    <a:pt x="78" y="15"/>
                    <a:pt x="79" y="14"/>
                  </a:cubicBezTo>
                  <a:cubicBezTo>
                    <a:pt x="82" y="12"/>
                    <a:pt x="86" y="14"/>
                    <a:pt x="89" y="11"/>
                  </a:cubicBezTo>
                  <a:cubicBezTo>
                    <a:pt x="88" y="13"/>
                    <a:pt x="89" y="13"/>
                    <a:pt x="91" y="14"/>
                  </a:cubicBezTo>
                  <a:cubicBezTo>
                    <a:pt x="94" y="15"/>
                    <a:pt x="97" y="17"/>
                    <a:pt x="100" y="19"/>
                  </a:cubicBezTo>
                  <a:cubicBezTo>
                    <a:pt x="100" y="18"/>
                    <a:pt x="100" y="18"/>
                    <a:pt x="100" y="18"/>
                  </a:cubicBezTo>
                  <a:cubicBezTo>
                    <a:pt x="102" y="21"/>
                    <a:pt x="103" y="25"/>
                    <a:pt x="105" y="28"/>
                  </a:cubicBezTo>
                  <a:cubicBezTo>
                    <a:pt x="105" y="28"/>
                    <a:pt x="105" y="27"/>
                    <a:pt x="105" y="26"/>
                  </a:cubicBezTo>
                  <a:cubicBezTo>
                    <a:pt x="105" y="25"/>
                    <a:pt x="105" y="24"/>
                    <a:pt x="105" y="24"/>
                  </a:cubicBezTo>
                  <a:cubicBezTo>
                    <a:pt x="105" y="24"/>
                    <a:pt x="105" y="24"/>
                    <a:pt x="105" y="24"/>
                  </a:cubicBezTo>
                  <a:cubicBezTo>
                    <a:pt x="105" y="24"/>
                    <a:pt x="106" y="24"/>
                    <a:pt x="106" y="24"/>
                  </a:cubicBezTo>
                  <a:cubicBezTo>
                    <a:pt x="107" y="24"/>
                    <a:pt x="108" y="24"/>
                    <a:pt x="109" y="25"/>
                  </a:cubicBezTo>
                  <a:cubicBezTo>
                    <a:pt x="109" y="25"/>
                    <a:pt x="109" y="27"/>
                    <a:pt x="108" y="27"/>
                  </a:cubicBezTo>
                  <a:cubicBezTo>
                    <a:pt x="109" y="26"/>
                    <a:pt x="110" y="25"/>
                    <a:pt x="111" y="25"/>
                  </a:cubicBezTo>
                  <a:cubicBezTo>
                    <a:pt x="111" y="25"/>
                    <a:pt x="111" y="26"/>
                    <a:pt x="112" y="26"/>
                  </a:cubicBezTo>
                  <a:cubicBezTo>
                    <a:pt x="112" y="25"/>
                    <a:pt x="112" y="24"/>
                    <a:pt x="111" y="23"/>
                  </a:cubicBezTo>
                  <a:cubicBezTo>
                    <a:pt x="114" y="26"/>
                    <a:pt x="117" y="29"/>
                    <a:pt x="118" y="33"/>
                  </a:cubicBezTo>
                  <a:cubicBezTo>
                    <a:pt x="118" y="32"/>
                    <a:pt x="117" y="31"/>
                    <a:pt x="116" y="31"/>
                  </a:cubicBezTo>
                  <a:cubicBezTo>
                    <a:pt x="115" y="30"/>
                    <a:pt x="115" y="31"/>
                    <a:pt x="113" y="30"/>
                  </a:cubicBezTo>
                  <a:cubicBezTo>
                    <a:pt x="113" y="30"/>
                    <a:pt x="112" y="29"/>
                    <a:pt x="112" y="28"/>
                  </a:cubicBezTo>
                  <a:cubicBezTo>
                    <a:pt x="111" y="28"/>
                    <a:pt x="112" y="27"/>
                    <a:pt x="111" y="27"/>
                  </a:cubicBezTo>
                  <a:cubicBezTo>
                    <a:pt x="111" y="27"/>
                    <a:pt x="111" y="27"/>
                    <a:pt x="111" y="27"/>
                  </a:cubicBezTo>
                  <a:cubicBezTo>
                    <a:pt x="109" y="27"/>
                    <a:pt x="105" y="33"/>
                    <a:pt x="105" y="34"/>
                  </a:cubicBezTo>
                  <a:cubicBezTo>
                    <a:pt x="103" y="40"/>
                    <a:pt x="110" y="47"/>
                    <a:pt x="115" y="52"/>
                  </a:cubicBezTo>
                  <a:cubicBezTo>
                    <a:pt x="115" y="52"/>
                    <a:pt x="115" y="52"/>
                    <a:pt x="115" y="52"/>
                  </a:cubicBezTo>
                  <a:cubicBezTo>
                    <a:pt x="115" y="51"/>
                    <a:pt x="115" y="51"/>
                    <a:pt x="116" y="50"/>
                  </a:cubicBezTo>
                  <a:cubicBezTo>
                    <a:pt x="116" y="50"/>
                    <a:pt x="116" y="50"/>
                    <a:pt x="116" y="50"/>
                  </a:cubicBezTo>
                  <a:cubicBezTo>
                    <a:pt x="117" y="49"/>
                    <a:pt x="117" y="48"/>
                    <a:pt x="117" y="48"/>
                  </a:cubicBezTo>
                  <a:cubicBezTo>
                    <a:pt x="117" y="47"/>
                    <a:pt x="117" y="47"/>
                    <a:pt x="117" y="47"/>
                  </a:cubicBezTo>
                  <a:cubicBezTo>
                    <a:pt x="118" y="47"/>
                    <a:pt x="118" y="46"/>
                    <a:pt x="118" y="46"/>
                  </a:cubicBezTo>
                  <a:cubicBezTo>
                    <a:pt x="118" y="44"/>
                    <a:pt x="118" y="44"/>
                    <a:pt x="118" y="44"/>
                  </a:cubicBezTo>
                  <a:cubicBezTo>
                    <a:pt x="118" y="44"/>
                    <a:pt x="118" y="43"/>
                    <a:pt x="118" y="42"/>
                  </a:cubicBezTo>
                  <a:cubicBezTo>
                    <a:pt x="118" y="41"/>
                    <a:pt x="118" y="41"/>
                    <a:pt x="118" y="41"/>
                  </a:cubicBezTo>
                  <a:cubicBezTo>
                    <a:pt x="120" y="42"/>
                    <a:pt x="120" y="42"/>
                    <a:pt x="120" y="42"/>
                  </a:cubicBezTo>
                  <a:cubicBezTo>
                    <a:pt x="122" y="40"/>
                    <a:pt x="122" y="40"/>
                    <a:pt x="122" y="40"/>
                  </a:cubicBezTo>
                  <a:cubicBezTo>
                    <a:pt x="123" y="41"/>
                    <a:pt x="123" y="41"/>
                    <a:pt x="123" y="41"/>
                  </a:cubicBezTo>
                  <a:cubicBezTo>
                    <a:pt x="123" y="41"/>
                    <a:pt x="124" y="42"/>
                    <a:pt x="124" y="43"/>
                  </a:cubicBezTo>
                  <a:cubicBezTo>
                    <a:pt x="124" y="43"/>
                    <a:pt x="125" y="42"/>
                    <a:pt x="125" y="42"/>
                  </a:cubicBezTo>
                  <a:cubicBezTo>
                    <a:pt x="126" y="40"/>
                    <a:pt x="128" y="38"/>
                    <a:pt x="130" y="37"/>
                  </a:cubicBezTo>
                  <a:cubicBezTo>
                    <a:pt x="129" y="35"/>
                    <a:pt x="128" y="33"/>
                    <a:pt x="127" y="31"/>
                  </a:cubicBezTo>
                  <a:cubicBezTo>
                    <a:pt x="126" y="29"/>
                    <a:pt x="126" y="28"/>
                    <a:pt x="125" y="26"/>
                  </a:cubicBezTo>
                  <a:cubicBezTo>
                    <a:pt x="123" y="24"/>
                    <a:pt x="125" y="22"/>
                    <a:pt x="126" y="20"/>
                  </a:cubicBezTo>
                  <a:cubicBezTo>
                    <a:pt x="123" y="18"/>
                    <a:pt x="119" y="11"/>
                    <a:pt x="116" y="10"/>
                  </a:cubicBezTo>
                  <a:cubicBezTo>
                    <a:pt x="110" y="8"/>
                    <a:pt x="103" y="5"/>
                    <a:pt x="96" y="3"/>
                  </a:cubicBezTo>
                  <a:cubicBezTo>
                    <a:pt x="91" y="1"/>
                    <a:pt x="87" y="0"/>
                    <a:pt x="81" y="0"/>
                  </a:cubicBezTo>
                  <a:cubicBezTo>
                    <a:pt x="81" y="0"/>
                    <a:pt x="81" y="0"/>
                    <a:pt x="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273"/>
            <p:cNvSpPr>
              <a:spLocks noEditPoints="1"/>
            </p:cNvSpPr>
            <p:nvPr/>
          </p:nvSpPr>
          <p:spPr bwMode="auto">
            <a:xfrm>
              <a:off x="5124620" y="0"/>
              <a:ext cx="1970117" cy="861487"/>
            </a:xfrm>
            <a:custGeom>
              <a:gdLst>
                <a:gd name="T0" fmla="*/ 482 w 590"/>
                <a:gd name="T1" fmla="*/ 157 h 258"/>
                <a:gd name="T2" fmla="*/ 3 w 590"/>
                <a:gd name="T3" fmla="*/ 0 h 258"/>
                <a:gd name="T4" fmla="*/ 14 w 590"/>
                <a:gd name="T5" fmla="*/ 20 h 258"/>
                <a:gd name="T6" fmla="*/ 62 w 590"/>
                <a:gd name="T7" fmla="*/ 54 h 258"/>
                <a:gd name="T8" fmla="*/ 54 w 590"/>
                <a:gd name="T9" fmla="*/ 32 h 258"/>
                <a:gd name="T10" fmla="*/ 43 w 590"/>
                <a:gd name="T11" fmla="*/ 28 h 258"/>
                <a:gd name="T12" fmla="*/ 336 w 590"/>
                <a:gd name="T13" fmla="*/ 0 h 258"/>
                <a:gd name="T14" fmla="*/ 101 w 590"/>
                <a:gd name="T15" fmla="*/ 20 h 258"/>
                <a:gd name="T16" fmla="*/ 107 w 590"/>
                <a:gd name="T17" fmla="*/ 21 h 258"/>
                <a:gd name="T18" fmla="*/ 126 w 590"/>
                <a:gd name="T19" fmla="*/ 43 h 258"/>
                <a:gd name="T20" fmla="*/ 158 w 590"/>
                <a:gd name="T21" fmla="*/ 108 h 258"/>
                <a:gd name="T22" fmla="*/ 152 w 590"/>
                <a:gd name="T23" fmla="*/ 119 h 258"/>
                <a:gd name="T24" fmla="*/ 210 w 590"/>
                <a:gd name="T25" fmla="*/ 173 h 258"/>
                <a:gd name="T26" fmla="*/ 238 w 590"/>
                <a:gd name="T27" fmla="*/ 179 h 258"/>
                <a:gd name="T28" fmla="*/ 323 w 590"/>
                <a:gd name="T29" fmla="*/ 220 h 258"/>
                <a:gd name="T30" fmla="*/ 365 w 590"/>
                <a:gd name="T31" fmla="*/ 234 h 258"/>
                <a:gd name="T32" fmla="*/ 402 w 590"/>
                <a:gd name="T33" fmla="*/ 221 h 258"/>
                <a:gd name="T34" fmla="*/ 407 w 590"/>
                <a:gd name="T35" fmla="*/ 218 h 258"/>
                <a:gd name="T36" fmla="*/ 414 w 590"/>
                <a:gd name="T37" fmla="*/ 220 h 258"/>
                <a:gd name="T38" fmla="*/ 461 w 590"/>
                <a:gd name="T39" fmla="*/ 258 h 258"/>
                <a:gd name="T40" fmla="*/ 462 w 590"/>
                <a:gd name="T41" fmla="*/ 251 h 258"/>
                <a:gd name="T42" fmla="*/ 462 w 590"/>
                <a:gd name="T43" fmla="*/ 241 h 258"/>
                <a:gd name="T44" fmla="*/ 470 w 590"/>
                <a:gd name="T45" fmla="*/ 227 h 258"/>
                <a:gd name="T46" fmla="*/ 489 w 590"/>
                <a:gd name="T47" fmla="*/ 221 h 258"/>
                <a:gd name="T48" fmla="*/ 503 w 590"/>
                <a:gd name="T49" fmla="*/ 218 h 258"/>
                <a:gd name="T50" fmla="*/ 493 w 590"/>
                <a:gd name="T51" fmla="*/ 210 h 258"/>
                <a:gd name="T52" fmla="*/ 480 w 590"/>
                <a:gd name="T53" fmla="*/ 198 h 258"/>
                <a:gd name="T54" fmla="*/ 495 w 590"/>
                <a:gd name="T55" fmla="*/ 179 h 258"/>
                <a:gd name="T56" fmla="*/ 532 w 590"/>
                <a:gd name="T57" fmla="*/ 180 h 258"/>
                <a:gd name="T58" fmla="*/ 534 w 590"/>
                <a:gd name="T59" fmla="*/ 177 h 258"/>
                <a:gd name="T60" fmla="*/ 541 w 590"/>
                <a:gd name="T61" fmla="*/ 177 h 258"/>
                <a:gd name="T62" fmla="*/ 546 w 590"/>
                <a:gd name="T63" fmla="*/ 169 h 258"/>
                <a:gd name="T64" fmla="*/ 556 w 590"/>
                <a:gd name="T65" fmla="*/ 164 h 258"/>
                <a:gd name="T66" fmla="*/ 574 w 590"/>
                <a:gd name="T67" fmla="*/ 147 h 258"/>
                <a:gd name="T68" fmla="*/ 572 w 590"/>
                <a:gd name="T69" fmla="*/ 144 h 258"/>
                <a:gd name="T70" fmla="*/ 574 w 590"/>
                <a:gd name="T71" fmla="*/ 130 h 258"/>
                <a:gd name="T72" fmla="*/ 585 w 590"/>
                <a:gd name="T73" fmla="*/ 93 h 258"/>
                <a:gd name="T74" fmla="*/ 573 w 590"/>
                <a:gd name="T75" fmla="*/ 94 h 258"/>
                <a:gd name="T76" fmla="*/ 515 w 590"/>
                <a:gd name="T77" fmla="*/ 101 h 258"/>
                <a:gd name="T78" fmla="*/ 498 w 590"/>
                <a:gd name="T79" fmla="*/ 143 h 258"/>
                <a:gd name="T80" fmla="*/ 484 w 590"/>
                <a:gd name="T81" fmla="*/ 160 h 258"/>
                <a:gd name="T82" fmla="*/ 473 w 590"/>
                <a:gd name="T83" fmla="*/ 169 h 258"/>
                <a:gd name="T84" fmla="*/ 468 w 590"/>
                <a:gd name="T85" fmla="*/ 161 h 258"/>
                <a:gd name="T86" fmla="*/ 441 w 590"/>
                <a:gd name="T87" fmla="*/ 168 h 258"/>
                <a:gd name="T88" fmla="*/ 402 w 590"/>
                <a:gd name="T89" fmla="*/ 165 h 258"/>
                <a:gd name="T90" fmla="*/ 386 w 590"/>
                <a:gd name="T91" fmla="*/ 161 h 258"/>
                <a:gd name="T92" fmla="*/ 376 w 590"/>
                <a:gd name="T93" fmla="*/ 158 h 258"/>
                <a:gd name="T94" fmla="*/ 358 w 590"/>
                <a:gd name="T95" fmla="*/ 125 h 258"/>
                <a:gd name="T96" fmla="*/ 343 w 590"/>
                <a:gd name="T97" fmla="*/ 96 h 258"/>
                <a:gd name="T98" fmla="*/ 334 w 590"/>
                <a:gd name="T99" fmla="*/ 53 h 258"/>
                <a:gd name="T100" fmla="*/ 336 w 590"/>
                <a:gd name="T101" fmla="*/ 0 h 258"/>
                <a:gd name="T102" fmla="*/ 340 w 590"/>
                <a:gd name="T103" fmla="*/ 0 h 2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0" h="258">
                  <a:moveTo>
                    <a:pt x="482" y="157"/>
                  </a:moveTo>
                  <a:cubicBezTo>
                    <a:pt x="482" y="157"/>
                    <a:pt x="482" y="157"/>
                    <a:pt x="482" y="157"/>
                  </a:cubicBezTo>
                  <a:cubicBezTo>
                    <a:pt x="482" y="157"/>
                    <a:pt x="482" y="157"/>
                    <a:pt x="482" y="157"/>
                  </a:cubicBezTo>
                  <a:cubicBezTo>
                    <a:pt x="482" y="157"/>
                    <a:pt x="482" y="157"/>
                    <a:pt x="482" y="157"/>
                  </a:cubicBezTo>
                  <a:moveTo>
                    <a:pt x="482" y="157"/>
                  </a:moveTo>
                  <a:cubicBezTo>
                    <a:pt x="482" y="157"/>
                    <a:pt x="482" y="157"/>
                    <a:pt x="482" y="157"/>
                  </a:cubicBezTo>
                  <a:cubicBezTo>
                    <a:pt x="482" y="157"/>
                    <a:pt x="482" y="157"/>
                    <a:pt x="482" y="157"/>
                  </a:cubicBezTo>
                  <a:cubicBezTo>
                    <a:pt x="482" y="157"/>
                    <a:pt x="482" y="157"/>
                    <a:pt x="482" y="157"/>
                  </a:cubicBezTo>
                  <a:moveTo>
                    <a:pt x="29" y="0"/>
                  </a:moveTo>
                  <a:cubicBezTo>
                    <a:pt x="3" y="0"/>
                    <a:pt x="3" y="0"/>
                    <a:pt x="3" y="0"/>
                  </a:cubicBezTo>
                  <a:cubicBezTo>
                    <a:pt x="3" y="1"/>
                    <a:pt x="2" y="2"/>
                    <a:pt x="1" y="4"/>
                  </a:cubicBezTo>
                  <a:cubicBezTo>
                    <a:pt x="1" y="6"/>
                    <a:pt x="1" y="9"/>
                    <a:pt x="0" y="12"/>
                  </a:cubicBezTo>
                  <a:cubicBezTo>
                    <a:pt x="1" y="10"/>
                    <a:pt x="1" y="9"/>
                    <a:pt x="2" y="8"/>
                  </a:cubicBezTo>
                  <a:cubicBezTo>
                    <a:pt x="2" y="9"/>
                    <a:pt x="2" y="12"/>
                    <a:pt x="2" y="13"/>
                  </a:cubicBezTo>
                  <a:cubicBezTo>
                    <a:pt x="6" y="16"/>
                    <a:pt x="10" y="17"/>
                    <a:pt x="14" y="20"/>
                  </a:cubicBezTo>
                  <a:cubicBezTo>
                    <a:pt x="21" y="26"/>
                    <a:pt x="28" y="31"/>
                    <a:pt x="35" y="36"/>
                  </a:cubicBezTo>
                  <a:cubicBezTo>
                    <a:pt x="38" y="39"/>
                    <a:pt x="41" y="41"/>
                    <a:pt x="43" y="44"/>
                  </a:cubicBezTo>
                  <a:cubicBezTo>
                    <a:pt x="47" y="48"/>
                    <a:pt x="50" y="55"/>
                    <a:pt x="53" y="60"/>
                  </a:cubicBezTo>
                  <a:cubicBezTo>
                    <a:pt x="54" y="59"/>
                    <a:pt x="56" y="57"/>
                    <a:pt x="58" y="56"/>
                  </a:cubicBezTo>
                  <a:cubicBezTo>
                    <a:pt x="59" y="55"/>
                    <a:pt x="61" y="55"/>
                    <a:pt x="62" y="54"/>
                  </a:cubicBezTo>
                  <a:cubicBezTo>
                    <a:pt x="64" y="52"/>
                    <a:pt x="64" y="49"/>
                    <a:pt x="64" y="47"/>
                  </a:cubicBezTo>
                  <a:cubicBezTo>
                    <a:pt x="63" y="42"/>
                    <a:pt x="59" y="42"/>
                    <a:pt x="58" y="39"/>
                  </a:cubicBezTo>
                  <a:cubicBezTo>
                    <a:pt x="57" y="38"/>
                    <a:pt x="57" y="33"/>
                    <a:pt x="56" y="32"/>
                  </a:cubicBezTo>
                  <a:cubicBezTo>
                    <a:pt x="55" y="32"/>
                    <a:pt x="55" y="32"/>
                    <a:pt x="55" y="32"/>
                  </a:cubicBezTo>
                  <a:cubicBezTo>
                    <a:pt x="54" y="32"/>
                    <a:pt x="54" y="32"/>
                    <a:pt x="54" y="32"/>
                  </a:cubicBezTo>
                  <a:cubicBezTo>
                    <a:pt x="53" y="32"/>
                    <a:pt x="53" y="32"/>
                    <a:pt x="53" y="32"/>
                  </a:cubicBezTo>
                  <a:cubicBezTo>
                    <a:pt x="52" y="32"/>
                    <a:pt x="52" y="32"/>
                    <a:pt x="52" y="32"/>
                  </a:cubicBezTo>
                  <a:cubicBezTo>
                    <a:pt x="50" y="31"/>
                    <a:pt x="47" y="24"/>
                    <a:pt x="45" y="24"/>
                  </a:cubicBezTo>
                  <a:cubicBezTo>
                    <a:pt x="45" y="24"/>
                    <a:pt x="45" y="24"/>
                    <a:pt x="45" y="24"/>
                  </a:cubicBezTo>
                  <a:cubicBezTo>
                    <a:pt x="43" y="24"/>
                    <a:pt x="44" y="26"/>
                    <a:pt x="43" y="28"/>
                  </a:cubicBezTo>
                  <a:cubicBezTo>
                    <a:pt x="41" y="28"/>
                    <a:pt x="39" y="28"/>
                    <a:pt x="37" y="27"/>
                  </a:cubicBezTo>
                  <a:cubicBezTo>
                    <a:pt x="34" y="24"/>
                    <a:pt x="35" y="18"/>
                    <a:pt x="35" y="15"/>
                  </a:cubicBezTo>
                  <a:cubicBezTo>
                    <a:pt x="35" y="10"/>
                    <a:pt x="32" y="6"/>
                    <a:pt x="30" y="1"/>
                  </a:cubicBezTo>
                  <a:cubicBezTo>
                    <a:pt x="29" y="1"/>
                    <a:pt x="29" y="0"/>
                    <a:pt x="29" y="0"/>
                  </a:cubicBezTo>
                  <a:moveTo>
                    <a:pt x="336" y="0"/>
                  </a:moveTo>
                  <a:cubicBezTo>
                    <a:pt x="84" y="0"/>
                    <a:pt x="84" y="0"/>
                    <a:pt x="84" y="0"/>
                  </a:cubicBezTo>
                  <a:cubicBezTo>
                    <a:pt x="87" y="1"/>
                    <a:pt x="90" y="2"/>
                    <a:pt x="92" y="4"/>
                  </a:cubicBezTo>
                  <a:cubicBezTo>
                    <a:pt x="94" y="6"/>
                    <a:pt x="95" y="7"/>
                    <a:pt x="97" y="9"/>
                  </a:cubicBezTo>
                  <a:cubicBezTo>
                    <a:pt x="98" y="9"/>
                    <a:pt x="97" y="12"/>
                    <a:pt x="97" y="13"/>
                  </a:cubicBezTo>
                  <a:cubicBezTo>
                    <a:pt x="98" y="15"/>
                    <a:pt x="98" y="19"/>
                    <a:pt x="101" y="20"/>
                  </a:cubicBezTo>
                  <a:cubicBezTo>
                    <a:pt x="101" y="19"/>
                    <a:pt x="100" y="19"/>
                    <a:pt x="100" y="18"/>
                  </a:cubicBezTo>
                  <a:cubicBezTo>
                    <a:pt x="101" y="19"/>
                    <a:pt x="102" y="20"/>
                    <a:pt x="104" y="21"/>
                  </a:cubicBezTo>
                  <a:cubicBezTo>
                    <a:pt x="105" y="21"/>
                    <a:pt x="105" y="21"/>
                    <a:pt x="106" y="21"/>
                  </a:cubicBezTo>
                  <a:cubicBezTo>
                    <a:pt x="106" y="21"/>
                    <a:pt x="106" y="21"/>
                    <a:pt x="106" y="21"/>
                  </a:cubicBezTo>
                  <a:cubicBezTo>
                    <a:pt x="107" y="21"/>
                    <a:pt x="107" y="21"/>
                    <a:pt x="107" y="21"/>
                  </a:cubicBezTo>
                  <a:cubicBezTo>
                    <a:pt x="107" y="20"/>
                    <a:pt x="108" y="20"/>
                    <a:pt x="108" y="20"/>
                  </a:cubicBezTo>
                  <a:cubicBezTo>
                    <a:pt x="108" y="20"/>
                    <a:pt x="108" y="20"/>
                    <a:pt x="108" y="20"/>
                  </a:cubicBezTo>
                  <a:cubicBezTo>
                    <a:pt x="110" y="21"/>
                    <a:pt x="108" y="23"/>
                    <a:pt x="107" y="23"/>
                  </a:cubicBezTo>
                  <a:cubicBezTo>
                    <a:pt x="107" y="23"/>
                    <a:pt x="107" y="23"/>
                    <a:pt x="107" y="23"/>
                  </a:cubicBezTo>
                  <a:cubicBezTo>
                    <a:pt x="114" y="29"/>
                    <a:pt x="120" y="35"/>
                    <a:pt x="126" y="43"/>
                  </a:cubicBezTo>
                  <a:cubicBezTo>
                    <a:pt x="133" y="52"/>
                    <a:pt x="140" y="59"/>
                    <a:pt x="148" y="67"/>
                  </a:cubicBezTo>
                  <a:cubicBezTo>
                    <a:pt x="151" y="70"/>
                    <a:pt x="152" y="76"/>
                    <a:pt x="152" y="80"/>
                  </a:cubicBezTo>
                  <a:cubicBezTo>
                    <a:pt x="152" y="85"/>
                    <a:pt x="157" y="90"/>
                    <a:pt x="159" y="93"/>
                  </a:cubicBezTo>
                  <a:cubicBezTo>
                    <a:pt x="161" y="96"/>
                    <a:pt x="162" y="96"/>
                    <a:pt x="161" y="98"/>
                  </a:cubicBezTo>
                  <a:cubicBezTo>
                    <a:pt x="160" y="101"/>
                    <a:pt x="159" y="105"/>
                    <a:pt x="158" y="108"/>
                  </a:cubicBezTo>
                  <a:cubicBezTo>
                    <a:pt x="157" y="109"/>
                    <a:pt x="156" y="110"/>
                    <a:pt x="154" y="111"/>
                  </a:cubicBezTo>
                  <a:cubicBezTo>
                    <a:pt x="156" y="112"/>
                    <a:pt x="157" y="112"/>
                    <a:pt x="159" y="112"/>
                  </a:cubicBezTo>
                  <a:cubicBezTo>
                    <a:pt x="159" y="113"/>
                    <a:pt x="160" y="113"/>
                    <a:pt x="161" y="113"/>
                  </a:cubicBezTo>
                  <a:cubicBezTo>
                    <a:pt x="160" y="115"/>
                    <a:pt x="162" y="116"/>
                    <a:pt x="160" y="116"/>
                  </a:cubicBezTo>
                  <a:cubicBezTo>
                    <a:pt x="158" y="117"/>
                    <a:pt x="153" y="118"/>
                    <a:pt x="152" y="119"/>
                  </a:cubicBezTo>
                  <a:cubicBezTo>
                    <a:pt x="150" y="123"/>
                    <a:pt x="159" y="134"/>
                    <a:pt x="160" y="137"/>
                  </a:cubicBezTo>
                  <a:cubicBezTo>
                    <a:pt x="164" y="143"/>
                    <a:pt x="169" y="147"/>
                    <a:pt x="175" y="150"/>
                  </a:cubicBezTo>
                  <a:cubicBezTo>
                    <a:pt x="180" y="153"/>
                    <a:pt x="186" y="155"/>
                    <a:pt x="191" y="158"/>
                  </a:cubicBezTo>
                  <a:cubicBezTo>
                    <a:pt x="196" y="161"/>
                    <a:pt x="198" y="165"/>
                    <a:pt x="201" y="169"/>
                  </a:cubicBezTo>
                  <a:cubicBezTo>
                    <a:pt x="203" y="171"/>
                    <a:pt x="206" y="172"/>
                    <a:pt x="210" y="173"/>
                  </a:cubicBezTo>
                  <a:cubicBezTo>
                    <a:pt x="217" y="176"/>
                    <a:pt x="224" y="178"/>
                    <a:pt x="231" y="180"/>
                  </a:cubicBezTo>
                  <a:cubicBezTo>
                    <a:pt x="231" y="180"/>
                    <a:pt x="231" y="180"/>
                    <a:pt x="232" y="180"/>
                  </a:cubicBezTo>
                  <a:cubicBezTo>
                    <a:pt x="233" y="180"/>
                    <a:pt x="233" y="179"/>
                    <a:pt x="234" y="179"/>
                  </a:cubicBezTo>
                  <a:cubicBezTo>
                    <a:pt x="235" y="179"/>
                    <a:pt x="235" y="179"/>
                    <a:pt x="236" y="179"/>
                  </a:cubicBezTo>
                  <a:cubicBezTo>
                    <a:pt x="237" y="179"/>
                    <a:pt x="237" y="179"/>
                    <a:pt x="238" y="179"/>
                  </a:cubicBezTo>
                  <a:cubicBezTo>
                    <a:pt x="243" y="183"/>
                    <a:pt x="248" y="187"/>
                    <a:pt x="253" y="191"/>
                  </a:cubicBezTo>
                  <a:cubicBezTo>
                    <a:pt x="264" y="198"/>
                    <a:pt x="277" y="201"/>
                    <a:pt x="289" y="207"/>
                  </a:cubicBezTo>
                  <a:cubicBezTo>
                    <a:pt x="295" y="210"/>
                    <a:pt x="301" y="211"/>
                    <a:pt x="307" y="213"/>
                  </a:cubicBezTo>
                  <a:cubicBezTo>
                    <a:pt x="311" y="213"/>
                    <a:pt x="312" y="213"/>
                    <a:pt x="314" y="216"/>
                  </a:cubicBezTo>
                  <a:cubicBezTo>
                    <a:pt x="317" y="219"/>
                    <a:pt x="319" y="219"/>
                    <a:pt x="323" y="220"/>
                  </a:cubicBezTo>
                  <a:cubicBezTo>
                    <a:pt x="325" y="221"/>
                    <a:pt x="328" y="222"/>
                    <a:pt x="330" y="224"/>
                  </a:cubicBezTo>
                  <a:cubicBezTo>
                    <a:pt x="334" y="226"/>
                    <a:pt x="336" y="226"/>
                    <a:pt x="340" y="227"/>
                  </a:cubicBezTo>
                  <a:cubicBezTo>
                    <a:pt x="343" y="227"/>
                    <a:pt x="345" y="227"/>
                    <a:pt x="348" y="228"/>
                  </a:cubicBezTo>
                  <a:cubicBezTo>
                    <a:pt x="351" y="229"/>
                    <a:pt x="353" y="231"/>
                    <a:pt x="355" y="232"/>
                  </a:cubicBezTo>
                  <a:cubicBezTo>
                    <a:pt x="359" y="233"/>
                    <a:pt x="362" y="234"/>
                    <a:pt x="365" y="234"/>
                  </a:cubicBezTo>
                  <a:cubicBezTo>
                    <a:pt x="367" y="234"/>
                    <a:pt x="369" y="233"/>
                    <a:pt x="372" y="232"/>
                  </a:cubicBezTo>
                  <a:cubicBezTo>
                    <a:pt x="377" y="231"/>
                    <a:pt x="382" y="228"/>
                    <a:pt x="387" y="227"/>
                  </a:cubicBezTo>
                  <a:cubicBezTo>
                    <a:pt x="390" y="226"/>
                    <a:pt x="391" y="223"/>
                    <a:pt x="394" y="223"/>
                  </a:cubicBezTo>
                  <a:cubicBezTo>
                    <a:pt x="396" y="222"/>
                    <a:pt x="398" y="221"/>
                    <a:pt x="400" y="221"/>
                  </a:cubicBezTo>
                  <a:cubicBezTo>
                    <a:pt x="400" y="221"/>
                    <a:pt x="401" y="221"/>
                    <a:pt x="402" y="221"/>
                  </a:cubicBezTo>
                  <a:cubicBezTo>
                    <a:pt x="402" y="221"/>
                    <a:pt x="402" y="221"/>
                    <a:pt x="402" y="221"/>
                  </a:cubicBezTo>
                  <a:cubicBezTo>
                    <a:pt x="401" y="220"/>
                    <a:pt x="399" y="220"/>
                    <a:pt x="397" y="219"/>
                  </a:cubicBezTo>
                  <a:cubicBezTo>
                    <a:pt x="399" y="218"/>
                    <a:pt x="401" y="217"/>
                    <a:pt x="403" y="216"/>
                  </a:cubicBezTo>
                  <a:cubicBezTo>
                    <a:pt x="403" y="219"/>
                    <a:pt x="403" y="219"/>
                    <a:pt x="404" y="219"/>
                  </a:cubicBezTo>
                  <a:cubicBezTo>
                    <a:pt x="405" y="219"/>
                    <a:pt x="406" y="219"/>
                    <a:pt x="407" y="218"/>
                  </a:cubicBezTo>
                  <a:cubicBezTo>
                    <a:pt x="407" y="219"/>
                    <a:pt x="407" y="221"/>
                    <a:pt x="405" y="221"/>
                  </a:cubicBezTo>
                  <a:cubicBezTo>
                    <a:pt x="407" y="222"/>
                    <a:pt x="410" y="222"/>
                    <a:pt x="412" y="222"/>
                  </a:cubicBezTo>
                  <a:cubicBezTo>
                    <a:pt x="415" y="222"/>
                    <a:pt x="418" y="224"/>
                    <a:pt x="420" y="225"/>
                  </a:cubicBezTo>
                  <a:cubicBezTo>
                    <a:pt x="420" y="222"/>
                    <a:pt x="415" y="222"/>
                    <a:pt x="412" y="221"/>
                  </a:cubicBezTo>
                  <a:cubicBezTo>
                    <a:pt x="413" y="220"/>
                    <a:pt x="413" y="220"/>
                    <a:pt x="414" y="220"/>
                  </a:cubicBezTo>
                  <a:cubicBezTo>
                    <a:pt x="417" y="220"/>
                    <a:pt x="423" y="224"/>
                    <a:pt x="425" y="226"/>
                  </a:cubicBezTo>
                  <a:cubicBezTo>
                    <a:pt x="430" y="230"/>
                    <a:pt x="435" y="234"/>
                    <a:pt x="440" y="238"/>
                  </a:cubicBezTo>
                  <a:cubicBezTo>
                    <a:pt x="442" y="240"/>
                    <a:pt x="444" y="242"/>
                    <a:pt x="445" y="243"/>
                  </a:cubicBezTo>
                  <a:cubicBezTo>
                    <a:pt x="447" y="244"/>
                    <a:pt x="450" y="245"/>
                    <a:pt x="451" y="246"/>
                  </a:cubicBezTo>
                  <a:cubicBezTo>
                    <a:pt x="454" y="251"/>
                    <a:pt x="457" y="255"/>
                    <a:pt x="461" y="258"/>
                  </a:cubicBezTo>
                  <a:cubicBezTo>
                    <a:pt x="462" y="257"/>
                    <a:pt x="462" y="257"/>
                    <a:pt x="462" y="257"/>
                  </a:cubicBezTo>
                  <a:cubicBezTo>
                    <a:pt x="462" y="257"/>
                    <a:pt x="462" y="257"/>
                    <a:pt x="462" y="257"/>
                  </a:cubicBezTo>
                  <a:cubicBezTo>
                    <a:pt x="462" y="256"/>
                    <a:pt x="462" y="256"/>
                    <a:pt x="462" y="256"/>
                  </a:cubicBezTo>
                  <a:cubicBezTo>
                    <a:pt x="461" y="255"/>
                    <a:pt x="461" y="255"/>
                    <a:pt x="461" y="255"/>
                  </a:cubicBezTo>
                  <a:cubicBezTo>
                    <a:pt x="461" y="254"/>
                    <a:pt x="461" y="253"/>
                    <a:pt x="462" y="251"/>
                  </a:cubicBezTo>
                  <a:cubicBezTo>
                    <a:pt x="462" y="251"/>
                    <a:pt x="462" y="251"/>
                    <a:pt x="462" y="251"/>
                  </a:cubicBezTo>
                  <a:cubicBezTo>
                    <a:pt x="462" y="251"/>
                    <a:pt x="462" y="250"/>
                    <a:pt x="463" y="248"/>
                  </a:cubicBezTo>
                  <a:cubicBezTo>
                    <a:pt x="463" y="248"/>
                    <a:pt x="463" y="248"/>
                    <a:pt x="463" y="248"/>
                  </a:cubicBezTo>
                  <a:cubicBezTo>
                    <a:pt x="462" y="246"/>
                    <a:pt x="461" y="244"/>
                    <a:pt x="462" y="242"/>
                  </a:cubicBezTo>
                  <a:cubicBezTo>
                    <a:pt x="462" y="241"/>
                    <a:pt x="462" y="241"/>
                    <a:pt x="462" y="241"/>
                  </a:cubicBezTo>
                  <a:cubicBezTo>
                    <a:pt x="462" y="241"/>
                    <a:pt x="462" y="241"/>
                    <a:pt x="462" y="241"/>
                  </a:cubicBezTo>
                  <a:cubicBezTo>
                    <a:pt x="462" y="240"/>
                    <a:pt x="462" y="240"/>
                    <a:pt x="462" y="240"/>
                  </a:cubicBezTo>
                  <a:cubicBezTo>
                    <a:pt x="463" y="239"/>
                    <a:pt x="463" y="239"/>
                    <a:pt x="463" y="239"/>
                  </a:cubicBezTo>
                  <a:cubicBezTo>
                    <a:pt x="464" y="236"/>
                    <a:pt x="467" y="232"/>
                    <a:pt x="469" y="229"/>
                  </a:cubicBezTo>
                  <a:cubicBezTo>
                    <a:pt x="470" y="227"/>
                    <a:pt x="470" y="227"/>
                    <a:pt x="470" y="227"/>
                  </a:cubicBezTo>
                  <a:cubicBezTo>
                    <a:pt x="471" y="226"/>
                    <a:pt x="472" y="225"/>
                    <a:pt x="473" y="224"/>
                  </a:cubicBezTo>
                  <a:cubicBezTo>
                    <a:pt x="474" y="224"/>
                    <a:pt x="474" y="223"/>
                    <a:pt x="475" y="223"/>
                  </a:cubicBezTo>
                  <a:cubicBezTo>
                    <a:pt x="477" y="222"/>
                    <a:pt x="478" y="222"/>
                    <a:pt x="480" y="222"/>
                  </a:cubicBezTo>
                  <a:cubicBezTo>
                    <a:pt x="482" y="221"/>
                    <a:pt x="484" y="221"/>
                    <a:pt x="486" y="221"/>
                  </a:cubicBezTo>
                  <a:cubicBezTo>
                    <a:pt x="487" y="221"/>
                    <a:pt x="488" y="221"/>
                    <a:pt x="489" y="221"/>
                  </a:cubicBezTo>
                  <a:cubicBezTo>
                    <a:pt x="490" y="221"/>
                    <a:pt x="491" y="221"/>
                    <a:pt x="492" y="221"/>
                  </a:cubicBezTo>
                  <a:cubicBezTo>
                    <a:pt x="502" y="221"/>
                    <a:pt x="502" y="221"/>
                    <a:pt x="502" y="221"/>
                  </a:cubicBezTo>
                  <a:cubicBezTo>
                    <a:pt x="502" y="220"/>
                    <a:pt x="502" y="220"/>
                    <a:pt x="502" y="220"/>
                  </a:cubicBezTo>
                  <a:cubicBezTo>
                    <a:pt x="503" y="220"/>
                    <a:pt x="503" y="220"/>
                    <a:pt x="503" y="220"/>
                  </a:cubicBezTo>
                  <a:cubicBezTo>
                    <a:pt x="503" y="219"/>
                    <a:pt x="503" y="219"/>
                    <a:pt x="503" y="218"/>
                  </a:cubicBezTo>
                  <a:cubicBezTo>
                    <a:pt x="503" y="218"/>
                    <a:pt x="503" y="218"/>
                    <a:pt x="503" y="218"/>
                  </a:cubicBezTo>
                  <a:cubicBezTo>
                    <a:pt x="502" y="218"/>
                    <a:pt x="502" y="218"/>
                    <a:pt x="502" y="218"/>
                  </a:cubicBezTo>
                  <a:cubicBezTo>
                    <a:pt x="502" y="218"/>
                    <a:pt x="501" y="217"/>
                    <a:pt x="501" y="217"/>
                  </a:cubicBezTo>
                  <a:cubicBezTo>
                    <a:pt x="498" y="215"/>
                    <a:pt x="495" y="213"/>
                    <a:pt x="493" y="210"/>
                  </a:cubicBezTo>
                  <a:cubicBezTo>
                    <a:pt x="493" y="210"/>
                    <a:pt x="493" y="210"/>
                    <a:pt x="493" y="210"/>
                  </a:cubicBezTo>
                  <a:cubicBezTo>
                    <a:pt x="493" y="210"/>
                    <a:pt x="493" y="210"/>
                    <a:pt x="493" y="210"/>
                  </a:cubicBezTo>
                  <a:cubicBezTo>
                    <a:pt x="492" y="209"/>
                    <a:pt x="491" y="208"/>
                    <a:pt x="490" y="207"/>
                  </a:cubicBezTo>
                  <a:cubicBezTo>
                    <a:pt x="489" y="207"/>
                    <a:pt x="489" y="206"/>
                    <a:pt x="488" y="206"/>
                  </a:cubicBezTo>
                  <a:cubicBezTo>
                    <a:pt x="485" y="203"/>
                    <a:pt x="485" y="203"/>
                    <a:pt x="485" y="203"/>
                  </a:cubicBezTo>
                  <a:cubicBezTo>
                    <a:pt x="483" y="201"/>
                    <a:pt x="482" y="200"/>
                    <a:pt x="480" y="198"/>
                  </a:cubicBezTo>
                  <a:cubicBezTo>
                    <a:pt x="473" y="193"/>
                    <a:pt x="473" y="193"/>
                    <a:pt x="473" y="193"/>
                  </a:cubicBezTo>
                  <a:cubicBezTo>
                    <a:pt x="489" y="193"/>
                    <a:pt x="489" y="193"/>
                    <a:pt x="489" y="193"/>
                  </a:cubicBezTo>
                  <a:cubicBezTo>
                    <a:pt x="489" y="193"/>
                    <a:pt x="489" y="193"/>
                    <a:pt x="489" y="193"/>
                  </a:cubicBezTo>
                  <a:cubicBezTo>
                    <a:pt x="488" y="186"/>
                    <a:pt x="488" y="182"/>
                    <a:pt x="490" y="181"/>
                  </a:cubicBezTo>
                  <a:cubicBezTo>
                    <a:pt x="491" y="180"/>
                    <a:pt x="492" y="179"/>
                    <a:pt x="495" y="179"/>
                  </a:cubicBezTo>
                  <a:cubicBezTo>
                    <a:pt x="496" y="179"/>
                    <a:pt x="498" y="179"/>
                    <a:pt x="500" y="179"/>
                  </a:cubicBezTo>
                  <a:cubicBezTo>
                    <a:pt x="501" y="180"/>
                    <a:pt x="501" y="180"/>
                    <a:pt x="501" y="180"/>
                  </a:cubicBezTo>
                  <a:cubicBezTo>
                    <a:pt x="501" y="180"/>
                    <a:pt x="502" y="180"/>
                    <a:pt x="502" y="180"/>
                  </a:cubicBezTo>
                  <a:cubicBezTo>
                    <a:pt x="517" y="180"/>
                    <a:pt x="517" y="180"/>
                    <a:pt x="517" y="180"/>
                  </a:cubicBezTo>
                  <a:cubicBezTo>
                    <a:pt x="522" y="180"/>
                    <a:pt x="527" y="180"/>
                    <a:pt x="532" y="180"/>
                  </a:cubicBezTo>
                  <a:cubicBezTo>
                    <a:pt x="532" y="179"/>
                    <a:pt x="532" y="179"/>
                    <a:pt x="532" y="179"/>
                  </a:cubicBezTo>
                  <a:cubicBezTo>
                    <a:pt x="532" y="179"/>
                    <a:pt x="532" y="179"/>
                    <a:pt x="532" y="179"/>
                  </a:cubicBezTo>
                  <a:cubicBezTo>
                    <a:pt x="533" y="179"/>
                    <a:pt x="533" y="179"/>
                    <a:pt x="533" y="179"/>
                  </a:cubicBezTo>
                  <a:cubicBezTo>
                    <a:pt x="534" y="178"/>
                    <a:pt x="534" y="178"/>
                    <a:pt x="534" y="178"/>
                  </a:cubicBezTo>
                  <a:cubicBezTo>
                    <a:pt x="534" y="177"/>
                    <a:pt x="534" y="177"/>
                    <a:pt x="534" y="177"/>
                  </a:cubicBezTo>
                  <a:cubicBezTo>
                    <a:pt x="535" y="177"/>
                    <a:pt x="535" y="177"/>
                    <a:pt x="536" y="177"/>
                  </a:cubicBezTo>
                  <a:cubicBezTo>
                    <a:pt x="536" y="176"/>
                    <a:pt x="537" y="176"/>
                    <a:pt x="538" y="176"/>
                  </a:cubicBezTo>
                  <a:cubicBezTo>
                    <a:pt x="538" y="176"/>
                    <a:pt x="538" y="176"/>
                    <a:pt x="538" y="176"/>
                  </a:cubicBezTo>
                  <a:cubicBezTo>
                    <a:pt x="539" y="177"/>
                    <a:pt x="540" y="177"/>
                    <a:pt x="540" y="177"/>
                  </a:cubicBezTo>
                  <a:cubicBezTo>
                    <a:pt x="541" y="177"/>
                    <a:pt x="541" y="177"/>
                    <a:pt x="541" y="177"/>
                  </a:cubicBezTo>
                  <a:cubicBezTo>
                    <a:pt x="541" y="177"/>
                    <a:pt x="541" y="177"/>
                    <a:pt x="542" y="175"/>
                  </a:cubicBezTo>
                  <a:cubicBezTo>
                    <a:pt x="543" y="174"/>
                    <a:pt x="544" y="173"/>
                    <a:pt x="544" y="172"/>
                  </a:cubicBezTo>
                  <a:cubicBezTo>
                    <a:pt x="544" y="171"/>
                    <a:pt x="544" y="171"/>
                    <a:pt x="544" y="171"/>
                  </a:cubicBezTo>
                  <a:cubicBezTo>
                    <a:pt x="545" y="171"/>
                    <a:pt x="545" y="171"/>
                    <a:pt x="545" y="171"/>
                  </a:cubicBezTo>
                  <a:cubicBezTo>
                    <a:pt x="546" y="169"/>
                    <a:pt x="546" y="169"/>
                    <a:pt x="546" y="169"/>
                  </a:cubicBezTo>
                  <a:cubicBezTo>
                    <a:pt x="547" y="165"/>
                    <a:pt x="550" y="164"/>
                    <a:pt x="551" y="164"/>
                  </a:cubicBezTo>
                  <a:cubicBezTo>
                    <a:pt x="552" y="164"/>
                    <a:pt x="552" y="164"/>
                    <a:pt x="552" y="164"/>
                  </a:cubicBezTo>
                  <a:cubicBezTo>
                    <a:pt x="553" y="164"/>
                    <a:pt x="554" y="164"/>
                    <a:pt x="555" y="164"/>
                  </a:cubicBezTo>
                  <a:cubicBezTo>
                    <a:pt x="556" y="164"/>
                    <a:pt x="556" y="164"/>
                    <a:pt x="556" y="164"/>
                  </a:cubicBezTo>
                  <a:cubicBezTo>
                    <a:pt x="556" y="164"/>
                    <a:pt x="556" y="164"/>
                    <a:pt x="556" y="164"/>
                  </a:cubicBezTo>
                  <a:cubicBezTo>
                    <a:pt x="557" y="163"/>
                    <a:pt x="558" y="162"/>
                    <a:pt x="557" y="160"/>
                  </a:cubicBezTo>
                  <a:cubicBezTo>
                    <a:pt x="558" y="160"/>
                    <a:pt x="559" y="159"/>
                    <a:pt x="560" y="158"/>
                  </a:cubicBezTo>
                  <a:cubicBezTo>
                    <a:pt x="560" y="160"/>
                    <a:pt x="559" y="164"/>
                    <a:pt x="559" y="166"/>
                  </a:cubicBezTo>
                  <a:cubicBezTo>
                    <a:pt x="560" y="169"/>
                    <a:pt x="563" y="172"/>
                    <a:pt x="565" y="174"/>
                  </a:cubicBezTo>
                  <a:cubicBezTo>
                    <a:pt x="567" y="165"/>
                    <a:pt x="568" y="154"/>
                    <a:pt x="574" y="147"/>
                  </a:cubicBezTo>
                  <a:cubicBezTo>
                    <a:pt x="573" y="147"/>
                    <a:pt x="573" y="147"/>
                    <a:pt x="572" y="147"/>
                  </a:cubicBezTo>
                  <a:cubicBezTo>
                    <a:pt x="571" y="147"/>
                    <a:pt x="571" y="148"/>
                    <a:pt x="570" y="149"/>
                  </a:cubicBezTo>
                  <a:cubicBezTo>
                    <a:pt x="570" y="149"/>
                    <a:pt x="570" y="149"/>
                    <a:pt x="569" y="149"/>
                  </a:cubicBezTo>
                  <a:cubicBezTo>
                    <a:pt x="567" y="149"/>
                    <a:pt x="571" y="145"/>
                    <a:pt x="572" y="144"/>
                  </a:cubicBezTo>
                  <a:cubicBezTo>
                    <a:pt x="572" y="144"/>
                    <a:pt x="572" y="144"/>
                    <a:pt x="572" y="144"/>
                  </a:cubicBezTo>
                  <a:cubicBezTo>
                    <a:pt x="574" y="144"/>
                    <a:pt x="575" y="142"/>
                    <a:pt x="575" y="140"/>
                  </a:cubicBezTo>
                  <a:cubicBezTo>
                    <a:pt x="574" y="141"/>
                    <a:pt x="572" y="141"/>
                    <a:pt x="570" y="141"/>
                  </a:cubicBezTo>
                  <a:cubicBezTo>
                    <a:pt x="568" y="141"/>
                    <a:pt x="567" y="141"/>
                    <a:pt x="567" y="138"/>
                  </a:cubicBezTo>
                  <a:cubicBezTo>
                    <a:pt x="568" y="136"/>
                    <a:pt x="572" y="136"/>
                    <a:pt x="573" y="135"/>
                  </a:cubicBezTo>
                  <a:cubicBezTo>
                    <a:pt x="574" y="134"/>
                    <a:pt x="573" y="131"/>
                    <a:pt x="574" y="130"/>
                  </a:cubicBezTo>
                  <a:cubicBezTo>
                    <a:pt x="574" y="129"/>
                    <a:pt x="573" y="127"/>
                    <a:pt x="574" y="126"/>
                  </a:cubicBezTo>
                  <a:cubicBezTo>
                    <a:pt x="576" y="121"/>
                    <a:pt x="582" y="117"/>
                    <a:pt x="585" y="112"/>
                  </a:cubicBezTo>
                  <a:cubicBezTo>
                    <a:pt x="587" y="109"/>
                    <a:pt x="588" y="106"/>
                    <a:pt x="590" y="103"/>
                  </a:cubicBezTo>
                  <a:cubicBezTo>
                    <a:pt x="590" y="103"/>
                    <a:pt x="589" y="99"/>
                    <a:pt x="589" y="98"/>
                  </a:cubicBezTo>
                  <a:cubicBezTo>
                    <a:pt x="588" y="96"/>
                    <a:pt x="587" y="94"/>
                    <a:pt x="585" y="93"/>
                  </a:cubicBezTo>
                  <a:cubicBezTo>
                    <a:pt x="584" y="92"/>
                    <a:pt x="584" y="92"/>
                    <a:pt x="583" y="92"/>
                  </a:cubicBezTo>
                  <a:cubicBezTo>
                    <a:pt x="582" y="92"/>
                    <a:pt x="581" y="93"/>
                    <a:pt x="579" y="93"/>
                  </a:cubicBezTo>
                  <a:cubicBezTo>
                    <a:pt x="579" y="93"/>
                    <a:pt x="577" y="92"/>
                    <a:pt x="576" y="92"/>
                  </a:cubicBezTo>
                  <a:cubicBezTo>
                    <a:pt x="576" y="92"/>
                    <a:pt x="576" y="92"/>
                    <a:pt x="576" y="92"/>
                  </a:cubicBezTo>
                  <a:cubicBezTo>
                    <a:pt x="575" y="92"/>
                    <a:pt x="574" y="93"/>
                    <a:pt x="573" y="94"/>
                  </a:cubicBezTo>
                  <a:cubicBezTo>
                    <a:pt x="569" y="93"/>
                    <a:pt x="565" y="92"/>
                    <a:pt x="561" y="92"/>
                  </a:cubicBezTo>
                  <a:cubicBezTo>
                    <a:pt x="559" y="92"/>
                    <a:pt x="558" y="92"/>
                    <a:pt x="557" y="92"/>
                  </a:cubicBezTo>
                  <a:cubicBezTo>
                    <a:pt x="552" y="92"/>
                    <a:pt x="547" y="94"/>
                    <a:pt x="541" y="96"/>
                  </a:cubicBezTo>
                  <a:cubicBezTo>
                    <a:pt x="536" y="98"/>
                    <a:pt x="529" y="98"/>
                    <a:pt x="523" y="99"/>
                  </a:cubicBezTo>
                  <a:cubicBezTo>
                    <a:pt x="520" y="99"/>
                    <a:pt x="517" y="100"/>
                    <a:pt x="515" y="101"/>
                  </a:cubicBezTo>
                  <a:cubicBezTo>
                    <a:pt x="512" y="103"/>
                    <a:pt x="507" y="106"/>
                    <a:pt x="506" y="109"/>
                  </a:cubicBezTo>
                  <a:cubicBezTo>
                    <a:pt x="505" y="112"/>
                    <a:pt x="505" y="116"/>
                    <a:pt x="504" y="119"/>
                  </a:cubicBezTo>
                  <a:cubicBezTo>
                    <a:pt x="503" y="122"/>
                    <a:pt x="504" y="126"/>
                    <a:pt x="503" y="128"/>
                  </a:cubicBezTo>
                  <a:cubicBezTo>
                    <a:pt x="503" y="131"/>
                    <a:pt x="499" y="133"/>
                    <a:pt x="499" y="136"/>
                  </a:cubicBezTo>
                  <a:cubicBezTo>
                    <a:pt x="499" y="138"/>
                    <a:pt x="499" y="141"/>
                    <a:pt x="498" y="143"/>
                  </a:cubicBezTo>
                  <a:cubicBezTo>
                    <a:pt x="498" y="145"/>
                    <a:pt x="498" y="146"/>
                    <a:pt x="496" y="147"/>
                  </a:cubicBezTo>
                  <a:cubicBezTo>
                    <a:pt x="495" y="148"/>
                    <a:pt x="484" y="156"/>
                    <a:pt x="482" y="157"/>
                  </a:cubicBezTo>
                  <a:cubicBezTo>
                    <a:pt x="483" y="156"/>
                    <a:pt x="485" y="156"/>
                    <a:pt x="486" y="155"/>
                  </a:cubicBezTo>
                  <a:cubicBezTo>
                    <a:pt x="485" y="157"/>
                    <a:pt x="484" y="158"/>
                    <a:pt x="483" y="160"/>
                  </a:cubicBezTo>
                  <a:cubicBezTo>
                    <a:pt x="484" y="160"/>
                    <a:pt x="484" y="160"/>
                    <a:pt x="484" y="160"/>
                  </a:cubicBezTo>
                  <a:cubicBezTo>
                    <a:pt x="484" y="160"/>
                    <a:pt x="484" y="160"/>
                    <a:pt x="485" y="160"/>
                  </a:cubicBezTo>
                  <a:cubicBezTo>
                    <a:pt x="486" y="160"/>
                    <a:pt x="485" y="162"/>
                    <a:pt x="485" y="163"/>
                  </a:cubicBezTo>
                  <a:cubicBezTo>
                    <a:pt x="486" y="163"/>
                    <a:pt x="487" y="163"/>
                    <a:pt x="487" y="162"/>
                  </a:cubicBezTo>
                  <a:cubicBezTo>
                    <a:pt x="483" y="165"/>
                    <a:pt x="478" y="167"/>
                    <a:pt x="474" y="168"/>
                  </a:cubicBezTo>
                  <a:cubicBezTo>
                    <a:pt x="474" y="169"/>
                    <a:pt x="473" y="169"/>
                    <a:pt x="473" y="169"/>
                  </a:cubicBezTo>
                  <a:cubicBezTo>
                    <a:pt x="471" y="169"/>
                    <a:pt x="471" y="164"/>
                    <a:pt x="468" y="163"/>
                  </a:cubicBezTo>
                  <a:cubicBezTo>
                    <a:pt x="469" y="163"/>
                    <a:pt x="469" y="163"/>
                    <a:pt x="470" y="163"/>
                  </a:cubicBezTo>
                  <a:cubicBezTo>
                    <a:pt x="470" y="163"/>
                    <a:pt x="471" y="163"/>
                    <a:pt x="472" y="163"/>
                  </a:cubicBezTo>
                  <a:cubicBezTo>
                    <a:pt x="471" y="163"/>
                    <a:pt x="470" y="161"/>
                    <a:pt x="469" y="161"/>
                  </a:cubicBezTo>
                  <a:cubicBezTo>
                    <a:pt x="469" y="161"/>
                    <a:pt x="468" y="161"/>
                    <a:pt x="468" y="161"/>
                  </a:cubicBezTo>
                  <a:cubicBezTo>
                    <a:pt x="465" y="161"/>
                    <a:pt x="461" y="162"/>
                    <a:pt x="459" y="162"/>
                  </a:cubicBezTo>
                  <a:cubicBezTo>
                    <a:pt x="456" y="163"/>
                    <a:pt x="454" y="165"/>
                    <a:pt x="453" y="167"/>
                  </a:cubicBezTo>
                  <a:cubicBezTo>
                    <a:pt x="453" y="165"/>
                    <a:pt x="453" y="164"/>
                    <a:pt x="451" y="164"/>
                  </a:cubicBezTo>
                  <a:cubicBezTo>
                    <a:pt x="451" y="164"/>
                    <a:pt x="451" y="164"/>
                    <a:pt x="451" y="164"/>
                  </a:cubicBezTo>
                  <a:cubicBezTo>
                    <a:pt x="448" y="164"/>
                    <a:pt x="444" y="167"/>
                    <a:pt x="441" y="168"/>
                  </a:cubicBezTo>
                  <a:cubicBezTo>
                    <a:pt x="435" y="168"/>
                    <a:pt x="433" y="168"/>
                    <a:pt x="429" y="171"/>
                  </a:cubicBezTo>
                  <a:cubicBezTo>
                    <a:pt x="425" y="173"/>
                    <a:pt x="421" y="173"/>
                    <a:pt x="417" y="174"/>
                  </a:cubicBezTo>
                  <a:cubicBezTo>
                    <a:pt x="416" y="174"/>
                    <a:pt x="414" y="174"/>
                    <a:pt x="413" y="174"/>
                  </a:cubicBezTo>
                  <a:cubicBezTo>
                    <a:pt x="410" y="174"/>
                    <a:pt x="408" y="173"/>
                    <a:pt x="406" y="170"/>
                  </a:cubicBezTo>
                  <a:cubicBezTo>
                    <a:pt x="405" y="169"/>
                    <a:pt x="404" y="166"/>
                    <a:pt x="402" y="165"/>
                  </a:cubicBezTo>
                  <a:cubicBezTo>
                    <a:pt x="401" y="165"/>
                    <a:pt x="399" y="165"/>
                    <a:pt x="397" y="164"/>
                  </a:cubicBezTo>
                  <a:cubicBezTo>
                    <a:pt x="395" y="163"/>
                    <a:pt x="394" y="161"/>
                    <a:pt x="392" y="161"/>
                  </a:cubicBezTo>
                  <a:cubicBezTo>
                    <a:pt x="392" y="161"/>
                    <a:pt x="392" y="161"/>
                    <a:pt x="392" y="161"/>
                  </a:cubicBezTo>
                  <a:cubicBezTo>
                    <a:pt x="391" y="161"/>
                    <a:pt x="389" y="161"/>
                    <a:pt x="388" y="161"/>
                  </a:cubicBezTo>
                  <a:cubicBezTo>
                    <a:pt x="388" y="161"/>
                    <a:pt x="387" y="161"/>
                    <a:pt x="386" y="161"/>
                  </a:cubicBezTo>
                  <a:cubicBezTo>
                    <a:pt x="385" y="161"/>
                    <a:pt x="383" y="161"/>
                    <a:pt x="382" y="161"/>
                  </a:cubicBezTo>
                  <a:cubicBezTo>
                    <a:pt x="380" y="161"/>
                    <a:pt x="378" y="161"/>
                    <a:pt x="378" y="165"/>
                  </a:cubicBezTo>
                  <a:cubicBezTo>
                    <a:pt x="377" y="165"/>
                    <a:pt x="376" y="166"/>
                    <a:pt x="375" y="167"/>
                  </a:cubicBezTo>
                  <a:cubicBezTo>
                    <a:pt x="375" y="165"/>
                    <a:pt x="376" y="164"/>
                    <a:pt x="377" y="162"/>
                  </a:cubicBezTo>
                  <a:cubicBezTo>
                    <a:pt x="379" y="159"/>
                    <a:pt x="377" y="160"/>
                    <a:pt x="376" y="158"/>
                  </a:cubicBezTo>
                  <a:cubicBezTo>
                    <a:pt x="378" y="158"/>
                    <a:pt x="379" y="159"/>
                    <a:pt x="380" y="159"/>
                  </a:cubicBezTo>
                  <a:cubicBezTo>
                    <a:pt x="381" y="159"/>
                    <a:pt x="381" y="159"/>
                    <a:pt x="381" y="159"/>
                  </a:cubicBezTo>
                  <a:cubicBezTo>
                    <a:pt x="377" y="154"/>
                    <a:pt x="371" y="150"/>
                    <a:pt x="368" y="144"/>
                  </a:cubicBezTo>
                  <a:cubicBezTo>
                    <a:pt x="367" y="141"/>
                    <a:pt x="367" y="136"/>
                    <a:pt x="365" y="133"/>
                  </a:cubicBezTo>
                  <a:cubicBezTo>
                    <a:pt x="363" y="131"/>
                    <a:pt x="361" y="127"/>
                    <a:pt x="358" y="125"/>
                  </a:cubicBezTo>
                  <a:cubicBezTo>
                    <a:pt x="355" y="122"/>
                    <a:pt x="352" y="119"/>
                    <a:pt x="350" y="116"/>
                  </a:cubicBezTo>
                  <a:cubicBezTo>
                    <a:pt x="348" y="113"/>
                    <a:pt x="346" y="109"/>
                    <a:pt x="345" y="105"/>
                  </a:cubicBezTo>
                  <a:cubicBezTo>
                    <a:pt x="342" y="98"/>
                    <a:pt x="338" y="92"/>
                    <a:pt x="336" y="84"/>
                  </a:cubicBezTo>
                  <a:cubicBezTo>
                    <a:pt x="338" y="87"/>
                    <a:pt x="341" y="89"/>
                    <a:pt x="342" y="92"/>
                  </a:cubicBezTo>
                  <a:cubicBezTo>
                    <a:pt x="344" y="94"/>
                    <a:pt x="343" y="93"/>
                    <a:pt x="343" y="96"/>
                  </a:cubicBezTo>
                  <a:cubicBezTo>
                    <a:pt x="342" y="97"/>
                    <a:pt x="342" y="98"/>
                    <a:pt x="343" y="99"/>
                  </a:cubicBezTo>
                  <a:cubicBezTo>
                    <a:pt x="343" y="98"/>
                    <a:pt x="345" y="95"/>
                    <a:pt x="345" y="94"/>
                  </a:cubicBezTo>
                  <a:cubicBezTo>
                    <a:pt x="345" y="88"/>
                    <a:pt x="336" y="83"/>
                    <a:pt x="334" y="78"/>
                  </a:cubicBezTo>
                  <a:cubicBezTo>
                    <a:pt x="333" y="74"/>
                    <a:pt x="334" y="69"/>
                    <a:pt x="333" y="65"/>
                  </a:cubicBezTo>
                  <a:cubicBezTo>
                    <a:pt x="332" y="61"/>
                    <a:pt x="334" y="57"/>
                    <a:pt x="334" y="53"/>
                  </a:cubicBezTo>
                  <a:cubicBezTo>
                    <a:pt x="335" y="45"/>
                    <a:pt x="336" y="38"/>
                    <a:pt x="336" y="30"/>
                  </a:cubicBezTo>
                  <a:cubicBezTo>
                    <a:pt x="336" y="32"/>
                    <a:pt x="336" y="35"/>
                    <a:pt x="335" y="37"/>
                  </a:cubicBezTo>
                  <a:cubicBezTo>
                    <a:pt x="334" y="31"/>
                    <a:pt x="331" y="24"/>
                    <a:pt x="334" y="18"/>
                  </a:cubicBezTo>
                  <a:cubicBezTo>
                    <a:pt x="335" y="16"/>
                    <a:pt x="338" y="11"/>
                    <a:pt x="337" y="9"/>
                  </a:cubicBezTo>
                  <a:cubicBezTo>
                    <a:pt x="335" y="7"/>
                    <a:pt x="335" y="3"/>
                    <a:pt x="336" y="0"/>
                  </a:cubicBezTo>
                  <a:moveTo>
                    <a:pt x="340" y="0"/>
                  </a:moveTo>
                  <a:cubicBezTo>
                    <a:pt x="337" y="0"/>
                    <a:pt x="337" y="0"/>
                    <a:pt x="337" y="0"/>
                  </a:cubicBezTo>
                  <a:cubicBezTo>
                    <a:pt x="338" y="0"/>
                    <a:pt x="339" y="1"/>
                    <a:pt x="340" y="1"/>
                  </a:cubicBezTo>
                  <a:cubicBezTo>
                    <a:pt x="340" y="1"/>
                    <a:pt x="340" y="1"/>
                    <a:pt x="340" y="1"/>
                  </a:cubicBezTo>
                  <a:cubicBezTo>
                    <a:pt x="341" y="1"/>
                    <a:pt x="340" y="0"/>
                    <a:pt x="340" y="0"/>
                  </a:cubicBezTo>
                  <a:moveTo>
                    <a:pt x="343" y="0"/>
                  </a:moveTo>
                  <a:cubicBezTo>
                    <a:pt x="342" y="0"/>
                    <a:pt x="342" y="0"/>
                    <a:pt x="342" y="0"/>
                  </a:cubicBezTo>
                  <a:cubicBezTo>
                    <a:pt x="342" y="3"/>
                    <a:pt x="340" y="7"/>
                    <a:pt x="340" y="11"/>
                  </a:cubicBezTo>
                  <a:cubicBezTo>
                    <a:pt x="341" y="7"/>
                    <a:pt x="342" y="3"/>
                    <a:pt x="3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274"/>
            <p:cNvSpPr/>
            <p:nvPr/>
          </p:nvSpPr>
          <p:spPr bwMode="auto">
            <a:xfrm>
              <a:off x="8248561" y="440629"/>
              <a:ext cx="273980" cy="186420"/>
            </a:xfrm>
            <a:custGeom>
              <a:gdLst>
                <a:gd name="T0" fmla="*/ 14 w 82"/>
                <a:gd name="T1" fmla="*/ 2 h 56"/>
                <a:gd name="T2" fmla="*/ 3 w 82"/>
                <a:gd name="T3" fmla="*/ 2 h 56"/>
                <a:gd name="T4" fmla="*/ 4 w 82"/>
                <a:gd name="T5" fmla="*/ 3 h 56"/>
                <a:gd name="T6" fmla="*/ 5 w 82"/>
                <a:gd name="T7" fmla="*/ 7 h 56"/>
                <a:gd name="T8" fmla="*/ 6 w 82"/>
                <a:gd name="T9" fmla="*/ 10 h 56"/>
                <a:gd name="T10" fmla="*/ 5 w 82"/>
                <a:gd name="T11" fmla="*/ 13 h 56"/>
                <a:gd name="T12" fmla="*/ 7 w 82"/>
                <a:gd name="T13" fmla="*/ 14 h 56"/>
                <a:gd name="T14" fmla="*/ 8 w 82"/>
                <a:gd name="T15" fmla="*/ 15 h 56"/>
                <a:gd name="T16" fmla="*/ 5 w 82"/>
                <a:gd name="T17" fmla="*/ 26 h 56"/>
                <a:gd name="T18" fmla="*/ 5 w 82"/>
                <a:gd name="T19" fmla="*/ 29 h 56"/>
                <a:gd name="T20" fmla="*/ 4 w 82"/>
                <a:gd name="T21" fmla="*/ 30 h 56"/>
                <a:gd name="T22" fmla="*/ 0 w 82"/>
                <a:gd name="T23" fmla="*/ 33 h 56"/>
                <a:gd name="T24" fmla="*/ 3 w 82"/>
                <a:gd name="T25" fmla="*/ 35 h 56"/>
                <a:gd name="T26" fmla="*/ 5 w 82"/>
                <a:gd name="T27" fmla="*/ 41 h 56"/>
                <a:gd name="T28" fmla="*/ 4 w 82"/>
                <a:gd name="T29" fmla="*/ 43 h 56"/>
                <a:gd name="T30" fmla="*/ 4 w 82"/>
                <a:gd name="T31" fmla="*/ 46 h 56"/>
                <a:gd name="T32" fmla="*/ 3 w 82"/>
                <a:gd name="T33" fmla="*/ 47 h 56"/>
                <a:gd name="T34" fmla="*/ 4 w 82"/>
                <a:gd name="T35" fmla="*/ 52 h 56"/>
                <a:gd name="T36" fmla="*/ 9 w 82"/>
                <a:gd name="T37" fmla="*/ 56 h 56"/>
                <a:gd name="T38" fmla="*/ 12 w 82"/>
                <a:gd name="T39" fmla="*/ 52 h 56"/>
                <a:gd name="T40" fmla="*/ 18 w 82"/>
                <a:gd name="T41" fmla="*/ 39 h 56"/>
                <a:gd name="T42" fmla="*/ 19 w 82"/>
                <a:gd name="T43" fmla="*/ 39 h 56"/>
                <a:gd name="T44" fmla="*/ 23 w 82"/>
                <a:gd name="T45" fmla="*/ 39 h 56"/>
                <a:gd name="T46" fmla="*/ 28 w 82"/>
                <a:gd name="T47" fmla="*/ 36 h 56"/>
                <a:gd name="T48" fmla="*/ 29 w 82"/>
                <a:gd name="T49" fmla="*/ 39 h 56"/>
                <a:gd name="T50" fmla="*/ 37 w 82"/>
                <a:gd name="T51" fmla="*/ 40 h 56"/>
                <a:gd name="T52" fmla="*/ 47 w 82"/>
                <a:gd name="T53" fmla="*/ 35 h 56"/>
                <a:gd name="T54" fmla="*/ 59 w 82"/>
                <a:gd name="T55" fmla="*/ 37 h 56"/>
                <a:gd name="T56" fmla="*/ 65 w 82"/>
                <a:gd name="T57" fmla="*/ 36 h 56"/>
                <a:gd name="T58" fmla="*/ 74 w 82"/>
                <a:gd name="T59" fmla="*/ 41 h 56"/>
                <a:gd name="T60" fmla="*/ 80 w 82"/>
                <a:gd name="T61" fmla="*/ 35 h 56"/>
                <a:gd name="T62" fmla="*/ 75 w 82"/>
                <a:gd name="T63" fmla="*/ 26 h 56"/>
                <a:gd name="T64" fmla="*/ 56 w 82"/>
                <a:gd name="T65" fmla="*/ 21 h 56"/>
                <a:gd name="T66" fmla="*/ 54 w 82"/>
                <a:gd name="T67" fmla="*/ 17 h 56"/>
                <a:gd name="T68" fmla="*/ 61 w 82"/>
                <a:gd name="T69" fmla="*/ 14 h 56"/>
                <a:gd name="T70" fmla="*/ 58 w 82"/>
                <a:gd name="T71" fmla="*/ 15 h 56"/>
                <a:gd name="T72" fmla="*/ 53 w 82"/>
                <a:gd name="T73" fmla="*/ 15 h 56"/>
                <a:gd name="T74" fmla="*/ 50 w 82"/>
                <a:gd name="T75" fmla="*/ 16 h 56"/>
                <a:gd name="T76" fmla="*/ 46 w 82"/>
                <a:gd name="T77" fmla="*/ 7 h 56"/>
                <a:gd name="T78" fmla="*/ 41 w 82"/>
                <a:gd name="T79" fmla="*/ 7 h 56"/>
                <a:gd name="T80" fmla="*/ 24 w 82"/>
                <a:gd name="T81" fmla="*/ 1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 h="56">
                  <a:moveTo>
                    <a:pt x="20" y="0"/>
                  </a:moveTo>
                  <a:cubicBezTo>
                    <a:pt x="18" y="0"/>
                    <a:pt x="17" y="1"/>
                    <a:pt x="14" y="2"/>
                  </a:cubicBezTo>
                  <a:cubicBezTo>
                    <a:pt x="11" y="2"/>
                    <a:pt x="8" y="1"/>
                    <a:pt x="4" y="1"/>
                  </a:cubicBezTo>
                  <a:cubicBezTo>
                    <a:pt x="4" y="2"/>
                    <a:pt x="3" y="1"/>
                    <a:pt x="3" y="2"/>
                  </a:cubicBezTo>
                  <a:cubicBezTo>
                    <a:pt x="2" y="3"/>
                    <a:pt x="2" y="3"/>
                    <a:pt x="2" y="4"/>
                  </a:cubicBezTo>
                  <a:cubicBezTo>
                    <a:pt x="4" y="3"/>
                    <a:pt x="4" y="3"/>
                    <a:pt x="4" y="3"/>
                  </a:cubicBezTo>
                  <a:cubicBezTo>
                    <a:pt x="4" y="5"/>
                    <a:pt x="4" y="5"/>
                    <a:pt x="4" y="5"/>
                  </a:cubicBezTo>
                  <a:cubicBezTo>
                    <a:pt x="5" y="6"/>
                    <a:pt x="5" y="7"/>
                    <a:pt x="5" y="7"/>
                  </a:cubicBezTo>
                  <a:cubicBezTo>
                    <a:pt x="5" y="8"/>
                    <a:pt x="5" y="8"/>
                    <a:pt x="5" y="8"/>
                  </a:cubicBezTo>
                  <a:cubicBezTo>
                    <a:pt x="6" y="9"/>
                    <a:pt x="6" y="10"/>
                    <a:pt x="6" y="10"/>
                  </a:cubicBezTo>
                  <a:cubicBezTo>
                    <a:pt x="6" y="12"/>
                    <a:pt x="6" y="13"/>
                    <a:pt x="5" y="13"/>
                  </a:cubicBezTo>
                  <a:cubicBezTo>
                    <a:pt x="5" y="13"/>
                    <a:pt x="5" y="13"/>
                    <a:pt x="5" y="13"/>
                  </a:cubicBezTo>
                  <a:cubicBezTo>
                    <a:pt x="6" y="14"/>
                    <a:pt x="6" y="14"/>
                    <a:pt x="6" y="14"/>
                  </a:cubicBezTo>
                  <a:cubicBezTo>
                    <a:pt x="7" y="14"/>
                    <a:pt x="7" y="14"/>
                    <a:pt x="7" y="14"/>
                  </a:cubicBezTo>
                  <a:cubicBezTo>
                    <a:pt x="7" y="15"/>
                    <a:pt x="7" y="15"/>
                    <a:pt x="7" y="15"/>
                  </a:cubicBezTo>
                  <a:cubicBezTo>
                    <a:pt x="8" y="15"/>
                    <a:pt x="8" y="15"/>
                    <a:pt x="8" y="15"/>
                  </a:cubicBezTo>
                  <a:cubicBezTo>
                    <a:pt x="7" y="18"/>
                    <a:pt x="7" y="18"/>
                    <a:pt x="7" y="18"/>
                  </a:cubicBezTo>
                  <a:cubicBezTo>
                    <a:pt x="5" y="26"/>
                    <a:pt x="5" y="26"/>
                    <a:pt x="5" y="26"/>
                  </a:cubicBezTo>
                  <a:cubicBezTo>
                    <a:pt x="5" y="27"/>
                    <a:pt x="5" y="27"/>
                    <a:pt x="5" y="28"/>
                  </a:cubicBezTo>
                  <a:cubicBezTo>
                    <a:pt x="5" y="29"/>
                    <a:pt x="5" y="29"/>
                    <a:pt x="5" y="29"/>
                  </a:cubicBezTo>
                  <a:cubicBezTo>
                    <a:pt x="5" y="32"/>
                    <a:pt x="5" y="32"/>
                    <a:pt x="5" y="32"/>
                  </a:cubicBezTo>
                  <a:cubicBezTo>
                    <a:pt x="4" y="30"/>
                    <a:pt x="4" y="30"/>
                    <a:pt x="4" y="30"/>
                  </a:cubicBezTo>
                  <a:cubicBezTo>
                    <a:pt x="4" y="31"/>
                    <a:pt x="3" y="31"/>
                    <a:pt x="3" y="31"/>
                  </a:cubicBezTo>
                  <a:cubicBezTo>
                    <a:pt x="2" y="32"/>
                    <a:pt x="1" y="32"/>
                    <a:pt x="0" y="33"/>
                  </a:cubicBezTo>
                  <a:cubicBezTo>
                    <a:pt x="1" y="33"/>
                    <a:pt x="2" y="34"/>
                    <a:pt x="2" y="34"/>
                  </a:cubicBezTo>
                  <a:cubicBezTo>
                    <a:pt x="3" y="35"/>
                    <a:pt x="3" y="35"/>
                    <a:pt x="3" y="35"/>
                  </a:cubicBezTo>
                  <a:cubicBezTo>
                    <a:pt x="3" y="35"/>
                    <a:pt x="3" y="35"/>
                    <a:pt x="3" y="35"/>
                  </a:cubicBezTo>
                  <a:cubicBezTo>
                    <a:pt x="5" y="37"/>
                    <a:pt x="5" y="39"/>
                    <a:pt x="5" y="41"/>
                  </a:cubicBezTo>
                  <a:cubicBezTo>
                    <a:pt x="5" y="41"/>
                    <a:pt x="5" y="41"/>
                    <a:pt x="5" y="41"/>
                  </a:cubicBezTo>
                  <a:cubicBezTo>
                    <a:pt x="5" y="42"/>
                    <a:pt x="5" y="43"/>
                    <a:pt x="4" y="43"/>
                  </a:cubicBezTo>
                  <a:cubicBezTo>
                    <a:pt x="4" y="44"/>
                    <a:pt x="4" y="44"/>
                    <a:pt x="4" y="44"/>
                  </a:cubicBezTo>
                  <a:cubicBezTo>
                    <a:pt x="4" y="46"/>
                    <a:pt x="4" y="46"/>
                    <a:pt x="4" y="46"/>
                  </a:cubicBezTo>
                  <a:cubicBezTo>
                    <a:pt x="4" y="46"/>
                    <a:pt x="4" y="46"/>
                    <a:pt x="4" y="46"/>
                  </a:cubicBezTo>
                  <a:cubicBezTo>
                    <a:pt x="3" y="47"/>
                    <a:pt x="3" y="47"/>
                    <a:pt x="3" y="47"/>
                  </a:cubicBezTo>
                  <a:cubicBezTo>
                    <a:pt x="2" y="47"/>
                    <a:pt x="2" y="47"/>
                    <a:pt x="2" y="47"/>
                  </a:cubicBezTo>
                  <a:cubicBezTo>
                    <a:pt x="3" y="49"/>
                    <a:pt x="3" y="51"/>
                    <a:pt x="4" y="52"/>
                  </a:cubicBezTo>
                  <a:cubicBezTo>
                    <a:pt x="4" y="51"/>
                    <a:pt x="4" y="51"/>
                    <a:pt x="4" y="51"/>
                  </a:cubicBezTo>
                  <a:cubicBezTo>
                    <a:pt x="5" y="53"/>
                    <a:pt x="7" y="56"/>
                    <a:pt x="9" y="56"/>
                  </a:cubicBezTo>
                  <a:cubicBezTo>
                    <a:pt x="10" y="56"/>
                    <a:pt x="10" y="56"/>
                    <a:pt x="10" y="55"/>
                  </a:cubicBezTo>
                  <a:cubicBezTo>
                    <a:pt x="11" y="55"/>
                    <a:pt x="11" y="53"/>
                    <a:pt x="12" y="52"/>
                  </a:cubicBezTo>
                  <a:cubicBezTo>
                    <a:pt x="13" y="50"/>
                    <a:pt x="14" y="48"/>
                    <a:pt x="15" y="45"/>
                  </a:cubicBezTo>
                  <a:cubicBezTo>
                    <a:pt x="15" y="44"/>
                    <a:pt x="17" y="40"/>
                    <a:pt x="18" y="39"/>
                  </a:cubicBezTo>
                  <a:cubicBezTo>
                    <a:pt x="18" y="39"/>
                    <a:pt x="18" y="39"/>
                    <a:pt x="19" y="39"/>
                  </a:cubicBezTo>
                  <a:cubicBezTo>
                    <a:pt x="19" y="39"/>
                    <a:pt x="19" y="39"/>
                    <a:pt x="19" y="39"/>
                  </a:cubicBezTo>
                  <a:cubicBezTo>
                    <a:pt x="20" y="40"/>
                    <a:pt x="20" y="40"/>
                    <a:pt x="21" y="40"/>
                  </a:cubicBezTo>
                  <a:cubicBezTo>
                    <a:pt x="21" y="40"/>
                    <a:pt x="22" y="39"/>
                    <a:pt x="23" y="39"/>
                  </a:cubicBezTo>
                  <a:cubicBezTo>
                    <a:pt x="24" y="38"/>
                    <a:pt x="26" y="36"/>
                    <a:pt x="28" y="36"/>
                  </a:cubicBezTo>
                  <a:cubicBezTo>
                    <a:pt x="28" y="36"/>
                    <a:pt x="28" y="36"/>
                    <a:pt x="28" y="36"/>
                  </a:cubicBezTo>
                  <a:cubicBezTo>
                    <a:pt x="28" y="36"/>
                    <a:pt x="29" y="36"/>
                    <a:pt x="29" y="37"/>
                  </a:cubicBezTo>
                  <a:cubicBezTo>
                    <a:pt x="30" y="37"/>
                    <a:pt x="29" y="39"/>
                    <a:pt x="29" y="39"/>
                  </a:cubicBezTo>
                  <a:cubicBezTo>
                    <a:pt x="29" y="40"/>
                    <a:pt x="32" y="40"/>
                    <a:pt x="33" y="40"/>
                  </a:cubicBezTo>
                  <a:cubicBezTo>
                    <a:pt x="35" y="40"/>
                    <a:pt x="36" y="40"/>
                    <a:pt x="37" y="40"/>
                  </a:cubicBezTo>
                  <a:cubicBezTo>
                    <a:pt x="38" y="40"/>
                    <a:pt x="39" y="40"/>
                    <a:pt x="41" y="38"/>
                  </a:cubicBezTo>
                  <a:cubicBezTo>
                    <a:pt x="43" y="36"/>
                    <a:pt x="45" y="35"/>
                    <a:pt x="47" y="35"/>
                  </a:cubicBezTo>
                  <a:cubicBezTo>
                    <a:pt x="51" y="35"/>
                    <a:pt x="55" y="37"/>
                    <a:pt x="59" y="37"/>
                  </a:cubicBezTo>
                  <a:cubicBezTo>
                    <a:pt x="59" y="37"/>
                    <a:pt x="59" y="37"/>
                    <a:pt x="59" y="37"/>
                  </a:cubicBezTo>
                  <a:cubicBezTo>
                    <a:pt x="60" y="37"/>
                    <a:pt x="61" y="37"/>
                    <a:pt x="62" y="36"/>
                  </a:cubicBezTo>
                  <a:cubicBezTo>
                    <a:pt x="63" y="36"/>
                    <a:pt x="64" y="36"/>
                    <a:pt x="65" y="36"/>
                  </a:cubicBezTo>
                  <a:cubicBezTo>
                    <a:pt x="67" y="36"/>
                    <a:pt x="68" y="36"/>
                    <a:pt x="68" y="37"/>
                  </a:cubicBezTo>
                  <a:cubicBezTo>
                    <a:pt x="71" y="37"/>
                    <a:pt x="73" y="40"/>
                    <a:pt x="74" y="41"/>
                  </a:cubicBezTo>
                  <a:cubicBezTo>
                    <a:pt x="74" y="39"/>
                    <a:pt x="77" y="39"/>
                    <a:pt x="78" y="38"/>
                  </a:cubicBezTo>
                  <a:cubicBezTo>
                    <a:pt x="79" y="38"/>
                    <a:pt x="80" y="35"/>
                    <a:pt x="80" y="35"/>
                  </a:cubicBezTo>
                  <a:cubicBezTo>
                    <a:pt x="82" y="31"/>
                    <a:pt x="82" y="31"/>
                    <a:pt x="79" y="29"/>
                  </a:cubicBezTo>
                  <a:cubicBezTo>
                    <a:pt x="78" y="28"/>
                    <a:pt x="76" y="27"/>
                    <a:pt x="75" y="26"/>
                  </a:cubicBezTo>
                  <a:cubicBezTo>
                    <a:pt x="72" y="23"/>
                    <a:pt x="70" y="23"/>
                    <a:pt x="66" y="22"/>
                  </a:cubicBezTo>
                  <a:cubicBezTo>
                    <a:pt x="62" y="22"/>
                    <a:pt x="59" y="21"/>
                    <a:pt x="56" y="21"/>
                  </a:cubicBezTo>
                  <a:cubicBezTo>
                    <a:pt x="53" y="20"/>
                    <a:pt x="52" y="20"/>
                    <a:pt x="52" y="17"/>
                  </a:cubicBezTo>
                  <a:cubicBezTo>
                    <a:pt x="52" y="17"/>
                    <a:pt x="53" y="17"/>
                    <a:pt x="54" y="17"/>
                  </a:cubicBezTo>
                  <a:cubicBezTo>
                    <a:pt x="56" y="17"/>
                    <a:pt x="60" y="16"/>
                    <a:pt x="62" y="15"/>
                  </a:cubicBezTo>
                  <a:cubicBezTo>
                    <a:pt x="62" y="14"/>
                    <a:pt x="61" y="14"/>
                    <a:pt x="61" y="14"/>
                  </a:cubicBezTo>
                  <a:cubicBezTo>
                    <a:pt x="60" y="14"/>
                    <a:pt x="59" y="15"/>
                    <a:pt x="58" y="15"/>
                  </a:cubicBezTo>
                  <a:cubicBezTo>
                    <a:pt x="58" y="15"/>
                    <a:pt x="58" y="15"/>
                    <a:pt x="58" y="15"/>
                  </a:cubicBezTo>
                  <a:cubicBezTo>
                    <a:pt x="57" y="15"/>
                    <a:pt x="57" y="15"/>
                    <a:pt x="56" y="15"/>
                  </a:cubicBezTo>
                  <a:cubicBezTo>
                    <a:pt x="55" y="15"/>
                    <a:pt x="54" y="15"/>
                    <a:pt x="53" y="15"/>
                  </a:cubicBezTo>
                  <a:cubicBezTo>
                    <a:pt x="53" y="15"/>
                    <a:pt x="53" y="15"/>
                    <a:pt x="53" y="15"/>
                  </a:cubicBezTo>
                  <a:cubicBezTo>
                    <a:pt x="52" y="15"/>
                    <a:pt x="51" y="16"/>
                    <a:pt x="50" y="16"/>
                  </a:cubicBezTo>
                  <a:cubicBezTo>
                    <a:pt x="49" y="16"/>
                    <a:pt x="49" y="16"/>
                    <a:pt x="49" y="15"/>
                  </a:cubicBezTo>
                  <a:cubicBezTo>
                    <a:pt x="47" y="15"/>
                    <a:pt x="47" y="9"/>
                    <a:pt x="46" y="7"/>
                  </a:cubicBezTo>
                  <a:cubicBezTo>
                    <a:pt x="45" y="6"/>
                    <a:pt x="44" y="6"/>
                    <a:pt x="43" y="6"/>
                  </a:cubicBezTo>
                  <a:cubicBezTo>
                    <a:pt x="43" y="6"/>
                    <a:pt x="42" y="6"/>
                    <a:pt x="41" y="7"/>
                  </a:cubicBezTo>
                  <a:cubicBezTo>
                    <a:pt x="41" y="7"/>
                    <a:pt x="40" y="7"/>
                    <a:pt x="40" y="7"/>
                  </a:cubicBezTo>
                  <a:cubicBezTo>
                    <a:pt x="35" y="7"/>
                    <a:pt x="27" y="2"/>
                    <a:pt x="24" y="1"/>
                  </a:cubicBezTo>
                  <a:cubicBezTo>
                    <a:pt x="22" y="0"/>
                    <a:pt x="21"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275"/>
            <p:cNvSpPr/>
            <p:nvPr/>
          </p:nvSpPr>
          <p:spPr bwMode="auto">
            <a:xfrm>
              <a:off x="8042370" y="436393"/>
              <a:ext cx="206191" cy="158175"/>
            </a:xfrm>
            <a:custGeom>
              <a:gdLst>
                <a:gd name="T0" fmla="*/ 31 w 62"/>
                <a:gd name="T1" fmla="*/ 2 h 47"/>
                <a:gd name="T2" fmla="*/ 31 w 62"/>
                <a:gd name="T3" fmla="*/ 8 h 47"/>
                <a:gd name="T4" fmla="*/ 32 w 62"/>
                <a:gd name="T5" fmla="*/ 8 h 47"/>
                <a:gd name="T6" fmla="*/ 38 w 62"/>
                <a:gd name="T7" fmla="*/ 10 h 47"/>
                <a:gd name="T8" fmla="*/ 40 w 62"/>
                <a:gd name="T9" fmla="*/ 12 h 47"/>
                <a:gd name="T10" fmla="*/ 41 w 62"/>
                <a:gd name="T11" fmla="*/ 13 h 47"/>
                <a:gd name="T12" fmla="*/ 41 w 62"/>
                <a:gd name="T13" fmla="*/ 13 h 47"/>
                <a:gd name="T14" fmla="*/ 40 w 62"/>
                <a:gd name="T15" fmla="*/ 18 h 47"/>
                <a:gd name="T16" fmla="*/ 42 w 62"/>
                <a:gd name="T17" fmla="*/ 22 h 47"/>
                <a:gd name="T18" fmla="*/ 50 w 62"/>
                <a:gd name="T19" fmla="*/ 31 h 47"/>
                <a:gd name="T20" fmla="*/ 49 w 62"/>
                <a:gd name="T21" fmla="*/ 34 h 47"/>
                <a:gd name="T22" fmla="*/ 49 w 62"/>
                <a:gd name="T23" fmla="*/ 34 h 47"/>
                <a:gd name="T24" fmla="*/ 46 w 62"/>
                <a:gd name="T25" fmla="*/ 34 h 47"/>
                <a:gd name="T26" fmla="*/ 46 w 62"/>
                <a:gd name="T27" fmla="*/ 34 h 47"/>
                <a:gd name="T28" fmla="*/ 40 w 62"/>
                <a:gd name="T29" fmla="*/ 37 h 47"/>
                <a:gd name="T30" fmla="*/ 26 w 62"/>
                <a:gd name="T31" fmla="*/ 35 h 47"/>
                <a:gd name="T32" fmla="*/ 24 w 62"/>
                <a:gd name="T33" fmla="*/ 35 h 47"/>
                <a:gd name="T34" fmla="*/ 9 w 62"/>
                <a:gd name="T35" fmla="*/ 32 h 47"/>
                <a:gd name="T36" fmla="*/ 7 w 62"/>
                <a:gd name="T37" fmla="*/ 31 h 47"/>
                <a:gd name="T38" fmla="*/ 5 w 62"/>
                <a:gd name="T39" fmla="*/ 31 h 47"/>
                <a:gd name="T40" fmla="*/ 3 w 62"/>
                <a:gd name="T41" fmla="*/ 39 h 47"/>
                <a:gd name="T42" fmla="*/ 6 w 62"/>
                <a:gd name="T43" fmla="*/ 40 h 47"/>
                <a:gd name="T44" fmla="*/ 24 w 62"/>
                <a:gd name="T45" fmla="*/ 41 h 47"/>
                <a:gd name="T46" fmla="*/ 42 w 62"/>
                <a:gd name="T47" fmla="*/ 44 h 47"/>
                <a:gd name="T48" fmla="*/ 53 w 62"/>
                <a:gd name="T49" fmla="*/ 42 h 47"/>
                <a:gd name="T50" fmla="*/ 56 w 62"/>
                <a:gd name="T51" fmla="*/ 42 h 47"/>
                <a:gd name="T52" fmla="*/ 61 w 62"/>
                <a:gd name="T53" fmla="*/ 44 h 47"/>
                <a:gd name="T54" fmla="*/ 61 w 62"/>
                <a:gd name="T55" fmla="*/ 41 h 47"/>
                <a:gd name="T56" fmla="*/ 60 w 62"/>
                <a:gd name="T57" fmla="*/ 40 h 47"/>
                <a:gd name="T58" fmla="*/ 56 w 62"/>
                <a:gd name="T59" fmla="*/ 31 h 47"/>
                <a:gd name="T60" fmla="*/ 58 w 62"/>
                <a:gd name="T61" fmla="*/ 29 h 47"/>
                <a:gd name="T62" fmla="*/ 60 w 62"/>
                <a:gd name="T63" fmla="*/ 28 h 47"/>
                <a:gd name="T64" fmla="*/ 58 w 62"/>
                <a:gd name="T65" fmla="*/ 24 h 47"/>
                <a:gd name="T66" fmla="*/ 59 w 62"/>
                <a:gd name="T67" fmla="*/ 22 h 47"/>
                <a:gd name="T68" fmla="*/ 61 w 62"/>
                <a:gd name="T69" fmla="*/ 20 h 47"/>
                <a:gd name="T70" fmla="*/ 62 w 62"/>
                <a:gd name="T71" fmla="*/ 19 h 47"/>
                <a:gd name="T72" fmla="*/ 62 w 62"/>
                <a:gd name="T73" fmla="*/ 14 h 47"/>
                <a:gd name="T74" fmla="*/ 62 w 62"/>
                <a:gd name="T75" fmla="*/ 12 h 47"/>
                <a:gd name="T76" fmla="*/ 61 w 62"/>
                <a:gd name="T77" fmla="*/ 8 h 47"/>
                <a:gd name="T78" fmla="*/ 61 w 62"/>
                <a:gd name="T79" fmla="*/ 6 h 47"/>
                <a:gd name="T80" fmla="*/ 54 w 62"/>
                <a:gd name="T81" fmla="*/ 5 h 47"/>
                <a:gd name="T82" fmla="*/ 52 w 62"/>
                <a:gd name="T83" fmla="*/ 6 h 47"/>
                <a:gd name="T84" fmla="*/ 43 w 62"/>
                <a:gd name="T85" fmla="*/ 1 h 47"/>
                <a:gd name="T86" fmla="*/ 40 w 62"/>
                <a:gd name="T87"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47">
                  <a:moveTo>
                    <a:pt x="40" y="0"/>
                  </a:moveTo>
                  <a:cubicBezTo>
                    <a:pt x="37" y="0"/>
                    <a:pt x="34" y="1"/>
                    <a:pt x="31" y="2"/>
                  </a:cubicBezTo>
                  <a:cubicBezTo>
                    <a:pt x="28" y="3"/>
                    <a:pt x="27" y="4"/>
                    <a:pt x="25" y="6"/>
                  </a:cubicBezTo>
                  <a:cubicBezTo>
                    <a:pt x="27" y="7"/>
                    <a:pt x="28" y="8"/>
                    <a:pt x="31" y="8"/>
                  </a:cubicBezTo>
                  <a:cubicBezTo>
                    <a:pt x="31" y="8"/>
                    <a:pt x="31" y="8"/>
                    <a:pt x="31" y="8"/>
                  </a:cubicBezTo>
                  <a:cubicBezTo>
                    <a:pt x="32" y="8"/>
                    <a:pt x="32" y="8"/>
                    <a:pt x="32" y="8"/>
                  </a:cubicBezTo>
                  <a:cubicBezTo>
                    <a:pt x="34" y="8"/>
                    <a:pt x="36" y="9"/>
                    <a:pt x="38" y="10"/>
                  </a:cubicBezTo>
                  <a:cubicBezTo>
                    <a:pt x="38" y="10"/>
                    <a:pt x="38" y="10"/>
                    <a:pt x="38" y="10"/>
                  </a:cubicBezTo>
                  <a:cubicBezTo>
                    <a:pt x="39" y="11"/>
                    <a:pt x="39" y="11"/>
                    <a:pt x="39" y="11"/>
                  </a:cubicBezTo>
                  <a:cubicBezTo>
                    <a:pt x="39" y="11"/>
                    <a:pt x="39" y="11"/>
                    <a:pt x="40" y="12"/>
                  </a:cubicBezTo>
                  <a:cubicBezTo>
                    <a:pt x="40" y="12"/>
                    <a:pt x="40" y="12"/>
                    <a:pt x="40" y="12"/>
                  </a:cubicBezTo>
                  <a:cubicBezTo>
                    <a:pt x="41" y="13"/>
                    <a:pt x="41" y="13"/>
                    <a:pt x="41" y="13"/>
                  </a:cubicBezTo>
                  <a:cubicBezTo>
                    <a:pt x="41" y="13"/>
                    <a:pt x="41" y="13"/>
                    <a:pt x="41" y="13"/>
                  </a:cubicBezTo>
                  <a:cubicBezTo>
                    <a:pt x="41" y="13"/>
                    <a:pt x="41" y="13"/>
                    <a:pt x="41" y="13"/>
                  </a:cubicBezTo>
                  <a:cubicBezTo>
                    <a:pt x="41" y="14"/>
                    <a:pt x="42" y="14"/>
                    <a:pt x="42" y="15"/>
                  </a:cubicBezTo>
                  <a:cubicBezTo>
                    <a:pt x="42" y="17"/>
                    <a:pt x="40" y="16"/>
                    <a:pt x="40" y="18"/>
                  </a:cubicBezTo>
                  <a:cubicBezTo>
                    <a:pt x="40" y="19"/>
                    <a:pt x="41" y="21"/>
                    <a:pt x="42" y="22"/>
                  </a:cubicBezTo>
                  <a:cubicBezTo>
                    <a:pt x="42" y="22"/>
                    <a:pt x="42" y="22"/>
                    <a:pt x="42" y="22"/>
                  </a:cubicBezTo>
                  <a:cubicBezTo>
                    <a:pt x="42" y="23"/>
                    <a:pt x="42" y="23"/>
                    <a:pt x="42" y="23"/>
                  </a:cubicBezTo>
                  <a:cubicBezTo>
                    <a:pt x="43" y="25"/>
                    <a:pt x="48" y="28"/>
                    <a:pt x="50" y="31"/>
                  </a:cubicBezTo>
                  <a:cubicBezTo>
                    <a:pt x="50" y="31"/>
                    <a:pt x="50" y="32"/>
                    <a:pt x="50" y="32"/>
                  </a:cubicBezTo>
                  <a:cubicBezTo>
                    <a:pt x="51" y="34"/>
                    <a:pt x="50" y="34"/>
                    <a:pt x="49" y="34"/>
                  </a:cubicBezTo>
                  <a:cubicBezTo>
                    <a:pt x="49" y="34"/>
                    <a:pt x="49" y="34"/>
                    <a:pt x="49" y="34"/>
                  </a:cubicBezTo>
                  <a:cubicBezTo>
                    <a:pt x="49" y="34"/>
                    <a:pt x="49" y="34"/>
                    <a:pt x="49" y="34"/>
                  </a:cubicBezTo>
                  <a:cubicBezTo>
                    <a:pt x="48" y="34"/>
                    <a:pt x="48" y="34"/>
                    <a:pt x="47" y="34"/>
                  </a:cubicBezTo>
                  <a:cubicBezTo>
                    <a:pt x="46" y="34"/>
                    <a:pt x="46" y="34"/>
                    <a:pt x="46" y="34"/>
                  </a:cubicBezTo>
                  <a:cubicBezTo>
                    <a:pt x="46" y="34"/>
                    <a:pt x="46" y="34"/>
                    <a:pt x="46" y="34"/>
                  </a:cubicBezTo>
                  <a:cubicBezTo>
                    <a:pt x="46" y="34"/>
                    <a:pt x="46" y="34"/>
                    <a:pt x="46" y="34"/>
                  </a:cubicBezTo>
                  <a:cubicBezTo>
                    <a:pt x="45" y="35"/>
                    <a:pt x="44" y="35"/>
                    <a:pt x="44" y="36"/>
                  </a:cubicBezTo>
                  <a:cubicBezTo>
                    <a:pt x="42" y="36"/>
                    <a:pt x="42" y="37"/>
                    <a:pt x="40" y="37"/>
                  </a:cubicBezTo>
                  <a:cubicBezTo>
                    <a:pt x="40" y="37"/>
                    <a:pt x="39" y="37"/>
                    <a:pt x="39" y="37"/>
                  </a:cubicBezTo>
                  <a:cubicBezTo>
                    <a:pt x="35" y="36"/>
                    <a:pt x="30" y="35"/>
                    <a:pt x="26" y="35"/>
                  </a:cubicBezTo>
                  <a:cubicBezTo>
                    <a:pt x="26" y="35"/>
                    <a:pt x="26" y="35"/>
                    <a:pt x="25" y="35"/>
                  </a:cubicBezTo>
                  <a:cubicBezTo>
                    <a:pt x="25" y="35"/>
                    <a:pt x="25" y="35"/>
                    <a:pt x="24" y="35"/>
                  </a:cubicBezTo>
                  <a:cubicBezTo>
                    <a:pt x="21" y="35"/>
                    <a:pt x="18" y="35"/>
                    <a:pt x="15" y="34"/>
                  </a:cubicBezTo>
                  <a:cubicBezTo>
                    <a:pt x="13" y="33"/>
                    <a:pt x="10" y="32"/>
                    <a:pt x="9" y="32"/>
                  </a:cubicBezTo>
                  <a:cubicBezTo>
                    <a:pt x="8" y="32"/>
                    <a:pt x="8" y="32"/>
                    <a:pt x="8" y="32"/>
                  </a:cubicBezTo>
                  <a:cubicBezTo>
                    <a:pt x="7" y="31"/>
                    <a:pt x="7" y="31"/>
                    <a:pt x="7" y="31"/>
                  </a:cubicBezTo>
                  <a:cubicBezTo>
                    <a:pt x="7" y="31"/>
                    <a:pt x="7" y="31"/>
                    <a:pt x="7" y="31"/>
                  </a:cubicBezTo>
                  <a:cubicBezTo>
                    <a:pt x="6" y="31"/>
                    <a:pt x="6" y="31"/>
                    <a:pt x="5" y="31"/>
                  </a:cubicBezTo>
                  <a:cubicBezTo>
                    <a:pt x="4" y="31"/>
                    <a:pt x="4" y="31"/>
                    <a:pt x="3" y="32"/>
                  </a:cubicBezTo>
                  <a:cubicBezTo>
                    <a:pt x="1" y="34"/>
                    <a:pt x="0" y="39"/>
                    <a:pt x="3" y="39"/>
                  </a:cubicBezTo>
                  <a:cubicBezTo>
                    <a:pt x="3" y="39"/>
                    <a:pt x="4" y="39"/>
                    <a:pt x="5" y="39"/>
                  </a:cubicBezTo>
                  <a:cubicBezTo>
                    <a:pt x="5" y="40"/>
                    <a:pt x="5" y="40"/>
                    <a:pt x="6" y="40"/>
                  </a:cubicBezTo>
                  <a:cubicBezTo>
                    <a:pt x="10" y="41"/>
                    <a:pt x="12" y="43"/>
                    <a:pt x="15" y="47"/>
                  </a:cubicBezTo>
                  <a:cubicBezTo>
                    <a:pt x="15" y="42"/>
                    <a:pt x="19" y="41"/>
                    <a:pt x="24" y="41"/>
                  </a:cubicBezTo>
                  <a:cubicBezTo>
                    <a:pt x="30" y="41"/>
                    <a:pt x="38" y="43"/>
                    <a:pt x="40" y="44"/>
                  </a:cubicBezTo>
                  <a:cubicBezTo>
                    <a:pt x="41" y="44"/>
                    <a:pt x="41" y="44"/>
                    <a:pt x="42" y="44"/>
                  </a:cubicBezTo>
                  <a:cubicBezTo>
                    <a:pt x="43" y="44"/>
                    <a:pt x="45" y="43"/>
                    <a:pt x="47" y="43"/>
                  </a:cubicBezTo>
                  <a:cubicBezTo>
                    <a:pt x="49" y="42"/>
                    <a:pt x="51" y="42"/>
                    <a:pt x="53" y="42"/>
                  </a:cubicBezTo>
                  <a:cubicBezTo>
                    <a:pt x="53" y="42"/>
                    <a:pt x="53" y="42"/>
                    <a:pt x="53" y="42"/>
                  </a:cubicBezTo>
                  <a:cubicBezTo>
                    <a:pt x="54" y="42"/>
                    <a:pt x="55" y="42"/>
                    <a:pt x="56" y="42"/>
                  </a:cubicBezTo>
                  <a:cubicBezTo>
                    <a:pt x="56" y="42"/>
                    <a:pt x="56" y="42"/>
                    <a:pt x="56" y="42"/>
                  </a:cubicBezTo>
                  <a:cubicBezTo>
                    <a:pt x="58" y="42"/>
                    <a:pt x="59" y="43"/>
                    <a:pt x="61" y="44"/>
                  </a:cubicBezTo>
                  <a:cubicBezTo>
                    <a:pt x="61" y="43"/>
                    <a:pt x="61" y="43"/>
                    <a:pt x="61" y="42"/>
                  </a:cubicBezTo>
                  <a:cubicBezTo>
                    <a:pt x="61" y="42"/>
                    <a:pt x="61" y="42"/>
                    <a:pt x="61" y="41"/>
                  </a:cubicBezTo>
                  <a:cubicBezTo>
                    <a:pt x="61" y="41"/>
                    <a:pt x="61" y="41"/>
                    <a:pt x="61" y="40"/>
                  </a:cubicBezTo>
                  <a:cubicBezTo>
                    <a:pt x="60" y="40"/>
                    <a:pt x="60" y="40"/>
                    <a:pt x="60" y="40"/>
                  </a:cubicBezTo>
                  <a:cubicBezTo>
                    <a:pt x="58" y="38"/>
                    <a:pt x="55" y="36"/>
                    <a:pt x="55" y="33"/>
                  </a:cubicBezTo>
                  <a:cubicBezTo>
                    <a:pt x="55" y="32"/>
                    <a:pt x="56" y="32"/>
                    <a:pt x="56" y="31"/>
                  </a:cubicBezTo>
                  <a:cubicBezTo>
                    <a:pt x="56" y="30"/>
                    <a:pt x="56" y="30"/>
                    <a:pt x="56" y="30"/>
                  </a:cubicBezTo>
                  <a:cubicBezTo>
                    <a:pt x="58" y="29"/>
                    <a:pt x="58" y="29"/>
                    <a:pt x="58" y="29"/>
                  </a:cubicBezTo>
                  <a:cubicBezTo>
                    <a:pt x="60" y="29"/>
                    <a:pt x="60" y="28"/>
                    <a:pt x="61" y="28"/>
                  </a:cubicBezTo>
                  <a:cubicBezTo>
                    <a:pt x="60" y="28"/>
                    <a:pt x="60" y="28"/>
                    <a:pt x="60" y="28"/>
                  </a:cubicBezTo>
                  <a:cubicBezTo>
                    <a:pt x="60" y="27"/>
                    <a:pt x="59" y="26"/>
                    <a:pt x="59" y="25"/>
                  </a:cubicBezTo>
                  <a:cubicBezTo>
                    <a:pt x="58" y="24"/>
                    <a:pt x="58" y="24"/>
                    <a:pt x="58" y="24"/>
                  </a:cubicBezTo>
                  <a:cubicBezTo>
                    <a:pt x="59" y="22"/>
                    <a:pt x="59" y="22"/>
                    <a:pt x="59" y="22"/>
                  </a:cubicBezTo>
                  <a:cubicBezTo>
                    <a:pt x="59" y="22"/>
                    <a:pt x="59" y="22"/>
                    <a:pt x="59" y="22"/>
                  </a:cubicBezTo>
                  <a:cubicBezTo>
                    <a:pt x="60" y="21"/>
                    <a:pt x="60" y="21"/>
                    <a:pt x="60" y="21"/>
                  </a:cubicBezTo>
                  <a:cubicBezTo>
                    <a:pt x="61" y="20"/>
                    <a:pt x="61" y="20"/>
                    <a:pt x="61" y="20"/>
                  </a:cubicBezTo>
                  <a:cubicBezTo>
                    <a:pt x="61" y="20"/>
                    <a:pt x="62" y="19"/>
                    <a:pt x="62" y="19"/>
                  </a:cubicBezTo>
                  <a:cubicBezTo>
                    <a:pt x="62" y="19"/>
                    <a:pt x="62" y="19"/>
                    <a:pt x="62" y="19"/>
                  </a:cubicBezTo>
                  <a:cubicBezTo>
                    <a:pt x="62" y="18"/>
                    <a:pt x="62" y="18"/>
                    <a:pt x="61" y="17"/>
                  </a:cubicBezTo>
                  <a:cubicBezTo>
                    <a:pt x="61" y="16"/>
                    <a:pt x="61" y="15"/>
                    <a:pt x="62" y="14"/>
                  </a:cubicBezTo>
                  <a:cubicBezTo>
                    <a:pt x="62" y="14"/>
                    <a:pt x="62" y="14"/>
                    <a:pt x="62" y="13"/>
                  </a:cubicBezTo>
                  <a:cubicBezTo>
                    <a:pt x="62" y="13"/>
                    <a:pt x="62" y="12"/>
                    <a:pt x="62" y="12"/>
                  </a:cubicBezTo>
                  <a:cubicBezTo>
                    <a:pt x="62" y="11"/>
                    <a:pt x="62" y="11"/>
                    <a:pt x="62" y="10"/>
                  </a:cubicBezTo>
                  <a:cubicBezTo>
                    <a:pt x="61" y="10"/>
                    <a:pt x="61" y="8"/>
                    <a:pt x="61" y="8"/>
                  </a:cubicBezTo>
                  <a:cubicBezTo>
                    <a:pt x="60" y="6"/>
                    <a:pt x="60" y="6"/>
                    <a:pt x="60" y="6"/>
                  </a:cubicBezTo>
                  <a:cubicBezTo>
                    <a:pt x="61" y="6"/>
                    <a:pt x="61" y="6"/>
                    <a:pt x="61" y="6"/>
                  </a:cubicBezTo>
                  <a:cubicBezTo>
                    <a:pt x="60" y="6"/>
                    <a:pt x="60" y="6"/>
                    <a:pt x="60" y="6"/>
                  </a:cubicBezTo>
                  <a:cubicBezTo>
                    <a:pt x="58" y="6"/>
                    <a:pt x="56" y="6"/>
                    <a:pt x="54" y="5"/>
                  </a:cubicBezTo>
                  <a:cubicBezTo>
                    <a:pt x="53" y="5"/>
                    <a:pt x="53" y="5"/>
                    <a:pt x="53" y="5"/>
                  </a:cubicBezTo>
                  <a:cubicBezTo>
                    <a:pt x="53" y="5"/>
                    <a:pt x="52" y="5"/>
                    <a:pt x="52" y="6"/>
                  </a:cubicBezTo>
                  <a:cubicBezTo>
                    <a:pt x="51" y="5"/>
                    <a:pt x="50" y="5"/>
                    <a:pt x="50" y="5"/>
                  </a:cubicBezTo>
                  <a:cubicBezTo>
                    <a:pt x="49" y="3"/>
                    <a:pt x="46" y="2"/>
                    <a:pt x="43" y="1"/>
                  </a:cubicBezTo>
                  <a:cubicBezTo>
                    <a:pt x="42" y="1"/>
                    <a:pt x="42" y="1"/>
                    <a:pt x="41" y="1"/>
                  </a:cubicBez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Rectangle 276"/>
            <p:cNvSpPr>
              <a:spLocks noChangeArrowheads="1"/>
            </p:cNvSpPr>
            <p:nvPr/>
          </p:nvSpPr>
          <p:spPr bwMode="auto">
            <a:xfrm>
              <a:off x="8248561" y="531015"/>
              <a:ext cx="1412" cy="2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277"/>
            <p:cNvSpPr/>
            <p:nvPr/>
          </p:nvSpPr>
          <p:spPr bwMode="auto">
            <a:xfrm flipH="1">
              <a:off x="8248561" y="531015"/>
              <a:ext cx="0" cy="2825"/>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278"/>
            <p:cNvSpPr/>
            <p:nvPr/>
          </p:nvSpPr>
          <p:spPr bwMode="auto">
            <a:xfrm>
              <a:off x="6913966" y="563497"/>
              <a:ext cx="76263" cy="197718"/>
            </a:xfrm>
            <a:custGeom>
              <a:gdLst>
                <a:gd name="T0" fmla="*/ 23 w 23"/>
                <a:gd name="T1" fmla="*/ 0 h 59"/>
                <a:gd name="T2" fmla="*/ 21 w 23"/>
                <a:gd name="T3" fmla="*/ 1 h 59"/>
                <a:gd name="T4" fmla="*/ 21 w 23"/>
                <a:gd name="T5" fmla="*/ 1 h 59"/>
                <a:gd name="T6" fmla="*/ 20 w 23"/>
                <a:gd name="T7" fmla="*/ 1 h 59"/>
                <a:gd name="T8" fmla="*/ 20 w 23"/>
                <a:gd name="T9" fmla="*/ 1 h 59"/>
                <a:gd name="T10" fmla="*/ 19 w 23"/>
                <a:gd name="T11" fmla="*/ 1 h 59"/>
                <a:gd name="T12" fmla="*/ 19 w 23"/>
                <a:gd name="T13" fmla="*/ 1 h 59"/>
                <a:gd name="T14" fmla="*/ 18 w 23"/>
                <a:gd name="T15" fmla="*/ 1 h 59"/>
                <a:gd name="T16" fmla="*/ 18 w 23"/>
                <a:gd name="T17" fmla="*/ 1 h 59"/>
                <a:gd name="T18" fmla="*/ 17 w 23"/>
                <a:gd name="T19" fmla="*/ 1 h 59"/>
                <a:gd name="T20" fmla="*/ 16 w 23"/>
                <a:gd name="T21" fmla="*/ 0 h 59"/>
                <a:gd name="T22" fmla="*/ 15 w 23"/>
                <a:gd name="T23" fmla="*/ 2 h 59"/>
                <a:gd name="T24" fmla="*/ 13 w 23"/>
                <a:gd name="T25" fmla="*/ 5 h 59"/>
                <a:gd name="T26" fmla="*/ 11 w 23"/>
                <a:gd name="T27" fmla="*/ 9 h 59"/>
                <a:gd name="T28" fmla="*/ 7 w 23"/>
                <a:gd name="T29" fmla="*/ 13 h 59"/>
                <a:gd name="T30" fmla="*/ 5 w 23"/>
                <a:gd name="T31" fmla="*/ 14 h 59"/>
                <a:gd name="T32" fmla="*/ 5 w 23"/>
                <a:gd name="T33" fmla="*/ 14 h 59"/>
                <a:gd name="T34" fmla="*/ 4 w 23"/>
                <a:gd name="T35" fmla="*/ 14 h 59"/>
                <a:gd name="T36" fmla="*/ 2 w 23"/>
                <a:gd name="T37" fmla="*/ 13 h 59"/>
                <a:gd name="T38" fmla="*/ 2 w 23"/>
                <a:gd name="T39" fmla="*/ 13 h 59"/>
                <a:gd name="T40" fmla="*/ 1 w 23"/>
                <a:gd name="T41" fmla="*/ 13 h 59"/>
                <a:gd name="T42" fmla="*/ 2 w 23"/>
                <a:gd name="T43" fmla="*/ 14 h 59"/>
                <a:gd name="T44" fmla="*/ 1 w 23"/>
                <a:gd name="T45" fmla="*/ 14 h 59"/>
                <a:gd name="T46" fmla="*/ 1 w 23"/>
                <a:gd name="T47" fmla="*/ 15 h 59"/>
                <a:gd name="T48" fmla="*/ 1 w 23"/>
                <a:gd name="T49" fmla="*/ 18 h 59"/>
                <a:gd name="T50" fmla="*/ 1 w 23"/>
                <a:gd name="T51" fmla="*/ 22 h 59"/>
                <a:gd name="T52" fmla="*/ 1 w 23"/>
                <a:gd name="T53" fmla="*/ 29 h 59"/>
                <a:gd name="T54" fmla="*/ 0 w 23"/>
                <a:gd name="T55" fmla="*/ 57 h 59"/>
                <a:gd name="T56" fmla="*/ 1 w 23"/>
                <a:gd name="T57" fmla="*/ 57 h 59"/>
                <a:gd name="T58" fmla="*/ 3 w 23"/>
                <a:gd name="T59" fmla="*/ 57 h 59"/>
                <a:gd name="T60" fmla="*/ 4 w 23"/>
                <a:gd name="T61" fmla="*/ 57 h 59"/>
                <a:gd name="T62" fmla="*/ 4 w 23"/>
                <a:gd name="T63" fmla="*/ 59 h 59"/>
                <a:gd name="T64" fmla="*/ 5 w 23"/>
                <a:gd name="T65" fmla="*/ 59 h 59"/>
                <a:gd name="T66" fmla="*/ 13 w 23"/>
                <a:gd name="T67" fmla="*/ 49 h 59"/>
                <a:gd name="T68" fmla="*/ 17 w 23"/>
                <a:gd name="T69" fmla="*/ 43 h 59"/>
                <a:gd name="T70" fmla="*/ 20 w 23"/>
                <a:gd name="T71" fmla="*/ 34 h 59"/>
                <a:gd name="T72" fmla="*/ 18 w 23"/>
                <a:gd name="T73" fmla="*/ 29 h 59"/>
                <a:gd name="T74" fmla="*/ 20 w 23"/>
                <a:gd name="T75" fmla="*/ 16 h 59"/>
                <a:gd name="T76" fmla="*/ 23 w 23"/>
                <a:gd name="T77" fmla="*/ 0 h 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 h="59">
                  <a:moveTo>
                    <a:pt x="23" y="0"/>
                  </a:moveTo>
                  <a:cubicBezTo>
                    <a:pt x="22" y="1"/>
                    <a:pt x="22" y="1"/>
                    <a:pt x="21" y="1"/>
                  </a:cubicBezTo>
                  <a:cubicBezTo>
                    <a:pt x="21" y="1"/>
                    <a:pt x="21" y="1"/>
                    <a:pt x="21" y="1"/>
                  </a:cubicBezTo>
                  <a:cubicBezTo>
                    <a:pt x="20" y="1"/>
                    <a:pt x="20" y="1"/>
                    <a:pt x="20" y="1"/>
                  </a:cubicBezTo>
                  <a:cubicBezTo>
                    <a:pt x="20" y="1"/>
                    <a:pt x="20" y="1"/>
                    <a:pt x="20" y="1"/>
                  </a:cubicBezTo>
                  <a:cubicBezTo>
                    <a:pt x="19" y="1"/>
                    <a:pt x="19" y="1"/>
                    <a:pt x="19" y="1"/>
                  </a:cubicBezTo>
                  <a:cubicBezTo>
                    <a:pt x="19" y="1"/>
                    <a:pt x="19" y="1"/>
                    <a:pt x="19" y="1"/>
                  </a:cubicBezTo>
                  <a:cubicBezTo>
                    <a:pt x="18" y="1"/>
                    <a:pt x="18" y="1"/>
                    <a:pt x="18" y="1"/>
                  </a:cubicBezTo>
                  <a:cubicBezTo>
                    <a:pt x="18" y="1"/>
                    <a:pt x="18" y="1"/>
                    <a:pt x="18" y="1"/>
                  </a:cubicBezTo>
                  <a:cubicBezTo>
                    <a:pt x="17" y="1"/>
                    <a:pt x="17" y="1"/>
                    <a:pt x="17" y="1"/>
                  </a:cubicBezTo>
                  <a:cubicBezTo>
                    <a:pt x="16" y="0"/>
                    <a:pt x="16" y="0"/>
                    <a:pt x="16" y="0"/>
                  </a:cubicBezTo>
                  <a:cubicBezTo>
                    <a:pt x="16" y="1"/>
                    <a:pt x="15" y="1"/>
                    <a:pt x="15" y="2"/>
                  </a:cubicBezTo>
                  <a:cubicBezTo>
                    <a:pt x="13" y="5"/>
                    <a:pt x="13" y="5"/>
                    <a:pt x="13" y="5"/>
                  </a:cubicBezTo>
                  <a:cubicBezTo>
                    <a:pt x="12" y="7"/>
                    <a:pt x="12" y="8"/>
                    <a:pt x="11" y="9"/>
                  </a:cubicBezTo>
                  <a:cubicBezTo>
                    <a:pt x="10" y="11"/>
                    <a:pt x="9" y="13"/>
                    <a:pt x="7" y="13"/>
                  </a:cubicBezTo>
                  <a:cubicBezTo>
                    <a:pt x="6" y="14"/>
                    <a:pt x="6" y="14"/>
                    <a:pt x="5" y="14"/>
                  </a:cubicBezTo>
                  <a:cubicBezTo>
                    <a:pt x="5" y="14"/>
                    <a:pt x="5" y="14"/>
                    <a:pt x="5" y="14"/>
                  </a:cubicBezTo>
                  <a:cubicBezTo>
                    <a:pt x="4" y="14"/>
                    <a:pt x="4" y="14"/>
                    <a:pt x="4" y="14"/>
                  </a:cubicBezTo>
                  <a:cubicBezTo>
                    <a:pt x="3" y="14"/>
                    <a:pt x="3" y="14"/>
                    <a:pt x="2" y="13"/>
                  </a:cubicBezTo>
                  <a:cubicBezTo>
                    <a:pt x="2" y="13"/>
                    <a:pt x="2" y="13"/>
                    <a:pt x="2" y="13"/>
                  </a:cubicBezTo>
                  <a:cubicBezTo>
                    <a:pt x="1" y="13"/>
                    <a:pt x="1" y="13"/>
                    <a:pt x="1" y="13"/>
                  </a:cubicBezTo>
                  <a:cubicBezTo>
                    <a:pt x="2" y="14"/>
                    <a:pt x="2" y="14"/>
                    <a:pt x="2" y="14"/>
                  </a:cubicBezTo>
                  <a:cubicBezTo>
                    <a:pt x="1" y="14"/>
                    <a:pt x="1" y="14"/>
                    <a:pt x="1" y="14"/>
                  </a:cubicBezTo>
                  <a:cubicBezTo>
                    <a:pt x="1" y="15"/>
                    <a:pt x="1" y="15"/>
                    <a:pt x="1" y="15"/>
                  </a:cubicBezTo>
                  <a:cubicBezTo>
                    <a:pt x="1" y="16"/>
                    <a:pt x="1" y="17"/>
                    <a:pt x="1" y="18"/>
                  </a:cubicBezTo>
                  <a:cubicBezTo>
                    <a:pt x="1" y="22"/>
                    <a:pt x="1" y="22"/>
                    <a:pt x="1" y="22"/>
                  </a:cubicBezTo>
                  <a:cubicBezTo>
                    <a:pt x="1" y="24"/>
                    <a:pt x="1" y="26"/>
                    <a:pt x="1" y="29"/>
                  </a:cubicBezTo>
                  <a:cubicBezTo>
                    <a:pt x="1" y="38"/>
                    <a:pt x="0" y="48"/>
                    <a:pt x="0" y="57"/>
                  </a:cubicBezTo>
                  <a:cubicBezTo>
                    <a:pt x="1" y="57"/>
                    <a:pt x="1" y="57"/>
                    <a:pt x="1" y="57"/>
                  </a:cubicBezTo>
                  <a:cubicBezTo>
                    <a:pt x="1" y="57"/>
                    <a:pt x="2" y="57"/>
                    <a:pt x="3" y="57"/>
                  </a:cubicBezTo>
                  <a:cubicBezTo>
                    <a:pt x="4" y="57"/>
                    <a:pt x="4" y="57"/>
                    <a:pt x="4" y="57"/>
                  </a:cubicBezTo>
                  <a:cubicBezTo>
                    <a:pt x="4" y="59"/>
                    <a:pt x="4" y="59"/>
                    <a:pt x="4" y="59"/>
                  </a:cubicBezTo>
                  <a:cubicBezTo>
                    <a:pt x="5" y="59"/>
                    <a:pt x="5" y="59"/>
                    <a:pt x="5" y="59"/>
                  </a:cubicBezTo>
                  <a:cubicBezTo>
                    <a:pt x="8" y="55"/>
                    <a:pt x="10" y="52"/>
                    <a:pt x="13" y="49"/>
                  </a:cubicBezTo>
                  <a:cubicBezTo>
                    <a:pt x="15" y="47"/>
                    <a:pt x="16" y="45"/>
                    <a:pt x="17" y="43"/>
                  </a:cubicBezTo>
                  <a:cubicBezTo>
                    <a:pt x="18" y="41"/>
                    <a:pt x="20" y="36"/>
                    <a:pt x="20" y="34"/>
                  </a:cubicBezTo>
                  <a:cubicBezTo>
                    <a:pt x="20" y="32"/>
                    <a:pt x="18" y="31"/>
                    <a:pt x="18" y="29"/>
                  </a:cubicBezTo>
                  <a:cubicBezTo>
                    <a:pt x="19" y="25"/>
                    <a:pt x="20" y="20"/>
                    <a:pt x="20" y="16"/>
                  </a:cubicBezTo>
                  <a:cubicBezTo>
                    <a:pt x="21" y="11"/>
                    <a:pt x="23" y="6"/>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803588"/>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3_Title Master: White">
    <p:bg>
      <p:bgPr>
        <a:solidFill>
          <a:schemeClr val="bg1"/>
        </a:solidFill>
        <a:effectLst/>
      </p:bgPr>
    </p:bg>
    <p:spTree>
      <p:nvGrpSpPr>
        <p:cNvPr id="1" name=""/>
        <p:cNvGrpSpPr/>
        <p:nvPr/>
      </p:nvGrpSpPr>
      <p:grpSpPr>
        <a:xfrm>
          <a:off x="0" y="0"/>
          <a:ext cx="0" cy="0"/>
        </a:xfrm>
      </p:grpSpPr>
      <p:pic>
        <p:nvPicPr>
          <p:cNvPr id="7" name="Picture 6" descr="A picture containing table, sitting, white, cup&#10;&#10;Description automatically generated">
            <a:extLst>
              <a:ext uri="{FF2B5EF4-FFF2-40B4-BE49-F238E27FC236}">
                <a16:creationId xmlns:a16="http://schemas.microsoft.com/office/drawing/2014/main" id="{4D728770-A4DC-A14C-AD06-8D3DE890BB19}"/>
              </a:ext>
            </a:extLst>
          </p:cNvPr>
          <p:cNvPicPr>
            <a:picLocks noChangeAspect="1"/>
          </p:cNvPicPr>
          <p:nvPr userDrawn="1"/>
        </p:nvPicPr>
        <p:blipFill>
          <a:blip r:embed="rId1">
            <a:extLst>
              <a:ext uri="{28A0092B-C50C-407E-A947-70E740481C1C}">
                <a14:useLocalDpi xmlns:a14="http://schemas.microsoft.com/office/drawing/2010/main"/>
              </a:ext>
            </a:extLst>
          </a:blip>
          <a:stretch>
            <a:fillRect/>
          </a:stretch>
        </p:blipFill>
        <p:spPr>
          <a:xfrm>
            <a:off x="4282827" y="0"/>
            <a:ext cx="7909173" cy="6870052"/>
          </a:xfrm>
          <a:prstGeom prst="rect">
            <a:avLst/>
          </a:prstGeom>
        </p:spPr>
      </p:pic>
      <p:sp>
        <p:nvSpPr>
          <p:cNvPr id="20" name="Title 1">
            <a:extLst>
              <a:ext uri="{FF2B5EF4-FFF2-40B4-BE49-F238E27FC236}">
                <a16:creationId xmlns:a16="http://schemas.microsoft.com/office/drawing/2014/main" id="{F9EAF5FB-2185-4045-B1AA-37C4A4D6768B}"/>
              </a:ext>
            </a:extLst>
          </p:cNvPr>
          <p:cNvSpPr>
            <a:spLocks noGrp="1"/>
          </p:cNvSpPr>
          <p:nvPr>
            <p:ph type="ctrTitle" hasCustomPrompt="1"/>
          </p:nvPr>
        </p:nvSpPr>
        <p:spPr>
          <a:xfrm>
            <a:off x="371475" y="1850118"/>
            <a:ext cx="5985782" cy="2009775"/>
          </a:xfrm>
          <a:prstGeom prst="rect">
            <a:avLst/>
          </a:prstGeom>
        </p:spPr>
        <p:txBody>
          <a:bodyPr vert="horz" lIns="0" tIns="72000" rIns="0" bIns="0" rtlCol="0" anchor="t" anchorCtr="0">
            <a:noAutofit/>
          </a:bodyPr>
          <a:lstStyle>
            <a:lvl1pPr>
              <a:defRPr lang="en-CR" sz="4400" i="0">
                <a:latin typeface="Graphik Black" panose="020b0503030202060203" pitchFamily="34" charset="77"/>
              </a:defRPr>
            </a:lvl1pPr>
          </a:lstStyle>
          <a:p>
            <a:pPr lvl="0"/>
            <a:r>
              <a:rPr lang="en-US"/>
              <a:t>CLICK TO EDIT DIVIDER TITLE STYLE</a:t>
            </a:r>
            <a:endParaRPr lang="en-CR"/>
          </a:p>
        </p:txBody>
      </p:sp>
      <p:sp>
        <p:nvSpPr>
          <p:cNvPr id="21" name="Subtitle 2">
            <a:extLst>
              <a:ext uri="{FF2B5EF4-FFF2-40B4-BE49-F238E27FC236}">
                <a16:creationId xmlns:a16="http://schemas.microsoft.com/office/drawing/2014/main" id="{1EA900D3-6D27-4A56-8D1F-CCB9A062E36F}"/>
              </a:ext>
            </a:extLst>
          </p:cNvPr>
          <p:cNvSpPr>
            <a:spLocks noGrp="1"/>
          </p:cNvSpPr>
          <p:nvPr>
            <p:ph type="subTitle" idx="1"/>
          </p:nvPr>
        </p:nvSpPr>
        <p:spPr>
          <a:xfrm>
            <a:off x="371475" y="5206545"/>
            <a:ext cx="5985782" cy="864507"/>
          </a:xfrm>
          <a:prstGeom prst="rect">
            <a:avLst/>
          </a:prstGeom>
        </p:spPr>
        <p:txBody>
          <a:bodyPr>
            <a:noAutofit/>
          </a:bodyPr>
          <a:lstStyle>
            <a:lvl1pPr marL="0" indent="0" algn="l">
              <a:buNone/>
              <a:defRPr sz="24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R"/>
          </a:p>
        </p:txBody>
      </p:sp>
    </p:spTree>
    <p:extLst>
      <p:ext uri="{BB962C8B-B14F-4D97-AF65-F5344CB8AC3E}">
        <p14:creationId xmlns:p14="http://schemas.microsoft.com/office/powerpoint/2010/main" val="1077106646"/>
      </p:ext>
    </p:extLst>
  </p:cSld>
  <p:clrMapOvr>
    <a:masterClrMapping/>
  </p:clrMapOvr>
  <p:transition/>
  <p:timing/>
  <p:extLst>
    <p:ext uri="{DCECCB84-F9BA-43D5-87BE-67443E8EF086}">
      <p15:sldGuideLst xmlns:p15="http://schemas.microsoft.com/office/powerpoint/2012/main">
        <p15:guide id="1"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fric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78" name="Text Placeholder 377"/>
          <p:cNvSpPr>
            <a:spLocks noGrp="1"/>
          </p:cNvSpPr>
          <p:nvPr>
            <p:ph type="body" sz="quarter" idx="12" hasCustomPrompt="1"/>
          </p:nvPr>
        </p:nvSpPr>
        <p:spPr>
          <a:xfrm>
            <a:off x="334963"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grpSp>
        <p:nvGrpSpPr>
          <p:cNvPr id="255" name="Group 254"/>
          <p:cNvGrpSpPr>
            <a:grpSpLocks noChangeAspect="1"/>
          </p:cNvGrpSpPr>
          <p:nvPr userDrawn="1"/>
        </p:nvGrpSpPr>
        <p:grpSpPr>
          <a:xfrm>
            <a:off x="4307310" y="0"/>
            <a:ext cx="7884690" cy="6569663"/>
            <a:chOff x="1922" y="-27"/>
            <a:chExt cx="5756" cy="4796"/>
          </a:xfrm>
          <a:gradFill>
            <a:gsLst>
              <a:gs pos="100000">
                <a:schemeClr val="accent4"/>
              </a:gs>
              <a:gs pos="0">
                <a:schemeClr val="accent1"/>
              </a:gs>
            </a:gsLst>
            <a:lin ang="2700000" scaled="0"/>
          </a:gradFill>
        </p:grpSpPr>
        <p:grpSp>
          <p:nvGrpSpPr>
            <p:cNvPr id="256" name="Group 205"/>
            <p:cNvGrpSpPr/>
            <p:nvPr/>
          </p:nvGrpSpPr>
          <p:grpSpPr>
            <a:xfrm>
              <a:off x="1922" y="-27"/>
              <a:ext cx="5730" cy="4415"/>
              <a:chOff x="1922" y="-27"/>
              <a:chExt cx="5730" cy="4415"/>
            </a:xfrm>
            <a:grpFill/>
          </p:grpSpPr>
          <p:sp>
            <p:nvSpPr>
              <p:cNvPr id="366" name="Freeform 5"/>
              <p:cNvSpPr>
                <a:spLocks noEditPoints="1"/>
              </p:cNvSpPr>
              <p:nvPr/>
            </p:nvSpPr>
            <p:spPr bwMode="auto">
              <a:xfrm>
                <a:off x="2382" y="1807"/>
                <a:ext cx="5" cy="17"/>
              </a:xfrm>
              <a:custGeom>
                <a:gdLst>
                  <a:gd name="T0" fmla="*/ 2 w 2"/>
                  <a:gd name="T1" fmla="*/ 6 h 7"/>
                  <a:gd name="T2" fmla="*/ 2 w 2"/>
                  <a:gd name="T3" fmla="*/ 7 h 7"/>
                  <a:gd name="T4" fmla="*/ 2 w 2"/>
                  <a:gd name="T5" fmla="*/ 6 h 7"/>
                  <a:gd name="T6" fmla="*/ 2 w 2"/>
                  <a:gd name="T7" fmla="*/ 0 h 7"/>
                  <a:gd name="T8" fmla="*/ 0 w 2"/>
                  <a:gd name="T9" fmla="*/ 4 h 7"/>
                  <a:gd name="T10" fmla="*/ 2 w 2"/>
                  <a:gd name="T11" fmla="*/ 6 h 7"/>
                  <a:gd name="T12" fmla="*/ 2 w 2"/>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2" h="7">
                    <a:moveTo>
                      <a:pt x="2" y="6"/>
                    </a:moveTo>
                    <a:cubicBezTo>
                      <a:pt x="2" y="6"/>
                      <a:pt x="2" y="6"/>
                      <a:pt x="2" y="7"/>
                    </a:cubicBezTo>
                    <a:cubicBezTo>
                      <a:pt x="2" y="6"/>
                      <a:pt x="2" y="6"/>
                      <a:pt x="2" y="6"/>
                    </a:cubicBezTo>
                    <a:moveTo>
                      <a:pt x="2" y="0"/>
                    </a:moveTo>
                    <a:cubicBezTo>
                      <a:pt x="0" y="1"/>
                      <a:pt x="1" y="3"/>
                      <a:pt x="0" y="4"/>
                    </a:cubicBezTo>
                    <a:cubicBezTo>
                      <a:pt x="1" y="4"/>
                      <a:pt x="2" y="5"/>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6"/>
              <p:cNvSpPr/>
              <p:nvPr/>
            </p:nvSpPr>
            <p:spPr bwMode="auto">
              <a:xfrm>
                <a:off x="2385" y="1843"/>
                <a:ext cx="19" cy="14"/>
              </a:xfrm>
              <a:custGeom>
                <a:gdLst>
                  <a:gd name="T0" fmla="*/ 3 w 8"/>
                  <a:gd name="T1" fmla="*/ 0 h 6"/>
                  <a:gd name="T2" fmla="*/ 1 w 8"/>
                  <a:gd name="T3" fmla="*/ 1 h 6"/>
                  <a:gd name="T4" fmla="*/ 0 w 8"/>
                  <a:gd name="T5" fmla="*/ 5 h 6"/>
                  <a:gd name="T6" fmla="*/ 4 w 8"/>
                  <a:gd name="T7" fmla="*/ 6 h 6"/>
                  <a:gd name="T8" fmla="*/ 5 w 8"/>
                  <a:gd name="T9" fmla="*/ 1 h 6"/>
                  <a:gd name="T10" fmla="*/ 3 w 8"/>
                  <a:gd name="T11" fmla="*/ 0 h 6"/>
                </a:gdLst>
                <a:cxnLst>
                  <a:cxn ang="0">
                    <a:pos x="T0" y="T1"/>
                  </a:cxn>
                  <a:cxn ang="0">
                    <a:pos x="T2" y="T3"/>
                  </a:cxn>
                  <a:cxn ang="0">
                    <a:pos x="T4" y="T5"/>
                  </a:cxn>
                  <a:cxn ang="0">
                    <a:pos x="T6" y="T7"/>
                  </a:cxn>
                  <a:cxn ang="0">
                    <a:pos x="T8" y="T9"/>
                  </a:cxn>
                  <a:cxn ang="0">
                    <a:pos x="T10" y="T11"/>
                  </a:cxn>
                </a:cxnLst>
                <a:rect l="0" t="0" r="r" b="b"/>
                <a:pathLst>
                  <a:path w="8" h="6">
                    <a:moveTo>
                      <a:pt x="3" y="0"/>
                    </a:moveTo>
                    <a:cubicBezTo>
                      <a:pt x="2" y="0"/>
                      <a:pt x="1" y="0"/>
                      <a:pt x="1" y="1"/>
                    </a:cubicBezTo>
                    <a:cubicBezTo>
                      <a:pt x="0" y="5"/>
                      <a:pt x="0" y="5"/>
                      <a:pt x="0" y="5"/>
                    </a:cubicBezTo>
                    <a:cubicBezTo>
                      <a:pt x="0" y="6"/>
                      <a:pt x="2" y="6"/>
                      <a:pt x="4" y="6"/>
                    </a:cubicBezTo>
                    <a:cubicBezTo>
                      <a:pt x="6" y="4"/>
                      <a:pt x="8" y="2"/>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7"/>
              <p:cNvSpPr/>
              <p:nvPr/>
            </p:nvSpPr>
            <p:spPr bwMode="auto">
              <a:xfrm>
                <a:off x="1922" y="436"/>
                <a:ext cx="4" cy="10"/>
              </a:xfrm>
              <a:custGeom>
                <a:gdLst>
                  <a:gd name="T0" fmla="*/ 1 w 2"/>
                  <a:gd name="T1" fmla="*/ 0 h 4"/>
                  <a:gd name="T2" fmla="*/ 2 w 2"/>
                  <a:gd name="T3" fmla="*/ 4 h 4"/>
                  <a:gd name="T4" fmla="*/ 1 w 2"/>
                  <a:gd name="T5" fmla="*/ 0 h 4"/>
                </a:gdLst>
                <a:cxnLst>
                  <a:cxn ang="0">
                    <a:pos x="T0" y="T1"/>
                  </a:cxn>
                  <a:cxn ang="0">
                    <a:pos x="T2" y="T3"/>
                  </a:cxn>
                  <a:cxn ang="0">
                    <a:pos x="T4" y="T5"/>
                  </a:cxn>
                </a:cxnLst>
                <a:rect l="0" t="0" r="r" b="b"/>
                <a:pathLst>
                  <a:path w="2" h="4">
                    <a:moveTo>
                      <a:pt x="1" y="0"/>
                    </a:moveTo>
                    <a:cubicBezTo>
                      <a:pt x="0" y="1"/>
                      <a:pt x="0" y="3"/>
                      <a:pt x="2" y="4"/>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8"/>
              <p:cNvSpPr/>
              <p:nvPr/>
            </p:nvSpPr>
            <p:spPr bwMode="auto">
              <a:xfrm>
                <a:off x="2070" y="498"/>
                <a:ext cx="33" cy="11"/>
              </a:xfrm>
              <a:custGeom>
                <a:gdLst>
                  <a:gd name="T0" fmla="*/ 6 w 14"/>
                  <a:gd name="T1" fmla="*/ 0 h 5"/>
                  <a:gd name="T2" fmla="*/ 5 w 14"/>
                  <a:gd name="T3" fmla="*/ 4 h 5"/>
                  <a:gd name="T4" fmla="*/ 9 w 14"/>
                  <a:gd name="T5" fmla="*/ 5 h 5"/>
                  <a:gd name="T6" fmla="*/ 14 w 14"/>
                  <a:gd name="T7" fmla="*/ 4 h 5"/>
                  <a:gd name="T8" fmla="*/ 6 w 14"/>
                  <a:gd name="T9" fmla="*/ 0 h 5"/>
                </a:gdLst>
                <a:cxnLst>
                  <a:cxn ang="0">
                    <a:pos x="T0" y="T1"/>
                  </a:cxn>
                  <a:cxn ang="0">
                    <a:pos x="T2" y="T3"/>
                  </a:cxn>
                  <a:cxn ang="0">
                    <a:pos x="T4" y="T5"/>
                  </a:cxn>
                  <a:cxn ang="0">
                    <a:pos x="T6" y="T7"/>
                  </a:cxn>
                  <a:cxn ang="0">
                    <a:pos x="T8" y="T9"/>
                  </a:cxn>
                </a:cxnLst>
                <a:rect l="0" t="0" r="r" b="b"/>
                <a:pathLst>
                  <a:path w="14" h="5">
                    <a:moveTo>
                      <a:pt x="6" y="0"/>
                    </a:moveTo>
                    <a:cubicBezTo>
                      <a:pt x="1" y="1"/>
                      <a:pt x="0" y="2"/>
                      <a:pt x="5" y="4"/>
                    </a:cubicBezTo>
                    <a:cubicBezTo>
                      <a:pt x="6" y="5"/>
                      <a:pt x="7" y="5"/>
                      <a:pt x="9" y="5"/>
                    </a:cubicBezTo>
                    <a:cubicBezTo>
                      <a:pt x="10" y="5"/>
                      <a:pt x="12" y="4"/>
                      <a:pt x="14" y="4"/>
                    </a:cubicBezTo>
                    <a:cubicBezTo>
                      <a:pt x="12" y="2"/>
                      <a:pt x="8"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9"/>
              <p:cNvSpPr/>
              <p:nvPr/>
            </p:nvSpPr>
            <p:spPr bwMode="auto">
              <a:xfrm>
                <a:off x="2134" y="481"/>
                <a:ext cx="24" cy="12"/>
              </a:xfrm>
              <a:custGeom>
                <a:gdLst>
                  <a:gd name="T0" fmla="*/ 6 w 10"/>
                  <a:gd name="T1" fmla="*/ 0 h 5"/>
                  <a:gd name="T2" fmla="*/ 2 w 10"/>
                  <a:gd name="T3" fmla="*/ 2 h 5"/>
                  <a:gd name="T4" fmla="*/ 8 w 10"/>
                  <a:gd name="T5" fmla="*/ 5 h 5"/>
                  <a:gd name="T6" fmla="*/ 7 w 10"/>
                  <a:gd name="T7" fmla="*/ 1 h 5"/>
                  <a:gd name="T8" fmla="*/ 6 w 10"/>
                  <a:gd name="T9" fmla="*/ 0 h 5"/>
                </a:gdLst>
                <a:cxnLst>
                  <a:cxn ang="0">
                    <a:pos x="T0" y="T1"/>
                  </a:cxn>
                  <a:cxn ang="0">
                    <a:pos x="T2" y="T3"/>
                  </a:cxn>
                  <a:cxn ang="0">
                    <a:pos x="T4" y="T5"/>
                  </a:cxn>
                  <a:cxn ang="0">
                    <a:pos x="T6" y="T7"/>
                  </a:cxn>
                  <a:cxn ang="0">
                    <a:pos x="T8" y="T9"/>
                  </a:cxn>
                </a:cxnLst>
                <a:rect l="0" t="0" r="r" b="b"/>
                <a:pathLst>
                  <a:path w="10" h="5">
                    <a:moveTo>
                      <a:pt x="6" y="0"/>
                    </a:moveTo>
                    <a:cubicBezTo>
                      <a:pt x="4" y="0"/>
                      <a:pt x="3" y="1"/>
                      <a:pt x="2" y="2"/>
                    </a:cubicBezTo>
                    <a:cubicBezTo>
                      <a:pt x="0" y="4"/>
                      <a:pt x="8" y="5"/>
                      <a:pt x="8" y="5"/>
                    </a:cubicBezTo>
                    <a:cubicBezTo>
                      <a:pt x="9" y="2"/>
                      <a:pt x="10" y="2"/>
                      <a:pt x="7" y="1"/>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10"/>
              <p:cNvSpPr/>
              <p:nvPr/>
            </p:nvSpPr>
            <p:spPr bwMode="auto">
              <a:xfrm>
                <a:off x="2224" y="540"/>
                <a:ext cx="40" cy="12"/>
              </a:xfrm>
              <a:custGeom>
                <a:gdLst>
                  <a:gd name="T0" fmla="*/ 2 w 17"/>
                  <a:gd name="T1" fmla="*/ 0 h 5"/>
                  <a:gd name="T2" fmla="*/ 0 w 17"/>
                  <a:gd name="T3" fmla="*/ 2 h 5"/>
                  <a:gd name="T4" fmla="*/ 10 w 17"/>
                  <a:gd name="T5" fmla="*/ 5 h 5"/>
                  <a:gd name="T6" fmla="*/ 11 w 17"/>
                  <a:gd name="T7" fmla="*/ 5 h 5"/>
                  <a:gd name="T8" fmla="*/ 17 w 17"/>
                  <a:gd name="T9" fmla="*/ 2 h 5"/>
                  <a:gd name="T10" fmla="*/ 15 w 17"/>
                  <a:gd name="T11" fmla="*/ 1 h 5"/>
                  <a:gd name="T12" fmla="*/ 11 w 17"/>
                  <a:gd name="T13" fmla="*/ 1 h 5"/>
                  <a:gd name="T14" fmla="*/ 7 w 17"/>
                  <a:gd name="T15" fmla="*/ 2 h 5"/>
                  <a:gd name="T16" fmla="*/ 6 w 17"/>
                  <a:gd name="T17" fmla="*/ 2 h 5"/>
                  <a:gd name="T18" fmla="*/ 2 w 17"/>
                  <a:gd name="T19"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5">
                    <a:moveTo>
                      <a:pt x="2" y="0"/>
                    </a:moveTo>
                    <a:cubicBezTo>
                      <a:pt x="1" y="0"/>
                      <a:pt x="1" y="0"/>
                      <a:pt x="0" y="2"/>
                    </a:cubicBezTo>
                    <a:cubicBezTo>
                      <a:pt x="3" y="3"/>
                      <a:pt x="6" y="5"/>
                      <a:pt x="10" y="5"/>
                    </a:cubicBezTo>
                    <a:cubicBezTo>
                      <a:pt x="10" y="5"/>
                      <a:pt x="10" y="5"/>
                      <a:pt x="11" y="5"/>
                    </a:cubicBezTo>
                    <a:cubicBezTo>
                      <a:pt x="12" y="5"/>
                      <a:pt x="17" y="3"/>
                      <a:pt x="17" y="2"/>
                    </a:cubicBezTo>
                    <a:cubicBezTo>
                      <a:pt x="17" y="1"/>
                      <a:pt x="16" y="1"/>
                      <a:pt x="15" y="1"/>
                    </a:cubicBezTo>
                    <a:cubicBezTo>
                      <a:pt x="13" y="1"/>
                      <a:pt x="12" y="1"/>
                      <a:pt x="11" y="1"/>
                    </a:cubicBezTo>
                    <a:cubicBezTo>
                      <a:pt x="10" y="1"/>
                      <a:pt x="8" y="2"/>
                      <a:pt x="7" y="2"/>
                    </a:cubicBezTo>
                    <a:cubicBezTo>
                      <a:pt x="7" y="2"/>
                      <a:pt x="6" y="2"/>
                      <a:pt x="6" y="2"/>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11"/>
              <p:cNvSpPr>
                <a:spLocks noEditPoints="1"/>
              </p:cNvSpPr>
              <p:nvPr/>
            </p:nvSpPr>
            <p:spPr bwMode="auto">
              <a:xfrm>
                <a:off x="2259" y="599"/>
                <a:ext cx="12" cy="3"/>
              </a:xfrm>
              <a:custGeom>
                <a:gdLst>
                  <a:gd name="T0" fmla="*/ 4 w 5"/>
                  <a:gd name="T1" fmla="*/ 1 h 1"/>
                  <a:gd name="T2" fmla="*/ 5 w 5"/>
                  <a:gd name="T3" fmla="*/ 1 h 1"/>
                  <a:gd name="T4" fmla="*/ 4 w 5"/>
                  <a:gd name="T5" fmla="*/ 1 h 1"/>
                  <a:gd name="T6" fmla="*/ 0 w 5"/>
                  <a:gd name="T7" fmla="*/ 0 h 1"/>
                  <a:gd name="T8" fmla="*/ 4 w 5"/>
                  <a:gd name="T9" fmla="*/ 1 h 1"/>
                  <a:gd name="T10" fmla="*/ 0 w 5"/>
                  <a:gd name="T11" fmla="*/ 0 h 1"/>
                </a:gdLst>
                <a:cxnLst>
                  <a:cxn ang="0">
                    <a:pos x="T0" y="T1"/>
                  </a:cxn>
                  <a:cxn ang="0">
                    <a:pos x="T2" y="T3"/>
                  </a:cxn>
                  <a:cxn ang="0">
                    <a:pos x="T4" y="T5"/>
                  </a:cxn>
                  <a:cxn ang="0">
                    <a:pos x="T6" y="T7"/>
                  </a:cxn>
                  <a:cxn ang="0">
                    <a:pos x="T8" y="T9"/>
                  </a:cxn>
                  <a:cxn ang="0">
                    <a:pos x="T10" y="T11"/>
                  </a:cxn>
                </a:cxnLst>
                <a:rect l="0" t="0" r="r" b="b"/>
                <a:pathLst>
                  <a:path w="5" h="1">
                    <a:moveTo>
                      <a:pt x="4" y="1"/>
                    </a:moveTo>
                    <a:cubicBezTo>
                      <a:pt x="4" y="1"/>
                      <a:pt x="5" y="1"/>
                      <a:pt x="5" y="1"/>
                    </a:cubicBezTo>
                    <a:cubicBezTo>
                      <a:pt x="5" y="1"/>
                      <a:pt x="4" y="1"/>
                      <a:pt x="4" y="1"/>
                    </a:cubicBezTo>
                    <a:moveTo>
                      <a:pt x="0" y="0"/>
                    </a:moveTo>
                    <a:cubicBezTo>
                      <a:pt x="1" y="1"/>
                      <a:pt x="3" y="1"/>
                      <a:pt x="4" y="1"/>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12"/>
              <p:cNvSpPr/>
              <p:nvPr/>
            </p:nvSpPr>
            <p:spPr bwMode="auto">
              <a:xfrm>
                <a:off x="2248" y="1788"/>
                <a:ext cx="30" cy="17"/>
              </a:xfrm>
              <a:custGeom>
                <a:gdLst>
                  <a:gd name="T0" fmla="*/ 8 w 13"/>
                  <a:gd name="T1" fmla="*/ 0 h 7"/>
                  <a:gd name="T2" fmla="*/ 5 w 13"/>
                  <a:gd name="T3" fmla="*/ 1 h 7"/>
                  <a:gd name="T4" fmla="*/ 3 w 13"/>
                  <a:gd name="T5" fmla="*/ 7 h 7"/>
                  <a:gd name="T6" fmla="*/ 8 w 13"/>
                  <a:gd name="T7" fmla="*/ 0 h 7"/>
                  <a:gd name="T8" fmla="*/ 8 w 13"/>
                  <a:gd name="T9" fmla="*/ 0 h 7"/>
                </a:gdLst>
                <a:cxnLst>
                  <a:cxn ang="0">
                    <a:pos x="T0" y="T1"/>
                  </a:cxn>
                  <a:cxn ang="0">
                    <a:pos x="T2" y="T3"/>
                  </a:cxn>
                  <a:cxn ang="0">
                    <a:pos x="T4" y="T5"/>
                  </a:cxn>
                  <a:cxn ang="0">
                    <a:pos x="T6" y="T7"/>
                  </a:cxn>
                  <a:cxn ang="0">
                    <a:pos x="T8" y="T9"/>
                  </a:cxn>
                </a:cxnLst>
                <a:rect l="0" t="0" r="r" b="b"/>
                <a:pathLst>
                  <a:path w="13" h="7">
                    <a:moveTo>
                      <a:pt x="8" y="0"/>
                    </a:moveTo>
                    <a:cubicBezTo>
                      <a:pt x="7" y="0"/>
                      <a:pt x="6" y="1"/>
                      <a:pt x="5" y="1"/>
                    </a:cubicBezTo>
                    <a:cubicBezTo>
                      <a:pt x="0" y="3"/>
                      <a:pt x="3" y="3"/>
                      <a:pt x="3" y="7"/>
                    </a:cubicBezTo>
                    <a:cubicBezTo>
                      <a:pt x="5" y="6"/>
                      <a:pt x="13"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13"/>
              <p:cNvSpPr/>
              <p:nvPr/>
            </p:nvSpPr>
            <p:spPr bwMode="auto">
              <a:xfrm>
                <a:off x="2262" y="1805"/>
                <a:ext cx="14" cy="7"/>
              </a:xfrm>
              <a:custGeom>
                <a:gdLst>
                  <a:gd name="T0" fmla="*/ 6 w 6"/>
                  <a:gd name="T1" fmla="*/ 0 h 3"/>
                  <a:gd name="T2" fmla="*/ 4 w 6"/>
                  <a:gd name="T3" fmla="*/ 3 h 3"/>
                  <a:gd name="T4" fmla="*/ 6 w 6"/>
                  <a:gd name="T5" fmla="*/ 0 h 3"/>
                </a:gdLst>
                <a:cxnLst>
                  <a:cxn ang="0">
                    <a:pos x="T0" y="T1"/>
                  </a:cxn>
                  <a:cxn ang="0">
                    <a:pos x="T2" y="T3"/>
                  </a:cxn>
                  <a:cxn ang="0">
                    <a:pos x="T4" y="T5"/>
                  </a:cxn>
                </a:cxnLst>
                <a:rect l="0" t="0" r="r" b="b"/>
                <a:pathLst>
                  <a:path w="6" h="3">
                    <a:moveTo>
                      <a:pt x="6" y="0"/>
                    </a:moveTo>
                    <a:cubicBezTo>
                      <a:pt x="3" y="0"/>
                      <a:pt x="0" y="2"/>
                      <a:pt x="4" y="3"/>
                    </a:cubicBezTo>
                    <a:cubicBezTo>
                      <a:pt x="5" y="2"/>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14"/>
              <p:cNvSpPr/>
              <p:nvPr/>
            </p:nvSpPr>
            <p:spPr bwMode="auto">
              <a:xfrm>
                <a:off x="2302" y="1819"/>
                <a:ext cx="24" cy="9"/>
              </a:xfrm>
              <a:custGeom>
                <a:gdLst>
                  <a:gd name="T0" fmla="*/ 2 w 10"/>
                  <a:gd name="T1" fmla="*/ 0 h 4"/>
                  <a:gd name="T2" fmla="*/ 3 w 10"/>
                  <a:gd name="T3" fmla="*/ 4 h 4"/>
                  <a:gd name="T4" fmla="*/ 10 w 10"/>
                  <a:gd name="T5" fmla="*/ 2 h 4"/>
                  <a:gd name="T6" fmla="*/ 5 w 10"/>
                  <a:gd name="T7" fmla="*/ 0 h 4"/>
                  <a:gd name="T8" fmla="*/ 2 w 10"/>
                  <a:gd name="T9" fmla="*/ 0 h 4"/>
                </a:gdLst>
                <a:cxnLst>
                  <a:cxn ang="0">
                    <a:pos x="T0" y="T1"/>
                  </a:cxn>
                  <a:cxn ang="0">
                    <a:pos x="T2" y="T3"/>
                  </a:cxn>
                  <a:cxn ang="0">
                    <a:pos x="T4" y="T5"/>
                  </a:cxn>
                  <a:cxn ang="0">
                    <a:pos x="T6" y="T7"/>
                  </a:cxn>
                  <a:cxn ang="0">
                    <a:pos x="T8" y="T9"/>
                  </a:cxn>
                </a:cxnLst>
                <a:rect l="0" t="0" r="r" b="b"/>
                <a:pathLst>
                  <a:path w="10" h="4">
                    <a:moveTo>
                      <a:pt x="2" y="0"/>
                    </a:moveTo>
                    <a:cubicBezTo>
                      <a:pt x="0" y="0"/>
                      <a:pt x="2" y="1"/>
                      <a:pt x="3" y="4"/>
                    </a:cubicBezTo>
                    <a:cubicBezTo>
                      <a:pt x="5" y="3"/>
                      <a:pt x="8" y="3"/>
                      <a:pt x="10" y="2"/>
                    </a:cubicBezTo>
                    <a:cubicBezTo>
                      <a:pt x="9" y="1"/>
                      <a:pt x="7"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15"/>
              <p:cNvSpPr/>
              <p:nvPr/>
            </p:nvSpPr>
            <p:spPr bwMode="auto">
              <a:xfrm>
                <a:off x="2366" y="1895"/>
                <a:ext cx="7" cy="11"/>
              </a:xfrm>
              <a:custGeom>
                <a:gdLst>
                  <a:gd name="T0" fmla="*/ 2 w 3"/>
                  <a:gd name="T1" fmla="*/ 0 h 5"/>
                  <a:gd name="T2" fmla="*/ 3 w 3"/>
                  <a:gd name="T3" fmla="*/ 5 h 5"/>
                  <a:gd name="T4" fmla="*/ 2 w 3"/>
                  <a:gd name="T5" fmla="*/ 0 h 5"/>
                </a:gdLst>
                <a:cxnLst>
                  <a:cxn ang="0">
                    <a:pos x="T0" y="T1"/>
                  </a:cxn>
                  <a:cxn ang="0">
                    <a:pos x="T2" y="T3"/>
                  </a:cxn>
                  <a:cxn ang="0">
                    <a:pos x="T4" y="T5"/>
                  </a:cxn>
                </a:cxnLst>
                <a:rect l="0" t="0" r="r" b="b"/>
                <a:pathLst>
                  <a:path w="3" h="5">
                    <a:moveTo>
                      <a:pt x="2" y="0"/>
                    </a:moveTo>
                    <a:cubicBezTo>
                      <a:pt x="1" y="2"/>
                      <a:pt x="0" y="4"/>
                      <a:pt x="3" y="5"/>
                    </a:cubicBezTo>
                    <a:cubicBezTo>
                      <a:pt x="3"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6"/>
              <p:cNvSpPr/>
              <p:nvPr/>
            </p:nvSpPr>
            <p:spPr bwMode="auto">
              <a:xfrm>
                <a:off x="2337" y="1895"/>
                <a:ext cx="22" cy="23"/>
              </a:xfrm>
              <a:custGeom>
                <a:gdLst>
                  <a:gd name="T0" fmla="*/ 1 w 9"/>
                  <a:gd name="T1" fmla="*/ 0 h 10"/>
                  <a:gd name="T2" fmla="*/ 7 w 9"/>
                  <a:gd name="T3" fmla="*/ 10 h 10"/>
                  <a:gd name="T4" fmla="*/ 1 w 9"/>
                  <a:gd name="T5" fmla="*/ 0 h 10"/>
                </a:gdLst>
                <a:cxnLst>
                  <a:cxn ang="0">
                    <a:pos x="T0" y="T1"/>
                  </a:cxn>
                  <a:cxn ang="0">
                    <a:pos x="T2" y="T3"/>
                  </a:cxn>
                  <a:cxn ang="0">
                    <a:pos x="T4" y="T5"/>
                  </a:cxn>
                </a:cxnLst>
                <a:rect l="0" t="0" r="r" b="b"/>
                <a:pathLst>
                  <a:path w="9" h="10">
                    <a:moveTo>
                      <a:pt x="1" y="0"/>
                    </a:moveTo>
                    <a:cubicBezTo>
                      <a:pt x="1" y="5"/>
                      <a:pt x="0" y="10"/>
                      <a:pt x="7" y="10"/>
                    </a:cubicBezTo>
                    <a:cubicBezTo>
                      <a:pt x="9" y="5"/>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7"/>
              <p:cNvSpPr/>
              <p:nvPr/>
            </p:nvSpPr>
            <p:spPr bwMode="auto">
              <a:xfrm>
                <a:off x="2295" y="1911"/>
                <a:ext cx="12" cy="12"/>
              </a:xfrm>
              <a:custGeom>
                <a:gdLst>
                  <a:gd name="T0" fmla="*/ 4 w 5"/>
                  <a:gd name="T1" fmla="*/ 0 h 5"/>
                  <a:gd name="T2" fmla="*/ 4 w 5"/>
                  <a:gd name="T3" fmla="*/ 5 h 5"/>
                  <a:gd name="T4" fmla="*/ 4 w 5"/>
                  <a:gd name="T5" fmla="*/ 0 h 5"/>
                </a:gdLst>
                <a:cxnLst>
                  <a:cxn ang="0">
                    <a:pos x="T0" y="T1"/>
                  </a:cxn>
                  <a:cxn ang="0">
                    <a:pos x="T2" y="T3"/>
                  </a:cxn>
                  <a:cxn ang="0">
                    <a:pos x="T4" y="T5"/>
                  </a:cxn>
                </a:cxnLst>
                <a:rect l="0" t="0" r="r" b="b"/>
                <a:pathLst>
                  <a:path w="5" h="5">
                    <a:moveTo>
                      <a:pt x="4" y="0"/>
                    </a:moveTo>
                    <a:cubicBezTo>
                      <a:pt x="1" y="1"/>
                      <a:pt x="0" y="4"/>
                      <a:pt x="4" y="5"/>
                    </a:cubicBezTo>
                    <a:cubicBezTo>
                      <a:pt x="4"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Rectangle 18"/>
              <p:cNvSpPr>
                <a:spLocks noChangeArrowheads="1"/>
              </p:cNvSpPr>
              <p:nvPr/>
            </p:nvSpPr>
            <p:spPr bwMode="auto">
              <a:xfrm>
                <a:off x="4684" y="23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9"/>
              <p:cNvSpPr/>
              <p:nvPr/>
            </p:nvSpPr>
            <p:spPr bwMode="auto">
              <a:xfrm flipH="1">
                <a:off x="4684" y="23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20"/>
              <p:cNvSpPr/>
              <p:nvPr/>
            </p:nvSpPr>
            <p:spPr bwMode="auto">
              <a:xfrm>
                <a:off x="4642" y="212"/>
                <a:ext cx="4" cy="2"/>
              </a:xfrm>
              <a:custGeom>
                <a:gdLst>
                  <a:gd name="T0" fmla="*/ 1 w 2"/>
                  <a:gd name="T1" fmla="*/ 0 h 1"/>
                  <a:gd name="T2" fmla="*/ 0 w 2"/>
                  <a:gd name="T3" fmla="*/ 0 h 1"/>
                  <a:gd name="T4" fmla="*/ 2 w 2"/>
                  <a:gd name="T5" fmla="*/ 1 h 1"/>
                  <a:gd name="T6" fmla="*/ 2 w 2"/>
                  <a:gd name="T7" fmla="*/ 1 h 1"/>
                  <a:gd name="T8" fmla="*/ 1 w 2"/>
                  <a:gd name="T9" fmla="*/ 0 h 1"/>
                </a:gdLst>
                <a:cxnLst>
                  <a:cxn ang="0">
                    <a:pos x="T0" y="T1"/>
                  </a:cxn>
                  <a:cxn ang="0">
                    <a:pos x="T2" y="T3"/>
                  </a:cxn>
                  <a:cxn ang="0">
                    <a:pos x="T4" y="T5"/>
                  </a:cxn>
                  <a:cxn ang="0">
                    <a:pos x="T6" y="T7"/>
                  </a:cxn>
                  <a:cxn ang="0">
                    <a:pos x="T8" y="T9"/>
                  </a:cxn>
                </a:cxnLst>
                <a:rect l="0" t="0" r="r" b="b"/>
                <a:pathLst>
                  <a:path w="2" h="1">
                    <a:moveTo>
                      <a:pt x="1" y="0"/>
                    </a:moveTo>
                    <a:cubicBezTo>
                      <a:pt x="0" y="0"/>
                      <a:pt x="0" y="0"/>
                      <a:pt x="0" y="0"/>
                    </a:cubicBezTo>
                    <a:cubicBezTo>
                      <a:pt x="1" y="1"/>
                      <a:pt x="1" y="1"/>
                      <a:pt x="2" y="1"/>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21"/>
              <p:cNvSpPr/>
              <p:nvPr/>
            </p:nvSpPr>
            <p:spPr bwMode="auto">
              <a:xfrm>
                <a:off x="7638" y="2055"/>
                <a:ext cx="14" cy="15"/>
              </a:xfrm>
              <a:custGeom>
                <a:gdLst>
                  <a:gd name="T0" fmla="*/ 6 w 6"/>
                  <a:gd name="T1" fmla="*/ 0 h 6"/>
                  <a:gd name="T2" fmla="*/ 0 w 6"/>
                  <a:gd name="T3" fmla="*/ 0 h 6"/>
                  <a:gd name="T4" fmla="*/ 0 w 6"/>
                  <a:gd name="T5" fmla="*/ 6 h 6"/>
                  <a:gd name="T6" fmla="*/ 6 w 6"/>
                  <a:gd name="T7" fmla="*/ 0 h 6"/>
                </a:gdLst>
                <a:cxnLst>
                  <a:cxn ang="0">
                    <a:pos x="T0" y="T1"/>
                  </a:cxn>
                  <a:cxn ang="0">
                    <a:pos x="T2" y="T3"/>
                  </a:cxn>
                  <a:cxn ang="0">
                    <a:pos x="T4" y="T5"/>
                  </a:cxn>
                  <a:cxn ang="0">
                    <a:pos x="T6" y="T7"/>
                  </a:cxn>
                </a:cxnLst>
                <a:rect l="0" t="0" r="r" b="b"/>
                <a:pathLst>
                  <a:path w="6" h="6">
                    <a:moveTo>
                      <a:pt x="6" y="0"/>
                    </a:moveTo>
                    <a:cubicBezTo>
                      <a:pt x="4" y="0"/>
                      <a:pt x="2" y="0"/>
                      <a:pt x="0" y="0"/>
                    </a:cubicBezTo>
                    <a:cubicBezTo>
                      <a:pt x="0" y="2"/>
                      <a:pt x="0" y="4"/>
                      <a:pt x="0" y="6"/>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22"/>
              <p:cNvSpPr/>
              <p:nvPr/>
            </p:nvSpPr>
            <p:spPr bwMode="auto">
              <a:xfrm>
                <a:off x="5414" y="-27"/>
                <a:ext cx="31" cy="14"/>
              </a:xfrm>
              <a:custGeom>
                <a:gdLst>
                  <a:gd name="T0" fmla="*/ 0 w 13"/>
                  <a:gd name="T1" fmla="*/ 0 h 6"/>
                  <a:gd name="T2" fmla="*/ 13 w 13"/>
                  <a:gd name="T3" fmla="*/ 6 h 6"/>
                  <a:gd name="T4" fmla="*/ 0 w 13"/>
                  <a:gd name="T5" fmla="*/ 0 h 6"/>
                </a:gdLst>
                <a:cxnLst>
                  <a:cxn ang="0">
                    <a:pos x="T0" y="T1"/>
                  </a:cxn>
                  <a:cxn ang="0">
                    <a:pos x="T2" y="T3"/>
                  </a:cxn>
                  <a:cxn ang="0">
                    <a:pos x="T4" y="T5"/>
                  </a:cxn>
                </a:cxnLst>
                <a:rect l="0" t="0" r="r" b="b"/>
                <a:pathLst>
                  <a:path w="13" h="6">
                    <a:moveTo>
                      <a:pt x="0" y="0"/>
                    </a:moveTo>
                    <a:cubicBezTo>
                      <a:pt x="0" y="5"/>
                      <a:pt x="9" y="5"/>
                      <a:pt x="13" y="6"/>
                    </a:cubicBezTo>
                    <a:cubicBezTo>
                      <a:pt x="8" y="4"/>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23"/>
              <p:cNvSpPr/>
              <p:nvPr/>
            </p:nvSpPr>
            <p:spPr bwMode="auto">
              <a:xfrm>
                <a:off x="6610" y="465"/>
                <a:ext cx="5" cy="21"/>
              </a:xfrm>
              <a:custGeom>
                <a:gdLst>
                  <a:gd name="T0" fmla="*/ 1 w 2"/>
                  <a:gd name="T1" fmla="*/ 0 h 9"/>
                  <a:gd name="T2" fmla="*/ 2 w 2"/>
                  <a:gd name="T3" fmla="*/ 9 h 9"/>
                  <a:gd name="T4" fmla="*/ 1 w 2"/>
                  <a:gd name="T5" fmla="*/ 0 h 9"/>
                </a:gdLst>
                <a:cxnLst>
                  <a:cxn ang="0">
                    <a:pos x="T0" y="T1"/>
                  </a:cxn>
                  <a:cxn ang="0">
                    <a:pos x="T2" y="T3"/>
                  </a:cxn>
                  <a:cxn ang="0">
                    <a:pos x="T4" y="T5"/>
                  </a:cxn>
                </a:cxnLst>
                <a:rect l="0" t="0" r="r" b="b"/>
                <a:pathLst>
                  <a:path w="2" h="9">
                    <a:moveTo>
                      <a:pt x="1" y="0"/>
                    </a:moveTo>
                    <a:cubicBezTo>
                      <a:pt x="0" y="1"/>
                      <a:pt x="1" y="7"/>
                      <a:pt x="2" y="9"/>
                    </a:cubicBezTo>
                    <a:cubicBezTo>
                      <a:pt x="1" y="6"/>
                      <a:pt x="1"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24"/>
              <p:cNvSpPr/>
              <p:nvPr/>
            </p:nvSpPr>
            <p:spPr bwMode="auto">
              <a:xfrm>
                <a:off x="5088" y="394"/>
                <a:ext cx="19" cy="2"/>
              </a:xfrm>
              <a:custGeom>
                <a:gdLst>
                  <a:gd name="T0" fmla="*/ 7 w 8"/>
                  <a:gd name="T1" fmla="*/ 0 h 1"/>
                  <a:gd name="T2" fmla="*/ 0 w 8"/>
                  <a:gd name="T3" fmla="*/ 1 h 1"/>
                  <a:gd name="T4" fmla="*/ 4 w 8"/>
                  <a:gd name="T5" fmla="*/ 1 h 1"/>
                  <a:gd name="T6" fmla="*/ 8 w 8"/>
                  <a:gd name="T7" fmla="*/ 0 h 1"/>
                  <a:gd name="T8" fmla="*/ 7 w 8"/>
                  <a:gd name="T9" fmla="*/ 0 h 1"/>
                </a:gdLst>
                <a:cxnLst>
                  <a:cxn ang="0">
                    <a:pos x="T0" y="T1"/>
                  </a:cxn>
                  <a:cxn ang="0">
                    <a:pos x="T2" y="T3"/>
                  </a:cxn>
                  <a:cxn ang="0">
                    <a:pos x="T4" y="T5"/>
                  </a:cxn>
                  <a:cxn ang="0">
                    <a:pos x="T6" y="T7"/>
                  </a:cxn>
                  <a:cxn ang="0">
                    <a:pos x="T8" y="T9"/>
                  </a:cxn>
                </a:cxnLst>
                <a:rect l="0" t="0" r="r" b="b"/>
                <a:pathLst>
                  <a:path w="8" h="1">
                    <a:moveTo>
                      <a:pt x="7" y="0"/>
                    </a:moveTo>
                    <a:cubicBezTo>
                      <a:pt x="5" y="0"/>
                      <a:pt x="3" y="0"/>
                      <a:pt x="0" y="1"/>
                    </a:cubicBezTo>
                    <a:cubicBezTo>
                      <a:pt x="1" y="1"/>
                      <a:pt x="2" y="1"/>
                      <a:pt x="4" y="1"/>
                    </a:cubicBezTo>
                    <a:cubicBezTo>
                      <a:pt x="5" y="1"/>
                      <a:pt x="7"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25"/>
              <p:cNvSpPr/>
              <p:nvPr/>
            </p:nvSpPr>
            <p:spPr bwMode="auto">
              <a:xfrm>
                <a:off x="4280" y="739"/>
                <a:ext cx="9" cy="7"/>
              </a:xfrm>
              <a:custGeom>
                <a:gdLst>
                  <a:gd name="T0" fmla="*/ 4 w 4"/>
                  <a:gd name="T1" fmla="*/ 0 h 3"/>
                  <a:gd name="T2" fmla="*/ 0 w 4"/>
                  <a:gd name="T3" fmla="*/ 3 h 3"/>
                  <a:gd name="T4" fmla="*/ 4 w 4"/>
                  <a:gd name="T5" fmla="*/ 0 h 3"/>
                </a:gdLst>
                <a:cxnLst>
                  <a:cxn ang="0">
                    <a:pos x="T0" y="T1"/>
                  </a:cxn>
                  <a:cxn ang="0">
                    <a:pos x="T2" y="T3"/>
                  </a:cxn>
                  <a:cxn ang="0">
                    <a:pos x="T4" y="T5"/>
                  </a:cxn>
                </a:cxnLst>
                <a:rect l="0" t="0" r="r" b="b"/>
                <a:pathLst>
                  <a:path w="4" h="3">
                    <a:moveTo>
                      <a:pt x="4" y="0"/>
                    </a:moveTo>
                    <a:cubicBezTo>
                      <a:pt x="2" y="1"/>
                      <a:pt x="1" y="2"/>
                      <a:pt x="0" y="3"/>
                    </a:cubicBezTo>
                    <a:cubicBezTo>
                      <a:pt x="1"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26"/>
              <p:cNvSpPr/>
              <p:nvPr/>
            </p:nvSpPr>
            <p:spPr bwMode="auto">
              <a:xfrm>
                <a:off x="3874" y="398"/>
                <a:ext cx="28" cy="19"/>
              </a:xfrm>
              <a:custGeom>
                <a:gdLst>
                  <a:gd name="T0" fmla="*/ 6 w 12"/>
                  <a:gd name="T1" fmla="*/ 0 h 8"/>
                  <a:gd name="T2" fmla="*/ 0 w 12"/>
                  <a:gd name="T3" fmla="*/ 1 h 8"/>
                  <a:gd name="T4" fmla="*/ 11 w 12"/>
                  <a:gd name="T5" fmla="*/ 8 h 8"/>
                  <a:gd name="T6" fmla="*/ 8 w 12"/>
                  <a:gd name="T7" fmla="*/ 0 h 8"/>
                  <a:gd name="T8" fmla="*/ 6 w 12"/>
                  <a:gd name="T9" fmla="*/ 0 h 8"/>
                </a:gdLst>
                <a:cxnLst>
                  <a:cxn ang="0">
                    <a:pos x="T0" y="T1"/>
                  </a:cxn>
                  <a:cxn ang="0">
                    <a:pos x="T2" y="T3"/>
                  </a:cxn>
                  <a:cxn ang="0">
                    <a:pos x="T4" y="T5"/>
                  </a:cxn>
                  <a:cxn ang="0">
                    <a:pos x="T6" y="T7"/>
                  </a:cxn>
                  <a:cxn ang="0">
                    <a:pos x="T8" y="T9"/>
                  </a:cxn>
                </a:cxnLst>
                <a:rect l="0" t="0" r="r" b="b"/>
                <a:pathLst>
                  <a:path w="12" h="8">
                    <a:moveTo>
                      <a:pt x="6" y="0"/>
                    </a:moveTo>
                    <a:cubicBezTo>
                      <a:pt x="4" y="0"/>
                      <a:pt x="1" y="0"/>
                      <a:pt x="0" y="1"/>
                    </a:cubicBezTo>
                    <a:cubicBezTo>
                      <a:pt x="3" y="4"/>
                      <a:pt x="7" y="6"/>
                      <a:pt x="11" y="8"/>
                    </a:cubicBezTo>
                    <a:cubicBezTo>
                      <a:pt x="12" y="4"/>
                      <a:pt x="10" y="1"/>
                      <a:pt x="8" y="0"/>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27"/>
              <p:cNvSpPr/>
              <p:nvPr/>
            </p:nvSpPr>
            <p:spPr bwMode="auto">
              <a:xfrm>
                <a:off x="3727" y="462"/>
                <a:ext cx="26" cy="17"/>
              </a:xfrm>
              <a:custGeom>
                <a:gdLst>
                  <a:gd name="T0" fmla="*/ 8 w 11"/>
                  <a:gd name="T1" fmla="*/ 0 h 7"/>
                  <a:gd name="T2" fmla="*/ 4 w 11"/>
                  <a:gd name="T3" fmla="*/ 1 h 7"/>
                  <a:gd name="T4" fmla="*/ 5 w 11"/>
                  <a:gd name="T5" fmla="*/ 7 h 7"/>
                  <a:gd name="T6" fmla="*/ 10 w 11"/>
                  <a:gd name="T7" fmla="*/ 1 h 7"/>
                  <a:gd name="T8" fmla="*/ 8 w 11"/>
                  <a:gd name="T9" fmla="*/ 0 h 7"/>
                </a:gdLst>
                <a:cxnLst>
                  <a:cxn ang="0">
                    <a:pos x="T0" y="T1"/>
                  </a:cxn>
                  <a:cxn ang="0">
                    <a:pos x="T2" y="T3"/>
                  </a:cxn>
                  <a:cxn ang="0">
                    <a:pos x="T4" y="T5"/>
                  </a:cxn>
                  <a:cxn ang="0">
                    <a:pos x="T6" y="T7"/>
                  </a:cxn>
                  <a:cxn ang="0">
                    <a:pos x="T8" y="T9"/>
                  </a:cxn>
                </a:cxnLst>
                <a:rect l="0" t="0" r="r" b="b"/>
                <a:pathLst>
                  <a:path w="11" h="7">
                    <a:moveTo>
                      <a:pt x="8" y="0"/>
                    </a:moveTo>
                    <a:cubicBezTo>
                      <a:pt x="7" y="0"/>
                      <a:pt x="5" y="0"/>
                      <a:pt x="4" y="1"/>
                    </a:cubicBezTo>
                    <a:cubicBezTo>
                      <a:pt x="0" y="3"/>
                      <a:pt x="1" y="4"/>
                      <a:pt x="5" y="7"/>
                    </a:cubicBezTo>
                    <a:cubicBezTo>
                      <a:pt x="6" y="6"/>
                      <a:pt x="11" y="3"/>
                      <a:pt x="10"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28"/>
              <p:cNvSpPr/>
              <p:nvPr/>
            </p:nvSpPr>
            <p:spPr bwMode="auto">
              <a:xfrm>
                <a:off x="3793" y="405"/>
                <a:ext cx="64" cy="45"/>
              </a:xfrm>
              <a:custGeom>
                <a:gdLst>
                  <a:gd name="T0" fmla="*/ 19 w 27"/>
                  <a:gd name="T1" fmla="*/ 0 h 19"/>
                  <a:gd name="T2" fmla="*/ 0 w 27"/>
                  <a:gd name="T3" fmla="*/ 10 h 19"/>
                  <a:gd name="T4" fmla="*/ 3 w 27"/>
                  <a:gd name="T5" fmla="*/ 12 h 19"/>
                  <a:gd name="T6" fmla="*/ 5 w 27"/>
                  <a:gd name="T7" fmla="*/ 12 h 19"/>
                  <a:gd name="T8" fmla="*/ 6 w 27"/>
                  <a:gd name="T9" fmla="*/ 12 h 19"/>
                  <a:gd name="T10" fmla="*/ 8 w 27"/>
                  <a:gd name="T11" fmla="*/ 13 h 19"/>
                  <a:gd name="T12" fmla="*/ 10 w 27"/>
                  <a:gd name="T13" fmla="*/ 17 h 19"/>
                  <a:gd name="T14" fmla="*/ 15 w 27"/>
                  <a:gd name="T15" fmla="*/ 19 h 19"/>
                  <a:gd name="T16" fmla="*/ 16 w 27"/>
                  <a:gd name="T17" fmla="*/ 19 h 19"/>
                  <a:gd name="T18" fmla="*/ 22 w 27"/>
                  <a:gd name="T19" fmla="*/ 15 h 19"/>
                  <a:gd name="T20" fmla="*/ 26 w 27"/>
                  <a:gd name="T21" fmla="*/ 7 h 19"/>
                  <a:gd name="T22" fmla="*/ 20 w 27"/>
                  <a:gd name="T23" fmla="*/ 2 h 19"/>
                  <a:gd name="T24" fmla="*/ 18 w 27"/>
                  <a:gd name="T25" fmla="*/ 3 h 19"/>
                  <a:gd name="T26" fmla="*/ 20 w 27"/>
                  <a:gd name="T27" fmla="*/ 0 h 19"/>
                  <a:gd name="T28" fmla="*/ 19 w 27"/>
                  <a:gd name="T2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19">
                    <a:moveTo>
                      <a:pt x="19" y="0"/>
                    </a:moveTo>
                    <a:cubicBezTo>
                      <a:pt x="12" y="0"/>
                      <a:pt x="5" y="7"/>
                      <a:pt x="0" y="10"/>
                    </a:cubicBezTo>
                    <a:cubicBezTo>
                      <a:pt x="1" y="11"/>
                      <a:pt x="2" y="12"/>
                      <a:pt x="3" y="12"/>
                    </a:cubicBezTo>
                    <a:cubicBezTo>
                      <a:pt x="4" y="12"/>
                      <a:pt x="4" y="12"/>
                      <a:pt x="5" y="12"/>
                    </a:cubicBezTo>
                    <a:cubicBezTo>
                      <a:pt x="5" y="12"/>
                      <a:pt x="6" y="12"/>
                      <a:pt x="6" y="12"/>
                    </a:cubicBezTo>
                    <a:cubicBezTo>
                      <a:pt x="7" y="12"/>
                      <a:pt x="7" y="12"/>
                      <a:pt x="8" y="13"/>
                    </a:cubicBezTo>
                    <a:cubicBezTo>
                      <a:pt x="8" y="14"/>
                      <a:pt x="9" y="16"/>
                      <a:pt x="10" y="17"/>
                    </a:cubicBezTo>
                    <a:cubicBezTo>
                      <a:pt x="11" y="17"/>
                      <a:pt x="14" y="19"/>
                      <a:pt x="15" y="19"/>
                    </a:cubicBezTo>
                    <a:cubicBezTo>
                      <a:pt x="15" y="19"/>
                      <a:pt x="16" y="19"/>
                      <a:pt x="16" y="19"/>
                    </a:cubicBezTo>
                    <a:cubicBezTo>
                      <a:pt x="18" y="19"/>
                      <a:pt x="19" y="17"/>
                      <a:pt x="22" y="15"/>
                    </a:cubicBezTo>
                    <a:cubicBezTo>
                      <a:pt x="22" y="13"/>
                      <a:pt x="27" y="9"/>
                      <a:pt x="26" y="7"/>
                    </a:cubicBezTo>
                    <a:cubicBezTo>
                      <a:pt x="25" y="4"/>
                      <a:pt x="14" y="8"/>
                      <a:pt x="20" y="2"/>
                    </a:cubicBezTo>
                    <a:cubicBezTo>
                      <a:pt x="19" y="3"/>
                      <a:pt x="18" y="3"/>
                      <a:pt x="18" y="3"/>
                    </a:cubicBezTo>
                    <a:cubicBezTo>
                      <a:pt x="17" y="3"/>
                      <a:pt x="18" y="1"/>
                      <a:pt x="20" y="0"/>
                    </a:cubicBezTo>
                    <a:cubicBezTo>
                      <a:pt x="20"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29"/>
              <p:cNvSpPr/>
              <p:nvPr/>
            </p:nvSpPr>
            <p:spPr bwMode="auto">
              <a:xfrm>
                <a:off x="6145" y="2263"/>
                <a:ext cx="28" cy="10"/>
              </a:xfrm>
              <a:custGeom>
                <a:gdLst>
                  <a:gd name="T0" fmla="*/ 0 w 12"/>
                  <a:gd name="T1" fmla="*/ 0 h 4"/>
                  <a:gd name="T2" fmla="*/ 12 w 12"/>
                  <a:gd name="T3" fmla="*/ 4 h 4"/>
                  <a:gd name="T4" fmla="*/ 0 w 12"/>
                  <a:gd name="T5" fmla="*/ 0 h 4"/>
                  <a:gd name="T6" fmla="*/ 0 w 12"/>
                  <a:gd name="T7" fmla="*/ 0 h 4"/>
                </a:gdLst>
                <a:cxnLst>
                  <a:cxn ang="0">
                    <a:pos x="T0" y="T1"/>
                  </a:cxn>
                  <a:cxn ang="0">
                    <a:pos x="T2" y="T3"/>
                  </a:cxn>
                  <a:cxn ang="0">
                    <a:pos x="T4" y="T5"/>
                  </a:cxn>
                  <a:cxn ang="0">
                    <a:pos x="T6" y="T7"/>
                  </a:cxn>
                </a:cxnLst>
                <a:rect l="0" t="0" r="r" b="b"/>
                <a:pathLst>
                  <a:path w="12" h="4">
                    <a:moveTo>
                      <a:pt x="0" y="0"/>
                    </a:moveTo>
                    <a:cubicBezTo>
                      <a:pt x="4" y="1"/>
                      <a:pt x="8" y="3"/>
                      <a:pt x="12" y="4"/>
                    </a:cubicBezTo>
                    <a:cubicBezTo>
                      <a:pt x="8" y="3"/>
                      <a:pt x="4"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30"/>
              <p:cNvSpPr/>
              <p:nvPr/>
            </p:nvSpPr>
            <p:spPr bwMode="auto">
              <a:xfrm>
                <a:off x="6742" y="3008"/>
                <a:ext cx="8" cy="12"/>
              </a:xfrm>
              <a:custGeom>
                <a:gdLst>
                  <a:gd name="T0" fmla="*/ 1 w 3"/>
                  <a:gd name="T1" fmla="*/ 0 h 5"/>
                  <a:gd name="T2" fmla="*/ 3 w 3"/>
                  <a:gd name="T3" fmla="*/ 5 h 5"/>
                  <a:gd name="T4" fmla="*/ 3 w 3"/>
                  <a:gd name="T5" fmla="*/ 5 h 5"/>
                  <a:gd name="T6" fmla="*/ 3 w 3"/>
                  <a:gd name="T7" fmla="*/ 5 h 5"/>
                  <a:gd name="T8" fmla="*/ 1 w 3"/>
                  <a:gd name="T9" fmla="*/ 0 h 5"/>
                </a:gdLst>
                <a:cxnLst>
                  <a:cxn ang="0">
                    <a:pos x="T0" y="T1"/>
                  </a:cxn>
                  <a:cxn ang="0">
                    <a:pos x="T2" y="T3"/>
                  </a:cxn>
                  <a:cxn ang="0">
                    <a:pos x="T4" y="T5"/>
                  </a:cxn>
                  <a:cxn ang="0">
                    <a:pos x="T6" y="T7"/>
                  </a:cxn>
                  <a:cxn ang="0">
                    <a:pos x="T8" y="T9"/>
                  </a:cxn>
                </a:cxnLst>
                <a:rect l="0" t="0" r="r" b="b"/>
                <a:pathLst>
                  <a:path w="3" h="5">
                    <a:moveTo>
                      <a:pt x="1" y="0"/>
                    </a:moveTo>
                    <a:cubicBezTo>
                      <a:pt x="0" y="1"/>
                      <a:pt x="1" y="3"/>
                      <a:pt x="3" y="5"/>
                    </a:cubicBezTo>
                    <a:cubicBezTo>
                      <a:pt x="3" y="5"/>
                      <a:pt x="3" y="5"/>
                      <a:pt x="3" y="5"/>
                    </a:cubicBezTo>
                    <a:cubicBezTo>
                      <a:pt x="3" y="5"/>
                      <a:pt x="3" y="5"/>
                      <a:pt x="3" y="5"/>
                    </a:cubicBezTo>
                    <a:cubicBezTo>
                      <a:pt x="3" y="2"/>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31"/>
              <p:cNvSpPr>
                <a:spLocks noEditPoints="1"/>
              </p:cNvSpPr>
              <p:nvPr/>
            </p:nvSpPr>
            <p:spPr bwMode="auto">
              <a:xfrm>
                <a:off x="5986" y="1800"/>
                <a:ext cx="10" cy="14"/>
              </a:xfrm>
              <a:custGeom>
                <a:gdLst>
                  <a:gd name="T0" fmla="*/ 2 w 4"/>
                  <a:gd name="T1" fmla="*/ 0 h 6"/>
                  <a:gd name="T2" fmla="*/ 1 w 4"/>
                  <a:gd name="T3" fmla="*/ 4 h 6"/>
                  <a:gd name="T4" fmla="*/ 4 w 4"/>
                  <a:gd name="T5" fmla="*/ 6 h 6"/>
                  <a:gd name="T6" fmla="*/ 2 w 4"/>
                  <a:gd name="T7" fmla="*/ 0 h 6"/>
                  <a:gd name="T8" fmla="*/ 1 w 4"/>
                  <a:gd name="T9" fmla="*/ 0 h 6"/>
                  <a:gd name="T10" fmla="*/ 2 w 4"/>
                  <a:gd name="T11" fmla="*/ 0 h 6"/>
                  <a:gd name="T12" fmla="*/ 1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2" y="2"/>
                      <a:pt x="0" y="2"/>
                      <a:pt x="1" y="4"/>
                    </a:cubicBezTo>
                    <a:cubicBezTo>
                      <a:pt x="2" y="5"/>
                      <a:pt x="3" y="5"/>
                      <a:pt x="4" y="6"/>
                    </a:cubicBezTo>
                    <a:cubicBezTo>
                      <a:pt x="3" y="4"/>
                      <a:pt x="2" y="2"/>
                      <a:pt x="2" y="0"/>
                    </a:cubicBezTo>
                    <a:moveTo>
                      <a:pt x="1" y="0"/>
                    </a:moveTo>
                    <a:cubicBezTo>
                      <a:pt x="1" y="0"/>
                      <a:pt x="2" y="0"/>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32"/>
              <p:cNvSpPr/>
              <p:nvPr/>
            </p:nvSpPr>
            <p:spPr bwMode="auto">
              <a:xfrm>
                <a:off x="5996" y="1812"/>
                <a:ext cx="9" cy="12"/>
              </a:xfrm>
              <a:custGeom>
                <a:gdLst>
                  <a:gd name="T0" fmla="*/ 2 w 4"/>
                  <a:gd name="T1" fmla="*/ 0 h 5"/>
                  <a:gd name="T2" fmla="*/ 0 w 4"/>
                  <a:gd name="T3" fmla="*/ 2 h 5"/>
                  <a:gd name="T4" fmla="*/ 4 w 4"/>
                  <a:gd name="T5" fmla="*/ 5 h 5"/>
                  <a:gd name="T6" fmla="*/ 2 w 4"/>
                  <a:gd name="T7" fmla="*/ 0 h 5"/>
                </a:gdLst>
                <a:cxnLst>
                  <a:cxn ang="0">
                    <a:pos x="T0" y="T1"/>
                  </a:cxn>
                  <a:cxn ang="0">
                    <a:pos x="T2" y="T3"/>
                  </a:cxn>
                  <a:cxn ang="0">
                    <a:pos x="T4" y="T5"/>
                  </a:cxn>
                  <a:cxn ang="0">
                    <a:pos x="T6" y="T7"/>
                  </a:cxn>
                </a:cxnLst>
                <a:rect l="0" t="0" r="r" b="b"/>
                <a:pathLst>
                  <a:path w="4" h="5">
                    <a:moveTo>
                      <a:pt x="2" y="0"/>
                    </a:moveTo>
                    <a:cubicBezTo>
                      <a:pt x="1" y="0"/>
                      <a:pt x="1" y="0"/>
                      <a:pt x="0" y="2"/>
                    </a:cubicBezTo>
                    <a:cubicBezTo>
                      <a:pt x="1" y="3"/>
                      <a:pt x="3" y="4"/>
                      <a:pt x="4" y="5"/>
                    </a:cubicBezTo>
                    <a:cubicBezTo>
                      <a:pt x="4" y="3"/>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33"/>
              <p:cNvSpPr/>
              <p:nvPr/>
            </p:nvSpPr>
            <p:spPr bwMode="auto">
              <a:xfrm>
                <a:off x="5984" y="1807"/>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0"/>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34"/>
              <p:cNvSpPr/>
              <p:nvPr/>
            </p:nvSpPr>
            <p:spPr bwMode="auto">
              <a:xfrm>
                <a:off x="5989" y="1812"/>
                <a:ext cx="7" cy="5"/>
              </a:xfrm>
              <a:custGeom>
                <a:gdLst>
                  <a:gd name="T0" fmla="*/ 0 w 3"/>
                  <a:gd name="T1" fmla="*/ 0 h 2"/>
                  <a:gd name="T2" fmla="*/ 3 w 3"/>
                  <a:gd name="T3" fmla="*/ 2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cubicBezTo>
                      <a:pt x="0" y="1"/>
                      <a:pt x="1" y="2"/>
                      <a:pt x="3" y="2"/>
                    </a:cubicBezTo>
                    <a:cubicBezTo>
                      <a:pt x="3" y="2"/>
                      <a:pt x="3"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35"/>
              <p:cNvSpPr/>
              <p:nvPr/>
            </p:nvSpPr>
            <p:spPr bwMode="auto">
              <a:xfrm>
                <a:off x="2751" y="845"/>
                <a:ext cx="5" cy="2"/>
              </a:xfrm>
              <a:custGeom>
                <a:gdLst>
                  <a:gd name="T0" fmla="*/ 2 w 2"/>
                  <a:gd name="T1" fmla="*/ 0 h 1"/>
                  <a:gd name="T2" fmla="*/ 0 w 2"/>
                  <a:gd name="T3" fmla="*/ 1 h 1"/>
                  <a:gd name="T4" fmla="*/ 2 w 2"/>
                  <a:gd name="T5" fmla="*/ 0 h 1"/>
                  <a:gd name="T6" fmla="*/ 2 w 2"/>
                  <a:gd name="T7" fmla="*/ 0 h 1"/>
                </a:gd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36"/>
              <p:cNvSpPr/>
              <p:nvPr/>
            </p:nvSpPr>
            <p:spPr bwMode="auto">
              <a:xfrm>
                <a:off x="6922" y="1587"/>
                <a:ext cx="17" cy="31"/>
              </a:xfrm>
              <a:custGeom>
                <a:gdLst>
                  <a:gd name="T0" fmla="*/ 7 w 7"/>
                  <a:gd name="T1" fmla="*/ 0 h 13"/>
                  <a:gd name="T2" fmla="*/ 0 w 7"/>
                  <a:gd name="T3" fmla="*/ 13 h 13"/>
                  <a:gd name="T4" fmla="*/ 7 w 7"/>
                  <a:gd name="T5" fmla="*/ 4 h 13"/>
                  <a:gd name="T6" fmla="*/ 7 w 7"/>
                  <a:gd name="T7" fmla="*/ 0 h 13"/>
                </a:gdLst>
                <a:cxnLst>
                  <a:cxn ang="0">
                    <a:pos x="T0" y="T1"/>
                  </a:cxn>
                  <a:cxn ang="0">
                    <a:pos x="T2" y="T3"/>
                  </a:cxn>
                  <a:cxn ang="0">
                    <a:pos x="T4" y="T5"/>
                  </a:cxn>
                  <a:cxn ang="0">
                    <a:pos x="T6" y="T7"/>
                  </a:cxn>
                </a:cxnLst>
                <a:rect l="0" t="0" r="r" b="b"/>
                <a:pathLst>
                  <a:path w="7" h="13">
                    <a:moveTo>
                      <a:pt x="7" y="0"/>
                    </a:moveTo>
                    <a:cubicBezTo>
                      <a:pt x="4" y="4"/>
                      <a:pt x="2" y="8"/>
                      <a:pt x="0" y="13"/>
                    </a:cubicBezTo>
                    <a:cubicBezTo>
                      <a:pt x="3" y="10"/>
                      <a:pt x="4" y="6"/>
                      <a:pt x="7" y="4"/>
                    </a:cubicBezTo>
                    <a:cubicBezTo>
                      <a:pt x="7" y="3"/>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37"/>
              <p:cNvSpPr/>
              <p:nvPr/>
            </p:nvSpPr>
            <p:spPr bwMode="auto">
              <a:xfrm>
                <a:off x="4460" y="663"/>
                <a:ext cx="9" cy="12"/>
              </a:xfrm>
              <a:custGeom>
                <a:gdLst>
                  <a:gd name="T0" fmla="*/ 0 w 4"/>
                  <a:gd name="T1" fmla="*/ 0 h 5"/>
                  <a:gd name="T2" fmla="*/ 0 w 4"/>
                  <a:gd name="T3" fmla="*/ 0 h 5"/>
                  <a:gd name="T4" fmla="*/ 4 w 4"/>
                  <a:gd name="T5" fmla="*/ 5 h 5"/>
                  <a:gd name="T6" fmla="*/ 0 w 4"/>
                  <a:gd name="T7" fmla="*/ 0 h 5"/>
                </a:gdLst>
                <a:cxnLst>
                  <a:cxn ang="0">
                    <a:pos x="T0" y="T1"/>
                  </a:cxn>
                  <a:cxn ang="0">
                    <a:pos x="T2" y="T3"/>
                  </a:cxn>
                  <a:cxn ang="0">
                    <a:pos x="T4" y="T5"/>
                  </a:cxn>
                  <a:cxn ang="0">
                    <a:pos x="T6" y="T7"/>
                  </a:cxn>
                </a:cxnLst>
                <a:rect l="0" t="0" r="r" b="b"/>
                <a:pathLst>
                  <a:path w="4" h="5">
                    <a:moveTo>
                      <a:pt x="0" y="0"/>
                    </a:moveTo>
                    <a:cubicBezTo>
                      <a:pt x="0" y="0"/>
                      <a:pt x="0" y="0"/>
                      <a:pt x="0" y="0"/>
                    </a:cubicBezTo>
                    <a:cubicBezTo>
                      <a:pt x="1" y="2"/>
                      <a:pt x="2" y="3"/>
                      <a:pt x="4" y="5"/>
                    </a:cubicBezTo>
                    <a:cubicBezTo>
                      <a:pt x="3" y="0"/>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38"/>
              <p:cNvSpPr/>
              <p:nvPr/>
            </p:nvSpPr>
            <p:spPr bwMode="auto">
              <a:xfrm>
                <a:off x="7182" y="3861"/>
                <a:ext cx="10" cy="5"/>
              </a:xfrm>
              <a:custGeom>
                <a:gdLst>
                  <a:gd name="T0" fmla="*/ 4 w 4"/>
                  <a:gd name="T1" fmla="*/ 0 h 2"/>
                  <a:gd name="T2" fmla="*/ 0 w 4"/>
                  <a:gd name="T3" fmla="*/ 2 h 2"/>
                  <a:gd name="T4" fmla="*/ 1 w 4"/>
                  <a:gd name="T5" fmla="*/ 2 h 2"/>
                  <a:gd name="T6" fmla="*/ 4 w 4"/>
                  <a:gd name="T7" fmla="*/ 0 h 2"/>
                </a:gdLst>
                <a:cxnLst>
                  <a:cxn ang="0">
                    <a:pos x="T0" y="T1"/>
                  </a:cxn>
                  <a:cxn ang="0">
                    <a:pos x="T2" y="T3"/>
                  </a:cxn>
                  <a:cxn ang="0">
                    <a:pos x="T4" y="T5"/>
                  </a:cxn>
                  <a:cxn ang="0">
                    <a:pos x="T6" y="T7"/>
                  </a:cxn>
                </a:cxnLst>
                <a:rect l="0" t="0" r="r" b="b"/>
                <a:pathLst>
                  <a:path w="4" h="2">
                    <a:moveTo>
                      <a:pt x="4" y="0"/>
                    </a:moveTo>
                    <a:cubicBezTo>
                      <a:pt x="3" y="1"/>
                      <a:pt x="1" y="1"/>
                      <a:pt x="0" y="2"/>
                    </a:cubicBezTo>
                    <a:cubicBezTo>
                      <a:pt x="1" y="2"/>
                      <a:pt x="1" y="2"/>
                      <a:pt x="1" y="2"/>
                    </a:cubicBezTo>
                    <a:cubicBezTo>
                      <a:pt x="2" y="2"/>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39"/>
              <p:cNvSpPr/>
              <p:nvPr/>
            </p:nvSpPr>
            <p:spPr bwMode="auto">
              <a:xfrm>
                <a:off x="4115" y="320"/>
                <a:ext cx="92" cy="159"/>
              </a:xfrm>
              <a:custGeom>
                <a:gdLst>
                  <a:gd name="T0" fmla="*/ 25 w 39"/>
                  <a:gd name="T1" fmla="*/ 0 h 67"/>
                  <a:gd name="T2" fmla="*/ 7 w 39"/>
                  <a:gd name="T3" fmla="*/ 12 h 67"/>
                  <a:gd name="T4" fmla="*/ 7 w 39"/>
                  <a:gd name="T5" fmla="*/ 12 h 67"/>
                  <a:gd name="T6" fmla="*/ 1 w 39"/>
                  <a:gd name="T7" fmla="*/ 9 h 67"/>
                  <a:gd name="T8" fmla="*/ 0 w 39"/>
                  <a:gd name="T9" fmla="*/ 13 h 67"/>
                  <a:gd name="T10" fmla="*/ 0 w 39"/>
                  <a:gd name="T11" fmla="*/ 16 h 67"/>
                  <a:gd name="T12" fmla="*/ 0 w 39"/>
                  <a:gd name="T13" fmla="*/ 19 h 67"/>
                  <a:gd name="T14" fmla="*/ 1 w 39"/>
                  <a:gd name="T15" fmla="*/ 19 h 67"/>
                  <a:gd name="T16" fmla="*/ 4 w 39"/>
                  <a:gd name="T17" fmla="*/ 19 h 67"/>
                  <a:gd name="T18" fmla="*/ 6 w 39"/>
                  <a:gd name="T19" fmla="*/ 24 h 67"/>
                  <a:gd name="T20" fmla="*/ 6 w 39"/>
                  <a:gd name="T21" fmla="*/ 33 h 67"/>
                  <a:gd name="T22" fmla="*/ 6 w 39"/>
                  <a:gd name="T23" fmla="*/ 35 h 67"/>
                  <a:gd name="T24" fmla="*/ 9 w 39"/>
                  <a:gd name="T25" fmla="*/ 44 h 67"/>
                  <a:gd name="T26" fmla="*/ 9 w 39"/>
                  <a:gd name="T27" fmla="*/ 43 h 67"/>
                  <a:gd name="T28" fmla="*/ 8 w 39"/>
                  <a:gd name="T29" fmla="*/ 45 h 67"/>
                  <a:gd name="T30" fmla="*/ 7 w 39"/>
                  <a:gd name="T31" fmla="*/ 48 h 67"/>
                  <a:gd name="T32" fmla="*/ 7 w 39"/>
                  <a:gd name="T33" fmla="*/ 48 h 67"/>
                  <a:gd name="T34" fmla="*/ 6 w 39"/>
                  <a:gd name="T35" fmla="*/ 49 h 67"/>
                  <a:gd name="T36" fmla="*/ 5 w 39"/>
                  <a:gd name="T37" fmla="*/ 60 h 67"/>
                  <a:gd name="T38" fmla="*/ 5 w 39"/>
                  <a:gd name="T39" fmla="*/ 61 h 67"/>
                  <a:gd name="T40" fmla="*/ 12 w 39"/>
                  <a:gd name="T41" fmla="*/ 66 h 67"/>
                  <a:gd name="T42" fmla="*/ 13 w 39"/>
                  <a:gd name="T43" fmla="*/ 67 h 67"/>
                  <a:gd name="T44" fmla="*/ 17 w 39"/>
                  <a:gd name="T45" fmla="*/ 66 h 67"/>
                  <a:gd name="T46" fmla="*/ 22 w 39"/>
                  <a:gd name="T47" fmla="*/ 57 h 67"/>
                  <a:gd name="T48" fmla="*/ 23 w 39"/>
                  <a:gd name="T49" fmla="*/ 58 h 67"/>
                  <a:gd name="T50" fmla="*/ 24 w 39"/>
                  <a:gd name="T51" fmla="*/ 58 h 67"/>
                  <a:gd name="T52" fmla="*/ 25 w 39"/>
                  <a:gd name="T53" fmla="*/ 57 h 67"/>
                  <a:gd name="T54" fmla="*/ 26 w 39"/>
                  <a:gd name="T55" fmla="*/ 57 h 67"/>
                  <a:gd name="T56" fmla="*/ 26 w 39"/>
                  <a:gd name="T57" fmla="*/ 57 h 67"/>
                  <a:gd name="T58" fmla="*/ 28 w 39"/>
                  <a:gd name="T59" fmla="*/ 58 h 67"/>
                  <a:gd name="T60" fmla="*/ 32 w 39"/>
                  <a:gd name="T61" fmla="*/ 60 h 67"/>
                  <a:gd name="T62" fmla="*/ 39 w 39"/>
                  <a:gd name="T63" fmla="*/ 23 h 67"/>
                  <a:gd name="T64" fmla="*/ 38 w 39"/>
                  <a:gd name="T65" fmla="*/ 18 h 67"/>
                  <a:gd name="T66" fmla="*/ 36 w 39"/>
                  <a:gd name="T67" fmla="*/ 11 h 67"/>
                  <a:gd name="T68" fmla="*/ 32 w 39"/>
                  <a:gd name="T69" fmla="*/ 9 h 67"/>
                  <a:gd name="T70" fmla="*/ 32 w 39"/>
                  <a:gd name="T71" fmla="*/ 3 h 67"/>
                  <a:gd name="T72" fmla="*/ 32 w 39"/>
                  <a:gd name="T73" fmla="*/ 3 h 67"/>
                  <a:gd name="T74" fmla="*/ 25 w 39"/>
                  <a:gd name="T75" fmla="*/ 0 h 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67">
                    <a:moveTo>
                      <a:pt x="25" y="0"/>
                    </a:moveTo>
                    <a:cubicBezTo>
                      <a:pt x="20" y="4"/>
                      <a:pt x="14" y="12"/>
                      <a:pt x="7" y="12"/>
                    </a:cubicBezTo>
                    <a:cubicBezTo>
                      <a:pt x="7" y="12"/>
                      <a:pt x="7" y="12"/>
                      <a:pt x="7" y="12"/>
                    </a:cubicBezTo>
                    <a:cubicBezTo>
                      <a:pt x="3" y="12"/>
                      <a:pt x="3" y="11"/>
                      <a:pt x="1" y="9"/>
                    </a:cubicBezTo>
                    <a:cubicBezTo>
                      <a:pt x="2" y="11"/>
                      <a:pt x="1" y="11"/>
                      <a:pt x="0" y="13"/>
                    </a:cubicBezTo>
                    <a:cubicBezTo>
                      <a:pt x="0" y="15"/>
                      <a:pt x="1" y="15"/>
                      <a:pt x="0" y="16"/>
                    </a:cubicBezTo>
                    <a:cubicBezTo>
                      <a:pt x="0" y="16"/>
                      <a:pt x="0" y="18"/>
                      <a:pt x="0" y="19"/>
                    </a:cubicBezTo>
                    <a:cubicBezTo>
                      <a:pt x="0" y="19"/>
                      <a:pt x="1" y="19"/>
                      <a:pt x="1" y="19"/>
                    </a:cubicBezTo>
                    <a:cubicBezTo>
                      <a:pt x="2" y="19"/>
                      <a:pt x="3" y="19"/>
                      <a:pt x="4" y="19"/>
                    </a:cubicBezTo>
                    <a:cubicBezTo>
                      <a:pt x="4" y="20"/>
                      <a:pt x="6" y="24"/>
                      <a:pt x="6" y="24"/>
                    </a:cubicBezTo>
                    <a:cubicBezTo>
                      <a:pt x="8" y="28"/>
                      <a:pt x="7" y="29"/>
                      <a:pt x="6" y="33"/>
                    </a:cubicBezTo>
                    <a:cubicBezTo>
                      <a:pt x="6" y="34"/>
                      <a:pt x="6" y="34"/>
                      <a:pt x="6" y="35"/>
                    </a:cubicBezTo>
                    <a:cubicBezTo>
                      <a:pt x="6" y="38"/>
                      <a:pt x="8" y="41"/>
                      <a:pt x="9" y="44"/>
                    </a:cubicBezTo>
                    <a:cubicBezTo>
                      <a:pt x="9" y="43"/>
                      <a:pt x="9" y="43"/>
                      <a:pt x="9" y="43"/>
                    </a:cubicBezTo>
                    <a:cubicBezTo>
                      <a:pt x="9" y="43"/>
                      <a:pt x="8" y="44"/>
                      <a:pt x="8" y="45"/>
                    </a:cubicBezTo>
                    <a:cubicBezTo>
                      <a:pt x="7" y="46"/>
                      <a:pt x="7" y="48"/>
                      <a:pt x="7" y="48"/>
                    </a:cubicBezTo>
                    <a:cubicBezTo>
                      <a:pt x="7" y="48"/>
                      <a:pt x="7" y="48"/>
                      <a:pt x="7" y="48"/>
                    </a:cubicBezTo>
                    <a:cubicBezTo>
                      <a:pt x="7" y="48"/>
                      <a:pt x="6" y="49"/>
                      <a:pt x="6" y="49"/>
                    </a:cubicBezTo>
                    <a:cubicBezTo>
                      <a:pt x="5" y="53"/>
                      <a:pt x="5" y="56"/>
                      <a:pt x="5" y="60"/>
                    </a:cubicBezTo>
                    <a:cubicBezTo>
                      <a:pt x="5" y="60"/>
                      <a:pt x="5" y="60"/>
                      <a:pt x="5" y="61"/>
                    </a:cubicBezTo>
                    <a:cubicBezTo>
                      <a:pt x="9" y="61"/>
                      <a:pt x="9" y="63"/>
                      <a:pt x="12" y="66"/>
                    </a:cubicBezTo>
                    <a:cubicBezTo>
                      <a:pt x="12" y="66"/>
                      <a:pt x="12" y="67"/>
                      <a:pt x="13" y="67"/>
                    </a:cubicBezTo>
                    <a:cubicBezTo>
                      <a:pt x="15" y="67"/>
                      <a:pt x="17" y="66"/>
                      <a:pt x="17" y="66"/>
                    </a:cubicBezTo>
                    <a:cubicBezTo>
                      <a:pt x="20" y="64"/>
                      <a:pt x="20" y="59"/>
                      <a:pt x="22" y="57"/>
                    </a:cubicBezTo>
                    <a:cubicBezTo>
                      <a:pt x="22" y="57"/>
                      <a:pt x="23" y="58"/>
                      <a:pt x="23" y="58"/>
                    </a:cubicBezTo>
                    <a:cubicBezTo>
                      <a:pt x="23" y="58"/>
                      <a:pt x="23" y="58"/>
                      <a:pt x="24" y="58"/>
                    </a:cubicBezTo>
                    <a:cubicBezTo>
                      <a:pt x="24" y="58"/>
                      <a:pt x="24" y="57"/>
                      <a:pt x="25" y="57"/>
                    </a:cubicBezTo>
                    <a:cubicBezTo>
                      <a:pt x="25" y="57"/>
                      <a:pt x="26" y="57"/>
                      <a:pt x="26" y="57"/>
                    </a:cubicBezTo>
                    <a:cubicBezTo>
                      <a:pt x="26" y="57"/>
                      <a:pt x="26" y="57"/>
                      <a:pt x="26" y="57"/>
                    </a:cubicBezTo>
                    <a:cubicBezTo>
                      <a:pt x="27" y="57"/>
                      <a:pt x="28" y="58"/>
                      <a:pt x="28" y="58"/>
                    </a:cubicBezTo>
                    <a:cubicBezTo>
                      <a:pt x="29" y="58"/>
                      <a:pt x="32" y="59"/>
                      <a:pt x="32" y="60"/>
                    </a:cubicBezTo>
                    <a:cubicBezTo>
                      <a:pt x="36" y="48"/>
                      <a:pt x="36" y="35"/>
                      <a:pt x="39" y="23"/>
                    </a:cubicBezTo>
                    <a:cubicBezTo>
                      <a:pt x="39" y="21"/>
                      <a:pt x="39" y="21"/>
                      <a:pt x="38" y="18"/>
                    </a:cubicBezTo>
                    <a:cubicBezTo>
                      <a:pt x="38" y="16"/>
                      <a:pt x="37" y="13"/>
                      <a:pt x="36" y="11"/>
                    </a:cubicBezTo>
                    <a:cubicBezTo>
                      <a:pt x="35" y="11"/>
                      <a:pt x="32" y="11"/>
                      <a:pt x="32" y="9"/>
                    </a:cubicBezTo>
                    <a:cubicBezTo>
                      <a:pt x="31" y="8"/>
                      <a:pt x="33" y="5"/>
                      <a:pt x="32" y="3"/>
                    </a:cubicBezTo>
                    <a:cubicBezTo>
                      <a:pt x="32" y="3"/>
                      <a:pt x="32" y="3"/>
                      <a:pt x="32" y="3"/>
                    </a:cubicBezTo>
                    <a:cubicBezTo>
                      <a:pt x="30" y="3"/>
                      <a:pt x="27" y="1"/>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40"/>
              <p:cNvSpPr/>
              <p:nvPr/>
            </p:nvSpPr>
            <p:spPr bwMode="auto">
              <a:xfrm>
                <a:off x="4325" y="609"/>
                <a:ext cx="5" cy="4"/>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2"/>
                      <a:pt x="2" y="2"/>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41"/>
              <p:cNvSpPr/>
              <p:nvPr/>
            </p:nvSpPr>
            <p:spPr bwMode="auto">
              <a:xfrm>
                <a:off x="4223" y="214"/>
                <a:ext cx="19" cy="9"/>
              </a:xfrm>
              <a:custGeom>
                <a:gdLst>
                  <a:gd name="T0" fmla="*/ 7 w 8"/>
                  <a:gd name="T1" fmla="*/ 0 h 4"/>
                  <a:gd name="T2" fmla="*/ 4 w 8"/>
                  <a:gd name="T3" fmla="*/ 1 h 4"/>
                  <a:gd name="T4" fmla="*/ 2 w 8"/>
                  <a:gd name="T5" fmla="*/ 1 h 4"/>
                  <a:gd name="T6" fmla="*/ 0 w 8"/>
                  <a:gd name="T7" fmla="*/ 2 h 4"/>
                  <a:gd name="T8" fmla="*/ 7 w 8"/>
                  <a:gd name="T9" fmla="*/ 4 h 4"/>
                  <a:gd name="T10" fmla="*/ 7 w 8"/>
                  <a:gd name="T11" fmla="*/ 0 h 4"/>
                </a:gdLst>
                <a:cxnLst>
                  <a:cxn ang="0">
                    <a:pos x="T0" y="T1"/>
                  </a:cxn>
                  <a:cxn ang="0">
                    <a:pos x="T2" y="T3"/>
                  </a:cxn>
                  <a:cxn ang="0">
                    <a:pos x="T4" y="T5"/>
                  </a:cxn>
                  <a:cxn ang="0">
                    <a:pos x="T6" y="T7"/>
                  </a:cxn>
                  <a:cxn ang="0">
                    <a:pos x="T8" y="T9"/>
                  </a:cxn>
                  <a:cxn ang="0">
                    <a:pos x="T10" y="T11"/>
                  </a:cxn>
                </a:cxnLst>
                <a:rect l="0" t="0" r="r" b="b"/>
                <a:pathLst>
                  <a:path w="8" h="4">
                    <a:moveTo>
                      <a:pt x="7" y="0"/>
                    </a:moveTo>
                    <a:cubicBezTo>
                      <a:pt x="6" y="0"/>
                      <a:pt x="5" y="1"/>
                      <a:pt x="4" y="1"/>
                    </a:cubicBezTo>
                    <a:cubicBezTo>
                      <a:pt x="2" y="1"/>
                      <a:pt x="2" y="1"/>
                      <a:pt x="2" y="1"/>
                    </a:cubicBezTo>
                    <a:cubicBezTo>
                      <a:pt x="1" y="1"/>
                      <a:pt x="1" y="1"/>
                      <a:pt x="0" y="2"/>
                    </a:cubicBezTo>
                    <a:cubicBezTo>
                      <a:pt x="2" y="3"/>
                      <a:pt x="5" y="3"/>
                      <a:pt x="7" y="4"/>
                    </a:cubicBezTo>
                    <a:cubicBezTo>
                      <a:pt x="8"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42"/>
              <p:cNvSpPr/>
              <p:nvPr/>
            </p:nvSpPr>
            <p:spPr bwMode="auto">
              <a:xfrm>
                <a:off x="4351" y="517"/>
                <a:ext cx="182" cy="101"/>
              </a:xfrm>
              <a:custGeom>
                <a:gdLst>
                  <a:gd name="T0" fmla="*/ 77 w 77"/>
                  <a:gd name="T1" fmla="*/ 0 h 43"/>
                  <a:gd name="T2" fmla="*/ 58 w 77"/>
                  <a:gd name="T3" fmla="*/ 4 h 43"/>
                  <a:gd name="T4" fmla="*/ 43 w 77"/>
                  <a:gd name="T5" fmla="*/ 7 h 43"/>
                  <a:gd name="T6" fmla="*/ 42 w 77"/>
                  <a:gd name="T7" fmla="*/ 7 h 43"/>
                  <a:gd name="T8" fmla="*/ 24 w 77"/>
                  <a:gd name="T9" fmla="*/ 4 h 43"/>
                  <a:gd name="T10" fmla="*/ 22 w 77"/>
                  <a:gd name="T11" fmla="*/ 2 h 43"/>
                  <a:gd name="T12" fmla="*/ 21 w 77"/>
                  <a:gd name="T13" fmla="*/ 2 h 43"/>
                  <a:gd name="T14" fmla="*/ 17 w 77"/>
                  <a:gd name="T15" fmla="*/ 4 h 43"/>
                  <a:gd name="T16" fmla="*/ 12 w 77"/>
                  <a:gd name="T17" fmla="*/ 6 h 43"/>
                  <a:gd name="T18" fmla="*/ 11 w 77"/>
                  <a:gd name="T19" fmla="*/ 5 h 43"/>
                  <a:gd name="T20" fmla="*/ 9 w 77"/>
                  <a:gd name="T21" fmla="*/ 3 h 43"/>
                  <a:gd name="T22" fmla="*/ 8 w 77"/>
                  <a:gd name="T23" fmla="*/ 3 h 43"/>
                  <a:gd name="T24" fmla="*/ 6 w 77"/>
                  <a:gd name="T25" fmla="*/ 5 h 43"/>
                  <a:gd name="T26" fmla="*/ 1 w 77"/>
                  <a:gd name="T27" fmla="*/ 14 h 43"/>
                  <a:gd name="T28" fmla="*/ 6 w 77"/>
                  <a:gd name="T29" fmla="*/ 19 h 43"/>
                  <a:gd name="T30" fmla="*/ 8 w 77"/>
                  <a:gd name="T31" fmla="*/ 19 h 43"/>
                  <a:gd name="T32" fmla="*/ 11 w 77"/>
                  <a:gd name="T33" fmla="*/ 19 h 43"/>
                  <a:gd name="T34" fmla="*/ 11 w 77"/>
                  <a:gd name="T35" fmla="*/ 19 h 43"/>
                  <a:gd name="T36" fmla="*/ 18 w 77"/>
                  <a:gd name="T37" fmla="*/ 22 h 43"/>
                  <a:gd name="T38" fmla="*/ 39 w 77"/>
                  <a:gd name="T39" fmla="*/ 31 h 43"/>
                  <a:gd name="T40" fmla="*/ 47 w 77"/>
                  <a:gd name="T41" fmla="*/ 37 h 43"/>
                  <a:gd name="T42" fmla="*/ 49 w 77"/>
                  <a:gd name="T43" fmla="*/ 40 h 43"/>
                  <a:gd name="T44" fmla="*/ 64 w 77"/>
                  <a:gd name="T45" fmla="*/ 43 h 43"/>
                  <a:gd name="T46" fmla="*/ 69 w 77"/>
                  <a:gd name="T47" fmla="*/ 34 h 43"/>
                  <a:gd name="T48" fmla="*/ 69 w 77"/>
                  <a:gd name="T49" fmla="*/ 34 h 43"/>
                  <a:gd name="T50" fmla="*/ 64 w 77"/>
                  <a:gd name="T51" fmla="*/ 25 h 43"/>
                  <a:gd name="T52" fmla="*/ 66 w 77"/>
                  <a:gd name="T53" fmla="*/ 16 h 43"/>
                  <a:gd name="T54" fmla="*/ 77 w 77"/>
                  <a:gd name="T55"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7" h="43">
                    <a:moveTo>
                      <a:pt x="77" y="0"/>
                    </a:moveTo>
                    <a:cubicBezTo>
                      <a:pt x="70" y="1"/>
                      <a:pt x="64" y="2"/>
                      <a:pt x="58" y="4"/>
                    </a:cubicBezTo>
                    <a:cubicBezTo>
                      <a:pt x="54" y="4"/>
                      <a:pt x="48" y="7"/>
                      <a:pt x="43" y="7"/>
                    </a:cubicBezTo>
                    <a:cubicBezTo>
                      <a:pt x="43" y="7"/>
                      <a:pt x="42" y="7"/>
                      <a:pt x="42" y="7"/>
                    </a:cubicBezTo>
                    <a:cubicBezTo>
                      <a:pt x="36" y="6"/>
                      <a:pt x="30" y="5"/>
                      <a:pt x="24" y="4"/>
                    </a:cubicBezTo>
                    <a:cubicBezTo>
                      <a:pt x="23" y="3"/>
                      <a:pt x="23" y="2"/>
                      <a:pt x="22" y="2"/>
                    </a:cubicBezTo>
                    <a:cubicBezTo>
                      <a:pt x="22" y="2"/>
                      <a:pt x="22" y="2"/>
                      <a:pt x="21" y="2"/>
                    </a:cubicBezTo>
                    <a:cubicBezTo>
                      <a:pt x="20" y="2"/>
                      <a:pt x="19" y="3"/>
                      <a:pt x="17" y="4"/>
                    </a:cubicBezTo>
                    <a:cubicBezTo>
                      <a:pt x="16" y="5"/>
                      <a:pt x="14" y="6"/>
                      <a:pt x="12" y="6"/>
                    </a:cubicBezTo>
                    <a:cubicBezTo>
                      <a:pt x="12" y="6"/>
                      <a:pt x="11" y="5"/>
                      <a:pt x="11" y="5"/>
                    </a:cubicBezTo>
                    <a:cubicBezTo>
                      <a:pt x="9" y="5"/>
                      <a:pt x="10" y="4"/>
                      <a:pt x="9" y="3"/>
                    </a:cubicBezTo>
                    <a:cubicBezTo>
                      <a:pt x="8" y="3"/>
                      <a:pt x="8" y="3"/>
                      <a:pt x="8" y="3"/>
                    </a:cubicBezTo>
                    <a:cubicBezTo>
                      <a:pt x="7" y="3"/>
                      <a:pt x="7" y="3"/>
                      <a:pt x="6" y="5"/>
                    </a:cubicBezTo>
                    <a:cubicBezTo>
                      <a:pt x="5" y="6"/>
                      <a:pt x="0" y="12"/>
                      <a:pt x="1" y="14"/>
                    </a:cubicBezTo>
                    <a:cubicBezTo>
                      <a:pt x="2" y="15"/>
                      <a:pt x="4" y="18"/>
                      <a:pt x="6" y="19"/>
                    </a:cubicBezTo>
                    <a:cubicBezTo>
                      <a:pt x="6" y="19"/>
                      <a:pt x="7" y="19"/>
                      <a:pt x="8" y="19"/>
                    </a:cubicBezTo>
                    <a:cubicBezTo>
                      <a:pt x="9" y="19"/>
                      <a:pt x="10" y="19"/>
                      <a:pt x="11" y="19"/>
                    </a:cubicBezTo>
                    <a:cubicBezTo>
                      <a:pt x="11" y="19"/>
                      <a:pt x="11" y="19"/>
                      <a:pt x="11" y="19"/>
                    </a:cubicBezTo>
                    <a:cubicBezTo>
                      <a:pt x="13" y="19"/>
                      <a:pt x="16" y="21"/>
                      <a:pt x="18" y="22"/>
                    </a:cubicBezTo>
                    <a:cubicBezTo>
                      <a:pt x="25" y="25"/>
                      <a:pt x="32" y="28"/>
                      <a:pt x="39" y="31"/>
                    </a:cubicBezTo>
                    <a:cubicBezTo>
                      <a:pt x="42" y="33"/>
                      <a:pt x="45" y="34"/>
                      <a:pt x="47" y="37"/>
                    </a:cubicBezTo>
                    <a:cubicBezTo>
                      <a:pt x="48" y="38"/>
                      <a:pt x="48" y="39"/>
                      <a:pt x="49" y="40"/>
                    </a:cubicBezTo>
                    <a:cubicBezTo>
                      <a:pt x="52" y="42"/>
                      <a:pt x="60" y="42"/>
                      <a:pt x="64" y="43"/>
                    </a:cubicBezTo>
                    <a:cubicBezTo>
                      <a:pt x="65" y="41"/>
                      <a:pt x="66" y="34"/>
                      <a:pt x="69" y="34"/>
                    </a:cubicBezTo>
                    <a:cubicBezTo>
                      <a:pt x="69" y="34"/>
                      <a:pt x="69" y="34"/>
                      <a:pt x="69" y="34"/>
                    </a:cubicBezTo>
                    <a:cubicBezTo>
                      <a:pt x="68" y="31"/>
                      <a:pt x="66" y="28"/>
                      <a:pt x="64" y="25"/>
                    </a:cubicBezTo>
                    <a:cubicBezTo>
                      <a:pt x="63" y="23"/>
                      <a:pt x="65" y="18"/>
                      <a:pt x="66" y="16"/>
                    </a:cubicBezTo>
                    <a:cubicBezTo>
                      <a:pt x="68" y="10"/>
                      <a:pt x="73" y="5"/>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43"/>
              <p:cNvSpPr/>
              <p:nvPr/>
            </p:nvSpPr>
            <p:spPr bwMode="auto">
              <a:xfrm>
                <a:off x="4457" y="56"/>
                <a:ext cx="10" cy="40"/>
              </a:xfrm>
              <a:custGeom>
                <a:gdLst>
                  <a:gd name="T0" fmla="*/ 0 w 4"/>
                  <a:gd name="T1" fmla="*/ 0 h 17"/>
                  <a:gd name="T2" fmla="*/ 4 w 4"/>
                  <a:gd name="T3" fmla="*/ 17 h 17"/>
                  <a:gd name="T4" fmla="*/ 3 w 4"/>
                  <a:gd name="T5" fmla="*/ 10 h 17"/>
                  <a:gd name="T6" fmla="*/ 4 w 4"/>
                  <a:gd name="T7" fmla="*/ 6 h 17"/>
                  <a:gd name="T8" fmla="*/ 1 w 4"/>
                  <a:gd name="T9" fmla="*/ 4 h 17"/>
                  <a:gd name="T10" fmla="*/ 0 w 4"/>
                  <a:gd name="T11" fmla="*/ 0 h 17"/>
                </a:gdLst>
                <a:cxnLst>
                  <a:cxn ang="0">
                    <a:pos x="T0" y="T1"/>
                  </a:cxn>
                  <a:cxn ang="0">
                    <a:pos x="T2" y="T3"/>
                  </a:cxn>
                  <a:cxn ang="0">
                    <a:pos x="T4" y="T5"/>
                  </a:cxn>
                  <a:cxn ang="0">
                    <a:pos x="T6" y="T7"/>
                  </a:cxn>
                  <a:cxn ang="0">
                    <a:pos x="T8" y="T9"/>
                  </a:cxn>
                  <a:cxn ang="0">
                    <a:pos x="T10" y="T11"/>
                  </a:cxn>
                </a:cxnLst>
                <a:rect l="0" t="0" r="r" b="b"/>
                <a:pathLst>
                  <a:path w="4" h="17">
                    <a:moveTo>
                      <a:pt x="0" y="0"/>
                    </a:moveTo>
                    <a:cubicBezTo>
                      <a:pt x="1" y="6"/>
                      <a:pt x="3" y="11"/>
                      <a:pt x="4" y="17"/>
                    </a:cubicBezTo>
                    <a:cubicBezTo>
                      <a:pt x="4" y="14"/>
                      <a:pt x="4" y="12"/>
                      <a:pt x="3" y="10"/>
                    </a:cubicBezTo>
                    <a:cubicBezTo>
                      <a:pt x="3" y="10"/>
                      <a:pt x="4" y="7"/>
                      <a:pt x="4" y="6"/>
                    </a:cubicBezTo>
                    <a:cubicBezTo>
                      <a:pt x="4" y="6"/>
                      <a:pt x="2" y="5"/>
                      <a:pt x="1"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44"/>
              <p:cNvSpPr/>
              <p:nvPr/>
            </p:nvSpPr>
            <p:spPr bwMode="auto">
              <a:xfrm>
                <a:off x="4594" y="207"/>
                <a:ext cx="22" cy="5"/>
              </a:xfrm>
              <a:custGeom>
                <a:gdLst>
                  <a:gd name="T0" fmla="*/ 0 w 9"/>
                  <a:gd name="T1" fmla="*/ 0 h 2"/>
                  <a:gd name="T2" fmla="*/ 2 w 9"/>
                  <a:gd name="T3" fmla="*/ 2 h 2"/>
                  <a:gd name="T4" fmla="*/ 5 w 9"/>
                  <a:gd name="T5" fmla="*/ 1 h 2"/>
                  <a:gd name="T6" fmla="*/ 6 w 9"/>
                  <a:gd name="T7" fmla="*/ 1 h 2"/>
                  <a:gd name="T8" fmla="*/ 8 w 9"/>
                  <a:gd name="T9" fmla="*/ 1 h 2"/>
                  <a:gd name="T10" fmla="*/ 9 w 9"/>
                  <a:gd name="T11" fmla="*/ 1 h 2"/>
                  <a:gd name="T12" fmla="*/ 0 w 9"/>
                  <a:gd name="T13" fmla="*/ 0 h 2"/>
                </a:gdLst>
                <a:cxnLst>
                  <a:cxn ang="0">
                    <a:pos x="T0" y="T1"/>
                  </a:cxn>
                  <a:cxn ang="0">
                    <a:pos x="T2" y="T3"/>
                  </a:cxn>
                  <a:cxn ang="0">
                    <a:pos x="T4" y="T5"/>
                  </a:cxn>
                  <a:cxn ang="0">
                    <a:pos x="T6" y="T7"/>
                  </a:cxn>
                  <a:cxn ang="0">
                    <a:pos x="T8" y="T9"/>
                  </a:cxn>
                  <a:cxn ang="0">
                    <a:pos x="T10" y="T11"/>
                  </a:cxn>
                  <a:cxn ang="0">
                    <a:pos x="T12" y="T13"/>
                  </a:cxn>
                </a:cxnLst>
                <a:rect l="0" t="0" r="r" b="b"/>
                <a:pathLst>
                  <a:path w="9" h="2">
                    <a:moveTo>
                      <a:pt x="0" y="0"/>
                    </a:moveTo>
                    <a:cubicBezTo>
                      <a:pt x="1" y="0"/>
                      <a:pt x="1" y="1"/>
                      <a:pt x="2" y="2"/>
                    </a:cubicBezTo>
                    <a:cubicBezTo>
                      <a:pt x="3" y="1"/>
                      <a:pt x="4" y="1"/>
                      <a:pt x="5" y="1"/>
                    </a:cubicBezTo>
                    <a:cubicBezTo>
                      <a:pt x="5" y="1"/>
                      <a:pt x="6" y="1"/>
                      <a:pt x="6" y="1"/>
                    </a:cubicBezTo>
                    <a:cubicBezTo>
                      <a:pt x="7" y="1"/>
                      <a:pt x="7" y="1"/>
                      <a:pt x="8" y="1"/>
                    </a:cubicBezTo>
                    <a:cubicBezTo>
                      <a:pt x="8" y="1"/>
                      <a:pt x="9" y="1"/>
                      <a:pt x="9" y="1"/>
                    </a:cubicBezTo>
                    <a:cubicBezTo>
                      <a:pt x="6"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45"/>
              <p:cNvSpPr/>
              <p:nvPr/>
            </p:nvSpPr>
            <p:spPr bwMode="auto">
              <a:xfrm>
                <a:off x="4597" y="221"/>
                <a:ext cx="4" cy="2"/>
              </a:xfrm>
              <a:custGeom>
                <a:gdLst>
                  <a:gd name="T0" fmla="*/ 0 w 2"/>
                  <a:gd name="T1" fmla="*/ 0 h 1"/>
                  <a:gd name="T2" fmla="*/ 0 w 2"/>
                  <a:gd name="T3" fmla="*/ 0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0"/>
                      <a:pt x="0" y="0"/>
                      <a:pt x="0" y="0"/>
                    </a:cubicBezTo>
                    <a:cubicBezTo>
                      <a:pt x="1" y="0"/>
                      <a:pt x="1" y="0"/>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46"/>
              <p:cNvSpPr/>
              <p:nvPr/>
            </p:nvSpPr>
            <p:spPr bwMode="auto">
              <a:xfrm>
                <a:off x="4575" y="179"/>
                <a:ext cx="29" cy="7"/>
              </a:xfrm>
              <a:custGeom>
                <a:gdLst>
                  <a:gd name="T0" fmla="*/ 1 w 12"/>
                  <a:gd name="T1" fmla="*/ 0 h 3"/>
                  <a:gd name="T2" fmla="*/ 0 w 12"/>
                  <a:gd name="T3" fmla="*/ 0 h 3"/>
                  <a:gd name="T4" fmla="*/ 6 w 12"/>
                  <a:gd name="T5" fmla="*/ 3 h 3"/>
                  <a:gd name="T6" fmla="*/ 5 w 12"/>
                  <a:gd name="T7" fmla="*/ 0 h 3"/>
                  <a:gd name="T8" fmla="*/ 1 w 12"/>
                  <a:gd name="T9" fmla="*/ 0 h 3"/>
                </a:gdLst>
                <a:cxnLst>
                  <a:cxn ang="0">
                    <a:pos x="T0" y="T1"/>
                  </a:cxn>
                  <a:cxn ang="0">
                    <a:pos x="T2" y="T3"/>
                  </a:cxn>
                  <a:cxn ang="0">
                    <a:pos x="T4" y="T5"/>
                  </a:cxn>
                  <a:cxn ang="0">
                    <a:pos x="T6" y="T7"/>
                  </a:cxn>
                  <a:cxn ang="0">
                    <a:pos x="T8" y="T9"/>
                  </a:cxn>
                </a:cxnLst>
                <a:rect l="0" t="0" r="r" b="b"/>
                <a:pathLst>
                  <a:path w="12" h="3">
                    <a:moveTo>
                      <a:pt x="1" y="0"/>
                    </a:moveTo>
                    <a:cubicBezTo>
                      <a:pt x="1" y="0"/>
                      <a:pt x="0" y="0"/>
                      <a:pt x="0" y="0"/>
                    </a:cubicBezTo>
                    <a:cubicBezTo>
                      <a:pt x="1" y="2"/>
                      <a:pt x="4" y="3"/>
                      <a:pt x="6" y="3"/>
                    </a:cubicBezTo>
                    <a:cubicBezTo>
                      <a:pt x="11" y="3"/>
                      <a:pt x="12" y="2"/>
                      <a:pt x="5" y="0"/>
                    </a:cubicBezTo>
                    <a:cubicBezTo>
                      <a:pt x="4"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47"/>
              <p:cNvSpPr/>
              <p:nvPr/>
            </p:nvSpPr>
            <p:spPr bwMode="auto">
              <a:xfrm>
                <a:off x="4627" y="216"/>
                <a:ext cx="19" cy="7"/>
              </a:xfrm>
              <a:custGeom>
                <a:gdLst>
                  <a:gd name="T0" fmla="*/ 0 w 8"/>
                  <a:gd name="T1" fmla="*/ 0 h 3"/>
                  <a:gd name="T2" fmla="*/ 8 w 8"/>
                  <a:gd name="T3" fmla="*/ 3 h 3"/>
                  <a:gd name="T4" fmla="*/ 0 w 8"/>
                  <a:gd name="T5" fmla="*/ 0 h 3"/>
                </a:gdLst>
                <a:cxnLst>
                  <a:cxn ang="0">
                    <a:pos x="T0" y="T1"/>
                  </a:cxn>
                  <a:cxn ang="0">
                    <a:pos x="T2" y="T3"/>
                  </a:cxn>
                  <a:cxn ang="0">
                    <a:pos x="T4" y="T5"/>
                  </a:cxn>
                </a:cxnLst>
                <a:rect l="0" t="0" r="r" b="b"/>
                <a:pathLst>
                  <a:path w="8" h="3">
                    <a:moveTo>
                      <a:pt x="0" y="0"/>
                    </a:moveTo>
                    <a:cubicBezTo>
                      <a:pt x="2" y="2"/>
                      <a:pt x="6" y="3"/>
                      <a:pt x="8" y="3"/>
                    </a:cubicBezTo>
                    <a:cubicBezTo>
                      <a:pt x="5" y="2"/>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48"/>
              <p:cNvSpPr/>
              <p:nvPr/>
            </p:nvSpPr>
            <p:spPr bwMode="auto">
              <a:xfrm>
                <a:off x="4554" y="197"/>
                <a:ext cx="7" cy="5"/>
              </a:xfrm>
              <a:custGeom>
                <a:gdLst>
                  <a:gd name="T0" fmla="*/ 2 w 3"/>
                  <a:gd name="T1" fmla="*/ 0 h 2"/>
                  <a:gd name="T2" fmla="*/ 0 w 3"/>
                  <a:gd name="T3" fmla="*/ 1 h 2"/>
                  <a:gd name="T4" fmla="*/ 1 w 3"/>
                  <a:gd name="T5" fmla="*/ 2 h 2"/>
                  <a:gd name="T6" fmla="*/ 3 w 3"/>
                  <a:gd name="T7" fmla="*/ 0 h 2"/>
                  <a:gd name="T8" fmla="*/ 2 w 3"/>
                  <a:gd name="T9" fmla="*/ 0 h 2"/>
                </a:gdLst>
                <a:cxnLst>
                  <a:cxn ang="0">
                    <a:pos x="T0" y="T1"/>
                  </a:cxn>
                  <a:cxn ang="0">
                    <a:pos x="T2" y="T3"/>
                  </a:cxn>
                  <a:cxn ang="0">
                    <a:pos x="T4" y="T5"/>
                  </a:cxn>
                  <a:cxn ang="0">
                    <a:pos x="T6" y="T7"/>
                  </a:cxn>
                  <a:cxn ang="0">
                    <a:pos x="T8" y="T9"/>
                  </a:cxn>
                </a:cxnLst>
                <a:rect l="0" t="0" r="r" b="b"/>
                <a:pathLst>
                  <a:path w="3" h="2">
                    <a:moveTo>
                      <a:pt x="2" y="0"/>
                    </a:moveTo>
                    <a:cubicBezTo>
                      <a:pt x="1" y="0"/>
                      <a:pt x="1" y="1"/>
                      <a:pt x="0" y="1"/>
                    </a:cubicBezTo>
                    <a:cubicBezTo>
                      <a:pt x="0" y="2"/>
                      <a:pt x="0" y="2"/>
                      <a:pt x="1" y="2"/>
                    </a:cubicBezTo>
                    <a:cubicBezTo>
                      <a:pt x="1" y="2"/>
                      <a:pt x="2" y="2"/>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49"/>
              <p:cNvSpPr/>
              <p:nvPr/>
            </p:nvSpPr>
            <p:spPr bwMode="auto">
              <a:xfrm>
                <a:off x="4500" y="138"/>
                <a:ext cx="7" cy="7"/>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0" y="1"/>
                      <a:pt x="2" y="2"/>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50"/>
              <p:cNvSpPr/>
              <p:nvPr/>
            </p:nvSpPr>
            <p:spPr bwMode="auto">
              <a:xfrm>
                <a:off x="4488" y="127"/>
                <a:ext cx="12" cy="11"/>
              </a:xfrm>
              <a:custGeom>
                <a:gdLst>
                  <a:gd name="T0" fmla="*/ 0 w 5"/>
                  <a:gd name="T1" fmla="*/ 0 h 5"/>
                  <a:gd name="T2" fmla="*/ 5 w 5"/>
                  <a:gd name="T3" fmla="*/ 5 h 5"/>
                  <a:gd name="T4" fmla="*/ 0 w 5"/>
                  <a:gd name="T5" fmla="*/ 0 h 5"/>
                </a:gdLst>
                <a:cxnLst>
                  <a:cxn ang="0">
                    <a:pos x="T0" y="T1"/>
                  </a:cxn>
                  <a:cxn ang="0">
                    <a:pos x="T2" y="T3"/>
                  </a:cxn>
                  <a:cxn ang="0">
                    <a:pos x="T4" y="T5"/>
                  </a:cxn>
                </a:cxnLst>
                <a:rect l="0" t="0" r="r" b="b"/>
                <a:pathLst>
                  <a:path w="5" h="5">
                    <a:moveTo>
                      <a:pt x="0" y="0"/>
                    </a:moveTo>
                    <a:cubicBezTo>
                      <a:pt x="2" y="2"/>
                      <a:pt x="3" y="4"/>
                      <a:pt x="5" y="5"/>
                    </a:cubicBezTo>
                    <a:cubicBezTo>
                      <a:pt x="4"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51"/>
              <p:cNvSpPr/>
              <p:nvPr/>
            </p:nvSpPr>
            <p:spPr bwMode="auto">
              <a:xfrm>
                <a:off x="4481" y="89"/>
                <a:ext cx="26" cy="28"/>
              </a:xfrm>
              <a:custGeom>
                <a:gdLst>
                  <a:gd name="T0" fmla="*/ 0 w 11"/>
                  <a:gd name="T1" fmla="*/ 0 h 12"/>
                  <a:gd name="T2" fmla="*/ 10 w 11"/>
                  <a:gd name="T3" fmla="*/ 12 h 12"/>
                  <a:gd name="T4" fmla="*/ 4 w 11"/>
                  <a:gd name="T5" fmla="*/ 5 h 12"/>
                  <a:gd name="T6" fmla="*/ 4 w 11"/>
                  <a:gd name="T7" fmla="*/ 3 h 12"/>
                  <a:gd name="T8" fmla="*/ 3 w 11"/>
                  <a:gd name="T9" fmla="*/ 3 h 12"/>
                  <a:gd name="T10" fmla="*/ 0 w 11"/>
                  <a:gd name="T11" fmla="*/ 0 h 12"/>
                </a:gdLst>
                <a:cxnLst>
                  <a:cxn ang="0">
                    <a:pos x="T0" y="T1"/>
                  </a:cxn>
                  <a:cxn ang="0">
                    <a:pos x="T2" y="T3"/>
                  </a:cxn>
                  <a:cxn ang="0">
                    <a:pos x="T4" y="T5"/>
                  </a:cxn>
                  <a:cxn ang="0">
                    <a:pos x="T6" y="T7"/>
                  </a:cxn>
                  <a:cxn ang="0">
                    <a:pos x="T8" y="T9"/>
                  </a:cxn>
                  <a:cxn ang="0">
                    <a:pos x="T10" y="T11"/>
                  </a:cxn>
                </a:cxnLst>
                <a:rect l="0" t="0" r="r" b="b"/>
                <a:pathLst>
                  <a:path w="11" h="12">
                    <a:moveTo>
                      <a:pt x="0" y="0"/>
                    </a:moveTo>
                    <a:cubicBezTo>
                      <a:pt x="3" y="4"/>
                      <a:pt x="7" y="8"/>
                      <a:pt x="10" y="12"/>
                    </a:cubicBezTo>
                    <a:cubicBezTo>
                      <a:pt x="11" y="6"/>
                      <a:pt x="7" y="8"/>
                      <a:pt x="4" y="5"/>
                    </a:cubicBezTo>
                    <a:cubicBezTo>
                      <a:pt x="4" y="4"/>
                      <a:pt x="5" y="4"/>
                      <a:pt x="4" y="3"/>
                    </a:cubicBezTo>
                    <a:cubicBezTo>
                      <a:pt x="3"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52"/>
              <p:cNvSpPr/>
              <p:nvPr/>
            </p:nvSpPr>
            <p:spPr bwMode="auto">
              <a:xfrm>
                <a:off x="4464" y="53"/>
                <a:ext cx="17" cy="19"/>
              </a:xfrm>
              <a:custGeom>
                <a:gdLst>
                  <a:gd name="T0" fmla="*/ 3 w 7"/>
                  <a:gd name="T1" fmla="*/ 0 h 8"/>
                  <a:gd name="T2" fmla="*/ 0 w 7"/>
                  <a:gd name="T3" fmla="*/ 4 h 8"/>
                  <a:gd name="T4" fmla="*/ 7 w 7"/>
                  <a:gd name="T5" fmla="*/ 8 h 8"/>
                  <a:gd name="T6" fmla="*/ 4 w 7"/>
                  <a:gd name="T7" fmla="*/ 2 h 8"/>
                  <a:gd name="T8" fmla="*/ 4 w 7"/>
                  <a:gd name="T9" fmla="*/ 2 h 8"/>
                  <a:gd name="T10" fmla="*/ 3 w 7"/>
                  <a:gd name="T11" fmla="*/ 0 h 8"/>
                </a:gdLst>
                <a:cxnLst>
                  <a:cxn ang="0">
                    <a:pos x="T0" y="T1"/>
                  </a:cxn>
                  <a:cxn ang="0">
                    <a:pos x="T2" y="T3"/>
                  </a:cxn>
                  <a:cxn ang="0">
                    <a:pos x="T4" y="T5"/>
                  </a:cxn>
                  <a:cxn ang="0">
                    <a:pos x="T6" y="T7"/>
                  </a:cxn>
                  <a:cxn ang="0">
                    <a:pos x="T8" y="T9"/>
                  </a:cxn>
                  <a:cxn ang="0">
                    <a:pos x="T10" y="T11"/>
                  </a:cxn>
                </a:cxnLst>
                <a:rect l="0" t="0" r="r" b="b"/>
                <a:pathLst>
                  <a:path w="7" h="8">
                    <a:moveTo>
                      <a:pt x="3" y="0"/>
                    </a:moveTo>
                    <a:cubicBezTo>
                      <a:pt x="2" y="2"/>
                      <a:pt x="1" y="3"/>
                      <a:pt x="0" y="4"/>
                    </a:cubicBezTo>
                    <a:cubicBezTo>
                      <a:pt x="2" y="5"/>
                      <a:pt x="5" y="7"/>
                      <a:pt x="7" y="8"/>
                    </a:cubicBezTo>
                    <a:cubicBezTo>
                      <a:pt x="7" y="6"/>
                      <a:pt x="6" y="2"/>
                      <a:pt x="4" y="2"/>
                    </a:cubicBezTo>
                    <a:cubicBezTo>
                      <a:pt x="4" y="2"/>
                      <a:pt x="4" y="2"/>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53"/>
              <p:cNvSpPr/>
              <p:nvPr/>
            </p:nvSpPr>
            <p:spPr bwMode="auto">
              <a:xfrm>
                <a:off x="4573" y="190"/>
                <a:ext cx="43" cy="7"/>
              </a:xfrm>
              <a:custGeom>
                <a:gdLst>
                  <a:gd name="T0" fmla="*/ 3 w 18"/>
                  <a:gd name="T1" fmla="*/ 0 h 3"/>
                  <a:gd name="T2" fmla="*/ 0 w 18"/>
                  <a:gd name="T3" fmla="*/ 0 h 3"/>
                  <a:gd name="T4" fmla="*/ 15 w 18"/>
                  <a:gd name="T5" fmla="*/ 3 h 3"/>
                  <a:gd name="T6" fmla="*/ 18 w 18"/>
                  <a:gd name="T7" fmla="*/ 2 h 3"/>
                  <a:gd name="T8" fmla="*/ 7 w 18"/>
                  <a:gd name="T9" fmla="*/ 0 h 3"/>
                  <a:gd name="T10" fmla="*/ 3 w 18"/>
                  <a:gd name="T11" fmla="*/ 0 h 3"/>
                </a:gdLst>
                <a:cxnLst>
                  <a:cxn ang="0">
                    <a:pos x="T0" y="T1"/>
                  </a:cxn>
                  <a:cxn ang="0">
                    <a:pos x="T2" y="T3"/>
                  </a:cxn>
                  <a:cxn ang="0">
                    <a:pos x="T4" y="T5"/>
                  </a:cxn>
                  <a:cxn ang="0">
                    <a:pos x="T6" y="T7"/>
                  </a:cxn>
                  <a:cxn ang="0">
                    <a:pos x="T8" y="T9"/>
                  </a:cxn>
                  <a:cxn ang="0">
                    <a:pos x="T10" y="T11"/>
                  </a:cxn>
                </a:cxnLst>
                <a:rect l="0" t="0" r="r" b="b"/>
                <a:pathLst>
                  <a:path w="18" h="3">
                    <a:moveTo>
                      <a:pt x="3" y="0"/>
                    </a:moveTo>
                    <a:cubicBezTo>
                      <a:pt x="3" y="0"/>
                      <a:pt x="2" y="0"/>
                      <a:pt x="0" y="0"/>
                    </a:cubicBezTo>
                    <a:cubicBezTo>
                      <a:pt x="5" y="1"/>
                      <a:pt x="10" y="3"/>
                      <a:pt x="15" y="3"/>
                    </a:cubicBezTo>
                    <a:cubicBezTo>
                      <a:pt x="16" y="3"/>
                      <a:pt x="17" y="3"/>
                      <a:pt x="18" y="2"/>
                    </a:cubicBezTo>
                    <a:cubicBezTo>
                      <a:pt x="14" y="2"/>
                      <a:pt x="10" y="2"/>
                      <a:pt x="7"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54"/>
              <p:cNvSpPr/>
              <p:nvPr/>
            </p:nvSpPr>
            <p:spPr bwMode="auto">
              <a:xfrm>
                <a:off x="5072" y="585"/>
                <a:ext cx="14" cy="19"/>
              </a:xfrm>
              <a:custGeom>
                <a:gdLst>
                  <a:gd name="T0" fmla="*/ 4 w 6"/>
                  <a:gd name="T1" fmla="*/ 0 h 8"/>
                  <a:gd name="T2" fmla="*/ 0 w 6"/>
                  <a:gd name="T3" fmla="*/ 3 h 8"/>
                  <a:gd name="T4" fmla="*/ 2 w 6"/>
                  <a:gd name="T5" fmla="*/ 8 h 8"/>
                  <a:gd name="T6" fmla="*/ 6 w 6"/>
                  <a:gd name="T7" fmla="*/ 2 h 8"/>
                  <a:gd name="T8" fmla="*/ 4 w 6"/>
                  <a:gd name="T9" fmla="*/ 0 h 8"/>
                </a:gdLst>
                <a:cxnLst>
                  <a:cxn ang="0">
                    <a:pos x="T0" y="T1"/>
                  </a:cxn>
                  <a:cxn ang="0">
                    <a:pos x="T2" y="T3"/>
                  </a:cxn>
                  <a:cxn ang="0">
                    <a:pos x="T4" y="T5"/>
                  </a:cxn>
                  <a:cxn ang="0">
                    <a:pos x="T6" y="T7"/>
                  </a:cxn>
                  <a:cxn ang="0">
                    <a:pos x="T8" y="T9"/>
                  </a:cxn>
                </a:cxnLst>
                <a:rect l="0" t="0" r="r" b="b"/>
                <a:pathLst>
                  <a:path w="6" h="8">
                    <a:moveTo>
                      <a:pt x="4" y="0"/>
                    </a:moveTo>
                    <a:cubicBezTo>
                      <a:pt x="3" y="0"/>
                      <a:pt x="1" y="3"/>
                      <a:pt x="0" y="3"/>
                    </a:cubicBezTo>
                    <a:cubicBezTo>
                      <a:pt x="0" y="5"/>
                      <a:pt x="1" y="6"/>
                      <a:pt x="2" y="8"/>
                    </a:cubicBezTo>
                    <a:cubicBezTo>
                      <a:pt x="4" y="7"/>
                      <a:pt x="6" y="4"/>
                      <a:pt x="6" y="2"/>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55"/>
              <p:cNvSpPr/>
              <p:nvPr/>
            </p:nvSpPr>
            <p:spPr bwMode="auto">
              <a:xfrm>
                <a:off x="5067" y="611"/>
                <a:ext cx="5" cy="10"/>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1" y="2"/>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56"/>
              <p:cNvSpPr/>
              <p:nvPr/>
            </p:nvSpPr>
            <p:spPr bwMode="auto">
              <a:xfrm>
                <a:off x="4963" y="533"/>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57"/>
              <p:cNvSpPr/>
              <p:nvPr/>
            </p:nvSpPr>
            <p:spPr bwMode="auto">
              <a:xfrm>
                <a:off x="5053" y="401"/>
                <a:ext cx="23" cy="16"/>
              </a:xfrm>
              <a:custGeom>
                <a:gdLst>
                  <a:gd name="T0" fmla="*/ 10 w 10"/>
                  <a:gd name="T1" fmla="*/ 0 h 7"/>
                  <a:gd name="T2" fmla="*/ 6 w 10"/>
                  <a:gd name="T3" fmla="*/ 3 h 7"/>
                  <a:gd name="T4" fmla="*/ 6 w 10"/>
                  <a:gd name="T5" fmla="*/ 3 h 7"/>
                  <a:gd name="T6" fmla="*/ 6 w 10"/>
                  <a:gd name="T7" fmla="*/ 2 h 7"/>
                  <a:gd name="T8" fmla="*/ 4 w 10"/>
                  <a:gd name="T9" fmla="*/ 1 h 7"/>
                  <a:gd name="T10" fmla="*/ 3 w 10"/>
                  <a:gd name="T11" fmla="*/ 1 h 7"/>
                  <a:gd name="T12" fmla="*/ 2 w 10"/>
                  <a:gd name="T13" fmla="*/ 1 h 7"/>
                  <a:gd name="T14" fmla="*/ 1 w 10"/>
                  <a:gd name="T15" fmla="*/ 6 h 7"/>
                  <a:gd name="T16" fmla="*/ 5 w 10"/>
                  <a:gd name="T17" fmla="*/ 4 h 7"/>
                  <a:gd name="T18" fmla="*/ 8 w 10"/>
                  <a:gd name="T19" fmla="*/ 7 h 7"/>
                  <a:gd name="T20" fmla="*/ 10 w 10"/>
                  <a:gd name="T2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10" y="0"/>
                    </a:moveTo>
                    <a:cubicBezTo>
                      <a:pt x="9" y="1"/>
                      <a:pt x="7" y="3"/>
                      <a:pt x="6" y="3"/>
                    </a:cubicBezTo>
                    <a:cubicBezTo>
                      <a:pt x="6" y="3"/>
                      <a:pt x="6" y="3"/>
                      <a:pt x="6" y="3"/>
                    </a:cubicBezTo>
                    <a:cubicBezTo>
                      <a:pt x="6" y="3"/>
                      <a:pt x="6" y="2"/>
                      <a:pt x="6" y="2"/>
                    </a:cubicBezTo>
                    <a:cubicBezTo>
                      <a:pt x="5" y="2"/>
                      <a:pt x="4" y="1"/>
                      <a:pt x="4" y="1"/>
                    </a:cubicBezTo>
                    <a:cubicBezTo>
                      <a:pt x="4" y="1"/>
                      <a:pt x="3" y="1"/>
                      <a:pt x="3" y="1"/>
                    </a:cubicBezTo>
                    <a:cubicBezTo>
                      <a:pt x="3" y="1"/>
                      <a:pt x="2" y="1"/>
                      <a:pt x="2" y="1"/>
                    </a:cubicBezTo>
                    <a:cubicBezTo>
                      <a:pt x="0" y="2"/>
                      <a:pt x="1" y="3"/>
                      <a:pt x="1" y="6"/>
                    </a:cubicBezTo>
                    <a:cubicBezTo>
                      <a:pt x="3" y="5"/>
                      <a:pt x="4" y="4"/>
                      <a:pt x="5" y="4"/>
                    </a:cubicBezTo>
                    <a:cubicBezTo>
                      <a:pt x="6" y="4"/>
                      <a:pt x="6" y="5"/>
                      <a:pt x="8" y="7"/>
                    </a:cubicBezTo>
                    <a:cubicBezTo>
                      <a:pt x="7" y="3"/>
                      <a:pt x="10"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58"/>
              <p:cNvSpPr/>
              <p:nvPr/>
            </p:nvSpPr>
            <p:spPr bwMode="auto">
              <a:xfrm>
                <a:off x="5055" y="587"/>
                <a:ext cx="12" cy="12"/>
              </a:xfrm>
              <a:custGeom>
                <a:gdLst>
                  <a:gd name="T0" fmla="*/ 5 w 5"/>
                  <a:gd name="T1" fmla="*/ 0 h 5"/>
                  <a:gd name="T2" fmla="*/ 3 w 5"/>
                  <a:gd name="T3" fmla="*/ 5 h 5"/>
                  <a:gd name="T4" fmla="*/ 5 w 5"/>
                  <a:gd name="T5" fmla="*/ 0 h 5"/>
                </a:gdLst>
                <a:cxnLst>
                  <a:cxn ang="0">
                    <a:pos x="T0" y="T1"/>
                  </a:cxn>
                  <a:cxn ang="0">
                    <a:pos x="T2" y="T3"/>
                  </a:cxn>
                  <a:cxn ang="0">
                    <a:pos x="T4" y="T5"/>
                  </a:cxn>
                </a:cxnLst>
                <a:rect l="0" t="0" r="r" b="b"/>
                <a:pathLst>
                  <a:path w="5" h="5">
                    <a:moveTo>
                      <a:pt x="5" y="0"/>
                    </a:moveTo>
                    <a:cubicBezTo>
                      <a:pt x="2" y="1"/>
                      <a:pt x="0" y="2"/>
                      <a:pt x="3" y="5"/>
                    </a:cubicBezTo>
                    <a:cubicBezTo>
                      <a:pt x="5" y="3"/>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59"/>
              <p:cNvSpPr/>
              <p:nvPr/>
            </p:nvSpPr>
            <p:spPr bwMode="auto">
              <a:xfrm>
                <a:off x="5072" y="632"/>
                <a:ext cx="7" cy="10"/>
              </a:xfrm>
              <a:custGeom>
                <a:gdLst>
                  <a:gd name="T0" fmla="*/ 0 w 3"/>
                  <a:gd name="T1" fmla="*/ 0 h 4"/>
                  <a:gd name="T2" fmla="*/ 2 w 3"/>
                  <a:gd name="T3" fmla="*/ 4 h 4"/>
                  <a:gd name="T4" fmla="*/ 0 w 3"/>
                  <a:gd name="T5" fmla="*/ 0 h 4"/>
                </a:gdLst>
                <a:cxnLst>
                  <a:cxn ang="0">
                    <a:pos x="T0" y="T1"/>
                  </a:cxn>
                  <a:cxn ang="0">
                    <a:pos x="T2" y="T3"/>
                  </a:cxn>
                  <a:cxn ang="0">
                    <a:pos x="T4" y="T5"/>
                  </a:cxn>
                </a:cxnLst>
                <a:rect l="0" t="0" r="r" b="b"/>
                <a:pathLst>
                  <a:path w="3" h="4">
                    <a:moveTo>
                      <a:pt x="0" y="0"/>
                    </a:moveTo>
                    <a:cubicBezTo>
                      <a:pt x="1" y="1"/>
                      <a:pt x="1" y="2"/>
                      <a:pt x="2" y="4"/>
                    </a:cubicBezTo>
                    <a:cubicBezTo>
                      <a:pt x="3" y="2"/>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60"/>
              <p:cNvSpPr/>
              <p:nvPr/>
            </p:nvSpPr>
            <p:spPr bwMode="auto">
              <a:xfrm>
                <a:off x="5107" y="554"/>
                <a:ext cx="19" cy="12"/>
              </a:xfrm>
              <a:custGeom>
                <a:gdLst>
                  <a:gd name="T0" fmla="*/ 8 w 8"/>
                  <a:gd name="T1" fmla="*/ 0 h 5"/>
                  <a:gd name="T2" fmla="*/ 0 w 8"/>
                  <a:gd name="T3" fmla="*/ 5 h 5"/>
                  <a:gd name="T4" fmla="*/ 8 w 8"/>
                  <a:gd name="T5" fmla="*/ 0 h 5"/>
                </a:gdLst>
                <a:cxnLst>
                  <a:cxn ang="0">
                    <a:pos x="T0" y="T1"/>
                  </a:cxn>
                  <a:cxn ang="0">
                    <a:pos x="T2" y="T3"/>
                  </a:cxn>
                  <a:cxn ang="0">
                    <a:pos x="T4" y="T5"/>
                  </a:cxn>
                </a:cxnLst>
                <a:rect l="0" t="0" r="r" b="b"/>
                <a:pathLst>
                  <a:path w="8" h="5">
                    <a:moveTo>
                      <a:pt x="8" y="0"/>
                    </a:moveTo>
                    <a:cubicBezTo>
                      <a:pt x="5" y="1"/>
                      <a:pt x="3" y="3"/>
                      <a:pt x="0" y="5"/>
                    </a:cubicBezTo>
                    <a:cubicBezTo>
                      <a:pt x="3" y="4"/>
                      <a:pt x="7" y="3"/>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61"/>
              <p:cNvSpPr/>
              <p:nvPr/>
            </p:nvSpPr>
            <p:spPr bwMode="auto">
              <a:xfrm>
                <a:off x="5046" y="566"/>
                <a:ext cx="2" cy="10"/>
              </a:xfrm>
              <a:custGeom>
                <a:gdLst>
                  <a:gd name="T0" fmla="*/ 1 w 1"/>
                  <a:gd name="T1" fmla="*/ 0 h 4"/>
                  <a:gd name="T2" fmla="*/ 0 w 1"/>
                  <a:gd name="T3" fmla="*/ 4 h 4"/>
                  <a:gd name="T4" fmla="*/ 1 w 1"/>
                  <a:gd name="T5" fmla="*/ 0 h 4"/>
                </a:gdLst>
                <a:cxnLst>
                  <a:cxn ang="0">
                    <a:pos x="T0" y="T1"/>
                  </a:cxn>
                  <a:cxn ang="0">
                    <a:pos x="T2" y="T3"/>
                  </a:cxn>
                  <a:cxn ang="0">
                    <a:pos x="T4" y="T5"/>
                  </a:cxn>
                </a:cxnLst>
                <a:rect l="0" t="0" r="r" b="b"/>
                <a:pathLst>
                  <a:path w="1" h="4">
                    <a:moveTo>
                      <a:pt x="1" y="0"/>
                    </a:moveTo>
                    <a:cubicBezTo>
                      <a:pt x="1" y="0"/>
                      <a:pt x="0" y="1"/>
                      <a:pt x="0" y="4"/>
                    </a:cubicBezTo>
                    <a:cubicBezTo>
                      <a:pt x="1" y="2"/>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62"/>
              <p:cNvSpPr/>
              <p:nvPr/>
            </p:nvSpPr>
            <p:spPr bwMode="auto">
              <a:xfrm>
                <a:off x="4972" y="455"/>
                <a:ext cx="8" cy="10"/>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1" y="1"/>
                      <a:pt x="2" y="3"/>
                      <a:pt x="3"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63"/>
              <p:cNvSpPr/>
              <p:nvPr/>
            </p:nvSpPr>
            <p:spPr bwMode="auto">
              <a:xfrm>
                <a:off x="5100" y="443"/>
                <a:ext cx="43" cy="29"/>
              </a:xfrm>
              <a:custGeom>
                <a:gdLst>
                  <a:gd name="T0" fmla="*/ 10 w 18"/>
                  <a:gd name="T1" fmla="*/ 0 h 12"/>
                  <a:gd name="T2" fmla="*/ 4 w 18"/>
                  <a:gd name="T3" fmla="*/ 3 h 12"/>
                  <a:gd name="T4" fmla="*/ 2 w 18"/>
                  <a:gd name="T5" fmla="*/ 3 h 12"/>
                  <a:gd name="T6" fmla="*/ 2 w 18"/>
                  <a:gd name="T7" fmla="*/ 3 h 12"/>
                  <a:gd name="T8" fmla="*/ 2 w 18"/>
                  <a:gd name="T9" fmla="*/ 3 h 12"/>
                  <a:gd name="T10" fmla="*/ 0 w 18"/>
                  <a:gd name="T11" fmla="*/ 4 h 12"/>
                  <a:gd name="T12" fmla="*/ 7 w 18"/>
                  <a:gd name="T13" fmla="*/ 5 h 12"/>
                  <a:gd name="T14" fmla="*/ 9 w 18"/>
                  <a:gd name="T15" fmla="*/ 5 h 12"/>
                  <a:gd name="T16" fmla="*/ 5 w 18"/>
                  <a:gd name="T17" fmla="*/ 9 h 12"/>
                  <a:gd name="T18" fmla="*/ 13 w 18"/>
                  <a:gd name="T19" fmla="*/ 12 h 12"/>
                  <a:gd name="T20" fmla="*/ 14 w 18"/>
                  <a:gd name="T21" fmla="*/ 12 h 12"/>
                  <a:gd name="T22" fmla="*/ 14 w 18"/>
                  <a:gd name="T23" fmla="*/ 8 h 12"/>
                  <a:gd name="T24" fmla="*/ 14 w 18"/>
                  <a:gd name="T25" fmla="*/ 8 h 12"/>
                  <a:gd name="T26" fmla="*/ 16 w 18"/>
                  <a:gd name="T27" fmla="*/ 9 h 12"/>
                  <a:gd name="T28" fmla="*/ 17 w 18"/>
                  <a:gd name="T29" fmla="*/ 11 h 12"/>
                  <a:gd name="T30" fmla="*/ 18 w 18"/>
                  <a:gd name="T31" fmla="*/ 10 h 12"/>
                  <a:gd name="T32" fmla="*/ 13 w 18"/>
                  <a:gd name="T33" fmla="*/ 4 h 12"/>
                  <a:gd name="T34" fmla="*/ 11 w 18"/>
                  <a:gd name="T35" fmla="*/ 1 h 12"/>
                  <a:gd name="T36" fmla="*/ 10 w 18"/>
                  <a:gd name="T37"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2">
                    <a:moveTo>
                      <a:pt x="10" y="0"/>
                    </a:moveTo>
                    <a:cubicBezTo>
                      <a:pt x="8" y="0"/>
                      <a:pt x="6" y="2"/>
                      <a:pt x="4" y="3"/>
                    </a:cubicBezTo>
                    <a:cubicBezTo>
                      <a:pt x="4" y="3"/>
                      <a:pt x="3" y="3"/>
                      <a:pt x="2" y="3"/>
                    </a:cubicBezTo>
                    <a:cubicBezTo>
                      <a:pt x="2" y="3"/>
                      <a:pt x="2" y="3"/>
                      <a:pt x="2" y="3"/>
                    </a:cubicBezTo>
                    <a:cubicBezTo>
                      <a:pt x="2" y="3"/>
                      <a:pt x="2" y="3"/>
                      <a:pt x="2" y="3"/>
                    </a:cubicBezTo>
                    <a:cubicBezTo>
                      <a:pt x="1" y="3"/>
                      <a:pt x="0" y="3"/>
                      <a:pt x="0" y="4"/>
                    </a:cubicBezTo>
                    <a:cubicBezTo>
                      <a:pt x="2" y="5"/>
                      <a:pt x="5" y="5"/>
                      <a:pt x="7" y="5"/>
                    </a:cubicBezTo>
                    <a:cubicBezTo>
                      <a:pt x="8" y="5"/>
                      <a:pt x="8" y="5"/>
                      <a:pt x="9" y="5"/>
                    </a:cubicBezTo>
                    <a:cubicBezTo>
                      <a:pt x="8" y="7"/>
                      <a:pt x="7" y="8"/>
                      <a:pt x="5" y="9"/>
                    </a:cubicBezTo>
                    <a:cubicBezTo>
                      <a:pt x="8" y="10"/>
                      <a:pt x="10" y="11"/>
                      <a:pt x="13" y="12"/>
                    </a:cubicBezTo>
                    <a:cubicBezTo>
                      <a:pt x="13" y="12"/>
                      <a:pt x="14" y="12"/>
                      <a:pt x="14" y="12"/>
                    </a:cubicBezTo>
                    <a:cubicBezTo>
                      <a:pt x="18" y="12"/>
                      <a:pt x="12" y="9"/>
                      <a:pt x="14" y="8"/>
                    </a:cubicBezTo>
                    <a:cubicBezTo>
                      <a:pt x="14" y="8"/>
                      <a:pt x="14" y="8"/>
                      <a:pt x="14" y="8"/>
                    </a:cubicBezTo>
                    <a:cubicBezTo>
                      <a:pt x="14" y="8"/>
                      <a:pt x="15" y="8"/>
                      <a:pt x="16" y="9"/>
                    </a:cubicBezTo>
                    <a:cubicBezTo>
                      <a:pt x="16" y="10"/>
                      <a:pt x="17" y="11"/>
                      <a:pt x="17" y="11"/>
                    </a:cubicBezTo>
                    <a:cubicBezTo>
                      <a:pt x="17" y="11"/>
                      <a:pt x="17" y="11"/>
                      <a:pt x="18" y="10"/>
                    </a:cubicBezTo>
                    <a:cubicBezTo>
                      <a:pt x="18" y="8"/>
                      <a:pt x="13" y="5"/>
                      <a:pt x="13" y="4"/>
                    </a:cubicBezTo>
                    <a:cubicBezTo>
                      <a:pt x="12" y="3"/>
                      <a:pt x="13" y="1"/>
                      <a:pt x="11" y="1"/>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64"/>
              <p:cNvSpPr/>
              <p:nvPr/>
            </p:nvSpPr>
            <p:spPr bwMode="auto">
              <a:xfrm>
                <a:off x="5076" y="372"/>
                <a:ext cx="15" cy="5"/>
              </a:xfrm>
              <a:custGeom>
                <a:gdLst>
                  <a:gd name="T0" fmla="*/ 0 w 6"/>
                  <a:gd name="T1" fmla="*/ 0 h 2"/>
                  <a:gd name="T2" fmla="*/ 4 w 6"/>
                  <a:gd name="T3" fmla="*/ 2 h 2"/>
                  <a:gd name="T4" fmla="*/ 6 w 6"/>
                  <a:gd name="T5" fmla="*/ 1 h 2"/>
                  <a:gd name="T6" fmla="*/ 0 w 6"/>
                  <a:gd name="T7" fmla="*/ 0 h 2"/>
                </a:gdLst>
                <a:cxnLst>
                  <a:cxn ang="0">
                    <a:pos x="T0" y="T1"/>
                  </a:cxn>
                  <a:cxn ang="0">
                    <a:pos x="T2" y="T3"/>
                  </a:cxn>
                  <a:cxn ang="0">
                    <a:pos x="T4" y="T5"/>
                  </a:cxn>
                  <a:cxn ang="0">
                    <a:pos x="T6" y="T7"/>
                  </a:cxn>
                </a:cxnLst>
                <a:rect l="0" t="0" r="r" b="b"/>
                <a:pathLst>
                  <a:path w="6" h="2">
                    <a:moveTo>
                      <a:pt x="0" y="0"/>
                    </a:moveTo>
                    <a:cubicBezTo>
                      <a:pt x="2" y="1"/>
                      <a:pt x="3" y="2"/>
                      <a:pt x="4" y="2"/>
                    </a:cubicBezTo>
                    <a:cubicBezTo>
                      <a:pt x="4" y="2"/>
                      <a:pt x="5" y="2"/>
                      <a:pt x="6"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65"/>
              <p:cNvSpPr/>
              <p:nvPr/>
            </p:nvSpPr>
            <p:spPr bwMode="auto">
              <a:xfrm>
                <a:off x="5032" y="595"/>
                <a:ext cx="4" cy="9"/>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1" y="2"/>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66"/>
              <p:cNvSpPr>
                <a:spLocks noEditPoints="1"/>
              </p:cNvSpPr>
              <p:nvPr/>
            </p:nvSpPr>
            <p:spPr bwMode="auto">
              <a:xfrm>
                <a:off x="4970" y="682"/>
                <a:ext cx="156" cy="47"/>
              </a:xfrm>
              <a:custGeom>
                <a:gdLst>
                  <a:gd name="T0" fmla="*/ 66 w 66"/>
                  <a:gd name="T1" fmla="*/ 10 h 20"/>
                  <a:gd name="T2" fmla="*/ 65 w 66"/>
                  <a:gd name="T3" fmla="*/ 10 h 20"/>
                  <a:gd name="T4" fmla="*/ 66 w 66"/>
                  <a:gd name="T5" fmla="*/ 10 h 20"/>
                  <a:gd name="T6" fmla="*/ 5 w 66"/>
                  <a:gd name="T7" fmla="*/ 0 h 20"/>
                  <a:gd name="T8" fmla="*/ 0 w 66"/>
                  <a:gd name="T9" fmla="*/ 10 h 20"/>
                  <a:gd name="T10" fmla="*/ 21 w 66"/>
                  <a:gd name="T11" fmla="*/ 14 h 20"/>
                  <a:gd name="T12" fmla="*/ 28 w 66"/>
                  <a:gd name="T13" fmla="*/ 20 h 20"/>
                  <a:gd name="T14" fmla="*/ 49 w 66"/>
                  <a:gd name="T15" fmla="*/ 18 h 20"/>
                  <a:gd name="T16" fmla="*/ 63 w 66"/>
                  <a:gd name="T17" fmla="*/ 17 h 20"/>
                  <a:gd name="T18" fmla="*/ 65 w 66"/>
                  <a:gd name="T19" fmla="*/ 14 h 20"/>
                  <a:gd name="T20" fmla="*/ 65 w 66"/>
                  <a:gd name="T21" fmla="*/ 13 h 20"/>
                  <a:gd name="T22" fmla="*/ 64 w 66"/>
                  <a:gd name="T23" fmla="*/ 12 h 20"/>
                  <a:gd name="T24" fmla="*/ 65 w 66"/>
                  <a:gd name="T25" fmla="*/ 10 h 20"/>
                  <a:gd name="T26" fmla="*/ 57 w 66"/>
                  <a:gd name="T27" fmla="*/ 13 h 20"/>
                  <a:gd name="T28" fmla="*/ 54 w 66"/>
                  <a:gd name="T29" fmla="*/ 15 h 20"/>
                  <a:gd name="T30" fmla="*/ 53 w 66"/>
                  <a:gd name="T31" fmla="*/ 9 h 20"/>
                  <a:gd name="T32" fmla="*/ 52 w 66"/>
                  <a:gd name="T33" fmla="*/ 9 h 20"/>
                  <a:gd name="T34" fmla="*/ 50 w 66"/>
                  <a:gd name="T35" fmla="*/ 10 h 20"/>
                  <a:gd name="T36" fmla="*/ 47 w 66"/>
                  <a:gd name="T37" fmla="*/ 10 h 20"/>
                  <a:gd name="T38" fmla="*/ 46 w 66"/>
                  <a:gd name="T39" fmla="*/ 10 h 20"/>
                  <a:gd name="T40" fmla="*/ 34 w 66"/>
                  <a:gd name="T41" fmla="*/ 8 h 20"/>
                  <a:gd name="T42" fmla="*/ 33 w 66"/>
                  <a:gd name="T43" fmla="*/ 7 h 20"/>
                  <a:gd name="T44" fmla="*/ 28 w 66"/>
                  <a:gd name="T45" fmla="*/ 8 h 20"/>
                  <a:gd name="T46" fmla="*/ 22 w 66"/>
                  <a:gd name="T47" fmla="*/ 9 h 20"/>
                  <a:gd name="T48" fmla="*/ 18 w 66"/>
                  <a:gd name="T49" fmla="*/ 7 h 20"/>
                  <a:gd name="T50" fmla="*/ 14 w 66"/>
                  <a:gd name="T51" fmla="*/ 4 h 20"/>
                  <a:gd name="T52" fmla="*/ 15 w 66"/>
                  <a:gd name="T53" fmla="*/ 3 h 20"/>
                  <a:gd name="T54" fmla="*/ 13 w 66"/>
                  <a:gd name="T55" fmla="*/ 2 h 20"/>
                  <a:gd name="T56" fmla="*/ 7 w 66"/>
                  <a:gd name="T57" fmla="*/ 3 h 20"/>
                  <a:gd name="T58" fmla="*/ 7 w 66"/>
                  <a:gd name="T59" fmla="*/ 3 h 20"/>
                  <a:gd name="T60" fmla="*/ 5 w 66"/>
                  <a:gd name="T61"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20">
                    <a:moveTo>
                      <a:pt x="66" y="10"/>
                    </a:moveTo>
                    <a:cubicBezTo>
                      <a:pt x="66" y="10"/>
                      <a:pt x="65" y="10"/>
                      <a:pt x="65" y="10"/>
                    </a:cubicBezTo>
                    <a:cubicBezTo>
                      <a:pt x="65" y="10"/>
                      <a:pt x="66" y="10"/>
                      <a:pt x="66" y="10"/>
                    </a:cubicBezTo>
                    <a:moveTo>
                      <a:pt x="5" y="0"/>
                    </a:moveTo>
                    <a:cubicBezTo>
                      <a:pt x="3" y="3"/>
                      <a:pt x="1" y="7"/>
                      <a:pt x="0" y="10"/>
                    </a:cubicBezTo>
                    <a:cubicBezTo>
                      <a:pt x="7" y="11"/>
                      <a:pt x="14" y="12"/>
                      <a:pt x="21" y="14"/>
                    </a:cubicBezTo>
                    <a:cubicBezTo>
                      <a:pt x="24" y="15"/>
                      <a:pt x="31" y="16"/>
                      <a:pt x="28" y="20"/>
                    </a:cubicBezTo>
                    <a:cubicBezTo>
                      <a:pt x="35" y="20"/>
                      <a:pt x="42" y="18"/>
                      <a:pt x="49" y="18"/>
                    </a:cubicBezTo>
                    <a:cubicBezTo>
                      <a:pt x="53" y="18"/>
                      <a:pt x="58" y="17"/>
                      <a:pt x="63" y="17"/>
                    </a:cubicBezTo>
                    <a:cubicBezTo>
                      <a:pt x="64" y="17"/>
                      <a:pt x="64" y="15"/>
                      <a:pt x="65" y="14"/>
                    </a:cubicBezTo>
                    <a:cubicBezTo>
                      <a:pt x="65" y="13"/>
                      <a:pt x="65" y="14"/>
                      <a:pt x="65" y="13"/>
                    </a:cubicBezTo>
                    <a:cubicBezTo>
                      <a:pt x="65" y="13"/>
                      <a:pt x="64" y="12"/>
                      <a:pt x="64" y="12"/>
                    </a:cubicBezTo>
                    <a:cubicBezTo>
                      <a:pt x="65" y="11"/>
                      <a:pt x="65" y="10"/>
                      <a:pt x="65" y="10"/>
                    </a:cubicBezTo>
                    <a:cubicBezTo>
                      <a:pt x="62" y="13"/>
                      <a:pt x="62" y="12"/>
                      <a:pt x="57" y="13"/>
                    </a:cubicBezTo>
                    <a:cubicBezTo>
                      <a:pt x="55" y="14"/>
                      <a:pt x="55" y="14"/>
                      <a:pt x="54" y="15"/>
                    </a:cubicBezTo>
                    <a:cubicBezTo>
                      <a:pt x="53" y="14"/>
                      <a:pt x="51" y="11"/>
                      <a:pt x="53" y="9"/>
                    </a:cubicBezTo>
                    <a:cubicBezTo>
                      <a:pt x="52" y="9"/>
                      <a:pt x="52" y="9"/>
                      <a:pt x="52" y="9"/>
                    </a:cubicBezTo>
                    <a:cubicBezTo>
                      <a:pt x="52" y="9"/>
                      <a:pt x="51" y="10"/>
                      <a:pt x="50" y="10"/>
                    </a:cubicBezTo>
                    <a:cubicBezTo>
                      <a:pt x="49" y="10"/>
                      <a:pt x="48" y="10"/>
                      <a:pt x="47" y="10"/>
                    </a:cubicBezTo>
                    <a:cubicBezTo>
                      <a:pt x="47" y="10"/>
                      <a:pt x="46" y="10"/>
                      <a:pt x="46" y="10"/>
                    </a:cubicBezTo>
                    <a:cubicBezTo>
                      <a:pt x="42" y="9"/>
                      <a:pt x="38" y="8"/>
                      <a:pt x="34" y="8"/>
                    </a:cubicBezTo>
                    <a:cubicBezTo>
                      <a:pt x="34" y="7"/>
                      <a:pt x="33" y="7"/>
                      <a:pt x="33" y="7"/>
                    </a:cubicBezTo>
                    <a:cubicBezTo>
                      <a:pt x="31" y="7"/>
                      <a:pt x="29" y="8"/>
                      <a:pt x="28" y="8"/>
                    </a:cubicBezTo>
                    <a:cubicBezTo>
                      <a:pt x="26" y="8"/>
                      <a:pt x="24" y="9"/>
                      <a:pt x="22" y="9"/>
                    </a:cubicBezTo>
                    <a:cubicBezTo>
                      <a:pt x="20" y="9"/>
                      <a:pt x="19" y="8"/>
                      <a:pt x="18" y="7"/>
                    </a:cubicBezTo>
                    <a:cubicBezTo>
                      <a:pt x="17" y="6"/>
                      <a:pt x="10" y="5"/>
                      <a:pt x="14" y="4"/>
                    </a:cubicBezTo>
                    <a:cubicBezTo>
                      <a:pt x="15" y="4"/>
                      <a:pt x="16" y="4"/>
                      <a:pt x="15" y="3"/>
                    </a:cubicBezTo>
                    <a:cubicBezTo>
                      <a:pt x="15" y="2"/>
                      <a:pt x="14" y="2"/>
                      <a:pt x="13" y="2"/>
                    </a:cubicBezTo>
                    <a:cubicBezTo>
                      <a:pt x="11" y="2"/>
                      <a:pt x="8" y="3"/>
                      <a:pt x="7" y="3"/>
                    </a:cubicBezTo>
                    <a:cubicBezTo>
                      <a:pt x="7" y="3"/>
                      <a:pt x="7" y="3"/>
                      <a:pt x="7" y="3"/>
                    </a:cubicBezTo>
                    <a:cubicBezTo>
                      <a:pt x="5" y="3"/>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67"/>
              <p:cNvSpPr/>
              <p:nvPr/>
            </p:nvSpPr>
            <p:spPr bwMode="auto">
              <a:xfrm>
                <a:off x="5202" y="635"/>
                <a:ext cx="30" cy="30"/>
              </a:xfrm>
              <a:custGeom>
                <a:gdLst>
                  <a:gd name="T0" fmla="*/ 11 w 13"/>
                  <a:gd name="T1" fmla="*/ 0 h 13"/>
                  <a:gd name="T2" fmla="*/ 6 w 13"/>
                  <a:gd name="T3" fmla="*/ 2 h 13"/>
                  <a:gd name="T4" fmla="*/ 1 w 13"/>
                  <a:gd name="T5" fmla="*/ 7 h 13"/>
                  <a:gd name="T6" fmla="*/ 1 w 13"/>
                  <a:gd name="T7" fmla="*/ 12 h 13"/>
                  <a:gd name="T8" fmla="*/ 1 w 13"/>
                  <a:gd name="T9" fmla="*/ 13 h 13"/>
                  <a:gd name="T10" fmla="*/ 1 w 13"/>
                  <a:gd name="T11" fmla="*/ 13 h 13"/>
                  <a:gd name="T12" fmla="*/ 5 w 13"/>
                  <a:gd name="T13" fmla="*/ 11 h 13"/>
                  <a:gd name="T14" fmla="*/ 8 w 13"/>
                  <a:gd name="T15" fmla="*/ 10 h 13"/>
                  <a:gd name="T16" fmla="*/ 9 w 13"/>
                  <a:gd name="T17" fmla="*/ 10 h 13"/>
                  <a:gd name="T18" fmla="*/ 11 w 13"/>
                  <a:gd name="T19" fmla="*/ 4 h 13"/>
                  <a:gd name="T20" fmla="*/ 12 w 13"/>
                  <a:gd name="T21" fmla="*/ 0 h 13"/>
                  <a:gd name="T22" fmla="*/ 11 w 13"/>
                  <a:gd name="T23"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3">
                    <a:moveTo>
                      <a:pt x="11" y="0"/>
                    </a:moveTo>
                    <a:cubicBezTo>
                      <a:pt x="10" y="0"/>
                      <a:pt x="7" y="1"/>
                      <a:pt x="6" y="2"/>
                    </a:cubicBezTo>
                    <a:cubicBezTo>
                      <a:pt x="4" y="3"/>
                      <a:pt x="2" y="4"/>
                      <a:pt x="1" y="7"/>
                    </a:cubicBezTo>
                    <a:cubicBezTo>
                      <a:pt x="0" y="8"/>
                      <a:pt x="0" y="10"/>
                      <a:pt x="1" y="12"/>
                    </a:cubicBezTo>
                    <a:cubicBezTo>
                      <a:pt x="1" y="12"/>
                      <a:pt x="0" y="13"/>
                      <a:pt x="1" y="13"/>
                    </a:cubicBezTo>
                    <a:cubicBezTo>
                      <a:pt x="1" y="13"/>
                      <a:pt x="1" y="13"/>
                      <a:pt x="1" y="13"/>
                    </a:cubicBezTo>
                    <a:cubicBezTo>
                      <a:pt x="2" y="13"/>
                      <a:pt x="4" y="12"/>
                      <a:pt x="5" y="11"/>
                    </a:cubicBezTo>
                    <a:cubicBezTo>
                      <a:pt x="6" y="10"/>
                      <a:pt x="7" y="10"/>
                      <a:pt x="8" y="10"/>
                    </a:cubicBezTo>
                    <a:cubicBezTo>
                      <a:pt x="8" y="10"/>
                      <a:pt x="9" y="10"/>
                      <a:pt x="9" y="10"/>
                    </a:cubicBezTo>
                    <a:cubicBezTo>
                      <a:pt x="9" y="7"/>
                      <a:pt x="10" y="7"/>
                      <a:pt x="11" y="4"/>
                    </a:cubicBezTo>
                    <a:cubicBezTo>
                      <a:pt x="12" y="3"/>
                      <a:pt x="13" y="1"/>
                      <a:pt x="12" y="0"/>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68"/>
              <p:cNvSpPr/>
              <p:nvPr/>
            </p:nvSpPr>
            <p:spPr bwMode="auto">
              <a:xfrm>
                <a:off x="5034" y="533"/>
                <a:ext cx="16" cy="21"/>
              </a:xfrm>
              <a:custGeom>
                <a:gdLst>
                  <a:gd name="T0" fmla="*/ 2 w 7"/>
                  <a:gd name="T1" fmla="*/ 0 h 9"/>
                  <a:gd name="T2" fmla="*/ 0 w 7"/>
                  <a:gd name="T3" fmla="*/ 1 h 9"/>
                  <a:gd name="T4" fmla="*/ 7 w 7"/>
                  <a:gd name="T5" fmla="*/ 9 h 9"/>
                  <a:gd name="T6" fmla="*/ 6 w 7"/>
                  <a:gd name="T7" fmla="*/ 4 h 9"/>
                  <a:gd name="T8" fmla="*/ 4 w 7"/>
                  <a:gd name="T9" fmla="*/ 3 h 9"/>
                  <a:gd name="T10" fmla="*/ 2 w 7"/>
                  <a:gd name="T11" fmla="*/ 0 h 9"/>
                </a:gdLst>
                <a:cxnLst>
                  <a:cxn ang="0">
                    <a:pos x="T0" y="T1"/>
                  </a:cxn>
                  <a:cxn ang="0">
                    <a:pos x="T2" y="T3"/>
                  </a:cxn>
                  <a:cxn ang="0">
                    <a:pos x="T4" y="T5"/>
                  </a:cxn>
                  <a:cxn ang="0">
                    <a:pos x="T6" y="T7"/>
                  </a:cxn>
                  <a:cxn ang="0">
                    <a:pos x="T8" y="T9"/>
                  </a:cxn>
                  <a:cxn ang="0">
                    <a:pos x="T10" y="T11"/>
                  </a:cxn>
                </a:cxnLst>
                <a:rect l="0" t="0" r="r" b="b"/>
                <a:pathLst>
                  <a:path w="7" h="9">
                    <a:moveTo>
                      <a:pt x="2" y="0"/>
                    </a:moveTo>
                    <a:cubicBezTo>
                      <a:pt x="2" y="0"/>
                      <a:pt x="1" y="1"/>
                      <a:pt x="0" y="1"/>
                    </a:cubicBezTo>
                    <a:cubicBezTo>
                      <a:pt x="2" y="4"/>
                      <a:pt x="4" y="6"/>
                      <a:pt x="7" y="9"/>
                    </a:cubicBezTo>
                    <a:cubicBezTo>
                      <a:pt x="7" y="7"/>
                      <a:pt x="7" y="5"/>
                      <a:pt x="6" y="4"/>
                    </a:cubicBezTo>
                    <a:cubicBezTo>
                      <a:pt x="6" y="3"/>
                      <a:pt x="6" y="4"/>
                      <a:pt x="4" y="3"/>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69"/>
              <p:cNvSpPr/>
              <p:nvPr/>
            </p:nvSpPr>
            <p:spPr bwMode="auto">
              <a:xfrm>
                <a:off x="4932" y="467"/>
                <a:ext cx="100" cy="71"/>
              </a:xfrm>
              <a:custGeom>
                <a:gdLst>
                  <a:gd name="T0" fmla="*/ 10 w 42"/>
                  <a:gd name="T1" fmla="*/ 0 h 30"/>
                  <a:gd name="T2" fmla="*/ 0 w 42"/>
                  <a:gd name="T3" fmla="*/ 5 h 30"/>
                  <a:gd name="T4" fmla="*/ 4 w 42"/>
                  <a:gd name="T5" fmla="*/ 4 h 30"/>
                  <a:gd name="T6" fmla="*/ 7 w 42"/>
                  <a:gd name="T7" fmla="*/ 5 h 30"/>
                  <a:gd name="T8" fmla="*/ 19 w 42"/>
                  <a:gd name="T9" fmla="*/ 16 h 30"/>
                  <a:gd name="T10" fmla="*/ 22 w 42"/>
                  <a:gd name="T11" fmla="*/ 17 h 30"/>
                  <a:gd name="T12" fmla="*/ 24 w 42"/>
                  <a:gd name="T13" fmla="*/ 17 h 30"/>
                  <a:gd name="T14" fmla="*/ 25 w 42"/>
                  <a:gd name="T15" fmla="*/ 17 h 30"/>
                  <a:gd name="T16" fmla="*/ 27 w 42"/>
                  <a:gd name="T17" fmla="*/ 17 h 30"/>
                  <a:gd name="T18" fmla="*/ 31 w 42"/>
                  <a:gd name="T19" fmla="*/ 23 h 30"/>
                  <a:gd name="T20" fmla="*/ 39 w 42"/>
                  <a:gd name="T21" fmla="*/ 30 h 30"/>
                  <a:gd name="T22" fmla="*/ 41 w 42"/>
                  <a:gd name="T23" fmla="*/ 24 h 30"/>
                  <a:gd name="T24" fmla="*/ 38 w 42"/>
                  <a:gd name="T25" fmla="*/ 24 h 30"/>
                  <a:gd name="T26" fmla="*/ 33 w 42"/>
                  <a:gd name="T27" fmla="*/ 20 h 30"/>
                  <a:gd name="T28" fmla="*/ 32 w 42"/>
                  <a:gd name="T29" fmla="*/ 17 h 30"/>
                  <a:gd name="T30" fmla="*/ 32 w 42"/>
                  <a:gd name="T31" fmla="*/ 13 h 30"/>
                  <a:gd name="T32" fmla="*/ 30 w 42"/>
                  <a:gd name="T33" fmla="*/ 12 h 30"/>
                  <a:gd name="T34" fmla="*/ 29 w 42"/>
                  <a:gd name="T35" fmla="*/ 10 h 30"/>
                  <a:gd name="T36" fmla="*/ 28 w 42"/>
                  <a:gd name="T37" fmla="*/ 10 h 30"/>
                  <a:gd name="T38" fmla="*/ 26 w 42"/>
                  <a:gd name="T39" fmla="*/ 10 h 30"/>
                  <a:gd name="T40" fmla="*/ 25 w 42"/>
                  <a:gd name="T41" fmla="*/ 10 h 30"/>
                  <a:gd name="T42" fmla="*/ 24 w 42"/>
                  <a:gd name="T43" fmla="*/ 10 h 30"/>
                  <a:gd name="T44" fmla="*/ 20 w 42"/>
                  <a:gd name="T45" fmla="*/ 7 h 30"/>
                  <a:gd name="T46" fmla="*/ 16 w 42"/>
                  <a:gd name="T47" fmla="*/ 6 h 30"/>
                  <a:gd name="T48" fmla="*/ 10 w 42"/>
                  <a:gd name="T49" fmla="*/ 0 h 30"/>
                  <a:gd name="T50" fmla="*/ 10 w 42"/>
                  <a:gd name="T51"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 h="30">
                    <a:moveTo>
                      <a:pt x="10" y="0"/>
                    </a:moveTo>
                    <a:cubicBezTo>
                      <a:pt x="6" y="0"/>
                      <a:pt x="3" y="3"/>
                      <a:pt x="0" y="5"/>
                    </a:cubicBezTo>
                    <a:cubicBezTo>
                      <a:pt x="1" y="5"/>
                      <a:pt x="3" y="4"/>
                      <a:pt x="4" y="4"/>
                    </a:cubicBezTo>
                    <a:cubicBezTo>
                      <a:pt x="5" y="4"/>
                      <a:pt x="6" y="5"/>
                      <a:pt x="7" y="5"/>
                    </a:cubicBezTo>
                    <a:cubicBezTo>
                      <a:pt x="12" y="7"/>
                      <a:pt x="14" y="14"/>
                      <a:pt x="19" y="16"/>
                    </a:cubicBezTo>
                    <a:cubicBezTo>
                      <a:pt x="20" y="17"/>
                      <a:pt x="21" y="17"/>
                      <a:pt x="22" y="17"/>
                    </a:cubicBezTo>
                    <a:cubicBezTo>
                      <a:pt x="23" y="17"/>
                      <a:pt x="23" y="17"/>
                      <a:pt x="24" y="17"/>
                    </a:cubicBezTo>
                    <a:cubicBezTo>
                      <a:pt x="24" y="17"/>
                      <a:pt x="25" y="17"/>
                      <a:pt x="25" y="17"/>
                    </a:cubicBezTo>
                    <a:cubicBezTo>
                      <a:pt x="26" y="17"/>
                      <a:pt x="26" y="17"/>
                      <a:pt x="27" y="17"/>
                    </a:cubicBezTo>
                    <a:cubicBezTo>
                      <a:pt x="29" y="18"/>
                      <a:pt x="30" y="21"/>
                      <a:pt x="31" y="23"/>
                    </a:cubicBezTo>
                    <a:cubicBezTo>
                      <a:pt x="33" y="27"/>
                      <a:pt x="35" y="28"/>
                      <a:pt x="39" y="30"/>
                    </a:cubicBezTo>
                    <a:cubicBezTo>
                      <a:pt x="42" y="27"/>
                      <a:pt x="40" y="27"/>
                      <a:pt x="41" y="24"/>
                    </a:cubicBezTo>
                    <a:cubicBezTo>
                      <a:pt x="40" y="24"/>
                      <a:pt x="39" y="24"/>
                      <a:pt x="38" y="24"/>
                    </a:cubicBezTo>
                    <a:cubicBezTo>
                      <a:pt x="35" y="24"/>
                      <a:pt x="34" y="23"/>
                      <a:pt x="33" y="20"/>
                    </a:cubicBezTo>
                    <a:cubicBezTo>
                      <a:pt x="32" y="19"/>
                      <a:pt x="32" y="18"/>
                      <a:pt x="32" y="17"/>
                    </a:cubicBezTo>
                    <a:cubicBezTo>
                      <a:pt x="32" y="15"/>
                      <a:pt x="32" y="14"/>
                      <a:pt x="32" y="13"/>
                    </a:cubicBezTo>
                    <a:cubicBezTo>
                      <a:pt x="31" y="13"/>
                      <a:pt x="30" y="12"/>
                      <a:pt x="30" y="12"/>
                    </a:cubicBezTo>
                    <a:cubicBezTo>
                      <a:pt x="29" y="11"/>
                      <a:pt x="31" y="11"/>
                      <a:pt x="29" y="10"/>
                    </a:cubicBezTo>
                    <a:cubicBezTo>
                      <a:pt x="29" y="10"/>
                      <a:pt x="28" y="10"/>
                      <a:pt x="28" y="10"/>
                    </a:cubicBezTo>
                    <a:cubicBezTo>
                      <a:pt x="27" y="10"/>
                      <a:pt x="27" y="10"/>
                      <a:pt x="26" y="10"/>
                    </a:cubicBezTo>
                    <a:cubicBezTo>
                      <a:pt x="26" y="10"/>
                      <a:pt x="25" y="10"/>
                      <a:pt x="25" y="10"/>
                    </a:cubicBezTo>
                    <a:cubicBezTo>
                      <a:pt x="24" y="10"/>
                      <a:pt x="24" y="10"/>
                      <a:pt x="24" y="10"/>
                    </a:cubicBezTo>
                    <a:cubicBezTo>
                      <a:pt x="22" y="9"/>
                      <a:pt x="21" y="8"/>
                      <a:pt x="20" y="7"/>
                    </a:cubicBezTo>
                    <a:cubicBezTo>
                      <a:pt x="18" y="7"/>
                      <a:pt x="17" y="7"/>
                      <a:pt x="16" y="6"/>
                    </a:cubicBezTo>
                    <a:cubicBezTo>
                      <a:pt x="13" y="4"/>
                      <a:pt x="13" y="0"/>
                      <a:pt x="10"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70"/>
              <p:cNvSpPr/>
              <p:nvPr/>
            </p:nvSpPr>
            <p:spPr bwMode="auto">
              <a:xfrm>
                <a:off x="5140" y="547"/>
                <a:ext cx="29" cy="10"/>
              </a:xfrm>
              <a:custGeom>
                <a:gdLst>
                  <a:gd name="T0" fmla="*/ 5 w 12"/>
                  <a:gd name="T1" fmla="*/ 0 h 4"/>
                  <a:gd name="T2" fmla="*/ 0 w 12"/>
                  <a:gd name="T3" fmla="*/ 1 h 4"/>
                  <a:gd name="T4" fmla="*/ 5 w 12"/>
                  <a:gd name="T5" fmla="*/ 4 h 4"/>
                  <a:gd name="T6" fmla="*/ 11 w 12"/>
                  <a:gd name="T7" fmla="*/ 0 h 4"/>
                  <a:gd name="T8" fmla="*/ 5 w 12"/>
                  <a:gd name="T9" fmla="*/ 0 h 4"/>
                </a:gdLst>
                <a:cxnLst>
                  <a:cxn ang="0">
                    <a:pos x="T0" y="T1"/>
                  </a:cxn>
                  <a:cxn ang="0">
                    <a:pos x="T2" y="T3"/>
                  </a:cxn>
                  <a:cxn ang="0">
                    <a:pos x="T4" y="T5"/>
                  </a:cxn>
                  <a:cxn ang="0">
                    <a:pos x="T6" y="T7"/>
                  </a:cxn>
                  <a:cxn ang="0">
                    <a:pos x="T8" y="T9"/>
                  </a:cxn>
                </a:cxnLst>
                <a:rect l="0" t="0" r="r" b="b"/>
                <a:pathLst>
                  <a:path w="12" h="4">
                    <a:moveTo>
                      <a:pt x="5" y="0"/>
                    </a:moveTo>
                    <a:cubicBezTo>
                      <a:pt x="3" y="0"/>
                      <a:pt x="2" y="0"/>
                      <a:pt x="0" y="1"/>
                    </a:cubicBezTo>
                    <a:cubicBezTo>
                      <a:pt x="2" y="2"/>
                      <a:pt x="4" y="3"/>
                      <a:pt x="5" y="4"/>
                    </a:cubicBezTo>
                    <a:cubicBezTo>
                      <a:pt x="7" y="3"/>
                      <a:pt x="12" y="3"/>
                      <a:pt x="11"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71"/>
              <p:cNvSpPr/>
              <p:nvPr/>
            </p:nvSpPr>
            <p:spPr bwMode="auto">
              <a:xfrm>
                <a:off x="4965" y="550"/>
                <a:ext cx="7" cy="4"/>
              </a:xfrm>
              <a:custGeom>
                <a:gdLst>
                  <a:gd name="T0" fmla="*/ 2 w 3"/>
                  <a:gd name="T1" fmla="*/ 0 h 2"/>
                  <a:gd name="T2" fmla="*/ 0 w 3"/>
                  <a:gd name="T3" fmla="*/ 0 h 2"/>
                  <a:gd name="T4" fmla="*/ 1 w 3"/>
                  <a:gd name="T5" fmla="*/ 2 h 2"/>
                  <a:gd name="T6" fmla="*/ 3 w 3"/>
                  <a:gd name="T7" fmla="*/ 0 h 2"/>
                  <a:gd name="T8" fmla="*/ 2 w 3"/>
                  <a:gd name="T9" fmla="*/ 0 h 2"/>
                </a:gdLst>
                <a:cxnLst>
                  <a:cxn ang="0">
                    <a:pos x="T0" y="T1"/>
                  </a:cxn>
                  <a:cxn ang="0">
                    <a:pos x="T2" y="T3"/>
                  </a:cxn>
                  <a:cxn ang="0">
                    <a:pos x="T4" y="T5"/>
                  </a:cxn>
                  <a:cxn ang="0">
                    <a:pos x="T6" y="T7"/>
                  </a:cxn>
                  <a:cxn ang="0">
                    <a:pos x="T8" y="T9"/>
                  </a:cxn>
                </a:cxnLst>
                <a:rect l="0" t="0" r="r" b="b"/>
                <a:pathLst>
                  <a:path w="3" h="2">
                    <a:moveTo>
                      <a:pt x="2" y="0"/>
                    </a:moveTo>
                    <a:cubicBezTo>
                      <a:pt x="1" y="0"/>
                      <a:pt x="1" y="0"/>
                      <a:pt x="0" y="0"/>
                    </a:cubicBezTo>
                    <a:cubicBezTo>
                      <a:pt x="0" y="1"/>
                      <a:pt x="0" y="2"/>
                      <a:pt x="1" y="2"/>
                    </a:cubicBezTo>
                    <a:cubicBezTo>
                      <a:pt x="2" y="1"/>
                      <a:pt x="2" y="1"/>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72"/>
              <p:cNvSpPr/>
              <p:nvPr/>
            </p:nvSpPr>
            <p:spPr bwMode="auto">
              <a:xfrm>
                <a:off x="5166" y="673"/>
                <a:ext cx="10" cy="26"/>
              </a:xfrm>
              <a:custGeom>
                <a:gdLst>
                  <a:gd name="T0" fmla="*/ 4 w 4"/>
                  <a:gd name="T1" fmla="*/ 0 h 11"/>
                  <a:gd name="T2" fmla="*/ 2 w 4"/>
                  <a:gd name="T3" fmla="*/ 11 h 11"/>
                  <a:gd name="T4" fmla="*/ 4 w 4"/>
                  <a:gd name="T5" fmla="*/ 7 h 11"/>
                  <a:gd name="T6" fmla="*/ 2 w 4"/>
                  <a:gd name="T7" fmla="*/ 5 h 11"/>
                  <a:gd name="T8" fmla="*/ 4 w 4"/>
                  <a:gd name="T9" fmla="*/ 0 h 11"/>
                </a:gdLst>
                <a:cxnLst>
                  <a:cxn ang="0">
                    <a:pos x="T0" y="T1"/>
                  </a:cxn>
                  <a:cxn ang="0">
                    <a:pos x="T2" y="T3"/>
                  </a:cxn>
                  <a:cxn ang="0">
                    <a:pos x="T4" y="T5"/>
                  </a:cxn>
                  <a:cxn ang="0">
                    <a:pos x="T6" y="T7"/>
                  </a:cxn>
                  <a:cxn ang="0">
                    <a:pos x="T8" y="T9"/>
                  </a:cxn>
                </a:cxnLst>
                <a:rect l="0" t="0" r="r" b="b"/>
                <a:pathLst>
                  <a:path w="4" h="11">
                    <a:moveTo>
                      <a:pt x="4" y="0"/>
                    </a:moveTo>
                    <a:cubicBezTo>
                      <a:pt x="0" y="5"/>
                      <a:pt x="0" y="6"/>
                      <a:pt x="2" y="11"/>
                    </a:cubicBezTo>
                    <a:cubicBezTo>
                      <a:pt x="3" y="8"/>
                      <a:pt x="4" y="10"/>
                      <a:pt x="4" y="7"/>
                    </a:cubicBezTo>
                    <a:cubicBezTo>
                      <a:pt x="3" y="7"/>
                      <a:pt x="2" y="6"/>
                      <a:pt x="2" y="5"/>
                    </a:cubicBezTo>
                    <a:cubicBezTo>
                      <a:pt x="2" y="4"/>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73"/>
              <p:cNvSpPr/>
              <p:nvPr/>
            </p:nvSpPr>
            <p:spPr bwMode="auto">
              <a:xfrm>
                <a:off x="5015" y="613"/>
                <a:ext cx="14" cy="8"/>
              </a:xfrm>
              <a:custGeom>
                <a:gdLst>
                  <a:gd name="T0" fmla="*/ 5 w 6"/>
                  <a:gd name="T1" fmla="*/ 0 h 3"/>
                  <a:gd name="T2" fmla="*/ 0 w 6"/>
                  <a:gd name="T3" fmla="*/ 3 h 3"/>
                  <a:gd name="T4" fmla="*/ 5 w 6"/>
                  <a:gd name="T5" fmla="*/ 0 h 3"/>
                </a:gdLst>
                <a:cxnLst>
                  <a:cxn ang="0">
                    <a:pos x="T0" y="T1"/>
                  </a:cxn>
                  <a:cxn ang="0">
                    <a:pos x="T2" y="T3"/>
                  </a:cxn>
                  <a:cxn ang="0">
                    <a:pos x="T4" y="T5"/>
                  </a:cxn>
                </a:cxnLst>
                <a:rect l="0" t="0" r="r" b="b"/>
                <a:pathLst>
                  <a:path w="6" h="3">
                    <a:moveTo>
                      <a:pt x="5" y="0"/>
                    </a:moveTo>
                    <a:cubicBezTo>
                      <a:pt x="3" y="1"/>
                      <a:pt x="1" y="2"/>
                      <a:pt x="0" y="3"/>
                    </a:cubicBezTo>
                    <a:cubicBezTo>
                      <a:pt x="2" y="2"/>
                      <a:pt x="6"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74"/>
              <p:cNvSpPr/>
              <p:nvPr/>
            </p:nvSpPr>
            <p:spPr bwMode="auto">
              <a:xfrm>
                <a:off x="4932" y="637"/>
                <a:ext cx="10" cy="17"/>
              </a:xfrm>
              <a:custGeom>
                <a:gdLst>
                  <a:gd name="T0" fmla="*/ 2 w 4"/>
                  <a:gd name="T1" fmla="*/ 0 h 7"/>
                  <a:gd name="T2" fmla="*/ 4 w 4"/>
                  <a:gd name="T3" fmla="*/ 7 h 7"/>
                  <a:gd name="T4" fmla="*/ 2 w 4"/>
                  <a:gd name="T5" fmla="*/ 0 h 7"/>
                </a:gdLst>
                <a:cxnLst>
                  <a:cxn ang="0">
                    <a:pos x="T0" y="T1"/>
                  </a:cxn>
                  <a:cxn ang="0">
                    <a:pos x="T2" y="T3"/>
                  </a:cxn>
                  <a:cxn ang="0">
                    <a:pos x="T4" y="T5"/>
                  </a:cxn>
                </a:cxnLst>
                <a:rect l="0" t="0" r="r" b="b"/>
                <a:pathLst>
                  <a:path w="4" h="7">
                    <a:moveTo>
                      <a:pt x="2" y="0"/>
                    </a:moveTo>
                    <a:cubicBezTo>
                      <a:pt x="1" y="3"/>
                      <a:pt x="0" y="6"/>
                      <a:pt x="4" y="7"/>
                    </a:cubicBezTo>
                    <a:cubicBezTo>
                      <a:pt x="4"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75"/>
              <p:cNvSpPr/>
              <p:nvPr/>
            </p:nvSpPr>
            <p:spPr bwMode="auto">
              <a:xfrm>
                <a:off x="4807" y="538"/>
                <a:ext cx="21" cy="19"/>
              </a:xfrm>
              <a:custGeom>
                <a:gdLst>
                  <a:gd name="T0" fmla="*/ 3 w 9"/>
                  <a:gd name="T1" fmla="*/ 0 h 8"/>
                  <a:gd name="T2" fmla="*/ 5 w 9"/>
                  <a:gd name="T3" fmla="*/ 8 h 8"/>
                  <a:gd name="T4" fmla="*/ 8 w 9"/>
                  <a:gd name="T5" fmla="*/ 6 h 8"/>
                  <a:gd name="T6" fmla="*/ 9 w 9"/>
                  <a:gd name="T7" fmla="*/ 6 h 8"/>
                  <a:gd name="T8" fmla="*/ 3 w 9"/>
                  <a:gd name="T9" fmla="*/ 2 h 8"/>
                  <a:gd name="T10" fmla="*/ 3 w 9"/>
                  <a:gd name="T11" fmla="*/ 0 h 8"/>
                </a:gdLst>
                <a:cxnLst>
                  <a:cxn ang="0">
                    <a:pos x="T0" y="T1"/>
                  </a:cxn>
                  <a:cxn ang="0">
                    <a:pos x="T2" y="T3"/>
                  </a:cxn>
                  <a:cxn ang="0">
                    <a:pos x="T4" y="T5"/>
                  </a:cxn>
                  <a:cxn ang="0">
                    <a:pos x="T6" y="T7"/>
                  </a:cxn>
                  <a:cxn ang="0">
                    <a:pos x="T8" y="T9"/>
                  </a:cxn>
                  <a:cxn ang="0">
                    <a:pos x="T10" y="T11"/>
                  </a:cxn>
                </a:cxnLst>
                <a:rect l="0" t="0" r="r" b="b"/>
                <a:pathLst>
                  <a:path w="9" h="8">
                    <a:moveTo>
                      <a:pt x="3" y="0"/>
                    </a:moveTo>
                    <a:cubicBezTo>
                      <a:pt x="0" y="0"/>
                      <a:pt x="5" y="7"/>
                      <a:pt x="5" y="8"/>
                    </a:cubicBezTo>
                    <a:cubicBezTo>
                      <a:pt x="6" y="6"/>
                      <a:pt x="7" y="6"/>
                      <a:pt x="8" y="6"/>
                    </a:cubicBezTo>
                    <a:cubicBezTo>
                      <a:pt x="8" y="6"/>
                      <a:pt x="9" y="6"/>
                      <a:pt x="9" y="6"/>
                    </a:cubicBezTo>
                    <a:cubicBezTo>
                      <a:pt x="7" y="4"/>
                      <a:pt x="6" y="4"/>
                      <a:pt x="3" y="2"/>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76"/>
              <p:cNvSpPr/>
              <p:nvPr/>
            </p:nvSpPr>
            <p:spPr bwMode="auto">
              <a:xfrm>
                <a:off x="5022" y="351"/>
                <a:ext cx="21" cy="14"/>
              </a:xfrm>
              <a:custGeom>
                <a:gdLst>
                  <a:gd name="T0" fmla="*/ 5 w 9"/>
                  <a:gd name="T1" fmla="*/ 0 h 6"/>
                  <a:gd name="T2" fmla="*/ 3 w 9"/>
                  <a:gd name="T3" fmla="*/ 1 h 6"/>
                  <a:gd name="T4" fmla="*/ 4 w 9"/>
                  <a:gd name="T5" fmla="*/ 6 h 6"/>
                  <a:gd name="T6" fmla="*/ 7 w 9"/>
                  <a:gd name="T7" fmla="*/ 2 h 6"/>
                  <a:gd name="T8" fmla="*/ 5 w 9"/>
                  <a:gd name="T9" fmla="*/ 0 h 6"/>
                </a:gdLst>
                <a:cxnLst>
                  <a:cxn ang="0">
                    <a:pos x="T0" y="T1"/>
                  </a:cxn>
                  <a:cxn ang="0">
                    <a:pos x="T2" y="T3"/>
                  </a:cxn>
                  <a:cxn ang="0">
                    <a:pos x="T4" y="T5"/>
                  </a:cxn>
                  <a:cxn ang="0">
                    <a:pos x="T6" y="T7"/>
                  </a:cxn>
                  <a:cxn ang="0">
                    <a:pos x="T8" y="T9"/>
                  </a:cxn>
                </a:cxnLst>
                <a:rect l="0" t="0" r="r" b="b"/>
                <a:pathLst>
                  <a:path w="9" h="6">
                    <a:moveTo>
                      <a:pt x="5" y="0"/>
                    </a:moveTo>
                    <a:cubicBezTo>
                      <a:pt x="4" y="0"/>
                      <a:pt x="3" y="1"/>
                      <a:pt x="3" y="1"/>
                    </a:cubicBezTo>
                    <a:cubicBezTo>
                      <a:pt x="0" y="3"/>
                      <a:pt x="2" y="4"/>
                      <a:pt x="4" y="6"/>
                    </a:cubicBezTo>
                    <a:cubicBezTo>
                      <a:pt x="6" y="5"/>
                      <a:pt x="9" y="4"/>
                      <a:pt x="7" y="2"/>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77"/>
              <p:cNvSpPr/>
              <p:nvPr/>
            </p:nvSpPr>
            <p:spPr bwMode="auto">
              <a:xfrm>
                <a:off x="5017" y="569"/>
                <a:ext cx="3" cy="4"/>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1" y="1"/>
                      <a:pt x="0" y="1"/>
                      <a:pt x="0"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78"/>
              <p:cNvSpPr/>
              <p:nvPr/>
            </p:nvSpPr>
            <p:spPr bwMode="auto">
              <a:xfrm>
                <a:off x="5157" y="592"/>
                <a:ext cx="9" cy="10"/>
              </a:xfrm>
              <a:custGeom>
                <a:gdLst>
                  <a:gd name="T0" fmla="*/ 0 w 4"/>
                  <a:gd name="T1" fmla="*/ 0 h 4"/>
                  <a:gd name="T2" fmla="*/ 2 w 4"/>
                  <a:gd name="T3" fmla="*/ 4 h 4"/>
                  <a:gd name="T4" fmla="*/ 0 w 4"/>
                  <a:gd name="T5" fmla="*/ 0 h 4"/>
                </a:gdLst>
                <a:cxnLst>
                  <a:cxn ang="0">
                    <a:pos x="T0" y="T1"/>
                  </a:cxn>
                  <a:cxn ang="0">
                    <a:pos x="T2" y="T3"/>
                  </a:cxn>
                  <a:cxn ang="0">
                    <a:pos x="T4" y="T5"/>
                  </a:cxn>
                </a:cxnLst>
                <a:rect l="0" t="0" r="r" b="b"/>
                <a:pathLst>
                  <a:path w="4" h="4">
                    <a:moveTo>
                      <a:pt x="0" y="0"/>
                    </a:moveTo>
                    <a:cubicBezTo>
                      <a:pt x="1" y="2"/>
                      <a:pt x="1" y="3"/>
                      <a:pt x="2" y="4"/>
                    </a:cubicBezTo>
                    <a:cubicBezTo>
                      <a:pt x="4"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79"/>
              <p:cNvSpPr/>
              <p:nvPr/>
            </p:nvSpPr>
            <p:spPr bwMode="auto">
              <a:xfrm>
                <a:off x="5013" y="554"/>
                <a:ext cx="7" cy="10"/>
              </a:xfrm>
              <a:custGeom>
                <a:gdLst>
                  <a:gd name="T0" fmla="*/ 2 w 3"/>
                  <a:gd name="T1" fmla="*/ 0 h 4"/>
                  <a:gd name="T2" fmla="*/ 0 w 3"/>
                  <a:gd name="T3" fmla="*/ 4 h 4"/>
                  <a:gd name="T4" fmla="*/ 2 w 3"/>
                  <a:gd name="T5" fmla="*/ 0 h 4"/>
                </a:gdLst>
                <a:cxnLst>
                  <a:cxn ang="0">
                    <a:pos x="T0" y="T1"/>
                  </a:cxn>
                  <a:cxn ang="0">
                    <a:pos x="T2" y="T3"/>
                  </a:cxn>
                  <a:cxn ang="0">
                    <a:pos x="T4" y="T5"/>
                  </a:cxn>
                </a:cxnLst>
                <a:rect l="0" t="0" r="r" b="b"/>
                <a:pathLst>
                  <a:path w="3" h="4">
                    <a:moveTo>
                      <a:pt x="2" y="0"/>
                    </a:moveTo>
                    <a:cubicBezTo>
                      <a:pt x="1" y="1"/>
                      <a:pt x="1" y="3"/>
                      <a:pt x="0" y="4"/>
                    </a:cubicBezTo>
                    <a:cubicBezTo>
                      <a:pt x="1"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80"/>
              <p:cNvSpPr/>
              <p:nvPr/>
            </p:nvSpPr>
            <p:spPr bwMode="auto">
              <a:xfrm>
                <a:off x="4793" y="505"/>
                <a:ext cx="23" cy="26"/>
              </a:xfrm>
              <a:custGeom>
                <a:gdLst>
                  <a:gd name="T0" fmla="*/ 5 w 10"/>
                  <a:gd name="T1" fmla="*/ 0 h 11"/>
                  <a:gd name="T2" fmla="*/ 3 w 10"/>
                  <a:gd name="T3" fmla="*/ 4 h 11"/>
                  <a:gd name="T4" fmla="*/ 0 w 10"/>
                  <a:gd name="T5" fmla="*/ 7 h 11"/>
                  <a:gd name="T6" fmla="*/ 0 w 10"/>
                  <a:gd name="T7" fmla="*/ 7 h 11"/>
                  <a:gd name="T8" fmla="*/ 1 w 10"/>
                  <a:gd name="T9" fmla="*/ 7 h 11"/>
                  <a:gd name="T10" fmla="*/ 2 w 10"/>
                  <a:gd name="T11" fmla="*/ 7 h 11"/>
                  <a:gd name="T12" fmla="*/ 4 w 10"/>
                  <a:gd name="T13" fmla="*/ 7 h 11"/>
                  <a:gd name="T14" fmla="*/ 3 w 10"/>
                  <a:gd name="T15" fmla="*/ 9 h 11"/>
                  <a:gd name="T16" fmla="*/ 5 w 10"/>
                  <a:gd name="T17" fmla="*/ 9 h 11"/>
                  <a:gd name="T18" fmla="*/ 5 w 10"/>
                  <a:gd name="T19" fmla="*/ 9 h 11"/>
                  <a:gd name="T20" fmla="*/ 5 w 10"/>
                  <a:gd name="T21" fmla="*/ 9 h 11"/>
                  <a:gd name="T22" fmla="*/ 6 w 10"/>
                  <a:gd name="T23" fmla="*/ 9 h 11"/>
                  <a:gd name="T24" fmla="*/ 10 w 10"/>
                  <a:gd name="T25" fmla="*/ 11 h 11"/>
                  <a:gd name="T26" fmla="*/ 10 w 10"/>
                  <a:gd name="T27" fmla="*/ 11 h 11"/>
                  <a:gd name="T28" fmla="*/ 5 w 10"/>
                  <a:gd name="T29"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1">
                    <a:moveTo>
                      <a:pt x="5" y="0"/>
                    </a:moveTo>
                    <a:cubicBezTo>
                      <a:pt x="4" y="1"/>
                      <a:pt x="4" y="2"/>
                      <a:pt x="3" y="4"/>
                    </a:cubicBezTo>
                    <a:cubicBezTo>
                      <a:pt x="1" y="5"/>
                      <a:pt x="0" y="5"/>
                      <a:pt x="0" y="7"/>
                    </a:cubicBezTo>
                    <a:cubicBezTo>
                      <a:pt x="0" y="7"/>
                      <a:pt x="0" y="7"/>
                      <a:pt x="0" y="7"/>
                    </a:cubicBezTo>
                    <a:cubicBezTo>
                      <a:pt x="0" y="7"/>
                      <a:pt x="1" y="7"/>
                      <a:pt x="1" y="7"/>
                    </a:cubicBezTo>
                    <a:cubicBezTo>
                      <a:pt x="2" y="7"/>
                      <a:pt x="2" y="7"/>
                      <a:pt x="2" y="7"/>
                    </a:cubicBezTo>
                    <a:cubicBezTo>
                      <a:pt x="3" y="7"/>
                      <a:pt x="3" y="7"/>
                      <a:pt x="4" y="7"/>
                    </a:cubicBezTo>
                    <a:cubicBezTo>
                      <a:pt x="3" y="9"/>
                      <a:pt x="3" y="9"/>
                      <a:pt x="3" y="9"/>
                    </a:cubicBezTo>
                    <a:cubicBezTo>
                      <a:pt x="4" y="9"/>
                      <a:pt x="4" y="9"/>
                      <a:pt x="5" y="9"/>
                    </a:cubicBezTo>
                    <a:cubicBezTo>
                      <a:pt x="5" y="9"/>
                      <a:pt x="5" y="9"/>
                      <a:pt x="5" y="9"/>
                    </a:cubicBezTo>
                    <a:cubicBezTo>
                      <a:pt x="5" y="9"/>
                      <a:pt x="5" y="9"/>
                      <a:pt x="5" y="9"/>
                    </a:cubicBezTo>
                    <a:cubicBezTo>
                      <a:pt x="6" y="9"/>
                      <a:pt x="6" y="9"/>
                      <a:pt x="6" y="9"/>
                    </a:cubicBezTo>
                    <a:cubicBezTo>
                      <a:pt x="7" y="10"/>
                      <a:pt x="9" y="11"/>
                      <a:pt x="10" y="11"/>
                    </a:cubicBezTo>
                    <a:cubicBezTo>
                      <a:pt x="10" y="11"/>
                      <a:pt x="10" y="11"/>
                      <a:pt x="10" y="11"/>
                    </a:cubicBezTo>
                    <a:cubicBezTo>
                      <a:pt x="9" y="7"/>
                      <a:pt x="7"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81"/>
              <p:cNvSpPr/>
              <p:nvPr/>
            </p:nvSpPr>
            <p:spPr bwMode="auto">
              <a:xfrm>
                <a:off x="5072" y="569"/>
                <a:ext cx="4" cy="2"/>
              </a:xfrm>
              <a:custGeom>
                <a:gdLst>
                  <a:gd name="T0" fmla="*/ 2 w 2"/>
                  <a:gd name="T1" fmla="*/ 0 h 1"/>
                  <a:gd name="T2" fmla="*/ 0 w 2"/>
                  <a:gd name="T3" fmla="*/ 1 h 1"/>
                  <a:gd name="T4" fmla="*/ 2 w 2"/>
                  <a:gd name="T5" fmla="*/ 0 h 1"/>
                </a:gdLst>
                <a:cxnLst>
                  <a:cxn ang="0">
                    <a:pos x="T0" y="T1"/>
                  </a:cxn>
                  <a:cxn ang="0">
                    <a:pos x="T2" y="T3"/>
                  </a:cxn>
                  <a:cxn ang="0">
                    <a:pos x="T4" y="T5"/>
                  </a:cxn>
                </a:cxnLst>
                <a:rect l="0" t="0" r="r" b="b"/>
                <a:pathLst>
                  <a:path w="2" h="1">
                    <a:moveTo>
                      <a:pt x="2" y="0"/>
                    </a:moveTo>
                    <a:cubicBezTo>
                      <a:pt x="1" y="0"/>
                      <a:pt x="1" y="1"/>
                      <a:pt x="0" y="1"/>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82"/>
              <p:cNvSpPr/>
              <p:nvPr/>
            </p:nvSpPr>
            <p:spPr bwMode="auto">
              <a:xfrm>
                <a:off x="5161" y="606"/>
                <a:ext cx="22" cy="10"/>
              </a:xfrm>
              <a:custGeom>
                <a:gdLst>
                  <a:gd name="T0" fmla="*/ 6 w 9"/>
                  <a:gd name="T1" fmla="*/ 0 h 4"/>
                  <a:gd name="T2" fmla="*/ 0 w 9"/>
                  <a:gd name="T3" fmla="*/ 4 h 4"/>
                  <a:gd name="T4" fmla="*/ 9 w 9"/>
                  <a:gd name="T5" fmla="*/ 0 h 4"/>
                  <a:gd name="T6" fmla="*/ 6 w 9"/>
                  <a:gd name="T7" fmla="*/ 0 h 4"/>
                </a:gdLst>
                <a:cxnLst>
                  <a:cxn ang="0">
                    <a:pos x="T0" y="T1"/>
                  </a:cxn>
                  <a:cxn ang="0">
                    <a:pos x="T2" y="T3"/>
                  </a:cxn>
                  <a:cxn ang="0">
                    <a:pos x="T4" y="T5"/>
                  </a:cxn>
                  <a:cxn ang="0">
                    <a:pos x="T6" y="T7"/>
                  </a:cxn>
                </a:cxnLst>
                <a:rect l="0" t="0" r="r" b="b"/>
                <a:pathLst>
                  <a:path w="9" h="4">
                    <a:moveTo>
                      <a:pt x="6" y="0"/>
                    </a:moveTo>
                    <a:cubicBezTo>
                      <a:pt x="3" y="0"/>
                      <a:pt x="2" y="1"/>
                      <a:pt x="0" y="4"/>
                    </a:cubicBezTo>
                    <a:cubicBezTo>
                      <a:pt x="2" y="2"/>
                      <a:pt x="7" y="2"/>
                      <a:pt x="9" y="0"/>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83"/>
              <p:cNvSpPr/>
              <p:nvPr/>
            </p:nvSpPr>
            <p:spPr bwMode="auto">
              <a:xfrm>
                <a:off x="5209" y="621"/>
                <a:ext cx="2"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84"/>
              <p:cNvSpPr/>
              <p:nvPr/>
            </p:nvSpPr>
            <p:spPr bwMode="auto">
              <a:xfrm>
                <a:off x="4805" y="479"/>
                <a:ext cx="11" cy="19"/>
              </a:xfrm>
              <a:custGeom>
                <a:gdLst>
                  <a:gd name="T0" fmla="*/ 3 w 5"/>
                  <a:gd name="T1" fmla="*/ 0 h 8"/>
                  <a:gd name="T2" fmla="*/ 0 w 5"/>
                  <a:gd name="T3" fmla="*/ 8 h 8"/>
                  <a:gd name="T4" fmla="*/ 3 w 5"/>
                  <a:gd name="T5" fmla="*/ 0 h 8"/>
                </a:gdLst>
                <a:cxnLst>
                  <a:cxn ang="0">
                    <a:pos x="T0" y="T1"/>
                  </a:cxn>
                  <a:cxn ang="0">
                    <a:pos x="T2" y="T3"/>
                  </a:cxn>
                  <a:cxn ang="0">
                    <a:pos x="T4" y="T5"/>
                  </a:cxn>
                </a:cxnLst>
                <a:rect l="0" t="0" r="r" b="b"/>
                <a:pathLst>
                  <a:path w="5" h="8">
                    <a:moveTo>
                      <a:pt x="3" y="0"/>
                    </a:moveTo>
                    <a:cubicBezTo>
                      <a:pt x="0" y="2"/>
                      <a:pt x="0" y="5"/>
                      <a:pt x="0" y="8"/>
                    </a:cubicBezTo>
                    <a:cubicBezTo>
                      <a:pt x="5" y="7"/>
                      <a:pt x="4" y="5"/>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85"/>
              <p:cNvSpPr/>
              <p:nvPr/>
            </p:nvSpPr>
            <p:spPr bwMode="auto">
              <a:xfrm>
                <a:off x="5022" y="469"/>
                <a:ext cx="14" cy="17"/>
              </a:xfrm>
              <a:custGeom>
                <a:gdLst>
                  <a:gd name="T0" fmla="*/ 0 w 6"/>
                  <a:gd name="T1" fmla="*/ 0 h 7"/>
                  <a:gd name="T2" fmla="*/ 2 w 6"/>
                  <a:gd name="T3" fmla="*/ 6 h 7"/>
                  <a:gd name="T4" fmla="*/ 4 w 6"/>
                  <a:gd name="T5" fmla="*/ 7 h 7"/>
                  <a:gd name="T6" fmla="*/ 3 w 6"/>
                  <a:gd name="T7" fmla="*/ 4 h 7"/>
                  <a:gd name="T8" fmla="*/ 2 w 6"/>
                  <a:gd name="T9" fmla="*/ 2 h 7"/>
                  <a:gd name="T10" fmla="*/ 0 w 6"/>
                  <a:gd name="T11" fmla="*/ 0 h 7"/>
                </a:gdLst>
                <a:cxnLst>
                  <a:cxn ang="0">
                    <a:pos x="T0" y="T1"/>
                  </a:cxn>
                  <a:cxn ang="0">
                    <a:pos x="T2" y="T3"/>
                  </a:cxn>
                  <a:cxn ang="0">
                    <a:pos x="T4" y="T5"/>
                  </a:cxn>
                  <a:cxn ang="0">
                    <a:pos x="T6" y="T7"/>
                  </a:cxn>
                  <a:cxn ang="0">
                    <a:pos x="T8" y="T9"/>
                  </a:cxn>
                  <a:cxn ang="0">
                    <a:pos x="T10" y="T11"/>
                  </a:cxn>
                </a:cxnLst>
                <a:rect l="0" t="0" r="r" b="b"/>
                <a:pathLst>
                  <a:path w="6" h="7">
                    <a:moveTo>
                      <a:pt x="0" y="0"/>
                    </a:moveTo>
                    <a:cubicBezTo>
                      <a:pt x="1" y="3"/>
                      <a:pt x="2" y="4"/>
                      <a:pt x="2" y="6"/>
                    </a:cubicBezTo>
                    <a:cubicBezTo>
                      <a:pt x="3" y="6"/>
                      <a:pt x="3" y="7"/>
                      <a:pt x="4" y="7"/>
                    </a:cubicBezTo>
                    <a:cubicBezTo>
                      <a:pt x="6" y="7"/>
                      <a:pt x="4" y="5"/>
                      <a:pt x="3" y="4"/>
                    </a:cubicBezTo>
                    <a:cubicBezTo>
                      <a:pt x="2" y="2"/>
                      <a:pt x="2" y="2"/>
                      <a:pt x="2"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86"/>
              <p:cNvSpPr/>
              <p:nvPr/>
            </p:nvSpPr>
            <p:spPr bwMode="auto">
              <a:xfrm>
                <a:off x="5098" y="495"/>
                <a:ext cx="21" cy="29"/>
              </a:xfrm>
              <a:custGeom>
                <a:gdLst>
                  <a:gd name="T0" fmla="*/ 3 w 9"/>
                  <a:gd name="T1" fmla="*/ 0 h 12"/>
                  <a:gd name="T2" fmla="*/ 1 w 9"/>
                  <a:gd name="T3" fmla="*/ 2 h 12"/>
                  <a:gd name="T4" fmla="*/ 4 w 9"/>
                  <a:gd name="T5" fmla="*/ 12 h 12"/>
                  <a:gd name="T6" fmla="*/ 7 w 9"/>
                  <a:gd name="T7" fmla="*/ 3 h 12"/>
                  <a:gd name="T8" fmla="*/ 5 w 9"/>
                  <a:gd name="T9" fmla="*/ 0 h 12"/>
                  <a:gd name="T10" fmla="*/ 3 w 9"/>
                  <a:gd name="T11" fmla="*/ 0 h 12"/>
                </a:gdLst>
                <a:cxnLst>
                  <a:cxn ang="0">
                    <a:pos x="T0" y="T1"/>
                  </a:cxn>
                  <a:cxn ang="0">
                    <a:pos x="T2" y="T3"/>
                  </a:cxn>
                  <a:cxn ang="0">
                    <a:pos x="T4" y="T5"/>
                  </a:cxn>
                  <a:cxn ang="0">
                    <a:pos x="T6" y="T7"/>
                  </a:cxn>
                  <a:cxn ang="0">
                    <a:pos x="T8" y="T9"/>
                  </a:cxn>
                  <a:cxn ang="0">
                    <a:pos x="T10" y="T11"/>
                  </a:cxn>
                </a:cxnLst>
                <a:rect l="0" t="0" r="r" b="b"/>
                <a:pathLst>
                  <a:path w="9" h="12">
                    <a:moveTo>
                      <a:pt x="3" y="0"/>
                    </a:moveTo>
                    <a:cubicBezTo>
                      <a:pt x="2" y="0"/>
                      <a:pt x="1" y="0"/>
                      <a:pt x="1" y="2"/>
                    </a:cubicBezTo>
                    <a:cubicBezTo>
                      <a:pt x="1" y="7"/>
                      <a:pt x="0" y="9"/>
                      <a:pt x="4" y="12"/>
                    </a:cubicBezTo>
                    <a:cubicBezTo>
                      <a:pt x="7" y="10"/>
                      <a:pt x="9" y="6"/>
                      <a:pt x="7" y="3"/>
                    </a:cubicBezTo>
                    <a:cubicBezTo>
                      <a:pt x="9" y="1"/>
                      <a:pt x="7" y="0"/>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87"/>
              <p:cNvSpPr/>
              <p:nvPr/>
            </p:nvSpPr>
            <p:spPr bwMode="auto">
              <a:xfrm>
                <a:off x="4753" y="417"/>
                <a:ext cx="23" cy="19"/>
              </a:xfrm>
              <a:custGeom>
                <a:gdLst>
                  <a:gd name="T0" fmla="*/ 5 w 10"/>
                  <a:gd name="T1" fmla="*/ 0 h 8"/>
                  <a:gd name="T2" fmla="*/ 3 w 10"/>
                  <a:gd name="T3" fmla="*/ 0 h 8"/>
                  <a:gd name="T4" fmla="*/ 2 w 10"/>
                  <a:gd name="T5" fmla="*/ 0 h 8"/>
                  <a:gd name="T6" fmla="*/ 2 w 10"/>
                  <a:gd name="T7" fmla="*/ 0 h 8"/>
                  <a:gd name="T8" fmla="*/ 1 w 10"/>
                  <a:gd name="T9" fmla="*/ 0 h 8"/>
                  <a:gd name="T10" fmla="*/ 1 w 10"/>
                  <a:gd name="T11" fmla="*/ 0 h 8"/>
                  <a:gd name="T12" fmla="*/ 7 w 10"/>
                  <a:gd name="T13" fmla="*/ 8 h 8"/>
                  <a:gd name="T14" fmla="*/ 7 w 10"/>
                  <a:gd name="T15" fmla="*/ 5 h 8"/>
                  <a:gd name="T16" fmla="*/ 6 w 10"/>
                  <a:gd name="T17" fmla="*/ 0 h 8"/>
                  <a:gd name="T18" fmla="*/ 5 w 10"/>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5" y="0"/>
                    </a:moveTo>
                    <a:cubicBezTo>
                      <a:pt x="4" y="0"/>
                      <a:pt x="3" y="0"/>
                      <a:pt x="3" y="0"/>
                    </a:cubicBezTo>
                    <a:cubicBezTo>
                      <a:pt x="3" y="0"/>
                      <a:pt x="2" y="0"/>
                      <a:pt x="2" y="0"/>
                    </a:cubicBezTo>
                    <a:cubicBezTo>
                      <a:pt x="2" y="0"/>
                      <a:pt x="2" y="0"/>
                      <a:pt x="2" y="0"/>
                    </a:cubicBezTo>
                    <a:cubicBezTo>
                      <a:pt x="2" y="0"/>
                      <a:pt x="2" y="0"/>
                      <a:pt x="1" y="0"/>
                    </a:cubicBezTo>
                    <a:cubicBezTo>
                      <a:pt x="1" y="0"/>
                      <a:pt x="1" y="0"/>
                      <a:pt x="1" y="0"/>
                    </a:cubicBezTo>
                    <a:cubicBezTo>
                      <a:pt x="0" y="2"/>
                      <a:pt x="6" y="7"/>
                      <a:pt x="7" y="8"/>
                    </a:cubicBezTo>
                    <a:cubicBezTo>
                      <a:pt x="7" y="7"/>
                      <a:pt x="7" y="6"/>
                      <a:pt x="7" y="5"/>
                    </a:cubicBezTo>
                    <a:cubicBezTo>
                      <a:pt x="2" y="4"/>
                      <a:pt x="10"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88"/>
              <p:cNvSpPr/>
              <p:nvPr/>
            </p:nvSpPr>
            <p:spPr bwMode="auto">
              <a:xfrm>
                <a:off x="5050" y="554"/>
                <a:ext cx="17" cy="10"/>
              </a:xfrm>
              <a:custGeom>
                <a:gdLst>
                  <a:gd name="T0" fmla="*/ 1 w 7"/>
                  <a:gd name="T1" fmla="*/ 0 h 4"/>
                  <a:gd name="T2" fmla="*/ 0 w 7"/>
                  <a:gd name="T3" fmla="*/ 0 h 4"/>
                  <a:gd name="T4" fmla="*/ 5 w 7"/>
                  <a:gd name="T5" fmla="*/ 4 h 4"/>
                  <a:gd name="T6" fmla="*/ 1 w 7"/>
                  <a:gd name="T7" fmla="*/ 0 h 4"/>
                </a:gdLst>
                <a:cxnLst>
                  <a:cxn ang="0">
                    <a:pos x="T0" y="T1"/>
                  </a:cxn>
                  <a:cxn ang="0">
                    <a:pos x="T2" y="T3"/>
                  </a:cxn>
                  <a:cxn ang="0">
                    <a:pos x="T4" y="T5"/>
                  </a:cxn>
                  <a:cxn ang="0">
                    <a:pos x="T6" y="T7"/>
                  </a:cxn>
                </a:cxnLst>
                <a:rect l="0" t="0" r="r" b="b"/>
                <a:pathLst>
                  <a:path w="7" h="4">
                    <a:moveTo>
                      <a:pt x="1" y="0"/>
                    </a:moveTo>
                    <a:cubicBezTo>
                      <a:pt x="0" y="0"/>
                      <a:pt x="0" y="0"/>
                      <a:pt x="0" y="0"/>
                    </a:cubicBezTo>
                    <a:cubicBezTo>
                      <a:pt x="2" y="2"/>
                      <a:pt x="3" y="3"/>
                      <a:pt x="5" y="4"/>
                    </a:cubicBezTo>
                    <a:cubicBezTo>
                      <a:pt x="7"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89"/>
              <p:cNvSpPr/>
              <p:nvPr/>
            </p:nvSpPr>
            <p:spPr bwMode="auto">
              <a:xfrm>
                <a:off x="3580" y="-18"/>
                <a:ext cx="10" cy="5"/>
              </a:xfrm>
              <a:custGeom>
                <a:gdLst>
                  <a:gd name="T0" fmla="*/ 0 w 4"/>
                  <a:gd name="T1" fmla="*/ 0 h 2"/>
                  <a:gd name="T2" fmla="*/ 0 w 4"/>
                  <a:gd name="T3" fmla="*/ 1 h 2"/>
                  <a:gd name="T4" fmla="*/ 4 w 4"/>
                  <a:gd name="T5" fmla="*/ 2 h 2"/>
                  <a:gd name="T6" fmla="*/ 0 w 4"/>
                  <a:gd name="T7" fmla="*/ 0 h 2"/>
                </a:gdLst>
                <a:cxnLst>
                  <a:cxn ang="0">
                    <a:pos x="T0" y="T1"/>
                  </a:cxn>
                  <a:cxn ang="0">
                    <a:pos x="T2" y="T3"/>
                  </a:cxn>
                  <a:cxn ang="0">
                    <a:pos x="T4" y="T5"/>
                  </a:cxn>
                  <a:cxn ang="0">
                    <a:pos x="T6" y="T7"/>
                  </a:cxn>
                </a:cxnLst>
                <a:rect l="0" t="0" r="r" b="b"/>
                <a:pathLst>
                  <a:path w="4" h="2">
                    <a:moveTo>
                      <a:pt x="0" y="0"/>
                    </a:moveTo>
                    <a:cubicBezTo>
                      <a:pt x="0" y="0"/>
                      <a:pt x="0" y="0"/>
                      <a:pt x="0" y="1"/>
                    </a:cubicBezTo>
                    <a:cubicBezTo>
                      <a:pt x="1" y="1"/>
                      <a:pt x="3" y="2"/>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90"/>
              <p:cNvSpPr/>
              <p:nvPr/>
            </p:nvSpPr>
            <p:spPr bwMode="auto">
              <a:xfrm>
                <a:off x="3585" y="-3"/>
                <a:ext cx="12" cy="16"/>
              </a:xfrm>
              <a:custGeom>
                <a:gdLst>
                  <a:gd name="T0" fmla="*/ 0 w 5"/>
                  <a:gd name="T1" fmla="*/ 0 h 7"/>
                  <a:gd name="T2" fmla="*/ 4 w 5"/>
                  <a:gd name="T3" fmla="*/ 7 h 7"/>
                  <a:gd name="T4" fmla="*/ 0 w 5"/>
                  <a:gd name="T5" fmla="*/ 0 h 7"/>
                </a:gdLst>
                <a:cxnLst>
                  <a:cxn ang="0">
                    <a:pos x="T0" y="T1"/>
                  </a:cxn>
                  <a:cxn ang="0">
                    <a:pos x="T2" y="T3"/>
                  </a:cxn>
                  <a:cxn ang="0">
                    <a:pos x="T4" y="T5"/>
                  </a:cxn>
                </a:cxnLst>
                <a:rect l="0" t="0" r="r" b="b"/>
                <a:pathLst>
                  <a:path w="5" h="7">
                    <a:moveTo>
                      <a:pt x="0" y="0"/>
                    </a:moveTo>
                    <a:cubicBezTo>
                      <a:pt x="1" y="2"/>
                      <a:pt x="2" y="4"/>
                      <a:pt x="4" y="7"/>
                    </a:cubicBezTo>
                    <a:cubicBezTo>
                      <a:pt x="5"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91"/>
              <p:cNvSpPr/>
              <p:nvPr/>
            </p:nvSpPr>
            <p:spPr bwMode="auto">
              <a:xfrm>
                <a:off x="4133" y="205"/>
                <a:ext cx="62" cy="108"/>
              </a:xfrm>
              <a:custGeom>
                <a:gdLst>
                  <a:gd name="T0" fmla="*/ 21 w 26"/>
                  <a:gd name="T1" fmla="*/ 0 h 46"/>
                  <a:gd name="T2" fmla="*/ 20 w 26"/>
                  <a:gd name="T3" fmla="*/ 0 h 46"/>
                  <a:gd name="T4" fmla="*/ 17 w 26"/>
                  <a:gd name="T5" fmla="*/ 8 h 46"/>
                  <a:gd name="T6" fmla="*/ 2 w 26"/>
                  <a:gd name="T7" fmla="*/ 17 h 46"/>
                  <a:gd name="T8" fmla="*/ 2 w 26"/>
                  <a:gd name="T9" fmla="*/ 29 h 46"/>
                  <a:gd name="T10" fmla="*/ 6 w 26"/>
                  <a:gd name="T11" fmla="*/ 32 h 46"/>
                  <a:gd name="T12" fmla="*/ 4 w 26"/>
                  <a:gd name="T13" fmla="*/ 35 h 46"/>
                  <a:gd name="T14" fmla="*/ 8 w 26"/>
                  <a:gd name="T15" fmla="*/ 36 h 46"/>
                  <a:gd name="T16" fmla="*/ 17 w 26"/>
                  <a:gd name="T17" fmla="*/ 46 h 46"/>
                  <a:gd name="T18" fmla="*/ 25 w 26"/>
                  <a:gd name="T19" fmla="*/ 21 h 46"/>
                  <a:gd name="T20" fmla="*/ 24 w 26"/>
                  <a:gd name="T21" fmla="*/ 10 h 46"/>
                  <a:gd name="T22" fmla="*/ 21 w 26"/>
                  <a:gd name="T23" fmla="*/ 0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6">
                    <a:moveTo>
                      <a:pt x="21" y="0"/>
                    </a:moveTo>
                    <a:cubicBezTo>
                      <a:pt x="20" y="0"/>
                      <a:pt x="20" y="0"/>
                      <a:pt x="20" y="0"/>
                    </a:cubicBezTo>
                    <a:cubicBezTo>
                      <a:pt x="20" y="3"/>
                      <a:pt x="21" y="8"/>
                      <a:pt x="17" y="8"/>
                    </a:cubicBezTo>
                    <a:cubicBezTo>
                      <a:pt x="11" y="8"/>
                      <a:pt x="7" y="14"/>
                      <a:pt x="2" y="17"/>
                    </a:cubicBezTo>
                    <a:cubicBezTo>
                      <a:pt x="0" y="19"/>
                      <a:pt x="5" y="27"/>
                      <a:pt x="2" y="29"/>
                    </a:cubicBezTo>
                    <a:cubicBezTo>
                      <a:pt x="5" y="30"/>
                      <a:pt x="7" y="29"/>
                      <a:pt x="6" y="32"/>
                    </a:cubicBezTo>
                    <a:cubicBezTo>
                      <a:pt x="6" y="33"/>
                      <a:pt x="6" y="35"/>
                      <a:pt x="4" y="35"/>
                    </a:cubicBezTo>
                    <a:cubicBezTo>
                      <a:pt x="5" y="36"/>
                      <a:pt x="7" y="36"/>
                      <a:pt x="8" y="36"/>
                    </a:cubicBezTo>
                    <a:cubicBezTo>
                      <a:pt x="5" y="43"/>
                      <a:pt x="12" y="43"/>
                      <a:pt x="17" y="46"/>
                    </a:cubicBezTo>
                    <a:cubicBezTo>
                      <a:pt x="20" y="38"/>
                      <a:pt x="22" y="30"/>
                      <a:pt x="25" y="21"/>
                    </a:cubicBezTo>
                    <a:cubicBezTo>
                      <a:pt x="26" y="19"/>
                      <a:pt x="25" y="13"/>
                      <a:pt x="24" y="10"/>
                    </a:cubicBezTo>
                    <a:cubicBezTo>
                      <a:pt x="24" y="7"/>
                      <a:pt x="25"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92"/>
              <p:cNvSpPr/>
              <p:nvPr/>
            </p:nvSpPr>
            <p:spPr bwMode="auto">
              <a:xfrm>
                <a:off x="6466" y="1261"/>
                <a:ext cx="12" cy="26"/>
              </a:xfrm>
              <a:custGeom>
                <a:gdLst>
                  <a:gd name="T0" fmla="*/ 2 w 5"/>
                  <a:gd name="T1" fmla="*/ 0 h 11"/>
                  <a:gd name="T2" fmla="*/ 1 w 5"/>
                  <a:gd name="T3" fmla="*/ 0 h 11"/>
                  <a:gd name="T4" fmla="*/ 3 w 5"/>
                  <a:gd name="T5" fmla="*/ 11 h 11"/>
                  <a:gd name="T6" fmla="*/ 4 w 5"/>
                  <a:gd name="T7" fmla="*/ 4 h 11"/>
                  <a:gd name="T8" fmla="*/ 4 w 5"/>
                  <a:gd name="T9" fmla="*/ 1 h 11"/>
                  <a:gd name="T10" fmla="*/ 2 w 5"/>
                  <a:gd name="T11" fmla="*/ 0 h 11"/>
                </a:gdLst>
                <a:cxnLst>
                  <a:cxn ang="0">
                    <a:pos x="T0" y="T1"/>
                  </a:cxn>
                  <a:cxn ang="0">
                    <a:pos x="T2" y="T3"/>
                  </a:cxn>
                  <a:cxn ang="0">
                    <a:pos x="T4" y="T5"/>
                  </a:cxn>
                  <a:cxn ang="0">
                    <a:pos x="T6" y="T7"/>
                  </a:cxn>
                  <a:cxn ang="0">
                    <a:pos x="T8" y="T9"/>
                  </a:cxn>
                  <a:cxn ang="0">
                    <a:pos x="T10" y="T11"/>
                  </a:cxn>
                </a:cxnLst>
                <a:rect l="0" t="0" r="r" b="b"/>
                <a:pathLst>
                  <a:path w="5" h="11">
                    <a:moveTo>
                      <a:pt x="2" y="0"/>
                    </a:moveTo>
                    <a:cubicBezTo>
                      <a:pt x="2" y="0"/>
                      <a:pt x="2" y="0"/>
                      <a:pt x="1" y="0"/>
                    </a:cubicBezTo>
                    <a:cubicBezTo>
                      <a:pt x="0" y="1"/>
                      <a:pt x="3" y="10"/>
                      <a:pt x="3" y="11"/>
                    </a:cubicBezTo>
                    <a:cubicBezTo>
                      <a:pt x="4" y="9"/>
                      <a:pt x="5" y="6"/>
                      <a:pt x="4" y="4"/>
                    </a:cubicBezTo>
                    <a:cubicBezTo>
                      <a:pt x="4" y="3"/>
                      <a:pt x="2" y="1"/>
                      <a:pt x="4"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93"/>
              <p:cNvSpPr/>
              <p:nvPr/>
            </p:nvSpPr>
            <p:spPr bwMode="auto">
              <a:xfrm>
                <a:off x="6735" y="1216"/>
                <a:ext cx="57" cy="26"/>
              </a:xfrm>
              <a:custGeom>
                <a:gdLst>
                  <a:gd name="T0" fmla="*/ 20 w 24"/>
                  <a:gd name="T1" fmla="*/ 0 h 11"/>
                  <a:gd name="T2" fmla="*/ 17 w 24"/>
                  <a:gd name="T3" fmla="*/ 1 h 11"/>
                  <a:gd name="T4" fmla="*/ 12 w 24"/>
                  <a:gd name="T5" fmla="*/ 1 h 11"/>
                  <a:gd name="T6" fmla="*/ 12 w 24"/>
                  <a:gd name="T7" fmla="*/ 1 h 11"/>
                  <a:gd name="T8" fmla="*/ 9 w 24"/>
                  <a:gd name="T9" fmla="*/ 5 h 11"/>
                  <a:gd name="T10" fmla="*/ 6 w 24"/>
                  <a:gd name="T11" fmla="*/ 6 h 11"/>
                  <a:gd name="T12" fmla="*/ 0 w 24"/>
                  <a:gd name="T13" fmla="*/ 11 h 11"/>
                  <a:gd name="T14" fmla="*/ 2 w 24"/>
                  <a:gd name="T15" fmla="*/ 10 h 11"/>
                  <a:gd name="T16" fmla="*/ 14 w 24"/>
                  <a:gd name="T17" fmla="*/ 6 h 11"/>
                  <a:gd name="T18" fmla="*/ 14 w 24"/>
                  <a:gd name="T19" fmla="*/ 6 h 11"/>
                  <a:gd name="T20" fmla="*/ 15 w 24"/>
                  <a:gd name="T21" fmla="*/ 7 h 11"/>
                  <a:gd name="T22" fmla="*/ 16 w 24"/>
                  <a:gd name="T23" fmla="*/ 7 h 11"/>
                  <a:gd name="T24" fmla="*/ 17 w 24"/>
                  <a:gd name="T25" fmla="*/ 7 h 11"/>
                  <a:gd name="T26" fmla="*/ 19 w 24"/>
                  <a:gd name="T27" fmla="*/ 5 h 11"/>
                  <a:gd name="T28" fmla="*/ 24 w 24"/>
                  <a:gd name="T29" fmla="*/ 1 h 11"/>
                  <a:gd name="T30" fmla="*/ 21 w 24"/>
                  <a:gd name="T31" fmla="*/ 1 h 11"/>
                  <a:gd name="T32" fmla="*/ 20 w 24"/>
                  <a:gd name="T3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1">
                    <a:moveTo>
                      <a:pt x="20" y="0"/>
                    </a:moveTo>
                    <a:cubicBezTo>
                      <a:pt x="19" y="0"/>
                      <a:pt x="18" y="1"/>
                      <a:pt x="17" y="1"/>
                    </a:cubicBezTo>
                    <a:cubicBezTo>
                      <a:pt x="17" y="1"/>
                      <a:pt x="13" y="1"/>
                      <a:pt x="12" y="1"/>
                    </a:cubicBezTo>
                    <a:cubicBezTo>
                      <a:pt x="12" y="1"/>
                      <a:pt x="12" y="1"/>
                      <a:pt x="12" y="1"/>
                    </a:cubicBezTo>
                    <a:cubicBezTo>
                      <a:pt x="10" y="2"/>
                      <a:pt x="13" y="4"/>
                      <a:pt x="9" y="5"/>
                    </a:cubicBezTo>
                    <a:cubicBezTo>
                      <a:pt x="8" y="6"/>
                      <a:pt x="7" y="6"/>
                      <a:pt x="6" y="6"/>
                    </a:cubicBezTo>
                    <a:cubicBezTo>
                      <a:pt x="4" y="7"/>
                      <a:pt x="1" y="8"/>
                      <a:pt x="0" y="11"/>
                    </a:cubicBezTo>
                    <a:cubicBezTo>
                      <a:pt x="1" y="11"/>
                      <a:pt x="2" y="11"/>
                      <a:pt x="2" y="10"/>
                    </a:cubicBezTo>
                    <a:cubicBezTo>
                      <a:pt x="6" y="9"/>
                      <a:pt x="10" y="7"/>
                      <a:pt x="14" y="6"/>
                    </a:cubicBezTo>
                    <a:cubicBezTo>
                      <a:pt x="14" y="6"/>
                      <a:pt x="14" y="6"/>
                      <a:pt x="14" y="6"/>
                    </a:cubicBezTo>
                    <a:cubicBezTo>
                      <a:pt x="15" y="6"/>
                      <a:pt x="15" y="6"/>
                      <a:pt x="15" y="7"/>
                    </a:cubicBezTo>
                    <a:cubicBezTo>
                      <a:pt x="15" y="7"/>
                      <a:pt x="15" y="7"/>
                      <a:pt x="16" y="7"/>
                    </a:cubicBezTo>
                    <a:cubicBezTo>
                      <a:pt x="16" y="7"/>
                      <a:pt x="16" y="7"/>
                      <a:pt x="17" y="7"/>
                    </a:cubicBezTo>
                    <a:cubicBezTo>
                      <a:pt x="17" y="6"/>
                      <a:pt x="18" y="5"/>
                      <a:pt x="19" y="5"/>
                    </a:cubicBezTo>
                    <a:cubicBezTo>
                      <a:pt x="21" y="3"/>
                      <a:pt x="21" y="1"/>
                      <a:pt x="24" y="1"/>
                    </a:cubicBezTo>
                    <a:cubicBezTo>
                      <a:pt x="23" y="1"/>
                      <a:pt x="22" y="1"/>
                      <a:pt x="21" y="1"/>
                    </a:cubicBezTo>
                    <a:cubicBezTo>
                      <a:pt x="21" y="1"/>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94"/>
              <p:cNvSpPr/>
              <p:nvPr/>
            </p:nvSpPr>
            <p:spPr bwMode="auto">
              <a:xfrm>
                <a:off x="6643" y="1379"/>
                <a:ext cx="26" cy="7"/>
              </a:xfrm>
              <a:custGeom>
                <a:gdLst>
                  <a:gd name="T0" fmla="*/ 5 w 11"/>
                  <a:gd name="T1" fmla="*/ 0 h 3"/>
                  <a:gd name="T2" fmla="*/ 0 w 11"/>
                  <a:gd name="T3" fmla="*/ 2 h 3"/>
                  <a:gd name="T4" fmla="*/ 4 w 11"/>
                  <a:gd name="T5" fmla="*/ 3 h 3"/>
                  <a:gd name="T6" fmla="*/ 6 w 11"/>
                  <a:gd name="T7" fmla="*/ 0 h 3"/>
                  <a:gd name="T8" fmla="*/ 5 w 11"/>
                  <a:gd name="T9" fmla="*/ 0 h 3"/>
                </a:gdLst>
                <a:cxnLst>
                  <a:cxn ang="0">
                    <a:pos x="T0" y="T1"/>
                  </a:cxn>
                  <a:cxn ang="0">
                    <a:pos x="T2" y="T3"/>
                  </a:cxn>
                  <a:cxn ang="0">
                    <a:pos x="T4" y="T5"/>
                  </a:cxn>
                  <a:cxn ang="0">
                    <a:pos x="T6" y="T7"/>
                  </a:cxn>
                  <a:cxn ang="0">
                    <a:pos x="T8" y="T9"/>
                  </a:cxn>
                </a:cxnLst>
                <a:rect l="0" t="0" r="r" b="b"/>
                <a:pathLst>
                  <a:path w="11" h="3">
                    <a:moveTo>
                      <a:pt x="5" y="0"/>
                    </a:moveTo>
                    <a:cubicBezTo>
                      <a:pt x="3" y="0"/>
                      <a:pt x="2" y="1"/>
                      <a:pt x="0" y="2"/>
                    </a:cubicBezTo>
                    <a:cubicBezTo>
                      <a:pt x="1" y="2"/>
                      <a:pt x="2" y="2"/>
                      <a:pt x="4" y="3"/>
                    </a:cubicBezTo>
                    <a:cubicBezTo>
                      <a:pt x="6" y="3"/>
                      <a:pt x="11" y="1"/>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95"/>
              <p:cNvSpPr/>
              <p:nvPr/>
            </p:nvSpPr>
            <p:spPr bwMode="auto">
              <a:xfrm>
                <a:off x="7428" y="1391"/>
                <a:ext cx="9" cy="14"/>
              </a:xfrm>
              <a:custGeom>
                <a:gdLst>
                  <a:gd name="T0" fmla="*/ 0 w 4"/>
                  <a:gd name="T1" fmla="*/ 0 h 6"/>
                  <a:gd name="T2" fmla="*/ 1 w 4"/>
                  <a:gd name="T3" fmla="*/ 1 h 6"/>
                  <a:gd name="T4" fmla="*/ 0 w 4"/>
                  <a:gd name="T5" fmla="*/ 1 h 6"/>
                  <a:gd name="T6" fmla="*/ 0 w 4"/>
                  <a:gd name="T7" fmla="*/ 6 h 6"/>
                  <a:gd name="T8" fmla="*/ 4 w 4"/>
                  <a:gd name="T9" fmla="*/ 2 h 6"/>
                  <a:gd name="T10" fmla="*/ 2 w 4"/>
                  <a:gd name="T11" fmla="*/ 1 h 6"/>
                  <a:gd name="T12" fmla="*/ 4 w 4"/>
                  <a:gd name="T13" fmla="*/ 1 h 6"/>
                  <a:gd name="T14" fmla="*/ 4 w 4"/>
                  <a:gd name="T15" fmla="*/ 1 h 6"/>
                  <a:gd name="T16" fmla="*/ 0 w 4"/>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0" y="0"/>
                    </a:moveTo>
                    <a:cubicBezTo>
                      <a:pt x="1" y="0"/>
                      <a:pt x="1" y="1"/>
                      <a:pt x="1" y="1"/>
                    </a:cubicBezTo>
                    <a:cubicBezTo>
                      <a:pt x="1" y="1"/>
                      <a:pt x="1" y="1"/>
                      <a:pt x="0" y="1"/>
                    </a:cubicBezTo>
                    <a:cubicBezTo>
                      <a:pt x="0" y="2"/>
                      <a:pt x="0" y="4"/>
                      <a:pt x="0" y="6"/>
                    </a:cubicBezTo>
                    <a:cubicBezTo>
                      <a:pt x="4" y="6"/>
                      <a:pt x="1" y="4"/>
                      <a:pt x="4" y="2"/>
                    </a:cubicBezTo>
                    <a:cubicBezTo>
                      <a:pt x="3" y="2"/>
                      <a:pt x="2" y="1"/>
                      <a:pt x="2" y="1"/>
                    </a:cubicBezTo>
                    <a:cubicBezTo>
                      <a:pt x="2" y="1"/>
                      <a:pt x="3" y="1"/>
                      <a:pt x="4" y="1"/>
                    </a:cubicBezTo>
                    <a:cubicBezTo>
                      <a:pt x="4" y="1"/>
                      <a:pt x="4" y="1"/>
                      <a:pt x="4" y="1"/>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96"/>
              <p:cNvSpPr/>
              <p:nvPr/>
            </p:nvSpPr>
            <p:spPr bwMode="auto">
              <a:xfrm>
                <a:off x="7414" y="1389"/>
                <a:ext cx="9" cy="12"/>
              </a:xfrm>
              <a:custGeom>
                <a:gdLst>
                  <a:gd name="T0" fmla="*/ 4 w 4"/>
                  <a:gd name="T1" fmla="*/ 0 h 5"/>
                  <a:gd name="T2" fmla="*/ 0 w 4"/>
                  <a:gd name="T3" fmla="*/ 3 h 5"/>
                  <a:gd name="T4" fmla="*/ 2 w 4"/>
                  <a:gd name="T5" fmla="*/ 5 h 5"/>
                  <a:gd name="T6" fmla="*/ 4 w 4"/>
                  <a:gd name="T7" fmla="*/ 4 h 5"/>
                  <a:gd name="T8" fmla="*/ 4 w 4"/>
                  <a:gd name="T9" fmla="*/ 0 h 5"/>
                </a:gdLst>
                <a:cxnLst>
                  <a:cxn ang="0">
                    <a:pos x="T0" y="T1"/>
                  </a:cxn>
                  <a:cxn ang="0">
                    <a:pos x="T2" y="T3"/>
                  </a:cxn>
                  <a:cxn ang="0">
                    <a:pos x="T4" y="T5"/>
                  </a:cxn>
                  <a:cxn ang="0">
                    <a:pos x="T6" y="T7"/>
                  </a:cxn>
                  <a:cxn ang="0">
                    <a:pos x="T8" y="T9"/>
                  </a:cxn>
                </a:cxnLst>
                <a:rect l="0" t="0" r="r" b="b"/>
                <a:pathLst>
                  <a:path w="4" h="5">
                    <a:moveTo>
                      <a:pt x="4" y="0"/>
                    </a:moveTo>
                    <a:cubicBezTo>
                      <a:pt x="2" y="1"/>
                      <a:pt x="0" y="1"/>
                      <a:pt x="0" y="3"/>
                    </a:cubicBezTo>
                    <a:cubicBezTo>
                      <a:pt x="0" y="4"/>
                      <a:pt x="1" y="5"/>
                      <a:pt x="2" y="5"/>
                    </a:cubicBezTo>
                    <a:cubicBezTo>
                      <a:pt x="2" y="5"/>
                      <a:pt x="3" y="5"/>
                      <a:pt x="4" y="4"/>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97"/>
              <p:cNvSpPr/>
              <p:nvPr/>
            </p:nvSpPr>
            <p:spPr bwMode="auto">
              <a:xfrm>
                <a:off x="7433" y="1394"/>
                <a:ext cx="11" cy="14"/>
              </a:xfrm>
              <a:custGeom>
                <a:gdLst>
                  <a:gd name="T0" fmla="*/ 4 w 5"/>
                  <a:gd name="T1" fmla="*/ 0 h 6"/>
                  <a:gd name="T2" fmla="*/ 5 w 5"/>
                  <a:gd name="T3" fmla="*/ 6 h 6"/>
                  <a:gd name="T4" fmla="*/ 4 w 5"/>
                  <a:gd name="T5" fmla="*/ 0 h 6"/>
                </a:gdLst>
                <a:cxnLst>
                  <a:cxn ang="0">
                    <a:pos x="T0" y="T1"/>
                  </a:cxn>
                  <a:cxn ang="0">
                    <a:pos x="T2" y="T3"/>
                  </a:cxn>
                  <a:cxn ang="0">
                    <a:pos x="T4" y="T5"/>
                  </a:cxn>
                </a:cxnLst>
                <a:rect l="0" t="0" r="r" b="b"/>
                <a:pathLst>
                  <a:path w="5" h="6">
                    <a:moveTo>
                      <a:pt x="4" y="0"/>
                    </a:moveTo>
                    <a:cubicBezTo>
                      <a:pt x="0" y="2"/>
                      <a:pt x="1" y="3"/>
                      <a:pt x="5" y="6"/>
                    </a:cubicBezTo>
                    <a:cubicBezTo>
                      <a:pt x="5" y="3"/>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98"/>
              <p:cNvSpPr/>
              <p:nvPr/>
            </p:nvSpPr>
            <p:spPr bwMode="auto">
              <a:xfrm>
                <a:off x="5455" y="682"/>
                <a:ext cx="130" cy="66"/>
              </a:xfrm>
              <a:custGeom>
                <a:gdLst>
                  <a:gd name="T0" fmla="*/ 55 w 55"/>
                  <a:gd name="T1" fmla="*/ 0 h 28"/>
                  <a:gd name="T2" fmla="*/ 33 w 55"/>
                  <a:gd name="T3" fmla="*/ 9 h 28"/>
                  <a:gd name="T4" fmla="*/ 32 w 55"/>
                  <a:gd name="T5" fmla="*/ 9 h 28"/>
                  <a:gd name="T6" fmla="*/ 28 w 55"/>
                  <a:gd name="T7" fmla="*/ 9 h 28"/>
                  <a:gd name="T8" fmla="*/ 24 w 55"/>
                  <a:gd name="T9" fmla="*/ 9 h 28"/>
                  <a:gd name="T10" fmla="*/ 16 w 55"/>
                  <a:gd name="T11" fmla="*/ 8 h 28"/>
                  <a:gd name="T12" fmla="*/ 14 w 55"/>
                  <a:gd name="T13" fmla="*/ 12 h 28"/>
                  <a:gd name="T14" fmla="*/ 6 w 55"/>
                  <a:gd name="T15" fmla="*/ 15 h 28"/>
                  <a:gd name="T16" fmla="*/ 4 w 55"/>
                  <a:gd name="T17" fmla="*/ 17 h 28"/>
                  <a:gd name="T18" fmla="*/ 4 w 55"/>
                  <a:gd name="T19" fmla="*/ 17 h 28"/>
                  <a:gd name="T20" fmla="*/ 2 w 55"/>
                  <a:gd name="T21" fmla="*/ 16 h 28"/>
                  <a:gd name="T22" fmla="*/ 1 w 55"/>
                  <a:gd name="T23" fmla="*/ 16 h 28"/>
                  <a:gd name="T24" fmla="*/ 1 w 55"/>
                  <a:gd name="T25" fmla="*/ 16 h 28"/>
                  <a:gd name="T26" fmla="*/ 4 w 55"/>
                  <a:gd name="T27" fmla="*/ 25 h 28"/>
                  <a:gd name="T28" fmla="*/ 16 w 55"/>
                  <a:gd name="T29" fmla="*/ 28 h 28"/>
                  <a:gd name="T30" fmla="*/ 17 w 55"/>
                  <a:gd name="T31" fmla="*/ 28 h 28"/>
                  <a:gd name="T32" fmla="*/ 31 w 55"/>
                  <a:gd name="T33" fmla="*/ 23 h 28"/>
                  <a:gd name="T34" fmla="*/ 34 w 55"/>
                  <a:gd name="T35" fmla="*/ 19 h 28"/>
                  <a:gd name="T36" fmla="*/ 39 w 55"/>
                  <a:gd name="T37" fmla="*/ 19 h 28"/>
                  <a:gd name="T38" fmla="*/ 39 w 55"/>
                  <a:gd name="T39" fmla="*/ 19 h 28"/>
                  <a:gd name="T40" fmla="*/ 38 w 55"/>
                  <a:gd name="T41" fmla="*/ 17 h 28"/>
                  <a:gd name="T42" fmla="*/ 41 w 55"/>
                  <a:gd name="T43" fmla="*/ 19 h 28"/>
                  <a:gd name="T44" fmla="*/ 42 w 55"/>
                  <a:gd name="T45" fmla="*/ 19 h 28"/>
                  <a:gd name="T46" fmla="*/ 43 w 55"/>
                  <a:gd name="T47" fmla="*/ 19 h 28"/>
                  <a:gd name="T48" fmla="*/ 40 w 55"/>
                  <a:gd name="T49" fmla="*/ 10 h 28"/>
                  <a:gd name="T50" fmla="*/ 43 w 55"/>
                  <a:gd name="T51" fmla="*/ 9 h 28"/>
                  <a:gd name="T52" fmla="*/ 44 w 55"/>
                  <a:gd name="T53" fmla="*/ 7 h 28"/>
                  <a:gd name="T54" fmla="*/ 48 w 55"/>
                  <a:gd name="T55" fmla="*/ 5 h 28"/>
                  <a:gd name="T56" fmla="*/ 55 w 55"/>
                  <a:gd name="T57"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28">
                    <a:moveTo>
                      <a:pt x="55" y="0"/>
                    </a:moveTo>
                    <a:cubicBezTo>
                      <a:pt x="48" y="3"/>
                      <a:pt x="40" y="6"/>
                      <a:pt x="33" y="9"/>
                    </a:cubicBezTo>
                    <a:cubicBezTo>
                      <a:pt x="33" y="9"/>
                      <a:pt x="33" y="9"/>
                      <a:pt x="32" y="9"/>
                    </a:cubicBezTo>
                    <a:cubicBezTo>
                      <a:pt x="31" y="9"/>
                      <a:pt x="30" y="9"/>
                      <a:pt x="28" y="9"/>
                    </a:cubicBezTo>
                    <a:cubicBezTo>
                      <a:pt x="27" y="9"/>
                      <a:pt x="25" y="9"/>
                      <a:pt x="24" y="9"/>
                    </a:cubicBezTo>
                    <a:cubicBezTo>
                      <a:pt x="21" y="9"/>
                      <a:pt x="18" y="9"/>
                      <a:pt x="16" y="8"/>
                    </a:cubicBezTo>
                    <a:cubicBezTo>
                      <a:pt x="16" y="11"/>
                      <a:pt x="17" y="11"/>
                      <a:pt x="14" y="12"/>
                    </a:cubicBezTo>
                    <a:cubicBezTo>
                      <a:pt x="10" y="13"/>
                      <a:pt x="8" y="13"/>
                      <a:pt x="6" y="15"/>
                    </a:cubicBezTo>
                    <a:cubicBezTo>
                      <a:pt x="5" y="16"/>
                      <a:pt x="5" y="17"/>
                      <a:pt x="4" y="17"/>
                    </a:cubicBezTo>
                    <a:cubicBezTo>
                      <a:pt x="4" y="17"/>
                      <a:pt x="4" y="17"/>
                      <a:pt x="4" y="17"/>
                    </a:cubicBezTo>
                    <a:cubicBezTo>
                      <a:pt x="3" y="17"/>
                      <a:pt x="3" y="17"/>
                      <a:pt x="2" y="16"/>
                    </a:cubicBezTo>
                    <a:cubicBezTo>
                      <a:pt x="1" y="16"/>
                      <a:pt x="1" y="16"/>
                      <a:pt x="1" y="16"/>
                    </a:cubicBezTo>
                    <a:cubicBezTo>
                      <a:pt x="1" y="16"/>
                      <a:pt x="1" y="16"/>
                      <a:pt x="1" y="16"/>
                    </a:cubicBezTo>
                    <a:cubicBezTo>
                      <a:pt x="0" y="16"/>
                      <a:pt x="3" y="24"/>
                      <a:pt x="4" y="25"/>
                    </a:cubicBezTo>
                    <a:cubicBezTo>
                      <a:pt x="7" y="28"/>
                      <a:pt x="12" y="27"/>
                      <a:pt x="16" y="28"/>
                    </a:cubicBezTo>
                    <a:cubicBezTo>
                      <a:pt x="16" y="28"/>
                      <a:pt x="17" y="28"/>
                      <a:pt x="17" y="28"/>
                    </a:cubicBezTo>
                    <a:cubicBezTo>
                      <a:pt x="22" y="28"/>
                      <a:pt x="27" y="25"/>
                      <a:pt x="31" y="23"/>
                    </a:cubicBezTo>
                    <a:cubicBezTo>
                      <a:pt x="33" y="22"/>
                      <a:pt x="33" y="20"/>
                      <a:pt x="34" y="19"/>
                    </a:cubicBezTo>
                    <a:cubicBezTo>
                      <a:pt x="36" y="19"/>
                      <a:pt x="37" y="19"/>
                      <a:pt x="39" y="19"/>
                    </a:cubicBezTo>
                    <a:cubicBezTo>
                      <a:pt x="39" y="19"/>
                      <a:pt x="39" y="19"/>
                      <a:pt x="39" y="19"/>
                    </a:cubicBezTo>
                    <a:cubicBezTo>
                      <a:pt x="40" y="19"/>
                      <a:pt x="38" y="17"/>
                      <a:pt x="38" y="17"/>
                    </a:cubicBezTo>
                    <a:cubicBezTo>
                      <a:pt x="39" y="18"/>
                      <a:pt x="39" y="19"/>
                      <a:pt x="41" y="19"/>
                    </a:cubicBezTo>
                    <a:cubicBezTo>
                      <a:pt x="41" y="19"/>
                      <a:pt x="41" y="19"/>
                      <a:pt x="42" y="19"/>
                    </a:cubicBezTo>
                    <a:cubicBezTo>
                      <a:pt x="43" y="19"/>
                      <a:pt x="43" y="19"/>
                      <a:pt x="43" y="19"/>
                    </a:cubicBezTo>
                    <a:cubicBezTo>
                      <a:pt x="42" y="16"/>
                      <a:pt x="38" y="13"/>
                      <a:pt x="40" y="10"/>
                    </a:cubicBezTo>
                    <a:cubicBezTo>
                      <a:pt x="43" y="9"/>
                      <a:pt x="43" y="9"/>
                      <a:pt x="43" y="9"/>
                    </a:cubicBezTo>
                    <a:cubicBezTo>
                      <a:pt x="43" y="9"/>
                      <a:pt x="44" y="8"/>
                      <a:pt x="44" y="7"/>
                    </a:cubicBezTo>
                    <a:cubicBezTo>
                      <a:pt x="45" y="6"/>
                      <a:pt x="47" y="6"/>
                      <a:pt x="48" y="5"/>
                    </a:cubicBezTo>
                    <a:cubicBezTo>
                      <a:pt x="50" y="4"/>
                      <a:pt x="55" y="1"/>
                      <a:pt x="5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99"/>
              <p:cNvSpPr/>
              <p:nvPr/>
            </p:nvSpPr>
            <p:spPr bwMode="auto">
              <a:xfrm>
                <a:off x="7000" y="-1"/>
                <a:ext cx="24" cy="9"/>
              </a:xfrm>
              <a:custGeom>
                <a:gdLst>
                  <a:gd name="T0" fmla="*/ 7 w 10"/>
                  <a:gd name="T1" fmla="*/ 0 h 4"/>
                  <a:gd name="T2" fmla="*/ 0 w 10"/>
                  <a:gd name="T3" fmla="*/ 2 h 4"/>
                  <a:gd name="T4" fmla="*/ 5 w 10"/>
                  <a:gd name="T5" fmla="*/ 4 h 4"/>
                  <a:gd name="T6" fmla="*/ 7 w 10"/>
                  <a:gd name="T7" fmla="*/ 4 h 4"/>
                  <a:gd name="T8" fmla="*/ 10 w 10"/>
                  <a:gd name="T9" fmla="*/ 1 h 4"/>
                  <a:gd name="T10" fmla="*/ 7 w 10"/>
                  <a:gd name="T11" fmla="*/ 0 h 4"/>
                </a:gdLst>
                <a:cxnLst>
                  <a:cxn ang="0">
                    <a:pos x="T0" y="T1"/>
                  </a:cxn>
                  <a:cxn ang="0">
                    <a:pos x="T2" y="T3"/>
                  </a:cxn>
                  <a:cxn ang="0">
                    <a:pos x="T4" y="T5"/>
                  </a:cxn>
                  <a:cxn ang="0">
                    <a:pos x="T6" y="T7"/>
                  </a:cxn>
                  <a:cxn ang="0">
                    <a:pos x="T8" y="T9"/>
                  </a:cxn>
                  <a:cxn ang="0">
                    <a:pos x="T10" y="T11"/>
                  </a:cxn>
                </a:cxnLst>
                <a:rect l="0" t="0" r="r" b="b"/>
                <a:pathLst>
                  <a:path w="10" h="4">
                    <a:moveTo>
                      <a:pt x="7" y="0"/>
                    </a:moveTo>
                    <a:cubicBezTo>
                      <a:pt x="4" y="0"/>
                      <a:pt x="0" y="1"/>
                      <a:pt x="0" y="2"/>
                    </a:cubicBezTo>
                    <a:cubicBezTo>
                      <a:pt x="0" y="4"/>
                      <a:pt x="3" y="3"/>
                      <a:pt x="5" y="4"/>
                    </a:cubicBezTo>
                    <a:cubicBezTo>
                      <a:pt x="6" y="4"/>
                      <a:pt x="6" y="4"/>
                      <a:pt x="7" y="4"/>
                    </a:cubicBezTo>
                    <a:cubicBezTo>
                      <a:pt x="9" y="4"/>
                      <a:pt x="10" y="3"/>
                      <a:pt x="10" y="1"/>
                    </a:cubicBezTo>
                    <a:cubicBezTo>
                      <a:pt x="10" y="0"/>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Rectangle 100"/>
              <p:cNvSpPr>
                <a:spLocks noChangeArrowheads="1"/>
              </p:cNvSpPr>
              <p:nvPr/>
            </p:nvSpPr>
            <p:spPr bwMode="auto">
              <a:xfrm>
                <a:off x="5509" y="112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01"/>
              <p:cNvSpPr/>
              <p:nvPr/>
            </p:nvSpPr>
            <p:spPr bwMode="auto">
              <a:xfrm flipH="1">
                <a:off x="5509" y="112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02"/>
              <p:cNvSpPr/>
              <p:nvPr/>
            </p:nvSpPr>
            <p:spPr bwMode="auto">
              <a:xfrm>
                <a:off x="6499" y="3294"/>
                <a:ext cx="10" cy="2"/>
              </a:xfrm>
              <a:custGeom>
                <a:gdLst>
                  <a:gd name="T0" fmla="*/ 3 w 4"/>
                  <a:gd name="T1" fmla="*/ 0 h 1"/>
                  <a:gd name="T2" fmla="*/ 0 w 4"/>
                  <a:gd name="T3" fmla="*/ 1 h 1"/>
                  <a:gd name="T4" fmla="*/ 0 w 4"/>
                  <a:gd name="T5" fmla="*/ 1 h 1"/>
                  <a:gd name="T6" fmla="*/ 4 w 4"/>
                  <a:gd name="T7" fmla="*/ 0 h 1"/>
                  <a:gd name="T8" fmla="*/ 3 w 4"/>
                  <a:gd name="T9" fmla="*/ 0 h 1"/>
                </a:gdLst>
                <a:cxnLst>
                  <a:cxn ang="0">
                    <a:pos x="T0" y="T1"/>
                  </a:cxn>
                  <a:cxn ang="0">
                    <a:pos x="T2" y="T3"/>
                  </a:cxn>
                  <a:cxn ang="0">
                    <a:pos x="T4" y="T5"/>
                  </a:cxn>
                  <a:cxn ang="0">
                    <a:pos x="T6" y="T7"/>
                  </a:cxn>
                  <a:cxn ang="0">
                    <a:pos x="T8" y="T9"/>
                  </a:cxn>
                </a:cxnLst>
                <a:rect l="0" t="0" r="r" b="b"/>
                <a:pathLst>
                  <a:path w="4" h="1">
                    <a:moveTo>
                      <a:pt x="3" y="0"/>
                    </a:moveTo>
                    <a:cubicBezTo>
                      <a:pt x="2" y="0"/>
                      <a:pt x="1" y="0"/>
                      <a:pt x="0" y="1"/>
                    </a:cubicBezTo>
                    <a:cubicBezTo>
                      <a:pt x="0" y="1"/>
                      <a:pt x="0" y="1"/>
                      <a:pt x="0" y="1"/>
                    </a:cubicBezTo>
                    <a:cubicBezTo>
                      <a:pt x="1" y="1"/>
                      <a:pt x="2"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03"/>
              <p:cNvSpPr/>
              <p:nvPr/>
            </p:nvSpPr>
            <p:spPr bwMode="auto">
              <a:xfrm>
                <a:off x="5866" y="3181"/>
                <a:ext cx="16" cy="18"/>
              </a:xfrm>
              <a:custGeom>
                <a:gdLst>
                  <a:gd name="T0" fmla="*/ 6 w 7"/>
                  <a:gd name="T1" fmla="*/ 0 h 8"/>
                  <a:gd name="T2" fmla="*/ 0 w 7"/>
                  <a:gd name="T3" fmla="*/ 8 h 8"/>
                  <a:gd name="T4" fmla="*/ 6 w 7"/>
                  <a:gd name="T5" fmla="*/ 0 h 8"/>
                </a:gdLst>
                <a:cxnLst>
                  <a:cxn ang="0">
                    <a:pos x="T0" y="T1"/>
                  </a:cxn>
                  <a:cxn ang="0">
                    <a:pos x="T2" y="T3"/>
                  </a:cxn>
                  <a:cxn ang="0">
                    <a:pos x="T4" y="T5"/>
                  </a:cxn>
                </a:cxnLst>
                <a:rect l="0" t="0" r="r" b="b"/>
                <a:pathLst>
                  <a:path w="7" h="8">
                    <a:moveTo>
                      <a:pt x="6" y="0"/>
                    </a:moveTo>
                    <a:cubicBezTo>
                      <a:pt x="4" y="2"/>
                      <a:pt x="2" y="5"/>
                      <a:pt x="0" y="8"/>
                    </a:cubicBezTo>
                    <a:cubicBezTo>
                      <a:pt x="3" y="6"/>
                      <a:pt x="7"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104"/>
              <p:cNvSpPr/>
              <p:nvPr/>
            </p:nvSpPr>
            <p:spPr bwMode="auto">
              <a:xfrm>
                <a:off x="5840" y="3072"/>
                <a:ext cx="21" cy="40"/>
              </a:xfrm>
              <a:custGeom>
                <a:gdLst>
                  <a:gd name="T0" fmla="*/ 3 w 9"/>
                  <a:gd name="T1" fmla="*/ 0 h 17"/>
                  <a:gd name="T2" fmla="*/ 0 w 9"/>
                  <a:gd name="T3" fmla="*/ 7 h 17"/>
                  <a:gd name="T4" fmla="*/ 9 w 9"/>
                  <a:gd name="T5" fmla="*/ 17 h 17"/>
                  <a:gd name="T6" fmla="*/ 8 w 9"/>
                  <a:gd name="T7" fmla="*/ 11 h 17"/>
                  <a:gd name="T8" fmla="*/ 7 w 9"/>
                  <a:gd name="T9" fmla="*/ 12 h 17"/>
                  <a:gd name="T10" fmla="*/ 3 w 9"/>
                  <a:gd name="T11" fmla="*/ 0 h 17"/>
                </a:gdLst>
                <a:cxnLst>
                  <a:cxn ang="0">
                    <a:pos x="T0" y="T1"/>
                  </a:cxn>
                  <a:cxn ang="0">
                    <a:pos x="T2" y="T3"/>
                  </a:cxn>
                  <a:cxn ang="0">
                    <a:pos x="T4" y="T5"/>
                  </a:cxn>
                  <a:cxn ang="0">
                    <a:pos x="T6" y="T7"/>
                  </a:cxn>
                  <a:cxn ang="0">
                    <a:pos x="T8" y="T9"/>
                  </a:cxn>
                  <a:cxn ang="0">
                    <a:pos x="T10" y="T11"/>
                  </a:cxn>
                </a:cxnLst>
                <a:rect l="0" t="0" r="r" b="b"/>
                <a:pathLst>
                  <a:path w="9" h="17">
                    <a:moveTo>
                      <a:pt x="3" y="0"/>
                    </a:moveTo>
                    <a:cubicBezTo>
                      <a:pt x="3" y="3"/>
                      <a:pt x="0" y="5"/>
                      <a:pt x="0" y="7"/>
                    </a:cubicBezTo>
                    <a:cubicBezTo>
                      <a:pt x="2" y="12"/>
                      <a:pt x="4" y="15"/>
                      <a:pt x="9" y="17"/>
                    </a:cubicBezTo>
                    <a:cubicBezTo>
                      <a:pt x="9" y="15"/>
                      <a:pt x="9" y="12"/>
                      <a:pt x="8" y="11"/>
                    </a:cubicBezTo>
                    <a:cubicBezTo>
                      <a:pt x="8" y="11"/>
                      <a:pt x="7" y="12"/>
                      <a:pt x="7" y="12"/>
                    </a:cubicBezTo>
                    <a:cubicBezTo>
                      <a:pt x="5" y="12"/>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105"/>
              <p:cNvSpPr/>
              <p:nvPr/>
            </p:nvSpPr>
            <p:spPr bwMode="auto">
              <a:xfrm>
                <a:off x="5861" y="3025"/>
                <a:ext cx="17" cy="33"/>
              </a:xfrm>
              <a:custGeom>
                <a:gdLst>
                  <a:gd name="T0" fmla="*/ 3 w 7"/>
                  <a:gd name="T1" fmla="*/ 0 h 14"/>
                  <a:gd name="T2" fmla="*/ 4 w 7"/>
                  <a:gd name="T3" fmla="*/ 8 h 14"/>
                  <a:gd name="T4" fmla="*/ 4 w 7"/>
                  <a:gd name="T5" fmla="*/ 14 h 14"/>
                  <a:gd name="T6" fmla="*/ 7 w 7"/>
                  <a:gd name="T7" fmla="*/ 8 h 14"/>
                  <a:gd name="T8" fmla="*/ 6 w 7"/>
                  <a:gd name="T9" fmla="*/ 5 h 14"/>
                  <a:gd name="T10" fmla="*/ 7 w 7"/>
                  <a:gd name="T11" fmla="*/ 3 h 14"/>
                  <a:gd name="T12" fmla="*/ 6 w 7"/>
                  <a:gd name="T13" fmla="*/ 1 h 14"/>
                  <a:gd name="T14" fmla="*/ 5 w 7"/>
                  <a:gd name="T15" fmla="*/ 1 h 14"/>
                  <a:gd name="T16" fmla="*/ 4 w 7"/>
                  <a:gd name="T17" fmla="*/ 1 h 14"/>
                  <a:gd name="T18" fmla="*/ 3 w 7"/>
                  <a:gd name="T1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3" y="0"/>
                    </a:moveTo>
                    <a:cubicBezTo>
                      <a:pt x="3" y="3"/>
                      <a:pt x="4" y="5"/>
                      <a:pt x="4" y="8"/>
                    </a:cubicBezTo>
                    <a:cubicBezTo>
                      <a:pt x="4" y="10"/>
                      <a:pt x="0" y="14"/>
                      <a:pt x="4" y="14"/>
                    </a:cubicBezTo>
                    <a:cubicBezTo>
                      <a:pt x="5" y="12"/>
                      <a:pt x="6" y="10"/>
                      <a:pt x="7" y="8"/>
                    </a:cubicBezTo>
                    <a:cubicBezTo>
                      <a:pt x="7" y="8"/>
                      <a:pt x="6" y="6"/>
                      <a:pt x="6" y="5"/>
                    </a:cubicBezTo>
                    <a:cubicBezTo>
                      <a:pt x="7" y="4"/>
                      <a:pt x="7" y="4"/>
                      <a:pt x="7" y="3"/>
                    </a:cubicBezTo>
                    <a:cubicBezTo>
                      <a:pt x="7" y="2"/>
                      <a:pt x="7" y="1"/>
                      <a:pt x="6" y="1"/>
                    </a:cubicBezTo>
                    <a:cubicBezTo>
                      <a:pt x="6" y="1"/>
                      <a:pt x="6" y="1"/>
                      <a:pt x="5" y="1"/>
                    </a:cubicBezTo>
                    <a:cubicBezTo>
                      <a:pt x="5" y="1"/>
                      <a:pt x="5" y="1"/>
                      <a:pt x="4" y="1"/>
                    </a:cubicBezTo>
                    <a:cubicBezTo>
                      <a:pt x="4"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106"/>
              <p:cNvSpPr/>
              <p:nvPr/>
            </p:nvSpPr>
            <p:spPr bwMode="auto">
              <a:xfrm>
                <a:off x="5878" y="1864"/>
                <a:ext cx="33" cy="16"/>
              </a:xfrm>
              <a:custGeom>
                <a:gdLst>
                  <a:gd name="T0" fmla="*/ 4 w 14"/>
                  <a:gd name="T1" fmla="*/ 0 h 7"/>
                  <a:gd name="T2" fmla="*/ 3 w 14"/>
                  <a:gd name="T3" fmla="*/ 0 h 7"/>
                  <a:gd name="T4" fmla="*/ 4 w 14"/>
                  <a:gd name="T5" fmla="*/ 5 h 7"/>
                  <a:gd name="T6" fmla="*/ 2 w 14"/>
                  <a:gd name="T7" fmla="*/ 5 h 7"/>
                  <a:gd name="T8" fmla="*/ 10 w 14"/>
                  <a:gd name="T9" fmla="*/ 7 h 7"/>
                  <a:gd name="T10" fmla="*/ 11 w 14"/>
                  <a:gd name="T11" fmla="*/ 7 h 7"/>
                  <a:gd name="T12" fmla="*/ 10 w 14"/>
                  <a:gd name="T13" fmla="*/ 4 h 7"/>
                  <a:gd name="T14" fmla="*/ 10 w 14"/>
                  <a:gd name="T15" fmla="*/ 4 h 7"/>
                  <a:gd name="T16" fmla="*/ 9 w 14"/>
                  <a:gd name="T17" fmla="*/ 5 h 7"/>
                  <a:gd name="T18" fmla="*/ 7 w 14"/>
                  <a:gd name="T19" fmla="*/ 5 h 7"/>
                  <a:gd name="T20" fmla="*/ 7 w 14"/>
                  <a:gd name="T21" fmla="*/ 5 h 7"/>
                  <a:gd name="T22" fmla="*/ 6 w 14"/>
                  <a:gd name="T23" fmla="*/ 2 h 7"/>
                  <a:gd name="T24" fmla="*/ 6 w 14"/>
                  <a:gd name="T25" fmla="*/ 2 h 7"/>
                  <a:gd name="T26" fmla="*/ 4 w 14"/>
                  <a:gd name="T2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7">
                    <a:moveTo>
                      <a:pt x="4" y="0"/>
                    </a:moveTo>
                    <a:cubicBezTo>
                      <a:pt x="4" y="0"/>
                      <a:pt x="4" y="0"/>
                      <a:pt x="3" y="0"/>
                    </a:cubicBezTo>
                    <a:cubicBezTo>
                      <a:pt x="0" y="0"/>
                      <a:pt x="3" y="4"/>
                      <a:pt x="4" y="5"/>
                    </a:cubicBezTo>
                    <a:cubicBezTo>
                      <a:pt x="3" y="5"/>
                      <a:pt x="3" y="5"/>
                      <a:pt x="2" y="5"/>
                    </a:cubicBezTo>
                    <a:cubicBezTo>
                      <a:pt x="2" y="7"/>
                      <a:pt x="9" y="7"/>
                      <a:pt x="10" y="7"/>
                    </a:cubicBezTo>
                    <a:cubicBezTo>
                      <a:pt x="11" y="7"/>
                      <a:pt x="11" y="7"/>
                      <a:pt x="11" y="7"/>
                    </a:cubicBezTo>
                    <a:cubicBezTo>
                      <a:pt x="14" y="7"/>
                      <a:pt x="13" y="4"/>
                      <a:pt x="10" y="4"/>
                    </a:cubicBezTo>
                    <a:cubicBezTo>
                      <a:pt x="10" y="4"/>
                      <a:pt x="10" y="4"/>
                      <a:pt x="10" y="4"/>
                    </a:cubicBezTo>
                    <a:cubicBezTo>
                      <a:pt x="10" y="4"/>
                      <a:pt x="9" y="4"/>
                      <a:pt x="9" y="5"/>
                    </a:cubicBezTo>
                    <a:cubicBezTo>
                      <a:pt x="8" y="5"/>
                      <a:pt x="8" y="5"/>
                      <a:pt x="7" y="5"/>
                    </a:cubicBezTo>
                    <a:cubicBezTo>
                      <a:pt x="7" y="5"/>
                      <a:pt x="7" y="5"/>
                      <a:pt x="7" y="5"/>
                    </a:cubicBezTo>
                    <a:cubicBezTo>
                      <a:pt x="6" y="5"/>
                      <a:pt x="7" y="2"/>
                      <a:pt x="6" y="2"/>
                    </a:cubicBezTo>
                    <a:cubicBezTo>
                      <a:pt x="6" y="2"/>
                      <a:pt x="6" y="2"/>
                      <a:pt x="6"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107"/>
              <p:cNvSpPr/>
              <p:nvPr/>
            </p:nvSpPr>
            <p:spPr bwMode="auto">
              <a:xfrm>
                <a:off x="4072" y="2660"/>
                <a:ext cx="5" cy="8"/>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0" y="0"/>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108"/>
              <p:cNvSpPr/>
              <p:nvPr/>
            </p:nvSpPr>
            <p:spPr bwMode="auto">
              <a:xfrm flipH="1">
                <a:off x="2926" y="2242"/>
                <a:ext cx="0" cy="0"/>
              </a:xfrm>
              <a:custGeom>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109"/>
              <p:cNvSpPr/>
              <p:nvPr/>
            </p:nvSpPr>
            <p:spPr bwMode="auto">
              <a:xfrm>
                <a:off x="2928" y="2242"/>
                <a:ext cx="3" cy="0"/>
              </a:xfrm>
              <a:custGeom>
                <a:gdLst>
                  <a:gd name="T0" fmla="*/ 1 w 1"/>
                  <a:gd name="T1" fmla="*/ 0 w 1"/>
                  <a:gd name="T2" fmla="*/ 0 w 1"/>
                  <a:gd name="T3" fmla="*/ 1 w 1"/>
                </a:gd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Rectangle 110"/>
              <p:cNvSpPr>
                <a:spLocks noChangeArrowheads="1"/>
              </p:cNvSpPr>
              <p:nvPr/>
            </p:nvSpPr>
            <p:spPr bwMode="auto">
              <a:xfrm>
                <a:off x="3817" y="162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111"/>
              <p:cNvSpPr/>
              <p:nvPr/>
            </p:nvSpPr>
            <p:spPr bwMode="auto">
              <a:xfrm flipH="1">
                <a:off x="3817" y="162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112"/>
              <p:cNvSpPr/>
              <p:nvPr/>
            </p:nvSpPr>
            <p:spPr bwMode="auto">
              <a:xfrm>
                <a:off x="5984" y="2044"/>
                <a:ext cx="92" cy="101"/>
              </a:xfrm>
              <a:custGeom>
                <a:gdLst>
                  <a:gd name="T0" fmla="*/ 32 w 39"/>
                  <a:gd name="T1" fmla="*/ 0 h 43"/>
                  <a:gd name="T2" fmla="*/ 23 w 39"/>
                  <a:gd name="T3" fmla="*/ 7 h 43"/>
                  <a:gd name="T4" fmla="*/ 22 w 39"/>
                  <a:gd name="T5" fmla="*/ 7 h 43"/>
                  <a:gd name="T6" fmla="*/ 15 w 39"/>
                  <a:gd name="T7" fmla="*/ 6 h 43"/>
                  <a:gd name="T8" fmla="*/ 15 w 39"/>
                  <a:gd name="T9" fmla="*/ 6 h 43"/>
                  <a:gd name="T10" fmla="*/ 15 w 39"/>
                  <a:gd name="T11" fmla="*/ 6 h 43"/>
                  <a:gd name="T12" fmla="*/ 4 w 39"/>
                  <a:gd name="T13" fmla="*/ 21 h 43"/>
                  <a:gd name="T14" fmla="*/ 3 w 39"/>
                  <a:gd name="T15" fmla="*/ 22 h 43"/>
                  <a:gd name="T16" fmla="*/ 2 w 39"/>
                  <a:gd name="T17" fmla="*/ 23 h 43"/>
                  <a:gd name="T18" fmla="*/ 2 w 39"/>
                  <a:gd name="T19" fmla="*/ 23 h 43"/>
                  <a:gd name="T20" fmla="*/ 0 w 39"/>
                  <a:gd name="T21" fmla="*/ 28 h 43"/>
                  <a:gd name="T22" fmla="*/ 0 w 39"/>
                  <a:gd name="T23" fmla="*/ 29 h 43"/>
                  <a:gd name="T24" fmla="*/ 0 w 39"/>
                  <a:gd name="T25" fmla="*/ 31 h 43"/>
                  <a:gd name="T26" fmla="*/ 0 w 39"/>
                  <a:gd name="T27" fmla="*/ 31 h 43"/>
                  <a:gd name="T28" fmla="*/ 0 w 39"/>
                  <a:gd name="T29" fmla="*/ 35 h 43"/>
                  <a:gd name="T30" fmla="*/ 1 w 39"/>
                  <a:gd name="T31" fmla="*/ 41 h 43"/>
                  <a:gd name="T32" fmla="*/ 4 w 39"/>
                  <a:gd name="T33" fmla="*/ 43 h 43"/>
                  <a:gd name="T34" fmla="*/ 13 w 39"/>
                  <a:gd name="T35" fmla="*/ 41 h 43"/>
                  <a:gd name="T36" fmla="*/ 20 w 39"/>
                  <a:gd name="T37" fmla="*/ 39 h 43"/>
                  <a:gd name="T38" fmla="*/ 21 w 39"/>
                  <a:gd name="T39" fmla="*/ 39 h 43"/>
                  <a:gd name="T40" fmla="*/ 26 w 39"/>
                  <a:gd name="T41" fmla="*/ 40 h 43"/>
                  <a:gd name="T42" fmla="*/ 27 w 39"/>
                  <a:gd name="T43" fmla="*/ 40 h 43"/>
                  <a:gd name="T44" fmla="*/ 27 w 39"/>
                  <a:gd name="T45" fmla="*/ 40 h 43"/>
                  <a:gd name="T46" fmla="*/ 35 w 39"/>
                  <a:gd name="T47" fmla="*/ 29 h 43"/>
                  <a:gd name="T48" fmla="*/ 34 w 39"/>
                  <a:gd name="T49" fmla="*/ 28 h 43"/>
                  <a:gd name="T50" fmla="*/ 28 w 39"/>
                  <a:gd name="T51" fmla="*/ 27 h 43"/>
                  <a:gd name="T52" fmla="*/ 18 w 39"/>
                  <a:gd name="T53" fmla="*/ 28 h 43"/>
                  <a:gd name="T54" fmla="*/ 31 w 39"/>
                  <a:gd name="T55" fmla="*/ 20 h 43"/>
                  <a:gd name="T56" fmla="*/ 38 w 39"/>
                  <a:gd name="T57" fmla="*/ 17 h 43"/>
                  <a:gd name="T58" fmla="*/ 38 w 39"/>
                  <a:gd name="T59" fmla="*/ 13 h 43"/>
                  <a:gd name="T60" fmla="*/ 37 w 39"/>
                  <a:gd name="T61" fmla="*/ 5 h 43"/>
                  <a:gd name="T62" fmla="*/ 33 w 39"/>
                  <a:gd name="T63" fmla="*/ 1 h 43"/>
                  <a:gd name="T64" fmla="*/ 33 w 39"/>
                  <a:gd name="T65" fmla="*/ 1 h 43"/>
                  <a:gd name="T66" fmla="*/ 32 w 39"/>
                  <a:gd name="T67"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43">
                    <a:moveTo>
                      <a:pt x="32" y="0"/>
                    </a:moveTo>
                    <a:cubicBezTo>
                      <a:pt x="32" y="0"/>
                      <a:pt x="25" y="6"/>
                      <a:pt x="23" y="7"/>
                    </a:cubicBezTo>
                    <a:cubicBezTo>
                      <a:pt x="23" y="7"/>
                      <a:pt x="22" y="7"/>
                      <a:pt x="22" y="7"/>
                    </a:cubicBezTo>
                    <a:cubicBezTo>
                      <a:pt x="20" y="7"/>
                      <a:pt x="18" y="7"/>
                      <a:pt x="15" y="6"/>
                    </a:cubicBezTo>
                    <a:cubicBezTo>
                      <a:pt x="15" y="6"/>
                      <a:pt x="15" y="6"/>
                      <a:pt x="15" y="6"/>
                    </a:cubicBezTo>
                    <a:cubicBezTo>
                      <a:pt x="15" y="6"/>
                      <a:pt x="15" y="6"/>
                      <a:pt x="15" y="6"/>
                    </a:cubicBezTo>
                    <a:cubicBezTo>
                      <a:pt x="13" y="8"/>
                      <a:pt x="6" y="19"/>
                      <a:pt x="4" y="21"/>
                    </a:cubicBezTo>
                    <a:cubicBezTo>
                      <a:pt x="4" y="21"/>
                      <a:pt x="3" y="21"/>
                      <a:pt x="3" y="22"/>
                    </a:cubicBezTo>
                    <a:cubicBezTo>
                      <a:pt x="3" y="22"/>
                      <a:pt x="2" y="23"/>
                      <a:pt x="2" y="23"/>
                    </a:cubicBezTo>
                    <a:cubicBezTo>
                      <a:pt x="2" y="23"/>
                      <a:pt x="2" y="23"/>
                      <a:pt x="2" y="23"/>
                    </a:cubicBezTo>
                    <a:cubicBezTo>
                      <a:pt x="1" y="24"/>
                      <a:pt x="0" y="26"/>
                      <a:pt x="0" y="28"/>
                    </a:cubicBezTo>
                    <a:cubicBezTo>
                      <a:pt x="0" y="28"/>
                      <a:pt x="0" y="29"/>
                      <a:pt x="0" y="29"/>
                    </a:cubicBezTo>
                    <a:cubicBezTo>
                      <a:pt x="0" y="30"/>
                      <a:pt x="0" y="30"/>
                      <a:pt x="0" y="31"/>
                    </a:cubicBezTo>
                    <a:cubicBezTo>
                      <a:pt x="0" y="31"/>
                      <a:pt x="0" y="31"/>
                      <a:pt x="0" y="31"/>
                    </a:cubicBezTo>
                    <a:cubicBezTo>
                      <a:pt x="0" y="32"/>
                      <a:pt x="0" y="34"/>
                      <a:pt x="0" y="35"/>
                    </a:cubicBezTo>
                    <a:cubicBezTo>
                      <a:pt x="0" y="37"/>
                      <a:pt x="0" y="40"/>
                      <a:pt x="1" y="41"/>
                    </a:cubicBezTo>
                    <a:cubicBezTo>
                      <a:pt x="2" y="42"/>
                      <a:pt x="3" y="43"/>
                      <a:pt x="4" y="43"/>
                    </a:cubicBezTo>
                    <a:cubicBezTo>
                      <a:pt x="7" y="43"/>
                      <a:pt x="10" y="42"/>
                      <a:pt x="13" y="41"/>
                    </a:cubicBezTo>
                    <a:cubicBezTo>
                      <a:pt x="16" y="40"/>
                      <a:pt x="18" y="39"/>
                      <a:pt x="20" y="39"/>
                    </a:cubicBezTo>
                    <a:cubicBezTo>
                      <a:pt x="21" y="39"/>
                      <a:pt x="21" y="39"/>
                      <a:pt x="21" y="39"/>
                    </a:cubicBezTo>
                    <a:cubicBezTo>
                      <a:pt x="24" y="40"/>
                      <a:pt x="25" y="40"/>
                      <a:pt x="26" y="40"/>
                    </a:cubicBezTo>
                    <a:cubicBezTo>
                      <a:pt x="26" y="40"/>
                      <a:pt x="27" y="40"/>
                      <a:pt x="27" y="40"/>
                    </a:cubicBezTo>
                    <a:cubicBezTo>
                      <a:pt x="27" y="40"/>
                      <a:pt x="27" y="40"/>
                      <a:pt x="27" y="40"/>
                    </a:cubicBezTo>
                    <a:cubicBezTo>
                      <a:pt x="31" y="37"/>
                      <a:pt x="34" y="31"/>
                      <a:pt x="35" y="29"/>
                    </a:cubicBezTo>
                    <a:cubicBezTo>
                      <a:pt x="34" y="28"/>
                      <a:pt x="34" y="28"/>
                      <a:pt x="34" y="28"/>
                    </a:cubicBezTo>
                    <a:cubicBezTo>
                      <a:pt x="33" y="27"/>
                      <a:pt x="30" y="27"/>
                      <a:pt x="28" y="27"/>
                    </a:cubicBezTo>
                    <a:cubicBezTo>
                      <a:pt x="24" y="27"/>
                      <a:pt x="19" y="27"/>
                      <a:pt x="18" y="28"/>
                    </a:cubicBezTo>
                    <a:cubicBezTo>
                      <a:pt x="22" y="25"/>
                      <a:pt x="27" y="23"/>
                      <a:pt x="31" y="20"/>
                    </a:cubicBezTo>
                    <a:cubicBezTo>
                      <a:pt x="33" y="19"/>
                      <a:pt x="36" y="18"/>
                      <a:pt x="38" y="17"/>
                    </a:cubicBezTo>
                    <a:cubicBezTo>
                      <a:pt x="39" y="16"/>
                      <a:pt x="38" y="15"/>
                      <a:pt x="38" y="13"/>
                    </a:cubicBezTo>
                    <a:cubicBezTo>
                      <a:pt x="38" y="11"/>
                      <a:pt x="38" y="7"/>
                      <a:pt x="37" y="5"/>
                    </a:cubicBezTo>
                    <a:cubicBezTo>
                      <a:pt x="36" y="4"/>
                      <a:pt x="34" y="2"/>
                      <a:pt x="33" y="1"/>
                    </a:cubicBezTo>
                    <a:cubicBezTo>
                      <a:pt x="33" y="1"/>
                      <a:pt x="33" y="1"/>
                      <a:pt x="33" y="1"/>
                    </a:cubicBez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Rectangle 113"/>
              <p:cNvSpPr>
                <a:spLocks noChangeArrowheads="1"/>
              </p:cNvSpPr>
              <p:nvPr/>
            </p:nvSpPr>
            <p:spPr bwMode="auto">
              <a:xfrm>
                <a:off x="5509" y="353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14"/>
              <p:cNvSpPr/>
              <p:nvPr/>
            </p:nvSpPr>
            <p:spPr bwMode="auto">
              <a:xfrm flipH="1">
                <a:off x="5509" y="353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15"/>
              <p:cNvSpPr/>
              <p:nvPr/>
            </p:nvSpPr>
            <p:spPr bwMode="auto">
              <a:xfrm>
                <a:off x="2945" y="2330"/>
                <a:ext cx="21" cy="11"/>
              </a:xfrm>
              <a:custGeom>
                <a:gdLst>
                  <a:gd name="T0" fmla="*/ 4 w 9"/>
                  <a:gd name="T1" fmla="*/ 0 h 5"/>
                  <a:gd name="T2" fmla="*/ 2 w 9"/>
                  <a:gd name="T3" fmla="*/ 0 h 5"/>
                  <a:gd name="T4" fmla="*/ 1 w 9"/>
                  <a:gd name="T5" fmla="*/ 0 h 5"/>
                  <a:gd name="T6" fmla="*/ 0 w 9"/>
                  <a:gd name="T7" fmla="*/ 0 h 5"/>
                  <a:gd name="T8" fmla="*/ 8 w 9"/>
                  <a:gd name="T9" fmla="*/ 4 h 5"/>
                  <a:gd name="T10" fmla="*/ 8 w 9"/>
                  <a:gd name="T11" fmla="*/ 5 h 5"/>
                  <a:gd name="T12" fmla="*/ 8 w 9"/>
                  <a:gd name="T13" fmla="*/ 5 h 5"/>
                  <a:gd name="T14" fmla="*/ 9 w 9"/>
                  <a:gd name="T15" fmla="*/ 2 h 5"/>
                  <a:gd name="T16" fmla="*/ 4 w 9"/>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4" y="0"/>
                    </a:moveTo>
                    <a:cubicBezTo>
                      <a:pt x="4" y="0"/>
                      <a:pt x="3" y="0"/>
                      <a:pt x="2" y="0"/>
                    </a:cubicBezTo>
                    <a:cubicBezTo>
                      <a:pt x="2" y="0"/>
                      <a:pt x="1" y="0"/>
                      <a:pt x="1" y="0"/>
                    </a:cubicBezTo>
                    <a:cubicBezTo>
                      <a:pt x="0" y="0"/>
                      <a:pt x="0" y="0"/>
                      <a:pt x="0" y="0"/>
                    </a:cubicBezTo>
                    <a:cubicBezTo>
                      <a:pt x="1" y="2"/>
                      <a:pt x="5" y="3"/>
                      <a:pt x="8" y="4"/>
                    </a:cubicBezTo>
                    <a:cubicBezTo>
                      <a:pt x="8" y="4"/>
                      <a:pt x="7" y="5"/>
                      <a:pt x="8" y="5"/>
                    </a:cubicBezTo>
                    <a:cubicBezTo>
                      <a:pt x="8" y="5"/>
                      <a:pt x="8" y="5"/>
                      <a:pt x="8" y="5"/>
                    </a:cubicBezTo>
                    <a:cubicBezTo>
                      <a:pt x="9" y="5"/>
                      <a:pt x="9" y="3"/>
                      <a:pt x="9" y="2"/>
                    </a:cubicBezTo>
                    <a:cubicBezTo>
                      <a:pt x="9" y="0"/>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116"/>
              <p:cNvSpPr/>
              <p:nvPr/>
            </p:nvSpPr>
            <p:spPr bwMode="auto">
              <a:xfrm>
                <a:off x="6234" y="3277"/>
                <a:ext cx="15" cy="5"/>
              </a:xfrm>
              <a:custGeom>
                <a:gdLst>
                  <a:gd name="T0" fmla="*/ 6 w 6"/>
                  <a:gd name="T1" fmla="*/ 0 h 2"/>
                  <a:gd name="T2" fmla="*/ 0 w 6"/>
                  <a:gd name="T3" fmla="*/ 2 h 2"/>
                  <a:gd name="T4" fmla="*/ 6 w 6"/>
                  <a:gd name="T5" fmla="*/ 0 h 2"/>
                </a:gdLst>
                <a:cxnLst>
                  <a:cxn ang="0">
                    <a:pos x="T0" y="T1"/>
                  </a:cxn>
                  <a:cxn ang="0">
                    <a:pos x="T2" y="T3"/>
                  </a:cxn>
                  <a:cxn ang="0">
                    <a:pos x="T4" y="T5"/>
                  </a:cxn>
                </a:cxnLst>
                <a:rect l="0" t="0" r="r" b="b"/>
                <a:pathLst>
                  <a:path w="6" h="2">
                    <a:moveTo>
                      <a:pt x="6" y="0"/>
                    </a:moveTo>
                    <a:cubicBezTo>
                      <a:pt x="4" y="0"/>
                      <a:pt x="2" y="1"/>
                      <a:pt x="0" y="2"/>
                    </a:cubicBezTo>
                    <a:cubicBezTo>
                      <a:pt x="1" y="1"/>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117"/>
              <p:cNvSpPr/>
              <p:nvPr/>
            </p:nvSpPr>
            <p:spPr bwMode="auto">
              <a:xfrm>
                <a:off x="2758" y="2124"/>
                <a:ext cx="5" cy="5"/>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1" y="1"/>
                      <a:pt x="0" y="2"/>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118"/>
              <p:cNvSpPr/>
              <p:nvPr/>
            </p:nvSpPr>
            <p:spPr bwMode="auto">
              <a:xfrm>
                <a:off x="2791" y="2105"/>
                <a:ext cx="10" cy="5"/>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3" y="1"/>
                      <a:pt x="1" y="1"/>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119"/>
              <p:cNvSpPr/>
              <p:nvPr/>
            </p:nvSpPr>
            <p:spPr bwMode="auto">
              <a:xfrm>
                <a:off x="2784" y="2124"/>
                <a:ext cx="7" cy="7"/>
              </a:xfrm>
              <a:custGeom>
                <a:gdLst>
                  <a:gd name="T0" fmla="*/ 3 w 3"/>
                  <a:gd name="T1" fmla="*/ 0 h 3"/>
                  <a:gd name="T2" fmla="*/ 0 w 3"/>
                  <a:gd name="T3" fmla="*/ 3 h 3"/>
                  <a:gd name="T4" fmla="*/ 3 w 3"/>
                  <a:gd name="T5" fmla="*/ 1 h 3"/>
                  <a:gd name="T6" fmla="*/ 3 w 3"/>
                  <a:gd name="T7" fmla="*/ 1 h 3"/>
                  <a:gd name="T8" fmla="*/ 3 w 3"/>
                  <a:gd name="T9" fmla="*/ 0 h 3"/>
                </a:gdLst>
                <a:cxnLst>
                  <a:cxn ang="0">
                    <a:pos x="T0" y="T1"/>
                  </a:cxn>
                  <a:cxn ang="0">
                    <a:pos x="T2" y="T3"/>
                  </a:cxn>
                  <a:cxn ang="0">
                    <a:pos x="T4" y="T5"/>
                  </a:cxn>
                  <a:cxn ang="0">
                    <a:pos x="T6" y="T7"/>
                  </a:cxn>
                  <a:cxn ang="0">
                    <a:pos x="T8" y="T9"/>
                  </a:cxn>
                </a:cxnLst>
                <a:rect l="0" t="0" r="r" b="b"/>
                <a:pathLst>
                  <a:path w="3" h="3">
                    <a:moveTo>
                      <a:pt x="3" y="0"/>
                    </a:moveTo>
                    <a:cubicBezTo>
                      <a:pt x="2" y="1"/>
                      <a:pt x="1" y="2"/>
                      <a:pt x="0" y="3"/>
                    </a:cubicBezTo>
                    <a:cubicBezTo>
                      <a:pt x="1" y="2"/>
                      <a:pt x="2" y="1"/>
                      <a:pt x="3" y="1"/>
                    </a:cubicBezTo>
                    <a:cubicBezTo>
                      <a:pt x="3" y="1"/>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120"/>
              <p:cNvSpPr/>
              <p:nvPr/>
            </p:nvSpPr>
            <p:spPr bwMode="auto">
              <a:xfrm>
                <a:off x="2749" y="2107"/>
                <a:ext cx="9" cy="5"/>
              </a:xfrm>
              <a:custGeom>
                <a:gdLst>
                  <a:gd name="T0" fmla="*/ 4 w 4"/>
                  <a:gd name="T1" fmla="*/ 0 h 2"/>
                  <a:gd name="T2" fmla="*/ 0 w 4"/>
                  <a:gd name="T3" fmla="*/ 1 h 2"/>
                  <a:gd name="T4" fmla="*/ 2 w 4"/>
                  <a:gd name="T5" fmla="*/ 2 h 2"/>
                  <a:gd name="T6" fmla="*/ 4 w 4"/>
                  <a:gd name="T7" fmla="*/ 0 h 2"/>
                  <a:gd name="T8" fmla="*/ 4 w 4"/>
                  <a:gd name="T9" fmla="*/ 0 h 2"/>
                </a:gdLst>
                <a:cxnLst>
                  <a:cxn ang="0">
                    <a:pos x="T0" y="T1"/>
                  </a:cxn>
                  <a:cxn ang="0">
                    <a:pos x="T2" y="T3"/>
                  </a:cxn>
                  <a:cxn ang="0">
                    <a:pos x="T4" y="T5"/>
                  </a:cxn>
                  <a:cxn ang="0">
                    <a:pos x="T6" y="T7"/>
                  </a:cxn>
                  <a:cxn ang="0">
                    <a:pos x="T8" y="T9"/>
                  </a:cxn>
                </a:cxnLst>
                <a:rect l="0" t="0" r="r" b="b"/>
                <a:pathLst>
                  <a:path w="4" h="2">
                    <a:moveTo>
                      <a:pt x="4" y="0"/>
                    </a:moveTo>
                    <a:cubicBezTo>
                      <a:pt x="2" y="0"/>
                      <a:pt x="1" y="0"/>
                      <a:pt x="0" y="1"/>
                    </a:cubicBezTo>
                    <a:cubicBezTo>
                      <a:pt x="1" y="1"/>
                      <a:pt x="2" y="2"/>
                      <a:pt x="2" y="2"/>
                    </a:cubicBezTo>
                    <a:cubicBezTo>
                      <a:pt x="3" y="2"/>
                      <a:pt x="4"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121"/>
              <p:cNvSpPr/>
              <p:nvPr/>
            </p:nvSpPr>
            <p:spPr bwMode="auto">
              <a:xfrm>
                <a:off x="2775" y="2129"/>
                <a:ext cx="2" cy="9"/>
              </a:xfrm>
              <a:custGeom>
                <a:gdLst>
                  <a:gd name="T0" fmla="*/ 0 w 1"/>
                  <a:gd name="T1" fmla="*/ 0 h 4"/>
                  <a:gd name="T2" fmla="*/ 1 w 1"/>
                  <a:gd name="T3" fmla="*/ 4 h 4"/>
                  <a:gd name="T4" fmla="*/ 0 w 1"/>
                  <a:gd name="T5" fmla="*/ 0 h 4"/>
                </a:gdLst>
                <a:cxnLst>
                  <a:cxn ang="0">
                    <a:pos x="T0" y="T1"/>
                  </a:cxn>
                  <a:cxn ang="0">
                    <a:pos x="T2" y="T3"/>
                  </a:cxn>
                  <a:cxn ang="0">
                    <a:pos x="T4" y="T5"/>
                  </a:cxn>
                </a:cxnLst>
                <a:rect l="0" t="0" r="r" b="b"/>
                <a:pathLst>
                  <a:path w="1" h="4">
                    <a:moveTo>
                      <a:pt x="0" y="0"/>
                    </a:moveTo>
                    <a:cubicBezTo>
                      <a:pt x="0" y="1"/>
                      <a:pt x="0" y="2"/>
                      <a:pt x="1"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122"/>
              <p:cNvSpPr/>
              <p:nvPr/>
            </p:nvSpPr>
            <p:spPr bwMode="auto">
              <a:xfrm>
                <a:off x="2756" y="2129"/>
                <a:ext cx="14" cy="9"/>
              </a:xfrm>
              <a:custGeom>
                <a:gdLst>
                  <a:gd name="T0" fmla="*/ 5 w 6"/>
                  <a:gd name="T1" fmla="*/ 0 h 4"/>
                  <a:gd name="T2" fmla="*/ 3 w 6"/>
                  <a:gd name="T3" fmla="*/ 4 h 4"/>
                  <a:gd name="T4" fmla="*/ 5 w 6"/>
                  <a:gd name="T5" fmla="*/ 1 h 4"/>
                  <a:gd name="T6" fmla="*/ 5 w 6"/>
                  <a:gd name="T7" fmla="*/ 0 h 4"/>
                </a:gdLst>
                <a:cxnLst>
                  <a:cxn ang="0">
                    <a:pos x="T0" y="T1"/>
                  </a:cxn>
                  <a:cxn ang="0">
                    <a:pos x="T2" y="T3"/>
                  </a:cxn>
                  <a:cxn ang="0">
                    <a:pos x="T4" y="T5"/>
                  </a:cxn>
                  <a:cxn ang="0">
                    <a:pos x="T6" y="T7"/>
                  </a:cxn>
                </a:cxnLst>
                <a:rect l="0" t="0" r="r" b="b"/>
                <a:pathLst>
                  <a:path w="6" h="4">
                    <a:moveTo>
                      <a:pt x="5" y="0"/>
                    </a:moveTo>
                    <a:cubicBezTo>
                      <a:pt x="3" y="0"/>
                      <a:pt x="0" y="2"/>
                      <a:pt x="3" y="4"/>
                    </a:cubicBezTo>
                    <a:cubicBezTo>
                      <a:pt x="5" y="4"/>
                      <a:pt x="6" y="2"/>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123"/>
              <p:cNvSpPr/>
              <p:nvPr/>
            </p:nvSpPr>
            <p:spPr bwMode="auto">
              <a:xfrm>
                <a:off x="2763" y="2088"/>
                <a:ext cx="7" cy="8"/>
              </a:xfrm>
              <a:custGeom>
                <a:gdLst>
                  <a:gd name="T0" fmla="*/ 3 w 3"/>
                  <a:gd name="T1" fmla="*/ 1 h 3"/>
                  <a:gd name="T2" fmla="*/ 0 w 3"/>
                  <a:gd name="T3" fmla="*/ 1 h 3"/>
                  <a:gd name="T4" fmla="*/ 2 w 3"/>
                  <a:gd name="T5" fmla="*/ 3 h 3"/>
                  <a:gd name="T6" fmla="*/ 3 w 3"/>
                  <a:gd name="T7" fmla="*/ 1 h 3"/>
                </a:gdLst>
                <a:cxnLst>
                  <a:cxn ang="0">
                    <a:pos x="T0" y="T1"/>
                  </a:cxn>
                  <a:cxn ang="0">
                    <a:pos x="T2" y="T3"/>
                  </a:cxn>
                  <a:cxn ang="0">
                    <a:pos x="T4" y="T5"/>
                  </a:cxn>
                  <a:cxn ang="0">
                    <a:pos x="T6" y="T7"/>
                  </a:cxn>
                </a:cxnLst>
                <a:rect l="0" t="0" r="r" b="b"/>
                <a:pathLst>
                  <a:path w="3" h="3">
                    <a:moveTo>
                      <a:pt x="3" y="1"/>
                    </a:moveTo>
                    <a:cubicBezTo>
                      <a:pt x="3" y="1"/>
                      <a:pt x="0" y="0"/>
                      <a:pt x="0" y="1"/>
                    </a:cubicBezTo>
                    <a:cubicBezTo>
                      <a:pt x="0" y="2"/>
                      <a:pt x="1" y="3"/>
                      <a:pt x="2" y="3"/>
                    </a:cubicBezTo>
                    <a:cubicBezTo>
                      <a:pt x="2" y="3"/>
                      <a:pt x="3" y="2"/>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124"/>
              <p:cNvSpPr/>
              <p:nvPr/>
            </p:nvSpPr>
            <p:spPr bwMode="auto">
              <a:xfrm>
                <a:off x="2770" y="2110"/>
                <a:ext cx="7" cy="4"/>
              </a:xfrm>
              <a:custGeom>
                <a:gdLst>
                  <a:gd name="T0" fmla="*/ 2 w 3"/>
                  <a:gd name="T1" fmla="*/ 0 h 2"/>
                  <a:gd name="T2" fmla="*/ 0 w 3"/>
                  <a:gd name="T3" fmla="*/ 0 h 2"/>
                  <a:gd name="T4" fmla="*/ 3 w 3"/>
                  <a:gd name="T5" fmla="*/ 2 h 2"/>
                  <a:gd name="T6" fmla="*/ 2 w 3"/>
                  <a:gd name="T7" fmla="*/ 0 h 2"/>
                </a:gdLst>
                <a:cxnLst>
                  <a:cxn ang="0">
                    <a:pos x="T0" y="T1"/>
                  </a:cxn>
                  <a:cxn ang="0">
                    <a:pos x="T2" y="T3"/>
                  </a:cxn>
                  <a:cxn ang="0">
                    <a:pos x="T4" y="T5"/>
                  </a:cxn>
                  <a:cxn ang="0">
                    <a:pos x="T6" y="T7"/>
                  </a:cxn>
                </a:cxnLst>
                <a:rect l="0" t="0" r="r" b="b"/>
                <a:pathLst>
                  <a:path w="3" h="2">
                    <a:moveTo>
                      <a:pt x="2" y="0"/>
                    </a:moveTo>
                    <a:cubicBezTo>
                      <a:pt x="1" y="0"/>
                      <a:pt x="1" y="0"/>
                      <a:pt x="0" y="0"/>
                    </a:cubicBezTo>
                    <a:cubicBezTo>
                      <a:pt x="1" y="1"/>
                      <a:pt x="2" y="1"/>
                      <a:pt x="3" y="2"/>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125"/>
              <p:cNvSpPr/>
              <p:nvPr/>
            </p:nvSpPr>
            <p:spPr bwMode="auto">
              <a:xfrm>
                <a:off x="6166" y="3462"/>
                <a:ext cx="14" cy="16"/>
              </a:xfrm>
              <a:custGeom>
                <a:gdLst>
                  <a:gd name="T0" fmla="*/ 1 w 6"/>
                  <a:gd name="T1" fmla="*/ 0 h 7"/>
                  <a:gd name="T2" fmla="*/ 1 w 6"/>
                  <a:gd name="T3" fmla="*/ 4 h 7"/>
                  <a:gd name="T4" fmla="*/ 3 w 6"/>
                  <a:gd name="T5" fmla="*/ 7 h 7"/>
                  <a:gd name="T6" fmla="*/ 2 w 6"/>
                  <a:gd name="T7" fmla="*/ 1 h 7"/>
                  <a:gd name="T8" fmla="*/ 1 w 6"/>
                  <a:gd name="T9" fmla="*/ 0 h 7"/>
                </a:gdLst>
                <a:cxnLst>
                  <a:cxn ang="0">
                    <a:pos x="T0" y="T1"/>
                  </a:cxn>
                  <a:cxn ang="0">
                    <a:pos x="T2" y="T3"/>
                  </a:cxn>
                  <a:cxn ang="0">
                    <a:pos x="T4" y="T5"/>
                  </a:cxn>
                  <a:cxn ang="0">
                    <a:pos x="T6" y="T7"/>
                  </a:cxn>
                  <a:cxn ang="0">
                    <a:pos x="T8" y="T9"/>
                  </a:cxn>
                </a:cxnLst>
                <a:rect l="0" t="0" r="r" b="b"/>
                <a:pathLst>
                  <a:path w="6" h="7">
                    <a:moveTo>
                      <a:pt x="1" y="0"/>
                    </a:moveTo>
                    <a:cubicBezTo>
                      <a:pt x="0" y="0"/>
                      <a:pt x="0" y="3"/>
                      <a:pt x="1" y="4"/>
                    </a:cubicBezTo>
                    <a:cubicBezTo>
                      <a:pt x="2" y="5"/>
                      <a:pt x="3" y="6"/>
                      <a:pt x="3" y="7"/>
                    </a:cubicBezTo>
                    <a:cubicBezTo>
                      <a:pt x="3" y="5"/>
                      <a:pt x="6" y="3"/>
                      <a:pt x="2" y="1"/>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126"/>
              <p:cNvSpPr/>
              <p:nvPr/>
            </p:nvSpPr>
            <p:spPr bwMode="auto">
              <a:xfrm>
                <a:off x="6064" y="3422"/>
                <a:ext cx="407" cy="787"/>
              </a:xfrm>
              <a:custGeom>
                <a:gdLst>
                  <a:gd name="T0" fmla="*/ 131 w 172"/>
                  <a:gd name="T1" fmla="*/ 12 h 333"/>
                  <a:gd name="T2" fmla="*/ 130 w 172"/>
                  <a:gd name="T3" fmla="*/ 34 h 333"/>
                  <a:gd name="T4" fmla="*/ 124 w 172"/>
                  <a:gd name="T5" fmla="*/ 37 h 333"/>
                  <a:gd name="T6" fmla="*/ 117 w 172"/>
                  <a:gd name="T7" fmla="*/ 42 h 333"/>
                  <a:gd name="T8" fmla="*/ 112 w 172"/>
                  <a:gd name="T9" fmla="*/ 37 h 333"/>
                  <a:gd name="T10" fmla="*/ 111 w 172"/>
                  <a:gd name="T11" fmla="*/ 55 h 333"/>
                  <a:gd name="T12" fmla="*/ 108 w 172"/>
                  <a:gd name="T13" fmla="*/ 54 h 333"/>
                  <a:gd name="T14" fmla="*/ 107 w 172"/>
                  <a:gd name="T15" fmla="*/ 63 h 333"/>
                  <a:gd name="T16" fmla="*/ 111 w 172"/>
                  <a:gd name="T17" fmla="*/ 63 h 333"/>
                  <a:gd name="T18" fmla="*/ 112 w 172"/>
                  <a:gd name="T19" fmla="*/ 64 h 333"/>
                  <a:gd name="T20" fmla="*/ 111 w 172"/>
                  <a:gd name="T21" fmla="*/ 64 h 333"/>
                  <a:gd name="T22" fmla="*/ 99 w 172"/>
                  <a:gd name="T23" fmla="*/ 73 h 333"/>
                  <a:gd name="T24" fmla="*/ 98 w 172"/>
                  <a:gd name="T25" fmla="*/ 67 h 333"/>
                  <a:gd name="T26" fmla="*/ 95 w 172"/>
                  <a:gd name="T27" fmla="*/ 83 h 333"/>
                  <a:gd name="T28" fmla="*/ 88 w 172"/>
                  <a:gd name="T29" fmla="*/ 78 h 333"/>
                  <a:gd name="T30" fmla="*/ 74 w 172"/>
                  <a:gd name="T31" fmla="*/ 93 h 333"/>
                  <a:gd name="T32" fmla="*/ 74 w 172"/>
                  <a:gd name="T33" fmla="*/ 95 h 333"/>
                  <a:gd name="T34" fmla="*/ 71 w 172"/>
                  <a:gd name="T35" fmla="*/ 91 h 333"/>
                  <a:gd name="T36" fmla="*/ 64 w 172"/>
                  <a:gd name="T37" fmla="*/ 92 h 333"/>
                  <a:gd name="T38" fmla="*/ 60 w 172"/>
                  <a:gd name="T39" fmla="*/ 92 h 333"/>
                  <a:gd name="T40" fmla="*/ 53 w 172"/>
                  <a:gd name="T41" fmla="*/ 96 h 333"/>
                  <a:gd name="T42" fmla="*/ 45 w 172"/>
                  <a:gd name="T43" fmla="*/ 97 h 333"/>
                  <a:gd name="T44" fmla="*/ 35 w 172"/>
                  <a:gd name="T45" fmla="*/ 102 h 333"/>
                  <a:gd name="T46" fmla="*/ 25 w 172"/>
                  <a:gd name="T47" fmla="*/ 120 h 333"/>
                  <a:gd name="T48" fmla="*/ 22 w 172"/>
                  <a:gd name="T49" fmla="*/ 160 h 333"/>
                  <a:gd name="T50" fmla="*/ 26 w 172"/>
                  <a:gd name="T51" fmla="*/ 198 h 333"/>
                  <a:gd name="T52" fmla="*/ 18 w 172"/>
                  <a:gd name="T53" fmla="*/ 213 h 333"/>
                  <a:gd name="T54" fmla="*/ 6 w 172"/>
                  <a:gd name="T55" fmla="*/ 234 h 333"/>
                  <a:gd name="T56" fmla="*/ 2 w 172"/>
                  <a:gd name="T57" fmla="*/ 241 h 333"/>
                  <a:gd name="T58" fmla="*/ 12 w 172"/>
                  <a:gd name="T59" fmla="*/ 282 h 333"/>
                  <a:gd name="T60" fmla="*/ 12 w 172"/>
                  <a:gd name="T61" fmla="*/ 303 h 333"/>
                  <a:gd name="T62" fmla="*/ 50 w 172"/>
                  <a:gd name="T63" fmla="*/ 333 h 333"/>
                  <a:gd name="T64" fmla="*/ 85 w 172"/>
                  <a:gd name="T65" fmla="*/ 321 h 333"/>
                  <a:gd name="T66" fmla="*/ 100 w 172"/>
                  <a:gd name="T67" fmla="*/ 294 h 333"/>
                  <a:gd name="T68" fmla="*/ 146 w 172"/>
                  <a:gd name="T69" fmla="*/ 140 h 333"/>
                  <a:gd name="T70" fmla="*/ 152 w 172"/>
                  <a:gd name="T71" fmla="*/ 121 h 333"/>
                  <a:gd name="T72" fmla="*/ 155 w 172"/>
                  <a:gd name="T73" fmla="*/ 102 h 333"/>
                  <a:gd name="T74" fmla="*/ 153 w 172"/>
                  <a:gd name="T75" fmla="*/ 84 h 333"/>
                  <a:gd name="T76" fmla="*/ 165 w 172"/>
                  <a:gd name="T77" fmla="*/ 95 h 333"/>
                  <a:gd name="T78" fmla="*/ 167 w 172"/>
                  <a:gd name="T79" fmla="*/ 64 h 333"/>
                  <a:gd name="T80" fmla="*/ 153 w 172"/>
                  <a:gd name="T81" fmla="*/ 21 h 333"/>
                  <a:gd name="T82" fmla="*/ 141 w 172"/>
                  <a:gd name="T83" fmla="*/ 8 h 333"/>
                  <a:gd name="T84" fmla="*/ 142 w 172"/>
                  <a:gd name="T85" fmla="*/ 0 h 3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2" h="333">
                    <a:moveTo>
                      <a:pt x="142" y="0"/>
                    </a:moveTo>
                    <a:cubicBezTo>
                      <a:pt x="139" y="3"/>
                      <a:pt x="137" y="7"/>
                      <a:pt x="134" y="10"/>
                    </a:cubicBezTo>
                    <a:cubicBezTo>
                      <a:pt x="133" y="11"/>
                      <a:pt x="129" y="11"/>
                      <a:pt x="131" y="12"/>
                    </a:cubicBezTo>
                    <a:cubicBezTo>
                      <a:pt x="133" y="15"/>
                      <a:pt x="133" y="15"/>
                      <a:pt x="134" y="18"/>
                    </a:cubicBezTo>
                    <a:cubicBezTo>
                      <a:pt x="136" y="23"/>
                      <a:pt x="133" y="25"/>
                      <a:pt x="132" y="30"/>
                    </a:cubicBezTo>
                    <a:cubicBezTo>
                      <a:pt x="131" y="32"/>
                      <a:pt x="133" y="32"/>
                      <a:pt x="130" y="34"/>
                    </a:cubicBezTo>
                    <a:cubicBezTo>
                      <a:pt x="129" y="35"/>
                      <a:pt x="128" y="35"/>
                      <a:pt x="127" y="35"/>
                    </a:cubicBezTo>
                    <a:cubicBezTo>
                      <a:pt x="126" y="35"/>
                      <a:pt x="125" y="35"/>
                      <a:pt x="124" y="34"/>
                    </a:cubicBezTo>
                    <a:cubicBezTo>
                      <a:pt x="124" y="35"/>
                      <a:pt x="125" y="37"/>
                      <a:pt x="124" y="37"/>
                    </a:cubicBezTo>
                    <a:cubicBezTo>
                      <a:pt x="124" y="38"/>
                      <a:pt x="121" y="38"/>
                      <a:pt x="121" y="38"/>
                    </a:cubicBezTo>
                    <a:cubicBezTo>
                      <a:pt x="120" y="40"/>
                      <a:pt x="120" y="44"/>
                      <a:pt x="119" y="44"/>
                    </a:cubicBezTo>
                    <a:cubicBezTo>
                      <a:pt x="118" y="44"/>
                      <a:pt x="118" y="43"/>
                      <a:pt x="117" y="42"/>
                    </a:cubicBezTo>
                    <a:cubicBezTo>
                      <a:pt x="116" y="42"/>
                      <a:pt x="117" y="41"/>
                      <a:pt x="116" y="40"/>
                    </a:cubicBezTo>
                    <a:cubicBezTo>
                      <a:pt x="116" y="39"/>
                      <a:pt x="116" y="40"/>
                      <a:pt x="115" y="39"/>
                    </a:cubicBezTo>
                    <a:cubicBezTo>
                      <a:pt x="113" y="38"/>
                      <a:pt x="114" y="38"/>
                      <a:pt x="112" y="37"/>
                    </a:cubicBezTo>
                    <a:cubicBezTo>
                      <a:pt x="108" y="41"/>
                      <a:pt x="115" y="51"/>
                      <a:pt x="113" y="56"/>
                    </a:cubicBezTo>
                    <a:cubicBezTo>
                      <a:pt x="113" y="54"/>
                      <a:pt x="113" y="52"/>
                      <a:pt x="111" y="51"/>
                    </a:cubicBezTo>
                    <a:cubicBezTo>
                      <a:pt x="111" y="52"/>
                      <a:pt x="112" y="55"/>
                      <a:pt x="111" y="55"/>
                    </a:cubicBezTo>
                    <a:cubicBezTo>
                      <a:pt x="111" y="55"/>
                      <a:pt x="110" y="55"/>
                      <a:pt x="110" y="55"/>
                    </a:cubicBezTo>
                    <a:cubicBezTo>
                      <a:pt x="110" y="55"/>
                      <a:pt x="110" y="55"/>
                      <a:pt x="109" y="54"/>
                    </a:cubicBezTo>
                    <a:cubicBezTo>
                      <a:pt x="109" y="54"/>
                      <a:pt x="109" y="54"/>
                      <a:pt x="108" y="54"/>
                    </a:cubicBezTo>
                    <a:cubicBezTo>
                      <a:pt x="108" y="54"/>
                      <a:pt x="108" y="55"/>
                      <a:pt x="107" y="55"/>
                    </a:cubicBezTo>
                    <a:cubicBezTo>
                      <a:pt x="107" y="57"/>
                      <a:pt x="105" y="62"/>
                      <a:pt x="107" y="63"/>
                    </a:cubicBezTo>
                    <a:cubicBezTo>
                      <a:pt x="107" y="63"/>
                      <a:pt x="107" y="63"/>
                      <a:pt x="107" y="63"/>
                    </a:cubicBezTo>
                    <a:cubicBezTo>
                      <a:pt x="108" y="63"/>
                      <a:pt x="108" y="63"/>
                      <a:pt x="109" y="63"/>
                    </a:cubicBezTo>
                    <a:cubicBezTo>
                      <a:pt x="109" y="63"/>
                      <a:pt x="110" y="63"/>
                      <a:pt x="111" y="63"/>
                    </a:cubicBezTo>
                    <a:cubicBezTo>
                      <a:pt x="111" y="63"/>
                      <a:pt x="111" y="63"/>
                      <a:pt x="111" y="63"/>
                    </a:cubicBezTo>
                    <a:cubicBezTo>
                      <a:pt x="113" y="64"/>
                      <a:pt x="113" y="65"/>
                      <a:pt x="113" y="67"/>
                    </a:cubicBezTo>
                    <a:cubicBezTo>
                      <a:pt x="113" y="66"/>
                      <a:pt x="112" y="65"/>
                      <a:pt x="112" y="65"/>
                    </a:cubicBezTo>
                    <a:cubicBezTo>
                      <a:pt x="112" y="64"/>
                      <a:pt x="112" y="64"/>
                      <a:pt x="112" y="64"/>
                    </a:cubicBezTo>
                    <a:cubicBezTo>
                      <a:pt x="111" y="64"/>
                      <a:pt x="111" y="64"/>
                      <a:pt x="111" y="64"/>
                    </a:cubicBezTo>
                    <a:cubicBezTo>
                      <a:pt x="111" y="64"/>
                      <a:pt x="111" y="64"/>
                      <a:pt x="111" y="64"/>
                    </a:cubicBezTo>
                    <a:cubicBezTo>
                      <a:pt x="111" y="64"/>
                      <a:pt x="111" y="64"/>
                      <a:pt x="111" y="64"/>
                    </a:cubicBezTo>
                    <a:cubicBezTo>
                      <a:pt x="111" y="64"/>
                      <a:pt x="111" y="64"/>
                      <a:pt x="111" y="64"/>
                    </a:cubicBezTo>
                    <a:cubicBezTo>
                      <a:pt x="110" y="64"/>
                      <a:pt x="108" y="64"/>
                      <a:pt x="108" y="63"/>
                    </a:cubicBezTo>
                    <a:cubicBezTo>
                      <a:pt x="105" y="64"/>
                      <a:pt x="102" y="70"/>
                      <a:pt x="99" y="73"/>
                    </a:cubicBezTo>
                    <a:cubicBezTo>
                      <a:pt x="99" y="71"/>
                      <a:pt x="101" y="70"/>
                      <a:pt x="101" y="67"/>
                    </a:cubicBezTo>
                    <a:cubicBezTo>
                      <a:pt x="100" y="66"/>
                      <a:pt x="100" y="65"/>
                      <a:pt x="100" y="65"/>
                    </a:cubicBezTo>
                    <a:cubicBezTo>
                      <a:pt x="99" y="65"/>
                      <a:pt x="99" y="66"/>
                      <a:pt x="98" y="67"/>
                    </a:cubicBezTo>
                    <a:cubicBezTo>
                      <a:pt x="96" y="69"/>
                      <a:pt x="91" y="77"/>
                      <a:pt x="92" y="80"/>
                    </a:cubicBezTo>
                    <a:cubicBezTo>
                      <a:pt x="92" y="80"/>
                      <a:pt x="92" y="80"/>
                      <a:pt x="92" y="80"/>
                    </a:cubicBezTo>
                    <a:cubicBezTo>
                      <a:pt x="92" y="80"/>
                      <a:pt x="94" y="83"/>
                      <a:pt x="95" y="83"/>
                    </a:cubicBezTo>
                    <a:cubicBezTo>
                      <a:pt x="93" y="85"/>
                      <a:pt x="90" y="84"/>
                      <a:pt x="88" y="85"/>
                    </a:cubicBezTo>
                    <a:cubicBezTo>
                      <a:pt x="89" y="83"/>
                      <a:pt x="91" y="80"/>
                      <a:pt x="88" y="79"/>
                    </a:cubicBezTo>
                    <a:cubicBezTo>
                      <a:pt x="88" y="78"/>
                      <a:pt x="88" y="78"/>
                      <a:pt x="88" y="78"/>
                    </a:cubicBezTo>
                    <a:cubicBezTo>
                      <a:pt x="86" y="78"/>
                      <a:pt x="84" y="80"/>
                      <a:pt x="82" y="82"/>
                    </a:cubicBezTo>
                    <a:cubicBezTo>
                      <a:pt x="80" y="83"/>
                      <a:pt x="77" y="85"/>
                      <a:pt x="75" y="87"/>
                    </a:cubicBezTo>
                    <a:cubicBezTo>
                      <a:pt x="73" y="89"/>
                      <a:pt x="73" y="91"/>
                      <a:pt x="74" y="93"/>
                    </a:cubicBezTo>
                    <a:cubicBezTo>
                      <a:pt x="75" y="94"/>
                      <a:pt x="76" y="94"/>
                      <a:pt x="77" y="96"/>
                    </a:cubicBezTo>
                    <a:cubicBezTo>
                      <a:pt x="76" y="95"/>
                      <a:pt x="76" y="95"/>
                      <a:pt x="75" y="95"/>
                    </a:cubicBezTo>
                    <a:cubicBezTo>
                      <a:pt x="75" y="95"/>
                      <a:pt x="74" y="95"/>
                      <a:pt x="74" y="95"/>
                    </a:cubicBezTo>
                    <a:cubicBezTo>
                      <a:pt x="74" y="96"/>
                      <a:pt x="74" y="96"/>
                      <a:pt x="73" y="96"/>
                    </a:cubicBezTo>
                    <a:cubicBezTo>
                      <a:pt x="73" y="96"/>
                      <a:pt x="72" y="96"/>
                      <a:pt x="72" y="95"/>
                    </a:cubicBezTo>
                    <a:cubicBezTo>
                      <a:pt x="71" y="94"/>
                      <a:pt x="72" y="92"/>
                      <a:pt x="71" y="91"/>
                    </a:cubicBezTo>
                    <a:cubicBezTo>
                      <a:pt x="71" y="90"/>
                      <a:pt x="70" y="90"/>
                      <a:pt x="69" y="90"/>
                    </a:cubicBezTo>
                    <a:cubicBezTo>
                      <a:pt x="68" y="90"/>
                      <a:pt x="66" y="92"/>
                      <a:pt x="64" y="93"/>
                    </a:cubicBezTo>
                    <a:cubicBezTo>
                      <a:pt x="65" y="92"/>
                      <a:pt x="64" y="92"/>
                      <a:pt x="64" y="92"/>
                    </a:cubicBezTo>
                    <a:cubicBezTo>
                      <a:pt x="63" y="92"/>
                      <a:pt x="62" y="93"/>
                      <a:pt x="62" y="93"/>
                    </a:cubicBezTo>
                    <a:cubicBezTo>
                      <a:pt x="62" y="93"/>
                      <a:pt x="62" y="93"/>
                      <a:pt x="62" y="93"/>
                    </a:cubicBezTo>
                    <a:cubicBezTo>
                      <a:pt x="61" y="93"/>
                      <a:pt x="61" y="92"/>
                      <a:pt x="60" y="92"/>
                    </a:cubicBezTo>
                    <a:cubicBezTo>
                      <a:pt x="60" y="92"/>
                      <a:pt x="59" y="92"/>
                      <a:pt x="59" y="92"/>
                    </a:cubicBezTo>
                    <a:cubicBezTo>
                      <a:pt x="58" y="92"/>
                      <a:pt x="58" y="92"/>
                      <a:pt x="58" y="92"/>
                    </a:cubicBezTo>
                    <a:cubicBezTo>
                      <a:pt x="56" y="94"/>
                      <a:pt x="55" y="95"/>
                      <a:pt x="53" y="96"/>
                    </a:cubicBezTo>
                    <a:cubicBezTo>
                      <a:pt x="51" y="97"/>
                      <a:pt x="51" y="97"/>
                      <a:pt x="49" y="99"/>
                    </a:cubicBezTo>
                    <a:cubicBezTo>
                      <a:pt x="49" y="97"/>
                      <a:pt x="48" y="96"/>
                      <a:pt x="48" y="96"/>
                    </a:cubicBezTo>
                    <a:cubicBezTo>
                      <a:pt x="47" y="96"/>
                      <a:pt x="46" y="96"/>
                      <a:pt x="45" y="97"/>
                    </a:cubicBezTo>
                    <a:cubicBezTo>
                      <a:pt x="43" y="99"/>
                      <a:pt x="41" y="102"/>
                      <a:pt x="38" y="102"/>
                    </a:cubicBezTo>
                    <a:cubicBezTo>
                      <a:pt x="38" y="102"/>
                      <a:pt x="38" y="102"/>
                      <a:pt x="38" y="102"/>
                    </a:cubicBezTo>
                    <a:cubicBezTo>
                      <a:pt x="37" y="102"/>
                      <a:pt x="36" y="102"/>
                      <a:pt x="35" y="102"/>
                    </a:cubicBezTo>
                    <a:cubicBezTo>
                      <a:pt x="34" y="102"/>
                      <a:pt x="33" y="101"/>
                      <a:pt x="32" y="101"/>
                    </a:cubicBezTo>
                    <a:cubicBezTo>
                      <a:pt x="31" y="101"/>
                      <a:pt x="31" y="101"/>
                      <a:pt x="30" y="101"/>
                    </a:cubicBezTo>
                    <a:cubicBezTo>
                      <a:pt x="26" y="103"/>
                      <a:pt x="27" y="115"/>
                      <a:pt x="25" y="120"/>
                    </a:cubicBezTo>
                    <a:cubicBezTo>
                      <a:pt x="23" y="123"/>
                      <a:pt x="21" y="127"/>
                      <a:pt x="19" y="130"/>
                    </a:cubicBezTo>
                    <a:cubicBezTo>
                      <a:pt x="18" y="131"/>
                      <a:pt x="16" y="134"/>
                      <a:pt x="17" y="136"/>
                    </a:cubicBezTo>
                    <a:cubicBezTo>
                      <a:pt x="18" y="144"/>
                      <a:pt x="20" y="152"/>
                      <a:pt x="22" y="160"/>
                    </a:cubicBezTo>
                    <a:cubicBezTo>
                      <a:pt x="23" y="166"/>
                      <a:pt x="24" y="172"/>
                      <a:pt x="27" y="177"/>
                    </a:cubicBezTo>
                    <a:cubicBezTo>
                      <a:pt x="30" y="181"/>
                      <a:pt x="30" y="182"/>
                      <a:pt x="28" y="186"/>
                    </a:cubicBezTo>
                    <a:cubicBezTo>
                      <a:pt x="27" y="190"/>
                      <a:pt x="28" y="195"/>
                      <a:pt x="26" y="198"/>
                    </a:cubicBezTo>
                    <a:cubicBezTo>
                      <a:pt x="26" y="200"/>
                      <a:pt x="25" y="202"/>
                      <a:pt x="24" y="204"/>
                    </a:cubicBezTo>
                    <a:cubicBezTo>
                      <a:pt x="23" y="206"/>
                      <a:pt x="22" y="206"/>
                      <a:pt x="21" y="208"/>
                    </a:cubicBezTo>
                    <a:cubicBezTo>
                      <a:pt x="20" y="210"/>
                      <a:pt x="19" y="211"/>
                      <a:pt x="18" y="213"/>
                    </a:cubicBezTo>
                    <a:cubicBezTo>
                      <a:pt x="15" y="216"/>
                      <a:pt x="17" y="221"/>
                      <a:pt x="14" y="224"/>
                    </a:cubicBezTo>
                    <a:cubicBezTo>
                      <a:pt x="11" y="228"/>
                      <a:pt x="7" y="224"/>
                      <a:pt x="6" y="230"/>
                    </a:cubicBezTo>
                    <a:cubicBezTo>
                      <a:pt x="6" y="231"/>
                      <a:pt x="6" y="232"/>
                      <a:pt x="6" y="234"/>
                    </a:cubicBezTo>
                    <a:cubicBezTo>
                      <a:pt x="6" y="235"/>
                      <a:pt x="5" y="235"/>
                      <a:pt x="5" y="236"/>
                    </a:cubicBezTo>
                    <a:cubicBezTo>
                      <a:pt x="3" y="238"/>
                      <a:pt x="3" y="239"/>
                      <a:pt x="2" y="241"/>
                    </a:cubicBezTo>
                    <a:cubicBezTo>
                      <a:pt x="2" y="241"/>
                      <a:pt x="2" y="241"/>
                      <a:pt x="2" y="241"/>
                    </a:cubicBezTo>
                    <a:cubicBezTo>
                      <a:pt x="0" y="244"/>
                      <a:pt x="0" y="249"/>
                      <a:pt x="1" y="253"/>
                    </a:cubicBezTo>
                    <a:cubicBezTo>
                      <a:pt x="2" y="262"/>
                      <a:pt x="6" y="268"/>
                      <a:pt x="10" y="276"/>
                    </a:cubicBezTo>
                    <a:cubicBezTo>
                      <a:pt x="10" y="278"/>
                      <a:pt x="12" y="280"/>
                      <a:pt x="12" y="282"/>
                    </a:cubicBezTo>
                    <a:cubicBezTo>
                      <a:pt x="12" y="283"/>
                      <a:pt x="11" y="283"/>
                      <a:pt x="10" y="284"/>
                    </a:cubicBezTo>
                    <a:cubicBezTo>
                      <a:pt x="9" y="286"/>
                      <a:pt x="10" y="288"/>
                      <a:pt x="11" y="290"/>
                    </a:cubicBezTo>
                    <a:cubicBezTo>
                      <a:pt x="11" y="294"/>
                      <a:pt x="10" y="299"/>
                      <a:pt x="12" y="303"/>
                    </a:cubicBezTo>
                    <a:cubicBezTo>
                      <a:pt x="13" y="307"/>
                      <a:pt x="16" y="310"/>
                      <a:pt x="18" y="314"/>
                    </a:cubicBezTo>
                    <a:cubicBezTo>
                      <a:pt x="20" y="318"/>
                      <a:pt x="20" y="318"/>
                      <a:pt x="24" y="320"/>
                    </a:cubicBezTo>
                    <a:cubicBezTo>
                      <a:pt x="32" y="325"/>
                      <a:pt x="40" y="333"/>
                      <a:pt x="50" y="333"/>
                    </a:cubicBezTo>
                    <a:cubicBezTo>
                      <a:pt x="51" y="333"/>
                      <a:pt x="53" y="333"/>
                      <a:pt x="54" y="332"/>
                    </a:cubicBezTo>
                    <a:cubicBezTo>
                      <a:pt x="60" y="331"/>
                      <a:pt x="65" y="325"/>
                      <a:pt x="71" y="323"/>
                    </a:cubicBezTo>
                    <a:cubicBezTo>
                      <a:pt x="76" y="321"/>
                      <a:pt x="80" y="323"/>
                      <a:pt x="85" y="321"/>
                    </a:cubicBezTo>
                    <a:cubicBezTo>
                      <a:pt x="87" y="320"/>
                      <a:pt x="88" y="320"/>
                      <a:pt x="89" y="318"/>
                    </a:cubicBezTo>
                    <a:cubicBezTo>
                      <a:pt x="91" y="314"/>
                      <a:pt x="93" y="310"/>
                      <a:pt x="94" y="306"/>
                    </a:cubicBezTo>
                    <a:cubicBezTo>
                      <a:pt x="96" y="302"/>
                      <a:pt x="99" y="298"/>
                      <a:pt x="100" y="294"/>
                    </a:cubicBezTo>
                    <a:cubicBezTo>
                      <a:pt x="109" y="264"/>
                      <a:pt x="118" y="234"/>
                      <a:pt x="127" y="205"/>
                    </a:cubicBezTo>
                    <a:cubicBezTo>
                      <a:pt x="131" y="192"/>
                      <a:pt x="135" y="178"/>
                      <a:pt x="138" y="165"/>
                    </a:cubicBezTo>
                    <a:cubicBezTo>
                      <a:pt x="141" y="157"/>
                      <a:pt x="143" y="148"/>
                      <a:pt x="146" y="140"/>
                    </a:cubicBezTo>
                    <a:cubicBezTo>
                      <a:pt x="147" y="137"/>
                      <a:pt x="147" y="135"/>
                      <a:pt x="147" y="132"/>
                    </a:cubicBezTo>
                    <a:cubicBezTo>
                      <a:pt x="147" y="130"/>
                      <a:pt x="146" y="130"/>
                      <a:pt x="147" y="129"/>
                    </a:cubicBezTo>
                    <a:cubicBezTo>
                      <a:pt x="148" y="126"/>
                      <a:pt x="150" y="123"/>
                      <a:pt x="152" y="121"/>
                    </a:cubicBezTo>
                    <a:cubicBezTo>
                      <a:pt x="154" y="119"/>
                      <a:pt x="156" y="118"/>
                      <a:pt x="154" y="116"/>
                    </a:cubicBezTo>
                    <a:cubicBezTo>
                      <a:pt x="152" y="115"/>
                      <a:pt x="153" y="113"/>
                      <a:pt x="154" y="112"/>
                    </a:cubicBezTo>
                    <a:cubicBezTo>
                      <a:pt x="155" y="109"/>
                      <a:pt x="157" y="104"/>
                      <a:pt x="155" y="102"/>
                    </a:cubicBezTo>
                    <a:cubicBezTo>
                      <a:pt x="154" y="99"/>
                      <a:pt x="152" y="101"/>
                      <a:pt x="153" y="97"/>
                    </a:cubicBezTo>
                    <a:cubicBezTo>
                      <a:pt x="153" y="94"/>
                      <a:pt x="152" y="93"/>
                      <a:pt x="152" y="90"/>
                    </a:cubicBezTo>
                    <a:cubicBezTo>
                      <a:pt x="151" y="88"/>
                      <a:pt x="151" y="85"/>
                      <a:pt x="153" y="84"/>
                    </a:cubicBezTo>
                    <a:cubicBezTo>
                      <a:pt x="154" y="83"/>
                      <a:pt x="155" y="83"/>
                      <a:pt x="155" y="83"/>
                    </a:cubicBezTo>
                    <a:cubicBezTo>
                      <a:pt x="158" y="83"/>
                      <a:pt x="159" y="87"/>
                      <a:pt x="160" y="89"/>
                    </a:cubicBezTo>
                    <a:cubicBezTo>
                      <a:pt x="161" y="92"/>
                      <a:pt x="163" y="95"/>
                      <a:pt x="165" y="95"/>
                    </a:cubicBezTo>
                    <a:cubicBezTo>
                      <a:pt x="165" y="95"/>
                      <a:pt x="166" y="95"/>
                      <a:pt x="167" y="93"/>
                    </a:cubicBezTo>
                    <a:cubicBezTo>
                      <a:pt x="169" y="90"/>
                      <a:pt x="171" y="85"/>
                      <a:pt x="171" y="81"/>
                    </a:cubicBezTo>
                    <a:cubicBezTo>
                      <a:pt x="172" y="75"/>
                      <a:pt x="169" y="69"/>
                      <a:pt x="167" y="64"/>
                    </a:cubicBezTo>
                    <a:cubicBezTo>
                      <a:pt x="166" y="59"/>
                      <a:pt x="164" y="54"/>
                      <a:pt x="163" y="49"/>
                    </a:cubicBezTo>
                    <a:cubicBezTo>
                      <a:pt x="162" y="42"/>
                      <a:pt x="161" y="34"/>
                      <a:pt x="158" y="27"/>
                    </a:cubicBezTo>
                    <a:cubicBezTo>
                      <a:pt x="157" y="25"/>
                      <a:pt x="155" y="23"/>
                      <a:pt x="153" y="21"/>
                    </a:cubicBezTo>
                    <a:cubicBezTo>
                      <a:pt x="150" y="18"/>
                      <a:pt x="148" y="15"/>
                      <a:pt x="147" y="12"/>
                    </a:cubicBezTo>
                    <a:cubicBezTo>
                      <a:pt x="146" y="11"/>
                      <a:pt x="144" y="8"/>
                      <a:pt x="143" y="8"/>
                    </a:cubicBezTo>
                    <a:cubicBezTo>
                      <a:pt x="142" y="8"/>
                      <a:pt x="142" y="8"/>
                      <a:pt x="141" y="8"/>
                    </a:cubicBezTo>
                    <a:cubicBezTo>
                      <a:pt x="142" y="7"/>
                      <a:pt x="143" y="6"/>
                      <a:pt x="144" y="6"/>
                    </a:cubicBezTo>
                    <a:cubicBezTo>
                      <a:pt x="144" y="6"/>
                      <a:pt x="144" y="6"/>
                      <a:pt x="145" y="6"/>
                    </a:cubicBezTo>
                    <a:cubicBezTo>
                      <a:pt x="144" y="4"/>
                      <a:pt x="143" y="2"/>
                      <a:pt x="1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127"/>
              <p:cNvSpPr/>
              <p:nvPr/>
            </p:nvSpPr>
            <p:spPr bwMode="auto">
              <a:xfrm>
                <a:off x="6433" y="3693"/>
                <a:ext cx="9" cy="22"/>
              </a:xfrm>
              <a:custGeom>
                <a:gdLst>
                  <a:gd name="T0" fmla="*/ 4 w 4"/>
                  <a:gd name="T1" fmla="*/ 0 h 9"/>
                  <a:gd name="T2" fmla="*/ 0 w 4"/>
                  <a:gd name="T3" fmla="*/ 9 h 9"/>
                  <a:gd name="T4" fmla="*/ 4 w 4"/>
                  <a:gd name="T5" fmla="*/ 0 h 9"/>
                </a:gdLst>
                <a:cxnLst>
                  <a:cxn ang="0">
                    <a:pos x="T0" y="T1"/>
                  </a:cxn>
                  <a:cxn ang="0">
                    <a:pos x="T2" y="T3"/>
                  </a:cxn>
                  <a:cxn ang="0">
                    <a:pos x="T4" y="T5"/>
                  </a:cxn>
                </a:cxnLst>
                <a:rect l="0" t="0" r="r" b="b"/>
                <a:pathLst>
                  <a:path w="4" h="9">
                    <a:moveTo>
                      <a:pt x="4" y="0"/>
                    </a:moveTo>
                    <a:cubicBezTo>
                      <a:pt x="2" y="3"/>
                      <a:pt x="1" y="6"/>
                      <a:pt x="0" y="9"/>
                    </a:cubicBezTo>
                    <a:cubicBezTo>
                      <a:pt x="1" y="6"/>
                      <a:pt x="3"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128"/>
              <p:cNvSpPr/>
              <p:nvPr/>
            </p:nvSpPr>
            <p:spPr bwMode="auto">
              <a:xfrm>
                <a:off x="6341" y="3493"/>
                <a:ext cx="9" cy="11"/>
              </a:xfrm>
              <a:custGeom>
                <a:gdLst>
                  <a:gd name="T0" fmla="*/ 2 w 4"/>
                  <a:gd name="T1" fmla="*/ 0 h 5"/>
                  <a:gd name="T2" fmla="*/ 0 w 4"/>
                  <a:gd name="T3" fmla="*/ 2 h 5"/>
                  <a:gd name="T4" fmla="*/ 3 w 4"/>
                  <a:gd name="T5" fmla="*/ 5 h 5"/>
                  <a:gd name="T6" fmla="*/ 3 w 4"/>
                  <a:gd name="T7" fmla="*/ 0 h 5"/>
                  <a:gd name="T8" fmla="*/ 2 w 4"/>
                  <a:gd name="T9" fmla="*/ 0 h 5"/>
                </a:gdLst>
                <a:cxnLst>
                  <a:cxn ang="0">
                    <a:pos x="T0" y="T1"/>
                  </a:cxn>
                  <a:cxn ang="0">
                    <a:pos x="T2" y="T3"/>
                  </a:cxn>
                  <a:cxn ang="0">
                    <a:pos x="T4" y="T5"/>
                  </a:cxn>
                  <a:cxn ang="0">
                    <a:pos x="T6" y="T7"/>
                  </a:cxn>
                  <a:cxn ang="0">
                    <a:pos x="T8" y="T9"/>
                  </a:cxn>
                </a:cxnLst>
                <a:rect l="0" t="0" r="r" b="b"/>
                <a:pathLst>
                  <a:path w="4" h="5">
                    <a:moveTo>
                      <a:pt x="2" y="0"/>
                    </a:moveTo>
                    <a:cubicBezTo>
                      <a:pt x="1" y="0"/>
                      <a:pt x="0" y="1"/>
                      <a:pt x="0" y="2"/>
                    </a:cubicBezTo>
                    <a:cubicBezTo>
                      <a:pt x="0" y="4"/>
                      <a:pt x="2" y="4"/>
                      <a:pt x="3" y="5"/>
                    </a:cubicBezTo>
                    <a:cubicBezTo>
                      <a:pt x="4" y="4"/>
                      <a:pt x="4" y="1"/>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129"/>
              <p:cNvSpPr/>
              <p:nvPr/>
            </p:nvSpPr>
            <p:spPr bwMode="auto">
              <a:xfrm>
                <a:off x="4129" y="2547"/>
                <a:ext cx="30" cy="28"/>
              </a:xfrm>
              <a:custGeom>
                <a:gdLst>
                  <a:gd name="T0" fmla="*/ 12 w 13"/>
                  <a:gd name="T1" fmla="*/ 0 h 12"/>
                  <a:gd name="T2" fmla="*/ 5 w 13"/>
                  <a:gd name="T3" fmla="*/ 2 h 12"/>
                  <a:gd name="T4" fmla="*/ 4 w 13"/>
                  <a:gd name="T5" fmla="*/ 6 h 12"/>
                  <a:gd name="T6" fmla="*/ 3 w 13"/>
                  <a:gd name="T7" fmla="*/ 6 h 12"/>
                  <a:gd name="T8" fmla="*/ 3 w 13"/>
                  <a:gd name="T9" fmla="*/ 6 h 12"/>
                  <a:gd name="T10" fmla="*/ 2 w 13"/>
                  <a:gd name="T11" fmla="*/ 6 h 12"/>
                  <a:gd name="T12" fmla="*/ 1 w 13"/>
                  <a:gd name="T13" fmla="*/ 6 h 12"/>
                  <a:gd name="T14" fmla="*/ 1 w 13"/>
                  <a:gd name="T15" fmla="*/ 11 h 12"/>
                  <a:gd name="T16" fmla="*/ 6 w 13"/>
                  <a:gd name="T17" fmla="*/ 12 h 12"/>
                  <a:gd name="T18" fmla="*/ 6 w 13"/>
                  <a:gd name="T19" fmla="*/ 12 h 12"/>
                  <a:gd name="T20" fmla="*/ 12 w 13"/>
                  <a:gd name="T21" fmla="*/ 3 h 12"/>
                  <a:gd name="T22" fmla="*/ 12 w 13"/>
                  <a:gd name="T2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12" y="0"/>
                    </a:moveTo>
                    <a:cubicBezTo>
                      <a:pt x="10" y="0"/>
                      <a:pt x="7" y="1"/>
                      <a:pt x="5" y="2"/>
                    </a:cubicBezTo>
                    <a:cubicBezTo>
                      <a:pt x="5" y="2"/>
                      <a:pt x="4" y="6"/>
                      <a:pt x="4" y="6"/>
                    </a:cubicBezTo>
                    <a:cubicBezTo>
                      <a:pt x="4" y="6"/>
                      <a:pt x="4" y="6"/>
                      <a:pt x="3" y="6"/>
                    </a:cubicBezTo>
                    <a:cubicBezTo>
                      <a:pt x="3" y="6"/>
                      <a:pt x="3" y="6"/>
                      <a:pt x="3" y="6"/>
                    </a:cubicBezTo>
                    <a:cubicBezTo>
                      <a:pt x="2" y="6"/>
                      <a:pt x="2" y="6"/>
                      <a:pt x="2" y="6"/>
                    </a:cubicBezTo>
                    <a:cubicBezTo>
                      <a:pt x="2" y="6"/>
                      <a:pt x="2" y="6"/>
                      <a:pt x="1" y="6"/>
                    </a:cubicBezTo>
                    <a:cubicBezTo>
                      <a:pt x="0" y="7"/>
                      <a:pt x="0" y="10"/>
                      <a:pt x="1" y="11"/>
                    </a:cubicBezTo>
                    <a:cubicBezTo>
                      <a:pt x="2" y="11"/>
                      <a:pt x="5" y="12"/>
                      <a:pt x="6" y="12"/>
                    </a:cubicBezTo>
                    <a:cubicBezTo>
                      <a:pt x="6" y="12"/>
                      <a:pt x="6" y="12"/>
                      <a:pt x="6" y="12"/>
                    </a:cubicBezTo>
                    <a:cubicBezTo>
                      <a:pt x="8" y="12"/>
                      <a:pt x="12" y="5"/>
                      <a:pt x="12" y="3"/>
                    </a:cubicBezTo>
                    <a:cubicBezTo>
                      <a:pt x="13"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130"/>
              <p:cNvSpPr/>
              <p:nvPr/>
            </p:nvSpPr>
            <p:spPr bwMode="auto">
              <a:xfrm>
                <a:off x="6121" y="3429"/>
                <a:ext cx="17" cy="16"/>
              </a:xfrm>
              <a:custGeom>
                <a:gdLst>
                  <a:gd name="T0" fmla="*/ 6 w 7"/>
                  <a:gd name="T1" fmla="*/ 0 h 7"/>
                  <a:gd name="T2" fmla="*/ 4 w 7"/>
                  <a:gd name="T3" fmla="*/ 1 h 7"/>
                  <a:gd name="T4" fmla="*/ 1 w 7"/>
                  <a:gd name="T5" fmla="*/ 2 h 7"/>
                  <a:gd name="T6" fmla="*/ 0 w 7"/>
                  <a:gd name="T7" fmla="*/ 2 h 7"/>
                  <a:gd name="T8" fmla="*/ 7 w 7"/>
                  <a:gd name="T9" fmla="*/ 7 h 7"/>
                  <a:gd name="T10" fmla="*/ 6 w 7"/>
                  <a:gd name="T11" fmla="*/ 0 h 7"/>
                  <a:gd name="T12" fmla="*/ 6 w 7"/>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7" h="7">
                    <a:moveTo>
                      <a:pt x="6" y="0"/>
                    </a:moveTo>
                    <a:cubicBezTo>
                      <a:pt x="5" y="0"/>
                      <a:pt x="4" y="1"/>
                      <a:pt x="4" y="1"/>
                    </a:cubicBezTo>
                    <a:cubicBezTo>
                      <a:pt x="3" y="2"/>
                      <a:pt x="2" y="2"/>
                      <a:pt x="1" y="2"/>
                    </a:cubicBezTo>
                    <a:cubicBezTo>
                      <a:pt x="1" y="2"/>
                      <a:pt x="0" y="2"/>
                      <a:pt x="0" y="2"/>
                    </a:cubicBezTo>
                    <a:cubicBezTo>
                      <a:pt x="2" y="4"/>
                      <a:pt x="4" y="6"/>
                      <a:pt x="7" y="7"/>
                    </a:cubicBezTo>
                    <a:cubicBezTo>
                      <a:pt x="7" y="6"/>
                      <a:pt x="7"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131"/>
              <p:cNvSpPr/>
              <p:nvPr/>
            </p:nvSpPr>
            <p:spPr bwMode="auto">
              <a:xfrm>
                <a:off x="6088" y="3438"/>
                <a:ext cx="12" cy="7"/>
              </a:xfrm>
              <a:custGeom>
                <a:gdLst>
                  <a:gd name="T0" fmla="*/ 0 w 5"/>
                  <a:gd name="T1" fmla="*/ 0 h 3"/>
                  <a:gd name="T2" fmla="*/ 0 w 5"/>
                  <a:gd name="T3" fmla="*/ 0 h 3"/>
                  <a:gd name="T4" fmla="*/ 5 w 5"/>
                  <a:gd name="T5" fmla="*/ 3 h 3"/>
                  <a:gd name="T6" fmla="*/ 0 w 5"/>
                  <a:gd name="T7" fmla="*/ 0 h 3"/>
                </a:gdLst>
                <a:cxnLst>
                  <a:cxn ang="0">
                    <a:pos x="T0" y="T1"/>
                  </a:cxn>
                  <a:cxn ang="0">
                    <a:pos x="T2" y="T3"/>
                  </a:cxn>
                  <a:cxn ang="0">
                    <a:pos x="T4" y="T5"/>
                  </a:cxn>
                  <a:cxn ang="0">
                    <a:pos x="T6" y="T7"/>
                  </a:cxn>
                </a:cxnLst>
                <a:rect l="0" t="0" r="r" b="b"/>
                <a:pathLst>
                  <a:path w="5" h="3">
                    <a:moveTo>
                      <a:pt x="0" y="0"/>
                    </a:moveTo>
                    <a:cubicBezTo>
                      <a:pt x="0" y="0"/>
                      <a:pt x="0" y="0"/>
                      <a:pt x="0" y="0"/>
                    </a:cubicBezTo>
                    <a:cubicBezTo>
                      <a:pt x="1" y="1"/>
                      <a:pt x="3" y="2"/>
                      <a:pt x="5"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132"/>
              <p:cNvSpPr/>
              <p:nvPr/>
            </p:nvSpPr>
            <p:spPr bwMode="auto">
              <a:xfrm>
                <a:off x="6064" y="3389"/>
                <a:ext cx="17" cy="33"/>
              </a:xfrm>
              <a:custGeom>
                <a:gdLst>
                  <a:gd name="T0" fmla="*/ 3 w 7"/>
                  <a:gd name="T1" fmla="*/ 0 h 14"/>
                  <a:gd name="T2" fmla="*/ 1 w 7"/>
                  <a:gd name="T3" fmla="*/ 6 h 14"/>
                  <a:gd name="T4" fmla="*/ 6 w 7"/>
                  <a:gd name="T5" fmla="*/ 14 h 14"/>
                  <a:gd name="T6" fmla="*/ 4 w 7"/>
                  <a:gd name="T7" fmla="*/ 7 h 14"/>
                  <a:gd name="T8" fmla="*/ 4 w 7"/>
                  <a:gd name="T9" fmla="*/ 2 h 14"/>
                  <a:gd name="T10" fmla="*/ 3 w 7"/>
                  <a:gd name="T11" fmla="*/ 0 h 14"/>
                </a:gdLst>
                <a:cxnLst>
                  <a:cxn ang="0">
                    <a:pos x="T0" y="T1"/>
                  </a:cxn>
                  <a:cxn ang="0">
                    <a:pos x="T2" y="T3"/>
                  </a:cxn>
                  <a:cxn ang="0">
                    <a:pos x="T4" y="T5"/>
                  </a:cxn>
                  <a:cxn ang="0">
                    <a:pos x="T6" y="T7"/>
                  </a:cxn>
                  <a:cxn ang="0">
                    <a:pos x="T8" y="T9"/>
                  </a:cxn>
                  <a:cxn ang="0">
                    <a:pos x="T10" y="T11"/>
                  </a:cxn>
                </a:cxnLst>
                <a:rect l="0" t="0" r="r" b="b"/>
                <a:pathLst>
                  <a:path w="7" h="14">
                    <a:moveTo>
                      <a:pt x="3" y="0"/>
                    </a:moveTo>
                    <a:cubicBezTo>
                      <a:pt x="2" y="0"/>
                      <a:pt x="1" y="4"/>
                      <a:pt x="1" y="6"/>
                    </a:cubicBezTo>
                    <a:cubicBezTo>
                      <a:pt x="0" y="10"/>
                      <a:pt x="2" y="11"/>
                      <a:pt x="6" y="14"/>
                    </a:cubicBezTo>
                    <a:cubicBezTo>
                      <a:pt x="7" y="11"/>
                      <a:pt x="5" y="10"/>
                      <a:pt x="4" y="7"/>
                    </a:cubicBezTo>
                    <a:cubicBezTo>
                      <a:pt x="4" y="6"/>
                      <a:pt x="4" y="4"/>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133"/>
              <p:cNvSpPr/>
              <p:nvPr/>
            </p:nvSpPr>
            <p:spPr bwMode="auto">
              <a:xfrm>
                <a:off x="6627" y="2044"/>
                <a:ext cx="66" cy="21"/>
              </a:xfrm>
              <a:custGeom>
                <a:gdLst>
                  <a:gd name="T0" fmla="*/ 5 w 28"/>
                  <a:gd name="T1" fmla="*/ 0 h 9"/>
                  <a:gd name="T2" fmla="*/ 4 w 28"/>
                  <a:gd name="T3" fmla="*/ 0 h 9"/>
                  <a:gd name="T4" fmla="*/ 0 w 28"/>
                  <a:gd name="T5" fmla="*/ 4 h 9"/>
                  <a:gd name="T6" fmla="*/ 0 w 28"/>
                  <a:gd name="T7" fmla="*/ 4 h 9"/>
                  <a:gd name="T8" fmla="*/ 10 w 28"/>
                  <a:gd name="T9" fmla="*/ 9 h 9"/>
                  <a:gd name="T10" fmla="*/ 21 w 28"/>
                  <a:gd name="T11" fmla="*/ 7 h 9"/>
                  <a:gd name="T12" fmla="*/ 28 w 28"/>
                  <a:gd name="T13" fmla="*/ 4 h 9"/>
                  <a:gd name="T14" fmla="*/ 28 w 28"/>
                  <a:gd name="T15" fmla="*/ 4 h 9"/>
                  <a:gd name="T16" fmla="*/ 20 w 28"/>
                  <a:gd name="T17" fmla="*/ 1 h 9"/>
                  <a:gd name="T18" fmla="*/ 18 w 28"/>
                  <a:gd name="T19" fmla="*/ 0 h 9"/>
                  <a:gd name="T20" fmla="*/ 14 w 28"/>
                  <a:gd name="T21" fmla="*/ 1 h 9"/>
                  <a:gd name="T22" fmla="*/ 11 w 28"/>
                  <a:gd name="T23" fmla="*/ 1 h 9"/>
                  <a:gd name="T24" fmla="*/ 9 w 28"/>
                  <a:gd name="T25" fmla="*/ 1 h 9"/>
                  <a:gd name="T26" fmla="*/ 5 w 28"/>
                  <a:gd name="T2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9">
                    <a:moveTo>
                      <a:pt x="5" y="0"/>
                    </a:moveTo>
                    <a:cubicBezTo>
                      <a:pt x="4" y="0"/>
                      <a:pt x="4" y="0"/>
                      <a:pt x="4" y="0"/>
                    </a:cubicBezTo>
                    <a:cubicBezTo>
                      <a:pt x="2" y="1"/>
                      <a:pt x="2" y="4"/>
                      <a:pt x="0" y="4"/>
                    </a:cubicBezTo>
                    <a:cubicBezTo>
                      <a:pt x="0" y="4"/>
                      <a:pt x="0" y="4"/>
                      <a:pt x="0" y="4"/>
                    </a:cubicBezTo>
                    <a:cubicBezTo>
                      <a:pt x="3" y="6"/>
                      <a:pt x="6" y="8"/>
                      <a:pt x="10" y="9"/>
                    </a:cubicBezTo>
                    <a:cubicBezTo>
                      <a:pt x="14" y="9"/>
                      <a:pt x="17" y="9"/>
                      <a:pt x="21" y="7"/>
                    </a:cubicBezTo>
                    <a:cubicBezTo>
                      <a:pt x="23" y="7"/>
                      <a:pt x="26" y="4"/>
                      <a:pt x="28" y="4"/>
                    </a:cubicBezTo>
                    <a:cubicBezTo>
                      <a:pt x="28" y="4"/>
                      <a:pt x="28" y="4"/>
                      <a:pt x="28" y="4"/>
                    </a:cubicBezTo>
                    <a:cubicBezTo>
                      <a:pt x="26" y="3"/>
                      <a:pt x="23" y="1"/>
                      <a:pt x="20" y="1"/>
                    </a:cubicBezTo>
                    <a:cubicBezTo>
                      <a:pt x="19" y="0"/>
                      <a:pt x="19" y="0"/>
                      <a:pt x="18" y="0"/>
                    </a:cubicBezTo>
                    <a:cubicBezTo>
                      <a:pt x="17" y="0"/>
                      <a:pt x="16" y="1"/>
                      <a:pt x="14" y="1"/>
                    </a:cubicBezTo>
                    <a:cubicBezTo>
                      <a:pt x="13" y="1"/>
                      <a:pt x="12" y="1"/>
                      <a:pt x="11" y="1"/>
                    </a:cubicBezTo>
                    <a:cubicBezTo>
                      <a:pt x="10" y="1"/>
                      <a:pt x="10" y="1"/>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134"/>
              <p:cNvSpPr/>
              <p:nvPr/>
            </p:nvSpPr>
            <p:spPr bwMode="auto">
              <a:xfrm>
                <a:off x="6558" y="2070"/>
                <a:ext cx="14" cy="4"/>
              </a:xfrm>
              <a:custGeom>
                <a:gdLst>
                  <a:gd name="T0" fmla="*/ 1 w 6"/>
                  <a:gd name="T1" fmla="*/ 0 h 2"/>
                  <a:gd name="T2" fmla="*/ 0 w 6"/>
                  <a:gd name="T3" fmla="*/ 0 h 2"/>
                  <a:gd name="T4" fmla="*/ 6 w 6"/>
                  <a:gd name="T5" fmla="*/ 2 h 2"/>
                  <a:gd name="T6" fmla="*/ 1 w 6"/>
                  <a:gd name="T7" fmla="*/ 0 h 2"/>
                </a:gdLst>
                <a:cxnLst>
                  <a:cxn ang="0">
                    <a:pos x="T0" y="T1"/>
                  </a:cxn>
                  <a:cxn ang="0">
                    <a:pos x="T2" y="T3"/>
                  </a:cxn>
                  <a:cxn ang="0">
                    <a:pos x="T4" y="T5"/>
                  </a:cxn>
                  <a:cxn ang="0">
                    <a:pos x="T6" y="T7"/>
                  </a:cxn>
                </a:cxnLst>
                <a:rect l="0" t="0" r="r" b="b"/>
                <a:pathLst>
                  <a:path w="6" h="2">
                    <a:moveTo>
                      <a:pt x="1" y="0"/>
                    </a:moveTo>
                    <a:cubicBezTo>
                      <a:pt x="0" y="0"/>
                      <a:pt x="0" y="0"/>
                      <a:pt x="0" y="0"/>
                    </a:cubicBezTo>
                    <a:cubicBezTo>
                      <a:pt x="2" y="1"/>
                      <a:pt x="4" y="2"/>
                      <a:pt x="6" y="2"/>
                    </a:cubicBezTo>
                    <a:cubicBezTo>
                      <a:pt x="5"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135"/>
              <p:cNvSpPr/>
              <p:nvPr/>
            </p:nvSpPr>
            <p:spPr bwMode="auto">
              <a:xfrm>
                <a:off x="5492" y="959"/>
                <a:ext cx="19" cy="4"/>
              </a:xfrm>
              <a:custGeom>
                <a:gdLst>
                  <a:gd name="T0" fmla="*/ 5 w 8"/>
                  <a:gd name="T1" fmla="*/ 0 h 2"/>
                  <a:gd name="T2" fmla="*/ 0 w 8"/>
                  <a:gd name="T3" fmla="*/ 2 h 2"/>
                  <a:gd name="T4" fmla="*/ 8 w 8"/>
                  <a:gd name="T5" fmla="*/ 1 h 2"/>
                  <a:gd name="T6" fmla="*/ 5 w 8"/>
                  <a:gd name="T7" fmla="*/ 0 h 2"/>
                </a:gdLst>
                <a:cxnLst>
                  <a:cxn ang="0">
                    <a:pos x="T0" y="T1"/>
                  </a:cxn>
                  <a:cxn ang="0">
                    <a:pos x="T2" y="T3"/>
                  </a:cxn>
                  <a:cxn ang="0">
                    <a:pos x="T4" y="T5"/>
                  </a:cxn>
                  <a:cxn ang="0">
                    <a:pos x="T6" y="T7"/>
                  </a:cxn>
                </a:cxnLst>
                <a:rect l="0" t="0" r="r" b="b"/>
                <a:pathLst>
                  <a:path w="8" h="2">
                    <a:moveTo>
                      <a:pt x="5" y="0"/>
                    </a:moveTo>
                    <a:cubicBezTo>
                      <a:pt x="4" y="0"/>
                      <a:pt x="2" y="1"/>
                      <a:pt x="0" y="2"/>
                    </a:cubicBezTo>
                    <a:cubicBezTo>
                      <a:pt x="3" y="2"/>
                      <a:pt x="5" y="1"/>
                      <a:pt x="8"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136"/>
              <p:cNvSpPr/>
              <p:nvPr/>
            </p:nvSpPr>
            <p:spPr bwMode="auto">
              <a:xfrm>
                <a:off x="2701" y="859"/>
                <a:ext cx="33" cy="14"/>
              </a:xfrm>
              <a:custGeom>
                <a:gdLst>
                  <a:gd name="T0" fmla="*/ 7 w 14"/>
                  <a:gd name="T1" fmla="*/ 0 h 6"/>
                  <a:gd name="T2" fmla="*/ 0 w 14"/>
                  <a:gd name="T3" fmla="*/ 1 h 6"/>
                  <a:gd name="T4" fmla="*/ 8 w 14"/>
                  <a:gd name="T5" fmla="*/ 6 h 6"/>
                  <a:gd name="T6" fmla="*/ 14 w 14"/>
                  <a:gd name="T7" fmla="*/ 2 h 6"/>
                  <a:gd name="T8" fmla="*/ 13 w 14"/>
                  <a:gd name="T9" fmla="*/ 2 h 6"/>
                  <a:gd name="T10" fmla="*/ 8 w 14"/>
                  <a:gd name="T11" fmla="*/ 0 h 6"/>
                  <a:gd name="T12" fmla="*/ 7 w 1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14" h="6">
                    <a:moveTo>
                      <a:pt x="7" y="0"/>
                    </a:moveTo>
                    <a:cubicBezTo>
                      <a:pt x="5" y="0"/>
                      <a:pt x="2" y="1"/>
                      <a:pt x="0" y="1"/>
                    </a:cubicBezTo>
                    <a:cubicBezTo>
                      <a:pt x="1" y="4"/>
                      <a:pt x="5" y="5"/>
                      <a:pt x="8" y="6"/>
                    </a:cubicBezTo>
                    <a:cubicBezTo>
                      <a:pt x="10" y="4"/>
                      <a:pt x="12" y="4"/>
                      <a:pt x="14" y="2"/>
                    </a:cubicBezTo>
                    <a:cubicBezTo>
                      <a:pt x="14" y="2"/>
                      <a:pt x="13" y="2"/>
                      <a:pt x="13" y="2"/>
                    </a:cubicBezTo>
                    <a:cubicBezTo>
                      <a:pt x="11" y="2"/>
                      <a:pt x="10" y="1"/>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137"/>
              <p:cNvSpPr/>
              <p:nvPr/>
            </p:nvSpPr>
            <p:spPr bwMode="auto">
              <a:xfrm>
                <a:off x="2659" y="1103"/>
                <a:ext cx="19" cy="21"/>
              </a:xfrm>
              <a:custGeom>
                <a:gdLst>
                  <a:gd name="T0" fmla="*/ 4 w 8"/>
                  <a:gd name="T1" fmla="*/ 0 h 9"/>
                  <a:gd name="T2" fmla="*/ 1 w 8"/>
                  <a:gd name="T3" fmla="*/ 3 h 9"/>
                  <a:gd name="T4" fmla="*/ 6 w 8"/>
                  <a:gd name="T5" fmla="*/ 9 h 9"/>
                  <a:gd name="T6" fmla="*/ 6 w 8"/>
                  <a:gd name="T7" fmla="*/ 1 h 9"/>
                  <a:gd name="T8" fmla="*/ 4 w 8"/>
                  <a:gd name="T9" fmla="*/ 0 h 9"/>
                </a:gdLst>
                <a:cxnLst>
                  <a:cxn ang="0">
                    <a:pos x="T0" y="T1"/>
                  </a:cxn>
                  <a:cxn ang="0">
                    <a:pos x="T2" y="T3"/>
                  </a:cxn>
                  <a:cxn ang="0">
                    <a:pos x="T4" y="T5"/>
                  </a:cxn>
                  <a:cxn ang="0">
                    <a:pos x="T6" y="T7"/>
                  </a:cxn>
                  <a:cxn ang="0">
                    <a:pos x="T8" y="T9"/>
                  </a:cxn>
                </a:cxnLst>
                <a:rect l="0" t="0" r="r" b="b"/>
                <a:pathLst>
                  <a:path w="8" h="9">
                    <a:moveTo>
                      <a:pt x="4" y="0"/>
                    </a:moveTo>
                    <a:cubicBezTo>
                      <a:pt x="3" y="0"/>
                      <a:pt x="1" y="1"/>
                      <a:pt x="1" y="3"/>
                    </a:cubicBezTo>
                    <a:cubicBezTo>
                      <a:pt x="0" y="5"/>
                      <a:pt x="4" y="9"/>
                      <a:pt x="6" y="9"/>
                    </a:cubicBezTo>
                    <a:cubicBezTo>
                      <a:pt x="6" y="7"/>
                      <a:pt x="8" y="2"/>
                      <a:pt x="6" y="1"/>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38"/>
              <p:cNvSpPr/>
              <p:nvPr/>
            </p:nvSpPr>
            <p:spPr bwMode="auto">
              <a:xfrm>
                <a:off x="2647" y="1164"/>
                <a:ext cx="19" cy="12"/>
              </a:xfrm>
              <a:custGeom>
                <a:gdLst>
                  <a:gd name="T0" fmla="*/ 8 w 8"/>
                  <a:gd name="T1" fmla="*/ 0 h 5"/>
                  <a:gd name="T2" fmla="*/ 4 w 8"/>
                  <a:gd name="T3" fmla="*/ 2 h 5"/>
                  <a:gd name="T4" fmla="*/ 6 w 8"/>
                  <a:gd name="T5" fmla="*/ 5 h 5"/>
                  <a:gd name="T6" fmla="*/ 8 w 8"/>
                  <a:gd name="T7" fmla="*/ 0 h 5"/>
                </a:gdLst>
                <a:cxnLst>
                  <a:cxn ang="0">
                    <a:pos x="T0" y="T1"/>
                  </a:cxn>
                  <a:cxn ang="0">
                    <a:pos x="T2" y="T3"/>
                  </a:cxn>
                  <a:cxn ang="0">
                    <a:pos x="T4" y="T5"/>
                  </a:cxn>
                  <a:cxn ang="0">
                    <a:pos x="T6" y="T7"/>
                  </a:cxn>
                </a:cxnLst>
                <a:rect l="0" t="0" r="r" b="b"/>
                <a:pathLst>
                  <a:path w="8" h="5">
                    <a:moveTo>
                      <a:pt x="8" y="0"/>
                    </a:moveTo>
                    <a:cubicBezTo>
                      <a:pt x="6" y="1"/>
                      <a:pt x="6" y="1"/>
                      <a:pt x="4" y="2"/>
                    </a:cubicBezTo>
                    <a:cubicBezTo>
                      <a:pt x="0" y="4"/>
                      <a:pt x="3" y="3"/>
                      <a:pt x="6" y="5"/>
                    </a:cubicBezTo>
                    <a:cubicBezTo>
                      <a:pt x="7" y="4"/>
                      <a:pt x="8"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139"/>
              <p:cNvSpPr/>
              <p:nvPr/>
            </p:nvSpPr>
            <p:spPr bwMode="auto">
              <a:xfrm>
                <a:off x="2694" y="1145"/>
                <a:ext cx="19" cy="10"/>
              </a:xfrm>
              <a:custGeom>
                <a:gdLst>
                  <a:gd name="T0" fmla="*/ 5 w 8"/>
                  <a:gd name="T1" fmla="*/ 0 h 4"/>
                  <a:gd name="T2" fmla="*/ 4 w 8"/>
                  <a:gd name="T3" fmla="*/ 4 h 4"/>
                  <a:gd name="T4" fmla="*/ 5 w 8"/>
                  <a:gd name="T5" fmla="*/ 0 h 4"/>
                </a:gdLst>
                <a:cxnLst>
                  <a:cxn ang="0">
                    <a:pos x="T0" y="T1"/>
                  </a:cxn>
                  <a:cxn ang="0">
                    <a:pos x="T2" y="T3"/>
                  </a:cxn>
                  <a:cxn ang="0">
                    <a:pos x="T4" y="T5"/>
                  </a:cxn>
                </a:cxnLst>
                <a:rect l="0" t="0" r="r" b="b"/>
                <a:pathLst>
                  <a:path w="8" h="4">
                    <a:moveTo>
                      <a:pt x="5" y="0"/>
                    </a:moveTo>
                    <a:cubicBezTo>
                      <a:pt x="2" y="0"/>
                      <a:pt x="0" y="1"/>
                      <a:pt x="4" y="4"/>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140"/>
              <p:cNvSpPr/>
              <p:nvPr/>
            </p:nvSpPr>
            <p:spPr bwMode="auto">
              <a:xfrm>
                <a:off x="2720" y="1119"/>
                <a:ext cx="45" cy="38"/>
              </a:xfrm>
              <a:custGeom>
                <a:gdLst>
                  <a:gd name="T0" fmla="*/ 19 w 19"/>
                  <a:gd name="T1" fmla="*/ 0 h 16"/>
                  <a:gd name="T2" fmla="*/ 14 w 19"/>
                  <a:gd name="T3" fmla="*/ 1 h 16"/>
                  <a:gd name="T4" fmla="*/ 11 w 19"/>
                  <a:gd name="T5" fmla="*/ 4 h 16"/>
                  <a:gd name="T6" fmla="*/ 1 w 19"/>
                  <a:gd name="T7" fmla="*/ 6 h 16"/>
                  <a:gd name="T8" fmla="*/ 0 w 19"/>
                  <a:gd name="T9" fmla="*/ 7 h 16"/>
                  <a:gd name="T10" fmla="*/ 1 w 19"/>
                  <a:gd name="T11" fmla="*/ 8 h 16"/>
                  <a:gd name="T12" fmla="*/ 6 w 19"/>
                  <a:gd name="T13" fmla="*/ 16 h 16"/>
                  <a:gd name="T14" fmla="*/ 19 w 19"/>
                  <a:gd name="T15" fmla="*/ 0 h 1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6">
                    <a:moveTo>
                      <a:pt x="19" y="0"/>
                    </a:moveTo>
                    <a:cubicBezTo>
                      <a:pt x="17" y="1"/>
                      <a:pt x="15" y="1"/>
                      <a:pt x="14" y="1"/>
                    </a:cubicBezTo>
                    <a:cubicBezTo>
                      <a:pt x="13" y="2"/>
                      <a:pt x="12" y="3"/>
                      <a:pt x="11" y="4"/>
                    </a:cubicBezTo>
                    <a:cubicBezTo>
                      <a:pt x="8" y="6"/>
                      <a:pt x="5" y="5"/>
                      <a:pt x="1" y="6"/>
                    </a:cubicBezTo>
                    <a:cubicBezTo>
                      <a:pt x="0" y="7"/>
                      <a:pt x="0" y="7"/>
                      <a:pt x="0" y="7"/>
                    </a:cubicBezTo>
                    <a:cubicBezTo>
                      <a:pt x="1" y="7"/>
                      <a:pt x="1" y="7"/>
                      <a:pt x="1" y="8"/>
                    </a:cubicBezTo>
                    <a:cubicBezTo>
                      <a:pt x="3" y="10"/>
                      <a:pt x="5" y="13"/>
                      <a:pt x="6" y="16"/>
                    </a:cubicBezTo>
                    <a:cubicBezTo>
                      <a:pt x="10" y="11"/>
                      <a:pt x="15" y="6"/>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141"/>
              <p:cNvSpPr/>
              <p:nvPr/>
            </p:nvSpPr>
            <p:spPr bwMode="auto">
              <a:xfrm>
                <a:off x="2779" y="1145"/>
                <a:ext cx="31" cy="26"/>
              </a:xfrm>
              <a:custGeom>
                <a:gdLst>
                  <a:gd name="T0" fmla="*/ 10 w 13"/>
                  <a:gd name="T1" fmla="*/ 0 h 11"/>
                  <a:gd name="T2" fmla="*/ 8 w 13"/>
                  <a:gd name="T3" fmla="*/ 1 h 11"/>
                  <a:gd name="T4" fmla="*/ 4 w 13"/>
                  <a:gd name="T5" fmla="*/ 0 h 11"/>
                  <a:gd name="T6" fmla="*/ 1 w 13"/>
                  <a:gd name="T7" fmla="*/ 7 h 11"/>
                  <a:gd name="T8" fmla="*/ 7 w 13"/>
                  <a:gd name="T9" fmla="*/ 11 h 11"/>
                  <a:gd name="T10" fmla="*/ 10 w 13"/>
                  <a:gd name="T11" fmla="*/ 0 h 11"/>
                </a:gdLst>
                <a:cxnLst>
                  <a:cxn ang="0">
                    <a:pos x="T0" y="T1"/>
                  </a:cxn>
                  <a:cxn ang="0">
                    <a:pos x="T2" y="T3"/>
                  </a:cxn>
                  <a:cxn ang="0">
                    <a:pos x="T4" y="T5"/>
                  </a:cxn>
                  <a:cxn ang="0">
                    <a:pos x="T6" y="T7"/>
                  </a:cxn>
                  <a:cxn ang="0">
                    <a:pos x="T8" y="T9"/>
                  </a:cxn>
                  <a:cxn ang="0">
                    <a:pos x="T10" y="T11"/>
                  </a:cxn>
                </a:cxnLst>
                <a:rect l="0" t="0" r="r" b="b"/>
                <a:pathLst>
                  <a:path w="13" h="11">
                    <a:moveTo>
                      <a:pt x="10" y="0"/>
                    </a:moveTo>
                    <a:cubicBezTo>
                      <a:pt x="10" y="1"/>
                      <a:pt x="9" y="1"/>
                      <a:pt x="8" y="1"/>
                    </a:cubicBezTo>
                    <a:cubicBezTo>
                      <a:pt x="7" y="1"/>
                      <a:pt x="5" y="0"/>
                      <a:pt x="4" y="0"/>
                    </a:cubicBezTo>
                    <a:cubicBezTo>
                      <a:pt x="4" y="3"/>
                      <a:pt x="0" y="3"/>
                      <a:pt x="1" y="7"/>
                    </a:cubicBezTo>
                    <a:cubicBezTo>
                      <a:pt x="2" y="9"/>
                      <a:pt x="5" y="11"/>
                      <a:pt x="7" y="11"/>
                    </a:cubicBezTo>
                    <a:cubicBezTo>
                      <a:pt x="12" y="8"/>
                      <a:pt x="13" y="6"/>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142"/>
              <p:cNvSpPr/>
              <p:nvPr/>
            </p:nvSpPr>
            <p:spPr bwMode="auto">
              <a:xfrm>
                <a:off x="2855" y="1105"/>
                <a:ext cx="43" cy="47"/>
              </a:xfrm>
              <a:custGeom>
                <a:gdLst>
                  <a:gd name="T0" fmla="*/ 11 w 18"/>
                  <a:gd name="T1" fmla="*/ 0 h 20"/>
                  <a:gd name="T2" fmla="*/ 13 w 18"/>
                  <a:gd name="T3" fmla="*/ 2 h 20"/>
                  <a:gd name="T4" fmla="*/ 10 w 18"/>
                  <a:gd name="T5" fmla="*/ 8 h 20"/>
                  <a:gd name="T6" fmla="*/ 7 w 18"/>
                  <a:gd name="T7" fmla="*/ 13 h 20"/>
                  <a:gd name="T8" fmla="*/ 1 w 18"/>
                  <a:gd name="T9" fmla="*/ 19 h 20"/>
                  <a:gd name="T10" fmla="*/ 0 w 18"/>
                  <a:gd name="T11" fmla="*/ 20 h 20"/>
                  <a:gd name="T12" fmla="*/ 1 w 18"/>
                  <a:gd name="T13" fmla="*/ 20 h 20"/>
                  <a:gd name="T14" fmla="*/ 1 w 18"/>
                  <a:gd name="T15" fmla="*/ 20 h 20"/>
                  <a:gd name="T16" fmla="*/ 4 w 18"/>
                  <a:gd name="T17" fmla="*/ 20 h 20"/>
                  <a:gd name="T18" fmla="*/ 15 w 18"/>
                  <a:gd name="T19" fmla="*/ 10 h 20"/>
                  <a:gd name="T20" fmla="*/ 16 w 18"/>
                  <a:gd name="T21" fmla="*/ 4 h 20"/>
                  <a:gd name="T22" fmla="*/ 18 w 18"/>
                  <a:gd name="T23" fmla="*/ 5 h 20"/>
                  <a:gd name="T24" fmla="*/ 11 w 18"/>
                  <a:gd name="T25"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20">
                    <a:moveTo>
                      <a:pt x="11" y="0"/>
                    </a:moveTo>
                    <a:cubicBezTo>
                      <a:pt x="12" y="1"/>
                      <a:pt x="12" y="2"/>
                      <a:pt x="13" y="2"/>
                    </a:cubicBezTo>
                    <a:cubicBezTo>
                      <a:pt x="11" y="3"/>
                      <a:pt x="11" y="6"/>
                      <a:pt x="10" y="8"/>
                    </a:cubicBezTo>
                    <a:cubicBezTo>
                      <a:pt x="9" y="9"/>
                      <a:pt x="8" y="11"/>
                      <a:pt x="7" y="13"/>
                    </a:cubicBezTo>
                    <a:cubicBezTo>
                      <a:pt x="6" y="17"/>
                      <a:pt x="5" y="17"/>
                      <a:pt x="1" y="19"/>
                    </a:cubicBezTo>
                    <a:cubicBezTo>
                      <a:pt x="0" y="20"/>
                      <a:pt x="0" y="20"/>
                      <a:pt x="0" y="20"/>
                    </a:cubicBezTo>
                    <a:cubicBezTo>
                      <a:pt x="1" y="20"/>
                      <a:pt x="1" y="20"/>
                      <a:pt x="1" y="20"/>
                    </a:cubicBezTo>
                    <a:cubicBezTo>
                      <a:pt x="1" y="20"/>
                      <a:pt x="1" y="20"/>
                      <a:pt x="1" y="20"/>
                    </a:cubicBezTo>
                    <a:cubicBezTo>
                      <a:pt x="2" y="20"/>
                      <a:pt x="3" y="20"/>
                      <a:pt x="4" y="20"/>
                    </a:cubicBezTo>
                    <a:cubicBezTo>
                      <a:pt x="9" y="17"/>
                      <a:pt x="14" y="16"/>
                      <a:pt x="15" y="10"/>
                    </a:cubicBezTo>
                    <a:cubicBezTo>
                      <a:pt x="16" y="9"/>
                      <a:pt x="16" y="6"/>
                      <a:pt x="16" y="4"/>
                    </a:cubicBezTo>
                    <a:cubicBezTo>
                      <a:pt x="16" y="4"/>
                      <a:pt x="17" y="5"/>
                      <a:pt x="18" y="5"/>
                    </a:cubicBezTo>
                    <a:cubicBezTo>
                      <a:pt x="16" y="2"/>
                      <a:pt x="14"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143"/>
              <p:cNvSpPr/>
              <p:nvPr/>
            </p:nvSpPr>
            <p:spPr bwMode="auto">
              <a:xfrm>
                <a:off x="2895" y="1081"/>
                <a:ext cx="21" cy="24"/>
              </a:xfrm>
              <a:custGeom>
                <a:gdLst>
                  <a:gd name="T0" fmla="*/ 8 w 9"/>
                  <a:gd name="T1" fmla="*/ 0 h 10"/>
                  <a:gd name="T2" fmla="*/ 7 w 9"/>
                  <a:gd name="T3" fmla="*/ 1 h 10"/>
                  <a:gd name="T4" fmla="*/ 0 w 9"/>
                  <a:gd name="T5" fmla="*/ 10 h 10"/>
                  <a:gd name="T6" fmla="*/ 8 w 9"/>
                  <a:gd name="T7" fmla="*/ 4 h 10"/>
                  <a:gd name="T8" fmla="*/ 8 w 9"/>
                  <a:gd name="T9" fmla="*/ 0 h 10"/>
                </a:gdLst>
                <a:cxnLst>
                  <a:cxn ang="0">
                    <a:pos x="T0" y="T1"/>
                  </a:cxn>
                  <a:cxn ang="0">
                    <a:pos x="T2" y="T3"/>
                  </a:cxn>
                  <a:cxn ang="0">
                    <a:pos x="T4" y="T5"/>
                  </a:cxn>
                  <a:cxn ang="0">
                    <a:pos x="T6" y="T7"/>
                  </a:cxn>
                  <a:cxn ang="0">
                    <a:pos x="T8" y="T9"/>
                  </a:cxn>
                </a:cxnLst>
                <a:rect l="0" t="0" r="r" b="b"/>
                <a:pathLst>
                  <a:path w="9" h="10">
                    <a:moveTo>
                      <a:pt x="8" y="0"/>
                    </a:moveTo>
                    <a:cubicBezTo>
                      <a:pt x="8" y="0"/>
                      <a:pt x="7" y="0"/>
                      <a:pt x="7" y="1"/>
                    </a:cubicBezTo>
                    <a:cubicBezTo>
                      <a:pt x="1" y="4"/>
                      <a:pt x="0" y="3"/>
                      <a:pt x="0" y="10"/>
                    </a:cubicBezTo>
                    <a:cubicBezTo>
                      <a:pt x="2" y="6"/>
                      <a:pt x="6" y="8"/>
                      <a:pt x="8" y="4"/>
                    </a:cubicBezTo>
                    <a:cubicBezTo>
                      <a:pt x="8" y="3"/>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144"/>
              <p:cNvSpPr/>
              <p:nvPr/>
            </p:nvSpPr>
            <p:spPr bwMode="auto">
              <a:xfrm>
                <a:off x="4020" y="2731"/>
                <a:ext cx="17" cy="22"/>
              </a:xfrm>
              <a:custGeom>
                <a:gdLst>
                  <a:gd name="T0" fmla="*/ 5 w 7"/>
                  <a:gd name="T1" fmla="*/ 0 h 9"/>
                  <a:gd name="T2" fmla="*/ 2 w 7"/>
                  <a:gd name="T3" fmla="*/ 1 h 9"/>
                  <a:gd name="T4" fmla="*/ 2 w 7"/>
                  <a:gd name="T5" fmla="*/ 9 h 9"/>
                  <a:gd name="T6" fmla="*/ 7 w 7"/>
                  <a:gd name="T7" fmla="*/ 3 h 9"/>
                  <a:gd name="T8" fmla="*/ 5 w 7"/>
                  <a:gd name="T9" fmla="*/ 0 h 9"/>
                </a:gdLst>
                <a:cxnLst>
                  <a:cxn ang="0">
                    <a:pos x="T0" y="T1"/>
                  </a:cxn>
                  <a:cxn ang="0">
                    <a:pos x="T2" y="T3"/>
                  </a:cxn>
                  <a:cxn ang="0">
                    <a:pos x="T4" y="T5"/>
                  </a:cxn>
                  <a:cxn ang="0">
                    <a:pos x="T6" y="T7"/>
                  </a:cxn>
                  <a:cxn ang="0">
                    <a:pos x="T8" y="T9"/>
                  </a:cxn>
                </a:cxnLst>
                <a:rect l="0" t="0" r="r" b="b"/>
                <a:pathLst>
                  <a:path w="7" h="9">
                    <a:moveTo>
                      <a:pt x="5" y="0"/>
                    </a:moveTo>
                    <a:cubicBezTo>
                      <a:pt x="4" y="0"/>
                      <a:pt x="3" y="1"/>
                      <a:pt x="2" y="1"/>
                    </a:cubicBezTo>
                    <a:cubicBezTo>
                      <a:pt x="0" y="3"/>
                      <a:pt x="1" y="6"/>
                      <a:pt x="2" y="9"/>
                    </a:cubicBezTo>
                    <a:cubicBezTo>
                      <a:pt x="4" y="8"/>
                      <a:pt x="7" y="6"/>
                      <a:pt x="7" y="3"/>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145"/>
              <p:cNvSpPr/>
              <p:nvPr/>
            </p:nvSpPr>
            <p:spPr bwMode="auto">
              <a:xfrm>
                <a:off x="6851" y="3880"/>
                <a:ext cx="24" cy="29"/>
              </a:xfrm>
              <a:custGeom>
                <a:gdLst>
                  <a:gd name="T0" fmla="*/ 6 w 10"/>
                  <a:gd name="T1" fmla="*/ 0 h 12"/>
                  <a:gd name="T2" fmla="*/ 5 w 10"/>
                  <a:gd name="T3" fmla="*/ 0 h 12"/>
                  <a:gd name="T4" fmla="*/ 0 w 10"/>
                  <a:gd name="T5" fmla="*/ 12 h 12"/>
                  <a:gd name="T6" fmla="*/ 2 w 10"/>
                  <a:gd name="T7" fmla="*/ 12 h 12"/>
                  <a:gd name="T8" fmla="*/ 10 w 10"/>
                  <a:gd name="T9" fmla="*/ 8 h 12"/>
                  <a:gd name="T10" fmla="*/ 6 w 10"/>
                  <a:gd name="T11" fmla="*/ 0 h 12"/>
                </a:gdLst>
                <a:cxnLst>
                  <a:cxn ang="0">
                    <a:pos x="T0" y="T1"/>
                  </a:cxn>
                  <a:cxn ang="0">
                    <a:pos x="T2" y="T3"/>
                  </a:cxn>
                  <a:cxn ang="0">
                    <a:pos x="T4" y="T5"/>
                  </a:cxn>
                  <a:cxn ang="0">
                    <a:pos x="T6" y="T7"/>
                  </a:cxn>
                  <a:cxn ang="0">
                    <a:pos x="T8" y="T9"/>
                  </a:cxn>
                  <a:cxn ang="0">
                    <a:pos x="T10" y="T11"/>
                  </a:cxn>
                </a:cxnLst>
                <a:rect l="0" t="0" r="r" b="b"/>
                <a:pathLst>
                  <a:path w="10" h="12">
                    <a:moveTo>
                      <a:pt x="6" y="0"/>
                    </a:moveTo>
                    <a:cubicBezTo>
                      <a:pt x="6" y="0"/>
                      <a:pt x="5" y="0"/>
                      <a:pt x="5" y="0"/>
                    </a:cubicBezTo>
                    <a:cubicBezTo>
                      <a:pt x="2" y="2"/>
                      <a:pt x="1" y="9"/>
                      <a:pt x="0" y="12"/>
                    </a:cubicBezTo>
                    <a:cubicBezTo>
                      <a:pt x="1" y="12"/>
                      <a:pt x="2" y="12"/>
                      <a:pt x="2" y="12"/>
                    </a:cubicBezTo>
                    <a:cubicBezTo>
                      <a:pt x="6" y="12"/>
                      <a:pt x="9" y="12"/>
                      <a:pt x="10" y="8"/>
                    </a:cubicBezTo>
                    <a:cubicBezTo>
                      <a:pt x="10" y="6"/>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146"/>
              <p:cNvSpPr/>
              <p:nvPr/>
            </p:nvSpPr>
            <p:spPr bwMode="auto">
              <a:xfrm>
                <a:off x="6726" y="3932"/>
                <a:ext cx="40" cy="29"/>
              </a:xfrm>
              <a:custGeom>
                <a:gdLst>
                  <a:gd name="T0" fmla="*/ 10 w 17"/>
                  <a:gd name="T1" fmla="*/ 0 h 12"/>
                  <a:gd name="T2" fmla="*/ 10 w 17"/>
                  <a:gd name="T3" fmla="*/ 0 h 12"/>
                  <a:gd name="T4" fmla="*/ 11 w 17"/>
                  <a:gd name="T5" fmla="*/ 12 h 12"/>
                  <a:gd name="T6" fmla="*/ 12 w 17"/>
                  <a:gd name="T7" fmla="*/ 12 h 12"/>
                  <a:gd name="T8" fmla="*/ 16 w 17"/>
                  <a:gd name="T9" fmla="*/ 6 h 12"/>
                  <a:gd name="T10" fmla="*/ 10 w 17"/>
                  <a:gd name="T11" fmla="*/ 0 h 12"/>
                </a:gdLst>
                <a:cxnLst>
                  <a:cxn ang="0">
                    <a:pos x="T0" y="T1"/>
                  </a:cxn>
                  <a:cxn ang="0">
                    <a:pos x="T2" y="T3"/>
                  </a:cxn>
                  <a:cxn ang="0">
                    <a:pos x="T4" y="T5"/>
                  </a:cxn>
                  <a:cxn ang="0">
                    <a:pos x="T6" y="T7"/>
                  </a:cxn>
                  <a:cxn ang="0">
                    <a:pos x="T8" y="T9"/>
                  </a:cxn>
                  <a:cxn ang="0">
                    <a:pos x="T10" y="T11"/>
                  </a:cxn>
                </a:cxnLst>
                <a:rect l="0" t="0" r="r" b="b"/>
                <a:pathLst>
                  <a:path w="17" h="12">
                    <a:moveTo>
                      <a:pt x="10" y="0"/>
                    </a:moveTo>
                    <a:cubicBezTo>
                      <a:pt x="10" y="0"/>
                      <a:pt x="10" y="0"/>
                      <a:pt x="10" y="0"/>
                    </a:cubicBezTo>
                    <a:cubicBezTo>
                      <a:pt x="0" y="0"/>
                      <a:pt x="3" y="11"/>
                      <a:pt x="11" y="12"/>
                    </a:cubicBezTo>
                    <a:cubicBezTo>
                      <a:pt x="12" y="12"/>
                      <a:pt x="12" y="12"/>
                      <a:pt x="12" y="12"/>
                    </a:cubicBezTo>
                    <a:cubicBezTo>
                      <a:pt x="16" y="12"/>
                      <a:pt x="17" y="9"/>
                      <a:pt x="16" y="6"/>
                    </a:cubicBezTo>
                    <a:cubicBezTo>
                      <a:pt x="15" y="3"/>
                      <a:pt x="13"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147"/>
              <p:cNvSpPr/>
              <p:nvPr/>
            </p:nvSpPr>
            <p:spPr bwMode="auto">
              <a:xfrm>
                <a:off x="5067" y="3755"/>
                <a:ext cx="2" cy="2"/>
              </a:xfrm>
              <a:custGeom>
                <a:gdLst>
                  <a:gd name="T0" fmla="*/ 0 w 2"/>
                  <a:gd name="T1" fmla="*/ 0 h 2"/>
                  <a:gd name="T2" fmla="*/ 0 w 2"/>
                  <a:gd name="T3" fmla="*/ 0 h 2"/>
                  <a:gd name="T4" fmla="*/ 0 w 2"/>
                  <a:gd name="T5" fmla="*/ 0 h 2"/>
                  <a:gd name="T6" fmla="*/ 2 w 2"/>
                  <a:gd name="T7" fmla="*/ 2 h 2"/>
                  <a:gd name="T8" fmla="*/ 0 w 2"/>
                  <a:gd name="T9" fmla="*/ 0 h 2"/>
                </a:gdLst>
                <a:cxnLst>
                  <a:cxn ang="0">
                    <a:pos x="T0" y="T1"/>
                  </a:cxn>
                  <a:cxn ang="0">
                    <a:pos x="T2" y="T3"/>
                  </a:cxn>
                  <a:cxn ang="0">
                    <a:pos x="T4" y="T5"/>
                  </a:cxn>
                  <a:cxn ang="0">
                    <a:pos x="T6" y="T7"/>
                  </a:cxn>
                  <a:cxn ang="0">
                    <a:pos x="T8" y="T9"/>
                  </a:cxn>
                </a:cxnLst>
                <a:rect l="0" t="0" r="r" b="b"/>
                <a:pathLst>
                  <a:path w="2" h="2">
                    <a:moveTo>
                      <a:pt x="0" y="0"/>
                    </a:moveTo>
                    <a:lnTo>
                      <a:pt x="0" y="0"/>
                    </a:lnTo>
                    <a:lnTo>
                      <a:pt x="0"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148"/>
              <p:cNvSpPr/>
              <p:nvPr/>
            </p:nvSpPr>
            <p:spPr bwMode="auto">
              <a:xfrm>
                <a:off x="5067" y="3755"/>
                <a:ext cx="2" cy="2"/>
              </a:xfrm>
              <a:custGeom>
                <a:gdLst>
                  <a:gd name="T0" fmla="*/ 0 w 2"/>
                  <a:gd name="T1" fmla="*/ 0 h 2"/>
                  <a:gd name="T2" fmla="*/ 0 w 2"/>
                  <a:gd name="T3" fmla="*/ 0 h 2"/>
                  <a:gd name="T4" fmla="*/ 0 w 2"/>
                  <a:gd name="T5" fmla="*/ 0 h 2"/>
                  <a:gd name="T6" fmla="*/ 2 w 2"/>
                  <a:gd name="T7" fmla="*/ 2 h 2"/>
                  <a:gd name="T8" fmla="*/ 0 w 2"/>
                  <a:gd name="T9" fmla="*/ 0 h 2"/>
                </a:gdLst>
                <a:cxnLst>
                  <a:cxn ang="0">
                    <a:pos x="T0" y="T1"/>
                  </a:cxn>
                  <a:cxn ang="0">
                    <a:pos x="T2" y="T3"/>
                  </a:cxn>
                  <a:cxn ang="0">
                    <a:pos x="T4" y="T5"/>
                  </a:cxn>
                  <a:cxn ang="0">
                    <a:pos x="T6" y="T7"/>
                  </a:cxn>
                  <a:cxn ang="0">
                    <a:pos x="T8" y="T9"/>
                  </a:cxn>
                </a:cxnLst>
                <a:rect l="0" t="0" r="r" b="b"/>
                <a:pathLst>
                  <a:path w="2" h="2">
                    <a:moveTo>
                      <a:pt x="0" y="0"/>
                    </a:moveTo>
                    <a:lnTo>
                      <a:pt x="0" y="0"/>
                    </a:lnTo>
                    <a:lnTo>
                      <a:pt x="0" y="0"/>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149"/>
              <p:cNvSpPr/>
              <p:nvPr/>
            </p:nvSpPr>
            <p:spPr bwMode="auto">
              <a:xfrm>
                <a:off x="6483" y="1266"/>
                <a:ext cx="49" cy="92"/>
              </a:xfrm>
              <a:custGeom>
                <a:gdLst>
                  <a:gd name="T0" fmla="*/ 11 w 21"/>
                  <a:gd name="T1" fmla="*/ 0 h 39"/>
                  <a:gd name="T2" fmla="*/ 10 w 21"/>
                  <a:gd name="T3" fmla="*/ 1 h 39"/>
                  <a:gd name="T4" fmla="*/ 5 w 21"/>
                  <a:gd name="T5" fmla="*/ 8 h 39"/>
                  <a:gd name="T6" fmla="*/ 3 w 21"/>
                  <a:gd name="T7" fmla="*/ 16 h 39"/>
                  <a:gd name="T8" fmla="*/ 1 w 21"/>
                  <a:gd name="T9" fmla="*/ 26 h 39"/>
                  <a:gd name="T10" fmla="*/ 2 w 21"/>
                  <a:gd name="T11" fmla="*/ 33 h 39"/>
                  <a:gd name="T12" fmla="*/ 2 w 21"/>
                  <a:gd name="T13" fmla="*/ 33 h 39"/>
                  <a:gd name="T14" fmla="*/ 2 w 21"/>
                  <a:gd name="T15" fmla="*/ 35 h 39"/>
                  <a:gd name="T16" fmla="*/ 5 w 21"/>
                  <a:gd name="T17" fmla="*/ 39 h 39"/>
                  <a:gd name="T18" fmla="*/ 6 w 21"/>
                  <a:gd name="T19" fmla="*/ 39 h 39"/>
                  <a:gd name="T20" fmla="*/ 6 w 21"/>
                  <a:gd name="T21" fmla="*/ 39 h 39"/>
                  <a:gd name="T22" fmla="*/ 7 w 21"/>
                  <a:gd name="T23" fmla="*/ 39 h 39"/>
                  <a:gd name="T24" fmla="*/ 7 w 21"/>
                  <a:gd name="T25" fmla="*/ 39 h 39"/>
                  <a:gd name="T26" fmla="*/ 7 w 21"/>
                  <a:gd name="T27" fmla="*/ 39 h 39"/>
                  <a:gd name="T28" fmla="*/ 9 w 21"/>
                  <a:gd name="T29" fmla="*/ 39 h 39"/>
                  <a:gd name="T30" fmla="*/ 12 w 21"/>
                  <a:gd name="T31" fmla="*/ 38 h 39"/>
                  <a:gd name="T32" fmla="*/ 13 w 21"/>
                  <a:gd name="T33" fmla="*/ 38 h 39"/>
                  <a:gd name="T34" fmla="*/ 14 w 21"/>
                  <a:gd name="T35" fmla="*/ 39 h 39"/>
                  <a:gd name="T36" fmla="*/ 15 w 21"/>
                  <a:gd name="T37" fmla="*/ 39 h 39"/>
                  <a:gd name="T38" fmla="*/ 17 w 21"/>
                  <a:gd name="T39" fmla="*/ 38 h 39"/>
                  <a:gd name="T40" fmla="*/ 17 w 21"/>
                  <a:gd name="T41" fmla="*/ 36 h 39"/>
                  <a:gd name="T42" fmla="*/ 17 w 21"/>
                  <a:gd name="T43" fmla="*/ 36 h 39"/>
                  <a:gd name="T44" fmla="*/ 18 w 21"/>
                  <a:gd name="T45" fmla="*/ 33 h 39"/>
                  <a:gd name="T46" fmla="*/ 20 w 21"/>
                  <a:gd name="T47" fmla="*/ 22 h 39"/>
                  <a:gd name="T48" fmla="*/ 18 w 21"/>
                  <a:gd name="T49" fmla="*/ 15 h 39"/>
                  <a:gd name="T50" fmla="*/ 19 w 21"/>
                  <a:gd name="T51" fmla="*/ 5 h 39"/>
                  <a:gd name="T52" fmla="*/ 18 w 21"/>
                  <a:gd name="T53" fmla="*/ 5 h 39"/>
                  <a:gd name="T54" fmla="*/ 17 w 21"/>
                  <a:gd name="T55" fmla="*/ 5 h 39"/>
                  <a:gd name="T56" fmla="*/ 17 w 21"/>
                  <a:gd name="T57" fmla="*/ 5 h 39"/>
                  <a:gd name="T58" fmla="*/ 16 w 21"/>
                  <a:gd name="T59" fmla="*/ 5 h 39"/>
                  <a:gd name="T60" fmla="*/ 13 w 21"/>
                  <a:gd name="T61" fmla="*/ 1 h 39"/>
                  <a:gd name="T62" fmla="*/ 11 w 21"/>
                  <a:gd name="T63" fmla="*/ 0 h 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 h="39">
                    <a:moveTo>
                      <a:pt x="11" y="0"/>
                    </a:moveTo>
                    <a:cubicBezTo>
                      <a:pt x="11" y="0"/>
                      <a:pt x="11" y="0"/>
                      <a:pt x="10" y="1"/>
                    </a:cubicBezTo>
                    <a:cubicBezTo>
                      <a:pt x="7" y="2"/>
                      <a:pt x="6" y="5"/>
                      <a:pt x="5" y="8"/>
                    </a:cubicBezTo>
                    <a:cubicBezTo>
                      <a:pt x="3" y="11"/>
                      <a:pt x="3" y="13"/>
                      <a:pt x="3" y="16"/>
                    </a:cubicBezTo>
                    <a:cubicBezTo>
                      <a:pt x="2" y="19"/>
                      <a:pt x="0" y="23"/>
                      <a:pt x="1" y="26"/>
                    </a:cubicBezTo>
                    <a:cubicBezTo>
                      <a:pt x="1" y="27"/>
                      <a:pt x="1" y="30"/>
                      <a:pt x="2" y="33"/>
                    </a:cubicBezTo>
                    <a:cubicBezTo>
                      <a:pt x="2" y="33"/>
                      <a:pt x="2" y="33"/>
                      <a:pt x="2" y="33"/>
                    </a:cubicBezTo>
                    <a:cubicBezTo>
                      <a:pt x="2" y="35"/>
                      <a:pt x="2" y="35"/>
                      <a:pt x="2" y="35"/>
                    </a:cubicBezTo>
                    <a:cubicBezTo>
                      <a:pt x="3" y="37"/>
                      <a:pt x="4" y="38"/>
                      <a:pt x="5" y="39"/>
                    </a:cubicBezTo>
                    <a:cubicBezTo>
                      <a:pt x="6" y="39"/>
                      <a:pt x="6" y="39"/>
                      <a:pt x="6" y="39"/>
                    </a:cubicBezTo>
                    <a:cubicBezTo>
                      <a:pt x="6" y="39"/>
                      <a:pt x="6" y="39"/>
                      <a:pt x="6" y="39"/>
                    </a:cubicBezTo>
                    <a:cubicBezTo>
                      <a:pt x="7" y="39"/>
                      <a:pt x="7" y="39"/>
                      <a:pt x="7" y="39"/>
                    </a:cubicBezTo>
                    <a:cubicBezTo>
                      <a:pt x="7" y="39"/>
                      <a:pt x="7" y="39"/>
                      <a:pt x="7" y="39"/>
                    </a:cubicBezTo>
                    <a:cubicBezTo>
                      <a:pt x="7" y="39"/>
                      <a:pt x="7" y="39"/>
                      <a:pt x="7" y="39"/>
                    </a:cubicBezTo>
                    <a:cubicBezTo>
                      <a:pt x="8" y="39"/>
                      <a:pt x="8" y="39"/>
                      <a:pt x="9" y="39"/>
                    </a:cubicBezTo>
                    <a:cubicBezTo>
                      <a:pt x="10" y="39"/>
                      <a:pt x="11" y="38"/>
                      <a:pt x="12" y="38"/>
                    </a:cubicBezTo>
                    <a:cubicBezTo>
                      <a:pt x="12" y="38"/>
                      <a:pt x="13" y="38"/>
                      <a:pt x="13" y="38"/>
                    </a:cubicBezTo>
                    <a:cubicBezTo>
                      <a:pt x="13" y="39"/>
                      <a:pt x="14" y="39"/>
                      <a:pt x="14" y="39"/>
                    </a:cubicBezTo>
                    <a:cubicBezTo>
                      <a:pt x="14" y="39"/>
                      <a:pt x="14" y="39"/>
                      <a:pt x="15" y="39"/>
                    </a:cubicBezTo>
                    <a:cubicBezTo>
                      <a:pt x="15" y="39"/>
                      <a:pt x="16" y="38"/>
                      <a:pt x="17" y="38"/>
                    </a:cubicBezTo>
                    <a:cubicBezTo>
                      <a:pt x="17" y="36"/>
                      <a:pt x="17" y="36"/>
                      <a:pt x="17" y="36"/>
                    </a:cubicBezTo>
                    <a:cubicBezTo>
                      <a:pt x="17" y="36"/>
                      <a:pt x="17" y="36"/>
                      <a:pt x="17" y="36"/>
                    </a:cubicBezTo>
                    <a:cubicBezTo>
                      <a:pt x="17" y="35"/>
                      <a:pt x="18" y="33"/>
                      <a:pt x="18" y="33"/>
                    </a:cubicBezTo>
                    <a:cubicBezTo>
                      <a:pt x="18" y="30"/>
                      <a:pt x="21" y="24"/>
                      <a:pt x="20" y="22"/>
                    </a:cubicBezTo>
                    <a:cubicBezTo>
                      <a:pt x="19" y="20"/>
                      <a:pt x="17" y="17"/>
                      <a:pt x="18" y="15"/>
                    </a:cubicBezTo>
                    <a:cubicBezTo>
                      <a:pt x="18" y="12"/>
                      <a:pt x="21" y="7"/>
                      <a:pt x="19" y="5"/>
                    </a:cubicBezTo>
                    <a:cubicBezTo>
                      <a:pt x="18" y="5"/>
                      <a:pt x="18" y="5"/>
                      <a:pt x="18" y="5"/>
                    </a:cubicBezTo>
                    <a:cubicBezTo>
                      <a:pt x="18" y="5"/>
                      <a:pt x="17" y="5"/>
                      <a:pt x="17" y="5"/>
                    </a:cubicBezTo>
                    <a:cubicBezTo>
                      <a:pt x="17" y="5"/>
                      <a:pt x="17" y="5"/>
                      <a:pt x="17" y="5"/>
                    </a:cubicBezTo>
                    <a:cubicBezTo>
                      <a:pt x="17" y="5"/>
                      <a:pt x="16" y="5"/>
                      <a:pt x="16" y="5"/>
                    </a:cubicBezTo>
                    <a:cubicBezTo>
                      <a:pt x="15" y="4"/>
                      <a:pt x="14" y="1"/>
                      <a:pt x="13" y="1"/>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Rectangle 150"/>
              <p:cNvSpPr>
                <a:spLocks noChangeArrowheads="1"/>
              </p:cNvSpPr>
              <p:nvPr/>
            </p:nvSpPr>
            <p:spPr bwMode="auto">
              <a:xfrm>
                <a:off x="5911" y="333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151"/>
              <p:cNvSpPr/>
              <p:nvPr/>
            </p:nvSpPr>
            <p:spPr bwMode="auto">
              <a:xfrm flipH="1">
                <a:off x="5911" y="333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152"/>
              <p:cNvSpPr>
                <a:spLocks noEditPoints="1"/>
              </p:cNvSpPr>
              <p:nvPr/>
            </p:nvSpPr>
            <p:spPr bwMode="auto">
              <a:xfrm>
                <a:off x="5542" y="3294"/>
                <a:ext cx="5" cy="0"/>
              </a:xfrm>
              <a:custGeom>
                <a:gdLst>
                  <a:gd name="T0" fmla="*/ 1 w 2"/>
                  <a:gd name="T1" fmla="*/ 2 w 2"/>
                  <a:gd name="T2" fmla="*/ 1 w 2"/>
                  <a:gd name="T3" fmla="*/ 0 w 2"/>
                  <a:gd name="T4" fmla="*/ 1 w 2"/>
                  <a:gd name="T5" fmla="*/ 0 w 2"/>
                </a:gdLst>
                <a:cxnLst>
                  <a:cxn ang="0">
                    <a:pos x="T0" y="0"/>
                  </a:cxn>
                  <a:cxn ang="0">
                    <a:pos x="T1" y="0"/>
                  </a:cxn>
                  <a:cxn ang="0">
                    <a:pos x="T2" y="0"/>
                  </a:cxn>
                  <a:cxn ang="0">
                    <a:pos x="T3" y="0"/>
                  </a:cxn>
                  <a:cxn ang="0">
                    <a:pos x="T4" y="0"/>
                  </a:cxn>
                  <a:cxn ang="0">
                    <a:pos x="T5" y="0"/>
                  </a:cxn>
                </a:cxnLst>
                <a:rect l="0" t="0" r="r" b="b"/>
                <a:pathLst>
                  <a:path w="2">
                    <a:moveTo>
                      <a:pt x="1" y="0"/>
                    </a:moveTo>
                    <a:cubicBezTo>
                      <a:pt x="1" y="0"/>
                      <a:pt x="2" y="0"/>
                      <a:pt x="2" y="0"/>
                    </a:cubicBezTo>
                    <a:cubicBezTo>
                      <a:pt x="2" y="0"/>
                      <a:pt x="1" y="0"/>
                      <a:pt x="1" y="0"/>
                    </a:cubicBezTo>
                    <a:moveTo>
                      <a:pt x="0" y="0"/>
                    </a:moveTo>
                    <a:cubicBezTo>
                      <a:pt x="0"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153"/>
              <p:cNvSpPr/>
              <p:nvPr/>
            </p:nvSpPr>
            <p:spPr bwMode="auto">
              <a:xfrm>
                <a:off x="5284" y="2947"/>
                <a:ext cx="3" cy="2"/>
              </a:xfrm>
              <a:custGeom>
                <a:gdLst>
                  <a:gd name="T0" fmla="*/ 0 w 3"/>
                  <a:gd name="T1" fmla="*/ 0 h 2"/>
                  <a:gd name="T2" fmla="*/ 3 w 3"/>
                  <a:gd name="T3" fmla="*/ 2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lnTo>
                      <a:pt x="3" y="2"/>
                    </a:lnTo>
                    <a:lnTo>
                      <a:pt x="3"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154"/>
              <p:cNvSpPr/>
              <p:nvPr/>
            </p:nvSpPr>
            <p:spPr bwMode="auto">
              <a:xfrm>
                <a:off x="5284" y="2947"/>
                <a:ext cx="3" cy="2"/>
              </a:xfrm>
              <a:custGeom>
                <a:gdLst>
                  <a:gd name="T0" fmla="*/ 0 w 3"/>
                  <a:gd name="T1" fmla="*/ 0 h 2"/>
                  <a:gd name="T2" fmla="*/ 3 w 3"/>
                  <a:gd name="T3" fmla="*/ 2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lnTo>
                      <a:pt x="3" y="2"/>
                    </a:lnTo>
                    <a:lnTo>
                      <a:pt x="3"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Rectangle 155"/>
              <p:cNvSpPr>
                <a:spLocks noChangeArrowheads="1"/>
              </p:cNvSpPr>
              <p:nvPr/>
            </p:nvSpPr>
            <p:spPr bwMode="auto">
              <a:xfrm>
                <a:off x="5353" y="3627"/>
                <a:ext cx="1" cy="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156"/>
              <p:cNvSpPr/>
              <p:nvPr/>
            </p:nvSpPr>
            <p:spPr bwMode="auto">
              <a:xfrm flipH="1">
                <a:off x="5353" y="3627"/>
                <a:ext cx="0" cy="3"/>
              </a:xfrm>
              <a:custGeom>
                <a:gdLst>
                  <a:gd name="T0" fmla="*/ 0 h 3"/>
                  <a:gd name="T1" fmla="*/ 3 h 3"/>
                  <a:gd name="T2" fmla="*/ 3 h 3"/>
                  <a:gd name="T3" fmla="*/ 0 h 3"/>
                </a:gd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157"/>
              <p:cNvSpPr>
                <a:spLocks noEditPoints="1"/>
              </p:cNvSpPr>
              <p:nvPr/>
            </p:nvSpPr>
            <p:spPr bwMode="auto">
              <a:xfrm>
                <a:off x="5613" y="3400"/>
                <a:ext cx="28" cy="3"/>
              </a:xfrm>
              <a:custGeom>
                <a:gdLst>
                  <a:gd name="T0" fmla="*/ 12 w 12"/>
                  <a:gd name="T1" fmla="*/ 1 h 1"/>
                  <a:gd name="T2" fmla="*/ 12 w 12"/>
                  <a:gd name="T3" fmla="*/ 1 h 1"/>
                  <a:gd name="T4" fmla="*/ 12 w 12"/>
                  <a:gd name="T5" fmla="*/ 1 h 1"/>
                  <a:gd name="T6" fmla="*/ 12 w 12"/>
                  <a:gd name="T7" fmla="*/ 1 h 1"/>
                  <a:gd name="T8" fmla="*/ 12 w 12"/>
                  <a:gd name="T9" fmla="*/ 1 h 1"/>
                  <a:gd name="T10" fmla="*/ 12 w 12"/>
                  <a:gd name="T11" fmla="*/ 1 h 1"/>
                  <a:gd name="T12" fmla="*/ 12 w 12"/>
                  <a:gd name="T13" fmla="*/ 1 h 1"/>
                  <a:gd name="T14" fmla="*/ 12 w 12"/>
                  <a:gd name="T15" fmla="*/ 1 h 1"/>
                  <a:gd name="T16" fmla="*/ 12 w 12"/>
                  <a:gd name="T17" fmla="*/ 1 h 1"/>
                  <a:gd name="T18" fmla="*/ 0 w 12"/>
                  <a:gd name="T19" fmla="*/ 0 h 1"/>
                  <a:gd name="T20" fmla="*/ 9 w 12"/>
                  <a:gd name="T21" fmla="*/ 1 h 1"/>
                  <a:gd name="T22" fmla="*/ 12 w 12"/>
                  <a:gd name="T23" fmla="*/ 1 h 1"/>
                  <a:gd name="T24" fmla="*/ 9 w 12"/>
                  <a:gd name="T25" fmla="*/ 1 h 1"/>
                  <a:gd name="T26" fmla="*/ 0 w 12"/>
                  <a:gd name="T27"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
                    <a:moveTo>
                      <a:pt x="12" y="1"/>
                    </a:moveTo>
                    <a:cubicBezTo>
                      <a:pt x="12" y="1"/>
                      <a:pt x="12" y="1"/>
                      <a:pt x="12" y="1"/>
                    </a:cubicBezTo>
                    <a:cubicBezTo>
                      <a:pt x="12" y="1"/>
                      <a:pt x="12" y="1"/>
                      <a:pt x="12" y="1"/>
                    </a:cubicBezTo>
                    <a:moveTo>
                      <a:pt x="12" y="1"/>
                    </a:moveTo>
                    <a:cubicBezTo>
                      <a:pt x="12" y="1"/>
                      <a:pt x="12" y="1"/>
                      <a:pt x="12" y="1"/>
                    </a:cubicBezTo>
                    <a:cubicBezTo>
                      <a:pt x="12" y="1"/>
                      <a:pt x="12" y="1"/>
                      <a:pt x="12" y="1"/>
                    </a:cubicBezTo>
                    <a:moveTo>
                      <a:pt x="12" y="1"/>
                    </a:moveTo>
                    <a:cubicBezTo>
                      <a:pt x="12" y="1"/>
                      <a:pt x="12" y="1"/>
                      <a:pt x="12" y="1"/>
                    </a:cubicBezTo>
                    <a:cubicBezTo>
                      <a:pt x="12" y="1"/>
                      <a:pt x="12" y="1"/>
                      <a:pt x="12" y="1"/>
                    </a:cubicBezTo>
                    <a:moveTo>
                      <a:pt x="0" y="0"/>
                    </a:moveTo>
                    <a:cubicBezTo>
                      <a:pt x="3" y="0"/>
                      <a:pt x="7" y="1"/>
                      <a:pt x="9" y="1"/>
                    </a:cubicBezTo>
                    <a:cubicBezTo>
                      <a:pt x="10" y="1"/>
                      <a:pt x="11" y="1"/>
                      <a:pt x="12" y="1"/>
                    </a:cubicBezTo>
                    <a:cubicBezTo>
                      <a:pt x="11" y="1"/>
                      <a:pt x="10" y="1"/>
                      <a:pt x="9" y="1"/>
                    </a:cubicBezTo>
                    <a:cubicBezTo>
                      <a:pt x="7"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158"/>
              <p:cNvSpPr/>
              <p:nvPr/>
            </p:nvSpPr>
            <p:spPr bwMode="auto">
              <a:xfrm>
                <a:off x="5603" y="3398"/>
                <a:ext cx="10" cy="2"/>
              </a:xfrm>
              <a:custGeom>
                <a:gdLst>
                  <a:gd name="T0" fmla="*/ 0 w 4"/>
                  <a:gd name="T1" fmla="*/ 0 h 1"/>
                  <a:gd name="T2" fmla="*/ 0 w 4"/>
                  <a:gd name="T3" fmla="*/ 0 h 1"/>
                  <a:gd name="T4" fmla="*/ 4 w 4"/>
                  <a:gd name="T5" fmla="*/ 1 h 1"/>
                  <a:gd name="T6" fmla="*/ 0 w 4"/>
                  <a:gd name="T7" fmla="*/ 0 h 1"/>
                </a:gdLst>
                <a:cxnLst>
                  <a:cxn ang="0">
                    <a:pos x="T0" y="T1"/>
                  </a:cxn>
                  <a:cxn ang="0">
                    <a:pos x="T2" y="T3"/>
                  </a:cxn>
                  <a:cxn ang="0">
                    <a:pos x="T4" y="T5"/>
                  </a:cxn>
                  <a:cxn ang="0">
                    <a:pos x="T6" y="T7"/>
                  </a:cxn>
                </a:cxnLst>
                <a:rect l="0" t="0" r="r" b="b"/>
                <a:pathLst>
                  <a:path w="4" h="1">
                    <a:moveTo>
                      <a:pt x="0" y="0"/>
                    </a:moveTo>
                    <a:cubicBezTo>
                      <a:pt x="0" y="0"/>
                      <a:pt x="0" y="0"/>
                      <a:pt x="0" y="0"/>
                    </a:cubicBezTo>
                    <a:cubicBezTo>
                      <a:pt x="1" y="1"/>
                      <a:pt x="2" y="1"/>
                      <a:pt x="4"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159"/>
              <p:cNvSpPr>
                <a:spLocks noEditPoints="1"/>
              </p:cNvSpPr>
              <p:nvPr/>
            </p:nvSpPr>
            <p:spPr bwMode="auto">
              <a:xfrm>
                <a:off x="4772" y="4159"/>
                <a:ext cx="2" cy="26"/>
              </a:xfrm>
              <a:custGeom>
                <a:gdLst>
                  <a:gd name="T0" fmla="*/ 1 w 1"/>
                  <a:gd name="T1" fmla="*/ 7 h 11"/>
                  <a:gd name="T2" fmla="*/ 1 w 1"/>
                  <a:gd name="T3" fmla="*/ 11 h 11"/>
                  <a:gd name="T4" fmla="*/ 1 w 1"/>
                  <a:gd name="T5" fmla="*/ 7 h 11"/>
                  <a:gd name="T6" fmla="*/ 0 w 1"/>
                  <a:gd name="T7" fmla="*/ 0 h 11"/>
                  <a:gd name="T8" fmla="*/ 0 w 1"/>
                  <a:gd name="T9" fmla="*/ 0 h 11"/>
                  <a:gd name="T10" fmla="*/ 1 w 1"/>
                  <a:gd name="T11" fmla="*/ 7 h 11"/>
                  <a:gd name="T12" fmla="*/ 0 w 1"/>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1" h="11">
                    <a:moveTo>
                      <a:pt x="1" y="7"/>
                    </a:moveTo>
                    <a:cubicBezTo>
                      <a:pt x="1" y="11"/>
                      <a:pt x="1" y="11"/>
                      <a:pt x="1" y="11"/>
                    </a:cubicBezTo>
                    <a:cubicBezTo>
                      <a:pt x="1" y="10"/>
                      <a:pt x="1" y="8"/>
                      <a:pt x="1" y="7"/>
                    </a:cubicBezTo>
                    <a:moveTo>
                      <a:pt x="0" y="0"/>
                    </a:moveTo>
                    <a:cubicBezTo>
                      <a:pt x="0" y="0"/>
                      <a:pt x="0" y="0"/>
                      <a:pt x="0" y="0"/>
                    </a:cubicBezTo>
                    <a:cubicBezTo>
                      <a:pt x="0" y="2"/>
                      <a:pt x="1" y="4"/>
                      <a:pt x="1" y="7"/>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160"/>
              <p:cNvSpPr/>
              <p:nvPr/>
            </p:nvSpPr>
            <p:spPr bwMode="auto">
              <a:xfrm>
                <a:off x="5485" y="4284"/>
                <a:ext cx="7" cy="0"/>
              </a:xfrm>
              <a:custGeom>
                <a:gdLst>
                  <a:gd name="T0" fmla="*/ 3 w 3"/>
                  <a:gd name="T1" fmla="*/ 0 w 3"/>
                  <a:gd name="T2" fmla="*/ 3 w 3"/>
                </a:gdLst>
                <a:cxnLst>
                  <a:cxn ang="0">
                    <a:pos x="T0" y="0"/>
                  </a:cxn>
                  <a:cxn ang="0">
                    <a:pos x="T1" y="0"/>
                  </a:cxn>
                  <a:cxn ang="0">
                    <a:pos x="T2" y="0"/>
                  </a:cxn>
                </a:cxnLst>
                <a:rect l="0" t="0" r="r" b="b"/>
                <a:pathLst>
                  <a:path w="3">
                    <a:moveTo>
                      <a:pt x="3" y="0"/>
                    </a:moveTo>
                    <a:cubicBezTo>
                      <a:pt x="2" y="0"/>
                      <a:pt x="1" y="0"/>
                      <a:pt x="0" y="0"/>
                    </a:cubicBezTo>
                    <a:cubicBezTo>
                      <a:pt x="1" y="0"/>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Rectangle 161"/>
              <p:cNvSpPr>
                <a:spLocks noChangeArrowheads="1"/>
              </p:cNvSpPr>
              <p:nvPr/>
            </p:nvSpPr>
            <p:spPr bwMode="auto">
              <a:xfrm>
                <a:off x="4578" y="4386"/>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162"/>
              <p:cNvSpPr/>
              <p:nvPr/>
            </p:nvSpPr>
            <p:spPr bwMode="auto">
              <a:xfrm flipH="1">
                <a:off x="4578" y="4386"/>
                <a:ext cx="0" cy="2"/>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163"/>
              <p:cNvSpPr/>
              <p:nvPr/>
            </p:nvSpPr>
            <p:spPr bwMode="auto">
              <a:xfrm>
                <a:off x="4578" y="4386"/>
                <a:ext cx="2" cy="0"/>
              </a:xfrm>
              <a:custGeom>
                <a:gdLst>
                  <a:gd name="T0" fmla="*/ 2 w 2"/>
                  <a:gd name="T1" fmla="*/ 0 w 2"/>
                  <a:gd name="T2" fmla="*/ 2 w 2"/>
                </a:gdLst>
                <a:cxnLst>
                  <a:cxn ang="0">
                    <a:pos x="T0" y="0"/>
                  </a:cxn>
                  <a:cxn ang="0">
                    <a:pos x="T1" y="0"/>
                  </a:cxn>
                  <a:cxn ang="0">
                    <a:pos x="T2" y="0"/>
                  </a:cxn>
                </a:cxnLst>
                <a:rect l="0" t="0" r="r" b="b"/>
                <a:pathLst>
                  <a:path w="2">
                    <a:moveTo>
                      <a:pt x="2" y="0"/>
                    </a:move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164"/>
              <p:cNvSpPr/>
              <p:nvPr/>
            </p:nvSpPr>
            <p:spPr bwMode="auto">
              <a:xfrm>
                <a:off x="4578" y="4386"/>
                <a:ext cx="2" cy="0"/>
              </a:xfrm>
              <a:custGeom>
                <a:gdLst>
                  <a:gd name="T0" fmla="*/ 2 w 2"/>
                  <a:gd name="T1" fmla="*/ 0 w 2"/>
                  <a:gd name="T2" fmla="*/ 2 w 2"/>
                </a:gdLst>
                <a:cxnLst>
                  <a:cxn ang="0">
                    <a:pos x="T0" y="0"/>
                  </a:cxn>
                  <a:cxn ang="0">
                    <a:pos x="T1" y="0"/>
                  </a:cxn>
                  <a:cxn ang="0">
                    <a:pos x="T2" y="0"/>
                  </a:cxn>
                </a:cxnLst>
                <a:rect l="0" t="0" r="r" b="b"/>
                <a:pathLst>
                  <a:path w="2">
                    <a:moveTo>
                      <a:pt x="2" y="0"/>
                    </a:move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165"/>
              <p:cNvSpPr/>
              <p:nvPr/>
            </p:nvSpPr>
            <p:spPr bwMode="auto">
              <a:xfrm>
                <a:off x="4772" y="4159"/>
                <a:ext cx="4" cy="2"/>
              </a:xfrm>
              <a:custGeom>
                <a:gdLst>
                  <a:gd name="T0" fmla="*/ 0 w 2"/>
                  <a:gd name="T1" fmla="*/ 0 h 1"/>
                  <a:gd name="T2" fmla="*/ 0 w 2"/>
                  <a:gd name="T3" fmla="*/ 0 h 1"/>
                  <a:gd name="T4" fmla="*/ 1 w 2"/>
                  <a:gd name="T5" fmla="*/ 0 h 1"/>
                  <a:gd name="T6" fmla="*/ 2 w 2"/>
                  <a:gd name="T7" fmla="*/ 1 h 1"/>
                  <a:gd name="T8" fmla="*/ 0 w 2"/>
                  <a:gd name="T9" fmla="*/ 0 h 1"/>
                </a:gdLst>
                <a:cxnLst>
                  <a:cxn ang="0">
                    <a:pos x="T0" y="T1"/>
                  </a:cxn>
                  <a:cxn ang="0">
                    <a:pos x="T2" y="T3"/>
                  </a:cxn>
                  <a:cxn ang="0">
                    <a:pos x="T4" y="T5"/>
                  </a:cxn>
                  <a:cxn ang="0">
                    <a:pos x="T6" y="T7"/>
                  </a:cxn>
                  <a:cxn ang="0">
                    <a:pos x="T8" y="T9"/>
                  </a:cxn>
                </a:cxnLst>
                <a:rect l="0" t="0" r="r" b="b"/>
                <a:pathLst>
                  <a:path w="2" h="1">
                    <a:moveTo>
                      <a:pt x="0" y="0"/>
                    </a:moveTo>
                    <a:cubicBezTo>
                      <a:pt x="0" y="0"/>
                      <a:pt x="0" y="0"/>
                      <a:pt x="0" y="0"/>
                    </a:cubicBezTo>
                    <a:cubicBezTo>
                      <a:pt x="1" y="0"/>
                      <a:pt x="1" y="0"/>
                      <a:pt x="1" y="0"/>
                    </a:cubicBezTo>
                    <a:cubicBezTo>
                      <a:pt x="1" y="0"/>
                      <a:pt x="2" y="1"/>
                      <a:pt x="2"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Rectangle 166"/>
              <p:cNvSpPr>
                <a:spLocks noChangeArrowheads="1"/>
              </p:cNvSpPr>
              <p:nvPr/>
            </p:nvSpPr>
            <p:spPr bwMode="auto">
              <a:xfrm>
                <a:off x="5358" y="281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167"/>
              <p:cNvSpPr/>
              <p:nvPr/>
            </p:nvSpPr>
            <p:spPr bwMode="auto">
              <a:xfrm flipH="1">
                <a:off x="5358" y="281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168"/>
              <p:cNvSpPr/>
              <p:nvPr/>
            </p:nvSpPr>
            <p:spPr bwMode="auto">
              <a:xfrm>
                <a:off x="3131" y="271"/>
                <a:ext cx="175" cy="326"/>
              </a:xfrm>
              <a:custGeom>
                <a:gdLst>
                  <a:gd name="T0" fmla="*/ 29 w 74"/>
                  <a:gd name="T1" fmla="*/ 1 h 138"/>
                  <a:gd name="T2" fmla="*/ 17 w 74"/>
                  <a:gd name="T3" fmla="*/ 7 h 138"/>
                  <a:gd name="T4" fmla="*/ 17 w 74"/>
                  <a:gd name="T5" fmla="*/ 13 h 138"/>
                  <a:gd name="T6" fmla="*/ 21 w 74"/>
                  <a:gd name="T7" fmla="*/ 24 h 138"/>
                  <a:gd name="T8" fmla="*/ 21 w 74"/>
                  <a:gd name="T9" fmla="*/ 34 h 138"/>
                  <a:gd name="T10" fmla="*/ 16 w 74"/>
                  <a:gd name="T11" fmla="*/ 49 h 138"/>
                  <a:gd name="T12" fmla="*/ 8 w 74"/>
                  <a:gd name="T13" fmla="*/ 73 h 138"/>
                  <a:gd name="T14" fmla="*/ 3 w 74"/>
                  <a:gd name="T15" fmla="*/ 82 h 138"/>
                  <a:gd name="T16" fmla="*/ 2 w 74"/>
                  <a:gd name="T17" fmla="*/ 91 h 138"/>
                  <a:gd name="T18" fmla="*/ 7 w 74"/>
                  <a:gd name="T19" fmla="*/ 92 h 138"/>
                  <a:gd name="T20" fmla="*/ 13 w 74"/>
                  <a:gd name="T21" fmla="*/ 86 h 138"/>
                  <a:gd name="T22" fmla="*/ 13 w 74"/>
                  <a:gd name="T23" fmla="*/ 93 h 138"/>
                  <a:gd name="T24" fmla="*/ 8 w 74"/>
                  <a:gd name="T25" fmla="*/ 93 h 138"/>
                  <a:gd name="T26" fmla="*/ 8 w 74"/>
                  <a:gd name="T27" fmla="*/ 100 h 138"/>
                  <a:gd name="T28" fmla="*/ 18 w 74"/>
                  <a:gd name="T29" fmla="*/ 96 h 138"/>
                  <a:gd name="T30" fmla="*/ 19 w 74"/>
                  <a:gd name="T31" fmla="*/ 100 h 138"/>
                  <a:gd name="T32" fmla="*/ 17 w 74"/>
                  <a:gd name="T33" fmla="*/ 109 h 138"/>
                  <a:gd name="T34" fmla="*/ 13 w 74"/>
                  <a:gd name="T35" fmla="*/ 137 h 138"/>
                  <a:gd name="T36" fmla="*/ 23 w 74"/>
                  <a:gd name="T37" fmla="*/ 134 h 138"/>
                  <a:gd name="T38" fmla="*/ 34 w 74"/>
                  <a:gd name="T39" fmla="*/ 136 h 138"/>
                  <a:gd name="T40" fmla="*/ 37 w 74"/>
                  <a:gd name="T41" fmla="*/ 138 h 138"/>
                  <a:gd name="T42" fmla="*/ 48 w 74"/>
                  <a:gd name="T43" fmla="*/ 133 h 138"/>
                  <a:gd name="T44" fmla="*/ 47 w 74"/>
                  <a:gd name="T45" fmla="*/ 131 h 138"/>
                  <a:gd name="T46" fmla="*/ 46 w 74"/>
                  <a:gd name="T47" fmla="*/ 127 h 138"/>
                  <a:gd name="T48" fmla="*/ 47 w 74"/>
                  <a:gd name="T49" fmla="*/ 117 h 138"/>
                  <a:gd name="T50" fmla="*/ 55 w 74"/>
                  <a:gd name="T51" fmla="*/ 108 h 138"/>
                  <a:gd name="T52" fmla="*/ 55 w 74"/>
                  <a:gd name="T53" fmla="*/ 107 h 138"/>
                  <a:gd name="T54" fmla="*/ 53 w 74"/>
                  <a:gd name="T55" fmla="*/ 104 h 138"/>
                  <a:gd name="T56" fmla="*/ 50 w 74"/>
                  <a:gd name="T57" fmla="*/ 94 h 138"/>
                  <a:gd name="T58" fmla="*/ 49 w 74"/>
                  <a:gd name="T59" fmla="*/ 85 h 138"/>
                  <a:gd name="T60" fmla="*/ 54 w 74"/>
                  <a:gd name="T61" fmla="*/ 87 h 138"/>
                  <a:gd name="T62" fmla="*/ 55 w 74"/>
                  <a:gd name="T63" fmla="*/ 86 h 138"/>
                  <a:gd name="T64" fmla="*/ 57 w 74"/>
                  <a:gd name="T65" fmla="*/ 83 h 138"/>
                  <a:gd name="T66" fmla="*/ 52 w 74"/>
                  <a:gd name="T67" fmla="*/ 80 h 138"/>
                  <a:gd name="T68" fmla="*/ 51 w 74"/>
                  <a:gd name="T69" fmla="*/ 77 h 138"/>
                  <a:gd name="T70" fmla="*/ 49 w 74"/>
                  <a:gd name="T71" fmla="*/ 74 h 138"/>
                  <a:gd name="T72" fmla="*/ 49 w 74"/>
                  <a:gd name="T73" fmla="*/ 63 h 138"/>
                  <a:gd name="T74" fmla="*/ 57 w 74"/>
                  <a:gd name="T75" fmla="*/ 63 h 138"/>
                  <a:gd name="T76" fmla="*/ 59 w 74"/>
                  <a:gd name="T77" fmla="*/ 47 h 138"/>
                  <a:gd name="T78" fmla="*/ 61 w 74"/>
                  <a:gd name="T79" fmla="*/ 43 h 138"/>
                  <a:gd name="T80" fmla="*/ 61 w 74"/>
                  <a:gd name="T81" fmla="*/ 35 h 138"/>
                  <a:gd name="T82" fmla="*/ 62 w 74"/>
                  <a:gd name="T83" fmla="*/ 23 h 138"/>
                  <a:gd name="T84" fmla="*/ 67 w 74"/>
                  <a:gd name="T85" fmla="*/ 19 h 138"/>
                  <a:gd name="T86" fmla="*/ 71 w 74"/>
                  <a:gd name="T87" fmla="*/ 17 h 138"/>
                  <a:gd name="T88" fmla="*/ 73 w 74"/>
                  <a:gd name="T89" fmla="*/ 12 h 138"/>
                  <a:gd name="T90" fmla="*/ 67 w 74"/>
                  <a:gd name="T91" fmla="*/ 7 h 138"/>
                  <a:gd name="T92" fmla="*/ 68 w 74"/>
                  <a:gd name="T93" fmla="*/ 4 h 138"/>
                  <a:gd name="T94" fmla="*/ 68 w 74"/>
                  <a:gd name="T95" fmla="*/ 4 h 138"/>
                  <a:gd name="T96" fmla="*/ 66 w 74"/>
                  <a:gd name="T97" fmla="*/ 4 h 138"/>
                  <a:gd name="T98" fmla="*/ 61 w 74"/>
                  <a:gd name="T99" fmla="*/ 5 h 138"/>
                  <a:gd name="T100" fmla="*/ 59 w 74"/>
                  <a:gd name="T101" fmla="*/ 5 h 138"/>
                  <a:gd name="T102" fmla="*/ 54 w 74"/>
                  <a:gd name="T103" fmla="*/ 7 h 138"/>
                  <a:gd name="T104" fmla="*/ 51 w 74"/>
                  <a:gd name="T105" fmla="*/ 7 h 138"/>
                  <a:gd name="T106" fmla="*/ 45 w 74"/>
                  <a:gd name="T107" fmla="*/ 8 h 138"/>
                  <a:gd name="T108" fmla="*/ 41 w 74"/>
                  <a:gd name="T109" fmla="*/ 6 h 138"/>
                  <a:gd name="T110" fmla="*/ 39 w 74"/>
                  <a:gd name="T111" fmla="*/ 6 h 138"/>
                  <a:gd name="T112" fmla="*/ 34 w 74"/>
                  <a:gd name="T113" fmla="*/ 8 h 138"/>
                  <a:gd name="T114" fmla="*/ 33 w 74"/>
                  <a:gd name="T115" fmla="*/ 8 h 138"/>
                  <a:gd name="T116" fmla="*/ 33 w 74"/>
                  <a:gd name="T117" fmla="*/ 8 h 138"/>
                  <a:gd name="T118" fmla="*/ 28 w 74"/>
                  <a:gd name="T119" fmla="*/ 3 h 1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38">
                    <a:moveTo>
                      <a:pt x="29" y="0"/>
                    </a:moveTo>
                    <a:cubicBezTo>
                      <a:pt x="29" y="1"/>
                      <a:pt x="29" y="1"/>
                      <a:pt x="29" y="1"/>
                    </a:cubicBezTo>
                    <a:cubicBezTo>
                      <a:pt x="28" y="1"/>
                      <a:pt x="27" y="1"/>
                      <a:pt x="26" y="1"/>
                    </a:cubicBezTo>
                    <a:cubicBezTo>
                      <a:pt x="25" y="2"/>
                      <a:pt x="19" y="5"/>
                      <a:pt x="17" y="7"/>
                    </a:cubicBezTo>
                    <a:cubicBezTo>
                      <a:pt x="16" y="7"/>
                      <a:pt x="16" y="7"/>
                      <a:pt x="16" y="7"/>
                    </a:cubicBezTo>
                    <a:cubicBezTo>
                      <a:pt x="16" y="9"/>
                      <a:pt x="17" y="11"/>
                      <a:pt x="17" y="13"/>
                    </a:cubicBezTo>
                    <a:cubicBezTo>
                      <a:pt x="18" y="15"/>
                      <a:pt x="18" y="17"/>
                      <a:pt x="18" y="19"/>
                    </a:cubicBezTo>
                    <a:cubicBezTo>
                      <a:pt x="19" y="21"/>
                      <a:pt x="20" y="23"/>
                      <a:pt x="21" y="24"/>
                    </a:cubicBezTo>
                    <a:cubicBezTo>
                      <a:pt x="22" y="28"/>
                      <a:pt x="18" y="34"/>
                      <a:pt x="19" y="37"/>
                    </a:cubicBezTo>
                    <a:cubicBezTo>
                      <a:pt x="20" y="36"/>
                      <a:pt x="20" y="35"/>
                      <a:pt x="21" y="34"/>
                    </a:cubicBezTo>
                    <a:cubicBezTo>
                      <a:pt x="23" y="36"/>
                      <a:pt x="19" y="38"/>
                      <a:pt x="18" y="40"/>
                    </a:cubicBezTo>
                    <a:cubicBezTo>
                      <a:pt x="17" y="42"/>
                      <a:pt x="16" y="46"/>
                      <a:pt x="16" y="49"/>
                    </a:cubicBezTo>
                    <a:cubicBezTo>
                      <a:pt x="15" y="56"/>
                      <a:pt x="12" y="62"/>
                      <a:pt x="10" y="69"/>
                    </a:cubicBezTo>
                    <a:cubicBezTo>
                      <a:pt x="10" y="70"/>
                      <a:pt x="8" y="73"/>
                      <a:pt x="8" y="73"/>
                    </a:cubicBezTo>
                    <a:cubicBezTo>
                      <a:pt x="6" y="73"/>
                      <a:pt x="5" y="74"/>
                      <a:pt x="4" y="76"/>
                    </a:cubicBezTo>
                    <a:cubicBezTo>
                      <a:pt x="4" y="78"/>
                      <a:pt x="4" y="80"/>
                      <a:pt x="3" y="82"/>
                    </a:cubicBezTo>
                    <a:cubicBezTo>
                      <a:pt x="2" y="83"/>
                      <a:pt x="3" y="85"/>
                      <a:pt x="3" y="86"/>
                    </a:cubicBezTo>
                    <a:cubicBezTo>
                      <a:pt x="2" y="88"/>
                      <a:pt x="0" y="90"/>
                      <a:pt x="2" y="91"/>
                    </a:cubicBezTo>
                    <a:cubicBezTo>
                      <a:pt x="3" y="92"/>
                      <a:pt x="4" y="93"/>
                      <a:pt x="5" y="93"/>
                    </a:cubicBezTo>
                    <a:cubicBezTo>
                      <a:pt x="6" y="93"/>
                      <a:pt x="7" y="92"/>
                      <a:pt x="7" y="92"/>
                    </a:cubicBezTo>
                    <a:cubicBezTo>
                      <a:pt x="10" y="90"/>
                      <a:pt x="9" y="90"/>
                      <a:pt x="11" y="88"/>
                    </a:cubicBezTo>
                    <a:cubicBezTo>
                      <a:pt x="12" y="87"/>
                      <a:pt x="12" y="86"/>
                      <a:pt x="13" y="86"/>
                    </a:cubicBezTo>
                    <a:cubicBezTo>
                      <a:pt x="14" y="88"/>
                      <a:pt x="15" y="91"/>
                      <a:pt x="12" y="91"/>
                    </a:cubicBezTo>
                    <a:cubicBezTo>
                      <a:pt x="12" y="92"/>
                      <a:pt x="13" y="92"/>
                      <a:pt x="13" y="93"/>
                    </a:cubicBezTo>
                    <a:cubicBezTo>
                      <a:pt x="12" y="93"/>
                      <a:pt x="11" y="93"/>
                      <a:pt x="11" y="95"/>
                    </a:cubicBezTo>
                    <a:cubicBezTo>
                      <a:pt x="10" y="93"/>
                      <a:pt x="9" y="93"/>
                      <a:pt x="8" y="93"/>
                    </a:cubicBezTo>
                    <a:cubicBezTo>
                      <a:pt x="7" y="93"/>
                      <a:pt x="7" y="93"/>
                      <a:pt x="6" y="93"/>
                    </a:cubicBezTo>
                    <a:cubicBezTo>
                      <a:pt x="8" y="96"/>
                      <a:pt x="7" y="97"/>
                      <a:pt x="8" y="100"/>
                    </a:cubicBezTo>
                    <a:cubicBezTo>
                      <a:pt x="9" y="99"/>
                      <a:pt x="12" y="99"/>
                      <a:pt x="14" y="98"/>
                    </a:cubicBezTo>
                    <a:cubicBezTo>
                      <a:pt x="16" y="97"/>
                      <a:pt x="17" y="96"/>
                      <a:pt x="18" y="96"/>
                    </a:cubicBezTo>
                    <a:cubicBezTo>
                      <a:pt x="19" y="96"/>
                      <a:pt x="20" y="97"/>
                      <a:pt x="21" y="100"/>
                    </a:cubicBezTo>
                    <a:cubicBezTo>
                      <a:pt x="20" y="100"/>
                      <a:pt x="19" y="100"/>
                      <a:pt x="19" y="100"/>
                    </a:cubicBezTo>
                    <a:cubicBezTo>
                      <a:pt x="17" y="100"/>
                      <a:pt x="17" y="100"/>
                      <a:pt x="15" y="98"/>
                    </a:cubicBezTo>
                    <a:cubicBezTo>
                      <a:pt x="15" y="101"/>
                      <a:pt x="18" y="106"/>
                      <a:pt x="17" y="109"/>
                    </a:cubicBezTo>
                    <a:cubicBezTo>
                      <a:pt x="16" y="112"/>
                      <a:pt x="17" y="117"/>
                      <a:pt x="17" y="121"/>
                    </a:cubicBezTo>
                    <a:cubicBezTo>
                      <a:pt x="17" y="127"/>
                      <a:pt x="15" y="132"/>
                      <a:pt x="13" y="137"/>
                    </a:cubicBezTo>
                    <a:cubicBezTo>
                      <a:pt x="16" y="137"/>
                      <a:pt x="18" y="136"/>
                      <a:pt x="21" y="135"/>
                    </a:cubicBezTo>
                    <a:cubicBezTo>
                      <a:pt x="22" y="135"/>
                      <a:pt x="22" y="134"/>
                      <a:pt x="23" y="134"/>
                    </a:cubicBezTo>
                    <a:cubicBezTo>
                      <a:pt x="25" y="134"/>
                      <a:pt x="27" y="136"/>
                      <a:pt x="29" y="136"/>
                    </a:cubicBezTo>
                    <a:cubicBezTo>
                      <a:pt x="30" y="136"/>
                      <a:pt x="32" y="136"/>
                      <a:pt x="34" y="136"/>
                    </a:cubicBezTo>
                    <a:cubicBezTo>
                      <a:pt x="35" y="137"/>
                      <a:pt x="36" y="138"/>
                      <a:pt x="37" y="138"/>
                    </a:cubicBezTo>
                    <a:cubicBezTo>
                      <a:pt x="37" y="138"/>
                      <a:pt x="37" y="138"/>
                      <a:pt x="37" y="138"/>
                    </a:cubicBezTo>
                    <a:cubicBezTo>
                      <a:pt x="41" y="138"/>
                      <a:pt x="43" y="137"/>
                      <a:pt x="46" y="135"/>
                    </a:cubicBezTo>
                    <a:cubicBezTo>
                      <a:pt x="47" y="134"/>
                      <a:pt x="48" y="134"/>
                      <a:pt x="48" y="133"/>
                    </a:cubicBezTo>
                    <a:cubicBezTo>
                      <a:pt x="46" y="133"/>
                      <a:pt x="46" y="133"/>
                      <a:pt x="46" y="133"/>
                    </a:cubicBezTo>
                    <a:cubicBezTo>
                      <a:pt x="47" y="131"/>
                      <a:pt x="47" y="131"/>
                      <a:pt x="47" y="131"/>
                    </a:cubicBezTo>
                    <a:cubicBezTo>
                      <a:pt x="46" y="130"/>
                      <a:pt x="46" y="130"/>
                      <a:pt x="46" y="130"/>
                    </a:cubicBezTo>
                    <a:cubicBezTo>
                      <a:pt x="46" y="129"/>
                      <a:pt x="46" y="127"/>
                      <a:pt x="46" y="127"/>
                    </a:cubicBezTo>
                    <a:cubicBezTo>
                      <a:pt x="44" y="123"/>
                      <a:pt x="46" y="119"/>
                      <a:pt x="47" y="117"/>
                    </a:cubicBezTo>
                    <a:cubicBezTo>
                      <a:pt x="47" y="117"/>
                      <a:pt x="47" y="117"/>
                      <a:pt x="47" y="117"/>
                    </a:cubicBezTo>
                    <a:cubicBezTo>
                      <a:pt x="48" y="115"/>
                      <a:pt x="50" y="110"/>
                      <a:pt x="53" y="109"/>
                    </a:cubicBezTo>
                    <a:cubicBezTo>
                      <a:pt x="53" y="108"/>
                      <a:pt x="54" y="108"/>
                      <a:pt x="55" y="108"/>
                    </a:cubicBezTo>
                    <a:cubicBezTo>
                      <a:pt x="55" y="108"/>
                      <a:pt x="55" y="108"/>
                      <a:pt x="55" y="108"/>
                    </a:cubicBezTo>
                    <a:cubicBezTo>
                      <a:pt x="55" y="107"/>
                      <a:pt x="55" y="107"/>
                      <a:pt x="55" y="107"/>
                    </a:cubicBezTo>
                    <a:cubicBezTo>
                      <a:pt x="54" y="107"/>
                      <a:pt x="54" y="106"/>
                      <a:pt x="53" y="106"/>
                    </a:cubicBezTo>
                    <a:cubicBezTo>
                      <a:pt x="53" y="105"/>
                      <a:pt x="53" y="105"/>
                      <a:pt x="53" y="104"/>
                    </a:cubicBezTo>
                    <a:cubicBezTo>
                      <a:pt x="51" y="102"/>
                      <a:pt x="49" y="99"/>
                      <a:pt x="50" y="96"/>
                    </a:cubicBezTo>
                    <a:cubicBezTo>
                      <a:pt x="50" y="94"/>
                      <a:pt x="50" y="94"/>
                      <a:pt x="50" y="94"/>
                    </a:cubicBezTo>
                    <a:cubicBezTo>
                      <a:pt x="51" y="92"/>
                      <a:pt x="52" y="90"/>
                      <a:pt x="53" y="88"/>
                    </a:cubicBezTo>
                    <a:cubicBezTo>
                      <a:pt x="49" y="85"/>
                      <a:pt x="49" y="85"/>
                      <a:pt x="49" y="85"/>
                    </a:cubicBezTo>
                    <a:cubicBezTo>
                      <a:pt x="54" y="87"/>
                      <a:pt x="54" y="87"/>
                      <a:pt x="54" y="87"/>
                    </a:cubicBezTo>
                    <a:cubicBezTo>
                      <a:pt x="54" y="87"/>
                      <a:pt x="54" y="87"/>
                      <a:pt x="54" y="87"/>
                    </a:cubicBezTo>
                    <a:cubicBezTo>
                      <a:pt x="55" y="86"/>
                      <a:pt x="55" y="86"/>
                      <a:pt x="55" y="86"/>
                    </a:cubicBezTo>
                    <a:cubicBezTo>
                      <a:pt x="55" y="86"/>
                      <a:pt x="55" y="86"/>
                      <a:pt x="55" y="86"/>
                    </a:cubicBezTo>
                    <a:cubicBezTo>
                      <a:pt x="56" y="85"/>
                      <a:pt x="57" y="84"/>
                      <a:pt x="57" y="83"/>
                    </a:cubicBezTo>
                    <a:cubicBezTo>
                      <a:pt x="57" y="83"/>
                      <a:pt x="57" y="83"/>
                      <a:pt x="57" y="83"/>
                    </a:cubicBezTo>
                    <a:cubicBezTo>
                      <a:pt x="56" y="83"/>
                      <a:pt x="56" y="83"/>
                      <a:pt x="56" y="83"/>
                    </a:cubicBezTo>
                    <a:cubicBezTo>
                      <a:pt x="55" y="82"/>
                      <a:pt x="53" y="82"/>
                      <a:pt x="52" y="80"/>
                    </a:cubicBezTo>
                    <a:cubicBezTo>
                      <a:pt x="52" y="80"/>
                      <a:pt x="52" y="80"/>
                      <a:pt x="52" y="80"/>
                    </a:cubicBezTo>
                    <a:cubicBezTo>
                      <a:pt x="51" y="79"/>
                      <a:pt x="51" y="78"/>
                      <a:pt x="51" y="77"/>
                    </a:cubicBezTo>
                    <a:cubicBezTo>
                      <a:pt x="51" y="77"/>
                      <a:pt x="51" y="77"/>
                      <a:pt x="51" y="77"/>
                    </a:cubicBezTo>
                    <a:cubicBezTo>
                      <a:pt x="50" y="76"/>
                      <a:pt x="49" y="75"/>
                      <a:pt x="49" y="74"/>
                    </a:cubicBezTo>
                    <a:cubicBezTo>
                      <a:pt x="42" y="62"/>
                      <a:pt x="42" y="62"/>
                      <a:pt x="42" y="62"/>
                    </a:cubicBezTo>
                    <a:cubicBezTo>
                      <a:pt x="49" y="63"/>
                      <a:pt x="49" y="63"/>
                      <a:pt x="49" y="63"/>
                    </a:cubicBezTo>
                    <a:cubicBezTo>
                      <a:pt x="52" y="63"/>
                      <a:pt x="54" y="63"/>
                      <a:pt x="56" y="63"/>
                    </a:cubicBezTo>
                    <a:cubicBezTo>
                      <a:pt x="56" y="63"/>
                      <a:pt x="57" y="63"/>
                      <a:pt x="57" y="63"/>
                    </a:cubicBezTo>
                    <a:cubicBezTo>
                      <a:pt x="58" y="62"/>
                      <a:pt x="59" y="56"/>
                      <a:pt x="58" y="51"/>
                    </a:cubicBezTo>
                    <a:cubicBezTo>
                      <a:pt x="58" y="50"/>
                      <a:pt x="58" y="48"/>
                      <a:pt x="59" y="47"/>
                    </a:cubicBezTo>
                    <a:cubicBezTo>
                      <a:pt x="60" y="46"/>
                      <a:pt x="60" y="46"/>
                      <a:pt x="60" y="46"/>
                    </a:cubicBezTo>
                    <a:cubicBezTo>
                      <a:pt x="60" y="45"/>
                      <a:pt x="61" y="44"/>
                      <a:pt x="61" y="43"/>
                    </a:cubicBezTo>
                    <a:cubicBezTo>
                      <a:pt x="61" y="41"/>
                      <a:pt x="61" y="41"/>
                      <a:pt x="61" y="41"/>
                    </a:cubicBezTo>
                    <a:cubicBezTo>
                      <a:pt x="61" y="39"/>
                      <a:pt x="61" y="36"/>
                      <a:pt x="61" y="35"/>
                    </a:cubicBezTo>
                    <a:cubicBezTo>
                      <a:pt x="61" y="34"/>
                      <a:pt x="60" y="34"/>
                      <a:pt x="60" y="33"/>
                    </a:cubicBezTo>
                    <a:cubicBezTo>
                      <a:pt x="59" y="30"/>
                      <a:pt x="58" y="27"/>
                      <a:pt x="62" y="23"/>
                    </a:cubicBezTo>
                    <a:cubicBezTo>
                      <a:pt x="63" y="22"/>
                      <a:pt x="63" y="22"/>
                      <a:pt x="63" y="22"/>
                    </a:cubicBezTo>
                    <a:cubicBezTo>
                      <a:pt x="64" y="21"/>
                      <a:pt x="66" y="20"/>
                      <a:pt x="67" y="19"/>
                    </a:cubicBezTo>
                    <a:cubicBezTo>
                      <a:pt x="68" y="19"/>
                      <a:pt x="69" y="18"/>
                      <a:pt x="70" y="18"/>
                    </a:cubicBezTo>
                    <a:cubicBezTo>
                      <a:pt x="71" y="17"/>
                      <a:pt x="71" y="17"/>
                      <a:pt x="71" y="17"/>
                    </a:cubicBezTo>
                    <a:cubicBezTo>
                      <a:pt x="73" y="15"/>
                      <a:pt x="74" y="15"/>
                      <a:pt x="74" y="13"/>
                    </a:cubicBezTo>
                    <a:cubicBezTo>
                      <a:pt x="74" y="13"/>
                      <a:pt x="73" y="13"/>
                      <a:pt x="73" y="12"/>
                    </a:cubicBezTo>
                    <a:cubicBezTo>
                      <a:pt x="72" y="12"/>
                      <a:pt x="72" y="12"/>
                      <a:pt x="72" y="12"/>
                    </a:cubicBezTo>
                    <a:cubicBezTo>
                      <a:pt x="70" y="11"/>
                      <a:pt x="67" y="10"/>
                      <a:pt x="67" y="7"/>
                    </a:cubicBezTo>
                    <a:cubicBezTo>
                      <a:pt x="68" y="6"/>
                      <a:pt x="68" y="6"/>
                      <a:pt x="68" y="6"/>
                    </a:cubicBezTo>
                    <a:cubicBezTo>
                      <a:pt x="68" y="6"/>
                      <a:pt x="68" y="5"/>
                      <a:pt x="68" y="4"/>
                    </a:cubicBezTo>
                    <a:cubicBezTo>
                      <a:pt x="68" y="4"/>
                      <a:pt x="68" y="4"/>
                      <a:pt x="68" y="4"/>
                    </a:cubicBezTo>
                    <a:cubicBezTo>
                      <a:pt x="68" y="4"/>
                      <a:pt x="68" y="4"/>
                      <a:pt x="68" y="4"/>
                    </a:cubicBezTo>
                    <a:cubicBezTo>
                      <a:pt x="67" y="4"/>
                      <a:pt x="67" y="4"/>
                      <a:pt x="66" y="4"/>
                    </a:cubicBezTo>
                    <a:cubicBezTo>
                      <a:pt x="66" y="4"/>
                      <a:pt x="66" y="4"/>
                      <a:pt x="66" y="4"/>
                    </a:cubicBezTo>
                    <a:cubicBezTo>
                      <a:pt x="65" y="4"/>
                      <a:pt x="64" y="5"/>
                      <a:pt x="63" y="5"/>
                    </a:cubicBezTo>
                    <a:cubicBezTo>
                      <a:pt x="62" y="5"/>
                      <a:pt x="62" y="5"/>
                      <a:pt x="61" y="5"/>
                    </a:cubicBezTo>
                    <a:cubicBezTo>
                      <a:pt x="61" y="5"/>
                      <a:pt x="60" y="5"/>
                      <a:pt x="59" y="4"/>
                    </a:cubicBezTo>
                    <a:cubicBezTo>
                      <a:pt x="59" y="5"/>
                      <a:pt x="59" y="5"/>
                      <a:pt x="59" y="5"/>
                    </a:cubicBezTo>
                    <a:cubicBezTo>
                      <a:pt x="58" y="5"/>
                      <a:pt x="56" y="6"/>
                      <a:pt x="55" y="6"/>
                    </a:cubicBezTo>
                    <a:cubicBezTo>
                      <a:pt x="55" y="6"/>
                      <a:pt x="54" y="7"/>
                      <a:pt x="54" y="7"/>
                    </a:cubicBezTo>
                    <a:cubicBezTo>
                      <a:pt x="53" y="7"/>
                      <a:pt x="52" y="7"/>
                      <a:pt x="52" y="7"/>
                    </a:cubicBezTo>
                    <a:cubicBezTo>
                      <a:pt x="51" y="7"/>
                      <a:pt x="51" y="7"/>
                      <a:pt x="51" y="7"/>
                    </a:cubicBezTo>
                    <a:cubicBezTo>
                      <a:pt x="49" y="7"/>
                      <a:pt x="48" y="8"/>
                      <a:pt x="46" y="8"/>
                    </a:cubicBezTo>
                    <a:cubicBezTo>
                      <a:pt x="46" y="8"/>
                      <a:pt x="45" y="8"/>
                      <a:pt x="45" y="8"/>
                    </a:cubicBezTo>
                    <a:cubicBezTo>
                      <a:pt x="44" y="8"/>
                      <a:pt x="42" y="7"/>
                      <a:pt x="41" y="7"/>
                    </a:cubicBezTo>
                    <a:cubicBezTo>
                      <a:pt x="41" y="6"/>
                      <a:pt x="41" y="6"/>
                      <a:pt x="41" y="6"/>
                    </a:cubicBezTo>
                    <a:cubicBezTo>
                      <a:pt x="40" y="6"/>
                      <a:pt x="40" y="6"/>
                      <a:pt x="40" y="6"/>
                    </a:cubicBezTo>
                    <a:cubicBezTo>
                      <a:pt x="39" y="6"/>
                      <a:pt x="39" y="6"/>
                      <a:pt x="39" y="6"/>
                    </a:cubicBezTo>
                    <a:cubicBezTo>
                      <a:pt x="38" y="7"/>
                      <a:pt x="36" y="8"/>
                      <a:pt x="34" y="8"/>
                    </a:cubicBezTo>
                    <a:cubicBezTo>
                      <a:pt x="34" y="8"/>
                      <a:pt x="34" y="8"/>
                      <a:pt x="34" y="8"/>
                    </a:cubicBezTo>
                    <a:cubicBezTo>
                      <a:pt x="34" y="8"/>
                      <a:pt x="34" y="8"/>
                      <a:pt x="34" y="8"/>
                    </a:cubicBezTo>
                    <a:cubicBezTo>
                      <a:pt x="34" y="8"/>
                      <a:pt x="34" y="8"/>
                      <a:pt x="33" y="8"/>
                    </a:cubicBezTo>
                    <a:cubicBezTo>
                      <a:pt x="33" y="8"/>
                      <a:pt x="33" y="8"/>
                      <a:pt x="33" y="8"/>
                    </a:cubicBezTo>
                    <a:cubicBezTo>
                      <a:pt x="33" y="8"/>
                      <a:pt x="33" y="8"/>
                      <a:pt x="33" y="8"/>
                    </a:cubicBezTo>
                    <a:cubicBezTo>
                      <a:pt x="31" y="8"/>
                      <a:pt x="30" y="7"/>
                      <a:pt x="29" y="7"/>
                    </a:cubicBezTo>
                    <a:cubicBezTo>
                      <a:pt x="29" y="6"/>
                      <a:pt x="28" y="5"/>
                      <a:pt x="28" y="3"/>
                    </a:cubicBezTo>
                    <a:cubicBezTo>
                      <a:pt x="28" y="2"/>
                      <a:pt x="29" y="1"/>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169"/>
              <p:cNvSpPr/>
              <p:nvPr/>
            </p:nvSpPr>
            <p:spPr bwMode="auto">
              <a:xfrm>
                <a:off x="3186" y="595"/>
                <a:ext cx="1132" cy="1080"/>
              </a:xfrm>
              <a:custGeom>
                <a:gdLst>
                  <a:gd name="T0" fmla="*/ 321 w 479"/>
                  <a:gd name="T1" fmla="*/ 8 h 457"/>
                  <a:gd name="T2" fmla="*/ 276 w 479"/>
                  <a:gd name="T3" fmla="*/ 8 h 457"/>
                  <a:gd name="T4" fmla="*/ 226 w 479"/>
                  <a:gd name="T5" fmla="*/ 17 h 457"/>
                  <a:gd name="T6" fmla="*/ 192 w 479"/>
                  <a:gd name="T7" fmla="*/ 31 h 457"/>
                  <a:gd name="T8" fmla="*/ 159 w 479"/>
                  <a:gd name="T9" fmla="*/ 50 h 457"/>
                  <a:gd name="T10" fmla="*/ 157 w 479"/>
                  <a:gd name="T11" fmla="*/ 56 h 457"/>
                  <a:gd name="T12" fmla="*/ 163 w 479"/>
                  <a:gd name="T13" fmla="*/ 62 h 457"/>
                  <a:gd name="T14" fmla="*/ 165 w 479"/>
                  <a:gd name="T15" fmla="*/ 77 h 457"/>
                  <a:gd name="T16" fmla="*/ 173 w 479"/>
                  <a:gd name="T17" fmla="*/ 113 h 457"/>
                  <a:gd name="T18" fmla="*/ 175 w 479"/>
                  <a:gd name="T19" fmla="*/ 128 h 457"/>
                  <a:gd name="T20" fmla="*/ 168 w 479"/>
                  <a:gd name="T21" fmla="*/ 135 h 457"/>
                  <a:gd name="T22" fmla="*/ 159 w 479"/>
                  <a:gd name="T23" fmla="*/ 134 h 457"/>
                  <a:gd name="T24" fmla="*/ 140 w 479"/>
                  <a:gd name="T25" fmla="*/ 134 h 457"/>
                  <a:gd name="T26" fmla="*/ 128 w 479"/>
                  <a:gd name="T27" fmla="*/ 143 h 457"/>
                  <a:gd name="T28" fmla="*/ 115 w 479"/>
                  <a:gd name="T29" fmla="*/ 145 h 457"/>
                  <a:gd name="T30" fmla="*/ 114 w 479"/>
                  <a:gd name="T31" fmla="*/ 146 h 457"/>
                  <a:gd name="T32" fmla="*/ 117 w 479"/>
                  <a:gd name="T33" fmla="*/ 154 h 457"/>
                  <a:gd name="T34" fmla="*/ 84 w 479"/>
                  <a:gd name="T35" fmla="*/ 181 h 457"/>
                  <a:gd name="T36" fmla="*/ 55 w 479"/>
                  <a:gd name="T37" fmla="*/ 194 h 457"/>
                  <a:gd name="T38" fmla="*/ 42 w 479"/>
                  <a:gd name="T39" fmla="*/ 200 h 457"/>
                  <a:gd name="T40" fmla="*/ 29 w 479"/>
                  <a:gd name="T41" fmla="*/ 203 h 457"/>
                  <a:gd name="T42" fmla="*/ 7 w 479"/>
                  <a:gd name="T43" fmla="*/ 216 h 457"/>
                  <a:gd name="T44" fmla="*/ 0 w 479"/>
                  <a:gd name="T45" fmla="*/ 254 h 457"/>
                  <a:gd name="T46" fmla="*/ 107 w 479"/>
                  <a:gd name="T47" fmla="*/ 323 h 457"/>
                  <a:gd name="T48" fmla="*/ 228 w 479"/>
                  <a:gd name="T49" fmla="*/ 406 h 457"/>
                  <a:gd name="T50" fmla="*/ 235 w 479"/>
                  <a:gd name="T51" fmla="*/ 418 h 457"/>
                  <a:gd name="T52" fmla="*/ 251 w 479"/>
                  <a:gd name="T53" fmla="*/ 428 h 457"/>
                  <a:gd name="T54" fmla="*/ 256 w 479"/>
                  <a:gd name="T55" fmla="*/ 428 h 457"/>
                  <a:gd name="T56" fmla="*/ 273 w 479"/>
                  <a:gd name="T57" fmla="*/ 436 h 457"/>
                  <a:gd name="T58" fmla="*/ 280 w 479"/>
                  <a:gd name="T59" fmla="*/ 444 h 457"/>
                  <a:gd name="T60" fmla="*/ 280 w 479"/>
                  <a:gd name="T61" fmla="*/ 453 h 457"/>
                  <a:gd name="T62" fmla="*/ 284 w 479"/>
                  <a:gd name="T63" fmla="*/ 457 h 457"/>
                  <a:gd name="T64" fmla="*/ 286 w 479"/>
                  <a:gd name="T65" fmla="*/ 457 h 457"/>
                  <a:gd name="T66" fmla="*/ 298 w 479"/>
                  <a:gd name="T67" fmla="*/ 455 h 457"/>
                  <a:gd name="T68" fmla="*/ 326 w 479"/>
                  <a:gd name="T69" fmla="*/ 450 h 457"/>
                  <a:gd name="T70" fmla="*/ 346 w 479"/>
                  <a:gd name="T71" fmla="*/ 439 h 457"/>
                  <a:gd name="T72" fmla="*/ 478 w 479"/>
                  <a:gd name="T73" fmla="*/ 347 h 457"/>
                  <a:gd name="T74" fmla="*/ 468 w 479"/>
                  <a:gd name="T75" fmla="*/ 332 h 457"/>
                  <a:gd name="T76" fmla="*/ 453 w 479"/>
                  <a:gd name="T77" fmla="*/ 327 h 457"/>
                  <a:gd name="T78" fmla="*/ 448 w 479"/>
                  <a:gd name="T79" fmla="*/ 329 h 457"/>
                  <a:gd name="T80" fmla="*/ 442 w 479"/>
                  <a:gd name="T81" fmla="*/ 326 h 457"/>
                  <a:gd name="T82" fmla="*/ 435 w 479"/>
                  <a:gd name="T83" fmla="*/ 317 h 457"/>
                  <a:gd name="T84" fmla="*/ 429 w 479"/>
                  <a:gd name="T85" fmla="*/ 298 h 457"/>
                  <a:gd name="T86" fmla="*/ 423 w 479"/>
                  <a:gd name="T87" fmla="*/ 278 h 457"/>
                  <a:gd name="T88" fmla="*/ 430 w 479"/>
                  <a:gd name="T89" fmla="*/ 272 h 457"/>
                  <a:gd name="T90" fmla="*/ 428 w 479"/>
                  <a:gd name="T91" fmla="*/ 259 h 457"/>
                  <a:gd name="T92" fmla="*/ 432 w 479"/>
                  <a:gd name="T93" fmla="*/ 240 h 457"/>
                  <a:gd name="T94" fmla="*/ 430 w 479"/>
                  <a:gd name="T95" fmla="*/ 216 h 457"/>
                  <a:gd name="T96" fmla="*/ 419 w 479"/>
                  <a:gd name="T97" fmla="*/ 181 h 457"/>
                  <a:gd name="T98" fmla="*/ 422 w 479"/>
                  <a:gd name="T99" fmla="*/ 179 h 457"/>
                  <a:gd name="T100" fmla="*/ 408 w 479"/>
                  <a:gd name="T101" fmla="*/ 132 h 457"/>
                  <a:gd name="T102" fmla="*/ 394 w 479"/>
                  <a:gd name="T103" fmla="*/ 116 h 457"/>
                  <a:gd name="T104" fmla="*/ 392 w 479"/>
                  <a:gd name="T105" fmla="*/ 110 h 457"/>
                  <a:gd name="T106" fmla="*/ 379 w 479"/>
                  <a:gd name="T107" fmla="*/ 75 h 457"/>
                  <a:gd name="T108" fmla="*/ 396 w 479"/>
                  <a:gd name="T109" fmla="*/ 46 h 457"/>
                  <a:gd name="T110" fmla="*/ 394 w 479"/>
                  <a:gd name="T111" fmla="*/ 27 h 457"/>
                  <a:gd name="T112" fmla="*/ 389 w 479"/>
                  <a:gd name="T113" fmla="*/ 4 h 457"/>
                  <a:gd name="T114" fmla="*/ 370 w 479"/>
                  <a:gd name="T115" fmla="*/ 1 h 457"/>
                  <a:gd name="T116" fmla="*/ 351 w 479"/>
                  <a:gd name="T117" fmla="*/ 0 h 4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457">
                    <a:moveTo>
                      <a:pt x="351" y="0"/>
                    </a:moveTo>
                    <a:cubicBezTo>
                      <a:pt x="350" y="0"/>
                      <a:pt x="349" y="1"/>
                      <a:pt x="348" y="3"/>
                    </a:cubicBezTo>
                    <a:cubicBezTo>
                      <a:pt x="342" y="6"/>
                      <a:pt x="336" y="8"/>
                      <a:pt x="329" y="11"/>
                    </a:cubicBezTo>
                    <a:cubicBezTo>
                      <a:pt x="329" y="11"/>
                      <a:pt x="329" y="11"/>
                      <a:pt x="329" y="11"/>
                    </a:cubicBezTo>
                    <a:cubicBezTo>
                      <a:pt x="327" y="11"/>
                      <a:pt x="322" y="9"/>
                      <a:pt x="321" y="8"/>
                    </a:cubicBezTo>
                    <a:cubicBezTo>
                      <a:pt x="317" y="7"/>
                      <a:pt x="313" y="6"/>
                      <a:pt x="310" y="5"/>
                    </a:cubicBezTo>
                    <a:cubicBezTo>
                      <a:pt x="308" y="4"/>
                      <a:pt x="306" y="4"/>
                      <a:pt x="304" y="4"/>
                    </a:cubicBezTo>
                    <a:cubicBezTo>
                      <a:pt x="300" y="4"/>
                      <a:pt x="296" y="4"/>
                      <a:pt x="293" y="5"/>
                    </a:cubicBezTo>
                    <a:cubicBezTo>
                      <a:pt x="289" y="6"/>
                      <a:pt x="284" y="8"/>
                      <a:pt x="279" y="8"/>
                    </a:cubicBezTo>
                    <a:cubicBezTo>
                      <a:pt x="276" y="8"/>
                      <a:pt x="276" y="8"/>
                      <a:pt x="276" y="8"/>
                    </a:cubicBezTo>
                    <a:cubicBezTo>
                      <a:pt x="271" y="7"/>
                      <a:pt x="271" y="7"/>
                      <a:pt x="271" y="7"/>
                    </a:cubicBezTo>
                    <a:cubicBezTo>
                      <a:pt x="267" y="9"/>
                      <a:pt x="267" y="9"/>
                      <a:pt x="267" y="9"/>
                    </a:cubicBezTo>
                    <a:cubicBezTo>
                      <a:pt x="265" y="11"/>
                      <a:pt x="262" y="12"/>
                      <a:pt x="260" y="13"/>
                    </a:cubicBezTo>
                    <a:cubicBezTo>
                      <a:pt x="256" y="13"/>
                      <a:pt x="252" y="13"/>
                      <a:pt x="248" y="13"/>
                    </a:cubicBezTo>
                    <a:cubicBezTo>
                      <a:pt x="240" y="14"/>
                      <a:pt x="234" y="16"/>
                      <a:pt x="226" y="17"/>
                    </a:cubicBezTo>
                    <a:cubicBezTo>
                      <a:pt x="220" y="19"/>
                      <a:pt x="214" y="21"/>
                      <a:pt x="208" y="25"/>
                    </a:cubicBezTo>
                    <a:cubicBezTo>
                      <a:pt x="205" y="27"/>
                      <a:pt x="203" y="30"/>
                      <a:pt x="200" y="33"/>
                    </a:cubicBezTo>
                    <a:cubicBezTo>
                      <a:pt x="199" y="33"/>
                      <a:pt x="199" y="34"/>
                      <a:pt x="198" y="34"/>
                    </a:cubicBezTo>
                    <a:cubicBezTo>
                      <a:pt x="197" y="34"/>
                      <a:pt x="195" y="32"/>
                      <a:pt x="193" y="31"/>
                    </a:cubicBezTo>
                    <a:cubicBezTo>
                      <a:pt x="193" y="31"/>
                      <a:pt x="192" y="31"/>
                      <a:pt x="192" y="31"/>
                    </a:cubicBezTo>
                    <a:cubicBezTo>
                      <a:pt x="191" y="31"/>
                      <a:pt x="191" y="32"/>
                      <a:pt x="190" y="32"/>
                    </a:cubicBezTo>
                    <a:cubicBezTo>
                      <a:pt x="188" y="33"/>
                      <a:pt x="186" y="34"/>
                      <a:pt x="184" y="34"/>
                    </a:cubicBezTo>
                    <a:cubicBezTo>
                      <a:pt x="181" y="35"/>
                      <a:pt x="177" y="37"/>
                      <a:pt x="175" y="38"/>
                    </a:cubicBezTo>
                    <a:cubicBezTo>
                      <a:pt x="173" y="41"/>
                      <a:pt x="172" y="45"/>
                      <a:pt x="169" y="47"/>
                    </a:cubicBezTo>
                    <a:cubicBezTo>
                      <a:pt x="167" y="48"/>
                      <a:pt x="162" y="49"/>
                      <a:pt x="159" y="50"/>
                    </a:cubicBezTo>
                    <a:cubicBezTo>
                      <a:pt x="157" y="51"/>
                      <a:pt x="155" y="51"/>
                      <a:pt x="153" y="52"/>
                    </a:cubicBezTo>
                    <a:cubicBezTo>
                      <a:pt x="153" y="52"/>
                      <a:pt x="153" y="52"/>
                      <a:pt x="153" y="52"/>
                    </a:cubicBezTo>
                    <a:cubicBezTo>
                      <a:pt x="154" y="53"/>
                      <a:pt x="154" y="53"/>
                      <a:pt x="154" y="53"/>
                    </a:cubicBezTo>
                    <a:cubicBezTo>
                      <a:pt x="154" y="53"/>
                      <a:pt x="155" y="54"/>
                      <a:pt x="156" y="55"/>
                    </a:cubicBezTo>
                    <a:cubicBezTo>
                      <a:pt x="157" y="56"/>
                      <a:pt x="157" y="56"/>
                      <a:pt x="157" y="56"/>
                    </a:cubicBezTo>
                    <a:cubicBezTo>
                      <a:pt x="157" y="56"/>
                      <a:pt x="158" y="57"/>
                      <a:pt x="158" y="57"/>
                    </a:cubicBezTo>
                    <a:cubicBezTo>
                      <a:pt x="159" y="58"/>
                      <a:pt x="159" y="58"/>
                      <a:pt x="159" y="58"/>
                    </a:cubicBezTo>
                    <a:cubicBezTo>
                      <a:pt x="161" y="59"/>
                      <a:pt x="162" y="59"/>
                      <a:pt x="163" y="61"/>
                    </a:cubicBezTo>
                    <a:cubicBezTo>
                      <a:pt x="163" y="61"/>
                      <a:pt x="163" y="61"/>
                      <a:pt x="163" y="61"/>
                    </a:cubicBezTo>
                    <a:cubicBezTo>
                      <a:pt x="163" y="62"/>
                      <a:pt x="163" y="62"/>
                      <a:pt x="163" y="62"/>
                    </a:cubicBezTo>
                    <a:cubicBezTo>
                      <a:pt x="163" y="63"/>
                      <a:pt x="162" y="64"/>
                      <a:pt x="162" y="65"/>
                    </a:cubicBezTo>
                    <a:cubicBezTo>
                      <a:pt x="162" y="65"/>
                      <a:pt x="163" y="66"/>
                      <a:pt x="163" y="66"/>
                    </a:cubicBezTo>
                    <a:cubicBezTo>
                      <a:pt x="165" y="68"/>
                      <a:pt x="164" y="71"/>
                      <a:pt x="163" y="72"/>
                    </a:cubicBezTo>
                    <a:cubicBezTo>
                      <a:pt x="163" y="72"/>
                      <a:pt x="163" y="72"/>
                      <a:pt x="163" y="72"/>
                    </a:cubicBezTo>
                    <a:cubicBezTo>
                      <a:pt x="165" y="77"/>
                      <a:pt x="165" y="77"/>
                      <a:pt x="165" y="77"/>
                    </a:cubicBezTo>
                    <a:cubicBezTo>
                      <a:pt x="166" y="80"/>
                      <a:pt x="165" y="84"/>
                      <a:pt x="164" y="87"/>
                    </a:cubicBezTo>
                    <a:cubicBezTo>
                      <a:pt x="164" y="87"/>
                      <a:pt x="164" y="87"/>
                      <a:pt x="164" y="87"/>
                    </a:cubicBezTo>
                    <a:cubicBezTo>
                      <a:pt x="164" y="88"/>
                      <a:pt x="164" y="88"/>
                      <a:pt x="164" y="89"/>
                    </a:cubicBezTo>
                    <a:cubicBezTo>
                      <a:pt x="164" y="90"/>
                      <a:pt x="164" y="90"/>
                      <a:pt x="164" y="90"/>
                    </a:cubicBezTo>
                    <a:cubicBezTo>
                      <a:pt x="173" y="113"/>
                      <a:pt x="173" y="113"/>
                      <a:pt x="173" y="113"/>
                    </a:cubicBezTo>
                    <a:cubicBezTo>
                      <a:pt x="173" y="114"/>
                      <a:pt x="174" y="115"/>
                      <a:pt x="175" y="115"/>
                    </a:cubicBezTo>
                    <a:cubicBezTo>
                      <a:pt x="176" y="117"/>
                      <a:pt x="176" y="117"/>
                      <a:pt x="176" y="117"/>
                    </a:cubicBezTo>
                    <a:cubicBezTo>
                      <a:pt x="178" y="117"/>
                      <a:pt x="179" y="118"/>
                      <a:pt x="179" y="121"/>
                    </a:cubicBezTo>
                    <a:cubicBezTo>
                      <a:pt x="179" y="124"/>
                      <a:pt x="177" y="126"/>
                      <a:pt x="177" y="126"/>
                    </a:cubicBezTo>
                    <a:cubicBezTo>
                      <a:pt x="175" y="128"/>
                      <a:pt x="175" y="128"/>
                      <a:pt x="175" y="128"/>
                    </a:cubicBezTo>
                    <a:cubicBezTo>
                      <a:pt x="176" y="129"/>
                      <a:pt x="177" y="130"/>
                      <a:pt x="176" y="131"/>
                    </a:cubicBezTo>
                    <a:cubicBezTo>
                      <a:pt x="176" y="132"/>
                      <a:pt x="176" y="133"/>
                      <a:pt x="175" y="134"/>
                    </a:cubicBezTo>
                    <a:cubicBezTo>
                      <a:pt x="174" y="135"/>
                      <a:pt x="173" y="135"/>
                      <a:pt x="171" y="135"/>
                    </a:cubicBezTo>
                    <a:cubicBezTo>
                      <a:pt x="171" y="135"/>
                      <a:pt x="171" y="135"/>
                      <a:pt x="170" y="135"/>
                    </a:cubicBezTo>
                    <a:cubicBezTo>
                      <a:pt x="170" y="135"/>
                      <a:pt x="169" y="135"/>
                      <a:pt x="168" y="135"/>
                    </a:cubicBezTo>
                    <a:cubicBezTo>
                      <a:pt x="167" y="135"/>
                      <a:pt x="165" y="135"/>
                      <a:pt x="163" y="134"/>
                    </a:cubicBezTo>
                    <a:cubicBezTo>
                      <a:pt x="163" y="133"/>
                      <a:pt x="163" y="133"/>
                      <a:pt x="163" y="133"/>
                    </a:cubicBezTo>
                    <a:cubicBezTo>
                      <a:pt x="163" y="133"/>
                      <a:pt x="163" y="133"/>
                      <a:pt x="163" y="133"/>
                    </a:cubicBezTo>
                    <a:cubicBezTo>
                      <a:pt x="163" y="134"/>
                      <a:pt x="163" y="134"/>
                      <a:pt x="163" y="134"/>
                    </a:cubicBezTo>
                    <a:cubicBezTo>
                      <a:pt x="161" y="134"/>
                      <a:pt x="160" y="134"/>
                      <a:pt x="159" y="134"/>
                    </a:cubicBezTo>
                    <a:cubicBezTo>
                      <a:pt x="156" y="134"/>
                      <a:pt x="154" y="134"/>
                      <a:pt x="152" y="133"/>
                    </a:cubicBezTo>
                    <a:cubicBezTo>
                      <a:pt x="150" y="133"/>
                      <a:pt x="150" y="133"/>
                      <a:pt x="150" y="133"/>
                    </a:cubicBezTo>
                    <a:cubicBezTo>
                      <a:pt x="149" y="133"/>
                      <a:pt x="148" y="133"/>
                      <a:pt x="147" y="133"/>
                    </a:cubicBezTo>
                    <a:cubicBezTo>
                      <a:pt x="145" y="133"/>
                      <a:pt x="144" y="133"/>
                      <a:pt x="142" y="134"/>
                    </a:cubicBezTo>
                    <a:cubicBezTo>
                      <a:pt x="142" y="134"/>
                      <a:pt x="141" y="134"/>
                      <a:pt x="140" y="134"/>
                    </a:cubicBezTo>
                    <a:cubicBezTo>
                      <a:pt x="140" y="134"/>
                      <a:pt x="140" y="134"/>
                      <a:pt x="140" y="134"/>
                    </a:cubicBezTo>
                    <a:cubicBezTo>
                      <a:pt x="139" y="134"/>
                      <a:pt x="138" y="134"/>
                      <a:pt x="137" y="135"/>
                    </a:cubicBezTo>
                    <a:cubicBezTo>
                      <a:pt x="136" y="135"/>
                      <a:pt x="135" y="136"/>
                      <a:pt x="134" y="137"/>
                    </a:cubicBezTo>
                    <a:cubicBezTo>
                      <a:pt x="133" y="139"/>
                      <a:pt x="132" y="141"/>
                      <a:pt x="129" y="142"/>
                    </a:cubicBezTo>
                    <a:cubicBezTo>
                      <a:pt x="129" y="142"/>
                      <a:pt x="128" y="143"/>
                      <a:pt x="128" y="143"/>
                    </a:cubicBezTo>
                    <a:cubicBezTo>
                      <a:pt x="126" y="143"/>
                      <a:pt x="126" y="143"/>
                      <a:pt x="126" y="143"/>
                    </a:cubicBezTo>
                    <a:cubicBezTo>
                      <a:pt x="124" y="144"/>
                      <a:pt x="122" y="145"/>
                      <a:pt x="119" y="146"/>
                    </a:cubicBezTo>
                    <a:cubicBezTo>
                      <a:pt x="119" y="146"/>
                      <a:pt x="119" y="146"/>
                      <a:pt x="119" y="146"/>
                    </a:cubicBezTo>
                    <a:cubicBezTo>
                      <a:pt x="118" y="146"/>
                      <a:pt x="118" y="146"/>
                      <a:pt x="118" y="145"/>
                    </a:cubicBezTo>
                    <a:cubicBezTo>
                      <a:pt x="117" y="145"/>
                      <a:pt x="116" y="145"/>
                      <a:pt x="115" y="145"/>
                    </a:cubicBezTo>
                    <a:cubicBezTo>
                      <a:pt x="114" y="145"/>
                      <a:pt x="114" y="145"/>
                      <a:pt x="114" y="145"/>
                    </a:cubicBezTo>
                    <a:cubicBezTo>
                      <a:pt x="114" y="145"/>
                      <a:pt x="114" y="145"/>
                      <a:pt x="114" y="145"/>
                    </a:cubicBezTo>
                    <a:cubicBezTo>
                      <a:pt x="114" y="145"/>
                      <a:pt x="114" y="145"/>
                      <a:pt x="114" y="145"/>
                    </a:cubicBezTo>
                    <a:cubicBezTo>
                      <a:pt x="114" y="146"/>
                      <a:pt x="114" y="146"/>
                      <a:pt x="114" y="146"/>
                    </a:cubicBezTo>
                    <a:cubicBezTo>
                      <a:pt x="114" y="146"/>
                      <a:pt x="114" y="146"/>
                      <a:pt x="114" y="146"/>
                    </a:cubicBezTo>
                    <a:cubicBezTo>
                      <a:pt x="114" y="147"/>
                      <a:pt x="114" y="147"/>
                      <a:pt x="114" y="147"/>
                    </a:cubicBezTo>
                    <a:cubicBezTo>
                      <a:pt x="115" y="147"/>
                      <a:pt x="116" y="148"/>
                      <a:pt x="116" y="148"/>
                    </a:cubicBezTo>
                    <a:cubicBezTo>
                      <a:pt x="116" y="149"/>
                      <a:pt x="117" y="150"/>
                      <a:pt x="116" y="152"/>
                    </a:cubicBezTo>
                    <a:cubicBezTo>
                      <a:pt x="115" y="152"/>
                      <a:pt x="115" y="153"/>
                      <a:pt x="115" y="153"/>
                    </a:cubicBezTo>
                    <a:cubicBezTo>
                      <a:pt x="116" y="153"/>
                      <a:pt x="116" y="154"/>
                      <a:pt x="117" y="154"/>
                    </a:cubicBezTo>
                    <a:cubicBezTo>
                      <a:pt x="117" y="155"/>
                      <a:pt x="119" y="156"/>
                      <a:pt x="119" y="158"/>
                    </a:cubicBezTo>
                    <a:cubicBezTo>
                      <a:pt x="121" y="163"/>
                      <a:pt x="116" y="165"/>
                      <a:pt x="114" y="165"/>
                    </a:cubicBezTo>
                    <a:cubicBezTo>
                      <a:pt x="113" y="166"/>
                      <a:pt x="113" y="166"/>
                      <a:pt x="112" y="166"/>
                    </a:cubicBezTo>
                    <a:cubicBezTo>
                      <a:pt x="88" y="177"/>
                      <a:pt x="88" y="177"/>
                      <a:pt x="88" y="177"/>
                    </a:cubicBezTo>
                    <a:cubicBezTo>
                      <a:pt x="86" y="178"/>
                      <a:pt x="85" y="179"/>
                      <a:pt x="84" y="181"/>
                    </a:cubicBezTo>
                    <a:cubicBezTo>
                      <a:pt x="83" y="182"/>
                      <a:pt x="83" y="183"/>
                      <a:pt x="82" y="184"/>
                    </a:cubicBezTo>
                    <a:cubicBezTo>
                      <a:pt x="80" y="185"/>
                      <a:pt x="80" y="185"/>
                      <a:pt x="80" y="185"/>
                    </a:cubicBezTo>
                    <a:cubicBezTo>
                      <a:pt x="79" y="186"/>
                      <a:pt x="78" y="187"/>
                      <a:pt x="77" y="188"/>
                    </a:cubicBezTo>
                    <a:cubicBezTo>
                      <a:pt x="76" y="189"/>
                      <a:pt x="74" y="190"/>
                      <a:pt x="73" y="191"/>
                    </a:cubicBezTo>
                    <a:cubicBezTo>
                      <a:pt x="69" y="192"/>
                      <a:pt x="61" y="194"/>
                      <a:pt x="55" y="194"/>
                    </a:cubicBezTo>
                    <a:cubicBezTo>
                      <a:pt x="53" y="194"/>
                      <a:pt x="52" y="194"/>
                      <a:pt x="51" y="194"/>
                    </a:cubicBezTo>
                    <a:cubicBezTo>
                      <a:pt x="50" y="196"/>
                      <a:pt x="49" y="199"/>
                      <a:pt x="46" y="200"/>
                    </a:cubicBezTo>
                    <a:cubicBezTo>
                      <a:pt x="45" y="200"/>
                      <a:pt x="45" y="200"/>
                      <a:pt x="45" y="200"/>
                    </a:cubicBezTo>
                    <a:cubicBezTo>
                      <a:pt x="44" y="200"/>
                      <a:pt x="44" y="200"/>
                      <a:pt x="44" y="200"/>
                    </a:cubicBezTo>
                    <a:cubicBezTo>
                      <a:pt x="43" y="200"/>
                      <a:pt x="42" y="200"/>
                      <a:pt x="42" y="200"/>
                    </a:cubicBezTo>
                    <a:cubicBezTo>
                      <a:pt x="42" y="200"/>
                      <a:pt x="41" y="199"/>
                      <a:pt x="41" y="199"/>
                    </a:cubicBezTo>
                    <a:cubicBezTo>
                      <a:pt x="41" y="199"/>
                      <a:pt x="41" y="199"/>
                      <a:pt x="41" y="199"/>
                    </a:cubicBezTo>
                    <a:cubicBezTo>
                      <a:pt x="39" y="200"/>
                      <a:pt x="38" y="200"/>
                      <a:pt x="36" y="201"/>
                    </a:cubicBezTo>
                    <a:cubicBezTo>
                      <a:pt x="33" y="201"/>
                      <a:pt x="33" y="201"/>
                      <a:pt x="33" y="201"/>
                    </a:cubicBezTo>
                    <a:cubicBezTo>
                      <a:pt x="32" y="202"/>
                      <a:pt x="30" y="202"/>
                      <a:pt x="29" y="203"/>
                    </a:cubicBezTo>
                    <a:cubicBezTo>
                      <a:pt x="27" y="203"/>
                      <a:pt x="25" y="204"/>
                      <a:pt x="23" y="205"/>
                    </a:cubicBezTo>
                    <a:cubicBezTo>
                      <a:pt x="22" y="205"/>
                      <a:pt x="21" y="206"/>
                      <a:pt x="21" y="206"/>
                    </a:cubicBezTo>
                    <a:cubicBezTo>
                      <a:pt x="18" y="209"/>
                      <a:pt x="15" y="211"/>
                      <a:pt x="12" y="212"/>
                    </a:cubicBezTo>
                    <a:cubicBezTo>
                      <a:pt x="9" y="215"/>
                      <a:pt x="9" y="215"/>
                      <a:pt x="9" y="215"/>
                    </a:cubicBezTo>
                    <a:cubicBezTo>
                      <a:pt x="8" y="215"/>
                      <a:pt x="8" y="215"/>
                      <a:pt x="7" y="216"/>
                    </a:cubicBezTo>
                    <a:cubicBezTo>
                      <a:pt x="5" y="218"/>
                      <a:pt x="5" y="218"/>
                      <a:pt x="5" y="218"/>
                    </a:cubicBezTo>
                    <a:cubicBezTo>
                      <a:pt x="3" y="218"/>
                      <a:pt x="2" y="219"/>
                      <a:pt x="1" y="220"/>
                    </a:cubicBezTo>
                    <a:cubicBezTo>
                      <a:pt x="1" y="220"/>
                      <a:pt x="0" y="221"/>
                      <a:pt x="0" y="221"/>
                    </a:cubicBezTo>
                    <a:cubicBezTo>
                      <a:pt x="0" y="242"/>
                      <a:pt x="0" y="242"/>
                      <a:pt x="0" y="242"/>
                    </a:cubicBezTo>
                    <a:cubicBezTo>
                      <a:pt x="0" y="254"/>
                      <a:pt x="0" y="254"/>
                      <a:pt x="0" y="254"/>
                    </a:cubicBezTo>
                    <a:cubicBezTo>
                      <a:pt x="33" y="274"/>
                      <a:pt x="61" y="293"/>
                      <a:pt x="88" y="310"/>
                    </a:cubicBezTo>
                    <a:cubicBezTo>
                      <a:pt x="88" y="310"/>
                      <a:pt x="88" y="310"/>
                      <a:pt x="88" y="310"/>
                    </a:cubicBezTo>
                    <a:cubicBezTo>
                      <a:pt x="104" y="316"/>
                      <a:pt x="104" y="316"/>
                      <a:pt x="104" y="316"/>
                    </a:cubicBezTo>
                    <a:cubicBezTo>
                      <a:pt x="96" y="316"/>
                      <a:pt x="96" y="316"/>
                      <a:pt x="96" y="316"/>
                    </a:cubicBezTo>
                    <a:cubicBezTo>
                      <a:pt x="107" y="323"/>
                      <a:pt x="107" y="323"/>
                      <a:pt x="107" y="323"/>
                    </a:cubicBezTo>
                    <a:cubicBezTo>
                      <a:pt x="106" y="323"/>
                      <a:pt x="106" y="323"/>
                      <a:pt x="106" y="323"/>
                    </a:cubicBezTo>
                    <a:cubicBezTo>
                      <a:pt x="113" y="327"/>
                      <a:pt x="120" y="332"/>
                      <a:pt x="127" y="336"/>
                    </a:cubicBezTo>
                    <a:cubicBezTo>
                      <a:pt x="138" y="344"/>
                      <a:pt x="149" y="352"/>
                      <a:pt x="160" y="359"/>
                    </a:cubicBezTo>
                    <a:cubicBezTo>
                      <a:pt x="174" y="370"/>
                      <a:pt x="190" y="381"/>
                      <a:pt x="206" y="391"/>
                    </a:cubicBezTo>
                    <a:cubicBezTo>
                      <a:pt x="228" y="406"/>
                      <a:pt x="228" y="406"/>
                      <a:pt x="228" y="406"/>
                    </a:cubicBezTo>
                    <a:cubicBezTo>
                      <a:pt x="230" y="407"/>
                      <a:pt x="231" y="409"/>
                      <a:pt x="232" y="411"/>
                    </a:cubicBezTo>
                    <a:cubicBezTo>
                      <a:pt x="232" y="413"/>
                      <a:pt x="232" y="414"/>
                      <a:pt x="232" y="415"/>
                    </a:cubicBezTo>
                    <a:cubicBezTo>
                      <a:pt x="232" y="416"/>
                      <a:pt x="232" y="416"/>
                      <a:pt x="232" y="417"/>
                    </a:cubicBezTo>
                    <a:cubicBezTo>
                      <a:pt x="232" y="417"/>
                      <a:pt x="233" y="417"/>
                      <a:pt x="234" y="417"/>
                    </a:cubicBezTo>
                    <a:cubicBezTo>
                      <a:pt x="235" y="418"/>
                      <a:pt x="235" y="418"/>
                      <a:pt x="235" y="418"/>
                    </a:cubicBezTo>
                    <a:cubicBezTo>
                      <a:pt x="236" y="418"/>
                      <a:pt x="236" y="418"/>
                      <a:pt x="237" y="418"/>
                    </a:cubicBezTo>
                    <a:cubicBezTo>
                      <a:pt x="240" y="420"/>
                      <a:pt x="241" y="421"/>
                      <a:pt x="242" y="423"/>
                    </a:cubicBezTo>
                    <a:cubicBezTo>
                      <a:pt x="243" y="425"/>
                      <a:pt x="243" y="425"/>
                      <a:pt x="243" y="425"/>
                    </a:cubicBezTo>
                    <a:cubicBezTo>
                      <a:pt x="243" y="426"/>
                      <a:pt x="246" y="427"/>
                      <a:pt x="250" y="428"/>
                    </a:cubicBezTo>
                    <a:cubicBezTo>
                      <a:pt x="251" y="428"/>
                      <a:pt x="251" y="428"/>
                      <a:pt x="251" y="428"/>
                    </a:cubicBezTo>
                    <a:cubicBezTo>
                      <a:pt x="252" y="428"/>
                      <a:pt x="252" y="428"/>
                      <a:pt x="253" y="428"/>
                    </a:cubicBezTo>
                    <a:cubicBezTo>
                      <a:pt x="253" y="428"/>
                      <a:pt x="253" y="428"/>
                      <a:pt x="253" y="428"/>
                    </a:cubicBezTo>
                    <a:cubicBezTo>
                      <a:pt x="254" y="428"/>
                      <a:pt x="254" y="428"/>
                      <a:pt x="254" y="428"/>
                    </a:cubicBezTo>
                    <a:cubicBezTo>
                      <a:pt x="254" y="428"/>
                      <a:pt x="255" y="428"/>
                      <a:pt x="256" y="428"/>
                    </a:cubicBezTo>
                    <a:cubicBezTo>
                      <a:pt x="256" y="428"/>
                      <a:pt x="256" y="428"/>
                      <a:pt x="256" y="428"/>
                    </a:cubicBezTo>
                    <a:cubicBezTo>
                      <a:pt x="258" y="430"/>
                      <a:pt x="258" y="430"/>
                      <a:pt x="258" y="430"/>
                    </a:cubicBezTo>
                    <a:cubicBezTo>
                      <a:pt x="261" y="431"/>
                      <a:pt x="264" y="433"/>
                      <a:pt x="267" y="434"/>
                    </a:cubicBezTo>
                    <a:cubicBezTo>
                      <a:pt x="268" y="434"/>
                      <a:pt x="268" y="434"/>
                      <a:pt x="268" y="434"/>
                    </a:cubicBezTo>
                    <a:cubicBezTo>
                      <a:pt x="269" y="435"/>
                      <a:pt x="269" y="435"/>
                      <a:pt x="269" y="435"/>
                    </a:cubicBezTo>
                    <a:cubicBezTo>
                      <a:pt x="271" y="435"/>
                      <a:pt x="272" y="435"/>
                      <a:pt x="273" y="436"/>
                    </a:cubicBezTo>
                    <a:cubicBezTo>
                      <a:pt x="274" y="436"/>
                      <a:pt x="274" y="436"/>
                      <a:pt x="274" y="436"/>
                    </a:cubicBezTo>
                    <a:cubicBezTo>
                      <a:pt x="275" y="437"/>
                      <a:pt x="276" y="437"/>
                      <a:pt x="276" y="437"/>
                    </a:cubicBezTo>
                    <a:cubicBezTo>
                      <a:pt x="278" y="438"/>
                      <a:pt x="278" y="438"/>
                      <a:pt x="278" y="438"/>
                    </a:cubicBezTo>
                    <a:cubicBezTo>
                      <a:pt x="279" y="440"/>
                      <a:pt x="280" y="441"/>
                      <a:pt x="280" y="443"/>
                    </a:cubicBezTo>
                    <a:cubicBezTo>
                      <a:pt x="280" y="443"/>
                      <a:pt x="280" y="444"/>
                      <a:pt x="280" y="444"/>
                    </a:cubicBezTo>
                    <a:cubicBezTo>
                      <a:pt x="280" y="445"/>
                      <a:pt x="280" y="445"/>
                      <a:pt x="280" y="446"/>
                    </a:cubicBezTo>
                    <a:cubicBezTo>
                      <a:pt x="280" y="447"/>
                      <a:pt x="280" y="447"/>
                      <a:pt x="280" y="447"/>
                    </a:cubicBezTo>
                    <a:cubicBezTo>
                      <a:pt x="280" y="448"/>
                      <a:pt x="280" y="448"/>
                      <a:pt x="280" y="448"/>
                    </a:cubicBezTo>
                    <a:cubicBezTo>
                      <a:pt x="280" y="449"/>
                      <a:pt x="280" y="449"/>
                      <a:pt x="280" y="449"/>
                    </a:cubicBezTo>
                    <a:cubicBezTo>
                      <a:pt x="281" y="451"/>
                      <a:pt x="281" y="452"/>
                      <a:pt x="280" y="453"/>
                    </a:cubicBezTo>
                    <a:cubicBezTo>
                      <a:pt x="280" y="454"/>
                      <a:pt x="280" y="454"/>
                      <a:pt x="280" y="454"/>
                    </a:cubicBezTo>
                    <a:cubicBezTo>
                      <a:pt x="279" y="455"/>
                      <a:pt x="279" y="455"/>
                      <a:pt x="279" y="455"/>
                    </a:cubicBezTo>
                    <a:cubicBezTo>
                      <a:pt x="279" y="456"/>
                      <a:pt x="278" y="456"/>
                      <a:pt x="278" y="457"/>
                    </a:cubicBezTo>
                    <a:cubicBezTo>
                      <a:pt x="279" y="457"/>
                      <a:pt x="280" y="457"/>
                      <a:pt x="281" y="457"/>
                    </a:cubicBezTo>
                    <a:cubicBezTo>
                      <a:pt x="282" y="457"/>
                      <a:pt x="283" y="457"/>
                      <a:pt x="284" y="457"/>
                    </a:cubicBezTo>
                    <a:cubicBezTo>
                      <a:pt x="284" y="457"/>
                      <a:pt x="284" y="457"/>
                      <a:pt x="284" y="457"/>
                    </a:cubicBezTo>
                    <a:cubicBezTo>
                      <a:pt x="284" y="457"/>
                      <a:pt x="284" y="457"/>
                      <a:pt x="285" y="457"/>
                    </a:cubicBezTo>
                    <a:cubicBezTo>
                      <a:pt x="285" y="457"/>
                      <a:pt x="285" y="457"/>
                      <a:pt x="285" y="457"/>
                    </a:cubicBezTo>
                    <a:cubicBezTo>
                      <a:pt x="285" y="457"/>
                      <a:pt x="285" y="457"/>
                      <a:pt x="285" y="457"/>
                    </a:cubicBezTo>
                    <a:cubicBezTo>
                      <a:pt x="286" y="457"/>
                      <a:pt x="286" y="457"/>
                      <a:pt x="286" y="457"/>
                    </a:cubicBezTo>
                    <a:cubicBezTo>
                      <a:pt x="287" y="457"/>
                      <a:pt x="287" y="457"/>
                      <a:pt x="287" y="457"/>
                    </a:cubicBezTo>
                    <a:cubicBezTo>
                      <a:pt x="288" y="457"/>
                      <a:pt x="289" y="457"/>
                      <a:pt x="290" y="457"/>
                    </a:cubicBezTo>
                    <a:cubicBezTo>
                      <a:pt x="290" y="457"/>
                      <a:pt x="290" y="457"/>
                      <a:pt x="291" y="457"/>
                    </a:cubicBezTo>
                    <a:cubicBezTo>
                      <a:pt x="297" y="455"/>
                      <a:pt x="297" y="455"/>
                      <a:pt x="297" y="455"/>
                    </a:cubicBezTo>
                    <a:cubicBezTo>
                      <a:pt x="298" y="455"/>
                      <a:pt x="298" y="455"/>
                      <a:pt x="298" y="455"/>
                    </a:cubicBezTo>
                    <a:cubicBezTo>
                      <a:pt x="298" y="455"/>
                      <a:pt x="298" y="455"/>
                      <a:pt x="298" y="455"/>
                    </a:cubicBezTo>
                    <a:cubicBezTo>
                      <a:pt x="299" y="455"/>
                      <a:pt x="299" y="455"/>
                      <a:pt x="299" y="455"/>
                    </a:cubicBezTo>
                    <a:cubicBezTo>
                      <a:pt x="301" y="455"/>
                      <a:pt x="301" y="455"/>
                      <a:pt x="301" y="455"/>
                    </a:cubicBezTo>
                    <a:cubicBezTo>
                      <a:pt x="322" y="450"/>
                      <a:pt x="322" y="450"/>
                      <a:pt x="322" y="450"/>
                    </a:cubicBezTo>
                    <a:cubicBezTo>
                      <a:pt x="323" y="450"/>
                      <a:pt x="324" y="450"/>
                      <a:pt x="326" y="450"/>
                    </a:cubicBezTo>
                    <a:cubicBezTo>
                      <a:pt x="327" y="450"/>
                      <a:pt x="327" y="450"/>
                      <a:pt x="327" y="450"/>
                    </a:cubicBezTo>
                    <a:cubicBezTo>
                      <a:pt x="330" y="449"/>
                      <a:pt x="335" y="449"/>
                      <a:pt x="337" y="447"/>
                    </a:cubicBezTo>
                    <a:cubicBezTo>
                      <a:pt x="338" y="447"/>
                      <a:pt x="338" y="446"/>
                      <a:pt x="339" y="446"/>
                    </a:cubicBezTo>
                    <a:cubicBezTo>
                      <a:pt x="340" y="445"/>
                      <a:pt x="340" y="445"/>
                      <a:pt x="340" y="445"/>
                    </a:cubicBezTo>
                    <a:cubicBezTo>
                      <a:pt x="342" y="443"/>
                      <a:pt x="344" y="441"/>
                      <a:pt x="346" y="439"/>
                    </a:cubicBezTo>
                    <a:cubicBezTo>
                      <a:pt x="359" y="428"/>
                      <a:pt x="359" y="428"/>
                      <a:pt x="359" y="428"/>
                    </a:cubicBezTo>
                    <a:cubicBezTo>
                      <a:pt x="362" y="425"/>
                      <a:pt x="365" y="422"/>
                      <a:pt x="368" y="420"/>
                    </a:cubicBezTo>
                    <a:cubicBezTo>
                      <a:pt x="374" y="415"/>
                      <a:pt x="379" y="411"/>
                      <a:pt x="384" y="408"/>
                    </a:cubicBezTo>
                    <a:cubicBezTo>
                      <a:pt x="479" y="349"/>
                      <a:pt x="479" y="349"/>
                      <a:pt x="479" y="349"/>
                    </a:cubicBezTo>
                    <a:cubicBezTo>
                      <a:pt x="479" y="348"/>
                      <a:pt x="478" y="348"/>
                      <a:pt x="478" y="347"/>
                    </a:cubicBezTo>
                    <a:cubicBezTo>
                      <a:pt x="477" y="346"/>
                      <a:pt x="477" y="346"/>
                      <a:pt x="477" y="346"/>
                    </a:cubicBezTo>
                    <a:cubicBezTo>
                      <a:pt x="477" y="345"/>
                      <a:pt x="476" y="344"/>
                      <a:pt x="476" y="343"/>
                    </a:cubicBezTo>
                    <a:cubicBezTo>
                      <a:pt x="475" y="341"/>
                      <a:pt x="474" y="339"/>
                      <a:pt x="473" y="338"/>
                    </a:cubicBezTo>
                    <a:cubicBezTo>
                      <a:pt x="473" y="337"/>
                      <a:pt x="473" y="336"/>
                      <a:pt x="472" y="336"/>
                    </a:cubicBezTo>
                    <a:cubicBezTo>
                      <a:pt x="471" y="334"/>
                      <a:pt x="470" y="332"/>
                      <a:pt x="468" y="332"/>
                    </a:cubicBezTo>
                    <a:cubicBezTo>
                      <a:pt x="463" y="330"/>
                      <a:pt x="463" y="330"/>
                      <a:pt x="463" y="330"/>
                    </a:cubicBezTo>
                    <a:cubicBezTo>
                      <a:pt x="461" y="330"/>
                      <a:pt x="459" y="329"/>
                      <a:pt x="456" y="328"/>
                    </a:cubicBezTo>
                    <a:cubicBezTo>
                      <a:pt x="455" y="328"/>
                      <a:pt x="454" y="327"/>
                      <a:pt x="454" y="327"/>
                    </a:cubicBezTo>
                    <a:cubicBezTo>
                      <a:pt x="453" y="327"/>
                      <a:pt x="453" y="327"/>
                      <a:pt x="453" y="327"/>
                    </a:cubicBezTo>
                    <a:cubicBezTo>
                      <a:pt x="453" y="327"/>
                      <a:pt x="453" y="327"/>
                      <a:pt x="453" y="327"/>
                    </a:cubicBezTo>
                    <a:cubicBezTo>
                      <a:pt x="453" y="327"/>
                      <a:pt x="452" y="328"/>
                      <a:pt x="450" y="328"/>
                    </a:cubicBezTo>
                    <a:cubicBezTo>
                      <a:pt x="450" y="328"/>
                      <a:pt x="450" y="328"/>
                      <a:pt x="450" y="328"/>
                    </a:cubicBezTo>
                    <a:cubicBezTo>
                      <a:pt x="449" y="328"/>
                      <a:pt x="449" y="328"/>
                      <a:pt x="449" y="328"/>
                    </a:cubicBezTo>
                    <a:cubicBezTo>
                      <a:pt x="449" y="334"/>
                      <a:pt x="449" y="334"/>
                      <a:pt x="449" y="334"/>
                    </a:cubicBezTo>
                    <a:cubicBezTo>
                      <a:pt x="448" y="329"/>
                      <a:pt x="448" y="329"/>
                      <a:pt x="448" y="329"/>
                    </a:cubicBezTo>
                    <a:cubicBezTo>
                      <a:pt x="447" y="329"/>
                      <a:pt x="447" y="329"/>
                      <a:pt x="447" y="329"/>
                    </a:cubicBezTo>
                    <a:cubicBezTo>
                      <a:pt x="446" y="329"/>
                      <a:pt x="446" y="328"/>
                      <a:pt x="445" y="328"/>
                    </a:cubicBezTo>
                    <a:cubicBezTo>
                      <a:pt x="445" y="328"/>
                      <a:pt x="445" y="328"/>
                      <a:pt x="445" y="328"/>
                    </a:cubicBezTo>
                    <a:cubicBezTo>
                      <a:pt x="444" y="328"/>
                      <a:pt x="443" y="327"/>
                      <a:pt x="442" y="326"/>
                    </a:cubicBezTo>
                    <a:cubicBezTo>
                      <a:pt x="442" y="326"/>
                      <a:pt x="442" y="326"/>
                      <a:pt x="442" y="326"/>
                    </a:cubicBezTo>
                    <a:cubicBezTo>
                      <a:pt x="441" y="325"/>
                      <a:pt x="441" y="325"/>
                      <a:pt x="441" y="325"/>
                    </a:cubicBezTo>
                    <a:cubicBezTo>
                      <a:pt x="439" y="323"/>
                      <a:pt x="438" y="322"/>
                      <a:pt x="437" y="320"/>
                    </a:cubicBezTo>
                    <a:cubicBezTo>
                      <a:pt x="436" y="319"/>
                      <a:pt x="436" y="319"/>
                      <a:pt x="436" y="318"/>
                    </a:cubicBezTo>
                    <a:cubicBezTo>
                      <a:pt x="436" y="318"/>
                      <a:pt x="435" y="317"/>
                      <a:pt x="435" y="317"/>
                    </a:cubicBezTo>
                    <a:cubicBezTo>
                      <a:pt x="435" y="317"/>
                      <a:pt x="435" y="317"/>
                      <a:pt x="435" y="317"/>
                    </a:cubicBezTo>
                    <a:cubicBezTo>
                      <a:pt x="435" y="316"/>
                      <a:pt x="435" y="316"/>
                      <a:pt x="435" y="316"/>
                    </a:cubicBezTo>
                    <a:cubicBezTo>
                      <a:pt x="434" y="314"/>
                      <a:pt x="434" y="312"/>
                      <a:pt x="434" y="310"/>
                    </a:cubicBezTo>
                    <a:cubicBezTo>
                      <a:pt x="433" y="307"/>
                      <a:pt x="433" y="304"/>
                      <a:pt x="431" y="301"/>
                    </a:cubicBezTo>
                    <a:cubicBezTo>
                      <a:pt x="431" y="301"/>
                      <a:pt x="430" y="300"/>
                      <a:pt x="430" y="299"/>
                    </a:cubicBezTo>
                    <a:cubicBezTo>
                      <a:pt x="429" y="298"/>
                      <a:pt x="429" y="298"/>
                      <a:pt x="429" y="298"/>
                    </a:cubicBezTo>
                    <a:cubicBezTo>
                      <a:pt x="429" y="298"/>
                      <a:pt x="428" y="297"/>
                      <a:pt x="428" y="297"/>
                    </a:cubicBezTo>
                    <a:cubicBezTo>
                      <a:pt x="428" y="296"/>
                      <a:pt x="428" y="296"/>
                      <a:pt x="428" y="296"/>
                    </a:cubicBezTo>
                    <a:cubicBezTo>
                      <a:pt x="427" y="296"/>
                      <a:pt x="427" y="295"/>
                      <a:pt x="426" y="294"/>
                    </a:cubicBezTo>
                    <a:cubicBezTo>
                      <a:pt x="423" y="291"/>
                      <a:pt x="420" y="287"/>
                      <a:pt x="420" y="285"/>
                    </a:cubicBezTo>
                    <a:cubicBezTo>
                      <a:pt x="419" y="283"/>
                      <a:pt x="421" y="280"/>
                      <a:pt x="423" y="278"/>
                    </a:cubicBezTo>
                    <a:cubicBezTo>
                      <a:pt x="424" y="277"/>
                      <a:pt x="425" y="276"/>
                      <a:pt x="426" y="275"/>
                    </a:cubicBezTo>
                    <a:cubicBezTo>
                      <a:pt x="427" y="274"/>
                      <a:pt x="428" y="274"/>
                      <a:pt x="429" y="274"/>
                    </a:cubicBezTo>
                    <a:cubicBezTo>
                      <a:pt x="429" y="274"/>
                      <a:pt x="429" y="274"/>
                      <a:pt x="429" y="274"/>
                    </a:cubicBezTo>
                    <a:cubicBezTo>
                      <a:pt x="430" y="273"/>
                      <a:pt x="430" y="273"/>
                      <a:pt x="430" y="273"/>
                    </a:cubicBezTo>
                    <a:cubicBezTo>
                      <a:pt x="430" y="273"/>
                      <a:pt x="430" y="272"/>
                      <a:pt x="430" y="272"/>
                    </a:cubicBezTo>
                    <a:cubicBezTo>
                      <a:pt x="430" y="271"/>
                      <a:pt x="430" y="271"/>
                      <a:pt x="430" y="271"/>
                    </a:cubicBezTo>
                    <a:cubicBezTo>
                      <a:pt x="430" y="269"/>
                      <a:pt x="430" y="266"/>
                      <a:pt x="429" y="264"/>
                    </a:cubicBezTo>
                    <a:cubicBezTo>
                      <a:pt x="429" y="262"/>
                      <a:pt x="429" y="262"/>
                      <a:pt x="429" y="262"/>
                    </a:cubicBezTo>
                    <a:cubicBezTo>
                      <a:pt x="429" y="261"/>
                      <a:pt x="429" y="261"/>
                      <a:pt x="429" y="260"/>
                    </a:cubicBezTo>
                    <a:cubicBezTo>
                      <a:pt x="428" y="259"/>
                      <a:pt x="428" y="259"/>
                      <a:pt x="428" y="259"/>
                    </a:cubicBezTo>
                    <a:cubicBezTo>
                      <a:pt x="428" y="258"/>
                      <a:pt x="428" y="257"/>
                      <a:pt x="428" y="256"/>
                    </a:cubicBezTo>
                    <a:cubicBezTo>
                      <a:pt x="427" y="253"/>
                      <a:pt x="428" y="251"/>
                      <a:pt x="429" y="249"/>
                    </a:cubicBezTo>
                    <a:cubicBezTo>
                      <a:pt x="430" y="248"/>
                      <a:pt x="430" y="248"/>
                      <a:pt x="430" y="247"/>
                    </a:cubicBezTo>
                    <a:cubicBezTo>
                      <a:pt x="430" y="247"/>
                      <a:pt x="431" y="246"/>
                      <a:pt x="431" y="245"/>
                    </a:cubicBezTo>
                    <a:cubicBezTo>
                      <a:pt x="432" y="243"/>
                      <a:pt x="432" y="242"/>
                      <a:pt x="432" y="240"/>
                    </a:cubicBezTo>
                    <a:cubicBezTo>
                      <a:pt x="431" y="237"/>
                      <a:pt x="431" y="237"/>
                      <a:pt x="431" y="237"/>
                    </a:cubicBezTo>
                    <a:cubicBezTo>
                      <a:pt x="430" y="235"/>
                      <a:pt x="430" y="233"/>
                      <a:pt x="430" y="232"/>
                    </a:cubicBezTo>
                    <a:cubicBezTo>
                      <a:pt x="429" y="228"/>
                      <a:pt x="429" y="224"/>
                      <a:pt x="430" y="220"/>
                    </a:cubicBezTo>
                    <a:cubicBezTo>
                      <a:pt x="430" y="220"/>
                      <a:pt x="430" y="220"/>
                      <a:pt x="430" y="220"/>
                    </a:cubicBezTo>
                    <a:cubicBezTo>
                      <a:pt x="430" y="218"/>
                      <a:pt x="430" y="217"/>
                      <a:pt x="430" y="216"/>
                    </a:cubicBezTo>
                    <a:cubicBezTo>
                      <a:pt x="430" y="209"/>
                      <a:pt x="429" y="204"/>
                      <a:pt x="427" y="199"/>
                    </a:cubicBezTo>
                    <a:cubicBezTo>
                      <a:pt x="426" y="198"/>
                      <a:pt x="426" y="197"/>
                      <a:pt x="425" y="196"/>
                    </a:cubicBezTo>
                    <a:cubicBezTo>
                      <a:pt x="422" y="191"/>
                      <a:pt x="419" y="187"/>
                      <a:pt x="418" y="184"/>
                    </a:cubicBezTo>
                    <a:cubicBezTo>
                      <a:pt x="418" y="184"/>
                      <a:pt x="418" y="183"/>
                      <a:pt x="418" y="183"/>
                    </a:cubicBezTo>
                    <a:cubicBezTo>
                      <a:pt x="418" y="182"/>
                      <a:pt x="418" y="182"/>
                      <a:pt x="419" y="181"/>
                    </a:cubicBezTo>
                    <a:cubicBezTo>
                      <a:pt x="419" y="180"/>
                      <a:pt x="419" y="180"/>
                      <a:pt x="419" y="180"/>
                    </a:cubicBezTo>
                    <a:cubicBezTo>
                      <a:pt x="421" y="179"/>
                      <a:pt x="421" y="179"/>
                      <a:pt x="421" y="179"/>
                    </a:cubicBezTo>
                    <a:cubicBezTo>
                      <a:pt x="422" y="180"/>
                      <a:pt x="422" y="180"/>
                      <a:pt x="422" y="180"/>
                    </a:cubicBezTo>
                    <a:cubicBezTo>
                      <a:pt x="421" y="179"/>
                      <a:pt x="421" y="179"/>
                      <a:pt x="421" y="179"/>
                    </a:cubicBezTo>
                    <a:cubicBezTo>
                      <a:pt x="422" y="179"/>
                      <a:pt x="422" y="179"/>
                      <a:pt x="422" y="179"/>
                    </a:cubicBezTo>
                    <a:cubicBezTo>
                      <a:pt x="422" y="179"/>
                      <a:pt x="422" y="179"/>
                      <a:pt x="422" y="179"/>
                    </a:cubicBezTo>
                    <a:cubicBezTo>
                      <a:pt x="422" y="179"/>
                      <a:pt x="422" y="179"/>
                      <a:pt x="422" y="179"/>
                    </a:cubicBezTo>
                    <a:cubicBezTo>
                      <a:pt x="412" y="136"/>
                      <a:pt x="412" y="136"/>
                      <a:pt x="412" y="136"/>
                    </a:cubicBezTo>
                    <a:cubicBezTo>
                      <a:pt x="412" y="136"/>
                      <a:pt x="412" y="135"/>
                      <a:pt x="411" y="134"/>
                    </a:cubicBezTo>
                    <a:cubicBezTo>
                      <a:pt x="411" y="134"/>
                      <a:pt x="409" y="133"/>
                      <a:pt x="408" y="132"/>
                    </a:cubicBezTo>
                    <a:cubicBezTo>
                      <a:pt x="407" y="132"/>
                      <a:pt x="407" y="131"/>
                      <a:pt x="406" y="131"/>
                    </a:cubicBezTo>
                    <a:cubicBezTo>
                      <a:pt x="399" y="125"/>
                      <a:pt x="399" y="125"/>
                      <a:pt x="399" y="125"/>
                    </a:cubicBezTo>
                    <a:cubicBezTo>
                      <a:pt x="398" y="125"/>
                      <a:pt x="398" y="124"/>
                      <a:pt x="398" y="124"/>
                    </a:cubicBezTo>
                    <a:cubicBezTo>
                      <a:pt x="396" y="123"/>
                      <a:pt x="396" y="123"/>
                      <a:pt x="396" y="123"/>
                    </a:cubicBezTo>
                    <a:cubicBezTo>
                      <a:pt x="394" y="121"/>
                      <a:pt x="394" y="118"/>
                      <a:pt x="394" y="116"/>
                    </a:cubicBezTo>
                    <a:cubicBezTo>
                      <a:pt x="394" y="115"/>
                      <a:pt x="394" y="115"/>
                      <a:pt x="394" y="115"/>
                    </a:cubicBezTo>
                    <a:cubicBezTo>
                      <a:pt x="394" y="114"/>
                      <a:pt x="394" y="114"/>
                      <a:pt x="393" y="113"/>
                    </a:cubicBezTo>
                    <a:cubicBezTo>
                      <a:pt x="393" y="112"/>
                      <a:pt x="393" y="112"/>
                      <a:pt x="393" y="112"/>
                    </a:cubicBezTo>
                    <a:cubicBezTo>
                      <a:pt x="393" y="112"/>
                      <a:pt x="393" y="112"/>
                      <a:pt x="393" y="112"/>
                    </a:cubicBezTo>
                    <a:cubicBezTo>
                      <a:pt x="392" y="110"/>
                      <a:pt x="392" y="110"/>
                      <a:pt x="392" y="110"/>
                    </a:cubicBezTo>
                    <a:cubicBezTo>
                      <a:pt x="391" y="109"/>
                      <a:pt x="389" y="107"/>
                      <a:pt x="387" y="106"/>
                    </a:cubicBezTo>
                    <a:cubicBezTo>
                      <a:pt x="385" y="103"/>
                      <a:pt x="382" y="101"/>
                      <a:pt x="380" y="97"/>
                    </a:cubicBezTo>
                    <a:cubicBezTo>
                      <a:pt x="378" y="95"/>
                      <a:pt x="376" y="90"/>
                      <a:pt x="375" y="85"/>
                    </a:cubicBezTo>
                    <a:cubicBezTo>
                      <a:pt x="374" y="80"/>
                      <a:pt x="376" y="77"/>
                      <a:pt x="378" y="76"/>
                    </a:cubicBezTo>
                    <a:cubicBezTo>
                      <a:pt x="379" y="75"/>
                      <a:pt x="379" y="75"/>
                      <a:pt x="379" y="75"/>
                    </a:cubicBezTo>
                    <a:cubicBezTo>
                      <a:pt x="380" y="73"/>
                      <a:pt x="382" y="72"/>
                      <a:pt x="385" y="70"/>
                    </a:cubicBezTo>
                    <a:cubicBezTo>
                      <a:pt x="388" y="67"/>
                      <a:pt x="391" y="64"/>
                      <a:pt x="393" y="61"/>
                    </a:cubicBezTo>
                    <a:cubicBezTo>
                      <a:pt x="395" y="58"/>
                      <a:pt x="396" y="54"/>
                      <a:pt x="397" y="49"/>
                    </a:cubicBezTo>
                    <a:cubicBezTo>
                      <a:pt x="397" y="49"/>
                      <a:pt x="397" y="48"/>
                      <a:pt x="396" y="46"/>
                    </a:cubicBezTo>
                    <a:cubicBezTo>
                      <a:pt x="396" y="46"/>
                      <a:pt x="396" y="46"/>
                      <a:pt x="396" y="46"/>
                    </a:cubicBezTo>
                    <a:cubicBezTo>
                      <a:pt x="396" y="45"/>
                      <a:pt x="396" y="45"/>
                      <a:pt x="396" y="44"/>
                    </a:cubicBezTo>
                    <a:cubicBezTo>
                      <a:pt x="395" y="41"/>
                      <a:pt x="395" y="41"/>
                      <a:pt x="395" y="41"/>
                    </a:cubicBezTo>
                    <a:cubicBezTo>
                      <a:pt x="395" y="40"/>
                      <a:pt x="395" y="39"/>
                      <a:pt x="395" y="39"/>
                    </a:cubicBezTo>
                    <a:cubicBezTo>
                      <a:pt x="395" y="38"/>
                      <a:pt x="395" y="38"/>
                      <a:pt x="395" y="38"/>
                    </a:cubicBezTo>
                    <a:cubicBezTo>
                      <a:pt x="394" y="35"/>
                      <a:pt x="393" y="31"/>
                      <a:pt x="394" y="27"/>
                    </a:cubicBezTo>
                    <a:cubicBezTo>
                      <a:pt x="395" y="22"/>
                      <a:pt x="395" y="22"/>
                      <a:pt x="395" y="22"/>
                    </a:cubicBezTo>
                    <a:cubicBezTo>
                      <a:pt x="395" y="20"/>
                      <a:pt x="395" y="20"/>
                      <a:pt x="393" y="18"/>
                    </a:cubicBezTo>
                    <a:cubicBezTo>
                      <a:pt x="390" y="15"/>
                      <a:pt x="390" y="15"/>
                      <a:pt x="390" y="15"/>
                    </a:cubicBezTo>
                    <a:cubicBezTo>
                      <a:pt x="400" y="3"/>
                      <a:pt x="400" y="3"/>
                      <a:pt x="400" y="3"/>
                    </a:cubicBezTo>
                    <a:cubicBezTo>
                      <a:pt x="396" y="4"/>
                      <a:pt x="393" y="4"/>
                      <a:pt x="389" y="4"/>
                    </a:cubicBezTo>
                    <a:cubicBezTo>
                      <a:pt x="388" y="4"/>
                      <a:pt x="386" y="5"/>
                      <a:pt x="385" y="5"/>
                    </a:cubicBezTo>
                    <a:cubicBezTo>
                      <a:pt x="385" y="5"/>
                      <a:pt x="384" y="5"/>
                      <a:pt x="384" y="4"/>
                    </a:cubicBezTo>
                    <a:cubicBezTo>
                      <a:pt x="383" y="4"/>
                      <a:pt x="384" y="2"/>
                      <a:pt x="382" y="2"/>
                    </a:cubicBezTo>
                    <a:cubicBezTo>
                      <a:pt x="379" y="1"/>
                      <a:pt x="377" y="0"/>
                      <a:pt x="374" y="0"/>
                    </a:cubicBezTo>
                    <a:cubicBezTo>
                      <a:pt x="373" y="0"/>
                      <a:pt x="371" y="0"/>
                      <a:pt x="370" y="1"/>
                    </a:cubicBezTo>
                    <a:cubicBezTo>
                      <a:pt x="368" y="2"/>
                      <a:pt x="366" y="4"/>
                      <a:pt x="364" y="4"/>
                    </a:cubicBezTo>
                    <a:cubicBezTo>
                      <a:pt x="364" y="4"/>
                      <a:pt x="364" y="4"/>
                      <a:pt x="364" y="4"/>
                    </a:cubicBezTo>
                    <a:cubicBezTo>
                      <a:pt x="363" y="4"/>
                      <a:pt x="363" y="3"/>
                      <a:pt x="361" y="3"/>
                    </a:cubicBezTo>
                    <a:cubicBezTo>
                      <a:pt x="360" y="3"/>
                      <a:pt x="359" y="3"/>
                      <a:pt x="357" y="2"/>
                    </a:cubicBezTo>
                    <a:cubicBezTo>
                      <a:pt x="354" y="1"/>
                      <a:pt x="353" y="0"/>
                      <a:pt x="3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170"/>
              <p:cNvSpPr/>
              <p:nvPr/>
            </p:nvSpPr>
            <p:spPr bwMode="auto">
              <a:xfrm>
                <a:off x="5606" y="838"/>
                <a:ext cx="227" cy="239"/>
              </a:xfrm>
              <a:custGeom>
                <a:gdLst>
                  <a:gd name="T0" fmla="*/ 77 w 96"/>
                  <a:gd name="T1" fmla="*/ 6 h 101"/>
                  <a:gd name="T2" fmla="*/ 74 w 96"/>
                  <a:gd name="T3" fmla="*/ 8 h 101"/>
                  <a:gd name="T4" fmla="*/ 70 w 96"/>
                  <a:gd name="T5" fmla="*/ 10 h 101"/>
                  <a:gd name="T6" fmla="*/ 60 w 96"/>
                  <a:gd name="T7" fmla="*/ 16 h 101"/>
                  <a:gd name="T8" fmla="*/ 55 w 96"/>
                  <a:gd name="T9" fmla="*/ 19 h 101"/>
                  <a:gd name="T10" fmla="*/ 52 w 96"/>
                  <a:gd name="T11" fmla="*/ 21 h 101"/>
                  <a:gd name="T12" fmla="*/ 49 w 96"/>
                  <a:gd name="T13" fmla="*/ 23 h 101"/>
                  <a:gd name="T14" fmla="*/ 47 w 96"/>
                  <a:gd name="T15" fmla="*/ 24 h 101"/>
                  <a:gd name="T16" fmla="*/ 46 w 96"/>
                  <a:gd name="T17" fmla="*/ 25 h 101"/>
                  <a:gd name="T18" fmla="*/ 44 w 96"/>
                  <a:gd name="T19" fmla="*/ 26 h 101"/>
                  <a:gd name="T20" fmla="*/ 43 w 96"/>
                  <a:gd name="T21" fmla="*/ 26 h 101"/>
                  <a:gd name="T22" fmla="*/ 41 w 96"/>
                  <a:gd name="T23" fmla="*/ 26 h 101"/>
                  <a:gd name="T24" fmla="*/ 39 w 96"/>
                  <a:gd name="T25" fmla="*/ 25 h 101"/>
                  <a:gd name="T26" fmla="*/ 35 w 96"/>
                  <a:gd name="T27" fmla="*/ 24 h 101"/>
                  <a:gd name="T28" fmla="*/ 30 w 96"/>
                  <a:gd name="T29" fmla="*/ 22 h 101"/>
                  <a:gd name="T30" fmla="*/ 25 w 96"/>
                  <a:gd name="T31" fmla="*/ 20 h 101"/>
                  <a:gd name="T32" fmla="*/ 21 w 96"/>
                  <a:gd name="T33" fmla="*/ 17 h 101"/>
                  <a:gd name="T34" fmla="*/ 20 w 96"/>
                  <a:gd name="T35" fmla="*/ 16 h 101"/>
                  <a:gd name="T36" fmla="*/ 19 w 96"/>
                  <a:gd name="T37" fmla="*/ 16 h 101"/>
                  <a:gd name="T38" fmla="*/ 18 w 96"/>
                  <a:gd name="T39" fmla="*/ 16 h 101"/>
                  <a:gd name="T40" fmla="*/ 18 w 96"/>
                  <a:gd name="T41" fmla="*/ 17 h 101"/>
                  <a:gd name="T42" fmla="*/ 17 w 96"/>
                  <a:gd name="T43" fmla="*/ 23 h 101"/>
                  <a:gd name="T44" fmla="*/ 13 w 96"/>
                  <a:gd name="T45" fmla="*/ 35 h 101"/>
                  <a:gd name="T46" fmla="*/ 12 w 96"/>
                  <a:gd name="T47" fmla="*/ 42 h 101"/>
                  <a:gd name="T48" fmla="*/ 14 w 96"/>
                  <a:gd name="T49" fmla="*/ 47 h 101"/>
                  <a:gd name="T50" fmla="*/ 12 w 96"/>
                  <a:gd name="T51" fmla="*/ 60 h 101"/>
                  <a:gd name="T52" fmla="*/ 9 w 96"/>
                  <a:gd name="T53" fmla="*/ 68 h 101"/>
                  <a:gd name="T54" fmla="*/ 3 w 96"/>
                  <a:gd name="T55" fmla="*/ 95 h 101"/>
                  <a:gd name="T56" fmla="*/ 0 w 96"/>
                  <a:gd name="T57" fmla="*/ 95 h 101"/>
                  <a:gd name="T58" fmla="*/ 2 w 96"/>
                  <a:gd name="T59" fmla="*/ 97 h 101"/>
                  <a:gd name="T60" fmla="*/ 2 w 96"/>
                  <a:gd name="T61" fmla="*/ 97 h 101"/>
                  <a:gd name="T62" fmla="*/ 19 w 96"/>
                  <a:gd name="T63" fmla="*/ 100 h 101"/>
                  <a:gd name="T64" fmla="*/ 20 w 96"/>
                  <a:gd name="T65" fmla="*/ 100 h 101"/>
                  <a:gd name="T66" fmla="*/ 28 w 96"/>
                  <a:gd name="T67" fmla="*/ 97 h 101"/>
                  <a:gd name="T68" fmla="*/ 29 w 96"/>
                  <a:gd name="T69" fmla="*/ 96 h 101"/>
                  <a:gd name="T70" fmla="*/ 34 w 96"/>
                  <a:gd name="T71" fmla="*/ 91 h 101"/>
                  <a:gd name="T72" fmla="*/ 47 w 96"/>
                  <a:gd name="T73" fmla="*/ 83 h 101"/>
                  <a:gd name="T74" fmla="*/ 49 w 96"/>
                  <a:gd name="T75" fmla="*/ 82 h 101"/>
                  <a:gd name="T76" fmla="*/ 53 w 96"/>
                  <a:gd name="T77" fmla="*/ 82 h 101"/>
                  <a:gd name="T78" fmla="*/ 59 w 96"/>
                  <a:gd name="T79" fmla="*/ 79 h 101"/>
                  <a:gd name="T80" fmla="*/ 68 w 96"/>
                  <a:gd name="T81" fmla="*/ 70 h 101"/>
                  <a:gd name="T82" fmla="*/ 66 w 96"/>
                  <a:gd name="T83" fmla="*/ 68 h 101"/>
                  <a:gd name="T84" fmla="*/ 64 w 96"/>
                  <a:gd name="T85" fmla="*/ 66 h 101"/>
                  <a:gd name="T86" fmla="*/ 42 w 96"/>
                  <a:gd name="T87" fmla="*/ 43 h 101"/>
                  <a:gd name="T88" fmla="*/ 54 w 96"/>
                  <a:gd name="T89" fmla="*/ 39 h 101"/>
                  <a:gd name="T90" fmla="*/ 78 w 96"/>
                  <a:gd name="T91" fmla="*/ 32 h 101"/>
                  <a:gd name="T92" fmla="*/ 84 w 96"/>
                  <a:gd name="T93" fmla="*/ 30 h 101"/>
                  <a:gd name="T94" fmla="*/ 86 w 96"/>
                  <a:gd name="T95" fmla="*/ 29 h 101"/>
                  <a:gd name="T96" fmla="*/ 94 w 96"/>
                  <a:gd name="T97" fmla="*/ 25 h 101"/>
                  <a:gd name="T98" fmla="*/ 93 w 96"/>
                  <a:gd name="T99" fmla="*/ 24 h 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100">
                    <a:moveTo>
                      <a:pt x="88" y="0"/>
                    </a:moveTo>
                    <a:cubicBezTo>
                      <a:pt x="85" y="1"/>
                      <a:pt x="81" y="4"/>
                      <a:pt x="77" y="6"/>
                    </a:cubicBezTo>
                    <a:cubicBezTo>
                      <a:pt x="76" y="6"/>
                      <a:pt x="76" y="6"/>
                      <a:pt x="76" y="6"/>
                    </a:cubicBezTo>
                    <a:cubicBezTo>
                      <a:pt x="75" y="7"/>
                      <a:pt x="74" y="7"/>
                      <a:pt x="74" y="8"/>
                    </a:cubicBezTo>
                    <a:cubicBezTo>
                      <a:pt x="73" y="8"/>
                      <a:pt x="72" y="9"/>
                      <a:pt x="71" y="9"/>
                    </a:cubicBezTo>
                    <a:cubicBezTo>
                      <a:pt x="70" y="10"/>
                      <a:pt x="70" y="10"/>
                      <a:pt x="70" y="10"/>
                    </a:cubicBezTo>
                    <a:cubicBezTo>
                      <a:pt x="69" y="11"/>
                      <a:pt x="67" y="12"/>
                      <a:pt x="65" y="13"/>
                    </a:cubicBezTo>
                    <a:cubicBezTo>
                      <a:pt x="60" y="16"/>
                      <a:pt x="60" y="16"/>
                      <a:pt x="60" y="16"/>
                    </a:cubicBezTo>
                    <a:cubicBezTo>
                      <a:pt x="58" y="17"/>
                      <a:pt x="57" y="18"/>
                      <a:pt x="56" y="18"/>
                    </a:cubicBezTo>
                    <a:cubicBezTo>
                      <a:pt x="55" y="19"/>
                      <a:pt x="55" y="19"/>
                      <a:pt x="55" y="19"/>
                    </a:cubicBezTo>
                    <a:cubicBezTo>
                      <a:pt x="55" y="19"/>
                      <a:pt x="55" y="19"/>
                      <a:pt x="55" y="19"/>
                    </a:cubicBezTo>
                    <a:cubicBezTo>
                      <a:pt x="54" y="20"/>
                      <a:pt x="53" y="20"/>
                      <a:pt x="52" y="21"/>
                    </a:cubicBezTo>
                    <a:cubicBezTo>
                      <a:pt x="51" y="22"/>
                      <a:pt x="50" y="22"/>
                      <a:pt x="50" y="23"/>
                    </a:cubicBezTo>
                    <a:cubicBezTo>
                      <a:pt x="49" y="23"/>
                      <a:pt x="49" y="23"/>
                      <a:pt x="49" y="23"/>
                    </a:cubicBezTo>
                    <a:cubicBezTo>
                      <a:pt x="48" y="24"/>
                      <a:pt x="48" y="24"/>
                      <a:pt x="48" y="24"/>
                    </a:cubicBezTo>
                    <a:cubicBezTo>
                      <a:pt x="47" y="24"/>
                      <a:pt x="47" y="24"/>
                      <a:pt x="47" y="24"/>
                    </a:cubicBezTo>
                    <a:cubicBezTo>
                      <a:pt x="47" y="25"/>
                      <a:pt x="47" y="25"/>
                      <a:pt x="46" y="25"/>
                    </a:cubicBezTo>
                    <a:cubicBezTo>
                      <a:pt x="46" y="25"/>
                      <a:pt x="46" y="25"/>
                      <a:pt x="46" y="25"/>
                    </a:cubicBezTo>
                    <a:cubicBezTo>
                      <a:pt x="45" y="25"/>
                      <a:pt x="45" y="26"/>
                      <a:pt x="44" y="26"/>
                    </a:cubicBezTo>
                    <a:cubicBezTo>
                      <a:pt x="44" y="26"/>
                      <a:pt x="44" y="26"/>
                      <a:pt x="44" y="26"/>
                    </a:cubicBezTo>
                    <a:cubicBezTo>
                      <a:pt x="43" y="26"/>
                      <a:pt x="43" y="26"/>
                      <a:pt x="43" y="26"/>
                    </a:cubicBezTo>
                    <a:cubicBezTo>
                      <a:pt x="43" y="26"/>
                      <a:pt x="43" y="26"/>
                      <a:pt x="43" y="26"/>
                    </a:cubicBezTo>
                    <a:cubicBezTo>
                      <a:pt x="42" y="26"/>
                      <a:pt x="42" y="26"/>
                      <a:pt x="42" y="26"/>
                    </a:cubicBezTo>
                    <a:cubicBezTo>
                      <a:pt x="41" y="26"/>
                      <a:pt x="41" y="26"/>
                      <a:pt x="41" y="26"/>
                    </a:cubicBezTo>
                    <a:cubicBezTo>
                      <a:pt x="41" y="26"/>
                      <a:pt x="40" y="26"/>
                      <a:pt x="39" y="25"/>
                    </a:cubicBezTo>
                    <a:cubicBezTo>
                      <a:pt x="39" y="25"/>
                      <a:pt x="39" y="25"/>
                      <a:pt x="39" y="25"/>
                    </a:cubicBezTo>
                    <a:cubicBezTo>
                      <a:pt x="38" y="25"/>
                      <a:pt x="37" y="25"/>
                      <a:pt x="35" y="24"/>
                    </a:cubicBezTo>
                    <a:cubicBezTo>
                      <a:pt x="35" y="24"/>
                      <a:pt x="35" y="24"/>
                      <a:pt x="35" y="24"/>
                    </a:cubicBezTo>
                    <a:cubicBezTo>
                      <a:pt x="34" y="24"/>
                      <a:pt x="32" y="23"/>
                      <a:pt x="31" y="23"/>
                    </a:cubicBezTo>
                    <a:cubicBezTo>
                      <a:pt x="30" y="22"/>
                      <a:pt x="30" y="22"/>
                      <a:pt x="30" y="22"/>
                    </a:cubicBezTo>
                    <a:cubicBezTo>
                      <a:pt x="29" y="22"/>
                      <a:pt x="27" y="21"/>
                      <a:pt x="25" y="20"/>
                    </a:cubicBezTo>
                    <a:cubicBezTo>
                      <a:pt x="25" y="20"/>
                      <a:pt x="25" y="20"/>
                      <a:pt x="25" y="20"/>
                    </a:cubicBezTo>
                    <a:cubicBezTo>
                      <a:pt x="24" y="19"/>
                      <a:pt x="23" y="18"/>
                      <a:pt x="22" y="18"/>
                    </a:cubicBezTo>
                    <a:cubicBezTo>
                      <a:pt x="21" y="17"/>
                      <a:pt x="21" y="17"/>
                      <a:pt x="21" y="17"/>
                    </a:cubicBezTo>
                    <a:cubicBezTo>
                      <a:pt x="21" y="17"/>
                      <a:pt x="21" y="17"/>
                      <a:pt x="21" y="17"/>
                    </a:cubicBezTo>
                    <a:cubicBezTo>
                      <a:pt x="20" y="17"/>
                      <a:pt x="20" y="17"/>
                      <a:pt x="20" y="16"/>
                    </a:cubicBezTo>
                    <a:cubicBezTo>
                      <a:pt x="19" y="16"/>
                      <a:pt x="19" y="16"/>
                      <a:pt x="19" y="16"/>
                    </a:cubicBezTo>
                    <a:cubicBezTo>
                      <a:pt x="19" y="16"/>
                      <a:pt x="19" y="16"/>
                      <a:pt x="19" y="16"/>
                    </a:cubicBezTo>
                    <a:cubicBezTo>
                      <a:pt x="18" y="16"/>
                      <a:pt x="18" y="16"/>
                      <a:pt x="18" y="16"/>
                    </a:cubicBezTo>
                    <a:cubicBezTo>
                      <a:pt x="18" y="16"/>
                      <a:pt x="18" y="16"/>
                      <a:pt x="18" y="16"/>
                    </a:cubicBezTo>
                    <a:cubicBezTo>
                      <a:pt x="18" y="16"/>
                      <a:pt x="18" y="16"/>
                      <a:pt x="18" y="16"/>
                    </a:cubicBezTo>
                    <a:cubicBezTo>
                      <a:pt x="18" y="17"/>
                      <a:pt x="18" y="17"/>
                      <a:pt x="18" y="17"/>
                    </a:cubicBezTo>
                    <a:cubicBezTo>
                      <a:pt x="18" y="18"/>
                      <a:pt x="17" y="20"/>
                      <a:pt x="17" y="21"/>
                    </a:cubicBezTo>
                    <a:cubicBezTo>
                      <a:pt x="17" y="23"/>
                      <a:pt x="17" y="23"/>
                      <a:pt x="17" y="23"/>
                    </a:cubicBezTo>
                    <a:cubicBezTo>
                      <a:pt x="14" y="23"/>
                      <a:pt x="14" y="23"/>
                      <a:pt x="14" y="23"/>
                    </a:cubicBezTo>
                    <a:cubicBezTo>
                      <a:pt x="14" y="27"/>
                      <a:pt x="14" y="31"/>
                      <a:pt x="13" y="35"/>
                    </a:cubicBezTo>
                    <a:cubicBezTo>
                      <a:pt x="13" y="35"/>
                      <a:pt x="13" y="35"/>
                      <a:pt x="13" y="35"/>
                    </a:cubicBezTo>
                    <a:cubicBezTo>
                      <a:pt x="13" y="38"/>
                      <a:pt x="13" y="40"/>
                      <a:pt x="12" y="42"/>
                    </a:cubicBezTo>
                    <a:cubicBezTo>
                      <a:pt x="15" y="43"/>
                      <a:pt x="15" y="43"/>
                      <a:pt x="15" y="43"/>
                    </a:cubicBezTo>
                    <a:cubicBezTo>
                      <a:pt x="14" y="47"/>
                      <a:pt x="14" y="47"/>
                      <a:pt x="14" y="47"/>
                    </a:cubicBezTo>
                    <a:cubicBezTo>
                      <a:pt x="14" y="51"/>
                      <a:pt x="13" y="54"/>
                      <a:pt x="13" y="56"/>
                    </a:cubicBezTo>
                    <a:cubicBezTo>
                      <a:pt x="12" y="57"/>
                      <a:pt x="12" y="59"/>
                      <a:pt x="12" y="60"/>
                    </a:cubicBezTo>
                    <a:cubicBezTo>
                      <a:pt x="11" y="62"/>
                      <a:pt x="11" y="62"/>
                      <a:pt x="11" y="62"/>
                    </a:cubicBezTo>
                    <a:cubicBezTo>
                      <a:pt x="11" y="64"/>
                      <a:pt x="10" y="66"/>
                      <a:pt x="9" y="68"/>
                    </a:cubicBezTo>
                    <a:cubicBezTo>
                      <a:pt x="8" y="75"/>
                      <a:pt x="8" y="75"/>
                      <a:pt x="8" y="75"/>
                    </a:cubicBezTo>
                    <a:cubicBezTo>
                      <a:pt x="6" y="81"/>
                      <a:pt x="4" y="88"/>
                      <a:pt x="3" y="95"/>
                    </a:cubicBezTo>
                    <a:cubicBezTo>
                      <a:pt x="3" y="96"/>
                      <a:pt x="3" y="96"/>
                      <a:pt x="3" y="96"/>
                    </a:cubicBezTo>
                    <a:cubicBezTo>
                      <a:pt x="0" y="95"/>
                      <a:pt x="0" y="95"/>
                      <a:pt x="0" y="95"/>
                    </a:cubicBezTo>
                    <a:cubicBezTo>
                      <a:pt x="1" y="97"/>
                      <a:pt x="1" y="97"/>
                      <a:pt x="1" y="97"/>
                    </a:cubicBezTo>
                    <a:cubicBezTo>
                      <a:pt x="2" y="97"/>
                      <a:pt x="2" y="97"/>
                      <a:pt x="2" y="97"/>
                    </a:cubicBezTo>
                    <a:cubicBezTo>
                      <a:pt x="2" y="97"/>
                      <a:pt x="2" y="97"/>
                      <a:pt x="2" y="97"/>
                    </a:cubicBezTo>
                    <a:cubicBezTo>
                      <a:pt x="2" y="97"/>
                      <a:pt x="2" y="97"/>
                      <a:pt x="2" y="97"/>
                    </a:cubicBezTo>
                    <a:cubicBezTo>
                      <a:pt x="3" y="97"/>
                      <a:pt x="3" y="97"/>
                      <a:pt x="3" y="97"/>
                    </a:cubicBezTo>
                    <a:cubicBezTo>
                      <a:pt x="19" y="100"/>
                      <a:pt x="19" y="100"/>
                      <a:pt x="19" y="100"/>
                    </a:cubicBezTo>
                    <a:cubicBezTo>
                      <a:pt x="19" y="100"/>
                      <a:pt x="19" y="100"/>
                      <a:pt x="20" y="100"/>
                    </a:cubicBezTo>
                    <a:cubicBezTo>
                      <a:pt x="20" y="100"/>
                      <a:pt x="20" y="100"/>
                      <a:pt x="20" y="100"/>
                    </a:cubicBezTo>
                    <a:cubicBezTo>
                      <a:pt x="23" y="101"/>
                      <a:pt x="24" y="101"/>
                      <a:pt x="25" y="101"/>
                    </a:cubicBezTo>
                    <a:cubicBezTo>
                      <a:pt x="25" y="101"/>
                      <a:pt x="26" y="100"/>
                      <a:pt x="28" y="97"/>
                    </a:cubicBezTo>
                    <a:cubicBezTo>
                      <a:pt x="29" y="96"/>
                      <a:pt x="29" y="96"/>
                      <a:pt x="29" y="96"/>
                    </a:cubicBezTo>
                    <a:cubicBezTo>
                      <a:pt x="29" y="96"/>
                      <a:pt x="29" y="96"/>
                      <a:pt x="29" y="96"/>
                    </a:cubicBezTo>
                    <a:cubicBezTo>
                      <a:pt x="32" y="93"/>
                      <a:pt x="32" y="93"/>
                      <a:pt x="32" y="93"/>
                    </a:cubicBezTo>
                    <a:cubicBezTo>
                      <a:pt x="33" y="92"/>
                      <a:pt x="33" y="91"/>
                      <a:pt x="34" y="91"/>
                    </a:cubicBezTo>
                    <a:cubicBezTo>
                      <a:pt x="36" y="88"/>
                      <a:pt x="39" y="85"/>
                      <a:pt x="43" y="83"/>
                    </a:cubicBezTo>
                    <a:cubicBezTo>
                      <a:pt x="44" y="83"/>
                      <a:pt x="45" y="83"/>
                      <a:pt x="47" y="83"/>
                    </a:cubicBezTo>
                    <a:cubicBezTo>
                      <a:pt x="48" y="82"/>
                      <a:pt x="48" y="82"/>
                      <a:pt x="48" y="82"/>
                    </a:cubicBezTo>
                    <a:cubicBezTo>
                      <a:pt x="49" y="82"/>
                      <a:pt x="49" y="82"/>
                      <a:pt x="49" y="82"/>
                    </a:cubicBezTo>
                    <a:cubicBezTo>
                      <a:pt x="51" y="82"/>
                      <a:pt x="52" y="82"/>
                      <a:pt x="53" y="82"/>
                    </a:cubicBezTo>
                    <a:cubicBezTo>
                      <a:pt x="53" y="82"/>
                      <a:pt x="53" y="82"/>
                      <a:pt x="53" y="82"/>
                    </a:cubicBezTo>
                    <a:cubicBezTo>
                      <a:pt x="55" y="81"/>
                      <a:pt x="57" y="81"/>
                      <a:pt x="58" y="81"/>
                    </a:cubicBezTo>
                    <a:cubicBezTo>
                      <a:pt x="58" y="80"/>
                      <a:pt x="58" y="80"/>
                      <a:pt x="59" y="79"/>
                    </a:cubicBezTo>
                    <a:cubicBezTo>
                      <a:pt x="59" y="79"/>
                      <a:pt x="59" y="79"/>
                      <a:pt x="59" y="79"/>
                    </a:cubicBezTo>
                    <a:cubicBezTo>
                      <a:pt x="65" y="74"/>
                      <a:pt x="67" y="71"/>
                      <a:pt x="68" y="70"/>
                    </a:cubicBezTo>
                    <a:cubicBezTo>
                      <a:pt x="68" y="70"/>
                      <a:pt x="67" y="69"/>
                      <a:pt x="67" y="69"/>
                    </a:cubicBezTo>
                    <a:cubicBezTo>
                      <a:pt x="67" y="69"/>
                      <a:pt x="66" y="68"/>
                      <a:pt x="66" y="68"/>
                    </a:cubicBezTo>
                    <a:cubicBezTo>
                      <a:pt x="65" y="67"/>
                      <a:pt x="65" y="67"/>
                      <a:pt x="65" y="67"/>
                    </a:cubicBezTo>
                    <a:cubicBezTo>
                      <a:pt x="64" y="67"/>
                      <a:pt x="64" y="66"/>
                      <a:pt x="64" y="66"/>
                    </a:cubicBezTo>
                    <a:cubicBezTo>
                      <a:pt x="57" y="59"/>
                      <a:pt x="52" y="52"/>
                      <a:pt x="46" y="46"/>
                    </a:cubicBezTo>
                    <a:cubicBezTo>
                      <a:pt x="42" y="43"/>
                      <a:pt x="42" y="43"/>
                      <a:pt x="42" y="43"/>
                    </a:cubicBezTo>
                    <a:cubicBezTo>
                      <a:pt x="47" y="41"/>
                      <a:pt x="47" y="41"/>
                      <a:pt x="47" y="41"/>
                    </a:cubicBezTo>
                    <a:cubicBezTo>
                      <a:pt x="49" y="41"/>
                      <a:pt x="52" y="40"/>
                      <a:pt x="54" y="39"/>
                    </a:cubicBezTo>
                    <a:cubicBezTo>
                      <a:pt x="54" y="39"/>
                      <a:pt x="54" y="39"/>
                      <a:pt x="54" y="39"/>
                    </a:cubicBezTo>
                    <a:cubicBezTo>
                      <a:pt x="62" y="37"/>
                      <a:pt x="70" y="35"/>
                      <a:pt x="78" y="32"/>
                    </a:cubicBezTo>
                    <a:cubicBezTo>
                      <a:pt x="79" y="32"/>
                      <a:pt x="81" y="31"/>
                      <a:pt x="83" y="31"/>
                    </a:cubicBezTo>
                    <a:cubicBezTo>
                      <a:pt x="84" y="30"/>
                      <a:pt x="84" y="30"/>
                      <a:pt x="84" y="30"/>
                    </a:cubicBezTo>
                    <a:cubicBezTo>
                      <a:pt x="85" y="30"/>
                      <a:pt x="86" y="29"/>
                      <a:pt x="88" y="29"/>
                    </a:cubicBezTo>
                    <a:cubicBezTo>
                      <a:pt x="86" y="29"/>
                      <a:pt x="86" y="29"/>
                      <a:pt x="86" y="29"/>
                    </a:cubicBezTo>
                    <a:cubicBezTo>
                      <a:pt x="96" y="26"/>
                      <a:pt x="96" y="26"/>
                      <a:pt x="96" y="26"/>
                    </a:cubicBezTo>
                    <a:cubicBezTo>
                      <a:pt x="95" y="25"/>
                      <a:pt x="95" y="25"/>
                      <a:pt x="94" y="25"/>
                    </a:cubicBezTo>
                    <a:cubicBezTo>
                      <a:pt x="94" y="24"/>
                      <a:pt x="94" y="24"/>
                      <a:pt x="94" y="24"/>
                    </a:cubicBezTo>
                    <a:cubicBezTo>
                      <a:pt x="93" y="24"/>
                      <a:pt x="93" y="24"/>
                      <a:pt x="93" y="24"/>
                    </a:cubicBezTo>
                    <a:cubicBezTo>
                      <a:pt x="88" y="0"/>
                      <a:pt x="88" y="0"/>
                      <a:pt x="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171"/>
              <p:cNvSpPr/>
              <p:nvPr/>
            </p:nvSpPr>
            <p:spPr bwMode="auto">
              <a:xfrm>
                <a:off x="5826" y="580"/>
                <a:ext cx="536" cy="504"/>
              </a:xfrm>
              <a:custGeom>
                <a:gdLst>
                  <a:gd name="T0" fmla="*/ 84 w 227"/>
                  <a:gd name="T1" fmla="*/ 7 h 213"/>
                  <a:gd name="T2" fmla="*/ 71 w 227"/>
                  <a:gd name="T3" fmla="*/ 19 h 213"/>
                  <a:gd name="T4" fmla="*/ 63 w 227"/>
                  <a:gd name="T5" fmla="*/ 22 h 213"/>
                  <a:gd name="T6" fmla="*/ 59 w 227"/>
                  <a:gd name="T7" fmla="*/ 39 h 213"/>
                  <a:gd name="T8" fmla="*/ 58 w 227"/>
                  <a:gd name="T9" fmla="*/ 52 h 213"/>
                  <a:gd name="T10" fmla="*/ 57 w 227"/>
                  <a:gd name="T11" fmla="*/ 64 h 213"/>
                  <a:gd name="T12" fmla="*/ 44 w 227"/>
                  <a:gd name="T13" fmla="*/ 82 h 213"/>
                  <a:gd name="T14" fmla="*/ 34 w 227"/>
                  <a:gd name="T15" fmla="*/ 87 h 213"/>
                  <a:gd name="T16" fmla="*/ 0 w 227"/>
                  <a:gd name="T17" fmla="*/ 106 h 213"/>
                  <a:gd name="T18" fmla="*/ 10 w 227"/>
                  <a:gd name="T19" fmla="*/ 131 h 213"/>
                  <a:gd name="T20" fmla="*/ 35 w 227"/>
                  <a:gd name="T21" fmla="*/ 139 h 213"/>
                  <a:gd name="T22" fmla="*/ 70 w 227"/>
                  <a:gd name="T23" fmla="*/ 158 h 213"/>
                  <a:gd name="T24" fmla="*/ 109 w 227"/>
                  <a:gd name="T25" fmla="*/ 187 h 213"/>
                  <a:gd name="T26" fmla="*/ 140 w 227"/>
                  <a:gd name="T27" fmla="*/ 210 h 213"/>
                  <a:gd name="T28" fmla="*/ 174 w 227"/>
                  <a:gd name="T29" fmla="*/ 213 h 213"/>
                  <a:gd name="T30" fmla="*/ 178 w 227"/>
                  <a:gd name="T31" fmla="*/ 212 h 213"/>
                  <a:gd name="T32" fmla="*/ 187 w 227"/>
                  <a:gd name="T33" fmla="*/ 197 h 213"/>
                  <a:gd name="T34" fmla="*/ 209 w 227"/>
                  <a:gd name="T35" fmla="*/ 188 h 213"/>
                  <a:gd name="T36" fmla="*/ 221 w 227"/>
                  <a:gd name="T37" fmla="*/ 191 h 213"/>
                  <a:gd name="T38" fmla="*/ 221 w 227"/>
                  <a:gd name="T39" fmla="*/ 192 h 213"/>
                  <a:gd name="T40" fmla="*/ 227 w 227"/>
                  <a:gd name="T41" fmla="*/ 195 h 213"/>
                  <a:gd name="T42" fmla="*/ 217 w 227"/>
                  <a:gd name="T43" fmla="*/ 185 h 213"/>
                  <a:gd name="T44" fmla="*/ 212 w 227"/>
                  <a:gd name="T45" fmla="*/ 175 h 213"/>
                  <a:gd name="T46" fmla="*/ 209 w 227"/>
                  <a:gd name="T47" fmla="*/ 169 h 213"/>
                  <a:gd name="T48" fmla="*/ 204 w 227"/>
                  <a:gd name="T49" fmla="*/ 166 h 213"/>
                  <a:gd name="T50" fmla="*/ 206 w 227"/>
                  <a:gd name="T51" fmla="*/ 150 h 213"/>
                  <a:gd name="T52" fmla="*/ 207 w 227"/>
                  <a:gd name="T53" fmla="*/ 147 h 213"/>
                  <a:gd name="T54" fmla="*/ 202 w 227"/>
                  <a:gd name="T55" fmla="*/ 138 h 213"/>
                  <a:gd name="T56" fmla="*/ 198 w 227"/>
                  <a:gd name="T57" fmla="*/ 131 h 213"/>
                  <a:gd name="T58" fmla="*/ 194 w 227"/>
                  <a:gd name="T59" fmla="*/ 130 h 213"/>
                  <a:gd name="T60" fmla="*/ 175 w 227"/>
                  <a:gd name="T61" fmla="*/ 119 h 213"/>
                  <a:gd name="T62" fmla="*/ 167 w 227"/>
                  <a:gd name="T63" fmla="*/ 116 h 213"/>
                  <a:gd name="T64" fmla="*/ 163 w 227"/>
                  <a:gd name="T65" fmla="*/ 105 h 213"/>
                  <a:gd name="T66" fmla="*/ 162 w 227"/>
                  <a:gd name="T67" fmla="*/ 101 h 213"/>
                  <a:gd name="T68" fmla="*/ 152 w 227"/>
                  <a:gd name="T69" fmla="*/ 93 h 213"/>
                  <a:gd name="T70" fmla="*/ 153 w 227"/>
                  <a:gd name="T71" fmla="*/ 81 h 213"/>
                  <a:gd name="T72" fmla="*/ 153 w 227"/>
                  <a:gd name="T73" fmla="*/ 78 h 213"/>
                  <a:gd name="T74" fmla="*/ 158 w 227"/>
                  <a:gd name="T75" fmla="*/ 69 h 213"/>
                  <a:gd name="T76" fmla="*/ 167 w 227"/>
                  <a:gd name="T77" fmla="*/ 56 h 213"/>
                  <a:gd name="T78" fmla="*/ 166 w 227"/>
                  <a:gd name="T79" fmla="*/ 53 h 213"/>
                  <a:gd name="T80" fmla="*/ 164 w 227"/>
                  <a:gd name="T81" fmla="*/ 46 h 213"/>
                  <a:gd name="T82" fmla="*/ 163 w 227"/>
                  <a:gd name="T83" fmla="*/ 42 h 213"/>
                  <a:gd name="T84" fmla="*/ 155 w 227"/>
                  <a:gd name="T85" fmla="*/ 37 h 213"/>
                  <a:gd name="T86" fmla="*/ 152 w 227"/>
                  <a:gd name="T87" fmla="*/ 37 h 213"/>
                  <a:gd name="T88" fmla="*/ 147 w 227"/>
                  <a:gd name="T89" fmla="*/ 26 h 213"/>
                  <a:gd name="T90" fmla="*/ 142 w 227"/>
                  <a:gd name="T91" fmla="*/ 22 h 213"/>
                  <a:gd name="T92" fmla="*/ 141 w 227"/>
                  <a:gd name="T93" fmla="*/ 16 h 213"/>
                  <a:gd name="T94" fmla="*/ 138 w 227"/>
                  <a:gd name="T95" fmla="*/ 9 h 213"/>
                  <a:gd name="T96" fmla="*/ 133 w 227"/>
                  <a:gd name="T97" fmla="*/ 8 h 213"/>
                  <a:gd name="T98" fmla="*/ 127 w 227"/>
                  <a:gd name="T99" fmla="*/ 10 h 213"/>
                  <a:gd name="T100" fmla="*/ 123 w 227"/>
                  <a:gd name="T101" fmla="*/ 4 h 213"/>
                  <a:gd name="T102" fmla="*/ 115 w 227"/>
                  <a:gd name="T103" fmla="*/ 3 h 213"/>
                  <a:gd name="T104" fmla="*/ 98 w 227"/>
                  <a:gd name="T105" fmla="*/ 0 h 2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6" h="213">
                    <a:moveTo>
                      <a:pt x="96" y="0"/>
                    </a:moveTo>
                    <a:cubicBezTo>
                      <a:pt x="92" y="0"/>
                      <a:pt x="90" y="1"/>
                      <a:pt x="86" y="4"/>
                    </a:cubicBezTo>
                    <a:cubicBezTo>
                      <a:pt x="84" y="6"/>
                      <a:pt x="84" y="6"/>
                      <a:pt x="84" y="6"/>
                    </a:cubicBezTo>
                    <a:cubicBezTo>
                      <a:pt x="84" y="7"/>
                      <a:pt x="84" y="7"/>
                      <a:pt x="84" y="7"/>
                    </a:cubicBezTo>
                    <a:cubicBezTo>
                      <a:pt x="84" y="7"/>
                      <a:pt x="83" y="8"/>
                      <a:pt x="83" y="8"/>
                    </a:cubicBezTo>
                    <a:cubicBezTo>
                      <a:pt x="82" y="9"/>
                      <a:pt x="82" y="9"/>
                      <a:pt x="82" y="9"/>
                    </a:cubicBezTo>
                    <a:cubicBezTo>
                      <a:pt x="80" y="11"/>
                      <a:pt x="80" y="11"/>
                      <a:pt x="80" y="11"/>
                    </a:cubicBezTo>
                    <a:cubicBezTo>
                      <a:pt x="77" y="14"/>
                      <a:pt x="74" y="16"/>
                      <a:pt x="71" y="19"/>
                    </a:cubicBezTo>
                    <a:cubicBezTo>
                      <a:pt x="70" y="20"/>
                      <a:pt x="69" y="21"/>
                      <a:pt x="68" y="21"/>
                    </a:cubicBezTo>
                    <a:cubicBezTo>
                      <a:pt x="69" y="27"/>
                      <a:pt x="69" y="27"/>
                      <a:pt x="69" y="27"/>
                    </a:cubicBezTo>
                    <a:cubicBezTo>
                      <a:pt x="66" y="22"/>
                      <a:pt x="66" y="22"/>
                      <a:pt x="66" y="22"/>
                    </a:cubicBezTo>
                    <a:cubicBezTo>
                      <a:pt x="63" y="22"/>
                      <a:pt x="63" y="22"/>
                      <a:pt x="63" y="22"/>
                    </a:cubicBezTo>
                    <a:cubicBezTo>
                      <a:pt x="62" y="22"/>
                      <a:pt x="62" y="23"/>
                      <a:pt x="62" y="23"/>
                    </a:cubicBezTo>
                    <a:cubicBezTo>
                      <a:pt x="61" y="23"/>
                      <a:pt x="60" y="23"/>
                      <a:pt x="60" y="23"/>
                    </a:cubicBezTo>
                    <a:cubicBezTo>
                      <a:pt x="60" y="24"/>
                      <a:pt x="60" y="24"/>
                      <a:pt x="60" y="25"/>
                    </a:cubicBezTo>
                    <a:cubicBezTo>
                      <a:pt x="58" y="29"/>
                      <a:pt x="58" y="34"/>
                      <a:pt x="59" y="39"/>
                    </a:cubicBezTo>
                    <a:cubicBezTo>
                      <a:pt x="59" y="39"/>
                      <a:pt x="59" y="39"/>
                      <a:pt x="59" y="39"/>
                    </a:cubicBezTo>
                    <a:cubicBezTo>
                      <a:pt x="59" y="42"/>
                      <a:pt x="60" y="44"/>
                      <a:pt x="59" y="47"/>
                    </a:cubicBezTo>
                    <a:cubicBezTo>
                      <a:pt x="59" y="49"/>
                      <a:pt x="59" y="50"/>
                      <a:pt x="58" y="52"/>
                    </a:cubicBezTo>
                    <a:cubicBezTo>
                      <a:pt x="58" y="52"/>
                      <a:pt x="58" y="52"/>
                      <a:pt x="58" y="52"/>
                    </a:cubicBezTo>
                    <a:cubicBezTo>
                      <a:pt x="57" y="54"/>
                      <a:pt x="57" y="57"/>
                      <a:pt x="57" y="59"/>
                    </a:cubicBezTo>
                    <a:cubicBezTo>
                      <a:pt x="57" y="60"/>
                      <a:pt x="57" y="61"/>
                      <a:pt x="57" y="63"/>
                    </a:cubicBezTo>
                    <a:cubicBezTo>
                      <a:pt x="57" y="63"/>
                      <a:pt x="57" y="63"/>
                      <a:pt x="57" y="63"/>
                    </a:cubicBezTo>
                    <a:cubicBezTo>
                      <a:pt x="57" y="64"/>
                      <a:pt x="57" y="64"/>
                      <a:pt x="57" y="64"/>
                    </a:cubicBezTo>
                    <a:cubicBezTo>
                      <a:pt x="57" y="66"/>
                      <a:pt x="57" y="68"/>
                      <a:pt x="56" y="69"/>
                    </a:cubicBezTo>
                    <a:cubicBezTo>
                      <a:pt x="55" y="72"/>
                      <a:pt x="53" y="76"/>
                      <a:pt x="52" y="78"/>
                    </a:cubicBezTo>
                    <a:cubicBezTo>
                      <a:pt x="50" y="79"/>
                      <a:pt x="48" y="80"/>
                      <a:pt x="46" y="81"/>
                    </a:cubicBezTo>
                    <a:cubicBezTo>
                      <a:pt x="45" y="81"/>
                      <a:pt x="44" y="81"/>
                      <a:pt x="44" y="82"/>
                    </a:cubicBezTo>
                    <a:cubicBezTo>
                      <a:pt x="42" y="82"/>
                      <a:pt x="41" y="83"/>
                      <a:pt x="39" y="83"/>
                    </a:cubicBezTo>
                    <a:cubicBezTo>
                      <a:pt x="35" y="86"/>
                      <a:pt x="35" y="86"/>
                      <a:pt x="35" y="86"/>
                    </a:cubicBezTo>
                    <a:cubicBezTo>
                      <a:pt x="37" y="89"/>
                      <a:pt x="37" y="89"/>
                      <a:pt x="37" y="89"/>
                    </a:cubicBezTo>
                    <a:cubicBezTo>
                      <a:pt x="34" y="87"/>
                      <a:pt x="34" y="87"/>
                      <a:pt x="34" y="87"/>
                    </a:cubicBezTo>
                    <a:cubicBezTo>
                      <a:pt x="29" y="89"/>
                      <a:pt x="29" y="89"/>
                      <a:pt x="29" y="89"/>
                    </a:cubicBezTo>
                    <a:cubicBezTo>
                      <a:pt x="26" y="91"/>
                      <a:pt x="22" y="93"/>
                      <a:pt x="19" y="95"/>
                    </a:cubicBezTo>
                    <a:cubicBezTo>
                      <a:pt x="14" y="98"/>
                      <a:pt x="9" y="101"/>
                      <a:pt x="4" y="104"/>
                    </a:cubicBezTo>
                    <a:cubicBezTo>
                      <a:pt x="0" y="106"/>
                      <a:pt x="0" y="106"/>
                      <a:pt x="0" y="106"/>
                    </a:cubicBezTo>
                    <a:cubicBezTo>
                      <a:pt x="1" y="106"/>
                      <a:pt x="1" y="106"/>
                      <a:pt x="1" y="106"/>
                    </a:cubicBezTo>
                    <a:cubicBezTo>
                      <a:pt x="6" y="130"/>
                      <a:pt x="6" y="130"/>
                      <a:pt x="6" y="130"/>
                    </a:cubicBezTo>
                    <a:cubicBezTo>
                      <a:pt x="7" y="130"/>
                      <a:pt x="8" y="130"/>
                      <a:pt x="9" y="131"/>
                    </a:cubicBezTo>
                    <a:cubicBezTo>
                      <a:pt x="9" y="131"/>
                      <a:pt x="10" y="131"/>
                      <a:pt x="10" y="131"/>
                    </a:cubicBezTo>
                    <a:cubicBezTo>
                      <a:pt x="11" y="132"/>
                      <a:pt x="11" y="132"/>
                      <a:pt x="11" y="132"/>
                    </a:cubicBezTo>
                    <a:cubicBezTo>
                      <a:pt x="13" y="134"/>
                      <a:pt x="13" y="134"/>
                      <a:pt x="13" y="134"/>
                    </a:cubicBezTo>
                    <a:cubicBezTo>
                      <a:pt x="12" y="135"/>
                      <a:pt x="12" y="135"/>
                      <a:pt x="12" y="135"/>
                    </a:cubicBezTo>
                    <a:cubicBezTo>
                      <a:pt x="35" y="139"/>
                      <a:pt x="35" y="139"/>
                      <a:pt x="35" y="139"/>
                    </a:cubicBezTo>
                    <a:cubicBezTo>
                      <a:pt x="38" y="139"/>
                      <a:pt x="41" y="141"/>
                      <a:pt x="43" y="143"/>
                    </a:cubicBezTo>
                    <a:cubicBezTo>
                      <a:pt x="43" y="143"/>
                      <a:pt x="44" y="144"/>
                      <a:pt x="44" y="144"/>
                    </a:cubicBezTo>
                    <a:cubicBezTo>
                      <a:pt x="51" y="148"/>
                      <a:pt x="57" y="152"/>
                      <a:pt x="64" y="155"/>
                    </a:cubicBezTo>
                    <a:cubicBezTo>
                      <a:pt x="66" y="156"/>
                      <a:pt x="68" y="157"/>
                      <a:pt x="70" y="158"/>
                    </a:cubicBezTo>
                    <a:cubicBezTo>
                      <a:pt x="76" y="162"/>
                      <a:pt x="76" y="162"/>
                      <a:pt x="76" y="162"/>
                    </a:cubicBezTo>
                    <a:cubicBezTo>
                      <a:pt x="82" y="165"/>
                      <a:pt x="87" y="170"/>
                      <a:pt x="92" y="174"/>
                    </a:cubicBezTo>
                    <a:cubicBezTo>
                      <a:pt x="96" y="177"/>
                      <a:pt x="99" y="180"/>
                      <a:pt x="102" y="182"/>
                    </a:cubicBezTo>
                    <a:cubicBezTo>
                      <a:pt x="104" y="184"/>
                      <a:pt x="106" y="186"/>
                      <a:pt x="109" y="187"/>
                    </a:cubicBezTo>
                    <a:cubicBezTo>
                      <a:pt x="119" y="195"/>
                      <a:pt x="119" y="195"/>
                      <a:pt x="119" y="195"/>
                    </a:cubicBezTo>
                    <a:cubicBezTo>
                      <a:pt x="121" y="197"/>
                      <a:pt x="124" y="199"/>
                      <a:pt x="126" y="201"/>
                    </a:cubicBezTo>
                    <a:cubicBezTo>
                      <a:pt x="130" y="204"/>
                      <a:pt x="134" y="207"/>
                      <a:pt x="137" y="209"/>
                    </a:cubicBezTo>
                    <a:cubicBezTo>
                      <a:pt x="138" y="210"/>
                      <a:pt x="139" y="210"/>
                      <a:pt x="140" y="210"/>
                    </a:cubicBezTo>
                    <a:cubicBezTo>
                      <a:pt x="141" y="210"/>
                      <a:pt x="141" y="210"/>
                      <a:pt x="141" y="210"/>
                    </a:cubicBezTo>
                    <a:cubicBezTo>
                      <a:pt x="173" y="213"/>
                      <a:pt x="173" y="213"/>
                      <a:pt x="173" y="213"/>
                    </a:cubicBezTo>
                    <a:cubicBezTo>
                      <a:pt x="174" y="213"/>
                      <a:pt x="174" y="213"/>
                      <a:pt x="174" y="213"/>
                    </a:cubicBezTo>
                    <a:cubicBezTo>
                      <a:pt x="174" y="213"/>
                      <a:pt x="174" y="213"/>
                      <a:pt x="174" y="213"/>
                    </a:cubicBezTo>
                    <a:cubicBezTo>
                      <a:pt x="175" y="213"/>
                      <a:pt x="176" y="213"/>
                      <a:pt x="176" y="213"/>
                    </a:cubicBezTo>
                    <a:cubicBezTo>
                      <a:pt x="176" y="213"/>
                      <a:pt x="176" y="213"/>
                      <a:pt x="176" y="213"/>
                    </a:cubicBezTo>
                    <a:cubicBezTo>
                      <a:pt x="176" y="213"/>
                      <a:pt x="176" y="213"/>
                      <a:pt x="176" y="213"/>
                    </a:cubicBezTo>
                    <a:cubicBezTo>
                      <a:pt x="177" y="213"/>
                      <a:pt x="177" y="213"/>
                      <a:pt x="178" y="212"/>
                    </a:cubicBezTo>
                    <a:cubicBezTo>
                      <a:pt x="178" y="212"/>
                      <a:pt x="178" y="212"/>
                      <a:pt x="178" y="212"/>
                    </a:cubicBezTo>
                    <a:cubicBezTo>
                      <a:pt x="181" y="208"/>
                      <a:pt x="183" y="204"/>
                      <a:pt x="185" y="200"/>
                    </a:cubicBezTo>
                    <a:cubicBezTo>
                      <a:pt x="186" y="200"/>
                      <a:pt x="186" y="199"/>
                      <a:pt x="187" y="198"/>
                    </a:cubicBezTo>
                    <a:cubicBezTo>
                      <a:pt x="187" y="197"/>
                      <a:pt x="187" y="197"/>
                      <a:pt x="187" y="197"/>
                    </a:cubicBezTo>
                    <a:cubicBezTo>
                      <a:pt x="189" y="194"/>
                      <a:pt x="191" y="191"/>
                      <a:pt x="193" y="189"/>
                    </a:cubicBezTo>
                    <a:cubicBezTo>
                      <a:pt x="195" y="188"/>
                      <a:pt x="197" y="187"/>
                      <a:pt x="199" y="186"/>
                    </a:cubicBezTo>
                    <a:cubicBezTo>
                      <a:pt x="200" y="186"/>
                      <a:pt x="201" y="186"/>
                      <a:pt x="202" y="186"/>
                    </a:cubicBezTo>
                    <a:cubicBezTo>
                      <a:pt x="204" y="186"/>
                      <a:pt x="207" y="187"/>
                      <a:pt x="209" y="188"/>
                    </a:cubicBezTo>
                    <a:cubicBezTo>
                      <a:pt x="209" y="185"/>
                      <a:pt x="209" y="185"/>
                      <a:pt x="209" y="185"/>
                    </a:cubicBezTo>
                    <a:cubicBezTo>
                      <a:pt x="214" y="188"/>
                      <a:pt x="214" y="188"/>
                      <a:pt x="214" y="188"/>
                    </a:cubicBezTo>
                    <a:cubicBezTo>
                      <a:pt x="216" y="189"/>
                      <a:pt x="219" y="191"/>
                      <a:pt x="220" y="191"/>
                    </a:cubicBezTo>
                    <a:cubicBezTo>
                      <a:pt x="221" y="191"/>
                      <a:pt x="221" y="191"/>
                      <a:pt x="221" y="191"/>
                    </a:cubicBezTo>
                    <a:cubicBezTo>
                      <a:pt x="221" y="191"/>
                      <a:pt x="221" y="191"/>
                      <a:pt x="221" y="191"/>
                    </a:cubicBezTo>
                    <a:cubicBezTo>
                      <a:pt x="221" y="192"/>
                      <a:pt x="221" y="192"/>
                      <a:pt x="221" y="192"/>
                    </a:cubicBezTo>
                    <a:cubicBezTo>
                      <a:pt x="221" y="192"/>
                      <a:pt x="221" y="192"/>
                      <a:pt x="221" y="192"/>
                    </a:cubicBezTo>
                    <a:cubicBezTo>
                      <a:pt x="221" y="192"/>
                      <a:pt x="221" y="192"/>
                      <a:pt x="221" y="192"/>
                    </a:cubicBezTo>
                    <a:cubicBezTo>
                      <a:pt x="223" y="195"/>
                      <a:pt x="223" y="195"/>
                      <a:pt x="223" y="195"/>
                    </a:cubicBezTo>
                    <a:cubicBezTo>
                      <a:pt x="224" y="195"/>
                      <a:pt x="225" y="195"/>
                      <a:pt x="226" y="195"/>
                    </a:cubicBezTo>
                    <a:cubicBezTo>
                      <a:pt x="227" y="195"/>
                      <a:pt x="227" y="195"/>
                      <a:pt x="227" y="195"/>
                    </a:cubicBezTo>
                    <a:cubicBezTo>
                      <a:pt x="227" y="195"/>
                      <a:pt x="227" y="195"/>
                      <a:pt x="227" y="195"/>
                    </a:cubicBezTo>
                    <a:cubicBezTo>
                      <a:pt x="224" y="193"/>
                      <a:pt x="222" y="191"/>
                      <a:pt x="221" y="189"/>
                    </a:cubicBezTo>
                    <a:cubicBezTo>
                      <a:pt x="220" y="189"/>
                      <a:pt x="220" y="189"/>
                      <a:pt x="220" y="189"/>
                    </a:cubicBezTo>
                    <a:cubicBezTo>
                      <a:pt x="220" y="188"/>
                      <a:pt x="220" y="188"/>
                      <a:pt x="220" y="188"/>
                    </a:cubicBezTo>
                    <a:cubicBezTo>
                      <a:pt x="219" y="187"/>
                      <a:pt x="218" y="186"/>
                      <a:pt x="217" y="185"/>
                    </a:cubicBezTo>
                    <a:cubicBezTo>
                      <a:pt x="216" y="184"/>
                      <a:pt x="216" y="183"/>
                      <a:pt x="215" y="183"/>
                    </a:cubicBezTo>
                    <a:cubicBezTo>
                      <a:pt x="213" y="182"/>
                      <a:pt x="212" y="181"/>
                      <a:pt x="212" y="179"/>
                    </a:cubicBezTo>
                    <a:cubicBezTo>
                      <a:pt x="212" y="178"/>
                      <a:pt x="212" y="178"/>
                      <a:pt x="212" y="178"/>
                    </a:cubicBezTo>
                    <a:cubicBezTo>
                      <a:pt x="212" y="177"/>
                      <a:pt x="212" y="176"/>
                      <a:pt x="212" y="175"/>
                    </a:cubicBezTo>
                    <a:cubicBezTo>
                      <a:pt x="212" y="174"/>
                      <a:pt x="212" y="174"/>
                      <a:pt x="212" y="174"/>
                    </a:cubicBezTo>
                    <a:cubicBezTo>
                      <a:pt x="212" y="173"/>
                      <a:pt x="212" y="171"/>
                      <a:pt x="212" y="169"/>
                    </a:cubicBezTo>
                    <a:cubicBezTo>
                      <a:pt x="212" y="169"/>
                      <a:pt x="212" y="169"/>
                      <a:pt x="212" y="169"/>
                    </a:cubicBezTo>
                    <a:cubicBezTo>
                      <a:pt x="211" y="169"/>
                      <a:pt x="210" y="169"/>
                      <a:pt x="209" y="169"/>
                    </a:cubicBezTo>
                    <a:cubicBezTo>
                      <a:pt x="208" y="169"/>
                      <a:pt x="208" y="169"/>
                      <a:pt x="208" y="169"/>
                    </a:cubicBezTo>
                    <a:cubicBezTo>
                      <a:pt x="207" y="169"/>
                      <a:pt x="207" y="169"/>
                      <a:pt x="206" y="169"/>
                    </a:cubicBezTo>
                    <a:cubicBezTo>
                      <a:pt x="203" y="169"/>
                      <a:pt x="203" y="169"/>
                      <a:pt x="203" y="169"/>
                    </a:cubicBezTo>
                    <a:cubicBezTo>
                      <a:pt x="204" y="166"/>
                      <a:pt x="204" y="166"/>
                      <a:pt x="204" y="166"/>
                    </a:cubicBezTo>
                    <a:cubicBezTo>
                      <a:pt x="204" y="164"/>
                      <a:pt x="204" y="161"/>
                      <a:pt x="204" y="158"/>
                    </a:cubicBezTo>
                    <a:cubicBezTo>
                      <a:pt x="204" y="157"/>
                      <a:pt x="204" y="155"/>
                      <a:pt x="204" y="154"/>
                    </a:cubicBezTo>
                    <a:cubicBezTo>
                      <a:pt x="204" y="153"/>
                      <a:pt x="204" y="153"/>
                      <a:pt x="205" y="152"/>
                    </a:cubicBezTo>
                    <a:cubicBezTo>
                      <a:pt x="206" y="150"/>
                      <a:pt x="206" y="150"/>
                      <a:pt x="206" y="150"/>
                    </a:cubicBezTo>
                    <a:cubicBezTo>
                      <a:pt x="206" y="149"/>
                      <a:pt x="206" y="149"/>
                      <a:pt x="207" y="148"/>
                    </a:cubicBezTo>
                    <a:cubicBezTo>
                      <a:pt x="201" y="146"/>
                      <a:pt x="201" y="146"/>
                      <a:pt x="201" y="146"/>
                    </a:cubicBezTo>
                    <a:cubicBezTo>
                      <a:pt x="207" y="147"/>
                      <a:pt x="207" y="147"/>
                      <a:pt x="207" y="147"/>
                    </a:cubicBezTo>
                    <a:cubicBezTo>
                      <a:pt x="207" y="147"/>
                      <a:pt x="207" y="147"/>
                      <a:pt x="207" y="147"/>
                    </a:cubicBezTo>
                    <a:cubicBezTo>
                      <a:pt x="207" y="146"/>
                      <a:pt x="207" y="146"/>
                      <a:pt x="207" y="146"/>
                    </a:cubicBezTo>
                    <a:cubicBezTo>
                      <a:pt x="207" y="146"/>
                      <a:pt x="207" y="146"/>
                      <a:pt x="207" y="146"/>
                    </a:cubicBezTo>
                    <a:cubicBezTo>
                      <a:pt x="207" y="146"/>
                      <a:pt x="207" y="145"/>
                      <a:pt x="205" y="142"/>
                    </a:cubicBezTo>
                    <a:cubicBezTo>
                      <a:pt x="204" y="140"/>
                      <a:pt x="203" y="139"/>
                      <a:pt x="202" y="138"/>
                    </a:cubicBezTo>
                    <a:cubicBezTo>
                      <a:pt x="202" y="138"/>
                      <a:pt x="202" y="138"/>
                      <a:pt x="202" y="138"/>
                    </a:cubicBezTo>
                    <a:cubicBezTo>
                      <a:pt x="196" y="141"/>
                      <a:pt x="196" y="141"/>
                      <a:pt x="196" y="141"/>
                    </a:cubicBezTo>
                    <a:cubicBezTo>
                      <a:pt x="201" y="136"/>
                      <a:pt x="201" y="136"/>
                      <a:pt x="201" y="136"/>
                    </a:cubicBezTo>
                    <a:cubicBezTo>
                      <a:pt x="200" y="134"/>
                      <a:pt x="199" y="132"/>
                      <a:pt x="198" y="131"/>
                    </a:cubicBezTo>
                    <a:cubicBezTo>
                      <a:pt x="197" y="130"/>
                      <a:pt x="196" y="130"/>
                      <a:pt x="196" y="130"/>
                    </a:cubicBezTo>
                    <a:cubicBezTo>
                      <a:pt x="196" y="130"/>
                      <a:pt x="196" y="130"/>
                      <a:pt x="196" y="130"/>
                    </a:cubicBezTo>
                    <a:cubicBezTo>
                      <a:pt x="196" y="130"/>
                      <a:pt x="195" y="130"/>
                      <a:pt x="195" y="130"/>
                    </a:cubicBezTo>
                    <a:cubicBezTo>
                      <a:pt x="195" y="130"/>
                      <a:pt x="194" y="130"/>
                      <a:pt x="194" y="130"/>
                    </a:cubicBezTo>
                    <a:cubicBezTo>
                      <a:pt x="193" y="130"/>
                      <a:pt x="192" y="130"/>
                      <a:pt x="191" y="130"/>
                    </a:cubicBezTo>
                    <a:cubicBezTo>
                      <a:pt x="191" y="130"/>
                      <a:pt x="190" y="129"/>
                      <a:pt x="190" y="129"/>
                    </a:cubicBezTo>
                    <a:cubicBezTo>
                      <a:pt x="179" y="121"/>
                      <a:pt x="179" y="121"/>
                      <a:pt x="179" y="121"/>
                    </a:cubicBezTo>
                    <a:cubicBezTo>
                      <a:pt x="178" y="120"/>
                      <a:pt x="177" y="119"/>
                      <a:pt x="175" y="119"/>
                    </a:cubicBezTo>
                    <a:cubicBezTo>
                      <a:pt x="174" y="118"/>
                      <a:pt x="173" y="118"/>
                      <a:pt x="173" y="118"/>
                    </a:cubicBezTo>
                    <a:cubicBezTo>
                      <a:pt x="172" y="118"/>
                      <a:pt x="172" y="118"/>
                      <a:pt x="172" y="118"/>
                    </a:cubicBezTo>
                    <a:cubicBezTo>
                      <a:pt x="170" y="118"/>
                      <a:pt x="169" y="117"/>
                      <a:pt x="168" y="117"/>
                    </a:cubicBezTo>
                    <a:cubicBezTo>
                      <a:pt x="167" y="116"/>
                      <a:pt x="167" y="116"/>
                      <a:pt x="167" y="116"/>
                    </a:cubicBezTo>
                    <a:cubicBezTo>
                      <a:pt x="166" y="115"/>
                      <a:pt x="166" y="115"/>
                      <a:pt x="165" y="113"/>
                    </a:cubicBezTo>
                    <a:cubicBezTo>
                      <a:pt x="164" y="112"/>
                      <a:pt x="164" y="110"/>
                      <a:pt x="164" y="108"/>
                    </a:cubicBezTo>
                    <a:cubicBezTo>
                      <a:pt x="164" y="107"/>
                      <a:pt x="164" y="107"/>
                      <a:pt x="164" y="107"/>
                    </a:cubicBezTo>
                    <a:cubicBezTo>
                      <a:pt x="164" y="106"/>
                      <a:pt x="163" y="105"/>
                      <a:pt x="163" y="105"/>
                    </a:cubicBezTo>
                    <a:cubicBezTo>
                      <a:pt x="163" y="105"/>
                      <a:pt x="163" y="104"/>
                      <a:pt x="163" y="103"/>
                    </a:cubicBezTo>
                    <a:cubicBezTo>
                      <a:pt x="163" y="102"/>
                      <a:pt x="163" y="102"/>
                      <a:pt x="163" y="102"/>
                    </a:cubicBezTo>
                    <a:cubicBezTo>
                      <a:pt x="163" y="101"/>
                      <a:pt x="163" y="101"/>
                      <a:pt x="163" y="101"/>
                    </a:cubicBezTo>
                    <a:cubicBezTo>
                      <a:pt x="162" y="101"/>
                      <a:pt x="162" y="101"/>
                      <a:pt x="162" y="101"/>
                    </a:cubicBezTo>
                    <a:cubicBezTo>
                      <a:pt x="162" y="101"/>
                      <a:pt x="162" y="101"/>
                      <a:pt x="162" y="101"/>
                    </a:cubicBezTo>
                    <a:cubicBezTo>
                      <a:pt x="160" y="100"/>
                      <a:pt x="159" y="100"/>
                      <a:pt x="158" y="99"/>
                    </a:cubicBezTo>
                    <a:cubicBezTo>
                      <a:pt x="158" y="99"/>
                      <a:pt x="158" y="99"/>
                      <a:pt x="158" y="99"/>
                    </a:cubicBezTo>
                    <a:cubicBezTo>
                      <a:pt x="152" y="93"/>
                      <a:pt x="152" y="93"/>
                      <a:pt x="152" y="93"/>
                    </a:cubicBezTo>
                    <a:cubicBezTo>
                      <a:pt x="152" y="92"/>
                      <a:pt x="152" y="92"/>
                      <a:pt x="151" y="91"/>
                    </a:cubicBezTo>
                    <a:cubicBezTo>
                      <a:pt x="150" y="90"/>
                      <a:pt x="150" y="89"/>
                      <a:pt x="150" y="87"/>
                    </a:cubicBezTo>
                    <a:cubicBezTo>
                      <a:pt x="150" y="86"/>
                      <a:pt x="150" y="86"/>
                      <a:pt x="150" y="86"/>
                    </a:cubicBezTo>
                    <a:cubicBezTo>
                      <a:pt x="151" y="84"/>
                      <a:pt x="152" y="83"/>
                      <a:pt x="153" y="81"/>
                    </a:cubicBezTo>
                    <a:cubicBezTo>
                      <a:pt x="153" y="80"/>
                      <a:pt x="153" y="80"/>
                      <a:pt x="153" y="80"/>
                    </a:cubicBezTo>
                    <a:cubicBezTo>
                      <a:pt x="153" y="80"/>
                      <a:pt x="153" y="80"/>
                      <a:pt x="153" y="80"/>
                    </a:cubicBezTo>
                    <a:cubicBezTo>
                      <a:pt x="153" y="79"/>
                      <a:pt x="153" y="79"/>
                      <a:pt x="153" y="79"/>
                    </a:cubicBezTo>
                    <a:cubicBezTo>
                      <a:pt x="153" y="78"/>
                      <a:pt x="153" y="78"/>
                      <a:pt x="153" y="78"/>
                    </a:cubicBezTo>
                    <a:cubicBezTo>
                      <a:pt x="152" y="78"/>
                      <a:pt x="152" y="77"/>
                      <a:pt x="151" y="76"/>
                    </a:cubicBezTo>
                    <a:cubicBezTo>
                      <a:pt x="151" y="74"/>
                      <a:pt x="151" y="74"/>
                      <a:pt x="151" y="74"/>
                    </a:cubicBezTo>
                    <a:cubicBezTo>
                      <a:pt x="156" y="68"/>
                      <a:pt x="156" y="68"/>
                      <a:pt x="156" y="68"/>
                    </a:cubicBezTo>
                    <a:cubicBezTo>
                      <a:pt x="158" y="69"/>
                      <a:pt x="158" y="69"/>
                      <a:pt x="158" y="69"/>
                    </a:cubicBezTo>
                    <a:cubicBezTo>
                      <a:pt x="158" y="68"/>
                      <a:pt x="158" y="68"/>
                      <a:pt x="158" y="68"/>
                    </a:cubicBezTo>
                    <a:cubicBezTo>
                      <a:pt x="158" y="64"/>
                      <a:pt x="159" y="62"/>
                      <a:pt x="162" y="58"/>
                    </a:cubicBezTo>
                    <a:cubicBezTo>
                      <a:pt x="162" y="58"/>
                      <a:pt x="162" y="58"/>
                      <a:pt x="162" y="58"/>
                    </a:cubicBezTo>
                    <a:cubicBezTo>
                      <a:pt x="164" y="57"/>
                      <a:pt x="166" y="56"/>
                      <a:pt x="167" y="56"/>
                    </a:cubicBezTo>
                    <a:cubicBezTo>
                      <a:pt x="168" y="56"/>
                      <a:pt x="168" y="56"/>
                      <a:pt x="168" y="56"/>
                    </a:cubicBezTo>
                    <a:cubicBezTo>
                      <a:pt x="168" y="56"/>
                      <a:pt x="168" y="56"/>
                      <a:pt x="168" y="56"/>
                    </a:cubicBezTo>
                    <a:cubicBezTo>
                      <a:pt x="168" y="55"/>
                      <a:pt x="167" y="54"/>
                      <a:pt x="167" y="53"/>
                    </a:cubicBezTo>
                    <a:cubicBezTo>
                      <a:pt x="166" y="53"/>
                      <a:pt x="166" y="53"/>
                      <a:pt x="166" y="53"/>
                    </a:cubicBezTo>
                    <a:cubicBezTo>
                      <a:pt x="166" y="52"/>
                      <a:pt x="165" y="52"/>
                      <a:pt x="165" y="51"/>
                    </a:cubicBezTo>
                    <a:cubicBezTo>
                      <a:pt x="165" y="50"/>
                      <a:pt x="165" y="50"/>
                      <a:pt x="165" y="50"/>
                    </a:cubicBezTo>
                    <a:cubicBezTo>
                      <a:pt x="164" y="49"/>
                      <a:pt x="164" y="48"/>
                      <a:pt x="164" y="47"/>
                    </a:cubicBezTo>
                    <a:cubicBezTo>
                      <a:pt x="164" y="46"/>
                      <a:pt x="164" y="46"/>
                      <a:pt x="164" y="46"/>
                    </a:cubicBezTo>
                    <a:cubicBezTo>
                      <a:pt x="164" y="45"/>
                      <a:pt x="164" y="45"/>
                      <a:pt x="164" y="44"/>
                    </a:cubicBezTo>
                    <a:cubicBezTo>
                      <a:pt x="165" y="43"/>
                      <a:pt x="165" y="43"/>
                      <a:pt x="165" y="43"/>
                    </a:cubicBezTo>
                    <a:cubicBezTo>
                      <a:pt x="165" y="43"/>
                      <a:pt x="165" y="42"/>
                      <a:pt x="165" y="42"/>
                    </a:cubicBezTo>
                    <a:cubicBezTo>
                      <a:pt x="164" y="42"/>
                      <a:pt x="164" y="42"/>
                      <a:pt x="163" y="42"/>
                    </a:cubicBezTo>
                    <a:cubicBezTo>
                      <a:pt x="163" y="42"/>
                      <a:pt x="162" y="42"/>
                      <a:pt x="162" y="42"/>
                    </a:cubicBezTo>
                    <a:cubicBezTo>
                      <a:pt x="161" y="42"/>
                      <a:pt x="159" y="41"/>
                      <a:pt x="158" y="41"/>
                    </a:cubicBezTo>
                    <a:cubicBezTo>
                      <a:pt x="157" y="40"/>
                      <a:pt x="157" y="40"/>
                      <a:pt x="157" y="40"/>
                    </a:cubicBezTo>
                    <a:cubicBezTo>
                      <a:pt x="157" y="39"/>
                      <a:pt x="156" y="38"/>
                      <a:pt x="155" y="37"/>
                    </a:cubicBezTo>
                    <a:cubicBezTo>
                      <a:pt x="155" y="37"/>
                      <a:pt x="154" y="37"/>
                      <a:pt x="154" y="37"/>
                    </a:cubicBezTo>
                    <a:cubicBezTo>
                      <a:pt x="154" y="37"/>
                      <a:pt x="154" y="37"/>
                      <a:pt x="154" y="37"/>
                    </a:cubicBezTo>
                    <a:cubicBezTo>
                      <a:pt x="153" y="37"/>
                      <a:pt x="153" y="37"/>
                      <a:pt x="153" y="37"/>
                    </a:cubicBezTo>
                    <a:cubicBezTo>
                      <a:pt x="152" y="37"/>
                      <a:pt x="152" y="37"/>
                      <a:pt x="152" y="37"/>
                    </a:cubicBezTo>
                    <a:cubicBezTo>
                      <a:pt x="150" y="37"/>
                      <a:pt x="149" y="36"/>
                      <a:pt x="148" y="33"/>
                    </a:cubicBezTo>
                    <a:cubicBezTo>
                      <a:pt x="148" y="32"/>
                      <a:pt x="148" y="32"/>
                      <a:pt x="148" y="32"/>
                    </a:cubicBezTo>
                    <a:cubicBezTo>
                      <a:pt x="148" y="31"/>
                      <a:pt x="148" y="31"/>
                      <a:pt x="148" y="31"/>
                    </a:cubicBezTo>
                    <a:cubicBezTo>
                      <a:pt x="148" y="29"/>
                      <a:pt x="147" y="27"/>
                      <a:pt x="147" y="26"/>
                    </a:cubicBezTo>
                    <a:cubicBezTo>
                      <a:pt x="146" y="25"/>
                      <a:pt x="146" y="25"/>
                      <a:pt x="146" y="25"/>
                    </a:cubicBezTo>
                    <a:cubicBezTo>
                      <a:pt x="146" y="25"/>
                      <a:pt x="146" y="25"/>
                      <a:pt x="146" y="25"/>
                    </a:cubicBezTo>
                    <a:cubicBezTo>
                      <a:pt x="145" y="24"/>
                      <a:pt x="145" y="24"/>
                      <a:pt x="145" y="24"/>
                    </a:cubicBezTo>
                    <a:cubicBezTo>
                      <a:pt x="144" y="23"/>
                      <a:pt x="143" y="23"/>
                      <a:pt x="142" y="22"/>
                    </a:cubicBezTo>
                    <a:cubicBezTo>
                      <a:pt x="141" y="21"/>
                      <a:pt x="141" y="19"/>
                      <a:pt x="141" y="18"/>
                    </a:cubicBezTo>
                    <a:cubicBezTo>
                      <a:pt x="141" y="17"/>
                      <a:pt x="141" y="17"/>
                      <a:pt x="141" y="17"/>
                    </a:cubicBezTo>
                    <a:cubicBezTo>
                      <a:pt x="141" y="17"/>
                      <a:pt x="141" y="17"/>
                      <a:pt x="141" y="17"/>
                    </a:cubicBezTo>
                    <a:cubicBezTo>
                      <a:pt x="141" y="16"/>
                      <a:pt x="141" y="16"/>
                      <a:pt x="141" y="16"/>
                    </a:cubicBezTo>
                    <a:cubicBezTo>
                      <a:pt x="140" y="16"/>
                      <a:pt x="139" y="16"/>
                      <a:pt x="138" y="15"/>
                    </a:cubicBezTo>
                    <a:cubicBezTo>
                      <a:pt x="137" y="14"/>
                      <a:pt x="137" y="12"/>
                      <a:pt x="137" y="11"/>
                    </a:cubicBezTo>
                    <a:cubicBezTo>
                      <a:pt x="137" y="10"/>
                      <a:pt x="137" y="10"/>
                      <a:pt x="137" y="10"/>
                    </a:cubicBezTo>
                    <a:cubicBezTo>
                      <a:pt x="138" y="9"/>
                      <a:pt x="138" y="9"/>
                      <a:pt x="138" y="9"/>
                    </a:cubicBezTo>
                    <a:cubicBezTo>
                      <a:pt x="137" y="8"/>
                      <a:pt x="137" y="8"/>
                      <a:pt x="137" y="8"/>
                    </a:cubicBezTo>
                    <a:cubicBezTo>
                      <a:pt x="137" y="7"/>
                      <a:pt x="137" y="7"/>
                      <a:pt x="137" y="7"/>
                    </a:cubicBezTo>
                    <a:cubicBezTo>
                      <a:pt x="135" y="8"/>
                      <a:pt x="135" y="8"/>
                      <a:pt x="135" y="8"/>
                    </a:cubicBezTo>
                    <a:cubicBezTo>
                      <a:pt x="134" y="8"/>
                      <a:pt x="134" y="8"/>
                      <a:pt x="133" y="8"/>
                    </a:cubicBezTo>
                    <a:cubicBezTo>
                      <a:pt x="133" y="9"/>
                      <a:pt x="133" y="9"/>
                      <a:pt x="133" y="9"/>
                    </a:cubicBezTo>
                    <a:cubicBezTo>
                      <a:pt x="132" y="9"/>
                      <a:pt x="130" y="10"/>
                      <a:pt x="129" y="10"/>
                    </a:cubicBezTo>
                    <a:cubicBezTo>
                      <a:pt x="128" y="10"/>
                      <a:pt x="128" y="10"/>
                      <a:pt x="128" y="10"/>
                    </a:cubicBezTo>
                    <a:cubicBezTo>
                      <a:pt x="127" y="10"/>
                      <a:pt x="127" y="10"/>
                      <a:pt x="127" y="10"/>
                    </a:cubicBezTo>
                    <a:cubicBezTo>
                      <a:pt x="125" y="10"/>
                      <a:pt x="124" y="7"/>
                      <a:pt x="124" y="6"/>
                    </a:cubicBezTo>
                    <a:cubicBezTo>
                      <a:pt x="124" y="6"/>
                      <a:pt x="123" y="6"/>
                      <a:pt x="123" y="5"/>
                    </a:cubicBezTo>
                    <a:cubicBezTo>
                      <a:pt x="123" y="5"/>
                      <a:pt x="123" y="5"/>
                      <a:pt x="123" y="5"/>
                    </a:cubicBezTo>
                    <a:cubicBezTo>
                      <a:pt x="123" y="5"/>
                      <a:pt x="123" y="4"/>
                      <a:pt x="123" y="4"/>
                    </a:cubicBezTo>
                    <a:cubicBezTo>
                      <a:pt x="122" y="3"/>
                      <a:pt x="122" y="3"/>
                      <a:pt x="122" y="3"/>
                    </a:cubicBezTo>
                    <a:cubicBezTo>
                      <a:pt x="122" y="2"/>
                      <a:pt x="122" y="2"/>
                      <a:pt x="121" y="2"/>
                    </a:cubicBezTo>
                    <a:cubicBezTo>
                      <a:pt x="121" y="2"/>
                      <a:pt x="121" y="2"/>
                      <a:pt x="120" y="2"/>
                    </a:cubicBezTo>
                    <a:cubicBezTo>
                      <a:pt x="119" y="3"/>
                      <a:pt x="117" y="3"/>
                      <a:pt x="115" y="3"/>
                    </a:cubicBezTo>
                    <a:cubicBezTo>
                      <a:pt x="112" y="3"/>
                      <a:pt x="108" y="2"/>
                      <a:pt x="105" y="1"/>
                    </a:cubicBezTo>
                    <a:cubicBezTo>
                      <a:pt x="102" y="1"/>
                      <a:pt x="102" y="1"/>
                      <a:pt x="102" y="1"/>
                    </a:cubicBezTo>
                    <a:cubicBezTo>
                      <a:pt x="101" y="1"/>
                      <a:pt x="100" y="0"/>
                      <a:pt x="98" y="0"/>
                    </a:cubicBezTo>
                    <a:cubicBezTo>
                      <a:pt x="98" y="0"/>
                      <a:pt x="98" y="0"/>
                      <a:pt x="98" y="0"/>
                    </a:cubicBezTo>
                    <a:cubicBezTo>
                      <a:pt x="97" y="0"/>
                      <a:pt x="97" y="0"/>
                      <a:pt x="96" y="0"/>
                    </a:cubicBezTo>
                    <a:cubicBezTo>
                      <a:pt x="96" y="0"/>
                      <a:pt x="96" y="0"/>
                      <a:pt x="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172"/>
              <p:cNvSpPr/>
              <p:nvPr/>
            </p:nvSpPr>
            <p:spPr bwMode="auto">
              <a:xfrm>
                <a:off x="6260" y="1034"/>
                <a:ext cx="90" cy="83"/>
              </a:xfrm>
              <a:custGeom>
                <a:gdLst>
                  <a:gd name="T0" fmla="*/ 18 w 38"/>
                  <a:gd name="T1" fmla="*/ 0 h 35"/>
                  <a:gd name="T2" fmla="*/ 16 w 38"/>
                  <a:gd name="T3" fmla="*/ 0 h 35"/>
                  <a:gd name="T4" fmla="*/ 13 w 38"/>
                  <a:gd name="T5" fmla="*/ 1 h 35"/>
                  <a:gd name="T6" fmla="*/ 8 w 38"/>
                  <a:gd name="T7" fmla="*/ 8 h 35"/>
                  <a:gd name="T8" fmla="*/ 8 w 38"/>
                  <a:gd name="T9" fmla="*/ 9 h 35"/>
                  <a:gd name="T10" fmla="*/ 6 w 38"/>
                  <a:gd name="T11" fmla="*/ 11 h 35"/>
                  <a:gd name="T12" fmla="*/ 0 w 38"/>
                  <a:gd name="T13" fmla="*/ 21 h 35"/>
                  <a:gd name="T14" fmla="*/ 18 w 38"/>
                  <a:gd name="T15" fmla="*/ 26 h 35"/>
                  <a:gd name="T16" fmla="*/ 22 w 38"/>
                  <a:gd name="T17" fmla="*/ 31 h 35"/>
                  <a:gd name="T18" fmla="*/ 22 w 38"/>
                  <a:gd name="T19" fmla="*/ 32 h 35"/>
                  <a:gd name="T20" fmla="*/ 22 w 38"/>
                  <a:gd name="T21" fmla="*/ 32 h 35"/>
                  <a:gd name="T22" fmla="*/ 23 w 38"/>
                  <a:gd name="T23" fmla="*/ 33 h 35"/>
                  <a:gd name="T24" fmla="*/ 24 w 38"/>
                  <a:gd name="T25" fmla="*/ 34 h 35"/>
                  <a:gd name="T26" fmla="*/ 29 w 38"/>
                  <a:gd name="T27" fmla="*/ 35 h 35"/>
                  <a:gd name="T28" fmla="*/ 35 w 38"/>
                  <a:gd name="T29" fmla="*/ 35 h 35"/>
                  <a:gd name="T30" fmla="*/ 38 w 38"/>
                  <a:gd name="T31" fmla="*/ 35 h 35"/>
                  <a:gd name="T32" fmla="*/ 33 w 38"/>
                  <a:gd name="T33" fmla="*/ 22 h 35"/>
                  <a:gd name="T34" fmla="*/ 31 w 38"/>
                  <a:gd name="T35" fmla="*/ 18 h 35"/>
                  <a:gd name="T36" fmla="*/ 24 w 38"/>
                  <a:gd name="T37" fmla="*/ 16 h 35"/>
                  <a:gd name="T38" fmla="*/ 30 w 38"/>
                  <a:gd name="T39" fmla="*/ 9 h 35"/>
                  <a:gd name="T40" fmla="*/ 30 w 38"/>
                  <a:gd name="T41" fmla="*/ 9 h 35"/>
                  <a:gd name="T42" fmla="*/ 34 w 38"/>
                  <a:gd name="T43" fmla="*/ 11 h 35"/>
                  <a:gd name="T44" fmla="*/ 32 w 38"/>
                  <a:gd name="T45" fmla="*/ 7 h 35"/>
                  <a:gd name="T46" fmla="*/ 30 w 38"/>
                  <a:gd name="T47" fmla="*/ 3 h 35"/>
                  <a:gd name="T48" fmla="*/ 25 w 38"/>
                  <a:gd name="T49" fmla="*/ 1 h 35"/>
                  <a:gd name="T50" fmla="*/ 18 w 38"/>
                  <a:gd name="T51"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5">
                    <a:moveTo>
                      <a:pt x="18" y="0"/>
                    </a:moveTo>
                    <a:cubicBezTo>
                      <a:pt x="18" y="0"/>
                      <a:pt x="17" y="0"/>
                      <a:pt x="16" y="0"/>
                    </a:cubicBezTo>
                    <a:cubicBezTo>
                      <a:pt x="15" y="0"/>
                      <a:pt x="14" y="1"/>
                      <a:pt x="13" y="1"/>
                    </a:cubicBezTo>
                    <a:cubicBezTo>
                      <a:pt x="11" y="3"/>
                      <a:pt x="9" y="6"/>
                      <a:pt x="8" y="8"/>
                    </a:cubicBezTo>
                    <a:cubicBezTo>
                      <a:pt x="8" y="9"/>
                      <a:pt x="8" y="9"/>
                      <a:pt x="8" y="9"/>
                    </a:cubicBezTo>
                    <a:cubicBezTo>
                      <a:pt x="7" y="10"/>
                      <a:pt x="7" y="10"/>
                      <a:pt x="6" y="11"/>
                    </a:cubicBezTo>
                    <a:cubicBezTo>
                      <a:pt x="4" y="14"/>
                      <a:pt x="2" y="18"/>
                      <a:pt x="0" y="21"/>
                    </a:cubicBezTo>
                    <a:cubicBezTo>
                      <a:pt x="18" y="26"/>
                      <a:pt x="18" y="26"/>
                      <a:pt x="18" y="26"/>
                    </a:cubicBezTo>
                    <a:cubicBezTo>
                      <a:pt x="21" y="26"/>
                      <a:pt x="22" y="30"/>
                      <a:pt x="22" y="31"/>
                    </a:cubicBezTo>
                    <a:cubicBezTo>
                      <a:pt x="22" y="31"/>
                      <a:pt x="22" y="32"/>
                      <a:pt x="22" y="32"/>
                    </a:cubicBezTo>
                    <a:cubicBezTo>
                      <a:pt x="22" y="32"/>
                      <a:pt x="22" y="32"/>
                      <a:pt x="22" y="32"/>
                    </a:cubicBezTo>
                    <a:cubicBezTo>
                      <a:pt x="23" y="33"/>
                      <a:pt x="23" y="33"/>
                      <a:pt x="23" y="33"/>
                    </a:cubicBezTo>
                    <a:cubicBezTo>
                      <a:pt x="23" y="33"/>
                      <a:pt x="23" y="34"/>
                      <a:pt x="24" y="34"/>
                    </a:cubicBezTo>
                    <a:cubicBezTo>
                      <a:pt x="25" y="35"/>
                      <a:pt x="27" y="35"/>
                      <a:pt x="29" y="35"/>
                    </a:cubicBezTo>
                    <a:cubicBezTo>
                      <a:pt x="31" y="35"/>
                      <a:pt x="33" y="35"/>
                      <a:pt x="35" y="35"/>
                    </a:cubicBezTo>
                    <a:cubicBezTo>
                      <a:pt x="36" y="35"/>
                      <a:pt x="37" y="35"/>
                      <a:pt x="38" y="35"/>
                    </a:cubicBezTo>
                    <a:cubicBezTo>
                      <a:pt x="36" y="30"/>
                      <a:pt x="35" y="26"/>
                      <a:pt x="33" y="22"/>
                    </a:cubicBezTo>
                    <a:cubicBezTo>
                      <a:pt x="32" y="21"/>
                      <a:pt x="32" y="19"/>
                      <a:pt x="31" y="18"/>
                    </a:cubicBezTo>
                    <a:cubicBezTo>
                      <a:pt x="29" y="16"/>
                      <a:pt x="26" y="16"/>
                      <a:pt x="24" y="16"/>
                    </a:cubicBezTo>
                    <a:cubicBezTo>
                      <a:pt x="25" y="14"/>
                      <a:pt x="27" y="10"/>
                      <a:pt x="30" y="9"/>
                    </a:cubicBezTo>
                    <a:cubicBezTo>
                      <a:pt x="30" y="9"/>
                      <a:pt x="30" y="9"/>
                      <a:pt x="30" y="9"/>
                    </a:cubicBezTo>
                    <a:cubicBezTo>
                      <a:pt x="30" y="9"/>
                      <a:pt x="32" y="11"/>
                      <a:pt x="34" y="11"/>
                    </a:cubicBezTo>
                    <a:cubicBezTo>
                      <a:pt x="33" y="10"/>
                      <a:pt x="32" y="8"/>
                      <a:pt x="32" y="7"/>
                    </a:cubicBezTo>
                    <a:cubicBezTo>
                      <a:pt x="31" y="7"/>
                      <a:pt x="30" y="5"/>
                      <a:pt x="30" y="3"/>
                    </a:cubicBezTo>
                    <a:cubicBezTo>
                      <a:pt x="25" y="1"/>
                      <a:pt x="25" y="1"/>
                      <a:pt x="25" y="1"/>
                    </a:cubicBezTo>
                    <a:cubicBezTo>
                      <a:pt x="22"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173"/>
              <p:cNvSpPr/>
              <p:nvPr/>
            </p:nvSpPr>
            <p:spPr bwMode="auto">
              <a:xfrm>
                <a:off x="6334" y="1041"/>
                <a:ext cx="16" cy="17"/>
              </a:xfrm>
              <a:custGeom>
                <a:gdLst>
                  <a:gd name="T0" fmla="*/ 1 w 7"/>
                  <a:gd name="T1" fmla="*/ 0 h 7"/>
                  <a:gd name="T2" fmla="*/ 0 w 7"/>
                  <a:gd name="T3" fmla="*/ 2 h 7"/>
                  <a:gd name="T4" fmla="*/ 4 w 7"/>
                  <a:gd name="T5" fmla="*/ 7 h 7"/>
                  <a:gd name="T6" fmla="*/ 7 w 7"/>
                  <a:gd name="T7" fmla="*/ 3 h 7"/>
                  <a:gd name="T8" fmla="*/ 3 w 7"/>
                  <a:gd name="T9" fmla="*/ 2 h 7"/>
                  <a:gd name="T10" fmla="*/ 3 w 7"/>
                  <a:gd name="T11" fmla="*/ 1 h 7"/>
                  <a:gd name="T12" fmla="*/ 1 w 7"/>
                  <a:gd name="T13" fmla="*/ 2 h 7"/>
                  <a:gd name="T14" fmla="*/ 2 w 7"/>
                  <a:gd name="T15" fmla="*/ 1 h 7"/>
                  <a:gd name="T16" fmla="*/ 1 w 7"/>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1" y="0"/>
                    </a:moveTo>
                    <a:cubicBezTo>
                      <a:pt x="0" y="1"/>
                      <a:pt x="0" y="2"/>
                      <a:pt x="0" y="2"/>
                    </a:cubicBezTo>
                    <a:cubicBezTo>
                      <a:pt x="0" y="4"/>
                      <a:pt x="2" y="6"/>
                      <a:pt x="4" y="7"/>
                    </a:cubicBezTo>
                    <a:cubicBezTo>
                      <a:pt x="6" y="6"/>
                      <a:pt x="7" y="5"/>
                      <a:pt x="7" y="3"/>
                    </a:cubicBezTo>
                    <a:cubicBezTo>
                      <a:pt x="3" y="2"/>
                      <a:pt x="3" y="2"/>
                      <a:pt x="3" y="2"/>
                    </a:cubicBezTo>
                    <a:cubicBezTo>
                      <a:pt x="3" y="1"/>
                      <a:pt x="3" y="1"/>
                      <a:pt x="3" y="1"/>
                    </a:cubicBezTo>
                    <a:cubicBezTo>
                      <a:pt x="1" y="2"/>
                      <a:pt x="1" y="2"/>
                      <a:pt x="1" y="2"/>
                    </a:cubicBezTo>
                    <a:cubicBezTo>
                      <a:pt x="2" y="1"/>
                      <a:pt x="2" y="1"/>
                      <a:pt x="2" y="1"/>
                    </a:cubicBezTo>
                    <a:cubicBezTo>
                      <a:pt x="2"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174"/>
              <p:cNvSpPr/>
              <p:nvPr/>
            </p:nvSpPr>
            <p:spPr bwMode="auto">
              <a:xfrm>
                <a:off x="5648" y="590"/>
                <a:ext cx="362" cy="295"/>
              </a:xfrm>
              <a:custGeom>
                <a:gdLst>
                  <a:gd name="T0" fmla="*/ 147 w 153"/>
                  <a:gd name="T1" fmla="*/ 1 h 125"/>
                  <a:gd name="T2" fmla="*/ 121 w 153"/>
                  <a:gd name="T3" fmla="*/ 3 h 125"/>
                  <a:gd name="T4" fmla="*/ 112 w 153"/>
                  <a:gd name="T5" fmla="*/ 6 h 125"/>
                  <a:gd name="T6" fmla="*/ 107 w 153"/>
                  <a:gd name="T7" fmla="*/ 9 h 125"/>
                  <a:gd name="T8" fmla="*/ 88 w 153"/>
                  <a:gd name="T9" fmla="*/ 14 h 125"/>
                  <a:gd name="T10" fmla="*/ 87 w 153"/>
                  <a:gd name="T11" fmla="*/ 15 h 125"/>
                  <a:gd name="T12" fmla="*/ 70 w 153"/>
                  <a:gd name="T13" fmla="*/ 13 h 125"/>
                  <a:gd name="T14" fmla="*/ 67 w 153"/>
                  <a:gd name="T15" fmla="*/ 12 h 125"/>
                  <a:gd name="T16" fmla="*/ 65 w 153"/>
                  <a:gd name="T17" fmla="*/ 11 h 125"/>
                  <a:gd name="T18" fmla="*/ 59 w 153"/>
                  <a:gd name="T19" fmla="*/ 9 h 125"/>
                  <a:gd name="T20" fmla="*/ 55 w 153"/>
                  <a:gd name="T21" fmla="*/ 11 h 125"/>
                  <a:gd name="T22" fmla="*/ 37 w 153"/>
                  <a:gd name="T23" fmla="*/ 16 h 125"/>
                  <a:gd name="T24" fmla="*/ 28 w 153"/>
                  <a:gd name="T25" fmla="*/ 15 h 125"/>
                  <a:gd name="T26" fmla="*/ 22 w 153"/>
                  <a:gd name="T27" fmla="*/ 18 h 125"/>
                  <a:gd name="T28" fmla="*/ 30 w 153"/>
                  <a:gd name="T29" fmla="*/ 21 h 125"/>
                  <a:gd name="T30" fmla="*/ 22 w 153"/>
                  <a:gd name="T31" fmla="*/ 25 h 125"/>
                  <a:gd name="T32" fmla="*/ 19 w 153"/>
                  <a:gd name="T33" fmla="*/ 27 h 125"/>
                  <a:gd name="T34" fmla="*/ 18 w 153"/>
                  <a:gd name="T35" fmla="*/ 28 h 125"/>
                  <a:gd name="T36" fmla="*/ 15 w 153"/>
                  <a:gd name="T37" fmla="*/ 33 h 125"/>
                  <a:gd name="T38" fmla="*/ 13 w 153"/>
                  <a:gd name="T39" fmla="*/ 34 h 125"/>
                  <a:gd name="T40" fmla="*/ 13 w 153"/>
                  <a:gd name="T41" fmla="*/ 36 h 125"/>
                  <a:gd name="T42" fmla="*/ 9 w 153"/>
                  <a:gd name="T43" fmla="*/ 38 h 125"/>
                  <a:gd name="T44" fmla="*/ 1 w 153"/>
                  <a:gd name="T45" fmla="*/ 38 h 125"/>
                  <a:gd name="T46" fmla="*/ 4 w 153"/>
                  <a:gd name="T47" fmla="*/ 47 h 125"/>
                  <a:gd name="T48" fmla="*/ 5 w 153"/>
                  <a:gd name="T49" fmla="*/ 64 h 125"/>
                  <a:gd name="T50" fmla="*/ 9 w 153"/>
                  <a:gd name="T51" fmla="*/ 64 h 125"/>
                  <a:gd name="T52" fmla="*/ 13 w 153"/>
                  <a:gd name="T53" fmla="*/ 64 h 125"/>
                  <a:gd name="T54" fmla="*/ 17 w 153"/>
                  <a:gd name="T55" fmla="*/ 64 h 125"/>
                  <a:gd name="T56" fmla="*/ 19 w 153"/>
                  <a:gd name="T57" fmla="*/ 69 h 125"/>
                  <a:gd name="T58" fmla="*/ 22 w 153"/>
                  <a:gd name="T59" fmla="*/ 74 h 125"/>
                  <a:gd name="T60" fmla="*/ 21 w 153"/>
                  <a:gd name="T61" fmla="*/ 82 h 125"/>
                  <a:gd name="T62" fmla="*/ 36 w 153"/>
                  <a:gd name="T63" fmla="*/ 104 h 125"/>
                  <a:gd name="T64" fmla="*/ 12 w 153"/>
                  <a:gd name="T65" fmla="*/ 90 h 125"/>
                  <a:gd name="T66" fmla="*/ 9 w 153"/>
                  <a:gd name="T67" fmla="*/ 92 h 125"/>
                  <a:gd name="T68" fmla="*/ 10 w 153"/>
                  <a:gd name="T69" fmla="*/ 95 h 125"/>
                  <a:gd name="T70" fmla="*/ 9 w 153"/>
                  <a:gd name="T71" fmla="*/ 97 h 125"/>
                  <a:gd name="T72" fmla="*/ 4 w 153"/>
                  <a:gd name="T73" fmla="*/ 102 h 125"/>
                  <a:gd name="T74" fmla="*/ 2 w 153"/>
                  <a:gd name="T75" fmla="*/ 103 h 125"/>
                  <a:gd name="T76" fmla="*/ 1 w 153"/>
                  <a:gd name="T77" fmla="*/ 108 h 125"/>
                  <a:gd name="T78" fmla="*/ 1 w 153"/>
                  <a:gd name="T79" fmla="*/ 114 h 125"/>
                  <a:gd name="T80" fmla="*/ 3 w 153"/>
                  <a:gd name="T81" fmla="*/ 115 h 125"/>
                  <a:gd name="T82" fmla="*/ 6 w 153"/>
                  <a:gd name="T83" fmla="*/ 117 h 125"/>
                  <a:gd name="T84" fmla="*/ 10 w 153"/>
                  <a:gd name="T85" fmla="*/ 120 h 125"/>
                  <a:gd name="T86" fmla="*/ 28 w 153"/>
                  <a:gd name="T87" fmla="*/ 123 h 125"/>
                  <a:gd name="T88" fmla="*/ 71 w 153"/>
                  <a:gd name="T89" fmla="*/ 98 h 125"/>
                  <a:gd name="T90" fmla="*/ 73 w 153"/>
                  <a:gd name="T91" fmla="*/ 97 h 125"/>
                  <a:gd name="T92" fmla="*/ 91 w 153"/>
                  <a:gd name="T93" fmla="*/ 86 h 125"/>
                  <a:gd name="T94" fmla="*/ 105 w 153"/>
                  <a:gd name="T95" fmla="*/ 78 h 125"/>
                  <a:gd name="T96" fmla="*/ 116 w 153"/>
                  <a:gd name="T97" fmla="*/ 72 h 125"/>
                  <a:gd name="T98" fmla="*/ 119 w 153"/>
                  <a:gd name="T99" fmla="*/ 71 h 125"/>
                  <a:gd name="T100" fmla="*/ 126 w 153"/>
                  <a:gd name="T101" fmla="*/ 63 h 125"/>
                  <a:gd name="T102" fmla="*/ 126 w 153"/>
                  <a:gd name="T103" fmla="*/ 59 h 125"/>
                  <a:gd name="T104" fmla="*/ 127 w 153"/>
                  <a:gd name="T105" fmla="*/ 47 h 125"/>
                  <a:gd name="T106" fmla="*/ 129 w 153"/>
                  <a:gd name="T107" fmla="*/ 42 h 125"/>
                  <a:gd name="T108" fmla="*/ 128 w 153"/>
                  <a:gd name="T109" fmla="*/ 35 h 125"/>
                  <a:gd name="T110" fmla="*/ 130 w 153"/>
                  <a:gd name="T111" fmla="*/ 16 h 125"/>
                  <a:gd name="T112" fmla="*/ 138 w 153"/>
                  <a:gd name="T113" fmla="*/ 12 h 125"/>
                  <a:gd name="T114" fmla="*/ 140 w 153"/>
                  <a:gd name="T115" fmla="*/ 12 h 125"/>
                  <a:gd name="T116" fmla="*/ 142 w 153"/>
                  <a:gd name="T117" fmla="*/ 11 h 125"/>
                  <a:gd name="T118" fmla="*/ 153 w 153"/>
                  <a:gd name="T119" fmla="*/ 1 h 125"/>
                  <a:gd name="T120" fmla="*/ 153 w 153"/>
                  <a:gd name="T121" fmla="*/ 0 h 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25">
                    <a:moveTo>
                      <a:pt x="153" y="0"/>
                    </a:moveTo>
                    <a:cubicBezTo>
                      <a:pt x="151" y="0"/>
                      <a:pt x="149" y="1"/>
                      <a:pt x="147" y="1"/>
                    </a:cubicBezTo>
                    <a:cubicBezTo>
                      <a:pt x="140" y="3"/>
                      <a:pt x="133" y="3"/>
                      <a:pt x="125" y="3"/>
                    </a:cubicBezTo>
                    <a:cubicBezTo>
                      <a:pt x="124" y="3"/>
                      <a:pt x="122" y="3"/>
                      <a:pt x="121" y="3"/>
                    </a:cubicBezTo>
                    <a:cubicBezTo>
                      <a:pt x="121" y="3"/>
                      <a:pt x="121" y="3"/>
                      <a:pt x="121" y="3"/>
                    </a:cubicBezTo>
                    <a:cubicBezTo>
                      <a:pt x="118" y="3"/>
                      <a:pt x="115" y="5"/>
                      <a:pt x="112" y="6"/>
                    </a:cubicBezTo>
                    <a:cubicBezTo>
                      <a:pt x="111" y="7"/>
                      <a:pt x="110" y="7"/>
                      <a:pt x="109" y="8"/>
                    </a:cubicBezTo>
                    <a:cubicBezTo>
                      <a:pt x="108" y="8"/>
                      <a:pt x="107" y="8"/>
                      <a:pt x="107" y="9"/>
                    </a:cubicBezTo>
                    <a:cubicBezTo>
                      <a:pt x="102" y="10"/>
                      <a:pt x="102" y="10"/>
                      <a:pt x="102" y="10"/>
                    </a:cubicBezTo>
                    <a:cubicBezTo>
                      <a:pt x="98" y="12"/>
                      <a:pt x="93" y="13"/>
                      <a:pt x="88" y="14"/>
                    </a:cubicBezTo>
                    <a:cubicBezTo>
                      <a:pt x="88" y="14"/>
                      <a:pt x="87" y="14"/>
                      <a:pt x="87" y="14"/>
                    </a:cubicBezTo>
                    <a:cubicBezTo>
                      <a:pt x="87" y="15"/>
                      <a:pt x="87" y="15"/>
                      <a:pt x="87" y="15"/>
                    </a:cubicBezTo>
                    <a:cubicBezTo>
                      <a:pt x="86" y="15"/>
                      <a:pt x="85" y="15"/>
                      <a:pt x="84" y="15"/>
                    </a:cubicBezTo>
                    <a:cubicBezTo>
                      <a:pt x="79" y="15"/>
                      <a:pt x="75" y="14"/>
                      <a:pt x="70" y="13"/>
                    </a:cubicBezTo>
                    <a:cubicBezTo>
                      <a:pt x="69" y="13"/>
                      <a:pt x="69" y="13"/>
                      <a:pt x="69" y="13"/>
                    </a:cubicBezTo>
                    <a:cubicBezTo>
                      <a:pt x="68" y="13"/>
                      <a:pt x="68" y="12"/>
                      <a:pt x="67" y="12"/>
                    </a:cubicBezTo>
                    <a:cubicBezTo>
                      <a:pt x="67" y="12"/>
                      <a:pt x="67" y="12"/>
                      <a:pt x="67" y="12"/>
                    </a:cubicBezTo>
                    <a:cubicBezTo>
                      <a:pt x="66" y="11"/>
                      <a:pt x="66" y="11"/>
                      <a:pt x="65" y="11"/>
                    </a:cubicBezTo>
                    <a:cubicBezTo>
                      <a:pt x="61" y="10"/>
                      <a:pt x="61" y="10"/>
                      <a:pt x="61" y="10"/>
                    </a:cubicBezTo>
                    <a:cubicBezTo>
                      <a:pt x="60" y="9"/>
                      <a:pt x="59" y="9"/>
                      <a:pt x="59" y="9"/>
                    </a:cubicBezTo>
                    <a:cubicBezTo>
                      <a:pt x="58" y="9"/>
                      <a:pt x="58" y="9"/>
                      <a:pt x="56" y="10"/>
                    </a:cubicBezTo>
                    <a:cubicBezTo>
                      <a:pt x="55" y="11"/>
                      <a:pt x="55" y="11"/>
                      <a:pt x="55" y="11"/>
                    </a:cubicBezTo>
                    <a:cubicBezTo>
                      <a:pt x="48" y="14"/>
                      <a:pt x="43" y="15"/>
                      <a:pt x="38" y="16"/>
                    </a:cubicBezTo>
                    <a:cubicBezTo>
                      <a:pt x="37" y="16"/>
                      <a:pt x="37" y="16"/>
                      <a:pt x="37" y="16"/>
                    </a:cubicBezTo>
                    <a:cubicBezTo>
                      <a:pt x="36" y="16"/>
                      <a:pt x="34" y="16"/>
                      <a:pt x="33" y="16"/>
                    </a:cubicBezTo>
                    <a:cubicBezTo>
                      <a:pt x="31" y="16"/>
                      <a:pt x="30" y="16"/>
                      <a:pt x="28" y="15"/>
                    </a:cubicBezTo>
                    <a:cubicBezTo>
                      <a:pt x="23" y="12"/>
                      <a:pt x="23" y="12"/>
                      <a:pt x="23" y="12"/>
                    </a:cubicBezTo>
                    <a:cubicBezTo>
                      <a:pt x="23" y="14"/>
                      <a:pt x="22" y="16"/>
                      <a:pt x="22" y="18"/>
                    </a:cubicBezTo>
                    <a:cubicBezTo>
                      <a:pt x="22" y="19"/>
                      <a:pt x="23" y="19"/>
                      <a:pt x="23" y="19"/>
                    </a:cubicBezTo>
                    <a:cubicBezTo>
                      <a:pt x="30" y="21"/>
                      <a:pt x="30" y="21"/>
                      <a:pt x="30" y="21"/>
                    </a:cubicBezTo>
                    <a:cubicBezTo>
                      <a:pt x="23" y="25"/>
                      <a:pt x="23" y="25"/>
                      <a:pt x="23" y="25"/>
                    </a:cubicBezTo>
                    <a:cubicBezTo>
                      <a:pt x="23" y="25"/>
                      <a:pt x="22" y="25"/>
                      <a:pt x="22" y="25"/>
                    </a:cubicBezTo>
                    <a:cubicBezTo>
                      <a:pt x="21" y="26"/>
                      <a:pt x="21" y="26"/>
                      <a:pt x="21" y="26"/>
                    </a:cubicBezTo>
                    <a:cubicBezTo>
                      <a:pt x="20" y="26"/>
                      <a:pt x="19" y="26"/>
                      <a:pt x="19" y="27"/>
                    </a:cubicBezTo>
                    <a:cubicBezTo>
                      <a:pt x="18" y="27"/>
                      <a:pt x="18" y="27"/>
                      <a:pt x="18" y="27"/>
                    </a:cubicBezTo>
                    <a:cubicBezTo>
                      <a:pt x="18" y="27"/>
                      <a:pt x="18" y="27"/>
                      <a:pt x="18" y="28"/>
                    </a:cubicBezTo>
                    <a:cubicBezTo>
                      <a:pt x="18" y="28"/>
                      <a:pt x="18" y="28"/>
                      <a:pt x="18" y="28"/>
                    </a:cubicBezTo>
                    <a:cubicBezTo>
                      <a:pt x="18" y="31"/>
                      <a:pt x="16" y="32"/>
                      <a:pt x="15" y="33"/>
                    </a:cubicBezTo>
                    <a:cubicBezTo>
                      <a:pt x="14" y="33"/>
                      <a:pt x="14" y="33"/>
                      <a:pt x="14" y="34"/>
                    </a:cubicBezTo>
                    <a:cubicBezTo>
                      <a:pt x="13" y="34"/>
                      <a:pt x="13" y="34"/>
                      <a:pt x="13" y="34"/>
                    </a:cubicBezTo>
                    <a:cubicBezTo>
                      <a:pt x="13" y="35"/>
                      <a:pt x="13" y="35"/>
                      <a:pt x="13" y="35"/>
                    </a:cubicBezTo>
                    <a:cubicBezTo>
                      <a:pt x="13" y="36"/>
                      <a:pt x="13" y="36"/>
                      <a:pt x="13" y="36"/>
                    </a:cubicBezTo>
                    <a:cubicBezTo>
                      <a:pt x="12" y="39"/>
                      <a:pt x="12" y="39"/>
                      <a:pt x="12" y="39"/>
                    </a:cubicBezTo>
                    <a:cubicBezTo>
                      <a:pt x="9" y="38"/>
                      <a:pt x="9" y="38"/>
                      <a:pt x="9" y="38"/>
                    </a:cubicBezTo>
                    <a:cubicBezTo>
                      <a:pt x="7" y="37"/>
                      <a:pt x="4" y="36"/>
                      <a:pt x="2" y="35"/>
                    </a:cubicBezTo>
                    <a:cubicBezTo>
                      <a:pt x="2" y="36"/>
                      <a:pt x="1" y="37"/>
                      <a:pt x="1" y="38"/>
                    </a:cubicBezTo>
                    <a:cubicBezTo>
                      <a:pt x="1" y="39"/>
                      <a:pt x="1" y="41"/>
                      <a:pt x="0" y="42"/>
                    </a:cubicBezTo>
                    <a:cubicBezTo>
                      <a:pt x="2" y="44"/>
                      <a:pt x="4" y="45"/>
                      <a:pt x="4" y="47"/>
                    </a:cubicBezTo>
                    <a:cubicBezTo>
                      <a:pt x="5" y="51"/>
                      <a:pt x="4" y="54"/>
                      <a:pt x="4" y="57"/>
                    </a:cubicBezTo>
                    <a:cubicBezTo>
                      <a:pt x="4" y="60"/>
                      <a:pt x="5" y="62"/>
                      <a:pt x="5" y="64"/>
                    </a:cubicBezTo>
                    <a:cubicBezTo>
                      <a:pt x="6" y="64"/>
                      <a:pt x="6" y="64"/>
                      <a:pt x="6" y="64"/>
                    </a:cubicBezTo>
                    <a:cubicBezTo>
                      <a:pt x="7" y="64"/>
                      <a:pt x="8" y="64"/>
                      <a:pt x="9" y="64"/>
                    </a:cubicBezTo>
                    <a:cubicBezTo>
                      <a:pt x="10" y="64"/>
                      <a:pt x="10" y="64"/>
                      <a:pt x="11" y="64"/>
                    </a:cubicBezTo>
                    <a:cubicBezTo>
                      <a:pt x="12" y="64"/>
                      <a:pt x="12" y="64"/>
                      <a:pt x="13" y="64"/>
                    </a:cubicBezTo>
                    <a:cubicBezTo>
                      <a:pt x="14" y="64"/>
                      <a:pt x="14" y="64"/>
                      <a:pt x="14" y="64"/>
                    </a:cubicBezTo>
                    <a:cubicBezTo>
                      <a:pt x="15" y="64"/>
                      <a:pt x="16" y="64"/>
                      <a:pt x="17" y="64"/>
                    </a:cubicBezTo>
                    <a:cubicBezTo>
                      <a:pt x="23" y="64"/>
                      <a:pt x="23" y="64"/>
                      <a:pt x="23" y="64"/>
                    </a:cubicBezTo>
                    <a:cubicBezTo>
                      <a:pt x="19" y="69"/>
                      <a:pt x="19" y="69"/>
                      <a:pt x="19" y="69"/>
                    </a:cubicBezTo>
                    <a:cubicBezTo>
                      <a:pt x="20" y="70"/>
                      <a:pt x="21" y="71"/>
                      <a:pt x="22" y="73"/>
                    </a:cubicBezTo>
                    <a:cubicBezTo>
                      <a:pt x="22" y="74"/>
                      <a:pt x="22" y="74"/>
                      <a:pt x="22" y="74"/>
                    </a:cubicBezTo>
                    <a:cubicBezTo>
                      <a:pt x="23" y="75"/>
                      <a:pt x="25" y="78"/>
                      <a:pt x="22" y="81"/>
                    </a:cubicBezTo>
                    <a:cubicBezTo>
                      <a:pt x="22" y="81"/>
                      <a:pt x="21" y="82"/>
                      <a:pt x="21" y="82"/>
                    </a:cubicBezTo>
                    <a:cubicBezTo>
                      <a:pt x="18" y="84"/>
                      <a:pt x="17" y="85"/>
                      <a:pt x="17" y="86"/>
                    </a:cubicBezTo>
                    <a:cubicBezTo>
                      <a:pt x="36" y="104"/>
                      <a:pt x="36" y="104"/>
                      <a:pt x="36" y="104"/>
                    </a:cubicBezTo>
                    <a:cubicBezTo>
                      <a:pt x="13" y="91"/>
                      <a:pt x="13" y="91"/>
                      <a:pt x="13" y="91"/>
                    </a:cubicBezTo>
                    <a:cubicBezTo>
                      <a:pt x="13" y="90"/>
                      <a:pt x="12" y="90"/>
                      <a:pt x="12" y="90"/>
                    </a:cubicBezTo>
                    <a:cubicBezTo>
                      <a:pt x="11" y="90"/>
                      <a:pt x="11" y="90"/>
                      <a:pt x="10" y="91"/>
                    </a:cubicBezTo>
                    <a:cubicBezTo>
                      <a:pt x="9" y="91"/>
                      <a:pt x="9" y="91"/>
                      <a:pt x="9" y="92"/>
                    </a:cubicBezTo>
                    <a:cubicBezTo>
                      <a:pt x="9" y="92"/>
                      <a:pt x="9" y="92"/>
                      <a:pt x="9" y="92"/>
                    </a:cubicBezTo>
                    <a:cubicBezTo>
                      <a:pt x="9" y="92"/>
                      <a:pt x="10" y="94"/>
                      <a:pt x="10" y="95"/>
                    </a:cubicBezTo>
                    <a:cubicBezTo>
                      <a:pt x="10" y="96"/>
                      <a:pt x="10" y="96"/>
                      <a:pt x="10" y="96"/>
                    </a:cubicBezTo>
                    <a:cubicBezTo>
                      <a:pt x="9" y="97"/>
                      <a:pt x="9" y="97"/>
                      <a:pt x="9" y="97"/>
                    </a:cubicBezTo>
                    <a:cubicBezTo>
                      <a:pt x="8" y="98"/>
                      <a:pt x="8" y="98"/>
                      <a:pt x="8" y="98"/>
                    </a:cubicBezTo>
                    <a:cubicBezTo>
                      <a:pt x="7" y="99"/>
                      <a:pt x="6" y="101"/>
                      <a:pt x="4" y="102"/>
                    </a:cubicBezTo>
                    <a:cubicBezTo>
                      <a:pt x="4" y="102"/>
                      <a:pt x="3" y="103"/>
                      <a:pt x="2" y="103"/>
                    </a:cubicBezTo>
                    <a:cubicBezTo>
                      <a:pt x="2" y="103"/>
                      <a:pt x="2" y="103"/>
                      <a:pt x="2" y="103"/>
                    </a:cubicBezTo>
                    <a:cubicBezTo>
                      <a:pt x="1" y="104"/>
                      <a:pt x="1" y="104"/>
                      <a:pt x="1" y="104"/>
                    </a:cubicBezTo>
                    <a:cubicBezTo>
                      <a:pt x="1" y="105"/>
                      <a:pt x="1" y="107"/>
                      <a:pt x="1" y="108"/>
                    </a:cubicBezTo>
                    <a:cubicBezTo>
                      <a:pt x="1" y="109"/>
                      <a:pt x="1" y="110"/>
                      <a:pt x="1" y="111"/>
                    </a:cubicBezTo>
                    <a:cubicBezTo>
                      <a:pt x="1" y="112"/>
                      <a:pt x="1" y="113"/>
                      <a:pt x="1" y="114"/>
                    </a:cubicBezTo>
                    <a:cubicBezTo>
                      <a:pt x="1" y="115"/>
                      <a:pt x="1" y="115"/>
                      <a:pt x="1" y="115"/>
                    </a:cubicBezTo>
                    <a:cubicBezTo>
                      <a:pt x="2" y="115"/>
                      <a:pt x="2" y="115"/>
                      <a:pt x="3" y="115"/>
                    </a:cubicBezTo>
                    <a:cubicBezTo>
                      <a:pt x="4" y="116"/>
                      <a:pt x="4" y="116"/>
                      <a:pt x="4" y="116"/>
                    </a:cubicBezTo>
                    <a:cubicBezTo>
                      <a:pt x="4" y="116"/>
                      <a:pt x="5" y="117"/>
                      <a:pt x="6" y="117"/>
                    </a:cubicBezTo>
                    <a:cubicBezTo>
                      <a:pt x="7" y="118"/>
                      <a:pt x="7" y="118"/>
                      <a:pt x="7" y="118"/>
                    </a:cubicBezTo>
                    <a:cubicBezTo>
                      <a:pt x="8" y="118"/>
                      <a:pt x="9" y="119"/>
                      <a:pt x="10" y="120"/>
                    </a:cubicBezTo>
                    <a:cubicBezTo>
                      <a:pt x="18" y="124"/>
                      <a:pt x="22" y="125"/>
                      <a:pt x="24" y="125"/>
                    </a:cubicBezTo>
                    <a:cubicBezTo>
                      <a:pt x="26" y="125"/>
                      <a:pt x="27" y="124"/>
                      <a:pt x="28" y="123"/>
                    </a:cubicBezTo>
                    <a:cubicBezTo>
                      <a:pt x="29" y="123"/>
                      <a:pt x="30" y="122"/>
                      <a:pt x="31" y="121"/>
                    </a:cubicBezTo>
                    <a:cubicBezTo>
                      <a:pt x="39" y="116"/>
                      <a:pt x="61" y="103"/>
                      <a:pt x="71" y="98"/>
                    </a:cubicBezTo>
                    <a:cubicBezTo>
                      <a:pt x="72" y="96"/>
                      <a:pt x="72" y="96"/>
                      <a:pt x="72" y="96"/>
                    </a:cubicBezTo>
                    <a:cubicBezTo>
                      <a:pt x="73" y="97"/>
                      <a:pt x="73" y="97"/>
                      <a:pt x="73" y="97"/>
                    </a:cubicBezTo>
                    <a:cubicBezTo>
                      <a:pt x="76" y="95"/>
                      <a:pt x="76" y="95"/>
                      <a:pt x="76" y="95"/>
                    </a:cubicBezTo>
                    <a:cubicBezTo>
                      <a:pt x="81" y="92"/>
                      <a:pt x="86" y="89"/>
                      <a:pt x="91" y="86"/>
                    </a:cubicBezTo>
                    <a:cubicBezTo>
                      <a:pt x="105" y="78"/>
                      <a:pt x="105" y="78"/>
                      <a:pt x="105" y="78"/>
                    </a:cubicBezTo>
                    <a:cubicBezTo>
                      <a:pt x="105" y="78"/>
                      <a:pt x="105" y="78"/>
                      <a:pt x="105" y="78"/>
                    </a:cubicBezTo>
                    <a:cubicBezTo>
                      <a:pt x="112" y="74"/>
                      <a:pt x="112" y="74"/>
                      <a:pt x="112" y="74"/>
                    </a:cubicBezTo>
                    <a:cubicBezTo>
                      <a:pt x="113" y="73"/>
                      <a:pt x="115" y="73"/>
                      <a:pt x="116" y="72"/>
                    </a:cubicBezTo>
                    <a:cubicBezTo>
                      <a:pt x="117" y="72"/>
                      <a:pt x="118" y="72"/>
                      <a:pt x="119" y="71"/>
                    </a:cubicBezTo>
                    <a:cubicBezTo>
                      <a:pt x="119" y="71"/>
                      <a:pt x="119" y="71"/>
                      <a:pt x="119" y="71"/>
                    </a:cubicBezTo>
                    <a:cubicBezTo>
                      <a:pt x="120" y="71"/>
                      <a:pt x="122" y="70"/>
                      <a:pt x="122" y="70"/>
                    </a:cubicBezTo>
                    <a:cubicBezTo>
                      <a:pt x="123" y="68"/>
                      <a:pt x="125" y="66"/>
                      <a:pt x="126" y="63"/>
                    </a:cubicBezTo>
                    <a:cubicBezTo>
                      <a:pt x="126" y="62"/>
                      <a:pt x="126" y="61"/>
                      <a:pt x="126" y="60"/>
                    </a:cubicBezTo>
                    <a:cubicBezTo>
                      <a:pt x="126" y="59"/>
                      <a:pt x="126" y="59"/>
                      <a:pt x="126" y="59"/>
                    </a:cubicBezTo>
                    <a:cubicBezTo>
                      <a:pt x="126" y="58"/>
                      <a:pt x="126" y="57"/>
                      <a:pt x="126" y="55"/>
                    </a:cubicBezTo>
                    <a:cubicBezTo>
                      <a:pt x="126" y="52"/>
                      <a:pt x="127" y="49"/>
                      <a:pt x="127" y="47"/>
                    </a:cubicBezTo>
                    <a:cubicBezTo>
                      <a:pt x="128" y="46"/>
                      <a:pt x="128" y="46"/>
                      <a:pt x="128" y="46"/>
                    </a:cubicBezTo>
                    <a:cubicBezTo>
                      <a:pt x="128" y="45"/>
                      <a:pt x="129" y="43"/>
                      <a:pt x="129" y="42"/>
                    </a:cubicBezTo>
                    <a:cubicBezTo>
                      <a:pt x="129" y="40"/>
                      <a:pt x="129" y="38"/>
                      <a:pt x="128" y="36"/>
                    </a:cubicBezTo>
                    <a:cubicBezTo>
                      <a:pt x="128" y="35"/>
                      <a:pt x="128" y="35"/>
                      <a:pt x="128" y="35"/>
                    </a:cubicBezTo>
                    <a:cubicBezTo>
                      <a:pt x="128" y="30"/>
                      <a:pt x="127" y="24"/>
                      <a:pt x="129" y="19"/>
                    </a:cubicBezTo>
                    <a:cubicBezTo>
                      <a:pt x="130" y="18"/>
                      <a:pt x="130" y="17"/>
                      <a:pt x="130" y="16"/>
                    </a:cubicBezTo>
                    <a:cubicBezTo>
                      <a:pt x="132" y="14"/>
                      <a:pt x="134" y="13"/>
                      <a:pt x="137" y="13"/>
                    </a:cubicBezTo>
                    <a:cubicBezTo>
                      <a:pt x="138" y="12"/>
                      <a:pt x="138" y="12"/>
                      <a:pt x="138" y="12"/>
                    </a:cubicBezTo>
                    <a:cubicBezTo>
                      <a:pt x="138" y="10"/>
                      <a:pt x="138" y="10"/>
                      <a:pt x="138" y="10"/>
                    </a:cubicBezTo>
                    <a:cubicBezTo>
                      <a:pt x="140" y="12"/>
                      <a:pt x="140" y="12"/>
                      <a:pt x="140" y="12"/>
                    </a:cubicBezTo>
                    <a:cubicBezTo>
                      <a:pt x="141" y="12"/>
                      <a:pt x="141" y="12"/>
                      <a:pt x="141" y="12"/>
                    </a:cubicBezTo>
                    <a:cubicBezTo>
                      <a:pt x="141" y="12"/>
                      <a:pt x="142" y="12"/>
                      <a:pt x="142" y="11"/>
                    </a:cubicBezTo>
                    <a:cubicBezTo>
                      <a:pt x="145" y="8"/>
                      <a:pt x="148" y="5"/>
                      <a:pt x="151" y="3"/>
                    </a:cubicBezTo>
                    <a:cubicBezTo>
                      <a:pt x="153" y="1"/>
                      <a:pt x="153" y="1"/>
                      <a:pt x="153" y="1"/>
                    </a:cubicBezTo>
                    <a:cubicBezTo>
                      <a:pt x="153" y="0"/>
                      <a:pt x="153" y="0"/>
                      <a:pt x="153" y="0"/>
                    </a:cubicBezTo>
                    <a:cubicBezTo>
                      <a:pt x="153" y="0"/>
                      <a:pt x="153" y="0"/>
                      <a:pt x="1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175"/>
              <p:cNvSpPr/>
              <p:nvPr/>
            </p:nvSpPr>
            <p:spPr bwMode="auto">
              <a:xfrm>
                <a:off x="5625" y="878"/>
                <a:ext cx="9" cy="5"/>
              </a:xfrm>
              <a:custGeom>
                <a:gdLst>
                  <a:gd name="T0" fmla="*/ 4 w 4"/>
                  <a:gd name="T1" fmla="*/ 0 h 2"/>
                  <a:gd name="T2" fmla="*/ 0 w 4"/>
                  <a:gd name="T3" fmla="*/ 1 h 2"/>
                  <a:gd name="T4" fmla="*/ 4 w 4"/>
                  <a:gd name="T5" fmla="*/ 2 h 2"/>
                  <a:gd name="T6" fmla="*/ 4 w 4"/>
                  <a:gd name="T7" fmla="*/ 0 h 2"/>
                </a:gdLst>
                <a:cxnLst>
                  <a:cxn ang="0">
                    <a:pos x="T0" y="T1"/>
                  </a:cxn>
                  <a:cxn ang="0">
                    <a:pos x="T2" y="T3"/>
                  </a:cxn>
                  <a:cxn ang="0">
                    <a:pos x="T4" y="T5"/>
                  </a:cxn>
                  <a:cxn ang="0">
                    <a:pos x="T6" y="T7"/>
                  </a:cxn>
                </a:cxnLst>
                <a:rect l="0" t="0" r="r" b="b"/>
                <a:pathLst>
                  <a:path w="4" h="2">
                    <a:moveTo>
                      <a:pt x="4" y="0"/>
                    </a:moveTo>
                    <a:cubicBezTo>
                      <a:pt x="0" y="1"/>
                      <a:pt x="0" y="1"/>
                      <a:pt x="0" y="1"/>
                    </a:cubicBezTo>
                    <a:cubicBezTo>
                      <a:pt x="1" y="1"/>
                      <a:pt x="2" y="2"/>
                      <a:pt x="4" y="2"/>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176"/>
              <p:cNvSpPr/>
              <p:nvPr/>
            </p:nvSpPr>
            <p:spPr bwMode="auto">
              <a:xfrm>
                <a:off x="5568" y="850"/>
                <a:ext cx="68" cy="198"/>
              </a:xfrm>
              <a:custGeom>
                <a:gdLst>
                  <a:gd name="T0" fmla="*/ 29 w 29"/>
                  <a:gd name="T1" fmla="*/ 0 h 84"/>
                  <a:gd name="T2" fmla="*/ 26 w 29"/>
                  <a:gd name="T3" fmla="*/ 0 h 84"/>
                  <a:gd name="T4" fmla="*/ 25 w 29"/>
                  <a:gd name="T5" fmla="*/ 0 h 84"/>
                  <a:gd name="T6" fmla="*/ 19 w 29"/>
                  <a:gd name="T7" fmla="*/ 0 h 84"/>
                  <a:gd name="T8" fmla="*/ 19 w 29"/>
                  <a:gd name="T9" fmla="*/ 3 h 84"/>
                  <a:gd name="T10" fmla="*/ 16 w 29"/>
                  <a:gd name="T11" fmla="*/ 9 h 84"/>
                  <a:gd name="T12" fmla="*/ 5 w 29"/>
                  <a:gd name="T13" fmla="*/ 37 h 84"/>
                  <a:gd name="T14" fmla="*/ 5 w 29"/>
                  <a:gd name="T15" fmla="*/ 37 h 84"/>
                  <a:gd name="T16" fmla="*/ 0 w 29"/>
                  <a:gd name="T17" fmla="*/ 41 h 84"/>
                  <a:gd name="T18" fmla="*/ 1 w 29"/>
                  <a:gd name="T19" fmla="*/ 43 h 84"/>
                  <a:gd name="T20" fmla="*/ 0 w 29"/>
                  <a:gd name="T21" fmla="*/ 44 h 84"/>
                  <a:gd name="T22" fmla="*/ 1 w 29"/>
                  <a:gd name="T23" fmla="*/ 43 h 84"/>
                  <a:gd name="T24" fmla="*/ 2 w 29"/>
                  <a:gd name="T25" fmla="*/ 44 h 84"/>
                  <a:gd name="T26" fmla="*/ 2 w 29"/>
                  <a:gd name="T27" fmla="*/ 45 h 84"/>
                  <a:gd name="T28" fmla="*/ 2 w 29"/>
                  <a:gd name="T29" fmla="*/ 45 h 84"/>
                  <a:gd name="T30" fmla="*/ 14 w 29"/>
                  <a:gd name="T31" fmla="*/ 84 h 84"/>
                  <a:gd name="T32" fmla="*/ 18 w 29"/>
                  <a:gd name="T33" fmla="*/ 68 h 84"/>
                  <a:gd name="T34" fmla="*/ 20 w 29"/>
                  <a:gd name="T35" fmla="*/ 62 h 84"/>
                  <a:gd name="T36" fmla="*/ 22 w 29"/>
                  <a:gd name="T37" fmla="*/ 55 h 84"/>
                  <a:gd name="T38" fmla="*/ 22 w 29"/>
                  <a:gd name="T39" fmla="*/ 53 h 84"/>
                  <a:gd name="T40" fmla="*/ 23 w 29"/>
                  <a:gd name="T41" fmla="*/ 50 h 84"/>
                  <a:gd name="T42" fmla="*/ 24 w 29"/>
                  <a:gd name="T43" fmla="*/ 42 h 84"/>
                  <a:gd name="T44" fmla="*/ 25 w 29"/>
                  <a:gd name="T45" fmla="*/ 41 h 84"/>
                  <a:gd name="T46" fmla="*/ 21 w 29"/>
                  <a:gd name="T47" fmla="*/ 42 h 84"/>
                  <a:gd name="T48" fmla="*/ 21 w 29"/>
                  <a:gd name="T49" fmla="*/ 43 h 84"/>
                  <a:gd name="T50" fmla="*/ 21 w 29"/>
                  <a:gd name="T51" fmla="*/ 43 h 84"/>
                  <a:gd name="T52" fmla="*/ 20 w 29"/>
                  <a:gd name="T53" fmla="*/ 43 h 84"/>
                  <a:gd name="T54" fmla="*/ 18 w 29"/>
                  <a:gd name="T55" fmla="*/ 43 h 84"/>
                  <a:gd name="T56" fmla="*/ 18 w 29"/>
                  <a:gd name="T57" fmla="*/ 43 h 84"/>
                  <a:gd name="T58" fmla="*/ 17 w 29"/>
                  <a:gd name="T59" fmla="*/ 43 h 84"/>
                  <a:gd name="T60" fmla="*/ 15 w 29"/>
                  <a:gd name="T61" fmla="*/ 43 h 84"/>
                  <a:gd name="T62" fmla="*/ 21 w 29"/>
                  <a:gd name="T63" fmla="*/ 33 h 84"/>
                  <a:gd name="T64" fmla="*/ 22 w 29"/>
                  <a:gd name="T65" fmla="*/ 33 h 84"/>
                  <a:gd name="T66" fmla="*/ 16 w 29"/>
                  <a:gd name="T67" fmla="*/ 30 h 84"/>
                  <a:gd name="T68" fmla="*/ 18 w 29"/>
                  <a:gd name="T69" fmla="*/ 16 h 84"/>
                  <a:gd name="T70" fmla="*/ 21 w 29"/>
                  <a:gd name="T71" fmla="*/ 13 h 84"/>
                  <a:gd name="T72" fmla="*/ 22 w 29"/>
                  <a:gd name="T73" fmla="*/ 12 h 84"/>
                  <a:gd name="T74" fmla="*/ 22 w 29"/>
                  <a:gd name="T75" fmla="*/ 12 h 84"/>
                  <a:gd name="T76" fmla="*/ 29 w 29"/>
                  <a:gd name="T77" fmla="*/ 6 h 84"/>
                  <a:gd name="T78" fmla="*/ 29 w 29"/>
                  <a:gd name="T79" fmla="*/ 6 h 84"/>
                  <a:gd name="T80" fmla="*/ 29 w 29"/>
                  <a:gd name="T81" fmla="*/ 5 h 84"/>
                  <a:gd name="T82" fmla="*/ 29 w 29"/>
                  <a:gd name="T83" fmla="*/ 1 h 84"/>
                  <a:gd name="T84" fmla="*/ 29 w 29"/>
                  <a:gd name="T85" fmla="*/ 0 h 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 h="84">
                    <a:moveTo>
                      <a:pt x="29" y="0"/>
                    </a:moveTo>
                    <a:cubicBezTo>
                      <a:pt x="28" y="0"/>
                      <a:pt x="27" y="0"/>
                      <a:pt x="26" y="0"/>
                    </a:cubicBezTo>
                    <a:cubicBezTo>
                      <a:pt x="25" y="0"/>
                      <a:pt x="25" y="0"/>
                      <a:pt x="25" y="0"/>
                    </a:cubicBezTo>
                    <a:cubicBezTo>
                      <a:pt x="19" y="0"/>
                      <a:pt x="19" y="0"/>
                      <a:pt x="19" y="0"/>
                    </a:cubicBezTo>
                    <a:cubicBezTo>
                      <a:pt x="19" y="1"/>
                      <a:pt x="19" y="2"/>
                      <a:pt x="19" y="3"/>
                    </a:cubicBezTo>
                    <a:cubicBezTo>
                      <a:pt x="18" y="5"/>
                      <a:pt x="17" y="7"/>
                      <a:pt x="16" y="9"/>
                    </a:cubicBezTo>
                    <a:cubicBezTo>
                      <a:pt x="13" y="18"/>
                      <a:pt x="10" y="28"/>
                      <a:pt x="5" y="37"/>
                    </a:cubicBezTo>
                    <a:cubicBezTo>
                      <a:pt x="5" y="37"/>
                      <a:pt x="5" y="37"/>
                      <a:pt x="5" y="37"/>
                    </a:cubicBezTo>
                    <a:cubicBezTo>
                      <a:pt x="3" y="38"/>
                      <a:pt x="1" y="40"/>
                      <a:pt x="0" y="41"/>
                    </a:cubicBezTo>
                    <a:cubicBezTo>
                      <a:pt x="1" y="43"/>
                      <a:pt x="1" y="43"/>
                      <a:pt x="1" y="43"/>
                    </a:cubicBezTo>
                    <a:cubicBezTo>
                      <a:pt x="0" y="44"/>
                      <a:pt x="0" y="44"/>
                      <a:pt x="0" y="44"/>
                    </a:cubicBezTo>
                    <a:cubicBezTo>
                      <a:pt x="1" y="43"/>
                      <a:pt x="1" y="43"/>
                      <a:pt x="1" y="43"/>
                    </a:cubicBezTo>
                    <a:cubicBezTo>
                      <a:pt x="2" y="44"/>
                      <a:pt x="2" y="44"/>
                      <a:pt x="2" y="44"/>
                    </a:cubicBezTo>
                    <a:cubicBezTo>
                      <a:pt x="2" y="45"/>
                      <a:pt x="2" y="45"/>
                      <a:pt x="2" y="45"/>
                    </a:cubicBezTo>
                    <a:cubicBezTo>
                      <a:pt x="2" y="45"/>
                      <a:pt x="2" y="45"/>
                      <a:pt x="2" y="45"/>
                    </a:cubicBezTo>
                    <a:cubicBezTo>
                      <a:pt x="14" y="84"/>
                      <a:pt x="14" y="84"/>
                      <a:pt x="14" y="84"/>
                    </a:cubicBezTo>
                    <a:cubicBezTo>
                      <a:pt x="16" y="78"/>
                      <a:pt x="17" y="73"/>
                      <a:pt x="18" y="68"/>
                    </a:cubicBezTo>
                    <a:cubicBezTo>
                      <a:pt x="20" y="62"/>
                      <a:pt x="20" y="62"/>
                      <a:pt x="20" y="62"/>
                    </a:cubicBezTo>
                    <a:cubicBezTo>
                      <a:pt x="20" y="60"/>
                      <a:pt x="21" y="57"/>
                      <a:pt x="22" y="55"/>
                    </a:cubicBezTo>
                    <a:cubicBezTo>
                      <a:pt x="22" y="53"/>
                      <a:pt x="22" y="53"/>
                      <a:pt x="22" y="53"/>
                    </a:cubicBezTo>
                    <a:cubicBezTo>
                      <a:pt x="23" y="52"/>
                      <a:pt x="23" y="51"/>
                      <a:pt x="23" y="50"/>
                    </a:cubicBezTo>
                    <a:cubicBezTo>
                      <a:pt x="24" y="48"/>
                      <a:pt x="24" y="45"/>
                      <a:pt x="24" y="42"/>
                    </a:cubicBezTo>
                    <a:cubicBezTo>
                      <a:pt x="25" y="41"/>
                      <a:pt x="25" y="41"/>
                      <a:pt x="25" y="41"/>
                    </a:cubicBezTo>
                    <a:cubicBezTo>
                      <a:pt x="24" y="41"/>
                      <a:pt x="23" y="42"/>
                      <a:pt x="21" y="42"/>
                    </a:cubicBezTo>
                    <a:cubicBezTo>
                      <a:pt x="21" y="43"/>
                      <a:pt x="21" y="43"/>
                      <a:pt x="21" y="43"/>
                    </a:cubicBezTo>
                    <a:cubicBezTo>
                      <a:pt x="21" y="43"/>
                      <a:pt x="21" y="43"/>
                      <a:pt x="21" y="43"/>
                    </a:cubicBezTo>
                    <a:cubicBezTo>
                      <a:pt x="20" y="43"/>
                      <a:pt x="20" y="43"/>
                      <a:pt x="20" y="43"/>
                    </a:cubicBezTo>
                    <a:cubicBezTo>
                      <a:pt x="19" y="43"/>
                      <a:pt x="19" y="43"/>
                      <a:pt x="18" y="43"/>
                    </a:cubicBezTo>
                    <a:cubicBezTo>
                      <a:pt x="18" y="43"/>
                      <a:pt x="18" y="43"/>
                      <a:pt x="18" y="43"/>
                    </a:cubicBezTo>
                    <a:cubicBezTo>
                      <a:pt x="18" y="43"/>
                      <a:pt x="18" y="43"/>
                      <a:pt x="17" y="43"/>
                    </a:cubicBezTo>
                    <a:cubicBezTo>
                      <a:pt x="17" y="43"/>
                      <a:pt x="16" y="43"/>
                      <a:pt x="15" y="43"/>
                    </a:cubicBezTo>
                    <a:cubicBezTo>
                      <a:pt x="15" y="40"/>
                      <a:pt x="17" y="33"/>
                      <a:pt x="21" y="33"/>
                    </a:cubicBezTo>
                    <a:cubicBezTo>
                      <a:pt x="21" y="33"/>
                      <a:pt x="22" y="33"/>
                      <a:pt x="22" y="33"/>
                    </a:cubicBezTo>
                    <a:cubicBezTo>
                      <a:pt x="20" y="31"/>
                      <a:pt x="19" y="30"/>
                      <a:pt x="16" y="30"/>
                    </a:cubicBezTo>
                    <a:cubicBezTo>
                      <a:pt x="17" y="26"/>
                      <a:pt x="16" y="20"/>
                      <a:pt x="18" y="16"/>
                    </a:cubicBezTo>
                    <a:cubicBezTo>
                      <a:pt x="19" y="14"/>
                      <a:pt x="20" y="13"/>
                      <a:pt x="21" y="13"/>
                    </a:cubicBezTo>
                    <a:cubicBezTo>
                      <a:pt x="22" y="12"/>
                      <a:pt x="22" y="12"/>
                      <a:pt x="22" y="12"/>
                    </a:cubicBezTo>
                    <a:cubicBezTo>
                      <a:pt x="22" y="12"/>
                      <a:pt x="22" y="12"/>
                      <a:pt x="22" y="12"/>
                    </a:cubicBezTo>
                    <a:cubicBezTo>
                      <a:pt x="29" y="6"/>
                      <a:pt x="29" y="6"/>
                      <a:pt x="29" y="6"/>
                    </a:cubicBezTo>
                    <a:cubicBezTo>
                      <a:pt x="29" y="6"/>
                      <a:pt x="29" y="6"/>
                      <a:pt x="29" y="6"/>
                    </a:cubicBezTo>
                    <a:cubicBezTo>
                      <a:pt x="29" y="5"/>
                      <a:pt x="29" y="5"/>
                      <a:pt x="29" y="5"/>
                    </a:cubicBezTo>
                    <a:cubicBezTo>
                      <a:pt x="29" y="4"/>
                      <a:pt x="29" y="3"/>
                      <a:pt x="29" y="1"/>
                    </a:cubicBezTo>
                    <a:cubicBezTo>
                      <a:pt x="29" y="0"/>
                      <a:pt x="29"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177"/>
              <p:cNvSpPr/>
              <p:nvPr/>
            </p:nvSpPr>
            <p:spPr bwMode="auto">
              <a:xfrm>
                <a:off x="6147" y="585"/>
                <a:ext cx="2"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178"/>
              <p:cNvSpPr/>
              <p:nvPr/>
            </p:nvSpPr>
            <p:spPr bwMode="auto">
              <a:xfrm>
                <a:off x="6147" y="585"/>
                <a:ext cx="2"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179"/>
              <p:cNvSpPr/>
              <p:nvPr/>
            </p:nvSpPr>
            <p:spPr bwMode="auto">
              <a:xfrm>
                <a:off x="5110" y="268"/>
                <a:ext cx="1037" cy="395"/>
              </a:xfrm>
              <a:custGeom>
                <a:gdLst>
                  <a:gd name="T0" fmla="*/ 194 w 439"/>
                  <a:gd name="T1" fmla="*/ 2 h 167"/>
                  <a:gd name="T2" fmla="*/ 156 w 439"/>
                  <a:gd name="T3" fmla="*/ 6 h 167"/>
                  <a:gd name="T4" fmla="*/ 102 w 439"/>
                  <a:gd name="T5" fmla="*/ 24 h 167"/>
                  <a:gd name="T6" fmla="*/ 75 w 439"/>
                  <a:gd name="T7" fmla="*/ 23 h 167"/>
                  <a:gd name="T8" fmla="*/ 82 w 439"/>
                  <a:gd name="T9" fmla="*/ 36 h 167"/>
                  <a:gd name="T10" fmla="*/ 66 w 439"/>
                  <a:gd name="T11" fmla="*/ 47 h 167"/>
                  <a:gd name="T12" fmla="*/ 43 w 439"/>
                  <a:gd name="T13" fmla="*/ 47 h 167"/>
                  <a:gd name="T14" fmla="*/ 28 w 439"/>
                  <a:gd name="T15" fmla="*/ 45 h 167"/>
                  <a:gd name="T16" fmla="*/ 1 w 439"/>
                  <a:gd name="T17" fmla="*/ 72 h 167"/>
                  <a:gd name="T18" fmla="*/ 17 w 439"/>
                  <a:gd name="T19" fmla="*/ 81 h 167"/>
                  <a:gd name="T20" fmla="*/ 17 w 439"/>
                  <a:gd name="T21" fmla="*/ 92 h 167"/>
                  <a:gd name="T22" fmla="*/ 13 w 439"/>
                  <a:gd name="T23" fmla="*/ 97 h 167"/>
                  <a:gd name="T24" fmla="*/ 8 w 439"/>
                  <a:gd name="T25" fmla="*/ 103 h 167"/>
                  <a:gd name="T26" fmla="*/ 5 w 439"/>
                  <a:gd name="T27" fmla="*/ 105 h 167"/>
                  <a:gd name="T28" fmla="*/ 28 w 439"/>
                  <a:gd name="T29" fmla="*/ 120 h 167"/>
                  <a:gd name="T30" fmla="*/ 34 w 439"/>
                  <a:gd name="T31" fmla="*/ 137 h 167"/>
                  <a:gd name="T32" fmla="*/ 30 w 439"/>
                  <a:gd name="T33" fmla="*/ 140 h 167"/>
                  <a:gd name="T34" fmla="*/ 31 w 439"/>
                  <a:gd name="T35" fmla="*/ 147 h 167"/>
                  <a:gd name="T36" fmla="*/ 47 w 439"/>
                  <a:gd name="T37" fmla="*/ 149 h 167"/>
                  <a:gd name="T38" fmla="*/ 56 w 439"/>
                  <a:gd name="T39" fmla="*/ 144 h 167"/>
                  <a:gd name="T40" fmla="*/ 77 w 439"/>
                  <a:gd name="T41" fmla="*/ 159 h 167"/>
                  <a:gd name="T42" fmla="*/ 102 w 439"/>
                  <a:gd name="T43" fmla="*/ 160 h 167"/>
                  <a:gd name="T44" fmla="*/ 112 w 439"/>
                  <a:gd name="T45" fmla="*/ 143 h 167"/>
                  <a:gd name="T46" fmla="*/ 175 w 439"/>
                  <a:gd name="T47" fmla="*/ 162 h 167"/>
                  <a:gd name="T48" fmla="*/ 214 w 439"/>
                  <a:gd name="T49" fmla="*/ 149 h 167"/>
                  <a:gd name="T50" fmla="*/ 233 w 439"/>
                  <a:gd name="T51" fmla="*/ 143 h 167"/>
                  <a:gd name="T52" fmla="*/ 236 w 439"/>
                  <a:gd name="T53" fmla="*/ 167 h 167"/>
                  <a:gd name="T54" fmla="*/ 241 w 439"/>
                  <a:gd name="T55" fmla="*/ 163 h 167"/>
                  <a:gd name="T56" fmla="*/ 244 w 439"/>
                  <a:gd name="T57" fmla="*/ 154 h 167"/>
                  <a:gd name="T58" fmla="*/ 264 w 439"/>
                  <a:gd name="T59" fmla="*/ 146 h 167"/>
                  <a:gd name="T60" fmla="*/ 290 w 439"/>
                  <a:gd name="T61" fmla="*/ 140 h 167"/>
                  <a:gd name="T62" fmla="*/ 299 w 439"/>
                  <a:gd name="T63" fmla="*/ 143 h 167"/>
                  <a:gd name="T64" fmla="*/ 315 w 439"/>
                  <a:gd name="T65" fmla="*/ 145 h 167"/>
                  <a:gd name="T66" fmla="*/ 338 w 439"/>
                  <a:gd name="T67" fmla="*/ 137 h 167"/>
                  <a:gd name="T68" fmla="*/ 382 w 439"/>
                  <a:gd name="T69" fmla="*/ 130 h 167"/>
                  <a:gd name="T70" fmla="*/ 401 w 439"/>
                  <a:gd name="T71" fmla="*/ 126 h 167"/>
                  <a:gd name="T72" fmla="*/ 405 w 439"/>
                  <a:gd name="T73" fmla="*/ 127 h 167"/>
                  <a:gd name="T74" fmla="*/ 431 w 439"/>
                  <a:gd name="T75" fmla="*/ 133 h 167"/>
                  <a:gd name="T76" fmla="*/ 436 w 439"/>
                  <a:gd name="T77" fmla="*/ 134 h 167"/>
                  <a:gd name="T78" fmla="*/ 438 w 439"/>
                  <a:gd name="T79" fmla="*/ 132 h 167"/>
                  <a:gd name="T80" fmla="*/ 434 w 439"/>
                  <a:gd name="T81" fmla="*/ 122 h 167"/>
                  <a:gd name="T82" fmla="*/ 432 w 439"/>
                  <a:gd name="T83" fmla="*/ 120 h 167"/>
                  <a:gd name="T84" fmla="*/ 427 w 439"/>
                  <a:gd name="T85" fmla="*/ 117 h 167"/>
                  <a:gd name="T86" fmla="*/ 427 w 439"/>
                  <a:gd name="T87" fmla="*/ 106 h 167"/>
                  <a:gd name="T88" fmla="*/ 423 w 439"/>
                  <a:gd name="T89" fmla="*/ 84 h 167"/>
                  <a:gd name="T90" fmla="*/ 430 w 439"/>
                  <a:gd name="T91" fmla="*/ 71 h 167"/>
                  <a:gd name="T92" fmla="*/ 422 w 439"/>
                  <a:gd name="T93" fmla="*/ 59 h 167"/>
                  <a:gd name="T94" fmla="*/ 412 w 439"/>
                  <a:gd name="T95" fmla="*/ 51 h 167"/>
                  <a:gd name="T96" fmla="*/ 412 w 439"/>
                  <a:gd name="T97" fmla="*/ 40 h 167"/>
                  <a:gd name="T98" fmla="*/ 412 w 439"/>
                  <a:gd name="T99" fmla="*/ 35 h 167"/>
                  <a:gd name="T100" fmla="*/ 410 w 439"/>
                  <a:gd name="T101" fmla="*/ 31 h 167"/>
                  <a:gd name="T102" fmla="*/ 399 w 439"/>
                  <a:gd name="T103" fmla="*/ 21 h 167"/>
                  <a:gd name="T104" fmla="*/ 392 w 439"/>
                  <a:gd name="T105" fmla="*/ 16 h 167"/>
                  <a:gd name="T106" fmla="*/ 378 w 439"/>
                  <a:gd name="T107" fmla="*/ 19 h 167"/>
                  <a:gd name="T108" fmla="*/ 369 w 439"/>
                  <a:gd name="T109" fmla="*/ 18 h 167"/>
                  <a:gd name="T110" fmla="*/ 351 w 439"/>
                  <a:gd name="T111" fmla="*/ 24 h 167"/>
                  <a:gd name="T112" fmla="*/ 329 w 439"/>
                  <a:gd name="T113" fmla="*/ 31 h 167"/>
                  <a:gd name="T114" fmla="*/ 315 w 439"/>
                  <a:gd name="T115" fmla="*/ 27 h 167"/>
                  <a:gd name="T116" fmla="*/ 307 w 439"/>
                  <a:gd name="T117" fmla="*/ 28 h 167"/>
                  <a:gd name="T118" fmla="*/ 253 w 439"/>
                  <a:gd name="T119" fmla="*/ 19 h 167"/>
                  <a:gd name="T120" fmla="*/ 232 w 439"/>
                  <a:gd name="T121" fmla="*/ 10 h 167"/>
                  <a:gd name="T122" fmla="*/ 216 w 439"/>
                  <a:gd name="T123" fmla="*/ 1 h 1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9" h="167">
                    <a:moveTo>
                      <a:pt x="213" y="0"/>
                    </a:moveTo>
                    <a:cubicBezTo>
                      <a:pt x="212" y="0"/>
                      <a:pt x="210" y="1"/>
                      <a:pt x="208" y="1"/>
                    </a:cubicBezTo>
                    <a:cubicBezTo>
                      <a:pt x="206" y="2"/>
                      <a:pt x="203" y="3"/>
                      <a:pt x="201" y="3"/>
                    </a:cubicBezTo>
                    <a:cubicBezTo>
                      <a:pt x="200" y="3"/>
                      <a:pt x="198" y="3"/>
                      <a:pt x="197" y="3"/>
                    </a:cubicBezTo>
                    <a:cubicBezTo>
                      <a:pt x="196" y="2"/>
                      <a:pt x="195" y="2"/>
                      <a:pt x="194" y="2"/>
                    </a:cubicBezTo>
                    <a:cubicBezTo>
                      <a:pt x="194" y="2"/>
                      <a:pt x="194" y="2"/>
                      <a:pt x="194" y="2"/>
                    </a:cubicBezTo>
                    <a:cubicBezTo>
                      <a:pt x="194" y="2"/>
                      <a:pt x="193" y="2"/>
                      <a:pt x="193" y="2"/>
                    </a:cubicBezTo>
                    <a:cubicBezTo>
                      <a:pt x="187" y="2"/>
                      <a:pt x="181" y="2"/>
                      <a:pt x="175" y="1"/>
                    </a:cubicBezTo>
                    <a:cubicBezTo>
                      <a:pt x="175" y="1"/>
                      <a:pt x="174" y="1"/>
                      <a:pt x="173" y="1"/>
                    </a:cubicBezTo>
                    <a:cubicBezTo>
                      <a:pt x="167" y="1"/>
                      <a:pt x="162" y="5"/>
                      <a:pt x="156" y="6"/>
                    </a:cubicBezTo>
                    <a:cubicBezTo>
                      <a:pt x="149" y="7"/>
                      <a:pt x="145" y="11"/>
                      <a:pt x="139" y="14"/>
                    </a:cubicBezTo>
                    <a:cubicBezTo>
                      <a:pt x="136" y="16"/>
                      <a:pt x="133" y="18"/>
                      <a:pt x="130" y="20"/>
                    </a:cubicBezTo>
                    <a:cubicBezTo>
                      <a:pt x="128" y="22"/>
                      <a:pt x="125" y="26"/>
                      <a:pt x="123" y="26"/>
                    </a:cubicBezTo>
                    <a:cubicBezTo>
                      <a:pt x="120" y="27"/>
                      <a:pt x="118" y="27"/>
                      <a:pt x="115" y="27"/>
                    </a:cubicBezTo>
                    <a:cubicBezTo>
                      <a:pt x="111" y="27"/>
                      <a:pt x="107" y="26"/>
                      <a:pt x="102" y="24"/>
                    </a:cubicBezTo>
                    <a:cubicBezTo>
                      <a:pt x="101" y="24"/>
                      <a:pt x="100" y="24"/>
                      <a:pt x="99" y="24"/>
                    </a:cubicBezTo>
                    <a:cubicBezTo>
                      <a:pt x="96" y="24"/>
                      <a:pt x="93" y="25"/>
                      <a:pt x="91" y="25"/>
                    </a:cubicBezTo>
                    <a:cubicBezTo>
                      <a:pt x="90" y="25"/>
                      <a:pt x="90" y="25"/>
                      <a:pt x="90" y="25"/>
                    </a:cubicBezTo>
                    <a:cubicBezTo>
                      <a:pt x="87" y="25"/>
                      <a:pt x="84" y="24"/>
                      <a:pt x="81" y="24"/>
                    </a:cubicBezTo>
                    <a:cubicBezTo>
                      <a:pt x="80" y="24"/>
                      <a:pt x="77" y="23"/>
                      <a:pt x="75" y="23"/>
                    </a:cubicBezTo>
                    <a:cubicBezTo>
                      <a:pt x="74" y="23"/>
                      <a:pt x="73" y="23"/>
                      <a:pt x="73" y="24"/>
                    </a:cubicBezTo>
                    <a:cubicBezTo>
                      <a:pt x="73" y="24"/>
                      <a:pt x="73" y="24"/>
                      <a:pt x="73" y="24"/>
                    </a:cubicBezTo>
                    <a:cubicBezTo>
                      <a:pt x="74" y="25"/>
                      <a:pt x="75" y="27"/>
                      <a:pt x="75" y="29"/>
                    </a:cubicBezTo>
                    <a:cubicBezTo>
                      <a:pt x="75" y="30"/>
                      <a:pt x="75" y="31"/>
                      <a:pt x="74" y="32"/>
                    </a:cubicBezTo>
                    <a:cubicBezTo>
                      <a:pt x="77" y="34"/>
                      <a:pt x="78" y="35"/>
                      <a:pt x="82" y="36"/>
                    </a:cubicBezTo>
                    <a:cubicBezTo>
                      <a:pt x="84" y="36"/>
                      <a:pt x="87" y="36"/>
                      <a:pt x="90" y="37"/>
                    </a:cubicBezTo>
                    <a:cubicBezTo>
                      <a:pt x="85" y="38"/>
                      <a:pt x="79" y="38"/>
                      <a:pt x="74" y="39"/>
                    </a:cubicBezTo>
                    <a:cubicBezTo>
                      <a:pt x="71" y="40"/>
                      <a:pt x="66" y="40"/>
                      <a:pt x="64" y="42"/>
                    </a:cubicBezTo>
                    <a:cubicBezTo>
                      <a:pt x="67" y="43"/>
                      <a:pt x="71" y="43"/>
                      <a:pt x="73" y="45"/>
                    </a:cubicBezTo>
                    <a:cubicBezTo>
                      <a:pt x="71" y="47"/>
                      <a:pt x="69" y="47"/>
                      <a:pt x="66" y="47"/>
                    </a:cubicBezTo>
                    <a:cubicBezTo>
                      <a:pt x="64" y="47"/>
                      <a:pt x="62" y="47"/>
                      <a:pt x="60" y="47"/>
                    </a:cubicBezTo>
                    <a:cubicBezTo>
                      <a:pt x="56" y="47"/>
                      <a:pt x="53" y="46"/>
                      <a:pt x="50" y="46"/>
                    </a:cubicBezTo>
                    <a:cubicBezTo>
                      <a:pt x="48" y="46"/>
                      <a:pt x="46" y="46"/>
                      <a:pt x="44" y="47"/>
                    </a:cubicBezTo>
                    <a:cubicBezTo>
                      <a:pt x="45" y="42"/>
                      <a:pt x="43" y="43"/>
                      <a:pt x="40" y="43"/>
                    </a:cubicBezTo>
                    <a:cubicBezTo>
                      <a:pt x="41" y="44"/>
                      <a:pt x="42" y="45"/>
                      <a:pt x="43" y="47"/>
                    </a:cubicBezTo>
                    <a:cubicBezTo>
                      <a:pt x="41" y="47"/>
                      <a:pt x="39" y="48"/>
                      <a:pt x="37" y="48"/>
                    </a:cubicBezTo>
                    <a:cubicBezTo>
                      <a:pt x="36" y="48"/>
                      <a:pt x="36" y="48"/>
                      <a:pt x="35" y="48"/>
                    </a:cubicBezTo>
                    <a:cubicBezTo>
                      <a:pt x="34" y="48"/>
                      <a:pt x="33" y="47"/>
                      <a:pt x="31" y="46"/>
                    </a:cubicBezTo>
                    <a:cubicBezTo>
                      <a:pt x="30" y="45"/>
                      <a:pt x="30" y="44"/>
                      <a:pt x="29" y="44"/>
                    </a:cubicBezTo>
                    <a:cubicBezTo>
                      <a:pt x="28" y="44"/>
                      <a:pt x="28" y="44"/>
                      <a:pt x="28" y="45"/>
                    </a:cubicBezTo>
                    <a:cubicBezTo>
                      <a:pt x="23" y="46"/>
                      <a:pt x="18" y="48"/>
                      <a:pt x="13" y="50"/>
                    </a:cubicBezTo>
                    <a:cubicBezTo>
                      <a:pt x="9" y="52"/>
                      <a:pt x="4" y="56"/>
                      <a:pt x="3" y="59"/>
                    </a:cubicBezTo>
                    <a:cubicBezTo>
                      <a:pt x="2" y="62"/>
                      <a:pt x="3" y="65"/>
                      <a:pt x="3" y="67"/>
                    </a:cubicBezTo>
                    <a:cubicBezTo>
                      <a:pt x="3" y="68"/>
                      <a:pt x="1" y="69"/>
                      <a:pt x="1" y="70"/>
                    </a:cubicBezTo>
                    <a:cubicBezTo>
                      <a:pt x="1" y="71"/>
                      <a:pt x="0" y="71"/>
                      <a:pt x="1" y="72"/>
                    </a:cubicBezTo>
                    <a:cubicBezTo>
                      <a:pt x="1" y="72"/>
                      <a:pt x="1" y="72"/>
                      <a:pt x="2" y="72"/>
                    </a:cubicBezTo>
                    <a:cubicBezTo>
                      <a:pt x="4" y="72"/>
                      <a:pt x="7" y="71"/>
                      <a:pt x="8" y="71"/>
                    </a:cubicBezTo>
                    <a:cubicBezTo>
                      <a:pt x="12" y="70"/>
                      <a:pt x="16" y="70"/>
                      <a:pt x="21" y="70"/>
                    </a:cubicBezTo>
                    <a:cubicBezTo>
                      <a:pt x="19" y="72"/>
                      <a:pt x="17" y="75"/>
                      <a:pt x="14" y="77"/>
                    </a:cubicBezTo>
                    <a:cubicBezTo>
                      <a:pt x="15" y="78"/>
                      <a:pt x="17" y="79"/>
                      <a:pt x="17" y="81"/>
                    </a:cubicBezTo>
                    <a:cubicBezTo>
                      <a:pt x="17" y="82"/>
                      <a:pt x="17" y="84"/>
                      <a:pt x="18" y="85"/>
                    </a:cubicBezTo>
                    <a:cubicBezTo>
                      <a:pt x="19" y="87"/>
                      <a:pt x="22" y="86"/>
                      <a:pt x="24" y="87"/>
                    </a:cubicBezTo>
                    <a:cubicBezTo>
                      <a:pt x="22" y="90"/>
                      <a:pt x="21" y="92"/>
                      <a:pt x="18" y="92"/>
                    </a:cubicBezTo>
                    <a:cubicBezTo>
                      <a:pt x="18" y="92"/>
                      <a:pt x="18" y="92"/>
                      <a:pt x="18" y="92"/>
                    </a:cubicBezTo>
                    <a:cubicBezTo>
                      <a:pt x="18" y="92"/>
                      <a:pt x="18" y="92"/>
                      <a:pt x="17" y="92"/>
                    </a:cubicBezTo>
                    <a:cubicBezTo>
                      <a:pt x="17" y="92"/>
                      <a:pt x="16" y="92"/>
                      <a:pt x="16" y="93"/>
                    </a:cubicBezTo>
                    <a:cubicBezTo>
                      <a:pt x="17" y="97"/>
                      <a:pt x="21" y="100"/>
                      <a:pt x="25" y="101"/>
                    </a:cubicBezTo>
                    <a:cubicBezTo>
                      <a:pt x="23" y="102"/>
                      <a:pt x="21" y="102"/>
                      <a:pt x="19" y="102"/>
                    </a:cubicBezTo>
                    <a:cubicBezTo>
                      <a:pt x="18" y="102"/>
                      <a:pt x="16" y="102"/>
                      <a:pt x="14" y="101"/>
                    </a:cubicBezTo>
                    <a:cubicBezTo>
                      <a:pt x="13" y="100"/>
                      <a:pt x="13" y="98"/>
                      <a:pt x="13" y="97"/>
                    </a:cubicBezTo>
                    <a:cubicBezTo>
                      <a:pt x="12" y="96"/>
                      <a:pt x="12" y="95"/>
                      <a:pt x="11" y="95"/>
                    </a:cubicBezTo>
                    <a:cubicBezTo>
                      <a:pt x="11" y="94"/>
                      <a:pt x="10" y="94"/>
                      <a:pt x="10" y="94"/>
                    </a:cubicBezTo>
                    <a:cubicBezTo>
                      <a:pt x="9" y="94"/>
                      <a:pt x="9" y="96"/>
                      <a:pt x="10" y="98"/>
                    </a:cubicBezTo>
                    <a:cubicBezTo>
                      <a:pt x="10" y="99"/>
                      <a:pt x="11" y="102"/>
                      <a:pt x="9" y="103"/>
                    </a:cubicBezTo>
                    <a:cubicBezTo>
                      <a:pt x="9" y="103"/>
                      <a:pt x="9" y="103"/>
                      <a:pt x="8" y="103"/>
                    </a:cubicBezTo>
                    <a:cubicBezTo>
                      <a:pt x="8" y="103"/>
                      <a:pt x="8" y="103"/>
                      <a:pt x="8" y="103"/>
                    </a:cubicBezTo>
                    <a:cubicBezTo>
                      <a:pt x="8" y="103"/>
                      <a:pt x="8" y="103"/>
                      <a:pt x="8" y="103"/>
                    </a:cubicBezTo>
                    <a:cubicBezTo>
                      <a:pt x="7" y="103"/>
                      <a:pt x="7" y="103"/>
                      <a:pt x="7" y="103"/>
                    </a:cubicBezTo>
                    <a:cubicBezTo>
                      <a:pt x="6" y="102"/>
                      <a:pt x="6" y="102"/>
                      <a:pt x="6" y="102"/>
                    </a:cubicBezTo>
                    <a:cubicBezTo>
                      <a:pt x="6" y="103"/>
                      <a:pt x="5" y="105"/>
                      <a:pt x="5" y="105"/>
                    </a:cubicBezTo>
                    <a:cubicBezTo>
                      <a:pt x="7" y="106"/>
                      <a:pt x="10" y="107"/>
                      <a:pt x="13" y="107"/>
                    </a:cubicBezTo>
                    <a:cubicBezTo>
                      <a:pt x="13" y="107"/>
                      <a:pt x="13" y="107"/>
                      <a:pt x="14" y="107"/>
                    </a:cubicBezTo>
                    <a:cubicBezTo>
                      <a:pt x="14" y="107"/>
                      <a:pt x="14" y="107"/>
                      <a:pt x="14" y="107"/>
                    </a:cubicBezTo>
                    <a:cubicBezTo>
                      <a:pt x="18" y="107"/>
                      <a:pt x="21" y="110"/>
                      <a:pt x="24" y="112"/>
                    </a:cubicBezTo>
                    <a:cubicBezTo>
                      <a:pt x="27" y="113"/>
                      <a:pt x="31" y="116"/>
                      <a:pt x="28" y="120"/>
                    </a:cubicBezTo>
                    <a:cubicBezTo>
                      <a:pt x="27" y="121"/>
                      <a:pt x="24" y="121"/>
                      <a:pt x="23" y="122"/>
                    </a:cubicBezTo>
                    <a:cubicBezTo>
                      <a:pt x="26" y="124"/>
                      <a:pt x="29" y="125"/>
                      <a:pt x="27" y="130"/>
                    </a:cubicBezTo>
                    <a:cubicBezTo>
                      <a:pt x="29" y="130"/>
                      <a:pt x="35" y="129"/>
                      <a:pt x="37" y="132"/>
                    </a:cubicBezTo>
                    <a:cubicBezTo>
                      <a:pt x="38" y="133"/>
                      <a:pt x="36" y="137"/>
                      <a:pt x="34" y="137"/>
                    </a:cubicBezTo>
                    <a:cubicBezTo>
                      <a:pt x="34" y="137"/>
                      <a:pt x="34" y="137"/>
                      <a:pt x="34" y="137"/>
                    </a:cubicBezTo>
                    <a:cubicBezTo>
                      <a:pt x="33" y="137"/>
                      <a:pt x="32" y="137"/>
                      <a:pt x="32" y="137"/>
                    </a:cubicBezTo>
                    <a:cubicBezTo>
                      <a:pt x="31" y="136"/>
                      <a:pt x="31" y="136"/>
                      <a:pt x="30" y="136"/>
                    </a:cubicBezTo>
                    <a:cubicBezTo>
                      <a:pt x="30" y="136"/>
                      <a:pt x="30" y="136"/>
                      <a:pt x="30" y="136"/>
                    </a:cubicBezTo>
                    <a:cubicBezTo>
                      <a:pt x="28" y="137"/>
                      <a:pt x="27" y="138"/>
                      <a:pt x="28" y="140"/>
                    </a:cubicBezTo>
                    <a:cubicBezTo>
                      <a:pt x="29" y="140"/>
                      <a:pt x="29" y="140"/>
                      <a:pt x="30" y="140"/>
                    </a:cubicBezTo>
                    <a:cubicBezTo>
                      <a:pt x="38" y="140"/>
                      <a:pt x="45" y="139"/>
                      <a:pt x="53" y="138"/>
                    </a:cubicBezTo>
                    <a:cubicBezTo>
                      <a:pt x="50" y="141"/>
                      <a:pt x="49" y="144"/>
                      <a:pt x="44" y="145"/>
                    </a:cubicBezTo>
                    <a:cubicBezTo>
                      <a:pt x="43" y="145"/>
                      <a:pt x="41" y="145"/>
                      <a:pt x="40" y="145"/>
                    </a:cubicBezTo>
                    <a:cubicBezTo>
                      <a:pt x="38" y="145"/>
                      <a:pt x="38" y="146"/>
                      <a:pt x="36" y="146"/>
                    </a:cubicBezTo>
                    <a:cubicBezTo>
                      <a:pt x="34" y="146"/>
                      <a:pt x="33" y="147"/>
                      <a:pt x="31" y="147"/>
                    </a:cubicBezTo>
                    <a:cubicBezTo>
                      <a:pt x="31" y="148"/>
                      <a:pt x="32" y="148"/>
                      <a:pt x="33" y="148"/>
                    </a:cubicBezTo>
                    <a:cubicBezTo>
                      <a:pt x="37" y="148"/>
                      <a:pt x="47" y="145"/>
                      <a:pt x="48" y="145"/>
                    </a:cubicBezTo>
                    <a:cubicBezTo>
                      <a:pt x="47" y="146"/>
                      <a:pt x="46" y="147"/>
                      <a:pt x="45" y="148"/>
                    </a:cubicBezTo>
                    <a:cubicBezTo>
                      <a:pt x="46" y="148"/>
                      <a:pt x="46" y="148"/>
                      <a:pt x="46" y="148"/>
                    </a:cubicBezTo>
                    <a:cubicBezTo>
                      <a:pt x="47" y="148"/>
                      <a:pt x="47" y="148"/>
                      <a:pt x="47" y="149"/>
                    </a:cubicBezTo>
                    <a:cubicBezTo>
                      <a:pt x="48" y="149"/>
                      <a:pt x="48" y="149"/>
                      <a:pt x="48" y="149"/>
                    </a:cubicBezTo>
                    <a:cubicBezTo>
                      <a:pt x="47" y="150"/>
                      <a:pt x="45" y="151"/>
                      <a:pt x="45" y="151"/>
                    </a:cubicBezTo>
                    <a:cubicBezTo>
                      <a:pt x="45" y="151"/>
                      <a:pt x="45" y="151"/>
                      <a:pt x="45" y="151"/>
                    </a:cubicBezTo>
                    <a:cubicBezTo>
                      <a:pt x="46" y="151"/>
                      <a:pt x="52" y="146"/>
                      <a:pt x="52" y="146"/>
                    </a:cubicBezTo>
                    <a:cubicBezTo>
                      <a:pt x="54" y="144"/>
                      <a:pt x="55" y="144"/>
                      <a:pt x="56" y="144"/>
                    </a:cubicBezTo>
                    <a:cubicBezTo>
                      <a:pt x="57" y="144"/>
                      <a:pt x="58" y="144"/>
                      <a:pt x="59" y="144"/>
                    </a:cubicBezTo>
                    <a:cubicBezTo>
                      <a:pt x="62" y="145"/>
                      <a:pt x="59" y="147"/>
                      <a:pt x="63" y="148"/>
                    </a:cubicBezTo>
                    <a:cubicBezTo>
                      <a:pt x="65" y="148"/>
                      <a:pt x="66" y="150"/>
                      <a:pt x="66" y="150"/>
                    </a:cubicBezTo>
                    <a:cubicBezTo>
                      <a:pt x="67" y="150"/>
                      <a:pt x="67" y="149"/>
                      <a:pt x="68" y="146"/>
                    </a:cubicBezTo>
                    <a:cubicBezTo>
                      <a:pt x="70" y="149"/>
                      <a:pt x="73" y="158"/>
                      <a:pt x="77" y="159"/>
                    </a:cubicBezTo>
                    <a:cubicBezTo>
                      <a:pt x="80" y="160"/>
                      <a:pt x="84" y="161"/>
                      <a:pt x="87" y="162"/>
                    </a:cubicBezTo>
                    <a:cubicBezTo>
                      <a:pt x="88" y="162"/>
                      <a:pt x="88" y="162"/>
                      <a:pt x="88" y="162"/>
                    </a:cubicBezTo>
                    <a:cubicBezTo>
                      <a:pt x="90" y="162"/>
                      <a:pt x="94" y="160"/>
                      <a:pt x="95" y="160"/>
                    </a:cubicBezTo>
                    <a:cubicBezTo>
                      <a:pt x="96" y="160"/>
                      <a:pt x="97" y="158"/>
                      <a:pt x="98" y="158"/>
                    </a:cubicBezTo>
                    <a:cubicBezTo>
                      <a:pt x="100" y="158"/>
                      <a:pt x="101" y="160"/>
                      <a:pt x="102" y="160"/>
                    </a:cubicBezTo>
                    <a:cubicBezTo>
                      <a:pt x="102" y="160"/>
                      <a:pt x="102" y="160"/>
                      <a:pt x="102" y="160"/>
                    </a:cubicBezTo>
                    <a:cubicBezTo>
                      <a:pt x="103" y="160"/>
                      <a:pt x="104" y="160"/>
                      <a:pt x="105" y="158"/>
                    </a:cubicBezTo>
                    <a:cubicBezTo>
                      <a:pt x="105" y="155"/>
                      <a:pt x="105" y="146"/>
                      <a:pt x="107" y="144"/>
                    </a:cubicBezTo>
                    <a:cubicBezTo>
                      <a:pt x="108" y="143"/>
                      <a:pt x="109" y="143"/>
                      <a:pt x="110" y="143"/>
                    </a:cubicBezTo>
                    <a:cubicBezTo>
                      <a:pt x="110" y="143"/>
                      <a:pt x="111" y="143"/>
                      <a:pt x="112" y="143"/>
                    </a:cubicBezTo>
                    <a:cubicBezTo>
                      <a:pt x="118" y="144"/>
                      <a:pt x="123" y="145"/>
                      <a:pt x="129" y="147"/>
                    </a:cubicBezTo>
                    <a:cubicBezTo>
                      <a:pt x="134" y="150"/>
                      <a:pt x="139" y="153"/>
                      <a:pt x="144" y="157"/>
                    </a:cubicBezTo>
                    <a:cubicBezTo>
                      <a:pt x="148" y="159"/>
                      <a:pt x="151" y="164"/>
                      <a:pt x="156" y="164"/>
                    </a:cubicBezTo>
                    <a:cubicBezTo>
                      <a:pt x="156" y="164"/>
                      <a:pt x="156" y="164"/>
                      <a:pt x="156" y="164"/>
                    </a:cubicBezTo>
                    <a:cubicBezTo>
                      <a:pt x="162" y="164"/>
                      <a:pt x="169" y="162"/>
                      <a:pt x="175" y="162"/>
                    </a:cubicBezTo>
                    <a:cubicBezTo>
                      <a:pt x="175" y="162"/>
                      <a:pt x="175" y="162"/>
                      <a:pt x="175" y="162"/>
                    </a:cubicBezTo>
                    <a:cubicBezTo>
                      <a:pt x="175" y="162"/>
                      <a:pt x="176" y="162"/>
                      <a:pt x="176" y="162"/>
                    </a:cubicBezTo>
                    <a:cubicBezTo>
                      <a:pt x="182" y="162"/>
                      <a:pt x="186" y="162"/>
                      <a:pt x="189" y="157"/>
                    </a:cubicBezTo>
                    <a:cubicBezTo>
                      <a:pt x="194" y="151"/>
                      <a:pt x="199" y="148"/>
                      <a:pt x="206" y="145"/>
                    </a:cubicBezTo>
                    <a:cubicBezTo>
                      <a:pt x="206" y="145"/>
                      <a:pt x="214" y="149"/>
                      <a:pt x="214" y="149"/>
                    </a:cubicBezTo>
                    <a:cubicBezTo>
                      <a:pt x="215" y="150"/>
                      <a:pt x="216" y="150"/>
                      <a:pt x="216" y="150"/>
                    </a:cubicBezTo>
                    <a:cubicBezTo>
                      <a:pt x="217" y="151"/>
                      <a:pt x="218" y="152"/>
                      <a:pt x="219" y="152"/>
                    </a:cubicBezTo>
                    <a:cubicBezTo>
                      <a:pt x="219" y="152"/>
                      <a:pt x="219" y="152"/>
                      <a:pt x="219" y="152"/>
                    </a:cubicBezTo>
                    <a:cubicBezTo>
                      <a:pt x="221" y="152"/>
                      <a:pt x="224" y="149"/>
                      <a:pt x="226" y="147"/>
                    </a:cubicBezTo>
                    <a:cubicBezTo>
                      <a:pt x="229" y="145"/>
                      <a:pt x="231" y="143"/>
                      <a:pt x="233" y="143"/>
                    </a:cubicBezTo>
                    <a:cubicBezTo>
                      <a:pt x="233" y="143"/>
                      <a:pt x="233" y="143"/>
                      <a:pt x="233" y="143"/>
                    </a:cubicBezTo>
                    <a:cubicBezTo>
                      <a:pt x="245" y="143"/>
                      <a:pt x="234" y="154"/>
                      <a:pt x="231" y="158"/>
                    </a:cubicBezTo>
                    <a:cubicBezTo>
                      <a:pt x="229" y="161"/>
                      <a:pt x="233" y="163"/>
                      <a:pt x="234" y="166"/>
                    </a:cubicBezTo>
                    <a:cubicBezTo>
                      <a:pt x="234" y="166"/>
                      <a:pt x="234" y="166"/>
                      <a:pt x="234" y="166"/>
                    </a:cubicBezTo>
                    <a:cubicBezTo>
                      <a:pt x="234" y="167"/>
                      <a:pt x="235" y="167"/>
                      <a:pt x="236" y="167"/>
                    </a:cubicBezTo>
                    <a:cubicBezTo>
                      <a:pt x="237" y="167"/>
                      <a:pt x="237" y="166"/>
                      <a:pt x="238" y="165"/>
                    </a:cubicBezTo>
                    <a:cubicBezTo>
                      <a:pt x="238" y="165"/>
                      <a:pt x="238" y="165"/>
                      <a:pt x="238" y="165"/>
                    </a:cubicBezTo>
                    <a:cubicBezTo>
                      <a:pt x="239" y="165"/>
                      <a:pt x="239" y="164"/>
                      <a:pt x="240" y="164"/>
                    </a:cubicBezTo>
                    <a:cubicBezTo>
                      <a:pt x="240" y="164"/>
                      <a:pt x="240" y="164"/>
                      <a:pt x="240" y="164"/>
                    </a:cubicBezTo>
                    <a:cubicBezTo>
                      <a:pt x="241" y="163"/>
                      <a:pt x="241" y="163"/>
                      <a:pt x="241" y="163"/>
                    </a:cubicBezTo>
                    <a:cubicBezTo>
                      <a:pt x="241" y="162"/>
                      <a:pt x="241" y="161"/>
                      <a:pt x="241" y="161"/>
                    </a:cubicBezTo>
                    <a:cubicBezTo>
                      <a:pt x="241" y="160"/>
                      <a:pt x="242" y="160"/>
                      <a:pt x="242" y="159"/>
                    </a:cubicBezTo>
                    <a:cubicBezTo>
                      <a:pt x="242" y="159"/>
                      <a:pt x="243" y="158"/>
                      <a:pt x="243" y="158"/>
                    </a:cubicBezTo>
                    <a:cubicBezTo>
                      <a:pt x="244" y="158"/>
                      <a:pt x="244" y="157"/>
                      <a:pt x="245" y="157"/>
                    </a:cubicBezTo>
                    <a:cubicBezTo>
                      <a:pt x="245" y="156"/>
                      <a:pt x="244" y="155"/>
                      <a:pt x="244" y="154"/>
                    </a:cubicBezTo>
                    <a:cubicBezTo>
                      <a:pt x="244" y="150"/>
                      <a:pt x="246" y="147"/>
                      <a:pt x="247" y="144"/>
                    </a:cubicBezTo>
                    <a:cubicBezTo>
                      <a:pt x="248" y="140"/>
                      <a:pt x="248" y="140"/>
                      <a:pt x="248" y="140"/>
                    </a:cubicBezTo>
                    <a:cubicBezTo>
                      <a:pt x="259" y="146"/>
                      <a:pt x="259" y="146"/>
                      <a:pt x="259" y="146"/>
                    </a:cubicBezTo>
                    <a:cubicBezTo>
                      <a:pt x="260" y="146"/>
                      <a:pt x="260" y="146"/>
                      <a:pt x="261" y="146"/>
                    </a:cubicBezTo>
                    <a:cubicBezTo>
                      <a:pt x="262" y="146"/>
                      <a:pt x="263" y="146"/>
                      <a:pt x="264" y="146"/>
                    </a:cubicBezTo>
                    <a:cubicBezTo>
                      <a:pt x="266" y="146"/>
                      <a:pt x="266" y="146"/>
                      <a:pt x="266" y="146"/>
                    </a:cubicBezTo>
                    <a:cubicBezTo>
                      <a:pt x="270" y="145"/>
                      <a:pt x="275" y="144"/>
                      <a:pt x="281" y="141"/>
                    </a:cubicBezTo>
                    <a:cubicBezTo>
                      <a:pt x="282" y="141"/>
                      <a:pt x="282" y="141"/>
                      <a:pt x="282" y="141"/>
                    </a:cubicBezTo>
                    <a:cubicBezTo>
                      <a:pt x="284" y="140"/>
                      <a:pt x="285" y="139"/>
                      <a:pt x="287" y="139"/>
                    </a:cubicBezTo>
                    <a:cubicBezTo>
                      <a:pt x="287" y="139"/>
                      <a:pt x="289" y="140"/>
                      <a:pt x="290" y="140"/>
                    </a:cubicBezTo>
                    <a:cubicBezTo>
                      <a:pt x="295" y="141"/>
                      <a:pt x="295" y="141"/>
                      <a:pt x="295" y="141"/>
                    </a:cubicBezTo>
                    <a:cubicBezTo>
                      <a:pt x="296" y="141"/>
                      <a:pt x="297" y="142"/>
                      <a:pt x="298" y="143"/>
                    </a:cubicBezTo>
                    <a:cubicBezTo>
                      <a:pt x="298" y="143"/>
                      <a:pt x="298" y="143"/>
                      <a:pt x="298" y="143"/>
                    </a:cubicBezTo>
                    <a:cubicBezTo>
                      <a:pt x="298" y="143"/>
                      <a:pt x="298" y="143"/>
                      <a:pt x="298" y="143"/>
                    </a:cubicBezTo>
                    <a:cubicBezTo>
                      <a:pt x="299" y="143"/>
                      <a:pt x="299" y="143"/>
                      <a:pt x="299" y="143"/>
                    </a:cubicBezTo>
                    <a:cubicBezTo>
                      <a:pt x="303" y="144"/>
                      <a:pt x="307" y="145"/>
                      <a:pt x="312" y="145"/>
                    </a:cubicBezTo>
                    <a:cubicBezTo>
                      <a:pt x="312" y="145"/>
                      <a:pt x="313" y="145"/>
                      <a:pt x="314" y="145"/>
                    </a:cubicBezTo>
                    <a:cubicBezTo>
                      <a:pt x="315" y="145"/>
                      <a:pt x="315" y="145"/>
                      <a:pt x="315" y="145"/>
                    </a:cubicBezTo>
                    <a:cubicBezTo>
                      <a:pt x="315" y="146"/>
                      <a:pt x="315" y="146"/>
                      <a:pt x="315" y="146"/>
                    </a:cubicBezTo>
                    <a:cubicBezTo>
                      <a:pt x="315" y="145"/>
                      <a:pt x="315" y="145"/>
                      <a:pt x="315" y="145"/>
                    </a:cubicBezTo>
                    <a:cubicBezTo>
                      <a:pt x="320" y="144"/>
                      <a:pt x="324" y="142"/>
                      <a:pt x="328" y="141"/>
                    </a:cubicBezTo>
                    <a:cubicBezTo>
                      <a:pt x="333" y="139"/>
                      <a:pt x="333" y="139"/>
                      <a:pt x="333" y="139"/>
                    </a:cubicBezTo>
                    <a:cubicBezTo>
                      <a:pt x="333" y="139"/>
                      <a:pt x="334" y="139"/>
                      <a:pt x="334" y="138"/>
                    </a:cubicBezTo>
                    <a:cubicBezTo>
                      <a:pt x="336" y="138"/>
                      <a:pt x="337" y="138"/>
                      <a:pt x="338" y="137"/>
                    </a:cubicBezTo>
                    <a:cubicBezTo>
                      <a:pt x="338" y="137"/>
                      <a:pt x="338" y="137"/>
                      <a:pt x="338" y="137"/>
                    </a:cubicBezTo>
                    <a:cubicBezTo>
                      <a:pt x="341" y="135"/>
                      <a:pt x="345" y="134"/>
                      <a:pt x="348" y="134"/>
                    </a:cubicBezTo>
                    <a:cubicBezTo>
                      <a:pt x="349" y="134"/>
                      <a:pt x="349" y="134"/>
                      <a:pt x="349" y="134"/>
                    </a:cubicBezTo>
                    <a:cubicBezTo>
                      <a:pt x="350" y="134"/>
                      <a:pt x="352" y="134"/>
                      <a:pt x="353" y="134"/>
                    </a:cubicBezTo>
                    <a:cubicBezTo>
                      <a:pt x="361" y="134"/>
                      <a:pt x="367" y="133"/>
                      <a:pt x="374" y="132"/>
                    </a:cubicBezTo>
                    <a:cubicBezTo>
                      <a:pt x="377" y="131"/>
                      <a:pt x="379" y="130"/>
                      <a:pt x="382" y="130"/>
                    </a:cubicBezTo>
                    <a:cubicBezTo>
                      <a:pt x="385" y="129"/>
                      <a:pt x="385" y="129"/>
                      <a:pt x="385" y="129"/>
                    </a:cubicBezTo>
                    <a:cubicBezTo>
                      <a:pt x="386" y="131"/>
                      <a:pt x="386" y="131"/>
                      <a:pt x="386" y="131"/>
                    </a:cubicBezTo>
                    <a:cubicBezTo>
                      <a:pt x="389" y="129"/>
                      <a:pt x="393" y="126"/>
                      <a:pt x="399" y="126"/>
                    </a:cubicBezTo>
                    <a:cubicBezTo>
                      <a:pt x="400" y="126"/>
                      <a:pt x="400" y="126"/>
                      <a:pt x="400" y="126"/>
                    </a:cubicBezTo>
                    <a:cubicBezTo>
                      <a:pt x="401" y="126"/>
                      <a:pt x="401" y="126"/>
                      <a:pt x="401" y="126"/>
                    </a:cubicBezTo>
                    <a:cubicBezTo>
                      <a:pt x="401" y="126"/>
                      <a:pt x="402" y="126"/>
                      <a:pt x="402" y="126"/>
                    </a:cubicBezTo>
                    <a:cubicBezTo>
                      <a:pt x="402" y="126"/>
                      <a:pt x="402" y="126"/>
                      <a:pt x="402" y="126"/>
                    </a:cubicBezTo>
                    <a:cubicBezTo>
                      <a:pt x="402" y="128"/>
                      <a:pt x="402" y="128"/>
                      <a:pt x="402" y="128"/>
                    </a:cubicBezTo>
                    <a:cubicBezTo>
                      <a:pt x="403" y="126"/>
                      <a:pt x="403" y="126"/>
                      <a:pt x="403" y="126"/>
                    </a:cubicBezTo>
                    <a:cubicBezTo>
                      <a:pt x="404" y="127"/>
                      <a:pt x="404" y="127"/>
                      <a:pt x="405" y="127"/>
                    </a:cubicBezTo>
                    <a:cubicBezTo>
                      <a:pt x="409" y="128"/>
                      <a:pt x="409" y="128"/>
                      <a:pt x="409" y="128"/>
                    </a:cubicBezTo>
                    <a:cubicBezTo>
                      <a:pt x="412" y="128"/>
                      <a:pt x="415" y="129"/>
                      <a:pt x="418" y="129"/>
                    </a:cubicBezTo>
                    <a:cubicBezTo>
                      <a:pt x="419" y="129"/>
                      <a:pt x="421" y="129"/>
                      <a:pt x="422" y="129"/>
                    </a:cubicBezTo>
                    <a:cubicBezTo>
                      <a:pt x="423" y="128"/>
                      <a:pt x="424" y="128"/>
                      <a:pt x="424" y="128"/>
                    </a:cubicBezTo>
                    <a:cubicBezTo>
                      <a:pt x="429" y="128"/>
                      <a:pt x="430" y="132"/>
                      <a:pt x="431" y="133"/>
                    </a:cubicBezTo>
                    <a:cubicBezTo>
                      <a:pt x="431" y="134"/>
                      <a:pt x="431" y="134"/>
                      <a:pt x="431" y="134"/>
                    </a:cubicBezTo>
                    <a:cubicBezTo>
                      <a:pt x="431" y="134"/>
                      <a:pt x="431" y="135"/>
                      <a:pt x="431" y="135"/>
                    </a:cubicBezTo>
                    <a:cubicBezTo>
                      <a:pt x="432" y="135"/>
                      <a:pt x="432" y="136"/>
                      <a:pt x="432" y="136"/>
                    </a:cubicBezTo>
                    <a:cubicBezTo>
                      <a:pt x="433" y="136"/>
                      <a:pt x="433" y="136"/>
                      <a:pt x="433" y="136"/>
                    </a:cubicBezTo>
                    <a:cubicBezTo>
                      <a:pt x="434" y="135"/>
                      <a:pt x="435" y="135"/>
                      <a:pt x="436" y="134"/>
                    </a:cubicBezTo>
                    <a:cubicBezTo>
                      <a:pt x="439" y="133"/>
                      <a:pt x="439" y="133"/>
                      <a:pt x="439" y="133"/>
                    </a:cubicBezTo>
                    <a:cubicBezTo>
                      <a:pt x="439" y="133"/>
                      <a:pt x="439" y="133"/>
                      <a:pt x="439" y="133"/>
                    </a:cubicBezTo>
                    <a:cubicBezTo>
                      <a:pt x="439" y="132"/>
                      <a:pt x="439" y="132"/>
                      <a:pt x="439" y="132"/>
                    </a:cubicBezTo>
                    <a:cubicBezTo>
                      <a:pt x="438" y="132"/>
                      <a:pt x="438" y="132"/>
                      <a:pt x="438" y="132"/>
                    </a:cubicBezTo>
                    <a:cubicBezTo>
                      <a:pt x="438" y="132"/>
                      <a:pt x="438" y="132"/>
                      <a:pt x="438" y="132"/>
                    </a:cubicBezTo>
                    <a:cubicBezTo>
                      <a:pt x="438" y="131"/>
                      <a:pt x="438" y="131"/>
                      <a:pt x="438" y="131"/>
                    </a:cubicBezTo>
                    <a:cubicBezTo>
                      <a:pt x="436" y="130"/>
                      <a:pt x="436" y="130"/>
                      <a:pt x="436" y="130"/>
                    </a:cubicBezTo>
                    <a:cubicBezTo>
                      <a:pt x="436" y="130"/>
                      <a:pt x="435" y="129"/>
                      <a:pt x="435" y="129"/>
                    </a:cubicBezTo>
                    <a:cubicBezTo>
                      <a:pt x="434" y="128"/>
                      <a:pt x="434" y="128"/>
                      <a:pt x="434" y="128"/>
                    </a:cubicBezTo>
                    <a:cubicBezTo>
                      <a:pt x="433" y="126"/>
                      <a:pt x="434" y="124"/>
                      <a:pt x="434" y="122"/>
                    </a:cubicBezTo>
                    <a:cubicBezTo>
                      <a:pt x="434" y="122"/>
                      <a:pt x="434" y="122"/>
                      <a:pt x="434" y="122"/>
                    </a:cubicBezTo>
                    <a:cubicBezTo>
                      <a:pt x="434" y="121"/>
                      <a:pt x="434" y="121"/>
                      <a:pt x="434" y="121"/>
                    </a:cubicBezTo>
                    <a:cubicBezTo>
                      <a:pt x="434" y="121"/>
                      <a:pt x="434" y="121"/>
                      <a:pt x="434" y="121"/>
                    </a:cubicBezTo>
                    <a:cubicBezTo>
                      <a:pt x="434" y="121"/>
                      <a:pt x="434" y="121"/>
                      <a:pt x="434" y="121"/>
                    </a:cubicBezTo>
                    <a:cubicBezTo>
                      <a:pt x="433" y="120"/>
                      <a:pt x="432" y="120"/>
                      <a:pt x="432" y="120"/>
                    </a:cubicBezTo>
                    <a:cubicBezTo>
                      <a:pt x="431" y="119"/>
                      <a:pt x="431" y="119"/>
                      <a:pt x="431" y="119"/>
                    </a:cubicBezTo>
                    <a:cubicBezTo>
                      <a:pt x="431" y="119"/>
                      <a:pt x="430" y="119"/>
                      <a:pt x="430" y="118"/>
                    </a:cubicBezTo>
                    <a:cubicBezTo>
                      <a:pt x="430" y="118"/>
                      <a:pt x="430" y="118"/>
                      <a:pt x="429" y="118"/>
                    </a:cubicBezTo>
                    <a:cubicBezTo>
                      <a:pt x="429" y="118"/>
                      <a:pt x="428" y="118"/>
                      <a:pt x="427" y="117"/>
                    </a:cubicBezTo>
                    <a:cubicBezTo>
                      <a:pt x="427" y="117"/>
                      <a:pt x="427" y="117"/>
                      <a:pt x="427" y="117"/>
                    </a:cubicBezTo>
                    <a:cubicBezTo>
                      <a:pt x="426" y="116"/>
                      <a:pt x="425" y="115"/>
                      <a:pt x="425" y="114"/>
                    </a:cubicBezTo>
                    <a:cubicBezTo>
                      <a:pt x="425" y="113"/>
                      <a:pt x="426" y="112"/>
                      <a:pt x="426" y="111"/>
                    </a:cubicBezTo>
                    <a:cubicBezTo>
                      <a:pt x="426" y="111"/>
                      <a:pt x="426" y="110"/>
                      <a:pt x="427" y="109"/>
                    </a:cubicBezTo>
                    <a:cubicBezTo>
                      <a:pt x="427" y="108"/>
                      <a:pt x="429" y="106"/>
                      <a:pt x="430" y="105"/>
                    </a:cubicBezTo>
                    <a:cubicBezTo>
                      <a:pt x="427" y="106"/>
                      <a:pt x="427" y="106"/>
                      <a:pt x="427" y="106"/>
                    </a:cubicBezTo>
                    <a:cubicBezTo>
                      <a:pt x="428" y="101"/>
                      <a:pt x="428" y="101"/>
                      <a:pt x="428" y="101"/>
                    </a:cubicBezTo>
                    <a:cubicBezTo>
                      <a:pt x="428" y="97"/>
                      <a:pt x="428" y="92"/>
                      <a:pt x="427" y="91"/>
                    </a:cubicBezTo>
                    <a:cubicBezTo>
                      <a:pt x="426" y="91"/>
                      <a:pt x="426" y="91"/>
                      <a:pt x="426" y="91"/>
                    </a:cubicBezTo>
                    <a:cubicBezTo>
                      <a:pt x="426" y="90"/>
                      <a:pt x="426" y="90"/>
                      <a:pt x="426" y="90"/>
                    </a:cubicBezTo>
                    <a:cubicBezTo>
                      <a:pt x="425" y="88"/>
                      <a:pt x="424" y="86"/>
                      <a:pt x="423" y="84"/>
                    </a:cubicBezTo>
                    <a:cubicBezTo>
                      <a:pt x="423" y="82"/>
                      <a:pt x="422" y="81"/>
                      <a:pt x="422" y="80"/>
                    </a:cubicBezTo>
                    <a:cubicBezTo>
                      <a:pt x="420" y="75"/>
                      <a:pt x="420" y="75"/>
                      <a:pt x="420" y="75"/>
                    </a:cubicBezTo>
                    <a:cubicBezTo>
                      <a:pt x="424" y="72"/>
                      <a:pt x="424" y="72"/>
                      <a:pt x="424" y="72"/>
                    </a:cubicBezTo>
                    <a:cubicBezTo>
                      <a:pt x="425" y="71"/>
                      <a:pt x="425" y="71"/>
                      <a:pt x="425" y="71"/>
                    </a:cubicBezTo>
                    <a:cubicBezTo>
                      <a:pt x="427" y="71"/>
                      <a:pt x="430" y="71"/>
                      <a:pt x="430" y="71"/>
                    </a:cubicBezTo>
                    <a:cubicBezTo>
                      <a:pt x="430" y="71"/>
                      <a:pt x="431" y="70"/>
                      <a:pt x="431" y="68"/>
                    </a:cubicBezTo>
                    <a:cubicBezTo>
                      <a:pt x="431" y="66"/>
                      <a:pt x="430" y="63"/>
                      <a:pt x="433" y="62"/>
                    </a:cubicBezTo>
                    <a:cubicBezTo>
                      <a:pt x="430" y="60"/>
                      <a:pt x="430" y="60"/>
                      <a:pt x="426" y="59"/>
                    </a:cubicBezTo>
                    <a:cubicBezTo>
                      <a:pt x="425" y="59"/>
                      <a:pt x="423" y="59"/>
                      <a:pt x="422" y="59"/>
                    </a:cubicBezTo>
                    <a:cubicBezTo>
                      <a:pt x="422" y="59"/>
                      <a:pt x="422" y="59"/>
                      <a:pt x="422" y="59"/>
                    </a:cubicBezTo>
                    <a:cubicBezTo>
                      <a:pt x="422" y="59"/>
                      <a:pt x="421" y="59"/>
                      <a:pt x="421" y="59"/>
                    </a:cubicBezTo>
                    <a:cubicBezTo>
                      <a:pt x="418" y="59"/>
                      <a:pt x="417" y="58"/>
                      <a:pt x="415" y="57"/>
                    </a:cubicBezTo>
                    <a:cubicBezTo>
                      <a:pt x="414" y="57"/>
                      <a:pt x="414" y="57"/>
                      <a:pt x="414" y="57"/>
                    </a:cubicBezTo>
                    <a:cubicBezTo>
                      <a:pt x="413" y="56"/>
                      <a:pt x="412" y="55"/>
                      <a:pt x="412" y="54"/>
                    </a:cubicBezTo>
                    <a:cubicBezTo>
                      <a:pt x="411" y="53"/>
                      <a:pt x="412" y="52"/>
                      <a:pt x="412" y="51"/>
                    </a:cubicBezTo>
                    <a:cubicBezTo>
                      <a:pt x="412" y="51"/>
                      <a:pt x="412" y="51"/>
                      <a:pt x="412" y="51"/>
                    </a:cubicBezTo>
                    <a:cubicBezTo>
                      <a:pt x="412" y="50"/>
                      <a:pt x="412" y="50"/>
                      <a:pt x="411" y="49"/>
                    </a:cubicBezTo>
                    <a:cubicBezTo>
                      <a:pt x="410" y="46"/>
                      <a:pt x="409" y="45"/>
                      <a:pt x="409" y="44"/>
                    </a:cubicBezTo>
                    <a:cubicBezTo>
                      <a:pt x="409" y="42"/>
                      <a:pt x="411" y="41"/>
                      <a:pt x="411" y="40"/>
                    </a:cubicBezTo>
                    <a:cubicBezTo>
                      <a:pt x="412" y="40"/>
                      <a:pt x="412" y="40"/>
                      <a:pt x="412" y="40"/>
                    </a:cubicBezTo>
                    <a:cubicBezTo>
                      <a:pt x="412" y="40"/>
                      <a:pt x="412" y="40"/>
                      <a:pt x="412" y="40"/>
                    </a:cubicBezTo>
                    <a:cubicBezTo>
                      <a:pt x="412" y="40"/>
                      <a:pt x="412" y="40"/>
                      <a:pt x="412" y="40"/>
                    </a:cubicBezTo>
                    <a:cubicBezTo>
                      <a:pt x="412" y="38"/>
                      <a:pt x="412" y="38"/>
                      <a:pt x="412" y="38"/>
                    </a:cubicBezTo>
                    <a:cubicBezTo>
                      <a:pt x="412" y="37"/>
                      <a:pt x="412" y="36"/>
                      <a:pt x="412" y="36"/>
                    </a:cubicBezTo>
                    <a:cubicBezTo>
                      <a:pt x="412" y="35"/>
                      <a:pt x="412" y="35"/>
                      <a:pt x="412" y="35"/>
                    </a:cubicBezTo>
                    <a:cubicBezTo>
                      <a:pt x="412" y="35"/>
                      <a:pt x="412" y="34"/>
                      <a:pt x="412" y="34"/>
                    </a:cubicBezTo>
                    <a:cubicBezTo>
                      <a:pt x="412" y="33"/>
                      <a:pt x="412" y="33"/>
                      <a:pt x="412" y="33"/>
                    </a:cubicBezTo>
                    <a:cubicBezTo>
                      <a:pt x="412" y="33"/>
                      <a:pt x="412" y="33"/>
                      <a:pt x="412" y="33"/>
                    </a:cubicBezTo>
                    <a:cubicBezTo>
                      <a:pt x="411" y="33"/>
                      <a:pt x="411" y="33"/>
                      <a:pt x="411" y="33"/>
                    </a:cubicBezTo>
                    <a:cubicBezTo>
                      <a:pt x="411" y="32"/>
                      <a:pt x="411" y="31"/>
                      <a:pt x="410" y="31"/>
                    </a:cubicBezTo>
                    <a:cubicBezTo>
                      <a:pt x="404" y="24"/>
                      <a:pt x="404" y="24"/>
                      <a:pt x="404" y="24"/>
                    </a:cubicBezTo>
                    <a:cubicBezTo>
                      <a:pt x="403" y="24"/>
                      <a:pt x="403" y="24"/>
                      <a:pt x="403" y="24"/>
                    </a:cubicBezTo>
                    <a:cubicBezTo>
                      <a:pt x="402" y="23"/>
                      <a:pt x="401" y="23"/>
                      <a:pt x="400" y="22"/>
                    </a:cubicBezTo>
                    <a:cubicBezTo>
                      <a:pt x="399" y="21"/>
                      <a:pt x="399" y="21"/>
                      <a:pt x="399" y="21"/>
                    </a:cubicBezTo>
                    <a:cubicBezTo>
                      <a:pt x="399" y="21"/>
                      <a:pt x="399" y="21"/>
                      <a:pt x="399" y="21"/>
                    </a:cubicBezTo>
                    <a:cubicBezTo>
                      <a:pt x="398" y="21"/>
                      <a:pt x="398" y="20"/>
                      <a:pt x="397" y="20"/>
                    </a:cubicBezTo>
                    <a:cubicBezTo>
                      <a:pt x="397" y="20"/>
                      <a:pt x="397" y="19"/>
                      <a:pt x="396" y="19"/>
                    </a:cubicBezTo>
                    <a:cubicBezTo>
                      <a:pt x="396" y="18"/>
                      <a:pt x="396" y="18"/>
                      <a:pt x="396" y="18"/>
                    </a:cubicBezTo>
                    <a:cubicBezTo>
                      <a:pt x="395" y="18"/>
                      <a:pt x="395" y="18"/>
                      <a:pt x="395" y="18"/>
                    </a:cubicBezTo>
                    <a:cubicBezTo>
                      <a:pt x="394" y="16"/>
                      <a:pt x="393" y="16"/>
                      <a:pt x="392" y="16"/>
                    </a:cubicBezTo>
                    <a:cubicBezTo>
                      <a:pt x="391" y="16"/>
                      <a:pt x="391" y="16"/>
                      <a:pt x="391" y="16"/>
                    </a:cubicBezTo>
                    <a:cubicBezTo>
                      <a:pt x="391" y="16"/>
                      <a:pt x="391" y="16"/>
                      <a:pt x="390" y="17"/>
                    </a:cubicBezTo>
                    <a:cubicBezTo>
                      <a:pt x="390" y="20"/>
                      <a:pt x="390" y="20"/>
                      <a:pt x="390" y="20"/>
                    </a:cubicBezTo>
                    <a:cubicBezTo>
                      <a:pt x="387" y="20"/>
                      <a:pt x="387" y="20"/>
                      <a:pt x="387" y="20"/>
                    </a:cubicBezTo>
                    <a:cubicBezTo>
                      <a:pt x="384" y="19"/>
                      <a:pt x="381" y="19"/>
                      <a:pt x="378" y="19"/>
                    </a:cubicBezTo>
                    <a:cubicBezTo>
                      <a:pt x="376" y="18"/>
                      <a:pt x="376" y="18"/>
                      <a:pt x="376" y="18"/>
                    </a:cubicBezTo>
                    <a:cubicBezTo>
                      <a:pt x="376" y="18"/>
                      <a:pt x="375" y="18"/>
                      <a:pt x="375" y="18"/>
                    </a:cubicBezTo>
                    <a:cubicBezTo>
                      <a:pt x="374" y="18"/>
                      <a:pt x="373" y="18"/>
                      <a:pt x="373" y="18"/>
                    </a:cubicBezTo>
                    <a:cubicBezTo>
                      <a:pt x="372" y="18"/>
                      <a:pt x="372" y="18"/>
                      <a:pt x="372" y="18"/>
                    </a:cubicBezTo>
                    <a:cubicBezTo>
                      <a:pt x="371" y="18"/>
                      <a:pt x="370" y="18"/>
                      <a:pt x="369" y="18"/>
                    </a:cubicBezTo>
                    <a:cubicBezTo>
                      <a:pt x="368" y="18"/>
                      <a:pt x="367" y="18"/>
                      <a:pt x="366" y="18"/>
                    </a:cubicBezTo>
                    <a:cubicBezTo>
                      <a:pt x="367" y="22"/>
                      <a:pt x="367" y="22"/>
                      <a:pt x="367" y="22"/>
                    </a:cubicBezTo>
                    <a:cubicBezTo>
                      <a:pt x="364" y="18"/>
                      <a:pt x="364" y="18"/>
                      <a:pt x="364" y="18"/>
                    </a:cubicBezTo>
                    <a:cubicBezTo>
                      <a:pt x="355" y="22"/>
                      <a:pt x="355" y="22"/>
                      <a:pt x="355" y="22"/>
                    </a:cubicBezTo>
                    <a:cubicBezTo>
                      <a:pt x="353" y="22"/>
                      <a:pt x="352" y="23"/>
                      <a:pt x="351" y="24"/>
                    </a:cubicBezTo>
                    <a:cubicBezTo>
                      <a:pt x="349" y="24"/>
                      <a:pt x="347" y="24"/>
                      <a:pt x="346" y="25"/>
                    </a:cubicBezTo>
                    <a:cubicBezTo>
                      <a:pt x="343" y="28"/>
                      <a:pt x="339" y="29"/>
                      <a:pt x="336" y="30"/>
                    </a:cubicBezTo>
                    <a:cubicBezTo>
                      <a:pt x="334" y="31"/>
                      <a:pt x="333" y="31"/>
                      <a:pt x="331" y="31"/>
                    </a:cubicBezTo>
                    <a:cubicBezTo>
                      <a:pt x="331" y="31"/>
                      <a:pt x="331" y="31"/>
                      <a:pt x="331" y="31"/>
                    </a:cubicBezTo>
                    <a:cubicBezTo>
                      <a:pt x="330" y="31"/>
                      <a:pt x="330" y="31"/>
                      <a:pt x="329" y="31"/>
                    </a:cubicBezTo>
                    <a:cubicBezTo>
                      <a:pt x="329" y="30"/>
                      <a:pt x="328" y="30"/>
                      <a:pt x="328" y="30"/>
                    </a:cubicBezTo>
                    <a:cubicBezTo>
                      <a:pt x="327" y="30"/>
                      <a:pt x="327" y="30"/>
                      <a:pt x="327" y="30"/>
                    </a:cubicBezTo>
                    <a:cubicBezTo>
                      <a:pt x="327" y="30"/>
                      <a:pt x="326" y="30"/>
                      <a:pt x="326" y="30"/>
                    </a:cubicBezTo>
                    <a:cubicBezTo>
                      <a:pt x="323" y="30"/>
                      <a:pt x="319" y="29"/>
                      <a:pt x="317" y="27"/>
                    </a:cubicBezTo>
                    <a:cubicBezTo>
                      <a:pt x="316" y="27"/>
                      <a:pt x="315" y="27"/>
                      <a:pt x="315" y="27"/>
                    </a:cubicBezTo>
                    <a:cubicBezTo>
                      <a:pt x="314" y="27"/>
                      <a:pt x="314" y="27"/>
                      <a:pt x="312" y="28"/>
                    </a:cubicBezTo>
                    <a:cubicBezTo>
                      <a:pt x="312" y="28"/>
                      <a:pt x="311" y="28"/>
                      <a:pt x="311" y="28"/>
                    </a:cubicBezTo>
                    <a:cubicBezTo>
                      <a:pt x="310" y="28"/>
                      <a:pt x="310" y="28"/>
                      <a:pt x="310" y="28"/>
                    </a:cubicBezTo>
                    <a:cubicBezTo>
                      <a:pt x="309" y="28"/>
                      <a:pt x="309" y="28"/>
                      <a:pt x="309" y="28"/>
                    </a:cubicBezTo>
                    <a:cubicBezTo>
                      <a:pt x="308" y="28"/>
                      <a:pt x="308" y="28"/>
                      <a:pt x="307" y="28"/>
                    </a:cubicBezTo>
                    <a:cubicBezTo>
                      <a:pt x="302" y="29"/>
                      <a:pt x="296" y="32"/>
                      <a:pt x="291" y="32"/>
                    </a:cubicBezTo>
                    <a:cubicBezTo>
                      <a:pt x="290" y="32"/>
                      <a:pt x="290" y="32"/>
                      <a:pt x="290" y="32"/>
                    </a:cubicBezTo>
                    <a:cubicBezTo>
                      <a:pt x="284" y="32"/>
                      <a:pt x="278" y="29"/>
                      <a:pt x="272" y="28"/>
                    </a:cubicBezTo>
                    <a:cubicBezTo>
                      <a:pt x="264" y="27"/>
                      <a:pt x="260" y="24"/>
                      <a:pt x="254" y="20"/>
                    </a:cubicBezTo>
                    <a:cubicBezTo>
                      <a:pt x="254" y="19"/>
                      <a:pt x="253" y="19"/>
                      <a:pt x="253" y="19"/>
                    </a:cubicBezTo>
                    <a:cubicBezTo>
                      <a:pt x="251" y="19"/>
                      <a:pt x="246" y="22"/>
                      <a:pt x="244" y="22"/>
                    </a:cubicBezTo>
                    <a:cubicBezTo>
                      <a:pt x="244" y="22"/>
                      <a:pt x="244" y="22"/>
                      <a:pt x="244" y="22"/>
                    </a:cubicBezTo>
                    <a:cubicBezTo>
                      <a:pt x="242" y="22"/>
                      <a:pt x="239" y="18"/>
                      <a:pt x="238" y="16"/>
                    </a:cubicBezTo>
                    <a:cubicBezTo>
                      <a:pt x="236" y="13"/>
                      <a:pt x="237" y="9"/>
                      <a:pt x="233" y="9"/>
                    </a:cubicBezTo>
                    <a:cubicBezTo>
                      <a:pt x="233" y="9"/>
                      <a:pt x="232" y="9"/>
                      <a:pt x="232" y="10"/>
                    </a:cubicBezTo>
                    <a:cubicBezTo>
                      <a:pt x="229" y="10"/>
                      <a:pt x="227" y="11"/>
                      <a:pt x="224" y="11"/>
                    </a:cubicBezTo>
                    <a:cubicBezTo>
                      <a:pt x="223" y="11"/>
                      <a:pt x="223" y="11"/>
                      <a:pt x="222" y="11"/>
                    </a:cubicBezTo>
                    <a:cubicBezTo>
                      <a:pt x="219" y="11"/>
                      <a:pt x="217" y="8"/>
                      <a:pt x="214" y="5"/>
                    </a:cubicBezTo>
                    <a:cubicBezTo>
                      <a:pt x="213" y="4"/>
                      <a:pt x="213" y="1"/>
                      <a:pt x="215" y="1"/>
                    </a:cubicBezTo>
                    <a:cubicBezTo>
                      <a:pt x="215" y="1"/>
                      <a:pt x="215" y="1"/>
                      <a:pt x="216" y="1"/>
                    </a:cubicBezTo>
                    <a:cubicBezTo>
                      <a:pt x="215" y="0"/>
                      <a:pt x="214" y="0"/>
                      <a:pt x="2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180"/>
              <p:cNvSpPr/>
              <p:nvPr/>
            </p:nvSpPr>
            <p:spPr bwMode="auto">
              <a:xfrm>
                <a:off x="5618" y="753"/>
                <a:ext cx="73" cy="83"/>
              </a:xfrm>
              <a:custGeom>
                <a:gdLst>
                  <a:gd name="T0" fmla="*/ 18 w 31"/>
                  <a:gd name="T1" fmla="*/ 0 h 35"/>
                  <a:gd name="T2" fmla="*/ 17 w 31"/>
                  <a:gd name="T3" fmla="*/ 2 h 35"/>
                  <a:gd name="T4" fmla="*/ 13 w 31"/>
                  <a:gd name="T5" fmla="*/ 6 h 35"/>
                  <a:gd name="T6" fmla="*/ 9 w 31"/>
                  <a:gd name="T7" fmla="*/ 17 h 35"/>
                  <a:gd name="T8" fmla="*/ 6 w 31"/>
                  <a:gd name="T9" fmla="*/ 21 h 35"/>
                  <a:gd name="T10" fmla="*/ 4 w 31"/>
                  <a:gd name="T11" fmla="*/ 26 h 35"/>
                  <a:gd name="T12" fmla="*/ 0 w 31"/>
                  <a:gd name="T13" fmla="*/ 35 h 35"/>
                  <a:gd name="T14" fmla="*/ 2 w 31"/>
                  <a:gd name="T15" fmla="*/ 35 h 35"/>
                  <a:gd name="T16" fmla="*/ 4 w 31"/>
                  <a:gd name="T17" fmla="*/ 35 h 35"/>
                  <a:gd name="T18" fmla="*/ 7 w 31"/>
                  <a:gd name="T19" fmla="*/ 34 h 35"/>
                  <a:gd name="T20" fmla="*/ 9 w 31"/>
                  <a:gd name="T21" fmla="*/ 31 h 35"/>
                  <a:gd name="T22" fmla="*/ 10 w 31"/>
                  <a:gd name="T23" fmla="*/ 31 h 35"/>
                  <a:gd name="T24" fmla="*/ 12 w 31"/>
                  <a:gd name="T25" fmla="*/ 29 h 35"/>
                  <a:gd name="T26" fmla="*/ 13 w 31"/>
                  <a:gd name="T27" fmla="*/ 29 h 35"/>
                  <a:gd name="T28" fmla="*/ 14 w 31"/>
                  <a:gd name="T29" fmla="*/ 28 h 35"/>
                  <a:gd name="T30" fmla="*/ 17 w 31"/>
                  <a:gd name="T31" fmla="*/ 26 h 35"/>
                  <a:gd name="T32" fmla="*/ 17 w 31"/>
                  <a:gd name="T33" fmla="*/ 25 h 35"/>
                  <a:gd name="T34" fmla="*/ 16 w 31"/>
                  <a:gd name="T35" fmla="*/ 23 h 35"/>
                  <a:gd name="T36" fmla="*/ 21 w 31"/>
                  <a:gd name="T37" fmla="*/ 17 h 35"/>
                  <a:gd name="T38" fmla="*/ 24 w 31"/>
                  <a:gd name="T39" fmla="*/ 15 h 35"/>
                  <a:gd name="T40" fmla="*/ 30 w 31"/>
                  <a:gd name="T41" fmla="*/ 9 h 35"/>
                  <a:gd name="T42" fmla="*/ 31 w 31"/>
                  <a:gd name="T43" fmla="*/ 8 h 35"/>
                  <a:gd name="T44" fmla="*/ 30 w 31"/>
                  <a:gd name="T45" fmla="*/ 8 h 35"/>
                  <a:gd name="T46" fmla="*/ 29 w 31"/>
                  <a:gd name="T47" fmla="*/ 6 h 35"/>
                  <a:gd name="T48" fmla="*/ 27 w 31"/>
                  <a:gd name="T49" fmla="*/ 4 h 35"/>
                  <a:gd name="T50" fmla="*/ 23 w 31"/>
                  <a:gd name="T51" fmla="*/ 3 h 35"/>
                  <a:gd name="T52" fmla="*/ 25 w 31"/>
                  <a:gd name="T53" fmla="*/ 1 h 35"/>
                  <a:gd name="T54" fmla="*/ 22 w 31"/>
                  <a:gd name="T55" fmla="*/ 1 h 35"/>
                  <a:gd name="T56" fmla="*/ 18 w 31"/>
                  <a:gd name="T57"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35">
                    <a:moveTo>
                      <a:pt x="18" y="0"/>
                    </a:moveTo>
                    <a:cubicBezTo>
                      <a:pt x="18" y="1"/>
                      <a:pt x="17" y="2"/>
                      <a:pt x="17" y="2"/>
                    </a:cubicBezTo>
                    <a:cubicBezTo>
                      <a:pt x="15" y="3"/>
                      <a:pt x="14" y="4"/>
                      <a:pt x="13" y="6"/>
                    </a:cubicBezTo>
                    <a:cubicBezTo>
                      <a:pt x="11" y="10"/>
                      <a:pt x="11" y="13"/>
                      <a:pt x="9" y="17"/>
                    </a:cubicBezTo>
                    <a:cubicBezTo>
                      <a:pt x="8" y="19"/>
                      <a:pt x="7" y="19"/>
                      <a:pt x="6" y="21"/>
                    </a:cubicBezTo>
                    <a:cubicBezTo>
                      <a:pt x="6" y="23"/>
                      <a:pt x="5" y="25"/>
                      <a:pt x="4" y="26"/>
                    </a:cubicBezTo>
                    <a:cubicBezTo>
                      <a:pt x="3" y="29"/>
                      <a:pt x="1" y="32"/>
                      <a:pt x="0" y="35"/>
                    </a:cubicBezTo>
                    <a:cubicBezTo>
                      <a:pt x="2" y="35"/>
                      <a:pt x="2" y="35"/>
                      <a:pt x="2" y="35"/>
                    </a:cubicBezTo>
                    <a:cubicBezTo>
                      <a:pt x="3" y="35"/>
                      <a:pt x="4" y="35"/>
                      <a:pt x="4" y="35"/>
                    </a:cubicBezTo>
                    <a:cubicBezTo>
                      <a:pt x="6" y="35"/>
                      <a:pt x="6" y="35"/>
                      <a:pt x="7" y="34"/>
                    </a:cubicBezTo>
                    <a:cubicBezTo>
                      <a:pt x="9" y="31"/>
                      <a:pt x="9" y="31"/>
                      <a:pt x="9" y="31"/>
                    </a:cubicBezTo>
                    <a:cubicBezTo>
                      <a:pt x="10" y="31"/>
                      <a:pt x="10" y="31"/>
                      <a:pt x="10" y="31"/>
                    </a:cubicBezTo>
                    <a:cubicBezTo>
                      <a:pt x="12" y="29"/>
                      <a:pt x="12" y="29"/>
                      <a:pt x="12" y="29"/>
                    </a:cubicBezTo>
                    <a:cubicBezTo>
                      <a:pt x="13" y="29"/>
                      <a:pt x="13" y="29"/>
                      <a:pt x="13" y="29"/>
                    </a:cubicBezTo>
                    <a:cubicBezTo>
                      <a:pt x="13" y="29"/>
                      <a:pt x="14" y="28"/>
                      <a:pt x="14" y="28"/>
                    </a:cubicBezTo>
                    <a:cubicBezTo>
                      <a:pt x="15" y="27"/>
                      <a:pt x="16" y="26"/>
                      <a:pt x="17" y="26"/>
                    </a:cubicBezTo>
                    <a:cubicBezTo>
                      <a:pt x="17" y="25"/>
                      <a:pt x="17" y="25"/>
                      <a:pt x="17" y="25"/>
                    </a:cubicBezTo>
                    <a:cubicBezTo>
                      <a:pt x="16" y="25"/>
                      <a:pt x="16" y="24"/>
                      <a:pt x="16" y="23"/>
                    </a:cubicBezTo>
                    <a:cubicBezTo>
                      <a:pt x="15" y="21"/>
                      <a:pt x="17" y="18"/>
                      <a:pt x="21" y="17"/>
                    </a:cubicBezTo>
                    <a:cubicBezTo>
                      <a:pt x="21" y="16"/>
                      <a:pt x="23" y="16"/>
                      <a:pt x="24" y="15"/>
                    </a:cubicBezTo>
                    <a:cubicBezTo>
                      <a:pt x="25" y="13"/>
                      <a:pt x="28" y="10"/>
                      <a:pt x="30" y="9"/>
                    </a:cubicBezTo>
                    <a:cubicBezTo>
                      <a:pt x="31" y="8"/>
                      <a:pt x="31" y="8"/>
                      <a:pt x="31" y="8"/>
                    </a:cubicBezTo>
                    <a:cubicBezTo>
                      <a:pt x="30" y="8"/>
                      <a:pt x="30" y="8"/>
                      <a:pt x="30" y="8"/>
                    </a:cubicBezTo>
                    <a:cubicBezTo>
                      <a:pt x="30" y="7"/>
                      <a:pt x="30" y="7"/>
                      <a:pt x="29" y="6"/>
                    </a:cubicBezTo>
                    <a:cubicBezTo>
                      <a:pt x="29" y="5"/>
                      <a:pt x="29" y="5"/>
                      <a:pt x="27" y="4"/>
                    </a:cubicBezTo>
                    <a:cubicBezTo>
                      <a:pt x="23" y="3"/>
                      <a:pt x="23" y="3"/>
                      <a:pt x="23" y="3"/>
                    </a:cubicBezTo>
                    <a:cubicBezTo>
                      <a:pt x="25" y="1"/>
                      <a:pt x="25" y="1"/>
                      <a:pt x="25" y="1"/>
                    </a:cubicBezTo>
                    <a:cubicBezTo>
                      <a:pt x="24" y="1"/>
                      <a:pt x="23" y="1"/>
                      <a:pt x="22" y="1"/>
                    </a:cubicBezTo>
                    <a:cubicBezTo>
                      <a:pt x="21" y="1"/>
                      <a:pt x="19" y="1"/>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181"/>
              <p:cNvSpPr/>
              <p:nvPr/>
            </p:nvSpPr>
            <p:spPr bwMode="auto">
              <a:xfrm>
                <a:off x="6093" y="325"/>
                <a:ext cx="148" cy="147"/>
              </a:xfrm>
              <a:custGeom>
                <a:gdLst>
                  <a:gd name="T0" fmla="*/ 30 w 63"/>
                  <a:gd name="T1" fmla="*/ 1 h 62"/>
                  <a:gd name="T2" fmla="*/ 26 w 63"/>
                  <a:gd name="T3" fmla="*/ 2 h 62"/>
                  <a:gd name="T4" fmla="*/ 24 w 63"/>
                  <a:gd name="T5" fmla="*/ 2 h 62"/>
                  <a:gd name="T6" fmla="*/ 21 w 63"/>
                  <a:gd name="T7" fmla="*/ 2 h 62"/>
                  <a:gd name="T8" fmla="*/ 14 w 63"/>
                  <a:gd name="T9" fmla="*/ 3 h 62"/>
                  <a:gd name="T10" fmla="*/ 0 w 63"/>
                  <a:gd name="T11" fmla="*/ 6 h 62"/>
                  <a:gd name="T12" fmla="*/ 1 w 63"/>
                  <a:gd name="T13" fmla="*/ 7 h 62"/>
                  <a:gd name="T14" fmla="*/ 1 w 63"/>
                  <a:gd name="T15" fmla="*/ 8 h 62"/>
                  <a:gd name="T16" fmla="*/ 2 w 63"/>
                  <a:gd name="T17" fmla="*/ 10 h 62"/>
                  <a:gd name="T18" fmla="*/ 2 w 63"/>
                  <a:gd name="T19" fmla="*/ 13 h 62"/>
                  <a:gd name="T20" fmla="*/ 1 w 63"/>
                  <a:gd name="T21" fmla="*/ 19 h 62"/>
                  <a:gd name="T22" fmla="*/ 0 w 63"/>
                  <a:gd name="T23" fmla="*/ 21 h 62"/>
                  <a:gd name="T24" fmla="*/ 2 w 63"/>
                  <a:gd name="T25" fmla="*/ 25 h 62"/>
                  <a:gd name="T26" fmla="*/ 5 w 63"/>
                  <a:gd name="T27" fmla="*/ 29 h 62"/>
                  <a:gd name="T28" fmla="*/ 11 w 63"/>
                  <a:gd name="T29" fmla="*/ 30 h 62"/>
                  <a:gd name="T30" fmla="*/ 26 w 63"/>
                  <a:gd name="T31" fmla="*/ 38 h 62"/>
                  <a:gd name="T32" fmla="*/ 31 w 63"/>
                  <a:gd name="T33" fmla="*/ 37 h 62"/>
                  <a:gd name="T34" fmla="*/ 35 w 63"/>
                  <a:gd name="T35" fmla="*/ 38 h 62"/>
                  <a:gd name="T36" fmla="*/ 37 w 63"/>
                  <a:gd name="T37" fmla="*/ 41 h 62"/>
                  <a:gd name="T38" fmla="*/ 40 w 63"/>
                  <a:gd name="T39" fmla="*/ 43 h 62"/>
                  <a:gd name="T40" fmla="*/ 42 w 63"/>
                  <a:gd name="T41" fmla="*/ 44 h 62"/>
                  <a:gd name="T42" fmla="*/ 44 w 63"/>
                  <a:gd name="T43" fmla="*/ 43 h 62"/>
                  <a:gd name="T44" fmla="*/ 49 w 63"/>
                  <a:gd name="T45" fmla="*/ 44 h 62"/>
                  <a:gd name="T46" fmla="*/ 51 w 63"/>
                  <a:gd name="T47" fmla="*/ 48 h 62"/>
                  <a:gd name="T48" fmla="*/ 52 w 63"/>
                  <a:gd name="T49" fmla="*/ 50 h 62"/>
                  <a:gd name="T50" fmla="*/ 59 w 63"/>
                  <a:gd name="T51" fmla="*/ 61 h 62"/>
                  <a:gd name="T52" fmla="*/ 60 w 63"/>
                  <a:gd name="T53" fmla="*/ 62 h 62"/>
                  <a:gd name="T54" fmla="*/ 63 w 63"/>
                  <a:gd name="T55" fmla="*/ 61 h 62"/>
                  <a:gd name="T56" fmla="*/ 63 w 63"/>
                  <a:gd name="T57" fmla="*/ 59 h 62"/>
                  <a:gd name="T58" fmla="*/ 61 w 63"/>
                  <a:gd name="T59" fmla="*/ 58 h 62"/>
                  <a:gd name="T60" fmla="*/ 62 w 63"/>
                  <a:gd name="T61" fmla="*/ 53 h 62"/>
                  <a:gd name="T62" fmla="*/ 61 w 63"/>
                  <a:gd name="T63" fmla="*/ 48 h 62"/>
                  <a:gd name="T64" fmla="*/ 37 w 63"/>
                  <a:gd name="T65" fmla="*/ 32 h 62"/>
                  <a:gd name="T66" fmla="*/ 46 w 63"/>
                  <a:gd name="T67" fmla="*/ 31 h 62"/>
                  <a:gd name="T68" fmla="*/ 48 w 63"/>
                  <a:gd name="T69" fmla="*/ 30 h 62"/>
                  <a:gd name="T70" fmla="*/ 49 w 63"/>
                  <a:gd name="T71" fmla="*/ 27 h 62"/>
                  <a:gd name="T72" fmla="*/ 44 w 63"/>
                  <a:gd name="T73" fmla="*/ 24 h 62"/>
                  <a:gd name="T74" fmla="*/ 37 w 63"/>
                  <a:gd name="T75" fmla="*/ 13 h 62"/>
                  <a:gd name="T76" fmla="*/ 41 w 63"/>
                  <a:gd name="T77" fmla="*/ 10 h 62"/>
                  <a:gd name="T78" fmla="*/ 40 w 63"/>
                  <a:gd name="T79" fmla="*/ 9 h 62"/>
                  <a:gd name="T80" fmla="*/ 34 w 63"/>
                  <a:gd name="T81" fmla="*/ 6 h 62"/>
                  <a:gd name="T82" fmla="*/ 33 w 63"/>
                  <a:gd name="T83" fmla="*/ 7 h 62"/>
                  <a:gd name="T84" fmla="*/ 30 w 63"/>
                  <a:gd name="T85" fmla="*/ 2 h 62"/>
                  <a:gd name="T86" fmla="*/ 30 w 63"/>
                  <a:gd name="T87" fmla="*/ 0 h 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62">
                    <a:moveTo>
                      <a:pt x="30" y="0"/>
                    </a:moveTo>
                    <a:cubicBezTo>
                      <a:pt x="30" y="1"/>
                      <a:pt x="30" y="1"/>
                      <a:pt x="30" y="1"/>
                    </a:cubicBezTo>
                    <a:cubicBezTo>
                      <a:pt x="29" y="1"/>
                      <a:pt x="29" y="1"/>
                      <a:pt x="29" y="1"/>
                    </a:cubicBezTo>
                    <a:cubicBezTo>
                      <a:pt x="28" y="1"/>
                      <a:pt x="27" y="2"/>
                      <a:pt x="26" y="2"/>
                    </a:cubicBezTo>
                    <a:cubicBezTo>
                      <a:pt x="26" y="2"/>
                      <a:pt x="26" y="2"/>
                      <a:pt x="26" y="2"/>
                    </a:cubicBezTo>
                    <a:cubicBezTo>
                      <a:pt x="25" y="2"/>
                      <a:pt x="24" y="2"/>
                      <a:pt x="24" y="2"/>
                    </a:cubicBezTo>
                    <a:cubicBezTo>
                      <a:pt x="23" y="2"/>
                      <a:pt x="23" y="2"/>
                      <a:pt x="23" y="2"/>
                    </a:cubicBezTo>
                    <a:cubicBezTo>
                      <a:pt x="22" y="2"/>
                      <a:pt x="21" y="2"/>
                      <a:pt x="21" y="2"/>
                    </a:cubicBezTo>
                    <a:cubicBezTo>
                      <a:pt x="19" y="2"/>
                      <a:pt x="18" y="2"/>
                      <a:pt x="17" y="2"/>
                    </a:cubicBezTo>
                    <a:cubicBezTo>
                      <a:pt x="16" y="2"/>
                      <a:pt x="15" y="2"/>
                      <a:pt x="14" y="3"/>
                    </a:cubicBezTo>
                    <a:cubicBezTo>
                      <a:pt x="9" y="3"/>
                      <a:pt x="4" y="4"/>
                      <a:pt x="0" y="4"/>
                    </a:cubicBezTo>
                    <a:cubicBezTo>
                      <a:pt x="0" y="5"/>
                      <a:pt x="0" y="5"/>
                      <a:pt x="0" y="6"/>
                    </a:cubicBezTo>
                    <a:cubicBezTo>
                      <a:pt x="1" y="6"/>
                      <a:pt x="1" y="6"/>
                      <a:pt x="1" y="6"/>
                    </a:cubicBezTo>
                    <a:cubicBezTo>
                      <a:pt x="1" y="7"/>
                      <a:pt x="1" y="7"/>
                      <a:pt x="1" y="7"/>
                    </a:cubicBezTo>
                    <a:cubicBezTo>
                      <a:pt x="6" y="6"/>
                      <a:pt x="6" y="6"/>
                      <a:pt x="6" y="6"/>
                    </a:cubicBezTo>
                    <a:cubicBezTo>
                      <a:pt x="1" y="8"/>
                      <a:pt x="1" y="8"/>
                      <a:pt x="1" y="8"/>
                    </a:cubicBezTo>
                    <a:cubicBezTo>
                      <a:pt x="1" y="8"/>
                      <a:pt x="1" y="8"/>
                      <a:pt x="1" y="8"/>
                    </a:cubicBezTo>
                    <a:cubicBezTo>
                      <a:pt x="1" y="9"/>
                      <a:pt x="2" y="10"/>
                      <a:pt x="2" y="10"/>
                    </a:cubicBezTo>
                    <a:cubicBezTo>
                      <a:pt x="2" y="11"/>
                      <a:pt x="2" y="11"/>
                      <a:pt x="2" y="11"/>
                    </a:cubicBezTo>
                    <a:cubicBezTo>
                      <a:pt x="2" y="12"/>
                      <a:pt x="2" y="12"/>
                      <a:pt x="2" y="13"/>
                    </a:cubicBezTo>
                    <a:cubicBezTo>
                      <a:pt x="2" y="16"/>
                      <a:pt x="2" y="16"/>
                      <a:pt x="2" y="16"/>
                    </a:cubicBezTo>
                    <a:cubicBezTo>
                      <a:pt x="2" y="17"/>
                      <a:pt x="2" y="18"/>
                      <a:pt x="1" y="19"/>
                    </a:cubicBezTo>
                    <a:cubicBezTo>
                      <a:pt x="1" y="19"/>
                      <a:pt x="0" y="20"/>
                      <a:pt x="0" y="20"/>
                    </a:cubicBezTo>
                    <a:cubicBezTo>
                      <a:pt x="0" y="21"/>
                      <a:pt x="0" y="21"/>
                      <a:pt x="0" y="21"/>
                    </a:cubicBezTo>
                    <a:cubicBezTo>
                      <a:pt x="0" y="21"/>
                      <a:pt x="0" y="22"/>
                      <a:pt x="0" y="22"/>
                    </a:cubicBezTo>
                    <a:cubicBezTo>
                      <a:pt x="2" y="24"/>
                      <a:pt x="2" y="25"/>
                      <a:pt x="2" y="25"/>
                    </a:cubicBezTo>
                    <a:cubicBezTo>
                      <a:pt x="2" y="26"/>
                      <a:pt x="2" y="27"/>
                      <a:pt x="2" y="28"/>
                    </a:cubicBezTo>
                    <a:cubicBezTo>
                      <a:pt x="3" y="29"/>
                      <a:pt x="4" y="29"/>
                      <a:pt x="5" y="29"/>
                    </a:cubicBezTo>
                    <a:cubicBezTo>
                      <a:pt x="6" y="29"/>
                      <a:pt x="6" y="29"/>
                      <a:pt x="6" y="29"/>
                    </a:cubicBezTo>
                    <a:cubicBezTo>
                      <a:pt x="8" y="29"/>
                      <a:pt x="9" y="30"/>
                      <a:pt x="11" y="30"/>
                    </a:cubicBezTo>
                    <a:cubicBezTo>
                      <a:pt x="16" y="30"/>
                      <a:pt x="18" y="31"/>
                      <a:pt x="22" y="35"/>
                    </a:cubicBezTo>
                    <a:cubicBezTo>
                      <a:pt x="26" y="38"/>
                      <a:pt x="26" y="38"/>
                      <a:pt x="26" y="38"/>
                    </a:cubicBezTo>
                    <a:cubicBezTo>
                      <a:pt x="26" y="38"/>
                      <a:pt x="27" y="38"/>
                      <a:pt x="27" y="38"/>
                    </a:cubicBezTo>
                    <a:cubicBezTo>
                      <a:pt x="29" y="37"/>
                      <a:pt x="30" y="37"/>
                      <a:pt x="31" y="37"/>
                    </a:cubicBezTo>
                    <a:cubicBezTo>
                      <a:pt x="33" y="36"/>
                      <a:pt x="33" y="36"/>
                      <a:pt x="33" y="36"/>
                    </a:cubicBezTo>
                    <a:cubicBezTo>
                      <a:pt x="35" y="38"/>
                      <a:pt x="35" y="38"/>
                      <a:pt x="35" y="38"/>
                    </a:cubicBezTo>
                    <a:cubicBezTo>
                      <a:pt x="35" y="39"/>
                      <a:pt x="36" y="40"/>
                      <a:pt x="37" y="41"/>
                    </a:cubicBezTo>
                    <a:cubicBezTo>
                      <a:pt x="37" y="41"/>
                      <a:pt x="37" y="41"/>
                      <a:pt x="37" y="41"/>
                    </a:cubicBezTo>
                    <a:cubicBezTo>
                      <a:pt x="38" y="42"/>
                      <a:pt x="38" y="42"/>
                      <a:pt x="38" y="42"/>
                    </a:cubicBezTo>
                    <a:cubicBezTo>
                      <a:pt x="39" y="42"/>
                      <a:pt x="39" y="43"/>
                      <a:pt x="40" y="43"/>
                    </a:cubicBezTo>
                    <a:cubicBezTo>
                      <a:pt x="40" y="43"/>
                      <a:pt x="41" y="43"/>
                      <a:pt x="41" y="43"/>
                    </a:cubicBezTo>
                    <a:cubicBezTo>
                      <a:pt x="41" y="44"/>
                      <a:pt x="42" y="44"/>
                      <a:pt x="42" y="44"/>
                    </a:cubicBezTo>
                    <a:cubicBezTo>
                      <a:pt x="42" y="44"/>
                      <a:pt x="42" y="44"/>
                      <a:pt x="42" y="44"/>
                    </a:cubicBezTo>
                    <a:cubicBezTo>
                      <a:pt x="42" y="44"/>
                      <a:pt x="44" y="43"/>
                      <a:pt x="44" y="43"/>
                    </a:cubicBezTo>
                    <a:cubicBezTo>
                      <a:pt x="48" y="41"/>
                      <a:pt x="48" y="41"/>
                      <a:pt x="48" y="41"/>
                    </a:cubicBezTo>
                    <a:cubicBezTo>
                      <a:pt x="49" y="44"/>
                      <a:pt x="49" y="44"/>
                      <a:pt x="49" y="44"/>
                    </a:cubicBezTo>
                    <a:cubicBezTo>
                      <a:pt x="50" y="45"/>
                      <a:pt x="50" y="47"/>
                      <a:pt x="51" y="48"/>
                    </a:cubicBezTo>
                    <a:cubicBezTo>
                      <a:pt x="51" y="48"/>
                      <a:pt x="51" y="48"/>
                      <a:pt x="51" y="48"/>
                    </a:cubicBezTo>
                    <a:cubicBezTo>
                      <a:pt x="51" y="49"/>
                      <a:pt x="52" y="49"/>
                      <a:pt x="52" y="50"/>
                    </a:cubicBezTo>
                    <a:cubicBezTo>
                      <a:pt x="52" y="50"/>
                      <a:pt x="52" y="50"/>
                      <a:pt x="52" y="50"/>
                    </a:cubicBezTo>
                    <a:cubicBezTo>
                      <a:pt x="54" y="50"/>
                      <a:pt x="55" y="50"/>
                      <a:pt x="56" y="51"/>
                    </a:cubicBezTo>
                    <a:cubicBezTo>
                      <a:pt x="58" y="54"/>
                      <a:pt x="59" y="57"/>
                      <a:pt x="59" y="61"/>
                    </a:cubicBezTo>
                    <a:cubicBezTo>
                      <a:pt x="60" y="62"/>
                      <a:pt x="60" y="62"/>
                      <a:pt x="60" y="62"/>
                    </a:cubicBezTo>
                    <a:cubicBezTo>
                      <a:pt x="60" y="62"/>
                      <a:pt x="60" y="62"/>
                      <a:pt x="60" y="62"/>
                    </a:cubicBezTo>
                    <a:cubicBezTo>
                      <a:pt x="61" y="61"/>
                      <a:pt x="61" y="61"/>
                      <a:pt x="62" y="61"/>
                    </a:cubicBezTo>
                    <a:cubicBezTo>
                      <a:pt x="63" y="61"/>
                      <a:pt x="63" y="61"/>
                      <a:pt x="63" y="61"/>
                    </a:cubicBezTo>
                    <a:cubicBezTo>
                      <a:pt x="63" y="61"/>
                      <a:pt x="63" y="61"/>
                      <a:pt x="63" y="61"/>
                    </a:cubicBezTo>
                    <a:cubicBezTo>
                      <a:pt x="63" y="60"/>
                      <a:pt x="63" y="60"/>
                      <a:pt x="63" y="59"/>
                    </a:cubicBezTo>
                    <a:cubicBezTo>
                      <a:pt x="62" y="59"/>
                      <a:pt x="62" y="59"/>
                      <a:pt x="62" y="59"/>
                    </a:cubicBezTo>
                    <a:cubicBezTo>
                      <a:pt x="61" y="58"/>
                      <a:pt x="61" y="58"/>
                      <a:pt x="61" y="58"/>
                    </a:cubicBezTo>
                    <a:cubicBezTo>
                      <a:pt x="61" y="57"/>
                      <a:pt x="61" y="57"/>
                      <a:pt x="61" y="57"/>
                    </a:cubicBezTo>
                    <a:cubicBezTo>
                      <a:pt x="61" y="55"/>
                      <a:pt x="61" y="54"/>
                      <a:pt x="62" y="53"/>
                    </a:cubicBezTo>
                    <a:cubicBezTo>
                      <a:pt x="61" y="53"/>
                      <a:pt x="61" y="52"/>
                      <a:pt x="61" y="50"/>
                    </a:cubicBezTo>
                    <a:cubicBezTo>
                      <a:pt x="61" y="49"/>
                      <a:pt x="61" y="49"/>
                      <a:pt x="61" y="48"/>
                    </a:cubicBezTo>
                    <a:cubicBezTo>
                      <a:pt x="55" y="44"/>
                      <a:pt x="49" y="41"/>
                      <a:pt x="44" y="37"/>
                    </a:cubicBezTo>
                    <a:cubicBezTo>
                      <a:pt x="37" y="32"/>
                      <a:pt x="37" y="32"/>
                      <a:pt x="37" y="32"/>
                    </a:cubicBezTo>
                    <a:cubicBezTo>
                      <a:pt x="43" y="31"/>
                      <a:pt x="43" y="31"/>
                      <a:pt x="43" y="31"/>
                    </a:cubicBezTo>
                    <a:cubicBezTo>
                      <a:pt x="44" y="31"/>
                      <a:pt x="45" y="31"/>
                      <a:pt x="46" y="31"/>
                    </a:cubicBezTo>
                    <a:cubicBezTo>
                      <a:pt x="47" y="30"/>
                      <a:pt x="48" y="30"/>
                      <a:pt x="48" y="30"/>
                    </a:cubicBezTo>
                    <a:cubicBezTo>
                      <a:pt x="48" y="30"/>
                      <a:pt x="48" y="30"/>
                      <a:pt x="48" y="30"/>
                    </a:cubicBezTo>
                    <a:cubicBezTo>
                      <a:pt x="49" y="29"/>
                      <a:pt x="49" y="29"/>
                      <a:pt x="49" y="29"/>
                    </a:cubicBezTo>
                    <a:cubicBezTo>
                      <a:pt x="49" y="29"/>
                      <a:pt x="49" y="28"/>
                      <a:pt x="49" y="27"/>
                    </a:cubicBezTo>
                    <a:cubicBezTo>
                      <a:pt x="48" y="27"/>
                      <a:pt x="47" y="26"/>
                      <a:pt x="46" y="26"/>
                    </a:cubicBezTo>
                    <a:cubicBezTo>
                      <a:pt x="44" y="24"/>
                      <a:pt x="44" y="24"/>
                      <a:pt x="44" y="24"/>
                    </a:cubicBezTo>
                    <a:cubicBezTo>
                      <a:pt x="43" y="23"/>
                      <a:pt x="43" y="23"/>
                      <a:pt x="42" y="22"/>
                    </a:cubicBezTo>
                    <a:cubicBezTo>
                      <a:pt x="40" y="21"/>
                      <a:pt x="35" y="17"/>
                      <a:pt x="37" y="13"/>
                    </a:cubicBezTo>
                    <a:cubicBezTo>
                      <a:pt x="38" y="11"/>
                      <a:pt x="39" y="11"/>
                      <a:pt x="40" y="10"/>
                    </a:cubicBezTo>
                    <a:cubicBezTo>
                      <a:pt x="41" y="10"/>
                      <a:pt x="41" y="10"/>
                      <a:pt x="41" y="10"/>
                    </a:cubicBezTo>
                    <a:cubicBezTo>
                      <a:pt x="41" y="10"/>
                      <a:pt x="41" y="10"/>
                      <a:pt x="41" y="10"/>
                    </a:cubicBezTo>
                    <a:cubicBezTo>
                      <a:pt x="41" y="9"/>
                      <a:pt x="40" y="9"/>
                      <a:pt x="40" y="9"/>
                    </a:cubicBezTo>
                    <a:cubicBezTo>
                      <a:pt x="40" y="9"/>
                      <a:pt x="39" y="9"/>
                      <a:pt x="39" y="8"/>
                    </a:cubicBezTo>
                    <a:cubicBezTo>
                      <a:pt x="37" y="7"/>
                      <a:pt x="35" y="6"/>
                      <a:pt x="34" y="6"/>
                    </a:cubicBezTo>
                    <a:cubicBezTo>
                      <a:pt x="34" y="7"/>
                      <a:pt x="34" y="7"/>
                      <a:pt x="34" y="7"/>
                    </a:cubicBezTo>
                    <a:cubicBezTo>
                      <a:pt x="33" y="7"/>
                      <a:pt x="33" y="7"/>
                      <a:pt x="33" y="7"/>
                    </a:cubicBezTo>
                    <a:cubicBezTo>
                      <a:pt x="25" y="8"/>
                      <a:pt x="25" y="8"/>
                      <a:pt x="25" y="8"/>
                    </a:cubicBezTo>
                    <a:cubicBezTo>
                      <a:pt x="30" y="2"/>
                      <a:pt x="30" y="2"/>
                      <a:pt x="30" y="2"/>
                    </a:cubicBezTo>
                    <a:cubicBezTo>
                      <a:pt x="31" y="1"/>
                      <a:pt x="31" y="1"/>
                      <a:pt x="31" y="1"/>
                    </a:cubicBez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Rectangle 182"/>
              <p:cNvSpPr>
                <a:spLocks noChangeArrowheads="1"/>
              </p:cNvSpPr>
              <p:nvPr/>
            </p:nvSpPr>
            <p:spPr bwMode="auto">
              <a:xfrm>
                <a:off x="6241" y="462"/>
                <a:ext cx="1" cy="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183"/>
              <p:cNvSpPr/>
              <p:nvPr/>
            </p:nvSpPr>
            <p:spPr bwMode="auto">
              <a:xfrm flipH="1">
                <a:off x="6241" y="462"/>
                <a:ext cx="0" cy="3"/>
              </a:xfrm>
              <a:custGeom>
                <a:gdLst>
                  <a:gd name="T0" fmla="*/ 0 h 3"/>
                  <a:gd name="T1" fmla="*/ 3 h 3"/>
                  <a:gd name="T2" fmla="*/ 3 h 3"/>
                  <a:gd name="T3" fmla="*/ 0 h 3"/>
                </a:gd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184"/>
              <p:cNvSpPr/>
              <p:nvPr/>
            </p:nvSpPr>
            <p:spPr bwMode="auto">
              <a:xfrm>
                <a:off x="6253" y="460"/>
                <a:ext cx="5" cy="2"/>
              </a:xfrm>
              <a:custGeom>
                <a:gdLst>
                  <a:gd name="T0" fmla="*/ 2 w 2"/>
                  <a:gd name="T1" fmla="*/ 0 h 1"/>
                  <a:gd name="T2" fmla="*/ 1 w 2"/>
                  <a:gd name="T3" fmla="*/ 0 h 1"/>
                  <a:gd name="T4" fmla="*/ 0 w 2"/>
                  <a:gd name="T5" fmla="*/ 0 h 1"/>
                  <a:gd name="T6" fmla="*/ 1 w 2"/>
                  <a:gd name="T7" fmla="*/ 1 h 1"/>
                  <a:gd name="T8" fmla="*/ 1 w 2"/>
                  <a:gd name="T9" fmla="*/ 1 h 1"/>
                  <a:gd name="T10" fmla="*/ 2 w 2"/>
                  <a:gd name="T11" fmla="*/ 0 h 1"/>
                </a:gdLst>
                <a:cxnLst>
                  <a:cxn ang="0">
                    <a:pos x="T0" y="T1"/>
                  </a:cxn>
                  <a:cxn ang="0">
                    <a:pos x="T2" y="T3"/>
                  </a:cxn>
                  <a:cxn ang="0">
                    <a:pos x="T4" y="T5"/>
                  </a:cxn>
                  <a:cxn ang="0">
                    <a:pos x="T6" y="T7"/>
                  </a:cxn>
                  <a:cxn ang="0">
                    <a:pos x="T8" y="T9"/>
                  </a:cxn>
                  <a:cxn ang="0">
                    <a:pos x="T10" y="T11"/>
                  </a:cxn>
                </a:cxnLst>
                <a:rect l="0" t="0" r="r" b="b"/>
                <a:pathLst>
                  <a:path w="2" h="1">
                    <a:moveTo>
                      <a:pt x="2" y="0"/>
                    </a:moveTo>
                    <a:cubicBezTo>
                      <a:pt x="1" y="0"/>
                      <a:pt x="1" y="0"/>
                      <a:pt x="1" y="0"/>
                    </a:cubicBezTo>
                    <a:cubicBezTo>
                      <a:pt x="0" y="0"/>
                      <a:pt x="0" y="0"/>
                      <a:pt x="0" y="0"/>
                    </a:cubicBezTo>
                    <a:cubicBezTo>
                      <a:pt x="1" y="1"/>
                      <a:pt x="1" y="1"/>
                      <a:pt x="1" y="1"/>
                    </a:cubicBezTo>
                    <a:cubicBezTo>
                      <a:pt x="1" y="1"/>
                      <a:pt x="1" y="1"/>
                      <a:pt x="1" y="1"/>
                    </a:cubicBezTo>
                    <a:cubicBezTo>
                      <a:pt x="1"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185"/>
              <p:cNvSpPr/>
              <p:nvPr/>
            </p:nvSpPr>
            <p:spPr bwMode="auto">
              <a:xfrm>
                <a:off x="6175" y="285"/>
                <a:ext cx="289" cy="215"/>
              </a:xfrm>
              <a:custGeom>
                <a:gdLst>
                  <a:gd name="T0" fmla="*/ 28 w 122"/>
                  <a:gd name="T1" fmla="*/ 4 h 91"/>
                  <a:gd name="T2" fmla="*/ 34 w 122"/>
                  <a:gd name="T3" fmla="*/ 9 h 91"/>
                  <a:gd name="T4" fmla="*/ 36 w 122"/>
                  <a:gd name="T5" fmla="*/ 18 h 91"/>
                  <a:gd name="T6" fmla="*/ 36 w 122"/>
                  <a:gd name="T7" fmla="*/ 23 h 91"/>
                  <a:gd name="T8" fmla="*/ 28 w 122"/>
                  <a:gd name="T9" fmla="*/ 22 h 91"/>
                  <a:gd name="T10" fmla="*/ 12 w 122"/>
                  <a:gd name="T11" fmla="*/ 18 h 91"/>
                  <a:gd name="T12" fmla="*/ 3 w 122"/>
                  <a:gd name="T13" fmla="*/ 13 h 91"/>
                  <a:gd name="T14" fmla="*/ 1 w 122"/>
                  <a:gd name="T15" fmla="*/ 14 h 91"/>
                  <a:gd name="T16" fmla="*/ 1 w 122"/>
                  <a:gd name="T17" fmla="*/ 15 h 91"/>
                  <a:gd name="T18" fmla="*/ 2 w 122"/>
                  <a:gd name="T19" fmla="*/ 16 h 91"/>
                  <a:gd name="T20" fmla="*/ 3 w 122"/>
                  <a:gd name="T21" fmla="*/ 17 h 91"/>
                  <a:gd name="T22" fmla="*/ 6 w 122"/>
                  <a:gd name="T23" fmla="*/ 20 h 91"/>
                  <a:gd name="T24" fmla="*/ 11 w 122"/>
                  <a:gd name="T25" fmla="*/ 30 h 91"/>
                  <a:gd name="T26" fmla="*/ 8 w 122"/>
                  <a:gd name="T27" fmla="*/ 32 h 91"/>
                  <a:gd name="T28" fmla="*/ 8 w 122"/>
                  <a:gd name="T29" fmla="*/ 32 h 91"/>
                  <a:gd name="T30" fmla="*/ 13 w 122"/>
                  <a:gd name="T31" fmla="*/ 36 h 91"/>
                  <a:gd name="T32" fmla="*/ 18 w 122"/>
                  <a:gd name="T33" fmla="*/ 40 h 91"/>
                  <a:gd name="T34" fmla="*/ 19 w 122"/>
                  <a:gd name="T35" fmla="*/ 47 h 91"/>
                  <a:gd name="T36" fmla="*/ 32 w 122"/>
                  <a:gd name="T37" fmla="*/ 62 h 91"/>
                  <a:gd name="T38" fmla="*/ 33 w 122"/>
                  <a:gd name="T39" fmla="*/ 67 h 91"/>
                  <a:gd name="T40" fmla="*/ 35 w 122"/>
                  <a:gd name="T41" fmla="*/ 69 h 91"/>
                  <a:gd name="T42" fmla="*/ 42 w 122"/>
                  <a:gd name="T43" fmla="*/ 68 h 91"/>
                  <a:gd name="T44" fmla="*/ 56 w 122"/>
                  <a:gd name="T45" fmla="*/ 59 h 91"/>
                  <a:gd name="T46" fmla="*/ 65 w 122"/>
                  <a:gd name="T47" fmla="*/ 55 h 91"/>
                  <a:gd name="T48" fmla="*/ 72 w 122"/>
                  <a:gd name="T49" fmla="*/ 61 h 91"/>
                  <a:gd name="T50" fmla="*/ 75 w 122"/>
                  <a:gd name="T51" fmla="*/ 67 h 91"/>
                  <a:gd name="T52" fmla="*/ 73 w 122"/>
                  <a:gd name="T53" fmla="*/ 72 h 91"/>
                  <a:gd name="T54" fmla="*/ 75 w 122"/>
                  <a:gd name="T55" fmla="*/ 74 h 91"/>
                  <a:gd name="T56" fmla="*/ 71 w 122"/>
                  <a:gd name="T57" fmla="*/ 81 h 91"/>
                  <a:gd name="T58" fmla="*/ 74 w 122"/>
                  <a:gd name="T59" fmla="*/ 84 h 91"/>
                  <a:gd name="T60" fmla="*/ 77 w 122"/>
                  <a:gd name="T61" fmla="*/ 86 h 91"/>
                  <a:gd name="T62" fmla="*/ 81 w 122"/>
                  <a:gd name="T63" fmla="*/ 91 h 91"/>
                  <a:gd name="T64" fmla="*/ 81 w 122"/>
                  <a:gd name="T65" fmla="*/ 91 h 91"/>
                  <a:gd name="T66" fmla="*/ 86 w 122"/>
                  <a:gd name="T67" fmla="*/ 90 h 91"/>
                  <a:gd name="T68" fmla="*/ 90 w 122"/>
                  <a:gd name="T69" fmla="*/ 73 h 91"/>
                  <a:gd name="T70" fmla="*/ 93 w 122"/>
                  <a:gd name="T71" fmla="*/ 78 h 91"/>
                  <a:gd name="T72" fmla="*/ 97 w 122"/>
                  <a:gd name="T73" fmla="*/ 68 h 91"/>
                  <a:gd name="T74" fmla="*/ 98 w 122"/>
                  <a:gd name="T75" fmla="*/ 69 h 91"/>
                  <a:gd name="T76" fmla="*/ 98 w 122"/>
                  <a:gd name="T77" fmla="*/ 67 h 91"/>
                  <a:gd name="T78" fmla="*/ 99 w 122"/>
                  <a:gd name="T79" fmla="*/ 54 h 91"/>
                  <a:gd name="T80" fmla="*/ 113 w 122"/>
                  <a:gd name="T81" fmla="*/ 41 h 91"/>
                  <a:gd name="T82" fmla="*/ 122 w 122"/>
                  <a:gd name="T83" fmla="*/ 44 h 91"/>
                  <a:gd name="T84" fmla="*/ 114 w 122"/>
                  <a:gd name="T85" fmla="*/ 35 h 91"/>
                  <a:gd name="T86" fmla="*/ 111 w 122"/>
                  <a:gd name="T87" fmla="*/ 34 h 91"/>
                  <a:gd name="T88" fmla="*/ 109 w 122"/>
                  <a:gd name="T89" fmla="*/ 34 h 91"/>
                  <a:gd name="T90" fmla="*/ 91 w 122"/>
                  <a:gd name="T91" fmla="*/ 14 h 91"/>
                  <a:gd name="T92" fmla="*/ 74 w 122"/>
                  <a:gd name="T93" fmla="*/ 8 h 91"/>
                  <a:gd name="T94" fmla="*/ 73 w 122"/>
                  <a:gd name="T95" fmla="*/ 9 h 91"/>
                  <a:gd name="T96" fmla="*/ 68 w 122"/>
                  <a:gd name="T97" fmla="*/ 14 h 91"/>
                  <a:gd name="T98" fmla="*/ 55 w 122"/>
                  <a:gd name="T99" fmla="*/ 19 h 91"/>
                  <a:gd name="T100" fmla="*/ 44 w 122"/>
                  <a:gd name="T101" fmla="*/ 10 h 91"/>
                  <a:gd name="T102" fmla="*/ 34 w 122"/>
                  <a:gd name="T103" fmla="*/ 0 h 91"/>
                  <a:gd name="T104" fmla="*/ 31 w 122"/>
                  <a:gd name="T105" fmla="*/ 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91">
                    <a:moveTo>
                      <a:pt x="31" y="0"/>
                    </a:moveTo>
                    <a:cubicBezTo>
                      <a:pt x="28" y="4"/>
                      <a:pt x="28" y="4"/>
                      <a:pt x="28" y="4"/>
                    </a:cubicBezTo>
                    <a:cubicBezTo>
                      <a:pt x="29" y="5"/>
                      <a:pt x="29" y="5"/>
                      <a:pt x="30" y="6"/>
                    </a:cubicBezTo>
                    <a:cubicBezTo>
                      <a:pt x="31" y="7"/>
                      <a:pt x="32" y="8"/>
                      <a:pt x="34" y="9"/>
                    </a:cubicBezTo>
                    <a:cubicBezTo>
                      <a:pt x="38" y="11"/>
                      <a:pt x="37" y="15"/>
                      <a:pt x="36" y="18"/>
                    </a:cubicBezTo>
                    <a:cubicBezTo>
                      <a:pt x="36" y="18"/>
                      <a:pt x="36" y="18"/>
                      <a:pt x="36" y="18"/>
                    </a:cubicBezTo>
                    <a:cubicBezTo>
                      <a:pt x="36" y="19"/>
                      <a:pt x="36" y="19"/>
                      <a:pt x="36" y="20"/>
                    </a:cubicBezTo>
                    <a:cubicBezTo>
                      <a:pt x="36" y="23"/>
                      <a:pt x="36" y="23"/>
                      <a:pt x="36" y="23"/>
                    </a:cubicBezTo>
                    <a:cubicBezTo>
                      <a:pt x="33" y="22"/>
                      <a:pt x="33" y="22"/>
                      <a:pt x="33" y="22"/>
                    </a:cubicBezTo>
                    <a:cubicBezTo>
                      <a:pt x="31" y="22"/>
                      <a:pt x="29" y="22"/>
                      <a:pt x="28" y="22"/>
                    </a:cubicBezTo>
                    <a:cubicBezTo>
                      <a:pt x="23" y="21"/>
                      <a:pt x="18" y="20"/>
                      <a:pt x="14" y="19"/>
                    </a:cubicBezTo>
                    <a:cubicBezTo>
                      <a:pt x="13" y="19"/>
                      <a:pt x="12" y="18"/>
                      <a:pt x="12" y="18"/>
                    </a:cubicBezTo>
                    <a:cubicBezTo>
                      <a:pt x="10" y="17"/>
                      <a:pt x="9" y="16"/>
                      <a:pt x="8" y="15"/>
                    </a:cubicBezTo>
                    <a:cubicBezTo>
                      <a:pt x="6" y="14"/>
                      <a:pt x="5" y="13"/>
                      <a:pt x="3" y="13"/>
                    </a:cubicBezTo>
                    <a:cubicBezTo>
                      <a:pt x="2" y="13"/>
                      <a:pt x="2" y="13"/>
                      <a:pt x="2" y="13"/>
                    </a:cubicBezTo>
                    <a:cubicBezTo>
                      <a:pt x="1" y="14"/>
                      <a:pt x="1" y="14"/>
                      <a:pt x="1" y="14"/>
                    </a:cubicBezTo>
                    <a:cubicBezTo>
                      <a:pt x="0" y="14"/>
                      <a:pt x="0" y="14"/>
                      <a:pt x="0" y="14"/>
                    </a:cubicBezTo>
                    <a:cubicBezTo>
                      <a:pt x="1" y="15"/>
                      <a:pt x="1" y="15"/>
                      <a:pt x="1" y="15"/>
                    </a:cubicBezTo>
                    <a:cubicBezTo>
                      <a:pt x="1" y="15"/>
                      <a:pt x="1" y="15"/>
                      <a:pt x="1" y="15"/>
                    </a:cubicBezTo>
                    <a:cubicBezTo>
                      <a:pt x="2" y="16"/>
                      <a:pt x="2" y="16"/>
                      <a:pt x="2" y="16"/>
                    </a:cubicBezTo>
                    <a:cubicBezTo>
                      <a:pt x="3" y="17"/>
                      <a:pt x="3" y="17"/>
                      <a:pt x="3" y="17"/>
                    </a:cubicBezTo>
                    <a:cubicBezTo>
                      <a:pt x="3" y="17"/>
                      <a:pt x="3" y="17"/>
                      <a:pt x="3" y="17"/>
                    </a:cubicBezTo>
                    <a:cubicBezTo>
                      <a:pt x="3" y="18"/>
                      <a:pt x="3" y="18"/>
                      <a:pt x="3" y="19"/>
                    </a:cubicBezTo>
                    <a:cubicBezTo>
                      <a:pt x="4" y="19"/>
                      <a:pt x="5" y="19"/>
                      <a:pt x="6" y="20"/>
                    </a:cubicBezTo>
                    <a:cubicBezTo>
                      <a:pt x="9" y="21"/>
                      <a:pt x="11" y="23"/>
                      <a:pt x="12" y="25"/>
                    </a:cubicBezTo>
                    <a:cubicBezTo>
                      <a:pt x="13" y="27"/>
                      <a:pt x="12" y="29"/>
                      <a:pt x="11" y="30"/>
                    </a:cubicBezTo>
                    <a:cubicBezTo>
                      <a:pt x="11" y="31"/>
                      <a:pt x="10" y="31"/>
                      <a:pt x="9" y="31"/>
                    </a:cubicBezTo>
                    <a:cubicBezTo>
                      <a:pt x="9" y="32"/>
                      <a:pt x="8" y="32"/>
                      <a:pt x="8" y="32"/>
                    </a:cubicBezTo>
                    <a:cubicBezTo>
                      <a:pt x="8" y="32"/>
                      <a:pt x="8" y="32"/>
                      <a:pt x="8" y="32"/>
                    </a:cubicBezTo>
                    <a:cubicBezTo>
                      <a:pt x="8" y="32"/>
                      <a:pt x="8" y="32"/>
                      <a:pt x="8" y="32"/>
                    </a:cubicBezTo>
                    <a:cubicBezTo>
                      <a:pt x="8" y="33"/>
                      <a:pt x="9" y="34"/>
                      <a:pt x="11" y="35"/>
                    </a:cubicBezTo>
                    <a:cubicBezTo>
                      <a:pt x="11" y="35"/>
                      <a:pt x="12" y="36"/>
                      <a:pt x="13" y="36"/>
                    </a:cubicBezTo>
                    <a:cubicBezTo>
                      <a:pt x="15" y="38"/>
                      <a:pt x="15" y="38"/>
                      <a:pt x="15" y="38"/>
                    </a:cubicBezTo>
                    <a:cubicBezTo>
                      <a:pt x="16" y="39"/>
                      <a:pt x="17" y="40"/>
                      <a:pt x="18" y="40"/>
                    </a:cubicBezTo>
                    <a:cubicBezTo>
                      <a:pt x="20" y="42"/>
                      <a:pt x="20" y="45"/>
                      <a:pt x="19" y="47"/>
                    </a:cubicBezTo>
                    <a:cubicBezTo>
                      <a:pt x="19" y="47"/>
                      <a:pt x="19" y="47"/>
                      <a:pt x="19" y="47"/>
                    </a:cubicBezTo>
                    <a:cubicBezTo>
                      <a:pt x="19" y="49"/>
                      <a:pt x="19" y="51"/>
                      <a:pt x="17" y="52"/>
                    </a:cubicBezTo>
                    <a:cubicBezTo>
                      <a:pt x="21" y="55"/>
                      <a:pt x="27" y="59"/>
                      <a:pt x="32" y="62"/>
                    </a:cubicBezTo>
                    <a:cubicBezTo>
                      <a:pt x="36" y="64"/>
                      <a:pt x="36" y="64"/>
                      <a:pt x="36" y="64"/>
                    </a:cubicBezTo>
                    <a:cubicBezTo>
                      <a:pt x="33" y="67"/>
                      <a:pt x="33" y="67"/>
                      <a:pt x="33" y="67"/>
                    </a:cubicBezTo>
                    <a:cubicBezTo>
                      <a:pt x="32" y="67"/>
                      <a:pt x="32" y="67"/>
                      <a:pt x="32" y="67"/>
                    </a:cubicBezTo>
                    <a:cubicBezTo>
                      <a:pt x="33" y="68"/>
                      <a:pt x="34" y="68"/>
                      <a:pt x="35" y="69"/>
                    </a:cubicBezTo>
                    <a:cubicBezTo>
                      <a:pt x="38" y="72"/>
                      <a:pt x="38" y="72"/>
                      <a:pt x="38" y="72"/>
                    </a:cubicBezTo>
                    <a:cubicBezTo>
                      <a:pt x="39" y="70"/>
                      <a:pt x="40" y="69"/>
                      <a:pt x="42" y="68"/>
                    </a:cubicBezTo>
                    <a:cubicBezTo>
                      <a:pt x="44" y="67"/>
                      <a:pt x="45" y="66"/>
                      <a:pt x="47" y="65"/>
                    </a:cubicBezTo>
                    <a:cubicBezTo>
                      <a:pt x="50" y="63"/>
                      <a:pt x="53" y="61"/>
                      <a:pt x="56" y="59"/>
                    </a:cubicBezTo>
                    <a:cubicBezTo>
                      <a:pt x="57" y="59"/>
                      <a:pt x="57" y="59"/>
                      <a:pt x="57" y="59"/>
                    </a:cubicBezTo>
                    <a:cubicBezTo>
                      <a:pt x="60" y="56"/>
                      <a:pt x="63" y="55"/>
                      <a:pt x="65" y="55"/>
                    </a:cubicBezTo>
                    <a:cubicBezTo>
                      <a:pt x="65" y="55"/>
                      <a:pt x="66" y="55"/>
                      <a:pt x="66" y="55"/>
                    </a:cubicBezTo>
                    <a:cubicBezTo>
                      <a:pt x="68" y="56"/>
                      <a:pt x="70" y="58"/>
                      <a:pt x="72" y="61"/>
                    </a:cubicBezTo>
                    <a:cubicBezTo>
                      <a:pt x="73" y="63"/>
                      <a:pt x="73" y="63"/>
                      <a:pt x="73" y="63"/>
                    </a:cubicBezTo>
                    <a:cubicBezTo>
                      <a:pt x="74" y="64"/>
                      <a:pt x="75" y="66"/>
                      <a:pt x="75" y="67"/>
                    </a:cubicBezTo>
                    <a:cubicBezTo>
                      <a:pt x="76" y="69"/>
                      <a:pt x="74" y="71"/>
                      <a:pt x="74" y="72"/>
                    </a:cubicBezTo>
                    <a:cubicBezTo>
                      <a:pt x="73" y="72"/>
                      <a:pt x="73" y="72"/>
                      <a:pt x="73" y="72"/>
                    </a:cubicBezTo>
                    <a:cubicBezTo>
                      <a:pt x="74" y="73"/>
                      <a:pt x="74" y="73"/>
                      <a:pt x="74" y="73"/>
                    </a:cubicBezTo>
                    <a:cubicBezTo>
                      <a:pt x="74" y="73"/>
                      <a:pt x="75" y="74"/>
                      <a:pt x="75" y="74"/>
                    </a:cubicBezTo>
                    <a:cubicBezTo>
                      <a:pt x="78" y="77"/>
                      <a:pt x="78" y="77"/>
                      <a:pt x="78" y="77"/>
                    </a:cubicBezTo>
                    <a:cubicBezTo>
                      <a:pt x="71" y="81"/>
                      <a:pt x="71" y="81"/>
                      <a:pt x="71" y="81"/>
                    </a:cubicBezTo>
                    <a:cubicBezTo>
                      <a:pt x="73" y="83"/>
                      <a:pt x="73" y="83"/>
                      <a:pt x="73" y="83"/>
                    </a:cubicBezTo>
                    <a:cubicBezTo>
                      <a:pt x="73" y="83"/>
                      <a:pt x="74" y="84"/>
                      <a:pt x="74" y="84"/>
                    </a:cubicBezTo>
                    <a:cubicBezTo>
                      <a:pt x="74" y="85"/>
                      <a:pt x="74" y="85"/>
                      <a:pt x="74" y="85"/>
                    </a:cubicBezTo>
                    <a:cubicBezTo>
                      <a:pt x="75" y="85"/>
                      <a:pt x="76" y="86"/>
                      <a:pt x="77" y="86"/>
                    </a:cubicBezTo>
                    <a:cubicBezTo>
                      <a:pt x="77" y="87"/>
                      <a:pt x="78" y="87"/>
                      <a:pt x="79" y="88"/>
                    </a:cubicBezTo>
                    <a:cubicBezTo>
                      <a:pt x="80" y="89"/>
                      <a:pt x="80" y="90"/>
                      <a:pt x="81" y="91"/>
                    </a:cubicBezTo>
                    <a:cubicBezTo>
                      <a:pt x="81" y="91"/>
                      <a:pt x="81" y="91"/>
                      <a:pt x="81" y="91"/>
                    </a:cubicBezTo>
                    <a:cubicBezTo>
                      <a:pt x="81" y="91"/>
                      <a:pt x="81" y="91"/>
                      <a:pt x="81" y="91"/>
                    </a:cubicBezTo>
                    <a:cubicBezTo>
                      <a:pt x="82" y="91"/>
                      <a:pt x="84" y="91"/>
                      <a:pt x="85" y="90"/>
                    </a:cubicBezTo>
                    <a:cubicBezTo>
                      <a:pt x="86" y="90"/>
                      <a:pt x="86" y="90"/>
                      <a:pt x="86" y="90"/>
                    </a:cubicBezTo>
                    <a:cubicBezTo>
                      <a:pt x="86" y="87"/>
                      <a:pt x="87" y="84"/>
                      <a:pt x="87" y="81"/>
                    </a:cubicBezTo>
                    <a:cubicBezTo>
                      <a:pt x="88" y="79"/>
                      <a:pt x="87" y="73"/>
                      <a:pt x="90" y="73"/>
                    </a:cubicBezTo>
                    <a:cubicBezTo>
                      <a:pt x="90" y="73"/>
                      <a:pt x="90" y="73"/>
                      <a:pt x="90" y="73"/>
                    </a:cubicBezTo>
                    <a:cubicBezTo>
                      <a:pt x="91" y="73"/>
                      <a:pt x="93" y="78"/>
                      <a:pt x="93" y="78"/>
                    </a:cubicBezTo>
                    <a:cubicBezTo>
                      <a:pt x="93" y="76"/>
                      <a:pt x="94" y="70"/>
                      <a:pt x="96" y="68"/>
                    </a:cubicBezTo>
                    <a:cubicBezTo>
                      <a:pt x="96" y="68"/>
                      <a:pt x="97" y="68"/>
                      <a:pt x="97" y="68"/>
                    </a:cubicBezTo>
                    <a:cubicBezTo>
                      <a:pt x="97" y="68"/>
                      <a:pt x="97" y="69"/>
                      <a:pt x="98" y="69"/>
                    </a:cubicBezTo>
                    <a:cubicBezTo>
                      <a:pt x="98" y="69"/>
                      <a:pt x="98" y="69"/>
                      <a:pt x="98" y="69"/>
                    </a:cubicBezTo>
                    <a:cubicBezTo>
                      <a:pt x="98" y="69"/>
                      <a:pt x="99" y="69"/>
                      <a:pt x="99" y="69"/>
                    </a:cubicBezTo>
                    <a:cubicBezTo>
                      <a:pt x="99" y="67"/>
                      <a:pt x="98" y="67"/>
                      <a:pt x="98" y="67"/>
                    </a:cubicBezTo>
                    <a:cubicBezTo>
                      <a:pt x="98" y="65"/>
                      <a:pt x="96" y="64"/>
                      <a:pt x="97" y="61"/>
                    </a:cubicBezTo>
                    <a:cubicBezTo>
                      <a:pt x="97" y="59"/>
                      <a:pt x="98" y="57"/>
                      <a:pt x="99" y="54"/>
                    </a:cubicBezTo>
                    <a:cubicBezTo>
                      <a:pt x="100" y="51"/>
                      <a:pt x="101" y="46"/>
                      <a:pt x="104" y="44"/>
                    </a:cubicBezTo>
                    <a:cubicBezTo>
                      <a:pt x="107" y="41"/>
                      <a:pt x="110" y="41"/>
                      <a:pt x="113" y="41"/>
                    </a:cubicBezTo>
                    <a:cubicBezTo>
                      <a:pt x="113" y="41"/>
                      <a:pt x="114" y="41"/>
                      <a:pt x="114" y="41"/>
                    </a:cubicBezTo>
                    <a:cubicBezTo>
                      <a:pt x="118" y="41"/>
                      <a:pt x="119" y="41"/>
                      <a:pt x="122" y="44"/>
                    </a:cubicBezTo>
                    <a:cubicBezTo>
                      <a:pt x="121" y="41"/>
                      <a:pt x="121" y="40"/>
                      <a:pt x="119" y="38"/>
                    </a:cubicBezTo>
                    <a:cubicBezTo>
                      <a:pt x="118" y="37"/>
                      <a:pt x="116" y="35"/>
                      <a:pt x="114" y="35"/>
                    </a:cubicBezTo>
                    <a:cubicBezTo>
                      <a:pt x="113" y="34"/>
                      <a:pt x="113" y="34"/>
                      <a:pt x="111" y="34"/>
                    </a:cubicBezTo>
                    <a:cubicBezTo>
                      <a:pt x="111" y="34"/>
                      <a:pt x="111" y="34"/>
                      <a:pt x="111" y="34"/>
                    </a:cubicBezTo>
                    <a:cubicBezTo>
                      <a:pt x="110" y="34"/>
                      <a:pt x="110" y="34"/>
                      <a:pt x="109" y="34"/>
                    </a:cubicBezTo>
                    <a:cubicBezTo>
                      <a:pt x="109" y="34"/>
                      <a:pt x="109" y="34"/>
                      <a:pt x="109" y="34"/>
                    </a:cubicBezTo>
                    <a:cubicBezTo>
                      <a:pt x="106" y="34"/>
                      <a:pt x="104" y="32"/>
                      <a:pt x="102" y="30"/>
                    </a:cubicBezTo>
                    <a:cubicBezTo>
                      <a:pt x="97" y="25"/>
                      <a:pt x="94" y="20"/>
                      <a:pt x="91" y="14"/>
                    </a:cubicBezTo>
                    <a:cubicBezTo>
                      <a:pt x="90" y="9"/>
                      <a:pt x="85" y="5"/>
                      <a:pt x="81" y="0"/>
                    </a:cubicBezTo>
                    <a:cubicBezTo>
                      <a:pt x="80" y="4"/>
                      <a:pt x="77" y="6"/>
                      <a:pt x="74" y="8"/>
                    </a:cubicBezTo>
                    <a:cubicBezTo>
                      <a:pt x="74" y="8"/>
                      <a:pt x="74" y="8"/>
                      <a:pt x="74" y="8"/>
                    </a:cubicBezTo>
                    <a:cubicBezTo>
                      <a:pt x="73" y="9"/>
                      <a:pt x="73" y="9"/>
                      <a:pt x="73" y="9"/>
                    </a:cubicBezTo>
                    <a:cubicBezTo>
                      <a:pt x="72" y="10"/>
                      <a:pt x="71" y="11"/>
                      <a:pt x="70" y="11"/>
                    </a:cubicBezTo>
                    <a:cubicBezTo>
                      <a:pt x="69" y="11"/>
                      <a:pt x="69" y="12"/>
                      <a:pt x="68" y="14"/>
                    </a:cubicBezTo>
                    <a:cubicBezTo>
                      <a:pt x="66" y="18"/>
                      <a:pt x="64" y="19"/>
                      <a:pt x="60" y="19"/>
                    </a:cubicBezTo>
                    <a:cubicBezTo>
                      <a:pt x="59" y="19"/>
                      <a:pt x="57" y="19"/>
                      <a:pt x="55" y="19"/>
                    </a:cubicBezTo>
                    <a:cubicBezTo>
                      <a:pt x="48" y="17"/>
                      <a:pt x="46" y="14"/>
                      <a:pt x="45" y="12"/>
                    </a:cubicBezTo>
                    <a:cubicBezTo>
                      <a:pt x="45" y="11"/>
                      <a:pt x="44" y="10"/>
                      <a:pt x="44" y="10"/>
                    </a:cubicBezTo>
                    <a:cubicBezTo>
                      <a:pt x="42" y="10"/>
                      <a:pt x="39" y="7"/>
                      <a:pt x="38" y="4"/>
                    </a:cubicBezTo>
                    <a:cubicBezTo>
                      <a:pt x="37" y="2"/>
                      <a:pt x="35" y="0"/>
                      <a:pt x="34" y="0"/>
                    </a:cubicBezTo>
                    <a:cubicBezTo>
                      <a:pt x="32" y="0"/>
                      <a:pt x="31" y="0"/>
                      <a:pt x="31" y="0"/>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186"/>
              <p:cNvSpPr/>
              <p:nvPr/>
            </p:nvSpPr>
            <p:spPr bwMode="auto">
              <a:xfrm>
                <a:off x="6161" y="427"/>
                <a:ext cx="59" cy="45"/>
              </a:xfrm>
              <a:custGeom>
                <a:gdLst>
                  <a:gd name="T0" fmla="*/ 2 w 25"/>
                  <a:gd name="T1" fmla="*/ 0 h 19"/>
                  <a:gd name="T2" fmla="*/ 0 w 25"/>
                  <a:gd name="T3" fmla="*/ 0 h 19"/>
                  <a:gd name="T4" fmla="*/ 0 w 25"/>
                  <a:gd name="T5" fmla="*/ 0 h 19"/>
                  <a:gd name="T6" fmla="*/ 1 w 25"/>
                  <a:gd name="T7" fmla="*/ 2 h 19"/>
                  <a:gd name="T8" fmla="*/ 7 w 25"/>
                  <a:gd name="T9" fmla="*/ 9 h 19"/>
                  <a:gd name="T10" fmla="*/ 8 w 25"/>
                  <a:gd name="T11" fmla="*/ 10 h 19"/>
                  <a:gd name="T12" fmla="*/ 9 w 25"/>
                  <a:gd name="T13" fmla="*/ 11 h 19"/>
                  <a:gd name="T14" fmla="*/ 13 w 25"/>
                  <a:gd name="T15" fmla="*/ 15 h 19"/>
                  <a:gd name="T16" fmla="*/ 21 w 25"/>
                  <a:gd name="T17" fmla="*/ 18 h 19"/>
                  <a:gd name="T18" fmla="*/ 23 w 25"/>
                  <a:gd name="T19" fmla="*/ 18 h 19"/>
                  <a:gd name="T20" fmla="*/ 25 w 25"/>
                  <a:gd name="T21" fmla="*/ 19 h 19"/>
                  <a:gd name="T22" fmla="*/ 25 w 25"/>
                  <a:gd name="T23" fmla="*/ 19 h 19"/>
                  <a:gd name="T24" fmla="*/ 22 w 25"/>
                  <a:gd name="T25" fmla="*/ 12 h 19"/>
                  <a:gd name="T26" fmla="*/ 21 w 25"/>
                  <a:gd name="T27" fmla="*/ 12 h 19"/>
                  <a:gd name="T28" fmla="*/ 21 w 25"/>
                  <a:gd name="T29" fmla="*/ 12 h 19"/>
                  <a:gd name="T30" fmla="*/ 17 w 25"/>
                  <a:gd name="T31" fmla="*/ 8 h 19"/>
                  <a:gd name="T32" fmla="*/ 16 w 25"/>
                  <a:gd name="T33" fmla="*/ 6 h 19"/>
                  <a:gd name="T34" fmla="*/ 13 w 25"/>
                  <a:gd name="T35" fmla="*/ 7 h 19"/>
                  <a:gd name="T36" fmla="*/ 13 w 25"/>
                  <a:gd name="T37" fmla="*/ 7 h 19"/>
                  <a:gd name="T38" fmla="*/ 10 w 25"/>
                  <a:gd name="T39" fmla="*/ 6 h 19"/>
                  <a:gd name="T40" fmla="*/ 10 w 25"/>
                  <a:gd name="T41" fmla="*/ 6 h 19"/>
                  <a:gd name="T42" fmla="*/ 8 w 25"/>
                  <a:gd name="T43" fmla="*/ 5 h 19"/>
                  <a:gd name="T44" fmla="*/ 5 w 25"/>
                  <a:gd name="T45" fmla="*/ 3 h 19"/>
                  <a:gd name="T46" fmla="*/ 4 w 25"/>
                  <a:gd name="T47" fmla="*/ 2 h 19"/>
                  <a:gd name="T48" fmla="*/ 2 w 25"/>
                  <a:gd name="T49" fmla="*/ 0 h 19"/>
                  <a:gd name="T50" fmla="*/ 2 w 25"/>
                  <a:gd name="T51"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19">
                    <a:moveTo>
                      <a:pt x="2" y="0"/>
                    </a:moveTo>
                    <a:cubicBezTo>
                      <a:pt x="0" y="0"/>
                      <a:pt x="0" y="0"/>
                      <a:pt x="0" y="0"/>
                    </a:cubicBezTo>
                    <a:cubicBezTo>
                      <a:pt x="0" y="0"/>
                      <a:pt x="0" y="0"/>
                      <a:pt x="0" y="0"/>
                    </a:cubicBezTo>
                    <a:cubicBezTo>
                      <a:pt x="0" y="1"/>
                      <a:pt x="0" y="1"/>
                      <a:pt x="1" y="2"/>
                    </a:cubicBezTo>
                    <a:cubicBezTo>
                      <a:pt x="1" y="2"/>
                      <a:pt x="1" y="3"/>
                      <a:pt x="7" y="9"/>
                    </a:cubicBezTo>
                    <a:cubicBezTo>
                      <a:pt x="7" y="9"/>
                      <a:pt x="8" y="10"/>
                      <a:pt x="8" y="10"/>
                    </a:cubicBezTo>
                    <a:cubicBezTo>
                      <a:pt x="9" y="11"/>
                      <a:pt x="9" y="11"/>
                      <a:pt x="9" y="11"/>
                    </a:cubicBezTo>
                    <a:cubicBezTo>
                      <a:pt x="11" y="13"/>
                      <a:pt x="12" y="14"/>
                      <a:pt x="13" y="15"/>
                    </a:cubicBezTo>
                    <a:cubicBezTo>
                      <a:pt x="13" y="15"/>
                      <a:pt x="17" y="17"/>
                      <a:pt x="21" y="18"/>
                    </a:cubicBezTo>
                    <a:cubicBezTo>
                      <a:pt x="22" y="18"/>
                      <a:pt x="23" y="18"/>
                      <a:pt x="23" y="18"/>
                    </a:cubicBezTo>
                    <a:cubicBezTo>
                      <a:pt x="24" y="18"/>
                      <a:pt x="24" y="18"/>
                      <a:pt x="25" y="19"/>
                    </a:cubicBezTo>
                    <a:cubicBezTo>
                      <a:pt x="25" y="19"/>
                      <a:pt x="25" y="19"/>
                      <a:pt x="25" y="19"/>
                    </a:cubicBezTo>
                    <a:cubicBezTo>
                      <a:pt x="24" y="16"/>
                      <a:pt x="23" y="14"/>
                      <a:pt x="22" y="12"/>
                    </a:cubicBezTo>
                    <a:cubicBezTo>
                      <a:pt x="21" y="12"/>
                      <a:pt x="21" y="12"/>
                      <a:pt x="21" y="12"/>
                    </a:cubicBezTo>
                    <a:cubicBezTo>
                      <a:pt x="21" y="12"/>
                      <a:pt x="21" y="12"/>
                      <a:pt x="21" y="12"/>
                    </a:cubicBezTo>
                    <a:cubicBezTo>
                      <a:pt x="19" y="11"/>
                      <a:pt x="17" y="9"/>
                      <a:pt x="17" y="8"/>
                    </a:cubicBezTo>
                    <a:cubicBezTo>
                      <a:pt x="16" y="7"/>
                      <a:pt x="16" y="6"/>
                      <a:pt x="16" y="6"/>
                    </a:cubicBezTo>
                    <a:cubicBezTo>
                      <a:pt x="15" y="6"/>
                      <a:pt x="14" y="6"/>
                      <a:pt x="13" y="7"/>
                    </a:cubicBezTo>
                    <a:cubicBezTo>
                      <a:pt x="13" y="7"/>
                      <a:pt x="13" y="7"/>
                      <a:pt x="13" y="7"/>
                    </a:cubicBezTo>
                    <a:cubicBezTo>
                      <a:pt x="12" y="7"/>
                      <a:pt x="11" y="6"/>
                      <a:pt x="10" y="6"/>
                    </a:cubicBezTo>
                    <a:cubicBezTo>
                      <a:pt x="10" y="6"/>
                      <a:pt x="10" y="6"/>
                      <a:pt x="10" y="6"/>
                    </a:cubicBezTo>
                    <a:cubicBezTo>
                      <a:pt x="9" y="6"/>
                      <a:pt x="8" y="5"/>
                      <a:pt x="8" y="5"/>
                    </a:cubicBezTo>
                    <a:cubicBezTo>
                      <a:pt x="7" y="4"/>
                      <a:pt x="6" y="4"/>
                      <a:pt x="5" y="3"/>
                    </a:cubicBezTo>
                    <a:cubicBezTo>
                      <a:pt x="5" y="2"/>
                      <a:pt x="4" y="2"/>
                      <a:pt x="4" y="2"/>
                    </a:cubicBezTo>
                    <a:cubicBezTo>
                      <a:pt x="3" y="1"/>
                      <a:pt x="3"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187"/>
              <p:cNvSpPr/>
              <p:nvPr/>
            </p:nvSpPr>
            <p:spPr bwMode="auto">
              <a:xfrm>
                <a:off x="4188" y="843"/>
                <a:ext cx="870" cy="801"/>
              </a:xfrm>
              <a:custGeom>
                <a:gdLst>
                  <a:gd name="T0" fmla="*/ 47 w 368"/>
                  <a:gd name="T1" fmla="*/ 23 h 339"/>
                  <a:gd name="T2" fmla="*/ 36 w 368"/>
                  <a:gd name="T3" fmla="*/ 28 h 339"/>
                  <a:gd name="T4" fmla="*/ 29 w 368"/>
                  <a:gd name="T5" fmla="*/ 33 h 339"/>
                  <a:gd name="T6" fmla="*/ 23 w 368"/>
                  <a:gd name="T7" fmla="*/ 39 h 339"/>
                  <a:gd name="T8" fmla="*/ 21 w 368"/>
                  <a:gd name="T9" fmla="*/ 52 h 339"/>
                  <a:gd name="T10" fmla="*/ 23 w 368"/>
                  <a:gd name="T11" fmla="*/ 69 h 339"/>
                  <a:gd name="T12" fmla="*/ 15 w 368"/>
                  <a:gd name="T13" fmla="*/ 70 h 339"/>
                  <a:gd name="T14" fmla="*/ 3 w 368"/>
                  <a:gd name="T15" fmla="*/ 78 h 339"/>
                  <a:gd name="T16" fmla="*/ 0 w 368"/>
                  <a:gd name="T17" fmla="*/ 79 h 339"/>
                  <a:gd name="T18" fmla="*/ 12 w 368"/>
                  <a:gd name="T19" fmla="*/ 115 h 339"/>
                  <a:gd name="T20" fmla="*/ 13 w 368"/>
                  <a:gd name="T21" fmla="*/ 134 h 339"/>
                  <a:gd name="T22" fmla="*/ 11 w 368"/>
                  <a:gd name="T23" fmla="*/ 146 h 339"/>
                  <a:gd name="T24" fmla="*/ 11 w 368"/>
                  <a:gd name="T25" fmla="*/ 156 h 339"/>
                  <a:gd name="T26" fmla="*/ 9 w 368"/>
                  <a:gd name="T27" fmla="*/ 173 h 339"/>
                  <a:gd name="T28" fmla="*/ 5 w 368"/>
                  <a:gd name="T29" fmla="*/ 175 h 339"/>
                  <a:gd name="T30" fmla="*/ 2 w 368"/>
                  <a:gd name="T31" fmla="*/ 179 h 339"/>
                  <a:gd name="T32" fmla="*/ 9 w 368"/>
                  <a:gd name="T33" fmla="*/ 188 h 339"/>
                  <a:gd name="T34" fmla="*/ 16 w 368"/>
                  <a:gd name="T35" fmla="*/ 204 h 339"/>
                  <a:gd name="T36" fmla="*/ 18 w 368"/>
                  <a:gd name="T37" fmla="*/ 211 h 339"/>
                  <a:gd name="T38" fmla="*/ 23 w 368"/>
                  <a:gd name="T39" fmla="*/ 218 h 339"/>
                  <a:gd name="T40" fmla="*/ 29 w 368"/>
                  <a:gd name="T41" fmla="*/ 213 h 339"/>
                  <a:gd name="T42" fmla="*/ 41 w 368"/>
                  <a:gd name="T43" fmla="*/ 220 h 339"/>
                  <a:gd name="T44" fmla="*/ 54 w 368"/>
                  <a:gd name="T45" fmla="*/ 229 h 339"/>
                  <a:gd name="T46" fmla="*/ 61 w 368"/>
                  <a:gd name="T47" fmla="*/ 242 h 339"/>
                  <a:gd name="T48" fmla="*/ 103 w 368"/>
                  <a:gd name="T49" fmla="*/ 255 h 339"/>
                  <a:gd name="T50" fmla="*/ 112 w 368"/>
                  <a:gd name="T51" fmla="*/ 263 h 339"/>
                  <a:gd name="T52" fmla="*/ 116 w 368"/>
                  <a:gd name="T53" fmla="*/ 262 h 339"/>
                  <a:gd name="T54" fmla="*/ 155 w 368"/>
                  <a:gd name="T55" fmla="*/ 244 h 339"/>
                  <a:gd name="T56" fmla="*/ 200 w 368"/>
                  <a:gd name="T57" fmla="*/ 266 h 339"/>
                  <a:gd name="T58" fmla="*/ 339 w 368"/>
                  <a:gd name="T59" fmla="*/ 334 h 339"/>
                  <a:gd name="T60" fmla="*/ 340 w 368"/>
                  <a:gd name="T61" fmla="*/ 332 h 339"/>
                  <a:gd name="T62" fmla="*/ 342 w 368"/>
                  <a:gd name="T63" fmla="*/ 330 h 339"/>
                  <a:gd name="T64" fmla="*/ 356 w 368"/>
                  <a:gd name="T65" fmla="*/ 329 h 339"/>
                  <a:gd name="T66" fmla="*/ 363 w 368"/>
                  <a:gd name="T67" fmla="*/ 295 h 339"/>
                  <a:gd name="T68" fmla="*/ 363 w 368"/>
                  <a:gd name="T69" fmla="*/ 280 h 339"/>
                  <a:gd name="T70" fmla="*/ 359 w 368"/>
                  <a:gd name="T71" fmla="*/ 88 h 339"/>
                  <a:gd name="T72" fmla="*/ 356 w 368"/>
                  <a:gd name="T73" fmla="*/ 78 h 339"/>
                  <a:gd name="T74" fmla="*/ 362 w 368"/>
                  <a:gd name="T75" fmla="*/ 61 h 339"/>
                  <a:gd name="T76" fmla="*/ 361 w 368"/>
                  <a:gd name="T77" fmla="*/ 44 h 339"/>
                  <a:gd name="T78" fmla="*/ 368 w 368"/>
                  <a:gd name="T79" fmla="*/ 36 h 339"/>
                  <a:gd name="T80" fmla="*/ 356 w 368"/>
                  <a:gd name="T81" fmla="*/ 29 h 339"/>
                  <a:gd name="T82" fmla="*/ 320 w 368"/>
                  <a:gd name="T83" fmla="*/ 20 h 339"/>
                  <a:gd name="T84" fmla="*/ 295 w 368"/>
                  <a:gd name="T85" fmla="*/ 5 h 339"/>
                  <a:gd name="T86" fmla="*/ 256 w 368"/>
                  <a:gd name="T87" fmla="*/ 20 h 339"/>
                  <a:gd name="T88" fmla="*/ 248 w 368"/>
                  <a:gd name="T89" fmla="*/ 61 h 339"/>
                  <a:gd name="T90" fmla="*/ 219 w 368"/>
                  <a:gd name="T91" fmla="*/ 72 h 339"/>
                  <a:gd name="T92" fmla="*/ 141 w 368"/>
                  <a:gd name="T93" fmla="*/ 37 h 339"/>
                  <a:gd name="T94" fmla="*/ 108 w 368"/>
                  <a:gd name="T95" fmla="*/ 11 h 339"/>
                  <a:gd name="T96" fmla="*/ 75 w 368"/>
                  <a:gd name="T97" fmla="*/ 8 h 3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8" h="339">
                    <a:moveTo>
                      <a:pt x="51" y="0"/>
                    </a:moveTo>
                    <a:cubicBezTo>
                      <a:pt x="51" y="0"/>
                      <a:pt x="51" y="0"/>
                      <a:pt x="51" y="0"/>
                    </a:cubicBezTo>
                    <a:cubicBezTo>
                      <a:pt x="51" y="17"/>
                      <a:pt x="51" y="17"/>
                      <a:pt x="51" y="17"/>
                    </a:cubicBezTo>
                    <a:cubicBezTo>
                      <a:pt x="51" y="20"/>
                      <a:pt x="48" y="22"/>
                      <a:pt x="47" y="23"/>
                    </a:cubicBezTo>
                    <a:cubicBezTo>
                      <a:pt x="46" y="23"/>
                      <a:pt x="44" y="24"/>
                      <a:pt x="42" y="25"/>
                    </a:cubicBezTo>
                    <a:cubicBezTo>
                      <a:pt x="41" y="26"/>
                      <a:pt x="41" y="26"/>
                      <a:pt x="41" y="26"/>
                    </a:cubicBezTo>
                    <a:cubicBezTo>
                      <a:pt x="39" y="26"/>
                      <a:pt x="37" y="27"/>
                      <a:pt x="36" y="27"/>
                    </a:cubicBezTo>
                    <a:cubicBezTo>
                      <a:pt x="36" y="28"/>
                      <a:pt x="36" y="28"/>
                      <a:pt x="36" y="28"/>
                    </a:cubicBezTo>
                    <a:cubicBezTo>
                      <a:pt x="36" y="28"/>
                      <a:pt x="36" y="28"/>
                      <a:pt x="35" y="28"/>
                    </a:cubicBezTo>
                    <a:cubicBezTo>
                      <a:pt x="35" y="28"/>
                      <a:pt x="35" y="29"/>
                      <a:pt x="34" y="29"/>
                    </a:cubicBezTo>
                    <a:cubicBezTo>
                      <a:pt x="34" y="30"/>
                      <a:pt x="33" y="31"/>
                      <a:pt x="31" y="32"/>
                    </a:cubicBezTo>
                    <a:cubicBezTo>
                      <a:pt x="30" y="33"/>
                      <a:pt x="30" y="33"/>
                      <a:pt x="29" y="33"/>
                    </a:cubicBezTo>
                    <a:cubicBezTo>
                      <a:pt x="29" y="33"/>
                      <a:pt x="29" y="33"/>
                      <a:pt x="29" y="33"/>
                    </a:cubicBezTo>
                    <a:cubicBezTo>
                      <a:pt x="28" y="34"/>
                      <a:pt x="28" y="34"/>
                      <a:pt x="28" y="34"/>
                    </a:cubicBezTo>
                    <a:cubicBezTo>
                      <a:pt x="27" y="35"/>
                      <a:pt x="26" y="37"/>
                      <a:pt x="24" y="38"/>
                    </a:cubicBezTo>
                    <a:cubicBezTo>
                      <a:pt x="23" y="39"/>
                      <a:pt x="23" y="39"/>
                      <a:pt x="23" y="39"/>
                    </a:cubicBezTo>
                    <a:cubicBezTo>
                      <a:pt x="22" y="39"/>
                      <a:pt x="22" y="39"/>
                      <a:pt x="22" y="39"/>
                    </a:cubicBezTo>
                    <a:cubicBezTo>
                      <a:pt x="22" y="39"/>
                      <a:pt x="22" y="39"/>
                      <a:pt x="22" y="39"/>
                    </a:cubicBezTo>
                    <a:cubicBezTo>
                      <a:pt x="21" y="41"/>
                      <a:pt x="20" y="45"/>
                      <a:pt x="20" y="47"/>
                    </a:cubicBezTo>
                    <a:cubicBezTo>
                      <a:pt x="20" y="49"/>
                      <a:pt x="21" y="50"/>
                      <a:pt x="21" y="52"/>
                    </a:cubicBezTo>
                    <a:cubicBezTo>
                      <a:pt x="21" y="52"/>
                      <a:pt x="21" y="52"/>
                      <a:pt x="21" y="52"/>
                    </a:cubicBezTo>
                    <a:cubicBezTo>
                      <a:pt x="21" y="53"/>
                      <a:pt x="21" y="54"/>
                      <a:pt x="22" y="55"/>
                    </a:cubicBezTo>
                    <a:cubicBezTo>
                      <a:pt x="22" y="59"/>
                      <a:pt x="21" y="63"/>
                      <a:pt x="19" y="65"/>
                    </a:cubicBezTo>
                    <a:cubicBezTo>
                      <a:pt x="23" y="69"/>
                      <a:pt x="23" y="69"/>
                      <a:pt x="23" y="69"/>
                    </a:cubicBezTo>
                    <a:cubicBezTo>
                      <a:pt x="18" y="67"/>
                      <a:pt x="18" y="67"/>
                      <a:pt x="18" y="67"/>
                    </a:cubicBezTo>
                    <a:cubicBezTo>
                      <a:pt x="18" y="67"/>
                      <a:pt x="18" y="67"/>
                      <a:pt x="18" y="67"/>
                    </a:cubicBezTo>
                    <a:cubicBezTo>
                      <a:pt x="17" y="68"/>
                      <a:pt x="16" y="68"/>
                      <a:pt x="16" y="69"/>
                    </a:cubicBezTo>
                    <a:cubicBezTo>
                      <a:pt x="15" y="70"/>
                      <a:pt x="15" y="70"/>
                      <a:pt x="15" y="70"/>
                    </a:cubicBezTo>
                    <a:cubicBezTo>
                      <a:pt x="15" y="71"/>
                      <a:pt x="14" y="71"/>
                      <a:pt x="14" y="72"/>
                    </a:cubicBezTo>
                    <a:cubicBezTo>
                      <a:pt x="12" y="74"/>
                      <a:pt x="9" y="75"/>
                      <a:pt x="7" y="76"/>
                    </a:cubicBezTo>
                    <a:cubicBezTo>
                      <a:pt x="5" y="77"/>
                      <a:pt x="5" y="77"/>
                      <a:pt x="5" y="77"/>
                    </a:cubicBezTo>
                    <a:cubicBezTo>
                      <a:pt x="4" y="77"/>
                      <a:pt x="3" y="77"/>
                      <a:pt x="3" y="78"/>
                    </a:cubicBezTo>
                    <a:cubicBezTo>
                      <a:pt x="2" y="78"/>
                      <a:pt x="2" y="78"/>
                      <a:pt x="2" y="78"/>
                    </a:cubicBezTo>
                    <a:cubicBezTo>
                      <a:pt x="2" y="78"/>
                      <a:pt x="2" y="78"/>
                      <a:pt x="2" y="78"/>
                    </a:cubicBezTo>
                    <a:cubicBezTo>
                      <a:pt x="1" y="79"/>
                      <a:pt x="1" y="79"/>
                      <a:pt x="1" y="79"/>
                    </a:cubicBezTo>
                    <a:cubicBezTo>
                      <a:pt x="0" y="79"/>
                      <a:pt x="0" y="79"/>
                      <a:pt x="0" y="79"/>
                    </a:cubicBezTo>
                    <a:cubicBezTo>
                      <a:pt x="2" y="82"/>
                      <a:pt x="4" y="86"/>
                      <a:pt x="6" y="88"/>
                    </a:cubicBezTo>
                    <a:cubicBezTo>
                      <a:pt x="7" y="89"/>
                      <a:pt x="7" y="90"/>
                      <a:pt x="8" y="91"/>
                    </a:cubicBezTo>
                    <a:cubicBezTo>
                      <a:pt x="11" y="97"/>
                      <a:pt x="12" y="103"/>
                      <a:pt x="12" y="111"/>
                    </a:cubicBezTo>
                    <a:cubicBezTo>
                      <a:pt x="12" y="113"/>
                      <a:pt x="12" y="114"/>
                      <a:pt x="12" y="115"/>
                    </a:cubicBezTo>
                    <a:cubicBezTo>
                      <a:pt x="12" y="116"/>
                      <a:pt x="12" y="116"/>
                      <a:pt x="12" y="116"/>
                    </a:cubicBezTo>
                    <a:cubicBezTo>
                      <a:pt x="11" y="119"/>
                      <a:pt x="11" y="123"/>
                      <a:pt x="11" y="126"/>
                    </a:cubicBezTo>
                    <a:cubicBezTo>
                      <a:pt x="11" y="127"/>
                      <a:pt x="12" y="128"/>
                      <a:pt x="12" y="130"/>
                    </a:cubicBezTo>
                    <a:cubicBezTo>
                      <a:pt x="13" y="134"/>
                      <a:pt x="13" y="134"/>
                      <a:pt x="13" y="134"/>
                    </a:cubicBezTo>
                    <a:cubicBezTo>
                      <a:pt x="14" y="137"/>
                      <a:pt x="13" y="140"/>
                      <a:pt x="12" y="143"/>
                    </a:cubicBezTo>
                    <a:cubicBezTo>
                      <a:pt x="12" y="143"/>
                      <a:pt x="12" y="144"/>
                      <a:pt x="12" y="144"/>
                    </a:cubicBezTo>
                    <a:cubicBezTo>
                      <a:pt x="11" y="145"/>
                      <a:pt x="11" y="145"/>
                      <a:pt x="11" y="145"/>
                    </a:cubicBezTo>
                    <a:cubicBezTo>
                      <a:pt x="11" y="146"/>
                      <a:pt x="11" y="146"/>
                      <a:pt x="11" y="146"/>
                    </a:cubicBezTo>
                    <a:cubicBezTo>
                      <a:pt x="10" y="148"/>
                      <a:pt x="9" y="149"/>
                      <a:pt x="9" y="150"/>
                    </a:cubicBezTo>
                    <a:cubicBezTo>
                      <a:pt x="9" y="151"/>
                      <a:pt x="10" y="151"/>
                      <a:pt x="10" y="152"/>
                    </a:cubicBezTo>
                    <a:cubicBezTo>
                      <a:pt x="10" y="153"/>
                      <a:pt x="10" y="153"/>
                      <a:pt x="10" y="154"/>
                    </a:cubicBezTo>
                    <a:cubicBezTo>
                      <a:pt x="11" y="155"/>
                      <a:pt x="11" y="155"/>
                      <a:pt x="11" y="156"/>
                    </a:cubicBezTo>
                    <a:cubicBezTo>
                      <a:pt x="11" y="159"/>
                      <a:pt x="11" y="159"/>
                      <a:pt x="11" y="159"/>
                    </a:cubicBezTo>
                    <a:cubicBezTo>
                      <a:pt x="11" y="161"/>
                      <a:pt x="12" y="164"/>
                      <a:pt x="12" y="166"/>
                    </a:cubicBezTo>
                    <a:cubicBezTo>
                      <a:pt x="12" y="167"/>
                      <a:pt x="12" y="167"/>
                      <a:pt x="12" y="167"/>
                    </a:cubicBezTo>
                    <a:cubicBezTo>
                      <a:pt x="12" y="169"/>
                      <a:pt x="12" y="171"/>
                      <a:pt x="9" y="173"/>
                    </a:cubicBezTo>
                    <a:cubicBezTo>
                      <a:pt x="8" y="174"/>
                      <a:pt x="8" y="174"/>
                      <a:pt x="8" y="174"/>
                    </a:cubicBezTo>
                    <a:cubicBezTo>
                      <a:pt x="8" y="174"/>
                      <a:pt x="8" y="174"/>
                      <a:pt x="8" y="174"/>
                    </a:cubicBezTo>
                    <a:cubicBezTo>
                      <a:pt x="7" y="174"/>
                      <a:pt x="7" y="174"/>
                      <a:pt x="7" y="174"/>
                    </a:cubicBezTo>
                    <a:cubicBezTo>
                      <a:pt x="6" y="175"/>
                      <a:pt x="5" y="175"/>
                      <a:pt x="5" y="175"/>
                    </a:cubicBezTo>
                    <a:cubicBezTo>
                      <a:pt x="5" y="175"/>
                      <a:pt x="5" y="176"/>
                      <a:pt x="4" y="177"/>
                    </a:cubicBezTo>
                    <a:cubicBezTo>
                      <a:pt x="2" y="178"/>
                      <a:pt x="2" y="178"/>
                      <a:pt x="2" y="179"/>
                    </a:cubicBezTo>
                    <a:cubicBezTo>
                      <a:pt x="2" y="179"/>
                      <a:pt x="2" y="179"/>
                      <a:pt x="2" y="179"/>
                    </a:cubicBezTo>
                    <a:cubicBezTo>
                      <a:pt x="2" y="179"/>
                      <a:pt x="2" y="179"/>
                      <a:pt x="2" y="179"/>
                    </a:cubicBezTo>
                    <a:cubicBezTo>
                      <a:pt x="2" y="179"/>
                      <a:pt x="2" y="181"/>
                      <a:pt x="7" y="186"/>
                    </a:cubicBezTo>
                    <a:cubicBezTo>
                      <a:pt x="7" y="186"/>
                      <a:pt x="7" y="186"/>
                      <a:pt x="7" y="186"/>
                    </a:cubicBezTo>
                    <a:cubicBezTo>
                      <a:pt x="7" y="187"/>
                      <a:pt x="8" y="187"/>
                      <a:pt x="8" y="188"/>
                    </a:cubicBezTo>
                    <a:cubicBezTo>
                      <a:pt x="9" y="188"/>
                      <a:pt x="9" y="188"/>
                      <a:pt x="9" y="188"/>
                    </a:cubicBezTo>
                    <a:cubicBezTo>
                      <a:pt x="9" y="189"/>
                      <a:pt x="9" y="189"/>
                      <a:pt x="10" y="189"/>
                    </a:cubicBezTo>
                    <a:cubicBezTo>
                      <a:pt x="10" y="190"/>
                      <a:pt x="10" y="190"/>
                      <a:pt x="10" y="190"/>
                    </a:cubicBezTo>
                    <a:cubicBezTo>
                      <a:pt x="11" y="191"/>
                      <a:pt x="12" y="192"/>
                      <a:pt x="13" y="194"/>
                    </a:cubicBezTo>
                    <a:cubicBezTo>
                      <a:pt x="14" y="197"/>
                      <a:pt x="15" y="201"/>
                      <a:pt x="16" y="204"/>
                    </a:cubicBezTo>
                    <a:cubicBezTo>
                      <a:pt x="16" y="205"/>
                      <a:pt x="16" y="205"/>
                      <a:pt x="16" y="205"/>
                    </a:cubicBezTo>
                    <a:cubicBezTo>
                      <a:pt x="16" y="206"/>
                      <a:pt x="16" y="208"/>
                      <a:pt x="17" y="210"/>
                    </a:cubicBezTo>
                    <a:cubicBezTo>
                      <a:pt x="17" y="211"/>
                      <a:pt x="17" y="211"/>
                      <a:pt x="17" y="211"/>
                    </a:cubicBezTo>
                    <a:cubicBezTo>
                      <a:pt x="17" y="211"/>
                      <a:pt x="17" y="211"/>
                      <a:pt x="18" y="211"/>
                    </a:cubicBezTo>
                    <a:cubicBezTo>
                      <a:pt x="19" y="213"/>
                      <a:pt x="20" y="215"/>
                      <a:pt x="21" y="216"/>
                    </a:cubicBezTo>
                    <a:cubicBezTo>
                      <a:pt x="21" y="216"/>
                      <a:pt x="21" y="216"/>
                      <a:pt x="21" y="216"/>
                    </a:cubicBezTo>
                    <a:cubicBezTo>
                      <a:pt x="22" y="217"/>
                      <a:pt x="22" y="217"/>
                      <a:pt x="22" y="217"/>
                    </a:cubicBezTo>
                    <a:cubicBezTo>
                      <a:pt x="22" y="217"/>
                      <a:pt x="23" y="218"/>
                      <a:pt x="23" y="218"/>
                    </a:cubicBezTo>
                    <a:cubicBezTo>
                      <a:pt x="23" y="218"/>
                      <a:pt x="23" y="218"/>
                      <a:pt x="23" y="218"/>
                    </a:cubicBezTo>
                    <a:cubicBezTo>
                      <a:pt x="24" y="218"/>
                      <a:pt x="24" y="218"/>
                      <a:pt x="24" y="218"/>
                    </a:cubicBezTo>
                    <a:cubicBezTo>
                      <a:pt x="26" y="217"/>
                      <a:pt x="27" y="217"/>
                      <a:pt x="29" y="217"/>
                    </a:cubicBezTo>
                    <a:cubicBezTo>
                      <a:pt x="29" y="213"/>
                      <a:pt x="29" y="213"/>
                      <a:pt x="29" y="213"/>
                    </a:cubicBezTo>
                    <a:cubicBezTo>
                      <a:pt x="30" y="217"/>
                      <a:pt x="30" y="217"/>
                      <a:pt x="30" y="217"/>
                    </a:cubicBezTo>
                    <a:cubicBezTo>
                      <a:pt x="30" y="217"/>
                      <a:pt x="30" y="217"/>
                      <a:pt x="30" y="217"/>
                    </a:cubicBezTo>
                    <a:cubicBezTo>
                      <a:pt x="31" y="217"/>
                      <a:pt x="33" y="217"/>
                      <a:pt x="35" y="218"/>
                    </a:cubicBezTo>
                    <a:cubicBezTo>
                      <a:pt x="37" y="219"/>
                      <a:pt x="39" y="219"/>
                      <a:pt x="41" y="220"/>
                    </a:cubicBezTo>
                    <a:cubicBezTo>
                      <a:pt x="46" y="221"/>
                      <a:pt x="46" y="221"/>
                      <a:pt x="46" y="221"/>
                    </a:cubicBezTo>
                    <a:cubicBezTo>
                      <a:pt x="49" y="222"/>
                      <a:pt x="51" y="225"/>
                      <a:pt x="53" y="228"/>
                    </a:cubicBezTo>
                    <a:cubicBezTo>
                      <a:pt x="53" y="228"/>
                      <a:pt x="53" y="228"/>
                      <a:pt x="53" y="228"/>
                    </a:cubicBezTo>
                    <a:cubicBezTo>
                      <a:pt x="53" y="228"/>
                      <a:pt x="54" y="229"/>
                      <a:pt x="54" y="229"/>
                    </a:cubicBezTo>
                    <a:cubicBezTo>
                      <a:pt x="55" y="231"/>
                      <a:pt x="56" y="233"/>
                      <a:pt x="57" y="235"/>
                    </a:cubicBezTo>
                    <a:cubicBezTo>
                      <a:pt x="57" y="235"/>
                      <a:pt x="57" y="235"/>
                      <a:pt x="57" y="235"/>
                    </a:cubicBezTo>
                    <a:cubicBezTo>
                      <a:pt x="58" y="238"/>
                      <a:pt x="59" y="241"/>
                      <a:pt x="61" y="242"/>
                    </a:cubicBezTo>
                    <a:cubicBezTo>
                      <a:pt x="61" y="242"/>
                      <a:pt x="61" y="242"/>
                      <a:pt x="61" y="242"/>
                    </a:cubicBezTo>
                    <a:cubicBezTo>
                      <a:pt x="70" y="242"/>
                      <a:pt x="70" y="242"/>
                      <a:pt x="70" y="242"/>
                    </a:cubicBezTo>
                    <a:cubicBezTo>
                      <a:pt x="67" y="244"/>
                      <a:pt x="67" y="244"/>
                      <a:pt x="67" y="244"/>
                    </a:cubicBezTo>
                    <a:cubicBezTo>
                      <a:pt x="94" y="250"/>
                      <a:pt x="94" y="250"/>
                      <a:pt x="94" y="250"/>
                    </a:cubicBezTo>
                    <a:cubicBezTo>
                      <a:pt x="98" y="251"/>
                      <a:pt x="100" y="253"/>
                      <a:pt x="103" y="255"/>
                    </a:cubicBezTo>
                    <a:cubicBezTo>
                      <a:pt x="107" y="259"/>
                      <a:pt x="107" y="259"/>
                      <a:pt x="107" y="259"/>
                    </a:cubicBezTo>
                    <a:cubicBezTo>
                      <a:pt x="108" y="259"/>
                      <a:pt x="108" y="260"/>
                      <a:pt x="108" y="260"/>
                    </a:cubicBezTo>
                    <a:cubicBezTo>
                      <a:pt x="109" y="261"/>
                      <a:pt x="109" y="261"/>
                      <a:pt x="109" y="261"/>
                    </a:cubicBezTo>
                    <a:cubicBezTo>
                      <a:pt x="110" y="261"/>
                      <a:pt x="111" y="262"/>
                      <a:pt x="112" y="263"/>
                    </a:cubicBezTo>
                    <a:cubicBezTo>
                      <a:pt x="112" y="263"/>
                      <a:pt x="112" y="263"/>
                      <a:pt x="112" y="263"/>
                    </a:cubicBezTo>
                    <a:cubicBezTo>
                      <a:pt x="112" y="263"/>
                      <a:pt x="112" y="264"/>
                      <a:pt x="113" y="264"/>
                    </a:cubicBezTo>
                    <a:cubicBezTo>
                      <a:pt x="113" y="264"/>
                      <a:pt x="114" y="263"/>
                      <a:pt x="114" y="263"/>
                    </a:cubicBezTo>
                    <a:cubicBezTo>
                      <a:pt x="115" y="263"/>
                      <a:pt x="115" y="263"/>
                      <a:pt x="116" y="262"/>
                    </a:cubicBezTo>
                    <a:cubicBezTo>
                      <a:pt x="149" y="245"/>
                      <a:pt x="149" y="245"/>
                      <a:pt x="149" y="245"/>
                    </a:cubicBezTo>
                    <a:cubicBezTo>
                      <a:pt x="150" y="245"/>
                      <a:pt x="150" y="245"/>
                      <a:pt x="150" y="245"/>
                    </a:cubicBezTo>
                    <a:cubicBezTo>
                      <a:pt x="152" y="245"/>
                      <a:pt x="153" y="244"/>
                      <a:pt x="154" y="244"/>
                    </a:cubicBezTo>
                    <a:cubicBezTo>
                      <a:pt x="154" y="244"/>
                      <a:pt x="155" y="244"/>
                      <a:pt x="155" y="244"/>
                    </a:cubicBezTo>
                    <a:cubicBezTo>
                      <a:pt x="157" y="245"/>
                      <a:pt x="158" y="245"/>
                      <a:pt x="159" y="246"/>
                    </a:cubicBezTo>
                    <a:cubicBezTo>
                      <a:pt x="167" y="250"/>
                      <a:pt x="167" y="250"/>
                      <a:pt x="167" y="250"/>
                    </a:cubicBezTo>
                    <a:cubicBezTo>
                      <a:pt x="174" y="253"/>
                      <a:pt x="182" y="257"/>
                      <a:pt x="190" y="261"/>
                    </a:cubicBezTo>
                    <a:cubicBezTo>
                      <a:pt x="200" y="266"/>
                      <a:pt x="200" y="266"/>
                      <a:pt x="200" y="266"/>
                    </a:cubicBezTo>
                    <a:cubicBezTo>
                      <a:pt x="222" y="277"/>
                      <a:pt x="244" y="289"/>
                      <a:pt x="263" y="299"/>
                    </a:cubicBezTo>
                    <a:cubicBezTo>
                      <a:pt x="339" y="339"/>
                      <a:pt x="339" y="339"/>
                      <a:pt x="339" y="339"/>
                    </a:cubicBezTo>
                    <a:cubicBezTo>
                      <a:pt x="339" y="337"/>
                      <a:pt x="339" y="337"/>
                      <a:pt x="339" y="337"/>
                    </a:cubicBezTo>
                    <a:cubicBezTo>
                      <a:pt x="339" y="334"/>
                      <a:pt x="339" y="334"/>
                      <a:pt x="339" y="334"/>
                    </a:cubicBezTo>
                    <a:cubicBezTo>
                      <a:pt x="339" y="334"/>
                      <a:pt x="339" y="334"/>
                      <a:pt x="339" y="333"/>
                    </a:cubicBezTo>
                    <a:cubicBezTo>
                      <a:pt x="339" y="333"/>
                      <a:pt x="339" y="333"/>
                      <a:pt x="339" y="333"/>
                    </a:cubicBezTo>
                    <a:cubicBezTo>
                      <a:pt x="340" y="332"/>
                      <a:pt x="340" y="332"/>
                      <a:pt x="340" y="332"/>
                    </a:cubicBezTo>
                    <a:cubicBezTo>
                      <a:pt x="340" y="332"/>
                      <a:pt x="340" y="332"/>
                      <a:pt x="340" y="332"/>
                    </a:cubicBezTo>
                    <a:cubicBezTo>
                      <a:pt x="340" y="331"/>
                      <a:pt x="340" y="331"/>
                      <a:pt x="340" y="331"/>
                    </a:cubicBezTo>
                    <a:cubicBezTo>
                      <a:pt x="340" y="331"/>
                      <a:pt x="340" y="331"/>
                      <a:pt x="340" y="331"/>
                    </a:cubicBezTo>
                    <a:cubicBezTo>
                      <a:pt x="341" y="331"/>
                      <a:pt x="341" y="330"/>
                      <a:pt x="341" y="330"/>
                    </a:cubicBezTo>
                    <a:cubicBezTo>
                      <a:pt x="342" y="330"/>
                      <a:pt x="342" y="330"/>
                      <a:pt x="342" y="330"/>
                    </a:cubicBezTo>
                    <a:cubicBezTo>
                      <a:pt x="343" y="330"/>
                      <a:pt x="344" y="329"/>
                      <a:pt x="345" y="329"/>
                    </a:cubicBezTo>
                    <a:cubicBezTo>
                      <a:pt x="347" y="329"/>
                      <a:pt x="349" y="329"/>
                      <a:pt x="350" y="329"/>
                    </a:cubicBezTo>
                    <a:cubicBezTo>
                      <a:pt x="350" y="329"/>
                      <a:pt x="351" y="329"/>
                      <a:pt x="351" y="329"/>
                    </a:cubicBezTo>
                    <a:cubicBezTo>
                      <a:pt x="353" y="329"/>
                      <a:pt x="354" y="329"/>
                      <a:pt x="356" y="329"/>
                    </a:cubicBezTo>
                    <a:cubicBezTo>
                      <a:pt x="358" y="329"/>
                      <a:pt x="359" y="329"/>
                      <a:pt x="360" y="329"/>
                    </a:cubicBezTo>
                    <a:cubicBezTo>
                      <a:pt x="361" y="329"/>
                      <a:pt x="361" y="329"/>
                      <a:pt x="361" y="329"/>
                    </a:cubicBezTo>
                    <a:cubicBezTo>
                      <a:pt x="361" y="329"/>
                      <a:pt x="362" y="329"/>
                      <a:pt x="363" y="329"/>
                    </a:cubicBezTo>
                    <a:cubicBezTo>
                      <a:pt x="363" y="295"/>
                      <a:pt x="363" y="295"/>
                      <a:pt x="363" y="295"/>
                    </a:cubicBezTo>
                    <a:cubicBezTo>
                      <a:pt x="363" y="292"/>
                      <a:pt x="362" y="287"/>
                      <a:pt x="363" y="284"/>
                    </a:cubicBezTo>
                    <a:cubicBezTo>
                      <a:pt x="363" y="283"/>
                      <a:pt x="363" y="283"/>
                      <a:pt x="363" y="283"/>
                    </a:cubicBezTo>
                    <a:cubicBezTo>
                      <a:pt x="360" y="280"/>
                      <a:pt x="360" y="280"/>
                      <a:pt x="360" y="280"/>
                    </a:cubicBezTo>
                    <a:cubicBezTo>
                      <a:pt x="363" y="280"/>
                      <a:pt x="363" y="280"/>
                      <a:pt x="363" y="280"/>
                    </a:cubicBezTo>
                    <a:cubicBezTo>
                      <a:pt x="363" y="140"/>
                      <a:pt x="363" y="140"/>
                      <a:pt x="363" y="140"/>
                    </a:cubicBezTo>
                    <a:cubicBezTo>
                      <a:pt x="362" y="131"/>
                      <a:pt x="362" y="123"/>
                      <a:pt x="362" y="115"/>
                    </a:cubicBezTo>
                    <a:cubicBezTo>
                      <a:pt x="362" y="111"/>
                      <a:pt x="362" y="108"/>
                      <a:pt x="362" y="104"/>
                    </a:cubicBezTo>
                    <a:cubicBezTo>
                      <a:pt x="361" y="98"/>
                      <a:pt x="360" y="93"/>
                      <a:pt x="359" y="88"/>
                    </a:cubicBezTo>
                    <a:cubicBezTo>
                      <a:pt x="359" y="87"/>
                      <a:pt x="358" y="87"/>
                      <a:pt x="358" y="86"/>
                    </a:cubicBezTo>
                    <a:cubicBezTo>
                      <a:pt x="358" y="85"/>
                      <a:pt x="358" y="85"/>
                      <a:pt x="358" y="85"/>
                    </a:cubicBezTo>
                    <a:cubicBezTo>
                      <a:pt x="358" y="83"/>
                      <a:pt x="357" y="82"/>
                      <a:pt x="357" y="81"/>
                    </a:cubicBezTo>
                    <a:cubicBezTo>
                      <a:pt x="356" y="80"/>
                      <a:pt x="356" y="79"/>
                      <a:pt x="356" y="78"/>
                    </a:cubicBezTo>
                    <a:cubicBezTo>
                      <a:pt x="356" y="75"/>
                      <a:pt x="358" y="72"/>
                      <a:pt x="359" y="70"/>
                    </a:cubicBezTo>
                    <a:cubicBezTo>
                      <a:pt x="360" y="69"/>
                      <a:pt x="361" y="68"/>
                      <a:pt x="361" y="67"/>
                    </a:cubicBezTo>
                    <a:cubicBezTo>
                      <a:pt x="361" y="67"/>
                      <a:pt x="361" y="67"/>
                      <a:pt x="361" y="67"/>
                    </a:cubicBezTo>
                    <a:cubicBezTo>
                      <a:pt x="362" y="65"/>
                      <a:pt x="362" y="63"/>
                      <a:pt x="362" y="61"/>
                    </a:cubicBezTo>
                    <a:cubicBezTo>
                      <a:pt x="361" y="60"/>
                      <a:pt x="361" y="58"/>
                      <a:pt x="361" y="57"/>
                    </a:cubicBezTo>
                    <a:cubicBezTo>
                      <a:pt x="360" y="56"/>
                      <a:pt x="360" y="54"/>
                      <a:pt x="360" y="52"/>
                    </a:cubicBezTo>
                    <a:cubicBezTo>
                      <a:pt x="359" y="50"/>
                      <a:pt x="359" y="48"/>
                      <a:pt x="360" y="47"/>
                    </a:cubicBezTo>
                    <a:cubicBezTo>
                      <a:pt x="360" y="46"/>
                      <a:pt x="360" y="45"/>
                      <a:pt x="361" y="44"/>
                    </a:cubicBezTo>
                    <a:cubicBezTo>
                      <a:pt x="361" y="42"/>
                      <a:pt x="363" y="40"/>
                      <a:pt x="365" y="38"/>
                    </a:cubicBezTo>
                    <a:cubicBezTo>
                      <a:pt x="366" y="37"/>
                      <a:pt x="366" y="37"/>
                      <a:pt x="366" y="37"/>
                    </a:cubicBezTo>
                    <a:cubicBezTo>
                      <a:pt x="367" y="37"/>
                      <a:pt x="367" y="36"/>
                      <a:pt x="368" y="36"/>
                    </a:cubicBezTo>
                    <a:cubicBezTo>
                      <a:pt x="368" y="36"/>
                      <a:pt x="368" y="36"/>
                      <a:pt x="368" y="36"/>
                    </a:cubicBezTo>
                    <a:cubicBezTo>
                      <a:pt x="367" y="34"/>
                      <a:pt x="366" y="31"/>
                      <a:pt x="364" y="30"/>
                    </a:cubicBezTo>
                    <a:cubicBezTo>
                      <a:pt x="364" y="29"/>
                      <a:pt x="361" y="29"/>
                      <a:pt x="361" y="29"/>
                    </a:cubicBezTo>
                    <a:cubicBezTo>
                      <a:pt x="360" y="29"/>
                      <a:pt x="359" y="29"/>
                      <a:pt x="359" y="29"/>
                    </a:cubicBezTo>
                    <a:cubicBezTo>
                      <a:pt x="358" y="29"/>
                      <a:pt x="357" y="29"/>
                      <a:pt x="356" y="29"/>
                    </a:cubicBezTo>
                    <a:cubicBezTo>
                      <a:pt x="355" y="29"/>
                      <a:pt x="355" y="29"/>
                      <a:pt x="354" y="29"/>
                    </a:cubicBezTo>
                    <a:cubicBezTo>
                      <a:pt x="350" y="29"/>
                      <a:pt x="347" y="28"/>
                      <a:pt x="343" y="27"/>
                    </a:cubicBezTo>
                    <a:cubicBezTo>
                      <a:pt x="337" y="25"/>
                      <a:pt x="331" y="24"/>
                      <a:pt x="324" y="24"/>
                    </a:cubicBezTo>
                    <a:cubicBezTo>
                      <a:pt x="323" y="23"/>
                      <a:pt x="321" y="21"/>
                      <a:pt x="320" y="20"/>
                    </a:cubicBezTo>
                    <a:cubicBezTo>
                      <a:pt x="320" y="18"/>
                      <a:pt x="322" y="15"/>
                      <a:pt x="321" y="13"/>
                    </a:cubicBezTo>
                    <a:cubicBezTo>
                      <a:pt x="320" y="12"/>
                      <a:pt x="316" y="11"/>
                      <a:pt x="314" y="10"/>
                    </a:cubicBezTo>
                    <a:cubicBezTo>
                      <a:pt x="311" y="9"/>
                      <a:pt x="307" y="9"/>
                      <a:pt x="304" y="8"/>
                    </a:cubicBezTo>
                    <a:cubicBezTo>
                      <a:pt x="301" y="7"/>
                      <a:pt x="298" y="5"/>
                      <a:pt x="295" y="5"/>
                    </a:cubicBezTo>
                    <a:cubicBezTo>
                      <a:pt x="295" y="5"/>
                      <a:pt x="294" y="5"/>
                      <a:pt x="294" y="5"/>
                    </a:cubicBezTo>
                    <a:cubicBezTo>
                      <a:pt x="290" y="6"/>
                      <a:pt x="286" y="7"/>
                      <a:pt x="282" y="8"/>
                    </a:cubicBezTo>
                    <a:cubicBezTo>
                      <a:pt x="275" y="10"/>
                      <a:pt x="269" y="12"/>
                      <a:pt x="262" y="14"/>
                    </a:cubicBezTo>
                    <a:cubicBezTo>
                      <a:pt x="260" y="15"/>
                      <a:pt x="258" y="18"/>
                      <a:pt x="256" y="20"/>
                    </a:cubicBezTo>
                    <a:cubicBezTo>
                      <a:pt x="254" y="23"/>
                      <a:pt x="251" y="25"/>
                      <a:pt x="249" y="28"/>
                    </a:cubicBezTo>
                    <a:cubicBezTo>
                      <a:pt x="245" y="32"/>
                      <a:pt x="245" y="39"/>
                      <a:pt x="248" y="44"/>
                    </a:cubicBezTo>
                    <a:cubicBezTo>
                      <a:pt x="249" y="45"/>
                      <a:pt x="249" y="46"/>
                      <a:pt x="250" y="47"/>
                    </a:cubicBezTo>
                    <a:cubicBezTo>
                      <a:pt x="252" y="51"/>
                      <a:pt x="250" y="57"/>
                      <a:pt x="248" y="61"/>
                    </a:cubicBezTo>
                    <a:cubicBezTo>
                      <a:pt x="244" y="66"/>
                      <a:pt x="239" y="71"/>
                      <a:pt x="233" y="73"/>
                    </a:cubicBezTo>
                    <a:cubicBezTo>
                      <a:pt x="231" y="74"/>
                      <a:pt x="229" y="74"/>
                      <a:pt x="227" y="74"/>
                    </a:cubicBezTo>
                    <a:cubicBezTo>
                      <a:pt x="226" y="74"/>
                      <a:pt x="225" y="74"/>
                      <a:pt x="225" y="74"/>
                    </a:cubicBezTo>
                    <a:cubicBezTo>
                      <a:pt x="223" y="74"/>
                      <a:pt x="221" y="73"/>
                      <a:pt x="219" y="72"/>
                    </a:cubicBezTo>
                    <a:cubicBezTo>
                      <a:pt x="213" y="67"/>
                      <a:pt x="206" y="63"/>
                      <a:pt x="200" y="59"/>
                    </a:cubicBezTo>
                    <a:cubicBezTo>
                      <a:pt x="193" y="54"/>
                      <a:pt x="181" y="51"/>
                      <a:pt x="172" y="50"/>
                    </a:cubicBezTo>
                    <a:cubicBezTo>
                      <a:pt x="166" y="49"/>
                      <a:pt x="159" y="50"/>
                      <a:pt x="154" y="47"/>
                    </a:cubicBezTo>
                    <a:cubicBezTo>
                      <a:pt x="148" y="44"/>
                      <a:pt x="144" y="43"/>
                      <a:pt x="141" y="37"/>
                    </a:cubicBezTo>
                    <a:cubicBezTo>
                      <a:pt x="140" y="35"/>
                      <a:pt x="139" y="33"/>
                      <a:pt x="139" y="31"/>
                    </a:cubicBezTo>
                    <a:cubicBezTo>
                      <a:pt x="138" y="27"/>
                      <a:pt x="137" y="21"/>
                      <a:pt x="133" y="19"/>
                    </a:cubicBezTo>
                    <a:cubicBezTo>
                      <a:pt x="132" y="18"/>
                      <a:pt x="130" y="18"/>
                      <a:pt x="128" y="18"/>
                    </a:cubicBezTo>
                    <a:cubicBezTo>
                      <a:pt x="121" y="17"/>
                      <a:pt x="115" y="14"/>
                      <a:pt x="108" y="11"/>
                    </a:cubicBezTo>
                    <a:cubicBezTo>
                      <a:pt x="102" y="7"/>
                      <a:pt x="93" y="8"/>
                      <a:pt x="86" y="7"/>
                    </a:cubicBezTo>
                    <a:cubicBezTo>
                      <a:pt x="86" y="7"/>
                      <a:pt x="85" y="7"/>
                      <a:pt x="85" y="7"/>
                    </a:cubicBezTo>
                    <a:cubicBezTo>
                      <a:pt x="83" y="7"/>
                      <a:pt x="81" y="7"/>
                      <a:pt x="80" y="8"/>
                    </a:cubicBezTo>
                    <a:cubicBezTo>
                      <a:pt x="78" y="8"/>
                      <a:pt x="77" y="8"/>
                      <a:pt x="75" y="8"/>
                    </a:cubicBezTo>
                    <a:cubicBezTo>
                      <a:pt x="73" y="8"/>
                      <a:pt x="72" y="8"/>
                      <a:pt x="70" y="7"/>
                    </a:cubicBezTo>
                    <a:cubicBezTo>
                      <a:pt x="64" y="5"/>
                      <a:pt x="58" y="2"/>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188"/>
              <p:cNvSpPr/>
              <p:nvPr/>
            </p:nvSpPr>
            <p:spPr bwMode="auto">
              <a:xfrm>
                <a:off x="4084" y="578"/>
                <a:ext cx="213" cy="433"/>
              </a:xfrm>
              <a:custGeom>
                <a:gdLst>
                  <a:gd name="T0" fmla="*/ 47 w 90"/>
                  <a:gd name="T1" fmla="*/ 0 h 183"/>
                  <a:gd name="T2" fmla="*/ 30 w 90"/>
                  <a:gd name="T3" fmla="*/ 8 h 183"/>
                  <a:gd name="T4" fmla="*/ 28 w 90"/>
                  <a:gd name="T5" fmla="*/ 9 h 183"/>
                  <a:gd name="T6" fmla="*/ 18 w 90"/>
                  <a:gd name="T7" fmla="*/ 22 h 183"/>
                  <a:gd name="T8" fmla="*/ 19 w 90"/>
                  <a:gd name="T9" fmla="*/ 35 h 183"/>
                  <a:gd name="T10" fmla="*/ 21 w 90"/>
                  <a:gd name="T11" fmla="*/ 47 h 183"/>
                  <a:gd name="T12" fmla="*/ 22 w 90"/>
                  <a:gd name="T13" fmla="*/ 51 h 183"/>
                  <a:gd name="T14" fmla="*/ 23 w 90"/>
                  <a:gd name="T15" fmla="*/ 57 h 183"/>
                  <a:gd name="T16" fmla="*/ 8 w 90"/>
                  <a:gd name="T17" fmla="*/ 81 h 183"/>
                  <a:gd name="T18" fmla="*/ 1 w 90"/>
                  <a:gd name="T19" fmla="*/ 87 h 183"/>
                  <a:gd name="T20" fmla="*/ 5 w 90"/>
                  <a:gd name="T21" fmla="*/ 102 h 183"/>
                  <a:gd name="T22" fmla="*/ 16 w 90"/>
                  <a:gd name="T23" fmla="*/ 114 h 183"/>
                  <a:gd name="T24" fmla="*/ 18 w 90"/>
                  <a:gd name="T25" fmla="*/ 117 h 183"/>
                  <a:gd name="T26" fmla="*/ 20 w 90"/>
                  <a:gd name="T27" fmla="*/ 122 h 183"/>
                  <a:gd name="T28" fmla="*/ 20 w 90"/>
                  <a:gd name="T29" fmla="*/ 125 h 183"/>
                  <a:gd name="T30" fmla="*/ 23 w 90"/>
                  <a:gd name="T31" fmla="*/ 127 h 183"/>
                  <a:gd name="T32" fmla="*/ 32 w 90"/>
                  <a:gd name="T33" fmla="*/ 135 h 183"/>
                  <a:gd name="T34" fmla="*/ 38 w 90"/>
                  <a:gd name="T35" fmla="*/ 142 h 183"/>
                  <a:gd name="T36" fmla="*/ 52 w 90"/>
                  <a:gd name="T37" fmla="*/ 174 h 183"/>
                  <a:gd name="T38" fmla="*/ 53 w 90"/>
                  <a:gd name="T39" fmla="*/ 180 h 183"/>
                  <a:gd name="T40" fmla="*/ 55 w 90"/>
                  <a:gd name="T41" fmla="*/ 178 h 183"/>
                  <a:gd name="T42" fmla="*/ 57 w 90"/>
                  <a:gd name="T43" fmla="*/ 175 h 183"/>
                  <a:gd name="T44" fmla="*/ 59 w 90"/>
                  <a:gd name="T45" fmla="*/ 166 h 183"/>
                  <a:gd name="T46" fmla="*/ 58 w 90"/>
                  <a:gd name="T47" fmla="*/ 159 h 183"/>
                  <a:gd name="T48" fmla="*/ 65 w 90"/>
                  <a:gd name="T49" fmla="*/ 145 h 183"/>
                  <a:gd name="T50" fmla="*/ 67 w 90"/>
                  <a:gd name="T51" fmla="*/ 143 h 183"/>
                  <a:gd name="T52" fmla="*/ 72 w 90"/>
                  <a:gd name="T53" fmla="*/ 139 h 183"/>
                  <a:gd name="T54" fmla="*/ 74 w 90"/>
                  <a:gd name="T55" fmla="*/ 137 h 183"/>
                  <a:gd name="T56" fmla="*/ 75 w 90"/>
                  <a:gd name="T57" fmla="*/ 136 h 183"/>
                  <a:gd name="T58" fmla="*/ 77 w 90"/>
                  <a:gd name="T59" fmla="*/ 134 h 183"/>
                  <a:gd name="T60" fmla="*/ 84 w 90"/>
                  <a:gd name="T61" fmla="*/ 132 h 183"/>
                  <a:gd name="T62" fmla="*/ 89 w 90"/>
                  <a:gd name="T63" fmla="*/ 129 h 183"/>
                  <a:gd name="T64" fmla="*/ 89 w 90"/>
                  <a:gd name="T65" fmla="*/ 112 h 183"/>
                  <a:gd name="T66" fmla="*/ 89 w 90"/>
                  <a:gd name="T67" fmla="*/ 110 h 183"/>
                  <a:gd name="T68" fmla="*/ 84 w 90"/>
                  <a:gd name="T69" fmla="*/ 107 h 183"/>
                  <a:gd name="T70" fmla="*/ 79 w 90"/>
                  <a:gd name="T71" fmla="*/ 98 h 183"/>
                  <a:gd name="T72" fmla="*/ 74 w 90"/>
                  <a:gd name="T73" fmla="*/ 102 h 183"/>
                  <a:gd name="T74" fmla="*/ 73 w 90"/>
                  <a:gd name="T75" fmla="*/ 96 h 183"/>
                  <a:gd name="T76" fmla="*/ 68 w 90"/>
                  <a:gd name="T77" fmla="*/ 97 h 183"/>
                  <a:gd name="T78" fmla="*/ 57 w 90"/>
                  <a:gd name="T79" fmla="*/ 84 h 183"/>
                  <a:gd name="T80" fmla="*/ 80 w 90"/>
                  <a:gd name="T81" fmla="*/ 60 h 183"/>
                  <a:gd name="T82" fmla="*/ 80 w 90"/>
                  <a:gd name="T83" fmla="*/ 47 h 183"/>
                  <a:gd name="T84" fmla="*/ 69 w 90"/>
                  <a:gd name="T85" fmla="*/ 26 h 183"/>
                  <a:gd name="T86" fmla="*/ 81 w 90"/>
                  <a:gd name="T87" fmla="*/ 14 h 183"/>
                  <a:gd name="T88" fmla="*/ 78 w 90"/>
                  <a:gd name="T89" fmla="*/ 7 h 183"/>
                  <a:gd name="T90" fmla="*/ 70 w 90"/>
                  <a:gd name="T91" fmla="*/ 13 h 183"/>
                  <a:gd name="T92" fmla="*/ 66 w 90"/>
                  <a:gd name="T93" fmla="*/ 16 h 183"/>
                  <a:gd name="T94" fmla="*/ 62 w 90"/>
                  <a:gd name="T95" fmla="*/ 7 h 183"/>
                  <a:gd name="T96" fmla="*/ 56 w 90"/>
                  <a:gd name="T97" fmla="*/ 1 h 183"/>
                  <a:gd name="T98" fmla="*/ 49 w 90"/>
                  <a:gd name="T99" fmla="*/ 0 h 1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 h="183">
                    <a:moveTo>
                      <a:pt x="49" y="0"/>
                    </a:moveTo>
                    <a:cubicBezTo>
                      <a:pt x="48" y="0"/>
                      <a:pt x="48" y="0"/>
                      <a:pt x="47" y="0"/>
                    </a:cubicBezTo>
                    <a:cubicBezTo>
                      <a:pt x="43" y="1"/>
                      <a:pt x="39" y="3"/>
                      <a:pt x="35" y="4"/>
                    </a:cubicBezTo>
                    <a:cubicBezTo>
                      <a:pt x="33" y="5"/>
                      <a:pt x="32" y="7"/>
                      <a:pt x="30" y="8"/>
                    </a:cubicBezTo>
                    <a:cubicBezTo>
                      <a:pt x="29" y="8"/>
                      <a:pt x="28" y="9"/>
                      <a:pt x="27" y="9"/>
                    </a:cubicBezTo>
                    <a:cubicBezTo>
                      <a:pt x="28" y="9"/>
                      <a:pt x="28" y="9"/>
                      <a:pt x="28" y="9"/>
                    </a:cubicBezTo>
                    <a:cubicBezTo>
                      <a:pt x="26" y="12"/>
                      <a:pt x="26" y="12"/>
                      <a:pt x="26" y="12"/>
                    </a:cubicBezTo>
                    <a:cubicBezTo>
                      <a:pt x="18" y="22"/>
                      <a:pt x="18" y="22"/>
                      <a:pt x="18" y="22"/>
                    </a:cubicBezTo>
                    <a:cubicBezTo>
                      <a:pt x="20" y="23"/>
                      <a:pt x="21" y="25"/>
                      <a:pt x="20" y="30"/>
                    </a:cubicBezTo>
                    <a:cubicBezTo>
                      <a:pt x="19" y="35"/>
                      <a:pt x="19" y="35"/>
                      <a:pt x="19" y="35"/>
                    </a:cubicBezTo>
                    <a:cubicBezTo>
                      <a:pt x="19" y="38"/>
                      <a:pt x="19" y="41"/>
                      <a:pt x="20" y="44"/>
                    </a:cubicBezTo>
                    <a:cubicBezTo>
                      <a:pt x="20" y="45"/>
                      <a:pt x="21" y="46"/>
                      <a:pt x="21" y="47"/>
                    </a:cubicBezTo>
                    <a:cubicBezTo>
                      <a:pt x="21" y="50"/>
                      <a:pt x="21" y="50"/>
                      <a:pt x="21" y="50"/>
                    </a:cubicBezTo>
                    <a:cubicBezTo>
                      <a:pt x="22" y="50"/>
                      <a:pt x="22" y="51"/>
                      <a:pt x="22" y="51"/>
                    </a:cubicBezTo>
                    <a:cubicBezTo>
                      <a:pt x="22" y="52"/>
                      <a:pt x="22" y="52"/>
                      <a:pt x="22" y="52"/>
                    </a:cubicBezTo>
                    <a:cubicBezTo>
                      <a:pt x="22" y="54"/>
                      <a:pt x="23" y="55"/>
                      <a:pt x="23" y="57"/>
                    </a:cubicBezTo>
                    <a:cubicBezTo>
                      <a:pt x="21" y="62"/>
                      <a:pt x="20" y="67"/>
                      <a:pt x="18" y="71"/>
                    </a:cubicBezTo>
                    <a:cubicBezTo>
                      <a:pt x="15" y="75"/>
                      <a:pt x="12" y="78"/>
                      <a:pt x="8" y="81"/>
                    </a:cubicBezTo>
                    <a:cubicBezTo>
                      <a:pt x="6" y="83"/>
                      <a:pt x="4" y="84"/>
                      <a:pt x="3" y="86"/>
                    </a:cubicBezTo>
                    <a:cubicBezTo>
                      <a:pt x="1" y="87"/>
                      <a:pt x="1" y="87"/>
                      <a:pt x="1" y="87"/>
                    </a:cubicBezTo>
                    <a:cubicBezTo>
                      <a:pt x="0" y="88"/>
                      <a:pt x="0" y="89"/>
                      <a:pt x="1" y="91"/>
                    </a:cubicBezTo>
                    <a:cubicBezTo>
                      <a:pt x="1" y="94"/>
                      <a:pt x="3" y="98"/>
                      <a:pt x="5" y="102"/>
                    </a:cubicBezTo>
                    <a:cubicBezTo>
                      <a:pt x="6" y="104"/>
                      <a:pt x="9" y="106"/>
                      <a:pt x="11" y="108"/>
                    </a:cubicBezTo>
                    <a:cubicBezTo>
                      <a:pt x="13" y="110"/>
                      <a:pt x="15" y="112"/>
                      <a:pt x="16" y="114"/>
                    </a:cubicBezTo>
                    <a:cubicBezTo>
                      <a:pt x="17" y="114"/>
                      <a:pt x="17" y="115"/>
                      <a:pt x="18" y="115"/>
                    </a:cubicBezTo>
                    <a:cubicBezTo>
                      <a:pt x="18" y="116"/>
                      <a:pt x="18" y="116"/>
                      <a:pt x="18" y="117"/>
                    </a:cubicBezTo>
                    <a:cubicBezTo>
                      <a:pt x="18" y="117"/>
                      <a:pt x="18" y="117"/>
                      <a:pt x="18" y="117"/>
                    </a:cubicBezTo>
                    <a:cubicBezTo>
                      <a:pt x="19" y="119"/>
                      <a:pt x="20" y="120"/>
                      <a:pt x="20" y="122"/>
                    </a:cubicBezTo>
                    <a:cubicBezTo>
                      <a:pt x="20" y="123"/>
                      <a:pt x="20" y="123"/>
                      <a:pt x="20" y="123"/>
                    </a:cubicBezTo>
                    <a:cubicBezTo>
                      <a:pt x="20" y="124"/>
                      <a:pt x="20" y="125"/>
                      <a:pt x="20" y="125"/>
                    </a:cubicBezTo>
                    <a:cubicBezTo>
                      <a:pt x="21" y="126"/>
                      <a:pt x="21" y="126"/>
                      <a:pt x="21" y="126"/>
                    </a:cubicBezTo>
                    <a:cubicBezTo>
                      <a:pt x="22" y="127"/>
                      <a:pt x="22" y="127"/>
                      <a:pt x="23" y="127"/>
                    </a:cubicBezTo>
                    <a:cubicBezTo>
                      <a:pt x="30" y="133"/>
                      <a:pt x="30" y="133"/>
                      <a:pt x="30" y="133"/>
                    </a:cubicBezTo>
                    <a:cubicBezTo>
                      <a:pt x="30" y="134"/>
                      <a:pt x="31" y="134"/>
                      <a:pt x="32" y="135"/>
                    </a:cubicBezTo>
                    <a:cubicBezTo>
                      <a:pt x="33" y="135"/>
                      <a:pt x="34" y="136"/>
                      <a:pt x="35" y="137"/>
                    </a:cubicBezTo>
                    <a:cubicBezTo>
                      <a:pt x="37" y="139"/>
                      <a:pt x="38" y="141"/>
                      <a:pt x="38" y="142"/>
                    </a:cubicBezTo>
                    <a:cubicBezTo>
                      <a:pt x="47" y="180"/>
                      <a:pt x="47" y="180"/>
                      <a:pt x="47" y="180"/>
                    </a:cubicBezTo>
                    <a:cubicBezTo>
                      <a:pt x="52" y="174"/>
                      <a:pt x="52" y="174"/>
                      <a:pt x="52" y="174"/>
                    </a:cubicBezTo>
                    <a:cubicBezTo>
                      <a:pt x="49" y="183"/>
                      <a:pt x="49" y="183"/>
                      <a:pt x="49" y="183"/>
                    </a:cubicBezTo>
                    <a:cubicBezTo>
                      <a:pt x="51" y="182"/>
                      <a:pt x="52" y="181"/>
                      <a:pt x="53" y="180"/>
                    </a:cubicBezTo>
                    <a:cubicBezTo>
                      <a:pt x="54" y="179"/>
                      <a:pt x="54" y="179"/>
                      <a:pt x="55" y="178"/>
                    </a:cubicBezTo>
                    <a:cubicBezTo>
                      <a:pt x="55" y="178"/>
                      <a:pt x="55" y="178"/>
                      <a:pt x="55" y="178"/>
                    </a:cubicBezTo>
                    <a:cubicBezTo>
                      <a:pt x="56" y="177"/>
                      <a:pt x="56" y="176"/>
                      <a:pt x="57" y="175"/>
                    </a:cubicBezTo>
                    <a:cubicBezTo>
                      <a:pt x="57" y="175"/>
                      <a:pt x="57" y="175"/>
                      <a:pt x="57" y="175"/>
                    </a:cubicBezTo>
                    <a:cubicBezTo>
                      <a:pt x="59" y="172"/>
                      <a:pt x="60" y="170"/>
                      <a:pt x="60" y="168"/>
                    </a:cubicBezTo>
                    <a:cubicBezTo>
                      <a:pt x="60" y="167"/>
                      <a:pt x="60" y="166"/>
                      <a:pt x="59" y="166"/>
                    </a:cubicBezTo>
                    <a:cubicBezTo>
                      <a:pt x="59" y="165"/>
                      <a:pt x="59" y="165"/>
                      <a:pt x="59" y="165"/>
                    </a:cubicBezTo>
                    <a:cubicBezTo>
                      <a:pt x="59" y="163"/>
                      <a:pt x="58" y="161"/>
                      <a:pt x="58" y="159"/>
                    </a:cubicBezTo>
                    <a:cubicBezTo>
                      <a:pt x="58" y="159"/>
                      <a:pt x="59" y="150"/>
                      <a:pt x="62" y="146"/>
                    </a:cubicBezTo>
                    <a:cubicBezTo>
                      <a:pt x="63" y="146"/>
                      <a:pt x="63" y="145"/>
                      <a:pt x="65" y="145"/>
                    </a:cubicBezTo>
                    <a:cubicBezTo>
                      <a:pt x="65" y="145"/>
                      <a:pt x="65" y="145"/>
                      <a:pt x="65" y="145"/>
                    </a:cubicBezTo>
                    <a:cubicBezTo>
                      <a:pt x="66" y="145"/>
                      <a:pt x="67" y="144"/>
                      <a:pt x="67" y="143"/>
                    </a:cubicBezTo>
                    <a:cubicBezTo>
                      <a:pt x="68" y="141"/>
                      <a:pt x="69" y="140"/>
                      <a:pt x="70" y="139"/>
                    </a:cubicBezTo>
                    <a:cubicBezTo>
                      <a:pt x="71" y="139"/>
                      <a:pt x="71" y="139"/>
                      <a:pt x="72" y="139"/>
                    </a:cubicBezTo>
                    <a:cubicBezTo>
                      <a:pt x="72" y="139"/>
                      <a:pt x="72" y="139"/>
                      <a:pt x="73" y="139"/>
                    </a:cubicBezTo>
                    <a:cubicBezTo>
                      <a:pt x="73" y="138"/>
                      <a:pt x="73" y="138"/>
                      <a:pt x="74" y="137"/>
                    </a:cubicBezTo>
                    <a:cubicBezTo>
                      <a:pt x="74" y="137"/>
                      <a:pt x="74" y="137"/>
                      <a:pt x="74" y="137"/>
                    </a:cubicBezTo>
                    <a:cubicBezTo>
                      <a:pt x="75" y="137"/>
                      <a:pt x="75" y="136"/>
                      <a:pt x="75" y="136"/>
                    </a:cubicBezTo>
                    <a:cubicBezTo>
                      <a:pt x="76" y="135"/>
                      <a:pt x="76" y="135"/>
                      <a:pt x="76" y="135"/>
                    </a:cubicBezTo>
                    <a:cubicBezTo>
                      <a:pt x="77" y="134"/>
                      <a:pt x="77" y="134"/>
                      <a:pt x="77" y="134"/>
                    </a:cubicBezTo>
                    <a:cubicBezTo>
                      <a:pt x="79" y="134"/>
                      <a:pt x="81" y="133"/>
                      <a:pt x="83" y="132"/>
                    </a:cubicBezTo>
                    <a:cubicBezTo>
                      <a:pt x="84" y="132"/>
                      <a:pt x="84" y="132"/>
                      <a:pt x="84" y="132"/>
                    </a:cubicBezTo>
                    <a:cubicBezTo>
                      <a:pt x="86" y="131"/>
                      <a:pt x="87" y="130"/>
                      <a:pt x="88" y="130"/>
                    </a:cubicBezTo>
                    <a:cubicBezTo>
                      <a:pt x="89" y="129"/>
                      <a:pt x="89" y="129"/>
                      <a:pt x="89" y="129"/>
                    </a:cubicBezTo>
                    <a:cubicBezTo>
                      <a:pt x="90" y="113"/>
                      <a:pt x="90" y="113"/>
                      <a:pt x="90" y="113"/>
                    </a:cubicBezTo>
                    <a:cubicBezTo>
                      <a:pt x="89" y="112"/>
                      <a:pt x="89" y="112"/>
                      <a:pt x="89" y="112"/>
                    </a:cubicBezTo>
                    <a:cubicBezTo>
                      <a:pt x="88" y="111"/>
                      <a:pt x="88" y="111"/>
                      <a:pt x="88" y="111"/>
                    </a:cubicBezTo>
                    <a:cubicBezTo>
                      <a:pt x="89" y="110"/>
                      <a:pt x="89" y="110"/>
                      <a:pt x="89" y="110"/>
                    </a:cubicBezTo>
                    <a:cubicBezTo>
                      <a:pt x="88" y="110"/>
                      <a:pt x="88" y="110"/>
                      <a:pt x="88" y="110"/>
                    </a:cubicBezTo>
                    <a:cubicBezTo>
                      <a:pt x="88" y="110"/>
                      <a:pt x="80" y="108"/>
                      <a:pt x="84" y="107"/>
                    </a:cubicBezTo>
                    <a:cubicBezTo>
                      <a:pt x="82" y="105"/>
                      <a:pt x="83" y="99"/>
                      <a:pt x="80" y="98"/>
                    </a:cubicBezTo>
                    <a:cubicBezTo>
                      <a:pt x="80" y="98"/>
                      <a:pt x="79" y="98"/>
                      <a:pt x="79" y="98"/>
                    </a:cubicBezTo>
                    <a:cubicBezTo>
                      <a:pt x="78" y="98"/>
                      <a:pt x="79" y="100"/>
                      <a:pt x="78" y="100"/>
                    </a:cubicBezTo>
                    <a:cubicBezTo>
                      <a:pt x="78" y="101"/>
                      <a:pt x="76" y="102"/>
                      <a:pt x="74" y="102"/>
                    </a:cubicBezTo>
                    <a:cubicBezTo>
                      <a:pt x="74" y="102"/>
                      <a:pt x="73" y="102"/>
                      <a:pt x="73" y="101"/>
                    </a:cubicBezTo>
                    <a:cubicBezTo>
                      <a:pt x="72" y="100"/>
                      <a:pt x="75" y="98"/>
                      <a:pt x="73" y="96"/>
                    </a:cubicBezTo>
                    <a:cubicBezTo>
                      <a:pt x="70" y="97"/>
                      <a:pt x="70" y="97"/>
                      <a:pt x="70" y="97"/>
                    </a:cubicBezTo>
                    <a:cubicBezTo>
                      <a:pt x="70" y="97"/>
                      <a:pt x="69" y="97"/>
                      <a:pt x="68" y="97"/>
                    </a:cubicBezTo>
                    <a:cubicBezTo>
                      <a:pt x="66" y="97"/>
                      <a:pt x="65" y="96"/>
                      <a:pt x="62" y="94"/>
                    </a:cubicBezTo>
                    <a:cubicBezTo>
                      <a:pt x="58" y="92"/>
                      <a:pt x="58" y="88"/>
                      <a:pt x="57" y="84"/>
                    </a:cubicBezTo>
                    <a:cubicBezTo>
                      <a:pt x="56" y="83"/>
                      <a:pt x="70" y="74"/>
                      <a:pt x="72" y="72"/>
                    </a:cubicBezTo>
                    <a:cubicBezTo>
                      <a:pt x="76" y="69"/>
                      <a:pt x="78" y="64"/>
                      <a:pt x="80" y="60"/>
                    </a:cubicBezTo>
                    <a:cubicBezTo>
                      <a:pt x="82" y="57"/>
                      <a:pt x="84" y="57"/>
                      <a:pt x="83" y="54"/>
                    </a:cubicBezTo>
                    <a:cubicBezTo>
                      <a:pt x="82" y="52"/>
                      <a:pt x="82" y="48"/>
                      <a:pt x="80" y="47"/>
                    </a:cubicBezTo>
                    <a:cubicBezTo>
                      <a:pt x="75" y="43"/>
                      <a:pt x="69" y="39"/>
                      <a:pt x="67" y="33"/>
                    </a:cubicBezTo>
                    <a:cubicBezTo>
                      <a:pt x="67" y="31"/>
                      <a:pt x="68" y="27"/>
                      <a:pt x="69" y="26"/>
                    </a:cubicBezTo>
                    <a:cubicBezTo>
                      <a:pt x="71" y="24"/>
                      <a:pt x="74" y="24"/>
                      <a:pt x="76" y="22"/>
                    </a:cubicBezTo>
                    <a:cubicBezTo>
                      <a:pt x="78" y="19"/>
                      <a:pt x="80" y="16"/>
                      <a:pt x="81" y="14"/>
                    </a:cubicBezTo>
                    <a:cubicBezTo>
                      <a:pt x="83" y="12"/>
                      <a:pt x="83" y="6"/>
                      <a:pt x="80" y="6"/>
                    </a:cubicBezTo>
                    <a:cubicBezTo>
                      <a:pt x="79" y="6"/>
                      <a:pt x="79" y="7"/>
                      <a:pt x="78" y="7"/>
                    </a:cubicBezTo>
                    <a:cubicBezTo>
                      <a:pt x="76" y="8"/>
                      <a:pt x="75" y="11"/>
                      <a:pt x="73" y="11"/>
                    </a:cubicBezTo>
                    <a:cubicBezTo>
                      <a:pt x="72" y="12"/>
                      <a:pt x="71" y="12"/>
                      <a:pt x="70" y="13"/>
                    </a:cubicBezTo>
                    <a:cubicBezTo>
                      <a:pt x="69" y="13"/>
                      <a:pt x="69" y="14"/>
                      <a:pt x="69" y="14"/>
                    </a:cubicBezTo>
                    <a:cubicBezTo>
                      <a:pt x="68" y="15"/>
                      <a:pt x="67" y="16"/>
                      <a:pt x="66" y="16"/>
                    </a:cubicBezTo>
                    <a:cubicBezTo>
                      <a:pt x="65" y="16"/>
                      <a:pt x="64" y="15"/>
                      <a:pt x="63" y="14"/>
                    </a:cubicBezTo>
                    <a:cubicBezTo>
                      <a:pt x="65" y="11"/>
                      <a:pt x="64" y="10"/>
                      <a:pt x="62" y="7"/>
                    </a:cubicBezTo>
                    <a:cubicBezTo>
                      <a:pt x="61" y="5"/>
                      <a:pt x="60" y="3"/>
                      <a:pt x="58" y="2"/>
                    </a:cubicBezTo>
                    <a:cubicBezTo>
                      <a:pt x="57" y="1"/>
                      <a:pt x="56" y="1"/>
                      <a:pt x="56" y="1"/>
                    </a:cubicBezTo>
                    <a:cubicBezTo>
                      <a:pt x="54" y="1"/>
                      <a:pt x="53" y="3"/>
                      <a:pt x="52" y="4"/>
                    </a:cubicBezTo>
                    <a:cubicBezTo>
                      <a:pt x="50" y="2"/>
                      <a:pt x="51"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189"/>
              <p:cNvSpPr/>
              <p:nvPr/>
            </p:nvSpPr>
            <p:spPr bwMode="auto">
              <a:xfrm>
                <a:off x="4417" y="1434"/>
                <a:ext cx="572" cy="891"/>
              </a:xfrm>
              <a:custGeom>
                <a:gdLst>
                  <a:gd name="T0" fmla="*/ 37 w 242"/>
                  <a:gd name="T1" fmla="*/ 10 h 377"/>
                  <a:gd name="T2" fmla="*/ 40 w 242"/>
                  <a:gd name="T3" fmla="*/ 33 h 377"/>
                  <a:gd name="T4" fmla="*/ 44 w 242"/>
                  <a:gd name="T5" fmla="*/ 47 h 377"/>
                  <a:gd name="T6" fmla="*/ 48 w 242"/>
                  <a:gd name="T7" fmla="*/ 54 h 377"/>
                  <a:gd name="T8" fmla="*/ 50 w 242"/>
                  <a:gd name="T9" fmla="*/ 62 h 377"/>
                  <a:gd name="T10" fmla="*/ 54 w 242"/>
                  <a:gd name="T11" fmla="*/ 66 h 377"/>
                  <a:gd name="T12" fmla="*/ 57 w 242"/>
                  <a:gd name="T13" fmla="*/ 79 h 377"/>
                  <a:gd name="T14" fmla="*/ 52 w 242"/>
                  <a:gd name="T15" fmla="*/ 94 h 377"/>
                  <a:gd name="T16" fmla="*/ 48 w 242"/>
                  <a:gd name="T17" fmla="*/ 152 h 377"/>
                  <a:gd name="T18" fmla="*/ 44 w 242"/>
                  <a:gd name="T19" fmla="*/ 162 h 377"/>
                  <a:gd name="T20" fmla="*/ 15 w 242"/>
                  <a:gd name="T21" fmla="*/ 196 h 377"/>
                  <a:gd name="T22" fmla="*/ 4 w 242"/>
                  <a:gd name="T23" fmla="*/ 233 h 377"/>
                  <a:gd name="T24" fmla="*/ 13 w 242"/>
                  <a:gd name="T25" fmla="*/ 246 h 377"/>
                  <a:gd name="T26" fmla="*/ 26 w 242"/>
                  <a:gd name="T27" fmla="*/ 255 h 377"/>
                  <a:gd name="T28" fmla="*/ 36 w 242"/>
                  <a:gd name="T29" fmla="*/ 275 h 377"/>
                  <a:gd name="T30" fmla="*/ 39 w 242"/>
                  <a:gd name="T31" fmla="*/ 283 h 377"/>
                  <a:gd name="T32" fmla="*/ 39 w 242"/>
                  <a:gd name="T33" fmla="*/ 290 h 377"/>
                  <a:gd name="T34" fmla="*/ 37 w 242"/>
                  <a:gd name="T35" fmla="*/ 298 h 377"/>
                  <a:gd name="T36" fmla="*/ 49 w 242"/>
                  <a:gd name="T37" fmla="*/ 319 h 377"/>
                  <a:gd name="T38" fmla="*/ 44 w 242"/>
                  <a:gd name="T39" fmla="*/ 326 h 377"/>
                  <a:gd name="T40" fmla="*/ 28 w 242"/>
                  <a:gd name="T41" fmla="*/ 326 h 377"/>
                  <a:gd name="T42" fmla="*/ 24 w 242"/>
                  <a:gd name="T43" fmla="*/ 326 h 377"/>
                  <a:gd name="T44" fmla="*/ 16 w 242"/>
                  <a:gd name="T45" fmla="*/ 326 h 377"/>
                  <a:gd name="T46" fmla="*/ 13 w 242"/>
                  <a:gd name="T47" fmla="*/ 331 h 377"/>
                  <a:gd name="T48" fmla="*/ 18 w 242"/>
                  <a:gd name="T49" fmla="*/ 336 h 377"/>
                  <a:gd name="T50" fmla="*/ 43 w 242"/>
                  <a:gd name="T51" fmla="*/ 363 h 377"/>
                  <a:gd name="T52" fmla="*/ 48 w 242"/>
                  <a:gd name="T53" fmla="*/ 373 h 377"/>
                  <a:gd name="T54" fmla="*/ 53 w 242"/>
                  <a:gd name="T55" fmla="*/ 377 h 377"/>
                  <a:gd name="T56" fmla="*/ 64 w 242"/>
                  <a:gd name="T57" fmla="*/ 375 h 377"/>
                  <a:gd name="T58" fmla="*/ 69 w 242"/>
                  <a:gd name="T59" fmla="*/ 370 h 377"/>
                  <a:gd name="T60" fmla="*/ 77 w 242"/>
                  <a:gd name="T61" fmla="*/ 377 h 377"/>
                  <a:gd name="T62" fmla="*/ 79 w 242"/>
                  <a:gd name="T63" fmla="*/ 375 h 377"/>
                  <a:gd name="T64" fmla="*/ 88 w 242"/>
                  <a:gd name="T65" fmla="*/ 371 h 377"/>
                  <a:gd name="T66" fmla="*/ 102 w 242"/>
                  <a:gd name="T67" fmla="*/ 368 h 377"/>
                  <a:gd name="T68" fmla="*/ 110 w 242"/>
                  <a:gd name="T69" fmla="*/ 366 h 377"/>
                  <a:gd name="T70" fmla="*/ 116 w 242"/>
                  <a:gd name="T71" fmla="*/ 366 h 377"/>
                  <a:gd name="T72" fmla="*/ 123 w 242"/>
                  <a:gd name="T73" fmla="*/ 358 h 377"/>
                  <a:gd name="T74" fmla="*/ 126 w 242"/>
                  <a:gd name="T75" fmla="*/ 354 h 377"/>
                  <a:gd name="T76" fmla="*/ 130 w 242"/>
                  <a:gd name="T77" fmla="*/ 343 h 377"/>
                  <a:gd name="T78" fmla="*/ 157 w 242"/>
                  <a:gd name="T79" fmla="*/ 341 h 377"/>
                  <a:gd name="T80" fmla="*/ 188 w 242"/>
                  <a:gd name="T81" fmla="*/ 308 h 377"/>
                  <a:gd name="T82" fmla="*/ 206 w 242"/>
                  <a:gd name="T83" fmla="*/ 297 h 377"/>
                  <a:gd name="T84" fmla="*/ 217 w 242"/>
                  <a:gd name="T85" fmla="*/ 296 h 377"/>
                  <a:gd name="T86" fmla="*/ 214 w 242"/>
                  <a:gd name="T87" fmla="*/ 290 h 377"/>
                  <a:gd name="T88" fmla="*/ 207 w 242"/>
                  <a:gd name="T89" fmla="*/ 275 h 377"/>
                  <a:gd name="T90" fmla="*/ 200 w 242"/>
                  <a:gd name="T91" fmla="*/ 262 h 377"/>
                  <a:gd name="T92" fmla="*/ 197 w 242"/>
                  <a:gd name="T93" fmla="*/ 262 h 377"/>
                  <a:gd name="T94" fmla="*/ 198 w 242"/>
                  <a:gd name="T95" fmla="*/ 245 h 377"/>
                  <a:gd name="T96" fmla="*/ 200 w 242"/>
                  <a:gd name="T97" fmla="*/ 240 h 377"/>
                  <a:gd name="T98" fmla="*/ 206 w 242"/>
                  <a:gd name="T99" fmla="*/ 223 h 377"/>
                  <a:gd name="T100" fmla="*/ 206 w 242"/>
                  <a:gd name="T101" fmla="*/ 217 h 377"/>
                  <a:gd name="T102" fmla="*/ 210 w 242"/>
                  <a:gd name="T103" fmla="*/ 209 h 377"/>
                  <a:gd name="T104" fmla="*/ 213 w 242"/>
                  <a:gd name="T105" fmla="*/ 203 h 377"/>
                  <a:gd name="T106" fmla="*/ 232 w 242"/>
                  <a:gd name="T107" fmla="*/ 182 h 377"/>
                  <a:gd name="T108" fmla="*/ 163 w 242"/>
                  <a:gd name="T109" fmla="*/ 54 h 377"/>
                  <a:gd name="T110" fmla="*/ 59 w 242"/>
                  <a:gd name="T111" fmla="*/ 1 h 3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1" h="377">
                    <a:moveTo>
                      <a:pt x="57" y="0"/>
                    </a:moveTo>
                    <a:cubicBezTo>
                      <a:pt x="57" y="0"/>
                      <a:pt x="56" y="0"/>
                      <a:pt x="56" y="0"/>
                    </a:cubicBezTo>
                    <a:cubicBezTo>
                      <a:pt x="55" y="1"/>
                      <a:pt x="55" y="1"/>
                      <a:pt x="55" y="1"/>
                    </a:cubicBezTo>
                    <a:cubicBezTo>
                      <a:pt x="37" y="10"/>
                      <a:pt x="37" y="10"/>
                      <a:pt x="37" y="10"/>
                    </a:cubicBezTo>
                    <a:cubicBezTo>
                      <a:pt x="37" y="14"/>
                      <a:pt x="37" y="14"/>
                      <a:pt x="37" y="14"/>
                    </a:cubicBezTo>
                    <a:cubicBezTo>
                      <a:pt x="38" y="18"/>
                      <a:pt x="39" y="23"/>
                      <a:pt x="40" y="27"/>
                    </a:cubicBezTo>
                    <a:cubicBezTo>
                      <a:pt x="40" y="29"/>
                      <a:pt x="40" y="31"/>
                      <a:pt x="40" y="33"/>
                    </a:cubicBezTo>
                    <a:cubicBezTo>
                      <a:pt x="40" y="33"/>
                      <a:pt x="40" y="33"/>
                      <a:pt x="40" y="33"/>
                    </a:cubicBezTo>
                    <a:cubicBezTo>
                      <a:pt x="40" y="34"/>
                      <a:pt x="40" y="34"/>
                      <a:pt x="40" y="35"/>
                    </a:cubicBezTo>
                    <a:cubicBezTo>
                      <a:pt x="40" y="36"/>
                      <a:pt x="40" y="36"/>
                      <a:pt x="40" y="36"/>
                    </a:cubicBezTo>
                    <a:cubicBezTo>
                      <a:pt x="41" y="40"/>
                      <a:pt x="41" y="42"/>
                      <a:pt x="42" y="45"/>
                    </a:cubicBezTo>
                    <a:cubicBezTo>
                      <a:pt x="43" y="45"/>
                      <a:pt x="43" y="46"/>
                      <a:pt x="44" y="47"/>
                    </a:cubicBezTo>
                    <a:cubicBezTo>
                      <a:pt x="44" y="47"/>
                      <a:pt x="44" y="47"/>
                      <a:pt x="44" y="47"/>
                    </a:cubicBezTo>
                    <a:cubicBezTo>
                      <a:pt x="44" y="48"/>
                      <a:pt x="45" y="48"/>
                      <a:pt x="45" y="49"/>
                    </a:cubicBezTo>
                    <a:cubicBezTo>
                      <a:pt x="45" y="49"/>
                      <a:pt x="46" y="50"/>
                      <a:pt x="46" y="50"/>
                    </a:cubicBezTo>
                    <a:cubicBezTo>
                      <a:pt x="47" y="52"/>
                      <a:pt x="48" y="53"/>
                      <a:pt x="48" y="54"/>
                    </a:cubicBezTo>
                    <a:cubicBezTo>
                      <a:pt x="49" y="55"/>
                      <a:pt x="49" y="55"/>
                      <a:pt x="49" y="55"/>
                    </a:cubicBezTo>
                    <a:cubicBezTo>
                      <a:pt x="50" y="56"/>
                      <a:pt x="50" y="58"/>
                      <a:pt x="50" y="59"/>
                    </a:cubicBezTo>
                    <a:cubicBezTo>
                      <a:pt x="50" y="59"/>
                      <a:pt x="50" y="60"/>
                      <a:pt x="50" y="60"/>
                    </a:cubicBezTo>
                    <a:cubicBezTo>
                      <a:pt x="50" y="61"/>
                      <a:pt x="50" y="62"/>
                      <a:pt x="50" y="62"/>
                    </a:cubicBezTo>
                    <a:cubicBezTo>
                      <a:pt x="51" y="63"/>
                      <a:pt x="51" y="63"/>
                      <a:pt x="51" y="63"/>
                    </a:cubicBezTo>
                    <a:cubicBezTo>
                      <a:pt x="51" y="63"/>
                      <a:pt x="52" y="64"/>
                      <a:pt x="53" y="64"/>
                    </a:cubicBezTo>
                    <a:cubicBezTo>
                      <a:pt x="53" y="65"/>
                      <a:pt x="53" y="65"/>
                      <a:pt x="54" y="65"/>
                    </a:cubicBezTo>
                    <a:cubicBezTo>
                      <a:pt x="54" y="66"/>
                      <a:pt x="54" y="66"/>
                      <a:pt x="54" y="66"/>
                    </a:cubicBezTo>
                    <a:cubicBezTo>
                      <a:pt x="56" y="68"/>
                      <a:pt x="58" y="70"/>
                      <a:pt x="59" y="72"/>
                    </a:cubicBezTo>
                    <a:cubicBezTo>
                      <a:pt x="59" y="73"/>
                      <a:pt x="59" y="74"/>
                      <a:pt x="59" y="75"/>
                    </a:cubicBezTo>
                    <a:cubicBezTo>
                      <a:pt x="59" y="75"/>
                      <a:pt x="59" y="75"/>
                      <a:pt x="59" y="75"/>
                    </a:cubicBezTo>
                    <a:cubicBezTo>
                      <a:pt x="58" y="77"/>
                      <a:pt x="57" y="78"/>
                      <a:pt x="57" y="79"/>
                    </a:cubicBezTo>
                    <a:cubicBezTo>
                      <a:pt x="56" y="80"/>
                      <a:pt x="56" y="80"/>
                      <a:pt x="56" y="80"/>
                    </a:cubicBezTo>
                    <a:cubicBezTo>
                      <a:pt x="56" y="80"/>
                      <a:pt x="56" y="80"/>
                      <a:pt x="56" y="80"/>
                    </a:cubicBezTo>
                    <a:cubicBezTo>
                      <a:pt x="54" y="84"/>
                      <a:pt x="53" y="88"/>
                      <a:pt x="53" y="93"/>
                    </a:cubicBezTo>
                    <a:cubicBezTo>
                      <a:pt x="52" y="94"/>
                      <a:pt x="52" y="94"/>
                      <a:pt x="52" y="94"/>
                    </a:cubicBezTo>
                    <a:cubicBezTo>
                      <a:pt x="51" y="108"/>
                      <a:pt x="50" y="122"/>
                      <a:pt x="49" y="135"/>
                    </a:cubicBezTo>
                    <a:cubicBezTo>
                      <a:pt x="49" y="136"/>
                      <a:pt x="49" y="136"/>
                      <a:pt x="49" y="136"/>
                    </a:cubicBezTo>
                    <a:cubicBezTo>
                      <a:pt x="49" y="136"/>
                      <a:pt x="49" y="136"/>
                      <a:pt x="49" y="136"/>
                    </a:cubicBezTo>
                    <a:cubicBezTo>
                      <a:pt x="48" y="152"/>
                      <a:pt x="48" y="152"/>
                      <a:pt x="48" y="152"/>
                    </a:cubicBezTo>
                    <a:cubicBezTo>
                      <a:pt x="48" y="153"/>
                      <a:pt x="48" y="153"/>
                      <a:pt x="48" y="153"/>
                    </a:cubicBezTo>
                    <a:cubicBezTo>
                      <a:pt x="48" y="155"/>
                      <a:pt x="48" y="157"/>
                      <a:pt x="47" y="159"/>
                    </a:cubicBezTo>
                    <a:cubicBezTo>
                      <a:pt x="46" y="160"/>
                      <a:pt x="46" y="160"/>
                      <a:pt x="46" y="160"/>
                    </a:cubicBezTo>
                    <a:cubicBezTo>
                      <a:pt x="46" y="160"/>
                      <a:pt x="45" y="161"/>
                      <a:pt x="44" y="162"/>
                    </a:cubicBezTo>
                    <a:cubicBezTo>
                      <a:pt x="44" y="162"/>
                      <a:pt x="44" y="162"/>
                      <a:pt x="44" y="162"/>
                    </a:cubicBezTo>
                    <a:cubicBezTo>
                      <a:pt x="43" y="163"/>
                      <a:pt x="43" y="163"/>
                      <a:pt x="43" y="163"/>
                    </a:cubicBezTo>
                    <a:cubicBezTo>
                      <a:pt x="26" y="181"/>
                      <a:pt x="26" y="181"/>
                      <a:pt x="26" y="181"/>
                    </a:cubicBezTo>
                    <a:cubicBezTo>
                      <a:pt x="22" y="185"/>
                      <a:pt x="19" y="190"/>
                      <a:pt x="15" y="196"/>
                    </a:cubicBezTo>
                    <a:cubicBezTo>
                      <a:pt x="3" y="216"/>
                      <a:pt x="3" y="216"/>
                      <a:pt x="3" y="216"/>
                    </a:cubicBezTo>
                    <a:cubicBezTo>
                      <a:pt x="2" y="217"/>
                      <a:pt x="1" y="218"/>
                      <a:pt x="0" y="218"/>
                    </a:cubicBezTo>
                    <a:cubicBezTo>
                      <a:pt x="1" y="221"/>
                      <a:pt x="1" y="223"/>
                      <a:pt x="2" y="226"/>
                    </a:cubicBezTo>
                    <a:cubicBezTo>
                      <a:pt x="3" y="228"/>
                      <a:pt x="3" y="230"/>
                      <a:pt x="4" y="233"/>
                    </a:cubicBezTo>
                    <a:cubicBezTo>
                      <a:pt x="5" y="235"/>
                      <a:pt x="5" y="235"/>
                      <a:pt x="5" y="235"/>
                    </a:cubicBezTo>
                    <a:cubicBezTo>
                      <a:pt x="6" y="235"/>
                      <a:pt x="6" y="236"/>
                      <a:pt x="7" y="237"/>
                    </a:cubicBezTo>
                    <a:cubicBezTo>
                      <a:pt x="7" y="238"/>
                      <a:pt x="8" y="238"/>
                      <a:pt x="8" y="239"/>
                    </a:cubicBezTo>
                    <a:cubicBezTo>
                      <a:pt x="13" y="246"/>
                      <a:pt x="13" y="246"/>
                      <a:pt x="13" y="246"/>
                    </a:cubicBezTo>
                    <a:cubicBezTo>
                      <a:pt x="22" y="248"/>
                      <a:pt x="22" y="248"/>
                      <a:pt x="22" y="248"/>
                    </a:cubicBezTo>
                    <a:cubicBezTo>
                      <a:pt x="24" y="249"/>
                      <a:pt x="25" y="251"/>
                      <a:pt x="25" y="254"/>
                    </a:cubicBezTo>
                    <a:cubicBezTo>
                      <a:pt x="25" y="254"/>
                      <a:pt x="25" y="254"/>
                      <a:pt x="25" y="254"/>
                    </a:cubicBezTo>
                    <a:cubicBezTo>
                      <a:pt x="26" y="255"/>
                      <a:pt x="26" y="255"/>
                      <a:pt x="26" y="255"/>
                    </a:cubicBezTo>
                    <a:cubicBezTo>
                      <a:pt x="29" y="257"/>
                      <a:pt x="31" y="259"/>
                      <a:pt x="32" y="260"/>
                    </a:cubicBezTo>
                    <a:cubicBezTo>
                      <a:pt x="32" y="262"/>
                      <a:pt x="33" y="264"/>
                      <a:pt x="33" y="266"/>
                    </a:cubicBezTo>
                    <a:cubicBezTo>
                      <a:pt x="34" y="268"/>
                      <a:pt x="35" y="271"/>
                      <a:pt x="36" y="273"/>
                    </a:cubicBezTo>
                    <a:cubicBezTo>
                      <a:pt x="36" y="275"/>
                      <a:pt x="36" y="275"/>
                      <a:pt x="36" y="275"/>
                    </a:cubicBezTo>
                    <a:cubicBezTo>
                      <a:pt x="37" y="276"/>
                      <a:pt x="38" y="277"/>
                      <a:pt x="38" y="279"/>
                    </a:cubicBezTo>
                    <a:cubicBezTo>
                      <a:pt x="38" y="279"/>
                      <a:pt x="38" y="279"/>
                      <a:pt x="38" y="279"/>
                    </a:cubicBezTo>
                    <a:cubicBezTo>
                      <a:pt x="38" y="280"/>
                      <a:pt x="38" y="281"/>
                      <a:pt x="39" y="282"/>
                    </a:cubicBezTo>
                    <a:cubicBezTo>
                      <a:pt x="39" y="283"/>
                      <a:pt x="39" y="283"/>
                      <a:pt x="39" y="283"/>
                    </a:cubicBezTo>
                    <a:cubicBezTo>
                      <a:pt x="39" y="283"/>
                      <a:pt x="39" y="284"/>
                      <a:pt x="39" y="284"/>
                    </a:cubicBezTo>
                    <a:cubicBezTo>
                      <a:pt x="39" y="284"/>
                      <a:pt x="39" y="284"/>
                      <a:pt x="39" y="284"/>
                    </a:cubicBezTo>
                    <a:cubicBezTo>
                      <a:pt x="39" y="284"/>
                      <a:pt x="39" y="284"/>
                      <a:pt x="39" y="284"/>
                    </a:cubicBezTo>
                    <a:cubicBezTo>
                      <a:pt x="39" y="286"/>
                      <a:pt x="39" y="288"/>
                      <a:pt x="39" y="290"/>
                    </a:cubicBezTo>
                    <a:cubicBezTo>
                      <a:pt x="38" y="291"/>
                      <a:pt x="38" y="292"/>
                      <a:pt x="38" y="293"/>
                    </a:cubicBezTo>
                    <a:cubicBezTo>
                      <a:pt x="38" y="293"/>
                      <a:pt x="38" y="293"/>
                      <a:pt x="38" y="293"/>
                    </a:cubicBezTo>
                    <a:cubicBezTo>
                      <a:pt x="38" y="294"/>
                      <a:pt x="37" y="294"/>
                      <a:pt x="37" y="295"/>
                    </a:cubicBezTo>
                    <a:cubicBezTo>
                      <a:pt x="37" y="296"/>
                      <a:pt x="37" y="297"/>
                      <a:pt x="37" y="298"/>
                    </a:cubicBezTo>
                    <a:cubicBezTo>
                      <a:pt x="38" y="303"/>
                      <a:pt x="40" y="308"/>
                      <a:pt x="43" y="313"/>
                    </a:cubicBezTo>
                    <a:cubicBezTo>
                      <a:pt x="44" y="314"/>
                      <a:pt x="45" y="316"/>
                      <a:pt x="46" y="317"/>
                    </a:cubicBezTo>
                    <a:cubicBezTo>
                      <a:pt x="47" y="318"/>
                      <a:pt x="48" y="318"/>
                      <a:pt x="49" y="319"/>
                    </a:cubicBezTo>
                    <a:cubicBezTo>
                      <a:pt x="49" y="319"/>
                      <a:pt x="49" y="319"/>
                      <a:pt x="49" y="319"/>
                    </a:cubicBezTo>
                    <a:cubicBezTo>
                      <a:pt x="50" y="319"/>
                      <a:pt x="50" y="320"/>
                      <a:pt x="51" y="320"/>
                    </a:cubicBezTo>
                    <a:cubicBezTo>
                      <a:pt x="56" y="324"/>
                      <a:pt x="56" y="324"/>
                      <a:pt x="56" y="324"/>
                    </a:cubicBezTo>
                    <a:cubicBezTo>
                      <a:pt x="49" y="325"/>
                      <a:pt x="49" y="325"/>
                      <a:pt x="49" y="325"/>
                    </a:cubicBezTo>
                    <a:cubicBezTo>
                      <a:pt x="48" y="326"/>
                      <a:pt x="46" y="326"/>
                      <a:pt x="44" y="326"/>
                    </a:cubicBezTo>
                    <a:cubicBezTo>
                      <a:pt x="43" y="326"/>
                      <a:pt x="41" y="326"/>
                      <a:pt x="40" y="326"/>
                    </a:cubicBezTo>
                    <a:cubicBezTo>
                      <a:pt x="39" y="326"/>
                      <a:pt x="38" y="326"/>
                      <a:pt x="37" y="326"/>
                    </a:cubicBezTo>
                    <a:cubicBezTo>
                      <a:pt x="37" y="326"/>
                      <a:pt x="37" y="326"/>
                      <a:pt x="37" y="326"/>
                    </a:cubicBezTo>
                    <a:cubicBezTo>
                      <a:pt x="34" y="326"/>
                      <a:pt x="31" y="326"/>
                      <a:pt x="28" y="326"/>
                    </a:cubicBezTo>
                    <a:cubicBezTo>
                      <a:pt x="28" y="326"/>
                      <a:pt x="28" y="326"/>
                      <a:pt x="27" y="326"/>
                    </a:cubicBezTo>
                    <a:cubicBezTo>
                      <a:pt x="27" y="326"/>
                      <a:pt x="27" y="326"/>
                      <a:pt x="27" y="326"/>
                    </a:cubicBezTo>
                    <a:cubicBezTo>
                      <a:pt x="26" y="326"/>
                      <a:pt x="26" y="326"/>
                      <a:pt x="25" y="326"/>
                    </a:cubicBezTo>
                    <a:cubicBezTo>
                      <a:pt x="24" y="326"/>
                      <a:pt x="24" y="326"/>
                      <a:pt x="24" y="326"/>
                    </a:cubicBezTo>
                    <a:cubicBezTo>
                      <a:pt x="24" y="326"/>
                      <a:pt x="23" y="326"/>
                      <a:pt x="23" y="326"/>
                    </a:cubicBezTo>
                    <a:cubicBezTo>
                      <a:pt x="22" y="326"/>
                      <a:pt x="21" y="326"/>
                      <a:pt x="19" y="326"/>
                    </a:cubicBezTo>
                    <a:cubicBezTo>
                      <a:pt x="19" y="326"/>
                      <a:pt x="18" y="326"/>
                      <a:pt x="17" y="326"/>
                    </a:cubicBezTo>
                    <a:cubicBezTo>
                      <a:pt x="16" y="326"/>
                      <a:pt x="16" y="326"/>
                      <a:pt x="16" y="326"/>
                    </a:cubicBezTo>
                    <a:cubicBezTo>
                      <a:pt x="16" y="326"/>
                      <a:pt x="15" y="326"/>
                      <a:pt x="14" y="327"/>
                    </a:cubicBezTo>
                    <a:cubicBezTo>
                      <a:pt x="14" y="328"/>
                      <a:pt x="14" y="329"/>
                      <a:pt x="13" y="329"/>
                    </a:cubicBezTo>
                    <a:cubicBezTo>
                      <a:pt x="13" y="330"/>
                      <a:pt x="13" y="330"/>
                      <a:pt x="13" y="330"/>
                    </a:cubicBezTo>
                    <a:cubicBezTo>
                      <a:pt x="13" y="331"/>
                      <a:pt x="13" y="331"/>
                      <a:pt x="13" y="331"/>
                    </a:cubicBezTo>
                    <a:cubicBezTo>
                      <a:pt x="14" y="331"/>
                      <a:pt x="14" y="331"/>
                      <a:pt x="14" y="331"/>
                    </a:cubicBezTo>
                    <a:cubicBezTo>
                      <a:pt x="14" y="332"/>
                      <a:pt x="15" y="332"/>
                      <a:pt x="15" y="333"/>
                    </a:cubicBezTo>
                    <a:cubicBezTo>
                      <a:pt x="16" y="334"/>
                      <a:pt x="16" y="334"/>
                      <a:pt x="17" y="335"/>
                    </a:cubicBezTo>
                    <a:cubicBezTo>
                      <a:pt x="18" y="336"/>
                      <a:pt x="18" y="336"/>
                      <a:pt x="18" y="336"/>
                    </a:cubicBezTo>
                    <a:cubicBezTo>
                      <a:pt x="21" y="339"/>
                      <a:pt x="24" y="342"/>
                      <a:pt x="27" y="344"/>
                    </a:cubicBezTo>
                    <a:cubicBezTo>
                      <a:pt x="28" y="345"/>
                      <a:pt x="28" y="345"/>
                      <a:pt x="28" y="345"/>
                    </a:cubicBezTo>
                    <a:cubicBezTo>
                      <a:pt x="31" y="348"/>
                      <a:pt x="35" y="351"/>
                      <a:pt x="38" y="354"/>
                    </a:cubicBezTo>
                    <a:cubicBezTo>
                      <a:pt x="41" y="357"/>
                      <a:pt x="42" y="360"/>
                      <a:pt x="43" y="363"/>
                    </a:cubicBezTo>
                    <a:cubicBezTo>
                      <a:pt x="44" y="364"/>
                      <a:pt x="44" y="364"/>
                      <a:pt x="44" y="364"/>
                    </a:cubicBezTo>
                    <a:cubicBezTo>
                      <a:pt x="44" y="365"/>
                      <a:pt x="45" y="366"/>
                      <a:pt x="45" y="367"/>
                    </a:cubicBezTo>
                    <a:cubicBezTo>
                      <a:pt x="45" y="367"/>
                      <a:pt x="46" y="368"/>
                      <a:pt x="46" y="369"/>
                    </a:cubicBezTo>
                    <a:cubicBezTo>
                      <a:pt x="46" y="370"/>
                      <a:pt x="47" y="372"/>
                      <a:pt x="48" y="373"/>
                    </a:cubicBezTo>
                    <a:cubicBezTo>
                      <a:pt x="50" y="373"/>
                      <a:pt x="50" y="373"/>
                      <a:pt x="50" y="373"/>
                    </a:cubicBezTo>
                    <a:cubicBezTo>
                      <a:pt x="49" y="376"/>
                      <a:pt x="49" y="376"/>
                      <a:pt x="49" y="376"/>
                    </a:cubicBezTo>
                    <a:cubicBezTo>
                      <a:pt x="49" y="377"/>
                      <a:pt x="49" y="377"/>
                      <a:pt x="49" y="377"/>
                    </a:cubicBezTo>
                    <a:cubicBezTo>
                      <a:pt x="50" y="377"/>
                      <a:pt x="52" y="377"/>
                      <a:pt x="53" y="377"/>
                    </a:cubicBezTo>
                    <a:cubicBezTo>
                      <a:pt x="54" y="377"/>
                      <a:pt x="55" y="377"/>
                      <a:pt x="56" y="376"/>
                    </a:cubicBezTo>
                    <a:cubicBezTo>
                      <a:pt x="57" y="376"/>
                      <a:pt x="57" y="376"/>
                      <a:pt x="57" y="376"/>
                    </a:cubicBezTo>
                    <a:cubicBezTo>
                      <a:pt x="59" y="376"/>
                      <a:pt x="60" y="376"/>
                      <a:pt x="61" y="376"/>
                    </a:cubicBezTo>
                    <a:cubicBezTo>
                      <a:pt x="62" y="376"/>
                      <a:pt x="63" y="375"/>
                      <a:pt x="64" y="375"/>
                    </a:cubicBezTo>
                    <a:cubicBezTo>
                      <a:pt x="64" y="375"/>
                      <a:pt x="64" y="375"/>
                      <a:pt x="64" y="375"/>
                    </a:cubicBezTo>
                    <a:cubicBezTo>
                      <a:pt x="64" y="374"/>
                      <a:pt x="65" y="373"/>
                      <a:pt x="66" y="372"/>
                    </a:cubicBezTo>
                    <a:cubicBezTo>
                      <a:pt x="66" y="371"/>
                      <a:pt x="67" y="371"/>
                      <a:pt x="67" y="370"/>
                    </a:cubicBezTo>
                    <a:cubicBezTo>
                      <a:pt x="68" y="370"/>
                      <a:pt x="68" y="370"/>
                      <a:pt x="69" y="370"/>
                    </a:cubicBezTo>
                    <a:cubicBezTo>
                      <a:pt x="69" y="370"/>
                      <a:pt x="69" y="370"/>
                      <a:pt x="69" y="370"/>
                    </a:cubicBezTo>
                    <a:cubicBezTo>
                      <a:pt x="69" y="370"/>
                      <a:pt x="69" y="370"/>
                      <a:pt x="69" y="370"/>
                    </a:cubicBezTo>
                    <a:cubicBezTo>
                      <a:pt x="72" y="370"/>
                      <a:pt x="73" y="372"/>
                      <a:pt x="74" y="373"/>
                    </a:cubicBezTo>
                    <a:cubicBezTo>
                      <a:pt x="77" y="377"/>
                      <a:pt x="77" y="377"/>
                      <a:pt x="77" y="377"/>
                    </a:cubicBezTo>
                    <a:cubicBezTo>
                      <a:pt x="77" y="376"/>
                      <a:pt x="77" y="376"/>
                      <a:pt x="77" y="376"/>
                    </a:cubicBezTo>
                    <a:cubicBezTo>
                      <a:pt x="78" y="376"/>
                      <a:pt x="78" y="376"/>
                      <a:pt x="78" y="376"/>
                    </a:cubicBezTo>
                    <a:cubicBezTo>
                      <a:pt x="79" y="376"/>
                      <a:pt x="79" y="376"/>
                      <a:pt x="79" y="376"/>
                    </a:cubicBezTo>
                    <a:cubicBezTo>
                      <a:pt x="79" y="376"/>
                      <a:pt x="79" y="375"/>
                      <a:pt x="79" y="375"/>
                    </a:cubicBezTo>
                    <a:cubicBezTo>
                      <a:pt x="80" y="375"/>
                      <a:pt x="80" y="375"/>
                      <a:pt x="80" y="375"/>
                    </a:cubicBezTo>
                    <a:cubicBezTo>
                      <a:pt x="81" y="374"/>
                      <a:pt x="82" y="374"/>
                      <a:pt x="83" y="373"/>
                    </a:cubicBezTo>
                    <a:cubicBezTo>
                      <a:pt x="84" y="373"/>
                      <a:pt x="84" y="373"/>
                      <a:pt x="84" y="373"/>
                    </a:cubicBezTo>
                    <a:cubicBezTo>
                      <a:pt x="85" y="372"/>
                      <a:pt x="87" y="372"/>
                      <a:pt x="88" y="371"/>
                    </a:cubicBezTo>
                    <a:cubicBezTo>
                      <a:pt x="90" y="371"/>
                      <a:pt x="90" y="371"/>
                      <a:pt x="90" y="371"/>
                    </a:cubicBezTo>
                    <a:cubicBezTo>
                      <a:pt x="90" y="371"/>
                      <a:pt x="91" y="370"/>
                      <a:pt x="91" y="370"/>
                    </a:cubicBezTo>
                    <a:cubicBezTo>
                      <a:pt x="94" y="369"/>
                      <a:pt x="94" y="369"/>
                      <a:pt x="94" y="369"/>
                    </a:cubicBezTo>
                    <a:cubicBezTo>
                      <a:pt x="97" y="369"/>
                      <a:pt x="99" y="368"/>
                      <a:pt x="102" y="368"/>
                    </a:cubicBezTo>
                    <a:cubicBezTo>
                      <a:pt x="103" y="367"/>
                      <a:pt x="105" y="367"/>
                      <a:pt x="107" y="366"/>
                    </a:cubicBezTo>
                    <a:cubicBezTo>
                      <a:pt x="107" y="366"/>
                      <a:pt x="108" y="366"/>
                      <a:pt x="109" y="366"/>
                    </a:cubicBezTo>
                    <a:cubicBezTo>
                      <a:pt x="109" y="366"/>
                      <a:pt x="109" y="366"/>
                      <a:pt x="109" y="366"/>
                    </a:cubicBezTo>
                    <a:cubicBezTo>
                      <a:pt x="110" y="366"/>
                      <a:pt x="110" y="366"/>
                      <a:pt x="110" y="366"/>
                    </a:cubicBezTo>
                    <a:cubicBezTo>
                      <a:pt x="112" y="366"/>
                      <a:pt x="112" y="366"/>
                      <a:pt x="112" y="366"/>
                    </a:cubicBezTo>
                    <a:cubicBezTo>
                      <a:pt x="112" y="366"/>
                      <a:pt x="113" y="366"/>
                      <a:pt x="114" y="366"/>
                    </a:cubicBezTo>
                    <a:cubicBezTo>
                      <a:pt x="115" y="366"/>
                      <a:pt x="115" y="366"/>
                      <a:pt x="115" y="366"/>
                    </a:cubicBezTo>
                    <a:cubicBezTo>
                      <a:pt x="116" y="366"/>
                      <a:pt x="116" y="366"/>
                      <a:pt x="116" y="366"/>
                    </a:cubicBezTo>
                    <a:cubicBezTo>
                      <a:pt x="116" y="366"/>
                      <a:pt x="116" y="366"/>
                      <a:pt x="116" y="366"/>
                    </a:cubicBezTo>
                    <a:cubicBezTo>
                      <a:pt x="117" y="365"/>
                      <a:pt x="117" y="365"/>
                      <a:pt x="117" y="365"/>
                    </a:cubicBezTo>
                    <a:cubicBezTo>
                      <a:pt x="119" y="363"/>
                      <a:pt x="119" y="363"/>
                      <a:pt x="119" y="363"/>
                    </a:cubicBezTo>
                    <a:cubicBezTo>
                      <a:pt x="120" y="362"/>
                      <a:pt x="122" y="360"/>
                      <a:pt x="123" y="358"/>
                    </a:cubicBezTo>
                    <a:cubicBezTo>
                      <a:pt x="124" y="357"/>
                      <a:pt x="125" y="356"/>
                      <a:pt x="126" y="355"/>
                    </a:cubicBezTo>
                    <a:cubicBezTo>
                      <a:pt x="126" y="355"/>
                      <a:pt x="126" y="355"/>
                      <a:pt x="126" y="355"/>
                    </a:cubicBezTo>
                    <a:cubicBezTo>
                      <a:pt x="126" y="355"/>
                      <a:pt x="126" y="355"/>
                      <a:pt x="126" y="355"/>
                    </a:cubicBezTo>
                    <a:cubicBezTo>
                      <a:pt x="126" y="354"/>
                      <a:pt x="126" y="354"/>
                      <a:pt x="126" y="354"/>
                    </a:cubicBezTo>
                    <a:cubicBezTo>
                      <a:pt x="125" y="354"/>
                      <a:pt x="125" y="354"/>
                      <a:pt x="125" y="354"/>
                    </a:cubicBezTo>
                    <a:cubicBezTo>
                      <a:pt x="124" y="353"/>
                      <a:pt x="122" y="352"/>
                      <a:pt x="121" y="350"/>
                    </a:cubicBezTo>
                    <a:cubicBezTo>
                      <a:pt x="121" y="347"/>
                      <a:pt x="123" y="345"/>
                      <a:pt x="127" y="344"/>
                    </a:cubicBezTo>
                    <a:cubicBezTo>
                      <a:pt x="130" y="343"/>
                      <a:pt x="130" y="343"/>
                      <a:pt x="130" y="343"/>
                    </a:cubicBezTo>
                    <a:cubicBezTo>
                      <a:pt x="130" y="343"/>
                      <a:pt x="130" y="343"/>
                      <a:pt x="130" y="343"/>
                    </a:cubicBezTo>
                    <a:cubicBezTo>
                      <a:pt x="135" y="342"/>
                      <a:pt x="142" y="342"/>
                      <a:pt x="146" y="342"/>
                    </a:cubicBezTo>
                    <a:cubicBezTo>
                      <a:pt x="147" y="342"/>
                      <a:pt x="147" y="342"/>
                      <a:pt x="147" y="342"/>
                    </a:cubicBezTo>
                    <a:cubicBezTo>
                      <a:pt x="150" y="342"/>
                      <a:pt x="154" y="341"/>
                      <a:pt x="157" y="341"/>
                    </a:cubicBezTo>
                    <a:cubicBezTo>
                      <a:pt x="157" y="341"/>
                      <a:pt x="159" y="340"/>
                      <a:pt x="160" y="340"/>
                    </a:cubicBezTo>
                    <a:cubicBezTo>
                      <a:pt x="166" y="336"/>
                      <a:pt x="170" y="332"/>
                      <a:pt x="174" y="327"/>
                    </a:cubicBezTo>
                    <a:cubicBezTo>
                      <a:pt x="188" y="311"/>
                      <a:pt x="188" y="311"/>
                      <a:pt x="188" y="311"/>
                    </a:cubicBezTo>
                    <a:cubicBezTo>
                      <a:pt x="188" y="310"/>
                      <a:pt x="188" y="309"/>
                      <a:pt x="188" y="308"/>
                    </a:cubicBezTo>
                    <a:cubicBezTo>
                      <a:pt x="189" y="307"/>
                      <a:pt x="189" y="306"/>
                      <a:pt x="190" y="305"/>
                    </a:cubicBezTo>
                    <a:cubicBezTo>
                      <a:pt x="192" y="302"/>
                      <a:pt x="197" y="300"/>
                      <a:pt x="202" y="299"/>
                    </a:cubicBezTo>
                    <a:cubicBezTo>
                      <a:pt x="203" y="298"/>
                      <a:pt x="204" y="298"/>
                      <a:pt x="205" y="297"/>
                    </a:cubicBezTo>
                    <a:cubicBezTo>
                      <a:pt x="206" y="297"/>
                      <a:pt x="206" y="297"/>
                      <a:pt x="206" y="297"/>
                    </a:cubicBezTo>
                    <a:cubicBezTo>
                      <a:pt x="208" y="297"/>
                      <a:pt x="208" y="297"/>
                      <a:pt x="208" y="297"/>
                    </a:cubicBezTo>
                    <a:cubicBezTo>
                      <a:pt x="210" y="297"/>
                      <a:pt x="213" y="297"/>
                      <a:pt x="217" y="297"/>
                    </a:cubicBezTo>
                    <a:cubicBezTo>
                      <a:pt x="217" y="297"/>
                      <a:pt x="217" y="297"/>
                      <a:pt x="217" y="297"/>
                    </a:cubicBezTo>
                    <a:cubicBezTo>
                      <a:pt x="217" y="296"/>
                      <a:pt x="217" y="296"/>
                      <a:pt x="217" y="296"/>
                    </a:cubicBezTo>
                    <a:cubicBezTo>
                      <a:pt x="217" y="295"/>
                      <a:pt x="217" y="295"/>
                      <a:pt x="217" y="295"/>
                    </a:cubicBezTo>
                    <a:cubicBezTo>
                      <a:pt x="218" y="294"/>
                      <a:pt x="218" y="294"/>
                      <a:pt x="218" y="294"/>
                    </a:cubicBezTo>
                    <a:cubicBezTo>
                      <a:pt x="217" y="293"/>
                      <a:pt x="217" y="293"/>
                      <a:pt x="217" y="293"/>
                    </a:cubicBezTo>
                    <a:cubicBezTo>
                      <a:pt x="217" y="292"/>
                      <a:pt x="215" y="291"/>
                      <a:pt x="214" y="290"/>
                    </a:cubicBezTo>
                    <a:cubicBezTo>
                      <a:pt x="212" y="289"/>
                      <a:pt x="212" y="289"/>
                      <a:pt x="212" y="289"/>
                    </a:cubicBezTo>
                    <a:cubicBezTo>
                      <a:pt x="208" y="285"/>
                      <a:pt x="208" y="283"/>
                      <a:pt x="209" y="278"/>
                    </a:cubicBezTo>
                    <a:cubicBezTo>
                      <a:pt x="208" y="279"/>
                      <a:pt x="208" y="279"/>
                      <a:pt x="208" y="279"/>
                    </a:cubicBezTo>
                    <a:cubicBezTo>
                      <a:pt x="207" y="275"/>
                      <a:pt x="207" y="275"/>
                      <a:pt x="207" y="275"/>
                    </a:cubicBezTo>
                    <a:cubicBezTo>
                      <a:pt x="206" y="274"/>
                      <a:pt x="206" y="273"/>
                      <a:pt x="206" y="271"/>
                    </a:cubicBezTo>
                    <a:cubicBezTo>
                      <a:pt x="205" y="269"/>
                      <a:pt x="204" y="263"/>
                      <a:pt x="203" y="261"/>
                    </a:cubicBezTo>
                    <a:cubicBezTo>
                      <a:pt x="202" y="261"/>
                      <a:pt x="202" y="261"/>
                      <a:pt x="202" y="261"/>
                    </a:cubicBezTo>
                    <a:cubicBezTo>
                      <a:pt x="202" y="262"/>
                      <a:pt x="201" y="262"/>
                      <a:pt x="200" y="262"/>
                    </a:cubicBezTo>
                    <a:cubicBezTo>
                      <a:pt x="200" y="262"/>
                      <a:pt x="199" y="262"/>
                      <a:pt x="199" y="262"/>
                    </a:cubicBezTo>
                    <a:cubicBezTo>
                      <a:pt x="198" y="269"/>
                      <a:pt x="198" y="269"/>
                      <a:pt x="198" y="269"/>
                    </a:cubicBezTo>
                    <a:cubicBezTo>
                      <a:pt x="197" y="262"/>
                      <a:pt x="197" y="262"/>
                      <a:pt x="197" y="262"/>
                    </a:cubicBezTo>
                    <a:cubicBezTo>
                      <a:pt x="197" y="262"/>
                      <a:pt x="197" y="262"/>
                      <a:pt x="197" y="262"/>
                    </a:cubicBezTo>
                    <a:cubicBezTo>
                      <a:pt x="196" y="262"/>
                      <a:pt x="195" y="262"/>
                      <a:pt x="195" y="261"/>
                    </a:cubicBezTo>
                    <a:cubicBezTo>
                      <a:pt x="194" y="261"/>
                      <a:pt x="194" y="261"/>
                      <a:pt x="194" y="261"/>
                    </a:cubicBezTo>
                    <a:cubicBezTo>
                      <a:pt x="191" y="259"/>
                      <a:pt x="191" y="255"/>
                      <a:pt x="193" y="252"/>
                    </a:cubicBezTo>
                    <a:cubicBezTo>
                      <a:pt x="194" y="249"/>
                      <a:pt x="196" y="247"/>
                      <a:pt x="198" y="245"/>
                    </a:cubicBezTo>
                    <a:cubicBezTo>
                      <a:pt x="199" y="245"/>
                      <a:pt x="199" y="244"/>
                      <a:pt x="200" y="244"/>
                    </a:cubicBezTo>
                    <a:cubicBezTo>
                      <a:pt x="201" y="243"/>
                      <a:pt x="201" y="243"/>
                      <a:pt x="201" y="242"/>
                    </a:cubicBezTo>
                    <a:cubicBezTo>
                      <a:pt x="201" y="242"/>
                      <a:pt x="201" y="242"/>
                      <a:pt x="201" y="242"/>
                    </a:cubicBezTo>
                    <a:cubicBezTo>
                      <a:pt x="201" y="241"/>
                      <a:pt x="201" y="241"/>
                      <a:pt x="200" y="240"/>
                    </a:cubicBezTo>
                    <a:cubicBezTo>
                      <a:pt x="198" y="237"/>
                      <a:pt x="196" y="233"/>
                      <a:pt x="199" y="228"/>
                    </a:cubicBezTo>
                    <a:cubicBezTo>
                      <a:pt x="200" y="228"/>
                      <a:pt x="200" y="227"/>
                      <a:pt x="201" y="226"/>
                    </a:cubicBezTo>
                    <a:cubicBezTo>
                      <a:pt x="202" y="226"/>
                      <a:pt x="203" y="225"/>
                      <a:pt x="204" y="224"/>
                    </a:cubicBezTo>
                    <a:cubicBezTo>
                      <a:pt x="206" y="223"/>
                      <a:pt x="206" y="223"/>
                      <a:pt x="206" y="223"/>
                    </a:cubicBezTo>
                    <a:cubicBezTo>
                      <a:pt x="206" y="223"/>
                      <a:pt x="206" y="223"/>
                      <a:pt x="206" y="223"/>
                    </a:cubicBezTo>
                    <a:cubicBezTo>
                      <a:pt x="206" y="222"/>
                      <a:pt x="206" y="222"/>
                      <a:pt x="205" y="221"/>
                    </a:cubicBezTo>
                    <a:cubicBezTo>
                      <a:pt x="205" y="220"/>
                      <a:pt x="205" y="219"/>
                      <a:pt x="205" y="218"/>
                    </a:cubicBezTo>
                    <a:cubicBezTo>
                      <a:pt x="206" y="217"/>
                      <a:pt x="206" y="217"/>
                      <a:pt x="206" y="217"/>
                    </a:cubicBezTo>
                    <a:cubicBezTo>
                      <a:pt x="206" y="217"/>
                      <a:pt x="206" y="217"/>
                      <a:pt x="206" y="217"/>
                    </a:cubicBezTo>
                    <a:cubicBezTo>
                      <a:pt x="205" y="216"/>
                      <a:pt x="205" y="216"/>
                      <a:pt x="205" y="216"/>
                    </a:cubicBezTo>
                    <a:cubicBezTo>
                      <a:pt x="203" y="212"/>
                      <a:pt x="206" y="211"/>
                      <a:pt x="210" y="209"/>
                    </a:cubicBezTo>
                    <a:cubicBezTo>
                      <a:pt x="210" y="209"/>
                      <a:pt x="210" y="209"/>
                      <a:pt x="210" y="209"/>
                    </a:cubicBezTo>
                    <a:cubicBezTo>
                      <a:pt x="211" y="208"/>
                      <a:pt x="211" y="208"/>
                      <a:pt x="211" y="208"/>
                    </a:cubicBezTo>
                    <a:cubicBezTo>
                      <a:pt x="212" y="207"/>
                      <a:pt x="212" y="207"/>
                      <a:pt x="212" y="207"/>
                    </a:cubicBezTo>
                    <a:cubicBezTo>
                      <a:pt x="212" y="207"/>
                      <a:pt x="212" y="206"/>
                      <a:pt x="212" y="206"/>
                    </a:cubicBezTo>
                    <a:cubicBezTo>
                      <a:pt x="213" y="203"/>
                      <a:pt x="213" y="203"/>
                      <a:pt x="213" y="203"/>
                    </a:cubicBezTo>
                    <a:cubicBezTo>
                      <a:pt x="214" y="202"/>
                      <a:pt x="214" y="200"/>
                      <a:pt x="214" y="199"/>
                    </a:cubicBezTo>
                    <a:cubicBezTo>
                      <a:pt x="215" y="197"/>
                      <a:pt x="215" y="197"/>
                      <a:pt x="215" y="197"/>
                    </a:cubicBezTo>
                    <a:cubicBezTo>
                      <a:pt x="215" y="195"/>
                      <a:pt x="216" y="192"/>
                      <a:pt x="217" y="190"/>
                    </a:cubicBezTo>
                    <a:cubicBezTo>
                      <a:pt x="220" y="184"/>
                      <a:pt x="226" y="182"/>
                      <a:pt x="232" y="182"/>
                    </a:cubicBezTo>
                    <a:cubicBezTo>
                      <a:pt x="235" y="182"/>
                      <a:pt x="237" y="183"/>
                      <a:pt x="240" y="183"/>
                    </a:cubicBezTo>
                    <a:cubicBezTo>
                      <a:pt x="240" y="183"/>
                      <a:pt x="241" y="183"/>
                      <a:pt x="242" y="183"/>
                    </a:cubicBezTo>
                    <a:cubicBezTo>
                      <a:pt x="242" y="96"/>
                      <a:pt x="242" y="96"/>
                      <a:pt x="242" y="96"/>
                    </a:cubicBezTo>
                    <a:cubicBezTo>
                      <a:pt x="163" y="54"/>
                      <a:pt x="163" y="54"/>
                      <a:pt x="163" y="54"/>
                    </a:cubicBezTo>
                    <a:cubicBezTo>
                      <a:pt x="146" y="45"/>
                      <a:pt x="123" y="33"/>
                      <a:pt x="101" y="21"/>
                    </a:cubicBezTo>
                    <a:cubicBezTo>
                      <a:pt x="90" y="16"/>
                      <a:pt x="90" y="16"/>
                      <a:pt x="90" y="16"/>
                    </a:cubicBezTo>
                    <a:cubicBezTo>
                      <a:pt x="82" y="12"/>
                      <a:pt x="75" y="9"/>
                      <a:pt x="67" y="5"/>
                    </a:cubicBezTo>
                    <a:cubicBezTo>
                      <a:pt x="59" y="1"/>
                      <a:pt x="59" y="1"/>
                      <a:pt x="59" y="1"/>
                    </a:cubicBezTo>
                    <a:cubicBezTo>
                      <a:pt x="58" y="1"/>
                      <a:pt x="58" y="0"/>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190"/>
              <p:cNvSpPr/>
              <p:nvPr/>
            </p:nvSpPr>
            <p:spPr bwMode="auto">
              <a:xfrm>
                <a:off x="3682" y="1429"/>
                <a:ext cx="860" cy="659"/>
              </a:xfrm>
              <a:custGeom>
                <a:gdLst>
                  <a:gd name="T0" fmla="*/ 150 w 364"/>
                  <a:gd name="T1" fmla="*/ 81 h 279"/>
                  <a:gd name="T2" fmla="*/ 131 w 364"/>
                  <a:gd name="T3" fmla="*/ 99 h 279"/>
                  <a:gd name="T4" fmla="*/ 94 w 364"/>
                  <a:gd name="T5" fmla="*/ 120 h 279"/>
                  <a:gd name="T6" fmla="*/ 92 w 364"/>
                  <a:gd name="T7" fmla="*/ 172 h 279"/>
                  <a:gd name="T8" fmla="*/ 84 w 364"/>
                  <a:gd name="T9" fmla="*/ 191 h 279"/>
                  <a:gd name="T10" fmla="*/ 71 w 364"/>
                  <a:gd name="T11" fmla="*/ 199 h 279"/>
                  <a:gd name="T12" fmla="*/ 67 w 364"/>
                  <a:gd name="T13" fmla="*/ 199 h 279"/>
                  <a:gd name="T14" fmla="*/ 57 w 364"/>
                  <a:gd name="T15" fmla="*/ 200 h 279"/>
                  <a:gd name="T16" fmla="*/ 12 w 364"/>
                  <a:gd name="T17" fmla="*/ 205 h 279"/>
                  <a:gd name="T18" fmla="*/ 1 w 364"/>
                  <a:gd name="T19" fmla="*/ 209 h 279"/>
                  <a:gd name="T20" fmla="*/ 1 w 364"/>
                  <a:gd name="T21" fmla="*/ 220 h 279"/>
                  <a:gd name="T22" fmla="*/ 7 w 364"/>
                  <a:gd name="T23" fmla="*/ 233 h 279"/>
                  <a:gd name="T24" fmla="*/ 12 w 364"/>
                  <a:gd name="T25" fmla="*/ 235 h 279"/>
                  <a:gd name="T26" fmla="*/ 20 w 364"/>
                  <a:gd name="T27" fmla="*/ 247 h 279"/>
                  <a:gd name="T28" fmla="*/ 18 w 364"/>
                  <a:gd name="T29" fmla="*/ 248 h 279"/>
                  <a:gd name="T30" fmla="*/ 19 w 364"/>
                  <a:gd name="T31" fmla="*/ 252 h 279"/>
                  <a:gd name="T32" fmla="*/ 29 w 364"/>
                  <a:gd name="T33" fmla="*/ 257 h 279"/>
                  <a:gd name="T34" fmla="*/ 41 w 364"/>
                  <a:gd name="T35" fmla="*/ 258 h 279"/>
                  <a:gd name="T36" fmla="*/ 47 w 364"/>
                  <a:gd name="T37" fmla="*/ 267 h 279"/>
                  <a:gd name="T38" fmla="*/ 45 w 364"/>
                  <a:gd name="T39" fmla="*/ 271 h 279"/>
                  <a:gd name="T40" fmla="*/ 51 w 364"/>
                  <a:gd name="T41" fmla="*/ 267 h 279"/>
                  <a:gd name="T42" fmla="*/ 58 w 364"/>
                  <a:gd name="T43" fmla="*/ 265 h 279"/>
                  <a:gd name="T44" fmla="*/ 73 w 364"/>
                  <a:gd name="T45" fmla="*/ 279 h 279"/>
                  <a:gd name="T46" fmla="*/ 75 w 364"/>
                  <a:gd name="T47" fmla="*/ 266 h 279"/>
                  <a:gd name="T48" fmla="*/ 77 w 364"/>
                  <a:gd name="T49" fmla="*/ 261 h 279"/>
                  <a:gd name="T50" fmla="*/ 79 w 364"/>
                  <a:gd name="T51" fmla="*/ 258 h 279"/>
                  <a:gd name="T52" fmla="*/ 85 w 364"/>
                  <a:gd name="T53" fmla="*/ 245 h 279"/>
                  <a:gd name="T54" fmla="*/ 120 w 364"/>
                  <a:gd name="T55" fmla="*/ 229 h 279"/>
                  <a:gd name="T56" fmla="*/ 122 w 364"/>
                  <a:gd name="T57" fmla="*/ 229 h 279"/>
                  <a:gd name="T58" fmla="*/ 133 w 364"/>
                  <a:gd name="T59" fmla="*/ 232 h 279"/>
                  <a:gd name="T60" fmla="*/ 148 w 364"/>
                  <a:gd name="T61" fmla="*/ 240 h 279"/>
                  <a:gd name="T62" fmla="*/ 161 w 364"/>
                  <a:gd name="T63" fmla="*/ 248 h 279"/>
                  <a:gd name="T64" fmla="*/ 177 w 364"/>
                  <a:gd name="T65" fmla="*/ 242 h 279"/>
                  <a:gd name="T66" fmla="*/ 182 w 364"/>
                  <a:gd name="T67" fmla="*/ 243 h 279"/>
                  <a:gd name="T68" fmla="*/ 198 w 364"/>
                  <a:gd name="T69" fmla="*/ 251 h 279"/>
                  <a:gd name="T70" fmla="*/ 212 w 364"/>
                  <a:gd name="T71" fmla="*/ 254 h 279"/>
                  <a:gd name="T72" fmla="*/ 216 w 364"/>
                  <a:gd name="T73" fmla="*/ 255 h 279"/>
                  <a:gd name="T74" fmla="*/ 225 w 364"/>
                  <a:gd name="T75" fmla="*/ 246 h 279"/>
                  <a:gd name="T76" fmla="*/ 253 w 364"/>
                  <a:gd name="T77" fmla="*/ 241 h 279"/>
                  <a:gd name="T78" fmla="*/ 266 w 364"/>
                  <a:gd name="T79" fmla="*/ 242 h 279"/>
                  <a:gd name="T80" fmla="*/ 283 w 364"/>
                  <a:gd name="T81" fmla="*/ 248 h 279"/>
                  <a:gd name="T82" fmla="*/ 293 w 364"/>
                  <a:gd name="T83" fmla="*/ 238 h 279"/>
                  <a:gd name="T84" fmla="*/ 297 w 364"/>
                  <a:gd name="T85" fmla="*/ 236 h 279"/>
                  <a:gd name="T86" fmla="*/ 306 w 364"/>
                  <a:gd name="T87" fmla="*/ 233 h 279"/>
                  <a:gd name="T88" fmla="*/ 306 w 364"/>
                  <a:gd name="T89" fmla="*/ 217 h 279"/>
                  <a:gd name="T90" fmla="*/ 308 w 364"/>
                  <a:gd name="T91" fmla="*/ 215 h 279"/>
                  <a:gd name="T92" fmla="*/ 333 w 364"/>
                  <a:gd name="T93" fmla="*/ 179 h 279"/>
                  <a:gd name="T94" fmla="*/ 351 w 364"/>
                  <a:gd name="T95" fmla="*/ 160 h 279"/>
                  <a:gd name="T96" fmla="*/ 353 w 364"/>
                  <a:gd name="T97" fmla="*/ 155 h 279"/>
                  <a:gd name="T98" fmla="*/ 354 w 364"/>
                  <a:gd name="T99" fmla="*/ 138 h 279"/>
                  <a:gd name="T100" fmla="*/ 362 w 364"/>
                  <a:gd name="T101" fmla="*/ 79 h 279"/>
                  <a:gd name="T102" fmla="*/ 364 w 364"/>
                  <a:gd name="T103" fmla="*/ 75 h 279"/>
                  <a:gd name="T104" fmla="*/ 357 w 364"/>
                  <a:gd name="T105" fmla="*/ 68 h 279"/>
                  <a:gd name="T106" fmla="*/ 354 w 364"/>
                  <a:gd name="T107" fmla="*/ 59 h 279"/>
                  <a:gd name="T108" fmla="*/ 348 w 364"/>
                  <a:gd name="T109" fmla="*/ 50 h 279"/>
                  <a:gd name="T110" fmla="*/ 345 w 364"/>
                  <a:gd name="T111" fmla="*/ 35 h 279"/>
                  <a:gd name="T112" fmla="*/ 342 w 364"/>
                  <a:gd name="T113" fmla="*/ 15 h 279"/>
                  <a:gd name="T114" fmla="*/ 319 w 364"/>
                  <a:gd name="T115" fmla="*/ 17 h 279"/>
                  <a:gd name="T116" fmla="*/ 307 w 364"/>
                  <a:gd name="T117" fmla="*/ 8 h 2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4" h="279">
                    <a:moveTo>
                      <a:pt x="274" y="0"/>
                    </a:moveTo>
                    <a:cubicBezTo>
                      <a:pt x="177" y="60"/>
                      <a:pt x="177" y="60"/>
                      <a:pt x="177" y="60"/>
                    </a:cubicBezTo>
                    <a:cubicBezTo>
                      <a:pt x="172" y="63"/>
                      <a:pt x="167" y="66"/>
                      <a:pt x="162" y="71"/>
                    </a:cubicBezTo>
                    <a:cubicBezTo>
                      <a:pt x="158" y="74"/>
                      <a:pt x="154" y="78"/>
                      <a:pt x="150" y="81"/>
                    </a:cubicBezTo>
                    <a:cubicBezTo>
                      <a:pt x="140" y="90"/>
                      <a:pt x="140" y="90"/>
                      <a:pt x="140" y="90"/>
                    </a:cubicBezTo>
                    <a:cubicBezTo>
                      <a:pt x="138" y="92"/>
                      <a:pt x="136" y="94"/>
                      <a:pt x="134" y="96"/>
                    </a:cubicBezTo>
                    <a:cubicBezTo>
                      <a:pt x="133" y="97"/>
                      <a:pt x="133" y="97"/>
                      <a:pt x="133" y="97"/>
                    </a:cubicBezTo>
                    <a:cubicBezTo>
                      <a:pt x="132" y="97"/>
                      <a:pt x="132" y="98"/>
                      <a:pt x="131" y="99"/>
                    </a:cubicBezTo>
                    <a:cubicBezTo>
                      <a:pt x="128" y="101"/>
                      <a:pt x="122" y="102"/>
                      <a:pt x="117" y="103"/>
                    </a:cubicBezTo>
                    <a:cubicBezTo>
                      <a:pt x="116" y="103"/>
                      <a:pt x="114" y="103"/>
                      <a:pt x="113" y="103"/>
                    </a:cubicBezTo>
                    <a:cubicBezTo>
                      <a:pt x="94" y="107"/>
                      <a:pt x="94" y="107"/>
                      <a:pt x="94" y="107"/>
                    </a:cubicBezTo>
                    <a:cubicBezTo>
                      <a:pt x="94" y="120"/>
                      <a:pt x="94" y="120"/>
                      <a:pt x="94" y="120"/>
                    </a:cubicBezTo>
                    <a:cubicBezTo>
                      <a:pt x="94" y="126"/>
                      <a:pt x="94" y="133"/>
                      <a:pt x="94" y="139"/>
                    </a:cubicBezTo>
                    <a:cubicBezTo>
                      <a:pt x="94" y="145"/>
                      <a:pt x="94" y="145"/>
                      <a:pt x="94" y="145"/>
                    </a:cubicBezTo>
                    <a:cubicBezTo>
                      <a:pt x="94" y="153"/>
                      <a:pt x="94" y="160"/>
                      <a:pt x="93" y="169"/>
                    </a:cubicBezTo>
                    <a:cubicBezTo>
                      <a:pt x="93" y="170"/>
                      <a:pt x="93" y="171"/>
                      <a:pt x="92" y="172"/>
                    </a:cubicBezTo>
                    <a:cubicBezTo>
                      <a:pt x="92" y="175"/>
                      <a:pt x="90" y="178"/>
                      <a:pt x="89" y="180"/>
                    </a:cubicBezTo>
                    <a:cubicBezTo>
                      <a:pt x="88" y="183"/>
                      <a:pt x="88" y="183"/>
                      <a:pt x="88" y="183"/>
                    </a:cubicBezTo>
                    <a:cubicBezTo>
                      <a:pt x="88" y="183"/>
                      <a:pt x="88" y="184"/>
                      <a:pt x="87" y="184"/>
                    </a:cubicBezTo>
                    <a:cubicBezTo>
                      <a:pt x="86" y="187"/>
                      <a:pt x="85" y="189"/>
                      <a:pt x="84" y="191"/>
                    </a:cubicBezTo>
                    <a:cubicBezTo>
                      <a:pt x="83" y="192"/>
                      <a:pt x="83" y="192"/>
                      <a:pt x="82" y="193"/>
                    </a:cubicBezTo>
                    <a:cubicBezTo>
                      <a:pt x="80" y="195"/>
                      <a:pt x="77" y="198"/>
                      <a:pt x="74" y="199"/>
                    </a:cubicBezTo>
                    <a:cubicBezTo>
                      <a:pt x="74" y="199"/>
                      <a:pt x="74" y="199"/>
                      <a:pt x="73" y="199"/>
                    </a:cubicBezTo>
                    <a:cubicBezTo>
                      <a:pt x="72" y="199"/>
                      <a:pt x="71" y="199"/>
                      <a:pt x="71" y="199"/>
                    </a:cubicBezTo>
                    <a:cubicBezTo>
                      <a:pt x="70" y="199"/>
                      <a:pt x="70" y="199"/>
                      <a:pt x="70" y="199"/>
                    </a:cubicBezTo>
                    <a:cubicBezTo>
                      <a:pt x="70" y="199"/>
                      <a:pt x="70" y="199"/>
                      <a:pt x="70" y="199"/>
                    </a:cubicBezTo>
                    <a:cubicBezTo>
                      <a:pt x="69" y="199"/>
                      <a:pt x="69" y="199"/>
                      <a:pt x="69" y="199"/>
                    </a:cubicBezTo>
                    <a:cubicBezTo>
                      <a:pt x="68" y="199"/>
                      <a:pt x="68" y="199"/>
                      <a:pt x="67" y="199"/>
                    </a:cubicBezTo>
                    <a:cubicBezTo>
                      <a:pt x="66" y="199"/>
                      <a:pt x="66" y="199"/>
                      <a:pt x="66" y="199"/>
                    </a:cubicBezTo>
                    <a:cubicBezTo>
                      <a:pt x="65" y="199"/>
                      <a:pt x="64" y="199"/>
                      <a:pt x="63" y="199"/>
                    </a:cubicBezTo>
                    <a:cubicBezTo>
                      <a:pt x="62" y="200"/>
                      <a:pt x="61" y="200"/>
                      <a:pt x="60" y="200"/>
                    </a:cubicBezTo>
                    <a:cubicBezTo>
                      <a:pt x="59" y="200"/>
                      <a:pt x="58" y="200"/>
                      <a:pt x="57" y="200"/>
                    </a:cubicBezTo>
                    <a:cubicBezTo>
                      <a:pt x="56" y="199"/>
                      <a:pt x="56" y="199"/>
                      <a:pt x="56" y="199"/>
                    </a:cubicBezTo>
                    <a:cubicBezTo>
                      <a:pt x="55" y="199"/>
                      <a:pt x="54" y="199"/>
                      <a:pt x="54" y="199"/>
                    </a:cubicBezTo>
                    <a:cubicBezTo>
                      <a:pt x="45" y="200"/>
                      <a:pt x="35" y="200"/>
                      <a:pt x="25" y="201"/>
                    </a:cubicBezTo>
                    <a:cubicBezTo>
                      <a:pt x="21" y="201"/>
                      <a:pt x="16" y="203"/>
                      <a:pt x="12" y="205"/>
                    </a:cubicBezTo>
                    <a:cubicBezTo>
                      <a:pt x="10" y="206"/>
                      <a:pt x="8" y="206"/>
                      <a:pt x="6" y="207"/>
                    </a:cubicBezTo>
                    <a:cubicBezTo>
                      <a:pt x="5" y="207"/>
                      <a:pt x="5" y="208"/>
                      <a:pt x="4" y="208"/>
                    </a:cubicBezTo>
                    <a:cubicBezTo>
                      <a:pt x="3" y="208"/>
                      <a:pt x="2" y="209"/>
                      <a:pt x="1" y="209"/>
                    </a:cubicBezTo>
                    <a:cubicBezTo>
                      <a:pt x="1" y="209"/>
                      <a:pt x="1" y="209"/>
                      <a:pt x="1" y="209"/>
                    </a:cubicBezTo>
                    <a:cubicBezTo>
                      <a:pt x="1" y="210"/>
                      <a:pt x="1" y="210"/>
                      <a:pt x="1" y="210"/>
                    </a:cubicBezTo>
                    <a:cubicBezTo>
                      <a:pt x="0" y="210"/>
                      <a:pt x="0" y="210"/>
                      <a:pt x="0" y="210"/>
                    </a:cubicBezTo>
                    <a:cubicBezTo>
                      <a:pt x="0" y="218"/>
                      <a:pt x="0" y="218"/>
                      <a:pt x="0" y="218"/>
                    </a:cubicBezTo>
                    <a:cubicBezTo>
                      <a:pt x="0" y="219"/>
                      <a:pt x="1" y="220"/>
                      <a:pt x="1" y="220"/>
                    </a:cubicBezTo>
                    <a:cubicBezTo>
                      <a:pt x="1" y="221"/>
                      <a:pt x="1" y="221"/>
                      <a:pt x="1" y="221"/>
                    </a:cubicBezTo>
                    <a:cubicBezTo>
                      <a:pt x="2" y="222"/>
                      <a:pt x="4" y="223"/>
                      <a:pt x="4" y="225"/>
                    </a:cubicBezTo>
                    <a:cubicBezTo>
                      <a:pt x="5" y="226"/>
                      <a:pt x="5" y="228"/>
                      <a:pt x="6" y="229"/>
                    </a:cubicBezTo>
                    <a:cubicBezTo>
                      <a:pt x="6" y="231"/>
                      <a:pt x="6" y="232"/>
                      <a:pt x="7" y="233"/>
                    </a:cubicBezTo>
                    <a:cubicBezTo>
                      <a:pt x="8" y="234"/>
                      <a:pt x="8" y="234"/>
                      <a:pt x="8" y="234"/>
                    </a:cubicBezTo>
                    <a:cubicBezTo>
                      <a:pt x="8" y="234"/>
                      <a:pt x="8" y="234"/>
                      <a:pt x="11" y="235"/>
                    </a:cubicBezTo>
                    <a:cubicBezTo>
                      <a:pt x="11" y="235"/>
                      <a:pt x="11" y="235"/>
                      <a:pt x="11" y="235"/>
                    </a:cubicBezTo>
                    <a:cubicBezTo>
                      <a:pt x="11" y="235"/>
                      <a:pt x="12" y="235"/>
                      <a:pt x="12" y="235"/>
                    </a:cubicBezTo>
                    <a:cubicBezTo>
                      <a:pt x="15" y="236"/>
                      <a:pt x="16" y="237"/>
                      <a:pt x="19" y="239"/>
                    </a:cubicBezTo>
                    <a:cubicBezTo>
                      <a:pt x="21" y="240"/>
                      <a:pt x="22" y="241"/>
                      <a:pt x="23" y="242"/>
                    </a:cubicBezTo>
                    <a:cubicBezTo>
                      <a:pt x="36" y="254"/>
                      <a:pt x="36" y="254"/>
                      <a:pt x="36" y="254"/>
                    </a:cubicBezTo>
                    <a:cubicBezTo>
                      <a:pt x="20" y="247"/>
                      <a:pt x="20" y="247"/>
                      <a:pt x="20" y="247"/>
                    </a:cubicBezTo>
                    <a:cubicBezTo>
                      <a:pt x="20" y="247"/>
                      <a:pt x="20" y="247"/>
                      <a:pt x="20" y="247"/>
                    </a:cubicBezTo>
                    <a:cubicBezTo>
                      <a:pt x="20" y="248"/>
                      <a:pt x="19" y="248"/>
                      <a:pt x="19" y="248"/>
                    </a:cubicBezTo>
                    <a:cubicBezTo>
                      <a:pt x="18" y="248"/>
                      <a:pt x="18" y="248"/>
                      <a:pt x="18" y="248"/>
                    </a:cubicBezTo>
                    <a:cubicBezTo>
                      <a:pt x="18" y="248"/>
                      <a:pt x="18" y="248"/>
                      <a:pt x="18" y="248"/>
                    </a:cubicBezTo>
                    <a:cubicBezTo>
                      <a:pt x="17" y="250"/>
                      <a:pt x="17" y="250"/>
                      <a:pt x="17" y="250"/>
                    </a:cubicBezTo>
                    <a:cubicBezTo>
                      <a:pt x="17" y="250"/>
                      <a:pt x="17" y="250"/>
                      <a:pt x="17" y="250"/>
                    </a:cubicBezTo>
                    <a:cubicBezTo>
                      <a:pt x="18" y="251"/>
                      <a:pt x="18" y="251"/>
                      <a:pt x="18" y="251"/>
                    </a:cubicBezTo>
                    <a:cubicBezTo>
                      <a:pt x="19" y="252"/>
                      <a:pt x="19" y="252"/>
                      <a:pt x="19" y="252"/>
                    </a:cubicBezTo>
                    <a:cubicBezTo>
                      <a:pt x="19" y="252"/>
                      <a:pt x="19" y="252"/>
                      <a:pt x="19" y="252"/>
                    </a:cubicBezTo>
                    <a:cubicBezTo>
                      <a:pt x="21" y="253"/>
                      <a:pt x="23" y="254"/>
                      <a:pt x="25" y="255"/>
                    </a:cubicBezTo>
                    <a:cubicBezTo>
                      <a:pt x="26" y="255"/>
                      <a:pt x="27" y="256"/>
                      <a:pt x="28" y="256"/>
                    </a:cubicBezTo>
                    <a:cubicBezTo>
                      <a:pt x="28" y="256"/>
                      <a:pt x="29" y="257"/>
                      <a:pt x="29" y="257"/>
                    </a:cubicBezTo>
                    <a:cubicBezTo>
                      <a:pt x="31" y="258"/>
                      <a:pt x="32" y="259"/>
                      <a:pt x="32" y="259"/>
                    </a:cubicBezTo>
                    <a:cubicBezTo>
                      <a:pt x="34" y="259"/>
                      <a:pt x="34" y="259"/>
                      <a:pt x="34" y="259"/>
                    </a:cubicBezTo>
                    <a:cubicBezTo>
                      <a:pt x="36" y="258"/>
                      <a:pt x="38" y="258"/>
                      <a:pt x="40" y="258"/>
                    </a:cubicBezTo>
                    <a:cubicBezTo>
                      <a:pt x="40" y="258"/>
                      <a:pt x="40" y="258"/>
                      <a:pt x="41" y="258"/>
                    </a:cubicBezTo>
                    <a:cubicBezTo>
                      <a:pt x="41" y="258"/>
                      <a:pt x="42" y="258"/>
                      <a:pt x="42" y="258"/>
                    </a:cubicBezTo>
                    <a:cubicBezTo>
                      <a:pt x="44" y="259"/>
                      <a:pt x="45" y="260"/>
                      <a:pt x="46" y="261"/>
                    </a:cubicBezTo>
                    <a:cubicBezTo>
                      <a:pt x="46" y="262"/>
                      <a:pt x="47" y="263"/>
                      <a:pt x="47" y="264"/>
                    </a:cubicBezTo>
                    <a:cubicBezTo>
                      <a:pt x="47" y="265"/>
                      <a:pt x="47" y="266"/>
                      <a:pt x="47" y="267"/>
                    </a:cubicBezTo>
                    <a:cubicBezTo>
                      <a:pt x="46" y="268"/>
                      <a:pt x="46" y="269"/>
                      <a:pt x="45" y="269"/>
                    </a:cubicBezTo>
                    <a:cubicBezTo>
                      <a:pt x="44" y="270"/>
                      <a:pt x="44" y="270"/>
                      <a:pt x="44" y="270"/>
                    </a:cubicBezTo>
                    <a:cubicBezTo>
                      <a:pt x="45" y="270"/>
                      <a:pt x="45" y="270"/>
                      <a:pt x="45" y="270"/>
                    </a:cubicBezTo>
                    <a:cubicBezTo>
                      <a:pt x="45" y="271"/>
                      <a:pt x="45" y="271"/>
                      <a:pt x="45" y="271"/>
                    </a:cubicBezTo>
                    <a:cubicBezTo>
                      <a:pt x="45" y="270"/>
                      <a:pt x="46" y="269"/>
                      <a:pt x="47" y="268"/>
                    </a:cubicBezTo>
                    <a:cubicBezTo>
                      <a:pt x="48" y="268"/>
                      <a:pt x="48" y="268"/>
                      <a:pt x="48" y="268"/>
                    </a:cubicBezTo>
                    <a:cubicBezTo>
                      <a:pt x="49" y="267"/>
                      <a:pt x="50" y="267"/>
                      <a:pt x="50" y="267"/>
                    </a:cubicBezTo>
                    <a:cubicBezTo>
                      <a:pt x="51" y="267"/>
                      <a:pt x="51" y="267"/>
                      <a:pt x="51" y="267"/>
                    </a:cubicBezTo>
                    <a:cubicBezTo>
                      <a:pt x="53" y="266"/>
                      <a:pt x="54" y="266"/>
                      <a:pt x="56" y="265"/>
                    </a:cubicBezTo>
                    <a:cubicBezTo>
                      <a:pt x="56" y="265"/>
                      <a:pt x="57" y="265"/>
                      <a:pt x="57" y="265"/>
                    </a:cubicBezTo>
                    <a:cubicBezTo>
                      <a:pt x="57" y="265"/>
                      <a:pt x="57" y="265"/>
                      <a:pt x="57" y="265"/>
                    </a:cubicBezTo>
                    <a:cubicBezTo>
                      <a:pt x="58" y="265"/>
                      <a:pt x="58" y="265"/>
                      <a:pt x="58" y="265"/>
                    </a:cubicBezTo>
                    <a:cubicBezTo>
                      <a:pt x="58" y="265"/>
                      <a:pt x="59" y="265"/>
                      <a:pt x="60" y="265"/>
                    </a:cubicBezTo>
                    <a:cubicBezTo>
                      <a:pt x="61" y="266"/>
                      <a:pt x="61" y="266"/>
                      <a:pt x="61" y="266"/>
                    </a:cubicBezTo>
                    <a:cubicBezTo>
                      <a:pt x="62" y="267"/>
                      <a:pt x="62" y="268"/>
                      <a:pt x="63" y="269"/>
                    </a:cubicBezTo>
                    <a:cubicBezTo>
                      <a:pt x="66" y="272"/>
                      <a:pt x="70" y="276"/>
                      <a:pt x="73" y="279"/>
                    </a:cubicBezTo>
                    <a:cubicBezTo>
                      <a:pt x="73" y="279"/>
                      <a:pt x="73" y="279"/>
                      <a:pt x="73" y="279"/>
                    </a:cubicBezTo>
                    <a:cubicBezTo>
                      <a:pt x="74" y="275"/>
                      <a:pt x="74" y="271"/>
                      <a:pt x="74" y="268"/>
                    </a:cubicBezTo>
                    <a:cubicBezTo>
                      <a:pt x="74" y="267"/>
                      <a:pt x="75" y="267"/>
                      <a:pt x="75" y="266"/>
                    </a:cubicBezTo>
                    <a:cubicBezTo>
                      <a:pt x="75" y="266"/>
                      <a:pt x="75" y="266"/>
                      <a:pt x="75" y="266"/>
                    </a:cubicBezTo>
                    <a:cubicBezTo>
                      <a:pt x="75" y="265"/>
                      <a:pt x="75" y="265"/>
                      <a:pt x="75" y="265"/>
                    </a:cubicBezTo>
                    <a:cubicBezTo>
                      <a:pt x="75" y="264"/>
                      <a:pt x="75" y="263"/>
                      <a:pt x="76" y="263"/>
                    </a:cubicBezTo>
                    <a:cubicBezTo>
                      <a:pt x="76" y="262"/>
                      <a:pt x="76" y="262"/>
                      <a:pt x="76" y="262"/>
                    </a:cubicBezTo>
                    <a:cubicBezTo>
                      <a:pt x="77" y="261"/>
                      <a:pt x="77" y="261"/>
                      <a:pt x="77" y="261"/>
                    </a:cubicBezTo>
                    <a:cubicBezTo>
                      <a:pt x="78" y="259"/>
                      <a:pt x="78" y="259"/>
                      <a:pt x="78" y="259"/>
                    </a:cubicBezTo>
                    <a:cubicBezTo>
                      <a:pt x="74" y="256"/>
                      <a:pt x="74" y="256"/>
                      <a:pt x="74" y="256"/>
                    </a:cubicBezTo>
                    <a:cubicBezTo>
                      <a:pt x="79" y="258"/>
                      <a:pt x="79" y="258"/>
                      <a:pt x="79" y="258"/>
                    </a:cubicBezTo>
                    <a:cubicBezTo>
                      <a:pt x="79" y="258"/>
                      <a:pt x="79" y="258"/>
                      <a:pt x="79" y="258"/>
                    </a:cubicBezTo>
                    <a:cubicBezTo>
                      <a:pt x="80" y="258"/>
                      <a:pt x="80" y="257"/>
                      <a:pt x="80" y="257"/>
                    </a:cubicBezTo>
                    <a:cubicBezTo>
                      <a:pt x="85" y="247"/>
                      <a:pt x="85" y="247"/>
                      <a:pt x="85" y="247"/>
                    </a:cubicBezTo>
                    <a:cubicBezTo>
                      <a:pt x="85" y="247"/>
                      <a:pt x="85" y="247"/>
                      <a:pt x="85" y="246"/>
                    </a:cubicBezTo>
                    <a:cubicBezTo>
                      <a:pt x="85" y="246"/>
                      <a:pt x="85" y="245"/>
                      <a:pt x="85" y="245"/>
                    </a:cubicBezTo>
                    <a:cubicBezTo>
                      <a:pt x="86" y="243"/>
                      <a:pt x="86" y="242"/>
                      <a:pt x="87" y="240"/>
                    </a:cubicBezTo>
                    <a:cubicBezTo>
                      <a:pt x="89" y="238"/>
                      <a:pt x="96" y="234"/>
                      <a:pt x="99" y="233"/>
                    </a:cubicBezTo>
                    <a:cubicBezTo>
                      <a:pt x="102" y="232"/>
                      <a:pt x="104" y="232"/>
                      <a:pt x="106" y="232"/>
                    </a:cubicBezTo>
                    <a:cubicBezTo>
                      <a:pt x="110" y="231"/>
                      <a:pt x="115" y="229"/>
                      <a:pt x="120" y="229"/>
                    </a:cubicBezTo>
                    <a:cubicBezTo>
                      <a:pt x="121" y="229"/>
                      <a:pt x="121" y="229"/>
                      <a:pt x="121" y="229"/>
                    </a:cubicBezTo>
                    <a:cubicBezTo>
                      <a:pt x="122" y="229"/>
                      <a:pt x="122" y="229"/>
                      <a:pt x="122" y="229"/>
                    </a:cubicBezTo>
                    <a:cubicBezTo>
                      <a:pt x="122" y="229"/>
                      <a:pt x="122" y="229"/>
                      <a:pt x="122" y="229"/>
                    </a:cubicBezTo>
                    <a:cubicBezTo>
                      <a:pt x="122" y="229"/>
                      <a:pt x="122" y="229"/>
                      <a:pt x="122" y="229"/>
                    </a:cubicBezTo>
                    <a:cubicBezTo>
                      <a:pt x="123" y="229"/>
                      <a:pt x="124" y="229"/>
                      <a:pt x="125" y="230"/>
                    </a:cubicBezTo>
                    <a:cubicBezTo>
                      <a:pt x="126" y="230"/>
                      <a:pt x="127" y="230"/>
                      <a:pt x="128" y="231"/>
                    </a:cubicBezTo>
                    <a:cubicBezTo>
                      <a:pt x="129" y="231"/>
                      <a:pt x="130" y="232"/>
                      <a:pt x="131" y="232"/>
                    </a:cubicBezTo>
                    <a:cubicBezTo>
                      <a:pt x="131" y="232"/>
                      <a:pt x="132" y="232"/>
                      <a:pt x="133" y="232"/>
                    </a:cubicBezTo>
                    <a:cubicBezTo>
                      <a:pt x="133" y="232"/>
                      <a:pt x="133" y="232"/>
                      <a:pt x="133" y="232"/>
                    </a:cubicBezTo>
                    <a:cubicBezTo>
                      <a:pt x="136" y="233"/>
                      <a:pt x="140" y="233"/>
                      <a:pt x="142" y="235"/>
                    </a:cubicBezTo>
                    <a:cubicBezTo>
                      <a:pt x="144" y="237"/>
                      <a:pt x="144" y="237"/>
                      <a:pt x="144" y="237"/>
                    </a:cubicBezTo>
                    <a:cubicBezTo>
                      <a:pt x="145" y="238"/>
                      <a:pt x="147" y="239"/>
                      <a:pt x="148" y="240"/>
                    </a:cubicBezTo>
                    <a:cubicBezTo>
                      <a:pt x="157" y="250"/>
                      <a:pt x="157" y="250"/>
                      <a:pt x="157" y="250"/>
                    </a:cubicBezTo>
                    <a:cubicBezTo>
                      <a:pt x="158" y="250"/>
                      <a:pt x="158" y="250"/>
                      <a:pt x="158" y="250"/>
                    </a:cubicBezTo>
                    <a:cubicBezTo>
                      <a:pt x="160" y="249"/>
                      <a:pt x="160" y="249"/>
                      <a:pt x="160" y="249"/>
                    </a:cubicBezTo>
                    <a:cubicBezTo>
                      <a:pt x="160" y="248"/>
                      <a:pt x="161" y="248"/>
                      <a:pt x="161" y="248"/>
                    </a:cubicBezTo>
                    <a:cubicBezTo>
                      <a:pt x="162" y="247"/>
                      <a:pt x="163" y="247"/>
                      <a:pt x="164" y="246"/>
                    </a:cubicBezTo>
                    <a:cubicBezTo>
                      <a:pt x="165" y="246"/>
                      <a:pt x="165" y="246"/>
                      <a:pt x="165" y="246"/>
                    </a:cubicBezTo>
                    <a:cubicBezTo>
                      <a:pt x="168" y="244"/>
                      <a:pt x="171" y="243"/>
                      <a:pt x="175" y="242"/>
                    </a:cubicBezTo>
                    <a:cubicBezTo>
                      <a:pt x="176" y="242"/>
                      <a:pt x="177" y="242"/>
                      <a:pt x="177" y="242"/>
                    </a:cubicBezTo>
                    <a:cubicBezTo>
                      <a:pt x="178" y="242"/>
                      <a:pt x="178" y="242"/>
                      <a:pt x="179" y="242"/>
                    </a:cubicBezTo>
                    <a:cubicBezTo>
                      <a:pt x="179" y="242"/>
                      <a:pt x="179" y="242"/>
                      <a:pt x="179" y="242"/>
                    </a:cubicBezTo>
                    <a:cubicBezTo>
                      <a:pt x="180" y="242"/>
                      <a:pt x="180" y="242"/>
                      <a:pt x="181" y="242"/>
                    </a:cubicBezTo>
                    <a:cubicBezTo>
                      <a:pt x="182" y="243"/>
                      <a:pt x="182" y="243"/>
                      <a:pt x="182" y="243"/>
                    </a:cubicBezTo>
                    <a:cubicBezTo>
                      <a:pt x="182" y="243"/>
                      <a:pt x="182" y="243"/>
                      <a:pt x="183" y="243"/>
                    </a:cubicBezTo>
                    <a:cubicBezTo>
                      <a:pt x="185" y="244"/>
                      <a:pt x="187" y="245"/>
                      <a:pt x="189" y="246"/>
                    </a:cubicBezTo>
                    <a:cubicBezTo>
                      <a:pt x="190" y="247"/>
                      <a:pt x="191" y="247"/>
                      <a:pt x="192" y="248"/>
                    </a:cubicBezTo>
                    <a:cubicBezTo>
                      <a:pt x="198" y="251"/>
                      <a:pt x="198" y="251"/>
                      <a:pt x="198" y="251"/>
                    </a:cubicBezTo>
                    <a:cubicBezTo>
                      <a:pt x="201" y="252"/>
                      <a:pt x="205" y="254"/>
                      <a:pt x="210" y="254"/>
                    </a:cubicBezTo>
                    <a:cubicBezTo>
                      <a:pt x="211" y="254"/>
                      <a:pt x="211" y="254"/>
                      <a:pt x="211" y="254"/>
                    </a:cubicBezTo>
                    <a:cubicBezTo>
                      <a:pt x="211" y="254"/>
                      <a:pt x="211" y="254"/>
                      <a:pt x="211" y="254"/>
                    </a:cubicBezTo>
                    <a:cubicBezTo>
                      <a:pt x="212" y="254"/>
                      <a:pt x="212" y="254"/>
                      <a:pt x="212" y="254"/>
                    </a:cubicBezTo>
                    <a:cubicBezTo>
                      <a:pt x="213" y="254"/>
                      <a:pt x="213" y="254"/>
                      <a:pt x="213" y="254"/>
                    </a:cubicBezTo>
                    <a:cubicBezTo>
                      <a:pt x="214" y="254"/>
                      <a:pt x="214" y="254"/>
                      <a:pt x="214" y="254"/>
                    </a:cubicBezTo>
                    <a:cubicBezTo>
                      <a:pt x="215" y="255"/>
                      <a:pt x="215" y="255"/>
                      <a:pt x="216" y="255"/>
                    </a:cubicBezTo>
                    <a:cubicBezTo>
                      <a:pt x="216" y="255"/>
                      <a:pt x="216" y="255"/>
                      <a:pt x="216" y="255"/>
                    </a:cubicBezTo>
                    <a:cubicBezTo>
                      <a:pt x="217" y="254"/>
                      <a:pt x="217" y="254"/>
                      <a:pt x="217" y="254"/>
                    </a:cubicBezTo>
                    <a:cubicBezTo>
                      <a:pt x="217" y="254"/>
                      <a:pt x="217" y="254"/>
                      <a:pt x="218" y="254"/>
                    </a:cubicBezTo>
                    <a:cubicBezTo>
                      <a:pt x="220" y="251"/>
                      <a:pt x="220" y="251"/>
                      <a:pt x="220" y="251"/>
                    </a:cubicBezTo>
                    <a:cubicBezTo>
                      <a:pt x="222" y="249"/>
                      <a:pt x="223" y="248"/>
                      <a:pt x="225" y="246"/>
                    </a:cubicBezTo>
                    <a:cubicBezTo>
                      <a:pt x="227" y="245"/>
                      <a:pt x="230" y="243"/>
                      <a:pt x="234" y="242"/>
                    </a:cubicBezTo>
                    <a:cubicBezTo>
                      <a:pt x="237" y="241"/>
                      <a:pt x="240" y="241"/>
                      <a:pt x="242" y="241"/>
                    </a:cubicBezTo>
                    <a:cubicBezTo>
                      <a:pt x="244" y="241"/>
                      <a:pt x="246" y="241"/>
                      <a:pt x="247" y="241"/>
                    </a:cubicBezTo>
                    <a:cubicBezTo>
                      <a:pt x="249" y="241"/>
                      <a:pt x="251" y="241"/>
                      <a:pt x="253" y="241"/>
                    </a:cubicBezTo>
                    <a:cubicBezTo>
                      <a:pt x="254" y="241"/>
                      <a:pt x="254" y="241"/>
                      <a:pt x="254" y="241"/>
                    </a:cubicBezTo>
                    <a:cubicBezTo>
                      <a:pt x="256" y="241"/>
                      <a:pt x="258" y="241"/>
                      <a:pt x="260" y="241"/>
                    </a:cubicBezTo>
                    <a:cubicBezTo>
                      <a:pt x="261" y="241"/>
                      <a:pt x="261" y="241"/>
                      <a:pt x="261" y="241"/>
                    </a:cubicBezTo>
                    <a:cubicBezTo>
                      <a:pt x="262" y="242"/>
                      <a:pt x="264" y="242"/>
                      <a:pt x="266" y="242"/>
                    </a:cubicBezTo>
                    <a:cubicBezTo>
                      <a:pt x="269" y="243"/>
                      <a:pt x="269" y="243"/>
                      <a:pt x="269" y="243"/>
                    </a:cubicBezTo>
                    <a:cubicBezTo>
                      <a:pt x="270" y="244"/>
                      <a:pt x="271" y="244"/>
                      <a:pt x="271" y="244"/>
                    </a:cubicBezTo>
                    <a:cubicBezTo>
                      <a:pt x="272" y="244"/>
                      <a:pt x="272" y="244"/>
                      <a:pt x="272" y="244"/>
                    </a:cubicBezTo>
                    <a:cubicBezTo>
                      <a:pt x="283" y="248"/>
                      <a:pt x="283" y="248"/>
                      <a:pt x="283" y="248"/>
                    </a:cubicBezTo>
                    <a:cubicBezTo>
                      <a:pt x="289" y="242"/>
                      <a:pt x="289" y="242"/>
                      <a:pt x="289" y="242"/>
                    </a:cubicBezTo>
                    <a:cubicBezTo>
                      <a:pt x="289" y="241"/>
                      <a:pt x="289" y="241"/>
                      <a:pt x="289" y="241"/>
                    </a:cubicBezTo>
                    <a:cubicBezTo>
                      <a:pt x="290" y="241"/>
                      <a:pt x="290" y="241"/>
                      <a:pt x="290" y="241"/>
                    </a:cubicBezTo>
                    <a:cubicBezTo>
                      <a:pt x="290" y="240"/>
                      <a:pt x="292" y="239"/>
                      <a:pt x="293" y="238"/>
                    </a:cubicBezTo>
                    <a:cubicBezTo>
                      <a:pt x="293" y="238"/>
                      <a:pt x="293" y="238"/>
                      <a:pt x="293" y="238"/>
                    </a:cubicBezTo>
                    <a:cubicBezTo>
                      <a:pt x="294" y="238"/>
                      <a:pt x="294" y="238"/>
                      <a:pt x="294" y="238"/>
                    </a:cubicBezTo>
                    <a:cubicBezTo>
                      <a:pt x="295" y="237"/>
                      <a:pt x="295" y="237"/>
                      <a:pt x="295" y="237"/>
                    </a:cubicBezTo>
                    <a:cubicBezTo>
                      <a:pt x="296" y="237"/>
                      <a:pt x="296" y="237"/>
                      <a:pt x="297" y="236"/>
                    </a:cubicBezTo>
                    <a:cubicBezTo>
                      <a:pt x="298" y="236"/>
                      <a:pt x="298" y="236"/>
                      <a:pt x="298" y="236"/>
                    </a:cubicBezTo>
                    <a:cubicBezTo>
                      <a:pt x="298" y="236"/>
                      <a:pt x="299" y="235"/>
                      <a:pt x="299" y="235"/>
                    </a:cubicBezTo>
                    <a:cubicBezTo>
                      <a:pt x="301" y="235"/>
                      <a:pt x="302" y="234"/>
                      <a:pt x="304" y="234"/>
                    </a:cubicBezTo>
                    <a:cubicBezTo>
                      <a:pt x="304" y="233"/>
                      <a:pt x="305" y="233"/>
                      <a:pt x="306" y="233"/>
                    </a:cubicBezTo>
                    <a:cubicBezTo>
                      <a:pt x="307" y="233"/>
                      <a:pt x="308" y="233"/>
                      <a:pt x="308" y="233"/>
                    </a:cubicBezTo>
                    <a:cubicBezTo>
                      <a:pt x="308" y="232"/>
                      <a:pt x="308" y="230"/>
                      <a:pt x="307" y="229"/>
                    </a:cubicBezTo>
                    <a:cubicBezTo>
                      <a:pt x="307" y="226"/>
                      <a:pt x="306" y="223"/>
                      <a:pt x="305" y="219"/>
                    </a:cubicBezTo>
                    <a:cubicBezTo>
                      <a:pt x="305" y="218"/>
                      <a:pt x="305" y="218"/>
                      <a:pt x="306" y="217"/>
                    </a:cubicBezTo>
                    <a:cubicBezTo>
                      <a:pt x="306" y="217"/>
                      <a:pt x="306" y="217"/>
                      <a:pt x="306" y="217"/>
                    </a:cubicBezTo>
                    <a:cubicBezTo>
                      <a:pt x="306" y="216"/>
                      <a:pt x="306" y="216"/>
                      <a:pt x="306" y="216"/>
                    </a:cubicBezTo>
                    <a:cubicBezTo>
                      <a:pt x="308" y="214"/>
                      <a:pt x="308" y="214"/>
                      <a:pt x="308" y="214"/>
                    </a:cubicBezTo>
                    <a:cubicBezTo>
                      <a:pt x="308" y="215"/>
                      <a:pt x="308" y="215"/>
                      <a:pt x="308" y="215"/>
                    </a:cubicBezTo>
                    <a:cubicBezTo>
                      <a:pt x="309" y="214"/>
                      <a:pt x="309" y="214"/>
                      <a:pt x="310" y="214"/>
                    </a:cubicBezTo>
                    <a:cubicBezTo>
                      <a:pt x="310" y="214"/>
                      <a:pt x="310" y="214"/>
                      <a:pt x="310" y="214"/>
                    </a:cubicBezTo>
                    <a:cubicBezTo>
                      <a:pt x="321" y="195"/>
                      <a:pt x="321" y="195"/>
                      <a:pt x="321" y="195"/>
                    </a:cubicBezTo>
                    <a:cubicBezTo>
                      <a:pt x="325" y="188"/>
                      <a:pt x="329" y="184"/>
                      <a:pt x="333" y="179"/>
                    </a:cubicBezTo>
                    <a:cubicBezTo>
                      <a:pt x="334" y="178"/>
                      <a:pt x="334" y="178"/>
                      <a:pt x="334" y="178"/>
                    </a:cubicBezTo>
                    <a:cubicBezTo>
                      <a:pt x="337" y="175"/>
                      <a:pt x="341" y="171"/>
                      <a:pt x="344" y="167"/>
                    </a:cubicBezTo>
                    <a:cubicBezTo>
                      <a:pt x="350" y="161"/>
                      <a:pt x="350" y="161"/>
                      <a:pt x="350" y="161"/>
                    </a:cubicBezTo>
                    <a:cubicBezTo>
                      <a:pt x="350" y="161"/>
                      <a:pt x="351" y="160"/>
                      <a:pt x="351" y="160"/>
                    </a:cubicBezTo>
                    <a:cubicBezTo>
                      <a:pt x="351" y="160"/>
                      <a:pt x="351" y="160"/>
                      <a:pt x="351" y="160"/>
                    </a:cubicBezTo>
                    <a:cubicBezTo>
                      <a:pt x="352" y="159"/>
                      <a:pt x="352" y="159"/>
                      <a:pt x="353" y="158"/>
                    </a:cubicBezTo>
                    <a:cubicBezTo>
                      <a:pt x="353" y="158"/>
                      <a:pt x="353" y="158"/>
                      <a:pt x="353" y="158"/>
                    </a:cubicBezTo>
                    <a:cubicBezTo>
                      <a:pt x="353" y="157"/>
                      <a:pt x="353" y="156"/>
                      <a:pt x="353" y="155"/>
                    </a:cubicBezTo>
                    <a:cubicBezTo>
                      <a:pt x="353" y="155"/>
                      <a:pt x="353" y="154"/>
                      <a:pt x="353" y="154"/>
                    </a:cubicBezTo>
                    <a:cubicBezTo>
                      <a:pt x="354" y="140"/>
                      <a:pt x="354" y="140"/>
                      <a:pt x="354" y="140"/>
                    </a:cubicBezTo>
                    <a:cubicBezTo>
                      <a:pt x="350" y="139"/>
                      <a:pt x="350" y="139"/>
                      <a:pt x="350" y="139"/>
                    </a:cubicBezTo>
                    <a:cubicBezTo>
                      <a:pt x="354" y="138"/>
                      <a:pt x="354" y="138"/>
                      <a:pt x="354" y="138"/>
                    </a:cubicBezTo>
                    <a:cubicBezTo>
                      <a:pt x="354" y="138"/>
                      <a:pt x="354" y="138"/>
                      <a:pt x="354" y="138"/>
                    </a:cubicBezTo>
                    <a:cubicBezTo>
                      <a:pt x="355" y="126"/>
                      <a:pt x="356" y="110"/>
                      <a:pt x="358" y="96"/>
                    </a:cubicBezTo>
                    <a:cubicBezTo>
                      <a:pt x="358" y="94"/>
                      <a:pt x="358" y="94"/>
                      <a:pt x="358" y="94"/>
                    </a:cubicBezTo>
                    <a:cubicBezTo>
                      <a:pt x="358" y="89"/>
                      <a:pt x="359" y="85"/>
                      <a:pt x="362" y="79"/>
                    </a:cubicBezTo>
                    <a:cubicBezTo>
                      <a:pt x="362" y="79"/>
                      <a:pt x="362" y="79"/>
                      <a:pt x="363" y="78"/>
                    </a:cubicBezTo>
                    <a:cubicBezTo>
                      <a:pt x="363" y="77"/>
                      <a:pt x="364" y="77"/>
                      <a:pt x="364" y="76"/>
                    </a:cubicBezTo>
                    <a:cubicBezTo>
                      <a:pt x="364" y="76"/>
                      <a:pt x="364" y="76"/>
                      <a:pt x="364" y="76"/>
                    </a:cubicBezTo>
                    <a:cubicBezTo>
                      <a:pt x="364" y="75"/>
                      <a:pt x="364" y="75"/>
                      <a:pt x="364" y="75"/>
                    </a:cubicBezTo>
                    <a:cubicBezTo>
                      <a:pt x="364" y="75"/>
                      <a:pt x="363" y="74"/>
                      <a:pt x="361" y="72"/>
                    </a:cubicBezTo>
                    <a:cubicBezTo>
                      <a:pt x="360" y="71"/>
                      <a:pt x="360" y="71"/>
                      <a:pt x="359" y="70"/>
                    </a:cubicBezTo>
                    <a:cubicBezTo>
                      <a:pt x="359" y="70"/>
                      <a:pt x="359" y="70"/>
                      <a:pt x="358" y="69"/>
                    </a:cubicBezTo>
                    <a:cubicBezTo>
                      <a:pt x="357" y="68"/>
                      <a:pt x="357" y="68"/>
                      <a:pt x="357" y="68"/>
                    </a:cubicBezTo>
                    <a:cubicBezTo>
                      <a:pt x="357" y="68"/>
                      <a:pt x="357" y="68"/>
                      <a:pt x="357" y="68"/>
                    </a:cubicBezTo>
                    <a:cubicBezTo>
                      <a:pt x="355" y="66"/>
                      <a:pt x="355" y="64"/>
                      <a:pt x="355" y="62"/>
                    </a:cubicBezTo>
                    <a:cubicBezTo>
                      <a:pt x="355" y="61"/>
                      <a:pt x="355" y="60"/>
                      <a:pt x="355" y="60"/>
                    </a:cubicBezTo>
                    <a:cubicBezTo>
                      <a:pt x="354" y="59"/>
                      <a:pt x="354" y="59"/>
                      <a:pt x="354" y="59"/>
                    </a:cubicBezTo>
                    <a:cubicBezTo>
                      <a:pt x="354" y="58"/>
                      <a:pt x="353" y="57"/>
                      <a:pt x="352" y="55"/>
                    </a:cubicBezTo>
                    <a:cubicBezTo>
                      <a:pt x="352" y="54"/>
                      <a:pt x="351" y="53"/>
                      <a:pt x="350" y="53"/>
                    </a:cubicBezTo>
                    <a:cubicBezTo>
                      <a:pt x="350" y="52"/>
                      <a:pt x="350" y="52"/>
                      <a:pt x="350" y="52"/>
                    </a:cubicBezTo>
                    <a:cubicBezTo>
                      <a:pt x="349" y="51"/>
                      <a:pt x="349" y="51"/>
                      <a:pt x="348" y="50"/>
                    </a:cubicBezTo>
                    <a:cubicBezTo>
                      <a:pt x="346" y="46"/>
                      <a:pt x="346" y="42"/>
                      <a:pt x="346" y="39"/>
                    </a:cubicBezTo>
                    <a:cubicBezTo>
                      <a:pt x="345" y="37"/>
                      <a:pt x="345" y="37"/>
                      <a:pt x="345" y="37"/>
                    </a:cubicBezTo>
                    <a:cubicBezTo>
                      <a:pt x="345" y="36"/>
                      <a:pt x="345" y="36"/>
                      <a:pt x="345" y="36"/>
                    </a:cubicBezTo>
                    <a:cubicBezTo>
                      <a:pt x="345" y="35"/>
                      <a:pt x="345" y="35"/>
                      <a:pt x="345" y="35"/>
                    </a:cubicBezTo>
                    <a:cubicBezTo>
                      <a:pt x="345" y="33"/>
                      <a:pt x="345" y="31"/>
                      <a:pt x="345" y="30"/>
                    </a:cubicBezTo>
                    <a:cubicBezTo>
                      <a:pt x="344" y="26"/>
                      <a:pt x="344" y="21"/>
                      <a:pt x="343" y="17"/>
                    </a:cubicBezTo>
                    <a:cubicBezTo>
                      <a:pt x="342" y="16"/>
                      <a:pt x="342" y="16"/>
                      <a:pt x="342" y="16"/>
                    </a:cubicBezTo>
                    <a:cubicBezTo>
                      <a:pt x="342" y="16"/>
                      <a:pt x="342" y="15"/>
                      <a:pt x="342" y="15"/>
                    </a:cubicBezTo>
                    <a:cubicBezTo>
                      <a:pt x="332" y="19"/>
                      <a:pt x="332" y="19"/>
                      <a:pt x="332" y="19"/>
                    </a:cubicBezTo>
                    <a:cubicBezTo>
                      <a:pt x="331" y="20"/>
                      <a:pt x="329" y="21"/>
                      <a:pt x="327" y="21"/>
                    </a:cubicBezTo>
                    <a:cubicBezTo>
                      <a:pt x="325" y="21"/>
                      <a:pt x="324" y="21"/>
                      <a:pt x="322" y="20"/>
                    </a:cubicBezTo>
                    <a:cubicBezTo>
                      <a:pt x="321" y="19"/>
                      <a:pt x="320" y="18"/>
                      <a:pt x="319" y="17"/>
                    </a:cubicBezTo>
                    <a:cubicBezTo>
                      <a:pt x="319" y="17"/>
                      <a:pt x="319" y="17"/>
                      <a:pt x="319" y="17"/>
                    </a:cubicBezTo>
                    <a:cubicBezTo>
                      <a:pt x="318" y="16"/>
                      <a:pt x="318" y="16"/>
                      <a:pt x="317" y="15"/>
                    </a:cubicBezTo>
                    <a:cubicBezTo>
                      <a:pt x="313" y="12"/>
                      <a:pt x="313" y="12"/>
                      <a:pt x="313" y="12"/>
                    </a:cubicBezTo>
                    <a:cubicBezTo>
                      <a:pt x="311" y="10"/>
                      <a:pt x="309" y="8"/>
                      <a:pt x="307" y="8"/>
                    </a:cubicBezTo>
                    <a:cubicBezTo>
                      <a:pt x="274" y="0"/>
                      <a:pt x="274" y="0"/>
                      <a:pt x="2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191"/>
              <p:cNvSpPr/>
              <p:nvPr/>
            </p:nvSpPr>
            <p:spPr bwMode="auto">
              <a:xfrm>
                <a:off x="5043" y="935"/>
                <a:ext cx="608" cy="570"/>
              </a:xfrm>
              <a:custGeom>
                <a:gdLst>
                  <a:gd name="T0" fmla="*/ 22 w 257"/>
                  <a:gd name="T1" fmla="*/ 1 h 241"/>
                  <a:gd name="T2" fmla="*/ 8 w 257"/>
                  <a:gd name="T3" fmla="*/ 2 h 241"/>
                  <a:gd name="T4" fmla="*/ 4 w 257"/>
                  <a:gd name="T5" fmla="*/ 8 h 241"/>
                  <a:gd name="T6" fmla="*/ 3 w 257"/>
                  <a:gd name="T7" fmla="*/ 12 h 241"/>
                  <a:gd name="T8" fmla="*/ 4 w 257"/>
                  <a:gd name="T9" fmla="*/ 17 h 241"/>
                  <a:gd name="T10" fmla="*/ 4 w 257"/>
                  <a:gd name="T11" fmla="*/ 30 h 241"/>
                  <a:gd name="T12" fmla="*/ 2 w 257"/>
                  <a:gd name="T13" fmla="*/ 34 h 241"/>
                  <a:gd name="T14" fmla="*/ 0 w 257"/>
                  <a:gd name="T15" fmla="*/ 40 h 241"/>
                  <a:gd name="T16" fmla="*/ 2 w 257"/>
                  <a:gd name="T17" fmla="*/ 46 h 241"/>
                  <a:gd name="T18" fmla="*/ 5 w 257"/>
                  <a:gd name="T19" fmla="*/ 65 h 241"/>
                  <a:gd name="T20" fmla="*/ 6 w 257"/>
                  <a:gd name="T21" fmla="*/ 97 h 241"/>
                  <a:gd name="T22" fmla="*/ 6 w 257"/>
                  <a:gd name="T23" fmla="*/ 241 h 241"/>
                  <a:gd name="T24" fmla="*/ 152 w 257"/>
                  <a:gd name="T25" fmla="*/ 238 h 241"/>
                  <a:gd name="T26" fmla="*/ 157 w 257"/>
                  <a:gd name="T27" fmla="*/ 236 h 241"/>
                  <a:gd name="T28" fmla="*/ 186 w 257"/>
                  <a:gd name="T29" fmla="*/ 241 h 241"/>
                  <a:gd name="T30" fmla="*/ 189 w 257"/>
                  <a:gd name="T31" fmla="*/ 240 h 241"/>
                  <a:gd name="T32" fmla="*/ 196 w 257"/>
                  <a:gd name="T33" fmla="*/ 241 h 241"/>
                  <a:gd name="T34" fmla="*/ 216 w 257"/>
                  <a:gd name="T35" fmla="*/ 239 h 241"/>
                  <a:gd name="T36" fmla="*/ 226 w 257"/>
                  <a:gd name="T37" fmla="*/ 234 h 241"/>
                  <a:gd name="T38" fmla="*/ 231 w 257"/>
                  <a:gd name="T39" fmla="*/ 231 h 241"/>
                  <a:gd name="T40" fmla="*/ 232 w 257"/>
                  <a:gd name="T41" fmla="*/ 229 h 241"/>
                  <a:gd name="T42" fmla="*/ 240 w 257"/>
                  <a:gd name="T43" fmla="*/ 219 h 241"/>
                  <a:gd name="T44" fmla="*/ 249 w 257"/>
                  <a:gd name="T45" fmla="*/ 215 h 241"/>
                  <a:gd name="T46" fmla="*/ 253 w 257"/>
                  <a:gd name="T47" fmla="*/ 213 h 241"/>
                  <a:gd name="T48" fmla="*/ 252 w 257"/>
                  <a:gd name="T49" fmla="*/ 210 h 241"/>
                  <a:gd name="T50" fmla="*/ 251 w 257"/>
                  <a:gd name="T51" fmla="*/ 195 h 241"/>
                  <a:gd name="T52" fmla="*/ 253 w 257"/>
                  <a:gd name="T53" fmla="*/ 195 h 241"/>
                  <a:gd name="T54" fmla="*/ 257 w 257"/>
                  <a:gd name="T55" fmla="*/ 195 h 241"/>
                  <a:gd name="T56" fmla="*/ 250 w 257"/>
                  <a:gd name="T57" fmla="*/ 191 h 241"/>
                  <a:gd name="T58" fmla="*/ 218 w 257"/>
                  <a:gd name="T59" fmla="*/ 134 h 241"/>
                  <a:gd name="T60" fmla="*/ 214 w 257"/>
                  <a:gd name="T61" fmla="*/ 127 h 241"/>
                  <a:gd name="T62" fmla="*/ 208 w 257"/>
                  <a:gd name="T63" fmla="*/ 105 h 241"/>
                  <a:gd name="T64" fmla="*/ 199 w 257"/>
                  <a:gd name="T65" fmla="*/ 91 h 241"/>
                  <a:gd name="T66" fmla="*/ 189 w 257"/>
                  <a:gd name="T67" fmla="*/ 79 h 241"/>
                  <a:gd name="T68" fmla="*/ 176 w 257"/>
                  <a:gd name="T69" fmla="*/ 52 h 241"/>
                  <a:gd name="T70" fmla="*/ 180 w 257"/>
                  <a:gd name="T71" fmla="*/ 43 h 241"/>
                  <a:gd name="T72" fmla="*/ 185 w 257"/>
                  <a:gd name="T73" fmla="*/ 56 h 241"/>
                  <a:gd name="T74" fmla="*/ 190 w 257"/>
                  <a:gd name="T75" fmla="*/ 62 h 241"/>
                  <a:gd name="T76" fmla="*/ 197 w 257"/>
                  <a:gd name="T77" fmla="*/ 79 h 241"/>
                  <a:gd name="T78" fmla="*/ 221 w 257"/>
                  <a:gd name="T79" fmla="*/ 100 h 241"/>
                  <a:gd name="T80" fmla="*/ 236 w 257"/>
                  <a:gd name="T81" fmla="*/ 56 h 241"/>
                  <a:gd name="T82" fmla="*/ 220 w 257"/>
                  <a:gd name="T83" fmla="*/ 8 h 241"/>
                  <a:gd name="T84" fmla="*/ 210 w 257"/>
                  <a:gd name="T85" fmla="*/ 12 h 241"/>
                  <a:gd name="T86" fmla="*/ 193 w 257"/>
                  <a:gd name="T87" fmla="*/ 15 h 241"/>
                  <a:gd name="T88" fmla="*/ 192 w 257"/>
                  <a:gd name="T89" fmla="*/ 15 h 241"/>
                  <a:gd name="T90" fmla="*/ 186 w 257"/>
                  <a:gd name="T91" fmla="*/ 15 h 241"/>
                  <a:gd name="T92" fmla="*/ 173 w 257"/>
                  <a:gd name="T93" fmla="*/ 9 h 241"/>
                  <a:gd name="T94" fmla="*/ 163 w 257"/>
                  <a:gd name="T95" fmla="*/ 9 h 241"/>
                  <a:gd name="T96" fmla="*/ 166 w 257"/>
                  <a:gd name="T97" fmla="*/ 2 h 241"/>
                  <a:gd name="T98" fmla="*/ 158 w 257"/>
                  <a:gd name="T99" fmla="*/ 4 h 241"/>
                  <a:gd name="T100" fmla="*/ 145 w 257"/>
                  <a:gd name="T101" fmla="*/ 1 h 241"/>
                  <a:gd name="T102" fmla="*/ 125 w 257"/>
                  <a:gd name="T103" fmla="*/ 9 h 241"/>
                  <a:gd name="T104" fmla="*/ 126 w 257"/>
                  <a:gd name="T105" fmla="*/ 10 h 241"/>
                  <a:gd name="T106" fmla="*/ 123 w 257"/>
                  <a:gd name="T107" fmla="*/ 9 h 241"/>
                  <a:gd name="T108" fmla="*/ 118 w 257"/>
                  <a:gd name="T109" fmla="*/ 12 h 241"/>
                  <a:gd name="T110" fmla="*/ 99 w 257"/>
                  <a:gd name="T111" fmla="*/ 20 h 241"/>
                  <a:gd name="T112" fmla="*/ 75 w 257"/>
                  <a:gd name="T113" fmla="*/ 14 h 241"/>
                  <a:gd name="T114" fmla="*/ 60 w 257"/>
                  <a:gd name="T115" fmla="*/ 9 h 241"/>
                  <a:gd name="T116" fmla="*/ 25 w 257"/>
                  <a:gd name="T117" fmla="*/ 0 h 2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7" h="241">
                    <a:moveTo>
                      <a:pt x="25" y="0"/>
                    </a:moveTo>
                    <a:cubicBezTo>
                      <a:pt x="24" y="0"/>
                      <a:pt x="23" y="1"/>
                      <a:pt x="22" y="1"/>
                    </a:cubicBezTo>
                    <a:cubicBezTo>
                      <a:pt x="19" y="1"/>
                      <a:pt x="15" y="3"/>
                      <a:pt x="11" y="3"/>
                    </a:cubicBezTo>
                    <a:cubicBezTo>
                      <a:pt x="10" y="3"/>
                      <a:pt x="9" y="3"/>
                      <a:pt x="8" y="2"/>
                    </a:cubicBezTo>
                    <a:cubicBezTo>
                      <a:pt x="7" y="3"/>
                      <a:pt x="7" y="3"/>
                      <a:pt x="7" y="3"/>
                    </a:cubicBezTo>
                    <a:cubicBezTo>
                      <a:pt x="6" y="5"/>
                      <a:pt x="4" y="6"/>
                      <a:pt x="4" y="8"/>
                    </a:cubicBezTo>
                    <a:cubicBezTo>
                      <a:pt x="3" y="9"/>
                      <a:pt x="3" y="9"/>
                      <a:pt x="3" y="9"/>
                    </a:cubicBezTo>
                    <a:cubicBezTo>
                      <a:pt x="3" y="9"/>
                      <a:pt x="3" y="11"/>
                      <a:pt x="3" y="12"/>
                    </a:cubicBezTo>
                    <a:cubicBezTo>
                      <a:pt x="4" y="13"/>
                      <a:pt x="4" y="15"/>
                      <a:pt x="4" y="16"/>
                    </a:cubicBezTo>
                    <a:cubicBezTo>
                      <a:pt x="4" y="17"/>
                      <a:pt x="4" y="17"/>
                      <a:pt x="4" y="17"/>
                    </a:cubicBezTo>
                    <a:cubicBezTo>
                      <a:pt x="5" y="18"/>
                      <a:pt x="5" y="19"/>
                      <a:pt x="5" y="21"/>
                    </a:cubicBezTo>
                    <a:cubicBezTo>
                      <a:pt x="6" y="23"/>
                      <a:pt x="6" y="26"/>
                      <a:pt x="4" y="30"/>
                    </a:cubicBezTo>
                    <a:cubicBezTo>
                      <a:pt x="4" y="31"/>
                      <a:pt x="4" y="31"/>
                      <a:pt x="4" y="31"/>
                    </a:cubicBezTo>
                    <a:cubicBezTo>
                      <a:pt x="4" y="32"/>
                      <a:pt x="3" y="33"/>
                      <a:pt x="2" y="34"/>
                    </a:cubicBezTo>
                    <a:cubicBezTo>
                      <a:pt x="1" y="35"/>
                      <a:pt x="0" y="37"/>
                      <a:pt x="0" y="38"/>
                    </a:cubicBezTo>
                    <a:cubicBezTo>
                      <a:pt x="0" y="40"/>
                      <a:pt x="0" y="40"/>
                      <a:pt x="0" y="40"/>
                    </a:cubicBezTo>
                    <a:cubicBezTo>
                      <a:pt x="1" y="42"/>
                      <a:pt x="1" y="43"/>
                      <a:pt x="2" y="45"/>
                    </a:cubicBezTo>
                    <a:cubicBezTo>
                      <a:pt x="2" y="45"/>
                      <a:pt x="2" y="46"/>
                      <a:pt x="2" y="46"/>
                    </a:cubicBezTo>
                    <a:cubicBezTo>
                      <a:pt x="2" y="47"/>
                      <a:pt x="2" y="47"/>
                      <a:pt x="2" y="48"/>
                    </a:cubicBezTo>
                    <a:cubicBezTo>
                      <a:pt x="4" y="53"/>
                      <a:pt x="5" y="58"/>
                      <a:pt x="5" y="65"/>
                    </a:cubicBezTo>
                    <a:cubicBezTo>
                      <a:pt x="6" y="68"/>
                      <a:pt x="6" y="72"/>
                      <a:pt x="6" y="75"/>
                    </a:cubicBezTo>
                    <a:cubicBezTo>
                      <a:pt x="6" y="82"/>
                      <a:pt x="6" y="90"/>
                      <a:pt x="6" y="97"/>
                    </a:cubicBezTo>
                    <a:cubicBezTo>
                      <a:pt x="6" y="106"/>
                      <a:pt x="6" y="106"/>
                      <a:pt x="6" y="106"/>
                    </a:cubicBezTo>
                    <a:cubicBezTo>
                      <a:pt x="6" y="241"/>
                      <a:pt x="6" y="241"/>
                      <a:pt x="6" y="241"/>
                    </a:cubicBezTo>
                    <a:cubicBezTo>
                      <a:pt x="151" y="239"/>
                      <a:pt x="151" y="239"/>
                      <a:pt x="151" y="239"/>
                    </a:cubicBezTo>
                    <a:cubicBezTo>
                      <a:pt x="152" y="238"/>
                      <a:pt x="152" y="238"/>
                      <a:pt x="152" y="238"/>
                    </a:cubicBezTo>
                    <a:cubicBezTo>
                      <a:pt x="153" y="237"/>
                      <a:pt x="154" y="235"/>
                      <a:pt x="156" y="235"/>
                    </a:cubicBezTo>
                    <a:cubicBezTo>
                      <a:pt x="156" y="235"/>
                      <a:pt x="157" y="235"/>
                      <a:pt x="157" y="236"/>
                    </a:cubicBezTo>
                    <a:cubicBezTo>
                      <a:pt x="159" y="237"/>
                      <a:pt x="160" y="239"/>
                      <a:pt x="160" y="241"/>
                    </a:cubicBezTo>
                    <a:cubicBezTo>
                      <a:pt x="186" y="241"/>
                      <a:pt x="186" y="241"/>
                      <a:pt x="186" y="241"/>
                    </a:cubicBezTo>
                    <a:cubicBezTo>
                      <a:pt x="187" y="241"/>
                      <a:pt x="188" y="241"/>
                      <a:pt x="188" y="241"/>
                    </a:cubicBezTo>
                    <a:cubicBezTo>
                      <a:pt x="189" y="240"/>
                      <a:pt x="189" y="240"/>
                      <a:pt x="189" y="240"/>
                    </a:cubicBezTo>
                    <a:cubicBezTo>
                      <a:pt x="190" y="240"/>
                      <a:pt x="191" y="240"/>
                      <a:pt x="192" y="240"/>
                    </a:cubicBezTo>
                    <a:cubicBezTo>
                      <a:pt x="194" y="240"/>
                      <a:pt x="195" y="240"/>
                      <a:pt x="196" y="241"/>
                    </a:cubicBezTo>
                    <a:cubicBezTo>
                      <a:pt x="216" y="241"/>
                      <a:pt x="216" y="241"/>
                      <a:pt x="216" y="241"/>
                    </a:cubicBezTo>
                    <a:cubicBezTo>
                      <a:pt x="216" y="240"/>
                      <a:pt x="216" y="240"/>
                      <a:pt x="216" y="239"/>
                    </a:cubicBezTo>
                    <a:cubicBezTo>
                      <a:pt x="216" y="239"/>
                      <a:pt x="217" y="238"/>
                      <a:pt x="218" y="237"/>
                    </a:cubicBezTo>
                    <a:cubicBezTo>
                      <a:pt x="220" y="235"/>
                      <a:pt x="223" y="234"/>
                      <a:pt x="226" y="234"/>
                    </a:cubicBezTo>
                    <a:cubicBezTo>
                      <a:pt x="227" y="234"/>
                      <a:pt x="227" y="234"/>
                      <a:pt x="227" y="234"/>
                    </a:cubicBezTo>
                    <a:cubicBezTo>
                      <a:pt x="229" y="234"/>
                      <a:pt x="230" y="234"/>
                      <a:pt x="231" y="231"/>
                    </a:cubicBezTo>
                    <a:cubicBezTo>
                      <a:pt x="231" y="230"/>
                      <a:pt x="232" y="230"/>
                      <a:pt x="232" y="229"/>
                    </a:cubicBezTo>
                    <a:cubicBezTo>
                      <a:pt x="232" y="229"/>
                      <a:pt x="232" y="229"/>
                      <a:pt x="232" y="229"/>
                    </a:cubicBezTo>
                    <a:cubicBezTo>
                      <a:pt x="233" y="226"/>
                      <a:pt x="234" y="222"/>
                      <a:pt x="237" y="220"/>
                    </a:cubicBezTo>
                    <a:cubicBezTo>
                      <a:pt x="238" y="220"/>
                      <a:pt x="239" y="219"/>
                      <a:pt x="240" y="219"/>
                    </a:cubicBezTo>
                    <a:cubicBezTo>
                      <a:pt x="242" y="218"/>
                      <a:pt x="243" y="217"/>
                      <a:pt x="245" y="217"/>
                    </a:cubicBezTo>
                    <a:cubicBezTo>
                      <a:pt x="246" y="216"/>
                      <a:pt x="247" y="216"/>
                      <a:pt x="249" y="215"/>
                    </a:cubicBezTo>
                    <a:cubicBezTo>
                      <a:pt x="249" y="214"/>
                      <a:pt x="250" y="214"/>
                      <a:pt x="251" y="214"/>
                    </a:cubicBezTo>
                    <a:cubicBezTo>
                      <a:pt x="251" y="213"/>
                      <a:pt x="252" y="213"/>
                      <a:pt x="253" y="213"/>
                    </a:cubicBezTo>
                    <a:cubicBezTo>
                      <a:pt x="253" y="212"/>
                      <a:pt x="253" y="212"/>
                      <a:pt x="253" y="212"/>
                    </a:cubicBezTo>
                    <a:cubicBezTo>
                      <a:pt x="253" y="212"/>
                      <a:pt x="253" y="211"/>
                      <a:pt x="252" y="210"/>
                    </a:cubicBezTo>
                    <a:cubicBezTo>
                      <a:pt x="252" y="207"/>
                      <a:pt x="251" y="204"/>
                      <a:pt x="251" y="201"/>
                    </a:cubicBezTo>
                    <a:cubicBezTo>
                      <a:pt x="251" y="200"/>
                      <a:pt x="249" y="196"/>
                      <a:pt x="251" y="195"/>
                    </a:cubicBezTo>
                    <a:cubicBezTo>
                      <a:pt x="251" y="195"/>
                      <a:pt x="251" y="195"/>
                      <a:pt x="251" y="195"/>
                    </a:cubicBezTo>
                    <a:cubicBezTo>
                      <a:pt x="252" y="195"/>
                      <a:pt x="252" y="195"/>
                      <a:pt x="253" y="195"/>
                    </a:cubicBezTo>
                    <a:cubicBezTo>
                      <a:pt x="254" y="195"/>
                      <a:pt x="255" y="196"/>
                      <a:pt x="256" y="196"/>
                    </a:cubicBezTo>
                    <a:cubicBezTo>
                      <a:pt x="256" y="196"/>
                      <a:pt x="256" y="196"/>
                      <a:pt x="257" y="195"/>
                    </a:cubicBezTo>
                    <a:cubicBezTo>
                      <a:pt x="255" y="195"/>
                      <a:pt x="252" y="191"/>
                      <a:pt x="251" y="191"/>
                    </a:cubicBezTo>
                    <a:cubicBezTo>
                      <a:pt x="251" y="191"/>
                      <a:pt x="251" y="191"/>
                      <a:pt x="250" y="191"/>
                    </a:cubicBezTo>
                    <a:cubicBezTo>
                      <a:pt x="247" y="186"/>
                      <a:pt x="243" y="182"/>
                      <a:pt x="240" y="177"/>
                    </a:cubicBezTo>
                    <a:cubicBezTo>
                      <a:pt x="233" y="163"/>
                      <a:pt x="226" y="148"/>
                      <a:pt x="218" y="134"/>
                    </a:cubicBezTo>
                    <a:cubicBezTo>
                      <a:pt x="217" y="132"/>
                      <a:pt x="216" y="130"/>
                      <a:pt x="215" y="128"/>
                    </a:cubicBezTo>
                    <a:cubicBezTo>
                      <a:pt x="215" y="127"/>
                      <a:pt x="214" y="128"/>
                      <a:pt x="214" y="127"/>
                    </a:cubicBezTo>
                    <a:cubicBezTo>
                      <a:pt x="214" y="126"/>
                      <a:pt x="215" y="125"/>
                      <a:pt x="215" y="124"/>
                    </a:cubicBezTo>
                    <a:cubicBezTo>
                      <a:pt x="215" y="118"/>
                      <a:pt x="210" y="110"/>
                      <a:pt x="208" y="105"/>
                    </a:cubicBezTo>
                    <a:cubicBezTo>
                      <a:pt x="208" y="103"/>
                      <a:pt x="207" y="98"/>
                      <a:pt x="205" y="97"/>
                    </a:cubicBezTo>
                    <a:cubicBezTo>
                      <a:pt x="203" y="95"/>
                      <a:pt x="201" y="93"/>
                      <a:pt x="199" y="91"/>
                    </a:cubicBezTo>
                    <a:cubicBezTo>
                      <a:pt x="198" y="90"/>
                      <a:pt x="196" y="88"/>
                      <a:pt x="195" y="87"/>
                    </a:cubicBezTo>
                    <a:cubicBezTo>
                      <a:pt x="193" y="84"/>
                      <a:pt x="191" y="81"/>
                      <a:pt x="189" y="79"/>
                    </a:cubicBezTo>
                    <a:cubicBezTo>
                      <a:pt x="186" y="75"/>
                      <a:pt x="185" y="69"/>
                      <a:pt x="184" y="65"/>
                    </a:cubicBezTo>
                    <a:cubicBezTo>
                      <a:pt x="182" y="61"/>
                      <a:pt x="177" y="57"/>
                      <a:pt x="176" y="52"/>
                    </a:cubicBezTo>
                    <a:cubicBezTo>
                      <a:pt x="176" y="50"/>
                      <a:pt x="178" y="49"/>
                      <a:pt x="178" y="47"/>
                    </a:cubicBezTo>
                    <a:cubicBezTo>
                      <a:pt x="179" y="46"/>
                      <a:pt x="179" y="44"/>
                      <a:pt x="180" y="43"/>
                    </a:cubicBezTo>
                    <a:cubicBezTo>
                      <a:pt x="180" y="43"/>
                      <a:pt x="180" y="43"/>
                      <a:pt x="181" y="43"/>
                    </a:cubicBezTo>
                    <a:cubicBezTo>
                      <a:pt x="183" y="43"/>
                      <a:pt x="185" y="54"/>
                      <a:pt x="185" y="56"/>
                    </a:cubicBezTo>
                    <a:cubicBezTo>
                      <a:pt x="185" y="56"/>
                      <a:pt x="185" y="56"/>
                      <a:pt x="185" y="56"/>
                    </a:cubicBezTo>
                    <a:cubicBezTo>
                      <a:pt x="187" y="58"/>
                      <a:pt x="188" y="60"/>
                      <a:pt x="190" y="62"/>
                    </a:cubicBezTo>
                    <a:cubicBezTo>
                      <a:pt x="192" y="64"/>
                      <a:pt x="195" y="66"/>
                      <a:pt x="196" y="68"/>
                    </a:cubicBezTo>
                    <a:cubicBezTo>
                      <a:pt x="197" y="71"/>
                      <a:pt x="196" y="76"/>
                      <a:pt x="197" y="79"/>
                    </a:cubicBezTo>
                    <a:cubicBezTo>
                      <a:pt x="199" y="81"/>
                      <a:pt x="201" y="83"/>
                      <a:pt x="202" y="84"/>
                    </a:cubicBezTo>
                    <a:cubicBezTo>
                      <a:pt x="209" y="91"/>
                      <a:pt x="213" y="96"/>
                      <a:pt x="221" y="100"/>
                    </a:cubicBezTo>
                    <a:cubicBezTo>
                      <a:pt x="221" y="100"/>
                      <a:pt x="222" y="99"/>
                      <a:pt x="222" y="99"/>
                    </a:cubicBezTo>
                    <a:cubicBezTo>
                      <a:pt x="226" y="85"/>
                      <a:pt x="231" y="71"/>
                      <a:pt x="236" y="56"/>
                    </a:cubicBezTo>
                    <a:cubicBezTo>
                      <a:pt x="221" y="9"/>
                      <a:pt x="221" y="9"/>
                      <a:pt x="221" y="9"/>
                    </a:cubicBezTo>
                    <a:cubicBezTo>
                      <a:pt x="220" y="8"/>
                      <a:pt x="220" y="8"/>
                      <a:pt x="220" y="8"/>
                    </a:cubicBezTo>
                    <a:cubicBezTo>
                      <a:pt x="220" y="8"/>
                      <a:pt x="220" y="8"/>
                      <a:pt x="220" y="8"/>
                    </a:cubicBezTo>
                    <a:cubicBezTo>
                      <a:pt x="216" y="9"/>
                      <a:pt x="213" y="11"/>
                      <a:pt x="210" y="12"/>
                    </a:cubicBezTo>
                    <a:cubicBezTo>
                      <a:pt x="208" y="13"/>
                      <a:pt x="207" y="13"/>
                      <a:pt x="206" y="13"/>
                    </a:cubicBezTo>
                    <a:cubicBezTo>
                      <a:pt x="201" y="14"/>
                      <a:pt x="197" y="15"/>
                      <a:pt x="193" y="15"/>
                    </a:cubicBezTo>
                    <a:cubicBezTo>
                      <a:pt x="193" y="15"/>
                      <a:pt x="192" y="15"/>
                      <a:pt x="192" y="15"/>
                    </a:cubicBezTo>
                    <a:cubicBezTo>
                      <a:pt x="192" y="15"/>
                      <a:pt x="192" y="15"/>
                      <a:pt x="192" y="15"/>
                    </a:cubicBezTo>
                    <a:cubicBezTo>
                      <a:pt x="191" y="15"/>
                      <a:pt x="190" y="15"/>
                      <a:pt x="189" y="15"/>
                    </a:cubicBezTo>
                    <a:cubicBezTo>
                      <a:pt x="188" y="15"/>
                      <a:pt x="187" y="15"/>
                      <a:pt x="186" y="15"/>
                    </a:cubicBezTo>
                    <a:cubicBezTo>
                      <a:pt x="184" y="15"/>
                      <a:pt x="183" y="15"/>
                      <a:pt x="182" y="14"/>
                    </a:cubicBezTo>
                    <a:cubicBezTo>
                      <a:pt x="179" y="12"/>
                      <a:pt x="176" y="9"/>
                      <a:pt x="173" y="9"/>
                    </a:cubicBezTo>
                    <a:cubicBezTo>
                      <a:pt x="178" y="10"/>
                      <a:pt x="173" y="14"/>
                      <a:pt x="172" y="14"/>
                    </a:cubicBezTo>
                    <a:cubicBezTo>
                      <a:pt x="170" y="13"/>
                      <a:pt x="164" y="10"/>
                      <a:pt x="163" y="9"/>
                    </a:cubicBezTo>
                    <a:cubicBezTo>
                      <a:pt x="163" y="8"/>
                      <a:pt x="166" y="3"/>
                      <a:pt x="166" y="2"/>
                    </a:cubicBezTo>
                    <a:cubicBezTo>
                      <a:pt x="166" y="2"/>
                      <a:pt x="166" y="2"/>
                      <a:pt x="166" y="2"/>
                    </a:cubicBezTo>
                    <a:cubicBezTo>
                      <a:pt x="164" y="2"/>
                      <a:pt x="161" y="4"/>
                      <a:pt x="159" y="4"/>
                    </a:cubicBezTo>
                    <a:cubicBezTo>
                      <a:pt x="159" y="4"/>
                      <a:pt x="159" y="4"/>
                      <a:pt x="158" y="4"/>
                    </a:cubicBezTo>
                    <a:cubicBezTo>
                      <a:pt x="156" y="4"/>
                      <a:pt x="152" y="2"/>
                      <a:pt x="150" y="2"/>
                    </a:cubicBezTo>
                    <a:cubicBezTo>
                      <a:pt x="148" y="1"/>
                      <a:pt x="147" y="1"/>
                      <a:pt x="145" y="1"/>
                    </a:cubicBezTo>
                    <a:cubicBezTo>
                      <a:pt x="144" y="1"/>
                      <a:pt x="144" y="1"/>
                      <a:pt x="142" y="1"/>
                    </a:cubicBezTo>
                    <a:cubicBezTo>
                      <a:pt x="135" y="3"/>
                      <a:pt x="131" y="4"/>
                      <a:pt x="125" y="9"/>
                    </a:cubicBezTo>
                    <a:cubicBezTo>
                      <a:pt x="126" y="9"/>
                      <a:pt x="127" y="10"/>
                      <a:pt x="128" y="10"/>
                    </a:cubicBezTo>
                    <a:cubicBezTo>
                      <a:pt x="127" y="10"/>
                      <a:pt x="127" y="10"/>
                      <a:pt x="126" y="10"/>
                    </a:cubicBezTo>
                    <a:cubicBezTo>
                      <a:pt x="126" y="10"/>
                      <a:pt x="126" y="10"/>
                      <a:pt x="126" y="10"/>
                    </a:cubicBezTo>
                    <a:cubicBezTo>
                      <a:pt x="125" y="10"/>
                      <a:pt x="124" y="9"/>
                      <a:pt x="123" y="9"/>
                    </a:cubicBezTo>
                    <a:cubicBezTo>
                      <a:pt x="123" y="9"/>
                      <a:pt x="123" y="9"/>
                      <a:pt x="123" y="9"/>
                    </a:cubicBezTo>
                    <a:cubicBezTo>
                      <a:pt x="121" y="10"/>
                      <a:pt x="120" y="11"/>
                      <a:pt x="118" y="12"/>
                    </a:cubicBezTo>
                    <a:cubicBezTo>
                      <a:pt x="113" y="15"/>
                      <a:pt x="106" y="19"/>
                      <a:pt x="100" y="20"/>
                    </a:cubicBezTo>
                    <a:cubicBezTo>
                      <a:pt x="99" y="20"/>
                      <a:pt x="99" y="20"/>
                      <a:pt x="99" y="20"/>
                    </a:cubicBezTo>
                    <a:cubicBezTo>
                      <a:pt x="96" y="20"/>
                      <a:pt x="95" y="18"/>
                      <a:pt x="92" y="17"/>
                    </a:cubicBezTo>
                    <a:cubicBezTo>
                      <a:pt x="88" y="15"/>
                      <a:pt x="80" y="15"/>
                      <a:pt x="75" y="14"/>
                    </a:cubicBezTo>
                    <a:cubicBezTo>
                      <a:pt x="72" y="14"/>
                      <a:pt x="68" y="12"/>
                      <a:pt x="64" y="11"/>
                    </a:cubicBezTo>
                    <a:cubicBezTo>
                      <a:pt x="62" y="11"/>
                      <a:pt x="61" y="10"/>
                      <a:pt x="60" y="9"/>
                    </a:cubicBezTo>
                    <a:cubicBezTo>
                      <a:pt x="54" y="7"/>
                      <a:pt x="47" y="6"/>
                      <a:pt x="41" y="4"/>
                    </a:cubicBezTo>
                    <a:cubicBezTo>
                      <a:pt x="36" y="3"/>
                      <a:pt x="31"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192"/>
              <p:cNvSpPr/>
              <p:nvPr/>
            </p:nvSpPr>
            <p:spPr bwMode="auto">
              <a:xfrm flipH="1">
                <a:off x="4939" y="2140"/>
                <a:ext cx="0" cy="3"/>
              </a:xfrm>
              <a:custGeom>
                <a:gdLst>
                  <a:gd name="T0" fmla="*/ 0 h 3"/>
                  <a:gd name="T1" fmla="*/ 3 h 3"/>
                  <a:gd name="T2" fmla="*/ 0 h 3"/>
                  <a:gd name="T3" fmla="*/ 0 h 3"/>
                </a:gdLst>
                <a:cxnLst>
                  <a:cxn ang="0">
                    <a:pos x="0" y="T0"/>
                  </a:cxn>
                  <a:cxn ang="0">
                    <a:pos x="0" y="T1"/>
                  </a:cxn>
                  <a:cxn ang="0">
                    <a:pos x="0" y="T2"/>
                  </a:cxn>
                  <a:cxn ang="0">
                    <a:pos x="0" y="T3"/>
                  </a:cxn>
                </a:cxnLst>
                <a:rect l="0" t="0" r="r" b="b"/>
                <a:pathLst>
                  <a:path h="3">
                    <a:moveTo>
                      <a:pt x="0" y="0"/>
                    </a:moveTo>
                    <a:lnTo>
                      <a:pt x="0"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193"/>
              <p:cNvSpPr/>
              <p:nvPr/>
            </p:nvSpPr>
            <p:spPr bwMode="auto">
              <a:xfrm flipH="1">
                <a:off x="4939" y="2140"/>
                <a:ext cx="0" cy="3"/>
              </a:xfrm>
              <a:custGeom>
                <a:gdLst>
                  <a:gd name="T0" fmla="*/ 0 h 3"/>
                  <a:gd name="T1" fmla="*/ 3 h 3"/>
                  <a:gd name="T2" fmla="*/ 0 h 3"/>
                  <a:gd name="T3" fmla="*/ 0 h 3"/>
                </a:gdLst>
                <a:cxnLst>
                  <a:cxn ang="0">
                    <a:pos x="0" y="T0"/>
                  </a:cxn>
                  <a:cxn ang="0">
                    <a:pos x="0" y="T1"/>
                  </a:cxn>
                  <a:cxn ang="0">
                    <a:pos x="0" y="T2"/>
                  </a:cxn>
                  <a:cxn ang="0">
                    <a:pos x="0" y="T3"/>
                  </a:cxn>
                </a:cxnLst>
                <a:rect l="0" t="0" r="r" b="b"/>
                <a:pathLst>
                  <a:path h="3">
                    <a:moveTo>
                      <a:pt x="0" y="0"/>
                    </a:moveTo>
                    <a:lnTo>
                      <a:pt x="0" y="3"/>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194"/>
              <p:cNvSpPr>
                <a:spLocks noEditPoints="1"/>
              </p:cNvSpPr>
              <p:nvPr/>
            </p:nvSpPr>
            <p:spPr bwMode="auto">
              <a:xfrm>
                <a:off x="4883" y="1450"/>
                <a:ext cx="919" cy="1102"/>
              </a:xfrm>
              <a:custGeom>
                <a:gdLst>
                  <a:gd name="T0" fmla="*/ 319 w 389"/>
                  <a:gd name="T1" fmla="*/ 2 h 466"/>
                  <a:gd name="T2" fmla="*/ 305 w 389"/>
                  <a:gd name="T3" fmla="*/ 13 h 466"/>
                  <a:gd name="T4" fmla="*/ 288 w 389"/>
                  <a:gd name="T5" fmla="*/ 27 h 466"/>
                  <a:gd name="T6" fmla="*/ 221 w 389"/>
                  <a:gd name="T7" fmla="*/ 26 h 466"/>
                  <a:gd name="T8" fmla="*/ 74 w 389"/>
                  <a:gd name="T9" fmla="*/ 37 h 466"/>
                  <a:gd name="T10" fmla="*/ 56 w 389"/>
                  <a:gd name="T11" fmla="*/ 77 h 466"/>
                  <a:gd name="T12" fmla="*/ 51 w 389"/>
                  <a:gd name="T13" fmla="*/ 87 h 466"/>
                  <a:gd name="T14" fmla="*/ 35 w 389"/>
                  <a:gd name="T15" fmla="*/ 181 h 466"/>
                  <a:gd name="T16" fmla="*/ 21 w 389"/>
                  <a:gd name="T17" fmla="*/ 199 h 466"/>
                  <a:gd name="T18" fmla="*/ 14 w 389"/>
                  <a:gd name="T19" fmla="*/ 208 h 466"/>
                  <a:gd name="T20" fmla="*/ 14 w 389"/>
                  <a:gd name="T21" fmla="*/ 213 h 466"/>
                  <a:gd name="T22" fmla="*/ 8 w 389"/>
                  <a:gd name="T23" fmla="*/ 224 h 466"/>
                  <a:gd name="T24" fmla="*/ 5 w 389"/>
                  <a:gd name="T25" fmla="*/ 242 h 466"/>
                  <a:gd name="T26" fmla="*/ 2 w 389"/>
                  <a:gd name="T27" fmla="*/ 250 h 466"/>
                  <a:gd name="T28" fmla="*/ 14 w 389"/>
                  <a:gd name="T29" fmla="*/ 263 h 466"/>
                  <a:gd name="T30" fmla="*/ 18 w 389"/>
                  <a:gd name="T31" fmla="*/ 272 h 466"/>
                  <a:gd name="T32" fmla="*/ 25 w 389"/>
                  <a:gd name="T33" fmla="*/ 292 h 466"/>
                  <a:gd name="T34" fmla="*/ 39 w 389"/>
                  <a:gd name="T35" fmla="*/ 311 h 466"/>
                  <a:gd name="T36" fmla="*/ 40 w 389"/>
                  <a:gd name="T37" fmla="*/ 337 h 466"/>
                  <a:gd name="T38" fmla="*/ 44 w 389"/>
                  <a:gd name="T39" fmla="*/ 343 h 466"/>
                  <a:gd name="T40" fmla="*/ 59 w 389"/>
                  <a:gd name="T41" fmla="*/ 354 h 466"/>
                  <a:gd name="T42" fmla="*/ 79 w 389"/>
                  <a:gd name="T43" fmla="*/ 364 h 466"/>
                  <a:gd name="T44" fmla="*/ 83 w 389"/>
                  <a:gd name="T45" fmla="*/ 372 h 466"/>
                  <a:gd name="T46" fmla="*/ 106 w 389"/>
                  <a:gd name="T47" fmla="*/ 393 h 466"/>
                  <a:gd name="T48" fmla="*/ 106 w 389"/>
                  <a:gd name="T49" fmla="*/ 403 h 466"/>
                  <a:gd name="T50" fmla="*/ 127 w 389"/>
                  <a:gd name="T51" fmla="*/ 418 h 466"/>
                  <a:gd name="T52" fmla="*/ 132 w 389"/>
                  <a:gd name="T53" fmla="*/ 431 h 466"/>
                  <a:gd name="T54" fmla="*/ 158 w 389"/>
                  <a:gd name="T55" fmla="*/ 444 h 466"/>
                  <a:gd name="T56" fmla="*/ 182 w 389"/>
                  <a:gd name="T57" fmla="*/ 441 h 466"/>
                  <a:gd name="T58" fmla="*/ 197 w 389"/>
                  <a:gd name="T59" fmla="*/ 456 h 466"/>
                  <a:gd name="T60" fmla="*/ 209 w 389"/>
                  <a:gd name="T61" fmla="*/ 466 h 466"/>
                  <a:gd name="T62" fmla="*/ 221 w 389"/>
                  <a:gd name="T63" fmla="*/ 461 h 466"/>
                  <a:gd name="T64" fmla="*/ 237 w 389"/>
                  <a:gd name="T65" fmla="*/ 464 h 466"/>
                  <a:gd name="T66" fmla="*/ 261 w 389"/>
                  <a:gd name="T67" fmla="*/ 457 h 466"/>
                  <a:gd name="T68" fmla="*/ 281 w 389"/>
                  <a:gd name="T69" fmla="*/ 450 h 466"/>
                  <a:gd name="T70" fmla="*/ 321 w 389"/>
                  <a:gd name="T71" fmla="*/ 441 h 466"/>
                  <a:gd name="T72" fmla="*/ 322 w 389"/>
                  <a:gd name="T73" fmla="*/ 434 h 466"/>
                  <a:gd name="T74" fmla="*/ 321 w 389"/>
                  <a:gd name="T75" fmla="*/ 428 h 466"/>
                  <a:gd name="T76" fmla="*/ 306 w 389"/>
                  <a:gd name="T77" fmla="*/ 416 h 466"/>
                  <a:gd name="T78" fmla="*/ 283 w 389"/>
                  <a:gd name="T79" fmla="*/ 383 h 466"/>
                  <a:gd name="T80" fmla="*/ 271 w 389"/>
                  <a:gd name="T81" fmla="*/ 372 h 466"/>
                  <a:gd name="T82" fmla="*/ 259 w 389"/>
                  <a:gd name="T83" fmla="*/ 359 h 466"/>
                  <a:gd name="T84" fmla="*/ 275 w 389"/>
                  <a:gd name="T85" fmla="*/ 350 h 466"/>
                  <a:gd name="T86" fmla="*/ 285 w 389"/>
                  <a:gd name="T87" fmla="*/ 319 h 466"/>
                  <a:gd name="T88" fmla="*/ 289 w 389"/>
                  <a:gd name="T89" fmla="*/ 299 h 466"/>
                  <a:gd name="T90" fmla="*/ 297 w 389"/>
                  <a:gd name="T91" fmla="*/ 292 h 466"/>
                  <a:gd name="T92" fmla="*/ 302 w 389"/>
                  <a:gd name="T93" fmla="*/ 294 h 466"/>
                  <a:gd name="T94" fmla="*/ 304 w 389"/>
                  <a:gd name="T95" fmla="*/ 287 h 466"/>
                  <a:gd name="T96" fmla="*/ 314 w 389"/>
                  <a:gd name="T97" fmla="*/ 262 h 466"/>
                  <a:gd name="T98" fmla="*/ 329 w 389"/>
                  <a:gd name="T99" fmla="*/ 249 h 466"/>
                  <a:gd name="T100" fmla="*/ 338 w 389"/>
                  <a:gd name="T101" fmla="*/ 224 h 466"/>
                  <a:gd name="T102" fmla="*/ 344 w 389"/>
                  <a:gd name="T103" fmla="*/ 175 h 466"/>
                  <a:gd name="T104" fmla="*/ 361 w 389"/>
                  <a:gd name="T105" fmla="*/ 144 h 466"/>
                  <a:gd name="T106" fmla="*/ 374 w 389"/>
                  <a:gd name="T107" fmla="*/ 134 h 466"/>
                  <a:gd name="T108" fmla="*/ 383 w 389"/>
                  <a:gd name="T109" fmla="*/ 130 h 466"/>
                  <a:gd name="T110" fmla="*/ 359 w 389"/>
                  <a:gd name="T111" fmla="*/ 81 h 466"/>
                  <a:gd name="T112" fmla="*/ 351 w 389"/>
                  <a:gd name="T113" fmla="*/ 26 h 4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9" h="466">
                    <a:moveTo>
                      <a:pt x="319" y="438"/>
                    </a:moveTo>
                    <a:cubicBezTo>
                      <a:pt x="319" y="438"/>
                      <a:pt x="319" y="438"/>
                      <a:pt x="319" y="437"/>
                    </a:cubicBezTo>
                    <a:cubicBezTo>
                      <a:pt x="319" y="438"/>
                      <a:pt x="319" y="438"/>
                      <a:pt x="319" y="438"/>
                    </a:cubicBezTo>
                    <a:moveTo>
                      <a:pt x="323" y="0"/>
                    </a:moveTo>
                    <a:cubicBezTo>
                      <a:pt x="323" y="0"/>
                      <a:pt x="322" y="0"/>
                      <a:pt x="322" y="0"/>
                    </a:cubicBezTo>
                    <a:cubicBezTo>
                      <a:pt x="321" y="1"/>
                      <a:pt x="321" y="1"/>
                      <a:pt x="321" y="1"/>
                    </a:cubicBezTo>
                    <a:cubicBezTo>
                      <a:pt x="321" y="1"/>
                      <a:pt x="320" y="2"/>
                      <a:pt x="319" y="2"/>
                    </a:cubicBezTo>
                    <a:cubicBezTo>
                      <a:pt x="318" y="3"/>
                      <a:pt x="317" y="3"/>
                      <a:pt x="315" y="4"/>
                    </a:cubicBezTo>
                    <a:cubicBezTo>
                      <a:pt x="315" y="4"/>
                      <a:pt x="315" y="4"/>
                      <a:pt x="315" y="4"/>
                    </a:cubicBezTo>
                    <a:cubicBezTo>
                      <a:pt x="313" y="5"/>
                      <a:pt x="312" y="5"/>
                      <a:pt x="311" y="6"/>
                    </a:cubicBezTo>
                    <a:cubicBezTo>
                      <a:pt x="310" y="6"/>
                      <a:pt x="310" y="6"/>
                      <a:pt x="310" y="6"/>
                    </a:cubicBezTo>
                    <a:cubicBezTo>
                      <a:pt x="310" y="7"/>
                      <a:pt x="309" y="7"/>
                      <a:pt x="308" y="7"/>
                    </a:cubicBezTo>
                    <a:cubicBezTo>
                      <a:pt x="307" y="8"/>
                      <a:pt x="306" y="11"/>
                      <a:pt x="306" y="13"/>
                    </a:cubicBezTo>
                    <a:cubicBezTo>
                      <a:pt x="305" y="13"/>
                      <a:pt x="305" y="13"/>
                      <a:pt x="305" y="13"/>
                    </a:cubicBezTo>
                    <a:cubicBezTo>
                      <a:pt x="305" y="14"/>
                      <a:pt x="305" y="15"/>
                      <a:pt x="305" y="15"/>
                    </a:cubicBezTo>
                    <a:cubicBezTo>
                      <a:pt x="302" y="20"/>
                      <a:pt x="299" y="21"/>
                      <a:pt x="296" y="22"/>
                    </a:cubicBezTo>
                    <a:cubicBezTo>
                      <a:pt x="294" y="22"/>
                      <a:pt x="294" y="22"/>
                      <a:pt x="294" y="22"/>
                    </a:cubicBezTo>
                    <a:cubicBezTo>
                      <a:pt x="293" y="22"/>
                      <a:pt x="290" y="22"/>
                      <a:pt x="290" y="23"/>
                    </a:cubicBezTo>
                    <a:cubicBezTo>
                      <a:pt x="290" y="23"/>
                      <a:pt x="290" y="23"/>
                      <a:pt x="290" y="23"/>
                    </a:cubicBezTo>
                    <a:cubicBezTo>
                      <a:pt x="289" y="24"/>
                      <a:pt x="289" y="25"/>
                      <a:pt x="289" y="26"/>
                    </a:cubicBezTo>
                    <a:cubicBezTo>
                      <a:pt x="288" y="27"/>
                      <a:pt x="288" y="27"/>
                      <a:pt x="288" y="27"/>
                    </a:cubicBezTo>
                    <a:cubicBezTo>
                      <a:pt x="287" y="28"/>
                      <a:pt x="286" y="28"/>
                      <a:pt x="285" y="28"/>
                    </a:cubicBezTo>
                    <a:cubicBezTo>
                      <a:pt x="262" y="28"/>
                      <a:pt x="262" y="28"/>
                      <a:pt x="262" y="28"/>
                    </a:cubicBezTo>
                    <a:cubicBezTo>
                      <a:pt x="262" y="28"/>
                      <a:pt x="261" y="28"/>
                      <a:pt x="260" y="28"/>
                    </a:cubicBezTo>
                    <a:cubicBezTo>
                      <a:pt x="259" y="28"/>
                      <a:pt x="258" y="28"/>
                      <a:pt x="257" y="28"/>
                    </a:cubicBezTo>
                    <a:cubicBezTo>
                      <a:pt x="256" y="28"/>
                      <a:pt x="255" y="28"/>
                      <a:pt x="254" y="28"/>
                    </a:cubicBezTo>
                    <a:cubicBezTo>
                      <a:pt x="222" y="28"/>
                      <a:pt x="222" y="28"/>
                      <a:pt x="222" y="28"/>
                    </a:cubicBezTo>
                    <a:cubicBezTo>
                      <a:pt x="221" y="26"/>
                      <a:pt x="221" y="26"/>
                      <a:pt x="221" y="26"/>
                    </a:cubicBezTo>
                    <a:cubicBezTo>
                      <a:pt x="221" y="26"/>
                      <a:pt x="221" y="26"/>
                      <a:pt x="221" y="26"/>
                    </a:cubicBezTo>
                    <a:cubicBezTo>
                      <a:pt x="220" y="26"/>
                      <a:pt x="220" y="26"/>
                      <a:pt x="220" y="26"/>
                    </a:cubicBezTo>
                    <a:cubicBezTo>
                      <a:pt x="74" y="28"/>
                      <a:pt x="74" y="28"/>
                      <a:pt x="74" y="28"/>
                    </a:cubicBezTo>
                    <a:cubicBezTo>
                      <a:pt x="74" y="29"/>
                      <a:pt x="74" y="29"/>
                      <a:pt x="74" y="29"/>
                    </a:cubicBezTo>
                    <a:cubicBezTo>
                      <a:pt x="74" y="32"/>
                      <a:pt x="74" y="32"/>
                      <a:pt x="74" y="32"/>
                    </a:cubicBezTo>
                    <a:cubicBezTo>
                      <a:pt x="74" y="36"/>
                      <a:pt x="74" y="36"/>
                      <a:pt x="74" y="36"/>
                    </a:cubicBezTo>
                    <a:cubicBezTo>
                      <a:pt x="74" y="37"/>
                      <a:pt x="74" y="37"/>
                      <a:pt x="74" y="37"/>
                    </a:cubicBezTo>
                    <a:cubicBezTo>
                      <a:pt x="74" y="74"/>
                      <a:pt x="74" y="74"/>
                      <a:pt x="74" y="74"/>
                    </a:cubicBezTo>
                    <a:cubicBezTo>
                      <a:pt x="74" y="75"/>
                      <a:pt x="74" y="77"/>
                      <a:pt x="72" y="77"/>
                    </a:cubicBezTo>
                    <a:cubicBezTo>
                      <a:pt x="70" y="78"/>
                      <a:pt x="68" y="78"/>
                      <a:pt x="67" y="78"/>
                    </a:cubicBezTo>
                    <a:cubicBezTo>
                      <a:pt x="65" y="78"/>
                      <a:pt x="64" y="78"/>
                      <a:pt x="62" y="78"/>
                    </a:cubicBezTo>
                    <a:cubicBezTo>
                      <a:pt x="61" y="77"/>
                      <a:pt x="59" y="77"/>
                      <a:pt x="58" y="77"/>
                    </a:cubicBezTo>
                    <a:cubicBezTo>
                      <a:pt x="58" y="77"/>
                      <a:pt x="57" y="77"/>
                      <a:pt x="57" y="77"/>
                    </a:cubicBezTo>
                    <a:cubicBezTo>
                      <a:pt x="57" y="77"/>
                      <a:pt x="56" y="77"/>
                      <a:pt x="56" y="77"/>
                    </a:cubicBezTo>
                    <a:cubicBezTo>
                      <a:pt x="55" y="77"/>
                      <a:pt x="54" y="78"/>
                      <a:pt x="52" y="78"/>
                    </a:cubicBezTo>
                    <a:cubicBezTo>
                      <a:pt x="51" y="78"/>
                      <a:pt x="51" y="78"/>
                      <a:pt x="51" y="78"/>
                    </a:cubicBezTo>
                    <a:cubicBezTo>
                      <a:pt x="51" y="78"/>
                      <a:pt x="51" y="78"/>
                      <a:pt x="51" y="78"/>
                    </a:cubicBezTo>
                    <a:cubicBezTo>
                      <a:pt x="51" y="79"/>
                      <a:pt x="51" y="82"/>
                      <a:pt x="51" y="85"/>
                    </a:cubicBezTo>
                    <a:cubicBezTo>
                      <a:pt x="51" y="86"/>
                      <a:pt x="51" y="86"/>
                      <a:pt x="51" y="86"/>
                    </a:cubicBezTo>
                    <a:cubicBezTo>
                      <a:pt x="51" y="86"/>
                      <a:pt x="51" y="86"/>
                      <a:pt x="51" y="86"/>
                    </a:cubicBezTo>
                    <a:cubicBezTo>
                      <a:pt x="51" y="87"/>
                      <a:pt x="51" y="87"/>
                      <a:pt x="51" y="87"/>
                    </a:cubicBezTo>
                    <a:cubicBezTo>
                      <a:pt x="51" y="91"/>
                      <a:pt x="51" y="91"/>
                      <a:pt x="51" y="91"/>
                    </a:cubicBezTo>
                    <a:cubicBezTo>
                      <a:pt x="51" y="91"/>
                      <a:pt x="51" y="91"/>
                      <a:pt x="51" y="91"/>
                    </a:cubicBezTo>
                    <a:cubicBezTo>
                      <a:pt x="51" y="95"/>
                      <a:pt x="51" y="95"/>
                      <a:pt x="51" y="95"/>
                    </a:cubicBezTo>
                    <a:cubicBezTo>
                      <a:pt x="51" y="182"/>
                      <a:pt x="51" y="182"/>
                      <a:pt x="51" y="182"/>
                    </a:cubicBezTo>
                    <a:cubicBezTo>
                      <a:pt x="48" y="182"/>
                      <a:pt x="48" y="182"/>
                      <a:pt x="48" y="182"/>
                    </a:cubicBezTo>
                    <a:cubicBezTo>
                      <a:pt x="46" y="182"/>
                      <a:pt x="44" y="182"/>
                      <a:pt x="42" y="182"/>
                    </a:cubicBezTo>
                    <a:cubicBezTo>
                      <a:pt x="40" y="181"/>
                      <a:pt x="37" y="181"/>
                      <a:pt x="35" y="181"/>
                    </a:cubicBezTo>
                    <a:cubicBezTo>
                      <a:pt x="30" y="181"/>
                      <a:pt x="27" y="182"/>
                      <a:pt x="25" y="185"/>
                    </a:cubicBezTo>
                    <a:cubicBezTo>
                      <a:pt x="24" y="187"/>
                      <a:pt x="24" y="190"/>
                      <a:pt x="23" y="191"/>
                    </a:cubicBezTo>
                    <a:cubicBezTo>
                      <a:pt x="23" y="193"/>
                      <a:pt x="23" y="193"/>
                      <a:pt x="23" y="193"/>
                    </a:cubicBezTo>
                    <a:cubicBezTo>
                      <a:pt x="23" y="194"/>
                      <a:pt x="22" y="196"/>
                      <a:pt x="22" y="197"/>
                    </a:cubicBezTo>
                    <a:cubicBezTo>
                      <a:pt x="28" y="199"/>
                      <a:pt x="28" y="199"/>
                      <a:pt x="28" y="199"/>
                    </a:cubicBezTo>
                    <a:cubicBezTo>
                      <a:pt x="21" y="199"/>
                      <a:pt x="21" y="199"/>
                      <a:pt x="21" y="199"/>
                    </a:cubicBezTo>
                    <a:cubicBezTo>
                      <a:pt x="21" y="199"/>
                      <a:pt x="21" y="199"/>
                      <a:pt x="21" y="199"/>
                    </a:cubicBezTo>
                    <a:cubicBezTo>
                      <a:pt x="21" y="200"/>
                      <a:pt x="21" y="200"/>
                      <a:pt x="21" y="200"/>
                    </a:cubicBezTo>
                    <a:cubicBezTo>
                      <a:pt x="21" y="201"/>
                      <a:pt x="20" y="202"/>
                      <a:pt x="20" y="203"/>
                    </a:cubicBezTo>
                    <a:cubicBezTo>
                      <a:pt x="20" y="204"/>
                      <a:pt x="19" y="204"/>
                      <a:pt x="18" y="205"/>
                    </a:cubicBezTo>
                    <a:cubicBezTo>
                      <a:pt x="17" y="206"/>
                      <a:pt x="17" y="206"/>
                      <a:pt x="16" y="207"/>
                    </a:cubicBezTo>
                    <a:cubicBezTo>
                      <a:pt x="16" y="207"/>
                      <a:pt x="16" y="207"/>
                      <a:pt x="16" y="207"/>
                    </a:cubicBezTo>
                    <a:cubicBezTo>
                      <a:pt x="16" y="207"/>
                      <a:pt x="16" y="207"/>
                      <a:pt x="16" y="207"/>
                    </a:cubicBezTo>
                    <a:cubicBezTo>
                      <a:pt x="14" y="208"/>
                      <a:pt x="14" y="208"/>
                      <a:pt x="14" y="208"/>
                    </a:cubicBezTo>
                    <a:cubicBezTo>
                      <a:pt x="14" y="208"/>
                      <a:pt x="14" y="208"/>
                      <a:pt x="14" y="208"/>
                    </a:cubicBezTo>
                    <a:cubicBezTo>
                      <a:pt x="14" y="208"/>
                      <a:pt x="14" y="208"/>
                      <a:pt x="14" y="209"/>
                    </a:cubicBezTo>
                    <a:cubicBezTo>
                      <a:pt x="14" y="209"/>
                      <a:pt x="14" y="210"/>
                      <a:pt x="14" y="211"/>
                    </a:cubicBezTo>
                    <a:cubicBezTo>
                      <a:pt x="14" y="211"/>
                      <a:pt x="14" y="211"/>
                      <a:pt x="14" y="211"/>
                    </a:cubicBezTo>
                    <a:cubicBezTo>
                      <a:pt x="14" y="212"/>
                      <a:pt x="14" y="212"/>
                      <a:pt x="14" y="212"/>
                    </a:cubicBezTo>
                    <a:cubicBezTo>
                      <a:pt x="14" y="213"/>
                      <a:pt x="14" y="213"/>
                      <a:pt x="14" y="213"/>
                    </a:cubicBezTo>
                    <a:cubicBezTo>
                      <a:pt x="14" y="213"/>
                      <a:pt x="14" y="213"/>
                      <a:pt x="14" y="213"/>
                    </a:cubicBezTo>
                    <a:cubicBezTo>
                      <a:pt x="15" y="213"/>
                      <a:pt x="15" y="213"/>
                      <a:pt x="15" y="213"/>
                    </a:cubicBezTo>
                    <a:cubicBezTo>
                      <a:pt x="15" y="214"/>
                      <a:pt x="16" y="215"/>
                      <a:pt x="17" y="216"/>
                    </a:cubicBezTo>
                    <a:cubicBezTo>
                      <a:pt x="18" y="220"/>
                      <a:pt x="18" y="220"/>
                      <a:pt x="18" y="220"/>
                    </a:cubicBezTo>
                    <a:cubicBezTo>
                      <a:pt x="14" y="220"/>
                      <a:pt x="14" y="220"/>
                      <a:pt x="14" y="220"/>
                    </a:cubicBezTo>
                    <a:cubicBezTo>
                      <a:pt x="14" y="220"/>
                      <a:pt x="13" y="220"/>
                      <a:pt x="12" y="221"/>
                    </a:cubicBezTo>
                    <a:cubicBezTo>
                      <a:pt x="10" y="223"/>
                      <a:pt x="10" y="223"/>
                      <a:pt x="10" y="223"/>
                    </a:cubicBezTo>
                    <a:cubicBezTo>
                      <a:pt x="9" y="223"/>
                      <a:pt x="8" y="223"/>
                      <a:pt x="8" y="224"/>
                    </a:cubicBezTo>
                    <a:cubicBezTo>
                      <a:pt x="7" y="224"/>
                      <a:pt x="7" y="224"/>
                      <a:pt x="7" y="225"/>
                    </a:cubicBezTo>
                    <a:cubicBezTo>
                      <a:pt x="6" y="226"/>
                      <a:pt x="6" y="227"/>
                      <a:pt x="8" y="230"/>
                    </a:cubicBezTo>
                    <a:cubicBezTo>
                      <a:pt x="9" y="231"/>
                      <a:pt x="9" y="232"/>
                      <a:pt x="10" y="233"/>
                    </a:cubicBezTo>
                    <a:cubicBezTo>
                      <a:pt x="10" y="233"/>
                      <a:pt x="10" y="233"/>
                      <a:pt x="10" y="233"/>
                    </a:cubicBezTo>
                    <a:cubicBezTo>
                      <a:pt x="10" y="234"/>
                      <a:pt x="10" y="234"/>
                      <a:pt x="10" y="234"/>
                    </a:cubicBezTo>
                    <a:cubicBezTo>
                      <a:pt x="11" y="237"/>
                      <a:pt x="8" y="239"/>
                      <a:pt x="7" y="241"/>
                    </a:cubicBezTo>
                    <a:cubicBezTo>
                      <a:pt x="7" y="241"/>
                      <a:pt x="6" y="242"/>
                      <a:pt x="5" y="242"/>
                    </a:cubicBezTo>
                    <a:cubicBezTo>
                      <a:pt x="5" y="243"/>
                      <a:pt x="5" y="243"/>
                      <a:pt x="5" y="243"/>
                    </a:cubicBezTo>
                    <a:cubicBezTo>
                      <a:pt x="4" y="244"/>
                      <a:pt x="2" y="246"/>
                      <a:pt x="1" y="248"/>
                    </a:cubicBezTo>
                    <a:cubicBezTo>
                      <a:pt x="1" y="248"/>
                      <a:pt x="1" y="249"/>
                      <a:pt x="0" y="249"/>
                    </a:cubicBezTo>
                    <a:cubicBezTo>
                      <a:pt x="1" y="249"/>
                      <a:pt x="1" y="249"/>
                      <a:pt x="1" y="249"/>
                    </a:cubicBezTo>
                    <a:cubicBezTo>
                      <a:pt x="1" y="250"/>
                      <a:pt x="1" y="250"/>
                      <a:pt x="1" y="250"/>
                    </a:cubicBezTo>
                    <a:cubicBezTo>
                      <a:pt x="2" y="250"/>
                      <a:pt x="2" y="250"/>
                      <a:pt x="2" y="250"/>
                    </a:cubicBezTo>
                    <a:cubicBezTo>
                      <a:pt x="2" y="250"/>
                      <a:pt x="2" y="250"/>
                      <a:pt x="2" y="250"/>
                    </a:cubicBezTo>
                    <a:cubicBezTo>
                      <a:pt x="2" y="249"/>
                      <a:pt x="2" y="249"/>
                      <a:pt x="2" y="249"/>
                    </a:cubicBezTo>
                    <a:cubicBezTo>
                      <a:pt x="3" y="249"/>
                      <a:pt x="3" y="249"/>
                      <a:pt x="4" y="249"/>
                    </a:cubicBezTo>
                    <a:cubicBezTo>
                      <a:pt x="4" y="248"/>
                      <a:pt x="5" y="247"/>
                      <a:pt x="6" y="247"/>
                    </a:cubicBezTo>
                    <a:cubicBezTo>
                      <a:pt x="7" y="247"/>
                      <a:pt x="7" y="247"/>
                      <a:pt x="7" y="248"/>
                    </a:cubicBezTo>
                    <a:cubicBezTo>
                      <a:pt x="8" y="248"/>
                      <a:pt x="8" y="248"/>
                      <a:pt x="8" y="248"/>
                    </a:cubicBezTo>
                    <a:cubicBezTo>
                      <a:pt x="9" y="248"/>
                      <a:pt x="9" y="248"/>
                      <a:pt x="10" y="249"/>
                    </a:cubicBezTo>
                    <a:cubicBezTo>
                      <a:pt x="12" y="251"/>
                      <a:pt x="13" y="256"/>
                      <a:pt x="14" y="263"/>
                    </a:cubicBezTo>
                    <a:cubicBezTo>
                      <a:pt x="14" y="263"/>
                      <a:pt x="14" y="263"/>
                      <a:pt x="14" y="263"/>
                    </a:cubicBezTo>
                    <a:cubicBezTo>
                      <a:pt x="15" y="263"/>
                      <a:pt x="15" y="263"/>
                      <a:pt x="15" y="263"/>
                    </a:cubicBezTo>
                    <a:cubicBezTo>
                      <a:pt x="15" y="263"/>
                      <a:pt x="16" y="263"/>
                      <a:pt x="17" y="264"/>
                    </a:cubicBezTo>
                    <a:cubicBezTo>
                      <a:pt x="20" y="264"/>
                      <a:pt x="20" y="264"/>
                      <a:pt x="20" y="264"/>
                    </a:cubicBezTo>
                    <a:cubicBezTo>
                      <a:pt x="18" y="268"/>
                      <a:pt x="18" y="268"/>
                      <a:pt x="18" y="268"/>
                    </a:cubicBezTo>
                    <a:cubicBezTo>
                      <a:pt x="18" y="268"/>
                      <a:pt x="18" y="269"/>
                      <a:pt x="18" y="270"/>
                    </a:cubicBezTo>
                    <a:cubicBezTo>
                      <a:pt x="18" y="272"/>
                      <a:pt x="18" y="272"/>
                      <a:pt x="18" y="272"/>
                    </a:cubicBezTo>
                    <a:cubicBezTo>
                      <a:pt x="17" y="276"/>
                      <a:pt x="17" y="276"/>
                      <a:pt x="19" y="278"/>
                    </a:cubicBezTo>
                    <a:cubicBezTo>
                      <a:pt x="20" y="279"/>
                      <a:pt x="20" y="279"/>
                      <a:pt x="20" y="279"/>
                    </a:cubicBezTo>
                    <a:cubicBezTo>
                      <a:pt x="22" y="280"/>
                      <a:pt x="25" y="281"/>
                      <a:pt x="26" y="284"/>
                    </a:cubicBezTo>
                    <a:cubicBezTo>
                      <a:pt x="28" y="286"/>
                      <a:pt x="26" y="288"/>
                      <a:pt x="26" y="290"/>
                    </a:cubicBezTo>
                    <a:cubicBezTo>
                      <a:pt x="26" y="290"/>
                      <a:pt x="26" y="290"/>
                      <a:pt x="26" y="290"/>
                    </a:cubicBezTo>
                    <a:cubicBezTo>
                      <a:pt x="25" y="291"/>
                      <a:pt x="25" y="292"/>
                      <a:pt x="25" y="292"/>
                    </a:cubicBezTo>
                    <a:cubicBezTo>
                      <a:pt x="25" y="292"/>
                      <a:pt x="25" y="292"/>
                      <a:pt x="25" y="292"/>
                    </a:cubicBezTo>
                    <a:cubicBezTo>
                      <a:pt x="24" y="292"/>
                      <a:pt x="24" y="292"/>
                      <a:pt x="24" y="292"/>
                    </a:cubicBezTo>
                    <a:cubicBezTo>
                      <a:pt x="25" y="293"/>
                      <a:pt x="25" y="293"/>
                      <a:pt x="25" y="293"/>
                    </a:cubicBezTo>
                    <a:cubicBezTo>
                      <a:pt x="25" y="293"/>
                      <a:pt x="25" y="293"/>
                      <a:pt x="25" y="293"/>
                    </a:cubicBezTo>
                    <a:cubicBezTo>
                      <a:pt x="30" y="300"/>
                      <a:pt x="30" y="300"/>
                      <a:pt x="30" y="300"/>
                    </a:cubicBezTo>
                    <a:cubicBezTo>
                      <a:pt x="31" y="301"/>
                      <a:pt x="32" y="302"/>
                      <a:pt x="33" y="304"/>
                    </a:cubicBezTo>
                    <a:cubicBezTo>
                      <a:pt x="34" y="305"/>
                      <a:pt x="34" y="305"/>
                      <a:pt x="34" y="305"/>
                    </a:cubicBezTo>
                    <a:cubicBezTo>
                      <a:pt x="36" y="307"/>
                      <a:pt x="37" y="309"/>
                      <a:pt x="39" y="311"/>
                    </a:cubicBezTo>
                    <a:cubicBezTo>
                      <a:pt x="41" y="314"/>
                      <a:pt x="44" y="318"/>
                      <a:pt x="44" y="323"/>
                    </a:cubicBezTo>
                    <a:cubicBezTo>
                      <a:pt x="43" y="324"/>
                      <a:pt x="43" y="324"/>
                      <a:pt x="43" y="325"/>
                    </a:cubicBezTo>
                    <a:cubicBezTo>
                      <a:pt x="43" y="326"/>
                      <a:pt x="43" y="326"/>
                      <a:pt x="43" y="326"/>
                    </a:cubicBezTo>
                    <a:cubicBezTo>
                      <a:pt x="43" y="327"/>
                      <a:pt x="43" y="328"/>
                      <a:pt x="42" y="329"/>
                    </a:cubicBezTo>
                    <a:cubicBezTo>
                      <a:pt x="43" y="330"/>
                      <a:pt x="43" y="330"/>
                      <a:pt x="42" y="331"/>
                    </a:cubicBezTo>
                    <a:cubicBezTo>
                      <a:pt x="43" y="334"/>
                      <a:pt x="41" y="336"/>
                      <a:pt x="40" y="336"/>
                    </a:cubicBezTo>
                    <a:cubicBezTo>
                      <a:pt x="40" y="337"/>
                      <a:pt x="40" y="337"/>
                      <a:pt x="40" y="337"/>
                    </a:cubicBezTo>
                    <a:cubicBezTo>
                      <a:pt x="39" y="337"/>
                      <a:pt x="39" y="338"/>
                      <a:pt x="39" y="338"/>
                    </a:cubicBezTo>
                    <a:cubicBezTo>
                      <a:pt x="39" y="339"/>
                      <a:pt x="39" y="339"/>
                      <a:pt x="39" y="339"/>
                    </a:cubicBezTo>
                    <a:cubicBezTo>
                      <a:pt x="39" y="342"/>
                      <a:pt x="39" y="342"/>
                      <a:pt x="39" y="342"/>
                    </a:cubicBezTo>
                    <a:cubicBezTo>
                      <a:pt x="39" y="343"/>
                      <a:pt x="39" y="343"/>
                      <a:pt x="39" y="343"/>
                    </a:cubicBezTo>
                    <a:cubicBezTo>
                      <a:pt x="40" y="343"/>
                      <a:pt x="40" y="343"/>
                      <a:pt x="41" y="343"/>
                    </a:cubicBezTo>
                    <a:cubicBezTo>
                      <a:pt x="41" y="343"/>
                      <a:pt x="42" y="343"/>
                      <a:pt x="43" y="343"/>
                    </a:cubicBezTo>
                    <a:cubicBezTo>
                      <a:pt x="43" y="343"/>
                      <a:pt x="44" y="343"/>
                      <a:pt x="44" y="343"/>
                    </a:cubicBezTo>
                    <a:cubicBezTo>
                      <a:pt x="45" y="343"/>
                      <a:pt x="45" y="343"/>
                      <a:pt x="46" y="343"/>
                    </a:cubicBezTo>
                    <a:cubicBezTo>
                      <a:pt x="49" y="343"/>
                      <a:pt x="49" y="343"/>
                      <a:pt x="49" y="343"/>
                    </a:cubicBezTo>
                    <a:cubicBezTo>
                      <a:pt x="51" y="343"/>
                      <a:pt x="53" y="343"/>
                      <a:pt x="55" y="346"/>
                    </a:cubicBezTo>
                    <a:cubicBezTo>
                      <a:pt x="55" y="347"/>
                      <a:pt x="55" y="348"/>
                      <a:pt x="56" y="350"/>
                    </a:cubicBezTo>
                    <a:cubicBezTo>
                      <a:pt x="56" y="351"/>
                      <a:pt x="56" y="351"/>
                      <a:pt x="56" y="352"/>
                    </a:cubicBezTo>
                    <a:cubicBezTo>
                      <a:pt x="56" y="353"/>
                      <a:pt x="56" y="353"/>
                      <a:pt x="56" y="354"/>
                    </a:cubicBezTo>
                    <a:cubicBezTo>
                      <a:pt x="57" y="354"/>
                      <a:pt x="58" y="354"/>
                      <a:pt x="59" y="354"/>
                    </a:cubicBezTo>
                    <a:cubicBezTo>
                      <a:pt x="60" y="354"/>
                      <a:pt x="60" y="354"/>
                      <a:pt x="60" y="354"/>
                    </a:cubicBezTo>
                    <a:cubicBezTo>
                      <a:pt x="61" y="355"/>
                      <a:pt x="61" y="355"/>
                      <a:pt x="61" y="355"/>
                    </a:cubicBezTo>
                    <a:cubicBezTo>
                      <a:pt x="62" y="355"/>
                      <a:pt x="62" y="355"/>
                      <a:pt x="62" y="355"/>
                    </a:cubicBezTo>
                    <a:cubicBezTo>
                      <a:pt x="64" y="355"/>
                      <a:pt x="67" y="356"/>
                      <a:pt x="69" y="356"/>
                    </a:cubicBezTo>
                    <a:cubicBezTo>
                      <a:pt x="71" y="357"/>
                      <a:pt x="75" y="360"/>
                      <a:pt x="77" y="362"/>
                    </a:cubicBezTo>
                    <a:cubicBezTo>
                      <a:pt x="78" y="363"/>
                      <a:pt x="78" y="363"/>
                      <a:pt x="78" y="363"/>
                    </a:cubicBezTo>
                    <a:cubicBezTo>
                      <a:pt x="79" y="364"/>
                      <a:pt x="79" y="364"/>
                      <a:pt x="79" y="364"/>
                    </a:cubicBezTo>
                    <a:cubicBezTo>
                      <a:pt x="79" y="364"/>
                      <a:pt x="79" y="364"/>
                      <a:pt x="79" y="364"/>
                    </a:cubicBezTo>
                    <a:cubicBezTo>
                      <a:pt x="80" y="366"/>
                      <a:pt x="80" y="366"/>
                      <a:pt x="80" y="366"/>
                    </a:cubicBezTo>
                    <a:cubicBezTo>
                      <a:pt x="81" y="367"/>
                      <a:pt x="81" y="367"/>
                      <a:pt x="81" y="367"/>
                    </a:cubicBezTo>
                    <a:cubicBezTo>
                      <a:pt x="81" y="368"/>
                      <a:pt x="81" y="368"/>
                      <a:pt x="81" y="368"/>
                    </a:cubicBezTo>
                    <a:cubicBezTo>
                      <a:pt x="81" y="368"/>
                      <a:pt x="81" y="369"/>
                      <a:pt x="81" y="369"/>
                    </a:cubicBezTo>
                    <a:cubicBezTo>
                      <a:pt x="81" y="370"/>
                      <a:pt x="81" y="370"/>
                      <a:pt x="81" y="370"/>
                    </a:cubicBezTo>
                    <a:cubicBezTo>
                      <a:pt x="81" y="371"/>
                      <a:pt x="82" y="371"/>
                      <a:pt x="83" y="372"/>
                    </a:cubicBezTo>
                    <a:cubicBezTo>
                      <a:pt x="103" y="390"/>
                      <a:pt x="103" y="390"/>
                      <a:pt x="103" y="390"/>
                    </a:cubicBezTo>
                    <a:cubicBezTo>
                      <a:pt x="105" y="387"/>
                      <a:pt x="105" y="387"/>
                      <a:pt x="105" y="387"/>
                    </a:cubicBezTo>
                    <a:cubicBezTo>
                      <a:pt x="104" y="391"/>
                      <a:pt x="104" y="391"/>
                      <a:pt x="104" y="391"/>
                    </a:cubicBezTo>
                    <a:cubicBezTo>
                      <a:pt x="105" y="391"/>
                      <a:pt x="105" y="391"/>
                      <a:pt x="105" y="391"/>
                    </a:cubicBezTo>
                    <a:cubicBezTo>
                      <a:pt x="105" y="392"/>
                      <a:pt x="105" y="392"/>
                      <a:pt x="105" y="392"/>
                    </a:cubicBezTo>
                    <a:cubicBezTo>
                      <a:pt x="109" y="389"/>
                      <a:pt x="109" y="389"/>
                      <a:pt x="109" y="389"/>
                    </a:cubicBezTo>
                    <a:cubicBezTo>
                      <a:pt x="106" y="393"/>
                      <a:pt x="106" y="393"/>
                      <a:pt x="106" y="393"/>
                    </a:cubicBezTo>
                    <a:cubicBezTo>
                      <a:pt x="106" y="393"/>
                      <a:pt x="106" y="393"/>
                      <a:pt x="106" y="393"/>
                    </a:cubicBezTo>
                    <a:cubicBezTo>
                      <a:pt x="107" y="395"/>
                      <a:pt x="107" y="396"/>
                      <a:pt x="107" y="397"/>
                    </a:cubicBezTo>
                    <a:cubicBezTo>
                      <a:pt x="107" y="397"/>
                      <a:pt x="106" y="398"/>
                      <a:pt x="106" y="399"/>
                    </a:cubicBezTo>
                    <a:cubicBezTo>
                      <a:pt x="105" y="400"/>
                      <a:pt x="105" y="400"/>
                      <a:pt x="105" y="400"/>
                    </a:cubicBezTo>
                    <a:cubicBezTo>
                      <a:pt x="105" y="400"/>
                      <a:pt x="105" y="401"/>
                      <a:pt x="105" y="401"/>
                    </a:cubicBezTo>
                    <a:cubicBezTo>
                      <a:pt x="105" y="402"/>
                      <a:pt x="106" y="402"/>
                      <a:pt x="106" y="402"/>
                    </a:cubicBezTo>
                    <a:cubicBezTo>
                      <a:pt x="106" y="403"/>
                      <a:pt x="106" y="403"/>
                      <a:pt x="106" y="403"/>
                    </a:cubicBezTo>
                    <a:cubicBezTo>
                      <a:pt x="106" y="403"/>
                      <a:pt x="107" y="404"/>
                      <a:pt x="107" y="404"/>
                    </a:cubicBezTo>
                    <a:cubicBezTo>
                      <a:pt x="107" y="405"/>
                      <a:pt x="107" y="405"/>
                      <a:pt x="107" y="405"/>
                    </a:cubicBezTo>
                    <a:cubicBezTo>
                      <a:pt x="108" y="405"/>
                      <a:pt x="108" y="405"/>
                      <a:pt x="108" y="405"/>
                    </a:cubicBezTo>
                    <a:cubicBezTo>
                      <a:pt x="108" y="406"/>
                      <a:pt x="109" y="406"/>
                      <a:pt x="111" y="407"/>
                    </a:cubicBezTo>
                    <a:cubicBezTo>
                      <a:pt x="112" y="407"/>
                      <a:pt x="112" y="407"/>
                      <a:pt x="112" y="407"/>
                    </a:cubicBezTo>
                    <a:cubicBezTo>
                      <a:pt x="114" y="408"/>
                      <a:pt x="117" y="410"/>
                      <a:pt x="119" y="411"/>
                    </a:cubicBezTo>
                    <a:cubicBezTo>
                      <a:pt x="122" y="413"/>
                      <a:pt x="126" y="415"/>
                      <a:pt x="127" y="418"/>
                    </a:cubicBezTo>
                    <a:cubicBezTo>
                      <a:pt x="128" y="420"/>
                      <a:pt x="128" y="421"/>
                      <a:pt x="128" y="422"/>
                    </a:cubicBezTo>
                    <a:cubicBezTo>
                      <a:pt x="127" y="422"/>
                      <a:pt x="127" y="422"/>
                      <a:pt x="127" y="422"/>
                    </a:cubicBezTo>
                    <a:cubicBezTo>
                      <a:pt x="127" y="422"/>
                      <a:pt x="127" y="422"/>
                      <a:pt x="127" y="422"/>
                    </a:cubicBezTo>
                    <a:cubicBezTo>
                      <a:pt x="128" y="422"/>
                      <a:pt x="128" y="422"/>
                      <a:pt x="128" y="422"/>
                    </a:cubicBezTo>
                    <a:cubicBezTo>
                      <a:pt x="128" y="423"/>
                      <a:pt x="128" y="423"/>
                      <a:pt x="128" y="423"/>
                    </a:cubicBezTo>
                    <a:cubicBezTo>
                      <a:pt x="129" y="425"/>
                      <a:pt x="130" y="427"/>
                      <a:pt x="131" y="430"/>
                    </a:cubicBezTo>
                    <a:cubicBezTo>
                      <a:pt x="132" y="431"/>
                      <a:pt x="132" y="431"/>
                      <a:pt x="132" y="431"/>
                    </a:cubicBezTo>
                    <a:cubicBezTo>
                      <a:pt x="136" y="434"/>
                      <a:pt x="138" y="437"/>
                      <a:pt x="139" y="440"/>
                    </a:cubicBezTo>
                    <a:cubicBezTo>
                      <a:pt x="140" y="442"/>
                      <a:pt x="145" y="444"/>
                      <a:pt x="148" y="446"/>
                    </a:cubicBezTo>
                    <a:cubicBezTo>
                      <a:pt x="149" y="446"/>
                      <a:pt x="150" y="447"/>
                      <a:pt x="150" y="447"/>
                    </a:cubicBezTo>
                    <a:cubicBezTo>
                      <a:pt x="151" y="447"/>
                      <a:pt x="151" y="447"/>
                      <a:pt x="151" y="447"/>
                    </a:cubicBezTo>
                    <a:cubicBezTo>
                      <a:pt x="152" y="447"/>
                      <a:pt x="152" y="447"/>
                      <a:pt x="152" y="447"/>
                    </a:cubicBezTo>
                    <a:cubicBezTo>
                      <a:pt x="152" y="446"/>
                      <a:pt x="153" y="445"/>
                      <a:pt x="155" y="445"/>
                    </a:cubicBezTo>
                    <a:cubicBezTo>
                      <a:pt x="156" y="445"/>
                      <a:pt x="157" y="444"/>
                      <a:pt x="158" y="444"/>
                    </a:cubicBezTo>
                    <a:cubicBezTo>
                      <a:pt x="160" y="444"/>
                      <a:pt x="163" y="445"/>
                      <a:pt x="165" y="445"/>
                    </a:cubicBezTo>
                    <a:cubicBezTo>
                      <a:pt x="167" y="446"/>
                      <a:pt x="169" y="446"/>
                      <a:pt x="170" y="446"/>
                    </a:cubicBezTo>
                    <a:cubicBezTo>
                      <a:pt x="171" y="446"/>
                      <a:pt x="171" y="446"/>
                      <a:pt x="171" y="446"/>
                    </a:cubicBezTo>
                    <a:cubicBezTo>
                      <a:pt x="171" y="446"/>
                      <a:pt x="171" y="446"/>
                      <a:pt x="171" y="446"/>
                    </a:cubicBezTo>
                    <a:cubicBezTo>
                      <a:pt x="171" y="446"/>
                      <a:pt x="171" y="446"/>
                      <a:pt x="171" y="446"/>
                    </a:cubicBezTo>
                    <a:cubicBezTo>
                      <a:pt x="172" y="445"/>
                      <a:pt x="172" y="444"/>
                      <a:pt x="173" y="444"/>
                    </a:cubicBezTo>
                    <a:cubicBezTo>
                      <a:pt x="176" y="442"/>
                      <a:pt x="179" y="442"/>
                      <a:pt x="182" y="441"/>
                    </a:cubicBezTo>
                    <a:cubicBezTo>
                      <a:pt x="183" y="441"/>
                      <a:pt x="184" y="441"/>
                      <a:pt x="185" y="441"/>
                    </a:cubicBezTo>
                    <a:cubicBezTo>
                      <a:pt x="188" y="441"/>
                      <a:pt x="188" y="441"/>
                      <a:pt x="188" y="441"/>
                    </a:cubicBezTo>
                    <a:cubicBezTo>
                      <a:pt x="188" y="444"/>
                      <a:pt x="188" y="444"/>
                      <a:pt x="188" y="444"/>
                    </a:cubicBezTo>
                    <a:cubicBezTo>
                      <a:pt x="188" y="445"/>
                      <a:pt x="188" y="446"/>
                      <a:pt x="188" y="446"/>
                    </a:cubicBezTo>
                    <a:cubicBezTo>
                      <a:pt x="188" y="447"/>
                      <a:pt x="188" y="448"/>
                      <a:pt x="188" y="448"/>
                    </a:cubicBezTo>
                    <a:cubicBezTo>
                      <a:pt x="192" y="452"/>
                      <a:pt x="192" y="452"/>
                      <a:pt x="192" y="452"/>
                    </a:cubicBezTo>
                    <a:cubicBezTo>
                      <a:pt x="194" y="454"/>
                      <a:pt x="195" y="455"/>
                      <a:pt x="197" y="456"/>
                    </a:cubicBezTo>
                    <a:cubicBezTo>
                      <a:pt x="197" y="456"/>
                      <a:pt x="198" y="456"/>
                      <a:pt x="199" y="456"/>
                    </a:cubicBezTo>
                    <a:cubicBezTo>
                      <a:pt x="200" y="457"/>
                      <a:pt x="200" y="457"/>
                      <a:pt x="200" y="457"/>
                    </a:cubicBezTo>
                    <a:cubicBezTo>
                      <a:pt x="201" y="457"/>
                      <a:pt x="203" y="458"/>
                      <a:pt x="205" y="460"/>
                    </a:cubicBezTo>
                    <a:cubicBezTo>
                      <a:pt x="205" y="461"/>
                      <a:pt x="205" y="462"/>
                      <a:pt x="205" y="463"/>
                    </a:cubicBezTo>
                    <a:cubicBezTo>
                      <a:pt x="205" y="464"/>
                      <a:pt x="205" y="464"/>
                      <a:pt x="205" y="465"/>
                    </a:cubicBezTo>
                    <a:cubicBezTo>
                      <a:pt x="206" y="465"/>
                      <a:pt x="206" y="465"/>
                      <a:pt x="206" y="465"/>
                    </a:cubicBezTo>
                    <a:cubicBezTo>
                      <a:pt x="207" y="465"/>
                      <a:pt x="208" y="465"/>
                      <a:pt x="209" y="466"/>
                    </a:cubicBezTo>
                    <a:cubicBezTo>
                      <a:pt x="209" y="465"/>
                      <a:pt x="210" y="465"/>
                      <a:pt x="210" y="464"/>
                    </a:cubicBezTo>
                    <a:cubicBezTo>
                      <a:pt x="211" y="464"/>
                      <a:pt x="211" y="464"/>
                      <a:pt x="211" y="464"/>
                    </a:cubicBezTo>
                    <a:cubicBezTo>
                      <a:pt x="212" y="463"/>
                      <a:pt x="212" y="463"/>
                      <a:pt x="212" y="463"/>
                    </a:cubicBezTo>
                    <a:cubicBezTo>
                      <a:pt x="213" y="462"/>
                      <a:pt x="213" y="462"/>
                      <a:pt x="213" y="462"/>
                    </a:cubicBezTo>
                    <a:cubicBezTo>
                      <a:pt x="214" y="461"/>
                      <a:pt x="215" y="460"/>
                      <a:pt x="216" y="460"/>
                    </a:cubicBezTo>
                    <a:cubicBezTo>
                      <a:pt x="217" y="460"/>
                      <a:pt x="218" y="460"/>
                      <a:pt x="219" y="461"/>
                    </a:cubicBezTo>
                    <a:cubicBezTo>
                      <a:pt x="219" y="461"/>
                      <a:pt x="220" y="461"/>
                      <a:pt x="221" y="461"/>
                    </a:cubicBezTo>
                    <a:cubicBezTo>
                      <a:pt x="222" y="462"/>
                      <a:pt x="223" y="462"/>
                      <a:pt x="224" y="462"/>
                    </a:cubicBezTo>
                    <a:cubicBezTo>
                      <a:pt x="224" y="462"/>
                      <a:pt x="224" y="462"/>
                      <a:pt x="224" y="462"/>
                    </a:cubicBezTo>
                    <a:cubicBezTo>
                      <a:pt x="225" y="462"/>
                      <a:pt x="225" y="462"/>
                      <a:pt x="226" y="462"/>
                    </a:cubicBezTo>
                    <a:cubicBezTo>
                      <a:pt x="232" y="458"/>
                      <a:pt x="232" y="458"/>
                      <a:pt x="232" y="458"/>
                    </a:cubicBezTo>
                    <a:cubicBezTo>
                      <a:pt x="234" y="460"/>
                      <a:pt x="234" y="460"/>
                      <a:pt x="234" y="460"/>
                    </a:cubicBezTo>
                    <a:cubicBezTo>
                      <a:pt x="237" y="464"/>
                      <a:pt x="237" y="464"/>
                      <a:pt x="237" y="464"/>
                    </a:cubicBezTo>
                    <a:cubicBezTo>
                      <a:pt x="237" y="464"/>
                      <a:pt x="237" y="464"/>
                      <a:pt x="237" y="464"/>
                    </a:cubicBezTo>
                    <a:cubicBezTo>
                      <a:pt x="237" y="464"/>
                      <a:pt x="238" y="464"/>
                      <a:pt x="239" y="464"/>
                    </a:cubicBezTo>
                    <a:cubicBezTo>
                      <a:pt x="240" y="465"/>
                      <a:pt x="240" y="465"/>
                      <a:pt x="240" y="465"/>
                    </a:cubicBezTo>
                    <a:cubicBezTo>
                      <a:pt x="240" y="465"/>
                      <a:pt x="240" y="465"/>
                      <a:pt x="240" y="465"/>
                    </a:cubicBezTo>
                    <a:cubicBezTo>
                      <a:pt x="241" y="464"/>
                      <a:pt x="242" y="463"/>
                      <a:pt x="243" y="462"/>
                    </a:cubicBezTo>
                    <a:cubicBezTo>
                      <a:pt x="245" y="461"/>
                      <a:pt x="247" y="460"/>
                      <a:pt x="250" y="459"/>
                    </a:cubicBezTo>
                    <a:cubicBezTo>
                      <a:pt x="250" y="459"/>
                      <a:pt x="255" y="457"/>
                      <a:pt x="259" y="457"/>
                    </a:cubicBezTo>
                    <a:cubicBezTo>
                      <a:pt x="260" y="457"/>
                      <a:pt x="261" y="457"/>
                      <a:pt x="261" y="457"/>
                    </a:cubicBezTo>
                    <a:cubicBezTo>
                      <a:pt x="262" y="458"/>
                      <a:pt x="263" y="458"/>
                      <a:pt x="264" y="459"/>
                    </a:cubicBezTo>
                    <a:cubicBezTo>
                      <a:pt x="265" y="459"/>
                      <a:pt x="266" y="460"/>
                      <a:pt x="268" y="460"/>
                    </a:cubicBezTo>
                    <a:cubicBezTo>
                      <a:pt x="269" y="460"/>
                      <a:pt x="269" y="460"/>
                      <a:pt x="270" y="460"/>
                    </a:cubicBezTo>
                    <a:cubicBezTo>
                      <a:pt x="271" y="460"/>
                      <a:pt x="271" y="460"/>
                      <a:pt x="273" y="458"/>
                    </a:cubicBezTo>
                    <a:cubicBezTo>
                      <a:pt x="280" y="451"/>
                      <a:pt x="280" y="451"/>
                      <a:pt x="280" y="451"/>
                    </a:cubicBezTo>
                    <a:cubicBezTo>
                      <a:pt x="280" y="450"/>
                      <a:pt x="280" y="450"/>
                      <a:pt x="280" y="450"/>
                    </a:cubicBezTo>
                    <a:cubicBezTo>
                      <a:pt x="281" y="450"/>
                      <a:pt x="281" y="450"/>
                      <a:pt x="281" y="450"/>
                    </a:cubicBezTo>
                    <a:cubicBezTo>
                      <a:pt x="285" y="446"/>
                      <a:pt x="285" y="446"/>
                      <a:pt x="285" y="446"/>
                    </a:cubicBezTo>
                    <a:cubicBezTo>
                      <a:pt x="286" y="445"/>
                      <a:pt x="286" y="445"/>
                      <a:pt x="287" y="445"/>
                    </a:cubicBezTo>
                    <a:cubicBezTo>
                      <a:pt x="287" y="444"/>
                      <a:pt x="287" y="444"/>
                      <a:pt x="287" y="444"/>
                    </a:cubicBezTo>
                    <a:cubicBezTo>
                      <a:pt x="288" y="444"/>
                      <a:pt x="288" y="444"/>
                      <a:pt x="288" y="444"/>
                    </a:cubicBezTo>
                    <a:cubicBezTo>
                      <a:pt x="289" y="442"/>
                      <a:pt x="291" y="440"/>
                      <a:pt x="294" y="440"/>
                    </a:cubicBezTo>
                    <a:cubicBezTo>
                      <a:pt x="320" y="440"/>
                      <a:pt x="320" y="440"/>
                      <a:pt x="320" y="440"/>
                    </a:cubicBezTo>
                    <a:cubicBezTo>
                      <a:pt x="320" y="440"/>
                      <a:pt x="320" y="440"/>
                      <a:pt x="321" y="441"/>
                    </a:cubicBezTo>
                    <a:cubicBezTo>
                      <a:pt x="321" y="441"/>
                      <a:pt x="321" y="441"/>
                      <a:pt x="321" y="441"/>
                    </a:cubicBezTo>
                    <a:cubicBezTo>
                      <a:pt x="320" y="440"/>
                      <a:pt x="320" y="440"/>
                      <a:pt x="320" y="440"/>
                    </a:cubicBezTo>
                    <a:cubicBezTo>
                      <a:pt x="320" y="440"/>
                      <a:pt x="320" y="439"/>
                      <a:pt x="319" y="438"/>
                    </a:cubicBezTo>
                    <a:cubicBezTo>
                      <a:pt x="320" y="439"/>
                      <a:pt x="320" y="439"/>
                      <a:pt x="320" y="440"/>
                    </a:cubicBezTo>
                    <a:cubicBezTo>
                      <a:pt x="322" y="440"/>
                      <a:pt x="322" y="440"/>
                      <a:pt x="322" y="440"/>
                    </a:cubicBezTo>
                    <a:cubicBezTo>
                      <a:pt x="322" y="436"/>
                      <a:pt x="322" y="436"/>
                      <a:pt x="322" y="436"/>
                    </a:cubicBezTo>
                    <a:cubicBezTo>
                      <a:pt x="322" y="436"/>
                      <a:pt x="322" y="435"/>
                      <a:pt x="322" y="434"/>
                    </a:cubicBezTo>
                    <a:cubicBezTo>
                      <a:pt x="322" y="433"/>
                      <a:pt x="322" y="433"/>
                      <a:pt x="322" y="433"/>
                    </a:cubicBezTo>
                    <a:cubicBezTo>
                      <a:pt x="322" y="432"/>
                      <a:pt x="322" y="432"/>
                      <a:pt x="322" y="431"/>
                    </a:cubicBezTo>
                    <a:cubicBezTo>
                      <a:pt x="323" y="430"/>
                      <a:pt x="323" y="430"/>
                      <a:pt x="323" y="430"/>
                    </a:cubicBezTo>
                    <a:cubicBezTo>
                      <a:pt x="323" y="429"/>
                      <a:pt x="323" y="429"/>
                      <a:pt x="323" y="428"/>
                    </a:cubicBezTo>
                    <a:cubicBezTo>
                      <a:pt x="323" y="428"/>
                      <a:pt x="323" y="428"/>
                      <a:pt x="323" y="428"/>
                    </a:cubicBezTo>
                    <a:cubicBezTo>
                      <a:pt x="323" y="428"/>
                      <a:pt x="322" y="428"/>
                      <a:pt x="321" y="428"/>
                    </a:cubicBezTo>
                    <a:cubicBezTo>
                      <a:pt x="321" y="428"/>
                      <a:pt x="321" y="428"/>
                      <a:pt x="321" y="428"/>
                    </a:cubicBezTo>
                    <a:cubicBezTo>
                      <a:pt x="320" y="427"/>
                      <a:pt x="320" y="427"/>
                      <a:pt x="320" y="427"/>
                    </a:cubicBezTo>
                    <a:cubicBezTo>
                      <a:pt x="318" y="427"/>
                      <a:pt x="316" y="426"/>
                      <a:pt x="314" y="425"/>
                    </a:cubicBezTo>
                    <a:cubicBezTo>
                      <a:pt x="313" y="425"/>
                      <a:pt x="313" y="425"/>
                      <a:pt x="313" y="424"/>
                    </a:cubicBezTo>
                    <a:cubicBezTo>
                      <a:pt x="312" y="424"/>
                      <a:pt x="312" y="424"/>
                      <a:pt x="311" y="423"/>
                    </a:cubicBezTo>
                    <a:cubicBezTo>
                      <a:pt x="310" y="423"/>
                      <a:pt x="310" y="422"/>
                      <a:pt x="309" y="421"/>
                    </a:cubicBezTo>
                    <a:cubicBezTo>
                      <a:pt x="309" y="421"/>
                      <a:pt x="309" y="421"/>
                      <a:pt x="308" y="420"/>
                    </a:cubicBezTo>
                    <a:cubicBezTo>
                      <a:pt x="307" y="419"/>
                      <a:pt x="306" y="417"/>
                      <a:pt x="306" y="416"/>
                    </a:cubicBezTo>
                    <a:cubicBezTo>
                      <a:pt x="306" y="416"/>
                      <a:pt x="302" y="402"/>
                      <a:pt x="298" y="397"/>
                    </a:cubicBezTo>
                    <a:cubicBezTo>
                      <a:pt x="298" y="397"/>
                      <a:pt x="298" y="396"/>
                      <a:pt x="297" y="396"/>
                    </a:cubicBezTo>
                    <a:cubicBezTo>
                      <a:pt x="296" y="394"/>
                      <a:pt x="296" y="394"/>
                      <a:pt x="296" y="394"/>
                    </a:cubicBezTo>
                    <a:cubicBezTo>
                      <a:pt x="294" y="393"/>
                      <a:pt x="293" y="392"/>
                      <a:pt x="292" y="391"/>
                    </a:cubicBezTo>
                    <a:cubicBezTo>
                      <a:pt x="292" y="390"/>
                      <a:pt x="291" y="390"/>
                      <a:pt x="291" y="390"/>
                    </a:cubicBezTo>
                    <a:cubicBezTo>
                      <a:pt x="288" y="388"/>
                      <a:pt x="285" y="386"/>
                      <a:pt x="283" y="383"/>
                    </a:cubicBezTo>
                    <a:cubicBezTo>
                      <a:pt x="283" y="383"/>
                      <a:pt x="283" y="383"/>
                      <a:pt x="283" y="383"/>
                    </a:cubicBezTo>
                    <a:cubicBezTo>
                      <a:pt x="282" y="382"/>
                      <a:pt x="281" y="382"/>
                      <a:pt x="281" y="381"/>
                    </a:cubicBezTo>
                    <a:cubicBezTo>
                      <a:pt x="280" y="380"/>
                      <a:pt x="280" y="380"/>
                      <a:pt x="279" y="379"/>
                    </a:cubicBezTo>
                    <a:cubicBezTo>
                      <a:pt x="279" y="378"/>
                      <a:pt x="279" y="378"/>
                      <a:pt x="279" y="378"/>
                    </a:cubicBezTo>
                    <a:cubicBezTo>
                      <a:pt x="278" y="377"/>
                      <a:pt x="276" y="374"/>
                      <a:pt x="275" y="373"/>
                    </a:cubicBezTo>
                    <a:cubicBezTo>
                      <a:pt x="275" y="373"/>
                      <a:pt x="275" y="373"/>
                      <a:pt x="275" y="373"/>
                    </a:cubicBezTo>
                    <a:cubicBezTo>
                      <a:pt x="274" y="373"/>
                      <a:pt x="273" y="373"/>
                      <a:pt x="273" y="373"/>
                    </a:cubicBezTo>
                    <a:cubicBezTo>
                      <a:pt x="272" y="373"/>
                      <a:pt x="272" y="373"/>
                      <a:pt x="271" y="372"/>
                    </a:cubicBezTo>
                    <a:cubicBezTo>
                      <a:pt x="270" y="372"/>
                      <a:pt x="270" y="372"/>
                      <a:pt x="270" y="372"/>
                    </a:cubicBezTo>
                    <a:cubicBezTo>
                      <a:pt x="268" y="371"/>
                      <a:pt x="265" y="369"/>
                      <a:pt x="263" y="369"/>
                    </a:cubicBezTo>
                    <a:cubicBezTo>
                      <a:pt x="262" y="368"/>
                      <a:pt x="262" y="368"/>
                      <a:pt x="262" y="368"/>
                    </a:cubicBezTo>
                    <a:cubicBezTo>
                      <a:pt x="261" y="368"/>
                      <a:pt x="260" y="367"/>
                      <a:pt x="259" y="367"/>
                    </a:cubicBezTo>
                    <a:cubicBezTo>
                      <a:pt x="256" y="366"/>
                      <a:pt x="256" y="366"/>
                      <a:pt x="256" y="366"/>
                    </a:cubicBezTo>
                    <a:cubicBezTo>
                      <a:pt x="257" y="363"/>
                      <a:pt x="257" y="363"/>
                      <a:pt x="257" y="363"/>
                    </a:cubicBezTo>
                    <a:cubicBezTo>
                      <a:pt x="258" y="362"/>
                      <a:pt x="258" y="360"/>
                      <a:pt x="259" y="359"/>
                    </a:cubicBezTo>
                    <a:cubicBezTo>
                      <a:pt x="260" y="355"/>
                      <a:pt x="261" y="350"/>
                      <a:pt x="266" y="349"/>
                    </a:cubicBezTo>
                    <a:cubicBezTo>
                      <a:pt x="266" y="349"/>
                      <a:pt x="267" y="349"/>
                      <a:pt x="267" y="349"/>
                    </a:cubicBezTo>
                    <a:cubicBezTo>
                      <a:pt x="268" y="349"/>
                      <a:pt x="269" y="349"/>
                      <a:pt x="269" y="349"/>
                    </a:cubicBezTo>
                    <a:cubicBezTo>
                      <a:pt x="270" y="349"/>
                      <a:pt x="270" y="349"/>
                      <a:pt x="270" y="349"/>
                    </a:cubicBezTo>
                    <a:cubicBezTo>
                      <a:pt x="270" y="349"/>
                      <a:pt x="270" y="349"/>
                      <a:pt x="270" y="349"/>
                    </a:cubicBezTo>
                    <a:cubicBezTo>
                      <a:pt x="270" y="349"/>
                      <a:pt x="270" y="349"/>
                      <a:pt x="270" y="349"/>
                    </a:cubicBezTo>
                    <a:cubicBezTo>
                      <a:pt x="272" y="349"/>
                      <a:pt x="273" y="349"/>
                      <a:pt x="275" y="350"/>
                    </a:cubicBezTo>
                    <a:cubicBezTo>
                      <a:pt x="276" y="350"/>
                      <a:pt x="278" y="350"/>
                      <a:pt x="279" y="350"/>
                    </a:cubicBezTo>
                    <a:cubicBezTo>
                      <a:pt x="280" y="350"/>
                      <a:pt x="281" y="350"/>
                      <a:pt x="281" y="350"/>
                    </a:cubicBezTo>
                    <a:cubicBezTo>
                      <a:pt x="282" y="349"/>
                      <a:pt x="282" y="349"/>
                      <a:pt x="282" y="349"/>
                    </a:cubicBezTo>
                    <a:cubicBezTo>
                      <a:pt x="285" y="347"/>
                      <a:pt x="284" y="338"/>
                      <a:pt x="283" y="333"/>
                    </a:cubicBezTo>
                    <a:cubicBezTo>
                      <a:pt x="283" y="332"/>
                      <a:pt x="283" y="332"/>
                      <a:pt x="283" y="332"/>
                    </a:cubicBezTo>
                    <a:cubicBezTo>
                      <a:pt x="283" y="328"/>
                      <a:pt x="283" y="325"/>
                      <a:pt x="284" y="322"/>
                    </a:cubicBezTo>
                    <a:cubicBezTo>
                      <a:pt x="285" y="321"/>
                      <a:pt x="285" y="320"/>
                      <a:pt x="285" y="319"/>
                    </a:cubicBezTo>
                    <a:cubicBezTo>
                      <a:pt x="286" y="318"/>
                      <a:pt x="286" y="318"/>
                      <a:pt x="286" y="318"/>
                    </a:cubicBezTo>
                    <a:cubicBezTo>
                      <a:pt x="286" y="317"/>
                      <a:pt x="287" y="315"/>
                      <a:pt x="287" y="313"/>
                    </a:cubicBezTo>
                    <a:cubicBezTo>
                      <a:pt x="288" y="311"/>
                      <a:pt x="288" y="311"/>
                      <a:pt x="288" y="311"/>
                    </a:cubicBezTo>
                    <a:cubicBezTo>
                      <a:pt x="288" y="311"/>
                      <a:pt x="288" y="310"/>
                      <a:pt x="288" y="309"/>
                    </a:cubicBezTo>
                    <a:cubicBezTo>
                      <a:pt x="289" y="309"/>
                      <a:pt x="288" y="308"/>
                      <a:pt x="288" y="307"/>
                    </a:cubicBezTo>
                    <a:cubicBezTo>
                      <a:pt x="288" y="305"/>
                      <a:pt x="287" y="303"/>
                      <a:pt x="288" y="300"/>
                    </a:cubicBezTo>
                    <a:cubicBezTo>
                      <a:pt x="288" y="300"/>
                      <a:pt x="288" y="299"/>
                      <a:pt x="289" y="299"/>
                    </a:cubicBezTo>
                    <a:cubicBezTo>
                      <a:pt x="290" y="298"/>
                      <a:pt x="290" y="297"/>
                      <a:pt x="291" y="296"/>
                    </a:cubicBezTo>
                    <a:cubicBezTo>
                      <a:pt x="292" y="294"/>
                      <a:pt x="293" y="293"/>
                      <a:pt x="294" y="293"/>
                    </a:cubicBezTo>
                    <a:cubicBezTo>
                      <a:pt x="295" y="293"/>
                      <a:pt x="295" y="293"/>
                      <a:pt x="295" y="293"/>
                    </a:cubicBezTo>
                    <a:cubicBezTo>
                      <a:pt x="295" y="292"/>
                      <a:pt x="295" y="292"/>
                      <a:pt x="295" y="292"/>
                    </a:cubicBezTo>
                    <a:cubicBezTo>
                      <a:pt x="296" y="292"/>
                      <a:pt x="296" y="292"/>
                      <a:pt x="296" y="292"/>
                    </a:cubicBezTo>
                    <a:cubicBezTo>
                      <a:pt x="297" y="292"/>
                      <a:pt x="297" y="292"/>
                      <a:pt x="297" y="292"/>
                    </a:cubicBezTo>
                    <a:cubicBezTo>
                      <a:pt x="297" y="292"/>
                      <a:pt x="297" y="292"/>
                      <a:pt x="297" y="292"/>
                    </a:cubicBezTo>
                    <a:cubicBezTo>
                      <a:pt x="297" y="292"/>
                      <a:pt x="298" y="292"/>
                      <a:pt x="298" y="292"/>
                    </a:cubicBezTo>
                    <a:cubicBezTo>
                      <a:pt x="298" y="292"/>
                      <a:pt x="298" y="292"/>
                      <a:pt x="298" y="292"/>
                    </a:cubicBezTo>
                    <a:cubicBezTo>
                      <a:pt x="299" y="293"/>
                      <a:pt x="299" y="293"/>
                      <a:pt x="299" y="293"/>
                    </a:cubicBezTo>
                    <a:cubicBezTo>
                      <a:pt x="300" y="293"/>
                      <a:pt x="300" y="293"/>
                      <a:pt x="300" y="293"/>
                    </a:cubicBezTo>
                    <a:cubicBezTo>
                      <a:pt x="300" y="294"/>
                      <a:pt x="301" y="294"/>
                      <a:pt x="301" y="294"/>
                    </a:cubicBezTo>
                    <a:cubicBezTo>
                      <a:pt x="302" y="294"/>
                      <a:pt x="302" y="294"/>
                      <a:pt x="302" y="294"/>
                    </a:cubicBezTo>
                    <a:cubicBezTo>
                      <a:pt x="302" y="294"/>
                      <a:pt x="302" y="294"/>
                      <a:pt x="302" y="294"/>
                    </a:cubicBezTo>
                    <a:cubicBezTo>
                      <a:pt x="302" y="294"/>
                      <a:pt x="303" y="294"/>
                      <a:pt x="303" y="294"/>
                    </a:cubicBezTo>
                    <a:cubicBezTo>
                      <a:pt x="303" y="293"/>
                      <a:pt x="303" y="293"/>
                      <a:pt x="303" y="293"/>
                    </a:cubicBezTo>
                    <a:cubicBezTo>
                      <a:pt x="303" y="293"/>
                      <a:pt x="303" y="293"/>
                      <a:pt x="303" y="293"/>
                    </a:cubicBezTo>
                    <a:cubicBezTo>
                      <a:pt x="303" y="293"/>
                      <a:pt x="303" y="293"/>
                      <a:pt x="303" y="293"/>
                    </a:cubicBezTo>
                    <a:cubicBezTo>
                      <a:pt x="303" y="291"/>
                      <a:pt x="303" y="290"/>
                      <a:pt x="303" y="289"/>
                    </a:cubicBezTo>
                    <a:cubicBezTo>
                      <a:pt x="303" y="289"/>
                      <a:pt x="303" y="289"/>
                      <a:pt x="303" y="289"/>
                    </a:cubicBezTo>
                    <a:cubicBezTo>
                      <a:pt x="304" y="288"/>
                      <a:pt x="304" y="288"/>
                      <a:pt x="304" y="287"/>
                    </a:cubicBezTo>
                    <a:cubicBezTo>
                      <a:pt x="304" y="286"/>
                      <a:pt x="304" y="286"/>
                      <a:pt x="304" y="285"/>
                    </a:cubicBezTo>
                    <a:cubicBezTo>
                      <a:pt x="304" y="284"/>
                      <a:pt x="304" y="284"/>
                      <a:pt x="304" y="284"/>
                    </a:cubicBezTo>
                    <a:cubicBezTo>
                      <a:pt x="304" y="284"/>
                      <a:pt x="304" y="283"/>
                      <a:pt x="305" y="282"/>
                    </a:cubicBezTo>
                    <a:cubicBezTo>
                      <a:pt x="305" y="280"/>
                      <a:pt x="305" y="278"/>
                      <a:pt x="306" y="277"/>
                    </a:cubicBezTo>
                    <a:cubicBezTo>
                      <a:pt x="306" y="275"/>
                      <a:pt x="306" y="275"/>
                      <a:pt x="306" y="275"/>
                    </a:cubicBezTo>
                    <a:cubicBezTo>
                      <a:pt x="307" y="272"/>
                      <a:pt x="308" y="269"/>
                      <a:pt x="311" y="267"/>
                    </a:cubicBezTo>
                    <a:cubicBezTo>
                      <a:pt x="312" y="266"/>
                      <a:pt x="313" y="264"/>
                      <a:pt x="314" y="262"/>
                    </a:cubicBezTo>
                    <a:cubicBezTo>
                      <a:pt x="315" y="260"/>
                      <a:pt x="317" y="258"/>
                      <a:pt x="318" y="256"/>
                    </a:cubicBezTo>
                    <a:cubicBezTo>
                      <a:pt x="318" y="255"/>
                      <a:pt x="318" y="255"/>
                      <a:pt x="318" y="255"/>
                    </a:cubicBezTo>
                    <a:cubicBezTo>
                      <a:pt x="319" y="254"/>
                      <a:pt x="320" y="252"/>
                      <a:pt x="320" y="251"/>
                    </a:cubicBezTo>
                    <a:cubicBezTo>
                      <a:pt x="321" y="250"/>
                      <a:pt x="323" y="249"/>
                      <a:pt x="325" y="248"/>
                    </a:cubicBezTo>
                    <a:cubicBezTo>
                      <a:pt x="326" y="248"/>
                      <a:pt x="326" y="248"/>
                      <a:pt x="326" y="248"/>
                    </a:cubicBezTo>
                    <a:cubicBezTo>
                      <a:pt x="326" y="248"/>
                      <a:pt x="326" y="248"/>
                      <a:pt x="326" y="248"/>
                    </a:cubicBezTo>
                    <a:cubicBezTo>
                      <a:pt x="327" y="248"/>
                      <a:pt x="328" y="249"/>
                      <a:pt x="329" y="249"/>
                    </a:cubicBezTo>
                    <a:cubicBezTo>
                      <a:pt x="329" y="249"/>
                      <a:pt x="330" y="249"/>
                      <a:pt x="331" y="249"/>
                    </a:cubicBezTo>
                    <a:cubicBezTo>
                      <a:pt x="331" y="249"/>
                      <a:pt x="331" y="249"/>
                      <a:pt x="331" y="249"/>
                    </a:cubicBezTo>
                    <a:cubicBezTo>
                      <a:pt x="331" y="249"/>
                      <a:pt x="331" y="249"/>
                      <a:pt x="332" y="249"/>
                    </a:cubicBezTo>
                    <a:cubicBezTo>
                      <a:pt x="332" y="249"/>
                      <a:pt x="332" y="248"/>
                      <a:pt x="333" y="244"/>
                    </a:cubicBezTo>
                    <a:cubicBezTo>
                      <a:pt x="333" y="243"/>
                      <a:pt x="333" y="243"/>
                      <a:pt x="333" y="243"/>
                    </a:cubicBezTo>
                    <a:cubicBezTo>
                      <a:pt x="334" y="239"/>
                      <a:pt x="334" y="239"/>
                      <a:pt x="334" y="239"/>
                    </a:cubicBezTo>
                    <a:cubicBezTo>
                      <a:pt x="336" y="234"/>
                      <a:pt x="337" y="229"/>
                      <a:pt x="338" y="224"/>
                    </a:cubicBezTo>
                    <a:cubicBezTo>
                      <a:pt x="338" y="223"/>
                      <a:pt x="338" y="223"/>
                      <a:pt x="338" y="223"/>
                    </a:cubicBezTo>
                    <a:cubicBezTo>
                      <a:pt x="339" y="221"/>
                      <a:pt x="339" y="218"/>
                      <a:pt x="340" y="216"/>
                    </a:cubicBezTo>
                    <a:cubicBezTo>
                      <a:pt x="340" y="214"/>
                      <a:pt x="340" y="214"/>
                      <a:pt x="340" y="214"/>
                    </a:cubicBezTo>
                    <a:cubicBezTo>
                      <a:pt x="339" y="210"/>
                      <a:pt x="339" y="204"/>
                      <a:pt x="339" y="203"/>
                    </a:cubicBezTo>
                    <a:cubicBezTo>
                      <a:pt x="339" y="203"/>
                      <a:pt x="339" y="202"/>
                      <a:pt x="339" y="201"/>
                    </a:cubicBezTo>
                    <a:cubicBezTo>
                      <a:pt x="338" y="198"/>
                      <a:pt x="338" y="195"/>
                      <a:pt x="338" y="193"/>
                    </a:cubicBezTo>
                    <a:cubicBezTo>
                      <a:pt x="339" y="187"/>
                      <a:pt x="342" y="181"/>
                      <a:pt x="344" y="175"/>
                    </a:cubicBezTo>
                    <a:cubicBezTo>
                      <a:pt x="344" y="175"/>
                      <a:pt x="344" y="175"/>
                      <a:pt x="344" y="175"/>
                    </a:cubicBezTo>
                    <a:cubicBezTo>
                      <a:pt x="346" y="172"/>
                      <a:pt x="347" y="170"/>
                      <a:pt x="348" y="167"/>
                    </a:cubicBezTo>
                    <a:cubicBezTo>
                      <a:pt x="350" y="161"/>
                      <a:pt x="350" y="155"/>
                      <a:pt x="351" y="148"/>
                    </a:cubicBezTo>
                    <a:cubicBezTo>
                      <a:pt x="351" y="143"/>
                      <a:pt x="351" y="143"/>
                      <a:pt x="351" y="143"/>
                    </a:cubicBezTo>
                    <a:cubicBezTo>
                      <a:pt x="354" y="143"/>
                      <a:pt x="354" y="143"/>
                      <a:pt x="354" y="143"/>
                    </a:cubicBezTo>
                    <a:cubicBezTo>
                      <a:pt x="355" y="143"/>
                      <a:pt x="356" y="143"/>
                      <a:pt x="357" y="144"/>
                    </a:cubicBezTo>
                    <a:cubicBezTo>
                      <a:pt x="358" y="144"/>
                      <a:pt x="359" y="144"/>
                      <a:pt x="361" y="144"/>
                    </a:cubicBezTo>
                    <a:cubicBezTo>
                      <a:pt x="361" y="144"/>
                      <a:pt x="362" y="144"/>
                      <a:pt x="362" y="144"/>
                    </a:cubicBezTo>
                    <a:cubicBezTo>
                      <a:pt x="363" y="143"/>
                      <a:pt x="363" y="143"/>
                      <a:pt x="363" y="143"/>
                    </a:cubicBezTo>
                    <a:cubicBezTo>
                      <a:pt x="364" y="142"/>
                      <a:pt x="364" y="142"/>
                      <a:pt x="364" y="142"/>
                    </a:cubicBezTo>
                    <a:cubicBezTo>
                      <a:pt x="364" y="142"/>
                      <a:pt x="364" y="141"/>
                      <a:pt x="365" y="140"/>
                    </a:cubicBezTo>
                    <a:cubicBezTo>
                      <a:pt x="367" y="139"/>
                      <a:pt x="369" y="137"/>
                      <a:pt x="371" y="136"/>
                    </a:cubicBezTo>
                    <a:cubicBezTo>
                      <a:pt x="371" y="136"/>
                      <a:pt x="371" y="136"/>
                      <a:pt x="371" y="136"/>
                    </a:cubicBezTo>
                    <a:cubicBezTo>
                      <a:pt x="372" y="135"/>
                      <a:pt x="373" y="135"/>
                      <a:pt x="374" y="134"/>
                    </a:cubicBezTo>
                    <a:cubicBezTo>
                      <a:pt x="374" y="134"/>
                      <a:pt x="374" y="134"/>
                      <a:pt x="374" y="134"/>
                    </a:cubicBezTo>
                    <a:cubicBezTo>
                      <a:pt x="375" y="133"/>
                      <a:pt x="376" y="133"/>
                      <a:pt x="376" y="133"/>
                    </a:cubicBezTo>
                    <a:cubicBezTo>
                      <a:pt x="378" y="132"/>
                      <a:pt x="379" y="132"/>
                      <a:pt x="380" y="132"/>
                    </a:cubicBezTo>
                    <a:cubicBezTo>
                      <a:pt x="381" y="132"/>
                      <a:pt x="381" y="132"/>
                      <a:pt x="381" y="132"/>
                    </a:cubicBezTo>
                    <a:cubicBezTo>
                      <a:pt x="378" y="127"/>
                      <a:pt x="378" y="127"/>
                      <a:pt x="378" y="127"/>
                    </a:cubicBezTo>
                    <a:cubicBezTo>
                      <a:pt x="382" y="131"/>
                      <a:pt x="382" y="131"/>
                      <a:pt x="382" y="131"/>
                    </a:cubicBezTo>
                    <a:cubicBezTo>
                      <a:pt x="383" y="130"/>
                      <a:pt x="383" y="130"/>
                      <a:pt x="383" y="130"/>
                    </a:cubicBezTo>
                    <a:cubicBezTo>
                      <a:pt x="384" y="129"/>
                      <a:pt x="386" y="127"/>
                      <a:pt x="387" y="125"/>
                    </a:cubicBezTo>
                    <a:cubicBezTo>
                      <a:pt x="387" y="125"/>
                      <a:pt x="387" y="125"/>
                      <a:pt x="387" y="125"/>
                    </a:cubicBezTo>
                    <a:cubicBezTo>
                      <a:pt x="388" y="124"/>
                      <a:pt x="388" y="123"/>
                      <a:pt x="389" y="123"/>
                    </a:cubicBezTo>
                    <a:cubicBezTo>
                      <a:pt x="389" y="122"/>
                      <a:pt x="389" y="122"/>
                      <a:pt x="389" y="122"/>
                    </a:cubicBezTo>
                    <a:cubicBezTo>
                      <a:pt x="388" y="121"/>
                      <a:pt x="387" y="121"/>
                      <a:pt x="387" y="120"/>
                    </a:cubicBezTo>
                    <a:cubicBezTo>
                      <a:pt x="380" y="116"/>
                      <a:pt x="374" y="111"/>
                      <a:pt x="368" y="106"/>
                    </a:cubicBezTo>
                    <a:cubicBezTo>
                      <a:pt x="361" y="101"/>
                      <a:pt x="360" y="88"/>
                      <a:pt x="359" y="81"/>
                    </a:cubicBezTo>
                    <a:cubicBezTo>
                      <a:pt x="359" y="75"/>
                      <a:pt x="360" y="68"/>
                      <a:pt x="359" y="62"/>
                    </a:cubicBezTo>
                    <a:cubicBezTo>
                      <a:pt x="359" y="57"/>
                      <a:pt x="358" y="51"/>
                      <a:pt x="357" y="45"/>
                    </a:cubicBezTo>
                    <a:cubicBezTo>
                      <a:pt x="358" y="47"/>
                      <a:pt x="360" y="49"/>
                      <a:pt x="361" y="50"/>
                    </a:cubicBezTo>
                    <a:cubicBezTo>
                      <a:pt x="361" y="47"/>
                      <a:pt x="357" y="44"/>
                      <a:pt x="356" y="42"/>
                    </a:cubicBezTo>
                    <a:cubicBezTo>
                      <a:pt x="354" y="40"/>
                      <a:pt x="352" y="36"/>
                      <a:pt x="351" y="33"/>
                    </a:cubicBezTo>
                    <a:cubicBezTo>
                      <a:pt x="351" y="32"/>
                      <a:pt x="352" y="26"/>
                      <a:pt x="351" y="26"/>
                    </a:cubicBezTo>
                    <a:cubicBezTo>
                      <a:pt x="351" y="26"/>
                      <a:pt x="351" y="26"/>
                      <a:pt x="351" y="26"/>
                    </a:cubicBezTo>
                    <a:cubicBezTo>
                      <a:pt x="344" y="20"/>
                      <a:pt x="338" y="15"/>
                      <a:pt x="331" y="10"/>
                    </a:cubicBezTo>
                    <a:cubicBezTo>
                      <a:pt x="329" y="8"/>
                      <a:pt x="326" y="4"/>
                      <a:pt x="3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195"/>
              <p:cNvSpPr/>
              <p:nvPr/>
            </p:nvSpPr>
            <p:spPr bwMode="auto">
              <a:xfrm>
                <a:off x="2990" y="1341"/>
                <a:ext cx="900" cy="837"/>
              </a:xfrm>
              <a:custGeom>
                <a:gdLst>
                  <a:gd name="T0" fmla="*/ 143 w 381"/>
                  <a:gd name="T1" fmla="*/ 86 h 354"/>
                  <a:gd name="T2" fmla="*/ 160 w 381"/>
                  <a:gd name="T3" fmla="*/ 219 h 354"/>
                  <a:gd name="T4" fmla="*/ 152 w 381"/>
                  <a:gd name="T5" fmla="*/ 233 h 354"/>
                  <a:gd name="T6" fmla="*/ 125 w 381"/>
                  <a:gd name="T7" fmla="*/ 233 h 354"/>
                  <a:gd name="T8" fmla="*/ 69 w 381"/>
                  <a:gd name="T9" fmla="*/ 233 h 354"/>
                  <a:gd name="T10" fmla="*/ 66 w 381"/>
                  <a:gd name="T11" fmla="*/ 234 h 354"/>
                  <a:gd name="T12" fmla="*/ 33 w 381"/>
                  <a:gd name="T13" fmla="*/ 235 h 354"/>
                  <a:gd name="T14" fmla="*/ 11 w 381"/>
                  <a:gd name="T15" fmla="*/ 231 h 354"/>
                  <a:gd name="T16" fmla="*/ 5 w 381"/>
                  <a:gd name="T17" fmla="*/ 249 h 354"/>
                  <a:gd name="T18" fmla="*/ 5 w 381"/>
                  <a:gd name="T19" fmla="*/ 270 h 354"/>
                  <a:gd name="T20" fmla="*/ 13 w 381"/>
                  <a:gd name="T21" fmla="*/ 279 h 354"/>
                  <a:gd name="T22" fmla="*/ 20 w 381"/>
                  <a:gd name="T23" fmla="*/ 300 h 354"/>
                  <a:gd name="T24" fmla="*/ 17 w 381"/>
                  <a:gd name="T25" fmla="*/ 308 h 354"/>
                  <a:gd name="T26" fmla="*/ 22 w 381"/>
                  <a:gd name="T27" fmla="*/ 309 h 354"/>
                  <a:gd name="T28" fmla="*/ 28 w 381"/>
                  <a:gd name="T29" fmla="*/ 306 h 354"/>
                  <a:gd name="T30" fmla="*/ 47 w 381"/>
                  <a:gd name="T31" fmla="*/ 307 h 354"/>
                  <a:gd name="T32" fmla="*/ 60 w 381"/>
                  <a:gd name="T33" fmla="*/ 307 h 354"/>
                  <a:gd name="T34" fmla="*/ 71 w 381"/>
                  <a:gd name="T35" fmla="*/ 301 h 354"/>
                  <a:gd name="T36" fmla="*/ 80 w 381"/>
                  <a:gd name="T37" fmla="*/ 317 h 354"/>
                  <a:gd name="T38" fmla="*/ 90 w 381"/>
                  <a:gd name="T39" fmla="*/ 329 h 354"/>
                  <a:gd name="T40" fmla="*/ 90 w 381"/>
                  <a:gd name="T41" fmla="*/ 330 h 354"/>
                  <a:gd name="T42" fmla="*/ 88 w 381"/>
                  <a:gd name="T43" fmla="*/ 334 h 354"/>
                  <a:gd name="T44" fmla="*/ 92 w 381"/>
                  <a:gd name="T45" fmla="*/ 337 h 354"/>
                  <a:gd name="T46" fmla="*/ 94 w 381"/>
                  <a:gd name="T47" fmla="*/ 350 h 354"/>
                  <a:gd name="T48" fmla="*/ 99 w 381"/>
                  <a:gd name="T49" fmla="*/ 352 h 354"/>
                  <a:gd name="T50" fmla="*/ 114 w 381"/>
                  <a:gd name="T51" fmla="*/ 353 h 354"/>
                  <a:gd name="T52" fmla="*/ 122 w 381"/>
                  <a:gd name="T53" fmla="*/ 350 h 354"/>
                  <a:gd name="T54" fmla="*/ 126 w 381"/>
                  <a:gd name="T55" fmla="*/ 344 h 354"/>
                  <a:gd name="T56" fmla="*/ 138 w 381"/>
                  <a:gd name="T57" fmla="*/ 339 h 354"/>
                  <a:gd name="T58" fmla="*/ 142 w 381"/>
                  <a:gd name="T59" fmla="*/ 354 h 354"/>
                  <a:gd name="T60" fmla="*/ 149 w 381"/>
                  <a:gd name="T61" fmla="*/ 349 h 354"/>
                  <a:gd name="T62" fmla="*/ 153 w 381"/>
                  <a:gd name="T63" fmla="*/ 344 h 354"/>
                  <a:gd name="T64" fmla="*/ 157 w 381"/>
                  <a:gd name="T65" fmla="*/ 322 h 354"/>
                  <a:gd name="T66" fmla="*/ 170 w 381"/>
                  <a:gd name="T67" fmla="*/ 311 h 354"/>
                  <a:gd name="T68" fmla="*/ 176 w 381"/>
                  <a:gd name="T69" fmla="*/ 297 h 354"/>
                  <a:gd name="T70" fmla="*/ 181 w 381"/>
                  <a:gd name="T71" fmla="*/ 291 h 354"/>
                  <a:gd name="T72" fmla="*/ 193 w 381"/>
                  <a:gd name="T73" fmla="*/ 276 h 354"/>
                  <a:gd name="T74" fmla="*/ 203 w 381"/>
                  <a:gd name="T75" fmla="*/ 282 h 354"/>
                  <a:gd name="T76" fmla="*/ 205 w 381"/>
                  <a:gd name="T77" fmla="*/ 267 h 354"/>
                  <a:gd name="T78" fmla="*/ 214 w 381"/>
                  <a:gd name="T79" fmla="*/ 269 h 354"/>
                  <a:gd name="T80" fmla="*/ 234 w 381"/>
                  <a:gd name="T81" fmla="*/ 259 h 354"/>
                  <a:gd name="T82" fmla="*/ 250 w 381"/>
                  <a:gd name="T83" fmla="*/ 248 h 354"/>
                  <a:gd name="T84" fmla="*/ 269 w 381"/>
                  <a:gd name="T85" fmla="*/ 237 h 354"/>
                  <a:gd name="T86" fmla="*/ 285 w 381"/>
                  <a:gd name="T87" fmla="*/ 239 h 354"/>
                  <a:gd name="T88" fmla="*/ 290 w 381"/>
                  <a:gd name="T89" fmla="*/ 240 h 354"/>
                  <a:gd name="T90" fmla="*/ 295 w 381"/>
                  <a:gd name="T91" fmla="*/ 239 h 354"/>
                  <a:gd name="T92" fmla="*/ 349 w 381"/>
                  <a:gd name="T93" fmla="*/ 231 h 354"/>
                  <a:gd name="T94" fmla="*/ 362 w 381"/>
                  <a:gd name="T95" fmla="*/ 230 h 354"/>
                  <a:gd name="T96" fmla="*/ 372 w 381"/>
                  <a:gd name="T97" fmla="*/ 224 h 354"/>
                  <a:gd name="T98" fmla="*/ 381 w 381"/>
                  <a:gd name="T99" fmla="*/ 176 h 354"/>
                  <a:gd name="T100" fmla="*/ 357 w 381"/>
                  <a:gd name="T101" fmla="*/ 145 h 354"/>
                  <a:gd name="T102" fmla="*/ 358 w 381"/>
                  <a:gd name="T103" fmla="*/ 135 h 354"/>
                  <a:gd name="T104" fmla="*/ 357 w 381"/>
                  <a:gd name="T105" fmla="*/ 128 h 354"/>
                  <a:gd name="T106" fmla="*/ 352 w 381"/>
                  <a:gd name="T107" fmla="*/ 125 h 354"/>
                  <a:gd name="T108" fmla="*/ 336 w 381"/>
                  <a:gd name="T109" fmla="*/ 117 h 354"/>
                  <a:gd name="T110" fmla="*/ 321 w 381"/>
                  <a:gd name="T111" fmla="*/ 112 h 354"/>
                  <a:gd name="T112" fmla="*/ 309 w 381"/>
                  <a:gd name="T113" fmla="*/ 104 h 354"/>
                  <a:gd name="T114" fmla="*/ 286 w 381"/>
                  <a:gd name="T115" fmla="*/ 80 h 354"/>
                  <a:gd name="T116" fmla="*/ 181 w 381"/>
                  <a:gd name="T117" fmla="*/ 8 h 3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1" h="354">
                    <a:moveTo>
                      <a:pt x="169" y="0"/>
                    </a:moveTo>
                    <a:cubicBezTo>
                      <a:pt x="133" y="0"/>
                      <a:pt x="133" y="0"/>
                      <a:pt x="133" y="0"/>
                    </a:cubicBezTo>
                    <a:cubicBezTo>
                      <a:pt x="135" y="18"/>
                      <a:pt x="135" y="18"/>
                      <a:pt x="135" y="18"/>
                    </a:cubicBezTo>
                    <a:cubicBezTo>
                      <a:pt x="135" y="20"/>
                      <a:pt x="135" y="21"/>
                      <a:pt x="135" y="22"/>
                    </a:cubicBezTo>
                    <a:cubicBezTo>
                      <a:pt x="136" y="30"/>
                      <a:pt x="136" y="30"/>
                      <a:pt x="136" y="30"/>
                    </a:cubicBezTo>
                    <a:cubicBezTo>
                      <a:pt x="138" y="49"/>
                      <a:pt x="141" y="67"/>
                      <a:pt x="143" y="86"/>
                    </a:cubicBezTo>
                    <a:cubicBezTo>
                      <a:pt x="146" y="108"/>
                      <a:pt x="148" y="130"/>
                      <a:pt x="151" y="152"/>
                    </a:cubicBezTo>
                    <a:cubicBezTo>
                      <a:pt x="158" y="205"/>
                      <a:pt x="158" y="205"/>
                      <a:pt x="158" y="205"/>
                    </a:cubicBezTo>
                    <a:cubicBezTo>
                      <a:pt x="158" y="206"/>
                      <a:pt x="158" y="206"/>
                      <a:pt x="158" y="206"/>
                    </a:cubicBezTo>
                    <a:cubicBezTo>
                      <a:pt x="159" y="206"/>
                      <a:pt x="159" y="206"/>
                      <a:pt x="159" y="206"/>
                    </a:cubicBezTo>
                    <a:cubicBezTo>
                      <a:pt x="162" y="209"/>
                      <a:pt x="161" y="213"/>
                      <a:pt x="161" y="215"/>
                    </a:cubicBezTo>
                    <a:cubicBezTo>
                      <a:pt x="160" y="219"/>
                      <a:pt x="160" y="219"/>
                      <a:pt x="160" y="219"/>
                    </a:cubicBezTo>
                    <a:cubicBezTo>
                      <a:pt x="160" y="219"/>
                      <a:pt x="160" y="220"/>
                      <a:pt x="160" y="221"/>
                    </a:cubicBezTo>
                    <a:cubicBezTo>
                      <a:pt x="160" y="222"/>
                      <a:pt x="160" y="222"/>
                      <a:pt x="160" y="222"/>
                    </a:cubicBezTo>
                    <a:cubicBezTo>
                      <a:pt x="159" y="228"/>
                      <a:pt x="159" y="231"/>
                      <a:pt x="157" y="232"/>
                    </a:cubicBezTo>
                    <a:cubicBezTo>
                      <a:pt x="156" y="233"/>
                      <a:pt x="156" y="233"/>
                      <a:pt x="155" y="233"/>
                    </a:cubicBezTo>
                    <a:cubicBezTo>
                      <a:pt x="154" y="233"/>
                      <a:pt x="154" y="233"/>
                      <a:pt x="154" y="233"/>
                    </a:cubicBezTo>
                    <a:cubicBezTo>
                      <a:pt x="154" y="233"/>
                      <a:pt x="153" y="233"/>
                      <a:pt x="152" y="233"/>
                    </a:cubicBezTo>
                    <a:cubicBezTo>
                      <a:pt x="151" y="233"/>
                      <a:pt x="151" y="233"/>
                      <a:pt x="151" y="233"/>
                    </a:cubicBezTo>
                    <a:cubicBezTo>
                      <a:pt x="150" y="233"/>
                      <a:pt x="150" y="233"/>
                      <a:pt x="150" y="233"/>
                    </a:cubicBezTo>
                    <a:cubicBezTo>
                      <a:pt x="149" y="233"/>
                      <a:pt x="148" y="233"/>
                      <a:pt x="147" y="233"/>
                    </a:cubicBezTo>
                    <a:cubicBezTo>
                      <a:pt x="146" y="233"/>
                      <a:pt x="146" y="233"/>
                      <a:pt x="145" y="233"/>
                    </a:cubicBezTo>
                    <a:cubicBezTo>
                      <a:pt x="145" y="233"/>
                      <a:pt x="145" y="233"/>
                      <a:pt x="145" y="233"/>
                    </a:cubicBezTo>
                    <a:cubicBezTo>
                      <a:pt x="138" y="233"/>
                      <a:pt x="132" y="233"/>
                      <a:pt x="125" y="233"/>
                    </a:cubicBezTo>
                    <a:cubicBezTo>
                      <a:pt x="120" y="233"/>
                      <a:pt x="115" y="233"/>
                      <a:pt x="110" y="233"/>
                    </a:cubicBezTo>
                    <a:cubicBezTo>
                      <a:pt x="76" y="233"/>
                      <a:pt x="76" y="233"/>
                      <a:pt x="76" y="233"/>
                    </a:cubicBezTo>
                    <a:cubicBezTo>
                      <a:pt x="76" y="233"/>
                      <a:pt x="75" y="233"/>
                      <a:pt x="74" y="233"/>
                    </a:cubicBezTo>
                    <a:cubicBezTo>
                      <a:pt x="74" y="233"/>
                      <a:pt x="74" y="233"/>
                      <a:pt x="74" y="233"/>
                    </a:cubicBezTo>
                    <a:cubicBezTo>
                      <a:pt x="73" y="233"/>
                      <a:pt x="73" y="233"/>
                      <a:pt x="72" y="233"/>
                    </a:cubicBezTo>
                    <a:cubicBezTo>
                      <a:pt x="71" y="233"/>
                      <a:pt x="70" y="233"/>
                      <a:pt x="69" y="233"/>
                    </a:cubicBezTo>
                    <a:cubicBezTo>
                      <a:pt x="69" y="233"/>
                      <a:pt x="69" y="233"/>
                      <a:pt x="69" y="233"/>
                    </a:cubicBezTo>
                    <a:cubicBezTo>
                      <a:pt x="68" y="233"/>
                      <a:pt x="67" y="232"/>
                      <a:pt x="67" y="232"/>
                    </a:cubicBezTo>
                    <a:cubicBezTo>
                      <a:pt x="67" y="232"/>
                      <a:pt x="67" y="232"/>
                      <a:pt x="67" y="232"/>
                    </a:cubicBezTo>
                    <a:cubicBezTo>
                      <a:pt x="66" y="232"/>
                      <a:pt x="66" y="232"/>
                      <a:pt x="66" y="232"/>
                    </a:cubicBezTo>
                    <a:cubicBezTo>
                      <a:pt x="66" y="232"/>
                      <a:pt x="66" y="232"/>
                      <a:pt x="66" y="232"/>
                    </a:cubicBezTo>
                    <a:cubicBezTo>
                      <a:pt x="66" y="234"/>
                      <a:pt x="66" y="234"/>
                      <a:pt x="66" y="234"/>
                    </a:cubicBezTo>
                    <a:cubicBezTo>
                      <a:pt x="39" y="234"/>
                      <a:pt x="39" y="234"/>
                      <a:pt x="39" y="234"/>
                    </a:cubicBezTo>
                    <a:cubicBezTo>
                      <a:pt x="38" y="234"/>
                      <a:pt x="38" y="234"/>
                      <a:pt x="37" y="234"/>
                    </a:cubicBezTo>
                    <a:cubicBezTo>
                      <a:pt x="37" y="234"/>
                      <a:pt x="37" y="234"/>
                      <a:pt x="37" y="234"/>
                    </a:cubicBezTo>
                    <a:cubicBezTo>
                      <a:pt x="36" y="234"/>
                      <a:pt x="35" y="234"/>
                      <a:pt x="35" y="234"/>
                    </a:cubicBezTo>
                    <a:cubicBezTo>
                      <a:pt x="34" y="234"/>
                      <a:pt x="34" y="234"/>
                      <a:pt x="34" y="234"/>
                    </a:cubicBezTo>
                    <a:cubicBezTo>
                      <a:pt x="33" y="235"/>
                      <a:pt x="33" y="235"/>
                      <a:pt x="33" y="235"/>
                    </a:cubicBezTo>
                    <a:cubicBezTo>
                      <a:pt x="32" y="237"/>
                      <a:pt x="31" y="239"/>
                      <a:pt x="30" y="241"/>
                    </a:cubicBezTo>
                    <a:cubicBezTo>
                      <a:pt x="28" y="244"/>
                      <a:pt x="28" y="244"/>
                      <a:pt x="28" y="244"/>
                    </a:cubicBezTo>
                    <a:cubicBezTo>
                      <a:pt x="25" y="241"/>
                      <a:pt x="25" y="241"/>
                      <a:pt x="25" y="241"/>
                    </a:cubicBezTo>
                    <a:cubicBezTo>
                      <a:pt x="22" y="237"/>
                      <a:pt x="18" y="233"/>
                      <a:pt x="14" y="230"/>
                    </a:cubicBezTo>
                    <a:cubicBezTo>
                      <a:pt x="13" y="230"/>
                      <a:pt x="13" y="230"/>
                      <a:pt x="13" y="230"/>
                    </a:cubicBezTo>
                    <a:cubicBezTo>
                      <a:pt x="13" y="230"/>
                      <a:pt x="12" y="230"/>
                      <a:pt x="11" y="231"/>
                    </a:cubicBezTo>
                    <a:cubicBezTo>
                      <a:pt x="11" y="231"/>
                      <a:pt x="11" y="231"/>
                      <a:pt x="11" y="231"/>
                    </a:cubicBezTo>
                    <a:cubicBezTo>
                      <a:pt x="11" y="232"/>
                      <a:pt x="11" y="233"/>
                      <a:pt x="11" y="234"/>
                    </a:cubicBezTo>
                    <a:cubicBezTo>
                      <a:pt x="11" y="237"/>
                      <a:pt x="10" y="240"/>
                      <a:pt x="10" y="242"/>
                    </a:cubicBezTo>
                    <a:cubicBezTo>
                      <a:pt x="9" y="243"/>
                      <a:pt x="9" y="244"/>
                      <a:pt x="9" y="245"/>
                    </a:cubicBezTo>
                    <a:cubicBezTo>
                      <a:pt x="9" y="245"/>
                      <a:pt x="8" y="246"/>
                      <a:pt x="8" y="246"/>
                    </a:cubicBezTo>
                    <a:cubicBezTo>
                      <a:pt x="7" y="247"/>
                      <a:pt x="6" y="248"/>
                      <a:pt x="5" y="249"/>
                    </a:cubicBezTo>
                    <a:cubicBezTo>
                      <a:pt x="4" y="250"/>
                      <a:pt x="4" y="250"/>
                      <a:pt x="4" y="250"/>
                    </a:cubicBezTo>
                    <a:cubicBezTo>
                      <a:pt x="3" y="250"/>
                      <a:pt x="3" y="250"/>
                      <a:pt x="3" y="250"/>
                    </a:cubicBezTo>
                    <a:cubicBezTo>
                      <a:pt x="0" y="251"/>
                      <a:pt x="0" y="251"/>
                      <a:pt x="0" y="251"/>
                    </a:cubicBezTo>
                    <a:cubicBezTo>
                      <a:pt x="4" y="269"/>
                      <a:pt x="4" y="269"/>
                      <a:pt x="4" y="269"/>
                    </a:cubicBezTo>
                    <a:cubicBezTo>
                      <a:pt x="10" y="267"/>
                      <a:pt x="10" y="267"/>
                      <a:pt x="10" y="267"/>
                    </a:cubicBezTo>
                    <a:cubicBezTo>
                      <a:pt x="5" y="270"/>
                      <a:pt x="5" y="270"/>
                      <a:pt x="5" y="270"/>
                    </a:cubicBezTo>
                    <a:cubicBezTo>
                      <a:pt x="5" y="270"/>
                      <a:pt x="5" y="270"/>
                      <a:pt x="5" y="270"/>
                    </a:cubicBezTo>
                    <a:cubicBezTo>
                      <a:pt x="5" y="271"/>
                      <a:pt x="5" y="272"/>
                      <a:pt x="4" y="273"/>
                    </a:cubicBezTo>
                    <a:cubicBezTo>
                      <a:pt x="5" y="275"/>
                      <a:pt x="6" y="276"/>
                      <a:pt x="8" y="277"/>
                    </a:cubicBezTo>
                    <a:cubicBezTo>
                      <a:pt x="8" y="277"/>
                      <a:pt x="8" y="277"/>
                      <a:pt x="9" y="277"/>
                    </a:cubicBezTo>
                    <a:cubicBezTo>
                      <a:pt x="9" y="277"/>
                      <a:pt x="10" y="277"/>
                      <a:pt x="10" y="277"/>
                    </a:cubicBezTo>
                    <a:cubicBezTo>
                      <a:pt x="11" y="278"/>
                      <a:pt x="12" y="278"/>
                      <a:pt x="13" y="279"/>
                    </a:cubicBezTo>
                    <a:cubicBezTo>
                      <a:pt x="16" y="282"/>
                      <a:pt x="18" y="286"/>
                      <a:pt x="19" y="291"/>
                    </a:cubicBezTo>
                    <a:cubicBezTo>
                      <a:pt x="19" y="292"/>
                      <a:pt x="19" y="293"/>
                      <a:pt x="19" y="294"/>
                    </a:cubicBezTo>
                    <a:cubicBezTo>
                      <a:pt x="20" y="295"/>
                      <a:pt x="20" y="295"/>
                      <a:pt x="20" y="295"/>
                    </a:cubicBezTo>
                    <a:cubicBezTo>
                      <a:pt x="20" y="295"/>
                      <a:pt x="20" y="296"/>
                      <a:pt x="20" y="297"/>
                    </a:cubicBezTo>
                    <a:cubicBezTo>
                      <a:pt x="20" y="298"/>
                      <a:pt x="20" y="298"/>
                      <a:pt x="20" y="298"/>
                    </a:cubicBezTo>
                    <a:cubicBezTo>
                      <a:pt x="20" y="299"/>
                      <a:pt x="20" y="299"/>
                      <a:pt x="20" y="300"/>
                    </a:cubicBezTo>
                    <a:cubicBezTo>
                      <a:pt x="20" y="301"/>
                      <a:pt x="20" y="301"/>
                      <a:pt x="20" y="301"/>
                    </a:cubicBezTo>
                    <a:cubicBezTo>
                      <a:pt x="21" y="301"/>
                      <a:pt x="21" y="301"/>
                      <a:pt x="21" y="301"/>
                    </a:cubicBezTo>
                    <a:cubicBezTo>
                      <a:pt x="21" y="301"/>
                      <a:pt x="21" y="301"/>
                      <a:pt x="21" y="301"/>
                    </a:cubicBezTo>
                    <a:cubicBezTo>
                      <a:pt x="21" y="301"/>
                      <a:pt x="21" y="301"/>
                      <a:pt x="21" y="301"/>
                    </a:cubicBezTo>
                    <a:cubicBezTo>
                      <a:pt x="18" y="307"/>
                      <a:pt x="18" y="307"/>
                      <a:pt x="18" y="307"/>
                    </a:cubicBezTo>
                    <a:cubicBezTo>
                      <a:pt x="18" y="307"/>
                      <a:pt x="18" y="308"/>
                      <a:pt x="17" y="308"/>
                    </a:cubicBezTo>
                    <a:cubicBezTo>
                      <a:pt x="17" y="308"/>
                      <a:pt x="17" y="308"/>
                      <a:pt x="17" y="308"/>
                    </a:cubicBezTo>
                    <a:cubicBezTo>
                      <a:pt x="19" y="310"/>
                      <a:pt x="19" y="310"/>
                      <a:pt x="19" y="310"/>
                    </a:cubicBezTo>
                    <a:cubicBezTo>
                      <a:pt x="19" y="310"/>
                      <a:pt x="19" y="310"/>
                      <a:pt x="19" y="310"/>
                    </a:cubicBezTo>
                    <a:cubicBezTo>
                      <a:pt x="20" y="310"/>
                      <a:pt x="20" y="310"/>
                      <a:pt x="20" y="310"/>
                    </a:cubicBezTo>
                    <a:cubicBezTo>
                      <a:pt x="20" y="310"/>
                      <a:pt x="21" y="310"/>
                      <a:pt x="21" y="309"/>
                    </a:cubicBezTo>
                    <a:cubicBezTo>
                      <a:pt x="22" y="309"/>
                      <a:pt x="22" y="309"/>
                      <a:pt x="22" y="309"/>
                    </a:cubicBezTo>
                    <a:cubicBezTo>
                      <a:pt x="24" y="307"/>
                      <a:pt x="25" y="306"/>
                      <a:pt x="26" y="306"/>
                    </a:cubicBezTo>
                    <a:cubicBezTo>
                      <a:pt x="27" y="306"/>
                      <a:pt x="27" y="306"/>
                      <a:pt x="27" y="306"/>
                    </a:cubicBezTo>
                    <a:cubicBezTo>
                      <a:pt x="28" y="306"/>
                      <a:pt x="28" y="306"/>
                      <a:pt x="28" y="306"/>
                    </a:cubicBezTo>
                    <a:cubicBezTo>
                      <a:pt x="28" y="306"/>
                      <a:pt x="28" y="306"/>
                      <a:pt x="28" y="306"/>
                    </a:cubicBezTo>
                    <a:cubicBezTo>
                      <a:pt x="28" y="306"/>
                      <a:pt x="28" y="306"/>
                      <a:pt x="28" y="306"/>
                    </a:cubicBezTo>
                    <a:cubicBezTo>
                      <a:pt x="28" y="306"/>
                      <a:pt x="28" y="306"/>
                      <a:pt x="28" y="306"/>
                    </a:cubicBezTo>
                    <a:cubicBezTo>
                      <a:pt x="29" y="306"/>
                      <a:pt x="30" y="307"/>
                      <a:pt x="32" y="308"/>
                    </a:cubicBezTo>
                    <a:cubicBezTo>
                      <a:pt x="32" y="309"/>
                      <a:pt x="33" y="310"/>
                      <a:pt x="34" y="311"/>
                    </a:cubicBezTo>
                    <a:cubicBezTo>
                      <a:pt x="34" y="311"/>
                      <a:pt x="34" y="311"/>
                      <a:pt x="34" y="311"/>
                    </a:cubicBezTo>
                    <a:cubicBezTo>
                      <a:pt x="37" y="309"/>
                      <a:pt x="44" y="307"/>
                      <a:pt x="47" y="307"/>
                    </a:cubicBezTo>
                    <a:cubicBezTo>
                      <a:pt x="47" y="307"/>
                      <a:pt x="47" y="307"/>
                      <a:pt x="47" y="307"/>
                    </a:cubicBezTo>
                    <a:cubicBezTo>
                      <a:pt x="47" y="307"/>
                      <a:pt x="47" y="307"/>
                      <a:pt x="47" y="307"/>
                    </a:cubicBezTo>
                    <a:cubicBezTo>
                      <a:pt x="48" y="307"/>
                      <a:pt x="48" y="307"/>
                      <a:pt x="48" y="307"/>
                    </a:cubicBezTo>
                    <a:cubicBezTo>
                      <a:pt x="49" y="307"/>
                      <a:pt x="51" y="308"/>
                      <a:pt x="53" y="309"/>
                    </a:cubicBezTo>
                    <a:cubicBezTo>
                      <a:pt x="53" y="309"/>
                      <a:pt x="54" y="309"/>
                      <a:pt x="54" y="310"/>
                    </a:cubicBezTo>
                    <a:cubicBezTo>
                      <a:pt x="54" y="310"/>
                      <a:pt x="54" y="310"/>
                      <a:pt x="54" y="310"/>
                    </a:cubicBezTo>
                    <a:cubicBezTo>
                      <a:pt x="54" y="309"/>
                      <a:pt x="55" y="309"/>
                      <a:pt x="55" y="308"/>
                    </a:cubicBezTo>
                    <a:cubicBezTo>
                      <a:pt x="56" y="308"/>
                      <a:pt x="58" y="307"/>
                      <a:pt x="60" y="307"/>
                    </a:cubicBezTo>
                    <a:cubicBezTo>
                      <a:pt x="60" y="306"/>
                      <a:pt x="62" y="306"/>
                      <a:pt x="63" y="306"/>
                    </a:cubicBezTo>
                    <a:cubicBezTo>
                      <a:pt x="63" y="306"/>
                      <a:pt x="63" y="305"/>
                      <a:pt x="62" y="305"/>
                    </a:cubicBezTo>
                    <a:cubicBezTo>
                      <a:pt x="62" y="304"/>
                      <a:pt x="62" y="303"/>
                      <a:pt x="62" y="301"/>
                    </a:cubicBezTo>
                    <a:cubicBezTo>
                      <a:pt x="63" y="299"/>
                      <a:pt x="63" y="299"/>
                      <a:pt x="63" y="299"/>
                    </a:cubicBezTo>
                    <a:cubicBezTo>
                      <a:pt x="65" y="299"/>
                      <a:pt x="65" y="299"/>
                      <a:pt x="65" y="299"/>
                    </a:cubicBezTo>
                    <a:cubicBezTo>
                      <a:pt x="68" y="299"/>
                      <a:pt x="69" y="300"/>
                      <a:pt x="71" y="301"/>
                    </a:cubicBezTo>
                    <a:cubicBezTo>
                      <a:pt x="75" y="303"/>
                      <a:pt x="77" y="307"/>
                      <a:pt x="78" y="310"/>
                    </a:cubicBezTo>
                    <a:cubicBezTo>
                      <a:pt x="79" y="311"/>
                      <a:pt x="79" y="311"/>
                      <a:pt x="79" y="311"/>
                    </a:cubicBezTo>
                    <a:cubicBezTo>
                      <a:pt x="79" y="311"/>
                      <a:pt x="79" y="312"/>
                      <a:pt x="79" y="312"/>
                    </a:cubicBezTo>
                    <a:cubicBezTo>
                      <a:pt x="80" y="313"/>
                      <a:pt x="80" y="313"/>
                      <a:pt x="80" y="313"/>
                    </a:cubicBezTo>
                    <a:cubicBezTo>
                      <a:pt x="80" y="314"/>
                      <a:pt x="80" y="315"/>
                      <a:pt x="80" y="316"/>
                    </a:cubicBezTo>
                    <a:cubicBezTo>
                      <a:pt x="80" y="316"/>
                      <a:pt x="80" y="316"/>
                      <a:pt x="80" y="317"/>
                    </a:cubicBezTo>
                    <a:cubicBezTo>
                      <a:pt x="80" y="317"/>
                      <a:pt x="80" y="318"/>
                      <a:pt x="80" y="318"/>
                    </a:cubicBezTo>
                    <a:cubicBezTo>
                      <a:pt x="80" y="318"/>
                      <a:pt x="80" y="318"/>
                      <a:pt x="80" y="318"/>
                    </a:cubicBezTo>
                    <a:cubicBezTo>
                      <a:pt x="80" y="319"/>
                      <a:pt x="80" y="319"/>
                      <a:pt x="80" y="319"/>
                    </a:cubicBezTo>
                    <a:cubicBezTo>
                      <a:pt x="80" y="319"/>
                      <a:pt x="81" y="319"/>
                      <a:pt x="81" y="320"/>
                    </a:cubicBezTo>
                    <a:cubicBezTo>
                      <a:pt x="82" y="320"/>
                      <a:pt x="82" y="320"/>
                      <a:pt x="82" y="320"/>
                    </a:cubicBezTo>
                    <a:cubicBezTo>
                      <a:pt x="82" y="320"/>
                      <a:pt x="88" y="325"/>
                      <a:pt x="90" y="329"/>
                    </a:cubicBezTo>
                    <a:cubicBezTo>
                      <a:pt x="90" y="328"/>
                      <a:pt x="90" y="328"/>
                      <a:pt x="90" y="328"/>
                    </a:cubicBezTo>
                    <a:cubicBezTo>
                      <a:pt x="90" y="329"/>
                      <a:pt x="90" y="329"/>
                      <a:pt x="90" y="329"/>
                    </a:cubicBezTo>
                    <a:cubicBezTo>
                      <a:pt x="90" y="329"/>
                      <a:pt x="90" y="329"/>
                      <a:pt x="90" y="329"/>
                    </a:cubicBezTo>
                    <a:cubicBezTo>
                      <a:pt x="89" y="330"/>
                      <a:pt x="89" y="330"/>
                      <a:pt x="89" y="330"/>
                    </a:cubicBezTo>
                    <a:cubicBezTo>
                      <a:pt x="90" y="330"/>
                      <a:pt x="90" y="330"/>
                      <a:pt x="90" y="330"/>
                    </a:cubicBezTo>
                    <a:cubicBezTo>
                      <a:pt x="90" y="330"/>
                      <a:pt x="90" y="330"/>
                      <a:pt x="90" y="330"/>
                    </a:cubicBezTo>
                    <a:cubicBezTo>
                      <a:pt x="90" y="331"/>
                      <a:pt x="90" y="331"/>
                      <a:pt x="90" y="331"/>
                    </a:cubicBezTo>
                    <a:cubicBezTo>
                      <a:pt x="90" y="331"/>
                      <a:pt x="90" y="331"/>
                      <a:pt x="90" y="331"/>
                    </a:cubicBezTo>
                    <a:cubicBezTo>
                      <a:pt x="90" y="332"/>
                      <a:pt x="90" y="332"/>
                      <a:pt x="90" y="332"/>
                    </a:cubicBezTo>
                    <a:cubicBezTo>
                      <a:pt x="89" y="334"/>
                      <a:pt x="89" y="334"/>
                      <a:pt x="89" y="334"/>
                    </a:cubicBezTo>
                    <a:cubicBezTo>
                      <a:pt x="88" y="334"/>
                      <a:pt x="88" y="334"/>
                      <a:pt x="88" y="334"/>
                    </a:cubicBezTo>
                    <a:cubicBezTo>
                      <a:pt x="88" y="334"/>
                      <a:pt x="88" y="334"/>
                      <a:pt x="88" y="334"/>
                    </a:cubicBezTo>
                    <a:cubicBezTo>
                      <a:pt x="88" y="334"/>
                      <a:pt x="88" y="334"/>
                      <a:pt x="88" y="334"/>
                    </a:cubicBezTo>
                    <a:cubicBezTo>
                      <a:pt x="88" y="334"/>
                      <a:pt x="88" y="334"/>
                      <a:pt x="88" y="334"/>
                    </a:cubicBezTo>
                    <a:cubicBezTo>
                      <a:pt x="89" y="334"/>
                      <a:pt x="89" y="334"/>
                      <a:pt x="89" y="334"/>
                    </a:cubicBezTo>
                    <a:cubicBezTo>
                      <a:pt x="90" y="335"/>
                      <a:pt x="90" y="335"/>
                      <a:pt x="90" y="335"/>
                    </a:cubicBezTo>
                    <a:cubicBezTo>
                      <a:pt x="91" y="336"/>
                      <a:pt x="91" y="336"/>
                      <a:pt x="91" y="336"/>
                    </a:cubicBezTo>
                    <a:cubicBezTo>
                      <a:pt x="91" y="336"/>
                      <a:pt x="92" y="337"/>
                      <a:pt x="92" y="337"/>
                    </a:cubicBezTo>
                    <a:cubicBezTo>
                      <a:pt x="92" y="337"/>
                      <a:pt x="92" y="337"/>
                      <a:pt x="92" y="337"/>
                    </a:cubicBezTo>
                    <a:cubicBezTo>
                      <a:pt x="93" y="340"/>
                      <a:pt x="93" y="342"/>
                      <a:pt x="93" y="345"/>
                    </a:cubicBezTo>
                    <a:cubicBezTo>
                      <a:pt x="93" y="346"/>
                      <a:pt x="93" y="347"/>
                      <a:pt x="93" y="348"/>
                    </a:cubicBezTo>
                    <a:cubicBezTo>
                      <a:pt x="93" y="348"/>
                      <a:pt x="93" y="348"/>
                      <a:pt x="93" y="348"/>
                    </a:cubicBezTo>
                    <a:cubicBezTo>
                      <a:pt x="93" y="349"/>
                      <a:pt x="93" y="349"/>
                      <a:pt x="93" y="349"/>
                    </a:cubicBezTo>
                    <a:cubicBezTo>
                      <a:pt x="93" y="349"/>
                      <a:pt x="93" y="350"/>
                      <a:pt x="94" y="350"/>
                    </a:cubicBezTo>
                    <a:cubicBezTo>
                      <a:pt x="94" y="351"/>
                      <a:pt x="95" y="351"/>
                      <a:pt x="95" y="351"/>
                    </a:cubicBezTo>
                    <a:cubicBezTo>
                      <a:pt x="96" y="352"/>
                      <a:pt x="96" y="352"/>
                      <a:pt x="96" y="352"/>
                    </a:cubicBezTo>
                    <a:cubicBezTo>
                      <a:pt x="96" y="352"/>
                      <a:pt x="96" y="353"/>
                      <a:pt x="97" y="353"/>
                    </a:cubicBezTo>
                    <a:cubicBezTo>
                      <a:pt x="97" y="353"/>
                      <a:pt x="97" y="353"/>
                      <a:pt x="97" y="353"/>
                    </a:cubicBezTo>
                    <a:cubicBezTo>
                      <a:pt x="98" y="354"/>
                      <a:pt x="98" y="354"/>
                      <a:pt x="98" y="354"/>
                    </a:cubicBezTo>
                    <a:cubicBezTo>
                      <a:pt x="98" y="353"/>
                      <a:pt x="99" y="353"/>
                      <a:pt x="99" y="352"/>
                    </a:cubicBezTo>
                    <a:cubicBezTo>
                      <a:pt x="99" y="352"/>
                      <a:pt x="100" y="350"/>
                      <a:pt x="101" y="350"/>
                    </a:cubicBezTo>
                    <a:cubicBezTo>
                      <a:pt x="102" y="349"/>
                      <a:pt x="103" y="349"/>
                      <a:pt x="105" y="348"/>
                    </a:cubicBezTo>
                    <a:cubicBezTo>
                      <a:pt x="106" y="348"/>
                      <a:pt x="106" y="348"/>
                      <a:pt x="106" y="348"/>
                    </a:cubicBezTo>
                    <a:cubicBezTo>
                      <a:pt x="108" y="349"/>
                      <a:pt x="110" y="350"/>
                      <a:pt x="112" y="351"/>
                    </a:cubicBezTo>
                    <a:cubicBezTo>
                      <a:pt x="113" y="352"/>
                      <a:pt x="113" y="352"/>
                      <a:pt x="113" y="352"/>
                    </a:cubicBezTo>
                    <a:cubicBezTo>
                      <a:pt x="114" y="353"/>
                      <a:pt x="114" y="353"/>
                      <a:pt x="114" y="353"/>
                    </a:cubicBezTo>
                    <a:cubicBezTo>
                      <a:pt x="114" y="353"/>
                      <a:pt x="114" y="353"/>
                      <a:pt x="114" y="353"/>
                    </a:cubicBezTo>
                    <a:cubicBezTo>
                      <a:pt x="115" y="353"/>
                      <a:pt x="116" y="353"/>
                      <a:pt x="117" y="353"/>
                    </a:cubicBezTo>
                    <a:cubicBezTo>
                      <a:pt x="118" y="353"/>
                      <a:pt x="118" y="352"/>
                      <a:pt x="118" y="352"/>
                    </a:cubicBezTo>
                    <a:cubicBezTo>
                      <a:pt x="119" y="351"/>
                      <a:pt x="119" y="351"/>
                      <a:pt x="120" y="351"/>
                    </a:cubicBezTo>
                    <a:cubicBezTo>
                      <a:pt x="121" y="350"/>
                      <a:pt x="121" y="350"/>
                      <a:pt x="121" y="350"/>
                    </a:cubicBezTo>
                    <a:cubicBezTo>
                      <a:pt x="121" y="350"/>
                      <a:pt x="121" y="350"/>
                      <a:pt x="122" y="350"/>
                    </a:cubicBezTo>
                    <a:cubicBezTo>
                      <a:pt x="122" y="350"/>
                      <a:pt x="122" y="350"/>
                      <a:pt x="122" y="350"/>
                    </a:cubicBezTo>
                    <a:cubicBezTo>
                      <a:pt x="123" y="350"/>
                      <a:pt x="123" y="350"/>
                      <a:pt x="124" y="350"/>
                    </a:cubicBezTo>
                    <a:cubicBezTo>
                      <a:pt x="124" y="350"/>
                      <a:pt x="124" y="350"/>
                      <a:pt x="124" y="350"/>
                    </a:cubicBezTo>
                    <a:cubicBezTo>
                      <a:pt x="124" y="349"/>
                      <a:pt x="124" y="348"/>
                      <a:pt x="125" y="346"/>
                    </a:cubicBezTo>
                    <a:cubicBezTo>
                      <a:pt x="125" y="346"/>
                      <a:pt x="125" y="345"/>
                      <a:pt x="126" y="345"/>
                    </a:cubicBezTo>
                    <a:cubicBezTo>
                      <a:pt x="126" y="344"/>
                      <a:pt x="126" y="344"/>
                      <a:pt x="126" y="344"/>
                    </a:cubicBezTo>
                    <a:cubicBezTo>
                      <a:pt x="126" y="344"/>
                      <a:pt x="127" y="344"/>
                      <a:pt x="127" y="343"/>
                    </a:cubicBezTo>
                    <a:cubicBezTo>
                      <a:pt x="128" y="343"/>
                      <a:pt x="128" y="343"/>
                      <a:pt x="129" y="343"/>
                    </a:cubicBezTo>
                    <a:cubicBezTo>
                      <a:pt x="130" y="343"/>
                      <a:pt x="131" y="343"/>
                      <a:pt x="131" y="344"/>
                    </a:cubicBezTo>
                    <a:cubicBezTo>
                      <a:pt x="132" y="343"/>
                      <a:pt x="133" y="342"/>
                      <a:pt x="134" y="342"/>
                    </a:cubicBezTo>
                    <a:cubicBezTo>
                      <a:pt x="135" y="342"/>
                      <a:pt x="135" y="342"/>
                      <a:pt x="135" y="342"/>
                    </a:cubicBezTo>
                    <a:cubicBezTo>
                      <a:pt x="138" y="339"/>
                      <a:pt x="138" y="339"/>
                      <a:pt x="138" y="339"/>
                    </a:cubicBezTo>
                    <a:cubicBezTo>
                      <a:pt x="140" y="343"/>
                      <a:pt x="140" y="343"/>
                      <a:pt x="140" y="343"/>
                    </a:cubicBezTo>
                    <a:cubicBezTo>
                      <a:pt x="140" y="344"/>
                      <a:pt x="140" y="345"/>
                      <a:pt x="140" y="345"/>
                    </a:cubicBezTo>
                    <a:cubicBezTo>
                      <a:pt x="140" y="346"/>
                      <a:pt x="140" y="347"/>
                      <a:pt x="140" y="348"/>
                    </a:cubicBezTo>
                    <a:cubicBezTo>
                      <a:pt x="140" y="350"/>
                      <a:pt x="141" y="353"/>
                      <a:pt x="141" y="354"/>
                    </a:cubicBezTo>
                    <a:cubicBezTo>
                      <a:pt x="141" y="354"/>
                      <a:pt x="141" y="354"/>
                      <a:pt x="141" y="354"/>
                    </a:cubicBezTo>
                    <a:cubicBezTo>
                      <a:pt x="142" y="354"/>
                      <a:pt x="142" y="354"/>
                      <a:pt x="142" y="354"/>
                    </a:cubicBezTo>
                    <a:cubicBezTo>
                      <a:pt x="142" y="354"/>
                      <a:pt x="143" y="353"/>
                      <a:pt x="143" y="353"/>
                    </a:cubicBezTo>
                    <a:cubicBezTo>
                      <a:pt x="144" y="352"/>
                      <a:pt x="144" y="352"/>
                      <a:pt x="144" y="352"/>
                    </a:cubicBezTo>
                    <a:cubicBezTo>
                      <a:pt x="144" y="351"/>
                      <a:pt x="145" y="351"/>
                      <a:pt x="146" y="350"/>
                    </a:cubicBezTo>
                    <a:cubicBezTo>
                      <a:pt x="146" y="350"/>
                      <a:pt x="146" y="350"/>
                      <a:pt x="146" y="350"/>
                    </a:cubicBezTo>
                    <a:cubicBezTo>
                      <a:pt x="147" y="349"/>
                      <a:pt x="147" y="349"/>
                      <a:pt x="148" y="349"/>
                    </a:cubicBezTo>
                    <a:cubicBezTo>
                      <a:pt x="149" y="349"/>
                      <a:pt x="149" y="349"/>
                      <a:pt x="149" y="349"/>
                    </a:cubicBezTo>
                    <a:cubicBezTo>
                      <a:pt x="149" y="349"/>
                      <a:pt x="149" y="349"/>
                      <a:pt x="149" y="349"/>
                    </a:cubicBezTo>
                    <a:cubicBezTo>
                      <a:pt x="150" y="349"/>
                      <a:pt x="150" y="348"/>
                      <a:pt x="150" y="348"/>
                    </a:cubicBezTo>
                    <a:cubicBezTo>
                      <a:pt x="151" y="348"/>
                      <a:pt x="151" y="348"/>
                      <a:pt x="151" y="348"/>
                    </a:cubicBezTo>
                    <a:cubicBezTo>
                      <a:pt x="152" y="348"/>
                      <a:pt x="152" y="348"/>
                      <a:pt x="152" y="348"/>
                    </a:cubicBezTo>
                    <a:cubicBezTo>
                      <a:pt x="152" y="348"/>
                      <a:pt x="152" y="348"/>
                      <a:pt x="152" y="348"/>
                    </a:cubicBezTo>
                    <a:cubicBezTo>
                      <a:pt x="153" y="346"/>
                      <a:pt x="153" y="345"/>
                      <a:pt x="153" y="344"/>
                    </a:cubicBezTo>
                    <a:cubicBezTo>
                      <a:pt x="153" y="344"/>
                      <a:pt x="153" y="343"/>
                      <a:pt x="153" y="342"/>
                    </a:cubicBezTo>
                    <a:cubicBezTo>
                      <a:pt x="152" y="339"/>
                      <a:pt x="151" y="335"/>
                      <a:pt x="155" y="333"/>
                    </a:cubicBezTo>
                    <a:cubicBezTo>
                      <a:pt x="157" y="332"/>
                      <a:pt x="157" y="332"/>
                      <a:pt x="158" y="329"/>
                    </a:cubicBezTo>
                    <a:cubicBezTo>
                      <a:pt x="158" y="328"/>
                      <a:pt x="158" y="328"/>
                      <a:pt x="158" y="328"/>
                    </a:cubicBezTo>
                    <a:cubicBezTo>
                      <a:pt x="159" y="326"/>
                      <a:pt x="159" y="324"/>
                      <a:pt x="158" y="322"/>
                    </a:cubicBezTo>
                    <a:cubicBezTo>
                      <a:pt x="157" y="322"/>
                      <a:pt x="157" y="322"/>
                      <a:pt x="157" y="322"/>
                    </a:cubicBezTo>
                    <a:cubicBezTo>
                      <a:pt x="157" y="321"/>
                      <a:pt x="157" y="321"/>
                      <a:pt x="156" y="321"/>
                    </a:cubicBezTo>
                    <a:cubicBezTo>
                      <a:pt x="151" y="318"/>
                      <a:pt x="151" y="318"/>
                      <a:pt x="151" y="318"/>
                    </a:cubicBezTo>
                    <a:cubicBezTo>
                      <a:pt x="156" y="316"/>
                      <a:pt x="156" y="316"/>
                      <a:pt x="156" y="316"/>
                    </a:cubicBezTo>
                    <a:cubicBezTo>
                      <a:pt x="157" y="315"/>
                      <a:pt x="159" y="314"/>
                      <a:pt x="160" y="314"/>
                    </a:cubicBezTo>
                    <a:cubicBezTo>
                      <a:pt x="165" y="312"/>
                      <a:pt x="165" y="312"/>
                      <a:pt x="165" y="312"/>
                    </a:cubicBezTo>
                    <a:cubicBezTo>
                      <a:pt x="167" y="311"/>
                      <a:pt x="168" y="311"/>
                      <a:pt x="170" y="311"/>
                    </a:cubicBezTo>
                    <a:cubicBezTo>
                      <a:pt x="171" y="311"/>
                      <a:pt x="172" y="310"/>
                      <a:pt x="173" y="310"/>
                    </a:cubicBezTo>
                    <a:cubicBezTo>
                      <a:pt x="174" y="309"/>
                      <a:pt x="176" y="308"/>
                      <a:pt x="177" y="306"/>
                    </a:cubicBezTo>
                    <a:cubicBezTo>
                      <a:pt x="178" y="305"/>
                      <a:pt x="178" y="305"/>
                      <a:pt x="178" y="305"/>
                    </a:cubicBezTo>
                    <a:cubicBezTo>
                      <a:pt x="178" y="305"/>
                      <a:pt x="178" y="305"/>
                      <a:pt x="178" y="305"/>
                    </a:cubicBezTo>
                    <a:cubicBezTo>
                      <a:pt x="178" y="304"/>
                      <a:pt x="177" y="301"/>
                      <a:pt x="177" y="299"/>
                    </a:cubicBezTo>
                    <a:cubicBezTo>
                      <a:pt x="177" y="298"/>
                      <a:pt x="176" y="297"/>
                      <a:pt x="176" y="297"/>
                    </a:cubicBezTo>
                    <a:cubicBezTo>
                      <a:pt x="176" y="294"/>
                      <a:pt x="176" y="294"/>
                      <a:pt x="176" y="294"/>
                    </a:cubicBezTo>
                    <a:cubicBezTo>
                      <a:pt x="181" y="294"/>
                      <a:pt x="181" y="294"/>
                      <a:pt x="181" y="294"/>
                    </a:cubicBezTo>
                    <a:cubicBezTo>
                      <a:pt x="181" y="294"/>
                      <a:pt x="181" y="294"/>
                      <a:pt x="181" y="294"/>
                    </a:cubicBezTo>
                    <a:cubicBezTo>
                      <a:pt x="181" y="294"/>
                      <a:pt x="182" y="294"/>
                      <a:pt x="182" y="294"/>
                    </a:cubicBezTo>
                    <a:cubicBezTo>
                      <a:pt x="182" y="292"/>
                      <a:pt x="182" y="292"/>
                      <a:pt x="182" y="292"/>
                    </a:cubicBezTo>
                    <a:cubicBezTo>
                      <a:pt x="182" y="292"/>
                      <a:pt x="182" y="291"/>
                      <a:pt x="181" y="291"/>
                    </a:cubicBezTo>
                    <a:cubicBezTo>
                      <a:pt x="181" y="290"/>
                      <a:pt x="181" y="289"/>
                      <a:pt x="181" y="288"/>
                    </a:cubicBezTo>
                    <a:cubicBezTo>
                      <a:pt x="182" y="284"/>
                      <a:pt x="185" y="281"/>
                      <a:pt x="187" y="279"/>
                    </a:cubicBezTo>
                    <a:cubicBezTo>
                      <a:pt x="187" y="278"/>
                      <a:pt x="187" y="278"/>
                      <a:pt x="187" y="278"/>
                    </a:cubicBezTo>
                    <a:cubicBezTo>
                      <a:pt x="188" y="277"/>
                      <a:pt x="188" y="277"/>
                      <a:pt x="189" y="276"/>
                    </a:cubicBezTo>
                    <a:cubicBezTo>
                      <a:pt x="191" y="273"/>
                      <a:pt x="191" y="273"/>
                      <a:pt x="191" y="273"/>
                    </a:cubicBezTo>
                    <a:cubicBezTo>
                      <a:pt x="193" y="276"/>
                      <a:pt x="193" y="276"/>
                      <a:pt x="193" y="276"/>
                    </a:cubicBezTo>
                    <a:cubicBezTo>
                      <a:pt x="194" y="277"/>
                      <a:pt x="194" y="277"/>
                      <a:pt x="195" y="278"/>
                    </a:cubicBezTo>
                    <a:cubicBezTo>
                      <a:pt x="197" y="279"/>
                      <a:pt x="199" y="280"/>
                      <a:pt x="201" y="282"/>
                    </a:cubicBezTo>
                    <a:cubicBezTo>
                      <a:pt x="202" y="282"/>
                      <a:pt x="202" y="282"/>
                      <a:pt x="202" y="282"/>
                    </a:cubicBezTo>
                    <a:cubicBezTo>
                      <a:pt x="203" y="282"/>
                      <a:pt x="203" y="282"/>
                      <a:pt x="203" y="282"/>
                    </a:cubicBezTo>
                    <a:cubicBezTo>
                      <a:pt x="203" y="282"/>
                      <a:pt x="203" y="282"/>
                      <a:pt x="203" y="282"/>
                    </a:cubicBezTo>
                    <a:cubicBezTo>
                      <a:pt x="203" y="282"/>
                      <a:pt x="203" y="282"/>
                      <a:pt x="203" y="282"/>
                    </a:cubicBezTo>
                    <a:cubicBezTo>
                      <a:pt x="204" y="281"/>
                      <a:pt x="204" y="281"/>
                      <a:pt x="204" y="281"/>
                    </a:cubicBezTo>
                    <a:cubicBezTo>
                      <a:pt x="205" y="281"/>
                      <a:pt x="205" y="281"/>
                      <a:pt x="205" y="281"/>
                    </a:cubicBezTo>
                    <a:cubicBezTo>
                      <a:pt x="205" y="281"/>
                      <a:pt x="205" y="281"/>
                      <a:pt x="205" y="281"/>
                    </a:cubicBezTo>
                    <a:cubicBezTo>
                      <a:pt x="205" y="280"/>
                      <a:pt x="205" y="280"/>
                      <a:pt x="205" y="280"/>
                    </a:cubicBezTo>
                    <a:cubicBezTo>
                      <a:pt x="205" y="278"/>
                      <a:pt x="205" y="275"/>
                      <a:pt x="205" y="273"/>
                    </a:cubicBezTo>
                    <a:cubicBezTo>
                      <a:pt x="205" y="267"/>
                      <a:pt x="205" y="267"/>
                      <a:pt x="205" y="267"/>
                    </a:cubicBezTo>
                    <a:cubicBezTo>
                      <a:pt x="209" y="270"/>
                      <a:pt x="209" y="270"/>
                      <a:pt x="209" y="270"/>
                    </a:cubicBezTo>
                    <a:cubicBezTo>
                      <a:pt x="210" y="270"/>
                      <a:pt x="210" y="270"/>
                      <a:pt x="210" y="270"/>
                    </a:cubicBezTo>
                    <a:cubicBezTo>
                      <a:pt x="210" y="271"/>
                      <a:pt x="210" y="271"/>
                      <a:pt x="210" y="271"/>
                    </a:cubicBezTo>
                    <a:cubicBezTo>
                      <a:pt x="211" y="271"/>
                      <a:pt x="212" y="271"/>
                      <a:pt x="212" y="271"/>
                    </a:cubicBezTo>
                    <a:cubicBezTo>
                      <a:pt x="213" y="271"/>
                      <a:pt x="213" y="271"/>
                      <a:pt x="213" y="271"/>
                    </a:cubicBezTo>
                    <a:cubicBezTo>
                      <a:pt x="213" y="271"/>
                      <a:pt x="213" y="270"/>
                      <a:pt x="214" y="269"/>
                    </a:cubicBezTo>
                    <a:cubicBezTo>
                      <a:pt x="216" y="266"/>
                      <a:pt x="216" y="266"/>
                      <a:pt x="216" y="266"/>
                    </a:cubicBezTo>
                    <a:cubicBezTo>
                      <a:pt x="218" y="263"/>
                      <a:pt x="221" y="258"/>
                      <a:pt x="226" y="257"/>
                    </a:cubicBezTo>
                    <a:cubicBezTo>
                      <a:pt x="227" y="257"/>
                      <a:pt x="227" y="257"/>
                      <a:pt x="227" y="257"/>
                    </a:cubicBezTo>
                    <a:cubicBezTo>
                      <a:pt x="229" y="257"/>
                      <a:pt x="231" y="257"/>
                      <a:pt x="232" y="258"/>
                    </a:cubicBezTo>
                    <a:cubicBezTo>
                      <a:pt x="233" y="258"/>
                      <a:pt x="233" y="258"/>
                      <a:pt x="234" y="258"/>
                    </a:cubicBezTo>
                    <a:cubicBezTo>
                      <a:pt x="234" y="259"/>
                      <a:pt x="234" y="259"/>
                      <a:pt x="234" y="259"/>
                    </a:cubicBezTo>
                    <a:cubicBezTo>
                      <a:pt x="235" y="258"/>
                      <a:pt x="235" y="258"/>
                      <a:pt x="235" y="258"/>
                    </a:cubicBezTo>
                    <a:cubicBezTo>
                      <a:pt x="236" y="254"/>
                      <a:pt x="237" y="252"/>
                      <a:pt x="241" y="252"/>
                    </a:cubicBezTo>
                    <a:cubicBezTo>
                      <a:pt x="243" y="251"/>
                      <a:pt x="244" y="251"/>
                      <a:pt x="245" y="250"/>
                    </a:cubicBezTo>
                    <a:cubicBezTo>
                      <a:pt x="246" y="250"/>
                      <a:pt x="246" y="250"/>
                      <a:pt x="246" y="250"/>
                    </a:cubicBezTo>
                    <a:cubicBezTo>
                      <a:pt x="247" y="249"/>
                      <a:pt x="248" y="249"/>
                      <a:pt x="249" y="248"/>
                    </a:cubicBezTo>
                    <a:cubicBezTo>
                      <a:pt x="250" y="248"/>
                      <a:pt x="250" y="248"/>
                      <a:pt x="250" y="248"/>
                    </a:cubicBezTo>
                    <a:cubicBezTo>
                      <a:pt x="253" y="247"/>
                      <a:pt x="255" y="246"/>
                      <a:pt x="257" y="245"/>
                    </a:cubicBezTo>
                    <a:cubicBezTo>
                      <a:pt x="258" y="244"/>
                      <a:pt x="259" y="243"/>
                      <a:pt x="260" y="242"/>
                    </a:cubicBezTo>
                    <a:cubicBezTo>
                      <a:pt x="262" y="241"/>
                      <a:pt x="262" y="241"/>
                      <a:pt x="262" y="241"/>
                    </a:cubicBezTo>
                    <a:cubicBezTo>
                      <a:pt x="262" y="240"/>
                      <a:pt x="263" y="240"/>
                      <a:pt x="263" y="240"/>
                    </a:cubicBezTo>
                    <a:cubicBezTo>
                      <a:pt x="265" y="238"/>
                      <a:pt x="265" y="238"/>
                      <a:pt x="265" y="238"/>
                    </a:cubicBezTo>
                    <a:cubicBezTo>
                      <a:pt x="266" y="237"/>
                      <a:pt x="267" y="237"/>
                      <a:pt x="269" y="237"/>
                    </a:cubicBezTo>
                    <a:cubicBezTo>
                      <a:pt x="270" y="237"/>
                      <a:pt x="271" y="237"/>
                      <a:pt x="272" y="237"/>
                    </a:cubicBezTo>
                    <a:cubicBezTo>
                      <a:pt x="273" y="237"/>
                      <a:pt x="273" y="237"/>
                      <a:pt x="274" y="237"/>
                    </a:cubicBezTo>
                    <a:cubicBezTo>
                      <a:pt x="275" y="237"/>
                      <a:pt x="276" y="237"/>
                      <a:pt x="277" y="238"/>
                    </a:cubicBezTo>
                    <a:cubicBezTo>
                      <a:pt x="278" y="238"/>
                      <a:pt x="278" y="238"/>
                      <a:pt x="278" y="238"/>
                    </a:cubicBezTo>
                    <a:cubicBezTo>
                      <a:pt x="280" y="238"/>
                      <a:pt x="282" y="238"/>
                      <a:pt x="284" y="239"/>
                    </a:cubicBezTo>
                    <a:cubicBezTo>
                      <a:pt x="284" y="239"/>
                      <a:pt x="285" y="239"/>
                      <a:pt x="285" y="239"/>
                    </a:cubicBezTo>
                    <a:cubicBezTo>
                      <a:pt x="286" y="239"/>
                      <a:pt x="286" y="239"/>
                      <a:pt x="286" y="239"/>
                    </a:cubicBezTo>
                    <a:cubicBezTo>
                      <a:pt x="287" y="239"/>
                      <a:pt x="287" y="239"/>
                      <a:pt x="287" y="239"/>
                    </a:cubicBezTo>
                    <a:cubicBezTo>
                      <a:pt x="287" y="239"/>
                      <a:pt x="287" y="239"/>
                      <a:pt x="287" y="239"/>
                    </a:cubicBezTo>
                    <a:cubicBezTo>
                      <a:pt x="288" y="240"/>
                      <a:pt x="288" y="240"/>
                      <a:pt x="289" y="240"/>
                    </a:cubicBezTo>
                    <a:cubicBezTo>
                      <a:pt x="289" y="240"/>
                      <a:pt x="289" y="240"/>
                      <a:pt x="289" y="240"/>
                    </a:cubicBezTo>
                    <a:cubicBezTo>
                      <a:pt x="290" y="240"/>
                      <a:pt x="290" y="240"/>
                      <a:pt x="290" y="240"/>
                    </a:cubicBezTo>
                    <a:cubicBezTo>
                      <a:pt x="290" y="241"/>
                      <a:pt x="290" y="241"/>
                      <a:pt x="290" y="241"/>
                    </a:cubicBezTo>
                    <a:cubicBezTo>
                      <a:pt x="291" y="241"/>
                      <a:pt x="291" y="241"/>
                      <a:pt x="291" y="241"/>
                    </a:cubicBezTo>
                    <a:cubicBezTo>
                      <a:pt x="291" y="241"/>
                      <a:pt x="291" y="241"/>
                      <a:pt x="291" y="241"/>
                    </a:cubicBezTo>
                    <a:cubicBezTo>
                      <a:pt x="292" y="241"/>
                      <a:pt x="292" y="241"/>
                      <a:pt x="292" y="241"/>
                    </a:cubicBezTo>
                    <a:cubicBezTo>
                      <a:pt x="293" y="240"/>
                      <a:pt x="294" y="240"/>
                      <a:pt x="294" y="240"/>
                    </a:cubicBezTo>
                    <a:cubicBezTo>
                      <a:pt x="295" y="239"/>
                      <a:pt x="295" y="239"/>
                      <a:pt x="295" y="239"/>
                    </a:cubicBezTo>
                    <a:cubicBezTo>
                      <a:pt x="296" y="239"/>
                      <a:pt x="296" y="239"/>
                      <a:pt x="297" y="239"/>
                    </a:cubicBezTo>
                    <a:cubicBezTo>
                      <a:pt x="299" y="238"/>
                      <a:pt x="301" y="237"/>
                      <a:pt x="303" y="237"/>
                    </a:cubicBezTo>
                    <a:cubicBezTo>
                      <a:pt x="307" y="235"/>
                      <a:pt x="312" y="233"/>
                      <a:pt x="317" y="232"/>
                    </a:cubicBezTo>
                    <a:cubicBezTo>
                      <a:pt x="328" y="231"/>
                      <a:pt x="337" y="231"/>
                      <a:pt x="346" y="231"/>
                    </a:cubicBezTo>
                    <a:cubicBezTo>
                      <a:pt x="347" y="231"/>
                      <a:pt x="347" y="231"/>
                      <a:pt x="347" y="231"/>
                    </a:cubicBezTo>
                    <a:cubicBezTo>
                      <a:pt x="347" y="231"/>
                      <a:pt x="348" y="231"/>
                      <a:pt x="349" y="231"/>
                    </a:cubicBezTo>
                    <a:cubicBezTo>
                      <a:pt x="350" y="231"/>
                      <a:pt x="350" y="231"/>
                      <a:pt x="350" y="231"/>
                    </a:cubicBezTo>
                    <a:cubicBezTo>
                      <a:pt x="351" y="231"/>
                      <a:pt x="352" y="231"/>
                      <a:pt x="353" y="231"/>
                    </a:cubicBezTo>
                    <a:cubicBezTo>
                      <a:pt x="354" y="231"/>
                      <a:pt x="355" y="231"/>
                      <a:pt x="355" y="231"/>
                    </a:cubicBezTo>
                    <a:cubicBezTo>
                      <a:pt x="356" y="231"/>
                      <a:pt x="357" y="230"/>
                      <a:pt x="358" y="230"/>
                    </a:cubicBezTo>
                    <a:cubicBezTo>
                      <a:pt x="359" y="230"/>
                      <a:pt x="359" y="230"/>
                      <a:pt x="359" y="230"/>
                    </a:cubicBezTo>
                    <a:cubicBezTo>
                      <a:pt x="360" y="230"/>
                      <a:pt x="361" y="230"/>
                      <a:pt x="362" y="230"/>
                    </a:cubicBezTo>
                    <a:cubicBezTo>
                      <a:pt x="363" y="230"/>
                      <a:pt x="363" y="230"/>
                      <a:pt x="363" y="230"/>
                    </a:cubicBezTo>
                    <a:cubicBezTo>
                      <a:pt x="364" y="230"/>
                      <a:pt x="364" y="230"/>
                      <a:pt x="364" y="230"/>
                    </a:cubicBezTo>
                    <a:cubicBezTo>
                      <a:pt x="365" y="230"/>
                      <a:pt x="365" y="230"/>
                      <a:pt x="365" y="230"/>
                    </a:cubicBezTo>
                    <a:cubicBezTo>
                      <a:pt x="366" y="230"/>
                      <a:pt x="366" y="230"/>
                      <a:pt x="366" y="230"/>
                    </a:cubicBezTo>
                    <a:cubicBezTo>
                      <a:pt x="367" y="230"/>
                      <a:pt x="369" y="227"/>
                      <a:pt x="371" y="226"/>
                    </a:cubicBezTo>
                    <a:cubicBezTo>
                      <a:pt x="371" y="225"/>
                      <a:pt x="372" y="224"/>
                      <a:pt x="372" y="224"/>
                    </a:cubicBezTo>
                    <a:cubicBezTo>
                      <a:pt x="374" y="223"/>
                      <a:pt x="374" y="221"/>
                      <a:pt x="375" y="219"/>
                    </a:cubicBezTo>
                    <a:cubicBezTo>
                      <a:pt x="375" y="219"/>
                      <a:pt x="376" y="218"/>
                      <a:pt x="376" y="217"/>
                    </a:cubicBezTo>
                    <a:cubicBezTo>
                      <a:pt x="377" y="215"/>
                      <a:pt x="377" y="215"/>
                      <a:pt x="377" y="215"/>
                    </a:cubicBezTo>
                    <a:cubicBezTo>
                      <a:pt x="378" y="212"/>
                      <a:pt x="380" y="208"/>
                      <a:pt x="380" y="205"/>
                    </a:cubicBezTo>
                    <a:cubicBezTo>
                      <a:pt x="381" y="197"/>
                      <a:pt x="381" y="190"/>
                      <a:pt x="381" y="182"/>
                    </a:cubicBezTo>
                    <a:cubicBezTo>
                      <a:pt x="381" y="176"/>
                      <a:pt x="381" y="176"/>
                      <a:pt x="381" y="176"/>
                    </a:cubicBezTo>
                    <a:cubicBezTo>
                      <a:pt x="381" y="171"/>
                      <a:pt x="381" y="165"/>
                      <a:pt x="381" y="160"/>
                    </a:cubicBezTo>
                    <a:cubicBezTo>
                      <a:pt x="381" y="156"/>
                      <a:pt x="381" y="156"/>
                      <a:pt x="381" y="156"/>
                    </a:cubicBezTo>
                    <a:cubicBezTo>
                      <a:pt x="381" y="152"/>
                      <a:pt x="381" y="149"/>
                      <a:pt x="381" y="145"/>
                    </a:cubicBezTo>
                    <a:cubicBezTo>
                      <a:pt x="375" y="146"/>
                      <a:pt x="375" y="146"/>
                      <a:pt x="375" y="146"/>
                    </a:cubicBezTo>
                    <a:cubicBezTo>
                      <a:pt x="373" y="147"/>
                      <a:pt x="370" y="147"/>
                      <a:pt x="367" y="147"/>
                    </a:cubicBezTo>
                    <a:cubicBezTo>
                      <a:pt x="360" y="147"/>
                      <a:pt x="358" y="146"/>
                      <a:pt x="357" y="145"/>
                    </a:cubicBezTo>
                    <a:cubicBezTo>
                      <a:pt x="357" y="145"/>
                      <a:pt x="357" y="145"/>
                      <a:pt x="356" y="144"/>
                    </a:cubicBezTo>
                    <a:cubicBezTo>
                      <a:pt x="356" y="144"/>
                      <a:pt x="356" y="144"/>
                      <a:pt x="356" y="144"/>
                    </a:cubicBezTo>
                    <a:cubicBezTo>
                      <a:pt x="355" y="144"/>
                      <a:pt x="355" y="143"/>
                      <a:pt x="355" y="143"/>
                    </a:cubicBezTo>
                    <a:cubicBezTo>
                      <a:pt x="354" y="141"/>
                      <a:pt x="355" y="139"/>
                      <a:pt x="357" y="136"/>
                    </a:cubicBezTo>
                    <a:cubicBezTo>
                      <a:pt x="357" y="135"/>
                      <a:pt x="357" y="135"/>
                      <a:pt x="357" y="135"/>
                    </a:cubicBezTo>
                    <a:cubicBezTo>
                      <a:pt x="358" y="135"/>
                      <a:pt x="358" y="135"/>
                      <a:pt x="358" y="135"/>
                    </a:cubicBezTo>
                    <a:cubicBezTo>
                      <a:pt x="358" y="135"/>
                      <a:pt x="358" y="135"/>
                      <a:pt x="358" y="135"/>
                    </a:cubicBezTo>
                    <a:cubicBezTo>
                      <a:pt x="358" y="134"/>
                      <a:pt x="358" y="134"/>
                      <a:pt x="358" y="134"/>
                    </a:cubicBezTo>
                    <a:cubicBezTo>
                      <a:pt x="357" y="133"/>
                      <a:pt x="357" y="133"/>
                      <a:pt x="357" y="132"/>
                    </a:cubicBezTo>
                    <a:cubicBezTo>
                      <a:pt x="357" y="131"/>
                      <a:pt x="357" y="130"/>
                      <a:pt x="357" y="129"/>
                    </a:cubicBezTo>
                    <a:cubicBezTo>
                      <a:pt x="357" y="129"/>
                      <a:pt x="357" y="129"/>
                      <a:pt x="357" y="129"/>
                    </a:cubicBezTo>
                    <a:cubicBezTo>
                      <a:pt x="357" y="128"/>
                      <a:pt x="357" y="128"/>
                      <a:pt x="357" y="128"/>
                    </a:cubicBezTo>
                    <a:cubicBezTo>
                      <a:pt x="357" y="127"/>
                      <a:pt x="357" y="127"/>
                      <a:pt x="357" y="127"/>
                    </a:cubicBezTo>
                    <a:cubicBezTo>
                      <a:pt x="357" y="127"/>
                      <a:pt x="357" y="127"/>
                      <a:pt x="357" y="127"/>
                    </a:cubicBezTo>
                    <a:cubicBezTo>
                      <a:pt x="356" y="126"/>
                      <a:pt x="356" y="126"/>
                      <a:pt x="356" y="126"/>
                    </a:cubicBezTo>
                    <a:cubicBezTo>
                      <a:pt x="355" y="126"/>
                      <a:pt x="355" y="126"/>
                      <a:pt x="355" y="126"/>
                    </a:cubicBezTo>
                    <a:cubicBezTo>
                      <a:pt x="355" y="125"/>
                      <a:pt x="355" y="125"/>
                      <a:pt x="354" y="125"/>
                    </a:cubicBezTo>
                    <a:cubicBezTo>
                      <a:pt x="354" y="125"/>
                      <a:pt x="353" y="125"/>
                      <a:pt x="352" y="125"/>
                    </a:cubicBezTo>
                    <a:cubicBezTo>
                      <a:pt x="352" y="125"/>
                      <a:pt x="352" y="125"/>
                      <a:pt x="352" y="125"/>
                    </a:cubicBezTo>
                    <a:cubicBezTo>
                      <a:pt x="351" y="125"/>
                      <a:pt x="351" y="125"/>
                      <a:pt x="351" y="125"/>
                    </a:cubicBezTo>
                    <a:cubicBezTo>
                      <a:pt x="349" y="124"/>
                      <a:pt x="349" y="124"/>
                      <a:pt x="349" y="124"/>
                    </a:cubicBezTo>
                    <a:cubicBezTo>
                      <a:pt x="345" y="123"/>
                      <a:pt x="342" y="121"/>
                      <a:pt x="338" y="119"/>
                    </a:cubicBezTo>
                    <a:cubicBezTo>
                      <a:pt x="336" y="117"/>
                      <a:pt x="336" y="117"/>
                      <a:pt x="336" y="117"/>
                    </a:cubicBezTo>
                    <a:cubicBezTo>
                      <a:pt x="336" y="117"/>
                      <a:pt x="336" y="117"/>
                      <a:pt x="336" y="117"/>
                    </a:cubicBezTo>
                    <a:cubicBezTo>
                      <a:pt x="336" y="117"/>
                      <a:pt x="336" y="117"/>
                      <a:pt x="336" y="117"/>
                    </a:cubicBezTo>
                    <a:cubicBezTo>
                      <a:pt x="336" y="117"/>
                      <a:pt x="336" y="118"/>
                      <a:pt x="335" y="118"/>
                    </a:cubicBezTo>
                    <a:cubicBezTo>
                      <a:pt x="335" y="118"/>
                      <a:pt x="335" y="118"/>
                      <a:pt x="334" y="118"/>
                    </a:cubicBezTo>
                    <a:cubicBezTo>
                      <a:pt x="334" y="118"/>
                      <a:pt x="334" y="118"/>
                      <a:pt x="333" y="118"/>
                    </a:cubicBezTo>
                    <a:cubicBezTo>
                      <a:pt x="332" y="118"/>
                      <a:pt x="332" y="118"/>
                      <a:pt x="332" y="118"/>
                    </a:cubicBezTo>
                    <a:cubicBezTo>
                      <a:pt x="329" y="117"/>
                      <a:pt x="323" y="116"/>
                      <a:pt x="321" y="112"/>
                    </a:cubicBezTo>
                    <a:cubicBezTo>
                      <a:pt x="320" y="111"/>
                      <a:pt x="320" y="111"/>
                      <a:pt x="320" y="111"/>
                    </a:cubicBezTo>
                    <a:cubicBezTo>
                      <a:pt x="320" y="110"/>
                      <a:pt x="320" y="110"/>
                      <a:pt x="320" y="110"/>
                    </a:cubicBezTo>
                    <a:cubicBezTo>
                      <a:pt x="319" y="108"/>
                      <a:pt x="319" y="108"/>
                      <a:pt x="318" y="108"/>
                    </a:cubicBezTo>
                    <a:cubicBezTo>
                      <a:pt x="317" y="107"/>
                      <a:pt x="317" y="107"/>
                      <a:pt x="317" y="107"/>
                    </a:cubicBezTo>
                    <a:cubicBezTo>
                      <a:pt x="316" y="107"/>
                      <a:pt x="316" y="107"/>
                      <a:pt x="316" y="107"/>
                    </a:cubicBezTo>
                    <a:cubicBezTo>
                      <a:pt x="313" y="106"/>
                      <a:pt x="310" y="106"/>
                      <a:pt x="309" y="104"/>
                    </a:cubicBezTo>
                    <a:cubicBezTo>
                      <a:pt x="308" y="102"/>
                      <a:pt x="309" y="101"/>
                      <a:pt x="309" y="100"/>
                    </a:cubicBezTo>
                    <a:cubicBezTo>
                      <a:pt x="309" y="100"/>
                      <a:pt x="309" y="100"/>
                      <a:pt x="309" y="99"/>
                    </a:cubicBezTo>
                    <a:cubicBezTo>
                      <a:pt x="309" y="98"/>
                      <a:pt x="309" y="98"/>
                      <a:pt x="309" y="98"/>
                    </a:cubicBezTo>
                    <a:cubicBezTo>
                      <a:pt x="309" y="97"/>
                      <a:pt x="309" y="96"/>
                      <a:pt x="309" y="96"/>
                    </a:cubicBezTo>
                    <a:cubicBezTo>
                      <a:pt x="309" y="95"/>
                      <a:pt x="309" y="95"/>
                      <a:pt x="308" y="95"/>
                    </a:cubicBezTo>
                    <a:cubicBezTo>
                      <a:pt x="286" y="80"/>
                      <a:pt x="286" y="80"/>
                      <a:pt x="286" y="80"/>
                    </a:cubicBezTo>
                    <a:cubicBezTo>
                      <a:pt x="270" y="70"/>
                      <a:pt x="253" y="58"/>
                      <a:pt x="239" y="48"/>
                    </a:cubicBezTo>
                    <a:cubicBezTo>
                      <a:pt x="230" y="42"/>
                      <a:pt x="221" y="36"/>
                      <a:pt x="212" y="29"/>
                    </a:cubicBezTo>
                    <a:cubicBezTo>
                      <a:pt x="206" y="25"/>
                      <a:pt x="206" y="25"/>
                      <a:pt x="206" y="25"/>
                    </a:cubicBezTo>
                    <a:cubicBezTo>
                      <a:pt x="200" y="21"/>
                      <a:pt x="194" y="17"/>
                      <a:pt x="188" y="12"/>
                    </a:cubicBezTo>
                    <a:cubicBezTo>
                      <a:pt x="187" y="12"/>
                      <a:pt x="187" y="12"/>
                      <a:pt x="187" y="12"/>
                    </a:cubicBezTo>
                    <a:cubicBezTo>
                      <a:pt x="185" y="10"/>
                      <a:pt x="183" y="9"/>
                      <a:pt x="181" y="8"/>
                    </a:cubicBezTo>
                    <a:cubicBezTo>
                      <a:pt x="175" y="4"/>
                      <a:pt x="175" y="4"/>
                      <a:pt x="175" y="4"/>
                    </a:cubicBezTo>
                    <a:cubicBezTo>
                      <a:pt x="173" y="3"/>
                      <a:pt x="171" y="1"/>
                      <a:pt x="1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Rectangle 196"/>
              <p:cNvSpPr>
                <a:spLocks noChangeArrowheads="1"/>
              </p:cNvSpPr>
              <p:nvPr/>
            </p:nvSpPr>
            <p:spPr bwMode="auto">
              <a:xfrm>
                <a:off x="3453" y="97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Rectangle 197"/>
              <p:cNvSpPr>
                <a:spLocks noChangeArrowheads="1"/>
              </p:cNvSpPr>
              <p:nvPr/>
            </p:nvSpPr>
            <p:spPr bwMode="auto">
              <a:xfrm>
                <a:off x="3453" y="97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198"/>
              <p:cNvSpPr/>
              <p:nvPr/>
            </p:nvSpPr>
            <p:spPr bwMode="auto">
              <a:xfrm>
                <a:off x="2935" y="668"/>
                <a:ext cx="660" cy="501"/>
              </a:xfrm>
              <a:custGeom>
                <a:gdLst>
                  <a:gd name="T0" fmla="*/ 167 w 279"/>
                  <a:gd name="T1" fmla="*/ 4 h 212"/>
                  <a:gd name="T2" fmla="*/ 135 w 279"/>
                  <a:gd name="T3" fmla="*/ 58 h 212"/>
                  <a:gd name="T4" fmla="*/ 119 w 279"/>
                  <a:gd name="T5" fmla="*/ 65 h 212"/>
                  <a:gd name="T6" fmla="*/ 89 w 279"/>
                  <a:gd name="T7" fmla="*/ 89 h 212"/>
                  <a:gd name="T8" fmla="*/ 77 w 279"/>
                  <a:gd name="T9" fmla="*/ 122 h 212"/>
                  <a:gd name="T10" fmla="*/ 76 w 279"/>
                  <a:gd name="T11" fmla="*/ 139 h 212"/>
                  <a:gd name="T12" fmla="*/ 80 w 279"/>
                  <a:gd name="T13" fmla="*/ 152 h 212"/>
                  <a:gd name="T14" fmla="*/ 31 w 279"/>
                  <a:gd name="T15" fmla="*/ 200 h 212"/>
                  <a:gd name="T16" fmla="*/ 2 w 279"/>
                  <a:gd name="T17" fmla="*/ 208 h 212"/>
                  <a:gd name="T18" fmla="*/ 100 w 279"/>
                  <a:gd name="T19" fmla="*/ 190 h 212"/>
                  <a:gd name="T20" fmla="*/ 108 w 279"/>
                  <a:gd name="T21" fmla="*/ 181 h 212"/>
                  <a:gd name="T22" fmla="*/ 115 w 279"/>
                  <a:gd name="T23" fmla="*/ 176 h 212"/>
                  <a:gd name="T24" fmla="*/ 133 w 279"/>
                  <a:gd name="T25" fmla="*/ 166 h 212"/>
                  <a:gd name="T26" fmla="*/ 146 w 279"/>
                  <a:gd name="T27" fmla="*/ 163 h 212"/>
                  <a:gd name="T28" fmla="*/ 150 w 279"/>
                  <a:gd name="T29" fmla="*/ 163 h 212"/>
                  <a:gd name="T30" fmla="*/ 152 w 279"/>
                  <a:gd name="T31" fmla="*/ 160 h 212"/>
                  <a:gd name="T32" fmla="*/ 156 w 279"/>
                  <a:gd name="T33" fmla="*/ 157 h 212"/>
                  <a:gd name="T34" fmla="*/ 177 w 279"/>
                  <a:gd name="T35" fmla="*/ 154 h 212"/>
                  <a:gd name="T36" fmla="*/ 184 w 279"/>
                  <a:gd name="T37" fmla="*/ 148 h 212"/>
                  <a:gd name="T38" fmla="*/ 191 w 279"/>
                  <a:gd name="T39" fmla="*/ 141 h 212"/>
                  <a:gd name="T40" fmla="*/ 219 w 279"/>
                  <a:gd name="T41" fmla="*/ 129 h 212"/>
                  <a:gd name="T42" fmla="*/ 216 w 279"/>
                  <a:gd name="T43" fmla="*/ 120 h 212"/>
                  <a:gd name="T44" fmla="*/ 214 w 279"/>
                  <a:gd name="T45" fmla="*/ 116 h 212"/>
                  <a:gd name="T46" fmla="*/ 219 w 279"/>
                  <a:gd name="T47" fmla="*/ 108 h 212"/>
                  <a:gd name="T48" fmla="*/ 224 w 279"/>
                  <a:gd name="T49" fmla="*/ 109 h 212"/>
                  <a:gd name="T50" fmla="*/ 233 w 279"/>
                  <a:gd name="T51" fmla="*/ 106 h 212"/>
                  <a:gd name="T52" fmla="*/ 245 w 279"/>
                  <a:gd name="T53" fmla="*/ 97 h 212"/>
                  <a:gd name="T54" fmla="*/ 257 w 279"/>
                  <a:gd name="T55" fmla="*/ 97 h 212"/>
                  <a:gd name="T56" fmla="*/ 269 w 279"/>
                  <a:gd name="T57" fmla="*/ 98 h 212"/>
                  <a:gd name="T58" fmla="*/ 278 w 279"/>
                  <a:gd name="T59" fmla="*/ 92 h 212"/>
                  <a:gd name="T60" fmla="*/ 273 w 279"/>
                  <a:gd name="T61" fmla="*/ 84 h 212"/>
                  <a:gd name="T62" fmla="*/ 264 w 279"/>
                  <a:gd name="T63" fmla="*/ 54 h 212"/>
                  <a:gd name="T64" fmla="*/ 264 w 279"/>
                  <a:gd name="T65" fmla="*/ 40 h 212"/>
                  <a:gd name="T66" fmla="*/ 261 w 279"/>
                  <a:gd name="T67" fmla="*/ 34 h 212"/>
                  <a:gd name="T68" fmla="*/ 261 w 279"/>
                  <a:gd name="T69" fmla="*/ 31 h 212"/>
                  <a:gd name="T70" fmla="*/ 258 w 279"/>
                  <a:gd name="T71" fmla="*/ 28 h 212"/>
                  <a:gd name="T72" fmla="*/ 254 w 279"/>
                  <a:gd name="T73" fmla="*/ 24 h 212"/>
                  <a:gd name="T74" fmla="*/ 252 w 279"/>
                  <a:gd name="T75" fmla="*/ 22 h 212"/>
                  <a:gd name="T76" fmla="*/ 239 w 279"/>
                  <a:gd name="T77" fmla="*/ 18 h 212"/>
                  <a:gd name="T78" fmla="*/ 236 w 279"/>
                  <a:gd name="T79" fmla="*/ 13 h 212"/>
                  <a:gd name="T80" fmla="*/ 202 w 279"/>
                  <a:gd name="T81" fmla="*/ 19 h 212"/>
                  <a:gd name="T82" fmla="*/ 186 w 279"/>
                  <a:gd name="T83" fmla="*/ 9 h 212"/>
                  <a:gd name="T84" fmla="*/ 183 w 279"/>
                  <a:gd name="T85" fmla="*/ 0 h 2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9" h="211">
                    <a:moveTo>
                      <a:pt x="180" y="0"/>
                    </a:moveTo>
                    <a:cubicBezTo>
                      <a:pt x="180" y="0"/>
                      <a:pt x="180" y="0"/>
                      <a:pt x="180" y="0"/>
                    </a:cubicBezTo>
                    <a:cubicBezTo>
                      <a:pt x="177" y="1"/>
                      <a:pt x="169" y="1"/>
                      <a:pt x="167" y="4"/>
                    </a:cubicBezTo>
                    <a:cubicBezTo>
                      <a:pt x="166" y="9"/>
                      <a:pt x="164" y="14"/>
                      <a:pt x="162" y="19"/>
                    </a:cubicBezTo>
                    <a:cubicBezTo>
                      <a:pt x="159" y="28"/>
                      <a:pt x="154" y="37"/>
                      <a:pt x="149" y="46"/>
                    </a:cubicBezTo>
                    <a:cubicBezTo>
                      <a:pt x="146" y="51"/>
                      <a:pt x="140" y="55"/>
                      <a:pt x="135" y="58"/>
                    </a:cubicBezTo>
                    <a:cubicBezTo>
                      <a:pt x="134" y="58"/>
                      <a:pt x="134" y="58"/>
                      <a:pt x="134" y="58"/>
                    </a:cubicBezTo>
                    <a:cubicBezTo>
                      <a:pt x="122" y="63"/>
                      <a:pt x="122" y="63"/>
                      <a:pt x="122" y="63"/>
                    </a:cubicBezTo>
                    <a:cubicBezTo>
                      <a:pt x="121" y="64"/>
                      <a:pt x="120" y="64"/>
                      <a:pt x="119" y="65"/>
                    </a:cubicBezTo>
                    <a:cubicBezTo>
                      <a:pt x="114" y="67"/>
                      <a:pt x="109" y="68"/>
                      <a:pt x="105" y="71"/>
                    </a:cubicBezTo>
                    <a:cubicBezTo>
                      <a:pt x="101" y="75"/>
                      <a:pt x="98" y="80"/>
                      <a:pt x="94" y="84"/>
                    </a:cubicBezTo>
                    <a:cubicBezTo>
                      <a:pt x="93" y="86"/>
                      <a:pt x="90" y="87"/>
                      <a:pt x="89" y="89"/>
                    </a:cubicBezTo>
                    <a:cubicBezTo>
                      <a:pt x="88" y="91"/>
                      <a:pt x="88" y="94"/>
                      <a:pt x="87" y="96"/>
                    </a:cubicBezTo>
                    <a:cubicBezTo>
                      <a:pt x="85" y="104"/>
                      <a:pt x="82" y="109"/>
                      <a:pt x="78" y="115"/>
                    </a:cubicBezTo>
                    <a:cubicBezTo>
                      <a:pt x="76" y="119"/>
                      <a:pt x="77" y="119"/>
                      <a:pt x="77" y="122"/>
                    </a:cubicBezTo>
                    <a:cubicBezTo>
                      <a:pt x="76" y="125"/>
                      <a:pt x="76" y="129"/>
                      <a:pt x="76" y="132"/>
                    </a:cubicBezTo>
                    <a:cubicBezTo>
                      <a:pt x="76" y="134"/>
                      <a:pt x="75" y="136"/>
                      <a:pt x="75" y="139"/>
                    </a:cubicBezTo>
                    <a:cubicBezTo>
                      <a:pt x="75" y="139"/>
                      <a:pt x="75" y="139"/>
                      <a:pt x="76" y="139"/>
                    </a:cubicBezTo>
                    <a:cubicBezTo>
                      <a:pt x="76" y="139"/>
                      <a:pt x="76" y="139"/>
                      <a:pt x="76" y="139"/>
                    </a:cubicBezTo>
                    <a:cubicBezTo>
                      <a:pt x="79" y="142"/>
                      <a:pt x="81" y="144"/>
                      <a:pt x="81" y="147"/>
                    </a:cubicBezTo>
                    <a:cubicBezTo>
                      <a:pt x="81" y="149"/>
                      <a:pt x="80" y="151"/>
                      <a:pt x="80" y="152"/>
                    </a:cubicBezTo>
                    <a:cubicBezTo>
                      <a:pt x="77" y="161"/>
                      <a:pt x="69" y="169"/>
                      <a:pt x="63" y="176"/>
                    </a:cubicBezTo>
                    <a:cubicBezTo>
                      <a:pt x="59" y="181"/>
                      <a:pt x="52" y="184"/>
                      <a:pt x="47" y="188"/>
                    </a:cubicBezTo>
                    <a:cubicBezTo>
                      <a:pt x="41" y="192"/>
                      <a:pt x="36" y="196"/>
                      <a:pt x="31" y="200"/>
                    </a:cubicBezTo>
                    <a:cubicBezTo>
                      <a:pt x="29" y="202"/>
                      <a:pt x="26" y="202"/>
                      <a:pt x="24" y="202"/>
                    </a:cubicBezTo>
                    <a:cubicBezTo>
                      <a:pt x="20" y="204"/>
                      <a:pt x="15" y="205"/>
                      <a:pt x="10" y="206"/>
                    </a:cubicBezTo>
                    <a:cubicBezTo>
                      <a:pt x="9" y="206"/>
                      <a:pt x="3" y="207"/>
                      <a:pt x="2" y="208"/>
                    </a:cubicBezTo>
                    <a:cubicBezTo>
                      <a:pt x="2" y="210"/>
                      <a:pt x="1" y="211"/>
                      <a:pt x="0" y="212"/>
                    </a:cubicBezTo>
                    <a:cubicBezTo>
                      <a:pt x="101" y="212"/>
                      <a:pt x="101" y="212"/>
                      <a:pt x="101" y="212"/>
                    </a:cubicBezTo>
                    <a:cubicBezTo>
                      <a:pt x="100" y="190"/>
                      <a:pt x="100" y="190"/>
                      <a:pt x="100" y="190"/>
                    </a:cubicBezTo>
                    <a:cubicBezTo>
                      <a:pt x="100" y="189"/>
                      <a:pt x="101" y="189"/>
                      <a:pt x="101" y="189"/>
                    </a:cubicBezTo>
                    <a:cubicBezTo>
                      <a:pt x="101" y="187"/>
                      <a:pt x="102" y="185"/>
                      <a:pt x="104" y="184"/>
                    </a:cubicBezTo>
                    <a:cubicBezTo>
                      <a:pt x="105" y="183"/>
                      <a:pt x="107" y="182"/>
                      <a:pt x="108" y="181"/>
                    </a:cubicBezTo>
                    <a:cubicBezTo>
                      <a:pt x="111" y="179"/>
                      <a:pt x="111" y="179"/>
                      <a:pt x="111" y="179"/>
                    </a:cubicBezTo>
                    <a:cubicBezTo>
                      <a:pt x="111" y="179"/>
                      <a:pt x="111" y="179"/>
                      <a:pt x="112" y="179"/>
                    </a:cubicBezTo>
                    <a:cubicBezTo>
                      <a:pt x="115" y="176"/>
                      <a:pt x="115" y="176"/>
                      <a:pt x="115" y="176"/>
                    </a:cubicBezTo>
                    <a:cubicBezTo>
                      <a:pt x="118" y="174"/>
                      <a:pt x="121" y="173"/>
                      <a:pt x="123" y="171"/>
                    </a:cubicBezTo>
                    <a:cubicBezTo>
                      <a:pt x="124" y="170"/>
                      <a:pt x="125" y="169"/>
                      <a:pt x="127" y="169"/>
                    </a:cubicBezTo>
                    <a:cubicBezTo>
                      <a:pt x="129" y="167"/>
                      <a:pt x="131" y="167"/>
                      <a:pt x="133" y="166"/>
                    </a:cubicBezTo>
                    <a:cubicBezTo>
                      <a:pt x="135" y="166"/>
                      <a:pt x="136" y="165"/>
                      <a:pt x="137" y="165"/>
                    </a:cubicBezTo>
                    <a:cubicBezTo>
                      <a:pt x="141" y="164"/>
                      <a:pt x="141" y="164"/>
                      <a:pt x="141" y="164"/>
                    </a:cubicBezTo>
                    <a:cubicBezTo>
                      <a:pt x="142" y="164"/>
                      <a:pt x="144" y="163"/>
                      <a:pt x="146" y="163"/>
                    </a:cubicBezTo>
                    <a:cubicBezTo>
                      <a:pt x="146" y="163"/>
                      <a:pt x="147" y="163"/>
                      <a:pt x="147" y="163"/>
                    </a:cubicBezTo>
                    <a:cubicBezTo>
                      <a:pt x="148" y="163"/>
                      <a:pt x="149" y="163"/>
                      <a:pt x="149" y="163"/>
                    </a:cubicBezTo>
                    <a:cubicBezTo>
                      <a:pt x="150" y="163"/>
                      <a:pt x="150" y="163"/>
                      <a:pt x="150" y="163"/>
                    </a:cubicBezTo>
                    <a:cubicBezTo>
                      <a:pt x="151" y="163"/>
                      <a:pt x="151" y="163"/>
                      <a:pt x="151" y="163"/>
                    </a:cubicBezTo>
                    <a:cubicBezTo>
                      <a:pt x="151" y="163"/>
                      <a:pt x="151" y="161"/>
                      <a:pt x="152" y="160"/>
                    </a:cubicBezTo>
                    <a:cubicBezTo>
                      <a:pt x="152" y="160"/>
                      <a:pt x="152" y="160"/>
                      <a:pt x="152" y="160"/>
                    </a:cubicBezTo>
                    <a:cubicBezTo>
                      <a:pt x="152" y="159"/>
                      <a:pt x="152" y="159"/>
                      <a:pt x="152" y="158"/>
                    </a:cubicBezTo>
                    <a:cubicBezTo>
                      <a:pt x="153" y="155"/>
                      <a:pt x="153" y="155"/>
                      <a:pt x="153" y="155"/>
                    </a:cubicBezTo>
                    <a:cubicBezTo>
                      <a:pt x="156" y="157"/>
                      <a:pt x="156" y="157"/>
                      <a:pt x="156" y="157"/>
                    </a:cubicBezTo>
                    <a:cubicBezTo>
                      <a:pt x="156" y="157"/>
                      <a:pt x="157" y="157"/>
                      <a:pt x="157" y="157"/>
                    </a:cubicBezTo>
                    <a:cubicBezTo>
                      <a:pt x="158" y="157"/>
                      <a:pt x="159" y="157"/>
                      <a:pt x="160" y="157"/>
                    </a:cubicBezTo>
                    <a:cubicBezTo>
                      <a:pt x="166" y="157"/>
                      <a:pt x="173" y="156"/>
                      <a:pt x="177" y="154"/>
                    </a:cubicBezTo>
                    <a:cubicBezTo>
                      <a:pt x="178" y="154"/>
                      <a:pt x="179" y="153"/>
                      <a:pt x="180" y="153"/>
                    </a:cubicBezTo>
                    <a:cubicBezTo>
                      <a:pt x="180" y="152"/>
                      <a:pt x="181" y="151"/>
                      <a:pt x="182" y="150"/>
                    </a:cubicBezTo>
                    <a:cubicBezTo>
                      <a:pt x="184" y="148"/>
                      <a:pt x="184" y="148"/>
                      <a:pt x="184" y="148"/>
                    </a:cubicBezTo>
                    <a:cubicBezTo>
                      <a:pt x="184" y="148"/>
                      <a:pt x="184" y="147"/>
                      <a:pt x="185" y="147"/>
                    </a:cubicBezTo>
                    <a:cubicBezTo>
                      <a:pt x="185" y="146"/>
                      <a:pt x="185" y="146"/>
                      <a:pt x="185" y="146"/>
                    </a:cubicBezTo>
                    <a:cubicBezTo>
                      <a:pt x="187" y="144"/>
                      <a:pt x="189" y="142"/>
                      <a:pt x="191" y="141"/>
                    </a:cubicBezTo>
                    <a:cubicBezTo>
                      <a:pt x="216" y="130"/>
                      <a:pt x="216" y="130"/>
                      <a:pt x="216" y="130"/>
                    </a:cubicBezTo>
                    <a:cubicBezTo>
                      <a:pt x="216" y="129"/>
                      <a:pt x="217" y="129"/>
                      <a:pt x="217" y="129"/>
                    </a:cubicBezTo>
                    <a:cubicBezTo>
                      <a:pt x="218" y="129"/>
                      <a:pt x="218" y="129"/>
                      <a:pt x="219" y="129"/>
                    </a:cubicBezTo>
                    <a:cubicBezTo>
                      <a:pt x="217" y="127"/>
                      <a:pt x="217" y="127"/>
                      <a:pt x="217" y="127"/>
                    </a:cubicBezTo>
                    <a:cubicBezTo>
                      <a:pt x="214" y="126"/>
                      <a:pt x="215" y="124"/>
                      <a:pt x="215" y="122"/>
                    </a:cubicBezTo>
                    <a:cubicBezTo>
                      <a:pt x="215" y="121"/>
                      <a:pt x="216" y="120"/>
                      <a:pt x="216" y="120"/>
                    </a:cubicBezTo>
                    <a:cubicBezTo>
                      <a:pt x="215" y="119"/>
                      <a:pt x="215" y="119"/>
                      <a:pt x="215" y="119"/>
                    </a:cubicBezTo>
                    <a:cubicBezTo>
                      <a:pt x="215" y="119"/>
                      <a:pt x="215" y="119"/>
                      <a:pt x="215" y="119"/>
                    </a:cubicBezTo>
                    <a:cubicBezTo>
                      <a:pt x="215" y="118"/>
                      <a:pt x="214" y="117"/>
                      <a:pt x="214" y="116"/>
                    </a:cubicBezTo>
                    <a:cubicBezTo>
                      <a:pt x="214" y="115"/>
                      <a:pt x="214" y="114"/>
                      <a:pt x="214" y="113"/>
                    </a:cubicBezTo>
                    <a:cubicBezTo>
                      <a:pt x="214" y="111"/>
                      <a:pt x="216" y="109"/>
                      <a:pt x="218" y="108"/>
                    </a:cubicBezTo>
                    <a:cubicBezTo>
                      <a:pt x="219" y="108"/>
                      <a:pt x="219" y="108"/>
                      <a:pt x="219" y="108"/>
                    </a:cubicBezTo>
                    <a:cubicBezTo>
                      <a:pt x="220" y="108"/>
                      <a:pt x="221" y="108"/>
                      <a:pt x="222" y="108"/>
                    </a:cubicBezTo>
                    <a:cubicBezTo>
                      <a:pt x="223" y="109"/>
                      <a:pt x="223" y="109"/>
                      <a:pt x="224" y="109"/>
                    </a:cubicBezTo>
                    <a:cubicBezTo>
                      <a:pt x="224" y="109"/>
                      <a:pt x="224" y="109"/>
                      <a:pt x="224" y="109"/>
                    </a:cubicBezTo>
                    <a:cubicBezTo>
                      <a:pt x="225" y="109"/>
                      <a:pt x="225" y="109"/>
                      <a:pt x="225" y="109"/>
                    </a:cubicBezTo>
                    <a:cubicBezTo>
                      <a:pt x="226" y="109"/>
                      <a:pt x="229" y="108"/>
                      <a:pt x="231" y="107"/>
                    </a:cubicBezTo>
                    <a:cubicBezTo>
                      <a:pt x="232" y="106"/>
                      <a:pt x="232" y="106"/>
                      <a:pt x="233" y="106"/>
                    </a:cubicBezTo>
                    <a:cubicBezTo>
                      <a:pt x="234" y="105"/>
                      <a:pt x="235" y="104"/>
                      <a:pt x="235" y="103"/>
                    </a:cubicBezTo>
                    <a:cubicBezTo>
                      <a:pt x="237" y="101"/>
                      <a:pt x="238" y="99"/>
                      <a:pt x="241" y="98"/>
                    </a:cubicBezTo>
                    <a:cubicBezTo>
                      <a:pt x="242" y="98"/>
                      <a:pt x="244" y="97"/>
                      <a:pt x="245" y="97"/>
                    </a:cubicBezTo>
                    <a:cubicBezTo>
                      <a:pt x="246" y="97"/>
                      <a:pt x="247" y="97"/>
                      <a:pt x="247" y="97"/>
                    </a:cubicBezTo>
                    <a:cubicBezTo>
                      <a:pt x="249" y="96"/>
                      <a:pt x="251" y="96"/>
                      <a:pt x="253" y="96"/>
                    </a:cubicBezTo>
                    <a:cubicBezTo>
                      <a:pt x="254" y="96"/>
                      <a:pt x="256" y="96"/>
                      <a:pt x="257" y="97"/>
                    </a:cubicBezTo>
                    <a:cubicBezTo>
                      <a:pt x="258" y="97"/>
                      <a:pt x="258" y="97"/>
                      <a:pt x="258" y="97"/>
                    </a:cubicBezTo>
                    <a:cubicBezTo>
                      <a:pt x="260" y="97"/>
                      <a:pt x="263" y="97"/>
                      <a:pt x="265" y="97"/>
                    </a:cubicBezTo>
                    <a:cubicBezTo>
                      <a:pt x="266" y="97"/>
                      <a:pt x="268" y="97"/>
                      <a:pt x="269" y="98"/>
                    </a:cubicBezTo>
                    <a:cubicBezTo>
                      <a:pt x="271" y="98"/>
                      <a:pt x="273" y="98"/>
                      <a:pt x="275" y="98"/>
                    </a:cubicBezTo>
                    <a:cubicBezTo>
                      <a:pt x="275" y="97"/>
                      <a:pt x="275" y="96"/>
                      <a:pt x="275" y="95"/>
                    </a:cubicBezTo>
                    <a:cubicBezTo>
                      <a:pt x="278" y="92"/>
                      <a:pt x="278" y="92"/>
                      <a:pt x="278" y="92"/>
                    </a:cubicBezTo>
                    <a:cubicBezTo>
                      <a:pt x="279" y="91"/>
                      <a:pt x="279" y="91"/>
                      <a:pt x="279" y="91"/>
                    </a:cubicBezTo>
                    <a:cubicBezTo>
                      <a:pt x="277" y="89"/>
                      <a:pt x="277" y="89"/>
                      <a:pt x="277" y="89"/>
                    </a:cubicBezTo>
                    <a:cubicBezTo>
                      <a:pt x="275" y="88"/>
                      <a:pt x="274" y="86"/>
                      <a:pt x="273" y="84"/>
                    </a:cubicBezTo>
                    <a:cubicBezTo>
                      <a:pt x="264" y="61"/>
                      <a:pt x="264" y="61"/>
                      <a:pt x="264" y="61"/>
                    </a:cubicBezTo>
                    <a:cubicBezTo>
                      <a:pt x="264" y="60"/>
                      <a:pt x="264" y="58"/>
                      <a:pt x="264" y="57"/>
                    </a:cubicBezTo>
                    <a:cubicBezTo>
                      <a:pt x="264" y="56"/>
                      <a:pt x="264" y="55"/>
                      <a:pt x="264" y="54"/>
                    </a:cubicBezTo>
                    <a:cubicBezTo>
                      <a:pt x="265" y="52"/>
                      <a:pt x="266" y="49"/>
                      <a:pt x="265" y="48"/>
                    </a:cubicBezTo>
                    <a:cubicBezTo>
                      <a:pt x="264" y="42"/>
                      <a:pt x="264" y="42"/>
                      <a:pt x="264" y="42"/>
                    </a:cubicBezTo>
                    <a:cubicBezTo>
                      <a:pt x="263" y="41"/>
                      <a:pt x="263" y="41"/>
                      <a:pt x="264" y="40"/>
                    </a:cubicBezTo>
                    <a:cubicBezTo>
                      <a:pt x="264" y="40"/>
                      <a:pt x="264" y="39"/>
                      <a:pt x="264" y="39"/>
                    </a:cubicBezTo>
                    <a:cubicBezTo>
                      <a:pt x="263" y="38"/>
                      <a:pt x="263" y="38"/>
                      <a:pt x="262" y="37"/>
                    </a:cubicBezTo>
                    <a:cubicBezTo>
                      <a:pt x="261" y="36"/>
                      <a:pt x="261" y="35"/>
                      <a:pt x="261" y="34"/>
                    </a:cubicBezTo>
                    <a:cubicBezTo>
                      <a:pt x="261" y="33"/>
                      <a:pt x="261" y="33"/>
                      <a:pt x="262" y="32"/>
                    </a:cubicBezTo>
                    <a:cubicBezTo>
                      <a:pt x="260" y="34"/>
                      <a:pt x="260" y="34"/>
                      <a:pt x="260" y="34"/>
                    </a:cubicBezTo>
                    <a:cubicBezTo>
                      <a:pt x="261" y="31"/>
                      <a:pt x="261" y="31"/>
                      <a:pt x="261" y="31"/>
                    </a:cubicBezTo>
                    <a:cubicBezTo>
                      <a:pt x="260" y="31"/>
                      <a:pt x="260" y="31"/>
                      <a:pt x="260" y="31"/>
                    </a:cubicBezTo>
                    <a:cubicBezTo>
                      <a:pt x="260" y="30"/>
                      <a:pt x="259" y="29"/>
                      <a:pt x="258" y="28"/>
                    </a:cubicBezTo>
                    <a:cubicBezTo>
                      <a:pt x="258" y="28"/>
                      <a:pt x="258" y="28"/>
                      <a:pt x="258" y="28"/>
                    </a:cubicBezTo>
                    <a:cubicBezTo>
                      <a:pt x="257" y="27"/>
                      <a:pt x="257" y="27"/>
                      <a:pt x="256" y="26"/>
                    </a:cubicBezTo>
                    <a:cubicBezTo>
                      <a:pt x="255" y="26"/>
                      <a:pt x="255" y="26"/>
                      <a:pt x="255" y="26"/>
                    </a:cubicBezTo>
                    <a:cubicBezTo>
                      <a:pt x="255" y="25"/>
                      <a:pt x="254" y="25"/>
                      <a:pt x="254" y="24"/>
                    </a:cubicBezTo>
                    <a:cubicBezTo>
                      <a:pt x="253" y="24"/>
                      <a:pt x="253" y="24"/>
                      <a:pt x="253" y="24"/>
                    </a:cubicBezTo>
                    <a:cubicBezTo>
                      <a:pt x="253" y="23"/>
                      <a:pt x="253" y="23"/>
                      <a:pt x="253" y="23"/>
                    </a:cubicBezTo>
                    <a:cubicBezTo>
                      <a:pt x="252" y="22"/>
                      <a:pt x="252" y="22"/>
                      <a:pt x="252" y="22"/>
                    </a:cubicBezTo>
                    <a:cubicBezTo>
                      <a:pt x="253" y="21"/>
                      <a:pt x="253" y="21"/>
                      <a:pt x="253" y="21"/>
                    </a:cubicBezTo>
                    <a:cubicBezTo>
                      <a:pt x="249" y="19"/>
                      <a:pt x="245" y="18"/>
                      <a:pt x="240" y="18"/>
                    </a:cubicBezTo>
                    <a:cubicBezTo>
                      <a:pt x="240" y="18"/>
                      <a:pt x="240" y="18"/>
                      <a:pt x="239" y="18"/>
                    </a:cubicBezTo>
                    <a:cubicBezTo>
                      <a:pt x="240" y="19"/>
                      <a:pt x="240" y="20"/>
                      <a:pt x="240" y="21"/>
                    </a:cubicBezTo>
                    <a:cubicBezTo>
                      <a:pt x="239" y="20"/>
                      <a:pt x="239" y="19"/>
                      <a:pt x="239" y="17"/>
                    </a:cubicBezTo>
                    <a:cubicBezTo>
                      <a:pt x="238" y="14"/>
                      <a:pt x="238" y="13"/>
                      <a:pt x="236" y="13"/>
                    </a:cubicBezTo>
                    <a:cubicBezTo>
                      <a:pt x="235" y="13"/>
                      <a:pt x="235" y="13"/>
                      <a:pt x="234" y="14"/>
                    </a:cubicBezTo>
                    <a:cubicBezTo>
                      <a:pt x="227" y="16"/>
                      <a:pt x="221" y="19"/>
                      <a:pt x="215" y="19"/>
                    </a:cubicBezTo>
                    <a:cubicBezTo>
                      <a:pt x="210" y="19"/>
                      <a:pt x="206" y="19"/>
                      <a:pt x="202" y="19"/>
                    </a:cubicBezTo>
                    <a:cubicBezTo>
                      <a:pt x="202" y="19"/>
                      <a:pt x="202" y="19"/>
                      <a:pt x="201" y="19"/>
                    </a:cubicBezTo>
                    <a:cubicBezTo>
                      <a:pt x="199" y="19"/>
                      <a:pt x="195" y="16"/>
                      <a:pt x="193" y="15"/>
                    </a:cubicBezTo>
                    <a:cubicBezTo>
                      <a:pt x="190" y="13"/>
                      <a:pt x="188" y="13"/>
                      <a:pt x="186" y="9"/>
                    </a:cubicBezTo>
                    <a:cubicBezTo>
                      <a:pt x="184" y="7"/>
                      <a:pt x="183" y="4"/>
                      <a:pt x="181" y="1"/>
                    </a:cubicBezTo>
                    <a:cubicBezTo>
                      <a:pt x="181" y="2"/>
                      <a:pt x="181" y="2"/>
                      <a:pt x="181" y="2"/>
                    </a:cubicBezTo>
                    <a:cubicBezTo>
                      <a:pt x="182" y="1"/>
                      <a:pt x="183" y="1"/>
                      <a:pt x="183" y="0"/>
                    </a:cubicBezTo>
                    <a:cubicBezTo>
                      <a:pt x="182" y="0"/>
                      <a:pt x="181" y="0"/>
                      <a:pt x="1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199"/>
              <p:cNvSpPr/>
              <p:nvPr/>
            </p:nvSpPr>
            <p:spPr bwMode="auto">
              <a:xfrm>
                <a:off x="2716" y="1181"/>
                <a:ext cx="458" cy="366"/>
              </a:xfrm>
              <a:custGeom>
                <a:gdLst>
                  <a:gd name="T0" fmla="*/ 194 w 194"/>
                  <a:gd name="T1" fmla="*/ 0 h 155"/>
                  <a:gd name="T2" fmla="*/ 89 w 194"/>
                  <a:gd name="T3" fmla="*/ 0 h 155"/>
                  <a:gd name="T4" fmla="*/ 77 w 194"/>
                  <a:gd name="T5" fmla="*/ 24 h 155"/>
                  <a:gd name="T6" fmla="*/ 63 w 194"/>
                  <a:gd name="T7" fmla="*/ 32 h 155"/>
                  <a:gd name="T8" fmla="*/ 59 w 194"/>
                  <a:gd name="T9" fmla="*/ 36 h 155"/>
                  <a:gd name="T10" fmla="*/ 53 w 194"/>
                  <a:gd name="T11" fmla="*/ 52 h 155"/>
                  <a:gd name="T12" fmla="*/ 48 w 194"/>
                  <a:gd name="T13" fmla="*/ 74 h 155"/>
                  <a:gd name="T14" fmla="*/ 42 w 194"/>
                  <a:gd name="T15" fmla="*/ 79 h 155"/>
                  <a:gd name="T16" fmla="*/ 36 w 194"/>
                  <a:gd name="T17" fmla="*/ 86 h 155"/>
                  <a:gd name="T18" fmla="*/ 26 w 194"/>
                  <a:gd name="T19" fmla="*/ 98 h 155"/>
                  <a:gd name="T20" fmla="*/ 18 w 194"/>
                  <a:gd name="T21" fmla="*/ 114 h 155"/>
                  <a:gd name="T22" fmla="*/ 15 w 194"/>
                  <a:gd name="T23" fmla="*/ 125 h 155"/>
                  <a:gd name="T24" fmla="*/ 12 w 194"/>
                  <a:gd name="T25" fmla="*/ 132 h 155"/>
                  <a:gd name="T26" fmla="*/ 7 w 194"/>
                  <a:gd name="T27" fmla="*/ 136 h 155"/>
                  <a:gd name="T28" fmla="*/ 1 w 194"/>
                  <a:gd name="T29" fmla="*/ 144 h 155"/>
                  <a:gd name="T30" fmla="*/ 0 w 194"/>
                  <a:gd name="T31" fmla="*/ 152 h 155"/>
                  <a:gd name="T32" fmla="*/ 0 w 194"/>
                  <a:gd name="T33" fmla="*/ 155 h 155"/>
                  <a:gd name="T34" fmla="*/ 2 w 194"/>
                  <a:gd name="T35" fmla="*/ 153 h 155"/>
                  <a:gd name="T36" fmla="*/ 5 w 194"/>
                  <a:gd name="T37" fmla="*/ 153 h 155"/>
                  <a:gd name="T38" fmla="*/ 7 w 194"/>
                  <a:gd name="T39" fmla="*/ 153 h 155"/>
                  <a:gd name="T40" fmla="*/ 7 w 194"/>
                  <a:gd name="T41" fmla="*/ 153 h 155"/>
                  <a:gd name="T42" fmla="*/ 8 w 194"/>
                  <a:gd name="T43" fmla="*/ 153 h 155"/>
                  <a:gd name="T44" fmla="*/ 11 w 194"/>
                  <a:gd name="T45" fmla="*/ 153 h 155"/>
                  <a:gd name="T46" fmla="*/ 13 w 194"/>
                  <a:gd name="T47" fmla="*/ 153 h 155"/>
                  <a:gd name="T48" fmla="*/ 39 w 194"/>
                  <a:gd name="T49" fmla="*/ 153 h 155"/>
                  <a:gd name="T50" fmla="*/ 92 w 194"/>
                  <a:gd name="T51" fmla="*/ 153 h 155"/>
                  <a:gd name="T52" fmla="*/ 91 w 194"/>
                  <a:gd name="T53" fmla="*/ 149 h 155"/>
                  <a:gd name="T54" fmla="*/ 91 w 194"/>
                  <a:gd name="T55" fmla="*/ 149 h 155"/>
                  <a:gd name="T56" fmla="*/ 91 w 194"/>
                  <a:gd name="T57" fmla="*/ 147 h 155"/>
                  <a:gd name="T58" fmla="*/ 90 w 194"/>
                  <a:gd name="T59" fmla="*/ 132 h 155"/>
                  <a:gd name="T60" fmla="*/ 90 w 194"/>
                  <a:gd name="T61" fmla="*/ 127 h 155"/>
                  <a:gd name="T62" fmla="*/ 89 w 194"/>
                  <a:gd name="T63" fmla="*/ 126 h 155"/>
                  <a:gd name="T64" fmla="*/ 89 w 194"/>
                  <a:gd name="T65" fmla="*/ 125 h 155"/>
                  <a:gd name="T66" fmla="*/ 90 w 194"/>
                  <a:gd name="T67" fmla="*/ 117 h 155"/>
                  <a:gd name="T68" fmla="*/ 99 w 194"/>
                  <a:gd name="T69" fmla="*/ 108 h 155"/>
                  <a:gd name="T70" fmla="*/ 101 w 194"/>
                  <a:gd name="T71" fmla="*/ 106 h 155"/>
                  <a:gd name="T72" fmla="*/ 102 w 194"/>
                  <a:gd name="T73" fmla="*/ 106 h 155"/>
                  <a:gd name="T74" fmla="*/ 106 w 194"/>
                  <a:gd name="T75" fmla="*/ 104 h 155"/>
                  <a:gd name="T76" fmla="*/ 111 w 194"/>
                  <a:gd name="T77" fmla="*/ 103 h 155"/>
                  <a:gd name="T78" fmla="*/ 113 w 194"/>
                  <a:gd name="T79" fmla="*/ 102 h 155"/>
                  <a:gd name="T80" fmla="*/ 113 w 194"/>
                  <a:gd name="T81" fmla="*/ 102 h 155"/>
                  <a:gd name="T82" fmla="*/ 115 w 194"/>
                  <a:gd name="T83" fmla="*/ 102 h 155"/>
                  <a:gd name="T84" fmla="*/ 115 w 194"/>
                  <a:gd name="T85" fmla="*/ 93 h 155"/>
                  <a:gd name="T86" fmla="*/ 115 w 194"/>
                  <a:gd name="T87" fmla="*/ 92 h 155"/>
                  <a:gd name="T88" fmla="*/ 115 w 194"/>
                  <a:gd name="T89" fmla="*/ 90 h 155"/>
                  <a:gd name="T90" fmla="*/ 115 w 194"/>
                  <a:gd name="T91" fmla="*/ 43 h 155"/>
                  <a:gd name="T92" fmla="*/ 117 w 194"/>
                  <a:gd name="T93" fmla="*/ 37 h 155"/>
                  <a:gd name="T94" fmla="*/ 118 w 194"/>
                  <a:gd name="T95" fmla="*/ 37 h 155"/>
                  <a:gd name="T96" fmla="*/ 121 w 194"/>
                  <a:gd name="T97" fmla="*/ 37 h 155"/>
                  <a:gd name="T98" fmla="*/ 122 w 194"/>
                  <a:gd name="T99" fmla="*/ 37 h 155"/>
                  <a:gd name="T100" fmla="*/ 123 w 194"/>
                  <a:gd name="T101" fmla="*/ 37 h 155"/>
                  <a:gd name="T102" fmla="*/ 194 w 194"/>
                  <a:gd name="T103" fmla="*/ 37 h 155"/>
                  <a:gd name="T104" fmla="*/ 194 w 194"/>
                  <a:gd name="T105" fmla="*/ 32 h 155"/>
                  <a:gd name="T106" fmla="*/ 194 w 194"/>
                  <a:gd name="T107" fmla="*/ 31 h 155"/>
                  <a:gd name="T108" fmla="*/ 193 w 194"/>
                  <a:gd name="T109" fmla="*/ 28 h 155"/>
                  <a:gd name="T110" fmla="*/ 194 w 194"/>
                  <a:gd name="T111" fmla="*/ 2 h 155"/>
                  <a:gd name="T112" fmla="*/ 194 w 194"/>
                  <a:gd name="T113" fmla="*/ 2 h 155"/>
                  <a:gd name="T114" fmla="*/ 194 w 194"/>
                  <a:gd name="T115" fmla="*/ 0 h 1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155">
                    <a:moveTo>
                      <a:pt x="194" y="0"/>
                    </a:moveTo>
                    <a:cubicBezTo>
                      <a:pt x="89" y="0"/>
                      <a:pt x="89" y="0"/>
                      <a:pt x="89" y="0"/>
                    </a:cubicBezTo>
                    <a:cubicBezTo>
                      <a:pt x="87" y="8"/>
                      <a:pt x="84" y="20"/>
                      <a:pt x="77" y="24"/>
                    </a:cubicBezTo>
                    <a:cubicBezTo>
                      <a:pt x="73" y="27"/>
                      <a:pt x="68" y="30"/>
                      <a:pt x="63" y="32"/>
                    </a:cubicBezTo>
                    <a:cubicBezTo>
                      <a:pt x="62" y="33"/>
                      <a:pt x="60" y="34"/>
                      <a:pt x="59" y="36"/>
                    </a:cubicBezTo>
                    <a:cubicBezTo>
                      <a:pt x="59" y="42"/>
                      <a:pt x="56" y="47"/>
                      <a:pt x="53" y="52"/>
                    </a:cubicBezTo>
                    <a:cubicBezTo>
                      <a:pt x="50" y="59"/>
                      <a:pt x="52" y="68"/>
                      <a:pt x="48" y="74"/>
                    </a:cubicBezTo>
                    <a:cubicBezTo>
                      <a:pt x="47" y="77"/>
                      <a:pt x="44" y="76"/>
                      <a:pt x="42" y="79"/>
                    </a:cubicBezTo>
                    <a:cubicBezTo>
                      <a:pt x="40" y="81"/>
                      <a:pt x="38" y="83"/>
                      <a:pt x="36" y="86"/>
                    </a:cubicBezTo>
                    <a:cubicBezTo>
                      <a:pt x="32" y="90"/>
                      <a:pt x="29" y="93"/>
                      <a:pt x="26" y="98"/>
                    </a:cubicBezTo>
                    <a:cubicBezTo>
                      <a:pt x="24" y="103"/>
                      <a:pt x="20" y="109"/>
                      <a:pt x="18" y="114"/>
                    </a:cubicBezTo>
                    <a:cubicBezTo>
                      <a:pt x="17" y="118"/>
                      <a:pt x="16" y="121"/>
                      <a:pt x="15" y="125"/>
                    </a:cubicBezTo>
                    <a:cubicBezTo>
                      <a:pt x="14" y="127"/>
                      <a:pt x="13" y="130"/>
                      <a:pt x="12" y="132"/>
                    </a:cubicBezTo>
                    <a:cubicBezTo>
                      <a:pt x="11" y="133"/>
                      <a:pt x="8" y="134"/>
                      <a:pt x="7" y="136"/>
                    </a:cubicBezTo>
                    <a:cubicBezTo>
                      <a:pt x="5" y="138"/>
                      <a:pt x="2" y="141"/>
                      <a:pt x="1" y="144"/>
                    </a:cubicBezTo>
                    <a:cubicBezTo>
                      <a:pt x="1" y="146"/>
                      <a:pt x="1" y="149"/>
                      <a:pt x="0" y="152"/>
                    </a:cubicBezTo>
                    <a:cubicBezTo>
                      <a:pt x="0" y="153"/>
                      <a:pt x="0" y="154"/>
                      <a:pt x="0" y="155"/>
                    </a:cubicBezTo>
                    <a:cubicBezTo>
                      <a:pt x="0" y="154"/>
                      <a:pt x="1" y="154"/>
                      <a:pt x="2" y="153"/>
                    </a:cubicBezTo>
                    <a:cubicBezTo>
                      <a:pt x="3" y="153"/>
                      <a:pt x="4" y="153"/>
                      <a:pt x="5" y="153"/>
                    </a:cubicBezTo>
                    <a:cubicBezTo>
                      <a:pt x="5" y="153"/>
                      <a:pt x="6" y="153"/>
                      <a:pt x="7" y="153"/>
                    </a:cubicBezTo>
                    <a:cubicBezTo>
                      <a:pt x="7" y="153"/>
                      <a:pt x="7" y="153"/>
                      <a:pt x="7" y="153"/>
                    </a:cubicBezTo>
                    <a:cubicBezTo>
                      <a:pt x="8" y="153"/>
                      <a:pt x="8" y="153"/>
                      <a:pt x="8" y="153"/>
                    </a:cubicBezTo>
                    <a:cubicBezTo>
                      <a:pt x="9" y="153"/>
                      <a:pt x="10" y="153"/>
                      <a:pt x="11" y="153"/>
                    </a:cubicBezTo>
                    <a:cubicBezTo>
                      <a:pt x="12" y="153"/>
                      <a:pt x="12" y="153"/>
                      <a:pt x="13" y="153"/>
                    </a:cubicBezTo>
                    <a:cubicBezTo>
                      <a:pt x="39" y="153"/>
                      <a:pt x="39" y="153"/>
                      <a:pt x="39" y="153"/>
                    </a:cubicBezTo>
                    <a:cubicBezTo>
                      <a:pt x="57" y="153"/>
                      <a:pt x="74" y="153"/>
                      <a:pt x="92" y="153"/>
                    </a:cubicBezTo>
                    <a:cubicBezTo>
                      <a:pt x="92" y="152"/>
                      <a:pt x="92" y="151"/>
                      <a:pt x="91" y="149"/>
                    </a:cubicBezTo>
                    <a:cubicBezTo>
                      <a:pt x="91" y="149"/>
                      <a:pt x="91" y="149"/>
                      <a:pt x="91" y="149"/>
                    </a:cubicBezTo>
                    <a:cubicBezTo>
                      <a:pt x="91" y="148"/>
                      <a:pt x="91" y="148"/>
                      <a:pt x="91" y="147"/>
                    </a:cubicBezTo>
                    <a:cubicBezTo>
                      <a:pt x="90" y="132"/>
                      <a:pt x="90" y="132"/>
                      <a:pt x="90" y="132"/>
                    </a:cubicBezTo>
                    <a:cubicBezTo>
                      <a:pt x="90" y="130"/>
                      <a:pt x="90" y="129"/>
                      <a:pt x="90" y="127"/>
                    </a:cubicBezTo>
                    <a:cubicBezTo>
                      <a:pt x="89" y="126"/>
                      <a:pt x="89" y="126"/>
                      <a:pt x="89" y="126"/>
                    </a:cubicBezTo>
                    <a:cubicBezTo>
                      <a:pt x="89" y="125"/>
                      <a:pt x="89" y="125"/>
                      <a:pt x="89" y="125"/>
                    </a:cubicBezTo>
                    <a:cubicBezTo>
                      <a:pt x="88" y="121"/>
                      <a:pt x="89" y="119"/>
                      <a:pt x="90" y="117"/>
                    </a:cubicBezTo>
                    <a:cubicBezTo>
                      <a:pt x="93" y="113"/>
                      <a:pt x="96" y="110"/>
                      <a:pt x="99" y="108"/>
                    </a:cubicBezTo>
                    <a:cubicBezTo>
                      <a:pt x="99" y="107"/>
                      <a:pt x="100" y="107"/>
                      <a:pt x="101" y="106"/>
                    </a:cubicBezTo>
                    <a:cubicBezTo>
                      <a:pt x="101" y="106"/>
                      <a:pt x="102" y="106"/>
                      <a:pt x="102" y="106"/>
                    </a:cubicBezTo>
                    <a:cubicBezTo>
                      <a:pt x="104" y="105"/>
                      <a:pt x="105" y="105"/>
                      <a:pt x="106" y="104"/>
                    </a:cubicBezTo>
                    <a:cubicBezTo>
                      <a:pt x="108" y="104"/>
                      <a:pt x="109" y="104"/>
                      <a:pt x="111" y="103"/>
                    </a:cubicBezTo>
                    <a:cubicBezTo>
                      <a:pt x="112" y="103"/>
                      <a:pt x="112" y="103"/>
                      <a:pt x="113" y="102"/>
                    </a:cubicBezTo>
                    <a:cubicBezTo>
                      <a:pt x="113" y="102"/>
                      <a:pt x="113" y="102"/>
                      <a:pt x="113" y="102"/>
                    </a:cubicBezTo>
                    <a:cubicBezTo>
                      <a:pt x="114" y="102"/>
                      <a:pt x="115" y="102"/>
                      <a:pt x="115" y="102"/>
                    </a:cubicBezTo>
                    <a:cubicBezTo>
                      <a:pt x="116" y="100"/>
                      <a:pt x="115" y="95"/>
                      <a:pt x="115" y="93"/>
                    </a:cubicBezTo>
                    <a:cubicBezTo>
                      <a:pt x="115" y="92"/>
                      <a:pt x="115" y="92"/>
                      <a:pt x="115" y="92"/>
                    </a:cubicBezTo>
                    <a:cubicBezTo>
                      <a:pt x="115" y="91"/>
                      <a:pt x="115" y="90"/>
                      <a:pt x="115" y="90"/>
                    </a:cubicBezTo>
                    <a:cubicBezTo>
                      <a:pt x="115" y="43"/>
                      <a:pt x="115" y="43"/>
                      <a:pt x="115" y="43"/>
                    </a:cubicBezTo>
                    <a:cubicBezTo>
                      <a:pt x="115" y="41"/>
                      <a:pt x="115" y="39"/>
                      <a:pt x="117" y="37"/>
                    </a:cubicBezTo>
                    <a:cubicBezTo>
                      <a:pt x="118" y="37"/>
                      <a:pt x="118" y="37"/>
                      <a:pt x="118" y="37"/>
                    </a:cubicBezTo>
                    <a:cubicBezTo>
                      <a:pt x="119" y="37"/>
                      <a:pt x="120" y="37"/>
                      <a:pt x="121" y="37"/>
                    </a:cubicBezTo>
                    <a:cubicBezTo>
                      <a:pt x="122" y="37"/>
                      <a:pt x="122" y="37"/>
                      <a:pt x="122" y="37"/>
                    </a:cubicBezTo>
                    <a:cubicBezTo>
                      <a:pt x="122" y="37"/>
                      <a:pt x="123" y="37"/>
                      <a:pt x="123" y="37"/>
                    </a:cubicBezTo>
                    <a:cubicBezTo>
                      <a:pt x="194" y="37"/>
                      <a:pt x="194" y="37"/>
                      <a:pt x="194" y="37"/>
                    </a:cubicBezTo>
                    <a:cubicBezTo>
                      <a:pt x="194" y="35"/>
                      <a:pt x="194" y="33"/>
                      <a:pt x="194" y="32"/>
                    </a:cubicBezTo>
                    <a:cubicBezTo>
                      <a:pt x="194" y="31"/>
                      <a:pt x="194" y="31"/>
                      <a:pt x="194" y="31"/>
                    </a:cubicBezTo>
                    <a:cubicBezTo>
                      <a:pt x="194" y="30"/>
                      <a:pt x="193" y="29"/>
                      <a:pt x="193" y="28"/>
                    </a:cubicBezTo>
                    <a:cubicBezTo>
                      <a:pt x="194" y="2"/>
                      <a:pt x="194" y="2"/>
                      <a:pt x="194" y="2"/>
                    </a:cubicBezTo>
                    <a:cubicBezTo>
                      <a:pt x="194" y="2"/>
                      <a:pt x="194" y="2"/>
                      <a:pt x="194" y="2"/>
                    </a:cubicBezTo>
                    <a:cubicBezTo>
                      <a:pt x="194" y="0"/>
                      <a:pt x="194" y="0"/>
                      <a:pt x="19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200"/>
              <p:cNvSpPr/>
              <p:nvPr/>
            </p:nvSpPr>
            <p:spPr bwMode="auto">
              <a:xfrm>
                <a:off x="2723" y="1211"/>
                <a:ext cx="645" cy="710"/>
              </a:xfrm>
              <a:custGeom>
                <a:gdLst>
                  <a:gd name="T0" fmla="*/ 196 w 273"/>
                  <a:gd name="T1" fmla="*/ 15 h 300"/>
                  <a:gd name="T2" fmla="*/ 196 w 273"/>
                  <a:gd name="T3" fmla="*/ 26 h 300"/>
                  <a:gd name="T4" fmla="*/ 118 w 273"/>
                  <a:gd name="T5" fmla="*/ 30 h 300"/>
                  <a:gd name="T6" fmla="*/ 118 w 273"/>
                  <a:gd name="T7" fmla="*/ 77 h 300"/>
                  <a:gd name="T8" fmla="*/ 118 w 273"/>
                  <a:gd name="T9" fmla="*/ 91 h 300"/>
                  <a:gd name="T10" fmla="*/ 110 w 273"/>
                  <a:gd name="T11" fmla="*/ 95 h 300"/>
                  <a:gd name="T12" fmla="*/ 101 w 273"/>
                  <a:gd name="T13" fmla="*/ 98 h 300"/>
                  <a:gd name="T14" fmla="*/ 92 w 273"/>
                  <a:gd name="T15" fmla="*/ 107 h 300"/>
                  <a:gd name="T16" fmla="*/ 93 w 273"/>
                  <a:gd name="T17" fmla="*/ 119 h 300"/>
                  <a:gd name="T18" fmla="*/ 94 w 273"/>
                  <a:gd name="T19" fmla="*/ 142 h 300"/>
                  <a:gd name="T20" fmla="*/ 59 w 273"/>
                  <a:gd name="T21" fmla="*/ 146 h 300"/>
                  <a:gd name="T22" fmla="*/ 10 w 273"/>
                  <a:gd name="T23" fmla="*/ 146 h 300"/>
                  <a:gd name="T24" fmla="*/ 2 w 273"/>
                  <a:gd name="T25" fmla="*/ 145 h 300"/>
                  <a:gd name="T26" fmla="*/ 8 w 273"/>
                  <a:gd name="T27" fmla="*/ 162 h 300"/>
                  <a:gd name="T28" fmla="*/ 10 w 273"/>
                  <a:gd name="T29" fmla="*/ 160 h 300"/>
                  <a:gd name="T30" fmla="*/ 16 w 273"/>
                  <a:gd name="T31" fmla="*/ 172 h 300"/>
                  <a:gd name="T32" fmla="*/ 15 w 273"/>
                  <a:gd name="T33" fmla="*/ 180 h 300"/>
                  <a:gd name="T34" fmla="*/ 14 w 273"/>
                  <a:gd name="T35" fmla="*/ 187 h 300"/>
                  <a:gd name="T36" fmla="*/ 19 w 273"/>
                  <a:gd name="T37" fmla="*/ 222 h 300"/>
                  <a:gd name="T38" fmla="*/ 10 w 273"/>
                  <a:gd name="T39" fmla="*/ 261 h 300"/>
                  <a:gd name="T40" fmla="*/ 21 w 273"/>
                  <a:gd name="T41" fmla="*/ 258 h 300"/>
                  <a:gd name="T42" fmla="*/ 26 w 273"/>
                  <a:gd name="T43" fmla="*/ 258 h 300"/>
                  <a:gd name="T44" fmla="*/ 38 w 273"/>
                  <a:gd name="T45" fmla="*/ 255 h 300"/>
                  <a:gd name="T46" fmla="*/ 46 w 273"/>
                  <a:gd name="T47" fmla="*/ 254 h 300"/>
                  <a:gd name="T48" fmla="*/ 56 w 273"/>
                  <a:gd name="T49" fmla="*/ 255 h 300"/>
                  <a:gd name="T50" fmla="*/ 69 w 273"/>
                  <a:gd name="T51" fmla="*/ 262 h 300"/>
                  <a:gd name="T52" fmla="*/ 73 w 273"/>
                  <a:gd name="T53" fmla="*/ 266 h 300"/>
                  <a:gd name="T54" fmla="*/ 76 w 273"/>
                  <a:gd name="T55" fmla="*/ 266 h 300"/>
                  <a:gd name="T56" fmla="*/ 78 w 273"/>
                  <a:gd name="T57" fmla="*/ 266 h 300"/>
                  <a:gd name="T58" fmla="*/ 80 w 273"/>
                  <a:gd name="T59" fmla="*/ 267 h 300"/>
                  <a:gd name="T60" fmla="*/ 87 w 273"/>
                  <a:gd name="T61" fmla="*/ 276 h 300"/>
                  <a:gd name="T62" fmla="*/ 91 w 273"/>
                  <a:gd name="T63" fmla="*/ 281 h 300"/>
                  <a:gd name="T64" fmla="*/ 101 w 273"/>
                  <a:gd name="T65" fmla="*/ 293 h 300"/>
                  <a:gd name="T66" fmla="*/ 105 w 273"/>
                  <a:gd name="T67" fmla="*/ 296 h 300"/>
                  <a:gd name="T68" fmla="*/ 109 w 273"/>
                  <a:gd name="T69" fmla="*/ 299 h 300"/>
                  <a:gd name="T70" fmla="*/ 111 w 273"/>
                  <a:gd name="T71" fmla="*/ 300 h 300"/>
                  <a:gd name="T72" fmla="*/ 116 w 273"/>
                  <a:gd name="T73" fmla="*/ 298 h 300"/>
                  <a:gd name="T74" fmla="*/ 118 w 273"/>
                  <a:gd name="T75" fmla="*/ 288 h 300"/>
                  <a:gd name="T76" fmla="*/ 124 w 273"/>
                  <a:gd name="T77" fmla="*/ 280 h 300"/>
                  <a:gd name="T78" fmla="*/ 140 w 273"/>
                  <a:gd name="T79" fmla="*/ 289 h 300"/>
                  <a:gd name="T80" fmla="*/ 144 w 273"/>
                  <a:gd name="T81" fmla="*/ 284 h 300"/>
                  <a:gd name="T82" fmla="*/ 150 w 273"/>
                  <a:gd name="T83" fmla="*/ 283 h 300"/>
                  <a:gd name="T84" fmla="*/ 173 w 273"/>
                  <a:gd name="T85" fmla="*/ 282 h 300"/>
                  <a:gd name="T86" fmla="*/ 175 w 273"/>
                  <a:gd name="T87" fmla="*/ 279 h 300"/>
                  <a:gd name="T88" fmla="*/ 176 w 273"/>
                  <a:gd name="T89" fmla="*/ 278 h 300"/>
                  <a:gd name="T90" fmla="*/ 178 w 273"/>
                  <a:gd name="T91" fmla="*/ 278 h 300"/>
                  <a:gd name="T92" fmla="*/ 180 w 273"/>
                  <a:gd name="T93" fmla="*/ 279 h 300"/>
                  <a:gd name="T94" fmla="*/ 182 w 273"/>
                  <a:gd name="T95" fmla="*/ 282 h 300"/>
                  <a:gd name="T96" fmla="*/ 185 w 273"/>
                  <a:gd name="T97" fmla="*/ 282 h 300"/>
                  <a:gd name="T98" fmla="*/ 189 w 273"/>
                  <a:gd name="T99" fmla="*/ 282 h 300"/>
                  <a:gd name="T100" fmla="*/ 260 w 273"/>
                  <a:gd name="T101" fmla="*/ 282 h 300"/>
                  <a:gd name="T102" fmla="*/ 263 w 273"/>
                  <a:gd name="T103" fmla="*/ 282 h 300"/>
                  <a:gd name="T104" fmla="*/ 266 w 273"/>
                  <a:gd name="T105" fmla="*/ 283 h 300"/>
                  <a:gd name="T106" fmla="*/ 267 w 273"/>
                  <a:gd name="T107" fmla="*/ 273 h 300"/>
                  <a:gd name="T108" fmla="*/ 268 w 273"/>
                  <a:gd name="T109" fmla="*/ 266 h 300"/>
                  <a:gd name="T110" fmla="*/ 266 w 273"/>
                  <a:gd name="T111" fmla="*/ 264 h 300"/>
                  <a:gd name="T112" fmla="*/ 250 w 273"/>
                  <a:gd name="T113" fmla="*/ 142 h 300"/>
                  <a:gd name="T114" fmla="*/ 240 w 273"/>
                  <a:gd name="T115" fmla="*/ 52 h 300"/>
                  <a:gd name="T116" fmla="*/ 259 w 273"/>
                  <a:gd name="T117" fmla="*/ 39 h 300"/>
                  <a:gd name="T118" fmla="*/ 236 w 273"/>
                  <a:gd name="T119" fmla="*/ 25 h 300"/>
                  <a:gd name="T120" fmla="*/ 196 w 273"/>
                  <a:gd name="T121" fmla="*/ 0 h 3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3" h="300">
                    <a:moveTo>
                      <a:pt x="196" y="0"/>
                    </a:moveTo>
                    <a:cubicBezTo>
                      <a:pt x="196" y="3"/>
                      <a:pt x="196" y="6"/>
                      <a:pt x="196" y="10"/>
                    </a:cubicBezTo>
                    <a:cubicBezTo>
                      <a:pt x="196" y="15"/>
                      <a:pt x="196" y="15"/>
                      <a:pt x="196" y="15"/>
                    </a:cubicBezTo>
                    <a:cubicBezTo>
                      <a:pt x="196" y="16"/>
                      <a:pt x="196" y="16"/>
                      <a:pt x="196" y="17"/>
                    </a:cubicBezTo>
                    <a:cubicBezTo>
                      <a:pt x="196" y="18"/>
                      <a:pt x="196" y="18"/>
                      <a:pt x="196" y="18"/>
                    </a:cubicBezTo>
                    <a:cubicBezTo>
                      <a:pt x="197" y="21"/>
                      <a:pt x="197" y="23"/>
                      <a:pt x="196" y="26"/>
                    </a:cubicBezTo>
                    <a:cubicBezTo>
                      <a:pt x="196" y="27"/>
                      <a:pt x="196" y="30"/>
                      <a:pt x="193" y="30"/>
                    </a:cubicBezTo>
                    <a:cubicBezTo>
                      <a:pt x="120" y="30"/>
                      <a:pt x="120" y="30"/>
                      <a:pt x="120" y="30"/>
                    </a:cubicBezTo>
                    <a:cubicBezTo>
                      <a:pt x="120" y="30"/>
                      <a:pt x="119" y="30"/>
                      <a:pt x="118" y="30"/>
                    </a:cubicBezTo>
                    <a:cubicBezTo>
                      <a:pt x="118" y="30"/>
                      <a:pt x="118" y="30"/>
                      <a:pt x="118" y="30"/>
                    </a:cubicBezTo>
                    <a:cubicBezTo>
                      <a:pt x="118" y="30"/>
                      <a:pt x="118" y="30"/>
                      <a:pt x="118" y="30"/>
                    </a:cubicBezTo>
                    <a:cubicBezTo>
                      <a:pt x="118" y="77"/>
                      <a:pt x="118" y="77"/>
                      <a:pt x="118" y="77"/>
                    </a:cubicBezTo>
                    <a:cubicBezTo>
                      <a:pt x="118" y="77"/>
                      <a:pt x="118" y="78"/>
                      <a:pt x="118" y="79"/>
                    </a:cubicBezTo>
                    <a:cubicBezTo>
                      <a:pt x="118" y="79"/>
                      <a:pt x="118" y="79"/>
                      <a:pt x="118" y="79"/>
                    </a:cubicBezTo>
                    <a:cubicBezTo>
                      <a:pt x="118" y="84"/>
                      <a:pt x="119" y="89"/>
                      <a:pt x="118" y="91"/>
                    </a:cubicBezTo>
                    <a:cubicBezTo>
                      <a:pt x="118" y="92"/>
                      <a:pt x="117" y="92"/>
                      <a:pt x="116" y="93"/>
                    </a:cubicBezTo>
                    <a:cubicBezTo>
                      <a:pt x="115" y="94"/>
                      <a:pt x="114" y="94"/>
                      <a:pt x="112" y="95"/>
                    </a:cubicBezTo>
                    <a:cubicBezTo>
                      <a:pt x="111" y="95"/>
                      <a:pt x="110" y="95"/>
                      <a:pt x="110" y="95"/>
                    </a:cubicBezTo>
                    <a:cubicBezTo>
                      <a:pt x="108" y="96"/>
                      <a:pt x="106" y="97"/>
                      <a:pt x="104" y="97"/>
                    </a:cubicBezTo>
                    <a:cubicBezTo>
                      <a:pt x="104" y="97"/>
                      <a:pt x="103" y="97"/>
                      <a:pt x="102" y="98"/>
                    </a:cubicBezTo>
                    <a:cubicBezTo>
                      <a:pt x="101" y="98"/>
                      <a:pt x="101" y="98"/>
                      <a:pt x="101" y="98"/>
                    </a:cubicBezTo>
                    <a:cubicBezTo>
                      <a:pt x="101" y="98"/>
                      <a:pt x="101" y="98"/>
                      <a:pt x="101" y="98"/>
                    </a:cubicBezTo>
                    <a:cubicBezTo>
                      <a:pt x="100" y="99"/>
                      <a:pt x="99" y="99"/>
                      <a:pt x="99" y="99"/>
                    </a:cubicBezTo>
                    <a:cubicBezTo>
                      <a:pt x="97" y="101"/>
                      <a:pt x="94" y="103"/>
                      <a:pt x="92" y="107"/>
                    </a:cubicBezTo>
                    <a:cubicBezTo>
                      <a:pt x="92" y="108"/>
                      <a:pt x="91" y="109"/>
                      <a:pt x="92" y="111"/>
                    </a:cubicBezTo>
                    <a:cubicBezTo>
                      <a:pt x="92" y="111"/>
                      <a:pt x="92" y="112"/>
                      <a:pt x="92" y="113"/>
                    </a:cubicBezTo>
                    <a:cubicBezTo>
                      <a:pt x="93" y="115"/>
                      <a:pt x="93" y="117"/>
                      <a:pt x="93" y="119"/>
                    </a:cubicBezTo>
                    <a:cubicBezTo>
                      <a:pt x="94" y="134"/>
                      <a:pt x="94" y="134"/>
                      <a:pt x="94" y="134"/>
                    </a:cubicBezTo>
                    <a:cubicBezTo>
                      <a:pt x="94" y="134"/>
                      <a:pt x="94" y="135"/>
                      <a:pt x="94" y="135"/>
                    </a:cubicBezTo>
                    <a:cubicBezTo>
                      <a:pt x="94" y="138"/>
                      <a:pt x="95" y="141"/>
                      <a:pt x="94" y="142"/>
                    </a:cubicBezTo>
                    <a:cubicBezTo>
                      <a:pt x="94" y="146"/>
                      <a:pt x="94" y="146"/>
                      <a:pt x="94" y="146"/>
                    </a:cubicBezTo>
                    <a:cubicBezTo>
                      <a:pt x="91" y="146"/>
                      <a:pt x="91" y="146"/>
                      <a:pt x="91" y="146"/>
                    </a:cubicBezTo>
                    <a:cubicBezTo>
                      <a:pt x="81" y="146"/>
                      <a:pt x="70" y="146"/>
                      <a:pt x="59" y="146"/>
                    </a:cubicBezTo>
                    <a:cubicBezTo>
                      <a:pt x="51" y="146"/>
                      <a:pt x="44" y="146"/>
                      <a:pt x="36" y="146"/>
                    </a:cubicBezTo>
                    <a:cubicBezTo>
                      <a:pt x="12" y="146"/>
                      <a:pt x="12" y="146"/>
                      <a:pt x="12" y="146"/>
                    </a:cubicBezTo>
                    <a:cubicBezTo>
                      <a:pt x="12" y="146"/>
                      <a:pt x="11" y="146"/>
                      <a:pt x="10" y="146"/>
                    </a:cubicBezTo>
                    <a:cubicBezTo>
                      <a:pt x="8" y="146"/>
                      <a:pt x="7" y="146"/>
                      <a:pt x="5" y="146"/>
                    </a:cubicBezTo>
                    <a:cubicBezTo>
                      <a:pt x="5" y="146"/>
                      <a:pt x="4" y="146"/>
                      <a:pt x="3" y="146"/>
                    </a:cubicBezTo>
                    <a:cubicBezTo>
                      <a:pt x="3" y="146"/>
                      <a:pt x="2" y="145"/>
                      <a:pt x="2" y="145"/>
                    </a:cubicBezTo>
                    <a:cubicBezTo>
                      <a:pt x="1" y="145"/>
                      <a:pt x="1" y="145"/>
                      <a:pt x="1" y="146"/>
                    </a:cubicBezTo>
                    <a:cubicBezTo>
                      <a:pt x="1" y="146"/>
                      <a:pt x="1" y="146"/>
                      <a:pt x="0" y="149"/>
                    </a:cubicBezTo>
                    <a:cubicBezTo>
                      <a:pt x="2" y="153"/>
                      <a:pt x="5" y="158"/>
                      <a:pt x="8" y="162"/>
                    </a:cubicBezTo>
                    <a:cubicBezTo>
                      <a:pt x="8" y="160"/>
                      <a:pt x="9" y="159"/>
                      <a:pt x="10" y="159"/>
                    </a:cubicBezTo>
                    <a:cubicBezTo>
                      <a:pt x="10" y="159"/>
                      <a:pt x="11" y="159"/>
                      <a:pt x="11" y="159"/>
                    </a:cubicBezTo>
                    <a:cubicBezTo>
                      <a:pt x="10" y="160"/>
                      <a:pt x="10" y="160"/>
                      <a:pt x="10" y="160"/>
                    </a:cubicBezTo>
                    <a:cubicBezTo>
                      <a:pt x="11" y="162"/>
                      <a:pt x="12" y="163"/>
                      <a:pt x="13" y="165"/>
                    </a:cubicBezTo>
                    <a:cubicBezTo>
                      <a:pt x="14" y="167"/>
                      <a:pt x="16" y="169"/>
                      <a:pt x="16" y="171"/>
                    </a:cubicBezTo>
                    <a:cubicBezTo>
                      <a:pt x="16" y="171"/>
                      <a:pt x="16" y="172"/>
                      <a:pt x="16" y="172"/>
                    </a:cubicBezTo>
                    <a:cubicBezTo>
                      <a:pt x="16" y="173"/>
                      <a:pt x="16" y="175"/>
                      <a:pt x="16" y="176"/>
                    </a:cubicBezTo>
                    <a:cubicBezTo>
                      <a:pt x="16" y="176"/>
                      <a:pt x="15" y="176"/>
                      <a:pt x="15" y="177"/>
                    </a:cubicBezTo>
                    <a:cubicBezTo>
                      <a:pt x="15" y="178"/>
                      <a:pt x="15" y="179"/>
                      <a:pt x="15" y="180"/>
                    </a:cubicBezTo>
                    <a:cubicBezTo>
                      <a:pt x="15" y="181"/>
                      <a:pt x="14" y="182"/>
                      <a:pt x="14" y="183"/>
                    </a:cubicBezTo>
                    <a:cubicBezTo>
                      <a:pt x="12" y="185"/>
                      <a:pt x="10" y="187"/>
                      <a:pt x="10" y="190"/>
                    </a:cubicBezTo>
                    <a:cubicBezTo>
                      <a:pt x="11" y="188"/>
                      <a:pt x="12" y="189"/>
                      <a:pt x="14" y="187"/>
                    </a:cubicBezTo>
                    <a:cubicBezTo>
                      <a:pt x="13" y="189"/>
                      <a:pt x="12" y="190"/>
                      <a:pt x="11" y="191"/>
                    </a:cubicBezTo>
                    <a:cubicBezTo>
                      <a:pt x="8" y="196"/>
                      <a:pt x="15" y="196"/>
                      <a:pt x="16" y="201"/>
                    </a:cubicBezTo>
                    <a:cubicBezTo>
                      <a:pt x="17" y="208"/>
                      <a:pt x="18" y="215"/>
                      <a:pt x="19" y="222"/>
                    </a:cubicBezTo>
                    <a:cubicBezTo>
                      <a:pt x="20" y="229"/>
                      <a:pt x="20" y="235"/>
                      <a:pt x="17" y="242"/>
                    </a:cubicBezTo>
                    <a:cubicBezTo>
                      <a:pt x="16" y="244"/>
                      <a:pt x="15" y="246"/>
                      <a:pt x="14" y="248"/>
                    </a:cubicBezTo>
                    <a:cubicBezTo>
                      <a:pt x="12" y="252"/>
                      <a:pt x="11" y="256"/>
                      <a:pt x="10" y="261"/>
                    </a:cubicBezTo>
                    <a:cubicBezTo>
                      <a:pt x="12" y="259"/>
                      <a:pt x="14" y="258"/>
                      <a:pt x="16" y="257"/>
                    </a:cubicBezTo>
                    <a:cubicBezTo>
                      <a:pt x="17" y="257"/>
                      <a:pt x="17" y="257"/>
                      <a:pt x="18" y="257"/>
                    </a:cubicBezTo>
                    <a:cubicBezTo>
                      <a:pt x="19" y="257"/>
                      <a:pt x="20" y="257"/>
                      <a:pt x="21" y="258"/>
                    </a:cubicBezTo>
                    <a:cubicBezTo>
                      <a:pt x="21" y="258"/>
                      <a:pt x="22" y="258"/>
                      <a:pt x="22" y="258"/>
                    </a:cubicBezTo>
                    <a:cubicBezTo>
                      <a:pt x="23" y="258"/>
                      <a:pt x="24" y="258"/>
                      <a:pt x="25" y="258"/>
                    </a:cubicBezTo>
                    <a:cubicBezTo>
                      <a:pt x="26" y="258"/>
                      <a:pt x="26" y="258"/>
                      <a:pt x="26" y="258"/>
                    </a:cubicBezTo>
                    <a:cubicBezTo>
                      <a:pt x="28" y="258"/>
                      <a:pt x="30" y="257"/>
                      <a:pt x="32" y="257"/>
                    </a:cubicBezTo>
                    <a:cubicBezTo>
                      <a:pt x="33" y="256"/>
                      <a:pt x="35" y="256"/>
                      <a:pt x="36" y="256"/>
                    </a:cubicBezTo>
                    <a:cubicBezTo>
                      <a:pt x="37" y="256"/>
                      <a:pt x="37" y="255"/>
                      <a:pt x="38" y="255"/>
                    </a:cubicBezTo>
                    <a:cubicBezTo>
                      <a:pt x="38" y="255"/>
                      <a:pt x="38" y="255"/>
                      <a:pt x="38" y="255"/>
                    </a:cubicBezTo>
                    <a:cubicBezTo>
                      <a:pt x="40" y="255"/>
                      <a:pt x="42" y="254"/>
                      <a:pt x="44" y="254"/>
                    </a:cubicBezTo>
                    <a:cubicBezTo>
                      <a:pt x="44" y="254"/>
                      <a:pt x="45" y="254"/>
                      <a:pt x="46" y="254"/>
                    </a:cubicBezTo>
                    <a:cubicBezTo>
                      <a:pt x="48" y="255"/>
                      <a:pt x="50" y="255"/>
                      <a:pt x="52" y="255"/>
                    </a:cubicBezTo>
                    <a:cubicBezTo>
                      <a:pt x="52" y="255"/>
                      <a:pt x="53" y="255"/>
                      <a:pt x="53" y="255"/>
                    </a:cubicBezTo>
                    <a:cubicBezTo>
                      <a:pt x="56" y="255"/>
                      <a:pt x="56" y="255"/>
                      <a:pt x="56" y="255"/>
                    </a:cubicBezTo>
                    <a:cubicBezTo>
                      <a:pt x="61" y="255"/>
                      <a:pt x="64" y="257"/>
                      <a:pt x="66" y="259"/>
                    </a:cubicBezTo>
                    <a:cubicBezTo>
                      <a:pt x="67" y="260"/>
                      <a:pt x="67" y="260"/>
                      <a:pt x="67" y="260"/>
                    </a:cubicBezTo>
                    <a:cubicBezTo>
                      <a:pt x="68" y="261"/>
                      <a:pt x="68" y="261"/>
                      <a:pt x="69" y="262"/>
                    </a:cubicBezTo>
                    <a:cubicBezTo>
                      <a:pt x="71" y="263"/>
                      <a:pt x="71" y="264"/>
                      <a:pt x="72" y="265"/>
                    </a:cubicBezTo>
                    <a:cubicBezTo>
                      <a:pt x="72" y="266"/>
                      <a:pt x="72" y="266"/>
                      <a:pt x="72" y="266"/>
                    </a:cubicBezTo>
                    <a:cubicBezTo>
                      <a:pt x="73" y="266"/>
                      <a:pt x="73" y="266"/>
                      <a:pt x="73" y="266"/>
                    </a:cubicBezTo>
                    <a:cubicBezTo>
                      <a:pt x="73" y="266"/>
                      <a:pt x="74" y="266"/>
                      <a:pt x="74" y="266"/>
                    </a:cubicBezTo>
                    <a:cubicBezTo>
                      <a:pt x="74" y="266"/>
                      <a:pt x="75" y="266"/>
                      <a:pt x="75" y="266"/>
                    </a:cubicBezTo>
                    <a:cubicBezTo>
                      <a:pt x="76" y="266"/>
                      <a:pt x="76" y="266"/>
                      <a:pt x="76" y="266"/>
                    </a:cubicBezTo>
                    <a:cubicBezTo>
                      <a:pt x="76" y="266"/>
                      <a:pt x="77" y="266"/>
                      <a:pt x="77" y="266"/>
                    </a:cubicBezTo>
                    <a:cubicBezTo>
                      <a:pt x="77" y="266"/>
                      <a:pt x="78" y="266"/>
                      <a:pt x="78" y="266"/>
                    </a:cubicBezTo>
                    <a:cubicBezTo>
                      <a:pt x="78" y="266"/>
                      <a:pt x="78" y="266"/>
                      <a:pt x="78" y="266"/>
                    </a:cubicBezTo>
                    <a:cubicBezTo>
                      <a:pt x="79" y="266"/>
                      <a:pt x="79" y="266"/>
                      <a:pt x="79" y="266"/>
                    </a:cubicBezTo>
                    <a:cubicBezTo>
                      <a:pt x="80" y="267"/>
                      <a:pt x="80" y="267"/>
                      <a:pt x="80" y="267"/>
                    </a:cubicBezTo>
                    <a:cubicBezTo>
                      <a:pt x="80" y="267"/>
                      <a:pt x="80" y="267"/>
                      <a:pt x="80" y="267"/>
                    </a:cubicBezTo>
                    <a:cubicBezTo>
                      <a:pt x="82" y="268"/>
                      <a:pt x="84" y="269"/>
                      <a:pt x="85" y="272"/>
                    </a:cubicBezTo>
                    <a:cubicBezTo>
                      <a:pt x="86" y="273"/>
                      <a:pt x="86" y="273"/>
                      <a:pt x="86" y="274"/>
                    </a:cubicBezTo>
                    <a:cubicBezTo>
                      <a:pt x="87" y="276"/>
                      <a:pt x="87" y="276"/>
                      <a:pt x="87" y="276"/>
                    </a:cubicBezTo>
                    <a:cubicBezTo>
                      <a:pt x="87" y="277"/>
                      <a:pt x="87" y="279"/>
                      <a:pt x="88" y="280"/>
                    </a:cubicBezTo>
                    <a:cubicBezTo>
                      <a:pt x="88" y="280"/>
                      <a:pt x="89" y="281"/>
                      <a:pt x="90" y="281"/>
                    </a:cubicBezTo>
                    <a:cubicBezTo>
                      <a:pt x="91" y="281"/>
                      <a:pt x="91" y="281"/>
                      <a:pt x="91" y="281"/>
                    </a:cubicBezTo>
                    <a:cubicBezTo>
                      <a:pt x="94" y="283"/>
                      <a:pt x="96" y="286"/>
                      <a:pt x="98" y="288"/>
                    </a:cubicBezTo>
                    <a:cubicBezTo>
                      <a:pt x="99" y="290"/>
                      <a:pt x="99" y="291"/>
                      <a:pt x="100" y="292"/>
                    </a:cubicBezTo>
                    <a:cubicBezTo>
                      <a:pt x="101" y="293"/>
                      <a:pt x="101" y="293"/>
                      <a:pt x="101" y="293"/>
                    </a:cubicBezTo>
                    <a:cubicBezTo>
                      <a:pt x="102" y="293"/>
                      <a:pt x="102" y="293"/>
                      <a:pt x="102" y="293"/>
                    </a:cubicBezTo>
                    <a:cubicBezTo>
                      <a:pt x="102" y="294"/>
                      <a:pt x="103" y="294"/>
                      <a:pt x="103" y="294"/>
                    </a:cubicBezTo>
                    <a:cubicBezTo>
                      <a:pt x="104" y="295"/>
                      <a:pt x="104" y="295"/>
                      <a:pt x="105" y="296"/>
                    </a:cubicBezTo>
                    <a:cubicBezTo>
                      <a:pt x="106" y="297"/>
                      <a:pt x="106" y="297"/>
                      <a:pt x="106" y="297"/>
                    </a:cubicBezTo>
                    <a:cubicBezTo>
                      <a:pt x="107" y="297"/>
                      <a:pt x="107" y="298"/>
                      <a:pt x="108" y="298"/>
                    </a:cubicBezTo>
                    <a:cubicBezTo>
                      <a:pt x="109" y="299"/>
                      <a:pt x="109" y="299"/>
                      <a:pt x="109" y="299"/>
                    </a:cubicBezTo>
                    <a:cubicBezTo>
                      <a:pt x="109" y="299"/>
                      <a:pt x="110" y="299"/>
                      <a:pt x="110" y="300"/>
                    </a:cubicBezTo>
                    <a:cubicBezTo>
                      <a:pt x="110" y="300"/>
                      <a:pt x="110" y="300"/>
                      <a:pt x="110" y="300"/>
                    </a:cubicBezTo>
                    <a:cubicBezTo>
                      <a:pt x="111" y="300"/>
                      <a:pt x="111" y="300"/>
                      <a:pt x="111" y="300"/>
                    </a:cubicBezTo>
                    <a:cubicBezTo>
                      <a:pt x="111" y="300"/>
                      <a:pt x="111" y="300"/>
                      <a:pt x="111" y="300"/>
                    </a:cubicBezTo>
                    <a:cubicBezTo>
                      <a:pt x="115" y="299"/>
                      <a:pt x="115" y="299"/>
                      <a:pt x="115" y="299"/>
                    </a:cubicBezTo>
                    <a:cubicBezTo>
                      <a:pt x="116" y="299"/>
                      <a:pt x="116" y="298"/>
                      <a:pt x="116" y="298"/>
                    </a:cubicBezTo>
                    <a:cubicBezTo>
                      <a:pt x="117" y="297"/>
                      <a:pt x="117" y="297"/>
                      <a:pt x="117" y="297"/>
                    </a:cubicBezTo>
                    <a:cubicBezTo>
                      <a:pt x="117" y="297"/>
                      <a:pt x="117" y="297"/>
                      <a:pt x="117" y="296"/>
                    </a:cubicBezTo>
                    <a:cubicBezTo>
                      <a:pt x="118" y="294"/>
                      <a:pt x="118" y="291"/>
                      <a:pt x="118" y="288"/>
                    </a:cubicBezTo>
                    <a:cubicBezTo>
                      <a:pt x="118" y="287"/>
                      <a:pt x="118" y="286"/>
                      <a:pt x="119" y="285"/>
                    </a:cubicBezTo>
                    <a:cubicBezTo>
                      <a:pt x="119" y="281"/>
                      <a:pt x="122" y="280"/>
                      <a:pt x="124" y="280"/>
                    </a:cubicBezTo>
                    <a:cubicBezTo>
                      <a:pt x="124" y="280"/>
                      <a:pt x="124" y="280"/>
                      <a:pt x="124" y="280"/>
                    </a:cubicBezTo>
                    <a:cubicBezTo>
                      <a:pt x="125" y="277"/>
                      <a:pt x="125" y="277"/>
                      <a:pt x="125" y="277"/>
                    </a:cubicBezTo>
                    <a:cubicBezTo>
                      <a:pt x="128" y="279"/>
                      <a:pt x="128" y="279"/>
                      <a:pt x="128" y="279"/>
                    </a:cubicBezTo>
                    <a:cubicBezTo>
                      <a:pt x="131" y="281"/>
                      <a:pt x="136" y="285"/>
                      <a:pt x="140" y="289"/>
                    </a:cubicBezTo>
                    <a:cubicBezTo>
                      <a:pt x="141" y="289"/>
                      <a:pt x="141" y="288"/>
                      <a:pt x="141" y="288"/>
                    </a:cubicBezTo>
                    <a:cubicBezTo>
                      <a:pt x="142" y="285"/>
                      <a:pt x="142" y="285"/>
                      <a:pt x="142" y="285"/>
                    </a:cubicBezTo>
                    <a:cubicBezTo>
                      <a:pt x="143" y="285"/>
                      <a:pt x="143" y="284"/>
                      <a:pt x="144" y="284"/>
                    </a:cubicBezTo>
                    <a:cubicBezTo>
                      <a:pt x="145" y="283"/>
                      <a:pt x="145" y="283"/>
                      <a:pt x="145" y="283"/>
                    </a:cubicBezTo>
                    <a:cubicBezTo>
                      <a:pt x="146" y="283"/>
                      <a:pt x="147" y="283"/>
                      <a:pt x="148" y="283"/>
                    </a:cubicBezTo>
                    <a:cubicBezTo>
                      <a:pt x="149" y="283"/>
                      <a:pt x="150" y="283"/>
                      <a:pt x="150" y="283"/>
                    </a:cubicBezTo>
                    <a:cubicBezTo>
                      <a:pt x="152" y="283"/>
                      <a:pt x="152" y="283"/>
                      <a:pt x="152" y="283"/>
                    </a:cubicBezTo>
                    <a:cubicBezTo>
                      <a:pt x="173" y="283"/>
                      <a:pt x="173" y="283"/>
                      <a:pt x="173" y="283"/>
                    </a:cubicBezTo>
                    <a:cubicBezTo>
                      <a:pt x="173" y="283"/>
                      <a:pt x="173" y="283"/>
                      <a:pt x="173" y="282"/>
                    </a:cubicBezTo>
                    <a:cubicBezTo>
                      <a:pt x="173" y="281"/>
                      <a:pt x="173" y="281"/>
                      <a:pt x="173" y="281"/>
                    </a:cubicBezTo>
                    <a:cubicBezTo>
                      <a:pt x="174" y="281"/>
                      <a:pt x="174" y="280"/>
                      <a:pt x="174" y="280"/>
                    </a:cubicBezTo>
                    <a:cubicBezTo>
                      <a:pt x="175" y="279"/>
                      <a:pt x="175" y="279"/>
                      <a:pt x="175" y="279"/>
                    </a:cubicBezTo>
                    <a:cubicBezTo>
                      <a:pt x="175" y="279"/>
                      <a:pt x="175" y="279"/>
                      <a:pt x="175" y="279"/>
                    </a:cubicBezTo>
                    <a:cubicBezTo>
                      <a:pt x="175" y="279"/>
                      <a:pt x="175" y="279"/>
                      <a:pt x="175" y="279"/>
                    </a:cubicBezTo>
                    <a:cubicBezTo>
                      <a:pt x="175" y="279"/>
                      <a:pt x="176" y="278"/>
                      <a:pt x="176" y="278"/>
                    </a:cubicBezTo>
                    <a:cubicBezTo>
                      <a:pt x="176" y="278"/>
                      <a:pt x="176" y="278"/>
                      <a:pt x="176" y="278"/>
                    </a:cubicBezTo>
                    <a:cubicBezTo>
                      <a:pt x="177" y="278"/>
                      <a:pt x="177" y="278"/>
                      <a:pt x="177" y="278"/>
                    </a:cubicBezTo>
                    <a:cubicBezTo>
                      <a:pt x="178" y="278"/>
                      <a:pt x="178" y="278"/>
                      <a:pt x="178" y="278"/>
                    </a:cubicBezTo>
                    <a:cubicBezTo>
                      <a:pt x="179" y="278"/>
                      <a:pt x="179" y="278"/>
                      <a:pt x="179" y="278"/>
                    </a:cubicBezTo>
                    <a:cubicBezTo>
                      <a:pt x="179" y="279"/>
                      <a:pt x="179" y="279"/>
                      <a:pt x="179" y="279"/>
                    </a:cubicBezTo>
                    <a:cubicBezTo>
                      <a:pt x="180" y="279"/>
                      <a:pt x="180" y="279"/>
                      <a:pt x="180" y="279"/>
                    </a:cubicBezTo>
                    <a:cubicBezTo>
                      <a:pt x="180" y="280"/>
                      <a:pt x="181" y="280"/>
                      <a:pt x="181" y="281"/>
                    </a:cubicBezTo>
                    <a:cubicBezTo>
                      <a:pt x="181" y="282"/>
                      <a:pt x="181" y="282"/>
                      <a:pt x="181" y="282"/>
                    </a:cubicBezTo>
                    <a:cubicBezTo>
                      <a:pt x="182" y="282"/>
                      <a:pt x="182" y="282"/>
                      <a:pt x="182" y="282"/>
                    </a:cubicBezTo>
                    <a:cubicBezTo>
                      <a:pt x="183" y="283"/>
                      <a:pt x="183" y="283"/>
                      <a:pt x="183" y="283"/>
                    </a:cubicBezTo>
                    <a:cubicBezTo>
                      <a:pt x="183" y="282"/>
                      <a:pt x="183" y="282"/>
                      <a:pt x="183" y="282"/>
                    </a:cubicBezTo>
                    <a:cubicBezTo>
                      <a:pt x="183" y="282"/>
                      <a:pt x="184" y="282"/>
                      <a:pt x="185" y="282"/>
                    </a:cubicBezTo>
                    <a:cubicBezTo>
                      <a:pt x="185" y="282"/>
                      <a:pt x="186" y="282"/>
                      <a:pt x="187" y="282"/>
                    </a:cubicBezTo>
                    <a:cubicBezTo>
                      <a:pt x="187" y="282"/>
                      <a:pt x="187" y="282"/>
                      <a:pt x="187" y="282"/>
                    </a:cubicBezTo>
                    <a:cubicBezTo>
                      <a:pt x="188" y="282"/>
                      <a:pt x="189" y="282"/>
                      <a:pt x="189" y="282"/>
                    </a:cubicBezTo>
                    <a:cubicBezTo>
                      <a:pt x="236" y="282"/>
                      <a:pt x="236" y="282"/>
                      <a:pt x="236" y="282"/>
                    </a:cubicBezTo>
                    <a:cubicBezTo>
                      <a:pt x="243" y="282"/>
                      <a:pt x="251" y="282"/>
                      <a:pt x="258" y="282"/>
                    </a:cubicBezTo>
                    <a:cubicBezTo>
                      <a:pt x="259" y="282"/>
                      <a:pt x="259" y="282"/>
                      <a:pt x="260" y="282"/>
                    </a:cubicBezTo>
                    <a:cubicBezTo>
                      <a:pt x="261" y="282"/>
                      <a:pt x="261" y="282"/>
                      <a:pt x="261" y="282"/>
                    </a:cubicBezTo>
                    <a:cubicBezTo>
                      <a:pt x="261" y="282"/>
                      <a:pt x="262" y="282"/>
                      <a:pt x="262" y="282"/>
                    </a:cubicBezTo>
                    <a:cubicBezTo>
                      <a:pt x="263" y="282"/>
                      <a:pt x="263" y="282"/>
                      <a:pt x="263" y="282"/>
                    </a:cubicBezTo>
                    <a:cubicBezTo>
                      <a:pt x="264" y="282"/>
                      <a:pt x="265" y="283"/>
                      <a:pt x="265" y="283"/>
                    </a:cubicBezTo>
                    <a:cubicBezTo>
                      <a:pt x="265" y="283"/>
                      <a:pt x="265" y="283"/>
                      <a:pt x="265" y="283"/>
                    </a:cubicBezTo>
                    <a:cubicBezTo>
                      <a:pt x="266" y="283"/>
                      <a:pt x="266" y="283"/>
                      <a:pt x="266" y="283"/>
                    </a:cubicBezTo>
                    <a:cubicBezTo>
                      <a:pt x="266" y="283"/>
                      <a:pt x="266" y="283"/>
                      <a:pt x="266" y="283"/>
                    </a:cubicBezTo>
                    <a:cubicBezTo>
                      <a:pt x="266" y="282"/>
                      <a:pt x="267" y="280"/>
                      <a:pt x="267" y="276"/>
                    </a:cubicBezTo>
                    <a:cubicBezTo>
                      <a:pt x="267" y="275"/>
                      <a:pt x="267" y="274"/>
                      <a:pt x="267" y="273"/>
                    </a:cubicBezTo>
                    <a:cubicBezTo>
                      <a:pt x="268" y="269"/>
                      <a:pt x="268" y="269"/>
                      <a:pt x="268" y="269"/>
                    </a:cubicBezTo>
                    <a:cubicBezTo>
                      <a:pt x="268" y="267"/>
                      <a:pt x="268" y="266"/>
                      <a:pt x="268" y="266"/>
                    </a:cubicBezTo>
                    <a:cubicBezTo>
                      <a:pt x="268" y="266"/>
                      <a:pt x="268" y="266"/>
                      <a:pt x="268" y="266"/>
                    </a:cubicBezTo>
                    <a:cubicBezTo>
                      <a:pt x="267" y="265"/>
                      <a:pt x="267" y="265"/>
                      <a:pt x="267" y="265"/>
                    </a:cubicBezTo>
                    <a:cubicBezTo>
                      <a:pt x="267" y="265"/>
                      <a:pt x="267" y="265"/>
                      <a:pt x="267" y="265"/>
                    </a:cubicBezTo>
                    <a:cubicBezTo>
                      <a:pt x="266" y="264"/>
                      <a:pt x="266" y="264"/>
                      <a:pt x="266" y="264"/>
                    </a:cubicBezTo>
                    <a:cubicBezTo>
                      <a:pt x="265" y="263"/>
                      <a:pt x="265" y="262"/>
                      <a:pt x="265" y="261"/>
                    </a:cubicBezTo>
                    <a:cubicBezTo>
                      <a:pt x="259" y="215"/>
                      <a:pt x="259" y="215"/>
                      <a:pt x="259" y="215"/>
                    </a:cubicBezTo>
                    <a:cubicBezTo>
                      <a:pt x="256" y="190"/>
                      <a:pt x="253" y="166"/>
                      <a:pt x="250" y="142"/>
                    </a:cubicBezTo>
                    <a:cubicBezTo>
                      <a:pt x="248" y="123"/>
                      <a:pt x="246" y="104"/>
                      <a:pt x="243" y="86"/>
                    </a:cubicBezTo>
                    <a:cubicBezTo>
                      <a:pt x="241" y="64"/>
                      <a:pt x="241" y="64"/>
                      <a:pt x="241" y="64"/>
                    </a:cubicBezTo>
                    <a:cubicBezTo>
                      <a:pt x="241" y="60"/>
                      <a:pt x="240" y="56"/>
                      <a:pt x="240" y="52"/>
                    </a:cubicBezTo>
                    <a:cubicBezTo>
                      <a:pt x="239" y="49"/>
                      <a:pt x="239" y="49"/>
                      <a:pt x="239" y="49"/>
                    </a:cubicBezTo>
                    <a:cubicBezTo>
                      <a:pt x="273" y="49"/>
                      <a:pt x="273" y="49"/>
                      <a:pt x="273" y="49"/>
                    </a:cubicBezTo>
                    <a:cubicBezTo>
                      <a:pt x="268" y="46"/>
                      <a:pt x="264" y="43"/>
                      <a:pt x="259" y="39"/>
                    </a:cubicBezTo>
                    <a:cubicBezTo>
                      <a:pt x="258" y="39"/>
                      <a:pt x="257" y="38"/>
                      <a:pt x="256" y="37"/>
                    </a:cubicBezTo>
                    <a:cubicBezTo>
                      <a:pt x="250" y="34"/>
                      <a:pt x="244" y="30"/>
                      <a:pt x="238" y="26"/>
                    </a:cubicBezTo>
                    <a:cubicBezTo>
                      <a:pt x="238" y="26"/>
                      <a:pt x="237" y="25"/>
                      <a:pt x="236" y="25"/>
                    </a:cubicBezTo>
                    <a:cubicBezTo>
                      <a:pt x="230" y="21"/>
                      <a:pt x="224" y="17"/>
                      <a:pt x="217" y="13"/>
                    </a:cubicBezTo>
                    <a:cubicBezTo>
                      <a:pt x="217" y="12"/>
                      <a:pt x="217" y="12"/>
                      <a:pt x="217" y="12"/>
                    </a:cubicBezTo>
                    <a:cubicBezTo>
                      <a:pt x="210" y="8"/>
                      <a:pt x="203" y="4"/>
                      <a:pt x="1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201"/>
              <p:cNvSpPr/>
              <p:nvPr/>
            </p:nvSpPr>
            <p:spPr bwMode="auto">
              <a:xfrm>
                <a:off x="2824" y="2145"/>
                <a:ext cx="7" cy="7"/>
              </a:xfrm>
              <a:custGeom>
                <a:gdLst>
                  <a:gd name="T0" fmla="*/ 1 w 3"/>
                  <a:gd name="T1" fmla="*/ 0 h 3"/>
                  <a:gd name="T2" fmla="*/ 2 w 3"/>
                  <a:gd name="T3" fmla="*/ 3 h 3"/>
                  <a:gd name="T4" fmla="*/ 3 w 3"/>
                  <a:gd name="T5" fmla="*/ 1 h 3"/>
                  <a:gd name="T6" fmla="*/ 1 w 3"/>
                  <a:gd name="T7" fmla="*/ 0 h 3"/>
                </a:gdLst>
                <a:cxnLst>
                  <a:cxn ang="0">
                    <a:pos x="T0" y="T1"/>
                  </a:cxn>
                  <a:cxn ang="0">
                    <a:pos x="T2" y="T3"/>
                  </a:cxn>
                  <a:cxn ang="0">
                    <a:pos x="T4" y="T5"/>
                  </a:cxn>
                  <a:cxn ang="0">
                    <a:pos x="T6" y="T7"/>
                  </a:cxn>
                </a:cxnLst>
                <a:rect l="0" t="0" r="r" b="b"/>
                <a:pathLst>
                  <a:path w="3" h="3">
                    <a:moveTo>
                      <a:pt x="1" y="0"/>
                    </a:moveTo>
                    <a:cubicBezTo>
                      <a:pt x="0" y="1"/>
                      <a:pt x="0" y="2"/>
                      <a:pt x="2" y="3"/>
                    </a:cubicBezTo>
                    <a:cubicBezTo>
                      <a:pt x="2" y="2"/>
                      <a:pt x="2" y="1"/>
                      <a:pt x="3"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Rectangle 202"/>
              <p:cNvSpPr>
                <a:spLocks noChangeArrowheads="1"/>
              </p:cNvSpPr>
              <p:nvPr/>
            </p:nvSpPr>
            <p:spPr bwMode="auto">
              <a:xfrm>
                <a:off x="3089" y="227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203"/>
              <p:cNvSpPr/>
              <p:nvPr/>
            </p:nvSpPr>
            <p:spPr bwMode="auto">
              <a:xfrm flipH="1">
                <a:off x="3089" y="227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204"/>
              <p:cNvSpPr>
                <a:spLocks noEditPoints="1"/>
              </p:cNvSpPr>
              <p:nvPr/>
            </p:nvSpPr>
            <p:spPr bwMode="auto">
              <a:xfrm>
                <a:off x="2836" y="2051"/>
                <a:ext cx="388" cy="295"/>
              </a:xfrm>
              <a:custGeom>
                <a:gdLst>
                  <a:gd name="T0" fmla="*/ 3 w 164"/>
                  <a:gd name="T1" fmla="*/ 37 h 125"/>
                  <a:gd name="T2" fmla="*/ 29 w 164"/>
                  <a:gd name="T3" fmla="*/ 9 h 125"/>
                  <a:gd name="T4" fmla="*/ 29 w 164"/>
                  <a:gd name="T5" fmla="*/ 20 h 125"/>
                  <a:gd name="T6" fmla="*/ 25 w 164"/>
                  <a:gd name="T7" fmla="*/ 24 h 125"/>
                  <a:gd name="T8" fmla="*/ 10 w 164"/>
                  <a:gd name="T9" fmla="*/ 27 h 125"/>
                  <a:gd name="T10" fmla="*/ 3 w 164"/>
                  <a:gd name="T11" fmla="*/ 38 h 125"/>
                  <a:gd name="T12" fmla="*/ 8 w 164"/>
                  <a:gd name="T13" fmla="*/ 40 h 125"/>
                  <a:gd name="T14" fmla="*/ 13 w 164"/>
                  <a:gd name="T15" fmla="*/ 58 h 125"/>
                  <a:gd name="T16" fmla="*/ 27 w 164"/>
                  <a:gd name="T17" fmla="*/ 63 h 125"/>
                  <a:gd name="T18" fmla="*/ 35 w 164"/>
                  <a:gd name="T19" fmla="*/ 80 h 125"/>
                  <a:gd name="T20" fmla="*/ 39 w 164"/>
                  <a:gd name="T21" fmla="*/ 78 h 125"/>
                  <a:gd name="T22" fmla="*/ 45 w 164"/>
                  <a:gd name="T23" fmla="*/ 77 h 125"/>
                  <a:gd name="T24" fmla="*/ 49 w 164"/>
                  <a:gd name="T25" fmla="*/ 70 h 125"/>
                  <a:gd name="T26" fmla="*/ 60 w 164"/>
                  <a:gd name="T27" fmla="*/ 61 h 125"/>
                  <a:gd name="T28" fmla="*/ 72 w 164"/>
                  <a:gd name="T29" fmla="*/ 60 h 125"/>
                  <a:gd name="T30" fmla="*/ 89 w 164"/>
                  <a:gd name="T31" fmla="*/ 61 h 125"/>
                  <a:gd name="T32" fmla="*/ 99 w 164"/>
                  <a:gd name="T33" fmla="*/ 81 h 125"/>
                  <a:gd name="T34" fmla="*/ 104 w 164"/>
                  <a:gd name="T35" fmla="*/ 87 h 125"/>
                  <a:gd name="T36" fmla="*/ 107 w 164"/>
                  <a:gd name="T37" fmla="*/ 94 h 125"/>
                  <a:gd name="T38" fmla="*/ 109 w 164"/>
                  <a:gd name="T39" fmla="*/ 94 h 125"/>
                  <a:gd name="T40" fmla="*/ 114 w 164"/>
                  <a:gd name="T41" fmla="*/ 94 h 125"/>
                  <a:gd name="T42" fmla="*/ 122 w 164"/>
                  <a:gd name="T43" fmla="*/ 94 h 125"/>
                  <a:gd name="T44" fmla="*/ 127 w 164"/>
                  <a:gd name="T45" fmla="*/ 99 h 125"/>
                  <a:gd name="T46" fmla="*/ 131 w 164"/>
                  <a:gd name="T47" fmla="*/ 120 h 125"/>
                  <a:gd name="T48" fmla="*/ 139 w 164"/>
                  <a:gd name="T49" fmla="*/ 123 h 125"/>
                  <a:gd name="T50" fmla="*/ 150 w 164"/>
                  <a:gd name="T51" fmla="*/ 114 h 125"/>
                  <a:gd name="T52" fmla="*/ 157 w 164"/>
                  <a:gd name="T53" fmla="*/ 107 h 125"/>
                  <a:gd name="T54" fmla="*/ 154 w 164"/>
                  <a:gd name="T55" fmla="*/ 96 h 125"/>
                  <a:gd name="T56" fmla="*/ 157 w 164"/>
                  <a:gd name="T57" fmla="*/ 94 h 125"/>
                  <a:gd name="T58" fmla="*/ 162 w 164"/>
                  <a:gd name="T59" fmla="*/ 95 h 125"/>
                  <a:gd name="T60" fmla="*/ 164 w 164"/>
                  <a:gd name="T61" fmla="*/ 94 h 125"/>
                  <a:gd name="T62" fmla="*/ 164 w 164"/>
                  <a:gd name="T63" fmla="*/ 83 h 125"/>
                  <a:gd name="T64" fmla="*/ 159 w 164"/>
                  <a:gd name="T65" fmla="*/ 78 h 125"/>
                  <a:gd name="T66" fmla="*/ 155 w 164"/>
                  <a:gd name="T67" fmla="*/ 68 h 125"/>
                  <a:gd name="T68" fmla="*/ 157 w 164"/>
                  <a:gd name="T69" fmla="*/ 57 h 125"/>
                  <a:gd name="T70" fmla="*/ 153 w 164"/>
                  <a:gd name="T71" fmla="*/ 52 h 125"/>
                  <a:gd name="T72" fmla="*/ 152 w 164"/>
                  <a:gd name="T73" fmla="*/ 44 h 125"/>
                  <a:gd name="T74" fmla="*/ 140 w 164"/>
                  <a:gd name="T75" fmla="*/ 43 h 125"/>
                  <a:gd name="T76" fmla="*/ 143 w 164"/>
                  <a:gd name="T77" fmla="*/ 24 h 125"/>
                  <a:gd name="T78" fmla="*/ 140 w 164"/>
                  <a:gd name="T79" fmla="*/ 23 h 125"/>
                  <a:gd name="T80" fmla="*/ 139 w 164"/>
                  <a:gd name="T81" fmla="*/ 17 h 125"/>
                  <a:gd name="T82" fmla="*/ 135 w 164"/>
                  <a:gd name="T83" fmla="*/ 17 h 125"/>
                  <a:gd name="T84" fmla="*/ 126 w 164"/>
                  <a:gd name="T85" fmla="*/ 12 h 125"/>
                  <a:gd name="T86" fmla="*/ 114 w 164"/>
                  <a:gd name="T87" fmla="*/ 13 h 125"/>
                  <a:gd name="T88" fmla="*/ 102 w 164"/>
                  <a:gd name="T89" fmla="*/ 16 h 125"/>
                  <a:gd name="T90" fmla="*/ 92 w 164"/>
                  <a:gd name="T91" fmla="*/ 12 h 125"/>
                  <a:gd name="T92" fmla="*/ 88 w 164"/>
                  <a:gd name="T93" fmla="*/ 15 h 125"/>
                  <a:gd name="T94" fmla="*/ 82 w 164"/>
                  <a:gd name="T95" fmla="*/ 16 h 125"/>
                  <a:gd name="T96" fmla="*/ 76 w 164"/>
                  <a:gd name="T97" fmla="*/ 10 h 125"/>
                  <a:gd name="T98" fmla="*/ 69 w 164"/>
                  <a:gd name="T99" fmla="*/ 7 h 125"/>
                  <a:gd name="T100" fmla="*/ 41 w 164"/>
                  <a:gd name="T101" fmla="*/ 4 h 125"/>
                  <a:gd name="T102" fmla="*/ 32 w 164"/>
                  <a:gd name="T103" fmla="*/ 0 h 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4" h="125">
                    <a:moveTo>
                      <a:pt x="3" y="38"/>
                    </a:moveTo>
                    <a:cubicBezTo>
                      <a:pt x="3" y="37"/>
                      <a:pt x="3" y="37"/>
                      <a:pt x="3" y="37"/>
                    </a:cubicBezTo>
                    <a:cubicBezTo>
                      <a:pt x="3" y="38"/>
                      <a:pt x="3" y="38"/>
                      <a:pt x="3" y="38"/>
                    </a:cubicBezTo>
                    <a:moveTo>
                      <a:pt x="3" y="37"/>
                    </a:moveTo>
                    <a:cubicBezTo>
                      <a:pt x="3" y="37"/>
                      <a:pt x="3" y="37"/>
                      <a:pt x="3" y="37"/>
                    </a:cubicBezTo>
                    <a:cubicBezTo>
                      <a:pt x="3" y="37"/>
                      <a:pt x="3" y="37"/>
                      <a:pt x="3" y="37"/>
                    </a:cubicBezTo>
                    <a:moveTo>
                      <a:pt x="30" y="0"/>
                    </a:moveTo>
                    <a:cubicBezTo>
                      <a:pt x="30" y="1"/>
                      <a:pt x="30" y="1"/>
                      <a:pt x="30" y="1"/>
                    </a:cubicBezTo>
                    <a:cubicBezTo>
                      <a:pt x="30" y="3"/>
                      <a:pt x="30" y="5"/>
                      <a:pt x="30" y="6"/>
                    </a:cubicBezTo>
                    <a:cubicBezTo>
                      <a:pt x="30" y="7"/>
                      <a:pt x="29" y="8"/>
                      <a:pt x="29" y="9"/>
                    </a:cubicBezTo>
                    <a:cubicBezTo>
                      <a:pt x="28" y="10"/>
                      <a:pt x="28" y="10"/>
                      <a:pt x="28" y="10"/>
                    </a:cubicBezTo>
                    <a:cubicBezTo>
                      <a:pt x="26" y="10"/>
                      <a:pt x="26" y="10"/>
                      <a:pt x="26" y="10"/>
                    </a:cubicBezTo>
                    <a:cubicBezTo>
                      <a:pt x="27" y="11"/>
                      <a:pt x="27" y="11"/>
                      <a:pt x="27" y="12"/>
                    </a:cubicBezTo>
                    <a:cubicBezTo>
                      <a:pt x="28" y="13"/>
                      <a:pt x="29" y="17"/>
                      <a:pt x="29" y="20"/>
                    </a:cubicBezTo>
                    <a:cubicBezTo>
                      <a:pt x="29" y="20"/>
                      <a:pt x="29" y="20"/>
                      <a:pt x="29" y="20"/>
                    </a:cubicBezTo>
                    <a:cubicBezTo>
                      <a:pt x="29" y="21"/>
                      <a:pt x="29" y="21"/>
                      <a:pt x="29" y="21"/>
                    </a:cubicBezTo>
                    <a:cubicBezTo>
                      <a:pt x="29" y="21"/>
                      <a:pt x="28" y="22"/>
                      <a:pt x="27" y="23"/>
                    </a:cubicBezTo>
                    <a:cubicBezTo>
                      <a:pt x="27" y="24"/>
                      <a:pt x="27" y="24"/>
                      <a:pt x="27" y="24"/>
                    </a:cubicBezTo>
                    <a:cubicBezTo>
                      <a:pt x="26" y="24"/>
                      <a:pt x="26" y="24"/>
                      <a:pt x="25" y="24"/>
                    </a:cubicBezTo>
                    <a:cubicBezTo>
                      <a:pt x="25" y="24"/>
                      <a:pt x="25" y="24"/>
                      <a:pt x="25" y="24"/>
                    </a:cubicBezTo>
                    <a:cubicBezTo>
                      <a:pt x="24" y="24"/>
                      <a:pt x="24" y="24"/>
                      <a:pt x="24" y="24"/>
                    </a:cubicBezTo>
                    <a:cubicBezTo>
                      <a:pt x="23" y="24"/>
                      <a:pt x="23" y="24"/>
                      <a:pt x="23" y="24"/>
                    </a:cubicBezTo>
                    <a:cubicBezTo>
                      <a:pt x="20" y="25"/>
                      <a:pt x="17" y="26"/>
                      <a:pt x="14" y="26"/>
                    </a:cubicBezTo>
                    <a:cubicBezTo>
                      <a:pt x="13" y="27"/>
                      <a:pt x="13" y="27"/>
                      <a:pt x="13" y="27"/>
                    </a:cubicBezTo>
                    <a:cubicBezTo>
                      <a:pt x="12" y="27"/>
                      <a:pt x="11" y="27"/>
                      <a:pt x="10" y="27"/>
                    </a:cubicBezTo>
                    <a:cubicBezTo>
                      <a:pt x="10" y="27"/>
                      <a:pt x="9" y="27"/>
                      <a:pt x="8" y="28"/>
                    </a:cubicBezTo>
                    <a:cubicBezTo>
                      <a:pt x="6" y="28"/>
                      <a:pt x="5" y="28"/>
                      <a:pt x="5" y="28"/>
                    </a:cubicBezTo>
                    <a:cubicBezTo>
                      <a:pt x="4" y="29"/>
                      <a:pt x="2" y="33"/>
                      <a:pt x="0" y="36"/>
                    </a:cubicBezTo>
                    <a:cubicBezTo>
                      <a:pt x="0" y="37"/>
                      <a:pt x="0" y="37"/>
                      <a:pt x="0" y="37"/>
                    </a:cubicBezTo>
                    <a:cubicBezTo>
                      <a:pt x="1" y="37"/>
                      <a:pt x="2" y="38"/>
                      <a:pt x="3" y="38"/>
                    </a:cubicBezTo>
                    <a:cubicBezTo>
                      <a:pt x="1" y="39"/>
                      <a:pt x="1" y="39"/>
                      <a:pt x="1" y="41"/>
                    </a:cubicBezTo>
                    <a:cubicBezTo>
                      <a:pt x="1" y="42"/>
                      <a:pt x="1" y="43"/>
                      <a:pt x="2" y="43"/>
                    </a:cubicBezTo>
                    <a:cubicBezTo>
                      <a:pt x="3" y="43"/>
                      <a:pt x="3" y="43"/>
                      <a:pt x="4" y="42"/>
                    </a:cubicBezTo>
                    <a:cubicBezTo>
                      <a:pt x="4" y="43"/>
                      <a:pt x="4" y="45"/>
                      <a:pt x="4" y="46"/>
                    </a:cubicBezTo>
                    <a:cubicBezTo>
                      <a:pt x="5" y="44"/>
                      <a:pt x="7" y="42"/>
                      <a:pt x="8" y="40"/>
                    </a:cubicBezTo>
                    <a:cubicBezTo>
                      <a:pt x="7" y="42"/>
                      <a:pt x="4" y="46"/>
                      <a:pt x="5" y="48"/>
                    </a:cubicBezTo>
                    <a:cubicBezTo>
                      <a:pt x="5" y="49"/>
                      <a:pt x="7" y="49"/>
                      <a:pt x="7" y="50"/>
                    </a:cubicBezTo>
                    <a:cubicBezTo>
                      <a:pt x="8" y="52"/>
                      <a:pt x="8" y="54"/>
                      <a:pt x="9" y="56"/>
                    </a:cubicBezTo>
                    <a:cubicBezTo>
                      <a:pt x="9" y="56"/>
                      <a:pt x="10" y="56"/>
                      <a:pt x="10" y="56"/>
                    </a:cubicBezTo>
                    <a:cubicBezTo>
                      <a:pt x="11" y="56"/>
                      <a:pt x="12" y="57"/>
                      <a:pt x="13" y="58"/>
                    </a:cubicBezTo>
                    <a:cubicBezTo>
                      <a:pt x="14" y="59"/>
                      <a:pt x="16" y="60"/>
                      <a:pt x="17" y="60"/>
                    </a:cubicBezTo>
                    <a:cubicBezTo>
                      <a:pt x="17" y="60"/>
                      <a:pt x="17" y="60"/>
                      <a:pt x="17" y="60"/>
                    </a:cubicBezTo>
                    <a:cubicBezTo>
                      <a:pt x="18" y="60"/>
                      <a:pt x="18" y="58"/>
                      <a:pt x="20" y="57"/>
                    </a:cubicBezTo>
                    <a:cubicBezTo>
                      <a:pt x="19" y="59"/>
                      <a:pt x="22" y="65"/>
                      <a:pt x="25" y="65"/>
                    </a:cubicBezTo>
                    <a:cubicBezTo>
                      <a:pt x="26" y="65"/>
                      <a:pt x="27" y="64"/>
                      <a:pt x="27" y="63"/>
                    </a:cubicBezTo>
                    <a:cubicBezTo>
                      <a:pt x="26" y="66"/>
                      <a:pt x="26" y="67"/>
                      <a:pt x="27" y="67"/>
                    </a:cubicBezTo>
                    <a:cubicBezTo>
                      <a:pt x="28" y="67"/>
                      <a:pt x="29" y="67"/>
                      <a:pt x="30" y="67"/>
                    </a:cubicBezTo>
                    <a:cubicBezTo>
                      <a:pt x="29" y="69"/>
                      <a:pt x="27" y="71"/>
                      <a:pt x="27" y="73"/>
                    </a:cubicBezTo>
                    <a:cubicBezTo>
                      <a:pt x="29" y="72"/>
                      <a:pt x="30" y="73"/>
                      <a:pt x="32" y="72"/>
                    </a:cubicBezTo>
                    <a:cubicBezTo>
                      <a:pt x="32" y="73"/>
                      <a:pt x="33" y="78"/>
                      <a:pt x="35" y="80"/>
                    </a:cubicBezTo>
                    <a:cubicBezTo>
                      <a:pt x="36" y="80"/>
                      <a:pt x="36" y="80"/>
                      <a:pt x="36" y="80"/>
                    </a:cubicBezTo>
                    <a:cubicBezTo>
                      <a:pt x="36" y="79"/>
                      <a:pt x="36" y="79"/>
                      <a:pt x="37" y="79"/>
                    </a:cubicBezTo>
                    <a:cubicBezTo>
                      <a:pt x="37" y="78"/>
                      <a:pt x="38" y="78"/>
                      <a:pt x="38" y="78"/>
                    </a:cubicBezTo>
                    <a:cubicBezTo>
                      <a:pt x="38" y="78"/>
                      <a:pt x="38" y="78"/>
                      <a:pt x="38" y="78"/>
                    </a:cubicBezTo>
                    <a:cubicBezTo>
                      <a:pt x="39" y="78"/>
                      <a:pt x="39" y="78"/>
                      <a:pt x="39" y="78"/>
                    </a:cubicBezTo>
                    <a:cubicBezTo>
                      <a:pt x="39" y="78"/>
                      <a:pt x="39" y="78"/>
                      <a:pt x="39" y="78"/>
                    </a:cubicBezTo>
                    <a:cubicBezTo>
                      <a:pt x="40" y="78"/>
                      <a:pt x="40" y="78"/>
                      <a:pt x="40" y="78"/>
                    </a:cubicBezTo>
                    <a:cubicBezTo>
                      <a:pt x="43" y="78"/>
                      <a:pt x="43" y="78"/>
                      <a:pt x="43" y="78"/>
                    </a:cubicBezTo>
                    <a:cubicBezTo>
                      <a:pt x="43" y="78"/>
                      <a:pt x="44" y="78"/>
                      <a:pt x="44" y="77"/>
                    </a:cubicBezTo>
                    <a:cubicBezTo>
                      <a:pt x="45" y="77"/>
                      <a:pt x="45" y="77"/>
                      <a:pt x="45" y="77"/>
                    </a:cubicBezTo>
                    <a:cubicBezTo>
                      <a:pt x="45" y="76"/>
                      <a:pt x="45" y="76"/>
                      <a:pt x="45" y="76"/>
                    </a:cubicBezTo>
                    <a:cubicBezTo>
                      <a:pt x="46" y="75"/>
                      <a:pt x="46" y="75"/>
                      <a:pt x="47" y="74"/>
                    </a:cubicBezTo>
                    <a:cubicBezTo>
                      <a:pt x="47" y="73"/>
                      <a:pt x="47" y="73"/>
                      <a:pt x="47" y="73"/>
                    </a:cubicBezTo>
                    <a:cubicBezTo>
                      <a:pt x="48" y="72"/>
                      <a:pt x="48" y="72"/>
                      <a:pt x="48" y="72"/>
                    </a:cubicBezTo>
                    <a:cubicBezTo>
                      <a:pt x="49" y="72"/>
                      <a:pt x="49" y="71"/>
                      <a:pt x="49" y="70"/>
                    </a:cubicBezTo>
                    <a:cubicBezTo>
                      <a:pt x="50" y="70"/>
                      <a:pt x="50" y="70"/>
                      <a:pt x="50" y="70"/>
                    </a:cubicBezTo>
                    <a:cubicBezTo>
                      <a:pt x="50" y="69"/>
                      <a:pt x="50" y="69"/>
                      <a:pt x="50" y="69"/>
                    </a:cubicBezTo>
                    <a:cubicBezTo>
                      <a:pt x="50" y="69"/>
                      <a:pt x="50" y="69"/>
                      <a:pt x="50" y="69"/>
                    </a:cubicBezTo>
                    <a:cubicBezTo>
                      <a:pt x="51" y="68"/>
                      <a:pt x="52" y="67"/>
                      <a:pt x="52" y="66"/>
                    </a:cubicBezTo>
                    <a:cubicBezTo>
                      <a:pt x="54" y="62"/>
                      <a:pt x="55" y="61"/>
                      <a:pt x="60" y="61"/>
                    </a:cubicBezTo>
                    <a:cubicBezTo>
                      <a:pt x="61" y="61"/>
                      <a:pt x="61" y="61"/>
                      <a:pt x="61" y="61"/>
                    </a:cubicBezTo>
                    <a:cubicBezTo>
                      <a:pt x="62" y="61"/>
                      <a:pt x="62" y="61"/>
                      <a:pt x="62" y="61"/>
                    </a:cubicBezTo>
                    <a:cubicBezTo>
                      <a:pt x="63" y="61"/>
                      <a:pt x="63" y="61"/>
                      <a:pt x="63" y="61"/>
                    </a:cubicBezTo>
                    <a:cubicBezTo>
                      <a:pt x="63" y="61"/>
                      <a:pt x="64" y="61"/>
                      <a:pt x="64" y="61"/>
                    </a:cubicBezTo>
                    <a:cubicBezTo>
                      <a:pt x="67" y="61"/>
                      <a:pt x="70" y="61"/>
                      <a:pt x="72" y="60"/>
                    </a:cubicBezTo>
                    <a:cubicBezTo>
                      <a:pt x="75" y="59"/>
                      <a:pt x="79" y="59"/>
                      <a:pt x="82" y="59"/>
                    </a:cubicBezTo>
                    <a:cubicBezTo>
                      <a:pt x="83" y="59"/>
                      <a:pt x="83" y="59"/>
                      <a:pt x="83" y="59"/>
                    </a:cubicBezTo>
                    <a:cubicBezTo>
                      <a:pt x="83" y="59"/>
                      <a:pt x="83" y="59"/>
                      <a:pt x="84" y="59"/>
                    </a:cubicBezTo>
                    <a:cubicBezTo>
                      <a:pt x="84" y="59"/>
                      <a:pt x="85" y="59"/>
                      <a:pt x="86" y="59"/>
                    </a:cubicBezTo>
                    <a:cubicBezTo>
                      <a:pt x="87" y="59"/>
                      <a:pt x="88" y="60"/>
                      <a:pt x="89" y="61"/>
                    </a:cubicBezTo>
                    <a:cubicBezTo>
                      <a:pt x="90" y="64"/>
                      <a:pt x="92" y="67"/>
                      <a:pt x="93" y="69"/>
                    </a:cubicBezTo>
                    <a:cubicBezTo>
                      <a:pt x="93" y="70"/>
                      <a:pt x="94" y="71"/>
                      <a:pt x="94" y="72"/>
                    </a:cubicBezTo>
                    <a:cubicBezTo>
                      <a:pt x="95" y="72"/>
                      <a:pt x="95" y="72"/>
                      <a:pt x="95" y="72"/>
                    </a:cubicBezTo>
                    <a:cubicBezTo>
                      <a:pt x="96" y="75"/>
                      <a:pt x="97" y="78"/>
                      <a:pt x="98" y="80"/>
                    </a:cubicBezTo>
                    <a:cubicBezTo>
                      <a:pt x="99" y="81"/>
                      <a:pt x="99" y="81"/>
                      <a:pt x="99" y="81"/>
                    </a:cubicBezTo>
                    <a:cubicBezTo>
                      <a:pt x="100" y="81"/>
                      <a:pt x="102" y="82"/>
                      <a:pt x="103" y="83"/>
                    </a:cubicBezTo>
                    <a:cubicBezTo>
                      <a:pt x="103" y="84"/>
                      <a:pt x="103" y="84"/>
                      <a:pt x="103" y="84"/>
                    </a:cubicBezTo>
                    <a:cubicBezTo>
                      <a:pt x="103" y="84"/>
                      <a:pt x="103" y="84"/>
                      <a:pt x="103" y="84"/>
                    </a:cubicBezTo>
                    <a:cubicBezTo>
                      <a:pt x="103" y="85"/>
                      <a:pt x="103" y="85"/>
                      <a:pt x="104" y="86"/>
                    </a:cubicBezTo>
                    <a:cubicBezTo>
                      <a:pt x="104" y="87"/>
                      <a:pt x="104" y="87"/>
                      <a:pt x="104" y="87"/>
                    </a:cubicBezTo>
                    <a:cubicBezTo>
                      <a:pt x="104" y="87"/>
                      <a:pt x="104" y="87"/>
                      <a:pt x="104" y="87"/>
                    </a:cubicBezTo>
                    <a:cubicBezTo>
                      <a:pt x="105" y="89"/>
                      <a:pt x="105" y="89"/>
                      <a:pt x="105" y="89"/>
                    </a:cubicBezTo>
                    <a:cubicBezTo>
                      <a:pt x="105" y="91"/>
                      <a:pt x="106" y="93"/>
                      <a:pt x="105" y="95"/>
                    </a:cubicBezTo>
                    <a:cubicBezTo>
                      <a:pt x="105" y="95"/>
                      <a:pt x="105" y="95"/>
                      <a:pt x="105" y="95"/>
                    </a:cubicBezTo>
                    <a:cubicBezTo>
                      <a:pt x="106" y="95"/>
                      <a:pt x="106" y="94"/>
                      <a:pt x="107" y="94"/>
                    </a:cubicBezTo>
                    <a:cubicBezTo>
                      <a:pt x="108" y="94"/>
                      <a:pt x="108" y="94"/>
                      <a:pt x="108" y="94"/>
                    </a:cubicBezTo>
                    <a:cubicBezTo>
                      <a:pt x="108" y="94"/>
                      <a:pt x="108" y="94"/>
                      <a:pt x="108" y="94"/>
                    </a:cubicBezTo>
                    <a:cubicBezTo>
                      <a:pt x="108" y="94"/>
                      <a:pt x="108" y="94"/>
                      <a:pt x="108" y="94"/>
                    </a:cubicBezTo>
                    <a:cubicBezTo>
                      <a:pt x="108" y="94"/>
                      <a:pt x="108" y="94"/>
                      <a:pt x="108" y="94"/>
                    </a:cubicBezTo>
                    <a:cubicBezTo>
                      <a:pt x="109" y="94"/>
                      <a:pt x="109" y="94"/>
                      <a:pt x="109" y="94"/>
                    </a:cubicBezTo>
                    <a:cubicBezTo>
                      <a:pt x="110" y="94"/>
                      <a:pt x="110" y="94"/>
                      <a:pt x="110" y="94"/>
                    </a:cubicBezTo>
                    <a:cubicBezTo>
                      <a:pt x="110" y="94"/>
                      <a:pt x="110" y="94"/>
                      <a:pt x="110" y="94"/>
                    </a:cubicBezTo>
                    <a:cubicBezTo>
                      <a:pt x="111" y="94"/>
                      <a:pt x="111" y="94"/>
                      <a:pt x="111" y="94"/>
                    </a:cubicBezTo>
                    <a:cubicBezTo>
                      <a:pt x="112" y="94"/>
                      <a:pt x="113" y="94"/>
                      <a:pt x="113" y="94"/>
                    </a:cubicBezTo>
                    <a:cubicBezTo>
                      <a:pt x="114" y="94"/>
                      <a:pt x="114" y="94"/>
                      <a:pt x="114" y="94"/>
                    </a:cubicBezTo>
                    <a:cubicBezTo>
                      <a:pt x="114" y="94"/>
                      <a:pt x="114" y="94"/>
                      <a:pt x="114" y="94"/>
                    </a:cubicBezTo>
                    <a:cubicBezTo>
                      <a:pt x="117" y="94"/>
                      <a:pt x="117" y="94"/>
                      <a:pt x="117" y="94"/>
                    </a:cubicBezTo>
                    <a:cubicBezTo>
                      <a:pt x="118" y="94"/>
                      <a:pt x="118" y="94"/>
                      <a:pt x="118" y="94"/>
                    </a:cubicBezTo>
                    <a:cubicBezTo>
                      <a:pt x="118" y="93"/>
                      <a:pt x="119" y="93"/>
                      <a:pt x="120" y="93"/>
                    </a:cubicBezTo>
                    <a:cubicBezTo>
                      <a:pt x="121" y="93"/>
                      <a:pt x="122" y="94"/>
                      <a:pt x="122" y="94"/>
                    </a:cubicBezTo>
                    <a:cubicBezTo>
                      <a:pt x="123" y="95"/>
                      <a:pt x="123" y="95"/>
                      <a:pt x="123" y="95"/>
                    </a:cubicBezTo>
                    <a:cubicBezTo>
                      <a:pt x="123" y="95"/>
                      <a:pt x="123" y="95"/>
                      <a:pt x="123" y="95"/>
                    </a:cubicBezTo>
                    <a:cubicBezTo>
                      <a:pt x="124" y="96"/>
                      <a:pt x="124" y="96"/>
                      <a:pt x="124" y="96"/>
                    </a:cubicBezTo>
                    <a:cubicBezTo>
                      <a:pt x="125" y="96"/>
                      <a:pt x="126" y="97"/>
                      <a:pt x="126" y="98"/>
                    </a:cubicBezTo>
                    <a:cubicBezTo>
                      <a:pt x="127" y="98"/>
                      <a:pt x="127" y="98"/>
                      <a:pt x="127" y="99"/>
                    </a:cubicBezTo>
                    <a:cubicBezTo>
                      <a:pt x="129" y="101"/>
                      <a:pt x="130" y="103"/>
                      <a:pt x="130" y="106"/>
                    </a:cubicBezTo>
                    <a:cubicBezTo>
                      <a:pt x="130" y="106"/>
                      <a:pt x="130" y="107"/>
                      <a:pt x="131" y="107"/>
                    </a:cubicBezTo>
                    <a:cubicBezTo>
                      <a:pt x="131" y="108"/>
                      <a:pt x="131" y="108"/>
                      <a:pt x="131" y="108"/>
                    </a:cubicBezTo>
                    <a:cubicBezTo>
                      <a:pt x="132" y="111"/>
                      <a:pt x="133" y="114"/>
                      <a:pt x="132" y="116"/>
                    </a:cubicBezTo>
                    <a:cubicBezTo>
                      <a:pt x="131" y="120"/>
                      <a:pt x="131" y="120"/>
                      <a:pt x="131" y="120"/>
                    </a:cubicBezTo>
                    <a:cubicBezTo>
                      <a:pt x="131" y="120"/>
                      <a:pt x="132" y="120"/>
                      <a:pt x="133" y="120"/>
                    </a:cubicBezTo>
                    <a:cubicBezTo>
                      <a:pt x="134" y="121"/>
                      <a:pt x="135" y="123"/>
                      <a:pt x="136" y="124"/>
                    </a:cubicBezTo>
                    <a:cubicBezTo>
                      <a:pt x="136" y="125"/>
                      <a:pt x="136" y="125"/>
                      <a:pt x="136" y="125"/>
                    </a:cubicBezTo>
                    <a:cubicBezTo>
                      <a:pt x="137" y="124"/>
                      <a:pt x="139" y="124"/>
                      <a:pt x="139" y="124"/>
                    </a:cubicBezTo>
                    <a:cubicBezTo>
                      <a:pt x="139" y="123"/>
                      <a:pt x="139" y="123"/>
                      <a:pt x="139" y="123"/>
                    </a:cubicBezTo>
                    <a:cubicBezTo>
                      <a:pt x="139" y="123"/>
                      <a:pt x="140" y="123"/>
                      <a:pt x="140" y="122"/>
                    </a:cubicBezTo>
                    <a:cubicBezTo>
                      <a:pt x="141" y="121"/>
                      <a:pt x="141" y="121"/>
                      <a:pt x="141" y="121"/>
                    </a:cubicBezTo>
                    <a:cubicBezTo>
                      <a:pt x="142" y="118"/>
                      <a:pt x="143" y="116"/>
                      <a:pt x="145" y="114"/>
                    </a:cubicBezTo>
                    <a:cubicBezTo>
                      <a:pt x="148" y="112"/>
                      <a:pt x="148" y="112"/>
                      <a:pt x="148" y="112"/>
                    </a:cubicBezTo>
                    <a:cubicBezTo>
                      <a:pt x="150" y="114"/>
                      <a:pt x="150" y="114"/>
                      <a:pt x="150" y="114"/>
                    </a:cubicBezTo>
                    <a:cubicBezTo>
                      <a:pt x="150" y="115"/>
                      <a:pt x="151" y="116"/>
                      <a:pt x="151" y="116"/>
                    </a:cubicBezTo>
                    <a:cubicBezTo>
                      <a:pt x="151" y="116"/>
                      <a:pt x="151" y="116"/>
                      <a:pt x="151" y="116"/>
                    </a:cubicBezTo>
                    <a:cubicBezTo>
                      <a:pt x="152" y="117"/>
                      <a:pt x="154" y="117"/>
                      <a:pt x="155" y="117"/>
                    </a:cubicBezTo>
                    <a:cubicBezTo>
                      <a:pt x="155" y="116"/>
                      <a:pt x="156" y="114"/>
                      <a:pt x="157" y="109"/>
                    </a:cubicBezTo>
                    <a:cubicBezTo>
                      <a:pt x="157" y="107"/>
                      <a:pt x="157" y="107"/>
                      <a:pt x="157" y="107"/>
                    </a:cubicBezTo>
                    <a:cubicBezTo>
                      <a:pt x="157" y="107"/>
                      <a:pt x="156" y="107"/>
                      <a:pt x="156" y="107"/>
                    </a:cubicBezTo>
                    <a:cubicBezTo>
                      <a:pt x="156" y="107"/>
                      <a:pt x="156" y="107"/>
                      <a:pt x="156" y="107"/>
                    </a:cubicBezTo>
                    <a:cubicBezTo>
                      <a:pt x="155" y="106"/>
                      <a:pt x="155" y="106"/>
                      <a:pt x="155" y="106"/>
                    </a:cubicBezTo>
                    <a:cubicBezTo>
                      <a:pt x="153" y="104"/>
                      <a:pt x="152" y="101"/>
                      <a:pt x="153" y="99"/>
                    </a:cubicBezTo>
                    <a:cubicBezTo>
                      <a:pt x="153" y="98"/>
                      <a:pt x="153" y="97"/>
                      <a:pt x="154" y="96"/>
                    </a:cubicBezTo>
                    <a:cubicBezTo>
                      <a:pt x="154" y="96"/>
                      <a:pt x="154" y="96"/>
                      <a:pt x="154" y="96"/>
                    </a:cubicBezTo>
                    <a:cubicBezTo>
                      <a:pt x="155" y="96"/>
                      <a:pt x="155" y="95"/>
                      <a:pt x="155" y="95"/>
                    </a:cubicBezTo>
                    <a:cubicBezTo>
                      <a:pt x="156" y="95"/>
                      <a:pt x="156" y="95"/>
                      <a:pt x="156" y="95"/>
                    </a:cubicBezTo>
                    <a:cubicBezTo>
                      <a:pt x="156" y="95"/>
                      <a:pt x="156" y="95"/>
                      <a:pt x="157" y="94"/>
                    </a:cubicBezTo>
                    <a:cubicBezTo>
                      <a:pt x="157" y="94"/>
                      <a:pt x="157" y="94"/>
                      <a:pt x="157" y="94"/>
                    </a:cubicBezTo>
                    <a:cubicBezTo>
                      <a:pt x="158" y="94"/>
                      <a:pt x="158" y="94"/>
                      <a:pt x="159" y="94"/>
                    </a:cubicBezTo>
                    <a:cubicBezTo>
                      <a:pt x="159" y="94"/>
                      <a:pt x="159" y="94"/>
                      <a:pt x="159" y="94"/>
                    </a:cubicBezTo>
                    <a:cubicBezTo>
                      <a:pt x="160" y="94"/>
                      <a:pt x="160" y="94"/>
                      <a:pt x="161" y="94"/>
                    </a:cubicBezTo>
                    <a:cubicBezTo>
                      <a:pt x="161" y="94"/>
                      <a:pt x="161" y="94"/>
                      <a:pt x="161" y="94"/>
                    </a:cubicBezTo>
                    <a:cubicBezTo>
                      <a:pt x="162" y="95"/>
                      <a:pt x="162" y="95"/>
                      <a:pt x="162" y="95"/>
                    </a:cubicBezTo>
                    <a:cubicBezTo>
                      <a:pt x="162" y="95"/>
                      <a:pt x="162" y="95"/>
                      <a:pt x="162" y="95"/>
                    </a:cubicBezTo>
                    <a:cubicBezTo>
                      <a:pt x="163" y="95"/>
                      <a:pt x="163" y="95"/>
                      <a:pt x="163" y="95"/>
                    </a:cubicBezTo>
                    <a:cubicBezTo>
                      <a:pt x="163" y="95"/>
                      <a:pt x="163" y="95"/>
                      <a:pt x="163" y="95"/>
                    </a:cubicBezTo>
                    <a:cubicBezTo>
                      <a:pt x="164" y="95"/>
                      <a:pt x="164" y="95"/>
                      <a:pt x="164" y="95"/>
                    </a:cubicBezTo>
                    <a:cubicBezTo>
                      <a:pt x="164" y="94"/>
                      <a:pt x="164" y="94"/>
                      <a:pt x="164" y="94"/>
                    </a:cubicBezTo>
                    <a:cubicBezTo>
                      <a:pt x="163" y="94"/>
                      <a:pt x="163" y="94"/>
                      <a:pt x="163" y="94"/>
                    </a:cubicBezTo>
                    <a:cubicBezTo>
                      <a:pt x="162" y="93"/>
                      <a:pt x="162" y="93"/>
                      <a:pt x="162" y="93"/>
                    </a:cubicBezTo>
                    <a:cubicBezTo>
                      <a:pt x="161" y="92"/>
                      <a:pt x="161" y="92"/>
                      <a:pt x="161" y="92"/>
                    </a:cubicBezTo>
                    <a:cubicBezTo>
                      <a:pt x="158" y="89"/>
                      <a:pt x="161" y="86"/>
                      <a:pt x="163" y="84"/>
                    </a:cubicBezTo>
                    <a:cubicBezTo>
                      <a:pt x="163" y="84"/>
                      <a:pt x="163" y="84"/>
                      <a:pt x="164" y="83"/>
                    </a:cubicBezTo>
                    <a:cubicBezTo>
                      <a:pt x="164" y="83"/>
                      <a:pt x="164" y="83"/>
                      <a:pt x="163" y="80"/>
                    </a:cubicBezTo>
                    <a:cubicBezTo>
                      <a:pt x="163" y="80"/>
                      <a:pt x="163" y="80"/>
                      <a:pt x="163" y="80"/>
                    </a:cubicBezTo>
                    <a:cubicBezTo>
                      <a:pt x="163" y="80"/>
                      <a:pt x="163" y="79"/>
                      <a:pt x="162" y="78"/>
                    </a:cubicBezTo>
                    <a:cubicBezTo>
                      <a:pt x="162" y="78"/>
                      <a:pt x="162" y="78"/>
                      <a:pt x="162" y="78"/>
                    </a:cubicBezTo>
                    <a:cubicBezTo>
                      <a:pt x="161" y="78"/>
                      <a:pt x="160" y="78"/>
                      <a:pt x="159" y="78"/>
                    </a:cubicBezTo>
                    <a:cubicBezTo>
                      <a:pt x="159" y="78"/>
                      <a:pt x="159" y="78"/>
                      <a:pt x="159" y="78"/>
                    </a:cubicBezTo>
                    <a:cubicBezTo>
                      <a:pt x="158" y="77"/>
                      <a:pt x="158" y="77"/>
                      <a:pt x="158" y="77"/>
                    </a:cubicBezTo>
                    <a:cubicBezTo>
                      <a:pt x="157" y="77"/>
                      <a:pt x="157" y="76"/>
                      <a:pt x="156" y="75"/>
                    </a:cubicBezTo>
                    <a:cubicBezTo>
                      <a:pt x="156" y="74"/>
                      <a:pt x="155" y="72"/>
                      <a:pt x="155" y="70"/>
                    </a:cubicBezTo>
                    <a:cubicBezTo>
                      <a:pt x="155" y="68"/>
                      <a:pt x="155" y="68"/>
                      <a:pt x="155" y="68"/>
                    </a:cubicBezTo>
                    <a:cubicBezTo>
                      <a:pt x="155" y="66"/>
                      <a:pt x="154" y="63"/>
                      <a:pt x="155" y="61"/>
                    </a:cubicBezTo>
                    <a:cubicBezTo>
                      <a:pt x="156" y="60"/>
                      <a:pt x="156" y="59"/>
                      <a:pt x="157" y="58"/>
                    </a:cubicBezTo>
                    <a:cubicBezTo>
                      <a:pt x="158" y="57"/>
                      <a:pt x="158" y="57"/>
                      <a:pt x="158" y="57"/>
                    </a:cubicBezTo>
                    <a:cubicBezTo>
                      <a:pt x="158" y="57"/>
                      <a:pt x="158" y="57"/>
                      <a:pt x="158" y="57"/>
                    </a:cubicBezTo>
                    <a:cubicBezTo>
                      <a:pt x="157" y="57"/>
                      <a:pt x="157" y="57"/>
                      <a:pt x="157" y="57"/>
                    </a:cubicBezTo>
                    <a:cubicBezTo>
                      <a:pt x="156" y="56"/>
                      <a:pt x="156" y="56"/>
                      <a:pt x="156" y="56"/>
                    </a:cubicBezTo>
                    <a:cubicBezTo>
                      <a:pt x="156" y="55"/>
                      <a:pt x="156" y="55"/>
                      <a:pt x="156" y="55"/>
                    </a:cubicBezTo>
                    <a:cubicBezTo>
                      <a:pt x="155" y="54"/>
                      <a:pt x="155" y="54"/>
                      <a:pt x="155" y="54"/>
                    </a:cubicBezTo>
                    <a:cubicBezTo>
                      <a:pt x="155" y="54"/>
                      <a:pt x="155" y="54"/>
                      <a:pt x="155" y="54"/>
                    </a:cubicBezTo>
                    <a:cubicBezTo>
                      <a:pt x="154" y="53"/>
                      <a:pt x="153" y="53"/>
                      <a:pt x="153" y="52"/>
                    </a:cubicBezTo>
                    <a:cubicBezTo>
                      <a:pt x="153" y="51"/>
                      <a:pt x="152" y="51"/>
                      <a:pt x="152" y="50"/>
                    </a:cubicBezTo>
                    <a:cubicBezTo>
                      <a:pt x="152" y="50"/>
                      <a:pt x="152" y="50"/>
                      <a:pt x="152" y="50"/>
                    </a:cubicBezTo>
                    <a:cubicBezTo>
                      <a:pt x="152" y="50"/>
                      <a:pt x="152" y="49"/>
                      <a:pt x="152" y="49"/>
                    </a:cubicBezTo>
                    <a:cubicBezTo>
                      <a:pt x="152" y="47"/>
                      <a:pt x="152" y="46"/>
                      <a:pt x="152" y="45"/>
                    </a:cubicBezTo>
                    <a:cubicBezTo>
                      <a:pt x="152" y="44"/>
                      <a:pt x="152" y="44"/>
                      <a:pt x="152" y="44"/>
                    </a:cubicBezTo>
                    <a:cubicBezTo>
                      <a:pt x="152" y="43"/>
                      <a:pt x="152" y="41"/>
                      <a:pt x="151" y="40"/>
                    </a:cubicBezTo>
                    <a:cubicBezTo>
                      <a:pt x="151" y="39"/>
                      <a:pt x="151" y="39"/>
                      <a:pt x="151" y="39"/>
                    </a:cubicBezTo>
                    <a:cubicBezTo>
                      <a:pt x="151" y="40"/>
                      <a:pt x="151" y="40"/>
                      <a:pt x="150" y="40"/>
                    </a:cubicBezTo>
                    <a:cubicBezTo>
                      <a:pt x="149" y="41"/>
                      <a:pt x="147" y="41"/>
                      <a:pt x="146" y="41"/>
                    </a:cubicBezTo>
                    <a:cubicBezTo>
                      <a:pt x="140" y="43"/>
                      <a:pt x="140" y="43"/>
                      <a:pt x="140" y="43"/>
                    </a:cubicBezTo>
                    <a:cubicBezTo>
                      <a:pt x="143" y="36"/>
                      <a:pt x="143" y="36"/>
                      <a:pt x="143" y="36"/>
                    </a:cubicBezTo>
                    <a:cubicBezTo>
                      <a:pt x="145" y="33"/>
                      <a:pt x="146" y="31"/>
                      <a:pt x="148" y="30"/>
                    </a:cubicBezTo>
                    <a:cubicBezTo>
                      <a:pt x="148" y="29"/>
                      <a:pt x="148" y="29"/>
                      <a:pt x="148" y="29"/>
                    </a:cubicBezTo>
                    <a:cubicBezTo>
                      <a:pt x="147" y="28"/>
                      <a:pt x="144" y="25"/>
                      <a:pt x="143" y="25"/>
                    </a:cubicBezTo>
                    <a:cubicBezTo>
                      <a:pt x="143" y="24"/>
                      <a:pt x="143" y="24"/>
                      <a:pt x="143" y="24"/>
                    </a:cubicBezTo>
                    <a:cubicBezTo>
                      <a:pt x="142" y="25"/>
                      <a:pt x="142" y="25"/>
                      <a:pt x="142" y="25"/>
                    </a:cubicBezTo>
                    <a:cubicBezTo>
                      <a:pt x="142" y="24"/>
                      <a:pt x="142" y="24"/>
                      <a:pt x="142" y="24"/>
                    </a:cubicBezTo>
                    <a:cubicBezTo>
                      <a:pt x="141" y="24"/>
                      <a:pt x="141" y="24"/>
                      <a:pt x="141" y="24"/>
                    </a:cubicBezTo>
                    <a:cubicBezTo>
                      <a:pt x="141" y="24"/>
                      <a:pt x="141" y="24"/>
                      <a:pt x="141" y="24"/>
                    </a:cubicBezTo>
                    <a:cubicBezTo>
                      <a:pt x="140" y="23"/>
                      <a:pt x="140" y="23"/>
                      <a:pt x="140" y="23"/>
                    </a:cubicBezTo>
                    <a:cubicBezTo>
                      <a:pt x="140" y="23"/>
                      <a:pt x="140" y="23"/>
                      <a:pt x="140" y="23"/>
                    </a:cubicBezTo>
                    <a:cubicBezTo>
                      <a:pt x="139" y="22"/>
                      <a:pt x="139" y="22"/>
                      <a:pt x="139" y="22"/>
                    </a:cubicBezTo>
                    <a:cubicBezTo>
                      <a:pt x="139" y="21"/>
                      <a:pt x="139" y="21"/>
                      <a:pt x="139" y="21"/>
                    </a:cubicBezTo>
                    <a:cubicBezTo>
                      <a:pt x="139" y="20"/>
                      <a:pt x="139" y="18"/>
                      <a:pt x="139" y="17"/>
                    </a:cubicBezTo>
                    <a:cubicBezTo>
                      <a:pt x="139" y="17"/>
                      <a:pt x="139" y="17"/>
                      <a:pt x="139" y="17"/>
                    </a:cubicBezTo>
                    <a:cubicBezTo>
                      <a:pt x="140" y="16"/>
                      <a:pt x="140" y="16"/>
                      <a:pt x="140" y="16"/>
                    </a:cubicBezTo>
                    <a:cubicBezTo>
                      <a:pt x="140" y="16"/>
                      <a:pt x="140" y="16"/>
                      <a:pt x="140" y="16"/>
                    </a:cubicBezTo>
                    <a:cubicBezTo>
                      <a:pt x="139" y="15"/>
                      <a:pt x="139" y="15"/>
                      <a:pt x="139" y="15"/>
                    </a:cubicBezTo>
                    <a:cubicBezTo>
                      <a:pt x="139" y="15"/>
                      <a:pt x="139" y="15"/>
                      <a:pt x="139" y="15"/>
                    </a:cubicBezTo>
                    <a:cubicBezTo>
                      <a:pt x="135" y="17"/>
                      <a:pt x="135" y="17"/>
                      <a:pt x="135" y="17"/>
                    </a:cubicBezTo>
                    <a:cubicBezTo>
                      <a:pt x="139" y="13"/>
                      <a:pt x="139" y="13"/>
                      <a:pt x="139" y="13"/>
                    </a:cubicBezTo>
                    <a:cubicBezTo>
                      <a:pt x="138" y="13"/>
                      <a:pt x="138" y="13"/>
                      <a:pt x="138" y="13"/>
                    </a:cubicBezTo>
                    <a:cubicBezTo>
                      <a:pt x="137" y="10"/>
                      <a:pt x="135" y="7"/>
                      <a:pt x="133" y="6"/>
                    </a:cubicBezTo>
                    <a:cubicBezTo>
                      <a:pt x="133" y="7"/>
                      <a:pt x="133" y="8"/>
                      <a:pt x="132" y="9"/>
                    </a:cubicBezTo>
                    <a:cubicBezTo>
                      <a:pt x="131" y="11"/>
                      <a:pt x="128" y="12"/>
                      <a:pt x="126" y="12"/>
                    </a:cubicBezTo>
                    <a:cubicBezTo>
                      <a:pt x="126" y="12"/>
                      <a:pt x="125" y="13"/>
                      <a:pt x="124" y="13"/>
                    </a:cubicBezTo>
                    <a:cubicBezTo>
                      <a:pt x="124" y="14"/>
                      <a:pt x="123" y="15"/>
                      <a:pt x="122" y="15"/>
                    </a:cubicBezTo>
                    <a:cubicBezTo>
                      <a:pt x="122" y="16"/>
                      <a:pt x="121" y="16"/>
                      <a:pt x="120" y="16"/>
                    </a:cubicBezTo>
                    <a:cubicBezTo>
                      <a:pt x="118" y="16"/>
                      <a:pt x="117" y="15"/>
                      <a:pt x="115" y="14"/>
                    </a:cubicBezTo>
                    <a:cubicBezTo>
                      <a:pt x="115" y="14"/>
                      <a:pt x="114" y="14"/>
                      <a:pt x="114" y="13"/>
                    </a:cubicBezTo>
                    <a:cubicBezTo>
                      <a:pt x="113" y="13"/>
                      <a:pt x="113" y="13"/>
                      <a:pt x="113" y="13"/>
                    </a:cubicBezTo>
                    <a:cubicBezTo>
                      <a:pt x="113" y="13"/>
                      <a:pt x="113" y="13"/>
                      <a:pt x="113" y="13"/>
                    </a:cubicBezTo>
                    <a:cubicBezTo>
                      <a:pt x="112" y="13"/>
                      <a:pt x="112" y="13"/>
                      <a:pt x="112" y="13"/>
                    </a:cubicBezTo>
                    <a:cubicBezTo>
                      <a:pt x="112" y="13"/>
                      <a:pt x="112" y="13"/>
                      <a:pt x="112" y="13"/>
                    </a:cubicBezTo>
                    <a:cubicBezTo>
                      <a:pt x="110" y="13"/>
                      <a:pt x="104" y="15"/>
                      <a:pt x="102" y="16"/>
                    </a:cubicBezTo>
                    <a:cubicBezTo>
                      <a:pt x="102" y="16"/>
                      <a:pt x="101" y="17"/>
                      <a:pt x="101" y="17"/>
                    </a:cubicBezTo>
                    <a:cubicBezTo>
                      <a:pt x="100" y="22"/>
                      <a:pt x="100" y="22"/>
                      <a:pt x="100" y="22"/>
                    </a:cubicBezTo>
                    <a:cubicBezTo>
                      <a:pt x="96" y="18"/>
                      <a:pt x="96" y="18"/>
                      <a:pt x="96" y="18"/>
                    </a:cubicBezTo>
                    <a:cubicBezTo>
                      <a:pt x="96" y="18"/>
                      <a:pt x="95" y="17"/>
                      <a:pt x="95" y="16"/>
                    </a:cubicBezTo>
                    <a:cubicBezTo>
                      <a:pt x="94" y="15"/>
                      <a:pt x="93" y="13"/>
                      <a:pt x="92" y="12"/>
                    </a:cubicBezTo>
                    <a:cubicBezTo>
                      <a:pt x="92" y="12"/>
                      <a:pt x="92" y="12"/>
                      <a:pt x="92" y="12"/>
                    </a:cubicBezTo>
                    <a:cubicBezTo>
                      <a:pt x="92" y="12"/>
                      <a:pt x="92" y="12"/>
                      <a:pt x="91" y="13"/>
                    </a:cubicBezTo>
                    <a:cubicBezTo>
                      <a:pt x="90" y="14"/>
                      <a:pt x="90" y="14"/>
                      <a:pt x="90" y="14"/>
                    </a:cubicBezTo>
                    <a:cubicBezTo>
                      <a:pt x="89" y="14"/>
                      <a:pt x="89" y="15"/>
                      <a:pt x="88" y="15"/>
                    </a:cubicBezTo>
                    <a:cubicBezTo>
                      <a:pt x="88" y="15"/>
                      <a:pt x="88" y="15"/>
                      <a:pt x="88" y="15"/>
                    </a:cubicBezTo>
                    <a:cubicBezTo>
                      <a:pt x="87" y="16"/>
                      <a:pt x="87" y="16"/>
                      <a:pt x="86" y="16"/>
                    </a:cubicBezTo>
                    <a:cubicBezTo>
                      <a:pt x="86" y="16"/>
                      <a:pt x="86" y="16"/>
                      <a:pt x="86" y="16"/>
                    </a:cubicBezTo>
                    <a:cubicBezTo>
                      <a:pt x="85" y="17"/>
                      <a:pt x="85" y="17"/>
                      <a:pt x="85" y="17"/>
                    </a:cubicBezTo>
                    <a:cubicBezTo>
                      <a:pt x="84" y="17"/>
                      <a:pt x="84" y="17"/>
                      <a:pt x="84" y="17"/>
                    </a:cubicBezTo>
                    <a:cubicBezTo>
                      <a:pt x="82" y="16"/>
                      <a:pt x="82" y="16"/>
                      <a:pt x="82" y="16"/>
                    </a:cubicBezTo>
                    <a:cubicBezTo>
                      <a:pt x="82" y="16"/>
                      <a:pt x="82" y="15"/>
                      <a:pt x="81" y="15"/>
                    </a:cubicBezTo>
                    <a:cubicBezTo>
                      <a:pt x="80" y="14"/>
                      <a:pt x="80" y="14"/>
                      <a:pt x="80" y="14"/>
                    </a:cubicBezTo>
                    <a:cubicBezTo>
                      <a:pt x="78" y="12"/>
                      <a:pt x="78" y="12"/>
                      <a:pt x="78" y="12"/>
                    </a:cubicBezTo>
                    <a:cubicBezTo>
                      <a:pt x="77" y="11"/>
                      <a:pt x="77" y="11"/>
                      <a:pt x="77" y="11"/>
                    </a:cubicBezTo>
                    <a:cubicBezTo>
                      <a:pt x="77" y="11"/>
                      <a:pt x="76" y="10"/>
                      <a:pt x="76" y="10"/>
                    </a:cubicBezTo>
                    <a:cubicBezTo>
                      <a:pt x="76" y="9"/>
                      <a:pt x="76" y="9"/>
                      <a:pt x="76" y="9"/>
                    </a:cubicBezTo>
                    <a:cubicBezTo>
                      <a:pt x="76" y="9"/>
                      <a:pt x="76" y="8"/>
                      <a:pt x="76" y="8"/>
                    </a:cubicBezTo>
                    <a:cubicBezTo>
                      <a:pt x="76" y="7"/>
                      <a:pt x="76" y="7"/>
                      <a:pt x="76" y="7"/>
                    </a:cubicBezTo>
                    <a:cubicBezTo>
                      <a:pt x="76" y="7"/>
                      <a:pt x="76" y="7"/>
                      <a:pt x="76" y="7"/>
                    </a:cubicBezTo>
                    <a:cubicBezTo>
                      <a:pt x="74" y="7"/>
                      <a:pt x="72" y="7"/>
                      <a:pt x="69" y="7"/>
                    </a:cubicBezTo>
                    <a:cubicBezTo>
                      <a:pt x="64" y="8"/>
                      <a:pt x="60" y="8"/>
                      <a:pt x="55" y="8"/>
                    </a:cubicBezTo>
                    <a:cubicBezTo>
                      <a:pt x="55" y="8"/>
                      <a:pt x="55" y="8"/>
                      <a:pt x="55" y="8"/>
                    </a:cubicBezTo>
                    <a:cubicBezTo>
                      <a:pt x="54" y="8"/>
                      <a:pt x="53" y="8"/>
                      <a:pt x="52" y="8"/>
                    </a:cubicBezTo>
                    <a:cubicBezTo>
                      <a:pt x="48" y="7"/>
                      <a:pt x="45" y="6"/>
                      <a:pt x="42" y="4"/>
                    </a:cubicBezTo>
                    <a:cubicBezTo>
                      <a:pt x="41" y="4"/>
                      <a:pt x="41" y="4"/>
                      <a:pt x="41" y="4"/>
                    </a:cubicBezTo>
                    <a:cubicBezTo>
                      <a:pt x="40" y="3"/>
                      <a:pt x="39" y="3"/>
                      <a:pt x="38" y="2"/>
                    </a:cubicBezTo>
                    <a:cubicBezTo>
                      <a:pt x="37" y="2"/>
                      <a:pt x="37" y="2"/>
                      <a:pt x="37" y="2"/>
                    </a:cubicBezTo>
                    <a:cubicBezTo>
                      <a:pt x="36" y="1"/>
                      <a:pt x="36" y="1"/>
                      <a:pt x="35" y="1"/>
                    </a:cubicBezTo>
                    <a:cubicBezTo>
                      <a:pt x="35" y="1"/>
                      <a:pt x="34" y="1"/>
                      <a:pt x="32" y="0"/>
                    </a:cubicBezTo>
                    <a:cubicBezTo>
                      <a:pt x="32" y="0"/>
                      <a:pt x="32" y="0"/>
                      <a:pt x="32" y="0"/>
                    </a:cubicBezTo>
                    <a:cubicBezTo>
                      <a:pt x="31"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7" name="Freeform 206"/>
            <p:cNvSpPr/>
            <p:nvPr/>
          </p:nvSpPr>
          <p:spPr bwMode="auto">
            <a:xfrm>
              <a:off x="3363" y="1916"/>
              <a:ext cx="425" cy="295"/>
            </a:xfrm>
            <a:custGeom>
              <a:gdLst>
                <a:gd name="T0" fmla="*/ 107 w 180"/>
                <a:gd name="T1" fmla="*/ 3 h 125"/>
                <a:gd name="T2" fmla="*/ 94 w 180"/>
                <a:gd name="T3" fmla="*/ 11 h 125"/>
                <a:gd name="T4" fmla="*/ 82 w 180"/>
                <a:gd name="T5" fmla="*/ 16 h 125"/>
                <a:gd name="T6" fmla="*/ 76 w 180"/>
                <a:gd name="T7" fmla="*/ 21 h 125"/>
                <a:gd name="T8" fmla="*/ 72 w 180"/>
                <a:gd name="T9" fmla="*/ 20 h 125"/>
                <a:gd name="T10" fmla="*/ 60 w 180"/>
                <a:gd name="T11" fmla="*/ 31 h 125"/>
                <a:gd name="T12" fmla="*/ 53 w 180"/>
                <a:gd name="T13" fmla="*/ 33 h 125"/>
                <a:gd name="T14" fmla="*/ 53 w 180"/>
                <a:gd name="T15" fmla="*/ 43 h 125"/>
                <a:gd name="T16" fmla="*/ 48 w 180"/>
                <a:gd name="T17" fmla="*/ 44 h 125"/>
                <a:gd name="T18" fmla="*/ 43 w 180"/>
                <a:gd name="T19" fmla="*/ 45 h 125"/>
                <a:gd name="T20" fmla="*/ 33 w 180"/>
                <a:gd name="T21" fmla="*/ 39 h 125"/>
                <a:gd name="T22" fmla="*/ 30 w 180"/>
                <a:gd name="T23" fmla="*/ 52 h 125"/>
                <a:gd name="T24" fmla="*/ 26 w 180"/>
                <a:gd name="T25" fmla="*/ 64 h 125"/>
                <a:gd name="T26" fmla="*/ 17 w 180"/>
                <a:gd name="T27" fmla="*/ 72 h 125"/>
                <a:gd name="T28" fmla="*/ 4 w 180"/>
                <a:gd name="T29" fmla="*/ 76 h 125"/>
                <a:gd name="T30" fmla="*/ 0 w 180"/>
                <a:gd name="T31" fmla="*/ 95 h 125"/>
                <a:gd name="T32" fmla="*/ 0 w 180"/>
                <a:gd name="T33" fmla="*/ 106 h 125"/>
                <a:gd name="T34" fmla="*/ 8 w 180"/>
                <a:gd name="T35" fmla="*/ 111 h 125"/>
                <a:gd name="T36" fmla="*/ 16 w 180"/>
                <a:gd name="T37" fmla="*/ 122 h 125"/>
                <a:gd name="T38" fmla="*/ 36 w 180"/>
                <a:gd name="T39" fmla="*/ 117 h 125"/>
                <a:gd name="T40" fmla="*/ 45 w 180"/>
                <a:gd name="T41" fmla="*/ 117 h 125"/>
                <a:gd name="T42" fmla="*/ 54 w 180"/>
                <a:gd name="T43" fmla="*/ 121 h 125"/>
                <a:gd name="T44" fmla="*/ 55 w 180"/>
                <a:gd name="T45" fmla="*/ 105 h 125"/>
                <a:gd name="T46" fmla="*/ 57 w 180"/>
                <a:gd name="T47" fmla="*/ 89 h 125"/>
                <a:gd name="T48" fmla="*/ 76 w 180"/>
                <a:gd name="T49" fmla="*/ 92 h 125"/>
                <a:gd name="T50" fmla="*/ 107 w 180"/>
                <a:gd name="T51" fmla="*/ 92 h 125"/>
                <a:gd name="T52" fmla="*/ 111 w 180"/>
                <a:gd name="T53" fmla="*/ 92 h 125"/>
                <a:gd name="T54" fmla="*/ 114 w 180"/>
                <a:gd name="T55" fmla="*/ 91 h 125"/>
                <a:gd name="T56" fmla="*/ 119 w 180"/>
                <a:gd name="T57" fmla="*/ 89 h 125"/>
                <a:gd name="T58" fmla="*/ 125 w 180"/>
                <a:gd name="T59" fmla="*/ 89 h 125"/>
                <a:gd name="T60" fmla="*/ 146 w 180"/>
                <a:gd name="T61" fmla="*/ 91 h 125"/>
                <a:gd name="T62" fmla="*/ 154 w 180"/>
                <a:gd name="T63" fmla="*/ 85 h 125"/>
                <a:gd name="T64" fmla="*/ 164 w 180"/>
                <a:gd name="T65" fmla="*/ 81 h 125"/>
                <a:gd name="T66" fmla="*/ 172 w 180"/>
                <a:gd name="T67" fmla="*/ 81 h 125"/>
                <a:gd name="T68" fmla="*/ 180 w 180"/>
                <a:gd name="T69" fmla="*/ 74 h 125"/>
                <a:gd name="T70" fmla="*/ 174 w 180"/>
                <a:gd name="T71" fmla="*/ 66 h 125"/>
                <a:gd name="T72" fmla="*/ 173 w 180"/>
                <a:gd name="T73" fmla="*/ 60 h 125"/>
                <a:gd name="T74" fmla="*/ 176 w 180"/>
                <a:gd name="T75" fmla="*/ 58 h 125"/>
                <a:gd name="T76" fmla="*/ 167 w 180"/>
                <a:gd name="T77" fmla="*/ 59 h 125"/>
                <a:gd name="T78" fmla="*/ 158 w 180"/>
                <a:gd name="T79" fmla="*/ 54 h 125"/>
                <a:gd name="T80" fmla="*/ 149 w 180"/>
                <a:gd name="T81" fmla="*/ 49 h 125"/>
                <a:gd name="T82" fmla="*/ 147 w 180"/>
                <a:gd name="T83" fmla="*/ 47 h 125"/>
                <a:gd name="T84" fmla="*/ 149 w 180"/>
                <a:gd name="T85" fmla="*/ 37 h 125"/>
                <a:gd name="T86" fmla="*/ 138 w 180"/>
                <a:gd name="T87" fmla="*/ 31 h 125"/>
                <a:gd name="T88" fmla="*/ 132 w 180"/>
                <a:gd name="T89" fmla="*/ 18 h 125"/>
                <a:gd name="T90" fmla="*/ 125 w 180"/>
                <a:gd name="T91" fmla="*/ 1 h 125"/>
                <a:gd name="T92" fmla="*/ 119 w 180"/>
                <a:gd name="T93" fmla="*/ 0 h 125"/>
                <a:gd name="T94" fmla="*/ 114 w 180"/>
                <a:gd name="T95" fmla="*/ 0 h 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0" h="125">
                  <a:moveTo>
                    <a:pt x="111" y="0"/>
                  </a:moveTo>
                  <a:cubicBezTo>
                    <a:pt x="111" y="0"/>
                    <a:pt x="111" y="0"/>
                    <a:pt x="111" y="0"/>
                  </a:cubicBezTo>
                  <a:cubicBezTo>
                    <a:pt x="109" y="1"/>
                    <a:pt x="109" y="1"/>
                    <a:pt x="109" y="1"/>
                  </a:cubicBezTo>
                  <a:cubicBezTo>
                    <a:pt x="108" y="2"/>
                    <a:pt x="108" y="2"/>
                    <a:pt x="107" y="3"/>
                  </a:cubicBezTo>
                  <a:cubicBezTo>
                    <a:pt x="106" y="4"/>
                    <a:pt x="106" y="4"/>
                    <a:pt x="106" y="4"/>
                  </a:cubicBezTo>
                  <a:cubicBezTo>
                    <a:pt x="105" y="5"/>
                    <a:pt x="103" y="6"/>
                    <a:pt x="102" y="7"/>
                  </a:cubicBezTo>
                  <a:cubicBezTo>
                    <a:pt x="99" y="8"/>
                    <a:pt x="97" y="9"/>
                    <a:pt x="94" y="10"/>
                  </a:cubicBezTo>
                  <a:cubicBezTo>
                    <a:pt x="94" y="11"/>
                    <a:pt x="94" y="11"/>
                    <a:pt x="94" y="11"/>
                  </a:cubicBezTo>
                  <a:cubicBezTo>
                    <a:pt x="93" y="11"/>
                    <a:pt x="92" y="11"/>
                    <a:pt x="91" y="12"/>
                  </a:cubicBezTo>
                  <a:cubicBezTo>
                    <a:pt x="90" y="12"/>
                    <a:pt x="90" y="12"/>
                    <a:pt x="90" y="12"/>
                  </a:cubicBezTo>
                  <a:cubicBezTo>
                    <a:pt x="88" y="13"/>
                    <a:pt x="86" y="14"/>
                    <a:pt x="84" y="14"/>
                  </a:cubicBezTo>
                  <a:cubicBezTo>
                    <a:pt x="83" y="15"/>
                    <a:pt x="83" y="15"/>
                    <a:pt x="82" y="16"/>
                  </a:cubicBezTo>
                  <a:cubicBezTo>
                    <a:pt x="82" y="17"/>
                    <a:pt x="82" y="18"/>
                    <a:pt x="81" y="19"/>
                  </a:cubicBezTo>
                  <a:cubicBezTo>
                    <a:pt x="81" y="20"/>
                    <a:pt x="80" y="20"/>
                    <a:pt x="79" y="21"/>
                  </a:cubicBezTo>
                  <a:cubicBezTo>
                    <a:pt x="78" y="21"/>
                    <a:pt x="78" y="21"/>
                    <a:pt x="77" y="21"/>
                  </a:cubicBezTo>
                  <a:cubicBezTo>
                    <a:pt x="77" y="21"/>
                    <a:pt x="76" y="21"/>
                    <a:pt x="76" y="21"/>
                  </a:cubicBezTo>
                  <a:cubicBezTo>
                    <a:pt x="76" y="21"/>
                    <a:pt x="75" y="21"/>
                    <a:pt x="75" y="21"/>
                  </a:cubicBezTo>
                  <a:cubicBezTo>
                    <a:pt x="74" y="21"/>
                    <a:pt x="74" y="21"/>
                    <a:pt x="74" y="21"/>
                  </a:cubicBezTo>
                  <a:cubicBezTo>
                    <a:pt x="74" y="21"/>
                    <a:pt x="73" y="21"/>
                    <a:pt x="73" y="20"/>
                  </a:cubicBezTo>
                  <a:cubicBezTo>
                    <a:pt x="72" y="20"/>
                    <a:pt x="72" y="20"/>
                    <a:pt x="72" y="20"/>
                  </a:cubicBezTo>
                  <a:cubicBezTo>
                    <a:pt x="71" y="20"/>
                    <a:pt x="70" y="20"/>
                    <a:pt x="69" y="20"/>
                  </a:cubicBezTo>
                  <a:cubicBezTo>
                    <a:pt x="66" y="20"/>
                    <a:pt x="64" y="23"/>
                    <a:pt x="62" y="26"/>
                  </a:cubicBezTo>
                  <a:cubicBezTo>
                    <a:pt x="60" y="30"/>
                    <a:pt x="60" y="30"/>
                    <a:pt x="60" y="30"/>
                  </a:cubicBezTo>
                  <a:cubicBezTo>
                    <a:pt x="60" y="30"/>
                    <a:pt x="60" y="31"/>
                    <a:pt x="60" y="31"/>
                  </a:cubicBezTo>
                  <a:cubicBezTo>
                    <a:pt x="59" y="33"/>
                    <a:pt x="58" y="34"/>
                    <a:pt x="56" y="34"/>
                  </a:cubicBezTo>
                  <a:cubicBezTo>
                    <a:pt x="55" y="34"/>
                    <a:pt x="55" y="34"/>
                    <a:pt x="54" y="34"/>
                  </a:cubicBezTo>
                  <a:cubicBezTo>
                    <a:pt x="53" y="34"/>
                    <a:pt x="53" y="34"/>
                    <a:pt x="53" y="34"/>
                  </a:cubicBezTo>
                  <a:cubicBezTo>
                    <a:pt x="53" y="33"/>
                    <a:pt x="53" y="33"/>
                    <a:pt x="53" y="33"/>
                  </a:cubicBezTo>
                  <a:cubicBezTo>
                    <a:pt x="53" y="35"/>
                    <a:pt x="53" y="36"/>
                    <a:pt x="53" y="37"/>
                  </a:cubicBezTo>
                  <a:cubicBezTo>
                    <a:pt x="53" y="38"/>
                    <a:pt x="53" y="38"/>
                    <a:pt x="53" y="38"/>
                  </a:cubicBezTo>
                  <a:cubicBezTo>
                    <a:pt x="53" y="38"/>
                    <a:pt x="53" y="39"/>
                    <a:pt x="53" y="40"/>
                  </a:cubicBezTo>
                  <a:cubicBezTo>
                    <a:pt x="53" y="43"/>
                    <a:pt x="53" y="43"/>
                    <a:pt x="53" y="43"/>
                  </a:cubicBezTo>
                  <a:cubicBezTo>
                    <a:pt x="50" y="43"/>
                    <a:pt x="50" y="43"/>
                    <a:pt x="50" y="43"/>
                  </a:cubicBezTo>
                  <a:cubicBezTo>
                    <a:pt x="49" y="43"/>
                    <a:pt x="49" y="43"/>
                    <a:pt x="49" y="43"/>
                  </a:cubicBezTo>
                  <a:cubicBezTo>
                    <a:pt x="48" y="44"/>
                    <a:pt x="48" y="44"/>
                    <a:pt x="48" y="44"/>
                  </a:cubicBezTo>
                  <a:cubicBezTo>
                    <a:pt x="48" y="44"/>
                    <a:pt x="48" y="44"/>
                    <a:pt x="48" y="44"/>
                  </a:cubicBezTo>
                  <a:cubicBezTo>
                    <a:pt x="48" y="45"/>
                    <a:pt x="48" y="45"/>
                    <a:pt x="48" y="45"/>
                  </a:cubicBezTo>
                  <a:cubicBezTo>
                    <a:pt x="48" y="45"/>
                    <a:pt x="48" y="45"/>
                    <a:pt x="48" y="45"/>
                  </a:cubicBezTo>
                  <a:cubicBezTo>
                    <a:pt x="47" y="45"/>
                    <a:pt x="46" y="46"/>
                    <a:pt x="45" y="46"/>
                  </a:cubicBezTo>
                  <a:cubicBezTo>
                    <a:pt x="44" y="46"/>
                    <a:pt x="44" y="45"/>
                    <a:pt x="43" y="45"/>
                  </a:cubicBezTo>
                  <a:cubicBezTo>
                    <a:pt x="43" y="45"/>
                    <a:pt x="43" y="45"/>
                    <a:pt x="43" y="45"/>
                  </a:cubicBezTo>
                  <a:cubicBezTo>
                    <a:pt x="42" y="45"/>
                    <a:pt x="42" y="45"/>
                    <a:pt x="42" y="44"/>
                  </a:cubicBezTo>
                  <a:cubicBezTo>
                    <a:pt x="41" y="44"/>
                    <a:pt x="41" y="44"/>
                    <a:pt x="41" y="44"/>
                  </a:cubicBezTo>
                  <a:cubicBezTo>
                    <a:pt x="38" y="42"/>
                    <a:pt x="35" y="41"/>
                    <a:pt x="33" y="39"/>
                  </a:cubicBezTo>
                  <a:cubicBezTo>
                    <a:pt x="33" y="39"/>
                    <a:pt x="33" y="39"/>
                    <a:pt x="33" y="39"/>
                  </a:cubicBezTo>
                  <a:cubicBezTo>
                    <a:pt x="32" y="41"/>
                    <a:pt x="30" y="43"/>
                    <a:pt x="29" y="46"/>
                  </a:cubicBezTo>
                  <a:cubicBezTo>
                    <a:pt x="30" y="46"/>
                    <a:pt x="30" y="47"/>
                    <a:pt x="30" y="49"/>
                  </a:cubicBezTo>
                  <a:cubicBezTo>
                    <a:pt x="30" y="52"/>
                    <a:pt x="30" y="52"/>
                    <a:pt x="30" y="52"/>
                  </a:cubicBezTo>
                  <a:cubicBezTo>
                    <a:pt x="30" y="53"/>
                    <a:pt x="29" y="55"/>
                    <a:pt x="26" y="56"/>
                  </a:cubicBezTo>
                  <a:cubicBezTo>
                    <a:pt x="26" y="56"/>
                    <a:pt x="25" y="56"/>
                    <a:pt x="25" y="56"/>
                  </a:cubicBezTo>
                  <a:cubicBezTo>
                    <a:pt x="25" y="58"/>
                    <a:pt x="26" y="60"/>
                    <a:pt x="26" y="62"/>
                  </a:cubicBezTo>
                  <a:cubicBezTo>
                    <a:pt x="26" y="62"/>
                    <a:pt x="26" y="63"/>
                    <a:pt x="26" y="64"/>
                  </a:cubicBezTo>
                  <a:cubicBezTo>
                    <a:pt x="26" y="64"/>
                    <a:pt x="26" y="65"/>
                    <a:pt x="25" y="66"/>
                  </a:cubicBezTo>
                  <a:cubicBezTo>
                    <a:pt x="25" y="66"/>
                    <a:pt x="24" y="66"/>
                    <a:pt x="24" y="67"/>
                  </a:cubicBezTo>
                  <a:cubicBezTo>
                    <a:pt x="24" y="67"/>
                    <a:pt x="24" y="67"/>
                    <a:pt x="24" y="67"/>
                  </a:cubicBezTo>
                  <a:cubicBezTo>
                    <a:pt x="22" y="69"/>
                    <a:pt x="20" y="71"/>
                    <a:pt x="17" y="72"/>
                  </a:cubicBezTo>
                  <a:cubicBezTo>
                    <a:pt x="15" y="73"/>
                    <a:pt x="14" y="73"/>
                    <a:pt x="12" y="74"/>
                  </a:cubicBezTo>
                  <a:cubicBezTo>
                    <a:pt x="11" y="74"/>
                    <a:pt x="10" y="74"/>
                    <a:pt x="9" y="74"/>
                  </a:cubicBezTo>
                  <a:cubicBezTo>
                    <a:pt x="8" y="74"/>
                    <a:pt x="8" y="75"/>
                    <a:pt x="7" y="75"/>
                  </a:cubicBezTo>
                  <a:cubicBezTo>
                    <a:pt x="4" y="76"/>
                    <a:pt x="4" y="76"/>
                    <a:pt x="4" y="76"/>
                  </a:cubicBezTo>
                  <a:cubicBezTo>
                    <a:pt x="4" y="76"/>
                    <a:pt x="4" y="76"/>
                    <a:pt x="4" y="76"/>
                  </a:cubicBezTo>
                  <a:cubicBezTo>
                    <a:pt x="6" y="79"/>
                    <a:pt x="7" y="83"/>
                    <a:pt x="6" y="87"/>
                  </a:cubicBezTo>
                  <a:cubicBezTo>
                    <a:pt x="6" y="88"/>
                    <a:pt x="6" y="88"/>
                    <a:pt x="6" y="88"/>
                  </a:cubicBezTo>
                  <a:cubicBezTo>
                    <a:pt x="5" y="91"/>
                    <a:pt x="4" y="93"/>
                    <a:pt x="0" y="95"/>
                  </a:cubicBezTo>
                  <a:cubicBezTo>
                    <a:pt x="0" y="96"/>
                    <a:pt x="0" y="97"/>
                    <a:pt x="0" y="98"/>
                  </a:cubicBezTo>
                  <a:cubicBezTo>
                    <a:pt x="0" y="100"/>
                    <a:pt x="1" y="101"/>
                    <a:pt x="1" y="102"/>
                  </a:cubicBezTo>
                  <a:cubicBezTo>
                    <a:pt x="1" y="102"/>
                    <a:pt x="0" y="104"/>
                    <a:pt x="0" y="105"/>
                  </a:cubicBezTo>
                  <a:cubicBezTo>
                    <a:pt x="0" y="106"/>
                    <a:pt x="0" y="106"/>
                    <a:pt x="0" y="106"/>
                  </a:cubicBezTo>
                  <a:cubicBezTo>
                    <a:pt x="0" y="107"/>
                    <a:pt x="1" y="107"/>
                    <a:pt x="1" y="107"/>
                  </a:cubicBezTo>
                  <a:cubicBezTo>
                    <a:pt x="2" y="107"/>
                    <a:pt x="3" y="108"/>
                    <a:pt x="4" y="108"/>
                  </a:cubicBezTo>
                  <a:cubicBezTo>
                    <a:pt x="4" y="108"/>
                    <a:pt x="4" y="108"/>
                    <a:pt x="4" y="108"/>
                  </a:cubicBezTo>
                  <a:cubicBezTo>
                    <a:pt x="6" y="109"/>
                    <a:pt x="7" y="109"/>
                    <a:pt x="8" y="111"/>
                  </a:cubicBezTo>
                  <a:cubicBezTo>
                    <a:pt x="9" y="112"/>
                    <a:pt x="10" y="112"/>
                    <a:pt x="10" y="113"/>
                  </a:cubicBezTo>
                  <a:cubicBezTo>
                    <a:pt x="11" y="116"/>
                    <a:pt x="11" y="116"/>
                    <a:pt x="11" y="116"/>
                  </a:cubicBezTo>
                  <a:cubicBezTo>
                    <a:pt x="12" y="119"/>
                    <a:pt x="13" y="121"/>
                    <a:pt x="15" y="122"/>
                  </a:cubicBezTo>
                  <a:cubicBezTo>
                    <a:pt x="15" y="122"/>
                    <a:pt x="16" y="122"/>
                    <a:pt x="16" y="122"/>
                  </a:cubicBezTo>
                  <a:cubicBezTo>
                    <a:pt x="17" y="122"/>
                    <a:pt x="17" y="122"/>
                    <a:pt x="17" y="122"/>
                  </a:cubicBezTo>
                  <a:cubicBezTo>
                    <a:pt x="20" y="124"/>
                    <a:pt x="22" y="124"/>
                    <a:pt x="24" y="125"/>
                  </a:cubicBezTo>
                  <a:cubicBezTo>
                    <a:pt x="26" y="122"/>
                    <a:pt x="30" y="120"/>
                    <a:pt x="33" y="118"/>
                  </a:cubicBezTo>
                  <a:cubicBezTo>
                    <a:pt x="34" y="118"/>
                    <a:pt x="35" y="118"/>
                    <a:pt x="36" y="117"/>
                  </a:cubicBezTo>
                  <a:cubicBezTo>
                    <a:pt x="38" y="117"/>
                    <a:pt x="40" y="117"/>
                    <a:pt x="42" y="117"/>
                  </a:cubicBezTo>
                  <a:cubicBezTo>
                    <a:pt x="43" y="117"/>
                    <a:pt x="43" y="117"/>
                    <a:pt x="43" y="117"/>
                  </a:cubicBezTo>
                  <a:cubicBezTo>
                    <a:pt x="44" y="117"/>
                    <a:pt x="44" y="117"/>
                    <a:pt x="44" y="117"/>
                  </a:cubicBezTo>
                  <a:cubicBezTo>
                    <a:pt x="44" y="117"/>
                    <a:pt x="45" y="117"/>
                    <a:pt x="45" y="117"/>
                  </a:cubicBezTo>
                  <a:cubicBezTo>
                    <a:pt x="47" y="117"/>
                    <a:pt x="47" y="117"/>
                    <a:pt x="47" y="117"/>
                  </a:cubicBezTo>
                  <a:cubicBezTo>
                    <a:pt x="47" y="117"/>
                    <a:pt x="47" y="117"/>
                    <a:pt x="47" y="117"/>
                  </a:cubicBezTo>
                  <a:cubicBezTo>
                    <a:pt x="48" y="117"/>
                    <a:pt x="48" y="117"/>
                    <a:pt x="49" y="117"/>
                  </a:cubicBezTo>
                  <a:cubicBezTo>
                    <a:pt x="53" y="118"/>
                    <a:pt x="54" y="120"/>
                    <a:pt x="54" y="121"/>
                  </a:cubicBezTo>
                  <a:cubicBezTo>
                    <a:pt x="54" y="121"/>
                    <a:pt x="55" y="122"/>
                    <a:pt x="56" y="122"/>
                  </a:cubicBezTo>
                  <a:cubicBezTo>
                    <a:pt x="57" y="123"/>
                    <a:pt x="57" y="123"/>
                    <a:pt x="58" y="124"/>
                  </a:cubicBezTo>
                  <a:cubicBezTo>
                    <a:pt x="58" y="123"/>
                    <a:pt x="58" y="122"/>
                    <a:pt x="58" y="122"/>
                  </a:cubicBezTo>
                  <a:cubicBezTo>
                    <a:pt x="58" y="116"/>
                    <a:pt x="56" y="109"/>
                    <a:pt x="55" y="105"/>
                  </a:cubicBezTo>
                  <a:cubicBezTo>
                    <a:pt x="55" y="104"/>
                    <a:pt x="55" y="104"/>
                    <a:pt x="55" y="104"/>
                  </a:cubicBezTo>
                  <a:cubicBezTo>
                    <a:pt x="54" y="101"/>
                    <a:pt x="55" y="98"/>
                    <a:pt x="56" y="96"/>
                  </a:cubicBezTo>
                  <a:cubicBezTo>
                    <a:pt x="56" y="95"/>
                    <a:pt x="57" y="95"/>
                    <a:pt x="57" y="95"/>
                  </a:cubicBezTo>
                  <a:cubicBezTo>
                    <a:pt x="57" y="89"/>
                    <a:pt x="57" y="89"/>
                    <a:pt x="57" y="89"/>
                  </a:cubicBezTo>
                  <a:cubicBezTo>
                    <a:pt x="61" y="92"/>
                    <a:pt x="61" y="92"/>
                    <a:pt x="61" y="92"/>
                  </a:cubicBezTo>
                  <a:cubicBezTo>
                    <a:pt x="62" y="92"/>
                    <a:pt x="64" y="92"/>
                    <a:pt x="69" y="92"/>
                  </a:cubicBezTo>
                  <a:cubicBezTo>
                    <a:pt x="70" y="92"/>
                    <a:pt x="72" y="92"/>
                    <a:pt x="73" y="92"/>
                  </a:cubicBezTo>
                  <a:cubicBezTo>
                    <a:pt x="74" y="92"/>
                    <a:pt x="75" y="92"/>
                    <a:pt x="76" y="92"/>
                  </a:cubicBezTo>
                  <a:cubicBezTo>
                    <a:pt x="76" y="92"/>
                    <a:pt x="76" y="92"/>
                    <a:pt x="76" y="92"/>
                  </a:cubicBezTo>
                  <a:cubicBezTo>
                    <a:pt x="84" y="92"/>
                    <a:pt x="91" y="91"/>
                    <a:pt x="97" y="91"/>
                  </a:cubicBezTo>
                  <a:cubicBezTo>
                    <a:pt x="100" y="91"/>
                    <a:pt x="104" y="91"/>
                    <a:pt x="106" y="92"/>
                  </a:cubicBezTo>
                  <a:cubicBezTo>
                    <a:pt x="107" y="92"/>
                    <a:pt x="107" y="92"/>
                    <a:pt x="107" y="92"/>
                  </a:cubicBezTo>
                  <a:cubicBezTo>
                    <a:pt x="108" y="92"/>
                    <a:pt x="108" y="92"/>
                    <a:pt x="109" y="92"/>
                  </a:cubicBezTo>
                  <a:cubicBezTo>
                    <a:pt x="109" y="92"/>
                    <a:pt x="109" y="92"/>
                    <a:pt x="110" y="92"/>
                  </a:cubicBezTo>
                  <a:cubicBezTo>
                    <a:pt x="110" y="92"/>
                    <a:pt x="110" y="92"/>
                    <a:pt x="110" y="92"/>
                  </a:cubicBezTo>
                  <a:cubicBezTo>
                    <a:pt x="111" y="92"/>
                    <a:pt x="111" y="92"/>
                    <a:pt x="111" y="92"/>
                  </a:cubicBezTo>
                  <a:cubicBezTo>
                    <a:pt x="112" y="92"/>
                    <a:pt x="112" y="92"/>
                    <a:pt x="112" y="92"/>
                  </a:cubicBezTo>
                  <a:cubicBezTo>
                    <a:pt x="113" y="92"/>
                    <a:pt x="113" y="92"/>
                    <a:pt x="113" y="92"/>
                  </a:cubicBezTo>
                  <a:cubicBezTo>
                    <a:pt x="114" y="92"/>
                    <a:pt x="114" y="92"/>
                    <a:pt x="114" y="92"/>
                  </a:cubicBezTo>
                  <a:cubicBezTo>
                    <a:pt x="114" y="91"/>
                    <a:pt x="114" y="91"/>
                    <a:pt x="114" y="91"/>
                  </a:cubicBezTo>
                  <a:cubicBezTo>
                    <a:pt x="115" y="91"/>
                    <a:pt x="115" y="91"/>
                    <a:pt x="115" y="91"/>
                  </a:cubicBezTo>
                  <a:cubicBezTo>
                    <a:pt x="115" y="90"/>
                    <a:pt x="116" y="90"/>
                    <a:pt x="116" y="90"/>
                  </a:cubicBezTo>
                  <a:cubicBezTo>
                    <a:pt x="117" y="90"/>
                    <a:pt x="117" y="90"/>
                    <a:pt x="117" y="90"/>
                  </a:cubicBezTo>
                  <a:cubicBezTo>
                    <a:pt x="117" y="89"/>
                    <a:pt x="118" y="89"/>
                    <a:pt x="119" y="89"/>
                  </a:cubicBezTo>
                  <a:cubicBezTo>
                    <a:pt x="119" y="89"/>
                    <a:pt x="119" y="89"/>
                    <a:pt x="119" y="89"/>
                  </a:cubicBezTo>
                  <a:cubicBezTo>
                    <a:pt x="120" y="89"/>
                    <a:pt x="121" y="88"/>
                    <a:pt x="122" y="88"/>
                  </a:cubicBezTo>
                  <a:cubicBezTo>
                    <a:pt x="122" y="88"/>
                    <a:pt x="122" y="88"/>
                    <a:pt x="122" y="88"/>
                  </a:cubicBezTo>
                  <a:cubicBezTo>
                    <a:pt x="123" y="88"/>
                    <a:pt x="124" y="89"/>
                    <a:pt x="125" y="89"/>
                  </a:cubicBezTo>
                  <a:cubicBezTo>
                    <a:pt x="125" y="89"/>
                    <a:pt x="125" y="89"/>
                    <a:pt x="125" y="89"/>
                  </a:cubicBezTo>
                  <a:cubicBezTo>
                    <a:pt x="125" y="89"/>
                    <a:pt x="125" y="89"/>
                    <a:pt x="125" y="89"/>
                  </a:cubicBezTo>
                  <a:cubicBezTo>
                    <a:pt x="131" y="90"/>
                    <a:pt x="137" y="91"/>
                    <a:pt x="142" y="92"/>
                  </a:cubicBezTo>
                  <a:cubicBezTo>
                    <a:pt x="146" y="91"/>
                    <a:pt x="146" y="91"/>
                    <a:pt x="146" y="91"/>
                  </a:cubicBezTo>
                  <a:cubicBezTo>
                    <a:pt x="147" y="89"/>
                    <a:pt x="147" y="89"/>
                    <a:pt x="147" y="89"/>
                  </a:cubicBezTo>
                  <a:cubicBezTo>
                    <a:pt x="149" y="91"/>
                    <a:pt x="149" y="91"/>
                    <a:pt x="149" y="91"/>
                  </a:cubicBezTo>
                  <a:cubicBezTo>
                    <a:pt x="149" y="90"/>
                    <a:pt x="149" y="90"/>
                    <a:pt x="150" y="89"/>
                  </a:cubicBezTo>
                  <a:cubicBezTo>
                    <a:pt x="151" y="87"/>
                    <a:pt x="153" y="86"/>
                    <a:pt x="154" y="85"/>
                  </a:cubicBezTo>
                  <a:cubicBezTo>
                    <a:pt x="155" y="83"/>
                    <a:pt x="157" y="82"/>
                    <a:pt x="159" y="81"/>
                  </a:cubicBezTo>
                  <a:cubicBezTo>
                    <a:pt x="160" y="81"/>
                    <a:pt x="160" y="81"/>
                    <a:pt x="161" y="81"/>
                  </a:cubicBezTo>
                  <a:cubicBezTo>
                    <a:pt x="162" y="81"/>
                    <a:pt x="163" y="81"/>
                    <a:pt x="164" y="81"/>
                  </a:cubicBezTo>
                  <a:cubicBezTo>
                    <a:pt x="164" y="81"/>
                    <a:pt x="164" y="81"/>
                    <a:pt x="164" y="81"/>
                  </a:cubicBezTo>
                  <a:cubicBezTo>
                    <a:pt x="165" y="81"/>
                    <a:pt x="166" y="81"/>
                    <a:pt x="167" y="81"/>
                  </a:cubicBezTo>
                  <a:cubicBezTo>
                    <a:pt x="168" y="81"/>
                    <a:pt x="169" y="81"/>
                    <a:pt x="169" y="81"/>
                  </a:cubicBezTo>
                  <a:cubicBezTo>
                    <a:pt x="170" y="81"/>
                    <a:pt x="170" y="81"/>
                    <a:pt x="170" y="81"/>
                  </a:cubicBezTo>
                  <a:cubicBezTo>
                    <a:pt x="171" y="81"/>
                    <a:pt x="171" y="81"/>
                    <a:pt x="172" y="81"/>
                  </a:cubicBezTo>
                  <a:cubicBezTo>
                    <a:pt x="172" y="81"/>
                    <a:pt x="172" y="81"/>
                    <a:pt x="172" y="81"/>
                  </a:cubicBezTo>
                  <a:cubicBezTo>
                    <a:pt x="173" y="81"/>
                    <a:pt x="173" y="81"/>
                    <a:pt x="173" y="81"/>
                  </a:cubicBezTo>
                  <a:cubicBezTo>
                    <a:pt x="174" y="81"/>
                    <a:pt x="175" y="80"/>
                    <a:pt x="177" y="79"/>
                  </a:cubicBezTo>
                  <a:cubicBezTo>
                    <a:pt x="177" y="78"/>
                    <a:pt x="179" y="76"/>
                    <a:pt x="180" y="74"/>
                  </a:cubicBezTo>
                  <a:cubicBezTo>
                    <a:pt x="180" y="74"/>
                    <a:pt x="180" y="74"/>
                    <a:pt x="180" y="74"/>
                  </a:cubicBezTo>
                  <a:cubicBezTo>
                    <a:pt x="179" y="73"/>
                    <a:pt x="178" y="72"/>
                    <a:pt x="177" y="71"/>
                  </a:cubicBezTo>
                  <a:cubicBezTo>
                    <a:pt x="177" y="70"/>
                    <a:pt x="177" y="70"/>
                    <a:pt x="177" y="70"/>
                  </a:cubicBezTo>
                  <a:cubicBezTo>
                    <a:pt x="176" y="69"/>
                    <a:pt x="175" y="68"/>
                    <a:pt x="174" y="66"/>
                  </a:cubicBezTo>
                  <a:cubicBezTo>
                    <a:pt x="174" y="66"/>
                    <a:pt x="174" y="66"/>
                    <a:pt x="174" y="66"/>
                  </a:cubicBezTo>
                  <a:cubicBezTo>
                    <a:pt x="173" y="65"/>
                    <a:pt x="173" y="65"/>
                    <a:pt x="172" y="64"/>
                  </a:cubicBezTo>
                  <a:cubicBezTo>
                    <a:pt x="171" y="62"/>
                    <a:pt x="171" y="62"/>
                    <a:pt x="171" y="62"/>
                  </a:cubicBezTo>
                  <a:cubicBezTo>
                    <a:pt x="173" y="60"/>
                    <a:pt x="173" y="60"/>
                    <a:pt x="173" y="60"/>
                  </a:cubicBezTo>
                  <a:cubicBezTo>
                    <a:pt x="173" y="60"/>
                    <a:pt x="174" y="59"/>
                    <a:pt x="174" y="59"/>
                  </a:cubicBezTo>
                  <a:cubicBezTo>
                    <a:pt x="175" y="59"/>
                    <a:pt x="175" y="59"/>
                    <a:pt x="175" y="59"/>
                  </a:cubicBezTo>
                  <a:cubicBezTo>
                    <a:pt x="176" y="58"/>
                    <a:pt x="176" y="58"/>
                    <a:pt x="176" y="58"/>
                  </a:cubicBezTo>
                  <a:cubicBezTo>
                    <a:pt x="176" y="58"/>
                    <a:pt x="176" y="58"/>
                    <a:pt x="176" y="58"/>
                  </a:cubicBezTo>
                  <a:cubicBezTo>
                    <a:pt x="175" y="57"/>
                    <a:pt x="175" y="57"/>
                    <a:pt x="175" y="57"/>
                  </a:cubicBezTo>
                  <a:cubicBezTo>
                    <a:pt x="174" y="58"/>
                    <a:pt x="172" y="58"/>
                    <a:pt x="171" y="58"/>
                  </a:cubicBezTo>
                  <a:cubicBezTo>
                    <a:pt x="168" y="59"/>
                    <a:pt x="168" y="59"/>
                    <a:pt x="168" y="59"/>
                  </a:cubicBezTo>
                  <a:cubicBezTo>
                    <a:pt x="168" y="59"/>
                    <a:pt x="168" y="59"/>
                    <a:pt x="167" y="59"/>
                  </a:cubicBezTo>
                  <a:cubicBezTo>
                    <a:pt x="165" y="59"/>
                    <a:pt x="163" y="58"/>
                    <a:pt x="161" y="56"/>
                  </a:cubicBezTo>
                  <a:cubicBezTo>
                    <a:pt x="161" y="56"/>
                    <a:pt x="160" y="55"/>
                    <a:pt x="160" y="55"/>
                  </a:cubicBezTo>
                  <a:cubicBezTo>
                    <a:pt x="160" y="55"/>
                    <a:pt x="159" y="55"/>
                    <a:pt x="158" y="55"/>
                  </a:cubicBezTo>
                  <a:cubicBezTo>
                    <a:pt x="158" y="54"/>
                    <a:pt x="158" y="54"/>
                    <a:pt x="158" y="54"/>
                  </a:cubicBezTo>
                  <a:cubicBezTo>
                    <a:pt x="156" y="53"/>
                    <a:pt x="153" y="52"/>
                    <a:pt x="151" y="51"/>
                  </a:cubicBezTo>
                  <a:cubicBezTo>
                    <a:pt x="151" y="50"/>
                    <a:pt x="150" y="50"/>
                    <a:pt x="150" y="50"/>
                  </a:cubicBezTo>
                  <a:cubicBezTo>
                    <a:pt x="147" y="53"/>
                    <a:pt x="147" y="53"/>
                    <a:pt x="147" y="53"/>
                  </a:cubicBezTo>
                  <a:cubicBezTo>
                    <a:pt x="149" y="49"/>
                    <a:pt x="149" y="49"/>
                    <a:pt x="149" y="49"/>
                  </a:cubicBezTo>
                  <a:cubicBezTo>
                    <a:pt x="149" y="49"/>
                    <a:pt x="149" y="49"/>
                    <a:pt x="149" y="49"/>
                  </a:cubicBezTo>
                  <a:cubicBezTo>
                    <a:pt x="148" y="48"/>
                    <a:pt x="148" y="48"/>
                    <a:pt x="148" y="48"/>
                  </a:cubicBezTo>
                  <a:cubicBezTo>
                    <a:pt x="144" y="50"/>
                    <a:pt x="144" y="50"/>
                    <a:pt x="144" y="50"/>
                  </a:cubicBezTo>
                  <a:cubicBezTo>
                    <a:pt x="147" y="47"/>
                    <a:pt x="147" y="47"/>
                    <a:pt x="147" y="47"/>
                  </a:cubicBezTo>
                  <a:cubicBezTo>
                    <a:pt x="147" y="47"/>
                    <a:pt x="147" y="47"/>
                    <a:pt x="147" y="47"/>
                  </a:cubicBezTo>
                  <a:cubicBezTo>
                    <a:pt x="147" y="46"/>
                    <a:pt x="147" y="46"/>
                    <a:pt x="147" y="46"/>
                  </a:cubicBezTo>
                  <a:cubicBezTo>
                    <a:pt x="146" y="44"/>
                    <a:pt x="146" y="42"/>
                    <a:pt x="147" y="40"/>
                  </a:cubicBezTo>
                  <a:cubicBezTo>
                    <a:pt x="148" y="39"/>
                    <a:pt x="148" y="38"/>
                    <a:pt x="149" y="37"/>
                  </a:cubicBezTo>
                  <a:cubicBezTo>
                    <a:pt x="148" y="36"/>
                    <a:pt x="146" y="35"/>
                    <a:pt x="145" y="35"/>
                  </a:cubicBezTo>
                  <a:cubicBezTo>
                    <a:pt x="144" y="35"/>
                    <a:pt x="144" y="35"/>
                    <a:pt x="144" y="35"/>
                  </a:cubicBezTo>
                  <a:cubicBezTo>
                    <a:pt x="142" y="34"/>
                    <a:pt x="140" y="34"/>
                    <a:pt x="139" y="33"/>
                  </a:cubicBezTo>
                  <a:cubicBezTo>
                    <a:pt x="138" y="32"/>
                    <a:pt x="138" y="32"/>
                    <a:pt x="138" y="31"/>
                  </a:cubicBezTo>
                  <a:cubicBezTo>
                    <a:pt x="137" y="31"/>
                    <a:pt x="137" y="31"/>
                    <a:pt x="137" y="31"/>
                  </a:cubicBezTo>
                  <a:cubicBezTo>
                    <a:pt x="136" y="29"/>
                    <a:pt x="135" y="27"/>
                    <a:pt x="135" y="25"/>
                  </a:cubicBezTo>
                  <a:cubicBezTo>
                    <a:pt x="135" y="24"/>
                    <a:pt x="134" y="22"/>
                    <a:pt x="134" y="21"/>
                  </a:cubicBezTo>
                  <a:cubicBezTo>
                    <a:pt x="133" y="20"/>
                    <a:pt x="133" y="19"/>
                    <a:pt x="132" y="18"/>
                  </a:cubicBezTo>
                  <a:cubicBezTo>
                    <a:pt x="130" y="16"/>
                    <a:pt x="129" y="14"/>
                    <a:pt x="129" y="13"/>
                  </a:cubicBezTo>
                  <a:cubicBezTo>
                    <a:pt x="129" y="3"/>
                    <a:pt x="129" y="3"/>
                    <a:pt x="129" y="3"/>
                  </a:cubicBezTo>
                  <a:cubicBezTo>
                    <a:pt x="127" y="2"/>
                    <a:pt x="127" y="2"/>
                    <a:pt x="127" y="2"/>
                  </a:cubicBezTo>
                  <a:cubicBezTo>
                    <a:pt x="125" y="1"/>
                    <a:pt x="125" y="1"/>
                    <a:pt x="125" y="1"/>
                  </a:cubicBezTo>
                  <a:cubicBezTo>
                    <a:pt x="125" y="1"/>
                    <a:pt x="124" y="1"/>
                    <a:pt x="124" y="1"/>
                  </a:cubicBezTo>
                  <a:cubicBezTo>
                    <a:pt x="123" y="1"/>
                    <a:pt x="123" y="1"/>
                    <a:pt x="123" y="1"/>
                  </a:cubicBezTo>
                  <a:cubicBezTo>
                    <a:pt x="123" y="1"/>
                    <a:pt x="122" y="1"/>
                    <a:pt x="122" y="1"/>
                  </a:cubicBezTo>
                  <a:cubicBezTo>
                    <a:pt x="121" y="1"/>
                    <a:pt x="120" y="0"/>
                    <a:pt x="119" y="0"/>
                  </a:cubicBezTo>
                  <a:cubicBezTo>
                    <a:pt x="118" y="0"/>
                    <a:pt x="118" y="0"/>
                    <a:pt x="118" y="0"/>
                  </a:cubicBezTo>
                  <a:cubicBezTo>
                    <a:pt x="117" y="0"/>
                    <a:pt x="116" y="0"/>
                    <a:pt x="115" y="0"/>
                  </a:cubicBezTo>
                  <a:cubicBezTo>
                    <a:pt x="115" y="0"/>
                    <a:pt x="115" y="0"/>
                    <a:pt x="114" y="0"/>
                  </a:cubicBezTo>
                  <a:cubicBezTo>
                    <a:pt x="114" y="0"/>
                    <a:pt x="114" y="0"/>
                    <a:pt x="114" y="0"/>
                  </a:cubicBezTo>
                  <a:cubicBezTo>
                    <a:pt x="113" y="0"/>
                    <a:pt x="112" y="0"/>
                    <a:pt x="1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Rectangle 207"/>
            <p:cNvSpPr>
              <a:spLocks noChangeArrowheads="1"/>
            </p:cNvSpPr>
            <p:nvPr/>
          </p:nvSpPr>
          <p:spPr bwMode="auto">
            <a:xfrm>
              <a:off x="3500" y="2209"/>
              <a:ext cx="3"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208"/>
            <p:cNvSpPr/>
            <p:nvPr/>
          </p:nvSpPr>
          <p:spPr bwMode="auto">
            <a:xfrm>
              <a:off x="3500" y="2209"/>
              <a:ext cx="3" cy="0"/>
            </a:xfrm>
            <a:custGeom>
              <a:gdLst>
                <a:gd name="T0" fmla="*/ 3 w 3"/>
                <a:gd name="T1" fmla="*/ 0 w 3"/>
                <a:gd name="T2" fmla="*/ 0 w 3"/>
                <a:gd name="T3" fmla="*/ 3 w 3"/>
              </a:gdLst>
              <a:cxnLst>
                <a:cxn ang="0">
                  <a:pos x="T0" y="0"/>
                </a:cxn>
                <a:cxn ang="0">
                  <a:pos x="T1" y="0"/>
                </a:cxn>
                <a:cxn ang="0">
                  <a:pos x="T2" y="0"/>
                </a:cxn>
                <a:cxn ang="0">
                  <a:pos x="T3" y="0"/>
                </a:cxn>
              </a:cxnLst>
              <a:rect l="0" t="0" r="r" b="b"/>
              <a:pathLst>
                <a:path w="3">
                  <a:moveTo>
                    <a:pt x="3" y="0"/>
                  </a:moveTo>
                  <a:lnTo>
                    <a:pt x="0" y="0"/>
                  </a:lnTo>
                  <a:lnTo>
                    <a:pt x="0"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209"/>
            <p:cNvSpPr/>
            <p:nvPr/>
          </p:nvSpPr>
          <p:spPr bwMode="auto">
            <a:xfrm>
              <a:off x="5507" y="1932"/>
              <a:ext cx="805" cy="624"/>
            </a:xfrm>
            <a:custGeom>
              <a:gdLst>
                <a:gd name="T0" fmla="*/ 109 w 341"/>
                <a:gd name="T1" fmla="*/ 6 h 264"/>
                <a:gd name="T2" fmla="*/ 106 w 341"/>
                <a:gd name="T3" fmla="*/ 10 h 264"/>
                <a:gd name="T4" fmla="*/ 102 w 341"/>
                <a:gd name="T5" fmla="*/ 12 h 264"/>
                <a:gd name="T6" fmla="*/ 100 w 341"/>
                <a:gd name="T7" fmla="*/ 12 h 264"/>
                <a:gd name="T8" fmla="*/ 97 w 341"/>
                <a:gd name="T9" fmla="*/ 10 h 264"/>
                <a:gd name="T10" fmla="*/ 90 w 341"/>
                <a:gd name="T11" fmla="*/ 13 h 264"/>
                <a:gd name="T12" fmla="*/ 80 w 341"/>
                <a:gd name="T13" fmla="*/ 20 h 264"/>
                <a:gd name="T14" fmla="*/ 69 w 341"/>
                <a:gd name="T15" fmla="*/ 50 h 264"/>
                <a:gd name="T16" fmla="*/ 64 w 341"/>
                <a:gd name="T17" fmla="*/ 50 h 264"/>
                <a:gd name="T18" fmla="*/ 60 w 341"/>
                <a:gd name="T19" fmla="*/ 53 h 264"/>
                <a:gd name="T20" fmla="*/ 47 w 341"/>
                <a:gd name="T21" fmla="*/ 74 h 264"/>
                <a:gd name="T22" fmla="*/ 45 w 341"/>
                <a:gd name="T23" fmla="*/ 88 h 264"/>
                <a:gd name="T24" fmla="*/ 40 w 341"/>
                <a:gd name="T25" fmla="*/ 96 h 264"/>
                <a:gd name="T26" fmla="*/ 33 w 341"/>
                <a:gd name="T27" fmla="*/ 94 h 264"/>
                <a:gd name="T28" fmla="*/ 30 w 341"/>
                <a:gd name="T29" fmla="*/ 101 h 264"/>
                <a:gd name="T30" fmla="*/ 26 w 341"/>
                <a:gd name="T31" fmla="*/ 120 h 264"/>
                <a:gd name="T32" fmla="*/ 20 w 341"/>
                <a:gd name="T33" fmla="*/ 151 h 264"/>
                <a:gd name="T34" fmla="*/ 4 w 341"/>
                <a:gd name="T35" fmla="*/ 151 h 264"/>
                <a:gd name="T36" fmla="*/ 1 w 341"/>
                <a:gd name="T37" fmla="*/ 159 h 264"/>
                <a:gd name="T38" fmla="*/ 20 w 341"/>
                <a:gd name="T39" fmla="*/ 171 h 264"/>
                <a:gd name="T40" fmla="*/ 32 w 341"/>
                <a:gd name="T41" fmla="*/ 182 h 264"/>
                <a:gd name="T42" fmla="*/ 49 w 341"/>
                <a:gd name="T43" fmla="*/ 213 h 264"/>
                <a:gd name="T44" fmla="*/ 57 w 341"/>
                <a:gd name="T45" fmla="*/ 218 h 264"/>
                <a:gd name="T46" fmla="*/ 64 w 341"/>
                <a:gd name="T47" fmla="*/ 227 h 264"/>
                <a:gd name="T48" fmla="*/ 66 w 341"/>
                <a:gd name="T49" fmla="*/ 236 h 264"/>
                <a:gd name="T50" fmla="*/ 88 w 341"/>
                <a:gd name="T51" fmla="*/ 242 h 264"/>
                <a:gd name="T52" fmla="*/ 92 w 341"/>
                <a:gd name="T53" fmla="*/ 244 h 264"/>
                <a:gd name="T54" fmla="*/ 113 w 341"/>
                <a:gd name="T55" fmla="*/ 256 h 264"/>
                <a:gd name="T56" fmla="*/ 147 w 341"/>
                <a:gd name="T57" fmla="*/ 263 h 264"/>
                <a:gd name="T58" fmla="*/ 178 w 341"/>
                <a:gd name="T59" fmla="*/ 244 h 264"/>
                <a:gd name="T60" fmla="*/ 184 w 341"/>
                <a:gd name="T61" fmla="*/ 247 h 264"/>
                <a:gd name="T62" fmla="*/ 192 w 341"/>
                <a:gd name="T63" fmla="*/ 252 h 264"/>
                <a:gd name="T64" fmla="*/ 204 w 341"/>
                <a:gd name="T65" fmla="*/ 251 h 264"/>
                <a:gd name="T66" fmla="*/ 221 w 341"/>
                <a:gd name="T67" fmla="*/ 245 h 264"/>
                <a:gd name="T68" fmla="*/ 258 w 341"/>
                <a:gd name="T69" fmla="*/ 228 h 264"/>
                <a:gd name="T70" fmla="*/ 269 w 341"/>
                <a:gd name="T71" fmla="*/ 229 h 264"/>
                <a:gd name="T72" fmla="*/ 276 w 341"/>
                <a:gd name="T73" fmla="*/ 228 h 264"/>
                <a:gd name="T74" fmla="*/ 286 w 341"/>
                <a:gd name="T75" fmla="*/ 217 h 264"/>
                <a:gd name="T76" fmla="*/ 333 w 341"/>
                <a:gd name="T77" fmla="*/ 162 h 264"/>
                <a:gd name="T78" fmla="*/ 269 w 341"/>
                <a:gd name="T79" fmla="*/ 143 h 264"/>
                <a:gd name="T80" fmla="*/ 248 w 341"/>
                <a:gd name="T81" fmla="*/ 133 h 264"/>
                <a:gd name="T82" fmla="*/ 231 w 341"/>
                <a:gd name="T83" fmla="*/ 115 h 264"/>
                <a:gd name="T84" fmla="*/ 224 w 341"/>
                <a:gd name="T85" fmla="*/ 91 h 264"/>
                <a:gd name="T86" fmla="*/ 206 w 341"/>
                <a:gd name="T87" fmla="*/ 92 h 264"/>
                <a:gd name="T88" fmla="*/ 200 w 341"/>
                <a:gd name="T89" fmla="*/ 83 h 264"/>
                <a:gd name="T90" fmla="*/ 199 w 341"/>
                <a:gd name="T91" fmla="*/ 78 h 264"/>
                <a:gd name="T92" fmla="*/ 204 w 341"/>
                <a:gd name="T93" fmla="*/ 65 h 264"/>
                <a:gd name="T94" fmla="*/ 195 w 341"/>
                <a:gd name="T95" fmla="*/ 32 h 264"/>
                <a:gd name="T96" fmla="*/ 171 w 341"/>
                <a:gd name="T97" fmla="*/ 11 h 264"/>
                <a:gd name="T98" fmla="*/ 165 w 341"/>
                <a:gd name="T99" fmla="*/ 8 h 264"/>
                <a:gd name="T100" fmla="*/ 162 w 341"/>
                <a:gd name="T101" fmla="*/ 6 h 264"/>
                <a:gd name="T102" fmla="*/ 150 w 341"/>
                <a:gd name="T103" fmla="*/ 7 h 264"/>
                <a:gd name="T104" fmla="*/ 145 w 341"/>
                <a:gd name="T105" fmla="*/ 8 h 264"/>
                <a:gd name="T106" fmla="*/ 140 w 341"/>
                <a:gd name="T107" fmla="*/ 4 h 264"/>
                <a:gd name="T108" fmla="*/ 131 w 341"/>
                <a:gd name="T109" fmla="*/ 8 h 264"/>
                <a:gd name="T110" fmla="*/ 119 w 341"/>
                <a:gd name="T111" fmla="*/ 4 h 2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1" h="264">
                  <a:moveTo>
                    <a:pt x="112" y="0"/>
                  </a:moveTo>
                  <a:cubicBezTo>
                    <a:pt x="111" y="1"/>
                    <a:pt x="111" y="1"/>
                    <a:pt x="111" y="1"/>
                  </a:cubicBezTo>
                  <a:cubicBezTo>
                    <a:pt x="111" y="1"/>
                    <a:pt x="111" y="1"/>
                    <a:pt x="111" y="1"/>
                  </a:cubicBezTo>
                  <a:cubicBezTo>
                    <a:pt x="109" y="4"/>
                    <a:pt x="109" y="4"/>
                    <a:pt x="109" y="4"/>
                  </a:cubicBezTo>
                  <a:cubicBezTo>
                    <a:pt x="109" y="5"/>
                    <a:pt x="109" y="5"/>
                    <a:pt x="109" y="6"/>
                  </a:cubicBezTo>
                  <a:cubicBezTo>
                    <a:pt x="108" y="6"/>
                    <a:pt x="108" y="6"/>
                    <a:pt x="108" y="6"/>
                  </a:cubicBezTo>
                  <a:cubicBezTo>
                    <a:pt x="108" y="7"/>
                    <a:pt x="108" y="7"/>
                    <a:pt x="108" y="8"/>
                  </a:cubicBezTo>
                  <a:cubicBezTo>
                    <a:pt x="107" y="8"/>
                    <a:pt x="107" y="8"/>
                    <a:pt x="107" y="8"/>
                  </a:cubicBezTo>
                  <a:cubicBezTo>
                    <a:pt x="106" y="9"/>
                    <a:pt x="106" y="9"/>
                    <a:pt x="106" y="9"/>
                  </a:cubicBezTo>
                  <a:cubicBezTo>
                    <a:pt x="106" y="10"/>
                    <a:pt x="106" y="10"/>
                    <a:pt x="106" y="10"/>
                  </a:cubicBezTo>
                  <a:cubicBezTo>
                    <a:pt x="105" y="11"/>
                    <a:pt x="105" y="11"/>
                    <a:pt x="105" y="11"/>
                  </a:cubicBezTo>
                  <a:cubicBezTo>
                    <a:pt x="104" y="11"/>
                    <a:pt x="104" y="11"/>
                    <a:pt x="104" y="11"/>
                  </a:cubicBezTo>
                  <a:cubicBezTo>
                    <a:pt x="103" y="12"/>
                    <a:pt x="103" y="12"/>
                    <a:pt x="103" y="12"/>
                  </a:cubicBezTo>
                  <a:cubicBezTo>
                    <a:pt x="102" y="12"/>
                    <a:pt x="102" y="12"/>
                    <a:pt x="102" y="12"/>
                  </a:cubicBezTo>
                  <a:cubicBezTo>
                    <a:pt x="102" y="12"/>
                    <a:pt x="102" y="12"/>
                    <a:pt x="102" y="12"/>
                  </a:cubicBezTo>
                  <a:cubicBezTo>
                    <a:pt x="102" y="12"/>
                    <a:pt x="102" y="12"/>
                    <a:pt x="102" y="12"/>
                  </a:cubicBezTo>
                  <a:cubicBezTo>
                    <a:pt x="101" y="12"/>
                    <a:pt x="101" y="12"/>
                    <a:pt x="101" y="12"/>
                  </a:cubicBezTo>
                  <a:cubicBezTo>
                    <a:pt x="101" y="12"/>
                    <a:pt x="101" y="12"/>
                    <a:pt x="101" y="12"/>
                  </a:cubicBezTo>
                  <a:cubicBezTo>
                    <a:pt x="100" y="12"/>
                    <a:pt x="100" y="12"/>
                    <a:pt x="100" y="12"/>
                  </a:cubicBezTo>
                  <a:cubicBezTo>
                    <a:pt x="100" y="12"/>
                    <a:pt x="100" y="12"/>
                    <a:pt x="100" y="12"/>
                  </a:cubicBezTo>
                  <a:cubicBezTo>
                    <a:pt x="100" y="12"/>
                    <a:pt x="99" y="12"/>
                    <a:pt x="99" y="12"/>
                  </a:cubicBezTo>
                  <a:cubicBezTo>
                    <a:pt x="99" y="12"/>
                    <a:pt x="99" y="12"/>
                    <a:pt x="99" y="12"/>
                  </a:cubicBezTo>
                  <a:cubicBezTo>
                    <a:pt x="97" y="10"/>
                    <a:pt x="97" y="10"/>
                    <a:pt x="97" y="10"/>
                  </a:cubicBezTo>
                  <a:cubicBezTo>
                    <a:pt x="97" y="10"/>
                    <a:pt x="97" y="10"/>
                    <a:pt x="97" y="10"/>
                  </a:cubicBezTo>
                  <a:cubicBezTo>
                    <a:pt x="97" y="10"/>
                    <a:pt x="97" y="10"/>
                    <a:pt x="97" y="10"/>
                  </a:cubicBezTo>
                  <a:cubicBezTo>
                    <a:pt x="96" y="10"/>
                    <a:pt x="96" y="10"/>
                    <a:pt x="96" y="10"/>
                  </a:cubicBezTo>
                  <a:cubicBezTo>
                    <a:pt x="97" y="10"/>
                    <a:pt x="97" y="10"/>
                    <a:pt x="97" y="10"/>
                  </a:cubicBezTo>
                  <a:cubicBezTo>
                    <a:pt x="96" y="10"/>
                    <a:pt x="96" y="10"/>
                    <a:pt x="96" y="10"/>
                  </a:cubicBezTo>
                  <a:cubicBezTo>
                    <a:pt x="95" y="11"/>
                    <a:pt x="94" y="12"/>
                    <a:pt x="93" y="12"/>
                  </a:cubicBezTo>
                  <a:cubicBezTo>
                    <a:pt x="92" y="13"/>
                    <a:pt x="91" y="13"/>
                    <a:pt x="90" y="13"/>
                  </a:cubicBezTo>
                  <a:cubicBezTo>
                    <a:pt x="89" y="13"/>
                    <a:pt x="89" y="13"/>
                    <a:pt x="89" y="13"/>
                  </a:cubicBezTo>
                  <a:cubicBezTo>
                    <a:pt x="89" y="13"/>
                    <a:pt x="89" y="13"/>
                    <a:pt x="89" y="13"/>
                  </a:cubicBezTo>
                  <a:cubicBezTo>
                    <a:pt x="87" y="13"/>
                    <a:pt x="86" y="13"/>
                    <a:pt x="85" y="13"/>
                  </a:cubicBezTo>
                  <a:cubicBezTo>
                    <a:pt x="81" y="13"/>
                    <a:pt x="81" y="13"/>
                    <a:pt x="81" y="13"/>
                  </a:cubicBezTo>
                  <a:cubicBezTo>
                    <a:pt x="81" y="15"/>
                    <a:pt x="81" y="18"/>
                    <a:pt x="80" y="20"/>
                  </a:cubicBezTo>
                  <a:cubicBezTo>
                    <a:pt x="80" y="21"/>
                    <a:pt x="80" y="21"/>
                    <a:pt x="80" y="21"/>
                  </a:cubicBezTo>
                  <a:cubicBezTo>
                    <a:pt x="79" y="26"/>
                    <a:pt x="77" y="32"/>
                    <a:pt x="76" y="36"/>
                  </a:cubicBezTo>
                  <a:cubicBezTo>
                    <a:pt x="74" y="41"/>
                    <a:pt x="74" y="41"/>
                    <a:pt x="74" y="41"/>
                  </a:cubicBezTo>
                  <a:cubicBezTo>
                    <a:pt x="74" y="45"/>
                    <a:pt x="73" y="48"/>
                    <a:pt x="71" y="49"/>
                  </a:cubicBezTo>
                  <a:cubicBezTo>
                    <a:pt x="71" y="50"/>
                    <a:pt x="70" y="50"/>
                    <a:pt x="69" y="50"/>
                  </a:cubicBezTo>
                  <a:cubicBezTo>
                    <a:pt x="69" y="50"/>
                    <a:pt x="69" y="50"/>
                    <a:pt x="69" y="50"/>
                  </a:cubicBezTo>
                  <a:cubicBezTo>
                    <a:pt x="68" y="50"/>
                    <a:pt x="68" y="51"/>
                    <a:pt x="67" y="51"/>
                  </a:cubicBezTo>
                  <a:cubicBezTo>
                    <a:pt x="67" y="51"/>
                    <a:pt x="67" y="51"/>
                    <a:pt x="67" y="51"/>
                  </a:cubicBezTo>
                  <a:cubicBezTo>
                    <a:pt x="66" y="51"/>
                    <a:pt x="66" y="51"/>
                    <a:pt x="66" y="51"/>
                  </a:cubicBezTo>
                  <a:cubicBezTo>
                    <a:pt x="66" y="51"/>
                    <a:pt x="65" y="50"/>
                    <a:pt x="64" y="50"/>
                  </a:cubicBezTo>
                  <a:cubicBezTo>
                    <a:pt x="63" y="50"/>
                    <a:pt x="63" y="50"/>
                    <a:pt x="63" y="50"/>
                  </a:cubicBezTo>
                  <a:cubicBezTo>
                    <a:pt x="63" y="50"/>
                    <a:pt x="62" y="50"/>
                    <a:pt x="62" y="50"/>
                  </a:cubicBezTo>
                  <a:cubicBezTo>
                    <a:pt x="62" y="50"/>
                    <a:pt x="62" y="50"/>
                    <a:pt x="62" y="50"/>
                  </a:cubicBezTo>
                  <a:cubicBezTo>
                    <a:pt x="61" y="50"/>
                    <a:pt x="61" y="50"/>
                    <a:pt x="61" y="50"/>
                  </a:cubicBezTo>
                  <a:cubicBezTo>
                    <a:pt x="61" y="51"/>
                    <a:pt x="60" y="52"/>
                    <a:pt x="60" y="53"/>
                  </a:cubicBezTo>
                  <a:cubicBezTo>
                    <a:pt x="59" y="54"/>
                    <a:pt x="59" y="54"/>
                    <a:pt x="59" y="54"/>
                  </a:cubicBezTo>
                  <a:cubicBezTo>
                    <a:pt x="57" y="57"/>
                    <a:pt x="56" y="59"/>
                    <a:pt x="55" y="61"/>
                  </a:cubicBezTo>
                  <a:cubicBezTo>
                    <a:pt x="54" y="63"/>
                    <a:pt x="53" y="65"/>
                    <a:pt x="51" y="67"/>
                  </a:cubicBezTo>
                  <a:cubicBezTo>
                    <a:pt x="49" y="69"/>
                    <a:pt x="48" y="70"/>
                    <a:pt x="48" y="72"/>
                  </a:cubicBezTo>
                  <a:cubicBezTo>
                    <a:pt x="47" y="74"/>
                    <a:pt x="47" y="74"/>
                    <a:pt x="47" y="74"/>
                  </a:cubicBezTo>
                  <a:cubicBezTo>
                    <a:pt x="47" y="76"/>
                    <a:pt x="47" y="78"/>
                    <a:pt x="46" y="79"/>
                  </a:cubicBezTo>
                  <a:cubicBezTo>
                    <a:pt x="46" y="81"/>
                    <a:pt x="46" y="81"/>
                    <a:pt x="46" y="81"/>
                  </a:cubicBezTo>
                  <a:cubicBezTo>
                    <a:pt x="46" y="82"/>
                    <a:pt x="46" y="83"/>
                    <a:pt x="46" y="84"/>
                  </a:cubicBezTo>
                  <a:cubicBezTo>
                    <a:pt x="45" y="85"/>
                    <a:pt x="45" y="86"/>
                    <a:pt x="45" y="87"/>
                  </a:cubicBezTo>
                  <a:cubicBezTo>
                    <a:pt x="45" y="87"/>
                    <a:pt x="45" y="87"/>
                    <a:pt x="45" y="88"/>
                  </a:cubicBezTo>
                  <a:cubicBezTo>
                    <a:pt x="45" y="88"/>
                    <a:pt x="45" y="88"/>
                    <a:pt x="45" y="88"/>
                  </a:cubicBezTo>
                  <a:cubicBezTo>
                    <a:pt x="45" y="89"/>
                    <a:pt x="45" y="90"/>
                    <a:pt x="45" y="91"/>
                  </a:cubicBezTo>
                  <a:cubicBezTo>
                    <a:pt x="45" y="91"/>
                    <a:pt x="44" y="92"/>
                    <a:pt x="44" y="93"/>
                  </a:cubicBezTo>
                  <a:cubicBezTo>
                    <a:pt x="43" y="93"/>
                    <a:pt x="43" y="93"/>
                    <a:pt x="43" y="93"/>
                  </a:cubicBezTo>
                  <a:cubicBezTo>
                    <a:pt x="43" y="94"/>
                    <a:pt x="41" y="95"/>
                    <a:pt x="40" y="96"/>
                  </a:cubicBezTo>
                  <a:cubicBezTo>
                    <a:pt x="39" y="96"/>
                    <a:pt x="38" y="96"/>
                    <a:pt x="38" y="96"/>
                  </a:cubicBezTo>
                  <a:cubicBezTo>
                    <a:pt x="37" y="96"/>
                    <a:pt x="37" y="96"/>
                    <a:pt x="37" y="96"/>
                  </a:cubicBezTo>
                  <a:cubicBezTo>
                    <a:pt x="36" y="96"/>
                    <a:pt x="36" y="96"/>
                    <a:pt x="35" y="96"/>
                  </a:cubicBezTo>
                  <a:cubicBezTo>
                    <a:pt x="35" y="96"/>
                    <a:pt x="35" y="96"/>
                    <a:pt x="35" y="96"/>
                  </a:cubicBezTo>
                  <a:cubicBezTo>
                    <a:pt x="34" y="95"/>
                    <a:pt x="33" y="95"/>
                    <a:pt x="33" y="94"/>
                  </a:cubicBezTo>
                  <a:cubicBezTo>
                    <a:pt x="33" y="94"/>
                    <a:pt x="33" y="94"/>
                    <a:pt x="33" y="94"/>
                  </a:cubicBezTo>
                  <a:cubicBezTo>
                    <a:pt x="32" y="95"/>
                    <a:pt x="32" y="95"/>
                    <a:pt x="32" y="95"/>
                  </a:cubicBezTo>
                  <a:cubicBezTo>
                    <a:pt x="31" y="96"/>
                    <a:pt x="30" y="97"/>
                    <a:pt x="30" y="98"/>
                  </a:cubicBezTo>
                  <a:cubicBezTo>
                    <a:pt x="30" y="98"/>
                    <a:pt x="30" y="98"/>
                    <a:pt x="30" y="98"/>
                  </a:cubicBezTo>
                  <a:cubicBezTo>
                    <a:pt x="29" y="99"/>
                    <a:pt x="29" y="100"/>
                    <a:pt x="30" y="101"/>
                  </a:cubicBezTo>
                  <a:cubicBezTo>
                    <a:pt x="30" y="103"/>
                    <a:pt x="31" y="105"/>
                    <a:pt x="30" y="107"/>
                  </a:cubicBezTo>
                  <a:cubicBezTo>
                    <a:pt x="30" y="108"/>
                    <a:pt x="30" y="109"/>
                    <a:pt x="29" y="110"/>
                  </a:cubicBezTo>
                  <a:cubicBezTo>
                    <a:pt x="29" y="111"/>
                    <a:pt x="29" y="111"/>
                    <a:pt x="29" y="111"/>
                  </a:cubicBezTo>
                  <a:cubicBezTo>
                    <a:pt x="28" y="113"/>
                    <a:pt x="28" y="115"/>
                    <a:pt x="27" y="117"/>
                  </a:cubicBezTo>
                  <a:cubicBezTo>
                    <a:pt x="27" y="118"/>
                    <a:pt x="26" y="119"/>
                    <a:pt x="26" y="120"/>
                  </a:cubicBezTo>
                  <a:cubicBezTo>
                    <a:pt x="25" y="122"/>
                    <a:pt x="25" y="125"/>
                    <a:pt x="25" y="128"/>
                  </a:cubicBezTo>
                  <a:cubicBezTo>
                    <a:pt x="25" y="129"/>
                    <a:pt x="25" y="131"/>
                    <a:pt x="25" y="133"/>
                  </a:cubicBezTo>
                  <a:cubicBezTo>
                    <a:pt x="26" y="134"/>
                    <a:pt x="26" y="135"/>
                    <a:pt x="26" y="136"/>
                  </a:cubicBezTo>
                  <a:cubicBezTo>
                    <a:pt x="26" y="143"/>
                    <a:pt x="25" y="147"/>
                    <a:pt x="22" y="150"/>
                  </a:cubicBezTo>
                  <a:cubicBezTo>
                    <a:pt x="21" y="150"/>
                    <a:pt x="21" y="151"/>
                    <a:pt x="20" y="151"/>
                  </a:cubicBezTo>
                  <a:cubicBezTo>
                    <a:pt x="19" y="152"/>
                    <a:pt x="17" y="152"/>
                    <a:pt x="15" y="152"/>
                  </a:cubicBezTo>
                  <a:cubicBezTo>
                    <a:pt x="13" y="152"/>
                    <a:pt x="12" y="152"/>
                    <a:pt x="10" y="151"/>
                  </a:cubicBezTo>
                  <a:cubicBezTo>
                    <a:pt x="8" y="151"/>
                    <a:pt x="7" y="151"/>
                    <a:pt x="6" y="151"/>
                  </a:cubicBezTo>
                  <a:cubicBezTo>
                    <a:pt x="6" y="151"/>
                    <a:pt x="6" y="151"/>
                    <a:pt x="5" y="151"/>
                  </a:cubicBezTo>
                  <a:cubicBezTo>
                    <a:pt x="4" y="151"/>
                    <a:pt x="4" y="151"/>
                    <a:pt x="4" y="151"/>
                  </a:cubicBezTo>
                  <a:cubicBezTo>
                    <a:pt x="4" y="151"/>
                    <a:pt x="4" y="151"/>
                    <a:pt x="4" y="151"/>
                  </a:cubicBezTo>
                  <a:cubicBezTo>
                    <a:pt x="2" y="151"/>
                    <a:pt x="2" y="153"/>
                    <a:pt x="1" y="155"/>
                  </a:cubicBezTo>
                  <a:cubicBezTo>
                    <a:pt x="1" y="155"/>
                    <a:pt x="0" y="156"/>
                    <a:pt x="0" y="157"/>
                  </a:cubicBezTo>
                  <a:cubicBezTo>
                    <a:pt x="0" y="157"/>
                    <a:pt x="0" y="158"/>
                    <a:pt x="0" y="159"/>
                  </a:cubicBezTo>
                  <a:cubicBezTo>
                    <a:pt x="0" y="159"/>
                    <a:pt x="0" y="159"/>
                    <a:pt x="1" y="159"/>
                  </a:cubicBezTo>
                  <a:cubicBezTo>
                    <a:pt x="4" y="160"/>
                    <a:pt x="6" y="161"/>
                    <a:pt x="8" y="163"/>
                  </a:cubicBezTo>
                  <a:cubicBezTo>
                    <a:pt x="10" y="163"/>
                    <a:pt x="10" y="163"/>
                    <a:pt x="10" y="163"/>
                  </a:cubicBezTo>
                  <a:cubicBezTo>
                    <a:pt x="11" y="164"/>
                    <a:pt x="11" y="164"/>
                    <a:pt x="11" y="164"/>
                  </a:cubicBezTo>
                  <a:cubicBezTo>
                    <a:pt x="12" y="164"/>
                    <a:pt x="13" y="164"/>
                    <a:pt x="14" y="164"/>
                  </a:cubicBezTo>
                  <a:cubicBezTo>
                    <a:pt x="16" y="166"/>
                    <a:pt x="18" y="168"/>
                    <a:pt x="20" y="171"/>
                  </a:cubicBezTo>
                  <a:cubicBezTo>
                    <a:pt x="20" y="172"/>
                    <a:pt x="21" y="173"/>
                    <a:pt x="21" y="173"/>
                  </a:cubicBezTo>
                  <a:cubicBezTo>
                    <a:pt x="22" y="174"/>
                    <a:pt x="23" y="175"/>
                    <a:pt x="23" y="175"/>
                  </a:cubicBezTo>
                  <a:cubicBezTo>
                    <a:pt x="23" y="176"/>
                    <a:pt x="23" y="176"/>
                    <a:pt x="23" y="176"/>
                  </a:cubicBezTo>
                  <a:cubicBezTo>
                    <a:pt x="25" y="178"/>
                    <a:pt x="27" y="180"/>
                    <a:pt x="29" y="181"/>
                  </a:cubicBezTo>
                  <a:cubicBezTo>
                    <a:pt x="30" y="181"/>
                    <a:pt x="31" y="181"/>
                    <a:pt x="32" y="182"/>
                  </a:cubicBezTo>
                  <a:cubicBezTo>
                    <a:pt x="33" y="183"/>
                    <a:pt x="34" y="185"/>
                    <a:pt x="36" y="186"/>
                  </a:cubicBezTo>
                  <a:cubicBezTo>
                    <a:pt x="37" y="187"/>
                    <a:pt x="37" y="187"/>
                    <a:pt x="37" y="187"/>
                  </a:cubicBezTo>
                  <a:cubicBezTo>
                    <a:pt x="38" y="188"/>
                    <a:pt x="38" y="189"/>
                    <a:pt x="39" y="190"/>
                  </a:cubicBezTo>
                  <a:cubicBezTo>
                    <a:pt x="43" y="195"/>
                    <a:pt x="47" y="208"/>
                    <a:pt x="47" y="210"/>
                  </a:cubicBezTo>
                  <a:cubicBezTo>
                    <a:pt x="48" y="211"/>
                    <a:pt x="48" y="212"/>
                    <a:pt x="49" y="213"/>
                  </a:cubicBezTo>
                  <a:cubicBezTo>
                    <a:pt x="49" y="213"/>
                    <a:pt x="49" y="213"/>
                    <a:pt x="49" y="213"/>
                  </a:cubicBezTo>
                  <a:cubicBezTo>
                    <a:pt x="50" y="214"/>
                    <a:pt x="50" y="214"/>
                    <a:pt x="51" y="215"/>
                  </a:cubicBezTo>
                  <a:cubicBezTo>
                    <a:pt x="52" y="215"/>
                    <a:pt x="52" y="215"/>
                    <a:pt x="52" y="215"/>
                  </a:cubicBezTo>
                  <a:cubicBezTo>
                    <a:pt x="53" y="216"/>
                    <a:pt x="53" y="216"/>
                    <a:pt x="53" y="216"/>
                  </a:cubicBezTo>
                  <a:cubicBezTo>
                    <a:pt x="54" y="217"/>
                    <a:pt x="55" y="217"/>
                    <a:pt x="57" y="218"/>
                  </a:cubicBezTo>
                  <a:cubicBezTo>
                    <a:pt x="58" y="218"/>
                    <a:pt x="58" y="218"/>
                    <a:pt x="58" y="218"/>
                  </a:cubicBezTo>
                  <a:cubicBezTo>
                    <a:pt x="59" y="218"/>
                    <a:pt x="61" y="218"/>
                    <a:pt x="63" y="219"/>
                  </a:cubicBezTo>
                  <a:cubicBezTo>
                    <a:pt x="64" y="220"/>
                    <a:pt x="65" y="221"/>
                    <a:pt x="65" y="223"/>
                  </a:cubicBezTo>
                  <a:cubicBezTo>
                    <a:pt x="65" y="224"/>
                    <a:pt x="65" y="224"/>
                    <a:pt x="65" y="225"/>
                  </a:cubicBezTo>
                  <a:cubicBezTo>
                    <a:pt x="65" y="225"/>
                    <a:pt x="65" y="226"/>
                    <a:pt x="64" y="227"/>
                  </a:cubicBezTo>
                  <a:cubicBezTo>
                    <a:pt x="64" y="228"/>
                    <a:pt x="64" y="229"/>
                    <a:pt x="64" y="229"/>
                  </a:cubicBezTo>
                  <a:cubicBezTo>
                    <a:pt x="64" y="230"/>
                    <a:pt x="64" y="230"/>
                    <a:pt x="64" y="230"/>
                  </a:cubicBezTo>
                  <a:cubicBezTo>
                    <a:pt x="64" y="231"/>
                    <a:pt x="64" y="231"/>
                    <a:pt x="64" y="232"/>
                  </a:cubicBezTo>
                  <a:cubicBezTo>
                    <a:pt x="64" y="236"/>
                    <a:pt x="64" y="236"/>
                    <a:pt x="64" y="236"/>
                  </a:cubicBezTo>
                  <a:cubicBezTo>
                    <a:pt x="66" y="236"/>
                    <a:pt x="66" y="236"/>
                    <a:pt x="66" y="236"/>
                  </a:cubicBezTo>
                  <a:cubicBezTo>
                    <a:pt x="67" y="237"/>
                    <a:pt x="67" y="237"/>
                    <a:pt x="67" y="237"/>
                  </a:cubicBezTo>
                  <a:cubicBezTo>
                    <a:pt x="68" y="239"/>
                    <a:pt x="69" y="240"/>
                    <a:pt x="69" y="240"/>
                  </a:cubicBezTo>
                  <a:cubicBezTo>
                    <a:pt x="81" y="240"/>
                    <a:pt x="81" y="240"/>
                    <a:pt x="81" y="240"/>
                  </a:cubicBezTo>
                  <a:cubicBezTo>
                    <a:pt x="82" y="240"/>
                    <a:pt x="84" y="240"/>
                    <a:pt x="85" y="241"/>
                  </a:cubicBezTo>
                  <a:cubicBezTo>
                    <a:pt x="86" y="241"/>
                    <a:pt x="87" y="241"/>
                    <a:pt x="88" y="242"/>
                  </a:cubicBezTo>
                  <a:cubicBezTo>
                    <a:pt x="89" y="237"/>
                    <a:pt x="89" y="237"/>
                    <a:pt x="89" y="237"/>
                  </a:cubicBezTo>
                  <a:cubicBezTo>
                    <a:pt x="89" y="242"/>
                    <a:pt x="89" y="242"/>
                    <a:pt x="89" y="242"/>
                  </a:cubicBezTo>
                  <a:cubicBezTo>
                    <a:pt x="89" y="242"/>
                    <a:pt x="89" y="242"/>
                    <a:pt x="89" y="242"/>
                  </a:cubicBezTo>
                  <a:cubicBezTo>
                    <a:pt x="90" y="243"/>
                    <a:pt x="91" y="243"/>
                    <a:pt x="92" y="244"/>
                  </a:cubicBezTo>
                  <a:cubicBezTo>
                    <a:pt x="92" y="244"/>
                    <a:pt x="92" y="244"/>
                    <a:pt x="92" y="244"/>
                  </a:cubicBezTo>
                  <a:cubicBezTo>
                    <a:pt x="94" y="245"/>
                    <a:pt x="95" y="246"/>
                    <a:pt x="97" y="246"/>
                  </a:cubicBezTo>
                  <a:cubicBezTo>
                    <a:pt x="97" y="247"/>
                    <a:pt x="97" y="247"/>
                    <a:pt x="97" y="247"/>
                  </a:cubicBezTo>
                  <a:cubicBezTo>
                    <a:pt x="98" y="247"/>
                    <a:pt x="100" y="248"/>
                    <a:pt x="101" y="249"/>
                  </a:cubicBezTo>
                  <a:cubicBezTo>
                    <a:pt x="103" y="250"/>
                    <a:pt x="103" y="250"/>
                    <a:pt x="103" y="250"/>
                  </a:cubicBezTo>
                  <a:cubicBezTo>
                    <a:pt x="106" y="252"/>
                    <a:pt x="109" y="254"/>
                    <a:pt x="113" y="256"/>
                  </a:cubicBezTo>
                  <a:cubicBezTo>
                    <a:pt x="114" y="257"/>
                    <a:pt x="115" y="258"/>
                    <a:pt x="117" y="259"/>
                  </a:cubicBezTo>
                  <a:cubicBezTo>
                    <a:pt x="120" y="261"/>
                    <a:pt x="126" y="261"/>
                    <a:pt x="131" y="262"/>
                  </a:cubicBezTo>
                  <a:cubicBezTo>
                    <a:pt x="132" y="262"/>
                    <a:pt x="133" y="262"/>
                    <a:pt x="134" y="262"/>
                  </a:cubicBezTo>
                  <a:cubicBezTo>
                    <a:pt x="138" y="262"/>
                    <a:pt x="138" y="262"/>
                    <a:pt x="138" y="262"/>
                  </a:cubicBezTo>
                  <a:cubicBezTo>
                    <a:pt x="141" y="263"/>
                    <a:pt x="144" y="263"/>
                    <a:pt x="147" y="263"/>
                  </a:cubicBezTo>
                  <a:cubicBezTo>
                    <a:pt x="147" y="264"/>
                    <a:pt x="148" y="264"/>
                    <a:pt x="149" y="264"/>
                  </a:cubicBezTo>
                  <a:cubicBezTo>
                    <a:pt x="150" y="263"/>
                    <a:pt x="151" y="261"/>
                    <a:pt x="152" y="260"/>
                  </a:cubicBezTo>
                  <a:cubicBezTo>
                    <a:pt x="154" y="257"/>
                    <a:pt x="155" y="254"/>
                    <a:pt x="158" y="253"/>
                  </a:cubicBezTo>
                  <a:cubicBezTo>
                    <a:pt x="178" y="244"/>
                    <a:pt x="178" y="244"/>
                    <a:pt x="178" y="244"/>
                  </a:cubicBezTo>
                  <a:cubicBezTo>
                    <a:pt x="178" y="244"/>
                    <a:pt x="178" y="244"/>
                    <a:pt x="178" y="244"/>
                  </a:cubicBezTo>
                  <a:cubicBezTo>
                    <a:pt x="178" y="244"/>
                    <a:pt x="178" y="244"/>
                    <a:pt x="178" y="244"/>
                  </a:cubicBezTo>
                  <a:cubicBezTo>
                    <a:pt x="179" y="244"/>
                    <a:pt x="179" y="244"/>
                    <a:pt x="179" y="244"/>
                  </a:cubicBezTo>
                  <a:cubicBezTo>
                    <a:pt x="179" y="244"/>
                    <a:pt x="179" y="244"/>
                    <a:pt x="179" y="244"/>
                  </a:cubicBezTo>
                  <a:cubicBezTo>
                    <a:pt x="180" y="244"/>
                    <a:pt x="181" y="244"/>
                    <a:pt x="181" y="245"/>
                  </a:cubicBezTo>
                  <a:cubicBezTo>
                    <a:pt x="182" y="245"/>
                    <a:pt x="183" y="246"/>
                    <a:pt x="184" y="247"/>
                  </a:cubicBezTo>
                  <a:cubicBezTo>
                    <a:pt x="185" y="249"/>
                    <a:pt x="187" y="250"/>
                    <a:pt x="189" y="251"/>
                  </a:cubicBezTo>
                  <a:cubicBezTo>
                    <a:pt x="189" y="252"/>
                    <a:pt x="190" y="252"/>
                    <a:pt x="190" y="252"/>
                  </a:cubicBezTo>
                  <a:cubicBezTo>
                    <a:pt x="191" y="252"/>
                    <a:pt x="191" y="252"/>
                    <a:pt x="191" y="252"/>
                  </a:cubicBezTo>
                  <a:cubicBezTo>
                    <a:pt x="191" y="252"/>
                    <a:pt x="191" y="252"/>
                    <a:pt x="191" y="252"/>
                  </a:cubicBezTo>
                  <a:cubicBezTo>
                    <a:pt x="192" y="252"/>
                    <a:pt x="192" y="252"/>
                    <a:pt x="192" y="252"/>
                  </a:cubicBezTo>
                  <a:cubicBezTo>
                    <a:pt x="193" y="252"/>
                    <a:pt x="194" y="252"/>
                    <a:pt x="195" y="252"/>
                  </a:cubicBezTo>
                  <a:cubicBezTo>
                    <a:pt x="196" y="252"/>
                    <a:pt x="196" y="252"/>
                    <a:pt x="196" y="252"/>
                  </a:cubicBezTo>
                  <a:cubicBezTo>
                    <a:pt x="197" y="252"/>
                    <a:pt x="199" y="251"/>
                    <a:pt x="200" y="251"/>
                  </a:cubicBezTo>
                  <a:cubicBezTo>
                    <a:pt x="200" y="251"/>
                    <a:pt x="200" y="251"/>
                    <a:pt x="200" y="251"/>
                  </a:cubicBezTo>
                  <a:cubicBezTo>
                    <a:pt x="204" y="251"/>
                    <a:pt x="204" y="251"/>
                    <a:pt x="204" y="251"/>
                  </a:cubicBezTo>
                  <a:cubicBezTo>
                    <a:pt x="204" y="251"/>
                    <a:pt x="205" y="250"/>
                    <a:pt x="206" y="249"/>
                  </a:cubicBezTo>
                  <a:cubicBezTo>
                    <a:pt x="207" y="248"/>
                    <a:pt x="208" y="247"/>
                    <a:pt x="210" y="246"/>
                  </a:cubicBezTo>
                  <a:cubicBezTo>
                    <a:pt x="212" y="245"/>
                    <a:pt x="215" y="245"/>
                    <a:pt x="218" y="245"/>
                  </a:cubicBezTo>
                  <a:cubicBezTo>
                    <a:pt x="218" y="245"/>
                    <a:pt x="218" y="245"/>
                    <a:pt x="218" y="245"/>
                  </a:cubicBezTo>
                  <a:cubicBezTo>
                    <a:pt x="219" y="245"/>
                    <a:pt x="220" y="245"/>
                    <a:pt x="221" y="245"/>
                  </a:cubicBezTo>
                  <a:cubicBezTo>
                    <a:pt x="222" y="244"/>
                    <a:pt x="224" y="244"/>
                    <a:pt x="225" y="243"/>
                  </a:cubicBezTo>
                  <a:cubicBezTo>
                    <a:pt x="226" y="242"/>
                    <a:pt x="228" y="241"/>
                    <a:pt x="230" y="240"/>
                  </a:cubicBezTo>
                  <a:cubicBezTo>
                    <a:pt x="235" y="235"/>
                    <a:pt x="241" y="231"/>
                    <a:pt x="248" y="229"/>
                  </a:cubicBezTo>
                  <a:cubicBezTo>
                    <a:pt x="250" y="229"/>
                    <a:pt x="251" y="229"/>
                    <a:pt x="253" y="228"/>
                  </a:cubicBezTo>
                  <a:cubicBezTo>
                    <a:pt x="254" y="228"/>
                    <a:pt x="256" y="228"/>
                    <a:pt x="258" y="228"/>
                  </a:cubicBezTo>
                  <a:cubicBezTo>
                    <a:pt x="258" y="228"/>
                    <a:pt x="259" y="228"/>
                    <a:pt x="260" y="228"/>
                  </a:cubicBezTo>
                  <a:cubicBezTo>
                    <a:pt x="260" y="228"/>
                    <a:pt x="261" y="228"/>
                    <a:pt x="262" y="228"/>
                  </a:cubicBezTo>
                  <a:cubicBezTo>
                    <a:pt x="262" y="228"/>
                    <a:pt x="263" y="228"/>
                    <a:pt x="264" y="228"/>
                  </a:cubicBezTo>
                  <a:cubicBezTo>
                    <a:pt x="266" y="228"/>
                    <a:pt x="266" y="228"/>
                    <a:pt x="266" y="228"/>
                  </a:cubicBezTo>
                  <a:cubicBezTo>
                    <a:pt x="267" y="228"/>
                    <a:pt x="268" y="229"/>
                    <a:pt x="269" y="229"/>
                  </a:cubicBezTo>
                  <a:cubicBezTo>
                    <a:pt x="270" y="229"/>
                    <a:pt x="271" y="229"/>
                    <a:pt x="272" y="229"/>
                  </a:cubicBezTo>
                  <a:cubicBezTo>
                    <a:pt x="273" y="229"/>
                    <a:pt x="273" y="229"/>
                    <a:pt x="273" y="229"/>
                  </a:cubicBezTo>
                  <a:cubicBezTo>
                    <a:pt x="273" y="229"/>
                    <a:pt x="273" y="229"/>
                    <a:pt x="273" y="229"/>
                  </a:cubicBezTo>
                  <a:cubicBezTo>
                    <a:pt x="274" y="229"/>
                    <a:pt x="274" y="229"/>
                    <a:pt x="275" y="229"/>
                  </a:cubicBezTo>
                  <a:cubicBezTo>
                    <a:pt x="276" y="228"/>
                    <a:pt x="276" y="228"/>
                    <a:pt x="276" y="228"/>
                  </a:cubicBezTo>
                  <a:cubicBezTo>
                    <a:pt x="276" y="228"/>
                    <a:pt x="277" y="228"/>
                    <a:pt x="277" y="227"/>
                  </a:cubicBezTo>
                  <a:cubicBezTo>
                    <a:pt x="278" y="226"/>
                    <a:pt x="279" y="225"/>
                    <a:pt x="280" y="225"/>
                  </a:cubicBezTo>
                  <a:cubicBezTo>
                    <a:pt x="281" y="223"/>
                    <a:pt x="281" y="223"/>
                    <a:pt x="281" y="223"/>
                  </a:cubicBezTo>
                  <a:cubicBezTo>
                    <a:pt x="282" y="222"/>
                    <a:pt x="283" y="221"/>
                    <a:pt x="284" y="220"/>
                  </a:cubicBezTo>
                  <a:cubicBezTo>
                    <a:pt x="286" y="217"/>
                    <a:pt x="286" y="217"/>
                    <a:pt x="286" y="217"/>
                  </a:cubicBezTo>
                  <a:cubicBezTo>
                    <a:pt x="287" y="217"/>
                    <a:pt x="287" y="216"/>
                    <a:pt x="287" y="216"/>
                  </a:cubicBezTo>
                  <a:cubicBezTo>
                    <a:pt x="291" y="212"/>
                    <a:pt x="291" y="212"/>
                    <a:pt x="291" y="212"/>
                  </a:cubicBezTo>
                  <a:cubicBezTo>
                    <a:pt x="306" y="197"/>
                    <a:pt x="319" y="183"/>
                    <a:pt x="331" y="171"/>
                  </a:cubicBezTo>
                  <a:cubicBezTo>
                    <a:pt x="334" y="168"/>
                    <a:pt x="337" y="165"/>
                    <a:pt x="341" y="162"/>
                  </a:cubicBezTo>
                  <a:cubicBezTo>
                    <a:pt x="338" y="162"/>
                    <a:pt x="336" y="162"/>
                    <a:pt x="333" y="162"/>
                  </a:cubicBezTo>
                  <a:cubicBezTo>
                    <a:pt x="330" y="162"/>
                    <a:pt x="328" y="162"/>
                    <a:pt x="325" y="162"/>
                  </a:cubicBezTo>
                  <a:cubicBezTo>
                    <a:pt x="322" y="162"/>
                    <a:pt x="318" y="160"/>
                    <a:pt x="315" y="159"/>
                  </a:cubicBezTo>
                  <a:cubicBezTo>
                    <a:pt x="314" y="158"/>
                    <a:pt x="314" y="158"/>
                    <a:pt x="314" y="158"/>
                  </a:cubicBezTo>
                  <a:cubicBezTo>
                    <a:pt x="313" y="158"/>
                    <a:pt x="312" y="158"/>
                    <a:pt x="311" y="157"/>
                  </a:cubicBezTo>
                  <a:cubicBezTo>
                    <a:pt x="269" y="143"/>
                    <a:pt x="269" y="143"/>
                    <a:pt x="269" y="143"/>
                  </a:cubicBezTo>
                  <a:cubicBezTo>
                    <a:pt x="268" y="142"/>
                    <a:pt x="266" y="142"/>
                    <a:pt x="265" y="142"/>
                  </a:cubicBezTo>
                  <a:cubicBezTo>
                    <a:pt x="264" y="141"/>
                    <a:pt x="264" y="141"/>
                    <a:pt x="264" y="141"/>
                  </a:cubicBezTo>
                  <a:cubicBezTo>
                    <a:pt x="260" y="140"/>
                    <a:pt x="256" y="139"/>
                    <a:pt x="252" y="137"/>
                  </a:cubicBezTo>
                  <a:cubicBezTo>
                    <a:pt x="252" y="136"/>
                    <a:pt x="251" y="136"/>
                    <a:pt x="251" y="136"/>
                  </a:cubicBezTo>
                  <a:cubicBezTo>
                    <a:pt x="248" y="133"/>
                    <a:pt x="248" y="133"/>
                    <a:pt x="248" y="133"/>
                  </a:cubicBezTo>
                  <a:cubicBezTo>
                    <a:pt x="244" y="131"/>
                    <a:pt x="241" y="129"/>
                    <a:pt x="239" y="127"/>
                  </a:cubicBezTo>
                  <a:cubicBezTo>
                    <a:pt x="237" y="125"/>
                    <a:pt x="235" y="122"/>
                    <a:pt x="234" y="119"/>
                  </a:cubicBezTo>
                  <a:cubicBezTo>
                    <a:pt x="233" y="119"/>
                    <a:pt x="233" y="119"/>
                    <a:pt x="233" y="119"/>
                  </a:cubicBezTo>
                  <a:cubicBezTo>
                    <a:pt x="233" y="118"/>
                    <a:pt x="232" y="117"/>
                    <a:pt x="232" y="116"/>
                  </a:cubicBezTo>
                  <a:cubicBezTo>
                    <a:pt x="231" y="115"/>
                    <a:pt x="231" y="115"/>
                    <a:pt x="231" y="115"/>
                  </a:cubicBezTo>
                  <a:cubicBezTo>
                    <a:pt x="229" y="111"/>
                    <a:pt x="227" y="108"/>
                    <a:pt x="224" y="104"/>
                  </a:cubicBezTo>
                  <a:cubicBezTo>
                    <a:pt x="224" y="104"/>
                    <a:pt x="224" y="103"/>
                    <a:pt x="224" y="103"/>
                  </a:cubicBezTo>
                  <a:cubicBezTo>
                    <a:pt x="222" y="100"/>
                    <a:pt x="220" y="98"/>
                    <a:pt x="220" y="96"/>
                  </a:cubicBezTo>
                  <a:cubicBezTo>
                    <a:pt x="220" y="95"/>
                    <a:pt x="220" y="95"/>
                    <a:pt x="222" y="93"/>
                  </a:cubicBezTo>
                  <a:cubicBezTo>
                    <a:pt x="223" y="92"/>
                    <a:pt x="224" y="91"/>
                    <a:pt x="224" y="91"/>
                  </a:cubicBezTo>
                  <a:cubicBezTo>
                    <a:pt x="224" y="90"/>
                    <a:pt x="224" y="90"/>
                    <a:pt x="225" y="89"/>
                  </a:cubicBezTo>
                  <a:cubicBezTo>
                    <a:pt x="224" y="89"/>
                    <a:pt x="223" y="89"/>
                    <a:pt x="223" y="89"/>
                  </a:cubicBezTo>
                  <a:cubicBezTo>
                    <a:pt x="223" y="89"/>
                    <a:pt x="223" y="89"/>
                    <a:pt x="222" y="89"/>
                  </a:cubicBezTo>
                  <a:cubicBezTo>
                    <a:pt x="222" y="89"/>
                    <a:pt x="220" y="89"/>
                    <a:pt x="216" y="90"/>
                  </a:cubicBezTo>
                  <a:cubicBezTo>
                    <a:pt x="213" y="91"/>
                    <a:pt x="209" y="92"/>
                    <a:pt x="206" y="92"/>
                  </a:cubicBezTo>
                  <a:cubicBezTo>
                    <a:pt x="206" y="92"/>
                    <a:pt x="206" y="92"/>
                    <a:pt x="205" y="92"/>
                  </a:cubicBezTo>
                  <a:cubicBezTo>
                    <a:pt x="205" y="95"/>
                    <a:pt x="205" y="95"/>
                    <a:pt x="205" y="95"/>
                  </a:cubicBezTo>
                  <a:cubicBezTo>
                    <a:pt x="205" y="92"/>
                    <a:pt x="205" y="92"/>
                    <a:pt x="205" y="92"/>
                  </a:cubicBezTo>
                  <a:cubicBezTo>
                    <a:pt x="203" y="92"/>
                    <a:pt x="201" y="91"/>
                    <a:pt x="200" y="90"/>
                  </a:cubicBezTo>
                  <a:cubicBezTo>
                    <a:pt x="200" y="89"/>
                    <a:pt x="199" y="87"/>
                    <a:pt x="200" y="83"/>
                  </a:cubicBezTo>
                  <a:cubicBezTo>
                    <a:pt x="200" y="82"/>
                    <a:pt x="200" y="82"/>
                    <a:pt x="200" y="82"/>
                  </a:cubicBezTo>
                  <a:cubicBezTo>
                    <a:pt x="199" y="81"/>
                    <a:pt x="199" y="80"/>
                    <a:pt x="199" y="80"/>
                  </a:cubicBezTo>
                  <a:cubicBezTo>
                    <a:pt x="196" y="80"/>
                    <a:pt x="196" y="80"/>
                    <a:pt x="196" y="80"/>
                  </a:cubicBezTo>
                  <a:cubicBezTo>
                    <a:pt x="199" y="78"/>
                    <a:pt x="199" y="78"/>
                    <a:pt x="199" y="78"/>
                  </a:cubicBezTo>
                  <a:cubicBezTo>
                    <a:pt x="199" y="78"/>
                    <a:pt x="199" y="78"/>
                    <a:pt x="199" y="78"/>
                  </a:cubicBezTo>
                  <a:cubicBezTo>
                    <a:pt x="199" y="77"/>
                    <a:pt x="199" y="77"/>
                    <a:pt x="199" y="76"/>
                  </a:cubicBezTo>
                  <a:cubicBezTo>
                    <a:pt x="199" y="75"/>
                    <a:pt x="199" y="75"/>
                    <a:pt x="199" y="74"/>
                  </a:cubicBezTo>
                  <a:cubicBezTo>
                    <a:pt x="199" y="72"/>
                    <a:pt x="200" y="70"/>
                    <a:pt x="202" y="68"/>
                  </a:cubicBezTo>
                  <a:cubicBezTo>
                    <a:pt x="202" y="68"/>
                    <a:pt x="203" y="67"/>
                    <a:pt x="203" y="67"/>
                  </a:cubicBezTo>
                  <a:cubicBezTo>
                    <a:pt x="203" y="66"/>
                    <a:pt x="204" y="66"/>
                    <a:pt x="204" y="65"/>
                  </a:cubicBezTo>
                  <a:cubicBezTo>
                    <a:pt x="205" y="65"/>
                    <a:pt x="207" y="62"/>
                    <a:pt x="208" y="59"/>
                  </a:cubicBezTo>
                  <a:cubicBezTo>
                    <a:pt x="210" y="56"/>
                    <a:pt x="212" y="54"/>
                    <a:pt x="213" y="52"/>
                  </a:cubicBezTo>
                  <a:cubicBezTo>
                    <a:pt x="206" y="44"/>
                    <a:pt x="206" y="44"/>
                    <a:pt x="206" y="44"/>
                  </a:cubicBezTo>
                  <a:cubicBezTo>
                    <a:pt x="204" y="41"/>
                    <a:pt x="201" y="38"/>
                    <a:pt x="198" y="35"/>
                  </a:cubicBezTo>
                  <a:cubicBezTo>
                    <a:pt x="195" y="32"/>
                    <a:pt x="195" y="32"/>
                    <a:pt x="195" y="32"/>
                  </a:cubicBezTo>
                  <a:cubicBezTo>
                    <a:pt x="191" y="27"/>
                    <a:pt x="186" y="22"/>
                    <a:pt x="181" y="17"/>
                  </a:cubicBezTo>
                  <a:cubicBezTo>
                    <a:pt x="179" y="15"/>
                    <a:pt x="179" y="15"/>
                    <a:pt x="179" y="15"/>
                  </a:cubicBezTo>
                  <a:cubicBezTo>
                    <a:pt x="178" y="14"/>
                    <a:pt x="175" y="13"/>
                    <a:pt x="174" y="12"/>
                  </a:cubicBezTo>
                  <a:cubicBezTo>
                    <a:pt x="173" y="12"/>
                    <a:pt x="173" y="12"/>
                    <a:pt x="173" y="12"/>
                  </a:cubicBezTo>
                  <a:cubicBezTo>
                    <a:pt x="172" y="12"/>
                    <a:pt x="171" y="12"/>
                    <a:pt x="171" y="11"/>
                  </a:cubicBezTo>
                  <a:cubicBezTo>
                    <a:pt x="170" y="11"/>
                    <a:pt x="169" y="11"/>
                    <a:pt x="168" y="10"/>
                  </a:cubicBezTo>
                  <a:cubicBezTo>
                    <a:pt x="168" y="10"/>
                    <a:pt x="168" y="10"/>
                    <a:pt x="168" y="10"/>
                  </a:cubicBezTo>
                  <a:cubicBezTo>
                    <a:pt x="167" y="9"/>
                    <a:pt x="166" y="9"/>
                    <a:pt x="166" y="8"/>
                  </a:cubicBezTo>
                  <a:cubicBezTo>
                    <a:pt x="165" y="8"/>
                    <a:pt x="165" y="8"/>
                    <a:pt x="165" y="8"/>
                  </a:cubicBezTo>
                  <a:cubicBezTo>
                    <a:pt x="165" y="8"/>
                    <a:pt x="165" y="8"/>
                    <a:pt x="165" y="8"/>
                  </a:cubicBezTo>
                  <a:cubicBezTo>
                    <a:pt x="164" y="7"/>
                    <a:pt x="164" y="7"/>
                    <a:pt x="164" y="7"/>
                  </a:cubicBezTo>
                  <a:cubicBezTo>
                    <a:pt x="163" y="6"/>
                    <a:pt x="163" y="6"/>
                    <a:pt x="163" y="6"/>
                  </a:cubicBezTo>
                  <a:cubicBezTo>
                    <a:pt x="163" y="6"/>
                    <a:pt x="163" y="6"/>
                    <a:pt x="163" y="6"/>
                  </a:cubicBezTo>
                  <a:cubicBezTo>
                    <a:pt x="162" y="6"/>
                    <a:pt x="162" y="6"/>
                    <a:pt x="162" y="6"/>
                  </a:cubicBezTo>
                  <a:cubicBezTo>
                    <a:pt x="162" y="6"/>
                    <a:pt x="162" y="6"/>
                    <a:pt x="162" y="6"/>
                  </a:cubicBezTo>
                  <a:cubicBezTo>
                    <a:pt x="161" y="7"/>
                    <a:pt x="159" y="7"/>
                    <a:pt x="158" y="7"/>
                  </a:cubicBezTo>
                  <a:cubicBezTo>
                    <a:pt x="157" y="7"/>
                    <a:pt x="156" y="7"/>
                    <a:pt x="154" y="6"/>
                  </a:cubicBezTo>
                  <a:cubicBezTo>
                    <a:pt x="154" y="6"/>
                    <a:pt x="153" y="6"/>
                    <a:pt x="153" y="5"/>
                  </a:cubicBezTo>
                  <a:cubicBezTo>
                    <a:pt x="152" y="6"/>
                    <a:pt x="152" y="6"/>
                    <a:pt x="151" y="7"/>
                  </a:cubicBezTo>
                  <a:cubicBezTo>
                    <a:pt x="150" y="7"/>
                    <a:pt x="150" y="7"/>
                    <a:pt x="150" y="7"/>
                  </a:cubicBezTo>
                  <a:cubicBezTo>
                    <a:pt x="149" y="7"/>
                    <a:pt x="148" y="7"/>
                    <a:pt x="147" y="7"/>
                  </a:cubicBezTo>
                  <a:cubicBezTo>
                    <a:pt x="146" y="8"/>
                    <a:pt x="146" y="8"/>
                    <a:pt x="145" y="8"/>
                  </a:cubicBezTo>
                  <a:cubicBezTo>
                    <a:pt x="145" y="8"/>
                    <a:pt x="145" y="8"/>
                    <a:pt x="145" y="8"/>
                  </a:cubicBezTo>
                  <a:cubicBezTo>
                    <a:pt x="145" y="8"/>
                    <a:pt x="145" y="8"/>
                    <a:pt x="145" y="8"/>
                  </a:cubicBezTo>
                  <a:cubicBezTo>
                    <a:pt x="145" y="8"/>
                    <a:pt x="145" y="8"/>
                    <a:pt x="145" y="8"/>
                  </a:cubicBezTo>
                  <a:cubicBezTo>
                    <a:pt x="140" y="6"/>
                    <a:pt x="140" y="6"/>
                    <a:pt x="140" y="6"/>
                  </a:cubicBezTo>
                  <a:cubicBezTo>
                    <a:pt x="140" y="5"/>
                    <a:pt x="140" y="5"/>
                    <a:pt x="140" y="5"/>
                  </a:cubicBezTo>
                  <a:cubicBezTo>
                    <a:pt x="140" y="5"/>
                    <a:pt x="140" y="5"/>
                    <a:pt x="140" y="5"/>
                  </a:cubicBezTo>
                  <a:cubicBezTo>
                    <a:pt x="140" y="5"/>
                    <a:pt x="140" y="5"/>
                    <a:pt x="140" y="5"/>
                  </a:cubicBezTo>
                  <a:cubicBezTo>
                    <a:pt x="140" y="4"/>
                    <a:pt x="140" y="4"/>
                    <a:pt x="140" y="4"/>
                  </a:cubicBezTo>
                  <a:cubicBezTo>
                    <a:pt x="140" y="4"/>
                    <a:pt x="140" y="4"/>
                    <a:pt x="140" y="4"/>
                  </a:cubicBezTo>
                  <a:cubicBezTo>
                    <a:pt x="139" y="5"/>
                    <a:pt x="138" y="5"/>
                    <a:pt x="138" y="6"/>
                  </a:cubicBezTo>
                  <a:cubicBezTo>
                    <a:pt x="137" y="6"/>
                    <a:pt x="137" y="6"/>
                    <a:pt x="136" y="6"/>
                  </a:cubicBezTo>
                  <a:cubicBezTo>
                    <a:pt x="135" y="6"/>
                    <a:pt x="134" y="7"/>
                    <a:pt x="134" y="7"/>
                  </a:cubicBezTo>
                  <a:cubicBezTo>
                    <a:pt x="133" y="7"/>
                    <a:pt x="132" y="7"/>
                    <a:pt x="131" y="8"/>
                  </a:cubicBezTo>
                  <a:cubicBezTo>
                    <a:pt x="130" y="8"/>
                    <a:pt x="128" y="8"/>
                    <a:pt x="127" y="9"/>
                  </a:cubicBezTo>
                  <a:cubicBezTo>
                    <a:pt x="125" y="10"/>
                    <a:pt x="125" y="10"/>
                    <a:pt x="125" y="10"/>
                  </a:cubicBezTo>
                  <a:cubicBezTo>
                    <a:pt x="124" y="8"/>
                    <a:pt x="124" y="8"/>
                    <a:pt x="124" y="8"/>
                  </a:cubicBezTo>
                  <a:cubicBezTo>
                    <a:pt x="123" y="7"/>
                    <a:pt x="121" y="6"/>
                    <a:pt x="120" y="5"/>
                  </a:cubicBezTo>
                  <a:cubicBezTo>
                    <a:pt x="119" y="4"/>
                    <a:pt x="119" y="4"/>
                    <a:pt x="119" y="4"/>
                  </a:cubicBezTo>
                  <a:cubicBezTo>
                    <a:pt x="118" y="3"/>
                    <a:pt x="118" y="3"/>
                    <a:pt x="117" y="2"/>
                  </a:cubicBezTo>
                  <a:cubicBezTo>
                    <a:pt x="116" y="2"/>
                    <a:pt x="115" y="2"/>
                    <a:pt x="114" y="1"/>
                  </a:cubicBezTo>
                  <a:cubicBezTo>
                    <a:pt x="113" y="1"/>
                    <a:pt x="112" y="1"/>
                    <a:pt x="1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210"/>
            <p:cNvSpPr/>
            <p:nvPr/>
          </p:nvSpPr>
          <p:spPr bwMode="auto">
            <a:xfrm flipH="1">
              <a:off x="5748" y="1947"/>
              <a:ext cx="0" cy="2"/>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211"/>
            <p:cNvSpPr/>
            <p:nvPr/>
          </p:nvSpPr>
          <p:spPr bwMode="auto">
            <a:xfrm flipH="1">
              <a:off x="5748" y="1947"/>
              <a:ext cx="0" cy="2"/>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212"/>
            <p:cNvSpPr/>
            <p:nvPr/>
          </p:nvSpPr>
          <p:spPr bwMode="auto">
            <a:xfrm>
              <a:off x="5696" y="1750"/>
              <a:ext cx="359" cy="305"/>
            </a:xfrm>
            <a:custGeom>
              <a:gdLst>
                <a:gd name="T0" fmla="*/ 43 w 152"/>
                <a:gd name="T1" fmla="*/ 8 h 129"/>
                <a:gd name="T2" fmla="*/ 42 w 152"/>
                <a:gd name="T3" fmla="*/ 9 h 129"/>
                <a:gd name="T4" fmla="*/ 41 w 152"/>
                <a:gd name="T5" fmla="*/ 10 h 129"/>
                <a:gd name="T6" fmla="*/ 38 w 152"/>
                <a:gd name="T7" fmla="*/ 11 h 129"/>
                <a:gd name="T8" fmla="*/ 33 w 152"/>
                <a:gd name="T9" fmla="*/ 12 h 129"/>
                <a:gd name="T10" fmla="*/ 30 w 152"/>
                <a:gd name="T11" fmla="*/ 14 h 129"/>
                <a:gd name="T12" fmla="*/ 24 w 152"/>
                <a:gd name="T13" fmla="*/ 19 h 129"/>
                <a:gd name="T14" fmla="*/ 22 w 152"/>
                <a:gd name="T15" fmla="*/ 21 h 129"/>
                <a:gd name="T16" fmla="*/ 9 w 152"/>
                <a:gd name="T17" fmla="*/ 42 h 129"/>
                <a:gd name="T18" fmla="*/ 0 w 152"/>
                <a:gd name="T19" fmla="*/ 73 h 129"/>
                <a:gd name="T20" fmla="*/ 1 w 152"/>
                <a:gd name="T21" fmla="*/ 76 h 129"/>
                <a:gd name="T22" fmla="*/ 1 w 152"/>
                <a:gd name="T23" fmla="*/ 81 h 129"/>
                <a:gd name="T24" fmla="*/ 1 w 152"/>
                <a:gd name="T25" fmla="*/ 84 h 129"/>
                <a:gd name="T26" fmla="*/ 2 w 152"/>
                <a:gd name="T27" fmla="*/ 84 h 129"/>
                <a:gd name="T28" fmla="*/ 8 w 152"/>
                <a:gd name="T29" fmla="*/ 84 h 129"/>
                <a:gd name="T30" fmla="*/ 13 w 152"/>
                <a:gd name="T31" fmla="*/ 82 h 129"/>
                <a:gd name="T32" fmla="*/ 19 w 152"/>
                <a:gd name="T33" fmla="*/ 80 h 129"/>
                <a:gd name="T34" fmla="*/ 22 w 152"/>
                <a:gd name="T35" fmla="*/ 83 h 129"/>
                <a:gd name="T36" fmla="*/ 27 w 152"/>
                <a:gd name="T37" fmla="*/ 74 h 129"/>
                <a:gd name="T38" fmla="*/ 31 w 152"/>
                <a:gd name="T39" fmla="*/ 66 h 129"/>
                <a:gd name="T40" fmla="*/ 35 w 152"/>
                <a:gd name="T41" fmla="*/ 72 h 129"/>
                <a:gd name="T42" fmla="*/ 36 w 152"/>
                <a:gd name="T43" fmla="*/ 73 h 129"/>
                <a:gd name="T44" fmla="*/ 45 w 152"/>
                <a:gd name="T45" fmla="*/ 78 h 129"/>
                <a:gd name="T46" fmla="*/ 50 w 152"/>
                <a:gd name="T47" fmla="*/ 79 h 129"/>
                <a:gd name="T48" fmla="*/ 54 w 152"/>
                <a:gd name="T49" fmla="*/ 78 h 129"/>
                <a:gd name="T50" fmla="*/ 58 w 152"/>
                <a:gd name="T51" fmla="*/ 76 h 129"/>
                <a:gd name="T52" fmla="*/ 60 w 152"/>
                <a:gd name="T53" fmla="*/ 75 h 129"/>
                <a:gd name="T54" fmla="*/ 63 w 152"/>
                <a:gd name="T55" fmla="*/ 75 h 129"/>
                <a:gd name="T56" fmla="*/ 69 w 152"/>
                <a:gd name="T57" fmla="*/ 74 h 129"/>
                <a:gd name="T58" fmla="*/ 65 w 152"/>
                <a:gd name="T59" fmla="*/ 79 h 129"/>
                <a:gd name="T60" fmla="*/ 68 w 152"/>
                <a:gd name="T61" fmla="*/ 79 h 129"/>
                <a:gd name="T62" fmla="*/ 70 w 152"/>
                <a:gd name="T63" fmla="*/ 77 h 129"/>
                <a:gd name="T64" fmla="*/ 78 w 152"/>
                <a:gd name="T65" fmla="*/ 78 h 129"/>
                <a:gd name="T66" fmla="*/ 83 w 152"/>
                <a:gd name="T67" fmla="*/ 77 h 129"/>
                <a:gd name="T68" fmla="*/ 91 w 152"/>
                <a:gd name="T69" fmla="*/ 76 h 129"/>
                <a:gd name="T70" fmla="*/ 91 w 152"/>
                <a:gd name="T71" fmla="*/ 82 h 129"/>
                <a:gd name="T72" fmla="*/ 95 w 152"/>
                <a:gd name="T73" fmla="*/ 84 h 129"/>
                <a:gd name="T74" fmla="*/ 123 w 152"/>
                <a:gd name="T75" fmla="*/ 108 h 129"/>
                <a:gd name="T76" fmla="*/ 144 w 152"/>
                <a:gd name="T77" fmla="*/ 129 h 129"/>
                <a:gd name="T78" fmla="*/ 151 w 152"/>
                <a:gd name="T79" fmla="*/ 119 h 129"/>
                <a:gd name="T80" fmla="*/ 136 w 152"/>
                <a:gd name="T81" fmla="*/ 109 h 129"/>
                <a:gd name="T82" fmla="*/ 107 w 152"/>
                <a:gd name="T83" fmla="*/ 78 h 129"/>
                <a:gd name="T84" fmla="*/ 77 w 152"/>
                <a:gd name="T85" fmla="*/ 57 h 129"/>
                <a:gd name="T86" fmla="*/ 75 w 152"/>
                <a:gd name="T87" fmla="*/ 66 h 129"/>
                <a:gd name="T88" fmla="*/ 68 w 152"/>
                <a:gd name="T89" fmla="*/ 54 h 129"/>
                <a:gd name="T90" fmla="*/ 49 w 152"/>
                <a:gd name="T91" fmla="*/ 0 h 1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2" h="129">
                  <a:moveTo>
                    <a:pt x="49" y="0"/>
                  </a:moveTo>
                  <a:cubicBezTo>
                    <a:pt x="49" y="0"/>
                    <a:pt x="48" y="1"/>
                    <a:pt x="48" y="1"/>
                  </a:cubicBezTo>
                  <a:cubicBezTo>
                    <a:pt x="47" y="3"/>
                    <a:pt x="45" y="6"/>
                    <a:pt x="43" y="8"/>
                  </a:cubicBezTo>
                  <a:cubicBezTo>
                    <a:pt x="43" y="8"/>
                    <a:pt x="43" y="8"/>
                    <a:pt x="43" y="8"/>
                  </a:cubicBezTo>
                  <a:cubicBezTo>
                    <a:pt x="42" y="8"/>
                    <a:pt x="42" y="8"/>
                    <a:pt x="42" y="8"/>
                  </a:cubicBezTo>
                  <a:cubicBezTo>
                    <a:pt x="42" y="9"/>
                    <a:pt x="42" y="9"/>
                    <a:pt x="42" y="9"/>
                  </a:cubicBezTo>
                  <a:cubicBezTo>
                    <a:pt x="42" y="9"/>
                    <a:pt x="42" y="9"/>
                    <a:pt x="42" y="9"/>
                  </a:cubicBezTo>
                  <a:cubicBezTo>
                    <a:pt x="41" y="10"/>
                    <a:pt x="41" y="10"/>
                    <a:pt x="41" y="10"/>
                  </a:cubicBezTo>
                  <a:cubicBezTo>
                    <a:pt x="41" y="10"/>
                    <a:pt x="41" y="10"/>
                    <a:pt x="41" y="10"/>
                  </a:cubicBezTo>
                  <a:cubicBezTo>
                    <a:pt x="41" y="10"/>
                    <a:pt x="41" y="10"/>
                    <a:pt x="41" y="10"/>
                  </a:cubicBezTo>
                  <a:cubicBezTo>
                    <a:pt x="40" y="10"/>
                    <a:pt x="40" y="10"/>
                    <a:pt x="39" y="11"/>
                  </a:cubicBezTo>
                  <a:cubicBezTo>
                    <a:pt x="39" y="11"/>
                    <a:pt x="38" y="11"/>
                    <a:pt x="38" y="11"/>
                  </a:cubicBezTo>
                  <a:cubicBezTo>
                    <a:pt x="37" y="11"/>
                    <a:pt x="37" y="11"/>
                    <a:pt x="37" y="11"/>
                  </a:cubicBezTo>
                  <a:cubicBezTo>
                    <a:pt x="36" y="11"/>
                    <a:pt x="35" y="11"/>
                    <a:pt x="34" y="11"/>
                  </a:cubicBezTo>
                  <a:cubicBezTo>
                    <a:pt x="34" y="12"/>
                    <a:pt x="34" y="12"/>
                    <a:pt x="33" y="12"/>
                  </a:cubicBezTo>
                  <a:cubicBezTo>
                    <a:pt x="33" y="12"/>
                    <a:pt x="33" y="12"/>
                    <a:pt x="33" y="12"/>
                  </a:cubicBezTo>
                  <a:cubicBezTo>
                    <a:pt x="32" y="13"/>
                    <a:pt x="31" y="13"/>
                    <a:pt x="31" y="14"/>
                  </a:cubicBezTo>
                  <a:cubicBezTo>
                    <a:pt x="30" y="14"/>
                    <a:pt x="30" y="14"/>
                    <a:pt x="30" y="14"/>
                  </a:cubicBezTo>
                  <a:cubicBezTo>
                    <a:pt x="28" y="15"/>
                    <a:pt x="26" y="16"/>
                    <a:pt x="25" y="17"/>
                  </a:cubicBezTo>
                  <a:cubicBezTo>
                    <a:pt x="25" y="18"/>
                    <a:pt x="25" y="18"/>
                    <a:pt x="25" y="18"/>
                  </a:cubicBezTo>
                  <a:cubicBezTo>
                    <a:pt x="24" y="19"/>
                    <a:pt x="24" y="19"/>
                    <a:pt x="24" y="19"/>
                  </a:cubicBezTo>
                  <a:cubicBezTo>
                    <a:pt x="23" y="19"/>
                    <a:pt x="23" y="19"/>
                    <a:pt x="23" y="19"/>
                  </a:cubicBezTo>
                  <a:cubicBezTo>
                    <a:pt x="23" y="20"/>
                    <a:pt x="23" y="20"/>
                    <a:pt x="23" y="20"/>
                  </a:cubicBezTo>
                  <a:cubicBezTo>
                    <a:pt x="22" y="21"/>
                    <a:pt x="22" y="21"/>
                    <a:pt x="22" y="21"/>
                  </a:cubicBezTo>
                  <a:cubicBezTo>
                    <a:pt x="21" y="22"/>
                    <a:pt x="19" y="23"/>
                    <a:pt x="16" y="23"/>
                  </a:cubicBezTo>
                  <a:cubicBezTo>
                    <a:pt x="15" y="23"/>
                    <a:pt x="14" y="23"/>
                    <a:pt x="12" y="22"/>
                  </a:cubicBezTo>
                  <a:cubicBezTo>
                    <a:pt x="12" y="29"/>
                    <a:pt x="12" y="35"/>
                    <a:pt x="9" y="42"/>
                  </a:cubicBezTo>
                  <a:cubicBezTo>
                    <a:pt x="8" y="45"/>
                    <a:pt x="7" y="48"/>
                    <a:pt x="6" y="50"/>
                  </a:cubicBezTo>
                  <a:cubicBezTo>
                    <a:pt x="3" y="56"/>
                    <a:pt x="1" y="61"/>
                    <a:pt x="0" y="66"/>
                  </a:cubicBezTo>
                  <a:cubicBezTo>
                    <a:pt x="0" y="68"/>
                    <a:pt x="0" y="71"/>
                    <a:pt x="0" y="73"/>
                  </a:cubicBezTo>
                  <a:cubicBezTo>
                    <a:pt x="0" y="73"/>
                    <a:pt x="0" y="73"/>
                    <a:pt x="0" y="73"/>
                  </a:cubicBezTo>
                  <a:cubicBezTo>
                    <a:pt x="0" y="74"/>
                    <a:pt x="1" y="75"/>
                    <a:pt x="1" y="76"/>
                  </a:cubicBezTo>
                  <a:cubicBezTo>
                    <a:pt x="1" y="76"/>
                    <a:pt x="1" y="76"/>
                    <a:pt x="1" y="76"/>
                  </a:cubicBezTo>
                  <a:cubicBezTo>
                    <a:pt x="1" y="77"/>
                    <a:pt x="1" y="78"/>
                    <a:pt x="1" y="80"/>
                  </a:cubicBezTo>
                  <a:cubicBezTo>
                    <a:pt x="1" y="80"/>
                    <a:pt x="1" y="80"/>
                    <a:pt x="1" y="80"/>
                  </a:cubicBezTo>
                  <a:cubicBezTo>
                    <a:pt x="1" y="81"/>
                    <a:pt x="1" y="81"/>
                    <a:pt x="1" y="81"/>
                  </a:cubicBezTo>
                  <a:cubicBezTo>
                    <a:pt x="1" y="82"/>
                    <a:pt x="1" y="82"/>
                    <a:pt x="1" y="82"/>
                  </a:cubicBezTo>
                  <a:cubicBezTo>
                    <a:pt x="1" y="83"/>
                    <a:pt x="1" y="83"/>
                    <a:pt x="1" y="83"/>
                  </a:cubicBezTo>
                  <a:cubicBezTo>
                    <a:pt x="1" y="84"/>
                    <a:pt x="1" y="84"/>
                    <a:pt x="1" y="84"/>
                  </a:cubicBezTo>
                  <a:cubicBezTo>
                    <a:pt x="1" y="84"/>
                    <a:pt x="1" y="84"/>
                    <a:pt x="1" y="84"/>
                  </a:cubicBezTo>
                  <a:cubicBezTo>
                    <a:pt x="1" y="84"/>
                    <a:pt x="1" y="84"/>
                    <a:pt x="1" y="84"/>
                  </a:cubicBezTo>
                  <a:cubicBezTo>
                    <a:pt x="1" y="84"/>
                    <a:pt x="1" y="84"/>
                    <a:pt x="2" y="84"/>
                  </a:cubicBezTo>
                  <a:cubicBezTo>
                    <a:pt x="2" y="84"/>
                    <a:pt x="2" y="84"/>
                    <a:pt x="3" y="84"/>
                  </a:cubicBezTo>
                  <a:cubicBezTo>
                    <a:pt x="5" y="84"/>
                    <a:pt x="5" y="84"/>
                    <a:pt x="5" y="84"/>
                  </a:cubicBezTo>
                  <a:cubicBezTo>
                    <a:pt x="6" y="84"/>
                    <a:pt x="7" y="84"/>
                    <a:pt x="8" y="84"/>
                  </a:cubicBezTo>
                  <a:cubicBezTo>
                    <a:pt x="8" y="84"/>
                    <a:pt x="8" y="84"/>
                    <a:pt x="8" y="84"/>
                  </a:cubicBezTo>
                  <a:cubicBezTo>
                    <a:pt x="9" y="84"/>
                    <a:pt x="10" y="84"/>
                    <a:pt x="11" y="84"/>
                  </a:cubicBezTo>
                  <a:cubicBezTo>
                    <a:pt x="11" y="84"/>
                    <a:pt x="12" y="83"/>
                    <a:pt x="13" y="82"/>
                  </a:cubicBezTo>
                  <a:cubicBezTo>
                    <a:pt x="14" y="81"/>
                    <a:pt x="15" y="80"/>
                    <a:pt x="16" y="80"/>
                  </a:cubicBezTo>
                  <a:cubicBezTo>
                    <a:pt x="18" y="78"/>
                    <a:pt x="18" y="78"/>
                    <a:pt x="18" y="78"/>
                  </a:cubicBezTo>
                  <a:cubicBezTo>
                    <a:pt x="19" y="80"/>
                    <a:pt x="19" y="80"/>
                    <a:pt x="19" y="80"/>
                  </a:cubicBezTo>
                  <a:cubicBezTo>
                    <a:pt x="20" y="81"/>
                    <a:pt x="20" y="82"/>
                    <a:pt x="21" y="82"/>
                  </a:cubicBezTo>
                  <a:cubicBezTo>
                    <a:pt x="21" y="83"/>
                    <a:pt x="21" y="83"/>
                    <a:pt x="21" y="83"/>
                  </a:cubicBezTo>
                  <a:cubicBezTo>
                    <a:pt x="22" y="83"/>
                    <a:pt x="22" y="83"/>
                    <a:pt x="22" y="83"/>
                  </a:cubicBezTo>
                  <a:cubicBezTo>
                    <a:pt x="22" y="83"/>
                    <a:pt x="22" y="83"/>
                    <a:pt x="22" y="83"/>
                  </a:cubicBezTo>
                  <a:cubicBezTo>
                    <a:pt x="22" y="82"/>
                    <a:pt x="22" y="82"/>
                    <a:pt x="22" y="82"/>
                  </a:cubicBezTo>
                  <a:cubicBezTo>
                    <a:pt x="24" y="80"/>
                    <a:pt x="26" y="76"/>
                    <a:pt x="27" y="74"/>
                  </a:cubicBezTo>
                  <a:cubicBezTo>
                    <a:pt x="27" y="74"/>
                    <a:pt x="27" y="74"/>
                    <a:pt x="27" y="74"/>
                  </a:cubicBezTo>
                  <a:cubicBezTo>
                    <a:pt x="28" y="73"/>
                    <a:pt x="28" y="73"/>
                    <a:pt x="28" y="73"/>
                  </a:cubicBezTo>
                  <a:cubicBezTo>
                    <a:pt x="31" y="66"/>
                    <a:pt x="31" y="66"/>
                    <a:pt x="31" y="66"/>
                  </a:cubicBezTo>
                  <a:cubicBezTo>
                    <a:pt x="34" y="70"/>
                    <a:pt x="34" y="70"/>
                    <a:pt x="34" y="70"/>
                  </a:cubicBezTo>
                  <a:cubicBezTo>
                    <a:pt x="34" y="71"/>
                    <a:pt x="34" y="71"/>
                    <a:pt x="34" y="71"/>
                  </a:cubicBezTo>
                  <a:cubicBezTo>
                    <a:pt x="35" y="72"/>
                    <a:pt x="35" y="72"/>
                    <a:pt x="35" y="72"/>
                  </a:cubicBezTo>
                  <a:cubicBezTo>
                    <a:pt x="35" y="72"/>
                    <a:pt x="35" y="72"/>
                    <a:pt x="35" y="72"/>
                  </a:cubicBezTo>
                  <a:cubicBezTo>
                    <a:pt x="36" y="73"/>
                    <a:pt x="36" y="73"/>
                    <a:pt x="36" y="73"/>
                  </a:cubicBezTo>
                  <a:cubicBezTo>
                    <a:pt x="36" y="73"/>
                    <a:pt x="36" y="73"/>
                    <a:pt x="36" y="73"/>
                  </a:cubicBezTo>
                  <a:cubicBezTo>
                    <a:pt x="37" y="73"/>
                    <a:pt x="38" y="74"/>
                    <a:pt x="38" y="74"/>
                  </a:cubicBezTo>
                  <a:cubicBezTo>
                    <a:pt x="40" y="74"/>
                    <a:pt x="42" y="75"/>
                    <a:pt x="44" y="77"/>
                  </a:cubicBezTo>
                  <a:cubicBezTo>
                    <a:pt x="45" y="78"/>
                    <a:pt x="45" y="78"/>
                    <a:pt x="45" y="78"/>
                  </a:cubicBezTo>
                  <a:cubicBezTo>
                    <a:pt x="45" y="78"/>
                    <a:pt x="46" y="79"/>
                    <a:pt x="46" y="79"/>
                  </a:cubicBezTo>
                  <a:cubicBezTo>
                    <a:pt x="46" y="80"/>
                    <a:pt x="46" y="80"/>
                    <a:pt x="46" y="80"/>
                  </a:cubicBezTo>
                  <a:cubicBezTo>
                    <a:pt x="47" y="79"/>
                    <a:pt x="49" y="79"/>
                    <a:pt x="50" y="79"/>
                  </a:cubicBezTo>
                  <a:cubicBezTo>
                    <a:pt x="51" y="79"/>
                    <a:pt x="51" y="79"/>
                    <a:pt x="52" y="78"/>
                  </a:cubicBezTo>
                  <a:cubicBezTo>
                    <a:pt x="52" y="78"/>
                    <a:pt x="53" y="78"/>
                    <a:pt x="53" y="78"/>
                  </a:cubicBezTo>
                  <a:cubicBezTo>
                    <a:pt x="54" y="78"/>
                    <a:pt x="54" y="78"/>
                    <a:pt x="54" y="78"/>
                  </a:cubicBezTo>
                  <a:cubicBezTo>
                    <a:pt x="55" y="77"/>
                    <a:pt x="55" y="77"/>
                    <a:pt x="55" y="77"/>
                  </a:cubicBezTo>
                  <a:cubicBezTo>
                    <a:pt x="56" y="77"/>
                    <a:pt x="56" y="77"/>
                    <a:pt x="57" y="76"/>
                  </a:cubicBezTo>
                  <a:cubicBezTo>
                    <a:pt x="57" y="76"/>
                    <a:pt x="58" y="76"/>
                    <a:pt x="58" y="76"/>
                  </a:cubicBezTo>
                  <a:cubicBezTo>
                    <a:pt x="59" y="75"/>
                    <a:pt x="59" y="75"/>
                    <a:pt x="59" y="75"/>
                  </a:cubicBezTo>
                  <a:cubicBezTo>
                    <a:pt x="59" y="75"/>
                    <a:pt x="60" y="75"/>
                    <a:pt x="60" y="75"/>
                  </a:cubicBezTo>
                  <a:cubicBezTo>
                    <a:pt x="60" y="75"/>
                    <a:pt x="60" y="75"/>
                    <a:pt x="60" y="75"/>
                  </a:cubicBezTo>
                  <a:cubicBezTo>
                    <a:pt x="61" y="75"/>
                    <a:pt x="61" y="75"/>
                    <a:pt x="61" y="75"/>
                  </a:cubicBezTo>
                  <a:cubicBezTo>
                    <a:pt x="61" y="75"/>
                    <a:pt x="61" y="75"/>
                    <a:pt x="61" y="75"/>
                  </a:cubicBezTo>
                  <a:cubicBezTo>
                    <a:pt x="62" y="75"/>
                    <a:pt x="62" y="75"/>
                    <a:pt x="63" y="75"/>
                  </a:cubicBezTo>
                  <a:cubicBezTo>
                    <a:pt x="63" y="76"/>
                    <a:pt x="63" y="76"/>
                    <a:pt x="63" y="76"/>
                  </a:cubicBezTo>
                  <a:cubicBezTo>
                    <a:pt x="64" y="76"/>
                    <a:pt x="64" y="76"/>
                    <a:pt x="64" y="77"/>
                  </a:cubicBezTo>
                  <a:cubicBezTo>
                    <a:pt x="69" y="74"/>
                    <a:pt x="69" y="74"/>
                    <a:pt x="69" y="74"/>
                  </a:cubicBezTo>
                  <a:cubicBezTo>
                    <a:pt x="65" y="78"/>
                    <a:pt x="65" y="78"/>
                    <a:pt x="65" y="78"/>
                  </a:cubicBezTo>
                  <a:cubicBezTo>
                    <a:pt x="65" y="78"/>
                    <a:pt x="65" y="78"/>
                    <a:pt x="65" y="78"/>
                  </a:cubicBezTo>
                  <a:cubicBezTo>
                    <a:pt x="65" y="79"/>
                    <a:pt x="65" y="79"/>
                    <a:pt x="65" y="79"/>
                  </a:cubicBezTo>
                  <a:cubicBezTo>
                    <a:pt x="66" y="79"/>
                    <a:pt x="66" y="79"/>
                    <a:pt x="66" y="79"/>
                  </a:cubicBezTo>
                  <a:cubicBezTo>
                    <a:pt x="67" y="79"/>
                    <a:pt x="67" y="79"/>
                    <a:pt x="67" y="79"/>
                  </a:cubicBezTo>
                  <a:cubicBezTo>
                    <a:pt x="67" y="79"/>
                    <a:pt x="68" y="79"/>
                    <a:pt x="68" y="79"/>
                  </a:cubicBezTo>
                  <a:cubicBezTo>
                    <a:pt x="69" y="78"/>
                    <a:pt x="69" y="78"/>
                    <a:pt x="69" y="78"/>
                  </a:cubicBezTo>
                  <a:cubicBezTo>
                    <a:pt x="69" y="78"/>
                    <a:pt x="69" y="78"/>
                    <a:pt x="69" y="78"/>
                  </a:cubicBezTo>
                  <a:cubicBezTo>
                    <a:pt x="70" y="78"/>
                    <a:pt x="70" y="78"/>
                    <a:pt x="70" y="77"/>
                  </a:cubicBezTo>
                  <a:cubicBezTo>
                    <a:pt x="71" y="77"/>
                    <a:pt x="72" y="76"/>
                    <a:pt x="73" y="76"/>
                  </a:cubicBezTo>
                  <a:cubicBezTo>
                    <a:pt x="73" y="76"/>
                    <a:pt x="74" y="77"/>
                    <a:pt x="75" y="77"/>
                  </a:cubicBezTo>
                  <a:cubicBezTo>
                    <a:pt x="75" y="77"/>
                    <a:pt x="76" y="78"/>
                    <a:pt x="78" y="78"/>
                  </a:cubicBezTo>
                  <a:cubicBezTo>
                    <a:pt x="78" y="78"/>
                    <a:pt x="78" y="78"/>
                    <a:pt x="78" y="78"/>
                  </a:cubicBezTo>
                  <a:cubicBezTo>
                    <a:pt x="78" y="78"/>
                    <a:pt x="79" y="78"/>
                    <a:pt x="80" y="78"/>
                  </a:cubicBezTo>
                  <a:cubicBezTo>
                    <a:pt x="80" y="78"/>
                    <a:pt x="82" y="77"/>
                    <a:pt x="83" y="77"/>
                  </a:cubicBezTo>
                  <a:cubicBezTo>
                    <a:pt x="84" y="77"/>
                    <a:pt x="85" y="77"/>
                    <a:pt x="86" y="78"/>
                  </a:cubicBezTo>
                  <a:cubicBezTo>
                    <a:pt x="88" y="80"/>
                    <a:pt x="88" y="80"/>
                    <a:pt x="88" y="80"/>
                  </a:cubicBezTo>
                  <a:cubicBezTo>
                    <a:pt x="91" y="76"/>
                    <a:pt x="91" y="76"/>
                    <a:pt x="91" y="76"/>
                  </a:cubicBezTo>
                  <a:cubicBezTo>
                    <a:pt x="89" y="80"/>
                    <a:pt x="89" y="80"/>
                    <a:pt x="89" y="80"/>
                  </a:cubicBezTo>
                  <a:cubicBezTo>
                    <a:pt x="90" y="81"/>
                    <a:pt x="90" y="81"/>
                    <a:pt x="90" y="81"/>
                  </a:cubicBezTo>
                  <a:cubicBezTo>
                    <a:pt x="90" y="81"/>
                    <a:pt x="90" y="82"/>
                    <a:pt x="91" y="82"/>
                  </a:cubicBezTo>
                  <a:cubicBezTo>
                    <a:pt x="92" y="82"/>
                    <a:pt x="92" y="83"/>
                    <a:pt x="93" y="83"/>
                  </a:cubicBezTo>
                  <a:cubicBezTo>
                    <a:pt x="93" y="83"/>
                    <a:pt x="94" y="83"/>
                    <a:pt x="95" y="84"/>
                  </a:cubicBezTo>
                  <a:cubicBezTo>
                    <a:pt x="95" y="84"/>
                    <a:pt x="95" y="84"/>
                    <a:pt x="95" y="84"/>
                  </a:cubicBezTo>
                  <a:cubicBezTo>
                    <a:pt x="98" y="85"/>
                    <a:pt x="101" y="86"/>
                    <a:pt x="103" y="88"/>
                  </a:cubicBezTo>
                  <a:cubicBezTo>
                    <a:pt x="109" y="93"/>
                    <a:pt x="114" y="99"/>
                    <a:pt x="119" y="105"/>
                  </a:cubicBezTo>
                  <a:cubicBezTo>
                    <a:pt x="123" y="108"/>
                    <a:pt x="123" y="108"/>
                    <a:pt x="123" y="108"/>
                  </a:cubicBezTo>
                  <a:cubicBezTo>
                    <a:pt x="126" y="111"/>
                    <a:pt x="128" y="114"/>
                    <a:pt x="131" y="117"/>
                  </a:cubicBezTo>
                  <a:cubicBezTo>
                    <a:pt x="139" y="128"/>
                    <a:pt x="139" y="128"/>
                    <a:pt x="139" y="128"/>
                  </a:cubicBezTo>
                  <a:cubicBezTo>
                    <a:pt x="141" y="129"/>
                    <a:pt x="143" y="129"/>
                    <a:pt x="144" y="129"/>
                  </a:cubicBezTo>
                  <a:cubicBezTo>
                    <a:pt x="146" y="127"/>
                    <a:pt x="150" y="123"/>
                    <a:pt x="152" y="122"/>
                  </a:cubicBezTo>
                  <a:cubicBezTo>
                    <a:pt x="152" y="122"/>
                    <a:pt x="152" y="121"/>
                    <a:pt x="152" y="121"/>
                  </a:cubicBezTo>
                  <a:cubicBezTo>
                    <a:pt x="152" y="121"/>
                    <a:pt x="151" y="120"/>
                    <a:pt x="151" y="119"/>
                  </a:cubicBezTo>
                  <a:cubicBezTo>
                    <a:pt x="150" y="120"/>
                    <a:pt x="149" y="121"/>
                    <a:pt x="148" y="121"/>
                  </a:cubicBezTo>
                  <a:cubicBezTo>
                    <a:pt x="144" y="121"/>
                    <a:pt x="141" y="112"/>
                    <a:pt x="136" y="112"/>
                  </a:cubicBezTo>
                  <a:cubicBezTo>
                    <a:pt x="136" y="111"/>
                    <a:pt x="136" y="110"/>
                    <a:pt x="136" y="109"/>
                  </a:cubicBezTo>
                  <a:cubicBezTo>
                    <a:pt x="134" y="104"/>
                    <a:pt x="131" y="100"/>
                    <a:pt x="127" y="97"/>
                  </a:cubicBezTo>
                  <a:cubicBezTo>
                    <a:pt x="125" y="95"/>
                    <a:pt x="121" y="95"/>
                    <a:pt x="120" y="94"/>
                  </a:cubicBezTo>
                  <a:cubicBezTo>
                    <a:pt x="115" y="89"/>
                    <a:pt x="112" y="81"/>
                    <a:pt x="107" y="78"/>
                  </a:cubicBezTo>
                  <a:cubicBezTo>
                    <a:pt x="103" y="75"/>
                    <a:pt x="99" y="73"/>
                    <a:pt x="95" y="71"/>
                  </a:cubicBezTo>
                  <a:cubicBezTo>
                    <a:pt x="92" y="69"/>
                    <a:pt x="86" y="71"/>
                    <a:pt x="84" y="69"/>
                  </a:cubicBezTo>
                  <a:cubicBezTo>
                    <a:pt x="81" y="66"/>
                    <a:pt x="80" y="60"/>
                    <a:pt x="77" y="57"/>
                  </a:cubicBezTo>
                  <a:cubicBezTo>
                    <a:pt x="76" y="58"/>
                    <a:pt x="75" y="59"/>
                    <a:pt x="75" y="60"/>
                  </a:cubicBezTo>
                  <a:cubicBezTo>
                    <a:pt x="75" y="62"/>
                    <a:pt x="77" y="63"/>
                    <a:pt x="77" y="64"/>
                  </a:cubicBezTo>
                  <a:cubicBezTo>
                    <a:pt x="77" y="65"/>
                    <a:pt x="76" y="66"/>
                    <a:pt x="75" y="66"/>
                  </a:cubicBezTo>
                  <a:cubicBezTo>
                    <a:pt x="74" y="66"/>
                    <a:pt x="74" y="66"/>
                    <a:pt x="73" y="65"/>
                  </a:cubicBezTo>
                  <a:cubicBezTo>
                    <a:pt x="73" y="65"/>
                    <a:pt x="74" y="64"/>
                    <a:pt x="74" y="63"/>
                  </a:cubicBezTo>
                  <a:cubicBezTo>
                    <a:pt x="73" y="61"/>
                    <a:pt x="66" y="56"/>
                    <a:pt x="68" y="54"/>
                  </a:cubicBezTo>
                  <a:cubicBezTo>
                    <a:pt x="67" y="50"/>
                    <a:pt x="63" y="46"/>
                    <a:pt x="62" y="42"/>
                  </a:cubicBezTo>
                  <a:cubicBezTo>
                    <a:pt x="61" y="37"/>
                    <a:pt x="61" y="31"/>
                    <a:pt x="60" y="27"/>
                  </a:cubicBezTo>
                  <a:cubicBezTo>
                    <a:pt x="58" y="17"/>
                    <a:pt x="53" y="9"/>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213"/>
            <p:cNvSpPr/>
            <p:nvPr/>
          </p:nvSpPr>
          <p:spPr bwMode="auto">
            <a:xfrm>
              <a:off x="5946" y="2084"/>
              <a:ext cx="574" cy="756"/>
            </a:xfrm>
            <a:custGeom>
              <a:gdLst>
                <a:gd name="T0" fmla="*/ 224 w 243"/>
                <a:gd name="T1" fmla="*/ 2 h 320"/>
                <a:gd name="T2" fmla="*/ 206 w 243"/>
                <a:gd name="T3" fmla="*/ 11 h 320"/>
                <a:gd name="T4" fmla="*/ 151 w 243"/>
                <a:gd name="T5" fmla="*/ 19 h 320"/>
                <a:gd name="T6" fmla="*/ 138 w 243"/>
                <a:gd name="T7" fmla="*/ 26 h 320"/>
                <a:gd name="T8" fmla="*/ 124 w 243"/>
                <a:gd name="T9" fmla="*/ 31 h 320"/>
                <a:gd name="T10" fmla="*/ 114 w 243"/>
                <a:gd name="T11" fmla="*/ 28 h 320"/>
                <a:gd name="T12" fmla="*/ 92 w 243"/>
                <a:gd name="T13" fmla="*/ 37 h 320"/>
                <a:gd name="T14" fmla="*/ 81 w 243"/>
                <a:gd name="T15" fmla="*/ 38 h 320"/>
                <a:gd name="T16" fmla="*/ 60 w 243"/>
                <a:gd name="T17" fmla="*/ 24 h 320"/>
                <a:gd name="T18" fmla="*/ 53 w 243"/>
                <a:gd name="T19" fmla="*/ 14 h 320"/>
                <a:gd name="T20" fmla="*/ 49 w 243"/>
                <a:gd name="T21" fmla="*/ 22 h 320"/>
                <a:gd name="T22" fmla="*/ 43 w 243"/>
                <a:gd name="T23" fmla="*/ 30 h 320"/>
                <a:gd name="T24" fmla="*/ 40 w 243"/>
                <a:gd name="T25" fmla="*/ 33 h 320"/>
                <a:gd name="T26" fmla="*/ 42 w 243"/>
                <a:gd name="T27" fmla="*/ 35 h 320"/>
                <a:gd name="T28" fmla="*/ 50 w 243"/>
                <a:gd name="T29" fmla="*/ 48 h 320"/>
                <a:gd name="T30" fmla="*/ 53 w 243"/>
                <a:gd name="T31" fmla="*/ 52 h 320"/>
                <a:gd name="T32" fmla="*/ 65 w 243"/>
                <a:gd name="T33" fmla="*/ 64 h 320"/>
                <a:gd name="T34" fmla="*/ 70 w 243"/>
                <a:gd name="T35" fmla="*/ 68 h 320"/>
                <a:gd name="T36" fmla="*/ 84 w 243"/>
                <a:gd name="T37" fmla="*/ 73 h 320"/>
                <a:gd name="T38" fmla="*/ 127 w 243"/>
                <a:gd name="T39" fmla="*/ 88 h 320"/>
                <a:gd name="T40" fmla="*/ 140 w 243"/>
                <a:gd name="T41" fmla="*/ 92 h 320"/>
                <a:gd name="T42" fmla="*/ 146 w 243"/>
                <a:gd name="T43" fmla="*/ 93 h 320"/>
                <a:gd name="T44" fmla="*/ 148 w 243"/>
                <a:gd name="T45" fmla="*/ 93 h 320"/>
                <a:gd name="T46" fmla="*/ 155 w 243"/>
                <a:gd name="T47" fmla="*/ 92 h 320"/>
                <a:gd name="T48" fmla="*/ 170 w 243"/>
                <a:gd name="T49" fmla="*/ 92 h 320"/>
                <a:gd name="T50" fmla="*/ 149 w 243"/>
                <a:gd name="T51" fmla="*/ 112 h 320"/>
                <a:gd name="T52" fmla="*/ 106 w 243"/>
                <a:gd name="T53" fmla="*/ 156 h 320"/>
                <a:gd name="T54" fmla="*/ 103 w 243"/>
                <a:gd name="T55" fmla="*/ 160 h 320"/>
                <a:gd name="T56" fmla="*/ 99 w 243"/>
                <a:gd name="T57" fmla="*/ 164 h 320"/>
                <a:gd name="T58" fmla="*/ 93 w 243"/>
                <a:gd name="T59" fmla="*/ 169 h 320"/>
                <a:gd name="T60" fmla="*/ 89 w 243"/>
                <a:gd name="T61" fmla="*/ 170 h 320"/>
                <a:gd name="T62" fmla="*/ 87 w 243"/>
                <a:gd name="T63" fmla="*/ 171 h 320"/>
                <a:gd name="T64" fmla="*/ 82 w 243"/>
                <a:gd name="T65" fmla="*/ 170 h 320"/>
                <a:gd name="T66" fmla="*/ 80 w 243"/>
                <a:gd name="T67" fmla="*/ 170 h 320"/>
                <a:gd name="T68" fmla="*/ 75 w 243"/>
                <a:gd name="T69" fmla="*/ 170 h 320"/>
                <a:gd name="T70" fmla="*/ 72 w 243"/>
                <a:gd name="T71" fmla="*/ 170 h 320"/>
                <a:gd name="T72" fmla="*/ 70 w 243"/>
                <a:gd name="T73" fmla="*/ 170 h 320"/>
                <a:gd name="T74" fmla="*/ 63 w 243"/>
                <a:gd name="T75" fmla="*/ 171 h 320"/>
                <a:gd name="T76" fmla="*/ 42 w 243"/>
                <a:gd name="T77" fmla="*/ 184 h 320"/>
                <a:gd name="T78" fmla="*/ 32 w 243"/>
                <a:gd name="T79" fmla="*/ 187 h 320"/>
                <a:gd name="T80" fmla="*/ 26 w 243"/>
                <a:gd name="T81" fmla="*/ 187 h 320"/>
                <a:gd name="T82" fmla="*/ 22 w 243"/>
                <a:gd name="T83" fmla="*/ 191 h 320"/>
                <a:gd name="T84" fmla="*/ 8 w 243"/>
                <a:gd name="T85" fmla="*/ 209 h 320"/>
                <a:gd name="T86" fmla="*/ 6 w 243"/>
                <a:gd name="T87" fmla="*/ 211 h 320"/>
                <a:gd name="T88" fmla="*/ 1 w 243"/>
                <a:gd name="T89" fmla="*/ 217 h 320"/>
                <a:gd name="T90" fmla="*/ 0 w 243"/>
                <a:gd name="T91" fmla="*/ 222 h 320"/>
                <a:gd name="T92" fmla="*/ 1 w 243"/>
                <a:gd name="T93" fmla="*/ 225 h 320"/>
                <a:gd name="T94" fmla="*/ 1 w 243"/>
                <a:gd name="T95" fmla="*/ 259 h 320"/>
                <a:gd name="T96" fmla="*/ 1 w 243"/>
                <a:gd name="T97" fmla="*/ 288 h 320"/>
                <a:gd name="T98" fmla="*/ 1 w 243"/>
                <a:gd name="T99" fmla="*/ 303 h 320"/>
                <a:gd name="T100" fmla="*/ 7 w 243"/>
                <a:gd name="T101" fmla="*/ 312 h 320"/>
                <a:gd name="T102" fmla="*/ 13 w 243"/>
                <a:gd name="T103" fmla="*/ 320 h 320"/>
                <a:gd name="T104" fmla="*/ 20 w 243"/>
                <a:gd name="T105" fmla="*/ 306 h 320"/>
                <a:gd name="T106" fmla="*/ 84 w 243"/>
                <a:gd name="T107" fmla="*/ 247 h 320"/>
                <a:gd name="T108" fmla="*/ 127 w 243"/>
                <a:gd name="T109" fmla="*/ 213 h 320"/>
                <a:gd name="T110" fmla="*/ 182 w 243"/>
                <a:gd name="T111" fmla="*/ 147 h 320"/>
                <a:gd name="T112" fmla="*/ 204 w 243"/>
                <a:gd name="T113" fmla="*/ 101 h 320"/>
                <a:gd name="T114" fmla="*/ 223 w 243"/>
                <a:gd name="T115" fmla="*/ 71 h 320"/>
                <a:gd name="T116" fmla="*/ 230 w 243"/>
                <a:gd name="T117" fmla="*/ 49 h 320"/>
                <a:gd name="T118" fmla="*/ 243 w 243"/>
                <a:gd name="T119" fmla="*/ 37 h 320"/>
                <a:gd name="T120" fmla="*/ 235 w 243"/>
                <a:gd name="T121" fmla="*/ 36 h 320"/>
                <a:gd name="T122" fmla="*/ 236 w 243"/>
                <a:gd name="T123" fmla="*/ 31 h 320"/>
                <a:gd name="T124" fmla="*/ 240 w 243"/>
                <a:gd name="T125" fmla="*/ 4 h 3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3" h="320">
                  <a:moveTo>
                    <a:pt x="228" y="0"/>
                  </a:moveTo>
                  <a:cubicBezTo>
                    <a:pt x="226" y="0"/>
                    <a:pt x="225" y="1"/>
                    <a:pt x="224" y="2"/>
                  </a:cubicBezTo>
                  <a:cubicBezTo>
                    <a:pt x="222" y="3"/>
                    <a:pt x="223" y="4"/>
                    <a:pt x="222" y="5"/>
                  </a:cubicBezTo>
                  <a:cubicBezTo>
                    <a:pt x="219" y="8"/>
                    <a:pt x="210" y="9"/>
                    <a:pt x="206" y="11"/>
                  </a:cubicBezTo>
                  <a:cubicBezTo>
                    <a:pt x="199" y="13"/>
                    <a:pt x="191" y="15"/>
                    <a:pt x="183" y="18"/>
                  </a:cubicBezTo>
                  <a:cubicBezTo>
                    <a:pt x="173" y="18"/>
                    <a:pt x="162" y="19"/>
                    <a:pt x="151" y="19"/>
                  </a:cubicBezTo>
                  <a:cubicBezTo>
                    <a:pt x="148" y="19"/>
                    <a:pt x="145" y="21"/>
                    <a:pt x="142" y="23"/>
                  </a:cubicBezTo>
                  <a:cubicBezTo>
                    <a:pt x="141" y="24"/>
                    <a:pt x="140" y="25"/>
                    <a:pt x="138" y="26"/>
                  </a:cubicBezTo>
                  <a:cubicBezTo>
                    <a:pt x="134" y="27"/>
                    <a:pt x="129" y="31"/>
                    <a:pt x="125" y="31"/>
                  </a:cubicBezTo>
                  <a:cubicBezTo>
                    <a:pt x="125" y="31"/>
                    <a:pt x="124" y="31"/>
                    <a:pt x="124" y="31"/>
                  </a:cubicBezTo>
                  <a:cubicBezTo>
                    <a:pt x="123" y="31"/>
                    <a:pt x="122" y="29"/>
                    <a:pt x="120" y="29"/>
                  </a:cubicBezTo>
                  <a:cubicBezTo>
                    <a:pt x="119" y="28"/>
                    <a:pt x="116" y="28"/>
                    <a:pt x="114" y="28"/>
                  </a:cubicBezTo>
                  <a:cubicBezTo>
                    <a:pt x="113" y="28"/>
                    <a:pt x="113" y="28"/>
                    <a:pt x="112" y="28"/>
                  </a:cubicBezTo>
                  <a:cubicBezTo>
                    <a:pt x="106" y="31"/>
                    <a:pt x="99" y="34"/>
                    <a:pt x="92" y="37"/>
                  </a:cubicBezTo>
                  <a:cubicBezTo>
                    <a:pt x="90" y="38"/>
                    <a:pt x="85" y="37"/>
                    <a:pt x="82" y="38"/>
                  </a:cubicBezTo>
                  <a:cubicBezTo>
                    <a:pt x="81" y="38"/>
                    <a:pt x="81" y="38"/>
                    <a:pt x="81" y="38"/>
                  </a:cubicBezTo>
                  <a:cubicBezTo>
                    <a:pt x="78" y="38"/>
                    <a:pt x="75" y="37"/>
                    <a:pt x="73" y="35"/>
                  </a:cubicBezTo>
                  <a:cubicBezTo>
                    <a:pt x="69" y="31"/>
                    <a:pt x="64" y="28"/>
                    <a:pt x="60" y="24"/>
                  </a:cubicBezTo>
                  <a:cubicBezTo>
                    <a:pt x="59" y="22"/>
                    <a:pt x="59" y="21"/>
                    <a:pt x="58" y="20"/>
                  </a:cubicBezTo>
                  <a:cubicBezTo>
                    <a:pt x="57" y="17"/>
                    <a:pt x="55" y="16"/>
                    <a:pt x="53" y="14"/>
                  </a:cubicBezTo>
                  <a:cubicBezTo>
                    <a:pt x="52" y="16"/>
                    <a:pt x="51" y="19"/>
                    <a:pt x="49" y="22"/>
                  </a:cubicBezTo>
                  <a:cubicBezTo>
                    <a:pt x="49" y="22"/>
                    <a:pt x="49" y="22"/>
                    <a:pt x="49" y="22"/>
                  </a:cubicBezTo>
                  <a:cubicBezTo>
                    <a:pt x="46" y="25"/>
                    <a:pt x="46" y="25"/>
                    <a:pt x="46" y="25"/>
                  </a:cubicBezTo>
                  <a:cubicBezTo>
                    <a:pt x="45" y="27"/>
                    <a:pt x="44" y="28"/>
                    <a:pt x="43" y="30"/>
                  </a:cubicBezTo>
                  <a:cubicBezTo>
                    <a:pt x="43" y="30"/>
                    <a:pt x="42" y="31"/>
                    <a:pt x="41" y="32"/>
                  </a:cubicBezTo>
                  <a:cubicBezTo>
                    <a:pt x="40" y="33"/>
                    <a:pt x="40" y="33"/>
                    <a:pt x="40" y="33"/>
                  </a:cubicBezTo>
                  <a:cubicBezTo>
                    <a:pt x="40" y="33"/>
                    <a:pt x="40" y="33"/>
                    <a:pt x="40" y="33"/>
                  </a:cubicBezTo>
                  <a:cubicBezTo>
                    <a:pt x="41" y="34"/>
                    <a:pt x="42" y="35"/>
                    <a:pt x="42" y="35"/>
                  </a:cubicBezTo>
                  <a:cubicBezTo>
                    <a:pt x="43" y="36"/>
                    <a:pt x="43" y="37"/>
                    <a:pt x="43" y="37"/>
                  </a:cubicBezTo>
                  <a:cubicBezTo>
                    <a:pt x="46" y="41"/>
                    <a:pt x="48" y="44"/>
                    <a:pt x="50" y="48"/>
                  </a:cubicBezTo>
                  <a:cubicBezTo>
                    <a:pt x="51" y="49"/>
                    <a:pt x="51" y="49"/>
                    <a:pt x="51" y="49"/>
                  </a:cubicBezTo>
                  <a:cubicBezTo>
                    <a:pt x="51" y="50"/>
                    <a:pt x="52" y="51"/>
                    <a:pt x="53" y="52"/>
                  </a:cubicBezTo>
                  <a:cubicBezTo>
                    <a:pt x="54" y="55"/>
                    <a:pt x="56" y="57"/>
                    <a:pt x="57" y="59"/>
                  </a:cubicBezTo>
                  <a:cubicBezTo>
                    <a:pt x="59" y="61"/>
                    <a:pt x="62" y="63"/>
                    <a:pt x="65" y="64"/>
                  </a:cubicBezTo>
                  <a:cubicBezTo>
                    <a:pt x="68" y="67"/>
                    <a:pt x="68" y="67"/>
                    <a:pt x="68" y="67"/>
                  </a:cubicBezTo>
                  <a:cubicBezTo>
                    <a:pt x="69" y="67"/>
                    <a:pt x="69" y="68"/>
                    <a:pt x="70" y="68"/>
                  </a:cubicBezTo>
                  <a:cubicBezTo>
                    <a:pt x="72" y="70"/>
                    <a:pt x="76" y="71"/>
                    <a:pt x="80" y="72"/>
                  </a:cubicBezTo>
                  <a:cubicBezTo>
                    <a:pt x="81" y="72"/>
                    <a:pt x="83" y="73"/>
                    <a:pt x="84" y="73"/>
                  </a:cubicBezTo>
                  <a:cubicBezTo>
                    <a:pt x="84" y="73"/>
                    <a:pt x="84" y="73"/>
                    <a:pt x="84" y="73"/>
                  </a:cubicBezTo>
                  <a:cubicBezTo>
                    <a:pt x="127" y="88"/>
                    <a:pt x="127" y="88"/>
                    <a:pt x="127" y="88"/>
                  </a:cubicBezTo>
                  <a:cubicBezTo>
                    <a:pt x="128" y="88"/>
                    <a:pt x="130" y="89"/>
                    <a:pt x="131" y="89"/>
                  </a:cubicBezTo>
                  <a:cubicBezTo>
                    <a:pt x="134" y="90"/>
                    <a:pt x="137" y="92"/>
                    <a:pt x="140" y="92"/>
                  </a:cubicBezTo>
                  <a:cubicBezTo>
                    <a:pt x="141" y="92"/>
                    <a:pt x="142" y="92"/>
                    <a:pt x="143" y="92"/>
                  </a:cubicBezTo>
                  <a:cubicBezTo>
                    <a:pt x="144" y="93"/>
                    <a:pt x="145" y="93"/>
                    <a:pt x="146" y="93"/>
                  </a:cubicBezTo>
                  <a:cubicBezTo>
                    <a:pt x="147" y="93"/>
                    <a:pt x="147" y="93"/>
                    <a:pt x="147" y="93"/>
                  </a:cubicBezTo>
                  <a:cubicBezTo>
                    <a:pt x="147" y="93"/>
                    <a:pt x="148" y="93"/>
                    <a:pt x="148" y="93"/>
                  </a:cubicBezTo>
                  <a:cubicBezTo>
                    <a:pt x="150" y="93"/>
                    <a:pt x="152" y="92"/>
                    <a:pt x="154" y="92"/>
                  </a:cubicBezTo>
                  <a:cubicBezTo>
                    <a:pt x="155" y="92"/>
                    <a:pt x="155" y="92"/>
                    <a:pt x="155" y="92"/>
                  </a:cubicBezTo>
                  <a:cubicBezTo>
                    <a:pt x="158" y="92"/>
                    <a:pt x="160" y="92"/>
                    <a:pt x="163" y="92"/>
                  </a:cubicBezTo>
                  <a:cubicBezTo>
                    <a:pt x="170" y="92"/>
                    <a:pt x="170" y="92"/>
                    <a:pt x="170" y="92"/>
                  </a:cubicBezTo>
                  <a:cubicBezTo>
                    <a:pt x="165" y="97"/>
                    <a:pt x="165" y="97"/>
                    <a:pt x="165" y="97"/>
                  </a:cubicBezTo>
                  <a:cubicBezTo>
                    <a:pt x="159" y="102"/>
                    <a:pt x="154" y="106"/>
                    <a:pt x="149" y="112"/>
                  </a:cubicBezTo>
                  <a:cubicBezTo>
                    <a:pt x="137" y="123"/>
                    <a:pt x="124" y="136"/>
                    <a:pt x="110" y="152"/>
                  </a:cubicBezTo>
                  <a:cubicBezTo>
                    <a:pt x="106" y="156"/>
                    <a:pt x="106" y="156"/>
                    <a:pt x="106" y="156"/>
                  </a:cubicBezTo>
                  <a:cubicBezTo>
                    <a:pt x="105" y="157"/>
                    <a:pt x="105" y="157"/>
                    <a:pt x="105" y="157"/>
                  </a:cubicBezTo>
                  <a:cubicBezTo>
                    <a:pt x="103" y="160"/>
                    <a:pt x="103" y="160"/>
                    <a:pt x="103" y="160"/>
                  </a:cubicBezTo>
                  <a:cubicBezTo>
                    <a:pt x="102" y="160"/>
                    <a:pt x="101" y="161"/>
                    <a:pt x="101" y="162"/>
                  </a:cubicBezTo>
                  <a:cubicBezTo>
                    <a:pt x="99" y="164"/>
                    <a:pt x="99" y="164"/>
                    <a:pt x="99" y="164"/>
                  </a:cubicBezTo>
                  <a:cubicBezTo>
                    <a:pt x="98" y="165"/>
                    <a:pt x="97" y="166"/>
                    <a:pt x="95" y="167"/>
                  </a:cubicBezTo>
                  <a:cubicBezTo>
                    <a:pt x="95" y="168"/>
                    <a:pt x="94" y="169"/>
                    <a:pt x="93" y="169"/>
                  </a:cubicBezTo>
                  <a:cubicBezTo>
                    <a:pt x="91" y="170"/>
                    <a:pt x="91" y="170"/>
                    <a:pt x="91" y="170"/>
                  </a:cubicBezTo>
                  <a:cubicBezTo>
                    <a:pt x="91" y="170"/>
                    <a:pt x="90" y="170"/>
                    <a:pt x="89" y="170"/>
                  </a:cubicBezTo>
                  <a:cubicBezTo>
                    <a:pt x="89" y="171"/>
                    <a:pt x="89" y="171"/>
                    <a:pt x="89" y="171"/>
                  </a:cubicBezTo>
                  <a:cubicBezTo>
                    <a:pt x="88" y="171"/>
                    <a:pt x="87" y="171"/>
                    <a:pt x="87" y="171"/>
                  </a:cubicBezTo>
                  <a:cubicBezTo>
                    <a:pt x="87" y="171"/>
                    <a:pt x="86" y="171"/>
                    <a:pt x="86" y="171"/>
                  </a:cubicBezTo>
                  <a:cubicBezTo>
                    <a:pt x="85" y="171"/>
                    <a:pt x="84" y="171"/>
                    <a:pt x="82" y="170"/>
                  </a:cubicBezTo>
                  <a:cubicBezTo>
                    <a:pt x="82" y="170"/>
                    <a:pt x="82" y="170"/>
                    <a:pt x="82" y="170"/>
                  </a:cubicBezTo>
                  <a:cubicBezTo>
                    <a:pt x="81" y="170"/>
                    <a:pt x="81" y="170"/>
                    <a:pt x="80" y="170"/>
                  </a:cubicBezTo>
                  <a:cubicBezTo>
                    <a:pt x="79" y="170"/>
                    <a:pt x="79" y="170"/>
                    <a:pt x="79" y="170"/>
                  </a:cubicBezTo>
                  <a:cubicBezTo>
                    <a:pt x="78" y="170"/>
                    <a:pt x="77" y="170"/>
                    <a:pt x="75" y="170"/>
                  </a:cubicBezTo>
                  <a:cubicBezTo>
                    <a:pt x="74" y="170"/>
                    <a:pt x="74" y="170"/>
                    <a:pt x="74" y="170"/>
                  </a:cubicBezTo>
                  <a:cubicBezTo>
                    <a:pt x="73" y="170"/>
                    <a:pt x="72" y="170"/>
                    <a:pt x="72" y="170"/>
                  </a:cubicBezTo>
                  <a:cubicBezTo>
                    <a:pt x="72" y="170"/>
                    <a:pt x="71" y="170"/>
                    <a:pt x="71" y="170"/>
                  </a:cubicBezTo>
                  <a:cubicBezTo>
                    <a:pt x="70" y="170"/>
                    <a:pt x="70" y="170"/>
                    <a:pt x="70" y="170"/>
                  </a:cubicBezTo>
                  <a:cubicBezTo>
                    <a:pt x="70" y="170"/>
                    <a:pt x="69" y="170"/>
                    <a:pt x="68" y="170"/>
                  </a:cubicBezTo>
                  <a:cubicBezTo>
                    <a:pt x="66" y="170"/>
                    <a:pt x="65" y="171"/>
                    <a:pt x="63" y="171"/>
                  </a:cubicBezTo>
                  <a:cubicBezTo>
                    <a:pt x="58" y="172"/>
                    <a:pt x="52" y="176"/>
                    <a:pt x="47" y="180"/>
                  </a:cubicBezTo>
                  <a:cubicBezTo>
                    <a:pt x="45" y="182"/>
                    <a:pt x="44" y="183"/>
                    <a:pt x="42" y="184"/>
                  </a:cubicBezTo>
                  <a:cubicBezTo>
                    <a:pt x="40" y="185"/>
                    <a:pt x="38" y="186"/>
                    <a:pt x="35" y="186"/>
                  </a:cubicBezTo>
                  <a:cubicBezTo>
                    <a:pt x="34" y="186"/>
                    <a:pt x="33" y="186"/>
                    <a:pt x="32" y="187"/>
                  </a:cubicBezTo>
                  <a:cubicBezTo>
                    <a:pt x="32" y="187"/>
                    <a:pt x="32" y="187"/>
                    <a:pt x="32" y="187"/>
                  </a:cubicBezTo>
                  <a:cubicBezTo>
                    <a:pt x="29" y="187"/>
                    <a:pt x="27" y="187"/>
                    <a:pt x="26" y="187"/>
                  </a:cubicBezTo>
                  <a:cubicBezTo>
                    <a:pt x="25" y="188"/>
                    <a:pt x="24" y="189"/>
                    <a:pt x="24" y="189"/>
                  </a:cubicBezTo>
                  <a:cubicBezTo>
                    <a:pt x="23" y="190"/>
                    <a:pt x="22" y="191"/>
                    <a:pt x="22" y="191"/>
                  </a:cubicBezTo>
                  <a:cubicBezTo>
                    <a:pt x="21" y="192"/>
                    <a:pt x="21" y="192"/>
                    <a:pt x="21" y="192"/>
                  </a:cubicBezTo>
                  <a:cubicBezTo>
                    <a:pt x="19" y="195"/>
                    <a:pt x="8" y="209"/>
                    <a:pt x="8" y="209"/>
                  </a:cubicBezTo>
                  <a:cubicBezTo>
                    <a:pt x="6" y="211"/>
                    <a:pt x="6" y="211"/>
                    <a:pt x="6" y="211"/>
                  </a:cubicBezTo>
                  <a:cubicBezTo>
                    <a:pt x="6" y="211"/>
                    <a:pt x="6" y="211"/>
                    <a:pt x="6" y="211"/>
                  </a:cubicBezTo>
                  <a:cubicBezTo>
                    <a:pt x="4" y="214"/>
                    <a:pt x="4" y="214"/>
                    <a:pt x="4" y="214"/>
                  </a:cubicBezTo>
                  <a:cubicBezTo>
                    <a:pt x="3" y="215"/>
                    <a:pt x="2" y="216"/>
                    <a:pt x="1" y="217"/>
                  </a:cubicBezTo>
                  <a:cubicBezTo>
                    <a:pt x="0" y="218"/>
                    <a:pt x="0" y="218"/>
                    <a:pt x="0" y="218"/>
                  </a:cubicBezTo>
                  <a:cubicBezTo>
                    <a:pt x="0" y="219"/>
                    <a:pt x="0" y="221"/>
                    <a:pt x="0" y="222"/>
                  </a:cubicBezTo>
                  <a:cubicBezTo>
                    <a:pt x="0" y="223"/>
                    <a:pt x="0" y="223"/>
                    <a:pt x="0" y="223"/>
                  </a:cubicBezTo>
                  <a:cubicBezTo>
                    <a:pt x="1" y="224"/>
                    <a:pt x="1" y="224"/>
                    <a:pt x="1" y="225"/>
                  </a:cubicBezTo>
                  <a:cubicBezTo>
                    <a:pt x="1" y="236"/>
                    <a:pt x="1" y="236"/>
                    <a:pt x="1" y="236"/>
                  </a:cubicBezTo>
                  <a:cubicBezTo>
                    <a:pt x="1" y="244"/>
                    <a:pt x="1" y="251"/>
                    <a:pt x="1" y="259"/>
                  </a:cubicBezTo>
                  <a:cubicBezTo>
                    <a:pt x="1" y="261"/>
                    <a:pt x="1" y="261"/>
                    <a:pt x="1" y="261"/>
                  </a:cubicBezTo>
                  <a:cubicBezTo>
                    <a:pt x="1" y="270"/>
                    <a:pt x="1" y="279"/>
                    <a:pt x="1" y="288"/>
                  </a:cubicBezTo>
                  <a:cubicBezTo>
                    <a:pt x="1" y="289"/>
                    <a:pt x="1" y="291"/>
                    <a:pt x="0" y="292"/>
                  </a:cubicBezTo>
                  <a:cubicBezTo>
                    <a:pt x="0" y="296"/>
                    <a:pt x="0" y="301"/>
                    <a:pt x="1" y="303"/>
                  </a:cubicBezTo>
                  <a:cubicBezTo>
                    <a:pt x="1" y="304"/>
                    <a:pt x="1" y="304"/>
                    <a:pt x="3" y="306"/>
                  </a:cubicBezTo>
                  <a:cubicBezTo>
                    <a:pt x="4" y="308"/>
                    <a:pt x="6" y="310"/>
                    <a:pt x="7" y="312"/>
                  </a:cubicBezTo>
                  <a:cubicBezTo>
                    <a:pt x="7" y="313"/>
                    <a:pt x="7" y="313"/>
                    <a:pt x="7" y="313"/>
                  </a:cubicBezTo>
                  <a:cubicBezTo>
                    <a:pt x="9" y="315"/>
                    <a:pt x="11" y="317"/>
                    <a:pt x="13" y="320"/>
                  </a:cubicBezTo>
                  <a:cubicBezTo>
                    <a:pt x="15" y="315"/>
                    <a:pt x="18" y="310"/>
                    <a:pt x="20" y="305"/>
                  </a:cubicBezTo>
                  <a:cubicBezTo>
                    <a:pt x="20" y="305"/>
                    <a:pt x="20" y="305"/>
                    <a:pt x="20" y="306"/>
                  </a:cubicBezTo>
                  <a:cubicBezTo>
                    <a:pt x="35" y="293"/>
                    <a:pt x="47" y="276"/>
                    <a:pt x="63" y="263"/>
                  </a:cubicBezTo>
                  <a:cubicBezTo>
                    <a:pt x="70" y="258"/>
                    <a:pt x="77" y="252"/>
                    <a:pt x="84" y="247"/>
                  </a:cubicBezTo>
                  <a:cubicBezTo>
                    <a:pt x="88" y="244"/>
                    <a:pt x="92" y="240"/>
                    <a:pt x="96" y="238"/>
                  </a:cubicBezTo>
                  <a:cubicBezTo>
                    <a:pt x="108" y="231"/>
                    <a:pt x="117" y="222"/>
                    <a:pt x="127" y="213"/>
                  </a:cubicBezTo>
                  <a:cubicBezTo>
                    <a:pt x="138" y="203"/>
                    <a:pt x="148" y="194"/>
                    <a:pt x="157" y="183"/>
                  </a:cubicBezTo>
                  <a:cubicBezTo>
                    <a:pt x="167" y="172"/>
                    <a:pt x="174" y="159"/>
                    <a:pt x="182" y="147"/>
                  </a:cubicBezTo>
                  <a:cubicBezTo>
                    <a:pt x="187" y="139"/>
                    <a:pt x="191" y="129"/>
                    <a:pt x="196" y="120"/>
                  </a:cubicBezTo>
                  <a:cubicBezTo>
                    <a:pt x="199" y="114"/>
                    <a:pt x="202" y="108"/>
                    <a:pt x="204" y="101"/>
                  </a:cubicBezTo>
                  <a:cubicBezTo>
                    <a:pt x="206" y="96"/>
                    <a:pt x="208" y="93"/>
                    <a:pt x="212" y="89"/>
                  </a:cubicBezTo>
                  <a:cubicBezTo>
                    <a:pt x="217" y="84"/>
                    <a:pt x="220" y="77"/>
                    <a:pt x="223" y="71"/>
                  </a:cubicBezTo>
                  <a:cubicBezTo>
                    <a:pt x="225" y="68"/>
                    <a:pt x="229" y="63"/>
                    <a:pt x="229" y="60"/>
                  </a:cubicBezTo>
                  <a:cubicBezTo>
                    <a:pt x="229" y="56"/>
                    <a:pt x="230" y="53"/>
                    <a:pt x="230" y="49"/>
                  </a:cubicBezTo>
                  <a:cubicBezTo>
                    <a:pt x="231" y="45"/>
                    <a:pt x="229" y="40"/>
                    <a:pt x="234" y="38"/>
                  </a:cubicBezTo>
                  <a:cubicBezTo>
                    <a:pt x="237" y="37"/>
                    <a:pt x="240" y="38"/>
                    <a:pt x="243" y="37"/>
                  </a:cubicBezTo>
                  <a:cubicBezTo>
                    <a:pt x="241" y="36"/>
                    <a:pt x="239" y="35"/>
                    <a:pt x="237" y="34"/>
                  </a:cubicBezTo>
                  <a:cubicBezTo>
                    <a:pt x="237" y="35"/>
                    <a:pt x="236" y="35"/>
                    <a:pt x="235" y="36"/>
                  </a:cubicBezTo>
                  <a:cubicBezTo>
                    <a:pt x="235" y="35"/>
                    <a:pt x="237" y="34"/>
                    <a:pt x="237" y="34"/>
                  </a:cubicBezTo>
                  <a:cubicBezTo>
                    <a:pt x="237" y="33"/>
                    <a:pt x="236" y="32"/>
                    <a:pt x="236" y="31"/>
                  </a:cubicBezTo>
                  <a:cubicBezTo>
                    <a:pt x="236" y="27"/>
                    <a:pt x="235" y="22"/>
                    <a:pt x="235" y="18"/>
                  </a:cubicBezTo>
                  <a:cubicBezTo>
                    <a:pt x="235" y="13"/>
                    <a:pt x="238" y="8"/>
                    <a:pt x="240" y="4"/>
                  </a:cubicBezTo>
                  <a:cubicBezTo>
                    <a:pt x="237" y="3"/>
                    <a:pt x="232" y="0"/>
                    <a:pt x="2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214"/>
            <p:cNvSpPr/>
            <p:nvPr/>
          </p:nvSpPr>
          <p:spPr bwMode="auto">
            <a:xfrm>
              <a:off x="5313" y="2530"/>
              <a:ext cx="288" cy="296"/>
            </a:xfrm>
            <a:custGeom>
              <a:gdLst>
                <a:gd name="T0" fmla="*/ 88 w 122"/>
                <a:gd name="T1" fmla="*/ 9 h 125"/>
                <a:gd name="T2" fmla="*/ 78 w 122"/>
                <a:gd name="T3" fmla="*/ 6 h 125"/>
                <a:gd name="T4" fmla="*/ 65 w 122"/>
                <a:gd name="T5" fmla="*/ 9 h 125"/>
                <a:gd name="T6" fmla="*/ 61 w 122"/>
                <a:gd name="T7" fmla="*/ 13 h 125"/>
                <a:gd name="T8" fmla="*/ 55 w 122"/>
                <a:gd name="T9" fmla="*/ 13 h 125"/>
                <a:gd name="T10" fmla="*/ 54 w 122"/>
                <a:gd name="T11" fmla="*/ 13 h 125"/>
                <a:gd name="T12" fmla="*/ 47 w 122"/>
                <a:gd name="T13" fmla="*/ 10 h 125"/>
                <a:gd name="T14" fmla="*/ 38 w 122"/>
                <a:gd name="T15" fmla="*/ 10 h 125"/>
                <a:gd name="T16" fmla="*/ 34 w 122"/>
                <a:gd name="T17" fmla="*/ 9 h 125"/>
                <a:gd name="T18" fmla="*/ 34 w 122"/>
                <a:gd name="T19" fmla="*/ 8 h 125"/>
                <a:gd name="T20" fmla="*/ 34 w 122"/>
                <a:gd name="T21" fmla="*/ 10 h 125"/>
                <a:gd name="T22" fmla="*/ 30 w 122"/>
                <a:gd name="T23" fmla="*/ 13 h 125"/>
                <a:gd name="T24" fmla="*/ 29 w 122"/>
                <a:gd name="T25" fmla="*/ 20 h 125"/>
                <a:gd name="T26" fmla="*/ 28 w 122"/>
                <a:gd name="T27" fmla="*/ 28 h 125"/>
                <a:gd name="T28" fmla="*/ 28 w 122"/>
                <a:gd name="T29" fmla="*/ 34 h 125"/>
                <a:gd name="T30" fmla="*/ 29 w 122"/>
                <a:gd name="T31" fmla="*/ 36 h 125"/>
                <a:gd name="T32" fmla="*/ 33 w 122"/>
                <a:gd name="T33" fmla="*/ 37 h 125"/>
                <a:gd name="T34" fmla="*/ 42 w 122"/>
                <a:gd name="T35" fmla="*/ 42 h 125"/>
                <a:gd name="T36" fmla="*/ 24 w 122"/>
                <a:gd name="T37" fmla="*/ 63 h 125"/>
                <a:gd name="T38" fmla="*/ 11 w 122"/>
                <a:gd name="T39" fmla="*/ 74 h 125"/>
                <a:gd name="T40" fmla="*/ 8 w 122"/>
                <a:gd name="T41" fmla="*/ 82 h 125"/>
                <a:gd name="T42" fmla="*/ 2 w 122"/>
                <a:gd name="T43" fmla="*/ 104 h 125"/>
                <a:gd name="T44" fmla="*/ 0 w 122"/>
                <a:gd name="T45" fmla="*/ 123 h 125"/>
                <a:gd name="T46" fmla="*/ 7 w 122"/>
                <a:gd name="T47" fmla="*/ 125 h 125"/>
                <a:gd name="T48" fmla="*/ 11 w 122"/>
                <a:gd name="T49" fmla="*/ 122 h 125"/>
                <a:gd name="T50" fmla="*/ 18 w 122"/>
                <a:gd name="T51" fmla="*/ 117 h 125"/>
                <a:gd name="T52" fmla="*/ 49 w 122"/>
                <a:gd name="T53" fmla="*/ 115 h 125"/>
                <a:gd name="T54" fmla="*/ 53 w 122"/>
                <a:gd name="T55" fmla="*/ 99 h 125"/>
                <a:gd name="T56" fmla="*/ 73 w 122"/>
                <a:gd name="T57" fmla="*/ 93 h 125"/>
                <a:gd name="T58" fmla="*/ 82 w 122"/>
                <a:gd name="T59" fmla="*/ 84 h 125"/>
                <a:gd name="T60" fmla="*/ 91 w 122"/>
                <a:gd name="T61" fmla="*/ 90 h 125"/>
                <a:gd name="T62" fmla="*/ 97 w 122"/>
                <a:gd name="T63" fmla="*/ 91 h 125"/>
                <a:gd name="T64" fmla="*/ 98 w 122"/>
                <a:gd name="T65" fmla="*/ 90 h 125"/>
                <a:gd name="T66" fmla="*/ 99 w 122"/>
                <a:gd name="T67" fmla="*/ 87 h 125"/>
                <a:gd name="T68" fmla="*/ 101 w 122"/>
                <a:gd name="T69" fmla="*/ 82 h 125"/>
                <a:gd name="T70" fmla="*/ 106 w 122"/>
                <a:gd name="T71" fmla="*/ 75 h 125"/>
                <a:gd name="T72" fmla="*/ 110 w 122"/>
                <a:gd name="T73" fmla="*/ 69 h 125"/>
                <a:gd name="T74" fmla="*/ 112 w 122"/>
                <a:gd name="T75" fmla="*/ 66 h 125"/>
                <a:gd name="T76" fmla="*/ 115 w 122"/>
                <a:gd name="T77" fmla="*/ 65 h 125"/>
                <a:gd name="T78" fmla="*/ 117 w 122"/>
                <a:gd name="T79" fmla="*/ 64 h 125"/>
                <a:gd name="T80" fmla="*/ 118 w 122"/>
                <a:gd name="T81" fmla="*/ 58 h 125"/>
                <a:gd name="T82" fmla="*/ 122 w 122"/>
                <a:gd name="T83" fmla="*/ 49 h 125"/>
                <a:gd name="T84" fmla="*/ 120 w 122"/>
                <a:gd name="T85" fmla="*/ 36 h 125"/>
                <a:gd name="T86" fmla="*/ 115 w 122"/>
                <a:gd name="T87" fmla="*/ 28 h 125"/>
                <a:gd name="T88" fmla="*/ 109 w 122"/>
                <a:gd name="T89" fmla="*/ 10 h 125"/>
                <a:gd name="T90" fmla="*/ 104 w 122"/>
                <a:gd name="T91" fmla="*/ 8 h 125"/>
                <a:gd name="T92" fmla="*/ 100 w 122"/>
                <a:gd name="T93" fmla="*/ 1 h 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 h="125">
                  <a:moveTo>
                    <a:pt x="100" y="0"/>
                  </a:moveTo>
                  <a:cubicBezTo>
                    <a:pt x="95" y="5"/>
                    <a:pt x="95" y="5"/>
                    <a:pt x="95" y="5"/>
                  </a:cubicBezTo>
                  <a:cubicBezTo>
                    <a:pt x="92" y="8"/>
                    <a:pt x="91" y="9"/>
                    <a:pt x="88" y="9"/>
                  </a:cubicBezTo>
                  <a:cubicBezTo>
                    <a:pt x="87" y="9"/>
                    <a:pt x="86" y="9"/>
                    <a:pt x="85" y="9"/>
                  </a:cubicBezTo>
                  <a:cubicBezTo>
                    <a:pt x="83" y="8"/>
                    <a:pt x="82" y="8"/>
                    <a:pt x="79" y="7"/>
                  </a:cubicBezTo>
                  <a:cubicBezTo>
                    <a:pt x="78" y="6"/>
                    <a:pt x="78" y="6"/>
                    <a:pt x="78" y="6"/>
                  </a:cubicBezTo>
                  <a:cubicBezTo>
                    <a:pt x="77" y="6"/>
                    <a:pt x="77" y="6"/>
                    <a:pt x="77" y="6"/>
                  </a:cubicBezTo>
                  <a:cubicBezTo>
                    <a:pt x="75" y="6"/>
                    <a:pt x="73" y="6"/>
                    <a:pt x="69" y="8"/>
                  </a:cubicBezTo>
                  <a:cubicBezTo>
                    <a:pt x="67" y="8"/>
                    <a:pt x="66" y="9"/>
                    <a:pt x="65" y="9"/>
                  </a:cubicBezTo>
                  <a:cubicBezTo>
                    <a:pt x="64" y="10"/>
                    <a:pt x="64" y="10"/>
                    <a:pt x="64" y="10"/>
                  </a:cubicBezTo>
                  <a:cubicBezTo>
                    <a:pt x="64" y="10"/>
                    <a:pt x="63" y="11"/>
                    <a:pt x="62" y="12"/>
                  </a:cubicBezTo>
                  <a:cubicBezTo>
                    <a:pt x="61" y="13"/>
                    <a:pt x="61" y="13"/>
                    <a:pt x="61" y="13"/>
                  </a:cubicBezTo>
                  <a:cubicBezTo>
                    <a:pt x="60" y="14"/>
                    <a:pt x="59" y="14"/>
                    <a:pt x="58" y="14"/>
                  </a:cubicBezTo>
                  <a:cubicBezTo>
                    <a:pt x="57" y="14"/>
                    <a:pt x="56" y="14"/>
                    <a:pt x="55" y="13"/>
                  </a:cubicBezTo>
                  <a:cubicBezTo>
                    <a:pt x="55" y="13"/>
                    <a:pt x="55" y="13"/>
                    <a:pt x="55" y="13"/>
                  </a:cubicBezTo>
                  <a:cubicBezTo>
                    <a:pt x="54" y="13"/>
                    <a:pt x="54" y="13"/>
                    <a:pt x="54" y="13"/>
                  </a:cubicBezTo>
                  <a:cubicBezTo>
                    <a:pt x="54" y="13"/>
                    <a:pt x="54" y="13"/>
                    <a:pt x="54" y="13"/>
                  </a:cubicBezTo>
                  <a:cubicBezTo>
                    <a:pt x="54" y="13"/>
                    <a:pt x="54" y="13"/>
                    <a:pt x="54" y="13"/>
                  </a:cubicBezTo>
                  <a:cubicBezTo>
                    <a:pt x="53" y="13"/>
                    <a:pt x="51" y="12"/>
                    <a:pt x="50" y="11"/>
                  </a:cubicBezTo>
                  <a:cubicBezTo>
                    <a:pt x="49" y="8"/>
                    <a:pt x="49" y="8"/>
                    <a:pt x="49" y="8"/>
                  </a:cubicBezTo>
                  <a:cubicBezTo>
                    <a:pt x="47" y="10"/>
                    <a:pt x="47" y="10"/>
                    <a:pt x="47" y="10"/>
                  </a:cubicBezTo>
                  <a:cubicBezTo>
                    <a:pt x="45" y="11"/>
                    <a:pt x="44" y="11"/>
                    <a:pt x="42" y="11"/>
                  </a:cubicBezTo>
                  <a:cubicBezTo>
                    <a:pt x="42" y="11"/>
                    <a:pt x="41" y="11"/>
                    <a:pt x="40" y="11"/>
                  </a:cubicBezTo>
                  <a:cubicBezTo>
                    <a:pt x="39" y="10"/>
                    <a:pt x="39" y="10"/>
                    <a:pt x="38" y="10"/>
                  </a:cubicBezTo>
                  <a:cubicBezTo>
                    <a:pt x="38" y="10"/>
                    <a:pt x="38" y="10"/>
                    <a:pt x="38" y="10"/>
                  </a:cubicBezTo>
                  <a:cubicBezTo>
                    <a:pt x="37" y="10"/>
                    <a:pt x="36" y="9"/>
                    <a:pt x="35" y="9"/>
                  </a:cubicBezTo>
                  <a:cubicBezTo>
                    <a:pt x="35" y="9"/>
                    <a:pt x="35" y="9"/>
                    <a:pt x="34" y="9"/>
                  </a:cubicBezTo>
                  <a:cubicBezTo>
                    <a:pt x="35" y="9"/>
                    <a:pt x="35" y="9"/>
                    <a:pt x="35" y="9"/>
                  </a:cubicBezTo>
                  <a:cubicBezTo>
                    <a:pt x="34" y="8"/>
                    <a:pt x="34" y="8"/>
                    <a:pt x="34" y="8"/>
                  </a:cubicBezTo>
                  <a:cubicBezTo>
                    <a:pt x="34" y="8"/>
                    <a:pt x="34" y="8"/>
                    <a:pt x="34" y="8"/>
                  </a:cubicBezTo>
                  <a:cubicBezTo>
                    <a:pt x="35" y="9"/>
                    <a:pt x="35" y="9"/>
                    <a:pt x="35" y="9"/>
                  </a:cubicBezTo>
                  <a:cubicBezTo>
                    <a:pt x="34" y="10"/>
                    <a:pt x="34" y="10"/>
                    <a:pt x="34" y="10"/>
                  </a:cubicBezTo>
                  <a:cubicBezTo>
                    <a:pt x="34" y="10"/>
                    <a:pt x="34" y="10"/>
                    <a:pt x="34" y="10"/>
                  </a:cubicBezTo>
                  <a:cubicBezTo>
                    <a:pt x="34" y="10"/>
                    <a:pt x="33" y="10"/>
                    <a:pt x="33" y="11"/>
                  </a:cubicBezTo>
                  <a:cubicBezTo>
                    <a:pt x="33" y="11"/>
                    <a:pt x="32" y="11"/>
                    <a:pt x="32" y="11"/>
                  </a:cubicBezTo>
                  <a:cubicBezTo>
                    <a:pt x="31" y="12"/>
                    <a:pt x="30" y="13"/>
                    <a:pt x="30" y="13"/>
                  </a:cubicBezTo>
                  <a:cubicBezTo>
                    <a:pt x="30" y="14"/>
                    <a:pt x="30" y="14"/>
                    <a:pt x="30" y="14"/>
                  </a:cubicBezTo>
                  <a:cubicBezTo>
                    <a:pt x="31" y="22"/>
                    <a:pt x="31" y="22"/>
                    <a:pt x="31" y="22"/>
                  </a:cubicBezTo>
                  <a:cubicBezTo>
                    <a:pt x="29" y="20"/>
                    <a:pt x="29" y="20"/>
                    <a:pt x="29" y="20"/>
                  </a:cubicBezTo>
                  <a:cubicBezTo>
                    <a:pt x="29" y="20"/>
                    <a:pt x="29" y="21"/>
                    <a:pt x="28" y="21"/>
                  </a:cubicBezTo>
                  <a:cubicBezTo>
                    <a:pt x="28" y="23"/>
                    <a:pt x="28" y="25"/>
                    <a:pt x="28" y="27"/>
                  </a:cubicBezTo>
                  <a:cubicBezTo>
                    <a:pt x="28" y="27"/>
                    <a:pt x="28" y="28"/>
                    <a:pt x="28" y="28"/>
                  </a:cubicBezTo>
                  <a:cubicBezTo>
                    <a:pt x="28" y="30"/>
                    <a:pt x="28" y="31"/>
                    <a:pt x="28" y="32"/>
                  </a:cubicBezTo>
                  <a:cubicBezTo>
                    <a:pt x="28" y="33"/>
                    <a:pt x="28" y="33"/>
                    <a:pt x="28" y="33"/>
                  </a:cubicBezTo>
                  <a:cubicBezTo>
                    <a:pt x="28" y="33"/>
                    <a:pt x="28" y="34"/>
                    <a:pt x="28" y="34"/>
                  </a:cubicBezTo>
                  <a:cubicBezTo>
                    <a:pt x="28" y="35"/>
                    <a:pt x="28" y="36"/>
                    <a:pt x="28" y="36"/>
                  </a:cubicBezTo>
                  <a:cubicBezTo>
                    <a:pt x="28" y="36"/>
                    <a:pt x="28" y="36"/>
                    <a:pt x="28" y="36"/>
                  </a:cubicBezTo>
                  <a:cubicBezTo>
                    <a:pt x="29" y="36"/>
                    <a:pt x="29" y="36"/>
                    <a:pt x="29" y="36"/>
                  </a:cubicBezTo>
                  <a:cubicBezTo>
                    <a:pt x="29" y="36"/>
                    <a:pt x="29" y="36"/>
                    <a:pt x="29" y="36"/>
                  </a:cubicBezTo>
                  <a:cubicBezTo>
                    <a:pt x="31" y="36"/>
                    <a:pt x="31" y="36"/>
                    <a:pt x="31" y="36"/>
                  </a:cubicBezTo>
                  <a:cubicBezTo>
                    <a:pt x="32" y="37"/>
                    <a:pt x="32" y="37"/>
                    <a:pt x="33" y="37"/>
                  </a:cubicBezTo>
                  <a:cubicBezTo>
                    <a:pt x="33" y="38"/>
                    <a:pt x="33" y="38"/>
                    <a:pt x="33" y="38"/>
                  </a:cubicBezTo>
                  <a:cubicBezTo>
                    <a:pt x="34" y="38"/>
                    <a:pt x="35" y="39"/>
                    <a:pt x="36" y="39"/>
                  </a:cubicBezTo>
                  <a:cubicBezTo>
                    <a:pt x="42" y="42"/>
                    <a:pt x="42" y="42"/>
                    <a:pt x="42" y="42"/>
                  </a:cubicBezTo>
                  <a:cubicBezTo>
                    <a:pt x="40" y="45"/>
                    <a:pt x="40" y="45"/>
                    <a:pt x="40" y="45"/>
                  </a:cubicBezTo>
                  <a:cubicBezTo>
                    <a:pt x="39" y="47"/>
                    <a:pt x="37" y="49"/>
                    <a:pt x="35" y="52"/>
                  </a:cubicBezTo>
                  <a:cubicBezTo>
                    <a:pt x="32" y="56"/>
                    <a:pt x="28" y="60"/>
                    <a:pt x="24" y="63"/>
                  </a:cubicBezTo>
                  <a:cubicBezTo>
                    <a:pt x="20" y="67"/>
                    <a:pt x="16" y="71"/>
                    <a:pt x="13" y="74"/>
                  </a:cubicBezTo>
                  <a:cubicBezTo>
                    <a:pt x="15" y="77"/>
                    <a:pt x="15" y="77"/>
                    <a:pt x="15" y="77"/>
                  </a:cubicBezTo>
                  <a:cubicBezTo>
                    <a:pt x="11" y="74"/>
                    <a:pt x="11" y="74"/>
                    <a:pt x="11" y="74"/>
                  </a:cubicBezTo>
                  <a:cubicBezTo>
                    <a:pt x="11" y="75"/>
                    <a:pt x="11" y="75"/>
                    <a:pt x="11" y="75"/>
                  </a:cubicBezTo>
                  <a:cubicBezTo>
                    <a:pt x="10" y="76"/>
                    <a:pt x="10" y="76"/>
                    <a:pt x="9" y="77"/>
                  </a:cubicBezTo>
                  <a:cubicBezTo>
                    <a:pt x="9" y="79"/>
                    <a:pt x="9" y="80"/>
                    <a:pt x="8" y="82"/>
                  </a:cubicBezTo>
                  <a:cubicBezTo>
                    <a:pt x="8" y="84"/>
                    <a:pt x="8" y="86"/>
                    <a:pt x="7" y="88"/>
                  </a:cubicBezTo>
                  <a:cubicBezTo>
                    <a:pt x="6" y="89"/>
                    <a:pt x="6" y="89"/>
                    <a:pt x="6" y="89"/>
                  </a:cubicBezTo>
                  <a:cubicBezTo>
                    <a:pt x="4" y="94"/>
                    <a:pt x="3" y="98"/>
                    <a:pt x="2" y="104"/>
                  </a:cubicBezTo>
                  <a:cubicBezTo>
                    <a:pt x="2" y="106"/>
                    <a:pt x="1" y="108"/>
                    <a:pt x="1" y="110"/>
                  </a:cubicBezTo>
                  <a:cubicBezTo>
                    <a:pt x="0" y="114"/>
                    <a:pt x="0" y="118"/>
                    <a:pt x="0" y="122"/>
                  </a:cubicBezTo>
                  <a:cubicBezTo>
                    <a:pt x="0" y="122"/>
                    <a:pt x="0" y="123"/>
                    <a:pt x="0" y="123"/>
                  </a:cubicBezTo>
                  <a:cubicBezTo>
                    <a:pt x="1" y="123"/>
                    <a:pt x="2" y="123"/>
                    <a:pt x="3" y="123"/>
                  </a:cubicBezTo>
                  <a:cubicBezTo>
                    <a:pt x="4" y="123"/>
                    <a:pt x="4" y="123"/>
                    <a:pt x="5" y="123"/>
                  </a:cubicBezTo>
                  <a:cubicBezTo>
                    <a:pt x="6" y="123"/>
                    <a:pt x="7" y="124"/>
                    <a:pt x="7" y="125"/>
                  </a:cubicBezTo>
                  <a:cubicBezTo>
                    <a:pt x="8" y="125"/>
                    <a:pt x="8" y="125"/>
                    <a:pt x="8" y="125"/>
                  </a:cubicBezTo>
                  <a:cubicBezTo>
                    <a:pt x="8" y="124"/>
                    <a:pt x="9" y="124"/>
                    <a:pt x="10" y="123"/>
                  </a:cubicBezTo>
                  <a:cubicBezTo>
                    <a:pt x="11" y="122"/>
                    <a:pt x="11" y="122"/>
                    <a:pt x="11" y="122"/>
                  </a:cubicBezTo>
                  <a:cubicBezTo>
                    <a:pt x="12" y="121"/>
                    <a:pt x="13" y="120"/>
                    <a:pt x="15" y="119"/>
                  </a:cubicBezTo>
                  <a:cubicBezTo>
                    <a:pt x="14" y="118"/>
                    <a:pt x="14" y="118"/>
                    <a:pt x="14" y="118"/>
                  </a:cubicBezTo>
                  <a:cubicBezTo>
                    <a:pt x="18" y="117"/>
                    <a:pt x="18" y="117"/>
                    <a:pt x="18" y="117"/>
                  </a:cubicBezTo>
                  <a:cubicBezTo>
                    <a:pt x="19" y="116"/>
                    <a:pt x="19" y="116"/>
                    <a:pt x="19" y="116"/>
                  </a:cubicBezTo>
                  <a:cubicBezTo>
                    <a:pt x="20" y="116"/>
                    <a:pt x="20" y="116"/>
                    <a:pt x="20" y="116"/>
                  </a:cubicBezTo>
                  <a:cubicBezTo>
                    <a:pt x="28" y="116"/>
                    <a:pt x="39" y="115"/>
                    <a:pt x="49" y="115"/>
                  </a:cubicBezTo>
                  <a:cubicBezTo>
                    <a:pt x="48" y="114"/>
                    <a:pt x="48" y="112"/>
                    <a:pt x="48" y="111"/>
                  </a:cubicBezTo>
                  <a:cubicBezTo>
                    <a:pt x="50" y="109"/>
                    <a:pt x="52" y="106"/>
                    <a:pt x="54" y="104"/>
                  </a:cubicBezTo>
                  <a:cubicBezTo>
                    <a:pt x="55" y="102"/>
                    <a:pt x="55" y="101"/>
                    <a:pt x="53" y="99"/>
                  </a:cubicBezTo>
                  <a:cubicBezTo>
                    <a:pt x="51" y="94"/>
                    <a:pt x="63" y="94"/>
                    <a:pt x="65" y="93"/>
                  </a:cubicBezTo>
                  <a:cubicBezTo>
                    <a:pt x="69" y="93"/>
                    <a:pt x="68" y="90"/>
                    <a:pt x="70" y="88"/>
                  </a:cubicBezTo>
                  <a:cubicBezTo>
                    <a:pt x="70" y="91"/>
                    <a:pt x="70" y="93"/>
                    <a:pt x="73" y="93"/>
                  </a:cubicBezTo>
                  <a:cubicBezTo>
                    <a:pt x="74" y="93"/>
                    <a:pt x="75" y="93"/>
                    <a:pt x="76" y="93"/>
                  </a:cubicBezTo>
                  <a:cubicBezTo>
                    <a:pt x="77" y="92"/>
                    <a:pt x="77" y="92"/>
                    <a:pt x="79" y="91"/>
                  </a:cubicBezTo>
                  <a:cubicBezTo>
                    <a:pt x="81" y="90"/>
                    <a:pt x="85" y="86"/>
                    <a:pt x="82" y="84"/>
                  </a:cubicBezTo>
                  <a:cubicBezTo>
                    <a:pt x="83" y="84"/>
                    <a:pt x="84" y="84"/>
                    <a:pt x="85" y="84"/>
                  </a:cubicBezTo>
                  <a:cubicBezTo>
                    <a:pt x="86" y="84"/>
                    <a:pt x="87" y="84"/>
                    <a:pt x="88" y="86"/>
                  </a:cubicBezTo>
                  <a:cubicBezTo>
                    <a:pt x="88" y="88"/>
                    <a:pt x="89" y="90"/>
                    <a:pt x="91" y="90"/>
                  </a:cubicBezTo>
                  <a:cubicBezTo>
                    <a:pt x="91" y="90"/>
                    <a:pt x="91" y="90"/>
                    <a:pt x="91" y="90"/>
                  </a:cubicBezTo>
                  <a:cubicBezTo>
                    <a:pt x="92" y="90"/>
                    <a:pt x="94" y="87"/>
                    <a:pt x="94" y="87"/>
                  </a:cubicBezTo>
                  <a:cubicBezTo>
                    <a:pt x="94" y="89"/>
                    <a:pt x="95" y="91"/>
                    <a:pt x="97" y="91"/>
                  </a:cubicBezTo>
                  <a:cubicBezTo>
                    <a:pt x="97" y="91"/>
                    <a:pt x="97" y="91"/>
                    <a:pt x="97" y="91"/>
                  </a:cubicBezTo>
                  <a:cubicBezTo>
                    <a:pt x="98" y="91"/>
                    <a:pt x="98" y="91"/>
                    <a:pt x="98" y="91"/>
                  </a:cubicBezTo>
                  <a:cubicBezTo>
                    <a:pt x="98" y="90"/>
                    <a:pt x="98" y="90"/>
                    <a:pt x="98" y="90"/>
                  </a:cubicBezTo>
                  <a:cubicBezTo>
                    <a:pt x="98" y="90"/>
                    <a:pt x="98" y="89"/>
                    <a:pt x="98" y="89"/>
                  </a:cubicBezTo>
                  <a:cubicBezTo>
                    <a:pt x="98" y="89"/>
                    <a:pt x="98" y="89"/>
                    <a:pt x="98" y="89"/>
                  </a:cubicBezTo>
                  <a:cubicBezTo>
                    <a:pt x="98" y="88"/>
                    <a:pt x="98" y="88"/>
                    <a:pt x="99" y="87"/>
                  </a:cubicBezTo>
                  <a:cubicBezTo>
                    <a:pt x="99" y="87"/>
                    <a:pt x="99" y="87"/>
                    <a:pt x="99" y="87"/>
                  </a:cubicBezTo>
                  <a:cubicBezTo>
                    <a:pt x="100" y="86"/>
                    <a:pt x="100" y="85"/>
                    <a:pt x="101" y="83"/>
                  </a:cubicBezTo>
                  <a:cubicBezTo>
                    <a:pt x="101" y="83"/>
                    <a:pt x="101" y="82"/>
                    <a:pt x="101" y="82"/>
                  </a:cubicBezTo>
                  <a:cubicBezTo>
                    <a:pt x="103" y="80"/>
                    <a:pt x="104" y="79"/>
                    <a:pt x="105" y="77"/>
                  </a:cubicBezTo>
                  <a:cubicBezTo>
                    <a:pt x="106" y="76"/>
                    <a:pt x="106" y="76"/>
                    <a:pt x="106" y="76"/>
                  </a:cubicBezTo>
                  <a:cubicBezTo>
                    <a:pt x="106" y="76"/>
                    <a:pt x="106" y="76"/>
                    <a:pt x="106" y="75"/>
                  </a:cubicBezTo>
                  <a:cubicBezTo>
                    <a:pt x="107" y="74"/>
                    <a:pt x="107" y="74"/>
                    <a:pt x="107" y="74"/>
                  </a:cubicBezTo>
                  <a:cubicBezTo>
                    <a:pt x="107" y="73"/>
                    <a:pt x="107" y="73"/>
                    <a:pt x="107" y="73"/>
                  </a:cubicBezTo>
                  <a:cubicBezTo>
                    <a:pt x="108" y="71"/>
                    <a:pt x="109" y="70"/>
                    <a:pt x="110" y="69"/>
                  </a:cubicBezTo>
                  <a:cubicBezTo>
                    <a:pt x="110" y="68"/>
                    <a:pt x="110" y="68"/>
                    <a:pt x="111" y="68"/>
                  </a:cubicBezTo>
                  <a:cubicBezTo>
                    <a:pt x="111" y="67"/>
                    <a:pt x="111" y="67"/>
                    <a:pt x="111" y="67"/>
                  </a:cubicBezTo>
                  <a:cubicBezTo>
                    <a:pt x="111" y="67"/>
                    <a:pt x="112" y="67"/>
                    <a:pt x="112" y="66"/>
                  </a:cubicBezTo>
                  <a:cubicBezTo>
                    <a:pt x="113" y="66"/>
                    <a:pt x="113" y="66"/>
                    <a:pt x="113" y="66"/>
                  </a:cubicBezTo>
                  <a:cubicBezTo>
                    <a:pt x="113" y="65"/>
                    <a:pt x="113" y="65"/>
                    <a:pt x="113" y="65"/>
                  </a:cubicBezTo>
                  <a:cubicBezTo>
                    <a:pt x="115" y="65"/>
                    <a:pt x="115" y="65"/>
                    <a:pt x="115" y="65"/>
                  </a:cubicBezTo>
                  <a:cubicBezTo>
                    <a:pt x="116" y="64"/>
                    <a:pt x="116" y="64"/>
                    <a:pt x="117" y="64"/>
                  </a:cubicBezTo>
                  <a:cubicBezTo>
                    <a:pt x="117" y="64"/>
                    <a:pt x="117" y="64"/>
                    <a:pt x="117" y="64"/>
                  </a:cubicBezTo>
                  <a:cubicBezTo>
                    <a:pt x="117" y="64"/>
                    <a:pt x="117" y="64"/>
                    <a:pt x="117" y="64"/>
                  </a:cubicBezTo>
                  <a:cubicBezTo>
                    <a:pt x="117" y="63"/>
                    <a:pt x="117" y="63"/>
                    <a:pt x="117" y="62"/>
                  </a:cubicBezTo>
                  <a:cubicBezTo>
                    <a:pt x="117" y="61"/>
                    <a:pt x="118" y="60"/>
                    <a:pt x="118" y="59"/>
                  </a:cubicBezTo>
                  <a:cubicBezTo>
                    <a:pt x="118" y="58"/>
                    <a:pt x="118" y="58"/>
                    <a:pt x="118" y="58"/>
                  </a:cubicBezTo>
                  <a:cubicBezTo>
                    <a:pt x="118" y="58"/>
                    <a:pt x="119" y="57"/>
                    <a:pt x="119" y="57"/>
                  </a:cubicBezTo>
                  <a:cubicBezTo>
                    <a:pt x="120" y="55"/>
                    <a:pt x="120" y="55"/>
                    <a:pt x="120" y="55"/>
                  </a:cubicBezTo>
                  <a:cubicBezTo>
                    <a:pt x="121" y="53"/>
                    <a:pt x="122" y="50"/>
                    <a:pt x="122" y="49"/>
                  </a:cubicBezTo>
                  <a:cubicBezTo>
                    <a:pt x="122" y="48"/>
                    <a:pt x="122" y="48"/>
                    <a:pt x="122" y="48"/>
                  </a:cubicBezTo>
                  <a:cubicBezTo>
                    <a:pt x="122" y="48"/>
                    <a:pt x="122" y="48"/>
                    <a:pt x="122" y="48"/>
                  </a:cubicBezTo>
                  <a:cubicBezTo>
                    <a:pt x="121" y="44"/>
                    <a:pt x="120" y="41"/>
                    <a:pt x="120" y="36"/>
                  </a:cubicBezTo>
                  <a:cubicBezTo>
                    <a:pt x="120" y="35"/>
                    <a:pt x="119" y="34"/>
                    <a:pt x="117" y="31"/>
                  </a:cubicBezTo>
                  <a:cubicBezTo>
                    <a:pt x="117" y="30"/>
                    <a:pt x="116" y="29"/>
                    <a:pt x="116" y="29"/>
                  </a:cubicBezTo>
                  <a:cubicBezTo>
                    <a:pt x="115" y="28"/>
                    <a:pt x="115" y="28"/>
                    <a:pt x="115" y="28"/>
                  </a:cubicBezTo>
                  <a:cubicBezTo>
                    <a:pt x="113" y="25"/>
                    <a:pt x="112" y="23"/>
                    <a:pt x="111" y="20"/>
                  </a:cubicBezTo>
                  <a:cubicBezTo>
                    <a:pt x="111" y="18"/>
                    <a:pt x="111" y="18"/>
                    <a:pt x="111" y="18"/>
                  </a:cubicBezTo>
                  <a:cubicBezTo>
                    <a:pt x="111" y="16"/>
                    <a:pt x="110" y="12"/>
                    <a:pt x="109" y="10"/>
                  </a:cubicBezTo>
                  <a:cubicBezTo>
                    <a:pt x="109" y="10"/>
                    <a:pt x="108" y="10"/>
                    <a:pt x="108" y="10"/>
                  </a:cubicBezTo>
                  <a:cubicBezTo>
                    <a:pt x="107" y="9"/>
                    <a:pt x="107" y="9"/>
                    <a:pt x="107" y="9"/>
                  </a:cubicBezTo>
                  <a:cubicBezTo>
                    <a:pt x="105" y="9"/>
                    <a:pt x="104" y="8"/>
                    <a:pt x="104" y="8"/>
                  </a:cubicBezTo>
                  <a:cubicBezTo>
                    <a:pt x="103" y="7"/>
                    <a:pt x="102" y="6"/>
                    <a:pt x="102" y="5"/>
                  </a:cubicBezTo>
                  <a:cubicBezTo>
                    <a:pt x="101" y="4"/>
                    <a:pt x="101" y="2"/>
                    <a:pt x="100" y="1"/>
                  </a:cubicBezTo>
                  <a:cubicBezTo>
                    <a:pt x="100" y="1"/>
                    <a:pt x="100" y="1"/>
                    <a:pt x="100" y="1"/>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215"/>
            <p:cNvSpPr/>
            <p:nvPr/>
          </p:nvSpPr>
          <p:spPr bwMode="auto">
            <a:xfrm>
              <a:off x="4346" y="2462"/>
              <a:ext cx="1045" cy="1035"/>
            </a:xfrm>
            <a:custGeom>
              <a:gdLst>
                <a:gd name="T0" fmla="*/ 309 w 442"/>
                <a:gd name="T1" fmla="*/ 5 h 438"/>
                <a:gd name="T2" fmla="*/ 286 w 442"/>
                <a:gd name="T3" fmla="*/ 10 h 438"/>
                <a:gd name="T4" fmla="*/ 258 w 442"/>
                <a:gd name="T5" fmla="*/ 18 h 438"/>
                <a:gd name="T6" fmla="*/ 245 w 442"/>
                <a:gd name="T7" fmla="*/ 20 h 438"/>
                <a:gd name="T8" fmla="*/ 231 w 442"/>
                <a:gd name="T9" fmla="*/ 27 h 438"/>
                <a:gd name="T10" fmla="*/ 211 w 442"/>
                <a:gd name="T11" fmla="*/ 25 h 438"/>
                <a:gd name="T12" fmla="*/ 196 w 442"/>
                <a:gd name="T13" fmla="*/ 21 h 438"/>
                <a:gd name="T14" fmla="*/ 174 w 442"/>
                <a:gd name="T15" fmla="*/ 6 h 438"/>
                <a:gd name="T16" fmla="*/ 162 w 442"/>
                <a:gd name="T17" fmla="*/ 10 h 438"/>
                <a:gd name="T18" fmla="*/ 151 w 442"/>
                <a:gd name="T19" fmla="*/ 26 h 438"/>
                <a:gd name="T20" fmla="*/ 152 w 442"/>
                <a:gd name="T21" fmla="*/ 49 h 438"/>
                <a:gd name="T22" fmla="*/ 147 w 442"/>
                <a:gd name="T23" fmla="*/ 58 h 438"/>
                <a:gd name="T24" fmla="*/ 139 w 442"/>
                <a:gd name="T25" fmla="*/ 76 h 438"/>
                <a:gd name="T26" fmla="*/ 134 w 442"/>
                <a:gd name="T27" fmla="*/ 105 h 438"/>
                <a:gd name="T28" fmla="*/ 116 w 442"/>
                <a:gd name="T29" fmla="*/ 150 h 438"/>
                <a:gd name="T30" fmla="*/ 94 w 442"/>
                <a:gd name="T31" fmla="*/ 177 h 438"/>
                <a:gd name="T32" fmla="*/ 98 w 442"/>
                <a:gd name="T33" fmla="*/ 196 h 438"/>
                <a:gd name="T34" fmla="*/ 87 w 442"/>
                <a:gd name="T35" fmla="*/ 216 h 438"/>
                <a:gd name="T36" fmla="*/ 52 w 442"/>
                <a:gd name="T37" fmla="*/ 242 h 438"/>
                <a:gd name="T38" fmla="*/ 41 w 442"/>
                <a:gd name="T39" fmla="*/ 231 h 438"/>
                <a:gd name="T40" fmla="*/ 18 w 442"/>
                <a:gd name="T41" fmla="*/ 236 h 438"/>
                <a:gd name="T42" fmla="*/ 0 w 442"/>
                <a:gd name="T43" fmla="*/ 262 h 438"/>
                <a:gd name="T44" fmla="*/ 30 w 442"/>
                <a:gd name="T45" fmla="*/ 258 h 438"/>
                <a:gd name="T46" fmla="*/ 91 w 442"/>
                <a:gd name="T47" fmla="*/ 259 h 438"/>
                <a:gd name="T48" fmla="*/ 117 w 442"/>
                <a:gd name="T49" fmla="*/ 299 h 438"/>
                <a:gd name="T50" fmla="*/ 139 w 442"/>
                <a:gd name="T51" fmla="*/ 309 h 438"/>
                <a:gd name="T52" fmla="*/ 170 w 442"/>
                <a:gd name="T53" fmla="*/ 287 h 438"/>
                <a:gd name="T54" fmla="*/ 183 w 442"/>
                <a:gd name="T55" fmla="*/ 285 h 438"/>
                <a:gd name="T56" fmla="*/ 194 w 442"/>
                <a:gd name="T57" fmla="*/ 283 h 438"/>
                <a:gd name="T58" fmla="*/ 205 w 442"/>
                <a:gd name="T59" fmla="*/ 292 h 438"/>
                <a:gd name="T60" fmla="*/ 228 w 442"/>
                <a:gd name="T61" fmla="*/ 318 h 438"/>
                <a:gd name="T62" fmla="*/ 227 w 442"/>
                <a:gd name="T63" fmla="*/ 348 h 438"/>
                <a:gd name="T64" fmla="*/ 236 w 442"/>
                <a:gd name="T65" fmla="*/ 385 h 438"/>
                <a:gd name="T66" fmla="*/ 277 w 442"/>
                <a:gd name="T67" fmla="*/ 372 h 438"/>
                <a:gd name="T68" fmla="*/ 295 w 442"/>
                <a:gd name="T69" fmla="*/ 387 h 438"/>
                <a:gd name="T70" fmla="*/ 312 w 442"/>
                <a:gd name="T71" fmla="*/ 398 h 438"/>
                <a:gd name="T72" fmla="*/ 343 w 442"/>
                <a:gd name="T73" fmla="*/ 401 h 438"/>
                <a:gd name="T74" fmla="*/ 359 w 442"/>
                <a:gd name="T75" fmla="*/ 406 h 438"/>
                <a:gd name="T76" fmla="*/ 395 w 442"/>
                <a:gd name="T77" fmla="*/ 437 h 438"/>
                <a:gd name="T78" fmla="*/ 409 w 442"/>
                <a:gd name="T79" fmla="*/ 434 h 438"/>
                <a:gd name="T80" fmla="*/ 400 w 442"/>
                <a:gd name="T81" fmla="*/ 420 h 438"/>
                <a:gd name="T82" fmla="*/ 391 w 442"/>
                <a:gd name="T83" fmla="*/ 417 h 438"/>
                <a:gd name="T84" fmla="*/ 381 w 442"/>
                <a:gd name="T85" fmla="*/ 367 h 438"/>
                <a:gd name="T86" fmla="*/ 380 w 442"/>
                <a:gd name="T87" fmla="*/ 351 h 438"/>
                <a:gd name="T88" fmla="*/ 386 w 442"/>
                <a:gd name="T89" fmla="*/ 330 h 438"/>
                <a:gd name="T90" fmla="*/ 419 w 442"/>
                <a:gd name="T91" fmla="*/ 316 h 438"/>
                <a:gd name="T92" fmla="*/ 397 w 442"/>
                <a:gd name="T93" fmla="*/ 247 h 438"/>
                <a:gd name="T94" fmla="*/ 396 w 442"/>
                <a:gd name="T95" fmla="*/ 209 h 438"/>
                <a:gd name="T96" fmla="*/ 389 w 442"/>
                <a:gd name="T97" fmla="*/ 187 h 438"/>
                <a:gd name="T98" fmla="*/ 397 w 442"/>
                <a:gd name="T99" fmla="*/ 161 h 438"/>
                <a:gd name="T100" fmla="*/ 405 w 442"/>
                <a:gd name="T101" fmla="*/ 132 h 438"/>
                <a:gd name="T102" fmla="*/ 429 w 442"/>
                <a:gd name="T103" fmla="*/ 88 h 438"/>
                <a:gd name="T104" fmla="*/ 432 w 442"/>
                <a:gd name="T105" fmla="*/ 67 h 438"/>
                <a:gd name="T106" fmla="*/ 433 w 442"/>
                <a:gd name="T107" fmla="*/ 43 h 438"/>
                <a:gd name="T108" fmla="*/ 424 w 442"/>
                <a:gd name="T109" fmla="*/ 34 h 438"/>
                <a:gd name="T110" fmla="*/ 402 w 442"/>
                <a:gd name="T111" fmla="*/ 22 h 438"/>
                <a:gd name="T112" fmla="*/ 373 w 442"/>
                <a:gd name="T113" fmla="*/ 23 h 438"/>
                <a:gd name="T114" fmla="*/ 351 w 442"/>
                <a:gd name="T115" fmla="*/ 6 h 438"/>
                <a:gd name="T116" fmla="*/ 332 w 442"/>
                <a:gd name="T117" fmla="*/ 6 h 438"/>
                <a:gd name="T118" fmla="*/ 314 w 442"/>
                <a:gd name="T119" fmla="*/ 2 h 4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2" h="438">
                  <a:moveTo>
                    <a:pt x="311" y="0"/>
                  </a:moveTo>
                  <a:cubicBezTo>
                    <a:pt x="310" y="0"/>
                    <a:pt x="310" y="0"/>
                    <a:pt x="310" y="0"/>
                  </a:cubicBezTo>
                  <a:cubicBezTo>
                    <a:pt x="310" y="0"/>
                    <a:pt x="309" y="0"/>
                    <a:pt x="309" y="0"/>
                  </a:cubicBezTo>
                  <a:cubicBezTo>
                    <a:pt x="309" y="1"/>
                    <a:pt x="309" y="1"/>
                    <a:pt x="309" y="1"/>
                  </a:cubicBezTo>
                  <a:cubicBezTo>
                    <a:pt x="309" y="1"/>
                    <a:pt x="309" y="1"/>
                    <a:pt x="309" y="1"/>
                  </a:cubicBezTo>
                  <a:cubicBezTo>
                    <a:pt x="309" y="2"/>
                    <a:pt x="309" y="2"/>
                    <a:pt x="309" y="3"/>
                  </a:cubicBezTo>
                  <a:cubicBezTo>
                    <a:pt x="310" y="4"/>
                    <a:pt x="310" y="4"/>
                    <a:pt x="310" y="4"/>
                  </a:cubicBezTo>
                  <a:cubicBezTo>
                    <a:pt x="309" y="5"/>
                    <a:pt x="309" y="5"/>
                    <a:pt x="309" y="5"/>
                  </a:cubicBezTo>
                  <a:cubicBezTo>
                    <a:pt x="307" y="8"/>
                    <a:pt x="303" y="9"/>
                    <a:pt x="300" y="9"/>
                  </a:cubicBezTo>
                  <a:cubicBezTo>
                    <a:pt x="300" y="9"/>
                    <a:pt x="300" y="9"/>
                    <a:pt x="300" y="9"/>
                  </a:cubicBezTo>
                  <a:cubicBezTo>
                    <a:pt x="300" y="9"/>
                    <a:pt x="299" y="9"/>
                    <a:pt x="298" y="9"/>
                  </a:cubicBezTo>
                  <a:cubicBezTo>
                    <a:pt x="297" y="10"/>
                    <a:pt x="297" y="10"/>
                    <a:pt x="297" y="10"/>
                  </a:cubicBezTo>
                  <a:cubicBezTo>
                    <a:pt x="296" y="10"/>
                    <a:pt x="294" y="10"/>
                    <a:pt x="292" y="11"/>
                  </a:cubicBezTo>
                  <a:cubicBezTo>
                    <a:pt x="292" y="11"/>
                    <a:pt x="292" y="11"/>
                    <a:pt x="292" y="11"/>
                  </a:cubicBezTo>
                  <a:cubicBezTo>
                    <a:pt x="291" y="11"/>
                    <a:pt x="290" y="11"/>
                    <a:pt x="290" y="10"/>
                  </a:cubicBezTo>
                  <a:cubicBezTo>
                    <a:pt x="286" y="10"/>
                    <a:pt x="286" y="10"/>
                    <a:pt x="286" y="10"/>
                  </a:cubicBezTo>
                  <a:cubicBezTo>
                    <a:pt x="287" y="8"/>
                    <a:pt x="287" y="8"/>
                    <a:pt x="287" y="8"/>
                  </a:cubicBezTo>
                  <a:cubicBezTo>
                    <a:pt x="287" y="7"/>
                    <a:pt x="286" y="7"/>
                    <a:pt x="286" y="7"/>
                  </a:cubicBezTo>
                  <a:cubicBezTo>
                    <a:pt x="286" y="7"/>
                    <a:pt x="285" y="7"/>
                    <a:pt x="285" y="8"/>
                  </a:cubicBezTo>
                  <a:cubicBezTo>
                    <a:pt x="282" y="9"/>
                    <a:pt x="282" y="9"/>
                    <a:pt x="282" y="9"/>
                  </a:cubicBezTo>
                  <a:cubicBezTo>
                    <a:pt x="270" y="15"/>
                    <a:pt x="270" y="15"/>
                    <a:pt x="270" y="15"/>
                  </a:cubicBezTo>
                  <a:cubicBezTo>
                    <a:pt x="269" y="15"/>
                    <a:pt x="269" y="15"/>
                    <a:pt x="268" y="16"/>
                  </a:cubicBezTo>
                  <a:cubicBezTo>
                    <a:pt x="266" y="17"/>
                    <a:pt x="263" y="18"/>
                    <a:pt x="260" y="18"/>
                  </a:cubicBezTo>
                  <a:cubicBezTo>
                    <a:pt x="260" y="18"/>
                    <a:pt x="259" y="18"/>
                    <a:pt x="258" y="18"/>
                  </a:cubicBezTo>
                  <a:cubicBezTo>
                    <a:pt x="256" y="17"/>
                    <a:pt x="255" y="16"/>
                    <a:pt x="253" y="15"/>
                  </a:cubicBezTo>
                  <a:cubicBezTo>
                    <a:pt x="252" y="15"/>
                    <a:pt x="252" y="14"/>
                    <a:pt x="251" y="14"/>
                  </a:cubicBezTo>
                  <a:cubicBezTo>
                    <a:pt x="253" y="18"/>
                    <a:pt x="253" y="18"/>
                    <a:pt x="253" y="18"/>
                  </a:cubicBezTo>
                  <a:cubicBezTo>
                    <a:pt x="249" y="14"/>
                    <a:pt x="249" y="14"/>
                    <a:pt x="249" y="14"/>
                  </a:cubicBezTo>
                  <a:cubicBezTo>
                    <a:pt x="249" y="14"/>
                    <a:pt x="249" y="14"/>
                    <a:pt x="249" y="14"/>
                  </a:cubicBezTo>
                  <a:cubicBezTo>
                    <a:pt x="248" y="16"/>
                    <a:pt x="247" y="17"/>
                    <a:pt x="247" y="18"/>
                  </a:cubicBezTo>
                  <a:cubicBezTo>
                    <a:pt x="246" y="18"/>
                    <a:pt x="246" y="18"/>
                    <a:pt x="246" y="18"/>
                  </a:cubicBezTo>
                  <a:cubicBezTo>
                    <a:pt x="246" y="19"/>
                    <a:pt x="246" y="19"/>
                    <a:pt x="245" y="20"/>
                  </a:cubicBezTo>
                  <a:cubicBezTo>
                    <a:pt x="243" y="23"/>
                    <a:pt x="242" y="25"/>
                    <a:pt x="242" y="25"/>
                  </a:cubicBezTo>
                  <a:cubicBezTo>
                    <a:pt x="242" y="27"/>
                    <a:pt x="242" y="27"/>
                    <a:pt x="242" y="27"/>
                  </a:cubicBezTo>
                  <a:cubicBezTo>
                    <a:pt x="238" y="30"/>
                    <a:pt x="238" y="30"/>
                    <a:pt x="238" y="30"/>
                  </a:cubicBezTo>
                  <a:cubicBezTo>
                    <a:pt x="238" y="29"/>
                    <a:pt x="238" y="29"/>
                    <a:pt x="238" y="29"/>
                  </a:cubicBezTo>
                  <a:cubicBezTo>
                    <a:pt x="238" y="29"/>
                    <a:pt x="237" y="29"/>
                    <a:pt x="237" y="29"/>
                  </a:cubicBezTo>
                  <a:cubicBezTo>
                    <a:pt x="237" y="29"/>
                    <a:pt x="236" y="29"/>
                    <a:pt x="235" y="29"/>
                  </a:cubicBezTo>
                  <a:cubicBezTo>
                    <a:pt x="235" y="28"/>
                    <a:pt x="235" y="28"/>
                    <a:pt x="234" y="28"/>
                  </a:cubicBezTo>
                  <a:cubicBezTo>
                    <a:pt x="233" y="28"/>
                    <a:pt x="232" y="28"/>
                    <a:pt x="231" y="27"/>
                  </a:cubicBezTo>
                  <a:cubicBezTo>
                    <a:pt x="230" y="27"/>
                    <a:pt x="230" y="27"/>
                    <a:pt x="230" y="27"/>
                  </a:cubicBezTo>
                  <a:cubicBezTo>
                    <a:pt x="230" y="27"/>
                    <a:pt x="229" y="27"/>
                    <a:pt x="229" y="27"/>
                  </a:cubicBezTo>
                  <a:cubicBezTo>
                    <a:pt x="228" y="27"/>
                    <a:pt x="228" y="27"/>
                    <a:pt x="228" y="27"/>
                  </a:cubicBezTo>
                  <a:cubicBezTo>
                    <a:pt x="227" y="27"/>
                    <a:pt x="227" y="27"/>
                    <a:pt x="227" y="27"/>
                  </a:cubicBezTo>
                  <a:cubicBezTo>
                    <a:pt x="225" y="27"/>
                    <a:pt x="223" y="27"/>
                    <a:pt x="222" y="26"/>
                  </a:cubicBezTo>
                  <a:cubicBezTo>
                    <a:pt x="219" y="26"/>
                    <a:pt x="219" y="26"/>
                    <a:pt x="219" y="26"/>
                  </a:cubicBezTo>
                  <a:cubicBezTo>
                    <a:pt x="217" y="26"/>
                    <a:pt x="215" y="26"/>
                    <a:pt x="213" y="26"/>
                  </a:cubicBezTo>
                  <a:cubicBezTo>
                    <a:pt x="211" y="25"/>
                    <a:pt x="211" y="25"/>
                    <a:pt x="211" y="25"/>
                  </a:cubicBezTo>
                  <a:cubicBezTo>
                    <a:pt x="210" y="25"/>
                    <a:pt x="210" y="25"/>
                    <a:pt x="209" y="25"/>
                  </a:cubicBezTo>
                  <a:cubicBezTo>
                    <a:pt x="208" y="29"/>
                    <a:pt x="208" y="29"/>
                    <a:pt x="208" y="29"/>
                  </a:cubicBezTo>
                  <a:cubicBezTo>
                    <a:pt x="208" y="24"/>
                    <a:pt x="208" y="24"/>
                    <a:pt x="208" y="24"/>
                  </a:cubicBezTo>
                  <a:cubicBezTo>
                    <a:pt x="207" y="24"/>
                    <a:pt x="207" y="24"/>
                    <a:pt x="207" y="24"/>
                  </a:cubicBezTo>
                  <a:cubicBezTo>
                    <a:pt x="206" y="24"/>
                    <a:pt x="204" y="24"/>
                    <a:pt x="202" y="23"/>
                  </a:cubicBezTo>
                  <a:cubicBezTo>
                    <a:pt x="201" y="23"/>
                    <a:pt x="201" y="23"/>
                    <a:pt x="201" y="23"/>
                  </a:cubicBezTo>
                  <a:cubicBezTo>
                    <a:pt x="200" y="22"/>
                    <a:pt x="199" y="22"/>
                    <a:pt x="197" y="22"/>
                  </a:cubicBezTo>
                  <a:cubicBezTo>
                    <a:pt x="197" y="21"/>
                    <a:pt x="196" y="21"/>
                    <a:pt x="196" y="21"/>
                  </a:cubicBezTo>
                  <a:cubicBezTo>
                    <a:pt x="195" y="21"/>
                    <a:pt x="194" y="21"/>
                    <a:pt x="193" y="21"/>
                  </a:cubicBezTo>
                  <a:cubicBezTo>
                    <a:pt x="191" y="20"/>
                    <a:pt x="189" y="18"/>
                    <a:pt x="187" y="17"/>
                  </a:cubicBezTo>
                  <a:cubicBezTo>
                    <a:pt x="180" y="9"/>
                    <a:pt x="180" y="9"/>
                    <a:pt x="180" y="9"/>
                  </a:cubicBezTo>
                  <a:cubicBezTo>
                    <a:pt x="179" y="9"/>
                    <a:pt x="179" y="9"/>
                    <a:pt x="179" y="9"/>
                  </a:cubicBezTo>
                  <a:cubicBezTo>
                    <a:pt x="178" y="8"/>
                    <a:pt x="178" y="8"/>
                    <a:pt x="178" y="8"/>
                  </a:cubicBezTo>
                  <a:cubicBezTo>
                    <a:pt x="177" y="8"/>
                    <a:pt x="176" y="7"/>
                    <a:pt x="175" y="7"/>
                  </a:cubicBezTo>
                  <a:cubicBezTo>
                    <a:pt x="175" y="6"/>
                    <a:pt x="175" y="6"/>
                    <a:pt x="175" y="6"/>
                  </a:cubicBezTo>
                  <a:cubicBezTo>
                    <a:pt x="174" y="6"/>
                    <a:pt x="174" y="6"/>
                    <a:pt x="174" y="6"/>
                  </a:cubicBezTo>
                  <a:cubicBezTo>
                    <a:pt x="173" y="6"/>
                    <a:pt x="173" y="6"/>
                    <a:pt x="173" y="6"/>
                  </a:cubicBezTo>
                  <a:cubicBezTo>
                    <a:pt x="173" y="6"/>
                    <a:pt x="173" y="6"/>
                    <a:pt x="173" y="6"/>
                  </a:cubicBezTo>
                  <a:cubicBezTo>
                    <a:pt x="172" y="6"/>
                    <a:pt x="172" y="6"/>
                    <a:pt x="172" y="6"/>
                  </a:cubicBezTo>
                  <a:cubicBezTo>
                    <a:pt x="171" y="5"/>
                    <a:pt x="171" y="5"/>
                    <a:pt x="171" y="5"/>
                  </a:cubicBezTo>
                  <a:cubicBezTo>
                    <a:pt x="171" y="5"/>
                    <a:pt x="171" y="5"/>
                    <a:pt x="171" y="5"/>
                  </a:cubicBezTo>
                  <a:cubicBezTo>
                    <a:pt x="171" y="5"/>
                    <a:pt x="171" y="5"/>
                    <a:pt x="170" y="5"/>
                  </a:cubicBezTo>
                  <a:cubicBezTo>
                    <a:pt x="170" y="6"/>
                    <a:pt x="170" y="6"/>
                    <a:pt x="170" y="6"/>
                  </a:cubicBezTo>
                  <a:cubicBezTo>
                    <a:pt x="167" y="6"/>
                    <a:pt x="164" y="8"/>
                    <a:pt x="162" y="10"/>
                  </a:cubicBezTo>
                  <a:cubicBezTo>
                    <a:pt x="161" y="11"/>
                    <a:pt x="160" y="12"/>
                    <a:pt x="160" y="13"/>
                  </a:cubicBezTo>
                  <a:cubicBezTo>
                    <a:pt x="159" y="13"/>
                    <a:pt x="159" y="13"/>
                    <a:pt x="159" y="13"/>
                  </a:cubicBezTo>
                  <a:cubicBezTo>
                    <a:pt x="158" y="15"/>
                    <a:pt x="158" y="16"/>
                    <a:pt x="157" y="17"/>
                  </a:cubicBezTo>
                  <a:cubicBezTo>
                    <a:pt x="156" y="18"/>
                    <a:pt x="156" y="18"/>
                    <a:pt x="156" y="18"/>
                  </a:cubicBezTo>
                  <a:cubicBezTo>
                    <a:pt x="156" y="19"/>
                    <a:pt x="156" y="19"/>
                    <a:pt x="156" y="19"/>
                  </a:cubicBezTo>
                  <a:cubicBezTo>
                    <a:pt x="155" y="20"/>
                    <a:pt x="154" y="22"/>
                    <a:pt x="152" y="23"/>
                  </a:cubicBezTo>
                  <a:cubicBezTo>
                    <a:pt x="152" y="23"/>
                    <a:pt x="151" y="23"/>
                    <a:pt x="151" y="24"/>
                  </a:cubicBezTo>
                  <a:cubicBezTo>
                    <a:pt x="151" y="25"/>
                    <a:pt x="151" y="26"/>
                    <a:pt x="151" y="26"/>
                  </a:cubicBezTo>
                  <a:cubicBezTo>
                    <a:pt x="151" y="28"/>
                    <a:pt x="151" y="29"/>
                    <a:pt x="151" y="30"/>
                  </a:cubicBezTo>
                  <a:cubicBezTo>
                    <a:pt x="151" y="31"/>
                    <a:pt x="151" y="31"/>
                    <a:pt x="151" y="31"/>
                  </a:cubicBezTo>
                  <a:cubicBezTo>
                    <a:pt x="151" y="31"/>
                    <a:pt x="151" y="32"/>
                    <a:pt x="151" y="33"/>
                  </a:cubicBezTo>
                  <a:cubicBezTo>
                    <a:pt x="151" y="34"/>
                    <a:pt x="151" y="36"/>
                    <a:pt x="151" y="38"/>
                  </a:cubicBezTo>
                  <a:cubicBezTo>
                    <a:pt x="151" y="39"/>
                    <a:pt x="151" y="40"/>
                    <a:pt x="151" y="41"/>
                  </a:cubicBezTo>
                  <a:cubicBezTo>
                    <a:pt x="151" y="44"/>
                    <a:pt x="151" y="44"/>
                    <a:pt x="151" y="44"/>
                  </a:cubicBezTo>
                  <a:cubicBezTo>
                    <a:pt x="151" y="44"/>
                    <a:pt x="152" y="45"/>
                    <a:pt x="151" y="46"/>
                  </a:cubicBezTo>
                  <a:cubicBezTo>
                    <a:pt x="152" y="49"/>
                    <a:pt x="152" y="49"/>
                    <a:pt x="152" y="49"/>
                  </a:cubicBezTo>
                  <a:cubicBezTo>
                    <a:pt x="151" y="48"/>
                    <a:pt x="151" y="48"/>
                    <a:pt x="151" y="48"/>
                  </a:cubicBezTo>
                  <a:cubicBezTo>
                    <a:pt x="151" y="49"/>
                    <a:pt x="151" y="50"/>
                    <a:pt x="151" y="50"/>
                  </a:cubicBezTo>
                  <a:cubicBezTo>
                    <a:pt x="151" y="50"/>
                    <a:pt x="150" y="51"/>
                    <a:pt x="150" y="51"/>
                  </a:cubicBezTo>
                  <a:cubicBezTo>
                    <a:pt x="150" y="52"/>
                    <a:pt x="150" y="53"/>
                    <a:pt x="149" y="54"/>
                  </a:cubicBezTo>
                  <a:cubicBezTo>
                    <a:pt x="149" y="54"/>
                    <a:pt x="149" y="55"/>
                    <a:pt x="149" y="55"/>
                  </a:cubicBezTo>
                  <a:cubicBezTo>
                    <a:pt x="148" y="56"/>
                    <a:pt x="148" y="57"/>
                    <a:pt x="147" y="57"/>
                  </a:cubicBezTo>
                  <a:cubicBezTo>
                    <a:pt x="147" y="58"/>
                    <a:pt x="147" y="58"/>
                    <a:pt x="147" y="58"/>
                  </a:cubicBezTo>
                  <a:cubicBezTo>
                    <a:pt x="147" y="58"/>
                    <a:pt x="147" y="58"/>
                    <a:pt x="147" y="58"/>
                  </a:cubicBezTo>
                  <a:cubicBezTo>
                    <a:pt x="146" y="59"/>
                    <a:pt x="146" y="60"/>
                    <a:pt x="145" y="61"/>
                  </a:cubicBezTo>
                  <a:cubicBezTo>
                    <a:pt x="144" y="63"/>
                    <a:pt x="144" y="63"/>
                    <a:pt x="144" y="63"/>
                  </a:cubicBezTo>
                  <a:cubicBezTo>
                    <a:pt x="144" y="63"/>
                    <a:pt x="143" y="64"/>
                    <a:pt x="143" y="65"/>
                  </a:cubicBezTo>
                  <a:cubicBezTo>
                    <a:pt x="147" y="67"/>
                    <a:pt x="147" y="67"/>
                    <a:pt x="147" y="67"/>
                  </a:cubicBezTo>
                  <a:cubicBezTo>
                    <a:pt x="142" y="66"/>
                    <a:pt x="142" y="66"/>
                    <a:pt x="142" y="66"/>
                  </a:cubicBezTo>
                  <a:cubicBezTo>
                    <a:pt x="141" y="67"/>
                    <a:pt x="141" y="67"/>
                    <a:pt x="141" y="67"/>
                  </a:cubicBezTo>
                  <a:cubicBezTo>
                    <a:pt x="140" y="70"/>
                    <a:pt x="139" y="72"/>
                    <a:pt x="139" y="75"/>
                  </a:cubicBezTo>
                  <a:cubicBezTo>
                    <a:pt x="139" y="75"/>
                    <a:pt x="139" y="75"/>
                    <a:pt x="139" y="76"/>
                  </a:cubicBezTo>
                  <a:cubicBezTo>
                    <a:pt x="138" y="76"/>
                    <a:pt x="138" y="76"/>
                    <a:pt x="138" y="76"/>
                  </a:cubicBezTo>
                  <a:cubicBezTo>
                    <a:pt x="138" y="77"/>
                    <a:pt x="138" y="78"/>
                    <a:pt x="138" y="80"/>
                  </a:cubicBezTo>
                  <a:cubicBezTo>
                    <a:pt x="138" y="82"/>
                    <a:pt x="137" y="84"/>
                    <a:pt x="137" y="86"/>
                  </a:cubicBezTo>
                  <a:cubicBezTo>
                    <a:pt x="136" y="89"/>
                    <a:pt x="136" y="89"/>
                    <a:pt x="136" y="89"/>
                  </a:cubicBezTo>
                  <a:cubicBezTo>
                    <a:pt x="135" y="92"/>
                    <a:pt x="135" y="94"/>
                    <a:pt x="134" y="97"/>
                  </a:cubicBezTo>
                  <a:cubicBezTo>
                    <a:pt x="134" y="99"/>
                    <a:pt x="134" y="100"/>
                    <a:pt x="134" y="101"/>
                  </a:cubicBezTo>
                  <a:cubicBezTo>
                    <a:pt x="134" y="102"/>
                    <a:pt x="134" y="103"/>
                    <a:pt x="134" y="105"/>
                  </a:cubicBezTo>
                  <a:cubicBezTo>
                    <a:pt x="134" y="105"/>
                    <a:pt x="134" y="105"/>
                    <a:pt x="134" y="105"/>
                  </a:cubicBezTo>
                  <a:cubicBezTo>
                    <a:pt x="134" y="106"/>
                    <a:pt x="134" y="108"/>
                    <a:pt x="134" y="109"/>
                  </a:cubicBezTo>
                  <a:cubicBezTo>
                    <a:pt x="134" y="110"/>
                    <a:pt x="134" y="111"/>
                    <a:pt x="135" y="111"/>
                  </a:cubicBezTo>
                  <a:cubicBezTo>
                    <a:pt x="135" y="113"/>
                    <a:pt x="135" y="115"/>
                    <a:pt x="134" y="118"/>
                  </a:cubicBezTo>
                  <a:cubicBezTo>
                    <a:pt x="126" y="141"/>
                    <a:pt x="126" y="141"/>
                    <a:pt x="126" y="141"/>
                  </a:cubicBezTo>
                  <a:cubicBezTo>
                    <a:pt x="126" y="144"/>
                    <a:pt x="123" y="145"/>
                    <a:pt x="122" y="146"/>
                  </a:cubicBezTo>
                  <a:cubicBezTo>
                    <a:pt x="121" y="147"/>
                    <a:pt x="121" y="147"/>
                    <a:pt x="120" y="147"/>
                  </a:cubicBezTo>
                  <a:cubicBezTo>
                    <a:pt x="119" y="148"/>
                    <a:pt x="119" y="148"/>
                    <a:pt x="119" y="148"/>
                  </a:cubicBezTo>
                  <a:cubicBezTo>
                    <a:pt x="118" y="148"/>
                    <a:pt x="117" y="149"/>
                    <a:pt x="116" y="150"/>
                  </a:cubicBezTo>
                  <a:cubicBezTo>
                    <a:pt x="115" y="151"/>
                    <a:pt x="113" y="152"/>
                    <a:pt x="111" y="154"/>
                  </a:cubicBezTo>
                  <a:cubicBezTo>
                    <a:pt x="110" y="154"/>
                    <a:pt x="109" y="155"/>
                    <a:pt x="109" y="155"/>
                  </a:cubicBezTo>
                  <a:cubicBezTo>
                    <a:pt x="109" y="156"/>
                    <a:pt x="109" y="156"/>
                    <a:pt x="109" y="156"/>
                  </a:cubicBezTo>
                  <a:cubicBezTo>
                    <a:pt x="108" y="156"/>
                    <a:pt x="108" y="157"/>
                    <a:pt x="107" y="157"/>
                  </a:cubicBezTo>
                  <a:cubicBezTo>
                    <a:pt x="107" y="159"/>
                    <a:pt x="106" y="160"/>
                    <a:pt x="105" y="162"/>
                  </a:cubicBezTo>
                  <a:cubicBezTo>
                    <a:pt x="102" y="167"/>
                    <a:pt x="99" y="171"/>
                    <a:pt x="95" y="176"/>
                  </a:cubicBezTo>
                  <a:cubicBezTo>
                    <a:pt x="95" y="176"/>
                    <a:pt x="95" y="176"/>
                    <a:pt x="95" y="176"/>
                  </a:cubicBezTo>
                  <a:cubicBezTo>
                    <a:pt x="94" y="176"/>
                    <a:pt x="94" y="176"/>
                    <a:pt x="94" y="177"/>
                  </a:cubicBezTo>
                  <a:cubicBezTo>
                    <a:pt x="94" y="178"/>
                    <a:pt x="94" y="178"/>
                    <a:pt x="94" y="178"/>
                  </a:cubicBezTo>
                  <a:cubicBezTo>
                    <a:pt x="94" y="182"/>
                    <a:pt x="94" y="182"/>
                    <a:pt x="94" y="182"/>
                  </a:cubicBezTo>
                  <a:cubicBezTo>
                    <a:pt x="94" y="185"/>
                    <a:pt x="94" y="188"/>
                    <a:pt x="94" y="190"/>
                  </a:cubicBezTo>
                  <a:cubicBezTo>
                    <a:pt x="94" y="191"/>
                    <a:pt x="94" y="192"/>
                    <a:pt x="94" y="193"/>
                  </a:cubicBezTo>
                  <a:cubicBezTo>
                    <a:pt x="94" y="194"/>
                    <a:pt x="94" y="194"/>
                    <a:pt x="94" y="194"/>
                  </a:cubicBezTo>
                  <a:cubicBezTo>
                    <a:pt x="94" y="194"/>
                    <a:pt x="94" y="194"/>
                    <a:pt x="94" y="194"/>
                  </a:cubicBezTo>
                  <a:cubicBezTo>
                    <a:pt x="94" y="196"/>
                    <a:pt x="94" y="196"/>
                    <a:pt x="94" y="196"/>
                  </a:cubicBezTo>
                  <a:cubicBezTo>
                    <a:pt x="98" y="196"/>
                    <a:pt x="98" y="196"/>
                    <a:pt x="98" y="196"/>
                  </a:cubicBezTo>
                  <a:cubicBezTo>
                    <a:pt x="94" y="197"/>
                    <a:pt x="94" y="197"/>
                    <a:pt x="94" y="197"/>
                  </a:cubicBezTo>
                  <a:cubicBezTo>
                    <a:pt x="94" y="198"/>
                    <a:pt x="94" y="198"/>
                    <a:pt x="94" y="198"/>
                  </a:cubicBezTo>
                  <a:cubicBezTo>
                    <a:pt x="95" y="199"/>
                    <a:pt x="95" y="200"/>
                    <a:pt x="95" y="200"/>
                  </a:cubicBezTo>
                  <a:cubicBezTo>
                    <a:pt x="94" y="201"/>
                    <a:pt x="94" y="202"/>
                    <a:pt x="94" y="203"/>
                  </a:cubicBezTo>
                  <a:cubicBezTo>
                    <a:pt x="94" y="203"/>
                    <a:pt x="94" y="203"/>
                    <a:pt x="94" y="204"/>
                  </a:cubicBezTo>
                  <a:cubicBezTo>
                    <a:pt x="94" y="205"/>
                    <a:pt x="93" y="206"/>
                    <a:pt x="93" y="207"/>
                  </a:cubicBezTo>
                  <a:cubicBezTo>
                    <a:pt x="91" y="209"/>
                    <a:pt x="91" y="209"/>
                    <a:pt x="91" y="209"/>
                  </a:cubicBezTo>
                  <a:cubicBezTo>
                    <a:pt x="90" y="211"/>
                    <a:pt x="89" y="214"/>
                    <a:pt x="87" y="216"/>
                  </a:cubicBezTo>
                  <a:cubicBezTo>
                    <a:pt x="85" y="220"/>
                    <a:pt x="80" y="223"/>
                    <a:pt x="76" y="225"/>
                  </a:cubicBezTo>
                  <a:cubicBezTo>
                    <a:pt x="75" y="226"/>
                    <a:pt x="74" y="227"/>
                    <a:pt x="72" y="227"/>
                  </a:cubicBezTo>
                  <a:cubicBezTo>
                    <a:pt x="69" y="230"/>
                    <a:pt x="66" y="233"/>
                    <a:pt x="63" y="236"/>
                  </a:cubicBezTo>
                  <a:cubicBezTo>
                    <a:pt x="63" y="237"/>
                    <a:pt x="63" y="237"/>
                    <a:pt x="63" y="237"/>
                  </a:cubicBezTo>
                  <a:cubicBezTo>
                    <a:pt x="61" y="239"/>
                    <a:pt x="59" y="241"/>
                    <a:pt x="56" y="242"/>
                  </a:cubicBezTo>
                  <a:cubicBezTo>
                    <a:pt x="56" y="242"/>
                    <a:pt x="55" y="242"/>
                    <a:pt x="55" y="242"/>
                  </a:cubicBezTo>
                  <a:cubicBezTo>
                    <a:pt x="54" y="242"/>
                    <a:pt x="54" y="242"/>
                    <a:pt x="54" y="242"/>
                  </a:cubicBezTo>
                  <a:cubicBezTo>
                    <a:pt x="53" y="242"/>
                    <a:pt x="53" y="242"/>
                    <a:pt x="52" y="242"/>
                  </a:cubicBezTo>
                  <a:cubicBezTo>
                    <a:pt x="52" y="242"/>
                    <a:pt x="52" y="242"/>
                    <a:pt x="52" y="242"/>
                  </a:cubicBezTo>
                  <a:cubicBezTo>
                    <a:pt x="51" y="242"/>
                    <a:pt x="50" y="241"/>
                    <a:pt x="50" y="241"/>
                  </a:cubicBezTo>
                  <a:cubicBezTo>
                    <a:pt x="46" y="241"/>
                    <a:pt x="46" y="239"/>
                    <a:pt x="46" y="229"/>
                  </a:cubicBezTo>
                  <a:cubicBezTo>
                    <a:pt x="46" y="229"/>
                    <a:pt x="46" y="229"/>
                    <a:pt x="46" y="229"/>
                  </a:cubicBezTo>
                  <a:cubicBezTo>
                    <a:pt x="46" y="229"/>
                    <a:pt x="46" y="229"/>
                    <a:pt x="45" y="229"/>
                  </a:cubicBezTo>
                  <a:cubicBezTo>
                    <a:pt x="44" y="230"/>
                    <a:pt x="43" y="230"/>
                    <a:pt x="43" y="230"/>
                  </a:cubicBezTo>
                  <a:cubicBezTo>
                    <a:pt x="43" y="230"/>
                    <a:pt x="42" y="230"/>
                    <a:pt x="42" y="230"/>
                  </a:cubicBezTo>
                  <a:cubicBezTo>
                    <a:pt x="42" y="230"/>
                    <a:pt x="42" y="230"/>
                    <a:pt x="41" y="231"/>
                  </a:cubicBezTo>
                  <a:cubicBezTo>
                    <a:pt x="39" y="231"/>
                    <a:pt x="38" y="231"/>
                    <a:pt x="37" y="231"/>
                  </a:cubicBezTo>
                  <a:cubicBezTo>
                    <a:pt x="36" y="231"/>
                    <a:pt x="36" y="231"/>
                    <a:pt x="36" y="231"/>
                  </a:cubicBezTo>
                  <a:cubicBezTo>
                    <a:pt x="36" y="232"/>
                    <a:pt x="36" y="232"/>
                    <a:pt x="36" y="232"/>
                  </a:cubicBezTo>
                  <a:cubicBezTo>
                    <a:pt x="35" y="235"/>
                    <a:pt x="32" y="238"/>
                    <a:pt x="30" y="239"/>
                  </a:cubicBezTo>
                  <a:cubicBezTo>
                    <a:pt x="28" y="240"/>
                    <a:pt x="27" y="241"/>
                    <a:pt x="26" y="241"/>
                  </a:cubicBezTo>
                  <a:cubicBezTo>
                    <a:pt x="24" y="241"/>
                    <a:pt x="22" y="239"/>
                    <a:pt x="21" y="238"/>
                  </a:cubicBezTo>
                  <a:cubicBezTo>
                    <a:pt x="20" y="238"/>
                    <a:pt x="20" y="237"/>
                    <a:pt x="19" y="237"/>
                  </a:cubicBezTo>
                  <a:cubicBezTo>
                    <a:pt x="18" y="236"/>
                    <a:pt x="18" y="236"/>
                    <a:pt x="18" y="236"/>
                  </a:cubicBezTo>
                  <a:cubicBezTo>
                    <a:pt x="18" y="236"/>
                    <a:pt x="18" y="236"/>
                    <a:pt x="18" y="236"/>
                  </a:cubicBezTo>
                  <a:cubicBezTo>
                    <a:pt x="14" y="238"/>
                    <a:pt x="11" y="240"/>
                    <a:pt x="7" y="243"/>
                  </a:cubicBezTo>
                  <a:cubicBezTo>
                    <a:pt x="7" y="243"/>
                    <a:pt x="7" y="243"/>
                    <a:pt x="7" y="243"/>
                  </a:cubicBezTo>
                  <a:cubicBezTo>
                    <a:pt x="9" y="244"/>
                    <a:pt x="9" y="244"/>
                    <a:pt x="9" y="244"/>
                  </a:cubicBezTo>
                  <a:cubicBezTo>
                    <a:pt x="6" y="244"/>
                    <a:pt x="6" y="244"/>
                    <a:pt x="6" y="244"/>
                  </a:cubicBezTo>
                  <a:cubicBezTo>
                    <a:pt x="7" y="245"/>
                    <a:pt x="7" y="246"/>
                    <a:pt x="7" y="247"/>
                  </a:cubicBezTo>
                  <a:cubicBezTo>
                    <a:pt x="8" y="254"/>
                    <a:pt x="9" y="258"/>
                    <a:pt x="7" y="260"/>
                  </a:cubicBezTo>
                  <a:cubicBezTo>
                    <a:pt x="6" y="261"/>
                    <a:pt x="5" y="261"/>
                    <a:pt x="0" y="262"/>
                  </a:cubicBezTo>
                  <a:cubicBezTo>
                    <a:pt x="2" y="262"/>
                    <a:pt x="2" y="262"/>
                    <a:pt x="2" y="262"/>
                  </a:cubicBezTo>
                  <a:cubicBezTo>
                    <a:pt x="4" y="262"/>
                    <a:pt x="5" y="261"/>
                    <a:pt x="7" y="261"/>
                  </a:cubicBezTo>
                  <a:cubicBezTo>
                    <a:pt x="9" y="259"/>
                    <a:pt x="11" y="258"/>
                    <a:pt x="15" y="258"/>
                  </a:cubicBezTo>
                  <a:cubicBezTo>
                    <a:pt x="15" y="258"/>
                    <a:pt x="16" y="258"/>
                    <a:pt x="16" y="258"/>
                  </a:cubicBezTo>
                  <a:cubicBezTo>
                    <a:pt x="19" y="258"/>
                    <a:pt x="23" y="258"/>
                    <a:pt x="26" y="258"/>
                  </a:cubicBezTo>
                  <a:cubicBezTo>
                    <a:pt x="27" y="258"/>
                    <a:pt x="27" y="258"/>
                    <a:pt x="27" y="258"/>
                  </a:cubicBezTo>
                  <a:cubicBezTo>
                    <a:pt x="28" y="258"/>
                    <a:pt x="28" y="258"/>
                    <a:pt x="28" y="258"/>
                  </a:cubicBezTo>
                  <a:cubicBezTo>
                    <a:pt x="28" y="258"/>
                    <a:pt x="29" y="258"/>
                    <a:pt x="30" y="258"/>
                  </a:cubicBezTo>
                  <a:cubicBezTo>
                    <a:pt x="32" y="258"/>
                    <a:pt x="34" y="258"/>
                    <a:pt x="36" y="259"/>
                  </a:cubicBezTo>
                  <a:cubicBezTo>
                    <a:pt x="38" y="259"/>
                    <a:pt x="40" y="259"/>
                    <a:pt x="42" y="259"/>
                  </a:cubicBezTo>
                  <a:cubicBezTo>
                    <a:pt x="46" y="259"/>
                    <a:pt x="46" y="259"/>
                    <a:pt x="46" y="259"/>
                  </a:cubicBezTo>
                  <a:cubicBezTo>
                    <a:pt x="49" y="259"/>
                    <a:pt x="52" y="259"/>
                    <a:pt x="55" y="259"/>
                  </a:cubicBezTo>
                  <a:cubicBezTo>
                    <a:pt x="56" y="259"/>
                    <a:pt x="57" y="259"/>
                    <a:pt x="58" y="259"/>
                  </a:cubicBezTo>
                  <a:cubicBezTo>
                    <a:pt x="85" y="259"/>
                    <a:pt x="85" y="259"/>
                    <a:pt x="85" y="259"/>
                  </a:cubicBezTo>
                  <a:cubicBezTo>
                    <a:pt x="86" y="259"/>
                    <a:pt x="87" y="259"/>
                    <a:pt x="87" y="259"/>
                  </a:cubicBezTo>
                  <a:cubicBezTo>
                    <a:pt x="89" y="259"/>
                    <a:pt x="90" y="259"/>
                    <a:pt x="91" y="259"/>
                  </a:cubicBezTo>
                  <a:cubicBezTo>
                    <a:pt x="92" y="259"/>
                    <a:pt x="92" y="259"/>
                    <a:pt x="93" y="259"/>
                  </a:cubicBezTo>
                  <a:cubicBezTo>
                    <a:pt x="94" y="259"/>
                    <a:pt x="94" y="259"/>
                    <a:pt x="94" y="259"/>
                  </a:cubicBezTo>
                  <a:cubicBezTo>
                    <a:pt x="94" y="259"/>
                    <a:pt x="95" y="259"/>
                    <a:pt x="95" y="259"/>
                  </a:cubicBezTo>
                  <a:cubicBezTo>
                    <a:pt x="98" y="259"/>
                    <a:pt x="100" y="259"/>
                    <a:pt x="101" y="260"/>
                  </a:cubicBezTo>
                  <a:cubicBezTo>
                    <a:pt x="105" y="261"/>
                    <a:pt x="106" y="266"/>
                    <a:pt x="106" y="269"/>
                  </a:cubicBezTo>
                  <a:cubicBezTo>
                    <a:pt x="107" y="270"/>
                    <a:pt x="107" y="272"/>
                    <a:pt x="107" y="273"/>
                  </a:cubicBezTo>
                  <a:cubicBezTo>
                    <a:pt x="108" y="280"/>
                    <a:pt x="110" y="286"/>
                    <a:pt x="113" y="292"/>
                  </a:cubicBezTo>
                  <a:cubicBezTo>
                    <a:pt x="114" y="294"/>
                    <a:pt x="116" y="297"/>
                    <a:pt x="117" y="299"/>
                  </a:cubicBezTo>
                  <a:cubicBezTo>
                    <a:pt x="118" y="299"/>
                    <a:pt x="118" y="300"/>
                    <a:pt x="119" y="302"/>
                  </a:cubicBezTo>
                  <a:cubicBezTo>
                    <a:pt x="123" y="309"/>
                    <a:pt x="123" y="309"/>
                    <a:pt x="123" y="309"/>
                  </a:cubicBezTo>
                  <a:cubicBezTo>
                    <a:pt x="125" y="311"/>
                    <a:pt x="125" y="311"/>
                    <a:pt x="128" y="311"/>
                  </a:cubicBezTo>
                  <a:cubicBezTo>
                    <a:pt x="135" y="312"/>
                    <a:pt x="135" y="312"/>
                    <a:pt x="135" y="312"/>
                  </a:cubicBezTo>
                  <a:cubicBezTo>
                    <a:pt x="135" y="311"/>
                    <a:pt x="136" y="310"/>
                    <a:pt x="137" y="310"/>
                  </a:cubicBezTo>
                  <a:cubicBezTo>
                    <a:pt x="137" y="310"/>
                    <a:pt x="137" y="310"/>
                    <a:pt x="137" y="310"/>
                  </a:cubicBezTo>
                  <a:cubicBezTo>
                    <a:pt x="138" y="309"/>
                    <a:pt x="138" y="309"/>
                    <a:pt x="138" y="309"/>
                  </a:cubicBezTo>
                  <a:cubicBezTo>
                    <a:pt x="139" y="309"/>
                    <a:pt x="139" y="309"/>
                    <a:pt x="139" y="309"/>
                  </a:cubicBezTo>
                  <a:cubicBezTo>
                    <a:pt x="141" y="308"/>
                    <a:pt x="144" y="308"/>
                    <a:pt x="147" y="308"/>
                  </a:cubicBezTo>
                  <a:cubicBezTo>
                    <a:pt x="148" y="308"/>
                    <a:pt x="149" y="308"/>
                    <a:pt x="149" y="308"/>
                  </a:cubicBezTo>
                  <a:cubicBezTo>
                    <a:pt x="164" y="309"/>
                    <a:pt x="164" y="309"/>
                    <a:pt x="164" y="309"/>
                  </a:cubicBezTo>
                  <a:cubicBezTo>
                    <a:pt x="164" y="309"/>
                    <a:pt x="164" y="309"/>
                    <a:pt x="164" y="308"/>
                  </a:cubicBezTo>
                  <a:cubicBezTo>
                    <a:pt x="164" y="307"/>
                    <a:pt x="164" y="307"/>
                    <a:pt x="164" y="307"/>
                  </a:cubicBezTo>
                  <a:cubicBezTo>
                    <a:pt x="164" y="307"/>
                    <a:pt x="164" y="306"/>
                    <a:pt x="164" y="306"/>
                  </a:cubicBezTo>
                  <a:cubicBezTo>
                    <a:pt x="166" y="298"/>
                    <a:pt x="166" y="298"/>
                    <a:pt x="166" y="298"/>
                  </a:cubicBezTo>
                  <a:cubicBezTo>
                    <a:pt x="167" y="290"/>
                    <a:pt x="168" y="287"/>
                    <a:pt x="170" y="287"/>
                  </a:cubicBezTo>
                  <a:cubicBezTo>
                    <a:pt x="171" y="287"/>
                    <a:pt x="171" y="287"/>
                    <a:pt x="171" y="287"/>
                  </a:cubicBezTo>
                  <a:cubicBezTo>
                    <a:pt x="172" y="286"/>
                    <a:pt x="173" y="286"/>
                    <a:pt x="174" y="286"/>
                  </a:cubicBezTo>
                  <a:cubicBezTo>
                    <a:pt x="174" y="286"/>
                    <a:pt x="174" y="286"/>
                    <a:pt x="174" y="286"/>
                  </a:cubicBezTo>
                  <a:cubicBezTo>
                    <a:pt x="175" y="286"/>
                    <a:pt x="175" y="286"/>
                    <a:pt x="176" y="286"/>
                  </a:cubicBezTo>
                  <a:cubicBezTo>
                    <a:pt x="177" y="286"/>
                    <a:pt x="177" y="286"/>
                    <a:pt x="177" y="286"/>
                  </a:cubicBezTo>
                  <a:cubicBezTo>
                    <a:pt x="174" y="270"/>
                    <a:pt x="174" y="270"/>
                    <a:pt x="174" y="270"/>
                  </a:cubicBezTo>
                  <a:cubicBezTo>
                    <a:pt x="182" y="285"/>
                    <a:pt x="182" y="285"/>
                    <a:pt x="182" y="285"/>
                  </a:cubicBezTo>
                  <a:cubicBezTo>
                    <a:pt x="183" y="285"/>
                    <a:pt x="183" y="285"/>
                    <a:pt x="183" y="285"/>
                  </a:cubicBezTo>
                  <a:cubicBezTo>
                    <a:pt x="184" y="285"/>
                    <a:pt x="185" y="285"/>
                    <a:pt x="186" y="285"/>
                  </a:cubicBezTo>
                  <a:cubicBezTo>
                    <a:pt x="186" y="285"/>
                    <a:pt x="186" y="285"/>
                    <a:pt x="186" y="285"/>
                  </a:cubicBezTo>
                  <a:cubicBezTo>
                    <a:pt x="186" y="285"/>
                    <a:pt x="187" y="284"/>
                    <a:pt x="187" y="284"/>
                  </a:cubicBezTo>
                  <a:cubicBezTo>
                    <a:pt x="188" y="284"/>
                    <a:pt x="188" y="284"/>
                    <a:pt x="188" y="284"/>
                  </a:cubicBezTo>
                  <a:cubicBezTo>
                    <a:pt x="189" y="283"/>
                    <a:pt x="189" y="283"/>
                    <a:pt x="190" y="283"/>
                  </a:cubicBezTo>
                  <a:cubicBezTo>
                    <a:pt x="190" y="283"/>
                    <a:pt x="190" y="283"/>
                    <a:pt x="190" y="283"/>
                  </a:cubicBezTo>
                  <a:cubicBezTo>
                    <a:pt x="191" y="284"/>
                    <a:pt x="191" y="284"/>
                    <a:pt x="191" y="284"/>
                  </a:cubicBezTo>
                  <a:cubicBezTo>
                    <a:pt x="192" y="283"/>
                    <a:pt x="193" y="283"/>
                    <a:pt x="194" y="283"/>
                  </a:cubicBezTo>
                  <a:cubicBezTo>
                    <a:pt x="196" y="283"/>
                    <a:pt x="196" y="284"/>
                    <a:pt x="197" y="284"/>
                  </a:cubicBezTo>
                  <a:cubicBezTo>
                    <a:pt x="199" y="287"/>
                    <a:pt x="198" y="290"/>
                    <a:pt x="197" y="291"/>
                  </a:cubicBezTo>
                  <a:cubicBezTo>
                    <a:pt x="197" y="292"/>
                    <a:pt x="197" y="292"/>
                    <a:pt x="197" y="292"/>
                  </a:cubicBezTo>
                  <a:cubicBezTo>
                    <a:pt x="196" y="292"/>
                    <a:pt x="196" y="292"/>
                    <a:pt x="196" y="292"/>
                  </a:cubicBezTo>
                  <a:cubicBezTo>
                    <a:pt x="197" y="293"/>
                    <a:pt x="198" y="293"/>
                    <a:pt x="198" y="293"/>
                  </a:cubicBezTo>
                  <a:cubicBezTo>
                    <a:pt x="199" y="293"/>
                    <a:pt x="201" y="293"/>
                    <a:pt x="201" y="292"/>
                  </a:cubicBezTo>
                  <a:cubicBezTo>
                    <a:pt x="202" y="292"/>
                    <a:pt x="202" y="292"/>
                    <a:pt x="202" y="292"/>
                  </a:cubicBezTo>
                  <a:cubicBezTo>
                    <a:pt x="203" y="292"/>
                    <a:pt x="204" y="292"/>
                    <a:pt x="205" y="292"/>
                  </a:cubicBezTo>
                  <a:cubicBezTo>
                    <a:pt x="217" y="292"/>
                    <a:pt x="217" y="292"/>
                    <a:pt x="217" y="292"/>
                  </a:cubicBezTo>
                  <a:cubicBezTo>
                    <a:pt x="217" y="292"/>
                    <a:pt x="217" y="292"/>
                    <a:pt x="218" y="292"/>
                  </a:cubicBezTo>
                  <a:cubicBezTo>
                    <a:pt x="219" y="292"/>
                    <a:pt x="219" y="292"/>
                    <a:pt x="219" y="292"/>
                  </a:cubicBezTo>
                  <a:cubicBezTo>
                    <a:pt x="220" y="292"/>
                    <a:pt x="220" y="292"/>
                    <a:pt x="221" y="292"/>
                  </a:cubicBezTo>
                  <a:cubicBezTo>
                    <a:pt x="222" y="292"/>
                    <a:pt x="223" y="292"/>
                    <a:pt x="223" y="293"/>
                  </a:cubicBezTo>
                  <a:cubicBezTo>
                    <a:pt x="227" y="295"/>
                    <a:pt x="227" y="299"/>
                    <a:pt x="227" y="301"/>
                  </a:cubicBezTo>
                  <a:cubicBezTo>
                    <a:pt x="227" y="303"/>
                    <a:pt x="227" y="304"/>
                    <a:pt x="226" y="306"/>
                  </a:cubicBezTo>
                  <a:cubicBezTo>
                    <a:pt x="225" y="311"/>
                    <a:pt x="225" y="312"/>
                    <a:pt x="228" y="318"/>
                  </a:cubicBezTo>
                  <a:cubicBezTo>
                    <a:pt x="229" y="321"/>
                    <a:pt x="229" y="324"/>
                    <a:pt x="228" y="327"/>
                  </a:cubicBezTo>
                  <a:cubicBezTo>
                    <a:pt x="228" y="328"/>
                    <a:pt x="228" y="328"/>
                    <a:pt x="228" y="329"/>
                  </a:cubicBezTo>
                  <a:cubicBezTo>
                    <a:pt x="228" y="330"/>
                    <a:pt x="228" y="331"/>
                    <a:pt x="228" y="331"/>
                  </a:cubicBezTo>
                  <a:cubicBezTo>
                    <a:pt x="228" y="332"/>
                    <a:pt x="228" y="332"/>
                    <a:pt x="228" y="332"/>
                  </a:cubicBezTo>
                  <a:cubicBezTo>
                    <a:pt x="227" y="335"/>
                    <a:pt x="227" y="337"/>
                    <a:pt x="227" y="339"/>
                  </a:cubicBezTo>
                  <a:cubicBezTo>
                    <a:pt x="226" y="344"/>
                    <a:pt x="226" y="344"/>
                    <a:pt x="226" y="344"/>
                  </a:cubicBezTo>
                  <a:cubicBezTo>
                    <a:pt x="226" y="345"/>
                    <a:pt x="226" y="346"/>
                    <a:pt x="226" y="347"/>
                  </a:cubicBezTo>
                  <a:cubicBezTo>
                    <a:pt x="227" y="347"/>
                    <a:pt x="227" y="348"/>
                    <a:pt x="227" y="348"/>
                  </a:cubicBezTo>
                  <a:cubicBezTo>
                    <a:pt x="227" y="350"/>
                    <a:pt x="229" y="351"/>
                    <a:pt x="230" y="352"/>
                  </a:cubicBezTo>
                  <a:cubicBezTo>
                    <a:pt x="232" y="353"/>
                    <a:pt x="233" y="355"/>
                    <a:pt x="234" y="356"/>
                  </a:cubicBezTo>
                  <a:cubicBezTo>
                    <a:pt x="234" y="357"/>
                    <a:pt x="235" y="358"/>
                    <a:pt x="235" y="359"/>
                  </a:cubicBezTo>
                  <a:cubicBezTo>
                    <a:pt x="236" y="361"/>
                    <a:pt x="237" y="364"/>
                    <a:pt x="237" y="368"/>
                  </a:cubicBezTo>
                  <a:cubicBezTo>
                    <a:pt x="238" y="371"/>
                    <a:pt x="238" y="373"/>
                    <a:pt x="238" y="374"/>
                  </a:cubicBezTo>
                  <a:cubicBezTo>
                    <a:pt x="238" y="376"/>
                    <a:pt x="237" y="378"/>
                    <a:pt x="236" y="379"/>
                  </a:cubicBezTo>
                  <a:cubicBezTo>
                    <a:pt x="235" y="380"/>
                    <a:pt x="235" y="380"/>
                    <a:pt x="235" y="380"/>
                  </a:cubicBezTo>
                  <a:cubicBezTo>
                    <a:pt x="235" y="381"/>
                    <a:pt x="235" y="383"/>
                    <a:pt x="236" y="385"/>
                  </a:cubicBezTo>
                  <a:cubicBezTo>
                    <a:pt x="242" y="383"/>
                    <a:pt x="249" y="382"/>
                    <a:pt x="255" y="382"/>
                  </a:cubicBezTo>
                  <a:cubicBezTo>
                    <a:pt x="257" y="382"/>
                    <a:pt x="259" y="382"/>
                    <a:pt x="261" y="381"/>
                  </a:cubicBezTo>
                  <a:cubicBezTo>
                    <a:pt x="262" y="381"/>
                    <a:pt x="263" y="381"/>
                    <a:pt x="265" y="381"/>
                  </a:cubicBezTo>
                  <a:cubicBezTo>
                    <a:pt x="266" y="381"/>
                    <a:pt x="268" y="381"/>
                    <a:pt x="270" y="381"/>
                  </a:cubicBezTo>
                  <a:cubicBezTo>
                    <a:pt x="271" y="381"/>
                    <a:pt x="271" y="381"/>
                    <a:pt x="272" y="379"/>
                  </a:cubicBezTo>
                  <a:cubicBezTo>
                    <a:pt x="271" y="374"/>
                    <a:pt x="271" y="374"/>
                    <a:pt x="271" y="374"/>
                  </a:cubicBezTo>
                  <a:cubicBezTo>
                    <a:pt x="274" y="376"/>
                    <a:pt x="274" y="376"/>
                    <a:pt x="274" y="376"/>
                  </a:cubicBezTo>
                  <a:cubicBezTo>
                    <a:pt x="277" y="372"/>
                    <a:pt x="277" y="372"/>
                    <a:pt x="277" y="372"/>
                  </a:cubicBezTo>
                  <a:cubicBezTo>
                    <a:pt x="277" y="379"/>
                    <a:pt x="277" y="379"/>
                    <a:pt x="277" y="379"/>
                  </a:cubicBezTo>
                  <a:cubicBezTo>
                    <a:pt x="278" y="379"/>
                    <a:pt x="279" y="380"/>
                    <a:pt x="280" y="380"/>
                  </a:cubicBezTo>
                  <a:cubicBezTo>
                    <a:pt x="283" y="382"/>
                    <a:pt x="286" y="384"/>
                    <a:pt x="287" y="387"/>
                  </a:cubicBezTo>
                  <a:cubicBezTo>
                    <a:pt x="287" y="388"/>
                    <a:pt x="288" y="389"/>
                    <a:pt x="287" y="391"/>
                  </a:cubicBezTo>
                  <a:cubicBezTo>
                    <a:pt x="288" y="390"/>
                    <a:pt x="288" y="390"/>
                    <a:pt x="289" y="390"/>
                  </a:cubicBezTo>
                  <a:cubicBezTo>
                    <a:pt x="290" y="390"/>
                    <a:pt x="290" y="390"/>
                    <a:pt x="290" y="390"/>
                  </a:cubicBezTo>
                  <a:cubicBezTo>
                    <a:pt x="291" y="389"/>
                    <a:pt x="292" y="388"/>
                    <a:pt x="293" y="388"/>
                  </a:cubicBezTo>
                  <a:cubicBezTo>
                    <a:pt x="294" y="388"/>
                    <a:pt x="295" y="387"/>
                    <a:pt x="295" y="387"/>
                  </a:cubicBezTo>
                  <a:cubicBezTo>
                    <a:pt x="297" y="387"/>
                    <a:pt x="298" y="387"/>
                    <a:pt x="299" y="387"/>
                  </a:cubicBezTo>
                  <a:cubicBezTo>
                    <a:pt x="299" y="387"/>
                    <a:pt x="299" y="387"/>
                    <a:pt x="299" y="387"/>
                  </a:cubicBezTo>
                  <a:cubicBezTo>
                    <a:pt x="301" y="387"/>
                    <a:pt x="302" y="387"/>
                    <a:pt x="303" y="386"/>
                  </a:cubicBezTo>
                  <a:cubicBezTo>
                    <a:pt x="303" y="386"/>
                    <a:pt x="304" y="386"/>
                    <a:pt x="304" y="386"/>
                  </a:cubicBezTo>
                  <a:cubicBezTo>
                    <a:pt x="309" y="383"/>
                    <a:pt x="309" y="383"/>
                    <a:pt x="309" y="383"/>
                  </a:cubicBezTo>
                  <a:cubicBezTo>
                    <a:pt x="309" y="392"/>
                    <a:pt x="309" y="392"/>
                    <a:pt x="309" y="392"/>
                  </a:cubicBezTo>
                  <a:cubicBezTo>
                    <a:pt x="309" y="394"/>
                    <a:pt x="309" y="395"/>
                    <a:pt x="310" y="396"/>
                  </a:cubicBezTo>
                  <a:cubicBezTo>
                    <a:pt x="310" y="397"/>
                    <a:pt x="311" y="398"/>
                    <a:pt x="312" y="398"/>
                  </a:cubicBezTo>
                  <a:cubicBezTo>
                    <a:pt x="314" y="400"/>
                    <a:pt x="314" y="400"/>
                    <a:pt x="314" y="400"/>
                  </a:cubicBezTo>
                  <a:cubicBezTo>
                    <a:pt x="314" y="400"/>
                    <a:pt x="314" y="400"/>
                    <a:pt x="314" y="400"/>
                  </a:cubicBezTo>
                  <a:cubicBezTo>
                    <a:pt x="314" y="400"/>
                    <a:pt x="315" y="400"/>
                    <a:pt x="316" y="400"/>
                  </a:cubicBezTo>
                  <a:cubicBezTo>
                    <a:pt x="316" y="400"/>
                    <a:pt x="316" y="400"/>
                    <a:pt x="316" y="400"/>
                  </a:cubicBezTo>
                  <a:cubicBezTo>
                    <a:pt x="317" y="400"/>
                    <a:pt x="318" y="400"/>
                    <a:pt x="319" y="400"/>
                  </a:cubicBezTo>
                  <a:cubicBezTo>
                    <a:pt x="342" y="403"/>
                    <a:pt x="342" y="403"/>
                    <a:pt x="342" y="403"/>
                  </a:cubicBezTo>
                  <a:cubicBezTo>
                    <a:pt x="342" y="403"/>
                    <a:pt x="342" y="403"/>
                    <a:pt x="342" y="402"/>
                  </a:cubicBezTo>
                  <a:cubicBezTo>
                    <a:pt x="343" y="401"/>
                    <a:pt x="343" y="401"/>
                    <a:pt x="343" y="401"/>
                  </a:cubicBezTo>
                  <a:cubicBezTo>
                    <a:pt x="343" y="400"/>
                    <a:pt x="343" y="400"/>
                    <a:pt x="343" y="400"/>
                  </a:cubicBezTo>
                  <a:cubicBezTo>
                    <a:pt x="342" y="400"/>
                    <a:pt x="342" y="400"/>
                    <a:pt x="342" y="400"/>
                  </a:cubicBezTo>
                  <a:cubicBezTo>
                    <a:pt x="344" y="397"/>
                    <a:pt x="344" y="397"/>
                    <a:pt x="344" y="397"/>
                  </a:cubicBezTo>
                  <a:cubicBezTo>
                    <a:pt x="345" y="395"/>
                    <a:pt x="347" y="394"/>
                    <a:pt x="348" y="394"/>
                  </a:cubicBezTo>
                  <a:cubicBezTo>
                    <a:pt x="349" y="394"/>
                    <a:pt x="349" y="394"/>
                    <a:pt x="349" y="394"/>
                  </a:cubicBezTo>
                  <a:cubicBezTo>
                    <a:pt x="353" y="394"/>
                    <a:pt x="355" y="399"/>
                    <a:pt x="357" y="402"/>
                  </a:cubicBezTo>
                  <a:cubicBezTo>
                    <a:pt x="357" y="403"/>
                    <a:pt x="358" y="404"/>
                    <a:pt x="358" y="404"/>
                  </a:cubicBezTo>
                  <a:cubicBezTo>
                    <a:pt x="358" y="405"/>
                    <a:pt x="359" y="405"/>
                    <a:pt x="359" y="406"/>
                  </a:cubicBezTo>
                  <a:cubicBezTo>
                    <a:pt x="360" y="409"/>
                    <a:pt x="361" y="410"/>
                    <a:pt x="361" y="410"/>
                  </a:cubicBezTo>
                  <a:cubicBezTo>
                    <a:pt x="362" y="410"/>
                    <a:pt x="363" y="410"/>
                    <a:pt x="363" y="410"/>
                  </a:cubicBezTo>
                  <a:cubicBezTo>
                    <a:pt x="364" y="410"/>
                    <a:pt x="365" y="410"/>
                    <a:pt x="366" y="410"/>
                  </a:cubicBezTo>
                  <a:cubicBezTo>
                    <a:pt x="368" y="411"/>
                    <a:pt x="370" y="412"/>
                    <a:pt x="371" y="412"/>
                  </a:cubicBezTo>
                  <a:cubicBezTo>
                    <a:pt x="373" y="413"/>
                    <a:pt x="374" y="414"/>
                    <a:pt x="375" y="414"/>
                  </a:cubicBezTo>
                  <a:cubicBezTo>
                    <a:pt x="375" y="414"/>
                    <a:pt x="375" y="414"/>
                    <a:pt x="375" y="414"/>
                  </a:cubicBezTo>
                  <a:cubicBezTo>
                    <a:pt x="377" y="415"/>
                    <a:pt x="379" y="415"/>
                    <a:pt x="380" y="417"/>
                  </a:cubicBezTo>
                  <a:cubicBezTo>
                    <a:pt x="395" y="437"/>
                    <a:pt x="395" y="437"/>
                    <a:pt x="395" y="437"/>
                  </a:cubicBezTo>
                  <a:cubicBezTo>
                    <a:pt x="396" y="438"/>
                    <a:pt x="396" y="438"/>
                    <a:pt x="397" y="438"/>
                  </a:cubicBezTo>
                  <a:cubicBezTo>
                    <a:pt x="397" y="438"/>
                    <a:pt x="397" y="438"/>
                    <a:pt x="399" y="437"/>
                  </a:cubicBezTo>
                  <a:cubicBezTo>
                    <a:pt x="399" y="437"/>
                    <a:pt x="399" y="437"/>
                    <a:pt x="399" y="437"/>
                  </a:cubicBezTo>
                  <a:cubicBezTo>
                    <a:pt x="400" y="437"/>
                    <a:pt x="400" y="437"/>
                    <a:pt x="400" y="437"/>
                  </a:cubicBezTo>
                  <a:cubicBezTo>
                    <a:pt x="400" y="437"/>
                    <a:pt x="401" y="436"/>
                    <a:pt x="401" y="436"/>
                  </a:cubicBezTo>
                  <a:cubicBezTo>
                    <a:pt x="403" y="434"/>
                    <a:pt x="404" y="434"/>
                    <a:pt x="406" y="434"/>
                  </a:cubicBezTo>
                  <a:cubicBezTo>
                    <a:pt x="406" y="434"/>
                    <a:pt x="406" y="434"/>
                    <a:pt x="406" y="434"/>
                  </a:cubicBezTo>
                  <a:cubicBezTo>
                    <a:pt x="406" y="434"/>
                    <a:pt x="408" y="434"/>
                    <a:pt x="409" y="434"/>
                  </a:cubicBezTo>
                  <a:cubicBezTo>
                    <a:pt x="409" y="414"/>
                    <a:pt x="409" y="414"/>
                    <a:pt x="409" y="414"/>
                  </a:cubicBezTo>
                  <a:cubicBezTo>
                    <a:pt x="408" y="414"/>
                    <a:pt x="408" y="414"/>
                    <a:pt x="408" y="414"/>
                  </a:cubicBezTo>
                  <a:cubicBezTo>
                    <a:pt x="408" y="414"/>
                    <a:pt x="407" y="415"/>
                    <a:pt x="406" y="415"/>
                  </a:cubicBezTo>
                  <a:cubicBezTo>
                    <a:pt x="406" y="415"/>
                    <a:pt x="406" y="415"/>
                    <a:pt x="406" y="415"/>
                  </a:cubicBezTo>
                  <a:cubicBezTo>
                    <a:pt x="406" y="416"/>
                    <a:pt x="406" y="418"/>
                    <a:pt x="405" y="419"/>
                  </a:cubicBezTo>
                  <a:cubicBezTo>
                    <a:pt x="405" y="420"/>
                    <a:pt x="404" y="420"/>
                    <a:pt x="403" y="420"/>
                  </a:cubicBezTo>
                  <a:cubicBezTo>
                    <a:pt x="403" y="420"/>
                    <a:pt x="403" y="420"/>
                    <a:pt x="402" y="420"/>
                  </a:cubicBezTo>
                  <a:cubicBezTo>
                    <a:pt x="401" y="420"/>
                    <a:pt x="401" y="420"/>
                    <a:pt x="400" y="420"/>
                  </a:cubicBezTo>
                  <a:cubicBezTo>
                    <a:pt x="400" y="420"/>
                    <a:pt x="400" y="420"/>
                    <a:pt x="400" y="420"/>
                  </a:cubicBezTo>
                  <a:cubicBezTo>
                    <a:pt x="399" y="420"/>
                    <a:pt x="398" y="419"/>
                    <a:pt x="398" y="419"/>
                  </a:cubicBezTo>
                  <a:cubicBezTo>
                    <a:pt x="397" y="419"/>
                    <a:pt x="397" y="419"/>
                    <a:pt x="397" y="419"/>
                  </a:cubicBezTo>
                  <a:cubicBezTo>
                    <a:pt x="396" y="419"/>
                    <a:pt x="396" y="419"/>
                    <a:pt x="396" y="419"/>
                  </a:cubicBezTo>
                  <a:cubicBezTo>
                    <a:pt x="396" y="419"/>
                    <a:pt x="396" y="419"/>
                    <a:pt x="395" y="419"/>
                  </a:cubicBezTo>
                  <a:cubicBezTo>
                    <a:pt x="395" y="419"/>
                    <a:pt x="395" y="419"/>
                    <a:pt x="394" y="419"/>
                  </a:cubicBezTo>
                  <a:cubicBezTo>
                    <a:pt x="394" y="419"/>
                    <a:pt x="394" y="419"/>
                    <a:pt x="394" y="419"/>
                  </a:cubicBezTo>
                  <a:cubicBezTo>
                    <a:pt x="392" y="419"/>
                    <a:pt x="392" y="418"/>
                    <a:pt x="391" y="417"/>
                  </a:cubicBezTo>
                  <a:cubicBezTo>
                    <a:pt x="391" y="417"/>
                    <a:pt x="391" y="417"/>
                    <a:pt x="390" y="416"/>
                  </a:cubicBezTo>
                  <a:cubicBezTo>
                    <a:pt x="390" y="416"/>
                    <a:pt x="390" y="415"/>
                    <a:pt x="389" y="415"/>
                  </a:cubicBezTo>
                  <a:cubicBezTo>
                    <a:pt x="389" y="414"/>
                    <a:pt x="389" y="414"/>
                    <a:pt x="389" y="414"/>
                  </a:cubicBezTo>
                  <a:cubicBezTo>
                    <a:pt x="387" y="411"/>
                    <a:pt x="384" y="409"/>
                    <a:pt x="381" y="407"/>
                  </a:cubicBezTo>
                  <a:cubicBezTo>
                    <a:pt x="378" y="405"/>
                    <a:pt x="378" y="404"/>
                    <a:pt x="376" y="401"/>
                  </a:cubicBezTo>
                  <a:cubicBezTo>
                    <a:pt x="374" y="395"/>
                    <a:pt x="376" y="388"/>
                    <a:pt x="378" y="382"/>
                  </a:cubicBezTo>
                  <a:cubicBezTo>
                    <a:pt x="379" y="380"/>
                    <a:pt x="379" y="379"/>
                    <a:pt x="379" y="377"/>
                  </a:cubicBezTo>
                  <a:cubicBezTo>
                    <a:pt x="381" y="373"/>
                    <a:pt x="381" y="370"/>
                    <a:pt x="381" y="367"/>
                  </a:cubicBezTo>
                  <a:cubicBezTo>
                    <a:pt x="381" y="366"/>
                    <a:pt x="381" y="366"/>
                    <a:pt x="381" y="366"/>
                  </a:cubicBezTo>
                  <a:cubicBezTo>
                    <a:pt x="380" y="366"/>
                    <a:pt x="380" y="366"/>
                    <a:pt x="380" y="366"/>
                  </a:cubicBezTo>
                  <a:cubicBezTo>
                    <a:pt x="380" y="364"/>
                    <a:pt x="380" y="363"/>
                    <a:pt x="381" y="361"/>
                  </a:cubicBezTo>
                  <a:cubicBezTo>
                    <a:pt x="381" y="360"/>
                    <a:pt x="381" y="360"/>
                    <a:pt x="381" y="360"/>
                  </a:cubicBezTo>
                  <a:cubicBezTo>
                    <a:pt x="381" y="359"/>
                    <a:pt x="381" y="358"/>
                    <a:pt x="381" y="357"/>
                  </a:cubicBezTo>
                  <a:cubicBezTo>
                    <a:pt x="381" y="356"/>
                    <a:pt x="382" y="356"/>
                    <a:pt x="382" y="355"/>
                  </a:cubicBezTo>
                  <a:cubicBezTo>
                    <a:pt x="382" y="354"/>
                    <a:pt x="381" y="354"/>
                    <a:pt x="381" y="352"/>
                  </a:cubicBezTo>
                  <a:cubicBezTo>
                    <a:pt x="380" y="351"/>
                    <a:pt x="380" y="351"/>
                    <a:pt x="380" y="351"/>
                  </a:cubicBezTo>
                  <a:cubicBezTo>
                    <a:pt x="380" y="350"/>
                    <a:pt x="380" y="350"/>
                    <a:pt x="380" y="350"/>
                  </a:cubicBezTo>
                  <a:cubicBezTo>
                    <a:pt x="380" y="350"/>
                    <a:pt x="380" y="350"/>
                    <a:pt x="380" y="350"/>
                  </a:cubicBezTo>
                  <a:cubicBezTo>
                    <a:pt x="380" y="349"/>
                    <a:pt x="379" y="348"/>
                    <a:pt x="379" y="348"/>
                  </a:cubicBezTo>
                  <a:cubicBezTo>
                    <a:pt x="379" y="347"/>
                    <a:pt x="379" y="347"/>
                    <a:pt x="379" y="346"/>
                  </a:cubicBezTo>
                  <a:cubicBezTo>
                    <a:pt x="378" y="346"/>
                    <a:pt x="377" y="346"/>
                    <a:pt x="376" y="345"/>
                  </a:cubicBezTo>
                  <a:cubicBezTo>
                    <a:pt x="375" y="343"/>
                    <a:pt x="375" y="341"/>
                    <a:pt x="377" y="339"/>
                  </a:cubicBezTo>
                  <a:cubicBezTo>
                    <a:pt x="378" y="337"/>
                    <a:pt x="382" y="334"/>
                    <a:pt x="384" y="332"/>
                  </a:cubicBezTo>
                  <a:cubicBezTo>
                    <a:pt x="385" y="331"/>
                    <a:pt x="385" y="331"/>
                    <a:pt x="386" y="330"/>
                  </a:cubicBezTo>
                  <a:cubicBezTo>
                    <a:pt x="386" y="330"/>
                    <a:pt x="386" y="330"/>
                    <a:pt x="386" y="330"/>
                  </a:cubicBezTo>
                  <a:cubicBezTo>
                    <a:pt x="387" y="329"/>
                    <a:pt x="388" y="328"/>
                    <a:pt x="389" y="327"/>
                  </a:cubicBezTo>
                  <a:cubicBezTo>
                    <a:pt x="389" y="327"/>
                    <a:pt x="389" y="327"/>
                    <a:pt x="389" y="327"/>
                  </a:cubicBezTo>
                  <a:cubicBezTo>
                    <a:pt x="388" y="326"/>
                    <a:pt x="388" y="326"/>
                    <a:pt x="388" y="326"/>
                  </a:cubicBezTo>
                  <a:cubicBezTo>
                    <a:pt x="388" y="325"/>
                    <a:pt x="388" y="325"/>
                    <a:pt x="388" y="325"/>
                  </a:cubicBezTo>
                  <a:cubicBezTo>
                    <a:pt x="385" y="322"/>
                    <a:pt x="385" y="322"/>
                    <a:pt x="385" y="322"/>
                  </a:cubicBezTo>
                  <a:cubicBezTo>
                    <a:pt x="390" y="321"/>
                    <a:pt x="390" y="321"/>
                    <a:pt x="390" y="321"/>
                  </a:cubicBezTo>
                  <a:cubicBezTo>
                    <a:pt x="399" y="319"/>
                    <a:pt x="410" y="317"/>
                    <a:pt x="419" y="316"/>
                  </a:cubicBezTo>
                  <a:cubicBezTo>
                    <a:pt x="427" y="315"/>
                    <a:pt x="427" y="315"/>
                    <a:pt x="427" y="315"/>
                  </a:cubicBezTo>
                  <a:cubicBezTo>
                    <a:pt x="425" y="311"/>
                    <a:pt x="423" y="308"/>
                    <a:pt x="421" y="303"/>
                  </a:cubicBezTo>
                  <a:cubicBezTo>
                    <a:pt x="420" y="299"/>
                    <a:pt x="420" y="296"/>
                    <a:pt x="417" y="293"/>
                  </a:cubicBezTo>
                  <a:cubicBezTo>
                    <a:pt x="411" y="285"/>
                    <a:pt x="405" y="277"/>
                    <a:pt x="399" y="270"/>
                  </a:cubicBezTo>
                  <a:cubicBezTo>
                    <a:pt x="398" y="268"/>
                    <a:pt x="397" y="267"/>
                    <a:pt x="397" y="265"/>
                  </a:cubicBezTo>
                  <a:cubicBezTo>
                    <a:pt x="397" y="263"/>
                    <a:pt x="397" y="264"/>
                    <a:pt x="398" y="262"/>
                  </a:cubicBezTo>
                  <a:cubicBezTo>
                    <a:pt x="399" y="262"/>
                    <a:pt x="400" y="261"/>
                    <a:pt x="400" y="260"/>
                  </a:cubicBezTo>
                  <a:cubicBezTo>
                    <a:pt x="402" y="257"/>
                    <a:pt x="398" y="250"/>
                    <a:pt x="397" y="247"/>
                  </a:cubicBezTo>
                  <a:cubicBezTo>
                    <a:pt x="395" y="240"/>
                    <a:pt x="396" y="236"/>
                    <a:pt x="397" y="229"/>
                  </a:cubicBezTo>
                  <a:cubicBezTo>
                    <a:pt x="398" y="227"/>
                    <a:pt x="399" y="222"/>
                    <a:pt x="398" y="219"/>
                  </a:cubicBezTo>
                  <a:cubicBezTo>
                    <a:pt x="397" y="220"/>
                    <a:pt x="397" y="224"/>
                    <a:pt x="396" y="225"/>
                  </a:cubicBezTo>
                  <a:cubicBezTo>
                    <a:pt x="396" y="225"/>
                    <a:pt x="395" y="225"/>
                    <a:pt x="395" y="225"/>
                  </a:cubicBezTo>
                  <a:cubicBezTo>
                    <a:pt x="394" y="225"/>
                    <a:pt x="394" y="223"/>
                    <a:pt x="394" y="222"/>
                  </a:cubicBezTo>
                  <a:cubicBezTo>
                    <a:pt x="395" y="218"/>
                    <a:pt x="395" y="215"/>
                    <a:pt x="396" y="212"/>
                  </a:cubicBezTo>
                  <a:cubicBezTo>
                    <a:pt x="396" y="211"/>
                    <a:pt x="396" y="210"/>
                    <a:pt x="397" y="209"/>
                  </a:cubicBezTo>
                  <a:cubicBezTo>
                    <a:pt x="396" y="209"/>
                    <a:pt x="396" y="209"/>
                    <a:pt x="396" y="209"/>
                  </a:cubicBezTo>
                  <a:cubicBezTo>
                    <a:pt x="395" y="207"/>
                    <a:pt x="395" y="207"/>
                    <a:pt x="395" y="207"/>
                  </a:cubicBezTo>
                  <a:cubicBezTo>
                    <a:pt x="395" y="207"/>
                    <a:pt x="395" y="207"/>
                    <a:pt x="395" y="207"/>
                  </a:cubicBezTo>
                  <a:cubicBezTo>
                    <a:pt x="395" y="205"/>
                    <a:pt x="395" y="205"/>
                    <a:pt x="395" y="205"/>
                  </a:cubicBezTo>
                  <a:cubicBezTo>
                    <a:pt x="393" y="206"/>
                    <a:pt x="393" y="206"/>
                    <a:pt x="393" y="206"/>
                  </a:cubicBezTo>
                  <a:cubicBezTo>
                    <a:pt x="395" y="201"/>
                    <a:pt x="395" y="201"/>
                    <a:pt x="395" y="201"/>
                  </a:cubicBezTo>
                  <a:cubicBezTo>
                    <a:pt x="395" y="198"/>
                    <a:pt x="395" y="197"/>
                    <a:pt x="394" y="195"/>
                  </a:cubicBezTo>
                  <a:cubicBezTo>
                    <a:pt x="394" y="196"/>
                    <a:pt x="394" y="196"/>
                    <a:pt x="394" y="196"/>
                  </a:cubicBezTo>
                  <a:cubicBezTo>
                    <a:pt x="389" y="187"/>
                    <a:pt x="389" y="187"/>
                    <a:pt x="389" y="187"/>
                  </a:cubicBezTo>
                  <a:cubicBezTo>
                    <a:pt x="388" y="185"/>
                    <a:pt x="387" y="183"/>
                    <a:pt x="388" y="181"/>
                  </a:cubicBezTo>
                  <a:cubicBezTo>
                    <a:pt x="388" y="179"/>
                    <a:pt x="389" y="178"/>
                    <a:pt x="390" y="177"/>
                  </a:cubicBezTo>
                  <a:cubicBezTo>
                    <a:pt x="391" y="177"/>
                    <a:pt x="391" y="177"/>
                    <a:pt x="391" y="177"/>
                  </a:cubicBezTo>
                  <a:cubicBezTo>
                    <a:pt x="391" y="177"/>
                    <a:pt x="392" y="176"/>
                    <a:pt x="392" y="176"/>
                  </a:cubicBezTo>
                  <a:cubicBezTo>
                    <a:pt x="393" y="175"/>
                    <a:pt x="393" y="174"/>
                    <a:pt x="393" y="173"/>
                  </a:cubicBezTo>
                  <a:cubicBezTo>
                    <a:pt x="393" y="173"/>
                    <a:pt x="394" y="171"/>
                    <a:pt x="394" y="170"/>
                  </a:cubicBezTo>
                  <a:cubicBezTo>
                    <a:pt x="394" y="166"/>
                    <a:pt x="394" y="163"/>
                    <a:pt x="396" y="161"/>
                  </a:cubicBezTo>
                  <a:cubicBezTo>
                    <a:pt x="397" y="161"/>
                    <a:pt x="397" y="161"/>
                    <a:pt x="397" y="161"/>
                  </a:cubicBezTo>
                  <a:cubicBezTo>
                    <a:pt x="395" y="159"/>
                    <a:pt x="395" y="159"/>
                    <a:pt x="395" y="159"/>
                  </a:cubicBezTo>
                  <a:cubicBezTo>
                    <a:pt x="398" y="160"/>
                    <a:pt x="398" y="160"/>
                    <a:pt x="398" y="160"/>
                  </a:cubicBezTo>
                  <a:cubicBezTo>
                    <a:pt x="398" y="159"/>
                    <a:pt x="398" y="159"/>
                    <a:pt x="398" y="159"/>
                  </a:cubicBezTo>
                  <a:cubicBezTo>
                    <a:pt x="399" y="158"/>
                    <a:pt x="400" y="157"/>
                    <a:pt x="402" y="156"/>
                  </a:cubicBezTo>
                  <a:cubicBezTo>
                    <a:pt x="402" y="156"/>
                    <a:pt x="403" y="155"/>
                    <a:pt x="403" y="155"/>
                  </a:cubicBezTo>
                  <a:cubicBezTo>
                    <a:pt x="404" y="154"/>
                    <a:pt x="403" y="153"/>
                    <a:pt x="403" y="151"/>
                  </a:cubicBezTo>
                  <a:cubicBezTo>
                    <a:pt x="403" y="147"/>
                    <a:pt x="404" y="142"/>
                    <a:pt x="404" y="138"/>
                  </a:cubicBezTo>
                  <a:cubicBezTo>
                    <a:pt x="405" y="136"/>
                    <a:pt x="405" y="134"/>
                    <a:pt x="405" y="132"/>
                  </a:cubicBezTo>
                  <a:cubicBezTo>
                    <a:pt x="406" y="126"/>
                    <a:pt x="408" y="121"/>
                    <a:pt x="410" y="116"/>
                  </a:cubicBezTo>
                  <a:cubicBezTo>
                    <a:pt x="410" y="115"/>
                    <a:pt x="410" y="115"/>
                    <a:pt x="410" y="115"/>
                  </a:cubicBezTo>
                  <a:cubicBezTo>
                    <a:pt x="411" y="113"/>
                    <a:pt x="411" y="112"/>
                    <a:pt x="412" y="110"/>
                  </a:cubicBezTo>
                  <a:cubicBezTo>
                    <a:pt x="412" y="108"/>
                    <a:pt x="412" y="106"/>
                    <a:pt x="413" y="105"/>
                  </a:cubicBezTo>
                  <a:cubicBezTo>
                    <a:pt x="413" y="102"/>
                    <a:pt x="414" y="101"/>
                    <a:pt x="416" y="100"/>
                  </a:cubicBezTo>
                  <a:cubicBezTo>
                    <a:pt x="416" y="100"/>
                    <a:pt x="416" y="100"/>
                    <a:pt x="416" y="100"/>
                  </a:cubicBezTo>
                  <a:cubicBezTo>
                    <a:pt x="417" y="98"/>
                    <a:pt x="417" y="98"/>
                    <a:pt x="417" y="98"/>
                  </a:cubicBezTo>
                  <a:cubicBezTo>
                    <a:pt x="421" y="95"/>
                    <a:pt x="425" y="92"/>
                    <a:pt x="429" y="88"/>
                  </a:cubicBezTo>
                  <a:cubicBezTo>
                    <a:pt x="430" y="88"/>
                    <a:pt x="430" y="88"/>
                    <a:pt x="430" y="88"/>
                  </a:cubicBezTo>
                  <a:cubicBezTo>
                    <a:pt x="433" y="84"/>
                    <a:pt x="437" y="81"/>
                    <a:pt x="440" y="77"/>
                  </a:cubicBezTo>
                  <a:cubicBezTo>
                    <a:pt x="441" y="76"/>
                    <a:pt x="442" y="75"/>
                    <a:pt x="442" y="73"/>
                  </a:cubicBezTo>
                  <a:cubicBezTo>
                    <a:pt x="442" y="73"/>
                    <a:pt x="441" y="72"/>
                    <a:pt x="440" y="72"/>
                  </a:cubicBezTo>
                  <a:cubicBezTo>
                    <a:pt x="439" y="72"/>
                    <a:pt x="439" y="71"/>
                    <a:pt x="438" y="71"/>
                  </a:cubicBezTo>
                  <a:cubicBezTo>
                    <a:pt x="438" y="71"/>
                    <a:pt x="438" y="71"/>
                    <a:pt x="437" y="71"/>
                  </a:cubicBezTo>
                  <a:cubicBezTo>
                    <a:pt x="437" y="71"/>
                    <a:pt x="436" y="71"/>
                    <a:pt x="436" y="71"/>
                  </a:cubicBezTo>
                  <a:cubicBezTo>
                    <a:pt x="434" y="70"/>
                    <a:pt x="432" y="69"/>
                    <a:pt x="432" y="67"/>
                  </a:cubicBezTo>
                  <a:cubicBezTo>
                    <a:pt x="431" y="66"/>
                    <a:pt x="431" y="64"/>
                    <a:pt x="431" y="63"/>
                  </a:cubicBezTo>
                  <a:cubicBezTo>
                    <a:pt x="431" y="62"/>
                    <a:pt x="431" y="61"/>
                    <a:pt x="431" y="61"/>
                  </a:cubicBezTo>
                  <a:cubicBezTo>
                    <a:pt x="431" y="60"/>
                    <a:pt x="431" y="60"/>
                    <a:pt x="431" y="60"/>
                  </a:cubicBezTo>
                  <a:cubicBezTo>
                    <a:pt x="431" y="59"/>
                    <a:pt x="432" y="58"/>
                    <a:pt x="432" y="58"/>
                  </a:cubicBezTo>
                  <a:cubicBezTo>
                    <a:pt x="432" y="57"/>
                    <a:pt x="432" y="57"/>
                    <a:pt x="431" y="56"/>
                  </a:cubicBezTo>
                  <a:cubicBezTo>
                    <a:pt x="431" y="54"/>
                    <a:pt x="431" y="51"/>
                    <a:pt x="432" y="48"/>
                  </a:cubicBezTo>
                  <a:cubicBezTo>
                    <a:pt x="432" y="48"/>
                    <a:pt x="432" y="48"/>
                    <a:pt x="432" y="48"/>
                  </a:cubicBezTo>
                  <a:cubicBezTo>
                    <a:pt x="433" y="46"/>
                    <a:pt x="433" y="45"/>
                    <a:pt x="433" y="43"/>
                  </a:cubicBezTo>
                  <a:cubicBezTo>
                    <a:pt x="433" y="43"/>
                    <a:pt x="433" y="43"/>
                    <a:pt x="433" y="43"/>
                  </a:cubicBezTo>
                  <a:cubicBezTo>
                    <a:pt x="433" y="43"/>
                    <a:pt x="433" y="43"/>
                    <a:pt x="433" y="43"/>
                  </a:cubicBezTo>
                  <a:cubicBezTo>
                    <a:pt x="432" y="43"/>
                    <a:pt x="432" y="43"/>
                    <a:pt x="432" y="43"/>
                  </a:cubicBezTo>
                  <a:cubicBezTo>
                    <a:pt x="430" y="42"/>
                    <a:pt x="426" y="41"/>
                    <a:pt x="427" y="37"/>
                  </a:cubicBezTo>
                  <a:cubicBezTo>
                    <a:pt x="427" y="36"/>
                    <a:pt x="427" y="36"/>
                    <a:pt x="426" y="36"/>
                  </a:cubicBezTo>
                  <a:cubicBezTo>
                    <a:pt x="426" y="35"/>
                    <a:pt x="426" y="35"/>
                    <a:pt x="426" y="35"/>
                  </a:cubicBezTo>
                  <a:cubicBezTo>
                    <a:pt x="426" y="35"/>
                    <a:pt x="426" y="34"/>
                    <a:pt x="425" y="34"/>
                  </a:cubicBezTo>
                  <a:cubicBezTo>
                    <a:pt x="424" y="34"/>
                    <a:pt x="424" y="34"/>
                    <a:pt x="424" y="34"/>
                  </a:cubicBezTo>
                  <a:cubicBezTo>
                    <a:pt x="423" y="34"/>
                    <a:pt x="422" y="33"/>
                    <a:pt x="422" y="33"/>
                  </a:cubicBezTo>
                  <a:cubicBezTo>
                    <a:pt x="419" y="32"/>
                    <a:pt x="417" y="30"/>
                    <a:pt x="414" y="28"/>
                  </a:cubicBezTo>
                  <a:cubicBezTo>
                    <a:pt x="412" y="25"/>
                    <a:pt x="412" y="25"/>
                    <a:pt x="412" y="25"/>
                  </a:cubicBezTo>
                  <a:cubicBezTo>
                    <a:pt x="412" y="25"/>
                    <a:pt x="411" y="24"/>
                    <a:pt x="411" y="24"/>
                  </a:cubicBezTo>
                  <a:cubicBezTo>
                    <a:pt x="410" y="23"/>
                    <a:pt x="409" y="21"/>
                    <a:pt x="409" y="19"/>
                  </a:cubicBezTo>
                  <a:cubicBezTo>
                    <a:pt x="407" y="19"/>
                    <a:pt x="405" y="19"/>
                    <a:pt x="404" y="20"/>
                  </a:cubicBezTo>
                  <a:cubicBezTo>
                    <a:pt x="403" y="20"/>
                    <a:pt x="403" y="20"/>
                    <a:pt x="403" y="20"/>
                  </a:cubicBezTo>
                  <a:cubicBezTo>
                    <a:pt x="403" y="21"/>
                    <a:pt x="403" y="22"/>
                    <a:pt x="402" y="22"/>
                  </a:cubicBezTo>
                  <a:cubicBezTo>
                    <a:pt x="401" y="24"/>
                    <a:pt x="399" y="24"/>
                    <a:pt x="397" y="24"/>
                  </a:cubicBezTo>
                  <a:cubicBezTo>
                    <a:pt x="395" y="24"/>
                    <a:pt x="393" y="24"/>
                    <a:pt x="391" y="23"/>
                  </a:cubicBezTo>
                  <a:cubicBezTo>
                    <a:pt x="389" y="23"/>
                    <a:pt x="387" y="22"/>
                    <a:pt x="385" y="22"/>
                  </a:cubicBezTo>
                  <a:cubicBezTo>
                    <a:pt x="385" y="22"/>
                    <a:pt x="384" y="22"/>
                    <a:pt x="384" y="22"/>
                  </a:cubicBezTo>
                  <a:cubicBezTo>
                    <a:pt x="383" y="23"/>
                    <a:pt x="383" y="23"/>
                    <a:pt x="383" y="23"/>
                  </a:cubicBezTo>
                  <a:cubicBezTo>
                    <a:pt x="382" y="24"/>
                    <a:pt x="380" y="25"/>
                    <a:pt x="378" y="25"/>
                  </a:cubicBezTo>
                  <a:cubicBezTo>
                    <a:pt x="377" y="25"/>
                    <a:pt x="376" y="25"/>
                    <a:pt x="375" y="24"/>
                  </a:cubicBezTo>
                  <a:cubicBezTo>
                    <a:pt x="374" y="24"/>
                    <a:pt x="373" y="24"/>
                    <a:pt x="373" y="23"/>
                  </a:cubicBezTo>
                  <a:cubicBezTo>
                    <a:pt x="368" y="21"/>
                    <a:pt x="363" y="19"/>
                    <a:pt x="361" y="14"/>
                  </a:cubicBezTo>
                  <a:cubicBezTo>
                    <a:pt x="360" y="12"/>
                    <a:pt x="358" y="10"/>
                    <a:pt x="355" y="8"/>
                  </a:cubicBezTo>
                  <a:cubicBezTo>
                    <a:pt x="355" y="8"/>
                    <a:pt x="355" y="8"/>
                    <a:pt x="355" y="8"/>
                  </a:cubicBezTo>
                  <a:cubicBezTo>
                    <a:pt x="354" y="8"/>
                    <a:pt x="354" y="8"/>
                    <a:pt x="354" y="8"/>
                  </a:cubicBezTo>
                  <a:cubicBezTo>
                    <a:pt x="354" y="7"/>
                    <a:pt x="354" y="7"/>
                    <a:pt x="354" y="7"/>
                  </a:cubicBezTo>
                  <a:cubicBezTo>
                    <a:pt x="353" y="7"/>
                    <a:pt x="353" y="7"/>
                    <a:pt x="353" y="7"/>
                  </a:cubicBezTo>
                  <a:cubicBezTo>
                    <a:pt x="353" y="7"/>
                    <a:pt x="352" y="7"/>
                    <a:pt x="352" y="6"/>
                  </a:cubicBezTo>
                  <a:cubicBezTo>
                    <a:pt x="351" y="6"/>
                    <a:pt x="351" y="6"/>
                    <a:pt x="351" y="6"/>
                  </a:cubicBezTo>
                  <a:cubicBezTo>
                    <a:pt x="350" y="5"/>
                    <a:pt x="349" y="5"/>
                    <a:pt x="349" y="5"/>
                  </a:cubicBezTo>
                  <a:cubicBezTo>
                    <a:pt x="347" y="4"/>
                    <a:pt x="347" y="4"/>
                    <a:pt x="347" y="4"/>
                  </a:cubicBezTo>
                  <a:cubicBezTo>
                    <a:pt x="347" y="4"/>
                    <a:pt x="347" y="4"/>
                    <a:pt x="347" y="4"/>
                  </a:cubicBezTo>
                  <a:cubicBezTo>
                    <a:pt x="346" y="4"/>
                    <a:pt x="344" y="5"/>
                    <a:pt x="342" y="5"/>
                  </a:cubicBezTo>
                  <a:cubicBezTo>
                    <a:pt x="340" y="6"/>
                    <a:pt x="340" y="6"/>
                    <a:pt x="340" y="6"/>
                  </a:cubicBezTo>
                  <a:cubicBezTo>
                    <a:pt x="338" y="7"/>
                    <a:pt x="336" y="7"/>
                    <a:pt x="335" y="7"/>
                  </a:cubicBezTo>
                  <a:cubicBezTo>
                    <a:pt x="335" y="7"/>
                    <a:pt x="335" y="7"/>
                    <a:pt x="335" y="7"/>
                  </a:cubicBezTo>
                  <a:cubicBezTo>
                    <a:pt x="334" y="7"/>
                    <a:pt x="333" y="7"/>
                    <a:pt x="332" y="6"/>
                  </a:cubicBezTo>
                  <a:cubicBezTo>
                    <a:pt x="332" y="6"/>
                    <a:pt x="332" y="6"/>
                    <a:pt x="332" y="6"/>
                  </a:cubicBezTo>
                  <a:cubicBezTo>
                    <a:pt x="331" y="6"/>
                    <a:pt x="330" y="6"/>
                    <a:pt x="329" y="5"/>
                  </a:cubicBezTo>
                  <a:cubicBezTo>
                    <a:pt x="327" y="4"/>
                    <a:pt x="326" y="4"/>
                    <a:pt x="325" y="3"/>
                  </a:cubicBezTo>
                  <a:cubicBezTo>
                    <a:pt x="325" y="3"/>
                    <a:pt x="325" y="3"/>
                    <a:pt x="324" y="3"/>
                  </a:cubicBezTo>
                  <a:cubicBezTo>
                    <a:pt x="324" y="3"/>
                    <a:pt x="324" y="3"/>
                    <a:pt x="323" y="4"/>
                  </a:cubicBezTo>
                  <a:cubicBezTo>
                    <a:pt x="322" y="4"/>
                    <a:pt x="321" y="4"/>
                    <a:pt x="321" y="4"/>
                  </a:cubicBezTo>
                  <a:cubicBezTo>
                    <a:pt x="320" y="4"/>
                    <a:pt x="320" y="4"/>
                    <a:pt x="320" y="4"/>
                  </a:cubicBezTo>
                  <a:cubicBezTo>
                    <a:pt x="317" y="4"/>
                    <a:pt x="315" y="3"/>
                    <a:pt x="314" y="2"/>
                  </a:cubicBezTo>
                  <a:cubicBezTo>
                    <a:pt x="313" y="1"/>
                    <a:pt x="312" y="1"/>
                    <a:pt x="312" y="0"/>
                  </a:cubicBezTo>
                  <a:cubicBezTo>
                    <a:pt x="311" y="0"/>
                    <a:pt x="311" y="0"/>
                    <a:pt x="3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16"/>
            <p:cNvSpPr/>
            <p:nvPr/>
          </p:nvSpPr>
          <p:spPr bwMode="auto">
            <a:xfrm flipH="1">
              <a:off x="4344" y="3081"/>
              <a:ext cx="0" cy="5"/>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cubicBezTo>
                    <a:pt x="0" y="0"/>
                    <a:pt x="0" y="0"/>
                    <a:pt x="0" y="0"/>
                  </a:cubicBezTo>
                  <a:cubicBezTo>
                    <a:pt x="0" y="1"/>
                    <a:pt x="0" y="1"/>
                    <a:pt x="0" y="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17"/>
            <p:cNvSpPr/>
            <p:nvPr/>
          </p:nvSpPr>
          <p:spPr bwMode="auto">
            <a:xfrm>
              <a:off x="4474" y="2150"/>
              <a:ext cx="702" cy="461"/>
            </a:xfrm>
            <a:custGeom>
              <a:gdLst>
                <a:gd name="T0" fmla="*/ 170 w 297"/>
                <a:gd name="T1" fmla="*/ 6 h 195"/>
                <a:gd name="T2" fmla="*/ 139 w 297"/>
                <a:gd name="T3" fmla="*/ 41 h 195"/>
                <a:gd name="T4" fmla="*/ 109 w 297"/>
                <a:gd name="T5" fmla="*/ 51 h 195"/>
                <a:gd name="T6" fmla="*/ 108 w 297"/>
                <a:gd name="T7" fmla="*/ 53 h 195"/>
                <a:gd name="T8" fmla="*/ 99 w 297"/>
                <a:gd name="T9" fmla="*/ 65 h 195"/>
                <a:gd name="T10" fmla="*/ 93 w 297"/>
                <a:gd name="T11" fmla="*/ 69 h 195"/>
                <a:gd name="T12" fmla="*/ 84 w 297"/>
                <a:gd name="T13" fmla="*/ 69 h 195"/>
                <a:gd name="T14" fmla="*/ 68 w 297"/>
                <a:gd name="T15" fmla="*/ 73 h 195"/>
                <a:gd name="T16" fmla="*/ 58 w 297"/>
                <a:gd name="T17" fmla="*/ 77 h 195"/>
                <a:gd name="T18" fmla="*/ 52 w 297"/>
                <a:gd name="T19" fmla="*/ 80 h 195"/>
                <a:gd name="T20" fmla="*/ 45 w 297"/>
                <a:gd name="T21" fmla="*/ 74 h 195"/>
                <a:gd name="T22" fmla="*/ 34 w 297"/>
                <a:gd name="T23" fmla="*/ 79 h 195"/>
                <a:gd name="T24" fmla="*/ 21 w 297"/>
                <a:gd name="T25" fmla="*/ 82 h 195"/>
                <a:gd name="T26" fmla="*/ 11 w 297"/>
                <a:gd name="T27" fmla="*/ 98 h 195"/>
                <a:gd name="T28" fmla="*/ 1 w 297"/>
                <a:gd name="T29" fmla="*/ 114 h 195"/>
                <a:gd name="T30" fmla="*/ 3 w 297"/>
                <a:gd name="T31" fmla="*/ 126 h 195"/>
                <a:gd name="T32" fmla="*/ 3 w 297"/>
                <a:gd name="T33" fmla="*/ 134 h 195"/>
                <a:gd name="T34" fmla="*/ 14 w 297"/>
                <a:gd name="T35" fmla="*/ 155 h 195"/>
                <a:gd name="T36" fmla="*/ 24 w 297"/>
                <a:gd name="T37" fmla="*/ 173 h 195"/>
                <a:gd name="T38" fmla="*/ 37 w 297"/>
                <a:gd name="T39" fmla="*/ 186 h 195"/>
                <a:gd name="T40" fmla="*/ 40 w 297"/>
                <a:gd name="T41" fmla="*/ 193 h 195"/>
                <a:gd name="T42" fmla="*/ 43 w 297"/>
                <a:gd name="T43" fmla="*/ 177 h 195"/>
                <a:gd name="T44" fmla="*/ 48 w 297"/>
                <a:gd name="T45" fmla="*/ 170 h 195"/>
                <a:gd name="T46" fmla="*/ 60 w 297"/>
                <a:gd name="T47" fmla="*/ 167 h 195"/>
                <a:gd name="T48" fmla="*/ 81 w 297"/>
                <a:gd name="T49" fmla="*/ 167 h 195"/>
                <a:gd name="T50" fmla="*/ 89 w 297"/>
                <a:gd name="T51" fmla="*/ 168 h 195"/>
                <a:gd name="T52" fmla="*/ 91 w 297"/>
                <a:gd name="T53" fmla="*/ 162 h 195"/>
                <a:gd name="T54" fmla="*/ 90 w 297"/>
                <a:gd name="T55" fmla="*/ 153 h 195"/>
                <a:gd name="T56" fmla="*/ 97 w 297"/>
                <a:gd name="T57" fmla="*/ 148 h 195"/>
                <a:gd name="T58" fmla="*/ 115 w 297"/>
                <a:gd name="T59" fmla="*/ 132 h 195"/>
                <a:gd name="T60" fmla="*/ 120 w 297"/>
                <a:gd name="T61" fmla="*/ 132 h 195"/>
                <a:gd name="T62" fmla="*/ 126 w 297"/>
                <a:gd name="T63" fmla="*/ 135 h 195"/>
                <a:gd name="T64" fmla="*/ 143 w 297"/>
                <a:gd name="T65" fmla="*/ 148 h 195"/>
                <a:gd name="T66" fmla="*/ 154 w 297"/>
                <a:gd name="T67" fmla="*/ 151 h 195"/>
                <a:gd name="T68" fmla="*/ 160 w 297"/>
                <a:gd name="T69" fmla="*/ 152 h 195"/>
                <a:gd name="T70" fmla="*/ 177 w 297"/>
                <a:gd name="T71" fmla="*/ 153 h 195"/>
                <a:gd name="T72" fmla="*/ 187 w 297"/>
                <a:gd name="T73" fmla="*/ 148 h 195"/>
                <a:gd name="T74" fmla="*/ 191 w 297"/>
                <a:gd name="T75" fmla="*/ 142 h 195"/>
                <a:gd name="T76" fmla="*/ 195 w 297"/>
                <a:gd name="T77" fmla="*/ 140 h 195"/>
                <a:gd name="T78" fmla="*/ 206 w 297"/>
                <a:gd name="T79" fmla="*/ 144 h 195"/>
                <a:gd name="T80" fmla="*/ 227 w 297"/>
                <a:gd name="T81" fmla="*/ 135 h 195"/>
                <a:gd name="T82" fmla="*/ 232 w 297"/>
                <a:gd name="T83" fmla="*/ 133 h 195"/>
                <a:gd name="T84" fmla="*/ 241 w 297"/>
                <a:gd name="T85" fmla="*/ 136 h 195"/>
                <a:gd name="T86" fmla="*/ 250 w 297"/>
                <a:gd name="T87" fmla="*/ 130 h 195"/>
                <a:gd name="T88" fmla="*/ 257 w 297"/>
                <a:gd name="T89" fmla="*/ 126 h 195"/>
                <a:gd name="T90" fmla="*/ 264 w 297"/>
                <a:gd name="T91" fmla="*/ 130 h 195"/>
                <a:gd name="T92" fmla="*/ 270 w 297"/>
                <a:gd name="T93" fmla="*/ 130 h 195"/>
                <a:gd name="T94" fmla="*/ 280 w 297"/>
                <a:gd name="T95" fmla="*/ 133 h 195"/>
                <a:gd name="T96" fmla="*/ 284 w 297"/>
                <a:gd name="T97" fmla="*/ 133 h 195"/>
                <a:gd name="T98" fmla="*/ 297 w 297"/>
                <a:gd name="T99" fmla="*/ 131 h 195"/>
                <a:gd name="T100" fmla="*/ 283 w 297"/>
                <a:gd name="T101" fmla="*/ 117 h 195"/>
                <a:gd name="T102" fmla="*/ 276 w 297"/>
                <a:gd name="T103" fmla="*/ 113 h 195"/>
                <a:gd name="T104" fmla="*/ 273 w 297"/>
                <a:gd name="T105" fmla="*/ 101 h 195"/>
                <a:gd name="T106" fmla="*/ 248 w 297"/>
                <a:gd name="T107" fmla="*/ 73 h 195"/>
                <a:gd name="T108" fmla="*/ 247 w 297"/>
                <a:gd name="T109" fmla="*/ 71 h 195"/>
                <a:gd name="T110" fmla="*/ 225 w 297"/>
                <a:gd name="T111" fmla="*/ 61 h 195"/>
                <a:gd name="T112" fmla="*/ 219 w 297"/>
                <a:gd name="T113" fmla="*/ 53 h 195"/>
                <a:gd name="T114" fmla="*/ 212 w 297"/>
                <a:gd name="T115" fmla="*/ 53 h 195"/>
                <a:gd name="T116" fmla="*/ 206 w 297"/>
                <a:gd name="T117" fmla="*/ 46 h 195"/>
                <a:gd name="T118" fmla="*/ 210 w 297"/>
                <a:gd name="T119" fmla="*/ 36 h 195"/>
                <a:gd name="T120" fmla="*/ 207 w 297"/>
                <a:gd name="T121" fmla="*/ 18 h 195"/>
                <a:gd name="T122" fmla="*/ 190 w 297"/>
                <a:gd name="T123" fmla="*/ 0 h 1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7" h="195">
                  <a:moveTo>
                    <a:pt x="183" y="0"/>
                  </a:moveTo>
                  <a:cubicBezTo>
                    <a:pt x="183" y="0"/>
                    <a:pt x="183" y="0"/>
                    <a:pt x="183" y="0"/>
                  </a:cubicBezTo>
                  <a:cubicBezTo>
                    <a:pt x="182" y="0"/>
                    <a:pt x="181" y="0"/>
                    <a:pt x="180" y="1"/>
                  </a:cubicBezTo>
                  <a:cubicBezTo>
                    <a:pt x="177" y="2"/>
                    <a:pt x="172" y="4"/>
                    <a:pt x="170" y="6"/>
                  </a:cubicBezTo>
                  <a:cubicBezTo>
                    <a:pt x="170" y="6"/>
                    <a:pt x="170" y="6"/>
                    <a:pt x="170" y="6"/>
                  </a:cubicBezTo>
                  <a:cubicBezTo>
                    <a:pt x="170" y="7"/>
                    <a:pt x="170" y="7"/>
                    <a:pt x="170" y="7"/>
                  </a:cubicBezTo>
                  <a:cubicBezTo>
                    <a:pt x="170" y="7"/>
                    <a:pt x="170" y="7"/>
                    <a:pt x="170" y="7"/>
                  </a:cubicBezTo>
                  <a:cubicBezTo>
                    <a:pt x="170" y="8"/>
                    <a:pt x="170" y="9"/>
                    <a:pt x="169" y="11"/>
                  </a:cubicBezTo>
                  <a:cubicBezTo>
                    <a:pt x="155" y="28"/>
                    <a:pt x="155" y="28"/>
                    <a:pt x="155" y="28"/>
                  </a:cubicBezTo>
                  <a:cubicBezTo>
                    <a:pt x="150" y="33"/>
                    <a:pt x="146" y="37"/>
                    <a:pt x="139" y="41"/>
                  </a:cubicBezTo>
                  <a:cubicBezTo>
                    <a:pt x="138" y="43"/>
                    <a:pt x="136" y="43"/>
                    <a:pt x="134" y="44"/>
                  </a:cubicBezTo>
                  <a:cubicBezTo>
                    <a:pt x="131" y="44"/>
                    <a:pt x="128" y="44"/>
                    <a:pt x="124" y="45"/>
                  </a:cubicBezTo>
                  <a:cubicBezTo>
                    <a:pt x="122" y="45"/>
                    <a:pt x="122" y="45"/>
                    <a:pt x="122" y="45"/>
                  </a:cubicBezTo>
                  <a:cubicBezTo>
                    <a:pt x="119" y="45"/>
                    <a:pt x="113" y="45"/>
                    <a:pt x="108" y="46"/>
                  </a:cubicBezTo>
                  <a:cubicBezTo>
                    <a:pt x="109" y="51"/>
                    <a:pt x="109" y="51"/>
                    <a:pt x="109" y="51"/>
                  </a:cubicBezTo>
                  <a:cubicBezTo>
                    <a:pt x="107" y="46"/>
                    <a:pt x="107" y="46"/>
                    <a:pt x="107" y="46"/>
                  </a:cubicBezTo>
                  <a:cubicBezTo>
                    <a:pt x="105" y="46"/>
                    <a:pt x="105" y="46"/>
                    <a:pt x="105" y="46"/>
                  </a:cubicBezTo>
                  <a:cubicBezTo>
                    <a:pt x="105" y="46"/>
                    <a:pt x="105" y="46"/>
                    <a:pt x="105" y="46"/>
                  </a:cubicBezTo>
                  <a:cubicBezTo>
                    <a:pt x="105" y="47"/>
                    <a:pt x="105" y="47"/>
                    <a:pt x="105" y="47"/>
                  </a:cubicBezTo>
                  <a:cubicBezTo>
                    <a:pt x="107" y="48"/>
                    <a:pt x="108" y="50"/>
                    <a:pt x="108" y="53"/>
                  </a:cubicBezTo>
                  <a:cubicBezTo>
                    <a:pt x="108" y="53"/>
                    <a:pt x="108" y="53"/>
                    <a:pt x="108" y="53"/>
                  </a:cubicBezTo>
                  <a:cubicBezTo>
                    <a:pt x="107" y="54"/>
                    <a:pt x="107" y="55"/>
                    <a:pt x="106" y="56"/>
                  </a:cubicBezTo>
                  <a:cubicBezTo>
                    <a:pt x="105" y="57"/>
                    <a:pt x="105" y="58"/>
                    <a:pt x="104" y="59"/>
                  </a:cubicBezTo>
                  <a:cubicBezTo>
                    <a:pt x="104" y="59"/>
                    <a:pt x="104" y="59"/>
                    <a:pt x="104" y="59"/>
                  </a:cubicBezTo>
                  <a:cubicBezTo>
                    <a:pt x="102" y="61"/>
                    <a:pt x="101" y="63"/>
                    <a:pt x="99" y="65"/>
                  </a:cubicBezTo>
                  <a:cubicBezTo>
                    <a:pt x="97" y="66"/>
                    <a:pt x="97" y="66"/>
                    <a:pt x="97" y="66"/>
                  </a:cubicBezTo>
                  <a:cubicBezTo>
                    <a:pt x="96" y="67"/>
                    <a:pt x="96" y="67"/>
                    <a:pt x="95" y="67"/>
                  </a:cubicBezTo>
                  <a:cubicBezTo>
                    <a:pt x="95" y="68"/>
                    <a:pt x="95" y="68"/>
                    <a:pt x="95" y="68"/>
                  </a:cubicBezTo>
                  <a:cubicBezTo>
                    <a:pt x="95" y="68"/>
                    <a:pt x="94" y="68"/>
                    <a:pt x="94" y="68"/>
                  </a:cubicBezTo>
                  <a:cubicBezTo>
                    <a:pt x="93" y="69"/>
                    <a:pt x="93" y="69"/>
                    <a:pt x="93" y="69"/>
                  </a:cubicBezTo>
                  <a:cubicBezTo>
                    <a:pt x="92" y="69"/>
                    <a:pt x="92" y="69"/>
                    <a:pt x="91" y="69"/>
                  </a:cubicBezTo>
                  <a:cubicBezTo>
                    <a:pt x="90" y="69"/>
                    <a:pt x="90" y="69"/>
                    <a:pt x="90" y="69"/>
                  </a:cubicBezTo>
                  <a:cubicBezTo>
                    <a:pt x="90" y="69"/>
                    <a:pt x="89" y="69"/>
                    <a:pt x="88" y="69"/>
                  </a:cubicBezTo>
                  <a:cubicBezTo>
                    <a:pt x="85" y="69"/>
                    <a:pt x="85" y="69"/>
                    <a:pt x="85" y="69"/>
                  </a:cubicBezTo>
                  <a:cubicBezTo>
                    <a:pt x="84" y="69"/>
                    <a:pt x="84" y="69"/>
                    <a:pt x="84" y="69"/>
                  </a:cubicBezTo>
                  <a:cubicBezTo>
                    <a:pt x="83" y="69"/>
                    <a:pt x="83" y="69"/>
                    <a:pt x="83" y="69"/>
                  </a:cubicBezTo>
                  <a:cubicBezTo>
                    <a:pt x="82" y="69"/>
                    <a:pt x="81" y="70"/>
                    <a:pt x="79" y="70"/>
                  </a:cubicBezTo>
                  <a:cubicBezTo>
                    <a:pt x="76" y="71"/>
                    <a:pt x="74" y="71"/>
                    <a:pt x="71" y="72"/>
                  </a:cubicBezTo>
                  <a:cubicBezTo>
                    <a:pt x="69" y="73"/>
                    <a:pt x="69" y="73"/>
                    <a:pt x="69" y="73"/>
                  </a:cubicBezTo>
                  <a:cubicBezTo>
                    <a:pt x="68" y="73"/>
                    <a:pt x="68" y="73"/>
                    <a:pt x="68" y="73"/>
                  </a:cubicBezTo>
                  <a:cubicBezTo>
                    <a:pt x="66" y="74"/>
                    <a:pt x="66" y="74"/>
                    <a:pt x="66" y="74"/>
                  </a:cubicBezTo>
                  <a:cubicBezTo>
                    <a:pt x="65" y="74"/>
                    <a:pt x="64" y="74"/>
                    <a:pt x="62" y="75"/>
                  </a:cubicBezTo>
                  <a:cubicBezTo>
                    <a:pt x="61" y="76"/>
                    <a:pt x="61" y="76"/>
                    <a:pt x="61" y="76"/>
                  </a:cubicBezTo>
                  <a:cubicBezTo>
                    <a:pt x="61" y="76"/>
                    <a:pt x="60" y="76"/>
                    <a:pt x="59" y="77"/>
                  </a:cubicBezTo>
                  <a:cubicBezTo>
                    <a:pt x="58" y="77"/>
                    <a:pt x="58" y="77"/>
                    <a:pt x="58" y="77"/>
                  </a:cubicBezTo>
                  <a:cubicBezTo>
                    <a:pt x="57" y="78"/>
                    <a:pt x="57" y="78"/>
                    <a:pt x="57" y="78"/>
                  </a:cubicBezTo>
                  <a:cubicBezTo>
                    <a:pt x="56" y="78"/>
                    <a:pt x="56" y="78"/>
                    <a:pt x="56" y="78"/>
                  </a:cubicBezTo>
                  <a:cubicBezTo>
                    <a:pt x="55" y="79"/>
                    <a:pt x="55" y="79"/>
                    <a:pt x="54" y="80"/>
                  </a:cubicBezTo>
                  <a:cubicBezTo>
                    <a:pt x="53" y="80"/>
                    <a:pt x="53" y="80"/>
                    <a:pt x="53" y="80"/>
                  </a:cubicBezTo>
                  <a:cubicBezTo>
                    <a:pt x="52" y="80"/>
                    <a:pt x="52" y="80"/>
                    <a:pt x="52" y="80"/>
                  </a:cubicBezTo>
                  <a:cubicBezTo>
                    <a:pt x="52" y="80"/>
                    <a:pt x="52" y="80"/>
                    <a:pt x="52" y="80"/>
                  </a:cubicBezTo>
                  <a:cubicBezTo>
                    <a:pt x="52" y="80"/>
                    <a:pt x="51" y="80"/>
                    <a:pt x="51" y="80"/>
                  </a:cubicBezTo>
                  <a:cubicBezTo>
                    <a:pt x="51" y="80"/>
                    <a:pt x="51" y="80"/>
                    <a:pt x="51" y="80"/>
                  </a:cubicBezTo>
                  <a:cubicBezTo>
                    <a:pt x="50" y="79"/>
                    <a:pt x="50" y="79"/>
                    <a:pt x="50" y="79"/>
                  </a:cubicBezTo>
                  <a:cubicBezTo>
                    <a:pt x="45" y="74"/>
                    <a:pt x="45" y="74"/>
                    <a:pt x="45" y="74"/>
                  </a:cubicBezTo>
                  <a:cubicBezTo>
                    <a:pt x="45" y="74"/>
                    <a:pt x="45" y="74"/>
                    <a:pt x="45" y="74"/>
                  </a:cubicBezTo>
                  <a:cubicBezTo>
                    <a:pt x="45" y="75"/>
                    <a:pt x="44" y="76"/>
                    <a:pt x="44" y="76"/>
                  </a:cubicBezTo>
                  <a:cubicBezTo>
                    <a:pt x="43" y="77"/>
                    <a:pt x="43" y="77"/>
                    <a:pt x="43" y="77"/>
                  </a:cubicBezTo>
                  <a:cubicBezTo>
                    <a:pt x="42" y="78"/>
                    <a:pt x="39" y="78"/>
                    <a:pt x="38" y="78"/>
                  </a:cubicBezTo>
                  <a:cubicBezTo>
                    <a:pt x="37" y="79"/>
                    <a:pt x="36" y="79"/>
                    <a:pt x="34" y="79"/>
                  </a:cubicBezTo>
                  <a:cubicBezTo>
                    <a:pt x="30" y="80"/>
                    <a:pt x="30" y="80"/>
                    <a:pt x="30" y="80"/>
                  </a:cubicBezTo>
                  <a:cubicBezTo>
                    <a:pt x="28" y="80"/>
                    <a:pt x="27" y="80"/>
                    <a:pt x="25" y="80"/>
                  </a:cubicBezTo>
                  <a:cubicBezTo>
                    <a:pt x="22" y="81"/>
                    <a:pt x="22" y="81"/>
                    <a:pt x="22" y="81"/>
                  </a:cubicBezTo>
                  <a:cubicBezTo>
                    <a:pt x="22" y="81"/>
                    <a:pt x="22" y="81"/>
                    <a:pt x="22" y="81"/>
                  </a:cubicBezTo>
                  <a:cubicBezTo>
                    <a:pt x="21" y="82"/>
                    <a:pt x="21" y="82"/>
                    <a:pt x="21" y="82"/>
                  </a:cubicBezTo>
                  <a:cubicBezTo>
                    <a:pt x="20" y="83"/>
                    <a:pt x="19" y="84"/>
                    <a:pt x="18" y="86"/>
                  </a:cubicBezTo>
                  <a:cubicBezTo>
                    <a:pt x="17" y="87"/>
                    <a:pt x="17" y="87"/>
                    <a:pt x="17" y="87"/>
                  </a:cubicBezTo>
                  <a:cubicBezTo>
                    <a:pt x="16" y="89"/>
                    <a:pt x="14" y="92"/>
                    <a:pt x="13" y="94"/>
                  </a:cubicBezTo>
                  <a:cubicBezTo>
                    <a:pt x="13" y="95"/>
                    <a:pt x="13" y="95"/>
                    <a:pt x="13" y="95"/>
                  </a:cubicBezTo>
                  <a:cubicBezTo>
                    <a:pt x="12" y="96"/>
                    <a:pt x="12" y="97"/>
                    <a:pt x="11" y="98"/>
                  </a:cubicBezTo>
                  <a:cubicBezTo>
                    <a:pt x="11" y="99"/>
                    <a:pt x="10" y="100"/>
                    <a:pt x="10" y="101"/>
                  </a:cubicBezTo>
                  <a:cubicBezTo>
                    <a:pt x="9" y="102"/>
                    <a:pt x="9" y="102"/>
                    <a:pt x="9" y="102"/>
                  </a:cubicBezTo>
                  <a:cubicBezTo>
                    <a:pt x="9" y="103"/>
                    <a:pt x="8" y="103"/>
                    <a:pt x="8" y="104"/>
                  </a:cubicBezTo>
                  <a:cubicBezTo>
                    <a:pt x="6" y="109"/>
                    <a:pt x="4" y="111"/>
                    <a:pt x="0" y="113"/>
                  </a:cubicBezTo>
                  <a:cubicBezTo>
                    <a:pt x="1" y="113"/>
                    <a:pt x="1" y="114"/>
                    <a:pt x="1" y="114"/>
                  </a:cubicBezTo>
                  <a:cubicBezTo>
                    <a:pt x="2" y="115"/>
                    <a:pt x="2" y="115"/>
                    <a:pt x="2" y="115"/>
                  </a:cubicBezTo>
                  <a:cubicBezTo>
                    <a:pt x="2" y="115"/>
                    <a:pt x="2" y="116"/>
                    <a:pt x="3" y="117"/>
                  </a:cubicBezTo>
                  <a:cubicBezTo>
                    <a:pt x="3" y="117"/>
                    <a:pt x="3" y="118"/>
                    <a:pt x="3" y="120"/>
                  </a:cubicBezTo>
                  <a:cubicBezTo>
                    <a:pt x="3" y="121"/>
                    <a:pt x="3" y="123"/>
                    <a:pt x="3" y="124"/>
                  </a:cubicBezTo>
                  <a:cubicBezTo>
                    <a:pt x="3" y="126"/>
                    <a:pt x="3" y="126"/>
                    <a:pt x="3" y="126"/>
                  </a:cubicBezTo>
                  <a:cubicBezTo>
                    <a:pt x="3" y="127"/>
                    <a:pt x="2" y="128"/>
                    <a:pt x="2" y="129"/>
                  </a:cubicBezTo>
                  <a:cubicBezTo>
                    <a:pt x="2" y="130"/>
                    <a:pt x="2" y="130"/>
                    <a:pt x="2" y="130"/>
                  </a:cubicBezTo>
                  <a:cubicBezTo>
                    <a:pt x="2" y="130"/>
                    <a:pt x="2" y="130"/>
                    <a:pt x="2" y="132"/>
                  </a:cubicBezTo>
                  <a:cubicBezTo>
                    <a:pt x="3" y="133"/>
                    <a:pt x="3" y="133"/>
                    <a:pt x="3" y="133"/>
                  </a:cubicBezTo>
                  <a:cubicBezTo>
                    <a:pt x="3" y="133"/>
                    <a:pt x="3" y="133"/>
                    <a:pt x="3" y="134"/>
                  </a:cubicBezTo>
                  <a:cubicBezTo>
                    <a:pt x="4" y="137"/>
                    <a:pt x="5" y="140"/>
                    <a:pt x="6" y="143"/>
                  </a:cubicBezTo>
                  <a:cubicBezTo>
                    <a:pt x="6" y="146"/>
                    <a:pt x="6" y="146"/>
                    <a:pt x="6" y="146"/>
                  </a:cubicBezTo>
                  <a:cubicBezTo>
                    <a:pt x="6" y="146"/>
                    <a:pt x="7" y="147"/>
                    <a:pt x="9" y="149"/>
                  </a:cubicBezTo>
                  <a:cubicBezTo>
                    <a:pt x="10" y="150"/>
                    <a:pt x="11" y="151"/>
                    <a:pt x="11" y="152"/>
                  </a:cubicBezTo>
                  <a:cubicBezTo>
                    <a:pt x="14" y="155"/>
                    <a:pt x="14" y="155"/>
                    <a:pt x="14" y="155"/>
                  </a:cubicBezTo>
                  <a:cubicBezTo>
                    <a:pt x="14" y="156"/>
                    <a:pt x="15" y="157"/>
                    <a:pt x="16" y="159"/>
                  </a:cubicBezTo>
                  <a:cubicBezTo>
                    <a:pt x="18" y="162"/>
                    <a:pt x="18" y="162"/>
                    <a:pt x="18" y="162"/>
                  </a:cubicBezTo>
                  <a:cubicBezTo>
                    <a:pt x="15" y="163"/>
                    <a:pt x="15" y="163"/>
                    <a:pt x="15" y="163"/>
                  </a:cubicBezTo>
                  <a:cubicBezTo>
                    <a:pt x="17" y="166"/>
                    <a:pt x="19" y="169"/>
                    <a:pt x="22" y="171"/>
                  </a:cubicBezTo>
                  <a:cubicBezTo>
                    <a:pt x="24" y="173"/>
                    <a:pt x="24" y="173"/>
                    <a:pt x="24" y="173"/>
                  </a:cubicBezTo>
                  <a:cubicBezTo>
                    <a:pt x="25" y="174"/>
                    <a:pt x="25" y="174"/>
                    <a:pt x="25" y="174"/>
                  </a:cubicBezTo>
                  <a:cubicBezTo>
                    <a:pt x="26" y="175"/>
                    <a:pt x="26" y="175"/>
                    <a:pt x="26" y="175"/>
                  </a:cubicBezTo>
                  <a:cubicBezTo>
                    <a:pt x="29" y="177"/>
                    <a:pt x="32" y="180"/>
                    <a:pt x="35" y="182"/>
                  </a:cubicBezTo>
                  <a:cubicBezTo>
                    <a:pt x="36" y="183"/>
                    <a:pt x="36" y="184"/>
                    <a:pt x="37" y="185"/>
                  </a:cubicBezTo>
                  <a:cubicBezTo>
                    <a:pt x="37" y="186"/>
                    <a:pt x="37" y="186"/>
                    <a:pt x="37" y="186"/>
                  </a:cubicBezTo>
                  <a:cubicBezTo>
                    <a:pt x="38" y="186"/>
                    <a:pt x="38" y="186"/>
                    <a:pt x="38" y="186"/>
                  </a:cubicBezTo>
                  <a:cubicBezTo>
                    <a:pt x="38" y="188"/>
                    <a:pt x="38" y="189"/>
                    <a:pt x="38" y="190"/>
                  </a:cubicBezTo>
                  <a:cubicBezTo>
                    <a:pt x="38" y="192"/>
                    <a:pt x="38" y="193"/>
                    <a:pt x="39" y="195"/>
                  </a:cubicBezTo>
                  <a:cubicBezTo>
                    <a:pt x="39" y="195"/>
                    <a:pt x="39" y="194"/>
                    <a:pt x="39" y="194"/>
                  </a:cubicBezTo>
                  <a:cubicBezTo>
                    <a:pt x="40" y="193"/>
                    <a:pt x="40" y="193"/>
                    <a:pt x="40" y="193"/>
                  </a:cubicBezTo>
                  <a:cubicBezTo>
                    <a:pt x="40" y="191"/>
                    <a:pt x="40" y="190"/>
                    <a:pt x="41" y="189"/>
                  </a:cubicBezTo>
                  <a:cubicBezTo>
                    <a:pt x="41" y="187"/>
                    <a:pt x="42" y="185"/>
                    <a:pt x="42" y="184"/>
                  </a:cubicBezTo>
                  <a:cubicBezTo>
                    <a:pt x="42" y="183"/>
                    <a:pt x="42" y="183"/>
                    <a:pt x="42" y="182"/>
                  </a:cubicBezTo>
                  <a:cubicBezTo>
                    <a:pt x="42" y="181"/>
                    <a:pt x="42" y="180"/>
                    <a:pt x="42" y="178"/>
                  </a:cubicBezTo>
                  <a:cubicBezTo>
                    <a:pt x="43" y="177"/>
                    <a:pt x="43" y="177"/>
                    <a:pt x="43" y="177"/>
                  </a:cubicBezTo>
                  <a:cubicBezTo>
                    <a:pt x="43" y="177"/>
                    <a:pt x="43" y="176"/>
                    <a:pt x="43" y="176"/>
                  </a:cubicBezTo>
                  <a:cubicBezTo>
                    <a:pt x="43" y="175"/>
                    <a:pt x="43" y="175"/>
                    <a:pt x="43" y="175"/>
                  </a:cubicBezTo>
                  <a:cubicBezTo>
                    <a:pt x="43" y="174"/>
                    <a:pt x="43" y="174"/>
                    <a:pt x="43" y="174"/>
                  </a:cubicBezTo>
                  <a:cubicBezTo>
                    <a:pt x="44" y="174"/>
                    <a:pt x="44" y="174"/>
                    <a:pt x="44" y="174"/>
                  </a:cubicBezTo>
                  <a:cubicBezTo>
                    <a:pt x="45" y="172"/>
                    <a:pt x="47" y="171"/>
                    <a:pt x="48" y="170"/>
                  </a:cubicBezTo>
                  <a:cubicBezTo>
                    <a:pt x="50" y="170"/>
                    <a:pt x="51" y="169"/>
                    <a:pt x="53" y="169"/>
                  </a:cubicBezTo>
                  <a:cubicBezTo>
                    <a:pt x="52" y="164"/>
                    <a:pt x="52" y="164"/>
                    <a:pt x="52" y="164"/>
                  </a:cubicBezTo>
                  <a:cubicBezTo>
                    <a:pt x="55" y="169"/>
                    <a:pt x="55" y="169"/>
                    <a:pt x="55" y="169"/>
                  </a:cubicBezTo>
                  <a:cubicBezTo>
                    <a:pt x="55" y="169"/>
                    <a:pt x="55" y="169"/>
                    <a:pt x="55" y="169"/>
                  </a:cubicBezTo>
                  <a:cubicBezTo>
                    <a:pt x="57" y="168"/>
                    <a:pt x="58" y="168"/>
                    <a:pt x="60" y="167"/>
                  </a:cubicBezTo>
                  <a:cubicBezTo>
                    <a:pt x="64" y="167"/>
                    <a:pt x="67" y="166"/>
                    <a:pt x="71" y="166"/>
                  </a:cubicBezTo>
                  <a:cubicBezTo>
                    <a:pt x="72" y="166"/>
                    <a:pt x="74" y="166"/>
                    <a:pt x="75" y="167"/>
                  </a:cubicBezTo>
                  <a:cubicBezTo>
                    <a:pt x="76" y="167"/>
                    <a:pt x="77" y="167"/>
                    <a:pt x="78" y="167"/>
                  </a:cubicBezTo>
                  <a:cubicBezTo>
                    <a:pt x="79" y="167"/>
                    <a:pt x="79" y="167"/>
                    <a:pt x="79" y="167"/>
                  </a:cubicBezTo>
                  <a:cubicBezTo>
                    <a:pt x="80" y="167"/>
                    <a:pt x="80" y="167"/>
                    <a:pt x="81" y="167"/>
                  </a:cubicBezTo>
                  <a:cubicBezTo>
                    <a:pt x="82" y="167"/>
                    <a:pt x="82" y="167"/>
                    <a:pt x="82" y="167"/>
                  </a:cubicBezTo>
                  <a:cubicBezTo>
                    <a:pt x="83" y="168"/>
                    <a:pt x="83" y="168"/>
                    <a:pt x="83" y="168"/>
                  </a:cubicBezTo>
                  <a:cubicBezTo>
                    <a:pt x="85" y="168"/>
                    <a:pt x="86" y="168"/>
                    <a:pt x="87" y="168"/>
                  </a:cubicBezTo>
                  <a:cubicBezTo>
                    <a:pt x="88" y="168"/>
                    <a:pt x="89" y="168"/>
                    <a:pt x="89" y="168"/>
                  </a:cubicBezTo>
                  <a:cubicBezTo>
                    <a:pt x="89" y="168"/>
                    <a:pt x="89" y="168"/>
                    <a:pt x="89" y="168"/>
                  </a:cubicBezTo>
                  <a:cubicBezTo>
                    <a:pt x="91" y="166"/>
                    <a:pt x="91" y="166"/>
                    <a:pt x="91" y="166"/>
                  </a:cubicBezTo>
                  <a:cubicBezTo>
                    <a:pt x="91" y="167"/>
                    <a:pt x="91" y="167"/>
                    <a:pt x="91" y="167"/>
                  </a:cubicBezTo>
                  <a:cubicBezTo>
                    <a:pt x="91" y="166"/>
                    <a:pt x="91" y="166"/>
                    <a:pt x="91" y="165"/>
                  </a:cubicBezTo>
                  <a:cubicBezTo>
                    <a:pt x="91" y="164"/>
                    <a:pt x="91" y="163"/>
                    <a:pt x="91" y="162"/>
                  </a:cubicBezTo>
                  <a:cubicBezTo>
                    <a:pt x="91" y="162"/>
                    <a:pt x="91" y="162"/>
                    <a:pt x="91" y="162"/>
                  </a:cubicBezTo>
                  <a:cubicBezTo>
                    <a:pt x="91" y="161"/>
                    <a:pt x="91" y="160"/>
                    <a:pt x="91" y="159"/>
                  </a:cubicBezTo>
                  <a:cubicBezTo>
                    <a:pt x="91" y="159"/>
                    <a:pt x="91" y="159"/>
                    <a:pt x="91" y="159"/>
                  </a:cubicBezTo>
                  <a:cubicBezTo>
                    <a:pt x="91" y="158"/>
                    <a:pt x="91" y="158"/>
                    <a:pt x="91" y="157"/>
                  </a:cubicBezTo>
                  <a:cubicBezTo>
                    <a:pt x="91" y="157"/>
                    <a:pt x="91" y="157"/>
                    <a:pt x="91" y="157"/>
                  </a:cubicBezTo>
                  <a:cubicBezTo>
                    <a:pt x="90" y="157"/>
                    <a:pt x="89" y="155"/>
                    <a:pt x="90" y="153"/>
                  </a:cubicBezTo>
                  <a:cubicBezTo>
                    <a:pt x="90" y="152"/>
                    <a:pt x="90" y="152"/>
                    <a:pt x="91" y="151"/>
                  </a:cubicBezTo>
                  <a:cubicBezTo>
                    <a:pt x="92" y="150"/>
                    <a:pt x="93" y="150"/>
                    <a:pt x="95" y="150"/>
                  </a:cubicBezTo>
                  <a:cubicBezTo>
                    <a:pt x="95" y="150"/>
                    <a:pt x="95" y="150"/>
                    <a:pt x="95" y="150"/>
                  </a:cubicBezTo>
                  <a:cubicBezTo>
                    <a:pt x="96" y="150"/>
                    <a:pt x="96" y="150"/>
                    <a:pt x="96" y="150"/>
                  </a:cubicBezTo>
                  <a:cubicBezTo>
                    <a:pt x="96" y="150"/>
                    <a:pt x="96" y="149"/>
                    <a:pt x="97" y="148"/>
                  </a:cubicBezTo>
                  <a:cubicBezTo>
                    <a:pt x="98" y="146"/>
                    <a:pt x="98" y="146"/>
                    <a:pt x="98" y="146"/>
                  </a:cubicBezTo>
                  <a:cubicBezTo>
                    <a:pt x="99" y="145"/>
                    <a:pt x="100" y="143"/>
                    <a:pt x="101" y="142"/>
                  </a:cubicBezTo>
                  <a:cubicBezTo>
                    <a:pt x="101" y="141"/>
                    <a:pt x="101" y="141"/>
                    <a:pt x="101" y="141"/>
                  </a:cubicBezTo>
                  <a:cubicBezTo>
                    <a:pt x="102" y="140"/>
                    <a:pt x="103" y="139"/>
                    <a:pt x="104" y="138"/>
                  </a:cubicBezTo>
                  <a:cubicBezTo>
                    <a:pt x="107" y="135"/>
                    <a:pt x="111" y="133"/>
                    <a:pt x="115" y="132"/>
                  </a:cubicBezTo>
                  <a:cubicBezTo>
                    <a:pt x="115" y="132"/>
                    <a:pt x="116" y="132"/>
                    <a:pt x="117" y="132"/>
                  </a:cubicBezTo>
                  <a:cubicBezTo>
                    <a:pt x="117" y="132"/>
                    <a:pt x="117" y="132"/>
                    <a:pt x="117" y="132"/>
                  </a:cubicBezTo>
                  <a:cubicBezTo>
                    <a:pt x="118" y="132"/>
                    <a:pt x="118" y="132"/>
                    <a:pt x="118" y="132"/>
                  </a:cubicBezTo>
                  <a:cubicBezTo>
                    <a:pt x="118" y="132"/>
                    <a:pt x="118" y="132"/>
                    <a:pt x="119" y="132"/>
                  </a:cubicBezTo>
                  <a:cubicBezTo>
                    <a:pt x="119" y="132"/>
                    <a:pt x="120" y="132"/>
                    <a:pt x="120" y="132"/>
                  </a:cubicBezTo>
                  <a:cubicBezTo>
                    <a:pt x="122" y="132"/>
                    <a:pt x="122" y="132"/>
                    <a:pt x="122" y="132"/>
                  </a:cubicBezTo>
                  <a:cubicBezTo>
                    <a:pt x="122" y="133"/>
                    <a:pt x="122" y="133"/>
                    <a:pt x="122" y="133"/>
                  </a:cubicBezTo>
                  <a:cubicBezTo>
                    <a:pt x="123" y="133"/>
                    <a:pt x="124" y="133"/>
                    <a:pt x="124" y="134"/>
                  </a:cubicBezTo>
                  <a:cubicBezTo>
                    <a:pt x="125" y="134"/>
                    <a:pt x="125" y="134"/>
                    <a:pt x="125" y="134"/>
                  </a:cubicBezTo>
                  <a:cubicBezTo>
                    <a:pt x="125" y="134"/>
                    <a:pt x="126" y="135"/>
                    <a:pt x="126" y="135"/>
                  </a:cubicBezTo>
                  <a:cubicBezTo>
                    <a:pt x="127" y="135"/>
                    <a:pt x="128" y="136"/>
                    <a:pt x="130" y="137"/>
                  </a:cubicBezTo>
                  <a:cubicBezTo>
                    <a:pt x="138" y="145"/>
                    <a:pt x="138" y="145"/>
                    <a:pt x="138" y="145"/>
                  </a:cubicBezTo>
                  <a:cubicBezTo>
                    <a:pt x="138" y="146"/>
                    <a:pt x="140" y="147"/>
                    <a:pt x="141" y="147"/>
                  </a:cubicBezTo>
                  <a:cubicBezTo>
                    <a:pt x="141" y="147"/>
                    <a:pt x="141" y="147"/>
                    <a:pt x="141" y="147"/>
                  </a:cubicBezTo>
                  <a:cubicBezTo>
                    <a:pt x="142" y="147"/>
                    <a:pt x="142" y="147"/>
                    <a:pt x="143" y="148"/>
                  </a:cubicBezTo>
                  <a:cubicBezTo>
                    <a:pt x="143" y="148"/>
                    <a:pt x="144" y="148"/>
                    <a:pt x="145" y="148"/>
                  </a:cubicBezTo>
                  <a:cubicBezTo>
                    <a:pt x="146" y="148"/>
                    <a:pt x="147" y="149"/>
                    <a:pt x="149" y="149"/>
                  </a:cubicBezTo>
                  <a:cubicBezTo>
                    <a:pt x="149" y="149"/>
                    <a:pt x="149" y="149"/>
                    <a:pt x="149" y="149"/>
                  </a:cubicBezTo>
                  <a:cubicBezTo>
                    <a:pt x="151" y="150"/>
                    <a:pt x="153" y="150"/>
                    <a:pt x="154" y="151"/>
                  </a:cubicBezTo>
                  <a:cubicBezTo>
                    <a:pt x="154" y="151"/>
                    <a:pt x="154" y="151"/>
                    <a:pt x="154" y="151"/>
                  </a:cubicBezTo>
                  <a:cubicBezTo>
                    <a:pt x="155" y="151"/>
                    <a:pt x="155" y="151"/>
                    <a:pt x="155" y="151"/>
                  </a:cubicBezTo>
                  <a:cubicBezTo>
                    <a:pt x="156" y="151"/>
                    <a:pt x="156" y="151"/>
                    <a:pt x="156" y="151"/>
                  </a:cubicBezTo>
                  <a:cubicBezTo>
                    <a:pt x="156" y="151"/>
                    <a:pt x="156" y="151"/>
                    <a:pt x="156" y="151"/>
                  </a:cubicBezTo>
                  <a:cubicBezTo>
                    <a:pt x="157" y="151"/>
                    <a:pt x="158" y="151"/>
                    <a:pt x="159" y="152"/>
                  </a:cubicBezTo>
                  <a:cubicBezTo>
                    <a:pt x="160" y="152"/>
                    <a:pt x="160" y="152"/>
                    <a:pt x="160" y="152"/>
                  </a:cubicBezTo>
                  <a:cubicBezTo>
                    <a:pt x="162" y="152"/>
                    <a:pt x="164" y="152"/>
                    <a:pt x="165" y="153"/>
                  </a:cubicBezTo>
                  <a:cubicBezTo>
                    <a:pt x="166" y="153"/>
                    <a:pt x="167" y="153"/>
                    <a:pt x="168" y="153"/>
                  </a:cubicBezTo>
                  <a:cubicBezTo>
                    <a:pt x="170" y="153"/>
                    <a:pt x="172" y="153"/>
                    <a:pt x="174" y="153"/>
                  </a:cubicBezTo>
                  <a:cubicBezTo>
                    <a:pt x="176" y="153"/>
                    <a:pt x="176" y="153"/>
                    <a:pt x="176" y="153"/>
                  </a:cubicBezTo>
                  <a:cubicBezTo>
                    <a:pt x="177" y="153"/>
                    <a:pt x="177" y="153"/>
                    <a:pt x="177" y="153"/>
                  </a:cubicBezTo>
                  <a:cubicBezTo>
                    <a:pt x="178" y="154"/>
                    <a:pt x="178" y="154"/>
                    <a:pt x="178" y="154"/>
                  </a:cubicBezTo>
                  <a:cubicBezTo>
                    <a:pt x="180" y="154"/>
                    <a:pt x="182" y="155"/>
                    <a:pt x="183" y="155"/>
                  </a:cubicBezTo>
                  <a:cubicBezTo>
                    <a:pt x="183" y="154"/>
                    <a:pt x="183" y="153"/>
                    <a:pt x="184" y="153"/>
                  </a:cubicBezTo>
                  <a:cubicBezTo>
                    <a:pt x="184" y="151"/>
                    <a:pt x="185" y="150"/>
                    <a:pt x="186" y="149"/>
                  </a:cubicBezTo>
                  <a:cubicBezTo>
                    <a:pt x="187" y="148"/>
                    <a:pt x="187" y="148"/>
                    <a:pt x="187" y="148"/>
                  </a:cubicBezTo>
                  <a:cubicBezTo>
                    <a:pt x="187" y="148"/>
                    <a:pt x="187" y="147"/>
                    <a:pt x="187" y="147"/>
                  </a:cubicBezTo>
                  <a:cubicBezTo>
                    <a:pt x="188" y="147"/>
                    <a:pt x="188" y="147"/>
                    <a:pt x="188" y="147"/>
                  </a:cubicBezTo>
                  <a:cubicBezTo>
                    <a:pt x="188" y="146"/>
                    <a:pt x="189" y="144"/>
                    <a:pt x="190" y="143"/>
                  </a:cubicBezTo>
                  <a:cubicBezTo>
                    <a:pt x="191" y="142"/>
                    <a:pt x="191" y="142"/>
                    <a:pt x="191" y="142"/>
                  </a:cubicBezTo>
                  <a:cubicBezTo>
                    <a:pt x="191" y="142"/>
                    <a:pt x="191" y="142"/>
                    <a:pt x="191" y="142"/>
                  </a:cubicBezTo>
                  <a:cubicBezTo>
                    <a:pt x="192" y="141"/>
                    <a:pt x="192" y="141"/>
                    <a:pt x="192" y="141"/>
                  </a:cubicBezTo>
                  <a:cubicBezTo>
                    <a:pt x="193" y="141"/>
                    <a:pt x="193" y="141"/>
                    <a:pt x="193" y="141"/>
                  </a:cubicBezTo>
                  <a:cubicBezTo>
                    <a:pt x="193" y="140"/>
                    <a:pt x="193" y="140"/>
                    <a:pt x="193" y="140"/>
                  </a:cubicBezTo>
                  <a:cubicBezTo>
                    <a:pt x="194" y="140"/>
                    <a:pt x="194" y="140"/>
                    <a:pt x="194" y="140"/>
                  </a:cubicBezTo>
                  <a:cubicBezTo>
                    <a:pt x="194" y="140"/>
                    <a:pt x="194" y="140"/>
                    <a:pt x="195" y="140"/>
                  </a:cubicBezTo>
                  <a:cubicBezTo>
                    <a:pt x="196" y="139"/>
                    <a:pt x="196" y="139"/>
                    <a:pt x="196" y="139"/>
                  </a:cubicBezTo>
                  <a:cubicBezTo>
                    <a:pt x="196" y="139"/>
                    <a:pt x="196" y="139"/>
                    <a:pt x="196" y="139"/>
                  </a:cubicBezTo>
                  <a:cubicBezTo>
                    <a:pt x="196" y="139"/>
                    <a:pt x="197" y="140"/>
                    <a:pt x="197" y="140"/>
                  </a:cubicBezTo>
                  <a:cubicBezTo>
                    <a:pt x="199" y="140"/>
                    <a:pt x="201" y="141"/>
                    <a:pt x="202" y="142"/>
                  </a:cubicBezTo>
                  <a:cubicBezTo>
                    <a:pt x="203" y="143"/>
                    <a:pt x="205" y="144"/>
                    <a:pt x="206" y="144"/>
                  </a:cubicBezTo>
                  <a:cubicBezTo>
                    <a:pt x="206" y="144"/>
                    <a:pt x="206" y="144"/>
                    <a:pt x="206" y="144"/>
                  </a:cubicBezTo>
                  <a:cubicBezTo>
                    <a:pt x="208" y="144"/>
                    <a:pt x="210" y="143"/>
                    <a:pt x="211" y="142"/>
                  </a:cubicBezTo>
                  <a:cubicBezTo>
                    <a:pt x="212" y="142"/>
                    <a:pt x="213" y="142"/>
                    <a:pt x="213" y="141"/>
                  </a:cubicBezTo>
                  <a:cubicBezTo>
                    <a:pt x="226" y="135"/>
                    <a:pt x="226" y="135"/>
                    <a:pt x="226" y="135"/>
                  </a:cubicBezTo>
                  <a:cubicBezTo>
                    <a:pt x="226" y="135"/>
                    <a:pt x="226" y="135"/>
                    <a:pt x="227" y="135"/>
                  </a:cubicBezTo>
                  <a:cubicBezTo>
                    <a:pt x="227" y="135"/>
                    <a:pt x="227" y="135"/>
                    <a:pt x="227" y="135"/>
                  </a:cubicBezTo>
                  <a:cubicBezTo>
                    <a:pt x="228" y="134"/>
                    <a:pt x="229" y="134"/>
                    <a:pt x="230" y="133"/>
                  </a:cubicBezTo>
                  <a:cubicBezTo>
                    <a:pt x="230" y="133"/>
                    <a:pt x="231" y="133"/>
                    <a:pt x="231" y="133"/>
                  </a:cubicBezTo>
                  <a:cubicBezTo>
                    <a:pt x="231" y="133"/>
                    <a:pt x="231" y="133"/>
                    <a:pt x="231" y="133"/>
                  </a:cubicBezTo>
                  <a:cubicBezTo>
                    <a:pt x="232" y="133"/>
                    <a:pt x="232" y="133"/>
                    <a:pt x="232" y="133"/>
                  </a:cubicBezTo>
                  <a:cubicBezTo>
                    <a:pt x="233" y="133"/>
                    <a:pt x="233" y="133"/>
                    <a:pt x="233" y="133"/>
                  </a:cubicBezTo>
                  <a:cubicBezTo>
                    <a:pt x="234" y="133"/>
                    <a:pt x="234" y="133"/>
                    <a:pt x="234" y="133"/>
                  </a:cubicBezTo>
                  <a:cubicBezTo>
                    <a:pt x="234" y="134"/>
                    <a:pt x="235" y="134"/>
                    <a:pt x="235" y="134"/>
                  </a:cubicBezTo>
                  <a:cubicBezTo>
                    <a:pt x="236" y="135"/>
                    <a:pt x="238" y="136"/>
                    <a:pt x="238" y="137"/>
                  </a:cubicBezTo>
                  <a:cubicBezTo>
                    <a:pt x="239" y="137"/>
                    <a:pt x="240" y="136"/>
                    <a:pt x="241" y="136"/>
                  </a:cubicBezTo>
                  <a:cubicBezTo>
                    <a:pt x="242" y="136"/>
                    <a:pt x="242" y="136"/>
                    <a:pt x="242" y="136"/>
                  </a:cubicBezTo>
                  <a:cubicBezTo>
                    <a:pt x="242" y="136"/>
                    <a:pt x="243" y="136"/>
                    <a:pt x="243" y="136"/>
                  </a:cubicBezTo>
                  <a:cubicBezTo>
                    <a:pt x="244" y="136"/>
                    <a:pt x="245" y="136"/>
                    <a:pt x="246" y="135"/>
                  </a:cubicBezTo>
                  <a:cubicBezTo>
                    <a:pt x="247" y="135"/>
                    <a:pt x="249" y="135"/>
                    <a:pt x="249" y="134"/>
                  </a:cubicBezTo>
                  <a:cubicBezTo>
                    <a:pt x="249" y="133"/>
                    <a:pt x="249" y="132"/>
                    <a:pt x="250" y="130"/>
                  </a:cubicBezTo>
                  <a:cubicBezTo>
                    <a:pt x="251" y="129"/>
                    <a:pt x="251" y="128"/>
                    <a:pt x="252" y="128"/>
                  </a:cubicBezTo>
                  <a:cubicBezTo>
                    <a:pt x="253" y="127"/>
                    <a:pt x="253" y="127"/>
                    <a:pt x="253" y="127"/>
                  </a:cubicBezTo>
                  <a:cubicBezTo>
                    <a:pt x="253" y="127"/>
                    <a:pt x="254" y="127"/>
                    <a:pt x="255" y="127"/>
                  </a:cubicBezTo>
                  <a:cubicBezTo>
                    <a:pt x="256" y="127"/>
                    <a:pt x="256" y="127"/>
                    <a:pt x="256" y="127"/>
                  </a:cubicBezTo>
                  <a:cubicBezTo>
                    <a:pt x="256" y="127"/>
                    <a:pt x="256" y="126"/>
                    <a:pt x="257" y="126"/>
                  </a:cubicBezTo>
                  <a:cubicBezTo>
                    <a:pt x="257" y="126"/>
                    <a:pt x="257" y="126"/>
                    <a:pt x="258" y="127"/>
                  </a:cubicBezTo>
                  <a:cubicBezTo>
                    <a:pt x="258" y="127"/>
                    <a:pt x="258" y="127"/>
                    <a:pt x="259" y="127"/>
                  </a:cubicBezTo>
                  <a:cubicBezTo>
                    <a:pt x="259" y="127"/>
                    <a:pt x="260" y="127"/>
                    <a:pt x="261" y="127"/>
                  </a:cubicBezTo>
                  <a:cubicBezTo>
                    <a:pt x="262" y="128"/>
                    <a:pt x="262" y="128"/>
                    <a:pt x="263" y="129"/>
                  </a:cubicBezTo>
                  <a:cubicBezTo>
                    <a:pt x="264" y="129"/>
                    <a:pt x="264" y="130"/>
                    <a:pt x="264" y="130"/>
                  </a:cubicBezTo>
                  <a:cubicBezTo>
                    <a:pt x="265" y="130"/>
                    <a:pt x="265" y="130"/>
                    <a:pt x="265" y="130"/>
                  </a:cubicBezTo>
                  <a:cubicBezTo>
                    <a:pt x="266" y="130"/>
                    <a:pt x="266" y="130"/>
                    <a:pt x="266" y="130"/>
                  </a:cubicBezTo>
                  <a:cubicBezTo>
                    <a:pt x="266" y="130"/>
                    <a:pt x="266" y="130"/>
                    <a:pt x="266" y="130"/>
                  </a:cubicBezTo>
                  <a:cubicBezTo>
                    <a:pt x="267" y="130"/>
                    <a:pt x="267" y="130"/>
                    <a:pt x="267" y="130"/>
                  </a:cubicBezTo>
                  <a:cubicBezTo>
                    <a:pt x="268" y="130"/>
                    <a:pt x="269" y="130"/>
                    <a:pt x="270" y="130"/>
                  </a:cubicBezTo>
                  <a:cubicBezTo>
                    <a:pt x="271" y="130"/>
                    <a:pt x="272" y="130"/>
                    <a:pt x="273" y="130"/>
                  </a:cubicBezTo>
                  <a:cubicBezTo>
                    <a:pt x="274" y="130"/>
                    <a:pt x="276" y="131"/>
                    <a:pt x="277" y="132"/>
                  </a:cubicBezTo>
                  <a:cubicBezTo>
                    <a:pt x="278" y="132"/>
                    <a:pt x="279" y="133"/>
                    <a:pt x="280" y="133"/>
                  </a:cubicBezTo>
                  <a:cubicBezTo>
                    <a:pt x="280" y="133"/>
                    <a:pt x="280" y="133"/>
                    <a:pt x="280" y="133"/>
                  </a:cubicBezTo>
                  <a:cubicBezTo>
                    <a:pt x="280" y="133"/>
                    <a:pt x="280" y="133"/>
                    <a:pt x="280" y="133"/>
                  </a:cubicBezTo>
                  <a:cubicBezTo>
                    <a:pt x="280" y="134"/>
                    <a:pt x="280" y="134"/>
                    <a:pt x="280" y="134"/>
                  </a:cubicBezTo>
                  <a:cubicBezTo>
                    <a:pt x="281" y="133"/>
                    <a:pt x="281" y="133"/>
                    <a:pt x="281" y="133"/>
                  </a:cubicBezTo>
                  <a:cubicBezTo>
                    <a:pt x="281" y="133"/>
                    <a:pt x="281" y="133"/>
                    <a:pt x="281" y="133"/>
                  </a:cubicBezTo>
                  <a:cubicBezTo>
                    <a:pt x="282" y="133"/>
                    <a:pt x="282" y="133"/>
                    <a:pt x="282" y="133"/>
                  </a:cubicBezTo>
                  <a:cubicBezTo>
                    <a:pt x="283" y="133"/>
                    <a:pt x="284" y="133"/>
                    <a:pt x="284" y="133"/>
                  </a:cubicBezTo>
                  <a:cubicBezTo>
                    <a:pt x="285" y="133"/>
                    <a:pt x="285" y="133"/>
                    <a:pt x="285" y="133"/>
                  </a:cubicBezTo>
                  <a:cubicBezTo>
                    <a:pt x="286" y="132"/>
                    <a:pt x="286" y="132"/>
                    <a:pt x="286" y="132"/>
                  </a:cubicBezTo>
                  <a:cubicBezTo>
                    <a:pt x="288" y="131"/>
                    <a:pt x="291" y="130"/>
                    <a:pt x="293" y="130"/>
                  </a:cubicBezTo>
                  <a:cubicBezTo>
                    <a:pt x="294" y="130"/>
                    <a:pt x="295" y="130"/>
                    <a:pt x="296" y="131"/>
                  </a:cubicBezTo>
                  <a:cubicBezTo>
                    <a:pt x="297" y="131"/>
                    <a:pt x="297" y="131"/>
                    <a:pt x="297" y="131"/>
                  </a:cubicBezTo>
                  <a:cubicBezTo>
                    <a:pt x="296" y="130"/>
                    <a:pt x="296" y="129"/>
                    <a:pt x="296" y="128"/>
                  </a:cubicBezTo>
                  <a:cubicBezTo>
                    <a:pt x="296" y="127"/>
                    <a:pt x="295" y="127"/>
                    <a:pt x="295" y="126"/>
                  </a:cubicBezTo>
                  <a:cubicBezTo>
                    <a:pt x="295" y="125"/>
                    <a:pt x="295" y="125"/>
                    <a:pt x="295" y="125"/>
                  </a:cubicBezTo>
                  <a:cubicBezTo>
                    <a:pt x="294" y="123"/>
                    <a:pt x="291" y="121"/>
                    <a:pt x="289" y="120"/>
                  </a:cubicBezTo>
                  <a:cubicBezTo>
                    <a:pt x="287" y="119"/>
                    <a:pt x="285" y="117"/>
                    <a:pt x="283" y="117"/>
                  </a:cubicBezTo>
                  <a:cubicBezTo>
                    <a:pt x="281" y="116"/>
                    <a:pt x="281" y="116"/>
                    <a:pt x="281" y="116"/>
                  </a:cubicBezTo>
                  <a:cubicBezTo>
                    <a:pt x="280" y="116"/>
                    <a:pt x="279" y="115"/>
                    <a:pt x="277" y="114"/>
                  </a:cubicBezTo>
                  <a:cubicBezTo>
                    <a:pt x="277" y="113"/>
                    <a:pt x="277" y="113"/>
                    <a:pt x="277" y="113"/>
                  </a:cubicBezTo>
                  <a:cubicBezTo>
                    <a:pt x="276" y="113"/>
                    <a:pt x="276" y="113"/>
                    <a:pt x="276" y="113"/>
                  </a:cubicBezTo>
                  <a:cubicBezTo>
                    <a:pt x="276" y="113"/>
                    <a:pt x="276" y="113"/>
                    <a:pt x="276" y="113"/>
                  </a:cubicBezTo>
                  <a:cubicBezTo>
                    <a:pt x="275" y="112"/>
                    <a:pt x="275" y="111"/>
                    <a:pt x="274" y="110"/>
                  </a:cubicBezTo>
                  <a:cubicBezTo>
                    <a:pt x="274" y="110"/>
                    <a:pt x="274" y="110"/>
                    <a:pt x="274" y="109"/>
                  </a:cubicBezTo>
                  <a:cubicBezTo>
                    <a:pt x="274" y="109"/>
                    <a:pt x="273" y="108"/>
                    <a:pt x="273" y="107"/>
                  </a:cubicBezTo>
                  <a:cubicBezTo>
                    <a:pt x="272" y="106"/>
                    <a:pt x="272" y="104"/>
                    <a:pt x="272" y="103"/>
                  </a:cubicBezTo>
                  <a:cubicBezTo>
                    <a:pt x="273" y="102"/>
                    <a:pt x="273" y="102"/>
                    <a:pt x="273" y="101"/>
                  </a:cubicBezTo>
                  <a:cubicBezTo>
                    <a:pt x="274" y="100"/>
                    <a:pt x="274" y="100"/>
                    <a:pt x="274" y="100"/>
                  </a:cubicBezTo>
                  <a:cubicBezTo>
                    <a:pt x="274" y="100"/>
                    <a:pt x="274" y="100"/>
                    <a:pt x="274" y="100"/>
                  </a:cubicBezTo>
                  <a:cubicBezTo>
                    <a:pt x="252" y="81"/>
                    <a:pt x="252" y="81"/>
                    <a:pt x="252" y="81"/>
                  </a:cubicBezTo>
                  <a:cubicBezTo>
                    <a:pt x="251" y="79"/>
                    <a:pt x="249" y="78"/>
                    <a:pt x="249" y="76"/>
                  </a:cubicBezTo>
                  <a:cubicBezTo>
                    <a:pt x="248" y="75"/>
                    <a:pt x="248" y="74"/>
                    <a:pt x="248" y="73"/>
                  </a:cubicBezTo>
                  <a:cubicBezTo>
                    <a:pt x="248" y="73"/>
                    <a:pt x="248" y="73"/>
                    <a:pt x="248" y="73"/>
                  </a:cubicBezTo>
                  <a:cubicBezTo>
                    <a:pt x="248" y="73"/>
                    <a:pt x="248" y="73"/>
                    <a:pt x="248" y="73"/>
                  </a:cubicBezTo>
                  <a:cubicBezTo>
                    <a:pt x="248" y="72"/>
                    <a:pt x="248" y="72"/>
                    <a:pt x="248" y="72"/>
                  </a:cubicBezTo>
                  <a:cubicBezTo>
                    <a:pt x="247" y="71"/>
                    <a:pt x="247" y="71"/>
                    <a:pt x="247" y="71"/>
                  </a:cubicBezTo>
                  <a:cubicBezTo>
                    <a:pt x="247" y="71"/>
                    <a:pt x="247" y="71"/>
                    <a:pt x="247" y="71"/>
                  </a:cubicBezTo>
                  <a:cubicBezTo>
                    <a:pt x="246" y="70"/>
                    <a:pt x="246" y="70"/>
                    <a:pt x="246" y="70"/>
                  </a:cubicBezTo>
                  <a:cubicBezTo>
                    <a:pt x="244" y="68"/>
                    <a:pt x="241" y="66"/>
                    <a:pt x="240" y="66"/>
                  </a:cubicBezTo>
                  <a:cubicBezTo>
                    <a:pt x="238" y="65"/>
                    <a:pt x="236" y="65"/>
                    <a:pt x="234" y="65"/>
                  </a:cubicBezTo>
                  <a:cubicBezTo>
                    <a:pt x="231" y="64"/>
                    <a:pt x="231" y="64"/>
                    <a:pt x="231" y="64"/>
                  </a:cubicBezTo>
                  <a:cubicBezTo>
                    <a:pt x="228" y="63"/>
                    <a:pt x="226" y="63"/>
                    <a:pt x="225" y="61"/>
                  </a:cubicBezTo>
                  <a:cubicBezTo>
                    <a:pt x="224" y="60"/>
                    <a:pt x="224" y="59"/>
                    <a:pt x="223" y="57"/>
                  </a:cubicBezTo>
                  <a:cubicBezTo>
                    <a:pt x="223" y="56"/>
                    <a:pt x="223" y="56"/>
                    <a:pt x="223" y="55"/>
                  </a:cubicBezTo>
                  <a:cubicBezTo>
                    <a:pt x="223" y="54"/>
                    <a:pt x="223" y="53"/>
                    <a:pt x="223" y="53"/>
                  </a:cubicBezTo>
                  <a:cubicBezTo>
                    <a:pt x="222" y="53"/>
                    <a:pt x="222" y="53"/>
                    <a:pt x="222" y="53"/>
                  </a:cubicBezTo>
                  <a:cubicBezTo>
                    <a:pt x="219" y="53"/>
                    <a:pt x="219" y="53"/>
                    <a:pt x="219" y="53"/>
                  </a:cubicBezTo>
                  <a:cubicBezTo>
                    <a:pt x="218" y="53"/>
                    <a:pt x="218" y="53"/>
                    <a:pt x="217" y="53"/>
                  </a:cubicBezTo>
                  <a:cubicBezTo>
                    <a:pt x="217" y="53"/>
                    <a:pt x="216" y="53"/>
                    <a:pt x="215" y="53"/>
                  </a:cubicBezTo>
                  <a:cubicBezTo>
                    <a:pt x="215" y="53"/>
                    <a:pt x="215" y="53"/>
                    <a:pt x="215" y="53"/>
                  </a:cubicBezTo>
                  <a:cubicBezTo>
                    <a:pt x="214" y="52"/>
                    <a:pt x="214" y="52"/>
                    <a:pt x="213" y="52"/>
                  </a:cubicBezTo>
                  <a:cubicBezTo>
                    <a:pt x="213" y="52"/>
                    <a:pt x="213" y="52"/>
                    <a:pt x="212" y="53"/>
                  </a:cubicBezTo>
                  <a:cubicBezTo>
                    <a:pt x="212" y="53"/>
                    <a:pt x="212" y="53"/>
                    <a:pt x="212" y="53"/>
                  </a:cubicBezTo>
                  <a:cubicBezTo>
                    <a:pt x="212" y="53"/>
                    <a:pt x="212" y="53"/>
                    <a:pt x="212" y="53"/>
                  </a:cubicBezTo>
                  <a:cubicBezTo>
                    <a:pt x="209" y="54"/>
                    <a:pt x="209" y="54"/>
                    <a:pt x="209" y="54"/>
                  </a:cubicBezTo>
                  <a:cubicBezTo>
                    <a:pt x="208" y="51"/>
                    <a:pt x="208" y="51"/>
                    <a:pt x="208" y="51"/>
                  </a:cubicBezTo>
                  <a:cubicBezTo>
                    <a:pt x="207" y="49"/>
                    <a:pt x="207" y="48"/>
                    <a:pt x="206" y="46"/>
                  </a:cubicBezTo>
                  <a:cubicBezTo>
                    <a:pt x="206" y="43"/>
                    <a:pt x="206" y="43"/>
                    <a:pt x="206" y="43"/>
                  </a:cubicBezTo>
                  <a:cubicBezTo>
                    <a:pt x="206" y="40"/>
                    <a:pt x="206" y="40"/>
                    <a:pt x="208" y="37"/>
                  </a:cubicBezTo>
                  <a:cubicBezTo>
                    <a:pt x="208" y="37"/>
                    <a:pt x="209" y="37"/>
                    <a:pt x="209" y="36"/>
                  </a:cubicBezTo>
                  <a:cubicBezTo>
                    <a:pt x="209" y="36"/>
                    <a:pt x="209" y="36"/>
                    <a:pt x="209" y="36"/>
                  </a:cubicBezTo>
                  <a:cubicBezTo>
                    <a:pt x="210" y="36"/>
                    <a:pt x="210" y="36"/>
                    <a:pt x="210" y="36"/>
                  </a:cubicBezTo>
                  <a:cubicBezTo>
                    <a:pt x="210" y="35"/>
                    <a:pt x="210" y="34"/>
                    <a:pt x="210" y="33"/>
                  </a:cubicBezTo>
                  <a:cubicBezTo>
                    <a:pt x="210" y="32"/>
                    <a:pt x="210" y="30"/>
                    <a:pt x="210" y="29"/>
                  </a:cubicBezTo>
                  <a:cubicBezTo>
                    <a:pt x="210" y="29"/>
                    <a:pt x="210" y="29"/>
                    <a:pt x="210" y="29"/>
                  </a:cubicBezTo>
                  <a:cubicBezTo>
                    <a:pt x="211" y="28"/>
                    <a:pt x="211" y="27"/>
                    <a:pt x="211" y="26"/>
                  </a:cubicBezTo>
                  <a:cubicBezTo>
                    <a:pt x="211" y="23"/>
                    <a:pt x="208" y="19"/>
                    <a:pt x="207" y="18"/>
                  </a:cubicBezTo>
                  <a:cubicBezTo>
                    <a:pt x="206" y="16"/>
                    <a:pt x="204" y="15"/>
                    <a:pt x="203" y="13"/>
                  </a:cubicBezTo>
                  <a:cubicBezTo>
                    <a:pt x="202" y="12"/>
                    <a:pt x="202" y="12"/>
                    <a:pt x="202" y="12"/>
                  </a:cubicBezTo>
                  <a:cubicBezTo>
                    <a:pt x="201" y="11"/>
                    <a:pt x="199" y="9"/>
                    <a:pt x="198" y="7"/>
                  </a:cubicBezTo>
                  <a:cubicBezTo>
                    <a:pt x="193" y="0"/>
                    <a:pt x="193" y="0"/>
                    <a:pt x="193" y="0"/>
                  </a:cubicBezTo>
                  <a:cubicBezTo>
                    <a:pt x="190" y="0"/>
                    <a:pt x="190" y="0"/>
                    <a:pt x="190" y="0"/>
                  </a:cubicBezTo>
                  <a:cubicBezTo>
                    <a:pt x="189" y="0"/>
                    <a:pt x="189" y="0"/>
                    <a:pt x="188" y="0"/>
                  </a:cubicBezTo>
                  <a:cubicBezTo>
                    <a:pt x="186" y="0"/>
                    <a:pt x="184" y="0"/>
                    <a:pt x="1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18"/>
            <p:cNvSpPr/>
            <p:nvPr/>
          </p:nvSpPr>
          <p:spPr bwMode="auto">
            <a:xfrm>
              <a:off x="4287" y="2556"/>
              <a:ext cx="409" cy="471"/>
            </a:xfrm>
            <a:custGeom>
              <a:gdLst>
                <a:gd name="T0" fmla="*/ 134 w 173"/>
                <a:gd name="T1" fmla="*/ 2 h 199"/>
                <a:gd name="T2" fmla="*/ 128 w 173"/>
                <a:gd name="T3" fmla="*/ 5 h 199"/>
                <a:gd name="T4" fmla="*/ 125 w 173"/>
                <a:gd name="T5" fmla="*/ 18 h 199"/>
                <a:gd name="T6" fmla="*/ 116 w 173"/>
                <a:gd name="T7" fmla="*/ 38 h 199"/>
                <a:gd name="T8" fmla="*/ 110 w 173"/>
                <a:gd name="T9" fmla="*/ 46 h 199"/>
                <a:gd name="T10" fmla="*/ 103 w 173"/>
                <a:gd name="T11" fmla="*/ 41 h 199"/>
                <a:gd name="T12" fmla="*/ 94 w 173"/>
                <a:gd name="T13" fmla="*/ 40 h 199"/>
                <a:gd name="T14" fmla="*/ 84 w 173"/>
                <a:gd name="T15" fmla="*/ 38 h 199"/>
                <a:gd name="T16" fmla="*/ 72 w 173"/>
                <a:gd name="T17" fmla="*/ 35 h 199"/>
                <a:gd name="T18" fmla="*/ 51 w 173"/>
                <a:gd name="T19" fmla="*/ 36 h 199"/>
                <a:gd name="T20" fmla="*/ 48 w 173"/>
                <a:gd name="T21" fmla="*/ 40 h 199"/>
                <a:gd name="T22" fmla="*/ 57 w 173"/>
                <a:gd name="T23" fmla="*/ 48 h 199"/>
                <a:gd name="T24" fmla="*/ 62 w 173"/>
                <a:gd name="T25" fmla="*/ 47 h 199"/>
                <a:gd name="T26" fmla="*/ 68 w 173"/>
                <a:gd name="T27" fmla="*/ 48 h 199"/>
                <a:gd name="T28" fmla="*/ 77 w 173"/>
                <a:gd name="T29" fmla="*/ 66 h 199"/>
                <a:gd name="T30" fmla="*/ 68 w 173"/>
                <a:gd name="T31" fmla="*/ 79 h 199"/>
                <a:gd name="T32" fmla="*/ 65 w 173"/>
                <a:gd name="T33" fmla="*/ 88 h 199"/>
                <a:gd name="T34" fmla="*/ 79 w 173"/>
                <a:gd name="T35" fmla="*/ 104 h 199"/>
                <a:gd name="T36" fmla="*/ 78 w 173"/>
                <a:gd name="T37" fmla="*/ 109 h 199"/>
                <a:gd name="T38" fmla="*/ 79 w 173"/>
                <a:gd name="T39" fmla="*/ 117 h 199"/>
                <a:gd name="T40" fmla="*/ 74 w 173"/>
                <a:gd name="T41" fmla="*/ 134 h 199"/>
                <a:gd name="T42" fmla="*/ 63 w 173"/>
                <a:gd name="T43" fmla="*/ 145 h 199"/>
                <a:gd name="T44" fmla="*/ 59 w 173"/>
                <a:gd name="T45" fmla="*/ 139 h 199"/>
                <a:gd name="T46" fmla="*/ 45 w 173"/>
                <a:gd name="T47" fmla="*/ 142 h 199"/>
                <a:gd name="T48" fmla="*/ 35 w 173"/>
                <a:gd name="T49" fmla="*/ 134 h 199"/>
                <a:gd name="T50" fmla="*/ 33 w 173"/>
                <a:gd name="T51" fmla="*/ 131 h 199"/>
                <a:gd name="T52" fmla="*/ 27 w 173"/>
                <a:gd name="T53" fmla="*/ 140 h 199"/>
                <a:gd name="T54" fmla="*/ 17 w 173"/>
                <a:gd name="T55" fmla="*/ 142 h 199"/>
                <a:gd name="T56" fmla="*/ 15 w 173"/>
                <a:gd name="T57" fmla="*/ 142 h 199"/>
                <a:gd name="T58" fmla="*/ 11 w 173"/>
                <a:gd name="T59" fmla="*/ 146 h 199"/>
                <a:gd name="T60" fmla="*/ 15 w 173"/>
                <a:gd name="T61" fmla="*/ 153 h 199"/>
                <a:gd name="T62" fmla="*/ 15 w 173"/>
                <a:gd name="T63" fmla="*/ 157 h 199"/>
                <a:gd name="T64" fmla="*/ 20 w 173"/>
                <a:gd name="T65" fmla="*/ 162 h 199"/>
                <a:gd name="T66" fmla="*/ 18 w 173"/>
                <a:gd name="T67" fmla="*/ 165 h 199"/>
                <a:gd name="T68" fmla="*/ 18 w 173"/>
                <a:gd name="T69" fmla="*/ 170 h 199"/>
                <a:gd name="T70" fmla="*/ 9 w 173"/>
                <a:gd name="T71" fmla="*/ 172 h 199"/>
                <a:gd name="T72" fmla="*/ 6 w 173"/>
                <a:gd name="T73" fmla="*/ 170 h 199"/>
                <a:gd name="T74" fmla="*/ 0 w 173"/>
                <a:gd name="T75" fmla="*/ 177 h 199"/>
                <a:gd name="T76" fmla="*/ 17 w 173"/>
                <a:gd name="T77" fmla="*/ 199 h 199"/>
                <a:gd name="T78" fmla="*/ 27 w 173"/>
                <a:gd name="T79" fmla="*/ 191 h 199"/>
                <a:gd name="T80" fmla="*/ 34 w 173"/>
                <a:gd name="T81" fmla="*/ 185 h 199"/>
                <a:gd name="T82" fmla="*/ 48 w 173"/>
                <a:gd name="T83" fmla="*/ 192 h 199"/>
                <a:gd name="T84" fmla="*/ 50 w 173"/>
                <a:gd name="T85" fmla="*/ 194 h 199"/>
                <a:gd name="T86" fmla="*/ 55 w 173"/>
                <a:gd name="T87" fmla="*/ 190 h 199"/>
                <a:gd name="T88" fmla="*/ 60 w 173"/>
                <a:gd name="T89" fmla="*/ 186 h 199"/>
                <a:gd name="T90" fmla="*/ 68 w 173"/>
                <a:gd name="T91" fmla="*/ 184 h 199"/>
                <a:gd name="T92" fmla="*/ 77 w 173"/>
                <a:gd name="T93" fmla="*/ 184 h 199"/>
                <a:gd name="T94" fmla="*/ 77 w 173"/>
                <a:gd name="T95" fmla="*/ 196 h 199"/>
                <a:gd name="T96" fmla="*/ 83 w 173"/>
                <a:gd name="T97" fmla="*/ 193 h 199"/>
                <a:gd name="T98" fmla="*/ 107 w 173"/>
                <a:gd name="T99" fmla="*/ 173 h 199"/>
                <a:gd name="T100" fmla="*/ 114 w 173"/>
                <a:gd name="T101" fmla="*/ 161 h 199"/>
                <a:gd name="T102" fmla="*/ 114 w 173"/>
                <a:gd name="T103" fmla="*/ 158 h 199"/>
                <a:gd name="T104" fmla="*/ 113 w 173"/>
                <a:gd name="T105" fmla="*/ 154 h 199"/>
                <a:gd name="T106" fmla="*/ 113 w 173"/>
                <a:gd name="T107" fmla="*/ 135 h 199"/>
                <a:gd name="T108" fmla="*/ 127 w 173"/>
                <a:gd name="T109" fmla="*/ 115 h 199"/>
                <a:gd name="T110" fmla="*/ 137 w 173"/>
                <a:gd name="T111" fmla="*/ 106 h 199"/>
                <a:gd name="T112" fmla="*/ 144 w 173"/>
                <a:gd name="T113" fmla="*/ 101 h 199"/>
                <a:gd name="T114" fmla="*/ 153 w 173"/>
                <a:gd name="T115" fmla="*/ 69 h 199"/>
                <a:gd name="T116" fmla="*/ 153 w 173"/>
                <a:gd name="T117" fmla="*/ 56 h 199"/>
                <a:gd name="T118" fmla="*/ 158 w 173"/>
                <a:gd name="T119" fmla="*/ 36 h 199"/>
                <a:gd name="T120" fmla="*/ 156 w 173"/>
                <a:gd name="T121" fmla="*/ 21 h 199"/>
                <a:gd name="T122" fmla="*/ 169 w 173"/>
                <a:gd name="T123" fmla="*/ 1 h 199"/>
                <a:gd name="T124" fmla="*/ 154 w 173"/>
                <a:gd name="T125" fmla="*/ 0 h 1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99">
                  <a:moveTo>
                    <a:pt x="150" y="0"/>
                  </a:moveTo>
                  <a:cubicBezTo>
                    <a:pt x="146" y="0"/>
                    <a:pt x="143" y="0"/>
                    <a:pt x="140" y="1"/>
                  </a:cubicBezTo>
                  <a:cubicBezTo>
                    <a:pt x="139" y="1"/>
                    <a:pt x="137" y="2"/>
                    <a:pt x="135" y="2"/>
                  </a:cubicBezTo>
                  <a:cubicBezTo>
                    <a:pt x="134" y="2"/>
                    <a:pt x="134" y="2"/>
                    <a:pt x="134" y="2"/>
                  </a:cubicBezTo>
                  <a:cubicBezTo>
                    <a:pt x="134" y="2"/>
                    <a:pt x="134" y="2"/>
                    <a:pt x="134" y="2"/>
                  </a:cubicBezTo>
                  <a:cubicBezTo>
                    <a:pt x="132" y="3"/>
                    <a:pt x="131" y="3"/>
                    <a:pt x="129" y="4"/>
                  </a:cubicBezTo>
                  <a:cubicBezTo>
                    <a:pt x="128" y="4"/>
                    <a:pt x="128" y="4"/>
                    <a:pt x="128" y="4"/>
                  </a:cubicBezTo>
                  <a:cubicBezTo>
                    <a:pt x="128" y="5"/>
                    <a:pt x="128" y="5"/>
                    <a:pt x="128" y="5"/>
                  </a:cubicBezTo>
                  <a:cubicBezTo>
                    <a:pt x="127" y="6"/>
                    <a:pt x="127" y="7"/>
                    <a:pt x="127" y="8"/>
                  </a:cubicBezTo>
                  <a:cubicBezTo>
                    <a:pt x="127" y="8"/>
                    <a:pt x="127" y="9"/>
                    <a:pt x="127" y="10"/>
                  </a:cubicBezTo>
                  <a:cubicBezTo>
                    <a:pt x="127" y="11"/>
                    <a:pt x="127" y="11"/>
                    <a:pt x="126" y="12"/>
                  </a:cubicBezTo>
                  <a:cubicBezTo>
                    <a:pt x="126" y="14"/>
                    <a:pt x="126" y="16"/>
                    <a:pt x="125" y="18"/>
                  </a:cubicBezTo>
                  <a:cubicBezTo>
                    <a:pt x="125" y="22"/>
                    <a:pt x="122" y="28"/>
                    <a:pt x="120" y="32"/>
                  </a:cubicBezTo>
                  <a:cubicBezTo>
                    <a:pt x="120" y="32"/>
                    <a:pt x="120" y="32"/>
                    <a:pt x="120" y="32"/>
                  </a:cubicBezTo>
                  <a:cubicBezTo>
                    <a:pt x="119" y="33"/>
                    <a:pt x="119" y="33"/>
                    <a:pt x="119" y="33"/>
                  </a:cubicBezTo>
                  <a:cubicBezTo>
                    <a:pt x="116" y="38"/>
                    <a:pt x="116" y="38"/>
                    <a:pt x="116" y="38"/>
                  </a:cubicBezTo>
                  <a:cubicBezTo>
                    <a:pt x="116" y="40"/>
                    <a:pt x="116" y="40"/>
                    <a:pt x="116" y="40"/>
                  </a:cubicBezTo>
                  <a:cubicBezTo>
                    <a:pt x="116" y="42"/>
                    <a:pt x="116" y="43"/>
                    <a:pt x="116" y="45"/>
                  </a:cubicBezTo>
                  <a:cubicBezTo>
                    <a:pt x="116" y="51"/>
                    <a:pt x="116" y="51"/>
                    <a:pt x="116" y="51"/>
                  </a:cubicBezTo>
                  <a:cubicBezTo>
                    <a:pt x="110" y="46"/>
                    <a:pt x="110" y="46"/>
                    <a:pt x="110" y="46"/>
                  </a:cubicBezTo>
                  <a:cubicBezTo>
                    <a:pt x="110" y="45"/>
                    <a:pt x="110" y="45"/>
                    <a:pt x="108" y="44"/>
                  </a:cubicBezTo>
                  <a:cubicBezTo>
                    <a:pt x="108" y="44"/>
                    <a:pt x="107" y="43"/>
                    <a:pt x="106" y="42"/>
                  </a:cubicBezTo>
                  <a:cubicBezTo>
                    <a:pt x="106" y="42"/>
                    <a:pt x="105" y="41"/>
                    <a:pt x="105" y="41"/>
                  </a:cubicBezTo>
                  <a:cubicBezTo>
                    <a:pt x="104" y="41"/>
                    <a:pt x="104" y="41"/>
                    <a:pt x="103" y="41"/>
                  </a:cubicBezTo>
                  <a:cubicBezTo>
                    <a:pt x="102" y="41"/>
                    <a:pt x="102" y="41"/>
                    <a:pt x="101" y="41"/>
                  </a:cubicBezTo>
                  <a:cubicBezTo>
                    <a:pt x="100" y="41"/>
                    <a:pt x="100" y="41"/>
                    <a:pt x="99" y="41"/>
                  </a:cubicBezTo>
                  <a:cubicBezTo>
                    <a:pt x="99" y="41"/>
                    <a:pt x="99" y="41"/>
                    <a:pt x="98" y="41"/>
                  </a:cubicBezTo>
                  <a:cubicBezTo>
                    <a:pt x="96" y="41"/>
                    <a:pt x="95" y="40"/>
                    <a:pt x="94" y="40"/>
                  </a:cubicBezTo>
                  <a:cubicBezTo>
                    <a:pt x="93" y="40"/>
                    <a:pt x="93" y="40"/>
                    <a:pt x="93" y="40"/>
                  </a:cubicBezTo>
                  <a:cubicBezTo>
                    <a:pt x="92" y="40"/>
                    <a:pt x="92" y="40"/>
                    <a:pt x="92" y="40"/>
                  </a:cubicBezTo>
                  <a:cubicBezTo>
                    <a:pt x="92" y="40"/>
                    <a:pt x="91" y="40"/>
                    <a:pt x="90" y="40"/>
                  </a:cubicBezTo>
                  <a:cubicBezTo>
                    <a:pt x="87" y="40"/>
                    <a:pt x="85" y="40"/>
                    <a:pt x="84" y="38"/>
                  </a:cubicBezTo>
                  <a:cubicBezTo>
                    <a:pt x="83" y="38"/>
                    <a:pt x="82" y="38"/>
                    <a:pt x="82" y="37"/>
                  </a:cubicBezTo>
                  <a:cubicBezTo>
                    <a:pt x="81" y="37"/>
                    <a:pt x="80" y="37"/>
                    <a:pt x="79" y="36"/>
                  </a:cubicBezTo>
                  <a:cubicBezTo>
                    <a:pt x="79" y="36"/>
                    <a:pt x="78" y="35"/>
                    <a:pt x="78" y="35"/>
                  </a:cubicBezTo>
                  <a:cubicBezTo>
                    <a:pt x="72" y="35"/>
                    <a:pt x="72" y="35"/>
                    <a:pt x="72" y="35"/>
                  </a:cubicBezTo>
                  <a:cubicBezTo>
                    <a:pt x="67" y="35"/>
                    <a:pt x="62" y="35"/>
                    <a:pt x="57" y="36"/>
                  </a:cubicBezTo>
                  <a:cubicBezTo>
                    <a:pt x="56" y="36"/>
                    <a:pt x="56" y="36"/>
                    <a:pt x="55" y="36"/>
                  </a:cubicBezTo>
                  <a:cubicBezTo>
                    <a:pt x="54" y="36"/>
                    <a:pt x="53" y="36"/>
                    <a:pt x="52" y="36"/>
                  </a:cubicBezTo>
                  <a:cubicBezTo>
                    <a:pt x="52" y="36"/>
                    <a:pt x="52" y="36"/>
                    <a:pt x="51" y="36"/>
                  </a:cubicBezTo>
                  <a:cubicBezTo>
                    <a:pt x="51" y="36"/>
                    <a:pt x="50" y="36"/>
                    <a:pt x="50" y="36"/>
                  </a:cubicBezTo>
                  <a:cubicBezTo>
                    <a:pt x="49" y="37"/>
                    <a:pt x="49" y="37"/>
                    <a:pt x="49" y="37"/>
                  </a:cubicBezTo>
                  <a:cubicBezTo>
                    <a:pt x="49" y="38"/>
                    <a:pt x="49" y="38"/>
                    <a:pt x="49" y="39"/>
                  </a:cubicBezTo>
                  <a:cubicBezTo>
                    <a:pt x="48" y="40"/>
                    <a:pt x="48" y="40"/>
                    <a:pt x="48" y="40"/>
                  </a:cubicBezTo>
                  <a:cubicBezTo>
                    <a:pt x="47" y="43"/>
                    <a:pt x="48" y="46"/>
                    <a:pt x="48" y="50"/>
                  </a:cubicBezTo>
                  <a:cubicBezTo>
                    <a:pt x="48" y="51"/>
                    <a:pt x="48" y="51"/>
                    <a:pt x="48" y="51"/>
                  </a:cubicBezTo>
                  <a:cubicBezTo>
                    <a:pt x="49" y="51"/>
                    <a:pt x="49" y="51"/>
                    <a:pt x="49" y="51"/>
                  </a:cubicBezTo>
                  <a:cubicBezTo>
                    <a:pt x="51" y="50"/>
                    <a:pt x="54" y="49"/>
                    <a:pt x="57" y="48"/>
                  </a:cubicBezTo>
                  <a:cubicBezTo>
                    <a:pt x="58" y="48"/>
                    <a:pt x="60" y="47"/>
                    <a:pt x="61" y="47"/>
                  </a:cubicBezTo>
                  <a:cubicBezTo>
                    <a:pt x="62" y="47"/>
                    <a:pt x="62" y="47"/>
                    <a:pt x="62" y="47"/>
                  </a:cubicBezTo>
                  <a:cubicBezTo>
                    <a:pt x="62" y="48"/>
                    <a:pt x="62" y="48"/>
                    <a:pt x="62" y="48"/>
                  </a:cubicBezTo>
                  <a:cubicBezTo>
                    <a:pt x="62" y="47"/>
                    <a:pt x="62" y="47"/>
                    <a:pt x="62" y="47"/>
                  </a:cubicBezTo>
                  <a:cubicBezTo>
                    <a:pt x="63" y="47"/>
                    <a:pt x="65" y="48"/>
                    <a:pt x="66" y="48"/>
                  </a:cubicBezTo>
                  <a:cubicBezTo>
                    <a:pt x="67" y="48"/>
                    <a:pt x="67" y="48"/>
                    <a:pt x="67" y="48"/>
                  </a:cubicBezTo>
                  <a:cubicBezTo>
                    <a:pt x="68" y="48"/>
                    <a:pt x="68" y="48"/>
                    <a:pt x="68" y="48"/>
                  </a:cubicBezTo>
                  <a:cubicBezTo>
                    <a:pt x="68" y="48"/>
                    <a:pt x="68" y="48"/>
                    <a:pt x="68" y="48"/>
                  </a:cubicBezTo>
                  <a:cubicBezTo>
                    <a:pt x="70" y="48"/>
                    <a:pt x="72" y="48"/>
                    <a:pt x="73" y="51"/>
                  </a:cubicBezTo>
                  <a:cubicBezTo>
                    <a:pt x="77" y="59"/>
                    <a:pt x="77" y="59"/>
                    <a:pt x="77" y="59"/>
                  </a:cubicBezTo>
                  <a:cubicBezTo>
                    <a:pt x="77" y="60"/>
                    <a:pt x="77" y="61"/>
                    <a:pt x="78" y="61"/>
                  </a:cubicBezTo>
                  <a:cubicBezTo>
                    <a:pt x="78" y="64"/>
                    <a:pt x="78" y="65"/>
                    <a:pt x="77" y="66"/>
                  </a:cubicBezTo>
                  <a:cubicBezTo>
                    <a:pt x="76" y="70"/>
                    <a:pt x="74" y="71"/>
                    <a:pt x="72" y="72"/>
                  </a:cubicBezTo>
                  <a:cubicBezTo>
                    <a:pt x="70" y="74"/>
                    <a:pt x="70" y="74"/>
                    <a:pt x="70" y="74"/>
                  </a:cubicBezTo>
                  <a:cubicBezTo>
                    <a:pt x="69" y="75"/>
                    <a:pt x="69" y="77"/>
                    <a:pt x="68" y="79"/>
                  </a:cubicBezTo>
                  <a:cubicBezTo>
                    <a:pt x="68" y="79"/>
                    <a:pt x="68" y="79"/>
                    <a:pt x="68" y="79"/>
                  </a:cubicBezTo>
                  <a:cubicBezTo>
                    <a:pt x="68" y="80"/>
                    <a:pt x="68" y="80"/>
                    <a:pt x="67" y="80"/>
                  </a:cubicBezTo>
                  <a:cubicBezTo>
                    <a:pt x="67" y="82"/>
                    <a:pt x="67" y="82"/>
                    <a:pt x="67" y="82"/>
                  </a:cubicBezTo>
                  <a:cubicBezTo>
                    <a:pt x="66" y="83"/>
                    <a:pt x="65" y="86"/>
                    <a:pt x="65" y="88"/>
                  </a:cubicBezTo>
                  <a:cubicBezTo>
                    <a:pt x="65" y="88"/>
                    <a:pt x="65" y="88"/>
                    <a:pt x="65" y="88"/>
                  </a:cubicBezTo>
                  <a:cubicBezTo>
                    <a:pt x="65" y="89"/>
                    <a:pt x="68" y="90"/>
                    <a:pt x="70" y="90"/>
                  </a:cubicBezTo>
                  <a:cubicBezTo>
                    <a:pt x="74" y="92"/>
                    <a:pt x="79" y="94"/>
                    <a:pt x="80" y="98"/>
                  </a:cubicBezTo>
                  <a:cubicBezTo>
                    <a:pt x="80" y="99"/>
                    <a:pt x="79" y="101"/>
                    <a:pt x="79" y="103"/>
                  </a:cubicBezTo>
                  <a:cubicBezTo>
                    <a:pt x="79" y="104"/>
                    <a:pt x="79" y="104"/>
                    <a:pt x="79" y="104"/>
                  </a:cubicBezTo>
                  <a:cubicBezTo>
                    <a:pt x="78" y="105"/>
                    <a:pt x="78" y="106"/>
                    <a:pt x="78" y="106"/>
                  </a:cubicBezTo>
                  <a:cubicBezTo>
                    <a:pt x="78" y="107"/>
                    <a:pt x="78" y="107"/>
                    <a:pt x="78" y="107"/>
                  </a:cubicBezTo>
                  <a:cubicBezTo>
                    <a:pt x="78" y="107"/>
                    <a:pt x="78" y="108"/>
                    <a:pt x="78" y="109"/>
                  </a:cubicBezTo>
                  <a:cubicBezTo>
                    <a:pt x="78" y="109"/>
                    <a:pt x="78" y="109"/>
                    <a:pt x="78" y="109"/>
                  </a:cubicBezTo>
                  <a:cubicBezTo>
                    <a:pt x="79" y="110"/>
                    <a:pt x="79" y="111"/>
                    <a:pt x="79" y="112"/>
                  </a:cubicBezTo>
                  <a:cubicBezTo>
                    <a:pt x="79" y="112"/>
                    <a:pt x="79" y="113"/>
                    <a:pt x="79" y="113"/>
                  </a:cubicBezTo>
                  <a:cubicBezTo>
                    <a:pt x="79" y="114"/>
                    <a:pt x="79" y="114"/>
                    <a:pt x="79" y="114"/>
                  </a:cubicBezTo>
                  <a:cubicBezTo>
                    <a:pt x="79" y="115"/>
                    <a:pt x="79" y="116"/>
                    <a:pt x="79" y="117"/>
                  </a:cubicBezTo>
                  <a:cubicBezTo>
                    <a:pt x="79" y="119"/>
                    <a:pt x="79" y="120"/>
                    <a:pt x="78" y="121"/>
                  </a:cubicBezTo>
                  <a:cubicBezTo>
                    <a:pt x="78" y="122"/>
                    <a:pt x="78" y="122"/>
                    <a:pt x="78" y="122"/>
                  </a:cubicBezTo>
                  <a:cubicBezTo>
                    <a:pt x="78" y="123"/>
                    <a:pt x="78" y="124"/>
                    <a:pt x="78" y="125"/>
                  </a:cubicBezTo>
                  <a:cubicBezTo>
                    <a:pt x="77" y="128"/>
                    <a:pt x="76" y="131"/>
                    <a:pt x="74" y="134"/>
                  </a:cubicBezTo>
                  <a:cubicBezTo>
                    <a:pt x="71" y="142"/>
                    <a:pt x="71" y="142"/>
                    <a:pt x="71" y="142"/>
                  </a:cubicBezTo>
                  <a:cubicBezTo>
                    <a:pt x="69" y="144"/>
                    <a:pt x="68" y="145"/>
                    <a:pt x="66" y="145"/>
                  </a:cubicBezTo>
                  <a:cubicBezTo>
                    <a:pt x="66" y="145"/>
                    <a:pt x="65" y="145"/>
                    <a:pt x="65" y="145"/>
                  </a:cubicBezTo>
                  <a:cubicBezTo>
                    <a:pt x="64" y="145"/>
                    <a:pt x="64" y="145"/>
                    <a:pt x="63" y="145"/>
                  </a:cubicBezTo>
                  <a:cubicBezTo>
                    <a:pt x="62" y="144"/>
                    <a:pt x="59" y="144"/>
                    <a:pt x="59" y="142"/>
                  </a:cubicBezTo>
                  <a:cubicBezTo>
                    <a:pt x="58" y="140"/>
                    <a:pt x="58" y="140"/>
                    <a:pt x="58" y="140"/>
                  </a:cubicBezTo>
                  <a:cubicBezTo>
                    <a:pt x="59" y="139"/>
                    <a:pt x="59" y="139"/>
                    <a:pt x="59" y="139"/>
                  </a:cubicBezTo>
                  <a:cubicBezTo>
                    <a:pt x="59" y="139"/>
                    <a:pt x="59" y="139"/>
                    <a:pt x="59" y="139"/>
                  </a:cubicBezTo>
                  <a:cubicBezTo>
                    <a:pt x="58" y="140"/>
                    <a:pt x="58" y="140"/>
                    <a:pt x="57" y="140"/>
                  </a:cubicBezTo>
                  <a:cubicBezTo>
                    <a:pt x="55" y="142"/>
                    <a:pt x="52" y="142"/>
                    <a:pt x="49" y="142"/>
                  </a:cubicBezTo>
                  <a:cubicBezTo>
                    <a:pt x="48" y="142"/>
                    <a:pt x="47" y="142"/>
                    <a:pt x="46" y="142"/>
                  </a:cubicBezTo>
                  <a:cubicBezTo>
                    <a:pt x="45" y="142"/>
                    <a:pt x="45" y="142"/>
                    <a:pt x="45" y="142"/>
                  </a:cubicBezTo>
                  <a:cubicBezTo>
                    <a:pt x="45" y="142"/>
                    <a:pt x="44" y="142"/>
                    <a:pt x="44" y="142"/>
                  </a:cubicBezTo>
                  <a:cubicBezTo>
                    <a:pt x="43" y="142"/>
                    <a:pt x="43" y="142"/>
                    <a:pt x="43" y="142"/>
                  </a:cubicBezTo>
                  <a:cubicBezTo>
                    <a:pt x="42" y="142"/>
                    <a:pt x="42" y="142"/>
                    <a:pt x="42" y="142"/>
                  </a:cubicBezTo>
                  <a:cubicBezTo>
                    <a:pt x="38" y="142"/>
                    <a:pt x="37" y="137"/>
                    <a:pt x="35" y="134"/>
                  </a:cubicBezTo>
                  <a:cubicBezTo>
                    <a:pt x="36" y="133"/>
                    <a:pt x="36" y="133"/>
                    <a:pt x="36" y="133"/>
                  </a:cubicBezTo>
                  <a:cubicBezTo>
                    <a:pt x="35" y="134"/>
                    <a:pt x="35" y="134"/>
                    <a:pt x="35" y="134"/>
                  </a:cubicBezTo>
                  <a:cubicBezTo>
                    <a:pt x="35" y="133"/>
                    <a:pt x="34" y="131"/>
                    <a:pt x="34" y="131"/>
                  </a:cubicBezTo>
                  <a:cubicBezTo>
                    <a:pt x="33" y="131"/>
                    <a:pt x="33" y="131"/>
                    <a:pt x="33" y="131"/>
                  </a:cubicBezTo>
                  <a:cubicBezTo>
                    <a:pt x="33" y="131"/>
                    <a:pt x="32" y="130"/>
                    <a:pt x="31" y="130"/>
                  </a:cubicBezTo>
                  <a:cubicBezTo>
                    <a:pt x="31" y="130"/>
                    <a:pt x="31" y="130"/>
                    <a:pt x="31" y="130"/>
                  </a:cubicBezTo>
                  <a:cubicBezTo>
                    <a:pt x="30" y="131"/>
                    <a:pt x="30" y="131"/>
                    <a:pt x="30" y="131"/>
                  </a:cubicBezTo>
                  <a:cubicBezTo>
                    <a:pt x="30" y="136"/>
                    <a:pt x="29" y="139"/>
                    <a:pt x="27" y="140"/>
                  </a:cubicBezTo>
                  <a:cubicBezTo>
                    <a:pt x="26" y="140"/>
                    <a:pt x="25" y="140"/>
                    <a:pt x="25" y="141"/>
                  </a:cubicBezTo>
                  <a:cubicBezTo>
                    <a:pt x="24" y="141"/>
                    <a:pt x="24" y="141"/>
                    <a:pt x="24" y="141"/>
                  </a:cubicBezTo>
                  <a:cubicBezTo>
                    <a:pt x="21" y="142"/>
                    <a:pt x="19" y="142"/>
                    <a:pt x="18" y="142"/>
                  </a:cubicBezTo>
                  <a:cubicBezTo>
                    <a:pt x="17" y="142"/>
                    <a:pt x="17" y="142"/>
                    <a:pt x="17" y="142"/>
                  </a:cubicBezTo>
                  <a:cubicBezTo>
                    <a:pt x="16" y="142"/>
                    <a:pt x="16" y="142"/>
                    <a:pt x="16" y="142"/>
                  </a:cubicBezTo>
                  <a:cubicBezTo>
                    <a:pt x="16" y="142"/>
                    <a:pt x="16" y="142"/>
                    <a:pt x="16" y="142"/>
                  </a:cubicBezTo>
                  <a:cubicBezTo>
                    <a:pt x="16" y="142"/>
                    <a:pt x="16" y="142"/>
                    <a:pt x="16" y="142"/>
                  </a:cubicBezTo>
                  <a:cubicBezTo>
                    <a:pt x="15" y="142"/>
                    <a:pt x="15" y="142"/>
                    <a:pt x="15" y="142"/>
                  </a:cubicBezTo>
                  <a:cubicBezTo>
                    <a:pt x="14" y="142"/>
                    <a:pt x="13" y="143"/>
                    <a:pt x="12" y="143"/>
                  </a:cubicBezTo>
                  <a:cubicBezTo>
                    <a:pt x="12" y="143"/>
                    <a:pt x="11" y="143"/>
                    <a:pt x="11" y="143"/>
                  </a:cubicBezTo>
                  <a:cubicBezTo>
                    <a:pt x="11" y="143"/>
                    <a:pt x="12" y="144"/>
                    <a:pt x="12" y="145"/>
                  </a:cubicBezTo>
                  <a:cubicBezTo>
                    <a:pt x="12" y="145"/>
                    <a:pt x="11" y="146"/>
                    <a:pt x="11" y="146"/>
                  </a:cubicBezTo>
                  <a:cubicBezTo>
                    <a:pt x="11" y="147"/>
                    <a:pt x="11" y="147"/>
                    <a:pt x="11" y="148"/>
                  </a:cubicBezTo>
                  <a:cubicBezTo>
                    <a:pt x="10" y="149"/>
                    <a:pt x="10" y="149"/>
                    <a:pt x="10" y="149"/>
                  </a:cubicBezTo>
                  <a:cubicBezTo>
                    <a:pt x="12" y="150"/>
                    <a:pt x="12" y="150"/>
                    <a:pt x="12" y="150"/>
                  </a:cubicBezTo>
                  <a:cubicBezTo>
                    <a:pt x="13" y="151"/>
                    <a:pt x="14" y="151"/>
                    <a:pt x="15" y="153"/>
                  </a:cubicBezTo>
                  <a:cubicBezTo>
                    <a:pt x="17" y="155"/>
                    <a:pt x="17" y="155"/>
                    <a:pt x="17" y="155"/>
                  </a:cubicBezTo>
                  <a:cubicBezTo>
                    <a:pt x="15" y="157"/>
                    <a:pt x="15" y="157"/>
                    <a:pt x="15" y="157"/>
                  </a:cubicBezTo>
                  <a:cubicBezTo>
                    <a:pt x="14" y="157"/>
                    <a:pt x="14" y="157"/>
                    <a:pt x="14" y="157"/>
                  </a:cubicBezTo>
                  <a:cubicBezTo>
                    <a:pt x="15" y="157"/>
                    <a:pt x="15" y="157"/>
                    <a:pt x="15" y="157"/>
                  </a:cubicBezTo>
                  <a:cubicBezTo>
                    <a:pt x="15" y="157"/>
                    <a:pt x="15" y="157"/>
                    <a:pt x="15" y="157"/>
                  </a:cubicBezTo>
                  <a:cubicBezTo>
                    <a:pt x="17" y="158"/>
                    <a:pt x="17" y="159"/>
                    <a:pt x="18" y="159"/>
                  </a:cubicBezTo>
                  <a:cubicBezTo>
                    <a:pt x="19" y="160"/>
                    <a:pt x="19" y="160"/>
                    <a:pt x="19" y="160"/>
                  </a:cubicBezTo>
                  <a:cubicBezTo>
                    <a:pt x="19" y="161"/>
                    <a:pt x="20" y="161"/>
                    <a:pt x="20" y="162"/>
                  </a:cubicBezTo>
                  <a:cubicBezTo>
                    <a:pt x="20" y="164"/>
                    <a:pt x="20" y="164"/>
                    <a:pt x="20" y="164"/>
                  </a:cubicBezTo>
                  <a:cubicBezTo>
                    <a:pt x="18" y="165"/>
                    <a:pt x="18" y="165"/>
                    <a:pt x="18" y="165"/>
                  </a:cubicBezTo>
                  <a:cubicBezTo>
                    <a:pt x="18" y="165"/>
                    <a:pt x="18" y="165"/>
                    <a:pt x="18" y="165"/>
                  </a:cubicBezTo>
                  <a:cubicBezTo>
                    <a:pt x="18" y="165"/>
                    <a:pt x="18" y="165"/>
                    <a:pt x="18" y="165"/>
                  </a:cubicBezTo>
                  <a:cubicBezTo>
                    <a:pt x="18" y="166"/>
                    <a:pt x="18" y="166"/>
                    <a:pt x="18" y="166"/>
                  </a:cubicBezTo>
                  <a:cubicBezTo>
                    <a:pt x="18" y="166"/>
                    <a:pt x="18" y="166"/>
                    <a:pt x="18" y="166"/>
                  </a:cubicBezTo>
                  <a:cubicBezTo>
                    <a:pt x="18" y="167"/>
                    <a:pt x="18" y="168"/>
                    <a:pt x="18" y="169"/>
                  </a:cubicBezTo>
                  <a:cubicBezTo>
                    <a:pt x="18" y="170"/>
                    <a:pt x="18" y="170"/>
                    <a:pt x="18" y="170"/>
                  </a:cubicBezTo>
                  <a:cubicBezTo>
                    <a:pt x="18" y="171"/>
                    <a:pt x="18" y="171"/>
                    <a:pt x="18" y="171"/>
                  </a:cubicBezTo>
                  <a:cubicBezTo>
                    <a:pt x="17" y="172"/>
                    <a:pt x="16" y="173"/>
                    <a:pt x="15" y="173"/>
                  </a:cubicBezTo>
                  <a:cubicBezTo>
                    <a:pt x="15" y="173"/>
                    <a:pt x="15" y="173"/>
                    <a:pt x="14" y="173"/>
                  </a:cubicBezTo>
                  <a:cubicBezTo>
                    <a:pt x="12" y="173"/>
                    <a:pt x="11" y="172"/>
                    <a:pt x="9" y="172"/>
                  </a:cubicBezTo>
                  <a:cubicBezTo>
                    <a:pt x="9" y="171"/>
                    <a:pt x="9" y="171"/>
                    <a:pt x="9" y="171"/>
                  </a:cubicBezTo>
                  <a:cubicBezTo>
                    <a:pt x="9" y="171"/>
                    <a:pt x="8" y="171"/>
                    <a:pt x="8" y="171"/>
                  </a:cubicBezTo>
                  <a:cubicBezTo>
                    <a:pt x="7" y="170"/>
                    <a:pt x="7" y="170"/>
                    <a:pt x="6" y="169"/>
                  </a:cubicBezTo>
                  <a:cubicBezTo>
                    <a:pt x="6" y="170"/>
                    <a:pt x="6" y="170"/>
                    <a:pt x="6" y="170"/>
                  </a:cubicBezTo>
                  <a:cubicBezTo>
                    <a:pt x="5" y="170"/>
                    <a:pt x="5" y="170"/>
                    <a:pt x="5" y="170"/>
                  </a:cubicBezTo>
                  <a:cubicBezTo>
                    <a:pt x="4" y="171"/>
                    <a:pt x="4" y="171"/>
                    <a:pt x="4" y="171"/>
                  </a:cubicBezTo>
                  <a:cubicBezTo>
                    <a:pt x="3" y="171"/>
                    <a:pt x="2" y="172"/>
                    <a:pt x="2" y="172"/>
                  </a:cubicBezTo>
                  <a:cubicBezTo>
                    <a:pt x="1" y="173"/>
                    <a:pt x="1" y="175"/>
                    <a:pt x="0" y="177"/>
                  </a:cubicBezTo>
                  <a:cubicBezTo>
                    <a:pt x="0" y="178"/>
                    <a:pt x="0" y="178"/>
                    <a:pt x="0" y="178"/>
                  </a:cubicBezTo>
                  <a:cubicBezTo>
                    <a:pt x="1" y="179"/>
                    <a:pt x="1" y="179"/>
                    <a:pt x="1" y="179"/>
                  </a:cubicBezTo>
                  <a:cubicBezTo>
                    <a:pt x="4" y="181"/>
                    <a:pt x="6" y="185"/>
                    <a:pt x="9" y="187"/>
                  </a:cubicBezTo>
                  <a:cubicBezTo>
                    <a:pt x="13" y="191"/>
                    <a:pt x="15" y="195"/>
                    <a:pt x="17" y="199"/>
                  </a:cubicBezTo>
                  <a:cubicBezTo>
                    <a:pt x="18" y="198"/>
                    <a:pt x="18" y="198"/>
                    <a:pt x="18" y="198"/>
                  </a:cubicBezTo>
                  <a:cubicBezTo>
                    <a:pt x="19" y="197"/>
                    <a:pt x="20" y="196"/>
                    <a:pt x="21" y="195"/>
                  </a:cubicBezTo>
                  <a:cubicBezTo>
                    <a:pt x="22" y="194"/>
                    <a:pt x="22" y="194"/>
                    <a:pt x="22" y="194"/>
                  </a:cubicBezTo>
                  <a:cubicBezTo>
                    <a:pt x="24" y="193"/>
                    <a:pt x="25" y="192"/>
                    <a:pt x="27" y="191"/>
                  </a:cubicBezTo>
                  <a:cubicBezTo>
                    <a:pt x="28" y="191"/>
                    <a:pt x="28" y="191"/>
                    <a:pt x="28" y="191"/>
                  </a:cubicBezTo>
                  <a:cubicBezTo>
                    <a:pt x="29" y="190"/>
                    <a:pt x="31" y="188"/>
                    <a:pt x="33" y="186"/>
                  </a:cubicBezTo>
                  <a:cubicBezTo>
                    <a:pt x="30" y="183"/>
                    <a:pt x="30" y="183"/>
                    <a:pt x="30" y="183"/>
                  </a:cubicBezTo>
                  <a:cubicBezTo>
                    <a:pt x="34" y="185"/>
                    <a:pt x="34" y="185"/>
                    <a:pt x="34" y="185"/>
                  </a:cubicBezTo>
                  <a:cubicBezTo>
                    <a:pt x="35" y="183"/>
                    <a:pt x="35" y="183"/>
                    <a:pt x="35" y="183"/>
                  </a:cubicBezTo>
                  <a:cubicBezTo>
                    <a:pt x="40" y="187"/>
                    <a:pt x="40" y="187"/>
                    <a:pt x="40" y="187"/>
                  </a:cubicBezTo>
                  <a:cubicBezTo>
                    <a:pt x="42" y="188"/>
                    <a:pt x="43" y="188"/>
                    <a:pt x="44" y="189"/>
                  </a:cubicBezTo>
                  <a:cubicBezTo>
                    <a:pt x="48" y="192"/>
                    <a:pt x="48" y="192"/>
                    <a:pt x="48" y="192"/>
                  </a:cubicBezTo>
                  <a:cubicBezTo>
                    <a:pt x="48" y="192"/>
                    <a:pt x="48" y="192"/>
                    <a:pt x="49" y="193"/>
                  </a:cubicBezTo>
                  <a:cubicBezTo>
                    <a:pt x="49" y="193"/>
                    <a:pt x="49" y="193"/>
                    <a:pt x="49" y="193"/>
                  </a:cubicBezTo>
                  <a:cubicBezTo>
                    <a:pt x="49" y="193"/>
                    <a:pt x="49" y="193"/>
                    <a:pt x="49" y="193"/>
                  </a:cubicBezTo>
                  <a:cubicBezTo>
                    <a:pt x="50" y="194"/>
                    <a:pt x="50" y="194"/>
                    <a:pt x="50" y="194"/>
                  </a:cubicBezTo>
                  <a:cubicBezTo>
                    <a:pt x="50" y="194"/>
                    <a:pt x="51" y="195"/>
                    <a:pt x="51" y="195"/>
                  </a:cubicBezTo>
                  <a:cubicBezTo>
                    <a:pt x="52" y="194"/>
                    <a:pt x="52" y="194"/>
                    <a:pt x="52" y="194"/>
                  </a:cubicBezTo>
                  <a:cubicBezTo>
                    <a:pt x="53" y="194"/>
                    <a:pt x="54" y="192"/>
                    <a:pt x="55" y="190"/>
                  </a:cubicBezTo>
                  <a:cubicBezTo>
                    <a:pt x="55" y="190"/>
                    <a:pt x="55" y="190"/>
                    <a:pt x="55" y="190"/>
                  </a:cubicBezTo>
                  <a:cubicBezTo>
                    <a:pt x="55" y="189"/>
                    <a:pt x="55" y="189"/>
                    <a:pt x="55" y="189"/>
                  </a:cubicBezTo>
                  <a:cubicBezTo>
                    <a:pt x="55" y="186"/>
                    <a:pt x="55" y="186"/>
                    <a:pt x="55" y="186"/>
                  </a:cubicBezTo>
                  <a:cubicBezTo>
                    <a:pt x="58" y="185"/>
                    <a:pt x="58" y="185"/>
                    <a:pt x="58" y="185"/>
                  </a:cubicBezTo>
                  <a:cubicBezTo>
                    <a:pt x="59" y="185"/>
                    <a:pt x="60" y="186"/>
                    <a:pt x="60" y="186"/>
                  </a:cubicBezTo>
                  <a:cubicBezTo>
                    <a:pt x="61" y="186"/>
                    <a:pt x="61" y="186"/>
                    <a:pt x="62" y="186"/>
                  </a:cubicBezTo>
                  <a:cubicBezTo>
                    <a:pt x="62" y="186"/>
                    <a:pt x="63" y="186"/>
                    <a:pt x="64" y="185"/>
                  </a:cubicBezTo>
                  <a:cubicBezTo>
                    <a:pt x="64" y="185"/>
                    <a:pt x="65" y="184"/>
                    <a:pt x="65" y="184"/>
                  </a:cubicBezTo>
                  <a:cubicBezTo>
                    <a:pt x="66" y="184"/>
                    <a:pt x="68" y="184"/>
                    <a:pt x="68" y="184"/>
                  </a:cubicBezTo>
                  <a:cubicBezTo>
                    <a:pt x="69" y="184"/>
                    <a:pt x="69" y="183"/>
                    <a:pt x="70" y="183"/>
                  </a:cubicBezTo>
                  <a:cubicBezTo>
                    <a:pt x="71" y="182"/>
                    <a:pt x="72" y="182"/>
                    <a:pt x="73" y="181"/>
                  </a:cubicBezTo>
                  <a:cubicBezTo>
                    <a:pt x="77" y="180"/>
                    <a:pt x="77" y="180"/>
                    <a:pt x="77" y="180"/>
                  </a:cubicBezTo>
                  <a:cubicBezTo>
                    <a:pt x="77" y="184"/>
                    <a:pt x="77" y="184"/>
                    <a:pt x="77" y="184"/>
                  </a:cubicBezTo>
                  <a:cubicBezTo>
                    <a:pt x="77" y="185"/>
                    <a:pt x="77" y="186"/>
                    <a:pt x="77" y="189"/>
                  </a:cubicBezTo>
                  <a:cubicBezTo>
                    <a:pt x="77" y="190"/>
                    <a:pt x="77" y="190"/>
                    <a:pt x="77" y="190"/>
                  </a:cubicBezTo>
                  <a:cubicBezTo>
                    <a:pt x="77" y="192"/>
                    <a:pt x="77" y="194"/>
                    <a:pt x="77" y="196"/>
                  </a:cubicBezTo>
                  <a:cubicBezTo>
                    <a:pt x="77" y="196"/>
                    <a:pt x="77" y="196"/>
                    <a:pt x="77" y="196"/>
                  </a:cubicBezTo>
                  <a:cubicBezTo>
                    <a:pt x="78" y="196"/>
                    <a:pt x="78" y="196"/>
                    <a:pt x="78" y="196"/>
                  </a:cubicBezTo>
                  <a:cubicBezTo>
                    <a:pt x="78" y="196"/>
                    <a:pt x="79" y="196"/>
                    <a:pt x="80" y="196"/>
                  </a:cubicBezTo>
                  <a:cubicBezTo>
                    <a:pt x="80" y="196"/>
                    <a:pt x="80" y="196"/>
                    <a:pt x="80" y="196"/>
                  </a:cubicBezTo>
                  <a:cubicBezTo>
                    <a:pt x="81" y="196"/>
                    <a:pt x="83" y="194"/>
                    <a:pt x="83" y="193"/>
                  </a:cubicBezTo>
                  <a:cubicBezTo>
                    <a:pt x="84" y="193"/>
                    <a:pt x="84" y="193"/>
                    <a:pt x="84" y="193"/>
                  </a:cubicBezTo>
                  <a:cubicBezTo>
                    <a:pt x="87" y="189"/>
                    <a:pt x="90" y="185"/>
                    <a:pt x="94" y="182"/>
                  </a:cubicBezTo>
                  <a:cubicBezTo>
                    <a:pt x="95" y="182"/>
                    <a:pt x="97" y="181"/>
                    <a:pt x="98" y="180"/>
                  </a:cubicBezTo>
                  <a:cubicBezTo>
                    <a:pt x="102" y="178"/>
                    <a:pt x="106" y="176"/>
                    <a:pt x="107" y="173"/>
                  </a:cubicBezTo>
                  <a:cubicBezTo>
                    <a:pt x="109" y="171"/>
                    <a:pt x="110" y="169"/>
                    <a:pt x="111" y="166"/>
                  </a:cubicBezTo>
                  <a:cubicBezTo>
                    <a:pt x="113" y="164"/>
                    <a:pt x="113" y="164"/>
                    <a:pt x="113" y="164"/>
                  </a:cubicBezTo>
                  <a:cubicBezTo>
                    <a:pt x="113" y="163"/>
                    <a:pt x="113" y="163"/>
                    <a:pt x="113" y="162"/>
                  </a:cubicBezTo>
                  <a:cubicBezTo>
                    <a:pt x="114" y="161"/>
                    <a:pt x="114" y="161"/>
                    <a:pt x="114" y="161"/>
                  </a:cubicBezTo>
                  <a:cubicBezTo>
                    <a:pt x="114" y="161"/>
                    <a:pt x="114" y="161"/>
                    <a:pt x="114" y="160"/>
                  </a:cubicBezTo>
                  <a:cubicBezTo>
                    <a:pt x="114" y="160"/>
                    <a:pt x="114" y="159"/>
                    <a:pt x="114" y="158"/>
                  </a:cubicBezTo>
                  <a:cubicBezTo>
                    <a:pt x="114" y="158"/>
                    <a:pt x="114" y="158"/>
                    <a:pt x="114" y="158"/>
                  </a:cubicBezTo>
                  <a:cubicBezTo>
                    <a:pt x="114" y="158"/>
                    <a:pt x="114" y="158"/>
                    <a:pt x="114" y="158"/>
                  </a:cubicBezTo>
                  <a:cubicBezTo>
                    <a:pt x="114" y="156"/>
                    <a:pt x="114" y="156"/>
                    <a:pt x="114" y="156"/>
                  </a:cubicBezTo>
                  <a:cubicBezTo>
                    <a:pt x="110" y="156"/>
                    <a:pt x="110" y="156"/>
                    <a:pt x="110" y="156"/>
                  </a:cubicBezTo>
                  <a:cubicBezTo>
                    <a:pt x="113" y="155"/>
                    <a:pt x="113" y="155"/>
                    <a:pt x="113" y="155"/>
                  </a:cubicBezTo>
                  <a:cubicBezTo>
                    <a:pt x="113" y="154"/>
                    <a:pt x="113" y="154"/>
                    <a:pt x="113" y="154"/>
                  </a:cubicBezTo>
                  <a:cubicBezTo>
                    <a:pt x="113" y="153"/>
                    <a:pt x="113" y="152"/>
                    <a:pt x="113" y="150"/>
                  </a:cubicBezTo>
                  <a:cubicBezTo>
                    <a:pt x="113" y="148"/>
                    <a:pt x="113" y="145"/>
                    <a:pt x="113" y="142"/>
                  </a:cubicBezTo>
                  <a:cubicBezTo>
                    <a:pt x="113" y="138"/>
                    <a:pt x="113" y="138"/>
                    <a:pt x="113" y="138"/>
                  </a:cubicBezTo>
                  <a:cubicBezTo>
                    <a:pt x="113" y="137"/>
                    <a:pt x="113" y="136"/>
                    <a:pt x="113" y="135"/>
                  </a:cubicBezTo>
                  <a:cubicBezTo>
                    <a:pt x="114" y="134"/>
                    <a:pt x="114" y="133"/>
                    <a:pt x="115" y="133"/>
                  </a:cubicBezTo>
                  <a:cubicBezTo>
                    <a:pt x="115" y="132"/>
                    <a:pt x="115" y="132"/>
                    <a:pt x="116" y="131"/>
                  </a:cubicBezTo>
                  <a:cubicBezTo>
                    <a:pt x="120" y="128"/>
                    <a:pt x="122" y="124"/>
                    <a:pt x="125" y="120"/>
                  </a:cubicBezTo>
                  <a:cubicBezTo>
                    <a:pt x="126" y="118"/>
                    <a:pt x="126" y="116"/>
                    <a:pt x="127" y="115"/>
                  </a:cubicBezTo>
                  <a:cubicBezTo>
                    <a:pt x="128" y="114"/>
                    <a:pt x="128" y="113"/>
                    <a:pt x="129" y="112"/>
                  </a:cubicBezTo>
                  <a:cubicBezTo>
                    <a:pt x="129" y="112"/>
                    <a:pt x="129" y="112"/>
                    <a:pt x="130" y="111"/>
                  </a:cubicBezTo>
                  <a:cubicBezTo>
                    <a:pt x="130" y="111"/>
                    <a:pt x="131" y="110"/>
                    <a:pt x="132" y="109"/>
                  </a:cubicBezTo>
                  <a:cubicBezTo>
                    <a:pt x="134" y="108"/>
                    <a:pt x="135" y="107"/>
                    <a:pt x="137" y="106"/>
                  </a:cubicBezTo>
                  <a:cubicBezTo>
                    <a:pt x="138" y="105"/>
                    <a:pt x="138" y="105"/>
                    <a:pt x="138" y="105"/>
                  </a:cubicBezTo>
                  <a:cubicBezTo>
                    <a:pt x="139" y="104"/>
                    <a:pt x="140" y="104"/>
                    <a:pt x="141" y="103"/>
                  </a:cubicBezTo>
                  <a:cubicBezTo>
                    <a:pt x="142" y="102"/>
                    <a:pt x="142" y="102"/>
                    <a:pt x="142" y="102"/>
                  </a:cubicBezTo>
                  <a:cubicBezTo>
                    <a:pt x="143" y="102"/>
                    <a:pt x="143" y="102"/>
                    <a:pt x="144" y="101"/>
                  </a:cubicBezTo>
                  <a:cubicBezTo>
                    <a:pt x="145" y="101"/>
                    <a:pt x="146" y="100"/>
                    <a:pt x="146" y="99"/>
                  </a:cubicBezTo>
                  <a:cubicBezTo>
                    <a:pt x="154" y="76"/>
                    <a:pt x="154" y="76"/>
                    <a:pt x="154" y="76"/>
                  </a:cubicBezTo>
                  <a:cubicBezTo>
                    <a:pt x="154" y="75"/>
                    <a:pt x="154" y="74"/>
                    <a:pt x="154" y="73"/>
                  </a:cubicBezTo>
                  <a:cubicBezTo>
                    <a:pt x="154" y="72"/>
                    <a:pt x="154" y="71"/>
                    <a:pt x="153" y="69"/>
                  </a:cubicBezTo>
                  <a:cubicBezTo>
                    <a:pt x="153" y="68"/>
                    <a:pt x="153" y="67"/>
                    <a:pt x="153" y="65"/>
                  </a:cubicBezTo>
                  <a:cubicBezTo>
                    <a:pt x="153" y="64"/>
                    <a:pt x="153" y="64"/>
                    <a:pt x="153" y="64"/>
                  </a:cubicBezTo>
                  <a:cubicBezTo>
                    <a:pt x="153" y="63"/>
                    <a:pt x="153" y="62"/>
                    <a:pt x="153" y="61"/>
                  </a:cubicBezTo>
                  <a:cubicBezTo>
                    <a:pt x="153" y="60"/>
                    <a:pt x="153" y="58"/>
                    <a:pt x="153" y="56"/>
                  </a:cubicBezTo>
                  <a:cubicBezTo>
                    <a:pt x="154" y="53"/>
                    <a:pt x="155" y="50"/>
                    <a:pt x="156" y="47"/>
                  </a:cubicBezTo>
                  <a:cubicBezTo>
                    <a:pt x="156" y="45"/>
                    <a:pt x="156" y="45"/>
                    <a:pt x="156" y="45"/>
                  </a:cubicBezTo>
                  <a:cubicBezTo>
                    <a:pt x="157" y="43"/>
                    <a:pt x="157" y="41"/>
                    <a:pt x="158" y="39"/>
                  </a:cubicBezTo>
                  <a:cubicBezTo>
                    <a:pt x="158" y="38"/>
                    <a:pt x="158" y="37"/>
                    <a:pt x="158" y="36"/>
                  </a:cubicBezTo>
                  <a:cubicBezTo>
                    <a:pt x="158" y="35"/>
                    <a:pt x="158" y="35"/>
                    <a:pt x="158" y="34"/>
                  </a:cubicBezTo>
                  <a:cubicBezTo>
                    <a:pt x="158" y="30"/>
                    <a:pt x="160" y="27"/>
                    <a:pt x="161" y="24"/>
                  </a:cubicBezTo>
                  <a:cubicBezTo>
                    <a:pt x="161" y="24"/>
                    <a:pt x="161" y="24"/>
                    <a:pt x="161" y="24"/>
                  </a:cubicBezTo>
                  <a:cubicBezTo>
                    <a:pt x="156" y="21"/>
                    <a:pt x="156" y="21"/>
                    <a:pt x="156" y="21"/>
                  </a:cubicBezTo>
                  <a:cubicBezTo>
                    <a:pt x="162" y="23"/>
                    <a:pt x="162" y="23"/>
                    <a:pt x="162" y="23"/>
                  </a:cubicBezTo>
                  <a:cubicBezTo>
                    <a:pt x="162" y="23"/>
                    <a:pt x="162" y="23"/>
                    <a:pt x="162" y="23"/>
                  </a:cubicBezTo>
                  <a:cubicBezTo>
                    <a:pt x="163" y="21"/>
                    <a:pt x="164" y="20"/>
                    <a:pt x="165" y="18"/>
                  </a:cubicBezTo>
                  <a:cubicBezTo>
                    <a:pt x="169" y="12"/>
                    <a:pt x="173" y="6"/>
                    <a:pt x="169" y="1"/>
                  </a:cubicBezTo>
                  <a:cubicBezTo>
                    <a:pt x="168" y="2"/>
                    <a:pt x="167" y="2"/>
                    <a:pt x="166" y="2"/>
                  </a:cubicBezTo>
                  <a:cubicBezTo>
                    <a:pt x="163" y="2"/>
                    <a:pt x="160" y="1"/>
                    <a:pt x="157" y="1"/>
                  </a:cubicBezTo>
                  <a:cubicBezTo>
                    <a:pt x="156" y="1"/>
                    <a:pt x="156" y="1"/>
                    <a:pt x="156" y="1"/>
                  </a:cubicBezTo>
                  <a:cubicBezTo>
                    <a:pt x="155" y="0"/>
                    <a:pt x="154" y="0"/>
                    <a:pt x="154" y="0"/>
                  </a:cubicBezTo>
                  <a:cubicBezTo>
                    <a:pt x="152" y="0"/>
                    <a:pt x="151" y="0"/>
                    <a:pt x="1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19"/>
            <p:cNvSpPr/>
            <p:nvPr/>
          </p:nvSpPr>
          <p:spPr bwMode="auto">
            <a:xfrm>
              <a:off x="4313" y="3086"/>
              <a:ext cx="681" cy="671"/>
            </a:xfrm>
            <a:custGeom>
              <a:gdLst>
                <a:gd name="T0" fmla="*/ 16 w 288"/>
                <a:gd name="T1" fmla="*/ 4 h 284"/>
                <a:gd name="T2" fmla="*/ 32 w 288"/>
                <a:gd name="T3" fmla="*/ 41 h 284"/>
                <a:gd name="T4" fmla="*/ 34 w 288"/>
                <a:gd name="T5" fmla="*/ 80 h 284"/>
                <a:gd name="T6" fmla="*/ 42 w 288"/>
                <a:gd name="T7" fmla="*/ 152 h 284"/>
                <a:gd name="T8" fmla="*/ 11 w 288"/>
                <a:gd name="T9" fmla="*/ 213 h 284"/>
                <a:gd name="T10" fmla="*/ 1 w 288"/>
                <a:gd name="T11" fmla="*/ 267 h 284"/>
                <a:gd name="T12" fmla="*/ 18 w 288"/>
                <a:gd name="T13" fmla="*/ 266 h 284"/>
                <a:gd name="T14" fmla="*/ 30 w 288"/>
                <a:gd name="T15" fmla="*/ 261 h 284"/>
                <a:gd name="T16" fmla="*/ 36 w 288"/>
                <a:gd name="T17" fmla="*/ 260 h 284"/>
                <a:gd name="T18" fmla="*/ 46 w 288"/>
                <a:gd name="T19" fmla="*/ 265 h 284"/>
                <a:gd name="T20" fmla="*/ 50 w 288"/>
                <a:gd name="T21" fmla="*/ 268 h 284"/>
                <a:gd name="T22" fmla="*/ 59 w 288"/>
                <a:gd name="T23" fmla="*/ 270 h 284"/>
                <a:gd name="T24" fmla="*/ 88 w 288"/>
                <a:gd name="T25" fmla="*/ 270 h 284"/>
                <a:gd name="T26" fmla="*/ 147 w 288"/>
                <a:gd name="T27" fmla="*/ 270 h 284"/>
                <a:gd name="T28" fmla="*/ 162 w 288"/>
                <a:gd name="T29" fmla="*/ 272 h 284"/>
                <a:gd name="T30" fmla="*/ 174 w 288"/>
                <a:gd name="T31" fmla="*/ 280 h 284"/>
                <a:gd name="T32" fmla="*/ 185 w 288"/>
                <a:gd name="T33" fmla="*/ 281 h 284"/>
                <a:gd name="T34" fmla="*/ 201 w 288"/>
                <a:gd name="T35" fmla="*/ 282 h 284"/>
                <a:gd name="T36" fmla="*/ 270 w 288"/>
                <a:gd name="T37" fmla="*/ 277 h 284"/>
                <a:gd name="T38" fmla="*/ 239 w 288"/>
                <a:gd name="T39" fmla="*/ 243 h 284"/>
                <a:gd name="T40" fmla="*/ 239 w 288"/>
                <a:gd name="T41" fmla="*/ 171 h 284"/>
                <a:gd name="T42" fmla="*/ 250 w 288"/>
                <a:gd name="T43" fmla="*/ 163 h 284"/>
                <a:gd name="T44" fmla="*/ 284 w 288"/>
                <a:gd name="T45" fmla="*/ 164 h 284"/>
                <a:gd name="T46" fmla="*/ 287 w 288"/>
                <a:gd name="T47" fmla="*/ 153 h 284"/>
                <a:gd name="T48" fmla="*/ 286 w 288"/>
                <a:gd name="T49" fmla="*/ 122 h 284"/>
                <a:gd name="T50" fmla="*/ 276 w 288"/>
                <a:gd name="T51" fmla="*/ 123 h 284"/>
                <a:gd name="T52" fmla="*/ 245 w 288"/>
                <a:gd name="T53" fmla="*/ 125 h 284"/>
                <a:gd name="T54" fmla="*/ 245 w 288"/>
                <a:gd name="T55" fmla="*/ 112 h 284"/>
                <a:gd name="T56" fmla="*/ 246 w 288"/>
                <a:gd name="T57" fmla="*/ 110 h 284"/>
                <a:gd name="T58" fmla="*/ 243 w 288"/>
                <a:gd name="T59" fmla="*/ 96 h 284"/>
                <a:gd name="T60" fmla="*/ 235 w 288"/>
                <a:gd name="T61" fmla="*/ 84 h 284"/>
                <a:gd name="T62" fmla="*/ 235 w 288"/>
                <a:gd name="T63" fmla="*/ 75 h 284"/>
                <a:gd name="T64" fmla="*/ 237 w 288"/>
                <a:gd name="T65" fmla="*/ 61 h 284"/>
                <a:gd name="T66" fmla="*/ 235 w 288"/>
                <a:gd name="T67" fmla="*/ 34 h 284"/>
                <a:gd name="T68" fmla="*/ 219 w 288"/>
                <a:gd name="T69" fmla="*/ 34 h 284"/>
                <a:gd name="T70" fmla="*/ 205 w 288"/>
                <a:gd name="T71" fmla="*/ 31 h 284"/>
                <a:gd name="T72" fmla="*/ 205 w 288"/>
                <a:gd name="T73" fmla="*/ 25 h 284"/>
                <a:gd name="T74" fmla="*/ 197 w 288"/>
                <a:gd name="T75" fmla="*/ 27 h 284"/>
                <a:gd name="T76" fmla="*/ 192 w 288"/>
                <a:gd name="T77" fmla="*/ 28 h 284"/>
                <a:gd name="T78" fmla="*/ 187 w 288"/>
                <a:gd name="T79" fmla="*/ 28 h 284"/>
                <a:gd name="T80" fmla="*/ 184 w 288"/>
                <a:gd name="T81" fmla="*/ 44 h 284"/>
                <a:gd name="T82" fmla="*/ 163 w 288"/>
                <a:gd name="T83" fmla="*/ 50 h 284"/>
                <a:gd name="T84" fmla="*/ 154 w 288"/>
                <a:gd name="T85" fmla="*/ 51 h 284"/>
                <a:gd name="T86" fmla="*/ 142 w 288"/>
                <a:gd name="T87" fmla="*/ 53 h 284"/>
                <a:gd name="T88" fmla="*/ 126 w 288"/>
                <a:gd name="T89" fmla="*/ 38 h 284"/>
                <a:gd name="T90" fmla="*/ 109 w 288"/>
                <a:gd name="T91" fmla="*/ 1 h 284"/>
                <a:gd name="T92" fmla="*/ 99 w 288"/>
                <a:gd name="T93" fmla="*/ 0 h 284"/>
                <a:gd name="T94" fmla="*/ 56 w 288"/>
                <a:gd name="T95" fmla="*/ 1 h 284"/>
                <a:gd name="T96" fmla="*/ 41 w 288"/>
                <a:gd name="T97" fmla="*/ 0 h 2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84">
                  <a:moveTo>
                    <a:pt x="29" y="0"/>
                  </a:moveTo>
                  <a:cubicBezTo>
                    <a:pt x="27" y="0"/>
                    <a:pt x="26" y="0"/>
                    <a:pt x="24" y="1"/>
                  </a:cubicBezTo>
                  <a:cubicBezTo>
                    <a:pt x="22" y="3"/>
                    <a:pt x="19" y="4"/>
                    <a:pt x="17" y="4"/>
                  </a:cubicBezTo>
                  <a:cubicBezTo>
                    <a:pt x="16" y="4"/>
                    <a:pt x="16" y="4"/>
                    <a:pt x="16" y="4"/>
                  </a:cubicBezTo>
                  <a:cubicBezTo>
                    <a:pt x="13" y="4"/>
                    <a:pt x="13" y="4"/>
                    <a:pt x="13" y="4"/>
                  </a:cubicBezTo>
                  <a:cubicBezTo>
                    <a:pt x="15" y="7"/>
                    <a:pt x="16" y="10"/>
                    <a:pt x="18" y="13"/>
                  </a:cubicBezTo>
                  <a:cubicBezTo>
                    <a:pt x="19" y="15"/>
                    <a:pt x="21" y="17"/>
                    <a:pt x="23" y="20"/>
                  </a:cubicBezTo>
                  <a:cubicBezTo>
                    <a:pt x="27" y="27"/>
                    <a:pt x="29" y="34"/>
                    <a:pt x="32" y="41"/>
                  </a:cubicBezTo>
                  <a:cubicBezTo>
                    <a:pt x="34" y="46"/>
                    <a:pt x="39" y="52"/>
                    <a:pt x="39" y="58"/>
                  </a:cubicBezTo>
                  <a:cubicBezTo>
                    <a:pt x="39" y="61"/>
                    <a:pt x="39" y="65"/>
                    <a:pt x="37" y="67"/>
                  </a:cubicBezTo>
                  <a:cubicBezTo>
                    <a:pt x="35" y="69"/>
                    <a:pt x="32" y="71"/>
                    <a:pt x="30" y="73"/>
                  </a:cubicBezTo>
                  <a:cubicBezTo>
                    <a:pt x="29" y="75"/>
                    <a:pt x="33" y="79"/>
                    <a:pt x="34" y="80"/>
                  </a:cubicBezTo>
                  <a:cubicBezTo>
                    <a:pt x="36" y="87"/>
                    <a:pt x="39" y="95"/>
                    <a:pt x="42" y="101"/>
                  </a:cubicBezTo>
                  <a:cubicBezTo>
                    <a:pt x="44" y="107"/>
                    <a:pt x="49" y="112"/>
                    <a:pt x="49" y="118"/>
                  </a:cubicBezTo>
                  <a:cubicBezTo>
                    <a:pt x="49" y="125"/>
                    <a:pt x="50" y="133"/>
                    <a:pt x="48" y="139"/>
                  </a:cubicBezTo>
                  <a:cubicBezTo>
                    <a:pt x="46" y="144"/>
                    <a:pt x="44" y="148"/>
                    <a:pt x="42" y="152"/>
                  </a:cubicBezTo>
                  <a:cubicBezTo>
                    <a:pt x="41" y="156"/>
                    <a:pt x="40" y="156"/>
                    <a:pt x="37" y="157"/>
                  </a:cubicBezTo>
                  <a:cubicBezTo>
                    <a:pt x="31" y="159"/>
                    <a:pt x="26" y="166"/>
                    <a:pt x="23" y="171"/>
                  </a:cubicBezTo>
                  <a:cubicBezTo>
                    <a:pt x="20" y="176"/>
                    <a:pt x="19" y="180"/>
                    <a:pt x="18" y="185"/>
                  </a:cubicBezTo>
                  <a:cubicBezTo>
                    <a:pt x="16" y="194"/>
                    <a:pt x="13" y="203"/>
                    <a:pt x="11" y="213"/>
                  </a:cubicBezTo>
                  <a:cubicBezTo>
                    <a:pt x="10" y="217"/>
                    <a:pt x="9" y="225"/>
                    <a:pt x="6" y="229"/>
                  </a:cubicBezTo>
                  <a:cubicBezTo>
                    <a:pt x="5" y="231"/>
                    <a:pt x="1" y="234"/>
                    <a:pt x="0" y="236"/>
                  </a:cubicBezTo>
                  <a:cubicBezTo>
                    <a:pt x="0" y="237"/>
                    <a:pt x="2" y="238"/>
                    <a:pt x="2" y="239"/>
                  </a:cubicBezTo>
                  <a:cubicBezTo>
                    <a:pt x="2" y="248"/>
                    <a:pt x="1" y="257"/>
                    <a:pt x="1" y="267"/>
                  </a:cubicBezTo>
                  <a:cubicBezTo>
                    <a:pt x="2" y="267"/>
                    <a:pt x="2" y="267"/>
                    <a:pt x="3" y="267"/>
                  </a:cubicBezTo>
                  <a:cubicBezTo>
                    <a:pt x="5" y="267"/>
                    <a:pt x="6" y="267"/>
                    <a:pt x="7" y="267"/>
                  </a:cubicBezTo>
                  <a:cubicBezTo>
                    <a:pt x="9" y="267"/>
                    <a:pt x="11" y="267"/>
                    <a:pt x="12" y="267"/>
                  </a:cubicBezTo>
                  <a:cubicBezTo>
                    <a:pt x="14" y="267"/>
                    <a:pt x="16" y="267"/>
                    <a:pt x="18" y="266"/>
                  </a:cubicBezTo>
                  <a:cubicBezTo>
                    <a:pt x="20" y="266"/>
                    <a:pt x="22" y="265"/>
                    <a:pt x="24" y="264"/>
                  </a:cubicBezTo>
                  <a:cubicBezTo>
                    <a:pt x="25" y="263"/>
                    <a:pt x="26" y="262"/>
                    <a:pt x="27" y="262"/>
                  </a:cubicBezTo>
                  <a:cubicBezTo>
                    <a:pt x="28" y="261"/>
                    <a:pt x="29" y="261"/>
                    <a:pt x="30" y="261"/>
                  </a:cubicBezTo>
                  <a:cubicBezTo>
                    <a:pt x="30" y="261"/>
                    <a:pt x="30" y="261"/>
                    <a:pt x="30" y="261"/>
                  </a:cubicBezTo>
                  <a:cubicBezTo>
                    <a:pt x="30" y="256"/>
                    <a:pt x="30" y="256"/>
                    <a:pt x="30" y="256"/>
                  </a:cubicBezTo>
                  <a:cubicBezTo>
                    <a:pt x="32" y="260"/>
                    <a:pt x="32" y="260"/>
                    <a:pt x="32" y="260"/>
                  </a:cubicBezTo>
                  <a:cubicBezTo>
                    <a:pt x="32" y="260"/>
                    <a:pt x="32" y="260"/>
                    <a:pt x="32" y="260"/>
                  </a:cubicBezTo>
                  <a:cubicBezTo>
                    <a:pt x="33" y="260"/>
                    <a:pt x="35" y="260"/>
                    <a:pt x="36" y="260"/>
                  </a:cubicBezTo>
                  <a:cubicBezTo>
                    <a:pt x="39" y="260"/>
                    <a:pt x="39" y="260"/>
                    <a:pt x="39" y="260"/>
                  </a:cubicBezTo>
                  <a:cubicBezTo>
                    <a:pt x="40" y="260"/>
                    <a:pt x="40" y="260"/>
                    <a:pt x="40" y="260"/>
                  </a:cubicBezTo>
                  <a:cubicBezTo>
                    <a:pt x="42" y="261"/>
                    <a:pt x="44" y="263"/>
                    <a:pt x="46" y="265"/>
                  </a:cubicBezTo>
                  <a:cubicBezTo>
                    <a:pt x="46" y="265"/>
                    <a:pt x="46" y="265"/>
                    <a:pt x="46" y="265"/>
                  </a:cubicBezTo>
                  <a:cubicBezTo>
                    <a:pt x="47" y="265"/>
                    <a:pt x="47" y="266"/>
                    <a:pt x="48" y="266"/>
                  </a:cubicBezTo>
                  <a:cubicBezTo>
                    <a:pt x="49" y="267"/>
                    <a:pt x="49" y="267"/>
                    <a:pt x="49" y="267"/>
                  </a:cubicBezTo>
                  <a:cubicBezTo>
                    <a:pt x="49" y="267"/>
                    <a:pt x="49" y="267"/>
                    <a:pt x="50" y="268"/>
                  </a:cubicBezTo>
                  <a:cubicBezTo>
                    <a:pt x="50" y="268"/>
                    <a:pt x="50" y="268"/>
                    <a:pt x="50" y="268"/>
                  </a:cubicBezTo>
                  <a:cubicBezTo>
                    <a:pt x="51" y="269"/>
                    <a:pt x="53" y="270"/>
                    <a:pt x="54" y="271"/>
                  </a:cubicBezTo>
                  <a:cubicBezTo>
                    <a:pt x="54" y="271"/>
                    <a:pt x="54" y="271"/>
                    <a:pt x="54" y="271"/>
                  </a:cubicBezTo>
                  <a:cubicBezTo>
                    <a:pt x="54" y="271"/>
                    <a:pt x="55" y="270"/>
                    <a:pt x="55" y="270"/>
                  </a:cubicBezTo>
                  <a:cubicBezTo>
                    <a:pt x="57" y="270"/>
                    <a:pt x="58" y="270"/>
                    <a:pt x="59" y="270"/>
                  </a:cubicBezTo>
                  <a:cubicBezTo>
                    <a:pt x="59" y="270"/>
                    <a:pt x="59" y="270"/>
                    <a:pt x="59" y="270"/>
                  </a:cubicBezTo>
                  <a:cubicBezTo>
                    <a:pt x="60" y="270"/>
                    <a:pt x="62" y="270"/>
                    <a:pt x="63" y="270"/>
                  </a:cubicBezTo>
                  <a:cubicBezTo>
                    <a:pt x="70" y="270"/>
                    <a:pt x="70" y="270"/>
                    <a:pt x="70" y="270"/>
                  </a:cubicBezTo>
                  <a:cubicBezTo>
                    <a:pt x="76" y="270"/>
                    <a:pt x="82" y="270"/>
                    <a:pt x="88" y="270"/>
                  </a:cubicBezTo>
                  <a:cubicBezTo>
                    <a:pt x="99" y="270"/>
                    <a:pt x="99" y="270"/>
                    <a:pt x="99" y="270"/>
                  </a:cubicBezTo>
                  <a:cubicBezTo>
                    <a:pt x="103" y="270"/>
                    <a:pt x="108" y="270"/>
                    <a:pt x="113" y="270"/>
                  </a:cubicBezTo>
                  <a:cubicBezTo>
                    <a:pt x="123" y="270"/>
                    <a:pt x="133" y="270"/>
                    <a:pt x="144" y="270"/>
                  </a:cubicBezTo>
                  <a:cubicBezTo>
                    <a:pt x="145" y="270"/>
                    <a:pt x="146" y="270"/>
                    <a:pt x="147" y="270"/>
                  </a:cubicBezTo>
                  <a:cubicBezTo>
                    <a:pt x="147" y="270"/>
                    <a:pt x="147" y="270"/>
                    <a:pt x="147" y="270"/>
                  </a:cubicBezTo>
                  <a:cubicBezTo>
                    <a:pt x="149" y="269"/>
                    <a:pt x="151" y="269"/>
                    <a:pt x="153" y="269"/>
                  </a:cubicBezTo>
                  <a:cubicBezTo>
                    <a:pt x="156" y="269"/>
                    <a:pt x="158" y="270"/>
                    <a:pt x="160" y="271"/>
                  </a:cubicBezTo>
                  <a:cubicBezTo>
                    <a:pt x="161" y="271"/>
                    <a:pt x="161" y="272"/>
                    <a:pt x="162" y="272"/>
                  </a:cubicBezTo>
                  <a:cubicBezTo>
                    <a:pt x="162" y="272"/>
                    <a:pt x="163" y="273"/>
                    <a:pt x="163" y="274"/>
                  </a:cubicBezTo>
                  <a:cubicBezTo>
                    <a:pt x="163" y="274"/>
                    <a:pt x="164" y="275"/>
                    <a:pt x="164" y="275"/>
                  </a:cubicBezTo>
                  <a:cubicBezTo>
                    <a:pt x="166" y="277"/>
                    <a:pt x="167" y="278"/>
                    <a:pt x="169" y="279"/>
                  </a:cubicBezTo>
                  <a:cubicBezTo>
                    <a:pt x="171" y="280"/>
                    <a:pt x="172" y="280"/>
                    <a:pt x="174" y="280"/>
                  </a:cubicBezTo>
                  <a:cubicBezTo>
                    <a:pt x="176" y="280"/>
                    <a:pt x="176" y="280"/>
                    <a:pt x="176" y="280"/>
                  </a:cubicBezTo>
                  <a:cubicBezTo>
                    <a:pt x="177" y="280"/>
                    <a:pt x="177" y="280"/>
                    <a:pt x="177" y="280"/>
                  </a:cubicBezTo>
                  <a:cubicBezTo>
                    <a:pt x="181" y="281"/>
                    <a:pt x="181" y="281"/>
                    <a:pt x="181" y="281"/>
                  </a:cubicBezTo>
                  <a:cubicBezTo>
                    <a:pt x="182" y="281"/>
                    <a:pt x="183" y="281"/>
                    <a:pt x="185" y="281"/>
                  </a:cubicBezTo>
                  <a:cubicBezTo>
                    <a:pt x="186" y="281"/>
                    <a:pt x="187" y="281"/>
                    <a:pt x="188" y="281"/>
                  </a:cubicBezTo>
                  <a:cubicBezTo>
                    <a:pt x="191" y="281"/>
                    <a:pt x="191" y="281"/>
                    <a:pt x="191" y="281"/>
                  </a:cubicBezTo>
                  <a:cubicBezTo>
                    <a:pt x="192" y="281"/>
                    <a:pt x="193" y="281"/>
                    <a:pt x="194" y="281"/>
                  </a:cubicBezTo>
                  <a:cubicBezTo>
                    <a:pt x="201" y="282"/>
                    <a:pt x="201" y="282"/>
                    <a:pt x="201" y="282"/>
                  </a:cubicBezTo>
                  <a:cubicBezTo>
                    <a:pt x="209" y="283"/>
                    <a:pt x="217" y="284"/>
                    <a:pt x="226" y="284"/>
                  </a:cubicBezTo>
                  <a:cubicBezTo>
                    <a:pt x="229" y="284"/>
                    <a:pt x="232" y="284"/>
                    <a:pt x="236" y="283"/>
                  </a:cubicBezTo>
                  <a:cubicBezTo>
                    <a:pt x="270" y="277"/>
                    <a:pt x="270" y="277"/>
                    <a:pt x="270" y="277"/>
                  </a:cubicBezTo>
                  <a:cubicBezTo>
                    <a:pt x="270" y="277"/>
                    <a:pt x="270" y="277"/>
                    <a:pt x="270" y="277"/>
                  </a:cubicBezTo>
                  <a:cubicBezTo>
                    <a:pt x="245" y="255"/>
                    <a:pt x="245" y="255"/>
                    <a:pt x="245" y="255"/>
                  </a:cubicBezTo>
                  <a:cubicBezTo>
                    <a:pt x="242" y="252"/>
                    <a:pt x="241" y="249"/>
                    <a:pt x="240" y="245"/>
                  </a:cubicBezTo>
                  <a:cubicBezTo>
                    <a:pt x="236" y="245"/>
                    <a:pt x="236" y="245"/>
                    <a:pt x="236" y="245"/>
                  </a:cubicBezTo>
                  <a:cubicBezTo>
                    <a:pt x="239" y="243"/>
                    <a:pt x="239" y="243"/>
                    <a:pt x="239" y="243"/>
                  </a:cubicBezTo>
                  <a:cubicBezTo>
                    <a:pt x="239" y="242"/>
                    <a:pt x="239" y="242"/>
                    <a:pt x="239" y="242"/>
                  </a:cubicBezTo>
                  <a:cubicBezTo>
                    <a:pt x="239" y="239"/>
                    <a:pt x="239" y="237"/>
                    <a:pt x="239" y="234"/>
                  </a:cubicBezTo>
                  <a:cubicBezTo>
                    <a:pt x="239" y="232"/>
                    <a:pt x="239" y="232"/>
                    <a:pt x="239" y="232"/>
                  </a:cubicBezTo>
                  <a:cubicBezTo>
                    <a:pt x="239" y="171"/>
                    <a:pt x="239" y="171"/>
                    <a:pt x="239" y="171"/>
                  </a:cubicBezTo>
                  <a:cubicBezTo>
                    <a:pt x="239" y="170"/>
                    <a:pt x="239" y="169"/>
                    <a:pt x="239" y="169"/>
                  </a:cubicBezTo>
                  <a:cubicBezTo>
                    <a:pt x="239" y="168"/>
                    <a:pt x="239" y="167"/>
                    <a:pt x="240" y="166"/>
                  </a:cubicBezTo>
                  <a:cubicBezTo>
                    <a:pt x="241" y="164"/>
                    <a:pt x="243" y="164"/>
                    <a:pt x="246" y="164"/>
                  </a:cubicBezTo>
                  <a:cubicBezTo>
                    <a:pt x="247" y="164"/>
                    <a:pt x="249" y="163"/>
                    <a:pt x="250" y="163"/>
                  </a:cubicBezTo>
                  <a:cubicBezTo>
                    <a:pt x="254" y="163"/>
                    <a:pt x="258" y="164"/>
                    <a:pt x="261" y="164"/>
                  </a:cubicBezTo>
                  <a:cubicBezTo>
                    <a:pt x="262" y="164"/>
                    <a:pt x="262" y="164"/>
                    <a:pt x="262" y="164"/>
                  </a:cubicBezTo>
                  <a:cubicBezTo>
                    <a:pt x="263" y="164"/>
                    <a:pt x="264" y="164"/>
                    <a:pt x="265" y="164"/>
                  </a:cubicBezTo>
                  <a:cubicBezTo>
                    <a:pt x="284" y="164"/>
                    <a:pt x="284" y="164"/>
                    <a:pt x="284" y="164"/>
                  </a:cubicBezTo>
                  <a:cubicBezTo>
                    <a:pt x="284" y="163"/>
                    <a:pt x="283" y="162"/>
                    <a:pt x="284" y="160"/>
                  </a:cubicBezTo>
                  <a:cubicBezTo>
                    <a:pt x="284" y="159"/>
                    <a:pt x="284" y="159"/>
                    <a:pt x="284" y="159"/>
                  </a:cubicBezTo>
                  <a:cubicBezTo>
                    <a:pt x="285" y="158"/>
                    <a:pt x="285" y="156"/>
                    <a:pt x="286" y="155"/>
                  </a:cubicBezTo>
                  <a:cubicBezTo>
                    <a:pt x="286" y="154"/>
                    <a:pt x="287" y="154"/>
                    <a:pt x="287" y="153"/>
                  </a:cubicBezTo>
                  <a:cubicBezTo>
                    <a:pt x="287" y="153"/>
                    <a:pt x="287" y="152"/>
                    <a:pt x="287" y="152"/>
                  </a:cubicBezTo>
                  <a:cubicBezTo>
                    <a:pt x="288" y="149"/>
                    <a:pt x="287" y="145"/>
                    <a:pt x="287" y="141"/>
                  </a:cubicBezTo>
                  <a:cubicBezTo>
                    <a:pt x="287" y="140"/>
                    <a:pt x="287" y="138"/>
                    <a:pt x="287" y="136"/>
                  </a:cubicBezTo>
                  <a:cubicBezTo>
                    <a:pt x="286" y="122"/>
                    <a:pt x="286" y="122"/>
                    <a:pt x="286" y="122"/>
                  </a:cubicBezTo>
                  <a:cubicBezTo>
                    <a:pt x="285" y="122"/>
                    <a:pt x="285" y="122"/>
                    <a:pt x="285" y="122"/>
                  </a:cubicBezTo>
                  <a:cubicBezTo>
                    <a:pt x="283" y="123"/>
                    <a:pt x="281" y="123"/>
                    <a:pt x="279" y="123"/>
                  </a:cubicBezTo>
                  <a:cubicBezTo>
                    <a:pt x="278" y="123"/>
                    <a:pt x="278" y="123"/>
                    <a:pt x="278" y="123"/>
                  </a:cubicBezTo>
                  <a:cubicBezTo>
                    <a:pt x="277" y="123"/>
                    <a:pt x="276" y="123"/>
                    <a:pt x="276" y="123"/>
                  </a:cubicBezTo>
                  <a:cubicBezTo>
                    <a:pt x="274" y="123"/>
                    <a:pt x="272" y="124"/>
                    <a:pt x="270" y="124"/>
                  </a:cubicBezTo>
                  <a:cubicBezTo>
                    <a:pt x="262" y="124"/>
                    <a:pt x="255" y="125"/>
                    <a:pt x="249" y="128"/>
                  </a:cubicBezTo>
                  <a:cubicBezTo>
                    <a:pt x="246" y="129"/>
                    <a:pt x="246" y="129"/>
                    <a:pt x="246" y="129"/>
                  </a:cubicBezTo>
                  <a:cubicBezTo>
                    <a:pt x="245" y="125"/>
                    <a:pt x="245" y="125"/>
                    <a:pt x="245" y="125"/>
                  </a:cubicBezTo>
                  <a:cubicBezTo>
                    <a:pt x="245" y="125"/>
                    <a:pt x="244" y="124"/>
                    <a:pt x="244" y="123"/>
                  </a:cubicBezTo>
                  <a:cubicBezTo>
                    <a:pt x="244" y="123"/>
                    <a:pt x="244" y="123"/>
                    <a:pt x="244" y="123"/>
                  </a:cubicBezTo>
                  <a:cubicBezTo>
                    <a:pt x="243" y="121"/>
                    <a:pt x="243" y="118"/>
                    <a:pt x="243" y="115"/>
                  </a:cubicBezTo>
                  <a:cubicBezTo>
                    <a:pt x="243" y="114"/>
                    <a:pt x="244" y="113"/>
                    <a:pt x="245" y="112"/>
                  </a:cubicBezTo>
                  <a:cubicBezTo>
                    <a:pt x="245" y="111"/>
                    <a:pt x="245" y="111"/>
                    <a:pt x="245" y="111"/>
                  </a:cubicBezTo>
                  <a:cubicBezTo>
                    <a:pt x="246" y="111"/>
                    <a:pt x="246" y="110"/>
                    <a:pt x="246" y="110"/>
                  </a:cubicBezTo>
                  <a:cubicBezTo>
                    <a:pt x="246" y="110"/>
                    <a:pt x="246" y="110"/>
                    <a:pt x="246" y="110"/>
                  </a:cubicBezTo>
                  <a:cubicBezTo>
                    <a:pt x="246" y="110"/>
                    <a:pt x="246" y="110"/>
                    <a:pt x="246" y="110"/>
                  </a:cubicBezTo>
                  <a:cubicBezTo>
                    <a:pt x="246" y="109"/>
                    <a:pt x="246" y="109"/>
                    <a:pt x="246" y="109"/>
                  </a:cubicBezTo>
                  <a:cubicBezTo>
                    <a:pt x="246" y="109"/>
                    <a:pt x="246" y="108"/>
                    <a:pt x="245" y="105"/>
                  </a:cubicBezTo>
                  <a:cubicBezTo>
                    <a:pt x="245" y="102"/>
                    <a:pt x="245" y="99"/>
                    <a:pt x="244" y="97"/>
                  </a:cubicBezTo>
                  <a:cubicBezTo>
                    <a:pt x="243" y="96"/>
                    <a:pt x="243" y="96"/>
                    <a:pt x="243" y="96"/>
                  </a:cubicBezTo>
                  <a:cubicBezTo>
                    <a:pt x="243" y="95"/>
                    <a:pt x="243" y="95"/>
                    <a:pt x="243" y="95"/>
                  </a:cubicBezTo>
                  <a:cubicBezTo>
                    <a:pt x="243" y="94"/>
                    <a:pt x="242" y="93"/>
                    <a:pt x="241" y="93"/>
                  </a:cubicBezTo>
                  <a:cubicBezTo>
                    <a:pt x="239" y="91"/>
                    <a:pt x="237" y="89"/>
                    <a:pt x="236" y="87"/>
                  </a:cubicBezTo>
                  <a:cubicBezTo>
                    <a:pt x="235" y="86"/>
                    <a:pt x="235" y="85"/>
                    <a:pt x="235" y="84"/>
                  </a:cubicBezTo>
                  <a:cubicBezTo>
                    <a:pt x="234" y="83"/>
                    <a:pt x="234" y="81"/>
                    <a:pt x="234" y="80"/>
                  </a:cubicBezTo>
                  <a:cubicBezTo>
                    <a:pt x="235" y="79"/>
                    <a:pt x="235" y="79"/>
                    <a:pt x="235" y="79"/>
                  </a:cubicBezTo>
                  <a:cubicBezTo>
                    <a:pt x="235" y="79"/>
                    <a:pt x="235" y="79"/>
                    <a:pt x="235" y="79"/>
                  </a:cubicBezTo>
                  <a:cubicBezTo>
                    <a:pt x="235" y="75"/>
                    <a:pt x="235" y="75"/>
                    <a:pt x="235" y="75"/>
                  </a:cubicBezTo>
                  <a:cubicBezTo>
                    <a:pt x="236" y="72"/>
                    <a:pt x="236" y="70"/>
                    <a:pt x="236" y="68"/>
                  </a:cubicBezTo>
                  <a:cubicBezTo>
                    <a:pt x="236" y="64"/>
                    <a:pt x="236" y="64"/>
                    <a:pt x="236" y="64"/>
                  </a:cubicBezTo>
                  <a:cubicBezTo>
                    <a:pt x="236" y="64"/>
                    <a:pt x="236" y="63"/>
                    <a:pt x="237" y="62"/>
                  </a:cubicBezTo>
                  <a:cubicBezTo>
                    <a:pt x="237" y="61"/>
                    <a:pt x="237" y="61"/>
                    <a:pt x="237" y="61"/>
                  </a:cubicBezTo>
                  <a:cubicBezTo>
                    <a:pt x="237" y="61"/>
                    <a:pt x="237" y="58"/>
                    <a:pt x="237" y="57"/>
                  </a:cubicBezTo>
                  <a:cubicBezTo>
                    <a:pt x="234" y="50"/>
                    <a:pt x="233" y="48"/>
                    <a:pt x="235" y="40"/>
                  </a:cubicBezTo>
                  <a:cubicBezTo>
                    <a:pt x="235" y="40"/>
                    <a:pt x="235" y="38"/>
                    <a:pt x="235" y="37"/>
                  </a:cubicBezTo>
                  <a:cubicBezTo>
                    <a:pt x="235" y="35"/>
                    <a:pt x="235" y="34"/>
                    <a:pt x="235" y="34"/>
                  </a:cubicBezTo>
                  <a:cubicBezTo>
                    <a:pt x="234" y="34"/>
                    <a:pt x="234" y="34"/>
                    <a:pt x="234" y="34"/>
                  </a:cubicBezTo>
                  <a:cubicBezTo>
                    <a:pt x="232" y="34"/>
                    <a:pt x="232" y="34"/>
                    <a:pt x="232" y="34"/>
                  </a:cubicBezTo>
                  <a:cubicBezTo>
                    <a:pt x="232" y="34"/>
                    <a:pt x="231" y="34"/>
                    <a:pt x="231" y="34"/>
                  </a:cubicBezTo>
                  <a:cubicBezTo>
                    <a:pt x="219" y="34"/>
                    <a:pt x="219" y="34"/>
                    <a:pt x="219" y="34"/>
                  </a:cubicBezTo>
                  <a:cubicBezTo>
                    <a:pt x="218" y="34"/>
                    <a:pt x="217" y="34"/>
                    <a:pt x="216" y="34"/>
                  </a:cubicBezTo>
                  <a:cubicBezTo>
                    <a:pt x="215" y="34"/>
                    <a:pt x="214" y="34"/>
                    <a:pt x="212" y="34"/>
                  </a:cubicBezTo>
                  <a:cubicBezTo>
                    <a:pt x="211" y="34"/>
                    <a:pt x="209" y="34"/>
                    <a:pt x="208" y="34"/>
                  </a:cubicBezTo>
                  <a:cubicBezTo>
                    <a:pt x="206" y="33"/>
                    <a:pt x="205" y="32"/>
                    <a:pt x="205" y="31"/>
                  </a:cubicBezTo>
                  <a:cubicBezTo>
                    <a:pt x="204" y="29"/>
                    <a:pt x="205" y="27"/>
                    <a:pt x="205" y="26"/>
                  </a:cubicBezTo>
                  <a:cubicBezTo>
                    <a:pt x="205" y="25"/>
                    <a:pt x="205" y="25"/>
                    <a:pt x="205" y="25"/>
                  </a:cubicBezTo>
                  <a:cubicBezTo>
                    <a:pt x="205" y="25"/>
                    <a:pt x="205" y="25"/>
                    <a:pt x="205" y="25"/>
                  </a:cubicBezTo>
                  <a:cubicBezTo>
                    <a:pt x="205" y="25"/>
                    <a:pt x="205" y="25"/>
                    <a:pt x="205" y="25"/>
                  </a:cubicBezTo>
                  <a:cubicBezTo>
                    <a:pt x="205" y="25"/>
                    <a:pt x="204" y="25"/>
                    <a:pt x="204" y="25"/>
                  </a:cubicBezTo>
                  <a:cubicBezTo>
                    <a:pt x="204" y="25"/>
                    <a:pt x="204" y="25"/>
                    <a:pt x="204" y="25"/>
                  </a:cubicBezTo>
                  <a:cubicBezTo>
                    <a:pt x="203" y="26"/>
                    <a:pt x="202" y="27"/>
                    <a:pt x="200" y="27"/>
                  </a:cubicBezTo>
                  <a:cubicBezTo>
                    <a:pt x="199" y="27"/>
                    <a:pt x="198" y="27"/>
                    <a:pt x="197" y="27"/>
                  </a:cubicBezTo>
                  <a:cubicBezTo>
                    <a:pt x="194" y="27"/>
                    <a:pt x="194" y="27"/>
                    <a:pt x="194" y="27"/>
                  </a:cubicBezTo>
                  <a:cubicBezTo>
                    <a:pt x="194" y="27"/>
                    <a:pt x="194" y="27"/>
                    <a:pt x="194" y="27"/>
                  </a:cubicBezTo>
                  <a:cubicBezTo>
                    <a:pt x="194" y="28"/>
                    <a:pt x="193" y="28"/>
                    <a:pt x="193" y="28"/>
                  </a:cubicBezTo>
                  <a:cubicBezTo>
                    <a:pt x="193" y="28"/>
                    <a:pt x="192" y="28"/>
                    <a:pt x="192" y="28"/>
                  </a:cubicBezTo>
                  <a:cubicBezTo>
                    <a:pt x="191" y="28"/>
                    <a:pt x="191" y="28"/>
                    <a:pt x="191" y="28"/>
                  </a:cubicBezTo>
                  <a:cubicBezTo>
                    <a:pt x="190" y="28"/>
                    <a:pt x="189" y="28"/>
                    <a:pt x="188" y="28"/>
                  </a:cubicBezTo>
                  <a:cubicBezTo>
                    <a:pt x="188" y="28"/>
                    <a:pt x="187" y="28"/>
                    <a:pt x="187" y="28"/>
                  </a:cubicBezTo>
                  <a:cubicBezTo>
                    <a:pt x="187" y="28"/>
                    <a:pt x="187" y="28"/>
                    <a:pt x="187" y="28"/>
                  </a:cubicBezTo>
                  <a:cubicBezTo>
                    <a:pt x="187" y="29"/>
                    <a:pt x="186" y="31"/>
                    <a:pt x="186" y="35"/>
                  </a:cubicBezTo>
                  <a:cubicBezTo>
                    <a:pt x="185" y="37"/>
                    <a:pt x="185" y="37"/>
                    <a:pt x="185" y="37"/>
                  </a:cubicBezTo>
                  <a:cubicBezTo>
                    <a:pt x="184" y="43"/>
                    <a:pt x="184" y="43"/>
                    <a:pt x="184" y="43"/>
                  </a:cubicBezTo>
                  <a:cubicBezTo>
                    <a:pt x="184" y="43"/>
                    <a:pt x="184" y="44"/>
                    <a:pt x="184" y="44"/>
                  </a:cubicBezTo>
                  <a:cubicBezTo>
                    <a:pt x="184" y="45"/>
                    <a:pt x="184" y="45"/>
                    <a:pt x="184" y="45"/>
                  </a:cubicBezTo>
                  <a:cubicBezTo>
                    <a:pt x="184" y="46"/>
                    <a:pt x="183" y="51"/>
                    <a:pt x="179" y="51"/>
                  </a:cubicBezTo>
                  <a:cubicBezTo>
                    <a:pt x="178" y="51"/>
                    <a:pt x="178" y="51"/>
                    <a:pt x="178" y="51"/>
                  </a:cubicBezTo>
                  <a:cubicBezTo>
                    <a:pt x="163" y="50"/>
                    <a:pt x="163" y="50"/>
                    <a:pt x="163" y="50"/>
                  </a:cubicBezTo>
                  <a:cubicBezTo>
                    <a:pt x="162" y="50"/>
                    <a:pt x="162" y="50"/>
                    <a:pt x="161" y="50"/>
                  </a:cubicBezTo>
                  <a:cubicBezTo>
                    <a:pt x="161" y="50"/>
                    <a:pt x="161" y="50"/>
                    <a:pt x="160" y="50"/>
                  </a:cubicBezTo>
                  <a:cubicBezTo>
                    <a:pt x="158" y="50"/>
                    <a:pt x="157" y="50"/>
                    <a:pt x="155" y="50"/>
                  </a:cubicBezTo>
                  <a:cubicBezTo>
                    <a:pt x="154" y="51"/>
                    <a:pt x="154" y="51"/>
                    <a:pt x="154" y="51"/>
                  </a:cubicBezTo>
                  <a:cubicBezTo>
                    <a:pt x="154" y="51"/>
                    <a:pt x="154" y="51"/>
                    <a:pt x="154" y="51"/>
                  </a:cubicBezTo>
                  <a:cubicBezTo>
                    <a:pt x="153" y="53"/>
                    <a:pt x="151" y="54"/>
                    <a:pt x="150" y="54"/>
                  </a:cubicBezTo>
                  <a:cubicBezTo>
                    <a:pt x="149" y="54"/>
                    <a:pt x="149" y="54"/>
                    <a:pt x="149" y="53"/>
                  </a:cubicBezTo>
                  <a:cubicBezTo>
                    <a:pt x="142" y="53"/>
                    <a:pt x="142" y="53"/>
                    <a:pt x="142" y="53"/>
                  </a:cubicBezTo>
                  <a:cubicBezTo>
                    <a:pt x="136" y="53"/>
                    <a:pt x="135" y="52"/>
                    <a:pt x="132" y="47"/>
                  </a:cubicBezTo>
                  <a:cubicBezTo>
                    <a:pt x="128" y="40"/>
                    <a:pt x="128" y="40"/>
                    <a:pt x="128" y="40"/>
                  </a:cubicBezTo>
                  <a:cubicBezTo>
                    <a:pt x="128" y="40"/>
                    <a:pt x="127" y="39"/>
                    <a:pt x="127" y="38"/>
                  </a:cubicBezTo>
                  <a:cubicBezTo>
                    <a:pt x="126" y="38"/>
                    <a:pt x="126" y="38"/>
                    <a:pt x="126" y="38"/>
                  </a:cubicBezTo>
                  <a:cubicBezTo>
                    <a:pt x="125" y="36"/>
                    <a:pt x="123" y="33"/>
                    <a:pt x="122" y="30"/>
                  </a:cubicBezTo>
                  <a:cubicBezTo>
                    <a:pt x="119" y="23"/>
                    <a:pt x="117" y="18"/>
                    <a:pt x="115" y="10"/>
                  </a:cubicBezTo>
                  <a:cubicBezTo>
                    <a:pt x="114" y="2"/>
                    <a:pt x="113" y="1"/>
                    <a:pt x="113" y="1"/>
                  </a:cubicBezTo>
                  <a:cubicBezTo>
                    <a:pt x="113" y="1"/>
                    <a:pt x="112" y="1"/>
                    <a:pt x="109" y="1"/>
                  </a:cubicBezTo>
                  <a:cubicBezTo>
                    <a:pt x="107" y="1"/>
                    <a:pt x="107" y="1"/>
                    <a:pt x="107" y="1"/>
                  </a:cubicBezTo>
                  <a:cubicBezTo>
                    <a:pt x="106" y="1"/>
                    <a:pt x="105" y="1"/>
                    <a:pt x="104" y="1"/>
                  </a:cubicBezTo>
                  <a:cubicBezTo>
                    <a:pt x="103" y="0"/>
                    <a:pt x="103" y="0"/>
                    <a:pt x="101" y="0"/>
                  </a:cubicBezTo>
                  <a:cubicBezTo>
                    <a:pt x="101" y="0"/>
                    <a:pt x="100" y="0"/>
                    <a:pt x="99" y="0"/>
                  </a:cubicBezTo>
                  <a:cubicBezTo>
                    <a:pt x="73" y="1"/>
                    <a:pt x="73" y="1"/>
                    <a:pt x="73" y="1"/>
                  </a:cubicBezTo>
                  <a:cubicBezTo>
                    <a:pt x="72" y="1"/>
                    <a:pt x="71" y="1"/>
                    <a:pt x="69" y="1"/>
                  </a:cubicBezTo>
                  <a:cubicBezTo>
                    <a:pt x="65" y="1"/>
                    <a:pt x="61" y="1"/>
                    <a:pt x="58" y="1"/>
                  </a:cubicBezTo>
                  <a:cubicBezTo>
                    <a:pt x="56" y="1"/>
                    <a:pt x="56" y="1"/>
                    <a:pt x="56" y="1"/>
                  </a:cubicBezTo>
                  <a:cubicBezTo>
                    <a:pt x="54" y="1"/>
                    <a:pt x="52" y="0"/>
                    <a:pt x="49" y="0"/>
                  </a:cubicBezTo>
                  <a:cubicBezTo>
                    <a:pt x="47" y="0"/>
                    <a:pt x="45" y="0"/>
                    <a:pt x="43" y="0"/>
                  </a:cubicBezTo>
                  <a:cubicBezTo>
                    <a:pt x="41" y="0"/>
                    <a:pt x="41" y="0"/>
                    <a:pt x="41" y="0"/>
                  </a:cubicBezTo>
                  <a:cubicBezTo>
                    <a:pt x="41" y="0"/>
                    <a:pt x="41" y="0"/>
                    <a:pt x="41" y="0"/>
                  </a:cubicBezTo>
                  <a:cubicBezTo>
                    <a:pt x="37" y="0"/>
                    <a:pt x="33" y="0"/>
                    <a:pt x="29" y="0"/>
                  </a:cubicBezTo>
                  <a:cubicBezTo>
                    <a:pt x="29" y="0"/>
                    <a:pt x="29"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20"/>
            <p:cNvSpPr/>
            <p:nvPr/>
          </p:nvSpPr>
          <p:spPr bwMode="auto">
            <a:xfrm>
              <a:off x="4892" y="3218"/>
              <a:ext cx="633" cy="544"/>
            </a:xfrm>
            <a:custGeom>
              <a:gdLst>
                <a:gd name="T0" fmla="*/ 163 w 268"/>
                <a:gd name="T1" fmla="*/ 6 h 230"/>
                <a:gd name="T2" fmla="*/ 157 w 268"/>
                <a:gd name="T3" fmla="*/ 16 h 230"/>
                <a:gd name="T4" fmla="*/ 154 w 268"/>
                <a:gd name="T5" fmla="*/ 26 h 230"/>
                <a:gd name="T6" fmla="*/ 155 w 268"/>
                <a:gd name="T7" fmla="*/ 29 h 230"/>
                <a:gd name="T8" fmla="*/ 156 w 268"/>
                <a:gd name="T9" fmla="*/ 39 h 230"/>
                <a:gd name="T10" fmla="*/ 155 w 268"/>
                <a:gd name="T11" fmla="*/ 46 h 230"/>
                <a:gd name="T12" fmla="*/ 154 w 268"/>
                <a:gd name="T13" fmla="*/ 83 h 230"/>
                <a:gd name="T14" fmla="*/ 164 w 268"/>
                <a:gd name="T15" fmla="*/ 93 h 230"/>
                <a:gd name="T16" fmla="*/ 167 w 268"/>
                <a:gd name="T17" fmla="*/ 93 h 230"/>
                <a:gd name="T18" fmla="*/ 177 w 268"/>
                <a:gd name="T19" fmla="*/ 89 h 230"/>
                <a:gd name="T20" fmla="*/ 182 w 268"/>
                <a:gd name="T21" fmla="*/ 124 h 230"/>
                <a:gd name="T22" fmla="*/ 178 w 268"/>
                <a:gd name="T23" fmla="*/ 125 h 230"/>
                <a:gd name="T24" fmla="*/ 173 w 268"/>
                <a:gd name="T25" fmla="*/ 121 h 230"/>
                <a:gd name="T26" fmla="*/ 160 w 268"/>
                <a:gd name="T27" fmla="*/ 121 h 230"/>
                <a:gd name="T28" fmla="*/ 138 w 268"/>
                <a:gd name="T29" fmla="*/ 98 h 230"/>
                <a:gd name="T30" fmla="*/ 123 w 268"/>
                <a:gd name="T31" fmla="*/ 89 h 230"/>
                <a:gd name="T32" fmla="*/ 118 w 268"/>
                <a:gd name="T33" fmla="*/ 80 h 230"/>
                <a:gd name="T34" fmla="*/ 112 w 268"/>
                <a:gd name="T35" fmla="*/ 89 h 230"/>
                <a:gd name="T36" fmla="*/ 85 w 268"/>
                <a:gd name="T37" fmla="*/ 86 h 230"/>
                <a:gd name="T38" fmla="*/ 72 w 268"/>
                <a:gd name="T39" fmla="*/ 72 h 230"/>
                <a:gd name="T40" fmla="*/ 64 w 268"/>
                <a:gd name="T41" fmla="*/ 73 h 230"/>
                <a:gd name="T42" fmla="*/ 52 w 268"/>
                <a:gd name="T43" fmla="*/ 77 h 230"/>
                <a:gd name="T44" fmla="*/ 51 w 268"/>
                <a:gd name="T45" fmla="*/ 69 h 230"/>
                <a:gd name="T46" fmla="*/ 48 w 268"/>
                <a:gd name="T47" fmla="*/ 85 h 230"/>
                <a:gd name="T48" fmla="*/ 45 w 268"/>
                <a:gd name="T49" fmla="*/ 105 h 230"/>
                <a:gd name="T50" fmla="*/ 48 w 268"/>
                <a:gd name="T51" fmla="*/ 114 h 230"/>
                <a:gd name="T52" fmla="*/ 1 w 268"/>
                <a:gd name="T53" fmla="*/ 113 h 230"/>
                <a:gd name="T54" fmla="*/ 0 w 268"/>
                <a:gd name="T55" fmla="*/ 116 h 230"/>
                <a:gd name="T56" fmla="*/ 0 w 268"/>
                <a:gd name="T57" fmla="*/ 185 h 230"/>
                <a:gd name="T58" fmla="*/ 29 w 268"/>
                <a:gd name="T59" fmla="*/ 217 h 230"/>
                <a:gd name="T60" fmla="*/ 32 w 268"/>
                <a:gd name="T61" fmla="*/ 219 h 230"/>
                <a:gd name="T62" fmla="*/ 49 w 268"/>
                <a:gd name="T63" fmla="*/ 216 h 230"/>
                <a:gd name="T64" fmla="*/ 70 w 268"/>
                <a:gd name="T65" fmla="*/ 220 h 230"/>
                <a:gd name="T66" fmla="*/ 75 w 268"/>
                <a:gd name="T67" fmla="*/ 223 h 230"/>
                <a:gd name="T68" fmla="*/ 103 w 268"/>
                <a:gd name="T69" fmla="*/ 230 h 230"/>
                <a:gd name="T70" fmla="*/ 108 w 268"/>
                <a:gd name="T71" fmla="*/ 230 h 230"/>
                <a:gd name="T72" fmla="*/ 115 w 268"/>
                <a:gd name="T73" fmla="*/ 226 h 230"/>
                <a:gd name="T74" fmla="*/ 123 w 268"/>
                <a:gd name="T75" fmla="*/ 217 h 230"/>
                <a:gd name="T76" fmla="*/ 126 w 268"/>
                <a:gd name="T77" fmla="*/ 214 h 230"/>
                <a:gd name="T78" fmla="*/ 133 w 268"/>
                <a:gd name="T79" fmla="*/ 205 h 230"/>
                <a:gd name="T80" fmla="*/ 145 w 268"/>
                <a:gd name="T81" fmla="*/ 199 h 230"/>
                <a:gd name="T82" fmla="*/ 155 w 268"/>
                <a:gd name="T83" fmla="*/ 189 h 230"/>
                <a:gd name="T84" fmla="*/ 158 w 268"/>
                <a:gd name="T85" fmla="*/ 181 h 230"/>
                <a:gd name="T86" fmla="*/ 180 w 268"/>
                <a:gd name="T87" fmla="*/ 171 h 230"/>
                <a:gd name="T88" fmla="*/ 191 w 268"/>
                <a:gd name="T89" fmla="*/ 172 h 230"/>
                <a:gd name="T90" fmla="*/ 188 w 268"/>
                <a:gd name="T91" fmla="*/ 158 h 230"/>
                <a:gd name="T92" fmla="*/ 251 w 268"/>
                <a:gd name="T93" fmla="*/ 134 h 230"/>
                <a:gd name="T94" fmla="*/ 246 w 268"/>
                <a:gd name="T95" fmla="*/ 126 h 230"/>
                <a:gd name="T96" fmla="*/ 250 w 268"/>
                <a:gd name="T97" fmla="*/ 120 h 230"/>
                <a:gd name="T98" fmla="*/ 254 w 268"/>
                <a:gd name="T99" fmla="*/ 103 h 230"/>
                <a:gd name="T100" fmla="*/ 257 w 268"/>
                <a:gd name="T101" fmla="*/ 98 h 230"/>
                <a:gd name="T102" fmla="*/ 260 w 268"/>
                <a:gd name="T103" fmla="*/ 98 h 230"/>
                <a:gd name="T104" fmla="*/ 259 w 268"/>
                <a:gd name="T105" fmla="*/ 84 h 230"/>
                <a:gd name="T106" fmla="*/ 259 w 268"/>
                <a:gd name="T107" fmla="*/ 71 h 230"/>
                <a:gd name="T108" fmla="*/ 260 w 268"/>
                <a:gd name="T109" fmla="*/ 63 h 230"/>
                <a:gd name="T110" fmla="*/ 261 w 268"/>
                <a:gd name="T111" fmla="*/ 57 h 230"/>
                <a:gd name="T112" fmla="*/ 268 w 268"/>
                <a:gd name="T113" fmla="*/ 52 h 230"/>
                <a:gd name="T114" fmla="*/ 252 w 268"/>
                <a:gd name="T115" fmla="*/ 27 h 230"/>
                <a:gd name="T116" fmla="*/ 229 w 268"/>
                <a:gd name="T117" fmla="*/ 19 h 230"/>
                <a:gd name="T118" fmla="*/ 223 w 268"/>
                <a:gd name="T119" fmla="*/ 15 h 230"/>
                <a:gd name="T120" fmla="*/ 211 w 268"/>
                <a:gd name="T121" fmla="*/ 11 h 230"/>
                <a:gd name="T122" fmla="*/ 200 w 268"/>
                <a:gd name="T123" fmla="*/ 4 h 2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8" h="230">
                  <a:moveTo>
                    <a:pt x="197" y="0"/>
                  </a:moveTo>
                  <a:cubicBezTo>
                    <a:pt x="189" y="2"/>
                    <a:pt x="189" y="2"/>
                    <a:pt x="189" y="2"/>
                  </a:cubicBezTo>
                  <a:cubicBezTo>
                    <a:pt x="181" y="3"/>
                    <a:pt x="172" y="4"/>
                    <a:pt x="163" y="6"/>
                  </a:cubicBezTo>
                  <a:cubicBezTo>
                    <a:pt x="163" y="6"/>
                    <a:pt x="163" y="6"/>
                    <a:pt x="163" y="6"/>
                  </a:cubicBezTo>
                  <a:cubicBezTo>
                    <a:pt x="163" y="6"/>
                    <a:pt x="163" y="7"/>
                    <a:pt x="163" y="8"/>
                  </a:cubicBezTo>
                  <a:cubicBezTo>
                    <a:pt x="163" y="10"/>
                    <a:pt x="161" y="12"/>
                    <a:pt x="159" y="14"/>
                  </a:cubicBezTo>
                  <a:cubicBezTo>
                    <a:pt x="159" y="15"/>
                    <a:pt x="159" y="15"/>
                    <a:pt x="159" y="15"/>
                  </a:cubicBezTo>
                  <a:cubicBezTo>
                    <a:pt x="158" y="15"/>
                    <a:pt x="158" y="15"/>
                    <a:pt x="157" y="16"/>
                  </a:cubicBezTo>
                  <a:cubicBezTo>
                    <a:pt x="155" y="18"/>
                    <a:pt x="153" y="20"/>
                    <a:pt x="151" y="21"/>
                  </a:cubicBezTo>
                  <a:cubicBezTo>
                    <a:pt x="152" y="22"/>
                    <a:pt x="152" y="22"/>
                    <a:pt x="152" y="22"/>
                  </a:cubicBezTo>
                  <a:cubicBezTo>
                    <a:pt x="155" y="25"/>
                    <a:pt x="155" y="25"/>
                    <a:pt x="155" y="25"/>
                  </a:cubicBezTo>
                  <a:cubicBezTo>
                    <a:pt x="154" y="26"/>
                    <a:pt x="154" y="26"/>
                    <a:pt x="154" y="26"/>
                  </a:cubicBezTo>
                  <a:cubicBezTo>
                    <a:pt x="154" y="26"/>
                    <a:pt x="154" y="26"/>
                    <a:pt x="154" y="26"/>
                  </a:cubicBezTo>
                  <a:cubicBezTo>
                    <a:pt x="154" y="27"/>
                    <a:pt x="154" y="27"/>
                    <a:pt x="154" y="27"/>
                  </a:cubicBezTo>
                  <a:cubicBezTo>
                    <a:pt x="154" y="27"/>
                    <a:pt x="154" y="27"/>
                    <a:pt x="154" y="27"/>
                  </a:cubicBezTo>
                  <a:cubicBezTo>
                    <a:pt x="154" y="28"/>
                    <a:pt x="155" y="28"/>
                    <a:pt x="155" y="29"/>
                  </a:cubicBezTo>
                  <a:cubicBezTo>
                    <a:pt x="155" y="30"/>
                    <a:pt x="155" y="30"/>
                    <a:pt x="155" y="30"/>
                  </a:cubicBezTo>
                  <a:cubicBezTo>
                    <a:pt x="156" y="32"/>
                    <a:pt x="157" y="33"/>
                    <a:pt x="156" y="36"/>
                  </a:cubicBezTo>
                  <a:cubicBezTo>
                    <a:pt x="156" y="36"/>
                    <a:pt x="156" y="37"/>
                    <a:pt x="156" y="38"/>
                  </a:cubicBezTo>
                  <a:cubicBezTo>
                    <a:pt x="156" y="39"/>
                    <a:pt x="156" y="39"/>
                    <a:pt x="156" y="39"/>
                  </a:cubicBezTo>
                  <a:cubicBezTo>
                    <a:pt x="156" y="40"/>
                    <a:pt x="156" y="41"/>
                    <a:pt x="155" y="42"/>
                  </a:cubicBezTo>
                  <a:cubicBezTo>
                    <a:pt x="155" y="44"/>
                    <a:pt x="155" y="44"/>
                    <a:pt x="155" y="44"/>
                  </a:cubicBezTo>
                  <a:cubicBezTo>
                    <a:pt x="155" y="45"/>
                    <a:pt x="155" y="45"/>
                    <a:pt x="155" y="45"/>
                  </a:cubicBezTo>
                  <a:cubicBezTo>
                    <a:pt x="155" y="46"/>
                    <a:pt x="155" y="46"/>
                    <a:pt x="155" y="46"/>
                  </a:cubicBezTo>
                  <a:cubicBezTo>
                    <a:pt x="156" y="50"/>
                    <a:pt x="155" y="54"/>
                    <a:pt x="154" y="59"/>
                  </a:cubicBezTo>
                  <a:cubicBezTo>
                    <a:pt x="154" y="61"/>
                    <a:pt x="153" y="62"/>
                    <a:pt x="152" y="64"/>
                  </a:cubicBezTo>
                  <a:cubicBezTo>
                    <a:pt x="151" y="69"/>
                    <a:pt x="149" y="74"/>
                    <a:pt x="151" y="79"/>
                  </a:cubicBezTo>
                  <a:cubicBezTo>
                    <a:pt x="152" y="81"/>
                    <a:pt x="152" y="81"/>
                    <a:pt x="154" y="83"/>
                  </a:cubicBezTo>
                  <a:cubicBezTo>
                    <a:pt x="157" y="85"/>
                    <a:pt x="160" y="87"/>
                    <a:pt x="162" y="90"/>
                  </a:cubicBezTo>
                  <a:cubicBezTo>
                    <a:pt x="163" y="91"/>
                    <a:pt x="163" y="91"/>
                    <a:pt x="163" y="92"/>
                  </a:cubicBezTo>
                  <a:cubicBezTo>
                    <a:pt x="164" y="93"/>
                    <a:pt x="164" y="93"/>
                    <a:pt x="164" y="93"/>
                  </a:cubicBezTo>
                  <a:cubicBezTo>
                    <a:pt x="164" y="93"/>
                    <a:pt x="164" y="93"/>
                    <a:pt x="164" y="93"/>
                  </a:cubicBezTo>
                  <a:cubicBezTo>
                    <a:pt x="165" y="93"/>
                    <a:pt x="165" y="93"/>
                    <a:pt x="165" y="93"/>
                  </a:cubicBezTo>
                  <a:cubicBezTo>
                    <a:pt x="165" y="93"/>
                    <a:pt x="165" y="93"/>
                    <a:pt x="165" y="93"/>
                  </a:cubicBezTo>
                  <a:cubicBezTo>
                    <a:pt x="165" y="93"/>
                    <a:pt x="166" y="93"/>
                    <a:pt x="166" y="93"/>
                  </a:cubicBezTo>
                  <a:cubicBezTo>
                    <a:pt x="167" y="93"/>
                    <a:pt x="167" y="93"/>
                    <a:pt x="167" y="93"/>
                  </a:cubicBezTo>
                  <a:cubicBezTo>
                    <a:pt x="168" y="93"/>
                    <a:pt x="169" y="94"/>
                    <a:pt x="169" y="94"/>
                  </a:cubicBezTo>
                  <a:cubicBezTo>
                    <a:pt x="170" y="94"/>
                    <a:pt x="170" y="94"/>
                    <a:pt x="170" y="94"/>
                  </a:cubicBezTo>
                  <a:cubicBezTo>
                    <a:pt x="170" y="93"/>
                    <a:pt x="170" y="92"/>
                    <a:pt x="171" y="91"/>
                  </a:cubicBezTo>
                  <a:cubicBezTo>
                    <a:pt x="173" y="89"/>
                    <a:pt x="175" y="89"/>
                    <a:pt x="177" y="89"/>
                  </a:cubicBezTo>
                  <a:cubicBezTo>
                    <a:pt x="178" y="89"/>
                    <a:pt x="179" y="89"/>
                    <a:pt x="179" y="88"/>
                  </a:cubicBezTo>
                  <a:cubicBezTo>
                    <a:pt x="183" y="86"/>
                    <a:pt x="183" y="86"/>
                    <a:pt x="183" y="86"/>
                  </a:cubicBezTo>
                  <a:cubicBezTo>
                    <a:pt x="184" y="123"/>
                    <a:pt x="184" y="123"/>
                    <a:pt x="184" y="123"/>
                  </a:cubicBezTo>
                  <a:cubicBezTo>
                    <a:pt x="182" y="124"/>
                    <a:pt x="182" y="124"/>
                    <a:pt x="182" y="124"/>
                  </a:cubicBezTo>
                  <a:cubicBezTo>
                    <a:pt x="181" y="125"/>
                    <a:pt x="181" y="125"/>
                    <a:pt x="180" y="125"/>
                  </a:cubicBezTo>
                  <a:cubicBezTo>
                    <a:pt x="179" y="125"/>
                    <a:pt x="179" y="125"/>
                    <a:pt x="179" y="125"/>
                  </a:cubicBezTo>
                  <a:cubicBezTo>
                    <a:pt x="179" y="125"/>
                    <a:pt x="178" y="125"/>
                    <a:pt x="178" y="125"/>
                  </a:cubicBezTo>
                  <a:cubicBezTo>
                    <a:pt x="178" y="125"/>
                    <a:pt x="178" y="125"/>
                    <a:pt x="178" y="125"/>
                  </a:cubicBezTo>
                  <a:cubicBezTo>
                    <a:pt x="177" y="124"/>
                    <a:pt x="177" y="124"/>
                    <a:pt x="176" y="124"/>
                  </a:cubicBezTo>
                  <a:cubicBezTo>
                    <a:pt x="175" y="124"/>
                    <a:pt x="174" y="123"/>
                    <a:pt x="174" y="121"/>
                  </a:cubicBezTo>
                  <a:cubicBezTo>
                    <a:pt x="174" y="120"/>
                    <a:pt x="174" y="120"/>
                    <a:pt x="174" y="120"/>
                  </a:cubicBezTo>
                  <a:cubicBezTo>
                    <a:pt x="173" y="121"/>
                    <a:pt x="173" y="121"/>
                    <a:pt x="173" y="121"/>
                  </a:cubicBezTo>
                  <a:cubicBezTo>
                    <a:pt x="172" y="121"/>
                    <a:pt x="172" y="122"/>
                    <a:pt x="171" y="122"/>
                  </a:cubicBezTo>
                  <a:cubicBezTo>
                    <a:pt x="171" y="122"/>
                    <a:pt x="171" y="122"/>
                    <a:pt x="170" y="122"/>
                  </a:cubicBezTo>
                  <a:cubicBezTo>
                    <a:pt x="169" y="123"/>
                    <a:pt x="167" y="124"/>
                    <a:pt x="165" y="124"/>
                  </a:cubicBezTo>
                  <a:cubicBezTo>
                    <a:pt x="164" y="124"/>
                    <a:pt x="162" y="123"/>
                    <a:pt x="160" y="121"/>
                  </a:cubicBezTo>
                  <a:cubicBezTo>
                    <a:pt x="145" y="100"/>
                    <a:pt x="145" y="100"/>
                    <a:pt x="145" y="100"/>
                  </a:cubicBezTo>
                  <a:cubicBezTo>
                    <a:pt x="145" y="100"/>
                    <a:pt x="144" y="100"/>
                    <a:pt x="143" y="100"/>
                  </a:cubicBezTo>
                  <a:cubicBezTo>
                    <a:pt x="142" y="100"/>
                    <a:pt x="142" y="100"/>
                    <a:pt x="142" y="100"/>
                  </a:cubicBezTo>
                  <a:cubicBezTo>
                    <a:pt x="141" y="99"/>
                    <a:pt x="139" y="98"/>
                    <a:pt x="138" y="98"/>
                  </a:cubicBezTo>
                  <a:cubicBezTo>
                    <a:pt x="137" y="97"/>
                    <a:pt x="135" y="96"/>
                    <a:pt x="134" y="96"/>
                  </a:cubicBezTo>
                  <a:cubicBezTo>
                    <a:pt x="134" y="96"/>
                    <a:pt x="133" y="96"/>
                    <a:pt x="132" y="96"/>
                  </a:cubicBezTo>
                  <a:cubicBezTo>
                    <a:pt x="131" y="96"/>
                    <a:pt x="130" y="96"/>
                    <a:pt x="129" y="96"/>
                  </a:cubicBezTo>
                  <a:cubicBezTo>
                    <a:pt x="126" y="95"/>
                    <a:pt x="124" y="92"/>
                    <a:pt x="123" y="89"/>
                  </a:cubicBezTo>
                  <a:cubicBezTo>
                    <a:pt x="123" y="88"/>
                    <a:pt x="123" y="88"/>
                    <a:pt x="123" y="88"/>
                  </a:cubicBezTo>
                  <a:cubicBezTo>
                    <a:pt x="122" y="88"/>
                    <a:pt x="122" y="87"/>
                    <a:pt x="122" y="87"/>
                  </a:cubicBezTo>
                  <a:cubicBezTo>
                    <a:pt x="122" y="86"/>
                    <a:pt x="121" y="86"/>
                    <a:pt x="121" y="85"/>
                  </a:cubicBezTo>
                  <a:cubicBezTo>
                    <a:pt x="119" y="82"/>
                    <a:pt x="118" y="81"/>
                    <a:pt x="118" y="80"/>
                  </a:cubicBezTo>
                  <a:cubicBezTo>
                    <a:pt x="118" y="81"/>
                    <a:pt x="118" y="81"/>
                    <a:pt x="118" y="81"/>
                  </a:cubicBezTo>
                  <a:cubicBezTo>
                    <a:pt x="117" y="83"/>
                    <a:pt x="117" y="83"/>
                    <a:pt x="117" y="83"/>
                  </a:cubicBezTo>
                  <a:cubicBezTo>
                    <a:pt x="117" y="84"/>
                    <a:pt x="117" y="87"/>
                    <a:pt x="115" y="88"/>
                  </a:cubicBezTo>
                  <a:cubicBezTo>
                    <a:pt x="114" y="89"/>
                    <a:pt x="113" y="89"/>
                    <a:pt x="112" y="89"/>
                  </a:cubicBezTo>
                  <a:cubicBezTo>
                    <a:pt x="112" y="89"/>
                    <a:pt x="111" y="89"/>
                    <a:pt x="111" y="89"/>
                  </a:cubicBezTo>
                  <a:cubicBezTo>
                    <a:pt x="87" y="86"/>
                    <a:pt x="87" y="86"/>
                    <a:pt x="87" y="86"/>
                  </a:cubicBezTo>
                  <a:cubicBezTo>
                    <a:pt x="87" y="86"/>
                    <a:pt x="86" y="86"/>
                    <a:pt x="86" y="86"/>
                  </a:cubicBezTo>
                  <a:cubicBezTo>
                    <a:pt x="85" y="86"/>
                    <a:pt x="85" y="86"/>
                    <a:pt x="85" y="86"/>
                  </a:cubicBezTo>
                  <a:cubicBezTo>
                    <a:pt x="83" y="86"/>
                    <a:pt x="80" y="85"/>
                    <a:pt x="78" y="84"/>
                  </a:cubicBezTo>
                  <a:cubicBezTo>
                    <a:pt x="77" y="84"/>
                    <a:pt x="77" y="83"/>
                    <a:pt x="76" y="82"/>
                  </a:cubicBezTo>
                  <a:cubicBezTo>
                    <a:pt x="75" y="81"/>
                    <a:pt x="75" y="81"/>
                    <a:pt x="74" y="80"/>
                  </a:cubicBezTo>
                  <a:cubicBezTo>
                    <a:pt x="72" y="77"/>
                    <a:pt x="72" y="75"/>
                    <a:pt x="72" y="72"/>
                  </a:cubicBezTo>
                  <a:cubicBezTo>
                    <a:pt x="71" y="72"/>
                    <a:pt x="70" y="72"/>
                    <a:pt x="69" y="73"/>
                  </a:cubicBezTo>
                  <a:cubicBezTo>
                    <a:pt x="68" y="73"/>
                    <a:pt x="68" y="73"/>
                    <a:pt x="68" y="73"/>
                  </a:cubicBezTo>
                  <a:cubicBezTo>
                    <a:pt x="67" y="73"/>
                    <a:pt x="66" y="73"/>
                    <a:pt x="65" y="73"/>
                  </a:cubicBezTo>
                  <a:cubicBezTo>
                    <a:pt x="65" y="73"/>
                    <a:pt x="65" y="73"/>
                    <a:pt x="64" y="73"/>
                  </a:cubicBezTo>
                  <a:cubicBezTo>
                    <a:pt x="63" y="74"/>
                    <a:pt x="63" y="74"/>
                    <a:pt x="62" y="75"/>
                  </a:cubicBezTo>
                  <a:cubicBezTo>
                    <a:pt x="60" y="75"/>
                    <a:pt x="60" y="75"/>
                    <a:pt x="60" y="75"/>
                  </a:cubicBezTo>
                  <a:cubicBezTo>
                    <a:pt x="60" y="76"/>
                    <a:pt x="56" y="77"/>
                    <a:pt x="54" y="77"/>
                  </a:cubicBezTo>
                  <a:cubicBezTo>
                    <a:pt x="53" y="77"/>
                    <a:pt x="52" y="77"/>
                    <a:pt x="52" y="77"/>
                  </a:cubicBezTo>
                  <a:cubicBezTo>
                    <a:pt x="50" y="76"/>
                    <a:pt x="49" y="75"/>
                    <a:pt x="48" y="73"/>
                  </a:cubicBezTo>
                  <a:cubicBezTo>
                    <a:pt x="48" y="71"/>
                    <a:pt x="48" y="71"/>
                    <a:pt x="48" y="71"/>
                  </a:cubicBezTo>
                  <a:cubicBezTo>
                    <a:pt x="50" y="70"/>
                    <a:pt x="50" y="70"/>
                    <a:pt x="50" y="70"/>
                  </a:cubicBezTo>
                  <a:cubicBezTo>
                    <a:pt x="50" y="70"/>
                    <a:pt x="50" y="69"/>
                    <a:pt x="51" y="69"/>
                  </a:cubicBezTo>
                  <a:cubicBezTo>
                    <a:pt x="51" y="69"/>
                    <a:pt x="51" y="69"/>
                    <a:pt x="51" y="69"/>
                  </a:cubicBezTo>
                  <a:cubicBezTo>
                    <a:pt x="50" y="68"/>
                    <a:pt x="48" y="67"/>
                    <a:pt x="47" y="66"/>
                  </a:cubicBezTo>
                  <a:cubicBezTo>
                    <a:pt x="47" y="80"/>
                    <a:pt x="47" y="80"/>
                    <a:pt x="47" y="80"/>
                  </a:cubicBezTo>
                  <a:cubicBezTo>
                    <a:pt x="47" y="81"/>
                    <a:pt x="48" y="83"/>
                    <a:pt x="48" y="85"/>
                  </a:cubicBezTo>
                  <a:cubicBezTo>
                    <a:pt x="48" y="89"/>
                    <a:pt x="49" y="94"/>
                    <a:pt x="48" y="97"/>
                  </a:cubicBezTo>
                  <a:cubicBezTo>
                    <a:pt x="48" y="98"/>
                    <a:pt x="47" y="99"/>
                    <a:pt x="47" y="100"/>
                  </a:cubicBezTo>
                  <a:cubicBezTo>
                    <a:pt x="47" y="100"/>
                    <a:pt x="46" y="101"/>
                    <a:pt x="46" y="102"/>
                  </a:cubicBezTo>
                  <a:cubicBezTo>
                    <a:pt x="46" y="103"/>
                    <a:pt x="45" y="104"/>
                    <a:pt x="45" y="105"/>
                  </a:cubicBezTo>
                  <a:cubicBezTo>
                    <a:pt x="45" y="105"/>
                    <a:pt x="45" y="105"/>
                    <a:pt x="45" y="105"/>
                  </a:cubicBezTo>
                  <a:cubicBezTo>
                    <a:pt x="44" y="106"/>
                    <a:pt x="44" y="106"/>
                    <a:pt x="45" y="107"/>
                  </a:cubicBezTo>
                  <a:cubicBezTo>
                    <a:pt x="46" y="108"/>
                    <a:pt x="46" y="109"/>
                    <a:pt x="47" y="110"/>
                  </a:cubicBezTo>
                  <a:cubicBezTo>
                    <a:pt x="48" y="114"/>
                    <a:pt x="48" y="114"/>
                    <a:pt x="48" y="114"/>
                  </a:cubicBezTo>
                  <a:cubicBezTo>
                    <a:pt x="20" y="114"/>
                    <a:pt x="20" y="114"/>
                    <a:pt x="20" y="114"/>
                  </a:cubicBezTo>
                  <a:cubicBezTo>
                    <a:pt x="19" y="114"/>
                    <a:pt x="17" y="114"/>
                    <a:pt x="15" y="114"/>
                  </a:cubicBezTo>
                  <a:cubicBezTo>
                    <a:pt x="12" y="113"/>
                    <a:pt x="8" y="113"/>
                    <a:pt x="5" y="113"/>
                  </a:cubicBezTo>
                  <a:cubicBezTo>
                    <a:pt x="4" y="113"/>
                    <a:pt x="2" y="113"/>
                    <a:pt x="1" y="113"/>
                  </a:cubicBezTo>
                  <a:cubicBezTo>
                    <a:pt x="0" y="113"/>
                    <a:pt x="0" y="114"/>
                    <a:pt x="0" y="114"/>
                  </a:cubicBezTo>
                  <a:cubicBezTo>
                    <a:pt x="0" y="114"/>
                    <a:pt x="0" y="114"/>
                    <a:pt x="0" y="115"/>
                  </a:cubicBezTo>
                  <a:cubicBezTo>
                    <a:pt x="0" y="115"/>
                    <a:pt x="0" y="115"/>
                    <a:pt x="0" y="115"/>
                  </a:cubicBezTo>
                  <a:cubicBezTo>
                    <a:pt x="0" y="115"/>
                    <a:pt x="0" y="116"/>
                    <a:pt x="0" y="116"/>
                  </a:cubicBezTo>
                  <a:cubicBezTo>
                    <a:pt x="0" y="124"/>
                    <a:pt x="0" y="124"/>
                    <a:pt x="0" y="124"/>
                  </a:cubicBezTo>
                  <a:cubicBezTo>
                    <a:pt x="0" y="176"/>
                    <a:pt x="0" y="176"/>
                    <a:pt x="0" y="176"/>
                  </a:cubicBezTo>
                  <a:cubicBezTo>
                    <a:pt x="0" y="178"/>
                    <a:pt x="0" y="178"/>
                    <a:pt x="0" y="178"/>
                  </a:cubicBezTo>
                  <a:cubicBezTo>
                    <a:pt x="0" y="181"/>
                    <a:pt x="0" y="183"/>
                    <a:pt x="0" y="185"/>
                  </a:cubicBezTo>
                  <a:cubicBezTo>
                    <a:pt x="0" y="187"/>
                    <a:pt x="0" y="187"/>
                    <a:pt x="0" y="187"/>
                  </a:cubicBezTo>
                  <a:cubicBezTo>
                    <a:pt x="1" y="190"/>
                    <a:pt x="2" y="193"/>
                    <a:pt x="4" y="195"/>
                  </a:cubicBezTo>
                  <a:cubicBezTo>
                    <a:pt x="29" y="216"/>
                    <a:pt x="29" y="216"/>
                    <a:pt x="29" y="216"/>
                  </a:cubicBezTo>
                  <a:cubicBezTo>
                    <a:pt x="29" y="217"/>
                    <a:pt x="29" y="217"/>
                    <a:pt x="29" y="217"/>
                  </a:cubicBezTo>
                  <a:cubicBezTo>
                    <a:pt x="30" y="217"/>
                    <a:pt x="30" y="217"/>
                    <a:pt x="30" y="217"/>
                  </a:cubicBezTo>
                  <a:cubicBezTo>
                    <a:pt x="30" y="218"/>
                    <a:pt x="30" y="218"/>
                    <a:pt x="30" y="218"/>
                  </a:cubicBezTo>
                  <a:cubicBezTo>
                    <a:pt x="32" y="219"/>
                    <a:pt x="32" y="219"/>
                    <a:pt x="32" y="219"/>
                  </a:cubicBezTo>
                  <a:cubicBezTo>
                    <a:pt x="32" y="219"/>
                    <a:pt x="32" y="219"/>
                    <a:pt x="32" y="219"/>
                  </a:cubicBezTo>
                  <a:cubicBezTo>
                    <a:pt x="32" y="219"/>
                    <a:pt x="32" y="219"/>
                    <a:pt x="32" y="219"/>
                  </a:cubicBezTo>
                  <a:cubicBezTo>
                    <a:pt x="33" y="219"/>
                    <a:pt x="35" y="219"/>
                    <a:pt x="36" y="218"/>
                  </a:cubicBezTo>
                  <a:cubicBezTo>
                    <a:pt x="37" y="218"/>
                    <a:pt x="37" y="218"/>
                    <a:pt x="37" y="218"/>
                  </a:cubicBezTo>
                  <a:cubicBezTo>
                    <a:pt x="40" y="217"/>
                    <a:pt x="45" y="216"/>
                    <a:pt x="49" y="216"/>
                  </a:cubicBezTo>
                  <a:cubicBezTo>
                    <a:pt x="50" y="216"/>
                    <a:pt x="50" y="216"/>
                    <a:pt x="51" y="216"/>
                  </a:cubicBezTo>
                  <a:cubicBezTo>
                    <a:pt x="52" y="216"/>
                    <a:pt x="53" y="216"/>
                    <a:pt x="54" y="216"/>
                  </a:cubicBezTo>
                  <a:cubicBezTo>
                    <a:pt x="58" y="216"/>
                    <a:pt x="62" y="217"/>
                    <a:pt x="66" y="218"/>
                  </a:cubicBezTo>
                  <a:cubicBezTo>
                    <a:pt x="68" y="218"/>
                    <a:pt x="69" y="219"/>
                    <a:pt x="70" y="220"/>
                  </a:cubicBezTo>
                  <a:cubicBezTo>
                    <a:pt x="71" y="220"/>
                    <a:pt x="71" y="220"/>
                    <a:pt x="71" y="220"/>
                  </a:cubicBezTo>
                  <a:cubicBezTo>
                    <a:pt x="71" y="221"/>
                    <a:pt x="72" y="221"/>
                    <a:pt x="72" y="221"/>
                  </a:cubicBezTo>
                  <a:cubicBezTo>
                    <a:pt x="72" y="221"/>
                    <a:pt x="72" y="221"/>
                    <a:pt x="72" y="221"/>
                  </a:cubicBezTo>
                  <a:cubicBezTo>
                    <a:pt x="75" y="223"/>
                    <a:pt x="75" y="223"/>
                    <a:pt x="75" y="223"/>
                  </a:cubicBezTo>
                  <a:cubicBezTo>
                    <a:pt x="75" y="224"/>
                    <a:pt x="75" y="224"/>
                    <a:pt x="75" y="224"/>
                  </a:cubicBezTo>
                  <a:cubicBezTo>
                    <a:pt x="75" y="224"/>
                    <a:pt x="75" y="224"/>
                    <a:pt x="75" y="224"/>
                  </a:cubicBezTo>
                  <a:cubicBezTo>
                    <a:pt x="101" y="229"/>
                    <a:pt x="101" y="229"/>
                    <a:pt x="101" y="229"/>
                  </a:cubicBezTo>
                  <a:cubicBezTo>
                    <a:pt x="102" y="229"/>
                    <a:pt x="102" y="229"/>
                    <a:pt x="103" y="230"/>
                  </a:cubicBezTo>
                  <a:cubicBezTo>
                    <a:pt x="104" y="230"/>
                    <a:pt x="105" y="230"/>
                    <a:pt x="105" y="230"/>
                  </a:cubicBezTo>
                  <a:cubicBezTo>
                    <a:pt x="106" y="230"/>
                    <a:pt x="106" y="230"/>
                    <a:pt x="106" y="230"/>
                  </a:cubicBezTo>
                  <a:cubicBezTo>
                    <a:pt x="105" y="225"/>
                    <a:pt x="105" y="225"/>
                    <a:pt x="105" y="225"/>
                  </a:cubicBezTo>
                  <a:cubicBezTo>
                    <a:pt x="108" y="230"/>
                    <a:pt x="108" y="230"/>
                    <a:pt x="108" y="230"/>
                  </a:cubicBezTo>
                  <a:cubicBezTo>
                    <a:pt x="108" y="230"/>
                    <a:pt x="108" y="230"/>
                    <a:pt x="108" y="230"/>
                  </a:cubicBezTo>
                  <a:cubicBezTo>
                    <a:pt x="109" y="229"/>
                    <a:pt x="109" y="229"/>
                    <a:pt x="110" y="229"/>
                  </a:cubicBezTo>
                  <a:cubicBezTo>
                    <a:pt x="111" y="229"/>
                    <a:pt x="111" y="229"/>
                    <a:pt x="112" y="229"/>
                  </a:cubicBezTo>
                  <a:cubicBezTo>
                    <a:pt x="113" y="228"/>
                    <a:pt x="114" y="227"/>
                    <a:pt x="115" y="226"/>
                  </a:cubicBezTo>
                  <a:cubicBezTo>
                    <a:pt x="115" y="226"/>
                    <a:pt x="115" y="225"/>
                    <a:pt x="116" y="225"/>
                  </a:cubicBezTo>
                  <a:cubicBezTo>
                    <a:pt x="116" y="224"/>
                    <a:pt x="117" y="223"/>
                    <a:pt x="118" y="222"/>
                  </a:cubicBezTo>
                  <a:cubicBezTo>
                    <a:pt x="118" y="222"/>
                    <a:pt x="118" y="222"/>
                    <a:pt x="118" y="222"/>
                  </a:cubicBezTo>
                  <a:cubicBezTo>
                    <a:pt x="120" y="220"/>
                    <a:pt x="121" y="219"/>
                    <a:pt x="123" y="217"/>
                  </a:cubicBezTo>
                  <a:cubicBezTo>
                    <a:pt x="123" y="217"/>
                    <a:pt x="123" y="217"/>
                    <a:pt x="123" y="217"/>
                  </a:cubicBezTo>
                  <a:cubicBezTo>
                    <a:pt x="124" y="216"/>
                    <a:pt x="124" y="216"/>
                    <a:pt x="124" y="216"/>
                  </a:cubicBezTo>
                  <a:cubicBezTo>
                    <a:pt x="124" y="216"/>
                    <a:pt x="125" y="215"/>
                    <a:pt x="125" y="215"/>
                  </a:cubicBezTo>
                  <a:cubicBezTo>
                    <a:pt x="126" y="214"/>
                    <a:pt x="126" y="214"/>
                    <a:pt x="126" y="214"/>
                  </a:cubicBezTo>
                  <a:cubicBezTo>
                    <a:pt x="126" y="214"/>
                    <a:pt x="126" y="213"/>
                    <a:pt x="127" y="212"/>
                  </a:cubicBezTo>
                  <a:cubicBezTo>
                    <a:pt x="127" y="212"/>
                    <a:pt x="127" y="212"/>
                    <a:pt x="127" y="212"/>
                  </a:cubicBezTo>
                  <a:cubicBezTo>
                    <a:pt x="127" y="211"/>
                    <a:pt x="128" y="211"/>
                    <a:pt x="128" y="210"/>
                  </a:cubicBezTo>
                  <a:cubicBezTo>
                    <a:pt x="129" y="208"/>
                    <a:pt x="131" y="206"/>
                    <a:pt x="133" y="205"/>
                  </a:cubicBezTo>
                  <a:cubicBezTo>
                    <a:pt x="134" y="204"/>
                    <a:pt x="136" y="202"/>
                    <a:pt x="138" y="201"/>
                  </a:cubicBezTo>
                  <a:cubicBezTo>
                    <a:pt x="140" y="200"/>
                    <a:pt x="140" y="200"/>
                    <a:pt x="140" y="200"/>
                  </a:cubicBezTo>
                  <a:cubicBezTo>
                    <a:pt x="141" y="200"/>
                    <a:pt x="141" y="200"/>
                    <a:pt x="141" y="200"/>
                  </a:cubicBezTo>
                  <a:cubicBezTo>
                    <a:pt x="142" y="200"/>
                    <a:pt x="143" y="199"/>
                    <a:pt x="145" y="199"/>
                  </a:cubicBezTo>
                  <a:cubicBezTo>
                    <a:pt x="145" y="198"/>
                    <a:pt x="145" y="198"/>
                    <a:pt x="145" y="198"/>
                  </a:cubicBezTo>
                  <a:cubicBezTo>
                    <a:pt x="150" y="197"/>
                    <a:pt x="155" y="195"/>
                    <a:pt x="155" y="191"/>
                  </a:cubicBezTo>
                  <a:cubicBezTo>
                    <a:pt x="155" y="190"/>
                    <a:pt x="155" y="190"/>
                    <a:pt x="155" y="190"/>
                  </a:cubicBezTo>
                  <a:cubicBezTo>
                    <a:pt x="155" y="189"/>
                    <a:pt x="155" y="189"/>
                    <a:pt x="155" y="189"/>
                  </a:cubicBezTo>
                  <a:cubicBezTo>
                    <a:pt x="155" y="188"/>
                    <a:pt x="155" y="188"/>
                    <a:pt x="155" y="187"/>
                  </a:cubicBezTo>
                  <a:cubicBezTo>
                    <a:pt x="156" y="186"/>
                    <a:pt x="156" y="186"/>
                    <a:pt x="156" y="186"/>
                  </a:cubicBezTo>
                  <a:cubicBezTo>
                    <a:pt x="156" y="185"/>
                    <a:pt x="157" y="183"/>
                    <a:pt x="158" y="181"/>
                  </a:cubicBezTo>
                  <a:cubicBezTo>
                    <a:pt x="158" y="181"/>
                    <a:pt x="158" y="181"/>
                    <a:pt x="158" y="181"/>
                  </a:cubicBezTo>
                  <a:cubicBezTo>
                    <a:pt x="159" y="180"/>
                    <a:pt x="159" y="180"/>
                    <a:pt x="159" y="180"/>
                  </a:cubicBezTo>
                  <a:cubicBezTo>
                    <a:pt x="160" y="179"/>
                    <a:pt x="161" y="179"/>
                    <a:pt x="162" y="178"/>
                  </a:cubicBezTo>
                  <a:cubicBezTo>
                    <a:pt x="163" y="177"/>
                    <a:pt x="163" y="177"/>
                    <a:pt x="163" y="177"/>
                  </a:cubicBezTo>
                  <a:cubicBezTo>
                    <a:pt x="168" y="175"/>
                    <a:pt x="174" y="172"/>
                    <a:pt x="180" y="171"/>
                  </a:cubicBezTo>
                  <a:cubicBezTo>
                    <a:pt x="181" y="171"/>
                    <a:pt x="182" y="171"/>
                    <a:pt x="182" y="171"/>
                  </a:cubicBezTo>
                  <a:cubicBezTo>
                    <a:pt x="183" y="171"/>
                    <a:pt x="183" y="171"/>
                    <a:pt x="184" y="171"/>
                  </a:cubicBezTo>
                  <a:cubicBezTo>
                    <a:pt x="185" y="171"/>
                    <a:pt x="186" y="171"/>
                    <a:pt x="187" y="171"/>
                  </a:cubicBezTo>
                  <a:cubicBezTo>
                    <a:pt x="189" y="171"/>
                    <a:pt x="190" y="172"/>
                    <a:pt x="191" y="172"/>
                  </a:cubicBezTo>
                  <a:cubicBezTo>
                    <a:pt x="191" y="171"/>
                    <a:pt x="191" y="171"/>
                    <a:pt x="191" y="171"/>
                  </a:cubicBezTo>
                  <a:cubicBezTo>
                    <a:pt x="190" y="168"/>
                    <a:pt x="188" y="164"/>
                    <a:pt x="188" y="161"/>
                  </a:cubicBezTo>
                  <a:cubicBezTo>
                    <a:pt x="187" y="160"/>
                    <a:pt x="187" y="160"/>
                    <a:pt x="187" y="159"/>
                  </a:cubicBezTo>
                  <a:cubicBezTo>
                    <a:pt x="187" y="159"/>
                    <a:pt x="187" y="158"/>
                    <a:pt x="188" y="158"/>
                  </a:cubicBezTo>
                  <a:cubicBezTo>
                    <a:pt x="188" y="156"/>
                    <a:pt x="190" y="156"/>
                    <a:pt x="191" y="155"/>
                  </a:cubicBezTo>
                  <a:cubicBezTo>
                    <a:pt x="252" y="135"/>
                    <a:pt x="252" y="135"/>
                    <a:pt x="252" y="135"/>
                  </a:cubicBezTo>
                  <a:cubicBezTo>
                    <a:pt x="252" y="135"/>
                    <a:pt x="252" y="135"/>
                    <a:pt x="252" y="135"/>
                  </a:cubicBezTo>
                  <a:cubicBezTo>
                    <a:pt x="251" y="134"/>
                    <a:pt x="251" y="134"/>
                    <a:pt x="251" y="134"/>
                  </a:cubicBezTo>
                  <a:cubicBezTo>
                    <a:pt x="251" y="133"/>
                    <a:pt x="250" y="133"/>
                    <a:pt x="250" y="132"/>
                  </a:cubicBezTo>
                  <a:cubicBezTo>
                    <a:pt x="248" y="130"/>
                    <a:pt x="248" y="130"/>
                    <a:pt x="248" y="130"/>
                  </a:cubicBezTo>
                  <a:cubicBezTo>
                    <a:pt x="248" y="129"/>
                    <a:pt x="247" y="129"/>
                    <a:pt x="247" y="128"/>
                  </a:cubicBezTo>
                  <a:cubicBezTo>
                    <a:pt x="246" y="127"/>
                    <a:pt x="246" y="126"/>
                    <a:pt x="246" y="126"/>
                  </a:cubicBezTo>
                  <a:cubicBezTo>
                    <a:pt x="246" y="125"/>
                    <a:pt x="246" y="124"/>
                    <a:pt x="247" y="123"/>
                  </a:cubicBezTo>
                  <a:cubicBezTo>
                    <a:pt x="248" y="122"/>
                    <a:pt x="249" y="122"/>
                    <a:pt x="250" y="121"/>
                  </a:cubicBezTo>
                  <a:cubicBezTo>
                    <a:pt x="250" y="121"/>
                    <a:pt x="250" y="121"/>
                    <a:pt x="250" y="121"/>
                  </a:cubicBezTo>
                  <a:cubicBezTo>
                    <a:pt x="250" y="120"/>
                    <a:pt x="250" y="120"/>
                    <a:pt x="250" y="120"/>
                  </a:cubicBezTo>
                  <a:cubicBezTo>
                    <a:pt x="251" y="120"/>
                    <a:pt x="251" y="119"/>
                    <a:pt x="251" y="119"/>
                  </a:cubicBezTo>
                  <a:cubicBezTo>
                    <a:pt x="251" y="118"/>
                    <a:pt x="251" y="118"/>
                    <a:pt x="251" y="118"/>
                  </a:cubicBezTo>
                  <a:cubicBezTo>
                    <a:pt x="252" y="115"/>
                    <a:pt x="253" y="111"/>
                    <a:pt x="253" y="108"/>
                  </a:cubicBezTo>
                  <a:cubicBezTo>
                    <a:pt x="254" y="106"/>
                    <a:pt x="254" y="105"/>
                    <a:pt x="254" y="103"/>
                  </a:cubicBezTo>
                  <a:cubicBezTo>
                    <a:pt x="254" y="102"/>
                    <a:pt x="254" y="102"/>
                    <a:pt x="254" y="102"/>
                  </a:cubicBezTo>
                  <a:cubicBezTo>
                    <a:pt x="254" y="101"/>
                    <a:pt x="254" y="101"/>
                    <a:pt x="255" y="100"/>
                  </a:cubicBezTo>
                  <a:cubicBezTo>
                    <a:pt x="255" y="98"/>
                    <a:pt x="255" y="98"/>
                    <a:pt x="255" y="98"/>
                  </a:cubicBezTo>
                  <a:cubicBezTo>
                    <a:pt x="257" y="98"/>
                    <a:pt x="257" y="98"/>
                    <a:pt x="257" y="98"/>
                  </a:cubicBezTo>
                  <a:cubicBezTo>
                    <a:pt x="257" y="98"/>
                    <a:pt x="258" y="98"/>
                    <a:pt x="258" y="98"/>
                  </a:cubicBezTo>
                  <a:cubicBezTo>
                    <a:pt x="258" y="98"/>
                    <a:pt x="258" y="98"/>
                    <a:pt x="259" y="98"/>
                  </a:cubicBezTo>
                  <a:cubicBezTo>
                    <a:pt x="259" y="98"/>
                    <a:pt x="259" y="98"/>
                    <a:pt x="260" y="98"/>
                  </a:cubicBezTo>
                  <a:cubicBezTo>
                    <a:pt x="260" y="98"/>
                    <a:pt x="260" y="98"/>
                    <a:pt x="260" y="98"/>
                  </a:cubicBezTo>
                  <a:cubicBezTo>
                    <a:pt x="261" y="98"/>
                    <a:pt x="262" y="97"/>
                    <a:pt x="264" y="96"/>
                  </a:cubicBezTo>
                  <a:cubicBezTo>
                    <a:pt x="261" y="94"/>
                    <a:pt x="260" y="92"/>
                    <a:pt x="259" y="88"/>
                  </a:cubicBezTo>
                  <a:cubicBezTo>
                    <a:pt x="259" y="86"/>
                    <a:pt x="259" y="86"/>
                    <a:pt x="259" y="86"/>
                  </a:cubicBezTo>
                  <a:cubicBezTo>
                    <a:pt x="259" y="85"/>
                    <a:pt x="259" y="85"/>
                    <a:pt x="259" y="84"/>
                  </a:cubicBezTo>
                  <a:cubicBezTo>
                    <a:pt x="259" y="83"/>
                    <a:pt x="259" y="83"/>
                    <a:pt x="259" y="83"/>
                  </a:cubicBezTo>
                  <a:cubicBezTo>
                    <a:pt x="259" y="81"/>
                    <a:pt x="259" y="79"/>
                    <a:pt x="259" y="77"/>
                  </a:cubicBezTo>
                  <a:cubicBezTo>
                    <a:pt x="259" y="76"/>
                    <a:pt x="259" y="76"/>
                    <a:pt x="259" y="75"/>
                  </a:cubicBezTo>
                  <a:cubicBezTo>
                    <a:pt x="259" y="74"/>
                    <a:pt x="259" y="72"/>
                    <a:pt x="259" y="71"/>
                  </a:cubicBezTo>
                  <a:cubicBezTo>
                    <a:pt x="260" y="69"/>
                    <a:pt x="260" y="67"/>
                    <a:pt x="260" y="65"/>
                  </a:cubicBezTo>
                  <a:cubicBezTo>
                    <a:pt x="260" y="65"/>
                    <a:pt x="260" y="64"/>
                    <a:pt x="260" y="64"/>
                  </a:cubicBezTo>
                  <a:cubicBezTo>
                    <a:pt x="260" y="63"/>
                    <a:pt x="260" y="63"/>
                    <a:pt x="260" y="63"/>
                  </a:cubicBezTo>
                  <a:cubicBezTo>
                    <a:pt x="260" y="63"/>
                    <a:pt x="260" y="63"/>
                    <a:pt x="260" y="63"/>
                  </a:cubicBezTo>
                  <a:cubicBezTo>
                    <a:pt x="260" y="63"/>
                    <a:pt x="260" y="62"/>
                    <a:pt x="260" y="62"/>
                  </a:cubicBezTo>
                  <a:cubicBezTo>
                    <a:pt x="260" y="61"/>
                    <a:pt x="260" y="61"/>
                    <a:pt x="260" y="61"/>
                  </a:cubicBezTo>
                  <a:cubicBezTo>
                    <a:pt x="260" y="60"/>
                    <a:pt x="260" y="60"/>
                    <a:pt x="260" y="60"/>
                  </a:cubicBezTo>
                  <a:cubicBezTo>
                    <a:pt x="260" y="59"/>
                    <a:pt x="261" y="58"/>
                    <a:pt x="261" y="57"/>
                  </a:cubicBezTo>
                  <a:cubicBezTo>
                    <a:pt x="262" y="57"/>
                    <a:pt x="262" y="57"/>
                    <a:pt x="262" y="57"/>
                  </a:cubicBezTo>
                  <a:cubicBezTo>
                    <a:pt x="263" y="56"/>
                    <a:pt x="263" y="56"/>
                    <a:pt x="263" y="56"/>
                  </a:cubicBezTo>
                  <a:cubicBezTo>
                    <a:pt x="268" y="52"/>
                    <a:pt x="268" y="52"/>
                    <a:pt x="268" y="52"/>
                  </a:cubicBezTo>
                  <a:cubicBezTo>
                    <a:pt x="268" y="52"/>
                    <a:pt x="268" y="52"/>
                    <a:pt x="268" y="52"/>
                  </a:cubicBezTo>
                  <a:cubicBezTo>
                    <a:pt x="264" y="48"/>
                    <a:pt x="261" y="44"/>
                    <a:pt x="261" y="38"/>
                  </a:cubicBezTo>
                  <a:cubicBezTo>
                    <a:pt x="261" y="36"/>
                    <a:pt x="260" y="35"/>
                    <a:pt x="260" y="34"/>
                  </a:cubicBezTo>
                  <a:cubicBezTo>
                    <a:pt x="259" y="32"/>
                    <a:pt x="256" y="30"/>
                    <a:pt x="253" y="27"/>
                  </a:cubicBezTo>
                  <a:cubicBezTo>
                    <a:pt x="252" y="27"/>
                    <a:pt x="252" y="27"/>
                    <a:pt x="252" y="27"/>
                  </a:cubicBezTo>
                  <a:cubicBezTo>
                    <a:pt x="250" y="26"/>
                    <a:pt x="247" y="25"/>
                    <a:pt x="244" y="24"/>
                  </a:cubicBezTo>
                  <a:cubicBezTo>
                    <a:pt x="244" y="24"/>
                    <a:pt x="244" y="24"/>
                    <a:pt x="244" y="24"/>
                  </a:cubicBezTo>
                  <a:cubicBezTo>
                    <a:pt x="239" y="23"/>
                    <a:pt x="234" y="21"/>
                    <a:pt x="230" y="19"/>
                  </a:cubicBezTo>
                  <a:cubicBezTo>
                    <a:pt x="229" y="19"/>
                    <a:pt x="229" y="19"/>
                    <a:pt x="229" y="19"/>
                  </a:cubicBezTo>
                  <a:cubicBezTo>
                    <a:pt x="228" y="18"/>
                    <a:pt x="228" y="18"/>
                    <a:pt x="228" y="18"/>
                  </a:cubicBezTo>
                  <a:cubicBezTo>
                    <a:pt x="227" y="17"/>
                    <a:pt x="227" y="17"/>
                    <a:pt x="227" y="17"/>
                  </a:cubicBezTo>
                  <a:cubicBezTo>
                    <a:pt x="227" y="17"/>
                    <a:pt x="227" y="17"/>
                    <a:pt x="227" y="17"/>
                  </a:cubicBezTo>
                  <a:cubicBezTo>
                    <a:pt x="226" y="17"/>
                    <a:pt x="224" y="16"/>
                    <a:pt x="223" y="15"/>
                  </a:cubicBezTo>
                  <a:cubicBezTo>
                    <a:pt x="221" y="14"/>
                    <a:pt x="219" y="13"/>
                    <a:pt x="217" y="12"/>
                  </a:cubicBezTo>
                  <a:cubicBezTo>
                    <a:pt x="217" y="12"/>
                    <a:pt x="217" y="12"/>
                    <a:pt x="217" y="12"/>
                  </a:cubicBezTo>
                  <a:cubicBezTo>
                    <a:pt x="216" y="11"/>
                    <a:pt x="214" y="11"/>
                    <a:pt x="212" y="11"/>
                  </a:cubicBezTo>
                  <a:cubicBezTo>
                    <a:pt x="211" y="11"/>
                    <a:pt x="211" y="11"/>
                    <a:pt x="211" y="11"/>
                  </a:cubicBezTo>
                  <a:cubicBezTo>
                    <a:pt x="211" y="10"/>
                    <a:pt x="211" y="10"/>
                    <a:pt x="211" y="10"/>
                  </a:cubicBezTo>
                  <a:cubicBezTo>
                    <a:pt x="211" y="11"/>
                    <a:pt x="211" y="11"/>
                    <a:pt x="211" y="11"/>
                  </a:cubicBezTo>
                  <a:cubicBezTo>
                    <a:pt x="211" y="11"/>
                    <a:pt x="210" y="11"/>
                    <a:pt x="210" y="11"/>
                  </a:cubicBezTo>
                  <a:cubicBezTo>
                    <a:pt x="207" y="11"/>
                    <a:pt x="204" y="6"/>
                    <a:pt x="200" y="4"/>
                  </a:cubicBezTo>
                  <a:cubicBezTo>
                    <a:pt x="200" y="4"/>
                    <a:pt x="200" y="6"/>
                    <a:pt x="199" y="6"/>
                  </a:cubicBezTo>
                  <a:cubicBezTo>
                    <a:pt x="199" y="6"/>
                    <a:pt x="199" y="6"/>
                    <a:pt x="198" y="6"/>
                  </a:cubicBezTo>
                  <a:cubicBezTo>
                    <a:pt x="195" y="5"/>
                    <a:pt x="196" y="3"/>
                    <a:pt x="1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221"/>
            <p:cNvSpPr/>
            <p:nvPr/>
          </p:nvSpPr>
          <p:spPr bwMode="auto">
            <a:xfrm>
              <a:off x="5081" y="3637"/>
              <a:ext cx="411" cy="376"/>
            </a:xfrm>
            <a:custGeom>
              <a:gdLst>
                <a:gd name="T0" fmla="*/ 86 w 174"/>
                <a:gd name="T1" fmla="*/ 6 h 159"/>
                <a:gd name="T2" fmla="*/ 81 w 174"/>
                <a:gd name="T3" fmla="*/ 12 h 159"/>
                <a:gd name="T4" fmla="*/ 81 w 174"/>
                <a:gd name="T5" fmla="*/ 15 h 159"/>
                <a:gd name="T6" fmla="*/ 63 w 174"/>
                <a:gd name="T7" fmla="*/ 29 h 159"/>
                <a:gd name="T8" fmla="*/ 56 w 174"/>
                <a:gd name="T9" fmla="*/ 32 h 159"/>
                <a:gd name="T10" fmla="*/ 52 w 174"/>
                <a:gd name="T11" fmla="*/ 38 h 159"/>
                <a:gd name="T12" fmla="*/ 48 w 174"/>
                <a:gd name="T13" fmla="*/ 43 h 159"/>
                <a:gd name="T14" fmla="*/ 40 w 174"/>
                <a:gd name="T15" fmla="*/ 52 h 159"/>
                <a:gd name="T16" fmla="*/ 31 w 174"/>
                <a:gd name="T17" fmla="*/ 58 h 159"/>
                <a:gd name="T18" fmla="*/ 30 w 174"/>
                <a:gd name="T19" fmla="*/ 58 h 159"/>
                <a:gd name="T20" fmla="*/ 28 w 174"/>
                <a:gd name="T21" fmla="*/ 59 h 159"/>
                <a:gd name="T22" fmla="*/ 22 w 174"/>
                <a:gd name="T23" fmla="*/ 58 h 159"/>
                <a:gd name="T24" fmla="*/ 4 w 174"/>
                <a:gd name="T25" fmla="*/ 55 h 159"/>
                <a:gd name="T26" fmla="*/ 7 w 174"/>
                <a:gd name="T27" fmla="*/ 67 h 159"/>
                <a:gd name="T28" fmla="*/ 16 w 174"/>
                <a:gd name="T29" fmla="*/ 87 h 159"/>
                <a:gd name="T30" fmla="*/ 32 w 174"/>
                <a:gd name="T31" fmla="*/ 99 h 159"/>
                <a:gd name="T32" fmla="*/ 44 w 174"/>
                <a:gd name="T33" fmla="*/ 107 h 159"/>
                <a:gd name="T34" fmla="*/ 44 w 174"/>
                <a:gd name="T35" fmla="*/ 112 h 159"/>
                <a:gd name="T36" fmla="*/ 47 w 174"/>
                <a:gd name="T37" fmla="*/ 113 h 159"/>
                <a:gd name="T38" fmla="*/ 54 w 174"/>
                <a:gd name="T39" fmla="*/ 119 h 159"/>
                <a:gd name="T40" fmla="*/ 54 w 174"/>
                <a:gd name="T41" fmla="*/ 124 h 159"/>
                <a:gd name="T42" fmla="*/ 58 w 174"/>
                <a:gd name="T43" fmla="*/ 134 h 159"/>
                <a:gd name="T44" fmla="*/ 69 w 174"/>
                <a:gd name="T45" fmla="*/ 141 h 159"/>
                <a:gd name="T46" fmla="*/ 86 w 174"/>
                <a:gd name="T47" fmla="*/ 147 h 159"/>
                <a:gd name="T48" fmla="*/ 87 w 174"/>
                <a:gd name="T49" fmla="*/ 150 h 159"/>
                <a:gd name="T50" fmla="*/ 99 w 174"/>
                <a:gd name="T51" fmla="*/ 155 h 159"/>
                <a:gd name="T52" fmla="*/ 127 w 174"/>
                <a:gd name="T53" fmla="*/ 157 h 159"/>
                <a:gd name="T54" fmla="*/ 135 w 174"/>
                <a:gd name="T55" fmla="*/ 159 h 159"/>
                <a:gd name="T56" fmla="*/ 137 w 174"/>
                <a:gd name="T57" fmla="*/ 157 h 159"/>
                <a:gd name="T58" fmla="*/ 148 w 174"/>
                <a:gd name="T59" fmla="*/ 145 h 159"/>
                <a:gd name="T60" fmla="*/ 159 w 174"/>
                <a:gd name="T61" fmla="*/ 134 h 159"/>
                <a:gd name="T62" fmla="*/ 160 w 174"/>
                <a:gd name="T63" fmla="*/ 122 h 159"/>
                <a:gd name="T64" fmla="*/ 167 w 174"/>
                <a:gd name="T65" fmla="*/ 113 h 159"/>
                <a:gd name="T66" fmla="*/ 174 w 174"/>
                <a:gd name="T67" fmla="*/ 99 h 159"/>
                <a:gd name="T68" fmla="*/ 171 w 174"/>
                <a:gd name="T69" fmla="*/ 98 h 159"/>
                <a:gd name="T70" fmla="*/ 170 w 174"/>
                <a:gd name="T71" fmla="*/ 82 h 159"/>
                <a:gd name="T72" fmla="*/ 169 w 174"/>
                <a:gd name="T73" fmla="*/ 80 h 159"/>
                <a:gd name="T74" fmla="*/ 168 w 174"/>
                <a:gd name="T75" fmla="*/ 72 h 159"/>
                <a:gd name="T76" fmla="*/ 172 w 174"/>
                <a:gd name="T77" fmla="*/ 64 h 159"/>
                <a:gd name="T78" fmla="*/ 173 w 174"/>
                <a:gd name="T79" fmla="*/ 62 h 159"/>
                <a:gd name="T80" fmla="*/ 174 w 174"/>
                <a:gd name="T81" fmla="*/ 45 h 159"/>
                <a:gd name="T82" fmla="*/ 172 w 174"/>
                <a:gd name="T83" fmla="*/ 29 h 159"/>
                <a:gd name="T84" fmla="*/ 171 w 174"/>
                <a:gd name="T85" fmla="*/ 26 h 159"/>
                <a:gd name="T86" fmla="*/ 131 w 174"/>
                <a:gd name="T87" fmla="*/ 11 h 159"/>
                <a:gd name="T88" fmla="*/ 124 w 174"/>
                <a:gd name="T89" fmla="*/ 10 h 159"/>
                <a:gd name="T90" fmla="*/ 112 w 174"/>
                <a:gd name="T91" fmla="*/ 0 h 159"/>
                <a:gd name="T92" fmla="*/ 107 w 174"/>
                <a:gd name="T93" fmla="*/ 0 h 1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4" h="159">
                  <a:moveTo>
                    <a:pt x="102" y="0"/>
                  </a:moveTo>
                  <a:cubicBezTo>
                    <a:pt x="102" y="0"/>
                    <a:pt x="101" y="0"/>
                    <a:pt x="101" y="0"/>
                  </a:cubicBezTo>
                  <a:cubicBezTo>
                    <a:pt x="96" y="0"/>
                    <a:pt x="91" y="3"/>
                    <a:pt x="86" y="6"/>
                  </a:cubicBezTo>
                  <a:cubicBezTo>
                    <a:pt x="85" y="6"/>
                    <a:pt x="84" y="7"/>
                    <a:pt x="82" y="7"/>
                  </a:cubicBezTo>
                  <a:cubicBezTo>
                    <a:pt x="82" y="8"/>
                    <a:pt x="82" y="10"/>
                    <a:pt x="81" y="11"/>
                  </a:cubicBezTo>
                  <a:cubicBezTo>
                    <a:pt x="81" y="12"/>
                    <a:pt x="81" y="12"/>
                    <a:pt x="81" y="12"/>
                  </a:cubicBezTo>
                  <a:cubicBezTo>
                    <a:pt x="81" y="13"/>
                    <a:pt x="81" y="13"/>
                    <a:pt x="81" y="13"/>
                  </a:cubicBezTo>
                  <a:cubicBezTo>
                    <a:pt x="81" y="13"/>
                    <a:pt x="81" y="13"/>
                    <a:pt x="81" y="13"/>
                  </a:cubicBezTo>
                  <a:cubicBezTo>
                    <a:pt x="81" y="14"/>
                    <a:pt x="81" y="14"/>
                    <a:pt x="81" y="15"/>
                  </a:cubicBezTo>
                  <a:cubicBezTo>
                    <a:pt x="80" y="22"/>
                    <a:pt x="72" y="25"/>
                    <a:pt x="67" y="27"/>
                  </a:cubicBezTo>
                  <a:cubicBezTo>
                    <a:pt x="66" y="27"/>
                    <a:pt x="64" y="28"/>
                    <a:pt x="63" y="28"/>
                  </a:cubicBezTo>
                  <a:cubicBezTo>
                    <a:pt x="63" y="29"/>
                    <a:pt x="63" y="29"/>
                    <a:pt x="63" y="29"/>
                  </a:cubicBezTo>
                  <a:cubicBezTo>
                    <a:pt x="62" y="29"/>
                    <a:pt x="62" y="29"/>
                    <a:pt x="62" y="29"/>
                  </a:cubicBezTo>
                  <a:cubicBezTo>
                    <a:pt x="61" y="29"/>
                    <a:pt x="61" y="30"/>
                    <a:pt x="60" y="30"/>
                  </a:cubicBezTo>
                  <a:cubicBezTo>
                    <a:pt x="59" y="30"/>
                    <a:pt x="58" y="31"/>
                    <a:pt x="56" y="32"/>
                  </a:cubicBezTo>
                  <a:cubicBezTo>
                    <a:pt x="55" y="34"/>
                    <a:pt x="54" y="35"/>
                    <a:pt x="53" y="36"/>
                  </a:cubicBezTo>
                  <a:cubicBezTo>
                    <a:pt x="53" y="36"/>
                    <a:pt x="52" y="37"/>
                    <a:pt x="52" y="38"/>
                  </a:cubicBezTo>
                  <a:cubicBezTo>
                    <a:pt x="52" y="38"/>
                    <a:pt x="52" y="38"/>
                    <a:pt x="52" y="38"/>
                  </a:cubicBezTo>
                  <a:cubicBezTo>
                    <a:pt x="52" y="39"/>
                    <a:pt x="51" y="40"/>
                    <a:pt x="51" y="40"/>
                  </a:cubicBezTo>
                  <a:cubicBezTo>
                    <a:pt x="50" y="41"/>
                    <a:pt x="50" y="41"/>
                    <a:pt x="50" y="41"/>
                  </a:cubicBezTo>
                  <a:cubicBezTo>
                    <a:pt x="49" y="42"/>
                    <a:pt x="49" y="43"/>
                    <a:pt x="48" y="43"/>
                  </a:cubicBezTo>
                  <a:cubicBezTo>
                    <a:pt x="47" y="45"/>
                    <a:pt x="47" y="45"/>
                    <a:pt x="47" y="45"/>
                  </a:cubicBezTo>
                  <a:cubicBezTo>
                    <a:pt x="44" y="47"/>
                    <a:pt x="42" y="49"/>
                    <a:pt x="40" y="51"/>
                  </a:cubicBezTo>
                  <a:cubicBezTo>
                    <a:pt x="40" y="52"/>
                    <a:pt x="40" y="52"/>
                    <a:pt x="40" y="52"/>
                  </a:cubicBezTo>
                  <a:cubicBezTo>
                    <a:pt x="38" y="54"/>
                    <a:pt x="36" y="56"/>
                    <a:pt x="34" y="57"/>
                  </a:cubicBezTo>
                  <a:cubicBezTo>
                    <a:pt x="33" y="57"/>
                    <a:pt x="32" y="57"/>
                    <a:pt x="32" y="58"/>
                  </a:cubicBezTo>
                  <a:cubicBezTo>
                    <a:pt x="31" y="58"/>
                    <a:pt x="31" y="58"/>
                    <a:pt x="31" y="58"/>
                  </a:cubicBezTo>
                  <a:cubicBezTo>
                    <a:pt x="30" y="58"/>
                    <a:pt x="30" y="58"/>
                    <a:pt x="30" y="58"/>
                  </a:cubicBezTo>
                  <a:cubicBezTo>
                    <a:pt x="30" y="58"/>
                    <a:pt x="30" y="58"/>
                    <a:pt x="30" y="58"/>
                  </a:cubicBezTo>
                  <a:cubicBezTo>
                    <a:pt x="30" y="58"/>
                    <a:pt x="30" y="58"/>
                    <a:pt x="30" y="58"/>
                  </a:cubicBezTo>
                  <a:cubicBezTo>
                    <a:pt x="29" y="58"/>
                    <a:pt x="29" y="58"/>
                    <a:pt x="29" y="58"/>
                  </a:cubicBezTo>
                  <a:cubicBezTo>
                    <a:pt x="28" y="59"/>
                    <a:pt x="28" y="59"/>
                    <a:pt x="28" y="59"/>
                  </a:cubicBezTo>
                  <a:cubicBezTo>
                    <a:pt x="28" y="59"/>
                    <a:pt x="28" y="59"/>
                    <a:pt x="28" y="59"/>
                  </a:cubicBezTo>
                  <a:cubicBezTo>
                    <a:pt x="28" y="59"/>
                    <a:pt x="27" y="59"/>
                    <a:pt x="26" y="59"/>
                  </a:cubicBezTo>
                  <a:cubicBezTo>
                    <a:pt x="26" y="59"/>
                    <a:pt x="26" y="59"/>
                    <a:pt x="26" y="59"/>
                  </a:cubicBezTo>
                  <a:cubicBezTo>
                    <a:pt x="25" y="59"/>
                    <a:pt x="23" y="59"/>
                    <a:pt x="22" y="58"/>
                  </a:cubicBezTo>
                  <a:cubicBezTo>
                    <a:pt x="20" y="58"/>
                    <a:pt x="20" y="58"/>
                    <a:pt x="20" y="58"/>
                  </a:cubicBezTo>
                  <a:cubicBezTo>
                    <a:pt x="3" y="55"/>
                    <a:pt x="3" y="55"/>
                    <a:pt x="3" y="55"/>
                  </a:cubicBezTo>
                  <a:cubicBezTo>
                    <a:pt x="4" y="55"/>
                    <a:pt x="4" y="55"/>
                    <a:pt x="4" y="55"/>
                  </a:cubicBezTo>
                  <a:cubicBezTo>
                    <a:pt x="0" y="54"/>
                    <a:pt x="0" y="54"/>
                    <a:pt x="0" y="54"/>
                  </a:cubicBezTo>
                  <a:cubicBezTo>
                    <a:pt x="5" y="63"/>
                    <a:pt x="5" y="63"/>
                    <a:pt x="5" y="63"/>
                  </a:cubicBezTo>
                  <a:cubicBezTo>
                    <a:pt x="6" y="64"/>
                    <a:pt x="6" y="66"/>
                    <a:pt x="7" y="67"/>
                  </a:cubicBezTo>
                  <a:cubicBezTo>
                    <a:pt x="10" y="71"/>
                    <a:pt x="13" y="76"/>
                    <a:pt x="14" y="81"/>
                  </a:cubicBezTo>
                  <a:cubicBezTo>
                    <a:pt x="15" y="82"/>
                    <a:pt x="15" y="82"/>
                    <a:pt x="15" y="83"/>
                  </a:cubicBezTo>
                  <a:cubicBezTo>
                    <a:pt x="16" y="87"/>
                    <a:pt x="16" y="87"/>
                    <a:pt x="16" y="87"/>
                  </a:cubicBezTo>
                  <a:cubicBezTo>
                    <a:pt x="17" y="89"/>
                    <a:pt x="18" y="90"/>
                    <a:pt x="19" y="91"/>
                  </a:cubicBezTo>
                  <a:cubicBezTo>
                    <a:pt x="20" y="92"/>
                    <a:pt x="22" y="93"/>
                    <a:pt x="23" y="94"/>
                  </a:cubicBezTo>
                  <a:cubicBezTo>
                    <a:pt x="26" y="96"/>
                    <a:pt x="29" y="98"/>
                    <a:pt x="32" y="99"/>
                  </a:cubicBezTo>
                  <a:cubicBezTo>
                    <a:pt x="33" y="99"/>
                    <a:pt x="33" y="99"/>
                    <a:pt x="33" y="99"/>
                  </a:cubicBezTo>
                  <a:cubicBezTo>
                    <a:pt x="35" y="100"/>
                    <a:pt x="38" y="101"/>
                    <a:pt x="40" y="103"/>
                  </a:cubicBezTo>
                  <a:cubicBezTo>
                    <a:pt x="42" y="104"/>
                    <a:pt x="43" y="105"/>
                    <a:pt x="44" y="107"/>
                  </a:cubicBezTo>
                  <a:cubicBezTo>
                    <a:pt x="44" y="108"/>
                    <a:pt x="44" y="108"/>
                    <a:pt x="44" y="109"/>
                  </a:cubicBezTo>
                  <a:cubicBezTo>
                    <a:pt x="44" y="109"/>
                    <a:pt x="44" y="109"/>
                    <a:pt x="44" y="109"/>
                  </a:cubicBezTo>
                  <a:cubicBezTo>
                    <a:pt x="44" y="110"/>
                    <a:pt x="44" y="111"/>
                    <a:pt x="44" y="112"/>
                  </a:cubicBezTo>
                  <a:cubicBezTo>
                    <a:pt x="44" y="113"/>
                    <a:pt x="44" y="113"/>
                    <a:pt x="44" y="113"/>
                  </a:cubicBezTo>
                  <a:cubicBezTo>
                    <a:pt x="44" y="113"/>
                    <a:pt x="44" y="113"/>
                    <a:pt x="44" y="113"/>
                  </a:cubicBezTo>
                  <a:cubicBezTo>
                    <a:pt x="47" y="113"/>
                    <a:pt x="47" y="113"/>
                    <a:pt x="47" y="113"/>
                  </a:cubicBezTo>
                  <a:cubicBezTo>
                    <a:pt x="50" y="113"/>
                    <a:pt x="53" y="113"/>
                    <a:pt x="54" y="115"/>
                  </a:cubicBezTo>
                  <a:cubicBezTo>
                    <a:pt x="54" y="116"/>
                    <a:pt x="55" y="117"/>
                    <a:pt x="54" y="118"/>
                  </a:cubicBezTo>
                  <a:cubicBezTo>
                    <a:pt x="54" y="119"/>
                    <a:pt x="54" y="119"/>
                    <a:pt x="54" y="119"/>
                  </a:cubicBezTo>
                  <a:cubicBezTo>
                    <a:pt x="54" y="120"/>
                    <a:pt x="54" y="120"/>
                    <a:pt x="54" y="120"/>
                  </a:cubicBezTo>
                  <a:cubicBezTo>
                    <a:pt x="54" y="121"/>
                    <a:pt x="54" y="122"/>
                    <a:pt x="54" y="123"/>
                  </a:cubicBezTo>
                  <a:cubicBezTo>
                    <a:pt x="54" y="124"/>
                    <a:pt x="54" y="124"/>
                    <a:pt x="54" y="124"/>
                  </a:cubicBezTo>
                  <a:cubicBezTo>
                    <a:pt x="54" y="126"/>
                    <a:pt x="55" y="128"/>
                    <a:pt x="56" y="130"/>
                  </a:cubicBezTo>
                  <a:cubicBezTo>
                    <a:pt x="56" y="131"/>
                    <a:pt x="56" y="131"/>
                    <a:pt x="56" y="131"/>
                  </a:cubicBezTo>
                  <a:cubicBezTo>
                    <a:pt x="57" y="131"/>
                    <a:pt x="57" y="132"/>
                    <a:pt x="58" y="134"/>
                  </a:cubicBezTo>
                  <a:cubicBezTo>
                    <a:pt x="58" y="135"/>
                    <a:pt x="59" y="139"/>
                    <a:pt x="60" y="139"/>
                  </a:cubicBezTo>
                  <a:cubicBezTo>
                    <a:pt x="61" y="140"/>
                    <a:pt x="64" y="140"/>
                    <a:pt x="66" y="141"/>
                  </a:cubicBezTo>
                  <a:cubicBezTo>
                    <a:pt x="67" y="141"/>
                    <a:pt x="68" y="141"/>
                    <a:pt x="69" y="141"/>
                  </a:cubicBezTo>
                  <a:cubicBezTo>
                    <a:pt x="70" y="141"/>
                    <a:pt x="71" y="141"/>
                    <a:pt x="72" y="142"/>
                  </a:cubicBezTo>
                  <a:cubicBezTo>
                    <a:pt x="76" y="142"/>
                    <a:pt x="81" y="143"/>
                    <a:pt x="84" y="145"/>
                  </a:cubicBezTo>
                  <a:cubicBezTo>
                    <a:pt x="85" y="145"/>
                    <a:pt x="86" y="146"/>
                    <a:pt x="86" y="147"/>
                  </a:cubicBezTo>
                  <a:cubicBezTo>
                    <a:pt x="86" y="147"/>
                    <a:pt x="87" y="148"/>
                    <a:pt x="86" y="150"/>
                  </a:cubicBezTo>
                  <a:cubicBezTo>
                    <a:pt x="86" y="150"/>
                    <a:pt x="86" y="150"/>
                    <a:pt x="86" y="150"/>
                  </a:cubicBezTo>
                  <a:cubicBezTo>
                    <a:pt x="87" y="150"/>
                    <a:pt x="87" y="150"/>
                    <a:pt x="87" y="150"/>
                  </a:cubicBezTo>
                  <a:cubicBezTo>
                    <a:pt x="91" y="154"/>
                    <a:pt x="91" y="154"/>
                    <a:pt x="91" y="154"/>
                  </a:cubicBezTo>
                  <a:cubicBezTo>
                    <a:pt x="92" y="154"/>
                    <a:pt x="92" y="154"/>
                    <a:pt x="92" y="154"/>
                  </a:cubicBezTo>
                  <a:cubicBezTo>
                    <a:pt x="94" y="154"/>
                    <a:pt x="97" y="155"/>
                    <a:pt x="99" y="155"/>
                  </a:cubicBezTo>
                  <a:cubicBezTo>
                    <a:pt x="102" y="155"/>
                    <a:pt x="102" y="155"/>
                    <a:pt x="102" y="155"/>
                  </a:cubicBezTo>
                  <a:cubicBezTo>
                    <a:pt x="110" y="155"/>
                    <a:pt x="118" y="155"/>
                    <a:pt x="126" y="157"/>
                  </a:cubicBezTo>
                  <a:cubicBezTo>
                    <a:pt x="127" y="157"/>
                    <a:pt x="127" y="157"/>
                    <a:pt x="127" y="157"/>
                  </a:cubicBezTo>
                  <a:cubicBezTo>
                    <a:pt x="129" y="157"/>
                    <a:pt x="132" y="157"/>
                    <a:pt x="135" y="159"/>
                  </a:cubicBezTo>
                  <a:cubicBezTo>
                    <a:pt x="135" y="159"/>
                    <a:pt x="135" y="159"/>
                    <a:pt x="135" y="159"/>
                  </a:cubicBezTo>
                  <a:cubicBezTo>
                    <a:pt x="135" y="159"/>
                    <a:pt x="135" y="159"/>
                    <a:pt x="135" y="159"/>
                  </a:cubicBezTo>
                  <a:cubicBezTo>
                    <a:pt x="136" y="158"/>
                    <a:pt x="136" y="158"/>
                    <a:pt x="136" y="158"/>
                  </a:cubicBezTo>
                  <a:cubicBezTo>
                    <a:pt x="136" y="158"/>
                    <a:pt x="137" y="157"/>
                    <a:pt x="137" y="157"/>
                  </a:cubicBezTo>
                  <a:cubicBezTo>
                    <a:pt x="137" y="157"/>
                    <a:pt x="137" y="157"/>
                    <a:pt x="137" y="157"/>
                  </a:cubicBezTo>
                  <a:cubicBezTo>
                    <a:pt x="137" y="157"/>
                    <a:pt x="137" y="157"/>
                    <a:pt x="137" y="157"/>
                  </a:cubicBezTo>
                  <a:cubicBezTo>
                    <a:pt x="147" y="147"/>
                    <a:pt x="147" y="147"/>
                    <a:pt x="147" y="147"/>
                  </a:cubicBezTo>
                  <a:cubicBezTo>
                    <a:pt x="147" y="146"/>
                    <a:pt x="148" y="146"/>
                    <a:pt x="148" y="145"/>
                  </a:cubicBezTo>
                  <a:cubicBezTo>
                    <a:pt x="149" y="145"/>
                    <a:pt x="149" y="145"/>
                    <a:pt x="149" y="145"/>
                  </a:cubicBezTo>
                  <a:cubicBezTo>
                    <a:pt x="151" y="142"/>
                    <a:pt x="154" y="139"/>
                    <a:pt x="156" y="136"/>
                  </a:cubicBezTo>
                  <a:cubicBezTo>
                    <a:pt x="157" y="136"/>
                    <a:pt x="158" y="135"/>
                    <a:pt x="159" y="134"/>
                  </a:cubicBezTo>
                  <a:cubicBezTo>
                    <a:pt x="158" y="133"/>
                    <a:pt x="158" y="132"/>
                    <a:pt x="158" y="131"/>
                  </a:cubicBezTo>
                  <a:cubicBezTo>
                    <a:pt x="158" y="129"/>
                    <a:pt x="159" y="126"/>
                    <a:pt x="160" y="124"/>
                  </a:cubicBezTo>
                  <a:cubicBezTo>
                    <a:pt x="160" y="122"/>
                    <a:pt x="160" y="122"/>
                    <a:pt x="160" y="122"/>
                  </a:cubicBezTo>
                  <a:cubicBezTo>
                    <a:pt x="161" y="119"/>
                    <a:pt x="161" y="116"/>
                    <a:pt x="164" y="115"/>
                  </a:cubicBezTo>
                  <a:cubicBezTo>
                    <a:pt x="165" y="114"/>
                    <a:pt x="166" y="114"/>
                    <a:pt x="166" y="114"/>
                  </a:cubicBezTo>
                  <a:cubicBezTo>
                    <a:pt x="166" y="113"/>
                    <a:pt x="167" y="113"/>
                    <a:pt x="167" y="113"/>
                  </a:cubicBezTo>
                  <a:cubicBezTo>
                    <a:pt x="167" y="112"/>
                    <a:pt x="169" y="110"/>
                    <a:pt x="171" y="107"/>
                  </a:cubicBezTo>
                  <a:cubicBezTo>
                    <a:pt x="172" y="105"/>
                    <a:pt x="173" y="103"/>
                    <a:pt x="173" y="101"/>
                  </a:cubicBezTo>
                  <a:cubicBezTo>
                    <a:pt x="174" y="100"/>
                    <a:pt x="174" y="99"/>
                    <a:pt x="174" y="99"/>
                  </a:cubicBezTo>
                  <a:cubicBezTo>
                    <a:pt x="173" y="99"/>
                    <a:pt x="173" y="99"/>
                    <a:pt x="173" y="99"/>
                  </a:cubicBezTo>
                  <a:cubicBezTo>
                    <a:pt x="173" y="99"/>
                    <a:pt x="173" y="99"/>
                    <a:pt x="173" y="99"/>
                  </a:cubicBezTo>
                  <a:cubicBezTo>
                    <a:pt x="172" y="99"/>
                    <a:pt x="171" y="98"/>
                    <a:pt x="171" y="98"/>
                  </a:cubicBezTo>
                  <a:cubicBezTo>
                    <a:pt x="169" y="97"/>
                    <a:pt x="169" y="95"/>
                    <a:pt x="169" y="93"/>
                  </a:cubicBezTo>
                  <a:cubicBezTo>
                    <a:pt x="169" y="92"/>
                    <a:pt x="169" y="90"/>
                    <a:pt x="169" y="87"/>
                  </a:cubicBezTo>
                  <a:cubicBezTo>
                    <a:pt x="170" y="85"/>
                    <a:pt x="170" y="83"/>
                    <a:pt x="170" y="82"/>
                  </a:cubicBezTo>
                  <a:cubicBezTo>
                    <a:pt x="169" y="81"/>
                    <a:pt x="169" y="81"/>
                    <a:pt x="169" y="81"/>
                  </a:cubicBezTo>
                  <a:cubicBezTo>
                    <a:pt x="169" y="81"/>
                    <a:pt x="169" y="81"/>
                    <a:pt x="169" y="81"/>
                  </a:cubicBezTo>
                  <a:cubicBezTo>
                    <a:pt x="169" y="80"/>
                    <a:pt x="169" y="80"/>
                    <a:pt x="169" y="80"/>
                  </a:cubicBezTo>
                  <a:cubicBezTo>
                    <a:pt x="168" y="80"/>
                    <a:pt x="167" y="79"/>
                    <a:pt x="167" y="78"/>
                  </a:cubicBezTo>
                  <a:cubicBezTo>
                    <a:pt x="166" y="77"/>
                    <a:pt x="165" y="75"/>
                    <a:pt x="167" y="73"/>
                  </a:cubicBezTo>
                  <a:cubicBezTo>
                    <a:pt x="168" y="72"/>
                    <a:pt x="168" y="72"/>
                    <a:pt x="168" y="72"/>
                  </a:cubicBezTo>
                  <a:cubicBezTo>
                    <a:pt x="169" y="72"/>
                    <a:pt x="169" y="71"/>
                    <a:pt x="170" y="70"/>
                  </a:cubicBezTo>
                  <a:cubicBezTo>
                    <a:pt x="170" y="69"/>
                    <a:pt x="170" y="67"/>
                    <a:pt x="171" y="66"/>
                  </a:cubicBezTo>
                  <a:cubicBezTo>
                    <a:pt x="171" y="65"/>
                    <a:pt x="172" y="65"/>
                    <a:pt x="172" y="64"/>
                  </a:cubicBezTo>
                  <a:cubicBezTo>
                    <a:pt x="173" y="63"/>
                    <a:pt x="173" y="63"/>
                    <a:pt x="173" y="63"/>
                  </a:cubicBezTo>
                  <a:cubicBezTo>
                    <a:pt x="173" y="63"/>
                    <a:pt x="173" y="63"/>
                    <a:pt x="173" y="62"/>
                  </a:cubicBezTo>
                  <a:cubicBezTo>
                    <a:pt x="173" y="62"/>
                    <a:pt x="173" y="62"/>
                    <a:pt x="173" y="62"/>
                  </a:cubicBezTo>
                  <a:cubicBezTo>
                    <a:pt x="174" y="60"/>
                    <a:pt x="174" y="58"/>
                    <a:pt x="174" y="56"/>
                  </a:cubicBezTo>
                  <a:cubicBezTo>
                    <a:pt x="174" y="54"/>
                    <a:pt x="174" y="52"/>
                    <a:pt x="174" y="50"/>
                  </a:cubicBezTo>
                  <a:cubicBezTo>
                    <a:pt x="174" y="48"/>
                    <a:pt x="174" y="47"/>
                    <a:pt x="174" y="45"/>
                  </a:cubicBezTo>
                  <a:cubicBezTo>
                    <a:pt x="174" y="42"/>
                    <a:pt x="173" y="39"/>
                    <a:pt x="173" y="35"/>
                  </a:cubicBezTo>
                  <a:cubicBezTo>
                    <a:pt x="172" y="34"/>
                    <a:pt x="172" y="33"/>
                    <a:pt x="172" y="32"/>
                  </a:cubicBezTo>
                  <a:cubicBezTo>
                    <a:pt x="172" y="31"/>
                    <a:pt x="172" y="30"/>
                    <a:pt x="172" y="29"/>
                  </a:cubicBezTo>
                  <a:cubicBezTo>
                    <a:pt x="172" y="28"/>
                    <a:pt x="172" y="28"/>
                    <a:pt x="172" y="28"/>
                  </a:cubicBezTo>
                  <a:cubicBezTo>
                    <a:pt x="171" y="28"/>
                    <a:pt x="171" y="28"/>
                    <a:pt x="171" y="27"/>
                  </a:cubicBezTo>
                  <a:cubicBezTo>
                    <a:pt x="171" y="26"/>
                    <a:pt x="171" y="26"/>
                    <a:pt x="171" y="26"/>
                  </a:cubicBezTo>
                  <a:cubicBezTo>
                    <a:pt x="167" y="26"/>
                    <a:pt x="162" y="24"/>
                    <a:pt x="158" y="22"/>
                  </a:cubicBezTo>
                  <a:cubicBezTo>
                    <a:pt x="156" y="21"/>
                    <a:pt x="155" y="20"/>
                    <a:pt x="154" y="20"/>
                  </a:cubicBezTo>
                  <a:cubicBezTo>
                    <a:pt x="131" y="11"/>
                    <a:pt x="131" y="11"/>
                    <a:pt x="131" y="11"/>
                  </a:cubicBezTo>
                  <a:cubicBezTo>
                    <a:pt x="130" y="10"/>
                    <a:pt x="129" y="10"/>
                    <a:pt x="128" y="10"/>
                  </a:cubicBezTo>
                  <a:cubicBezTo>
                    <a:pt x="128" y="10"/>
                    <a:pt x="126" y="10"/>
                    <a:pt x="125" y="10"/>
                  </a:cubicBezTo>
                  <a:cubicBezTo>
                    <a:pt x="125" y="10"/>
                    <a:pt x="125" y="10"/>
                    <a:pt x="124" y="10"/>
                  </a:cubicBezTo>
                  <a:cubicBezTo>
                    <a:pt x="124" y="10"/>
                    <a:pt x="124" y="10"/>
                    <a:pt x="124" y="10"/>
                  </a:cubicBezTo>
                  <a:cubicBezTo>
                    <a:pt x="118" y="10"/>
                    <a:pt x="115" y="9"/>
                    <a:pt x="114" y="7"/>
                  </a:cubicBezTo>
                  <a:cubicBezTo>
                    <a:pt x="112" y="5"/>
                    <a:pt x="112" y="3"/>
                    <a:pt x="112" y="0"/>
                  </a:cubicBezTo>
                  <a:cubicBezTo>
                    <a:pt x="111" y="0"/>
                    <a:pt x="111" y="0"/>
                    <a:pt x="110" y="0"/>
                  </a:cubicBezTo>
                  <a:cubicBezTo>
                    <a:pt x="109" y="0"/>
                    <a:pt x="108" y="0"/>
                    <a:pt x="107" y="0"/>
                  </a:cubicBezTo>
                  <a:cubicBezTo>
                    <a:pt x="107" y="0"/>
                    <a:pt x="107" y="0"/>
                    <a:pt x="107" y="0"/>
                  </a:cubicBezTo>
                  <a:cubicBezTo>
                    <a:pt x="105" y="0"/>
                    <a:pt x="104" y="0"/>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222"/>
            <p:cNvSpPr/>
            <p:nvPr/>
          </p:nvSpPr>
          <p:spPr bwMode="auto">
            <a:xfrm>
              <a:off x="4781" y="3762"/>
              <a:ext cx="496" cy="515"/>
            </a:xfrm>
            <a:custGeom>
              <a:gdLst>
                <a:gd name="T0" fmla="*/ 92 w 210"/>
                <a:gd name="T1" fmla="*/ 9 h 218"/>
                <a:gd name="T2" fmla="*/ 82 w 210"/>
                <a:gd name="T3" fmla="*/ 16 h 218"/>
                <a:gd name="T4" fmla="*/ 75 w 210"/>
                <a:gd name="T5" fmla="*/ 8 h 218"/>
                <a:gd name="T6" fmla="*/ 73 w 210"/>
                <a:gd name="T7" fmla="*/ 5 h 218"/>
                <a:gd name="T8" fmla="*/ 23 w 210"/>
                <a:gd name="T9" fmla="*/ 12 h 218"/>
                <a:gd name="T10" fmla="*/ 23 w 210"/>
                <a:gd name="T11" fmla="*/ 48 h 218"/>
                <a:gd name="T12" fmla="*/ 23 w 210"/>
                <a:gd name="T13" fmla="*/ 93 h 218"/>
                <a:gd name="T14" fmla="*/ 18 w 210"/>
                <a:gd name="T15" fmla="*/ 102 h 218"/>
                <a:gd name="T16" fmla="*/ 0 w 210"/>
                <a:gd name="T17" fmla="*/ 102 h 218"/>
                <a:gd name="T18" fmla="*/ 2 w 210"/>
                <a:gd name="T19" fmla="*/ 169 h 218"/>
                <a:gd name="T20" fmla="*/ 15 w 210"/>
                <a:gd name="T21" fmla="*/ 185 h 218"/>
                <a:gd name="T22" fmla="*/ 20 w 210"/>
                <a:gd name="T23" fmla="*/ 201 h 218"/>
                <a:gd name="T24" fmla="*/ 17 w 210"/>
                <a:gd name="T25" fmla="*/ 208 h 218"/>
                <a:gd name="T26" fmla="*/ 15 w 210"/>
                <a:gd name="T27" fmla="*/ 215 h 218"/>
                <a:gd name="T28" fmla="*/ 15 w 210"/>
                <a:gd name="T29" fmla="*/ 217 h 218"/>
                <a:gd name="T30" fmla="*/ 20 w 210"/>
                <a:gd name="T31" fmla="*/ 217 h 218"/>
                <a:gd name="T32" fmla="*/ 24 w 210"/>
                <a:gd name="T33" fmla="*/ 218 h 218"/>
                <a:gd name="T34" fmla="*/ 29 w 210"/>
                <a:gd name="T35" fmla="*/ 217 h 218"/>
                <a:gd name="T36" fmla="*/ 34 w 210"/>
                <a:gd name="T37" fmla="*/ 218 h 218"/>
                <a:gd name="T38" fmla="*/ 39 w 210"/>
                <a:gd name="T39" fmla="*/ 215 h 218"/>
                <a:gd name="T40" fmla="*/ 41 w 210"/>
                <a:gd name="T41" fmla="*/ 213 h 218"/>
                <a:gd name="T42" fmla="*/ 56 w 210"/>
                <a:gd name="T43" fmla="*/ 200 h 218"/>
                <a:gd name="T44" fmla="*/ 58 w 210"/>
                <a:gd name="T45" fmla="*/ 197 h 218"/>
                <a:gd name="T46" fmla="*/ 58 w 210"/>
                <a:gd name="T47" fmla="*/ 194 h 218"/>
                <a:gd name="T48" fmla="*/ 60 w 210"/>
                <a:gd name="T49" fmla="*/ 190 h 218"/>
                <a:gd name="T50" fmla="*/ 60 w 210"/>
                <a:gd name="T51" fmla="*/ 188 h 218"/>
                <a:gd name="T52" fmla="*/ 67 w 210"/>
                <a:gd name="T53" fmla="*/ 179 h 218"/>
                <a:gd name="T54" fmla="*/ 87 w 210"/>
                <a:gd name="T55" fmla="*/ 184 h 218"/>
                <a:gd name="T56" fmla="*/ 93 w 210"/>
                <a:gd name="T57" fmla="*/ 186 h 218"/>
                <a:gd name="T58" fmla="*/ 113 w 210"/>
                <a:gd name="T59" fmla="*/ 191 h 218"/>
                <a:gd name="T60" fmla="*/ 122 w 210"/>
                <a:gd name="T61" fmla="*/ 190 h 218"/>
                <a:gd name="T62" fmla="*/ 127 w 210"/>
                <a:gd name="T63" fmla="*/ 185 h 218"/>
                <a:gd name="T64" fmla="*/ 132 w 210"/>
                <a:gd name="T65" fmla="*/ 170 h 218"/>
                <a:gd name="T66" fmla="*/ 135 w 210"/>
                <a:gd name="T67" fmla="*/ 164 h 218"/>
                <a:gd name="T68" fmla="*/ 150 w 210"/>
                <a:gd name="T69" fmla="*/ 159 h 218"/>
                <a:gd name="T70" fmla="*/ 153 w 210"/>
                <a:gd name="T71" fmla="*/ 156 h 218"/>
                <a:gd name="T72" fmla="*/ 156 w 210"/>
                <a:gd name="T73" fmla="*/ 150 h 218"/>
                <a:gd name="T74" fmla="*/ 157 w 210"/>
                <a:gd name="T75" fmla="*/ 146 h 218"/>
                <a:gd name="T76" fmla="*/ 174 w 210"/>
                <a:gd name="T77" fmla="*/ 129 h 218"/>
                <a:gd name="T78" fmla="*/ 193 w 210"/>
                <a:gd name="T79" fmla="*/ 111 h 218"/>
                <a:gd name="T80" fmla="*/ 196 w 210"/>
                <a:gd name="T81" fmla="*/ 111 h 218"/>
                <a:gd name="T82" fmla="*/ 205 w 210"/>
                <a:gd name="T83" fmla="*/ 107 h 218"/>
                <a:gd name="T84" fmla="*/ 208 w 210"/>
                <a:gd name="T85" fmla="*/ 100 h 218"/>
                <a:gd name="T86" fmla="*/ 207 w 210"/>
                <a:gd name="T87" fmla="*/ 98 h 218"/>
                <a:gd name="T88" fmla="*/ 197 w 210"/>
                <a:gd name="T89" fmla="*/ 94 h 218"/>
                <a:gd name="T90" fmla="*/ 192 w 210"/>
                <a:gd name="T91" fmla="*/ 93 h 218"/>
                <a:gd name="T92" fmla="*/ 178 w 210"/>
                <a:gd name="T93" fmla="*/ 80 h 218"/>
                <a:gd name="T94" fmla="*/ 176 w 210"/>
                <a:gd name="T95" fmla="*/ 67 h 218"/>
                <a:gd name="T96" fmla="*/ 173 w 210"/>
                <a:gd name="T97" fmla="*/ 66 h 218"/>
                <a:gd name="T98" fmla="*/ 166 w 210"/>
                <a:gd name="T99" fmla="*/ 59 h 218"/>
                <a:gd name="T100" fmla="*/ 165 w 210"/>
                <a:gd name="T101" fmla="*/ 56 h 218"/>
                <a:gd name="T102" fmla="*/ 157 w 210"/>
                <a:gd name="T103" fmla="*/ 51 h 218"/>
                <a:gd name="T104" fmla="*/ 138 w 210"/>
                <a:gd name="T105" fmla="*/ 36 h 218"/>
                <a:gd name="T106" fmla="*/ 127 w 210"/>
                <a:gd name="T107" fmla="*/ 13 h 2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0" h="218">
                  <a:moveTo>
                    <a:pt x="119" y="0"/>
                  </a:moveTo>
                  <a:cubicBezTo>
                    <a:pt x="109" y="0"/>
                    <a:pt x="101" y="3"/>
                    <a:pt x="93" y="8"/>
                  </a:cubicBezTo>
                  <a:cubicBezTo>
                    <a:pt x="92" y="9"/>
                    <a:pt x="92" y="9"/>
                    <a:pt x="92" y="9"/>
                  </a:cubicBezTo>
                  <a:cubicBezTo>
                    <a:pt x="92" y="9"/>
                    <a:pt x="91" y="10"/>
                    <a:pt x="91" y="10"/>
                  </a:cubicBezTo>
                  <a:cubicBezTo>
                    <a:pt x="87" y="14"/>
                    <a:pt x="85" y="16"/>
                    <a:pt x="83" y="16"/>
                  </a:cubicBezTo>
                  <a:cubicBezTo>
                    <a:pt x="82" y="16"/>
                    <a:pt x="82" y="16"/>
                    <a:pt x="82" y="16"/>
                  </a:cubicBezTo>
                  <a:cubicBezTo>
                    <a:pt x="81" y="16"/>
                    <a:pt x="80" y="15"/>
                    <a:pt x="79" y="15"/>
                  </a:cubicBezTo>
                  <a:cubicBezTo>
                    <a:pt x="78" y="14"/>
                    <a:pt x="78" y="14"/>
                    <a:pt x="78" y="13"/>
                  </a:cubicBezTo>
                  <a:cubicBezTo>
                    <a:pt x="77" y="12"/>
                    <a:pt x="76" y="10"/>
                    <a:pt x="75" y="8"/>
                  </a:cubicBezTo>
                  <a:cubicBezTo>
                    <a:pt x="75" y="8"/>
                    <a:pt x="74" y="7"/>
                    <a:pt x="74" y="7"/>
                  </a:cubicBezTo>
                  <a:cubicBezTo>
                    <a:pt x="74" y="6"/>
                    <a:pt x="74" y="6"/>
                    <a:pt x="73" y="5"/>
                  </a:cubicBezTo>
                  <a:cubicBezTo>
                    <a:pt x="73" y="5"/>
                    <a:pt x="73" y="5"/>
                    <a:pt x="73" y="5"/>
                  </a:cubicBezTo>
                  <a:cubicBezTo>
                    <a:pt x="73" y="5"/>
                    <a:pt x="73" y="5"/>
                    <a:pt x="73" y="5"/>
                  </a:cubicBezTo>
                  <a:cubicBezTo>
                    <a:pt x="73" y="5"/>
                    <a:pt x="72" y="5"/>
                    <a:pt x="72" y="5"/>
                  </a:cubicBezTo>
                  <a:cubicBezTo>
                    <a:pt x="23" y="12"/>
                    <a:pt x="23" y="12"/>
                    <a:pt x="23" y="12"/>
                  </a:cubicBezTo>
                  <a:cubicBezTo>
                    <a:pt x="23" y="13"/>
                    <a:pt x="23" y="13"/>
                    <a:pt x="23" y="13"/>
                  </a:cubicBezTo>
                  <a:cubicBezTo>
                    <a:pt x="23" y="46"/>
                    <a:pt x="23" y="46"/>
                    <a:pt x="23" y="46"/>
                  </a:cubicBezTo>
                  <a:cubicBezTo>
                    <a:pt x="23" y="47"/>
                    <a:pt x="23" y="47"/>
                    <a:pt x="23" y="48"/>
                  </a:cubicBezTo>
                  <a:cubicBezTo>
                    <a:pt x="23" y="59"/>
                    <a:pt x="23" y="70"/>
                    <a:pt x="23" y="81"/>
                  </a:cubicBezTo>
                  <a:cubicBezTo>
                    <a:pt x="23" y="92"/>
                    <a:pt x="23" y="92"/>
                    <a:pt x="23" y="92"/>
                  </a:cubicBezTo>
                  <a:cubicBezTo>
                    <a:pt x="23" y="93"/>
                    <a:pt x="23" y="93"/>
                    <a:pt x="23" y="93"/>
                  </a:cubicBezTo>
                  <a:cubicBezTo>
                    <a:pt x="23" y="95"/>
                    <a:pt x="23" y="96"/>
                    <a:pt x="23" y="97"/>
                  </a:cubicBezTo>
                  <a:cubicBezTo>
                    <a:pt x="23" y="97"/>
                    <a:pt x="23" y="97"/>
                    <a:pt x="23" y="97"/>
                  </a:cubicBezTo>
                  <a:cubicBezTo>
                    <a:pt x="23" y="99"/>
                    <a:pt x="23" y="101"/>
                    <a:pt x="18" y="102"/>
                  </a:cubicBezTo>
                  <a:cubicBezTo>
                    <a:pt x="15" y="103"/>
                    <a:pt x="13" y="103"/>
                    <a:pt x="10" y="103"/>
                  </a:cubicBezTo>
                  <a:cubicBezTo>
                    <a:pt x="8" y="103"/>
                    <a:pt x="5" y="103"/>
                    <a:pt x="3" y="103"/>
                  </a:cubicBezTo>
                  <a:cubicBezTo>
                    <a:pt x="2" y="103"/>
                    <a:pt x="1" y="102"/>
                    <a:pt x="0" y="102"/>
                  </a:cubicBezTo>
                  <a:cubicBezTo>
                    <a:pt x="0" y="103"/>
                    <a:pt x="0" y="103"/>
                    <a:pt x="0" y="104"/>
                  </a:cubicBezTo>
                  <a:cubicBezTo>
                    <a:pt x="0" y="167"/>
                    <a:pt x="0" y="167"/>
                    <a:pt x="0" y="167"/>
                  </a:cubicBezTo>
                  <a:cubicBezTo>
                    <a:pt x="2" y="169"/>
                    <a:pt x="2" y="169"/>
                    <a:pt x="2" y="169"/>
                  </a:cubicBezTo>
                  <a:cubicBezTo>
                    <a:pt x="4" y="170"/>
                    <a:pt x="6" y="171"/>
                    <a:pt x="8" y="173"/>
                  </a:cubicBezTo>
                  <a:cubicBezTo>
                    <a:pt x="10" y="175"/>
                    <a:pt x="13" y="179"/>
                    <a:pt x="14" y="182"/>
                  </a:cubicBezTo>
                  <a:cubicBezTo>
                    <a:pt x="15" y="185"/>
                    <a:pt x="15" y="185"/>
                    <a:pt x="15" y="185"/>
                  </a:cubicBezTo>
                  <a:cubicBezTo>
                    <a:pt x="16" y="186"/>
                    <a:pt x="16" y="186"/>
                    <a:pt x="16" y="187"/>
                  </a:cubicBezTo>
                  <a:cubicBezTo>
                    <a:pt x="16" y="188"/>
                    <a:pt x="16" y="188"/>
                    <a:pt x="16" y="188"/>
                  </a:cubicBezTo>
                  <a:cubicBezTo>
                    <a:pt x="18" y="193"/>
                    <a:pt x="20" y="198"/>
                    <a:pt x="20" y="201"/>
                  </a:cubicBezTo>
                  <a:cubicBezTo>
                    <a:pt x="20" y="202"/>
                    <a:pt x="20" y="203"/>
                    <a:pt x="20" y="204"/>
                  </a:cubicBezTo>
                  <a:cubicBezTo>
                    <a:pt x="19" y="205"/>
                    <a:pt x="18" y="206"/>
                    <a:pt x="17" y="208"/>
                  </a:cubicBezTo>
                  <a:cubicBezTo>
                    <a:pt x="17" y="208"/>
                    <a:pt x="17" y="208"/>
                    <a:pt x="17" y="208"/>
                  </a:cubicBezTo>
                  <a:cubicBezTo>
                    <a:pt x="17" y="209"/>
                    <a:pt x="16" y="209"/>
                    <a:pt x="16" y="210"/>
                  </a:cubicBezTo>
                  <a:cubicBezTo>
                    <a:pt x="15" y="211"/>
                    <a:pt x="15" y="212"/>
                    <a:pt x="15" y="214"/>
                  </a:cubicBezTo>
                  <a:cubicBezTo>
                    <a:pt x="15" y="214"/>
                    <a:pt x="15" y="214"/>
                    <a:pt x="15" y="215"/>
                  </a:cubicBezTo>
                  <a:cubicBezTo>
                    <a:pt x="15" y="215"/>
                    <a:pt x="15" y="215"/>
                    <a:pt x="15" y="216"/>
                  </a:cubicBezTo>
                  <a:cubicBezTo>
                    <a:pt x="15" y="217"/>
                    <a:pt x="15" y="217"/>
                    <a:pt x="15" y="217"/>
                  </a:cubicBezTo>
                  <a:cubicBezTo>
                    <a:pt x="15" y="217"/>
                    <a:pt x="15" y="217"/>
                    <a:pt x="15" y="217"/>
                  </a:cubicBezTo>
                  <a:cubicBezTo>
                    <a:pt x="15" y="217"/>
                    <a:pt x="15" y="217"/>
                    <a:pt x="15" y="217"/>
                  </a:cubicBezTo>
                  <a:cubicBezTo>
                    <a:pt x="16" y="217"/>
                    <a:pt x="17" y="217"/>
                    <a:pt x="18" y="217"/>
                  </a:cubicBezTo>
                  <a:cubicBezTo>
                    <a:pt x="19" y="217"/>
                    <a:pt x="19" y="217"/>
                    <a:pt x="20" y="217"/>
                  </a:cubicBezTo>
                  <a:cubicBezTo>
                    <a:pt x="20" y="217"/>
                    <a:pt x="21" y="217"/>
                    <a:pt x="21" y="217"/>
                  </a:cubicBezTo>
                  <a:cubicBezTo>
                    <a:pt x="22" y="217"/>
                    <a:pt x="22" y="217"/>
                    <a:pt x="22" y="217"/>
                  </a:cubicBezTo>
                  <a:cubicBezTo>
                    <a:pt x="23" y="217"/>
                    <a:pt x="24" y="218"/>
                    <a:pt x="24" y="218"/>
                  </a:cubicBezTo>
                  <a:cubicBezTo>
                    <a:pt x="25" y="218"/>
                    <a:pt x="25" y="217"/>
                    <a:pt x="26" y="217"/>
                  </a:cubicBezTo>
                  <a:cubicBezTo>
                    <a:pt x="26" y="217"/>
                    <a:pt x="27" y="217"/>
                    <a:pt x="27" y="217"/>
                  </a:cubicBezTo>
                  <a:cubicBezTo>
                    <a:pt x="28" y="217"/>
                    <a:pt x="28" y="217"/>
                    <a:pt x="29" y="217"/>
                  </a:cubicBezTo>
                  <a:cubicBezTo>
                    <a:pt x="29" y="217"/>
                    <a:pt x="29" y="217"/>
                    <a:pt x="29" y="217"/>
                  </a:cubicBezTo>
                  <a:cubicBezTo>
                    <a:pt x="30" y="217"/>
                    <a:pt x="31" y="218"/>
                    <a:pt x="32" y="218"/>
                  </a:cubicBezTo>
                  <a:cubicBezTo>
                    <a:pt x="33" y="218"/>
                    <a:pt x="33" y="218"/>
                    <a:pt x="34" y="218"/>
                  </a:cubicBezTo>
                  <a:cubicBezTo>
                    <a:pt x="34" y="218"/>
                    <a:pt x="34" y="218"/>
                    <a:pt x="35" y="218"/>
                  </a:cubicBezTo>
                  <a:cubicBezTo>
                    <a:pt x="35" y="218"/>
                    <a:pt x="35" y="218"/>
                    <a:pt x="35" y="218"/>
                  </a:cubicBezTo>
                  <a:cubicBezTo>
                    <a:pt x="36" y="218"/>
                    <a:pt x="37" y="217"/>
                    <a:pt x="39" y="215"/>
                  </a:cubicBezTo>
                  <a:cubicBezTo>
                    <a:pt x="39" y="215"/>
                    <a:pt x="40" y="214"/>
                    <a:pt x="40" y="214"/>
                  </a:cubicBezTo>
                  <a:cubicBezTo>
                    <a:pt x="41" y="214"/>
                    <a:pt x="41" y="214"/>
                    <a:pt x="41" y="214"/>
                  </a:cubicBezTo>
                  <a:cubicBezTo>
                    <a:pt x="41" y="213"/>
                    <a:pt x="41" y="213"/>
                    <a:pt x="41" y="213"/>
                  </a:cubicBezTo>
                  <a:cubicBezTo>
                    <a:pt x="42" y="213"/>
                    <a:pt x="42" y="213"/>
                    <a:pt x="42" y="213"/>
                  </a:cubicBezTo>
                  <a:cubicBezTo>
                    <a:pt x="42" y="212"/>
                    <a:pt x="43" y="212"/>
                    <a:pt x="43" y="211"/>
                  </a:cubicBezTo>
                  <a:cubicBezTo>
                    <a:pt x="56" y="200"/>
                    <a:pt x="56" y="200"/>
                    <a:pt x="56" y="200"/>
                  </a:cubicBezTo>
                  <a:cubicBezTo>
                    <a:pt x="57" y="200"/>
                    <a:pt x="57" y="199"/>
                    <a:pt x="57" y="199"/>
                  </a:cubicBezTo>
                  <a:cubicBezTo>
                    <a:pt x="58" y="198"/>
                    <a:pt x="58" y="198"/>
                    <a:pt x="58" y="198"/>
                  </a:cubicBezTo>
                  <a:cubicBezTo>
                    <a:pt x="58" y="198"/>
                    <a:pt x="58" y="197"/>
                    <a:pt x="58" y="197"/>
                  </a:cubicBezTo>
                  <a:cubicBezTo>
                    <a:pt x="58" y="197"/>
                    <a:pt x="58" y="196"/>
                    <a:pt x="58" y="196"/>
                  </a:cubicBezTo>
                  <a:cubicBezTo>
                    <a:pt x="58" y="195"/>
                    <a:pt x="58" y="195"/>
                    <a:pt x="58" y="194"/>
                  </a:cubicBezTo>
                  <a:cubicBezTo>
                    <a:pt x="58" y="194"/>
                    <a:pt x="58" y="194"/>
                    <a:pt x="58" y="194"/>
                  </a:cubicBezTo>
                  <a:cubicBezTo>
                    <a:pt x="58" y="193"/>
                    <a:pt x="58" y="193"/>
                    <a:pt x="59" y="192"/>
                  </a:cubicBezTo>
                  <a:cubicBezTo>
                    <a:pt x="59" y="192"/>
                    <a:pt x="60" y="191"/>
                    <a:pt x="60" y="190"/>
                  </a:cubicBezTo>
                  <a:cubicBezTo>
                    <a:pt x="60" y="190"/>
                    <a:pt x="60" y="190"/>
                    <a:pt x="60" y="190"/>
                  </a:cubicBezTo>
                  <a:cubicBezTo>
                    <a:pt x="60" y="190"/>
                    <a:pt x="60" y="190"/>
                    <a:pt x="60" y="190"/>
                  </a:cubicBezTo>
                  <a:cubicBezTo>
                    <a:pt x="60" y="189"/>
                    <a:pt x="60" y="189"/>
                    <a:pt x="60" y="189"/>
                  </a:cubicBezTo>
                  <a:cubicBezTo>
                    <a:pt x="60" y="188"/>
                    <a:pt x="60" y="188"/>
                    <a:pt x="60" y="188"/>
                  </a:cubicBezTo>
                  <a:cubicBezTo>
                    <a:pt x="60" y="187"/>
                    <a:pt x="60" y="187"/>
                    <a:pt x="61" y="186"/>
                  </a:cubicBezTo>
                  <a:cubicBezTo>
                    <a:pt x="61" y="186"/>
                    <a:pt x="61" y="186"/>
                    <a:pt x="61" y="185"/>
                  </a:cubicBezTo>
                  <a:cubicBezTo>
                    <a:pt x="62" y="183"/>
                    <a:pt x="65" y="180"/>
                    <a:pt x="67" y="179"/>
                  </a:cubicBezTo>
                  <a:cubicBezTo>
                    <a:pt x="68" y="178"/>
                    <a:pt x="70" y="178"/>
                    <a:pt x="71" y="178"/>
                  </a:cubicBezTo>
                  <a:cubicBezTo>
                    <a:pt x="74" y="178"/>
                    <a:pt x="77" y="179"/>
                    <a:pt x="79" y="180"/>
                  </a:cubicBezTo>
                  <a:cubicBezTo>
                    <a:pt x="82" y="181"/>
                    <a:pt x="84" y="182"/>
                    <a:pt x="87" y="184"/>
                  </a:cubicBezTo>
                  <a:cubicBezTo>
                    <a:pt x="88" y="184"/>
                    <a:pt x="88" y="184"/>
                    <a:pt x="88" y="184"/>
                  </a:cubicBezTo>
                  <a:cubicBezTo>
                    <a:pt x="90" y="185"/>
                    <a:pt x="91" y="185"/>
                    <a:pt x="92" y="186"/>
                  </a:cubicBezTo>
                  <a:cubicBezTo>
                    <a:pt x="93" y="186"/>
                    <a:pt x="93" y="186"/>
                    <a:pt x="93" y="186"/>
                  </a:cubicBezTo>
                  <a:cubicBezTo>
                    <a:pt x="97" y="188"/>
                    <a:pt x="101" y="189"/>
                    <a:pt x="105" y="191"/>
                  </a:cubicBezTo>
                  <a:cubicBezTo>
                    <a:pt x="106" y="191"/>
                    <a:pt x="108" y="192"/>
                    <a:pt x="110" y="192"/>
                  </a:cubicBezTo>
                  <a:cubicBezTo>
                    <a:pt x="111" y="192"/>
                    <a:pt x="112" y="191"/>
                    <a:pt x="113" y="191"/>
                  </a:cubicBezTo>
                  <a:cubicBezTo>
                    <a:pt x="115" y="191"/>
                    <a:pt x="116" y="191"/>
                    <a:pt x="118" y="190"/>
                  </a:cubicBezTo>
                  <a:cubicBezTo>
                    <a:pt x="120" y="190"/>
                    <a:pt x="120" y="190"/>
                    <a:pt x="120" y="190"/>
                  </a:cubicBezTo>
                  <a:cubicBezTo>
                    <a:pt x="121" y="190"/>
                    <a:pt x="121" y="190"/>
                    <a:pt x="122" y="190"/>
                  </a:cubicBezTo>
                  <a:cubicBezTo>
                    <a:pt x="123" y="189"/>
                    <a:pt x="124" y="188"/>
                    <a:pt x="125" y="187"/>
                  </a:cubicBezTo>
                  <a:cubicBezTo>
                    <a:pt x="126" y="186"/>
                    <a:pt x="126" y="186"/>
                    <a:pt x="126" y="186"/>
                  </a:cubicBezTo>
                  <a:cubicBezTo>
                    <a:pt x="126" y="185"/>
                    <a:pt x="127" y="185"/>
                    <a:pt x="127" y="185"/>
                  </a:cubicBezTo>
                  <a:cubicBezTo>
                    <a:pt x="129" y="182"/>
                    <a:pt x="130" y="177"/>
                    <a:pt x="132" y="172"/>
                  </a:cubicBezTo>
                  <a:cubicBezTo>
                    <a:pt x="132" y="171"/>
                    <a:pt x="132" y="171"/>
                    <a:pt x="132" y="170"/>
                  </a:cubicBezTo>
                  <a:cubicBezTo>
                    <a:pt x="132" y="170"/>
                    <a:pt x="132" y="170"/>
                    <a:pt x="132" y="170"/>
                  </a:cubicBezTo>
                  <a:cubicBezTo>
                    <a:pt x="132" y="170"/>
                    <a:pt x="132" y="169"/>
                    <a:pt x="132" y="169"/>
                  </a:cubicBezTo>
                  <a:cubicBezTo>
                    <a:pt x="132" y="167"/>
                    <a:pt x="133" y="166"/>
                    <a:pt x="134" y="165"/>
                  </a:cubicBezTo>
                  <a:cubicBezTo>
                    <a:pt x="135" y="164"/>
                    <a:pt x="135" y="164"/>
                    <a:pt x="135" y="164"/>
                  </a:cubicBezTo>
                  <a:cubicBezTo>
                    <a:pt x="135" y="164"/>
                    <a:pt x="135" y="164"/>
                    <a:pt x="135" y="164"/>
                  </a:cubicBezTo>
                  <a:cubicBezTo>
                    <a:pt x="137" y="164"/>
                    <a:pt x="139" y="163"/>
                    <a:pt x="142" y="163"/>
                  </a:cubicBezTo>
                  <a:cubicBezTo>
                    <a:pt x="146" y="162"/>
                    <a:pt x="147" y="162"/>
                    <a:pt x="150" y="159"/>
                  </a:cubicBezTo>
                  <a:cubicBezTo>
                    <a:pt x="150" y="158"/>
                    <a:pt x="151" y="158"/>
                    <a:pt x="151" y="158"/>
                  </a:cubicBezTo>
                  <a:cubicBezTo>
                    <a:pt x="152" y="157"/>
                    <a:pt x="152" y="157"/>
                    <a:pt x="152" y="157"/>
                  </a:cubicBezTo>
                  <a:cubicBezTo>
                    <a:pt x="153" y="156"/>
                    <a:pt x="153" y="156"/>
                    <a:pt x="153" y="156"/>
                  </a:cubicBezTo>
                  <a:cubicBezTo>
                    <a:pt x="153" y="156"/>
                    <a:pt x="154" y="155"/>
                    <a:pt x="154" y="155"/>
                  </a:cubicBezTo>
                  <a:cubicBezTo>
                    <a:pt x="155" y="154"/>
                    <a:pt x="155" y="153"/>
                    <a:pt x="156" y="152"/>
                  </a:cubicBezTo>
                  <a:cubicBezTo>
                    <a:pt x="156" y="152"/>
                    <a:pt x="156" y="151"/>
                    <a:pt x="156" y="150"/>
                  </a:cubicBezTo>
                  <a:cubicBezTo>
                    <a:pt x="156" y="149"/>
                    <a:pt x="156" y="149"/>
                    <a:pt x="156" y="149"/>
                  </a:cubicBezTo>
                  <a:cubicBezTo>
                    <a:pt x="156" y="149"/>
                    <a:pt x="156" y="148"/>
                    <a:pt x="157" y="147"/>
                  </a:cubicBezTo>
                  <a:cubicBezTo>
                    <a:pt x="157" y="147"/>
                    <a:pt x="157" y="147"/>
                    <a:pt x="157" y="146"/>
                  </a:cubicBezTo>
                  <a:cubicBezTo>
                    <a:pt x="157" y="144"/>
                    <a:pt x="157" y="144"/>
                    <a:pt x="157" y="144"/>
                  </a:cubicBezTo>
                  <a:cubicBezTo>
                    <a:pt x="159" y="139"/>
                    <a:pt x="165" y="135"/>
                    <a:pt x="170" y="131"/>
                  </a:cubicBezTo>
                  <a:cubicBezTo>
                    <a:pt x="172" y="130"/>
                    <a:pt x="173" y="130"/>
                    <a:pt x="174" y="129"/>
                  </a:cubicBezTo>
                  <a:cubicBezTo>
                    <a:pt x="179" y="125"/>
                    <a:pt x="182" y="122"/>
                    <a:pt x="185" y="119"/>
                  </a:cubicBezTo>
                  <a:cubicBezTo>
                    <a:pt x="185" y="118"/>
                    <a:pt x="185" y="118"/>
                    <a:pt x="185" y="118"/>
                  </a:cubicBezTo>
                  <a:cubicBezTo>
                    <a:pt x="187" y="115"/>
                    <a:pt x="190" y="112"/>
                    <a:pt x="193" y="111"/>
                  </a:cubicBezTo>
                  <a:cubicBezTo>
                    <a:pt x="193" y="111"/>
                    <a:pt x="194" y="111"/>
                    <a:pt x="194" y="111"/>
                  </a:cubicBezTo>
                  <a:cubicBezTo>
                    <a:pt x="195" y="111"/>
                    <a:pt x="195" y="111"/>
                    <a:pt x="195" y="111"/>
                  </a:cubicBezTo>
                  <a:cubicBezTo>
                    <a:pt x="196" y="111"/>
                    <a:pt x="196" y="111"/>
                    <a:pt x="196" y="111"/>
                  </a:cubicBezTo>
                  <a:cubicBezTo>
                    <a:pt x="198" y="110"/>
                    <a:pt x="200" y="110"/>
                    <a:pt x="202" y="109"/>
                  </a:cubicBezTo>
                  <a:cubicBezTo>
                    <a:pt x="203" y="109"/>
                    <a:pt x="203" y="109"/>
                    <a:pt x="203" y="109"/>
                  </a:cubicBezTo>
                  <a:cubicBezTo>
                    <a:pt x="204" y="108"/>
                    <a:pt x="205" y="108"/>
                    <a:pt x="205" y="107"/>
                  </a:cubicBezTo>
                  <a:cubicBezTo>
                    <a:pt x="205" y="106"/>
                    <a:pt x="206" y="104"/>
                    <a:pt x="208" y="103"/>
                  </a:cubicBezTo>
                  <a:cubicBezTo>
                    <a:pt x="208" y="102"/>
                    <a:pt x="209" y="102"/>
                    <a:pt x="210" y="102"/>
                  </a:cubicBezTo>
                  <a:cubicBezTo>
                    <a:pt x="209" y="101"/>
                    <a:pt x="209" y="101"/>
                    <a:pt x="208" y="100"/>
                  </a:cubicBezTo>
                  <a:cubicBezTo>
                    <a:pt x="208" y="100"/>
                    <a:pt x="208" y="100"/>
                    <a:pt x="208" y="100"/>
                  </a:cubicBezTo>
                  <a:cubicBezTo>
                    <a:pt x="208" y="99"/>
                    <a:pt x="208" y="99"/>
                    <a:pt x="208" y="99"/>
                  </a:cubicBezTo>
                  <a:cubicBezTo>
                    <a:pt x="207" y="98"/>
                    <a:pt x="207" y="98"/>
                    <a:pt x="207" y="98"/>
                  </a:cubicBezTo>
                  <a:cubicBezTo>
                    <a:pt x="207" y="97"/>
                    <a:pt x="207" y="97"/>
                    <a:pt x="207" y="96"/>
                  </a:cubicBezTo>
                  <a:cubicBezTo>
                    <a:pt x="205" y="95"/>
                    <a:pt x="201" y="95"/>
                    <a:pt x="198" y="94"/>
                  </a:cubicBezTo>
                  <a:cubicBezTo>
                    <a:pt x="197" y="94"/>
                    <a:pt x="197" y="94"/>
                    <a:pt x="197" y="94"/>
                  </a:cubicBezTo>
                  <a:cubicBezTo>
                    <a:pt x="196" y="94"/>
                    <a:pt x="195" y="94"/>
                    <a:pt x="195" y="94"/>
                  </a:cubicBezTo>
                  <a:cubicBezTo>
                    <a:pt x="194" y="94"/>
                    <a:pt x="193" y="94"/>
                    <a:pt x="193" y="93"/>
                  </a:cubicBezTo>
                  <a:cubicBezTo>
                    <a:pt x="192" y="93"/>
                    <a:pt x="192" y="93"/>
                    <a:pt x="192" y="93"/>
                  </a:cubicBezTo>
                  <a:cubicBezTo>
                    <a:pt x="189" y="93"/>
                    <a:pt x="186" y="93"/>
                    <a:pt x="184" y="91"/>
                  </a:cubicBezTo>
                  <a:cubicBezTo>
                    <a:pt x="181" y="89"/>
                    <a:pt x="180" y="86"/>
                    <a:pt x="179" y="83"/>
                  </a:cubicBezTo>
                  <a:cubicBezTo>
                    <a:pt x="179" y="82"/>
                    <a:pt x="178" y="81"/>
                    <a:pt x="178" y="80"/>
                  </a:cubicBezTo>
                  <a:cubicBezTo>
                    <a:pt x="178" y="79"/>
                    <a:pt x="178" y="79"/>
                    <a:pt x="178" y="79"/>
                  </a:cubicBezTo>
                  <a:cubicBezTo>
                    <a:pt x="177" y="77"/>
                    <a:pt x="175" y="74"/>
                    <a:pt x="175" y="71"/>
                  </a:cubicBezTo>
                  <a:cubicBezTo>
                    <a:pt x="176" y="67"/>
                    <a:pt x="176" y="67"/>
                    <a:pt x="176" y="67"/>
                  </a:cubicBezTo>
                  <a:cubicBezTo>
                    <a:pt x="176" y="67"/>
                    <a:pt x="176" y="66"/>
                    <a:pt x="176" y="66"/>
                  </a:cubicBezTo>
                  <a:cubicBezTo>
                    <a:pt x="175" y="66"/>
                    <a:pt x="175" y="66"/>
                    <a:pt x="174" y="66"/>
                  </a:cubicBezTo>
                  <a:cubicBezTo>
                    <a:pt x="174" y="66"/>
                    <a:pt x="173" y="66"/>
                    <a:pt x="173" y="66"/>
                  </a:cubicBezTo>
                  <a:cubicBezTo>
                    <a:pt x="172" y="66"/>
                    <a:pt x="172" y="66"/>
                    <a:pt x="171" y="66"/>
                  </a:cubicBezTo>
                  <a:cubicBezTo>
                    <a:pt x="169" y="65"/>
                    <a:pt x="168" y="65"/>
                    <a:pt x="167" y="64"/>
                  </a:cubicBezTo>
                  <a:cubicBezTo>
                    <a:pt x="165" y="63"/>
                    <a:pt x="165" y="61"/>
                    <a:pt x="166" y="59"/>
                  </a:cubicBezTo>
                  <a:cubicBezTo>
                    <a:pt x="166" y="58"/>
                    <a:pt x="166" y="58"/>
                    <a:pt x="166" y="57"/>
                  </a:cubicBezTo>
                  <a:cubicBezTo>
                    <a:pt x="165" y="57"/>
                    <a:pt x="165" y="57"/>
                    <a:pt x="165" y="57"/>
                  </a:cubicBezTo>
                  <a:cubicBezTo>
                    <a:pt x="165" y="57"/>
                    <a:pt x="165" y="56"/>
                    <a:pt x="165" y="56"/>
                  </a:cubicBezTo>
                  <a:cubicBezTo>
                    <a:pt x="165" y="55"/>
                    <a:pt x="165" y="55"/>
                    <a:pt x="164" y="55"/>
                  </a:cubicBezTo>
                  <a:cubicBezTo>
                    <a:pt x="162" y="53"/>
                    <a:pt x="160" y="53"/>
                    <a:pt x="158" y="52"/>
                  </a:cubicBezTo>
                  <a:cubicBezTo>
                    <a:pt x="157" y="51"/>
                    <a:pt x="157" y="51"/>
                    <a:pt x="157" y="51"/>
                  </a:cubicBezTo>
                  <a:cubicBezTo>
                    <a:pt x="154" y="50"/>
                    <a:pt x="150" y="48"/>
                    <a:pt x="147" y="46"/>
                  </a:cubicBezTo>
                  <a:cubicBezTo>
                    <a:pt x="145" y="45"/>
                    <a:pt x="143" y="43"/>
                    <a:pt x="141" y="42"/>
                  </a:cubicBezTo>
                  <a:cubicBezTo>
                    <a:pt x="140" y="40"/>
                    <a:pt x="139" y="39"/>
                    <a:pt x="138" y="36"/>
                  </a:cubicBezTo>
                  <a:cubicBezTo>
                    <a:pt x="136" y="30"/>
                    <a:pt x="136" y="30"/>
                    <a:pt x="136" y="30"/>
                  </a:cubicBezTo>
                  <a:cubicBezTo>
                    <a:pt x="135" y="25"/>
                    <a:pt x="132" y="21"/>
                    <a:pt x="129" y="17"/>
                  </a:cubicBezTo>
                  <a:cubicBezTo>
                    <a:pt x="128" y="16"/>
                    <a:pt x="128" y="14"/>
                    <a:pt x="127" y="13"/>
                  </a:cubicBezTo>
                  <a:cubicBezTo>
                    <a:pt x="119" y="0"/>
                    <a:pt x="119"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Rectangle 223"/>
            <p:cNvSpPr>
              <a:spLocks noChangeArrowheads="1"/>
            </p:cNvSpPr>
            <p:nvPr/>
          </p:nvSpPr>
          <p:spPr bwMode="auto">
            <a:xfrm>
              <a:off x="4963" y="376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224"/>
            <p:cNvSpPr/>
            <p:nvPr/>
          </p:nvSpPr>
          <p:spPr bwMode="auto">
            <a:xfrm flipH="1">
              <a:off x="4963" y="376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225"/>
            <p:cNvSpPr/>
            <p:nvPr/>
          </p:nvSpPr>
          <p:spPr bwMode="auto">
            <a:xfrm>
              <a:off x="4315" y="3715"/>
              <a:ext cx="735" cy="688"/>
            </a:xfrm>
            <a:custGeom>
              <a:gdLst>
                <a:gd name="T0" fmla="*/ 33 w 311"/>
                <a:gd name="T1" fmla="*/ 0 h 291"/>
                <a:gd name="T2" fmla="*/ 28 w 311"/>
                <a:gd name="T3" fmla="*/ 1 h 291"/>
                <a:gd name="T4" fmla="*/ 11 w 311"/>
                <a:gd name="T5" fmla="*/ 7 h 291"/>
                <a:gd name="T6" fmla="*/ 0 w 311"/>
                <a:gd name="T7" fmla="*/ 6 h 291"/>
                <a:gd name="T8" fmla="*/ 34 w 311"/>
                <a:gd name="T9" fmla="*/ 79 h 291"/>
                <a:gd name="T10" fmla="*/ 65 w 311"/>
                <a:gd name="T11" fmla="*/ 143 h 291"/>
                <a:gd name="T12" fmla="*/ 66 w 311"/>
                <a:gd name="T13" fmla="*/ 179 h 291"/>
                <a:gd name="T14" fmla="*/ 79 w 311"/>
                <a:gd name="T15" fmla="*/ 239 h 291"/>
                <a:gd name="T16" fmla="*/ 107 w 311"/>
                <a:gd name="T17" fmla="*/ 283 h 291"/>
                <a:gd name="T18" fmla="*/ 113 w 311"/>
                <a:gd name="T19" fmla="*/ 278 h 291"/>
                <a:gd name="T20" fmla="*/ 116 w 311"/>
                <a:gd name="T21" fmla="*/ 274 h 291"/>
                <a:gd name="T22" fmla="*/ 119 w 311"/>
                <a:gd name="T23" fmla="*/ 270 h 291"/>
                <a:gd name="T24" fmla="*/ 126 w 311"/>
                <a:gd name="T25" fmla="*/ 269 h 291"/>
                <a:gd name="T26" fmla="*/ 131 w 311"/>
                <a:gd name="T27" fmla="*/ 274 h 291"/>
                <a:gd name="T28" fmla="*/ 134 w 311"/>
                <a:gd name="T29" fmla="*/ 276 h 291"/>
                <a:gd name="T30" fmla="*/ 134 w 311"/>
                <a:gd name="T31" fmla="*/ 282 h 291"/>
                <a:gd name="T32" fmla="*/ 136 w 311"/>
                <a:gd name="T33" fmla="*/ 286 h 291"/>
                <a:gd name="T34" fmla="*/ 141 w 311"/>
                <a:gd name="T35" fmla="*/ 287 h 291"/>
                <a:gd name="T36" fmla="*/ 157 w 311"/>
                <a:gd name="T37" fmla="*/ 290 h 291"/>
                <a:gd name="T38" fmla="*/ 173 w 311"/>
                <a:gd name="T39" fmla="*/ 290 h 291"/>
                <a:gd name="T40" fmla="*/ 183 w 311"/>
                <a:gd name="T41" fmla="*/ 280 h 291"/>
                <a:gd name="T42" fmla="*/ 191 w 311"/>
                <a:gd name="T43" fmla="*/ 274 h 291"/>
                <a:gd name="T44" fmla="*/ 191 w 311"/>
                <a:gd name="T45" fmla="*/ 194 h 291"/>
                <a:gd name="T46" fmla="*/ 190 w 311"/>
                <a:gd name="T47" fmla="*/ 189 h 291"/>
                <a:gd name="T48" fmla="*/ 191 w 311"/>
                <a:gd name="T49" fmla="*/ 119 h 291"/>
                <a:gd name="T50" fmla="*/ 199 w 311"/>
                <a:gd name="T51" fmla="*/ 117 h 291"/>
                <a:gd name="T52" fmla="*/ 213 w 311"/>
                <a:gd name="T53" fmla="*/ 116 h 291"/>
                <a:gd name="T54" fmla="*/ 214 w 311"/>
                <a:gd name="T55" fmla="*/ 112 h 291"/>
                <a:gd name="T56" fmla="*/ 214 w 311"/>
                <a:gd name="T57" fmla="*/ 66 h 291"/>
                <a:gd name="T58" fmla="*/ 216 w 311"/>
                <a:gd name="T59" fmla="*/ 28 h 291"/>
                <a:gd name="T60" fmla="*/ 268 w 311"/>
                <a:gd name="T61" fmla="*/ 19 h 291"/>
                <a:gd name="T62" fmla="*/ 275 w 311"/>
                <a:gd name="T63" fmla="*/ 23 h 291"/>
                <a:gd name="T64" fmla="*/ 277 w 311"/>
                <a:gd name="T65" fmla="*/ 26 h 291"/>
                <a:gd name="T66" fmla="*/ 284 w 311"/>
                <a:gd name="T67" fmla="*/ 26 h 291"/>
                <a:gd name="T68" fmla="*/ 286 w 311"/>
                <a:gd name="T69" fmla="*/ 24 h 291"/>
                <a:gd name="T70" fmla="*/ 310 w 311"/>
                <a:gd name="T71" fmla="*/ 14 h 291"/>
                <a:gd name="T72" fmla="*/ 298 w 311"/>
                <a:gd name="T73" fmla="*/ 12 h 291"/>
                <a:gd name="T74" fmla="*/ 282 w 311"/>
                <a:gd name="T75" fmla="*/ 14 h 291"/>
                <a:gd name="T76" fmla="*/ 235 w 311"/>
                <a:gd name="T77" fmla="*/ 23 h 291"/>
                <a:gd name="T78" fmla="*/ 192 w 311"/>
                <a:gd name="T79" fmla="*/ 21 h 291"/>
                <a:gd name="T80" fmla="*/ 184 w 311"/>
                <a:gd name="T81" fmla="*/ 20 h 291"/>
                <a:gd name="T82" fmla="*/ 176 w 311"/>
                <a:gd name="T83" fmla="*/ 20 h 291"/>
                <a:gd name="T84" fmla="*/ 165 w 311"/>
                <a:gd name="T85" fmla="*/ 18 h 291"/>
                <a:gd name="T86" fmla="*/ 157 w 311"/>
                <a:gd name="T87" fmla="*/ 11 h 291"/>
                <a:gd name="T88" fmla="*/ 156 w 311"/>
                <a:gd name="T89" fmla="*/ 10 h 291"/>
                <a:gd name="T90" fmla="*/ 143 w 311"/>
                <a:gd name="T91" fmla="*/ 10 h 291"/>
                <a:gd name="T92" fmla="*/ 102 w 311"/>
                <a:gd name="T93" fmla="*/ 10 h 291"/>
                <a:gd name="T94" fmla="*/ 64 w 311"/>
                <a:gd name="T95" fmla="*/ 10 h 291"/>
                <a:gd name="T96" fmla="*/ 56 w 311"/>
                <a:gd name="T97" fmla="*/ 10 h 291"/>
                <a:gd name="T98" fmla="*/ 45 w 311"/>
                <a:gd name="T99" fmla="*/ 7 h 291"/>
                <a:gd name="T100" fmla="*/ 42 w 311"/>
                <a:gd name="T101" fmla="*/ 3 h 291"/>
                <a:gd name="T102" fmla="*/ 37 w 311"/>
                <a:gd name="T103" fmla="*/ 0 h 2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1" h="291">
                  <a:moveTo>
                    <a:pt x="37" y="0"/>
                  </a:moveTo>
                  <a:cubicBezTo>
                    <a:pt x="35" y="0"/>
                    <a:pt x="35" y="0"/>
                    <a:pt x="35" y="0"/>
                  </a:cubicBezTo>
                  <a:cubicBezTo>
                    <a:pt x="34" y="0"/>
                    <a:pt x="34" y="0"/>
                    <a:pt x="33" y="0"/>
                  </a:cubicBezTo>
                  <a:cubicBezTo>
                    <a:pt x="32" y="0"/>
                    <a:pt x="32" y="0"/>
                    <a:pt x="32" y="0"/>
                  </a:cubicBezTo>
                  <a:cubicBezTo>
                    <a:pt x="31" y="0"/>
                    <a:pt x="31" y="0"/>
                    <a:pt x="30" y="0"/>
                  </a:cubicBezTo>
                  <a:cubicBezTo>
                    <a:pt x="30" y="1"/>
                    <a:pt x="29" y="1"/>
                    <a:pt x="28" y="1"/>
                  </a:cubicBezTo>
                  <a:cubicBezTo>
                    <a:pt x="28" y="2"/>
                    <a:pt x="27" y="2"/>
                    <a:pt x="26" y="3"/>
                  </a:cubicBezTo>
                  <a:cubicBezTo>
                    <a:pt x="24" y="4"/>
                    <a:pt x="21" y="6"/>
                    <a:pt x="18" y="6"/>
                  </a:cubicBezTo>
                  <a:cubicBezTo>
                    <a:pt x="16" y="6"/>
                    <a:pt x="13" y="7"/>
                    <a:pt x="11" y="7"/>
                  </a:cubicBezTo>
                  <a:cubicBezTo>
                    <a:pt x="9" y="7"/>
                    <a:pt x="8" y="6"/>
                    <a:pt x="6" y="6"/>
                  </a:cubicBezTo>
                  <a:cubicBezTo>
                    <a:pt x="4" y="6"/>
                    <a:pt x="3" y="6"/>
                    <a:pt x="2" y="6"/>
                  </a:cubicBezTo>
                  <a:cubicBezTo>
                    <a:pt x="1" y="6"/>
                    <a:pt x="1" y="6"/>
                    <a:pt x="0" y="6"/>
                  </a:cubicBezTo>
                  <a:cubicBezTo>
                    <a:pt x="0" y="6"/>
                    <a:pt x="0" y="6"/>
                    <a:pt x="0" y="6"/>
                  </a:cubicBezTo>
                  <a:cubicBezTo>
                    <a:pt x="0" y="16"/>
                    <a:pt x="0" y="28"/>
                    <a:pt x="8" y="35"/>
                  </a:cubicBezTo>
                  <a:cubicBezTo>
                    <a:pt x="20" y="46"/>
                    <a:pt x="27" y="65"/>
                    <a:pt x="34" y="79"/>
                  </a:cubicBezTo>
                  <a:cubicBezTo>
                    <a:pt x="40" y="91"/>
                    <a:pt x="46" y="103"/>
                    <a:pt x="53" y="115"/>
                  </a:cubicBezTo>
                  <a:cubicBezTo>
                    <a:pt x="57" y="122"/>
                    <a:pt x="61" y="129"/>
                    <a:pt x="65" y="136"/>
                  </a:cubicBezTo>
                  <a:cubicBezTo>
                    <a:pt x="66" y="138"/>
                    <a:pt x="65" y="142"/>
                    <a:pt x="65" y="143"/>
                  </a:cubicBezTo>
                  <a:cubicBezTo>
                    <a:pt x="64" y="148"/>
                    <a:pt x="64" y="152"/>
                    <a:pt x="64" y="156"/>
                  </a:cubicBezTo>
                  <a:cubicBezTo>
                    <a:pt x="64" y="162"/>
                    <a:pt x="63" y="168"/>
                    <a:pt x="64" y="173"/>
                  </a:cubicBezTo>
                  <a:cubicBezTo>
                    <a:pt x="64" y="175"/>
                    <a:pt x="65" y="177"/>
                    <a:pt x="66" y="179"/>
                  </a:cubicBezTo>
                  <a:cubicBezTo>
                    <a:pt x="67" y="184"/>
                    <a:pt x="69" y="188"/>
                    <a:pt x="72" y="193"/>
                  </a:cubicBezTo>
                  <a:cubicBezTo>
                    <a:pt x="74" y="198"/>
                    <a:pt x="72" y="206"/>
                    <a:pt x="72" y="212"/>
                  </a:cubicBezTo>
                  <a:cubicBezTo>
                    <a:pt x="73" y="221"/>
                    <a:pt x="77" y="230"/>
                    <a:pt x="79" y="239"/>
                  </a:cubicBezTo>
                  <a:cubicBezTo>
                    <a:pt x="82" y="247"/>
                    <a:pt x="84" y="256"/>
                    <a:pt x="89" y="263"/>
                  </a:cubicBezTo>
                  <a:cubicBezTo>
                    <a:pt x="92" y="267"/>
                    <a:pt x="94" y="271"/>
                    <a:pt x="98" y="275"/>
                  </a:cubicBezTo>
                  <a:cubicBezTo>
                    <a:pt x="102" y="277"/>
                    <a:pt x="104" y="281"/>
                    <a:pt x="107" y="283"/>
                  </a:cubicBezTo>
                  <a:cubicBezTo>
                    <a:pt x="108" y="284"/>
                    <a:pt x="108" y="284"/>
                    <a:pt x="108" y="284"/>
                  </a:cubicBezTo>
                  <a:cubicBezTo>
                    <a:pt x="110" y="281"/>
                    <a:pt x="110" y="281"/>
                    <a:pt x="110" y="281"/>
                  </a:cubicBezTo>
                  <a:cubicBezTo>
                    <a:pt x="111" y="281"/>
                    <a:pt x="112" y="280"/>
                    <a:pt x="113" y="278"/>
                  </a:cubicBezTo>
                  <a:cubicBezTo>
                    <a:pt x="113" y="278"/>
                    <a:pt x="114" y="277"/>
                    <a:pt x="114" y="276"/>
                  </a:cubicBezTo>
                  <a:cubicBezTo>
                    <a:pt x="115" y="276"/>
                    <a:pt x="115" y="275"/>
                    <a:pt x="115" y="275"/>
                  </a:cubicBezTo>
                  <a:cubicBezTo>
                    <a:pt x="116" y="274"/>
                    <a:pt x="116" y="274"/>
                    <a:pt x="116" y="274"/>
                  </a:cubicBezTo>
                  <a:cubicBezTo>
                    <a:pt x="116" y="273"/>
                    <a:pt x="117" y="272"/>
                    <a:pt x="117" y="272"/>
                  </a:cubicBezTo>
                  <a:cubicBezTo>
                    <a:pt x="118" y="271"/>
                    <a:pt x="118" y="270"/>
                    <a:pt x="119" y="270"/>
                  </a:cubicBezTo>
                  <a:cubicBezTo>
                    <a:pt x="119" y="270"/>
                    <a:pt x="119" y="270"/>
                    <a:pt x="119" y="270"/>
                  </a:cubicBezTo>
                  <a:cubicBezTo>
                    <a:pt x="120" y="269"/>
                    <a:pt x="121" y="269"/>
                    <a:pt x="122" y="269"/>
                  </a:cubicBezTo>
                  <a:cubicBezTo>
                    <a:pt x="123" y="269"/>
                    <a:pt x="123" y="269"/>
                    <a:pt x="123" y="269"/>
                  </a:cubicBezTo>
                  <a:cubicBezTo>
                    <a:pt x="126" y="269"/>
                    <a:pt x="126" y="269"/>
                    <a:pt x="126" y="269"/>
                  </a:cubicBezTo>
                  <a:cubicBezTo>
                    <a:pt x="129" y="270"/>
                    <a:pt x="130" y="272"/>
                    <a:pt x="130" y="273"/>
                  </a:cubicBezTo>
                  <a:cubicBezTo>
                    <a:pt x="130" y="274"/>
                    <a:pt x="130" y="274"/>
                    <a:pt x="130" y="274"/>
                  </a:cubicBezTo>
                  <a:cubicBezTo>
                    <a:pt x="131" y="274"/>
                    <a:pt x="131" y="274"/>
                    <a:pt x="131" y="274"/>
                  </a:cubicBezTo>
                  <a:cubicBezTo>
                    <a:pt x="131" y="274"/>
                    <a:pt x="131" y="274"/>
                    <a:pt x="131" y="274"/>
                  </a:cubicBezTo>
                  <a:cubicBezTo>
                    <a:pt x="131" y="274"/>
                    <a:pt x="131" y="274"/>
                    <a:pt x="131" y="274"/>
                  </a:cubicBezTo>
                  <a:cubicBezTo>
                    <a:pt x="132" y="275"/>
                    <a:pt x="133" y="275"/>
                    <a:pt x="134" y="276"/>
                  </a:cubicBezTo>
                  <a:cubicBezTo>
                    <a:pt x="135" y="277"/>
                    <a:pt x="135" y="277"/>
                    <a:pt x="135" y="277"/>
                  </a:cubicBezTo>
                  <a:cubicBezTo>
                    <a:pt x="135" y="278"/>
                    <a:pt x="135" y="278"/>
                    <a:pt x="135" y="279"/>
                  </a:cubicBezTo>
                  <a:cubicBezTo>
                    <a:pt x="135" y="281"/>
                    <a:pt x="135" y="282"/>
                    <a:pt x="134" y="282"/>
                  </a:cubicBezTo>
                  <a:cubicBezTo>
                    <a:pt x="134" y="282"/>
                    <a:pt x="134" y="282"/>
                    <a:pt x="134" y="282"/>
                  </a:cubicBezTo>
                  <a:cubicBezTo>
                    <a:pt x="135" y="283"/>
                    <a:pt x="136" y="284"/>
                    <a:pt x="136" y="284"/>
                  </a:cubicBezTo>
                  <a:cubicBezTo>
                    <a:pt x="136" y="285"/>
                    <a:pt x="136" y="285"/>
                    <a:pt x="136" y="286"/>
                  </a:cubicBezTo>
                  <a:cubicBezTo>
                    <a:pt x="136" y="286"/>
                    <a:pt x="137" y="286"/>
                    <a:pt x="137" y="286"/>
                  </a:cubicBezTo>
                  <a:cubicBezTo>
                    <a:pt x="138" y="286"/>
                    <a:pt x="138" y="286"/>
                    <a:pt x="138" y="286"/>
                  </a:cubicBezTo>
                  <a:cubicBezTo>
                    <a:pt x="139" y="287"/>
                    <a:pt x="140" y="287"/>
                    <a:pt x="141" y="287"/>
                  </a:cubicBezTo>
                  <a:cubicBezTo>
                    <a:pt x="142" y="287"/>
                    <a:pt x="142" y="287"/>
                    <a:pt x="142" y="287"/>
                  </a:cubicBezTo>
                  <a:cubicBezTo>
                    <a:pt x="146" y="289"/>
                    <a:pt x="150" y="290"/>
                    <a:pt x="154" y="290"/>
                  </a:cubicBezTo>
                  <a:cubicBezTo>
                    <a:pt x="154" y="290"/>
                    <a:pt x="156" y="290"/>
                    <a:pt x="157" y="290"/>
                  </a:cubicBezTo>
                  <a:cubicBezTo>
                    <a:pt x="158" y="290"/>
                    <a:pt x="158" y="290"/>
                    <a:pt x="158" y="290"/>
                  </a:cubicBezTo>
                  <a:cubicBezTo>
                    <a:pt x="160" y="291"/>
                    <a:pt x="164" y="291"/>
                    <a:pt x="168" y="291"/>
                  </a:cubicBezTo>
                  <a:cubicBezTo>
                    <a:pt x="170" y="291"/>
                    <a:pt x="171" y="291"/>
                    <a:pt x="173" y="290"/>
                  </a:cubicBezTo>
                  <a:cubicBezTo>
                    <a:pt x="173" y="290"/>
                    <a:pt x="173" y="290"/>
                    <a:pt x="173" y="290"/>
                  </a:cubicBezTo>
                  <a:cubicBezTo>
                    <a:pt x="174" y="289"/>
                    <a:pt x="175" y="287"/>
                    <a:pt x="176" y="285"/>
                  </a:cubicBezTo>
                  <a:cubicBezTo>
                    <a:pt x="178" y="283"/>
                    <a:pt x="181" y="282"/>
                    <a:pt x="183" y="280"/>
                  </a:cubicBezTo>
                  <a:cubicBezTo>
                    <a:pt x="185" y="280"/>
                    <a:pt x="186" y="280"/>
                    <a:pt x="188" y="279"/>
                  </a:cubicBezTo>
                  <a:cubicBezTo>
                    <a:pt x="190" y="279"/>
                    <a:pt x="191" y="279"/>
                    <a:pt x="191" y="279"/>
                  </a:cubicBezTo>
                  <a:cubicBezTo>
                    <a:pt x="191" y="278"/>
                    <a:pt x="191" y="277"/>
                    <a:pt x="191" y="274"/>
                  </a:cubicBezTo>
                  <a:cubicBezTo>
                    <a:pt x="191" y="273"/>
                    <a:pt x="191" y="273"/>
                    <a:pt x="191" y="272"/>
                  </a:cubicBezTo>
                  <a:cubicBezTo>
                    <a:pt x="191" y="199"/>
                    <a:pt x="191" y="199"/>
                    <a:pt x="191" y="199"/>
                  </a:cubicBezTo>
                  <a:cubicBezTo>
                    <a:pt x="191" y="197"/>
                    <a:pt x="191" y="196"/>
                    <a:pt x="191" y="194"/>
                  </a:cubicBezTo>
                  <a:cubicBezTo>
                    <a:pt x="191" y="193"/>
                    <a:pt x="191" y="193"/>
                    <a:pt x="191" y="193"/>
                  </a:cubicBezTo>
                  <a:cubicBezTo>
                    <a:pt x="191" y="192"/>
                    <a:pt x="191" y="191"/>
                    <a:pt x="190" y="189"/>
                  </a:cubicBezTo>
                  <a:cubicBezTo>
                    <a:pt x="190" y="189"/>
                    <a:pt x="190" y="189"/>
                    <a:pt x="190" y="189"/>
                  </a:cubicBezTo>
                  <a:cubicBezTo>
                    <a:pt x="191" y="186"/>
                    <a:pt x="191" y="186"/>
                    <a:pt x="191" y="186"/>
                  </a:cubicBezTo>
                  <a:cubicBezTo>
                    <a:pt x="191" y="124"/>
                    <a:pt x="191" y="124"/>
                    <a:pt x="191" y="124"/>
                  </a:cubicBezTo>
                  <a:cubicBezTo>
                    <a:pt x="191" y="121"/>
                    <a:pt x="191" y="120"/>
                    <a:pt x="191" y="119"/>
                  </a:cubicBezTo>
                  <a:cubicBezTo>
                    <a:pt x="192" y="118"/>
                    <a:pt x="192" y="118"/>
                    <a:pt x="192" y="118"/>
                  </a:cubicBezTo>
                  <a:cubicBezTo>
                    <a:pt x="192" y="117"/>
                    <a:pt x="193" y="117"/>
                    <a:pt x="195" y="117"/>
                  </a:cubicBezTo>
                  <a:cubicBezTo>
                    <a:pt x="196" y="117"/>
                    <a:pt x="198" y="117"/>
                    <a:pt x="199" y="117"/>
                  </a:cubicBezTo>
                  <a:cubicBezTo>
                    <a:pt x="200" y="117"/>
                    <a:pt x="200" y="117"/>
                    <a:pt x="200" y="117"/>
                  </a:cubicBezTo>
                  <a:cubicBezTo>
                    <a:pt x="202" y="117"/>
                    <a:pt x="205" y="117"/>
                    <a:pt x="207" y="117"/>
                  </a:cubicBezTo>
                  <a:cubicBezTo>
                    <a:pt x="209" y="117"/>
                    <a:pt x="211" y="117"/>
                    <a:pt x="213" y="116"/>
                  </a:cubicBezTo>
                  <a:cubicBezTo>
                    <a:pt x="214" y="116"/>
                    <a:pt x="214" y="116"/>
                    <a:pt x="214" y="116"/>
                  </a:cubicBezTo>
                  <a:cubicBezTo>
                    <a:pt x="215" y="115"/>
                    <a:pt x="215" y="115"/>
                    <a:pt x="215" y="114"/>
                  </a:cubicBezTo>
                  <a:cubicBezTo>
                    <a:pt x="214" y="113"/>
                    <a:pt x="214" y="113"/>
                    <a:pt x="214" y="112"/>
                  </a:cubicBezTo>
                  <a:cubicBezTo>
                    <a:pt x="214" y="101"/>
                    <a:pt x="214" y="101"/>
                    <a:pt x="214" y="101"/>
                  </a:cubicBezTo>
                  <a:cubicBezTo>
                    <a:pt x="214" y="90"/>
                    <a:pt x="214" y="79"/>
                    <a:pt x="214" y="68"/>
                  </a:cubicBezTo>
                  <a:cubicBezTo>
                    <a:pt x="214" y="66"/>
                    <a:pt x="214" y="66"/>
                    <a:pt x="214" y="66"/>
                  </a:cubicBezTo>
                  <a:cubicBezTo>
                    <a:pt x="214" y="55"/>
                    <a:pt x="214" y="44"/>
                    <a:pt x="214" y="32"/>
                  </a:cubicBezTo>
                  <a:cubicBezTo>
                    <a:pt x="214" y="30"/>
                    <a:pt x="215" y="29"/>
                    <a:pt x="215" y="29"/>
                  </a:cubicBezTo>
                  <a:cubicBezTo>
                    <a:pt x="216" y="28"/>
                    <a:pt x="216" y="28"/>
                    <a:pt x="216" y="28"/>
                  </a:cubicBezTo>
                  <a:cubicBezTo>
                    <a:pt x="216" y="27"/>
                    <a:pt x="217" y="27"/>
                    <a:pt x="217" y="26"/>
                  </a:cubicBezTo>
                  <a:cubicBezTo>
                    <a:pt x="218" y="26"/>
                    <a:pt x="218" y="26"/>
                    <a:pt x="218" y="26"/>
                  </a:cubicBezTo>
                  <a:cubicBezTo>
                    <a:pt x="268" y="19"/>
                    <a:pt x="268" y="19"/>
                    <a:pt x="268" y="19"/>
                  </a:cubicBezTo>
                  <a:cubicBezTo>
                    <a:pt x="268" y="19"/>
                    <a:pt x="269" y="19"/>
                    <a:pt x="270" y="19"/>
                  </a:cubicBezTo>
                  <a:cubicBezTo>
                    <a:pt x="271" y="19"/>
                    <a:pt x="273" y="19"/>
                    <a:pt x="275" y="21"/>
                  </a:cubicBezTo>
                  <a:cubicBezTo>
                    <a:pt x="275" y="22"/>
                    <a:pt x="275" y="22"/>
                    <a:pt x="275" y="23"/>
                  </a:cubicBezTo>
                  <a:cubicBezTo>
                    <a:pt x="276" y="23"/>
                    <a:pt x="276" y="23"/>
                    <a:pt x="276" y="23"/>
                  </a:cubicBezTo>
                  <a:cubicBezTo>
                    <a:pt x="276" y="24"/>
                    <a:pt x="276" y="24"/>
                    <a:pt x="276" y="24"/>
                  </a:cubicBezTo>
                  <a:cubicBezTo>
                    <a:pt x="276" y="24"/>
                    <a:pt x="277" y="25"/>
                    <a:pt x="277" y="26"/>
                  </a:cubicBezTo>
                  <a:cubicBezTo>
                    <a:pt x="278" y="27"/>
                    <a:pt x="278" y="29"/>
                    <a:pt x="279" y="30"/>
                  </a:cubicBezTo>
                  <a:cubicBezTo>
                    <a:pt x="279" y="30"/>
                    <a:pt x="279" y="30"/>
                    <a:pt x="279" y="30"/>
                  </a:cubicBezTo>
                  <a:cubicBezTo>
                    <a:pt x="280" y="30"/>
                    <a:pt x="281" y="28"/>
                    <a:pt x="284" y="26"/>
                  </a:cubicBezTo>
                  <a:cubicBezTo>
                    <a:pt x="284" y="26"/>
                    <a:pt x="285" y="25"/>
                    <a:pt x="285" y="25"/>
                  </a:cubicBezTo>
                  <a:cubicBezTo>
                    <a:pt x="282" y="21"/>
                    <a:pt x="282" y="21"/>
                    <a:pt x="282" y="21"/>
                  </a:cubicBezTo>
                  <a:cubicBezTo>
                    <a:pt x="286" y="24"/>
                    <a:pt x="286" y="24"/>
                    <a:pt x="286" y="24"/>
                  </a:cubicBezTo>
                  <a:cubicBezTo>
                    <a:pt x="286" y="24"/>
                    <a:pt x="286" y="24"/>
                    <a:pt x="286" y="24"/>
                  </a:cubicBezTo>
                  <a:cubicBezTo>
                    <a:pt x="294" y="18"/>
                    <a:pt x="302" y="15"/>
                    <a:pt x="311" y="15"/>
                  </a:cubicBezTo>
                  <a:cubicBezTo>
                    <a:pt x="310" y="14"/>
                    <a:pt x="310" y="14"/>
                    <a:pt x="310" y="14"/>
                  </a:cubicBezTo>
                  <a:cubicBezTo>
                    <a:pt x="310" y="14"/>
                    <a:pt x="309" y="14"/>
                    <a:pt x="308" y="13"/>
                  </a:cubicBezTo>
                  <a:cubicBezTo>
                    <a:pt x="305" y="12"/>
                    <a:pt x="302" y="12"/>
                    <a:pt x="298" y="12"/>
                  </a:cubicBezTo>
                  <a:cubicBezTo>
                    <a:pt x="298" y="12"/>
                    <a:pt x="298" y="12"/>
                    <a:pt x="298" y="12"/>
                  </a:cubicBezTo>
                  <a:cubicBezTo>
                    <a:pt x="297" y="12"/>
                    <a:pt x="295" y="12"/>
                    <a:pt x="294" y="12"/>
                  </a:cubicBezTo>
                  <a:cubicBezTo>
                    <a:pt x="294" y="12"/>
                    <a:pt x="294" y="12"/>
                    <a:pt x="293" y="12"/>
                  </a:cubicBezTo>
                  <a:cubicBezTo>
                    <a:pt x="290" y="12"/>
                    <a:pt x="286" y="13"/>
                    <a:pt x="282" y="14"/>
                  </a:cubicBezTo>
                  <a:cubicBezTo>
                    <a:pt x="280" y="14"/>
                    <a:pt x="279" y="15"/>
                    <a:pt x="277" y="15"/>
                  </a:cubicBezTo>
                  <a:cubicBezTo>
                    <a:pt x="275" y="15"/>
                    <a:pt x="275" y="15"/>
                    <a:pt x="275" y="15"/>
                  </a:cubicBezTo>
                  <a:cubicBezTo>
                    <a:pt x="235" y="23"/>
                    <a:pt x="235" y="23"/>
                    <a:pt x="235" y="23"/>
                  </a:cubicBezTo>
                  <a:cubicBezTo>
                    <a:pt x="232" y="23"/>
                    <a:pt x="229" y="24"/>
                    <a:pt x="225" y="24"/>
                  </a:cubicBezTo>
                  <a:cubicBezTo>
                    <a:pt x="216" y="24"/>
                    <a:pt x="208" y="23"/>
                    <a:pt x="199" y="22"/>
                  </a:cubicBezTo>
                  <a:cubicBezTo>
                    <a:pt x="192" y="21"/>
                    <a:pt x="192" y="21"/>
                    <a:pt x="192" y="21"/>
                  </a:cubicBezTo>
                  <a:cubicBezTo>
                    <a:pt x="191" y="21"/>
                    <a:pt x="191" y="21"/>
                    <a:pt x="190" y="21"/>
                  </a:cubicBezTo>
                  <a:cubicBezTo>
                    <a:pt x="188" y="21"/>
                    <a:pt x="188" y="21"/>
                    <a:pt x="188" y="21"/>
                  </a:cubicBezTo>
                  <a:cubicBezTo>
                    <a:pt x="186" y="21"/>
                    <a:pt x="185" y="21"/>
                    <a:pt x="184" y="20"/>
                  </a:cubicBezTo>
                  <a:cubicBezTo>
                    <a:pt x="182" y="20"/>
                    <a:pt x="181" y="20"/>
                    <a:pt x="180" y="20"/>
                  </a:cubicBezTo>
                  <a:cubicBezTo>
                    <a:pt x="177" y="20"/>
                    <a:pt x="177" y="20"/>
                    <a:pt x="177" y="20"/>
                  </a:cubicBezTo>
                  <a:cubicBezTo>
                    <a:pt x="177" y="20"/>
                    <a:pt x="176" y="20"/>
                    <a:pt x="176" y="20"/>
                  </a:cubicBezTo>
                  <a:cubicBezTo>
                    <a:pt x="175" y="20"/>
                    <a:pt x="175" y="20"/>
                    <a:pt x="175" y="20"/>
                  </a:cubicBezTo>
                  <a:cubicBezTo>
                    <a:pt x="173" y="20"/>
                    <a:pt x="173" y="20"/>
                    <a:pt x="173" y="20"/>
                  </a:cubicBezTo>
                  <a:cubicBezTo>
                    <a:pt x="170" y="20"/>
                    <a:pt x="168" y="19"/>
                    <a:pt x="165" y="18"/>
                  </a:cubicBezTo>
                  <a:cubicBezTo>
                    <a:pt x="163" y="17"/>
                    <a:pt x="161" y="15"/>
                    <a:pt x="160" y="14"/>
                  </a:cubicBezTo>
                  <a:cubicBezTo>
                    <a:pt x="159" y="13"/>
                    <a:pt x="158" y="12"/>
                    <a:pt x="158" y="12"/>
                  </a:cubicBezTo>
                  <a:cubicBezTo>
                    <a:pt x="157" y="11"/>
                    <a:pt x="157" y="11"/>
                    <a:pt x="157" y="11"/>
                  </a:cubicBezTo>
                  <a:cubicBezTo>
                    <a:pt x="157" y="11"/>
                    <a:pt x="157" y="10"/>
                    <a:pt x="156" y="10"/>
                  </a:cubicBezTo>
                  <a:cubicBezTo>
                    <a:pt x="156" y="10"/>
                    <a:pt x="156" y="10"/>
                    <a:pt x="156" y="10"/>
                  </a:cubicBezTo>
                  <a:cubicBezTo>
                    <a:pt x="156" y="10"/>
                    <a:pt x="156" y="10"/>
                    <a:pt x="156" y="10"/>
                  </a:cubicBezTo>
                  <a:cubicBezTo>
                    <a:pt x="155" y="9"/>
                    <a:pt x="154" y="9"/>
                    <a:pt x="152" y="9"/>
                  </a:cubicBezTo>
                  <a:cubicBezTo>
                    <a:pt x="150" y="9"/>
                    <a:pt x="148" y="9"/>
                    <a:pt x="147" y="9"/>
                  </a:cubicBezTo>
                  <a:cubicBezTo>
                    <a:pt x="145" y="9"/>
                    <a:pt x="144" y="10"/>
                    <a:pt x="143" y="10"/>
                  </a:cubicBezTo>
                  <a:cubicBezTo>
                    <a:pt x="135" y="10"/>
                    <a:pt x="127" y="10"/>
                    <a:pt x="118" y="10"/>
                  </a:cubicBezTo>
                  <a:cubicBezTo>
                    <a:pt x="116" y="10"/>
                    <a:pt x="114" y="10"/>
                    <a:pt x="112" y="10"/>
                  </a:cubicBezTo>
                  <a:cubicBezTo>
                    <a:pt x="109" y="10"/>
                    <a:pt x="105" y="10"/>
                    <a:pt x="102" y="10"/>
                  </a:cubicBezTo>
                  <a:cubicBezTo>
                    <a:pt x="81" y="10"/>
                    <a:pt x="81" y="10"/>
                    <a:pt x="81" y="10"/>
                  </a:cubicBezTo>
                  <a:cubicBezTo>
                    <a:pt x="77" y="10"/>
                    <a:pt x="73" y="10"/>
                    <a:pt x="69" y="10"/>
                  </a:cubicBezTo>
                  <a:cubicBezTo>
                    <a:pt x="64" y="10"/>
                    <a:pt x="64" y="10"/>
                    <a:pt x="64" y="10"/>
                  </a:cubicBezTo>
                  <a:cubicBezTo>
                    <a:pt x="62" y="10"/>
                    <a:pt x="60" y="9"/>
                    <a:pt x="58" y="9"/>
                  </a:cubicBezTo>
                  <a:cubicBezTo>
                    <a:pt x="58" y="9"/>
                    <a:pt x="58" y="9"/>
                    <a:pt x="58" y="9"/>
                  </a:cubicBezTo>
                  <a:cubicBezTo>
                    <a:pt x="57" y="9"/>
                    <a:pt x="57" y="10"/>
                    <a:pt x="56" y="10"/>
                  </a:cubicBezTo>
                  <a:cubicBezTo>
                    <a:pt x="55" y="10"/>
                    <a:pt x="54" y="10"/>
                    <a:pt x="53" y="10"/>
                  </a:cubicBezTo>
                  <a:cubicBezTo>
                    <a:pt x="52" y="10"/>
                    <a:pt x="52" y="10"/>
                    <a:pt x="51" y="10"/>
                  </a:cubicBezTo>
                  <a:cubicBezTo>
                    <a:pt x="49" y="10"/>
                    <a:pt x="47" y="8"/>
                    <a:pt x="45" y="7"/>
                  </a:cubicBezTo>
                  <a:cubicBezTo>
                    <a:pt x="45" y="6"/>
                    <a:pt x="45" y="6"/>
                    <a:pt x="44" y="6"/>
                  </a:cubicBezTo>
                  <a:cubicBezTo>
                    <a:pt x="43" y="5"/>
                    <a:pt x="43" y="5"/>
                    <a:pt x="43" y="5"/>
                  </a:cubicBezTo>
                  <a:cubicBezTo>
                    <a:pt x="43" y="4"/>
                    <a:pt x="42" y="4"/>
                    <a:pt x="42" y="3"/>
                  </a:cubicBezTo>
                  <a:cubicBezTo>
                    <a:pt x="41" y="3"/>
                    <a:pt x="41" y="3"/>
                    <a:pt x="41" y="3"/>
                  </a:cubicBezTo>
                  <a:cubicBezTo>
                    <a:pt x="40" y="2"/>
                    <a:pt x="38" y="0"/>
                    <a:pt x="37" y="0"/>
                  </a:cubicBezTo>
                  <a:cubicBezTo>
                    <a:pt x="37"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226"/>
            <p:cNvSpPr/>
            <p:nvPr/>
          </p:nvSpPr>
          <p:spPr bwMode="auto">
            <a:xfrm>
              <a:off x="5490" y="3292"/>
              <a:ext cx="158" cy="397"/>
            </a:xfrm>
            <a:custGeom>
              <a:gdLst>
                <a:gd name="T0" fmla="*/ 14 w 67"/>
                <a:gd name="T1" fmla="*/ 6 h 168"/>
                <a:gd name="T2" fmla="*/ 22 w 67"/>
                <a:gd name="T3" fmla="*/ 20 h 168"/>
                <a:gd name="T4" fmla="*/ 13 w 67"/>
                <a:gd name="T5" fmla="*/ 30 h 168"/>
                <a:gd name="T6" fmla="*/ 13 w 67"/>
                <a:gd name="T7" fmla="*/ 32 h 168"/>
                <a:gd name="T8" fmla="*/ 12 w 67"/>
                <a:gd name="T9" fmla="*/ 41 h 168"/>
                <a:gd name="T10" fmla="*/ 11 w 67"/>
                <a:gd name="T11" fmla="*/ 46 h 168"/>
                <a:gd name="T12" fmla="*/ 12 w 67"/>
                <a:gd name="T13" fmla="*/ 52 h 168"/>
                <a:gd name="T14" fmla="*/ 12 w 67"/>
                <a:gd name="T15" fmla="*/ 55 h 168"/>
                <a:gd name="T16" fmla="*/ 12 w 67"/>
                <a:gd name="T17" fmla="*/ 56 h 168"/>
                <a:gd name="T18" fmla="*/ 15 w 67"/>
                <a:gd name="T19" fmla="*/ 61 h 168"/>
                <a:gd name="T20" fmla="*/ 17 w 67"/>
                <a:gd name="T21" fmla="*/ 68 h 168"/>
                <a:gd name="T22" fmla="*/ 15 w 67"/>
                <a:gd name="T23" fmla="*/ 69 h 168"/>
                <a:gd name="T24" fmla="*/ 7 w 67"/>
                <a:gd name="T25" fmla="*/ 73 h 168"/>
                <a:gd name="T26" fmla="*/ 6 w 67"/>
                <a:gd name="T27" fmla="*/ 77 h 168"/>
                <a:gd name="T28" fmla="*/ 4 w 67"/>
                <a:gd name="T29" fmla="*/ 89 h 168"/>
                <a:gd name="T30" fmla="*/ 1 w 67"/>
                <a:gd name="T31" fmla="*/ 94 h 168"/>
                <a:gd name="T32" fmla="*/ 0 w 67"/>
                <a:gd name="T33" fmla="*/ 96 h 168"/>
                <a:gd name="T34" fmla="*/ 3 w 67"/>
                <a:gd name="T35" fmla="*/ 99 h 168"/>
                <a:gd name="T36" fmla="*/ 4 w 67"/>
                <a:gd name="T37" fmla="*/ 101 h 168"/>
                <a:gd name="T38" fmla="*/ 6 w 67"/>
                <a:gd name="T39" fmla="*/ 100 h 168"/>
                <a:gd name="T40" fmla="*/ 8 w 67"/>
                <a:gd name="T41" fmla="*/ 101 h 168"/>
                <a:gd name="T42" fmla="*/ 17 w 67"/>
                <a:gd name="T43" fmla="*/ 107 h 168"/>
                <a:gd name="T44" fmla="*/ 18 w 67"/>
                <a:gd name="T45" fmla="*/ 113 h 168"/>
                <a:gd name="T46" fmla="*/ 26 w 67"/>
                <a:gd name="T47" fmla="*/ 113 h 168"/>
                <a:gd name="T48" fmla="*/ 38 w 67"/>
                <a:gd name="T49" fmla="*/ 113 h 168"/>
                <a:gd name="T50" fmla="*/ 43 w 67"/>
                <a:gd name="T51" fmla="*/ 126 h 168"/>
                <a:gd name="T52" fmla="*/ 43 w 67"/>
                <a:gd name="T53" fmla="*/ 129 h 168"/>
                <a:gd name="T54" fmla="*/ 41 w 67"/>
                <a:gd name="T55" fmla="*/ 138 h 168"/>
                <a:gd name="T56" fmla="*/ 36 w 67"/>
                <a:gd name="T57" fmla="*/ 148 h 168"/>
                <a:gd name="T58" fmla="*/ 38 w 67"/>
                <a:gd name="T59" fmla="*/ 155 h 168"/>
                <a:gd name="T60" fmla="*/ 39 w 67"/>
                <a:gd name="T61" fmla="*/ 156 h 168"/>
                <a:gd name="T62" fmla="*/ 40 w 67"/>
                <a:gd name="T63" fmla="*/ 158 h 168"/>
                <a:gd name="T64" fmla="*/ 47 w 67"/>
                <a:gd name="T65" fmla="*/ 164 h 168"/>
                <a:gd name="T66" fmla="*/ 48 w 67"/>
                <a:gd name="T67" fmla="*/ 165 h 168"/>
                <a:gd name="T68" fmla="*/ 50 w 67"/>
                <a:gd name="T69" fmla="*/ 166 h 168"/>
                <a:gd name="T70" fmla="*/ 51 w 67"/>
                <a:gd name="T71" fmla="*/ 164 h 168"/>
                <a:gd name="T72" fmla="*/ 56 w 67"/>
                <a:gd name="T73" fmla="*/ 155 h 168"/>
                <a:gd name="T74" fmla="*/ 58 w 67"/>
                <a:gd name="T75" fmla="*/ 154 h 168"/>
                <a:gd name="T76" fmla="*/ 61 w 67"/>
                <a:gd name="T77" fmla="*/ 153 h 168"/>
                <a:gd name="T78" fmla="*/ 64 w 67"/>
                <a:gd name="T79" fmla="*/ 152 h 168"/>
                <a:gd name="T80" fmla="*/ 66 w 67"/>
                <a:gd name="T81" fmla="*/ 150 h 168"/>
                <a:gd name="T82" fmla="*/ 67 w 67"/>
                <a:gd name="T83" fmla="*/ 140 h 168"/>
                <a:gd name="T84" fmla="*/ 67 w 67"/>
                <a:gd name="T85" fmla="*/ 134 h 168"/>
                <a:gd name="T86" fmla="*/ 67 w 67"/>
                <a:gd name="T87" fmla="*/ 133 h 168"/>
                <a:gd name="T88" fmla="*/ 67 w 67"/>
                <a:gd name="T89" fmla="*/ 130 h 168"/>
                <a:gd name="T90" fmla="*/ 67 w 67"/>
                <a:gd name="T91" fmla="*/ 124 h 168"/>
                <a:gd name="T92" fmla="*/ 63 w 67"/>
                <a:gd name="T93" fmla="*/ 116 h 168"/>
                <a:gd name="T94" fmla="*/ 53 w 67"/>
                <a:gd name="T95" fmla="*/ 103 h 168"/>
                <a:gd name="T96" fmla="*/ 56 w 67"/>
                <a:gd name="T97" fmla="*/ 112 h 168"/>
                <a:gd name="T98" fmla="*/ 47 w 67"/>
                <a:gd name="T99" fmla="*/ 104 h 168"/>
                <a:gd name="T100" fmla="*/ 39 w 67"/>
                <a:gd name="T101" fmla="*/ 105 h 168"/>
                <a:gd name="T102" fmla="*/ 33 w 67"/>
                <a:gd name="T103" fmla="*/ 102 h 168"/>
                <a:gd name="T104" fmla="*/ 39 w 67"/>
                <a:gd name="T105" fmla="*/ 95 h 168"/>
                <a:gd name="T106" fmla="*/ 34 w 67"/>
                <a:gd name="T107" fmla="*/ 79 h 168"/>
                <a:gd name="T108" fmla="*/ 33 w 67"/>
                <a:gd name="T109" fmla="*/ 50 h 168"/>
                <a:gd name="T110" fmla="*/ 31 w 67"/>
                <a:gd name="T111" fmla="*/ 22 h 168"/>
                <a:gd name="T112" fmla="*/ 26 w 67"/>
                <a:gd name="T113" fmla="*/ 5 h 168"/>
                <a:gd name="T114" fmla="*/ 25 w 67"/>
                <a:gd name="T115" fmla="*/ 5 h 168"/>
                <a:gd name="T116" fmla="*/ 23 w 67"/>
                <a:gd name="T117" fmla="*/ 4 h 168"/>
                <a:gd name="T118" fmla="*/ 21 w 67"/>
                <a:gd name="T119" fmla="*/ 4 h 168"/>
                <a:gd name="T120" fmla="*/ 19 w 67"/>
                <a:gd name="T121" fmla="*/ 3 h 168"/>
                <a:gd name="T122" fmla="*/ 14 w 67"/>
                <a:gd name="T123" fmla="*/ 1 h 1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 h="168">
                  <a:moveTo>
                    <a:pt x="11" y="0"/>
                  </a:moveTo>
                  <a:cubicBezTo>
                    <a:pt x="13" y="2"/>
                    <a:pt x="13" y="4"/>
                    <a:pt x="14" y="6"/>
                  </a:cubicBezTo>
                  <a:cubicBezTo>
                    <a:pt x="14" y="10"/>
                    <a:pt x="16" y="13"/>
                    <a:pt x="19" y="17"/>
                  </a:cubicBezTo>
                  <a:cubicBezTo>
                    <a:pt x="20" y="18"/>
                    <a:pt x="21" y="19"/>
                    <a:pt x="22" y="20"/>
                  </a:cubicBezTo>
                  <a:cubicBezTo>
                    <a:pt x="23" y="23"/>
                    <a:pt x="23" y="23"/>
                    <a:pt x="23" y="23"/>
                  </a:cubicBezTo>
                  <a:cubicBezTo>
                    <a:pt x="13" y="30"/>
                    <a:pt x="13" y="30"/>
                    <a:pt x="13" y="30"/>
                  </a:cubicBezTo>
                  <a:cubicBezTo>
                    <a:pt x="13" y="30"/>
                    <a:pt x="13" y="30"/>
                    <a:pt x="13" y="30"/>
                  </a:cubicBezTo>
                  <a:cubicBezTo>
                    <a:pt x="13" y="31"/>
                    <a:pt x="13" y="31"/>
                    <a:pt x="13" y="32"/>
                  </a:cubicBezTo>
                  <a:cubicBezTo>
                    <a:pt x="13" y="32"/>
                    <a:pt x="13" y="33"/>
                    <a:pt x="13" y="34"/>
                  </a:cubicBezTo>
                  <a:cubicBezTo>
                    <a:pt x="13" y="36"/>
                    <a:pt x="13" y="39"/>
                    <a:pt x="12" y="41"/>
                  </a:cubicBezTo>
                  <a:cubicBezTo>
                    <a:pt x="12" y="42"/>
                    <a:pt x="12" y="43"/>
                    <a:pt x="11" y="44"/>
                  </a:cubicBezTo>
                  <a:cubicBezTo>
                    <a:pt x="11" y="45"/>
                    <a:pt x="11" y="45"/>
                    <a:pt x="11" y="46"/>
                  </a:cubicBezTo>
                  <a:cubicBezTo>
                    <a:pt x="11" y="48"/>
                    <a:pt x="12" y="49"/>
                    <a:pt x="12" y="51"/>
                  </a:cubicBezTo>
                  <a:cubicBezTo>
                    <a:pt x="12" y="52"/>
                    <a:pt x="12" y="52"/>
                    <a:pt x="12" y="52"/>
                  </a:cubicBezTo>
                  <a:cubicBezTo>
                    <a:pt x="12" y="53"/>
                    <a:pt x="12" y="54"/>
                    <a:pt x="12" y="55"/>
                  </a:cubicBezTo>
                  <a:cubicBezTo>
                    <a:pt x="12" y="55"/>
                    <a:pt x="12" y="55"/>
                    <a:pt x="12" y="55"/>
                  </a:cubicBezTo>
                  <a:cubicBezTo>
                    <a:pt x="17" y="54"/>
                    <a:pt x="17" y="54"/>
                    <a:pt x="17" y="54"/>
                  </a:cubicBezTo>
                  <a:cubicBezTo>
                    <a:pt x="12" y="56"/>
                    <a:pt x="12" y="56"/>
                    <a:pt x="12" y="56"/>
                  </a:cubicBezTo>
                  <a:cubicBezTo>
                    <a:pt x="12" y="56"/>
                    <a:pt x="12" y="56"/>
                    <a:pt x="12" y="56"/>
                  </a:cubicBezTo>
                  <a:cubicBezTo>
                    <a:pt x="12" y="58"/>
                    <a:pt x="13" y="59"/>
                    <a:pt x="15" y="61"/>
                  </a:cubicBezTo>
                  <a:cubicBezTo>
                    <a:pt x="20" y="66"/>
                    <a:pt x="20" y="66"/>
                    <a:pt x="20" y="66"/>
                  </a:cubicBezTo>
                  <a:cubicBezTo>
                    <a:pt x="17" y="68"/>
                    <a:pt x="17" y="68"/>
                    <a:pt x="17" y="68"/>
                  </a:cubicBezTo>
                  <a:cubicBezTo>
                    <a:pt x="16" y="68"/>
                    <a:pt x="16" y="68"/>
                    <a:pt x="15" y="69"/>
                  </a:cubicBezTo>
                  <a:cubicBezTo>
                    <a:pt x="15" y="69"/>
                    <a:pt x="15" y="69"/>
                    <a:pt x="15" y="69"/>
                  </a:cubicBezTo>
                  <a:cubicBezTo>
                    <a:pt x="13" y="70"/>
                    <a:pt x="11" y="72"/>
                    <a:pt x="9" y="73"/>
                  </a:cubicBezTo>
                  <a:cubicBezTo>
                    <a:pt x="8" y="73"/>
                    <a:pt x="7" y="73"/>
                    <a:pt x="7" y="73"/>
                  </a:cubicBezTo>
                  <a:cubicBezTo>
                    <a:pt x="7" y="73"/>
                    <a:pt x="7" y="73"/>
                    <a:pt x="7" y="73"/>
                  </a:cubicBezTo>
                  <a:cubicBezTo>
                    <a:pt x="6" y="74"/>
                    <a:pt x="6" y="76"/>
                    <a:pt x="6" y="77"/>
                  </a:cubicBezTo>
                  <a:cubicBezTo>
                    <a:pt x="6" y="78"/>
                    <a:pt x="6" y="78"/>
                    <a:pt x="6" y="78"/>
                  </a:cubicBezTo>
                  <a:cubicBezTo>
                    <a:pt x="6" y="82"/>
                    <a:pt x="5" y="86"/>
                    <a:pt x="4" y="89"/>
                  </a:cubicBezTo>
                  <a:cubicBezTo>
                    <a:pt x="3" y="90"/>
                    <a:pt x="3" y="91"/>
                    <a:pt x="2" y="92"/>
                  </a:cubicBezTo>
                  <a:cubicBezTo>
                    <a:pt x="2" y="93"/>
                    <a:pt x="1" y="94"/>
                    <a:pt x="1" y="94"/>
                  </a:cubicBezTo>
                  <a:cubicBezTo>
                    <a:pt x="0" y="95"/>
                    <a:pt x="0" y="95"/>
                    <a:pt x="0" y="95"/>
                  </a:cubicBezTo>
                  <a:cubicBezTo>
                    <a:pt x="0" y="96"/>
                    <a:pt x="0" y="96"/>
                    <a:pt x="0" y="96"/>
                  </a:cubicBezTo>
                  <a:cubicBezTo>
                    <a:pt x="1" y="97"/>
                    <a:pt x="1" y="97"/>
                    <a:pt x="1" y="97"/>
                  </a:cubicBezTo>
                  <a:cubicBezTo>
                    <a:pt x="2" y="98"/>
                    <a:pt x="2" y="99"/>
                    <a:pt x="3" y="99"/>
                  </a:cubicBezTo>
                  <a:cubicBezTo>
                    <a:pt x="3" y="100"/>
                    <a:pt x="3" y="100"/>
                    <a:pt x="4" y="101"/>
                  </a:cubicBezTo>
                  <a:cubicBezTo>
                    <a:pt x="4" y="101"/>
                    <a:pt x="4" y="101"/>
                    <a:pt x="4" y="101"/>
                  </a:cubicBezTo>
                  <a:cubicBezTo>
                    <a:pt x="4" y="101"/>
                    <a:pt x="5" y="100"/>
                    <a:pt x="6" y="100"/>
                  </a:cubicBezTo>
                  <a:cubicBezTo>
                    <a:pt x="6" y="100"/>
                    <a:pt x="6" y="100"/>
                    <a:pt x="6" y="100"/>
                  </a:cubicBezTo>
                  <a:cubicBezTo>
                    <a:pt x="7" y="100"/>
                    <a:pt x="8" y="101"/>
                    <a:pt x="8" y="101"/>
                  </a:cubicBezTo>
                  <a:cubicBezTo>
                    <a:pt x="8" y="101"/>
                    <a:pt x="8" y="101"/>
                    <a:pt x="8" y="101"/>
                  </a:cubicBezTo>
                  <a:cubicBezTo>
                    <a:pt x="10" y="102"/>
                    <a:pt x="10" y="102"/>
                    <a:pt x="10" y="102"/>
                  </a:cubicBezTo>
                  <a:cubicBezTo>
                    <a:pt x="17" y="107"/>
                    <a:pt x="17" y="107"/>
                    <a:pt x="17" y="107"/>
                  </a:cubicBezTo>
                  <a:cubicBezTo>
                    <a:pt x="14" y="107"/>
                    <a:pt x="14" y="107"/>
                    <a:pt x="14" y="107"/>
                  </a:cubicBezTo>
                  <a:cubicBezTo>
                    <a:pt x="15" y="109"/>
                    <a:pt x="17" y="112"/>
                    <a:pt x="18" y="113"/>
                  </a:cubicBezTo>
                  <a:cubicBezTo>
                    <a:pt x="19" y="114"/>
                    <a:pt x="19" y="114"/>
                    <a:pt x="19" y="114"/>
                  </a:cubicBezTo>
                  <a:cubicBezTo>
                    <a:pt x="26" y="113"/>
                    <a:pt x="26" y="113"/>
                    <a:pt x="26" y="113"/>
                  </a:cubicBezTo>
                  <a:cubicBezTo>
                    <a:pt x="29" y="112"/>
                    <a:pt x="32" y="111"/>
                    <a:pt x="34" y="111"/>
                  </a:cubicBezTo>
                  <a:cubicBezTo>
                    <a:pt x="36" y="111"/>
                    <a:pt x="38" y="111"/>
                    <a:pt x="38" y="113"/>
                  </a:cubicBezTo>
                  <a:cubicBezTo>
                    <a:pt x="39" y="114"/>
                    <a:pt x="39" y="116"/>
                    <a:pt x="40" y="117"/>
                  </a:cubicBezTo>
                  <a:cubicBezTo>
                    <a:pt x="41" y="120"/>
                    <a:pt x="42" y="123"/>
                    <a:pt x="43" y="126"/>
                  </a:cubicBezTo>
                  <a:cubicBezTo>
                    <a:pt x="43" y="127"/>
                    <a:pt x="43" y="127"/>
                    <a:pt x="43" y="127"/>
                  </a:cubicBezTo>
                  <a:cubicBezTo>
                    <a:pt x="43" y="127"/>
                    <a:pt x="43" y="128"/>
                    <a:pt x="43" y="129"/>
                  </a:cubicBezTo>
                  <a:cubicBezTo>
                    <a:pt x="43" y="132"/>
                    <a:pt x="42" y="134"/>
                    <a:pt x="41" y="137"/>
                  </a:cubicBezTo>
                  <a:cubicBezTo>
                    <a:pt x="41" y="138"/>
                    <a:pt x="41" y="138"/>
                    <a:pt x="41" y="138"/>
                  </a:cubicBezTo>
                  <a:cubicBezTo>
                    <a:pt x="41" y="138"/>
                    <a:pt x="40" y="139"/>
                    <a:pt x="40" y="140"/>
                  </a:cubicBezTo>
                  <a:cubicBezTo>
                    <a:pt x="39" y="143"/>
                    <a:pt x="38" y="147"/>
                    <a:pt x="36" y="148"/>
                  </a:cubicBezTo>
                  <a:cubicBezTo>
                    <a:pt x="35" y="149"/>
                    <a:pt x="35" y="149"/>
                    <a:pt x="35" y="149"/>
                  </a:cubicBezTo>
                  <a:cubicBezTo>
                    <a:pt x="35" y="151"/>
                    <a:pt x="37" y="153"/>
                    <a:pt x="38" y="155"/>
                  </a:cubicBezTo>
                  <a:cubicBezTo>
                    <a:pt x="38" y="156"/>
                    <a:pt x="38" y="156"/>
                    <a:pt x="38" y="156"/>
                  </a:cubicBezTo>
                  <a:cubicBezTo>
                    <a:pt x="39" y="156"/>
                    <a:pt x="39" y="156"/>
                    <a:pt x="39" y="156"/>
                  </a:cubicBezTo>
                  <a:cubicBezTo>
                    <a:pt x="40" y="157"/>
                    <a:pt x="40" y="157"/>
                    <a:pt x="40" y="157"/>
                  </a:cubicBezTo>
                  <a:cubicBezTo>
                    <a:pt x="40" y="158"/>
                    <a:pt x="40" y="158"/>
                    <a:pt x="40" y="158"/>
                  </a:cubicBezTo>
                  <a:cubicBezTo>
                    <a:pt x="41" y="159"/>
                    <a:pt x="43" y="161"/>
                    <a:pt x="45" y="162"/>
                  </a:cubicBezTo>
                  <a:cubicBezTo>
                    <a:pt x="47" y="164"/>
                    <a:pt x="47" y="164"/>
                    <a:pt x="47" y="164"/>
                  </a:cubicBezTo>
                  <a:cubicBezTo>
                    <a:pt x="48" y="165"/>
                    <a:pt x="48" y="165"/>
                    <a:pt x="48" y="165"/>
                  </a:cubicBezTo>
                  <a:cubicBezTo>
                    <a:pt x="48" y="165"/>
                    <a:pt x="48" y="165"/>
                    <a:pt x="48" y="165"/>
                  </a:cubicBezTo>
                  <a:cubicBezTo>
                    <a:pt x="49" y="166"/>
                    <a:pt x="50" y="167"/>
                    <a:pt x="50" y="168"/>
                  </a:cubicBezTo>
                  <a:cubicBezTo>
                    <a:pt x="50" y="167"/>
                    <a:pt x="50" y="166"/>
                    <a:pt x="50" y="166"/>
                  </a:cubicBezTo>
                  <a:cubicBezTo>
                    <a:pt x="50" y="165"/>
                    <a:pt x="50" y="165"/>
                    <a:pt x="50" y="165"/>
                  </a:cubicBezTo>
                  <a:cubicBezTo>
                    <a:pt x="51" y="164"/>
                    <a:pt x="51" y="164"/>
                    <a:pt x="51" y="164"/>
                  </a:cubicBezTo>
                  <a:cubicBezTo>
                    <a:pt x="51" y="163"/>
                    <a:pt x="53" y="160"/>
                    <a:pt x="54" y="158"/>
                  </a:cubicBezTo>
                  <a:cubicBezTo>
                    <a:pt x="54" y="157"/>
                    <a:pt x="55" y="156"/>
                    <a:pt x="56" y="155"/>
                  </a:cubicBezTo>
                  <a:cubicBezTo>
                    <a:pt x="56" y="155"/>
                    <a:pt x="56" y="154"/>
                    <a:pt x="57" y="154"/>
                  </a:cubicBezTo>
                  <a:cubicBezTo>
                    <a:pt x="58" y="154"/>
                    <a:pt x="58" y="154"/>
                    <a:pt x="58" y="154"/>
                  </a:cubicBezTo>
                  <a:cubicBezTo>
                    <a:pt x="58" y="154"/>
                    <a:pt x="59" y="154"/>
                    <a:pt x="60" y="153"/>
                  </a:cubicBezTo>
                  <a:cubicBezTo>
                    <a:pt x="61" y="153"/>
                    <a:pt x="61" y="153"/>
                    <a:pt x="61" y="153"/>
                  </a:cubicBezTo>
                  <a:cubicBezTo>
                    <a:pt x="62" y="153"/>
                    <a:pt x="62" y="153"/>
                    <a:pt x="63" y="152"/>
                  </a:cubicBezTo>
                  <a:cubicBezTo>
                    <a:pt x="64" y="152"/>
                    <a:pt x="64" y="152"/>
                    <a:pt x="64" y="152"/>
                  </a:cubicBezTo>
                  <a:cubicBezTo>
                    <a:pt x="64" y="152"/>
                    <a:pt x="65" y="152"/>
                    <a:pt x="65" y="152"/>
                  </a:cubicBezTo>
                  <a:cubicBezTo>
                    <a:pt x="66" y="151"/>
                    <a:pt x="66" y="151"/>
                    <a:pt x="66" y="150"/>
                  </a:cubicBezTo>
                  <a:cubicBezTo>
                    <a:pt x="67" y="141"/>
                    <a:pt x="67" y="141"/>
                    <a:pt x="67" y="141"/>
                  </a:cubicBezTo>
                  <a:cubicBezTo>
                    <a:pt x="67" y="141"/>
                    <a:pt x="67" y="140"/>
                    <a:pt x="67" y="140"/>
                  </a:cubicBezTo>
                  <a:cubicBezTo>
                    <a:pt x="67" y="139"/>
                    <a:pt x="67" y="138"/>
                    <a:pt x="67" y="137"/>
                  </a:cubicBezTo>
                  <a:cubicBezTo>
                    <a:pt x="67" y="136"/>
                    <a:pt x="67" y="135"/>
                    <a:pt x="67" y="134"/>
                  </a:cubicBezTo>
                  <a:cubicBezTo>
                    <a:pt x="67" y="133"/>
                    <a:pt x="67" y="133"/>
                    <a:pt x="67" y="133"/>
                  </a:cubicBezTo>
                  <a:cubicBezTo>
                    <a:pt x="67" y="133"/>
                    <a:pt x="67" y="133"/>
                    <a:pt x="67" y="133"/>
                  </a:cubicBezTo>
                  <a:cubicBezTo>
                    <a:pt x="67" y="132"/>
                    <a:pt x="67" y="132"/>
                    <a:pt x="67" y="132"/>
                  </a:cubicBezTo>
                  <a:cubicBezTo>
                    <a:pt x="67" y="132"/>
                    <a:pt x="67" y="131"/>
                    <a:pt x="67" y="130"/>
                  </a:cubicBezTo>
                  <a:cubicBezTo>
                    <a:pt x="67" y="129"/>
                    <a:pt x="67" y="129"/>
                    <a:pt x="67" y="129"/>
                  </a:cubicBezTo>
                  <a:cubicBezTo>
                    <a:pt x="67" y="127"/>
                    <a:pt x="67" y="126"/>
                    <a:pt x="67" y="124"/>
                  </a:cubicBezTo>
                  <a:cubicBezTo>
                    <a:pt x="67" y="121"/>
                    <a:pt x="67" y="120"/>
                    <a:pt x="65" y="118"/>
                  </a:cubicBezTo>
                  <a:cubicBezTo>
                    <a:pt x="63" y="116"/>
                    <a:pt x="63" y="116"/>
                    <a:pt x="63" y="116"/>
                  </a:cubicBezTo>
                  <a:cubicBezTo>
                    <a:pt x="63" y="116"/>
                    <a:pt x="63" y="116"/>
                    <a:pt x="63" y="116"/>
                  </a:cubicBezTo>
                  <a:cubicBezTo>
                    <a:pt x="53" y="103"/>
                    <a:pt x="53" y="103"/>
                    <a:pt x="53" y="103"/>
                  </a:cubicBezTo>
                  <a:cubicBezTo>
                    <a:pt x="53" y="103"/>
                    <a:pt x="53" y="103"/>
                    <a:pt x="53" y="103"/>
                  </a:cubicBezTo>
                  <a:cubicBezTo>
                    <a:pt x="54" y="106"/>
                    <a:pt x="55" y="109"/>
                    <a:pt x="56" y="112"/>
                  </a:cubicBezTo>
                  <a:cubicBezTo>
                    <a:pt x="54" y="111"/>
                    <a:pt x="51" y="109"/>
                    <a:pt x="49" y="108"/>
                  </a:cubicBezTo>
                  <a:cubicBezTo>
                    <a:pt x="48" y="107"/>
                    <a:pt x="48" y="105"/>
                    <a:pt x="47" y="104"/>
                  </a:cubicBezTo>
                  <a:cubicBezTo>
                    <a:pt x="46" y="106"/>
                    <a:pt x="45" y="108"/>
                    <a:pt x="44" y="110"/>
                  </a:cubicBezTo>
                  <a:cubicBezTo>
                    <a:pt x="43" y="109"/>
                    <a:pt x="39" y="107"/>
                    <a:pt x="39" y="105"/>
                  </a:cubicBezTo>
                  <a:cubicBezTo>
                    <a:pt x="40" y="103"/>
                    <a:pt x="41" y="101"/>
                    <a:pt x="40" y="98"/>
                  </a:cubicBezTo>
                  <a:cubicBezTo>
                    <a:pt x="33" y="102"/>
                    <a:pt x="33" y="102"/>
                    <a:pt x="33" y="102"/>
                  </a:cubicBezTo>
                  <a:cubicBezTo>
                    <a:pt x="39" y="95"/>
                    <a:pt x="39" y="95"/>
                    <a:pt x="39" y="95"/>
                  </a:cubicBezTo>
                  <a:cubicBezTo>
                    <a:pt x="39" y="95"/>
                    <a:pt x="39" y="95"/>
                    <a:pt x="39" y="95"/>
                  </a:cubicBezTo>
                  <a:cubicBezTo>
                    <a:pt x="36" y="92"/>
                    <a:pt x="34" y="91"/>
                    <a:pt x="34" y="87"/>
                  </a:cubicBezTo>
                  <a:cubicBezTo>
                    <a:pt x="34" y="84"/>
                    <a:pt x="34" y="82"/>
                    <a:pt x="34" y="79"/>
                  </a:cubicBezTo>
                  <a:cubicBezTo>
                    <a:pt x="33" y="73"/>
                    <a:pt x="28" y="68"/>
                    <a:pt x="27" y="62"/>
                  </a:cubicBezTo>
                  <a:cubicBezTo>
                    <a:pt x="26" y="58"/>
                    <a:pt x="32" y="53"/>
                    <a:pt x="33" y="50"/>
                  </a:cubicBezTo>
                  <a:cubicBezTo>
                    <a:pt x="35" y="45"/>
                    <a:pt x="32" y="37"/>
                    <a:pt x="32" y="32"/>
                  </a:cubicBezTo>
                  <a:cubicBezTo>
                    <a:pt x="31" y="29"/>
                    <a:pt x="30" y="25"/>
                    <a:pt x="31" y="22"/>
                  </a:cubicBezTo>
                  <a:cubicBezTo>
                    <a:pt x="31" y="19"/>
                    <a:pt x="33" y="20"/>
                    <a:pt x="31" y="16"/>
                  </a:cubicBezTo>
                  <a:cubicBezTo>
                    <a:pt x="30" y="12"/>
                    <a:pt x="28" y="9"/>
                    <a:pt x="26" y="5"/>
                  </a:cubicBezTo>
                  <a:cubicBezTo>
                    <a:pt x="26" y="4"/>
                    <a:pt x="25" y="4"/>
                    <a:pt x="25" y="3"/>
                  </a:cubicBezTo>
                  <a:cubicBezTo>
                    <a:pt x="25" y="5"/>
                    <a:pt x="25" y="5"/>
                    <a:pt x="25" y="5"/>
                  </a:cubicBezTo>
                  <a:cubicBezTo>
                    <a:pt x="24" y="4"/>
                    <a:pt x="24" y="4"/>
                    <a:pt x="24" y="4"/>
                  </a:cubicBezTo>
                  <a:cubicBezTo>
                    <a:pt x="23" y="4"/>
                    <a:pt x="23" y="4"/>
                    <a:pt x="23" y="4"/>
                  </a:cubicBezTo>
                  <a:cubicBezTo>
                    <a:pt x="23" y="4"/>
                    <a:pt x="23" y="4"/>
                    <a:pt x="23" y="4"/>
                  </a:cubicBezTo>
                  <a:cubicBezTo>
                    <a:pt x="22" y="4"/>
                    <a:pt x="22" y="4"/>
                    <a:pt x="21" y="4"/>
                  </a:cubicBezTo>
                  <a:cubicBezTo>
                    <a:pt x="21" y="3"/>
                    <a:pt x="20" y="3"/>
                    <a:pt x="19" y="3"/>
                  </a:cubicBezTo>
                  <a:cubicBezTo>
                    <a:pt x="19" y="3"/>
                    <a:pt x="19" y="3"/>
                    <a:pt x="19" y="3"/>
                  </a:cubicBezTo>
                  <a:cubicBezTo>
                    <a:pt x="18" y="2"/>
                    <a:pt x="17" y="2"/>
                    <a:pt x="16" y="1"/>
                  </a:cubicBezTo>
                  <a:cubicBezTo>
                    <a:pt x="14" y="1"/>
                    <a:pt x="14" y="1"/>
                    <a:pt x="14" y="1"/>
                  </a:cubicBezTo>
                  <a:cubicBezTo>
                    <a:pt x="13"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Rectangle 227"/>
            <p:cNvSpPr>
              <a:spLocks noChangeArrowheads="1"/>
            </p:cNvSpPr>
            <p:nvPr/>
          </p:nvSpPr>
          <p:spPr bwMode="auto">
            <a:xfrm>
              <a:off x="4497" y="210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228"/>
            <p:cNvSpPr/>
            <p:nvPr/>
          </p:nvSpPr>
          <p:spPr bwMode="auto">
            <a:xfrm flipH="1">
              <a:off x="4497" y="2105"/>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229"/>
            <p:cNvSpPr/>
            <p:nvPr/>
          </p:nvSpPr>
          <p:spPr bwMode="auto">
            <a:xfrm>
              <a:off x="4136" y="2495"/>
              <a:ext cx="7" cy="9"/>
            </a:xfrm>
            <a:custGeom>
              <a:gdLst>
                <a:gd name="T0" fmla="*/ 3 w 3"/>
                <a:gd name="T1" fmla="*/ 0 h 4"/>
                <a:gd name="T2" fmla="*/ 3 w 3"/>
                <a:gd name="T3" fmla="*/ 0 h 4"/>
                <a:gd name="T4" fmla="*/ 1 w 3"/>
                <a:gd name="T5" fmla="*/ 2 h 4"/>
                <a:gd name="T6" fmla="*/ 0 w 3"/>
                <a:gd name="T7" fmla="*/ 2 h 4"/>
                <a:gd name="T8" fmla="*/ 1 w 3"/>
                <a:gd name="T9" fmla="*/ 3 h 4"/>
                <a:gd name="T10" fmla="*/ 2 w 3"/>
                <a:gd name="T11" fmla="*/ 4 h 4"/>
                <a:gd name="T12" fmla="*/ 3 w 3"/>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3" y="0"/>
                    <a:pt x="3" y="0"/>
                    <a:pt x="3" y="0"/>
                  </a:cubicBezTo>
                  <a:cubicBezTo>
                    <a:pt x="3" y="0"/>
                    <a:pt x="2" y="1"/>
                    <a:pt x="1" y="2"/>
                  </a:cubicBezTo>
                  <a:cubicBezTo>
                    <a:pt x="0" y="2"/>
                    <a:pt x="0" y="2"/>
                    <a:pt x="0" y="2"/>
                  </a:cubicBezTo>
                  <a:cubicBezTo>
                    <a:pt x="0" y="3"/>
                    <a:pt x="1" y="3"/>
                    <a:pt x="1" y="3"/>
                  </a:cubicBezTo>
                  <a:cubicBezTo>
                    <a:pt x="1" y="3"/>
                    <a:pt x="1" y="4"/>
                    <a:pt x="2" y="4"/>
                  </a:cubicBezTo>
                  <a:cubicBezTo>
                    <a:pt x="3" y="4"/>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230"/>
            <p:cNvSpPr/>
            <p:nvPr/>
          </p:nvSpPr>
          <p:spPr bwMode="auto">
            <a:xfrm>
              <a:off x="4145" y="2032"/>
              <a:ext cx="409" cy="614"/>
            </a:xfrm>
            <a:custGeom>
              <a:gdLst>
                <a:gd name="T0" fmla="*/ 134 w 173"/>
                <a:gd name="T1" fmla="*/ 11 h 260"/>
                <a:gd name="T2" fmla="*/ 141 w 173"/>
                <a:gd name="T3" fmla="*/ 16 h 260"/>
                <a:gd name="T4" fmla="*/ 142 w 173"/>
                <a:gd name="T5" fmla="*/ 25 h 260"/>
                <a:gd name="T6" fmla="*/ 133 w 173"/>
                <a:gd name="T7" fmla="*/ 41 h 260"/>
                <a:gd name="T8" fmla="*/ 126 w 173"/>
                <a:gd name="T9" fmla="*/ 42 h 260"/>
                <a:gd name="T10" fmla="*/ 122 w 173"/>
                <a:gd name="T11" fmla="*/ 48 h 260"/>
                <a:gd name="T12" fmla="*/ 117 w 173"/>
                <a:gd name="T13" fmla="*/ 55 h 260"/>
                <a:gd name="T14" fmla="*/ 112 w 173"/>
                <a:gd name="T15" fmla="*/ 69 h 260"/>
                <a:gd name="T16" fmla="*/ 110 w 173"/>
                <a:gd name="T17" fmla="*/ 75 h 260"/>
                <a:gd name="T18" fmla="*/ 104 w 173"/>
                <a:gd name="T19" fmla="*/ 84 h 260"/>
                <a:gd name="T20" fmla="*/ 97 w 173"/>
                <a:gd name="T21" fmla="*/ 101 h 260"/>
                <a:gd name="T22" fmla="*/ 85 w 173"/>
                <a:gd name="T23" fmla="*/ 116 h 260"/>
                <a:gd name="T24" fmla="*/ 76 w 173"/>
                <a:gd name="T25" fmla="*/ 136 h 260"/>
                <a:gd name="T26" fmla="*/ 71 w 173"/>
                <a:gd name="T27" fmla="*/ 147 h 260"/>
                <a:gd name="T28" fmla="*/ 61 w 173"/>
                <a:gd name="T29" fmla="*/ 156 h 260"/>
                <a:gd name="T30" fmla="*/ 45 w 173"/>
                <a:gd name="T31" fmla="*/ 144 h 260"/>
                <a:gd name="T32" fmla="*/ 37 w 173"/>
                <a:gd name="T33" fmla="*/ 144 h 260"/>
                <a:gd name="T34" fmla="*/ 27 w 173"/>
                <a:gd name="T35" fmla="*/ 150 h 260"/>
                <a:gd name="T36" fmla="*/ 19 w 173"/>
                <a:gd name="T37" fmla="*/ 158 h 260"/>
                <a:gd name="T38" fmla="*/ 6 w 173"/>
                <a:gd name="T39" fmla="*/ 174 h 260"/>
                <a:gd name="T40" fmla="*/ 2 w 173"/>
                <a:gd name="T41" fmla="*/ 189 h 260"/>
                <a:gd name="T42" fmla="*/ 3 w 173"/>
                <a:gd name="T43" fmla="*/ 196 h 260"/>
                <a:gd name="T44" fmla="*/ 18 w 173"/>
                <a:gd name="T45" fmla="*/ 210 h 260"/>
                <a:gd name="T46" fmla="*/ 23 w 173"/>
                <a:gd name="T47" fmla="*/ 213 h 260"/>
                <a:gd name="T48" fmla="*/ 28 w 173"/>
                <a:gd name="T49" fmla="*/ 238 h 260"/>
                <a:gd name="T50" fmla="*/ 29 w 173"/>
                <a:gd name="T51" fmla="*/ 249 h 260"/>
                <a:gd name="T52" fmla="*/ 59 w 173"/>
                <a:gd name="T53" fmla="*/ 252 h 260"/>
                <a:gd name="T54" fmla="*/ 68 w 173"/>
                <a:gd name="T55" fmla="*/ 248 h 260"/>
                <a:gd name="T56" fmla="*/ 79 w 173"/>
                <a:gd name="T57" fmla="*/ 249 h 260"/>
                <a:gd name="T58" fmla="*/ 104 w 173"/>
                <a:gd name="T59" fmla="*/ 249 h 260"/>
                <a:gd name="T60" fmla="*/ 108 w 173"/>
                <a:gd name="T61" fmla="*/ 251 h 260"/>
                <a:gd name="T62" fmla="*/ 117 w 173"/>
                <a:gd name="T63" fmla="*/ 252 h 260"/>
                <a:gd name="T64" fmla="*/ 143 w 173"/>
                <a:gd name="T65" fmla="*/ 253 h 260"/>
                <a:gd name="T66" fmla="*/ 145 w 173"/>
                <a:gd name="T67" fmla="*/ 254 h 260"/>
                <a:gd name="T68" fmla="*/ 152 w 173"/>
                <a:gd name="T69" fmla="*/ 256 h 260"/>
                <a:gd name="T70" fmla="*/ 159 w 173"/>
                <a:gd name="T71" fmla="*/ 257 h 260"/>
                <a:gd name="T72" fmla="*/ 170 w 173"/>
                <a:gd name="T73" fmla="*/ 260 h 260"/>
                <a:gd name="T74" fmla="*/ 173 w 173"/>
                <a:gd name="T75" fmla="*/ 251 h 260"/>
                <a:gd name="T76" fmla="*/ 170 w 173"/>
                <a:gd name="T77" fmla="*/ 237 h 260"/>
                <a:gd name="T78" fmla="*/ 145 w 173"/>
                <a:gd name="T79" fmla="*/ 209 h 260"/>
                <a:gd name="T80" fmla="*/ 139 w 173"/>
                <a:gd name="T81" fmla="*/ 194 h 260"/>
                <a:gd name="T82" fmla="*/ 136 w 173"/>
                <a:gd name="T83" fmla="*/ 176 h 260"/>
                <a:gd name="T84" fmla="*/ 136 w 173"/>
                <a:gd name="T85" fmla="*/ 168 h 260"/>
                <a:gd name="T86" fmla="*/ 135 w 173"/>
                <a:gd name="T87" fmla="*/ 159 h 260"/>
                <a:gd name="T88" fmla="*/ 147 w 173"/>
                <a:gd name="T89" fmla="*/ 141 h 260"/>
                <a:gd name="T90" fmla="*/ 156 w 173"/>
                <a:gd name="T91" fmla="*/ 127 h 260"/>
                <a:gd name="T92" fmla="*/ 158 w 173"/>
                <a:gd name="T93" fmla="*/ 124 h 260"/>
                <a:gd name="T94" fmla="*/ 153 w 173"/>
                <a:gd name="T95" fmla="*/ 113 h 260"/>
                <a:gd name="T96" fmla="*/ 126 w 173"/>
                <a:gd name="T97" fmla="*/ 84 h 260"/>
                <a:gd name="T98" fmla="*/ 131 w 173"/>
                <a:gd name="T99" fmla="*/ 67 h 260"/>
                <a:gd name="T100" fmla="*/ 140 w 173"/>
                <a:gd name="T101" fmla="*/ 67 h 260"/>
                <a:gd name="T102" fmla="*/ 149 w 173"/>
                <a:gd name="T103" fmla="*/ 61 h 260"/>
                <a:gd name="T104" fmla="*/ 153 w 173"/>
                <a:gd name="T105" fmla="*/ 63 h 260"/>
                <a:gd name="T106" fmla="*/ 148 w 173"/>
                <a:gd name="T107" fmla="*/ 32 h 260"/>
                <a:gd name="T108" fmla="*/ 147 w 173"/>
                <a:gd name="T109" fmla="*/ 27 h 260"/>
                <a:gd name="T110" fmla="*/ 141 w 173"/>
                <a:gd name="T111" fmla="*/ 9 h 260"/>
                <a:gd name="T112" fmla="*/ 135 w 173"/>
                <a:gd name="T113" fmla="*/ 2 h 2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 h="260">
                  <a:moveTo>
                    <a:pt x="130" y="0"/>
                  </a:moveTo>
                  <a:cubicBezTo>
                    <a:pt x="131" y="8"/>
                    <a:pt x="131" y="8"/>
                    <a:pt x="131" y="8"/>
                  </a:cubicBezTo>
                  <a:cubicBezTo>
                    <a:pt x="131" y="9"/>
                    <a:pt x="132" y="9"/>
                    <a:pt x="132" y="9"/>
                  </a:cubicBezTo>
                  <a:cubicBezTo>
                    <a:pt x="132" y="10"/>
                    <a:pt x="132" y="10"/>
                    <a:pt x="132" y="10"/>
                  </a:cubicBezTo>
                  <a:cubicBezTo>
                    <a:pt x="132" y="10"/>
                    <a:pt x="133" y="10"/>
                    <a:pt x="134" y="11"/>
                  </a:cubicBezTo>
                  <a:cubicBezTo>
                    <a:pt x="135" y="11"/>
                    <a:pt x="135" y="11"/>
                    <a:pt x="135" y="11"/>
                  </a:cubicBezTo>
                  <a:cubicBezTo>
                    <a:pt x="136" y="11"/>
                    <a:pt x="137" y="12"/>
                    <a:pt x="137" y="12"/>
                  </a:cubicBezTo>
                  <a:cubicBezTo>
                    <a:pt x="137" y="12"/>
                    <a:pt x="137" y="12"/>
                    <a:pt x="137" y="12"/>
                  </a:cubicBezTo>
                  <a:cubicBezTo>
                    <a:pt x="139" y="13"/>
                    <a:pt x="140" y="15"/>
                    <a:pt x="141" y="16"/>
                  </a:cubicBezTo>
                  <a:cubicBezTo>
                    <a:pt x="141" y="16"/>
                    <a:pt x="141" y="16"/>
                    <a:pt x="141" y="16"/>
                  </a:cubicBezTo>
                  <a:cubicBezTo>
                    <a:pt x="142" y="17"/>
                    <a:pt x="142" y="17"/>
                    <a:pt x="142" y="17"/>
                  </a:cubicBezTo>
                  <a:cubicBezTo>
                    <a:pt x="142" y="17"/>
                    <a:pt x="142" y="17"/>
                    <a:pt x="142" y="17"/>
                  </a:cubicBezTo>
                  <a:cubicBezTo>
                    <a:pt x="142" y="19"/>
                    <a:pt x="142" y="21"/>
                    <a:pt x="142" y="22"/>
                  </a:cubicBezTo>
                  <a:cubicBezTo>
                    <a:pt x="142" y="23"/>
                    <a:pt x="142" y="23"/>
                    <a:pt x="142" y="23"/>
                  </a:cubicBezTo>
                  <a:cubicBezTo>
                    <a:pt x="142" y="25"/>
                    <a:pt x="142" y="25"/>
                    <a:pt x="142" y="25"/>
                  </a:cubicBezTo>
                  <a:cubicBezTo>
                    <a:pt x="142" y="27"/>
                    <a:pt x="142" y="28"/>
                    <a:pt x="142" y="30"/>
                  </a:cubicBezTo>
                  <a:cubicBezTo>
                    <a:pt x="143" y="32"/>
                    <a:pt x="142" y="34"/>
                    <a:pt x="140" y="36"/>
                  </a:cubicBezTo>
                  <a:cubicBezTo>
                    <a:pt x="139" y="37"/>
                    <a:pt x="138" y="37"/>
                    <a:pt x="137" y="38"/>
                  </a:cubicBezTo>
                  <a:cubicBezTo>
                    <a:pt x="137" y="38"/>
                    <a:pt x="137" y="38"/>
                    <a:pt x="137" y="38"/>
                  </a:cubicBezTo>
                  <a:cubicBezTo>
                    <a:pt x="135" y="39"/>
                    <a:pt x="134" y="40"/>
                    <a:pt x="133" y="41"/>
                  </a:cubicBezTo>
                  <a:cubicBezTo>
                    <a:pt x="132" y="41"/>
                    <a:pt x="132" y="41"/>
                    <a:pt x="132" y="41"/>
                  </a:cubicBezTo>
                  <a:cubicBezTo>
                    <a:pt x="131" y="42"/>
                    <a:pt x="129" y="42"/>
                    <a:pt x="128" y="42"/>
                  </a:cubicBezTo>
                  <a:cubicBezTo>
                    <a:pt x="128" y="42"/>
                    <a:pt x="127" y="42"/>
                    <a:pt x="127" y="42"/>
                  </a:cubicBezTo>
                  <a:cubicBezTo>
                    <a:pt x="126" y="42"/>
                    <a:pt x="126" y="42"/>
                    <a:pt x="126" y="42"/>
                  </a:cubicBezTo>
                  <a:cubicBezTo>
                    <a:pt x="126" y="42"/>
                    <a:pt x="126" y="42"/>
                    <a:pt x="126" y="42"/>
                  </a:cubicBezTo>
                  <a:cubicBezTo>
                    <a:pt x="126" y="42"/>
                    <a:pt x="126" y="42"/>
                    <a:pt x="126" y="42"/>
                  </a:cubicBezTo>
                  <a:cubicBezTo>
                    <a:pt x="125" y="43"/>
                    <a:pt x="125" y="43"/>
                    <a:pt x="125" y="43"/>
                  </a:cubicBezTo>
                  <a:cubicBezTo>
                    <a:pt x="125" y="43"/>
                    <a:pt x="124" y="44"/>
                    <a:pt x="124" y="44"/>
                  </a:cubicBezTo>
                  <a:cubicBezTo>
                    <a:pt x="123" y="45"/>
                    <a:pt x="123" y="46"/>
                    <a:pt x="123" y="47"/>
                  </a:cubicBezTo>
                  <a:cubicBezTo>
                    <a:pt x="122" y="48"/>
                    <a:pt x="122" y="48"/>
                    <a:pt x="122" y="48"/>
                  </a:cubicBezTo>
                  <a:cubicBezTo>
                    <a:pt x="122" y="48"/>
                    <a:pt x="122" y="48"/>
                    <a:pt x="122" y="48"/>
                  </a:cubicBezTo>
                  <a:cubicBezTo>
                    <a:pt x="122" y="48"/>
                    <a:pt x="122" y="48"/>
                    <a:pt x="122" y="48"/>
                  </a:cubicBezTo>
                  <a:cubicBezTo>
                    <a:pt x="121" y="50"/>
                    <a:pt x="121" y="50"/>
                    <a:pt x="121" y="50"/>
                  </a:cubicBezTo>
                  <a:cubicBezTo>
                    <a:pt x="120" y="51"/>
                    <a:pt x="120" y="51"/>
                    <a:pt x="119" y="52"/>
                  </a:cubicBezTo>
                  <a:cubicBezTo>
                    <a:pt x="118" y="53"/>
                    <a:pt x="117" y="54"/>
                    <a:pt x="117" y="55"/>
                  </a:cubicBezTo>
                  <a:cubicBezTo>
                    <a:pt x="117" y="57"/>
                    <a:pt x="117" y="57"/>
                    <a:pt x="117" y="57"/>
                  </a:cubicBezTo>
                  <a:cubicBezTo>
                    <a:pt x="116" y="58"/>
                    <a:pt x="116" y="59"/>
                    <a:pt x="116" y="60"/>
                  </a:cubicBezTo>
                  <a:cubicBezTo>
                    <a:pt x="115" y="61"/>
                    <a:pt x="115" y="61"/>
                    <a:pt x="115" y="61"/>
                  </a:cubicBezTo>
                  <a:cubicBezTo>
                    <a:pt x="115" y="63"/>
                    <a:pt x="114" y="64"/>
                    <a:pt x="114" y="66"/>
                  </a:cubicBezTo>
                  <a:cubicBezTo>
                    <a:pt x="113" y="68"/>
                    <a:pt x="112" y="69"/>
                    <a:pt x="112" y="69"/>
                  </a:cubicBezTo>
                  <a:cubicBezTo>
                    <a:pt x="111" y="70"/>
                    <a:pt x="111" y="70"/>
                    <a:pt x="111" y="70"/>
                  </a:cubicBezTo>
                  <a:cubicBezTo>
                    <a:pt x="110" y="71"/>
                    <a:pt x="110" y="71"/>
                    <a:pt x="110" y="72"/>
                  </a:cubicBezTo>
                  <a:cubicBezTo>
                    <a:pt x="110" y="73"/>
                    <a:pt x="110" y="73"/>
                    <a:pt x="110" y="73"/>
                  </a:cubicBezTo>
                  <a:cubicBezTo>
                    <a:pt x="110" y="73"/>
                    <a:pt x="110" y="74"/>
                    <a:pt x="110" y="74"/>
                  </a:cubicBezTo>
                  <a:cubicBezTo>
                    <a:pt x="110" y="75"/>
                    <a:pt x="110" y="75"/>
                    <a:pt x="110" y="75"/>
                  </a:cubicBezTo>
                  <a:cubicBezTo>
                    <a:pt x="110" y="78"/>
                    <a:pt x="110" y="81"/>
                    <a:pt x="107" y="83"/>
                  </a:cubicBezTo>
                  <a:cubicBezTo>
                    <a:pt x="106" y="83"/>
                    <a:pt x="106" y="83"/>
                    <a:pt x="106" y="83"/>
                  </a:cubicBezTo>
                  <a:cubicBezTo>
                    <a:pt x="105" y="84"/>
                    <a:pt x="105" y="84"/>
                    <a:pt x="105" y="84"/>
                  </a:cubicBezTo>
                  <a:cubicBezTo>
                    <a:pt x="105" y="84"/>
                    <a:pt x="105" y="84"/>
                    <a:pt x="105" y="84"/>
                  </a:cubicBezTo>
                  <a:cubicBezTo>
                    <a:pt x="104" y="84"/>
                    <a:pt x="104" y="84"/>
                    <a:pt x="104" y="84"/>
                  </a:cubicBezTo>
                  <a:cubicBezTo>
                    <a:pt x="104" y="84"/>
                    <a:pt x="103" y="84"/>
                    <a:pt x="103" y="85"/>
                  </a:cubicBezTo>
                  <a:cubicBezTo>
                    <a:pt x="102" y="85"/>
                    <a:pt x="102" y="86"/>
                    <a:pt x="102" y="87"/>
                  </a:cubicBezTo>
                  <a:cubicBezTo>
                    <a:pt x="101" y="89"/>
                    <a:pt x="101" y="90"/>
                    <a:pt x="101" y="92"/>
                  </a:cubicBezTo>
                  <a:cubicBezTo>
                    <a:pt x="100" y="94"/>
                    <a:pt x="100" y="96"/>
                    <a:pt x="99" y="99"/>
                  </a:cubicBezTo>
                  <a:cubicBezTo>
                    <a:pt x="98" y="100"/>
                    <a:pt x="98" y="100"/>
                    <a:pt x="97" y="101"/>
                  </a:cubicBezTo>
                  <a:cubicBezTo>
                    <a:pt x="96" y="103"/>
                    <a:pt x="93" y="104"/>
                    <a:pt x="91" y="106"/>
                  </a:cubicBezTo>
                  <a:cubicBezTo>
                    <a:pt x="89" y="107"/>
                    <a:pt x="87" y="108"/>
                    <a:pt x="86" y="109"/>
                  </a:cubicBezTo>
                  <a:cubicBezTo>
                    <a:pt x="86" y="109"/>
                    <a:pt x="86" y="109"/>
                    <a:pt x="86" y="109"/>
                  </a:cubicBezTo>
                  <a:cubicBezTo>
                    <a:pt x="86" y="109"/>
                    <a:pt x="86" y="110"/>
                    <a:pt x="86" y="111"/>
                  </a:cubicBezTo>
                  <a:cubicBezTo>
                    <a:pt x="86" y="112"/>
                    <a:pt x="86" y="114"/>
                    <a:pt x="85" y="116"/>
                  </a:cubicBezTo>
                  <a:cubicBezTo>
                    <a:pt x="79" y="128"/>
                    <a:pt x="79" y="128"/>
                    <a:pt x="79" y="128"/>
                  </a:cubicBezTo>
                  <a:cubicBezTo>
                    <a:pt x="78" y="130"/>
                    <a:pt x="78" y="131"/>
                    <a:pt x="77" y="133"/>
                  </a:cubicBezTo>
                  <a:cubicBezTo>
                    <a:pt x="76" y="135"/>
                    <a:pt x="76" y="135"/>
                    <a:pt x="76" y="135"/>
                  </a:cubicBezTo>
                  <a:cubicBezTo>
                    <a:pt x="76" y="135"/>
                    <a:pt x="76" y="135"/>
                    <a:pt x="76" y="135"/>
                  </a:cubicBezTo>
                  <a:cubicBezTo>
                    <a:pt x="76" y="136"/>
                    <a:pt x="76" y="136"/>
                    <a:pt x="76" y="136"/>
                  </a:cubicBezTo>
                  <a:cubicBezTo>
                    <a:pt x="77" y="136"/>
                    <a:pt x="77" y="137"/>
                    <a:pt x="78" y="138"/>
                  </a:cubicBezTo>
                  <a:cubicBezTo>
                    <a:pt x="79" y="143"/>
                    <a:pt x="79" y="143"/>
                    <a:pt x="79" y="143"/>
                  </a:cubicBezTo>
                  <a:cubicBezTo>
                    <a:pt x="74" y="142"/>
                    <a:pt x="74" y="142"/>
                    <a:pt x="74" y="142"/>
                  </a:cubicBezTo>
                  <a:cubicBezTo>
                    <a:pt x="73" y="142"/>
                    <a:pt x="72" y="146"/>
                    <a:pt x="71" y="147"/>
                  </a:cubicBezTo>
                  <a:cubicBezTo>
                    <a:pt x="71" y="147"/>
                    <a:pt x="71" y="147"/>
                    <a:pt x="71" y="147"/>
                  </a:cubicBezTo>
                  <a:cubicBezTo>
                    <a:pt x="69" y="151"/>
                    <a:pt x="67" y="154"/>
                    <a:pt x="64" y="155"/>
                  </a:cubicBezTo>
                  <a:cubicBezTo>
                    <a:pt x="63" y="156"/>
                    <a:pt x="63" y="156"/>
                    <a:pt x="63" y="156"/>
                  </a:cubicBezTo>
                  <a:cubicBezTo>
                    <a:pt x="63" y="156"/>
                    <a:pt x="63" y="156"/>
                    <a:pt x="63" y="156"/>
                  </a:cubicBezTo>
                  <a:cubicBezTo>
                    <a:pt x="62" y="156"/>
                    <a:pt x="62" y="156"/>
                    <a:pt x="62" y="156"/>
                  </a:cubicBezTo>
                  <a:cubicBezTo>
                    <a:pt x="61" y="156"/>
                    <a:pt x="61" y="156"/>
                    <a:pt x="61" y="156"/>
                  </a:cubicBezTo>
                  <a:cubicBezTo>
                    <a:pt x="61" y="156"/>
                    <a:pt x="60" y="156"/>
                    <a:pt x="60" y="156"/>
                  </a:cubicBezTo>
                  <a:cubicBezTo>
                    <a:pt x="58" y="156"/>
                    <a:pt x="56" y="155"/>
                    <a:pt x="56" y="155"/>
                  </a:cubicBezTo>
                  <a:cubicBezTo>
                    <a:pt x="50" y="146"/>
                    <a:pt x="50" y="146"/>
                    <a:pt x="50" y="146"/>
                  </a:cubicBezTo>
                  <a:cubicBezTo>
                    <a:pt x="49" y="145"/>
                    <a:pt x="48" y="143"/>
                    <a:pt x="46" y="142"/>
                  </a:cubicBezTo>
                  <a:cubicBezTo>
                    <a:pt x="46" y="143"/>
                    <a:pt x="45" y="143"/>
                    <a:pt x="45" y="144"/>
                  </a:cubicBezTo>
                  <a:cubicBezTo>
                    <a:pt x="44" y="144"/>
                    <a:pt x="44" y="144"/>
                    <a:pt x="44" y="145"/>
                  </a:cubicBezTo>
                  <a:cubicBezTo>
                    <a:pt x="43" y="146"/>
                    <a:pt x="42" y="146"/>
                    <a:pt x="42" y="146"/>
                  </a:cubicBezTo>
                  <a:cubicBezTo>
                    <a:pt x="41" y="146"/>
                    <a:pt x="41" y="146"/>
                    <a:pt x="41" y="146"/>
                  </a:cubicBezTo>
                  <a:cubicBezTo>
                    <a:pt x="40" y="146"/>
                    <a:pt x="40" y="146"/>
                    <a:pt x="40" y="146"/>
                  </a:cubicBezTo>
                  <a:cubicBezTo>
                    <a:pt x="39" y="145"/>
                    <a:pt x="38" y="145"/>
                    <a:pt x="37" y="144"/>
                  </a:cubicBezTo>
                  <a:cubicBezTo>
                    <a:pt x="36" y="144"/>
                    <a:pt x="35" y="143"/>
                    <a:pt x="35" y="143"/>
                  </a:cubicBezTo>
                  <a:cubicBezTo>
                    <a:pt x="35" y="143"/>
                    <a:pt x="34" y="143"/>
                    <a:pt x="34" y="143"/>
                  </a:cubicBezTo>
                  <a:cubicBezTo>
                    <a:pt x="34" y="143"/>
                    <a:pt x="33" y="144"/>
                    <a:pt x="29" y="148"/>
                  </a:cubicBezTo>
                  <a:cubicBezTo>
                    <a:pt x="29" y="149"/>
                    <a:pt x="28" y="150"/>
                    <a:pt x="28" y="150"/>
                  </a:cubicBezTo>
                  <a:cubicBezTo>
                    <a:pt x="27" y="150"/>
                    <a:pt x="27" y="150"/>
                    <a:pt x="27" y="150"/>
                  </a:cubicBezTo>
                  <a:cubicBezTo>
                    <a:pt x="27" y="151"/>
                    <a:pt x="27" y="151"/>
                    <a:pt x="27" y="151"/>
                  </a:cubicBezTo>
                  <a:cubicBezTo>
                    <a:pt x="27" y="151"/>
                    <a:pt x="27" y="151"/>
                    <a:pt x="27" y="151"/>
                  </a:cubicBezTo>
                  <a:cubicBezTo>
                    <a:pt x="26" y="153"/>
                    <a:pt x="25" y="155"/>
                    <a:pt x="23" y="155"/>
                  </a:cubicBezTo>
                  <a:cubicBezTo>
                    <a:pt x="23" y="155"/>
                    <a:pt x="23" y="155"/>
                    <a:pt x="23" y="155"/>
                  </a:cubicBezTo>
                  <a:cubicBezTo>
                    <a:pt x="21" y="156"/>
                    <a:pt x="20" y="157"/>
                    <a:pt x="19" y="158"/>
                  </a:cubicBezTo>
                  <a:cubicBezTo>
                    <a:pt x="12" y="166"/>
                    <a:pt x="12" y="166"/>
                    <a:pt x="12" y="166"/>
                  </a:cubicBezTo>
                  <a:cubicBezTo>
                    <a:pt x="10" y="167"/>
                    <a:pt x="9" y="168"/>
                    <a:pt x="8" y="169"/>
                  </a:cubicBezTo>
                  <a:cubicBezTo>
                    <a:pt x="7" y="169"/>
                    <a:pt x="7" y="169"/>
                    <a:pt x="7" y="169"/>
                  </a:cubicBezTo>
                  <a:cubicBezTo>
                    <a:pt x="7" y="170"/>
                    <a:pt x="6" y="170"/>
                    <a:pt x="6" y="170"/>
                  </a:cubicBezTo>
                  <a:cubicBezTo>
                    <a:pt x="6" y="171"/>
                    <a:pt x="6" y="173"/>
                    <a:pt x="6" y="174"/>
                  </a:cubicBezTo>
                  <a:cubicBezTo>
                    <a:pt x="6" y="177"/>
                    <a:pt x="6" y="179"/>
                    <a:pt x="5" y="181"/>
                  </a:cubicBezTo>
                  <a:cubicBezTo>
                    <a:pt x="5" y="181"/>
                    <a:pt x="5" y="182"/>
                    <a:pt x="5" y="183"/>
                  </a:cubicBezTo>
                  <a:cubicBezTo>
                    <a:pt x="4" y="185"/>
                    <a:pt x="4" y="185"/>
                    <a:pt x="4" y="185"/>
                  </a:cubicBezTo>
                  <a:cubicBezTo>
                    <a:pt x="4" y="186"/>
                    <a:pt x="3" y="187"/>
                    <a:pt x="2" y="188"/>
                  </a:cubicBezTo>
                  <a:cubicBezTo>
                    <a:pt x="2" y="189"/>
                    <a:pt x="2" y="189"/>
                    <a:pt x="2" y="189"/>
                  </a:cubicBezTo>
                  <a:cubicBezTo>
                    <a:pt x="1" y="190"/>
                    <a:pt x="1" y="192"/>
                    <a:pt x="0" y="193"/>
                  </a:cubicBezTo>
                  <a:cubicBezTo>
                    <a:pt x="0" y="194"/>
                    <a:pt x="0" y="194"/>
                    <a:pt x="0" y="195"/>
                  </a:cubicBezTo>
                  <a:cubicBezTo>
                    <a:pt x="0" y="195"/>
                    <a:pt x="0" y="195"/>
                    <a:pt x="0" y="195"/>
                  </a:cubicBezTo>
                  <a:cubicBezTo>
                    <a:pt x="1" y="196"/>
                    <a:pt x="2" y="197"/>
                    <a:pt x="3" y="198"/>
                  </a:cubicBezTo>
                  <a:cubicBezTo>
                    <a:pt x="3" y="197"/>
                    <a:pt x="3" y="197"/>
                    <a:pt x="3" y="196"/>
                  </a:cubicBezTo>
                  <a:cubicBezTo>
                    <a:pt x="4" y="199"/>
                    <a:pt x="4" y="202"/>
                    <a:pt x="5" y="205"/>
                  </a:cubicBezTo>
                  <a:cubicBezTo>
                    <a:pt x="7" y="209"/>
                    <a:pt x="7" y="210"/>
                    <a:pt x="12" y="211"/>
                  </a:cubicBezTo>
                  <a:cubicBezTo>
                    <a:pt x="14" y="212"/>
                    <a:pt x="15" y="213"/>
                    <a:pt x="16" y="213"/>
                  </a:cubicBezTo>
                  <a:cubicBezTo>
                    <a:pt x="17" y="213"/>
                    <a:pt x="18" y="212"/>
                    <a:pt x="19" y="212"/>
                  </a:cubicBezTo>
                  <a:cubicBezTo>
                    <a:pt x="20" y="211"/>
                    <a:pt x="18" y="210"/>
                    <a:pt x="18" y="210"/>
                  </a:cubicBezTo>
                  <a:cubicBezTo>
                    <a:pt x="18" y="209"/>
                    <a:pt x="18" y="209"/>
                    <a:pt x="19" y="209"/>
                  </a:cubicBezTo>
                  <a:cubicBezTo>
                    <a:pt x="19" y="209"/>
                    <a:pt x="19" y="210"/>
                    <a:pt x="19" y="210"/>
                  </a:cubicBezTo>
                  <a:cubicBezTo>
                    <a:pt x="21" y="209"/>
                    <a:pt x="23" y="209"/>
                    <a:pt x="25" y="208"/>
                  </a:cubicBezTo>
                  <a:cubicBezTo>
                    <a:pt x="24" y="209"/>
                    <a:pt x="23" y="211"/>
                    <a:pt x="22" y="212"/>
                  </a:cubicBezTo>
                  <a:cubicBezTo>
                    <a:pt x="22" y="212"/>
                    <a:pt x="23" y="213"/>
                    <a:pt x="23" y="213"/>
                  </a:cubicBezTo>
                  <a:cubicBezTo>
                    <a:pt x="24" y="213"/>
                    <a:pt x="24" y="212"/>
                    <a:pt x="25" y="212"/>
                  </a:cubicBezTo>
                  <a:cubicBezTo>
                    <a:pt x="23" y="215"/>
                    <a:pt x="23" y="215"/>
                    <a:pt x="20" y="216"/>
                  </a:cubicBezTo>
                  <a:cubicBezTo>
                    <a:pt x="20" y="217"/>
                    <a:pt x="21" y="217"/>
                    <a:pt x="21" y="218"/>
                  </a:cubicBezTo>
                  <a:cubicBezTo>
                    <a:pt x="22" y="222"/>
                    <a:pt x="25" y="225"/>
                    <a:pt x="28" y="228"/>
                  </a:cubicBezTo>
                  <a:cubicBezTo>
                    <a:pt x="30" y="230"/>
                    <a:pt x="28" y="236"/>
                    <a:pt x="28" y="238"/>
                  </a:cubicBezTo>
                  <a:cubicBezTo>
                    <a:pt x="27" y="241"/>
                    <a:pt x="27" y="244"/>
                    <a:pt x="26" y="247"/>
                  </a:cubicBezTo>
                  <a:cubicBezTo>
                    <a:pt x="26" y="248"/>
                    <a:pt x="26" y="248"/>
                    <a:pt x="26" y="248"/>
                  </a:cubicBezTo>
                  <a:cubicBezTo>
                    <a:pt x="27" y="248"/>
                    <a:pt x="27" y="248"/>
                    <a:pt x="27" y="248"/>
                  </a:cubicBezTo>
                  <a:cubicBezTo>
                    <a:pt x="28" y="248"/>
                    <a:pt x="28" y="248"/>
                    <a:pt x="29" y="248"/>
                  </a:cubicBezTo>
                  <a:cubicBezTo>
                    <a:pt x="29" y="249"/>
                    <a:pt x="29" y="249"/>
                    <a:pt x="29" y="249"/>
                  </a:cubicBezTo>
                  <a:cubicBezTo>
                    <a:pt x="30" y="250"/>
                    <a:pt x="32" y="252"/>
                    <a:pt x="40" y="252"/>
                  </a:cubicBezTo>
                  <a:cubicBezTo>
                    <a:pt x="52" y="252"/>
                    <a:pt x="52" y="252"/>
                    <a:pt x="52" y="252"/>
                  </a:cubicBezTo>
                  <a:cubicBezTo>
                    <a:pt x="53" y="252"/>
                    <a:pt x="54" y="252"/>
                    <a:pt x="55" y="252"/>
                  </a:cubicBezTo>
                  <a:cubicBezTo>
                    <a:pt x="55" y="252"/>
                    <a:pt x="55" y="252"/>
                    <a:pt x="55" y="252"/>
                  </a:cubicBezTo>
                  <a:cubicBezTo>
                    <a:pt x="56" y="252"/>
                    <a:pt x="58" y="252"/>
                    <a:pt x="59" y="252"/>
                  </a:cubicBezTo>
                  <a:cubicBezTo>
                    <a:pt x="59" y="252"/>
                    <a:pt x="60" y="252"/>
                    <a:pt x="60" y="252"/>
                  </a:cubicBezTo>
                  <a:cubicBezTo>
                    <a:pt x="60" y="251"/>
                    <a:pt x="61" y="250"/>
                    <a:pt x="62" y="249"/>
                  </a:cubicBezTo>
                  <a:cubicBezTo>
                    <a:pt x="63" y="248"/>
                    <a:pt x="64" y="248"/>
                    <a:pt x="66" y="248"/>
                  </a:cubicBezTo>
                  <a:cubicBezTo>
                    <a:pt x="66" y="248"/>
                    <a:pt x="66" y="248"/>
                    <a:pt x="67" y="248"/>
                  </a:cubicBezTo>
                  <a:cubicBezTo>
                    <a:pt x="67" y="248"/>
                    <a:pt x="68" y="248"/>
                    <a:pt x="68" y="248"/>
                  </a:cubicBezTo>
                  <a:cubicBezTo>
                    <a:pt x="68" y="248"/>
                    <a:pt x="68" y="248"/>
                    <a:pt x="69" y="248"/>
                  </a:cubicBezTo>
                  <a:cubicBezTo>
                    <a:pt x="70" y="248"/>
                    <a:pt x="71" y="248"/>
                    <a:pt x="72" y="248"/>
                  </a:cubicBezTo>
                  <a:cubicBezTo>
                    <a:pt x="74" y="249"/>
                    <a:pt x="75" y="249"/>
                    <a:pt x="76" y="249"/>
                  </a:cubicBezTo>
                  <a:cubicBezTo>
                    <a:pt x="77" y="249"/>
                    <a:pt x="77" y="249"/>
                    <a:pt x="77" y="249"/>
                  </a:cubicBezTo>
                  <a:cubicBezTo>
                    <a:pt x="79" y="249"/>
                    <a:pt x="79" y="249"/>
                    <a:pt x="79" y="249"/>
                  </a:cubicBezTo>
                  <a:cubicBezTo>
                    <a:pt x="82" y="249"/>
                    <a:pt x="86" y="249"/>
                    <a:pt x="90" y="249"/>
                  </a:cubicBezTo>
                  <a:cubicBezTo>
                    <a:pt x="92" y="249"/>
                    <a:pt x="92" y="249"/>
                    <a:pt x="92" y="249"/>
                  </a:cubicBezTo>
                  <a:cubicBezTo>
                    <a:pt x="96" y="249"/>
                    <a:pt x="99" y="249"/>
                    <a:pt x="103" y="249"/>
                  </a:cubicBezTo>
                  <a:cubicBezTo>
                    <a:pt x="103" y="249"/>
                    <a:pt x="103" y="249"/>
                    <a:pt x="103" y="249"/>
                  </a:cubicBezTo>
                  <a:cubicBezTo>
                    <a:pt x="103" y="249"/>
                    <a:pt x="103" y="249"/>
                    <a:pt x="104" y="249"/>
                  </a:cubicBezTo>
                  <a:cubicBezTo>
                    <a:pt x="104" y="249"/>
                    <a:pt x="104" y="249"/>
                    <a:pt x="104" y="249"/>
                  </a:cubicBezTo>
                  <a:cubicBezTo>
                    <a:pt x="105" y="249"/>
                    <a:pt x="105" y="249"/>
                    <a:pt x="106" y="250"/>
                  </a:cubicBezTo>
                  <a:cubicBezTo>
                    <a:pt x="106" y="250"/>
                    <a:pt x="106" y="250"/>
                    <a:pt x="106" y="250"/>
                  </a:cubicBezTo>
                  <a:cubicBezTo>
                    <a:pt x="107" y="250"/>
                    <a:pt x="107" y="250"/>
                    <a:pt x="108" y="250"/>
                  </a:cubicBezTo>
                  <a:cubicBezTo>
                    <a:pt x="108" y="251"/>
                    <a:pt x="108" y="251"/>
                    <a:pt x="108" y="251"/>
                  </a:cubicBezTo>
                  <a:cubicBezTo>
                    <a:pt x="108" y="251"/>
                    <a:pt x="109" y="251"/>
                    <a:pt x="109" y="251"/>
                  </a:cubicBezTo>
                  <a:cubicBezTo>
                    <a:pt x="115" y="249"/>
                    <a:pt x="115" y="249"/>
                    <a:pt x="115" y="249"/>
                  </a:cubicBezTo>
                  <a:cubicBezTo>
                    <a:pt x="113" y="252"/>
                    <a:pt x="113" y="252"/>
                    <a:pt x="113" y="252"/>
                  </a:cubicBezTo>
                  <a:cubicBezTo>
                    <a:pt x="114" y="252"/>
                    <a:pt x="114" y="252"/>
                    <a:pt x="115" y="252"/>
                  </a:cubicBezTo>
                  <a:cubicBezTo>
                    <a:pt x="116" y="252"/>
                    <a:pt x="116" y="252"/>
                    <a:pt x="117" y="252"/>
                  </a:cubicBezTo>
                  <a:cubicBezTo>
                    <a:pt x="122" y="252"/>
                    <a:pt x="127" y="252"/>
                    <a:pt x="132" y="251"/>
                  </a:cubicBezTo>
                  <a:cubicBezTo>
                    <a:pt x="138" y="251"/>
                    <a:pt x="138" y="251"/>
                    <a:pt x="138" y="251"/>
                  </a:cubicBezTo>
                  <a:cubicBezTo>
                    <a:pt x="139" y="251"/>
                    <a:pt x="139" y="251"/>
                    <a:pt x="139" y="251"/>
                  </a:cubicBezTo>
                  <a:cubicBezTo>
                    <a:pt x="139" y="251"/>
                    <a:pt x="140" y="251"/>
                    <a:pt x="141" y="252"/>
                  </a:cubicBezTo>
                  <a:cubicBezTo>
                    <a:pt x="141" y="252"/>
                    <a:pt x="142" y="253"/>
                    <a:pt x="143" y="253"/>
                  </a:cubicBezTo>
                  <a:cubicBezTo>
                    <a:pt x="143" y="254"/>
                    <a:pt x="143" y="254"/>
                    <a:pt x="143" y="254"/>
                  </a:cubicBezTo>
                  <a:cubicBezTo>
                    <a:pt x="144" y="254"/>
                    <a:pt x="144" y="254"/>
                    <a:pt x="144" y="254"/>
                  </a:cubicBezTo>
                  <a:cubicBezTo>
                    <a:pt x="144" y="254"/>
                    <a:pt x="144" y="254"/>
                    <a:pt x="144" y="254"/>
                  </a:cubicBezTo>
                  <a:cubicBezTo>
                    <a:pt x="144" y="254"/>
                    <a:pt x="144" y="254"/>
                    <a:pt x="145" y="254"/>
                  </a:cubicBezTo>
                  <a:cubicBezTo>
                    <a:pt x="145" y="254"/>
                    <a:pt x="145" y="254"/>
                    <a:pt x="145" y="254"/>
                  </a:cubicBezTo>
                  <a:cubicBezTo>
                    <a:pt x="146" y="254"/>
                    <a:pt x="146" y="254"/>
                    <a:pt x="147" y="254"/>
                  </a:cubicBezTo>
                  <a:cubicBezTo>
                    <a:pt x="151" y="255"/>
                    <a:pt x="151" y="255"/>
                    <a:pt x="151" y="255"/>
                  </a:cubicBezTo>
                  <a:cubicBezTo>
                    <a:pt x="150" y="256"/>
                    <a:pt x="150" y="256"/>
                    <a:pt x="150" y="256"/>
                  </a:cubicBezTo>
                  <a:cubicBezTo>
                    <a:pt x="150" y="256"/>
                    <a:pt x="150" y="256"/>
                    <a:pt x="150" y="256"/>
                  </a:cubicBezTo>
                  <a:cubicBezTo>
                    <a:pt x="151" y="256"/>
                    <a:pt x="151" y="256"/>
                    <a:pt x="152" y="256"/>
                  </a:cubicBezTo>
                  <a:cubicBezTo>
                    <a:pt x="152" y="256"/>
                    <a:pt x="152" y="256"/>
                    <a:pt x="152" y="256"/>
                  </a:cubicBezTo>
                  <a:cubicBezTo>
                    <a:pt x="153" y="256"/>
                    <a:pt x="153" y="256"/>
                    <a:pt x="153" y="256"/>
                  </a:cubicBezTo>
                  <a:cubicBezTo>
                    <a:pt x="154" y="256"/>
                    <a:pt x="155" y="256"/>
                    <a:pt x="155" y="256"/>
                  </a:cubicBezTo>
                  <a:cubicBezTo>
                    <a:pt x="156" y="256"/>
                    <a:pt x="157" y="257"/>
                    <a:pt x="157" y="257"/>
                  </a:cubicBezTo>
                  <a:cubicBezTo>
                    <a:pt x="158" y="257"/>
                    <a:pt x="158" y="257"/>
                    <a:pt x="159" y="257"/>
                  </a:cubicBezTo>
                  <a:cubicBezTo>
                    <a:pt x="159" y="257"/>
                    <a:pt x="159" y="257"/>
                    <a:pt x="159" y="257"/>
                  </a:cubicBezTo>
                  <a:cubicBezTo>
                    <a:pt x="159" y="257"/>
                    <a:pt x="160" y="257"/>
                    <a:pt x="160" y="257"/>
                  </a:cubicBezTo>
                  <a:cubicBezTo>
                    <a:pt x="161" y="257"/>
                    <a:pt x="162" y="257"/>
                    <a:pt x="163" y="257"/>
                  </a:cubicBezTo>
                  <a:cubicBezTo>
                    <a:pt x="164" y="257"/>
                    <a:pt x="166" y="257"/>
                    <a:pt x="167" y="258"/>
                  </a:cubicBezTo>
                  <a:cubicBezTo>
                    <a:pt x="168" y="259"/>
                    <a:pt x="169" y="259"/>
                    <a:pt x="170" y="260"/>
                  </a:cubicBezTo>
                  <a:cubicBezTo>
                    <a:pt x="171" y="260"/>
                    <a:pt x="171" y="260"/>
                    <a:pt x="171" y="260"/>
                  </a:cubicBezTo>
                  <a:cubicBezTo>
                    <a:pt x="171" y="260"/>
                    <a:pt x="171" y="259"/>
                    <a:pt x="171" y="259"/>
                  </a:cubicBezTo>
                  <a:cubicBezTo>
                    <a:pt x="171" y="255"/>
                    <a:pt x="171" y="254"/>
                    <a:pt x="173" y="252"/>
                  </a:cubicBezTo>
                  <a:cubicBezTo>
                    <a:pt x="173" y="252"/>
                    <a:pt x="173" y="252"/>
                    <a:pt x="173" y="252"/>
                  </a:cubicBezTo>
                  <a:cubicBezTo>
                    <a:pt x="173" y="252"/>
                    <a:pt x="173" y="251"/>
                    <a:pt x="173" y="251"/>
                  </a:cubicBezTo>
                  <a:cubicBezTo>
                    <a:pt x="173" y="249"/>
                    <a:pt x="173" y="249"/>
                    <a:pt x="173" y="249"/>
                  </a:cubicBezTo>
                  <a:cubicBezTo>
                    <a:pt x="172" y="246"/>
                    <a:pt x="171" y="243"/>
                    <a:pt x="171" y="240"/>
                  </a:cubicBezTo>
                  <a:cubicBezTo>
                    <a:pt x="171" y="239"/>
                    <a:pt x="171" y="239"/>
                    <a:pt x="171" y="239"/>
                  </a:cubicBezTo>
                  <a:cubicBezTo>
                    <a:pt x="171" y="238"/>
                    <a:pt x="171" y="238"/>
                    <a:pt x="171" y="238"/>
                  </a:cubicBezTo>
                  <a:cubicBezTo>
                    <a:pt x="171" y="238"/>
                    <a:pt x="170" y="237"/>
                    <a:pt x="170" y="237"/>
                  </a:cubicBezTo>
                  <a:cubicBezTo>
                    <a:pt x="167" y="234"/>
                    <a:pt x="164" y="231"/>
                    <a:pt x="161" y="229"/>
                  </a:cubicBezTo>
                  <a:cubicBezTo>
                    <a:pt x="161" y="229"/>
                    <a:pt x="160" y="228"/>
                    <a:pt x="160" y="228"/>
                  </a:cubicBezTo>
                  <a:cubicBezTo>
                    <a:pt x="157" y="226"/>
                    <a:pt x="157" y="226"/>
                    <a:pt x="157" y="226"/>
                  </a:cubicBezTo>
                  <a:cubicBezTo>
                    <a:pt x="153" y="222"/>
                    <a:pt x="150" y="218"/>
                    <a:pt x="148" y="214"/>
                  </a:cubicBezTo>
                  <a:cubicBezTo>
                    <a:pt x="145" y="209"/>
                    <a:pt x="145" y="209"/>
                    <a:pt x="145" y="209"/>
                  </a:cubicBezTo>
                  <a:cubicBezTo>
                    <a:pt x="148" y="208"/>
                    <a:pt x="148" y="208"/>
                    <a:pt x="148" y="208"/>
                  </a:cubicBezTo>
                  <a:cubicBezTo>
                    <a:pt x="145" y="205"/>
                    <a:pt x="145" y="205"/>
                    <a:pt x="145" y="205"/>
                  </a:cubicBezTo>
                  <a:cubicBezTo>
                    <a:pt x="145" y="204"/>
                    <a:pt x="144" y="204"/>
                    <a:pt x="144" y="203"/>
                  </a:cubicBezTo>
                  <a:cubicBezTo>
                    <a:pt x="141" y="200"/>
                    <a:pt x="140" y="199"/>
                    <a:pt x="139" y="197"/>
                  </a:cubicBezTo>
                  <a:cubicBezTo>
                    <a:pt x="139" y="194"/>
                    <a:pt x="139" y="194"/>
                    <a:pt x="139" y="194"/>
                  </a:cubicBezTo>
                  <a:cubicBezTo>
                    <a:pt x="138" y="191"/>
                    <a:pt x="138" y="189"/>
                    <a:pt x="137" y="186"/>
                  </a:cubicBezTo>
                  <a:cubicBezTo>
                    <a:pt x="137" y="185"/>
                    <a:pt x="137" y="185"/>
                    <a:pt x="136" y="185"/>
                  </a:cubicBezTo>
                  <a:cubicBezTo>
                    <a:pt x="136" y="183"/>
                    <a:pt x="135" y="181"/>
                    <a:pt x="135" y="180"/>
                  </a:cubicBezTo>
                  <a:cubicBezTo>
                    <a:pt x="135" y="178"/>
                    <a:pt x="135" y="177"/>
                    <a:pt x="136" y="176"/>
                  </a:cubicBezTo>
                  <a:cubicBezTo>
                    <a:pt x="136" y="176"/>
                    <a:pt x="136" y="176"/>
                    <a:pt x="136" y="176"/>
                  </a:cubicBezTo>
                  <a:cubicBezTo>
                    <a:pt x="136" y="175"/>
                    <a:pt x="136" y="175"/>
                    <a:pt x="136" y="175"/>
                  </a:cubicBezTo>
                  <a:cubicBezTo>
                    <a:pt x="136" y="173"/>
                    <a:pt x="136" y="173"/>
                    <a:pt x="136" y="173"/>
                  </a:cubicBezTo>
                  <a:cubicBezTo>
                    <a:pt x="136" y="172"/>
                    <a:pt x="136" y="171"/>
                    <a:pt x="136" y="170"/>
                  </a:cubicBezTo>
                  <a:cubicBezTo>
                    <a:pt x="136" y="169"/>
                    <a:pt x="136" y="169"/>
                    <a:pt x="136" y="169"/>
                  </a:cubicBezTo>
                  <a:cubicBezTo>
                    <a:pt x="136" y="168"/>
                    <a:pt x="136" y="168"/>
                    <a:pt x="136" y="168"/>
                  </a:cubicBezTo>
                  <a:cubicBezTo>
                    <a:pt x="136" y="167"/>
                    <a:pt x="136" y="167"/>
                    <a:pt x="136" y="167"/>
                  </a:cubicBezTo>
                  <a:cubicBezTo>
                    <a:pt x="135" y="167"/>
                    <a:pt x="135" y="167"/>
                    <a:pt x="134" y="166"/>
                  </a:cubicBezTo>
                  <a:cubicBezTo>
                    <a:pt x="134" y="165"/>
                    <a:pt x="133" y="165"/>
                    <a:pt x="132" y="164"/>
                  </a:cubicBezTo>
                  <a:cubicBezTo>
                    <a:pt x="130" y="161"/>
                    <a:pt x="130" y="161"/>
                    <a:pt x="130" y="161"/>
                  </a:cubicBezTo>
                  <a:cubicBezTo>
                    <a:pt x="135" y="159"/>
                    <a:pt x="135" y="159"/>
                    <a:pt x="135" y="159"/>
                  </a:cubicBezTo>
                  <a:cubicBezTo>
                    <a:pt x="139" y="156"/>
                    <a:pt x="140" y="156"/>
                    <a:pt x="142" y="152"/>
                  </a:cubicBezTo>
                  <a:cubicBezTo>
                    <a:pt x="142" y="151"/>
                    <a:pt x="143" y="150"/>
                    <a:pt x="143" y="149"/>
                  </a:cubicBezTo>
                  <a:cubicBezTo>
                    <a:pt x="144" y="148"/>
                    <a:pt x="144" y="148"/>
                    <a:pt x="144" y="148"/>
                  </a:cubicBezTo>
                  <a:cubicBezTo>
                    <a:pt x="144" y="147"/>
                    <a:pt x="144" y="146"/>
                    <a:pt x="145" y="145"/>
                  </a:cubicBezTo>
                  <a:cubicBezTo>
                    <a:pt x="146" y="144"/>
                    <a:pt x="146" y="143"/>
                    <a:pt x="147" y="141"/>
                  </a:cubicBezTo>
                  <a:cubicBezTo>
                    <a:pt x="147" y="141"/>
                    <a:pt x="147" y="141"/>
                    <a:pt x="147" y="141"/>
                  </a:cubicBezTo>
                  <a:cubicBezTo>
                    <a:pt x="148" y="139"/>
                    <a:pt x="150" y="136"/>
                    <a:pt x="151" y="134"/>
                  </a:cubicBezTo>
                  <a:cubicBezTo>
                    <a:pt x="152" y="133"/>
                    <a:pt x="152" y="133"/>
                    <a:pt x="152" y="133"/>
                  </a:cubicBezTo>
                  <a:cubicBezTo>
                    <a:pt x="153" y="131"/>
                    <a:pt x="154" y="129"/>
                    <a:pt x="156" y="128"/>
                  </a:cubicBezTo>
                  <a:cubicBezTo>
                    <a:pt x="156" y="127"/>
                    <a:pt x="156" y="127"/>
                    <a:pt x="156" y="127"/>
                  </a:cubicBezTo>
                  <a:cubicBezTo>
                    <a:pt x="157" y="127"/>
                    <a:pt x="157" y="127"/>
                    <a:pt x="157" y="127"/>
                  </a:cubicBezTo>
                  <a:cubicBezTo>
                    <a:pt x="157" y="127"/>
                    <a:pt x="157" y="127"/>
                    <a:pt x="157" y="127"/>
                  </a:cubicBezTo>
                  <a:cubicBezTo>
                    <a:pt x="157" y="126"/>
                    <a:pt x="157" y="126"/>
                    <a:pt x="157" y="126"/>
                  </a:cubicBezTo>
                  <a:cubicBezTo>
                    <a:pt x="158" y="125"/>
                    <a:pt x="158" y="125"/>
                    <a:pt x="158" y="125"/>
                  </a:cubicBezTo>
                  <a:cubicBezTo>
                    <a:pt x="158" y="125"/>
                    <a:pt x="158" y="124"/>
                    <a:pt x="158" y="124"/>
                  </a:cubicBezTo>
                  <a:cubicBezTo>
                    <a:pt x="158" y="123"/>
                    <a:pt x="158" y="123"/>
                    <a:pt x="158" y="123"/>
                  </a:cubicBezTo>
                  <a:cubicBezTo>
                    <a:pt x="157" y="122"/>
                    <a:pt x="156" y="120"/>
                    <a:pt x="155" y="118"/>
                  </a:cubicBezTo>
                  <a:cubicBezTo>
                    <a:pt x="155" y="117"/>
                    <a:pt x="155" y="117"/>
                    <a:pt x="155" y="117"/>
                  </a:cubicBezTo>
                  <a:cubicBezTo>
                    <a:pt x="154" y="116"/>
                    <a:pt x="154" y="115"/>
                    <a:pt x="154" y="114"/>
                  </a:cubicBezTo>
                  <a:cubicBezTo>
                    <a:pt x="153" y="113"/>
                    <a:pt x="153" y="113"/>
                    <a:pt x="153" y="113"/>
                  </a:cubicBezTo>
                  <a:cubicBezTo>
                    <a:pt x="152" y="110"/>
                    <a:pt x="151" y="107"/>
                    <a:pt x="149" y="106"/>
                  </a:cubicBezTo>
                  <a:cubicBezTo>
                    <a:pt x="146" y="102"/>
                    <a:pt x="142" y="99"/>
                    <a:pt x="139" y="96"/>
                  </a:cubicBezTo>
                  <a:cubicBezTo>
                    <a:pt x="136" y="93"/>
                    <a:pt x="132" y="90"/>
                    <a:pt x="129" y="87"/>
                  </a:cubicBezTo>
                  <a:cubicBezTo>
                    <a:pt x="127" y="85"/>
                    <a:pt x="127" y="85"/>
                    <a:pt x="127" y="85"/>
                  </a:cubicBezTo>
                  <a:cubicBezTo>
                    <a:pt x="127" y="85"/>
                    <a:pt x="126" y="84"/>
                    <a:pt x="126" y="84"/>
                  </a:cubicBezTo>
                  <a:cubicBezTo>
                    <a:pt x="125" y="83"/>
                    <a:pt x="125" y="83"/>
                    <a:pt x="124" y="82"/>
                  </a:cubicBezTo>
                  <a:cubicBezTo>
                    <a:pt x="124" y="82"/>
                    <a:pt x="124" y="82"/>
                    <a:pt x="124" y="82"/>
                  </a:cubicBezTo>
                  <a:cubicBezTo>
                    <a:pt x="121" y="79"/>
                    <a:pt x="121" y="77"/>
                    <a:pt x="124" y="73"/>
                  </a:cubicBezTo>
                  <a:cubicBezTo>
                    <a:pt x="124" y="72"/>
                    <a:pt x="124" y="72"/>
                    <a:pt x="124" y="72"/>
                  </a:cubicBezTo>
                  <a:cubicBezTo>
                    <a:pt x="126" y="70"/>
                    <a:pt x="127" y="67"/>
                    <a:pt x="131" y="67"/>
                  </a:cubicBezTo>
                  <a:cubicBezTo>
                    <a:pt x="132" y="67"/>
                    <a:pt x="132" y="67"/>
                    <a:pt x="132" y="67"/>
                  </a:cubicBezTo>
                  <a:cubicBezTo>
                    <a:pt x="133" y="67"/>
                    <a:pt x="133" y="67"/>
                    <a:pt x="134" y="67"/>
                  </a:cubicBezTo>
                  <a:cubicBezTo>
                    <a:pt x="136" y="67"/>
                    <a:pt x="137" y="67"/>
                    <a:pt x="139" y="67"/>
                  </a:cubicBezTo>
                  <a:cubicBezTo>
                    <a:pt x="140" y="67"/>
                    <a:pt x="140" y="67"/>
                    <a:pt x="140" y="67"/>
                  </a:cubicBezTo>
                  <a:cubicBezTo>
                    <a:pt x="140" y="67"/>
                    <a:pt x="140" y="67"/>
                    <a:pt x="140" y="67"/>
                  </a:cubicBezTo>
                  <a:cubicBezTo>
                    <a:pt x="141" y="67"/>
                    <a:pt x="142" y="68"/>
                    <a:pt x="142" y="68"/>
                  </a:cubicBezTo>
                  <a:cubicBezTo>
                    <a:pt x="142" y="68"/>
                    <a:pt x="142" y="68"/>
                    <a:pt x="142" y="68"/>
                  </a:cubicBezTo>
                  <a:cubicBezTo>
                    <a:pt x="143" y="68"/>
                    <a:pt x="143" y="68"/>
                    <a:pt x="144" y="68"/>
                  </a:cubicBezTo>
                  <a:cubicBezTo>
                    <a:pt x="146" y="68"/>
                    <a:pt x="148" y="67"/>
                    <a:pt x="150" y="67"/>
                  </a:cubicBezTo>
                  <a:cubicBezTo>
                    <a:pt x="149" y="61"/>
                    <a:pt x="149" y="61"/>
                    <a:pt x="149" y="61"/>
                  </a:cubicBezTo>
                  <a:cubicBezTo>
                    <a:pt x="152" y="67"/>
                    <a:pt x="152" y="67"/>
                    <a:pt x="152" y="67"/>
                  </a:cubicBezTo>
                  <a:cubicBezTo>
                    <a:pt x="152" y="67"/>
                    <a:pt x="152" y="67"/>
                    <a:pt x="152" y="67"/>
                  </a:cubicBezTo>
                  <a:cubicBezTo>
                    <a:pt x="153" y="67"/>
                    <a:pt x="154" y="67"/>
                    <a:pt x="155" y="67"/>
                  </a:cubicBezTo>
                  <a:cubicBezTo>
                    <a:pt x="156" y="67"/>
                    <a:pt x="156" y="67"/>
                    <a:pt x="156" y="67"/>
                  </a:cubicBezTo>
                  <a:cubicBezTo>
                    <a:pt x="155" y="66"/>
                    <a:pt x="154" y="64"/>
                    <a:pt x="153" y="63"/>
                  </a:cubicBezTo>
                  <a:cubicBezTo>
                    <a:pt x="150" y="58"/>
                    <a:pt x="148" y="52"/>
                    <a:pt x="146" y="46"/>
                  </a:cubicBezTo>
                  <a:cubicBezTo>
                    <a:pt x="146" y="45"/>
                    <a:pt x="146" y="43"/>
                    <a:pt x="147" y="40"/>
                  </a:cubicBezTo>
                  <a:cubicBezTo>
                    <a:pt x="147" y="40"/>
                    <a:pt x="147" y="39"/>
                    <a:pt x="147" y="38"/>
                  </a:cubicBezTo>
                  <a:cubicBezTo>
                    <a:pt x="147" y="37"/>
                    <a:pt x="148" y="37"/>
                    <a:pt x="148" y="36"/>
                  </a:cubicBezTo>
                  <a:cubicBezTo>
                    <a:pt x="148" y="34"/>
                    <a:pt x="148" y="33"/>
                    <a:pt x="148" y="32"/>
                  </a:cubicBezTo>
                  <a:cubicBezTo>
                    <a:pt x="148" y="32"/>
                    <a:pt x="148" y="32"/>
                    <a:pt x="148" y="32"/>
                  </a:cubicBezTo>
                  <a:cubicBezTo>
                    <a:pt x="148" y="31"/>
                    <a:pt x="148" y="31"/>
                    <a:pt x="148" y="31"/>
                  </a:cubicBezTo>
                  <a:cubicBezTo>
                    <a:pt x="148" y="31"/>
                    <a:pt x="148" y="31"/>
                    <a:pt x="148" y="31"/>
                  </a:cubicBezTo>
                  <a:cubicBezTo>
                    <a:pt x="148" y="30"/>
                    <a:pt x="148" y="30"/>
                    <a:pt x="148" y="30"/>
                  </a:cubicBezTo>
                  <a:cubicBezTo>
                    <a:pt x="148" y="29"/>
                    <a:pt x="147" y="28"/>
                    <a:pt x="147" y="27"/>
                  </a:cubicBezTo>
                  <a:cubicBezTo>
                    <a:pt x="147" y="26"/>
                    <a:pt x="147" y="25"/>
                    <a:pt x="146" y="25"/>
                  </a:cubicBezTo>
                  <a:cubicBezTo>
                    <a:pt x="145" y="22"/>
                    <a:pt x="145" y="22"/>
                    <a:pt x="145" y="22"/>
                  </a:cubicBezTo>
                  <a:cubicBezTo>
                    <a:pt x="144" y="20"/>
                    <a:pt x="143" y="17"/>
                    <a:pt x="142" y="14"/>
                  </a:cubicBezTo>
                  <a:cubicBezTo>
                    <a:pt x="142" y="12"/>
                    <a:pt x="142" y="11"/>
                    <a:pt x="141" y="9"/>
                  </a:cubicBezTo>
                  <a:cubicBezTo>
                    <a:pt x="141" y="9"/>
                    <a:pt x="141" y="9"/>
                    <a:pt x="141" y="9"/>
                  </a:cubicBezTo>
                  <a:cubicBezTo>
                    <a:pt x="141" y="9"/>
                    <a:pt x="141" y="9"/>
                    <a:pt x="138" y="7"/>
                  </a:cubicBezTo>
                  <a:cubicBezTo>
                    <a:pt x="138" y="7"/>
                    <a:pt x="138" y="7"/>
                    <a:pt x="138" y="7"/>
                  </a:cubicBezTo>
                  <a:cubicBezTo>
                    <a:pt x="137" y="6"/>
                    <a:pt x="136" y="6"/>
                    <a:pt x="136" y="5"/>
                  </a:cubicBezTo>
                  <a:cubicBezTo>
                    <a:pt x="135" y="5"/>
                    <a:pt x="135" y="4"/>
                    <a:pt x="135" y="3"/>
                  </a:cubicBezTo>
                  <a:cubicBezTo>
                    <a:pt x="135" y="2"/>
                    <a:pt x="135" y="2"/>
                    <a:pt x="135" y="2"/>
                  </a:cubicBezTo>
                  <a:cubicBezTo>
                    <a:pt x="134" y="2"/>
                    <a:pt x="134" y="1"/>
                    <a:pt x="134" y="0"/>
                  </a:cubicBezTo>
                  <a:cubicBezTo>
                    <a:pt x="130" y="0"/>
                    <a:pt x="130" y="0"/>
                    <a:pt x="1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231"/>
            <p:cNvSpPr>
              <a:spLocks noEditPoints="1"/>
            </p:cNvSpPr>
            <p:nvPr/>
          </p:nvSpPr>
          <p:spPr bwMode="auto">
            <a:xfrm>
              <a:off x="3817" y="1984"/>
              <a:ext cx="652" cy="532"/>
            </a:xfrm>
            <a:custGeom>
              <a:gdLst>
                <a:gd name="T0" fmla="*/ 64 w 276"/>
                <a:gd name="T1" fmla="*/ 0 h 225"/>
                <a:gd name="T2" fmla="*/ 34 w 276"/>
                <a:gd name="T3" fmla="*/ 10 h 225"/>
                <a:gd name="T4" fmla="*/ 33 w 276"/>
                <a:gd name="T5" fmla="*/ 15 h 225"/>
                <a:gd name="T6" fmla="*/ 25 w 276"/>
                <a:gd name="T7" fmla="*/ 29 h 225"/>
                <a:gd name="T8" fmla="*/ 22 w 276"/>
                <a:gd name="T9" fmla="*/ 44 h 225"/>
                <a:gd name="T10" fmla="*/ 21 w 276"/>
                <a:gd name="T11" fmla="*/ 53 h 225"/>
                <a:gd name="T12" fmla="*/ 23 w 276"/>
                <a:gd name="T13" fmla="*/ 59 h 225"/>
                <a:gd name="T14" fmla="*/ 27 w 276"/>
                <a:gd name="T15" fmla="*/ 73 h 225"/>
                <a:gd name="T16" fmla="*/ 22 w 276"/>
                <a:gd name="T17" fmla="*/ 83 h 225"/>
                <a:gd name="T18" fmla="*/ 11 w 276"/>
                <a:gd name="T19" fmla="*/ 109 h 225"/>
                <a:gd name="T20" fmla="*/ 2 w 276"/>
                <a:gd name="T21" fmla="*/ 114 h 225"/>
                <a:gd name="T22" fmla="*/ 1 w 276"/>
                <a:gd name="T23" fmla="*/ 139 h 225"/>
                <a:gd name="T24" fmla="*/ 2 w 276"/>
                <a:gd name="T25" fmla="*/ 163 h 225"/>
                <a:gd name="T26" fmla="*/ 6 w 276"/>
                <a:gd name="T27" fmla="*/ 174 h 225"/>
                <a:gd name="T28" fmla="*/ 25 w 276"/>
                <a:gd name="T29" fmla="*/ 170 h 225"/>
                <a:gd name="T30" fmla="*/ 37 w 276"/>
                <a:gd name="T31" fmla="*/ 176 h 225"/>
                <a:gd name="T32" fmla="*/ 59 w 276"/>
                <a:gd name="T33" fmla="*/ 186 h 225"/>
                <a:gd name="T34" fmla="*/ 60 w 276"/>
                <a:gd name="T35" fmla="*/ 191 h 225"/>
                <a:gd name="T36" fmla="*/ 65 w 276"/>
                <a:gd name="T37" fmla="*/ 196 h 225"/>
                <a:gd name="T38" fmla="*/ 79 w 276"/>
                <a:gd name="T39" fmla="*/ 225 h 225"/>
                <a:gd name="T40" fmla="*/ 84 w 276"/>
                <a:gd name="T41" fmla="*/ 224 h 225"/>
                <a:gd name="T42" fmla="*/ 96 w 276"/>
                <a:gd name="T43" fmla="*/ 223 h 225"/>
                <a:gd name="T44" fmla="*/ 100 w 276"/>
                <a:gd name="T45" fmla="*/ 222 h 225"/>
                <a:gd name="T46" fmla="*/ 99 w 276"/>
                <a:gd name="T47" fmla="*/ 218 h 225"/>
                <a:gd name="T48" fmla="*/ 101 w 276"/>
                <a:gd name="T49" fmla="*/ 215 h 225"/>
                <a:gd name="T50" fmla="*/ 112 w 276"/>
                <a:gd name="T51" fmla="*/ 215 h 225"/>
                <a:gd name="T52" fmla="*/ 130 w 276"/>
                <a:gd name="T53" fmla="*/ 217 h 225"/>
                <a:gd name="T54" fmla="*/ 133 w 276"/>
                <a:gd name="T55" fmla="*/ 212 h 225"/>
                <a:gd name="T56" fmla="*/ 139 w 276"/>
                <a:gd name="T57" fmla="*/ 199 h 225"/>
                <a:gd name="T58" fmla="*/ 146 w 276"/>
                <a:gd name="T59" fmla="*/ 182 h 225"/>
                <a:gd name="T60" fmla="*/ 161 w 276"/>
                <a:gd name="T61" fmla="*/ 169 h 225"/>
                <a:gd name="T62" fmla="*/ 174 w 276"/>
                <a:gd name="T63" fmla="*/ 157 h 225"/>
                <a:gd name="T64" fmla="*/ 182 w 276"/>
                <a:gd name="T65" fmla="*/ 153 h 225"/>
                <a:gd name="T66" fmla="*/ 200 w 276"/>
                <a:gd name="T67" fmla="*/ 170 h 225"/>
                <a:gd name="T68" fmla="*/ 210 w 276"/>
                <a:gd name="T69" fmla="*/ 151 h 225"/>
                <a:gd name="T70" fmla="*/ 220 w 276"/>
                <a:gd name="T71" fmla="*/ 126 h 225"/>
                <a:gd name="T72" fmla="*/ 234 w 276"/>
                <a:gd name="T73" fmla="*/ 111 h 225"/>
                <a:gd name="T74" fmla="*/ 243 w 276"/>
                <a:gd name="T75" fmla="*/ 98 h 225"/>
                <a:gd name="T76" fmla="*/ 243 w 276"/>
                <a:gd name="T77" fmla="*/ 91 h 225"/>
                <a:gd name="T78" fmla="*/ 250 w 276"/>
                <a:gd name="T79" fmla="*/ 75 h 225"/>
                <a:gd name="T80" fmla="*/ 256 w 276"/>
                <a:gd name="T81" fmla="*/ 66 h 225"/>
                <a:gd name="T82" fmla="*/ 260 w 276"/>
                <a:gd name="T83" fmla="*/ 58 h 225"/>
                <a:gd name="T84" fmla="*/ 267 w 276"/>
                <a:gd name="T85" fmla="*/ 57 h 225"/>
                <a:gd name="T86" fmla="*/ 275 w 276"/>
                <a:gd name="T87" fmla="*/ 52 h 225"/>
                <a:gd name="T88" fmla="*/ 275 w 276"/>
                <a:gd name="T89" fmla="*/ 39 h 225"/>
                <a:gd name="T90" fmla="*/ 265 w 276"/>
                <a:gd name="T91" fmla="*/ 31 h 225"/>
                <a:gd name="T92" fmla="*/ 254 w 276"/>
                <a:gd name="T93" fmla="*/ 5 h 225"/>
                <a:gd name="T94" fmla="*/ 250 w 276"/>
                <a:gd name="T95" fmla="*/ 4 h 225"/>
                <a:gd name="T96" fmla="*/ 243 w 276"/>
                <a:gd name="T97" fmla="*/ 6 h 225"/>
                <a:gd name="T98" fmla="*/ 228 w 276"/>
                <a:gd name="T99" fmla="*/ 18 h 225"/>
                <a:gd name="T100" fmla="*/ 203 w 276"/>
                <a:gd name="T101" fmla="*/ 12 h 225"/>
                <a:gd name="T102" fmla="*/ 189 w 276"/>
                <a:gd name="T103" fmla="*/ 12 h 225"/>
                <a:gd name="T104" fmla="*/ 165 w 276"/>
                <a:gd name="T105" fmla="*/ 23 h 225"/>
                <a:gd name="T106" fmla="*/ 159 w 276"/>
                <a:gd name="T107" fmla="*/ 25 h 225"/>
                <a:gd name="T108" fmla="*/ 152 w 276"/>
                <a:gd name="T109" fmla="*/ 25 h 225"/>
                <a:gd name="T110" fmla="*/ 124 w 276"/>
                <a:gd name="T111" fmla="*/ 13 h 225"/>
                <a:gd name="T112" fmla="*/ 120 w 276"/>
                <a:gd name="T113" fmla="*/ 13 h 225"/>
                <a:gd name="T114" fmla="*/ 105 w 276"/>
                <a:gd name="T115" fmla="*/ 19 h 225"/>
                <a:gd name="T116" fmla="*/ 83 w 276"/>
                <a:gd name="T117" fmla="*/ 6 h 225"/>
                <a:gd name="T118" fmla="*/ 69 w 276"/>
                <a:gd name="T119" fmla="*/ 1 h 2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6" h="225">
                  <a:moveTo>
                    <a:pt x="65" y="196"/>
                  </a:moveTo>
                  <a:cubicBezTo>
                    <a:pt x="66" y="196"/>
                    <a:pt x="66" y="196"/>
                    <a:pt x="67" y="195"/>
                  </a:cubicBezTo>
                  <a:cubicBezTo>
                    <a:pt x="66" y="196"/>
                    <a:pt x="66" y="196"/>
                    <a:pt x="65" y="196"/>
                  </a:cubicBezTo>
                  <a:moveTo>
                    <a:pt x="65" y="0"/>
                  </a:moveTo>
                  <a:cubicBezTo>
                    <a:pt x="64" y="0"/>
                    <a:pt x="64" y="0"/>
                    <a:pt x="64" y="0"/>
                  </a:cubicBezTo>
                  <a:cubicBezTo>
                    <a:pt x="63" y="0"/>
                    <a:pt x="63" y="0"/>
                    <a:pt x="63" y="0"/>
                  </a:cubicBezTo>
                  <a:cubicBezTo>
                    <a:pt x="59" y="0"/>
                    <a:pt x="54" y="1"/>
                    <a:pt x="50" y="2"/>
                  </a:cubicBezTo>
                  <a:cubicBezTo>
                    <a:pt x="48" y="3"/>
                    <a:pt x="46" y="3"/>
                    <a:pt x="44" y="3"/>
                  </a:cubicBezTo>
                  <a:cubicBezTo>
                    <a:pt x="41" y="4"/>
                    <a:pt x="35" y="8"/>
                    <a:pt x="34" y="9"/>
                  </a:cubicBezTo>
                  <a:cubicBezTo>
                    <a:pt x="34" y="10"/>
                    <a:pt x="34" y="10"/>
                    <a:pt x="34" y="10"/>
                  </a:cubicBezTo>
                  <a:cubicBezTo>
                    <a:pt x="34" y="11"/>
                    <a:pt x="34" y="11"/>
                    <a:pt x="34" y="11"/>
                  </a:cubicBezTo>
                  <a:cubicBezTo>
                    <a:pt x="34" y="11"/>
                    <a:pt x="34" y="12"/>
                    <a:pt x="34" y="12"/>
                  </a:cubicBezTo>
                  <a:cubicBezTo>
                    <a:pt x="34" y="13"/>
                    <a:pt x="34" y="13"/>
                    <a:pt x="34" y="13"/>
                  </a:cubicBezTo>
                  <a:cubicBezTo>
                    <a:pt x="34" y="13"/>
                    <a:pt x="34" y="14"/>
                    <a:pt x="34" y="14"/>
                  </a:cubicBezTo>
                  <a:cubicBezTo>
                    <a:pt x="33" y="15"/>
                    <a:pt x="33" y="15"/>
                    <a:pt x="33" y="15"/>
                  </a:cubicBezTo>
                  <a:cubicBezTo>
                    <a:pt x="28" y="25"/>
                    <a:pt x="28" y="25"/>
                    <a:pt x="28" y="25"/>
                  </a:cubicBezTo>
                  <a:cubicBezTo>
                    <a:pt x="28" y="25"/>
                    <a:pt x="27" y="26"/>
                    <a:pt x="27" y="26"/>
                  </a:cubicBezTo>
                  <a:cubicBezTo>
                    <a:pt x="27" y="27"/>
                    <a:pt x="27" y="27"/>
                    <a:pt x="27" y="27"/>
                  </a:cubicBezTo>
                  <a:cubicBezTo>
                    <a:pt x="26" y="27"/>
                    <a:pt x="26" y="27"/>
                    <a:pt x="26" y="28"/>
                  </a:cubicBezTo>
                  <a:cubicBezTo>
                    <a:pt x="25" y="29"/>
                    <a:pt x="25" y="29"/>
                    <a:pt x="25" y="29"/>
                  </a:cubicBezTo>
                  <a:cubicBezTo>
                    <a:pt x="24" y="30"/>
                    <a:pt x="24" y="30"/>
                    <a:pt x="24" y="30"/>
                  </a:cubicBezTo>
                  <a:cubicBezTo>
                    <a:pt x="24" y="30"/>
                    <a:pt x="24" y="30"/>
                    <a:pt x="24" y="31"/>
                  </a:cubicBezTo>
                  <a:cubicBezTo>
                    <a:pt x="24" y="31"/>
                    <a:pt x="24" y="31"/>
                    <a:pt x="23" y="32"/>
                  </a:cubicBezTo>
                  <a:cubicBezTo>
                    <a:pt x="23" y="33"/>
                    <a:pt x="23" y="33"/>
                    <a:pt x="23" y="33"/>
                  </a:cubicBezTo>
                  <a:cubicBezTo>
                    <a:pt x="23" y="37"/>
                    <a:pt x="22" y="41"/>
                    <a:pt x="22" y="44"/>
                  </a:cubicBezTo>
                  <a:cubicBezTo>
                    <a:pt x="22" y="46"/>
                    <a:pt x="22" y="47"/>
                    <a:pt x="22" y="49"/>
                  </a:cubicBezTo>
                  <a:cubicBezTo>
                    <a:pt x="22" y="49"/>
                    <a:pt x="22" y="50"/>
                    <a:pt x="22" y="50"/>
                  </a:cubicBezTo>
                  <a:cubicBezTo>
                    <a:pt x="21" y="50"/>
                    <a:pt x="21" y="50"/>
                    <a:pt x="21" y="50"/>
                  </a:cubicBezTo>
                  <a:cubicBezTo>
                    <a:pt x="21" y="51"/>
                    <a:pt x="21" y="51"/>
                    <a:pt x="21" y="52"/>
                  </a:cubicBezTo>
                  <a:cubicBezTo>
                    <a:pt x="21" y="52"/>
                    <a:pt x="21" y="53"/>
                    <a:pt x="21" y="53"/>
                  </a:cubicBezTo>
                  <a:cubicBezTo>
                    <a:pt x="24" y="54"/>
                    <a:pt x="24" y="54"/>
                    <a:pt x="24" y="54"/>
                  </a:cubicBezTo>
                  <a:cubicBezTo>
                    <a:pt x="20" y="55"/>
                    <a:pt x="20" y="55"/>
                    <a:pt x="20" y="55"/>
                  </a:cubicBezTo>
                  <a:cubicBezTo>
                    <a:pt x="20" y="55"/>
                    <a:pt x="20" y="55"/>
                    <a:pt x="20" y="55"/>
                  </a:cubicBezTo>
                  <a:cubicBezTo>
                    <a:pt x="20" y="56"/>
                    <a:pt x="20" y="57"/>
                    <a:pt x="22" y="59"/>
                  </a:cubicBezTo>
                  <a:cubicBezTo>
                    <a:pt x="23" y="59"/>
                    <a:pt x="23" y="59"/>
                    <a:pt x="23" y="59"/>
                  </a:cubicBezTo>
                  <a:cubicBezTo>
                    <a:pt x="24" y="61"/>
                    <a:pt x="25" y="63"/>
                    <a:pt x="26" y="65"/>
                  </a:cubicBezTo>
                  <a:cubicBezTo>
                    <a:pt x="26" y="65"/>
                    <a:pt x="26" y="66"/>
                    <a:pt x="26" y="67"/>
                  </a:cubicBezTo>
                  <a:cubicBezTo>
                    <a:pt x="27" y="69"/>
                    <a:pt x="27" y="69"/>
                    <a:pt x="27" y="69"/>
                  </a:cubicBezTo>
                  <a:cubicBezTo>
                    <a:pt x="27" y="70"/>
                    <a:pt x="27" y="71"/>
                    <a:pt x="27" y="72"/>
                  </a:cubicBezTo>
                  <a:cubicBezTo>
                    <a:pt x="27" y="73"/>
                    <a:pt x="27" y="73"/>
                    <a:pt x="27" y="73"/>
                  </a:cubicBezTo>
                  <a:cubicBezTo>
                    <a:pt x="27" y="76"/>
                    <a:pt x="26" y="77"/>
                    <a:pt x="25" y="79"/>
                  </a:cubicBezTo>
                  <a:cubicBezTo>
                    <a:pt x="23" y="80"/>
                    <a:pt x="23" y="80"/>
                    <a:pt x="23" y="80"/>
                  </a:cubicBezTo>
                  <a:cubicBezTo>
                    <a:pt x="23" y="81"/>
                    <a:pt x="23" y="81"/>
                    <a:pt x="22" y="81"/>
                  </a:cubicBezTo>
                  <a:cubicBezTo>
                    <a:pt x="22" y="82"/>
                    <a:pt x="22" y="82"/>
                    <a:pt x="22" y="82"/>
                  </a:cubicBezTo>
                  <a:cubicBezTo>
                    <a:pt x="22" y="82"/>
                    <a:pt x="22" y="82"/>
                    <a:pt x="22" y="83"/>
                  </a:cubicBezTo>
                  <a:cubicBezTo>
                    <a:pt x="22" y="84"/>
                    <a:pt x="22" y="84"/>
                    <a:pt x="22" y="85"/>
                  </a:cubicBezTo>
                  <a:cubicBezTo>
                    <a:pt x="23" y="87"/>
                    <a:pt x="22" y="89"/>
                    <a:pt x="20" y="92"/>
                  </a:cubicBezTo>
                  <a:cubicBezTo>
                    <a:pt x="15" y="99"/>
                    <a:pt x="15" y="99"/>
                    <a:pt x="15" y="99"/>
                  </a:cubicBezTo>
                  <a:cubicBezTo>
                    <a:pt x="14" y="100"/>
                    <a:pt x="13" y="102"/>
                    <a:pt x="13" y="102"/>
                  </a:cubicBezTo>
                  <a:cubicBezTo>
                    <a:pt x="12" y="105"/>
                    <a:pt x="11" y="107"/>
                    <a:pt x="11" y="109"/>
                  </a:cubicBezTo>
                  <a:cubicBezTo>
                    <a:pt x="10" y="111"/>
                    <a:pt x="9" y="113"/>
                    <a:pt x="6" y="114"/>
                  </a:cubicBezTo>
                  <a:cubicBezTo>
                    <a:pt x="5" y="114"/>
                    <a:pt x="5" y="114"/>
                    <a:pt x="4" y="114"/>
                  </a:cubicBezTo>
                  <a:cubicBezTo>
                    <a:pt x="4" y="114"/>
                    <a:pt x="3" y="114"/>
                    <a:pt x="2" y="114"/>
                  </a:cubicBezTo>
                  <a:cubicBezTo>
                    <a:pt x="2" y="114"/>
                    <a:pt x="2" y="114"/>
                    <a:pt x="2" y="114"/>
                  </a:cubicBezTo>
                  <a:cubicBezTo>
                    <a:pt x="2" y="114"/>
                    <a:pt x="2" y="114"/>
                    <a:pt x="2" y="114"/>
                  </a:cubicBezTo>
                  <a:cubicBezTo>
                    <a:pt x="2" y="115"/>
                    <a:pt x="2" y="117"/>
                    <a:pt x="2" y="119"/>
                  </a:cubicBezTo>
                  <a:cubicBezTo>
                    <a:pt x="1" y="123"/>
                    <a:pt x="1" y="126"/>
                    <a:pt x="1" y="130"/>
                  </a:cubicBezTo>
                  <a:cubicBezTo>
                    <a:pt x="1" y="131"/>
                    <a:pt x="1" y="132"/>
                    <a:pt x="1" y="133"/>
                  </a:cubicBezTo>
                  <a:cubicBezTo>
                    <a:pt x="0" y="137"/>
                    <a:pt x="0" y="138"/>
                    <a:pt x="0" y="138"/>
                  </a:cubicBezTo>
                  <a:cubicBezTo>
                    <a:pt x="1" y="139"/>
                    <a:pt x="1" y="139"/>
                    <a:pt x="1" y="139"/>
                  </a:cubicBezTo>
                  <a:cubicBezTo>
                    <a:pt x="1" y="140"/>
                    <a:pt x="1" y="140"/>
                    <a:pt x="1" y="140"/>
                  </a:cubicBezTo>
                  <a:cubicBezTo>
                    <a:pt x="1" y="143"/>
                    <a:pt x="1" y="145"/>
                    <a:pt x="2" y="148"/>
                  </a:cubicBezTo>
                  <a:cubicBezTo>
                    <a:pt x="2" y="149"/>
                    <a:pt x="2" y="150"/>
                    <a:pt x="2" y="152"/>
                  </a:cubicBezTo>
                  <a:cubicBezTo>
                    <a:pt x="2" y="155"/>
                    <a:pt x="2" y="157"/>
                    <a:pt x="2" y="160"/>
                  </a:cubicBezTo>
                  <a:cubicBezTo>
                    <a:pt x="1" y="161"/>
                    <a:pt x="2" y="162"/>
                    <a:pt x="2" y="163"/>
                  </a:cubicBezTo>
                  <a:cubicBezTo>
                    <a:pt x="2" y="165"/>
                    <a:pt x="3" y="167"/>
                    <a:pt x="2" y="169"/>
                  </a:cubicBezTo>
                  <a:cubicBezTo>
                    <a:pt x="2" y="171"/>
                    <a:pt x="1" y="174"/>
                    <a:pt x="1" y="176"/>
                  </a:cubicBezTo>
                  <a:cubicBezTo>
                    <a:pt x="3" y="176"/>
                    <a:pt x="4" y="176"/>
                    <a:pt x="5" y="176"/>
                  </a:cubicBezTo>
                  <a:cubicBezTo>
                    <a:pt x="6" y="176"/>
                    <a:pt x="6" y="176"/>
                    <a:pt x="7" y="176"/>
                  </a:cubicBezTo>
                  <a:cubicBezTo>
                    <a:pt x="6" y="175"/>
                    <a:pt x="6" y="174"/>
                    <a:pt x="6" y="174"/>
                  </a:cubicBezTo>
                  <a:cubicBezTo>
                    <a:pt x="6" y="170"/>
                    <a:pt x="9" y="167"/>
                    <a:pt x="13" y="167"/>
                  </a:cubicBezTo>
                  <a:cubicBezTo>
                    <a:pt x="16" y="167"/>
                    <a:pt x="18" y="169"/>
                    <a:pt x="19" y="172"/>
                  </a:cubicBezTo>
                  <a:cubicBezTo>
                    <a:pt x="20" y="171"/>
                    <a:pt x="22" y="170"/>
                    <a:pt x="24" y="170"/>
                  </a:cubicBezTo>
                  <a:cubicBezTo>
                    <a:pt x="24" y="170"/>
                    <a:pt x="25" y="170"/>
                    <a:pt x="25" y="170"/>
                  </a:cubicBezTo>
                  <a:cubicBezTo>
                    <a:pt x="25" y="170"/>
                    <a:pt x="25" y="170"/>
                    <a:pt x="25" y="170"/>
                  </a:cubicBezTo>
                  <a:cubicBezTo>
                    <a:pt x="23" y="170"/>
                    <a:pt x="22" y="171"/>
                    <a:pt x="21" y="172"/>
                  </a:cubicBezTo>
                  <a:cubicBezTo>
                    <a:pt x="20" y="172"/>
                    <a:pt x="19" y="172"/>
                    <a:pt x="19" y="172"/>
                  </a:cubicBezTo>
                  <a:cubicBezTo>
                    <a:pt x="19" y="173"/>
                    <a:pt x="19" y="173"/>
                    <a:pt x="19" y="173"/>
                  </a:cubicBezTo>
                  <a:cubicBezTo>
                    <a:pt x="21" y="174"/>
                    <a:pt x="26" y="174"/>
                    <a:pt x="26" y="174"/>
                  </a:cubicBezTo>
                  <a:cubicBezTo>
                    <a:pt x="30" y="175"/>
                    <a:pt x="34" y="175"/>
                    <a:pt x="37" y="176"/>
                  </a:cubicBezTo>
                  <a:cubicBezTo>
                    <a:pt x="41" y="177"/>
                    <a:pt x="43" y="180"/>
                    <a:pt x="46" y="182"/>
                  </a:cubicBezTo>
                  <a:cubicBezTo>
                    <a:pt x="47" y="184"/>
                    <a:pt x="49" y="185"/>
                    <a:pt x="51" y="187"/>
                  </a:cubicBezTo>
                  <a:cubicBezTo>
                    <a:pt x="52" y="187"/>
                    <a:pt x="53" y="189"/>
                    <a:pt x="53" y="189"/>
                  </a:cubicBezTo>
                  <a:cubicBezTo>
                    <a:pt x="53" y="189"/>
                    <a:pt x="53" y="189"/>
                    <a:pt x="53" y="189"/>
                  </a:cubicBezTo>
                  <a:cubicBezTo>
                    <a:pt x="55" y="189"/>
                    <a:pt x="57" y="187"/>
                    <a:pt x="59" y="186"/>
                  </a:cubicBezTo>
                  <a:cubicBezTo>
                    <a:pt x="57" y="187"/>
                    <a:pt x="56" y="188"/>
                    <a:pt x="55" y="189"/>
                  </a:cubicBezTo>
                  <a:cubicBezTo>
                    <a:pt x="55" y="189"/>
                    <a:pt x="55" y="189"/>
                    <a:pt x="55" y="189"/>
                  </a:cubicBezTo>
                  <a:cubicBezTo>
                    <a:pt x="54" y="189"/>
                    <a:pt x="54" y="190"/>
                    <a:pt x="54" y="191"/>
                  </a:cubicBezTo>
                  <a:cubicBezTo>
                    <a:pt x="55" y="192"/>
                    <a:pt x="56" y="193"/>
                    <a:pt x="57" y="193"/>
                  </a:cubicBezTo>
                  <a:cubicBezTo>
                    <a:pt x="59" y="193"/>
                    <a:pt x="60" y="192"/>
                    <a:pt x="60" y="191"/>
                  </a:cubicBezTo>
                  <a:cubicBezTo>
                    <a:pt x="61" y="192"/>
                    <a:pt x="62" y="193"/>
                    <a:pt x="63" y="193"/>
                  </a:cubicBezTo>
                  <a:cubicBezTo>
                    <a:pt x="61" y="194"/>
                    <a:pt x="59" y="193"/>
                    <a:pt x="58" y="194"/>
                  </a:cubicBezTo>
                  <a:cubicBezTo>
                    <a:pt x="57" y="194"/>
                    <a:pt x="56" y="194"/>
                    <a:pt x="57" y="195"/>
                  </a:cubicBezTo>
                  <a:cubicBezTo>
                    <a:pt x="59" y="197"/>
                    <a:pt x="60" y="198"/>
                    <a:pt x="61" y="198"/>
                  </a:cubicBezTo>
                  <a:cubicBezTo>
                    <a:pt x="62" y="198"/>
                    <a:pt x="63" y="197"/>
                    <a:pt x="65" y="196"/>
                  </a:cubicBezTo>
                  <a:cubicBezTo>
                    <a:pt x="65" y="197"/>
                    <a:pt x="65" y="198"/>
                    <a:pt x="65" y="199"/>
                  </a:cubicBezTo>
                  <a:cubicBezTo>
                    <a:pt x="65" y="199"/>
                    <a:pt x="65" y="199"/>
                    <a:pt x="65" y="199"/>
                  </a:cubicBezTo>
                  <a:cubicBezTo>
                    <a:pt x="61" y="199"/>
                    <a:pt x="63" y="208"/>
                    <a:pt x="64" y="210"/>
                  </a:cubicBezTo>
                  <a:cubicBezTo>
                    <a:pt x="65" y="214"/>
                    <a:pt x="65" y="216"/>
                    <a:pt x="68" y="218"/>
                  </a:cubicBezTo>
                  <a:cubicBezTo>
                    <a:pt x="71" y="221"/>
                    <a:pt x="75" y="225"/>
                    <a:pt x="79" y="225"/>
                  </a:cubicBezTo>
                  <a:cubicBezTo>
                    <a:pt x="79" y="225"/>
                    <a:pt x="80" y="225"/>
                    <a:pt x="80" y="225"/>
                  </a:cubicBezTo>
                  <a:cubicBezTo>
                    <a:pt x="80" y="223"/>
                    <a:pt x="81" y="222"/>
                    <a:pt x="83" y="221"/>
                  </a:cubicBezTo>
                  <a:cubicBezTo>
                    <a:pt x="82" y="222"/>
                    <a:pt x="82" y="223"/>
                    <a:pt x="82" y="224"/>
                  </a:cubicBezTo>
                  <a:cubicBezTo>
                    <a:pt x="82" y="224"/>
                    <a:pt x="83" y="224"/>
                    <a:pt x="83" y="224"/>
                  </a:cubicBezTo>
                  <a:cubicBezTo>
                    <a:pt x="83" y="224"/>
                    <a:pt x="84" y="224"/>
                    <a:pt x="84" y="224"/>
                  </a:cubicBezTo>
                  <a:cubicBezTo>
                    <a:pt x="84" y="224"/>
                    <a:pt x="84" y="224"/>
                    <a:pt x="85" y="224"/>
                  </a:cubicBezTo>
                  <a:cubicBezTo>
                    <a:pt x="88" y="224"/>
                    <a:pt x="87" y="222"/>
                    <a:pt x="89" y="219"/>
                  </a:cubicBezTo>
                  <a:cubicBezTo>
                    <a:pt x="90" y="221"/>
                    <a:pt x="90" y="222"/>
                    <a:pt x="92" y="223"/>
                  </a:cubicBezTo>
                  <a:cubicBezTo>
                    <a:pt x="91" y="221"/>
                    <a:pt x="92" y="219"/>
                    <a:pt x="93" y="217"/>
                  </a:cubicBezTo>
                  <a:cubicBezTo>
                    <a:pt x="93" y="220"/>
                    <a:pt x="91" y="221"/>
                    <a:pt x="96" y="223"/>
                  </a:cubicBezTo>
                  <a:cubicBezTo>
                    <a:pt x="95" y="222"/>
                    <a:pt x="94" y="220"/>
                    <a:pt x="94" y="219"/>
                  </a:cubicBezTo>
                  <a:cubicBezTo>
                    <a:pt x="94" y="218"/>
                    <a:pt x="94" y="217"/>
                    <a:pt x="94" y="216"/>
                  </a:cubicBezTo>
                  <a:cubicBezTo>
                    <a:pt x="94" y="215"/>
                    <a:pt x="93" y="213"/>
                    <a:pt x="93" y="212"/>
                  </a:cubicBezTo>
                  <a:cubicBezTo>
                    <a:pt x="93" y="212"/>
                    <a:pt x="95" y="215"/>
                    <a:pt x="95" y="216"/>
                  </a:cubicBezTo>
                  <a:cubicBezTo>
                    <a:pt x="96" y="219"/>
                    <a:pt x="94" y="221"/>
                    <a:pt x="100" y="222"/>
                  </a:cubicBezTo>
                  <a:cubicBezTo>
                    <a:pt x="98" y="220"/>
                    <a:pt x="99" y="218"/>
                    <a:pt x="97" y="216"/>
                  </a:cubicBezTo>
                  <a:cubicBezTo>
                    <a:pt x="97" y="216"/>
                    <a:pt x="98" y="216"/>
                    <a:pt x="98" y="217"/>
                  </a:cubicBezTo>
                  <a:cubicBezTo>
                    <a:pt x="98" y="216"/>
                    <a:pt x="98" y="215"/>
                    <a:pt x="98" y="214"/>
                  </a:cubicBezTo>
                  <a:cubicBezTo>
                    <a:pt x="100" y="215"/>
                    <a:pt x="99" y="216"/>
                    <a:pt x="100" y="217"/>
                  </a:cubicBezTo>
                  <a:cubicBezTo>
                    <a:pt x="100" y="217"/>
                    <a:pt x="99" y="218"/>
                    <a:pt x="99" y="218"/>
                  </a:cubicBezTo>
                  <a:cubicBezTo>
                    <a:pt x="99" y="219"/>
                    <a:pt x="102" y="220"/>
                    <a:pt x="103" y="220"/>
                  </a:cubicBezTo>
                  <a:cubicBezTo>
                    <a:pt x="103" y="220"/>
                    <a:pt x="103" y="220"/>
                    <a:pt x="103" y="220"/>
                  </a:cubicBezTo>
                  <a:cubicBezTo>
                    <a:pt x="104" y="219"/>
                    <a:pt x="102" y="217"/>
                    <a:pt x="101" y="215"/>
                  </a:cubicBezTo>
                  <a:cubicBezTo>
                    <a:pt x="101" y="215"/>
                    <a:pt x="101" y="215"/>
                    <a:pt x="101" y="215"/>
                  </a:cubicBezTo>
                  <a:cubicBezTo>
                    <a:pt x="101" y="215"/>
                    <a:pt x="101" y="215"/>
                    <a:pt x="101" y="215"/>
                  </a:cubicBezTo>
                  <a:cubicBezTo>
                    <a:pt x="101" y="215"/>
                    <a:pt x="101" y="215"/>
                    <a:pt x="101" y="215"/>
                  </a:cubicBezTo>
                  <a:cubicBezTo>
                    <a:pt x="102" y="215"/>
                    <a:pt x="102" y="215"/>
                    <a:pt x="103" y="216"/>
                  </a:cubicBezTo>
                  <a:cubicBezTo>
                    <a:pt x="104" y="216"/>
                    <a:pt x="105" y="217"/>
                    <a:pt x="107" y="218"/>
                  </a:cubicBezTo>
                  <a:cubicBezTo>
                    <a:pt x="108" y="218"/>
                    <a:pt x="109" y="218"/>
                    <a:pt x="109" y="218"/>
                  </a:cubicBezTo>
                  <a:cubicBezTo>
                    <a:pt x="111" y="218"/>
                    <a:pt x="111" y="217"/>
                    <a:pt x="112" y="215"/>
                  </a:cubicBezTo>
                  <a:cubicBezTo>
                    <a:pt x="113" y="216"/>
                    <a:pt x="114" y="220"/>
                    <a:pt x="116" y="220"/>
                  </a:cubicBezTo>
                  <a:cubicBezTo>
                    <a:pt x="116" y="220"/>
                    <a:pt x="116" y="220"/>
                    <a:pt x="117" y="219"/>
                  </a:cubicBezTo>
                  <a:cubicBezTo>
                    <a:pt x="116" y="219"/>
                    <a:pt x="116" y="219"/>
                    <a:pt x="116" y="219"/>
                  </a:cubicBezTo>
                  <a:cubicBezTo>
                    <a:pt x="117" y="219"/>
                    <a:pt x="119" y="219"/>
                    <a:pt x="121" y="219"/>
                  </a:cubicBezTo>
                  <a:cubicBezTo>
                    <a:pt x="125" y="219"/>
                    <a:pt x="129" y="219"/>
                    <a:pt x="130" y="217"/>
                  </a:cubicBezTo>
                  <a:cubicBezTo>
                    <a:pt x="132" y="215"/>
                    <a:pt x="128" y="211"/>
                    <a:pt x="127" y="208"/>
                  </a:cubicBezTo>
                  <a:cubicBezTo>
                    <a:pt x="128" y="209"/>
                    <a:pt x="130" y="212"/>
                    <a:pt x="132" y="213"/>
                  </a:cubicBezTo>
                  <a:cubicBezTo>
                    <a:pt x="132" y="213"/>
                    <a:pt x="132" y="213"/>
                    <a:pt x="132" y="213"/>
                  </a:cubicBezTo>
                  <a:cubicBezTo>
                    <a:pt x="133" y="212"/>
                    <a:pt x="133" y="212"/>
                    <a:pt x="133" y="212"/>
                  </a:cubicBezTo>
                  <a:cubicBezTo>
                    <a:pt x="133" y="212"/>
                    <a:pt x="133" y="212"/>
                    <a:pt x="133" y="212"/>
                  </a:cubicBezTo>
                  <a:cubicBezTo>
                    <a:pt x="133" y="212"/>
                    <a:pt x="134" y="211"/>
                    <a:pt x="134" y="211"/>
                  </a:cubicBezTo>
                  <a:cubicBezTo>
                    <a:pt x="134" y="209"/>
                    <a:pt x="135" y="208"/>
                    <a:pt x="136" y="206"/>
                  </a:cubicBezTo>
                  <a:cubicBezTo>
                    <a:pt x="137" y="205"/>
                    <a:pt x="137" y="204"/>
                    <a:pt x="138" y="203"/>
                  </a:cubicBezTo>
                  <a:cubicBezTo>
                    <a:pt x="138" y="201"/>
                    <a:pt x="138" y="201"/>
                    <a:pt x="138" y="201"/>
                  </a:cubicBezTo>
                  <a:cubicBezTo>
                    <a:pt x="139" y="200"/>
                    <a:pt x="139" y="199"/>
                    <a:pt x="139" y="199"/>
                  </a:cubicBezTo>
                  <a:cubicBezTo>
                    <a:pt x="139" y="198"/>
                    <a:pt x="139" y="196"/>
                    <a:pt x="139" y="195"/>
                  </a:cubicBezTo>
                  <a:cubicBezTo>
                    <a:pt x="139" y="192"/>
                    <a:pt x="139" y="189"/>
                    <a:pt x="140" y="186"/>
                  </a:cubicBezTo>
                  <a:cubicBezTo>
                    <a:pt x="141" y="185"/>
                    <a:pt x="142" y="185"/>
                    <a:pt x="143" y="184"/>
                  </a:cubicBezTo>
                  <a:cubicBezTo>
                    <a:pt x="143" y="184"/>
                    <a:pt x="144" y="184"/>
                    <a:pt x="144" y="184"/>
                  </a:cubicBezTo>
                  <a:cubicBezTo>
                    <a:pt x="145" y="183"/>
                    <a:pt x="146" y="183"/>
                    <a:pt x="146" y="182"/>
                  </a:cubicBezTo>
                  <a:cubicBezTo>
                    <a:pt x="154" y="174"/>
                    <a:pt x="154" y="174"/>
                    <a:pt x="154" y="174"/>
                  </a:cubicBezTo>
                  <a:cubicBezTo>
                    <a:pt x="155" y="172"/>
                    <a:pt x="157" y="171"/>
                    <a:pt x="158" y="170"/>
                  </a:cubicBezTo>
                  <a:cubicBezTo>
                    <a:pt x="159" y="170"/>
                    <a:pt x="159" y="170"/>
                    <a:pt x="159" y="170"/>
                  </a:cubicBezTo>
                  <a:cubicBezTo>
                    <a:pt x="160" y="169"/>
                    <a:pt x="160" y="169"/>
                    <a:pt x="161" y="169"/>
                  </a:cubicBezTo>
                  <a:cubicBezTo>
                    <a:pt x="161" y="169"/>
                    <a:pt x="161" y="169"/>
                    <a:pt x="161" y="169"/>
                  </a:cubicBezTo>
                  <a:cubicBezTo>
                    <a:pt x="161" y="168"/>
                    <a:pt x="161" y="167"/>
                    <a:pt x="162" y="167"/>
                  </a:cubicBezTo>
                  <a:cubicBezTo>
                    <a:pt x="162" y="166"/>
                    <a:pt x="162" y="166"/>
                    <a:pt x="162" y="166"/>
                  </a:cubicBezTo>
                  <a:cubicBezTo>
                    <a:pt x="163" y="166"/>
                    <a:pt x="163" y="165"/>
                    <a:pt x="164" y="164"/>
                  </a:cubicBezTo>
                  <a:cubicBezTo>
                    <a:pt x="167" y="161"/>
                    <a:pt x="170" y="158"/>
                    <a:pt x="173" y="158"/>
                  </a:cubicBezTo>
                  <a:cubicBezTo>
                    <a:pt x="173" y="158"/>
                    <a:pt x="173" y="157"/>
                    <a:pt x="174" y="157"/>
                  </a:cubicBezTo>
                  <a:cubicBezTo>
                    <a:pt x="176" y="157"/>
                    <a:pt x="178" y="159"/>
                    <a:pt x="179" y="160"/>
                  </a:cubicBezTo>
                  <a:cubicBezTo>
                    <a:pt x="180" y="160"/>
                    <a:pt x="180" y="160"/>
                    <a:pt x="180" y="160"/>
                  </a:cubicBezTo>
                  <a:cubicBezTo>
                    <a:pt x="180" y="159"/>
                    <a:pt x="180" y="159"/>
                    <a:pt x="180" y="159"/>
                  </a:cubicBezTo>
                  <a:cubicBezTo>
                    <a:pt x="180" y="159"/>
                    <a:pt x="180" y="158"/>
                    <a:pt x="180" y="158"/>
                  </a:cubicBezTo>
                  <a:cubicBezTo>
                    <a:pt x="182" y="153"/>
                    <a:pt x="182" y="153"/>
                    <a:pt x="182" y="153"/>
                  </a:cubicBezTo>
                  <a:cubicBezTo>
                    <a:pt x="185" y="155"/>
                    <a:pt x="185" y="155"/>
                    <a:pt x="185" y="155"/>
                  </a:cubicBezTo>
                  <a:cubicBezTo>
                    <a:pt x="189" y="157"/>
                    <a:pt x="192" y="160"/>
                    <a:pt x="194" y="163"/>
                  </a:cubicBezTo>
                  <a:cubicBezTo>
                    <a:pt x="199" y="171"/>
                    <a:pt x="199" y="171"/>
                    <a:pt x="199" y="171"/>
                  </a:cubicBezTo>
                  <a:cubicBezTo>
                    <a:pt x="199" y="170"/>
                    <a:pt x="200" y="170"/>
                    <a:pt x="200" y="170"/>
                  </a:cubicBezTo>
                  <a:cubicBezTo>
                    <a:pt x="200" y="170"/>
                    <a:pt x="200" y="170"/>
                    <a:pt x="200" y="170"/>
                  </a:cubicBezTo>
                  <a:cubicBezTo>
                    <a:pt x="201" y="170"/>
                    <a:pt x="201" y="170"/>
                    <a:pt x="202" y="170"/>
                  </a:cubicBezTo>
                  <a:cubicBezTo>
                    <a:pt x="202" y="169"/>
                    <a:pt x="204" y="166"/>
                    <a:pt x="205" y="165"/>
                  </a:cubicBezTo>
                  <a:cubicBezTo>
                    <a:pt x="206" y="162"/>
                    <a:pt x="208" y="159"/>
                    <a:pt x="210" y="157"/>
                  </a:cubicBezTo>
                  <a:cubicBezTo>
                    <a:pt x="209" y="156"/>
                    <a:pt x="209" y="155"/>
                    <a:pt x="209" y="153"/>
                  </a:cubicBezTo>
                  <a:cubicBezTo>
                    <a:pt x="210" y="151"/>
                    <a:pt x="210" y="151"/>
                    <a:pt x="210" y="151"/>
                  </a:cubicBezTo>
                  <a:cubicBezTo>
                    <a:pt x="211" y="148"/>
                    <a:pt x="212" y="147"/>
                    <a:pt x="213" y="145"/>
                  </a:cubicBezTo>
                  <a:cubicBezTo>
                    <a:pt x="219" y="133"/>
                    <a:pt x="219" y="133"/>
                    <a:pt x="219" y="133"/>
                  </a:cubicBezTo>
                  <a:cubicBezTo>
                    <a:pt x="219" y="133"/>
                    <a:pt x="219" y="132"/>
                    <a:pt x="219" y="131"/>
                  </a:cubicBezTo>
                  <a:cubicBezTo>
                    <a:pt x="219" y="130"/>
                    <a:pt x="219" y="129"/>
                    <a:pt x="220" y="127"/>
                  </a:cubicBezTo>
                  <a:cubicBezTo>
                    <a:pt x="220" y="126"/>
                    <a:pt x="220" y="126"/>
                    <a:pt x="220" y="126"/>
                  </a:cubicBezTo>
                  <a:cubicBezTo>
                    <a:pt x="220" y="126"/>
                    <a:pt x="220" y="126"/>
                    <a:pt x="220" y="126"/>
                  </a:cubicBezTo>
                  <a:cubicBezTo>
                    <a:pt x="222" y="123"/>
                    <a:pt x="225" y="122"/>
                    <a:pt x="227" y="120"/>
                  </a:cubicBezTo>
                  <a:cubicBezTo>
                    <a:pt x="229" y="119"/>
                    <a:pt x="231" y="119"/>
                    <a:pt x="232" y="118"/>
                  </a:cubicBezTo>
                  <a:cubicBezTo>
                    <a:pt x="232" y="117"/>
                    <a:pt x="232" y="117"/>
                    <a:pt x="233" y="116"/>
                  </a:cubicBezTo>
                  <a:cubicBezTo>
                    <a:pt x="233" y="115"/>
                    <a:pt x="234" y="113"/>
                    <a:pt x="234" y="111"/>
                  </a:cubicBezTo>
                  <a:cubicBezTo>
                    <a:pt x="234" y="109"/>
                    <a:pt x="235" y="107"/>
                    <a:pt x="235" y="105"/>
                  </a:cubicBezTo>
                  <a:cubicBezTo>
                    <a:pt x="235" y="104"/>
                    <a:pt x="237" y="102"/>
                    <a:pt x="238" y="100"/>
                  </a:cubicBezTo>
                  <a:cubicBezTo>
                    <a:pt x="239" y="100"/>
                    <a:pt x="239" y="100"/>
                    <a:pt x="240" y="99"/>
                  </a:cubicBezTo>
                  <a:cubicBezTo>
                    <a:pt x="240" y="99"/>
                    <a:pt x="240" y="99"/>
                    <a:pt x="241" y="98"/>
                  </a:cubicBezTo>
                  <a:cubicBezTo>
                    <a:pt x="242" y="98"/>
                    <a:pt x="242" y="98"/>
                    <a:pt x="243" y="98"/>
                  </a:cubicBezTo>
                  <a:cubicBezTo>
                    <a:pt x="243" y="97"/>
                    <a:pt x="243" y="96"/>
                    <a:pt x="243" y="95"/>
                  </a:cubicBezTo>
                  <a:cubicBezTo>
                    <a:pt x="243" y="94"/>
                    <a:pt x="243" y="94"/>
                    <a:pt x="243" y="94"/>
                  </a:cubicBezTo>
                  <a:cubicBezTo>
                    <a:pt x="243" y="94"/>
                    <a:pt x="243" y="93"/>
                    <a:pt x="243" y="92"/>
                  </a:cubicBezTo>
                  <a:cubicBezTo>
                    <a:pt x="243" y="92"/>
                    <a:pt x="243" y="92"/>
                    <a:pt x="243" y="92"/>
                  </a:cubicBezTo>
                  <a:cubicBezTo>
                    <a:pt x="243" y="91"/>
                    <a:pt x="243" y="91"/>
                    <a:pt x="243" y="91"/>
                  </a:cubicBezTo>
                  <a:cubicBezTo>
                    <a:pt x="244" y="89"/>
                    <a:pt x="245" y="87"/>
                    <a:pt x="246" y="86"/>
                  </a:cubicBezTo>
                  <a:cubicBezTo>
                    <a:pt x="247" y="85"/>
                    <a:pt x="247" y="85"/>
                    <a:pt x="247" y="84"/>
                  </a:cubicBezTo>
                  <a:cubicBezTo>
                    <a:pt x="248" y="83"/>
                    <a:pt x="248" y="82"/>
                    <a:pt x="249" y="80"/>
                  </a:cubicBezTo>
                  <a:cubicBezTo>
                    <a:pt x="249" y="79"/>
                    <a:pt x="249" y="79"/>
                    <a:pt x="249" y="79"/>
                  </a:cubicBezTo>
                  <a:cubicBezTo>
                    <a:pt x="249" y="78"/>
                    <a:pt x="250" y="76"/>
                    <a:pt x="250" y="75"/>
                  </a:cubicBezTo>
                  <a:cubicBezTo>
                    <a:pt x="251" y="73"/>
                    <a:pt x="251" y="73"/>
                    <a:pt x="251" y="73"/>
                  </a:cubicBezTo>
                  <a:cubicBezTo>
                    <a:pt x="251" y="71"/>
                    <a:pt x="252" y="70"/>
                    <a:pt x="253" y="68"/>
                  </a:cubicBezTo>
                  <a:cubicBezTo>
                    <a:pt x="254" y="68"/>
                    <a:pt x="254" y="67"/>
                    <a:pt x="255" y="67"/>
                  </a:cubicBezTo>
                  <a:cubicBezTo>
                    <a:pt x="250" y="64"/>
                    <a:pt x="250" y="64"/>
                    <a:pt x="250" y="64"/>
                  </a:cubicBezTo>
                  <a:cubicBezTo>
                    <a:pt x="256" y="66"/>
                    <a:pt x="256" y="66"/>
                    <a:pt x="256" y="66"/>
                  </a:cubicBezTo>
                  <a:cubicBezTo>
                    <a:pt x="256" y="66"/>
                    <a:pt x="256" y="66"/>
                    <a:pt x="256" y="66"/>
                  </a:cubicBezTo>
                  <a:cubicBezTo>
                    <a:pt x="256" y="65"/>
                    <a:pt x="256" y="65"/>
                    <a:pt x="256" y="65"/>
                  </a:cubicBezTo>
                  <a:cubicBezTo>
                    <a:pt x="257" y="64"/>
                    <a:pt x="257" y="64"/>
                    <a:pt x="257" y="64"/>
                  </a:cubicBezTo>
                  <a:cubicBezTo>
                    <a:pt x="257" y="63"/>
                    <a:pt x="257" y="62"/>
                    <a:pt x="258" y="61"/>
                  </a:cubicBezTo>
                  <a:cubicBezTo>
                    <a:pt x="259" y="60"/>
                    <a:pt x="259" y="59"/>
                    <a:pt x="260" y="58"/>
                  </a:cubicBezTo>
                  <a:cubicBezTo>
                    <a:pt x="261" y="58"/>
                    <a:pt x="261" y="58"/>
                    <a:pt x="261" y="58"/>
                  </a:cubicBezTo>
                  <a:cubicBezTo>
                    <a:pt x="262" y="57"/>
                    <a:pt x="262" y="57"/>
                    <a:pt x="262" y="57"/>
                  </a:cubicBezTo>
                  <a:cubicBezTo>
                    <a:pt x="263" y="57"/>
                    <a:pt x="263" y="56"/>
                    <a:pt x="264" y="56"/>
                  </a:cubicBezTo>
                  <a:cubicBezTo>
                    <a:pt x="264" y="56"/>
                    <a:pt x="265" y="56"/>
                    <a:pt x="265" y="56"/>
                  </a:cubicBezTo>
                  <a:cubicBezTo>
                    <a:pt x="266" y="56"/>
                    <a:pt x="267" y="56"/>
                    <a:pt x="267" y="57"/>
                  </a:cubicBezTo>
                  <a:cubicBezTo>
                    <a:pt x="268" y="56"/>
                    <a:pt x="268" y="56"/>
                    <a:pt x="268" y="56"/>
                  </a:cubicBezTo>
                  <a:cubicBezTo>
                    <a:pt x="270" y="55"/>
                    <a:pt x="270" y="55"/>
                    <a:pt x="270" y="55"/>
                  </a:cubicBezTo>
                  <a:cubicBezTo>
                    <a:pt x="271" y="55"/>
                    <a:pt x="272" y="54"/>
                    <a:pt x="273" y="54"/>
                  </a:cubicBezTo>
                  <a:cubicBezTo>
                    <a:pt x="273" y="53"/>
                    <a:pt x="273" y="53"/>
                    <a:pt x="273" y="53"/>
                  </a:cubicBezTo>
                  <a:cubicBezTo>
                    <a:pt x="274" y="53"/>
                    <a:pt x="275" y="52"/>
                    <a:pt x="275" y="52"/>
                  </a:cubicBezTo>
                  <a:cubicBezTo>
                    <a:pt x="276" y="51"/>
                    <a:pt x="276" y="51"/>
                    <a:pt x="276" y="50"/>
                  </a:cubicBezTo>
                  <a:cubicBezTo>
                    <a:pt x="275" y="48"/>
                    <a:pt x="276" y="47"/>
                    <a:pt x="276" y="45"/>
                  </a:cubicBezTo>
                  <a:cubicBezTo>
                    <a:pt x="276" y="43"/>
                    <a:pt x="276" y="43"/>
                    <a:pt x="276" y="43"/>
                  </a:cubicBezTo>
                  <a:cubicBezTo>
                    <a:pt x="276" y="43"/>
                    <a:pt x="276" y="43"/>
                    <a:pt x="276" y="42"/>
                  </a:cubicBezTo>
                  <a:cubicBezTo>
                    <a:pt x="276" y="41"/>
                    <a:pt x="276" y="40"/>
                    <a:pt x="275" y="39"/>
                  </a:cubicBezTo>
                  <a:cubicBezTo>
                    <a:pt x="275" y="39"/>
                    <a:pt x="275" y="39"/>
                    <a:pt x="275" y="39"/>
                  </a:cubicBezTo>
                  <a:cubicBezTo>
                    <a:pt x="275" y="38"/>
                    <a:pt x="274" y="37"/>
                    <a:pt x="273" y="37"/>
                  </a:cubicBezTo>
                  <a:cubicBezTo>
                    <a:pt x="273" y="37"/>
                    <a:pt x="273" y="37"/>
                    <a:pt x="272" y="36"/>
                  </a:cubicBezTo>
                  <a:cubicBezTo>
                    <a:pt x="271" y="36"/>
                    <a:pt x="271" y="36"/>
                    <a:pt x="271" y="36"/>
                  </a:cubicBezTo>
                  <a:cubicBezTo>
                    <a:pt x="268" y="35"/>
                    <a:pt x="266" y="34"/>
                    <a:pt x="265" y="31"/>
                  </a:cubicBezTo>
                  <a:cubicBezTo>
                    <a:pt x="265" y="30"/>
                    <a:pt x="265" y="30"/>
                    <a:pt x="265" y="29"/>
                  </a:cubicBezTo>
                  <a:cubicBezTo>
                    <a:pt x="263" y="17"/>
                    <a:pt x="263" y="17"/>
                    <a:pt x="263" y="17"/>
                  </a:cubicBezTo>
                  <a:cubicBezTo>
                    <a:pt x="257" y="9"/>
                    <a:pt x="257" y="9"/>
                    <a:pt x="257" y="9"/>
                  </a:cubicBezTo>
                  <a:cubicBezTo>
                    <a:pt x="257" y="9"/>
                    <a:pt x="256" y="8"/>
                    <a:pt x="256" y="7"/>
                  </a:cubicBezTo>
                  <a:cubicBezTo>
                    <a:pt x="255" y="6"/>
                    <a:pt x="255" y="6"/>
                    <a:pt x="254" y="5"/>
                  </a:cubicBezTo>
                  <a:cubicBezTo>
                    <a:pt x="254" y="4"/>
                    <a:pt x="254" y="4"/>
                    <a:pt x="254" y="4"/>
                  </a:cubicBezTo>
                  <a:cubicBezTo>
                    <a:pt x="253" y="4"/>
                    <a:pt x="253" y="4"/>
                    <a:pt x="253" y="4"/>
                  </a:cubicBezTo>
                  <a:cubicBezTo>
                    <a:pt x="253" y="4"/>
                    <a:pt x="253" y="4"/>
                    <a:pt x="253" y="4"/>
                  </a:cubicBezTo>
                  <a:cubicBezTo>
                    <a:pt x="252" y="4"/>
                    <a:pt x="252" y="4"/>
                    <a:pt x="252" y="4"/>
                  </a:cubicBezTo>
                  <a:cubicBezTo>
                    <a:pt x="252" y="4"/>
                    <a:pt x="251" y="4"/>
                    <a:pt x="250" y="4"/>
                  </a:cubicBezTo>
                  <a:cubicBezTo>
                    <a:pt x="250" y="4"/>
                    <a:pt x="250" y="4"/>
                    <a:pt x="250" y="4"/>
                  </a:cubicBezTo>
                  <a:cubicBezTo>
                    <a:pt x="249" y="4"/>
                    <a:pt x="249" y="4"/>
                    <a:pt x="248" y="4"/>
                  </a:cubicBezTo>
                  <a:cubicBezTo>
                    <a:pt x="247" y="4"/>
                    <a:pt x="246" y="5"/>
                    <a:pt x="245" y="6"/>
                  </a:cubicBezTo>
                  <a:cubicBezTo>
                    <a:pt x="244" y="6"/>
                    <a:pt x="244" y="6"/>
                    <a:pt x="244" y="6"/>
                  </a:cubicBezTo>
                  <a:cubicBezTo>
                    <a:pt x="243" y="6"/>
                    <a:pt x="243" y="6"/>
                    <a:pt x="243" y="6"/>
                  </a:cubicBezTo>
                  <a:cubicBezTo>
                    <a:pt x="242" y="7"/>
                    <a:pt x="241" y="7"/>
                    <a:pt x="241" y="8"/>
                  </a:cubicBezTo>
                  <a:cubicBezTo>
                    <a:pt x="240" y="8"/>
                    <a:pt x="240" y="8"/>
                    <a:pt x="240" y="8"/>
                  </a:cubicBezTo>
                  <a:cubicBezTo>
                    <a:pt x="239" y="8"/>
                    <a:pt x="239" y="8"/>
                    <a:pt x="239" y="8"/>
                  </a:cubicBezTo>
                  <a:cubicBezTo>
                    <a:pt x="238" y="9"/>
                    <a:pt x="237" y="10"/>
                    <a:pt x="237" y="10"/>
                  </a:cubicBezTo>
                  <a:cubicBezTo>
                    <a:pt x="228" y="18"/>
                    <a:pt x="228" y="18"/>
                    <a:pt x="228" y="18"/>
                  </a:cubicBezTo>
                  <a:cubicBezTo>
                    <a:pt x="227" y="19"/>
                    <a:pt x="227" y="19"/>
                    <a:pt x="226" y="19"/>
                  </a:cubicBezTo>
                  <a:cubicBezTo>
                    <a:pt x="226" y="19"/>
                    <a:pt x="226" y="19"/>
                    <a:pt x="226" y="19"/>
                  </a:cubicBezTo>
                  <a:cubicBezTo>
                    <a:pt x="225" y="19"/>
                    <a:pt x="225" y="19"/>
                    <a:pt x="225" y="19"/>
                  </a:cubicBezTo>
                  <a:cubicBezTo>
                    <a:pt x="207" y="13"/>
                    <a:pt x="207" y="13"/>
                    <a:pt x="207" y="13"/>
                  </a:cubicBezTo>
                  <a:cubicBezTo>
                    <a:pt x="206" y="13"/>
                    <a:pt x="204" y="12"/>
                    <a:pt x="203" y="12"/>
                  </a:cubicBezTo>
                  <a:cubicBezTo>
                    <a:pt x="202" y="12"/>
                    <a:pt x="202" y="12"/>
                    <a:pt x="202" y="12"/>
                  </a:cubicBezTo>
                  <a:cubicBezTo>
                    <a:pt x="201" y="12"/>
                    <a:pt x="199" y="12"/>
                    <a:pt x="197" y="12"/>
                  </a:cubicBezTo>
                  <a:cubicBezTo>
                    <a:pt x="195" y="12"/>
                    <a:pt x="195" y="12"/>
                    <a:pt x="195" y="12"/>
                  </a:cubicBezTo>
                  <a:cubicBezTo>
                    <a:pt x="194" y="12"/>
                    <a:pt x="192" y="12"/>
                    <a:pt x="191" y="12"/>
                  </a:cubicBezTo>
                  <a:cubicBezTo>
                    <a:pt x="189" y="12"/>
                    <a:pt x="189" y="12"/>
                    <a:pt x="189" y="12"/>
                  </a:cubicBezTo>
                  <a:cubicBezTo>
                    <a:pt x="188" y="12"/>
                    <a:pt x="186" y="12"/>
                    <a:pt x="185" y="12"/>
                  </a:cubicBezTo>
                  <a:cubicBezTo>
                    <a:pt x="183" y="12"/>
                    <a:pt x="181" y="12"/>
                    <a:pt x="179" y="13"/>
                  </a:cubicBezTo>
                  <a:cubicBezTo>
                    <a:pt x="175" y="14"/>
                    <a:pt x="173" y="15"/>
                    <a:pt x="171" y="16"/>
                  </a:cubicBezTo>
                  <a:cubicBezTo>
                    <a:pt x="170" y="17"/>
                    <a:pt x="169" y="18"/>
                    <a:pt x="168" y="20"/>
                  </a:cubicBezTo>
                  <a:cubicBezTo>
                    <a:pt x="165" y="23"/>
                    <a:pt x="165" y="23"/>
                    <a:pt x="165" y="23"/>
                  </a:cubicBezTo>
                  <a:cubicBezTo>
                    <a:pt x="164" y="24"/>
                    <a:pt x="163" y="24"/>
                    <a:pt x="163" y="24"/>
                  </a:cubicBezTo>
                  <a:cubicBezTo>
                    <a:pt x="162" y="25"/>
                    <a:pt x="162" y="25"/>
                    <a:pt x="162" y="25"/>
                  </a:cubicBezTo>
                  <a:cubicBezTo>
                    <a:pt x="162" y="25"/>
                    <a:pt x="161" y="25"/>
                    <a:pt x="161" y="25"/>
                  </a:cubicBezTo>
                  <a:cubicBezTo>
                    <a:pt x="160" y="25"/>
                    <a:pt x="159" y="25"/>
                    <a:pt x="159" y="25"/>
                  </a:cubicBezTo>
                  <a:cubicBezTo>
                    <a:pt x="159" y="25"/>
                    <a:pt x="159" y="25"/>
                    <a:pt x="159" y="25"/>
                  </a:cubicBezTo>
                  <a:cubicBezTo>
                    <a:pt x="158" y="25"/>
                    <a:pt x="157" y="25"/>
                    <a:pt x="156" y="25"/>
                  </a:cubicBezTo>
                  <a:cubicBezTo>
                    <a:pt x="156" y="25"/>
                    <a:pt x="155" y="25"/>
                    <a:pt x="155" y="25"/>
                  </a:cubicBezTo>
                  <a:cubicBezTo>
                    <a:pt x="154" y="25"/>
                    <a:pt x="154" y="25"/>
                    <a:pt x="154" y="25"/>
                  </a:cubicBezTo>
                  <a:cubicBezTo>
                    <a:pt x="153" y="25"/>
                    <a:pt x="153" y="25"/>
                    <a:pt x="153" y="25"/>
                  </a:cubicBezTo>
                  <a:cubicBezTo>
                    <a:pt x="152" y="25"/>
                    <a:pt x="152" y="25"/>
                    <a:pt x="152" y="25"/>
                  </a:cubicBezTo>
                  <a:cubicBezTo>
                    <a:pt x="147" y="25"/>
                    <a:pt x="142" y="23"/>
                    <a:pt x="138" y="21"/>
                  </a:cubicBezTo>
                  <a:cubicBezTo>
                    <a:pt x="133" y="18"/>
                    <a:pt x="133" y="18"/>
                    <a:pt x="133" y="18"/>
                  </a:cubicBezTo>
                  <a:cubicBezTo>
                    <a:pt x="132" y="18"/>
                    <a:pt x="131" y="17"/>
                    <a:pt x="130" y="17"/>
                  </a:cubicBezTo>
                  <a:cubicBezTo>
                    <a:pt x="129" y="16"/>
                    <a:pt x="129" y="16"/>
                    <a:pt x="129" y="16"/>
                  </a:cubicBezTo>
                  <a:cubicBezTo>
                    <a:pt x="127" y="15"/>
                    <a:pt x="126" y="14"/>
                    <a:pt x="124" y="13"/>
                  </a:cubicBezTo>
                  <a:cubicBezTo>
                    <a:pt x="123" y="13"/>
                    <a:pt x="123" y="13"/>
                    <a:pt x="123" y="13"/>
                  </a:cubicBezTo>
                  <a:cubicBezTo>
                    <a:pt x="122" y="16"/>
                    <a:pt x="122" y="16"/>
                    <a:pt x="122" y="16"/>
                  </a:cubicBezTo>
                  <a:cubicBezTo>
                    <a:pt x="122" y="13"/>
                    <a:pt x="122" y="13"/>
                    <a:pt x="122" y="13"/>
                  </a:cubicBezTo>
                  <a:cubicBezTo>
                    <a:pt x="121" y="13"/>
                    <a:pt x="121" y="13"/>
                    <a:pt x="121" y="13"/>
                  </a:cubicBezTo>
                  <a:cubicBezTo>
                    <a:pt x="121" y="13"/>
                    <a:pt x="121" y="13"/>
                    <a:pt x="120" y="13"/>
                  </a:cubicBezTo>
                  <a:cubicBezTo>
                    <a:pt x="120" y="13"/>
                    <a:pt x="119" y="13"/>
                    <a:pt x="119" y="13"/>
                  </a:cubicBezTo>
                  <a:cubicBezTo>
                    <a:pt x="116" y="13"/>
                    <a:pt x="113" y="15"/>
                    <a:pt x="110" y="16"/>
                  </a:cubicBezTo>
                  <a:cubicBezTo>
                    <a:pt x="109" y="17"/>
                    <a:pt x="108" y="17"/>
                    <a:pt x="107" y="18"/>
                  </a:cubicBezTo>
                  <a:cubicBezTo>
                    <a:pt x="107" y="18"/>
                    <a:pt x="106" y="18"/>
                    <a:pt x="106" y="19"/>
                  </a:cubicBezTo>
                  <a:cubicBezTo>
                    <a:pt x="105" y="19"/>
                    <a:pt x="105" y="19"/>
                    <a:pt x="105" y="19"/>
                  </a:cubicBezTo>
                  <a:cubicBezTo>
                    <a:pt x="104" y="20"/>
                    <a:pt x="103" y="20"/>
                    <a:pt x="103" y="20"/>
                  </a:cubicBezTo>
                  <a:cubicBezTo>
                    <a:pt x="102" y="20"/>
                    <a:pt x="101" y="21"/>
                    <a:pt x="100" y="21"/>
                  </a:cubicBezTo>
                  <a:cubicBezTo>
                    <a:pt x="99" y="21"/>
                    <a:pt x="97" y="20"/>
                    <a:pt x="96" y="19"/>
                  </a:cubicBezTo>
                  <a:cubicBezTo>
                    <a:pt x="87" y="9"/>
                    <a:pt x="87" y="9"/>
                    <a:pt x="87" y="9"/>
                  </a:cubicBezTo>
                  <a:cubicBezTo>
                    <a:pt x="86" y="8"/>
                    <a:pt x="85" y="7"/>
                    <a:pt x="83" y="6"/>
                  </a:cubicBezTo>
                  <a:cubicBezTo>
                    <a:pt x="82" y="5"/>
                    <a:pt x="82" y="5"/>
                    <a:pt x="82" y="5"/>
                  </a:cubicBezTo>
                  <a:cubicBezTo>
                    <a:pt x="80" y="4"/>
                    <a:pt x="78" y="3"/>
                    <a:pt x="75" y="3"/>
                  </a:cubicBezTo>
                  <a:cubicBezTo>
                    <a:pt x="74" y="3"/>
                    <a:pt x="73" y="3"/>
                    <a:pt x="72" y="2"/>
                  </a:cubicBezTo>
                  <a:cubicBezTo>
                    <a:pt x="71" y="2"/>
                    <a:pt x="70" y="2"/>
                    <a:pt x="69" y="1"/>
                  </a:cubicBezTo>
                  <a:cubicBezTo>
                    <a:pt x="69" y="1"/>
                    <a:pt x="69" y="1"/>
                    <a:pt x="69" y="1"/>
                  </a:cubicBezTo>
                  <a:cubicBezTo>
                    <a:pt x="68" y="1"/>
                    <a:pt x="66" y="0"/>
                    <a:pt x="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232"/>
            <p:cNvSpPr>
              <a:spLocks noEditPoints="1"/>
            </p:cNvSpPr>
            <p:nvPr/>
          </p:nvSpPr>
          <p:spPr bwMode="auto">
            <a:xfrm>
              <a:off x="4145" y="2632"/>
              <a:ext cx="317" cy="336"/>
            </a:xfrm>
            <a:custGeom>
              <a:gdLst>
                <a:gd name="T0" fmla="*/ 31 w 134"/>
                <a:gd name="T1" fmla="*/ 113 h 142"/>
                <a:gd name="T2" fmla="*/ 34 w 134"/>
                <a:gd name="T3" fmla="*/ 112 h 142"/>
                <a:gd name="T4" fmla="*/ 25 w 134"/>
                <a:gd name="T5" fmla="*/ 110 h 142"/>
                <a:gd name="T6" fmla="*/ 67 w 134"/>
                <a:gd name="T7" fmla="*/ 0 h 142"/>
                <a:gd name="T8" fmla="*/ 65 w 134"/>
                <a:gd name="T9" fmla="*/ 1 h 142"/>
                <a:gd name="T10" fmla="*/ 65 w 134"/>
                <a:gd name="T11" fmla="*/ 14 h 142"/>
                <a:gd name="T12" fmla="*/ 53 w 134"/>
                <a:gd name="T13" fmla="*/ 31 h 142"/>
                <a:gd name="T14" fmla="*/ 26 w 134"/>
                <a:gd name="T15" fmla="*/ 30 h 142"/>
                <a:gd name="T16" fmla="*/ 22 w 134"/>
                <a:gd name="T17" fmla="*/ 29 h 142"/>
                <a:gd name="T18" fmla="*/ 21 w 134"/>
                <a:gd name="T19" fmla="*/ 40 h 142"/>
                <a:gd name="T20" fmla="*/ 20 w 134"/>
                <a:gd name="T21" fmla="*/ 38 h 142"/>
                <a:gd name="T22" fmla="*/ 18 w 134"/>
                <a:gd name="T23" fmla="*/ 43 h 142"/>
                <a:gd name="T24" fmla="*/ 28 w 134"/>
                <a:gd name="T25" fmla="*/ 47 h 142"/>
                <a:gd name="T26" fmla="*/ 22 w 134"/>
                <a:gd name="T27" fmla="*/ 48 h 142"/>
                <a:gd name="T28" fmla="*/ 18 w 134"/>
                <a:gd name="T29" fmla="*/ 48 h 142"/>
                <a:gd name="T30" fmla="*/ 15 w 134"/>
                <a:gd name="T31" fmla="*/ 49 h 142"/>
                <a:gd name="T32" fmla="*/ 4 w 134"/>
                <a:gd name="T33" fmla="*/ 70 h 142"/>
                <a:gd name="T34" fmla="*/ 12 w 134"/>
                <a:gd name="T35" fmla="*/ 84 h 142"/>
                <a:gd name="T36" fmla="*/ 18 w 134"/>
                <a:gd name="T37" fmla="*/ 89 h 142"/>
                <a:gd name="T38" fmla="*/ 13 w 134"/>
                <a:gd name="T39" fmla="*/ 88 h 142"/>
                <a:gd name="T40" fmla="*/ 16 w 134"/>
                <a:gd name="T41" fmla="*/ 96 h 142"/>
                <a:gd name="T42" fmla="*/ 55 w 134"/>
                <a:gd name="T43" fmla="*/ 142 h 142"/>
                <a:gd name="T44" fmla="*/ 63 w 134"/>
                <a:gd name="T45" fmla="*/ 133 h 142"/>
                <a:gd name="T46" fmla="*/ 72 w 134"/>
                <a:gd name="T47" fmla="*/ 134 h 142"/>
                <a:gd name="T48" fmla="*/ 73 w 134"/>
                <a:gd name="T49" fmla="*/ 131 h 142"/>
                <a:gd name="T50" fmla="*/ 69 w 134"/>
                <a:gd name="T51" fmla="*/ 123 h 142"/>
                <a:gd name="T52" fmla="*/ 64 w 134"/>
                <a:gd name="T53" fmla="*/ 117 h 142"/>
                <a:gd name="T54" fmla="*/ 65 w 134"/>
                <a:gd name="T55" fmla="*/ 111 h 142"/>
                <a:gd name="T56" fmla="*/ 68 w 134"/>
                <a:gd name="T57" fmla="*/ 104 h 142"/>
                <a:gd name="T58" fmla="*/ 77 w 134"/>
                <a:gd name="T59" fmla="*/ 104 h 142"/>
                <a:gd name="T60" fmla="*/ 81 w 134"/>
                <a:gd name="T61" fmla="*/ 104 h 142"/>
                <a:gd name="T62" fmla="*/ 85 w 134"/>
                <a:gd name="T63" fmla="*/ 98 h 142"/>
                <a:gd name="T64" fmla="*/ 90 w 134"/>
                <a:gd name="T65" fmla="*/ 93 h 142"/>
                <a:gd name="T66" fmla="*/ 101 w 134"/>
                <a:gd name="T67" fmla="*/ 100 h 142"/>
                <a:gd name="T68" fmla="*/ 108 w 134"/>
                <a:gd name="T69" fmla="*/ 104 h 142"/>
                <a:gd name="T70" fmla="*/ 121 w 134"/>
                <a:gd name="T71" fmla="*/ 99 h 142"/>
                <a:gd name="T72" fmla="*/ 129 w 134"/>
                <a:gd name="T73" fmla="*/ 99 h 142"/>
                <a:gd name="T74" fmla="*/ 133 w 134"/>
                <a:gd name="T75" fmla="*/ 85 h 142"/>
                <a:gd name="T76" fmla="*/ 133 w 134"/>
                <a:gd name="T77" fmla="*/ 81 h 142"/>
                <a:gd name="T78" fmla="*/ 132 w 134"/>
                <a:gd name="T79" fmla="*/ 73 h 142"/>
                <a:gd name="T80" fmla="*/ 134 w 134"/>
                <a:gd name="T81" fmla="*/ 67 h 142"/>
                <a:gd name="T82" fmla="*/ 119 w 134"/>
                <a:gd name="T83" fmla="*/ 56 h 142"/>
                <a:gd name="T84" fmla="*/ 126 w 134"/>
                <a:gd name="T85" fmla="*/ 38 h 142"/>
                <a:gd name="T86" fmla="*/ 132 w 134"/>
                <a:gd name="T87" fmla="*/ 31 h 142"/>
                <a:gd name="T88" fmla="*/ 126 w 134"/>
                <a:gd name="T89" fmla="*/ 22 h 142"/>
                <a:gd name="T90" fmla="*/ 111 w 134"/>
                <a:gd name="T91" fmla="*/ 24 h 142"/>
                <a:gd name="T92" fmla="*/ 103 w 134"/>
                <a:gd name="T93" fmla="*/ 6 h 142"/>
                <a:gd name="T94" fmla="*/ 104 w 134"/>
                <a:gd name="T95" fmla="*/ 1 h 142"/>
                <a:gd name="T96" fmla="*/ 79 w 134"/>
                <a:gd name="T97" fmla="*/ 0 h 142"/>
                <a:gd name="T98" fmla="*/ 73 w 134"/>
                <a:gd name="T99" fmla="*/ 0 h 142"/>
                <a:gd name="T100" fmla="*/ 68 w 134"/>
                <a:gd name="T101" fmla="*/ 0 h 1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142">
                  <a:moveTo>
                    <a:pt x="31" y="113"/>
                  </a:moveTo>
                  <a:cubicBezTo>
                    <a:pt x="31" y="113"/>
                    <a:pt x="30" y="113"/>
                    <a:pt x="30" y="113"/>
                  </a:cubicBezTo>
                  <a:cubicBezTo>
                    <a:pt x="30" y="113"/>
                    <a:pt x="31" y="113"/>
                    <a:pt x="31" y="113"/>
                  </a:cubicBezTo>
                  <a:moveTo>
                    <a:pt x="31" y="113"/>
                  </a:moveTo>
                  <a:cubicBezTo>
                    <a:pt x="32" y="113"/>
                    <a:pt x="33" y="113"/>
                    <a:pt x="33" y="112"/>
                  </a:cubicBezTo>
                  <a:cubicBezTo>
                    <a:pt x="34" y="112"/>
                    <a:pt x="34" y="112"/>
                    <a:pt x="34" y="112"/>
                  </a:cubicBezTo>
                  <a:cubicBezTo>
                    <a:pt x="34" y="112"/>
                    <a:pt x="34" y="112"/>
                    <a:pt x="34" y="112"/>
                  </a:cubicBezTo>
                  <a:cubicBezTo>
                    <a:pt x="34" y="112"/>
                    <a:pt x="34" y="112"/>
                    <a:pt x="34" y="112"/>
                  </a:cubicBezTo>
                  <a:cubicBezTo>
                    <a:pt x="33" y="112"/>
                    <a:pt x="33" y="112"/>
                    <a:pt x="33" y="112"/>
                  </a:cubicBezTo>
                  <a:cubicBezTo>
                    <a:pt x="33" y="113"/>
                    <a:pt x="32" y="113"/>
                    <a:pt x="31" y="113"/>
                  </a:cubicBezTo>
                  <a:cubicBezTo>
                    <a:pt x="31" y="113"/>
                    <a:pt x="31" y="113"/>
                    <a:pt x="31" y="113"/>
                  </a:cubicBezTo>
                  <a:moveTo>
                    <a:pt x="25" y="110"/>
                  </a:moveTo>
                  <a:cubicBezTo>
                    <a:pt x="26" y="109"/>
                    <a:pt x="26" y="109"/>
                    <a:pt x="26" y="109"/>
                  </a:cubicBezTo>
                  <a:cubicBezTo>
                    <a:pt x="26" y="109"/>
                    <a:pt x="26" y="109"/>
                    <a:pt x="26" y="109"/>
                  </a:cubicBezTo>
                  <a:cubicBezTo>
                    <a:pt x="25" y="110"/>
                    <a:pt x="25" y="110"/>
                    <a:pt x="25" y="110"/>
                  </a:cubicBezTo>
                  <a:moveTo>
                    <a:pt x="67" y="0"/>
                  </a:moveTo>
                  <a:cubicBezTo>
                    <a:pt x="67" y="0"/>
                    <a:pt x="67" y="0"/>
                    <a:pt x="67" y="0"/>
                  </a:cubicBezTo>
                  <a:cubicBezTo>
                    <a:pt x="65" y="0"/>
                    <a:pt x="65" y="0"/>
                    <a:pt x="65" y="0"/>
                  </a:cubicBezTo>
                  <a:cubicBezTo>
                    <a:pt x="65" y="1"/>
                    <a:pt x="65" y="1"/>
                    <a:pt x="65" y="1"/>
                  </a:cubicBezTo>
                  <a:cubicBezTo>
                    <a:pt x="65" y="1"/>
                    <a:pt x="65" y="1"/>
                    <a:pt x="65" y="1"/>
                  </a:cubicBezTo>
                  <a:cubicBezTo>
                    <a:pt x="65" y="2"/>
                    <a:pt x="65" y="2"/>
                    <a:pt x="65" y="3"/>
                  </a:cubicBezTo>
                  <a:cubicBezTo>
                    <a:pt x="65" y="7"/>
                    <a:pt x="65" y="7"/>
                    <a:pt x="65" y="7"/>
                  </a:cubicBezTo>
                  <a:cubicBezTo>
                    <a:pt x="65" y="8"/>
                    <a:pt x="65" y="10"/>
                    <a:pt x="65" y="11"/>
                  </a:cubicBezTo>
                  <a:cubicBezTo>
                    <a:pt x="65" y="14"/>
                    <a:pt x="65" y="14"/>
                    <a:pt x="65" y="14"/>
                  </a:cubicBezTo>
                  <a:cubicBezTo>
                    <a:pt x="66" y="24"/>
                    <a:pt x="66" y="28"/>
                    <a:pt x="64" y="30"/>
                  </a:cubicBezTo>
                  <a:cubicBezTo>
                    <a:pt x="63" y="31"/>
                    <a:pt x="62" y="31"/>
                    <a:pt x="60" y="31"/>
                  </a:cubicBezTo>
                  <a:cubicBezTo>
                    <a:pt x="58" y="31"/>
                    <a:pt x="57" y="31"/>
                    <a:pt x="55" y="31"/>
                  </a:cubicBezTo>
                  <a:cubicBezTo>
                    <a:pt x="54" y="31"/>
                    <a:pt x="53" y="31"/>
                    <a:pt x="53" y="31"/>
                  </a:cubicBezTo>
                  <a:cubicBezTo>
                    <a:pt x="38" y="31"/>
                    <a:pt x="38" y="31"/>
                    <a:pt x="38" y="31"/>
                  </a:cubicBezTo>
                  <a:cubicBezTo>
                    <a:pt x="37" y="31"/>
                    <a:pt x="36" y="31"/>
                    <a:pt x="35" y="31"/>
                  </a:cubicBezTo>
                  <a:cubicBezTo>
                    <a:pt x="34" y="31"/>
                    <a:pt x="33" y="31"/>
                    <a:pt x="31" y="31"/>
                  </a:cubicBezTo>
                  <a:cubicBezTo>
                    <a:pt x="30" y="31"/>
                    <a:pt x="28" y="31"/>
                    <a:pt x="26" y="30"/>
                  </a:cubicBezTo>
                  <a:cubicBezTo>
                    <a:pt x="26" y="30"/>
                    <a:pt x="26" y="30"/>
                    <a:pt x="26" y="30"/>
                  </a:cubicBezTo>
                  <a:cubicBezTo>
                    <a:pt x="23" y="30"/>
                    <a:pt x="23" y="30"/>
                    <a:pt x="23" y="30"/>
                  </a:cubicBezTo>
                  <a:cubicBezTo>
                    <a:pt x="23" y="29"/>
                    <a:pt x="23" y="29"/>
                    <a:pt x="23" y="29"/>
                  </a:cubicBezTo>
                  <a:cubicBezTo>
                    <a:pt x="22" y="29"/>
                    <a:pt x="22" y="29"/>
                    <a:pt x="22" y="29"/>
                  </a:cubicBezTo>
                  <a:cubicBezTo>
                    <a:pt x="22" y="28"/>
                    <a:pt x="22" y="28"/>
                    <a:pt x="22" y="28"/>
                  </a:cubicBezTo>
                  <a:cubicBezTo>
                    <a:pt x="21" y="28"/>
                    <a:pt x="20" y="29"/>
                    <a:pt x="20" y="29"/>
                  </a:cubicBezTo>
                  <a:cubicBezTo>
                    <a:pt x="20" y="29"/>
                    <a:pt x="21" y="31"/>
                    <a:pt x="21" y="32"/>
                  </a:cubicBezTo>
                  <a:cubicBezTo>
                    <a:pt x="22" y="34"/>
                    <a:pt x="22" y="37"/>
                    <a:pt x="21" y="40"/>
                  </a:cubicBezTo>
                  <a:cubicBezTo>
                    <a:pt x="21" y="40"/>
                    <a:pt x="21" y="39"/>
                    <a:pt x="21" y="38"/>
                  </a:cubicBezTo>
                  <a:cubicBezTo>
                    <a:pt x="21" y="38"/>
                    <a:pt x="21" y="38"/>
                    <a:pt x="21" y="38"/>
                  </a:cubicBezTo>
                  <a:cubicBezTo>
                    <a:pt x="20" y="38"/>
                    <a:pt x="20" y="38"/>
                    <a:pt x="20" y="38"/>
                  </a:cubicBezTo>
                  <a:cubicBezTo>
                    <a:pt x="20" y="38"/>
                    <a:pt x="20" y="38"/>
                    <a:pt x="20" y="38"/>
                  </a:cubicBezTo>
                  <a:cubicBezTo>
                    <a:pt x="20" y="38"/>
                    <a:pt x="20" y="38"/>
                    <a:pt x="20" y="37"/>
                  </a:cubicBezTo>
                  <a:cubicBezTo>
                    <a:pt x="18" y="37"/>
                    <a:pt x="16" y="38"/>
                    <a:pt x="14" y="39"/>
                  </a:cubicBezTo>
                  <a:cubicBezTo>
                    <a:pt x="15" y="39"/>
                    <a:pt x="15" y="39"/>
                    <a:pt x="15" y="39"/>
                  </a:cubicBezTo>
                  <a:cubicBezTo>
                    <a:pt x="17" y="39"/>
                    <a:pt x="17" y="41"/>
                    <a:pt x="18" y="43"/>
                  </a:cubicBezTo>
                  <a:cubicBezTo>
                    <a:pt x="19" y="45"/>
                    <a:pt x="19" y="44"/>
                    <a:pt x="21" y="45"/>
                  </a:cubicBezTo>
                  <a:cubicBezTo>
                    <a:pt x="22" y="45"/>
                    <a:pt x="23" y="46"/>
                    <a:pt x="24" y="47"/>
                  </a:cubicBezTo>
                  <a:cubicBezTo>
                    <a:pt x="25" y="47"/>
                    <a:pt x="26" y="47"/>
                    <a:pt x="26" y="47"/>
                  </a:cubicBezTo>
                  <a:cubicBezTo>
                    <a:pt x="27" y="47"/>
                    <a:pt x="27" y="47"/>
                    <a:pt x="28" y="47"/>
                  </a:cubicBezTo>
                  <a:cubicBezTo>
                    <a:pt x="28" y="47"/>
                    <a:pt x="29" y="47"/>
                    <a:pt x="29" y="47"/>
                  </a:cubicBezTo>
                  <a:cubicBezTo>
                    <a:pt x="30" y="47"/>
                    <a:pt x="30" y="47"/>
                    <a:pt x="31" y="47"/>
                  </a:cubicBezTo>
                  <a:cubicBezTo>
                    <a:pt x="27" y="48"/>
                    <a:pt x="28" y="48"/>
                    <a:pt x="26" y="51"/>
                  </a:cubicBezTo>
                  <a:cubicBezTo>
                    <a:pt x="24" y="49"/>
                    <a:pt x="23" y="48"/>
                    <a:pt x="22" y="48"/>
                  </a:cubicBezTo>
                  <a:cubicBezTo>
                    <a:pt x="21" y="48"/>
                    <a:pt x="21" y="48"/>
                    <a:pt x="21" y="48"/>
                  </a:cubicBezTo>
                  <a:cubicBezTo>
                    <a:pt x="20" y="48"/>
                    <a:pt x="20" y="48"/>
                    <a:pt x="20" y="48"/>
                  </a:cubicBezTo>
                  <a:cubicBezTo>
                    <a:pt x="19" y="49"/>
                    <a:pt x="19" y="49"/>
                    <a:pt x="19" y="49"/>
                  </a:cubicBezTo>
                  <a:cubicBezTo>
                    <a:pt x="18" y="48"/>
                    <a:pt x="18" y="48"/>
                    <a:pt x="18" y="48"/>
                  </a:cubicBezTo>
                  <a:cubicBezTo>
                    <a:pt x="17" y="48"/>
                    <a:pt x="17" y="47"/>
                    <a:pt x="17" y="47"/>
                  </a:cubicBezTo>
                  <a:cubicBezTo>
                    <a:pt x="16" y="47"/>
                    <a:pt x="16" y="47"/>
                    <a:pt x="16" y="47"/>
                  </a:cubicBezTo>
                  <a:cubicBezTo>
                    <a:pt x="16" y="46"/>
                    <a:pt x="15" y="45"/>
                    <a:pt x="14" y="44"/>
                  </a:cubicBezTo>
                  <a:cubicBezTo>
                    <a:pt x="14" y="46"/>
                    <a:pt x="15" y="48"/>
                    <a:pt x="15" y="49"/>
                  </a:cubicBezTo>
                  <a:cubicBezTo>
                    <a:pt x="15" y="58"/>
                    <a:pt x="11" y="65"/>
                    <a:pt x="7" y="72"/>
                  </a:cubicBezTo>
                  <a:cubicBezTo>
                    <a:pt x="7" y="70"/>
                    <a:pt x="7" y="70"/>
                    <a:pt x="6" y="70"/>
                  </a:cubicBezTo>
                  <a:cubicBezTo>
                    <a:pt x="6" y="70"/>
                    <a:pt x="6" y="70"/>
                    <a:pt x="5" y="70"/>
                  </a:cubicBezTo>
                  <a:cubicBezTo>
                    <a:pt x="5" y="70"/>
                    <a:pt x="4" y="70"/>
                    <a:pt x="4" y="70"/>
                  </a:cubicBezTo>
                  <a:cubicBezTo>
                    <a:pt x="4" y="70"/>
                    <a:pt x="3" y="70"/>
                    <a:pt x="3" y="70"/>
                  </a:cubicBezTo>
                  <a:cubicBezTo>
                    <a:pt x="2" y="70"/>
                    <a:pt x="1" y="66"/>
                    <a:pt x="0" y="65"/>
                  </a:cubicBezTo>
                  <a:cubicBezTo>
                    <a:pt x="3" y="71"/>
                    <a:pt x="5" y="79"/>
                    <a:pt x="9" y="83"/>
                  </a:cubicBezTo>
                  <a:cubicBezTo>
                    <a:pt x="11" y="84"/>
                    <a:pt x="11" y="84"/>
                    <a:pt x="12" y="84"/>
                  </a:cubicBezTo>
                  <a:cubicBezTo>
                    <a:pt x="13" y="84"/>
                    <a:pt x="13" y="83"/>
                    <a:pt x="15" y="82"/>
                  </a:cubicBezTo>
                  <a:cubicBezTo>
                    <a:pt x="16" y="84"/>
                    <a:pt x="13" y="87"/>
                    <a:pt x="14" y="89"/>
                  </a:cubicBezTo>
                  <a:cubicBezTo>
                    <a:pt x="14" y="89"/>
                    <a:pt x="19" y="89"/>
                    <a:pt x="20" y="89"/>
                  </a:cubicBezTo>
                  <a:cubicBezTo>
                    <a:pt x="19" y="89"/>
                    <a:pt x="19" y="89"/>
                    <a:pt x="18" y="89"/>
                  </a:cubicBezTo>
                  <a:cubicBezTo>
                    <a:pt x="18" y="89"/>
                    <a:pt x="17" y="89"/>
                    <a:pt x="17" y="90"/>
                  </a:cubicBezTo>
                  <a:cubicBezTo>
                    <a:pt x="16" y="90"/>
                    <a:pt x="16" y="90"/>
                    <a:pt x="16" y="90"/>
                  </a:cubicBezTo>
                  <a:cubicBezTo>
                    <a:pt x="15" y="90"/>
                    <a:pt x="15" y="90"/>
                    <a:pt x="14" y="90"/>
                  </a:cubicBezTo>
                  <a:cubicBezTo>
                    <a:pt x="14" y="89"/>
                    <a:pt x="13" y="88"/>
                    <a:pt x="13" y="88"/>
                  </a:cubicBezTo>
                  <a:cubicBezTo>
                    <a:pt x="12" y="90"/>
                    <a:pt x="13" y="94"/>
                    <a:pt x="14" y="95"/>
                  </a:cubicBezTo>
                  <a:cubicBezTo>
                    <a:pt x="14" y="96"/>
                    <a:pt x="14" y="96"/>
                    <a:pt x="15" y="96"/>
                  </a:cubicBezTo>
                  <a:cubicBezTo>
                    <a:pt x="15" y="96"/>
                    <a:pt x="15" y="96"/>
                    <a:pt x="15" y="96"/>
                  </a:cubicBezTo>
                  <a:cubicBezTo>
                    <a:pt x="15" y="96"/>
                    <a:pt x="16" y="96"/>
                    <a:pt x="16" y="96"/>
                  </a:cubicBezTo>
                  <a:cubicBezTo>
                    <a:pt x="16" y="96"/>
                    <a:pt x="16" y="96"/>
                    <a:pt x="16" y="96"/>
                  </a:cubicBezTo>
                  <a:cubicBezTo>
                    <a:pt x="23" y="98"/>
                    <a:pt x="18" y="105"/>
                    <a:pt x="22" y="108"/>
                  </a:cubicBezTo>
                  <a:cubicBezTo>
                    <a:pt x="22" y="107"/>
                    <a:pt x="22" y="107"/>
                    <a:pt x="22" y="107"/>
                  </a:cubicBezTo>
                  <a:cubicBezTo>
                    <a:pt x="32" y="119"/>
                    <a:pt x="44" y="130"/>
                    <a:pt x="55" y="142"/>
                  </a:cubicBezTo>
                  <a:cubicBezTo>
                    <a:pt x="56" y="140"/>
                    <a:pt x="57" y="138"/>
                    <a:pt x="57" y="137"/>
                  </a:cubicBezTo>
                  <a:cubicBezTo>
                    <a:pt x="58" y="136"/>
                    <a:pt x="59" y="135"/>
                    <a:pt x="61" y="134"/>
                  </a:cubicBezTo>
                  <a:cubicBezTo>
                    <a:pt x="62" y="133"/>
                    <a:pt x="62" y="133"/>
                    <a:pt x="62" y="133"/>
                  </a:cubicBezTo>
                  <a:cubicBezTo>
                    <a:pt x="62" y="133"/>
                    <a:pt x="63" y="133"/>
                    <a:pt x="63" y="133"/>
                  </a:cubicBezTo>
                  <a:cubicBezTo>
                    <a:pt x="64" y="132"/>
                    <a:pt x="64" y="131"/>
                    <a:pt x="65" y="131"/>
                  </a:cubicBezTo>
                  <a:cubicBezTo>
                    <a:pt x="65" y="131"/>
                    <a:pt x="66" y="131"/>
                    <a:pt x="66" y="131"/>
                  </a:cubicBezTo>
                  <a:cubicBezTo>
                    <a:pt x="67" y="131"/>
                    <a:pt x="69" y="132"/>
                    <a:pt x="71" y="134"/>
                  </a:cubicBezTo>
                  <a:cubicBezTo>
                    <a:pt x="72" y="134"/>
                    <a:pt x="72" y="134"/>
                    <a:pt x="72" y="134"/>
                  </a:cubicBezTo>
                  <a:cubicBezTo>
                    <a:pt x="72" y="134"/>
                    <a:pt x="72" y="134"/>
                    <a:pt x="72" y="134"/>
                  </a:cubicBezTo>
                  <a:cubicBezTo>
                    <a:pt x="72" y="134"/>
                    <a:pt x="72" y="134"/>
                    <a:pt x="72" y="134"/>
                  </a:cubicBezTo>
                  <a:cubicBezTo>
                    <a:pt x="72" y="134"/>
                    <a:pt x="72" y="133"/>
                    <a:pt x="72" y="132"/>
                  </a:cubicBezTo>
                  <a:cubicBezTo>
                    <a:pt x="72" y="132"/>
                    <a:pt x="73" y="131"/>
                    <a:pt x="73" y="131"/>
                  </a:cubicBezTo>
                  <a:cubicBezTo>
                    <a:pt x="73" y="131"/>
                    <a:pt x="73" y="131"/>
                    <a:pt x="73" y="131"/>
                  </a:cubicBezTo>
                  <a:cubicBezTo>
                    <a:pt x="72" y="130"/>
                    <a:pt x="70" y="130"/>
                    <a:pt x="69" y="129"/>
                  </a:cubicBezTo>
                  <a:cubicBezTo>
                    <a:pt x="69" y="128"/>
                    <a:pt x="68" y="127"/>
                    <a:pt x="68" y="126"/>
                  </a:cubicBezTo>
                  <a:cubicBezTo>
                    <a:pt x="68" y="125"/>
                    <a:pt x="68" y="124"/>
                    <a:pt x="69" y="123"/>
                  </a:cubicBezTo>
                  <a:cubicBezTo>
                    <a:pt x="66" y="121"/>
                    <a:pt x="66" y="121"/>
                    <a:pt x="66" y="121"/>
                  </a:cubicBezTo>
                  <a:cubicBezTo>
                    <a:pt x="65" y="120"/>
                    <a:pt x="65" y="120"/>
                    <a:pt x="65" y="120"/>
                  </a:cubicBezTo>
                  <a:cubicBezTo>
                    <a:pt x="65" y="119"/>
                    <a:pt x="65" y="118"/>
                    <a:pt x="64" y="118"/>
                  </a:cubicBezTo>
                  <a:cubicBezTo>
                    <a:pt x="64" y="117"/>
                    <a:pt x="64" y="117"/>
                    <a:pt x="64" y="117"/>
                  </a:cubicBezTo>
                  <a:cubicBezTo>
                    <a:pt x="64" y="116"/>
                    <a:pt x="65" y="115"/>
                    <a:pt x="65" y="114"/>
                  </a:cubicBezTo>
                  <a:cubicBezTo>
                    <a:pt x="66" y="113"/>
                    <a:pt x="66" y="113"/>
                    <a:pt x="66" y="113"/>
                  </a:cubicBezTo>
                  <a:cubicBezTo>
                    <a:pt x="66" y="112"/>
                    <a:pt x="66" y="112"/>
                    <a:pt x="66" y="112"/>
                  </a:cubicBezTo>
                  <a:cubicBezTo>
                    <a:pt x="65" y="112"/>
                    <a:pt x="65" y="111"/>
                    <a:pt x="65" y="111"/>
                  </a:cubicBezTo>
                  <a:cubicBezTo>
                    <a:pt x="65" y="110"/>
                    <a:pt x="65" y="110"/>
                    <a:pt x="65" y="110"/>
                  </a:cubicBezTo>
                  <a:cubicBezTo>
                    <a:pt x="65" y="109"/>
                    <a:pt x="65" y="108"/>
                    <a:pt x="65" y="108"/>
                  </a:cubicBezTo>
                  <a:cubicBezTo>
                    <a:pt x="62" y="103"/>
                    <a:pt x="62" y="103"/>
                    <a:pt x="62" y="103"/>
                  </a:cubicBezTo>
                  <a:cubicBezTo>
                    <a:pt x="68" y="104"/>
                    <a:pt x="68" y="104"/>
                    <a:pt x="68" y="104"/>
                  </a:cubicBezTo>
                  <a:cubicBezTo>
                    <a:pt x="69" y="104"/>
                    <a:pt x="70" y="104"/>
                    <a:pt x="71" y="105"/>
                  </a:cubicBezTo>
                  <a:cubicBezTo>
                    <a:pt x="72" y="105"/>
                    <a:pt x="72" y="105"/>
                    <a:pt x="72" y="105"/>
                  </a:cubicBezTo>
                  <a:cubicBezTo>
                    <a:pt x="72" y="105"/>
                    <a:pt x="73" y="105"/>
                    <a:pt x="74" y="104"/>
                  </a:cubicBezTo>
                  <a:cubicBezTo>
                    <a:pt x="74" y="104"/>
                    <a:pt x="76" y="104"/>
                    <a:pt x="77" y="104"/>
                  </a:cubicBezTo>
                  <a:cubicBezTo>
                    <a:pt x="77" y="104"/>
                    <a:pt x="77" y="104"/>
                    <a:pt x="77" y="104"/>
                  </a:cubicBezTo>
                  <a:cubicBezTo>
                    <a:pt x="79" y="104"/>
                    <a:pt x="79" y="104"/>
                    <a:pt x="79" y="104"/>
                  </a:cubicBezTo>
                  <a:cubicBezTo>
                    <a:pt x="79" y="105"/>
                    <a:pt x="79" y="105"/>
                    <a:pt x="79" y="105"/>
                  </a:cubicBezTo>
                  <a:cubicBezTo>
                    <a:pt x="80" y="104"/>
                    <a:pt x="81" y="104"/>
                    <a:pt x="81" y="104"/>
                  </a:cubicBezTo>
                  <a:cubicBezTo>
                    <a:pt x="82" y="104"/>
                    <a:pt x="82" y="104"/>
                    <a:pt x="82" y="104"/>
                  </a:cubicBezTo>
                  <a:cubicBezTo>
                    <a:pt x="83" y="103"/>
                    <a:pt x="83" y="103"/>
                    <a:pt x="84" y="103"/>
                  </a:cubicBezTo>
                  <a:cubicBezTo>
                    <a:pt x="84" y="102"/>
                    <a:pt x="84" y="101"/>
                    <a:pt x="85" y="98"/>
                  </a:cubicBezTo>
                  <a:cubicBezTo>
                    <a:pt x="85" y="98"/>
                    <a:pt x="85" y="98"/>
                    <a:pt x="85" y="98"/>
                  </a:cubicBezTo>
                  <a:cubicBezTo>
                    <a:pt x="85" y="97"/>
                    <a:pt x="85" y="97"/>
                    <a:pt x="85" y="96"/>
                  </a:cubicBezTo>
                  <a:cubicBezTo>
                    <a:pt x="85" y="96"/>
                    <a:pt x="85" y="96"/>
                    <a:pt x="85" y="96"/>
                  </a:cubicBezTo>
                  <a:cubicBezTo>
                    <a:pt x="86" y="95"/>
                    <a:pt x="86" y="93"/>
                    <a:pt x="89" y="93"/>
                  </a:cubicBezTo>
                  <a:cubicBezTo>
                    <a:pt x="90" y="93"/>
                    <a:pt x="90" y="93"/>
                    <a:pt x="90" y="93"/>
                  </a:cubicBezTo>
                  <a:cubicBezTo>
                    <a:pt x="91" y="93"/>
                    <a:pt x="91" y="93"/>
                    <a:pt x="92" y="93"/>
                  </a:cubicBezTo>
                  <a:cubicBezTo>
                    <a:pt x="92" y="93"/>
                    <a:pt x="93" y="93"/>
                    <a:pt x="94" y="93"/>
                  </a:cubicBezTo>
                  <a:cubicBezTo>
                    <a:pt x="94" y="93"/>
                    <a:pt x="95" y="93"/>
                    <a:pt x="95" y="93"/>
                  </a:cubicBezTo>
                  <a:cubicBezTo>
                    <a:pt x="98" y="93"/>
                    <a:pt x="100" y="97"/>
                    <a:pt x="101" y="100"/>
                  </a:cubicBezTo>
                  <a:cubicBezTo>
                    <a:pt x="102" y="103"/>
                    <a:pt x="102" y="104"/>
                    <a:pt x="103" y="104"/>
                  </a:cubicBezTo>
                  <a:cubicBezTo>
                    <a:pt x="103" y="104"/>
                    <a:pt x="103" y="104"/>
                    <a:pt x="104" y="104"/>
                  </a:cubicBezTo>
                  <a:cubicBezTo>
                    <a:pt x="105" y="104"/>
                    <a:pt x="105" y="104"/>
                    <a:pt x="106" y="104"/>
                  </a:cubicBezTo>
                  <a:cubicBezTo>
                    <a:pt x="107" y="104"/>
                    <a:pt x="108" y="104"/>
                    <a:pt x="108" y="104"/>
                  </a:cubicBezTo>
                  <a:cubicBezTo>
                    <a:pt x="111" y="104"/>
                    <a:pt x="113" y="104"/>
                    <a:pt x="114" y="104"/>
                  </a:cubicBezTo>
                  <a:cubicBezTo>
                    <a:pt x="114" y="103"/>
                    <a:pt x="116" y="102"/>
                    <a:pt x="116" y="100"/>
                  </a:cubicBezTo>
                  <a:cubicBezTo>
                    <a:pt x="118" y="95"/>
                    <a:pt x="118" y="95"/>
                    <a:pt x="118" y="95"/>
                  </a:cubicBezTo>
                  <a:cubicBezTo>
                    <a:pt x="121" y="99"/>
                    <a:pt x="121" y="99"/>
                    <a:pt x="121" y="99"/>
                  </a:cubicBezTo>
                  <a:cubicBezTo>
                    <a:pt x="123" y="102"/>
                    <a:pt x="124" y="104"/>
                    <a:pt x="125" y="107"/>
                  </a:cubicBezTo>
                  <a:cubicBezTo>
                    <a:pt x="125" y="107"/>
                    <a:pt x="125" y="107"/>
                    <a:pt x="125" y="107"/>
                  </a:cubicBezTo>
                  <a:cubicBezTo>
                    <a:pt x="125" y="107"/>
                    <a:pt x="125" y="107"/>
                    <a:pt x="125" y="107"/>
                  </a:cubicBezTo>
                  <a:cubicBezTo>
                    <a:pt x="129" y="99"/>
                    <a:pt x="129" y="99"/>
                    <a:pt x="129" y="99"/>
                  </a:cubicBezTo>
                  <a:cubicBezTo>
                    <a:pt x="130" y="97"/>
                    <a:pt x="131" y="94"/>
                    <a:pt x="132" y="91"/>
                  </a:cubicBezTo>
                  <a:cubicBezTo>
                    <a:pt x="132" y="91"/>
                    <a:pt x="132" y="90"/>
                    <a:pt x="132" y="89"/>
                  </a:cubicBezTo>
                  <a:cubicBezTo>
                    <a:pt x="133" y="88"/>
                    <a:pt x="133" y="88"/>
                    <a:pt x="133" y="88"/>
                  </a:cubicBezTo>
                  <a:cubicBezTo>
                    <a:pt x="133" y="87"/>
                    <a:pt x="133" y="86"/>
                    <a:pt x="133" y="85"/>
                  </a:cubicBezTo>
                  <a:cubicBezTo>
                    <a:pt x="133" y="84"/>
                    <a:pt x="133" y="84"/>
                    <a:pt x="133" y="84"/>
                  </a:cubicBezTo>
                  <a:cubicBezTo>
                    <a:pt x="133" y="84"/>
                    <a:pt x="133" y="83"/>
                    <a:pt x="133" y="82"/>
                  </a:cubicBezTo>
                  <a:cubicBezTo>
                    <a:pt x="133" y="81"/>
                    <a:pt x="133" y="81"/>
                    <a:pt x="133" y="81"/>
                  </a:cubicBezTo>
                  <a:cubicBezTo>
                    <a:pt x="133" y="81"/>
                    <a:pt x="133" y="81"/>
                    <a:pt x="133" y="81"/>
                  </a:cubicBezTo>
                  <a:cubicBezTo>
                    <a:pt x="133" y="80"/>
                    <a:pt x="133" y="80"/>
                    <a:pt x="133" y="79"/>
                  </a:cubicBezTo>
                  <a:cubicBezTo>
                    <a:pt x="133" y="79"/>
                    <a:pt x="133" y="79"/>
                    <a:pt x="133" y="79"/>
                  </a:cubicBezTo>
                  <a:cubicBezTo>
                    <a:pt x="132" y="77"/>
                    <a:pt x="132" y="76"/>
                    <a:pt x="132" y="74"/>
                  </a:cubicBezTo>
                  <a:cubicBezTo>
                    <a:pt x="132" y="73"/>
                    <a:pt x="132" y="73"/>
                    <a:pt x="132" y="73"/>
                  </a:cubicBezTo>
                  <a:cubicBezTo>
                    <a:pt x="132" y="72"/>
                    <a:pt x="133" y="71"/>
                    <a:pt x="133" y="71"/>
                  </a:cubicBezTo>
                  <a:cubicBezTo>
                    <a:pt x="133" y="71"/>
                    <a:pt x="133" y="71"/>
                    <a:pt x="133" y="70"/>
                  </a:cubicBezTo>
                  <a:cubicBezTo>
                    <a:pt x="133" y="70"/>
                    <a:pt x="133" y="70"/>
                    <a:pt x="133" y="70"/>
                  </a:cubicBezTo>
                  <a:cubicBezTo>
                    <a:pt x="134" y="68"/>
                    <a:pt x="134" y="67"/>
                    <a:pt x="134" y="67"/>
                  </a:cubicBezTo>
                  <a:cubicBezTo>
                    <a:pt x="134" y="66"/>
                    <a:pt x="129" y="64"/>
                    <a:pt x="128" y="64"/>
                  </a:cubicBezTo>
                  <a:cubicBezTo>
                    <a:pt x="125" y="63"/>
                    <a:pt x="122" y="61"/>
                    <a:pt x="120" y="59"/>
                  </a:cubicBezTo>
                  <a:cubicBezTo>
                    <a:pt x="120" y="59"/>
                    <a:pt x="119" y="58"/>
                    <a:pt x="119" y="57"/>
                  </a:cubicBezTo>
                  <a:cubicBezTo>
                    <a:pt x="119" y="57"/>
                    <a:pt x="119" y="57"/>
                    <a:pt x="119" y="56"/>
                  </a:cubicBezTo>
                  <a:cubicBezTo>
                    <a:pt x="119" y="56"/>
                    <a:pt x="119" y="56"/>
                    <a:pt x="119" y="56"/>
                  </a:cubicBezTo>
                  <a:cubicBezTo>
                    <a:pt x="119" y="53"/>
                    <a:pt x="121" y="50"/>
                    <a:pt x="122" y="47"/>
                  </a:cubicBezTo>
                  <a:cubicBezTo>
                    <a:pt x="122" y="45"/>
                    <a:pt x="122" y="45"/>
                    <a:pt x="122" y="45"/>
                  </a:cubicBezTo>
                  <a:cubicBezTo>
                    <a:pt x="123" y="43"/>
                    <a:pt x="124" y="40"/>
                    <a:pt x="126" y="38"/>
                  </a:cubicBezTo>
                  <a:cubicBezTo>
                    <a:pt x="126" y="38"/>
                    <a:pt x="127" y="37"/>
                    <a:pt x="127" y="37"/>
                  </a:cubicBezTo>
                  <a:cubicBezTo>
                    <a:pt x="129" y="36"/>
                    <a:pt x="129" y="36"/>
                    <a:pt x="129" y="36"/>
                  </a:cubicBezTo>
                  <a:cubicBezTo>
                    <a:pt x="130" y="35"/>
                    <a:pt x="131" y="34"/>
                    <a:pt x="132" y="32"/>
                  </a:cubicBezTo>
                  <a:cubicBezTo>
                    <a:pt x="132" y="31"/>
                    <a:pt x="132" y="31"/>
                    <a:pt x="132" y="31"/>
                  </a:cubicBezTo>
                  <a:cubicBezTo>
                    <a:pt x="132" y="31"/>
                    <a:pt x="132" y="30"/>
                    <a:pt x="132" y="30"/>
                  </a:cubicBezTo>
                  <a:cubicBezTo>
                    <a:pt x="128" y="22"/>
                    <a:pt x="128" y="22"/>
                    <a:pt x="128" y="22"/>
                  </a:cubicBezTo>
                  <a:cubicBezTo>
                    <a:pt x="128" y="22"/>
                    <a:pt x="128" y="22"/>
                    <a:pt x="128" y="22"/>
                  </a:cubicBezTo>
                  <a:cubicBezTo>
                    <a:pt x="127" y="22"/>
                    <a:pt x="127" y="22"/>
                    <a:pt x="126" y="22"/>
                  </a:cubicBezTo>
                  <a:cubicBezTo>
                    <a:pt x="125" y="22"/>
                    <a:pt x="125" y="22"/>
                    <a:pt x="125" y="22"/>
                  </a:cubicBezTo>
                  <a:cubicBezTo>
                    <a:pt x="124" y="21"/>
                    <a:pt x="123" y="21"/>
                    <a:pt x="122" y="21"/>
                  </a:cubicBezTo>
                  <a:cubicBezTo>
                    <a:pt x="121" y="21"/>
                    <a:pt x="120" y="21"/>
                    <a:pt x="119" y="22"/>
                  </a:cubicBezTo>
                  <a:cubicBezTo>
                    <a:pt x="116" y="22"/>
                    <a:pt x="114" y="23"/>
                    <a:pt x="111" y="24"/>
                  </a:cubicBezTo>
                  <a:cubicBezTo>
                    <a:pt x="103" y="27"/>
                    <a:pt x="103" y="27"/>
                    <a:pt x="103" y="27"/>
                  </a:cubicBezTo>
                  <a:cubicBezTo>
                    <a:pt x="103" y="23"/>
                    <a:pt x="103" y="23"/>
                    <a:pt x="103" y="23"/>
                  </a:cubicBezTo>
                  <a:cubicBezTo>
                    <a:pt x="103" y="21"/>
                    <a:pt x="102" y="20"/>
                    <a:pt x="102" y="18"/>
                  </a:cubicBezTo>
                  <a:cubicBezTo>
                    <a:pt x="102" y="14"/>
                    <a:pt x="102" y="10"/>
                    <a:pt x="103" y="6"/>
                  </a:cubicBezTo>
                  <a:cubicBezTo>
                    <a:pt x="103" y="5"/>
                    <a:pt x="103" y="5"/>
                    <a:pt x="103" y="5"/>
                  </a:cubicBezTo>
                  <a:cubicBezTo>
                    <a:pt x="104" y="4"/>
                    <a:pt x="104" y="3"/>
                    <a:pt x="104" y="3"/>
                  </a:cubicBezTo>
                  <a:cubicBezTo>
                    <a:pt x="104" y="3"/>
                    <a:pt x="104" y="3"/>
                    <a:pt x="104" y="3"/>
                  </a:cubicBezTo>
                  <a:cubicBezTo>
                    <a:pt x="104" y="1"/>
                    <a:pt x="104" y="1"/>
                    <a:pt x="104" y="1"/>
                  </a:cubicBezTo>
                  <a:cubicBezTo>
                    <a:pt x="104" y="1"/>
                    <a:pt x="104" y="1"/>
                    <a:pt x="104" y="1"/>
                  </a:cubicBezTo>
                  <a:cubicBezTo>
                    <a:pt x="104" y="1"/>
                    <a:pt x="103" y="1"/>
                    <a:pt x="103" y="1"/>
                  </a:cubicBezTo>
                  <a:cubicBezTo>
                    <a:pt x="98" y="1"/>
                    <a:pt x="94" y="1"/>
                    <a:pt x="89" y="1"/>
                  </a:cubicBezTo>
                  <a:cubicBezTo>
                    <a:pt x="86" y="1"/>
                    <a:pt x="82" y="1"/>
                    <a:pt x="79" y="0"/>
                  </a:cubicBezTo>
                  <a:cubicBezTo>
                    <a:pt x="77" y="0"/>
                    <a:pt x="77" y="0"/>
                    <a:pt x="77" y="0"/>
                  </a:cubicBezTo>
                  <a:cubicBezTo>
                    <a:pt x="76" y="0"/>
                    <a:pt x="76" y="0"/>
                    <a:pt x="76" y="0"/>
                  </a:cubicBezTo>
                  <a:cubicBezTo>
                    <a:pt x="76" y="0"/>
                    <a:pt x="76" y="0"/>
                    <a:pt x="76" y="0"/>
                  </a:cubicBezTo>
                  <a:cubicBezTo>
                    <a:pt x="75" y="0"/>
                    <a:pt x="74" y="0"/>
                    <a:pt x="73" y="0"/>
                  </a:cubicBezTo>
                  <a:cubicBezTo>
                    <a:pt x="72" y="0"/>
                    <a:pt x="72" y="0"/>
                    <a:pt x="72" y="0"/>
                  </a:cubicBezTo>
                  <a:cubicBezTo>
                    <a:pt x="71" y="0"/>
                    <a:pt x="69" y="0"/>
                    <a:pt x="68" y="0"/>
                  </a:cubicBezTo>
                  <a:cubicBezTo>
                    <a:pt x="68" y="0"/>
                    <a:pt x="68" y="0"/>
                    <a:pt x="68" y="0"/>
                  </a:cubicBezTo>
                  <a:cubicBezTo>
                    <a:pt x="68" y="0"/>
                    <a:pt x="68" y="0"/>
                    <a:pt x="68"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233"/>
            <p:cNvSpPr/>
            <p:nvPr/>
          </p:nvSpPr>
          <p:spPr bwMode="auto">
            <a:xfrm>
              <a:off x="4181" y="2632"/>
              <a:ext cx="106" cy="64"/>
            </a:xfrm>
            <a:custGeom>
              <a:gdLst>
                <a:gd name="T0" fmla="*/ 11 w 45"/>
                <a:gd name="T1" fmla="*/ 0 h 27"/>
                <a:gd name="T2" fmla="*/ 8 w 45"/>
                <a:gd name="T3" fmla="*/ 10 h 27"/>
                <a:gd name="T4" fmla="*/ 8 w 45"/>
                <a:gd name="T5" fmla="*/ 10 h 27"/>
                <a:gd name="T6" fmla="*/ 18 w 45"/>
                <a:gd name="T7" fmla="*/ 14 h 27"/>
                <a:gd name="T8" fmla="*/ 17 w 45"/>
                <a:gd name="T9" fmla="*/ 16 h 27"/>
                <a:gd name="T10" fmla="*/ 7 w 45"/>
                <a:gd name="T11" fmla="*/ 12 h 27"/>
                <a:gd name="T12" fmla="*/ 8 w 45"/>
                <a:gd name="T13" fmla="*/ 14 h 27"/>
                <a:gd name="T14" fmla="*/ 9 w 45"/>
                <a:gd name="T15" fmla="*/ 14 h 27"/>
                <a:gd name="T16" fmla="*/ 7 w 45"/>
                <a:gd name="T17" fmla="*/ 15 h 27"/>
                <a:gd name="T18" fmla="*/ 3 w 45"/>
                <a:gd name="T19" fmla="*/ 20 h 27"/>
                <a:gd name="T20" fmla="*/ 2 w 45"/>
                <a:gd name="T21" fmla="*/ 25 h 27"/>
                <a:gd name="T22" fmla="*/ 3 w 45"/>
                <a:gd name="T23" fmla="*/ 25 h 27"/>
                <a:gd name="T24" fmla="*/ 3 w 45"/>
                <a:gd name="T25" fmla="*/ 25 h 27"/>
                <a:gd name="T26" fmla="*/ 4 w 45"/>
                <a:gd name="T27" fmla="*/ 25 h 27"/>
                <a:gd name="T28" fmla="*/ 4 w 45"/>
                <a:gd name="T29" fmla="*/ 25 h 27"/>
                <a:gd name="T30" fmla="*/ 5 w 45"/>
                <a:gd name="T31" fmla="*/ 27 h 27"/>
                <a:gd name="T32" fmla="*/ 6 w 45"/>
                <a:gd name="T33" fmla="*/ 27 h 27"/>
                <a:gd name="T34" fmla="*/ 7 w 45"/>
                <a:gd name="T35" fmla="*/ 26 h 27"/>
                <a:gd name="T36" fmla="*/ 7 w 45"/>
                <a:gd name="T37" fmla="*/ 25 h 27"/>
                <a:gd name="T38" fmla="*/ 10 w 45"/>
                <a:gd name="T39" fmla="*/ 25 h 27"/>
                <a:gd name="T40" fmla="*/ 11 w 45"/>
                <a:gd name="T41" fmla="*/ 25 h 27"/>
                <a:gd name="T42" fmla="*/ 12 w 45"/>
                <a:gd name="T43" fmla="*/ 25 h 27"/>
                <a:gd name="T44" fmla="*/ 13 w 45"/>
                <a:gd name="T45" fmla="*/ 25 h 27"/>
                <a:gd name="T46" fmla="*/ 16 w 45"/>
                <a:gd name="T47" fmla="*/ 25 h 27"/>
                <a:gd name="T48" fmla="*/ 19 w 45"/>
                <a:gd name="T49" fmla="*/ 25 h 27"/>
                <a:gd name="T50" fmla="*/ 20 w 45"/>
                <a:gd name="T51" fmla="*/ 25 h 27"/>
                <a:gd name="T52" fmla="*/ 23 w 45"/>
                <a:gd name="T53" fmla="*/ 25 h 27"/>
                <a:gd name="T54" fmla="*/ 38 w 45"/>
                <a:gd name="T55" fmla="*/ 25 h 27"/>
                <a:gd name="T56" fmla="*/ 39 w 45"/>
                <a:gd name="T57" fmla="*/ 25 h 27"/>
                <a:gd name="T58" fmla="*/ 40 w 45"/>
                <a:gd name="T59" fmla="*/ 25 h 27"/>
                <a:gd name="T60" fmla="*/ 45 w 45"/>
                <a:gd name="T61" fmla="*/ 25 h 27"/>
                <a:gd name="T62" fmla="*/ 45 w 45"/>
                <a:gd name="T63" fmla="*/ 25 h 27"/>
                <a:gd name="T64" fmla="*/ 45 w 45"/>
                <a:gd name="T65" fmla="*/ 15 h 27"/>
                <a:gd name="T66" fmla="*/ 45 w 45"/>
                <a:gd name="T67" fmla="*/ 15 h 27"/>
                <a:gd name="T68" fmla="*/ 44 w 45"/>
                <a:gd name="T69" fmla="*/ 11 h 27"/>
                <a:gd name="T70" fmla="*/ 44 w 45"/>
                <a:gd name="T71" fmla="*/ 7 h 27"/>
                <a:gd name="T72" fmla="*/ 44 w 45"/>
                <a:gd name="T73" fmla="*/ 4 h 27"/>
                <a:gd name="T74" fmla="*/ 39 w 45"/>
                <a:gd name="T75" fmla="*/ 4 h 27"/>
                <a:gd name="T76" fmla="*/ 37 w 45"/>
                <a:gd name="T77" fmla="*/ 3 h 27"/>
                <a:gd name="T78" fmla="*/ 25 w 45"/>
                <a:gd name="T79" fmla="*/ 3 h 27"/>
                <a:gd name="T80" fmla="*/ 11 w 45"/>
                <a:gd name="T81"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 h="27">
                  <a:moveTo>
                    <a:pt x="11" y="0"/>
                  </a:moveTo>
                  <a:cubicBezTo>
                    <a:pt x="11" y="4"/>
                    <a:pt x="11" y="6"/>
                    <a:pt x="8" y="10"/>
                  </a:cubicBezTo>
                  <a:cubicBezTo>
                    <a:pt x="8" y="10"/>
                    <a:pt x="8" y="10"/>
                    <a:pt x="8" y="10"/>
                  </a:cubicBezTo>
                  <a:cubicBezTo>
                    <a:pt x="18" y="14"/>
                    <a:pt x="18" y="14"/>
                    <a:pt x="18" y="14"/>
                  </a:cubicBezTo>
                  <a:cubicBezTo>
                    <a:pt x="17" y="16"/>
                    <a:pt x="17" y="16"/>
                    <a:pt x="17" y="16"/>
                  </a:cubicBezTo>
                  <a:cubicBezTo>
                    <a:pt x="7" y="12"/>
                    <a:pt x="7" y="12"/>
                    <a:pt x="7" y="12"/>
                  </a:cubicBezTo>
                  <a:cubicBezTo>
                    <a:pt x="7" y="13"/>
                    <a:pt x="7" y="14"/>
                    <a:pt x="8" y="14"/>
                  </a:cubicBezTo>
                  <a:cubicBezTo>
                    <a:pt x="8" y="14"/>
                    <a:pt x="9" y="14"/>
                    <a:pt x="9" y="14"/>
                  </a:cubicBezTo>
                  <a:cubicBezTo>
                    <a:pt x="9" y="14"/>
                    <a:pt x="7" y="14"/>
                    <a:pt x="7" y="15"/>
                  </a:cubicBezTo>
                  <a:cubicBezTo>
                    <a:pt x="6" y="16"/>
                    <a:pt x="4" y="18"/>
                    <a:pt x="3" y="20"/>
                  </a:cubicBezTo>
                  <a:cubicBezTo>
                    <a:pt x="0" y="24"/>
                    <a:pt x="0" y="24"/>
                    <a:pt x="2" y="25"/>
                  </a:cubicBezTo>
                  <a:cubicBezTo>
                    <a:pt x="3" y="25"/>
                    <a:pt x="3" y="25"/>
                    <a:pt x="3" y="25"/>
                  </a:cubicBezTo>
                  <a:cubicBezTo>
                    <a:pt x="3" y="25"/>
                    <a:pt x="3" y="25"/>
                    <a:pt x="3" y="25"/>
                  </a:cubicBezTo>
                  <a:cubicBezTo>
                    <a:pt x="4" y="25"/>
                    <a:pt x="4" y="25"/>
                    <a:pt x="4" y="25"/>
                  </a:cubicBezTo>
                  <a:cubicBezTo>
                    <a:pt x="4" y="25"/>
                    <a:pt x="4" y="25"/>
                    <a:pt x="4" y="25"/>
                  </a:cubicBezTo>
                  <a:cubicBezTo>
                    <a:pt x="5" y="25"/>
                    <a:pt x="5" y="27"/>
                    <a:pt x="5" y="27"/>
                  </a:cubicBezTo>
                  <a:cubicBezTo>
                    <a:pt x="6" y="27"/>
                    <a:pt x="6" y="27"/>
                    <a:pt x="6" y="27"/>
                  </a:cubicBezTo>
                  <a:cubicBezTo>
                    <a:pt x="6" y="27"/>
                    <a:pt x="6" y="27"/>
                    <a:pt x="7" y="26"/>
                  </a:cubicBezTo>
                  <a:cubicBezTo>
                    <a:pt x="7" y="25"/>
                    <a:pt x="7" y="25"/>
                    <a:pt x="7" y="25"/>
                  </a:cubicBezTo>
                  <a:cubicBezTo>
                    <a:pt x="10" y="25"/>
                    <a:pt x="10" y="25"/>
                    <a:pt x="10" y="25"/>
                  </a:cubicBezTo>
                  <a:cubicBezTo>
                    <a:pt x="11" y="25"/>
                    <a:pt x="11" y="25"/>
                    <a:pt x="11" y="25"/>
                  </a:cubicBezTo>
                  <a:cubicBezTo>
                    <a:pt x="11" y="25"/>
                    <a:pt x="12" y="25"/>
                    <a:pt x="12" y="25"/>
                  </a:cubicBezTo>
                  <a:cubicBezTo>
                    <a:pt x="13" y="25"/>
                    <a:pt x="13" y="25"/>
                    <a:pt x="13" y="25"/>
                  </a:cubicBezTo>
                  <a:cubicBezTo>
                    <a:pt x="14" y="25"/>
                    <a:pt x="15" y="25"/>
                    <a:pt x="16" y="25"/>
                  </a:cubicBezTo>
                  <a:cubicBezTo>
                    <a:pt x="17" y="25"/>
                    <a:pt x="18" y="25"/>
                    <a:pt x="19" y="25"/>
                  </a:cubicBezTo>
                  <a:cubicBezTo>
                    <a:pt x="20" y="25"/>
                    <a:pt x="20" y="25"/>
                    <a:pt x="20" y="25"/>
                  </a:cubicBezTo>
                  <a:cubicBezTo>
                    <a:pt x="21" y="25"/>
                    <a:pt x="22" y="25"/>
                    <a:pt x="23" y="25"/>
                  </a:cubicBezTo>
                  <a:cubicBezTo>
                    <a:pt x="38" y="25"/>
                    <a:pt x="38" y="25"/>
                    <a:pt x="38" y="25"/>
                  </a:cubicBezTo>
                  <a:cubicBezTo>
                    <a:pt x="38" y="25"/>
                    <a:pt x="39" y="25"/>
                    <a:pt x="39" y="25"/>
                  </a:cubicBezTo>
                  <a:cubicBezTo>
                    <a:pt x="40" y="25"/>
                    <a:pt x="40" y="25"/>
                    <a:pt x="40" y="25"/>
                  </a:cubicBezTo>
                  <a:cubicBezTo>
                    <a:pt x="42" y="25"/>
                    <a:pt x="44" y="25"/>
                    <a:pt x="45" y="25"/>
                  </a:cubicBezTo>
                  <a:cubicBezTo>
                    <a:pt x="45" y="25"/>
                    <a:pt x="45" y="25"/>
                    <a:pt x="45" y="25"/>
                  </a:cubicBezTo>
                  <a:cubicBezTo>
                    <a:pt x="45" y="24"/>
                    <a:pt x="45" y="22"/>
                    <a:pt x="45" y="15"/>
                  </a:cubicBezTo>
                  <a:cubicBezTo>
                    <a:pt x="45" y="15"/>
                    <a:pt x="45" y="15"/>
                    <a:pt x="45" y="15"/>
                  </a:cubicBezTo>
                  <a:cubicBezTo>
                    <a:pt x="44" y="11"/>
                    <a:pt x="44" y="11"/>
                    <a:pt x="44" y="11"/>
                  </a:cubicBezTo>
                  <a:cubicBezTo>
                    <a:pt x="44" y="10"/>
                    <a:pt x="44" y="8"/>
                    <a:pt x="44" y="7"/>
                  </a:cubicBezTo>
                  <a:cubicBezTo>
                    <a:pt x="44" y="4"/>
                    <a:pt x="44" y="4"/>
                    <a:pt x="44" y="4"/>
                  </a:cubicBezTo>
                  <a:cubicBezTo>
                    <a:pt x="43" y="4"/>
                    <a:pt x="41" y="4"/>
                    <a:pt x="39" y="4"/>
                  </a:cubicBezTo>
                  <a:cubicBezTo>
                    <a:pt x="39" y="3"/>
                    <a:pt x="38" y="3"/>
                    <a:pt x="37" y="3"/>
                  </a:cubicBezTo>
                  <a:cubicBezTo>
                    <a:pt x="25" y="3"/>
                    <a:pt x="25" y="3"/>
                    <a:pt x="25" y="3"/>
                  </a:cubicBezTo>
                  <a:cubicBezTo>
                    <a:pt x="18" y="3"/>
                    <a:pt x="14"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234"/>
            <p:cNvSpPr/>
            <p:nvPr/>
          </p:nvSpPr>
          <p:spPr bwMode="auto">
            <a:xfrm>
              <a:off x="4332" y="3008"/>
              <a:ext cx="45" cy="61"/>
            </a:xfrm>
            <a:custGeom>
              <a:gdLst>
                <a:gd name="T0" fmla="*/ 17 w 19"/>
                <a:gd name="T1" fmla="*/ 0 h 26"/>
                <a:gd name="T2" fmla="*/ 12 w 19"/>
                <a:gd name="T3" fmla="*/ 4 h 26"/>
                <a:gd name="T4" fmla="*/ 11 w 19"/>
                <a:gd name="T5" fmla="*/ 5 h 26"/>
                <a:gd name="T6" fmla="*/ 7 w 19"/>
                <a:gd name="T7" fmla="*/ 8 h 26"/>
                <a:gd name="T8" fmla="*/ 6 w 19"/>
                <a:gd name="T9" fmla="*/ 9 h 26"/>
                <a:gd name="T10" fmla="*/ 3 w 19"/>
                <a:gd name="T11" fmla="*/ 11 h 26"/>
                <a:gd name="T12" fmla="*/ 1 w 19"/>
                <a:gd name="T13" fmla="*/ 13 h 26"/>
                <a:gd name="T14" fmla="*/ 0 w 19"/>
                <a:gd name="T15" fmla="*/ 13 h 26"/>
                <a:gd name="T16" fmla="*/ 2 w 19"/>
                <a:gd name="T17" fmla="*/ 17 h 26"/>
                <a:gd name="T18" fmla="*/ 3 w 19"/>
                <a:gd name="T19" fmla="*/ 17 h 26"/>
                <a:gd name="T20" fmla="*/ 3 w 19"/>
                <a:gd name="T21" fmla="*/ 26 h 26"/>
                <a:gd name="T22" fmla="*/ 4 w 19"/>
                <a:gd name="T23" fmla="*/ 26 h 26"/>
                <a:gd name="T24" fmla="*/ 8 w 19"/>
                <a:gd name="T25" fmla="*/ 25 h 26"/>
                <a:gd name="T26" fmla="*/ 7 w 19"/>
                <a:gd name="T27" fmla="*/ 17 h 26"/>
                <a:gd name="T28" fmla="*/ 7 w 19"/>
                <a:gd name="T29" fmla="*/ 14 h 26"/>
                <a:gd name="T30" fmla="*/ 7 w 19"/>
                <a:gd name="T31" fmla="*/ 13 h 26"/>
                <a:gd name="T32" fmla="*/ 7 w 19"/>
                <a:gd name="T33" fmla="*/ 13 h 26"/>
                <a:gd name="T34" fmla="*/ 7 w 19"/>
                <a:gd name="T35" fmla="*/ 12 h 26"/>
                <a:gd name="T36" fmla="*/ 8 w 19"/>
                <a:gd name="T37" fmla="*/ 10 h 26"/>
                <a:gd name="T38" fmla="*/ 10 w 19"/>
                <a:gd name="T39" fmla="*/ 8 h 26"/>
                <a:gd name="T40" fmla="*/ 15 w 19"/>
                <a:gd name="T41" fmla="*/ 4 h 26"/>
                <a:gd name="T42" fmla="*/ 15 w 19"/>
                <a:gd name="T43" fmla="*/ 4 h 26"/>
                <a:gd name="T44" fmla="*/ 19 w 19"/>
                <a:gd name="T45" fmla="*/ 1 h 26"/>
                <a:gd name="T46" fmla="*/ 18 w 19"/>
                <a:gd name="T47" fmla="*/ 0 h 26"/>
                <a:gd name="T48" fmla="*/ 17 w 19"/>
                <a:gd name="T49"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7" y="0"/>
                  </a:moveTo>
                  <a:cubicBezTo>
                    <a:pt x="15" y="2"/>
                    <a:pt x="13" y="3"/>
                    <a:pt x="12" y="4"/>
                  </a:cubicBezTo>
                  <a:cubicBezTo>
                    <a:pt x="11" y="5"/>
                    <a:pt x="11" y="5"/>
                    <a:pt x="11" y="5"/>
                  </a:cubicBezTo>
                  <a:cubicBezTo>
                    <a:pt x="10" y="6"/>
                    <a:pt x="8" y="7"/>
                    <a:pt x="7" y="8"/>
                  </a:cubicBezTo>
                  <a:cubicBezTo>
                    <a:pt x="6" y="9"/>
                    <a:pt x="6" y="9"/>
                    <a:pt x="6" y="9"/>
                  </a:cubicBezTo>
                  <a:cubicBezTo>
                    <a:pt x="5" y="9"/>
                    <a:pt x="4" y="10"/>
                    <a:pt x="3" y="11"/>
                  </a:cubicBezTo>
                  <a:cubicBezTo>
                    <a:pt x="1" y="13"/>
                    <a:pt x="1" y="13"/>
                    <a:pt x="1" y="13"/>
                  </a:cubicBezTo>
                  <a:cubicBezTo>
                    <a:pt x="0" y="13"/>
                    <a:pt x="0" y="13"/>
                    <a:pt x="0" y="13"/>
                  </a:cubicBezTo>
                  <a:cubicBezTo>
                    <a:pt x="1" y="15"/>
                    <a:pt x="2" y="16"/>
                    <a:pt x="2" y="17"/>
                  </a:cubicBezTo>
                  <a:cubicBezTo>
                    <a:pt x="3" y="17"/>
                    <a:pt x="3" y="17"/>
                    <a:pt x="3" y="17"/>
                  </a:cubicBezTo>
                  <a:cubicBezTo>
                    <a:pt x="3" y="20"/>
                    <a:pt x="3" y="23"/>
                    <a:pt x="3" y="26"/>
                  </a:cubicBezTo>
                  <a:cubicBezTo>
                    <a:pt x="4" y="26"/>
                    <a:pt x="4" y="26"/>
                    <a:pt x="4" y="26"/>
                  </a:cubicBezTo>
                  <a:cubicBezTo>
                    <a:pt x="6" y="25"/>
                    <a:pt x="7" y="25"/>
                    <a:pt x="8" y="25"/>
                  </a:cubicBezTo>
                  <a:cubicBezTo>
                    <a:pt x="8" y="24"/>
                    <a:pt x="8" y="21"/>
                    <a:pt x="7" y="17"/>
                  </a:cubicBezTo>
                  <a:cubicBezTo>
                    <a:pt x="7" y="15"/>
                    <a:pt x="7" y="14"/>
                    <a:pt x="7" y="14"/>
                  </a:cubicBezTo>
                  <a:cubicBezTo>
                    <a:pt x="7" y="13"/>
                    <a:pt x="7" y="13"/>
                    <a:pt x="7" y="13"/>
                  </a:cubicBezTo>
                  <a:cubicBezTo>
                    <a:pt x="7" y="13"/>
                    <a:pt x="7" y="13"/>
                    <a:pt x="7" y="13"/>
                  </a:cubicBezTo>
                  <a:cubicBezTo>
                    <a:pt x="7" y="12"/>
                    <a:pt x="7" y="12"/>
                    <a:pt x="7" y="12"/>
                  </a:cubicBezTo>
                  <a:cubicBezTo>
                    <a:pt x="7" y="11"/>
                    <a:pt x="7" y="11"/>
                    <a:pt x="8" y="10"/>
                  </a:cubicBezTo>
                  <a:cubicBezTo>
                    <a:pt x="8" y="9"/>
                    <a:pt x="9" y="8"/>
                    <a:pt x="10" y="8"/>
                  </a:cubicBezTo>
                  <a:cubicBezTo>
                    <a:pt x="11" y="6"/>
                    <a:pt x="13" y="5"/>
                    <a:pt x="15" y="4"/>
                  </a:cubicBezTo>
                  <a:cubicBezTo>
                    <a:pt x="15" y="4"/>
                    <a:pt x="15" y="4"/>
                    <a:pt x="15" y="4"/>
                  </a:cubicBezTo>
                  <a:cubicBezTo>
                    <a:pt x="16" y="3"/>
                    <a:pt x="18" y="2"/>
                    <a:pt x="19" y="1"/>
                  </a:cubicBezTo>
                  <a:cubicBezTo>
                    <a:pt x="18" y="0"/>
                    <a:pt x="18" y="0"/>
                    <a:pt x="18" y="0"/>
                  </a:cubicBez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235"/>
            <p:cNvSpPr/>
            <p:nvPr/>
          </p:nvSpPr>
          <p:spPr bwMode="auto">
            <a:xfrm>
              <a:off x="3713" y="2070"/>
              <a:ext cx="156" cy="335"/>
            </a:xfrm>
            <a:custGeom>
              <a:gdLst>
                <a:gd name="T0" fmla="*/ 44 w 66"/>
                <a:gd name="T1" fmla="*/ 0 h 142"/>
                <a:gd name="T2" fmla="*/ 39 w 66"/>
                <a:gd name="T3" fmla="*/ 2 h 142"/>
                <a:gd name="T4" fmla="*/ 37 w 66"/>
                <a:gd name="T5" fmla="*/ 2 h 142"/>
                <a:gd name="T6" fmla="*/ 38 w 66"/>
                <a:gd name="T7" fmla="*/ 7 h 142"/>
                <a:gd name="T8" fmla="*/ 38 w 66"/>
                <a:gd name="T9" fmla="*/ 10 h 142"/>
                <a:gd name="T10" fmla="*/ 38 w 66"/>
                <a:gd name="T11" fmla="*/ 13 h 142"/>
                <a:gd name="T12" fmla="*/ 32 w 66"/>
                <a:gd name="T13" fmla="*/ 18 h 142"/>
                <a:gd name="T14" fmla="*/ 29 w 66"/>
                <a:gd name="T15" fmla="*/ 20 h 142"/>
                <a:gd name="T16" fmla="*/ 28 w 66"/>
                <a:gd name="T17" fmla="*/ 21 h 142"/>
                <a:gd name="T18" fmla="*/ 25 w 66"/>
                <a:gd name="T19" fmla="*/ 22 h 142"/>
                <a:gd name="T20" fmla="*/ 23 w 66"/>
                <a:gd name="T21" fmla="*/ 22 h 142"/>
                <a:gd name="T22" fmla="*/ 21 w 66"/>
                <a:gd name="T23" fmla="*/ 22 h 142"/>
                <a:gd name="T24" fmla="*/ 18 w 66"/>
                <a:gd name="T25" fmla="*/ 22 h 142"/>
                <a:gd name="T26" fmla="*/ 14 w 66"/>
                <a:gd name="T27" fmla="*/ 22 h 142"/>
                <a:gd name="T28" fmla="*/ 10 w 66"/>
                <a:gd name="T29" fmla="*/ 24 h 142"/>
                <a:gd name="T30" fmla="*/ 7 w 66"/>
                <a:gd name="T31" fmla="*/ 27 h 142"/>
                <a:gd name="T32" fmla="*/ 5 w 66"/>
                <a:gd name="T33" fmla="*/ 31 h 142"/>
                <a:gd name="T34" fmla="*/ 1 w 66"/>
                <a:gd name="T35" fmla="*/ 34 h 142"/>
                <a:gd name="T36" fmla="*/ 0 w 66"/>
                <a:gd name="T37" fmla="*/ 39 h 142"/>
                <a:gd name="T38" fmla="*/ 2 w 66"/>
                <a:gd name="T39" fmla="*/ 45 h 142"/>
                <a:gd name="T40" fmla="*/ 8 w 66"/>
                <a:gd name="T41" fmla="*/ 49 h 142"/>
                <a:gd name="T42" fmla="*/ 11 w 66"/>
                <a:gd name="T43" fmla="*/ 51 h 142"/>
                <a:gd name="T44" fmla="*/ 14 w 66"/>
                <a:gd name="T45" fmla="*/ 62 h 142"/>
                <a:gd name="T46" fmla="*/ 14 w 66"/>
                <a:gd name="T47" fmla="*/ 66 h 142"/>
                <a:gd name="T48" fmla="*/ 14 w 66"/>
                <a:gd name="T49" fmla="*/ 68 h 142"/>
                <a:gd name="T50" fmla="*/ 16 w 66"/>
                <a:gd name="T51" fmla="*/ 70 h 142"/>
                <a:gd name="T52" fmla="*/ 18 w 66"/>
                <a:gd name="T53" fmla="*/ 73 h 142"/>
                <a:gd name="T54" fmla="*/ 19 w 66"/>
                <a:gd name="T55" fmla="*/ 88 h 142"/>
                <a:gd name="T56" fmla="*/ 20 w 66"/>
                <a:gd name="T57" fmla="*/ 97 h 142"/>
                <a:gd name="T58" fmla="*/ 19 w 66"/>
                <a:gd name="T59" fmla="*/ 120 h 142"/>
                <a:gd name="T60" fmla="*/ 19 w 66"/>
                <a:gd name="T61" fmla="*/ 126 h 142"/>
                <a:gd name="T62" fmla="*/ 19 w 66"/>
                <a:gd name="T63" fmla="*/ 130 h 142"/>
                <a:gd name="T64" fmla="*/ 19 w 66"/>
                <a:gd name="T65" fmla="*/ 131 h 142"/>
                <a:gd name="T66" fmla="*/ 19 w 66"/>
                <a:gd name="T67" fmla="*/ 132 h 142"/>
                <a:gd name="T68" fmla="*/ 27 w 66"/>
                <a:gd name="T69" fmla="*/ 134 h 142"/>
                <a:gd name="T70" fmla="*/ 23 w 66"/>
                <a:gd name="T71" fmla="*/ 138 h 142"/>
                <a:gd name="T72" fmla="*/ 31 w 66"/>
                <a:gd name="T73" fmla="*/ 141 h 142"/>
                <a:gd name="T74" fmla="*/ 40 w 66"/>
                <a:gd name="T75" fmla="*/ 140 h 142"/>
                <a:gd name="T76" fmla="*/ 40 w 66"/>
                <a:gd name="T77" fmla="*/ 128 h 142"/>
                <a:gd name="T78" fmla="*/ 40 w 66"/>
                <a:gd name="T79" fmla="*/ 116 h 142"/>
                <a:gd name="T80" fmla="*/ 39 w 66"/>
                <a:gd name="T81" fmla="*/ 105 h 142"/>
                <a:gd name="T82" fmla="*/ 39 w 66"/>
                <a:gd name="T83" fmla="*/ 95 h 142"/>
                <a:gd name="T84" fmla="*/ 40 w 66"/>
                <a:gd name="T85" fmla="*/ 83 h 142"/>
                <a:gd name="T86" fmla="*/ 39 w 66"/>
                <a:gd name="T87" fmla="*/ 78 h 142"/>
                <a:gd name="T88" fmla="*/ 42 w 66"/>
                <a:gd name="T89" fmla="*/ 73 h 142"/>
                <a:gd name="T90" fmla="*/ 47 w 66"/>
                <a:gd name="T91" fmla="*/ 73 h 142"/>
                <a:gd name="T92" fmla="*/ 49 w 66"/>
                <a:gd name="T93" fmla="*/ 73 h 142"/>
                <a:gd name="T94" fmla="*/ 49 w 66"/>
                <a:gd name="T95" fmla="*/ 71 h 142"/>
                <a:gd name="T96" fmla="*/ 54 w 66"/>
                <a:gd name="T97" fmla="*/ 59 h 142"/>
                <a:gd name="T98" fmla="*/ 60 w 66"/>
                <a:gd name="T99" fmla="*/ 51 h 142"/>
                <a:gd name="T100" fmla="*/ 60 w 66"/>
                <a:gd name="T101" fmla="*/ 46 h 142"/>
                <a:gd name="T102" fmla="*/ 61 w 66"/>
                <a:gd name="T103" fmla="*/ 43 h 142"/>
                <a:gd name="T104" fmla="*/ 64 w 66"/>
                <a:gd name="T105" fmla="*/ 40 h 142"/>
                <a:gd name="T106" fmla="*/ 66 w 66"/>
                <a:gd name="T107" fmla="*/ 37 h 142"/>
                <a:gd name="T108" fmla="*/ 65 w 66"/>
                <a:gd name="T109" fmla="*/ 35 h 142"/>
                <a:gd name="T110" fmla="*/ 64 w 66"/>
                <a:gd name="T111" fmla="*/ 30 h 142"/>
                <a:gd name="T112" fmla="*/ 62 w 66"/>
                <a:gd name="T113" fmla="*/ 27 h 142"/>
                <a:gd name="T114" fmla="*/ 59 w 66"/>
                <a:gd name="T115" fmla="*/ 16 h 142"/>
                <a:gd name="T116" fmla="*/ 57 w 66"/>
                <a:gd name="T117" fmla="*/ 13 h 142"/>
                <a:gd name="T118" fmla="*/ 45 w 66"/>
                <a:gd name="T119" fmla="*/ 0 h 1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142">
                  <a:moveTo>
                    <a:pt x="44" y="0"/>
                  </a:moveTo>
                  <a:cubicBezTo>
                    <a:pt x="44" y="0"/>
                    <a:pt x="44" y="0"/>
                    <a:pt x="44" y="0"/>
                  </a:cubicBezTo>
                  <a:cubicBezTo>
                    <a:pt x="43" y="1"/>
                    <a:pt x="41" y="1"/>
                    <a:pt x="40" y="1"/>
                  </a:cubicBezTo>
                  <a:cubicBezTo>
                    <a:pt x="39" y="2"/>
                    <a:pt x="39" y="2"/>
                    <a:pt x="39" y="2"/>
                  </a:cubicBezTo>
                  <a:cubicBezTo>
                    <a:pt x="38" y="2"/>
                    <a:pt x="38" y="2"/>
                    <a:pt x="37" y="2"/>
                  </a:cubicBezTo>
                  <a:cubicBezTo>
                    <a:pt x="37" y="2"/>
                    <a:pt x="37" y="2"/>
                    <a:pt x="37" y="2"/>
                  </a:cubicBezTo>
                  <a:cubicBezTo>
                    <a:pt x="37" y="3"/>
                    <a:pt x="37" y="5"/>
                    <a:pt x="37" y="6"/>
                  </a:cubicBezTo>
                  <a:cubicBezTo>
                    <a:pt x="38" y="7"/>
                    <a:pt x="38" y="7"/>
                    <a:pt x="38" y="7"/>
                  </a:cubicBezTo>
                  <a:cubicBezTo>
                    <a:pt x="38" y="8"/>
                    <a:pt x="38" y="8"/>
                    <a:pt x="38" y="8"/>
                  </a:cubicBezTo>
                  <a:cubicBezTo>
                    <a:pt x="38" y="9"/>
                    <a:pt x="38" y="9"/>
                    <a:pt x="38" y="10"/>
                  </a:cubicBezTo>
                  <a:cubicBezTo>
                    <a:pt x="38" y="10"/>
                    <a:pt x="38" y="10"/>
                    <a:pt x="38" y="10"/>
                  </a:cubicBezTo>
                  <a:cubicBezTo>
                    <a:pt x="38" y="13"/>
                    <a:pt x="38" y="13"/>
                    <a:pt x="38" y="13"/>
                  </a:cubicBezTo>
                  <a:cubicBezTo>
                    <a:pt x="37" y="12"/>
                    <a:pt x="37" y="12"/>
                    <a:pt x="37" y="12"/>
                  </a:cubicBezTo>
                  <a:cubicBezTo>
                    <a:pt x="36" y="15"/>
                    <a:pt x="33" y="18"/>
                    <a:pt x="32" y="18"/>
                  </a:cubicBezTo>
                  <a:cubicBezTo>
                    <a:pt x="31" y="19"/>
                    <a:pt x="31" y="19"/>
                    <a:pt x="30" y="20"/>
                  </a:cubicBezTo>
                  <a:cubicBezTo>
                    <a:pt x="29" y="20"/>
                    <a:pt x="29" y="20"/>
                    <a:pt x="29" y="20"/>
                  </a:cubicBezTo>
                  <a:cubicBezTo>
                    <a:pt x="29" y="21"/>
                    <a:pt x="29" y="21"/>
                    <a:pt x="29" y="21"/>
                  </a:cubicBezTo>
                  <a:cubicBezTo>
                    <a:pt x="29" y="21"/>
                    <a:pt x="28" y="21"/>
                    <a:pt x="28" y="21"/>
                  </a:cubicBezTo>
                  <a:cubicBezTo>
                    <a:pt x="27" y="22"/>
                    <a:pt x="27" y="22"/>
                    <a:pt x="26" y="22"/>
                  </a:cubicBezTo>
                  <a:cubicBezTo>
                    <a:pt x="26" y="22"/>
                    <a:pt x="25" y="22"/>
                    <a:pt x="25" y="22"/>
                  </a:cubicBezTo>
                  <a:cubicBezTo>
                    <a:pt x="25" y="22"/>
                    <a:pt x="24" y="22"/>
                    <a:pt x="24" y="22"/>
                  </a:cubicBezTo>
                  <a:cubicBezTo>
                    <a:pt x="23" y="22"/>
                    <a:pt x="23" y="22"/>
                    <a:pt x="23" y="22"/>
                  </a:cubicBezTo>
                  <a:cubicBezTo>
                    <a:pt x="23" y="22"/>
                    <a:pt x="22" y="22"/>
                    <a:pt x="22" y="22"/>
                  </a:cubicBezTo>
                  <a:cubicBezTo>
                    <a:pt x="22" y="22"/>
                    <a:pt x="22" y="22"/>
                    <a:pt x="21" y="22"/>
                  </a:cubicBezTo>
                  <a:cubicBezTo>
                    <a:pt x="20" y="22"/>
                    <a:pt x="19" y="22"/>
                    <a:pt x="18" y="22"/>
                  </a:cubicBezTo>
                  <a:cubicBezTo>
                    <a:pt x="18" y="22"/>
                    <a:pt x="18" y="22"/>
                    <a:pt x="18" y="22"/>
                  </a:cubicBezTo>
                  <a:cubicBezTo>
                    <a:pt x="17" y="22"/>
                    <a:pt x="16" y="22"/>
                    <a:pt x="15" y="22"/>
                  </a:cubicBezTo>
                  <a:cubicBezTo>
                    <a:pt x="14" y="22"/>
                    <a:pt x="14" y="22"/>
                    <a:pt x="14" y="22"/>
                  </a:cubicBezTo>
                  <a:cubicBezTo>
                    <a:pt x="13" y="22"/>
                    <a:pt x="13" y="22"/>
                    <a:pt x="13" y="22"/>
                  </a:cubicBezTo>
                  <a:cubicBezTo>
                    <a:pt x="12" y="22"/>
                    <a:pt x="11" y="23"/>
                    <a:pt x="10" y="24"/>
                  </a:cubicBezTo>
                  <a:cubicBezTo>
                    <a:pt x="10" y="24"/>
                    <a:pt x="10" y="24"/>
                    <a:pt x="10" y="24"/>
                  </a:cubicBezTo>
                  <a:cubicBezTo>
                    <a:pt x="9" y="25"/>
                    <a:pt x="7" y="26"/>
                    <a:pt x="7" y="27"/>
                  </a:cubicBezTo>
                  <a:cubicBezTo>
                    <a:pt x="10" y="30"/>
                    <a:pt x="10" y="30"/>
                    <a:pt x="10" y="30"/>
                  </a:cubicBezTo>
                  <a:cubicBezTo>
                    <a:pt x="5" y="31"/>
                    <a:pt x="5" y="31"/>
                    <a:pt x="5" y="31"/>
                  </a:cubicBezTo>
                  <a:cubicBezTo>
                    <a:pt x="4" y="32"/>
                    <a:pt x="3" y="32"/>
                    <a:pt x="2" y="32"/>
                  </a:cubicBezTo>
                  <a:cubicBezTo>
                    <a:pt x="1" y="34"/>
                    <a:pt x="1" y="34"/>
                    <a:pt x="1" y="34"/>
                  </a:cubicBezTo>
                  <a:cubicBezTo>
                    <a:pt x="1" y="34"/>
                    <a:pt x="1" y="34"/>
                    <a:pt x="1" y="34"/>
                  </a:cubicBezTo>
                  <a:cubicBezTo>
                    <a:pt x="1" y="36"/>
                    <a:pt x="0" y="37"/>
                    <a:pt x="0" y="39"/>
                  </a:cubicBezTo>
                  <a:cubicBezTo>
                    <a:pt x="0" y="39"/>
                    <a:pt x="0" y="40"/>
                    <a:pt x="0" y="41"/>
                  </a:cubicBezTo>
                  <a:cubicBezTo>
                    <a:pt x="0" y="42"/>
                    <a:pt x="1" y="44"/>
                    <a:pt x="2" y="45"/>
                  </a:cubicBezTo>
                  <a:cubicBezTo>
                    <a:pt x="3" y="46"/>
                    <a:pt x="5" y="47"/>
                    <a:pt x="7" y="48"/>
                  </a:cubicBezTo>
                  <a:cubicBezTo>
                    <a:pt x="8" y="49"/>
                    <a:pt x="8" y="49"/>
                    <a:pt x="8" y="49"/>
                  </a:cubicBezTo>
                  <a:cubicBezTo>
                    <a:pt x="9" y="49"/>
                    <a:pt x="10" y="50"/>
                    <a:pt x="10" y="50"/>
                  </a:cubicBezTo>
                  <a:cubicBezTo>
                    <a:pt x="11" y="51"/>
                    <a:pt x="11" y="51"/>
                    <a:pt x="11" y="51"/>
                  </a:cubicBezTo>
                  <a:cubicBezTo>
                    <a:pt x="11" y="51"/>
                    <a:pt x="11" y="51"/>
                    <a:pt x="11" y="51"/>
                  </a:cubicBezTo>
                  <a:cubicBezTo>
                    <a:pt x="14" y="52"/>
                    <a:pt x="14" y="56"/>
                    <a:pt x="14" y="62"/>
                  </a:cubicBezTo>
                  <a:cubicBezTo>
                    <a:pt x="14" y="63"/>
                    <a:pt x="14" y="64"/>
                    <a:pt x="14" y="65"/>
                  </a:cubicBezTo>
                  <a:cubicBezTo>
                    <a:pt x="14" y="66"/>
                    <a:pt x="14" y="66"/>
                    <a:pt x="14" y="66"/>
                  </a:cubicBezTo>
                  <a:cubicBezTo>
                    <a:pt x="14" y="66"/>
                    <a:pt x="14" y="67"/>
                    <a:pt x="14" y="67"/>
                  </a:cubicBezTo>
                  <a:cubicBezTo>
                    <a:pt x="14" y="68"/>
                    <a:pt x="14" y="68"/>
                    <a:pt x="14" y="68"/>
                  </a:cubicBezTo>
                  <a:cubicBezTo>
                    <a:pt x="15" y="69"/>
                    <a:pt x="15" y="69"/>
                    <a:pt x="15" y="69"/>
                  </a:cubicBezTo>
                  <a:cubicBezTo>
                    <a:pt x="15" y="69"/>
                    <a:pt x="15" y="70"/>
                    <a:pt x="16" y="70"/>
                  </a:cubicBezTo>
                  <a:cubicBezTo>
                    <a:pt x="16" y="70"/>
                    <a:pt x="16" y="70"/>
                    <a:pt x="16" y="70"/>
                  </a:cubicBezTo>
                  <a:cubicBezTo>
                    <a:pt x="17" y="71"/>
                    <a:pt x="17" y="72"/>
                    <a:pt x="18" y="73"/>
                  </a:cubicBezTo>
                  <a:cubicBezTo>
                    <a:pt x="20" y="76"/>
                    <a:pt x="20" y="81"/>
                    <a:pt x="20" y="86"/>
                  </a:cubicBezTo>
                  <a:cubicBezTo>
                    <a:pt x="19" y="88"/>
                    <a:pt x="19" y="88"/>
                    <a:pt x="19" y="88"/>
                  </a:cubicBezTo>
                  <a:cubicBezTo>
                    <a:pt x="19" y="90"/>
                    <a:pt x="19" y="93"/>
                    <a:pt x="20" y="95"/>
                  </a:cubicBezTo>
                  <a:cubicBezTo>
                    <a:pt x="20" y="97"/>
                    <a:pt x="20" y="97"/>
                    <a:pt x="20" y="97"/>
                  </a:cubicBezTo>
                  <a:cubicBezTo>
                    <a:pt x="20" y="102"/>
                    <a:pt x="21" y="108"/>
                    <a:pt x="20" y="113"/>
                  </a:cubicBezTo>
                  <a:cubicBezTo>
                    <a:pt x="20" y="115"/>
                    <a:pt x="20" y="117"/>
                    <a:pt x="19" y="120"/>
                  </a:cubicBezTo>
                  <a:cubicBezTo>
                    <a:pt x="19" y="123"/>
                    <a:pt x="19" y="123"/>
                    <a:pt x="19" y="123"/>
                  </a:cubicBezTo>
                  <a:cubicBezTo>
                    <a:pt x="19" y="124"/>
                    <a:pt x="19" y="125"/>
                    <a:pt x="19" y="126"/>
                  </a:cubicBezTo>
                  <a:cubicBezTo>
                    <a:pt x="19" y="127"/>
                    <a:pt x="19" y="128"/>
                    <a:pt x="19" y="129"/>
                  </a:cubicBezTo>
                  <a:cubicBezTo>
                    <a:pt x="19" y="129"/>
                    <a:pt x="19" y="130"/>
                    <a:pt x="19" y="130"/>
                  </a:cubicBezTo>
                  <a:cubicBezTo>
                    <a:pt x="19" y="131"/>
                    <a:pt x="19" y="131"/>
                    <a:pt x="19" y="131"/>
                  </a:cubicBezTo>
                  <a:cubicBezTo>
                    <a:pt x="19" y="131"/>
                    <a:pt x="19" y="131"/>
                    <a:pt x="19" y="131"/>
                  </a:cubicBezTo>
                  <a:cubicBezTo>
                    <a:pt x="19" y="132"/>
                    <a:pt x="19" y="132"/>
                    <a:pt x="19" y="132"/>
                  </a:cubicBezTo>
                  <a:cubicBezTo>
                    <a:pt x="19" y="132"/>
                    <a:pt x="19" y="132"/>
                    <a:pt x="19" y="132"/>
                  </a:cubicBezTo>
                  <a:cubicBezTo>
                    <a:pt x="20" y="133"/>
                    <a:pt x="21" y="135"/>
                    <a:pt x="22" y="136"/>
                  </a:cubicBezTo>
                  <a:cubicBezTo>
                    <a:pt x="27" y="134"/>
                    <a:pt x="27" y="134"/>
                    <a:pt x="27" y="134"/>
                  </a:cubicBezTo>
                  <a:cubicBezTo>
                    <a:pt x="23" y="138"/>
                    <a:pt x="23" y="138"/>
                    <a:pt x="23" y="138"/>
                  </a:cubicBezTo>
                  <a:cubicBezTo>
                    <a:pt x="23" y="138"/>
                    <a:pt x="23" y="138"/>
                    <a:pt x="23" y="138"/>
                  </a:cubicBezTo>
                  <a:cubicBezTo>
                    <a:pt x="23" y="140"/>
                    <a:pt x="23" y="141"/>
                    <a:pt x="23" y="142"/>
                  </a:cubicBezTo>
                  <a:cubicBezTo>
                    <a:pt x="26" y="142"/>
                    <a:pt x="28" y="141"/>
                    <a:pt x="31" y="141"/>
                  </a:cubicBezTo>
                  <a:cubicBezTo>
                    <a:pt x="32" y="140"/>
                    <a:pt x="37" y="141"/>
                    <a:pt x="40" y="140"/>
                  </a:cubicBezTo>
                  <a:cubicBezTo>
                    <a:pt x="40" y="140"/>
                    <a:pt x="40" y="140"/>
                    <a:pt x="40" y="140"/>
                  </a:cubicBezTo>
                  <a:cubicBezTo>
                    <a:pt x="39" y="138"/>
                    <a:pt x="40" y="134"/>
                    <a:pt x="40" y="132"/>
                  </a:cubicBezTo>
                  <a:cubicBezTo>
                    <a:pt x="41" y="131"/>
                    <a:pt x="40" y="130"/>
                    <a:pt x="40" y="128"/>
                  </a:cubicBezTo>
                  <a:cubicBezTo>
                    <a:pt x="40" y="127"/>
                    <a:pt x="40" y="125"/>
                    <a:pt x="40" y="123"/>
                  </a:cubicBezTo>
                  <a:cubicBezTo>
                    <a:pt x="40" y="121"/>
                    <a:pt x="40" y="119"/>
                    <a:pt x="40" y="116"/>
                  </a:cubicBezTo>
                  <a:cubicBezTo>
                    <a:pt x="40" y="111"/>
                    <a:pt x="40" y="111"/>
                    <a:pt x="40" y="111"/>
                  </a:cubicBezTo>
                  <a:cubicBezTo>
                    <a:pt x="39" y="109"/>
                    <a:pt x="39" y="107"/>
                    <a:pt x="39" y="105"/>
                  </a:cubicBezTo>
                  <a:cubicBezTo>
                    <a:pt x="38" y="103"/>
                    <a:pt x="38" y="100"/>
                    <a:pt x="39" y="96"/>
                  </a:cubicBezTo>
                  <a:cubicBezTo>
                    <a:pt x="39" y="95"/>
                    <a:pt x="39" y="95"/>
                    <a:pt x="39" y="95"/>
                  </a:cubicBezTo>
                  <a:cubicBezTo>
                    <a:pt x="39" y="95"/>
                    <a:pt x="39" y="94"/>
                    <a:pt x="39" y="94"/>
                  </a:cubicBezTo>
                  <a:cubicBezTo>
                    <a:pt x="39" y="90"/>
                    <a:pt x="40" y="86"/>
                    <a:pt x="40" y="83"/>
                  </a:cubicBezTo>
                  <a:cubicBezTo>
                    <a:pt x="40" y="81"/>
                    <a:pt x="40" y="79"/>
                    <a:pt x="40" y="78"/>
                  </a:cubicBezTo>
                  <a:cubicBezTo>
                    <a:pt x="39" y="78"/>
                    <a:pt x="39" y="78"/>
                    <a:pt x="39" y="78"/>
                  </a:cubicBezTo>
                  <a:cubicBezTo>
                    <a:pt x="40" y="78"/>
                    <a:pt x="40" y="78"/>
                    <a:pt x="40" y="78"/>
                  </a:cubicBezTo>
                  <a:cubicBezTo>
                    <a:pt x="40" y="76"/>
                    <a:pt x="41" y="74"/>
                    <a:pt x="42" y="73"/>
                  </a:cubicBezTo>
                  <a:cubicBezTo>
                    <a:pt x="43" y="73"/>
                    <a:pt x="44" y="72"/>
                    <a:pt x="45" y="72"/>
                  </a:cubicBezTo>
                  <a:cubicBezTo>
                    <a:pt x="46" y="72"/>
                    <a:pt x="46" y="72"/>
                    <a:pt x="47" y="73"/>
                  </a:cubicBezTo>
                  <a:cubicBezTo>
                    <a:pt x="47" y="73"/>
                    <a:pt x="48" y="73"/>
                    <a:pt x="48" y="73"/>
                  </a:cubicBezTo>
                  <a:cubicBezTo>
                    <a:pt x="48" y="73"/>
                    <a:pt x="49" y="73"/>
                    <a:pt x="49" y="73"/>
                  </a:cubicBezTo>
                  <a:cubicBezTo>
                    <a:pt x="49" y="73"/>
                    <a:pt x="49" y="73"/>
                    <a:pt x="49" y="73"/>
                  </a:cubicBezTo>
                  <a:cubicBezTo>
                    <a:pt x="49" y="73"/>
                    <a:pt x="49" y="72"/>
                    <a:pt x="49" y="71"/>
                  </a:cubicBezTo>
                  <a:cubicBezTo>
                    <a:pt x="50" y="69"/>
                    <a:pt x="51" y="67"/>
                    <a:pt x="52" y="64"/>
                  </a:cubicBezTo>
                  <a:cubicBezTo>
                    <a:pt x="52" y="63"/>
                    <a:pt x="53" y="61"/>
                    <a:pt x="54" y="59"/>
                  </a:cubicBezTo>
                  <a:cubicBezTo>
                    <a:pt x="60" y="52"/>
                    <a:pt x="60" y="52"/>
                    <a:pt x="60" y="52"/>
                  </a:cubicBezTo>
                  <a:cubicBezTo>
                    <a:pt x="60" y="51"/>
                    <a:pt x="60" y="51"/>
                    <a:pt x="60" y="51"/>
                  </a:cubicBezTo>
                  <a:cubicBezTo>
                    <a:pt x="60" y="50"/>
                    <a:pt x="60" y="50"/>
                    <a:pt x="60" y="50"/>
                  </a:cubicBezTo>
                  <a:cubicBezTo>
                    <a:pt x="60" y="50"/>
                    <a:pt x="60" y="48"/>
                    <a:pt x="60" y="46"/>
                  </a:cubicBezTo>
                  <a:cubicBezTo>
                    <a:pt x="60" y="45"/>
                    <a:pt x="60" y="44"/>
                    <a:pt x="61" y="44"/>
                  </a:cubicBezTo>
                  <a:cubicBezTo>
                    <a:pt x="61" y="43"/>
                    <a:pt x="61" y="43"/>
                    <a:pt x="61" y="43"/>
                  </a:cubicBezTo>
                  <a:cubicBezTo>
                    <a:pt x="62" y="42"/>
                    <a:pt x="62" y="41"/>
                    <a:pt x="63" y="40"/>
                  </a:cubicBezTo>
                  <a:cubicBezTo>
                    <a:pt x="64" y="40"/>
                    <a:pt x="64" y="40"/>
                    <a:pt x="64" y="40"/>
                  </a:cubicBezTo>
                  <a:cubicBezTo>
                    <a:pt x="64" y="39"/>
                    <a:pt x="64" y="39"/>
                    <a:pt x="64" y="39"/>
                  </a:cubicBezTo>
                  <a:cubicBezTo>
                    <a:pt x="65" y="38"/>
                    <a:pt x="65" y="37"/>
                    <a:pt x="66" y="37"/>
                  </a:cubicBezTo>
                  <a:cubicBezTo>
                    <a:pt x="66" y="37"/>
                    <a:pt x="66" y="37"/>
                    <a:pt x="66" y="37"/>
                  </a:cubicBezTo>
                  <a:cubicBezTo>
                    <a:pt x="65" y="36"/>
                    <a:pt x="65" y="36"/>
                    <a:pt x="65" y="35"/>
                  </a:cubicBezTo>
                  <a:cubicBezTo>
                    <a:pt x="65" y="33"/>
                    <a:pt x="65" y="33"/>
                    <a:pt x="65" y="33"/>
                  </a:cubicBezTo>
                  <a:cubicBezTo>
                    <a:pt x="64" y="32"/>
                    <a:pt x="64" y="31"/>
                    <a:pt x="64" y="30"/>
                  </a:cubicBezTo>
                  <a:cubicBezTo>
                    <a:pt x="64" y="29"/>
                    <a:pt x="63" y="28"/>
                    <a:pt x="62" y="27"/>
                  </a:cubicBezTo>
                  <a:cubicBezTo>
                    <a:pt x="62" y="27"/>
                    <a:pt x="62" y="27"/>
                    <a:pt x="62" y="27"/>
                  </a:cubicBezTo>
                  <a:cubicBezTo>
                    <a:pt x="60" y="25"/>
                    <a:pt x="57" y="21"/>
                    <a:pt x="58" y="17"/>
                  </a:cubicBezTo>
                  <a:cubicBezTo>
                    <a:pt x="59" y="16"/>
                    <a:pt x="59" y="16"/>
                    <a:pt x="59" y="16"/>
                  </a:cubicBezTo>
                  <a:cubicBezTo>
                    <a:pt x="59" y="16"/>
                    <a:pt x="59" y="15"/>
                    <a:pt x="59" y="14"/>
                  </a:cubicBezTo>
                  <a:cubicBezTo>
                    <a:pt x="59" y="14"/>
                    <a:pt x="59" y="14"/>
                    <a:pt x="57" y="13"/>
                  </a:cubicBezTo>
                  <a:cubicBezTo>
                    <a:pt x="53" y="10"/>
                    <a:pt x="49" y="5"/>
                    <a:pt x="46" y="2"/>
                  </a:cubicBezTo>
                  <a:cubicBezTo>
                    <a:pt x="46" y="1"/>
                    <a:pt x="45" y="1"/>
                    <a:pt x="45" y="0"/>
                  </a:cubicBezTo>
                  <a:cubicBezTo>
                    <a:pt x="44" y="0"/>
                    <a:pt x="44"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36"/>
            <p:cNvSpPr/>
            <p:nvPr/>
          </p:nvSpPr>
          <p:spPr bwMode="auto">
            <a:xfrm>
              <a:off x="3663" y="2143"/>
              <a:ext cx="90" cy="269"/>
            </a:xfrm>
            <a:custGeom>
              <a:gdLst>
                <a:gd name="T0" fmla="*/ 2 w 38"/>
                <a:gd name="T1" fmla="*/ 0 h 114"/>
                <a:gd name="T2" fmla="*/ 2 w 38"/>
                <a:gd name="T3" fmla="*/ 6 h 114"/>
                <a:gd name="T4" fmla="*/ 10 w 38"/>
                <a:gd name="T5" fmla="*/ 26 h 114"/>
                <a:gd name="T6" fmla="*/ 9 w 38"/>
                <a:gd name="T7" fmla="*/ 29 h 114"/>
                <a:gd name="T8" fmla="*/ 16 w 38"/>
                <a:gd name="T9" fmla="*/ 30 h 114"/>
                <a:gd name="T10" fmla="*/ 12 w 38"/>
                <a:gd name="T11" fmla="*/ 40 h 114"/>
                <a:gd name="T12" fmla="*/ 13 w 38"/>
                <a:gd name="T13" fmla="*/ 44 h 114"/>
                <a:gd name="T14" fmla="*/ 14 w 38"/>
                <a:gd name="T15" fmla="*/ 48 h 114"/>
                <a:gd name="T16" fmla="*/ 12 w 38"/>
                <a:gd name="T17" fmla="*/ 52 h 114"/>
                <a:gd name="T18" fmla="*/ 17 w 38"/>
                <a:gd name="T19" fmla="*/ 57 h 114"/>
                <a:gd name="T20" fmla="*/ 16 w 38"/>
                <a:gd name="T21" fmla="*/ 67 h 114"/>
                <a:gd name="T22" fmla="*/ 15 w 38"/>
                <a:gd name="T23" fmla="*/ 80 h 114"/>
                <a:gd name="T24" fmla="*/ 14 w 38"/>
                <a:gd name="T25" fmla="*/ 81 h 114"/>
                <a:gd name="T26" fmla="*/ 17 w 38"/>
                <a:gd name="T27" fmla="*/ 91 h 114"/>
                <a:gd name="T28" fmla="*/ 16 w 38"/>
                <a:gd name="T29" fmla="*/ 93 h 114"/>
                <a:gd name="T30" fmla="*/ 15 w 38"/>
                <a:gd name="T31" fmla="*/ 95 h 114"/>
                <a:gd name="T32" fmla="*/ 29 w 38"/>
                <a:gd name="T33" fmla="*/ 112 h 114"/>
                <a:gd name="T34" fmla="*/ 29 w 38"/>
                <a:gd name="T35" fmla="*/ 114 h 114"/>
                <a:gd name="T36" fmla="*/ 36 w 38"/>
                <a:gd name="T37" fmla="*/ 112 h 114"/>
                <a:gd name="T38" fmla="*/ 38 w 38"/>
                <a:gd name="T39" fmla="*/ 109 h 114"/>
                <a:gd name="T40" fmla="*/ 38 w 38"/>
                <a:gd name="T41" fmla="*/ 109 h 114"/>
                <a:gd name="T42" fmla="*/ 35 w 38"/>
                <a:gd name="T43" fmla="*/ 104 h 114"/>
                <a:gd name="T44" fmla="*/ 34 w 38"/>
                <a:gd name="T45" fmla="*/ 103 h 114"/>
                <a:gd name="T46" fmla="*/ 34 w 38"/>
                <a:gd name="T47" fmla="*/ 99 h 114"/>
                <a:gd name="T48" fmla="*/ 34 w 38"/>
                <a:gd name="T49" fmla="*/ 96 h 114"/>
                <a:gd name="T50" fmla="*/ 34 w 38"/>
                <a:gd name="T51" fmla="*/ 89 h 114"/>
                <a:gd name="T52" fmla="*/ 35 w 38"/>
                <a:gd name="T53" fmla="*/ 67 h 114"/>
                <a:gd name="T54" fmla="*/ 35 w 38"/>
                <a:gd name="T55" fmla="*/ 56 h 114"/>
                <a:gd name="T56" fmla="*/ 34 w 38"/>
                <a:gd name="T57" fmla="*/ 45 h 114"/>
                <a:gd name="T58" fmla="*/ 32 w 38"/>
                <a:gd name="T59" fmla="*/ 43 h 114"/>
                <a:gd name="T60" fmla="*/ 30 w 38"/>
                <a:gd name="T61" fmla="*/ 39 h 114"/>
                <a:gd name="T62" fmla="*/ 29 w 38"/>
                <a:gd name="T63" fmla="*/ 36 h 114"/>
                <a:gd name="T64" fmla="*/ 29 w 38"/>
                <a:gd name="T65" fmla="*/ 31 h 114"/>
                <a:gd name="T66" fmla="*/ 29 w 38"/>
                <a:gd name="T67" fmla="*/ 25 h 114"/>
                <a:gd name="T68" fmla="*/ 28 w 38"/>
                <a:gd name="T69" fmla="*/ 24 h 114"/>
                <a:gd name="T70" fmla="*/ 25 w 38"/>
                <a:gd name="T71" fmla="*/ 22 h 114"/>
                <a:gd name="T72" fmla="*/ 15 w 38"/>
                <a:gd name="T73" fmla="*/ 11 h 114"/>
                <a:gd name="T74" fmla="*/ 17 w 38"/>
                <a:gd name="T75" fmla="*/ 1 h 114"/>
                <a:gd name="T76" fmla="*/ 2 w 38"/>
                <a:gd name="T77" fmla="*/ 0 h 1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114">
                  <a:moveTo>
                    <a:pt x="2" y="0"/>
                  </a:moveTo>
                  <a:cubicBezTo>
                    <a:pt x="2" y="0"/>
                    <a:pt x="2" y="0"/>
                    <a:pt x="2" y="0"/>
                  </a:cubicBezTo>
                  <a:cubicBezTo>
                    <a:pt x="2" y="1"/>
                    <a:pt x="2" y="1"/>
                    <a:pt x="1" y="2"/>
                  </a:cubicBezTo>
                  <a:cubicBezTo>
                    <a:pt x="0" y="5"/>
                    <a:pt x="0" y="5"/>
                    <a:pt x="2" y="6"/>
                  </a:cubicBezTo>
                  <a:cubicBezTo>
                    <a:pt x="9" y="12"/>
                    <a:pt x="9" y="12"/>
                    <a:pt x="9" y="12"/>
                  </a:cubicBezTo>
                  <a:cubicBezTo>
                    <a:pt x="14" y="17"/>
                    <a:pt x="11" y="24"/>
                    <a:pt x="10" y="26"/>
                  </a:cubicBezTo>
                  <a:cubicBezTo>
                    <a:pt x="10" y="27"/>
                    <a:pt x="10" y="27"/>
                    <a:pt x="9" y="28"/>
                  </a:cubicBezTo>
                  <a:cubicBezTo>
                    <a:pt x="9" y="29"/>
                    <a:pt x="9" y="29"/>
                    <a:pt x="9" y="29"/>
                  </a:cubicBezTo>
                  <a:cubicBezTo>
                    <a:pt x="9" y="30"/>
                    <a:pt x="9" y="30"/>
                    <a:pt x="9" y="30"/>
                  </a:cubicBezTo>
                  <a:cubicBezTo>
                    <a:pt x="16" y="30"/>
                    <a:pt x="16" y="30"/>
                    <a:pt x="16" y="30"/>
                  </a:cubicBezTo>
                  <a:cubicBezTo>
                    <a:pt x="10" y="34"/>
                    <a:pt x="10" y="34"/>
                    <a:pt x="10" y="34"/>
                  </a:cubicBezTo>
                  <a:cubicBezTo>
                    <a:pt x="11" y="36"/>
                    <a:pt x="11" y="38"/>
                    <a:pt x="12" y="40"/>
                  </a:cubicBezTo>
                  <a:cubicBezTo>
                    <a:pt x="12" y="43"/>
                    <a:pt x="12" y="43"/>
                    <a:pt x="12" y="43"/>
                  </a:cubicBezTo>
                  <a:cubicBezTo>
                    <a:pt x="13" y="43"/>
                    <a:pt x="13" y="44"/>
                    <a:pt x="13" y="44"/>
                  </a:cubicBezTo>
                  <a:cubicBezTo>
                    <a:pt x="13" y="45"/>
                    <a:pt x="13" y="45"/>
                    <a:pt x="13" y="45"/>
                  </a:cubicBezTo>
                  <a:cubicBezTo>
                    <a:pt x="13" y="46"/>
                    <a:pt x="14" y="47"/>
                    <a:pt x="14" y="48"/>
                  </a:cubicBezTo>
                  <a:cubicBezTo>
                    <a:pt x="14" y="49"/>
                    <a:pt x="14" y="49"/>
                    <a:pt x="14" y="49"/>
                  </a:cubicBezTo>
                  <a:cubicBezTo>
                    <a:pt x="14" y="50"/>
                    <a:pt x="13" y="51"/>
                    <a:pt x="12" y="52"/>
                  </a:cubicBezTo>
                  <a:cubicBezTo>
                    <a:pt x="13" y="53"/>
                    <a:pt x="14" y="53"/>
                    <a:pt x="14" y="54"/>
                  </a:cubicBezTo>
                  <a:cubicBezTo>
                    <a:pt x="15" y="55"/>
                    <a:pt x="16" y="56"/>
                    <a:pt x="17" y="57"/>
                  </a:cubicBezTo>
                  <a:cubicBezTo>
                    <a:pt x="20" y="60"/>
                    <a:pt x="18" y="63"/>
                    <a:pt x="17" y="65"/>
                  </a:cubicBezTo>
                  <a:cubicBezTo>
                    <a:pt x="17" y="66"/>
                    <a:pt x="16" y="67"/>
                    <a:pt x="16" y="67"/>
                  </a:cubicBezTo>
                  <a:cubicBezTo>
                    <a:pt x="16" y="68"/>
                    <a:pt x="16" y="68"/>
                    <a:pt x="16" y="68"/>
                  </a:cubicBezTo>
                  <a:cubicBezTo>
                    <a:pt x="17" y="72"/>
                    <a:pt x="16" y="75"/>
                    <a:pt x="15" y="80"/>
                  </a:cubicBezTo>
                  <a:cubicBezTo>
                    <a:pt x="15" y="80"/>
                    <a:pt x="14" y="80"/>
                    <a:pt x="14" y="81"/>
                  </a:cubicBezTo>
                  <a:cubicBezTo>
                    <a:pt x="14" y="81"/>
                    <a:pt x="14" y="81"/>
                    <a:pt x="14" y="81"/>
                  </a:cubicBezTo>
                  <a:cubicBezTo>
                    <a:pt x="15" y="81"/>
                    <a:pt x="17" y="82"/>
                    <a:pt x="17" y="84"/>
                  </a:cubicBezTo>
                  <a:cubicBezTo>
                    <a:pt x="18" y="85"/>
                    <a:pt x="17" y="88"/>
                    <a:pt x="17" y="91"/>
                  </a:cubicBezTo>
                  <a:cubicBezTo>
                    <a:pt x="16" y="92"/>
                    <a:pt x="16" y="92"/>
                    <a:pt x="16" y="92"/>
                  </a:cubicBezTo>
                  <a:cubicBezTo>
                    <a:pt x="16" y="93"/>
                    <a:pt x="16" y="93"/>
                    <a:pt x="16" y="93"/>
                  </a:cubicBezTo>
                  <a:cubicBezTo>
                    <a:pt x="16" y="94"/>
                    <a:pt x="16" y="94"/>
                    <a:pt x="15" y="95"/>
                  </a:cubicBezTo>
                  <a:cubicBezTo>
                    <a:pt x="15" y="95"/>
                    <a:pt x="15" y="95"/>
                    <a:pt x="15" y="95"/>
                  </a:cubicBezTo>
                  <a:cubicBezTo>
                    <a:pt x="17" y="101"/>
                    <a:pt x="20" y="105"/>
                    <a:pt x="26" y="110"/>
                  </a:cubicBezTo>
                  <a:cubicBezTo>
                    <a:pt x="26" y="110"/>
                    <a:pt x="27" y="111"/>
                    <a:pt x="29" y="112"/>
                  </a:cubicBezTo>
                  <a:cubicBezTo>
                    <a:pt x="30" y="112"/>
                    <a:pt x="30" y="112"/>
                    <a:pt x="30" y="112"/>
                  </a:cubicBezTo>
                  <a:cubicBezTo>
                    <a:pt x="29" y="114"/>
                    <a:pt x="29" y="114"/>
                    <a:pt x="29" y="114"/>
                  </a:cubicBezTo>
                  <a:cubicBezTo>
                    <a:pt x="30" y="114"/>
                    <a:pt x="31" y="114"/>
                    <a:pt x="32" y="113"/>
                  </a:cubicBezTo>
                  <a:cubicBezTo>
                    <a:pt x="33" y="113"/>
                    <a:pt x="35" y="113"/>
                    <a:pt x="36" y="112"/>
                  </a:cubicBezTo>
                  <a:cubicBezTo>
                    <a:pt x="35" y="111"/>
                    <a:pt x="35" y="111"/>
                    <a:pt x="35" y="111"/>
                  </a:cubicBezTo>
                  <a:cubicBezTo>
                    <a:pt x="38" y="109"/>
                    <a:pt x="38" y="109"/>
                    <a:pt x="38" y="109"/>
                  </a:cubicBezTo>
                  <a:cubicBezTo>
                    <a:pt x="38" y="109"/>
                    <a:pt x="38" y="109"/>
                    <a:pt x="38" y="109"/>
                  </a:cubicBezTo>
                  <a:cubicBezTo>
                    <a:pt x="38" y="109"/>
                    <a:pt x="38" y="109"/>
                    <a:pt x="38" y="109"/>
                  </a:cubicBezTo>
                  <a:cubicBezTo>
                    <a:pt x="37" y="107"/>
                    <a:pt x="36" y="106"/>
                    <a:pt x="36" y="105"/>
                  </a:cubicBezTo>
                  <a:cubicBezTo>
                    <a:pt x="35" y="104"/>
                    <a:pt x="35" y="104"/>
                    <a:pt x="35" y="104"/>
                  </a:cubicBezTo>
                  <a:cubicBezTo>
                    <a:pt x="35" y="104"/>
                    <a:pt x="35" y="103"/>
                    <a:pt x="35" y="103"/>
                  </a:cubicBezTo>
                  <a:cubicBezTo>
                    <a:pt x="34" y="103"/>
                    <a:pt x="34" y="103"/>
                    <a:pt x="34" y="103"/>
                  </a:cubicBezTo>
                  <a:cubicBezTo>
                    <a:pt x="34" y="102"/>
                    <a:pt x="34" y="102"/>
                    <a:pt x="34" y="100"/>
                  </a:cubicBezTo>
                  <a:cubicBezTo>
                    <a:pt x="34" y="100"/>
                    <a:pt x="34" y="99"/>
                    <a:pt x="34" y="99"/>
                  </a:cubicBezTo>
                  <a:cubicBezTo>
                    <a:pt x="34" y="98"/>
                    <a:pt x="34" y="98"/>
                    <a:pt x="34" y="98"/>
                  </a:cubicBezTo>
                  <a:cubicBezTo>
                    <a:pt x="34" y="97"/>
                    <a:pt x="34" y="97"/>
                    <a:pt x="34" y="96"/>
                  </a:cubicBezTo>
                  <a:cubicBezTo>
                    <a:pt x="34" y="95"/>
                    <a:pt x="34" y="93"/>
                    <a:pt x="34" y="91"/>
                  </a:cubicBezTo>
                  <a:cubicBezTo>
                    <a:pt x="34" y="89"/>
                    <a:pt x="34" y="89"/>
                    <a:pt x="34" y="89"/>
                  </a:cubicBezTo>
                  <a:cubicBezTo>
                    <a:pt x="35" y="86"/>
                    <a:pt x="35" y="84"/>
                    <a:pt x="35" y="81"/>
                  </a:cubicBezTo>
                  <a:cubicBezTo>
                    <a:pt x="36" y="77"/>
                    <a:pt x="35" y="71"/>
                    <a:pt x="35" y="67"/>
                  </a:cubicBezTo>
                  <a:cubicBezTo>
                    <a:pt x="35" y="65"/>
                    <a:pt x="35" y="65"/>
                    <a:pt x="35" y="65"/>
                  </a:cubicBezTo>
                  <a:cubicBezTo>
                    <a:pt x="35" y="62"/>
                    <a:pt x="35" y="59"/>
                    <a:pt x="35" y="56"/>
                  </a:cubicBezTo>
                  <a:cubicBezTo>
                    <a:pt x="35" y="54"/>
                    <a:pt x="35" y="54"/>
                    <a:pt x="35" y="54"/>
                  </a:cubicBezTo>
                  <a:cubicBezTo>
                    <a:pt x="35" y="51"/>
                    <a:pt x="35" y="47"/>
                    <a:pt x="34" y="45"/>
                  </a:cubicBezTo>
                  <a:cubicBezTo>
                    <a:pt x="34" y="44"/>
                    <a:pt x="33" y="44"/>
                    <a:pt x="33" y="43"/>
                  </a:cubicBezTo>
                  <a:cubicBezTo>
                    <a:pt x="32" y="43"/>
                    <a:pt x="32" y="43"/>
                    <a:pt x="32" y="43"/>
                  </a:cubicBezTo>
                  <a:cubicBezTo>
                    <a:pt x="32" y="42"/>
                    <a:pt x="31" y="42"/>
                    <a:pt x="31" y="41"/>
                  </a:cubicBezTo>
                  <a:cubicBezTo>
                    <a:pt x="31" y="40"/>
                    <a:pt x="30" y="40"/>
                    <a:pt x="30" y="39"/>
                  </a:cubicBezTo>
                  <a:cubicBezTo>
                    <a:pt x="30" y="39"/>
                    <a:pt x="29" y="38"/>
                    <a:pt x="29" y="37"/>
                  </a:cubicBezTo>
                  <a:cubicBezTo>
                    <a:pt x="29" y="36"/>
                    <a:pt x="29" y="36"/>
                    <a:pt x="29" y="36"/>
                  </a:cubicBezTo>
                  <a:cubicBezTo>
                    <a:pt x="29" y="35"/>
                    <a:pt x="29" y="35"/>
                    <a:pt x="29" y="35"/>
                  </a:cubicBezTo>
                  <a:cubicBezTo>
                    <a:pt x="29" y="33"/>
                    <a:pt x="29" y="32"/>
                    <a:pt x="29" y="31"/>
                  </a:cubicBezTo>
                  <a:cubicBezTo>
                    <a:pt x="29" y="30"/>
                    <a:pt x="29" y="30"/>
                    <a:pt x="29" y="30"/>
                  </a:cubicBezTo>
                  <a:cubicBezTo>
                    <a:pt x="29" y="29"/>
                    <a:pt x="29" y="26"/>
                    <a:pt x="29" y="25"/>
                  </a:cubicBezTo>
                  <a:cubicBezTo>
                    <a:pt x="28" y="24"/>
                    <a:pt x="28" y="24"/>
                    <a:pt x="28" y="24"/>
                  </a:cubicBezTo>
                  <a:cubicBezTo>
                    <a:pt x="28" y="24"/>
                    <a:pt x="28" y="24"/>
                    <a:pt x="28" y="24"/>
                  </a:cubicBezTo>
                  <a:cubicBezTo>
                    <a:pt x="27" y="24"/>
                    <a:pt x="27" y="23"/>
                    <a:pt x="26" y="23"/>
                  </a:cubicBezTo>
                  <a:cubicBezTo>
                    <a:pt x="25" y="22"/>
                    <a:pt x="25" y="22"/>
                    <a:pt x="25" y="22"/>
                  </a:cubicBezTo>
                  <a:cubicBezTo>
                    <a:pt x="23" y="21"/>
                    <a:pt x="21" y="19"/>
                    <a:pt x="19" y="18"/>
                  </a:cubicBezTo>
                  <a:cubicBezTo>
                    <a:pt x="17" y="16"/>
                    <a:pt x="16" y="13"/>
                    <a:pt x="15" y="11"/>
                  </a:cubicBezTo>
                  <a:cubicBezTo>
                    <a:pt x="15" y="9"/>
                    <a:pt x="15" y="8"/>
                    <a:pt x="15" y="7"/>
                  </a:cubicBezTo>
                  <a:cubicBezTo>
                    <a:pt x="16" y="5"/>
                    <a:pt x="16" y="3"/>
                    <a:pt x="17" y="1"/>
                  </a:cubicBezTo>
                  <a:cubicBezTo>
                    <a:pt x="15" y="1"/>
                    <a:pt x="15" y="1"/>
                    <a:pt x="15" y="1"/>
                  </a:cubicBezTo>
                  <a:cubicBezTo>
                    <a:pt x="11" y="1"/>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37"/>
            <p:cNvSpPr/>
            <p:nvPr/>
          </p:nvSpPr>
          <p:spPr bwMode="auto">
            <a:xfrm>
              <a:off x="3488" y="2138"/>
              <a:ext cx="237" cy="352"/>
            </a:xfrm>
            <a:custGeom>
              <a:gdLst>
                <a:gd name="T0" fmla="*/ 64 w 100"/>
                <a:gd name="T1" fmla="*/ 2 h 149"/>
                <a:gd name="T2" fmla="*/ 63 w 100"/>
                <a:gd name="T3" fmla="*/ 3 h 149"/>
                <a:gd name="T4" fmla="*/ 62 w 100"/>
                <a:gd name="T5" fmla="*/ 2 h 149"/>
                <a:gd name="T6" fmla="*/ 61 w 100"/>
                <a:gd name="T7" fmla="*/ 4 h 149"/>
                <a:gd name="T8" fmla="*/ 60 w 100"/>
                <a:gd name="T9" fmla="*/ 4 h 149"/>
                <a:gd name="T10" fmla="*/ 56 w 100"/>
                <a:gd name="T11" fmla="*/ 4 h 149"/>
                <a:gd name="T12" fmla="*/ 44 w 100"/>
                <a:gd name="T13" fmla="*/ 3 h 149"/>
                <a:gd name="T14" fmla="*/ 22 w 100"/>
                <a:gd name="T15" fmla="*/ 4 h 149"/>
                <a:gd name="T16" fmla="*/ 9 w 100"/>
                <a:gd name="T17" fmla="*/ 4 h 149"/>
                <a:gd name="T18" fmla="*/ 7 w 100"/>
                <a:gd name="T19" fmla="*/ 8 h 149"/>
                <a:gd name="T20" fmla="*/ 11 w 100"/>
                <a:gd name="T21" fmla="*/ 25 h 149"/>
                <a:gd name="T22" fmla="*/ 13 w 100"/>
                <a:gd name="T23" fmla="*/ 29 h 149"/>
                <a:gd name="T24" fmla="*/ 13 w 100"/>
                <a:gd name="T25" fmla="*/ 36 h 149"/>
                <a:gd name="T26" fmla="*/ 13 w 100"/>
                <a:gd name="T27" fmla="*/ 36 h 149"/>
                <a:gd name="T28" fmla="*/ 13 w 100"/>
                <a:gd name="T29" fmla="*/ 38 h 149"/>
                <a:gd name="T30" fmla="*/ 13 w 100"/>
                <a:gd name="T31" fmla="*/ 38 h 149"/>
                <a:gd name="T32" fmla="*/ 11 w 100"/>
                <a:gd name="T33" fmla="*/ 44 h 149"/>
                <a:gd name="T34" fmla="*/ 11 w 100"/>
                <a:gd name="T35" fmla="*/ 46 h 149"/>
                <a:gd name="T36" fmla="*/ 12 w 100"/>
                <a:gd name="T37" fmla="*/ 48 h 149"/>
                <a:gd name="T38" fmla="*/ 17 w 100"/>
                <a:gd name="T39" fmla="*/ 61 h 149"/>
                <a:gd name="T40" fmla="*/ 12 w 100"/>
                <a:gd name="T41" fmla="*/ 75 h 149"/>
                <a:gd name="T42" fmla="*/ 9 w 100"/>
                <a:gd name="T43" fmla="*/ 79 h 149"/>
                <a:gd name="T44" fmla="*/ 7 w 100"/>
                <a:gd name="T45" fmla="*/ 85 h 149"/>
                <a:gd name="T46" fmla="*/ 4 w 100"/>
                <a:gd name="T47" fmla="*/ 92 h 149"/>
                <a:gd name="T48" fmla="*/ 1 w 100"/>
                <a:gd name="T49" fmla="*/ 106 h 149"/>
                <a:gd name="T50" fmla="*/ 5 w 100"/>
                <a:gd name="T51" fmla="*/ 123 h 149"/>
                <a:gd name="T52" fmla="*/ 6 w 100"/>
                <a:gd name="T53" fmla="*/ 126 h 149"/>
                <a:gd name="T54" fmla="*/ 11 w 100"/>
                <a:gd name="T55" fmla="*/ 132 h 149"/>
                <a:gd name="T56" fmla="*/ 11 w 100"/>
                <a:gd name="T57" fmla="*/ 135 h 149"/>
                <a:gd name="T58" fmla="*/ 11 w 100"/>
                <a:gd name="T59" fmla="*/ 137 h 149"/>
                <a:gd name="T60" fmla="*/ 12 w 100"/>
                <a:gd name="T61" fmla="*/ 140 h 149"/>
                <a:gd name="T62" fmla="*/ 10 w 100"/>
                <a:gd name="T63" fmla="*/ 143 h 149"/>
                <a:gd name="T64" fmla="*/ 7 w 100"/>
                <a:gd name="T65" fmla="*/ 143 h 149"/>
                <a:gd name="T66" fmla="*/ 25 w 100"/>
                <a:gd name="T67" fmla="*/ 149 h 149"/>
                <a:gd name="T68" fmla="*/ 31 w 100"/>
                <a:gd name="T69" fmla="*/ 146 h 149"/>
                <a:gd name="T70" fmla="*/ 54 w 100"/>
                <a:gd name="T71" fmla="*/ 138 h 149"/>
                <a:gd name="T72" fmla="*/ 88 w 100"/>
                <a:gd name="T73" fmla="*/ 123 h 149"/>
                <a:gd name="T74" fmla="*/ 88 w 100"/>
                <a:gd name="T75" fmla="*/ 123 h 149"/>
                <a:gd name="T76" fmla="*/ 96 w 100"/>
                <a:gd name="T77" fmla="*/ 124 h 149"/>
                <a:gd name="T78" fmla="*/ 100 w 100"/>
                <a:gd name="T79" fmla="*/ 119 h 149"/>
                <a:gd name="T80" fmla="*/ 83 w 100"/>
                <a:gd name="T81" fmla="*/ 97 h 149"/>
                <a:gd name="T82" fmla="*/ 84 w 100"/>
                <a:gd name="T83" fmla="*/ 93 h 149"/>
                <a:gd name="T84" fmla="*/ 85 w 100"/>
                <a:gd name="T85" fmla="*/ 91 h 149"/>
                <a:gd name="T86" fmla="*/ 83 w 100"/>
                <a:gd name="T87" fmla="*/ 85 h 149"/>
                <a:gd name="T88" fmla="*/ 83 w 100"/>
                <a:gd name="T89" fmla="*/ 80 h 149"/>
                <a:gd name="T90" fmla="*/ 85 w 100"/>
                <a:gd name="T91" fmla="*/ 70 h 149"/>
                <a:gd name="T92" fmla="*/ 86 w 100"/>
                <a:gd name="T93" fmla="*/ 64 h 149"/>
                <a:gd name="T94" fmla="*/ 85 w 100"/>
                <a:gd name="T95" fmla="*/ 61 h 149"/>
                <a:gd name="T96" fmla="*/ 80 w 100"/>
                <a:gd name="T97" fmla="*/ 56 h 149"/>
                <a:gd name="T98" fmla="*/ 81 w 100"/>
                <a:gd name="T99" fmla="*/ 51 h 149"/>
                <a:gd name="T100" fmla="*/ 82 w 100"/>
                <a:gd name="T101" fmla="*/ 49 h 149"/>
                <a:gd name="T102" fmla="*/ 80 w 100"/>
                <a:gd name="T103" fmla="*/ 41 h 149"/>
                <a:gd name="T104" fmla="*/ 76 w 100"/>
                <a:gd name="T105" fmla="*/ 37 h 149"/>
                <a:gd name="T106" fmla="*/ 78 w 100"/>
                <a:gd name="T107" fmla="*/ 28 h 149"/>
                <a:gd name="T108" fmla="*/ 79 w 100"/>
                <a:gd name="T109" fmla="*/ 18 h 149"/>
                <a:gd name="T110" fmla="*/ 70 w 100"/>
                <a:gd name="T111" fmla="*/ 2 h 149"/>
                <a:gd name="T112" fmla="*/ 70 w 100"/>
                <a:gd name="T113" fmla="*/ 1 h 1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49">
                  <a:moveTo>
                    <a:pt x="69" y="0"/>
                  </a:moveTo>
                  <a:cubicBezTo>
                    <a:pt x="67" y="0"/>
                    <a:pt x="65" y="2"/>
                    <a:pt x="64" y="2"/>
                  </a:cubicBezTo>
                  <a:cubicBezTo>
                    <a:pt x="63" y="3"/>
                    <a:pt x="63" y="3"/>
                    <a:pt x="63" y="3"/>
                  </a:cubicBezTo>
                  <a:cubicBezTo>
                    <a:pt x="63" y="3"/>
                    <a:pt x="63" y="3"/>
                    <a:pt x="63" y="3"/>
                  </a:cubicBezTo>
                  <a:cubicBezTo>
                    <a:pt x="62" y="3"/>
                    <a:pt x="62" y="3"/>
                    <a:pt x="62" y="3"/>
                  </a:cubicBezTo>
                  <a:cubicBezTo>
                    <a:pt x="62" y="2"/>
                    <a:pt x="62" y="2"/>
                    <a:pt x="62" y="2"/>
                  </a:cubicBezTo>
                  <a:cubicBezTo>
                    <a:pt x="62" y="3"/>
                    <a:pt x="62" y="3"/>
                    <a:pt x="62" y="3"/>
                  </a:cubicBezTo>
                  <a:cubicBezTo>
                    <a:pt x="61" y="3"/>
                    <a:pt x="61" y="3"/>
                    <a:pt x="61" y="4"/>
                  </a:cubicBezTo>
                  <a:cubicBezTo>
                    <a:pt x="60" y="2"/>
                    <a:pt x="60" y="2"/>
                    <a:pt x="60" y="2"/>
                  </a:cubicBezTo>
                  <a:cubicBezTo>
                    <a:pt x="60" y="4"/>
                    <a:pt x="60" y="4"/>
                    <a:pt x="60" y="4"/>
                  </a:cubicBezTo>
                  <a:cubicBezTo>
                    <a:pt x="60" y="4"/>
                    <a:pt x="59" y="4"/>
                    <a:pt x="59" y="4"/>
                  </a:cubicBezTo>
                  <a:cubicBezTo>
                    <a:pt x="58" y="4"/>
                    <a:pt x="57" y="4"/>
                    <a:pt x="56" y="4"/>
                  </a:cubicBezTo>
                  <a:cubicBezTo>
                    <a:pt x="51" y="3"/>
                    <a:pt x="51" y="3"/>
                    <a:pt x="51" y="3"/>
                  </a:cubicBezTo>
                  <a:cubicBezTo>
                    <a:pt x="49" y="3"/>
                    <a:pt x="47" y="3"/>
                    <a:pt x="44" y="3"/>
                  </a:cubicBezTo>
                  <a:cubicBezTo>
                    <a:pt x="39" y="3"/>
                    <a:pt x="32" y="3"/>
                    <a:pt x="24" y="4"/>
                  </a:cubicBezTo>
                  <a:cubicBezTo>
                    <a:pt x="23" y="4"/>
                    <a:pt x="23" y="4"/>
                    <a:pt x="22" y="4"/>
                  </a:cubicBezTo>
                  <a:cubicBezTo>
                    <a:pt x="20" y="4"/>
                    <a:pt x="18" y="4"/>
                    <a:pt x="16" y="4"/>
                  </a:cubicBezTo>
                  <a:cubicBezTo>
                    <a:pt x="13" y="4"/>
                    <a:pt x="10" y="4"/>
                    <a:pt x="9" y="4"/>
                  </a:cubicBezTo>
                  <a:cubicBezTo>
                    <a:pt x="8" y="5"/>
                    <a:pt x="8" y="5"/>
                    <a:pt x="8" y="5"/>
                  </a:cubicBezTo>
                  <a:cubicBezTo>
                    <a:pt x="8" y="6"/>
                    <a:pt x="7" y="7"/>
                    <a:pt x="7" y="8"/>
                  </a:cubicBezTo>
                  <a:cubicBezTo>
                    <a:pt x="8" y="10"/>
                    <a:pt x="8" y="10"/>
                    <a:pt x="8" y="10"/>
                  </a:cubicBezTo>
                  <a:cubicBezTo>
                    <a:pt x="9" y="13"/>
                    <a:pt x="10" y="19"/>
                    <a:pt x="11" y="25"/>
                  </a:cubicBezTo>
                  <a:cubicBezTo>
                    <a:pt x="13" y="16"/>
                    <a:pt x="13" y="16"/>
                    <a:pt x="13" y="16"/>
                  </a:cubicBezTo>
                  <a:cubicBezTo>
                    <a:pt x="13" y="29"/>
                    <a:pt x="13" y="29"/>
                    <a:pt x="13" y="29"/>
                  </a:cubicBezTo>
                  <a:cubicBezTo>
                    <a:pt x="14" y="27"/>
                    <a:pt x="14" y="27"/>
                    <a:pt x="14" y="27"/>
                  </a:cubicBezTo>
                  <a:cubicBezTo>
                    <a:pt x="13" y="36"/>
                    <a:pt x="13" y="36"/>
                    <a:pt x="13" y="36"/>
                  </a:cubicBezTo>
                  <a:cubicBezTo>
                    <a:pt x="13" y="36"/>
                    <a:pt x="13" y="36"/>
                    <a:pt x="13" y="36"/>
                  </a:cubicBezTo>
                  <a:cubicBezTo>
                    <a:pt x="13" y="36"/>
                    <a:pt x="13" y="36"/>
                    <a:pt x="13" y="36"/>
                  </a:cubicBezTo>
                  <a:cubicBezTo>
                    <a:pt x="13" y="37"/>
                    <a:pt x="13" y="37"/>
                    <a:pt x="13" y="37"/>
                  </a:cubicBezTo>
                  <a:cubicBezTo>
                    <a:pt x="13" y="38"/>
                    <a:pt x="13" y="38"/>
                    <a:pt x="13" y="38"/>
                  </a:cubicBezTo>
                  <a:cubicBezTo>
                    <a:pt x="13" y="38"/>
                    <a:pt x="13" y="38"/>
                    <a:pt x="13" y="38"/>
                  </a:cubicBezTo>
                  <a:cubicBezTo>
                    <a:pt x="13" y="38"/>
                    <a:pt x="13" y="38"/>
                    <a:pt x="13" y="38"/>
                  </a:cubicBezTo>
                  <a:cubicBezTo>
                    <a:pt x="12" y="40"/>
                    <a:pt x="12" y="40"/>
                    <a:pt x="12" y="40"/>
                  </a:cubicBezTo>
                  <a:cubicBezTo>
                    <a:pt x="12" y="41"/>
                    <a:pt x="11" y="43"/>
                    <a:pt x="11" y="44"/>
                  </a:cubicBezTo>
                  <a:cubicBezTo>
                    <a:pt x="11" y="45"/>
                    <a:pt x="11" y="45"/>
                    <a:pt x="11" y="46"/>
                  </a:cubicBezTo>
                  <a:cubicBezTo>
                    <a:pt x="11" y="46"/>
                    <a:pt x="11" y="46"/>
                    <a:pt x="11" y="46"/>
                  </a:cubicBezTo>
                  <a:cubicBezTo>
                    <a:pt x="11" y="47"/>
                    <a:pt x="11" y="47"/>
                    <a:pt x="11" y="47"/>
                  </a:cubicBezTo>
                  <a:cubicBezTo>
                    <a:pt x="12" y="47"/>
                    <a:pt x="12" y="48"/>
                    <a:pt x="12" y="48"/>
                  </a:cubicBezTo>
                  <a:cubicBezTo>
                    <a:pt x="14" y="51"/>
                    <a:pt x="14" y="51"/>
                    <a:pt x="14" y="51"/>
                  </a:cubicBezTo>
                  <a:cubicBezTo>
                    <a:pt x="15" y="54"/>
                    <a:pt x="16" y="57"/>
                    <a:pt x="17" y="61"/>
                  </a:cubicBezTo>
                  <a:cubicBezTo>
                    <a:pt x="17" y="65"/>
                    <a:pt x="18" y="68"/>
                    <a:pt x="14" y="72"/>
                  </a:cubicBezTo>
                  <a:cubicBezTo>
                    <a:pt x="13" y="73"/>
                    <a:pt x="13" y="74"/>
                    <a:pt x="12" y="75"/>
                  </a:cubicBezTo>
                  <a:cubicBezTo>
                    <a:pt x="11" y="77"/>
                    <a:pt x="11" y="77"/>
                    <a:pt x="11" y="77"/>
                  </a:cubicBezTo>
                  <a:cubicBezTo>
                    <a:pt x="10" y="77"/>
                    <a:pt x="9" y="78"/>
                    <a:pt x="9" y="79"/>
                  </a:cubicBezTo>
                  <a:cubicBezTo>
                    <a:pt x="8" y="80"/>
                    <a:pt x="7" y="83"/>
                    <a:pt x="7" y="84"/>
                  </a:cubicBezTo>
                  <a:cubicBezTo>
                    <a:pt x="7" y="85"/>
                    <a:pt x="7" y="85"/>
                    <a:pt x="7" y="85"/>
                  </a:cubicBezTo>
                  <a:cubicBezTo>
                    <a:pt x="7" y="85"/>
                    <a:pt x="6" y="86"/>
                    <a:pt x="6" y="87"/>
                  </a:cubicBezTo>
                  <a:cubicBezTo>
                    <a:pt x="6" y="88"/>
                    <a:pt x="5" y="90"/>
                    <a:pt x="4" y="92"/>
                  </a:cubicBezTo>
                  <a:cubicBezTo>
                    <a:pt x="2" y="96"/>
                    <a:pt x="0" y="100"/>
                    <a:pt x="1" y="104"/>
                  </a:cubicBezTo>
                  <a:cubicBezTo>
                    <a:pt x="1" y="106"/>
                    <a:pt x="1" y="106"/>
                    <a:pt x="1" y="106"/>
                  </a:cubicBezTo>
                  <a:cubicBezTo>
                    <a:pt x="1" y="112"/>
                    <a:pt x="2" y="118"/>
                    <a:pt x="5" y="122"/>
                  </a:cubicBezTo>
                  <a:cubicBezTo>
                    <a:pt x="5" y="123"/>
                    <a:pt x="5" y="123"/>
                    <a:pt x="5" y="123"/>
                  </a:cubicBezTo>
                  <a:cubicBezTo>
                    <a:pt x="5" y="124"/>
                    <a:pt x="5" y="124"/>
                    <a:pt x="5" y="124"/>
                  </a:cubicBezTo>
                  <a:cubicBezTo>
                    <a:pt x="6" y="125"/>
                    <a:pt x="6" y="125"/>
                    <a:pt x="6" y="126"/>
                  </a:cubicBezTo>
                  <a:cubicBezTo>
                    <a:pt x="8" y="127"/>
                    <a:pt x="8" y="127"/>
                    <a:pt x="8" y="127"/>
                  </a:cubicBezTo>
                  <a:cubicBezTo>
                    <a:pt x="9" y="129"/>
                    <a:pt x="11" y="130"/>
                    <a:pt x="11" y="132"/>
                  </a:cubicBezTo>
                  <a:cubicBezTo>
                    <a:pt x="11" y="133"/>
                    <a:pt x="11" y="133"/>
                    <a:pt x="11" y="133"/>
                  </a:cubicBezTo>
                  <a:cubicBezTo>
                    <a:pt x="12" y="134"/>
                    <a:pt x="11" y="135"/>
                    <a:pt x="11" y="135"/>
                  </a:cubicBezTo>
                  <a:cubicBezTo>
                    <a:pt x="11" y="136"/>
                    <a:pt x="11" y="136"/>
                    <a:pt x="11" y="136"/>
                  </a:cubicBezTo>
                  <a:cubicBezTo>
                    <a:pt x="11" y="136"/>
                    <a:pt x="11" y="137"/>
                    <a:pt x="11" y="137"/>
                  </a:cubicBezTo>
                  <a:cubicBezTo>
                    <a:pt x="11" y="138"/>
                    <a:pt x="12" y="138"/>
                    <a:pt x="12" y="139"/>
                  </a:cubicBezTo>
                  <a:cubicBezTo>
                    <a:pt x="12" y="140"/>
                    <a:pt x="12" y="140"/>
                    <a:pt x="12" y="140"/>
                  </a:cubicBezTo>
                  <a:cubicBezTo>
                    <a:pt x="11" y="142"/>
                    <a:pt x="11" y="142"/>
                    <a:pt x="11" y="142"/>
                  </a:cubicBezTo>
                  <a:cubicBezTo>
                    <a:pt x="11" y="142"/>
                    <a:pt x="10" y="142"/>
                    <a:pt x="10" y="143"/>
                  </a:cubicBezTo>
                  <a:cubicBezTo>
                    <a:pt x="9" y="143"/>
                    <a:pt x="9" y="143"/>
                    <a:pt x="9" y="143"/>
                  </a:cubicBezTo>
                  <a:cubicBezTo>
                    <a:pt x="8" y="143"/>
                    <a:pt x="8" y="143"/>
                    <a:pt x="7" y="143"/>
                  </a:cubicBezTo>
                  <a:cubicBezTo>
                    <a:pt x="11" y="145"/>
                    <a:pt x="15" y="146"/>
                    <a:pt x="19" y="147"/>
                  </a:cubicBezTo>
                  <a:cubicBezTo>
                    <a:pt x="21" y="148"/>
                    <a:pt x="23" y="149"/>
                    <a:pt x="25" y="149"/>
                  </a:cubicBezTo>
                  <a:cubicBezTo>
                    <a:pt x="26" y="149"/>
                    <a:pt x="26" y="149"/>
                    <a:pt x="27" y="149"/>
                  </a:cubicBezTo>
                  <a:cubicBezTo>
                    <a:pt x="28" y="148"/>
                    <a:pt x="30" y="147"/>
                    <a:pt x="31" y="146"/>
                  </a:cubicBezTo>
                  <a:cubicBezTo>
                    <a:pt x="33" y="145"/>
                    <a:pt x="34" y="143"/>
                    <a:pt x="36" y="142"/>
                  </a:cubicBezTo>
                  <a:cubicBezTo>
                    <a:pt x="42" y="140"/>
                    <a:pt x="49" y="140"/>
                    <a:pt x="54" y="138"/>
                  </a:cubicBezTo>
                  <a:cubicBezTo>
                    <a:pt x="59" y="136"/>
                    <a:pt x="63" y="132"/>
                    <a:pt x="68" y="130"/>
                  </a:cubicBezTo>
                  <a:cubicBezTo>
                    <a:pt x="75" y="128"/>
                    <a:pt x="82" y="125"/>
                    <a:pt x="88" y="123"/>
                  </a:cubicBezTo>
                  <a:cubicBezTo>
                    <a:pt x="85" y="121"/>
                    <a:pt x="82" y="119"/>
                    <a:pt x="78" y="117"/>
                  </a:cubicBezTo>
                  <a:cubicBezTo>
                    <a:pt x="84" y="118"/>
                    <a:pt x="87" y="117"/>
                    <a:pt x="88" y="123"/>
                  </a:cubicBezTo>
                  <a:cubicBezTo>
                    <a:pt x="89" y="124"/>
                    <a:pt x="91" y="125"/>
                    <a:pt x="92" y="125"/>
                  </a:cubicBezTo>
                  <a:cubicBezTo>
                    <a:pt x="94" y="125"/>
                    <a:pt x="95" y="124"/>
                    <a:pt x="96" y="124"/>
                  </a:cubicBezTo>
                  <a:cubicBezTo>
                    <a:pt x="98" y="123"/>
                    <a:pt x="99" y="121"/>
                    <a:pt x="100" y="119"/>
                  </a:cubicBezTo>
                  <a:cubicBezTo>
                    <a:pt x="100" y="119"/>
                    <a:pt x="100" y="119"/>
                    <a:pt x="100" y="119"/>
                  </a:cubicBezTo>
                  <a:cubicBezTo>
                    <a:pt x="98" y="118"/>
                    <a:pt x="96" y="117"/>
                    <a:pt x="96" y="116"/>
                  </a:cubicBezTo>
                  <a:cubicBezTo>
                    <a:pt x="89" y="110"/>
                    <a:pt x="86" y="105"/>
                    <a:pt x="83" y="97"/>
                  </a:cubicBezTo>
                  <a:cubicBezTo>
                    <a:pt x="82" y="94"/>
                    <a:pt x="82" y="94"/>
                    <a:pt x="82" y="94"/>
                  </a:cubicBezTo>
                  <a:cubicBezTo>
                    <a:pt x="84" y="93"/>
                    <a:pt x="84" y="93"/>
                    <a:pt x="84" y="93"/>
                  </a:cubicBezTo>
                  <a:cubicBezTo>
                    <a:pt x="85" y="93"/>
                    <a:pt x="85" y="92"/>
                    <a:pt x="85" y="92"/>
                  </a:cubicBezTo>
                  <a:cubicBezTo>
                    <a:pt x="85" y="91"/>
                    <a:pt x="85" y="91"/>
                    <a:pt x="85" y="91"/>
                  </a:cubicBezTo>
                  <a:cubicBezTo>
                    <a:pt x="85" y="90"/>
                    <a:pt x="86" y="89"/>
                    <a:pt x="86" y="88"/>
                  </a:cubicBezTo>
                  <a:cubicBezTo>
                    <a:pt x="85" y="88"/>
                    <a:pt x="83" y="87"/>
                    <a:pt x="83" y="85"/>
                  </a:cubicBezTo>
                  <a:cubicBezTo>
                    <a:pt x="82" y="84"/>
                    <a:pt x="82" y="83"/>
                    <a:pt x="82" y="82"/>
                  </a:cubicBezTo>
                  <a:cubicBezTo>
                    <a:pt x="83" y="80"/>
                    <a:pt x="83" y="80"/>
                    <a:pt x="83" y="80"/>
                  </a:cubicBezTo>
                  <a:cubicBezTo>
                    <a:pt x="83" y="80"/>
                    <a:pt x="83" y="80"/>
                    <a:pt x="83" y="80"/>
                  </a:cubicBezTo>
                  <a:cubicBezTo>
                    <a:pt x="85" y="76"/>
                    <a:pt x="85" y="74"/>
                    <a:pt x="85" y="70"/>
                  </a:cubicBezTo>
                  <a:cubicBezTo>
                    <a:pt x="85" y="70"/>
                    <a:pt x="85" y="69"/>
                    <a:pt x="85" y="68"/>
                  </a:cubicBezTo>
                  <a:cubicBezTo>
                    <a:pt x="85" y="67"/>
                    <a:pt x="86" y="65"/>
                    <a:pt x="86" y="64"/>
                  </a:cubicBezTo>
                  <a:cubicBezTo>
                    <a:pt x="87" y="63"/>
                    <a:pt x="87" y="63"/>
                    <a:pt x="86" y="62"/>
                  </a:cubicBezTo>
                  <a:cubicBezTo>
                    <a:pt x="86" y="62"/>
                    <a:pt x="85" y="61"/>
                    <a:pt x="85" y="61"/>
                  </a:cubicBezTo>
                  <a:cubicBezTo>
                    <a:pt x="84" y="60"/>
                    <a:pt x="84" y="60"/>
                    <a:pt x="84" y="60"/>
                  </a:cubicBezTo>
                  <a:cubicBezTo>
                    <a:pt x="83" y="59"/>
                    <a:pt x="81" y="57"/>
                    <a:pt x="80" y="56"/>
                  </a:cubicBezTo>
                  <a:cubicBezTo>
                    <a:pt x="78" y="53"/>
                    <a:pt x="78" y="53"/>
                    <a:pt x="78" y="53"/>
                  </a:cubicBezTo>
                  <a:cubicBezTo>
                    <a:pt x="81" y="51"/>
                    <a:pt x="81" y="51"/>
                    <a:pt x="81" y="51"/>
                  </a:cubicBezTo>
                  <a:cubicBezTo>
                    <a:pt x="81" y="51"/>
                    <a:pt x="82" y="51"/>
                    <a:pt x="82" y="50"/>
                  </a:cubicBezTo>
                  <a:cubicBezTo>
                    <a:pt x="82" y="50"/>
                    <a:pt x="82" y="49"/>
                    <a:pt x="82" y="49"/>
                  </a:cubicBezTo>
                  <a:cubicBezTo>
                    <a:pt x="81" y="48"/>
                    <a:pt x="81" y="47"/>
                    <a:pt x="81" y="46"/>
                  </a:cubicBezTo>
                  <a:cubicBezTo>
                    <a:pt x="80" y="41"/>
                    <a:pt x="80" y="41"/>
                    <a:pt x="80" y="41"/>
                  </a:cubicBezTo>
                  <a:cubicBezTo>
                    <a:pt x="79" y="41"/>
                    <a:pt x="78" y="41"/>
                    <a:pt x="78" y="41"/>
                  </a:cubicBezTo>
                  <a:cubicBezTo>
                    <a:pt x="77" y="40"/>
                    <a:pt x="76" y="39"/>
                    <a:pt x="76" y="37"/>
                  </a:cubicBezTo>
                  <a:cubicBezTo>
                    <a:pt x="76" y="36"/>
                    <a:pt x="76" y="35"/>
                    <a:pt x="77" y="35"/>
                  </a:cubicBezTo>
                  <a:cubicBezTo>
                    <a:pt x="76" y="32"/>
                    <a:pt x="77" y="30"/>
                    <a:pt x="78" y="28"/>
                  </a:cubicBezTo>
                  <a:cubicBezTo>
                    <a:pt x="78" y="27"/>
                    <a:pt x="78" y="27"/>
                    <a:pt x="79" y="26"/>
                  </a:cubicBezTo>
                  <a:cubicBezTo>
                    <a:pt x="80" y="22"/>
                    <a:pt x="80" y="20"/>
                    <a:pt x="79" y="18"/>
                  </a:cubicBezTo>
                  <a:cubicBezTo>
                    <a:pt x="72" y="12"/>
                    <a:pt x="72" y="12"/>
                    <a:pt x="72" y="12"/>
                  </a:cubicBezTo>
                  <a:cubicBezTo>
                    <a:pt x="67" y="8"/>
                    <a:pt x="69" y="5"/>
                    <a:pt x="70" y="2"/>
                  </a:cubicBezTo>
                  <a:cubicBezTo>
                    <a:pt x="70" y="1"/>
                    <a:pt x="70" y="1"/>
                    <a:pt x="70" y="1"/>
                  </a:cubicBezTo>
                  <a:cubicBezTo>
                    <a:pt x="70" y="1"/>
                    <a:pt x="70" y="1"/>
                    <a:pt x="70" y="1"/>
                  </a:cubicBezTo>
                  <a:cubicBezTo>
                    <a:pt x="69" y="0"/>
                    <a:pt x="69"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38"/>
            <p:cNvSpPr/>
            <p:nvPr/>
          </p:nvSpPr>
          <p:spPr bwMode="auto">
            <a:xfrm>
              <a:off x="3209" y="2287"/>
              <a:ext cx="5" cy="5"/>
            </a:xfrm>
            <a:custGeom>
              <a:gdLst>
                <a:gd name="T0" fmla="*/ 1 w 2"/>
                <a:gd name="T1" fmla="*/ 0 h 2"/>
                <a:gd name="T2" fmla="*/ 0 w 2"/>
                <a:gd name="T3" fmla="*/ 0 h 2"/>
                <a:gd name="T4" fmla="*/ 0 w 2"/>
                <a:gd name="T5" fmla="*/ 0 h 2"/>
                <a:gd name="T6" fmla="*/ 1 w 2"/>
                <a:gd name="T7" fmla="*/ 2 h 2"/>
                <a:gd name="T8" fmla="*/ 1 w 2"/>
                <a:gd name="T9" fmla="*/ 2 h 2"/>
                <a:gd name="T10" fmla="*/ 2 w 2"/>
                <a:gd name="T11" fmla="*/ 2 h 2"/>
                <a:gd name="T12" fmla="*/ 2 w 2"/>
                <a:gd name="T13" fmla="*/ 0 h 2"/>
                <a:gd name="T14" fmla="*/ 1 w 2"/>
                <a:gd name="T15" fmla="*/ 0 h 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0" y="0"/>
                  </a:cubicBezTo>
                  <a:cubicBezTo>
                    <a:pt x="0" y="0"/>
                    <a:pt x="0" y="0"/>
                    <a:pt x="0" y="0"/>
                  </a:cubicBezTo>
                  <a:cubicBezTo>
                    <a:pt x="0" y="1"/>
                    <a:pt x="0" y="1"/>
                    <a:pt x="1" y="2"/>
                  </a:cubicBezTo>
                  <a:cubicBezTo>
                    <a:pt x="1" y="2"/>
                    <a:pt x="1" y="2"/>
                    <a:pt x="1" y="2"/>
                  </a:cubicBezTo>
                  <a:cubicBezTo>
                    <a:pt x="2" y="2"/>
                    <a:pt x="2" y="2"/>
                    <a:pt x="2" y="2"/>
                  </a:cubicBezTo>
                  <a:cubicBezTo>
                    <a:pt x="2"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239"/>
            <p:cNvSpPr>
              <a:spLocks noEditPoints="1"/>
            </p:cNvSpPr>
            <p:nvPr/>
          </p:nvSpPr>
          <p:spPr bwMode="auto">
            <a:xfrm>
              <a:off x="3193" y="2166"/>
              <a:ext cx="324" cy="343"/>
            </a:xfrm>
            <a:custGeom>
              <a:gdLst>
                <a:gd name="T0" fmla="*/ 77 w 137"/>
                <a:gd name="T1" fmla="*/ 127 h 145"/>
                <a:gd name="T2" fmla="*/ 79 w 137"/>
                <a:gd name="T3" fmla="*/ 126 h 145"/>
                <a:gd name="T4" fmla="*/ 110 w 137"/>
                <a:gd name="T5" fmla="*/ 124 h 145"/>
                <a:gd name="T6" fmla="*/ 110 w 137"/>
                <a:gd name="T7" fmla="*/ 124 h 145"/>
                <a:gd name="T8" fmla="*/ 42 w 137"/>
                <a:gd name="T9" fmla="*/ 7 h 145"/>
                <a:gd name="T10" fmla="*/ 37 w 137"/>
                <a:gd name="T11" fmla="*/ 7 h 145"/>
                <a:gd name="T12" fmla="*/ 35 w 137"/>
                <a:gd name="T13" fmla="*/ 10 h 145"/>
                <a:gd name="T14" fmla="*/ 28 w 137"/>
                <a:gd name="T15" fmla="*/ 10 h 145"/>
                <a:gd name="T16" fmla="*/ 19 w 137"/>
                <a:gd name="T17" fmla="*/ 5 h 145"/>
                <a:gd name="T18" fmla="*/ 18 w 137"/>
                <a:gd name="T19" fmla="*/ 7 h 145"/>
                <a:gd name="T20" fmla="*/ 10 w 137"/>
                <a:gd name="T21" fmla="*/ 13 h 145"/>
                <a:gd name="T22" fmla="*/ 11 w 137"/>
                <a:gd name="T23" fmla="*/ 24 h 145"/>
                <a:gd name="T24" fmla="*/ 14 w 137"/>
                <a:gd name="T25" fmla="*/ 23 h 145"/>
                <a:gd name="T26" fmla="*/ 17 w 137"/>
                <a:gd name="T27" fmla="*/ 38 h 145"/>
                <a:gd name="T28" fmla="*/ 21 w 137"/>
                <a:gd name="T29" fmla="*/ 50 h 145"/>
                <a:gd name="T30" fmla="*/ 16 w 137"/>
                <a:gd name="T31" fmla="*/ 54 h 145"/>
                <a:gd name="T32" fmla="*/ 12 w 137"/>
                <a:gd name="T33" fmla="*/ 52 h 145"/>
                <a:gd name="T34" fmla="*/ 10 w 137"/>
                <a:gd name="T35" fmla="*/ 52 h 145"/>
                <a:gd name="T36" fmla="*/ 17 w 137"/>
                <a:gd name="T37" fmla="*/ 65 h 145"/>
                <a:gd name="T38" fmla="*/ 5 w 137"/>
                <a:gd name="T39" fmla="*/ 73 h 145"/>
                <a:gd name="T40" fmla="*/ 4 w 137"/>
                <a:gd name="T41" fmla="*/ 75 h 145"/>
                <a:gd name="T42" fmla="*/ 6 w 137"/>
                <a:gd name="T43" fmla="*/ 81 h 145"/>
                <a:gd name="T44" fmla="*/ 6 w 137"/>
                <a:gd name="T45" fmla="*/ 85 h 145"/>
                <a:gd name="T46" fmla="*/ 5 w 137"/>
                <a:gd name="T47" fmla="*/ 88 h 145"/>
                <a:gd name="T48" fmla="*/ 3 w 137"/>
                <a:gd name="T49" fmla="*/ 92 h 145"/>
                <a:gd name="T50" fmla="*/ 5 w 137"/>
                <a:gd name="T51" fmla="*/ 97 h 145"/>
                <a:gd name="T52" fmla="*/ 10 w 137"/>
                <a:gd name="T53" fmla="*/ 97 h 145"/>
                <a:gd name="T54" fmla="*/ 27 w 137"/>
                <a:gd name="T55" fmla="*/ 116 h 145"/>
                <a:gd name="T56" fmla="*/ 24 w 137"/>
                <a:gd name="T57" fmla="*/ 144 h 145"/>
                <a:gd name="T58" fmla="*/ 63 w 137"/>
                <a:gd name="T59" fmla="*/ 130 h 145"/>
                <a:gd name="T60" fmla="*/ 104 w 137"/>
                <a:gd name="T61" fmla="*/ 125 h 145"/>
                <a:gd name="T62" fmla="*/ 85 w 137"/>
                <a:gd name="T63" fmla="*/ 126 h 145"/>
                <a:gd name="T64" fmla="*/ 101 w 137"/>
                <a:gd name="T65" fmla="*/ 124 h 145"/>
                <a:gd name="T66" fmla="*/ 104 w 137"/>
                <a:gd name="T67" fmla="*/ 125 h 145"/>
                <a:gd name="T68" fmla="*/ 121 w 137"/>
                <a:gd name="T69" fmla="*/ 128 h 145"/>
                <a:gd name="T70" fmla="*/ 124 w 137"/>
                <a:gd name="T71" fmla="*/ 127 h 145"/>
                <a:gd name="T72" fmla="*/ 131 w 137"/>
                <a:gd name="T73" fmla="*/ 125 h 145"/>
                <a:gd name="T74" fmla="*/ 127 w 137"/>
                <a:gd name="T75" fmla="*/ 117 h 145"/>
                <a:gd name="T76" fmla="*/ 120 w 137"/>
                <a:gd name="T77" fmla="*/ 95 h 145"/>
                <a:gd name="T78" fmla="*/ 126 w 137"/>
                <a:gd name="T79" fmla="*/ 73 h 145"/>
                <a:gd name="T80" fmla="*/ 131 w 137"/>
                <a:gd name="T81" fmla="*/ 61 h 145"/>
                <a:gd name="T82" fmla="*/ 134 w 137"/>
                <a:gd name="T83" fmla="*/ 42 h 145"/>
                <a:gd name="T84" fmla="*/ 131 w 137"/>
                <a:gd name="T85" fmla="*/ 37 h 145"/>
                <a:gd name="T86" fmla="*/ 131 w 137"/>
                <a:gd name="T87" fmla="*/ 31 h 145"/>
                <a:gd name="T88" fmla="*/ 128 w 137"/>
                <a:gd name="T89" fmla="*/ 25 h 145"/>
                <a:gd name="T90" fmla="*/ 121 w 137"/>
                <a:gd name="T91" fmla="*/ 17 h 145"/>
                <a:gd name="T92" fmla="*/ 116 w 137"/>
                <a:gd name="T93" fmla="*/ 17 h 145"/>
                <a:gd name="T94" fmla="*/ 99 w 137"/>
                <a:gd name="T95" fmla="*/ 23 h 145"/>
                <a:gd name="T96" fmla="*/ 95 w 137"/>
                <a:gd name="T97" fmla="*/ 25 h 145"/>
                <a:gd name="T98" fmla="*/ 77 w 137"/>
                <a:gd name="T99" fmla="*/ 12 h 145"/>
                <a:gd name="T100" fmla="*/ 74 w 137"/>
                <a:gd name="T101" fmla="*/ 8 h 145"/>
                <a:gd name="T102" fmla="*/ 63 w 137"/>
                <a:gd name="T103" fmla="*/ 6 h 145"/>
                <a:gd name="T104" fmla="*/ 51 w 137"/>
                <a:gd name="T105" fmla="*/ 9 h 1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45">
                  <a:moveTo>
                    <a:pt x="77" y="127"/>
                  </a:moveTo>
                  <a:cubicBezTo>
                    <a:pt x="77" y="127"/>
                    <a:pt x="76" y="127"/>
                    <a:pt x="76" y="127"/>
                  </a:cubicBezTo>
                  <a:cubicBezTo>
                    <a:pt x="76" y="127"/>
                    <a:pt x="77" y="127"/>
                    <a:pt x="77" y="127"/>
                  </a:cubicBezTo>
                  <a:moveTo>
                    <a:pt x="77" y="127"/>
                  </a:moveTo>
                  <a:cubicBezTo>
                    <a:pt x="77" y="127"/>
                    <a:pt x="77" y="127"/>
                    <a:pt x="78" y="127"/>
                  </a:cubicBezTo>
                  <a:cubicBezTo>
                    <a:pt x="77" y="127"/>
                    <a:pt x="77" y="127"/>
                    <a:pt x="77" y="127"/>
                  </a:cubicBezTo>
                  <a:cubicBezTo>
                    <a:pt x="77" y="127"/>
                    <a:pt x="77" y="127"/>
                    <a:pt x="77" y="127"/>
                  </a:cubicBezTo>
                  <a:moveTo>
                    <a:pt x="79" y="126"/>
                  </a:moveTo>
                  <a:cubicBezTo>
                    <a:pt x="79" y="126"/>
                    <a:pt x="79" y="126"/>
                    <a:pt x="79" y="126"/>
                  </a:cubicBezTo>
                  <a:moveTo>
                    <a:pt x="109" y="124"/>
                  </a:moveTo>
                  <a:cubicBezTo>
                    <a:pt x="110" y="124"/>
                    <a:pt x="110" y="124"/>
                    <a:pt x="110" y="124"/>
                  </a:cubicBezTo>
                  <a:cubicBezTo>
                    <a:pt x="110" y="124"/>
                    <a:pt x="110" y="124"/>
                    <a:pt x="110" y="124"/>
                  </a:cubicBezTo>
                  <a:cubicBezTo>
                    <a:pt x="109" y="124"/>
                    <a:pt x="109" y="124"/>
                    <a:pt x="109" y="124"/>
                  </a:cubicBezTo>
                  <a:moveTo>
                    <a:pt x="110" y="124"/>
                  </a:moveTo>
                  <a:cubicBezTo>
                    <a:pt x="110" y="123"/>
                    <a:pt x="109" y="122"/>
                    <a:pt x="109" y="122"/>
                  </a:cubicBezTo>
                  <a:cubicBezTo>
                    <a:pt x="109" y="122"/>
                    <a:pt x="110" y="123"/>
                    <a:pt x="110" y="124"/>
                  </a:cubicBezTo>
                  <a:moveTo>
                    <a:pt x="44" y="0"/>
                  </a:moveTo>
                  <a:cubicBezTo>
                    <a:pt x="44" y="1"/>
                    <a:pt x="44" y="2"/>
                    <a:pt x="44" y="2"/>
                  </a:cubicBezTo>
                  <a:cubicBezTo>
                    <a:pt x="45" y="7"/>
                    <a:pt x="45" y="7"/>
                    <a:pt x="45" y="7"/>
                  </a:cubicBezTo>
                  <a:cubicBezTo>
                    <a:pt x="42" y="7"/>
                    <a:pt x="42" y="7"/>
                    <a:pt x="42" y="7"/>
                  </a:cubicBezTo>
                  <a:cubicBezTo>
                    <a:pt x="41" y="7"/>
                    <a:pt x="40" y="7"/>
                    <a:pt x="40" y="7"/>
                  </a:cubicBezTo>
                  <a:cubicBezTo>
                    <a:pt x="39" y="7"/>
                    <a:pt x="39" y="7"/>
                    <a:pt x="39" y="7"/>
                  </a:cubicBezTo>
                  <a:cubicBezTo>
                    <a:pt x="39" y="7"/>
                    <a:pt x="38" y="7"/>
                    <a:pt x="38" y="7"/>
                  </a:cubicBezTo>
                  <a:cubicBezTo>
                    <a:pt x="37" y="7"/>
                    <a:pt x="37" y="7"/>
                    <a:pt x="37" y="7"/>
                  </a:cubicBezTo>
                  <a:cubicBezTo>
                    <a:pt x="37" y="7"/>
                    <a:pt x="37" y="7"/>
                    <a:pt x="37" y="7"/>
                  </a:cubicBezTo>
                  <a:cubicBezTo>
                    <a:pt x="36" y="7"/>
                    <a:pt x="36" y="7"/>
                    <a:pt x="36" y="7"/>
                  </a:cubicBezTo>
                  <a:cubicBezTo>
                    <a:pt x="36" y="8"/>
                    <a:pt x="36" y="8"/>
                    <a:pt x="36" y="8"/>
                  </a:cubicBezTo>
                  <a:cubicBezTo>
                    <a:pt x="36" y="9"/>
                    <a:pt x="36" y="10"/>
                    <a:pt x="35" y="10"/>
                  </a:cubicBezTo>
                  <a:cubicBezTo>
                    <a:pt x="33" y="15"/>
                    <a:pt x="33" y="15"/>
                    <a:pt x="33" y="15"/>
                  </a:cubicBezTo>
                  <a:cubicBezTo>
                    <a:pt x="30" y="10"/>
                    <a:pt x="30" y="10"/>
                    <a:pt x="30" y="10"/>
                  </a:cubicBezTo>
                  <a:cubicBezTo>
                    <a:pt x="29" y="10"/>
                    <a:pt x="29" y="10"/>
                    <a:pt x="29" y="10"/>
                  </a:cubicBezTo>
                  <a:cubicBezTo>
                    <a:pt x="29" y="10"/>
                    <a:pt x="29" y="10"/>
                    <a:pt x="28" y="10"/>
                  </a:cubicBezTo>
                  <a:cubicBezTo>
                    <a:pt x="27" y="10"/>
                    <a:pt x="26" y="10"/>
                    <a:pt x="24" y="9"/>
                  </a:cubicBezTo>
                  <a:cubicBezTo>
                    <a:pt x="24" y="9"/>
                    <a:pt x="23" y="8"/>
                    <a:pt x="23" y="7"/>
                  </a:cubicBezTo>
                  <a:cubicBezTo>
                    <a:pt x="22" y="7"/>
                    <a:pt x="22" y="7"/>
                    <a:pt x="22" y="7"/>
                  </a:cubicBezTo>
                  <a:cubicBezTo>
                    <a:pt x="21" y="6"/>
                    <a:pt x="20" y="5"/>
                    <a:pt x="19" y="5"/>
                  </a:cubicBezTo>
                  <a:cubicBezTo>
                    <a:pt x="19" y="5"/>
                    <a:pt x="19" y="5"/>
                    <a:pt x="19" y="5"/>
                  </a:cubicBezTo>
                  <a:cubicBezTo>
                    <a:pt x="19" y="5"/>
                    <a:pt x="19" y="5"/>
                    <a:pt x="19" y="5"/>
                  </a:cubicBezTo>
                  <a:cubicBezTo>
                    <a:pt x="19" y="7"/>
                    <a:pt x="19" y="7"/>
                    <a:pt x="19" y="7"/>
                  </a:cubicBezTo>
                  <a:cubicBezTo>
                    <a:pt x="18" y="7"/>
                    <a:pt x="18" y="7"/>
                    <a:pt x="18" y="7"/>
                  </a:cubicBezTo>
                  <a:cubicBezTo>
                    <a:pt x="18" y="7"/>
                    <a:pt x="18" y="7"/>
                    <a:pt x="18" y="7"/>
                  </a:cubicBezTo>
                  <a:cubicBezTo>
                    <a:pt x="17" y="8"/>
                    <a:pt x="17" y="8"/>
                    <a:pt x="17" y="8"/>
                  </a:cubicBezTo>
                  <a:cubicBezTo>
                    <a:pt x="14" y="10"/>
                    <a:pt x="14" y="10"/>
                    <a:pt x="14" y="10"/>
                  </a:cubicBezTo>
                  <a:cubicBezTo>
                    <a:pt x="12" y="11"/>
                    <a:pt x="11" y="12"/>
                    <a:pt x="10" y="13"/>
                  </a:cubicBezTo>
                  <a:cubicBezTo>
                    <a:pt x="10" y="13"/>
                    <a:pt x="10" y="13"/>
                    <a:pt x="10" y="14"/>
                  </a:cubicBezTo>
                  <a:cubicBezTo>
                    <a:pt x="9" y="15"/>
                    <a:pt x="9" y="17"/>
                    <a:pt x="9" y="19"/>
                  </a:cubicBezTo>
                  <a:cubicBezTo>
                    <a:pt x="9" y="20"/>
                    <a:pt x="9" y="20"/>
                    <a:pt x="9" y="20"/>
                  </a:cubicBezTo>
                  <a:cubicBezTo>
                    <a:pt x="10" y="21"/>
                    <a:pt x="10" y="23"/>
                    <a:pt x="11" y="24"/>
                  </a:cubicBezTo>
                  <a:cubicBezTo>
                    <a:pt x="11" y="24"/>
                    <a:pt x="11" y="24"/>
                    <a:pt x="11" y="24"/>
                  </a:cubicBezTo>
                  <a:cubicBezTo>
                    <a:pt x="11" y="24"/>
                    <a:pt x="12" y="24"/>
                    <a:pt x="12" y="24"/>
                  </a:cubicBezTo>
                  <a:cubicBezTo>
                    <a:pt x="12" y="24"/>
                    <a:pt x="13" y="23"/>
                    <a:pt x="13" y="23"/>
                  </a:cubicBezTo>
                  <a:cubicBezTo>
                    <a:pt x="13" y="23"/>
                    <a:pt x="14" y="23"/>
                    <a:pt x="14" y="23"/>
                  </a:cubicBezTo>
                  <a:cubicBezTo>
                    <a:pt x="17" y="24"/>
                    <a:pt x="17" y="24"/>
                    <a:pt x="17" y="24"/>
                  </a:cubicBezTo>
                  <a:cubicBezTo>
                    <a:pt x="17" y="26"/>
                    <a:pt x="17" y="26"/>
                    <a:pt x="17" y="26"/>
                  </a:cubicBezTo>
                  <a:cubicBezTo>
                    <a:pt x="17" y="27"/>
                    <a:pt x="17" y="28"/>
                    <a:pt x="17" y="29"/>
                  </a:cubicBezTo>
                  <a:cubicBezTo>
                    <a:pt x="18" y="31"/>
                    <a:pt x="20" y="35"/>
                    <a:pt x="17" y="38"/>
                  </a:cubicBezTo>
                  <a:cubicBezTo>
                    <a:pt x="17" y="38"/>
                    <a:pt x="16" y="39"/>
                    <a:pt x="16" y="39"/>
                  </a:cubicBezTo>
                  <a:cubicBezTo>
                    <a:pt x="16" y="40"/>
                    <a:pt x="16" y="40"/>
                    <a:pt x="16" y="40"/>
                  </a:cubicBezTo>
                  <a:cubicBezTo>
                    <a:pt x="16" y="40"/>
                    <a:pt x="16" y="40"/>
                    <a:pt x="16" y="40"/>
                  </a:cubicBezTo>
                  <a:cubicBezTo>
                    <a:pt x="18" y="42"/>
                    <a:pt x="20" y="45"/>
                    <a:pt x="21" y="50"/>
                  </a:cubicBezTo>
                  <a:cubicBezTo>
                    <a:pt x="22" y="52"/>
                    <a:pt x="22" y="52"/>
                    <a:pt x="22" y="52"/>
                  </a:cubicBezTo>
                  <a:cubicBezTo>
                    <a:pt x="19" y="54"/>
                    <a:pt x="19" y="54"/>
                    <a:pt x="19" y="54"/>
                  </a:cubicBezTo>
                  <a:cubicBezTo>
                    <a:pt x="19" y="54"/>
                    <a:pt x="18" y="54"/>
                    <a:pt x="17" y="54"/>
                  </a:cubicBezTo>
                  <a:cubicBezTo>
                    <a:pt x="17" y="54"/>
                    <a:pt x="16" y="54"/>
                    <a:pt x="16" y="54"/>
                  </a:cubicBezTo>
                  <a:cubicBezTo>
                    <a:pt x="15" y="54"/>
                    <a:pt x="15" y="54"/>
                    <a:pt x="15" y="54"/>
                  </a:cubicBezTo>
                  <a:cubicBezTo>
                    <a:pt x="14" y="53"/>
                    <a:pt x="14" y="53"/>
                    <a:pt x="14" y="53"/>
                  </a:cubicBezTo>
                  <a:cubicBezTo>
                    <a:pt x="13" y="52"/>
                    <a:pt x="13" y="52"/>
                    <a:pt x="13" y="52"/>
                  </a:cubicBezTo>
                  <a:cubicBezTo>
                    <a:pt x="12" y="52"/>
                    <a:pt x="12" y="52"/>
                    <a:pt x="12" y="52"/>
                  </a:cubicBezTo>
                  <a:cubicBezTo>
                    <a:pt x="11" y="52"/>
                    <a:pt x="11" y="52"/>
                    <a:pt x="11" y="52"/>
                  </a:cubicBezTo>
                  <a:cubicBezTo>
                    <a:pt x="11" y="52"/>
                    <a:pt x="11" y="51"/>
                    <a:pt x="10" y="51"/>
                  </a:cubicBezTo>
                  <a:cubicBezTo>
                    <a:pt x="10" y="51"/>
                    <a:pt x="10" y="51"/>
                    <a:pt x="10" y="51"/>
                  </a:cubicBezTo>
                  <a:cubicBezTo>
                    <a:pt x="10" y="52"/>
                    <a:pt x="10" y="52"/>
                    <a:pt x="10" y="52"/>
                  </a:cubicBezTo>
                  <a:cubicBezTo>
                    <a:pt x="10" y="52"/>
                    <a:pt x="10" y="52"/>
                    <a:pt x="10" y="52"/>
                  </a:cubicBezTo>
                  <a:cubicBezTo>
                    <a:pt x="12" y="54"/>
                    <a:pt x="12" y="54"/>
                    <a:pt x="12" y="54"/>
                  </a:cubicBezTo>
                  <a:cubicBezTo>
                    <a:pt x="12" y="55"/>
                    <a:pt x="13" y="56"/>
                    <a:pt x="13" y="57"/>
                  </a:cubicBezTo>
                  <a:cubicBezTo>
                    <a:pt x="17" y="65"/>
                    <a:pt x="17" y="65"/>
                    <a:pt x="17" y="65"/>
                  </a:cubicBezTo>
                  <a:cubicBezTo>
                    <a:pt x="11" y="63"/>
                    <a:pt x="11" y="63"/>
                    <a:pt x="11" y="63"/>
                  </a:cubicBezTo>
                  <a:cubicBezTo>
                    <a:pt x="11" y="67"/>
                    <a:pt x="9" y="72"/>
                    <a:pt x="6" y="73"/>
                  </a:cubicBezTo>
                  <a:cubicBezTo>
                    <a:pt x="5" y="73"/>
                    <a:pt x="5" y="73"/>
                    <a:pt x="5" y="73"/>
                  </a:cubicBezTo>
                  <a:cubicBezTo>
                    <a:pt x="5" y="73"/>
                    <a:pt x="5" y="73"/>
                    <a:pt x="5" y="73"/>
                  </a:cubicBezTo>
                  <a:cubicBezTo>
                    <a:pt x="5" y="74"/>
                    <a:pt x="5" y="74"/>
                    <a:pt x="4" y="74"/>
                  </a:cubicBezTo>
                  <a:cubicBezTo>
                    <a:pt x="3" y="74"/>
                    <a:pt x="3" y="74"/>
                    <a:pt x="3" y="74"/>
                  </a:cubicBezTo>
                  <a:cubicBezTo>
                    <a:pt x="4" y="74"/>
                    <a:pt x="4" y="75"/>
                    <a:pt x="4" y="75"/>
                  </a:cubicBezTo>
                  <a:cubicBezTo>
                    <a:pt x="4" y="75"/>
                    <a:pt x="4" y="75"/>
                    <a:pt x="4" y="75"/>
                  </a:cubicBezTo>
                  <a:cubicBezTo>
                    <a:pt x="4" y="76"/>
                    <a:pt x="5" y="77"/>
                    <a:pt x="5" y="78"/>
                  </a:cubicBezTo>
                  <a:cubicBezTo>
                    <a:pt x="5" y="79"/>
                    <a:pt x="5" y="79"/>
                    <a:pt x="5" y="79"/>
                  </a:cubicBezTo>
                  <a:cubicBezTo>
                    <a:pt x="5" y="80"/>
                    <a:pt x="5" y="80"/>
                    <a:pt x="5" y="80"/>
                  </a:cubicBezTo>
                  <a:cubicBezTo>
                    <a:pt x="6" y="81"/>
                    <a:pt x="6" y="81"/>
                    <a:pt x="6" y="81"/>
                  </a:cubicBezTo>
                  <a:cubicBezTo>
                    <a:pt x="6" y="82"/>
                    <a:pt x="6" y="82"/>
                    <a:pt x="6" y="82"/>
                  </a:cubicBezTo>
                  <a:cubicBezTo>
                    <a:pt x="6" y="83"/>
                    <a:pt x="6" y="83"/>
                    <a:pt x="6" y="83"/>
                  </a:cubicBezTo>
                  <a:cubicBezTo>
                    <a:pt x="6" y="84"/>
                    <a:pt x="6" y="84"/>
                    <a:pt x="6" y="84"/>
                  </a:cubicBezTo>
                  <a:cubicBezTo>
                    <a:pt x="6" y="85"/>
                    <a:pt x="6" y="85"/>
                    <a:pt x="6" y="85"/>
                  </a:cubicBezTo>
                  <a:cubicBezTo>
                    <a:pt x="5" y="86"/>
                    <a:pt x="5" y="86"/>
                    <a:pt x="5" y="86"/>
                  </a:cubicBezTo>
                  <a:cubicBezTo>
                    <a:pt x="5" y="86"/>
                    <a:pt x="5" y="86"/>
                    <a:pt x="5" y="86"/>
                  </a:cubicBezTo>
                  <a:cubicBezTo>
                    <a:pt x="5" y="87"/>
                    <a:pt x="5" y="87"/>
                    <a:pt x="5" y="87"/>
                  </a:cubicBezTo>
                  <a:cubicBezTo>
                    <a:pt x="5" y="87"/>
                    <a:pt x="5" y="88"/>
                    <a:pt x="5" y="88"/>
                  </a:cubicBezTo>
                  <a:cubicBezTo>
                    <a:pt x="4" y="89"/>
                    <a:pt x="4" y="89"/>
                    <a:pt x="4" y="89"/>
                  </a:cubicBezTo>
                  <a:cubicBezTo>
                    <a:pt x="4" y="90"/>
                    <a:pt x="4" y="90"/>
                    <a:pt x="4" y="90"/>
                  </a:cubicBezTo>
                  <a:cubicBezTo>
                    <a:pt x="4" y="91"/>
                    <a:pt x="3" y="91"/>
                    <a:pt x="3" y="92"/>
                  </a:cubicBezTo>
                  <a:cubicBezTo>
                    <a:pt x="3" y="92"/>
                    <a:pt x="3" y="92"/>
                    <a:pt x="3" y="92"/>
                  </a:cubicBezTo>
                  <a:cubicBezTo>
                    <a:pt x="2" y="93"/>
                    <a:pt x="2" y="93"/>
                    <a:pt x="2" y="93"/>
                  </a:cubicBezTo>
                  <a:cubicBezTo>
                    <a:pt x="2" y="93"/>
                    <a:pt x="1" y="94"/>
                    <a:pt x="0" y="95"/>
                  </a:cubicBezTo>
                  <a:cubicBezTo>
                    <a:pt x="2" y="96"/>
                    <a:pt x="3" y="96"/>
                    <a:pt x="4" y="97"/>
                  </a:cubicBezTo>
                  <a:cubicBezTo>
                    <a:pt x="5" y="97"/>
                    <a:pt x="5" y="97"/>
                    <a:pt x="5" y="97"/>
                  </a:cubicBezTo>
                  <a:cubicBezTo>
                    <a:pt x="5" y="97"/>
                    <a:pt x="6" y="97"/>
                    <a:pt x="6" y="97"/>
                  </a:cubicBezTo>
                  <a:cubicBezTo>
                    <a:pt x="6" y="97"/>
                    <a:pt x="7" y="97"/>
                    <a:pt x="7" y="97"/>
                  </a:cubicBezTo>
                  <a:cubicBezTo>
                    <a:pt x="7" y="97"/>
                    <a:pt x="8" y="97"/>
                    <a:pt x="8" y="97"/>
                  </a:cubicBezTo>
                  <a:cubicBezTo>
                    <a:pt x="8" y="97"/>
                    <a:pt x="9" y="97"/>
                    <a:pt x="10" y="97"/>
                  </a:cubicBezTo>
                  <a:cubicBezTo>
                    <a:pt x="13" y="98"/>
                    <a:pt x="15" y="99"/>
                    <a:pt x="17" y="101"/>
                  </a:cubicBezTo>
                  <a:cubicBezTo>
                    <a:pt x="20" y="103"/>
                    <a:pt x="20" y="103"/>
                    <a:pt x="20" y="103"/>
                  </a:cubicBezTo>
                  <a:cubicBezTo>
                    <a:pt x="20" y="104"/>
                    <a:pt x="21" y="105"/>
                    <a:pt x="22" y="105"/>
                  </a:cubicBezTo>
                  <a:cubicBezTo>
                    <a:pt x="25" y="108"/>
                    <a:pt x="27" y="112"/>
                    <a:pt x="27" y="116"/>
                  </a:cubicBezTo>
                  <a:cubicBezTo>
                    <a:pt x="28" y="123"/>
                    <a:pt x="25" y="129"/>
                    <a:pt x="23" y="135"/>
                  </a:cubicBezTo>
                  <a:cubicBezTo>
                    <a:pt x="22" y="136"/>
                    <a:pt x="22" y="136"/>
                    <a:pt x="22" y="136"/>
                  </a:cubicBezTo>
                  <a:cubicBezTo>
                    <a:pt x="22" y="136"/>
                    <a:pt x="22" y="138"/>
                    <a:pt x="24" y="143"/>
                  </a:cubicBezTo>
                  <a:cubicBezTo>
                    <a:pt x="24" y="144"/>
                    <a:pt x="24" y="144"/>
                    <a:pt x="24" y="144"/>
                  </a:cubicBezTo>
                  <a:cubicBezTo>
                    <a:pt x="24" y="144"/>
                    <a:pt x="24" y="145"/>
                    <a:pt x="24" y="145"/>
                  </a:cubicBezTo>
                  <a:cubicBezTo>
                    <a:pt x="25" y="144"/>
                    <a:pt x="27" y="144"/>
                    <a:pt x="27" y="143"/>
                  </a:cubicBezTo>
                  <a:cubicBezTo>
                    <a:pt x="33" y="140"/>
                    <a:pt x="41" y="138"/>
                    <a:pt x="47" y="135"/>
                  </a:cubicBezTo>
                  <a:cubicBezTo>
                    <a:pt x="52" y="133"/>
                    <a:pt x="57" y="131"/>
                    <a:pt x="63" y="130"/>
                  </a:cubicBezTo>
                  <a:cubicBezTo>
                    <a:pt x="68" y="129"/>
                    <a:pt x="74" y="129"/>
                    <a:pt x="80" y="128"/>
                  </a:cubicBezTo>
                  <a:cubicBezTo>
                    <a:pt x="80" y="127"/>
                    <a:pt x="80" y="127"/>
                    <a:pt x="80" y="127"/>
                  </a:cubicBezTo>
                  <a:cubicBezTo>
                    <a:pt x="83" y="127"/>
                    <a:pt x="85" y="127"/>
                    <a:pt x="88" y="127"/>
                  </a:cubicBezTo>
                  <a:cubicBezTo>
                    <a:pt x="94" y="127"/>
                    <a:pt x="99" y="126"/>
                    <a:pt x="104" y="125"/>
                  </a:cubicBezTo>
                  <a:cubicBezTo>
                    <a:pt x="103" y="124"/>
                    <a:pt x="102" y="124"/>
                    <a:pt x="101" y="124"/>
                  </a:cubicBezTo>
                  <a:cubicBezTo>
                    <a:pt x="99" y="124"/>
                    <a:pt x="96" y="125"/>
                    <a:pt x="94" y="125"/>
                  </a:cubicBezTo>
                  <a:cubicBezTo>
                    <a:pt x="91" y="126"/>
                    <a:pt x="89" y="127"/>
                    <a:pt x="87" y="127"/>
                  </a:cubicBezTo>
                  <a:cubicBezTo>
                    <a:pt x="86" y="127"/>
                    <a:pt x="86" y="127"/>
                    <a:pt x="85" y="126"/>
                  </a:cubicBezTo>
                  <a:cubicBezTo>
                    <a:pt x="89" y="125"/>
                    <a:pt x="93" y="124"/>
                    <a:pt x="97" y="124"/>
                  </a:cubicBezTo>
                  <a:cubicBezTo>
                    <a:pt x="97" y="124"/>
                    <a:pt x="97" y="124"/>
                    <a:pt x="98" y="124"/>
                  </a:cubicBezTo>
                  <a:cubicBezTo>
                    <a:pt x="98" y="124"/>
                    <a:pt x="98" y="124"/>
                    <a:pt x="98" y="124"/>
                  </a:cubicBezTo>
                  <a:cubicBezTo>
                    <a:pt x="99" y="124"/>
                    <a:pt x="100" y="124"/>
                    <a:pt x="101" y="124"/>
                  </a:cubicBezTo>
                  <a:cubicBezTo>
                    <a:pt x="102" y="124"/>
                    <a:pt x="103" y="124"/>
                    <a:pt x="104" y="124"/>
                  </a:cubicBezTo>
                  <a:cubicBezTo>
                    <a:pt x="106" y="124"/>
                    <a:pt x="109" y="124"/>
                    <a:pt x="109" y="125"/>
                  </a:cubicBezTo>
                  <a:cubicBezTo>
                    <a:pt x="108" y="125"/>
                    <a:pt x="106" y="125"/>
                    <a:pt x="105" y="125"/>
                  </a:cubicBezTo>
                  <a:cubicBezTo>
                    <a:pt x="104" y="125"/>
                    <a:pt x="104" y="125"/>
                    <a:pt x="104" y="125"/>
                  </a:cubicBezTo>
                  <a:cubicBezTo>
                    <a:pt x="106" y="126"/>
                    <a:pt x="107" y="126"/>
                    <a:pt x="109" y="126"/>
                  </a:cubicBezTo>
                  <a:cubicBezTo>
                    <a:pt x="111" y="126"/>
                    <a:pt x="116" y="128"/>
                    <a:pt x="119" y="128"/>
                  </a:cubicBezTo>
                  <a:cubicBezTo>
                    <a:pt x="120" y="128"/>
                    <a:pt x="121" y="128"/>
                    <a:pt x="121" y="127"/>
                  </a:cubicBezTo>
                  <a:cubicBezTo>
                    <a:pt x="121" y="128"/>
                    <a:pt x="121" y="128"/>
                    <a:pt x="121" y="128"/>
                  </a:cubicBezTo>
                  <a:cubicBezTo>
                    <a:pt x="121" y="128"/>
                    <a:pt x="121" y="126"/>
                    <a:pt x="121" y="126"/>
                  </a:cubicBezTo>
                  <a:cubicBezTo>
                    <a:pt x="121" y="125"/>
                    <a:pt x="122" y="123"/>
                    <a:pt x="123" y="123"/>
                  </a:cubicBezTo>
                  <a:cubicBezTo>
                    <a:pt x="123" y="123"/>
                    <a:pt x="124" y="123"/>
                    <a:pt x="124" y="124"/>
                  </a:cubicBezTo>
                  <a:cubicBezTo>
                    <a:pt x="125" y="124"/>
                    <a:pt x="124" y="126"/>
                    <a:pt x="124" y="127"/>
                  </a:cubicBezTo>
                  <a:cubicBezTo>
                    <a:pt x="125" y="125"/>
                    <a:pt x="125" y="125"/>
                    <a:pt x="125" y="125"/>
                  </a:cubicBezTo>
                  <a:cubicBezTo>
                    <a:pt x="126" y="125"/>
                    <a:pt x="126" y="125"/>
                    <a:pt x="126" y="125"/>
                  </a:cubicBezTo>
                  <a:cubicBezTo>
                    <a:pt x="127" y="125"/>
                    <a:pt x="128" y="125"/>
                    <a:pt x="129" y="125"/>
                  </a:cubicBezTo>
                  <a:cubicBezTo>
                    <a:pt x="130" y="125"/>
                    <a:pt x="130" y="125"/>
                    <a:pt x="131" y="125"/>
                  </a:cubicBezTo>
                  <a:cubicBezTo>
                    <a:pt x="131" y="125"/>
                    <a:pt x="131" y="124"/>
                    <a:pt x="131" y="123"/>
                  </a:cubicBezTo>
                  <a:cubicBezTo>
                    <a:pt x="131" y="123"/>
                    <a:pt x="131" y="122"/>
                    <a:pt x="131" y="122"/>
                  </a:cubicBezTo>
                  <a:cubicBezTo>
                    <a:pt x="130" y="121"/>
                    <a:pt x="129" y="120"/>
                    <a:pt x="128" y="119"/>
                  </a:cubicBezTo>
                  <a:cubicBezTo>
                    <a:pt x="128" y="118"/>
                    <a:pt x="127" y="118"/>
                    <a:pt x="127" y="117"/>
                  </a:cubicBezTo>
                  <a:cubicBezTo>
                    <a:pt x="127" y="117"/>
                    <a:pt x="126" y="116"/>
                    <a:pt x="126" y="115"/>
                  </a:cubicBezTo>
                  <a:cubicBezTo>
                    <a:pt x="125" y="115"/>
                    <a:pt x="125" y="114"/>
                    <a:pt x="125" y="114"/>
                  </a:cubicBezTo>
                  <a:cubicBezTo>
                    <a:pt x="124" y="113"/>
                    <a:pt x="124" y="113"/>
                    <a:pt x="124" y="113"/>
                  </a:cubicBezTo>
                  <a:cubicBezTo>
                    <a:pt x="122" y="107"/>
                    <a:pt x="121" y="101"/>
                    <a:pt x="120" y="95"/>
                  </a:cubicBezTo>
                  <a:cubicBezTo>
                    <a:pt x="120" y="92"/>
                    <a:pt x="120" y="92"/>
                    <a:pt x="120" y="92"/>
                  </a:cubicBezTo>
                  <a:cubicBezTo>
                    <a:pt x="119" y="87"/>
                    <a:pt x="122" y="82"/>
                    <a:pt x="124" y="78"/>
                  </a:cubicBezTo>
                  <a:cubicBezTo>
                    <a:pt x="124" y="77"/>
                    <a:pt x="124" y="77"/>
                    <a:pt x="124" y="77"/>
                  </a:cubicBezTo>
                  <a:cubicBezTo>
                    <a:pt x="125" y="75"/>
                    <a:pt x="125" y="74"/>
                    <a:pt x="126" y="73"/>
                  </a:cubicBezTo>
                  <a:cubicBezTo>
                    <a:pt x="126" y="72"/>
                    <a:pt x="126" y="71"/>
                    <a:pt x="126" y="71"/>
                  </a:cubicBezTo>
                  <a:cubicBezTo>
                    <a:pt x="126" y="70"/>
                    <a:pt x="126" y="70"/>
                    <a:pt x="126" y="70"/>
                  </a:cubicBezTo>
                  <a:cubicBezTo>
                    <a:pt x="127" y="68"/>
                    <a:pt x="128" y="66"/>
                    <a:pt x="129" y="64"/>
                  </a:cubicBezTo>
                  <a:cubicBezTo>
                    <a:pt x="130" y="63"/>
                    <a:pt x="131" y="62"/>
                    <a:pt x="131" y="61"/>
                  </a:cubicBezTo>
                  <a:cubicBezTo>
                    <a:pt x="133" y="59"/>
                    <a:pt x="133" y="59"/>
                    <a:pt x="133" y="59"/>
                  </a:cubicBezTo>
                  <a:cubicBezTo>
                    <a:pt x="134" y="58"/>
                    <a:pt x="134" y="58"/>
                    <a:pt x="135" y="57"/>
                  </a:cubicBezTo>
                  <a:cubicBezTo>
                    <a:pt x="137" y="54"/>
                    <a:pt x="137" y="53"/>
                    <a:pt x="136" y="50"/>
                  </a:cubicBezTo>
                  <a:cubicBezTo>
                    <a:pt x="135" y="46"/>
                    <a:pt x="135" y="44"/>
                    <a:pt x="134" y="42"/>
                  </a:cubicBezTo>
                  <a:cubicBezTo>
                    <a:pt x="134" y="42"/>
                    <a:pt x="134" y="42"/>
                    <a:pt x="134" y="42"/>
                  </a:cubicBezTo>
                  <a:cubicBezTo>
                    <a:pt x="133" y="41"/>
                    <a:pt x="133" y="40"/>
                    <a:pt x="133" y="40"/>
                  </a:cubicBezTo>
                  <a:cubicBezTo>
                    <a:pt x="132" y="39"/>
                    <a:pt x="132" y="39"/>
                    <a:pt x="132" y="39"/>
                  </a:cubicBezTo>
                  <a:cubicBezTo>
                    <a:pt x="132" y="38"/>
                    <a:pt x="131" y="38"/>
                    <a:pt x="131" y="37"/>
                  </a:cubicBezTo>
                  <a:cubicBezTo>
                    <a:pt x="131" y="36"/>
                    <a:pt x="131" y="36"/>
                    <a:pt x="131" y="35"/>
                  </a:cubicBezTo>
                  <a:cubicBezTo>
                    <a:pt x="130" y="34"/>
                    <a:pt x="130" y="34"/>
                    <a:pt x="130" y="34"/>
                  </a:cubicBezTo>
                  <a:cubicBezTo>
                    <a:pt x="130" y="33"/>
                    <a:pt x="130" y="32"/>
                    <a:pt x="130" y="32"/>
                  </a:cubicBezTo>
                  <a:cubicBezTo>
                    <a:pt x="131" y="31"/>
                    <a:pt x="131" y="31"/>
                    <a:pt x="131" y="31"/>
                  </a:cubicBezTo>
                  <a:cubicBezTo>
                    <a:pt x="131" y="30"/>
                    <a:pt x="131" y="29"/>
                    <a:pt x="131" y="29"/>
                  </a:cubicBezTo>
                  <a:cubicBezTo>
                    <a:pt x="131" y="28"/>
                    <a:pt x="131" y="28"/>
                    <a:pt x="131" y="28"/>
                  </a:cubicBezTo>
                  <a:cubicBezTo>
                    <a:pt x="131" y="28"/>
                    <a:pt x="131" y="28"/>
                    <a:pt x="131" y="28"/>
                  </a:cubicBezTo>
                  <a:cubicBezTo>
                    <a:pt x="129" y="28"/>
                    <a:pt x="129" y="26"/>
                    <a:pt x="128" y="25"/>
                  </a:cubicBezTo>
                  <a:cubicBezTo>
                    <a:pt x="128" y="25"/>
                    <a:pt x="127" y="24"/>
                    <a:pt x="127" y="23"/>
                  </a:cubicBezTo>
                  <a:cubicBezTo>
                    <a:pt x="127" y="23"/>
                    <a:pt x="127" y="23"/>
                    <a:pt x="127" y="23"/>
                  </a:cubicBezTo>
                  <a:cubicBezTo>
                    <a:pt x="127" y="22"/>
                    <a:pt x="126" y="22"/>
                    <a:pt x="125" y="21"/>
                  </a:cubicBezTo>
                  <a:cubicBezTo>
                    <a:pt x="123" y="20"/>
                    <a:pt x="121" y="19"/>
                    <a:pt x="121" y="17"/>
                  </a:cubicBezTo>
                  <a:cubicBezTo>
                    <a:pt x="120" y="17"/>
                    <a:pt x="120" y="17"/>
                    <a:pt x="120" y="17"/>
                  </a:cubicBezTo>
                  <a:cubicBezTo>
                    <a:pt x="120" y="17"/>
                    <a:pt x="119" y="17"/>
                    <a:pt x="118" y="17"/>
                  </a:cubicBezTo>
                  <a:cubicBezTo>
                    <a:pt x="118" y="17"/>
                    <a:pt x="118" y="17"/>
                    <a:pt x="118" y="17"/>
                  </a:cubicBezTo>
                  <a:cubicBezTo>
                    <a:pt x="116" y="17"/>
                    <a:pt x="116" y="17"/>
                    <a:pt x="116" y="17"/>
                  </a:cubicBezTo>
                  <a:cubicBezTo>
                    <a:pt x="116" y="17"/>
                    <a:pt x="115" y="17"/>
                    <a:pt x="115" y="17"/>
                  </a:cubicBezTo>
                  <a:cubicBezTo>
                    <a:pt x="115" y="17"/>
                    <a:pt x="114" y="17"/>
                    <a:pt x="114" y="17"/>
                  </a:cubicBezTo>
                  <a:cubicBezTo>
                    <a:pt x="112" y="17"/>
                    <a:pt x="109" y="17"/>
                    <a:pt x="107" y="18"/>
                  </a:cubicBezTo>
                  <a:cubicBezTo>
                    <a:pt x="104" y="19"/>
                    <a:pt x="101" y="21"/>
                    <a:pt x="99" y="23"/>
                  </a:cubicBezTo>
                  <a:cubicBezTo>
                    <a:pt x="98" y="25"/>
                    <a:pt x="98" y="25"/>
                    <a:pt x="98" y="25"/>
                  </a:cubicBezTo>
                  <a:cubicBezTo>
                    <a:pt x="97" y="25"/>
                    <a:pt x="97" y="25"/>
                    <a:pt x="97" y="25"/>
                  </a:cubicBezTo>
                  <a:cubicBezTo>
                    <a:pt x="96" y="25"/>
                    <a:pt x="96" y="25"/>
                    <a:pt x="96" y="25"/>
                  </a:cubicBezTo>
                  <a:cubicBezTo>
                    <a:pt x="95" y="25"/>
                    <a:pt x="95" y="25"/>
                    <a:pt x="95" y="25"/>
                  </a:cubicBezTo>
                  <a:cubicBezTo>
                    <a:pt x="94" y="24"/>
                    <a:pt x="92" y="24"/>
                    <a:pt x="89" y="23"/>
                  </a:cubicBezTo>
                  <a:cubicBezTo>
                    <a:pt x="89" y="22"/>
                    <a:pt x="88" y="22"/>
                    <a:pt x="88" y="22"/>
                  </a:cubicBezTo>
                  <a:cubicBezTo>
                    <a:pt x="87" y="22"/>
                    <a:pt x="86" y="22"/>
                    <a:pt x="85" y="21"/>
                  </a:cubicBezTo>
                  <a:cubicBezTo>
                    <a:pt x="81" y="19"/>
                    <a:pt x="79" y="16"/>
                    <a:pt x="77" y="12"/>
                  </a:cubicBezTo>
                  <a:cubicBezTo>
                    <a:pt x="77" y="10"/>
                    <a:pt x="77" y="10"/>
                    <a:pt x="77" y="10"/>
                  </a:cubicBezTo>
                  <a:cubicBezTo>
                    <a:pt x="76" y="9"/>
                    <a:pt x="76" y="9"/>
                    <a:pt x="76" y="8"/>
                  </a:cubicBezTo>
                  <a:cubicBezTo>
                    <a:pt x="76" y="8"/>
                    <a:pt x="76" y="8"/>
                    <a:pt x="76" y="8"/>
                  </a:cubicBezTo>
                  <a:cubicBezTo>
                    <a:pt x="75" y="8"/>
                    <a:pt x="75" y="8"/>
                    <a:pt x="74" y="8"/>
                  </a:cubicBezTo>
                  <a:cubicBezTo>
                    <a:pt x="73" y="7"/>
                    <a:pt x="72" y="7"/>
                    <a:pt x="71" y="6"/>
                  </a:cubicBezTo>
                  <a:cubicBezTo>
                    <a:pt x="70" y="6"/>
                    <a:pt x="70" y="6"/>
                    <a:pt x="69" y="6"/>
                  </a:cubicBezTo>
                  <a:cubicBezTo>
                    <a:pt x="67" y="5"/>
                    <a:pt x="67" y="5"/>
                    <a:pt x="67" y="5"/>
                  </a:cubicBezTo>
                  <a:cubicBezTo>
                    <a:pt x="64" y="5"/>
                    <a:pt x="64" y="5"/>
                    <a:pt x="63" y="6"/>
                  </a:cubicBezTo>
                  <a:cubicBezTo>
                    <a:pt x="63" y="6"/>
                    <a:pt x="62" y="6"/>
                    <a:pt x="62" y="7"/>
                  </a:cubicBezTo>
                  <a:cubicBezTo>
                    <a:pt x="61" y="8"/>
                    <a:pt x="60" y="10"/>
                    <a:pt x="58" y="11"/>
                  </a:cubicBezTo>
                  <a:cubicBezTo>
                    <a:pt x="57" y="11"/>
                    <a:pt x="56" y="11"/>
                    <a:pt x="55" y="11"/>
                  </a:cubicBezTo>
                  <a:cubicBezTo>
                    <a:pt x="54" y="11"/>
                    <a:pt x="52" y="10"/>
                    <a:pt x="51" y="9"/>
                  </a:cubicBezTo>
                  <a:cubicBezTo>
                    <a:pt x="49" y="7"/>
                    <a:pt x="49" y="4"/>
                    <a:pt x="49" y="2"/>
                  </a:cubicBezTo>
                  <a:cubicBezTo>
                    <a:pt x="47" y="1"/>
                    <a:pt x="47" y="1"/>
                    <a:pt x="47" y="1"/>
                  </a:cubicBezTo>
                  <a:cubicBezTo>
                    <a:pt x="46" y="1"/>
                    <a:pt x="45" y="1"/>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240"/>
            <p:cNvSpPr/>
            <p:nvPr/>
          </p:nvSpPr>
          <p:spPr bwMode="auto">
            <a:xfrm>
              <a:off x="3028" y="2285"/>
              <a:ext cx="217" cy="224"/>
            </a:xfrm>
            <a:custGeom>
              <a:gdLst>
                <a:gd name="T0" fmla="*/ 36 w 92"/>
                <a:gd name="T1" fmla="*/ 1 h 95"/>
                <a:gd name="T2" fmla="*/ 34 w 92"/>
                <a:gd name="T3" fmla="*/ 1 h 95"/>
                <a:gd name="T4" fmla="*/ 32 w 92"/>
                <a:gd name="T5" fmla="*/ 1 h 95"/>
                <a:gd name="T6" fmla="*/ 29 w 92"/>
                <a:gd name="T7" fmla="*/ 1 h 95"/>
                <a:gd name="T8" fmla="*/ 28 w 92"/>
                <a:gd name="T9" fmla="*/ 7 h 95"/>
                <a:gd name="T10" fmla="*/ 22 w 92"/>
                <a:gd name="T11" fmla="*/ 10 h 95"/>
                <a:gd name="T12" fmla="*/ 20 w 92"/>
                <a:gd name="T13" fmla="*/ 18 h 95"/>
                <a:gd name="T14" fmla="*/ 11 w 92"/>
                <a:gd name="T15" fmla="*/ 26 h 95"/>
                <a:gd name="T16" fmla="*/ 5 w 92"/>
                <a:gd name="T17" fmla="*/ 32 h 95"/>
                <a:gd name="T18" fmla="*/ 0 w 92"/>
                <a:gd name="T19" fmla="*/ 37 h 95"/>
                <a:gd name="T20" fmla="*/ 20 w 92"/>
                <a:gd name="T21" fmla="*/ 52 h 95"/>
                <a:gd name="T22" fmla="*/ 64 w 92"/>
                <a:gd name="T23" fmla="*/ 85 h 95"/>
                <a:gd name="T24" fmla="*/ 88 w 92"/>
                <a:gd name="T25" fmla="*/ 95 h 95"/>
                <a:gd name="T26" fmla="*/ 88 w 92"/>
                <a:gd name="T27" fmla="*/ 95 h 95"/>
                <a:gd name="T28" fmla="*/ 88 w 92"/>
                <a:gd name="T29" fmla="*/ 82 h 95"/>
                <a:gd name="T30" fmla="*/ 91 w 92"/>
                <a:gd name="T31" fmla="*/ 67 h 95"/>
                <a:gd name="T32" fmla="*/ 86 w 92"/>
                <a:gd name="T33" fmla="*/ 57 h 95"/>
                <a:gd name="T34" fmla="*/ 79 w 92"/>
                <a:gd name="T35" fmla="*/ 53 h 95"/>
                <a:gd name="T36" fmla="*/ 78 w 92"/>
                <a:gd name="T37" fmla="*/ 53 h 95"/>
                <a:gd name="T38" fmla="*/ 76 w 92"/>
                <a:gd name="T39" fmla="*/ 53 h 95"/>
                <a:gd name="T40" fmla="*/ 72 w 92"/>
                <a:gd name="T41" fmla="*/ 52 h 95"/>
                <a:gd name="T42" fmla="*/ 67 w 92"/>
                <a:gd name="T43" fmla="*/ 49 h 95"/>
                <a:gd name="T44" fmla="*/ 61 w 92"/>
                <a:gd name="T45" fmla="*/ 46 h 95"/>
                <a:gd name="T46" fmla="*/ 67 w 92"/>
                <a:gd name="T47" fmla="*/ 24 h 95"/>
                <a:gd name="T48" fmla="*/ 65 w 92"/>
                <a:gd name="T49" fmla="*/ 24 h 95"/>
                <a:gd name="T50" fmla="*/ 63 w 92"/>
                <a:gd name="T51" fmla="*/ 28 h 95"/>
                <a:gd name="T52" fmla="*/ 55 w 92"/>
                <a:gd name="T53" fmla="*/ 32 h 95"/>
                <a:gd name="T54" fmla="*/ 53 w 92"/>
                <a:gd name="T55" fmla="*/ 32 h 95"/>
                <a:gd name="T56" fmla="*/ 52 w 92"/>
                <a:gd name="T57" fmla="*/ 30 h 95"/>
                <a:gd name="T58" fmla="*/ 49 w 92"/>
                <a:gd name="T59" fmla="*/ 27 h 95"/>
                <a:gd name="T60" fmla="*/ 46 w 92"/>
                <a:gd name="T61" fmla="*/ 27 h 95"/>
                <a:gd name="T62" fmla="*/ 45 w 92"/>
                <a:gd name="T63" fmla="*/ 15 h 95"/>
                <a:gd name="T64" fmla="*/ 43 w 92"/>
                <a:gd name="T65" fmla="*/ 8 h 95"/>
                <a:gd name="T66" fmla="*/ 41 w 92"/>
                <a:gd name="T67" fmla="*/ 3 h 95"/>
                <a:gd name="T68" fmla="*/ 39 w 92"/>
                <a:gd name="T69" fmla="*/ 1 h 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2" h="95">
                  <a:moveTo>
                    <a:pt x="38" y="0"/>
                  </a:moveTo>
                  <a:cubicBezTo>
                    <a:pt x="38" y="1"/>
                    <a:pt x="37" y="1"/>
                    <a:pt x="36" y="1"/>
                  </a:cubicBezTo>
                  <a:cubicBezTo>
                    <a:pt x="36" y="1"/>
                    <a:pt x="35" y="1"/>
                    <a:pt x="35" y="1"/>
                  </a:cubicBezTo>
                  <a:cubicBezTo>
                    <a:pt x="34" y="1"/>
                    <a:pt x="34" y="1"/>
                    <a:pt x="34" y="1"/>
                  </a:cubicBezTo>
                  <a:cubicBezTo>
                    <a:pt x="33" y="1"/>
                    <a:pt x="33" y="1"/>
                    <a:pt x="33" y="1"/>
                  </a:cubicBezTo>
                  <a:cubicBezTo>
                    <a:pt x="33" y="1"/>
                    <a:pt x="32" y="1"/>
                    <a:pt x="32" y="1"/>
                  </a:cubicBezTo>
                  <a:cubicBezTo>
                    <a:pt x="31" y="1"/>
                    <a:pt x="31" y="1"/>
                    <a:pt x="30" y="1"/>
                  </a:cubicBezTo>
                  <a:cubicBezTo>
                    <a:pt x="29" y="1"/>
                    <a:pt x="29" y="1"/>
                    <a:pt x="29" y="1"/>
                  </a:cubicBezTo>
                  <a:cubicBezTo>
                    <a:pt x="29" y="2"/>
                    <a:pt x="29" y="3"/>
                    <a:pt x="29" y="3"/>
                  </a:cubicBezTo>
                  <a:cubicBezTo>
                    <a:pt x="29" y="5"/>
                    <a:pt x="29" y="6"/>
                    <a:pt x="28" y="7"/>
                  </a:cubicBezTo>
                  <a:cubicBezTo>
                    <a:pt x="27" y="8"/>
                    <a:pt x="25" y="9"/>
                    <a:pt x="24" y="9"/>
                  </a:cubicBezTo>
                  <a:cubicBezTo>
                    <a:pt x="23" y="9"/>
                    <a:pt x="23" y="9"/>
                    <a:pt x="22" y="10"/>
                  </a:cubicBezTo>
                  <a:cubicBezTo>
                    <a:pt x="22" y="10"/>
                    <a:pt x="22" y="11"/>
                    <a:pt x="22" y="12"/>
                  </a:cubicBezTo>
                  <a:cubicBezTo>
                    <a:pt x="22" y="14"/>
                    <a:pt x="21" y="16"/>
                    <a:pt x="20" y="18"/>
                  </a:cubicBezTo>
                  <a:cubicBezTo>
                    <a:pt x="18" y="21"/>
                    <a:pt x="15" y="23"/>
                    <a:pt x="12" y="26"/>
                  </a:cubicBezTo>
                  <a:cubicBezTo>
                    <a:pt x="11" y="26"/>
                    <a:pt x="11" y="26"/>
                    <a:pt x="11" y="26"/>
                  </a:cubicBezTo>
                  <a:cubicBezTo>
                    <a:pt x="10" y="26"/>
                    <a:pt x="10" y="27"/>
                    <a:pt x="9" y="27"/>
                  </a:cubicBezTo>
                  <a:cubicBezTo>
                    <a:pt x="8" y="29"/>
                    <a:pt x="6" y="30"/>
                    <a:pt x="5" y="32"/>
                  </a:cubicBezTo>
                  <a:cubicBezTo>
                    <a:pt x="3" y="34"/>
                    <a:pt x="2" y="36"/>
                    <a:pt x="0" y="37"/>
                  </a:cubicBezTo>
                  <a:cubicBezTo>
                    <a:pt x="0" y="37"/>
                    <a:pt x="0" y="37"/>
                    <a:pt x="0" y="37"/>
                  </a:cubicBezTo>
                  <a:cubicBezTo>
                    <a:pt x="3" y="40"/>
                    <a:pt x="6" y="42"/>
                    <a:pt x="9" y="44"/>
                  </a:cubicBezTo>
                  <a:cubicBezTo>
                    <a:pt x="12" y="47"/>
                    <a:pt x="16" y="52"/>
                    <a:pt x="20" y="52"/>
                  </a:cubicBezTo>
                  <a:cubicBezTo>
                    <a:pt x="29" y="55"/>
                    <a:pt x="36" y="64"/>
                    <a:pt x="42" y="70"/>
                  </a:cubicBezTo>
                  <a:cubicBezTo>
                    <a:pt x="48" y="76"/>
                    <a:pt x="56" y="82"/>
                    <a:pt x="64" y="85"/>
                  </a:cubicBezTo>
                  <a:cubicBezTo>
                    <a:pt x="69" y="88"/>
                    <a:pt x="75" y="90"/>
                    <a:pt x="80" y="92"/>
                  </a:cubicBezTo>
                  <a:cubicBezTo>
                    <a:pt x="83" y="93"/>
                    <a:pt x="85" y="95"/>
                    <a:pt x="88" y="95"/>
                  </a:cubicBezTo>
                  <a:cubicBezTo>
                    <a:pt x="88" y="95"/>
                    <a:pt x="88" y="95"/>
                    <a:pt x="88" y="95"/>
                  </a:cubicBezTo>
                  <a:cubicBezTo>
                    <a:pt x="88" y="95"/>
                    <a:pt x="88" y="95"/>
                    <a:pt x="88" y="95"/>
                  </a:cubicBezTo>
                  <a:cubicBezTo>
                    <a:pt x="87" y="90"/>
                    <a:pt x="86" y="86"/>
                    <a:pt x="87" y="84"/>
                  </a:cubicBezTo>
                  <a:cubicBezTo>
                    <a:pt x="88" y="82"/>
                    <a:pt x="88" y="82"/>
                    <a:pt x="88" y="82"/>
                  </a:cubicBezTo>
                  <a:cubicBezTo>
                    <a:pt x="88" y="82"/>
                    <a:pt x="88" y="82"/>
                    <a:pt x="88" y="82"/>
                  </a:cubicBezTo>
                  <a:cubicBezTo>
                    <a:pt x="90" y="76"/>
                    <a:pt x="92" y="72"/>
                    <a:pt x="91" y="67"/>
                  </a:cubicBezTo>
                  <a:cubicBezTo>
                    <a:pt x="91" y="64"/>
                    <a:pt x="90" y="61"/>
                    <a:pt x="88" y="59"/>
                  </a:cubicBezTo>
                  <a:cubicBezTo>
                    <a:pt x="87" y="59"/>
                    <a:pt x="86" y="58"/>
                    <a:pt x="86" y="57"/>
                  </a:cubicBezTo>
                  <a:cubicBezTo>
                    <a:pt x="83" y="55"/>
                    <a:pt x="83" y="55"/>
                    <a:pt x="83" y="55"/>
                  </a:cubicBezTo>
                  <a:cubicBezTo>
                    <a:pt x="81" y="54"/>
                    <a:pt x="80" y="53"/>
                    <a:pt x="79" y="53"/>
                  </a:cubicBezTo>
                  <a:cubicBezTo>
                    <a:pt x="79" y="53"/>
                    <a:pt x="78" y="53"/>
                    <a:pt x="78" y="53"/>
                  </a:cubicBezTo>
                  <a:cubicBezTo>
                    <a:pt x="78" y="53"/>
                    <a:pt x="78" y="53"/>
                    <a:pt x="78" y="53"/>
                  </a:cubicBezTo>
                  <a:cubicBezTo>
                    <a:pt x="77" y="53"/>
                    <a:pt x="77" y="53"/>
                    <a:pt x="77" y="53"/>
                  </a:cubicBezTo>
                  <a:cubicBezTo>
                    <a:pt x="77" y="53"/>
                    <a:pt x="76" y="53"/>
                    <a:pt x="76" y="53"/>
                  </a:cubicBezTo>
                  <a:cubicBezTo>
                    <a:pt x="75" y="53"/>
                    <a:pt x="74" y="53"/>
                    <a:pt x="73" y="52"/>
                  </a:cubicBezTo>
                  <a:cubicBezTo>
                    <a:pt x="72" y="52"/>
                    <a:pt x="72" y="52"/>
                    <a:pt x="72" y="52"/>
                  </a:cubicBezTo>
                  <a:cubicBezTo>
                    <a:pt x="71" y="52"/>
                    <a:pt x="69" y="50"/>
                    <a:pt x="67" y="49"/>
                  </a:cubicBezTo>
                  <a:cubicBezTo>
                    <a:pt x="67" y="49"/>
                    <a:pt x="67" y="49"/>
                    <a:pt x="67" y="49"/>
                  </a:cubicBezTo>
                  <a:cubicBezTo>
                    <a:pt x="66" y="49"/>
                    <a:pt x="65" y="48"/>
                    <a:pt x="64" y="48"/>
                  </a:cubicBezTo>
                  <a:cubicBezTo>
                    <a:pt x="61" y="46"/>
                    <a:pt x="61" y="46"/>
                    <a:pt x="61" y="46"/>
                  </a:cubicBezTo>
                  <a:cubicBezTo>
                    <a:pt x="64" y="43"/>
                    <a:pt x="64" y="43"/>
                    <a:pt x="64" y="43"/>
                  </a:cubicBezTo>
                  <a:cubicBezTo>
                    <a:pt x="72" y="36"/>
                    <a:pt x="71" y="33"/>
                    <a:pt x="67" y="24"/>
                  </a:cubicBezTo>
                  <a:cubicBezTo>
                    <a:pt x="67" y="23"/>
                    <a:pt x="67" y="23"/>
                    <a:pt x="66" y="22"/>
                  </a:cubicBezTo>
                  <a:cubicBezTo>
                    <a:pt x="66" y="23"/>
                    <a:pt x="65" y="23"/>
                    <a:pt x="65" y="24"/>
                  </a:cubicBezTo>
                  <a:cubicBezTo>
                    <a:pt x="64" y="26"/>
                    <a:pt x="64" y="26"/>
                    <a:pt x="64" y="26"/>
                  </a:cubicBezTo>
                  <a:cubicBezTo>
                    <a:pt x="64" y="26"/>
                    <a:pt x="64" y="27"/>
                    <a:pt x="63" y="28"/>
                  </a:cubicBezTo>
                  <a:cubicBezTo>
                    <a:pt x="61" y="30"/>
                    <a:pt x="59" y="31"/>
                    <a:pt x="57" y="31"/>
                  </a:cubicBezTo>
                  <a:cubicBezTo>
                    <a:pt x="56" y="31"/>
                    <a:pt x="55" y="32"/>
                    <a:pt x="55" y="32"/>
                  </a:cubicBezTo>
                  <a:cubicBezTo>
                    <a:pt x="55" y="32"/>
                    <a:pt x="55" y="32"/>
                    <a:pt x="54" y="32"/>
                  </a:cubicBezTo>
                  <a:cubicBezTo>
                    <a:pt x="54" y="32"/>
                    <a:pt x="54" y="32"/>
                    <a:pt x="53" y="32"/>
                  </a:cubicBezTo>
                  <a:cubicBezTo>
                    <a:pt x="53" y="31"/>
                    <a:pt x="53" y="31"/>
                    <a:pt x="53" y="31"/>
                  </a:cubicBezTo>
                  <a:cubicBezTo>
                    <a:pt x="53" y="31"/>
                    <a:pt x="52" y="31"/>
                    <a:pt x="52" y="30"/>
                  </a:cubicBezTo>
                  <a:cubicBezTo>
                    <a:pt x="51" y="30"/>
                    <a:pt x="50" y="29"/>
                    <a:pt x="50" y="28"/>
                  </a:cubicBezTo>
                  <a:cubicBezTo>
                    <a:pt x="49" y="27"/>
                    <a:pt x="49" y="27"/>
                    <a:pt x="49" y="27"/>
                  </a:cubicBezTo>
                  <a:cubicBezTo>
                    <a:pt x="49" y="27"/>
                    <a:pt x="49" y="27"/>
                    <a:pt x="49" y="27"/>
                  </a:cubicBezTo>
                  <a:cubicBezTo>
                    <a:pt x="48" y="27"/>
                    <a:pt x="48" y="27"/>
                    <a:pt x="46" y="27"/>
                  </a:cubicBezTo>
                  <a:cubicBezTo>
                    <a:pt x="40" y="31"/>
                    <a:pt x="40" y="31"/>
                    <a:pt x="40" y="31"/>
                  </a:cubicBezTo>
                  <a:cubicBezTo>
                    <a:pt x="45" y="15"/>
                    <a:pt x="45" y="15"/>
                    <a:pt x="45" y="15"/>
                  </a:cubicBezTo>
                  <a:cubicBezTo>
                    <a:pt x="45" y="15"/>
                    <a:pt x="45" y="14"/>
                    <a:pt x="44" y="10"/>
                  </a:cubicBezTo>
                  <a:cubicBezTo>
                    <a:pt x="44" y="9"/>
                    <a:pt x="44" y="8"/>
                    <a:pt x="43" y="8"/>
                  </a:cubicBezTo>
                  <a:cubicBezTo>
                    <a:pt x="43" y="5"/>
                    <a:pt x="43" y="4"/>
                    <a:pt x="42" y="3"/>
                  </a:cubicBezTo>
                  <a:cubicBezTo>
                    <a:pt x="41" y="3"/>
                    <a:pt x="41" y="3"/>
                    <a:pt x="41" y="3"/>
                  </a:cubicBezTo>
                  <a:cubicBezTo>
                    <a:pt x="41" y="2"/>
                    <a:pt x="40" y="2"/>
                    <a:pt x="39" y="1"/>
                  </a:cubicBezTo>
                  <a:cubicBezTo>
                    <a:pt x="39" y="1"/>
                    <a:pt x="39" y="1"/>
                    <a:pt x="39" y="1"/>
                  </a:cubicBezTo>
                  <a:cubicBezTo>
                    <a:pt x="38" y="0"/>
                    <a:pt x="38"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241"/>
            <p:cNvSpPr/>
            <p:nvPr/>
          </p:nvSpPr>
          <p:spPr bwMode="auto">
            <a:xfrm>
              <a:off x="2924" y="2202"/>
              <a:ext cx="148" cy="163"/>
            </a:xfrm>
            <a:custGeom>
              <a:gdLst>
                <a:gd name="T0" fmla="*/ 46 w 63"/>
                <a:gd name="T1" fmla="*/ 0 h 69"/>
                <a:gd name="T2" fmla="*/ 45 w 63"/>
                <a:gd name="T3" fmla="*/ 0 h 69"/>
                <a:gd name="T4" fmla="*/ 27 w 63"/>
                <a:gd name="T5" fmla="*/ 3 h 69"/>
                <a:gd name="T6" fmla="*/ 25 w 63"/>
                <a:gd name="T7" fmla="*/ 3 h 69"/>
                <a:gd name="T8" fmla="*/ 22 w 63"/>
                <a:gd name="T9" fmla="*/ 3 h 69"/>
                <a:gd name="T10" fmla="*/ 9 w 63"/>
                <a:gd name="T11" fmla="*/ 20 h 69"/>
                <a:gd name="T12" fmla="*/ 8 w 63"/>
                <a:gd name="T13" fmla="*/ 21 h 69"/>
                <a:gd name="T14" fmla="*/ 5 w 63"/>
                <a:gd name="T15" fmla="*/ 22 h 69"/>
                <a:gd name="T16" fmla="*/ 6 w 63"/>
                <a:gd name="T17" fmla="*/ 25 h 69"/>
                <a:gd name="T18" fmla="*/ 5 w 63"/>
                <a:gd name="T19" fmla="*/ 31 h 69"/>
                <a:gd name="T20" fmla="*/ 9 w 63"/>
                <a:gd name="T21" fmla="*/ 29 h 69"/>
                <a:gd name="T22" fmla="*/ 7 w 63"/>
                <a:gd name="T23" fmla="*/ 32 h 69"/>
                <a:gd name="T24" fmla="*/ 0 w 63"/>
                <a:gd name="T25" fmla="*/ 33 h 69"/>
                <a:gd name="T26" fmla="*/ 3 w 63"/>
                <a:gd name="T27" fmla="*/ 41 h 69"/>
                <a:gd name="T28" fmla="*/ 14 w 63"/>
                <a:gd name="T29" fmla="*/ 52 h 69"/>
                <a:gd name="T30" fmla="*/ 19 w 63"/>
                <a:gd name="T31" fmla="*/ 51 h 69"/>
                <a:gd name="T32" fmla="*/ 23 w 63"/>
                <a:gd name="T33" fmla="*/ 55 h 69"/>
                <a:gd name="T34" fmla="*/ 26 w 63"/>
                <a:gd name="T35" fmla="*/ 55 h 69"/>
                <a:gd name="T36" fmla="*/ 21 w 63"/>
                <a:gd name="T37" fmla="*/ 59 h 69"/>
                <a:gd name="T38" fmla="*/ 18 w 63"/>
                <a:gd name="T39" fmla="*/ 59 h 69"/>
                <a:gd name="T40" fmla="*/ 32 w 63"/>
                <a:gd name="T41" fmla="*/ 65 h 69"/>
                <a:gd name="T42" fmla="*/ 41 w 63"/>
                <a:gd name="T43" fmla="*/ 67 h 69"/>
                <a:gd name="T44" fmla="*/ 50 w 63"/>
                <a:gd name="T45" fmla="*/ 58 h 69"/>
                <a:gd name="T46" fmla="*/ 52 w 63"/>
                <a:gd name="T47" fmla="*/ 56 h 69"/>
                <a:gd name="T48" fmla="*/ 60 w 63"/>
                <a:gd name="T49" fmla="*/ 47 h 69"/>
                <a:gd name="T50" fmla="*/ 63 w 63"/>
                <a:gd name="T51" fmla="*/ 40 h 69"/>
                <a:gd name="T52" fmla="*/ 63 w 63"/>
                <a:gd name="T53" fmla="*/ 40 h 69"/>
                <a:gd name="T54" fmla="*/ 62 w 63"/>
                <a:gd name="T55" fmla="*/ 28 h 69"/>
                <a:gd name="T56" fmla="*/ 62 w 63"/>
                <a:gd name="T57" fmla="*/ 27 h 69"/>
                <a:gd name="T58" fmla="*/ 62 w 63"/>
                <a:gd name="T59" fmla="*/ 25 h 69"/>
                <a:gd name="T60" fmla="*/ 61 w 63"/>
                <a:gd name="T61" fmla="*/ 24 h 69"/>
                <a:gd name="T62" fmla="*/ 60 w 63"/>
                <a:gd name="T63" fmla="*/ 22 h 69"/>
                <a:gd name="T64" fmla="*/ 56 w 63"/>
                <a:gd name="T65" fmla="*/ 19 h 69"/>
                <a:gd name="T66" fmla="*/ 52 w 63"/>
                <a:gd name="T67" fmla="*/ 10 h 69"/>
                <a:gd name="T68" fmla="*/ 51 w 63"/>
                <a:gd name="T69" fmla="*/ 7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69">
                  <a:moveTo>
                    <a:pt x="47" y="0"/>
                  </a:moveTo>
                  <a:cubicBezTo>
                    <a:pt x="47" y="0"/>
                    <a:pt x="46" y="0"/>
                    <a:pt x="46" y="0"/>
                  </a:cubicBezTo>
                  <a:cubicBezTo>
                    <a:pt x="45" y="0"/>
                    <a:pt x="45" y="0"/>
                    <a:pt x="45" y="0"/>
                  </a:cubicBezTo>
                  <a:cubicBezTo>
                    <a:pt x="45" y="0"/>
                    <a:pt x="45" y="0"/>
                    <a:pt x="45" y="0"/>
                  </a:cubicBezTo>
                  <a:cubicBezTo>
                    <a:pt x="42" y="0"/>
                    <a:pt x="40" y="1"/>
                    <a:pt x="37" y="2"/>
                  </a:cubicBezTo>
                  <a:cubicBezTo>
                    <a:pt x="34" y="2"/>
                    <a:pt x="31" y="3"/>
                    <a:pt x="27" y="3"/>
                  </a:cubicBezTo>
                  <a:cubicBezTo>
                    <a:pt x="27" y="3"/>
                    <a:pt x="26" y="3"/>
                    <a:pt x="25" y="3"/>
                  </a:cubicBezTo>
                  <a:cubicBezTo>
                    <a:pt x="25" y="3"/>
                    <a:pt x="25" y="3"/>
                    <a:pt x="25" y="3"/>
                  </a:cubicBezTo>
                  <a:cubicBezTo>
                    <a:pt x="24" y="3"/>
                    <a:pt x="24" y="3"/>
                    <a:pt x="23" y="3"/>
                  </a:cubicBezTo>
                  <a:cubicBezTo>
                    <a:pt x="23" y="3"/>
                    <a:pt x="23" y="3"/>
                    <a:pt x="22" y="3"/>
                  </a:cubicBezTo>
                  <a:cubicBezTo>
                    <a:pt x="21" y="3"/>
                    <a:pt x="21" y="3"/>
                    <a:pt x="20" y="4"/>
                  </a:cubicBezTo>
                  <a:cubicBezTo>
                    <a:pt x="18" y="9"/>
                    <a:pt x="14" y="14"/>
                    <a:pt x="9" y="20"/>
                  </a:cubicBezTo>
                  <a:cubicBezTo>
                    <a:pt x="8" y="20"/>
                    <a:pt x="8" y="20"/>
                    <a:pt x="8" y="20"/>
                  </a:cubicBezTo>
                  <a:cubicBezTo>
                    <a:pt x="8" y="21"/>
                    <a:pt x="8" y="21"/>
                    <a:pt x="8" y="21"/>
                  </a:cubicBezTo>
                  <a:cubicBezTo>
                    <a:pt x="7" y="21"/>
                    <a:pt x="6" y="22"/>
                    <a:pt x="6" y="22"/>
                  </a:cubicBezTo>
                  <a:cubicBezTo>
                    <a:pt x="5" y="22"/>
                    <a:pt x="5" y="22"/>
                    <a:pt x="5" y="22"/>
                  </a:cubicBezTo>
                  <a:cubicBezTo>
                    <a:pt x="5" y="23"/>
                    <a:pt x="4" y="23"/>
                    <a:pt x="3" y="23"/>
                  </a:cubicBezTo>
                  <a:cubicBezTo>
                    <a:pt x="4" y="23"/>
                    <a:pt x="5" y="24"/>
                    <a:pt x="6" y="25"/>
                  </a:cubicBezTo>
                  <a:cubicBezTo>
                    <a:pt x="6" y="25"/>
                    <a:pt x="6" y="25"/>
                    <a:pt x="6" y="25"/>
                  </a:cubicBezTo>
                  <a:cubicBezTo>
                    <a:pt x="3" y="25"/>
                    <a:pt x="1" y="29"/>
                    <a:pt x="5" y="31"/>
                  </a:cubicBezTo>
                  <a:cubicBezTo>
                    <a:pt x="5" y="31"/>
                    <a:pt x="5" y="31"/>
                    <a:pt x="5" y="31"/>
                  </a:cubicBezTo>
                  <a:cubicBezTo>
                    <a:pt x="7" y="31"/>
                    <a:pt x="9" y="30"/>
                    <a:pt x="9" y="29"/>
                  </a:cubicBezTo>
                  <a:cubicBezTo>
                    <a:pt x="9" y="31"/>
                    <a:pt x="9" y="31"/>
                    <a:pt x="8" y="32"/>
                  </a:cubicBezTo>
                  <a:cubicBezTo>
                    <a:pt x="7" y="32"/>
                    <a:pt x="7" y="32"/>
                    <a:pt x="7" y="32"/>
                  </a:cubicBezTo>
                  <a:cubicBezTo>
                    <a:pt x="6" y="33"/>
                    <a:pt x="6" y="34"/>
                    <a:pt x="5" y="36"/>
                  </a:cubicBezTo>
                  <a:cubicBezTo>
                    <a:pt x="4" y="35"/>
                    <a:pt x="2" y="34"/>
                    <a:pt x="0" y="33"/>
                  </a:cubicBezTo>
                  <a:cubicBezTo>
                    <a:pt x="0" y="35"/>
                    <a:pt x="0" y="35"/>
                    <a:pt x="1" y="36"/>
                  </a:cubicBezTo>
                  <a:cubicBezTo>
                    <a:pt x="1" y="38"/>
                    <a:pt x="2" y="39"/>
                    <a:pt x="3" y="41"/>
                  </a:cubicBezTo>
                  <a:cubicBezTo>
                    <a:pt x="4" y="40"/>
                    <a:pt x="5" y="39"/>
                    <a:pt x="7" y="39"/>
                  </a:cubicBezTo>
                  <a:cubicBezTo>
                    <a:pt x="8" y="44"/>
                    <a:pt x="8" y="50"/>
                    <a:pt x="14" y="52"/>
                  </a:cubicBezTo>
                  <a:cubicBezTo>
                    <a:pt x="14" y="52"/>
                    <a:pt x="15" y="52"/>
                    <a:pt x="16" y="52"/>
                  </a:cubicBezTo>
                  <a:cubicBezTo>
                    <a:pt x="17" y="52"/>
                    <a:pt x="17" y="52"/>
                    <a:pt x="19" y="51"/>
                  </a:cubicBezTo>
                  <a:cubicBezTo>
                    <a:pt x="19" y="54"/>
                    <a:pt x="19" y="55"/>
                    <a:pt x="21" y="55"/>
                  </a:cubicBezTo>
                  <a:cubicBezTo>
                    <a:pt x="21" y="55"/>
                    <a:pt x="22" y="55"/>
                    <a:pt x="23" y="55"/>
                  </a:cubicBezTo>
                  <a:cubicBezTo>
                    <a:pt x="23" y="55"/>
                    <a:pt x="24" y="55"/>
                    <a:pt x="25" y="55"/>
                  </a:cubicBezTo>
                  <a:cubicBezTo>
                    <a:pt x="25" y="55"/>
                    <a:pt x="26" y="55"/>
                    <a:pt x="26" y="55"/>
                  </a:cubicBezTo>
                  <a:cubicBezTo>
                    <a:pt x="24" y="56"/>
                    <a:pt x="22" y="56"/>
                    <a:pt x="20" y="56"/>
                  </a:cubicBezTo>
                  <a:cubicBezTo>
                    <a:pt x="20" y="57"/>
                    <a:pt x="21" y="58"/>
                    <a:pt x="21" y="59"/>
                  </a:cubicBezTo>
                  <a:cubicBezTo>
                    <a:pt x="21" y="59"/>
                    <a:pt x="21" y="59"/>
                    <a:pt x="20" y="59"/>
                  </a:cubicBezTo>
                  <a:cubicBezTo>
                    <a:pt x="20" y="59"/>
                    <a:pt x="19" y="59"/>
                    <a:pt x="18" y="59"/>
                  </a:cubicBezTo>
                  <a:cubicBezTo>
                    <a:pt x="19" y="60"/>
                    <a:pt x="19" y="60"/>
                    <a:pt x="20" y="60"/>
                  </a:cubicBezTo>
                  <a:cubicBezTo>
                    <a:pt x="24" y="62"/>
                    <a:pt x="28" y="62"/>
                    <a:pt x="32" y="65"/>
                  </a:cubicBezTo>
                  <a:cubicBezTo>
                    <a:pt x="34" y="66"/>
                    <a:pt x="37" y="67"/>
                    <a:pt x="39" y="69"/>
                  </a:cubicBezTo>
                  <a:cubicBezTo>
                    <a:pt x="41" y="67"/>
                    <a:pt x="41" y="67"/>
                    <a:pt x="41" y="67"/>
                  </a:cubicBezTo>
                  <a:cubicBezTo>
                    <a:pt x="41" y="67"/>
                    <a:pt x="42" y="66"/>
                    <a:pt x="44" y="63"/>
                  </a:cubicBezTo>
                  <a:cubicBezTo>
                    <a:pt x="46" y="61"/>
                    <a:pt x="48" y="59"/>
                    <a:pt x="50" y="58"/>
                  </a:cubicBezTo>
                  <a:cubicBezTo>
                    <a:pt x="50" y="57"/>
                    <a:pt x="51" y="57"/>
                    <a:pt x="52" y="56"/>
                  </a:cubicBezTo>
                  <a:cubicBezTo>
                    <a:pt x="52" y="56"/>
                    <a:pt x="52" y="56"/>
                    <a:pt x="52" y="56"/>
                  </a:cubicBezTo>
                  <a:cubicBezTo>
                    <a:pt x="55" y="54"/>
                    <a:pt x="58" y="52"/>
                    <a:pt x="59" y="50"/>
                  </a:cubicBezTo>
                  <a:cubicBezTo>
                    <a:pt x="60" y="49"/>
                    <a:pt x="60" y="48"/>
                    <a:pt x="60" y="47"/>
                  </a:cubicBezTo>
                  <a:cubicBezTo>
                    <a:pt x="60" y="45"/>
                    <a:pt x="61" y="42"/>
                    <a:pt x="62" y="40"/>
                  </a:cubicBezTo>
                  <a:cubicBezTo>
                    <a:pt x="63" y="40"/>
                    <a:pt x="63" y="40"/>
                    <a:pt x="63" y="40"/>
                  </a:cubicBezTo>
                  <a:cubicBezTo>
                    <a:pt x="63" y="40"/>
                    <a:pt x="63" y="40"/>
                    <a:pt x="63" y="40"/>
                  </a:cubicBezTo>
                  <a:cubicBezTo>
                    <a:pt x="63" y="40"/>
                    <a:pt x="63" y="40"/>
                    <a:pt x="63" y="40"/>
                  </a:cubicBezTo>
                  <a:cubicBezTo>
                    <a:pt x="54" y="45"/>
                    <a:pt x="54" y="45"/>
                    <a:pt x="54" y="45"/>
                  </a:cubicBezTo>
                  <a:cubicBezTo>
                    <a:pt x="62" y="28"/>
                    <a:pt x="62" y="28"/>
                    <a:pt x="62" y="28"/>
                  </a:cubicBezTo>
                  <a:cubicBezTo>
                    <a:pt x="62" y="28"/>
                    <a:pt x="62" y="28"/>
                    <a:pt x="62" y="28"/>
                  </a:cubicBezTo>
                  <a:cubicBezTo>
                    <a:pt x="62" y="27"/>
                    <a:pt x="62" y="27"/>
                    <a:pt x="62" y="27"/>
                  </a:cubicBezTo>
                  <a:cubicBezTo>
                    <a:pt x="62" y="27"/>
                    <a:pt x="62" y="26"/>
                    <a:pt x="62" y="26"/>
                  </a:cubicBezTo>
                  <a:cubicBezTo>
                    <a:pt x="62" y="25"/>
                    <a:pt x="62" y="25"/>
                    <a:pt x="62" y="25"/>
                  </a:cubicBezTo>
                  <a:cubicBezTo>
                    <a:pt x="61" y="24"/>
                    <a:pt x="61" y="24"/>
                    <a:pt x="61" y="24"/>
                  </a:cubicBezTo>
                  <a:cubicBezTo>
                    <a:pt x="61" y="24"/>
                    <a:pt x="61" y="24"/>
                    <a:pt x="61" y="24"/>
                  </a:cubicBezTo>
                  <a:cubicBezTo>
                    <a:pt x="61" y="23"/>
                    <a:pt x="61" y="23"/>
                    <a:pt x="61" y="22"/>
                  </a:cubicBezTo>
                  <a:cubicBezTo>
                    <a:pt x="60" y="22"/>
                    <a:pt x="60" y="22"/>
                    <a:pt x="60" y="22"/>
                  </a:cubicBezTo>
                  <a:cubicBezTo>
                    <a:pt x="60" y="22"/>
                    <a:pt x="59" y="22"/>
                    <a:pt x="58" y="21"/>
                  </a:cubicBezTo>
                  <a:cubicBezTo>
                    <a:pt x="58" y="21"/>
                    <a:pt x="57" y="20"/>
                    <a:pt x="56" y="19"/>
                  </a:cubicBezTo>
                  <a:cubicBezTo>
                    <a:pt x="55" y="17"/>
                    <a:pt x="53" y="13"/>
                    <a:pt x="52" y="10"/>
                  </a:cubicBezTo>
                  <a:cubicBezTo>
                    <a:pt x="52" y="10"/>
                    <a:pt x="52" y="10"/>
                    <a:pt x="52" y="10"/>
                  </a:cubicBezTo>
                  <a:cubicBezTo>
                    <a:pt x="51" y="9"/>
                    <a:pt x="51" y="8"/>
                    <a:pt x="51" y="8"/>
                  </a:cubicBezTo>
                  <a:cubicBezTo>
                    <a:pt x="51" y="7"/>
                    <a:pt x="51" y="7"/>
                    <a:pt x="51" y="7"/>
                  </a:cubicBezTo>
                  <a:cubicBezTo>
                    <a:pt x="50" y="5"/>
                    <a:pt x="48" y="3"/>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42"/>
            <p:cNvSpPr/>
            <p:nvPr/>
          </p:nvSpPr>
          <p:spPr bwMode="auto">
            <a:xfrm>
              <a:off x="2753" y="2051"/>
              <a:ext cx="140" cy="82"/>
            </a:xfrm>
            <a:custGeom>
              <a:gdLst>
                <a:gd name="T0" fmla="*/ 40 w 59"/>
                <a:gd name="T1" fmla="*/ 0 h 35"/>
                <a:gd name="T2" fmla="*/ 36 w 59"/>
                <a:gd name="T3" fmla="*/ 0 h 35"/>
                <a:gd name="T4" fmla="*/ 34 w 59"/>
                <a:gd name="T5" fmla="*/ 0 h 35"/>
                <a:gd name="T6" fmla="*/ 4 w 59"/>
                <a:gd name="T7" fmla="*/ 7 h 35"/>
                <a:gd name="T8" fmla="*/ 1 w 59"/>
                <a:gd name="T9" fmla="*/ 10 h 35"/>
                <a:gd name="T10" fmla="*/ 3 w 59"/>
                <a:gd name="T11" fmla="*/ 15 h 35"/>
                <a:gd name="T12" fmla="*/ 5 w 59"/>
                <a:gd name="T13" fmla="*/ 16 h 35"/>
                <a:gd name="T14" fmla="*/ 6 w 59"/>
                <a:gd name="T15" fmla="*/ 16 h 35"/>
                <a:gd name="T16" fmla="*/ 15 w 59"/>
                <a:gd name="T17" fmla="*/ 14 h 35"/>
                <a:gd name="T18" fmla="*/ 8 w 59"/>
                <a:gd name="T19" fmla="*/ 19 h 35"/>
                <a:gd name="T20" fmla="*/ 10 w 59"/>
                <a:gd name="T21" fmla="*/ 20 h 35"/>
                <a:gd name="T22" fmla="*/ 14 w 59"/>
                <a:gd name="T23" fmla="*/ 19 h 35"/>
                <a:gd name="T24" fmla="*/ 20 w 59"/>
                <a:gd name="T25" fmla="*/ 16 h 35"/>
                <a:gd name="T26" fmla="*/ 30 w 59"/>
                <a:gd name="T27" fmla="*/ 15 h 35"/>
                <a:gd name="T28" fmla="*/ 31 w 59"/>
                <a:gd name="T29" fmla="*/ 15 h 35"/>
                <a:gd name="T30" fmla="*/ 33 w 59"/>
                <a:gd name="T31" fmla="*/ 19 h 35"/>
                <a:gd name="T32" fmla="*/ 27 w 59"/>
                <a:gd name="T33" fmla="*/ 16 h 35"/>
                <a:gd name="T34" fmla="*/ 22 w 59"/>
                <a:gd name="T35" fmla="*/ 18 h 35"/>
                <a:gd name="T36" fmla="*/ 21 w 59"/>
                <a:gd name="T37" fmla="*/ 24 h 35"/>
                <a:gd name="T38" fmla="*/ 25 w 59"/>
                <a:gd name="T39" fmla="*/ 22 h 35"/>
                <a:gd name="T40" fmla="*/ 31 w 59"/>
                <a:gd name="T41" fmla="*/ 24 h 35"/>
                <a:gd name="T42" fmla="*/ 29 w 59"/>
                <a:gd name="T43" fmla="*/ 25 h 35"/>
                <a:gd name="T44" fmla="*/ 29 w 59"/>
                <a:gd name="T45" fmla="*/ 23 h 35"/>
                <a:gd name="T46" fmla="*/ 28 w 59"/>
                <a:gd name="T47" fmla="*/ 23 h 35"/>
                <a:gd name="T48" fmla="*/ 26 w 59"/>
                <a:gd name="T49" fmla="*/ 24 h 35"/>
                <a:gd name="T50" fmla="*/ 26 w 59"/>
                <a:gd name="T51" fmla="*/ 23 h 35"/>
                <a:gd name="T52" fmla="*/ 20 w 59"/>
                <a:gd name="T53" fmla="*/ 30 h 35"/>
                <a:gd name="T54" fmla="*/ 22 w 59"/>
                <a:gd name="T55" fmla="*/ 28 h 35"/>
                <a:gd name="T56" fmla="*/ 23 w 59"/>
                <a:gd name="T57" fmla="*/ 28 h 35"/>
                <a:gd name="T58" fmla="*/ 24 w 59"/>
                <a:gd name="T59" fmla="*/ 28 h 35"/>
                <a:gd name="T60" fmla="*/ 22 w 59"/>
                <a:gd name="T61" fmla="*/ 31 h 35"/>
                <a:gd name="T62" fmla="*/ 26 w 59"/>
                <a:gd name="T63" fmla="*/ 35 h 35"/>
                <a:gd name="T64" fmla="*/ 30 w 59"/>
                <a:gd name="T65" fmla="*/ 34 h 35"/>
                <a:gd name="T66" fmla="*/ 30 w 59"/>
                <a:gd name="T67" fmla="*/ 34 h 35"/>
                <a:gd name="T68" fmla="*/ 37 w 59"/>
                <a:gd name="T69" fmla="*/ 23 h 35"/>
                <a:gd name="T70" fmla="*/ 42 w 59"/>
                <a:gd name="T71" fmla="*/ 22 h 35"/>
                <a:gd name="T72" fmla="*/ 44 w 59"/>
                <a:gd name="T73" fmla="*/ 22 h 35"/>
                <a:gd name="T74" fmla="*/ 46 w 59"/>
                <a:gd name="T75" fmla="*/ 21 h 35"/>
                <a:gd name="T76" fmla="*/ 48 w 59"/>
                <a:gd name="T77" fmla="*/ 21 h 35"/>
                <a:gd name="T78" fmla="*/ 56 w 59"/>
                <a:gd name="T79" fmla="*/ 19 h 35"/>
                <a:gd name="T80" fmla="*/ 57 w 59"/>
                <a:gd name="T81" fmla="*/ 18 h 35"/>
                <a:gd name="T82" fmla="*/ 58 w 59"/>
                <a:gd name="T83" fmla="*/ 18 h 35"/>
                <a:gd name="T84" fmla="*/ 57 w 59"/>
                <a:gd name="T85" fmla="*/ 15 h 35"/>
                <a:gd name="T86" fmla="*/ 56 w 59"/>
                <a:gd name="T87" fmla="*/ 13 h 35"/>
                <a:gd name="T88" fmla="*/ 47 w 59"/>
                <a:gd name="T89" fmla="*/ 13 h 35"/>
                <a:gd name="T90" fmla="*/ 54 w 59"/>
                <a:gd name="T91" fmla="*/ 8 h 35"/>
                <a:gd name="T92" fmla="*/ 59 w 59"/>
                <a:gd name="T93" fmla="*/ 5 h 35"/>
                <a:gd name="T94" fmla="*/ 59 w 59"/>
                <a:gd name="T95" fmla="*/ 5 h 35"/>
                <a:gd name="T96" fmla="*/ 59 w 59"/>
                <a:gd name="T97" fmla="*/ 3 h 35"/>
                <a:gd name="T98" fmla="*/ 59 w 59"/>
                <a:gd name="T99" fmla="*/ 0 h 35"/>
                <a:gd name="T100" fmla="*/ 57 w 59"/>
                <a:gd name="T101" fmla="*/ 0 h 35"/>
                <a:gd name="T102" fmla="*/ 52 w 59"/>
                <a:gd name="T103" fmla="*/ 1 h 35"/>
                <a:gd name="T104" fmla="*/ 51 w 59"/>
                <a:gd name="T105" fmla="*/ 1 h 35"/>
                <a:gd name="T106" fmla="*/ 46 w 59"/>
                <a:gd name="T107" fmla="*/ 0 h 35"/>
                <a:gd name="T108" fmla="*/ 40 w 59"/>
                <a:gd name="T109"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 h="35">
                  <a:moveTo>
                    <a:pt x="40" y="0"/>
                  </a:moveTo>
                  <a:cubicBezTo>
                    <a:pt x="39" y="0"/>
                    <a:pt x="37" y="0"/>
                    <a:pt x="36" y="0"/>
                  </a:cubicBezTo>
                  <a:cubicBezTo>
                    <a:pt x="34" y="0"/>
                    <a:pt x="34" y="0"/>
                    <a:pt x="34" y="0"/>
                  </a:cubicBezTo>
                  <a:cubicBezTo>
                    <a:pt x="26" y="2"/>
                    <a:pt x="16" y="5"/>
                    <a:pt x="4" y="7"/>
                  </a:cubicBezTo>
                  <a:cubicBezTo>
                    <a:pt x="3" y="8"/>
                    <a:pt x="1" y="9"/>
                    <a:pt x="1" y="10"/>
                  </a:cubicBezTo>
                  <a:cubicBezTo>
                    <a:pt x="0" y="11"/>
                    <a:pt x="2" y="13"/>
                    <a:pt x="3" y="15"/>
                  </a:cubicBezTo>
                  <a:cubicBezTo>
                    <a:pt x="4" y="16"/>
                    <a:pt x="4" y="16"/>
                    <a:pt x="5" y="16"/>
                  </a:cubicBezTo>
                  <a:cubicBezTo>
                    <a:pt x="5" y="16"/>
                    <a:pt x="6" y="16"/>
                    <a:pt x="6" y="16"/>
                  </a:cubicBezTo>
                  <a:cubicBezTo>
                    <a:pt x="9" y="16"/>
                    <a:pt x="12" y="14"/>
                    <a:pt x="15" y="14"/>
                  </a:cubicBezTo>
                  <a:cubicBezTo>
                    <a:pt x="11" y="15"/>
                    <a:pt x="10" y="16"/>
                    <a:pt x="8" y="19"/>
                  </a:cubicBezTo>
                  <a:cubicBezTo>
                    <a:pt x="9" y="19"/>
                    <a:pt x="10" y="20"/>
                    <a:pt x="10" y="20"/>
                  </a:cubicBezTo>
                  <a:cubicBezTo>
                    <a:pt x="12" y="20"/>
                    <a:pt x="13" y="19"/>
                    <a:pt x="14" y="19"/>
                  </a:cubicBezTo>
                  <a:cubicBezTo>
                    <a:pt x="17" y="19"/>
                    <a:pt x="18" y="17"/>
                    <a:pt x="20" y="16"/>
                  </a:cubicBezTo>
                  <a:cubicBezTo>
                    <a:pt x="23" y="16"/>
                    <a:pt x="27" y="15"/>
                    <a:pt x="30" y="15"/>
                  </a:cubicBezTo>
                  <a:cubicBezTo>
                    <a:pt x="30" y="15"/>
                    <a:pt x="31" y="15"/>
                    <a:pt x="31" y="15"/>
                  </a:cubicBezTo>
                  <a:cubicBezTo>
                    <a:pt x="33" y="15"/>
                    <a:pt x="33" y="18"/>
                    <a:pt x="33" y="19"/>
                  </a:cubicBezTo>
                  <a:cubicBezTo>
                    <a:pt x="31" y="17"/>
                    <a:pt x="29" y="16"/>
                    <a:pt x="27" y="16"/>
                  </a:cubicBezTo>
                  <a:cubicBezTo>
                    <a:pt x="25" y="16"/>
                    <a:pt x="24" y="16"/>
                    <a:pt x="22" y="18"/>
                  </a:cubicBezTo>
                  <a:cubicBezTo>
                    <a:pt x="19" y="20"/>
                    <a:pt x="21" y="21"/>
                    <a:pt x="21" y="24"/>
                  </a:cubicBezTo>
                  <a:cubicBezTo>
                    <a:pt x="22" y="22"/>
                    <a:pt x="24" y="22"/>
                    <a:pt x="25" y="22"/>
                  </a:cubicBezTo>
                  <a:cubicBezTo>
                    <a:pt x="27" y="22"/>
                    <a:pt x="29" y="23"/>
                    <a:pt x="31" y="24"/>
                  </a:cubicBezTo>
                  <a:cubicBezTo>
                    <a:pt x="30" y="24"/>
                    <a:pt x="29" y="24"/>
                    <a:pt x="29" y="25"/>
                  </a:cubicBezTo>
                  <a:cubicBezTo>
                    <a:pt x="29" y="24"/>
                    <a:pt x="29" y="23"/>
                    <a:pt x="29" y="23"/>
                  </a:cubicBezTo>
                  <a:cubicBezTo>
                    <a:pt x="29" y="23"/>
                    <a:pt x="28" y="23"/>
                    <a:pt x="28" y="23"/>
                  </a:cubicBezTo>
                  <a:cubicBezTo>
                    <a:pt x="27" y="23"/>
                    <a:pt x="27" y="23"/>
                    <a:pt x="26" y="24"/>
                  </a:cubicBezTo>
                  <a:cubicBezTo>
                    <a:pt x="26" y="24"/>
                    <a:pt x="26" y="24"/>
                    <a:pt x="26" y="23"/>
                  </a:cubicBezTo>
                  <a:cubicBezTo>
                    <a:pt x="24" y="25"/>
                    <a:pt x="21" y="27"/>
                    <a:pt x="20" y="30"/>
                  </a:cubicBezTo>
                  <a:cubicBezTo>
                    <a:pt x="21" y="29"/>
                    <a:pt x="22" y="29"/>
                    <a:pt x="22" y="28"/>
                  </a:cubicBezTo>
                  <a:cubicBezTo>
                    <a:pt x="23" y="28"/>
                    <a:pt x="23" y="28"/>
                    <a:pt x="23" y="28"/>
                  </a:cubicBezTo>
                  <a:cubicBezTo>
                    <a:pt x="24" y="28"/>
                    <a:pt x="24" y="28"/>
                    <a:pt x="24" y="28"/>
                  </a:cubicBezTo>
                  <a:cubicBezTo>
                    <a:pt x="22" y="29"/>
                    <a:pt x="21" y="30"/>
                    <a:pt x="22" y="31"/>
                  </a:cubicBezTo>
                  <a:cubicBezTo>
                    <a:pt x="25" y="32"/>
                    <a:pt x="28" y="31"/>
                    <a:pt x="26" y="35"/>
                  </a:cubicBezTo>
                  <a:cubicBezTo>
                    <a:pt x="28" y="35"/>
                    <a:pt x="29" y="35"/>
                    <a:pt x="30" y="34"/>
                  </a:cubicBezTo>
                  <a:cubicBezTo>
                    <a:pt x="30" y="34"/>
                    <a:pt x="30" y="34"/>
                    <a:pt x="30" y="34"/>
                  </a:cubicBezTo>
                  <a:cubicBezTo>
                    <a:pt x="32" y="30"/>
                    <a:pt x="34" y="25"/>
                    <a:pt x="37" y="23"/>
                  </a:cubicBezTo>
                  <a:cubicBezTo>
                    <a:pt x="38" y="22"/>
                    <a:pt x="40" y="22"/>
                    <a:pt x="42" y="22"/>
                  </a:cubicBezTo>
                  <a:cubicBezTo>
                    <a:pt x="43" y="22"/>
                    <a:pt x="43" y="22"/>
                    <a:pt x="44" y="22"/>
                  </a:cubicBezTo>
                  <a:cubicBezTo>
                    <a:pt x="45" y="21"/>
                    <a:pt x="45" y="21"/>
                    <a:pt x="46" y="21"/>
                  </a:cubicBezTo>
                  <a:cubicBezTo>
                    <a:pt x="48" y="21"/>
                    <a:pt x="48" y="21"/>
                    <a:pt x="48" y="21"/>
                  </a:cubicBezTo>
                  <a:cubicBezTo>
                    <a:pt x="50" y="20"/>
                    <a:pt x="53" y="20"/>
                    <a:pt x="56" y="19"/>
                  </a:cubicBezTo>
                  <a:cubicBezTo>
                    <a:pt x="56" y="19"/>
                    <a:pt x="56" y="18"/>
                    <a:pt x="57" y="18"/>
                  </a:cubicBezTo>
                  <a:cubicBezTo>
                    <a:pt x="58" y="18"/>
                    <a:pt x="58" y="18"/>
                    <a:pt x="58" y="18"/>
                  </a:cubicBezTo>
                  <a:cubicBezTo>
                    <a:pt x="58" y="16"/>
                    <a:pt x="57" y="15"/>
                    <a:pt x="57" y="15"/>
                  </a:cubicBezTo>
                  <a:cubicBezTo>
                    <a:pt x="56" y="13"/>
                    <a:pt x="56" y="13"/>
                    <a:pt x="56" y="13"/>
                  </a:cubicBezTo>
                  <a:cubicBezTo>
                    <a:pt x="47" y="13"/>
                    <a:pt x="47" y="13"/>
                    <a:pt x="47" y="13"/>
                  </a:cubicBezTo>
                  <a:cubicBezTo>
                    <a:pt x="54" y="8"/>
                    <a:pt x="54" y="8"/>
                    <a:pt x="54" y="8"/>
                  </a:cubicBezTo>
                  <a:cubicBezTo>
                    <a:pt x="56" y="7"/>
                    <a:pt x="57" y="6"/>
                    <a:pt x="59" y="5"/>
                  </a:cubicBezTo>
                  <a:cubicBezTo>
                    <a:pt x="59" y="5"/>
                    <a:pt x="59" y="5"/>
                    <a:pt x="59" y="5"/>
                  </a:cubicBezTo>
                  <a:cubicBezTo>
                    <a:pt x="59" y="4"/>
                    <a:pt x="59" y="4"/>
                    <a:pt x="59" y="3"/>
                  </a:cubicBezTo>
                  <a:cubicBezTo>
                    <a:pt x="59" y="0"/>
                    <a:pt x="59" y="0"/>
                    <a:pt x="59" y="0"/>
                  </a:cubicBezTo>
                  <a:cubicBezTo>
                    <a:pt x="58" y="0"/>
                    <a:pt x="58" y="0"/>
                    <a:pt x="57" y="0"/>
                  </a:cubicBezTo>
                  <a:cubicBezTo>
                    <a:pt x="55" y="0"/>
                    <a:pt x="54" y="0"/>
                    <a:pt x="52" y="1"/>
                  </a:cubicBezTo>
                  <a:cubicBezTo>
                    <a:pt x="51" y="1"/>
                    <a:pt x="51" y="1"/>
                    <a:pt x="51" y="1"/>
                  </a:cubicBezTo>
                  <a:cubicBezTo>
                    <a:pt x="50" y="0"/>
                    <a:pt x="48" y="0"/>
                    <a:pt x="46" y="0"/>
                  </a:cubicBezTo>
                  <a:cubicBezTo>
                    <a:pt x="44" y="0"/>
                    <a:pt x="42"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243"/>
            <p:cNvSpPr/>
            <p:nvPr/>
          </p:nvSpPr>
          <p:spPr bwMode="auto">
            <a:xfrm>
              <a:off x="2742" y="2067"/>
              <a:ext cx="21" cy="5"/>
            </a:xfrm>
            <a:custGeom>
              <a:gdLst>
                <a:gd name="T0" fmla="*/ 9 w 9"/>
                <a:gd name="T1" fmla="*/ 0 h 2"/>
                <a:gd name="T2" fmla="*/ 0 w 9"/>
                <a:gd name="T3" fmla="*/ 1 h 2"/>
                <a:gd name="T4" fmla="*/ 3 w 9"/>
                <a:gd name="T5" fmla="*/ 2 h 2"/>
                <a:gd name="T6" fmla="*/ 9 w 9"/>
                <a:gd name="T7" fmla="*/ 0 h 2"/>
              </a:gdLst>
              <a:cxnLst>
                <a:cxn ang="0">
                  <a:pos x="T0" y="T1"/>
                </a:cxn>
                <a:cxn ang="0">
                  <a:pos x="T2" y="T3"/>
                </a:cxn>
                <a:cxn ang="0">
                  <a:pos x="T4" y="T5"/>
                </a:cxn>
                <a:cxn ang="0">
                  <a:pos x="T6" y="T7"/>
                </a:cxn>
              </a:cxnLst>
              <a:rect l="0" t="0" r="r" b="b"/>
              <a:pathLst>
                <a:path w="9" h="2">
                  <a:moveTo>
                    <a:pt x="9" y="0"/>
                  </a:moveTo>
                  <a:cubicBezTo>
                    <a:pt x="6" y="0"/>
                    <a:pt x="3" y="1"/>
                    <a:pt x="0" y="1"/>
                  </a:cubicBezTo>
                  <a:cubicBezTo>
                    <a:pt x="1" y="2"/>
                    <a:pt x="2" y="2"/>
                    <a:pt x="3" y="2"/>
                  </a:cubicBezTo>
                  <a:cubicBezTo>
                    <a:pt x="5" y="2"/>
                    <a:pt x="6"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244"/>
            <p:cNvSpPr/>
            <p:nvPr/>
          </p:nvSpPr>
          <p:spPr bwMode="auto">
            <a:xfrm>
              <a:off x="5282" y="2890"/>
              <a:ext cx="97" cy="106"/>
            </a:xfrm>
            <a:custGeom>
              <a:gdLst>
                <a:gd name="T0" fmla="*/ 29 w 41"/>
                <a:gd name="T1" fmla="*/ 0 h 45"/>
                <a:gd name="T2" fmla="*/ 24 w 41"/>
                <a:gd name="T3" fmla="*/ 2 h 45"/>
                <a:gd name="T4" fmla="*/ 22 w 41"/>
                <a:gd name="T5" fmla="*/ 1 h 45"/>
                <a:gd name="T6" fmla="*/ 18 w 41"/>
                <a:gd name="T7" fmla="*/ 8 h 45"/>
                <a:gd name="T8" fmla="*/ 17 w 41"/>
                <a:gd name="T9" fmla="*/ 9 h 45"/>
                <a:gd name="T10" fmla="*/ 14 w 41"/>
                <a:gd name="T11" fmla="*/ 10 h 45"/>
                <a:gd name="T12" fmla="*/ 14 w 41"/>
                <a:gd name="T13" fmla="*/ 10 h 45"/>
                <a:gd name="T14" fmla="*/ 13 w 41"/>
                <a:gd name="T15" fmla="*/ 10 h 45"/>
                <a:gd name="T16" fmla="*/ 13 w 41"/>
                <a:gd name="T17" fmla="*/ 11 h 45"/>
                <a:gd name="T18" fmla="*/ 12 w 41"/>
                <a:gd name="T19" fmla="*/ 11 h 45"/>
                <a:gd name="T20" fmla="*/ 12 w 41"/>
                <a:gd name="T21" fmla="*/ 11 h 45"/>
                <a:gd name="T22" fmla="*/ 12 w 41"/>
                <a:gd name="T23" fmla="*/ 11 h 45"/>
                <a:gd name="T24" fmla="*/ 10 w 41"/>
                <a:gd name="T25" fmla="*/ 11 h 45"/>
                <a:gd name="T26" fmla="*/ 9 w 41"/>
                <a:gd name="T27" fmla="*/ 11 h 45"/>
                <a:gd name="T28" fmla="*/ 3 w 41"/>
                <a:gd name="T29" fmla="*/ 9 h 45"/>
                <a:gd name="T30" fmla="*/ 1 w 41"/>
                <a:gd name="T31" fmla="*/ 7 h 45"/>
                <a:gd name="T32" fmla="*/ 1 w 41"/>
                <a:gd name="T33" fmla="*/ 7 h 45"/>
                <a:gd name="T34" fmla="*/ 0 w 41"/>
                <a:gd name="T35" fmla="*/ 7 h 45"/>
                <a:gd name="T36" fmla="*/ 0 w 41"/>
                <a:gd name="T37" fmla="*/ 7 h 45"/>
                <a:gd name="T38" fmla="*/ 1 w 41"/>
                <a:gd name="T39" fmla="*/ 7 h 45"/>
                <a:gd name="T40" fmla="*/ 1 w 41"/>
                <a:gd name="T41" fmla="*/ 8 h 45"/>
                <a:gd name="T42" fmla="*/ 2 w 41"/>
                <a:gd name="T43" fmla="*/ 9 h 45"/>
                <a:gd name="T44" fmla="*/ 2 w 41"/>
                <a:gd name="T45" fmla="*/ 9 h 45"/>
                <a:gd name="T46" fmla="*/ 3 w 41"/>
                <a:gd name="T47" fmla="*/ 10 h 45"/>
                <a:gd name="T48" fmla="*/ 5 w 41"/>
                <a:gd name="T49" fmla="*/ 18 h 45"/>
                <a:gd name="T50" fmla="*/ 5 w 41"/>
                <a:gd name="T51" fmla="*/ 18 h 45"/>
                <a:gd name="T52" fmla="*/ 5 w 41"/>
                <a:gd name="T53" fmla="*/ 19 h 45"/>
                <a:gd name="T54" fmla="*/ 5 w 41"/>
                <a:gd name="T55" fmla="*/ 21 h 45"/>
                <a:gd name="T56" fmla="*/ 4 w 41"/>
                <a:gd name="T57" fmla="*/ 23 h 45"/>
                <a:gd name="T58" fmla="*/ 4 w 41"/>
                <a:gd name="T59" fmla="*/ 24 h 45"/>
                <a:gd name="T60" fmla="*/ 5 w 41"/>
                <a:gd name="T61" fmla="*/ 25 h 45"/>
                <a:gd name="T62" fmla="*/ 3 w 41"/>
                <a:gd name="T63" fmla="*/ 25 h 45"/>
                <a:gd name="T64" fmla="*/ 3 w 41"/>
                <a:gd name="T65" fmla="*/ 25 h 45"/>
                <a:gd name="T66" fmla="*/ 4 w 41"/>
                <a:gd name="T67" fmla="*/ 27 h 45"/>
                <a:gd name="T68" fmla="*/ 3 w 41"/>
                <a:gd name="T69" fmla="*/ 27 h 45"/>
                <a:gd name="T70" fmla="*/ 5 w 41"/>
                <a:gd name="T71" fmla="*/ 32 h 45"/>
                <a:gd name="T72" fmla="*/ 11 w 41"/>
                <a:gd name="T73" fmla="*/ 45 h 45"/>
                <a:gd name="T74" fmla="*/ 11 w 41"/>
                <a:gd name="T75" fmla="*/ 45 h 45"/>
                <a:gd name="T76" fmla="*/ 14 w 41"/>
                <a:gd name="T77" fmla="*/ 45 h 45"/>
                <a:gd name="T78" fmla="*/ 15 w 41"/>
                <a:gd name="T79" fmla="*/ 45 h 45"/>
                <a:gd name="T80" fmla="*/ 22 w 41"/>
                <a:gd name="T81" fmla="*/ 44 h 45"/>
                <a:gd name="T82" fmla="*/ 26 w 41"/>
                <a:gd name="T83" fmla="*/ 44 h 45"/>
                <a:gd name="T84" fmla="*/ 31 w 41"/>
                <a:gd name="T85" fmla="*/ 38 h 45"/>
                <a:gd name="T86" fmla="*/ 32 w 41"/>
                <a:gd name="T87" fmla="*/ 36 h 45"/>
                <a:gd name="T88" fmla="*/ 33 w 41"/>
                <a:gd name="T89" fmla="*/ 32 h 45"/>
                <a:gd name="T90" fmla="*/ 36 w 41"/>
                <a:gd name="T91" fmla="*/ 24 h 45"/>
                <a:gd name="T92" fmla="*/ 37 w 41"/>
                <a:gd name="T93" fmla="*/ 23 h 45"/>
                <a:gd name="T94" fmla="*/ 37 w 41"/>
                <a:gd name="T95" fmla="*/ 23 h 45"/>
                <a:gd name="T96" fmla="*/ 37 w 41"/>
                <a:gd name="T97" fmla="*/ 21 h 45"/>
                <a:gd name="T98" fmla="*/ 39 w 41"/>
                <a:gd name="T99" fmla="*/ 20 h 45"/>
                <a:gd name="T100" fmla="*/ 41 w 41"/>
                <a:gd name="T101" fmla="*/ 18 h 45"/>
                <a:gd name="T102" fmla="*/ 39 w 41"/>
                <a:gd name="T103" fmla="*/ 12 h 45"/>
                <a:gd name="T104" fmla="*/ 38 w 41"/>
                <a:gd name="T105" fmla="*/ 10 h 45"/>
                <a:gd name="T106" fmla="*/ 35 w 41"/>
                <a:gd name="T107" fmla="*/ 10 h 45"/>
                <a:gd name="T108" fmla="*/ 35 w 41"/>
                <a:gd name="T109" fmla="*/ 7 h 45"/>
                <a:gd name="T110" fmla="*/ 35 w 41"/>
                <a:gd name="T111" fmla="*/ 6 h 45"/>
                <a:gd name="T112" fmla="*/ 34 w 41"/>
                <a:gd name="T113" fmla="*/ 2 h 45"/>
                <a:gd name="T114" fmla="*/ 34 w 41"/>
                <a:gd name="T115" fmla="*/ 2 h 45"/>
                <a:gd name="T116" fmla="*/ 34 w 41"/>
                <a:gd name="T117" fmla="*/ 2 h 45"/>
                <a:gd name="T118" fmla="*/ 33 w 41"/>
                <a:gd name="T119" fmla="*/ 2 h 45"/>
                <a:gd name="T120" fmla="*/ 32 w 41"/>
                <a:gd name="T121" fmla="*/ 2 h 45"/>
                <a:gd name="T122" fmla="*/ 31 w 41"/>
                <a:gd name="T123" fmla="*/ 1 h 45"/>
                <a:gd name="T124" fmla="*/ 29 w 41"/>
                <a:gd name="T125"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45">
                  <a:moveTo>
                    <a:pt x="29" y="0"/>
                  </a:moveTo>
                  <a:cubicBezTo>
                    <a:pt x="27" y="1"/>
                    <a:pt x="25" y="2"/>
                    <a:pt x="24" y="2"/>
                  </a:cubicBezTo>
                  <a:cubicBezTo>
                    <a:pt x="23" y="2"/>
                    <a:pt x="23" y="2"/>
                    <a:pt x="22" y="1"/>
                  </a:cubicBezTo>
                  <a:cubicBezTo>
                    <a:pt x="22" y="4"/>
                    <a:pt x="21" y="7"/>
                    <a:pt x="18" y="8"/>
                  </a:cubicBezTo>
                  <a:cubicBezTo>
                    <a:pt x="17" y="9"/>
                    <a:pt x="17" y="9"/>
                    <a:pt x="17" y="9"/>
                  </a:cubicBezTo>
                  <a:cubicBezTo>
                    <a:pt x="17" y="9"/>
                    <a:pt x="15" y="10"/>
                    <a:pt x="14" y="10"/>
                  </a:cubicBezTo>
                  <a:cubicBezTo>
                    <a:pt x="14" y="10"/>
                    <a:pt x="14" y="10"/>
                    <a:pt x="14" y="10"/>
                  </a:cubicBezTo>
                  <a:cubicBezTo>
                    <a:pt x="13" y="10"/>
                    <a:pt x="13" y="10"/>
                    <a:pt x="13" y="10"/>
                  </a:cubicBezTo>
                  <a:cubicBezTo>
                    <a:pt x="13" y="11"/>
                    <a:pt x="13" y="11"/>
                    <a:pt x="13" y="11"/>
                  </a:cubicBezTo>
                  <a:cubicBezTo>
                    <a:pt x="12" y="11"/>
                    <a:pt x="12" y="11"/>
                    <a:pt x="12" y="11"/>
                  </a:cubicBezTo>
                  <a:cubicBezTo>
                    <a:pt x="12" y="11"/>
                    <a:pt x="12" y="11"/>
                    <a:pt x="12" y="11"/>
                  </a:cubicBezTo>
                  <a:cubicBezTo>
                    <a:pt x="12" y="11"/>
                    <a:pt x="12" y="11"/>
                    <a:pt x="12" y="11"/>
                  </a:cubicBezTo>
                  <a:cubicBezTo>
                    <a:pt x="11" y="11"/>
                    <a:pt x="11" y="11"/>
                    <a:pt x="10" y="11"/>
                  </a:cubicBezTo>
                  <a:cubicBezTo>
                    <a:pt x="10" y="11"/>
                    <a:pt x="10" y="11"/>
                    <a:pt x="9" y="11"/>
                  </a:cubicBezTo>
                  <a:cubicBezTo>
                    <a:pt x="6" y="11"/>
                    <a:pt x="4" y="10"/>
                    <a:pt x="3" y="9"/>
                  </a:cubicBezTo>
                  <a:cubicBezTo>
                    <a:pt x="2" y="8"/>
                    <a:pt x="2" y="7"/>
                    <a:pt x="1" y="7"/>
                  </a:cubicBezTo>
                  <a:cubicBezTo>
                    <a:pt x="1" y="7"/>
                    <a:pt x="1" y="7"/>
                    <a:pt x="1" y="7"/>
                  </a:cubicBezTo>
                  <a:cubicBezTo>
                    <a:pt x="1" y="7"/>
                    <a:pt x="1" y="7"/>
                    <a:pt x="0" y="7"/>
                  </a:cubicBezTo>
                  <a:cubicBezTo>
                    <a:pt x="0" y="7"/>
                    <a:pt x="0" y="7"/>
                    <a:pt x="0" y="7"/>
                  </a:cubicBezTo>
                  <a:cubicBezTo>
                    <a:pt x="1" y="7"/>
                    <a:pt x="1" y="7"/>
                    <a:pt x="1" y="7"/>
                  </a:cubicBezTo>
                  <a:cubicBezTo>
                    <a:pt x="1" y="7"/>
                    <a:pt x="1" y="8"/>
                    <a:pt x="1" y="8"/>
                  </a:cubicBezTo>
                  <a:cubicBezTo>
                    <a:pt x="2" y="9"/>
                    <a:pt x="2" y="9"/>
                    <a:pt x="2" y="9"/>
                  </a:cubicBezTo>
                  <a:cubicBezTo>
                    <a:pt x="2" y="9"/>
                    <a:pt x="2" y="9"/>
                    <a:pt x="2" y="9"/>
                  </a:cubicBezTo>
                  <a:cubicBezTo>
                    <a:pt x="3" y="10"/>
                    <a:pt x="3" y="10"/>
                    <a:pt x="3" y="10"/>
                  </a:cubicBezTo>
                  <a:cubicBezTo>
                    <a:pt x="4" y="13"/>
                    <a:pt x="5" y="15"/>
                    <a:pt x="5" y="18"/>
                  </a:cubicBezTo>
                  <a:cubicBezTo>
                    <a:pt x="5" y="18"/>
                    <a:pt x="5" y="18"/>
                    <a:pt x="5" y="18"/>
                  </a:cubicBezTo>
                  <a:cubicBezTo>
                    <a:pt x="5" y="19"/>
                    <a:pt x="5" y="19"/>
                    <a:pt x="5" y="19"/>
                  </a:cubicBezTo>
                  <a:cubicBezTo>
                    <a:pt x="5" y="21"/>
                    <a:pt x="5" y="21"/>
                    <a:pt x="5" y="21"/>
                  </a:cubicBezTo>
                  <a:cubicBezTo>
                    <a:pt x="5" y="22"/>
                    <a:pt x="5" y="23"/>
                    <a:pt x="4" y="23"/>
                  </a:cubicBezTo>
                  <a:cubicBezTo>
                    <a:pt x="4" y="24"/>
                    <a:pt x="4" y="24"/>
                    <a:pt x="4" y="24"/>
                  </a:cubicBezTo>
                  <a:cubicBezTo>
                    <a:pt x="5" y="25"/>
                    <a:pt x="5" y="25"/>
                    <a:pt x="5" y="25"/>
                  </a:cubicBezTo>
                  <a:cubicBezTo>
                    <a:pt x="3" y="25"/>
                    <a:pt x="3" y="25"/>
                    <a:pt x="3" y="25"/>
                  </a:cubicBezTo>
                  <a:cubicBezTo>
                    <a:pt x="3" y="25"/>
                    <a:pt x="3" y="25"/>
                    <a:pt x="3" y="25"/>
                  </a:cubicBezTo>
                  <a:cubicBezTo>
                    <a:pt x="4" y="27"/>
                    <a:pt x="4" y="27"/>
                    <a:pt x="4" y="27"/>
                  </a:cubicBezTo>
                  <a:cubicBezTo>
                    <a:pt x="3" y="27"/>
                    <a:pt x="3" y="27"/>
                    <a:pt x="3" y="27"/>
                  </a:cubicBezTo>
                  <a:cubicBezTo>
                    <a:pt x="4" y="29"/>
                    <a:pt x="5" y="31"/>
                    <a:pt x="5" y="32"/>
                  </a:cubicBezTo>
                  <a:cubicBezTo>
                    <a:pt x="7" y="36"/>
                    <a:pt x="9" y="41"/>
                    <a:pt x="11" y="45"/>
                  </a:cubicBezTo>
                  <a:cubicBezTo>
                    <a:pt x="11" y="45"/>
                    <a:pt x="11" y="45"/>
                    <a:pt x="11" y="45"/>
                  </a:cubicBezTo>
                  <a:cubicBezTo>
                    <a:pt x="14" y="45"/>
                    <a:pt x="14" y="45"/>
                    <a:pt x="14" y="45"/>
                  </a:cubicBezTo>
                  <a:cubicBezTo>
                    <a:pt x="15" y="45"/>
                    <a:pt x="15" y="45"/>
                    <a:pt x="15" y="45"/>
                  </a:cubicBezTo>
                  <a:cubicBezTo>
                    <a:pt x="15" y="45"/>
                    <a:pt x="16" y="45"/>
                    <a:pt x="22" y="44"/>
                  </a:cubicBezTo>
                  <a:cubicBezTo>
                    <a:pt x="24" y="44"/>
                    <a:pt x="25" y="44"/>
                    <a:pt x="26" y="44"/>
                  </a:cubicBezTo>
                  <a:cubicBezTo>
                    <a:pt x="29" y="42"/>
                    <a:pt x="29" y="41"/>
                    <a:pt x="31" y="38"/>
                  </a:cubicBezTo>
                  <a:cubicBezTo>
                    <a:pt x="32" y="36"/>
                    <a:pt x="32" y="36"/>
                    <a:pt x="32" y="36"/>
                  </a:cubicBezTo>
                  <a:cubicBezTo>
                    <a:pt x="33" y="35"/>
                    <a:pt x="33" y="33"/>
                    <a:pt x="33" y="32"/>
                  </a:cubicBezTo>
                  <a:cubicBezTo>
                    <a:pt x="33" y="29"/>
                    <a:pt x="33" y="26"/>
                    <a:pt x="36" y="24"/>
                  </a:cubicBezTo>
                  <a:cubicBezTo>
                    <a:pt x="37" y="23"/>
                    <a:pt x="37" y="23"/>
                    <a:pt x="37" y="23"/>
                  </a:cubicBezTo>
                  <a:cubicBezTo>
                    <a:pt x="37" y="23"/>
                    <a:pt x="37" y="23"/>
                    <a:pt x="37" y="23"/>
                  </a:cubicBezTo>
                  <a:cubicBezTo>
                    <a:pt x="37" y="21"/>
                    <a:pt x="37" y="21"/>
                    <a:pt x="37" y="21"/>
                  </a:cubicBezTo>
                  <a:cubicBezTo>
                    <a:pt x="39" y="20"/>
                    <a:pt x="39" y="20"/>
                    <a:pt x="39" y="20"/>
                  </a:cubicBezTo>
                  <a:cubicBezTo>
                    <a:pt x="39" y="20"/>
                    <a:pt x="40" y="18"/>
                    <a:pt x="41" y="18"/>
                  </a:cubicBezTo>
                  <a:cubicBezTo>
                    <a:pt x="40" y="17"/>
                    <a:pt x="40" y="14"/>
                    <a:pt x="39" y="12"/>
                  </a:cubicBezTo>
                  <a:cubicBezTo>
                    <a:pt x="38" y="11"/>
                    <a:pt x="38" y="11"/>
                    <a:pt x="38" y="10"/>
                  </a:cubicBezTo>
                  <a:cubicBezTo>
                    <a:pt x="35" y="10"/>
                    <a:pt x="35" y="10"/>
                    <a:pt x="35" y="10"/>
                  </a:cubicBezTo>
                  <a:cubicBezTo>
                    <a:pt x="35" y="7"/>
                    <a:pt x="35" y="7"/>
                    <a:pt x="35" y="7"/>
                  </a:cubicBezTo>
                  <a:cubicBezTo>
                    <a:pt x="35" y="6"/>
                    <a:pt x="35" y="6"/>
                    <a:pt x="35" y="6"/>
                  </a:cubicBezTo>
                  <a:cubicBezTo>
                    <a:pt x="35" y="5"/>
                    <a:pt x="34" y="4"/>
                    <a:pt x="34" y="2"/>
                  </a:cubicBezTo>
                  <a:cubicBezTo>
                    <a:pt x="34" y="2"/>
                    <a:pt x="34" y="2"/>
                    <a:pt x="34" y="2"/>
                  </a:cubicBezTo>
                  <a:cubicBezTo>
                    <a:pt x="34" y="2"/>
                    <a:pt x="34" y="2"/>
                    <a:pt x="34" y="2"/>
                  </a:cubicBezTo>
                  <a:cubicBezTo>
                    <a:pt x="33" y="2"/>
                    <a:pt x="33" y="2"/>
                    <a:pt x="33" y="2"/>
                  </a:cubicBezTo>
                  <a:cubicBezTo>
                    <a:pt x="32" y="2"/>
                    <a:pt x="32" y="2"/>
                    <a:pt x="32" y="2"/>
                  </a:cubicBezTo>
                  <a:cubicBezTo>
                    <a:pt x="32" y="1"/>
                    <a:pt x="32" y="1"/>
                    <a:pt x="31" y="1"/>
                  </a:cubicBezTo>
                  <a:cubicBezTo>
                    <a:pt x="31" y="1"/>
                    <a:pt x="30" y="1"/>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45"/>
            <p:cNvSpPr/>
            <p:nvPr/>
          </p:nvSpPr>
          <p:spPr bwMode="auto">
            <a:xfrm>
              <a:off x="5277" y="2824"/>
              <a:ext cx="95" cy="80"/>
            </a:xfrm>
            <a:custGeom>
              <a:gdLst>
                <a:gd name="T0" fmla="*/ 33 w 40"/>
                <a:gd name="T1" fmla="*/ 0 h 34"/>
                <a:gd name="T2" fmla="*/ 29 w 40"/>
                <a:gd name="T3" fmla="*/ 2 h 34"/>
                <a:gd name="T4" fmla="*/ 29 w 40"/>
                <a:gd name="T5" fmla="*/ 3 h 34"/>
                <a:gd name="T6" fmla="*/ 26 w 40"/>
                <a:gd name="T7" fmla="*/ 5 h 34"/>
                <a:gd name="T8" fmla="*/ 23 w 40"/>
                <a:gd name="T9" fmla="*/ 7 h 34"/>
                <a:gd name="T10" fmla="*/ 22 w 40"/>
                <a:gd name="T11" fmla="*/ 7 h 34"/>
                <a:gd name="T12" fmla="*/ 18 w 40"/>
                <a:gd name="T13" fmla="*/ 5 h 34"/>
                <a:gd name="T14" fmla="*/ 17 w 40"/>
                <a:gd name="T15" fmla="*/ 4 h 34"/>
                <a:gd name="T16" fmla="*/ 16 w 40"/>
                <a:gd name="T17" fmla="*/ 5 h 34"/>
                <a:gd name="T18" fmla="*/ 15 w 40"/>
                <a:gd name="T19" fmla="*/ 5 h 34"/>
                <a:gd name="T20" fmla="*/ 12 w 40"/>
                <a:gd name="T21" fmla="*/ 7 h 34"/>
                <a:gd name="T22" fmla="*/ 11 w 40"/>
                <a:gd name="T23" fmla="*/ 8 h 34"/>
                <a:gd name="T24" fmla="*/ 10 w 40"/>
                <a:gd name="T25" fmla="*/ 9 h 34"/>
                <a:gd name="T26" fmla="*/ 8 w 40"/>
                <a:gd name="T27" fmla="*/ 11 h 34"/>
                <a:gd name="T28" fmla="*/ 8 w 40"/>
                <a:gd name="T29" fmla="*/ 11 h 34"/>
                <a:gd name="T30" fmla="*/ 8 w 40"/>
                <a:gd name="T31" fmla="*/ 11 h 34"/>
                <a:gd name="T32" fmla="*/ 6 w 40"/>
                <a:gd name="T33" fmla="*/ 12 h 34"/>
                <a:gd name="T34" fmla="*/ 5 w 40"/>
                <a:gd name="T35" fmla="*/ 17 h 34"/>
                <a:gd name="T36" fmla="*/ 5 w 40"/>
                <a:gd name="T37" fmla="*/ 22 h 34"/>
                <a:gd name="T38" fmla="*/ 3 w 40"/>
                <a:gd name="T39" fmla="*/ 26 h 34"/>
                <a:gd name="T40" fmla="*/ 0 w 40"/>
                <a:gd name="T41" fmla="*/ 29 h 34"/>
                <a:gd name="T42" fmla="*/ 0 w 40"/>
                <a:gd name="T43" fmla="*/ 29 h 34"/>
                <a:gd name="T44" fmla="*/ 0 w 40"/>
                <a:gd name="T45" fmla="*/ 29 h 34"/>
                <a:gd name="T46" fmla="*/ 2 w 40"/>
                <a:gd name="T47" fmla="*/ 29 h 34"/>
                <a:gd name="T48" fmla="*/ 3 w 40"/>
                <a:gd name="T49" fmla="*/ 29 h 34"/>
                <a:gd name="T50" fmla="*/ 5 w 40"/>
                <a:gd name="T51" fmla="*/ 29 h 34"/>
                <a:gd name="T52" fmla="*/ 7 w 40"/>
                <a:gd name="T53" fmla="*/ 25 h 34"/>
                <a:gd name="T54" fmla="*/ 6 w 40"/>
                <a:gd name="T55" fmla="*/ 30 h 34"/>
                <a:gd name="T56" fmla="*/ 6 w 40"/>
                <a:gd name="T57" fmla="*/ 30 h 34"/>
                <a:gd name="T58" fmla="*/ 9 w 40"/>
                <a:gd name="T59" fmla="*/ 32 h 34"/>
                <a:gd name="T60" fmla="*/ 11 w 40"/>
                <a:gd name="T61" fmla="*/ 34 h 34"/>
                <a:gd name="T62" fmla="*/ 10 w 40"/>
                <a:gd name="T63" fmla="*/ 31 h 34"/>
                <a:gd name="T64" fmla="*/ 12 w 40"/>
                <a:gd name="T65" fmla="*/ 33 h 34"/>
                <a:gd name="T66" fmla="*/ 13 w 40"/>
                <a:gd name="T67" fmla="*/ 33 h 34"/>
                <a:gd name="T68" fmla="*/ 13 w 40"/>
                <a:gd name="T69" fmla="*/ 34 h 34"/>
                <a:gd name="T70" fmla="*/ 13 w 40"/>
                <a:gd name="T71" fmla="*/ 34 h 34"/>
                <a:gd name="T72" fmla="*/ 13 w 40"/>
                <a:gd name="T73" fmla="*/ 33 h 34"/>
                <a:gd name="T74" fmla="*/ 16 w 40"/>
                <a:gd name="T75" fmla="*/ 31 h 34"/>
                <a:gd name="T76" fmla="*/ 17 w 40"/>
                <a:gd name="T77" fmla="*/ 31 h 34"/>
                <a:gd name="T78" fmla="*/ 18 w 40"/>
                <a:gd name="T79" fmla="*/ 27 h 34"/>
                <a:gd name="T80" fmla="*/ 18 w 40"/>
                <a:gd name="T81" fmla="*/ 25 h 34"/>
                <a:gd name="T82" fmla="*/ 19 w 40"/>
                <a:gd name="T83" fmla="*/ 20 h 34"/>
                <a:gd name="T84" fmla="*/ 22 w 40"/>
                <a:gd name="T85" fmla="*/ 22 h 34"/>
                <a:gd name="T86" fmla="*/ 26 w 40"/>
                <a:gd name="T87" fmla="*/ 24 h 34"/>
                <a:gd name="T88" fmla="*/ 29 w 40"/>
                <a:gd name="T89" fmla="*/ 23 h 34"/>
                <a:gd name="T90" fmla="*/ 31 w 40"/>
                <a:gd name="T91" fmla="*/ 23 h 34"/>
                <a:gd name="T92" fmla="*/ 31 w 40"/>
                <a:gd name="T93" fmla="*/ 23 h 34"/>
                <a:gd name="T94" fmla="*/ 35 w 40"/>
                <a:gd name="T95" fmla="*/ 24 h 34"/>
                <a:gd name="T96" fmla="*/ 35 w 40"/>
                <a:gd name="T97" fmla="*/ 24 h 34"/>
                <a:gd name="T98" fmla="*/ 36 w 40"/>
                <a:gd name="T99" fmla="*/ 24 h 34"/>
                <a:gd name="T100" fmla="*/ 38 w 40"/>
                <a:gd name="T101" fmla="*/ 24 h 34"/>
                <a:gd name="T102" fmla="*/ 39 w 40"/>
                <a:gd name="T103" fmla="*/ 23 h 34"/>
                <a:gd name="T104" fmla="*/ 39 w 40"/>
                <a:gd name="T105" fmla="*/ 23 h 34"/>
                <a:gd name="T106" fmla="*/ 39 w 40"/>
                <a:gd name="T107" fmla="*/ 23 h 34"/>
                <a:gd name="T108" fmla="*/ 40 w 40"/>
                <a:gd name="T109" fmla="*/ 23 h 34"/>
                <a:gd name="T110" fmla="*/ 40 w 40"/>
                <a:gd name="T111" fmla="*/ 20 h 34"/>
                <a:gd name="T112" fmla="*/ 40 w 40"/>
                <a:gd name="T113" fmla="*/ 19 h 34"/>
                <a:gd name="T114" fmla="*/ 39 w 40"/>
                <a:gd name="T115" fmla="*/ 15 h 34"/>
                <a:gd name="T116" fmla="*/ 38 w 40"/>
                <a:gd name="T117" fmla="*/ 11 h 34"/>
                <a:gd name="T118" fmla="*/ 37 w 40"/>
                <a:gd name="T119" fmla="*/ 7 h 34"/>
                <a:gd name="T120" fmla="*/ 33 w 40"/>
                <a:gd name="T121" fmla="*/ 0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 h="34">
                  <a:moveTo>
                    <a:pt x="33" y="0"/>
                  </a:moveTo>
                  <a:cubicBezTo>
                    <a:pt x="32" y="0"/>
                    <a:pt x="31" y="1"/>
                    <a:pt x="29" y="2"/>
                  </a:cubicBezTo>
                  <a:cubicBezTo>
                    <a:pt x="29" y="3"/>
                    <a:pt x="29" y="3"/>
                    <a:pt x="29" y="3"/>
                  </a:cubicBezTo>
                  <a:cubicBezTo>
                    <a:pt x="28" y="4"/>
                    <a:pt x="27" y="5"/>
                    <a:pt x="26" y="5"/>
                  </a:cubicBezTo>
                  <a:cubicBezTo>
                    <a:pt x="25" y="6"/>
                    <a:pt x="24" y="7"/>
                    <a:pt x="23" y="7"/>
                  </a:cubicBezTo>
                  <a:cubicBezTo>
                    <a:pt x="22" y="7"/>
                    <a:pt x="22" y="7"/>
                    <a:pt x="22" y="7"/>
                  </a:cubicBezTo>
                  <a:cubicBezTo>
                    <a:pt x="21" y="7"/>
                    <a:pt x="19" y="7"/>
                    <a:pt x="18" y="5"/>
                  </a:cubicBezTo>
                  <a:cubicBezTo>
                    <a:pt x="18" y="5"/>
                    <a:pt x="18" y="5"/>
                    <a:pt x="17" y="4"/>
                  </a:cubicBezTo>
                  <a:cubicBezTo>
                    <a:pt x="16" y="5"/>
                    <a:pt x="16" y="5"/>
                    <a:pt x="16" y="5"/>
                  </a:cubicBezTo>
                  <a:cubicBezTo>
                    <a:pt x="15" y="5"/>
                    <a:pt x="15" y="5"/>
                    <a:pt x="15" y="5"/>
                  </a:cubicBezTo>
                  <a:cubicBezTo>
                    <a:pt x="15" y="6"/>
                    <a:pt x="13" y="7"/>
                    <a:pt x="12" y="7"/>
                  </a:cubicBezTo>
                  <a:cubicBezTo>
                    <a:pt x="11" y="8"/>
                    <a:pt x="11" y="8"/>
                    <a:pt x="11" y="8"/>
                  </a:cubicBezTo>
                  <a:cubicBezTo>
                    <a:pt x="10" y="9"/>
                    <a:pt x="10" y="9"/>
                    <a:pt x="10" y="9"/>
                  </a:cubicBezTo>
                  <a:cubicBezTo>
                    <a:pt x="10" y="9"/>
                    <a:pt x="9" y="10"/>
                    <a:pt x="8" y="11"/>
                  </a:cubicBezTo>
                  <a:cubicBezTo>
                    <a:pt x="8" y="11"/>
                    <a:pt x="8" y="11"/>
                    <a:pt x="8" y="11"/>
                  </a:cubicBezTo>
                  <a:cubicBezTo>
                    <a:pt x="8" y="11"/>
                    <a:pt x="8" y="11"/>
                    <a:pt x="8" y="11"/>
                  </a:cubicBezTo>
                  <a:cubicBezTo>
                    <a:pt x="6" y="12"/>
                    <a:pt x="6" y="12"/>
                    <a:pt x="6" y="12"/>
                  </a:cubicBezTo>
                  <a:cubicBezTo>
                    <a:pt x="6" y="13"/>
                    <a:pt x="5" y="16"/>
                    <a:pt x="5" y="17"/>
                  </a:cubicBezTo>
                  <a:cubicBezTo>
                    <a:pt x="5" y="19"/>
                    <a:pt x="5" y="20"/>
                    <a:pt x="5" y="22"/>
                  </a:cubicBezTo>
                  <a:cubicBezTo>
                    <a:pt x="4" y="24"/>
                    <a:pt x="3" y="25"/>
                    <a:pt x="3" y="26"/>
                  </a:cubicBezTo>
                  <a:cubicBezTo>
                    <a:pt x="2" y="27"/>
                    <a:pt x="1" y="28"/>
                    <a:pt x="0" y="29"/>
                  </a:cubicBezTo>
                  <a:cubicBezTo>
                    <a:pt x="0" y="29"/>
                    <a:pt x="0" y="29"/>
                    <a:pt x="0" y="29"/>
                  </a:cubicBezTo>
                  <a:cubicBezTo>
                    <a:pt x="0" y="29"/>
                    <a:pt x="0" y="29"/>
                    <a:pt x="0" y="29"/>
                  </a:cubicBezTo>
                  <a:cubicBezTo>
                    <a:pt x="1" y="29"/>
                    <a:pt x="1" y="29"/>
                    <a:pt x="2" y="29"/>
                  </a:cubicBezTo>
                  <a:cubicBezTo>
                    <a:pt x="2" y="29"/>
                    <a:pt x="2" y="29"/>
                    <a:pt x="3" y="29"/>
                  </a:cubicBezTo>
                  <a:cubicBezTo>
                    <a:pt x="3" y="29"/>
                    <a:pt x="4" y="29"/>
                    <a:pt x="5" y="29"/>
                  </a:cubicBezTo>
                  <a:cubicBezTo>
                    <a:pt x="7" y="25"/>
                    <a:pt x="7" y="25"/>
                    <a:pt x="7" y="25"/>
                  </a:cubicBezTo>
                  <a:cubicBezTo>
                    <a:pt x="6" y="30"/>
                    <a:pt x="6" y="30"/>
                    <a:pt x="6" y="30"/>
                  </a:cubicBezTo>
                  <a:cubicBezTo>
                    <a:pt x="6" y="30"/>
                    <a:pt x="6" y="30"/>
                    <a:pt x="6" y="30"/>
                  </a:cubicBezTo>
                  <a:cubicBezTo>
                    <a:pt x="7" y="31"/>
                    <a:pt x="8" y="32"/>
                    <a:pt x="9" y="32"/>
                  </a:cubicBezTo>
                  <a:cubicBezTo>
                    <a:pt x="10" y="33"/>
                    <a:pt x="11" y="34"/>
                    <a:pt x="11" y="34"/>
                  </a:cubicBezTo>
                  <a:cubicBezTo>
                    <a:pt x="10" y="31"/>
                    <a:pt x="10" y="31"/>
                    <a:pt x="10" y="31"/>
                  </a:cubicBezTo>
                  <a:cubicBezTo>
                    <a:pt x="12" y="33"/>
                    <a:pt x="12" y="33"/>
                    <a:pt x="12" y="33"/>
                  </a:cubicBezTo>
                  <a:cubicBezTo>
                    <a:pt x="13" y="33"/>
                    <a:pt x="13" y="33"/>
                    <a:pt x="13" y="33"/>
                  </a:cubicBezTo>
                  <a:cubicBezTo>
                    <a:pt x="13" y="34"/>
                    <a:pt x="13" y="34"/>
                    <a:pt x="13" y="34"/>
                  </a:cubicBezTo>
                  <a:cubicBezTo>
                    <a:pt x="13" y="34"/>
                    <a:pt x="13" y="34"/>
                    <a:pt x="13" y="34"/>
                  </a:cubicBezTo>
                  <a:cubicBezTo>
                    <a:pt x="13" y="33"/>
                    <a:pt x="13" y="33"/>
                    <a:pt x="13" y="33"/>
                  </a:cubicBezTo>
                  <a:cubicBezTo>
                    <a:pt x="14" y="33"/>
                    <a:pt x="16" y="32"/>
                    <a:pt x="16" y="31"/>
                  </a:cubicBezTo>
                  <a:cubicBezTo>
                    <a:pt x="17" y="31"/>
                    <a:pt x="17" y="31"/>
                    <a:pt x="17" y="31"/>
                  </a:cubicBezTo>
                  <a:cubicBezTo>
                    <a:pt x="18" y="31"/>
                    <a:pt x="18" y="28"/>
                    <a:pt x="18" y="27"/>
                  </a:cubicBezTo>
                  <a:cubicBezTo>
                    <a:pt x="18" y="26"/>
                    <a:pt x="18" y="25"/>
                    <a:pt x="18" y="25"/>
                  </a:cubicBezTo>
                  <a:cubicBezTo>
                    <a:pt x="19" y="20"/>
                    <a:pt x="19" y="20"/>
                    <a:pt x="19" y="20"/>
                  </a:cubicBezTo>
                  <a:cubicBezTo>
                    <a:pt x="22" y="22"/>
                    <a:pt x="22" y="22"/>
                    <a:pt x="22" y="22"/>
                  </a:cubicBezTo>
                  <a:cubicBezTo>
                    <a:pt x="24" y="23"/>
                    <a:pt x="25" y="24"/>
                    <a:pt x="26" y="24"/>
                  </a:cubicBezTo>
                  <a:cubicBezTo>
                    <a:pt x="27" y="24"/>
                    <a:pt x="28" y="24"/>
                    <a:pt x="29" y="23"/>
                  </a:cubicBezTo>
                  <a:cubicBezTo>
                    <a:pt x="29" y="23"/>
                    <a:pt x="30" y="23"/>
                    <a:pt x="31" y="23"/>
                  </a:cubicBezTo>
                  <a:cubicBezTo>
                    <a:pt x="31" y="23"/>
                    <a:pt x="31" y="23"/>
                    <a:pt x="31" y="23"/>
                  </a:cubicBezTo>
                  <a:cubicBezTo>
                    <a:pt x="33" y="23"/>
                    <a:pt x="34" y="23"/>
                    <a:pt x="35" y="24"/>
                  </a:cubicBezTo>
                  <a:cubicBezTo>
                    <a:pt x="35" y="24"/>
                    <a:pt x="35" y="24"/>
                    <a:pt x="35" y="24"/>
                  </a:cubicBezTo>
                  <a:cubicBezTo>
                    <a:pt x="36" y="24"/>
                    <a:pt x="36" y="24"/>
                    <a:pt x="36" y="24"/>
                  </a:cubicBezTo>
                  <a:cubicBezTo>
                    <a:pt x="38" y="24"/>
                    <a:pt x="38" y="24"/>
                    <a:pt x="38" y="24"/>
                  </a:cubicBezTo>
                  <a:cubicBezTo>
                    <a:pt x="38" y="24"/>
                    <a:pt x="38" y="23"/>
                    <a:pt x="39" y="23"/>
                  </a:cubicBezTo>
                  <a:cubicBezTo>
                    <a:pt x="39" y="23"/>
                    <a:pt x="39" y="23"/>
                    <a:pt x="39" y="23"/>
                  </a:cubicBezTo>
                  <a:cubicBezTo>
                    <a:pt x="39" y="23"/>
                    <a:pt x="39" y="23"/>
                    <a:pt x="39" y="23"/>
                  </a:cubicBezTo>
                  <a:cubicBezTo>
                    <a:pt x="40" y="23"/>
                    <a:pt x="40" y="23"/>
                    <a:pt x="40" y="23"/>
                  </a:cubicBezTo>
                  <a:cubicBezTo>
                    <a:pt x="40" y="21"/>
                    <a:pt x="40" y="21"/>
                    <a:pt x="40" y="20"/>
                  </a:cubicBezTo>
                  <a:cubicBezTo>
                    <a:pt x="40" y="19"/>
                    <a:pt x="40" y="19"/>
                    <a:pt x="40" y="19"/>
                  </a:cubicBezTo>
                  <a:cubicBezTo>
                    <a:pt x="39" y="18"/>
                    <a:pt x="39" y="17"/>
                    <a:pt x="39" y="15"/>
                  </a:cubicBezTo>
                  <a:cubicBezTo>
                    <a:pt x="39" y="14"/>
                    <a:pt x="39" y="12"/>
                    <a:pt x="38" y="11"/>
                  </a:cubicBezTo>
                  <a:cubicBezTo>
                    <a:pt x="38" y="10"/>
                    <a:pt x="38" y="9"/>
                    <a:pt x="37" y="7"/>
                  </a:cubicBezTo>
                  <a:cubicBezTo>
                    <a:pt x="33" y="0"/>
                    <a:pt x="33"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246"/>
            <p:cNvSpPr>
              <a:spLocks noEditPoints="1"/>
            </p:cNvSpPr>
            <p:nvPr/>
          </p:nvSpPr>
          <p:spPr bwMode="auto">
            <a:xfrm>
              <a:off x="2687" y="1826"/>
              <a:ext cx="336" cy="232"/>
            </a:xfrm>
            <a:custGeom>
              <a:gdLst>
                <a:gd name="T0" fmla="*/ 30 w 142"/>
                <a:gd name="T1" fmla="*/ 94 h 98"/>
                <a:gd name="T2" fmla="*/ 30 w 142"/>
                <a:gd name="T3" fmla="*/ 94 h 98"/>
                <a:gd name="T4" fmla="*/ 30 w 142"/>
                <a:gd name="T5" fmla="*/ 94 h 98"/>
                <a:gd name="T6" fmla="*/ 23 w 142"/>
                <a:gd name="T7" fmla="*/ 94 h 98"/>
                <a:gd name="T8" fmla="*/ 26 w 142"/>
                <a:gd name="T9" fmla="*/ 95 h 98"/>
                <a:gd name="T10" fmla="*/ 52 w 142"/>
                <a:gd name="T11" fmla="*/ 1 h 98"/>
                <a:gd name="T12" fmla="*/ 41 w 142"/>
                <a:gd name="T13" fmla="*/ 4 h 98"/>
                <a:gd name="T14" fmla="*/ 34 w 142"/>
                <a:gd name="T15" fmla="*/ 4 h 98"/>
                <a:gd name="T16" fmla="*/ 25 w 142"/>
                <a:gd name="T17" fmla="*/ 14 h 98"/>
                <a:gd name="T18" fmla="*/ 15 w 142"/>
                <a:gd name="T19" fmla="*/ 30 h 98"/>
                <a:gd name="T20" fmla="*/ 2 w 142"/>
                <a:gd name="T21" fmla="*/ 45 h 98"/>
                <a:gd name="T22" fmla="*/ 14 w 142"/>
                <a:gd name="T23" fmla="*/ 54 h 98"/>
                <a:gd name="T24" fmla="*/ 20 w 142"/>
                <a:gd name="T25" fmla="*/ 61 h 98"/>
                <a:gd name="T26" fmla="*/ 21 w 142"/>
                <a:gd name="T27" fmla="*/ 65 h 98"/>
                <a:gd name="T28" fmla="*/ 47 w 142"/>
                <a:gd name="T29" fmla="*/ 67 h 98"/>
                <a:gd name="T30" fmla="*/ 55 w 142"/>
                <a:gd name="T31" fmla="*/ 63 h 98"/>
                <a:gd name="T32" fmla="*/ 62 w 142"/>
                <a:gd name="T33" fmla="*/ 63 h 98"/>
                <a:gd name="T34" fmla="*/ 72 w 142"/>
                <a:gd name="T35" fmla="*/ 69 h 98"/>
                <a:gd name="T36" fmla="*/ 76 w 142"/>
                <a:gd name="T37" fmla="*/ 70 h 98"/>
                <a:gd name="T38" fmla="*/ 80 w 142"/>
                <a:gd name="T39" fmla="*/ 70 h 98"/>
                <a:gd name="T40" fmla="*/ 85 w 142"/>
                <a:gd name="T41" fmla="*/ 65 h 98"/>
                <a:gd name="T42" fmla="*/ 88 w 142"/>
                <a:gd name="T43" fmla="*/ 64 h 98"/>
                <a:gd name="T44" fmla="*/ 90 w 142"/>
                <a:gd name="T45" fmla="*/ 74 h 98"/>
                <a:gd name="T46" fmla="*/ 88 w 142"/>
                <a:gd name="T47" fmla="*/ 79 h 98"/>
                <a:gd name="T48" fmla="*/ 86 w 142"/>
                <a:gd name="T49" fmla="*/ 80 h 98"/>
                <a:gd name="T50" fmla="*/ 76 w 142"/>
                <a:gd name="T51" fmla="*/ 82 h 98"/>
                <a:gd name="T52" fmla="*/ 58 w 142"/>
                <a:gd name="T53" fmla="*/ 75 h 98"/>
                <a:gd name="T54" fmla="*/ 46 w 142"/>
                <a:gd name="T55" fmla="*/ 81 h 98"/>
                <a:gd name="T56" fmla="*/ 43 w 142"/>
                <a:gd name="T57" fmla="*/ 81 h 98"/>
                <a:gd name="T58" fmla="*/ 38 w 142"/>
                <a:gd name="T59" fmla="*/ 84 h 98"/>
                <a:gd name="T60" fmla="*/ 18 w 142"/>
                <a:gd name="T61" fmla="*/ 86 h 98"/>
                <a:gd name="T62" fmla="*/ 23 w 142"/>
                <a:gd name="T63" fmla="*/ 94 h 98"/>
                <a:gd name="T64" fmla="*/ 17 w 142"/>
                <a:gd name="T65" fmla="*/ 98 h 98"/>
                <a:gd name="T66" fmla="*/ 63 w 142"/>
                <a:gd name="T67" fmla="*/ 90 h 98"/>
                <a:gd name="T68" fmla="*/ 79 w 142"/>
                <a:gd name="T69" fmla="*/ 90 h 98"/>
                <a:gd name="T70" fmla="*/ 86 w 142"/>
                <a:gd name="T71" fmla="*/ 89 h 98"/>
                <a:gd name="T72" fmla="*/ 100 w 142"/>
                <a:gd name="T73" fmla="*/ 91 h 98"/>
                <a:gd name="T74" fmla="*/ 103 w 142"/>
                <a:gd name="T75" fmla="*/ 92 h 98"/>
                <a:gd name="T76" fmla="*/ 118 w 142"/>
                <a:gd name="T77" fmla="*/ 97 h 98"/>
                <a:gd name="T78" fmla="*/ 139 w 142"/>
                <a:gd name="T79" fmla="*/ 96 h 98"/>
                <a:gd name="T80" fmla="*/ 138 w 142"/>
                <a:gd name="T81" fmla="*/ 79 h 98"/>
                <a:gd name="T82" fmla="*/ 126 w 142"/>
                <a:gd name="T83" fmla="*/ 70 h 98"/>
                <a:gd name="T84" fmla="*/ 121 w 142"/>
                <a:gd name="T85" fmla="*/ 44 h 98"/>
                <a:gd name="T86" fmla="*/ 116 w 142"/>
                <a:gd name="T87" fmla="*/ 40 h 98"/>
                <a:gd name="T88" fmla="*/ 113 w 142"/>
                <a:gd name="T89" fmla="*/ 37 h 98"/>
                <a:gd name="T90" fmla="*/ 108 w 142"/>
                <a:gd name="T91" fmla="*/ 32 h 98"/>
                <a:gd name="T92" fmla="*/ 98 w 142"/>
                <a:gd name="T93" fmla="*/ 23 h 98"/>
                <a:gd name="T94" fmla="*/ 95 w 142"/>
                <a:gd name="T95" fmla="*/ 15 h 98"/>
                <a:gd name="T96" fmla="*/ 92 w 142"/>
                <a:gd name="T97" fmla="*/ 12 h 98"/>
                <a:gd name="T98" fmla="*/ 87 w 142"/>
                <a:gd name="T99" fmla="*/ 12 h 98"/>
                <a:gd name="T100" fmla="*/ 85 w 142"/>
                <a:gd name="T101" fmla="*/ 11 h 98"/>
                <a:gd name="T102" fmla="*/ 78 w 142"/>
                <a:gd name="T103" fmla="*/ 4 h 98"/>
                <a:gd name="T104" fmla="*/ 69 w 142"/>
                <a:gd name="T105" fmla="*/ 0 h 98"/>
                <a:gd name="T106" fmla="*/ 59 w 142"/>
                <a:gd name="T107" fmla="*/ 0 h 9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98">
                  <a:moveTo>
                    <a:pt x="30" y="94"/>
                  </a:moveTo>
                  <a:cubicBezTo>
                    <a:pt x="30" y="94"/>
                    <a:pt x="30" y="94"/>
                    <a:pt x="30" y="94"/>
                  </a:cubicBezTo>
                  <a:cubicBezTo>
                    <a:pt x="30" y="94"/>
                    <a:pt x="30" y="94"/>
                    <a:pt x="30" y="94"/>
                  </a:cubicBezTo>
                  <a:moveTo>
                    <a:pt x="30" y="94"/>
                  </a:moveTo>
                  <a:cubicBezTo>
                    <a:pt x="30" y="94"/>
                    <a:pt x="30" y="94"/>
                    <a:pt x="30" y="94"/>
                  </a:cubicBezTo>
                  <a:cubicBezTo>
                    <a:pt x="30" y="94"/>
                    <a:pt x="30" y="94"/>
                    <a:pt x="30" y="94"/>
                  </a:cubicBezTo>
                  <a:moveTo>
                    <a:pt x="29" y="94"/>
                  </a:moveTo>
                  <a:cubicBezTo>
                    <a:pt x="30" y="94"/>
                    <a:pt x="30" y="94"/>
                    <a:pt x="30" y="94"/>
                  </a:cubicBezTo>
                  <a:cubicBezTo>
                    <a:pt x="30" y="94"/>
                    <a:pt x="30" y="94"/>
                    <a:pt x="30" y="94"/>
                  </a:cubicBezTo>
                  <a:cubicBezTo>
                    <a:pt x="30" y="94"/>
                    <a:pt x="30" y="94"/>
                    <a:pt x="29" y="94"/>
                  </a:cubicBezTo>
                  <a:moveTo>
                    <a:pt x="26" y="95"/>
                  </a:moveTo>
                  <a:cubicBezTo>
                    <a:pt x="26" y="95"/>
                    <a:pt x="25" y="95"/>
                    <a:pt x="23" y="94"/>
                  </a:cubicBezTo>
                  <a:cubicBezTo>
                    <a:pt x="25" y="95"/>
                    <a:pt x="26" y="95"/>
                    <a:pt x="26" y="95"/>
                  </a:cubicBezTo>
                  <a:cubicBezTo>
                    <a:pt x="27" y="95"/>
                    <a:pt x="27" y="95"/>
                    <a:pt x="28" y="94"/>
                  </a:cubicBezTo>
                  <a:cubicBezTo>
                    <a:pt x="27" y="95"/>
                    <a:pt x="27" y="95"/>
                    <a:pt x="26" y="95"/>
                  </a:cubicBezTo>
                  <a:moveTo>
                    <a:pt x="59" y="0"/>
                  </a:moveTo>
                  <a:cubicBezTo>
                    <a:pt x="57" y="0"/>
                    <a:pt x="56" y="0"/>
                    <a:pt x="55" y="1"/>
                  </a:cubicBezTo>
                  <a:cubicBezTo>
                    <a:pt x="54" y="1"/>
                    <a:pt x="53" y="1"/>
                    <a:pt x="52" y="1"/>
                  </a:cubicBezTo>
                  <a:cubicBezTo>
                    <a:pt x="51" y="2"/>
                    <a:pt x="50" y="2"/>
                    <a:pt x="49" y="2"/>
                  </a:cubicBezTo>
                  <a:cubicBezTo>
                    <a:pt x="48" y="2"/>
                    <a:pt x="48" y="2"/>
                    <a:pt x="48" y="2"/>
                  </a:cubicBezTo>
                  <a:cubicBezTo>
                    <a:pt x="46" y="3"/>
                    <a:pt x="44" y="4"/>
                    <a:pt x="41" y="4"/>
                  </a:cubicBezTo>
                  <a:cubicBezTo>
                    <a:pt x="40" y="4"/>
                    <a:pt x="40" y="4"/>
                    <a:pt x="40" y="4"/>
                  </a:cubicBezTo>
                  <a:cubicBezTo>
                    <a:pt x="39" y="4"/>
                    <a:pt x="38" y="4"/>
                    <a:pt x="37" y="4"/>
                  </a:cubicBezTo>
                  <a:cubicBezTo>
                    <a:pt x="36" y="4"/>
                    <a:pt x="35" y="4"/>
                    <a:pt x="34" y="4"/>
                  </a:cubicBezTo>
                  <a:cubicBezTo>
                    <a:pt x="33" y="4"/>
                    <a:pt x="32" y="3"/>
                    <a:pt x="32" y="3"/>
                  </a:cubicBezTo>
                  <a:cubicBezTo>
                    <a:pt x="29" y="4"/>
                    <a:pt x="28" y="8"/>
                    <a:pt x="26" y="11"/>
                  </a:cubicBezTo>
                  <a:cubicBezTo>
                    <a:pt x="25" y="14"/>
                    <a:pt x="25" y="14"/>
                    <a:pt x="25" y="14"/>
                  </a:cubicBezTo>
                  <a:cubicBezTo>
                    <a:pt x="23" y="13"/>
                    <a:pt x="23" y="13"/>
                    <a:pt x="23" y="13"/>
                  </a:cubicBezTo>
                  <a:cubicBezTo>
                    <a:pt x="23" y="17"/>
                    <a:pt x="23" y="19"/>
                    <a:pt x="21" y="22"/>
                  </a:cubicBezTo>
                  <a:cubicBezTo>
                    <a:pt x="19" y="25"/>
                    <a:pt x="17" y="27"/>
                    <a:pt x="15" y="30"/>
                  </a:cubicBezTo>
                  <a:cubicBezTo>
                    <a:pt x="13" y="33"/>
                    <a:pt x="11" y="37"/>
                    <a:pt x="8" y="39"/>
                  </a:cubicBezTo>
                  <a:cubicBezTo>
                    <a:pt x="6" y="41"/>
                    <a:pt x="2" y="42"/>
                    <a:pt x="0" y="43"/>
                  </a:cubicBezTo>
                  <a:cubicBezTo>
                    <a:pt x="0" y="44"/>
                    <a:pt x="1" y="44"/>
                    <a:pt x="2" y="45"/>
                  </a:cubicBezTo>
                  <a:cubicBezTo>
                    <a:pt x="2" y="44"/>
                    <a:pt x="2" y="43"/>
                    <a:pt x="3" y="43"/>
                  </a:cubicBezTo>
                  <a:cubicBezTo>
                    <a:pt x="4" y="43"/>
                    <a:pt x="5" y="44"/>
                    <a:pt x="6" y="44"/>
                  </a:cubicBezTo>
                  <a:cubicBezTo>
                    <a:pt x="10" y="46"/>
                    <a:pt x="12" y="50"/>
                    <a:pt x="14" y="54"/>
                  </a:cubicBezTo>
                  <a:cubicBezTo>
                    <a:pt x="16" y="58"/>
                    <a:pt x="17" y="60"/>
                    <a:pt x="18" y="65"/>
                  </a:cubicBezTo>
                  <a:cubicBezTo>
                    <a:pt x="18" y="63"/>
                    <a:pt x="17" y="61"/>
                    <a:pt x="20" y="61"/>
                  </a:cubicBezTo>
                  <a:cubicBezTo>
                    <a:pt x="20" y="61"/>
                    <a:pt x="20" y="61"/>
                    <a:pt x="20" y="61"/>
                  </a:cubicBezTo>
                  <a:cubicBezTo>
                    <a:pt x="19" y="62"/>
                    <a:pt x="17" y="64"/>
                    <a:pt x="19" y="65"/>
                  </a:cubicBezTo>
                  <a:cubicBezTo>
                    <a:pt x="19" y="66"/>
                    <a:pt x="19" y="66"/>
                    <a:pt x="20" y="66"/>
                  </a:cubicBezTo>
                  <a:cubicBezTo>
                    <a:pt x="20" y="66"/>
                    <a:pt x="20" y="65"/>
                    <a:pt x="21" y="65"/>
                  </a:cubicBezTo>
                  <a:cubicBezTo>
                    <a:pt x="21" y="66"/>
                    <a:pt x="21" y="67"/>
                    <a:pt x="21" y="68"/>
                  </a:cubicBezTo>
                  <a:cubicBezTo>
                    <a:pt x="22" y="68"/>
                    <a:pt x="22" y="68"/>
                    <a:pt x="22" y="68"/>
                  </a:cubicBezTo>
                  <a:cubicBezTo>
                    <a:pt x="23" y="68"/>
                    <a:pt x="33" y="68"/>
                    <a:pt x="47" y="67"/>
                  </a:cubicBezTo>
                  <a:cubicBezTo>
                    <a:pt x="47" y="67"/>
                    <a:pt x="47" y="67"/>
                    <a:pt x="47" y="67"/>
                  </a:cubicBezTo>
                  <a:cubicBezTo>
                    <a:pt x="48" y="65"/>
                    <a:pt x="49" y="64"/>
                    <a:pt x="51" y="63"/>
                  </a:cubicBezTo>
                  <a:cubicBezTo>
                    <a:pt x="52" y="63"/>
                    <a:pt x="54" y="63"/>
                    <a:pt x="55" y="63"/>
                  </a:cubicBezTo>
                  <a:cubicBezTo>
                    <a:pt x="56" y="63"/>
                    <a:pt x="58" y="63"/>
                    <a:pt x="59" y="63"/>
                  </a:cubicBezTo>
                  <a:cubicBezTo>
                    <a:pt x="60" y="63"/>
                    <a:pt x="60" y="63"/>
                    <a:pt x="60" y="63"/>
                  </a:cubicBezTo>
                  <a:cubicBezTo>
                    <a:pt x="61" y="63"/>
                    <a:pt x="61" y="63"/>
                    <a:pt x="62" y="63"/>
                  </a:cubicBezTo>
                  <a:cubicBezTo>
                    <a:pt x="65" y="63"/>
                    <a:pt x="68" y="65"/>
                    <a:pt x="70" y="67"/>
                  </a:cubicBezTo>
                  <a:cubicBezTo>
                    <a:pt x="70" y="67"/>
                    <a:pt x="70" y="67"/>
                    <a:pt x="70" y="67"/>
                  </a:cubicBezTo>
                  <a:cubicBezTo>
                    <a:pt x="71" y="68"/>
                    <a:pt x="71" y="68"/>
                    <a:pt x="72" y="69"/>
                  </a:cubicBezTo>
                  <a:cubicBezTo>
                    <a:pt x="72" y="69"/>
                    <a:pt x="73" y="69"/>
                    <a:pt x="73" y="69"/>
                  </a:cubicBezTo>
                  <a:cubicBezTo>
                    <a:pt x="75" y="70"/>
                    <a:pt x="75" y="70"/>
                    <a:pt x="75" y="70"/>
                  </a:cubicBezTo>
                  <a:cubicBezTo>
                    <a:pt x="75" y="70"/>
                    <a:pt x="76" y="70"/>
                    <a:pt x="76" y="70"/>
                  </a:cubicBezTo>
                  <a:cubicBezTo>
                    <a:pt x="77" y="70"/>
                    <a:pt x="77" y="70"/>
                    <a:pt x="77" y="70"/>
                  </a:cubicBezTo>
                  <a:cubicBezTo>
                    <a:pt x="79" y="70"/>
                    <a:pt x="79" y="70"/>
                    <a:pt x="79" y="70"/>
                  </a:cubicBezTo>
                  <a:cubicBezTo>
                    <a:pt x="79" y="70"/>
                    <a:pt x="79" y="70"/>
                    <a:pt x="80" y="70"/>
                  </a:cubicBezTo>
                  <a:cubicBezTo>
                    <a:pt x="80" y="70"/>
                    <a:pt x="81" y="70"/>
                    <a:pt x="82" y="70"/>
                  </a:cubicBezTo>
                  <a:cubicBezTo>
                    <a:pt x="83" y="70"/>
                    <a:pt x="83" y="70"/>
                    <a:pt x="84" y="70"/>
                  </a:cubicBezTo>
                  <a:cubicBezTo>
                    <a:pt x="85" y="65"/>
                    <a:pt x="85" y="65"/>
                    <a:pt x="85" y="65"/>
                  </a:cubicBezTo>
                  <a:cubicBezTo>
                    <a:pt x="85" y="70"/>
                    <a:pt x="85" y="70"/>
                    <a:pt x="85" y="70"/>
                  </a:cubicBezTo>
                  <a:cubicBezTo>
                    <a:pt x="85" y="70"/>
                    <a:pt x="85" y="70"/>
                    <a:pt x="85" y="70"/>
                  </a:cubicBezTo>
                  <a:cubicBezTo>
                    <a:pt x="88" y="64"/>
                    <a:pt x="88" y="64"/>
                    <a:pt x="88" y="64"/>
                  </a:cubicBezTo>
                  <a:cubicBezTo>
                    <a:pt x="87" y="70"/>
                    <a:pt x="87" y="70"/>
                    <a:pt x="87" y="70"/>
                  </a:cubicBezTo>
                  <a:cubicBezTo>
                    <a:pt x="88" y="71"/>
                    <a:pt x="88" y="71"/>
                    <a:pt x="88" y="71"/>
                  </a:cubicBezTo>
                  <a:cubicBezTo>
                    <a:pt x="89" y="72"/>
                    <a:pt x="89" y="73"/>
                    <a:pt x="90" y="74"/>
                  </a:cubicBezTo>
                  <a:cubicBezTo>
                    <a:pt x="90" y="74"/>
                    <a:pt x="90" y="74"/>
                    <a:pt x="90" y="74"/>
                  </a:cubicBezTo>
                  <a:cubicBezTo>
                    <a:pt x="90" y="75"/>
                    <a:pt x="90" y="76"/>
                    <a:pt x="89" y="77"/>
                  </a:cubicBezTo>
                  <a:cubicBezTo>
                    <a:pt x="89" y="78"/>
                    <a:pt x="89" y="78"/>
                    <a:pt x="88" y="79"/>
                  </a:cubicBezTo>
                  <a:cubicBezTo>
                    <a:pt x="88" y="79"/>
                    <a:pt x="88" y="79"/>
                    <a:pt x="88" y="79"/>
                  </a:cubicBezTo>
                  <a:cubicBezTo>
                    <a:pt x="88" y="79"/>
                    <a:pt x="88" y="79"/>
                    <a:pt x="88" y="79"/>
                  </a:cubicBezTo>
                  <a:cubicBezTo>
                    <a:pt x="87" y="80"/>
                    <a:pt x="87" y="80"/>
                    <a:pt x="86" y="80"/>
                  </a:cubicBezTo>
                  <a:cubicBezTo>
                    <a:pt x="86" y="80"/>
                    <a:pt x="85" y="80"/>
                    <a:pt x="85" y="80"/>
                  </a:cubicBezTo>
                  <a:cubicBezTo>
                    <a:pt x="83" y="81"/>
                    <a:pt x="83" y="81"/>
                    <a:pt x="83" y="81"/>
                  </a:cubicBezTo>
                  <a:cubicBezTo>
                    <a:pt x="81" y="82"/>
                    <a:pt x="79" y="82"/>
                    <a:pt x="76" y="82"/>
                  </a:cubicBezTo>
                  <a:cubicBezTo>
                    <a:pt x="75" y="82"/>
                    <a:pt x="74" y="82"/>
                    <a:pt x="73" y="82"/>
                  </a:cubicBezTo>
                  <a:cubicBezTo>
                    <a:pt x="70" y="81"/>
                    <a:pt x="67" y="80"/>
                    <a:pt x="65" y="78"/>
                  </a:cubicBezTo>
                  <a:cubicBezTo>
                    <a:pt x="62" y="77"/>
                    <a:pt x="60" y="76"/>
                    <a:pt x="58" y="75"/>
                  </a:cubicBezTo>
                  <a:cubicBezTo>
                    <a:pt x="57" y="75"/>
                    <a:pt x="57" y="75"/>
                    <a:pt x="57" y="75"/>
                  </a:cubicBezTo>
                  <a:cubicBezTo>
                    <a:pt x="56" y="76"/>
                    <a:pt x="56" y="77"/>
                    <a:pt x="55" y="77"/>
                  </a:cubicBezTo>
                  <a:cubicBezTo>
                    <a:pt x="53" y="79"/>
                    <a:pt x="50" y="80"/>
                    <a:pt x="46" y="81"/>
                  </a:cubicBezTo>
                  <a:cubicBezTo>
                    <a:pt x="46" y="81"/>
                    <a:pt x="45" y="81"/>
                    <a:pt x="45" y="81"/>
                  </a:cubicBezTo>
                  <a:cubicBezTo>
                    <a:pt x="44" y="81"/>
                    <a:pt x="44" y="81"/>
                    <a:pt x="44" y="81"/>
                  </a:cubicBezTo>
                  <a:cubicBezTo>
                    <a:pt x="43" y="81"/>
                    <a:pt x="43" y="81"/>
                    <a:pt x="43" y="81"/>
                  </a:cubicBezTo>
                  <a:cubicBezTo>
                    <a:pt x="43" y="81"/>
                    <a:pt x="42" y="81"/>
                    <a:pt x="42" y="82"/>
                  </a:cubicBezTo>
                  <a:cubicBezTo>
                    <a:pt x="42" y="82"/>
                    <a:pt x="42" y="82"/>
                    <a:pt x="42" y="82"/>
                  </a:cubicBezTo>
                  <a:cubicBezTo>
                    <a:pt x="41" y="83"/>
                    <a:pt x="40" y="84"/>
                    <a:pt x="38" y="84"/>
                  </a:cubicBezTo>
                  <a:cubicBezTo>
                    <a:pt x="22" y="86"/>
                    <a:pt x="22" y="86"/>
                    <a:pt x="22" y="86"/>
                  </a:cubicBezTo>
                  <a:cubicBezTo>
                    <a:pt x="21" y="86"/>
                    <a:pt x="19" y="86"/>
                    <a:pt x="18" y="86"/>
                  </a:cubicBezTo>
                  <a:cubicBezTo>
                    <a:pt x="18" y="86"/>
                    <a:pt x="18" y="86"/>
                    <a:pt x="18" y="86"/>
                  </a:cubicBezTo>
                  <a:cubicBezTo>
                    <a:pt x="18" y="89"/>
                    <a:pt x="18" y="92"/>
                    <a:pt x="18" y="95"/>
                  </a:cubicBezTo>
                  <a:cubicBezTo>
                    <a:pt x="20" y="95"/>
                    <a:pt x="20" y="93"/>
                    <a:pt x="22" y="93"/>
                  </a:cubicBezTo>
                  <a:cubicBezTo>
                    <a:pt x="22" y="93"/>
                    <a:pt x="23" y="93"/>
                    <a:pt x="23" y="94"/>
                  </a:cubicBezTo>
                  <a:cubicBezTo>
                    <a:pt x="23" y="94"/>
                    <a:pt x="23" y="94"/>
                    <a:pt x="23" y="94"/>
                  </a:cubicBezTo>
                  <a:cubicBezTo>
                    <a:pt x="21" y="94"/>
                    <a:pt x="17" y="96"/>
                    <a:pt x="17" y="98"/>
                  </a:cubicBezTo>
                  <a:cubicBezTo>
                    <a:pt x="17" y="98"/>
                    <a:pt x="17" y="98"/>
                    <a:pt x="17" y="98"/>
                  </a:cubicBezTo>
                  <a:cubicBezTo>
                    <a:pt x="18" y="98"/>
                    <a:pt x="18" y="98"/>
                    <a:pt x="18" y="98"/>
                  </a:cubicBezTo>
                  <a:cubicBezTo>
                    <a:pt x="34" y="96"/>
                    <a:pt x="49" y="93"/>
                    <a:pt x="62" y="90"/>
                  </a:cubicBezTo>
                  <a:cubicBezTo>
                    <a:pt x="63" y="90"/>
                    <a:pt x="63" y="90"/>
                    <a:pt x="63" y="90"/>
                  </a:cubicBezTo>
                  <a:cubicBezTo>
                    <a:pt x="65" y="89"/>
                    <a:pt x="66" y="89"/>
                    <a:pt x="68" y="89"/>
                  </a:cubicBezTo>
                  <a:cubicBezTo>
                    <a:pt x="70" y="89"/>
                    <a:pt x="72" y="89"/>
                    <a:pt x="74" y="89"/>
                  </a:cubicBezTo>
                  <a:cubicBezTo>
                    <a:pt x="76" y="90"/>
                    <a:pt x="78" y="90"/>
                    <a:pt x="79" y="90"/>
                  </a:cubicBezTo>
                  <a:cubicBezTo>
                    <a:pt x="80" y="90"/>
                    <a:pt x="80" y="90"/>
                    <a:pt x="80" y="90"/>
                  </a:cubicBezTo>
                  <a:cubicBezTo>
                    <a:pt x="81" y="90"/>
                    <a:pt x="83" y="90"/>
                    <a:pt x="85" y="90"/>
                  </a:cubicBezTo>
                  <a:cubicBezTo>
                    <a:pt x="86" y="89"/>
                    <a:pt x="86" y="89"/>
                    <a:pt x="86" y="89"/>
                  </a:cubicBezTo>
                  <a:cubicBezTo>
                    <a:pt x="86" y="89"/>
                    <a:pt x="86" y="89"/>
                    <a:pt x="86" y="89"/>
                  </a:cubicBezTo>
                  <a:cubicBezTo>
                    <a:pt x="90" y="89"/>
                    <a:pt x="90" y="89"/>
                    <a:pt x="90" y="89"/>
                  </a:cubicBezTo>
                  <a:cubicBezTo>
                    <a:pt x="95" y="89"/>
                    <a:pt x="98" y="90"/>
                    <a:pt x="100" y="91"/>
                  </a:cubicBezTo>
                  <a:cubicBezTo>
                    <a:pt x="101" y="91"/>
                    <a:pt x="101" y="91"/>
                    <a:pt x="102" y="91"/>
                  </a:cubicBezTo>
                  <a:cubicBezTo>
                    <a:pt x="102" y="92"/>
                    <a:pt x="102" y="92"/>
                    <a:pt x="102" y="92"/>
                  </a:cubicBezTo>
                  <a:cubicBezTo>
                    <a:pt x="103" y="92"/>
                    <a:pt x="103" y="92"/>
                    <a:pt x="103" y="92"/>
                  </a:cubicBezTo>
                  <a:cubicBezTo>
                    <a:pt x="104" y="92"/>
                    <a:pt x="106" y="93"/>
                    <a:pt x="107" y="94"/>
                  </a:cubicBezTo>
                  <a:cubicBezTo>
                    <a:pt x="110" y="95"/>
                    <a:pt x="113" y="96"/>
                    <a:pt x="116" y="97"/>
                  </a:cubicBezTo>
                  <a:cubicBezTo>
                    <a:pt x="117" y="97"/>
                    <a:pt x="117" y="97"/>
                    <a:pt x="118" y="97"/>
                  </a:cubicBezTo>
                  <a:cubicBezTo>
                    <a:pt x="121" y="97"/>
                    <a:pt x="124" y="97"/>
                    <a:pt x="127" y="97"/>
                  </a:cubicBezTo>
                  <a:cubicBezTo>
                    <a:pt x="132" y="97"/>
                    <a:pt x="132" y="97"/>
                    <a:pt x="132" y="97"/>
                  </a:cubicBezTo>
                  <a:cubicBezTo>
                    <a:pt x="134" y="96"/>
                    <a:pt x="137" y="96"/>
                    <a:pt x="139" y="96"/>
                  </a:cubicBezTo>
                  <a:cubicBezTo>
                    <a:pt x="142" y="96"/>
                    <a:pt x="142" y="96"/>
                    <a:pt x="142" y="96"/>
                  </a:cubicBezTo>
                  <a:cubicBezTo>
                    <a:pt x="142" y="94"/>
                    <a:pt x="142" y="91"/>
                    <a:pt x="141" y="87"/>
                  </a:cubicBezTo>
                  <a:cubicBezTo>
                    <a:pt x="141" y="84"/>
                    <a:pt x="140" y="81"/>
                    <a:pt x="138" y="79"/>
                  </a:cubicBezTo>
                  <a:cubicBezTo>
                    <a:pt x="138" y="82"/>
                    <a:pt x="138" y="82"/>
                    <a:pt x="138" y="82"/>
                  </a:cubicBezTo>
                  <a:cubicBezTo>
                    <a:pt x="134" y="79"/>
                    <a:pt x="134" y="79"/>
                    <a:pt x="134" y="79"/>
                  </a:cubicBezTo>
                  <a:cubicBezTo>
                    <a:pt x="131" y="76"/>
                    <a:pt x="128" y="73"/>
                    <a:pt x="126" y="70"/>
                  </a:cubicBezTo>
                  <a:cubicBezTo>
                    <a:pt x="123" y="66"/>
                    <a:pt x="123" y="66"/>
                    <a:pt x="123" y="66"/>
                  </a:cubicBezTo>
                  <a:cubicBezTo>
                    <a:pt x="127" y="65"/>
                    <a:pt x="127" y="65"/>
                    <a:pt x="127" y="65"/>
                  </a:cubicBezTo>
                  <a:cubicBezTo>
                    <a:pt x="121" y="44"/>
                    <a:pt x="121" y="44"/>
                    <a:pt x="121" y="44"/>
                  </a:cubicBezTo>
                  <a:cubicBezTo>
                    <a:pt x="121" y="44"/>
                    <a:pt x="121" y="44"/>
                    <a:pt x="121" y="44"/>
                  </a:cubicBezTo>
                  <a:cubicBezTo>
                    <a:pt x="115" y="40"/>
                    <a:pt x="115" y="40"/>
                    <a:pt x="115" y="40"/>
                  </a:cubicBezTo>
                  <a:cubicBezTo>
                    <a:pt x="116" y="40"/>
                    <a:pt x="116" y="40"/>
                    <a:pt x="116" y="40"/>
                  </a:cubicBezTo>
                  <a:cubicBezTo>
                    <a:pt x="116" y="40"/>
                    <a:pt x="116" y="40"/>
                    <a:pt x="116" y="40"/>
                  </a:cubicBezTo>
                  <a:cubicBezTo>
                    <a:pt x="115" y="40"/>
                    <a:pt x="115" y="39"/>
                    <a:pt x="114" y="39"/>
                  </a:cubicBezTo>
                  <a:cubicBezTo>
                    <a:pt x="114" y="38"/>
                    <a:pt x="113" y="38"/>
                    <a:pt x="113" y="37"/>
                  </a:cubicBezTo>
                  <a:cubicBezTo>
                    <a:pt x="112" y="37"/>
                    <a:pt x="112" y="37"/>
                    <a:pt x="112" y="37"/>
                  </a:cubicBezTo>
                  <a:cubicBezTo>
                    <a:pt x="112" y="37"/>
                    <a:pt x="112" y="36"/>
                    <a:pt x="111" y="36"/>
                  </a:cubicBezTo>
                  <a:cubicBezTo>
                    <a:pt x="110" y="35"/>
                    <a:pt x="109" y="34"/>
                    <a:pt x="108" y="32"/>
                  </a:cubicBezTo>
                  <a:cubicBezTo>
                    <a:pt x="108" y="32"/>
                    <a:pt x="108" y="32"/>
                    <a:pt x="108" y="32"/>
                  </a:cubicBezTo>
                  <a:cubicBezTo>
                    <a:pt x="106" y="30"/>
                    <a:pt x="105" y="28"/>
                    <a:pt x="102" y="26"/>
                  </a:cubicBezTo>
                  <a:cubicBezTo>
                    <a:pt x="101" y="25"/>
                    <a:pt x="99" y="25"/>
                    <a:pt x="98" y="23"/>
                  </a:cubicBezTo>
                  <a:cubicBezTo>
                    <a:pt x="97" y="22"/>
                    <a:pt x="96" y="19"/>
                    <a:pt x="96" y="17"/>
                  </a:cubicBezTo>
                  <a:cubicBezTo>
                    <a:pt x="96" y="16"/>
                    <a:pt x="96" y="16"/>
                    <a:pt x="96" y="16"/>
                  </a:cubicBezTo>
                  <a:cubicBezTo>
                    <a:pt x="96" y="16"/>
                    <a:pt x="95" y="15"/>
                    <a:pt x="95" y="15"/>
                  </a:cubicBezTo>
                  <a:cubicBezTo>
                    <a:pt x="95" y="14"/>
                    <a:pt x="94" y="13"/>
                    <a:pt x="93" y="12"/>
                  </a:cubicBezTo>
                  <a:cubicBezTo>
                    <a:pt x="92" y="18"/>
                    <a:pt x="92" y="18"/>
                    <a:pt x="92" y="18"/>
                  </a:cubicBezTo>
                  <a:cubicBezTo>
                    <a:pt x="92" y="12"/>
                    <a:pt x="92" y="12"/>
                    <a:pt x="92" y="12"/>
                  </a:cubicBezTo>
                  <a:cubicBezTo>
                    <a:pt x="90" y="12"/>
                    <a:pt x="90" y="12"/>
                    <a:pt x="90" y="12"/>
                  </a:cubicBezTo>
                  <a:cubicBezTo>
                    <a:pt x="90" y="12"/>
                    <a:pt x="90" y="12"/>
                    <a:pt x="90" y="12"/>
                  </a:cubicBezTo>
                  <a:cubicBezTo>
                    <a:pt x="89" y="12"/>
                    <a:pt x="88" y="12"/>
                    <a:pt x="87" y="12"/>
                  </a:cubicBezTo>
                  <a:cubicBezTo>
                    <a:pt x="87" y="12"/>
                    <a:pt x="87" y="12"/>
                    <a:pt x="87" y="12"/>
                  </a:cubicBezTo>
                  <a:cubicBezTo>
                    <a:pt x="86" y="12"/>
                    <a:pt x="86" y="12"/>
                    <a:pt x="85" y="12"/>
                  </a:cubicBezTo>
                  <a:cubicBezTo>
                    <a:pt x="85" y="11"/>
                    <a:pt x="85" y="11"/>
                    <a:pt x="85" y="11"/>
                  </a:cubicBezTo>
                  <a:cubicBezTo>
                    <a:pt x="82" y="10"/>
                    <a:pt x="82" y="8"/>
                    <a:pt x="81" y="7"/>
                  </a:cubicBezTo>
                  <a:cubicBezTo>
                    <a:pt x="81" y="6"/>
                    <a:pt x="81" y="6"/>
                    <a:pt x="81" y="6"/>
                  </a:cubicBezTo>
                  <a:cubicBezTo>
                    <a:pt x="80" y="6"/>
                    <a:pt x="79" y="5"/>
                    <a:pt x="78" y="4"/>
                  </a:cubicBezTo>
                  <a:cubicBezTo>
                    <a:pt x="77" y="4"/>
                    <a:pt x="77" y="4"/>
                    <a:pt x="77" y="4"/>
                  </a:cubicBezTo>
                  <a:cubicBezTo>
                    <a:pt x="75" y="1"/>
                    <a:pt x="74" y="0"/>
                    <a:pt x="71" y="0"/>
                  </a:cubicBezTo>
                  <a:cubicBezTo>
                    <a:pt x="69" y="0"/>
                    <a:pt x="69" y="0"/>
                    <a:pt x="69" y="0"/>
                  </a:cubicBezTo>
                  <a:cubicBezTo>
                    <a:pt x="68" y="0"/>
                    <a:pt x="67" y="0"/>
                    <a:pt x="66" y="0"/>
                  </a:cubicBezTo>
                  <a:cubicBezTo>
                    <a:pt x="64" y="0"/>
                    <a:pt x="62" y="0"/>
                    <a:pt x="60" y="0"/>
                  </a:cubicBezTo>
                  <a:cubicBezTo>
                    <a:pt x="60"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47"/>
            <p:cNvSpPr/>
            <p:nvPr/>
          </p:nvSpPr>
          <p:spPr bwMode="auto">
            <a:xfrm>
              <a:off x="2744" y="1989"/>
              <a:ext cx="135" cy="19"/>
            </a:xfrm>
            <a:custGeom>
              <a:gdLst>
                <a:gd name="T0" fmla="*/ 31 w 57"/>
                <a:gd name="T1" fmla="*/ 0 h 8"/>
                <a:gd name="T2" fmla="*/ 29 w 57"/>
                <a:gd name="T3" fmla="*/ 0 h 8"/>
                <a:gd name="T4" fmla="*/ 27 w 57"/>
                <a:gd name="T5" fmla="*/ 1 h 8"/>
                <a:gd name="T6" fmla="*/ 27 w 57"/>
                <a:gd name="T7" fmla="*/ 2 h 8"/>
                <a:gd name="T8" fmla="*/ 26 w 57"/>
                <a:gd name="T9" fmla="*/ 3 h 8"/>
                <a:gd name="T10" fmla="*/ 24 w 57"/>
                <a:gd name="T11" fmla="*/ 4 h 8"/>
                <a:gd name="T12" fmla="*/ 24 w 57"/>
                <a:gd name="T13" fmla="*/ 3 h 8"/>
                <a:gd name="T14" fmla="*/ 0 w 57"/>
                <a:gd name="T15" fmla="*/ 5 h 8"/>
                <a:gd name="T16" fmla="*/ 4 w 57"/>
                <a:gd name="T17" fmla="*/ 8 h 8"/>
                <a:gd name="T18" fmla="*/ 5 w 57"/>
                <a:gd name="T19" fmla="*/ 8 h 8"/>
                <a:gd name="T20" fmla="*/ 7 w 57"/>
                <a:gd name="T21" fmla="*/ 6 h 8"/>
                <a:gd name="T22" fmla="*/ 27 w 57"/>
                <a:gd name="T23" fmla="*/ 4 h 8"/>
                <a:gd name="T24" fmla="*/ 28 w 57"/>
                <a:gd name="T25" fmla="*/ 3 h 8"/>
                <a:gd name="T26" fmla="*/ 32 w 57"/>
                <a:gd name="T27" fmla="*/ 0 h 8"/>
                <a:gd name="T28" fmla="*/ 35 w 57"/>
                <a:gd name="T29" fmla="*/ 1 h 8"/>
                <a:gd name="T30" fmla="*/ 43 w 57"/>
                <a:gd name="T31" fmla="*/ 4 h 8"/>
                <a:gd name="T32" fmla="*/ 43 w 57"/>
                <a:gd name="T33" fmla="*/ 4 h 8"/>
                <a:gd name="T34" fmla="*/ 51 w 57"/>
                <a:gd name="T35" fmla="*/ 7 h 8"/>
                <a:gd name="T36" fmla="*/ 52 w 57"/>
                <a:gd name="T37" fmla="*/ 7 h 8"/>
                <a:gd name="T38" fmla="*/ 57 w 57"/>
                <a:gd name="T39" fmla="*/ 6 h 8"/>
                <a:gd name="T40" fmla="*/ 57 w 57"/>
                <a:gd name="T41" fmla="*/ 6 h 8"/>
                <a:gd name="T42" fmla="*/ 56 w 57"/>
                <a:gd name="T43" fmla="*/ 6 h 8"/>
                <a:gd name="T44" fmla="*/ 55 w 57"/>
                <a:gd name="T45" fmla="*/ 6 h 8"/>
                <a:gd name="T46" fmla="*/ 54 w 57"/>
                <a:gd name="T47" fmla="*/ 6 h 8"/>
                <a:gd name="T48" fmla="*/ 53 w 57"/>
                <a:gd name="T49" fmla="*/ 6 h 8"/>
                <a:gd name="T50" fmla="*/ 53 w 57"/>
                <a:gd name="T51" fmla="*/ 6 h 8"/>
                <a:gd name="T52" fmla="*/ 50 w 57"/>
                <a:gd name="T53" fmla="*/ 6 h 8"/>
                <a:gd name="T54" fmla="*/ 49 w 57"/>
                <a:gd name="T55" fmla="*/ 6 h 8"/>
                <a:gd name="T56" fmla="*/ 49 w 57"/>
                <a:gd name="T57" fmla="*/ 6 h 8"/>
                <a:gd name="T58" fmla="*/ 48 w 57"/>
                <a:gd name="T59" fmla="*/ 6 h 8"/>
                <a:gd name="T60" fmla="*/ 45 w 57"/>
                <a:gd name="T61" fmla="*/ 5 h 8"/>
                <a:gd name="T62" fmla="*/ 43 w 57"/>
                <a:gd name="T63" fmla="*/ 3 h 8"/>
                <a:gd name="T64" fmla="*/ 38 w 57"/>
                <a:gd name="T65" fmla="*/ 0 h 8"/>
                <a:gd name="T66" fmla="*/ 35 w 57"/>
                <a:gd name="T67" fmla="*/ 0 h 8"/>
                <a:gd name="T68" fmla="*/ 31 w 57"/>
                <a:gd name="T6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 h="8">
                  <a:moveTo>
                    <a:pt x="31" y="0"/>
                  </a:moveTo>
                  <a:cubicBezTo>
                    <a:pt x="30" y="0"/>
                    <a:pt x="29" y="0"/>
                    <a:pt x="29" y="0"/>
                  </a:cubicBezTo>
                  <a:cubicBezTo>
                    <a:pt x="29" y="0"/>
                    <a:pt x="28" y="1"/>
                    <a:pt x="27" y="1"/>
                  </a:cubicBezTo>
                  <a:cubicBezTo>
                    <a:pt x="27" y="2"/>
                    <a:pt x="27" y="2"/>
                    <a:pt x="27" y="2"/>
                  </a:cubicBezTo>
                  <a:cubicBezTo>
                    <a:pt x="26" y="3"/>
                    <a:pt x="26" y="3"/>
                    <a:pt x="26" y="3"/>
                  </a:cubicBezTo>
                  <a:cubicBezTo>
                    <a:pt x="24" y="4"/>
                    <a:pt x="24" y="4"/>
                    <a:pt x="24" y="4"/>
                  </a:cubicBezTo>
                  <a:cubicBezTo>
                    <a:pt x="24" y="3"/>
                    <a:pt x="24" y="3"/>
                    <a:pt x="24" y="3"/>
                  </a:cubicBezTo>
                  <a:cubicBezTo>
                    <a:pt x="13" y="4"/>
                    <a:pt x="4" y="5"/>
                    <a:pt x="0" y="5"/>
                  </a:cubicBezTo>
                  <a:cubicBezTo>
                    <a:pt x="1" y="6"/>
                    <a:pt x="2" y="8"/>
                    <a:pt x="4" y="8"/>
                  </a:cubicBezTo>
                  <a:cubicBezTo>
                    <a:pt x="4" y="8"/>
                    <a:pt x="4" y="8"/>
                    <a:pt x="5" y="8"/>
                  </a:cubicBezTo>
                  <a:cubicBezTo>
                    <a:pt x="6" y="7"/>
                    <a:pt x="6" y="6"/>
                    <a:pt x="7" y="6"/>
                  </a:cubicBezTo>
                  <a:cubicBezTo>
                    <a:pt x="13" y="4"/>
                    <a:pt x="21" y="4"/>
                    <a:pt x="27" y="4"/>
                  </a:cubicBezTo>
                  <a:cubicBezTo>
                    <a:pt x="27" y="4"/>
                    <a:pt x="28" y="3"/>
                    <a:pt x="28" y="3"/>
                  </a:cubicBezTo>
                  <a:cubicBezTo>
                    <a:pt x="29" y="1"/>
                    <a:pt x="31" y="0"/>
                    <a:pt x="32" y="0"/>
                  </a:cubicBezTo>
                  <a:cubicBezTo>
                    <a:pt x="33" y="0"/>
                    <a:pt x="34" y="1"/>
                    <a:pt x="35" y="1"/>
                  </a:cubicBezTo>
                  <a:cubicBezTo>
                    <a:pt x="38" y="2"/>
                    <a:pt x="40" y="3"/>
                    <a:pt x="43" y="4"/>
                  </a:cubicBezTo>
                  <a:cubicBezTo>
                    <a:pt x="43" y="4"/>
                    <a:pt x="43" y="4"/>
                    <a:pt x="43" y="4"/>
                  </a:cubicBezTo>
                  <a:cubicBezTo>
                    <a:pt x="46" y="5"/>
                    <a:pt x="48" y="7"/>
                    <a:pt x="51" y="7"/>
                  </a:cubicBezTo>
                  <a:cubicBezTo>
                    <a:pt x="51" y="7"/>
                    <a:pt x="52" y="7"/>
                    <a:pt x="52" y="7"/>
                  </a:cubicBezTo>
                  <a:cubicBezTo>
                    <a:pt x="54" y="7"/>
                    <a:pt x="55" y="7"/>
                    <a:pt x="57" y="6"/>
                  </a:cubicBezTo>
                  <a:cubicBezTo>
                    <a:pt x="57" y="6"/>
                    <a:pt x="57" y="6"/>
                    <a:pt x="57" y="6"/>
                  </a:cubicBezTo>
                  <a:cubicBezTo>
                    <a:pt x="57" y="6"/>
                    <a:pt x="56" y="6"/>
                    <a:pt x="56" y="6"/>
                  </a:cubicBezTo>
                  <a:cubicBezTo>
                    <a:pt x="56" y="6"/>
                    <a:pt x="55" y="6"/>
                    <a:pt x="55" y="6"/>
                  </a:cubicBezTo>
                  <a:cubicBezTo>
                    <a:pt x="55" y="6"/>
                    <a:pt x="55" y="6"/>
                    <a:pt x="54" y="6"/>
                  </a:cubicBezTo>
                  <a:cubicBezTo>
                    <a:pt x="53" y="6"/>
                    <a:pt x="53" y="6"/>
                    <a:pt x="53" y="6"/>
                  </a:cubicBezTo>
                  <a:cubicBezTo>
                    <a:pt x="53" y="6"/>
                    <a:pt x="53" y="6"/>
                    <a:pt x="53" y="6"/>
                  </a:cubicBezTo>
                  <a:cubicBezTo>
                    <a:pt x="52" y="6"/>
                    <a:pt x="51" y="6"/>
                    <a:pt x="50" y="6"/>
                  </a:cubicBezTo>
                  <a:cubicBezTo>
                    <a:pt x="49" y="6"/>
                    <a:pt x="49" y="6"/>
                    <a:pt x="49" y="6"/>
                  </a:cubicBezTo>
                  <a:cubicBezTo>
                    <a:pt x="49" y="6"/>
                    <a:pt x="49" y="6"/>
                    <a:pt x="49" y="6"/>
                  </a:cubicBezTo>
                  <a:cubicBezTo>
                    <a:pt x="48" y="6"/>
                    <a:pt x="48" y="6"/>
                    <a:pt x="48" y="6"/>
                  </a:cubicBezTo>
                  <a:cubicBezTo>
                    <a:pt x="47" y="6"/>
                    <a:pt x="46" y="5"/>
                    <a:pt x="45" y="5"/>
                  </a:cubicBezTo>
                  <a:cubicBezTo>
                    <a:pt x="44" y="4"/>
                    <a:pt x="43" y="4"/>
                    <a:pt x="43" y="3"/>
                  </a:cubicBezTo>
                  <a:cubicBezTo>
                    <a:pt x="41" y="2"/>
                    <a:pt x="39" y="0"/>
                    <a:pt x="38" y="0"/>
                  </a:cubicBezTo>
                  <a:cubicBezTo>
                    <a:pt x="37" y="0"/>
                    <a:pt x="36" y="0"/>
                    <a:pt x="35" y="0"/>
                  </a:cubicBezTo>
                  <a:cubicBezTo>
                    <a:pt x="34" y="0"/>
                    <a:pt x="32"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248"/>
            <p:cNvSpPr/>
            <p:nvPr/>
          </p:nvSpPr>
          <p:spPr bwMode="auto">
            <a:xfrm>
              <a:off x="2725" y="1999"/>
              <a:ext cx="83" cy="16"/>
            </a:xfrm>
            <a:custGeom>
              <a:gdLst>
                <a:gd name="T0" fmla="*/ 35 w 35"/>
                <a:gd name="T1" fmla="*/ 0 h 7"/>
                <a:gd name="T2" fmla="*/ 19 w 35"/>
                <a:gd name="T3" fmla="*/ 2 h 7"/>
                <a:gd name="T4" fmla="*/ 16 w 35"/>
                <a:gd name="T5" fmla="*/ 5 h 7"/>
                <a:gd name="T6" fmla="*/ 11 w 35"/>
                <a:gd name="T7" fmla="*/ 6 h 7"/>
                <a:gd name="T8" fmla="*/ 6 w 35"/>
                <a:gd name="T9" fmla="*/ 4 h 7"/>
                <a:gd name="T10" fmla="*/ 4 w 35"/>
                <a:gd name="T11" fmla="*/ 1 h 7"/>
                <a:gd name="T12" fmla="*/ 2 w 35"/>
                <a:gd name="T13" fmla="*/ 1 h 7"/>
                <a:gd name="T14" fmla="*/ 1 w 35"/>
                <a:gd name="T15" fmla="*/ 7 h 7"/>
                <a:gd name="T16" fmla="*/ 1 w 35"/>
                <a:gd name="T17" fmla="*/ 7 h 7"/>
                <a:gd name="T18" fmla="*/ 2 w 35"/>
                <a:gd name="T19" fmla="*/ 7 h 7"/>
                <a:gd name="T20" fmla="*/ 6 w 35"/>
                <a:gd name="T21" fmla="*/ 7 h 7"/>
                <a:gd name="T22" fmla="*/ 21 w 35"/>
                <a:gd name="T23" fmla="*/ 5 h 7"/>
                <a:gd name="T24" fmla="*/ 21 w 35"/>
                <a:gd name="T25" fmla="*/ 5 h 7"/>
                <a:gd name="T26" fmla="*/ 22 w 35"/>
                <a:gd name="T27" fmla="*/ 4 h 7"/>
                <a:gd name="T28" fmla="*/ 24 w 35"/>
                <a:gd name="T29" fmla="*/ 3 h 7"/>
                <a:gd name="T30" fmla="*/ 26 w 35"/>
                <a:gd name="T31" fmla="*/ 2 h 7"/>
                <a:gd name="T32" fmla="*/ 27 w 35"/>
                <a:gd name="T33" fmla="*/ 2 h 7"/>
                <a:gd name="T34" fmla="*/ 27 w 35"/>
                <a:gd name="T35" fmla="*/ 2 h 7"/>
                <a:gd name="T36" fmla="*/ 30 w 35"/>
                <a:gd name="T37" fmla="*/ 2 h 7"/>
                <a:gd name="T38" fmla="*/ 35 w 35"/>
                <a:gd name="T39" fmla="*/ 1 h 7"/>
                <a:gd name="T40" fmla="*/ 35 w 35"/>
                <a:gd name="T4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7">
                  <a:moveTo>
                    <a:pt x="35" y="0"/>
                  </a:moveTo>
                  <a:cubicBezTo>
                    <a:pt x="30" y="1"/>
                    <a:pt x="25" y="1"/>
                    <a:pt x="19" y="2"/>
                  </a:cubicBezTo>
                  <a:cubicBezTo>
                    <a:pt x="17" y="2"/>
                    <a:pt x="13" y="2"/>
                    <a:pt x="16" y="5"/>
                  </a:cubicBezTo>
                  <a:cubicBezTo>
                    <a:pt x="14" y="6"/>
                    <a:pt x="12" y="6"/>
                    <a:pt x="11" y="6"/>
                  </a:cubicBezTo>
                  <a:cubicBezTo>
                    <a:pt x="9" y="6"/>
                    <a:pt x="8" y="6"/>
                    <a:pt x="6" y="4"/>
                  </a:cubicBezTo>
                  <a:cubicBezTo>
                    <a:pt x="5" y="3"/>
                    <a:pt x="5" y="1"/>
                    <a:pt x="4" y="1"/>
                  </a:cubicBezTo>
                  <a:cubicBezTo>
                    <a:pt x="3" y="1"/>
                    <a:pt x="3" y="1"/>
                    <a:pt x="2" y="1"/>
                  </a:cubicBezTo>
                  <a:cubicBezTo>
                    <a:pt x="0" y="3"/>
                    <a:pt x="1" y="4"/>
                    <a:pt x="1" y="7"/>
                  </a:cubicBezTo>
                  <a:cubicBezTo>
                    <a:pt x="1" y="7"/>
                    <a:pt x="1" y="7"/>
                    <a:pt x="1" y="7"/>
                  </a:cubicBezTo>
                  <a:cubicBezTo>
                    <a:pt x="2" y="7"/>
                    <a:pt x="2" y="7"/>
                    <a:pt x="2" y="7"/>
                  </a:cubicBezTo>
                  <a:cubicBezTo>
                    <a:pt x="3" y="7"/>
                    <a:pt x="5" y="7"/>
                    <a:pt x="6" y="7"/>
                  </a:cubicBezTo>
                  <a:cubicBezTo>
                    <a:pt x="21" y="5"/>
                    <a:pt x="21" y="5"/>
                    <a:pt x="21" y="5"/>
                  </a:cubicBezTo>
                  <a:cubicBezTo>
                    <a:pt x="21" y="5"/>
                    <a:pt x="21" y="5"/>
                    <a:pt x="21" y="5"/>
                  </a:cubicBezTo>
                  <a:cubicBezTo>
                    <a:pt x="22" y="4"/>
                    <a:pt x="22" y="4"/>
                    <a:pt x="22" y="4"/>
                  </a:cubicBezTo>
                  <a:cubicBezTo>
                    <a:pt x="22" y="4"/>
                    <a:pt x="23" y="3"/>
                    <a:pt x="24" y="3"/>
                  </a:cubicBezTo>
                  <a:cubicBezTo>
                    <a:pt x="25" y="3"/>
                    <a:pt x="26" y="3"/>
                    <a:pt x="26" y="2"/>
                  </a:cubicBezTo>
                  <a:cubicBezTo>
                    <a:pt x="27" y="2"/>
                    <a:pt x="27" y="2"/>
                    <a:pt x="27" y="2"/>
                  </a:cubicBezTo>
                  <a:cubicBezTo>
                    <a:pt x="27" y="2"/>
                    <a:pt x="27" y="2"/>
                    <a:pt x="27" y="2"/>
                  </a:cubicBezTo>
                  <a:cubicBezTo>
                    <a:pt x="28" y="2"/>
                    <a:pt x="29" y="2"/>
                    <a:pt x="30" y="2"/>
                  </a:cubicBezTo>
                  <a:cubicBezTo>
                    <a:pt x="34" y="1"/>
                    <a:pt x="35" y="1"/>
                    <a:pt x="35" y="1"/>
                  </a:cubicBezTo>
                  <a:cubicBezTo>
                    <a:pt x="35" y="0"/>
                    <a:pt x="35"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49"/>
            <p:cNvSpPr/>
            <p:nvPr/>
          </p:nvSpPr>
          <p:spPr bwMode="auto">
            <a:xfrm>
              <a:off x="3146" y="153"/>
              <a:ext cx="699" cy="508"/>
            </a:xfrm>
            <a:custGeom>
              <a:gdLst>
                <a:gd name="T0" fmla="*/ 25 w 296"/>
                <a:gd name="T1" fmla="*/ 8 h 215"/>
                <a:gd name="T2" fmla="*/ 15 w 296"/>
                <a:gd name="T3" fmla="*/ 13 h 215"/>
                <a:gd name="T4" fmla="*/ 4 w 296"/>
                <a:gd name="T5" fmla="*/ 17 h 215"/>
                <a:gd name="T6" fmla="*/ 0 w 296"/>
                <a:gd name="T7" fmla="*/ 23 h 215"/>
                <a:gd name="T8" fmla="*/ 10 w 296"/>
                <a:gd name="T9" fmla="*/ 37 h 215"/>
                <a:gd name="T10" fmla="*/ 14 w 296"/>
                <a:gd name="T11" fmla="*/ 38 h 215"/>
                <a:gd name="T12" fmla="*/ 10 w 296"/>
                <a:gd name="T13" fmla="*/ 47 h 215"/>
                <a:gd name="T14" fmla="*/ 25 w 296"/>
                <a:gd name="T15" fmla="*/ 43 h 215"/>
                <a:gd name="T16" fmla="*/ 33 w 296"/>
                <a:gd name="T17" fmla="*/ 50 h 215"/>
                <a:gd name="T18" fmla="*/ 44 w 296"/>
                <a:gd name="T19" fmla="*/ 51 h 215"/>
                <a:gd name="T20" fmla="*/ 55 w 296"/>
                <a:gd name="T21" fmla="*/ 49 h 215"/>
                <a:gd name="T22" fmla="*/ 59 w 296"/>
                <a:gd name="T23" fmla="*/ 49 h 215"/>
                <a:gd name="T24" fmla="*/ 68 w 296"/>
                <a:gd name="T25" fmla="*/ 54 h 215"/>
                <a:gd name="T26" fmla="*/ 71 w 296"/>
                <a:gd name="T27" fmla="*/ 58 h 215"/>
                <a:gd name="T28" fmla="*/ 64 w 296"/>
                <a:gd name="T29" fmla="*/ 75 h 215"/>
                <a:gd name="T30" fmla="*/ 59 w 296"/>
                <a:gd name="T31" fmla="*/ 81 h 215"/>
                <a:gd name="T32" fmla="*/ 60 w 296"/>
                <a:gd name="T33" fmla="*/ 99 h 215"/>
                <a:gd name="T34" fmla="*/ 48 w 296"/>
                <a:gd name="T35" fmla="*/ 121 h 215"/>
                <a:gd name="T36" fmla="*/ 52 w 296"/>
                <a:gd name="T37" fmla="*/ 127 h 215"/>
                <a:gd name="T38" fmla="*/ 53 w 296"/>
                <a:gd name="T39" fmla="*/ 140 h 215"/>
                <a:gd name="T40" fmla="*/ 49 w 296"/>
                <a:gd name="T41" fmla="*/ 148 h 215"/>
                <a:gd name="T42" fmla="*/ 58 w 296"/>
                <a:gd name="T43" fmla="*/ 152 h 215"/>
                <a:gd name="T44" fmla="*/ 50 w 296"/>
                <a:gd name="T45" fmla="*/ 164 h 215"/>
                <a:gd name="T46" fmla="*/ 52 w 296"/>
                <a:gd name="T47" fmla="*/ 182 h 215"/>
                <a:gd name="T48" fmla="*/ 62 w 296"/>
                <a:gd name="T49" fmla="*/ 189 h 215"/>
                <a:gd name="T50" fmla="*/ 71 w 296"/>
                <a:gd name="T51" fmla="*/ 191 h 215"/>
                <a:gd name="T52" fmla="*/ 86 w 296"/>
                <a:gd name="T53" fmla="*/ 215 h 215"/>
                <a:gd name="T54" fmla="*/ 97 w 296"/>
                <a:gd name="T55" fmla="*/ 206 h 215"/>
                <a:gd name="T56" fmla="*/ 127 w 296"/>
                <a:gd name="T57" fmla="*/ 196 h 215"/>
                <a:gd name="T58" fmla="*/ 154 w 296"/>
                <a:gd name="T59" fmla="*/ 197 h 215"/>
                <a:gd name="T60" fmla="*/ 173 w 296"/>
                <a:gd name="T61" fmla="*/ 189 h 215"/>
                <a:gd name="T62" fmla="*/ 196 w 296"/>
                <a:gd name="T63" fmla="*/ 173 h 215"/>
                <a:gd name="T64" fmla="*/ 202 w 296"/>
                <a:gd name="T65" fmla="*/ 162 h 215"/>
                <a:gd name="T66" fmla="*/ 236 w 296"/>
                <a:gd name="T67" fmla="*/ 84 h 215"/>
                <a:gd name="T68" fmla="*/ 263 w 296"/>
                <a:gd name="T69" fmla="*/ 68 h 215"/>
                <a:gd name="T70" fmla="*/ 292 w 296"/>
                <a:gd name="T71" fmla="*/ 46 h 215"/>
                <a:gd name="T72" fmla="*/ 292 w 296"/>
                <a:gd name="T73" fmla="*/ 41 h 215"/>
                <a:gd name="T74" fmla="*/ 275 w 296"/>
                <a:gd name="T75" fmla="*/ 43 h 215"/>
                <a:gd name="T76" fmla="*/ 257 w 296"/>
                <a:gd name="T77" fmla="*/ 36 h 215"/>
                <a:gd name="T78" fmla="*/ 237 w 296"/>
                <a:gd name="T79" fmla="*/ 30 h 215"/>
                <a:gd name="T80" fmla="*/ 223 w 296"/>
                <a:gd name="T81" fmla="*/ 34 h 215"/>
                <a:gd name="T82" fmla="*/ 212 w 296"/>
                <a:gd name="T83" fmla="*/ 31 h 215"/>
                <a:gd name="T84" fmla="*/ 202 w 296"/>
                <a:gd name="T85" fmla="*/ 28 h 215"/>
                <a:gd name="T86" fmla="*/ 190 w 296"/>
                <a:gd name="T87" fmla="*/ 24 h 215"/>
                <a:gd name="T88" fmla="*/ 183 w 296"/>
                <a:gd name="T89" fmla="*/ 16 h 215"/>
                <a:gd name="T90" fmla="*/ 174 w 296"/>
                <a:gd name="T91" fmla="*/ 13 h 215"/>
                <a:gd name="T92" fmla="*/ 161 w 296"/>
                <a:gd name="T93" fmla="*/ 13 h 215"/>
                <a:gd name="T94" fmla="*/ 136 w 296"/>
                <a:gd name="T95" fmla="*/ 8 h 215"/>
                <a:gd name="T96" fmla="*/ 100 w 296"/>
                <a:gd name="T97" fmla="*/ 8 h 215"/>
                <a:gd name="T98" fmla="*/ 62 w 296"/>
                <a:gd name="T99" fmla="*/ 6 h 215"/>
                <a:gd name="T100" fmla="*/ 34 w 296"/>
                <a:gd name="T101" fmla="*/ 2 h 2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6" h="215">
                  <a:moveTo>
                    <a:pt x="33" y="0"/>
                  </a:moveTo>
                  <a:cubicBezTo>
                    <a:pt x="30" y="1"/>
                    <a:pt x="28" y="2"/>
                    <a:pt x="26" y="4"/>
                  </a:cubicBezTo>
                  <a:cubicBezTo>
                    <a:pt x="25" y="5"/>
                    <a:pt x="24" y="6"/>
                    <a:pt x="23" y="6"/>
                  </a:cubicBezTo>
                  <a:cubicBezTo>
                    <a:pt x="23" y="6"/>
                    <a:pt x="23" y="6"/>
                    <a:pt x="23" y="6"/>
                  </a:cubicBezTo>
                  <a:cubicBezTo>
                    <a:pt x="23" y="7"/>
                    <a:pt x="24" y="8"/>
                    <a:pt x="25" y="8"/>
                  </a:cubicBezTo>
                  <a:cubicBezTo>
                    <a:pt x="25" y="8"/>
                    <a:pt x="26" y="8"/>
                    <a:pt x="26" y="7"/>
                  </a:cubicBezTo>
                  <a:cubicBezTo>
                    <a:pt x="26" y="8"/>
                    <a:pt x="26" y="9"/>
                    <a:pt x="26" y="10"/>
                  </a:cubicBezTo>
                  <a:cubicBezTo>
                    <a:pt x="24" y="11"/>
                    <a:pt x="22" y="10"/>
                    <a:pt x="21" y="12"/>
                  </a:cubicBezTo>
                  <a:cubicBezTo>
                    <a:pt x="21" y="11"/>
                    <a:pt x="21" y="11"/>
                    <a:pt x="21" y="11"/>
                  </a:cubicBezTo>
                  <a:cubicBezTo>
                    <a:pt x="19" y="11"/>
                    <a:pt x="17" y="13"/>
                    <a:pt x="15" y="13"/>
                  </a:cubicBezTo>
                  <a:cubicBezTo>
                    <a:pt x="15" y="13"/>
                    <a:pt x="15" y="13"/>
                    <a:pt x="14" y="13"/>
                  </a:cubicBezTo>
                  <a:cubicBezTo>
                    <a:pt x="13" y="13"/>
                    <a:pt x="12" y="13"/>
                    <a:pt x="11" y="12"/>
                  </a:cubicBezTo>
                  <a:cubicBezTo>
                    <a:pt x="11" y="12"/>
                    <a:pt x="11" y="12"/>
                    <a:pt x="10" y="12"/>
                  </a:cubicBezTo>
                  <a:cubicBezTo>
                    <a:pt x="8" y="12"/>
                    <a:pt x="7" y="15"/>
                    <a:pt x="5" y="17"/>
                  </a:cubicBezTo>
                  <a:cubicBezTo>
                    <a:pt x="5" y="17"/>
                    <a:pt x="4" y="17"/>
                    <a:pt x="4" y="17"/>
                  </a:cubicBezTo>
                  <a:cubicBezTo>
                    <a:pt x="4" y="17"/>
                    <a:pt x="4" y="17"/>
                    <a:pt x="4" y="17"/>
                  </a:cubicBezTo>
                  <a:cubicBezTo>
                    <a:pt x="4" y="17"/>
                    <a:pt x="3" y="16"/>
                    <a:pt x="3" y="16"/>
                  </a:cubicBezTo>
                  <a:cubicBezTo>
                    <a:pt x="3" y="16"/>
                    <a:pt x="3" y="17"/>
                    <a:pt x="2" y="17"/>
                  </a:cubicBezTo>
                  <a:cubicBezTo>
                    <a:pt x="1" y="18"/>
                    <a:pt x="1" y="20"/>
                    <a:pt x="0" y="20"/>
                  </a:cubicBezTo>
                  <a:cubicBezTo>
                    <a:pt x="0" y="22"/>
                    <a:pt x="0" y="23"/>
                    <a:pt x="0" y="23"/>
                  </a:cubicBezTo>
                  <a:cubicBezTo>
                    <a:pt x="0" y="25"/>
                    <a:pt x="2" y="26"/>
                    <a:pt x="3" y="28"/>
                  </a:cubicBezTo>
                  <a:cubicBezTo>
                    <a:pt x="6" y="31"/>
                    <a:pt x="6" y="31"/>
                    <a:pt x="5" y="34"/>
                  </a:cubicBezTo>
                  <a:cubicBezTo>
                    <a:pt x="5" y="34"/>
                    <a:pt x="5" y="34"/>
                    <a:pt x="5" y="34"/>
                  </a:cubicBezTo>
                  <a:cubicBezTo>
                    <a:pt x="8" y="34"/>
                    <a:pt x="11" y="32"/>
                    <a:pt x="13" y="30"/>
                  </a:cubicBezTo>
                  <a:cubicBezTo>
                    <a:pt x="12" y="32"/>
                    <a:pt x="11" y="36"/>
                    <a:pt x="10" y="37"/>
                  </a:cubicBezTo>
                  <a:cubicBezTo>
                    <a:pt x="10" y="37"/>
                    <a:pt x="9" y="36"/>
                    <a:pt x="9" y="36"/>
                  </a:cubicBezTo>
                  <a:cubicBezTo>
                    <a:pt x="9" y="36"/>
                    <a:pt x="9" y="36"/>
                    <a:pt x="8" y="37"/>
                  </a:cubicBezTo>
                  <a:cubicBezTo>
                    <a:pt x="9" y="38"/>
                    <a:pt x="10" y="39"/>
                    <a:pt x="11" y="39"/>
                  </a:cubicBezTo>
                  <a:cubicBezTo>
                    <a:pt x="11" y="39"/>
                    <a:pt x="12" y="38"/>
                    <a:pt x="12" y="38"/>
                  </a:cubicBezTo>
                  <a:cubicBezTo>
                    <a:pt x="13" y="38"/>
                    <a:pt x="13" y="38"/>
                    <a:pt x="14" y="38"/>
                  </a:cubicBezTo>
                  <a:cubicBezTo>
                    <a:pt x="14" y="38"/>
                    <a:pt x="14" y="38"/>
                    <a:pt x="14" y="38"/>
                  </a:cubicBezTo>
                  <a:cubicBezTo>
                    <a:pt x="13" y="40"/>
                    <a:pt x="11" y="41"/>
                    <a:pt x="10" y="42"/>
                  </a:cubicBezTo>
                  <a:cubicBezTo>
                    <a:pt x="10" y="43"/>
                    <a:pt x="10" y="43"/>
                    <a:pt x="11" y="43"/>
                  </a:cubicBezTo>
                  <a:cubicBezTo>
                    <a:pt x="12" y="43"/>
                    <a:pt x="14" y="42"/>
                    <a:pt x="14" y="42"/>
                  </a:cubicBezTo>
                  <a:cubicBezTo>
                    <a:pt x="13" y="44"/>
                    <a:pt x="11" y="45"/>
                    <a:pt x="10" y="47"/>
                  </a:cubicBezTo>
                  <a:cubicBezTo>
                    <a:pt x="9" y="48"/>
                    <a:pt x="9" y="49"/>
                    <a:pt x="9" y="51"/>
                  </a:cubicBezTo>
                  <a:cubicBezTo>
                    <a:pt x="12" y="49"/>
                    <a:pt x="16" y="46"/>
                    <a:pt x="18" y="46"/>
                  </a:cubicBezTo>
                  <a:cubicBezTo>
                    <a:pt x="20" y="45"/>
                    <a:pt x="21" y="45"/>
                    <a:pt x="22" y="45"/>
                  </a:cubicBezTo>
                  <a:cubicBezTo>
                    <a:pt x="22" y="45"/>
                    <a:pt x="22" y="45"/>
                    <a:pt x="22" y="45"/>
                  </a:cubicBezTo>
                  <a:cubicBezTo>
                    <a:pt x="23" y="44"/>
                    <a:pt x="24" y="44"/>
                    <a:pt x="25" y="43"/>
                  </a:cubicBezTo>
                  <a:cubicBezTo>
                    <a:pt x="27" y="43"/>
                    <a:pt x="27" y="43"/>
                    <a:pt x="27" y="43"/>
                  </a:cubicBezTo>
                  <a:cubicBezTo>
                    <a:pt x="28" y="45"/>
                    <a:pt x="28" y="45"/>
                    <a:pt x="28" y="45"/>
                  </a:cubicBezTo>
                  <a:cubicBezTo>
                    <a:pt x="29" y="46"/>
                    <a:pt x="31" y="47"/>
                    <a:pt x="30" y="50"/>
                  </a:cubicBezTo>
                  <a:cubicBezTo>
                    <a:pt x="30" y="50"/>
                    <a:pt x="30" y="50"/>
                    <a:pt x="30" y="50"/>
                  </a:cubicBezTo>
                  <a:cubicBezTo>
                    <a:pt x="31" y="50"/>
                    <a:pt x="32" y="50"/>
                    <a:pt x="33" y="50"/>
                  </a:cubicBezTo>
                  <a:cubicBezTo>
                    <a:pt x="34" y="50"/>
                    <a:pt x="36" y="50"/>
                    <a:pt x="37" y="51"/>
                  </a:cubicBezTo>
                  <a:cubicBezTo>
                    <a:pt x="38" y="51"/>
                    <a:pt x="38" y="51"/>
                    <a:pt x="38" y="51"/>
                  </a:cubicBezTo>
                  <a:cubicBezTo>
                    <a:pt x="39" y="52"/>
                    <a:pt x="39" y="52"/>
                    <a:pt x="40" y="52"/>
                  </a:cubicBezTo>
                  <a:cubicBezTo>
                    <a:pt x="40" y="52"/>
                    <a:pt x="40" y="52"/>
                    <a:pt x="40" y="52"/>
                  </a:cubicBezTo>
                  <a:cubicBezTo>
                    <a:pt x="41" y="52"/>
                    <a:pt x="42" y="52"/>
                    <a:pt x="44" y="51"/>
                  </a:cubicBezTo>
                  <a:cubicBezTo>
                    <a:pt x="45" y="51"/>
                    <a:pt x="46" y="51"/>
                    <a:pt x="47" y="51"/>
                  </a:cubicBezTo>
                  <a:cubicBezTo>
                    <a:pt x="47" y="51"/>
                    <a:pt x="47" y="51"/>
                    <a:pt x="47" y="51"/>
                  </a:cubicBezTo>
                  <a:cubicBezTo>
                    <a:pt x="49" y="50"/>
                    <a:pt x="49" y="50"/>
                    <a:pt x="51" y="49"/>
                  </a:cubicBezTo>
                  <a:cubicBezTo>
                    <a:pt x="52" y="49"/>
                    <a:pt x="53" y="49"/>
                    <a:pt x="53" y="49"/>
                  </a:cubicBezTo>
                  <a:cubicBezTo>
                    <a:pt x="54" y="49"/>
                    <a:pt x="55" y="49"/>
                    <a:pt x="55" y="49"/>
                  </a:cubicBezTo>
                  <a:cubicBezTo>
                    <a:pt x="55" y="49"/>
                    <a:pt x="55" y="49"/>
                    <a:pt x="55" y="49"/>
                  </a:cubicBezTo>
                  <a:cubicBezTo>
                    <a:pt x="56" y="49"/>
                    <a:pt x="56" y="49"/>
                    <a:pt x="56" y="49"/>
                  </a:cubicBezTo>
                  <a:cubicBezTo>
                    <a:pt x="56" y="49"/>
                    <a:pt x="56" y="49"/>
                    <a:pt x="57" y="49"/>
                  </a:cubicBezTo>
                  <a:cubicBezTo>
                    <a:pt x="57" y="49"/>
                    <a:pt x="58" y="49"/>
                    <a:pt x="59" y="49"/>
                  </a:cubicBezTo>
                  <a:cubicBezTo>
                    <a:pt x="59" y="49"/>
                    <a:pt x="59" y="49"/>
                    <a:pt x="59" y="49"/>
                  </a:cubicBezTo>
                  <a:cubicBezTo>
                    <a:pt x="60" y="48"/>
                    <a:pt x="61" y="48"/>
                    <a:pt x="61" y="48"/>
                  </a:cubicBezTo>
                  <a:cubicBezTo>
                    <a:pt x="62" y="48"/>
                    <a:pt x="62" y="48"/>
                    <a:pt x="62" y="48"/>
                  </a:cubicBezTo>
                  <a:cubicBezTo>
                    <a:pt x="62" y="48"/>
                    <a:pt x="62" y="48"/>
                    <a:pt x="62" y="48"/>
                  </a:cubicBezTo>
                  <a:cubicBezTo>
                    <a:pt x="64" y="48"/>
                    <a:pt x="65" y="49"/>
                    <a:pt x="66" y="49"/>
                  </a:cubicBezTo>
                  <a:cubicBezTo>
                    <a:pt x="67" y="50"/>
                    <a:pt x="67" y="52"/>
                    <a:pt x="68" y="54"/>
                  </a:cubicBezTo>
                  <a:cubicBezTo>
                    <a:pt x="68" y="55"/>
                    <a:pt x="68" y="55"/>
                    <a:pt x="68" y="55"/>
                  </a:cubicBezTo>
                  <a:cubicBezTo>
                    <a:pt x="67" y="56"/>
                    <a:pt x="67" y="56"/>
                    <a:pt x="67" y="56"/>
                  </a:cubicBezTo>
                  <a:cubicBezTo>
                    <a:pt x="68" y="57"/>
                    <a:pt x="68" y="57"/>
                    <a:pt x="68" y="57"/>
                  </a:cubicBezTo>
                  <a:cubicBezTo>
                    <a:pt x="69" y="57"/>
                    <a:pt x="69" y="57"/>
                    <a:pt x="69" y="57"/>
                  </a:cubicBezTo>
                  <a:cubicBezTo>
                    <a:pt x="71" y="58"/>
                    <a:pt x="71" y="58"/>
                    <a:pt x="71" y="58"/>
                  </a:cubicBezTo>
                  <a:cubicBezTo>
                    <a:pt x="73" y="59"/>
                    <a:pt x="74" y="59"/>
                    <a:pt x="75" y="61"/>
                  </a:cubicBezTo>
                  <a:cubicBezTo>
                    <a:pt x="75" y="63"/>
                    <a:pt x="74" y="64"/>
                    <a:pt x="74" y="66"/>
                  </a:cubicBezTo>
                  <a:cubicBezTo>
                    <a:pt x="72" y="68"/>
                    <a:pt x="71" y="70"/>
                    <a:pt x="69" y="71"/>
                  </a:cubicBezTo>
                  <a:cubicBezTo>
                    <a:pt x="68" y="72"/>
                    <a:pt x="68" y="72"/>
                    <a:pt x="68" y="72"/>
                  </a:cubicBezTo>
                  <a:cubicBezTo>
                    <a:pt x="67" y="73"/>
                    <a:pt x="65" y="74"/>
                    <a:pt x="64" y="75"/>
                  </a:cubicBezTo>
                  <a:cubicBezTo>
                    <a:pt x="63" y="75"/>
                    <a:pt x="61" y="76"/>
                    <a:pt x="60" y="77"/>
                  </a:cubicBezTo>
                  <a:cubicBezTo>
                    <a:pt x="60" y="77"/>
                    <a:pt x="60" y="77"/>
                    <a:pt x="60" y="77"/>
                  </a:cubicBezTo>
                  <a:cubicBezTo>
                    <a:pt x="63" y="82"/>
                    <a:pt x="63" y="82"/>
                    <a:pt x="63" y="82"/>
                  </a:cubicBezTo>
                  <a:cubicBezTo>
                    <a:pt x="59" y="78"/>
                    <a:pt x="59" y="78"/>
                    <a:pt x="59" y="78"/>
                  </a:cubicBezTo>
                  <a:cubicBezTo>
                    <a:pt x="59" y="79"/>
                    <a:pt x="59" y="79"/>
                    <a:pt x="59" y="81"/>
                  </a:cubicBezTo>
                  <a:cubicBezTo>
                    <a:pt x="60" y="81"/>
                    <a:pt x="60" y="82"/>
                    <a:pt x="60" y="83"/>
                  </a:cubicBezTo>
                  <a:cubicBezTo>
                    <a:pt x="61" y="86"/>
                    <a:pt x="61" y="89"/>
                    <a:pt x="61" y="92"/>
                  </a:cubicBezTo>
                  <a:cubicBezTo>
                    <a:pt x="60" y="94"/>
                    <a:pt x="60" y="94"/>
                    <a:pt x="60" y="94"/>
                  </a:cubicBezTo>
                  <a:cubicBezTo>
                    <a:pt x="60" y="95"/>
                    <a:pt x="60" y="96"/>
                    <a:pt x="60" y="97"/>
                  </a:cubicBezTo>
                  <a:cubicBezTo>
                    <a:pt x="60" y="99"/>
                    <a:pt x="60" y="99"/>
                    <a:pt x="60" y="99"/>
                  </a:cubicBezTo>
                  <a:cubicBezTo>
                    <a:pt x="60" y="100"/>
                    <a:pt x="59" y="101"/>
                    <a:pt x="58" y="101"/>
                  </a:cubicBezTo>
                  <a:cubicBezTo>
                    <a:pt x="58" y="104"/>
                    <a:pt x="58" y="115"/>
                    <a:pt x="54" y="118"/>
                  </a:cubicBezTo>
                  <a:cubicBezTo>
                    <a:pt x="53" y="119"/>
                    <a:pt x="51" y="119"/>
                    <a:pt x="49" y="119"/>
                  </a:cubicBezTo>
                  <a:cubicBezTo>
                    <a:pt x="48" y="119"/>
                    <a:pt x="47" y="119"/>
                    <a:pt x="46" y="119"/>
                  </a:cubicBezTo>
                  <a:cubicBezTo>
                    <a:pt x="48" y="121"/>
                    <a:pt x="48" y="121"/>
                    <a:pt x="48" y="121"/>
                  </a:cubicBezTo>
                  <a:cubicBezTo>
                    <a:pt x="48" y="122"/>
                    <a:pt x="48" y="123"/>
                    <a:pt x="49" y="123"/>
                  </a:cubicBezTo>
                  <a:cubicBezTo>
                    <a:pt x="50" y="124"/>
                    <a:pt x="50" y="125"/>
                    <a:pt x="50" y="126"/>
                  </a:cubicBezTo>
                  <a:cubicBezTo>
                    <a:pt x="51" y="127"/>
                    <a:pt x="51" y="127"/>
                    <a:pt x="51" y="127"/>
                  </a:cubicBezTo>
                  <a:cubicBezTo>
                    <a:pt x="51" y="127"/>
                    <a:pt x="51" y="127"/>
                    <a:pt x="51" y="127"/>
                  </a:cubicBezTo>
                  <a:cubicBezTo>
                    <a:pt x="51" y="127"/>
                    <a:pt x="51" y="127"/>
                    <a:pt x="52" y="127"/>
                  </a:cubicBezTo>
                  <a:cubicBezTo>
                    <a:pt x="54" y="128"/>
                    <a:pt x="56" y="129"/>
                    <a:pt x="57" y="132"/>
                  </a:cubicBezTo>
                  <a:cubicBezTo>
                    <a:pt x="57" y="133"/>
                    <a:pt x="57" y="133"/>
                    <a:pt x="57" y="134"/>
                  </a:cubicBezTo>
                  <a:cubicBezTo>
                    <a:pt x="57" y="135"/>
                    <a:pt x="56" y="136"/>
                    <a:pt x="56" y="137"/>
                  </a:cubicBezTo>
                  <a:cubicBezTo>
                    <a:pt x="55" y="138"/>
                    <a:pt x="54" y="139"/>
                    <a:pt x="54" y="140"/>
                  </a:cubicBezTo>
                  <a:cubicBezTo>
                    <a:pt x="53" y="140"/>
                    <a:pt x="53" y="140"/>
                    <a:pt x="53" y="140"/>
                  </a:cubicBezTo>
                  <a:cubicBezTo>
                    <a:pt x="53" y="140"/>
                    <a:pt x="53" y="140"/>
                    <a:pt x="53" y="140"/>
                  </a:cubicBezTo>
                  <a:cubicBezTo>
                    <a:pt x="52" y="141"/>
                    <a:pt x="52" y="141"/>
                    <a:pt x="52" y="141"/>
                  </a:cubicBezTo>
                  <a:cubicBezTo>
                    <a:pt x="52" y="141"/>
                    <a:pt x="52" y="141"/>
                    <a:pt x="52" y="141"/>
                  </a:cubicBezTo>
                  <a:cubicBezTo>
                    <a:pt x="51" y="143"/>
                    <a:pt x="50" y="144"/>
                    <a:pt x="50" y="146"/>
                  </a:cubicBezTo>
                  <a:cubicBezTo>
                    <a:pt x="50" y="147"/>
                    <a:pt x="49" y="147"/>
                    <a:pt x="49" y="148"/>
                  </a:cubicBezTo>
                  <a:cubicBezTo>
                    <a:pt x="49" y="148"/>
                    <a:pt x="50" y="149"/>
                    <a:pt x="51" y="151"/>
                  </a:cubicBezTo>
                  <a:cubicBezTo>
                    <a:pt x="52" y="151"/>
                    <a:pt x="52" y="152"/>
                    <a:pt x="52" y="152"/>
                  </a:cubicBezTo>
                  <a:cubicBezTo>
                    <a:pt x="53" y="153"/>
                    <a:pt x="53" y="153"/>
                    <a:pt x="53" y="153"/>
                  </a:cubicBezTo>
                  <a:cubicBezTo>
                    <a:pt x="54" y="153"/>
                    <a:pt x="54" y="153"/>
                    <a:pt x="54" y="153"/>
                  </a:cubicBezTo>
                  <a:cubicBezTo>
                    <a:pt x="58" y="152"/>
                    <a:pt x="58" y="152"/>
                    <a:pt x="58" y="152"/>
                  </a:cubicBezTo>
                  <a:cubicBezTo>
                    <a:pt x="58" y="156"/>
                    <a:pt x="58" y="156"/>
                    <a:pt x="58" y="156"/>
                  </a:cubicBezTo>
                  <a:cubicBezTo>
                    <a:pt x="58" y="157"/>
                    <a:pt x="57" y="158"/>
                    <a:pt x="57" y="159"/>
                  </a:cubicBezTo>
                  <a:cubicBezTo>
                    <a:pt x="56" y="160"/>
                    <a:pt x="56" y="160"/>
                    <a:pt x="56" y="160"/>
                  </a:cubicBezTo>
                  <a:cubicBezTo>
                    <a:pt x="55" y="161"/>
                    <a:pt x="53" y="162"/>
                    <a:pt x="51" y="163"/>
                  </a:cubicBezTo>
                  <a:cubicBezTo>
                    <a:pt x="51" y="163"/>
                    <a:pt x="50" y="164"/>
                    <a:pt x="50" y="164"/>
                  </a:cubicBezTo>
                  <a:cubicBezTo>
                    <a:pt x="49" y="164"/>
                    <a:pt x="47" y="167"/>
                    <a:pt x="46" y="169"/>
                  </a:cubicBezTo>
                  <a:cubicBezTo>
                    <a:pt x="45" y="172"/>
                    <a:pt x="44" y="174"/>
                    <a:pt x="45" y="175"/>
                  </a:cubicBezTo>
                  <a:cubicBezTo>
                    <a:pt x="45" y="176"/>
                    <a:pt x="46" y="180"/>
                    <a:pt x="46" y="180"/>
                  </a:cubicBezTo>
                  <a:cubicBezTo>
                    <a:pt x="46" y="182"/>
                    <a:pt x="46" y="182"/>
                    <a:pt x="46" y="182"/>
                  </a:cubicBezTo>
                  <a:cubicBezTo>
                    <a:pt x="48" y="182"/>
                    <a:pt x="50" y="182"/>
                    <a:pt x="52" y="182"/>
                  </a:cubicBezTo>
                  <a:cubicBezTo>
                    <a:pt x="52" y="182"/>
                    <a:pt x="53" y="182"/>
                    <a:pt x="53" y="182"/>
                  </a:cubicBezTo>
                  <a:cubicBezTo>
                    <a:pt x="54" y="182"/>
                    <a:pt x="55" y="182"/>
                    <a:pt x="54" y="181"/>
                  </a:cubicBezTo>
                  <a:cubicBezTo>
                    <a:pt x="54" y="181"/>
                    <a:pt x="54" y="181"/>
                    <a:pt x="54" y="181"/>
                  </a:cubicBezTo>
                  <a:cubicBezTo>
                    <a:pt x="55" y="181"/>
                    <a:pt x="56" y="181"/>
                    <a:pt x="56" y="181"/>
                  </a:cubicBezTo>
                  <a:cubicBezTo>
                    <a:pt x="54" y="184"/>
                    <a:pt x="60" y="187"/>
                    <a:pt x="62" y="189"/>
                  </a:cubicBezTo>
                  <a:cubicBezTo>
                    <a:pt x="64" y="190"/>
                    <a:pt x="65" y="192"/>
                    <a:pt x="67" y="193"/>
                  </a:cubicBezTo>
                  <a:cubicBezTo>
                    <a:pt x="67" y="193"/>
                    <a:pt x="67" y="193"/>
                    <a:pt x="68" y="193"/>
                  </a:cubicBezTo>
                  <a:cubicBezTo>
                    <a:pt x="68" y="193"/>
                    <a:pt x="68" y="192"/>
                    <a:pt x="69" y="192"/>
                  </a:cubicBezTo>
                  <a:cubicBezTo>
                    <a:pt x="69" y="192"/>
                    <a:pt x="70" y="191"/>
                    <a:pt x="70" y="191"/>
                  </a:cubicBezTo>
                  <a:cubicBezTo>
                    <a:pt x="71" y="191"/>
                    <a:pt x="71" y="191"/>
                    <a:pt x="71" y="191"/>
                  </a:cubicBezTo>
                  <a:cubicBezTo>
                    <a:pt x="70" y="191"/>
                    <a:pt x="68" y="194"/>
                    <a:pt x="68" y="195"/>
                  </a:cubicBezTo>
                  <a:cubicBezTo>
                    <a:pt x="68" y="195"/>
                    <a:pt x="67" y="195"/>
                    <a:pt x="67" y="196"/>
                  </a:cubicBezTo>
                  <a:cubicBezTo>
                    <a:pt x="67" y="197"/>
                    <a:pt x="69" y="200"/>
                    <a:pt x="70" y="201"/>
                  </a:cubicBezTo>
                  <a:cubicBezTo>
                    <a:pt x="74" y="207"/>
                    <a:pt x="78" y="214"/>
                    <a:pt x="86" y="215"/>
                  </a:cubicBezTo>
                  <a:cubicBezTo>
                    <a:pt x="86" y="215"/>
                    <a:pt x="86" y="215"/>
                    <a:pt x="86" y="215"/>
                  </a:cubicBezTo>
                  <a:cubicBezTo>
                    <a:pt x="88" y="215"/>
                    <a:pt x="91" y="213"/>
                    <a:pt x="93" y="211"/>
                  </a:cubicBezTo>
                  <a:cubicBezTo>
                    <a:pt x="93" y="212"/>
                    <a:pt x="93" y="212"/>
                    <a:pt x="93" y="212"/>
                  </a:cubicBezTo>
                  <a:cubicBezTo>
                    <a:pt x="93" y="211"/>
                    <a:pt x="93" y="211"/>
                    <a:pt x="93" y="211"/>
                  </a:cubicBezTo>
                  <a:cubicBezTo>
                    <a:pt x="93" y="211"/>
                    <a:pt x="93" y="211"/>
                    <a:pt x="93" y="211"/>
                  </a:cubicBezTo>
                  <a:cubicBezTo>
                    <a:pt x="95" y="209"/>
                    <a:pt x="94" y="207"/>
                    <a:pt x="97" y="206"/>
                  </a:cubicBezTo>
                  <a:cubicBezTo>
                    <a:pt x="101" y="204"/>
                    <a:pt x="104" y="202"/>
                    <a:pt x="108" y="201"/>
                  </a:cubicBezTo>
                  <a:cubicBezTo>
                    <a:pt x="110" y="200"/>
                    <a:pt x="112" y="197"/>
                    <a:pt x="114" y="196"/>
                  </a:cubicBezTo>
                  <a:cubicBezTo>
                    <a:pt x="116" y="196"/>
                    <a:pt x="118" y="195"/>
                    <a:pt x="121" y="195"/>
                  </a:cubicBezTo>
                  <a:cubicBezTo>
                    <a:pt x="122" y="195"/>
                    <a:pt x="123" y="195"/>
                    <a:pt x="124" y="195"/>
                  </a:cubicBezTo>
                  <a:cubicBezTo>
                    <a:pt x="125" y="195"/>
                    <a:pt x="126" y="196"/>
                    <a:pt x="127" y="196"/>
                  </a:cubicBezTo>
                  <a:cubicBezTo>
                    <a:pt x="128" y="196"/>
                    <a:pt x="128" y="196"/>
                    <a:pt x="128" y="196"/>
                  </a:cubicBezTo>
                  <a:cubicBezTo>
                    <a:pt x="132" y="195"/>
                    <a:pt x="136" y="195"/>
                    <a:pt x="140" y="195"/>
                  </a:cubicBezTo>
                  <a:cubicBezTo>
                    <a:pt x="142" y="195"/>
                    <a:pt x="145" y="195"/>
                    <a:pt x="147" y="195"/>
                  </a:cubicBezTo>
                  <a:cubicBezTo>
                    <a:pt x="149" y="196"/>
                    <a:pt x="151" y="197"/>
                    <a:pt x="153" y="197"/>
                  </a:cubicBezTo>
                  <a:cubicBezTo>
                    <a:pt x="153" y="197"/>
                    <a:pt x="153" y="197"/>
                    <a:pt x="154" y="197"/>
                  </a:cubicBezTo>
                  <a:cubicBezTo>
                    <a:pt x="156" y="197"/>
                    <a:pt x="159" y="195"/>
                    <a:pt x="162" y="194"/>
                  </a:cubicBezTo>
                  <a:cubicBezTo>
                    <a:pt x="163" y="194"/>
                    <a:pt x="163" y="193"/>
                    <a:pt x="164" y="193"/>
                  </a:cubicBezTo>
                  <a:cubicBezTo>
                    <a:pt x="165" y="193"/>
                    <a:pt x="164" y="194"/>
                    <a:pt x="166" y="195"/>
                  </a:cubicBezTo>
                  <a:cubicBezTo>
                    <a:pt x="166" y="195"/>
                    <a:pt x="167" y="195"/>
                    <a:pt x="167" y="195"/>
                  </a:cubicBezTo>
                  <a:cubicBezTo>
                    <a:pt x="170" y="195"/>
                    <a:pt x="171" y="191"/>
                    <a:pt x="173" y="189"/>
                  </a:cubicBezTo>
                  <a:cubicBezTo>
                    <a:pt x="175" y="185"/>
                    <a:pt x="177" y="182"/>
                    <a:pt x="180" y="178"/>
                  </a:cubicBezTo>
                  <a:cubicBezTo>
                    <a:pt x="181" y="177"/>
                    <a:pt x="187" y="176"/>
                    <a:pt x="189" y="175"/>
                  </a:cubicBezTo>
                  <a:cubicBezTo>
                    <a:pt x="191" y="174"/>
                    <a:pt x="193" y="173"/>
                    <a:pt x="195" y="173"/>
                  </a:cubicBezTo>
                  <a:cubicBezTo>
                    <a:pt x="195" y="173"/>
                    <a:pt x="195" y="173"/>
                    <a:pt x="195" y="173"/>
                  </a:cubicBezTo>
                  <a:cubicBezTo>
                    <a:pt x="195" y="173"/>
                    <a:pt x="195" y="173"/>
                    <a:pt x="196" y="173"/>
                  </a:cubicBezTo>
                  <a:cubicBezTo>
                    <a:pt x="196" y="173"/>
                    <a:pt x="196" y="173"/>
                    <a:pt x="196" y="173"/>
                  </a:cubicBezTo>
                  <a:cubicBezTo>
                    <a:pt x="196" y="173"/>
                    <a:pt x="196" y="173"/>
                    <a:pt x="196" y="173"/>
                  </a:cubicBezTo>
                  <a:cubicBezTo>
                    <a:pt x="198" y="173"/>
                    <a:pt x="199" y="173"/>
                    <a:pt x="201" y="172"/>
                  </a:cubicBezTo>
                  <a:cubicBezTo>
                    <a:pt x="200" y="172"/>
                    <a:pt x="198" y="170"/>
                    <a:pt x="198" y="169"/>
                  </a:cubicBezTo>
                  <a:cubicBezTo>
                    <a:pt x="199" y="167"/>
                    <a:pt x="201" y="164"/>
                    <a:pt x="202" y="162"/>
                  </a:cubicBezTo>
                  <a:cubicBezTo>
                    <a:pt x="202" y="160"/>
                    <a:pt x="203" y="158"/>
                    <a:pt x="204" y="157"/>
                  </a:cubicBezTo>
                  <a:cubicBezTo>
                    <a:pt x="208" y="149"/>
                    <a:pt x="217" y="145"/>
                    <a:pt x="224" y="141"/>
                  </a:cubicBezTo>
                  <a:cubicBezTo>
                    <a:pt x="217" y="137"/>
                    <a:pt x="212" y="132"/>
                    <a:pt x="211" y="124"/>
                  </a:cubicBezTo>
                  <a:cubicBezTo>
                    <a:pt x="210" y="118"/>
                    <a:pt x="216" y="110"/>
                    <a:pt x="220" y="106"/>
                  </a:cubicBezTo>
                  <a:cubicBezTo>
                    <a:pt x="225" y="99"/>
                    <a:pt x="232" y="92"/>
                    <a:pt x="236" y="84"/>
                  </a:cubicBezTo>
                  <a:cubicBezTo>
                    <a:pt x="235" y="84"/>
                    <a:pt x="235" y="84"/>
                    <a:pt x="235" y="84"/>
                  </a:cubicBezTo>
                  <a:cubicBezTo>
                    <a:pt x="236" y="83"/>
                    <a:pt x="238" y="79"/>
                    <a:pt x="240" y="78"/>
                  </a:cubicBezTo>
                  <a:cubicBezTo>
                    <a:pt x="245" y="75"/>
                    <a:pt x="252" y="74"/>
                    <a:pt x="257" y="73"/>
                  </a:cubicBezTo>
                  <a:cubicBezTo>
                    <a:pt x="259" y="72"/>
                    <a:pt x="261" y="71"/>
                    <a:pt x="264" y="70"/>
                  </a:cubicBezTo>
                  <a:cubicBezTo>
                    <a:pt x="263" y="69"/>
                    <a:pt x="263" y="68"/>
                    <a:pt x="263" y="68"/>
                  </a:cubicBezTo>
                  <a:cubicBezTo>
                    <a:pt x="263" y="64"/>
                    <a:pt x="266" y="61"/>
                    <a:pt x="270" y="61"/>
                  </a:cubicBezTo>
                  <a:cubicBezTo>
                    <a:pt x="272" y="61"/>
                    <a:pt x="274" y="62"/>
                    <a:pt x="275" y="64"/>
                  </a:cubicBezTo>
                  <a:cubicBezTo>
                    <a:pt x="276" y="64"/>
                    <a:pt x="276" y="64"/>
                    <a:pt x="277" y="63"/>
                  </a:cubicBezTo>
                  <a:cubicBezTo>
                    <a:pt x="281" y="61"/>
                    <a:pt x="290" y="58"/>
                    <a:pt x="293" y="54"/>
                  </a:cubicBezTo>
                  <a:cubicBezTo>
                    <a:pt x="294" y="51"/>
                    <a:pt x="292" y="49"/>
                    <a:pt x="292" y="46"/>
                  </a:cubicBezTo>
                  <a:cubicBezTo>
                    <a:pt x="292" y="43"/>
                    <a:pt x="294" y="43"/>
                    <a:pt x="296" y="41"/>
                  </a:cubicBezTo>
                  <a:cubicBezTo>
                    <a:pt x="296" y="41"/>
                    <a:pt x="295" y="40"/>
                    <a:pt x="295" y="40"/>
                  </a:cubicBezTo>
                  <a:cubicBezTo>
                    <a:pt x="295" y="40"/>
                    <a:pt x="295" y="40"/>
                    <a:pt x="295" y="40"/>
                  </a:cubicBezTo>
                  <a:cubicBezTo>
                    <a:pt x="292" y="41"/>
                    <a:pt x="292" y="41"/>
                    <a:pt x="292" y="41"/>
                  </a:cubicBezTo>
                  <a:cubicBezTo>
                    <a:pt x="292" y="41"/>
                    <a:pt x="292" y="41"/>
                    <a:pt x="292" y="41"/>
                  </a:cubicBezTo>
                  <a:cubicBezTo>
                    <a:pt x="283" y="43"/>
                    <a:pt x="283" y="43"/>
                    <a:pt x="283" y="43"/>
                  </a:cubicBezTo>
                  <a:cubicBezTo>
                    <a:pt x="282" y="43"/>
                    <a:pt x="282" y="43"/>
                    <a:pt x="281" y="43"/>
                  </a:cubicBezTo>
                  <a:cubicBezTo>
                    <a:pt x="280" y="43"/>
                    <a:pt x="280" y="43"/>
                    <a:pt x="280" y="43"/>
                  </a:cubicBezTo>
                  <a:cubicBezTo>
                    <a:pt x="280" y="43"/>
                    <a:pt x="279" y="44"/>
                    <a:pt x="278" y="44"/>
                  </a:cubicBezTo>
                  <a:cubicBezTo>
                    <a:pt x="277" y="44"/>
                    <a:pt x="276" y="43"/>
                    <a:pt x="275" y="43"/>
                  </a:cubicBezTo>
                  <a:cubicBezTo>
                    <a:pt x="271" y="43"/>
                    <a:pt x="267" y="42"/>
                    <a:pt x="264" y="41"/>
                  </a:cubicBezTo>
                  <a:cubicBezTo>
                    <a:pt x="263" y="41"/>
                    <a:pt x="263" y="41"/>
                    <a:pt x="263" y="41"/>
                  </a:cubicBezTo>
                  <a:cubicBezTo>
                    <a:pt x="262" y="41"/>
                    <a:pt x="262" y="41"/>
                    <a:pt x="262" y="41"/>
                  </a:cubicBezTo>
                  <a:cubicBezTo>
                    <a:pt x="259" y="40"/>
                    <a:pt x="258" y="39"/>
                    <a:pt x="257" y="37"/>
                  </a:cubicBezTo>
                  <a:cubicBezTo>
                    <a:pt x="257" y="36"/>
                    <a:pt x="257" y="36"/>
                    <a:pt x="257" y="36"/>
                  </a:cubicBezTo>
                  <a:cubicBezTo>
                    <a:pt x="252" y="36"/>
                    <a:pt x="248" y="34"/>
                    <a:pt x="243" y="32"/>
                  </a:cubicBezTo>
                  <a:cubicBezTo>
                    <a:pt x="243" y="32"/>
                    <a:pt x="242" y="32"/>
                    <a:pt x="241" y="31"/>
                  </a:cubicBezTo>
                  <a:cubicBezTo>
                    <a:pt x="239" y="30"/>
                    <a:pt x="239" y="30"/>
                    <a:pt x="239" y="30"/>
                  </a:cubicBezTo>
                  <a:cubicBezTo>
                    <a:pt x="238" y="30"/>
                    <a:pt x="238" y="30"/>
                    <a:pt x="237" y="29"/>
                  </a:cubicBezTo>
                  <a:cubicBezTo>
                    <a:pt x="237" y="30"/>
                    <a:pt x="237" y="30"/>
                    <a:pt x="237" y="30"/>
                  </a:cubicBezTo>
                  <a:cubicBezTo>
                    <a:pt x="237" y="31"/>
                    <a:pt x="237" y="31"/>
                    <a:pt x="237" y="31"/>
                  </a:cubicBezTo>
                  <a:cubicBezTo>
                    <a:pt x="237" y="34"/>
                    <a:pt x="237" y="34"/>
                    <a:pt x="237" y="34"/>
                  </a:cubicBezTo>
                  <a:cubicBezTo>
                    <a:pt x="234" y="34"/>
                    <a:pt x="234" y="34"/>
                    <a:pt x="234" y="34"/>
                  </a:cubicBezTo>
                  <a:cubicBezTo>
                    <a:pt x="232" y="34"/>
                    <a:pt x="231" y="34"/>
                    <a:pt x="229" y="34"/>
                  </a:cubicBezTo>
                  <a:cubicBezTo>
                    <a:pt x="227" y="34"/>
                    <a:pt x="225" y="34"/>
                    <a:pt x="223" y="34"/>
                  </a:cubicBezTo>
                  <a:cubicBezTo>
                    <a:pt x="219" y="34"/>
                    <a:pt x="219" y="34"/>
                    <a:pt x="219" y="34"/>
                  </a:cubicBezTo>
                  <a:cubicBezTo>
                    <a:pt x="219" y="34"/>
                    <a:pt x="219" y="34"/>
                    <a:pt x="218" y="34"/>
                  </a:cubicBezTo>
                  <a:cubicBezTo>
                    <a:pt x="218" y="34"/>
                    <a:pt x="218" y="34"/>
                    <a:pt x="218" y="34"/>
                  </a:cubicBezTo>
                  <a:cubicBezTo>
                    <a:pt x="216" y="33"/>
                    <a:pt x="216" y="33"/>
                    <a:pt x="215" y="33"/>
                  </a:cubicBezTo>
                  <a:cubicBezTo>
                    <a:pt x="214" y="32"/>
                    <a:pt x="213" y="31"/>
                    <a:pt x="212" y="31"/>
                  </a:cubicBezTo>
                  <a:cubicBezTo>
                    <a:pt x="212" y="30"/>
                    <a:pt x="211" y="30"/>
                    <a:pt x="211" y="30"/>
                  </a:cubicBezTo>
                  <a:cubicBezTo>
                    <a:pt x="210" y="30"/>
                    <a:pt x="210" y="30"/>
                    <a:pt x="210" y="30"/>
                  </a:cubicBezTo>
                  <a:cubicBezTo>
                    <a:pt x="210" y="30"/>
                    <a:pt x="210" y="30"/>
                    <a:pt x="209" y="30"/>
                  </a:cubicBezTo>
                  <a:cubicBezTo>
                    <a:pt x="208" y="30"/>
                    <a:pt x="207" y="30"/>
                    <a:pt x="206" y="30"/>
                  </a:cubicBezTo>
                  <a:cubicBezTo>
                    <a:pt x="204" y="30"/>
                    <a:pt x="203" y="29"/>
                    <a:pt x="202" y="28"/>
                  </a:cubicBezTo>
                  <a:cubicBezTo>
                    <a:pt x="201" y="28"/>
                    <a:pt x="201" y="27"/>
                    <a:pt x="200" y="27"/>
                  </a:cubicBezTo>
                  <a:cubicBezTo>
                    <a:pt x="199" y="26"/>
                    <a:pt x="199" y="26"/>
                    <a:pt x="199" y="26"/>
                  </a:cubicBezTo>
                  <a:cubicBezTo>
                    <a:pt x="199" y="26"/>
                    <a:pt x="199" y="26"/>
                    <a:pt x="198" y="26"/>
                  </a:cubicBezTo>
                  <a:cubicBezTo>
                    <a:pt x="197" y="26"/>
                    <a:pt x="195" y="25"/>
                    <a:pt x="193" y="25"/>
                  </a:cubicBezTo>
                  <a:cubicBezTo>
                    <a:pt x="192" y="25"/>
                    <a:pt x="191" y="25"/>
                    <a:pt x="190" y="24"/>
                  </a:cubicBezTo>
                  <a:cubicBezTo>
                    <a:pt x="190" y="24"/>
                    <a:pt x="189" y="24"/>
                    <a:pt x="189" y="24"/>
                  </a:cubicBezTo>
                  <a:cubicBezTo>
                    <a:pt x="188" y="24"/>
                    <a:pt x="188" y="24"/>
                    <a:pt x="188" y="24"/>
                  </a:cubicBezTo>
                  <a:cubicBezTo>
                    <a:pt x="187" y="24"/>
                    <a:pt x="185" y="24"/>
                    <a:pt x="184" y="23"/>
                  </a:cubicBezTo>
                  <a:cubicBezTo>
                    <a:pt x="181" y="21"/>
                    <a:pt x="182" y="18"/>
                    <a:pt x="183" y="16"/>
                  </a:cubicBezTo>
                  <a:cubicBezTo>
                    <a:pt x="183" y="16"/>
                    <a:pt x="183" y="16"/>
                    <a:pt x="183" y="16"/>
                  </a:cubicBezTo>
                  <a:cubicBezTo>
                    <a:pt x="182" y="17"/>
                    <a:pt x="182" y="17"/>
                    <a:pt x="182" y="17"/>
                  </a:cubicBezTo>
                  <a:cubicBezTo>
                    <a:pt x="181" y="17"/>
                    <a:pt x="181" y="17"/>
                    <a:pt x="181" y="17"/>
                  </a:cubicBezTo>
                  <a:cubicBezTo>
                    <a:pt x="180" y="17"/>
                    <a:pt x="180" y="17"/>
                    <a:pt x="180" y="17"/>
                  </a:cubicBezTo>
                  <a:cubicBezTo>
                    <a:pt x="177" y="16"/>
                    <a:pt x="176" y="15"/>
                    <a:pt x="174" y="14"/>
                  </a:cubicBezTo>
                  <a:cubicBezTo>
                    <a:pt x="174" y="13"/>
                    <a:pt x="174" y="13"/>
                    <a:pt x="174" y="13"/>
                  </a:cubicBezTo>
                  <a:cubicBezTo>
                    <a:pt x="175" y="12"/>
                    <a:pt x="175" y="12"/>
                    <a:pt x="175" y="12"/>
                  </a:cubicBezTo>
                  <a:cubicBezTo>
                    <a:pt x="174" y="12"/>
                    <a:pt x="174" y="11"/>
                    <a:pt x="173" y="11"/>
                  </a:cubicBezTo>
                  <a:cubicBezTo>
                    <a:pt x="171" y="11"/>
                    <a:pt x="169" y="12"/>
                    <a:pt x="168" y="12"/>
                  </a:cubicBezTo>
                  <a:cubicBezTo>
                    <a:pt x="166" y="12"/>
                    <a:pt x="164" y="13"/>
                    <a:pt x="163" y="13"/>
                  </a:cubicBezTo>
                  <a:cubicBezTo>
                    <a:pt x="162" y="13"/>
                    <a:pt x="162" y="13"/>
                    <a:pt x="161" y="13"/>
                  </a:cubicBezTo>
                  <a:cubicBezTo>
                    <a:pt x="157" y="12"/>
                    <a:pt x="155" y="10"/>
                    <a:pt x="152" y="10"/>
                  </a:cubicBezTo>
                  <a:cubicBezTo>
                    <a:pt x="151" y="10"/>
                    <a:pt x="150" y="10"/>
                    <a:pt x="149" y="10"/>
                  </a:cubicBezTo>
                  <a:cubicBezTo>
                    <a:pt x="147" y="11"/>
                    <a:pt x="146" y="11"/>
                    <a:pt x="145" y="11"/>
                  </a:cubicBezTo>
                  <a:cubicBezTo>
                    <a:pt x="143" y="11"/>
                    <a:pt x="142" y="11"/>
                    <a:pt x="139" y="9"/>
                  </a:cubicBezTo>
                  <a:cubicBezTo>
                    <a:pt x="138" y="9"/>
                    <a:pt x="137" y="8"/>
                    <a:pt x="136" y="8"/>
                  </a:cubicBezTo>
                  <a:cubicBezTo>
                    <a:pt x="135" y="8"/>
                    <a:pt x="134" y="8"/>
                    <a:pt x="133" y="8"/>
                  </a:cubicBezTo>
                  <a:cubicBezTo>
                    <a:pt x="129" y="8"/>
                    <a:pt x="126" y="9"/>
                    <a:pt x="122" y="9"/>
                  </a:cubicBezTo>
                  <a:cubicBezTo>
                    <a:pt x="120" y="9"/>
                    <a:pt x="116" y="11"/>
                    <a:pt x="113" y="11"/>
                  </a:cubicBezTo>
                  <a:cubicBezTo>
                    <a:pt x="113" y="11"/>
                    <a:pt x="112" y="11"/>
                    <a:pt x="112" y="10"/>
                  </a:cubicBezTo>
                  <a:cubicBezTo>
                    <a:pt x="108" y="10"/>
                    <a:pt x="104" y="9"/>
                    <a:pt x="100" y="8"/>
                  </a:cubicBezTo>
                  <a:cubicBezTo>
                    <a:pt x="96" y="7"/>
                    <a:pt x="91" y="6"/>
                    <a:pt x="87" y="6"/>
                  </a:cubicBezTo>
                  <a:cubicBezTo>
                    <a:pt x="83" y="5"/>
                    <a:pt x="83" y="4"/>
                    <a:pt x="81" y="3"/>
                  </a:cubicBezTo>
                  <a:cubicBezTo>
                    <a:pt x="81" y="3"/>
                    <a:pt x="80" y="3"/>
                    <a:pt x="80" y="3"/>
                  </a:cubicBezTo>
                  <a:cubicBezTo>
                    <a:pt x="79" y="3"/>
                    <a:pt x="77" y="4"/>
                    <a:pt x="76" y="4"/>
                  </a:cubicBezTo>
                  <a:cubicBezTo>
                    <a:pt x="71" y="5"/>
                    <a:pt x="66" y="6"/>
                    <a:pt x="62" y="6"/>
                  </a:cubicBezTo>
                  <a:cubicBezTo>
                    <a:pt x="60" y="7"/>
                    <a:pt x="56" y="8"/>
                    <a:pt x="54" y="8"/>
                  </a:cubicBezTo>
                  <a:cubicBezTo>
                    <a:pt x="53" y="8"/>
                    <a:pt x="53" y="8"/>
                    <a:pt x="53" y="8"/>
                  </a:cubicBezTo>
                  <a:cubicBezTo>
                    <a:pt x="49" y="7"/>
                    <a:pt x="46" y="4"/>
                    <a:pt x="43" y="2"/>
                  </a:cubicBezTo>
                  <a:cubicBezTo>
                    <a:pt x="42" y="1"/>
                    <a:pt x="41" y="1"/>
                    <a:pt x="39" y="1"/>
                  </a:cubicBezTo>
                  <a:cubicBezTo>
                    <a:pt x="38" y="1"/>
                    <a:pt x="36" y="2"/>
                    <a:pt x="34" y="2"/>
                  </a:cubicBezTo>
                  <a:cubicBezTo>
                    <a:pt x="34" y="3"/>
                    <a:pt x="34" y="3"/>
                    <a:pt x="33" y="3"/>
                  </a:cubicBezTo>
                  <a:cubicBezTo>
                    <a:pt x="32" y="3"/>
                    <a:pt x="33" y="1"/>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250"/>
            <p:cNvSpPr/>
            <p:nvPr/>
          </p:nvSpPr>
          <p:spPr bwMode="auto">
            <a:xfrm>
              <a:off x="3569" y="-27"/>
              <a:ext cx="512" cy="269"/>
            </a:xfrm>
            <a:custGeom>
              <a:gdLst>
                <a:gd name="T0" fmla="*/ 13 w 217"/>
                <a:gd name="T1" fmla="*/ 2 h 114"/>
                <a:gd name="T2" fmla="*/ 12 w 217"/>
                <a:gd name="T3" fmla="*/ 17 h 114"/>
                <a:gd name="T4" fmla="*/ 13 w 217"/>
                <a:gd name="T5" fmla="*/ 25 h 114"/>
                <a:gd name="T6" fmla="*/ 15 w 217"/>
                <a:gd name="T7" fmla="*/ 49 h 114"/>
                <a:gd name="T8" fmla="*/ 1 w 217"/>
                <a:gd name="T9" fmla="*/ 84 h 114"/>
                <a:gd name="T10" fmla="*/ 4 w 217"/>
                <a:gd name="T11" fmla="*/ 87 h 114"/>
                <a:gd name="T12" fmla="*/ 10 w 217"/>
                <a:gd name="T13" fmla="*/ 94 h 114"/>
                <a:gd name="T14" fmla="*/ 15 w 217"/>
                <a:gd name="T15" fmla="*/ 95 h 114"/>
                <a:gd name="T16" fmla="*/ 24 w 217"/>
                <a:gd name="T17" fmla="*/ 98 h 114"/>
                <a:gd name="T18" fmla="*/ 28 w 217"/>
                <a:gd name="T19" fmla="*/ 101 h 114"/>
                <a:gd name="T20" fmla="*/ 32 w 217"/>
                <a:gd name="T21" fmla="*/ 100 h 114"/>
                <a:gd name="T22" fmla="*/ 37 w 217"/>
                <a:gd name="T23" fmla="*/ 102 h 114"/>
                <a:gd name="T24" fmla="*/ 44 w 217"/>
                <a:gd name="T25" fmla="*/ 104 h 114"/>
                <a:gd name="T26" fmla="*/ 54 w 217"/>
                <a:gd name="T27" fmla="*/ 100 h 114"/>
                <a:gd name="T28" fmla="*/ 63 w 217"/>
                <a:gd name="T29" fmla="*/ 101 h 114"/>
                <a:gd name="T30" fmla="*/ 82 w 217"/>
                <a:gd name="T31" fmla="*/ 107 h 114"/>
                <a:gd name="T32" fmla="*/ 85 w 217"/>
                <a:gd name="T33" fmla="*/ 111 h 114"/>
                <a:gd name="T34" fmla="*/ 97 w 217"/>
                <a:gd name="T35" fmla="*/ 114 h 114"/>
                <a:gd name="T36" fmla="*/ 101 w 217"/>
                <a:gd name="T37" fmla="*/ 114 h 114"/>
                <a:gd name="T38" fmla="*/ 111 w 217"/>
                <a:gd name="T39" fmla="*/ 103 h 114"/>
                <a:gd name="T40" fmla="*/ 130 w 217"/>
                <a:gd name="T41" fmla="*/ 84 h 114"/>
                <a:gd name="T42" fmla="*/ 143 w 217"/>
                <a:gd name="T43" fmla="*/ 84 h 114"/>
                <a:gd name="T44" fmla="*/ 147 w 217"/>
                <a:gd name="T45" fmla="*/ 84 h 114"/>
                <a:gd name="T46" fmla="*/ 150 w 217"/>
                <a:gd name="T47" fmla="*/ 84 h 114"/>
                <a:gd name="T48" fmla="*/ 158 w 217"/>
                <a:gd name="T49" fmla="*/ 85 h 114"/>
                <a:gd name="T50" fmla="*/ 163 w 217"/>
                <a:gd name="T51" fmla="*/ 87 h 114"/>
                <a:gd name="T52" fmla="*/ 171 w 217"/>
                <a:gd name="T53" fmla="*/ 92 h 114"/>
                <a:gd name="T54" fmla="*/ 175 w 217"/>
                <a:gd name="T55" fmla="*/ 95 h 114"/>
                <a:gd name="T56" fmla="*/ 182 w 217"/>
                <a:gd name="T57" fmla="*/ 95 h 114"/>
                <a:gd name="T58" fmla="*/ 201 w 217"/>
                <a:gd name="T59" fmla="*/ 85 h 114"/>
                <a:gd name="T60" fmla="*/ 215 w 217"/>
                <a:gd name="T61" fmla="*/ 76 h 114"/>
                <a:gd name="T62" fmla="*/ 216 w 217"/>
                <a:gd name="T63" fmla="*/ 71 h 114"/>
                <a:gd name="T64" fmla="*/ 202 w 217"/>
                <a:gd name="T65" fmla="*/ 62 h 114"/>
                <a:gd name="T66" fmla="*/ 190 w 217"/>
                <a:gd name="T67" fmla="*/ 35 h 114"/>
                <a:gd name="T68" fmla="*/ 204 w 217"/>
                <a:gd name="T69" fmla="*/ 31 h 114"/>
                <a:gd name="T70" fmla="*/ 203 w 217"/>
                <a:gd name="T71" fmla="*/ 28 h 114"/>
                <a:gd name="T72" fmla="*/ 201 w 217"/>
                <a:gd name="T73" fmla="*/ 13 h 114"/>
                <a:gd name="T74" fmla="*/ 200 w 217"/>
                <a:gd name="T75" fmla="*/ 11 h 114"/>
                <a:gd name="T76" fmla="*/ 197 w 217"/>
                <a:gd name="T77" fmla="*/ 1 h 114"/>
                <a:gd name="T78" fmla="*/ 195 w 217"/>
                <a:gd name="T79" fmla="*/ 0 h 114"/>
                <a:gd name="T80" fmla="*/ 190 w 217"/>
                <a:gd name="T81" fmla="*/ 2 h 114"/>
                <a:gd name="T82" fmla="*/ 185 w 217"/>
                <a:gd name="T83" fmla="*/ 6 h 114"/>
                <a:gd name="T84" fmla="*/ 181 w 217"/>
                <a:gd name="T85" fmla="*/ 10 h 114"/>
                <a:gd name="T86" fmla="*/ 178 w 217"/>
                <a:gd name="T87" fmla="*/ 4 h 114"/>
                <a:gd name="T88" fmla="*/ 180 w 217"/>
                <a:gd name="T89" fmla="*/ 1 h 1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6" h="114">
                  <a:moveTo>
                    <a:pt x="180" y="0"/>
                  </a:moveTo>
                  <a:cubicBezTo>
                    <a:pt x="4" y="0"/>
                    <a:pt x="4" y="0"/>
                    <a:pt x="4" y="0"/>
                  </a:cubicBezTo>
                  <a:cubicBezTo>
                    <a:pt x="7" y="0"/>
                    <a:pt x="11" y="1"/>
                    <a:pt x="13" y="2"/>
                  </a:cubicBezTo>
                  <a:cubicBezTo>
                    <a:pt x="10" y="6"/>
                    <a:pt x="11" y="7"/>
                    <a:pt x="13" y="13"/>
                  </a:cubicBezTo>
                  <a:cubicBezTo>
                    <a:pt x="13" y="15"/>
                    <a:pt x="12" y="15"/>
                    <a:pt x="13" y="18"/>
                  </a:cubicBezTo>
                  <a:cubicBezTo>
                    <a:pt x="13" y="17"/>
                    <a:pt x="12" y="17"/>
                    <a:pt x="12" y="17"/>
                  </a:cubicBezTo>
                  <a:cubicBezTo>
                    <a:pt x="11" y="17"/>
                    <a:pt x="11" y="17"/>
                    <a:pt x="10" y="18"/>
                  </a:cubicBezTo>
                  <a:cubicBezTo>
                    <a:pt x="10" y="19"/>
                    <a:pt x="11" y="22"/>
                    <a:pt x="14" y="24"/>
                  </a:cubicBezTo>
                  <a:cubicBezTo>
                    <a:pt x="14" y="24"/>
                    <a:pt x="13" y="24"/>
                    <a:pt x="13" y="25"/>
                  </a:cubicBezTo>
                  <a:cubicBezTo>
                    <a:pt x="11" y="28"/>
                    <a:pt x="13" y="34"/>
                    <a:pt x="13" y="37"/>
                  </a:cubicBezTo>
                  <a:cubicBezTo>
                    <a:pt x="13" y="40"/>
                    <a:pt x="13" y="44"/>
                    <a:pt x="13" y="47"/>
                  </a:cubicBezTo>
                  <a:cubicBezTo>
                    <a:pt x="13" y="48"/>
                    <a:pt x="15" y="49"/>
                    <a:pt x="15" y="49"/>
                  </a:cubicBezTo>
                  <a:cubicBezTo>
                    <a:pt x="14" y="52"/>
                    <a:pt x="11" y="53"/>
                    <a:pt x="10" y="55"/>
                  </a:cubicBezTo>
                  <a:cubicBezTo>
                    <a:pt x="9" y="58"/>
                    <a:pt x="8" y="61"/>
                    <a:pt x="8" y="64"/>
                  </a:cubicBezTo>
                  <a:cubicBezTo>
                    <a:pt x="7" y="70"/>
                    <a:pt x="6" y="80"/>
                    <a:pt x="1" y="84"/>
                  </a:cubicBezTo>
                  <a:cubicBezTo>
                    <a:pt x="1" y="85"/>
                    <a:pt x="0" y="85"/>
                    <a:pt x="0" y="86"/>
                  </a:cubicBezTo>
                  <a:cubicBezTo>
                    <a:pt x="0" y="86"/>
                    <a:pt x="1" y="87"/>
                    <a:pt x="1" y="87"/>
                  </a:cubicBezTo>
                  <a:cubicBezTo>
                    <a:pt x="2" y="87"/>
                    <a:pt x="3" y="87"/>
                    <a:pt x="4" y="87"/>
                  </a:cubicBezTo>
                  <a:cubicBezTo>
                    <a:pt x="6" y="87"/>
                    <a:pt x="8" y="88"/>
                    <a:pt x="9" y="90"/>
                  </a:cubicBezTo>
                  <a:cubicBezTo>
                    <a:pt x="10" y="92"/>
                    <a:pt x="10" y="93"/>
                    <a:pt x="9" y="94"/>
                  </a:cubicBezTo>
                  <a:cubicBezTo>
                    <a:pt x="10" y="94"/>
                    <a:pt x="10" y="94"/>
                    <a:pt x="10" y="94"/>
                  </a:cubicBezTo>
                  <a:cubicBezTo>
                    <a:pt x="11" y="95"/>
                    <a:pt x="11" y="95"/>
                    <a:pt x="12" y="95"/>
                  </a:cubicBezTo>
                  <a:cubicBezTo>
                    <a:pt x="13" y="95"/>
                    <a:pt x="14" y="95"/>
                    <a:pt x="15" y="95"/>
                  </a:cubicBezTo>
                  <a:cubicBezTo>
                    <a:pt x="15" y="95"/>
                    <a:pt x="15" y="95"/>
                    <a:pt x="15" y="95"/>
                  </a:cubicBezTo>
                  <a:cubicBezTo>
                    <a:pt x="17" y="96"/>
                    <a:pt x="19" y="96"/>
                    <a:pt x="21" y="97"/>
                  </a:cubicBezTo>
                  <a:cubicBezTo>
                    <a:pt x="22" y="97"/>
                    <a:pt x="22" y="97"/>
                    <a:pt x="23" y="97"/>
                  </a:cubicBezTo>
                  <a:cubicBezTo>
                    <a:pt x="24" y="98"/>
                    <a:pt x="24" y="98"/>
                    <a:pt x="24" y="98"/>
                  </a:cubicBezTo>
                  <a:cubicBezTo>
                    <a:pt x="25" y="98"/>
                    <a:pt x="26" y="99"/>
                    <a:pt x="27" y="100"/>
                  </a:cubicBezTo>
                  <a:cubicBezTo>
                    <a:pt x="27" y="101"/>
                    <a:pt x="27" y="101"/>
                    <a:pt x="27" y="101"/>
                  </a:cubicBezTo>
                  <a:cubicBezTo>
                    <a:pt x="27" y="101"/>
                    <a:pt x="28" y="101"/>
                    <a:pt x="28" y="101"/>
                  </a:cubicBezTo>
                  <a:cubicBezTo>
                    <a:pt x="28" y="101"/>
                    <a:pt x="28" y="100"/>
                    <a:pt x="29" y="100"/>
                  </a:cubicBezTo>
                  <a:cubicBezTo>
                    <a:pt x="30" y="100"/>
                    <a:pt x="30" y="100"/>
                    <a:pt x="31" y="100"/>
                  </a:cubicBezTo>
                  <a:cubicBezTo>
                    <a:pt x="32" y="100"/>
                    <a:pt x="32" y="100"/>
                    <a:pt x="32" y="100"/>
                  </a:cubicBezTo>
                  <a:cubicBezTo>
                    <a:pt x="33" y="100"/>
                    <a:pt x="33" y="100"/>
                    <a:pt x="33" y="100"/>
                  </a:cubicBezTo>
                  <a:cubicBezTo>
                    <a:pt x="33" y="100"/>
                    <a:pt x="34" y="100"/>
                    <a:pt x="35" y="101"/>
                  </a:cubicBezTo>
                  <a:cubicBezTo>
                    <a:pt x="35" y="101"/>
                    <a:pt x="36" y="102"/>
                    <a:pt x="37" y="102"/>
                  </a:cubicBezTo>
                  <a:cubicBezTo>
                    <a:pt x="37" y="103"/>
                    <a:pt x="38" y="103"/>
                    <a:pt x="39" y="104"/>
                  </a:cubicBezTo>
                  <a:cubicBezTo>
                    <a:pt x="40" y="104"/>
                    <a:pt x="40" y="104"/>
                    <a:pt x="40" y="104"/>
                  </a:cubicBezTo>
                  <a:cubicBezTo>
                    <a:pt x="44" y="104"/>
                    <a:pt x="44" y="104"/>
                    <a:pt x="44" y="104"/>
                  </a:cubicBezTo>
                  <a:cubicBezTo>
                    <a:pt x="46" y="104"/>
                    <a:pt x="48" y="104"/>
                    <a:pt x="50" y="104"/>
                  </a:cubicBezTo>
                  <a:cubicBezTo>
                    <a:pt x="51" y="104"/>
                    <a:pt x="51" y="104"/>
                    <a:pt x="52" y="104"/>
                  </a:cubicBezTo>
                  <a:cubicBezTo>
                    <a:pt x="52" y="102"/>
                    <a:pt x="52" y="101"/>
                    <a:pt x="54" y="100"/>
                  </a:cubicBezTo>
                  <a:cubicBezTo>
                    <a:pt x="54" y="100"/>
                    <a:pt x="55" y="99"/>
                    <a:pt x="56" y="99"/>
                  </a:cubicBezTo>
                  <a:cubicBezTo>
                    <a:pt x="57" y="99"/>
                    <a:pt x="57" y="99"/>
                    <a:pt x="58" y="99"/>
                  </a:cubicBezTo>
                  <a:cubicBezTo>
                    <a:pt x="59" y="99"/>
                    <a:pt x="61" y="100"/>
                    <a:pt x="63" y="101"/>
                  </a:cubicBezTo>
                  <a:cubicBezTo>
                    <a:pt x="65" y="102"/>
                    <a:pt x="65" y="102"/>
                    <a:pt x="65" y="102"/>
                  </a:cubicBezTo>
                  <a:cubicBezTo>
                    <a:pt x="65" y="102"/>
                    <a:pt x="66" y="103"/>
                    <a:pt x="67" y="103"/>
                  </a:cubicBezTo>
                  <a:cubicBezTo>
                    <a:pt x="72" y="105"/>
                    <a:pt x="76" y="107"/>
                    <a:pt x="82" y="107"/>
                  </a:cubicBezTo>
                  <a:cubicBezTo>
                    <a:pt x="86" y="108"/>
                    <a:pt x="86" y="108"/>
                    <a:pt x="86" y="108"/>
                  </a:cubicBezTo>
                  <a:cubicBezTo>
                    <a:pt x="84" y="111"/>
                    <a:pt x="84" y="111"/>
                    <a:pt x="84" y="111"/>
                  </a:cubicBezTo>
                  <a:cubicBezTo>
                    <a:pt x="85" y="111"/>
                    <a:pt x="85" y="111"/>
                    <a:pt x="85" y="111"/>
                  </a:cubicBezTo>
                  <a:cubicBezTo>
                    <a:pt x="85" y="111"/>
                    <a:pt x="85" y="111"/>
                    <a:pt x="85" y="111"/>
                  </a:cubicBezTo>
                  <a:cubicBezTo>
                    <a:pt x="86" y="111"/>
                    <a:pt x="86" y="112"/>
                    <a:pt x="87" y="112"/>
                  </a:cubicBezTo>
                  <a:cubicBezTo>
                    <a:pt x="88" y="112"/>
                    <a:pt x="91" y="113"/>
                    <a:pt x="97" y="114"/>
                  </a:cubicBezTo>
                  <a:cubicBezTo>
                    <a:pt x="98" y="114"/>
                    <a:pt x="98" y="114"/>
                    <a:pt x="99" y="114"/>
                  </a:cubicBezTo>
                  <a:cubicBezTo>
                    <a:pt x="100" y="114"/>
                    <a:pt x="100" y="114"/>
                    <a:pt x="101" y="114"/>
                  </a:cubicBezTo>
                  <a:cubicBezTo>
                    <a:pt x="101" y="114"/>
                    <a:pt x="101" y="114"/>
                    <a:pt x="101" y="114"/>
                  </a:cubicBezTo>
                  <a:cubicBezTo>
                    <a:pt x="102" y="114"/>
                    <a:pt x="102" y="113"/>
                    <a:pt x="103" y="113"/>
                  </a:cubicBezTo>
                  <a:cubicBezTo>
                    <a:pt x="113" y="111"/>
                    <a:pt x="113" y="111"/>
                    <a:pt x="113" y="111"/>
                  </a:cubicBezTo>
                  <a:cubicBezTo>
                    <a:pt x="112" y="108"/>
                    <a:pt x="112" y="106"/>
                    <a:pt x="111" y="103"/>
                  </a:cubicBezTo>
                  <a:cubicBezTo>
                    <a:pt x="111" y="102"/>
                    <a:pt x="109" y="102"/>
                    <a:pt x="110" y="101"/>
                  </a:cubicBezTo>
                  <a:cubicBezTo>
                    <a:pt x="111" y="99"/>
                    <a:pt x="112" y="98"/>
                    <a:pt x="113" y="96"/>
                  </a:cubicBezTo>
                  <a:cubicBezTo>
                    <a:pt x="117" y="89"/>
                    <a:pt x="124" y="88"/>
                    <a:pt x="130" y="84"/>
                  </a:cubicBezTo>
                  <a:cubicBezTo>
                    <a:pt x="132" y="83"/>
                    <a:pt x="133" y="82"/>
                    <a:pt x="135" y="82"/>
                  </a:cubicBezTo>
                  <a:cubicBezTo>
                    <a:pt x="136" y="82"/>
                    <a:pt x="136" y="82"/>
                    <a:pt x="137" y="83"/>
                  </a:cubicBezTo>
                  <a:cubicBezTo>
                    <a:pt x="139" y="84"/>
                    <a:pt x="141" y="84"/>
                    <a:pt x="143" y="84"/>
                  </a:cubicBezTo>
                  <a:cubicBezTo>
                    <a:pt x="144" y="84"/>
                    <a:pt x="144" y="84"/>
                    <a:pt x="145" y="84"/>
                  </a:cubicBezTo>
                  <a:cubicBezTo>
                    <a:pt x="145" y="84"/>
                    <a:pt x="146" y="84"/>
                    <a:pt x="147" y="84"/>
                  </a:cubicBezTo>
                  <a:cubicBezTo>
                    <a:pt x="147" y="84"/>
                    <a:pt x="147" y="84"/>
                    <a:pt x="147" y="84"/>
                  </a:cubicBezTo>
                  <a:cubicBezTo>
                    <a:pt x="147" y="84"/>
                    <a:pt x="148" y="84"/>
                    <a:pt x="148" y="84"/>
                  </a:cubicBezTo>
                  <a:cubicBezTo>
                    <a:pt x="149" y="84"/>
                    <a:pt x="149" y="84"/>
                    <a:pt x="150" y="84"/>
                  </a:cubicBezTo>
                  <a:cubicBezTo>
                    <a:pt x="150" y="84"/>
                    <a:pt x="150" y="84"/>
                    <a:pt x="150" y="84"/>
                  </a:cubicBezTo>
                  <a:cubicBezTo>
                    <a:pt x="151" y="84"/>
                    <a:pt x="150" y="85"/>
                    <a:pt x="151" y="86"/>
                  </a:cubicBezTo>
                  <a:cubicBezTo>
                    <a:pt x="152" y="86"/>
                    <a:pt x="153" y="86"/>
                    <a:pt x="153" y="86"/>
                  </a:cubicBezTo>
                  <a:cubicBezTo>
                    <a:pt x="155" y="86"/>
                    <a:pt x="156" y="86"/>
                    <a:pt x="158" y="85"/>
                  </a:cubicBezTo>
                  <a:cubicBezTo>
                    <a:pt x="157" y="87"/>
                    <a:pt x="158" y="88"/>
                    <a:pt x="159" y="88"/>
                  </a:cubicBezTo>
                  <a:cubicBezTo>
                    <a:pt x="160" y="88"/>
                    <a:pt x="160" y="88"/>
                    <a:pt x="161" y="88"/>
                  </a:cubicBezTo>
                  <a:cubicBezTo>
                    <a:pt x="162" y="87"/>
                    <a:pt x="162" y="87"/>
                    <a:pt x="163" y="87"/>
                  </a:cubicBezTo>
                  <a:cubicBezTo>
                    <a:pt x="164" y="87"/>
                    <a:pt x="164" y="87"/>
                    <a:pt x="164" y="88"/>
                  </a:cubicBezTo>
                  <a:cubicBezTo>
                    <a:pt x="165" y="88"/>
                    <a:pt x="164" y="91"/>
                    <a:pt x="165" y="91"/>
                  </a:cubicBezTo>
                  <a:cubicBezTo>
                    <a:pt x="167" y="92"/>
                    <a:pt x="169" y="92"/>
                    <a:pt x="171" y="92"/>
                  </a:cubicBezTo>
                  <a:cubicBezTo>
                    <a:pt x="173" y="92"/>
                    <a:pt x="174" y="93"/>
                    <a:pt x="175" y="94"/>
                  </a:cubicBezTo>
                  <a:cubicBezTo>
                    <a:pt x="176" y="94"/>
                    <a:pt x="176" y="95"/>
                    <a:pt x="175" y="95"/>
                  </a:cubicBezTo>
                  <a:cubicBezTo>
                    <a:pt x="175" y="95"/>
                    <a:pt x="175" y="95"/>
                    <a:pt x="175" y="95"/>
                  </a:cubicBezTo>
                  <a:cubicBezTo>
                    <a:pt x="176" y="96"/>
                    <a:pt x="177" y="96"/>
                    <a:pt x="177" y="96"/>
                  </a:cubicBezTo>
                  <a:cubicBezTo>
                    <a:pt x="178" y="96"/>
                    <a:pt x="179" y="96"/>
                    <a:pt x="180" y="95"/>
                  </a:cubicBezTo>
                  <a:cubicBezTo>
                    <a:pt x="181" y="95"/>
                    <a:pt x="182" y="95"/>
                    <a:pt x="182" y="95"/>
                  </a:cubicBezTo>
                  <a:cubicBezTo>
                    <a:pt x="183" y="95"/>
                    <a:pt x="184" y="95"/>
                    <a:pt x="183" y="96"/>
                  </a:cubicBezTo>
                  <a:cubicBezTo>
                    <a:pt x="183" y="96"/>
                    <a:pt x="183" y="96"/>
                    <a:pt x="183" y="96"/>
                  </a:cubicBezTo>
                  <a:cubicBezTo>
                    <a:pt x="190" y="96"/>
                    <a:pt x="196" y="89"/>
                    <a:pt x="201" y="85"/>
                  </a:cubicBezTo>
                  <a:cubicBezTo>
                    <a:pt x="203" y="83"/>
                    <a:pt x="203" y="82"/>
                    <a:pt x="207" y="82"/>
                  </a:cubicBezTo>
                  <a:cubicBezTo>
                    <a:pt x="209" y="82"/>
                    <a:pt x="211" y="79"/>
                    <a:pt x="213" y="78"/>
                  </a:cubicBezTo>
                  <a:cubicBezTo>
                    <a:pt x="213" y="77"/>
                    <a:pt x="214" y="76"/>
                    <a:pt x="215" y="76"/>
                  </a:cubicBezTo>
                  <a:cubicBezTo>
                    <a:pt x="214" y="75"/>
                    <a:pt x="214" y="75"/>
                    <a:pt x="214" y="75"/>
                  </a:cubicBezTo>
                  <a:cubicBezTo>
                    <a:pt x="214" y="74"/>
                    <a:pt x="214" y="74"/>
                    <a:pt x="214" y="74"/>
                  </a:cubicBezTo>
                  <a:cubicBezTo>
                    <a:pt x="215" y="73"/>
                    <a:pt x="215" y="72"/>
                    <a:pt x="216" y="71"/>
                  </a:cubicBezTo>
                  <a:cubicBezTo>
                    <a:pt x="216" y="70"/>
                    <a:pt x="216" y="70"/>
                    <a:pt x="216" y="70"/>
                  </a:cubicBezTo>
                  <a:cubicBezTo>
                    <a:pt x="216" y="69"/>
                    <a:pt x="217" y="69"/>
                    <a:pt x="217" y="68"/>
                  </a:cubicBezTo>
                  <a:cubicBezTo>
                    <a:pt x="202" y="62"/>
                    <a:pt x="202" y="62"/>
                    <a:pt x="202" y="62"/>
                  </a:cubicBezTo>
                  <a:cubicBezTo>
                    <a:pt x="200" y="61"/>
                    <a:pt x="199" y="59"/>
                    <a:pt x="199" y="57"/>
                  </a:cubicBezTo>
                  <a:cubicBezTo>
                    <a:pt x="198" y="54"/>
                    <a:pt x="200" y="50"/>
                    <a:pt x="201" y="48"/>
                  </a:cubicBezTo>
                  <a:cubicBezTo>
                    <a:pt x="190" y="35"/>
                    <a:pt x="190" y="35"/>
                    <a:pt x="190" y="35"/>
                  </a:cubicBezTo>
                  <a:cubicBezTo>
                    <a:pt x="194" y="34"/>
                    <a:pt x="194" y="34"/>
                    <a:pt x="194" y="34"/>
                  </a:cubicBezTo>
                  <a:cubicBezTo>
                    <a:pt x="195" y="34"/>
                    <a:pt x="196" y="33"/>
                    <a:pt x="198" y="33"/>
                  </a:cubicBezTo>
                  <a:cubicBezTo>
                    <a:pt x="200" y="33"/>
                    <a:pt x="202" y="32"/>
                    <a:pt x="204" y="31"/>
                  </a:cubicBezTo>
                  <a:cubicBezTo>
                    <a:pt x="204" y="31"/>
                    <a:pt x="204" y="30"/>
                    <a:pt x="204" y="30"/>
                  </a:cubicBezTo>
                  <a:cubicBezTo>
                    <a:pt x="205" y="29"/>
                    <a:pt x="205" y="29"/>
                    <a:pt x="205" y="29"/>
                  </a:cubicBezTo>
                  <a:cubicBezTo>
                    <a:pt x="204" y="28"/>
                    <a:pt x="204" y="28"/>
                    <a:pt x="203" y="28"/>
                  </a:cubicBezTo>
                  <a:cubicBezTo>
                    <a:pt x="198" y="21"/>
                    <a:pt x="198" y="21"/>
                    <a:pt x="198" y="21"/>
                  </a:cubicBezTo>
                  <a:cubicBezTo>
                    <a:pt x="197" y="20"/>
                    <a:pt x="197" y="18"/>
                    <a:pt x="197" y="17"/>
                  </a:cubicBezTo>
                  <a:cubicBezTo>
                    <a:pt x="197" y="15"/>
                    <a:pt x="199" y="13"/>
                    <a:pt x="201" y="13"/>
                  </a:cubicBezTo>
                  <a:cubicBezTo>
                    <a:pt x="201" y="12"/>
                    <a:pt x="201" y="12"/>
                    <a:pt x="201" y="12"/>
                  </a:cubicBezTo>
                  <a:cubicBezTo>
                    <a:pt x="200" y="11"/>
                    <a:pt x="200" y="11"/>
                    <a:pt x="200" y="11"/>
                  </a:cubicBezTo>
                  <a:cubicBezTo>
                    <a:pt x="200" y="11"/>
                    <a:pt x="200" y="11"/>
                    <a:pt x="200" y="11"/>
                  </a:cubicBezTo>
                  <a:cubicBezTo>
                    <a:pt x="198" y="8"/>
                    <a:pt x="197" y="7"/>
                    <a:pt x="197" y="7"/>
                  </a:cubicBezTo>
                  <a:cubicBezTo>
                    <a:pt x="197" y="6"/>
                    <a:pt x="197" y="5"/>
                    <a:pt x="197" y="4"/>
                  </a:cubicBezTo>
                  <a:cubicBezTo>
                    <a:pt x="197" y="2"/>
                    <a:pt x="197" y="1"/>
                    <a:pt x="197" y="1"/>
                  </a:cubicBezTo>
                  <a:cubicBezTo>
                    <a:pt x="197" y="1"/>
                    <a:pt x="197" y="0"/>
                    <a:pt x="195" y="0"/>
                  </a:cubicBezTo>
                  <a:cubicBezTo>
                    <a:pt x="195" y="0"/>
                    <a:pt x="195" y="0"/>
                    <a:pt x="195" y="0"/>
                  </a:cubicBezTo>
                  <a:cubicBezTo>
                    <a:pt x="195" y="0"/>
                    <a:pt x="195" y="0"/>
                    <a:pt x="195" y="0"/>
                  </a:cubicBezTo>
                  <a:cubicBezTo>
                    <a:pt x="194" y="0"/>
                    <a:pt x="193" y="1"/>
                    <a:pt x="192" y="1"/>
                  </a:cubicBezTo>
                  <a:cubicBezTo>
                    <a:pt x="192" y="1"/>
                    <a:pt x="192" y="1"/>
                    <a:pt x="192" y="1"/>
                  </a:cubicBezTo>
                  <a:cubicBezTo>
                    <a:pt x="191" y="1"/>
                    <a:pt x="190" y="2"/>
                    <a:pt x="190" y="2"/>
                  </a:cubicBezTo>
                  <a:cubicBezTo>
                    <a:pt x="189" y="1"/>
                    <a:pt x="189" y="1"/>
                    <a:pt x="189" y="1"/>
                  </a:cubicBezTo>
                  <a:cubicBezTo>
                    <a:pt x="189" y="2"/>
                    <a:pt x="189" y="2"/>
                    <a:pt x="189" y="2"/>
                  </a:cubicBezTo>
                  <a:cubicBezTo>
                    <a:pt x="188" y="4"/>
                    <a:pt x="186" y="5"/>
                    <a:pt x="185" y="6"/>
                  </a:cubicBezTo>
                  <a:cubicBezTo>
                    <a:pt x="183" y="7"/>
                    <a:pt x="183" y="7"/>
                    <a:pt x="183" y="7"/>
                  </a:cubicBezTo>
                  <a:cubicBezTo>
                    <a:pt x="183" y="8"/>
                    <a:pt x="182" y="9"/>
                    <a:pt x="181" y="9"/>
                  </a:cubicBezTo>
                  <a:cubicBezTo>
                    <a:pt x="181" y="10"/>
                    <a:pt x="181" y="10"/>
                    <a:pt x="181" y="10"/>
                  </a:cubicBezTo>
                  <a:cubicBezTo>
                    <a:pt x="177" y="6"/>
                    <a:pt x="177" y="6"/>
                    <a:pt x="177" y="6"/>
                  </a:cubicBezTo>
                  <a:cubicBezTo>
                    <a:pt x="177" y="5"/>
                    <a:pt x="177" y="5"/>
                    <a:pt x="177" y="5"/>
                  </a:cubicBezTo>
                  <a:cubicBezTo>
                    <a:pt x="178" y="5"/>
                    <a:pt x="178" y="4"/>
                    <a:pt x="178" y="4"/>
                  </a:cubicBezTo>
                  <a:cubicBezTo>
                    <a:pt x="179" y="4"/>
                    <a:pt x="179" y="4"/>
                    <a:pt x="179" y="4"/>
                  </a:cubicBezTo>
                  <a:cubicBezTo>
                    <a:pt x="180" y="2"/>
                    <a:pt x="181" y="1"/>
                    <a:pt x="181" y="1"/>
                  </a:cubicBezTo>
                  <a:cubicBezTo>
                    <a:pt x="180" y="1"/>
                    <a:pt x="180" y="1"/>
                    <a:pt x="180" y="1"/>
                  </a:cubicBezTo>
                  <a:cubicBezTo>
                    <a:pt x="180" y="0"/>
                    <a:pt x="180" y="0"/>
                    <a:pt x="1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251"/>
            <p:cNvSpPr>
              <a:spLocks noEditPoints="1"/>
            </p:cNvSpPr>
            <p:nvPr/>
          </p:nvSpPr>
          <p:spPr bwMode="auto">
            <a:xfrm>
              <a:off x="4048" y="-27"/>
              <a:ext cx="168" cy="24"/>
            </a:xfrm>
            <a:custGeom>
              <a:gdLst>
                <a:gd name="T0" fmla="*/ 27 w 71"/>
                <a:gd name="T1" fmla="*/ 0 h 10"/>
                <a:gd name="T2" fmla="*/ 0 w 71"/>
                <a:gd name="T3" fmla="*/ 0 h 10"/>
                <a:gd name="T4" fmla="*/ 0 w 71"/>
                <a:gd name="T5" fmla="*/ 4 h 10"/>
                <a:gd name="T6" fmla="*/ 0 w 71"/>
                <a:gd name="T7" fmla="*/ 5 h 10"/>
                <a:gd name="T8" fmla="*/ 0 w 71"/>
                <a:gd name="T9" fmla="*/ 6 h 10"/>
                <a:gd name="T10" fmla="*/ 0 w 71"/>
                <a:gd name="T11" fmla="*/ 6 h 10"/>
                <a:gd name="T12" fmla="*/ 1 w 71"/>
                <a:gd name="T13" fmla="*/ 7 h 10"/>
                <a:gd name="T14" fmla="*/ 3 w 71"/>
                <a:gd name="T15" fmla="*/ 9 h 10"/>
                <a:gd name="T16" fmla="*/ 3 w 71"/>
                <a:gd name="T17" fmla="*/ 10 h 10"/>
                <a:gd name="T18" fmla="*/ 5 w 71"/>
                <a:gd name="T19" fmla="*/ 10 h 10"/>
                <a:gd name="T20" fmla="*/ 12 w 71"/>
                <a:gd name="T21" fmla="*/ 9 h 10"/>
                <a:gd name="T22" fmla="*/ 14 w 71"/>
                <a:gd name="T23" fmla="*/ 9 h 10"/>
                <a:gd name="T24" fmla="*/ 19 w 71"/>
                <a:gd name="T25" fmla="*/ 10 h 10"/>
                <a:gd name="T26" fmla="*/ 20 w 71"/>
                <a:gd name="T27" fmla="*/ 10 h 10"/>
                <a:gd name="T28" fmla="*/ 20 w 71"/>
                <a:gd name="T29" fmla="*/ 10 h 10"/>
                <a:gd name="T30" fmla="*/ 21 w 71"/>
                <a:gd name="T31" fmla="*/ 9 h 10"/>
                <a:gd name="T32" fmla="*/ 24 w 71"/>
                <a:gd name="T33" fmla="*/ 5 h 10"/>
                <a:gd name="T34" fmla="*/ 27 w 71"/>
                <a:gd name="T35" fmla="*/ 0 h 10"/>
                <a:gd name="T36" fmla="*/ 51 w 71"/>
                <a:gd name="T37" fmla="*/ 0 h 10"/>
                <a:gd name="T38" fmla="*/ 38 w 71"/>
                <a:gd name="T39" fmla="*/ 0 h 10"/>
                <a:gd name="T40" fmla="*/ 38 w 71"/>
                <a:gd name="T41" fmla="*/ 0 h 10"/>
                <a:gd name="T42" fmla="*/ 38 w 71"/>
                <a:gd name="T43" fmla="*/ 2 h 10"/>
                <a:gd name="T44" fmla="*/ 41 w 71"/>
                <a:gd name="T45" fmla="*/ 4 h 10"/>
                <a:gd name="T46" fmla="*/ 42 w 71"/>
                <a:gd name="T47" fmla="*/ 5 h 10"/>
                <a:gd name="T48" fmla="*/ 43 w 71"/>
                <a:gd name="T49" fmla="*/ 5 h 10"/>
                <a:gd name="T50" fmla="*/ 47 w 71"/>
                <a:gd name="T51" fmla="*/ 8 h 10"/>
                <a:gd name="T52" fmla="*/ 49 w 71"/>
                <a:gd name="T53" fmla="*/ 5 h 10"/>
                <a:gd name="T54" fmla="*/ 50 w 71"/>
                <a:gd name="T55" fmla="*/ 4 h 10"/>
                <a:gd name="T56" fmla="*/ 51 w 71"/>
                <a:gd name="T57" fmla="*/ 0 h 10"/>
                <a:gd name="T58" fmla="*/ 71 w 71"/>
                <a:gd name="T59" fmla="*/ 0 h 10"/>
                <a:gd name="T60" fmla="*/ 68 w 71"/>
                <a:gd name="T61" fmla="*/ 0 h 10"/>
                <a:gd name="T62" fmla="*/ 71 w 71"/>
                <a:gd name="T63" fmla="*/ 1 h 10"/>
                <a:gd name="T64" fmla="*/ 71 w 71"/>
                <a:gd name="T65" fmla="*/ 0 h 10"/>
                <a:gd name="T66" fmla="*/ 71 w 71"/>
                <a:gd name="T67" fmla="*/ 0 h 10"/>
                <a:gd name="T68" fmla="*/ 71 w 71"/>
                <a:gd name="T6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10">
                  <a:moveTo>
                    <a:pt x="27" y="0"/>
                  </a:moveTo>
                  <a:cubicBezTo>
                    <a:pt x="0" y="0"/>
                    <a:pt x="0" y="0"/>
                    <a:pt x="0" y="0"/>
                  </a:cubicBezTo>
                  <a:cubicBezTo>
                    <a:pt x="0" y="1"/>
                    <a:pt x="0" y="2"/>
                    <a:pt x="0" y="4"/>
                  </a:cubicBezTo>
                  <a:cubicBezTo>
                    <a:pt x="0" y="5"/>
                    <a:pt x="0" y="5"/>
                    <a:pt x="0" y="5"/>
                  </a:cubicBezTo>
                  <a:cubicBezTo>
                    <a:pt x="0" y="5"/>
                    <a:pt x="0" y="5"/>
                    <a:pt x="0" y="6"/>
                  </a:cubicBezTo>
                  <a:cubicBezTo>
                    <a:pt x="0" y="6"/>
                    <a:pt x="0" y="6"/>
                    <a:pt x="0" y="6"/>
                  </a:cubicBezTo>
                  <a:cubicBezTo>
                    <a:pt x="1" y="6"/>
                    <a:pt x="1" y="7"/>
                    <a:pt x="1" y="7"/>
                  </a:cubicBezTo>
                  <a:cubicBezTo>
                    <a:pt x="2" y="8"/>
                    <a:pt x="2" y="8"/>
                    <a:pt x="3" y="9"/>
                  </a:cubicBezTo>
                  <a:cubicBezTo>
                    <a:pt x="3" y="9"/>
                    <a:pt x="3" y="9"/>
                    <a:pt x="3" y="10"/>
                  </a:cubicBezTo>
                  <a:cubicBezTo>
                    <a:pt x="4" y="10"/>
                    <a:pt x="4" y="10"/>
                    <a:pt x="5" y="10"/>
                  </a:cubicBezTo>
                  <a:cubicBezTo>
                    <a:pt x="7" y="10"/>
                    <a:pt x="10" y="10"/>
                    <a:pt x="12" y="9"/>
                  </a:cubicBezTo>
                  <a:cubicBezTo>
                    <a:pt x="13" y="9"/>
                    <a:pt x="13" y="9"/>
                    <a:pt x="14" y="9"/>
                  </a:cubicBezTo>
                  <a:cubicBezTo>
                    <a:pt x="16" y="9"/>
                    <a:pt x="18" y="9"/>
                    <a:pt x="19" y="10"/>
                  </a:cubicBezTo>
                  <a:cubicBezTo>
                    <a:pt x="20" y="10"/>
                    <a:pt x="20" y="10"/>
                    <a:pt x="20" y="10"/>
                  </a:cubicBezTo>
                  <a:cubicBezTo>
                    <a:pt x="20" y="10"/>
                    <a:pt x="20" y="10"/>
                    <a:pt x="20" y="10"/>
                  </a:cubicBezTo>
                  <a:cubicBezTo>
                    <a:pt x="21" y="9"/>
                    <a:pt x="21" y="9"/>
                    <a:pt x="21" y="9"/>
                  </a:cubicBezTo>
                  <a:cubicBezTo>
                    <a:pt x="22" y="7"/>
                    <a:pt x="23" y="6"/>
                    <a:pt x="24" y="5"/>
                  </a:cubicBezTo>
                  <a:cubicBezTo>
                    <a:pt x="24" y="4"/>
                    <a:pt x="25" y="2"/>
                    <a:pt x="27" y="0"/>
                  </a:cubicBezTo>
                  <a:moveTo>
                    <a:pt x="51" y="0"/>
                  </a:moveTo>
                  <a:cubicBezTo>
                    <a:pt x="38" y="0"/>
                    <a:pt x="38" y="0"/>
                    <a:pt x="38" y="0"/>
                  </a:cubicBezTo>
                  <a:cubicBezTo>
                    <a:pt x="38" y="0"/>
                    <a:pt x="38" y="0"/>
                    <a:pt x="38" y="0"/>
                  </a:cubicBezTo>
                  <a:cubicBezTo>
                    <a:pt x="38" y="1"/>
                    <a:pt x="38" y="2"/>
                    <a:pt x="38" y="2"/>
                  </a:cubicBezTo>
                  <a:cubicBezTo>
                    <a:pt x="38" y="3"/>
                    <a:pt x="39" y="3"/>
                    <a:pt x="41" y="4"/>
                  </a:cubicBezTo>
                  <a:cubicBezTo>
                    <a:pt x="41" y="4"/>
                    <a:pt x="42" y="5"/>
                    <a:pt x="42" y="5"/>
                  </a:cubicBezTo>
                  <a:cubicBezTo>
                    <a:pt x="43" y="5"/>
                    <a:pt x="43" y="5"/>
                    <a:pt x="43" y="5"/>
                  </a:cubicBezTo>
                  <a:cubicBezTo>
                    <a:pt x="44" y="5"/>
                    <a:pt x="46" y="6"/>
                    <a:pt x="47" y="8"/>
                  </a:cubicBezTo>
                  <a:cubicBezTo>
                    <a:pt x="48" y="7"/>
                    <a:pt x="48" y="6"/>
                    <a:pt x="49" y="5"/>
                  </a:cubicBezTo>
                  <a:cubicBezTo>
                    <a:pt x="50" y="4"/>
                    <a:pt x="50" y="4"/>
                    <a:pt x="50" y="4"/>
                  </a:cubicBezTo>
                  <a:cubicBezTo>
                    <a:pt x="51" y="2"/>
                    <a:pt x="51" y="1"/>
                    <a:pt x="51" y="0"/>
                  </a:cubicBezTo>
                  <a:moveTo>
                    <a:pt x="71" y="0"/>
                  </a:moveTo>
                  <a:cubicBezTo>
                    <a:pt x="68" y="0"/>
                    <a:pt x="68" y="0"/>
                    <a:pt x="68" y="0"/>
                  </a:cubicBezTo>
                  <a:cubicBezTo>
                    <a:pt x="69" y="0"/>
                    <a:pt x="70" y="0"/>
                    <a:pt x="71" y="1"/>
                  </a:cubicBezTo>
                  <a:cubicBezTo>
                    <a:pt x="71" y="0"/>
                    <a:pt x="71" y="0"/>
                    <a:pt x="71" y="0"/>
                  </a:cubicBezTo>
                  <a:cubicBezTo>
                    <a:pt x="71" y="0"/>
                    <a:pt x="71" y="0"/>
                    <a:pt x="71"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252"/>
            <p:cNvSpPr/>
            <p:nvPr/>
          </p:nvSpPr>
          <p:spPr bwMode="auto">
            <a:xfrm>
              <a:off x="4044" y="-27"/>
              <a:ext cx="650" cy="567"/>
            </a:xfrm>
            <a:custGeom>
              <a:gdLst>
                <a:gd name="T0" fmla="*/ 80 w 275"/>
                <a:gd name="T1" fmla="*/ 1 h 240"/>
                <a:gd name="T2" fmla="*/ 78 w 275"/>
                <a:gd name="T3" fmla="*/ 6 h 240"/>
                <a:gd name="T4" fmla="*/ 76 w 275"/>
                <a:gd name="T5" fmla="*/ 7 h 240"/>
                <a:gd name="T6" fmla="*/ 57 w 275"/>
                <a:gd name="T7" fmla="*/ 7 h 240"/>
                <a:gd name="T8" fmla="*/ 54 w 275"/>
                <a:gd name="T9" fmla="*/ 11 h 240"/>
                <a:gd name="T10" fmla="*/ 43 w 275"/>
                <a:gd name="T11" fmla="*/ 26 h 240"/>
                <a:gd name="T12" fmla="*/ 44 w 275"/>
                <a:gd name="T13" fmla="*/ 12 h 240"/>
                <a:gd name="T14" fmla="*/ 41 w 275"/>
                <a:gd name="T15" fmla="*/ 10 h 240"/>
                <a:gd name="T16" fmla="*/ 34 w 275"/>
                <a:gd name="T17" fmla="*/ 3 h 240"/>
                <a:gd name="T18" fmla="*/ 26 w 275"/>
                <a:gd name="T19" fmla="*/ 14 h 240"/>
                <a:gd name="T20" fmla="*/ 20 w 275"/>
                <a:gd name="T21" fmla="*/ 15 h 240"/>
                <a:gd name="T22" fmla="*/ 7 w 275"/>
                <a:gd name="T23" fmla="*/ 16 h 240"/>
                <a:gd name="T24" fmla="*/ 3 w 275"/>
                <a:gd name="T25" fmla="*/ 17 h 240"/>
                <a:gd name="T26" fmla="*/ 7 w 275"/>
                <a:gd name="T27" fmla="*/ 24 h 240"/>
                <a:gd name="T28" fmla="*/ 9 w 275"/>
                <a:gd name="T29" fmla="*/ 32 h 240"/>
                <a:gd name="T30" fmla="*/ 9 w 275"/>
                <a:gd name="T31" fmla="*/ 49 h 240"/>
                <a:gd name="T32" fmla="*/ 4 w 275"/>
                <a:gd name="T33" fmla="*/ 57 h 240"/>
                <a:gd name="T34" fmla="*/ 20 w 275"/>
                <a:gd name="T35" fmla="*/ 72 h 240"/>
                <a:gd name="T36" fmla="*/ 41 w 275"/>
                <a:gd name="T37" fmla="*/ 59 h 240"/>
                <a:gd name="T38" fmla="*/ 70 w 275"/>
                <a:gd name="T39" fmla="*/ 66 h 240"/>
                <a:gd name="T40" fmla="*/ 86 w 275"/>
                <a:gd name="T41" fmla="*/ 98 h 240"/>
                <a:gd name="T42" fmla="*/ 89 w 275"/>
                <a:gd name="T43" fmla="*/ 100 h 240"/>
                <a:gd name="T44" fmla="*/ 97 w 275"/>
                <a:gd name="T45" fmla="*/ 108 h 240"/>
                <a:gd name="T46" fmla="*/ 99 w 275"/>
                <a:gd name="T47" fmla="*/ 115 h 240"/>
                <a:gd name="T48" fmla="*/ 104 w 275"/>
                <a:gd name="T49" fmla="*/ 115 h 240"/>
                <a:gd name="T50" fmla="*/ 126 w 275"/>
                <a:gd name="T51" fmla="*/ 132 h 240"/>
                <a:gd name="T52" fmla="*/ 144 w 275"/>
                <a:gd name="T53" fmla="*/ 146 h 240"/>
                <a:gd name="T54" fmla="*/ 153 w 275"/>
                <a:gd name="T55" fmla="*/ 148 h 240"/>
                <a:gd name="T56" fmla="*/ 170 w 275"/>
                <a:gd name="T57" fmla="*/ 157 h 240"/>
                <a:gd name="T58" fmla="*/ 184 w 275"/>
                <a:gd name="T59" fmla="*/ 164 h 240"/>
                <a:gd name="T60" fmla="*/ 191 w 275"/>
                <a:gd name="T61" fmla="*/ 172 h 240"/>
                <a:gd name="T62" fmla="*/ 200 w 275"/>
                <a:gd name="T63" fmla="*/ 182 h 240"/>
                <a:gd name="T64" fmla="*/ 209 w 275"/>
                <a:gd name="T65" fmla="*/ 184 h 240"/>
                <a:gd name="T66" fmla="*/ 220 w 275"/>
                <a:gd name="T67" fmla="*/ 213 h 240"/>
                <a:gd name="T68" fmla="*/ 211 w 275"/>
                <a:gd name="T69" fmla="*/ 220 h 240"/>
                <a:gd name="T70" fmla="*/ 210 w 275"/>
                <a:gd name="T71" fmla="*/ 239 h 240"/>
                <a:gd name="T72" fmla="*/ 221 w 275"/>
                <a:gd name="T73" fmla="*/ 233 h 240"/>
                <a:gd name="T74" fmla="*/ 236 w 275"/>
                <a:gd name="T75" fmla="*/ 212 h 240"/>
                <a:gd name="T76" fmla="*/ 241 w 275"/>
                <a:gd name="T77" fmla="*/ 212 h 240"/>
                <a:gd name="T78" fmla="*/ 232 w 275"/>
                <a:gd name="T79" fmla="*/ 193 h 240"/>
                <a:gd name="T80" fmla="*/ 230 w 275"/>
                <a:gd name="T81" fmla="*/ 193 h 240"/>
                <a:gd name="T82" fmla="*/ 238 w 275"/>
                <a:gd name="T83" fmla="*/ 169 h 240"/>
                <a:gd name="T84" fmla="*/ 253 w 275"/>
                <a:gd name="T85" fmla="*/ 173 h 240"/>
                <a:gd name="T86" fmla="*/ 273 w 275"/>
                <a:gd name="T87" fmla="*/ 181 h 240"/>
                <a:gd name="T88" fmla="*/ 239 w 275"/>
                <a:gd name="T89" fmla="*/ 154 h 240"/>
                <a:gd name="T90" fmla="*/ 218 w 275"/>
                <a:gd name="T91" fmla="*/ 129 h 240"/>
                <a:gd name="T92" fmla="*/ 177 w 275"/>
                <a:gd name="T93" fmla="*/ 117 h 240"/>
                <a:gd name="T94" fmla="*/ 141 w 275"/>
                <a:gd name="T95" fmla="*/ 72 h 240"/>
                <a:gd name="T96" fmla="*/ 129 w 275"/>
                <a:gd name="T97" fmla="*/ 46 h 240"/>
                <a:gd name="T98" fmla="*/ 124 w 275"/>
                <a:gd name="T99" fmla="*/ 31 h 240"/>
                <a:gd name="T100" fmla="*/ 130 w 275"/>
                <a:gd name="T101" fmla="*/ 28 h 240"/>
                <a:gd name="T102" fmla="*/ 148 w 275"/>
                <a:gd name="T103" fmla="*/ 18 h 240"/>
                <a:gd name="T104" fmla="*/ 154 w 275"/>
                <a:gd name="T105" fmla="*/ 19 h 240"/>
                <a:gd name="T106" fmla="*/ 156 w 275"/>
                <a:gd name="T107" fmla="*/ 18 h 240"/>
                <a:gd name="T108" fmla="*/ 156 w 275"/>
                <a:gd name="T109" fmla="*/ 13 h 240"/>
                <a:gd name="T110" fmla="*/ 155 w 275"/>
                <a:gd name="T111" fmla="*/ 7 h 240"/>
                <a:gd name="T112" fmla="*/ 148 w 275"/>
                <a:gd name="T113" fmla="*/ 2 h 2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5" h="240">
                  <a:moveTo>
                    <a:pt x="152" y="0"/>
                  </a:moveTo>
                  <a:cubicBezTo>
                    <a:pt x="80" y="0"/>
                    <a:pt x="80" y="0"/>
                    <a:pt x="80" y="0"/>
                  </a:cubicBezTo>
                  <a:cubicBezTo>
                    <a:pt x="80" y="0"/>
                    <a:pt x="80" y="0"/>
                    <a:pt x="80" y="1"/>
                  </a:cubicBezTo>
                  <a:cubicBezTo>
                    <a:pt x="80" y="2"/>
                    <a:pt x="81" y="3"/>
                    <a:pt x="80" y="5"/>
                  </a:cubicBezTo>
                  <a:cubicBezTo>
                    <a:pt x="79" y="6"/>
                    <a:pt x="79" y="6"/>
                    <a:pt x="79" y="6"/>
                  </a:cubicBezTo>
                  <a:cubicBezTo>
                    <a:pt x="78" y="6"/>
                    <a:pt x="78" y="6"/>
                    <a:pt x="78" y="6"/>
                  </a:cubicBezTo>
                  <a:cubicBezTo>
                    <a:pt x="77" y="7"/>
                    <a:pt x="77" y="7"/>
                    <a:pt x="77" y="7"/>
                  </a:cubicBezTo>
                  <a:cubicBezTo>
                    <a:pt x="77" y="7"/>
                    <a:pt x="77" y="7"/>
                    <a:pt x="77" y="7"/>
                  </a:cubicBezTo>
                  <a:cubicBezTo>
                    <a:pt x="76" y="7"/>
                    <a:pt x="76" y="7"/>
                    <a:pt x="76" y="7"/>
                  </a:cubicBezTo>
                  <a:cubicBezTo>
                    <a:pt x="76" y="7"/>
                    <a:pt x="76" y="7"/>
                    <a:pt x="76" y="7"/>
                  </a:cubicBezTo>
                  <a:cubicBezTo>
                    <a:pt x="72" y="7"/>
                    <a:pt x="65" y="4"/>
                    <a:pt x="59" y="1"/>
                  </a:cubicBezTo>
                  <a:cubicBezTo>
                    <a:pt x="59" y="3"/>
                    <a:pt x="58" y="5"/>
                    <a:pt x="57" y="7"/>
                  </a:cubicBezTo>
                  <a:cubicBezTo>
                    <a:pt x="56" y="8"/>
                    <a:pt x="56" y="8"/>
                    <a:pt x="56" y="8"/>
                  </a:cubicBezTo>
                  <a:cubicBezTo>
                    <a:pt x="56" y="8"/>
                    <a:pt x="55" y="9"/>
                    <a:pt x="55" y="9"/>
                  </a:cubicBezTo>
                  <a:cubicBezTo>
                    <a:pt x="54" y="10"/>
                    <a:pt x="54" y="10"/>
                    <a:pt x="54" y="11"/>
                  </a:cubicBezTo>
                  <a:cubicBezTo>
                    <a:pt x="54" y="13"/>
                    <a:pt x="54" y="13"/>
                    <a:pt x="54" y="13"/>
                  </a:cubicBezTo>
                  <a:cubicBezTo>
                    <a:pt x="53" y="15"/>
                    <a:pt x="52" y="16"/>
                    <a:pt x="51" y="17"/>
                  </a:cubicBezTo>
                  <a:cubicBezTo>
                    <a:pt x="43" y="26"/>
                    <a:pt x="43" y="26"/>
                    <a:pt x="43" y="26"/>
                  </a:cubicBezTo>
                  <a:cubicBezTo>
                    <a:pt x="45" y="15"/>
                    <a:pt x="45" y="15"/>
                    <a:pt x="45" y="15"/>
                  </a:cubicBezTo>
                  <a:cubicBezTo>
                    <a:pt x="45" y="15"/>
                    <a:pt x="45" y="15"/>
                    <a:pt x="45" y="15"/>
                  </a:cubicBezTo>
                  <a:cubicBezTo>
                    <a:pt x="45" y="14"/>
                    <a:pt x="45" y="13"/>
                    <a:pt x="44" y="12"/>
                  </a:cubicBezTo>
                  <a:cubicBezTo>
                    <a:pt x="44" y="11"/>
                    <a:pt x="44" y="11"/>
                    <a:pt x="44" y="11"/>
                  </a:cubicBezTo>
                  <a:cubicBezTo>
                    <a:pt x="44" y="11"/>
                    <a:pt x="44" y="11"/>
                    <a:pt x="44" y="11"/>
                  </a:cubicBezTo>
                  <a:cubicBezTo>
                    <a:pt x="43" y="11"/>
                    <a:pt x="42" y="10"/>
                    <a:pt x="41" y="10"/>
                  </a:cubicBezTo>
                  <a:cubicBezTo>
                    <a:pt x="41" y="10"/>
                    <a:pt x="41" y="9"/>
                    <a:pt x="40" y="9"/>
                  </a:cubicBezTo>
                  <a:cubicBezTo>
                    <a:pt x="37" y="8"/>
                    <a:pt x="35" y="7"/>
                    <a:pt x="34" y="5"/>
                  </a:cubicBezTo>
                  <a:cubicBezTo>
                    <a:pt x="34" y="4"/>
                    <a:pt x="34" y="4"/>
                    <a:pt x="34" y="3"/>
                  </a:cubicBezTo>
                  <a:cubicBezTo>
                    <a:pt x="33" y="4"/>
                    <a:pt x="32" y="6"/>
                    <a:pt x="31" y="7"/>
                  </a:cubicBezTo>
                  <a:cubicBezTo>
                    <a:pt x="30" y="10"/>
                    <a:pt x="29" y="11"/>
                    <a:pt x="28" y="13"/>
                  </a:cubicBezTo>
                  <a:cubicBezTo>
                    <a:pt x="26" y="14"/>
                    <a:pt x="26" y="14"/>
                    <a:pt x="26" y="14"/>
                  </a:cubicBezTo>
                  <a:cubicBezTo>
                    <a:pt x="26" y="15"/>
                    <a:pt x="25" y="16"/>
                    <a:pt x="23" y="16"/>
                  </a:cubicBezTo>
                  <a:cubicBezTo>
                    <a:pt x="21" y="16"/>
                    <a:pt x="21" y="16"/>
                    <a:pt x="21" y="16"/>
                  </a:cubicBezTo>
                  <a:cubicBezTo>
                    <a:pt x="21" y="16"/>
                    <a:pt x="20" y="16"/>
                    <a:pt x="20" y="15"/>
                  </a:cubicBezTo>
                  <a:cubicBezTo>
                    <a:pt x="18" y="15"/>
                    <a:pt x="17" y="15"/>
                    <a:pt x="16" y="15"/>
                  </a:cubicBezTo>
                  <a:cubicBezTo>
                    <a:pt x="15" y="15"/>
                    <a:pt x="15" y="15"/>
                    <a:pt x="15" y="15"/>
                  </a:cubicBezTo>
                  <a:cubicBezTo>
                    <a:pt x="13" y="16"/>
                    <a:pt x="10" y="16"/>
                    <a:pt x="7" y="16"/>
                  </a:cubicBezTo>
                  <a:cubicBezTo>
                    <a:pt x="6" y="16"/>
                    <a:pt x="6" y="16"/>
                    <a:pt x="6" y="16"/>
                  </a:cubicBezTo>
                  <a:cubicBezTo>
                    <a:pt x="6" y="16"/>
                    <a:pt x="5" y="16"/>
                    <a:pt x="4" y="16"/>
                  </a:cubicBezTo>
                  <a:cubicBezTo>
                    <a:pt x="4" y="17"/>
                    <a:pt x="3" y="17"/>
                    <a:pt x="3" y="17"/>
                  </a:cubicBezTo>
                  <a:cubicBezTo>
                    <a:pt x="2" y="18"/>
                    <a:pt x="2" y="18"/>
                    <a:pt x="2" y="18"/>
                  </a:cubicBezTo>
                  <a:cubicBezTo>
                    <a:pt x="7" y="24"/>
                    <a:pt x="7" y="24"/>
                    <a:pt x="7" y="24"/>
                  </a:cubicBezTo>
                  <a:cubicBezTo>
                    <a:pt x="7" y="24"/>
                    <a:pt x="7" y="24"/>
                    <a:pt x="7" y="24"/>
                  </a:cubicBezTo>
                  <a:cubicBezTo>
                    <a:pt x="8" y="25"/>
                    <a:pt x="10" y="26"/>
                    <a:pt x="10" y="28"/>
                  </a:cubicBezTo>
                  <a:cubicBezTo>
                    <a:pt x="10" y="29"/>
                    <a:pt x="10" y="30"/>
                    <a:pt x="9" y="31"/>
                  </a:cubicBezTo>
                  <a:cubicBezTo>
                    <a:pt x="9" y="32"/>
                    <a:pt x="9" y="32"/>
                    <a:pt x="9" y="32"/>
                  </a:cubicBezTo>
                  <a:cubicBezTo>
                    <a:pt x="9" y="33"/>
                    <a:pt x="9" y="34"/>
                    <a:pt x="8" y="34"/>
                  </a:cubicBezTo>
                  <a:cubicBezTo>
                    <a:pt x="7" y="36"/>
                    <a:pt x="4" y="37"/>
                    <a:pt x="0" y="38"/>
                  </a:cubicBezTo>
                  <a:cubicBezTo>
                    <a:pt x="9" y="49"/>
                    <a:pt x="9" y="49"/>
                    <a:pt x="9" y="49"/>
                  </a:cubicBezTo>
                  <a:cubicBezTo>
                    <a:pt x="6" y="51"/>
                    <a:pt x="6" y="51"/>
                    <a:pt x="6" y="51"/>
                  </a:cubicBezTo>
                  <a:cubicBezTo>
                    <a:pt x="5" y="52"/>
                    <a:pt x="3" y="55"/>
                    <a:pt x="3" y="56"/>
                  </a:cubicBezTo>
                  <a:cubicBezTo>
                    <a:pt x="3" y="57"/>
                    <a:pt x="4" y="57"/>
                    <a:pt x="4" y="57"/>
                  </a:cubicBezTo>
                  <a:cubicBezTo>
                    <a:pt x="24" y="65"/>
                    <a:pt x="24" y="65"/>
                    <a:pt x="24" y="65"/>
                  </a:cubicBezTo>
                  <a:cubicBezTo>
                    <a:pt x="22" y="68"/>
                    <a:pt x="22" y="68"/>
                    <a:pt x="22" y="68"/>
                  </a:cubicBezTo>
                  <a:cubicBezTo>
                    <a:pt x="22" y="69"/>
                    <a:pt x="21" y="71"/>
                    <a:pt x="20" y="72"/>
                  </a:cubicBezTo>
                  <a:cubicBezTo>
                    <a:pt x="20" y="73"/>
                    <a:pt x="20" y="74"/>
                    <a:pt x="19" y="75"/>
                  </a:cubicBezTo>
                  <a:cubicBezTo>
                    <a:pt x="23" y="74"/>
                    <a:pt x="28" y="73"/>
                    <a:pt x="30" y="71"/>
                  </a:cubicBezTo>
                  <a:cubicBezTo>
                    <a:pt x="33" y="67"/>
                    <a:pt x="37" y="63"/>
                    <a:pt x="41" y="59"/>
                  </a:cubicBezTo>
                  <a:cubicBezTo>
                    <a:pt x="41" y="58"/>
                    <a:pt x="42" y="58"/>
                    <a:pt x="42" y="58"/>
                  </a:cubicBezTo>
                  <a:cubicBezTo>
                    <a:pt x="46" y="58"/>
                    <a:pt x="54" y="60"/>
                    <a:pt x="55" y="61"/>
                  </a:cubicBezTo>
                  <a:cubicBezTo>
                    <a:pt x="60" y="62"/>
                    <a:pt x="65" y="64"/>
                    <a:pt x="70" y="66"/>
                  </a:cubicBezTo>
                  <a:cubicBezTo>
                    <a:pt x="74" y="68"/>
                    <a:pt x="79" y="70"/>
                    <a:pt x="80" y="75"/>
                  </a:cubicBezTo>
                  <a:cubicBezTo>
                    <a:pt x="80" y="81"/>
                    <a:pt x="82" y="86"/>
                    <a:pt x="84" y="92"/>
                  </a:cubicBezTo>
                  <a:cubicBezTo>
                    <a:pt x="85" y="94"/>
                    <a:pt x="85" y="96"/>
                    <a:pt x="86" y="98"/>
                  </a:cubicBezTo>
                  <a:cubicBezTo>
                    <a:pt x="86" y="98"/>
                    <a:pt x="84" y="98"/>
                    <a:pt x="85" y="99"/>
                  </a:cubicBezTo>
                  <a:cubicBezTo>
                    <a:pt x="85" y="100"/>
                    <a:pt x="87" y="100"/>
                    <a:pt x="88" y="100"/>
                  </a:cubicBezTo>
                  <a:cubicBezTo>
                    <a:pt x="88" y="100"/>
                    <a:pt x="89" y="100"/>
                    <a:pt x="89" y="100"/>
                  </a:cubicBezTo>
                  <a:cubicBezTo>
                    <a:pt x="89" y="100"/>
                    <a:pt x="90" y="100"/>
                    <a:pt x="90" y="100"/>
                  </a:cubicBezTo>
                  <a:cubicBezTo>
                    <a:pt x="90" y="100"/>
                    <a:pt x="90" y="100"/>
                    <a:pt x="90" y="100"/>
                  </a:cubicBezTo>
                  <a:cubicBezTo>
                    <a:pt x="92" y="100"/>
                    <a:pt x="96" y="106"/>
                    <a:pt x="97" y="108"/>
                  </a:cubicBezTo>
                  <a:cubicBezTo>
                    <a:pt x="98" y="109"/>
                    <a:pt x="101" y="112"/>
                    <a:pt x="101" y="114"/>
                  </a:cubicBezTo>
                  <a:cubicBezTo>
                    <a:pt x="100" y="114"/>
                    <a:pt x="100" y="114"/>
                    <a:pt x="100" y="114"/>
                  </a:cubicBezTo>
                  <a:cubicBezTo>
                    <a:pt x="100" y="114"/>
                    <a:pt x="99" y="114"/>
                    <a:pt x="99" y="115"/>
                  </a:cubicBezTo>
                  <a:cubicBezTo>
                    <a:pt x="100" y="115"/>
                    <a:pt x="102" y="115"/>
                    <a:pt x="103" y="115"/>
                  </a:cubicBezTo>
                  <a:cubicBezTo>
                    <a:pt x="103" y="115"/>
                    <a:pt x="103" y="115"/>
                    <a:pt x="104" y="115"/>
                  </a:cubicBezTo>
                  <a:cubicBezTo>
                    <a:pt x="104" y="115"/>
                    <a:pt x="104" y="115"/>
                    <a:pt x="104" y="115"/>
                  </a:cubicBezTo>
                  <a:cubicBezTo>
                    <a:pt x="104" y="115"/>
                    <a:pt x="105" y="115"/>
                    <a:pt x="105" y="115"/>
                  </a:cubicBezTo>
                  <a:cubicBezTo>
                    <a:pt x="110" y="116"/>
                    <a:pt x="114" y="122"/>
                    <a:pt x="118" y="125"/>
                  </a:cubicBezTo>
                  <a:cubicBezTo>
                    <a:pt x="121" y="128"/>
                    <a:pt x="124" y="130"/>
                    <a:pt x="126" y="132"/>
                  </a:cubicBezTo>
                  <a:cubicBezTo>
                    <a:pt x="130" y="135"/>
                    <a:pt x="130" y="135"/>
                    <a:pt x="130" y="135"/>
                  </a:cubicBezTo>
                  <a:cubicBezTo>
                    <a:pt x="133" y="137"/>
                    <a:pt x="135" y="140"/>
                    <a:pt x="138" y="142"/>
                  </a:cubicBezTo>
                  <a:cubicBezTo>
                    <a:pt x="140" y="144"/>
                    <a:pt x="142" y="145"/>
                    <a:pt x="144" y="146"/>
                  </a:cubicBezTo>
                  <a:cubicBezTo>
                    <a:pt x="145" y="148"/>
                    <a:pt x="145" y="148"/>
                    <a:pt x="145" y="148"/>
                  </a:cubicBezTo>
                  <a:cubicBezTo>
                    <a:pt x="146" y="148"/>
                    <a:pt x="147" y="149"/>
                    <a:pt x="148" y="149"/>
                  </a:cubicBezTo>
                  <a:cubicBezTo>
                    <a:pt x="150" y="149"/>
                    <a:pt x="151" y="148"/>
                    <a:pt x="153" y="148"/>
                  </a:cubicBezTo>
                  <a:cubicBezTo>
                    <a:pt x="155" y="148"/>
                    <a:pt x="156" y="147"/>
                    <a:pt x="158" y="147"/>
                  </a:cubicBezTo>
                  <a:cubicBezTo>
                    <a:pt x="160" y="147"/>
                    <a:pt x="162" y="148"/>
                    <a:pt x="163" y="150"/>
                  </a:cubicBezTo>
                  <a:cubicBezTo>
                    <a:pt x="165" y="153"/>
                    <a:pt x="167" y="156"/>
                    <a:pt x="170" y="157"/>
                  </a:cubicBezTo>
                  <a:cubicBezTo>
                    <a:pt x="173" y="159"/>
                    <a:pt x="175" y="160"/>
                    <a:pt x="178" y="161"/>
                  </a:cubicBezTo>
                  <a:cubicBezTo>
                    <a:pt x="177" y="163"/>
                    <a:pt x="176" y="164"/>
                    <a:pt x="175" y="166"/>
                  </a:cubicBezTo>
                  <a:cubicBezTo>
                    <a:pt x="178" y="165"/>
                    <a:pt x="181" y="165"/>
                    <a:pt x="184" y="164"/>
                  </a:cubicBezTo>
                  <a:cubicBezTo>
                    <a:pt x="184" y="164"/>
                    <a:pt x="185" y="163"/>
                    <a:pt x="185" y="163"/>
                  </a:cubicBezTo>
                  <a:cubicBezTo>
                    <a:pt x="185" y="163"/>
                    <a:pt x="186" y="163"/>
                    <a:pt x="186" y="163"/>
                  </a:cubicBezTo>
                  <a:cubicBezTo>
                    <a:pt x="188" y="164"/>
                    <a:pt x="191" y="171"/>
                    <a:pt x="191" y="172"/>
                  </a:cubicBezTo>
                  <a:cubicBezTo>
                    <a:pt x="191" y="173"/>
                    <a:pt x="190" y="174"/>
                    <a:pt x="190" y="174"/>
                  </a:cubicBezTo>
                  <a:cubicBezTo>
                    <a:pt x="189" y="176"/>
                    <a:pt x="189" y="175"/>
                    <a:pt x="192" y="177"/>
                  </a:cubicBezTo>
                  <a:cubicBezTo>
                    <a:pt x="194" y="179"/>
                    <a:pt x="197" y="182"/>
                    <a:pt x="200" y="182"/>
                  </a:cubicBezTo>
                  <a:cubicBezTo>
                    <a:pt x="200" y="182"/>
                    <a:pt x="201" y="182"/>
                    <a:pt x="201" y="182"/>
                  </a:cubicBezTo>
                  <a:cubicBezTo>
                    <a:pt x="203" y="182"/>
                    <a:pt x="204" y="181"/>
                    <a:pt x="205" y="181"/>
                  </a:cubicBezTo>
                  <a:cubicBezTo>
                    <a:pt x="207" y="181"/>
                    <a:pt x="208" y="182"/>
                    <a:pt x="209" y="184"/>
                  </a:cubicBezTo>
                  <a:cubicBezTo>
                    <a:pt x="210" y="187"/>
                    <a:pt x="211" y="190"/>
                    <a:pt x="211" y="192"/>
                  </a:cubicBezTo>
                  <a:cubicBezTo>
                    <a:pt x="214" y="198"/>
                    <a:pt x="215" y="205"/>
                    <a:pt x="218" y="211"/>
                  </a:cubicBezTo>
                  <a:cubicBezTo>
                    <a:pt x="219" y="212"/>
                    <a:pt x="220" y="211"/>
                    <a:pt x="220" y="213"/>
                  </a:cubicBezTo>
                  <a:cubicBezTo>
                    <a:pt x="220" y="216"/>
                    <a:pt x="217" y="216"/>
                    <a:pt x="215" y="217"/>
                  </a:cubicBezTo>
                  <a:cubicBezTo>
                    <a:pt x="214" y="218"/>
                    <a:pt x="212" y="218"/>
                    <a:pt x="212" y="219"/>
                  </a:cubicBezTo>
                  <a:cubicBezTo>
                    <a:pt x="212" y="219"/>
                    <a:pt x="211" y="219"/>
                    <a:pt x="211" y="220"/>
                  </a:cubicBezTo>
                  <a:cubicBezTo>
                    <a:pt x="211" y="221"/>
                    <a:pt x="213" y="222"/>
                    <a:pt x="213" y="223"/>
                  </a:cubicBezTo>
                  <a:cubicBezTo>
                    <a:pt x="213" y="224"/>
                    <a:pt x="211" y="226"/>
                    <a:pt x="210" y="227"/>
                  </a:cubicBezTo>
                  <a:cubicBezTo>
                    <a:pt x="208" y="230"/>
                    <a:pt x="203" y="238"/>
                    <a:pt x="210" y="239"/>
                  </a:cubicBezTo>
                  <a:cubicBezTo>
                    <a:pt x="210" y="240"/>
                    <a:pt x="211" y="240"/>
                    <a:pt x="213" y="240"/>
                  </a:cubicBezTo>
                  <a:cubicBezTo>
                    <a:pt x="214" y="240"/>
                    <a:pt x="215" y="240"/>
                    <a:pt x="216" y="239"/>
                  </a:cubicBezTo>
                  <a:cubicBezTo>
                    <a:pt x="218" y="239"/>
                    <a:pt x="220" y="235"/>
                    <a:pt x="221" y="233"/>
                  </a:cubicBezTo>
                  <a:cubicBezTo>
                    <a:pt x="223" y="231"/>
                    <a:pt x="228" y="227"/>
                    <a:pt x="228" y="225"/>
                  </a:cubicBezTo>
                  <a:cubicBezTo>
                    <a:pt x="229" y="223"/>
                    <a:pt x="227" y="219"/>
                    <a:pt x="227" y="218"/>
                  </a:cubicBezTo>
                  <a:cubicBezTo>
                    <a:pt x="228" y="215"/>
                    <a:pt x="233" y="212"/>
                    <a:pt x="236" y="212"/>
                  </a:cubicBezTo>
                  <a:cubicBezTo>
                    <a:pt x="237" y="212"/>
                    <a:pt x="237" y="212"/>
                    <a:pt x="237" y="212"/>
                  </a:cubicBezTo>
                  <a:cubicBezTo>
                    <a:pt x="238" y="212"/>
                    <a:pt x="240" y="212"/>
                    <a:pt x="241" y="213"/>
                  </a:cubicBezTo>
                  <a:cubicBezTo>
                    <a:pt x="241" y="212"/>
                    <a:pt x="241" y="212"/>
                    <a:pt x="241" y="212"/>
                  </a:cubicBezTo>
                  <a:cubicBezTo>
                    <a:pt x="244" y="210"/>
                    <a:pt x="242" y="205"/>
                    <a:pt x="242" y="202"/>
                  </a:cubicBezTo>
                  <a:cubicBezTo>
                    <a:pt x="241" y="198"/>
                    <a:pt x="238" y="196"/>
                    <a:pt x="234" y="194"/>
                  </a:cubicBezTo>
                  <a:cubicBezTo>
                    <a:pt x="233" y="194"/>
                    <a:pt x="233" y="193"/>
                    <a:pt x="232" y="193"/>
                  </a:cubicBezTo>
                  <a:cubicBezTo>
                    <a:pt x="232" y="193"/>
                    <a:pt x="231" y="193"/>
                    <a:pt x="231" y="193"/>
                  </a:cubicBezTo>
                  <a:cubicBezTo>
                    <a:pt x="231" y="193"/>
                    <a:pt x="231" y="193"/>
                    <a:pt x="230" y="193"/>
                  </a:cubicBezTo>
                  <a:cubicBezTo>
                    <a:pt x="230" y="193"/>
                    <a:pt x="230" y="193"/>
                    <a:pt x="230" y="193"/>
                  </a:cubicBezTo>
                  <a:cubicBezTo>
                    <a:pt x="229" y="193"/>
                    <a:pt x="229" y="193"/>
                    <a:pt x="229" y="192"/>
                  </a:cubicBezTo>
                  <a:cubicBezTo>
                    <a:pt x="226" y="191"/>
                    <a:pt x="228" y="189"/>
                    <a:pt x="228" y="186"/>
                  </a:cubicBezTo>
                  <a:cubicBezTo>
                    <a:pt x="230" y="179"/>
                    <a:pt x="232" y="174"/>
                    <a:pt x="238" y="169"/>
                  </a:cubicBezTo>
                  <a:cubicBezTo>
                    <a:pt x="238" y="168"/>
                    <a:pt x="240" y="168"/>
                    <a:pt x="241" y="168"/>
                  </a:cubicBezTo>
                  <a:cubicBezTo>
                    <a:pt x="244" y="168"/>
                    <a:pt x="246" y="169"/>
                    <a:pt x="243" y="171"/>
                  </a:cubicBezTo>
                  <a:cubicBezTo>
                    <a:pt x="246" y="172"/>
                    <a:pt x="250" y="172"/>
                    <a:pt x="253" y="173"/>
                  </a:cubicBezTo>
                  <a:cubicBezTo>
                    <a:pt x="257" y="174"/>
                    <a:pt x="257" y="176"/>
                    <a:pt x="260" y="179"/>
                  </a:cubicBezTo>
                  <a:cubicBezTo>
                    <a:pt x="263" y="184"/>
                    <a:pt x="265" y="185"/>
                    <a:pt x="271" y="188"/>
                  </a:cubicBezTo>
                  <a:cubicBezTo>
                    <a:pt x="271" y="184"/>
                    <a:pt x="272" y="183"/>
                    <a:pt x="273" y="181"/>
                  </a:cubicBezTo>
                  <a:cubicBezTo>
                    <a:pt x="275" y="176"/>
                    <a:pt x="267" y="171"/>
                    <a:pt x="264" y="168"/>
                  </a:cubicBezTo>
                  <a:cubicBezTo>
                    <a:pt x="260" y="164"/>
                    <a:pt x="254" y="162"/>
                    <a:pt x="250" y="159"/>
                  </a:cubicBezTo>
                  <a:cubicBezTo>
                    <a:pt x="247" y="157"/>
                    <a:pt x="243" y="155"/>
                    <a:pt x="239" y="154"/>
                  </a:cubicBezTo>
                  <a:cubicBezTo>
                    <a:pt x="229" y="149"/>
                    <a:pt x="219" y="146"/>
                    <a:pt x="213" y="137"/>
                  </a:cubicBezTo>
                  <a:cubicBezTo>
                    <a:pt x="215" y="136"/>
                    <a:pt x="219" y="133"/>
                    <a:pt x="219" y="131"/>
                  </a:cubicBezTo>
                  <a:cubicBezTo>
                    <a:pt x="219" y="130"/>
                    <a:pt x="219" y="129"/>
                    <a:pt x="218" y="129"/>
                  </a:cubicBezTo>
                  <a:cubicBezTo>
                    <a:pt x="210" y="129"/>
                    <a:pt x="202" y="128"/>
                    <a:pt x="195" y="128"/>
                  </a:cubicBezTo>
                  <a:cubicBezTo>
                    <a:pt x="192" y="128"/>
                    <a:pt x="188" y="125"/>
                    <a:pt x="186" y="124"/>
                  </a:cubicBezTo>
                  <a:cubicBezTo>
                    <a:pt x="183" y="122"/>
                    <a:pt x="180" y="119"/>
                    <a:pt x="177" y="117"/>
                  </a:cubicBezTo>
                  <a:cubicBezTo>
                    <a:pt x="172" y="112"/>
                    <a:pt x="169" y="108"/>
                    <a:pt x="166" y="101"/>
                  </a:cubicBezTo>
                  <a:cubicBezTo>
                    <a:pt x="163" y="97"/>
                    <a:pt x="163" y="88"/>
                    <a:pt x="159" y="85"/>
                  </a:cubicBezTo>
                  <a:cubicBezTo>
                    <a:pt x="153" y="80"/>
                    <a:pt x="148" y="76"/>
                    <a:pt x="141" y="72"/>
                  </a:cubicBezTo>
                  <a:cubicBezTo>
                    <a:pt x="136" y="68"/>
                    <a:pt x="130" y="65"/>
                    <a:pt x="129" y="58"/>
                  </a:cubicBezTo>
                  <a:cubicBezTo>
                    <a:pt x="128" y="54"/>
                    <a:pt x="127" y="49"/>
                    <a:pt x="127" y="46"/>
                  </a:cubicBezTo>
                  <a:cubicBezTo>
                    <a:pt x="128" y="46"/>
                    <a:pt x="128" y="46"/>
                    <a:pt x="129" y="46"/>
                  </a:cubicBezTo>
                  <a:cubicBezTo>
                    <a:pt x="131" y="46"/>
                    <a:pt x="132" y="45"/>
                    <a:pt x="132" y="43"/>
                  </a:cubicBezTo>
                  <a:cubicBezTo>
                    <a:pt x="133" y="41"/>
                    <a:pt x="132" y="40"/>
                    <a:pt x="130" y="38"/>
                  </a:cubicBezTo>
                  <a:cubicBezTo>
                    <a:pt x="129" y="37"/>
                    <a:pt x="124" y="33"/>
                    <a:pt x="124" y="31"/>
                  </a:cubicBezTo>
                  <a:cubicBezTo>
                    <a:pt x="124" y="30"/>
                    <a:pt x="126" y="27"/>
                    <a:pt x="127" y="27"/>
                  </a:cubicBezTo>
                  <a:cubicBezTo>
                    <a:pt x="128" y="26"/>
                    <a:pt x="130" y="25"/>
                    <a:pt x="131" y="24"/>
                  </a:cubicBezTo>
                  <a:cubicBezTo>
                    <a:pt x="131" y="25"/>
                    <a:pt x="131" y="27"/>
                    <a:pt x="130" y="28"/>
                  </a:cubicBezTo>
                  <a:cubicBezTo>
                    <a:pt x="133" y="27"/>
                    <a:pt x="135" y="26"/>
                    <a:pt x="138" y="25"/>
                  </a:cubicBezTo>
                  <a:cubicBezTo>
                    <a:pt x="140" y="24"/>
                    <a:pt x="145" y="23"/>
                    <a:pt x="146" y="21"/>
                  </a:cubicBezTo>
                  <a:cubicBezTo>
                    <a:pt x="148" y="19"/>
                    <a:pt x="146" y="19"/>
                    <a:pt x="148" y="18"/>
                  </a:cubicBezTo>
                  <a:cubicBezTo>
                    <a:pt x="149" y="18"/>
                    <a:pt x="149" y="18"/>
                    <a:pt x="149" y="18"/>
                  </a:cubicBezTo>
                  <a:cubicBezTo>
                    <a:pt x="150" y="18"/>
                    <a:pt x="151" y="18"/>
                    <a:pt x="152" y="18"/>
                  </a:cubicBezTo>
                  <a:cubicBezTo>
                    <a:pt x="152" y="18"/>
                    <a:pt x="153" y="19"/>
                    <a:pt x="154" y="19"/>
                  </a:cubicBezTo>
                  <a:cubicBezTo>
                    <a:pt x="154" y="19"/>
                    <a:pt x="155" y="19"/>
                    <a:pt x="156" y="18"/>
                  </a:cubicBezTo>
                  <a:cubicBezTo>
                    <a:pt x="156" y="18"/>
                    <a:pt x="156" y="18"/>
                    <a:pt x="156" y="18"/>
                  </a:cubicBezTo>
                  <a:cubicBezTo>
                    <a:pt x="156" y="18"/>
                    <a:pt x="156" y="18"/>
                    <a:pt x="156" y="18"/>
                  </a:cubicBezTo>
                  <a:cubicBezTo>
                    <a:pt x="156" y="17"/>
                    <a:pt x="156" y="17"/>
                    <a:pt x="156" y="17"/>
                  </a:cubicBezTo>
                  <a:cubicBezTo>
                    <a:pt x="155" y="16"/>
                    <a:pt x="155" y="15"/>
                    <a:pt x="156" y="14"/>
                  </a:cubicBezTo>
                  <a:cubicBezTo>
                    <a:pt x="156" y="13"/>
                    <a:pt x="156" y="13"/>
                    <a:pt x="156" y="13"/>
                  </a:cubicBezTo>
                  <a:cubicBezTo>
                    <a:pt x="156" y="13"/>
                    <a:pt x="155" y="12"/>
                    <a:pt x="154" y="12"/>
                  </a:cubicBezTo>
                  <a:cubicBezTo>
                    <a:pt x="150" y="9"/>
                    <a:pt x="150" y="9"/>
                    <a:pt x="150" y="9"/>
                  </a:cubicBezTo>
                  <a:cubicBezTo>
                    <a:pt x="155" y="7"/>
                    <a:pt x="155" y="7"/>
                    <a:pt x="155" y="7"/>
                  </a:cubicBezTo>
                  <a:cubicBezTo>
                    <a:pt x="155" y="6"/>
                    <a:pt x="155" y="6"/>
                    <a:pt x="155" y="6"/>
                  </a:cubicBezTo>
                  <a:cubicBezTo>
                    <a:pt x="155" y="6"/>
                    <a:pt x="155" y="6"/>
                    <a:pt x="155" y="6"/>
                  </a:cubicBezTo>
                  <a:cubicBezTo>
                    <a:pt x="148" y="2"/>
                    <a:pt x="148" y="2"/>
                    <a:pt x="148" y="2"/>
                  </a:cubicBezTo>
                  <a:cubicBezTo>
                    <a:pt x="152" y="0"/>
                    <a:pt x="152" y="0"/>
                    <a:pt x="152" y="0"/>
                  </a:cubicBezTo>
                  <a:cubicBezTo>
                    <a:pt x="152" y="0"/>
                    <a:pt x="152" y="0"/>
                    <a:pt x="1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253"/>
            <p:cNvSpPr/>
            <p:nvPr/>
          </p:nvSpPr>
          <p:spPr bwMode="auto">
            <a:xfrm>
              <a:off x="4419" y="-27"/>
              <a:ext cx="128" cy="57"/>
            </a:xfrm>
            <a:custGeom>
              <a:gdLst>
                <a:gd name="T0" fmla="*/ 28 w 54"/>
                <a:gd name="T1" fmla="*/ 0 h 24"/>
                <a:gd name="T2" fmla="*/ 22 w 54"/>
                <a:gd name="T3" fmla="*/ 3 h 24"/>
                <a:gd name="T4" fmla="*/ 18 w 54"/>
                <a:gd name="T5" fmla="*/ 1 h 24"/>
                <a:gd name="T6" fmla="*/ 17 w 54"/>
                <a:gd name="T7" fmla="*/ 1 h 24"/>
                <a:gd name="T8" fmla="*/ 15 w 54"/>
                <a:gd name="T9" fmla="*/ 1 h 24"/>
                <a:gd name="T10" fmla="*/ 12 w 54"/>
                <a:gd name="T11" fmla="*/ 1 h 24"/>
                <a:gd name="T12" fmla="*/ 9 w 54"/>
                <a:gd name="T13" fmla="*/ 0 h 24"/>
                <a:gd name="T14" fmla="*/ 3 w 54"/>
                <a:gd name="T15" fmla="*/ 0 h 24"/>
                <a:gd name="T16" fmla="*/ 2 w 54"/>
                <a:gd name="T17" fmla="*/ 3 h 24"/>
                <a:gd name="T18" fmla="*/ 3 w 54"/>
                <a:gd name="T19" fmla="*/ 8 h 24"/>
                <a:gd name="T20" fmla="*/ 2 w 54"/>
                <a:gd name="T21" fmla="*/ 9 h 24"/>
                <a:gd name="T22" fmla="*/ 2 w 54"/>
                <a:gd name="T23" fmla="*/ 11 h 24"/>
                <a:gd name="T24" fmla="*/ 2 w 54"/>
                <a:gd name="T25" fmla="*/ 15 h 24"/>
                <a:gd name="T26" fmla="*/ 4 w 54"/>
                <a:gd name="T27" fmla="*/ 16 h 24"/>
                <a:gd name="T28" fmla="*/ 8 w 54"/>
                <a:gd name="T29" fmla="*/ 19 h 24"/>
                <a:gd name="T30" fmla="*/ 9 w 54"/>
                <a:gd name="T31" fmla="*/ 23 h 24"/>
                <a:gd name="T32" fmla="*/ 11 w 54"/>
                <a:gd name="T33" fmla="*/ 23 h 24"/>
                <a:gd name="T34" fmla="*/ 19 w 54"/>
                <a:gd name="T35" fmla="*/ 19 h 24"/>
                <a:gd name="T36" fmla="*/ 24 w 54"/>
                <a:gd name="T37" fmla="*/ 19 h 24"/>
                <a:gd name="T38" fmla="*/ 26 w 54"/>
                <a:gd name="T39" fmla="*/ 20 h 24"/>
                <a:gd name="T40" fmla="*/ 30 w 54"/>
                <a:gd name="T41" fmla="*/ 23 h 24"/>
                <a:gd name="T42" fmla="*/ 31 w 54"/>
                <a:gd name="T43" fmla="*/ 23 h 24"/>
                <a:gd name="T44" fmla="*/ 33 w 54"/>
                <a:gd name="T45" fmla="*/ 23 h 24"/>
                <a:gd name="T46" fmla="*/ 36 w 54"/>
                <a:gd name="T47" fmla="*/ 24 h 24"/>
                <a:gd name="T48" fmla="*/ 37 w 54"/>
                <a:gd name="T49" fmla="*/ 22 h 24"/>
                <a:gd name="T50" fmla="*/ 37 w 54"/>
                <a:gd name="T51" fmla="*/ 17 h 24"/>
                <a:gd name="T52" fmla="*/ 45 w 54"/>
                <a:gd name="T53" fmla="*/ 12 h 24"/>
                <a:gd name="T54" fmla="*/ 44 w 54"/>
                <a:gd name="T55" fmla="*/ 8 h 24"/>
                <a:gd name="T56" fmla="*/ 45 w 54"/>
                <a:gd name="T57" fmla="*/ 3 h 24"/>
                <a:gd name="T58" fmla="*/ 48 w 54"/>
                <a:gd name="T59" fmla="*/ 2 h 24"/>
                <a:gd name="T60" fmla="*/ 51 w 54"/>
                <a:gd name="T61" fmla="*/ 1 h 24"/>
                <a:gd name="T62" fmla="*/ 53 w 54"/>
                <a:gd name="T63" fmla="*/ 0 h 24"/>
                <a:gd name="T64" fmla="*/ 54 w 54"/>
                <a:gd name="T65"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24">
                  <a:moveTo>
                    <a:pt x="54" y="0"/>
                  </a:moveTo>
                  <a:cubicBezTo>
                    <a:pt x="28" y="0"/>
                    <a:pt x="28" y="0"/>
                    <a:pt x="28" y="0"/>
                  </a:cubicBezTo>
                  <a:cubicBezTo>
                    <a:pt x="25" y="1"/>
                    <a:pt x="23" y="2"/>
                    <a:pt x="22" y="3"/>
                  </a:cubicBezTo>
                  <a:cubicBezTo>
                    <a:pt x="22" y="3"/>
                    <a:pt x="22" y="3"/>
                    <a:pt x="22" y="3"/>
                  </a:cubicBezTo>
                  <a:cubicBezTo>
                    <a:pt x="21" y="2"/>
                    <a:pt x="21" y="2"/>
                    <a:pt x="21" y="2"/>
                  </a:cubicBezTo>
                  <a:cubicBezTo>
                    <a:pt x="20" y="2"/>
                    <a:pt x="19" y="2"/>
                    <a:pt x="18" y="1"/>
                  </a:cubicBezTo>
                  <a:cubicBezTo>
                    <a:pt x="17" y="1"/>
                    <a:pt x="17" y="1"/>
                    <a:pt x="17" y="1"/>
                  </a:cubicBezTo>
                  <a:cubicBezTo>
                    <a:pt x="17" y="1"/>
                    <a:pt x="17" y="1"/>
                    <a:pt x="17" y="1"/>
                  </a:cubicBezTo>
                  <a:cubicBezTo>
                    <a:pt x="17" y="1"/>
                    <a:pt x="16" y="1"/>
                    <a:pt x="16" y="1"/>
                  </a:cubicBezTo>
                  <a:cubicBezTo>
                    <a:pt x="16" y="1"/>
                    <a:pt x="15" y="1"/>
                    <a:pt x="15" y="1"/>
                  </a:cubicBezTo>
                  <a:cubicBezTo>
                    <a:pt x="15" y="1"/>
                    <a:pt x="15" y="1"/>
                    <a:pt x="15" y="1"/>
                  </a:cubicBezTo>
                  <a:cubicBezTo>
                    <a:pt x="14" y="1"/>
                    <a:pt x="13" y="1"/>
                    <a:pt x="12" y="1"/>
                  </a:cubicBezTo>
                  <a:cubicBezTo>
                    <a:pt x="12" y="1"/>
                    <a:pt x="11" y="0"/>
                    <a:pt x="10" y="0"/>
                  </a:cubicBezTo>
                  <a:cubicBezTo>
                    <a:pt x="9" y="0"/>
                    <a:pt x="9" y="0"/>
                    <a:pt x="9" y="0"/>
                  </a:cubicBezTo>
                  <a:cubicBezTo>
                    <a:pt x="8" y="0"/>
                    <a:pt x="8" y="0"/>
                    <a:pt x="8" y="0"/>
                  </a:cubicBezTo>
                  <a:cubicBezTo>
                    <a:pt x="3" y="0"/>
                    <a:pt x="3" y="0"/>
                    <a:pt x="3" y="0"/>
                  </a:cubicBezTo>
                  <a:cubicBezTo>
                    <a:pt x="3" y="1"/>
                    <a:pt x="2" y="1"/>
                    <a:pt x="0" y="2"/>
                  </a:cubicBezTo>
                  <a:cubicBezTo>
                    <a:pt x="1" y="3"/>
                    <a:pt x="2" y="3"/>
                    <a:pt x="2" y="3"/>
                  </a:cubicBezTo>
                  <a:cubicBezTo>
                    <a:pt x="6" y="5"/>
                    <a:pt x="6" y="5"/>
                    <a:pt x="6" y="5"/>
                  </a:cubicBezTo>
                  <a:cubicBezTo>
                    <a:pt x="3" y="8"/>
                    <a:pt x="3" y="8"/>
                    <a:pt x="3" y="8"/>
                  </a:cubicBezTo>
                  <a:cubicBezTo>
                    <a:pt x="2" y="8"/>
                    <a:pt x="2" y="8"/>
                    <a:pt x="2" y="8"/>
                  </a:cubicBezTo>
                  <a:cubicBezTo>
                    <a:pt x="2" y="9"/>
                    <a:pt x="2" y="9"/>
                    <a:pt x="2" y="9"/>
                  </a:cubicBezTo>
                  <a:cubicBezTo>
                    <a:pt x="1" y="9"/>
                    <a:pt x="1" y="9"/>
                    <a:pt x="1" y="9"/>
                  </a:cubicBezTo>
                  <a:cubicBezTo>
                    <a:pt x="2" y="10"/>
                    <a:pt x="2" y="10"/>
                    <a:pt x="2" y="11"/>
                  </a:cubicBezTo>
                  <a:cubicBezTo>
                    <a:pt x="2" y="12"/>
                    <a:pt x="3" y="13"/>
                    <a:pt x="2" y="14"/>
                  </a:cubicBezTo>
                  <a:cubicBezTo>
                    <a:pt x="2" y="15"/>
                    <a:pt x="2" y="15"/>
                    <a:pt x="2" y="15"/>
                  </a:cubicBezTo>
                  <a:cubicBezTo>
                    <a:pt x="2" y="15"/>
                    <a:pt x="2" y="15"/>
                    <a:pt x="2" y="15"/>
                  </a:cubicBezTo>
                  <a:cubicBezTo>
                    <a:pt x="3" y="15"/>
                    <a:pt x="4" y="15"/>
                    <a:pt x="4" y="16"/>
                  </a:cubicBezTo>
                  <a:cubicBezTo>
                    <a:pt x="5" y="16"/>
                    <a:pt x="6" y="17"/>
                    <a:pt x="7" y="18"/>
                  </a:cubicBezTo>
                  <a:cubicBezTo>
                    <a:pt x="8" y="19"/>
                    <a:pt x="8" y="19"/>
                    <a:pt x="8" y="19"/>
                  </a:cubicBezTo>
                  <a:cubicBezTo>
                    <a:pt x="8" y="19"/>
                    <a:pt x="8" y="19"/>
                    <a:pt x="8" y="20"/>
                  </a:cubicBezTo>
                  <a:cubicBezTo>
                    <a:pt x="9" y="20"/>
                    <a:pt x="9" y="22"/>
                    <a:pt x="9" y="23"/>
                  </a:cubicBezTo>
                  <a:cubicBezTo>
                    <a:pt x="9" y="23"/>
                    <a:pt x="9" y="23"/>
                    <a:pt x="9" y="23"/>
                  </a:cubicBezTo>
                  <a:cubicBezTo>
                    <a:pt x="10" y="23"/>
                    <a:pt x="10" y="23"/>
                    <a:pt x="11" y="23"/>
                  </a:cubicBezTo>
                  <a:cubicBezTo>
                    <a:pt x="11" y="23"/>
                    <a:pt x="12" y="23"/>
                    <a:pt x="12" y="23"/>
                  </a:cubicBezTo>
                  <a:cubicBezTo>
                    <a:pt x="15" y="23"/>
                    <a:pt x="18" y="21"/>
                    <a:pt x="19" y="19"/>
                  </a:cubicBezTo>
                  <a:cubicBezTo>
                    <a:pt x="21" y="16"/>
                    <a:pt x="21" y="16"/>
                    <a:pt x="21" y="16"/>
                  </a:cubicBezTo>
                  <a:cubicBezTo>
                    <a:pt x="24" y="19"/>
                    <a:pt x="24" y="19"/>
                    <a:pt x="24" y="19"/>
                  </a:cubicBezTo>
                  <a:cubicBezTo>
                    <a:pt x="25" y="19"/>
                    <a:pt x="25" y="20"/>
                    <a:pt x="25" y="20"/>
                  </a:cubicBezTo>
                  <a:cubicBezTo>
                    <a:pt x="26" y="20"/>
                    <a:pt x="26" y="20"/>
                    <a:pt x="26" y="20"/>
                  </a:cubicBezTo>
                  <a:cubicBezTo>
                    <a:pt x="26" y="21"/>
                    <a:pt x="27" y="22"/>
                    <a:pt x="28" y="23"/>
                  </a:cubicBezTo>
                  <a:cubicBezTo>
                    <a:pt x="29" y="23"/>
                    <a:pt x="29" y="23"/>
                    <a:pt x="30" y="23"/>
                  </a:cubicBezTo>
                  <a:cubicBezTo>
                    <a:pt x="30" y="23"/>
                    <a:pt x="30" y="23"/>
                    <a:pt x="30" y="23"/>
                  </a:cubicBezTo>
                  <a:cubicBezTo>
                    <a:pt x="31" y="23"/>
                    <a:pt x="31" y="23"/>
                    <a:pt x="31" y="23"/>
                  </a:cubicBezTo>
                  <a:cubicBezTo>
                    <a:pt x="31" y="23"/>
                    <a:pt x="32" y="23"/>
                    <a:pt x="32" y="23"/>
                  </a:cubicBezTo>
                  <a:cubicBezTo>
                    <a:pt x="33" y="23"/>
                    <a:pt x="33" y="23"/>
                    <a:pt x="33" y="23"/>
                  </a:cubicBezTo>
                  <a:cubicBezTo>
                    <a:pt x="34" y="23"/>
                    <a:pt x="35" y="23"/>
                    <a:pt x="36" y="24"/>
                  </a:cubicBezTo>
                  <a:cubicBezTo>
                    <a:pt x="36" y="24"/>
                    <a:pt x="36" y="24"/>
                    <a:pt x="36" y="24"/>
                  </a:cubicBezTo>
                  <a:cubicBezTo>
                    <a:pt x="36" y="23"/>
                    <a:pt x="36" y="23"/>
                    <a:pt x="36" y="23"/>
                  </a:cubicBezTo>
                  <a:cubicBezTo>
                    <a:pt x="37" y="22"/>
                    <a:pt x="37" y="22"/>
                    <a:pt x="37" y="22"/>
                  </a:cubicBezTo>
                  <a:cubicBezTo>
                    <a:pt x="33" y="20"/>
                    <a:pt x="33" y="20"/>
                    <a:pt x="33" y="20"/>
                  </a:cubicBezTo>
                  <a:cubicBezTo>
                    <a:pt x="37" y="17"/>
                    <a:pt x="37" y="17"/>
                    <a:pt x="37" y="17"/>
                  </a:cubicBezTo>
                  <a:cubicBezTo>
                    <a:pt x="38" y="16"/>
                    <a:pt x="39" y="15"/>
                    <a:pt x="41" y="14"/>
                  </a:cubicBezTo>
                  <a:cubicBezTo>
                    <a:pt x="42" y="14"/>
                    <a:pt x="44" y="13"/>
                    <a:pt x="45" y="12"/>
                  </a:cubicBezTo>
                  <a:cubicBezTo>
                    <a:pt x="45" y="11"/>
                    <a:pt x="45" y="11"/>
                    <a:pt x="45" y="11"/>
                  </a:cubicBezTo>
                  <a:cubicBezTo>
                    <a:pt x="45" y="10"/>
                    <a:pt x="44" y="9"/>
                    <a:pt x="44" y="8"/>
                  </a:cubicBezTo>
                  <a:cubicBezTo>
                    <a:pt x="44" y="7"/>
                    <a:pt x="44" y="5"/>
                    <a:pt x="45" y="4"/>
                  </a:cubicBezTo>
                  <a:cubicBezTo>
                    <a:pt x="45" y="3"/>
                    <a:pt x="45" y="3"/>
                    <a:pt x="45" y="3"/>
                  </a:cubicBezTo>
                  <a:cubicBezTo>
                    <a:pt x="46" y="3"/>
                    <a:pt x="46" y="2"/>
                    <a:pt x="47" y="2"/>
                  </a:cubicBezTo>
                  <a:cubicBezTo>
                    <a:pt x="48" y="2"/>
                    <a:pt x="48" y="2"/>
                    <a:pt x="48" y="2"/>
                  </a:cubicBezTo>
                  <a:cubicBezTo>
                    <a:pt x="48" y="1"/>
                    <a:pt x="49" y="1"/>
                    <a:pt x="49" y="1"/>
                  </a:cubicBezTo>
                  <a:cubicBezTo>
                    <a:pt x="50" y="1"/>
                    <a:pt x="50" y="1"/>
                    <a:pt x="51" y="1"/>
                  </a:cubicBezTo>
                  <a:cubicBezTo>
                    <a:pt x="51" y="1"/>
                    <a:pt x="51" y="1"/>
                    <a:pt x="51" y="1"/>
                  </a:cubicBezTo>
                  <a:cubicBezTo>
                    <a:pt x="52" y="0"/>
                    <a:pt x="53" y="0"/>
                    <a:pt x="53" y="0"/>
                  </a:cubicBezTo>
                  <a:cubicBezTo>
                    <a:pt x="54" y="0"/>
                    <a:pt x="54" y="0"/>
                    <a:pt x="54" y="0"/>
                  </a:cubicBezTo>
                  <a:cubicBezTo>
                    <a:pt x="54" y="0"/>
                    <a:pt x="54" y="0"/>
                    <a:pt x="54" y="0"/>
                  </a:cubicBez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254"/>
            <p:cNvSpPr/>
            <p:nvPr/>
          </p:nvSpPr>
          <p:spPr bwMode="auto">
            <a:xfrm>
              <a:off x="4712" y="63"/>
              <a:ext cx="5" cy="7"/>
            </a:xfrm>
            <a:custGeom>
              <a:gdLst>
                <a:gd name="T0" fmla="*/ 1 w 2"/>
                <a:gd name="T1" fmla="*/ 0 h 3"/>
                <a:gd name="T2" fmla="*/ 0 w 2"/>
                <a:gd name="T3" fmla="*/ 2 h 3"/>
                <a:gd name="T4" fmla="*/ 1 w 2"/>
                <a:gd name="T5" fmla="*/ 3 h 3"/>
                <a:gd name="T6" fmla="*/ 2 w 2"/>
                <a:gd name="T7" fmla="*/ 3 h 3"/>
                <a:gd name="T8" fmla="*/ 1 w 2"/>
                <a:gd name="T9" fmla="*/ 0 h 3"/>
              </a:gdLst>
              <a:cxnLst>
                <a:cxn ang="0">
                  <a:pos x="T0" y="T1"/>
                </a:cxn>
                <a:cxn ang="0">
                  <a:pos x="T2" y="T3"/>
                </a:cxn>
                <a:cxn ang="0">
                  <a:pos x="T4" y="T5"/>
                </a:cxn>
                <a:cxn ang="0">
                  <a:pos x="T6" y="T7"/>
                </a:cxn>
                <a:cxn ang="0">
                  <a:pos x="T8" y="T9"/>
                </a:cxn>
              </a:cxnLst>
              <a:rect l="0" t="0" r="r" b="b"/>
              <a:pathLst>
                <a:path w="2" h="3">
                  <a:moveTo>
                    <a:pt x="1" y="0"/>
                  </a:moveTo>
                  <a:cubicBezTo>
                    <a:pt x="0" y="2"/>
                    <a:pt x="0" y="2"/>
                    <a:pt x="0" y="2"/>
                  </a:cubicBezTo>
                  <a:cubicBezTo>
                    <a:pt x="1" y="3"/>
                    <a:pt x="1" y="3"/>
                    <a:pt x="1" y="3"/>
                  </a:cubicBezTo>
                  <a:cubicBezTo>
                    <a:pt x="2" y="3"/>
                    <a:pt x="2" y="3"/>
                    <a:pt x="2" y="3"/>
                  </a:cubicBezTo>
                  <a:cubicBezTo>
                    <a:pt x="2"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Rectangle 255"/>
            <p:cNvSpPr>
              <a:spLocks noChangeArrowheads="1"/>
            </p:cNvSpPr>
            <p:nvPr/>
          </p:nvSpPr>
          <p:spPr bwMode="auto">
            <a:xfrm>
              <a:off x="4722" y="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Rectangle 256"/>
            <p:cNvSpPr>
              <a:spLocks noChangeArrowheads="1"/>
            </p:cNvSpPr>
            <p:nvPr/>
          </p:nvSpPr>
          <p:spPr bwMode="auto">
            <a:xfrm>
              <a:off x="4722" y="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257"/>
            <p:cNvSpPr/>
            <p:nvPr/>
          </p:nvSpPr>
          <p:spPr bwMode="auto">
            <a:xfrm>
              <a:off x="4412" y="-27"/>
              <a:ext cx="310" cy="232"/>
            </a:xfrm>
            <a:custGeom>
              <a:gdLst>
                <a:gd name="T0" fmla="*/ 69 w 131"/>
                <a:gd name="T1" fmla="*/ 3 h 98"/>
                <a:gd name="T2" fmla="*/ 64 w 131"/>
                <a:gd name="T3" fmla="*/ 3 h 98"/>
                <a:gd name="T4" fmla="*/ 59 w 131"/>
                <a:gd name="T5" fmla="*/ 5 h 98"/>
                <a:gd name="T6" fmla="*/ 54 w 131"/>
                <a:gd name="T7" fmla="*/ 7 h 98"/>
                <a:gd name="T8" fmla="*/ 53 w 131"/>
                <a:gd name="T9" fmla="*/ 7 h 98"/>
                <a:gd name="T10" fmla="*/ 55 w 131"/>
                <a:gd name="T11" fmla="*/ 11 h 98"/>
                <a:gd name="T12" fmla="*/ 46 w 131"/>
                <a:gd name="T13" fmla="*/ 20 h 98"/>
                <a:gd name="T14" fmla="*/ 46 w 131"/>
                <a:gd name="T15" fmla="*/ 25 h 98"/>
                <a:gd name="T16" fmla="*/ 42 w 131"/>
                <a:gd name="T17" fmla="*/ 30 h 98"/>
                <a:gd name="T18" fmla="*/ 39 w 131"/>
                <a:gd name="T19" fmla="*/ 30 h 98"/>
                <a:gd name="T20" fmla="*/ 33 w 131"/>
                <a:gd name="T21" fmla="*/ 28 h 98"/>
                <a:gd name="T22" fmla="*/ 29 w 131"/>
                <a:gd name="T23" fmla="*/ 28 h 98"/>
                <a:gd name="T24" fmla="*/ 12 w 131"/>
                <a:gd name="T25" fmla="*/ 28 h 98"/>
                <a:gd name="T26" fmla="*/ 2 w 131"/>
                <a:gd name="T27" fmla="*/ 30 h 98"/>
                <a:gd name="T28" fmla="*/ 2 w 131"/>
                <a:gd name="T29" fmla="*/ 33 h 98"/>
                <a:gd name="T30" fmla="*/ 7 w 131"/>
                <a:gd name="T31" fmla="*/ 44 h 98"/>
                <a:gd name="T32" fmla="*/ 16 w 131"/>
                <a:gd name="T33" fmla="*/ 40 h 98"/>
                <a:gd name="T34" fmla="*/ 25 w 131"/>
                <a:gd name="T35" fmla="*/ 34 h 98"/>
                <a:gd name="T36" fmla="*/ 38 w 131"/>
                <a:gd name="T37" fmla="*/ 55 h 98"/>
                <a:gd name="T38" fmla="*/ 40 w 131"/>
                <a:gd name="T39" fmla="*/ 62 h 98"/>
                <a:gd name="T40" fmla="*/ 50 w 131"/>
                <a:gd name="T41" fmla="*/ 74 h 98"/>
                <a:gd name="T42" fmla="*/ 62 w 131"/>
                <a:gd name="T43" fmla="*/ 83 h 98"/>
                <a:gd name="T44" fmla="*/ 67 w 131"/>
                <a:gd name="T45" fmla="*/ 82 h 98"/>
                <a:gd name="T46" fmla="*/ 94 w 131"/>
                <a:gd name="T47" fmla="*/ 98 h 98"/>
                <a:gd name="T48" fmla="*/ 87 w 131"/>
                <a:gd name="T49" fmla="*/ 87 h 98"/>
                <a:gd name="T50" fmla="*/ 73 w 131"/>
                <a:gd name="T51" fmla="*/ 75 h 98"/>
                <a:gd name="T52" fmla="*/ 65 w 131"/>
                <a:gd name="T53" fmla="*/ 68 h 98"/>
                <a:gd name="T54" fmla="*/ 60 w 131"/>
                <a:gd name="T55" fmla="*/ 60 h 98"/>
                <a:gd name="T56" fmla="*/ 57 w 131"/>
                <a:gd name="T57" fmla="*/ 52 h 98"/>
                <a:gd name="T58" fmla="*/ 51 w 131"/>
                <a:gd name="T59" fmla="*/ 49 h 98"/>
                <a:gd name="T60" fmla="*/ 51 w 131"/>
                <a:gd name="T61" fmla="*/ 40 h 98"/>
                <a:gd name="T62" fmla="*/ 56 w 131"/>
                <a:gd name="T63" fmla="*/ 31 h 98"/>
                <a:gd name="T64" fmla="*/ 60 w 131"/>
                <a:gd name="T65" fmla="*/ 32 h 98"/>
                <a:gd name="T66" fmla="*/ 71 w 131"/>
                <a:gd name="T67" fmla="*/ 31 h 98"/>
                <a:gd name="T68" fmla="*/ 76 w 131"/>
                <a:gd name="T69" fmla="*/ 31 h 98"/>
                <a:gd name="T70" fmla="*/ 78 w 131"/>
                <a:gd name="T71" fmla="*/ 31 h 98"/>
                <a:gd name="T72" fmla="*/ 82 w 131"/>
                <a:gd name="T73" fmla="*/ 30 h 98"/>
                <a:gd name="T74" fmla="*/ 83 w 131"/>
                <a:gd name="T75" fmla="*/ 31 h 98"/>
                <a:gd name="T76" fmla="*/ 116 w 131"/>
                <a:gd name="T77" fmla="*/ 35 h 98"/>
                <a:gd name="T78" fmla="*/ 124 w 131"/>
                <a:gd name="T79" fmla="*/ 37 h 98"/>
                <a:gd name="T80" fmla="*/ 130 w 131"/>
                <a:gd name="T81" fmla="*/ 32 h 98"/>
                <a:gd name="T82" fmla="*/ 125 w 131"/>
                <a:gd name="T83" fmla="*/ 26 h 98"/>
                <a:gd name="T84" fmla="*/ 116 w 131"/>
                <a:gd name="T85" fmla="*/ 26 h 98"/>
                <a:gd name="T86" fmla="*/ 110 w 131"/>
                <a:gd name="T87" fmla="*/ 21 h 98"/>
                <a:gd name="T88" fmla="*/ 104 w 131"/>
                <a:gd name="T89" fmla="*/ 20 h 98"/>
                <a:gd name="T90" fmla="*/ 93 w 131"/>
                <a:gd name="T91" fmla="*/ 16 h 98"/>
                <a:gd name="T92" fmla="*/ 90 w 131"/>
                <a:gd name="T93" fmla="*/ 14 h 9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1" h="98">
                  <a:moveTo>
                    <a:pt x="71" y="0"/>
                  </a:moveTo>
                  <a:cubicBezTo>
                    <a:pt x="68" y="0"/>
                    <a:pt x="68" y="0"/>
                    <a:pt x="68" y="0"/>
                  </a:cubicBezTo>
                  <a:cubicBezTo>
                    <a:pt x="69" y="3"/>
                    <a:pt x="69" y="3"/>
                    <a:pt x="69" y="3"/>
                  </a:cubicBezTo>
                  <a:cubicBezTo>
                    <a:pt x="65" y="3"/>
                    <a:pt x="65" y="3"/>
                    <a:pt x="65" y="3"/>
                  </a:cubicBezTo>
                  <a:cubicBezTo>
                    <a:pt x="65" y="3"/>
                    <a:pt x="65" y="3"/>
                    <a:pt x="65" y="3"/>
                  </a:cubicBezTo>
                  <a:cubicBezTo>
                    <a:pt x="65" y="3"/>
                    <a:pt x="65" y="3"/>
                    <a:pt x="64" y="3"/>
                  </a:cubicBezTo>
                  <a:cubicBezTo>
                    <a:pt x="63" y="3"/>
                    <a:pt x="63" y="3"/>
                    <a:pt x="63" y="3"/>
                  </a:cubicBezTo>
                  <a:cubicBezTo>
                    <a:pt x="63" y="2"/>
                    <a:pt x="63" y="2"/>
                    <a:pt x="63" y="2"/>
                  </a:cubicBezTo>
                  <a:cubicBezTo>
                    <a:pt x="62" y="4"/>
                    <a:pt x="60" y="5"/>
                    <a:pt x="59" y="5"/>
                  </a:cubicBezTo>
                  <a:cubicBezTo>
                    <a:pt x="59" y="5"/>
                    <a:pt x="58" y="5"/>
                    <a:pt x="58" y="5"/>
                  </a:cubicBezTo>
                  <a:cubicBezTo>
                    <a:pt x="57" y="6"/>
                    <a:pt x="57" y="6"/>
                    <a:pt x="56" y="6"/>
                  </a:cubicBezTo>
                  <a:cubicBezTo>
                    <a:pt x="54" y="7"/>
                    <a:pt x="54" y="7"/>
                    <a:pt x="54" y="7"/>
                  </a:cubicBezTo>
                  <a:cubicBezTo>
                    <a:pt x="53" y="7"/>
                    <a:pt x="53" y="7"/>
                    <a:pt x="53" y="7"/>
                  </a:cubicBezTo>
                  <a:cubicBezTo>
                    <a:pt x="53" y="7"/>
                    <a:pt x="53" y="7"/>
                    <a:pt x="53" y="7"/>
                  </a:cubicBezTo>
                  <a:cubicBezTo>
                    <a:pt x="53" y="7"/>
                    <a:pt x="53" y="7"/>
                    <a:pt x="53" y="7"/>
                  </a:cubicBezTo>
                  <a:cubicBezTo>
                    <a:pt x="54" y="7"/>
                    <a:pt x="55" y="8"/>
                    <a:pt x="55" y="9"/>
                  </a:cubicBezTo>
                  <a:cubicBezTo>
                    <a:pt x="55" y="11"/>
                    <a:pt x="55" y="11"/>
                    <a:pt x="55" y="11"/>
                  </a:cubicBezTo>
                  <a:cubicBezTo>
                    <a:pt x="55" y="11"/>
                    <a:pt x="55" y="11"/>
                    <a:pt x="55" y="11"/>
                  </a:cubicBezTo>
                  <a:cubicBezTo>
                    <a:pt x="54" y="13"/>
                    <a:pt x="53" y="14"/>
                    <a:pt x="52" y="15"/>
                  </a:cubicBezTo>
                  <a:cubicBezTo>
                    <a:pt x="50" y="17"/>
                    <a:pt x="48" y="19"/>
                    <a:pt x="47" y="19"/>
                  </a:cubicBezTo>
                  <a:cubicBezTo>
                    <a:pt x="46" y="20"/>
                    <a:pt x="46" y="20"/>
                    <a:pt x="46" y="20"/>
                  </a:cubicBezTo>
                  <a:cubicBezTo>
                    <a:pt x="47" y="20"/>
                    <a:pt x="47" y="20"/>
                    <a:pt x="47" y="20"/>
                  </a:cubicBezTo>
                  <a:cubicBezTo>
                    <a:pt x="47" y="22"/>
                    <a:pt x="46" y="24"/>
                    <a:pt x="45" y="24"/>
                  </a:cubicBezTo>
                  <a:cubicBezTo>
                    <a:pt x="45" y="24"/>
                    <a:pt x="46" y="25"/>
                    <a:pt x="46" y="25"/>
                  </a:cubicBezTo>
                  <a:cubicBezTo>
                    <a:pt x="46" y="27"/>
                    <a:pt x="44" y="28"/>
                    <a:pt x="44" y="29"/>
                  </a:cubicBezTo>
                  <a:cubicBezTo>
                    <a:pt x="43" y="29"/>
                    <a:pt x="43" y="29"/>
                    <a:pt x="43" y="29"/>
                  </a:cubicBezTo>
                  <a:cubicBezTo>
                    <a:pt x="42" y="30"/>
                    <a:pt x="42" y="30"/>
                    <a:pt x="42" y="30"/>
                  </a:cubicBezTo>
                  <a:cubicBezTo>
                    <a:pt x="41" y="30"/>
                    <a:pt x="41" y="30"/>
                    <a:pt x="41" y="30"/>
                  </a:cubicBezTo>
                  <a:cubicBezTo>
                    <a:pt x="40" y="30"/>
                    <a:pt x="40" y="30"/>
                    <a:pt x="39" y="30"/>
                  </a:cubicBezTo>
                  <a:cubicBezTo>
                    <a:pt x="39" y="30"/>
                    <a:pt x="39" y="30"/>
                    <a:pt x="39" y="30"/>
                  </a:cubicBezTo>
                  <a:cubicBezTo>
                    <a:pt x="38" y="30"/>
                    <a:pt x="38" y="30"/>
                    <a:pt x="38" y="30"/>
                  </a:cubicBezTo>
                  <a:cubicBezTo>
                    <a:pt x="38" y="29"/>
                    <a:pt x="37" y="29"/>
                    <a:pt x="36" y="29"/>
                  </a:cubicBezTo>
                  <a:cubicBezTo>
                    <a:pt x="35" y="28"/>
                    <a:pt x="34" y="28"/>
                    <a:pt x="33" y="28"/>
                  </a:cubicBezTo>
                  <a:cubicBezTo>
                    <a:pt x="33" y="28"/>
                    <a:pt x="32" y="28"/>
                    <a:pt x="31" y="28"/>
                  </a:cubicBezTo>
                  <a:cubicBezTo>
                    <a:pt x="31" y="28"/>
                    <a:pt x="31" y="28"/>
                    <a:pt x="31" y="28"/>
                  </a:cubicBezTo>
                  <a:cubicBezTo>
                    <a:pt x="30" y="28"/>
                    <a:pt x="29" y="28"/>
                    <a:pt x="29" y="28"/>
                  </a:cubicBezTo>
                  <a:cubicBezTo>
                    <a:pt x="27" y="27"/>
                    <a:pt x="26" y="26"/>
                    <a:pt x="25" y="25"/>
                  </a:cubicBezTo>
                  <a:cubicBezTo>
                    <a:pt x="23" y="27"/>
                    <a:pt x="19" y="29"/>
                    <a:pt x="15" y="29"/>
                  </a:cubicBezTo>
                  <a:cubicBezTo>
                    <a:pt x="14" y="29"/>
                    <a:pt x="13" y="29"/>
                    <a:pt x="12" y="28"/>
                  </a:cubicBezTo>
                  <a:cubicBezTo>
                    <a:pt x="12" y="28"/>
                    <a:pt x="11" y="28"/>
                    <a:pt x="11" y="28"/>
                  </a:cubicBezTo>
                  <a:cubicBezTo>
                    <a:pt x="9" y="28"/>
                    <a:pt x="5" y="29"/>
                    <a:pt x="3" y="29"/>
                  </a:cubicBezTo>
                  <a:cubicBezTo>
                    <a:pt x="2" y="30"/>
                    <a:pt x="2" y="30"/>
                    <a:pt x="2" y="30"/>
                  </a:cubicBezTo>
                  <a:cubicBezTo>
                    <a:pt x="1" y="28"/>
                    <a:pt x="1" y="28"/>
                    <a:pt x="1" y="28"/>
                  </a:cubicBezTo>
                  <a:cubicBezTo>
                    <a:pt x="1" y="28"/>
                    <a:pt x="1" y="28"/>
                    <a:pt x="1" y="28"/>
                  </a:cubicBezTo>
                  <a:cubicBezTo>
                    <a:pt x="0" y="30"/>
                    <a:pt x="2" y="32"/>
                    <a:pt x="2" y="33"/>
                  </a:cubicBezTo>
                  <a:cubicBezTo>
                    <a:pt x="2" y="35"/>
                    <a:pt x="2" y="36"/>
                    <a:pt x="3" y="38"/>
                  </a:cubicBezTo>
                  <a:cubicBezTo>
                    <a:pt x="4" y="40"/>
                    <a:pt x="7" y="41"/>
                    <a:pt x="7" y="44"/>
                  </a:cubicBezTo>
                  <a:cubicBezTo>
                    <a:pt x="7" y="44"/>
                    <a:pt x="7" y="44"/>
                    <a:pt x="7" y="44"/>
                  </a:cubicBezTo>
                  <a:cubicBezTo>
                    <a:pt x="8" y="45"/>
                    <a:pt x="9" y="46"/>
                    <a:pt x="9" y="47"/>
                  </a:cubicBezTo>
                  <a:cubicBezTo>
                    <a:pt x="10" y="44"/>
                    <a:pt x="11" y="40"/>
                    <a:pt x="14" y="40"/>
                  </a:cubicBezTo>
                  <a:cubicBezTo>
                    <a:pt x="14" y="40"/>
                    <a:pt x="15" y="40"/>
                    <a:pt x="16" y="40"/>
                  </a:cubicBezTo>
                  <a:cubicBezTo>
                    <a:pt x="16" y="38"/>
                    <a:pt x="17" y="33"/>
                    <a:pt x="18" y="31"/>
                  </a:cubicBezTo>
                  <a:cubicBezTo>
                    <a:pt x="19" y="31"/>
                    <a:pt x="19" y="31"/>
                    <a:pt x="20" y="31"/>
                  </a:cubicBezTo>
                  <a:cubicBezTo>
                    <a:pt x="21" y="31"/>
                    <a:pt x="23" y="32"/>
                    <a:pt x="25" y="34"/>
                  </a:cubicBezTo>
                  <a:cubicBezTo>
                    <a:pt x="25" y="34"/>
                    <a:pt x="25" y="34"/>
                    <a:pt x="25" y="34"/>
                  </a:cubicBezTo>
                  <a:cubicBezTo>
                    <a:pt x="26" y="34"/>
                    <a:pt x="33" y="39"/>
                    <a:pt x="33" y="40"/>
                  </a:cubicBezTo>
                  <a:cubicBezTo>
                    <a:pt x="34" y="46"/>
                    <a:pt x="34" y="51"/>
                    <a:pt x="38" y="55"/>
                  </a:cubicBezTo>
                  <a:cubicBezTo>
                    <a:pt x="42" y="59"/>
                    <a:pt x="47" y="60"/>
                    <a:pt x="49" y="65"/>
                  </a:cubicBezTo>
                  <a:cubicBezTo>
                    <a:pt x="49" y="65"/>
                    <a:pt x="43" y="60"/>
                    <a:pt x="41" y="60"/>
                  </a:cubicBezTo>
                  <a:cubicBezTo>
                    <a:pt x="40" y="60"/>
                    <a:pt x="40" y="61"/>
                    <a:pt x="40" y="62"/>
                  </a:cubicBezTo>
                  <a:cubicBezTo>
                    <a:pt x="39" y="61"/>
                    <a:pt x="39" y="61"/>
                    <a:pt x="39" y="61"/>
                  </a:cubicBezTo>
                  <a:cubicBezTo>
                    <a:pt x="38" y="61"/>
                    <a:pt x="39" y="64"/>
                    <a:pt x="40" y="65"/>
                  </a:cubicBezTo>
                  <a:cubicBezTo>
                    <a:pt x="43" y="68"/>
                    <a:pt x="47" y="72"/>
                    <a:pt x="50" y="74"/>
                  </a:cubicBezTo>
                  <a:cubicBezTo>
                    <a:pt x="52" y="75"/>
                    <a:pt x="57" y="77"/>
                    <a:pt x="58" y="79"/>
                  </a:cubicBezTo>
                  <a:cubicBezTo>
                    <a:pt x="59" y="82"/>
                    <a:pt x="58" y="83"/>
                    <a:pt x="60" y="83"/>
                  </a:cubicBezTo>
                  <a:cubicBezTo>
                    <a:pt x="61" y="83"/>
                    <a:pt x="61" y="83"/>
                    <a:pt x="62" y="83"/>
                  </a:cubicBezTo>
                  <a:cubicBezTo>
                    <a:pt x="63" y="83"/>
                    <a:pt x="64" y="83"/>
                    <a:pt x="65" y="83"/>
                  </a:cubicBezTo>
                  <a:cubicBezTo>
                    <a:pt x="66" y="83"/>
                    <a:pt x="66" y="82"/>
                    <a:pt x="67" y="82"/>
                  </a:cubicBezTo>
                  <a:cubicBezTo>
                    <a:pt x="67" y="82"/>
                    <a:pt x="67" y="82"/>
                    <a:pt x="67" y="82"/>
                  </a:cubicBezTo>
                  <a:cubicBezTo>
                    <a:pt x="72" y="82"/>
                    <a:pt x="76" y="86"/>
                    <a:pt x="79" y="88"/>
                  </a:cubicBezTo>
                  <a:cubicBezTo>
                    <a:pt x="83" y="91"/>
                    <a:pt x="87" y="93"/>
                    <a:pt x="90" y="95"/>
                  </a:cubicBezTo>
                  <a:cubicBezTo>
                    <a:pt x="91" y="96"/>
                    <a:pt x="92" y="97"/>
                    <a:pt x="94" y="98"/>
                  </a:cubicBezTo>
                  <a:cubicBezTo>
                    <a:pt x="93" y="97"/>
                    <a:pt x="93" y="97"/>
                    <a:pt x="93" y="97"/>
                  </a:cubicBezTo>
                  <a:cubicBezTo>
                    <a:pt x="92" y="97"/>
                    <a:pt x="91" y="96"/>
                    <a:pt x="90" y="94"/>
                  </a:cubicBezTo>
                  <a:cubicBezTo>
                    <a:pt x="87" y="87"/>
                    <a:pt x="87" y="87"/>
                    <a:pt x="87" y="87"/>
                  </a:cubicBezTo>
                  <a:cubicBezTo>
                    <a:pt x="86" y="86"/>
                    <a:pt x="84" y="84"/>
                    <a:pt x="82" y="83"/>
                  </a:cubicBezTo>
                  <a:cubicBezTo>
                    <a:pt x="82" y="82"/>
                    <a:pt x="81" y="82"/>
                    <a:pt x="80" y="81"/>
                  </a:cubicBezTo>
                  <a:cubicBezTo>
                    <a:pt x="78" y="79"/>
                    <a:pt x="75" y="77"/>
                    <a:pt x="73" y="75"/>
                  </a:cubicBezTo>
                  <a:cubicBezTo>
                    <a:pt x="72" y="74"/>
                    <a:pt x="72" y="74"/>
                    <a:pt x="72" y="74"/>
                  </a:cubicBezTo>
                  <a:cubicBezTo>
                    <a:pt x="69" y="72"/>
                    <a:pt x="68" y="71"/>
                    <a:pt x="66" y="69"/>
                  </a:cubicBezTo>
                  <a:cubicBezTo>
                    <a:pt x="65" y="68"/>
                    <a:pt x="65" y="68"/>
                    <a:pt x="65" y="68"/>
                  </a:cubicBezTo>
                  <a:cubicBezTo>
                    <a:pt x="63" y="66"/>
                    <a:pt x="62" y="63"/>
                    <a:pt x="61" y="61"/>
                  </a:cubicBezTo>
                  <a:cubicBezTo>
                    <a:pt x="61" y="61"/>
                    <a:pt x="61" y="61"/>
                    <a:pt x="61" y="61"/>
                  </a:cubicBezTo>
                  <a:cubicBezTo>
                    <a:pt x="60" y="61"/>
                    <a:pt x="60" y="60"/>
                    <a:pt x="60" y="60"/>
                  </a:cubicBezTo>
                  <a:cubicBezTo>
                    <a:pt x="59" y="57"/>
                    <a:pt x="59" y="57"/>
                    <a:pt x="59" y="57"/>
                  </a:cubicBezTo>
                  <a:cubicBezTo>
                    <a:pt x="59" y="56"/>
                    <a:pt x="58" y="54"/>
                    <a:pt x="57" y="53"/>
                  </a:cubicBezTo>
                  <a:cubicBezTo>
                    <a:pt x="57" y="52"/>
                    <a:pt x="57" y="52"/>
                    <a:pt x="57" y="52"/>
                  </a:cubicBezTo>
                  <a:cubicBezTo>
                    <a:pt x="56" y="52"/>
                    <a:pt x="56" y="52"/>
                    <a:pt x="56" y="52"/>
                  </a:cubicBezTo>
                  <a:cubicBezTo>
                    <a:pt x="55" y="51"/>
                    <a:pt x="54" y="51"/>
                    <a:pt x="54" y="50"/>
                  </a:cubicBezTo>
                  <a:cubicBezTo>
                    <a:pt x="53" y="50"/>
                    <a:pt x="52" y="50"/>
                    <a:pt x="51" y="49"/>
                  </a:cubicBezTo>
                  <a:cubicBezTo>
                    <a:pt x="49" y="46"/>
                    <a:pt x="50" y="43"/>
                    <a:pt x="50" y="42"/>
                  </a:cubicBezTo>
                  <a:cubicBezTo>
                    <a:pt x="50" y="42"/>
                    <a:pt x="50" y="41"/>
                    <a:pt x="51" y="40"/>
                  </a:cubicBezTo>
                  <a:cubicBezTo>
                    <a:pt x="51" y="40"/>
                    <a:pt x="51" y="40"/>
                    <a:pt x="51" y="40"/>
                  </a:cubicBezTo>
                  <a:cubicBezTo>
                    <a:pt x="51" y="39"/>
                    <a:pt x="51" y="38"/>
                    <a:pt x="51" y="37"/>
                  </a:cubicBezTo>
                  <a:cubicBezTo>
                    <a:pt x="51" y="34"/>
                    <a:pt x="53" y="32"/>
                    <a:pt x="54" y="32"/>
                  </a:cubicBezTo>
                  <a:cubicBezTo>
                    <a:pt x="55" y="31"/>
                    <a:pt x="55" y="31"/>
                    <a:pt x="56" y="31"/>
                  </a:cubicBezTo>
                  <a:cubicBezTo>
                    <a:pt x="56" y="31"/>
                    <a:pt x="56" y="31"/>
                    <a:pt x="56" y="31"/>
                  </a:cubicBezTo>
                  <a:cubicBezTo>
                    <a:pt x="57" y="31"/>
                    <a:pt x="58" y="31"/>
                    <a:pt x="59" y="31"/>
                  </a:cubicBezTo>
                  <a:cubicBezTo>
                    <a:pt x="59" y="31"/>
                    <a:pt x="60" y="31"/>
                    <a:pt x="60" y="32"/>
                  </a:cubicBezTo>
                  <a:cubicBezTo>
                    <a:pt x="63" y="32"/>
                    <a:pt x="65" y="34"/>
                    <a:pt x="66" y="36"/>
                  </a:cubicBezTo>
                  <a:cubicBezTo>
                    <a:pt x="67" y="35"/>
                    <a:pt x="67" y="35"/>
                    <a:pt x="67" y="35"/>
                  </a:cubicBezTo>
                  <a:cubicBezTo>
                    <a:pt x="68" y="33"/>
                    <a:pt x="69" y="32"/>
                    <a:pt x="71" y="31"/>
                  </a:cubicBezTo>
                  <a:cubicBezTo>
                    <a:pt x="72" y="31"/>
                    <a:pt x="72" y="31"/>
                    <a:pt x="72" y="31"/>
                  </a:cubicBezTo>
                  <a:cubicBezTo>
                    <a:pt x="73" y="31"/>
                    <a:pt x="73" y="31"/>
                    <a:pt x="74" y="31"/>
                  </a:cubicBezTo>
                  <a:cubicBezTo>
                    <a:pt x="74" y="31"/>
                    <a:pt x="75" y="31"/>
                    <a:pt x="76" y="31"/>
                  </a:cubicBezTo>
                  <a:cubicBezTo>
                    <a:pt x="76" y="31"/>
                    <a:pt x="76" y="31"/>
                    <a:pt x="76" y="31"/>
                  </a:cubicBezTo>
                  <a:cubicBezTo>
                    <a:pt x="77" y="31"/>
                    <a:pt x="77" y="31"/>
                    <a:pt x="77" y="31"/>
                  </a:cubicBezTo>
                  <a:cubicBezTo>
                    <a:pt x="77" y="31"/>
                    <a:pt x="78" y="31"/>
                    <a:pt x="78" y="31"/>
                  </a:cubicBezTo>
                  <a:cubicBezTo>
                    <a:pt x="78" y="31"/>
                    <a:pt x="78" y="31"/>
                    <a:pt x="78" y="31"/>
                  </a:cubicBezTo>
                  <a:cubicBezTo>
                    <a:pt x="79" y="28"/>
                    <a:pt x="79" y="28"/>
                    <a:pt x="79" y="28"/>
                  </a:cubicBezTo>
                  <a:cubicBezTo>
                    <a:pt x="82" y="30"/>
                    <a:pt x="82" y="30"/>
                    <a:pt x="82" y="30"/>
                  </a:cubicBezTo>
                  <a:cubicBezTo>
                    <a:pt x="82" y="30"/>
                    <a:pt x="82" y="30"/>
                    <a:pt x="82" y="30"/>
                  </a:cubicBezTo>
                  <a:cubicBezTo>
                    <a:pt x="83" y="30"/>
                    <a:pt x="83" y="30"/>
                    <a:pt x="83" y="30"/>
                  </a:cubicBezTo>
                  <a:cubicBezTo>
                    <a:pt x="83" y="31"/>
                    <a:pt x="83" y="31"/>
                    <a:pt x="83" y="31"/>
                  </a:cubicBezTo>
                  <a:cubicBezTo>
                    <a:pt x="85" y="32"/>
                    <a:pt x="88" y="32"/>
                    <a:pt x="90" y="33"/>
                  </a:cubicBezTo>
                  <a:cubicBezTo>
                    <a:pt x="106" y="35"/>
                    <a:pt x="106" y="35"/>
                    <a:pt x="106" y="35"/>
                  </a:cubicBezTo>
                  <a:cubicBezTo>
                    <a:pt x="110" y="35"/>
                    <a:pt x="113" y="35"/>
                    <a:pt x="116" y="35"/>
                  </a:cubicBezTo>
                  <a:cubicBezTo>
                    <a:pt x="117" y="35"/>
                    <a:pt x="118" y="35"/>
                    <a:pt x="118" y="35"/>
                  </a:cubicBezTo>
                  <a:cubicBezTo>
                    <a:pt x="120" y="35"/>
                    <a:pt x="122" y="36"/>
                    <a:pt x="123" y="37"/>
                  </a:cubicBezTo>
                  <a:cubicBezTo>
                    <a:pt x="123" y="37"/>
                    <a:pt x="124" y="37"/>
                    <a:pt x="124" y="37"/>
                  </a:cubicBezTo>
                  <a:cubicBezTo>
                    <a:pt x="128" y="37"/>
                    <a:pt x="128" y="37"/>
                    <a:pt x="128" y="37"/>
                  </a:cubicBezTo>
                  <a:cubicBezTo>
                    <a:pt x="128" y="35"/>
                    <a:pt x="129" y="34"/>
                    <a:pt x="130" y="33"/>
                  </a:cubicBezTo>
                  <a:cubicBezTo>
                    <a:pt x="130" y="32"/>
                    <a:pt x="130" y="32"/>
                    <a:pt x="130" y="32"/>
                  </a:cubicBezTo>
                  <a:cubicBezTo>
                    <a:pt x="131" y="32"/>
                    <a:pt x="131" y="32"/>
                    <a:pt x="131" y="32"/>
                  </a:cubicBezTo>
                  <a:cubicBezTo>
                    <a:pt x="123" y="27"/>
                    <a:pt x="123" y="27"/>
                    <a:pt x="123" y="27"/>
                  </a:cubicBezTo>
                  <a:cubicBezTo>
                    <a:pt x="125" y="26"/>
                    <a:pt x="125" y="26"/>
                    <a:pt x="125" y="26"/>
                  </a:cubicBezTo>
                  <a:cubicBezTo>
                    <a:pt x="124" y="24"/>
                    <a:pt x="124" y="23"/>
                    <a:pt x="124" y="22"/>
                  </a:cubicBezTo>
                  <a:cubicBezTo>
                    <a:pt x="125" y="19"/>
                    <a:pt x="125" y="19"/>
                    <a:pt x="125" y="19"/>
                  </a:cubicBezTo>
                  <a:cubicBezTo>
                    <a:pt x="116" y="26"/>
                    <a:pt x="116" y="26"/>
                    <a:pt x="116" y="26"/>
                  </a:cubicBezTo>
                  <a:cubicBezTo>
                    <a:pt x="120" y="19"/>
                    <a:pt x="120" y="19"/>
                    <a:pt x="120" y="19"/>
                  </a:cubicBezTo>
                  <a:cubicBezTo>
                    <a:pt x="118" y="20"/>
                    <a:pt x="115" y="21"/>
                    <a:pt x="112" y="21"/>
                  </a:cubicBezTo>
                  <a:cubicBezTo>
                    <a:pt x="111" y="21"/>
                    <a:pt x="111" y="21"/>
                    <a:pt x="110" y="21"/>
                  </a:cubicBezTo>
                  <a:cubicBezTo>
                    <a:pt x="109" y="21"/>
                    <a:pt x="108" y="21"/>
                    <a:pt x="107" y="20"/>
                  </a:cubicBezTo>
                  <a:cubicBezTo>
                    <a:pt x="106" y="20"/>
                    <a:pt x="106" y="20"/>
                    <a:pt x="106" y="20"/>
                  </a:cubicBezTo>
                  <a:cubicBezTo>
                    <a:pt x="105" y="20"/>
                    <a:pt x="105" y="20"/>
                    <a:pt x="104" y="20"/>
                  </a:cubicBezTo>
                  <a:cubicBezTo>
                    <a:pt x="100" y="20"/>
                    <a:pt x="96" y="18"/>
                    <a:pt x="93" y="16"/>
                  </a:cubicBezTo>
                  <a:cubicBezTo>
                    <a:pt x="94" y="15"/>
                    <a:pt x="94" y="15"/>
                    <a:pt x="94" y="15"/>
                  </a:cubicBezTo>
                  <a:cubicBezTo>
                    <a:pt x="93" y="16"/>
                    <a:pt x="93" y="16"/>
                    <a:pt x="93" y="16"/>
                  </a:cubicBezTo>
                  <a:cubicBezTo>
                    <a:pt x="92" y="16"/>
                    <a:pt x="92" y="16"/>
                    <a:pt x="92" y="16"/>
                  </a:cubicBezTo>
                  <a:cubicBezTo>
                    <a:pt x="91" y="15"/>
                    <a:pt x="91" y="15"/>
                    <a:pt x="91" y="15"/>
                  </a:cubicBezTo>
                  <a:cubicBezTo>
                    <a:pt x="91" y="15"/>
                    <a:pt x="90" y="15"/>
                    <a:pt x="90" y="14"/>
                  </a:cubicBezTo>
                  <a:cubicBezTo>
                    <a:pt x="86" y="13"/>
                    <a:pt x="80" y="9"/>
                    <a:pt x="77" y="4"/>
                  </a:cubicBezTo>
                  <a:cubicBezTo>
                    <a:pt x="75" y="2"/>
                    <a:pt x="75" y="1"/>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258"/>
            <p:cNvSpPr/>
            <p:nvPr/>
          </p:nvSpPr>
          <p:spPr bwMode="auto">
            <a:xfrm flipH="1">
              <a:off x="4696" y="70"/>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59"/>
            <p:cNvSpPr/>
            <p:nvPr/>
          </p:nvSpPr>
          <p:spPr bwMode="auto">
            <a:xfrm flipH="1">
              <a:off x="4696" y="70"/>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260"/>
            <p:cNvSpPr/>
            <p:nvPr/>
          </p:nvSpPr>
          <p:spPr bwMode="auto">
            <a:xfrm>
              <a:off x="4542" y="58"/>
              <a:ext cx="196" cy="180"/>
            </a:xfrm>
            <a:custGeom>
              <a:gdLst>
                <a:gd name="T0" fmla="*/ 24 w 83"/>
                <a:gd name="T1" fmla="*/ 0 h 76"/>
                <a:gd name="T2" fmla="*/ 20 w 83"/>
                <a:gd name="T3" fmla="*/ 0 h 76"/>
                <a:gd name="T4" fmla="*/ 18 w 83"/>
                <a:gd name="T5" fmla="*/ 0 h 76"/>
                <a:gd name="T6" fmla="*/ 15 w 83"/>
                <a:gd name="T7" fmla="*/ 4 h 76"/>
                <a:gd name="T8" fmla="*/ 13 w 83"/>
                <a:gd name="T9" fmla="*/ 9 h 76"/>
                <a:gd name="T10" fmla="*/ 8 w 83"/>
                <a:gd name="T11" fmla="*/ 5 h 76"/>
                <a:gd name="T12" fmla="*/ 4 w 83"/>
                <a:gd name="T13" fmla="*/ 1 h 76"/>
                <a:gd name="T14" fmla="*/ 2 w 83"/>
                <a:gd name="T15" fmla="*/ 1 h 76"/>
                <a:gd name="T16" fmla="*/ 1 w 83"/>
                <a:gd name="T17" fmla="*/ 5 h 76"/>
                <a:gd name="T18" fmla="*/ 1 w 83"/>
                <a:gd name="T19" fmla="*/ 9 h 76"/>
                <a:gd name="T20" fmla="*/ 3 w 83"/>
                <a:gd name="T21" fmla="*/ 10 h 76"/>
                <a:gd name="T22" fmla="*/ 7 w 83"/>
                <a:gd name="T23" fmla="*/ 13 h 76"/>
                <a:gd name="T24" fmla="*/ 10 w 83"/>
                <a:gd name="T25" fmla="*/ 20 h 76"/>
                <a:gd name="T26" fmla="*/ 11 w 83"/>
                <a:gd name="T27" fmla="*/ 22 h 76"/>
                <a:gd name="T28" fmla="*/ 14 w 83"/>
                <a:gd name="T29" fmla="*/ 28 h 76"/>
                <a:gd name="T30" fmla="*/ 20 w 83"/>
                <a:gd name="T31" fmla="*/ 33 h 76"/>
                <a:gd name="T32" fmla="*/ 29 w 83"/>
                <a:gd name="T33" fmla="*/ 41 h 76"/>
                <a:gd name="T34" fmla="*/ 31 w 83"/>
                <a:gd name="T35" fmla="*/ 42 h 76"/>
                <a:gd name="T36" fmla="*/ 41 w 83"/>
                <a:gd name="T37" fmla="*/ 56 h 76"/>
                <a:gd name="T38" fmla="*/ 44 w 83"/>
                <a:gd name="T39" fmla="*/ 58 h 76"/>
                <a:gd name="T40" fmla="*/ 46 w 83"/>
                <a:gd name="T41" fmla="*/ 62 h 76"/>
                <a:gd name="T42" fmla="*/ 44 w 83"/>
                <a:gd name="T43" fmla="*/ 66 h 76"/>
                <a:gd name="T44" fmla="*/ 44 w 83"/>
                <a:gd name="T45" fmla="*/ 66 h 76"/>
                <a:gd name="T46" fmla="*/ 41 w 83"/>
                <a:gd name="T47" fmla="*/ 66 h 76"/>
                <a:gd name="T48" fmla="*/ 59 w 83"/>
                <a:gd name="T49" fmla="*/ 76 h 76"/>
                <a:gd name="T50" fmla="*/ 61 w 83"/>
                <a:gd name="T51" fmla="*/ 71 h 76"/>
                <a:gd name="T52" fmla="*/ 61 w 83"/>
                <a:gd name="T53" fmla="*/ 70 h 76"/>
                <a:gd name="T54" fmla="*/ 60 w 83"/>
                <a:gd name="T55" fmla="*/ 64 h 76"/>
                <a:gd name="T56" fmla="*/ 67 w 83"/>
                <a:gd name="T57" fmla="*/ 51 h 76"/>
                <a:gd name="T58" fmla="*/ 71 w 83"/>
                <a:gd name="T59" fmla="*/ 49 h 76"/>
                <a:gd name="T60" fmla="*/ 71 w 83"/>
                <a:gd name="T61" fmla="*/ 45 h 76"/>
                <a:gd name="T62" fmla="*/ 75 w 83"/>
                <a:gd name="T63" fmla="*/ 43 h 76"/>
                <a:gd name="T64" fmla="*/ 77 w 83"/>
                <a:gd name="T65" fmla="*/ 44 h 76"/>
                <a:gd name="T66" fmla="*/ 78 w 83"/>
                <a:gd name="T67" fmla="*/ 44 h 76"/>
                <a:gd name="T68" fmla="*/ 79 w 83"/>
                <a:gd name="T69" fmla="*/ 44 h 76"/>
                <a:gd name="T70" fmla="*/ 83 w 83"/>
                <a:gd name="T71" fmla="*/ 41 h 76"/>
                <a:gd name="T72" fmla="*/ 81 w 83"/>
                <a:gd name="T73" fmla="*/ 39 h 76"/>
                <a:gd name="T74" fmla="*/ 74 w 83"/>
                <a:gd name="T75" fmla="*/ 28 h 76"/>
                <a:gd name="T76" fmla="*/ 82 w 83"/>
                <a:gd name="T77" fmla="*/ 31 h 76"/>
                <a:gd name="T78" fmla="*/ 81 w 83"/>
                <a:gd name="T79" fmla="*/ 28 h 76"/>
                <a:gd name="T80" fmla="*/ 79 w 83"/>
                <a:gd name="T81" fmla="*/ 28 h 76"/>
                <a:gd name="T82" fmla="*/ 76 w 83"/>
                <a:gd name="T83" fmla="*/ 26 h 76"/>
                <a:gd name="T84" fmla="*/ 76 w 83"/>
                <a:gd name="T85" fmla="*/ 15 h 76"/>
                <a:gd name="T86" fmla="*/ 78 w 83"/>
                <a:gd name="T87" fmla="*/ 11 h 76"/>
                <a:gd name="T88" fmla="*/ 77 w 83"/>
                <a:gd name="T89" fmla="*/ 11 h 76"/>
                <a:gd name="T90" fmla="*/ 77 w 83"/>
                <a:gd name="T91" fmla="*/ 11 h 76"/>
                <a:gd name="T92" fmla="*/ 76 w 83"/>
                <a:gd name="T93" fmla="*/ 11 h 76"/>
                <a:gd name="T94" fmla="*/ 66 w 83"/>
                <a:gd name="T95" fmla="*/ 7 h 76"/>
                <a:gd name="T96" fmla="*/ 65 w 83"/>
                <a:gd name="T97" fmla="*/ 5 h 76"/>
                <a:gd name="T98" fmla="*/ 63 w 83"/>
                <a:gd name="T99" fmla="*/ 5 h 76"/>
                <a:gd name="T100" fmla="*/ 62 w 83"/>
                <a:gd name="T101" fmla="*/ 5 h 76"/>
                <a:gd name="T102" fmla="*/ 34 w 83"/>
                <a:gd name="T103" fmla="*/ 3 h 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 h="76">
                  <a:moveTo>
                    <a:pt x="26" y="0"/>
                  </a:moveTo>
                  <a:cubicBezTo>
                    <a:pt x="25" y="0"/>
                    <a:pt x="25" y="0"/>
                    <a:pt x="24" y="0"/>
                  </a:cubicBezTo>
                  <a:cubicBezTo>
                    <a:pt x="23" y="1"/>
                    <a:pt x="23" y="1"/>
                    <a:pt x="22" y="1"/>
                  </a:cubicBezTo>
                  <a:cubicBezTo>
                    <a:pt x="21" y="1"/>
                    <a:pt x="21" y="1"/>
                    <a:pt x="20" y="0"/>
                  </a:cubicBezTo>
                  <a:cubicBezTo>
                    <a:pt x="20" y="0"/>
                    <a:pt x="19" y="0"/>
                    <a:pt x="19" y="0"/>
                  </a:cubicBezTo>
                  <a:cubicBezTo>
                    <a:pt x="19" y="0"/>
                    <a:pt x="18" y="0"/>
                    <a:pt x="18" y="0"/>
                  </a:cubicBezTo>
                  <a:cubicBezTo>
                    <a:pt x="18" y="1"/>
                    <a:pt x="17" y="1"/>
                    <a:pt x="17" y="2"/>
                  </a:cubicBezTo>
                  <a:cubicBezTo>
                    <a:pt x="16" y="2"/>
                    <a:pt x="16" y="3"/>
                    <a:pt x="15" y="4"/>
                  </a:cubicBezTo>
                  <a:cubicBezTo>
                    <a:pt x="15" y="5"/>
                    <a:pt x="15" y="5"/>
                    <a:pt x="14" y="6"/>
                  </a:cubicBezTo>
                  <a:cubicBezTo>
                    <a:pt x="13" y="9"/>
                    <a:pt x="13" y="9"/>
                    <a:pt x="13" y="9"/>
                  </a:cubicBezTo>
                  <a:cubicBezTo>
                    <a:pt x="10" y="6"/>
                    <a:pt x="10" y="6"/>
                    <a:pt x="10" y="6"/>
                  </a:cubicBezTo>
                  <a:cubicBezTo>
                    <a:pt x="10" y="6"/>
                    <a:pt x="9" y="5"/>
                    <a:pt x="8" y="5"/>
                  </a:cubicBezTo>
                  <a:cubicBezTo>
                    <a:pt x="8" y="5"/>
                    <a:pt x="8" y="5"/>
                    <a:pt x="8" y="5"/>
                  </a:cubicBezTo>
                  <a:cubicBezTo>
                    <a:pt x="7" y="3"/>
                    <a:pt x="5" y="2"/>
                    <a:pt x="4" y="1"/>
                  </a:cubicBezTo>
                  <a:cubicBezTo>
                    <a:pt x="3" y="1"/>
                    <a:pt x="3" y="1"/>
                    <a:pt x="3" y="1"/>
                  </a:cubicBezTo>
                  <a:cubicBezTo>
                    <a:pt x="2" y="1"/>
                    <a:pt x="2" y="1"/>
                    <a:pt x="2" y="1"/>
                  </a:cubicBezTo>
                  <a:cubicBezTo>
                    <a:pt x="2" y="1"/>
                    <a:pt x="2" y="1"/>
                    <a:pt x="2" y="1"/>
                  </a:cubicBezTo>
                  <a:cubicBezTo>
                    <a:pt x="2" y="2"/>
                    <a:pt x="1" y="4"/>
                    <a:pt x="1" y="5"/>
                  </a:cubicBezTo>
                  <a:cubicBezTo>
                    <a:pt x="1" y="6"/>
                    <a:pt x="1" y="6"/>
                    <a:pt x="1" y="7"/>
                  </a:cubicBezTo>
                  <a:cubicBezTo>
                    <a:pt x="0" y="9"/>
                    <a:pt x="1" y="9"/>
                    <a:pt x="1" y="9"/>
                  </a:cubicBezTo>
                  <a:cubicBezTo>
                    <a:pt x="1" y="9"/>
                    <a:pt x="1" y="9"/>
                    <a:pt x="1" y="9"/>
                  </a:cubicBezTo>
                  <a:cubicBezTo>
                    <a:pt x="2" y="10"/>
                    <a:pt x="3" y="10"/>
                    <a:pt x="3" y="10"/>
                  </a:cubicBezTo>
                  <a:cubicBezTo>
                    <a:pt x="4" y="11"/>
                    <a:pt x="5" y="11"/>
                    <a:pt x="6" y="12"/>
                  </a:cubicBezTo>
                  <a:cubicBezTo>
                    <a:pt x="6" y="12"/>
                    <a:pt x="6" y="13"/>
                    <a:pt x="7" y="13"/>
                  </a:cubicBezTo>
                  <a:cubicBezTo>
                    <a:pt x="7" y="13"/>
                    <a:pt x="7" y="14"/>
                    <a:pt x="8" y="14"/>
                  </a:cubicBezTo>
                  <a:cubicBezTo>
                    <a:pt x="8" y="16"/>
                    <a:pt x="9" y="18"/>
                    <a:pt x="10" y="20"/>
                  </a:cubicBezTo>
                  <a:cubicBezTo>
                    <a:pt x="10" y="20"/>
                    <a:pt x="10" y="21"/>
                    <a:pt x="10" y="21"/>
                  </a:cubicBezTo>
                  <a:cubicBezTo>
                    <a:pt x="10" y="22"/>
                    <a:pt x="11" y="22"/>
                    <a:pt x="11" y="22"/>
                  </a:cubicBezTo>
                  <a:cubicBezTo>
                    <a:pt x="11" y="23"/>
                    <a:pt x="11" y="23"/>
                    <a:pt x="11" y="23"/>
                  </a:cubicBezTo>
                  <a:cubicBezTo>
                    <a:pt x="12" y="25"/>
                    <a:pt x="13" y="27"/>
                    <a:pt x="14" y="28"/>
                  </a:cubicBezTo>
                  <a:cubicBezTo>
                    <a:pt x="15" y="29"/>
                    <a:pt x="15" y="29"/>
                    <a:pt x="15" y="29"/>
                  </a:cubicBezTo>
                  <a:cubicBezTo>
                    <a:pt x="17" y="30"/>
                    <a:pt x="18" y="32"/>
                    <a:pt x="20" y="33"/>
                  </a:cubicBezTo>
                  <a:cubicBezTo>
                    <a:pt x="21" y="34"/>
                    <a:pt x="21" y="34"/>
                    <a:pt x="21" y="34"/>
                  </a:cubicBezTo>
                  <a:cubicBezTo>
                    <a:pt x="24" y="36"/>
                    <a:pt x="26" y="38"/>
                    <a:pt x="29" y="41"/>
                  </a:cubicBezTo>
                  <a:cubicBezTo>
                    <a:pt x="30" y="41"/>
                    <a:pt x="30" y="41"/>
                    <a:pt x="31" y="42"/>
                  </a:cubicBezTo>
                  <a:cubicBezTo>
                    <a:pt x="31" y="42"/>
                    <a:pt x="31" y="42"/>
                    <a:pt x="31" y="42"/>
                  </a:cubicBezTo>
                  <a:cubicBezTo>
                    <a:pt x="33" y="44"/>
                    <a:pt x="36" y="46"/>
                    <a:pt x="37" y="49"/>
                  </a:cubicBezTo>
                  <a:cubicBezTo>
                    <a:pt x="41" y="56"/>
                    <a:pt x="41" y="56"/>
                    <a:pt x="41" y="56"/>
                  </a:cubicBezTo>
                  <a:cubicBezTo>
                    <a:pt x="42" y="56"/>
                    <a:pt x="42" y="56"/>
                    <a:pt x="42" y="56"/>
                  </a:cubicBezTo>
                  <a:cubicBezTo>
                    <a:pt x="42" y="57"/>
                    <a:pt x="44" y="57"/>
                    <a:pt x="44" y="58"/>
                  </a:cubicBezTo>
                  <a:cubicBezTo>
                    <a:pt x="45" y="59"/>
                    <a:pt x="45" y="60"/>
                    <a:pt x="46" y="61"/>
                  </a:cubicBezTo>
                  <a:cubicBezTo>
                    <a:pt x="46" y="62"/>
                    <a:pt x="46" y="62"/>
                    <a:pt x="46" y="62"/>
                  </a:cubicBezTo>
                  <a:cubicBezTo>
                    <a:pt x="46" y="64"/>
                    <a:pt x="45" y="65"/>
                    <a:pt x="43" y="66"/>
                  </a:cubicBezTo>
                  <a:cubicBezTo>
                    <a:pt x="44" y="66"/>
                    <a:pt x="44" y="66"/>
                    <a:pt x="44" y="66"/>
                  </a:cubicBezTo>
                  <a:cubicBezTo>
                    <a:pt x="44" y="66"/>
                    <a:pt x="44" y="66"/>
                    <a:pt x="44" y="66"/>
                  </a:cubicBezTo>
                  <a:cubicBezTo>
                    <a:pt x="44" y="66"/>
                    <a:pt x="44" y="66"/>
                    <a:pt x="44" y="66"/>
                  </a:cubicBezTo>
                  <a:cubicBezTo>
                    <a:pt x="44" y="66"/>
                    <a:pt x="43" y="66"/>
                    <a:pt x="43" y="66"/>
                  </a:cubicBezTo>
                  <a:cubicBezTo>
                    <a:pt x="43" y="66"/>
                    <a:pt x="42" y="66"/>
                    <a:pt x="41" y="66"/>
                  </a:cubicBezTo>
                  <a:cubicBezTo>
                    <a:pt x="40" y="67"/>
                    <a:pt x="40" y="67"/>
                    <a:pt x="40" y="67"/>
                  </a:cubicBezTo>
                  <a:cubicBezTo>
                    <a:pt x="47" y="70"/>
                    <a:pt x="53" y="73"/>
                    <a:pt x="59" y="76"/>
                  </a:cubicBezTo>
                  <a:cubicBezTo>
                    <a:pt x="58" y="73"/>
                    <a:pt x="58" y="73"/>
                    <a:pt x="58" y="73"/>
                  </a:cubicBezTo>
                  <a:cubicBezTo>
                    <a:pt x="61" y="71"/>
                    <a:pt x="61" y="71"/>
                    <a:pt x="61" y="71"/>
                  </a:cubicBezTo>
                  <a:cubicBezTo>
                    <a:pt x="61" y="71"/>
                    <a:pt x="61" y="71"/>
                    <a:pt x="61" y="71"/>
                  </a:cubicBezTo>
                  <a:cubicBezTo>
                    <a:pt x="61" y="71"/>
                    <a:pt x="61" y="70"/>
                    <a:pt x="61" y="70"/>
                  </a:cubicBezTo>
                  <a:cubicBezTo>
                    <a:pt x="61" y="69"/>
                    <a:pt x="61" y="68"/>
                    <a:pt x="60" y="67"/>
                  </a:cubicBezTo>
                  <a:cubicBezTo>
                    <a:pt x="60" y="66"/>
                    <a:pt x="60" y="65"/>
                    <a:pt x="60" y="64"/>
                  </a:cubicBezTo>
                  <a:cubicBezTo>
                    <a:pt x="60" y="61"/>
                    <a:pt x="61" y="57"/>
                    <a:pt x="64" y="54"/>
                  </a:cubicBezTo>
                  <a:cubicBezTo>
                    <a:pt x="65" y="53"/>
                    <a:pt x="66" y="52"/>
                    <a:pt x="67" y="51"/>
                  </a:cubicBezTo>
                  <a:cubicBezTo>
                    <a:pt x="68" y="51"/>
                    <a:pt x="68" y="51"/>
                    <a:pt x="68" y="51"/>
                  </a:cubicBezTo>
                  <a:cubicBezTo>
                    <a:pt x="68" y="50"/>
                    <a:pt x="69" y="49"/>
                    <a:pt x="71" y="49"/>
                  </a:cubicBezTo>
                  <a:cubicBezTo>
                    <a:pt x="69" y="47"/>
                    <a:pt x="69" y="47"/>
                    <a:pt x="69" y="47"/>
                  </a:cubicBezTo>
                  <a:cubicBezTo>
                    <a:pt x="71" y="45"/>
                    <a:pt x="71" y="45"/>
                    <a:pt x="71" y="45"/>
                  </a:cubicBezTo>
                  <a:cubicBezTo>
                    <a:pt x="71" y="44"/>
                    <a:pt x="73" y="44"/>
                    <a:pt x="73" y="44"/>
                  </a:cubicBezTo>
                  <a:cubicBezTo>
                    <a:pt x="74" y="43"/>
                    <a:pt x="74" y="43"/>
                    <a:pt x="75" y="43"/>
                  </a:cubicBezTo>
                  <a:cubicBezTo>
                    <a:pt x="75" y="43"/>
                    <a:pt x="76" y="44"/>
                    <a:pt x="76" y="44"/>
                  </a:cubicBezTo>
                  <a:cubicBezTo>
                    <a:pt x="77" y="44"/>
                    <a:pt x="77" y="44"/>
                    <a:pt x="77" y="44"/>
                  </a:cubicBezTo>
                  <a:cubicBezTo>
                    <a:pt x="77" y="44"/>
                    <a:pt x="77" y="44"/>
                    <a:pt x="77" y="44"/>
                  </a:cubicBezTo>
                  <a:cubicBezTo>
                    <a:pt x="78" y="44"/>
                    <a:pt x="78" y="44"/>
                    <a:pt x="78" y="44"/>
                  </a:cubicBezTo>
                  <a:cubicBezTo>
                    <a:pt x="78" y="44"/>
                    <a:pt x="78" y="44"/>
                    <a:pt x="78" y="44"/>
                  </a:cubicBezTo>
                  <a:cubicBezTo>
                    <a:pt x="79" y="44"/>
                    <a:pt x="79" y="44"/>
                    <a:pt x="79" y="44"/>
                  </a:cubicBezTo>
                  <a:cubicBezTo>
                    <a:pt x="81" y="43"/>
                    <a:pt x="83" y="42"/>
                    <a:pt x="83" y="41"/>
                  </a:cubicBezTo>
                  <a:cubicBezTo>
                    <a:pt x="83" y="41"/>
                    <a:pt x="83" y="41"/>
                    <a:pt x="83" y="41"/>
                  </a:cubicBezTo>
                  <a:cubicBezTo>
                    <a:pt x="83" y="41"/>
                    <a:pt x="83" y="41"/>
                    <a:pt x="83" y="41"/>
                  </a:cubicBezTo>
                  <a:cubicBezTo>
                    <a:pt x="83" y="41"/>
                    <a:pt x="82" y="39"/>
                    <a:pt x="81" y="39"/>
                  </a:cubicBezTo>
                  <a:cubicBezTo>
                    <a:pt x="80" y="37"/>
                    <a:pt x="78" y="36"/>
                    <a:pt x="78" y="34"/>
                  </a:cubicBezTo>
                  <a:cubicBezTo>
                    <a:pt x="74" y="28"/>
                    <a:pt x="74" y="28"/>
                    <a:pt x="74" y="28"/>
                  </a:cubicBezTo>
                  <a:cubicBezTo>
                    <a:pt x="81" y="30"/>
                    <a:pt x="81" y="30"/>
                    <a:pt x="81" y="30"/>
                  </a:cubicBezTo>
                  <a:cubicBezTo>
                    <a:pt x="81" y="30"/>
                    <a:pt x="82" y="31"/>
                    <a:pt x="82" y="31"/>
                  </a:cubicBezTo>
                  <a:cubicBezTo>
                    <a:pt x="82" y="30"/>
                    <a:pt x="82" y="30"/>
                    <a:pt x="82" y="30"/>
                  </a:cubicBezTo>
                  <a:cubicBezTo>
                    <a:pt x="81" y="29"/>
                    <a:pt x="81" y="29"/>
                    <a:pt x="81" y="28"/>
                  </a:cubicBezTo>
                  <a:cubicBezTo>
                    <a:pt x="80" y="28"/>
                    <a:pt x="80" y="28"/>
                    <a:pt x="80" y="28"/>
                  </a:cubicBezTo>
                  <a:cubicBezTo>
                    <a:pt x="79" y="28"/>
                    <a:pt x="79" y="28"/>
                    <a:pt x="79" y="28"/>
                  </a:cubicBezTo>
                  <a:cubicBezTo>
                    <a:pt x="79" y="28"/>
                    <a:pt x="79" y="28"/>
                    <a:pt x="79" y="28"/>
                  </a:cubicBezTo>
                  <a:cubicBezTo>
                    <a:pt x="77" y="27"/>
                    <a:pt x="77" y="27"/>
                    <a:pt x="76" y="26"/>
                  </a:cubicBezTo>
                  <a:cubicBezTo>
                    <a:pt x="74" y="24"/>
                    <a:pt x="74" y="21"/>
                    <a:pt x="74" y="19"/>
                  </a:cubicBezTo>
                  <a:cubicBezTo>
                    <a:pt x="74" y="18"/>
                    <a:pt x="75" y="17"/>
                    <a:pt x="76" y="15"/>
                  </a:cubicBezTo>
                  <a:cubicBezTo>
                    <a:pt x="76" y="15"/>
                    <a:pt x="76" y="15"/>
                    <a:pt x="76" y="15"/>
                  </a:cubicBezTo>
                  <a:cubicBezTo>
                    <a:pt x="77" y="14"/>
                    <a:pt x="78" y="13"/>
                    <a:pt x="78" y="11"/>
                  </a:cubicBezTo>
                  <a:cubicBezTo>
                    <a:pt x="78" y="11"/>
                    <a:pt x="78" y="11"/>
                    <a:pt x="78" y="11"/>
                  </a:cubicBezTo>
                  <a:cubicBezTo>
                    <a:pt x="77" y="11"/>
                    <a:pt x="77" y="11"/>
                    <a:pt x="77" y="11"/>
                  </a:cubicBezTo>
                  <a:cubicBezTo>
                    <a:pt x="77" y="11"/>
                    <a:pt x="77" y="11"/>
                    <a:pt x="77" y="11"/>
                  </a:cubicBezTo>
                  <a:cubicBezTo>
                    <a:pt x="77" y="11"/>
                    <a:pt x="77" y="11"/>
                    <a:pt x="77" y="11"/>
                  </a:cubicBezTo>
                  <a:cubicBezTo>
                    <a:pt x="76" y="11"/>
                    <a:pt x="76" y="11"/>
                    <a:pt x="76" y="11"/>
                  </a:cubicBezTo>
                  <a:cubicBezTo>
                    <a:pt x="76" y="11"/>
                    <a:pt x="76" y="11"/>
                    <a:pt x="76" y="11"/>
                  </a:cubicBezTo>
                  <a:cubicBezTo>
                    <a:pt x="74" y="11"/>
                    <a:pt x="73" y="11"/>
                    <a:pt x="73" y="11"/>
                  </a:cubicBezTo>
                  <a:cubicBezTo>
                    <a:pt x="70" y="10"/>
                    <a:pt x="67" y="9"/>
                    <a:pt x="66" y="7"/>
                  </a:cubicBezTo>
                  <a:cubicBezTo>
                    <a:pt x="66" y="6"/>
                    <a:pt x="66" y="6"/>
                    <a:pt x="66" y="6"/>
                  </a:cubicBezTo>
                  <a:cubicBezTo>
                    <a:pt x="66" y="6"/>
                    <a:pt x="65" y="6"/>
                    <a:pt x="65" y="5"/>
                  </a:cubicBezTo>
                  <a:cubicBezTo>
                    <a:pt x="64" y="5"/>
                    <a:pt x="64" y="5"/>
                    <a:pt x="64" y="5"/>
                  </a:cubicBezTo>
                  <a:cubicBezTo>
                    <a:pt x="63" y="5"/>
                    <a:pt x="63" y="5"/>
                    <a:pt x="63" y="5"/>
                  </a:cubicBezTo>
                  <a:cubicBezTo>
                    <a:pt x="63" y="5"/>
                    <a:pt x="63" y="5"/>
                    <a:pt x="63" y="5"/>
                  </a:cubicBezTo>
                  <a:cubicBezTo>
                    <a:pt x="62" y="5"/>
                    <a:pt x="62" y="5"/>
                    <a:pt x="62" y="5"/>
                  </a:cubicBezTo>
                  <a:cubicBezTo>
                    <a:pt x="58" y="5"/>
                    <a:pt x="54" y="5"/>
                    <a:pt x="51" y="4"/>
                  </a:cubicBezTo>
                  <a:cubicBezTo>
                    <a:pt x="34" y="3"/>
                    <a:pt x="34" y="3"/>
                    <a:pt x="34" y="3"/>
                  </a:cubicBezTo>
                  <a:cubicBezTo>
                    <a:pt x="31" y="2"/>
                    <a:pt x="28" y="1"/>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61"/>
            <p:cNvSpPr/>
            <p:nvPr/>
          </p:nvSpPr>
          <p:spPr bwMode="auto">
            <a:xfrm>
              <a:off x="4620" y="207"/>
              <a:ext cx="17" cy="7"/>
            </a:xfrm>
            <a:custGeom>
              <a:gdLst>
                <a:gd name="T0" fmla="*/ 0 w 7"/>
                <a:gd name="T1" fmla="*/ 0 h 3"/>
                <a:gd name="T2" fmla="*/ 7 w 7"/>
                <a:gd name="T3" fmla="*/ 3 h 3"/>
                <a:gd name="T4" fmla="*/ 7 w 7"/>
                <a:gd name="T5" fmla="*/ 2 h 3"/>
                <a:gd name="T6" fmla="*/ 0 w 7"/>
                <a:gd name="T7" fmla="*/ 0 h 3"/>
              </a:gdLst>
              <a:cxnLst>
                <a:cxn ang="0">
                  <a:pos x="T0" y="T1"/>
                </a:cxn>
                <a:cxn ang="0">
                  <a:pos x="T2" y="T3"/>
                </a:cxn>
                <a:cxn ang="0">
                  <a:pos x="T4" y="T5"/>
                </a:cxn>
                <a:cxn ang="0">
                  <a:pos x="T6" y="T7"/>
                </a:cxn>
              </a:cxnLst>
              <a:rect l="0" t="0" r="r" b="b"/>
              <a:pathLst>
                <a:path w="7" h="3">
                  <a:moveTo>
                    <a:pt x="0" y="0"/>
                  </a:moveTo>
                  <a:cubicBezTo>
                    <a:pt x="3" y="1"/>
                    <a:pt x="5" y="2"/>
                    <a:pt x="7" y="3"/>
                  </a:cubicBezTo>
                  <a:cubicBezTo>
                    <a:pt x="7" y="2"/>
                    <a:pt x="7" y="2"/>
                    <a:pt x="7" y="2"/>
                  </a:cubicBezTo>
                  <a:cubicBezTo>
                    <a:pt x="5"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62"/>
            <p:cNvSpPr/>
            <p:nvPr/>
          </p:nvSpPr>
          <p:spPr bwMode="auto">
            <a:xfrm>
              <a:off x="4689" y="240"/>
              <a:ext cx="2" cy="2"/>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0"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63"/>
            <p:cNvSpPr/>
            <p:nvPr/>
          </p:nvSpPr>
          <p:spPr bwMode="auto">
            <a:xfrm>
              <a:off x="4689" y="240"/>
              <a:ext cx="2" cy="2"/>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0" y="0"/>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Rectangle 264"/>
            <p:cNvSpPr>
              <a:spLocks noChangeArrowheads="1"/>
            </p:cNvSpPr>
            <p:nvPr/>
          </p:nvSpPr>
          <p:spPr bwMode="auto">
            <a:xfrm>
              <a:off x="4776" y="21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265"/>
            <p:cNvSpPr/>
            <p:nvPr/>
          </p:nvSpPr>
          <p:spPr bwMode="auto">
            <a:xfrm flipH="1">
              <a:off x="4776" y="21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266"/>
            <p:cNvSpPr/>
            <p:nvPr/>
          </p:nvSpPr>
          <p:spPr bwMode="auto">
            <a:xfrm>
              <a:off x="4691" y="176"/>
              <a:ext cx="88" cy="99"/>
            </a:xfrm>
            <a:custGeom>
              <a:gdLst>
                <a:gd name="T0" fmla="*/ 15 w 37"/>
                <a:gd name="T1" fmla="*/ 0 h 42"/>
                <a:gd name="T2" fmla="*/ 15 w 37"/>
                <a:gd name="T3" fmla="*/ 0 h 42"/>
                <a:gd name="T4" fmla="*/ 15 w 37"/>
                <a:gd name="T5" fmla="*/ 1 h 42"/>
                <a:gd name="T6" fmla="*/ 18 w 37"/>
                <a:gd name="T7" fmla="*/ 3 h 42"/>
                <a:gd name="T8" fmla="*/ 14 w 37"/>
                <a:gd name="T9" fmla="*/ 5 h 42"/>
                <a:gd name="T10" fmla="*/ 12 w 37"/>
                <a:gd name="T11" fmla="*/ 6 h 42"/>
                <a:gd name="T12" fmla="*/ 11 w 37"/>
                <a:gd name="T13" fmla="*/ 6 h 42"/>
                <a:gd name="T14" fmla="*/ 9 w 37"/>
                <a:gd name="T15" fmla="*/ 5 h 42"/>
                <a:gd name="T16" fmla="*/ 9 w 37"/>
                <a:gd name="T17" fmla="*/ 5 h 42"/>
                <a:gd name="T18" fmla="*/ 8 w 37"/>
                <a:gd name="T19" fmla="*/ 5 h 42"/>
                <a:gd name="T20" fmla="*/ 8 w 37"/>
                <a:gd name="T21" fmla="*/ 6 h 42"/>
                <a:gd name="T22" fmla="*/ 5 w 37"/>
                <a:gd name="T23" fmla="*/ 8 h 42"/>
                <a:gd name="T24" fmla="*/ 2 w 37"/>
                <a:gd name="T25" fmla="*/ 13 h 42"/>
                <a:gd name="T26" fmla="*/ 3 w 37"/>
                <a:gd name="T27" fmla="*/ 15 h 42"/>
                <a:gd name="T28" fmla="*/ 4 w 37"/>
                <a:gd name="T29" fmla="*/ 18 h 42"/>
                <a:gd name="T30" fmla="*/ 4 w 37"/>
                <a:gd name="T31" fmla="*/ 23 h 42"/>
                <a:gd name="T32" fmla="*/ 1 w 37"/>
                <a:gd name="T33" fmla="*/ 26 h 42"/>
                <a:gd name="T34" fmla="*/ 0 w 37"/>
                <a:gd name="T35" fmla="*/ 27 h 42"/>
                <a:gd name="T36" fmla="*/ 1 w 37"/>
                <a:gd name="T37" fmla="*/ 27 h 42"/>
                <a:gd name="T38" fmla="*/ 4 w 37"/>
                <a:gd name="T39" fmla="*/ 27 h 42"/>
                <a:gd name="T40" fmla="*/ 4 w 37"/>
                <a:gd name="T41" fmla="*/ 27 h 42"/>
                <a:gd name="T42" fmla="*/ 4 w 37"/>
                <a:gd name="T43" fmla="*/ 26 h 42"/>
                <a:gd name="T44" fmla="*/ 5 w 37"/>
                <a:gd name="T45" fmla="*/ 26 h 42"/>
                <a:gd name="T46" fmla="*/ 6 w 37"/>
                <a:gd name="T47" fmla="*/ 26 h 42"/>
                <a:gd name="T48" fmla="*/ 4 w 37"/>
                <a:gd name="T49" fmla="*/ 29 h 42"/>
                <a:gd name="T50" fmla="*/ 3 w 37"/>
                <a:gd name="T51" fmla="*/ 28 h 42"/>
                <a:gd name="T52" fmla="*/ 2 w 37"/>
                <a:gd name="T53" fmla="*/ 28 h 42"/>
                <a:gd name="T54" fmla="*/ 1 w 37"/>
                <a:gd name="T55" fmla="*/ 28 h 42"/>
                <a:gd name="T56" fmla="*/ 17 w 37"/>
                <a:gd name="T57" fmla="*/ 42 h 42"/>
                <a:gd name="T58" fmla="*/ 17 w 37"/>
                <a:gd name="T59" fmla="*/ 41 h 42"/>
                <a:gd name="T60" fmla="*/ 17 w 37"/>
                <a:gd name="T61" fmla="*/ 38 h 42"/>
                <a:gd name="T62" fmla="*/ 16 w 37"/>
                <a:gd name="T63" fmla="*/ 34 h 42"/>
                <a:gd name="T64" fmla="*/ 18 w 37"/>
                <a:gd name="T65" fmla="*/ 30 h 42"/>
                <a:gd name="T66" fmla="*/ 19 w 37"/>
                <a:gd name="T67" fmla="*/ 29 h 42"/>
                <a:gd name="T68" fmla="*/ 20 w 37"/>
                <a:gd name="T69" fmla="*/ 27 h 42"/>
                <a:gd name="T70" fmla="*/ 20 w 37"/>
                <a:gd name="T71" fmla="*/ 27 h 42"/>
                <a:gd name="T72" fmla="*/ 24 w 37"/>
                <a:gd name="T73" fmla="*/ 21 h 42"/>
                <a:gd name="T74" fmla="*/ 26 w 37"/>
                <a:gd name="T75" fmla="*/ 19 h 42"/>
                <a:gd name="T76" fmla="*/ 29 w 37"/>
                <a:gd name="T77" fmla="*/ 18 h 42"/>
                <a:gd name="T78" fmla="*/ 30 w 37"/>
                <a:gd name="T79" fmla="*/ 20 h 42"/>
                <a:gd name="T80" fmla="*/ 31 w 37"/>
                <a:gd name="T81" fmla="*/ 22 h 42"/>
                <a:gd name="T82" fmla="*/ 32 w 37"/>
                <a:gd name="T83" fmla="*/ 23 h 42"/>
                <a:gd name="T84" fmla="*/ 32 w 37"/>
                <a:gd name="T85" fmla="*/ 23 h 42"/>
                <a:gd name="T86" fmla="*/ 33 w 37"/>
                <a:gd name="T87" fmla="*/ 23 h 42"/>
                <a:gd name="T88" fmla="*/ 33 w 37"/>
                <a:gd name="T89" fmla="*/ 23 h 42"/>
                <a:gd name="T90" fmla="*/ 33 w 37"/>
                <a:gd name="T91" fmla="*/ 20 h 42"/>
                <a:gd name="T92" fmla="*/ 35 w 37"/>
                <a:gd name="T93" fmla="*/ 16 h 42"/>
                <a:gd name="T94" fmla="*/ 35 w 37"/>
                <a:gd name="T95" fmla="*/ 16 h 42"/>
                <a:gd name="T96" fmla="*/ 36 w 37"/>
                <a:gd name="T97" fmla="*/ 16 h 42"/>
                <a:gd name="T98" fmla="*/ 37 w 37"/>
                <a:gd name="T99" fmla="*/ 15 h 42"/>
                <a:gd name="T100" fmla="*/ 37 w 37"/>
                <a:gd name="T101" fmla="*/ 15 h 42"/>
                <a:gd name="T102" fmla="*/ 16 w 37"/>
                <a:gd name="T103" fmla="*/ 0 h 42"/>
                <a:gd name="T104" fmla="*/ 15 w 37"/>
                <a:gd name="T105" fmla="*/ 0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 h="42">
                  <a:moveTo>
                    <a:pt x="15" y="0"/>
                  </a:moveTo>
                  <a:cubicBezTo>
                    <a:pt x="15" y="0"/>
                    <a:pt x="15" y="0"/>
                    <a:pt x="15" y="0"/>
                  </a:cubicBezTo>
                  <a:cubicBezTo>
                    <a:pt x="15" y="0"/>
                    <a:pt x="15" y="0"/>
                    <a:pt x="15" y="1"/>
                  </a:cubicBezTo>
                  <a:cubicBezTo>
                    <a:pt x="18" y="3"/>
                    <a:pt x="18" y="3"/>
                    <a:pt x="18" y="3"/>
                  </a:cubicBezTo>
                  <a:cubicBezTo>
                    <a:pt x="14" y="5"/>
                    <a:pt x="14" y="5"/>
                    <a:pt x="14" y="5"/>
                  </a:cubicBezTo>
                  <a:cubicBezTo>
                    <a:pt x="14" y="6"/>
                    <a:pt x="13" y="6"/>
                    <a:pt x="12" y="6"/>
                  </a:cubicBezTo>
                  <a:cubicBezTo>
                    <a:pt x="11" y="6"/>
                    <a:pt x="11" y="6"/>
                    <a:pt x="11" y="6"/>
                  </a:cubicBezTo>
                  <a:cubicBezTo>
                    <a:pt x="10" y="5"/>
                    <a:pt x="9" y="5"/>
                    <a:pt x="9" y="5"/>
                  </a:cubicBezTo>
                  <a:cubicBezTo>
                    <a:pt x="9" y="5"/>
                    <a:pt x="9" y="5"/>
                    <a:pt x="9" y="5"/>
                  </a:cubicBezTo>
                  <a:cubicBezTo>
                    <a:pt x="8" y="5"/>
                    <a:pt x="8" y="5"/>
                    <a:pt x="8" y="5"/>
                  </a:cubicBezTo>
                  <a:cubicBezTo>
                    <a:pt x="8" y="6"/>
                    <a:pt x="8" y="6"/>
                    <a:pt x="8" y="6"/>
                  </a:cubicBezTo>
                  <a:cubicBezTo>
                    <a:pt x="7" y="6"/>
                    <a:pt x="6" y="7"/>
                    <a:pt x="5" y="8"/>
                  </a:cubicBezTo>
                  <a:cubicBezTo>
                    <a:pt x="3" y="10"/>
                    <a:pt x="2" y="12"/>
                    <a:pt x="2" y="13"/>
                  </a:cubicBezTo>
                  <a:cubicBezTo>
                    <a:pt x="2" y="14"/>
                    <a:pt x="3" y="15"/>
                    <a:pt x="3" y="15"/>
                  </a:cubicBezTo>
                  <a:cubicBezTo>
                    <a:pt x="3" y="16"/>
                    <a:pt x="3" y="17"/>
                    <a:pt x="4" y="18"/>
                  </a:cubicBezTo>
                  <a:cubicBezTo>
                    <a:pt x="4" y="20"/>
                    <a:pt x="4" y="21"/>
                    <a:pt x="4" y="23"/>
                  </a:cubicBezTo>
                  <a:cubicBezTo>
                    <a:pt x="3" y="25"/>
                    <a:pt x="2" y="26"/>
                    <a:pt x="1" y="26"/>
                  </a:cubicBezTo>
                  <a:cubicBezTo>
                    <a:pt x="0" y="27"/>
                    <a:pt x="0" y="27"/>
                    <a:pt x="0" y="27"/>
                  </a:cubicBezTo>
                  <a:cubicBezTo>
                    <a:pt x="0" y="27"/>
                    <a:pt x="1" y="27"/>
                    <a:pt x="1" y="27"/>
                  </a:cubicBezTo>
                  <a:cubicBezTo>
                    <a:pt x="2" y="27"/>
                    <a:pt x="3" y="27"/>
                    <a:pt x="4" y="27"/>
                  </a:cubicBezTo>
                  <a:cubicBezTo>
                    <a:pt x="4" y="27"/>
                    <a:pt x="4" y="27"/>
                    <a:pt x="4" y="27"/>
                  </a:cubicBezTo>
                  <a:cubicBezTo>
                    <a:pt x="4" y="27"/>
                    <a:pt x="4" y="26"/>
                    <a:pt x="4" y="26"/>
                  </a:cubicBezTo>
                  <a:cubicBezTo>
                    <a:pt x="4" y="26"/>
                    <a:pt x="4" y="26"/>
                    <a:pt x="5" y="26"/>
                  </a:cubicBezTo>
                  <a:cubicBezTo>
                    <a:pt x="5" y="26"/>
                    <a:pt x="5" y="26"/>
                    <a:pt x="6" y="26"/>
                  </a:cubicBezTo>
                  <a:cubicBezTo>
                    <a:pt x="5" y="28"/>
                    <a:pt x="4" y="29"/>
                    <a:pt x="4" y="29"/>
                  </a:cubicBezTo>
                  <a:cubicBezTo>
                    <a:pt x="4" y="29"/>
                    <a:pt x="3" y="29"/>
                    <a:pt x="3" y="28"/>
                  </a:cubicBezTo>
                  <a:cubicBezTo>
                    <a:pt x="3" y="28"/>
                    <a:pt x="2" y="28"/>
                    <a:pt x="2" y="28"/>
                  </a:cubicBezTo>
                  <a:cubicBezTo>
                    <a:pt x="1" y="28"/>
                    <a:pt x="1" y="28"/>
                    <a:pt x="1" y="28"/>
                  </a:cubicBezTo>
                  <a:cubicBezTo>
                    <a:pt x="6" y="33"/>
                    <a:pt x="12" y="38"/>
                    <a:pt x="17" y="42"/>
                  </a:cubicBezTo>
                  <a:cubicBezTo>
                    <a:pt x="17" y="42"/>
                    <a:pt x="17" y="41"/>
                    <a:pt x="17" y="41"/>
                  </a:cubicBezTo>
                  <a:cubicBezTo>
                    <a:pt x="17" y="40"/>
                    <a:pt x="17" y="38"/>
                    <a:pt x="17" y="38"/>
                  </a:cubicBezTo>
                  <a:cubicBezTo>
                    <a:pt x="16" y="37"/>
                    <a:pt x="15" y="35"/>
                    <a:pt x="16" y="34"/>
                  </a:cubicBezTo>
                  <a:cubicBezTo>
                    <a:pt x="16" y="32"/>
                    <a:pt x="17" y="31"/>
                    <a:pt x="18" y="30"/>
                  </a:cubicBezTo>
                  <a:cubicBezTo>
                    <a:pt x="19" y="29"/>
                    <a:pt x="19" y="29"/>
                    <a:pt x="19" y="29"/>
                  </a:cubicBezTo>
                  <a:cubicBezTo>
                    <a:pt x="19" y="29"/>
                    <a:pt x="20" y="28"/>
                    <a:pt x="20" y="27"/>
                  </a:cubicBezTo>
                  <a:cubicBezTo>
                    <a:pt x="20" y="27"/>
                    <a:pt x="20" y="27"/>
                    <a:pt x="20" y="27"/>
                  </a:cubicBezTo>
                  <a:cubicBezTo>
                    <a:pt x="21" y="25"/>
                    <a:pt x="23" y="23"/>
                    <a:pt x="24" y="21"/>
                  </a:cubicBezTo>
                  <a:cubicBezTo>
                    <a:pt x="25" y="20"/>
                    <a:pt x="25" y="20"/>
                    <a:pt x="26" y="19"/>
                  </a:cubicBezTo>
                  <a:cubicBezTo>
                    <a:pt x="29" y="18"/>
                    <a:pt x="29" y="18"/>
                    <a:pt x="29" y="18"/>
                  </a:cubicBezTo>
                  <a:cubicBezTo>
                    <a:pt x="30" y="20"/>
                    <a:pt x="30" y="20"/>
                    <a:pt x="30" y="20"/>
                  </a:cubicBezTo>
                  <a:cubicBezTo>
                    <a:pt x="31" y="21"/>
                    <a:pt x="31" y="22"/>
                    <a:pt x="31" y="22"/>
                  </a:cubicBezTo>
                  <a:cubicBezTo>
                    <a:pt x="32" y="23"/>
                    <a:pt x="32" y="23"/>
                    <a:pt x="32" y="23"/>
                  </a:cubicBezTo>
                  <a:cubicBezTo>
                    <a:pt x="32" y="23"/>
                    <a:pt x="32" y="23"/>
                    <a:pt x="32" y="23"/>
                  </a:cubicBezTo>
                  <a:cubicBezTo>
                    <a:pt x="32" y="23"/>
                    <a:pt x="33" y="23"/>
                    <a:pt x="33" y="23"/>
                  </a:cubicBezTo>
                  <a:cubicBezTo>
                    <a:pt x="33" y="23"/>
                    <a:pt x="33" y="23"/>
                    <a:pt x="33" y="23"/>
                  </a:cubicBezTo>
                  <a:cubicBezTo>
                    <a:pt x="33" y="22"/>
                    <a:pt x="33" y="21"/>
                    <a:pt x="33" y="20"/>
                  </a:cubicBezTo>
                  <a:cubicBezTo>
                    <a:pt x="33" y="18"/>
                    <a:pt x="34" y="17"/>
                    <a:pt x="35" y="16"/>
                  </a:cubicBezTo>
                  <a:cubicBezTo>
                    <a:pt x="35" y="16"/>
                    <a:pt x="35" y="16"/>
                    <a:pt x="35" y="16"/>
                  </a:cubicBezTo>
                  <a:cubicBezTo>
                    <a:pt x="36" y="16"/>
                    <a:pt x="36" y="16"/>
                    <a:pt x="36" y="16"/>
                  </a:cubicBezTo>
                  <a:cubicBezTo>
                    <a:pt x="37" y="15"/>
                    <a:pt x="37" y="15"/>
                    <a:pt x="37" y="15"/>
                  </a:cubicBezTo>
                  <a:cubicBezTo>
                    <a:pt x="37" y="15"/>
                    <a:pt x="37" y="15"/>
                    <a:pt x="37" y="15"/>
                  </a:cubicBezTo>
                  <a:cubicBezTo>
                    <a:pt x="16" y="0"/>
                    <a:pt x="16" y="0"/>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67"/>
            <p:cNvSpPr>
              <a:spLocks noEditPoints="1"/>
            </p:cNvSpPr>
            <p:nvPr/>
          </p:nvSpPr>
          <p:spPr bwMode="auto">
            <a:xfrm>
              <a:off x="4734" y="240"/>
              <a:ext cx="90" cy="180"/>
            </a:xfrm>
            <a:custGeom>
              <a:gdLst>
                <a:gd name="T0" fmla="*/ 38 w 38"/>
                <a:gd name="T1" fmla="*/ 51 h 76"/>
                <a:gd name="T2" fmla="*/ 9 w 38"/>
                <a:gd name="T3" fmla="*/ 0 h 76"/>
                <a:gd name="T4" fmla="*/ 7 w 38"/>
                <a:gd name="T5" fmla="*/ 4 h 76"/>
                <a:gd name="T6" fmla="*/ 4 w 38"/>
                <a:gd name="T7" fmla="*/ 7 h 76"/>
                <a:gd name="T8" fmla="*/ 5 w 38"/>
                <a:gd name="T9" fmla="*/ 14 h 76"/>
                <a:gd name="T10" fmla="*/ 5 w 38"/>
                <a:gd name="T11" fmla="*/ 16 h 76"/>
                <a:gd name="T12" fmla="*/ 5 w 38"/>
                <a:gd name="T13" fmla="*/ 18 h 76"/>
                <a:gd name="T14" fmla="*/ 6 w 38"/>
                <a:gd name="T15" fmla="*/ 25 h 76"/>
                <a:gd name="T16" fmla="*/ 6 w 38"/>
                <a:gd name="T17" fmla="*/ 25 h 76"/>
                <a:gd name="T18" fmla="*/ 3 w 38"/>
                <a:gd name="T19" fmla="*/ 30 h 76"/>
                <a:gd name="T20" fmla="*/ 4 w 38"/>
                <a:gd name="T21" fmla="*/ 45 h 76"/>
                <a:gd name="T22" fmla="*/ 4 w 38"/>
                <a:gd name="T23" fmla="*/ 60 h 76"/>
                <a:gd name="T24" fmla="*/ 0 w 38"/>
                <a:gd name="T25" fmla="*/ 58 h 76"/>
                <a:gd name="T26" fmla="*/ 15 w 38"/>
                <a:gd name="T27" fmla="*/ 72 h 76"/>
                <a:gd name="T28" fmla="*/ 18 w 38"/>
                <a:gd name="T29" fmla="*/ 75 h 76"/>
                <a:gd name="T30" fmla="*/ 21 w 38"/>
                <a:gd name="T31" fmla="*/ 76 h 76"/>
                <a:gd name="T32" fmla="*/ 22 w 38"/>
                <a:gd name="T33" fmla="*/ 72 h 76"/>
                <a:gd name="T34" fmla="*/ 22 w 38"/>
                <a:gd name="T35" fmla="*/ 70 h 76"/>
                <a:gd name="T36" fmla="*/ 24 w 38"/>
                <a:gd name="T37" fmla="*/ 66 h 76"/>
                <a:gd name="T38" fmla="*/ 29 w 38"/>
                <a:gd name="T39" fmla="*/ 64 h 76"/>
                <a:gd name="T40" fmla="*/ 29 w 38"/>
                <a:gd name="T41" fmla="*/ 64 h 76"/>
                <a:gd name="T42" fmla="*/ 31 w 38"/>
                <a:gd name="T43" fmla="*/ 61 h 76"/>
                <a:gd name="T44" fmla="*/ 37 w 38"/>
                <a:gd name="T45" fmla="*/ 52 h 76"/>
                <a:gd name="T46" fmla="*/ 38 w 38"/>
                <a:gd name="T47" fmla="*/ 51 h 76"/>
                <a:gd name="T48" fmla="*/ 37 w 38"/>
                <a:gd name="T49" fmla="*/ 47 h 76"/>
                <a:gd name="T50" fmla="*/ 37 w 38"/>
                <a:gd name="T51" fmla="*/ 47 h 76"/>
                <a:gd name="T52" fmla="*/ 33 w 38"/>
                <a:gd name="T53" fmla="*/ 44 h 76"/>
                <a:gd name="T54" fmla="*/ 30 w 38"/>
                <a:gd name="T55" fmla="*/ 41 h 76"/>
                <a:gd name="T56" fmla="*/ 27 w 38"/>
                <a:gd name="T57" fmla="*/ 36 h 76"/>
                <a:gd name="T58" fmla="*/ 27 w 38"/>
                <a:gd name="T59" fmla="*/ 31 h 76"/>
                <a:gd name="T60" fmla="*/ 26 w 38"/>
                <a:gd name="T61" fmla="*/ 29 h 76"/>
                <a:gd name="T62" fmla="*/ 24 w 38"/>
                <a:gd name="T63" fmla="*/ 23 h 76"/>
                <a:gd name="T64" fmla="*/ 27 w 38"/>
                <a:gd name="T65" fmla="*/ 22 h 76"/>
                <a:gd name="T66" fmla="*/ 27 w 38"/>
                <a:gd name="T67" fmla="*/ 20 h 76"/>
                <a:gd name="T68" fmla="*/ 27 w 38"/>
                <a:gd name="T69" fmla="*/ 20 h 76"/>
                <a:gd name="T70" fmla="*/ 28 w 38"/>
                <a:gd name="T71" fmla="*/ 17 h 76"/>
                <a:gd name="T72" fmla="*/ 27 w 38"/>
                <a:gd name="T73" fmla="*/ 13 h 76"/>
                <a:gd name="T74" fmla="*/ 26 w 38"/>
                <a:gd name="T75" fmla="*/ 9 h 76"/>
                <a:gd name="T76" fmla="*/ 24 w 38"/>
                <a:gd name="T77" fmla="*/ 7 h 76"/>
                <a:gd name="T78" fmla="*/ 22 w 38"/>
                <a:gd name="T79" fmla="*/ 6 h 76"/>
                <a:gd name="T80" fmla="*/ 21 w 38"/>
                <a:gd name="T81" fmla="*/ 4 h 76"/>
                <a:gd name="T82" fmla="*/ 19 w 38"/>
                <a:gd name="T83" fmla="*/ 2 h 76"/>
                <a:gd name="T84" fmla="*/ 18 w 38"/>
                <a:gd name="T85" fmla="*/ 1 h 76"/>
                <a:gd name="T86" fmla="*/ 9 w 38"/>
                <a:gd name="T87" fmla="*/ 0 h 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 h="76">
                  <a:moveTo>
                    <a:pt x="38" y="51"/>
                  </a:moveTo>
                  <a:cubicBezTo>
                    <a:pt x="38" y="51"/>
                    <a:pt x="38" y="51"/>
                    <a:pt x="38" y="51"/>
                  </a:cubicBezTo>
                  <a:cubicBezTo>
                    <a:pt x="38" y="51"/>
                    <a:pt x="38" y="51"/>
                    <a:pt x="38" y="51"/>
                  </a:cubicBezTo>
                  <a:moveTo>
                    <a:pt x="9" y="0"/>
                  </a:moveTo>
                  <a:cubicBezTo>
                    <a:pt x="8" y="1"/>
                    <a:pt x="8" y="2"/>
                    <a:pt x="7" y="3"/>
                  </a:cubicBezTo>
                  <a:cubicBezTo>
                    <a:pt x="7" y="4"/>
                    <a:pt x="7" y="4"/>
                    <a:pt x="7" y="4"/>
                  </a:cubicBezTo>
                  <a:cubicBezTo>
                    <a:pt x="6" y="4"/>
                    <a:pt x="6" y="5"/>
                    <a:pt x="6" y="5"/>
                  </a:cubicBezTo>
                  <a:cubicBezTo>
                    <a:pt x="5" y="6"/>
                    <a:pt x="5" y="6"/>
                    <a:pt x="4" y="7"/>
                  </a:cubicBezTo>
                  <a:cubicBezTo>
                    <a:pt x="4" y="8"/>
                    <a:pt x="4" y="8"/>
                    <a:pt x="4" y="8"/>
                  </a:cubicBezTo>
                  <a:cubicBezTo>
                    <a:pt x="5" y="10"/>
                    <a:pt x="5" y="12"/>
                    <a:pt x="5" y="14"/>
                  </a:cubicBezTo>
                  <a:cubicBezTo>
                    <a:pt x="5" y="15"/>
                    <a:pt x="5" y="16"/>
                    <a:pt x="5" y="16"/>
                  </a:cubicBezTo>
                  <a:cubicBezTo>
                    <a:pt x="5" y="16"/>
                    <a:pt x="5" y="16"/>
                    <a:pt x="5" y="16"/>
                  </a:cubicBezTo>
                  <a:cubicBezTo>
                    <a:pt x="5" y="17"/>
                    <a:pt x="5" y="17"/>
                    <a:pt x="5" y="17"/>
                  </a:cubicBezTo>
                  <a:cubicBezTo>
                    <a:pt x="5" y="17"/>
                    <a:pt x="5" y="18"/>
                    <a:pt x="5" y="18"/>
                  </a:cubicBezTo>
                  <a:cubicBezTo>
                    <a:pt x="6" y="18"/>
                    <a:pt x="6" y="19"/>
                    <a:pt x="6" y="21"/>
                  </a:cubicBezTo>
                  <a:cubicBezTo>
                    <a:pt x="7" y="22"/>
                    <a:pt x="7" y="25"/>
                    <a:pt x="6" y="25"/>
                  </a:cubicBezTo>
                  <a:cubicBezTo>
                    <a:pt x="6" y="25"/>
                    <a:pt x="6" y="25"/>
                    <a:pt x="6" y="25"/>
                  </a:cubicBezTo>
                  <a:cubicBezTo>
                    <a:pt x="6" y="25"/>
                    <a:pt x="6" y="25"/>
                    <a:pt x="6" y="25"/>
                  </a:cubicBezTo>
                  <a:cubicBezTo>
                    <a:pt x="3" y="25"/>
                    <a:pt x="4" y="28"/>
                    <a:pt x="3" y="30"/>
                  </a:cubicBezTo>
                  <a:cubicBezTo>
                    <a:pt x="3" y="30"/>
                    <a:pt x="3" y="30"/>
                    <a:pt x="3" y="30"/>
                  </a:cubicBezTo>
                  <a:cubicBezTo>
                    <a:pt x="5" y="34"/>
                    <a:pt x="5" y="34"/>
                    <a:pt x="4" y="38"/>
                  </a:cubicBezTo>
                  <a:cubicBezTo>
                    <a:pt x="4" y="40"/>
                    <a:pt x="4" y="42"/>
                    <a:pt x="4" y="45"/>
                  </a:cubicBezTo>
                  <a:cubicBezTo>
                    <a:pt x="2" y="45"/>
                    <a:pt x="0" y="50"/>
                    <a:pt x="1" y="52"/>
                  </a:cubicBezTo>
                  <a:cubicBezTo>
                    <a:pt x="2" y="55"/>
                    <a:pt x="3" y="57"/>
                    <a:pt x="4" y="60"/>
                  </a:cubicBezTo>
                  <a:cubicBezTo>
                    <a:pt x="3" y="60"/>
                    <a:pt x="1" y="58"/>
                    <a:pt x="0" y="58"/>
                  </a:cubicBezTo>
                  <a:cubicBezTo>
                    <a:pt x="0" y="58"/>
                    <a:pt x="0" y="58"/>
                    <a:pt x="0" y="58"/>
                  </a:cubicBezTo>
                  <a:cubicBezTo>
                    <a:pt x="3" y="62"/>
                    <a:pt x="5" y="63"/>
                    <a:pt x="9" y="65"/>
                  </a:cubicBezTo>
                  <a:cubicBezTo>
                    <a:pt x="13" y="67"/>
                    <a:pt x="13" y="68"/>
                    <a:pt x="15" y="72"/>
                  </a:cubicBezTo>
                  <a:cubicBezTo>
                    <a:pt x="15" y="73"/>
                    <a:pt x="15" y="74"/>
                    <a:pt x="16" y="75"/>
                  </a:cubicBezTo>
                  <a:cubicBezTo>
                    <a:pt x="18" y="75"/>
                    <a:pt x="18" y="75"/>
                    <a:pt x="18" y="75"/>
                  </a:cubicBezTo>
                  <a:cubicBezTo>
                    <a:pt x="19" y="75"/>
                    <a:pt x="19" y="75"/>
                    <a:pt x="19" y="75"/>
                  </a:cubicBezTo>
                  <a:cubicBezTo>
                    <a:pt x="20" y="75"/>
                    <a:pt x="20" y="76"/>
                    <a:pt x="21" y="76"/>
                  </a:cubicBezTo>
                  <a:cubicBezTo>
                    <a:pt x="21" y="75"/>
                    <a:pt x="21" y="74"/>
                    <a:pt x="21" y="73"/>
                  </a:cubicBezTo>
                  <a:cubicBezTo>
                    <a:pt x="22" y="72"/>
                    <a:pt x="22" y="72"/>
                    <a:pt x="22" y="72"/>
                  </a:cubicBezTo>
                  <a:cubicBezTo>
                    <a:pt x="22" y="72"/>
                    <a:pt x="22" y="72"/>
                    <a:pt x="22" y="71"/>
                  </a:cubicBezTo>
                  <a:cubicBezTo>
                    <a:pt x="22" y="71"/>
                    <a:pt x="22" y="70"/>
                    <a:pt x="22" y="70"/>
                  </a:cubicBezTo>
                  <a:cubicBezTo>
                    <a:pt x="22" y="68"/>
                    <a:pt x="23" y="67"/>
                    <a:pt x="23" y="67"/>
                  </a:cubicBezTo>
                  <a:cubicBezTo>
                    <a:pt x="23" y="67"/>
                    <a:pt x="24" y="67"/>
                    <a:pt x="24" y="66"/>
                  </a:cubicBezTo>
                  <a:cubicBezTo>
                    <a:pt x="25" y="66"/>
                    <a:pt x="25" y="65"/>
                    <a:pt x="27" y="64"/>
                  </a:cubicBezTo>
                  <a:cubicBezTo>
                    <a:pt x="27" y="64"/>
                    <a:pt x="28" y="64"/>
                    <a:pt x="29" y="64"/>
                  </a:cubicBezTo>
                  <a:cubicBezTo>
                    <a:pt x="29" y="64"/>
                    <a:pt x="29" y="64"/>
                    <a:pt x="29" y="64"/>
                  </a:cubicBezTo>
                  <a:cubicBezTo>
                    <a:pt x="29" y="64"/>
                    <a:pt x="29" y="64"/>
                    <a:pt x="29" y="64"/>
                  </a:cubicBezTo>
                  <a:cubicBezTo>
                    <a:pt x="30" y="63"/>
                    <a:pt x="30" y="62"/>
                    <a:pt x="30" y="61"/>
                  </a:cubicBezTo>
                  <a:cubicBezTo>
                    <a:pt x="31" y="61"/>
                    <a:pt x="31" y="61"/>
                    <a:pt x="31" y="61"/>
                  </a:cubicBezTo>
                  <a:cubicBezTo>
                    <a:pt x="31" y="59"/>
                    <a:pt x="32" y="57"/>
                    <a:pt x="33" y="55"/>
                  </a:cubicBezTo>
                  <a:cubicBezTo>
                    <a:pt x="35" y="53"/>
                    <a:pt x="36" y="53"/>
                    <a:pt x="37" y="52"/>
                  </a:cubicBezTo>
                  <a:cubicBezTo>
                    <a:pt x="38" y="51"/>
                    <a:pt x="38" y="51"/>
                    <a:pt x="38" y="51"/>
                  </a:cubicBezTo>
                  <a:cubicBezTo>
                    <a:pt x="38" y="51"/>
                    <a:pt x="38" y="51"/>
                    <a:pt x="38" y="51"/>
                  </a:cubicBezTo>
                  <a:cubicBezTo>
                    <a:pt x="38" y="51"/>
                    <a:pt x="38" y="51"/>
                    <a:pt x="38" y="51"/>
                  </a:cubicBezTo>
                  <a:cubicBezTo>
                    <a:pt x="37" y="49"/>
                    <a:pt x="37" y="48"/>
                    <a:pt x="37" y="47"/>
                  </a:cubicBezTo>
                  <a:cubicBezTo>
                    <a:pt x="37" y="47"/>
                    <a:pt x="37" y="47"/>
                    <a:pt x="37" y="47"/>
                  </a:cubicBezTo>
                  <a:cubicBezTo>
                    <a:pt x="37" y="47"/>
                    <a:pt x="37" y="47"/>
                    <a:pt x="37" y="47"/>
                  </a:cubicBezTo>
                  <a:cubicBezTo>
                    <a:pt x="35" y="48"/>
                    <a:pt x="35" y="48"/>
                    <a:pt x="35" y="48"/>
                  </a:cubicBezTo>
                  <a:cubicBezTo>
                    <a:pt x="33" y="44"/>
                    <a:pt x="33" y="44"/>
                    <a:pt x="33" y="44"/>
                  </a:cubicBezTo>
                  <a:cubicBezTo>
                    <a:pt x="32" y="43"/>
                    <a:pt x="31" y="42"/>
                    <a:pt x="31" y="41"/>
                  </a:cubicBezTo>
                  <a:cubicBezTo>
                    <a:pt x="30" y="41"/>
                    <a:pt x="30" y="41"/>
                    <a:pt x="30" y="41"/>
                  </a:cubicBezTo>
                  <a:cubicBezTo>
                    <a:pt x="29" y="40"/>
                    <a:pt x="29" y="40"/>
                    <a:pt x="29" y="40"/>
                  </a:cubicBezTo>
                  <a:cubicBezTo>
                    <a:pt x="28" y="39"/>
                    <a:pt x="27" y="38"/>
                    <a:pt x="27" y="36"/>
                  </a:cubicBezTo>
                  <a:cubicBezTo>
                    <a:pt x="26" y="36"/>
                    <a:pt x="26" y="36"/>
                    <a:pt x="26" y="36"/>
                  </a:cubicBezTo>
                  <a:cubicBezTo>
                    <a:pt x="26" y="33"/>
                    <a:pt x="26" y="32"/>
                    <a:pt x="27" y="31"/>
                  </a:cubicBezTo>
                  <a:cubicBezTo>
                    <a:pt x="27" y="30"/>
                    <a:pt x="27" y="30"/>
                    <a:pt x="27" y="30"/>
                  </a:cubicBezTo>
                  <a:cubicBezTo>
                    <a:pt x="27" y="30"/>
                    <a:pt x="27" y="30"/>
                    <a:pt x="26" y="29"/>
                  </a:cubicBezTo>
                  <a:cubicBezTo>
                    <a:pt x="26" y="28"/>
                    <a:pt x="25" y="27"/>
                    <a:pt x="25" y="27"/>
                  </a:cubicBezTo>
                  <a:cubicBezTo>
                    <a:pt x="24" y="23"/>
                    <a:pt x="24" y="23"/>
                    <a:pt x="24" y="23"/>
                  </a:cubicBezTo>
                  <a:cubicBezTo>
                    <a:pt x="27" y="23"/>
                    <a:pt x="27" y="23"/>
                    <a:pt x="27" y="23"/>
                  </a:cubicBezTo>
                  <a:cubicBezTo>
                    <a:pt x="27" y="22"/>
                    <a:pt x="27" y="22"/>
                    <a:pt x="27" y="22"/>
                  </a:cubicBezTo>
                  <a:cubicBezTo>
                    <a:pt x="27" y="22"/>
                    <a:pt x="27" y="21"/>
                    <a:pt x="27" y="21"/>
                  </a:cubicBezTo>
                  <a:cubicBezTo>
                    <a:pt x="27" y="20"/>
                    <a:pt x="27" y="20"/>
                    <a:pt x="27" y="20"/>
                  </a:cubicBezTo>
                  <a:cubicBezTo>
                    <a:pt x="27" y="20"/>
                    <a:pt x="27" y="20"/>
                    <a:pt x="27" y="20"/>
                  </a:cubicBezTo>
                  <a:cubicBezTo>
                    <a:pt x="27" y="20"/>
                    <a:pt x="27" y="20"/>
                    <a:pt x="27" y="20"/>
                  </a:cubicBezTo>
                  <a:cubicBezTo>
                    <a:pt x="27" y="17"/>
                    <a:pt x="27" y="17"/>
                    <a:pt x="27" y="17"/>
                  </a:cubicBezTo>
                  <a:cubicBezTo>
                    <a:pt x="28" y="17"/>
                    <a:pt x="28" y="17"/>
                    <a:pt x="28" y="17"/>
                  </a:cubicBezTo>
                  <a:cubicBezTo>
                    <a:pt x="27" y="14"/>
                    <a:pt x="27" y="14"/>
                    <a:pt x="27" y="14"/>
                  </a:cubicBezTo>
                  <a:cubicBezTo>
                    <a:pt x="27" y="14"/>
                    <a:pt x="27" y="13"/>
                    <a:pt x="27" y="13"/>
                  </a:cubicBezTo>
                  <a:cubicBezTo>
                    <a:pt x="27" y="11"/>
                    <a:pt x="27" y="10"/>
                    <a:pt x="27" y="9"/>
                  </a:cubicBezTo>
                  <a:cubicBezTo>
                    <a:pt x="26" y="9"/>
                    <a:pt x="26" y="9"/>
                    <a:pt x="26" y="9"/>
                  </a:cubicBezTo>
                  <a:cubicBezTo>
                    <a:pt x="26" y="8"/>
                    <a:pt x="26" y="8"/>
                    <a:pt x="26" y="8"/>
                  </a:cubicBezTo>
                  <a:cubicBezTo>
                    <a:pt x="25" y="8"/>
                    <a:pt x="25" y="8"/>
                    <a:pt x="24" y="7"/>
                  </a:cubicBezTo>
                  <a:cubicBezTo>
                    <a:pt x="24" y="7"/>
                    <a:pt x="23" y="7"/>
                    <a:pt x="23" y="6"/>
                  </a:cubicBezTo>
                  <a:cubicBezTo>
                    <a:pt x="22" y="6"/>
                    <a:pt x="22" y="6"/>
                    <a:pt x="22" y="6"/>
                  </a:cubicBezTo>
                  <a:cubicBezTo>
                    <a:pt x="22" y="5"/>
                    <a:pt x="22" y="5"/>
                    <a:pt x="22" y="5"/>
                  </a:cubicBezTo>
                  <a:cubicBezTo>
                    <a:pt x="21" y="5"/>
                    <a:pt x="21" y="5"/>
                    <a:pt x="21" y="4"/>
                  </a:cubicBezTo>
                  <a:cubicBezTo>
                    <a:pt x="20" y="4"/>
                    <a:pt x="20" y="4"/>
                    <a:pt x="20" y="4"/>
                  </a:cubicBezTo>
                  <a:cubicBezTo>
                    <a:pt x="20" y="3"/>
                    <a:pt x="19" y="3"/>
                    <a:pt x="19" y="2"/>
                  </a:cubicBezTo>
                  <a:cubicBezTo>
                    <a:pt x="18" y="2"/>
                    <a:pt x="18" y="2"/>
                    <a:pt x="18" y="2"/>
                  </a:cubicBezTo>
                  <a:cubicBezTo>
                    <a:pt x="18" y="1"/>
                    <a:pt x="18" y="1"/>
                    <a:pt x="18" y="1"/>
                  </a:cubicBezTo>
                  <a:cubicBezTo>
                    <a:pt x="16" y="2"/>
                    <a:pt x="14" y="2"/>
                    <a:pt x="13" y="2"/>
                  </a:cubicBezTo>
                  <a:cubicBezTo>
                    <a:pt x="12" y="2"/>
                    <a:pt x="10" y="2"/>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268"/>
            <p:cNvSpPr/>
            <p:nvPr/>
          </p:nvSpPr>
          <p:spPr bwMode="auto">
            <a:xfrm>
              <a:off x="4783" y="193"/>
              <a:ext cx="81" cy="78"/>
            </a:xfrm>
            <a:custGeom>
              <a:gdLst>
                <a:gd name="T0" fmla="*/ 14 w 34"/>
                <a:gd name="T1" fmla="*/ 0 h 33"/>
                <a:gd name="T2" fmla="*/ 15 w 34"/>
                <a:gd name="T3" fmla="*/ 4 h 33"/>
                <a:gd name="T4" fmla="*/ 12 w 34"/>
                <a:gd name="T5" fmla="*/ 7 h 33"/>
                <a:gd name="T6" fmla="*/ 9 w 34"/>
                <a:gd name="T7" fmla="*/ 8 h 33"/>
                <a:gd name="T8" fmla="*/ 9 w 34"/>
                <a:gd name="T9" fmla="*/ 8 h 33"/>
                <a:gd name="T10" fmla="*/ 9 w 34"/>
                <a:gd name="T11" fmla="*/ 8 h 33"/>
                <a:gd name="T12" fmla="*/ 9 w 34"/>
                <a:gd name="T13" fmla="*/ 9 h 33"/>
                <a:gd name="T14" fmla="*/ 11 w 34"/>
                <a:gd name="T15" fmla="*/ 11 h 33"/>
                <a:gd name="T16" fmla="*/ 5 w 34"/>
                <a:gd name="T17" fmla="*/ 12 h 33"/>
                <a:gd name="T18" fmla="*/ 2 w 34"/>
                <a:gd name="T19" fmla="*/ 13 h 33"/>
                <a:gd name="T20" fmla="*/ 0 w 34"/>
                <a:gd name="T21" fmla="*/ 14 h 33"/>
                <a:gd name="T22" fmla="*/ 0 w 34"/>
                <a:gd name="T23" fmla="*/ 16 h 33"/>
                <a:gd name="T24" fmla="*/ 1 w 34"/>
                <a:gd name="T25" fmla="*/ 17 h 33"/>
                <a:gd name="T26" fmla="*/ 6 w 34"/>
                <a:gd name="T27" fmla="*/ 22 h 33"/>
                <a:gd name="T28" fmla="*/ 9 w 34"/>
                <a:gd name="T29" fmla="*/ 24 h 33"/>
                <a:gd name="T30" fmla="*/ 10 w 34"/>
                <a:gd name="T31" fmla="*/ 25 h 33"/>
                <a:gd name="T32" fmla="*/ 10 w 34"/>
                <a:gd name="T33" fmla="*/ 25 h 33"/>
                <a:gd name="T34" fmla="*/ 10 w 34"/>
                <a:gd name="T35" fmla="*/ 26 h 33"/>
                <a:gd name="T36" fmla="*/ 11 w 34"/>
                <a:gd name="T37" fmla="*/ 27 h 33"/>
                <a:gd name="T38" fmla="*/ 12 w 34"/>
                <a:gd name="T39" fmla="*/ 32 h 33"/>
                <a:gd name="T40" fmla="*/ 12 w 34"/>
                <a:gd name="T41" fmla="*/ 33 h 33"/>
                <a:gd name="T42" fmla="*/ 13 w 34"/>
                <a:gd name="T43" fmla="*/ 32 h 33"/>
                <a:gd name="T44" fmla="*/ 15 w 34"/>
                <a:gd name="T45" fmla="*/ 29 h 33"/>
                <a:gd name="T46" fmla="*/ 16 w 34"/>
                <a:gd name="T47" fmla="*/ 28 h 33"/>
                <a:gd name="T48" fmla="*/ 18 w 34"/>
                <a:gd name="T49" fmla="*/ 27 h 33"/>
                <a:gd name="T50" fmla="*/ 18 w 34"/>
                <a:gd name="T51" fmla="*/ 27 h 33"/>
                <a:gd name="T52" fmla="*/ 17 w 34"/>
                <a:gd name="T53" fmla="*/ 20 h 33"/>
                <a:gd name="T54" fmla="*/ 20 w 34"/>
                <a:gd name="T55" fmla="*/ 26 h 33"/>
                <a:gd name="T56" fmla="*/ 20 w 34"/>
                <a:gd name="T57" fmla="*/ 26 h 33"/>
                <a:gd name="T58" fmla="*/ 20 w 34"/>
                <a:gd name="T59" fmla="*/ 26 h 33"/>
                <a:gd name="T60" fmla="*/ 21 w 34"/>
                <a:gd name="T61" fmla="*/ 26 h 33"/>
                <a:gd name="T62" fmla="*/ 24 w 34"/>
                <a:gd name="T63" fmla="*/ 27 h 33"/>
                <a:gd name="T64" fmla="*/ 25 w 34"/>
                <a:gd name="T65" fmla="*/ 27 h 33"/>
                <a:gd name="T66" fmla="*/ 28 w 34"/>
                <a:gd name="T67" fmla="*/ 24 h 33"/>
                <a:gd name="T68" fmla="*/ 30 w 34"/>
                <a:gd name="T69" fmla="*/ 24 h 33"/>
                <a:gd name="T70" fmla="*/ 31 w 34"/>
                <a:gd name="T71" fmla="*/ 24 h 33"/>
                <a:gd name="T72" fmla="*/ 31 w 34"/>
                <a:gd name="T73" fmla="*/ 23 h 33"/>
                <a:gd name="T74" fmla="*/ 32 w 34"/>
                <a:gd name="T75" fmla="*/ 20 h 33"/>
                <a:gd name="T76" fmla="*/ 34 w 34"/>
                <a:gd name="T77" fmla="*/ 17 h 33"/>
                <a:gd name="T78" fmla="*/ 34 w 34"/>
                <a:gd name="T79" fmla="*/ 17 h 33"/>
                <a:gd name="T80" fmla="*/ 28 w 34"/>
                <a:gd name="T81" fmla="*/ 13 h 33"/>
                <a:gd name="T82" fmla="*/ 27 w 34"/>
                <a:gd name="T83" fmla="*/ 10 h 33"/>
                <a:gd name="T84" fmla="*/ 27 w 34"/>
                <a:gd name="T85" fmla="*/ 10 h 33"/>
                <a:gd name="T86" fmla="*/ 27 w 34"/>
                <a:gd name="T87" fmla="*/ 8 h 33"/>
                <a:gd name="T88" fmla="*/ 26 w 34"/>
                <a:gd name="T89" fmla="*/ 8 h 33"/>
                <a:gd name="T90" fmla="*/ 20 w 34"/>
                <a:gd name="T91" fmla="*/ 1 h 33"/>
                <a:gd name="T92" fmla="*/ 18 w 34"/>
                <a:gd name="T93" fmla="*/ 0 h 33"/>
                <a:gd name="T94" fmla="*/ 16 w 34"/>
                <a:gd name="T95" fmla="*/ 0 h 33"/>
                <a:gd name="T96" fmla="*/ 15 w 34"/>
                <a:gd name="T97" fmla="*/ 0 h 33"/>
                <a:gd name="T98" fmla="*/ 14 w 34"/>
                <a:gd name="T99"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3">
                  <a:moveTo>
                    <a:pt x="14" y="0"/>
                  </a:moveTo>
                  <a:cubicBezTo>
                    <a:pt x="15" y="1"/>
                    <a:pt x="16" y="2"/>
                    <a:pt x="15" y="4"/>
                  </a:cubicBezTo>
                  <a:cubicBezTo>
                    <a:pt x="15" y="6"/>
                    <a:pt x="13" y="7"/>
                    <a:pt x="12" y="7"/>
                  </a:cubicBezTo>
                  <a:cubicBezTo>
                    <a:pt x="11" y="8"/>
                    <a:pt x="10" y="8"/>
                    <a:pt x="9" y="8"/>
                  </a:cubicBezTo>
                  <a:cubicBezTo>
                    <a:pt x="9" y="8"/>
                    <a:pt x="9" y="8"/>
                    <a:pt x="9" y="8"/>
                  </a:cubicBezTo>
                  <a:cubicBezTo>
                    <a:pt x="9" y="8"/>
                    <a:pt x="9" y="8"/>
                    <a:pt x="9" y="8"/>
                  </a:cubicBezTo>
                  <a:cubicBezTo>
                    <a:pt x="9" y="9"/>
                    <a:pt x="9" y="9"/>
                    <a:pt x="9" y="9"/>
                  </a:cubicBezTo>
                  <a:cubicBezTo>
                    <a:pt x="11" y="11"/>
                    <a:pt x="11" y="11"/>
                    <a:pt x="11" y="11"/>
                  </a:cubicBezTo>
                  <a:cubicBezTo>
                    <a:pt x="5" y="12"/>
                    <a:pt x="5" y="12"/>
                    <a:pt x="5" y="12"/>
                  </a:cubicBezTo>
                  <a:cubicBezTo>
                    <a:pt x="4" y="13"/>
                    <a:pt x="3" y="13"/>
                    <a:pt x="2" y="13"/>
                  </a:cubicBezTo>
                  <a:cubicBezTo>
                    <a:pt x="1" y="13"/>
                    <a:pt x="0" y="14"/>
                    <a:pt x="0" y="14"/>
                  </a:cubicBezTo>
                  <a:cubicBezTo>
                    <a:pt x="0" y="15"/>
                    <a:pt x="0" y="15"/>
                    <a:pt x="0" y="16"/>
                  </a:cubicBezTo>
                  <a:cubicBezTo>
                    <a:pt x="1" y="17"/>
                    <a:pt x="1" y="17"/>
                    <a:pt x="1" y="17"/>
                  </a:cubicBezTo>
                  <a:cubicBezTo>
                    <a:pt x="2" y="19"/>
                    <a:pt x="5" y="21"/>
                    <a:pt x="6" y="22"/>
                  </a:cubicBezTo>
                  <a:cubicBezTo>
                    <a:pt x="7" y="23"/>
                    <a:pt x="8" y="23"/>
                    <a:pt x="9" y="24"/>
                  </a:cubicBezTo>
                  <a:cubicBezTo>
                    <a:pt x="9" y="24"/>
                    <a:pt x="9" y="25"/>
                    <a:pt x="10" y="25"/>
                  </a:cubicBezTo>
                  <a:cubicBezTo>
                    <a:pt x="10" y="25"/>
                    <a:pt x="10" y="25"/>
                    <a:pt x="10" y="25"/>
                  </a:cubicBezTo>
                  <a:cubicBezTo>
                    <a:pt x="10" y="26"/>
                    <a:pt x="10" y="26"/>
                    <a:pt x="10" y="26"/>
                  </a:cubicBezTo>
                  <a:cubicBezTo>
                    <a:pt x="10" y="26"/>
                    <a:pt x="11" y="27"/>
                    <a:pt x="11" y="27"/>
                  </a:cubicBezTo>
                  <a:cubicBezTo>
                    <a:pt x="12" y="29"/>
                    <a:pt x="12" y="30"/>
                    <a:pt x="12" y="32"/>
                  </a:cubicBezTo>
                  <a:cubicBezTo>
                    <a:pt x="12" y="32"/>
                    <a:pt x="12" y="33"/>
                    <a:pt x="12" y="33"/>
                  </a:cubicBezTo>
                  <a:cubicBezTo>
                    <a:pt x="12" y="33"/>
                    <a:pt x="13" y="32"/>
                    <a:pt x="13" y="32"/>
                  </a:cubicBezTo>
                  <a:cubicBezTo>
                    <a:pt x="13" y="31"/>
                    <a:pt x="14" y="30"/>
                    <a:pt x="15" y="29"/>
                  </a:cubicBezTo>
                  <a:cubicBezTo>
                    <a:pt x="16" y="28"/>
                    <a:pt x="16" y="28"/>
                    <a:pt x="16" y="28"/>
                  </a:cubicBezTo>
                  <a:cubicBezTo>
                    <a:pt x="16" y="27"/>
                    <a:pt x="17" y="27"/>
                    <a:pt x="18" y="27"/>
                  </a:cubicBezTo>
                  <a:cubicBezTo>
                    <a:pt x="18" y="27"/>
                    <a:pt x="18" y="27"/>
                    <a:pt x="18" y="27"/>
                  </a:cubicBezTo>
                  <a:cubicBezTo>
                    <a:pt x="17" y="20"/>
                    <a:pt x="17" y="20"/>
                    <a:pt x="17" y="20"/>
                  </a:cubicBezTo>
                  <a:cubicBezTo>
                    <a:pt x="20" y="26"/>
                    <a:pt x="20" y="26"/>
                    <a:pt x="20" y="26"/>
                  </a:cubicBezTo>
                  <a:cubicBezTo>
                    <a:pt x="20" y="26"/>
                    <a:pt x="20" y="26"/>
                    <a:pt x="20" y="26"/>
                  </a:cubicBezTo>
                  <a:cubicBezTo>
                    <a:pt x="20" y="26"/>
                    <a:pt x="20" y="26"/>
                    <a:pt x="20" y="26"/>
                  </a:cubicBezTo>
                  <a:cubicBezTo>
                    <a:pt x="20" y="26"/>
                    <a:pt x="21" y="26"/>
                    <a:pt x="21" y="26"/>
                  </a:cubicBezTo>
                  <a:cubicBezTo>
                    <a:pt x="22" y="26"/>
                    <a:pt x="24" y="27"/>
                    <a:pt x="24" y="27"/>
                  </a:cubicBezTo>
                  <a:cubicBezTo>
                    <a:pt x="25" y="27"/>
                    <a:pt x="25" y="27"/>
                    <a:pt x="25" y="27"/>
                  </a:cubicBezTo>
                  <a:cubicBezTo>
                    <a:pt x="25" y="26"/>
                    <a:pt x="26" y="25"/>
                    <a:pt x="28" y="24"/>
                  </a:cubicBezTo>
                  <a:cubicBezTo>
                    <a:pt x="29" y="24"/>
                    <a:pt x="30" y="24"/>
                    <a:pt x="30" y="24"/>
                  </a:cubicBezTo>
                  <a:cubicBezTo>
                    <a:pt x="31" y="24"/>
                    <a:pt x="31" y="24"/>
                    <a:pt x="31" y="24"/>
                  </a:cubicBezTo>
                  <a:cubicBezTo>
                    <a:pt x="31" y="23"/>
                    <a:pt x="31" y="23"/>
                    <a:pt x="31" y="23"/>
                  </a:cubicBezTo>
                  <a:cubicBezTo>
                    <a:pt x="31" y="22"/>
                    <a:pt x="32" y="21"/>
                    <a:pt x="32" y="20"/>
                  </a:cubicBezTo>
                  <a:cubicBezTo>
                    <a:pt x="33" y="19"/>
                    <a:pt x="34" y="18"/>
                    <a:pt x="34" y="17"/>
                  </a:cubicBezTo>
                  <a:cubicBezTo>
                    <a:pt x="34" y="17"/>
                    <a:pt x="34" y="17"/>
                    <a:pt x="34" y="17"/>
                  </a:cubicBezTo>
                  <a:cubicBezTo>
                    <a:pt x="33" y="17"/>
                    <a:pt x="30" y="16"/>
                    <a:pt x="28" y="13"/>
                  </a:cubicBezTo>
                  <a:cubicBezTo>
                    <a:pt x="28" y="12"/>
                    <a:pt x="27" y="11"/>
                    <a:pt x="27" y="10"/>
                  </a:cubicBezTo>
                  <a:cubicBezTo>
                    <a:pt x="27" y="10"/>
                    <a:pt x="27" y="10"/>
                    <a:pt x="27" y="10"/>
                  </a:cubicBezTo>
                  <a:cubicBezTo>
                    <a:pt x="27" y="10"/>
                    <a:pt x="27" y="9"/>
                    <a:pt x="27" y="8"/>
                  </a:cubicBezTo>
                  <a:cubicBezTo>
                    <a:pt x="26" y="8"/>
                    <a:pt x="26" y="8"/>
                    <a:pt x="26" y="8"/>
                  </a:cubicBezTo>
                  <a:cubicBezTo>
                    <a:pt x="22" y="8"/>
                    <a:pt x="20" y="5"/>
                    <a:pt x="20" y="1"/>
                  </a:cubicBezTo>
                  <a:cubicBezTo>
                    <a:pt x="20" y="1"/>
                    <a:pt x="19" y="1"/>
                    <a:pt x="18" y="0"/>
                  </a:cubicBezTo>
                  <a:cubicBezTo>
                    <a:pt x="17" y="0"/>
                    <a:pt x="17" y="0"/>
                    <a:pt x="16" y="0"/>
                  </a:cubicBezTo>
                  <a:cubicBezTo>
                    <a:pt x="15" y="0"/>
                    <a:pt x="15" y="0"/>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269"/>
            <p:cNvSpPr/>
            <p:nvPr/>
          </p:nvSpPr>
          <p:spPr bwMode="auto">
            <a:xfrm>
              <a:off x="4809" y="257"/>
              <a:ext cx="126" cy="85"/>
            </a:xfrm>
            <a:custGeom>
              <a:gdLst>
                <a:gd name="T0" fmla="*/ 34 w 53"/>
                <a:gd name="T1" fmla="*/ 1 h 36"/>
                <a:gd name="T2" fmla="*/ 27 w 53"/>
                <a:gd name="T3" fmla="*/ 2 h 36"/>
                <a:gd name="T4" fmla="*/ 24 w 53"/>
                <a:gd name="T5" fmla="*/ 2 h 36"/>
                <a:gd name="T6" fmla="*/ 21 w 53"/>
                <a:gd name="T7" fmla="*/ 2 h 36"/>
                <a:gd name="T8" fmla="*/ 20 w 53"/>
                <a:gd name="T9" fmla="*/ 3 h 36"/>
                <a:gd name="T10" fmla="*/ 15 w 53"/>
                <a:gd name="T11" fmla="*/ 7 h 36"/>
                <a:gd name="T12" fmla="*/ 9 w 53"/>
                <a:gd name="T13" fmla="*/ 5 h 36"/>
                <a:gd name="T14" fmla="*/ 9 w 53"/>
                <a:gd name="T15" fmla="*/ 5 h 36"/>
                <a:gd name="T16" fmla="*/ 7 w 53"/>
                <a:gd name="T17" fmla="*/ 8 h 36"/>
                <a:gd name="T18" fmla="*/ 3 w 53"/>
                <a:gd name="T19" fmla="*/ 13 h 36"/>
                <a:gd name="T20" fmla="*/ 1 w 53"/>
                <a:gd name="T21" fmla="*/ 14 h 36"/>
                <a:gd name="T22" fmla="*/ 1 w 53"/>
                <a:gd name="T23" fmla="*/ 18 h 36"/>
                <a:gd name="T24" fmla="*/ 1 w 53"/>
                <a:gd name="T25" fmla="*/ 23 h 36"/>
                <a:gd name="T26" fmla="*/ 0 w 53"/>
                <a:gd name="T27" fmla="*/ 27 h 36"/>
                <a:gd name="T28" fmla="*/ 2 w 53"/>
                <a:gd name="T29" fmla="*/ 30 h 36"/>
                <a:gd name="T30" fmla="*/ 6 w 53"/>
                <a:gd name="T31" fmla="*/ 34 h 36"/>
                <a:gd name="T32" fmla="*/ 8 w 53"/>
                <a:gd name="T33" fmla="*/ 35 h 36"/>
                <a:gd name="T34" fmla="*/ 9 w 53"/>
                <a:gd name="T35" fmla="*/ 36 h 36"/>
                <a:gd name="T36" fmla="*/ 10 w 53"/>
                <a:gd name="T37" fmla="*/ 35 h 36"/>
                <a:gd name="T38" fmla="*/ 14 w 53"/>
                <a:gd name="T39" fmla="*/ 35 h 36"/>
                <a:gd name="T40" fmla="*/ 18 w 53"/>
                <a:gd name="T41" fmla="*/ 34 h 36"/>
                <a:gd name="T42" fmla="*/ 23 w 53"/>
                <a:gd name="T43" fmla="*/ 34 h 36"/>
                <a:gd name="T44" fmla="*/ 26 w 53"/>
                <a:gd name="T45" fmla="*/ 33 h 36"/>
                <a:gd name="T46" fmla="*/ 28 w 53"/>
                <a:gd name="T47" fmla="*/ 30 h 36"/>
                <a:gd name="T48" fmla="*/ 36 w 53"/>
                <a:gd name="T49" fmla="*/ 27 h 36"/>
                <a:gd name="T50" fmla="*/ 41 w 53"/>
                <a:gd name="T51" fmla="*/ 28 h 36"/>
                <a:gd name="T52" fmla="*/ 43 w 53"/>
                <a:gd name="T53" fmla="*/ 28 h 36"/>
                <a:gd name="T54" fmla="*/ 46 w 53"/>
                <a:gd name="T55" fmla="*/ 27 h 36"/>
                <a:gd name="T56" fmla="*/ 47 w 53"/>
                <a:gd name="T57" fmla="*/ 24 h 36"/>
                <a:gd name="T58" fmla="*/ 50 w 53"/>
                <a:gd name="T59" fmla="*/ 22 h 36"/>
                <a:gd name="T60" fmla="*/ 52 w 53"/>
                <a:gd name="T61" fmla="*/ 21 h 36"/>
                <a:gd name="T62" fmla="*/ 53 w 53"/>
                <a:gd name="T63" fmla="*/ 15 h 36"/>
                <a:gd name="T64" fmla="*/ 53 w 53"/>
                <a:gd name="T65" fmla="*/ 14 h 36"/>
                <a:gd name="T66" fmla="*/ 47 w 53"/>
                <a:gd name="T67" fmla="*/ 7 h 36"/>
                <a:gd name="T68" fmla="*/ 46 w 53"/>
                <a:gd name="T69" fmla="*/ 7 h 36"/>
                <a:gd name="T70" fmla="*/ 45 w 53"/>
                <a:gd name="T71" fmla="*/ 6 h 36"/>
                <a:gd name="T72" fmla="*/ 39 w 53"/>
                <a:gd name="T73"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36">
                  <a:moveTo>
                    <a:pt x="39" y="0"/>
                  </a:moveTo>
                  <a:cubicBezTo>
                    <a:pt x="34" y="1"/>
                    <a:pt x="34" y="1"/>
                    <a:pt x="34" y="1"/>
                  </a:cubicBezTo>
                  <a:cubicBezTo>
                    <a:pt x="35" y="1"/>
                    <a:pt x="35" y="1"/>
                    <a:pt x="35" y="1"/>
                  </a:cubicBezTo>
                  <a:cubicBezTo>
                    <a:pt x="32" y="1"/>
                    <a:pt x="30" y="1"/>
                    <a:pt x="27" y="2"/>
                  </a:cubicBezTo>
                  <a:cubicBezTo>
                    <a:pt x="25" y="2"/>
                    <a:pt x="25" y="2"/>
                    <a:pt x="25" y="2"/>
                  </a:cubicBezTo>
                  <a:cubicBezTo>
                    <a:pt x="24" y="2"/>
                    <a:pt x="24" y="2"/>
                    <a:pt x="24" y="2"/>
                  </a:cubicBezTo>
                  <a:cubicBezTo>
                    <a:pt x="24" y="2"/>
                    <a:pt x="24" y="2"/>
                    <a:pt x="24" y="2"/>
                  </a:cubicBezTo>
                  <a:cubicBezTo>
                    <a:pt x="21" y="2"/>
                    <a:pt x="21" y="2"/>
                    <a:pt x="21" y="2"/>
                  </a:cubicBezTo>
                  <a:cubicBezTo>
                    <a:pt x="20" y="2"/>
                    <a:pt x="20" y="2"/>
                    <a:pt x="20" y="2"/>
                  </a:cubicBezTo>
                  <a:cubicBezTo>
                    <a:pt x="20" y="2"/>
                    <a:pt x="20" y="2"/>
                    <a:pt x="20" y="3"/>
                  </a:cubicBezTo>
                  <a:cubicBezTo>
                    <a:pt x="19" y="3"/>
                    <a:pt x="19" y="5"/>
                    <a:pt x="17" y="6"/>
                  </a:cubicBezTo>
                  <a:cubicBezTo>
                    <a:pt x="17" y="6"/>
                    <a:pt x="16" y="7"/>
                    <a:pt x="15" y="7"/>
                  </a:cubicBezTo>
                  <a:cubicBezTo>
                    <a:pt x="14" y="7"/>
                    <a:pt x="12" y="6"/>
                    <a:pt x="11" y="6"/>
                  </a:cubicBezTo>
                  <a:cubicBezTo>
                    <a:pt x="11" y="5"/>
                    <a:pt x="10" y="5"/>
                    <a:pt x="9" y="5"/>
                  </a:cubicBezTo>
                  <a:cubicBezTo>
                    <a:pt x="9" y="5"/>
                    <a:pt x="9" y="5"/>
                    <a:pt x="9" y="5"/>
                  </a:cubicBezTo>
                  <a:cubicBezTo>
                    <a:pt x="9" y="5"/>
                    <a:pt x="9" y="5"/>
                    <a:pt x="9" y="5"/>
                  </a:cubicBezTo>
                  <a:cubicBezTo>
                    <a:pt x="8" y="6"/>
                    <a:pt x="8" y="6"/>
                    <a:pt x="8" y="6"/>
                  </a:cubicBezTo>
                  <a:cubicBezTo>
                    <a:pt x="8" y="6"/>
                    <a:pt x="7" y="7"/>
                    <a:pt x="7" y="8"/>
                  </a:cubicBezTo>
                  <a:cubicBezTo>
                    <a:pt x="6" y="9"/>
                    <a:pt x="6" y="9"/>
                    <a:pt x="5" y="10"/>
                  </a:cubicBezTo>
                  <a:cubicBezTo>
                    <a:pt x="5" y="11"/>
                    <a:pt x="4" y="12"/>
                    <a:pt x="3" y="13"/>
                  </a:cubicBezTo>
                  <a:cubicBezTo>
                    <a:pt x="3" y="13"/>
                    <a:pt x="2" y="13"/>
                    <a:pt x="1" y="13"/>
                  </a:cubicBezTo>
                  <a:cubicBezTo>
                    <a:pt x="1" y="14"/>
                    <a:pt x="1" y="14"/>
                    <a:pt x="1" y="14"/>
                  </a:cubicBezTo>
                  <a:cubicBezTo>
                    <a:pt x="1" y="15"/>
                    <a:pt x="1" y="15"/>
                    <a:pt x="1" y="15"/>
                  </a:cubicBezTo>
                  <a:cubicBezTo>
                    <a:pt x="1" y="16"/>
                    <a:pt x="1" y="17"/>
                    <a:pt x="1" y="18"/>
                  </a:cubicBezTo>
                  <a:cubicBezTo>
                    <a:pt x="0" y="20"/>
                    <a:pt x="0" y="20"/>
                    <a:pt x="0" y="20"/>
                  </a:cubicBezTo>
                  <a:cubicBezTo>
                    <a:pt x="0" y="21"/>
                    <a:pt x="1" y="22"/>
                    <a:pt x="1" y="23"/>
                  </a:cubicBezTo>
                  <a:cubicBezTo>
                    <a:pt x="1" y="24"/>
                    <a:pt x="0" y="25"/>
                    <a:pt x="0" y="26"/>
                  </a:cubicBezTo>
                  <a:cubicBezTo>
                    <a:pt x="0" y="27"/>
                    <a:pt x="0" y="27"/>
                    <a:pt x="0" y="27"/>
                  </a:cubicBezTo>
                  <a:cubicBezTo>
                    <a:pt x="0" y="28"/>
                    <a:pt x="1" y="28"/>
                    <a:pt x="1" y="29"/>
                  </a:cubicBezTo>
                  <a:cubicBezTo>
                    <a:pt x="2" y="29"/>
                    <a:pt x="2" y="29"/>
                    <a:pt x="2" y="30"/>
                  </a:cubicBezTo>
                  <a:cubicBezTo>
                    <a:pt x="4" y="31"/>
                    <a:pt x="4" y="32"/>
                    <a:pt x="5" y="34"/>
                  </a:cubicBezTo>
                  <a:cubicBezTo>
                    <a:pt x="6" y="34"/>
                    <a:pt x="6" y="34"/>
                    <a:pt x="6" y="34"/>
                  </a:cubicBezTo>
                  <a:cubicBezTo>
                    <a:pt x="7" y="34"/>
                    <a:pt x="7" y="34"/>
                    <a:pt x="8" y="35"/>
                  </a:cubicBezTo>
                  <a:cubicBezTo>
                    <a:pt x="8" y="35"/>
                    <a:pt x="8" y="35"/>
                    <a:pt x="8" y="35"/>
                  </a:cubicBezTo>
                  <a:cubicBezTo>
                    <a:pt x="9" y="35"/>
                    <a:pt x="9" y="35"/>
                    <a:pt x="9" y="35"/>
                  </a:cubicBezTo>
                  <a:cubicBezTo>
                    <a:pt x="9" y="36"/>
                    <a:pt x="9" y="36"/>
                    <a:pt x="9" y="36"/>
                  </a:cubicBezTo>
                  <a:cubicBezTo>
                    <a:pt x="9" y="36"/>
                    <a:pt x="9" y="36"/>
                    <a:pt x="9" y="36"/>
                  </a:cubicBezTo>
                  <a:cubicBezTo>
                    <a:pt x="10" y="36"/>
                    <a:pt x="10" y="36"/>
                    <a:pt x="10" y="35"/>
                  </a:cubicBezTo>
                  <a:cubicBezTo>
                    <a:pt x="11" y="35"/>
                    <a:pt x="11" y="35"/>
                    <a:pt x="12" y="35"/>
                  </a:cubicBezTo>
                  <a:cubicBezTo>
                    <a:pt x="14" y="35"/>
                    <a:pt x="14" y="35"/>
                    <a:pt x="14" y="35"/>
                  </a:cubicBezTo>
                  <a:cubicBezTo>
                    <a:pt x="15" y="35"/>
                    <a:pt x="15" y="35"/>
                    <a:pt x="15" y="35"/>
                  </a:cubicBezTo>
                  <a:cubicBezTo>
                    <a:pt x="18" y="34"/>
                    <a:pt x="18" y="34"/>
                    <a:pt x="18" y="34"/>
                  </a:cubicBezTo>
                  <a:cubicBezTo>
                    <a:pt x="19" y="34"/>
                    <a:pt x="20" y="34"/>
                    <a:pt x="22" y="34"/>
                  </a:cubicBezTo>
                  <a:cubicBezTo>
                    <a:pt x="22" y="34"/>
                    <a:pt x="23" y="34"/>
                    <a:pt x="23" y="34"/>
                  </a:cubicBezTo>
                  <a:cubicBezTo>
                    <a:pt x="26" y="33"/>
                    <a:pt x="26" y="33"/>
                    <a:pt x="26" y="33"/>
                  </a:cubicBezTo>
                  <a:cubicBezTo>
                    <a:pt x="26" y="33"/>
                    <a:pt x="26" y="33"/>
                    <a:pt x="26" y="33"/>
                  </a:cubicBezTo>
                  <a:cubicBezTo>
                    <a:pt x="26" y="33"/>
                    <a:pt x="26" y="33"/>
                    <a:pt x="26" y="33"/>
                  </a:cubicBezTo>
                  <a:cubicBezTo>
                    <a:pt x="26" y="32"/>
                    <a:pt x="27" y="31"/>
                    <a:pt x="28" y="30"/>
                  </a:cubicBezTo>
                  <a:cubicBezTo>
                    <a:pt x="29" y="29"/>
                    <a:pt x="31" y="28"/>
                    <a:pt x="32" y="28"/>
                  </a:cubicBezTo>
                  <a:cubicBezTo>
                    <a:pt x="33" y="27"/>
                    <a:pt x="34" y="27"/>
                    <a:pt x="36" y="27"/>
                  </a:cubicBezTo>
                  <a:cubicBezTo>
                    <a:pt x="36" y="27"/>
                    <a:pt x="37" y="27"/>
                    <a:pt x="37" y="27"/>
                  </a:cubicBezTo>
                  <a:cubicBezTo>
                    <a:pt x="38" y="27"/>
                    <a:pt x="40" y="27"/>
                    <a:pt x="41" y="28"/>
                  </a:cubicBezTo>
                  <a:cubicBezTo>
                    <a:pt x="42" y="28"/>
                    <a:pt x="42" y="28"/>
                    <a:pt x="42" y="28"/>
                  </a:cubicBezTo>
                  <a:cubicBezTo>
                    <a:pt x="43" y="28"/>
                    <a:pt x="43" y="28"/>
                    <a:pt x="43" y="28"/>
                  </a:cubicBezTo>
                  <a:cubicBezTo>
                    <a:pt x="44" y="28"/>
                    <a:pt x="45" y="28"/>
                    <a:pt x="45" y="28"/>
                  </a:cubicBezTo>
                  <a:cubicBezTo>
                    <a:pt x="45" y="27"/>
                    <a:pt x="46" y="27"/>
                    <a:pt x="46" y="27"/>
                  </a:cubicBezTo>
                  <a:cubicBezTo>
                    <a:pt x="46" y="26"/>
                    <a:pt x="46" y="26"/>
                    <a:pt x="46" y="26"/>
                  </a:cubicBezTo>
                  <a:cubicBezTo>
                    <a:pt x="46" y="26"/>
                    <a:pt x="47" y="25"/>
                    <a:pt x="47" y="24"/>
                  </a:cubicBezTo>
                  <a:cubicBezTo>
                    <a:pt x="48" y="23"/>
                    <a:pt x="49" y="22"/>
                    <a:pt x="50" y="22"/>
                  </a:cubicBezTo>
                  <a:cubicBezTo>
                    <a:pt x="50" y="22"/>
                    <a:pt x="50" y="22"/>
                    <a:pt x="50" y="22"/>
                  </a:cubicBezTo>
                  <a:cubicBezTo>
                    <a:pt x="52" y="22"/>
                    <a:pt x="52" y="22"/>
                    <a:pt x="52" y="22"/>
                  </a:cubicBezTo>
                  <a:cubicBezTo>
                    <a:pt x="52" y="21"/>
                    <a:pt x="52" y="21"/>
                    <a:pt x="52" y="21"/>
                  </a:cubicBezTo>
                  <a:cubicBezTo>
                    <a:pt x="52" y="20"/>
                    <a:pt x="53" y="16"/>
                    <a:pt x="53" y="15"/>
                  </a:cubicBezTo>
                  <a:cubicBezTo>
                    <a:pt x="53" y="15"/>
                    <a:pt x="53" y="15"/>
                    <a:pt x="53" y="15"/>
                  </a:cubicBezTo>
                  <a:cubicBezTo>
                    <a:pt x="53" y="14"/>
                    <a:pt x="53" y="14"/>
                    <a:pt x="53" y="14"/>
                  </a:cubicBezTo>
                  <a:cubicBezTo>
                    <a:pt x="53" y="14"/>
                    <a:pt x="53" y="14"/>
                    <a:pt x="53" y="14"/>
                  </a:cubicBezTo>
                  <a:cubicBezTo>
                    <a:pt x="53" y="14"/>
                    <a:pt x="53" y="13"/>
                    <a:pt x="47" y="8"/>
                  </a:cubicBezTo>
                  <a:cubicBezTo>
                    <a:pt x="47" y="7"/>
                    <a:pt x="47" y="7"/>
                    <a:pt x="47" y="7"/>
                  </a:cubicBezTo>
                  <a:cubicBezTo>
                    <a:pt x="43" y="11"/>
                    <a:pt x="43" y="11"/>
                    <a:pt x="43" y="11"/>
                  </a:cubicBezTo>
                  <a:cubicBezTo>
                    <a:pt x="46" y="7"/>
                    <a:pt x="46" y="7"/>
                    <a:pt x="46" y="7"/>
                  </a:cubicBezTo>
                  <a:cubicBezTo>
                    <a:pt x="45" y="6"/>
                    <a:pt x="45" y="6"/>
                    <a:pt x="45" y="6"/>
                  </a:cubicBezTo>
                  <a:cubicBezTo>
                    <a:pt x="45" y="6"/>
                    <a:pt x="45" y="6"/>
                    <a:pt x="45" y="6"/>
                  </a:cubicBezTo>
                  <a:cubicBezTo>
                    <a:pt x="44" y="5"/>
                    <a:pt x="44" y="5"/>
                    <a:pt x="44" y="5"/>
                  </a:cubicBezTo>
                  <a:cubicBezTo>
                    <a:pt x="43" y="4"/>
                    <a:pt x="41" y="2"/>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70"/>
            <p:cNvSpPr/>
            <p:nvPr/>
          </p:nvSpPr>
          <p:spPr bwMode="auto">
            <a:xfrm>
              <a:off x="4779" y="297"/>
              <a:ext cx="356" cy="340"/>
            </a:xfrm>
            <a:custGeom>
              <a:gdLst>
                <a:gd name="T0" fmla="*/ 145 w 151"/>
                <a:gd name="T1" fmla="*/ 8 h 144"/>
                <a:gd name="T2" fmla="*/ 129 w 151"/>
                <a:gd name="T3" fmla="*/ 12 h 144"/>
                <a:gd name="T4" fmla="*/ 120 w 151"/>
                <a:gd name="T5" fmla="*/ 13 h 144"/>
                <a:gd name="T6" fmla="*/ 116 w 151"/>
                <a:gd name="T7" fmla="*/ 11 h 144"/>
                <a:gd name="T8" fmla="*/ 104 w 151"/>
                <a:gd name="T9" fmla="*/ 4 h 144"/>
                <a:gd name="T10" fmla="*/ 98 w 151"/>
                <a:gd name="T11" fmla="*/ 5 h 144"/>
                <a:gd name="T12" fmla="*/ 84 w 151"/>
                <a:gd name="T13" fmla="*/ 10 h 144"/>
                <a:gd name="T14" fmla="*/ 65 w 151"/>
                <a:gd name="T15" fmla="*/ 11 h 144"/>
                <a:gd name="T16" fmla="*/ 54 w 151"/>
                <a:gd name="T17" fmla="*/ 17 h 144"/>
                <a:gd name="T18" fmla="*/ 49 w 151"/>
                <a:gd name="T19" fmla="*/ 16 h 144"/>
                <a:gd name="T20" fmla="*/ 44 w 151"/>
                <a:gd name="T21" fmla="*/ 18 h 144"/>
                <a:gd name="T22" fmla="*/ 38 w 151"/>
                <a:gd name="T23" fmla="*/ 22 h 144"/>
                <a:gd name="T24" fmla="*/ 29 w 151"/>
                <a:gd name="T25" fmla="*/ 23 h 144"/>
                <a:gd name="T26" fmla="*/ 24 w 151"/>
                <a:gd name="T27" fmla="*/ 24 h 144"/>
                <a:gd name="T28" fmla="*/ 17 w 151"/>
                <a:gd name="T29" fmla="*/ 39 h 144"/>
                <a:gd name="T30" fmla="*/ 11 w 151"/>
                <a:gd name="T31" fmla="*/ 46 h 144"/>
                <a:gd name="T32" fmla="*/ 9 w 151"/>
                <a:gd name="T33" fmla="*/ 46 h 144"/>
                <a:gd name="T34" fmla="*/ 12 w 151"/>
                <a:gd name="T35" fmla="*/ 55 h 144"/>
                <a:gd name="T36" fmla="*/ 3 w 151"/>
                <a:gd name="T37" fmla="*/ 58 h 144"/>
                <a:gd name="T38" fmla="*/ 14 w 151"/>
                <a:gd name="T39" fmla="*/ 72 h 144"/>
                <a:gd name="T40" fmla="*/ 24 w 151"/>
                <a:gd name="T41" fmla="*/ 73 h 144"/>
                <a:gd name="T42" fmla="*/ 19 w 151"/>
                <a:gd name="T43" fmla="*/ 75 h 144"/>
                <a:gd name="T44" fmla="*/ 16 w 151"/>
                <a:gd name="T45" fmla="*/ 77 h 144"/>
                <a:gd name="T46" fmla="*/ 23 w 151"/>
                <a:gd name="T47" fmla="*/ 89 h 144"/>
                <a:gd name="T48" fmla="*/ 33 w 151"/>
                <a:gd name="T49" fmla="*/ 92 h 144"/>
                <a:gd name="T50" fmla="*/ 54 w 151"/>
                <a:gd name="T51" fmla="*/ 90 h 144"/>
                <a:gd name="T52" fmla="*/ 73 w 151"/>
                <a:gd name="T53" fmla="*/ 96 h 144"/>
                <a:gd name="T54" fmla="*/ 50 w 151"/>
                <a:gd name="T55" fmla="*/ 94 h 144"/>
                <a:gd name="T56" fmla="*/ 24 w 151"/>
                <a:gd name="T57" fmla="*/ 103 h 144"/>
                <a:gd name="T58" fmla="*/ 37 w 151"/>
                <a:gd name="T59" fmla="*/ 129 h 144"/>
                <a:gd name="T60" fmla="*/ 44 w 151"/>
                <a:gd name="T61" fmla="*/ 127 h 144"/>
                <a:gd name="T62" fmla="*/ 58 w 151"/>
                <a:gd name="T63" fmla="*/ 136 h 144"/>
                <a:gd name="T64" fmla="*/ 62 w 151"/>
                <a:gd name="T65" fmla="*/ 113 h 144"/>
                <a:gd name="T66" fmla="*/ 78 w 151"/>
                <a:gd name="T67" fmla="*/ 112 h 144"/>
                <a:gd name="T68" fmla="*/ 74 w 151"/>
                <a:gd name="T69" fmla="*/ 111 h 144"/>
                <a:gd name="T70" fmla="*/ 82 w 151"/>
                <a:gd name="T71" fmla="*/ 99 h 144"/>
                <a:gd name="T72" fmla="*/ 84 w 151"/>
                <a:gd name="T73" fmla="*/ 102 h 144"/>
                <a:gd name="T74" fmla="*/ 89 w 151"/>
                <a:gd name="T75" fmla="*/ 106 h 144"/>
                <a:gd name="T76" fmla="*/ 94 w 151"/>
                <a:gd name="T77" fmla="*/ 105 h 144"/>
                <a:gd name="T78" fmla="*/ 66 w 151"/>
                <a:gd name="T79" fmla="*/ 79 h 144"/>
                <a:gd name="T80" fmla="*/ 65 w 151"/>
                <a:gd name="T81" fmla="*/ 68 h 144"/>
                <a:gd name="T82" fmla="*/ 73 w 151"/>
                <a:gd name="T83" fmla="*/ 67 h 144"/>
                <a:gd name="T84" fmla="*/ 70 w 151"/>
                <a:gd name="T85" fmla="*/ 70 h 144"/>
                <a:gd name="T86" fmla="*/ 60 w 151"/>
                <a:gd name="T87" fmla="*/ 45 h 144"/>
                <a:gd name="T88" fmla="*/ 65 w 151"/>
                <a:gd name="T89" fmla="*/ 28 h 144"/>
                <a:gd name="T90" fmla="*/ 65 w 151"/>
                <a:gd name="T91" fmla="*/ 31 h 144"/>
                <a:gd name="T92" fmla="*/ 75 w 151"/>
                <a:gd name="T93" fmla="*/ 38 h 144"/>
                <a:gd name="T94" fmla="*/ 81 w 151"/>
                <a:gd name="T95" fmla="*/ 47 h 144"/>
                <a:gd name="T96" fmla="*/ 81 w 151"/>
                <a:gd name="T97" fmla="*/ 39 h 144"/>
                <a:gd name="T98" fmla="*/ 91 w 151"/>
                <a:gd name="T99" fmla="*/ 47 h 144"/>
                <a:gd name="T100" fmla="*/ 95 w 151"/>
                <a:gd name="T101" fmla="*/ 37 h 144"/>
                <a:gd name="T102" fmla="*/ 106 w 151"/>
                <a:gd name="T103" fmla="*/ 19 h 144"/>
                <a:gd name="T104" fmla="*/ 119 w 151"/>
                <a:gd name="T105" fmla="*/ 17 h 144"/>
                <a:gd name="T106" fmla="*/ 142 w 151"/>
                <a:gd name="T107" fmla="*/ 19 h 144"/>
                <a:gd name="T108" fmla="*/ 144 w 151"/>
                <a:gd name="T109" fmla="*/ 15 h 144"/>
                <a:gd name="T110" fmla="*/ 144 w 151"/>
                <a:gd name="T111" fmla="*/ 10 h 144"/>
                <a:gd name="T112" fmla="*/ 151 w 151"/>
                <a:gd name="T113" fmla="*/ 3 h 144"/>
                <a:gd name="T114" fmla="*/ 149 w 151"/>
                <a:gd name="T115" fmla="*/ 1 h 144"/>
                <a:gd name="T116" fmla="*/ 147 w 151"/>
                <a:gd name="T117" fmla="*/ 0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1" h="144">
                  <a:moveTo>
                    <a:pt x="145" y="0"/>
                  </a:moveTo>
                  <a:cubicBezTo>
                    <a:pt x="146" y="2"/>
                    <a:pt x="145" y="4"/>
                    <a:pt x="145" y="6"/>
                  </a:cubicBezTo>
                  <a:cubicBezTo>
                    <a:pt x="145" y="7"/>
                    <a:pt x="145" y="7"/>
                    <a:pt x="145" y="7"/>
                  </a:cubicBezTo>
                  <a:cubicBezTo>
                    <a:pt x="145" y="8"/>
                    <a:pt x="145" y="8"/>
                    <a:pt x="145" y="8"/>
                  </a:cubicBezTo>
                  <a:cubicBezTo>
                    <a:pt x="143" y="10"/>
                    <a:pt x="140" y="11"/>
                    <a:pt x="137" y="11"/>
                  </a:cubicBezTo>
                  <a:cubicBezTo>
                    <a:pt x="135" y="12"/>
                    <a:pt x="134" y="12"/>
                    <a:pt x="132" y="12"/>
                  </a:cubicBezTo>
                  <a:cubicBezTo>
                    <a:pt x="129" y="12"/>
                    <a:pt x="129" y="12"/>
                    <a:pt x="129" y="12"/>
                  </a:cubicBezTo>
                  <a:cubicBezTo>
                    <a:pt x="129" y="12"/>
                    <a:pt x="129" y="12"/>
                    <a:pt x="129" y="12"/>
                  </a:cubicBezTo>
                  <a:cubicBezTo>
                    <a:pt x="124" y="13"/>
                    <a:pt x="124" y="13"/>
                    <a:pt x="124" y="13"/>
                  </a:cubicBezTo>
                  <a:cubicBezTo>
                    <a:pt x="123" y="13"/>
                    <a:pt x="123" y="13"/>
                    <a:pt x="123" y="13"/>
                  </a:cubicBezTo>
                  <a:cubicBezTo>
                    <a:pt x="123" y="13"/>
                    <a:pt x="123" y="13"/>
                    <a:pt x="123" y="13"/>
                  </a:cubicBezTo>
                  <a:cubicBezTo>
                    <a:pt x="122" y="13"/>
                    <a:pt x="121" y="13"/>
                    <a:pt x="120" y="13"/>
                  </a:cubicBezTo>
                  <a:cubicBezTo>
                    <a:pt x="119" y="12"/>
                    <a:pt x="119" y="12"/>
                    <a:pt x="119" y="12"/>
                  </a:cubicBezTo>
                  <a:cubicBezTo>
                    <a:pt x="119" y="12"/>
                    <a:pt x="119" y="12"/>
                    <a:pt x="119" y="12"/>
                  </a:cubicBezTo>
                  <a:cubicBezTo>
                    <a:pt x="118" y="11"/>
                    <a:pt x="117" y="11"/>
                    <a:pt x="116" y="11"/>
                  </a:cubicBezTo>
                  <a:cubicBezTo>
                    <a:pt x="116" y="11"/>
                    <a:pt x="116" y="11"/>
                    <a:pt x="116" y="11"/>
                  </a:cubicBezTo>
                  <a:cubicBezTo>
                    <a:pt x="115" y="11"/>
                    <a:pt x="115" y="11"/>
                    <a:pt x="114" y="11"/>
                  </a:cubicBezTo>
                  <a:cubicBezTo>
                    <a:pt x="112" y="10"/>
                    <a:pt x="110" y="10"/>
                    <a:pt x="108" y="8"/>
                  </a:cubicBezTo>
                  <a:cubicBezTo>
                    <a:pt x="106" y="7"/>
                    <a:pt x="106" y="7"/>
                    <a:pt x="106" y="7"/>
                  </a:cubicBezTo>
                  <a:cubicBezTo>
                    <a:pt x="105" y="6"/>
                    <a:pt x="104" y="5"/>
                    <a:pt x="104" y="4"/>
                  </a:cubicBezTo>
                  <a:cubicBezTo>
                    <a:pt x="103" y="4"/>
                    <a:pt x="103" y="4"/>
                    <a:pt x="103" y="4"/>
                  </a:cubicBezTo>
                  <a:cubicBezTo>
                    <a:pt x="103" y="4"/>
                    <a:pt x="103" y="4"/>
                    <a:pt x="103" y="4"/>
                  </a:cubicBezTo>
                  <a:cubicBezTo>
                    <a:pt x="102" y="4"/>
                    <a:pt x="101" y="4"/>
                    <a:pt x="100" y="5"/>
                  </a:cubicBezTo>
                  <a:cubicBezTo>
                    <a:pt x="98" y="5"/>
                    <a:pt x="98" y="5"/>
                    <a:pt x="98" y="5"/>
                  </a:cubicBezTo>
                  <a:cubicBezTo>
                    <a:pt x="96" y="5"/>
                    <a:pt x="94" y="6"/>
                    <a:pt x="92" y="7"/>
                  </a:cubicBezTo>
                  <a:cubicBezTo>
                    <a:pt x="88" y="8"/>
                    <a:pt x="88" y="8"/>
                    <a:pt x="88" y="8"/>
                  </a:cubicBezTo>
                  <a:cubicBezTo>
                    <a:pt x="87" y="9"/>
                    <a:pt x="86" y="9"/>
                    <a:pt x="84" y="9"/>
                  </a:cubicBezTo>
                  <a:cubicBezTo>
                    <a:pt x="84" y="10"/>
                    <a:pt x="84" y="10"/>
                    <a:pt x="84" y="10"/>
                  </a:cubicBezTo>
                  <a:cubicBezTo>
                    <a:pt x="80" y="10"/>
                    <a:pt x="76" y="10"/>
                    <a:pt x="72" y="10"/>
                  </a:cubicBezTo>
                  <a:cubicBezTo>
                    <a:pt x="71" y="10"/>
                    <a:pt x="71" y="10"/>
                    <a:pt x="71" y="10"/>
                  </a:cubicBezTo>
                  <a:cubicBezTo>
                    <a:pt x="70" y="11"/>
                    <a:pt x="68" y="11"/>
                    <a:pt x="67" y="11"/>
                  </a:cubicBezTo>
                  <a:cubicBezTo>
                    <a:pt x="65" y="11"/>
                    <a:pt x="65" y="11"/>
                    <a:pt x="65" y="11"/>
                  </a:cubicBezTo>
                  <a:cubicBezTo>
                    <a:pt x="65" y="11"/>
                    <a:pt x="64" y="12"/>
                    <a:pt x="64" y="12"/>
                  </a:cubicBezTo>
                  <a:cubicBezTo>
                    <a:pt x="64" y="13"/>
                    <a:pt x="63" y="14"/>
                    <a:pt x="62" y="14"/>
                  </a:cubicBezTo>
                  <a:cubicBezTo>
                    <a:pt x="61" y="16"/>
                    <a:pt x="59" y="17"/>
                    <a:pt x="56" y="17"/>
                  </a:cubicBezTo>
                  <a:cubicBezTo>
                    <a:pt x="56" y="17"/>
                    <a:pt x="55" y="17"/>
                    <a:pt x="54" y="17"/>
                  </a:cubicBezTo>
                  <a:cubicBezTo>
                    <a:pt x="52" y="16"/>
                    <a:pt x="52" y="16"/>
                    <a:pt x="52" y="16"/>
                  </a:cubicBezTo>
                  <a:cubicBezTo>
                    <a:pt x="52" y="16"/>
                    <a:pt x="50" y="16"/>
                    <a:pt x="50" y="16"/>
                  </a:cubicBezTo>
                  <a:cubicBezTo>
                    <a:pt x="50" y="16"/>
                    <a:pt x="50" y="16"/>
                    <a:pt x="50" y="16"/>
                  </a:cubicBezTo>
                  <a:cubicBezTo>
                    <a:pt x="49" y="16"/>
                    <a:pt x="49" y="16"/>
                    <a:pt x="49" y="16"/>
                  </a:cubicBezTo>
                  <a:cubicBezTo>
                    <a:pt x="48" y="16"/>
                    <a:pt x="48" y="16"/>
                    <a:pt x="47" y="16"/>
                  </a:cubicBezTo>
                  <a:cubicBezTo>
                    <a:pt x="45" y="17"/>
                    <a:pt x="45" y="17"/>
                    <a:pt x="45" y="17"/>
                  </a:cubicBezTo>
                  <a:cubicBezTo>
                    <a:pt x="45" y="17"/>
                    <a:pt x="45" y="17"/>
                    <a:pt x="45" y="17"/>
                  </a:cubicBezTo>
                  <a:cubicBezTo>
                    <a:pt x="44" y="18"/>
                    <a:pt x="44" y="18"/>
                    <a:pt x="44" y="18"/>
                  </a:cubicBezTo>
                  <a:cubicBezTo>
                    <a:pt x="44" y="19"/>
                    <a:pt x="44" y="19"/>
                    <a:pt x="43" y="20"/>
                  </a:cubicBezTo>
                  <a:cubicBezTo>
                    <a:pt x="43" y="20"/>
                    <a:pt x="43" y="21"/>
                    <a:pt x="43" y="21"/>
                  </a:cubicBezTo>
                  <a:cubicBezTo>
                    <a:pt x="42" y="21"/>
                    <a:pt x="41" y="22"/>
                    <a:pt x="40" y="22"/>
                  </a:cubicBezTo>
                  <a:cubicBezTo>
                    <a:pt x="39" y="22"/>
                    <a:pt x="39" y="22"/>
                    <a:pt x="38" y="22"/>
                  </a:cubicBezTo>
                  <a:cubicBezTo>
                    <a:pt x="36" y="23"/>
                    <a:pt x="36" y="23"/>
                    <a:pt x="36" y="23"/>
                  </a:cubicBezTo>
                  <a:cubicBezTo>
                    <a:pt x="35" y="23"/>
                    <a:pt x="35" y="23"/>
                    <a:pt x="35" y="23"/>
                  </a:cubicBezTo>
                  <a:cubicBezTo>
                    <a:pt x="34" y="23"/>
                    <a:pt x="33" y="23"/>
                    <a:pt x="32" y="23"/>
                  </a:cubicBezTo>
                  <a:cubicBezTo>
                    <a:pt x="29" y="23"/>
                    <a:pt x="29" y="23"/>
                    <a:pt x="29" y="23"/>
                  </a:cubicBezTo>
                  <a:cubicBezTo>
                    <a:pt x="28" y="24"/>
                    <a:pt x="28" y="24"/>
                    <a:pt x="27" y="24"/>
                  </a:cubicBezTo>
                  <a:cubicBezTo>
                    <a:pt x="27" y="24"/>
                    <a:pt x="27" y="24"/>
                    <a:pt x="26" y="24"/>
                  </a:cubicBezTo>
                  <a:cubicBezTo>
                    <a:pt x="25" y="24"/>
                    <a:pt x="25" y="24"/>
                    <a:pt x="24" y="24"/>
                  </a:cubicBezTo>
                  <a:cubicBezTo>
                    <a:pt x="24" y="24"/>
                    <a:pt x="24" y="24"/>
                    <a:pt x="24" y="24"/>
                  </a:cubicBezTo>
                  <a:cubicBezTo>
                    <a:pt x="24" y="24"/>
                    <a:pt x="24" y="24"/>
                    <a:pt x="24" y="24"/>
                  </a:cubicBezTo>
                  <a:cubicBezTo>
                    <a:pt x="26" y="29"/>
                    <a:pt x="24" y="31"/>
                    <a:pt x="21" y="33"/>
                  </a:cubicBezTo>
                  <a:cubicBezTo>
                    <a:pt x="20" y="33"/>
                    <a:pt x="20" y="34"/>
                    <a:pt x="19" y="35"/>
                  </a:cubicBezTo>
                  <a:cubicBezTo>
                    <a:pt x="18" y="36"/>
                    <a:pt x="18" y="38"/>
                    <a:pt x="17" y="39"/>
                  </a:cubicBezTo>
                  <a:cubicBezTo>
                    <a:pt x="17" y="40"/>
                    <a:pt x="17" y="40"/>
                    <a:pt x="17" y="40"/>
                  </a:cubicBezTo>
                  <a:cubicBezTo>
                    <a:pt x="16" y="41"/>
                    <a:pt x="16" y="42"/>
                    <a:pt x="15" y="43"/>
                  </a:cubicBezTo>
                  <a:cubicBezTo>
                    <a:pt x="15" y="44"/>
                    <a:pt x="15" y="44"/>
                    <a:pt x="15" y="44"/>
                  </a:cubicBezTo>
                  <a:cubicBezTo>
                    <a:pt x="14" y="46"/>
                    <a:pt x="12" y="46"/>
                    <a:pt x="11" y="46"/>
                  </a:cubicBezTo>
                  <a:cubicBezTo>
                    <a:pt x="11" y="46"/>
                    <a:pt x="10" y="46"/>
                    <a:pt x="10" y="46"/>
                  </a:cubicBezTo>
                  <a:cubicBezTo>
                    <a:pt x="10" y="46"/>
                    <a:pt x="10" y="46"/>
                    <a:pt x="10" y="46"/>
                  </a:cubicBezTo>
                  <a:cubicBezTo>
                    <a:pt x="10" y="46"/>
                    <a:pt x="10" y="46"/>
                    <a:pt x="10" y="46"/>
                  </a:cubicBezTo>
                  <a:cubicBezTo>
                    <a:pt x="10" y="46"/>
                    <a:pt x="9" y="46"/>
                    <a:pt x="9" y="46"/>
                  </a:cubicBezTo>
                  <a:cubicBezTo>
                    <a:pt x="9" y="47"/>
                    <a:pt x="9" y="47"/>
                    <a:pt x="9" y="47"/>
                  </a:cubicBezTo>
                  <a:cubicBezTo>
                    <a:pt x="9" y="47"/>
                    <a:pt x="9" y="48"/>
                    <a:pt x="10" y="48"/>
                  </a:cubicBezTo>
                  <a:cubicBezTo>
                    <a:pt x="10" y="49"/>
                    <a:pt x="10" y="49"/>
                    <a:pt x="10" y="49"/>
                  </a:cubicBezTo>
                  <a:cubicBezTo>
                    <a:pt x="12" y="55"/>
                    <a:pt x="12" y="55"/>
                    <a:pt x="12" y="55"/>
                  </a:cubicBezTo>
                  <a:cubicBezTo>
                    <a:pt x="7" y="54"/>
                    <a:pt x="7" y="54"/>
                    <a:pt x="7" y="54"/>
                  </a:cubicBezTo>
                  <a:cubicBezTo>
                    <a:pt x="7" y="54"/>
                    <a:pt x="7" y="54"/>
                    <a:pt x="7" y="54"/>
                  </a:cubicBezTo>
                  <a:cubicBezTo>
                    <a:pt x="7" y="55"/>
                    <a:pt x="6" y="56"/>
                    <a:pt x="5" y="57"/>
                  </a:cubicBezTo>
                  <a:cubicBezTo>
                    <a:pt x="4" y="57"/>
                    <a:pt x="4" y="57"/>
                    <a:pt x="3" y="58"/>
                  </a:cubicBezTo>
                  <a:cubicBezTo>
                    <a:pt x="3" y="58"/>
                    <a:pt x="3" y="58"/>
                    <a:pt x="3" y="58"/>
                  </a:cubicBezTo>
                  <a:cubicBezTo>
                    <a:pt x="2" y="58"/>
                    <a:pt x="1" y="57"/>
                    <a:pt x="0" y="57"/>
                  </a:cubicBezTo>
                  <a:cubicBezTo>
                    <a:pt x="2" y="60"/>
                    <a:pt x="3" y="62"/>
                    <a:pt x="5" y="64"/>
                  </a:cubicBezTo>
                  <a:cubicBezTo>
                    <a:pt x="8" y="67"/>
                    <a:pt x="12" y="69"/>
                    <a:pt x="14" y="72"/>
                  </a:cubicBezTo>
                  <a:cubicBezTo>
                    <a:pt x="15" y="72"/>
                    <a:pt x="15" y="73"/>
                    <a:pt x="15" y="74"/>
                  </a:cubicBezTo>
                  <a:cubicBezTo>
                    <a:pt x="16" y="73"/>
                    <a:pt x="16" y="70"/>
                    <a:pt x="18" y="70"/>
                  </a:cubicBezTo>
                  <a:cubicBezTo>
                    <a:pt x="18" y="70"/>
                    <a:pt x="18" y="70"/>
                    <a:pt x="18" y="70"/>
                  </a:cubicBezTo>
                  <a:cubicBezTo>
                    <a:pt x="20" y="71"/>
                    <a:pt x="24" y="71"/>
                    <a:pt x="24" y="73"/>
                  </a:cubicBezTo>
                  <a:cubicBezTo>
                    <a:pt x="24" y="74"/>
                    <a:pt x="24" y="76"/>
                    <a:pt x="23" y="77"/>
                  </a:cubicBezTo>
                  <a:cubicBezTo>
                    <a:pt x="22" y="76"/>
                    <a:pt x="21" y="75"/>
                    <a:pt x="20" y="75"/>
                  </a:cubicBezTo>
                  <a:cubicBezTo>
                    <a:pt x="20" y="75"/>
                    <a:pt x="20" y="74"/>
                    <a:pt x="20" y="74"/>
                  </a:cubicBezTo>
                  <a:cubicBezTo>
                    <a:pt x="20" y="74"/>
                    <a:pt x="19" y="75"/>
                    <a:pt x="19" y="75"/>
                  </a:cubicBezTo>
                  <a:cubicBezTo>
                    <a:pt x="19" y="75"/>
                    <a:pt x="19" y="75"/>
                    <a:pt x="19" y="75"/>
                  </a:cubicBezTo>
                  <a:cubicBezTo>
                    <a:pt x="19" y="75"/>
                    <a:pt x="19" y="75"/>
                    <a:pt x="19" y="75"/>
                  </a:cubicBezTo>
                  <a:cubicBezTo>
                    <a:pt x="18" y="75"/>
                    <a:pt x="17" y="75"/>
                    <a:pt x="16" y="75"/>
                  </a:cubicBezTo>
                  <a:cubicBezTo>
                    <a:pt x="16" y="75"/>
                    <a:pt x="15" y="75"/>
                    <a:pt x="16" y="77"/>
                  </a:cubicBezTo>
                  <a:cubicBezTo>
                    <a:pt x="14" y="77"/>
                    <a:pt x="16" y="79"/>
                    <a:pt x="16" y="80"/>
                  </a:cubicBezTo>
                  <a:cubicBezTo>
                    <a:pt x="18" y="82"/>
                    <a:pt x="20" y="84"/>
                    <a:pt x="22" y="86"/>
                  </a:cubicBezTo>
                  <a:cubicBezTo>
                    <a:pt x="22" y="87"/>
                    <a:pt x="23" y="88"/>
                    <a:pt x="24" y="89"/>
                  </a:cubicBezTo>
                  <a:cubicBezTo>
                    <a:pt x="23" y="89"/>
                    <a:pt x="23" y="89"/>
                    <a:pt x="23" y="89"/>
                  </a:cubicBezTo>
                  <a:cubicBezTo>
                    <a:pt x="24" y="90"/>
                    <a:pt x="24" y="90"/>
                    <a:pt x="24" y="91"/>
                  </a:cubicBezTo>
                  <a:cubicBezTo>
                    <a:pt x="26" y="90"/>
                    <a:pt x="28" y="89"/>
                    <a:pt x="29" y="88"/>
                  </a:cubicBezTo>
                  <a:cubicBezTo>
                    <a:pt x="29" y="87"/>
                    <a:pt x="29" y="87"/>
                    <a:pt x="29" y="87"/>
                  </a:cubicBezTo>
                  <a:cubicBezTo>
                    <a:pt x="30" y="88"/>
                    <a:pt x="33" y="91"/>
                    <a:pt x="33" y="92"/>
                  </a:cubicBezTo>
                  <a:cubicBezTo>
                    <a:pt x="35" y="92"/>
                    <a:pt x="38" y="91"/>
                    <a:pt x="41" y="90"/>
                  </a:cubicBezTo>
                  <a:cubicBezTo>
                    <a:pt x="42" y="90"/>
                    <a:pt x="44" y="90"/>
                    <a:pt x="45" y="90"/>
                  </a:cubicBezTo>
                  <a:cubicBezTo>
                    <a:pt x="47" y="90"/>
                    <a:pt x="50" y="90"/>
                    <a:pt x="52" y="90"/>
                  </a:cubicBezTo>
                  <a:cubicBezTo>
                    <a:pt x="53" y="90"/>
                    <a:pt x="53" y="90"/>
                    <a:pt x="54" y="90"/>
                  </a:cubicBezTo>
                  <a:cubicBezTo>
                    <a:pt x="54" y="90"/>
                    <a:pt x="54" y="90"/>
                    <a:pt x="54" y="90"/>
                  </a:cubicBezTo>
                  <a:cubicBezTo>
                    <a:pt x="55" y="90"/>
                    <a:pt x="55" y="90"/>
                    <a:pt x="55" y="90"/>
                  </a:cubicBezTo>
                  <a:cubicBezTo>
                    <a:pt x="57" y="90"/>
                    <a:pt x="60" y="90"/>
                    <a:pt x="62" y="91"/>
                  </a:cubicBezTo>
                  <a:cubicBezTo>
                    <a:pt x="66" y="93"/>
                    <a:pt x="70" y="94"/>
                    <a:pt x="73" y="96"/>
                  </a:cubicBezTo>
                  <a:cubicBezTo>
                    <a:pt x="73" y="98"/>
                    <a:pt x="69" y="101"/>
                    <a:pt x="67" y="102"/>
                  </a:cubicBezTo>
                  <a:cubicBezTo>
                    <a:pt x="66" y="102"/>
                    <a:pt x="66" y="102"/>
                    <a:pt x="66" y="102"/>
                  </a:cubicBezTo>
                  <a:cubicBezTo>
                    <a:pt x="65" y="102"/>
                    <a:pt x="63" y="101"/>
                    <a:pt x="62" y="100"/>
                  </a:cubicBezTo>
                  <a:cubicBezTo>
                    <a:pt x="58" y="98"/>
                    <a:pt x="54" y="96"/>
                    <a:pt x="50" y="94"/>
                  </a:cubicBezTo>
                  <a:cubicBezTo>
                    <a:pt x="47" y="93"/>
                    <a:pt x="45" y="91"/>
                    <a:pt x="43" y="91"/>
                  </a:cubicBezTo>
                  <a:cubicBezTo>
                    <a:pt x="38" y="91"/>
                    <a:pt x="32" y="95"/>
                    <a:pt x="29" y="99"/>
                  </a:cubicBezTo>
                  <a:cubicBezTo>
                    <a:pt x="28" y="100"/>
                    <a:pt x="28" y="100"/>
                    <a:pt x="28" y="101"/>
                  </a:cubicBezTo>
                  <a:cubicBezTo>
                    <a:pt x="26" y="102"/>
                    <a:pt x="24" y="102"/>
                    <a:pt x="24" y="103"/>
                  </a:cubicBezTo>
                  <a:cubicBezTo>
                    <a:pt x="23" y="105"/>
                    <a:pt x="28" y="108"/>
                    <a:pt x="29" y="109"/>
                  </a:cubicBezTo>
                  <a:cubicBezTo>
                    <a:pt x="33" y="113"/>
                    <a:pt x="39" y="115"/>
                    <a:pt x="36" y="121"/>
                  </a:cubicBezTo>
                  <a:cubicBezTo>
                    <a:pt x="36" y="123"/>
                    <a:pt x="34" y="122"/>
                    <a:pt x="35" y="125"/>
                  </a:cubicBezTo>
                  <a:cubicBezTo>
                    <a:pt x="35" y="126"/>
                    <a:pt x="36" y="128"/>
                    <a:pt x="37" y="129"/>
                  </a:cubicBezTo>
                  <a:cubicBezTo>
                    <a:pt x="38" y="130"/>
                    <a:pt x="37" y="132"/>
                    <a:pt x="38" y="132"/>
                  </a:cubicBezTo>
                  <a:cubicBezTo>
                    <a:pt x="38" y="132"/>
                    <a:pt x="38" y="132"/>
                    <a:pt x="39" y="132"/>
                  </a:cubicBezTo>
                  <a:cubicBezTo>
                    <a:pt x="41" y="132"/>
                    <a:pt x="43" y="129"/>
                    <a:pt x="43" y="129"/>
                  </a:cubicBezTo>
                  <a:cubicBezTo>
                    <a:pt x="44" y="128"/>
                    <a:pt x="44" y="128"/>
                    <a:pt x="44" y="127"/>
                  </a:cubicBezTo>
                  <a:cubicBezTo>
                    <a:pt x="45" y="127"/>
                    <a:pt x="46" y="127"/>
                    <a:pt x="46" y="127"/>
                  </a:cubicBezTo>
                  <a:cubicBezTo>
                    <a:pt x="51" y="127"/>
                    <a:pt x="55" y="141"/>
                    <a:pt x="56" y="144"/>
                  </a:cubicBezTo>
                  <a:cubicBezTo>
                    <a:pt x="57" y="142"/>
                    <a:pt x="56" y="140"/>
                    <a:pt x="56" y="139"/>
                  </a:cubicBezTo>
                  <a:cubicBezTo>
                    <a:pt x="56" y="138"/>
                    <a:pt x="57" y="137"/>
                    <a:pt x="58" y="136"/>
                  </a:cubicBezTo>
                  <a:cubicBezTo>
                    <a:pt x="58" y="136"/>
                    <a:pt x="58" y="134"/>
                    <a:pt x="58" y="133"/>
                  </a:cubicBezTo>
                  <a:cubicBezTo>
                    <a:pt x="59" y="133"/>
                    <a:pt x="59" y="133"/>
                    <a:pt x="60" y="133"/>
                  </a:cubicBezTo>
                  <a:cubicBezTo>
                    <a:pt x="63" y="133"/>
                    <a:pt x="71" y="141"/>
                    <a:pt x="73" y="143"/>
                  </a:cubicBezTo>
                  <a:cubicBezTo>
                    <a:pt x="70" y="132"/>
                    <a:pt x="67" y="123"/>
                    <a:pt x="62" y="113"/>
                  </a:cubicBezTo>
                  <a:cubicBezTo>
                    <a:pt x="65" y="115"/>
                    <a:pt x="70" y="117"/>
                    <a:pt x="71" y="119"/>
                  </a:cubicBezTo>
                  <a:cubicBezTo>
                    <a:pt x="72" y="119"/>
                    <a:pt x="72" y="119"/>
                    <a:pt x="72" y="119"/>
                  </a:cubicBezTo>
                  <a:cubicBezTo>
                    <a:pt x="73" y="119"/>
                    <a:pt x="74" y="119"/>
                    <a:pt x="76" y="118"/>
                  </a:cubicBezTo>
                  <a:cubicBezTo>
                    <a:pt x="79" y="116"/>
                    <a:pt x="80" y="116"/>
                    <a:pt x="78" y="112"/>
                  </a:cubicBezTo>
                  <a:cubicBezTo>
                    <a:pt x="78" y="111"/>
                    <a:pt x="78" y="111"/>
                    <a:pt x="78" y="111"/>
                  </a:cubicBezTo>
                  <a:cubicBezTo>
                    <a:pt x="78" y="110"/>
                    <a:pt x="78" y="110"/>
                    <a:pt x="77" y="110"/>
                  </a:cubicBezTo>
                  <a:cubicBezTo>
                    <a:pt x="76" y="110"/>
                    <a:pt x="75" y="111"/>
                    <a:pt x="74" y="111"/>
                  </a:cubicBezTo>
                  <a:cubicBezTo>
                    <a:pt x="74" y="111"/>
                    <a:pt x="74" y="111"/>
                    <a:pt x="74" y="111"/>
                  </a:cubicBezTo>
                  <a:cubicBezTo>
                    <a:pt x="73" y="111"/>
                    <a:pt x="71" y="106"/>
                    <a:pt x="70" y="105"/>
                  </a:cubicBezTo>
                  <a:cubicBezTo>
                    <a:pt x="70" y="105"/>
                    <a:pt x="68" y="105"/>
                    <a:pt x="68" y="104"/>
                  </a:cubicBezTo>
                  <a:cubicBezTo>
                    <a:pt x="69" y="101"/>
                    <a:pt x="76" y="102"/>
                    <a:pt x="78" y="101"/>
                  </a:cubicBezTo>
                  <a:cubicBezTo>
                    <a:pt x="79" y="101"/>
                    <a:pt x="80" y="99"/>
                    <a:pt x="82" y="99"/>
                  </a:cubicBezTo>
                  <a:cubicBezTo>
                    <a:pt x="82" y="99"/>
                    <a:pt x="82" y="99"/>
                    <a:pt x="82" y="99"/>
                  </a:cubicBezTo>
                  <a:cubicBezTo>
                    <a:pt x="83" y="100"/>
                    <a:pt x="81" y="101"/>
                    <a:pt x="84" y="102"/>
                  </a:cubicBezTo>
                  <a:cubicBezTo>
                    <a:pt x="83" y="102"/>
                    <a:pt x="83" y="102"/>
                    <a:pt x="83" y="102"/>
                  </a:cubicBezTo>
                  <a:cubicBezTo>
                    <a:pt x="84" y="102"/>
                    <a:pt x="84" y="102"/>
                    <a:pt x="84" y="102"/>
                  </a:cubicBezTo>
                  <a:cubicBezTo>
                    <a:pt x="84" y="102"/>
                    <a:pt x="85" y="102"/>
                    <a:pt x="85" y="102"/>
                  </a:cubicBezTo>
                  <a:cubicBezTo>
                    <a:pt x="86" y="103"/>
                    <a:pt x="86" y="105"/>
                    <a:pt x="87" y="106"/>
                  </a:cubicBezTo>
                  <a:cubicBezTo>
                    <a:pt x="87" y="106"/>
                    <a:pt x="87" y="106"/>
                    <a:pt x="88" y="106"/>
                  </a:cubicBezTo>
                  <a:cubicBezTo>
                    <a:pt x="88" y="106"/>
                    <a:pt x="89" y="106"/>
                    <a:pt x="89" y="106"/>
                  </a:cubicBezTo>
                  <a:cubicBezTo>
                    <a:pt x="90" y="106"/>
                    <a:pt x="90" y="107"/>
                    <a:pt x="90" y="108"/>
                  </a:cubicBezTo>
                  <a:cubicBezTo>
                    <a:pt x="91" y="108"/>
                    <a:pt x="90" y="109"/>
                    <a:pt x="91" y="109"/>
                  </a:cubicBezTo>
                  <a:cubicBezTo>
                    <a:pt x="92" y="109"/>
                    <a:pt x="92" y="109"/>
                    <a:pt x="92" y="109"/>
                  </a:cubicBezTo>
                  <a:cubicBezTo>
                    <a:pt x="94" y="109"/>
                    <a:pt x="94" y="107"/>
                    <a:pt x="94" y="105"/>
                  </a:cubicBezTo>
                  <a:cubicBezTo>
                    <a:pt x="93" y="103"/>
                    <a:pt x="91" y="97"/>
                    <a:pt x="93" y="97"/>
                  </a:cubicBezTo>
                  <a:cubicBezTo>
                    <a:pt x="93" y="97"/>
                    <a:pt x="93" y="97"/>
                    <a:pt x="93" y="97"/>
                  </a:cubicBezTo>
                  <a:cubicBezTo>
                    <a:pt x="95" y="94"/>
                    <a:pt x="76" y="87"/>
                    <a:pt x="74" y="85"/>
                  </a:cubicBezTo>
                  <a:cubicBezTo>
                    <a:pt x="71" y="83"/>
                    <a:pt x="69" y="80"/>
                    <a:pt x="66" y="79"/>
                  </a:cubicBezTo>
                  <a:cubicBezTo>
                    <a:pt x="65" y="79"/>
                    <a:pt x="63" y="78"/>
                    <a:pt x="62" y="78"/>
                  </a:cubicBezTo>
                  <a:cubicBezTo>
                    <a:pt x="61" y="78"/>
                    <a:pt x="59" y="78"/>
                    <a:pt x="57" y="77"/>
                  </a:cubicBezTo>
                  <a:cubicBezTo>
                    <a:pt x="61" y="75"/>
                    <a:pt x="65" y="74"/>
                    <a:pt x="69" y="73"/>
                  </a:cubicBezTo>
                  <a:cubicBezTo>
                    <a:pt x="68" y="71"/>
                    <a:pt x="67" y="69"/>
                    <a:pt x="65" y="68"/>
                  </a:cubicBezTo>
                  <a:cubicBezTo>
                    <a:pt x="65" y="69"/>
                    <a:pt x="65" y="69"/>
                    <a:pt x="65" y="69"/>
                  </a:cubicBezTo>
                  <a:cubicBezTo>
                    <a:pt x="63" y="66"/>
                    <a:pt x="66" y="64"/>
                    <a:pt x="69" y="64"/>
                  </a:cubicBezTo>
                  <a:cubicBezTo>
                    <a:pt x="69" y="64"/>
                    <a:pt x="70" y="64"/>
                    <a:pt x="71" y="64"/>
                  </a:cubicBezTo>
                  <a:cubicBezTo>
                    <a:pt x="72" y="65"/>
                    <a:pt x="72" y="65"/>
                    <a:pt x="73" y="67"/>
                  </a:cubicBezTo>
                  <a:cubicBezTo>
                    <a:pt x="73" y="68"/>
                    <a:pt x="74" y="68"/>
                    <a:pt x="72" y="69"/>
                  </a:cubicBezTo>
                  <a:cubicBezTo>
                    <a:pt x="72" y="70"/>
                    <a:pt x="71" y="70"/>
                    <a:pt x="71" y="70"/>
                  </a:cubicBezTo>
                  <a:cubicBezTo>
                    <a:pt x="71" y="70"/>
                    <a:pt x="70" y="70"/>
                    <a:pt x="70" y="69"/>
                  </a:cubicBezTo>
                  <a:cubicBezTo>
                    <a:pt x="70" y="70"/>
                    <a:pt x="70" y="70"/>
                    <a:pt x="70" y="70"/>
                  </a:cubicBezTo>
                  <a:cubicBezTo>
                    <a:pt x="70" y="70"/>
                    <a:pt x="71" y="70"/>
                    <a:pt x="71" y="70"/>
                  </a:cubicBezTo>
                  <a:cubicBezTo>
                    <a:pt x="72" y="70"/>
                    <a:pt x="73" y="70"/>
                    <a:pt x="74" y="69"/>
                  </a:cubicBezTo>
                  <a:cubicBezTo>
                    <a:pt x="76" y="68"/>
                    <a:pt x="77" y="69"/>
                    <a:pt x="75" y="66"/>
                  </a:cubicBezTo>
                  <a:cubicBezTo>
                    <a:pt x="69" y="59"/>
                    <a:pt x="65" y="52"/>
                    <a:pt x="60" y="45"/>
                  </a:cubicBezTo>
                  <a:cubicBezTo>
                    <a:pt x="58" y="43"/>
                    <a:pt x="58" y="42"/>
                    <a:pt x="58" y="40"/>
                  </a:cubicBezTo>
                  <a:cubicBezTo>
                    <a:pt x="58" y="38"/>
                    <a:pt x="60" y="31"/>
                    <a:pt x="62" y="30"/>
                  </a:cubicBezTo>
                  <a:cubicBezTo>
                    <a:pt x="63" y="30"/>
                    <a:pt x="64" y="29"/>
                    <a:pt x="65" y="29"/>
                  </a:cubicBezTo>
                  <a:cubicBezTo>
                    <a:pt x="65" y="28"/>
                    <a:pt x="65" y="28"/>
                    <a:pt x="65" y="28"/>
                  </a:cubicBezTo>
                  <a:cubicBezTo>
                    <a:pt x="65" y="28"/>
                    <a:pt x="66" y="28"/>
                    <a:pt x="66" y="28"/>
                  </a:cubicBezTo>
                  <a:cubicBezTo>
                    <a:pt x="67" y="28"/>
                    <a:pt x="65" y="30"/>
                    <a:pt x="65" y="31"/>
                  </a:cubicBezTo>
                  <a:cubicBezTo>
                    <a:pt x="65" y="31"/>
                    <a:pt x="65" y="31"/>
                    <a:pt x="65" y="31"/>
                  </a:cubicBezTo>
                  <a:cubicBezTo>
                    <a:pt x="65" y="31"/>
                    <a:pt x="65" y="31"/>
                    <a:pt x="65" y="31"/>
                  </a:cubicBezTo>
                  <a:cubicBezTo>
                    <a:pt x="65" y="31"/>
                    <a:pt x="65" y="31"/>
                    <a:pt x="64" y="31"/>
                  </a:cubicBezTo>
                  <a:cubicBezTo>
                    <a:pt x="64" y="31"/>
                    <a:pt x="64" y="31"/>
                    <a:pt x="64" y="31"/>
                  </a:cubicBezTo>
                  <a:cubicBezTo>
                    <a:pt x="64" y="33"/>
                    <a:pt x="68" y="35"/>
                    <a:pt x="69" y="36"/>
                  </a:cubicBezTo>
                  <a:cubicBezTo>
                    <a:pt x="70" y="37"/>
                    <a:pt x="73" y="37"/>
                    <a:pt x="75" y="38"/>
                  </a:cubicBezTo>
                  <a:cubicBezTo>
                    <a:pt x="77" y="40"/>
                    <a:pt x="75" y="41"/>
                    <a:pt x="76" y="43"/>
                  </a:cubicBezTo>
                  <a:cubicBezTo>
                    <a:pt x="76" y="44"/>
                    <a:pt x="78" y="45"/>
                    <a:pt x="77" y="46"/>
                  </a:cubicBezTo>
                  <a:cubicBezTo>
                    <a:pt x="77" y="46"/>
                    <a:pt x="78" y="46"/>
                    <a:pt x="78" y="46"/>
                  </a:cubicBezTo>
                  <a:cubicBezTo>
                    <a:pt x="79" y="46"/>
                    <a:pt x="80" y="47"/>
                    <a:pt x="81" y="47"/>
                  </a:cubicBezTo>
                  <a:cubicBezTo>
                    <a:pt x="83" y="47"/>
                    <a:pt x="84" y="48"/>
                    <a:pt x="85" y="48"/>
                  </a:cubicBezTo>
                  <a:cubicBezTo>
                    <a:pt x="85" y="48"/>
                    <a:pt x="85" y="48"/>
                    <a:pt x="86" y="47"/>
                  </a:cubicBezTo>
                  <a:cubicBezTo>
                    <a:pt x="83" y="44"/>
                    <a:pt x="78" y="44"/>
                    <a:pt x="76" y="40"/>
                  </a:cubicBezTo>
                  <a:cubicBezTo>
                    <a:pt x="78" y="39"/>
                    <a:pt x="79" y="39"/>
                    <a:pt x="81" y="39"/>
                  </a:cubicBezTo>
                  <a:cubicBezTo>
                    <a:pt x="83" y="39"/>
                    <a:pt x="85" y="39"/>
                    <a:pt x="86" y="42"/>
                  </a:cubicBezTo>
                  <a:cubicBezTo>
                    <a:pt x="87" y="43"/>
                    <a:pt x="87" y="44"/>
                    <a:pt x="88" y="45"/>
                  </a:cubicBezTo>
                  <a:cubicBezTo>
                    <a:pt x="90" y="46"/>
                    <a:pt x="90" y="46"/>
                    <a:pt x="90" y="46"/>
                  </a:cubicBezTo>
                  <a:cubicBezTo>
                    <a:pt x="90" y="46"/>
                    <a:pt x="90" y="47"/>
                    <a:pt x="91" y="47"/>
                  </a:cubicBezTo>
                  <a:cubicBezTo>
                    <a:pt x="91" y="47"/>
                    <a:pt x="91" y="47"/>
                    <a:pt x="91" y="47"/>
                  </a:cubicBezTo>
                  <a:cubicBezTo>
                    <a:pt x="91" y="45"/>
                    <a:pt x="80" y="35"/>
                    <a:pt x="89" y="35"/>
                  </a:cubicBezTo>
                  <a:cubicBezTo>
                    <a:pt x="89" y="35"/>
                    <a:pt x="89" y="35"/>
                    <a:pt x="89" y="35"/>
                  </a:cubicBezTo>
                  <a:cubicBezTo>
                    <a:pt x="91" y="35"/>
                    <a:pt x="92" y="37"/>
                    <a:pt x="95" y="37"/>
                  </a:cubicBezTo>
                  <a:cubicBezTo>
                    <a:pt x="95" y="37"/>
                    <a:pt x="95" y="37"/>
                    <a:pt x="95" y="37"/>
                  </a:cubicBezTo>
                  <a:cubicBezTo>
                    <a:pt x="89" y="34"/>
                    <a:pt x="88" y="31"/>
                    <a:pt x="86" y="24"/>
                  </a:cubicBezTo>
                  <a:cubicBezTo>
                    <a:pt x="91" y="23"/>
                    <a:pt x="98" y="19"/>
                    <a:pt x="103" y="19"/>
                  </a:cubicBezTo>
                  <a:cubicBezTo>
                    <a:pt x="104" y="19"/>
                    <a:pt x="105" y="19"/>
                    <a:pt x="106" y="19"/>
                  </a:cubicBezTo>
                  <a:cubicBezTo>
                    <a:pt x="108" y="20"/>
                    <a:pt x="109" y="21"/>
                    <a:pt x="111" y="21"/>
                  </a:cubicBezTo>
                  <a:cubicBezTo>
                    <a:pt x="112" y="21"/>
                    <a:pt x="112" y="21"/>
                    <a:pt x="113" y="20"/>
                  </a:cubicBezTo>
                  <a:cubicBezTo>
                    <a:pt x="114" y="20"/>
                    <a:pt x="118" y="17"/>
                    <a:pt x="119" y="17"/>
                  </a:cubicBezTo>
                  <a:cubicBezTo>
                    <a:pt x="119" y="17"/>
                    <a:pt x="119" y="17"/>
                    <a:pt x="119" y="17"/>
                  </a:cubicBezTo>
                  <a:cubicBezTo>
                    <a:pt x="123" y="19"/>
                    <a:pt x="128" y="20"/>
                    <a:pt x="132" y="22"/>
                  </a:cubicBezTo>
                  <a:cubicBezTo>
                    <a:pt x="134" y="22"/>
                    <a:pt x="135" y="23"/>
                    <a:pt x="137" y="24"/>
                  </a:cubicBezTo>
                  <a:cubicBezTo>
                    <a:pt x="138" y="23"/>
                    <a:pt x="138" y="23"/>
                    <a:pt x="138" y="23"/>
                  </a:cubicBezTo>
                  <a:cubicBezTo>
                    <a:pt x="139" y="22"/>
                    <a:pt x="141" y="19"/>
                    <a:pt x="142" y="19"/>
                  </a:cubicBezTo>
                  <a:cubicBezTo>
                    <a:pt x="143" y="18"/>
                    <a:pt x="143" y="18"/>
                    <a:pt x="143" y="18"/>
                  </a:cubicBezTo>
                  <a:cubicBezTo>
                    <a:pt x="143" y="17"/>
                    <a:pt x="144" y="17"/>
                    <a:pt x="144" y="16"/>
                  </a:cubicBezTo>
                  <a:cubicBezTo>
                    <a:pt x="144" y="15"/>
                    <a:pt x="144" y="15"/>
                    <a:pt x="144" y="15"/>
                  </a:cubicBezTo>
                  <a:cubicBezTo>
                    <a:pt x="144" y="15"/>
                    <a:pt x="144" y="15"/>
                    <a:pt x="144" y="15"/>
                  </a:cubicBezTo>
                  <a:cubicBezTo>
                    <a:pt x="144" y="14"/>
                    <a:pt x="144" y="14"/>
                    <a:pt x="144" y="14"/>
                  </a:cubicBezTo>
                  <a:cubicBezTo>
                    <a:pt x="144" y="14"/>
                    <a:pt x="144" y="14"/>
                    <a:pt x="144" y="14"/>
                  </a:cubicBezTo>
                  <a:cubicBezTo>
                    <a:pt x="144" y="14"/>
                    <a:pt x="144" y="14"/>
                    <a:pt x="144" y="14"/>
                  </a:cubicBezTo>
                  <a:cubicBezTo>
                    <a:pt x="144" y="13"/>
                    <a:pt x="144" y="11"/>
                    <a:pt x="144" y="10"/>
                  </a:cubicBezTo>
                  <a:cubicBezTo>
                    <a:pt x="145" y="9"/>
                    <a:pt x="146" y="8"/>
                    <a:pt x="147" y="7"/>
                  </a:cubicBezTo>
                  <a:cubicBezTo>
                    <a:pt x="148" y="6"/>
                    <a:pt x="148" y="6"/>
                    <a:pt x="148" y="6"/>
                  </a:cubicBezTo>
                  <a:cubicBezTo>
                    <a:pt x="150" y="5"/>
                    <a:pt x="151" y="5"/>
                    <a:pt x="151" y="4"/>
                  </a:cubicBezTo>
                  <a:cubicBezTo>
                    <a:pt x="151" y="3"/>
                    <a:pt x="151" y="3"/>
                    <a:pt x="151" y="3"/>
                  </a:cubicBezTo>
                  <a:cubicBezTo>
                    <a:pt x="151" y="3"/>
                    <a:pt x="151" y="3"/>
                    <a:pt x="151" y="3"/>
                  </a:cubicBezTo>
                  <a:cubicBezTo>
                    <a:pt x="150" y="2"/>
                    <a:pt x="150" y="2"/>
                    <a:pt x="150" y="2"/>
                  </a:cubicBezTo>
                  <a:cubicBezTo>
                    <a:pt x="150" y="2"/>
                    <a:pt x="150" y="2"/>
                    <a:pt x="150" y="2"/>
                  </a:cubicBezTo>
                  <a:cubicBezTo>
                    <a:pt x="149" y="1"/>
                    <a:pt x="149" y="1"/>
                    <a:pt x="149" y="1"/>
                  </a:cubicBezTo>
                  <a:cubicBezTo>
                    <a:pt x="148" y="1"/>
                    <a:pt x="148" y="1"/>
                    <a:pt x="148" y="1"/>
                  </a:cubicBezTo>
                  <a:cubicBezTo>
                    <a:pt x="148" y="1"/>
                    <a:pt x="148" y="1"/>
                    <a:pt x="148" y="1"/>
                  </a:cubicBezTo>
                  <a:cubicBezTo>
                    <a:pt x="147" y="0"/>
                    <a:pt x="147" y="0"/>
                    <a:pt x="147" y="0"/>
                  </a:cubicBezTo>
                  <a:cubicBezTo>
                    <a:pt x="147" y="0"/>
                    <a:pt x="147" y="0"/>
                    <a:pt x="147" y="0"/>
                  </a:cubicBezTo>
                  <a:cubicBezTo>
                    <a:pt x="145" y="0"/>
                    <a:pt x="145" y="0"/>
                    <a:pt x="1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271"/>
            <p:cNvSpPr/>
            <p:nvPr/>
          </p:nvSpPr>
          <p:spPr bwMode="auto">
            <a:xfrm>
              <a:off x="4913" y="129"/>
              <a:ext cx="338" cy="184"/>
            </a:xfrm>
            <a:custGeom>
              <a:gdLst>
                <a:gd name="T0" fmla="*/ 3 w 143"/>
                <a:gd name="T1" fmla="*/ 4 h 78"/>
                <a:gd name="T2" fmla="*/ 0 w 143"/>
                <a:gd name="T3" fmla="*/ 9 h 78"/>
                <a:gd name="T4" fmla="*/ 4 w 143"/>
                <a:gd name="T5" fmla="*/ 18 h 78"/>
                <a:gd name="T6" fmla="*/ 10 w 143"/>
                <a:gd name="T7" fmla="*/ 22 h 78"/>
                <a:gd name="T8" fmla="*/ 13 w 143"/>
                <a:gd name="T9" fmla="*/ 29 h 78"/>
                <a:gd name="T10" fmla="*/ 4 w 143"/>
                <a:gd name="T11" fmla="*/ 37 h 78"/>
                <a:gd name="T12" fmla="*/ 1 w 143"/>
                <a:gd name="T13" fmla="*/ 38 h 78"/>
                <a:gd name="T14" fmla="*/ 2 w 143"/>
                <a:gd name="T15" fmla="*/ 42 h 78"/>
                <a:gd name="T16" fmla="*/ 1 w 143"/>
                <a:gd name="T17" fmla="*/ 51 h 78"/>
                <a:gd name="T18" fmla="*/ 4 w 143"/>
                <a:gd name="T19" fmla="*/ 55 h 78"/>
                <a:gd name="T20" fmla="*/ 6 w 143"/>
                <a:gd name="T21" fmla="*/ 56 h 78"/>
                <a:gd name="T22" fmla="*/ 7 w 143"/>
                <a:gd name="T23" fmla="*/ 58 h 78"/>
                <a:gd name="T24" fmla="*/ 15 w 143"/>
                <a:gd name="T25" fmla="*/ 76 h 78"/>
                <a:gd name="T26" fmla="*/ 29 w 143"/>
                <a:gd name="T27" fmla="*/ 74 h 78"/>
                <a:gd name="T28" fmla="*/ 40 w 143"/>
                <a:gd name="T29" fmla="*/ 70 h 78"/>
                <a:gd name="T30" fmla="*/ 47 w 143"/>
                <a:gd name="T31" fmla="*/ 70 h 78"/>
                <a:gd name="T32" fmla="*/ 54 w 143"/>
                <a:gd name="T33" fmla="*/ 74 h 78"/>
                <a:gd name="T34" fmla="*/ 60 w 143"/>
                <a:gd name="T35" fmla="*/ 77 h 78"/>
                <a:gd name="T36" fmla="*/ 66 w 143"/>
                <a:gd name="T37" fmla="*/ 78 h 78"/>
                <a:gd name="T38" fmla="*/ 75 w 143"/>
                <a:gd name="T39" fmla="*/ 77 h 78"/>
                <a:gd name="T40" fmla="*/ 83 w 143"/>
                <a:gd name="T41" fmla="*/ 73 h 78"/>
                <a:gd name="T42" fmla="*/ 83 w 143"/>
                <a:gd name="T43" fmla="*/ 66 h 78"/>
                <a:gd name="T44" fmla="*/ 89 w 143"/>
                <a:gd name="T45" fmla="*/ 65 h 78"/>
                <a:gd name="T46" fmla="*/ 92 w 143"/>
                <a:gd name="T47" fmla="*/ 63 h 78"/>
                <a:gd name="T48" fmla="*/ 101 w 143"/>
                <a:gd name="T49" fmla="*/ 58 h 78"/>
                <a:gd name="T50" fmla="*/ 115 w 143"/>
                <a:gd name="T51" fmla="*/ 56 h 78"/>
                <a:gd name="T52" fmla="*/ 118 w 143"/>
                <a:gd name="T53" fmla="*/ 58 h 78"/>
                <a:gd name="T54" fmla="*/ 122 w 143"/>
                <a:gd name="T55" fmla="*/ 48 h 78"/>
                <a:gd name="T56" fmla="*/ 120 w 143"/>
                <a:gd name="T57" fmla="*/ 47 h 78"/>
                <a:gd name="T58" fmla="*/ 117 w 143"/>
                <a:gd name="T59" fmla="*/ 47 h 78"/>
                <a:gd name="T60" fmla="*/ 126 w 143"/>
                <a:gd name="T61" fmla="*/ 37 h 78"/>
                <a:gd name="T62" fmla="*/ 137 w 143"/>
                <a:gd name="T63" fmla="*/ 20 h 78"/>
                <a:gd name="T64" fmla="*/ 121 w 143"/>
                <a:gd name="T65" fmla="*/ 6 h 78"/>
                <a:gd name="T66" fmla="*/ 112 w 143"/>
                <a:gd name="T67" fmla="*/ 3 h 78"/>
                <a:gd name="T68" fmla="*/ 109 w 143"/>
                <a:gd name="T69" fmla="*/ 3 h 78"/>
                <a:gd name="T70" fmla="*/ 88 w 143"/>
                <a:gd name="T71" fmla="*/ 8 h 78"/>
                <a:gd name="T72" fmla="*/ 68 w 143"/>
                <a:gd name="T73" fmla="*/ 17 h 78"/>
                <a:gd name="T74" fmla="*/ 53 w 143"/>
                <a:gd name="T75" fmla="*/ 14 h 78"/>
                <a:gd name="T76" fmla="*/ 38 w 143"/>
                <a:gd name="T77" fmla="*/ 15 h 78"/>
                <a:gd name="T78" fmla="*/ 19 w 143"/>
                <a:gd name="T79" fmla="*/ 11 h 78"/>
                <a:gd name="T80" fmla="*/ 13 w 143"/>
                <a:gd name="T81" fmla="*/ 12 h 78"/>
                <a:gd name="T82" fmla="*/ 6 w 143"/>
                <a:gd name="T83" fmla="*/ 5 h 78"/>
                <a:gd name="T84" fmla="*/ 8 w 143"/>
                <a:gd name="T85" fmla="*/ 2 h 78"/>
                <a:gd name="T86" fmla="*/ 5 w 143"/>
                <a:gd name="T87" fmla="*/ 1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78">
                  <a:moveTo>
                    <a:pt x="5" y="0"/>
                  </a:moveTo>
                  <a:cubicBezTo>
                    <a:pt x="5" y="1"/>
                    <a:pt x="5" y="1"/>
                    <a:pt x="4" y="2"/>
                  </a:cubicBezTo>
                  <a:cubicBezTo>
                    <a:pt x="3" y="4"/>
                    <a:pt x="3" y="4"/>
                    <a:pt x="3" y="4"/>
                  </a:cubicBezTo>
                  <a:cubicBezTo>
                    <a:pt x="1" y="8"/>
                    <a:pt x="1" y="8"/>
                    <a:pt x="1" y="8"/>
                  </a:cubicBezTo>
                  <a:cubicBezTo>
                    <a:pt x="1" y="8"/>
                    <a:pt x="1" y="8"/>
                    <a:pt x="1" y="8"/>
                  </a:cubicBezTo>
                  <a:cubicBezTo>
                    <a:pt x="0" y="9"/>
                    <a:pt x="0" y="9"/>
                    <a:pt x="0" y="9"/>
                  </a:cubicBezTo>
                  <a:cubicBezTo>
                    <a:pt x="0" y="10"/>
                    <a:pt x="1" y="11"/>
                    <a:pt x="1" y="11"/>
                  </a:cubicBezTo>
                  <a:cubicBezTo>
                    <a:pt x="1" y="13"/>
                    <a:pt x="2" y="15"/>
                    <a:pt x="3" y="16"/>
                  </a:cubicBezTo>
                  <a:cubicBezTo>
                    <a:pt x="3" y="16"/>
                    <a:pt x="4" y="17"/>
                    <a:pt x="4" y="18"/>
                  </a:cubicBezTo>
                  <a:cubicBezTo>
                    <a:pt x="5" y="18"/>
                    <a:pt x="6" y="19"/>
                    <a:pt x="7" y="20"/>
                  </a:cubicBezTo>
                  <a:cubicBezTo>
                    <a:pt x="8" y="20"/>
                    <a:pt x="8" y="21"/>
                    <a:pt x="9" y="21"/>
                  </a:cubicBezTo>
                  <a:cubicBezTo>
                    <a:pt x="10" y="22"/>
                    <a:pt x="10" y="22"/>
                    <a:pt x="10" y="22"/>
                  </a:cubicBezTo>
                  <a:cubicBezTo>
                    <a:pt x="11" y="23"/>
                    <a:pt x="12" y="23"/>
                    <a:pt x="13" y="24"/>
                  </a:cubicBezTo>
                  <a:cubicBezTo>
                    <a:pt x="16" y="26"/>
                    <a:pt x="16" y="26"/>
                    <a:pt x="16" y="26"/>
                  </a:cubicBezTo>
                  <a:cubicBezTo>
                    <a:pt x="13" y="29"/>
                    <a:pt x="13" y="29"/>
                    <a:pt x="13" y="29"/>
                  </a:cubicBezTo>
                  <a:cubicBezTo>
                    <a:pt x="12" y="29"/>
                    <a:pt x="12" y="30"/>
                    <a:pt x="11" y="31"/>
                  </a:cubicBezTo>
                  <a:cubicBezTo>
                    <a:pt x="10" y="32"/>
                    <a:pt x="10" y="32"/>
                    <a:pt x="10" y="32"/>
                  </a:cubicBezTo>
                  <a:cubicBezTo>
                    <a:pt x="8" y="33"/>
                    <a:pt x="6" y="35"/>
                    <a:pt x="4" y="37"/>
                  </a:cubicBezTo>
                  <a:cubicBezTo>
                    <a:pt x="3" y="37"/>
                    <a:pt x="3" y="38"/>
                    <a:pt x="2" y="38"/>
                  </a:cubicBezTo>
                  <a:cubicBezTo>
                    <a:pt x="2" y="38"/>
                    <a:pt x="1" y="38"/>
                    <a:pt x="1" y="38"/>
                  </a:cubicBezTo>
                  <a:cubicBezTo>
                    <a:pt x="1" y="38"/>
                    <a:pt x="1" y="38"/>
                    <a:pt x="1" y="38"/>
                  </a:cubicBezTo>
                  <a:cubicBezTo>
                    <a:pt x="1" y="39"/>
                    <a:pt x="1" y="39"/>
                    <a:pt x="1" y="40"/>
                  </a:cubicBezTo>
                  <a:cubicBezTo>
                    <a:pt x="1" y="40"/>
                    <a:pt x="1" y="41"/>
                    <a:pt x="2" y="42"/>
                  </a:cubicBezTo>
                  <a:cubicBezTo>
                    <a:pt x="2" y="42"/>
                    <a:pt x="2" y="42"/>
                    <a:pt x="2" y="42"/>
                  </a:cubicBezTo>
                  <a:cubicBezTo>
                    <a:pt x="2" y="43"/>
                    <a:pt x="2" y="43"/>
                    <a:pt x="2" y="43"/>
                  </a:cubicBezTo>
                  <a:cubicBezTo>
                    <a:pt x="3" y="44"/>
                    <a:pt x="4" y="45"/>
                    <a:pt x="4" y="46"/>
                  </a:cubicBezTo>
                  <a:cubicBezTo>
                    <a:pt x="4" y="48"/>
                    <a:pt x="2" y="50"/>
                    <a:pt x="1" y="51"/>
                  </a:cubicBezTo>
                  <a:cubicBezTo>
                    <a:pt x="1" y="52"/>
                    <a:pt x="1" y="52"/>
                    <a:pt x="1" y="52"/>
                  </a:cubicBezTo>
                  <a:cubicBezTo>
                    <a:pt x="2" y="53"/>
                    <a:pt x="2" y="53"/>
                    <a:pt x="2" y="53"/>
                  </a:cubicBezTo>
                  <a:cubicBezTo>
                    <a:pt x="3" y="54"/>
                    <a:pt x="3" y="54"/>
                    <a:pt x="4" y="55"/>
                  </a:cubicBezTo>
                  <a:cubicBezTo>
                    <a:pt x="5" y="55"/>
                    <a:pt x="5" y="55"/>
                    <a:pt x="5" y="55"/>
                  </a:cubicBezTo>
                  <a:cubicBezTo>
                    <a:pt x="9" y="50"/>
                    <a:pt x="9" y="50"/>
                    <a:pt x="9" y="50"/>
                  </a:cubicBezTo>
                  <a:cubicBezTo>
                    <a:pt x="6" y="56"/>
                    <a:pt x="6" y="56"/>
                    <a:pt x="6" y="56"/>
                  </a:cubicBezTo>
                  <a:cubicBezTo>
                    <a:pt x="6" y="57"/>
                    <a:pt x="6" y="57"/>
                    <a:pt x="6" y="57"/>
                  </a:cubicBezTo>
                  <a:cubicBezTo>
                    <a:pt x="6" y="57"/>
                    <a:pt x="6" y="57"/>
                    <a:pt x="6" y="57"/>
                  </a:cubicBezTo>
                  <a:cubicBezTo>
                    <a:pt x="7" y="58"/>
                    <a:pt x="7" y="58"/>
                    <a:pt x="7" y="58"/>
                  </a:cubicBezTo>
                  <a:cubicBezTo>
                    <a:pt x="11" y="61"/>
                    <a:pt x="15" y="65"/>
                    <a:pt x="15" y="69"/>
                  </a:cubicBezTo>
                  <a:cubicBezTo>
                    <a:pt x="15" y="70"/>
                    <a:pt x="14" y="72"/>
                    <a:pt x="13" y="76"/>
                  </a:cubicBezTo>
                  <a:cubicBezTo>
                    <a:pt x="14" y="76"/>
                    <a:pt x="15" y="76"/>
                    <a:pt x="15" y="76"/>
                  </a:cubicBezTo>
                  <a:cubicBezTo>
                    <a:pt x="16" y="76"/>
                    <a:pt x="16" y="76"/>
                    <a:pt x="16" y="76"/>
                  </a:cubicBezTo>
                  <a:cubicBezTo>
                    <a:pt x="19" y="76"/>
                    <a:pt x="22" y="75"/>
                    <a:pt x="25" y="75"/>
                  </a:cubicBezTo>
                  <a:cubicBezTo>
                    <a:pt x="26" y="75"/>
                    <a:pt x="27" y="74"/>
                    <a:pt x="29" y="74"/>
                  </a:cubicBezTo>
                  <a:cubicBezTo>
                    <a:pt x="29" y="74"/>
                    <a:pt x="29" y="74"/>
                    <a:pt x="29" y="74"/>
                  </a:cubicBezTo>
                  <a:cubicBezTo>
                    <a:pt x="30" y="73"/>
                    <a:pt x="32" y="73"/>
                    <a:pt x="33" y="72"/>
                  </a:cubicBezTo>
                  <a:cubicBezTo>
                    <a:pt x="35" y="71"/>
                    <a:pt x="38" y="70"/>
                    <a:pt x="40" y="70"/>
                  </a:cubicBezTo>
                  <a:cubicBezTo>
                    <a:pt x="41" y="70"/>
                    <a:pt x="41" y="70"/>
                    <a:pt x="42" y="70"/>
                  </a:cubicBezTo>
                  <a:cubicBezTo>
                    <a:pt x="43" y="70"/>
                    <a:pt x="44" y="70"/>
                    <a:pt x="46" y="70"/>
                  </a:cubicBezTo>
                  <a:cubicBezTo>
                    <a:pt x="46" y="70"/>
                    <a:pt x="47" y="70"/>
                    <a:pt x="47" y="70"/>
                  </a:cubicBezTo>
                  <a:cubicBezTo>
                    <a:pt x="48" y="70"/>
                    <a:pt x="48" y="70"/>
                    <a:pt x="49" y="70"/>
                  </a:cubicBezTo>
                  <a:cubicBezTo>
                    <a:pt x="49" y="70"/>
                    <a:pt x="49" y="70"/>
                    <a:pt x="49" y="70"/>
                  </a:cubicBezTo>
                  <a:cubicBezTo>
                    <a:pt x="51" y="71"/>
                    <a:pt x="52" y="73"/>
                    <a:pt x="54" y="74"/>
                  </a:cubicBezTo>
                  <a:cubicBezTo>
                    <a:pt x="54" y="75"/>
                    <a:pt x="54" y="75"/>
                    <a:pt x="54" y="75"/>
                  </a:cubicBezTo>
                  <a:cubicBezTo>
                    <a:pt x="55" y="75"/>
                    <a:pt x="56" y="76"/>
                    <a:pt x="58" y="76"/>
                  </a:cubicBezTo>
                  <a:cubicBezTo>
                    <a:pt x="59" y="76"/>
                    <a:pt x="60" y="76"/>
                    <a:pt x="60" y="77"/>
                  </a:cubicBezTo>
                  <a:cubicBezTo>
                    <a:pt x="61" y="77"/>
                    <a:pt x="63" y="77"/>
                    <a:pt x="64" y="77"/>
                  </a:cubicBezTo>
                  <a:cubicBezTo>
                    <a:pt x="65" y="77"/>
                    <a:pt x="65" y="78"/>
                    <a:pt x="65" y="78"/>
                  </a:cubicBezTo>
                  <a:cubicBezTo>
                    <a:pt x="66" y="78"/>
                    <a:pt x="66" y="78"/>
                    <a:pt x="66" y="78"/>
                  </a:cubicBezTo>
                  <a:cubicBezTo>
                    <a:pt x="71" y="78"/>
                    <a:pt x="71" y="78"/>
                    <a:pt x="71" y="78"/>
                  </a:cubicBezTo>
                  <a:cubicBezTo>
                    <a:pt x="71" y="78"/>
                    <a:pt x="72" y="78"/>
                    <a:pt x="72" y="78"/>
                  </a:cubicBezTo>
                  <a:cubicBezTo>
                    <a:pt x="75" y="77"/>
                    <a:pt x="75" y="77"/>
                    <a:pt x="75" y="77"/>
                  </a:cubicBezTo>
                  <a:cubicBezTo>
                    <a:pt x="76" y="77"/>
                    <a:pt x="78" y="77"/>
                    <a:pt x="79" y="77"/>
                  </a:cubicBezTo>
                  <a:cubicBezTo>
                    <a:pt x="80" y="77"/>
                    <a:pt x="82" y="76"/>
                    <a:pt x="83" y="76"/>
                  </a:cubicBezTo>
                  <a:cubicBezTo>
                    <a:pt x="83" y="75"/>
                    <a:pt x="83" y="74"/>
                    <a:pt x="83" y="73"/>
                  </a:cubicBezTo>
                  <a:cubicBezTo>
                    <a:pt x="82" y="73"/>
                    <a:pt x="82" y="72"/>
                    <a:pt x="82" y="72"/>
                  </a:cubicBezTo>
                  <a:cubicBezTo>
                    <a:pt x="81" y="72"/>
                    <a:pt x="81" y="70"/>
                    <a:pt x="81" y="69"/>
                  </a:cubicBezTo>
                  <a:cubicBezTo>
                    <a:pt x="81" y="68"/>
                    <a:pt x="81" y="66"/>
                    <a:pt x="83" y="66"/>
                  </a:cubicBezTo>
                  <a:cubicBezTo>
                    <a:pt x="84" y="65"/>
                    <a:pt x="85" y="65"/>
                    <a:pt x="86" y="65"/>
                  </a:cubicBezTo>
                  <a:cubicBezTo>
                    <a:pt x="87" y="65"/>
                    <a:pt x="87" y="65"/>
                    <a:pt x="88" y="65"/>
                  </a:cubicBezTo>
                  <a:cubicBezTo>
                    <a:pt x="89" y="65"/>
                    <a:pt x="89" y="65"/>
                    <a:pt x="89" y="65"/>
                  </a:cubicBezTo>
                  <a:cubicBezTo>
                    <a:pt x="90" y="65"/>
                    <a:pt x="90" y="65"/>
                    <a:pt x="91" y="64"/>
                  </a:cubicBezTo>
                  <a:cubicBezTo>
                    <a:pt x="91" y="64"/>
                    <a:pt x="91" y="64"/>
                    <a:pt x="91" y="64"/>
                  </a:cubicBezTo>
                  <a:cubicBezTo>
                    <a:pt x="92" y="63"/>
                    <a:pt x="92" y="63"/>
                    <a:pt x="92" y="63"/>
                  </a:cubicBezTo>
                  <a:cubicBezTo>
                    <a:pt x="92" y="63"/>
                    <a:pt x="92" y="63"/>
                    <a:pt x="92" y="63"/>
                  </a:cubicBezTo>
                  <a:cubicBezTo>
                    <a:pt x="93" y="62"/>
                    <a:pt x="94" y="61"/>
                    <a:pt x="95" y="60"/>
                  </a:cubicBezTo>
                  <a:cubicBezTo>
                    <a:pt x="101" y="58"/>
                    <a:pt x="101" y="58"/>
                    <a:pt x="101" y="58"/>
                  </a:cubicBezTo>
                  <a:cubicBezTo>
                    <a:pt x="104" y="57"/>
                    <a:pt x="106" y="57"/>
                    <a:pt x="109" y="56"/>
                  </a:cubicBezTo>
                  <a:cubicBezTo>
                    <a:pt x="114" y="55"/>
                    <a:pt x="114" y="55"/>
                    <a:pt x="114" y="55"/>
                  </a:cubicBezTo>
                  <a:cubicBezTo>
                    <a:pt x="115" y="56"/>
                    <a:pt x="115" y="56"/>
                    <a:pt x="115" y="56"/>
                  </a:cubicBezTo>
                  <a:cubicBezTo>
                    <a:pt x="116" y="57"/>
                    <a:pt x="116" y="57"/>
                    <a:pt x="116" y="57"/>
                  </a:cubicBezTo>
                  <a:cubicBezTo>
                    <a:pt x="116" y="57"/>
                    <a:pt x="116" y="57"/>
                    <a:pt x="116" y="57"/>
                  </a:cubicBezTo>
                  <a:cubicBezTo>
                    <a:pt x="116" y="57"/>
                    <a:pt x="117" y="58"/>
                    <a:pt x="118" y="58"/>
                  </a:cubicBezTo>
                  <a:cubicBezTo>
                    <a:pt x="119" y="59"/>
                    <a:pt x="119" y="59"/>
                    <a:pt x="119" y="59"/>
                  </a:cubicBezTo>
                  <a:cubicBezTo>
                    <a:pt x="127" y="58"/>
                    <a:pt x="127" y="58"/>
                    <a:pt x="127" y="58"/>
                  </a:cubicBezTo>
                  <a:cubicBezTo>
                    <a:pt x="125" y="55"/>
                    <a:pt x="123" y="52"/>
                    <a:pt x="122" y="48"/>
                  </a:cubicBezTo>
                  <a:cubicBezTo>
                    <a:pt x="121" y="48"/>
                    <a:pt x="121" y="48"/>
                    <a:pt x="121" y="48"/>
                  </a:cubicBezTo>
                  <a:cubicBezTo>
                    <a:pt x="121" y="48"/>
                    <a:pt x="121" y="48"/>
                    <a:pt x="120" y="47"/>
                  </a:cubicBezTo>
                  <a:cubicBezTo>
                    <a:pt x="120" y="47"/>
                    <a:pt x="120" y="47"/>
                    <a:pt x="120" y="47"/>
                  </a:cubicBezTo>
                  <a:cubicBezTo>
                    <a:pt x="120" y="47"/>
                    <a:pt x="119" y="47"/>
                    <a:pt x="119" y="47"/>
                  </a:cubicBezTo>
                  <a:cubicBezTo>
                    <a:pt x="119" y="48"/>
                    <a:pt x="118" y="48"/>
                    <a:pt x="118" y="48"/>
                  </a:cubicBezTo>
                  <a:cubicBezTo>
                    <a:pt x="117" y="48"/>
                    <a:pt x="117" y="48"/>
                    <a:pt x="117" y="47"/>
                  </a:cubicBezTo>
                  <a:cubicBezTo>
                    <a:pt x="116" y="48"/>
                    <a:pt x="116" y="48"/>
                    <a:pt x="116" y="48"/>
                  </a:cubicBezTo>
                  <a:cubicBezTo>
                    <a:pt x="116" y="46"/>
                    <a:pt x="122" y="43"/>
                    <a:pt x="124" y="42"/>
                  </a:cubicBezTo>
                  <a:cubicBezTo>
                    <a:pt x="126" y="40"/>
                    <a:pt x="127" y="40"/>
                    <a:pt x="126" y="37"/>
                  </a:cubicBezTo>
                  <a:cubicBezTo>
                    <a:pt x="126" y="35"/>
                    <a:pt x="126" y="33"/>
                    <a:pt x="126" y="32"/>
                  </a:cubicBezTo>
                  <a:cubicBezTo>
                    <a:pt x="126" y="30"/>
                    <a:pt x="129" y="28"/>
                    <a:pt x="127" y="26"/>
                  </a:cubicBezTo>
                  <a:cubicBezTo>
                    <a:pt x="130" y="24"/>
                    <a:pt x="134" y="20"/>
                    <a:pt x="137" y="20"/>
                  </a:cubicBezTo>
                  <a:cubicBezTo>
                    <a:pt x="138" y="20"/>
                    <a:pt x="139" y="21"/>
                    <a:pt x="140" y="21"/>
                  </a:cubicBezTo>
                  <a:cubicBezTo>
                    <a:pt x="141" y="20"/>
                    <a:pt x="142" y="16"/>
                    <a:pt x="143" y="13"/>
                  </a:cubicBezTo>
                  <a:cubicBezTo>
                    <a:pt x="121" y="6"/>
                    <a:pt x="121" y="6"/>
                    <a:pt x="121" y="6"/>
                  </a:cubicBezTo>
                  <a:cubicBezTo>
                    <a:pt x="119" y="6"/>
                    <a:pt x="117" y="5"/>
                    <a:pt x="115" y="4"/>
                  </a:cubicBezTo>
                  <a:cubicBezTo>
                    <a:pt x="113" y="3"/>
                    <a:pt x="113" y="3"/>
                    <a:pt x="113" y="3"/>
                  </a:cubicBezTo>
                  <a:cubicBezTo>
                    <a:pt x="112" y="3"/>
                    <a:pt x="112" y="3"/>
                    <a:pt x="112" y="3"/>
                  </a:cubicBezTo>
                  <a:cubicBezTo>
                    <a:pt x="111" y="3"/>
                    <a:pt x="111" y="3"/>
                    <a:pt x="111" y="3"/>
                  </a:cubicBezTo>
                  <a:cubicBezTo>
                    <a:pt x="111" y="3"/>
                    <a:pt x="111" y="3"/>
                    <a:pt x="110" y="3"/>
                  </a:cubicBezTo>
                  <a:cubicBezTo>
                    <a:pt x="110" y="3"/>
                    <a:pt x="110" y="3"/>
                    <a:pt x="109" y="3"/>
                  </a:cubicBezTo>
                  <a:cubicBezTo>
                    <a:pt x="94" y="5"/>
                    <a:pt x="94" y="5"/>
                    <a:pt x="94" y="5"/>
                  </a:cubicBezTo>
                  <a:cubicBezTo>
                    <a:pt x="92" y="5"/>
                    <a:pt x="91" y="6"/>
                    <a:pt x="90" y="7"/>
                  </a:cubicBezTo>
                  <a:cubicBezTo>
                    <a:pt x="89" y="7"/>
                    <a:pt x="88" y="7"/>
                    <a:pt x="88" y="8"/>
                  </a:cubicBezTo>
                  <a:cubicBezTo>
                    <a:pt x="87" y="8"/>
                    <a:pt x="86" y="9"/>
                    <a:pt x="85" y="10"/>
                  </a:cubicBezTo>
                  <a:cubicBezTo>
                    <a:pt x="81" y="13"/>
                    <a:pt x="75" y="16"/>
                    <a:pt x="70" y="16"/>
                  </a:cubicBezTo>
                  <a:cubicBezTo>
                    <a:pt x="69" y="16"/>
                    <a:pt x="69" y="17"/>
                    <a:pt x="68" y="17"/>
                  </a:cubicBezTo>
                  <a:cubicBezTo>
                    <a:pt x="65" y="17"/>
                    <a:pt x="62" y="16"/>
                    <a:pt x="59" y="15"/>
                  </a:cubicBezTo>
                  <a:cubicBezTo>
                    <a:pt x="58" y="15"/>
                    <a:pt x="57" y="15"/>
                    <a:pt x="56" y="15"/>
                  </a:cubicBezTo>
                  <a:cubicBezTo>
                    <a:pt x="55" y="14"/>
                    <a:pt x="54" y="14"/>
                    <a:pt x="53" y="14"/>
                  </a:cubicBezTo>
                  <a:cubicBezTo>
                    <a:pt x="52" y="14"/>
                    <a:pt x="49" y="13"/>
                    <a:pt x="49" y="13"/>
                  </a:cubicBezTo>
                  <a:cubicBezTo>
                    <a:pt x="45" y="14"/>
                    <a:pt x="43" y="15"/>
                    <a:pt x="39" y="15"/>
                  </a:cubicBezTo>
                  <a:cubicBezTo>
                    <a:pt x="38" y="15"/>
                    <a:pt x="38" y="15"/>
                    <a:pt x="38" y="15"/>
                  </a:cubicBezTo>
                  <a:cubicBezTo>
                    <a:pt x="34" y="15"/>
                    <a:pt x="31" y="13"/>
                    <a:pt x="28" y="12"/>
                  </a:cubicBezTo>
                  <a:cubicBezTo>
                    <a:pt x="26" y="12"/>
                    <a:pt x="26" y="12"/>
                    <a:pt x="26" y="12"/>
                  </a:cubicBezTo>
                  <a:cubicBezTo>
                    <a:pt x="23" y="11"/>
                    <a:pt x="21" y="11"/>
                    <a:pt x="19" y="11"/>
                  </a:cubicBezTo>
                  <a:cubicBezTo>
                    <a:pt x="19" y="11"/>
                    <a:pt x="18" y="11"/>
                    <a:pt x="18" y="11"/>
                  </a:cubicBezTo>
                  <a:cubicBezTo>
                    <a:pt x="16" y="11"/>
                    <a:pt x="16" y="11"/>
                    <a:pt x="16" y="11"/>
                  </a:cubicBezTo>
                  <a:cubicBezTo>
                    <a:pt x="15" y="11"/>
                    <a:pt x="14" y="12"/>
                    <a:pt x="13" y="12"/>
                  </a:cubicBezTo>
                  <a:cubicBezTo>
                    <a:pt x="12" y="12"/>
                    <a:pt x="11" y="12"/>
                    <a:pt x="10" y="11"/>
                  </a:cubicBezTo>
                  <a:cubicBezTo>
                    <a:pt x="9" y="11"/>
                    <a:pt x="7" y="11"/>
                    <a:pt x="7" y="10"/>
                  </a:cubicBezTo>
                  <a:cubicBezTo>
                    <a:pt x="5" y="8"/>
                    <a:pt x="6" y="6"/>
                    <a:pt x="6" y="5"/>
                  </a:cubicBezTo>
                  <a:cubicBezTo>
                    <a:pt x="6" y="4"/>
                    <a:pt x="7" y="3"/>
                    <a:pt x="8" y="2"/>
                  </a:cubicBezTo>
                  <a:cubicBezTo>
                    <a:pt x="8" y="2"/>
                    <a:pt x="8" y="2"/>
                    <a:pt x="8" y="2"/>
                  </a:cubicBezTo>
                  <a:cubicBezTo>
                    <a:pt x="8" y="2"/>
                    <a:pt x="8" y="2"/>
                    <a:pt x="8" y="2"/>
                  </a:cubicBezTo>
                  <a:cubicBezTo>
                    <a:pt x="7" y="1"/>
                    <a:pt x="7" y="1"/>
                    <a:pt x="7" y="1"/>
                  </a:cubicBezTo>
                  <a:cubicBezTo>
                    <a:pt x="6" y="1"/>
                    <a:pt x="6" y="1"/>
                    <a:pt x="6" y="1"/>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72"/>
            <p:cNvSpPr/>
            <p:nvPr/>
          </p:nvSpPr>
          <p:spPr bwMode="auto">
            <a:xfrm>
              <a:off x="5112" y="273"/>
              <a:ext cx="168" cy="128"/>
            </a:xfrm>
            <a:custGeom>
              <a:gdLst>
                <a:gd name="T0" fmla="*/ 28 w 71"/>
                <a:gd name="T1" fmla="*/ 0 h 54"/>
                <a:gd name="T2" fmla="*/ 27 w 71"/>
                <a:gd name="T3" fmla="*/ 1 h 54"/>
                <a:gd name="T4" fmla="*/ 19 w 71"/>
                <a:gd name="T5" fmla="*/ 3 h 54"/>
                <a:gd name="T6" fmla="*/ 14 w 71"/>
                <a:gd name="T7" fmla="*/ 4 h 54"/>
                <a:gd name="T8" fmla="*/ 13 w 71"/>
                <a:gd name="T9" fmla="*/ 5 h 54"/>
                <a:gd name="T10" fmla="*/ 12 w 71"/>
                <a:gd name="T11" fmla="*/ 6 h 54"/>
                <a:gd name="T12" fmla="*/ 12 w 71"/>
                <a:gd name="T13" fmla="*/ 7 h 54"/>
                <a:gd name="T14" fmla="*/ 13 w 71"/>
                <a:gd name="T15" fmla="*/ 7 h 54"/>
                <a:gd name="T16" fmla="*/ 13 w 71"/>
                <a:gd name="T17" fmla="*/ 8 h 54"/>
                <a:gd name="T18" fmla="*/ 14 w 71"/>
                <a:gd name="T19" fmla="*/ 10 h 54"/>
                <a:gd name="T20" fmla="*/ 15 w 71"/>
                <a:gd name="T21" fmla="*/ 16 h 54"/>
                <a:gd name="T22" fmla="*/ 10 w 71"/>
                <a:gd name="T23" fmla="*/ 21 h 54"/>
                <a:gd name="T24" fmla="*/ 9 w 71"/>
                <a:gd name="T25" fmla="*/ 22 h 54"/>
                <a:gd name="T26" fmla="*/ 9 w 71"/>
                <a:gd name="T27" fmla="*/ 22 h 54"/>
                <a:gd name="T28" fmla="*/ 9 w 71"/>
                <a:gd name="T29" fmla="*/ 23 h 54"/>
                <a:gd name="T30" fmla="*/ 9 w 71"/>
                <a:gd name="T31" fmla="*/ 24 h 54"/>
                <a:gd name="T32" fmla="*/ 8 w 71"/>
                <a:gd name="T33" fmla="*/ 29 h 54"/>
                <a:gd name="T34" fmla="*/ 8 w 71"/>
                <a:gd name="T35" fmla="*/ 29 h 54"/>
                <a:gd name="T36" fmla="*/ 6 w 71"/>
                <a:gd name="T37" fmla="*/ 31 h 54"/>
                <a:gd name="T38" fmla="*/ 6 w 71"/>
                <a:gd name="T39" fmla="*/ 32 h 54"/>
                <a:gd name="T40" fmla="*/ 1 w 71"/>
                <a:gd name="T41" fmla="*/ 38 h 54"/>
                <a:gd name="T42" fmla="*/ 0 w 71"/>
                <a:gd name="T43" fmla="*/ 38 h 54"/>
                <a:gd name="T44" fmla="*/ 4 w 71"/>
                <a:gd name="T45" fmla="*/ 39 h 54"/>
                <a:gd name="T46" fmla="*/ 11 w 71"/>
                <a:gd name="T47" fmla="*/ 38 h 54"/>
                <a:gd name="T48" fmla="*/ 14 w 71"/>
                <a:gd name="T49" fmla="*/ 37 h 54"/>
                <a:gd name="T50" fmla="*/ 16 w 71"/>
                <a:gd name="T51" fmla="*/ 39 h 54"/>
                <a:gd name="T52" fmla="*/ 12 w 71"/>
                <a:gd name="T53" fmla="*/ 41 h 54"/>
                <a:gd name="T54" fmla="*/ 3 w 71"/>
                <a:gd name="T55" fmla="*/ 46 h 54"/>
                <a:gd name="T56" fmla="*/ 2 w 71"/>
                <a:gd name="T57" fmla="*/ 54 h 54"/>
                <a:gd name="T58" fmla="*/ 27 w 71"/>
                <a:gd name="T59" fmla="*/ 35 h 54"/>
                <a:gd name="T60" fmla="*/ 39 w 71"/>
                <a:gd name="T61" fmla="*/ 27 h 54"/>
                <a:gd name="T62" fmla="*/ 51 w 71"/>
                <a:gd name="T63" fmla="*/ 26 h 54"/>
                <a:gd name="T64" fmla="*/ 55 w 71"/>
                <a:gd name="T65" fmla="*/ 26 h 54"/>
                <a:gd name="T66" fmla="*/ 62 w 71"/>
                <a:gd name="T67" fmla="*/ 28 h 54"/>
                <a:gd name="T68" fmla="*/ 61 w 71"/>
                <a:gd name="T69" fmla="*/ 27 h 54"/>
                <a:gd name="T70" fmla="*/ 68 w 71"/>
                <a:gd name="T71" fmla="*/ 20 h 54"/>
                <a:gd name="T72" fmla="*/ 71 w 71"/>
                <a:gd name="T73" fmla="*/ 21 h 54"/>
                <a:gd name="T74" fmla="*/ 71 w 71"/>
                <a:gd name="T75" fmla="*/ 21 h 54"/>
                <a:gd name="T76" fmla="*/ 65 w 71"/>
                <a:gd name="T77" fmla="*/ 19 h 54"/>
                <a:gd name="T78" fmla="*/ 50 w 71"/>
                <a:gd name="T79" fmla="*/ 12 h 54"/>
                <a:gd name="T80" fmla="*/ 46 w 71"/>
                <a:gd name="T81" fmla="*/ 2 h 54"/>
                <a:gd name="T82" fmla="*/ 36 w 71"/>
                <a:gd name="T83" fmla="*/ 4 h 54"/>
                <a:gd name="T84" fmla="*/ 35 w 71"/>
                <a:gd name="T85" fmla="*/ 4 h 54"/>
                <a:gd name="T86" fmla="*/ 29 w 71"/>
                <a:gd name="T87" fmla="*/ 1 h 54"/>
                <a:gd name="T88" fmla="*/ 28 w 71"/>
                <a:gd name="T89" fmla="*/ 0 h 54"/>
                <a:gd name="T90" fmla="*/ 28 w 71"/>
                <a:gd name="T91" fmla="*/ 0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54">
                  <a:moveTo>
                    <a:pt x="28" y="0"/>
                  </a:moveTo>
                  <a:cubicBezTo>
                    <a:pt x="27" y="1"/>
                    <a:pt x="27" y="1"/>
                    <a:pt x="27" y="1"/>
                  </a:cubicBezTo>
                  <a:cubicBezTo>
                    <a:pt x="24" y="1"/>
                    <a:pt x="22" y="2"/>
                    <a:pt x="19" y="3"/>
                  </a:cubicBezTo>
                  <a:cubicBezTo>
                    <a:pt x="14" y="4"/>
                    <a:pt x="14" y="4"/>
                    <a:pt x="14" y="4"/>
                  </a:cubicBezTo>
                  <a:cubicBezTo>
                    <a:pt x="13" y="5"/>
                    <a:pt x="13" y="5"/>
                    <a:pt x="13" y="5"/>
                  </a:cubicBezTo>
                  <a:cubicBezTo>
                    <a:pt x="12" y="6"/>
                    <a:pt x="12" y="6"/>
                    <a:pt x="12" y="6"/>
                  </a:cubicBezTo>
                  <a:cubicBezTo>
                    <a:pt x="12" y="7"/>
                    <a:pt x="12" y="7"/>
                    <a:pt x="12" y="7"/>
                  </a:cubicBezTo>
                  <a:cubicBezTo>
                    <a:pt x="13" y="7"/>
                    <a:pt x="13" y="7"/>
                    <a:pt x="13" y="7"/>
                  </a:cubicBezTo>
                  <a:cubicBezTo>
                    <a:pt x="13" y="8"/>
                    <a:pt x="13" y="8"/>
                    <a:pt x="13" y="8"/>
                  </a:cubicBezTo>
                  <a:cubicBezTo>
                    <a:pt x="13" y="8"/>
                    <a:pt x="14" y="9"/>
                    <a:pt x="14" y="10"/>
                  </a:cubicBezTo>
                  <a:cubicBezTo>
                    <a:pt x="16" y="11"/>
                    <a:pt x="16" y="14"/>
                    <a:pt x="15" y="16"/>
                  </a:cubicBezTo>
                  <a:cubicBezTo>
                    <a:pt x="14" y="19"/>
                    <a:pt x="12" y="20"/>
                    <a:pt x="10" y="21"/>
                  </a:cubicBezTo>
                  <a:cubicBezTo>
                    <a:pt x="9" y="22"/>
                    <a:pt x="9" y="22"/>
                    <a:pt x="9" y="22"/>
                  </a:cubicBezTo>
                  <a:cubicBezTo>
                    <a:pt x="9" y="22"/>
                    <a:pt x="9" y="22"/>
                    <a:pt x="9" y="22"/>
                  </a:cubicBezTo>
                  <a:cubicBezTo>
                    <a:pt x="9" y="23"/>
                    <a:pt x="9" y="23"/>
                    <a:pt x="9" y="23"/>
                  </a:cubicBezTo>
                  <a:cubicBezTo>
                    <a:pt x="9" y="24"/>
                    <a:pt x="9" y="24"/>
                    <a:pt x="9" y="24"/>
                  </a:cubicBezTo>
                  <a:cubicBezTo>
                    <a:pt x="9" y="25"/>
                    <a:pt x="9" y="27"/>
                    <a:pt x="8" y="29"/>
                  </a:cubicBezTo>
                  <a:cubicBezTo>
                    <a:pt x="8" y="29"/>
                    <a:pt x="8" y="29"/>
                    <a:pt x="8" y="29"/>
                  </a:cubicBezTo>
                  <a:cubicBezTo>
                    <a:pt x="8" y="29"/>
                    <a:pt x="7" y="30"/>
                    <a:pt x="6" y="31"/>
                  </a:cubicBezTo>
                  <a:cubicBezTo>
                    <a:pt x="6" y="32"/>
                    <a:pt x="6" y="32"/>
                    <a:pt x="6" y="32"/>
                  </a:cubicBezTo>
                  <a:cubicBezTo>
                    <a:pt x="5" y="33"/>
                    <a:pt x="2" y="36"/>
                    <a:pt x="1" y="38"/>
                  </a:cubicBezTo>
                  <a:cubicBezTo>
                    <a:pt x="0" y="38"/>
                    <a:pt x="0" y="38"/>
                    <a:pt x="0" y="38"/>
                  </a:cubicBezTo>
                  <a:cubicBezTo>
                    <a:pt x="1" y="38"/>
                    <a:pt x="2" y="39"/>
                    <a:pt x="4" y="39"/>
                  </a:cubicBezTo>
                  <a:cubicBezTo>
                    <a:pt x="6" y="39"/>
                    <a:pt x="9" y="38"/>
                    <a:pt x="11" y="38"/>
                  </a:cubicBezTo>
                  <a:cubicBezTo>
                    <a:pt x="12" y="38"/>
                    <a:pt x="13" y="37"/>
                    <a:pt x="14" y="37"/>
                  </a:cubicBezTo>
                  <a:cubicBezTo>
                    <a:pt x="15" y="37"/>
                    <a:pt x="16" y="37"/>
                    <a:pt x="16" y="39"/>
                  </a:cubicBezTo>
                  <a:cubicBezTo>
                    <a:pt x="16" y="40"/>
                    <a:pt x="13" y="41"/>
                    <a:pt x="12" y="41"/>
                  </a:cubicBezTo>
                  <a:cubicBezTo>
                    <a:pt x="10" y="42"/>
                    <a:pt x="5" y="44"/>
                    <a:pt x="3" y="46"/>
                  </a:cubicBezTo>
                  <a:cubicBezTo>
                    <a:pt x="2" y="48"/>
                    <a:pt x="2" y="52"/>
                    <a:pt x="2" y="54"/>
                  </a:cubicBezTo>
                  <a:cubicBezTo>
                    <a:pt x="10" y="47"/>
                    <a:pt x="19" y="41"/>
                    <a:pt x="27" y="35"/>
                  </a:cubicBezTo>
                  <a:cubicBezTo>
                    <a:pt x="30" y="33"/>
                    <a:pt x="35" y="27"/>
                    <a:pt x="39" y="27"/>
                  </a:cubicBezTo>
                  <a:cubicBezTo>
                    <a:pt x="43" y="27"/>
                    <a:pt x="47" y="26"/>
                    <a:pt x="51" y="26"/>
                  </a:cubicBezTo>
                  <a:cubicBezTo>
                    <a:pt x="53" y="26"/>
                    <a:pt x="54" y="26"/>
                    <a:pt x="55" y="26"/>
                  </a:cubicBezTo>
                  <a:cubicBezTo>
                    <a:pt x="57" y="26"/>
                    <a:pt x="59" y="27"/>
                    <a:pt x="62" y="28"/>
                  </a:cubicBezTo>
                  <a:cubicBezTo>
                    <a:pt x="61" y="27"/>
                    <a:pt x="61" y="27"/>
                    <a:pt x="61" y="27"/>
                  </a:cubicBezTo>
                  <a:cubicBezTo>
                    <a:pt x="61" y="23"/>
                    <a:pt x="64" y="20"/>
                    <a:pt x="68" y="20"/>
                  </a:cubicBezTo>
                  <a:cubicBezTo>
                    <a:pt x="69" y="20"/>
                    <a:pt x="70" y="21"/>
                    <a:pt x="71" y="21"/>
                  </a:cubicBezTo>
                  <a:cubicBezTo>
                    <a:pt x="71" y="21"/>
                    <a:pt x="71" y="21"/>
                    <a:pt x="71" y="21"/>
                  </a:cubicBezTo>
                  <a:cubicBezTo>
                    <a:pt x="71" y="20"/>
                    <a:pt x="66" y="20"/>
                    <a:pt x="65" y="19"/>
                  </a:cubicBezTo>
                  <a:cubicBezTo>
                    <a:pt x="60" y="18"/>
                    <a:pt x="55" y="15"/>
                    <a:pt x="50" y="12"/>
                  </a:cubicBezTo>
                  <a:cubicBezTo>
                    <a:pt x="46" y="10"/>
                    <a:pt x="46" y="6"/>
                    <a:pt x="46" y="2"/>
                  </a:cubicBezTo>
                  <a:cubicBezTo>
                    <a:pt x="36" y="4"/>
                    <a:pt x="36" y="4"/>
                    <a:pt x="36" y="4"/>
                  </a:cubicBezTo>
                  <a:cubicBezTo>
                    <a:pt x="36" y="4"/>
                    <a:pt x="35" y="4"/>
                    <a:pt x="35" y="4"/>
                  </a:cubicBezTo>
                  <a:cubicBezTo>
                    <a:pt x="33" y="4"/>
                    <a:pt x="31" y="3"/>
                    <a:pt x="29" y="1"/>
                  </a:cubicBezTo>
                  <a:cubicBezTo>
                    <a:pt x="29" y="1"/>
                    <a:pt x="29" y="0"/>
                    <a:pt x="28" y="0"/>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273"/>
            <p:cNvSpPr/>
            <p:nvPr/>
          </p:nvSpPr>
          <p:spPr bwMode="auto">
            <a:xfrm>
              <a:off x="4717" y="-6"/>
              <a:ext cx="213" cy="253"/>
            </a:xfrm>
            <a:custGeom>
              <a:gdLst>
                <a:gd name="T0" fmla="*/ 17 w 90"/>
                <a:gd name="T1" fmla="*/ 0 h 107"/>
                <a:gd name="T2" fmla="*/ 2 w 90"/>
                <a:gd name="T3" fmla="*/ 8 h 107"/>
                <a:gd name="T4" fmla="*/ 1 w 90"/>
                <a:gd name="T5" fmla="*/ 13 h 107"/>
                <a:gd name="T6" fmla="*/ 5 w 90"/>
                <a:gd name="T7" fmla="*/ 18 h 107"/>
                <a:gd name="T8" fmla="*/ 8 w 90"/>
                <a:gd name="T9" fmla="*/ 27 h 107"/>
                <a:gd name="T10" fmla="*/ 5 w 90"/>
                <a:gd name="T11" fmla="*/ 32 h 107"/>
                <a:gd name="T12" fmla="*/ 11 w 90"/>
                <a:gd name="T13" fmla="*/ 37 h 107"/>
                <a:gd name="T14" fmla="*/ 9 w 90"/>
                <a:gd name="T15" fmla="*/ 41 h 107"/>
                <a:gd name="T16" fmla="*/ 6 w 90"/>
                <a:gd name="T17" fmla="*/ 47 h 107"/>
                <a:gd name="T18" fmla="*/ 7 w 90"/>
                <a:gd name="T19" fmla="*/ 49 h 107"/>
                <a:gd name="T20" fmla="*/ 12 w 90"/>
                <a:gd name="T21" fmla="*/ 53 h 107"/>
                <a:gd name="T22" fmla="*/ 14 w 90"/>
                <a:gd name="T23" fmla="*/ 54 h 107"/>
                <a:gd name="T24" fmla="*/ 17 w 90"/>
                <a:gd name="T25" fmla="*/ 61 h 107"/>
                <a:gd name="T26" fmla="*/ 14 w 90"/>
                <a:gd name="T27" fmla="*/ 63 h 107"/>
                <a:gd name="T28" fmla="*/ 13 w 90"/>
                <a:gd name="T29" fmla="*/ 64 h 107"/>
                <a:gd name="T30" fmla="*/ 15 w 90"/>
                <a:gd name="T31" fmla="*/ 68 h 107"/>
                <a:gd name="T32" fmla="*/ 14 w 90"/>
                <a:gd name="T33" fmla="*/ 72 h 107"/>
                <a:gd name="T34" fmla="*/ 11 w 90"/>
                <a:gd name="T35" fmla="*/ 74 h 107"/>
                <a:gd name="T36" fmla="*/ 37 w 90"/>
                <a:gd name="T37" fmla="*/ 86 h 107"/>
                <a:gd name="T38" fmla="*/ 38 w 90"/>
                <a:gd name="T39" fmla="*/ 79 h 107"/>
                <a:gd name="T40" fmla="*/ 41 w 90"/>
                <a:gd name="T41" fmla="*/ 78 h 107"/>
                <a:gd name="T42" fmla="*/ 45 w 90"/>
                <a:gd name="T43" fmla="*/ 78 h 107"/>
                <a:gd name="T44" fmla="*/ 55 w 90"/>
                <a:gd name="T45" fmla="*/ 87 h 107"/>
                <a:gd name="T46" fmla="*/ 63 w 90"/>
                <a:gd name="T47" fmla="*/ 95 h 107"/>
                <a:gd name="T48" fmla="*/ 66 w 90"/>
                <a:gd name="T49" fmla="*/ 107 h 107"/>
                <a:gd name="T50" fmla="*/ 78 w 90"/>
                <a:gd name="T51" fmla="*/ 105 h 107"/>
                <a:gd name="T52" fmla="*/ 79 w 90"/>
                <a:gd name="T53" fmla="*/ 105 h 107"/>
                <a:gd name="T54" fmla="*/ 78 w 90"/>
                <a:gd name="T55" fmla="*/ 98 h 107"/>
                <a:gd name="T56" fmla="*/ 82 w 90"/>
                <a:gd name="T57" fmla="*/ 90 h 107"/>
                <a:gd name="T58" fmla="*/ 90 w 90"/>
                <a:gd name="T59" fmla="*/ 84 h 107"/>
                <a:gd name="T60" fmla="*/ 86 w 90"/>
                <a:gd name="T61" fmla="*/ 81 h 107"/>
                <a:gd name="T62" fmla="*/ 78 w 90"/>
                <a:gd name="T63" fmla="*/ 70 h 107"/>
                <a:gd name="T64" fmla="*/ 77 w 90"/>
                <a:gd name="T65" fmla="*/ 65 h 107"/>
                <a:gd name="T66" fmla="*/ 83 w 90"/>
                <a:gd name="T67" fmla="*/ 54 h 107"/>
                <a:gd name="T68" fmla="*/ 81 w 90"/>
                <a:gd name="T69" fmla="*/ 45 h 107"/>
                <a:gd name="T70" fmla="*/ 78 w 90"/>
                <a:gd name="T71" fmla="*/ 47 h 107"/>
                <a:gd name="T72" fmla="*/ 77 w 90"/>
                <a:gd name="T73" fmla="*/ 48 h 107"/>
                <a:gd name="T74" fmla="*/ 75 w 90"/>
                <a:gd name="T75" fmla="*/ 49 h 107"/>
                <a:gd name="T76" fmla="*/ 73 w 90"/>
                <a:gd name="T77" fmla="*/ 48 h 107"/>
                <a:gd name="T78" fmla="*/ 49 w 90"/>
                <a:gd name="T79" fmla="*/ 37 h 107"/>
                <a:gd name="T80" fmla="*/ 57 w 90"/>
                <a:gd name="T81" fmla="*/ 32 h 107"/>
                <a:gd name="T82" fmla="*/ 49 w 90"/>
                <a:gd name="T83" fmla="*/ 24 h 107"/>
                <a:gd name="T84" fmla="*/ 44 w 90"/>
                <a:gd name="T85" fmla="*/ 22 h 107"/>
                <a:gd name="T86" fmla="*/ 42 w 90"/>
                <a:gd name="T87" fmla="*/ 21 h 107"/>
                <a:gd name="T88" fmla="*/ 41 w 90"/>
                <a:gd name="T89" fmla="*/ 20 h 107"/>
                <a:gd name="T90" fmla="*/ 39 w 90"/>
                <a:gd name="T91" fmla="*/ 17 h 107"/>
                <a:gd name="T92" fmla="*/ 38 w 90"/>
                <a:gd name="T93" fmla="*/ 13 h 107"/>
                <a:gd name="T94" fmla="*/ 25 w 90"/>
                <a:gd name="T95" fmla="*/ 0 h 1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107">
                  <a:moveTo>
                    <a:pt x="22" y="0"/>
                  </a:moveTo>
                  <a:cubicBezTo>
                    <a:pt x="18" y="0"/>
                    <a:pt x="18" y="0"/>
                    <a:pt x="18" y="0"/>
                  </a:cubicBezTo>
                  <a:cubicBezTo>
                    <a:pt x="17" y="0"/>
                    <a:pt x="17" y="0"/>
                    <a:pt x="17" y="0"/>
                  </a:cubicBezTo>
                  <a:cubicBezTo>
                    <a:pt x="16" y="0"/>
                    <a:pt x="16" y="0"/>
                    <a:pt x="16" y="0"/>
                  </a:cubicBezTo>
                  <a:cubicBezTo>
                    <a:pt x="0" y="6"/>
                    <a:pt x="0" y="6"/>
                    <a:pt x="0" y="6"/>
                  </a:cubicBezTo>
                  <a:cubicBezTo>
                    <a:pt x="1" y="7"/>
                    <a:pt x="1" y="7"/>
                    <a:pt x="2" y="8"/>
                  </a:cubicBezTo>
                  <a:cubicBezTo>
                    <a:pt x="2" y="9"/>
                    <a:pt x="2" y="9"/>
                    <a:pt x="2" y="9"/>
                  </a:cubicBezTo>
                  <a:cubicBezTo>
                    <a:pt x="1" y="13"/>
                    <a:pt x="1" y="13"/>
                    <a:pt x="1" y="13"/>
                  </a:cubicBezTo>
                  <a:cubicBezTo>
                    <a:pt x="1" y="13"/>
                    <a:pt x="1" y="13"/>
                    <a:pt x="1" y="13"/>
                  </a:cubicBezTo>
                  <a:cubicBezTo>
                    <a:pt x="3" y="14"/>
                    <a:pt x="3" y="14"/>
                    <a:pt x="3" y="14"/>
                  </a:cubicBezTo>
                  <a:cubicBezTo>
                    <a:pt x="3" y="14"/>
                    <a:pt x="5" y="15"/>
                    <a:pt x="5" y="17"/>
                  </a:cubicBezTo>
                  <a:cubicBezTo>
                    <a:pt x="5" y="18"/>
                    <a:pt x="5" y="18"/>
                    <a:pt x="5" y="18"/>
                  </a:cubicBezTo>
                  <a:cubicBezTo>
                    <a:pt x="17" y="26"/>
                    <a:pt x="17" y="26"/>
                    <a:pt x="17" y="26"/>
                  </a:cubicBezTo>
                  <a:cubicBezTo>
                    <a:pt x="10" y="27"/>
                    <a:pt x="10" y="27"/>
                    <a:pt x="10" y="27"/>
                  </a:cubicBezTo>
                  <a:cubicBezTo>
                    <a:pt x="10" y="27"/>
                    <a:pt x="9" y="27"/>
                    <a:pt x="8" y="27"/>
                  </a:cubicBezTo>
                  <a:cubicBezTo>
                    <a:pt x="6" y="28"/>
                    <a:pt x="6" y="28"/>
                    <a:pt x="5" y="28"/>
                  </a:cubicBezTo>
                  <a:cubicBezTo>
                    <a:pt x="5" y="28"/>
                    <a:pt x="5" y="28"/>
                    <a:pt x="5" y="29"/>
                  </a:cubicBezTo>
                  <a:cubicBezTo>
                    <a:pt x="5" y="30"/>
                    <a:pt x="5" y="31"/>
                    <a:pt x="5" y="32"/>
                  </a:cubicBezTo>
                  <a:cubicBezTo>
                    <a:pt x="6" y="32"/>
                    <a:pt x="7" y="32"/>
                    <a:pt x="8" y="32"/>
                  </a:cubicBezTo>
                  <a:cubicBezTo>
                    <a:pt x="13" y="31"/>
                    <a:pt x="13" y="31"/>
                    <a:pt x="13" y="31"/>
                  </a:cubicBezTo>
                  <a:cubicBezTo>
                    <a:pt x="11" y="37"/>
                    <a:pt x="11" y="37"/>
                    <a:pt x="11" y="37"/>
                  </a:cubicBezTo>
                  <a:cubicBezTo>
                    <a:pt x="10" y="38"/>
                    <a:pt x="10" y="39"/>
                    <a:pt x="10" y="40"/>
                  </a:cubicBezTo>
                  <a:cubicBezTo>
                    <a:pt x="10" y="41"/>
                    <a:pt x="10" y="41"/>
                    <a:pt x="10" y="41"/>
                  </a:cubicBezTo>
                  <a:cubicBezTo>
                    <a:pt x="9" y="41"/>
                    <a:pt x="9" y="41"/>
                    <a:pt x="9" y="41"/>
                  </a:cubicBezTo>
                  <a:cubicBezTo>
                    <a:pt x="8" y="43"/>
                    <a:pt x="8" y="44"/>
                    <a:pt x="7" y="45"/>
                  </a:cubicBezTo>
                  <a:cubicBezTo>
                    <a:pt x="7" y="46"/>
                    <a:pt x="7" y="46"/>
                    <a:pt x="7" y="46"/>
                  </a:cubicBezTo>
                  <a:cubicBezTo>
                    <a:pt x="6" y="47"/>
                    <a:pt x="6" y="47"/>
                    <a:pt x="6" y="47"/>
                  </a:cubicBezTo>
                  <a:cubicBezTo>
                    <a:pt x="6" y="48"/>
                    <a:pt x="6" y="49"/>
                    <a:pt x="6" y="49"/>
                  </a:cubicBezTo>
                  <a:cubicBezTo>
                    <a:pt x="7" y="50"/>
                    <a:pt x="7" y="50"/>
                    <a:pt x="7" y="50"/>
                  </a:cubicBezTo>
                  <a:cubicBezTo>
                    <a:pt x="7" y="49"/>
                    <a:pt x="7" y="49"/>
                    <a:pt x="7" y="49"/>
                  </a:cubicBezTo>
                  <a:cubicBezTo>
                    <a:pt x="7" y="49"/>
                    <a:pt x="8" y="49"/>
                    <a:pt x="8" y="50"/>
                  </a:cubicBezTo>
                  <a:cubicBezTo>
                    <a:pt x="9" y="50"/>
                    <a:pt x="9" y="50"/>
                    <a:pt x="10" y="50"/>
                  </a:cubicBezTo>
                  <a:cubicBezTo>
                    <a:pt x="11" y="51"/>
                    <a:pt x="11" y="52"/>
                    <a:pt x="12" y="53"/>
                  </a:cubicBezTo>
                  <a:cubicBezTo>
                    <a:pt x="13" y="54"/>
                    <a:pt x="13" y="54"/>
                    <a:pt x="13" y="54"/>
                  </a:cubicBezTo>
                  <a:cubicBezTo>
                    <a:pt x="14" y="55"/>
                    <a:pt x="14" y="55"/>
                    <a:pt x="14" y="55"/>
                  </a:cubicBezTo>
                  <a:cubicBezTo>
                    <a:pt x="14" y="54"/>
                    <a:pt x="14" y="54"/>
                    <a:pt x="14" y="54"/>
                  </a:cubicBezTo>
                  <a:cubicBezTo>
                    <a:pt x="16" y="56"/>
                    <a:pt x="16" y="56"/>
                    <a:pt x="16" y="56"/>
                  </a:cubicBezTo>
                  <a:cubicBezTo>
                    <a:pt x="17" y="57"/>
                    <a:pt x="18" y="58"/>
                    <a:pt x="17" y="60"/>
                  </a:cubicBezTo>
                  <a:cubicBezTo>
                    <a:pt x="17" y="61"/>
                    <a:pt x="17" y="61"/>
                    <a:pt x="17" y="61"/>
                  </a:cubicBezTo>
                  <a:cubicBezTo>
                    <a:pt x="16" y="62"/>
                    <a:pt x="16" y="62"/>
                    <a:pt x="16" y="62"/>
                  </a:cubicBezTo>
                  <a:cubicBezTo>
                    <a:pt x="16" y="62"/>
                    <a:pt x="16" y="62"/>
                    <a:pt x="15" y="62"/>
                  </a:cubicBezTo>
                  <a:cubicBezTo>
                    <a:pt x="15" y="63"/>
                    <a:pt x="15" y="63"/>
                    <a:pt x="14" y="63"/>
                  </a:cubicBezTo>
                  <a:cubicBezTo>
                    <a:pt x="14" y="63"/>
                    <a:pt x="14" y="63"/>
                    <a:pt x="14" y="63"/>
                  </a:cubicBezTo>
                  <a:cubicBezTo>
                    <a:pt x="13" y="63"/>
                    <a:pt x="13" y="63"/>
                    <a:pt x="13" y="63"/>
                  </a:cubicBezTo>
                  <a:cubicBezTo>
                    <a:pt x="13" y="64"/>
                    <a:pt x="13" y="64"/>
                    <a:pt x="13" y="64"/>
                  </a:cubicBezTo>
                  <a:cubicBezTo>
                    <a:pt x="14" y="65"/>
                    <a:pt x="14" y="65"/>
                    <a:pt x="15" y="66"/>
                  </a:cubicBezTo>
                  <a:cubicBezTo>
                    <a:pt x="15" y="67"/>
                    <a:pt x="15" y="67"/>
                    <a:pt x="15" y="67"/>
                  </a:cubicBezTo>
                  <a:cubicBezTo>
                    <a:pt x="15" y="68"/>
                    <a:pt x="15" y="68"/>
                    <a:pt x="15" y="68"/>
                  </a:cubicBezTo>
                  <a:cubicBezTo>
                    <a:pt x="15" y="69"/>
                    <a:pt x="15" y="69"/>
                    <a:pt x="15" y="69"/>
                  </a:cubicBezTo>
                  <a:cubicBezTo>
                    <a:pt x="15" y="70"/>
                    <a:pt x="15" y="71"/>
                    <a:pt x="14" y="71"/>
                  </a:cubicBezTo>
                  <a:cubicBezTo>
                    <a:pt x="14" y="72"/>
                    <a:pt x="14" y="72"/>
                    <a:pt x="14" y="72"/>
                  </a:cubicBezTo>
                  <a:cubicBezTo>
                    <a:pt x="13" y="72"/>
                    <a:pt x="13" y="73"/>
                    <a:pt x="12" y="74"/>
                  </a:cubicBezTo>
                  <a:cubicBezTo>
                    <a:pt x="11" y="74"/>
                    <a:pt x="11" y="74"/>
                    <a:pt x="11" y="74"/>
                  </a:cubicBezTo>
                  <a:cubicBezTo>
                    <a:pt x="11" y="74"/>
                    <a:pt x="11" y="74"/>
                    <a:pt x="11" y="74"/>
                  </a:cubicBezTo>
                  <a:cubicBezTo>
                    <a:pt x="32" y="89"/>
                    <a:pt x="32" y="89"/>
                    <a:pt x="32" y="89"/>
                  </a:cubicBezTo>
                  <a:cubicBezTo>
                    <a:pt x="32" y="88"/>
                    <a:pt x="33" y="86"/>
                    <a:pt x="37" y="86"/>
                  </a:cubicBezTo>
                  <a:cubicBezTo>
                    <a:pt x="37" y="86"/>
                    <a:pt x="37" y="86"/>
                    <a:pt x="37" y="86"/>
                  </a:cubicBezTo>
                  <a:cubicBezTo>
                    <a:pt x="37" y="86"/>
                    <a:pt x="37" y="86"/>
                    <a:pt x="37" y="86"/>
                  </a:cubicBezTo>
                  <a:cubicBezTo>
                    <a:pt x="36" y="84"/>
                    <a:pt x="35" y="83"/>
                    <a:pt x="36" y="82"/>
                  </a:cubicBezTo>
                  <a:cubicBezTo>
                    <a:pt x="36" y="80"/>
                    <a:pt x="37" y="80"/>
                    <a:pt x="38" y="79"/>
                  </a:cubicBezTo>
                  <a:cubicBezTo>
                    <a:pt x="38" y="79"/>
                    <a:pt x="38" y="79"/>
                    <a:pt x="38" y="79"/>
                  </a:cubicBezTo>
                  <a:cubicBezTo>
                    <a:pt x="39" y="79"/>
                    <a:pt x="39" y="78"/>
                    <a:pt x="40" y="78"/>
                  </a:cubicBezTo>
                  <a:cubicBezTo>
                    <a:pt x="40" y="78"/>
                    <a:pt x="40" y="78"/>
                    <a:pt x="41" y="78"/>
                  </a:cubicBezTo>
                  <a:cubicBezTo>
                    <a:pt x="42" y="78"/>
                    <a:pt x="42" y="78"/>
                    <a:pt x="42" y="78"/>
                  </a:cubicBezTo>
                  <a:cubicBezTo>
                    <a:pt x="42" y="78"/>
                    <a:pt x="42" y="78"/>
                    <a:pt x="42" y="78"/>
                  </a:cubicBezTo>
                  <a:cubicBezTo>
                    <a:pt x="43" y="78"/>
                    <a:pt x="44" y="78"/>
                    <a:pt x="45" y="78"/>
                  </a:cubicBezTo>
                  <a:cubicBezTo>
                    <a:pt x="45" y="79"/>
                    <a:pt x="46" y="79"/>
                    <a:pt x="47" y="79"/>
                  </a:cubicBezTo>
                  <a:cubicBezTo>
                    <a:pt x="53" y="80"/>
                    <a:pt x="54" y="83"/>
                    <a:pt x="54" y="84"/>
                  </a:cubicBezTo>
                  <a:cubicBezTo>
                    <a:pt x="54" y="86"/>
                    <a:pt x="54" y="87"/>
                    <a:pt x="55" y="87"/>
                  </a:cubicBezTo>
                  <a:cubicBezTo>
                    <a:pt x="59" y="87"/>
                    <a:pt x="60" y="90"/>
                    <a:pt x="61" y="92"/>
                  </a:cubicBezTo>
                  <a:cubicBezTo>
                    <a:pt x="61" y="93"/>
                    <a:pt x="61" y="94"/>
                    <a:pt x="61" y="94"/>
                  </a:cubicBezTo>
                  <a:cubicBezTo>
                    <a:pt x="62" y="95"/>
                    <a:pt x="62" y="95"/>
                    <a:pt x="63" y="95"/>
                  </a:cubicBezTo>
                  <a:cubicBezTo>
                    <a:pt x="64" y="96"/>
                    <a:pt x="65" y="96"/>
                    <a:pt x="66" y="96"/>
                  </a:cubicBezTo>
                  <a:cubicBezTo>
                    <a:pt x="67" y="97"/>
                    <a:pt x="68" y="98"/>
                    <a:pt x="68" y="99"/>
                  </a:cubicBezTo>
                  <a:cubicBezTo>
                    <a:pt x="69" y="102"/>
                    <a:pt x="67" y="105"/>
                    <a:pt x="66" y="107"/>
                  </a:cubicBezTo>
                  <a:cubicBezTo>
                    <a:pt x="66" y="107"/>
                    <a:pt x="66" y="107"/>
                    <a:pt x="66" y="107"/>
                  </a:cubicBezTo>
                  <a:cubicBezTo>
                    <a:pt x="69" y="106"/>
                    <a:pt x="73" y="106"/>
                    <a:pt x="77" y="106"/>
                  </a:cubicBezTo>
                  <a:cubicBezTo>
                    <a:pt x="78" y="105"/>
                    <a:pt x="78" y="105"/>
                    <a:pt x="78" y="105"/>
                  </a:cubicBezTo>
                  <a:cubicBezTo>
                    <a:pt x="78" y="105"/>
                    <a:pt x="78" y="105"/>
                    <a:pt x="78" y="105"/>
                  </a:cubicBezTo>
                  <a:cubicBezTo>
                    <a:pt x="78" y="105"/>
                    <a:pt x="78" y="105"/>
                    <a:pt x="78" y="105"/>
                  </a:cubicBezTo>
                  <a:cubicBezTo>
                    <a:pt x="79" y="105"/>
                    <a:pt x="79" y="105"/>
                    <a:pt x="79" y="105"/>
                  </a:cubicBezTo>
                  <a:cubicBezTo>
                    <a:pt x="80" y="104"/>
                    <a:pt x="80" y="103"/>
                    <a:pt x="81" y="103"/>
                  </a:cubicBezTo>
                  <a:cubicBezTo>
                    <a:pt x="80" y="101"/>
                    <a:pt x="80" y="101"/>
                    <a:pt x="80" y="101"/>
                  </a:cubicBezTo>
                  <a:cubicBezTo>
                    <a:pt x="79" y="100"/>
                    <a:pt x="79" y="99"/>
                    <a:pt x="78" y="98"/>
                  </a:cubicBezTo>
                  <a:cubicBezTo>
                    <a:pt x="78" y="96"/>
                    <a:pt x="78" y="94"/>
                    <a:pt x="79" y="93"/>
                  </a:cubicBezTo>
                  <a:cubicBezTo>
                    <a:pt x="80" y="92"/>
                    <a:pt x="80" y="92"/>
                    <a:pt x="80" y="91"/>
                  </a:cubicBezTo>
                  <a:cubicBezTo>
                    <a:pt x="81" y="90"/>
                    <a:pt x="82" y="90"/>
                    <a:pt x="82" y="90"/>
                  </a:cubicBezTo>
                  <a:cubicBezTo>
                    <a:pt x="83" y="89"/>
                    <a:pt x="83" y="89"/>
                    <a:pt x="83" y="89"/>
                  </a:cubicBezTo>
                  <a:cubicBezTo>
                    <a:pt x="85" y="88"/>
                    <a:pt x="87" y="86"/>
                    <a:pt x="89" y="84"/>
                  </a:cubicBezTo>
                  <a:cubicBezTo>
                    <a:pt x="90" y="84"/>
                    <a:pt x="90" y="84"/>
                    <a:pt x="90" y="84"/>
                  </a:cubicBezTo>
                  <a:cubicBezTo>
                    <a:pt x="89" y="83"/>
                    <a:pt x="89" y="83"/>
                    <a:pt x="89" y="83"/>
                  </a:cubicBezTo>
                  <a:cubicBezTo>
                    <a:pt x="88" y="82"/>
                    <a:pt x="87" y="82"/>
                    <a:pt x="87" y="82"/>
                  </a:cubicBezTo>
                  <a:cubicBezTo>
                    <a:pt x="86" y="81"/>
                    <a:pt x="86" y="81"/>
                    <a:pt x="86" y="81"/>
                  </a:cubicBezTo>
                  <a:cubicBezTo>
                    <a:pt x="85" y="80"/>
                    <a:pt x="84" y="80"/>
                    <a:pt x="84" y="79"/>
                  </a:cubicBezTo>
                  <a:cubicBezTo>
                    <a:pt x="82" y="78"/>
                    <a:pt x="82" y="77"/>
                    <a:pt x="81" y="76"/>
                  </a:cubicBezTo>
                  <a:cubicBezTo>
                    <a:pt x="80" y="74"/>
                    <a:pt x="79" y="73"/>
                    <a:pt x="78" y="70"/>
                  </a:cubicBezTo>
                  <a:cubicBezTo>
                    <a:pt x="78" y="70"/>
                    <a:pt x="78" y="70"/>
                    <a:pt x="78" y="70"/>
                  </a:cubicBezTo>
                  <a:cubicBezTo>
                    <a:pt x="78" y="70"/>
                    <a:pt x="78" y="69"/>
                    <a:pt x="78" y="68"/>
                  </a:cubicBezTo>
                  <a:cubicBezTo>
                    <a:pt x="77" y="67"/>
                    <a:pt x="77" y="66"/>
                    <a:pt x="77" y="65"/>
                  </a:cubicBezTo>
                  <a:cubicBezTo>
                    <a:pt x="78" y="65"/>
                    <a:pt x="78" y="65"/>
                    <a:pt x="78" y="65"/>
                  </a:cubicBezTo>
                  <a:cubicBezTo>
                    <a:pt x="83" y="55"/>
                    <a:pt x="83" y="55"/>
                    <a:pt x="83" y="55"/>
                  </a:cubicBezTo>
                  <a:cubicBezTo>
                    <a:pt x="83" y="55"/>
                    <a:pt x="83" y="55"/>
                    <a:pt x="83" y="54"/>
                  </a:cubicBezTo>
                  <a:cubicBezTo>
                    <a:pt x="81" y="53"/>
                    <a:pt x="80" y="51"/>
                    <a:pt x="80" y="48"/>
                  </a:cubicBezTo>
                  <a:cubicBezTo>
                    <a:pt x="80" y="47"/>
                    <a:pt x="80" y="46"/>
                    <a:pt x="81" y="45"/>
                  </a:cubicBezTo>
                  <a:cubicBezTo>
                    <a:pt x="81" y="45"/>
                    <a:pt x="81" y="45"/>
                    <a:pt x="81" y="45"/>
                  </a:cubicBezTo>
                  <a:cubicBezTo>
                    <a:pt x="81" y="45"/>
                    <a:pt x="81" y="45"/>
                    <a:pt x="81" y="45"/>
                  </a:cubicBezTo>
                  <a:cubicBezTo>
                    <a:pt x="80" y="46"/>
                    <a:pt x="80" y="46"/>
                    <a:pt x="79" y="47"/>
                  </a:cubicBezTo>
                  <a:cubicBezTo>
                    <a:pt x="78" y="47"/>
                    <a:pt x="78" y="47"/>
                    <a:pt x="78" y="47"/>
                  </a:cubicBezTo>
                  <a:cubicBezTo>
                    <a:pt x="77" y="47"/>
                    <a:pt x="77" y="47"/>
                    <a:pt x="77" y="47"/>
                  </a:cubicBezTo>
                  <a:cubicBezTo>
                    <a:pt x="78" y="48"/>
                    <a:pt x="78" y="48"/>
                    <a:pt x="78" y="48"/>
                  </a:cubicBezTo>
                  <a:cubicBezTo>
                    <a:pt x="77" y="48"/>
                    <a:pt x="77" y="48"/>
                    <a:pt x="77" y="48"/>
                  </a:cubicBezTo>
                  <a:cubicBezTo>
                    <a:pt x="77" y="48"/>
                    <a:pt x="77" y="49"/>
                    <a:pt x="76" y="49"/>
                  </a:cubicBezTo>
                  <a:cubicBezTo>
                    <a:pt x="76" y="49"/>
                    <a:pt x="76" y="49"/>
                    <a:pt x="76" y="49"/>
                  </a:cubicBezTo>
                  <a:cubicBezTo>
                    <a:pt x="75" y="49"/>
                    <a:pt x="75" y="49"/>
                    <a:pt x="75" y="49"/>
                  </a:cubicBezTo>
                  <a:cubicBezTo>
                    <a:pt x="74" y="49"/>
                    <a:pt x="74" y="49"/>
                    <a:pt x="74" y="49"/>
                  </a:cubicBezTo>
                  <a:cubicBezTo>
                    <a:pt x="74" y="49"/>
                    <a:pt x="74" y="49"/>
                    <a:pt x="73" y="49"/>
                  </a:cubicBezTo>
                  <a:cubicBezTo>
                    <a:pt x="73" y="48"/>
                    <a:pt x="73" y="48"/>
                    <a:pt x="73" y="48"/>
                  </a:cubicBezTo>
                  <a:cubicBezTo>
                    <a:pt x="72" y="48"/>
                    <a:pt x="72" y="48"/>
                    <a:pt x="72" y="48"/>
                  </a:cubicBezTo>
                  <a:cubicBezTo>
                    <a:pt x="71" y="47"/>
                    <a:pt x="70" y="46"/>
                    <a:pt x="68" y="45"/>
                  </a:cubicBezTo>
                  <a:cubicBezTo>
                    <a:pt x="49" y="37"/>
                    <a:pt x="49" y="37"/>
                    <a:pt x="49" y="37"/>
                  </a:cubicBezTo>
                  <a:cubicBezTo>
                    <a:pt x="55" y="34"/>
                    <a:pt x="55" y="34"/>
                    <a:pt x="55" y="34"/>
                  </a:cubicBezTo>
                  <a:cubicBezTo>
                    <a:pt x="55" y="33"/>
                    <a:pt x="56" y="33"/>
                    <a:pt x="57" y="33"/>
                  </a:cubicBezTo>
                  <a:cubicBezTo>
                    <a:pt x="57" y="32"/>
                    <a:pt x="57" y="32"/>
                    <a:pt x="57" y="32"/>
                  </a:cubicBezTo>
                  <a:cubicBezTo>
                    <a:pt x="57" y="31"/>
                    <a:pt x="57" y="30"/>
                    <a:pt x="57" y="29"/>
                  </a:cubicBezTo>
                  <a:cubicBezTo>
                    <a:pt x="56" y="28"/>
                    <a:pt x="56" y="28"/>
                    <a:pt x="56" y="28"/>
                  </a:cubicBezTo>
                  <a:cubicBezTo>
                    <a:pt x="49" y="24"/>
                    <a:pt x="49" y="24"/>
                    <a:pt x="49" y="24"/>
                  </a:cubicBezTo>
                  <a:cubicBezTo>
                    <a:pt x="49" y="24"/>
                    <a:pt x="48" y="24"/>
                    <a:pt x="47" y="23"/>
                  </a:cubicBezTo>
                  <a:cubicBezTo>
                    <a:pt x="46" y="23"/>
                    <a:pt x="46" y="23"/>
                    <a:pt x="46" y="23"/>
                  </a:cubicBezTo>
                  <a:cubicBezTo>
                    <a:pt x="46" y="23"/>
                    <a:pt x="45" y="23"/>
                    <a:pt x="44" y="22"/>
                  </a:cubicBezTo>
                  <a:cubicBezTo>
                    <a:pt x="44" y="22"/>
                    <a:pt x="44" y="22"/>
                    <a:pt x="44" y="22"/>
                  </a:cubicBezTo>
                  <a:cubicBezTo>
                    <a:pt x="43" y="22"/>
                    <a:pt x="43" y="22"/>
                    <a:pt x="43" y="22"/>
                  </a:cubicBezTo>
                  <a:cubicBezTo>
                    <a:pt x="43" y="21"/>
                    <a:pt x="43" y="21"/>
                    <a:pt x="42" y="21"/>
                  </a:cubicBezTo>
                  <a:cubicBezTo>
                    <a:pt x="42" y="20"/>
                    <a:pt x="42" y="20"/>
                    <a:pt x="42" y="20"/>
                  </a:cubicBezTo>
                  <a:cubicBezTo>
                    <a:pt x="41" y="20"/>
                    <a:pt x="41" y="20"/>
                    <a:pt x="41" y="20"/>
                  </a:cubicBezTo>
                  <a:cubicBezTo>
                    <a:pt x="41" y="20"/>
                    <a:pt x="41" y="20"/>
                    <a:pt x="41" y="20"/>
                  </a:cubicBezTo>
                  <a:cubicBezTo>
                    <a:pt x="41" y="20"/>
                    <a:pt x="41" y="20"/>
                    <a:pt x="41" y="20"/>
                  </a:cubicBezTo>
                  <a:cubicBezTo>
                    <a:pt x="40" y="18"/>
                    <a:pt x="40" y="18"/>
                    <a:pt x="40" y="18"/>
                  </a:cubicBezTo>
                  <a:cubicBezTo>
                    <a:pt x="39" y="17"/>
                    <a:pt x="39" y="17"/>
                    <a:pt x="39" y="17"/>
                  </a:cubicBezTo>
                  <a:cubicBezTo>
                    <a:pt x="39" y="17"/>
                    <a:pt x="39" y="17"/>
                    <a:pt x="39" y="17"/>
                  </a:cubicBezTo>
                  <a:cubicBezTo>
                    <a:pt x="40" y="15"/>
                    <a:pt x="40" y="15"/>
                    <a:pt x="40" y="15"/>
                  </a:cubicBezTo>
                  <a:cubicBezTo>
                    <a:pt x="39" y="15"/>
                    <a:pt x="39" y="14"/>
                    <a:pt x="38" y="13"/>
                  </a:cubicBezTo>
                  <a:cubicBezTo>
                    <a:pt x="38" y="13"/>
                    <a:pt x="37" y="12"/>
                    <a:pt x="37" y="12"/>
                  </a:cubicBezTo>
                  <a:cubicBezTo>
                    <a:pt x="28" y="1"/>
                    <a:pt x="28" y="1"/>
                    <a:pt x="28" y="1"/>
                  </a:cubicBezTo>
                  <a:cubicBezTo>
                    <a:pt x="27" y="1"/>
                    <a:pt x="26" y="0"/>
                    <a:pt x="25" y="0"/>
                  </a:cubicBezTo>
                  <a:cubicBezTo>
                    <a:pt x="24" y="0"/>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Rectangle 274"/>
            <p:cNvSpPr>
              <a:spLocks noChangeArrowheads="1"/>
            </p:cNvSpPr>
            <p:nvPr/>
          </p:nvSpPr>
          <p:spPr bwMode="auto">
            <a:xfrm>
              <a:off x="4715" y="6"/>
              <a:ext cx="2"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75"/>
            <p:cNvSpPr/>
            <p:nvPr/>
          </p:nvSpPr>
          <p:spPr bwMode="auto">
            <a:xfrm>
              <a:off x="4715" y="6"/>
              <a:ext cx="2" cy="0"/>
            </a:xfrm>
            <a:custGeom>
              <a:gdLst>
                <a:gd name="T0" fmla="*/ 0 w 2"/>
                <a:gd name="T1" fmla="*/ 2 w 2"/>
                <a:gd name="T2" fmla="*/ 2 w 2"/>
                <a:gd name="T3" fmla="*/ 0 w 2"/>
              </a:gdLst>
              <a:cxnLst>
                <a:cxn ang="0">
                  <a:pos x="T0" y="0"/>
                </a:cxn>
                <a:cxn ang="0">
                  <a:pos x="T1" y="0"/>
                </a:cxn>
                <a:cxn ang="0">
                  <a:pos x="T2" y="0"/>
                </a:cxn>
                <a:cxn ang="0">
                  <a:pos x="T3" y="0"/>
                </a:cxn>
              </a:cxnLst>
              <a:rect l="0" t="0" r="r" b="b"/>
              <a:pathLst>
                <a:path w="2">
                  <a:moveTo>
                    <a:pt x="0" y="0"/>
                  </a:move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276"/>
            <p:cNvSpPr/>
            <p:nvPr/>
          </p:nvSpPr>
          <p:spPr bwMode="auto">
            <a:xfrm>
              <a:off x="4800" y="-27"/>
              <a:ext cx="510" cy="182"/>
            </a:xfrm>
            <a:custGeom>
              <a:gdLst>
                <a:gd name="T0" fmla="*/ 22 w 216"/>
                <a:gd name="T1" fmla="*/ 0 h 77"/>
                <a:gd name="T2" fmla="*/ 14 w 216"/>
                <a:gd name="T3" fmla="*/ 5 h 77"/>
                <a:gd name="T4" fmla="*/ 9 w 216"/>
                <a:gd name="T5" fmla="*/ 6 h 77"/>
                <a:gd name="T6" fmla="*/ 5 w 216"/>
                <a:gd name="T7" fmla="*/ 9 h 77"/>
                <a:gd name="T8" fmla="*/ 6 w 216"/>
                <a:gd name="T9" fmla="*/ 17 h 77"/>
                <a:gd name="T10" fmla="*/ 10 w 216"/>
                <a:gd name="T11" fmla="*/ 22 h 77"/>
                <a:gd name="T12" fmla="*/ 10 w 216"/>
                <a:gd name="T13" fmla="*/ 25 h 77"/>
                <a:gd name="T14" fmla="*/ 17 w 216"/>
                <a:gd name="T15" fmla="*/ 28 h 77"/>
                <a:gd name="T16" fmla="*/ 27 w 216"/>
                <a:gd name="T17" fmla="*/ 37 h 77"/>
                <a:gd name="T18" fmla="*/ 28 w 216"/>
                <a:gd name="T19" fmla="*/ 40 h 77"/>
                <a:gd name="T20" fmla="*/ 35 w 216"/>
                <a:gd name="T21" fmla="*/ 48 h 77"/>
                <a:gd name="T22" fmla="*/ 42 w 216"/>
                <a:gd name="T23" fmla="*/ 50 h 77"/>
                <a:gd name="T24" fmla="*/ 48 w 216"/>
                <a:gd name="T25" fmla="*/ 46 h 77"/>
                <a:gd name="T26" fmla="*/ 54 w 216"/>
                <a:gd name="T27" fmla="*/ 49 h 77"/>
                <a:gd name="T28" fmla="*/ 56 w 216"/>
                <a:gd name="T29" fmla="*/ 51 h 77"/>
                <a:gd name="T30" fmla="*/ 56 w 216"/>
                <a:gd name="T31" fmla="*/ 53 h 77"/>
                <a:gd name="T32" fmla="*/ 56 w 216"/>
                <a:gd name="T33" fmla="*/ 55 h 77"/>
                <a:gd name="T34" fmla="*/ 55 w 216"/>
                <a:gd name="T35" fmla="*/ 57 h 77"/>
                <a:gd name="T36" fmla="*/ 53 w 216"/>
                <a:gd name="T37" fmla="*/ 57 h 77"/>
                <a:gd name="T38" fmla="*/ 51 w 216"/>
                <a:gd name="T39" fmla="*/ 56 h 77"/>
                <a:gd name="T40" fmla="*/ 51 w 216"/>
                <a:gd name="T41" fmla="*/ 57 h 77"/>
                <a:gd name="T42" fmla="*/ 53 w 216"/>
                <a:gd name="T43" fmla="*/ 60 h 77"/>
                <a:gd name="T44" fmla="*/ 54 w 216"/>
                <a:gd name="T45" fmla="*/ 61 h 77"/>
                <a:gd name="T46" fmla="*/ 61 w 216"/>
                <a:gd name="T47" fmla="*/ 69 h 77"/>
                <a:gd name="T48" fmla="*/ 60 w 216"/>
                <a:gd name="T49" fmla="*/ 72 h 77"/>
                <a:gd name="T50" fmla="*/ 62 w 216"/>
                <a:gd name="T51" fmla="*/ 72 h 77"/>
                <a:gd name="T52" fmla="*/ 67 w 216"/>
                <a:gd name="T53" fmla="*/ 71 h 77"/>
                <a:gd name="T54" fmla="*/ 78 w 216"/>
                <a:gd name="T55" fmla="*/ 73 h 77"/>
                <a:gd name="T56" fmla="*/ 95 w 216"/>
                <a:gd name="T57" fmla="*/ 73 h 77"/>
                <a:gd name="T58" fmla="*/ 103 w 216"/>
                <a:gd name="T59" fmla="*/ 74 h 77"/>
                <a:gd name="T60" fmla="*/ 109 w 216"/>
                <a:gd name="T61" fmla="*/ 76 h 77"/>
                <a:gd name="T62" fmla="*/ 109 w 216"/>
                <a:gd name="T63" fmla="*/ 76 h 77"/>
                <a:gd name="T64" fmla="*/ 117 w 216"/>
                <a:gd name="T65" fmla="*/ 77 h 77"/>
                <a:gd name="T66" fmla="*/ 130 w 216"/>
                <a:gd name="T67" fmla="*/ 71 h 77"/>
                <a:gd name="T68" fmla="*/ 133 w 216"/>
                <a:gd name="T69" fmla="*/ 69 h 77"/>
                <a:gd name="T70" fmla="*/ 141 w 216"/>
                <a:gd name="T71" fmla="*/ 65 h 77"/>
                <a:gd name="T72" fmla="*/ 158 w 216"/>
                <a:gd name="T73" fmla="*/ 63 h 77"/>
                <a:gd name="T74" fmla="*/ 160 w 216"/>
                <a:gd name="T75" fmla="*/ 63 h 77"/>
                <a:gd name="T76" fmla="*/ 165 w 216"/>
                <a:gd name="T77" fmla="*/ 65 h 77"/>
                <a:gd name="T78" fmla="*/ 191 w 216"/>
                <a:gd name="T79" fmla="*/ 73 h 77"/>
                <a:gd name="T80" fmla="*/ 198 w 216"/>
                <a:gd name="T81" fmla="*/ 53 h 77"/>
                <a:gd name="T82" fmla="*/ 195 w 216"/>
                <a:gd name="T83" fmla="*/ 51 h 77"/>
                <a:gd name="T84" fmla="*/ 200 w 216"/>
                <a:gd name="T85" fmla="*/ 49 h 77"/>
                <a:gd name="T86" fmla="*/ 198 w 216"/>
                <a:gd name="T87" fmla="*/ 49 h 77"/>
                <a:gd name="T88" fmla="*/ 196 w 216"/>
                <a:gd name="T89" fmla="*/ 49 h 77"/>
                <a:gd name="T90" fmla="*/ 203 w 216"/>
                <a:gd name="T91" fmla="*/ 41 h 77"/>
                <a:gd name="T92" fmla="*/ 210 w 216"/>
                <a:gd name="T93" fmla="*/ 45 h 77"/>
                <a:gd name="T94" fmla="*/ 216 w 216"/>
                <a:gd name="T95" fmla="*/ 41 h 77"/>
                <a:gd name="T96" fmla="*/ 215 w 216"/>
                <a:gd name="T97" fmla="*/ 36 h 77"/>
                <a:gd name="T98" fmla="*/ 213 w 216"/>
                <a:gd name="T99" fmla="*/ 32 h 77"/>
                <a:gd name="T100" fmla="*/ 203 w 216"/>
                <a:gd name="T101" fmla="*/ 33 h 77"/>
                <a:gd name="T102" fmla="*/ 199 w 216"/>
                <a:gd name="T103" fmla="*/ 34 h 77"/>
                <a:gd name="T104" fmla="*/ 195 w 216"/>
                <a:gd name="T105" fmla="*/ 37 h 77"/>
                <a:gd name="T106" fmla="*/ 192 w 216"/>
                <a:gd name="T107" fmla="*/ 36 h 77"/>
                <a:gd name="T108" fmla="*/ 183 w 216"/>
                <a:gd name="T109" fmla="*/ 32 h 77"/>
                <a:gd name="T110" fmla="*/ 181 w 216"/>
                <a:gd name="T111" fmla="*/ 30 h 77"/>
                <a:gd name="T112" fmla="*/ 178 w 216"/>
                <a:gd name="T113" fmla="*/ 27 h 77"/>
                <a:gd name="T114" fmla="*/ 177 w 216"/>
                <a:gd name="T115" fmla="*/ 27 h 77"/>
                <a:gd name="T116" fmla="*/ 176 w 216"/>
                <a:gd name="T117" fmla="*/ 22 h 77"/>
                <a:gd name="T118" fmla="*/ 176 w 216"/>
                <a:gd name="T119" fmla="*/ 14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 h="77">
                  <a:moveTo>
                    <a:pt x="179" y="0"/>
                  </a:moveTo>
                  <a:cubicBezTo>
                    <a:pt x="22" y="0"/>
                    <a:pt x="22" y="0"/>
                    <a:pt x="22" y="0"/>
                  </a:cubicBezTo>
                  <a:cubicBezTo>
                    <a:pt x="22" y="0"/>
                    <a:pt x="22" y="0"/>
                    <a:pt x="22" y="0"/>
                  </a:cubicBezTo>
                  <a:cubicBezTo>
                    <a:pt x="20" y="2"/>
                    <a:pt x="18" y="5"/>
                    <a:pt x="14" y="5"/>
                  </a:cubicBezTo>
                  <a:cubicBezTo>
                    <a:pt x="13" y="5"/>
                    <a:pt x="12" y="5"/>
                    <a:pt x="11" y="6"/>
                  </a:cubicBezTo>
                  <a:cubicBezTo>
                    <a:pt x="10" y="6"/>
                    <a:pt x="10" y="6"/>
                    <a:pt x="9" y="6"/>
                  </a:cubicBezTo>
                  <a:cubicBezTo>
                    <a:pt x="9" y="6"/>
                    <a:pt x="9" y="6"/>
                    <a:pt x="9" y="6"/>
                  </a:cubicBezTo>
                  <a:cubicBezTo>
                    <a:pt x="8" y="7"/>
                    <a:pt x="7" y="9"/>
                    <a:pt x="5" y="9"/>
                  </a:cubicBezTo>
                  <a:cubicBezTo>
                    <a:pt x="3" y="9"/>
                    <a:pt x="2" y="10"/>
                    <a:pt x="0" y="10"/>
                  </a:cubicBezTo>
                  <a:cubicBezTo>
                    <a:pt x="6" y="17"/>
                    <a:pt x="6" y="17"/>
                    <a:pt x="6" y="17"/>
                  </a:cubicBezTo>
                  <a:cubicBezTo>
                    <a:pt x="7" y="18"/>
                    <a:pt x="7" y="18"/>
                    <a:pt x="7" y="18"/>
                  </a:cubicBezTo>
                  <a:cubicBezTo>
                    <a:pt x="8" y="19"/>
                    <a:pt x="9" y="21"/>
                    <a:pt x="10" y="22"/>
                  </a:cubicBezTo>
                  <a:cubicBezTo>
                    <a:pt x="10" y="22"/>
                    <a:pt x="10" y="22"/>
                    <a:pt x="10" y="23"/>
                  </a:cubicBezTo>
                  <a:cubicBezTo>
                    <a:pt x="11" y="24"/>
                    <a:pt x="10" y="25"/>
                    <a:pt x="10" y="25"/>
                  </a:cubicBezTo>
                  <a:cubicBezTo>
                    <a:pt x="12" y="26"/>
                    <a:pt x="14" y="27"/>
                    <a:pt x="16" y="28"/>
                  </a:cubicBezTo>
                  <a:cubicBezTo>
                    <a:pt x="17" y="28"/>
                    <a:pt x="17" y="28"/>
                    <a:pt x="17" y="28"/>
                  </a:cubicBezTo>
                  <a:cubicBezTo>
                    <a:pt x="26" y="33"/>
                    <a:pt x="26" y="33"/>
                    <a:pt x="26" y="33"/>
                  </a:cubicBezTo>
                  <a:cubicBezTo>
                    <a:pt x="27" y="35"/>
                    <a:pt x="27" y="36"/>
                    <a:pt x="27" y="37"/>
                  </a:cubicBezTo>
                  <a:cubicBezTo>
                    <a:pt x="27" y="38"/>
                    <a:pt x="28" y="39"/>
                    <a:pt x="28" y="40"/>
                  </a:cubicBezTo>
                  <a:cubicBezTo>
                    <a:pt x="28" y="40"/>
                    <a:pt x="28" y="40"/>
                    <a:pt x="28" y="40"/>
                  </a:cubicBezTo>
                  <a:cubicBezTo>
                    <a:pt x="28" y="42"/>
                    <a:pt x="28" y="44"/>
                    <a:pt x="27" y="45"/>
                  </a:cubicBezTo>
                  <a:cubicBezTo>
                    <a:pt x="35" y="48"/>
                    <a:pt x="35" y="48"/>
                    <a:pt x="35" y="48"/>
                  </a:cubicBezTo>
                  <a:cubicBezTo>
                    <a:pt x="37" y="49"/>
                    <a:pt x="39" y="50"/>
                    <a:pt x="40" y="51"/>
                  </a:cubicBezTo>
                  <a:cubicBezTo>
                    <a:pt x="41" y="51"/>
                    <a:pt x="41" y="50"/>
                    <a:pt x="42" y="50"/>
                  </a:cubicBezTo>
                  <a:cubicBezTo>
                    <a:pt x="44" y="48"/>
                    <a:pt x="46" y="47"/>
                    <a:pt x="48" y="47"/>
                  </a:cubicBezTo>
                  <a:cubicBezTo>
                    <a:pt x="48" y="46"/>
                    <a:pt x="48" y="46"/>
                    <a:pt x="48" y="46"/>
                  </a:cubicBezTo>
                  <a:cubicBezTo>
                    <a:pt x="49" y="47"/>
                    <a:pt x="49" y="47"/>
                    <a:pt x="49" y="47"/>
                  </a:cubicBezTo>
                  <a:cubicBezTo>
                    <a:pt x="51" y="47"/>
                    <a:pt x="53" y="48"/>
                    <a:pt x="54" y="49"/>
                  </a:cubicBezTo>
                  <a:cubicBezTo>
                    <a:pt x="55" y="50"/>
                    <a:pt x="55" y="50"/>
                    <a:pt x="55" y="50"/>
                  </a:cubicBezTo>
                  <a:cubicBezTo>
                    <a:pt x="55" y="51"/>
                    <a:pt x="56" y="51"/>
                    <a:pt x="56" y="51"/>
                  </a:cubicBezTo>
                  <a:cubicBezTo>
                    <a:pt x="56" y="52"/>
                    <a:pt x="56" y="52"/>
                    <a:pt x="56" y="52"/>
                  </a:cubicBezTo>
                  <a:cubicBezTo>
                    <a:pt x="56" y="52"/>
                    <a:pt x="56" y="53"/>
                    <a:pt x="56" y="53"/>
                  </a:cubicBezTo>
                  <a:cubicBezTo>
                    <a:pt x="56" y="53"/>
                    <a:pt x="56" y="54"/>
                    <a:pt x="56" y="54"/>
                  </a:cubicBezTo>
                  <a:cubicBezTo>
                    <a:pt x="56" y="55"/>
                    <a:pt x="56" y="55"/>
                    <a:pt x="56" y="55"/>
                  </a:cubicBezTo>
                  <a:cubicBezTo>
                    <a:pt x="56" y="55"/>
                    <a:pt x="56" y="55"/>
                    <a:pt x="56" y="55"/>
                  </a:cubicBezTo>
                  <a:cubicBezTo>
                    <a:pt x="55" y="57"/>
                    <a:pt x="55" y="57"/>
                    <a:pt x="55" y="57"/>
                  </a:cubicBezTo>
                  <a:cubicBezTo>
                    <a:pt x="53" y="57"/>
                    <a:pt x="53" y="57"/>
                    <a:pt x="53" y="57"/>
                  </a:cubicBezTo>
                  <a:cubicBezTo>
                    <a:pt x="53" y="57"/>
                    <a:pt x="53" y="57"/>
                    <a:pt x="53" y="57"/>
                  </a:cubicBezTo>
                  <a:cubicBezTo>
                    <a:pt x="52" y="57"/>
                    <a:pt x="52" y="56"/>
                    <a:pt x="51" y="56"/>
                  </a:cubicBezTo>
                  <a:cubicBezTo>
                    <a:pt x="51" y="56"/>
                    <a:pt x="51" y="56"/>
                    <a:pt x="51" y="56"/>
                  </a:cubicBezTo>
                  <a:cubicBezTo>
                    <a:pt x="51" y="57"/>
                    <a:pt x="51" y="57"/>
                    <a:pt x="51" y="57"/>
                  </a:cubicBezTo>
                  <a:cubicBezTo>
                    <a:pt x="51" y="57"/>
                    <a:pt x="51" y="57"/>
                    <a:pt x="51" y="57"/>
                  </a:cubicBezTo>
                  <a:cubicBezTo>
                    <a:pt x="51" y="58"/>
                    <a:pt x="51" y="58"/>
                    <a:pt x="52" y="59"/>
                  </a:cubicBezTo>
                  <a:cubicBezTo>
                    <a:pt x="53" y="60"/>
                    <a:pt x="53" y="60"/>
                    <a:pt x="53" y="60"/>
                  </a:cubicBezTo>
                  <a:cubicBezTo>
                    <a:pt x="53" y="60"/>
                    <a:pt x="53" y="60"/>
                    <a:pt x="53" y="60"/>
                  </a:cubicBezTo>
                  <a:cubicBezTo>
                    <a:pt x="54" y="61"/>
                    <a:pt x="54" y="61"/>
                    <a:pt x="54" y="61"/>
                  </a:cubicBezTo>
                  <a:cubicBezTo>
                    <a:pt x="61" y="63"/>
                    <a:pt x="63" y="65"/>
                    <a:pt x="62" y="68"/>
                  </a:cubicBezTo>
                  <a:cubicBezTo>
                    <a:pt x="62" y="68"/>
                    <a:pt x="62" y="69"/>
                    <a:pt x="61" y="69"/>
                  </a:cubicBezTo>
                  <a:cubicBezTo>
                    <a:pt x="61" y="70"/>
                    <a:pt x="61" y="70"/>
                    <a:pt x="61" y="70"/>
                  </a:cubicBezTo>
                  <a:cubicBezTo>
                    <a:pt x="61" y="70"/>
                    <a:pt x="60" y="71"/>
                    <a:pt x="60" y="72"/>
                  </a:cubicBezTo>
                  <a:cubicBezTo>
                    <a:pt x="61" y="72"/>
                    <a:pt x="61" y="72"/>
                    <a:pt x="61" y="72"/>
                  </a:cubicBezTo>
                  <a:cubicBezTo>
                    <a:pt x="61" y="72"/>
                    <a:pt x="62" y="72"/>
                    <a:pt x="62" y="72"/>
                  </a:cubicBezTo>
                  <a:cubicBezTo>
                    <a:pt x="65" y="71"/>
                    <a:pt x="65" y="71"/>
                    <a:pt x="65" y="71"/>
                  </a:cubicBezTo>
                  <a:cubicBezTo>
                    <a:pt x="66" y="71"/>
                    <a:pt x="66" y="71"/>
                    <a:pt x="67" y="71"/>
                  </a:cubicBezTo>
                  <a:cubicBezTo>
                    <a:pt x="70" y="71"/>
                    <a:pt x="72" y="71"/>
                    <a:pt x="75" y="72"/>
                  </a:cubicBezTo>
                  <a:cubicBezTo>
                    <a:pt x="78" y="73"/>
                    <a:pt x="78" y="73"/>
                    <a:pt x="78" y="73"/>
                  </a:cubicBezTo>
                  <a:cubicBezTo>
                    <a:pt x="81" y="74"/>
                    <a:pt x="83" y="75"/>
                    <a:pt x="86" y="75"/>
                  </a:cubicBezTo>
                  <a:cubicBezTo>
                    <a:pt x="90" y="75"/>
                    <a:pt x="92" y="75"/>
                    <a:pt x="95" y="73"/>
                  </a:cubicBezTo>
                  <a:cubicBezTo>
                    <a:pt x="96" y="73"/>
                    <a:pt x="96" y="73"/>
                    <a:pt x="97" y="73"/>
                  </a:cubicBezTo>
                  <a:cubicBezTo>
                    <a:pt x="98" y="73"/>
                    <a:pt x="100" y="74"/>
                    <a:pt x="103" y="74"/>
                  </a:cubicBezTo>
                  <a:cubicBezTo>
                    <a:pt x="103" y="75"/>
                    <a:pt x="104" y="75"/>
                    <a:pt x="105" y="75"/>
                  </a:cubicBezTo>
                  <a:cubicBezTo>
                    <a:pt x="106" y="75"/>
                    <a:pt x="107" y="75"/>
                    <a:pt x="109" y="76"/>
                  </a:cubicBezTo>
                  <a:cubicBezTo>
                    <a:pt x="109" y="77"/>
                    <a:pt x="109" y="77"/>
                    <a:pt x="109" y="77"/>
                  </a:cubicBezTo>
                  <a:cubicBezTo>
                    <a:pt x="109" y="76"/>
                    <a:pt x="109" y="76"/>
                    <a:pt x="109" y="76"/>
                  </a:cubicBezTo>
                  <a:cubicBezTo>
                    <a:pt x="111" y="76"/>
                    <a:pt x="114" y="77"/>
                    <a:pt x="116" y="77"/>
                  </a:cubicBezTo>
                  <a:cubicBezTo>
                    <a:pt x="116" y="77"/>
                    <a:pt x="117" y="77"/>
                    <a:pt x="117" y="77"/>
                  </a:cubicBezTo>
                  <a:cubicBezTo>
                    <a:pt x="118" y="77"/>
                    <a:pt x="118" y="77"/>
                    <a:pt x="118" y="77"/>
                  </a:cubicBezTo>
                  <a:cubicBezTo>
                    <a:pt x="122" y="77"/>
                    <a:pt x="126" y="73"/>
                    <a:pt x="130" y="71"/>
                  </a:cubicBezTo>
                  <a:cubicBezTo>
                    <a:pt x="131" y="70"/>
                    <a:pt x="131" y="70"/>
                    <a:pt x="131" y="70"/>
                  </a:cubicBezTo>
                  <a:cubicBezTo>
                    <a:pt x="131" y="70"/>
                    <a:pt x="132" y="69"/>
                    <a:pt x="133" y="69"/>
                  </a:cubicBezTo>
                  <a:cubicBezTo>
                    <a:pt x="133" y="69"/>
                    <a:pt x="134" y="68"/>
                    <a:pt x="134" y="68"/>
                  </a:cubicBezTo>
                  <a:cubicBezTo>
                    <a:pt x="136" y="67"/>
                    <a:pt x="138" y="65"/>
                    <a:pt x="141" y="65"/>
                  </a:cubicBezTo>
                  <a:cubicBezTo>
                    <a:pt x="156" y="63"/>
                    <a:pt x="156" y="63"/>
                    <a:pt x="156" y="63"/>
                  </a:cubicBezTo>
                  <a:cubicBezTo>
                    <a:pt x="157" y="63"/>
                    <a:pt x="158" y="63"/>
                    <a:pt x="158" y="63"/>
                  </a:cubicBezTo>
                  <a:cubicBezTo>
                    <a:pt x="159" y="63"/>
                    <a:pt x="159" y="63"/>
                    <a:pt x="159" y="63"/>
                  </a:cubicBezTo>
                  <a:cubicBezTo>
                    <a:pt x="160" y="63"/>
                    <a:pt x="160" y="63"/>
                    <a:pt x="160" y="63"/>
                  </a:cubicBezTo>
                  <a:cubicBezTo>
                    <a:pt x="161" y="63"/>
                    <a:pt x="162" y="63"/>
                    <a:pt x="163" y="64"/>
                  </a:cubicBezTo>
                  <a:cubicBezTo>
                    <a:pt x="165" y="65"/>
                    <a:pt x="165" y="65"/>
                    <a:pt x="165" y="65"/>
                  </a:cubicBezTo>
                  <a:cubicBezTo>
                    <a:pt x="167" y="65"/>
                    <a:pt x="169" y="66"/>
                    <a:pt x="171" y="67"/>
                  </a:cubicBezTo>
                  <a:cubicBezTo>
                    <a:pt x="191" y="73"/>
                    <a:pt x="191" y="73"/>
                    <a:pt x="191" y="73"/>
                  </a:cubicBezTo>
                  <a:cubicBezTo>
                    <a:pt x="191" y="69"/>
                    <a:pt x="191" y="63"/>
                    <a:pt x="193" y="59"/>
                  </a:cubicBezTo>
                  <a:cubicBezTo>
                    <a:pt x="194" y="57"/>
                    <a:pt x="197" y="55"/>
                    <a:pt x="198" y="53"/>
                  </a:cubicBezTo>
                  <a:cubicBezTo>
                    <a:pt x="197" y="53"/>
                    <a:pt x="197" y="53"/>
                    <a:pt x="196" y="53"/>
                  </a:cubicBezTo>
                  <a:cubicBezTo>
                    <a:pt x="195" y="53"/>
                    <a:pt x="194" y="52"/>
                    <a:pt x="195" y="51"/>
                  </a:cubicBezTo>
                  <a:cubicBezTo>
                    <a:pt x="195" y="52"/>
                    <a:pt x="195" y="52"/>
                    <a:pt x="195" y="52"/>
                  </a:cubicBezTo>
                  <a:cubicBezTo>
                    <a:pt x="197" y="51"/>
                    <a:pt x="199" y="50"/>
                    <a:pt x="200" y="49"/>
                  </a:cubicBezTo>
                  <a:cubicBezTo>
                    <a:pt x="200" y="49"/>
                    <a:pt x="200" y="49"/>
                    <a:pt x="199" y="49"/>
                  </a:cubicBezTo>
                  <a:cubicBezTo>
                    <a:pt x="199" y="49"/>
                    <a:pt x="199" y="49"/>
                    <a:pt x="198" y="49"/>
                  </a:cubicBezTo>
                  <a:cubicBezTo>
                    <a:pt x="198" y="49"/>
                    <a:pt x="198" y="49"/>
                    <a:pt x="197" y="49"/>
                  </a:cubicBezTo>
                  <a:cubicBezTo>
                    <a:pt x="197" y="49"/>
                    <a:pt x="196" y="49"/>
                    <a:pt x="196" y="49"/>
                  </a:cubicBezTo>
                  <a:cubicBezTo>
                    <a:pt x="196" y="49"/>
                    <a:pt x="200" y="40"/>
                    <a:pt x="202" y="40"/>
                  </a:cubicBezTo>
                  <a:cubicBezTo>
                    <a:pt x="202" y="40"/>
                    <a:pt x="203" y="40"/>
                    <a:pt x="203" y="41"/>
                  </a:cubicBezTo>
                  <a:cubicBezTo>
                    <a:pt x="204" y="43"/>
                    <a:pt x="199" y="43"/>
                    <a:pt x="204" y="44"/>
                  </a:cubicBezTo>
                  <a:cubicBezTo>
                    <a:pt x="206" y="45"/>
                    <a:pt x="208" y="45"/>
                    <a:pt x="210" y="45"/>
                  </a:cubicBezTo>
                  <a:cubicBezTo>
                    <a:pt x="212" y="45"/>
                    <a:pt x="214" y="45"/>
                    <a:pt x="215" y="43"/>
                  </a:cubicBezTo>
                  <a:cubicBezTo>
                    <a:pt x="216" y="43"/>
                    <a:pt x="216" y="41"/>
                    <a:pt x="216" y="41"/>
                  </a:cubicBezTo>
                  <a:cubicBezTo>
                    <a:pt x="216" y="39"/>
                    <a:pt x="216" y="37"/>
                    <a:pt x="216" y="35"/>
                  </a:cubicBezTo>
                  <a:cubicBezTo>
                    <a:pt x="215" y="36"/>
                    <a:pt x="215" y="36"/>
                    <a:pt x="215" y="36"/>
                  </a:cubicBezTo>
                  <a:cubicBezTo>
                    <a:pt x="215" y="34"/>
                    <a:pt x="215" y="34"/>
                    <a:pt x="215" y="34"/>
                  </a:cubicBezTo>
                  <a:cubicBezTo>
                    <a:pt x="214" y="33"/>
                    <a:pt x="214" y="32"/>
                    <a:pt x="213" y="32"/>
                  </a:cubicBezTo>
                  <a:cubicBezTo>
                    <a:pt x="213" y="31"/>
                    <a:pt x="211" y="31"/>
                    <a:pt x="211" y="31"/>
                  </a:cubicBezTo>
                  <a:cubicBezTo>
                    <a:pt x="208" y="31"/>
                    <a:pt x="204" y="32"/>
                    <a:pt x="203" y="33"/>
                  </a:cubicBezTo>
                  <a:cubicBezTo>
                    <a:pt x="202" y="34"/>
                    <a:pt x="202" y="34"/>
                    <a:pt x="202" y="34"/>
                  </a:cubicBezTo>
                  <a:cubicBezTo>
                    <a:pt x="201" y="34"/>
                    <a:pt x="200" y="34"/>
                    <a:pt x="199" y="34"/>
                  </a:cubicBezTo>
                  <a:cubicBezTo>
                    <a:pt x="197" y="36"/>
                    <a:pt x="197" y="36"/>
                    <a:pt x="197" y="36"/>
                  </a:cubicBezTo>
                  <a:cubicBezTo>
                    <a:pt x="196" y="36"/>
                    <a:pt x="196" y="36"/>
                    <a:pt x="195" y="37"/>
                  </a:cubicBezTo>
                  <a:cubicBezTo>
                    <a:pt x="195" y="37"/>
                    <a:pt x="195" y="37"/>
                    <a:pt x="195" y="37"/>
                  </a:cubicBezTo>
                  <a:cubicBezTo>
                    <a:pt x="193" y="37"/>
                    <a:pt x="193" y="36"/>
                    <a:pt x="192" y="36"/>
                  </a:cubicBezTo>
                  <a:cubicBezTo>
                    <a:pt x="190" y="36"/>
                    <a:pt x="189" y="35"/>
                    <a:pt x="187" y="34"/>
                  </a:cubicBezTo>
                  <a:cubicBezTo>
                    <a:pt x="186" y="33"/>
                    <a:pt x="184" y="32"/>
                    <a:pt x="183" y="32"/>
                  </a:cubicBezTo>
                  <a:cubicBezTo>
                    <a:pt x="183" y="31"/>
                    <a:pt x="183" y="31"/>
                    <a:pt x="183" y="31"/>
                  </a:cubicBezTo>
                  <a:cubicBezTo>
                    <a:pt x="182" y="30"/>
                    <a:pt x="181" y="30"/>
                    <a:pt x="181" y="30"/>
                  </a:cubicBezTo>
                  <a:cubicBezTo>
                    <a:pt x="177" y="28"/>
                    <a:pt x="177" y="28"/>
                    <a:pt x="177" y="28"/>
                  </a:cubicBezTo>
                  <a:cubicBezTo>
                    <a:pt x="178" y="27"/>
                    <a:pt x="178" y="27"/>
                    <a:pt x="178" y="27"/>
                  </a:cubicBezTo>
                  <a:cubicBezTo>
                    <a:pt x="178" y="27"/>
                    <a:pt x="178" y="27"/>
                    <a:pt x="178" y="27"/>
                  </a:cubicBezTo>
                  <a:cubicBezTo>
                    <a:pt x="177" y="27"/>
                    <a:pt x="177" y="27"/>
                    <a:pt x="177" y="27"/>
                  </a:cubicBezTo>
                  <a:cubicBezTo>
                    <a:pt x="177" y="26"/>
                    <a:pt x="177" y="25"/>
                    <a:pt x="176" y="25"/>
                  </a:cubicBezTo>
                  <a:cubicBezTo>
                    <a:pt x="176" y="24"/>
                    <a:pt x="176" y="23"/>
                    <a:pt x="176" y="22"/>
                  </a:cubicBezTo>
                  <a:cubicBezTo>
                    <a:pt x="176" y="20"/>
                    <a:pt x="176" y="18"/>
                    <a:pt x="176" y="16"/>
                  </a:cubicBezTo>
                  <a:cubicBezTo>
                    <a:pt x="176" y="15"/>
                    <a:pt x="176" y="14"/>
                    <a:pt x="176" y="14"/>
                  </a:cubicBezTo>
                  <a:cubicBezTo>
                    <a:pt x="177" y="8"/>
                    <a:pt x="178" y="5"/>
                    <a:pt x="1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277"/>
            <p:cNvSpPr>
              <a:spLocks noEditPoints="1"/>
            </p:cNvSpPr>
            <p:nvPr/>
          </p:nvSpPr>
          <p:spPr bwMode="auto">
            <a:xfrm>
              <a:off x="4604" y="-27"/>
              <a:ext cx="229" cy="35"/>
            </a:xfrm>
            <a:custGeom>
              <a:gdLst>
                <a:gd name="T0" fmla="*/ 58 w 97"/>
                <a:gd name="T1" fmla="*/ 0 h 15"/>
                <a:gd name="T2" fmla="*/ 0 w 97"/>
                <a:gd name="T3" fmla="*/ 0 h 15"/>
                <a:gd name="T4" fmla="*/ 1 w 97"/>
                <a:gd name="T5" fmla="*/ 1 h 15"/>
                <a:gd name="T6" fmla="*/ 11 w 97"/>
                <a:gd name="T7" fmla="*/ 9 h 15"/>
                <a:gd name="T8" fmla="*/ 14 w 97"/>
                <a:gd name="T9" fmla="*/ 10 h 15"/>
                <a:gd name="T10" fmla="*/ 15 w 97"/>
                <a:gd name="T11" fmla="*/ 11 h 15"/>
                <a:gd name="T12" fmla="*/ 24 w 97"/>
                <a:gd name="T13" fmla="*/ 14 h 15"/>
                <a:gd name="T14" fmla="*/ 24 w 97"/>
                <a:gd name="T15" fmla="*/ 14 h 15"/>
                <a:gd name="T16" fmla="*/ 26 w 97"/>
                <a:gd name="T17" fmla="*/ 15 h 15"/>
                <a:gd name="T18" fmla="*/ 26 w 97"/>
                <a:gd name="T19" fmla="*/ 15 h 15"/>
                <a:gd name="T20" fmla="*/ 30 w 97"/>
                <a:gd name="T21" fmla="*/ 15 h 15"/>
                <a:gd name="T22" fmla="*/ 30 w 97"/>
                <a:gd name="T23" fmla="*/ 15 h 15"/>
                <a:gd name="T24" fmla="*/ 32 w 97"/>
                <a:gd name="T25" fmla="*/ 15 h 15"/>
                <a:gd name="T26" fmla="*/ 34 w 97"/>
                <a:gd name="T27" fmla="*/ 14 h 15"/>
                <a:gd name="T28" fmla="*/ 35 w 97"/>
                <a:gd name="T29" fmla="*/ 14 h 15"/>
                <a:gd name="T30" fmla="*/ 35 w 97"/>
                <a:gd name="T31" fmla="*/ 14 h 15"/>
                <a:gd name="T32" fmla="*/ 37 w 97"/>
                <a:gd name="T33" fmla="*/ 13 h 15"/>
                <a:gd name="T34" fmla="*/ 40 w 97"/>
                <a:gd name="T35" fmla="*/ 12 h 15"/>
                <a:gd name="T36" fmla="*/ 41 w 97"/>
                <a:gd name="T37" fmla="*/ 12 h 15"/>
                <a:gd name="T38" fmla="*/ 45 w 97"/>
                <a:gd name="T39" fmla="*/ 10 h 15"/>
                <a:gd name="T40" fmla="*/ 58 w 97"/>
                <a:gd name="T41" fmla="*/ 0 h 15"/>
                <a:gd name="T42" fmla="*/ 97 w 97"/>
                <a:gd name="T43" fmla="*/ 0 h 15"/>
                <a:gd name="T44" fmla="*/ 58 w 97"/>
                <a:gd name="T45" fmla="*/ 0 h 15"/>
                <a:gd name="T46" fmla="*/ 53 w 97"/>
                <a:gd name="T47" fmla="*/ 7 h 15"/>
                <a:gd name="T48" fmla="*/ 65 w 97"/>
                <a:gd name="T49" fmla="*/ 3 h 15"/>
                <a:gd name="T50" fmla="*/ 66 w 97"/>
                <a:gd name="T51" fmla="*/ 3 h 15"/>
                <a:gd name="T52" fmla="*/ 70 w 97"/>
                <a:gd name="T53" fmla="*/ 3 h 15"/>
                <a:gd name="T54" fmla="*/ 71 w 97"/>
                <a:gd name="T55" fmla="*/ 3 h 15"/>
                <a:gd name="T56" fmla="*/ 74 w 97"/>
                <a:gd name="T57" fmla="*/ 3 h 15"/>
                <a:gd name="T58" fmla="*/ 74 w 97"/>
                <a:gd name="T59" fmla="*/ 4 h 15"/>
                <a:gd name="T60" fmla="*/ 78 w 97"/>
                <a:gd name="T61" fmla="*/ 4 h 15"/>
                <a:gd name="T62" fmla="*/ 78 w 97"/>
                <a:gd name="T63" fmla="*/ 5 h 15"/>
                <a:gd name="T64" fmla="*/ 83 w 97"/>
                <a:gd name="T65" fmla="*/ 4 h 15"/>
                <a:gd name="T66" fmla="*/ 86 w 97"/>
                <a:gd name="T67" fmla="*/ 4 h 15"/>
                <a:gd name="T68" fmla="*/ 88 w 97"/>
                <a:gd name="T69" fmla="*/ 3 h 15"/>
                <a:gd name="T70" fmla="*/ 89 w 97"/>
                <a:gd name="T71" fmla="*/ 1 h 15"/>
                <a:gd name="T72" fmla="*/ 90 w 97"/>
                <a:gd name="T73" fmla="*/ 0 h 15"/>
                <a:gd name="T74" fmla="*/ 93 w 97"/>
                <a:gd name="T75" fmla="*/ 0 h 15"/>
                <a:gd name="T76" fmla="*/ 97 w 97"/>
                <a:gd name="T77" fmla="*/ 0 h 15"/>
                <a:gd name="T78" fmla="*/ 97 w 97"/>
                <a:gd name="T7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7" h="15">
                  <a:moveTo>
                    <a:pt x="58" y="0"/>
                  </a:moveTo>
                  <a:cubicBezTo>
                    <a:pt x="0" y="0"/>
                    <a:pt x="0" y="0"/>
                    <a:pt x="0" y="0"/>
                  </a:cubicBezTo>
                  <a:cubicBezTo>
                    <a:pt x="0" y="0"/>
                    <a:pt x="1" y="0"/>
                    <a:pt x="1" y="1"/>
                  </a:cubicBezTo>
                  <a:cubicBezTo>
                    <a:pt x="3" y="4"/>
                    <a:pt x="8" y="8"/>
                    <a:pt x="11" y="9"/>
                  </a:cubicBezTo>
                  <a:cubicBezTo>
                    <a:pt x="12" y="10"/>
                    <a:pt x="13" y="10"/>
                    <a:pt x="14" y="10"/>
                  </a:cubicBezTo>
                  <a:cubicBezTo>
                    <a:pt x="15" y="11"/>
                    <a:pt x="15" y="11"/>
                    <a:pt x="15" y="11"/>
                  </a:cubicBezTo>
                  <a:cubicBezTo>
                    <a:pt x="18" y="13"/>
                    <a:pt x="21" y="14"/>
                    <a:pt x="24" y="14"/>
                  </a:cubicBezTo>
                  <a:cubicBezTo>
                    <a:pt x="24" y="14"/>
                    <a:pt x="24" y="14"/>
                    <a:pt x="24" y="14"/>
                  </a:cubicBezTo>
                  <a:cubicBezTo>
                    <a:pt x="25" y="14"/>
                    <a:pt x="25" y="15"/>
                    <a:pt x="26" y="15"/>
                  </a:cubicBezTo>
                  <a:cubicBezTo>
                    <a:pt x="26" y="15"/>
                    <a:pt x="26" y="15"/>
                    <a:pt x="26" y="15"/>
                  </a:cubicBezTo>
                  <a:cubicBezTo>
                    <a:pt x="27" y="15"/>
                    <a:pt x="28" y="15"/>
                    <a:pt x="30" y="15"/>
                  </a:cubicBezTo>
                  <a:cubicBezTo>
                    <a:pt x="30" y="15"/>
                    <a:pt x="30" y="15"/>
                    <a:pt x="30" y="15"/>
                  </a:cubicBezTo>
                  <a:cubicBezTo>
                    <a:pt x="31" y="15"/>
                    <a:pt x="31" y="15"/>
                    <a:pt x="32" y="15"/>
                  </a:cubicBezTo>
                  <a:cubicBezTo>
                    <a:pt x="33" y="15"/>
                    <a:pt x="34" y="15"/>
                    <a:pt x="34" y="14"/>
                  </a:cubicBezTo>
                  <a:cubicBezTo>
                    <a:pt x="35" y="14"/>
                    <a:pt x="35" y="14"/>
                    <a:pt x="35" y="14"/>
                  </a:cubicBezTo>
                  <a:cubicBezTo>
                    <a:pt x="35" y="14"/>
                    <a:pt x="35" y="14"/>
                    <a:pt x="35" y="14"/>
                  </a:cubicBezTo>
                  <a:cubicBezTo>
                    <a:pt x="36" y="14"/>
                    <a:pt x="36" y="14"/>
                    <a:pt x="37" y="13"/>
                  </a:cubicBezTo>
                  <a:cubicBezTo>
                    <a:pt x="38" y="13"/>
                    <a:pt x="39" y="13"/>
                    <a:pt x="40" y="12"/>
                  </a:cubicBezTo>
                  <a:cubicBezTo>
                    <a:pt x="41" y="12"/>
                    <a:pt x="41" y="12"/>
                    <a:pt x="41" y="12"/>
                  </a:cubicBezTo>
                  <a:cubicBezTo>
                    <a:pt x="42" y="11"/>
                    <a:pt x="44" y="11"/>
                    <a:pt x="45" y="10"/>
                  </a:cubicBezTo>
                  <a:cubicBezTo>
                    <a:pt x="58" y="0"/>
                    <a:pt x="58" y="0"/>
                    <a:pt x="58" y="0"/>
                  </a:cubicBezTo>
                  <a:moveTo>
                    <a:pt x="97" y="0"/>
                  </a:moveTo>
                  <a:cubicBezTo>
                    <a:pt x="58" y="0"/>
                    <a:pt x="58" y="0"/>
                    <a:pt x="58" y="0"/>
                  </a:cubicBezTo>
                  <a:cubicBezTo>
                    <a:pt x="53" y="7"/>
                    <a:pt x="53" y="7"/>
                    <a:pt x="53" y="7"/>
                  </a:cubicBezTo>
                  <a:cubicBezTo>
                    <a:pt x="65" y="3"/>
                    <a:pt x="65" y="3"/>
                    <a:pt x="65" y="3"/>
                  </a:cubicBezTo>
                  <a:cubicBezTo>
                    <a:pt x="66" y="3"/>
                    <a:pt x="66" y="3"/>
                    <a:pt x="66" y="3"/>
                  </a:cubicBezTo>
                  <a:cubicBezTo>
                    <a:pt x="70" y="3"/>
                    <a:pt x="70" y="3"/>
                    <a:pt x="70" y="3"/>
                  </a:cubicBezTo>
                  <a:cubicBezTo>
                    <a:pt x="71" y="3"/>
                    <a:pt x="71" y="3"/>
                    <a:pt x="71" y="3"/>
                  </a:cubicBezTo>
                  <a:cubicBezTo>
                    <a:pt x="72" y="3"/>
                    <a:pt x="73" y="3"/>
                    <a:pt x="74" y="3"/>
                  </a:cubicBezTo>
                  <a:cubicBezTo>
                    <a:pt x="74" y="4"/>
                    <a:pt x="74" y="4"/>
                    <a:pt x="74" y="4"/>
                  </a:cubicBezTo>
                  <a:cubicBezTo>
                    <a:pt x="75" y="4"/>
                    <a:pt x="77" y="4"/>
                    <a:pt x="78" y="4"/>
                  </a:cubicBezTo>
                  <a:cubicBezTo>
                    <a:pt x="78" y="5"/>
                    <a:pt x="78" y="5"/>
                    <a:pt x="78" y="5"/>
                  </a:cubicBezTo>
                  <a:cubicBezTo>
                    <a:pt x="83" y="4"/>
                    <a:pt x="83" y="4"/>
                    <a:pt x="83" y="4"/>
                  </a:cubicBezTo>
                  <a:cubicBezTo>
                    <a:pt x="85" y="4"/>
                    <a:pt x="86" y="4"/>
                    <a:pt x="86" y="4"/>
                  </a:cubicBezTo>
                  <a:cubicBezTo>
                    <a:pt x="86" y="4"/>
                    <a:pt x="87" y="3"/>
                    <a:pt x="88" y="3"/>
                  </a:cubicBezTo>
                  <a:cubicBezTo>
                    <a:pt x="88" y="2"/>
                    <a:pt x="88" y="1"/>
                    <a:pt x="89" y="1"/>
                  </a:cubicBezTo>
                  <a:cubicBezTo>
                    <a:pt x="90" y="0"/>
                    <a:pt x="90" y="0"/>
                    <a:pt x="90" y="0"/>
                  </a:cubicBezTo>
                  <a:cubicBezTo>
                    <a:pt x="91" y="0"/>
                    <a:pt x="92" y="0"/>
                    <a:pt x="93" y="0"/>
                  </a:cubicBezTo>
                  <a:cubicBezTo>
                    <a:pt x="94" y="0"/>
                    <a:pt x="96" y="0"/>
                    <a:pt x="97" y="0"/>
                  </a:cubicBez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78"/>
            <p:cNvSpPr/>
            <p:nvPr/>
          </p:nvSpPr>
          <p:spPr bwMode="auto">
            <a:xfrm>
              <a:off x="5230" y="-27"/>
              <a:ext cx="35" cy="54"/>
            </a:xfrm>
            <a:custGeom>
              <a:gdLst>
                <a:gd name="T0" fmla="*/ 15 w 15"/>
                <a:gd name="T1" fmla="*/ 0 h 23"/>
                <a:gd name="T2" fmla="*/ 3 w 15"/>
                <a:gd name="T3" fmla="*/ 0 h 23"/>
                <a:gd name="T4" fmla="*/ 3 w 15"/>
                <a:gd name="T5" fmla="*/ 1 h 23"/>
                <a:gd name="T6" fmla="*/ 0 w 15"/>
                <a:gd name="T7" fmla="*/ 14 h 23"/>
                <a:gd name="T8" fmla="*/ 0 w 15"/>
                <a:gd name="T9" fmla="*/ 16 h 23"/>
                <a:gd name="T10" fmla="*/ 0 w 15"/>
                <a:gd name="T11" fmla="*/ 17 h 23"/>
                <a:gd name="T12" fmla="*/ 0 w 15"/>
                <a:gd name="T13" fmla="*/ 21 h 23"/>
                <a:gd name="T14" fmla="*/ 0 w 15"/>
                <a:gd name="T15" fmla="*/ 23 h 23"/>
                <a:gd name="T16" fmla="*/ 0 w 15"/>
                <a:gd name="T17" fmla="*/ 23 h 23"/>
                <a:gd name="T18" fmla="*/ 2 w 15"/>
                <a:gd name="T19" fmla="*/ 22 h 23"/>
                <a:gd name="T20" fmla="*/ 2 w 15"/>
                <a:gd name="T21" fmla="*/ 22 h 23"/>
                <a:gd name="T22" fmla="*/ 4 w 15"/>
                <a:gd name="T23" fmla="*/ 21 h 23"/>
                <a:gd name="T24" fmla="*/ 5 w 15"/>
                <a:gd name="T25" fmla="*/ 18 h 23"/>
                <a:gd name="T26" fmla="*/ 8 w 15"/>
                <a:gd name="T27" fmla="*/ 15 h 23"/>
                <a:gd name="T28" fmla="*/ 8 w 15"/>
                <a:gd name="T29" fmla="*/ 15 h 23"/>
                <a:gd name="T30" fmla="*/ 9 w 15"/>
                <a:gd name="T31" fmla="*/ 14 h 23"/>
                <a:gd name="T32" fmla="*/ 10 w 15"/>
                <a:gd name="T33" fmla="*/ 14 h 23"/>
                <a:gd name="T34" fmla="*/ 10 w 15"/>
                <a:gd name="T35" fmla="*/ 13 h 23"/>
                <a:gd name="T36" fmla="*/ 11 w 15"/>
                <a:gd name="T37" fmla="*/ 11 h 23"/>
                <a:gd name="T38" fmla="*/ 14 w 15"/>
                <a:gd name="T39" fmla="*/ 9 h 23"/>
                <a:gd name="T40" fmla="*/ 14 w 15"/>
                <a:gd name="T41" fmla="*/ 9 h 23"/>
                <a:gd name="T42" fmla="*/ 14 w 15"/>
                <a:gd name="T43" fmla="*/ 8 h 23"/>
                <a:gd name="T44" fmla="*/ 15 w 15"/>
                <a:gd name="T45" fmla="*/ 8 h 23"/>
                <a:gd name="T46" fmla="*/ 15 w 15"/>
                <a:gd name="T47" fmla="*/ 6 h 23"/>
                <a:gd name="T48" fmla="*/ 15 w 15"/>
                <a:gd name="T49" fmla="*/ 5 h 23"/>
                <a:gd name="T50" fmla="*/ 15 w 15"/>
                <a:gd name="T51" fmla="*/ 5 h 23"/>
                <a:gd name="T52" fmla="*/ 15 w 15"/>
                <a:gd name="T53" fmla="*/ 4 h 23"/>
                <a:gd name="T54" fmla="*/ 15 w 15"/>
                <a:gd name="T55" fmla="*/ 0 h 23"/>
                <a:gd name="T56" fmla="*/ 15 w 15"/>
                <a:gd name="T57"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23">
                  <a:moveTo>
                    <a:pt x="15" y="0"/>
                  </a:moveTo>
                  <a:cubicBezTo>
                    <a:pt x="3" y="0"/>
                    <a:pt x="3" y="0"/>
                    <a:pt x="3" y="0"/>
                  </a:cubicBezTo>
                  <a:cubicBezTo>
                    <a:pt x="3" y="0"/>
                    <a:pt x="3" y="1"/>
                    <a:pt x="3" y="1"/>
                  </a:cubicBezTo>
                  <a:cubicBezTo>
                    <a:pt x="1" y="6"/>
                    <a:pt x="0" y="9"/>
                    <a:pt x="0" y="14"/>
                  </a:cubicBezTo>
                  <a:cubicBezTo>
                    <a:pt x="0" y="14"/>
                    <a:pt x="0" y="15"/>
                    <a:pt x="0" y="16"/>
                  </a:cubicBezTo>
                  <a:cubicBezTo>
                    <a:pt x="0" y="17"/>
                    <a:pt x="0" y="17"/>
                    <a:pt x="0" y="17"/>
                  </a:cubicBezTo>
                  <a:cubicBezTo>
                    <a:pt x="0" y="18"/>
                    <a:pt x="0" y="20"/>
                    <a:pt x="0" y="21"/>
                  </a:cubicBezTo>
                  <a:cubicBezTo>
                    <a:pt x="0" y="22"/>
                    <a:pt x="0" y="23"/>
                    <a:pt x="0" y="23"/>
                  </a:cubicBezTo>
                  <a:cubicBezTo>
                    <a:pt x="0" y="23"/>
                    <a:pt x="0" y="23"/>
                    <a:pt x="0" y="23"/>
                  </a:cubicBezTo>
                  <a:cubicBezTo>
                    <a:pt x="1" y="23"/>
                    <a:pt x="1" y="23"/>
                    <a:pt x="2" y="22"/>
                  </a:cubicBezTo>
                  <a:cubicBezTo>
                    <a:pt x="2" y="22"/>
                    <a:pt x="2" y="22"/>
                    <a:pt x="2" y="22"/>
                  </a:cubicBezTo>
                  <a:cubicBezTo>
                    <a:pt x="3" y="22"/>
                    <a:pt x="3" y="21"/>
                    <a:pt x="4" y="21"/>
                  </a:cubicBezTo>
                  <a:cubicBezTo>
                    <a:pt x="4" y="20"/>
                    <a:pt x="4" y="19"/>
                    <a:pt x="5" y="18"/>
                  </a:cubicBezTo>
                  <a:cubicBezTo>
                    <a:pt x="6" y="17"/>
                    <a:pt x="7" y="16"/>
                    <a:pt x="8" y="15"/>
                  </a:cubicBezTo>
                  <a:cubicBezTo>
                    <a:pt x="8" y="15"/>
                    <a:pt x="8" y="15"/>
                    <a:pt x="8" y="15"/>
                  </a:cubicBezTo>
                  <a:cubicBezTo>
                    <a:pt x="9" y="14"/>
                    <a:pt x="9" y="14"/>
                    <a:pt x="9" y="14"/>
                  </a:cubicBezTo>
                  <a:cubicBezTo>
                    <a:pt x="10" y="14"/>
                    <a:pt x="10" y="14"/>
                    <a:pt x="10" y="14"/>
                  </a:cubicBezTo>
                  <a:cubicBezTo>
                    <a:pt x="10" y="13"/>
                    <a:pt x="10" y="13"/>
                    <a:pt x="10" y="13"/>
                  </a:cubicBezTo>
                  <a:cubicBezTo>
                    <a:pt x="10" y="13"/>
                    <a:pt x="11" y="12"/>
                    <a:pt x="11" y="11"/>
                  </a:cubicBezTo>
                  <a:cubicBezTo>
                    <a:pt x="12" y="10"/>
                    <a:pt x="12" y="9"/>
                    <a:pt x="14" y="9"/>
                  </a:cubicBezTo>
                  <a:cubicBezTo>
                    <a:pt x="14" y="9"/>
                    <a:pt x="14" y="9"/>
                    <a:pt x="14" y="9"/>
                  </a:cubicBezTo>
                  <a:cubicBezTo>
                    <a:pt x="14" y="8"/>
                    <a:pt x="14" y="8"/>
                    <a:pt x="14" y="8"/>
                  </a:cubicBezTo>
                  <a:cubicBezTo>
                    <a:pt x="14" y="8"/>
                    <a:pt x="14" y="8"/>
                    <a:pt x="15" y="8"/>
                  </a:cubicBezTo>
                  <a:cubicBezTo>
                    <a:pt x="15" y="6"/>
                    <a:pt x="15" y="6"/>
                    <a:pt x="15" y="6"/>
                  </a:cubicBezTo>
                  <a:cubicBezTo>
                    <a:pt x="15" y="6"/>
                    <a:pt x="15" y="6"/>
                    <a:pt x="15" y="5"/>
                  </a:cubicBezTo>
                  <a:cubicBezTo>
                    <a:pt x="15" y="5"/>
                    <a:pt x="15" y="5"/>
                    <a:pt x="15" y="5"/>
                  </a:cubicBezTo>
                  <a:cubicBezTo>
                    <a:pt x="15" y="4"/>
                    <a:pt x="15" y="4"/>
                    <a:pt x="15" y="4"/>
                  </a:cubicBezTo>
                  <a:cubicBezTo>
                    <a:pt x="15" y="2"/>
                    <a:pt x="15" y="1"/>
                    <a:pt x="15" y="0"/>
                  </a:cubicBezTo>
                  <a:cubicBezTo>
                    <a:pt x="15"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79"/>
            <p:cNvSpPr/>
            <p:nvPr/>
          </p:nvSpPr>
          <p:spPr bwMode="auto">
            <a:xfrm>
              <a:off x="6452" y="-27"/>
              <a:ext cx="1226" cy="383"/>
            </a:xfrm>
            <a:custGeom>
              <a:gdLst>
                <a:gd name="T0" fmla="*/ 68 w 519"/>
                <a:gd name="T1" fmla="*/ 26 h 162"/>
                <a:gd name="T2" fmla="*/ 90 w 519"/>
                <a:gd name="T3" fmla="*/ 25 h 162"/>
                <a:gd name="T4" fmla="*/ 93 w 519"/>
                <a:gd name="T5" fmla="*/ 40 h 162"/>
                <a:gd name="T6" fmla="*/ 85 w 519"/>
                <a:gd name="T7" fmla="*/ 42 h 162"/>
                <a:gd name="T8" fmla="*/ 79 w 519"/>
                <a:gd name="T9" fmla="*/ 42 h 162"/>
                <a:gd name="T10" fmla="*/ 78 w 519"/>
                <a:gd name="T11" fmla="*/ 34 h 162"/>
                <a:gd name="T12" fmla="*/ 36 w 519"/>
                <a:gd name="T13" fmla="*/ 28 h 162"/>
                <a:gd name="T14" fmla="*/ 24 w 519"/>
                <a:gd name="T15" fmla="*/ 39 h 162"/>
                <a:gd name="T16" fmla="*/ 27 w 519"/>
                <a:gd name="T17" fmla="*/ 52 h 162"/>
                <a:gd name="T18" fmla="*/ 32 w 519"/>
                <a:gd name="T19" fmla="*/ 54 h 162"/>
                <a:gd name="T20" fmla="*/ 27 w 519"/>
                <a:gd name="T21" fmla="*/ 53 h 162"/>
                <a:gd name="T22" fmla="*/ 11 w 519"/>
                <a:gd name="T23" fmla="*/ 51 h 162"/>
                <a:gd name="T24" fmla="*/ 6 w 519"/>
                <a:gd name="T25" fmla="*/ 61 h 162"/>
                <a:gd name="T26" fmla="*/ 25 w 519"/>
                <a:gd name="T27" fmla="*/ 93 h 162"/>
                <a:gd name="T28" fmla="*/ 41 w 519"/>
                <a:gd name="T29" fmla="*/ 102 h 162"/>
                <a:gd name="T30" fmla="*/ 48 w 519"/>
                <a:gd name="T31" fmla="*/ 102 h 162"/>
                <a:gd name="T32" fmla="*/ 50 w 519"/>
                <a:gd name="T33" fmla="*/ 103 h 162"/>
                <a:gd name="T34" fmla="*/ 60 w 519"/>
                <a:gd name="T35" fmla="*/ 106 h 162"/>
                <a:gd name="T36" fmla="*/ 53 w 519"/>
                <a:gd name="T37" fmla="*/ 130 h 162"/>
                <a:gd name="T38" fmla="*/ 86 w 519"/>
                <a:gd name="T39" fmla="*/ 114 h 162"/>
                <a:gd name="T40" fmla="*/ 107 w 519"/>
                <a:gd name="T41" fmla="*/ 123 h 162"/>
                <a:gd name="T42" fmla="*/ 120 w 519"/>
                <a:gd name="T43" fmla="*/ 137 h 162"/>
                <a:gd name="T44" fmla="*/ 134 w 519"/>
                <a:gd name="T45" fmla="*/ 142 h 162"/>
                <a:gd name="T46" fmla="*/ 144 w 519"/>
                <a:gd name="T47" fmla="*/ 35 h 162"/>
                <a:gd name="T48" fmla="*/ 195 w 519"/>
                <a:gd name="T49" fmla="*/ 21 h 162"/>
                <a:gd name="T50" fmla="*/ 205 w 519"/>
                <a:gd name="T51" fmla="*/ 14 h 162"/>
                <a:gd name="T52" fmla="*/ 207 w 519"/>
                <a:gd name="T53" fmla="*/ 14 h 162"/>
                <a:gd name="T54" fmla="*/ 210 w 519"/>
                <a:gd name="T55" fmla="*/ 14 h 162"/>
                <a:gd name="T56" fmla="*/ 213 w 519"/>
                <a:gd name="T57" fmla="*/ 16 h 162"/>
                <a:gd name="T58" fmla="*/ 217 w 519"/>
                <a:gd name="T59" fmla="*/ 22 h 162"/>
                <a:gd name="T60" fmla="*/ 224 w 519"/>
                <a:gd name="T61" fmla="*/ 14 h 162"/>
                <a:gd name="T62" fmla="*/ 221 w 519"/>
                <a:gd name="T63" fmla="*/ 3 h 162"/>
                <a:gd name="T64" fmla="*/ 225 w 519"/>
                <a:gd name="T65" fmla="*/ 11 h 162"/>
                <a:gd name="T66" fmla="*/ 233 w 519"/>
                <a:gd name="T67" fmla="*/ 10 h 162"/>
                <a:gd name="T68" fmla="*/ 243 w 519"/>
                <a:gd name="T69" fmla="*/ 14 h 162"/>
                <a:gd name="T70" fmla="*/ 228 w 519"/>
                <a:gd name="T71" fmla="*/ 15 h 162"/>
                <a:gd name="T72" fmla="*/ 228 w 519"/>
                <a:gd name="T73" fmla="*/ 17 h 162"/>
                <a:gd name="T74" fmla="*/ 229 w 519"/>
                <a:gd name="T75" fmla="*/ 25 h 162"/>
                <a:gd name="T76" fmla="*/ 239 w 519"/>
                <a:gd name="T77" fmla="*/ 44 h 162"/>
                <a:gd name="T78" fmla="*/ 277 w 519"/>
                <a:gd name="T79" fmla="*/ 78 h 162"/>
                <a:gd name="T80" fmla="*/ 292 w 519"/>
                <a:gd name="T81" fmla="*/ 79 h 162"/>
                <a:gd name="T82" fmla="*/ 328 w 519"/>
                <a:gd name="T83" fmla="*/ 78 h 162"/>
                <a:gd name="T84" fmla="*/ 347 w 519"/>
                <a:gd name="T85" fmla="*/ 74 h 162"/>
                <a:gd name="T86" fmla="*/ 358 w 519"/>
                <a:gd name="T87" fmla="*/ 83 h 162"/>
                <a:gd name="T88" fmla="*/ 371 w 519"/>
                <a:gd name="T89" fmla="*/ 97 h 162"/>
                <a:gd name="T90" fmla="*/ 378 w 519"/>
                <a:gd name="T91" fmla="*/ 106 h 162"/>
                <a:gd name="T92" fmla="*/ 376 w 519"/>
                <a:gd name="T93" fmla="*/ 121 h 162"/>
                <a:gd name="T94" fmla="*/ 379 w 519"/>
                <a:gd name="T95" fmla="*/ 123 h 162"/>
                <a:gd name="T96" fmla="*/ 388 w 519"/>
                <a:gd name="T97" fmla="*/ 130 h 162"/>
                <a:gd name="T98" fmla="*/ 392 w 519"/>
                <a:gd name="T99" fmla="*/ 147 h 162"/>
                <a:gd name="T100" fmla="*/ 417 w 519"/>
                <a:gd name="T101" fmla="*/ 146 h 162"/>
                <a:gd name="T102" fmla="*/ 421 w 519"/>
                <a:gd name="T103" fmla="*/ 148 h 162"/>
                <a:gd name="T104" fmla="*/ 424 w 519"/>
                <a:gd name="T105" fmla="*/ 159 h 162"/>
                <a:gd name="T106" fmla="*/ 438 w 519"/>
                <a:gd name="T107" fmla="*/ 148 h 162"/>
                <a:gd name="T108" fmla="*/ 446 w 519"/>
                <a:gd name="T109" fmla="*/ 142 h 162"/>
                <a:gd name="T110" fmla="*/ 485 w 519"/>
                <a:gd name="T111" fmla="*/ 118 h 162"/>
                <a:gd name="T112" fmla="*/ 492 w 519"/>
                <a:gd name="T113" fmla="*/ 107 h 162"/>
                <a:gd name="T114" fmla="*/ 503 w 519"/>
                <a:gd name="T115" fmla="*/ 102 h 162"/>
                <a:gd name="T116" fmla="*/ 519 w 519"/>
                <a:gd name="T117" fmla="*/ 0 h 1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9" h="162">
                  <a:moveTo>
                    <a:pt x="519" y="0"/>
                  </a:moveTo>
                  <a:cubicBezTo>
                    <a:pt x="72" y="0"/>
                    <a:pt x="72" y="0"/>
                    <a:pt x="72" y="0"/>
                  </a:cubicBezTo>
                  <a:cubicBezTo>
                    <a:pt x="73" y="2"/>
                    <a:pt x="73" y="4"/>
                    <a:pt x="72" y="7"/>
                  </a:cubicBezTo>
                  <a:cubicBezTo>
                    <a:pt x="72" y="12"/>
                    <a:pt x="68" y="16"/>
                    <a:pt x="67" y="21"/>
                  </a:cubicBezTo>
                  <a:cubicBezTo>
                    <a:pt x="67" y="23"/>
                    <a:pt x="67" y="24"/>
                    <a:pt x="68" y="26"/>
                  </a:cubicBezTo>
                  <a:cubicBezTo>
                    <a:pt x="70" y="29"/>
                    <a:pt x="70" y="28"/>
                    <a:pt x="73" y="29"/>
                  </a:cubicBezTo>
                  <a:cubicBezTo>
                    <a:pt x="75" y="30"/>
                    <a:pt x="77" y="31"/>
                    <a:pt x="80" y="31"/>
                  </a:cubicBezTo>
                  <a:cubicBezTo>
                    <a:pt x="80" y="31"/>
                    <a:pt x="81" y="31"/>
                    <a:pt x="82" y="31"/>
                  </a:cubicBezTo>
                  <a:cubicBezTo>
                    <a:pt x="84" y="30"/>
                    <a:pt x="87" y="30"/>
                    <a:pt x="88" y="28"/>
                  </a:cubicBezTo>
                  <a:cubicBezTo>
                    <a:pt x="89" y="27"/>
                    <a:pt x="89" y="25"/>
                    <a:pt x="90" y="25"/>
                  </a:cubicBezTo>
                  <a:cubicBezTo>
                    <a:pt x="91" y="25"/>
                    <a:pt x="91" y="25"/>
                    <a:pt x="91" y="25"/>
                  </a:cubicBezTo>
                  <a:cubicBezTo>
                    <a:pt x="97" y="25"/>
                    <a:pt x="94" y="32"/>
                    <a:pt x="96" y="35"/>
                  </a:cubicBezTo>
                  <a:cubicBezTo>
                    <a:pt x="96" y="36"/>
                    <a:pt x="98" y="37"/>
                    <a:pt x="98" y="38"/>
                  </a:cubicBezTo>
                  <a:cubicBezTo>
                    <a:pt x="98" y="40"/>
                    <a:pt x="95" y="40"/>
                    <a:pt x="93" y="40"/>
                  </a:cubicBezTo>
                  <a:cubicBezTo>
                    <a:pt x="93" y="40"/>
                    <a:pt x="93" y="40"/>
                    <a:pt x="93" y="40"/>
                  </a:cubicBezTo>
                  <a:cubicBezTo>
                    <a:pt x="92" y="40"/>
                    <a:pt x="92" y="40"/>
                    <a:pt x="92" y="40"/>
                  </a:cubicBezTo>
                  <a:cubicBezTo>
                    <a:pt x="91" y="40"/>
                    <a:pt x="90" y="41"/>
                    <a:pt x="89" y="41"/>
                  </a:cubicBezTo>
                  <a:cubicBezTo>
                    <a:pt x="88" y="42"/>
                    <a:pt x="88" y="42"/>
                    <a:pt x="87" y="42"/>
                  </a:cubicBezTo>
                  <a:cubicBezTo>
                    <a:pt x="87" y="42"/>
                    <a:pt x="86" y="42"/>
                    <a:pt x="86" y="42"/>
                  </a:cubicBezTo>
                  <a:cubicBezTo>
                    <a:pt x="86" y="42"/>
                    <a:pt x="86" y="42"/>
                    <a:pt x="85" y="42"/>
                  </a:cubicBezTo>
                  <a:cubicBezTo>
                    <a:pt x="85" y="42"/>
                    <a:pt x="84" y="42"/>
                    <a:pt x="84" y="42"/>
                  </a:cubicBezTo>
                  <a:cubicBezTo>
                    <a:pt x="80" y="42"/>
                    <a:pt x="78" y="46"/>
                    <a:pt x="77" y="49"/>
                  </a:cubicBezTo>
                  <a:cubicBezTo>
                    <a:pt x="76" y="50"/>
                    <a:pt x="73" y="57"/>
                    <a:pt x="72" y="57"/>
                  </a:cubicBezTo>
                  <a:cubicBezTo>
                    <a:pt x="70" y="57"/>
                    <a:pt x="71" y="54"/>
                    <a:pt x="71" y="53"/>
                  </a:cubicBezTo>
                  <a:cubicBezTo>
                    <a:pt x="74" y="49"/>
                    <a:pt x="76" y="45"/>
                    <a:pt x="79" y="42"/>
                  </a:cubicBezTo>
                  <a:cubicBezTo>
                    <a:pt x="82" y="39"/>
                    <a:pt x="84" y="40"/>
                    <a:pt x="87" y="39"/>
                  </a:cubicBezTo>
                  <a:cubicBezTo>
                    <a:pt x="91" y="38"/>
                    <a:pt x="91" y="33"/>
                    <a:pt x="88" y="33"/>
                  </a:cubicBezTo>
                  <a:cubicBezTo>
                    <a:pt x="87" y="33"/>
                    <a:pt x="87" y="33"/>
                    <a:pt x="86" y="33"/>
                  </a:cubicBezTo>
                  <a:cubicBezTo>
                    <a:pt x="84" y="34"/>
                    <a:pt x="83" y="34"/>
                    <a:pt x="82" y="34"/>
                  </a:cubicBezTo>
                  <a:cubicBezTo>
                    <a:pt x="81" y="34"/>
                    <a:pt x="80" y="34"/>
                    <a:pt x="78" y="34"/>
                  </a:cubicBezTo>
                  <a:cubicBezTo>
                    <a:pt x="75" y="33"/>
                    <a:pt x="71" y="33"/>
                    <a:pt x="68" y="33"/>
                  </a:cubicBezTo>
                  <a:cubicBezTo>
                    <a:pt x="64" y="33"/>
                    <a:pt x="60" y="32"/>
                    <a:pt x="55" y="31"/>
                  </a:cubicBezTo>
                  <a:cubicBezTo>
                    <a:pt x="50" y="30"/>
                    <a:pt x="44" y="31"/>
                    <a:pt x="39" y="29"/>
                  </a:cubicBezTo>
                  <a:cubicBezTo>
                    <a:pt x="38" y="28"/>
                    <a:pt x="38" y="27"/>
                    <a:pt x="37" y="27"/>
                  </a:cubicBezTo>
                  <a:cubicBezTo>
                    <a:pt x="37" y="27"/>
                    <a:pt x="36" y="28"/>
                    <a:pt x="36" y="28"/>
                  </a:cubicBezTo>
                  <a:cubicBezTo>
                    <a:pt x="36" y="29"/>
                    <a:pt x="34" y="30"/>
                    <a:pt x="33" y="31"/>
                  </a:cubicBezTo>
                  <a:cubicBezTo>
                    <a:pt x="33" y="31"/>
                    <a:pt x="33" y="31"/>
                    <a:pt x="33" y="31"/>
                  </a:cubicBezTo>
                  <a:cubicBezTo>
                    <a:pt x="31" y="31"/>
                    <a:pt x="29" y="29"/>
                    <a:pt x="29" y="29"/>
                  </a:cubicBezTo>
                  <a:cubicBezTo>
                    <a:pt x="29" y="29"/>
                    <a:pt x="27" y="32"/>
                    <a:pt x="27" y="33"/>
                  </a:cubicBezTo>
                  <a:cubicBezTo>
                    <a:pt x="25" y="34"/>
                    <a:pt x="25" y="38"/>
                    <a:pt x="24" y="39"/>
                  </a:cubicBezTo>
                  <a:cubicBezTo>
                    <a:pt x="21" y="40"/>
                    <a:pt x="21" y="40"/>
                    <a:pt x="21" y="40"/>
                  </a:cubicBezTo>
                  <a:cubicBezTo>
                    <a:pt x="20" y="41"/>
                    <a:pt x="17" y="40"/>
                    <a:pt x="19" y="42"/>
                  </a:cubicBezTo>
                  <a:cubicBezTo>
                    <a:pt x="21" y="45"/>
                    <a:pt x="23" y="46"/>
                    <a:pt x="25" y="49"/>
                  </a:cubicBezTo>
                  <a:cubicBezTo>
                    <a:pt x="25" y="49"/>
                    <a:pt x="26" y="51"/>
                    <a:pt x="26" y="52"/>
                  </a:cubicBezTo>
                  <a:cubicBezTo>
                    <a:pt x="27" y="52"/>
                    <a:pt x="27" y="52"/>
                    <a:pt x="27" y="52"/>
                  </a:cubicBezTo>
                  <a:cubicBezTo>
                    <a:pt x="27" y="52"/>
                    <a:pt x="27" y="52"/>
                    <a:pt x="28" y="52"/>
                  </a:cubicBezTo>
                  <a:cubicBezTo>
                    <a:pt x="28" y="52"/>
                    <a:pt x="28" y="52"/>
                    <a:pt x="28" y="52"/>
                  </a:cubicBezTo>
                  <a:cubicBezTo>
                    <a:pt x="28" y="52"/>
                    <a:pt x="29" y="52"/>
                    <a:pt x="29" y="52"/>
                  </a:cubicBezTo>
                  <a:cubicBezTo>
                    <a:pt x="29" y="52"/>
                    <a:pt x="32" y="52"/>
                    <a:pt x="32" y="53"/>
                  </a:cubicBezTo>
                  <a:cubicBezTo>
                    <a:pt x="32" y="54"/>
                    <a:pt x="32" y="54"/>
                    <a:pt x="32" y="54"/>
                  </a:cubicBezTo>
                  <a:cubicBezTo>
                    <a:pt x="32" y="54"/>
                    <a:pt x="32" y="54"/>
                    <a:pt x="32" y="54"/>
                  </a:cubicBezTo>
                  <a:cubicBezTo>
                    <a:pt x="32" y="54"/>
                    <a:pt x="31" y="54"/>
                    <a:pt x="31" y="54"/>
                  </a:cubicBezTo>
                  <a:cubicBezTo>
                    <a:pt x="30" y="54"/>
                    <a:pt x="30" y="54"/>
                    <a:pt x="29" y="54"/>
                  </a:cubicBezTo>
                  <a:cubicBezTo>
                    <a:pt x="28" y="54"/>
                    <a:pt x="28" y="54"/>
                    <a:pt x="28" y="54"/>
                  </a:cubicBezTo>
                  <a:cubicBezTo>
                    <a:pt x="27" y="53"/>
                    <a:pt x="27" y="53"/>
                    <a:pt x="27" y="53"/>
                  </a:cubicBezTo>
                  <a:cubicBezTo>
                    <a:pt x="26" y="53"/>
                    <a:pt x="25" y="55"/>
                    <a:pt x="25" y="55"/>
                  </a:cubicBezTo>
                  <a:cubicBezTo>
                    <a:pt x="24" y="55"/>
                    <a:pt x="23" y="55"/>
                    <a:pt x="23" y="55"/>
                  </a:cubicBezTo>
                  <a:cubicBezTo>
                    <a:pt x="21" y="55"/>
                    <a:pt x="20" y="54"/>
                    <a:pt x="18" y="53"/>
                  </a:cubicBezTo>
                  <a:cubicBezTo>
                    <a:pt x="16" y="52"/>
                    <a:pt x="15" y="51"/>
                    <a:pt x="14" y="51"/>
                  </a:cubicBezTo>
                  <a:cubicBezTo>
                    <a:pt x="14" y="51"/>
                    <a:pt x="13" y="51"/>
                    <a:pt x="11" y="51"/>
                  </a:cubicBezTo>
                  <a:cubicBezTo>
                    <a:pt x="10" y="51"/>
                    <a:pt x="7" y="50"/>
                    <a:pt x="5" y="50"/>
                  </a:cubicBezTo>
                  <a:cubicBezTo>
                    <a:pt x="4" y="50"/>
                    <a:pt x="4" y="50"/>
                    <a:pt x="4" y="50"/>
                  </a:cubicBezTo>
                  <a:cubicBezTo>
                    <a:pt x="2" y="51"/>
                    <a:pt x="2" y="52"/>
                    <a:pt x="2" y="53"/>
                  </a:cubicBezTo>
                  <a:cubicBezTo>
                    <a:pt x="1" y="53"/>
                    <a:pt x="1" y="53"/>
                    <a:pt x="1" y="53"/>
                  </a:cubicBezTo>
                  <a:cubicBezTo>
                    <a:pt x="0" y="57"/>
                    <a:pt x="1" y="60"/>
                    <a:pt x="6" y="61"/>
                  </a:cubicBezTo>
                  <a:cubicBezTo>
                    <a:pt x="8" y="61"/>
                    <a:pt x="9" y="61"/>
                    <a:pt x="11" y="61"/>
                  </a:cubicBezTo>
                  <a:cubicBezTo>
                    <a:pt x="18" y="63"/>
                    <a:pt x="19" y="72"/>
                    <a:pt x="22" y="79"/>
                  </a:cubicBezTo>
                  <a:cubicBezTo>
                    <a:pt x="23" y="82"/>
                    <a:pt x="25" y="86"/>
                    <a:pt x="26" y="89"/>
                  </a:cubicBezTo>
                  <a:cubicBezTo>
                    <a:pt x="27" y="90"/>
                    <a:pt x="26" y="90"/>
                    <a:pt x="26" y="91"/>
                  </a:cubicBezTo>
                  <a:cubicBezTo>
                    <a:pt x="26" y="92"/>
                    <a:pt x="25" y="93"/>
                    <a:pt x="25" y="93"/>
                  </a:cubicBezTo>
                  <a:cubicBezTo>
                    <a:pt x="26" y="93"/>
                    <a:pt x="26" y="93"/>
                    <a:pt x="27" y="93"/>
                  </a:cubicBezTo>
                  <a:cubicBezTo>
                    <a:pt x="28" y="93"/>
                    <a:pt x="29" y="93"/>
                    <a:pt x="30" y="93"/>
                  </a:cubicBezTo>
                  <a:cubicBezTo>
                    <a:pt x="31" y="93"/>
                    <a:pt x="32" y="93"/>
                    <a:pt x="33" y="93"/>
                  </a:cubicBezTo>
                  <a:cubicBezTo>
                    <a:pt x="33" y="93"/>
                    <a:pt x="33" y="93"/>
                    <a:pt x="33" y="93"/>
                  </a:cubicBezTo>
                  <a:cubicBezTo>
                    <a:pt x="37" y="94"/>
                    <a:pt x="37" y="99"/>
                    <a:pt x="41" y="102"/>
                  </a:cubicBezTo>
                  <a:cubicBezTo>
                    <a:pt x="41" y="102"/>
                    <a:pt x="42" y="102"/>
                    <a:pt x="42" y="102"/>
                  </a:cubicBezTo>
                  <a:cubicBezTo>
                    <a:pt x="42" y="102"/>
                    <a:pt x="43" y="102"/>
                    <a:pt x="43" y="102"/>
                  </a:cubicBezTo>
                  <a:cubicBezTo>
                    <a:pt x="44" y="101"/>
                    <a:pt x="45" y="101"/>
                    <a:pt x="45" y="101"/>
                  </a:cubicBezTo>
                  <a:cubicBezTo>
                    <a:pt x="45" y="101"/>
                    <a:pt x="46" y="101"/>
                    <a:pt x="46" y="101"/>
                  </a:cubicBezTo>
                  <a:cubicBezTo>
                    <a:pt x="47" y="101"/>
                    <a:pt x="47" y="101"/>
                    <a:pt x="48" y="102"/>
                  </a:cubicBezTo>
                  <a:cubicBezTo>
                    <a:pt x="48" y="102"/>
                    <a:pt x="49" y="103"/>
                    <a:pt x="49" y="103"/>
                  </a:cubicBezTo>
                  <a:cubicBezTo>
                    <a:pt x="49" y="104"/>
                    <a:pt x="50" y="104"/>
                    <a:pt x="50" y="104"/>
                  </a:cubicBezTo>
                  <a:cubicBezTo>
                    <a:pt x="50" y="104"/>
                    <a:pt x="50" y="104"/>
                    <a:pt x="50" y="103"/>
                  </a:cubicBezTo>
                  <a:cubicBezTo>
                    <a:pt x="50" y="103"/>
                    <a:pt x="50" y="103"/>
                    <a:pt x="50" y="103"/>
                  </a:cubicBezTo>
                  <a:cubicBezTo>
                    <a:pt x="50" y="103"/>
                    <a:pt x="50" y="103"/>
                    <a:pt x="50" y="103"/>
                  </a:cubicBezTo>
                  <a:cubicBezTo>
                    <a:pt x="50" y="103"/>
                    <a:pt x="51" y="103"/>
                    <a:pt x="51" y="103"/>
                  </a:cubicBezTo>
                  <a:cubicBezTo>
                    <a:pt x="51" y="103"/>
                    <a:pt x="52" y="103"/>
                    <a:pt x="52" y="103"/>
                  </a:cubicBezTo>
                  <a:cubicBezTo>
                    <a:pt x="53" y="103"/>
                    <a:pt x="53" y="103"/>
                    <a:pt x="53" y="103"/>
                  </a:cubicBezTo>
                  <a:cubicBezTo>
                    <a:pt x="54" y="103"/>
                    <a:pt x="55" y="103"/>
                    <a:pt x="55" y="103"/>
                  </a:cubicBezTo>
                  <a:cubicBezTo>
                    <a:pt x="57" y="104"/>
                    <a:pt x="58" y="105"/>
                    <a:pt x="60" y="106"/>
                  </a:cubicBezTo>
                  <a:cubicBezTo>
                    <a:pt x="59" y="106"/>
                    <a:pt x="58" y="107"/>
                    <a:pt x="58" y="107"/>
                  </a:cubicBezTo>
                  <a:cubicBezTo>
                    <a:pt x="57" y="107"/>
                    <a:pt x="57" y="107"/>
                    <a:pt x="57" y="107"/>
                  </a:cubicBezTo>
                  <a:cubicBezTo>
                    <a:pt x="60" y="110"/>
                    <a:pt x="58" y="112"/>
                    <a:pt x="56" y="117"/>
                  </a:cubicBezTo>
                  <a:cubicBezTo>
                    <a:pt x="55" y="118"/>
                    <a:pt x="53" y="121"/>
                    <a:pt x="53" y="122"/>
                  </a:cubicBezTo>
                  <a:cubicBezTo>
                    <a:pt x="52" y="125"/>
                    <a:pt x="53" y="127"/>
                    <a:pt x="53" y="130"/>
                  </a:cubicBezTo>
                  <a:cubicBezTo>
                    <a:pt x="53" y="129"/>
                    <a:pt x="54" y="129"/>
                    <a:pt x="55" y="128"/>
                  </a:cubicBezTo>
                  <a:cubicBezTo>
                    <a:pt x="56" y="127"/>
                    <a:pt x="57" y="126"/>
                    <a:pt x="59" y="124"/>
                  </a:cubicBezTo>
                  <a:cubicBezTo>
                    <a:pt x="60" y="123"/>
                    <a:pt x="62" y="122"/>
                    <a:pt x="64" y="121"/>
                  </a:cubicBezTo>
                  <a:cubicBezTo>
                    <a:pt x="68" y="118"/>
                    <a:pt x="74" y="116"/>
                    <a:pt x="79" y="115"/>
                  </a:cubicBezTo>
                  <a:cubicBezTo>
                    <a:pt x="82" y="115"/>
                    <a:pt x="84" y="115"/>
                    <a:pt x="86" y="114"/>
                  </a:cubicBezTo>
                  <a:cubicBezTo>
                    <a:pt x="88" y="114"/>
                    <a:pt x="88" y="114"/>
                    <a:pt x="88" y="114"/>
                  </a:cubicBezTo>
                  <a:cubicBezTo>
                    <a:pt x="89" y="114"/>
                    <a:pt x="90" y="114"/>
                    <a:pt x="91" y="114"/>
                  </a:cubicBezTo>
                  <a:cubicBezTo>
                    <a:pt x="92" y="114"/>
                    <a:pt x="93" y="114"/>
                    <a:pt x="93" y="114"/>
                  </a:cubicBezTo>
                  <a:cubicBezTo>
                    <a:pt x="95" y="114"/>
                    <a:pt x="97" y="115"/>
                    <a:pt x="98" y="116"/>
                  </a:cubicBezTo>
                  <a:cubicBezTo>
                    <a:pt x="101" y="118"/>
                    <a:pt x="104" y="120"/>
                    <a:pt x="107" y="123"/>
                  </a:cubicBezTo>
                  <a:cubicBezTo>
                    <a:pt x="107" y="124"/>
                    <a:pt x="107" y="124"/>
                    <a:pt x="107" y="124"/>
                  </a:cubicBezTo>
                  <a:cubicBezTo>
                    <a:pt x="108" y="125"/>
                    <a:pt x="110" y="126"/>
                    <a:pt x="111" y="127"/>
                  </a:cubicBezTo>
                  <a:cubicBezTo>
                    <a:pt x="112" y="128"/>
                    <a:pt x="112" y="128"/>
                    <a:pt x="112" y="128"/>
                  </a:cubicBezTo>
                  <a:cubicBezTo>
                    <a:pt x="114" y="130"/>
                    <a:pt x="116" y="131"/>
                    <a:pt x="118" y="133"/>
                  </a:cubicBezTo>
                  <a:cubicBezTo>
                    <a:pt x="119" y="134"/>
                    <a:pt x="119" y="135"/>
                    <a:pt x="120" y="137"/>
                  </a:cubicBezTo>
                  <a:cubicBezTo>
                    <a:pt x="120" y="137"/>
                    <a:pt x="120" y="137"/>
                    <a:pt x="120" y="137"/>
                  </a:cubicBezTo>
                  <a:cubicBezTo>
                    <a:pt x="122" y="139"/>
                    <a:pt x="123" y="141"/>
                    <a:pt x="125" y="142"/>
                  </a:cubicBezTo>
                  <a:cubicBezTo>
                    <a:pt x="125" y="142"/>
                    <a:pt x="126" y="143"/>
                    <a:pt x="126" y="143"/>
                  </a:cubicBezTo>
                  <a:cubicBezTo>
                    <a:pt x="127" y="143"/>
                    <a:pt x="128" y="143"/>
                    <a:pt x="129" y="143"/>
                  </a:cubicBezTo>
                  <a:cubicBezTo>
                    <a:pt x="131" y="143"/>
                    <a:pt x="132" y="142"/>
                    <a:pt x="134" y="142"/>
                  </a:cubicBezTo>
                  <a:cubicBezTo>
                    <a:pt x="134" y="90"/>
                    <a:pt x="134" y="90"/>
                    <a:pt x="134" y="90"/>
                  </a:cubicBezTo>
                  <a:cubicBezTo>
                    <a:pt x="134" y="74"/>
                    <a:pt x="134" y="58"/>
                    <a:pt x="134" y="42"/>
                  </a:cubicBezTo>
                  <a:cubicBezTo>
                    <a:pt x="134" y="41"/>
                    <a:pt x="134" y="41"/>
                    <a:pt x="134" y="41"/>
                  </a:cubicBezTo>
                  <a:cubicBezTo>
                    <a:pt x="134" y="39"/>
                    <a:pt x="135" y="37"/>
                    <a:pt x="138" y="37"/>
                  </a:cubicBezTo>
                  <a:cubicBezTo>
                    <a:pt x="140" y="36"/>
                    <a:pt x="142" y="35"/>
                    <a:pt x="144" y="35"/>
                  </a:cubicBezTo>
                  <a:cubicBezTo>
                    <a:pt x="145" y="35"/>
                    <a:pt x="146" y="35"/>
                    <a:pt x="146" y="34"/>
                  </a:cubicBezTo>
                  <a:cubicBezTo>
                    <a:pt x="156" y="32"/>
                    <a:pt x="167" y="29"/>
                    <a:pt x="177" y="26"/>
                  </a:cubicBezTo>
                  <a:cubicBezTo>
                    <a:pt x="187" y="23"/>
                    <a:pt x="187" y="23"/>
                    <a:pt x="187" y="23"/>
                  </a:cubicBezTo>
                  <a:cubicBezTo>
                    <a:pt x="189" y="23"/>
                    <a:pt x="191" y="22"/>
                    <a:pt x="193" y="22"/>
                  </a:cubicBezTo>
                  <a:cubicBezTo>
                    <a:pt x="195" y="21"/>
                    <a:pt x="195" y="21"/>
                    <a:pt x="195" y="21"/>
                  </a:cubicBezTo>
                  <a:cubicBezTo>
                    <a:pt x="196" y="21"/>
                    <a:pt x="196" y="21"/>
                    <a:pt x="196" y="21"/>
                  </a:cubicBezTo>
                  <a:cubicBezTo>
                    <a:pt x="197" y="21"/>
                    <a:pt x="198" y="21"/>
                    <a:pt x="199" y="22"/>
                  </a:cubicBezTo>
                  <a:cubicBezTo>
                    <a:pt x="199" y="20"/>
                    <a:pt x="199" y="19"/>
                    <a:pt x="200" y="17"/>
                  </a:cubicBezTo>
                  <a:cubicBezTo>
                    <a:pt x="201" y="16"/>
                    <a:pt x="203" y="15"/>
                    <a:pt x="204" y="14"/>
                  </a:cubicBezTo>
                  <a:cubicBezTo>
                    <a:pt x="204" y="14"/>
                    <a:pt x="204" y="14"/>
                    <a:pt x="205" y="14"/>
                  </a:cubicBezTo>
                  <a:cubicBezTo>
                    <a:pt x="205" y="14"/>
                    <a:pt x="206" y="14"/>
                    <a:pt x="206" y="14"/>
                  </a:cubicBezTo>
                  <a:cubicBezTo>
                    <a:pt x="206" y="14"/>
                    <a:pt x="206" y="14"/>
                    <a:pt x="206" y="14"/>
                  </a:cubicBezTo>
                  <a:cubicBezTo>
                    <a:pt x="207" y="14"/>
                    <a:pt x="207" y="14"/>
                    <a:pt x="207" y="14"/>
                  </a:cubicBezTo>
                  <a:cubicBezTo>
                    <a:pt x="207" y="14"/>
                    <a:pt x="207" y="14"/>
                    <a:pt x="207" y="14"/>
                  </a:cubicBezTo>
                  <a:cubicBezTo>
                    <a:pt x="207" y="14"/>
                    <a:pt x="207" y="14"/>
                    <a:pt x="207" y="14"/>
                  </a:cubicBezTo>
                  <a:cubicBezTo>
                    <a:pt x="207" y="13"/>
                    <a:pt x="207" y="13"/>
                    <a:pt x="207" y="13"/>
                  </a:cubicBezTo>
                  <a:cubicBezTo>
                    <a:pt x="208" y="14"/>
                    <a:pt x="208" y="14"/>
                    <a:pt x="209" y="14"/>
                  </a:cubicBezTo>
                  <a:cubicBezTo>
                    <a:pt x="209" y="14"/>
                    <a:pt x="209" y="14"/>
                    <a:pt x="209" y="14"/>
                  </a:cubicBezTo>
                  <a:cubicBezTo>
                    <a:pt x="209" y="14"/>
                    <a:pt x="209" y="14"/>
                    <a:pt x="209" y="14"/>
                  </a:cubicBezTo>
                  <a:cubicBezTo>
                    <a:pt x="210" y="14"/>
                    <a:pt x="210" y="14"/>
                    <a:pt x="210" y="14"/>
                  </a:cubicBezTo>
                  <a:cubicBezTo>
                    <a:pt x="211" y="14"/>
                    <a:pt x="211" y="14"/>
                    <a:pt x="211" y="14"/>
                  </a:cubicBezTo>
                  <a:cubicBezTo>
                    <a:pt x="211" y="14"/>
                    <a:pt x="211" y="14"/>
                    <a:pt x="212" y="14"/>
                  </a:cubicBezTo>
                  <a:cubicBezTo>
                    <a:pt x="212" y="14"/>
                    <a:pt x="213" y="12"/>
                    <a:pt x="214" y="12"/>
                  </a:cubicBezTo>
                  <a:cubicBezTo>
                    <a:pt x="214" y="12"/>
                    <a:pt x="214" y="12"/>
                    <a:pt x="214" y="12"/>
                  </a:cubicBezTo>
                  <a:cubicBezTo>
                    <a:pt x="217" y="12"/>
                    <a:pt x="214" y="15"/>
                    <a:pt x="213" y="16"/>
                  </a:cubicBezTo>
                  <a:cubicBezTo>
                    <a:pt x="213" y="18"/>
                    <a:pt x="212" y="20"/>
                    <a:pt x="214" y="21"/>
                  </a:cubicBezTo>
                  <a:cubicBezTo>
                    <a:pt x="214" y="21"/>
                    <a:pt x="214" y="21"/>
                    <a:pt x="214" y="21"/>
                  </a:cubicBezTo>
                  <a:cubicBezTo>
                    <a:pt x="214" y="21"/>
                    <a:pt x="215" y="21"/>
                    <a:pt x="215" y="20"/>
                  </a:cubicBezTo>
                  <a:cubicBezTo>
                    <a:pt x="216" y="20"/>
                    <a:pt x="216" y="20"/>
                    <a:pt x="217" y="20"/>
                  </a:cubicBezTo>
                  <a:cubicBezTo>
                    <a:pt x="217" y="20"/>
                    <a:pt x="218" y="20"/>
                    <a:pt x="217" y="22"/>
                  </a:cubicBezTo>
                  <a:cubicBezTo>
                    <a:pt x="218" y="21"/>
                    <a:pt x="219" y="20"/>
                    <a:pt x="220" y="19"/>
                  </a:cubicBezTo>
                  <a:cubicBezTo>
                    <a:pt x="220" y="19"/>
                    <a:pt x="220" y="19"/>
                    <a:pt x="220" y="19"/>
                  </a:cubicBezTo>
                  <a:cubicBezTo>
                    <a:pt x="221" y="19"/>
                    <a:pt x="222" y="20"/>
                    <a:pt x="222" y="20"/>
                  </a:cubicBezTo>
                  <a:cubicBezTo>
                    <a:pt x="223" y="19"/>
                    <a:pt x="222" y="18"/>
                    <a:pt x="222" y="17"/>
                  </a:cubicBezTo>
                  <a:cubicBezTo>
                    <a:pt x="222" y="16"/>
                    <a:pt x="223" y="15"/>
                    <a:pt x="224" y="14"/>
                  </a:cubicBezTo>
                  <a:cubicBezTo>
                    <a:pt x="225" y="11"/>
                    <a:pt x="224" y="10"/>
                    <a:pt x="223" y="7"/>
                  </a:cubicBezTo>
                  <a:cubicBezTo>
                    <a:pt x="222" y="6"/>
                    <a:pt x="221" y="5"/>
                    <a:pt x="220" y="4"/>
                  </a:cubicBezTo>
                  <a:cubicBezTo>
                    <a:pt x="220" y="3"/>
                    <a:pt x="220" y="3"/>
                    <a:pt x="220" y="3"/>
                  </a:cubicBezTo>
                  <a:cubicBezTo>
                    <a:pt x="220" y="3"/>
                    <a:pt x="220" y="3"/>
                    <a:pt x="220" y="3"/>
                  </a:cubicBezTo>
                  <a:cubicBezTo>
                    <a:pt x="220" y="3"/>
                    <a:pt x="221" y="3"/>
                    <a:pt x="221" y="3"/>
                  </a:cubicBezTo>
                  <a:cubicBezTo>
                    <a:pt x="221" y="3"/>
                    <a:pt x="221" y="3"/>
                    <a:pt x="221" y="3"/>
                  </a:cubicBezTo>
                  <a:cubicBezTo>
                    <a:pt x="222" y="3"/>
                    <a:pt x="223" y="3"/>
                    <a:pt x="223" y="3"/>
                  </a:cubicBezTo>
                  <a:cubicBezTo>
                    <a:pt x="225" y="3"/>
                    <a:pt x="226" y="4"/>
                    <a:pt x="226" y="6"/>
                  </a:cubicBezTo>
                  <a:cubicBezTo>
                    <a:pt x="227" y="6"/>
                    <a:pt x="227" y="8"/>
                    <a:pt x="226" y="9"/>
                  </a:cubicBezTo>
                  <a:cubicBezTo>
                    <a:pt x="226" y="10"/>
                    <a:pt x="223" y="10"/>
                    <a:pt x="225" y="11"/>
                  </a:cubicBezTo>
                  <a:cubicBezTo>
                    <a:pt x="226" y="12"/>
                    <a:pt x="226" y="12"/>
                    <a:pt x="226" y="12"/>
                  </a:cubicBezTo>
                  <a:cubicBezTo>
                    <a:pt x="227" y="12"/>
                    <a:pt x="229" y="10"/>
                    <a:pt x="229" y="10"/>
                  </a:cubicBezTo>
                  <a:cubicBezTo>
                    <a:pt x="230" y="10"/>
                    <a:pt x="230" y="10"/>
                    <a:pt x="231" y="10"/>
                  </a:cubicBezTo>
                  <a:cubicBezTo>
                    <a:pt x="231" y="10"/>
                    <a:pt x="231" y="10"/>
                    <a:pt x="232" y="10"/>
                  </a:cubicBezTo>
                  <a:cubicBezTo>
                    <a:pt x="232" y="10"/>
                    <a:pt x="232" y="10"/>
                    <a:pt x="233" y="10"/>
                  </a:cubicBezTo>
                  <a:cubicBezTo>
                    <a:pt x="233" y="10"/>
                    <a:pt x="233" y="10"/>
                    <a:pt x="233" y="10"/>
                  </a:cubicBezTo>
                  <a:cubicBezTo>
                    <a:pt x="235" y="10"/>
                    <a:pt x="236" y="9"/>
                    <a:pt x="238" y="9"/>
                  </a:cubicBezTo>
                  <a:cubicBezTo>
                    <a:pt x="238" y="9"/>
                    <a:pt x="239" y="9"/>
                    <a:pt x="239" y="10"/>
                  </a:cubicBezTo>
                  <a:cubicBezTo>
                    <a:pt x="242" y="10"/>
                    <a:pt x="246" y="10"/>
                    <a:pt x="248" y="11"/>
                  </a:cubicBezTo>
                  <a:cubicBezTo>
                    <a:pt x="247" y="13"/>
                    <a:pt x="245" y="12"/>
                    <a:pt x="243" y="14"/>
                  </a:cubicBezTo>
                  <a:cubicBezTo>
                    <a:pt x="242" y="16"/>
                    <a:pt x="242" y="16"/>
                    <a:pt x="241" y="16"/>
                  </a:cubicBezTo>
                  <a:cubicBezTo>
                    <a:pt x="240" y="16"/>
                    <a:pt x="240" y="16"/>
                    <a:pt x="239" y="16"/>
                  </a:cubicBezTo>
                  <a:cubicBezTo>
                    <a:pt x="237" y="16"/>
                    <a:pt x="235" y="15"/>
                    <a:pt x="233" y="15"/>
                  </a:cubicBezTo>
                  <a:cubicBezTo>
                    <a:pt x="232" y="15"/>
                    <a:pt x="231" y="15"/>
                    <a:pt x="229" y="15"/>
                  </a:cubicBezTo>
                  <a:cubicBezTo>
                    <a:pt x="229" y="15"/>
                    <a:pt x="228" y="15"/>
                    <a:pt x="228" y="15"/>
                  </a:cubicBezTo>
                  <a:cubicBezTo>
                    <a:pt x="229" y="14"/>
                    <a:pt x="229" y="14"/>
                    <a:pt x="229" y="14"/>
                  </a:cubicBezTo>
                  <a:cubicBezTo>
                    <a:pt x="228" y="14"/>
                    <a:pt x="227" y="14"/>
                    <a:pt x="226" y="14"/>
                  </a:cubicBezTo>
                  <a:cubicBezTo>
                    <a:pt x="226" y="14"/>
                    <a:pt x="226" y="14"/>
                    <a:pt x="226" y="14"/>
                  </a:cubicBezTo>
                  <a:cubicBezTo>
                    <a:pt x="227" y="14"/>
                    <a:pt x="227" y="15"/>
                    <a:pt x="226" y="16"/>
                  </a:cubicBezTo>
                  <a:cubicBezTo>
                    <a:pt x="227" y="16"/>
                    <a:pt x="227" y="16"/>
                    <a:pt x="228" y="17"/>
                  </a:cubicBezTo>
                  <a:cubicBezTo>
                    <a:pt x="227" y="17"/>
                    <a:pt x="225" y="17"/>
                    <a:pt x="225" y="17"/>
                  </a:cubicBezTo>
                  <a:cubicBezTo>
                    <a:pt x="225" y="17"/>
                    <a:pt x="228" y="18"/>
                    <a:pt x="225" y="19"/>
                  </a:cubicBezTo>
                  <a:cubicBezTo>
                    <a:pt x="227" y="20"/>
                    <a:pt x="222" y="23"/>
                    <a:pt x="225" y="25"/>
                  </a:cubicBezTo>
                  <a:cubicBezTo>
                    <a:pt x="226" y="25"/>
                    <a:pt x="226" y="25"/>
                    <a:pt x="227" y="25"/>
                  </a:cubicBezTo>
                  <a:cubicBezTo>
                    <a:pt x="227" y="25"/>
                    <a:pt x="228" y="25"/>
                    <a:pt x="229" y="25"/>
                  </a:cubicBezTo>
                  <a:cubicBezTo>
                    <a:pt x="229" y="25"/>
                    <a:pt x="230" y="24"/>
                    <a:pt x="231" y="24"/>
                  </a:cubicBezTo>
                  <a:cubicBezTo>
                    <a:pt x="232" y="24"/>
                    <a:pt x="233" y="25"/>
                    <a:pt x="233" y="26"/>
                  </a:cubicBezTo>
                  <a:cubicBezTo>
                    <a:pt x="235" y="30"/>
                    <a:pt x="234" y="37"/>
                    <a:pt x="234" y="41"/>
                  </a:cubicBezTo>
                  <a:cubicBezTo>
                    <a:pt x="236" y="42"/>
                    <a:pt x="236" y="42"/>
                    <a:pt x="236" y="42"/>
                  </a:cubicBezTo>
                  <a:cubicBezTo>
                    <a:pt x="236" y="43"/>
                    <a:pt x="238" y="43"/>
                    <a:pt x="239" y="44"/>
                  </a:cubicBezTo>
                  <a:cubicBezTo>
                    <a:pt x="249" y="50"/>
                    <a:pt x="257" y="55"/>
                    <a:pt x="260" y="59"/>
                  </a:cubicBezTo>
                  <a:cubicBezTo>
                    <a:pt x="262" y="62"/>
                    <a:pt x="266" y="67"/>
                    <a:pt x="266" y="67"/>
                  </a:cubicBezTo>
                  <a:cubicBezTo>
                    <a:pt x="269" y="70"/>
                    <a:pt x="272" y="73"/>
                    <a:pt x="274" y="76"/>
                  </a:cubicBezTo>
                  <a:cubicBezTo>
                    <a:pt x="275" y="76"/>
                    <a:pt x="275" y="77"/>
                    <a:pt x="276" y="77"/>
                  </a:cubicBezTo>
                  <a:cubicBezTo>
                    <a:pt x="277" y="78"/>
                    <a:pt x="277" y="78"/>
                    <a:pt x="277" y="78"/>
                  </a:cubicBezTo>
                  <a:cubicBezTo>
                    <a:pt x="277" y="78"/>
                    <a:pt x="278" y="79"/>
                    <a:pt x="278" y="80"/>
                  </a:cubicBezTo>
                  <a:cubicBezTo>
                    <a:pt x="279" y="80"/>
                    <a:pt x="279" y="80"/>
                    <a:pt x="280" y="80"/>
                  </a:cubicBezTo>
                  <a:cubicBezTo>
                    <a:pt x="280" y="81"/>
                    <a:pt x="281" y="81"/>
                    <a:pt x="281" y="81"/>
                  </a:cubicBezTo>
                  <a:cubicBezTo>
                    <a:pt x="281" y="81"/>
                    <a:pt x="281" y="81"/>
                    <a:pt x="281" y="81"/>
                  </a:cubicBezTo>
                  <a:cubicBezTo>
                    <a:pt x="285" y="80"/>
                    <a:pt x="288" y="80"/>
                    <a:pt x="292" y="79"/>
                  </a:cubicBezTo>
                  <a:cubicBezTo>
                    <a:pt x="296" y="78"/>
                    <a:pt x="301" y="77"/>
                    <a:pt x="306" y="77"/>
                  </a:cubicBezTo>
                  <a:cubicBezTo>
                    <a:pt x="307" y="77"/>
                    <a:pt x="308" y="77"/>
                    <a:pt x="310" y="77"/>
                  </a:cubicBezTo>
                  <a:cubicBezTo>
                    <a:pt x="313" y="77"/>
                    <a:pt x="317" y="77"/>
                    <a:pt x="320" y="77"/>
                  </a:cubicBezTo>
                  <a:cubicBezTo>
                    <a:pt x="321" y="77"/>
                    <a:pt x="321" y="77"/>
                    <a:pt x="321" y="77"/>
                  </a:cubicBezTo>
                  <a:cubicBezTo>
                    <a:pt x="324" y="78"/>
                    <a:pt x="326" y="78"/>
                    <a:pt x="328" y="78"/>
                  </a:cubicBezTo>
                  <a:cubicBezTo>
                    <a:pt x="335" y="78"/>
                    <a:pt x="335" y="78"/>
                    <a:pt x="335" y="78"/>
                  </a:cubicBezTo>
                  <a:cubicBezTo>
                    <a:pt x="337" y="78"/>
                    <a:pt x="338" y="78"/>
                    <a:pt x="339" y="77"/>
                  </a:cubicBezTo>
                  <a:cubicBezTo>
                    <a:pt x="340" y="77"/>
                    <a:pt x="340" y="77"/>
                    <a:pt x="340" y="77"/>
                  </a:cubicBezTo>
                  <a:cubicBezTo>
                    <a:pt x="341" y="76"/>
                    <a:pt x="341" y="76"/>
                    <a:pt x="341" y="76"/>
                  </a:cubicBezTo>
                  <a:cubicBezTo>
                    <a:pt x="343" y="75"/>
                    <a:pt x="345" y="74"/>
                    <a:pt x="347" y="74"/>
                  </a:cubicBezTo>
                  <a:cubicBezTo>
                    <a:pt x="347" y="74"/>
                    <a:pt x="347" y="74"/>
                    <a:pt x="347" y="74"/>
                  </a:cubicBezTo>
                  <a:cubicBezTo>
                    <a:pt x="349" y="74"/>
                    <a:pt x="350" y="75"/>
                    <a:pt x="351" y="77"/>
                  </a:cubicBezTo>
                  <a:cubicBezTo>
                    <a:pt x="352" y="78"/>
                    <a:pt x="354" y="79"/>
                    <a:pt x="355" y="81"/>
                  </a:cubicBezTo>
                  <a:cubicBezTo>
                    <a:pt x="358" y="83"/>
                    <a:pt x="358" y="83"/>
                    <a:pt x="358" y="83"/>
                  </a:cubicBezTo>
                  <a:cubicBezTo>
                    <a:pt x="358" y="83"/>
                    <a:pt x="358" y="83"/>
                    <a:pt x="358" y="83"/>
                  </a:cubicBezTo>
                  <a:cubicBezTo>
                    <a:pt x="360" y="85"/>
                    <a:pt x="360" y="85"/>
                    <a:pt x="360" y="85"/>
                  </a:cubicBezTo>
                  <a:cubicBezTo>
                    <a:pt x="362" y="87"/>
                    <a:pt x="365" y="89"/>
                    <a:pt x="367" y="92"/>
                  </a:cubicBezTo>
                  <a:cubicBezTo>
                    <a:pt x="369" y="94"/>
                    <a:pt x="369" y="94"/>
                    <a:pt x="369" y="94"/>
                  </a:cubicBezTo>
                  <a:cubicBezTo>
                    <a:pt x="369" y="95"/>
                    <a:pt x="370" y="95"/>
                    <a:pt x="370" y="95"/>
                  </a:cubicBezTo>
                  <a:cubicBezTo>
                    <a:pt x="370" y="96"/>
                    <a:pt x="371" y="96"/>
                    <a:pt x="371" y="97"/>
                  </a:cubicBezTo>
                  <a:cubicBezTo>
                    <a:pt x="373" y="96"/>
                    <a:pt x="373" y="96"/>
                    <a:pt x="373" y="96"/>
                  </a:cubicBezTo>
                  <a:cubicBezTo>
                    <a:pt x="374" y="96"/>
                    <a:pt x="374" y="96"/>
                    <a:pt x="375" y="96"/>
                  </a:cubicBezTo>
                  <a:cubicBezTo>
                    <a:pt x="376" y="96"/>
                    <a:pt x="377" y="96"/>
                    <a:pt x="377" y="97"/>
                  </a:cubicBezTo>
                  <a:cubicBezTo>
                    <a:pt x="379" y="98"/>
                    <a:pt x="379" y="101"/>
                    <a:pt x="378" y="106"/>
                  </a:cubicBezTo>
                  <a:cubicBezTo>
                    <a:pt x="378" y="106"/>
                    <a:pt x="378" y="106"/>
                    <a:pt x="378" y="106"/>
                  </a:cubicBezTo>
                  <a:cubicBezTo>
                    <a:pt x="378" y="108"/>
                    <a:pt x="377" y="110"/>
                    <a:pt x="377" y="111"/>
                  </a:cubicBezTo>
                  <a:cubicBezTo>
                    <a:pt x="377" y="113"/>
                    <a:pt x="377" y="115"/>
                    <a:pt x="377" y="117"/>
                  </a:cubicBezTo>
                  <a:cubicBezTo>
                    <a:pt x="377" y="117"/>
                    <a:pt x="376" y="118"/>
                    <a:pt x="376" y="119"/>
                  </a:cubicBezTo>
                  <a:cubicBezTo>
                    <a:pt x="376" y="119"/>
                    <a:pt x="376" y="119"/>
                    <a:pt x="376" y="119"/>
                  </a:cubicBezTo>
                  <a:cubicBezTo>
                    <a:pt x="376" y="120"/>
                    <a:pt x="376" y="121"/>
                    <a:pt x="376" y="121"/>
                  </a:cubicBezTo>
                  <a:cubicBezTo>
                    <a:pt x="376" y="122"/>
                    <a:pt x="376" y="123"/>
                    <a:pt x="376" y="123"/>
                  </a:cubicBezTo>
                  <a:cubicBezTo>
                    <a:pt x="377" y="123"/>
                    <a:pt x="377" y="123"/>
                    <a:pt x="377" y="123"/>
                  </a:cubicBezTo>
                  <a:cubicBezTo>
                    <a:pt x="377" y="123"/>
                    <a:pt x="377" y="123"/>
                    <a:pt x="377" y="123"/>
                  </a:cubicBezTo>
                  <a:cubicBezTo>
                    <a:pt x="377" y="123"/>
                    <a:pt x="378" y="123"/>
                    <a:pt x="378" y="123"/>
                  </a:cubicBezTo>
                  <a:cubicBezTo>
                    <a:pt x="379" y="123"/>
                    <a:pt x="379" y="123"/>
                    <a:pt x="379" y="123"/>
                  </a:cubicBezTo>
                  <a:cubicBezTo>
                    <a:pt x="380" y="123"/>
                    <a:pt x="381" y="123"/>
                    <a:pt x="382" y="123"/>
                  </a:cubicBezTo>
                  <a:cubicBezTo>
                    <a:pt x="384" y="123"/>
                    <a:pt x="385" y="123"/>
                    <a:pt x="386" y="124"/>
                  </a:cubicBezTo>
                  <a:cubicBezTo>
                    <a:pt x="387" y="125"/>
                    <a:pt x="388" y="126"/>
                    <a:pt x="388" y="127"/>
                  </a:cubicBezTo>
                  <a:cubicBezTo>
                    <a:pt x="388" y="128"/>
                    <a:pt x="388" y="129"/>
                    <a:pt x="388" y="130"/>
                  </a:cubicBezTo>
                  <a:cubicBezTo>
                    <a:pt x="388" y="130"/>
                    <a:pt x="388" y="130"/>
                    <a:pt x="388" y="130"/>
                  </a:cubicBezTo>
                  <a:cubicBezTo>
                    <a:pt x="388" y="131"/>
                    <a:pt x="388" y="131"/>
                    <a:pt x="388" y="131"/>
                  </a:cubicBezTo>
                  <a:cubicBezTo>
                    <a:pt x="388" y="134"/>
                    <a:pt x="389" y="137"/>
                    <a:pt x="390" y="140"/>
                  </a:cubicBezTo>
                  <a:cubicBezTo>
                    <a:pt x="391" y="143"/>
                    <a:pt x="391" y="143"/>
                    <a:pt x="391" y="143"/>
                  </a:cubicBezTo>
                  <a:cubicBezTo>
                    <a:pt x="391" y="144"/>
                    <a:pt x="391" y="144"/>
                    <a:pt x="391" y="144"/>
                  </a:cubicBezTo>
                  <a:cubicBezTo>
                    <a:pt x="392" y="147"/>
                    <a:pt x="392" y="147"/>
                    <a:pt x="392" y="147"/>
                  </a:cubicBezTo>
                  <a:cubicBezTo>
                    <a:pt x="410" y="146"/>
                    <a:pt x="410" y="146"/>
                    <a:pt x="410" y="146"/>
                  </a:cubicBezTo>
                  <a:cubicBezTo>
                    <a:pt x="411" y="146"/>
                    <a:pt x="411" y="146"/>
                    <a:pt x="412" y="146"/>
                  </a:cubicBezTo>
                  <a:cubicBezTo>
                    <a:pt x="413" y="146"/>
                    <a:pt x="414" y="146"/>
                    <a:pt x="415" y="146"/>
                  </a:cubicBezTo>
                  <a:cubicBezTo>
                    <a:pt x="416" y="146"/>
                    <a:pt x="417" y="146"/>
                    <a:pt x="417" y="146"/>
                  </a:cubicBezTo>
                  <a:cubicBezTo>
                    <a:pt x="417" y="146"/>
                    <a:pt x="417" y="146"/>
                    <a:pt x="417" y="146"/>
                  </a:cubicBezTo>
                  <a:cubicBezTo>
                    <a:pt x="418" y="146"/>
                    <a:pt x="419" y="146"/>
                    <a:pt x="419" y="146"/>
                  </a:cubicBezTo>
                  <a:cubicBezTo>
                    <a:pt x="420" y="147"/>
                    <a:pt x="420" y="147"/>
                    <a:pt x="420" y="147"/>
                  </a:cubicBezTo>
                  <a:cubicBezTo>
                    <a:pt x="420" y="148"/>
                    <a:pt x="420" y="148"/>
                    <a:pt x="420" y="148"/>
                  </a:cubicBezTo>
                  <a:cubicBezTo>
                    <a:pt x="420" y="148"/>
                    <a:pt x="420" y="148"/>
                    <a:pt x="420" y="148"/>
                  </a:cubicBezTo>
                  <a:cubicBezTo>
                    <a:pt x="421" y="148"/>
                    <a:pt x="421" y="148"/>
                    <a:pt x="421" y="148"/>
                  </a:cubicBezTo>
                  <a:cubicBezTo>
                    <a:pt x="421" y="149"/>
                    <a:pt x="421" y="149"/>
                    <a:pt x="421" y="149"/>
                  </a:cubicBezTo>
                  <a:cubicBezTo>
                    <a:pt x="422" y="149"/>
                    <a:pt x="423" y="150"/>
                    <a:pt x="424" y="150"/>
                  </a:cubicBezTo>
                  <a:cubicBezTo>
                    <a:pt x="424" y="151"/>
                    <a:pt x="425" y="151"/>
                    <a:pt x="425" y="153"/>
                  </a:cubicBezTo>
                  <a:cubicBezTo>
                    <a:pt x="425" y="154"/>
                    <a:pt x="425" y="154"/>
                    <a:pt x="425" y="154"/>
                  </a:cubicBezTo>
                  <a:cubicBezTo>
                    <a:pt x="426" y="155"/>
                    <a:pt x="425" y="157"/>
                    <a:pt x="424" y="159"/>
                  </a:cubicBezTo>
                  <a:cubicBezTo>
                    <a:pt x="426" y="160"/>
                    <a:pt x="428" y="161"/>
                    <a:pt x="431" y="162"/>
                  </a:cubicBezTo>
                  <a:cubicBezTo>
                    <a:pt x="432" y="162"/>
                    <a:pt x="432" y="162"/>
                    <a:pt x="432" y="162"/>
                  </a:cubicBezTo>
                  <a:cubicBezTo>
                    <a:pt x="432" y="162"/>
                    <a:pt x="432" y="161"/>
                    <a:pt x="432" y="160"/>
                  </a:cubicBezTo>
                  <a:cubicBezTo>
                    <a:pt x="432" y="158"/>
                    <a:pt x="432" y="158"/>
                    <a:pt x="432" y="158"/>
                  </a:cubicBezTo>
                  <a:cubicBezTo>
                    <a:pt x="432" y="153"/>
                    <a:pt x="435" y="150"/>
                    <a:pt x="438" y="148"/>
                  </a:cubicBezTo>
                  <a:cubicBezTo>
                    <a:pt x="439" y="148"/>
                    <a:pt x="440" y="148"/>
                    <a:pt x="440" y="147"/>
                  </a:cubicBezTo>
                  <a:cubicBezTo>
                    <a:pt x="441" y="147"/>
                    <a:pt x="441" y="147"/>
                    <a:pt x="441" y="147"/>
                  </a:cubicBezTo>
                  <a:cubicBezTo>
                    <a:pt x="442" y="146"/>
                    <a:pt x="442" y="146"/>
                    <a:pt x="442" y="146"/>
                  </a:cubicBezTo>
                  <a:cubicBezTo>
                    <a:pt x="442" y="145"/>
                    <a:pt x="442" y="145"/>
                    <a:pt x="442" y="145"/>
                  </a:cubicBezTo>
                  <a:cubicBezTo>
                    <a:pt x="443" y="144"/>
                    <a:pt x="445" y="143"/>
                    <a:pt x="446" y="142"/>
                  </a:cubicBezTo>
                  <a:cubicBezTo>
                    <a:pt x="446" y="142"/>
                    <a:pt x="446" y="142"/>
                    <a:pt x="446" y="142"/>
                  </a:cubicBezTo>
                  <a:cubicBezTo>
                    <a:pt x="447" y="141"/>
                    <a:pt x="447" y="141"/>
                    <a:pt x="447" y="141"/>
                  </a:cubicBezTo>
                  <a:cubicBezTo>
                    <a:pt x="450" y="139"/>
                    <a:pt x="452" y="138"/>
                    <a:pt x="454" y="136"/>
                  </a:cubicBezTo>
                  <a:cubicBezTo>
                    <a:pt x="457" y="134"/>
                    <a:pt x="460" y="132"/>
                    <a:pt x="464" y="130"/>
                  </a:cubicBezTo>
                  <a:cubicBezTo>
                    <a:pt x="485" y="118"/>
                    <a:pt x="485" y="118"/>
                    <a:pt x="485" y="118"/>
                  </a:cubicBezTo>
                  <a:cubicBezTo>
                    <a:pt x="484" y="117"/>
                    <a:pt x="485" y="117"/>
                    <a:pt x="485" y="116"/>
                  </a:cubicBezTo>
                  <a:cubicBezTo>
                    <a:pt x="485" y="115"/>
                    <a:pt x="486" y="114"/>
                    <a:pt x="487" y="113"/>
                  </a:cubicBezTo>
                  <a:cubicBezTo>
                    <a:pt x="487" y="112"/>
                    <a:pt x="489" y="111"/>
                    <a:pt x="490" y="110"/>
                  </a:cubicBezTo>
                  <a:cubicBezTo>
                    <a:pt x="491" y="108"/>
                    <a:pt x="491" y="108"/>
                    <a:pt x="491" y="108"/>
                  </a:cubicBezTo>
                  <a:cubicBezTo>
                    <a:pt x="492" y="108"/>
                    <a:pt x="492" y="108"/>
                    <a:pt x="492" y="107"/>
                  </a:cubicBezTo>
                  <a:cubicBezTo>
                    <a:pt x="493" y="106"/>
                    <a:pt x="494" y="104"/>
                    <a:pt x="496" y="103"/>
                  </a:cubicBezTo>
                  <a:cubicBezTo>
                    <a:pt x="496" y="103"/>
                    <a:pt x="497" y="103"/>
                    <a:pt x="497" y="102"/>
                  </a:cubicBezTo>
                  <a:cubicBezTo>
                    <a:pt x="498" y="102"/>
                    <a:pt x="499" y="102"/>
                    <a:pt x="500" y="102"/>
                  </a:cubicBezTo>
                  <a:cubicBezTo>
                    <a:pt x="501" y="102"/>
                    <a:pt x="502" y="102"/>
                    <a:pt x="502" y="102"/>
                  </a:cubicBezTo>
                  <a:cubicBezTo>
                    <a:pt x="503" y="102"/>
                    <a:pt x="503" y="102"/>
                    <a:pt x="503" y="102"/>
                  </a:cubicBezTo>
                  <a:cubicBezTo>
                    <a:pt x="504" y="102"/>
                    <a:pt x="504" y="102"/>
                    <a:pt x="504" y="102"/>
                  </a:cubicBezTo>
                  <a:cubicBezTo>
                    <a:pt x="516" y="102"/>
                    <a:pt x="516" y="102"/>
                    <a:pt x="516" y="102"/>
                  </a:cubicBezTo>
                  <a:cubicBezTo>
                    <a:pt x="516" y="102"/>
                    <a:pt x="516" y="102"/>
                    <a:pt x="516" y="102"/>
                  </a:cubicBezTo>
                  <a:cubicBezTo>
                    <a:pt x="517" y="102"/>
                    <a:pt x="518" y="102"/>
                    <a:pt x="519" y="102"/>
                  </a:cubicBezTo>
                  <a:cubicBezTo>
                    <a:pt x="519" y="0"/>
                    <a:pt x="519" y="0"/>
                    <a:pt x="5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280"/>
            <p:cNvSpPr/>
            <p:nvPr/>
          </p:nvSpPr>
          <p:spPr bwMode="auto">
            <a:xfrm>
              <a:off x="7454" y="1136"/>
              <a:ext cx="224" cy="449"/>
            </a:xfrm>
            <a:custGeom>
              <a:gdLst>
                <a:gd name="T0" fmla="*/ 82 w 95"/>
                <a:gd name="T1" fmla="*/ 14 h 190"/>
                <a:gd name="T2" fmla="*/ 74 w 95"/>
                <a:gd name="T3" fmla="*/ 15 h 190"/>
                <a:gd name="T4" fmla="*/ 72 w 95"/>
                <a:gd name="T5" fmla="*/ 15 h 190"/>
                <a:gd name="T6" fmla="*/ 63 w 95"/>
                <a:gd name="T7" fmla="*/ 18 h 190"/>
                <a:gd name="T8" fmla="*/ 58 w 95"/>
                <a:gd name="T9" fmla="*/ 16 h 190"/>
                <a:gd name="T10" fmla="*/ 55 w 95"/>
                <a:gd name="T11" fmla="*/ 11 h 190"/>
                <a:gd name="T12" fmla="*/ 53 w 95"/>
                <a:gd name="T13" fmla="*/ 10 h 190"/>
                <a:gd name="T14" fmla="*/ 51 w 95"/>
                <a:gd name="T15" fmla="*/ 12 h 190"/>
                <a:gd name="T16" fmla="*/ 48 w 95"/>
                <a:gd name="T17" fmla="*/ 15 h 190"/>
                <a:gd name="T18" fmla="*/ 46 w 95"/>
                <a:gd name="T19" fmla="*/ 18 h 190"/>
                <a:gd name="T20" fmla="*/ 33 w 95"/>
                <a:gd name="T21" fmla="*/ 38 h 190"/>
                <a:gd name="T22" fmla="*/ 38 w 95"/>
                <a:gd name="T23" fmla="*/ 41 h 190"/>
                <a:gd name="T24" fmla="*/ 47 w 95"/>
                <a:gd name="T25" fmla="*/ 42 h 190"/>
                <a:gd name="T26" fmla="*/ 49 w 95"/>
                <a:gd name="T27" fmla="*/ 57 h 190"/>
                <a:gd name="T28" fmla="*/ 51 w 95"/>
                <a:gd name="T29" fmla="*/ 63 h 190"/>
                <a:gd name="T30" fmla="*/ 53 w 95"/>
                <a:gd name="T31" fmla="*/ 64 h 190"/>
                <a:gd name="T32" fmla="*/ 54 w 95"/>
                <a:gd name="T33" fmla="*/ 64 h 190"/>
                <a:gd name="T34" fmla="*/ 57 w 95"/>
                <a:gd name="T35" fmla="*/ 63 h 190"/>
                <a:gd name="T36" fmla="*/ 63 w 95"/>
                <a:gd name="T37" fmla="*/ 74 h 190"/>
                <a:gd name="T38" fmla="*/ 64 w 95"/>
                <a:gd name="T39" fmla="*/ 77 h 190"/>
                <a:gd name="T40" fmla="*/ 69 w 95"/>
                <a:gd name="T41" fmla="*/ 94 h 190"/>
                <a:gd name="T42" fmla="*/ 70 w 95"/>
                <a:gd name="T43" fmla="*/ 96 h 190"/>
                <a:gd name="T44" fmla="*/ 69 w 95"/>
                <a:gd name="T45" fmla="*/ 101 h 190"/>
                <a:gd name="T46" fmla="*/ 65 w 95"/>
                <a:gd name="T47" fmla="*/ 103 h 190"/>
                <a:gd name="T48" fmla="*/ 64 w 95"/>
                <a:gd name="T49" fmla="*/ 105 h 190"/>
                <a:gd name="T50" fmla="*/ 55 w 95"/>
                <a:gd name="T51" fmla="*/ 103 h 190"/>
                <a:gd name="T52" fmla="*/ 54 w 95"/>
                <a:gd name="T53" fmla="*/ 102 h 190"/>
                <a:gd name="T54" fmla="*/ 47 w 95"/>
                <a:gd name="T55" fmla="*/ 104 h 190"/>
                <a:gd name="T56" fmla="*/ 41 w 95"/>
                <a:gd name="T57" fmla="*/ 107 h 190"/>
                <a:gd name="T58" fmla="*/ 34 w 95"/>
                <a:gd name="T59" fmla="*/ 106 h 190"/>
                <a:gd name="T60" fmla="*/ 16 w 95"/>
                <a:gd name="T61" fmla="*/ 108 h 190"/>
                <a:gd name="T62" fmla="*/ 15 w 95"/>
                <a:gd name="T63" fmla="*/ 111 h 190"/>
                <a:gd name="T64" fmla="*/ 10 w 95"/>
                <a:gd name="T65" fmla="*/ 113 h 190"/>
                <a:gd name="T66" fmla="*/ 0 w 95"/>
                <a:gd name="T67" fmla="*/ 119 h 190"/>
                <a:gd name="T68" fmla="*/ 14 w 95"/>
                <a:gd name="T69" fmla="*/ 113 h 190"/>
                <a:gd name="T70" fmla="*/ 9 w 95"/>
                <a:gd name="T71" fmla="*/ 115 h 190"/>
                <a:gd name="T72" fmla="*/ 6 w 95"/>
                <a:gd name="T73" fmla="*/ 119 h 190"/>
                <a:gd name="T74" fmla="*/ 13 w 95"/>
                <a:gd name="T75" fmla="*/ 131 h 190"/>
                <a:gd name="T76" fmla="*/ 25 w 95"/>
                <a:gd name="T77" fmla="*/ 138 h 190"/>
                <a:gd name="T78" fmla="*/ 34 w 95"/>
                <a:gd name="T79" fmla="*/ 140 h 190"/>
                <a:gd name="T80" fmla="*/ 45 w 95"/>
                <a:gd name="T81" fmla="*/ 135 h 190"/>
                <a:gd name="T82" fmla="*/ 51 w 95"/>
                <a:gd name="T83" fmla="*/ 135 h 190"/>
                <a:gd name="T84" fmla="*/ 46 w 95"/>
                <a:gd name="T85" fmla="*/ 145 h 190"/>
                <a:gd name="T86" fmla="*/ 31 w 95"/>
                <a:gd name="T87" fmla="*/ 150 h 190"/>
                <a:gd name="T88" fmla="*/ 23 w 95"/>
                <a:gd name="T89" fmla="*/ 149 h 190"/>
                <a:gd name="T90" fmla="*/ 20 w 95"/>
                <a:gd name="T91" fmla="*/ 155 h 190"/>
                <a:gd name="T92" fmla="*/ 27 w 95"/>
                <a:gd name="T93" fmla="*/ 162 h 190"/>
                <a:gd name="T94" fmla="*/ 41 w 95"/>
                <a:gd name="T95" fmla="*/ 175 h 190"/>
                <a:gd name="T96" fmla="*/ 50 w 95"/>
                <a:gd name="T97" fmla="*/ 185 h 190"/>
                <a:gd name="T98" fmla="*/ 64 w 95"/>
                <a:gd name="T99" fmla="*/ 190 h 190"/>
                <a:gd name="T100" fmla="*/ 76 w 95"/>
                <a:gd name="T101" fmla="*/ 185 h 190"/>
                <a:gd name="T102" fmla="*/ 95 w 95"/>
                <a:gd name="T103" fmla="*/ 172 h 190"/>
                <a:gd name="T104" fmla="*/ 89 w 95"/>
                <a:gd name="T105" fmla="*/ 162 h 190"/>
                <a:gd name="T106" fmla="*/ 93 w 95"/>
                <a:gd name="T107" fmla="*/ 162 h 190"/>
                <a:gd name="T108" fmla="*/ 95 w 95"/>
                <a:gd name="T109" fmla="*/ 157 h 190"/>
                <a:gd name="T110" fmla="*/ 93 w 95"/>
                <a:gd name="T111" fmla="*/ 152 h 190"/>
                <a:gd name="T112" fmla="*/ 95 w 95"/>
                <a:gd name="T113" fmla="*/ 0 h 1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 h="190">
                  <a:moveTo>
                    <a:pt x="95" y="0"/>
                  </a:moveTo>
                  <a:cubicBezTo>
                    <a:pt x="85" y="13"/>
                    <a:pt x="85" y="13"/>
                    <a:pt x="85" y="13"/>
                  </a:cubicBezTo>
                  <a:cubicBezTo>
                    <a:pt x="84" y="13"/>
                    <a:pt x="83" y="14"/>
                    <a:pt x="82" y="14"/>
                  </a:cubicBezTo>
                  <a:cubicBezTo>
                    <a:pt x="81" y="14"/>
                    <a:pt x="79" y="15"/>
                    <a:pt x="76" y="15"/>
                  </a:cubicBezTo>
                  <a:cubicBezTo>
                    <a:pt x="76" y="15"/>
                    <a:pt x="76" y="15"/>
                    <a:pt x="76" y="15"/>
                  </a:cubicBezTo>
                  <a:cubicBezTo>
                    <a:pt x="75" y="15"/>
                    <a:pt x="75" y="15"/>
                    <a:pt x="74" y="15"/>
                  </a:cubicBezTo>
                  <a:cubicBezTo>
                    <a:pt x="74" y="15"/>
                    <a:pt x="73" y="15"/>
                    <a:pt x="73" y="15"/>
                  </a:cubicBezTo>
                  <a:cubicBezTo>
                    <a:pt x="72" y="16"/>
                    <a:pt x="72" y="16"/>
                    <a:pt x="72" y="16"/>
                  </a:cubicBezTo>
                  <a:cubicBezTo>
                    <a:pt x="72" y="15"/>
                    <a:pt x="72" y="15"/>
                    <a:pt x="72" y="15"/>
                  </a:cubicBezTo>
                  <a:cubicBezTo>
                    <a:pt x="70" y="16"/>
                    <a:pt x="68" y="16"/>
                    <a:pt x="67" y="17"/>
                  </a:cubicBezTo>
                  <a:cubicBezTo>
                    <a:pt x="66" y="18"/>
                    <a:pt x="66" y="18"/>
                    <a:pt x="66" y="18"/>
                  </a:cubicBezTo>
                  <a:cubicBezTo>
                    <a:pt x="65" y="18"/>
                    <a:pt x="64" y="18"/>
                    <a:pt x="63" y="18"/>
                  </a:cubicBezTo>
                  <a:cubicBezTo>
                    <a:pt x="61" y="18"/>
                    <a:pt x="60" y="18"/>
                    <a:pt x="59" y="17"/>
                  </a:cubicBezTo>
                  <a:cubicBezTo>
                    <a:pt x="59" y="17"/>
                    <a:pt x="59" y="17"/>
                    <a:pt x="59" y="17"/>
                  </a:cubicBezTo>
                  <a:cubicBezTo>
                    <a:pt x="58" y="16"/>
                    <a:pt x="58" y="16"/>
                    <a:pt x="58" y="16"/>
                  </a:cubicBezTo>
                  <a:cubicBezTo>
                    <a:pt x="57" y="15"/>
                    <a:pt x="56" y="14"/>
                    <a:pt x="56" y="13"/>
                  </a:cubicBezTo>
                  <a:cubicBezTo>
                    <a:pt x="56" y="12"/>
                    <a:pt x="55" y="12"/>
                    <a:pt x="55" y="11"/>
                  </a:cubicBezTo>
                  <a:cubicBezTo>
                    <a:pt x="55" y="11"/>
                    <a:pt x="55" y="11"/>
                    <a:pt x="55" y="11"/>
                  </a:cubicBezTo>
                  <a:cubicBezTo>
                    <a:pt x="54" y="11"/>
                    <a:pt x="54" y="11"/>
                    <a:pt x="54" y="11"/>
                  </a:cubicBezTo>
                  <a:cubicBezTo>
                    <a:pt x="54" y="10"/>
                    <a:pt x="54" y="10"/>
                    <a:pt x="54" y="10"/>
                  </a:cubicBezTo>
                  <a:cubicBezTo>
                    <a:pt x="53" y="10"/>
                    <a:pt x="53" y="10"/>
                    <a:pt x="53" y="10"/>
                  </a:cubicBezTo>
                  <a:cubicBezTo>
                    <a:pt x="53" y="11"/>
                    <a:pt x="53" y="11"/>
                    <a:pt x="53" y="11"/>
                  </a:cubicBezTo>
                  <a:cubicBezTo>
                    <a:pt x="52" y="11"/>
                    <a:pt x="52" y="11"/>
                    <a:pt x="52" y="11"/>
                  </a:cubicBezTo>
                  <a:cubicBezTo>
                    <a:pt x="51" y="12"/>
                    <a:pt x="51" y="12"/>
                    <a:pt x="51" y="12"/>
                  </a:cubicBezTo>
                  <a:cubicBezTo>
                    <a:pt x="51" y="12"/>
                    <a:pt x="51" y="12"/>
                    <a:pt x="51" y="12"/>
                  </a:cubicBezTo>
                  <a:cubicBezTo>
                    <a:pt x="50" y="13"/>
                    <a:pt x="50" y="13"/>
                    <a:pt x="50" y="13"/>
                  </a:cubicBezTo>
                  <a:cubicBezTo>
                    <a:pt x="48" y="15"/>
                    <a:pt x="48" y="15"/>
                    <a:pt x="48" y="15"/>
                  </a:cubicBezTo>
                  <a:cubicBezTo>
                    <a:pt x="48" y="15"/>
                    <a:pt x="48" y="15"/>
                    <a:pt x="48" y="15"/>
                  </a:cubicBezTo>
                  <a:cubicBezTo>
                    <a:pt x="47" y="16"/>
                    <a:pt x="47" y="16"/>
                    <a:pt x="47" y="16"/>
                  </a:cubicBezTo>
                  <a:cubicBezTo>
                    <a:pt x="47" y="17"/>
                    <a:pt x="46" y="17"/>
                    <a:pt x="46" y="18"/>
                  </a:cubicBezTo>
                  <a:cubicBezTo>
                    <a:pt x="45" y="19"/>
                    <a:pt x="43" y="21"/>
                    <a:pt x="42" y="22"/>
                  </a:cubicBezTo>
                  <a:cubicBezTo>
                    <a:pt x="40" y="25"/>
                    <a:pt x="37" y="28"/>
                    <a:pt x="35" y="31"/>
                  </a:cubicBezTo>
                  <a:cubicBezTo>
                    <a:pt x="33" y="34"/>
                    <a:pt x="33" y="36"/>
                    <a:pt x="33" y="38"/>
                  </a:cubicBezTo>
                  <a:cubicBezTo>
                    <a:pt x="33" y="38"/>
                    <a:pt x="33" y="38"/>
                    <a:pt x="33" y="38"/>
                  </a:cubicBezTo>
                  <a:cubicBezTo>
                    <a:pt x="34" y="39"/>
                    <a:pt x="35" y="40"/>
                    <a:pt x="37" y="40"/>
                  </a:cubicBezTo>
                  <a:cubicBezTo>
                    <a:pt x="38" y="41"/>
                    <a:pt x="38" y="41"/>
                    <a:pt x="38" y="41"/>
                  </a:cubicBezTo>
                  <a:cubicBezTo>
                    <a:pt x="39" y="41"/>
                    <a:pt x="41" y="41"/>
                    <a:pt x="42" y="41"/>
                  </a:cubicBezTo>
                  <a:cubicBezTo>
                    <a:pt x="43" y="41"/>
                    <a:pt x="43" y="41"/>
                    <a:pt x="44" y="41"/>
                  </a:cubicBezTo>
                  <a:cubicBezTo>
                    <a:pt x="45" y="41"/>
                    <a:pt x="46" y="42"/>
                    <a:pt x="47" y="42"/>
                  </a:cubicBezTo>
                  <a:cubicBezTo>
                    <a:pt x="48" y="43"/>
                    <a:pt x="49" y="45"/>
                    <a:pt x="49" y="46"/>
                  </a:cubicBezTo>
                  <a:cubicBezTo>
                    <a:pt x="49" y="48"/>
                    <a:pt x="49" y="50"/>
                    <a:pt x="49" y="52"/>
                  </a:cubicBezTo>
                  <a:cubicBezTo>
                    <a:pt x="49" y="54"/>
                    <a:pt x="48" y="55"/>
                    <a:pt x="49" y="57"/>
                  </a:cubicBezTo>
                  <a:cubicBezTo>
                    <a:pt x="49" y="57"/>
                    <a:pt x="49" y="58"/>
                    <a:pt x="49" y="58"/>
                  </a:cubicBezTo>
                  <a:cubicBezTo>
                    <a:pt x="49" y="59"/>
                    <a:pt x="49" y="59"/>
                    <a:pt x="49" y="59"/>
                  </a:cubicBezTo>
                  <a:cubicBezTo>
                    <a:pt x="50" y="61"/>
                    <a:pt x="50" y="63"/>
                    <a:pt x="51" y="63"/>
                  </a:cubicBezTo>
                  <a:cubicBezTo>
                    <a:pt x="52" y="64"/>
                    <a:pt x="52" y="64"/>
                    <a:pt x="52" y="64"/>
                  </a:cubicBezTo>
                  <a:cubicBezTo>
                    <a:pt x="52" y="64"/>
                    <a:pt x="52" y="64"/>
                    <a:pt x="53" y="64"/>
                  </a:cubicBezTo>
                  <a:cubicBezTo>
                    <a:pt x="53" y="64"/>
                    <a:pt x="53" y="64"/>
                    <a:pt x="53" y="64"/>
                  </a:cubicBezTo>
                  <a:cubicBezTo>
                    <a:pt x="54" y="64"/>
                    <a:pt x="54" y="64"/>
                    <a:pt x="54" y="64"/>
                  </a:cubicBezTo>
                  <a:cubicBezTo>
                    <a:pt x="54" y="64"/>
                    <a:pt x="54" y="64"/>
                    <a:pt x="54" y="64"/>
                  </a:cubicBezTo>
                  <a:cubicBezTo>
                    <a:pt x="54" y="64"/>
                    <a:pt x="54" y="64"/>
                    <a:pt x="54" y="64"/>
                  </a:cubicBezTo>
                  <a:cubicBezTo>
                    <a:pt x="55" y="63"/>
                    <a:pt x="55" y="63"/>
                    <a:pt x="55" y="63"/>
                  </a:cubicBezTo>
                  <a:cubicBezTo>
                    <a:pt x="56" y="63"/>
                    <a:pt x="56" y="63"/>
                    <a:pt x="57" y="63"/>
                  </a:cubicBezTo>
                  <a:cubicBezTo>
                    <a:pt x="57" y="63"/>
                    <a:pt x="57" y="63"/>
                    <a:pt x="57" y="63"/>
                  </a:cubicBezTo>
                  <a:cubicBezTo>
                    <a:pt x="59" y="64"/>
                    <a:pt x="60" y="65"/>
                    <a:pt x="61" y="67"/>
                  </a:cubicBezTo>
                  <a:cubicBezTo>
                    <a:pt x="61" y="68"/>
                    <a:pt x="62" y="69"/>
                    <a:pt x="62" y="70"/>
                  </a:cubicBezTo>
                  <a:cubicBezTo>
                    <a:pt x="62" y="71"/>
                    <a:pt x="62" y="73"/>
                    <a:pt x="63" y="74"/>
                  </a:cubicBezTo>
                  <a:cubicBezTo>
                    <a:pt x="63" y="75"/>
                    <a:pt x="63" y="75"/>
                    <a:pt x="64" y="76"/>
                  </a:cubicBezTo>
                  <a:cubicBezTo>
                    <a:pt x="64" y="77"/>
                    <a:pt x="64" y="77"/>
                    <a:pt x="64" y="77"/>
                  </a:cubicBezTo>
                  <a:cubicBezTo>
                    <a:pt x="64" y="77"/>
                    <a:pt x="64" y="77"/>
                    <a:pt x="64" y="77"/>
                  </a:cubicBezTo>
                  <a:cubicBezTo>
                    <a:pt x="69" y="88"/>
                    <a:pt x="69" y="88"/>
                    <a:pt x="69" y="88"/>
                  </a:cubicBezTo>
                  <a:cubicBezTo>
                    <a:pt x="70" y="89"/>
                    <a:pt x="70" y="90"/>
                    <a:pt x="70" y="92"/>
                  </a:cubicBezTo>
                  <a:cubicBezTo>
                    <a:pt x="70" y="93"/>
                    <a:pt x="69" y="94"/>
                    <a:pt x="69" y="94"/>
                  </a:cubicBezTo>
                  <a:cubicBezTo>
                    <a:pt x="69" y="95"/>
                    <a:pt x="69" y="95"/>
                    <a:pt x="69" y="95"/>
                  </a:cubicBezTo>
                  <a:cubicBezTo>
                    <a:pt x="69" y="96"/>
                    <a:pt x="69" y="96"/>
                    <a:pt x="69" y="96"/>
                  </a:cubicBezTo>
                  <a:cubicBezTo>
                    <a:pt x="70" y="96"/>
                    <a:pt x="70" y="96"/>
                    <a:pt x="70" y="96"/>
                  </a:cubicBezTo>
                  <a:cubicBezTo>
                    <a:pt x="71" y="97"/>
                    <a:pt x="71" y="97"/>
                    <a:pt x="71" y="97"/>
                  </a:cubicBezTo>
                  <a:cubicBezTo>
                    <a:pt x="71" y="98"/>
                    <a:pt x="71" y="98"/>
                    <a:pt x="71" y="98"/>
                  </a:cubicBezTo>
                  <a:cubicBezTo>
                    <a:pt x="71" y="100"/>
                    <a:pt x="69" y="101"/>
                    <a:pt x="69" y="101"/>
                  </a:cubicBezTo>
                  <a:cubicBezTo>
                    <a:pt x="68" y="102"/>
                    <a:pt x="67" y="102"/>
                    <a:pt x="67" y="103"/>
                  </a:cubicBezTo>
                  <a:cubicBezTo>
                    <a:pt x="66" y="103"/>
                    <a:pt x="66" y="103"/>
                    <a:pt x="65" y="103"/>
                  </a:cubicBezTo>
                  <a:cubicBezTo>
                    <a:pt x="65" y="103"/>
                    <a:pt x="65" y="103"/>
                    <a:pt x="65" y="103"/>
                  </a:cubicBezTo>
                  <a:cubicBezTo>
                    <a:pt x="65" y="103"/>
                    <a:pt x="65" y="103"/>
                    <a:pt x="65" y="103"/>
                  </a:cubicBezTo>
                  <a:cubicBezTo>
                    <a:pt x="65" y="104"/>
                    <a:pt x="65" y="104"/>
                    <a:pt x="65" y="104"/>
                  </a:cubicBezTo>
                  <a:cubicBezTo>
                    <a:pt x="64" y="105"/>
                    <a:pt x="64" y="105"/>
                    <a:pt x="64" y="105"/>
                  </a:cubicBezTo>
                  <a:cubicBezTo>
                    <a:pt x="63" y="105"/>
                    <a:pt x="62" y="105"/>
                    <a:pt x="61" y="105"/>
                  </a:cubicBezTo>
                  <a:cubicBezTo>
                    <a:pt x="60" y="105"/>
                    <a:pt x="60" y="105"/>
                    <a:pt x="60" y="105"/>
                  </a:cubicBezTo>
                  <a:cubicBezTo>
                    <a:pt x="58" y="105"/>
                    <a:pt x="57" y="104"/>
                    <a:pt x="55" y="103"/>
                  </a:cubicBezTo>
                  <a:cubicBezTo>
                    <a:pt x="55" y="103"/>
                    <a:pt x="55" y="103"/>
                    <a:pt x="54" y="102"/>
                  </a:cubicBezTo>
                  <a:cubicBezTo>
                    <a:pt x="54" y="102"/>
                    <a:pt x="54" y="102"/>
                    <a:pt x="54" y="102"/>
                  </a:cubicBezTo>
                  <a:cubicBezTo>
                    <a:pt x="54" y="102"/>
                    <a:pt x="54" y="102"/>
                    <a:pt x="54" y="102"/>
                  </a:cubicBezTo>
                  <a:cubicBezTo>
                    <a:pt x="52" y="102"/>
                    <a:pt x="52" y="102"/>
                    <a:pt x="52" y="102"/>
                  </a:cubicBezTo>
                  <a:cubicBezTo>
                    <a:pt x="50" y="103"/>
                    <a:pt x="48" y="103"/>
                    <a:pt x="47" y="104"/>
                  </a:cubicBezTo>
                  <a:cubicBezTo>
                    <a:pt x="47" y="104"/>
                    <a:pt x="47" y="104"/>
                    <a:pt x="47" y="104"/>
                  </a:cubicBezTo>
                  <a:cubicBezTo>
                    <a:pt x="46" y="106"/>
                    <a:pt x="46" y="106"/>
                    <a:pt x="46" y="106"/>
                  </a:cubicBezTo>
                  <a:cubicBezTo>
                    <a:pt x="45" y="107"/>
                    <a:pt x="45" y="107"/>
                    <a:pt x="45" y="107"/>
                  </a:cubicBezTo>
                  <a:cubicBezTo>
                    <a:pt x="44" y="107"/>
                    <a:pt x="42" y="107"/>
                    <a:pt x="41" y="107"/>
                  </a:cubicBezTo>
                  <a:cubicBezTo>
                    <a:pt x="41" y="107"/>
                    <a:pt x="40" y="107"/>
                    <a:pt x="40" y="107"/>
                  </a:cubicBezTo>
                  <a:cubicBezTo>
                    <a:pt x="38" y="107"/>
                    <a:pt x="37" y="107"/>
                    <a:pt x="36" y="107"/>
                  </a:cubicBezTo>
                  <a:cubicBezTo>
                    <a:pt x="36" y="107"/>
                    <a:pt x="35" y="107"/>
                    <a:pt x="34" y="106"/>
                  </a:cubicBezTo>
                  <a:cubicBezTo>
                    <a:pt x="27" y="106"/>
                    <a:pt x="27" y="106"/>
                    <a:pt x="27" y="106"/>
                  </a:cubicBezTo>
                  <a:cubicBezTo>
                    <a:pt x="23" y="105"/>
                    <a:pt x="20" y="105"/>
                    <a:pt x="16" y="104"/>
                  </a:cubicBezTo>
                  <a:cubicBezTo>
                    <a:pt x="16" y="106"/>
                    <a:pt x="16" y="107"/>
                    <a:pt x="16" y="108"/>
                  </a:cubicBezTo>
                  <a:cubicBezTo>
                    <a:pt x="16" y="109"/>
                    <a:pt x="16" y="109"/>
                    <a:pt x="16" y="109"/>
                  </a:cubicBezTo>
                  <a:cubicBezTo>
                    <a:pt x="16" y="109"/>
                    <a:pt x="15" y="110"/>
                    <a:pt x="15" y="110"/>
                  </a:cubicBezTo>
                  <a:cubicBezTo>
                    <a:pt x="15" y="111"/>
                    <a:pt x="15" y="111"/>
                    <a:pt x="15" y="111"/>
                  </a:cubicBezTo>
                  <a:cubicBezTo>
                    <a:pt x="14" y="112"/>
                    <a:pt x="13" y="112"/>
                    <a:pt x="13" y="112"/>
                  </a:cubicBezTo>
                  <a:cubicBezTo>
                    <a:pt x="12" y="113"/>
                    <a:pt x="11" y="113"/>
                    <a:pt x="10" y="113"/>
                  </a:cubicBezTo>
                  <a:cubicBezTo>
                    <a:pt x="10" y="113"/>
                    <a:pt x="10" y="113"/>
                    <a:pt x="10" y="113"/>
                  </a:cubicBezTo>
                  <a:cubicBezTo>
                    <a:pt x="10" y="113"/>
                    <a:pt x="9" y="113"/>
                    <a:pt x="9" y="112"/>
                  </a:cubicBezTo>
                  <a:cubicBezTo>
                    <a:pt x="8" y="112"/>
                    <a:pt x="8" y="112"/>
                    <a:pt x="8" y="112"/>
                  </a:cubicBezTo>
                  <a:cubicBezTo>
                    <a:pt x="0" y="119"/>
                    <a:pt x="0" y="119"/>
                    <a:pt x="0" y="119"/>
                  </a:cubicBezTo>
                  <a:cubicBezTo>
                    <a:pt x="0" y="119"/>
                    <a:pt x="0" y="119"/>
                    <a:pt x="1" y="119"/>
                  </a:cubicBezTo>
                  <a:cubicBezTo>
                    <a:pt x="2" y="119"/>
                    <a:pt x="3" y="119"/>
                    <a:pt x="4" y="118"/>
                  </a:cubicBezTo>
                  <a:cubicBezTo>
                    <a:pt x="7" y="116"/>
                    <a:pt x="10" y="114"/>
                    <a:pt x="14" y="113"/>
                  </a:cubicBezTo>
                  <a:cubicBezTo>
                    <a:pt x="14" y="112"/>
                    <a:pt x="14" y="112"/>
                    <a:pt x="14" y="112"/>
                  </a:cubicBezTo>
                  <a:cubicBezTo>
                    <a:pt x="13" y="113"/>
                    <a:pt x="13" y="113"/>
                    <a:pt x="13" y="113"/>
                  </a:cubicBezTo>
                  <a:cubicBezTo>
                    <a:pt x="12" y="114"/>
                    <a:pt x="11" y="114"/>
                    <a:pt x="9" y="115"/>
                  </a:cubicBezTo>
                  <a:cubicBezTo>
                    <a:pt x="8" y="116"/>
                    <a:pt x="7" y="118"/>
                    <a:pt x="6" y="118"/>
                  </a:cubicBezTo>
                  <a:cubicBezTo>
                    <a:pt x="6" y="118"/>
                    <a:pt x="6" y="118"/>
                    <a:pt x="6" y="118"/>
                  </a:cubicBezTo>
                  <a:cubicBezTo>
                    <a:pt x="6" y="119"/>
                    <a:pt x="6" y="119"/>
                    <a:pt x="6" y="119"/>
                  </a:cubicBezTo>
                  <a:cubicBezTo>
                    <a:pt x="6" y="119"/>
                    <a:pt x="6" y="119"/>
                    <a:pt x="6" y="120"/>
                  </a:cubicBezTo>
                  <a:cubicBezTo>
                    <a:pt x="7" y="122"/>
                    <a:pt x="8" y="124"/>
                    <a:pt x="9" y="126"/>
                  </a:cubicBezTo>
                  <a:cubicBezTo>
                    <a:pt x="10" y="128"/>
                    <a:pt x="11" y="130"/>
                    <a:pt x="13" y="131"/>
                  </a:cubicBezTo>
                  <a:cubicBezTo>
                    <a:pt x="14" y="132"/>
                    <a:pt x="14" y="132"/>
                    <a:pt x="15" y="133"/>
                  </a:cubicBezTo>
                  <a:cubicBezTo>
                    <a:pt x="16" y="134"/>
                    <a:pt x="17" y="134"/>
                    <a:pt x="19" y="135"/>
                  </a:cubicBezTo>
                  <a:cubicBezTo>
                    <a:pt x="21" y="136"/>
                    <a:pt x="23" y="137"/>
                    <a:pt x="25" y="138"/>
                  </a:cubicBezTo>
                  <a:cubicBezTo>
                    <a:pt x="26" y="138"/>
                    <a:pt x="26" y="138"/>
                    <a:pt x="27" y="138"/>
                  </a:cubicBezTo>
                  <a:cubicBezTo>
                    <a:pt x="28" y="139"/>
                    <a:pt x="30" y="139"/>
                    <a:pt x="32" y="140"/>
                  </a:cubicBezTo>
                  <a:cubicBezTo>
                    <a:pt x="33" y="140"/>
                    <a:pt x="34" y="140"/>
                    <a:pt x="34" y="140"/>
                  </a:cubicBezTo>
                  <a:cubicBezTo>
                    <a:pt x="35" y="140"/>
                    <a:pt x="35" y="140"/>
                    <a:pt x="35" y="140"/>
                  </a:cubicBezTo>
                  <a:cubicBezTo>
                    <a:pt x="37" y="140"/>
                    <a:pt x="38" y="138"/>
                    <a:pt x="40" y="137"/>
                  </a:cubicBezTo>
                  <a:cubicBezTo>
                    <a:pt x="42" y="137"/>
                    <a:pt x="46" y="136"/>
                    <a:pt x="45" y="135"/>
                  </a:cubicBezTo>
                  <a:cubicBezTo>
                    <a:pt x="46" y="135"/>
                    <a:pt x="46" y="135"/>
                    <a:pt x="46" y="135"/>
                  </a:cubicBezTo>
                  <a:cubicBezTo>
                    <a:pt x="47" y="135"/>
                    <a:pt x="49" y="136"/>
                    <a:pt x="50" y="136"/>
                  </a:cubicBezTo>
                  <a:cubicBezTo>
                    <a:pt x="50" y="136"/>
                    <a:pt x="51" y="136"/>
                    <a:pt x="51" y="135"/>
                  </a:cubicBezTo>
                  <a:cubicBezTo>
                    <a:pt x="52" y="135"/>
                    <a:pt x="52" y="132"/>
                    <a:pt x="54" y="131"/>
                  </a:cubicBezTo>
                  <a:cubicBezTo>
                    <a:pt x="52" y="133"/>
                    <a:pt x="51" y="137"/>
                    <a:pt x="49" y="141"/>
                  </a:cubicBezTo>
                  <a:cubicBezTo>
                    <a:pt x="48" y="143"/>
                    <a:pt x="47" y="144"/>
                    <a:pt x="46" y="145"/>
                  </a:cubicBezTo>
                  <a:cubicBezTo>
                    <a:pt x="45" y="145"/>
                    <a:pt x="44" y="146"/>
                    <a:pt x="44" y="146"/>
                  </a:cubicBezTo>
                  <a:cubicBezTo>
                    <a:pt x="40" y="148"/>
                    <a:pt x="35" y="149"/>
                    <a:pt x="32" y="150"/>
                  </a:cubicBezTo>
                  <a:cubicBezTo>
                    <a:pt x="32" y="150"/>
                    <a:pt x="31" y="150"/>
                    <a:pt x="31" y="150"/>
                  </a:cubicBezTo>
                  <a:cubicBezTo>
                    <a:pt x="29" y="150"/>
                    <a:pt x="26" y="151"/>
                    <a:pt x="24" y="151"/>
                  </a:cubicBezTo>
                  <a:cubicBezTo>
                    <a:pt x="22" y="151"/>
                    <a:pt x="22" y="151"/>
                    <a:pt x="23" y="149"/>
                  </a:cubicBezTo>
                  <a:cubicBezTo>
                    <a:pt x="23" y="149"/>
                    <a:pt x="23" y="149"/>
                    <a:pt x="23" y="149"/>
                  </a:cubicBezTo>
                  <a:cubicBezTo>
                    <a:pt x="22" y="148"/>
                    <a:pt x="21" y="148"/>
                    <a:pt x="20" y="148"/>
                  </a:cubicBezTo>
                  <a:cubicBezTo>
                    <a:pt x="18" y="148"/>
                    <a:pt x="17" y="150"/>
                    <a:pt x="19" y="153"/>
                  </a:cubicBezTo>
                  <a:cubicBezTo>
                    <a:pt x="19" y="154"/>
                    <a:pt x="19" y="154"/>
                    <a:pt x="20" y="155"/>
                  </a:cubicBezTo>
                  <a:cubicBezTo>
                    <a:pt x="21" y="156"/>
                    <a:pt x="22" y="157"/>
                    <a:pt x="23" y="158"/>
                  </a:cubicBezTo>
                  <a:cubicBezTo>
                    <a:pt x="24" y="159"/>
                    <a:pt x="25" y="160"/>
                    <a:pt x="26" y="161"/>
                  </a:cubicBezTo>
                  <a:cubicBezTo>
                    <a:pt x="26" y="162"/>
                    <a:pt x="27" y="162"/>
                    <a:pt x="27" y="162"/>
                  </a:cubicBezTo>
                  <a:cubicBezTo>
                    <a:pt x="29" y="164"/>
                    <a:pt x="31" y="165"/>
                    <a:pt x="32" y="167"/>
                  </a:cubicBezTo>
                  <a:cubicBezTo>
                    <a:pt x="34" y="168"/>
                    <a:pt x="35" y="170"/>
                    <a:pt x="37" y="171"/>
                  </a:cubicBezTo>
                  <a:cubicBezTo>
                    <a:pt x="38" y="173"/>
                    <a:pt x="39" y="174"/>
                    <a:pt x="41" y="175"/>
                  </a:cubicBezTo>
                  <a:cubicBezTo>
                    <a:pt x="41" y="176"/>
                    <a:pt x="41" y="176"/>
                    <a:pt x="41" y="176"/>
                  </a:cubicBezTo>
                  <a:cubicBezTo>
                    <a:pt x="43" y="177"/>
                    <a:pt x="44" y="179"/>
                    <a:pt x="46" y="181"/>
                  </a:cubicBezTo>
                  <a:cubicBezTo>
                    <a:pt x="47" y="182"/>
                    <a:pt x="49" y="184"/>
                    <a:pt x="50" y="185"/>
                  </a:cubicBezTo>
                  <a:cubicBezTo>
                    <a:pt x="52" y="187"/>
                    <a:pt x="54" y="188"/>
                    <a:pt x="55" y="188"/>
                  </a:cubicBezTo>
                  <a:cubicBezTo>
                    <a:pt x="55" y="188"/>
                    <a:pt x="56" y="188"/>
                    <a:pt x="56" y="188"/>
                  </a:cubicBezTo>
                  <a:cubicBezTo>
                    <a:pt x="58" y="189"/>
                    <a:pt x="62" y="190"/>
                    <a:pt x="64" y="190"/>
                  </a:cubicBezTo>
                  <a:cubicBezTo>
                    <a:pt x="64" y="190"/>
                    <a:pt x="64" y="190"/>
                    <a:pt x="65" y="190"/>
                  </a:cubicBezTo>
                  <a:cubicBezTo>
                    <a:pt x="65" y="190"/>
                    <a:pt x="65" y="190"/>
                    <a:pt x="65" y="190"/>
                  </a:cubicBezTo>
                  <a:cubicBezTo>
                    <a:pt x="69" y="188"/>
                    <a:pt x="73" y="187"/>
                    <a:pt x="76" y="185"/>
                  </a:cubicBezTo>
                  <a:cubicBezTo>
                    <a:pt x="77" y="185"/>
                    <a:pt x="77" y="185"/>
                    <a:pt x="78" y="185"/>
                  </a:cubicBezTo>
                  <a:cubicBezTo>
                    <a:pt x="83" y="183"/>
                    <a:pt x="89" y="181"/>
                    <a:pt x="92" y="178"/>
                  </a:cubicBezTo>
                  <a:cubicBezTo>
                    <a:pt x="93" y="176"/>
                    <a:pt x="94" y="174"/>
                    <a:pt x="95" y="172"/>
                  </a:cubicBezTo>
                  <a:cubicBezTo>
                    <a:pt x="95" y="165"/>
                    <a:pt x="95" y="165"/>
                    <a:pt x="95" y="165"/>
                  </a:cubicBezTo>
                  <a:cubicBezTo>
                    <a:pt x="93" y="164"/>
                    <a:pt x="92" y="164"/>
                    <a:pt x="91" y="163"/>
                  </a:cubicBezTo>
                  <a:cubicBezTo>
                    <a:pt x="90" y="163"/>
                    <a:pt x="90" y="163"/>
                    <a:pt x="89" y="162"/>
                  </a:cubicBezTo>
                  <a:cubicBezTo>
                    <a:pt x="90" y="161"/>
                    <a:pt x="91" y="161"/>
                    <a:pt x="91" y="161"/>
                  </a:cubicBezTo>
                  <a:cubicBezTo>
                    <a:pt x="92" y="161"/>
                    <a:pt x="92" y="161"/>
                    <a:pt x="92" y="161"/>
                  </a:cubicBezTo>
                  <a:cubicBezTo>
                    <a:pt x="93" y="162"/>
                    <a:pt x="93" y="162"/>
                    <a:pt x="93" y="162"/>
                  </a:cubicBezTo>
                  <a:cubicBezTo>
                    <a:pt x="93" y="162"/>
                    <a:pt x="93" y="161"/>
                    <a:pt x="93" y="161"/>
                  </a:cubicBezTo>
                  <a:cubicBezTo>
                    <a:pt x="92" y="161"/>
                    <a:pt x="92" y="160"/>
                    <a:pt x="91" y="159"/>
                  </a:cubicBezTo>
                  <a:cubicBezTo>
                    <a:pt x="92" y="159"/>
                    <a:pt x="93" y="158"/>
                    <a:pt x="95" y="157"/>
                  </a:cubicBezTo>
                  <a:cubicBezTo>
                    <a:pt x="95" y="152"/>
                    <a:pt x="95" y="152"/>
                    <a:pt x="95" y="152"/>
                  </a:cubicBezTo>
                  <a:cubicBezTo>
                    <a:pt x="94" y="152"/>
                    <a:pt x="94" y="152"/>
                    <a:pt x="93" y="152"/>
                  </a:cubicBezTo>
                  <a:cubicBezTo>
                    <a:pt x="93" y="152"/>
                    <a:pt x="93" y="152"/>
                    <a:pt x="93" y="152"/>
                  </a:cubicBezTo>
                  <a:cubicBezTo>
                    <a:pt x="93" y="152"/>
                    <a:pt x="93" y="152"/>
                    <a:pt x="93" y="152"/>
                  </a:cubicBezTo>
                  <a:cubicBezTo>
                    <a:pt x="94" y="152"/>
                    <a:pt x="94" y="152"/>
                    <a:pt x="95" y="152"/>
                  </a:cubicBezTo>
                  <a:cubicBezTo>
                    <a:pt x="95" y="0"/>
                    <a:pt x="95" y="0"/>
                    <a:pt x="9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281"/>
            <p:cNvSpPr>
              <a:spLocks noChangeArrowheads="1"/>
            </p:cNvSpPr>
            <p:nvPr/>
          </p:nvSpPr>
          <p:spPr bwMode="auto">
            <a:xfrm>
              <a:off x="7451" y="141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282"/>
            <p:cNvSpPr/>
            <p:nvPr/>
          </p:nvSpPr>
          <p:spPr bwMode="auto">
            <a:xfrm flipH="1">
              <a:off x="7451" y="141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283"/>
            <p:cNvSpPr>
              <a:spLocks noChangeArrowheads="1"/>
            </p:cNvSpPr>
            <p:nvPr/>
          </p:nvSpPr>
          <p:spPr bwMode="auto">
            <a:xfrm>
              <a:off x="7489" y="93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284"/>
            <p:cNvSpPr/>
            <p:nvPr/>
          </p:nvSpPr>
          <p:spPr bwMode="auto">
            <a:xfrm flipH="1">
              <a:off x="7489" y="93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285"/>
            <p:cNvSpPr>
              <a:spLocks noEditPoints="1"/>
            </p:cNvSpPr>
            <p:nvPr/>
          </p:nvSpPr>
          <p:spPr bwMode="auto">
            <a:xfrm>
              <a:off x="7062" y="630"/>
              <a:ext cx="616" cy="780"/>
            </a:xfrm>
            <a:custGeom>
              <a:gdLst>
                <a:gd name="T0" fmla="*/ 254 w 261"/>
                <a:gd name="T1" fmla="*/ 4 h 330"/>
                <a:gd name="T2" fmla="*/ 244 w 261"/>
                <a:gd name="T3" fmla="*/ 17 h 330"/>
                <a:gd name="T4" fmla="*/ 247 w 261"/>
                <a:gd name="T5" fmla="*/ 23 h 330"/>
                <a:gd name="T6" fmla="*/ 250 w 261"/>
                <a:gd name="T7" fmla="*/ 35 h 330"/>
                <a:gd name="T8" fmla="*/ 241 w 261"/>
                <a:gd name="T9" fmla="*/ 45 h 330"/>
                <a:gd name="T10" fmla="*/ 236 w 261"/>
                <a:gd name="T11" fmla="*/ 55 h 330"/>
                <a:gd name="T12" fmla="*/ 236 w 261"/>
                <a:gd name="T13" fmla="*/ 64 h 330"/>
                <a:gd name="T14" fmla="*/ 209 w 261"/>
                <a:gd name="T15" fmla="*/ 69 h 330"/>
                <a:gd name="T16" fmla="*/ 216 w 261"/>
                <a:gd name="T17" fmla="*/ 88 h 330"/>
                <a:gd name="T18" fmla="*/ 204 w 261"/>
                <a:gd name="T19" fmla="*/ 94 h 330"/>
                <a:gd name="T20" fmla="*/ 200 w 261"/>
                <a:gd name="T21" fmla="*/ 93 h 330"/>
                <a:gd name="T22" fmla="*/ 198 w 261"/>
                <a:gd name="T23" fmla="*/ 103 h 330"/>
                <a:gd name="T24" fmla="*/ 193 w 261"/>
                <a:gd name="T25" fmla="*/ 124 h 330"/>
                <a:gd name="T26" fmla="*/ 181 w 261"/>
                <a:gd name="T27" fmla="*/ 131 h 330"/>
                <a:gd name="T28" fmla="*/ 174 w 261"/>
                <a:gd name="T29" fmla="*/ 127 h 330"/>
                <a:gd name="T30" fmla="*/ 167 w 261"/>
                <a:gd name="T31" fmla="*/ 128 h 330"/>
                <a:gd name="T32" fmla="*/ 158 w 261"/>
                <a:gd name="T33" fmla="*/ 138 h 330"/>
                <a:gd name="T34" fmla="*/ 138 w 261"/>
                <a:gd name="T35" fmla="*/ 140 h 330"/>
                <a:gd name="T36" fmla="*/ 131 w 261"/>
                <a:gd name="T37" fmla="*/ 145 h 330"/>
                <a:gd name="T38" fmla="*/ 124 w 261"/>
                <a:gd name="T39" fmla="*/ 160 h 330"/>
                <a:gd name="T40" fmla="*/ 123 w 261"/>
                <a:gd name="T41" fmla="*/ 176 h 330"/>
                <a:gd name="T42" fmla="*/ 88 w 261"/>
                <a:gd name="T43" fmla="*/ 183 h 330"/>
                <a:gd name="T44" fmla="*/ 72 w 261"/>
                <a:gd name="T45" fmla="*/ 188 h 330"/>
                <a:gd name="T46" fmla="*/ 65 w 261"/>
                <a:gd name="T47" fmla="*/ 189 h 330"/>
                <a:gd name="T48" fmla="*/ 47 w 261"/>
                <a:gd name="T49" fmla="*/ 188 h 330"/>
                <a:gd name="T50" fmla="*/ 37 w 261"/>
                <a:gd name="T51" fmla="*/ 189 h 330"/>
                <a:gd name="T52" fmla="*/ 5 w 261"/>
                <a:gd name="T53" fmla="*/ 186 h 330"/>
                <a:gd name="T54" fmla="*/ 29 w 261"/>
                <a:gd name="T55" fmla="*/ 210 h 330"/>
                <a:gd name="T56" fmla="*/ 41 w 261"/>
                <a:gd name="T57" fmla="*/ 224 h 330"/>
                <a:gd name="T58" fmla="*/ 41 w 261"/>
                <a:gd name="T59" fmla="*/ 239 h 330"/>
                <a:gd name="T60" fmla="*/ 51 w 261"/>
                <a:gd name="T61" fmla="*/ 254 h 330"/>
                <a:gd name="T62" fmla="*/ 30 w 261"/>
                <a:gd name="T63" fmla="*/ 262 h 330"/>
                <a:gd name="T64" fmla="*/ 19 w 261"/>
                <a:gd name="T65" fmla="*/ 272 h 330"/>
                <a:gd name="T66" fmla="*/ 15 w 261"/>
                <a:gd name="T67" fmla="*/ 297 h 330"/>
                <a:gd name="T68" fmla="*/ 39 w 261"/>
                <a:gd name="T69" fmla="*/ 292 h 330"/>
                <a:gd name="T70" fmla="*/ 70 w 261"/>
                <a:gd name="T71" fmla="*/ 287 h 330"/>
                <a:gd name="T72" fmla="*/ 84 w 261"/>
                <a:gd name="T73" fmla="*/ 293 h 330"/>
                <a:gd name="T74" fmla="*/ 126 w 261"/>
                <a:gd name="T75" fmla="*/ 287 h 330"/>
                <a:gd name="T76" fmla="*/ 125 w 261"/>
                <a:gd name="T77" fmla="*/ 283 h 330"/>
                <a:gd name="T78" fmla="*/ 138 w 261"/>
                <a:gd name="T79" fmla="*/ 300 h 330"/>
                <a:gd name="T80" fmla="*/ 155 w 261"/>
                <a:gd name="T81" fmla="*/ 321 h 330"/>
                <a:gd name="T82" fmla="*/ 165 w 261"/>
                <a:gd name="T83" fmla="*/ 326 h 330"/>
                <a:gd name="T84" fmla="*/ 176 w 261"/>
                <a:gd name="T85" fmla="*/ 314 h 330"/>
                <a:gd name="T86" fmla="*/ 201 w 261"/>
                <a:gd name="T87" fmla="*/ 315 h 330"/>
                <a:gd name="T88" fmla="*/ 209 w 261"/>
                <a:gd name="T89" fmla="*/ 314 h 330"/>
                <a:gd name="T90" fmla="*/ 225 w 261"/>
                <a:gd name="T91" fmla="*/ 311 h 330"/>
                <a:gd name="T92" fmla="*/ 229 w 261"/>
                <a:gd name="T93" fmla="*/ 309 h 330"/>
                <a:gd name="T94" fmla="*/ 221 w 261"/>
                <a:gd name="T95" fmla="*/ 296 h 330"/>
                <a:gd name="T96" fmla="*/ 220 w 261"/>
                <a:gd name="T97" fmla="*/ 284 h 330"/>
                <a:gd name="T98" fmla="*/ 214 w 261"/>
                <a:gd name="T99" fmla="*/ 282 h 330"/>
                <a:gd name="T100" fmla="*/ 209 w 261"/>
                <a:gd name="T101" fmla="*/ 264 h 330"/>
                <a:gd name="T102" fmla="*/ 203 w 261"/>
                <a:gd name="T103" fmla="*/ 265 h 330"/>
                <a:gd name="T104" fmla="*/ 204 w 261"/>
                <a:gd name="T105" fmla="*/ 232 h 330"/>
                <a:gd name="T106" fmla="*/ 212 w 261"/>
                <a:gd name="T107" fmla="*/ 223 h 330"/>
                <a:gd name="T108" fmla="*/ 216 w 261"/>
                <a:gd name="T109" fmla="*/ 219 h 330"/>
                <a:gd name="T110" fmla="*/ 222 w 261"/>
                <a:gd name="T111" fmla="*/ 219 h 330"/>
                <a:gd name="T112" fmla="*/ 229 w 261"/>
                <a:gd name="T113" fmla="*/ 226 h 330"/>
                <a:gd name="T114" fmla="*/ 238 w 261"/>
                <a:gd name="T115" fmla="*/ 223 h 330"/>
                <a:gd name="T116" fmla="*/ 261 w 261"/>
                <a:gd name="T117" fmla="*/ 205 h 3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1" h="330">
                  <a:moveTo>
                    <a:pt x="126" y="287"/>
                  </a:moveTo>
                  <a:cubicBezTo>
                    <a:pt x="126" y="287"/>
                    <a:pt x="126" y="287"/>
                    <a:pt x="126" y="287"/>
                  </a:cubicBezTo>
                  <a:cubicBezTo>
                    <a:pt x="126" y="287"/>
                    <a:pt x="126" y="287"/>
                    <a:pt x="126" y="287"/>
                  </a:cubicBezTo>
                  <a:moveTo>
                    <a:pt x="261" y="0"/>
                  </a:moveTo>
                  <a:cubicBezTo>
                    <a:pt x="259" y="0"/>
                    <a:pt x="259" y="0"/>
                    <a:pt x="259" y="0"/>
                  </a:cubicBezTo>
                  <a:cubicBezTo>
                    <a:pt x="257" y="2"/>
                    <a:pt x="256" y="3"/>
                    <a:pt x="254" y="4"/>
                  </a:cubicBezTo>
                  <a:cubicBezTo>
                    <a:pt x="253" y="4"/>
                    <a:pt x="252" y="5"/>
                    <a:pt x="252" y="5"/>
                  </a:cubicBezTo>
                  <a:cubicBezTo>
                    <a:pt x="251" y="5"/>
                    <a:pt x="251" y="5"/>
                    <a:pt x="251" y="5"/>
                  </a:cubicBezTo>
                  <a:cubicBezTo>
                    <a:pt x="250" y="5"/>
                    <a:pt x="249" y="4"/>
                    <a:pt x="248" y="4"/>
                  </a:cubicBezTo>
                  <a:cubicBezTo>
                    <a:pt x="248" y="4"/>
                    <a:pt x="248" y="4"/>
                    <a:pt x="248" y="4"/>
                  </a:cubicBezTo>
                  <a:cubicBezTo>
                    <a:pt x="245" y="7"/>
                    <a:pt x="243" y="9"/>
                    <a:pt x="240" y="12"/>
                  </a:cubicBezTo>
                  <a:cubicBezTo>
                    <a:pt x="242" y="14"/>
                    <a:pt x="243" y="15"/>
                    <a:pt x="244" y="17"/>
                  </a:cubicBezTo>
                  <a:cubicBezTo>
                    <a:pt x="244" y="17"/>
                    <a:pt x="244" y="18"/>
                    <a:pt x="244" y="18"/>
                  </a:cubicBezTo>
                  <a:cubicBezTo>
                    <a:pt x="244" y="18"/>
                    <a:pt x="245" y="19"/>
                    <a:pt x="245" y="19"/>
                  </a:cubicBezTo>
                  <a:cubicBezTo>
                    <a:pt x="246" y="20"/>
                    <a:pt x="246" y="21"/>
                    <a:pt x="247" y="21"/>
                  </a:cubicBezTo>
                  <a:cubicBezTo>
                    <a:pt x="247" y="22"/>
                    <a:pt x="247" y="22"/>
                    <a:pt x="247" y="22"/>
                  </a:cubicBezTo>
                  <a:cubicBezTo>
                    <a:pt x="250" y="20"/>
                    <a:pt x="250" y="20"/>
                    <a:pt x="250" y="20"/>
                  </a:cubicBezTo>
                  <a:cubicBezTo>
                    <a:pt x="247" y="23"/>
                    <a:pt x="247" y="23"/>
                    <a:pt x="247" y="23"/>
                  </a:cubicBezTo>
                  <a:cubicBezTo>
                    <a:pt x="248" y="24"/>
                    <a:pt x="248" y="24"/>
                    <a:pt x="248" y="24"/>
                  </a:cubicBezTo>
                  <a:cubicBezTo>
                    <a:pt x="249" y="26"/>
                    <a:pt x="249" y="28"/>
                    <a:pt x="249" y="30"/>
                  </a:cubicBezTo>
                  <a:cubicBezTo>
                    <a:pt x="248" y="31"/>
                    <a:pt x="248" y="31"/>
                    <a:pt x="248" y="31"/>
                  </a:cubicBezTo>
                  <a:cubicBezTo>
                    <a:pt x="249" y="32"/>
                    <a:pt x="249" y="32"/>
                    <a:pt x="249" y="32"/>
                  </a:cubicBezTo>
                  <a:cubicBezTo>
                    <a:pt x="249" y="33"/>
                    <a:pt x="249" y="33"/>
                    <a:pt x="249" y="33"/>
                  </a:cubicBezTo>
                  <a:cubicBezTo>
                    <a:pt x="250" y="33"/>
                    <a:pt x="250" y="34"/>
                    <a:pt x="250" y="35"/>
                  </a:cubicBezTo>
                  <a:cubicBezTo>
                    <a:pt x="250" y="36"/>
                    <a:pt x="250" y="36"/>
                    <a:pt x="250" y="36"/>
                  </a:cubicBezTo>
                  <a:cubicBezTo>
                    <a:pt x="249" y="36"/>
                    <a:pt x="249" y="37"/>
                    <a:pt x="249" y="37"/>
                  </a:cubicBezTo>
                  <a:cubicBezTo>
                    <a:pt x="248" y="38"/>
                    <a:pt x="248" y="38"/>
                    <a:pt x="248" y="38"/>
                  </a:cubicBezTo>
                  <a:cubicBezTo>
                    <a:pt x="247" y="39"/>
                    <a:pt x="247" y="39"/>
                    <a:pt x="247" y="39"/>
                  </a:cubicBezTo>
                  <a:cubicBezTo>
                    <a:pt x="246" y="43"/>
                    <a:pt x="244" y="44"/>
                    <a:pt x="243" y="44"/>
                  </a:cubicBezTo>
                  <a:cubicBezTo>
                    <a:pt x="242" y="45"/>
                    <a:pt x="241" y="45"/>
                    <a:pt x="241" y="45"/>
                  </a:cubicBezTo>
                  <a:cubicBezTo>
                    <a:pt x="240" y="46"/>
                    <a:pt x="240" y="46"/>
                    <a:pt x="240" y="47"/>
                  </a:cubicBezTo>
                  <a:cubicBezTo>
                    <a:pt x="239" y="48"/>
                    <a:pt x="238" y="49"/>
                    <a:pt x="237" y="51"/>
                  </a:cubicBezTo>
                  <a:cubicBezTo>
                    <a:pt x="236" y="51"/>
                    <a:pt x="235" y="52"/>
                    <a:pt x="235" y="52"/>
                  </a:cubicBezTo>
                  <a:cubicBezTo>
                    <a:pt x="234" y="53"/>
                    <a:pt x="235" y="53"/>
                    <a:pt x="235" y="53"/>
                  </a:cubicBezTo>
                  <a:cubicBezTo>
                    <a:pt x="235" y="54"/>
                    <a:pt x="236" y="55"/>
                    <a:pt x="236" y="55"/>
                  </a:cubicBezTo>
                  <a:cubicBezTo>
                    <a:pt x="236" y="55"/>
                    <a:pt x="236" y="55"/>
                    <a:pt x="236" y="55"/>
                  </a:cubicBezTo>
                  <a:cubicBezTo>
                    <a:pt x="237" y="56"/>
                    <a:pt x="237" y="56"/>
                    <a:pt x="237" y="57"/>
                  </a:cubicBezTo>
                  <a:cubicBezTo>
                    <a:pt x="238" y="58"/>
                    <a:pt x="238" y="59"/>
                    <a:pt x="238" y="60"/>
                  </a:cubicBezTo>
                  <a:cubicBezTo>
                    <a:pt x="238" y="60"/>
                    <a:pt x="238" y="61"/>
                    <a:pt x="237" y="62"/>
                  </a:cubicBezTo>
                  <a:cubicBezTo>
                    <a:pt x="237" y="63"/>
                    <a:pt x="237" y="63"/>
                    <a:pt x="237" y="63"/>
                  </a:cubicBezTo>
                  <a:cubicBezTo>
                    <a:pt x="237" y="63"/>
                    <a:pt x="237" y="63"/>
                    <a:pt x="237" y="63"/>
                  </a:cubicBezTo>
                  <a:cubicBezTo>
                    <a:pt x="237" y="64"/>
                    <a:pt x="236" y="64"/>
                    <a:pt x="236" y="64"/>
                  </a:cubicBezTo>
                  <a:cubicBezTo>
                    <a:pt x="235" y="66"/>
                    <a:pt x="234" y="67"/>
                    <a:pt x="233" y="68"/>
                  </a:cubicBezTo>
                  <a:cubicBezTo>
                    <a:pt x="230" y="70"/>
                    <a:pt x="226" y="71"/>
                    <a:pt x="222" y="71"/>
                  </a:cubicBezTo>
                  <a:cubicBezTo>
                    <a:pt x="221" y="71"/>
                    <a:pt x="220" y="71"/>
                    <a:pt x="219" y="71"/>
                  </a:cubicBezTo>
                  <a:cubicBezTo>
                    <a:pt x="218" y="71"/>
                    <a:pt x="218" y="71"/>
                    <a:pt x="218" y="71"/>
                  </a:cubicBezTo>
                  <a:cubicBezTo>
                    <a:pt x="217" y="71"/>
                    <a:pt x="216" y="70"/>
                    <a:pt x="215" y="70"/>
                  </a:cubicBezTo>
                  <a:cubicBezTo>
                    <a:pt x="212" y="69"/>
                    <a:pt x="210" y="69"/>
                    <a:pt x="209" y="69"/>
                  </a:cubicBezTo>
                  <a:cubicBezTo>
                    <a:pt x="210" y="71"/>
                    <a:pt x="210" y="71"/>
                    <a:pt x="210" y="71"/>
                  </a:cubicBezTo>
                  <a:cubicBezTo>
                    <a:pt x="211" y="71"/>
                    <a:pt x="212" y="72"/>
                    <a:pt x="212" y="72"/>
                  </a:cubicBezTo>
                  <a:cubicBezTo>
                    <a:pt x="214" y="76"/>
                    <a:pt x="214" y="76"/>
                    <a:pt x="214" y="76"/>
                  </a:cubicBezTo>
                  <a:cubicBezTo>
                    <a:pt x="218" y="82"/>
                    <a:pt x="220" y="85"/>
                    <a:pt x="218" y="87"/>
                  </a:cubicBezTo>
                  <a:cubicBezTo>
                    <a:pt x="217" y="87"/>
                    <a:pt x="217" y="87"/>
                    <a:pt x="217" y="87"/>
                  </a:cubicBezTo>
                  <a:cubicBezTo>
                    <a:pt x="216" y="88"/>
                    <a:pt x="216" y="88"/>
                    <a:pt x="216" y="88"/>
                  </a:cubicBezTo>
                  <a:cubicBezTo>
                    <a:pt x="216" y="88"/>
                    <a:pt x="216" y="88"/>
                    <a:pt x="216" y="88"/>
                  </a:cubicBezTo>
                  <a:cubicBezTo>
                    <a:pt x="214" y="89"/>
                    <a:pt x="211" y="92"/>
                    <a:pt x="208" y="93"/>
                  </a:cubicBezTo>
                  <a:cubicBezTo>
                    <a:pt x="209" y="98"/>
                    <a:pt x="209" y="98"/>
                    <a:pt x="209" y="98"/>
                  </a:cubicBezTo>
                  <a:cubicBezTo>
                    <a:pt x="207" y="93"/>
                    <a:pt x="207" y="93"/>
                    <a:pt x="207" y="93"/>
                  </a:cubicBezTo>
                  <a:cubicBezTo>
                    <a:pt x="206" y="93"/>
                    <a:pt x="206" y="93"/>
                    <a:pt x="206" y="93"/>
                  </a:cubicBezTo>
                  <a:cubicBezTo>
                    <a:pt x="205" y="94"/>
                    <a:pt x="205" y="94"/>
                    <a:pt x="204" y="94"/>
                  </a:cubicBezTo>
                  <a:cubicBezTo>
                    <a:pt x="203" y="94"/>
                    <a:pt x="203" y="94"/>
                    <a:pt x="203" y="94"/>
                  </a:cubicBezTo>
                  <a:cubicBezTo>
                    <a:pt x="203" y="94"/>
                    <a:pt x="203" y="94"/>
                    <a:pt x="203" y="94"/>
                  </a:cubicBezTo>
                  <a:cubicBezTo>
                    <a:pt x="202" y="94"/>
                    <a:pt x="202" y="94"/>
                    <a:pt x="202" y="94"/>
                  </a:cubicBezTo>
                  <a:cubicBezTo>
                    <a:pt x="202" y="94"/>
                    <a:pt x="202" y="94"/>
                    <a:pt x="202" y="94"/>
                  </a:cubicBezTo>
                  <a:cubicBezTo>
                    <a:pt x="202" y="94"/>
                    <a:pt x="201" y="94"/>
                    <a:pt x="201" y="94"/>
                  </a:cubicBezTo>
                  <a:cubicBezTo>
                    <a:pt x="200" y="93"/>
                    <a:pt x="200" y="93"/>
                    <a:pt x="200" y="93"/>
                  </a:cubicBezTo>
                  <a:cubicBezTo>
                    <a:pt x="200" y="94"/>
                    <a:pt x="200" y="94"/>
                    <a:pt x="200" y="94"/>
                  </a:cubicBezTo>
                  <a:cubicBezTo>
                    <a:pt x="200" y="94"/>
                    <a:pt x="200" y="94"/>
                    <a:pt x="200" y="94"/>
                  </a:cubicBezTo>
                  <a:cubicBezTo>
                    <a:pt x="199" y="95"/>
                    <a:pt x="199" y="97"/>
                    <a:pt x="199" y="98"/>
                  </a:cubicBezTo>
                  <a:cubicBezTo>
                    <a:pt x="198" y="99"/>
                    <a:pt x="198" y="100"/>
                    <a:pt x="198" y="101"/>
                  </a:cubicBezTo>
                  <a:cubicBezTo>
                    <a:pt x="198" y="102"/>
                    <a:pt x="198" y="102"/>
                    <a:pt x="198" y="102"/>
                  </a:cubicBezTo>
                  <a:cubicBezTo>
                    <a:pt x="198" y="102"/>
                    <a:pt x="198" y="103"/>
                    <a:pt x="198" y="103"/>
                  </a:cubicBezTo>
                  <a:cubicBezTo>
                    <a:pt x="197" y="105"/>
                    <a:pt x="196" y="106"/>
                    <a:pt x="194" y="107"/>
                  </a:cubicBezTo>
                  <a:cubicBezTo>
                    <a:pt x="194" y="108"/>
                    <a:pt x="194" y="108"/>
                    <a:pt x="194" y="108"/>
                  </a:cubicBezTo>
                  <a:cubicBezTo>
                    <a:pt x="195" y="115"/>
                    <a:pt x="195" y="115"/>
                    <a:pt x="195" y="115"/>
                  </a:cubicBezTo>
                  <a:cubicBezTo>
                    <a:pt x="195" y="115"/>
                    <a:pt x="195" y="115"/>
                    <a:pt x="195" y="115"/>
                  </a:cubicBezTo>
                  <a:cubicBezTo>
                    <a:pt x="195" y="119"/>
                    <a:pt x="195" y="119"/>
                    <a:pt x="195" y="119"/>
                  </a:cubicBezTo>
                  <a:cubicBezTo>
                    <a:pt x="195" y="122"/>
                    <a:pt x="194" y="123"/>
                    <a:pt x="193" y="124"/>
                  </a:cubicBezTo>
                  <a:cubicBezTo>
                    <a:pt x="190" y="126"/>
                    <a:pt x="188" y="128"/>
                    <a:pt x="186" y="130"/>
                  </a:cubicBezTo>
                  <a:cubicBezTo>
                    <a:pt x="185" y="131"/>
                    <a:pt x="185" y="131"/>
                    <a:pt x="185" y="131"/>
                  </a:cubicBezTo>
                  <a:cubicBezTo>
                    <a:pt x="184" y="131"/>
                    <a:pt x="183" y="131"/>
                    <a:pt x="183" y="131"/>
                  </a:cubicBezTo>
                  <a:cubicBezTo>
                    <a:pt x="182" y="131"/>
                    <a:pt x="182" y="131"/>
                    <a:pt x="182" y="131"/>
                  </a:cubicBezTo>
                  <a:cubicBezTo>
                    <a:pt x="182" y="131"/>
                    <a:pt x="182" y="131"/>
                    <a:pt x="182" y="131"/>
                  </a:cubicBezTo>
                  <a:cubicBezTo>
                    <a:pt x="182" y="131"/>
                    <a:pt x="181" y="131"/>
                    <a:pt x="181" y="131"/>
                  </a:cubicBezTo>
                  <a:cubicBezTo>
                    <a:pt x="180" y="131"/>
                    <a:pt x="180" y="131"/>
                    <a:pt x="180" y="131"/>
                  </a:cubicBezTo>
                  <a:cubicBezTo>
                    <a:pt x="179" y="131"/>
                    <a:pt x="179" y="131"/>
                    <a:pt x="179" y="131"/>
                  </a:cubicBezTo>
                  <a:cubicBezTo>
                    <a:pt x="179" y="130"/>
                    <a:pt x="178" y="130"/>
                    <a:pt x="177" y="130"/>
                  </a:cubicBezTo>
                  <a:cubicBezTo>
                    <a:pt x="177" y="129"/>
                    <a:pt x="177" y="129"/>
                    <a:pt x="177" y="129"/>
                  </a:cubicBezTo>
                  <a:cubicBezTo>
                    <a:pt x="176" y="128"/>
                    <a:pt x="175" y="128"/>
                    <a:pt x="174" y="127"/>
                  </a:cubicBezTo>
                  <a:cubicBezTo>
                    <a:pt x="174" y="127"/>
                    <a:pt x="174" y="127"/>
                    <a:pt x="174" y="127"/>
                  </a:cubicBezTo>
                  <a:cubicBezTo>
                    <a:pt x="174" y="127"/>
                    <a:pt x="173" y="127"/>
                    <a:pt x="173" y="127"/>
                  </a:cubicBezTo>
                  <a:cubicBezTo>
                    <a:pt x="173" y="127"/>
                    <a:pt x="173" y="127"/>
                    <a:pt x="172" y="127"/>
                  </a:cubicBezTo>
                  <a:cubicBezTo>
                    <a:pt x="172" y="127"/>
                    <a:pt x="171" y="127"/>
                    <a:pt x="170" y="127"/>
                  </a:cubicBezTo>
                  <a:cubicBezTo>
                    <a:pt x="169" y="127"/>
                    <a:pt x="169" y="127"/>
                    <a:pt x="169" y="127"/>
                  </a:cubicBezTo>
                  <a:cubicBezTo>
                    <a:pt x="169" y="128"/>
                    <a:pt x="168" y="128"/>
                    <a:pt x="168" y="128"/>
                  </a:cubicBezTo>
                  <a:cubicBezTo>
                    <a:pt x="167" y="128"/>
                    <a:pt x="167" y="128"/>
                    <a:pt x="167" y="128"/>
                  </a:cubicBezTo>
                  <a:cubicBezTo>
                    <a:pt x="166" y="128"/>
                    <a:pt x="166" y="128"/>
                    <a:pt x="165" y="129"/>
                  </a:cubicBezTo>
                  <a:cubicBezTo>
                    <a:pt x="164" y="129"/>
                    <a:pt x="164" y="129"/>
                    <a:pt x="163" y="130"/>
                  </a:cubicBezTo>
                  <a:cubicBezTo>
                    <a:pt x="162" y="130"/>
                    <a:pt x="162" y="130"/>
                    <a:pt x="162" y="130"/>
                  </a:cubicBezTo>
                  <a:cubicBezTo>
                    <a:pt x="160" y="131"/>
                    <a:pt x="159" y="132"/>
                    <a:pt x="158" y="133"/>
                  </a:cubicBezTo>
                  <a:cubicBezTo>
                    <a:pt x="162" y="136"/>
                    <a:pt x="162" y="136"/>
                    <a:pt x="162" y="136"/>
                  </a:cubicBezTo>
                  <a:cubicBezTo>
                    <a:pt x="158" y="138"/>
                    <a:pt x="158" y="138"/>
                    <a:pt x="158" y="138"/>
                  </a:cubicBezTo>
                  <a:cubicBezTo>
                    <a:pt x="157" y="139"/>
                    <a:pt x="156" y="139"/>
                    <a:pt x="155" y="139"/>
                  </a:cubicBezTo>
                  <a:cubicBezTo>
                    <a:pt x="153" y="140"/>
                    <a:pt x="151" y="141"/>
                    <a:pt x="149" y="142"/>
                  </a:cubicBezTo>
                  <a:cubicBezTo>
                    <a:pt x="148" y="142"/>
                    <a:pt x="148" y="142"/>
                    <a:pt x="148" y="142"/>
                  </a:cubicBezTo>
                  <a:cubicBezTo>
                    <a:pt x="148" y="142"/>
                    <a:pt x="147" y="142"/>
                    <a:pt x="146" y="142"/>
                  </a:cubicBezTo>
                  <a:cubicBezTo>
                    <a:pt x="144" y="142"/>
                    <a:pt x="142" y="142"/>
                    <a:pt x="139" y="141"/>
                  </a:cubicBezTo>
                  <a:cubicBezTo>
                    <a:pt x="138" y="140"/>
                    <a:pt x="138" y="140"/>
                    <a:pt x="138" y="140"/>
                  </a:cubicBezTo>
                  <a:cubicBezTo>
                    <a:pt x="138" y="140"/>
                    <a:pt x="138" y="140"/>
                    <a:pt x="138" y="140"/>
                  </a:cubicBezTo>
                  <a:cubicBezTo>
                    <a:pt x="137" y="140"/>
                    <a:pt x="137" y="140"/>
                    <a:pt x="136" y="141"/>
                  </a:cubicBezTo>
                  <a:cubicBezTo>
                    <a:pt x="136" y="141"/>
                    <a:pt x="136" y="141"/>
                    <a:pt x="135" y="141"/>
                  </a:cubicBezTo>
                  <a:cubicBezTo>
                    <a:pt x="135" y="141"/>
                    <a:pt x="134" y="142"/>
                    <a:pt x="134" y="142"/>
                  </a:cubicBezTo>
                  <a:cubicBezTo>
                    <a:pt x="133" y="142"/>
                    <a:pt x="133" y="142"/>
                    <a:pt x="133" y="142"/>
                  </a:cubicBezTo>
                  <a:cubicBezTo>
                    <a:pt x="132" y="143"/>
                    <a:pt x="131" y="144"/>
                    <a:pt x="131" y="145"/>
                  </a:cubicBezTo>
                  <a:cubicBezTo>
                    <a:pt x="129" y="146"/>
                    <a:pt x="128" y="147"/>
                    <a:pt x="127" y="148"/>
                  </a:cubicBezTo>
                  <a:cubicBezTo>
                    <a:pt x="127" y="148"/>
                    <a:pt x="127" y="148"/>
                    <a:pt x="127" y="148"/>
                  </a:cubicBezTo>
                  <a:cubicBezTo>
                    <a:pt x="127" y="148"/>
                    <a:pt x="126" y="149"/>
                    <a:pt x="126" y="150"/>
                  </a:cubicBezTo>
                  <a:cubicBezTo>
                    <a:pt x="126" y="150"/>
                    <a:pt x="126" y="150"/>
                    <a:pt x="126" y="151"/>
                  </a:cubicBezTo>
                  <a:cubicBezTo>
                    <a:pt x="125" y="152"/>
                    <a:pt x="125" y="152"/>
                    <a:pt x="125" y="152"/>
                  </a:cubicBezTo>
                  <a:cubicBezTo>
                    <a:pt x="125" y="155"/>
                    <a:pt x="124" y="157"/>
                    <a:pt x="124" y="160"/>
                  </a:cubicBezTo>
                  <a:cubicBezTo>
                    <a:pt x="125" y="161"/>
                    <a:pt x="124" y="162"/>
                    <a:pt x="124" y="163"/>
                  </a:cubicBezTo>
                  <a:cubicBezTo>
                    <a:pt x="124" y="164"/>
                    <a:pt x="124" y="166"/>
                    <a:pt x="123" y="167"/>
                  </a:cubicBezTo>
                  <a:cubicBezTo>
                    <a:pt x="123" y="168"/>
                    <a:pt x="123" y="168"/>
                    <a:pt x="123" y="168"/>
                  </a:cubicBezTo>
                  <a:cubicBezTo>
                    <a:pt x="123" y="168"/>
                    <a:pt x="123" y="168"/>
                    <a:pt x="123" y="168"/>
                  </a:cubicBezTo>
                  <a:cubicBezTo>
                    <a:pt x="124" y="169"/>
                    <a:pt x="124" y="170"/>
                    <a:pt x="124" y="171"/>
                  </a:cubicBezTo>
                  <a:cubicBezTo>
                    <a:pt x="124" y="172"/>
                    <a:pt x="124" y="174"/>
                    <a:pt x="123" y="176"/>
                  </a:cubicBezTo>
                  <a:cubicBezTo>
                    <a:pt x="122" y="178"/>
                    <a:pt x="120" y="178"/>
                    <a:pt x="118" y="178"/>
                  </a:cubicBezTo>
                  <a:cubicBezTo>
                    <a:pt x="116" y="179"/>
                    <a:pt x="116" y="179"/>
                    <a:pt x="116" y="179"/>
                  </a:cubicBezTo>
                  <a:cubicBezTo>
                    <a:pt x="114" y="180"/>
                    <a:pt x="112" y="180"/>
                    <a:pt x="110" y="181"/>
                  </a:cubicBezTo>
                  <a:cubicBezTo>
                    <a:pt x="107" y="182"/>
                    <a:pt x="105" y="182"/>
                    <a:pt x="102" y="183"/>
                  </a:cubicBezTo>
                  <a:cubicBezTo>
                    <a:pt x="95" y="183"/>
                    <a:pt x="95" y="183"/>
                    <a:pt x="95" y="183"/>
                  </a:cubicBezTo>
                  <a:cubicBezTo>
                    <a:pt x="93" y="183"/>
                    <a:pt x="91" y="183"/>
                    <a:pt x="88" y="183"/>
                  </a:cubicBezTo>
                  <a:cubicBezTo>
                    <a:pt x="86" y="184"/>
                    <a:pt x="83" y="184"/>
                    <a:pt x="80" y="185"/>
                  </a:cubicBezTo>
                  <a:cubicBezTo>
                    <a:pt x="79" y="185"/>
                    <a:pt x="79" y="185"/>
                    <a:pt x="78" y="185"/>
                  </a:cubicBezTo>
                  <a:cubicBezTo>
                    <a:pt x="77" y="186"/>
                    <a:pt x="76" y="186"/>
                    <a:pt x="76" y="187"/>
                  </a:cubicBezTo>
                  <a:cubicBezTo>
                    <a:pt x="74" y="188"/>
                    <a:pt x="74" y="188"/>
                    <a:pt x="74" y="188"/>
                  </a:cubicBezTo>
                  <a:cubicBezTo>
                    <a:pt x="74" y="188"/>
                    <a:pt x="74" y="188"/>
                    <a:pt x="73" y="188"/>
                  </a:cubicBezTo>
                  <a:cubicBezTo>
                    <a:pt x="73" y="188"/>
                    <a:pt x="73" y="188"/>
                    <a:pt x="72" y="188"/>
                  </a:cubicBezTo>
                  <a:cubicBezTo>
                    <a:pt x="71" y="189"/>
                    <a:pt x="71" y="189"/>
                    <a:pt x="71" y="189"/>
                  </a:cubicBezTo>
                  <a:cubicBezTo>
                    <a:pt x="71" y="189"/>
                    <a:pt x="70" y="189"/>
                    <a:pt x="70" y="189"/>
                  </a:cubicBezTo>
                  <a:cubicBezTo>
                    <a:pt x="69" y="189"/>
                    <a:pt x="69" y="189"/>
                    <a:pt x="69" y="189"/>
                  </a:cubicBezTo>
                  <a:cubicBezTo>
                    <a:pt x="69" y="189"/>
                    <a:pt x="69" y="189"/>
                    <a:pt x="69" y="189"/>
                  </a:cubicBezTo>
                  <a:cubicBezTo>
                    <a:pt x="68" y="189"/>
                    <a:pt x="67" y="189"/>
                    <a:pt x="67" y="189"/>
                  </a:cubicBezTo>
                  <a:cubicBezTo>
                    <a:pt x="66" y="189"/>
                    <a:pt x="66" y="189"/>
                    <a:pt x="65" y="189"/>
                  </a:cubicBezTo>
                  <a:cubicBezTo>
                    <a:pt x="63" y="188"/>
                    <a:pt x="63" y="188"/>
                    <a:pt x="63" y="188"/>
                  </a:cubicBezTo>
                  <a:cubicBezTo>
                    <a:pt x="62" y="188"/>
                    <a:pt x="61" y="188"/>
                    <a:pt x="60" y="188"/>
                  </a:cubicBezTo>
                  <a:cubicBezTo>
                    <a:pt x="59" y="187"/>
                    <a:pt x="59" y="187"/>
                    <a:pt x="59" y="187"/>
                  </a:cubicBezTo>
                  <a:cubicBezTo>
                    <a:pt x="59" y="187"/>
                    <a:pt x="58" y="187"/>
                    <a:pt x="57" y="187"/>
                  </a:cubicBezTo>
                  <a:cubicBezTo>
                    <a:pt x="57" y="187"/>
                    <a:pt x="57" y="187"/>
                    <a:pt x="57" y="187"/>
                  </a:cubicBezTo>
                  <a:cubicBezTo>
                    <a:pt x="47" y="188"/>
                    <a:pt x="47" y="188"/>
                    <a:pt x="47" y="188"/>
                  </a:cubicBezTo>
                  <a:cubicBezTo>
                    <a:pt x="48" y="193"/>
                    <a:pt x="48" y="193"/>
                    <a:pt x="48" y="193"/>
                  </a:cubicBezTo>
                  <a:cubicBezTo>
                    <a:pt x="46" y="188"/>
                    <a:pt x="46" y="188"/>
                    <a:pt x="46" y="188"/>
                  </a:cubicBezTo>
                  <a:cubicBezTo>
                    <a:pt x="42" y="188"/>
                    <a:pt x="42" y="188"/>
                    <a:pt x="42" y="188"/>
                  </a:cubicBezTo>
                  <a:cubicBezTo>
                    <a:pt x="41" y="188"/>
                    <a:pt x="41" y="188"/>
                    <a:pt x="40" y="189"/>
                  </a:cubicBezTo>
                  <a:cubicBezTo>
                    <a:pt x="40" y="189"/>
                    <a:pt x="40" y="189"/>
                    <a:pt x="40" y="189"/>
                  </a:cubicBezTo>
                  <a:cubicBezTo>
                    <a:pt x="39" y="189"/>
                    <a:pt x="38" y="189"/>
                    <a:pt x="37" y="189"/>
                  </a:cubicBezTo>
                  <a:cubicBezTo>
                    <a:pt x="37" y="189"/>
                    <a:pt x="36" y="189"/>
                    <a:pt x="36" y="189"/>
                  </a:cubicBezTo>
                  <a:cubicBezTo>
                    <a:pt x="35" y="189"/>
                    <a:pt x="34" y="189"/>
                    <a:pt x="33" y="189"/>
                  </a:cubicBezTo>
                  <a:cubicBezTo>
                    <a:pt x="0" y="180"/>
                    <a:pt x="0" y="180"/>
                    <a:pt x="0" y="180"/>
                  </a:cubicBezTo>
                  <a:cubicBezTo>
                    <a:pt x="1" y="181"/>
                    <a:pt x="2" y="182"/>
                    <a:pt x="3" y="183"/>
                  </a:cubicBezTo>
                  <a:cubicBezTo>
                    <a:pt x="3" y="183"/>
                    <a:pt x="3" y="183"/>
                    <a:pt x="4" y="184"/>
                  </a:cubicBezTo>
                  <a:cubicBezTo>
                    <a:pt x="4" y="185"/>
                    <a:pt x="4" y="185"/>
                    <a:pt x="5" y="186"/>
                  </a:cubicBezTo>
                  <a:cubicBezTo>
                    <a:pt x="7" y="189"/>
                    <a:pt x="9" y="192"/>
                    <a:pt x="12" y="195"/>
                  </a:cubicBezTo>
                  <a:cubicBezTo>
                    <a:pt x="14" y="198"/>
                    <a:pt x="17" y="202"/>
                    <a:pt x="19" y="205"/>
                  </a:cubicBezTo>
                  <a:cubicBezTo>
                    <a:pt x="20" y="207"/>
                    <a:pt x="22" y="208"/>
                    <a:pt x="24" y="208"/>
                  </a:cubicBezTo>
                  <a:cubicBezTo>
                    <a:pt x="25" y="209"/>
                    <a:pt x="26" y="209"/>
                    <a:pt x="27" y="209"/>
                  </a:cubicBezTo>
                  <a:cubicBezTo>
                    <a:pt x="28" y="210"/>
                    <a:pt x="28" y="210"/>
                    <a:pt x="28" y="210"/>
                  </a:cubicBezTo>
                  <a:cubicBezTo>
                    <a:pt x="28" y="210"/>
                    <a:pt x="29" y="210"/>
                    <a:pt x="29" y="210"/>
                  </a:cubicBezTo>
                  <a:cubicBezTo>
                    <a:pt x="30" y="210"/>
                    <a:pt x="30" y="210"/>
                    <a:pt x="30" y="210"/>
                  </a:cubicBezTo>
                  <a:cubicBezTo>
                    <a:pt x="31" y="211"/>
                    <a:pt x="31" y="211"/>
                    <a:pt x="32" y="211"/>
                  </a:cubicBezTo>
                  <a:cubicBezTo>
                    <a:pt x="34" y="212"/>
                    <a:pt x="35" y="212"/>
                    <a:pt x="36" y="213"/>
                  </a:cubicBezTo>
                  <a:cubicBezTo>
                    <a:pt x="39" y="214"/>
                    <a:pt x="40" y="215"/>
                    <a:pt x="41" y="216"/>
                  </a:cubicBezTo>
                  <a:cubicBezTo>
                    <a:pt x="42" y="218"/>
                    <a:pt x="42" y="220"/>
                    <a:pt x="41" y="223"/>
                  </a:cubicBezTo>
                  <a:cubicBezTo>
                    <a:pt x="41" y="224"/>
                    <a:pt x="41" y="224"/>
                    <a:pt x="41" y="224"/>
                  </a:cubicBezTo>
                  <a:cubicBezTo>
                    <a:pt x="46" y="224"/>
                    <a:pt x="46" y="224"/>
                    <a:pt x="46" y="224"/>
                  </a:cubicBezTo>
                  <a:cubicBezTo>
                    <a:pt x="41" y="225"/>
                    <a:pt x="41" y="225"/>
                    <a:pt x="41" y="225"/>
                  </a:cubicBezTo>
                  <a:cubicBezTo>
                    <a:pt x="41" y="234"/>
                    <a:pt x="41" y="234"/>
                    <a:pt x="41" y="234"/>
                  </a:cubicBezTo>
                  <a:cubicBezTo>
                    <a:pt x="41" y="234"/>
                    <a:pt x="41" y="235"/>
                    <a:pt x="41" y="235"/>
                  </a:cubicBezTo>
                  <a:cubicBezTo>
                    <a:pt x="41" y="236"/>
                    <a:pt x="41" y="238"/>
                    <a:pt x="41" y="239"/>
                  </a:cubicBezTo>
                  <a:cubicBezTo>
                    <a:pt x="41" y="239"/>
                    <a:pt x="41" y="239"/>
                    <a:pt x="41" y="239"/>
                  </a:cubicBezTo>
                  <a:cubicBezTo>
                    <a:pt x="42" y="239"/>
                    <a:pt x="42" y="239"/>
                    <a:pt x="42" y="239"/>
                  </a:cubicBezTo>
                  <a:cubicBezTo>
                    <a:pt x="45" y="239"/>
                    <a:pt x="45" y="239"/>
                    <a:pt x="45" y="239"/>
                  </a:cubicBezTo>
                  <a:cubicBezTo>
                    <a:pt x="47" y="239"/>
                    <a:pt x="48" y="239"/>
                    <a:pt x="51" y="239"/>
                  </a:cubicBezTo>
                  <a:cubicBezTo>
                    <a:pt x="54" y="240"/>
                    <a:pt x="54" y="240"/>
                    <a:pt x="54" y="240"/>
                  </a:cubicBezTo>
                  <a:cubicBezTo>
                    <a:pt x="53" y="243"/>
                    <a:pt x="53" y="243"/>
                    <a:pt x="53" y="243"/>
                  </a:cubicBezTo>
                  <a:cubicBezTo>
                    <a:pt x="52" y="247"/>
                    <a:pt x="51" y="250"/>
                    <a:pt x="51" y="254"/>
                  </a:cubicBezTo>
                  <a:cubicBezTo>
                    <a:pt x="50" y="256"/>
                    <a:pt x="50" y="256"/>
                    <a:pt x="50" y="256"/>
                  </a:cubicBezTo>
                  <a:cubicBezTo>
                    <a:pt x="50" y="257"/>
                    <a:pt x="49" y="258"/>
                    <a:pt x="48" y="259"/>
                  </a:cubicBezTo>
                  <a:cubicBezTo>
                    <a:pt x="46" y="260"/>
                    <a:pt x="44" y="261"/>
                    <a:pt x="42" y="261"/>
                  </a:cubicBezTo>
                  <a:cubicBezTo>
                    <a:pt x="41" y="261"/>
                    <a:pt x="41" y="261"/>
                    <a:pt x="41" y="261"/>
                  </a:cubicBezTo>
                  <a:cubicBezTo>
                    <a:pt x="41" y="261"/>
                    <a:pt x="40" y="261"/>
                    <a:pt x="40" y="261"/>
                  </a:cubicBezTo>
                  <a:cubicBezTo>
                    <a:pt x="30" y="262"/>
                    <a:pt x="30" y="262"/>
                    <a:pt x="30" y="262"/>
                  </a:cubicBezTo>
                  <a:cubicBezTo>
                    <a:pt x="29" y="263"/>
                    <a:pt x="28" y="263"/>
                    <a:pt x="28" y="263"/>
                  </a:cubicBezTo>
                  <a:cubicBezTo>
                    <a:pt x="27" y="264"/>
                    <a:pt x="26" y="265"/>
                    <a:pt x="25" y="265"/>
                  </a:cubicBezTo>
                  <a:cubicBezTo>
                    <a:pt x="24" y="266"/>
                    <a:pt x="24" y="266"/>
                    <a:pt x="24" y="266"/>
                  </a:cubicBezTo>
                  <a:cubicBezTo>
                    <a:pt x="23" y="267"/>
                    <a:pt x="22" y="268"/>
                    <a:pt x="22" y="268"/>
                  </a:cubicBezTo>
                  <a:cubicBezTo>
                    <a:pt x="21" y="269"/>
                    <a:pt x="21" y="269"/>
                    <a:pt x="21" y="269"/>
                  </a:cubicBezTo>
                  <a:cubicBezTo>
                    <a:pt x="19" y="269"/>
                    <a:pt x="19" y="269"/>
                    <a:pt x="19" y="272"/>
                  </a:cubicBezTo>
                  <a:cubicBezTo>
                    <a:pt x="18" y="277"/>
                    <a:pt x="17" y="281"/>
                    <a:pt x="16" y="285"/>
                  </a:cubicBezTo>
                  <a:cubicBezTo>
                    <a:pt x="15" y="287"/>
                    <a:pt x="15" y="287"/>
                    <a:pt x="15" y="287"/>
                  </a:cubicBezTo>
                  <a:cubicBezTo>
                    <a:pt x="15" y="287"/>
                    <a:pt x="15" y="288"/>
                    <a:pt x="15" y="288"/>
                  </a:cubicBezTo>
                  <a:cubicBezTo>
                    <a:pt x="15" y="290"/>
                    <a:pt x="15" y="291"/>
                    <a:pt x="14" y="293"/>
                  </a:cubicBezTo>
                  <a:cubicBezTo>
                    <a:pt x="14" y="293"/>
                    <a:pt x="14" y="293"/>
                    <a:pt x="14" y="293"/>
                  </a:cubicBezTo>
                  <a:cubicBezTo>
                    <a:pt x="15" y="294"/>
                    <a:pt x="14" y="294"/>
                    <a:pt x="15" y="297"/>
                  </a:cubicBezTo>
                  <a:cubicBezTo>
                    <a:pt x="15" y="297"/>
                    <a:pt x="15" y="297"/>
                    <a:pt x="15" y="297"/>
                  </a:cubicBezTo>
                  <a:cubicBezTo>
                    <a:pt x="17" y="297"/>
                    <a:pt x="18" y="296"/>
                    <a:pt x="21" y="295"/>
                  </a:cubicBezTo>
                  <a:cubicBezTo>
                    <a:pt x="23" y="295"/>
                    <a:pt x="25" y="293"/>
                    <a:pt x="26" y="293"/>
                  </a:cubicBezTo>
                  <a:cubicBezTo>
                    <a:pt x="27" y="293"/>
                    <a:pt x="27" y="294"/>
                    <a:pt x="28" y="296"/>
                  </a:cubicBezTo>
                  <a:cubicBezTo>
                    <a:pt x="32" y="293"/>
                    <a:pt x="33" y="292"/>
                    <a:pt x="37" y="292"/>
                  </a:cubicBezTo>
                  <a:cubicBezTo>
                    <a:pt x="38" y="292"/>
                    <a:pt x="38" y="292"/>
                    <a:pt x="39" y="292"/>
                  </a:cubicBezTo>
                  <a:cubicBezTo>
                    <a:pt x="43" y="292"/>
                    <a:pt x="47" y="292"/>
                    <a:pt x="51" y="293"/>
                  </a:cubicBezTo>
                  <a:cubicBezTo>
                    <a:pt x="51" y="293"/>
                    <a:pt x="53" y="293"/>
                    <a:pt x="54" y="293"/>
                  </a:cubicBezTo>
                  <a:cubicBezTo>
                    <a:pt x="55" y="293"/>
                    <a:pt x="56" y="293"/>
                    <a:pt x="55" y="292"/>
                  </a:cubicBezTo>
                  <a:cubicBezTo>
                    <a:pt x="59" y="290"/>
                    <a:pt x="63" y="289"/>
                    <a:pt x="67" y="289"/>
                  </a:cubicBezTo>
                  <a:cubicBezTo>
                    <a:pt x="68" y="289"/>
                    <a:pt x="68" y="289"/>
                    <a:pt x="69" y="289"/>
                  </a:cubicBezTo>
                  <a:cubicBezTo>
                    <a:pt x="68" y="288"/>
                    <a:pt x="68" y="287"/>
                    <a:pt x="70" y="287"/>
                  </a:cubicBezTo>
                  <a:cubicBezTo>
                    <a:pt x="70" y="287"/>
                    <a:pt x="70" y="287"/>
                    <a:pt x="71" y="287"/>
                  </a:cubicBezTo>
                  <a:cubicBezTo>
                    <a:pt x="69" y="287"/>
                    <a:pt x="69" y="288"/>
                    <a:pt x="69" y="289"/>
                  </a:cubicBezTo>
                  <a:cubicBezTo>
                    <a:pt x="70" y="290"/>
                    <a:pt x="72" y="290"/>
                    <a:pt x="73" y="290"/>
                  </a:cubicBezTo>
                  <a:cubicBezTo>
                    <a:pt x="75" y="291"/>
                    <a:pt x="77" y="291"/>
                    <a:pt x="79" y="291"/>
                  </a:cubicBezTo>
                  <a:cubicBezTo>
                    <a:pt x="80" y="292"/>
                    <a:pt x="82" y="294"/>
                    <a:pt x="83" y="294"/>
                  </a:cubicBezTo>
                  <a:cubicBezTo>
                    <a:pt x="83" y="294"/>
                    <a:pt x="83" y="293"/>
                    <a:pt x="84" y="293"/>
                  </a:cubicBezTo>
                  <a:cubicBezTo>
                    <a:pt x="83" y="293"/>
                    <a:pt x="83" y="293"/>
                    <a:pt x="83" y="293"/>
                  </a:cubicBezTo>
                  <a:cubicBezTo>
                    <a:pt x="94" y="289"/>
                    <a:pt x="104" y="288"/>
                    <a:pt x="116" y="288"/>
                  </a:cubicBezTo>
                  <a:cubicBezTo>
                    <a:pt x="116" y="288"/>
                    <a:pt x="116" y="288"/>
                    <a:pt x="116" y="288"/>
                  </a:cubicBezTo>
                  <a:cubicBezTo>
                    <a:pt x="117" y="288"/>
                    <a:pt x="118" y="288"/>
                    <a:pt x="119" y="288"/>
                  </a:cubicBezTo>
                  <a:cubicBezTo>
                    <a:pt x="120" y="288"/>
                    <a:pt x="121" y="288"/>
                    <a:pt x="122" y="288"/>
                  </a:cubicBezTo>
                  <a:cubicBezTo>
                    <a:pt x="124" y="288"/>
                    <a:pt x="125" y="288"/>
                    <a:pt x="126" y="287"/>
                  </a:cubicBezTo>
                  <a:cubicBezTo>
                    <a:pt x="126" y="287"/>
                    <a:pt x="126" y="287"/>
                    <a:pt x="126" y="287"/>
                  </a:cubicBezTo>
                  <a:cubicBezTo>
                    <a:pt x="126" y="287"/>
                    <a:pt x="126" y="286"/>
                    <a:pt x="126" y="286"/>
                  </a:cubicBezTo>
                  <a:cubicBezTo>
                    <a:pt x="125" y="286"/>
                    <a:pt x="125" y="286"/>
                    <a:pt x="125" y="286"/>
                  </a:cubicBezTo>
                  <a:cubicBezTo>
                    <a:pt x="124" y="286"/>
                    <a:pt x="124" y="285"/>
                    <a:pt x="123" y="285"/>
                  </a:cubicBezTo>
                  <a:cubicBezTo>
                    <a:pt x="123" y="284"/>
                    <a:pt x="124" y="283"/>
                    <a:pt x="125" y="283"/>
                  </a:cubicBezTo>
                  <a:cubicBezTo>
                    <a:pt x="125" y="283"/>
                    <a:pt x="125" y="283"/>
                    <a:pt x="125" y="283"/>
                  </a:cubicBezTo>
                  <a:cubicBezTo>
                    <a:pt x="125" y="283"/>
                    <a:pt x="127" y="285"/>
                    <a:pt x="127" y="286"/>
                  </a:cubicBezTo>
                  <a:cubicBezTo>
                    <a:pt x="128" y="288"/>
                    <a:pt x="127" y="288"/>
                    <a:pt x="128" y="290"/>
                  </a:cubicBezTo>
                  <a:cubicBezTo>
                    <a:pt x="130" y="293"/>
                    <a:pt x="131" y="292"/>
                    <a:pt x="131" y="295"/>
                  </a:cubicBezTo>
                  <a:cubicBezTo>
                    <a:pt x="131" y="296"/>
                    <a:pt x="130" y="300"/>
                    <a:pt x="131" y="301"/>
                  </a:cubicBezTo>
                  <a:cubicBezTo>
                    <a:pt x="131" y="301"/>
                    <a:pt x="132" y="301"/>
                    <a:pt x="133" y="301"/>
                  </a:cubicBezTo>
                  <a:cubicBezTo>
                    <a:pt x="138" y="300"/>
                    <a:pt x="138" y="300"/>
                    <a:pt x="138" y="300"/>
                  </a:cubicBezTo>
                  <a:cubicBezTo>
                    <a:pt x="140" y="304"/>
                    <a:pt x="140" y="304"/>
                    <a:pt x="140" y="304"/>
                  </a:cubicBezTo>
                  <a:cubicBezTo>
                    <a:pt x="142" y="306"/>
                    <a:pt x="142" y="306"/>
                    <a:pt x="142" y="306"/>
                  </a:cubicBezTo>
                  <a:cubicBezTo>
                    <a:pt x="143" y="309"/>
                    <a:pt x="143" y="311"/>
                    <a:pt x="144" y="313"/>
                  </a:cubicBezTo>
                  <a:cubicBezTo>
                    <a:pt x="145" y="318"/>
                    <a:pt x="145" y="321"/>
                    <a:pt x="149" y="321"/>
                  </a:cubicBezTo>
                  <a:cubicBezTo>
                    <a:pt x="150" y="321"/>
                    <a:pt x="150" y="321"/>
                    <a:pt x="151" y="321"/>
                  </a:cubicBezTo>
                  <a:cubicBezTo>
                    <a:pt x="152" y="321"/>
                    <a:pt x="153" y="321"/>
                    <a:pt x="155" y="321"/>
                  </a:cubicBezTo>
                  <a:cubicBezTo>
                    <a:pt x="160" y="321"/>
                    <a:pt x="164" y="323"/>
                    <a:pt x="162" y="330"/>
                  </a:cubicBezTo>
                  <a:cubicBezTo>
                    <a:pt x="163" y="329"/>
                    <a:pt x="163" y="329"/>
                    <a:pt x="164" y="328"/>
                  </a:cubicBezTo>
                  <a:cubicBezTo>
                    <a:pt x="163" y="327"/>
                    <a:pt x="163" y="327"/>
                    <a:pt x="163" y="327"/>
                  </a:cubicBezTo>
                  <a:cubicBezTo>
                    <a:pt x="164" y="327"/>
                    <a:pt x="164" y="327"/>
                    <a:pt x="164" y="327"/>
                  </a:cubicBezTo>
                  <a:cubicBezTo>
                    <a:pt x="165" y="326"/>
                    <a:pt x="165" y="326"/>
                    <a:pt x="165" y="326"/>
                  </a:cubicBezTo>
                  <a:cubicBezTo>
                    <a:pt x="165" y="326"/>
                    <a:pt x="165" y="326"/>
                    <a:pt x="165" y="326"/>
                  </a:cubicBezTo>
                  <a:cubicBezTo>
                    <a:pt x="172" y="321"/>
                    <a:pt x="172" y="321"/>
                    <a:pt x="172" y="321"/>
                  </a:cubicBezTo>
                  <a:cubicBezTo>
                    <a:pt x="173" y="321"/>
                    <a:pt x="173" y="321"/>
                    <a:pt x="173" y="321"/>
                  </a:cubicBezTo>
                  <a:cubicBezTo>
                    <a:pt x="174" y="321"/>
                    <a:pt x="174" y="321"/>
                    <a:pt x="175" y="321"/>
                  </a:cubicBezTo>
                  <a:cubicBezTo>
                    <a:pt x="176" y="321"/>
                    <a:pt x="176" y="321"/>
                    <a:pt x="176" y="321"/>
                  </a:cubicBezTo>
                  <a:cubicBezTo>
                    <a:pt x="176" y="320"/>
                    <a:pt x="176" y="319"/>
                    <a:pt x="176" y="318"/>
                  </a:cubicBezTo>
                  <a:cubicBezTo>
                    <a:pt x="176" y="316"/>
                    <a:pt x="176" y="315"/>
                    <a:pt x="176" y="314"/>
                  </a:cubicBezTo>
                  <a:cubicBezTo>
                    <a:pt x="177" y="312"/>
                    <a:pt x="177" y="312"/>
                    <a:pt x="177" y="312"/>
                  </a:cubicBezTo>
                  <a:cubicBezTo>
                    <a:pt x="180" y="312"/>
                    <a:pt x="180" y="312"/>
                    <a:pt x="180" y="312"/>
                  </a:cubicBezTo>
                  <a:cubicBezTo>
                    <a:pt x="184" y="312"/>
                    <a:pt x="189" y="313"/>
                    <a:pt x="193" y="314"/>
                  </a:cubicBezTo>
                  <a:cubicBezTo>
                    <a:pt x="194" y="309"/>
                    <a:pt x="194" y="309"/>
                    <a:pt x="194" y="309"/>
                  </a:cubicBezTo>
                  <a:cubicBezTo>
                    <a:pt x="194" y="314"/>
                    <a:pt x="194" y="314"/>
                    <a:pt x="194" y="314"/>
                  </a:cubicBezTo>
                  <a:cubicBezTo>
                    <a:pt x="201" y="315"/>
                    <a:pt x="201" y="315"/>
                    <a:pt x="201" y="315"/>
                  </a:cubicBezTo>
                  <a:cubicBezTo>
                    <a:pt x="202" y="315"/>
                    <a:pt x="203" y="315"/>
                    <a:pt x="203" y="315"/>
                  </a:cubicBezTo>
                  <a:cubicBezTo>
                    <a:pt x="204" y="315"/>
                    <a:pt x="205" y="315"/>
                    <a:pt x="206" y="316"/>
                  </a:cubicBezTo>
                  <a:cubicBezTo>
                    <a:pt x="206" y="316"/>
                    <a:pt x="207" y="316"/>
                    <a:pt x="207" y="316"/>
                  </a:cubicBezTo>
                  <a:cubicBezTo>
                    <a:pt x="207" y="316"/>
                    <a:pt x="207" y="316"/>
                    <a:pt x="208" y="316"/>
                  </a:cubicBezTo>
                  <a:cubicBezTo>
                    <a:pt x="208" y="315"/>
                    <a:pt x="208" y="315"/>
                    <a:pt x="208" y="315"/>
                  </a:cubicBezTo>
                  <a:cubicBezTo>
                    <a:pt x="208" y="315"/>
                    <a:pt x="208" y="314"/>
                    <a:pt x="209" y="314"/>
                  </a:cubicBezTo>
                  <a:cubicBezTo>
                    <a:pt x="211" y="312"/>
                    <a:pt x="214" y="311"/>
                    <a:pt x="216" y="311"/>
                  </a:cubicBezTo>
                  <a:cubicBezTo>
                    <a:pt x="217" y="311"/>
                    <a:pt x="217" y="311"/>
                    <a:pt x="217" y="311"/>
                  </a:cubicBezTo>
                  <a:cubicBezTo>
                    <a:pt x="217" y="310"/>
                    <a:pt x="218" y="310"/>
                    <a:pt x="218" y="310"/>
                  </a:cubicBezTo>
                  <a:cubicBezTo>
                    <a:pt x="219" y="310"/>
                    <a:pt x="219" y="310"/>
                    <a:pt x="219" y="310"/>
                  </a:cubicBezTo>
                  <a:cubicBezTo>
                    <a:pt x="220" y="310"/>
                    <a:pt x="221" y="309"/>
                    <a:pt x="222" y="309"/>
                  </a:cubicBezTo>
                  <a:cubicBezTo>
                    <a:pt x="223" y="309"/>
                    <a:pt x="224" y="310"/>
                    <a:pt x="225" y="311"/>
                  </a:cubicBezTo>
                  <a:cubicBezTo>
                    <a:pt x="225" y="311"/>
                    <a:pt x="225" y="312"/>
                    <a:pt x="225" y="313"/>
                  </a:cubicBezTo>
                  <a:cubicBezTo>
                    <a:pt x="226" y="313"/>
                    <a:pt x="226" y="313"/>
                    <a:pt x="226" y="313"/>
                  </a:cubicBezTo>
                  <a:cubicBezTo>
                    <a:pt x="227" y="313"/>
                    <a:pt x="227" y="313"/>
                    <a:pt x="227" y="313"/>
                  </a:cubicBezTo>
                  <a:cubicBezTo>
                    <a:pt x="227" y="312"/>
                    <a:pt x="227" y="312"/>
                    <a:pt x="227" y="312"/>
                  </a:cubicBezTo>
                  <a:cubicBezTo>
                    <a:pt x="228" y="312"/>
                    <a:pt x="228" y="312"/>
                    <a:pt x="229" y="312"/>
                  </a:cubicBezTo>
                  <a:cubicBezTo>
                    <a:pt x="229" y="311"/>
                    <a:pt x="228" y="310"/>
                    <a:pt x="229" y="309"/>
                  </a:cubicBezTo>
                  <a:cubicBezTo>
                    <a:pt x="229" y="308"/>
                    <a:pt x="229" y="308"/>
                    <a:pt x="229" y="307"/>
                  </a:cubicBezTo>
                  <a:cubicBezTo>
                    <a:pt x="229" y="306"/>
                    <a:pt x="230" y="306"/>
                    <a:pt x="230" y="305"/>
                  </a:cubicBezTo>
                  <a:cubicBezTo>
                    <a:pt x="230" y="305"/>
                    <a:pt x="230" y="305"/>
                    <a:pt x="230" y="304"/>
                  </a:cubicBezTo>
                  <a:cubicBezTo>
                    <a:pt x="226" y="296"/>
                    <a:pt x="226" y="296"/>
                    <a:pt x="226" y="296"/>
                  </a:cubicBezTo>
                  <a:cubicBezTo>
                    <a:pt x="226" y="295"/>
                    <a:pt x="225" y="295"/>
                    <a:pt x="225" y="294"/>
                  </a:cubicBezTo>
                  <a:cubicBezTo>
                    <a:pt x="221" y="296"/>
                    <a:pt x="221" y="296"/>
                    <a:pt x="221" y="296"/>
                  </a:cubicBezTo>
                  <a:cubicBezTo>
                    <a:pt x="224" y="293"/>
                    <a:pt x="224" y="293"/>
                    <a:pt x="224" y="293"/>
                  </a:cubicBezTo>
                  <a:cubicBezTo>
                    <a:pt x="224" y="292"/>
                    <a:pt x="224" y="292"/>
                    <a:pt x="224" y="292"/>
                  </a:cubicBezTo>
                  <a:cubicBezTo>
                    <a:pt x="224" y="291"/>
                    <a:pt x="224" y="291"/>
                    <a:pt x="223" y="290"/>
                  </a:cubicBezTo>
                  <a:cubicBezTo>
                    <a:pt x="223" y="288"/>
                    <a:pt x="222" y="287"/>
                    <a:pt x="222" y="285"/>
                  </a:cubicBezTo>
                  <a:cubicBezTo>
                    <a:pt x="222" y="284"/>
                    <a:pt x="222" y="284"/>
                    <a:pt x="222" y="283"/>
                  </a:cubicBezTo>
                  <a:cubicBezTo>
                    <a:pt x="221" y="283"/>
                    <a:pt x="221" y="284"/>
                    <a:pt x="220" y="284"/>
                  </a:cubicBezTo>
                  <a:cubicBezTo>
                    <a:pt x="220" y="284"/>
                    <a:pt x="220" y="284"/>
                    <a:pt x="220" y="284"/>
                  </a:cubicBezTo>
                  <a:cubicBezTo>
                    <a:pt x="218" y="284"/>
                    <a:pt x="218" y="284"/>
                    <a:pt x="217" y="284"/>
                  </a:cubicBezTo>
                  <a:cubicBezTo>
                    <a:pt x="217" y="283"/>
                    <a:pt x="217" y="283"/>
                    <a:pt x="217" y="283"/>
                  </a:cubicBezTo>
                  <a:cubicBezTo>
                    <a:pt x="216" y="283"/>
                    <a:pt x="216" y="283"/>
                    <a:pt x="215" y="283"/>
                  </a:cubicBezTo>
                  <a:cubicBezTo>
                    <a:pt x="215" y="283"/>
                    <a:pt x="215" y="283"/>
                    <a:pt x="215" y="283"/>
                  </a:cubicBezTo>
                  <a:cubicBezTo>
                    <a:pt x="214" y="282"/>
                    <a:pt x="214" y="282"/>
                    <a:pt x="214" y="282"/>
                  </a:cubicBezTo>
                  <a:cubicBezTo>
                    <a:pt x="214" y="282"/>
                    <a:pt x="214" y="282"/>
                    <a:pt x="214" y="282"/>
                  </a:cubicBezTo>
                  <a:cubicBezTo>
                    <a:pt x="213" y="282"/>
                    <a:pt x="213" y="282"/>
                    <a:pt x="213" y="282"/>
                  </a:cubicBezTo>
                  <a:cubicBezTo>
                    <a:pt x="211" y="280"/>
                    <a:pt x="210" y="277"/>
                    <a:pt x="210" y="274"/>
                  </a:cubicBezTo>
                  <a:cubicBezTo>
                    <a:pt x="210" y="274"/>
                    <a:pt x="209" y="273"/>
                    <a:pt x="209" y="272"/>
                  </a:cubicBezTo>
                  <a:cubicBezTo>
                    <a:pt x="208" y="270"/>
                    <a:pt x="209" y="267"/>
                    <a:pt x="209" y="265"/>
                  </a:cubicBezTo>
                  <a:cubicBezTo>
                    <a:pt x="209" y="264"/>
                    <a:pt x="209" y="264"/>
                    <a:pt x="209" y="264"/>
                  </a:cubicBezTo>
                  <a:cubicBezTo>
                    <a:pt x="209" y="263"/>
                    <a:pt x="210" y="262"/>
                    <a:pt x="210" y="261"/>
                  </a:cubicBezTo>
                  <a:cubicBezTo>
                    <a:pt x="209" y="261"/>
                    <a:pt x="209" y="261"/>
                    <a:pt x="209" y="261"/>
                  </a:cubicBezTo>
                  <a:cubicBezTo>
                    <a:pt x="209" y="261"/>
                    <a:pt x="209" y="261"/>
                    <a:pt x="209" y="261"/>
                  </a:cubicBezTo>
                  <a:cubicBezTo>
                    <a:pt x="208" y="261"/>
                    <a:pt x="208" y="261"/>
                    <a:pt x="208" y="261"/>
                  </a:cubicBezTo>
                  <a:cubicBezTo>
                    <a:pt x="207" y="261"/>
                    <a:pt x="205" y="261"/>
                    <a:pt x="204" y="260"/>
                  </a:cubicBezTo>
                  <a:cubicBezTo>
                    <a:pt x="203" y="265"/>
                    <a:pt x="203" y="265"/>
                    <a:pt x="203" y="265"/>
                  </a:cubicBezTo>
                  <a:cubicBezTo>
                    <a:pt x="202" y="260"/>
                    <a:pt x="202" y="260"/>
                    <a:pt x="202" y="260"/>
                  </a:cubicBezTo>
                  <a:cubicBezTo>
                    <a:pt x="202" y="260"/>
                    <a:pt x="202" y="260"/>
                    <a:pt x="202" y="260"/>
                  </a:cubicBezTo>
                  <a:cubicBezTo>
                    <a:pt x="199" y="259"/>
                    <a:pt x="196" y="258"/>
                    <a:pt x="195" y="256"/>
                  </a:cubicBezTo>
                  <a:cubicBezTo>
                    <a:pt x="194" y="255"/>
                    <a:pt x="194" y="254"/>
                    <a:pt x="193" y="253"/>
                  </a:cubicBezTo>
                  <a:cubicBezTo>
                    <a:pt x="192" y="250"/>
                    <a:pt x="193" y="246"/>
                    <a:pt x="196" y="242"/>
                  </a:cubicBezTo>
                  <a:cubicBezTo>
                    <a:pt x="198" y="238"/>
                    <a:pt x="201" y="235"/>
                    <a:pt x="204" y="232"/>
                  </a:cubicBezTo>
                  <a:cubicBezTo>
                    <a:pt x="205" y="231"/>
                    <a:pt x="205" y="231"/>
                    <a:pt x="205" y="231"/>
                  </a:cubicBezTo>
                  <a:cubicBezTo>
                    <a:pt x="205" y="230"/>
                    <a:pt x="206" y="229"/>
                    <a:pt x="207" y="228"/>
                  </a:cubicBezTo>
                  <a:cubicBezTo>
                    <a:pt x="207" y="228"/>
                    <a:pt x="208" y="227"/>
                    <a:pt x="209" y="226"/>
                  </a:cubicBezTo>
                  <a:cubicBezTo>
                    <a:pt x="209" y="226"/>
                    <a:pt x="209" y="226"/>
                    <a:pt x="209" y="226"/>
                  </a:cubicBezTo>
                  <a:cubicBezTo>
                    <a:pt x="209" y="225"/>
                    <a:pt x="210" y="225"/>
                    <a:pt x="210" y="225"/>
                  </a:cubicBezTo>
                  <a:cubicBezTo>
                    <a:pt x="212" y="223"/>
                    <a:pt x="212" y="223"/>
                    <a:pt x="212" y="223"/>
                  </a:cubicBezTo>
                  <a:cubicBezTo>
                    <a:pt x="213" y="222"/>
                    <a:pt x="213" y="222"/>
                    <a:pt x="213" y="222"/>
                  </a:cubicBezTo>
                  <a:cubicBezTo>
                    <a:pt x="213" y="222"/>
                    <a:pt x="213" y="222"/>
                    <a:pt x="213" y="222"/>
                  </a:cubicBezTo>
                  <a:cubicBezTo>
                    <a:pt x="210" y="218"/>
                    <a:pt x="210" y="218"/>
                    <a:pt x="210" y="218"/>
                  </a:cubicBezTo>
                  <a:cubicBezTo>
                    <a:pt x="214" y="221"/>
                    <a:pt x="214" y="221"/>
                    <a:pt x="214" y="221"/>
                  </a:cubicBezTo>
                  <a:cubicBezTo>
                    <a:pt x="214" y="221"/>
                    <a:pt x="214" y="221"/>
                    <a:pt x="214" y="221"/>
                  </a:cubicBezTo>
                  <a:cubicBezTo>
                    <a:pt x="215" y="220"/>
                    <a:pt x="216" y="220"/>
                    <a:pt x="216" y="219"/>
                  </a:cubicBezTo>
                  <a:cubicBezTo>
                    <a:pt x="217" y="219"/>
                    <a:pt x="217" y="219"/>
                    <a:pt x="217" y="219"/>
                  </a:cubicBezTo>
                  <a:cubicBezTo>
                    <a:pt x="217" y="219"/>
                    <a:pt x="218" y="219"/>
                    <a:pt x="219" y="219"/>
                  </a:cubicBezTo>
                  <a:cubicBezTo>
                    <a:pt x="219" y="216"/>
                    <a:pt x="219" y="216"/>
                    <a:pt x="219" y="216"/>
                  </a:cubicBezTo>
                  <a:cubicBezTo>
                    <a:pt x="220" y="219"/>
                    <a:pt x="220" y="219"/>
                    <a:pt x="220" y="219"/>
                  </a:cubicBezTo>
                  <a:cubicBezTo>
                    <a:pt x="220" y="219"/>
                    <a:pt x="221" y="219"/>
                    <a:pt x="221" y="219"/>
                  </a:cubicBezTo>
                  <a:cubicBezTo>
                    <a:pt x="221" y="219"/>
                    <a:pt x="222" y="219"/>
                    <a:pt x="222" y="219"/>
                  </a:cubicBezTo>
                  <a:cubicBezTo>
                    <a:pt x="223" y="219"/>
                    <a:pt x="223" y="220"/>
                    <a:pt x="224" y="220"/>
                  </a:cubicBezTo>
                  <a:cubicBezTo>
                    <a:pt x="224" y="220"/>
                    <a:pt x="225" y="221"/>
                    <a:pt x="225" y="221"/>
                  </a:cubicBezTo>
                  <a:cubicBezTo>
                    <a:pt x="226" y="222"/>
                    <a:pt x="226" y="223"/>
                    <a:pt x="227" y="224"/>
                  </a:cubicBezTo>
                  <a:cubicBezTo>
                    <a:pt x="227" y="224"/>
                    <a:pt x="227" y="224"/>
                    <a:pt x="227" y="224"/>
                  </a:cubicBezTo>
                  <a:cubicBezTo>
                    <a:pt x="227" y="225"/>
                    <a:pt x="228" y="226"/>
                    <a:pt x="228" y="226"/>
                  </a:cubicBezTo>
                  <a:cubicBezTo>
                    <a:pt x="228" y="226"/>
                    <a:pt x="229" y="226"/>
                    <a:pt x="229" y="226"/>
                  </a:cubicBezTo>
                  <a:cubicBezTo>
                    <a:pt x="229" y="226"/>
                    <a:pt x="229" y="226"/>
                    <a:pt x="230" y="226"/>
                  </a:cubicBezTo>
                  <a:cubicBezTo>
                    <a:pt x="230" y="226"/>
                    <a:pt x="230" y="226"/>
                    <a:pt x="230" y="226"/>
                  </a:cubicBezTo>
                  <a:cubicBezTo>
                    <a:pt x="232" y="225"/>
                    <a:pt x="234" y="224"/>
                    <a:pt x="236" y="224"/>
                  </a:cubicBezTo>
                  <a:cubicBezTo>
                    <a:pt x="237" y="224"/>
                    <a:pt x="237" y="224"/>
                    <a:pt x="237" y="224"/>
                  </a:cubicBezTo>
                  <a:cubicBezTo>
                    <a:pt x="237" y="219"/>
                    <a:pt x="237" y="219"/>
                    <a:pt x="237" y="219"/>
                  </a:cubicBezTo>
                  <a:cubicBezTo>
                    <a:pt x="238" y="223"/>
                    <a:pt x="238" y="223"/>
                    <a:pt x="238" y="223"/>
                  </a:cubicBezTo>
                  <a:cubicBezTo>
                    <a:pt x="240" y="223"/>
                    <a:pt x="240" y="223"/>
                    <a:pt x="240" y="223"/>
                  </a:cubicBezTo>
                  <a:cubicBezTo>
                    <a:pt x="240" y="223"/>
                    <a:pt x="240" y="223"/>
                    <a:pt x="241" y="223"/>
                  </a:cubicBezTo>
                  <a:cubicBezTo>
                    <a:pt x="242" y="223"/>
                    <a:pt x="242" y="223"/>
                    <a:pt x="242" y="223"/>
                  </a:cubicBezTo>
                  <a:cubicBezTo>
                    <a:pt x="243" y="223"/>
                    <a:pt x="246" y="223"/>
                    <a:pt x="247" y="222"/>
                  </a:cubicBezTo>
                  <a:cubicBezTo>
                    <a:pt x="248" y="222"/>
                    <a:pt x="248" y="222"/>
                    <a:pt x="248" y="222"/>
                  </a:cubicBezTo>
                  <a:cubicBezTo>
                    <a:pt x="261" y="205"/>
                    <a:pt x="261" y="205"/>
                    <a:pt x="261" y="205"/>
                  </a:cubicBezTo>
                  <a:cubicBezTo>
                    <a:pt x="261" y="0"/>
                    <a:pt x="261" y="0"/>
                    <a:pt x="2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286"/>
            <p:cNvSpPr/>
            <p:nvPr/>
          </p:nvSpPr>
          <p:spPr bwMode="auto">
            <a:xfrm>
              <a:off x="7033" y="512"/>
              <a:ext cx="645" cy="551"/>
            </a:xfrm>
            <a:custGeom>
              <a:gdLst>
                <a:gd name="T0" fmla="*/ 230 w 273"/>
                <a:gd name="T1" fmla="*/ 10 h 233"/>
                <a:gd name="T2" fmla="*/ 228 w 273"/>
                <a:gd name="T3" fmla="*/ 21 h 233"/>
                <a:gd name="T4" fmla="*/ 222 w 273"/>
                <a:gd name="T5" fmla="*/ 25 h 233"/>
                <a:gd name="T6" fmla="*/ 210 w 273"/>
                <a:gd name="T7" fmla="*/ 26 h 233"/>
                <a:gd name="T8" fmla="*/ 207 w 273"/>
                <a:gd name="T9" fmla="*/ 35 h 233"/>
                <a:gd name="T10" fmla="*/ 195 w 273"/>
                <a:gd name="T11" fmla="*/ 31 h 233"/>
                <a:gd name="T12" fmla="*/ 184 w 273"/>
                <a:gd name="T13" fmla="*/ 35 h 233"/>
                <a:gd name="T14" fmla="*/ 174 w 273"/>
                <a:gd name="T15" fmla="*/ 41 h 233"/>
                <a:gd name="T16" fmla="*/ 165 w 273"/>
                <a:gd name="T17" fmla="*/ 34 h 233"/>
                <a:gd name="T18" fmla="*/ 156 w 273"/>
                <a:gd name="T19" fmla="*/ 34 h 233"/>
                <a:gd name="T20" fmla="*/ 142 w 273"/>
                <a:gd name="T21" fmla="*/ 30 h 233"/>
                <a:gd name="T22" fmla="*/ 137 w 273"/>
                <a:gd name="T23" fmla="*/ 30 h 233"/>
                <a:gd name="T24" fmla="*/ 125 w 273"/>
                <a:gd name="T25" fmla="*/ 27 h 233"/>
                <a:gd name="T26" fmla="*/ 110 w 273"/>
                <a:gd name="T27" fmla="*/ 33 h 233"/>
                <a:gd name="T28" fmla="*/ 93 w 273"/>
                <a:gd name="T29" fmla="*/ 57 h 233"/>
                <a:gd name="T30" fmla="*/ 63 w 273"/>
                <a:gd name="T31" fmla="*/ 71 h 233"/>
                <a:gd name="T32" fmla="*/ 54 w 273"/>
                <a:gd name="T33" fmla="*/ 84 h 233"/>
                <a:gd name="T34" fmla="*/ 40 w 273"/>
                <a:gd name="T35" fmla="*/ 89 h 233"/>
                <a:gd name="T36" fmla="*/ 32 w 273"/>
                <a:gd name="T37" fmla="*/ 83 h 233"/>
                <a:gd name="T38" fmla="*/ 20 w 273"/>
                <a:gd name="T39" fmla="*/ 79 h 233"/>
                <a:gd name="T40" fmla="*/ 13 w 273"/>
                <a:gd name="T41" fmla="*/ 94 h 233"/>
                <a:gd name="T42" fmla="*/ 9 w 273"/>
                <a:gd name="T43" fmla="*/ 107 h 233"/>
                <a:gd name="T44" fmla="*/ 2 w 273"/>
                <a:gd name="T45" fmla="*/ 125 h 233"/>
                <a:gd name="T46" fmla="*/ 9 w 273"/>
                <a:gd name="T47" fmla="*/ 132 h 233"/>
                <a:gd name="T48" fmla="*/ 7 w 273"/>
                <a:gd name="T49" fmla="*/ 159 h 233"/>
                <a:gd name="T50" fmla="*/ 7 w 273"/>
                <a:gd name="T51" fmla="*/ 174 h 233"/>
                <a:gd name="T52" fmla="*/ 9 w 273"/>
                <a:gd name="T53" fmla="*/ 180 h 233"/>
                <a:gd name="T54" fmla="*/ 29 w 273"/>
                <a:gd name="T55" fmla="*/ 201 h 233"/>
                <a:gd name="T56" fmla="*/ 47 w 273"/>
                <a:gd name="T57" fmla="*/ 233 h 233"/>
                <a:gd name="T58" fmla="*/ 58 w 273"/>
                <a:gd name="T59" fmla="*/ 232 h 233"/>
                <a:gd name="T60" fmla="*/ 72 w 273"/>
                <a:gd name="T61" fmla="*/ 232 h 233"/>
                <a:gd name="T62" fmla="*/ 81 w 273"/>
                <a:gd name="T63" fmla="*/ 233 h 233"/>
                <a:gd name="T64" fmla="*/ 112 w 273"/>
                <a:gd name="T65" fmla="*/ 227 h 233"/>
                <a:gd name="T66" fmla="*/ 131 w 273"/>
                <a:gd name="T67" fmla="*/ 222 h 233"/>
                <a:gd name="T68" fmla="*/ 132 w 273"/>
                <a:gd name="T69" fmla="*/ 198 h 233"/>
                <a:gd name="T70" fmla="*/ 142 w 273"/>
                <a:gd name="T71" fmla="*/ 187 h 233"/>
                <a:gd name="T72" fmla="*/ 150 w 273"/>
                <a:gd name="T73" fmla="*/ 185 h 233"/>
                <a:gd name="T74" fmla="*/ 158 w 273"/>
                <a:gd name="T75" fmla="*/ 187 h 233"/>
                <a:gd name="T76" fmla="*/ 171 w 273"/>
                <a:gd name="T77" fmla="*/ 176 h 233"/>
                <a:gd name="T78" fmla="*/ 180 w 273"/>
                <a:gd name="T79" fmla="*/ 172 h 233"/>
                <a:gd name="T80" fmla="*/ 189 w 273"/>
                <a:gd name="T81" fmla="*/ 172 h 233"/>
                <a:gd name="T82" fmla="*/ 196 w 273"/>
                <a:gd name="T83" fmla="*/ 174 h 233"/>
                <a:gd name="T84" fmla="*/ 201 w 273"/>
                <a:gd name="T85" fmla="*/ 155 h 233"/>
                <a:gd name="T86" fmla="*/ 205 w 273"/>
                <a:gd name="T87" fmla="*/ 147 h 233"/>
                <a:gd name="T88" fmla="*/ 214 w 273"/>
                <a:gd name="T89" fmla="*/ 138 h 233"/>
                <a:gd name="T90" fmla="*/ 219 w 273"/>
                <a:gd name="T91" fmla="*/ 125 h 233"/>
                <a:gd name="T92" fmla="*/ 217 w 273"/>
                <a:gd name="T93" fmla="*/ 114 h 233"/>
                <a:gd name="T94" fmla="*/ 234 w 273"/>
                <a:gd name="T95" fmla="*/ 115 h 233"/>
                <a:gd name="T96" fmla="*/ 244 w 273"/>
                <a:gd name="T97" fmla="*/ 109 h 233"/>
                <a:gd name="T98" fmla="*/ 249 w 273"/>
                <a:gd name="T99" fmla="*/ 91 h 233"/>
                <a:gd name="T100" fmla="*/ 255 w 273"/>
                <a:gd name="T101" fmla="*/ 83 h 233"/>
                <a:gd name="T102" fmla="*/ 252 w 273"/>
                <a:gd name="T103" fmla="*/ 73 h 233"/>
                <a:gd name="T104" fmla="*/ 247 w 273"/>
                <a:gd name="T105" fmla="*/ 65 h 233"/>
                <a:gd name="T106" fmla="*/ 259 w 273"/>
                <a:gd name="T107" fmla="*/ 48 h 233"/>
                <a:gd name="T108" fmla="*/ 273 w 273"/>
                <a:gd name="T109" fmla="*/ 43 h 233"/>
                <a:gd name="T110" fmla="*/ 258 w 273"/>
                <a:gd name="T111" fmla="*/ 47 h 233"/>
                <a:gd name="T112" fmla="*/ 252 w 273"/>
                <a:gd name="T113" fmla="*/ 30 h 233"/>
                <a:gd name="T114" fmla="*/ 250 w 273"/>
                <a:gd name="T115" fmla="*/ 12 h 233"/>
                <a:gd name="T116" fmla="*/ 247 w 273"/>
                <a:gd name="T117" fmla="*/ 4 h 2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3" h="233">
                  <a:moveTo>
                    <a:pt x="243" y="0"/>
                  </a:moveTo>
                  <a:cubicBezTo>
                    <a:pt x="243" y="0"/>
                    <a:pt x="243" y="0"/>
                    <a:pt x="243" y="0"/>
                  </a:cubicBezTo>
                  <a:cubicBezTo>
                    <a:pt x="241" y="0"/>
                    <a:pt x="240" y="0"/>
                    <a:pt x="240" y="0"/>
                  </a:cubicBezTo>
                  <a:cubicBezTo>
                    <a:pt x="238" y="2"/>
                    <a:pt x="236" y="4"/>
                    <a:pt x="235" y="6"/>
                  </a:cubicBezTo>
                  <a:cubicBezTo>
                    <a:pt x="234" y="7"/>
                    <a:pt x="232" y="8"/>
                    <a:pt x="231" y="10"/>
                  </a:cubicBezTo>
                  <a:cubicBezTo>
                    <a:pt x="230" y="10"/>
                    <a:pt x="230" y="10"/>
                    <a:pt x="230" y="10"/>
                  </a:cubicBezTo>
                  <a:cubicBezTo>
                    <a:pt x="229" y="11"/>
                    <a:pt x="228" y="12"/>
                    <a:pt x="227" y="13"/>
                  </a:cubicBezTo>
                  <a:cubicBezTo>
                    <a:pt x="227" y="13"/>
                    <a:pt x="227" y="13"/>
                    <a:pt x="227" y="13"/>
                  </a:cubicBezTo>
                  <a:cubicBezTo>
                    <a:pt x="228" y="13"/>
                    <a:pt x="228" y="13"/>
                    <a:pt x="228" y="13"/>
                  </a:cubicBezTo>
                  <a:cubicBezTo>
                    <a:pt x="228" y="14"/>
                    <a:pt x="229" y="15"/>
                    <a:pt x="229" y="16"/>
                  </a:cubicBezTo>
                  <a:cubicBezTo>
                    <a:pt x="230" y="17"/>
                    <a:pt x="230" y="17"/>
                    <a:pt x="230" y="18"/>
                  </a:cubicBezTo>
                  <a:cubicBezTo>
                    <a:pt x="229" y="19"/>
                    <a:pt x="229" y="20"/>
                    <a:pt x="228" y="21"/>
                  </a:cubicBezTo>
                  <a:cubicBezTo>
                    <a:pt x="228" y="22"/>
                    <a:pt x="227" y="23"/>
                    <a:pt x="226" y="24"/>
                  </a:cubicBezTo>
                  <a:cubicBezTo>
                    <a:pt x="225" y="24"/>
                    <a:pt x="225" y="24"/>
                    <a:pt x="225" y="24"/>
                  </a:cubicBezTo>
                  <a:cubicBezTo>
                    <a:pt x="227" y="29"/>
                    <a:pt x="227" y="29"/>
                    <a:pt x="227" y="29"/>
                  </a:cubicBezTo>
                  <a:cubicBezTo>
                    <a:pt x="224" y="24"/>
                    <a:pt x="224" y="24"/>
                    <a:pt x="224" y="24"/>
                  </a:cubicBezTo>
                  <a:cubicBezTo>
                    <a:pt x="224" y="24"/>
                    <a:pt x="224" y="24"/>
                    <a:pt x="224" y="24"/>
                  </a:cubicBezTo>
                  <a:cubicBezTo>
                    <a:pt x="223" y="25"/>
                    <a:pt x="223" y="25"/>
                    <a:pt x="222" y="25"/>
                  </a:cubicBezTo>
                  <a:cubicBezTo>
                    <a:pt x="222" y="25"/>
                    <a:pt x="222" y="25"/>
                    <a:pt x="222" y="25"/>
                  </a:cubicBezTo>
                  <a:cubicBezTo>
                    <a:pt x="221" y="25"/>
                    <a:pt x="219" y="24"/>
                    <a:pt x="218" y="24"/>
                  </a:cubicBezTo>
                  <a:cubicBezTo>
                    <a:pt x="217" y="24"/>
                    <a:pt x="217" y="24"/>
                    <a:pt x="216" y="24"/>
                  </a:cubicBezTo>
                  <a:cubicBezTo>
                    <a:pt x="215" y="24"/>
                    <a:pt x="213" y="23"/>
                    <a:pt x="211" y="23"/>
                  </a:cubicBezTo>
                  <a:cubicBezTo>
                    <a:pt x="211" y="24"/>
                    <a:pt x="211" y="24"/>
                    <a:pt x="211" y="24"/>
                  </a:cubicBezTo>
                  <a:cubicBezTo>
                    <a:pt x="211" y="24"/>
                    <a:pt x="211" y="25"/>
                    <a:pt x="210" y="26"/>
                  </a:cubicBezTo>
                  <a:cubicBezTo>
                    <a:pt x="210" y="29"/>
                    <a:pt x="210" y="29"/>
                    <a:pt x="210" y="29"/>
                  </a:cubicBezTo>
                  <a:cubicBezTo>
                    <a:pt x="210" y="29"/>
                    <a:pt x="210" y="29"/>
                    <a:pt x="209" y="30"/>
                  </a:cubicBezTo>
                  <a:cubicBezTo>
                    <a:pt x="209" y="30"/>
                    <a:pt x="209" y="31"/>
                    <a:pt x="209" y="32"/>
                  </a:cubicBezTo>
                  <a:cubicBezTo>
                    <a:pt x="209" y="32"/>
                    <a:pt x="208" y="33"/>
                    <a:pt x="208" y="34"/>
                  </a:cubicBezTo>
                  <a:cubicBezTo>
                    <a:pt x="213" y="37"/>
                    <a:pt x="213" y="37"/>
                    <a:pt x="213" y="37"/>
                  </a:cubicBezTo>
                  <a:cubicBezTo>
                    <a:pt x="207" y="35"/>
                    <a:pt x="207" y="35"/>
                    <a:pt x="207" y="35"/>
                  </a:cubicBezTo>
                  <a:cubicBezTo>
                    <a:pt x="206" y="35"/>
                    <a:pt x="206" y="36"/>
                    <a:pt x="205" y="36"/>
                  </a:cubicBezTo>
                  <a:cubicBezTo>
                    <a:pt x="204" y="36"/>
                    <a:pt x="204" y="36"/>
                    <a:pt x="203" y="36"/>
                  </a:cubicBezTo>
                  <a:cubicBezTo>
                    <a:pt x="203" y="36"/>
                    <a:pt x="202" y="36"/>
                    <a:pt x="202" y="36"/>
                  </a:cubicBezTo>
                  <a:cubicBezTo>
                    <a:pt x="200" y="35"/>
                    <a:pt x="199" y="34"/>
                    <a:pt x="198" y="33"/>
                  </a:cubicBezTo>
                  <a:cubicBezTo>
                    <a:pt x="195" y="31"/>
                    <a:pt x="195" y="31"/>
                    <a:pt x="195" y="31"/>
                  </a:cubicBezTo>
                  <a:cubicBezTo>
                    <a:pt x="195" y="31"/>
                    <a:pt x="195" y="31"/>
                    <a:pt x="195" y="31"/>
                  </a:cubicBezTo>
                  <a:cubicBezTo>
                    <a:pt x="195" y="31"/>
                    <a:pt x="195" y="31"/>
                    <a:pt x="194" y="31"/>
                  </a:cubicBezTo>
                  <a:cubicBezTo>
                    <a:pt x="193" y="32"/>
                    <a:pt x="193" y="32"/>
                    <a:pt x="193" y="32"/>
                  </a:cubicBezTo>
                  <a:cubicBezTo>
                    <a:pt x="193" y="32"/>
                    <a:pt x="193" y="32"/>
                    <a:pt x="193" y="32"/>
                  </a:cubicBezTo>
                  <a:cubicBezTo>
                    <a:pt x="192" y="32"/>
                    <a:pt x="191" y="32"/>
                    <a:pt x="191" y="33"/>
                  </a:cubicBezTo>
                  <a:cubicBezTo>
                    <a:pt x="189" y="34"/>
                    <a:pt x="186" y="34"/>
                    <a:pt x="184" y="35"/>
                  </a:cubicBezTo>
                  <a:cubicBezTo>
                    <a:pt x="184" y="35"/>
                    <a:pt x="184" y="35"/>
                    <a:pt x="184" y="35"/>
                  </a:cubicBezTo>
                  <a:cubicBezTo>
                    <a:pt x="183" y="35"/>
                    <a:pt x="183" y="36"/>
                    <a:pt x="183" y="36"/>
                  </a:cubicBezTo>
                  <a:cubicBezTo>
                    <a:pt x="181" y="37"/>
                    <a:pt x="180" y="38"/>
                    <a:pt x="179" y="38"/>
                  </a:cubicBezTo>
                  <a:cubicBezTo>
                    <a:pt x="179" y="39"/>
                    <a:pt x="179" y="39"/>
                    <a:pt x="179" y="39"/>
                  </a:cubicBezTo>
                  <a:cubicBezTo>
                    <a:pt x="180" y="39"/>
                    <a:pt x="180" y="39"/>
                    <a:pt x="180" y="39"/>
                  </a:cubicBezTo>
                  <a:cubicBezTo>
                    <a:pt x="178" y="39"/>
                    <a:pt x="178" y="39"/>
                    <a:pt x="178" y="39"/>
                  </a:cubicBezTo>
                  <a:cubicBezTo>
                    <a:pt x="177" y="40"/>
                    <a:pt x="176" y="41"/>
                    <a:pt x="174" y="41"/>
                  </a:cubicBezTo>
                  <a:cubicBezTo>
                    <a:pt x="174" y="41"/>
                    <a:pt x="174" y="41"/>
                    <a:pt x="174" y="41"/>
                  </a:cubicBezTo>
                  <a:cubicBezTo>
                    <a:pt x="172" y="41"/>
                    <a:pt x="171" y="40"/>
                    <a:pt x="170" y="39"/>
                  </a:cubicBezTo>
                  <a:cubicBezTo>
                    <a:pt x="167" y="37"/>
                    <a:pt x="167" y="37"/>
                    <a:pt x="167" y="37"/>
                  </a:cubicBezTo>
                  <a:cubicBezTo>
                    <a:pt x="166" y="36"/>
                    <a:pt x="166" y="35"/>
                    <a:pt x="166" y="35"/>
                  </a:cubicBezTo>
                  <a:cubicBezTo>
                    <a:pt x="166" y="34"/>
                    <a:pt x="166" y="34"/>
                    <a:pt x="166" y="34"/>
                  </a:cubicBezTo>
                  <a:cubicBezTo>
                    <a:pt x="165" y="34"/>
                    <a:pt x="165" y="34"/>
                    <a:pt x="165" y="34"/>
                  </a:cubicBezTo>
                  <a:cubicBezTo>
                    <a:pt x="165" y="34"/>
                    <a:pt x="165" y="34"/>
                    <a:pt x="165" y="34"/>
                  </a:cubicBezTo>
                  <a:cubicBezTo>
                    <a:pt x="164" y="34"/>
                    <a:pt x="164" y="34"/>
                    <a:pt x="163" y="34"/>
                  </a:cubicBezTo>
                  <a:cubicBezTo>
                    <a:pt x="162" y="34"/>
                    <a:pt x="161" y="34"/>
                    <a:pt x="160" y="34"/>
                  </a:cubicBezTo>
                  <a:cubicBezTo>
                    <a:pt x="160" y="34"/>
                    <a:pt x="160" y="34"/>
                    <a:pt x="160" y="34"/>
                  </a:cubicBezTo>
                  <a:cubicBezTo>
                    <a:pt x="159" y="34"/>
                    <a:pt x="158" y="34"/>
                    <a:pt x="157" y="34"/>
                  </a:cubicBezTo>
                  <a:cubicBezTo>
                    <a:pt x="156" y="34"/>
                    <a:pt x="156" y="34"/>
                    <a:pt x="156" y="34"/>
                  </a:cubicBezTo>
                  <a:cubicBezTo>
                    <a:pt x="154" y="34"/>
                    <a:pt x="153" y="33"/>
                    <a:pt x="152" y="32"/>
                  </a:cubicBezTo>
                  <a:cubicBezTo>
                    <a:pt x="152" y="32"/>
                    <a:pt x="152" y="31"/>
                    <a:pt x="151" y="31"/>
                  </a:cubicBezTo>
                  <a:cubicBezTo>
                    <a:pt x="150" y="30"/>
                    <a:pt x="149" y="30"/>
                    <a:pt x="148" y="30"/>
                  </a:cubicBezTo>
                  <a:cubicBezTo>
                    <a:pt x="148" y="30"/>
                    <a:pt x="147" y="30"/>
                    <a:pt x="146" y="30"/>
                  </a:cubicBezTo>
                  <a:cubicBezTo>
                    <a:pt x="142" y="29"/>
                    <a:pt x="142" y="29"/>
                    <a:pt x="142" y="29"/>
                  </a:cubicBezTo>
                  <a:cubicBezTo>
                    <a:pt x="142" y="30"/>
                    <a:pt x="142" y="30"/>
                    <a:pt x="142" y="30"/>
                  </a:cubicBezTo>
                  <a:cubicBezTo>
                    <a:pt x="139" y="30"/>
                    <a:pt x="139" y="30"/>
                    <a:pt x="139" y="30"/>
                  </a:cubicBezTo>
                  <a:cubicBezTo>
                    <a:pt x="139" y="30"/>
                    <a:pt x="139" y="30"/>
                    <a:pt x="139" y="30"/>
                  </a:cubicBezTo>
                  <a:cubicBezTo>
                    <a:pt x="138" y="30"/>
                    <a:pt x="138" y="30"/>
                    <a:pt x="138" y="30"/>
                  </a:cubicBezTo>
                  <a:cubicBezTo>
                    <a:pt x="138" y="30"/>
                    <a:pt x="138" y="30"/>
                    <a:pt x="138" y="30"/>
                  </a:cubicBezTo>
                  <a:cubicBezTo>
                    <a:pt x="137" y="30"/>
                    <a:pt x="137" y="30"/>
                    <a:pt x="137" y="30"/>
                  </a:cubicBezTo>
                  <a:cubicBezTo>
                    <a:pt x="137" y="30"/>
                    <a:pt x="137" y="30"/>
                    <a:pt x="137" y="30"/>
                  </a:cubicBezTo>
                  <a:cubicBezTo>
                    <a:pt x="136" y="30"/>
                    <a:pt x="135" y="30"/>
                    <a:pt x="134" y="30"/>
                  </a:cubicBezTo>
                  <a:cubicBezTo>
                    <a:pt x="134" y="30"/>
                    <a:pt x="134" y="30"/>
                    <a:pt x="133" y="30"/>
                  </a:cubicBezTo>
                  <a:cubicBezTo>
                    <a:pt x="132" y="30"/>
                    <a:pt x="131" y="29"/>
                    <a:pt x="130" y="29"/>
                  </a:cubicBezTo>
                  <a:cubicBezTo>
                    <a:pt x="130" y="29"/>
                    <a:pt x="130" y="29"/>
                    <a:pt x="130" y="29"/>
                  </a:cubicBezTo>
                  <a:cubicBezTo>
                    <a:pt x="129" y="29"/>
                    <a:pt x="128" y="28"/>
                    <a:pt x="127" y="28"/>
                  </a:cubicBezTo>
                  <a:cubicBezTo>
                    <a:pt x="125" y="27"/>
                    <a:pt x="125" y="27"/>
                    <a:pt x="125" y="27"/>
                  </a:cubicBezTo>
                  <a:cubicBezTo>
                    <a:pt x="125" y="27"/>
                    <a:pt x="124" y="27"/>
                    <a:pt x="124" y="26"/>
                  </a:cubicBezTo>
                  <a:cubicBezTo>
                    <a:pt x="122" y="25"/>
                    <a:pt x="122" y="25"/>
                    <a:pt x="122" y="25"/>
                  </a:cubicBezTo>
                  <a:cubicBezTo>
                    <a:pt x="121" y="26"/>
                    <a:pt x="121" y="26"/>
                    <a:pt x="121" y="26"/>
                  </a:cubicBezTo>
                  <a:cubicBezTo>
                    <a:pt x="120" y="29"/>
                    <a:pt x="118" y="31"/>
                    <a:pt x="115" y="32"/>
                  </a:cubicBezTo>
                  <a:cubicBezTo>
                    <a:pt x="115" y="33"/>
                    <a:pt x="114" y="33"/>
                    <a:pt x="112" y="33"/>
                  </a:cubicBezTo>
                  <a:cubicBezTo>
                    <a:pt x="112" y="33"/>
                    <a:pt x="111" y="33"/>
                    <a:pt x="110" y="33"/>
                  </a:cubicBezTo>
                  <a:cubicBezTo>
                    <a:pt x="110" y="33"/>
                    <a:pt x="110" y="33"/>
                    <a:pt x="110" y="33"/>
                  </a:cubicBezTo>
                  <a:cubicBezTo>
                    <a:pt x="97" y="46"/>
                    <a:pt x="97" y="46"/>
                    <a:pt x="97" y="46"/>
                  </a:cubicBezTo>
                  <a:cubicBezTo>
                    <a:pt x="97" y="47"/>
                    <a:pt x="97" y="47"/>
                    <a:pt x="97" y="47"/>
                  </a:cubicBezTo>
                  <a:cubicBezTo>
                    <a:pt x="96" y="47"/>
                    <a:pt x="96" y="48"/>
                    <a:pt x="96" y="48"/>
                  </a:cubicBezTo>
                  <a:cubicBezTo>
                    <a:pt x="96" y="51"/>
                    <a:pt x="96" y="54"/>
                    <a:pt x="93" y="57"/>
                  </a:cubicBezTo>
                  <a:cubicBezTo>
                    <a:pt x="93" y="57"/>
                    <a:pt x="93" y="57"/>
                    <a:pt x="93" y="57"/>
                  </a:cubicBezTo>
                  <a:cubicBezTo>
                    <a:pt x="90" y="60"/>
                    <a:pt x="88" y="61"/>
                    <a:pt x="84" y="63"/>
                  </a:cubicBezTo>
                  <a:cubicBezTo>
                    <a:pt x="82" y="63"/>
                    <a:pt x="80" y="65"/>
                    <a:pt x="77" y="65"/>
                  </a:cubicBezTo>
                  <a:cubicBezTo>
                    <a:pt x="75" y="66"/>
                    <a:pt x="75" y="66"/>
                    <a:pt x="75" y="66"/>
                  </a:cubicBezTo>
                  <a:cubicBezTo>
                    <a:pt x="73" y="67"/>
                    <a:pt x="71" y="68"/>
                    <a:pt x="69" y="69"/>
                  </a:cubicBezTo>
                  <a:cubicBezTo>
                    <a:pt x="67" y="69"/>
                    <a:pt x="66" y="70"/>
                    <a:pt x="64" y="70"/>
                  </a:cubicBezTo>
                  <a:cubicBezTo>
                    <a:pt x="63" y="71"/>
                    <a:pt x="63" y="71"/>
                    <a:pt x="63" y="71"/>
                  </a:cubicBezTo>
                  <a:cubicBezTo>
                    <a:pt x="63" y="71"/>
                    <a:pt x="63" y="71"/>
                    <a:pt x="63" y="71"/>
                  </a:cubicBezTo>
                  <a:cubicBezTo>
                    <a:pt x="64" y="73"/>
                    <a:pt x="62" y="75"/>
                    <a:pt x="61" y="77"/>
                  </a:cubicBezTo>
                  <a:cubicBezTo>
                    <a:pt x="60" y="78"/>
                    <a:pt x="60" y="78"/>
                    <a:pt x="60" y="78"/>
                  </a:cubicBezTo>
                  <a:cubicBezTo>
                    <a:pt x="59" y="79"/>
                    <a:pt x="57" y="82"/>
                    <a:pt x="55" y="83"/>
                  </a:cubicBezTo>
                  <a:cubicBezTo>
                    <a:pt x="54" y="84"/>
                    <a:pt x="54" y="84"/>
                    <a:pt x="54" y="84"/>
                  </a:cubicBezTo>
                  <a:cubicBezTo>
                    <a:pt x="54" y="84"/>
                    <a:pt x="54" y="84"/>
                    <a:pt x="54" y="84"/>
                  </a:cubicBezTo>
                  <a:cubicBezTo>
                    <a:pt x="53" y="84"/>
                    <a:pt x="52" y="84"/>
                    <a:pt x="52" y="84"/>
                  </a:cubicBezTo>
                  <a:cubicBezTo>
                    <a:pt x="51" y="85"/>
                    <a:pt x="50" y="85"/>
                    <a:pt x="49" y="85"/>
                  </a:cubicBezTo>
                  <a:cubicBezTo>
                    <a:pt x="47" y="85"/>
                    <a:pt x="47" y="85"/>
                    <a:pt x="47" y="85"/>
                  </a:cubicBezTo>
                  <a:cubicBezTo>
                    <a:pt x="46" y="85"/>
                    <a:pt x="44" y="85"/>
                    <a:pt x="43" y="86"/>
                  </a:cubicBezTo>
                  <a:cubicBezTo>
                    <a:pt x="43" y="87"/>
                    <a:pt x="43" y="87"/>
                    <a:pt x="43" y="87"/>
                  </a:cubicBezTo>
                  <a:cubicBezTo>
                    <a:pt x="42" y="88"/>
                    <a:pt x="42" y="89"/>
                    <a:pt x="40" y="89"/>
                  </a:cubicBezTo>
                  <a:cubicBezTo>
                    <a:pt x="40" y="89"/>
                    <a:pt x="40" y="89"/>
                    <a:pt x="40" y="89"/>
                  </a:cubicBezTo>
                  <a:cubicBezTo>
                    <a:pt x="38" y="89"/>
                    <a:pt x="37" y="88"/>
                    <a:pt x="35" y="86"/>
                  </a:cubicBezTo>
                  <a:cubicBezTo>
                    <a:pt x="34" y="86"/>
                    <a:pt x="34" y="85"/>
                    <a:pt x="34" y="85"/>
                  </a:cubicBezTo>
                  <a:cubicBezTo>
                    <a:pt x="33" y="84"/>
                    <a:pt x="33" y="84"/>
                    <a:pt x="32" y="84"/>
                  </a:cubicBezTo>
                  <a:cubicBezTo>
                    <a:pt x="32" y="83"/>
                    <a:pt x="32" y="83"/>
                    <a:pt x="32" y="83"/>
                  </a:cubicBezTo>
                  <a:cubicBezTo>
                    <a:pt x="32" y="83"/>
                    <a:pt x="32" y="83"/>
                    <a:pt x="32" y="83"/>
                  </a:cubicBezTo>
                  <a:cubicBezTo>
                    <a:pt x="31" y="82"/>
                    <a:pt x="31" y="82"/>
                    <a:pt x="31" y="82"/>
                  </a:cubicBezTo>
                  <a:cubicBezTo>
                    <a:pt x="30" y="81"/>
                    <a:pt x="29" y="81"/>
                    <a:pt x="27" y="80"/>
                  </a:cubicBezTo>
                  <a:cubicBezTo>
                    <a:pt x="27" y="80"/>
                    <a:pt x="27" y="80"/>
                    <a:pt x="27" y="80"/>
                  </a:cubicBezTo>
                  <a:cubicBezTo>
                    <a:pt x="27" y="80"/>
                    <a:pt x="26" y="80"/>
                    <a:pt x="25" y="80"/>
                  </a:cubicBezTo>
                  <a:cubicBezTo>
                    <a:pt x="24" y="80"/>
                    <a:pt x="23" y="79"/>
                    <a:pt x="22" y="79"/>
                  </a:cubicBezTo>
                  <a:cubicBezTo>
                    <a:pt x="20" y="79"/>
                    <a:pt x="20" y="79"/>
                    <a:pt x="20" y="79"/>
                  </a:cubicBezTo>
                  <a:cubicBezTo>
                    <a:pt x="19" y="78"/>
                    <a:pt x="19" y="78"/>
                    <a:pt x="19" y="78"/>
                  </a:cubicBezTo>
                  <a:cubicBezTo>
                    <a:pt x="16" y="82"/>
                    <a:pt x="16" y="82"/>
                    <a:pt x="16" y="82"/>
                  </a:cubicBezTo>
                  <a:cubicBezTo>
                    <a:pt x="14" y="88"/>
                    <a:pt x="14" y="88"/>
                    <a:pt x="14" y="88"/>
                  </a:cubicBezTo>
                  <a:cubicBezTo>
                    <a:pt x="14" y="89"/>
                    <a:pt x="14" y="90"/>
                    <a:pt x="14" y="91"/>
                  </a:cubicBezTo>
                  <a:cubicBezTo>
                    <a:pt x="14" y="93"/>
                    <a:pt x="14" y="93"/>
                    <a:pt x="14" y="93"/>
                  </a:cubicBezTo>
                  <a:cubicBezTo>
                    <a:pt x="13" y="94"/>
                    <a:pt x="13" y="94"/>
                    <a:pt x="13" y="94"/>
                  </a:cubicBezTo>
                  <a:cubicBezTo>
                    <a:pt x="13" y="94"/>
                    <a:pt x="13" y="94"/>
                    <a:pt x="13" y="94"/>
                  </a:cubicBezTo>
                  <a:cubicBezTo>
                    <a:pt x="12" y="97"/>
                    <a:pt x="12" y="98"/>
                    <a:pt x="9" y="100"/>
                  </a:cubicBezTo>
                  <a:cubicBezTo>
                    <a:pt x="8" y="101"/>
                    <a:pt x="8" y="101"/>
                    <a:pt x="8" y="101"/>
                  </a:cubicBezTo>
                  <a:cubicBezTo>
                    <a:pt x="7" y="102"/>
                    <a:pt x="7" y="102"/>
                    <a:pt x="6" y="103"/>
                  </a:cubicBezTo>
                  <a:cubicBezTo>
                    <a:pt x="7" y="104"/>
                    <a:pt x="7" y="104"/>
                    <a:pt x="7" y="105"/>
                  </a:cubicBezTo>
                  <a:cubicBezTo>
                    <a:pt x="9" y="107"/>
                    <a:pt x="9" y="107"/>
                    <a:pt x="9" y="107"/>
                  </a:cubicBezTo>
                  <a:cubicBezTo>
                    <a:pt x="0" y="116"/>
                    <a:pt x="0" y="116"/>
                    <a:pt x="0" y="116"/>
                  </a:cubicBezTo>
                  <a:cubicBezTo>
                    <a:pt x="0" y="117"/>
                    <a:pt x="0" y="118"/>
                    <a:pt x="0" y="120"/>
                  </a:cubicBezTo>
                  <a:cubicBezTo>
                    <a:pt x="0" y="121"/>
                    <a:pt x="0" y="122"/>
                    <a:pt x="0" y="123"/>
                  </a:cubicBezTo>
                  <a:cubicBezTo>
                    <a:pt x="0" y="124"/>
                    <a:pt x="0" y="124"/>
                    <a:pt x="0" y="124"/>
                  </a:cubicBezTo>
                  <a:cubicBezTo>
                    <a:pt x="0" y="124"/>
                    <a:pt x="0" y="125"/>
                    <a:pt x="0" y="125"/>
                  </a:cubicBezTo>
                  <a:cubicBezTo>
                    <a:pt x="0" y="125"/>
                    <a:pt x="1" y="125"/>
                    <a:pt x="2" y="125"/>
                  </a:cubicBezTo>
                  <a:cubicBezTo>
                    <a:pt x="3" y="126"/>
                    <a:pt x="3" y="126"/>
                    <a:pt x="3" y="126"/>
                  </a:cubicBezTo>
                  <a:cubicBezTo>
                    <a:pt x="3" y="126"/>
                    <a:pt x="4" y="126"/>
                    <a:pt x="5" y="126"/>
                  </a:cubicBezTo>
                  <a:cubicBezTo>
                    <a:pt x="5" y="126"/>
                    <a:pt x="5" y="126"/>
                    <a:pt x="5" y="126"/>
                  </a:cubicBezTo>
                  <a:cubicBezTo>
                    <a:pt x="6" y="126"/>
                    <a:pt x="7" y="127"/>
                    <a:pt x="8" y="127"/>
                  </a:cubicBezTo>
                  <a:cubicBezTo>
                    <a:pt x="12" y="128"/>
                    <a:pt x="12" y="128"/>
                    <a:pt x="12" y="128"/>
                  </a:cubicBezTo>
                  <a:cubicBezTo>
                    <a:pt x="9" y="132"/>
                    <a:pt x="9" y="132"/>
                    <a:pt x="9" y="132"/>
                  </a:cubicBezTo>
                  <a:cubicBezTo>
                    <a:pt x="9" y="132"/>
                    <a:pt x="8" y="133"/>
                    <a:pt x="7" y="134"/>
                  </a:cubicBezTo>
                  <a:cubicBezTo>
                    <a:pt x="7" y="134"/>
                    <a:pt x="7" y="134"/>
                    <a:pt x="7" y="134"/>
                  </a:cubicBezTo>
                  <a:cubicBezTo>
                    <a:pt x="4" y="137"/>
                    <a:pt x="2" y="139"/>
                    <a:pt x="2" y="139"/>
                  </a:cubicBezTo>
                  <a:cubicBezTo>
                    <a:pt x="6" y="155"/>
                    <a:pt x="6" y="155"/>
                    <a:pt x="6" y="155"/>
                  </a:cubicBezTo>
                  <a:cubicBezTo>
                    <a:pt x="6" y="155"/>
                    <a:pt x="6" y="156"/>
                    <a:pt x="6" y="157"/>
                  </a:cubicBezTo>
                  <a:cubicBezTo>
                    <a:pt x="7" y="159"/>
                    <a:pt x="7" y="159"/>
                    <a:pt x="7" y="159"/>
                  </a:cubicBezTo>
                  <a:cubicBezTo>
                    <a:pt x="7" y="160"/>
                    <a:pt x="8" y="161"/>
                    <a:pt x="8" y="162"/>
                  </a:cubicBezTo>
                  <a:cubicBezTo>
                    <a:pt x="8" y="164"/>
                    <a:pt x="8" y="165"/>
                    <a:pt x="7" y="167"/>
                  </a:cubicBezTo>
                  <a:cubicBezTo>
                    <a:pt x="7" y="168"/>
                    <a:pt x="7" y="170"/>
                    <a:pt x="7" y="171"/>
                  </a:cubicBezTo>
                  <a:cubicBezTo>
                    <a:pt x="7" y="172"/>
                    <a:pt x="7" y="172"/>
                    <a:pt x="7" y="172"/>
                  </a:cubicBezTo>
                  <a:cubicBezTo>
                    <a:pt x="7" y="172"/>
                    <a:pt x="7" y="173"/>
                    <a:pt x="7" y="173"/>
                  </a:cubicBezTo>
                  <a:cubicBezTo>
                    <a:pt x="7" y="174"/>
                    <a:pt x="7" y="174"/>
                    <a:pt x="7" y="174"/>
                  </a:cubicBezTo>
                  <a:cubicBezTo>
                    <a:pt x="12" y="174"/>
                    <a:pt x="12" y="174"/>
                    <a:pt x="12" y="174"/>
                  </a:cubicBezTo>
                  <a:cubicBezTo>
                    <a:pt x="7" y="175"/>
                    <a:pt x="7" y="175"/>
                    <a:pt x="7" y="175"/>
                  </a:cubicBezTo>
                  <a:cubicBezTo>
                    <a:pt x="7" y="176"/>
                    <a:pt x="7" y="176"/>
                    <a:pt x="7" y="176"/>
                  </a:cubicBezTo>
                  <a:cubicBezTo>
                    <a:pt x="7" y="177"/>
                    <a:pt x="7" y="178"/>
                    <a:pt x="7" y="178"/>
                  </a:cubicBezTo>
                  <a:cubicBezTo>
                    <a:pt x="7" y="179"/>
                    <a:pt x="7" y="179"/>
                    <a:pt x="7" y="180"/>
                  </a:cubicBezTo>
                  <a:cubicBezTo>
                    <a:pt x="8" y="180"/>
                    <a:pt x="8" y="180"/>
                    <a:pt x="9" y="180"/>
                  </a:cubicBezTo>
                  <a:cubicBezTo>
                    <a:pt x="21" y="182"/>
                    <a:pt x="21" y="182"/>
                    <a:pt x="21" y="182"/>
                  </a:cubicBezTo>
                  <a:cubicBezTo>
                    <a:pt x="24" y="182"/>
                    <a:pt x="25" y="183"/>
                    <a:pt x="26" y="184"/>
                  </a:cubicBezTo>
                  <a:cubicBezTo>
                    <a:pt x="28" y="188"/>
                    <a:pt x="28" y="188"/>
                    <a:pt x="28" y="188"/>
                  </a:cubicBezTo>
                  <a:cubicBezTo>
                    <a:pt x="29" y="188"/>
                    <a:pt x="29" y="189"/>
                    <a:pt x="29" y="189"/>
                  </a:cubicBezTo>
                  <a:cubicBezTo>
                    <a:pt x="30" y="191"/>
                    <a:pt x="30" y="192"/>
                    <a:pt x="31" y="193"/>
                  </a:cubicBezTo>
                  <a:cubicBezTo>
                    <a:pt x="31" y="196"/>
                    <a:pt x="31" y="198"/>
                    <a:pt x="29" y="201"/>
                  </a:cubicBezTo>
                  <a:cubicBezTo>
                    <a:pt x="27" y="204"/>
                    <a:pt x="25" y="206"/>
                    <a:pt x="24" y="207"/>
                  </a:cubicBezTo>
                  <a:cubicBezTo>
                    <a:pt x="23" y="208"/>
                    <a:pt x="23" y="209"/>
                    <a:pt x="22" y="210"/>
                  </a:cubicBezTo>
                  <a:cubicBezTo>
                    <a:pt x="20" y="213"/>
                    <a:pt x="20" y="213"/>
                    <a:pt x="20" y="213"/>
                  </a:cubicBezTo>
                  <a:cubicBezTo>
                    <a:pt x="18" y="214"/>
                    <a:pt x="17" y="216"/>
                    <a:pt x="15" y="217"/>
                  </a:cubicBezTo>
                  <a:cubicBezTo>
                    <a:pt x="11" y="223"/>
                    <a:pt x="11" y="223"/>
                    <a:pt x="11" y="223"/>
                  </a:cubicBezTo>
                  <a:cubicBezTo>
                    <a:pt x="47" y="233"/>
                    <a:pt x="47" y="233"/>
                    <a:pt x="47" y="233"/>
                  </a:cubicBezTo>
                  <a:cubicBezTo>
                    <a:pt x="47" y="233"/>
                    <a:pt x="48" y="233"/>
                    <a:pt x="48" y="233"/>
                  </a:cubicBezTo>
                  <a:cubicBezTo>
                    <a:pt x="48" y="233"/>
                    <a:pt x="48" y="233"/>
                    <a:pt x="48" y="233"/>
                  </a:cubicBezTo>
                  <a:cubicBezTo>
                    <a:pt x="49" y="233"/>
                    <a:pt x="50" y="233"/>
                    <a:pt x="51" y="233"/>
                  </a:cubicBezTo>
                  <a:cubicBezTo>
                    <a:pt x="51" y="233"/>
                    <a:pt x="51" y="233"/>
                    <a:pt x="51" y="233"/>
                  </a:cubicBezTo>
                  <a:cubicBezTo>
                    <a:pt x="52" y="233"/>
                    <a:pt x="53" y="233"/>
                    <a:pt x="54" y="233"/>
                  </a:cubicBezTo>
                  <a:cubicBezTo>
                    <a:pt x="58" y="232"/>
                    <a:pt x="58" y="232"/>
                    <a:pt x="58" y="232"/>
                  </a:cubicBezTo>
                  <a:cubicBezTo>
                    <a:pt x="58" y="232"/>
                    <a:pt x="58" y="232"/>
                    <a:pt x="58" y="232"/>
                  </a:cubicBezTo>
                  <a:cubicBezTo>
                    <a:pt x="69" y="231"/>
                    <a:pt x="69" y="231"/>
                    <a:pt x="69" y="231"/>
                  </a:cubicBezTo>
                  <a:cubicBezTo>
                    <a:pt x="69" y="231"/>
                    <a:pt x="69" y="231"/>
                    <a:pt x="70" y="231"/>
                  </a:cubicBezTo>
                  <a:cubicBezTo>
                    <a:pt x="70" y="231"/>
                    <a:pt x="71" y="232"/>
                    <a:pt x="71" y="232"/>
                  </a:cubicBezTo>
                  <a:cubicBezTo>
                    <a:pt x="72" y="232"/>
                    <a:pt x="72" y="232"/>
                    <a:pt x="72" y="232"/>
                  </a:cubicBezTo>
                  <a:cubicBezTo>
                    <a:pt x="72" y="232"/>
                    <a:pt x="72" y="232"/>
                    <a:pt x="72" y="232"/>
                  </a:cubicBezTo>
                  <a:cubicBezTo>
                    <a:pt x="73" y="232"/>
                    <a:pt x="73" y="232"/>
                    <a:pt x="73" y="232"/>
                  </a:cubicBezTo>
                  <a:cubicBezTo>
                    <a:pt x="74" y="232"/>
                    <a:pt x="75" y="232"/>
                    <a:pt x="76" y="233"/>
                  </a:cubicBezTo>
                  <a:cubicBezTo>
                    <a:pt x="76" y="233"/>
                    <a:pt x="77" y="233"/>
                    <a:pt x="77" y="233"/>
                  </a:cubicBezTo>
                  <a:cubicBezTo>
                    <a:pt x="78" y="233"/>
                    <a:pt x="78" y="233"/>
                    <a:pt x="78" y="233"/>
                  </a:cubicBezTo>
                  <a:cubicBezTo>
                    <a:pt x="79" y="233"/>
                    <a:pt x="79" y="233"/>
                    <a:pt x="80" y="233"/>
                  </a:cubicBezTo>
                  <a:cubicBezTo>
                    <a:pt x="80" y="233"/>
                    <a:pt x="80" y="233"/>
                    <a:pt x="81" y="233"/>
                  </a:cubicBezTo>
                  <a:cubicBezTo>
                    <a:pt x="82" y="233"/>
                    <a:pt x="83" y="232"/>
                    <a:pt x="85" y="232"/>
                  </a:cubicBezTo>
                  <a:cubicBezTo>
                    <a:pt x="86" y="231"/>
                    <a:pt x="87" y="231"/>
                    <a:pt x="88" y="230"/>
                  </a:cubicBezTo>
                  <a:cubicBezTo>
                    <a:pt x="88" y="230"/>
                    <a:pt x="89" y="229"/>
                    <a:pt x="90" y="229"/>
                  </a:cubicBezTo>
                  <a:cubicBezTo>
                    <a:pt x="94" y="228"/>
                    <a:pt x="97" y="228"/>
                    <a:pt x="100" y="228"/>
                  </a:cubicBezTo>
                  <a:cubicBezTo>
                    <a:pt x="102" y="228"/>
                    <a:pt x="105" y="227"/>
                    <a:pt x="107" y="227"/>
                  </a:cubicBezTo>
                  <a:cubicBezTo>
                    <a:pt x="112" y="227"/>
                    <a:pt x="112" y="227"/>
                    <a:pt x="112" y="227"/>
                  </a:cubicBezTo>
                  <a:cubicBezTo>
                    <a:pt x="112" y="227"/>
                    <a:pt x="113" y="227"/>
                    <a:pt x="113" y="227"/>
                  </a:cubicBezTo>
                  <a:cubicBezTo>
                    <a:pt x="116" y="227"/>
                    <a:pt x="118" y="226"/>
                    <a:pt x="120" y="225"/>
                  </a:cubicBezTo>
                  <a:cubicBezTo>
                    <a:pt x="122" y="225"/>
                    <a:pt x="124" y="224"/>
                    <a:pt x="126" y="223"/>
                  </a:cubicBezTo>
                  <a:cubicBezTo>
                    <a:pt x="129" y="223"/>
                    <a:pt x="129" y="223"/>
                    <a:pt x="129" y="223"/>
                  </a:cubicBezTo>
                  <a:cubicBezTo>
                    <a:pt x="129" y="223"/>
                    <a:pt x="130" y="222"/>
                    <a:pt x="130" y="222"/>
                  </a:cubicBezTo>
                  <a:cubicBezTo>
                    <a:pt x="131" y="222"/>
                    <a:pt x="131" y="222"/>
                    <a:pt x="131" y="222"/>
                  </a:cubicBezTo>
                  <a:cubicBezTo>
                    <a:pt x="129" y="220"/>
                    <a:pt x="129" y="218"/>
                    <a:pt x="130" y="216"/>
                  </a:cubicBezTo>
                  <a:cubicBezTo>
                    <a:pt x="130" y="216"/>
                    <a:pt x="130" y="216"/>
                    <a:pt x="130" y="216"/>
                  </a:cubicBezTo>
                  <a:cubicBezTo>
                    <a:pt x="130" y="214"/>
                    <a:pt x="130" y="213"/>
                    <a:pt x="130" y="212"/>
                  </a:cubicBezTo>
                  <a:cubicBezTo>
                    <a:pt x="131" y="211"/>
                    <a:pt x="131" y="211"/>
                    <a:pt x="131" y="210"/>
                  </a:cubicBezTo>
                  <a:cubicBezTo>
                    <a:pt x="131" y="207"/>
                    <a:pt x="131" y="204"/>
                    <a:pt x="132" y="201"/>
                  </a:cubicBezTo>
                  <a:cubicBezTo>
                    <a:pt x="132" y="198"/>
                    <a:pt x="132" y="198"/>
                    <a:pt x="132" y="198"/>
                  </a:cubicBezTo>
                  <a:cubicBezTo>
                    <a:pt x="132" y="198"/>
                    <a:pt x="133" y="198"/>
                    <a:pt x="133" y="197"/>
                  </a:cubicBezTo>
                  <a:cubicBezTo>
                    <a:pt x="133" y="196"/>
                    <a:pt x="134" y="195"/>
                    <a:pt x="135" y="194"/>
                  </a:cubicBezTo>
                  <a:cubicBezTo>
                    <a:pt x="135" y="194"/>
                    <a:pt x="135" y="194"/>
                    <a:pt x="135" y="194"/>
                  </a:cubicBezTo>
                  <a:cubicBezTo>
                    <a:pt x="136" y="193"/>
                    <a:pt x="137" y="192"/>
                    <a:pt x="139" y="190"/>
                  </a:cubicBezTo>
                  <a:cubicBezTo>
                    <a:pt x="140" y="189"/>
                    <a:pt x="141" y="188"/>
                    <a:pt x="142" y="188"/>
                  </a:cubicBezTo>
                  <a:cubicBezTo>
                    <a:pt x="142" y="187"/>
                    <a:pt x="142" y="187"/>
                    <a:pt x="142" y="187"/>
                  </a:cubicBezTo>
                  <a:cubicBezTo>
                    <a:pt x="143" y="187"/>
                    <a:pt x="143" y="187"/>
                    <a:pt x="144" y="186"/>
                  </a:cubicBezTo>
                  <a:cubicBezTo>
                    <a:pt x="140" y="184"/>
                    <a:pt x="140" y="184"/>
                    <a:pt x="140" y="184"/>
                  </a:cubicBezTo>
                  <a:cubicBezTo>
                    <a:pt x="145" y="186"/>
                    <a:pt x="145" y="186"/>
                    <a:pt x="145" y="186"/>
                  </a:cubicBezTo>
                  <a:cubicBezTo>
                    <a:pt x="145" y="186"/>
                    <a:pt x="145" y="186"/>
                    <a:pt x="145" y="186"/>
                  </a:cubicBezTo>
                  <a:cubicBezTo>
                    <a:pt x="146" y="185"/>
                    <a:pt x="148" y="185"/>
                    <a:pt x="149" y="185"/>
                  </a:cubicBezTo>
                  <a:cubicBezTo>
                    <a:pt x="149" y="185"/>
                    <a:pt x="149" y="185"/>
                    <a:pt x="150" y="185"/>
                  </a:cubicBezTo>
                  <a:cubicBezTo>
                    <a:pt x="150" y="185"/>
                    <a:pt x="151" y="185"/>
                    <a:pt x="151" y="185"/>
                  </a:cubicBezTo>
                  <a:cubicBezTo>
                    <a:pt x="153" y="185"/>
                    <a:pt x="153" y="185"/>
                    <a:pt x="153" y="185"/>
                  </a:cubicBezTo>
                  <a:cubicBezTo>
                    <a:pt x="153" y="185"/>
                    <a:pt x="154" y="186"/>
                    <a:pt x="155" y="186"/>
                  </a:cubicBezTo>
                  <a:cubicBezTo>
                    <a:pt x="155" y="186"/>
                    <a:pt x="155" y="186"/>
                    <a:pt x="155" y="186"/>
                  </a:cubicBezTo>
                  <a:cubicBezTo>
                    <a:pt x="156" y="186"/>
                    <a:pt x="156" y="186"/>
                    <a:pt x="156" y="186"/>
                  </a:cubicBezTo>
                  <a:cubicBezTo>
                    <a:pt x="157" y="186"/>
                    <a:pt x="157" y="187"/>
                    <a:pt x="158" y="187"/>
                  </a:cubicBezTo>
                  <a:cubicBezTo>
                    <a:pt x="158" y="187"/>
                    <a:pt x="158" y="187"/>
                    <a:pt x="158" y="187"/>
                  </a:cubicBezTo>
                  <a:cubicBezTo>
                    <a:pt x="160" y="186"/>
                    <a:pt x="160" y="186"/>
                    <a:pt x="160" y="186"/>
                  </a:cubicBezTo>
                  <a:cubicBezTo>
                    <a:pt x="161" y="186"/>
                    <a:pt x="162" y="185"/>
                    <a:pt x="163" y="185"/>
                  </a:cubicBezTo>
                  <a:cubicBezTo>
                    <a:pt x="156" y="179"/>
                    <a:pt x="156" y="179"/>
                    <a:pt x="156" y="179"/>
                  </a:cubicBezTo>
                  <a:cubicBezTo>
                    <a:pt x="163" y="178"/>
                    <a:pt x="163" y="178"/>
                    <a:pt x="163" y="178"/>
                  </a:cubicBezTo>
                  <a:cubicBezTo>
                    <a:pt x="166" y="178"/>
                    <a:pt x="167" y="178"/>
                    <a:pt x="171" y="176"/>
                  </a:cubicBezTo>
                  <a:cubicBezTo>
                    <a:pt x="171" y="175"/>
                    <a:pt x="171" y="175"/>
                    <a:pt x="171" y="175"/>
                  </a:cubicBezTo>
                  <a:cubicBezTo>
                    <a:pt x="171" y="175"/>
                    <a:pt x="172" y="175"/>
                    <a:pt x="172" y="175"/>
                  </a:cubicBezTo>
                  <a:cubicBezTo>
                    <a:pt x="173" y="174"/>
                    <a:pt x="174" y="174"/>
                    <a:pt x="175" y="173"/>
                  </a:cubicBezTo>
                  <a:cubicBezTo>
                    <a:pt x="175" y="173"/>
                    <a:pt x="176" y="173"/>
                    <a:pt x="176" y="173"/>
                  </a:cubicBezTo>
                  <a:cubicBezTo>
                    <a:pt x="177" y="172"/>
                    <a:pt x="178" y="172"/>
                    <a:pt x="179" y="172"/>
                  </a:cubicBezTo>
                  <a:cubicBezTo>
                    <a:pt x="179" y="172"/>
                    <a:pt x="180" y="172"/>
                    <a:pt x="180" y="172"/>
                  </a:cubicBezTo>
                  <a:cubicBezTo>
                    <a:pt x="181" y="172"/>
                    <a:pt x="181" y="172"/>
                    <a:pt x="181" y="172"/>
                  </a:cubicBezTo>
                  <a:cubicBezTo>
                    <a:pt x="182" y="171"/>
                    <a:pt x="183" y="171"/>
                    <a:pt x="184" y="171"/>
                  </a:cubicBezTo>
                  <a:cubicBezTo>
                    <a:pt x="184" y="171"/>
                    <a:pt x="184" y="171"/>
                    <a:pt x="185" y="171"/>
                  </a:cubicBezTo>
                  <a:cubicBezTo>
                    <a:pt x="185" y="171"/>
                    <a:pt x="186" y="171"/>
                    <a:pt x="186" y="171"/>
                  </a:cubicBezTo>
                  <a:cubicBezTo>
                    <a:pt x="187" y="171"/>
                    <a:pt x="187" y="171"/>
                    <a:pt x="187" y="171"/>
                  </a:cubicBezTo>
                  <a:cubicBezTo>
                    <a:pt x="187" y="171"/>
                    <a:pt x="188" y="172"/>
                    <a:pt x="189" y="172"/>
                  </a:cubicBezTo>
                  <a:cubicBezTo>
                    <a:pt x="190" y="173"/>
                    <a:pt x="190" y="173"/>
                    <a:pt x="190" y="173"/>
                  </a:cubicBezTo>
                  <a:cubicBezTo>
                    <a:pt x="190" y="173"/>
                    <a:pt x="191" y="174"/>
                    <a:pt x="192" y="174"/>
                  </a:cubicBezTo>
                  <a:cubicBezTo>
                    <a:pt x="193" y="175"/>
                    <a:pt x="193" y="175"/>
                    <a:pt x="193" y="175"/>
                  </a:cubicBezTo>
                  <a:cubicBezTo>
                    <a:pt x="193" y="175"/>
                    <a:pt x="194" y="175"/>
                    <a:pt x="194" y="176"/>
                  </a:cubicBezTo>
                  <a:cubicBezTo>
                    <a:pt x="194" y="176"/>
                    <a:pt x="194" y="176"/>
                    <a:pt x="194" y="176"/>
                  </a:cubicBezTo>
                  <a:cubicBezTo>
                    <a:pt x="196" y="174"/>
                    <a:pt x="196" y="174"/>
                    <a:pt x="196" y="174"/>
                  </a:cubicBezTo>
                  <a:cubicBezTo>
                    <a:pt x="197" y="173"/>
                    <a:pt x="199" y="171"/>
                    <a:pt x="201" y="170"/>
                  </a:cubicBezTo>
                  <a:cubicBezTo>
                    <a:pt x="201" y="169"/>
                    <a:pt x="201" y="169"/>
                    <a:pt x="201" y="169"/>
                  </a:cubicBezTo>
                  <a:cubicBezTo>
                    <a:pt x="200" y="162"/>
                    <a:pt x="200" y="162"/>
                    <a:pt x="200" y="162"/>
                  </a:cubicBezTo>
                  <a:cubicBezTo>
                    <a:pt x="200" y="162"/>
                    <a:pt x="200" y="162"/>
                    <a:pt x="200" y="162"/>
                  </a:cubicBezTo>
                  <a:cubicBezTo>
                    <a:pt x="200" y="157"/>
                    <a:pt x="200" y="157"/>
                    <a:pt x="200" y="157"/>
                  </a:cubicBezTo>
                  <a:cubicBezTo>
                    <a:pt x="200" y="156"/>
                    <a:pt x="200" y="155"/>
                    <a:pt x="201" y="155"/>
                  </a:cubicBezTo>
                  <a:cubicBezTo>
                    <a:pt x="201" y="154"/>
                    <a:pt x="201" y="154"/>
                    <a:pt x="201" y="154"/>
                  </a:cubicBezTo>
                  <a:cubicBezTo>
                    <a:pt x="202" y="153"/>
                    <a:pt x="202" y="153"/>
                    <a:pt x="203" y="153"/>
                  </a:cubicBezTo>
                  <a:cubicBezTo>
                    <a:pt x="204" y="152"/>
                    <a:pt x="204" y="152"/>
                    <a:pt x="204" y="152"/>
                  </a:cubicBezTo>
                  <a:cubicBezTo>
                    <a:pt x="204" y="151"/>
                    <a:pt x="204" y="151"/>
                    <a:pt x="204" y="151"/>
                  </a:cubicBezTo>
                  <a:cubicBezTo>
                    <a:pt x="204" y="150"/>
                    <a:pt x="204" y="150"/>
                    <a:pt x="204" y="150"/>
                  </a:cubicBezTo>
                  <a:cubicBezTo>
                    <a:pt x="205" y="149"/>
                    <a:pt x="205" y="148"/>
                    <a:pt x="205" y="147"/>
                  </a:cubicBezTo>
                  <a:cubicBezTo>
                    <a:pt x="205" y="145"/>
                    <a:pt x="206" y="142"/>
                    <a:pt x="208" y="140"/>
                  </a:cubicBezTo>
                  <a:cubicBezTo>
                    <a:pt x="208" y="139"/>
                    <a:pt x="208" y="139"/>
                    <a:pt x="208" y="139"/>
                  </a:cubicBezTo>
                  <a:cubicBezTo>
                    <a:pt x="209" y="139"/>
                    <a:pt x="210" y="138"/>
                    <a:pt x="211" y="138"/>
                  </a:cubicBezTo>
                  <a:cubicBezTo>
                    <a:pt x="211" y="138"/>
                    <a:pt x="211" y="138"/>
                    <a:pt x="211" y="138"/>
                  </a:cubicBezTo>
                  <a:cubicBezTo>
                    <a:pt x="212" y="138"/>
                    <a:pt x="212" y="138"/>
                    <a:pt x="213" y="138"/>
                  </a:cubicBezTo>
                  <a:cubicBezTo>
                    <a:pt x="214" y="138"/>
                    <a:pt x="214" y="138"/>
                    <a:pt x="214" y="138"/>
                  </a:cubicBezTo>
                  <a:cubicBezTo>
                    <a:pt x="215" y="138"/>
                    <a:pt x="216" y="138"/>
                    <a:pt x="217" y="138"/>
                  </a:cubicBezTo>
                  <a:cubicBezTo>
                    <a:pt x="217" y="138"/>
                    <a:pt x="217" y="138"/>
                    <a:pt x="217" y="138"/>
                  </a:cubicBezTo>
                  <a:cubicBezTo>
                    <a:pt x="219" y="137"/>
                    <a:pt x="223" y="135"/>
                    <a:pt x="224" y="134"/>
                  </a:cubicBezTo>
                  <a:cubicBezTo>
                    <a:pt x="224" y="134"/>
                    <a:pt x="224" y="134"/>
                    <a:pt x="224" y="134"/>
                  </a:cubicBezTo>
                  <a:cubicBezTo>
                    <a:pt x="224" y="133"/>
                    <a:pt x="223" y="131"/>
                    <a:pt x="221" y="129"/>
                  </a:cubicBezTo>
                  <a:cubicBezTo>
                    <a:pt x="219" y="125"/>
                    <a:pt x="219" y="125"/>
                    <a:pt x="219" y="125"/>
                  </a:cubicBezTo>
                  <a:cubicBezTo>
                    <a:pt x="219" y="125"/>
                    <a:pt x="219" y="125"/>
                    <a:pt x="219" y="125"/>
                  </a:cubicBezTo>
                  <a:cubicBezTo>
                    <a:pt x="219" y="125"/>
                    <a:pt x="219" y="125"/>
                    <a:pt x="219" y="125"/>
                  </a:cubicBezTo>
                  <a:cubicBezTo>
                    <a:pt x="218" y="124"/>
                    <a:pt x="218" y="124"/>
                    <a:pt x="218" y="124"/>
                  </a:cubicBezTo>
                  <a:cubicBezTo>
                    <a:pt x="216" y="121"/>
                    <a:pt x="216" y="121"/>
                    <a:pt x="216" y="121"/>
                  </a:cubicBezTo>
                  <a:cubicBezTo>
                    <a:pt x="214" y="117"/>
                    <a:pt x="215" y="115"/>
                    <a:pt x="216" y="114"/>
                  </a:cubicBezTo>
                  <a:cubicBezTo>
                    <a:pt x="217" y="114"/>
                    <a:pt x="217" y="114"/>
                    <a:pt x="217" y="114"/>
                  </a:cubicBezTo>
                  <a:cubicBezTo>
                    <a:pt x="218" y="113"/>
                    <a:pt x="219" y="113"/>
                    <a:pt x="220" y="113"/>
                  </a:cubicBezTo>
                  <a:cubicBezTo>
                    <a:pt x="223" y="113"/>
                    <a:pt x="225" y="113"/>
                    <a:pt x="229" y="114"/>
                  </a:cubicBezTo>
                  <a:cubicBezTo>
                    <a:pt x="229" y="114"/>
                    <a:pt x="229" y="114"/>
                    <a:pt x="229" y="114"/>
                  </a:cubicBezTo>
                  <a:cubicBezTo>
                    <a:pt x="230" y="115"/>
                    <a:pt x="231" y="115"/>
                    <a:pt x="231" y="115"/>
                  </a:cubicBezTo>
                  <a:cubicBezTo>
                    <a:pt x="232" y="115"/>
                    <a:pt x="232" y="115"/>
                    <a:pt x="232" y="115"/>
                  </a:cubicBezTo>
                  <a:cubicBezTo>
                    <a:pt x="233" y="115"/>
                    <a:pt x="233" y="115"/>
                    <a:pt x="234" y="115"/>
                  </a:cubicBezTo>
                  <a:cubicBezTo>
                    <a:pt x="234" y="115"/>
                    <a:pt x="235" y="115"/>
                    <a:pt x="235" y="115"/>
                  </a:cubicBezTo>
                  <a:cubicBezTo>
                    <a:pt x="237" y="115"/>
                    <a:pt x="240" y="114"/>
                    <a:pt x="241" y="113"/>
                  </a:cubicBezTo>
                  <a:cubicBezTo>
                    <a:pt x="242" y="113"/>
                    <a:pt x="243" y="112"/>
                    <a:pt x="243" y="111"/>
                  </a:cubicBezTo>
                  <a:cubicBezTo>
                    <a:pt x="243" y="111"/>
                    <a:pt x="244" y="111"/>
                    <a:pt x="244" y="111"/>
                  </a:cubicBezTo>
                  <a:cubicBezTo>
                    <a:pt x="244" y="110"/>
                    <a:pt x="244" y="110"/>
                    <a:pt x="244" y="110"/>
                  </a:cubicBezTo>
                  <a:cubicBezTo>
                    <a:pt x="244" y="110"/>
                    <a:pt x="244" y="110"/>
                    <a:pt x="244" y="109"/>
                  </a:cubicBezTo>
                  <a:cubicBezTo>
                    <a:pt x="244" y="109"/>
                    <a:pt x="244" y="109"/>
                    <a:pt x="244" y="109"/>
                  </a:cubicBezTo>
                  <a:cubicBezTo>
                    <a:pt x="243" y="109"/>
                    <a:pt x="242" y="108"/>
                    <a:pt x="242" y="106"/>
                  </a:cubicBezTo>
                  <a:cubicBezTo>
                    <a:pt x="240" y="103"/>
                    <a:pt x="241" y="101"/>
                    <a:pt x="243" y="98"/>
                  </a:cubicBezTo>
                  <a:cubicBezTo>
                    <a:pt x="243" y="98"/>
                    <a:pt x="244" y="97"/>
                    <a:pt x="245" y="96"/>
                  </a:cubicBezTo>
                  <a:cubicBezTo>
                    <a:pt x="246" y="95"/>
                    <a:pt x="246" y="95"/>
                    <a:pt x="247" y="94"/>
                  </a:cubicBezTo>
                  <a:cubicBezTo>
                    <a:pt x="247" y="93"/>
                    <a:pt x="248" y="92"/>
                    <a:pt x="249" y="91"/>
                  </a:cubicBezTo>
                  <a:cubicBezTo>
                    <a:pt x="250" y="90"/>
                    <a:pt x="251" y="89"/>
                    <a:pt x="252" y="89"/>
                  </a:cubicBezTo>
                  <a:cubicBezTo>
                    <a:pt x="253" y="89"/>
                    <a:pt x="253" y="89"/>
                    <a:pt x="253" y="89"/>
                  </a:cubicBezTo>
                  <a:cubicBezTo>
                    <a:pt x="253" y="89"/>
                    <a:pt x="253" y="89"/>
                    <a:pt x="253" y="88"/>
                  </a:cubicBezTo>
                  <a:cubicBezTo>
                    <a:pt x="254" y="86"/>
                    <a:pt x="255" y="85"/>
                    <a:pt x="255" y="85"/>
                  </a:cubicBezTo>
                  <a:cubicBezTo>
                    <a:pt x="255" y="84"/>
                    <a:pt x="255" y="84"/>
                    <a:pt x="255" y="83"/>
                  </a:cubicBezTo>
                  <a:cubicBezTo>
                    <a:pt x="255" y="83"/>
                    <a:pt x="255" y="83"/>
                    <a:pt x="255" y="83"/>
                  </a:cubicBezTo>
                  <a:cubicBezTo>
                    <a:pt x="255" y="82"/>
                    <a:pt x="255" y="81"/>
                    <a:pt x="255" y="79"/>
                  </a:cubicBezTo>
                  <a:cubicBezTo>
                    <a:pt x="255" y="79"/>
                    <a:pt x="255" y="77"/>
                    <a:pt x="255" y="77"/>
                  </a:cubicBezTo>
                  <a:cubicBezTo>
                    <a:pt x="254" y="75"/>
                    <a:pt x="254" y="75"/>
                    <a:pt x="254" y="75"/>
                  </a:cubicBezTo>
                  <a:cubicBezTo>
                    <a:pt x="254" y="75"/>
                    <a:pt x="254" y="75"/>
                    <a:pt x="254" y="75"/>
                  </a:cubicBezTo>
                  <a:cubicBezTo>
                    <a:pt x="254" y="74"/>
                    <a:pt x="254" y="74"/>
                    <a:pt x="254" y="74"/>
                  </a:cubicBezTo>
                  <a:cubicBezTo>
                    <a:pt x="252" y="73"/>
                    <a:pt x="252" y="73"/>
                    <a:pt x="252" y="73"/>
                  </a:cubicBezTo>
                  <a:cubicBezTo>
                    <a:pt x="252" y="72"/>
                    <a:pt x="252" y="72"/>
                    <a:pt x="251" y="71"/>
                  </a:cubicBezTo>
                  <a:cubicBezTo>
                    <a:pt x="251" y="70"/>
                    <a:pt x="251" y="70"/>
                    <a:pt x="251" y="70"/>
                  </a:cubicBezTo>
                  <a:cubicBezTo>
                    <a:pt x="251" y="70"/>
                    <a:pt x="251" y="70"/>
                    <a:pt x="251" y="70"/>
                  </a:cubicBezTo>
                  <a:cubicBezTo>
                    <a:pt x="250" y="68"/>
                    <a:pt x="249" y="66"/>
                    <a:pt x="247" y="65"/>
                  </a:cubicBezTo>
                  <a:cubicBezTo>
                    <a:pt x="247" y="65"/>
                    <a:pt x="247" y="65"/>
                    <a:pt x="247" y="65"/>
                  </a:cubicBezTo>
                  <a:cubicBezTo>
                    <a:pt x="247" y="65"/>
                    <a:pt x="247" y="65"/>
                    <a:pt x="247" y="65"/>
                  </a:cubicBezTo>
                  <a:cubicBezTo>
                    <a:pt x="244" y="63"/>
                    <a:pt x="244" y="63"/>
                    <a:pt x="244" y="63"/>
                  </a:cubicBezTo>
                  <a:cubicBezTo>
                    <a:pt x="246" y="60"/>
                    <a:pt x="246" y="60"/>
                    <a:pt x="246" y="60"/>
                  </a:cubicBezTo>
                  <a:cubicBezTo>
                    <a:pt x="249" y="56"/>
                    <a:pt x="253" y="52"/>
                    <a:pt x="257" y="49"/>
                  </a:cubicBezTo>
                  <a:cubicBezTo>
                    <a:pt x="258" y="48"/>
                    <a:pt x="258" y="48"/>
                    <a:pt x="258" y="48"/>
                  </a:cubicBezTo>
                  <a:cubicBezTo>
                    <a:pt x="259" y="48"/>
                    <a:pt x="259" y="48"/>
                    <a:pt x="259" y="48"/>
                  </a:cubicBezTo>
                  <a:cubicBezTo>
                    <a:pt x="259" y="48"/>
                    <a:pt x="259" y="48"/>
                    <a:pt x="259" y="48"/>
                  </a:cubicBezTo>
                  <a:cubicBezTo>
                    <a:pt x="260" y="48"/>
                    <a:pt x="261" y="48"/>
                    <a:pt x="261" y="48"/>
                  </a:cubicBezTo>
                  <a:cubicBezTo>
                    <a:pt x="262" y="49"/>
                    <a:pt x="262" y="49"/>
                    <a:pt x="262" y="49"/>
                  </a:cubicBezTo>
                  <a:cubicBezTo>
                    <a:pt x="263" y="49"/>
                    <a:pt x="263" y="49"/>
                    <a:pt x="263" y="49"/>
                  </a:cubicBezTo>
                  <a:cubicBezTo>
                    <a:pt x="264" y="48"/>
                    <a:pt x="265" y="47"/>
                    <a:pt x="267" y="46"/>
                  </a:cubicBezTo>
                  <a:cubicBezTo>
                    <a:pt x="270" y="44"/>
                    <a:pt x="270" y="44"/>
                    <a:pt x="270" y="44"/>
                  </a:cubicBezTo>
                  <a:cubicBezTo>
                    <a:pt x="271" y="44"/>
                    <a:pt x="272" y="43"/>
                    <a:pt x="273" y="43"/>
                  </a:cubicBezTo>
                  <a:cubicBezTo>
                    <a:pt x="273" y="43"/>
                    <a:pt x="273" y="43"/>
                    <a:pt x="273" y="43"/>
                  </a:cubicBezTo>
                  <a:cubicBezTo>
                    <a:pt x="270" y="44"/>
                    <a:pt x="267" y="45"/>
                    <a:pt x="264" y="46"/>
                  </a:cubicBezTo>
                  <a:cubicBezTo>
                    <a:pt x="261" y="47"/>
                    <a:pt x="261" y="47"/>
                    <a:pt x="261" y="47"/>
                  </a:cubicBezTo>
                  <a:cubicBezTo>
                    <a:pt x="261" y="47"/>
                    <a:pt x="260" y="47"/>
                    <a:pt x="260" y="47"/>
                  </a:cubicBezTo>
                  <a:cubicBezTo>
                    <a:pt x="259" y="47"/>
                    <a:pt x="259" y="47"/>
                    <a:pt x="259" y="47"/>
                  </a:cubicBezTo>
                  <a:cubicBezTo>
                    <a:pt x="259" y="47"/>
                    <a:pt x="258" y="47"/>
                    <a:pt x="258" y="47"/>
                  </a:cubicBezTo>
                  <a:cubicBezTo>
                    <a:pt x="256" y="46"/>
                    <a:pt x="255" y="44"/>
                    <a:pt x="254" y="42"/>
                  </a:cubicBezTo>
                  <a:cubicBezTo>
                    <a:pt x="253" y="41"/>
                    <a:pt x="253" y="41"/>
                    <a:pt x="253" y="41"/>
                  </a:cubicBezTo>
                  <a:cubicBezTo>
                    <a:pt x="253" y="40"/>
                    <a:pt x="253" y="40"/>
                    <a:pt x="253" y="40"/>
                  </a:cubicBezTo>
                  <a:cubicBezTo>
                    <a:pt x="252" y="39"/>
                    <a:pt x="251" y="37"/>
                    <a:pt x="251" y="35"/>
                  </a:cubicBezTo>
                  <a:cubicBezTo>
                    <a:pt x="251" y="34"/>
                    <a:pt x="251" y="33"/>
                    <a:pt x="251" y="32"/>
                  </a:cubicBezTo>
                  <a:cubicBezTo>
                    <a:pt x="252" y="31"/>
                    <a:pt x="252" y="31"/>
                    <a:pt x="252" y="30"/>
                  </a:cubicBezTo>
                  <a:cubicBezTo>
                    <a:pt x="252" y="29"/>
                    <a:pt x="252" y="29"/>
                    <a:pt x="252" y="29"/>
                  </a:cubicBezTo>
                  <a:cubicBezTo>
                    <a:pt x="253" y="26"/>
                    <a:pt x="253" y="23"/>
                    <a:pt x="254" y="19"/>
                  </a:cubicBezTo>
                  <a:cubicBezTo>
                    <a:pt x="254" y="17"/>
                    <a:pt x="254" y="15"/>
                    <a:pt x="254" y="13"/>
                  </a:cubicBezTo>
                  <a:cubicBezTo>
                    <a:pt x="253" y="13"/>
                    <a:pt x="252" y="13"/>
                    <a:pt x="252" y="13"/>
                  </a:cubicBezTo>
                  <a:cubicBezTo>
                    <a:pt x="251" y="13"/>
                    <a:pt x="251" y="13"/>
                    <a:pt x="251" y="13"/>
                  </a:cubicBezTo>
                  <a:cubicBezTo>
                    <a:pt x="251" y="13"/>
                    <a:pt x="250" y="12"/>
                    <a:pt x="250" y="12"/>
                  </a:cubicBezTo>
                  <a:cubicBezTo>
                    <a:pt x="246" y="12"/>
                    <a:pt x="246" y="12"/>
                    <a:pt x="246" y="12"/>
                  </a:cubicBezTo>
                  <a:cubicBezTo>
                    <a:pt x="248" y="8"/>
                    <a:pt x="248" y="8"/>
                    <a:pt x="248" y="8"/>
                  </a:cubicBezTo>
                  <a:cubicBezTo>
                    <a:pt x="248" y="7"/>
                    <a:pt x="248" y="6"/>
                    <a:pt x="249" y="6"/>
                  </a:cubicBezTo>
                  <a:cubicBezTo>
                    <a:pt x="248" y="6"/>
                    <a:pt x="248" y="6"/>
                    <a:pt x="248" y="6"/>
                  </a:cubicBezTo>
                  <a:cubicBezTo>
                    <a:pt x="248" y="5"/>
                    <a:pt x="248" y="5"/>
                    <a:pt x="247" y="4"/>
                  </a:cubicBezTo>
                  <a:cubicBezTo>
                    <a:pt x="247" y="4"/>
                    <a:pt x="247" y="4"/>
                    <a:pt x="247" y="4"/>
                  </a:cubicBezTo>
                  <a:cubicBezTo>
                    <a:pt x="242" y="8"/>
                    <a:pt x="242" y="8"/>
                    <a:pt x="242" y="8"/>
                  </a:cubicBezTo>
                  <a:cubicBezTo>
                    <a:pt x="246" y="2"/>
                    <a:pt x="246" y="2"/>
                    <a:pt x="246" y="2"/>
                  </a:cubicBezTo>
                  <a:cubicBezTo>
                    <a:pt x="245" y="1"/>
                    <a:pt x="245" y="1"/>
                    <a:pt x="244" y="1"/>
                  </a:cubicBezTo>
                  <a:cubicBezTo>
                    <a:pt x="244" y="0"/>
                    <a:pt x="243" y="0"/>
                    <a:pt x="2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287"/>
            <p:cNvSpPr>
              <a:spLocks noEditPoints="1"/>
            </p:cNvSpPr>
            <p:nvPr/>
          </p:nvSpPr>
          <p:spPr bwMode="auto">
            <a:xfrm>
              <a:off x="6119" y="427"/>
              <a:ext cx="1054" cy="900"/>
            </a:xfrm>
            <a:custGeom>
              <a:gdLst>
                <a:gd name="T0" fmla="*/ 113 w 446"/>
                <a:gd name="T1" fmla="*/ 247 h 381"/>
                <a:gd name="T2" fmla="*/ 7 w 446"/>
                <a:gd name="T3" fmla="*/ 32 h 381"/>
                <a:gd name="T4" fmla="*/ 12 w 446"/>
                <a:gd name="T5" fmla="*/ 51 h 381"/>
                <a:gd name="T6" fmla="*/ 17 w 446"/>
                <a:gd name="T7" fmla="*/ 68 h 381"/>
                <a:gd name="T8" fmla="*/ 21 w 446"/>
                <a:gd name="T9" fmla="*/ 77 h 381"/>
                <a:gd name="T10" fmla="*/ 27 w 446"/>
                <a:gd name="T11" fmla="*/ 87 h 381"/>
                <a:gd name="T12" fmla="*/ 39 w 446"/>
                <a:gd name="T13" fmla="*/ 101 h 381"/>
                <a:gd name="T14" fmla="*/ 52 w 446"/>
                <a:gd name="T15" fmla="*/ 107 h 381"/>
                <a:gd name="T16" fmla="*/ 50 w 446"/>
                <a:gd name="T17" fmla="*/ 121 h 381"/>
                <a:gd name="T18" fmla="*/ 39 w 446"/>
                <a:gd name="T19" fmla="*/ 138 h 381"/>
                <a:gd name="T20" fmla="*/ 32 w 446"/>
                <a:gd name="T21" fmla="*/ 153 h 381"/>
                <a:gd name="T22" fmla="*/ 39 w 446"/>
                <a:gd name="T23" fmla="*/ 160 h 381"/>
                <a:gd name="T24" fmla="*/ 48 w 446"/>
                <a:gd name="T25" fmla="*/ 177 h 381"/>
                <a:gd name="T26" fmla="*/ 78 w 446"/>
                <a:gd name="T27" fmla="*/ 192 h 381"/>
                <a:gd name="T28" fmla="*/ 88 w 446"/>
                <a:gd name="T29" fmla="*/ 215 h 381"/>
                <a:gd name="T30" fmla="*/ 92 w 446"/>
                <a:gd name="T31" fmla="*/ 230 h 381"/>
                <a:gd name="T32" fmla="*/ 102 w 446"/>
                <a:gd name="T33" fmla="*/ 251 h 381"/>
                <a:gd name="T34" fmla="*/ 118 w 446"/>
                <a:gd name="T35" fmla="*/ 250 h 381"/>
                <a:gd name="T36" fmla="*/ 137 w 446"/>
                <a:gd name="T37" fmla="*/ 253 h 381"/>
                <a:gd name="T38" fmla="*/ 159 w 446"/>
                <a:gd name="T39" fmla="*/ 285 h 381"/>
                <a:gd name="T40" fmla="*/ 179 w 446"/>
                <a:gd name="T41" fmla="*/ 312 h 381"/>
                <a:gd name="T42" fmla="*/ 201 w 446"/>
                <a:gd name="T43" fmla="*/ 325 h 381"/>
                <a:gd name="T44" fmla="*/ 229 w 446"/>
                <a:gd name="T45" fmla="*/ 342 h 381"/>
                <a:gd name="T46" fmla="*/ 277 w 446"/>
                <a:gd name="T47" fmla="*/ 331 h 381"/>
                <a:gd name="T48" fmla="*/ 304 w 446"/>
                <a:gd name="T49" fmla="*/ 351 h 381"/>
                <a:gd name="T50" fmla="*/ 342 w 446"/>
                <a:gd name="T51" fmla="*/ 370 h 381"/>
                <a:gd name="T52" fmla="*/ 372 w 446"/>
                <a:gd name="T53" fmla="*/ 373 h 381"/>
                <a:gd name="T54" fmla="*/ 401 w 446"/>
                <a:gd name="T55" fmla="*/ 381 h 381"/>
                <a:gd name="T56" fmla="*/ 412 w 446"/>
                <a:gd name="T57" fmla="*/ 357 h 381"/>
                <a:gd name="T58" fmla="*/ 443 w 446"/>
                <a:gd name="T59" fmla="*/ 340 h 381"/>
                <a:gd name="T60" fmla="*/ 434 w 446"/>
                <a:gd name="T61" fmla="*/ 326 h 381"/>
                <a:gd name="T62" fmla="*/ 427 w 446"/>
                <a:gd name="T63" fmla="*/ 302 h 381"/>
                <a:gd name="T64" fmla="*/ 386 w 446"/>
                <a:gd name="T65" fmla="*/ 262 h 381"/>
                <a:gd name="T66" fmla="*/ 407 w 446"/>
                <a:gd name="T67" fmla="*/ 240 h 381"/>
                <a:gd name="T68" fmla="*/ 389 w 446"/>
                <a:gd name="T69" fmla="*/ 218 h 381"/>
                <a:gd name="T70" fmla="*/ 388 w 446"/>
                <a:gd name="T71" fmla="*/ 195 h 381"/>
                <a:gd name="T72" fmla="*/ 381 w 446"/>
                <a:gd name="T73" fmla="*/ 160 h 381"/>
                <a:gd name="T74" fmla="*/ 391 w 446"/>
                <a:gd name="T75" fmla="*/ 133 h 381"/>
                <a:gd name="T76" fmla="*/ 401 w 446"/>
                <a:gd name="T77" fmla="*/ 112 h 381"/>
                <a:gd name="T78" fmla="*/ 397 w 446"/>
                <a:gd name="T79" fmla="*/ 91 h 381"/>
                <a:gd name="T80" fmla="*/ 383 w 446"/>
                <a:gd name="T81" fmla="*/ 85 h 381"/>
                <a:gd name="T82" fmla="*/ 370 w 446"/>
                <a:gd name="T83" fmla="*/ 74 h 381"/>
                <a:gd name="T84" fmla="*/ 356 w 446"/>
                <a:gd name="T85" fmla="*/ 62 h 381"/>
                <a:gd name="T86" fmla="*/ 334 w 446"/>
                <a:gd name="T87" fmla="*/ 58 h 381"/>
                <a:gd name="T88" fmla="*/ 312 w 446"/>
                <a:gd name="T89" fmla="*/ 50 h 381"/>
                <a:gd name="T90" fmla="*/ 297 w 446"/>
                <a:gd name="T91" fmla="*/ 41 h 381"/>
                <a:gd name="T92" fmla="*/ 281 w 446"/>
                <a:gd name="T93" fmla="*/ 51 h 381"/>
                <a:gd name="T94" fmla="*/ 222 w 446"/>
                <a:gd name="T95" fmla="*/ 76 h 381"/>
                <a:gd name="T96" fmla="*/ 178 w 446"/>
                <a:gd name="T97" fmla="*/ 83 h 381"/>
                <a:gd name="T98" fmla="*/ 142 w 446"/>
                <a:gd name="T99" fmla="*/ 64 h 381"/>
                <a:gd name="T100" fmla="*/ 111 w 446"/>
                <a:gd name="T101" fmla="*/ 36 h 381"/>
                <a:gd name="T102" fmla="*/ 104 w 446"/>
                <a:gd name="T103" fmla="*/ 37 h 381"/>
                <a:gd name="T104" fmla="*/ 85 w 446"/>
                <a:gd name="T105" fmla="*/ 21 h 381"/>
                <a:gd name="T106" fmla="*/ 84 w 446"/>
                <a:gd name="T107" fmla="*/ 4 h 381"/>
                <a:gd name="T108" fmla="*/ 57 w 446"/>
                <a:gd name="T109" fmla="*/ 23 h 381"/>
                <a:gd name="T110" fmla="*/ 50 w 446"/>
                <a:gd name="T111" fmla="*/ 24 h 381"/>
                <a:gd name="T112" fmla="*/ 13 w 446"/>
                <a:gd name="T113" fmla="*/ 4 h 3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6" h="381">
                  <a:moveTo>
                    <a:pt x="113" y="247"/>
                  </a:moveTo>
                  <a:cubicBezTo>
                    <a:pt x="114" y="246"/>
                    <a:pt x="114" y="245"/>
                    <a:pt x="112" y="244"/>
                  </a:cubicBezTo>
                  <a:cubicBezTo>
                    <a:pt x="113" y="244"/>
                    <a:pt x="114" y="244"/>
                    <a:pt x="115" y="244"/>
                  </a:cubicBezTo>
                  <a:cubicBezTo>
                    <a:pt x="116" y="244"/>
                    <a:pt x="117" y="244"/>
                    <a:pt x="117" y="244"/>
                  </a:cubicBezTo>
                  <a:cubicBezTo>
                    <a:pt x="119" y="244"/>
                    <a:pt x="120" y="245"/>
                    <a:pt x="119" y="246"/>
                  </a:cubicBezTo>
                  <a:cubicBezTo>
                    <a:pt x="119" y="247"/>
                    <a:pt x="118" y="247"/>
                    <a:pt x="118" y="247"/>
                  </a:cubicBezTo>
                  <a:cubicBezTo>
                    <a:pt x="117" y="247"/>
                    <a:pt x="115" y="247"/>
                    <a:pt x="114" y="247"/>
                  </a:cubicBezTo>
                  <a:cubicBezTo>
                    <a:pt x="114" y="247"/>
                    <a:pt x="114" y="247"/>
                    <a:pt x="113" y="247"/>
                  </a:cubicBezTo>
                  <a:cubicBezTo>
                    <a:pt x="113" y="247"/>
                    <a:pt x="113" y="247"/>
                    <a:pt x="113" y="247"/>
                  </a:cubicBezTo>
                  <a:moveTo>
                    <a:pt x="10" y="0"/>
                  </a:moveTo>
                  <a:cubicBezTo>
                    <a:pt x="9" y="0"/>
                    <a:pt x="9" y="0"/>
                    <a:pt x="9" y="0"/>
                  </a:cubicBezTo>
                  <a:cubicBezTo>
                    <a:pt x="9" y="1"/>
                    <a:pt x="9" y="1"/>
                    <a:pt x="9" y="1"/>
                  </a:cubicBezTo>
                  <a:cubicBezTo>
                    <a:pt x="10" y="6"/>
                    <a:pt x="7" y="8"/>
                    <a:pt x="5" y="9"/>
                  </a:cubicBezTo>
                  <a:cubicBezTo>
                    <a:pt x="4" y="10"/>
                    <a:pt x="2" y="10"/>
                    <a:pt x="0" y="10"/>
                  </a:cubicBezTo>
                  <a:cubicBezTo>
                    <a:pt x="0" y="11"/>
                    <a:pt x="0" y="11"/>
                    <a:pt x="0" y="11"/>
                  </a:cubicBezTo>
                  <a:cubicBezTo>
                    <a:pt x="1" y="13"/>
                    <a:pt x="1" y="14"/>
                    <a:pt x="1" y="15"/>
                  </a:cubicBezTo>
                  <a:cubicBezTo>
                    <a:pt x="2" y="17"/>
                    <a:pt x="3" y="19"/>
                    <a:pt x="4" y="20"/>
                  </a:cubicBezTo>
                  <a:cubicBezTo>
                    <a:pt x="6" y="22"/>
                    <a:pt x="7" y="27"/>
                    <a:pt x="7" y="32"/>
                  </a:cubicBezTo>
                  <a:cubicBezTo>
                    <a:pt x="8" y="32"/>
                    <a:pt x="8" y="33"/>
                    <a:pt x="9" y="34"/>
                  </a:cubicBezTo>
                  <a:cubicBezTo>
                    <a:pt x="11" y="36"/>
                    <a:pt x="9" y="40"/>
                    <a:pt x="8" y="41"/>
                  </a:cubicBezTo>
                  <a:cubicBezTo>
                    <a:pt x="7" y="42"/>
                    <a:pt x="5" y="45"/>
                    <a:pt x="5" y="45"/>
                  </a:cubicBezTo>
                  <a:cubicBezTo>
                    <a:pt x="5" y="45"/>
                    <a:pt x="5" y="45"/>
                    <a:pt x="5" y="45"/>
                  </a:cubicBezTo>
                  <a:cubicBezTo>
                    <a:pt x="5" y="46"/>
                    <a:pt x="5" y="46"/>
                    <a:pt x="5" y="46"/>
                  </a:cubicBezTo>
                  <a:cubicBezTo>
                    <a:pt x="6" y="46"/>
                    <a:pt x="6" y="46"/>
                    <a:pt x="7" y="48"/>
                  </a:cubicBezTo>
                  <a:cubicBezTo>
                    <a:pt x="8" y="48"/>
                    <a:pt x="9" y="48"/>
                    <a:pt x="11" y="49"/>
                  </a:cubicBezTo>
                  <a:cubicBezTo>
                    <a:pt x="11" y="49"/>
                    <a:pt x="11" y="50"/>
                    <a:pt x="12" y="50"/>
                  </a:cubicBezTo>
                  <a:cubicBezTo>
                    <a:pt x="12" y="51"/>
                    <a:pt x="12" y="51"/>
                    <a:pt x="12" y="51"/>
                  </a:cubicBezTo>
                  <a:cubicBezTo>
                    <a:pt x="13" y="52"/>
                    <a:pt x="13" y="53"/>
                    <a:pt x="13" y="54"/>
                  </a:cubicBezTo>
                  <a:cubicBezTo>
                    <a:pt x="13" y="55"/>
                    <a:pt x="13" y="55"/>
                    <a:pt x="13" y="56"/>
                  </a:cubicBezTo>
                  <a:cubicBezTo>
                    <a:pt x="13" y="57"/>
                    <a:pt x="13" y="57"/>
                    <a:pt x="13" y="57"/>
                  </a:cubicBezTo>
                  <a:cubicBezTo>
                    <a:pt x="12" y="57"/>
                    <a:pt x="12" y="58"/>
                    <a:pt x="12" y="58"/>
                  </a:cubicBezTo>
                  <a:cubicBezTo>
                    <a:pt x="13" y="59"/>
                    <a:pt x="13" y="59"/>
                    <a:pt x="13" y="59"/>
                  </a:cubicBezTo>
                  <a:cubicBezTo>
                    <a:pt x="15" y="60"/>
                    <a:pt x="16" y="61"/>
                    <a:pt x="17" y="63"/>
                  </a:cubicBezTo>
                  <a:cubicBezTo>
                    <a:pt x="17" y="63"/>
                    <a:pt x="17" y="63"/>
                    <a:pt x="17" y="63"/>
                  </a:cubicBezTo>
                  <a:cubicBezTo>
                    <a:pt x="18" y="65"/>
                    <a:pt x="17" y="67"/>
                    <a:pt x="17" y="68"/>
                  </a:cubicBezTo>
                  <a:cubicBezTo>
                    <a:pt x="17" y="68"/>
                    <a:pt x="17" y="68"/>
                    <a:pt x="17" y="68"/>
                  </a:cubicBezTo>
                  <a:cubicBezTo>
                    <a:pt x="17" y="69"/>
                    <a:pt x="18" y="70"/>
                    <a:pt x="18" y="70"/>
                  </a:cubicBezTo>
                  <a:cubicBezTo>
                    <a:pt x="19" y="73"/>
                    <a:pt x="19" y="73"/>
                    <a:pt x="20" y="74"/>
                  </a:cubicBezTo>
                  <a:cubicBezTo>
                    <a:pt x="20" y="74"/>
                    <a:pt x="19" y="75"/>
                    <a:pt x="19" y="76"/>
                  </a:cubicBezTo>
                  <a:cubicBezTo>
                    <a:pt x="19" y="76"/>
                    <a:pt x="19" y="76"/>
                    <a:pt x="19" y="76"/>
                  </a:cubicBezTo>
                  <a:cubicBezTo>
                    <a:pt x="20" y="76"/>
                    <a:pt x="20" y="76"/>
                    <a:pt x="20" y="76"/>
                  </a:cubicBezTo>
                  <a:cubicBezTo>
                    <a:pt x="20" y="75"/>
                    <a:pt x="20" y="75"/>
                    <a:pt x="20" y="75"/>
                  </a:cubicBezTo>
                  <a:cubicBezTo>
                    <a:pt x="20" y="76"/>
                    <a:pt x="20" y="76"/>
                    <a:pt x="20" y="76"/>
                  </a:cubicBezTo>
                  <a:cubicBezTo>
                    <a:pt x="20" y="77"/>
                    <a:pt x="20" y="77"/>
                    <a:pt x="20" y="77"/>
                  </a:cubicBezTo>
                  <a:cubicBezTo>
                    <a:pt x="21" y="77"/>
                    <a:pt x="21" y="77"/>
                    <a:pt x="21" y="77"/>
                  </a:cubicBezTo>
                  <a:cubicBezTo>
                    <a:pt x="23" y="78"/>
                    <a:pt x="23" y="80"/>
                    <a:pt x="23" y="81"/>
                  </a:cubicBezTo>
                  <a:cubicBezTo>
                    <a:pt x="23" y="82"/>
                    <a:pt x="23" y="82"/>
                    <a:pt x="23" y="83"/>
                  </a:cubicBezTo>
                  <a:cubicBezTo>
                    <a:pt x="23" y="83"/>
                    <a:pt x="23" y="83"/>
                    <a:pt x="23" y="83"/>
                  </a:cubicBezTo>
                  <a:cubicBezTo>
                    <a:pt x="23" y="84"/>
                    <a:pt x="23" y="84"/>
                    <a:pt x="23" y="84"/>
                  </a:cubicBezTo>
                  <a:cubicBezTo>
                    <a:pt x="24" y="84"/>
                    <a:pt x="24" y="84"/>
                    <a:pt x="24" y="84"/>
                  </a:cubicBezTo>
                  <a:cubicBezTo>
                    <a:pt x="24" y="84"/>
                    <a:pt x="26" y="85"/>
                    <a:pt x="27" y="86"/>
                  </a:cubicBezTo>
                  <a:cubicBezTo>
                    <a:pt x="32" y="85"/>
                    <a:pt x="32" y="85"/>
                    <a:pt x="32" y="85"/>
                  </a:cubicBezTo>
                  <a:cubicBezTo>
                    <a:pt x="27" y="87"/>
                    <a:pt x="27" y="87"/>
                    <a:pt x="27" y="87"/>
                  </a:cubicBezTo>
                  <a:cubicBezTo>
                    <a:pt x="27" y="87"/>
                    <a:pt x="27" y="87"/>
                    <a:pt x="27" y="87"/>
                  </a:cubicBezTo>
                  <a:cubicBezTo>
                    <a:pt x="28" y="88"/>
                    <a:pt x="28" y="88"/>
                    <a:pt x="28" y="89"/>
                  </a:cubicBezTo>
                  <a:cubicBezTo>
                    <a:pt x="29" y="90"/>
                    <a:pt x="29" y="92"/>
                    <a:pt x="30" y="95"/>
                  </a:cubicBezTo>
                  <a:cubicBezTo>
                    <a:pt x="30" y="96"/>
                    <a:pt x="30" y="96"/>
                    <a:pt x="30" y="96"/>
                  </a:cubicBezTo>
                  <a:cubicBezTo>
                    <a:pt x="30" y="96"/>
                    <a:pt x="30" y="96"/>
                    <a:pt x="30" y="96"/>
                  </a:cubicBezTo>
                  <a:cubicBezTo>
                    <a:pt x="31" y="96"/>
                    <a:pt x="31" y="96"/>
                    <a:pt x="32" y="96"/>
                  </a:cubicBezTo>
                  <a:cubicBezTo>
                    <a:pt x="33" y="96"/>
                    <a:pt x="34" y="97"/>
                    <a:pt x="35" y="98"/>
                  </a:cubicBezTo>
                  <a:cubicBezTo>
                    <a:pt x="36" y="99"/>
                    <a:pt x="37" y="100"/>
                    <a:pt x="38" y="101"/>
                  </a:cubicBezTo>
                  <a:cubicBezTo>
                    <a:pt x="38" y="101"/>
                    <a:pt x="38" y="101"/>
                    <a:pt x="38" y="101"/>
                  </a:cubicBezTo>
                  <a:cubicBezTo>
                    <a:pt x="39" y="101"/>
                    <a:pt x="39" y="101"/>
                    <a:pt x="39" y="101"/>
                  </a:cubicBezTo>
                  <a:cubicBezTo>
                    <a:pt x="40" y="101"/>
                    <a:pt x="40" y="101"/>
                    <a:pt x="42" y="101"/>
                  </a:cubicBezTo>
                  <a:cubicBezTo>
                    <a:pt x="43" y="101"/>
                    <a:pt x="43" y="101"/>
                    <a:pt x="43" y="101"/>
                  </a:cubicBezTo>
                  <a:cubicBezTo>
                    <a:pt x="43" y="101"/>
                    <a:pt x="43" y="101"/>
                    <a:pt x="43" y="101"/>
                  </a:cubicBezTo>
                  <a:cubicBezTo>
                    <a:pt x="44" y="101"/>
                    <a:pt x="44" y="101"/>
                    <a:pt x="44" y="101"/>
                  </a:cubicBezTo>
                  <a:cubicBezTo>
                    <a:pt x="44" y="101"/>
                    <a:pt x="45" y="101"/>
                    <a:pt x="45" y="101"/>
                  </a:cubicBezTo>
                  <a:cubicBezTo>
                    <a:pt x="46" y="101"/>
                    <a:pt x="47" y="101"/>
                    <a:pt x="48" y="101"/>
                  </a:cubicBezTo>
                  <a:cubicBezTo>
                    <a:pt x="49" y="101"/>
                    <a:pt x="49" y="101"/>
                    <a:pt x="50" y="101"/>
                  </a:cubicBezTo>
                  <a:cubicBezTo>
                    <a:pt x="59" y="104"/>
                    <a:pt x="59" y="104"/>
                    <a:pt x="59" y="104"/>
                  </a:cubicBezTo>
                  <a:cubicBezTo>
                    <a:pt x="52" y="107"/>
                    <a:pt x="52" y="107"/>
                    <a:pt x="52" y="107"/>
                  </a:cubicBezTo>
                  <a:cubicBezTo>
                    <a:pt x="51" y="108"/>
                    <a:pt x="50" y="108"/>
                    <a:pt x="49" y="108"/>
                  </a:cubicBezTo>
                  <a:cubicBezTo>
                    <a:pt x="47" y="109"/>
                    <a:pt x="46" y="110"/>
                    <a:pt x="46" y="110"/>
                  </a:cubicBezTo>
                  <a:cubicBezTo>
                    <a:pt x="46" y="110"/>
                    <a:pt x="46" y="110"/>
                    <a:pt x="46" y="110"/>
                  </a:cubicBezTo>
                  <a:cubicBezTo>
                    <a:pt x="46" y="111"/>
                    <a:pt x="46" y="111"/>
                    <a:pt x="46" y="111"/>
                  </a:cubicBezTo>
                  <a:cubicBezTo>
                    <a:pt x="46" y="112"/>
                    <a:pt x="46" y="112"/>
                    <a:pt x="46" y="112"/>
                  </a:cubicBezTo>
                  <a:cubicBezTo>
                    <a:pt x="46" y="112"/>
                    <a:pt x="46" y="113"/>
                    <a:pt x="46" y="113"/>
                  </a:cubicBezTo>
                  <a:cubicBezTo>
                    <a:pt x="46" y="114"/>
                    <a:pt x="47" y="114"/>
                    <a:pt x="47" y="114"/>
                  </a:cubicBezTo>
                  <a:cubicBezTo>
                    <a:pt x="47" y="115"/>
                    <a:pt x="47" y="115"/>
                    <a:pt x="47" y="115"/>
                  </a:cubicBezTo>
                  <a:cubicBezTo>
                    <a:pt x="48" y="116"/>
                    <a:pt x="50" y="118"/>
                    <a:pt x="50" y="121"/>
                  </a:cubicBezTo>
                  <a:cubicBezTo>
                    <a:pt x="50" y="121"/>
                    <a:pt x="50" y="122"/>
                    <a:pt x="50" y="122"/>
                  </a:cubicBezTo>
                  <a:cubicBezTo>
                    <a:pt x="49" y="123"/>
                    <a:pt x="49" y="123"/>
                    <a:pt x="49" y="123"/>
                  </a:cubicBezTo>
                  <a:cubicBezTo>
                    <a:pt x="49" y="125"/>
                    <a:pt x="49" y="125"/>
                    <a:pt x="49" y="125"/>
                  </a:cubicBezTo>
                  <a:cubicBezTo>
                    <a:pt x="47" y="126"/>
                    <a:pt x="47" y="126"/>
                    <a:pt x="47" y="126"/>
                  </a:cubicBezTo>
                  <a:cubicBezTo>
                    <a:pt x="47" y="126"/>
                    <a:pt x="46" y="126"/>
                    <a:pt x="45" y="126"/>
                  </a:cubicBezTo>
                  <a:cubicBezTo>
                    <a:pt x="44" y="127"/>
                    <a:pt x="43" y="127"/>
                    <a:pt x="42" y="127"/>
                  </a:cubicBezTo>
                  <a:cubicBezTo>
                    <a:pt x="40" y="130"/>
                    <a:pt x="40" y="131"/>
                    <a:pt x="40" y="133"/>
                  </a:cubicBezTo>
                  <a:cubicBezTo>
                    <a:pt x="39" y="136"/>
                    <a:pt x="39" y="136"/>
                    <a:pt x="39" y="136"/>
                  </a:cubicBezTo>
                  <a:cubicBezTo>
                    <a:pt x="39" y="137"/>
                    <a:pt x="39" y="138"/>
                    <a:pt x="39" y="138"/>
                  </a:cubicBezTo>
                  <a:cubicBezTo>
                    <a:pt x="38" y="139"/>
                    <a:pt x="37" y="141"/>
                    <a:pt x="35" y="141"/>
                  </a:cubicBezTo>
                  <a:cubicBezTo>
                    <a:pt x="35" y="141"/>
                    <a:pt x="35" y="141"/>
                    <a:pt x="34" y="141"/>
                  </a:cubicBezTo>
                  <a:cubicBezTo>
                    <a:pt x="34" y="141"/>
                    <a:pt x="34" y="141"/>
                    <a:pt x="34" y="141"/>
                  </a:cubicBezTo>
                  <a:cubicBezTo>
                    <a:pt x="34" y="141"/>
                    <a:pt x="34" y="141"/>
                    <a:pt x="34" y="141"/>
                  </a:cubicBezTo>
                  <a:cubicBezTo>
                    <a:pt x="34" y="141"/>
                    <a:pt x="34" y="142"/>
                    <a:pt x="35" y="142"/>
                  </a:cubicBezTo>
                  <a:cubicBezTo>
                    <a:pt x="36" y="143"/>
                    <a:pt x="36" y="145"/>
                    <a:pt x="35" y="146"/>
                  </a:cubicBezTo>
                  <a:cubicBezTo>
                    <a:pt x="35" y="146"/>
                    <a:pt x="35" y="147"/>
                    <a:pt x="35" y="147"/>
                  </a:cubicBezTo>
                  <a:cubicBezTo>
                    <a:pt x="34" y="148"/>
                    <a:pt x="34" y="148"/>
                    <a:pt x="34" y="148"/>
                  </a:cubicBezTo>
                  <a:cubicBezTo>
                    <a:pt x="34" y="150"/>
                    <a:pt x="33" y="151"/>
                    <a:pt x="32" y="153"/>
                  </a:cubicBezTo>
                  <a:cubicBezTo>
                    <a:pt x="32" y="153"/>
                    <a:pt x="32" y="153"/>
                    <a:pt x="32" y="153"/>
                  </a:cubicBezTo>
                  <a:cubicBezTo>
                    <a:pt x="39" y="153"/>
                    <a:pt x="39" y="153"/>
                    <a:pt x="39" y="153"/>
                  </a:cubicBezTo>
                  <a:cubicBezTo>
                    <a:pt x="35" y="157"/>
                    <a:pt x="35" y="157"/>
                    <a:pt x="35" y="157"/>
                  </a:cubicBezTo>
                  <a:cubicBezTo>
                    <a:pt x="37" y="158"/>
                    <a:pt x="37" y="158"/>
                    <a:pt x="37" y="158"/>
                  </a:cubicBezTo>
                  <a:cubicBezTo>
                    <a:pt x="41" y="154"/>
                    <a:pt x="41" y="154"/>
                    <a:pt x="41" y="154"/>
                  </a:cubicBezTo>
                  <a:cubicBezTo>
                    <a:pt x="38" y="160"/>
                    <a:pt x="38" y="160"/>
                    <a:pt x="38" y="160"/>
                  </a:cubicBezTo>
                  <a:cubicBezTo>
                    <a:pt x="38" y="160"/>
                    <a:pt x="38" y="160"/>
                    <a:pt x="38" y="160"/>
                  </a:cubicBezTo>
                  <a:cubicBezTo>
                    <a:pt x="38" y="160"/>
                    <a:pt x="38" y="160"/>
                    <a:pt x="39" y="160"/>
                  </a:cubicBezTo>
                  <a:cubicBezTo>
                    <a:pt x="39" y="160"/>
                    <a:pt x="39" y="160"/>
                    <a:pt x="39" y="160"/>
                  </a:cubicBezTo>
                  <a:cubicBezTo>
                    <a:pt x="41" y="161"/>
                    <a:pt x="42" y="161"/>
                    <a:pt x="44" y="162"/>
                  </a:cubicBezTo>
                  <a:cubicBezTo>
                    <a:pt x="44" y="163"/>
                    <a:pt x="44" y="163"/>
                    <a:pt x="44" y="164"/>
                  </a:cubicBezTo>
                  <a:cubicBezTo>
                    <a:pt x="44" y="165"/>
                    <a:pt x="45" y="166"/>
                    <a:pt x="45" y="167"/>
                  </a:cubicBezTo>
                  <a:cubicBezTo>
                    <a:pt x="45" y="168"/>
                    <a:pt x="45" y="168"/>
                    <a:pt x="45" y="168"/>
                  </a:cubicBezTo>
                  <a:cubicBezTo>
                    <a:pt x="45" y="169"/>
                    <a:pt x="45" y="170"/>
                    <a:pt x="45" y="171"/>
                  </a:cubicBezTo>
                  <a:cubicBezTo>
                    <a:pt x="46" y="172"/>
                    <a:pt x="46" y="172"/>
                    <a:pt x="46" y="172"/>
                  </a:cubicBezTo>
                  <a:cubicBezTo>
                    <a:pt x="46" y="173"/>
                    <a:pt x="46" y="175"/>
                    <a:pt x="47" y="176"/>
                  </a:cubicBezTo>
                  <a:cubicBezTo>
                    <a:pt x="47" y="177"/>
                    <a:pt x="47" y="177"/>
                    <a:pt x="47" y="177"/>
                  </a:cubicBezTo>
                  <a:cubicBezTo>
                    <a:pt x="48" y="177"/>
                    <a:pt x="48" y="177"/>
                    <a:pt x="48" y="177"/>
                  </a:cubicBezTo>
                  <a:cubicBezTo>
                    <a:pt x="48" y="177"/>
                    <a:pt x="49" y="177"/>
                    <a:pt x="50" y="177"/>
                  </a:cubicBezTo>
                  <a:cubicBezTo>
                    <a:pt x="51" y="177"/>
                    <a:pt x="52" y="178"/>
                    <a:pt x="54" y="178"/>
                  </a:cubicBezTo>
                  <a:cubicBezTo>
                    <a:pt x="56" y="179"/>
                    <a:pt x="57" y="180"/>
                    <a:pt x="59" y="181"/>
                  </a:cubicBezTo>
                  <a:cubicBezTo>
                    <a:pt x="69" y="189"/>
                    <a:pt x="69" y="189"/>
                    <a:pt x="69" y="189"/>
                  </a:cubicBezTo>
                  <a:cubicBezTo>
                    <a:pt x="70" y="190"/>
                    <a:pt x="70" y="190"/>
                    <a:pt x="70" y="190"/>
                  </a:cubicBezTo>
                  <a:cubicBezTo>
                    <a:pt x="70" y="190"/>
                    <a:pt x="70" y="190"/>
                    <a:pt x="70" y="190"/>
                  </a:cubicBezTo>
                  <a:cubicBezTo>
                    <a:pt x="70" y="190"/>
                    <a:pt x="71" y="189"/>
                    <a:pt x="72" y="189"/>
                  </a:cubicBezTo>
                  <a:cubicBezTo>
                    <a:pt x="72" y="189"/>
                    <a:pt x="73" y="189"/>
                    <a:pt x="74" y="190"/>
                  </a:cubicBezTo>
                  <a:cubicBezTo>
                    <a:pt x="75" y="190"/>
                    <a:pt x="76" y="191"/>
                    <a:pt x="78" y="192"/>
                  </a:cubicBezTo>
                  <a:cubicBezTo>
                    <a:pt x="79" y="194"/>
                    <a:pt x="81" y="197"/>
                    <a:pt x="82" y="198"/>
                  </a:cubicBezTo>
                  <a:cubicBezTo>
                    <a:pt x="83" y="200"/>
                    <a:pt x="83" y="200"/>
                    <a:pt x="83" y="200"/>
                  </a:cubicBezTo>
                  <a:cubicBezTo>
                    <a:pt x="84" y="201"/>
                    <a:pt x="85" y="202"/>
                    <a:pt x="85" y="203"/>
                  </a:cubicBezTo>
                  <a:cubicBezTo>
                    <a:pt x="88" y="207"/>
                    <a:pt x="89" y="209"/>
                    <a:pt x="89" y="211"/>
                  </a:cubicBezTo>
                  <a:cubicBezTo>
                    <a:pt x="89" y="211"/>
                    <a:pt x="89" y="211"/>
                    <a:pt x="89" y="211"/>
                  </a:cubicBezTo>
                  <a:cubicBezTo>
                    <a:pt x="89" y="211"/>
                    <a:pt x="89" y="211"/>
                    <a:pt x="89" y="211"/>
                  </a:cubicBezTo>
                  <a:cubicBezTo>
                    <a:pt x="89" y="212"/>
                    <a:pt x="89" y="213"/>
                    <a:pt x="89" y="213"/>
                  </a:cubicBezTo>
                  <a:cubicBezTo>
                    <a:pt x="89" y="213"/>
                    <a:pt x="89" y="213"/>
                    <a:pt x="89" y="213"/>
                  </a:cubicBezTo>
                  <a:cubicBezTo>
                    <a:pt x="88" y="215"/>
                    <a:pt x="88" y="215"/>
                    <a:pt x="88" y="215"/>
                  </a:cubicBezTo>
                  <a:cubicBezTo>
                    <a:pt x="88" y="216"/>
                    <a:pt x="87" y="217"/>
                    <a:pt x="87" y="218"/>
                  </a:cubicBezTo>
                  <a:cubicBezTo>
                    <a:pt x="86" y="219"/>
                    <a:pt x="86" y="219"/>
                    <a:pt x="86" y="219"/>
                  </a:cubicBezTo>
                  <a:cubicBezTo>
                    <a:pt x="86" y="219"/>
                    <a:pt x="86" y="219"/>
                    <a:pt x="86" y="219"/>
                  </a:cubicBezTo>
                  <a:cubicBezTo>
                    <a:pt x="86" y="221"/>
                    <a:pt x="86" y="222"/>
                    <a:pt x="86" y="224"/>
                  </a:cubicBezTo>
                  <a:cubicBezTo>
                    <a:pt x="86" y="225"/>
                    <a:pt x="85" y="227"/>
                    <a:pt x="85" y="228"/>
                  </a:cubicBezTo>
                  <a:cubicBezTo>
                    <a:pt x="86" y="228"/>
                    <a:pt x="87" y="228"/>
                    <a:pt x="88" y="228"/>
                  </a:cubicBezTo>
                  <a:cubicBezTo>
                    <a:pt x="89" y="228"/>
                    <a:pt x="90" y="228"/>
                    <a:pt x="91" y="229"/>
                  </a:cubicBezTo>
                  <a:cubicBezTo>
                    <a:pt x="92" y="229"/>
                    <a:pt x="92" y="229"/>
                    <a:pt x="92" y="229"/>
                  </a:cubicBezTo>
                  <a:cubicBezTo>
                    <a:pt x="92" y="230"/>
                    <a:pt x="92" y="230"/>
                    <a:pt x="92" y="230"/>
                  </a:cubicBezTo>
                  <a:cubicBezTo>
                    <a:pt x="93" y="231"/>
                    <a:pt x="93" y="231"/>
                    <a:pt x="93" y="232"/>
                  </a:cubicBezTo>
                  <a:cubicBezTo>
                    <a:pt x="93" y="232"/>
                    <a:pt x="94" y="233"/>
                    <a:pt x="94" y="233"/>
                  </a:cubicBezTo>
                  <a:cubicBezTo>
                    <a:pt x="94" y="236"/>
                    <a:pt x="94" y="238"/>
                    <a:pt x="93" y="240"/>
                  </a:cubicBezTo>
                  <a:cubicBezTo>
                    <a:pt x="93" y="241"/>
                    <a:pt x="93" y="242"/>
                    <a:pt x="93" y="243"/>
                  </a:cubicBezTo>
                  <a:cubicBezTo>
                    <a:pt x="94" y="243"/>
                    <a:pt x="94" y="243"/>
                    <a:pt x="94" y="243"/>
                  </a:cubicBezTo>
                  <a:cubicBezTo>
                    <a:pt x="95" y="244"/>
                    <a:pt x="96" y="244"/>
                    <a:pt x="97" y="246"/>
                  </a:cubicBezTo>
                  <a:cubicBezTo>
                    <a:pt x="98" y="247"/>
                    <a:pt x="99" y="248"/>
                    <a:pt x="100" y="249"/>
                  </a:cubicBezTo>
                  <a:cubicBezTo>
                    <a:pt x="101" y="250"/>
                    <a:pt x="101" y="250"/>
                    <a:pt x="102" y="251"/>
                  </a:cubicBezTo>
                  <a:cubicBezTo>
                    <a:pt x="102" y="251"/>
                    <a:pt x="102" y="251"/>
                    <a:pt x="102" y="251"/>
                  </a:cubicBezTo>
                  <a:cubicBezTo>
                    <a:pt x="102" y="252"/>
                    <a:pt x="104" y="253"/>
                    <a:pt x="106" y="255"/>
                  </a:cubicBezTo>
                  <a:cubicBezTo>
                    <a:pt x="109" y="257"/>
                    <a:pt x="109" y="257"/>
                    <a:pt x="109" y="257"/>
                  </a:cubicBezTo>
                  <a:cubicBezTo>
                    <a:pt x="110" y="257"/>
                    <a:pt x="111" y="256"/>
                    <a:pt x="111" y="256"/>
                  </a:cubicBezTo>
                  <a:cubicBezTo>
                    <a:pt x="112" y="255"/>
                    <a:pt x="112" y="253"/>
                    <a:pt x="112" y="252"/>
                  </a:cubicBezTo>
                  <a:cubicBezTo>
                    <a:pt x="112" y="252"/>
                    <a:pt x="111" y="251"/>
                    <a:pt x="111" y="250"/>
                  </a:cubicBezTo>
                  <a:cubicBezTo>
                    <a:pt x="110" y="250"/>
                    <a:pt x="110" y="249"/>
                    <a:pt x="110" y="249"/>
                  </a:cubicBezTo>
                  <a:cubicBezTo>
                    <a:pt x="111" y="248"/>
                    <a:pt x="112" y="248"/>
                    <a:pt x="113" y="248"/>
                  </a:cubicBezTo>
                  <a:cubicBezTo>
                    <a:pt x="113" y="248"/>
                    <a:pt x="113" y="248"/>
                    <a:pt x="114" y="248"/>
                  </a:cubicBezTo>
                  <a:cubicBezTo>
                    <a:pt x="115" y="248"/>
                    <a:pt x="116" y="249"/>
                    <a:pt x="118" y="250"/>
                  </a:cubicBezTo>
                  <a:cubicBezTo>
                    <a:pt x="119" y="250"/>
                    <a:pt x="119" y="250"/>
                    <a:pt x="120" y="251"/>
                  </a:cubicBezTo>
                  <a:cubicBezTo>
                    <a:pt x="122" y="252"/>
                    <a:pt x="124" y="253"/>
                    <a:pt x="125" y="254"/>
                  </a:cubicBezTo>
                  <a:cubicBezTo>
                    <a:pt x="126" y="255"/>
                    <a:pt x="126" y="255"/>
                    <a:pt x="126" y="255"/>
                  </a:cubicBezTo>
                  <a:cubicBezTo>
                    <a:pt x="126" y="256"/>
                    <a:pt x="126" y="257"/>
                    <a:pt x="126" y="257"/>
                  </a:cubicBezTo>
                  <a:cubicBezTo>
                    <a:pt x="127" y="257"/>
                    <a:pt x="127" y="256"/>
                    <a:pt x="127" y="256"/>
                  </a:cubicBezTo>
                  <a:cubicBezTo>
                    <a:pt x="128" y="256"/>
                    <a:pt x="129" y="255"/>
                    <a:pt x="130" y="255"/>
                  </a:cubicBezTo>
                  <a:cubicBezTo>
                    <a:pt x="132" y="254"/>
                    <a:pt x="134" y="254"/>
                    <a:pt x="135" y="253"/>
                  </a:cubicBezTo>
                  <a:cubicBezTo>
                    <a:pt x="136" y="253"/>
                    <a:pt x="136" y="253"/>
                    <a:pt x="137" y="253"/>
                  </a:cubicBezTo>
                  <a:cubicBezTo>
                    <a:pt x="137" y="253"/>
                    <a:pt x="137" y="253"/>
                    <a:pt x="137" y="253"/>
                  </a:cubicBezTo>
                  <a:cubicBezTo>
                    <a:pt x="139" y="253"/>
                    <a:pt x="140" y="255"/>
                    <a:pt x="141" y="257"/>
                  </a:cubicBezTo>
                  <a:cubicBezTo>
                    <a:pt x="142" y="258"/>
                    <a:pt x="142" y="259"/>
                    <a:pt x="143" y="260"/>
                  </a:cubicBezTo>
                  <a:cubicBezTo>
                    <a:pt x="143" y="261"/>
                    <a:pt x="144" y="262"/>
                    <a:pt x="144" y="263"/>
                  </a:cubicBezTo>
                  <a:cubicBezTo>
                    <a:pt x="146" y="264"/>
                    <a:pt x="147" y="266"/>
                    <a:pt x="149" y="267"/>
                  </a:cubicBezTo>
                  <a:cubicBezTo>
                    <a:pt x="150" y="269"/>
                    <a:pt x="152" y="271"/>
                    <a:pt x="152" y="273"/>
                  </a:cubicBezTo>
                  <a:cubicBezTo>
                    <a:pt x="153" y="275"/>
                    <a:pt x="153" y="276"/>
                    <a:pt x="152" y="278"/>
                  </a:cubicBezTo>
                  <a:cubicBezTo>
                    <a:pt x="153" y="279"/>
                    <a:pt x="154" y="279"/>
                    <a:pt x="155" y="279"/>
                  </a:cubicBezTo>
                  <a:cubicBezTo>
                    <a:pt x="157" y="280"/>
                    <a:pt x="158" y="281"/>
                    <a:pt x="159" y="284"/>
                  </a:cubicBezTo>
                  <a:cubicBezTo>
                    <a:pt x="159" y="285"/>
                    <a:pt x="159" y="285"/>
                    <a:pt x="159" y="285"/>
                  </a:cubicBezTo>
                  <a:cubicBezTo>
                    <a:pt x="159" y="287"/>
                    <a:pt x="160" y="289"/>
                    <a:pt x="161" y="292"/>
                  </a:cubicBezTo>
                  <a:cubicBezTo>
                    <a:pt x="162" y="294"/>
                    <a:pt x="163" y="296"/>
                    <a:pt x="164" y="298"/>
                  </a:cubicBezTo>
                  <a:cubicBezTo>
                    <a:pt x="165" y="300"/>
                    <a:pt x="166" y="302"/>
                    <a:pt x="167" y="304"/>
                  </a:cubicBezTo>
                  <a:cubicBezTo>
                    <a:pt x="167" y="304"/>
                    <a:pt x="167" y="304"/>
                    <a:pt x="167" y="304"/>
                  </a:cubicBezTo>
                  <a:cubicBezTo>
                    <a:pt x="168" y="306"/>
                    <a:pt x="169" y="308"/>
                    <a:pt x="170" y="310"/>
                  </a:cubicBezTo>
                  <a:cubicBezTo>
                    <a:pt x="172" y="310"/>
                    <a:pt x="173" y="311"/>
                    <a:pt x="174" y="312"/>
                  </a:cubicBezTo>
                  <a:cubicBezTo>
                    <a:pt x="175" y="312"/>
                    <a:pt x="176" y="312"/>
                    <a:pt x="177" y="312"/>
                  </a:cubicBezTo>
                  <a:cubicBezTo>
                    <a:pt x="177" y="312"/>
                    <a:pt x="178" y="312"/>
                    <a:pt x="178" y="312"/>
                  </a:cubicBezTo>
                  <a:cubicBezTo>
                    <a:pt x="178" y="312"/>
                    <a:pt x="179" y="312"/>
                    <a:pt x="179" y="312"/>
                  </a:cubicBezTo>
                  <a:cubicBezTo>
                    <a:pt x="179" y="312"/>
                    <a:pt x="179" y="312"/>
                    <a:pt x="180" y="312"/>
                  </a:cubicBezTo>
                  <a:cubicBezTo>
                    <a:pt x="181" y="312"/>
                    <a:pt x="183" y="312"/>
                    <a:pt x="184" y="313"/>
                  </a:cubicBezTo>
                  <a:cubicBezTo>
                    <a:pt x="184" y="313"/>
                    <a:pt x="185" y="313"/>
                    <a:pt x="185" y="313"/>
                  </a:cubicBezTo>
                  <a:cubicBezTo>
                    <a:pt x="187" y="314"/>
                    <a:pt x="189" y="315"/>
                    <a:pt x="191" y="316"/>
                  </a:cubicBezTo>
                  <a:cubicBezTo>
                    <a:pt x="192" y="317"/>
                    <a:pt x="192" y="317"/>
                    <a:pt x="192" y="317"/>
                  </a:cubicBezTo>
                  <a:cubicBezTo>
                    <a:pt x="193" y="317"/>
                    <a:pt x="193" y="317"/>
                    <a:pt x="193" y="317"/>
                  </a:cubicBezTo>
                  <a:cubicBezTo>
                    <a:pt x="194" y="317"/>
                    <a:pt x="195" y="318"/>
                    <a:pt x="195" y="318"/>
                  </a:cubicBezTo>
                  <a:cubicBezTo>
                    <a:pt x="196" y="319"/>
                    <a:pt x="196" y="319"/>
                    <a:pt x="197" y="320"/>
                  </a:cubicBezTo>
                  <a:cubicBezTo>
                    <a:pt x="198" y="321"/>
                    <a:pt x="199" y="323"/>
                    <a:pt x="201" y="325"/>
                  </a:cubicBezTo>
                  <a:cubicBezTo>
                    <a:pt x="202" y="327"/>
                    <a:pt x="203" y="328"/>
                    <a:pt x="206" y="329"/>
                  </a:cubicBezTo>
                  <a:cubicBezTo>
                    <a:pt x="206" y="329"/>
                    <a:pt x="206" y="329"/>
                    <a:pt x="206" y="329"/>
                  </a:cubicBezTo>
                  <a:cubicBezTo>
                    <a:pt x="208" y="330"/>
                    <a:pt x="209" y="331"/>
                    <a:pt x="212" y="332"/>
                  </a:cubicBezTo>
                  <a:cubicBezTo>
                    <a:pt x="212" y="332"/>
                    <a:pt x="212" y="332"/>
                    <a:pt x="212" y="332"/>
                  </a:cubicBezTo>
                  <a:cubicBezTo>
                    <a:pt x="215" y="333"/>
                    <a:pt x="216" y="334"/>
                    <a:pt x="218" y="335"/>
                  </a:cubicBezTo>
                  <a:cubicBezTo>
                    <a:pt x="218" y="336"/>
                    <a:pt x="218" y="336"/>
                    <a:pt x="218" y="336"/>
                  </a:cubicBezTo>
                  <a:cubicBezTo>
                    <a:pt x="220" y="337"/>
                    <a:pt x="220" y="339"/>
                    <a:pt x="222" y="340"/>
                  </a:cubicBezTo>
                  <a:cubicBezTo>
                    <a:pt x="223" y="340"/>
                    <a:pt x="223" y="340"/>
                    <a:pt x="223" y="340"/>
                  </a:cubicBezTo>
                  <a:cubicBezTo>
                    <a:pt x="225" y="341"/>
                    <a:pt x="227" y="342"/>
                    <a:pt x="229" y="342"/>
                  </a:cubicBezTo>
                  <a:cubicBezTo>
                    <a:pt x="232" y="342"/>
                    <a:pt x="235" y="343"/>
                    <a:pt x="237" y="343"/>
                  </a:cubicBezTo>
                  <a:cubicBezTo>
                    <a:pt x="238" y="343"/>
                    <a:pt x="239" y="343"/>
                    <a:pt x="239" y="343"/>
                  </a:cubicBezTo>
                  <a:cubicBezTo>
                    <a:pt x="241" y="344"/>
                    <a:pt x="243" y="344"/>
                    <a:pt x="245" y="345"/>
                  </a:cubicBezTo>
                  <a:cubicBezTo>
                    <a:pt x="245" y="345"/>
                    <a:pt x="245" y="346"/>
                    <a:pt x="245" y="346"/>
                  </a:cubicBezTo>
                  <a:cubicBezTo>
                    <a:pt x="249" y="345"/>
                    <a:pt x="252" y="344"/>
                    <a:pt x="255" y="343"/>
                  </a:cubicBezTo>
                  <a:cubicBezTo>
                    <a:pt x="257" y="343"/>
                    <a:pt x="258" y="342"/>
                    <a:pt x="259" y="342"/>
                  </a:cubicBezTo>
                  <a:cubicBezTo>
                    <a:pt x="261" y="341"/>
                    <a:pt x="263" y="340"/>
                    <a:pt x="266" y="340"/>
                  </a:cubicBezTo>
                  <a:cubicBezTo>
                    <a:pt x="267" y="339"/>
                    <a:pt x="267" y="336"/>
                    <a:pt x="268" y="336"/>
                  </a:cubicBezTo>
                  <a:cubicBezTo>
                    <a:pt x="270" y="333"/>
                    <a:pt x="273" y="332"/>
                    <a:pt x="277" y="331"/>
                  </a:cubicBezTo>
                  <a:cubicBezTo>
                    <a:pt x="280" y="330"/>
                    <a:pt x="283" y="330"/>
                    <a:pt x="285" y="330"/>
                  </a:cubicBezTo>
                  <a:cubicBezTo>
                    <a:pt x="286" y="330"/>
                    <a:pt x="286" y="330"/>
                    <a:pt x="287" y="330"/>
                  </a:cubicBezTo>
                  <a:cubicBezTo>
                    <a:pt x="287" y="330"/>
                    <a:pt x="287" y="330"/>
                    <a:pt x="287" y="330"/>
                  </a:cubicBezTo>
                  <a:cubicBezTo>
                    <a:pt x="289" y="330"/>
                    <a:pt x="293" y="330"/>
                    <a:pt x="295" y="331"/>
                  </a:cubicBezTo>
                  <a:cubicBezTo>
                    <a:pt x="297" y="331"/>
                    <a:pt x="299" y="332"/>
                    <a:pt x="300" y="334"/>
                  </a:cubicBezTo>
                  <a:cubicBezTo>
                    <a:pt x="300" y="334"/>
                    <a:pt x="300" y="334"/>
                    <a:pt x="300" y="334"/>
                  </a:cubicBezTo>
                  <a:cubicBezTo>
                    <a:pt x="302" y="336"/>
                    <a:pt x="302" y="339"/>
                    <a:pt x="303" y="342"/>
                  </a:cubicBezTo>
                  <a:cubicBezTo>
                    <a:pt x="303" y="344"/>
                    <a:pt x="303" y="347"/>
                    <a:pt x="304" y="349"/>
                  </a:cubicBezTo>
                  <a:cubicBezTo>
                    <a:pt x="304" y="350"/>
                    <a:pt x="304" y="351"/>
                    <a:pt x="304" y="351"/>
                  </a:cubicBezTo>
                  <a:cubicBezTo>
                    <a:pt x="305" y="353"/>
                    <a:pt x="305" y="355"/>
                    <a:pt x="306" y="357"/>
                  </a:cubicBezTo>
                  <a:cubicBezTo>
                    <a:pt x="306" y="359"/>
                    <a:pt x="307" y="361"/>
                    <a:pt x="308" y="363"/>
                  </a:cubicBezTo>
                  <a:cubicBezTo>
                    <a:pt x="308" y="363"/>
                    <a:pt x="308" y="363"/>
                    <a:pt x="308" y="363"/>
                  </a:cubicBezTo>
                  <a:cubicBezTo>
                    <a:pt x="310" y="365"/>
                    <a:pt x="312" y="365"/>
                    <a:pt x="315" y="366"/>
                  </a:cubicBezTo>
                  <a:cubicBezTo>
                    <a:pt x="316" y="366"/>
                    <a:pt x="316" y="366"/>
                    <a:pt x="316" y="366"/>
                  </a:cubicBezTo>
                  <a:cubicBezTo>
                    <a:pt x="318" y="366"/>
                    <a:pt x="321" y="366"/>
                    <a:pt x="323" y="367"/>
                  </a:cubicBezTo>
                  <a:cubicBezTo>
                    <a:pt x="326" y="367"/>
                    <a:pt x="328" y="368"/>
                    <a:pt x="331" y="368"/>
                  </a:cubicBezTo>
                  <a:cubicBezTo>
                    <a:pt x="334" y="368"/>
                    <a:pt x="336" y="369"/>
                    <a:pt x="339" y="369"/>
                  </a:cubicBezTo>
                  <a:cubicBezTo>
                    <a:pt x="340" y="369"/>
                    <a:pt x="341" y="369"/>
                    <a:pt x="342" y="370"/>
                  </a:cubicBezTo>
                  <a:cubicBezTo>
                    <a:pt x="343" y="370"/>
                    <a:pt x="344" y="370"/>
                    <a:pt x="345" y="371"/>
                  </a:cubicBezTo>
                  <a:cubicBezTo>
                    <a:pt x="346" y="371"/>
                    <a:pt x="346" y="371"/>
                    <a:pt x="346" y="371"/>
                  </a:cubicBezTo>
                  <a:cubicBezTo>
                    <a:pt x="348" y="373"/>
                    <a:pt x="349" y="373"/>
                    <a:pt x="351" y="373"/>
                  </a:cubicBezTo>
                  <a:cubicBezTo>
                    <a:pt x="352" y="373"/>
                    <a:pt x="352" y="373"/>
                    <a:pt x="353" y="373"/>
                  </a:cubicBezTo>
                  <a:cubicBezTo>
                    <a:pt x="353" y="373"/>
                    <a:pt x="354" y="373"/>
                    <a:pt x="354" y="373"/>
                  </a:cubicBezTo>
                  <a:cubicBezTo>
                    <a:pt x="357" y="372"/>
                    <a:pt x="359" y="372"/>
                    <a:pt x="361" y="372"/>
                  </a:cubicBezTo>
                  <a:cubicBezTo>
                    <a:pt x="362" y="372"/>
                    <a:pt x="362" y="372"/>
                    <a:pt x="363" y="372"/>
                  </a:cubicBezTo>
                  <a:cubicBezTo>
                    <a:pt x="365" y="372"/>
                    <a:pt x="366" y="372"/>
                    <a:pt x="368" y="373"/>
                  </a:cubicBezTo>
                  <a:cubicBezTo>
                    <a:pt x="369" y="373"/>
                    <a:pt x="370" y="373"/>
                    <a:pt x="372" y="373"/>
                  </a:cubicBezTo>
                  <a:cubicBezTo>
                    <a:pt x="375" y="373"/>
                    <a:pt x="378" y="373"/>
                    <a:pt x="381" y="373"/>
                  </a:cubicBezTo>
                  <a:cubicBezTo>
                    <a:pt x="381" y="373"/>
                    <a:pt x="382" y="373"/>
                    <a:pt x="383" y="373"/>
                  </a:cubicBezTo>
                  <a:cubicBezTo>
                    <a:pt x="383" y="373"/>
                    <a:pt x="383" y="373"/>
                    <a:pt x="383" y="373"/>
                  </a:cubicBezTo>
                  <a:cubicBezTo>
                    <a:pt x="385" y="374"/>
                    <a:pt x="385" y="374"/>
                    <a:pt x="386" y="376"/>
                  </a:cubicBezTo>
                  <a:cubicBezTo>
                    <a:pt x="387" y="376"/>
                    <a:pt x="387" y="376"/>
                    <a:pt x="387" y="376"/>
                  </a:cubicBezTo>
                  <a:cubicBezTo>
                    <a:pt x="388" y="378"/>
                    <a:pt x="390" y="378"/>
                    <a:pt x="393" y="379"/>
                  </a:cubicBezTo>
                  <a:cubicBezTo>
                    <a:pt x="395" y="380"/>
                    <a:pt x="398" y="380"/>
                    <a:pt x="400" y="381"/>
                  </a:cubicBezTo>
                  <a:cubicBezTo>
                    <a:pt x="400" y="381"/>
                    <a:pt x="400" y="381"/>
                    <a:pt x="400" y="381"/>
                  </a:cubicBezTo>
                  <a:cubicBezTo>
                    <a:pt x="401" y="381"/>
                    <a:pt x="401" y="381"/>
                    <a:pt x="401" y="381"/>
                  </a:cubicBezTo>
                  <a:cubicBezTo>
                    <a:pt x="403" y="381"/>
                    <a:pt x="405" y="380"/>
                    <a:pt x="407" y="380"/>
                  </a:cubicBezTo>
                  <a:cubicBezTo>
                    <a:pt x="407" y="379"/>
                    <a:pt x="407" y="378"/>
                    <a:pt x="407" y="378"/>
                  </a:cubicBezTo>
                  <a:cubicBezTo>
                    <a:pt x="407" y="377"/>
                    <a:pt x="407" y="377"/>
                    <a:pt x="407" y="377"/>
                  </a:cubicBezTo>
                  <a:cubicBezTo>
                    <a:pt x="408" y="377"/>
                    <a:pt x="408" y="377"/>
                    <a:pt x="408" y="377"/>
                  </a:cubicBezTo>
                  <a:cubicBezTo>
                    <a:pt x="408" y="376"/>
                    <a:pt x="408" y="374"/>
                    <a:pt x="408" y="373"/>
                  </a:cubicBezTo>
                  <a:cubicBezTo>
                    <a:pt x="408" y="373"/>
                    <a:pt x="408" y="373"/>
                    <a:pt x="408" y="373"/>
                  </a:cubicBezTo>
                  <a:cubicBezTo>
                    <a:pt x="409" y="372"/>
                    <a:pt x="409" y="372"/>
                    <a:pt x="409" y="371"/>
                  </a:cubicBezTo>
                  <a:cubicBezTo>
                    <a:pt x="409" y="370"/>
                    <a:pt x="409" y="370"/>
                    <a:pt x="409" y="370"/>
                  </a:cubicBezTo>
                  <a:cubicBezTo>
                    <a:pt x="410" y="365"/>
                    <a:pt x="411" y="361"/>
                    <a:pt x="412" y="357"/>
                  </a:cubicBezTo>
                  <a:cubicBezTo>
                    <a:pt x="413" y="352"/>
                    <a:pt x="414" y="351"/>
                    <a:pt x="417" y="349"/>
                  </a:cubicBezTo>
                  <a:cubicBezTo>
                    <a:pt x="418" y="349"/>
                    <a:pt x="418" y="349"/>
                    <a:pt x="418" y="349"/>
                  </a:cubicBezTo>
                  <a:cubicBezTo>
                    <a:pt x="418" y="349"/>
                    <a:pt x="419" y="348"/>
                    <a:pt x="420" y="347"/>
                  </a:cubicBezTo>
                  <a:cubicBezTo>
                    <a:pt x="420" y="347"/>
                    <a:pt x="420" y="347"/>
                    <a:pt x="420" y="347"/>
                  </a:cubicBezTo>
                  <a:cubicBezTo>
                    <a:pt x="421" y="346"/>
                    <a:pt x="422" y="345"/>
                    <a:pt x="423" y="345"/>
                  </a:cubicBezTo>
                  <a:cubicBezTo>
                    <a:pt x="425" y="344"/>
                    <a:pt x="427" y="343"/>
                    <a:pt x="428" y="343"/>
                  </a:cubicBezTo>
                  <a:cubicBezTo>
                    <a:pt x="438" y="341"/>
                    <a:pt x="438" y="341"/>
                    <a:pt x="438" y="341"/>
                  </a:cubicBezTo>
                  <a:cubicBezTo>
                    <a:pt x="439" y="341"/>
                    <a:pt x="440" y="341"/>
                    <a:pt x="441" y="341"/>
                  </a:cubicBezTo>
                  <a:cubicBezTo>
                    <a:pt x="442" y="341"/>
                    <a:pt x="443" y="341"/>
                    <a:pt x="443" y="340"/>
                  </a:cubicBezTo>
                  <a:cubicBezTo>
                    <a:pt x="445" y="335"/>
                    <a:pt x="445" y="335"/>
                    <a:pt x="445" y="335"/>
                  </a:cubicBezTo>
                  <a:cubicBezTo>
                    <a:pt x="445" y="334"/>
                    <a:pt x="445" y="332"/>
                    <a:pt x="446" y="331"/>
                  </a:cubicBezTo>
                  <a:cubicBezTo>
                    <a:pt x="446" y="331"/>
                    <a:pt x="445" y="331"/>
                    <a:pt x="445" y="331"/>
                  </a:cubicBezTo>
                  <a:cubicBezTo>
                    <a:pt x="445" y="331"/>
                    <a:pt x="445" y="331"/>
                    <a:pt x="444" y="331"/>
                  </a:cubicBezTo>
                  <a:cubicBezTo>
                    <a:pt x="444" y="331"/>
                    <a:pt x="443" y="331"/>
                    <a:pt x="443" y="331"/>
                  </a:cubicBezTo>
                  <a:cubicBezTo>
                    <a:pt x="442" y="331"/>
                    <a:pt x="442" y="331"/>
                    <a:pt x="442" y="331"/>
                  </a:cubicBezTo>
                  <a:cubicBezTo>
                    <a:pt x="441" y="331"/>
                    <a:pt x="441" y="331"/>
                    <a:pt x="440" y="331"/>
                  </a:cubicBezTo>
                  <a:cubicBezTo>
                    <a:pt x="440" y="331"/>
                    <a:pt x="440" y="331"/>
                    <a:pt x="440" y="331"/>
                  </a:cubicBezTo>
                  <a:cubicBezTo>
                    <a:pt x="437" y="330"/>
                    <a:pt x="435" y="329"/>
                    <a:pt x="434" y="326"/>
                  </a:cubicBezTo>
                  <a:cubicBezTo>
                    <a:pt x="434" y="324"/>
                    <a:pt x="434" y="322"/>
                    <a:pt x="434" y="321"/>
                  </a:cubicBezTo>
                  <a:cubicBezTo>
                    <a:pt x="434" y="320"/>
                    <a:pt x="434" y="320"/>
                    <a:pt x="434" y="320"/>
                  </a:cubicBezTo>
                  <a:cubicBezTo>
                    <a:pt x="435" y="311"/>
                    <a:pt x="435" y="311"/>
                    <a:pt x="435" y="311"/>
                  </a:cubicBezTo>
                  <a:cubicBezTo>
                    <a:pt x="435" y="310"/>
                    <a:pt x="435" y="309"/>
                    <a:pt x="435" y="309"/>
                  </a:cubicBezTo>
                  <a:cubicBezTo>
                    <a:pt x="435" y="307"/>
                    <a:pt x="435" y="306"/>
                    <a:pt x="435" y="305"/>
                  </a:cubicBezTo>
                  <a:cubicBezTo>
                    <a:pt x="435" y="305"/>
                    <a:pt x="434" y="305"/>
                    <a:pt x="433" y="304"/>
                  </a:cubicBezTo>
                  <a:cubicBezTo>
                    <a:pt x="433" y="304"/>
                    <a:pt x="433" y="304"/>
                    <a:pt x="433" y="304"/>
                  </a:cubicBezTo>
                  <a:cubicBezTo>
                    <a:pt x="432" y="304"/>
                    <a:pt x="431" y="303"/>
                    <a:pt x="430" y="303"/>
                  </a:cubicBezTo>
                  <a:cubicBezTo>
                    <a:pt x="428" y="302"/>
                    <a:pt x="427" y="302"/>
                    <a:pt x="427" y="302"/>
                  </a:cubicBezTo>
                  <a:cubicBezTo>
                    <a:pt x="426" y="301"/>
                    <a:pt x="425" y="301"/>
                    <a:pt x="425" y="301"/>
                  </a:cubicBezTo>
                  <a:cubicBezTo>
                    <a:pt x="424" y="301"/>
                    <a:pt x="424" y="301"/>
                    <a:pt x="424" y="301"/>
                  </a:cubicBezTo>
                  <a:cubicBezTo>
                    <a:pt x="423" y="300"/>
                    <a:pt x="422" y="300"/>
                    <a:pt x="421" y="300"/>
                  </a:cubicBezTo>
                  <a:cubicBezTo>
                    <a:pt x="419" y="299"/>
                    <a:pt x="415" y="297"/>
                    <a:pt x="414" y="295"/>
                  </a:cubicBezTo>
                  <a:cubicBezTo>
                    <a:pt x="411" y="291"/>
                    <a:pt x="409" y="288"/>
                    <a:pt x="407" y="285"/>
                  </a:cubicBezTo>
                  <a:cubicBezTo>
                    <a:pt x="406" y="284"/>
                    <a:pt x="406" y="284"/>
                    <a:pt x="406" y="284"/>
                  </a:cubicBezTo>
                  <a:cubicBezTo>
                    <a:pt x="401" y="278"/>
                    <a:pt x="396" y="271"/>
                    <a:pt x="391" y="263"/>
                  </a:cubicBezTo>
                  <a:cubicBezTo>
                    <a:pt x="390" y="263"/>
                    <a:pt x="390" y="263"/>
                    <a:pt x="390" y="263"/>
                  </a:cubicBezTo>
                  <a:cubicBezTo>
                    <a:pt x="386" y="262"/>
                    <a:pt x="386" y="262"/>
                    <a:pt x="386" y="262"/>
                  </a:cubicBezTo>
                  <a:cubicBezTo>
                    <a:pt x="390" y="259"/>
                    <a:pt x="390" y="259"/>
                    <a:pt x="390" y="259"/>
                  </a:cubicBezTo>
                  <a:cubicBezTo>
                    <a:pt x="390" y="259"/>
                    <a:pt x="390" y="259"/>
                    <a:pt x="390" y="259"/>
                  </a:cubicBezTo>
                  <a:cubicBezTo>
                    <a:pt x="391" y="258"/>
                    <a:pt x="391" y="258"/>
                    <a:pt x="391" y="258"/>
                  </a:cubicBezTo>
                  <a:cubicBezTo>
                    <a:pt x="392" y="257"/>
                    <a:pt x="393" y="255"/>
                    <a:pt x="394" y="254"/>
                  </a:cubicBezTo>
                  <a:cubicBezTo>
                    <a:pt x="399" y="248"/>
                    <a:pt x="399" y="248"/>
                    <a:pt x="399" y="248"/>
                  </a:cubicBezTo>
                  <a:cubicBezTo>
                    <a:pt x="400" y="247"/>
                    <a:pt x="401" y="246"/>
                    <a:pt x="402" y="245"/>
                  </a:cubicBezTo>
                  <a:cubicBezTo>
                    <a:pt x="403" y="244"/>
                    <a:pt x="403" y="244"/>
                    <a:pt x="403" y="244"/>
                  </a:cubicBezTo>
                  <a:cubicBezTo>
                    <a:pt x="404" y="243"/>
                    <a:pt x="404" y="243"/>
                    <a:pt x="404" y="242"/>
                  </a:cubicBezTo>
                  <a:cubicBezTo>
                    <a:pt x="405" y="241"/>
                    <a:pt x="406" y="240"/>
                    <a:pt x="407" y="240"/>
                  </a:cubicBezTo>
                  <a:cubicBezTo>
                    <a:pt x="408" y="238"/>
                    <a:pt x="410" y="236"/>
                    <a:pt x="411" y="234"/>
                  </a:cubicBezTo>
                  <a:cubicBezTo>
                    <a:pt x="412" y="233"/>
                    <a:pt x="412" y="231"/>
                    <a:pt x="412" y="230"/>
                  </a:cubicBezTo>
                  <a:cubicBezTo>
                    <a:pt x="412" y="230"/>
                    <a:pt x="412" y="229"/>
                    <a:pt x="411" y="229"/>
                  </a:cubicBezTo>
                  <a:cubicBezTo>
                    <a:pt x="411" y="228"/>
                    <a:pt x="411" y="228"/>
                    <a:pt x="410" y="227"/>
                  </a:cubicBezTo>
                  <a:cubicBezTo>
                    <a:pt x="408" y="224"/>
                    <a:pt x="408" y="224"/>
                    <a:pt x="408" y="224"/>
                  </a:cubicBezTo>
                  <a:cubicBezTo>
                    <a:pt x="408" y="224"/>
                    <a:pt x="408" y="224"/>
                    <a:pt x="407" y="223"/>
                  </a:cubicBezTo>
                  <a:cubicBezTo>
                    <a:pt x="395" y="222"/>
                    <a:pt x="395" y="222"/>
                    <a:pt x="395" y="222"/>
                  </a:cubicBezTo>
                  <a:cubicBezTo>
                    <a:pt x="394" y="222"/>
                    <a:pt x="394" y="222"/>
                    <a:pt x="394" y="222"/>
                  </a:cubicBezTo>
                  <a:cubicBezTo>
                    <a:pt x="393" y="221"/>
                    <a:pt x="390" y="221"/>
                    <a:pt x="389" y="218"/>
                  </a:cubicBezTo>
                  <a:cubicBezTo>
                    <a:pt x="389" y="218"/>
                    <a:pt x="389" y="217"/>
                    <a:pt x="389" y="217"/>
                  </a:cubicBezTo>
                  <a:cubicBezTo>
                    <a:pt x="389" y="216"/>
                    <a:pt x="389" y="215"/>
                    <a:pt x="389" y="214"/>
                  </a:cubicBezTo>
                  <a:cubicBezTo>
                    <a:pt x="389" y="214"/>
                    <a:pt x="389" y="214"/>
                    <a:pt x="389" y="214"/>
                  </a:cubicBezTo>
                  <a:cubicBezTo>
                    <a:pt x="389" y="213"/>
                    <a:pt x="389" y="213"/>
                    <a:pt x="389" y="212"/>
                  </a:cubicBezTo>
                  <a:cubicBezTo>
                    <a:pt x="388" y="208"/>
                    <a:pt x="388" y="208"/>
                    <a:pt x="388" y="208"/>
                  </a:cubicBezTo>
                  <a:cubicBezTo>
                    <a:pt x="388" y="206"/>
                    <a:pt x="388" y="204"/>
                    <a:pt x="389" y="202"/>
                  </a:cubicBezTo>
                  <a:cubicBezTo>
                    <a:pt x="389" y="201"/>
                    <a:pt x="389" y="200"/>
                    <a:pt x="389" y="198"/>
                  </a:cubicBezTo>
                  <a:cubicBezTo>
                    <a:pt x="389" y="198"/>
                    <a:pt x="389" y="197"/>
                    <a:pt x="389" y="196"/>
                  </a:cubicBezTo>
                  <a:cubicBezTo>
                    <a:pt x="388" y="195"/>
                    <a:pt x="388" y="195"/>
                    <a:pt x="388" y="195"/>
                  </a:cubicBezTo>
                  <a:cubicBezTo>
                    <a:pt x="388" y="194"/>
                    <a:pt x="387" y="193"/>
                    <a:pt x="387" y="192"/>
                  </a:cubicBezTo>
                  <a:cubicBezTo>
                    <a:pt x="385" y="184"/>
                    <a:pt x="385" y="184"/>
                    <a:pt x="385" y="184"/>
                  </a:cubicBezTo>
                  <a:cubicBezTo>
                    <a:pt x="385" y="183"/>
                    <a:pt x="385" y="183"/>
                    <a:pt x="385" y="182"/>
                  </a:cubicBezTo>
                  <a:cubicBezTo>
                    <a:pt x="383" y="176"/>
                    <a:pt x="383" y="176"/>
                    <a:pt x="383" y="176"/>
                  </a:cubicBezTo>
                  <a:cubicBezTo>
                    <a:pt x="383" y="173"/>
                    <a:pt x="385" y="170"/>
                    <a:pt x="388" y="167"/>
                  </a:cubicBezTo>
                  <a:cubicBezTo>
                    <a:pt x="388" y="167"/>
                    <a:pt x="388" y="167"/>
                    <a:pt x="388" y="167"/>
                  </a:cubicBezTo>
                  <a:cubicBezTo>
                    <a:pt x="386" y="167"/>
                    <a:pt x="384" y="166"/>
                    <a:pt x="383" y="164"/>
                  </a:cubicBezTo>
                  <a:cubicBezTo>
                    <a:pt x="382" y="163"/>
                    <a:pt x="382" y="162"/>
                    <a:pt x="381" y="161"/>
                  </a:cubicBezTo>
                  <a:cubicBezTo>
                    <a:pt x="381" y="160"/>
                    <a:pt x="381" y="160"/>
                    <a:pt x="381" y="160"/>
                  </a:cubicBezTo>
                  <a:cubicBezTo>
                    <a:pt x="381" y="159"/>
                    <a:pt x="381" y="157"/>
                    <a:pt x="381" y="156"/>
                  </a:cubicBezTo>
                  <a:cubicBezTo>
                    <a:pt x="381" y="153"/>
                    <a:pt x="381" y="151"/>
                    <a:pt x="381" y="150"/>
                  </a:cubicBezTo>
                  <a:cubicBezTo>
                    <a:pt x="381" y="150"/>
                    <a:pt x="381" y="150"/>
                    <a:pt x="381" y="150"/>
                  </a:cubicBezTo>
                  <a:cubicBezTo>
                    <a:pt x="380" y="150"/>
                    <a:pt x="380" y="150"/>
                    <a:pt x="380" y="150"/>
                  </a:cubicBezTo>
                  <a:cubicBezTo>
                    <a:pt x="388" y="142"/>
                    <a:pt x="388" y="142"/>
                    <a:pt x="388" y="142"/>
                  </a:cubicBezTo>
                  <a:cubicBezTo>
                    <a:pt x="388" y="142"/>
                    <a:pt x="387" y="141"/>
                    <a:pt x="387" y="141"/>
                  </a:cubicBezTo>
                  <a:cubicBezTo>
                    <a:pt x="385" y="139"/>
                    <a:pt x="385" y="139"/>
                    <a:pt x="385" y="139"/>
                  </a:cubicBezTo>
                  <a:cubicBezTo>
                    <a:pt x="387" y="137"/>
                    <a:pt x="387" y="137"/>
                    <a:pt x="387" y="137"/>
                  </a:cubicBezTo>
                  <a:cubicBezTo>
                    <a:pt x="388" y="136"/>
                    <a:pt x="389" y="134"/>
                    <a:pt x="391" y="133"/>
                  </a:cubicBezTo>
                  <a:cubicBezTo>
                    <a:pt x="392" y="132"/>
                    <a:pt x="392" y="132"/>
                    <a:pt x="392" y="132"/>
                  </a:cubicBezTo>
                  <a:cubicBezTo>
                    <a:pt x="394" y="130"/>
                    <a:pt x="394" y="130"/>
                    <a:pt x="394" y="129"/>
                  </a:cubicBezTo>
                  <a:cubicBezTo>
                    <a:pt x="394" y="127"/>
                    <a:pt x="394" y="127"/>
                    <a:pt x="394" y="127"/>
                  </a:cubicBezTo>
                  <a:cubicBezTo>
                    <a:pt x="395" y="126"/>
                    <a:pt x="395" y="126"/>
                    <a:pt x="395" y="126"/>
                  </a:cubicBezTo>
                  <a:cubicBezTo>
                    <a:pt x="395" y="126"/>
                    <a:pt x="395" y="126"/>
                    <a:pt x="395" y="126"/>
                  </a:cubicBezTo>
                  <a:cubicBezTo>
                    <a:pt x="395" y="125"/>
                    <a:pt x="395" y="124"/>
                    <a:pt x="396" y="123"/>
                  </a:cubicBezTo>
                  <a:cubicBezTo>
                    <a:pt x="398" y="115"/>
                    <a:pt x="398" y="115"/>
                    <a:pt x="398" y="115"/>
                  </a:cubicBezTo>
                  <a:cubicBezTo>
                    <a:pt x="401" y="112"/>
                    <a:pt x="401" y="112"/>
                    <a:pt x="401" y="112"/>
                  </a:cubicBezTo>
                  <a:cubicBezTo>
                    <a:pt x="401" y="112"/>
                    <a:pt x="401" y="112"/>
                    <a:pt x="401" y="112"/>
                  </a:cubicBezTo>
                  <a:cubicBezTo>
                    <a:pt x="400" y="111"/>
                    <a:pt x="400" y="111"/>
                    <a:pt x="399" y="110"/>
                  </a:cubicBezTo>
                  <a:cubicBezTo>
                    <a:pt x="399" y="109"/>
                    <a:pt x="399" y="109"/>
                    <a:pt x="399" y="109"/>
                  </a:cubicBezTo>
                  <a:cubicBezTo>
                    <a:pt x="399" y="108"/>
                    <a:pt x="399" y="107"/>
                    <a:pt x="399" y="107"/>
                  </a:cubicBezTo>
                  <a:cubicBezTo>
                    <a:pt x="398" y="106"/>
                    <a:pt x="398" y="106"/>
                    <a:pt x="398" y="105"/>
                  </a:cubicBezTo>
                  <a:cubicBezTo>
                    <a:pt x="397" y="103"/>
                    <a:pt x="397" y="103"/>
                    <a:pt x="397" y="103"/>
                  </a:cubicBezTo>
                  <a:cubicBezTo>
                    <a:pt x="397" y="100"/>
                    <a:pt x="397" y="97"/>
                    <a:pt x="397" y="95"/>
                  </a:cubicBezTo>
                  <a:cubicBezTo>
                    <a:pt x="397" y="94"/>
                    <a:pt x="397" y="94"/>
                    <a:pt x="397" y="94"/>
                  </a:cubicBezTo>
                  <a:cubicBezTo>
                    <a:pt x="397" y="93"/>
                    <a:pt x="397" y="92"/>
                    <a:pt x="397" y="92"/>
                  </a:cubicBezTo>
                  <a:cubicBezTo>
                    <a:pt x="397" y="91"/>
                    <a:pt x="397" y="91"/>
                    <a:pt x="397" y="91"/>
                  </a:cubicBezTo>
                  <a:cubicBezTo>
                    <a:pt x="397" y="89"/>
                    <a:pt x="397" y="86"/>
                    <a:pt x="397" y="85"/>
                  </a:cubicBezTo>
                  <a:cubicBezTo>
                    <a:pt x="397" y="85"/>
                    <a:pt x="397" y="85"/>
                    <a:pt x="397" y="85"/>
                  </a:cubicBezTo>
                  <a:cubicBezTo>
                    <a:pt x="396" y="84"/>
                    <a:pt x="394" y="84"/>
                    <a:pt x="393" y="84"/>
                  </a:cubicBezTo>
                  <a:cubicBezTo>
                    <a:pt x="393" y="84"/>
                    <a:pt x="392" y="84"/>
                    <a:pt x="391" y="84"/>
                  </a:cubicBezTo>
                  <a:cubicBezTo>
                    <a:pt x="389" y="84"/>
                    <a:pt x="389" y="84"/>
                    <a:pt x="389" y="84"/>
                  </a:cubicBezTo>
                  <a:cubicBezTo>
                    <a:pt x="387" y="85"/>
                    <a:pt x="386" y="85"/>
                    <a:pt x="385" y="85"/>
                  </a:cubicBezTo>
                  <a:cubicBezTo>
                    <a:pt x="385" y="88"/>
                    <a:pt x="385" y="88"/>
                    <a:pt x="385" y="88"/>
                  </a:cubicBezTo>
                  <a:cubicBezTo>
                    <a:pt x="384" y="85"/>
                    <a:pt x="384" y="85"/>
                    <a:pt x="384" y="85"/>
                  </a:cubicBezTo>
                  <a:cubicBezTo>
                    <a:pt x="383" y="85"/>
                    <a:pt x="383" y="85"/>
                    <a:pt x="383" y="85"/>
                  </a:cubicBezTo>
                  <a:cubicBezTo>
                    <a:pt x="382" y="85"/>
                    <a:pt x="380" y="84"/>
                    <a:pt x="379" y="84"/>
                  </a:cubicBezTo>
                  <a:cubicBezTo>
                    <a:pt x="379" y="84"/>
                    <a:pt x="378" y="83"/>
                    <a:pt x="378" y="83"/>
                  </a:cubicBezTo>
                  <a:cubicBezTo>
                    <a:pt x="377" y="82"/>
                    <a:pt x="377" y="82"/>
                    <a:pt x="377" y="82"/>
                  </a:cubicBezTo>
                  <a:cubicBezTo>
                    <a:pt x="376" y="82"/>
                    <a:pt x="376" y="81"/>
                    <a:pt x="375" y="80"/>
                  </a:cubicBezTo>
                  <a:cubicBezTo>
                    <a:pt x="374" y="78"/>
                    <a:pt x="374" y="78"/>
                    <a:pt x="374" y="78"/>
                  </a:cubicBezTo>
                  <a:cubicBezTo>
                    <a:pt x="373" y="77"/>
                    <a:pt x="373" y="77"/>
                    <a:pt x="372" y="76"/>
                  </a:cubicBezTo>
                  <a:cubicBezTo>
                    <a:pt x="372" y="75"/>
                    <a:pt x="372" y="75"/>
                    <a:pt x="372" y="75"/>
                  </a:cubicBezTo>
                  <a:cubicBezTo>
                    <a:pt x="372" y="75"/>
                    <a:pt x="371" y="75"/>
                    <a:pt x="371" y="74"/>
                  </a:cubicBezTo>
                  <a:cubicBezTo>
                    <a:pt x="370" y="74"/>
                    <a:pt x="370" y="74"/>
                    <a:pt x="370" y="74"/>
                  </a:cubicBezTo>
                  <a:cubicBezTo>
                    <a:pt x="369" y="73"/>
                    <a:pt x="367" y="73"/>
                    <a:pt x="365" y="72"/>
                  </a:cubicBezTo>
                  <a:cubicBezTo>
                    <a:pt x="365" y="72"/>
                    <a:pt x="365" y="72"/>
                    <a:pt x="365" y="72"/>
                  </a:cubicBezTo>
                  <a:cubicBezTo>
                    <a:pt x="364" y="72"/>
                    <a:pt x="363" y="72"/>
                    <a:pt x="362" y="72"/>
                  </a:cubicBezTo>
                  <a:cubicBezTo>
                    <a:pt x="362" y="71"/>
                    <a:pt x="362" y="71"/>
                    <a:pt x="362" y="71"/>
                  </a:cubicBezTo>
                  <a:cubicBezTo>
                    <a:pt x="361" y="71"/>
                    <a:pt x="361" y="71"/>
                    <a:pt x="361" y="71"/>
                  </a:cubicBezTo>
                  <a:cubicBezTo>
                    <a:pt x="360" y="70"/>
                    <a:pt x="360" y="70"/>
                    <a:pt x="360" y="70"/>
                  </a:cubicBezTo>
                  <a:cubicBezTo>
                    <a:pt x="360" y="69"/>
                    <a:pt x="360" y="69"/>
                    <a:pt x="359" y="68"/>
                  </a:cubicBezTo>
                  <a:cubicBezTo>
                    <a:pt x="358" y="66"/>
                    <a:pt x="358" y="66"/>
                    <a:pt x="358" y="66"/>
                  </a:cubicBezTo>
                  <a:cubicBezTo>
                    <a:pt x="357" y="65"/>
                    <a:pt x="357" y="63"/>
                    <a:pt x="356" y="62"/>
                  </a:cubicBezTo>
                  <a:cubicBezTo>
                    <a:pt x="355" y="61"/>
                    <a:pt x="355" y="61"/>
                    <a:pt x="355" y="61"/>
                  </a:cubicBezTo>
                  <a:cubicBezTo>
                    <a:pt x="354" y="59"/>
                    <a:pt x="351" y="58"/>
                    <a:pt x="347" y="58"/>
                  </a:cubicBezTo>
                  <a:cubicBezTo>
                    <a:pt x="347" y="58"/>
                    <a:pt x="346" y="58"/>
                    <a:pt x="346" y="58"/>
                  </a:cubicBezTo>
                  <a:cubicBezTo>
                    <a:pt x="345" y="58"/>
                    <a:pt x="344" y="58"/>
                    <a:pt x="343" y="58"/>
                  </a:cubicBezTo>
                  <a:cubicBezTo>
                    <a:pt x="337" y="58"/>
                    <a:pt x="337" y="58"/>
                    <a:pt x="337" y="58"/>
                  </a:cubicBezTo>
                  <a:cubicBezTo>
                    <a:pt x="337" y="58"/>
                    <a:pt x="337" y="58"/>
                    <a:pt x="337" y="58"/>
                  </a:cubicBezTo>
                  <a:cubicBezTo>
                    <a:pt x="336" y="58"/>
                    <a:pt x="336" y="58"/>
                    <a:pt x="336" y="58"/>
                  </a:cubicBezTo>
                  <a:cubicBezTo>
                    <a:pt x="334" y="58"/>
                    <a:pt x="334" y="58"/>
                    <a:pt x="334" y="58"/>
                  </a:cubicBezTo>
                  <a:cubicBezTo>
                    <a:pt x="334" y="58"/>
                    <a:pt x="334" y="58"/>
                    <a:pt x="334" y="58"/>
                  </a:cubicBezTo>
                  <a:cubicBezTo>
                    <a:pt x="333" y="58"/>
                    <a:pt x="333" y="58"/>
                    <a:pt x="332" y="58"/>
                  </a:cubicBezTo>
                  <a:cubicBezTo>
                    <a:pt x="331" y="57"/>
                    <a:pt x="331" y="57"/>
                    <a:pt x="330" y="57"/>
                  </a:cubicBezTo>
                  <a:cubicBezTo>
                    <a:pt x="329" y="57"/>
                    <a:pt x="329" y="57"/>
                    <a:pt x="329" y="56"/>
                  </a:cubicBezTo>
                  <a:cubicBezTo>
                    <a:pt x="325" y="53"/>
                    <a:pt x="325" y="53"/>
                    <a:pt x="325" y="53"/>
                  </a:cubicBezTo>
                  <a:cubicBezTo>
                    <a:pt x="324" y="53"/>
                    <a:pt x="323" y="52"/>
                    <a:pt x="322" y="52"/>
                  </a:cubicBezTo>
                  <a:cubicBezTo>
                    <a:pt x="320" y="51"/>
                    <a:pt x="320" y="51"/>
                    <a:pt x="320" y="51"/>
                  </a:cubicBezTo>
                  <a:cubicBezTo>
                    <a:pt x="320" y="51"/>
                    <a:pt x="319" y="51"/>
                    <a:pt x="318" y="51"/>
                  </a:cubicBezTo>
                  <a:cubicBezTo>
                    <a:pt x="316" y="50"/>
                    <a:pt x="315" y="50"/>
                    <a:pt x="313" y="50"/>
                  </a:cubicBezTo>
                  <a:cubicBezTo>
                    <a:pt x="312" y="50"/>
                    <a:pt x="312" y="50"/>
                    <a:pt x="312" y="50"/>
                  </a:cubicBezTo>
                  <a:cubicBezTo>
                    <a:pt x="310" y="49"/>
                    <a:pt x="308" y="48"/>
                    <a:pt x="307" y="46"/>
                  </a:cubicBezTo>
                  <a:cubicBezTo>
                    <a:pt x="307" y="45"/>
                    <a:pt x="307" y="45"/>
                    <a:pt x="307" y="45"/>
                  </a:cubicBezTo>
                  <a:cubicBezTo>
                    <a:pt x="302" y="48"/>
                    <a:pt x="302" y="48"/>
                    <a:pt x="302" y="48"/>
                  </a:cubicBezTo>
                  <a:cubicBezTo>
                    <a:pt x="306" y="44"/>
                    <a:pt x="306" y="44"/>
                    <a:pt x="306" y="44"/>
                  </a:cubicBezTo>
                  <a:cubicBezTo>
                    <a:pt x="306" y="44"/>
                    <a:pt x="306" y="44"/>
                    <a:pt x="306" y="44"/>
                  </a:cubicBezTo>
                  <a:cubicBezTo>
                    <a:pt x="305" y="41"/>
                    <a:pt x="305" y="41"/>
                    <a:pt x="304" y="41"/>
                  </a:cubicBezTo>
                  <a:cubicBezTo>
                    <a:pt x="303" y="41"/>
                    <a:pt x="302" y="41"/>
                    <a:pt x="301" y="41"/>
                  </a:cubicBezTo>
                  <a:cubicBezTo>
                    <a:pt x="300" y="41"/>
                    <a:pt x="300" y="41"/>
                    <a:pt x="300" y="41"/>
                  </a:cubicBezTo>
                  <a:cubicBezTo>
                    <a:pt x="299" y="41"/>
                    <a:pt x="298" y="41"/>
                    <a:pt x="297" y="41"/>
                  </a:cubicBezTo>
                  <a:cubicBezTo>
                    <a:pt x="296" y="41"/>
                    <a:pt x="296" y="41"/>
                    <a:pt x="296" y="41"/>
                  </a:cubicBezTo>
                  <a:cubicBezTo>
                    <a:pt x="296" y="41"/>
                    <a:pt x="295" y="41"/>
                    <a:pt x="295" y="41"/>
                  </a:cubicBezTo>
                  <a:cubicBezTo>
                    <a:pt x="293" y="41"/>
                    <a:pt x="292" y="41"/>
                    <a:pt x="291" y="41"/>
                  </a:cubicBezTo>
                  <a:cubicBezTo>
                    <a:pt x="290" y="41"/>
                    <a:pt x="290" y="41"/>
                    <a:pt x="290" y="41"/>
                  </a:cubicBezTo>
                  <a:cubicBezTo>
                    <a:pt x="290" y="41"/>
                    <a:pt x="290" y="41"/>
                    <a:pt x="290" y="41"/>
                  </a:cubicBezTo>
                  <a:cubicBezTo>
                    <a:pt x="289" y="41"/>
                    <a:pt x="289" y="41"/>
                    <a:pt x="289" y="41"/>
                  </a:cubicBezTo>
                  <a:cubicBezTo>
                    <a:pt x="287" y="44"/>
                    <a:pt x="285" y="46"/>
                    <a:pt x="282" y="46"/>
                  </a:cubicBezTo>
                  <a:cubicBezTo>
                    <a:pt x="281" y="46"/>
                    <a:pt x="281" y="46"/>
                    <a:pt x="281" y="46"/>
                  </a:cubicBezTo>
                  <a:cubicBezTo>
                    <a:pt x="281" y="51"/>
                    <a:pt x="281" y="51"/>
                    <a:pt x="281" y="51"/>
                  </a:cubicBezTo>
                  <a:cubicBezTo>
                    <a:pt x="280" y="46"/>
                    <a:pt x="280" y="46"/>
                    <a:pt x="280" y="46"/>
                  </a:cubicBezTo>
                  <a:cubicBezTo>
                    <a:pt x="278" y="46"/>
                    <a:pt x="277" y="46"/>
                    <a:pt x="275" y="46"/>
                  </a:cubicBezTo>
                  <a:cubicBezTo>
                    <a:pt x="275" y="46"/>
                    <a:pt x="274" y="46"/>
                    <a:pt x="273" y="46"/>
                  </a:cubicBezTo>
                  <a:cubicBezTo>
                    <a:pt x="269" y="46"/>
                    <a:pt x="266" y="47"/>
                    <a:pt x="263" y="48"/>
                  </a:cubicBezTo>
                  <a:cubicBezTo>
                    <a:pt x="232" y="78"/>
                    <a:pt x="232" y="78"/>
                    <a:pt x="232" y="78"/>
                  </a:cubicBezTo>
                  <a:cubicBezTo>
                    <a:pt x="231" y="77"/>
                    <a:pt x="231" y="77"/>
                    <a:pt x="231" y="77"/>
                  </a:cubicBezTo>
                  <a:cubicBezTo>
                    <a:pt x="230" y="77"/>
                    <a:pt x="230" y="77"/>
                    <a:pt x="229" y="77"/>
                  </a:cubicBezTo>
                  <a:cubicBezTo>
                    <a:pt x="229" y="77"/>
                    <a:pt x="228" y="77"/>
                    <a:pt x="228" y="77"/>
                  </a:cubicBezTo>
                  <a:cubicBezTo>
                    <a:pt x="226" y="77"/>
                    <a:pt x="224" y="77"/>
                    <a:pt x="222" y="76"/>
                  </a:cubicBezTo>
                  <a:cubicBezTo>
                    <a:pt x="222" y="76"/>
                    <a:pt x="223" y="76"/>
                    <a:pt x="223" y="76"/>
                  </a:cubicBezTo>
                  <a:cubicBezTo>
                    <a:pt x="225" y="76"/>
                    <a:pt x="226" y="75"/>
                    <a:pt x="228" y="75"/>
                  </a:cubicBezTo>
                  <a:cubicBezTo>
                    <a:pt x="226" y="75"/>
                    <a:pt x="224" y="75"/>
                    <a:pt x="222" y="75"/>
                  </a:cubicBezTo>
                  <a:cubicBezTo>
                    <a:pt x="218" y="76"/>
                    <a:pt x="215" y="76"/>
                    <a:pt x="211" y="77"/>
                  </a:cubicBezTo>
                  <a:cubicBezTo>
                    <a:pt x="207" y="78"/>
                    <a:pt x="203" y="79"/>
                    <a:pt x="200" y="80"/>
                  </a:cubicBezTo>
                  <a:cubicBezTo>
                    <a:pt x="198" y="80"/>
                    <a:pt x="196" y="80"/>
                    <a:pt x="194" y="81"/>
                  </a:cubicBezTo>
                  <a:cubicBezTo>
                    <a:pt x="192" y="81"/>
                    <a:pt x="190" y="82"/>
                    <a:pt x="188" y="82"/>
                  </a:cubicBezTo>
                  <a:cubicBezTo>
                    <a:pt x="186" y="83"/>
                    <a:pt x="184" y="83"/>
                    <a:pt x="182" y="83"/>
                  </a:cubicBezTo>
                  <a:cubicBezTo>
                    <a:pt x="180" y="83"/>
                    <a:pt x="179" y="83"/>
                    <a:pt x="178" y="83"/>
                  </a:cubicBezTo>
                  <a:cubicBezTo>
                    <a:pt x="177" y="83"/>
                    <a:pt x="176" y="83"/>
                    <a:pt x="175" y="82"/>
                  </a:cubicBezTo>
                  <a:cubicBezTo>
                    <a:pt x="173" y="82"/>
                    <a:pt x="172" y="81"/>
                    <a:pt x="171" y="81"/>
                  </a:cubicBezTo>
                  <a:cubicBezTo>
                    <a:pt x="168" y="80"/>
                    <a:pt x="166" y="80"/>
                    <a:pt x="164" y="79"/>
                  </a:cubicBezTo>
                  <a:cubicBezTo>
                    <a:pt x="162" y="78"/>
                    <a:pt x="159" y="77"/>
                    <a:pt x="157" y="76"/>
                  </a:cubicBezTo>
                  <a:cubicBezTo>
                    <a:pt x="157" y="76"/>
                    <a:pt x="157" y="76"/>
                    <a:pt x="157" y="76"/>
                  </a:cubicBezTo>
                  <a:cubicBezTo>
                    <a:pt x="155" y="76"/>
                    <a:pt x="153" y="75"/>
                    <a:pt x="151" y="73"/>
                  </a:cubicBezTo>
                  <a:cubicBezTo>
                    <a:pt x="149" y="72"/>
                    <a:pt x="147" y="71"/>
                    <a:pt x="146" y="70"/>
                  </a:cubicBezTo>
                  <a:cubicBezTo>
                    <a:pt x="145" y="68"/>
                    <a:pt x="144" y="67"/>
                    <a:pt x="143" y="66"/>
                  </a:cubicBezTo>
                  <a:cubicBezTo>
                    <a:pt x="143" y="66"/>
                    <a:pt x="142" y="65"/>
                    <a:pt x="142" y="64"/>
                  </a:cubicBezTo>
                  <a:cubicBezTo>
                    <a:pt x="140" y="63"/>
                    <a:pt x="138" y="62"/>
                    <a:pt x="136" y="61"/>
                  </a:cubicBezTo>
                  <a:cubicBezTo>
                    <a:pt x="133" y="61"/>
                    <a:pt x="130" y="60"/>
                    <a:pt x="128" y="59"/>
                  </a:cubicBezTo>
                  <a:cubicBezTo>
                    <a:pt x="128" y="59"/>
                    <a:pt x="128" y="59"/>
                    <a:pt x="128" y="59"/>
                  </a:cubicBezTo>
                  <a:cubicBezTo>
                    <a:pt x="126" y="59"/>
                    <a:pt x="123" y="58"/>
                    <a:pt x="121" y="58"/>
                  </a:cubicBezTo>
                  <a:cubicBezTo>
                    <a:pt x="119" y="57"/>
                    <a:pt x="117" y="56"/>
                    <a:pt x="115" y="54"/>
                  </a:cubicBezTo>
                  <a:cubicBezTo>
                    <a:pt x="115" y="54"/>
                    <a:pt x="114" y="53"/>
                    <a:pt x="114" y="52"/>
                  </a:cubicBezTo>
                  <a:cubicBezTo>
                    <a:pt x="114" y="50"/>
                    <a:pt x="113" y="49"/>
                    <a:pt x="113" y="48"/>
                  </a:cubicBezTo>
                  <a:cubicBezTo>
                    <a:pt x="112" y="45"/>
                    <a:pt x="112" y="43"/>
                    <a:pt x="111" y="40"/>
                  </a:cubicBezTo>
                  <a:cubicBezTo>
                    <a:pt x="111" y="39"/>
                    <a:pt x="111" y="37"/>
                    <a:pt x="111" y="36"/>
                  </a:cubicBezTo>
                  <a:cubicBezTo>
                    <a:pt x="109" y="36"/>
                    <a:pt x="109" y="36"/>
                    <a:pt x="109" y="36"/>
                  </a:cubicBezTo>
                  <a:cubicBezTo>
                    <a:pt x="109" y="36"/>
                    <a:pt x="108" y="36"/>
                    <a:pt x="108" y="36"/>
                  </a:cubicBezTo>
                  <a:cubicBezTo>
                    <a:pt x="108" y="36"/>
                    <a:pt x="108" y="36"/>
                    <a:pt x="108" y="36"/>
                  </a:cubicBezTo>
                  <a:cubicBezTo>
                    <a:pt x="107" y="37"/>
                    <a:pt x="106" y="37"/>
                    <a:pt x="106" y="37"/>
                  </a:cubicBezTo>
                  <a:cubicBezTo>
                    <a:pt x="106" y="37"/>
                    <a:pt x="106" y="37"/>
                    <a:pt x="106" y="37"/>
                  </a:cubicBezTo>
                  <a:cubicBezTo>
                    <a:pt x="105" y="37"/>
                    <a:pt x="105" y="37"/>
                    <a:pt x="105" y="37"/>
                  </a:cubicBezTo>
                  <a:cubicBezTo>
                    <a:pt x="105" y="37"/>
                    <a:pt x="105" y="37"/>
                    <a:pt x="104" y="37"/>
                  </a:cubicBezTo>
                  <a:cubicBezTo>
                    <a:pt x="104" y="37"/>
                    <a:pt x="104" y="37"/>
                    <a:pt x="104" y="37"/>
                  </a:cubicBezTo>
                  <a:cubicBezTo>
                    <a:pt x="104" y="37"/>
                    <a:pt x="104" y="37"/>
                    <a:pt x="104" y="37"/>
                  </a:cubicBezTo>
                  <a:cubicBezTo>
                    <a:pt x="103" y="37"/>
                    <a:pt x="103" y="37"/>
                    <a:pt x="102" y="36"/>
                  </a:cubicBezTo>
                  <a:cubicBezTo>
                    <a:pt x="101" y="36"/>
                    <a:pt x="100" y="34"/>
                    <a:pt x="100" y="33"/>
                  </a:cubicBezTo>
                  <a:cubicBezTo>
                    <a:pt x="99" y="33"/>
                    <a:pt x="99" y="32"/>
                    <a:pt x="99" y="32"/>
                  </a:cubicBezTo>
                  <a:cubicBezTo>
                    <a:pt x="99" y="32"/>
                    <a:pt x="98" y="32"/>
                    <a:pt x="98" y="31"/>
                  </a:cubicBezTo>
                  <a:cubicBezTo>
                    <a:pt x="96" y="31"/>
                    <a:pt x="96" y="30"/>
                    <a:pt x="95" y="29"/>
                  </a:cubicBezTo>
                  <a:cubicBezTo>
                    <a:pt x="94" y="29"/>
                    <a:pt x="94" y="29"/>
                    <a:pt x="93" y="28"/>
                  </a:cubicBezTo>
                  <a:cubicBezTo>
                    <a:pt x="93" y="28"/>
                    <a:pt x="93" y="28"/>
                    <a:pt x="93" y="28"/>
                  </a:cubicBezTo>
                  <a:cubicBezTo>
                    <a:pt x="93" y="27"/>
                    <a:pt x="93" y="27"/>
                    <a:pt x="93" y="27"/>
                  </a:cubicBezTo>
                  <a:cubicBezTo>
                    <a:pt x="85" y="21"/>
                    <a:pt x="85" y="21"/>
                    <a:pt x="85" y="21"/>
                  </a:cubicBezTo>
                  <a:cubicBezTo>
                    <a:pt x="93" y="16"/>
                    <a:pt x="93" y="16"/>
                    <a:pt x="93" y="16"/>
                  </a:cubicBezTo>
                  <a:cubicBezTo>
                    <a:pt x="91" y="15"/>
                    <a:pt x="90" y="13"/>
                    <a:pt x="91" y="10"/>
                  </a:cubicBezTo>
                  <a:cubicBezTo>
                    <a:pt x="92" y="10"/>
                    <a:pt x="92" y="9"/>
                    <a:pt x="93" y="8"/>
                  </a:cubicBezTo>
                  <a:cubicBezTo>
                    <a:pt x="93" y="7"/>
                    <a:pt x="93" y="7"/>
                    <a:pt x="93" y="7"/>
                  </a:cubicBezTo>
                  <a:cubicBezTo>
                    <a:pt x="93" y="7"/>
                    <a:pt x="93" y="7"/>
                    <a:pt x="93" y="7"/>
                  </a:cubicBezTo>
                  <a:cubicBezTo>
                    <a:pt x="92" y="5"/>
                    <a:pt x="92" y="5"/>
                    <a:pt x="92" y="5"/>
                  </a:cubicBezTo>
                  <a:cubicBezTo>
                    <a:pt x="90" y="2"/>
                    <a:pt x="89" y="1"/>
                    <a:pt x="89" y="1"/>
                  </a:cubicBezTo>
                  <a:cubicBezTo>
                    <a:pt x="88" y="1"/>
                    <a:pt x="87" y="2"/>
                    <a:pt x="84" y="3"/>
                  </a:cubicBezTo>
                  <a:cubicBezTo>
                    <a:pt x="84" y="4"/>
                    <a:pt x="84" y="4"/>
                    <a:pt x="84" y="4"/>
                  </a:cubicBezTo>
                  <a:cubicBezTo>
                    <a:pt x="80" y="6"/>
                    <a:pt x="77" y="8"/>
                    <a:pt x="74" y="10"/>
                  </a:cubicBezTo>
                  <a:cubicBezTo>
                    <a:pt x="72" y="11"/>
                    <a:pt x="72" y="11"/>
                    <a:pt x="72" y="11"/>
                  </a:cubicBezTo>
                  <a:cubicBezTo>
                    <a:pt x="71" y="12"/>
                    <a:pt x="70" y="12"/>
                    <a:pt x="69" y="13"/>
                  </a:cubicBezTo>
                  <a:cubicBezTo>
                    <a:pt x="67" y="14"/>
                    <a:pt x="66" y="15"/>
                    <a:pt x="64" y="17"/>
                  </a:cubicBezTo>
                  <a:cubicBezTo>
                    <a:pt x="64" y="17"/>
                    <a:pt x="63" y="18"/>
                    <a:pt x="63" y="18"/>
                  </a:cubicBezTo>
                  <a:cubicBezTo>
                    <a:pt x="62" y="19"/>
                    <a:pt x="62" y="19"/>
                    <a:pt x="62" y="19"/>
                  </a:cubicBezTo>
                  <a:cubicBezTo>
                    <a:pt x="60" y="21"/>
                    <a:pt x="60" y="21"/>
                    <a:pt x="60" y="21"/>
                  </a:cubicBezTo>
                  <a:cubicBezTo>
                    <a:pt x="59" y="21"/>
                    <a:pt x="59" y="22"/>
                    <a:pt x="58" y="23"/>
                  </a:cubicBezTo>
                  <a:cubicBezTo>
                    <a:pt x="57" y="23"/>
                    <a:pt x="57" y="23"/>
                    <a:pt x="57" y="23"/>
                  </a:cubicBezTo>
                  <a:cubicBezTo>
                    <a:pt x="54" y="29"/>
                    <a:pt x="54" y="29"/>
                    <a:pt x="54" y="29"/>
                  </a:cubicBezTo>
                  <a:cubicBezTo>
                    <a:pt x="54" y="27"/>
                    <a:pt x="54" y="27"/>
                    <a:pt x="54" y="27"/>
                  </a:cubicBezTo>
                  <a:cubicBezTo>
                    <a:pt x="54" y="27"/>
                    <a:pt x="54" y="27"/>
                    <a:pt x="54" y="27"/>
                  </a:cubicBezTo>
                  <a:cubicBezTo>
                    <a:pt x="53" y="24"/>
                    <a:pt x="53" y="24"/>
                    <a:pt x="53" y="24"/>
                  </a:cubicBezTo>
                  <a:cubicBezTo>
                    <a:pt x="53" y="24"/>
                    <a:pt x="53" y="24"/>
                    <a:pt x="53" y="24"/>
                  </a:cubicBezTo>
                  <a:cubicBezTo>
                    <a:pt x="53" y="24"/>
                    <a:pt x="53" y="24"/>
                    <a:pt x="53" y="24"/>
                  </a:cubicBezTo>
                  <a:cubicBezTo>
                    <a:pt x="53" y="24"/>
                    <a:pt x="53" y="24"/>
                    <a:pt x="53" y="24"/>
                  </a:cubicBezTo>
                  <a:cubicBezTo>
                    <a:pt x="52" y="24"/>
                    <a:pt x="51" y="24"/>
                    <a:pt x="51" y="24"/>
                  </a:cubicBezTo>
                  <a:cubicBezTo>
                    <a:pt x="50" y="24"/>
                    <a:pt x="50" y="24"/>
                    <a:pt x="50" y="24"/>
                  </a:cubicBezTo>
                  <a:cubicBezTo>
                    <a:pt x="50" y="25"/>
                    <a:pt x="50" y="25"/>
                    <a:pt x="50" y="25"/>
                  </a:cubicBezTo>
                  <a:cubicBezTo>
                    <a:pt x="47" y="25"/>
                    <a:pt x="47" y="25"/>
                    <a:pt x="47" y="25"/>
                  </a:cubicBezTo>
                  <a:cubicBezTo>
                    <a:pt x="47" y="25"/>
                    <a:pt x="43" y="24"/>
                    <a:pt x="40" y="24"/>
                  </a:cubicBezTo>
                  <a:cubicBezTo>
                    <a:pt x="36" y="24"/>
                    <a:pt x="28" y="21"/>
                    <a:pt x="26" y="19"/>
                  </a:cubicBezTo>
                  <a:cubicBezTo>
                    <a:pt x="26" y="18"/>
                    <a:pt x="24" y="16"/>
                    <a:pt x="23" y="15"/>
                  </a:cubicBezTo>
                  <a:cubicBezTo>
                    <a:pt x="23" y="15"/>
                    <a:pt x="23" y="15"/>
                    <a:pt x="23" y="15"/>
                  </a:cubicBezTo>
                  <a:cubicBezTo>
                    <a:pt x="22" y="14"/>
                    <a:pt x="21" y="14"/>
                    <a:pt x="21" y="13"/>
                  </a:cubicBezTo>
                  <a:cubicBezTo>
                    <a:pt x="17" y="9"/>
                    <a:pt x="14" y="6"/>
                    <a:pt x="13" y="4"/>
                  </a:cubicBezTo>
                  <a:cubicBezTo>
                    <a:pt x="13" y="4"/>
                    <a:pt x="13" y="4"/>
                    <a:pt x="13" y="4"/>
                  </a:cubicBezTo>
                  <a:cubicBezTo>
                    <a:pt x="12" y="4"/>
                    <a:pt x="12" y="4"/>
                    <a:pt x="12" y="4"/>
                  </a:cubicBezTo>
                  <a:cubicBezTo>
                    <a:pt x="12" y="3"/>
                    <a:pt x="12" y="3"/>
                    <a:pt x="12" y="3"/>
                  </a:cubicBezTo>
                  <a:cubicBezTo>
                    <a:pt x="12" y="2"/>
                    <a:pt x="12" y="2"/>
                    <a:pt x="12" y="2"/>
                  </a:cubicBezTo>
                  <a:cubicBezTo>
                    <a:pt x="12" y="2"/>
                    <a:pt x="12" y="2"/>
                    <a:pt x="12" y="2"/>
                  </a:cubicBezTo>
                  <a:cubicBezTo>
                    <a:pt x="11" y="1"/>
                    <a:pt x="11" y="1"/>
                    <a:pt x="11" y="1"/>
                  </a:cubicBezTo>
                  <a:cubicBezTo>
                    <a:pt x="10" y="0"/>
                    <a:pt x="10" y="0"/>
                    <a:pt x="10"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288"/>
            <p:cNvSpPr/>
            <p:nvPr/>
          </p:nvSpPr>
          <p:spPr bwMode="auto">
            <a:xfrm>
              <a:off x="6582" y="268"/>
              <a:ext cx="31" cy="67"/>
            </a:xfrm>
            <a:custGeom>
              <a:gdLst>
                <a:gd name="T0" fmla="*/ 13 w 13"/>
                <a:gd name="T1" fmla="*/ 0 h 28"/>
                <a:gd name="T2" fmla="*/ 12 w 13"/>
                <a:gd name="T3" fmla="*/ 1 h 28"/>
                <a:gd name="T4" fmla="*/ 8 w 13"/>
                <a:gd name="T5" fmla="*/ 4 h 28"/>
                <a:gd name="T6" fmla="*/ 4 w 13"/>
                <a:gd name="T7" fmla="*/ 7 h 28"/>
                <a:gd name="T8" fmla="*/ 1 w 13"/>
                <a:gd name="T9" fmla="*/ 10 h 28"/>
                <a:gd name="T10" fmla="*/ 0 w 13"/>
                <a:gd name="T11" fmla="*/ 11 h 28"/>
                <a:gd name="T12" fmla="*/ 9 w 13"/>
                <a:gd name="T13" fmla="*/ 28 h 28"/>
                <a:gd name="T14" fmla="*/ 7 w 13"/>
                <a:gd name="T15" fmla="*/ 20 h 28"/>
                <a:gd name="T16" fmla="*/ 9 w 13"/>
                <a:gd name="T17" fmla="*/ 13 h 28"/>
                <a:gd name="T18" fmla="*/ 8 w 13"/>
                <a:gd name="T19" fmla="*/ 10 h 28"/>
                <a:gd name="T20" fmla="*/ 7 w 13"/>
                <a:gd name="T21" fmla="*/ 10 h 28"/>
                <a:gd name="T22" fmla="*/ 6 w 13"/>
                <a:gd name="T23" fmla="*/ 10 h 28"/>
                <a:gd name="T24" fmla="*/ 8 w 13"/>
                <a:gd name="T25" fmla="*/ 7 h 28"/>
                <a:gd name="T26" fmla="*/ 12 w 13"/>
                <a:gd name="T27" fmla="*/ 1 h 28"/>
                <a:gd name="T28" fmla="*/ 13 w 13"/>
                <a:gd name="T29"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8">
                  <a:moveTo>
                    <a:pt x="13" y="0"/>
                  </a:moveTo>
                  <a:cubicBezTo>
                    <a:pt x="12" y="1"/>
                    <a:pt x="12" y="1"/>
                    <a:pt x="12" y="1"/>
                  </a:cubicBezTo>
                  <a:cubicBezTo>
                    <a:pt x="10" y="1"/>
                    <a:pt x="9" y="3"/>
                    <a:pt x="8" y="4"/>
                  </a:cubicBezTo>
                  <a:cubicBezTo>
                    <a:pt x="6" y="5"/>
                    <a:pt x="5" y="6"/>
                    <a:pt x="4" y="7"/>
                  </a:cubicBezTo>
                  <a:cubicBezTo>
                    <a:pt x="1" y="10"/>
                    <a:pt x="1" y="10"/>
                    <a:pt x="1" y="10"/>
                  </a:cubicBezTo>
                  <a:cubicBezTo>
                    <a:pt x="0" y="10"/>
                    <a:pt x="0" y="11"/>
                    <a:pt x="0" y="11"/>
                  </a:cubicBezTo>
                  <a:cubicBezTo>
                    <a:pt x="3" y="17"/>
                    <a:pt x="6" y="22"/>
                    <a:pt x="9" y="28"/>
                  </a:cubicBezTo>
                  <a:cubicBezTo>
                    <a:pt x="8" y="25"/>
                    <a:pt x="7" y="23"/>
                    <a:pt x="7" y="20"/>
                  </a:cubicBezTo>
                  <a:cubicBezTo>
                    <a:pt x="7" y="17"/>
                    <a:pt x="9" y="15"/>
                    <a:pt x="9" y="13"/>
                  </a:cubicBezTo>
                  <a:cubicBezTo>
                    <a:pt x="9" y="11"/>
                    <a:pt x="9" y="10"/>
                    <a:pt x="8" y="10"/>
                  </a:cubicBezTo>
                  <a:cubicBezTo>
                    <a:pt x="8" y="10"/>
                    <a:pt x="8" y="10"/>
                    <a:pt x="7" y="10"/>
                  </a:cubicBezTo>
                  <a:cubicBezTo>
                    <a:pt x="7" y="10"/>
                    <a:pt x="6" y="10"/>
                    <a:pt x="6" y="10"/>
                  </a:cubicBezTo>
                  <a:cubicBezTo>
                    <a:pt x="5" y="10"/>
                    <a:pt x="7" y="7"/>
                    <a:pt x="8" y="7"/>
                  </a:cubicBezTo>
                  <a:cubicBezTo>
                    <a:pt x="9" y="5"/>
                    <a:pt x="10" y="3"/>
                    <a:pt x="12" y="1"/>
                  </a:cubicBezTo>
                  <a:cubicBezTo>
                    <a:pt x="12" y="1"/>
                    <a:pt x="12"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289"/>
            <p:cNvSpPr/>
            <p:nvPr/>
          </p:nvSpPr>
          <p:spPr bwMode="auto">
            <a:xfrm>
              <a:off x="6591" y="228"/>
              <a:ext cx="771" cy="478"/>
            </a:xfrm>
            <a:custGeom>
              <a:gdLst>
                <a:gd name="T0" fmla="*/ 136 w 326"/>
                <a:gd name="T1" fmla="*/ 12 h 202"/>
                <a:gd name="T2" fmla="*/ 127 w 326"/>
                <a:gd name="T3" fmla="*/ 7 h 202"/>
                <a:gd name="T4" fmla="*/ 108 w 326"/>
                <a:gd name="T5" fmla="*/ 19 h 202"/>
                <a:gd name="T6" fmla="*/ 105 w 326"/>
                <a:gd name="T7" fmla="*/ 29 h 202"/>
                <a:gd name="T8" fmla="*/ 89 w 326"/>
                <a:gd name="T9" fmla="*/ 40 h 202"/>
                <a:gd name="T10" fmla="*/ 71 w 326"/>
                <a:gd name="T11" fmla="*/ 40 h 202"/>
                <a:gd name="T12" fmla="*/ 62 w 326"/>
                <a:gd name="T13" fmla="*/ 38 h 202"/>
                <a:gd name="T14" fmla="*/ 44 w 326"/>
                <a:gd name="T15" fmla="*/ 20 h 202"/>
                <a:gd name="T16" fmla="*/ 30 w 326"/>
                <a:gd name="T17" fmla="*/ 12 h 202"/>
                <a:gd name="T18" fmla="*/ 25 w 326"/>
                <a:gd name="T19" fmla="*/ 15 h 202"/>
                <a:gd name="T20" fmla="*/ 44 w 326"/>
                <a:gd name="T21" fmla="*/ 50 h 202"/>
                <a:gd name="T22" fmla="*/ 39 w 326"/>
                <a:gd name="T23" fmla="*/ 55 h 202"/>
                <a:gd name="T24" fmla="*/ 26 w 326"/>
                <a:gd name="T25" fmla="*/ 57 h 202"/>
                <a:gd name="T26" fmla="*/ 18 w 326"/>
                <a:gd name="T27" fmla="*/ 54 h 202"/>
                <a:gd name="T28" fmla="*/ 6 w 326"/>
                <a:gd name="T29" fmla="*/ 74 h 202"/>
                <a:gd name="T30" fmla="*/ 14 w 326"/>
                <a:gd name="T31" fmla="*/ 75 h 202"/>
                <a:gd name="T32" fmla="*/ 17 w 326"/>
                <a:gd name="T33" fmla="*/ 74 h 202"/>
                <a:gd name="T34" fmla="*/ 14 w 326"/>
                <a:gd name="T35" fmla="*/ 87 h 202"/>
                <a:gd name="T36" fmla="*/ 12 w 326"/>
                <a:gd name="T37" fmla="*/ 92 h 202"/>
                <a:gd name="T38" fmla="*/ 30 w 326"/>
                <a:gd name="T39" fmla="*/ 152 h 202"/>
                <a:gd name="T40" fmla="*/ 81 w 326"/>
                <a:gd name="T41" fmla="*/ 124 h 202"/>
                <a:gd name="T42" fmla="*/ 89 w 326"/>
                <a:gd name="T43" fmla="*/ 119 h 202"/>
                <a:gd name="T44" fmla="*/ 105 w 326"/>
                <a:gd name="T45" fmla="*/ 119 h 202"/>
                <a:gd name="T46" fmla="*/ 123 w 326"/>
                <a:gd name="T47" fmla="*/ 130 h 202"/>
                <a:gd name="T48" fmla="*/ 132 w 326"/>
                <a:gd name="T49" fmla="*/ 136 h 202"/>
                <a:gd name="T50" fmla="*/ 137 w 326"/>
                <a:gd name="T51" fmla="*/ 136 h 202"/>
                <a:gd name="T52" fmla="*/ 156 w 326"/>
                <a:gd name="T53" fmla="*/ 138 h 202"/>
                <a:gd name="T54" fmla="*/ 166 w 326"/>
                <a:gd name="T55" fmla="*/ 151 h 202"/>
                <a:gd name="T56" fmla="*/ 181 w 326"/>
                <a:gd name="T57" fmla="*/ 162 h 202"/>
                <a:gd name="T58" fmla="*/ 191 w 326"/>
                <a:gd name="T59" fmla="*/ 163 h 202"/>
                <a:gd name="T60" fmla="*/ 202 w 326"/>
                <a:gd name="T61" fmla="*/ 167 h 202"/>
                <a:gd name="T62" fmla="*/ 205 w 326"/>
                <a:gd name="T63" fmla="*/ 192 h 202"/>
                <a:gd name="T64" fmla="*/ 213 w 326"/>
                <a:gd name="T65" fmla="*/ 194 h 202"/>
                <a:gd name="T66" fmla="*/ 226 w 326"/>
                <a:gd name="T67" fmla="*/ 202 h 202"/>
                <a:gd name="T68" fmla="*/ 242 w 326"/>
                <a:gd name="T69" fmla="*/ 194 h 202"/>
                <a:gd name="T70" fmla="*/ 254 w 326"/>
                <a:gd name="T71" fmla="*/ 183 h 202"/>
                <a:gd name="T72" fmla="*/ 278 w 326"/>
                <a:gd name="T73" fmla="*/ 168 h 202"/>
                <a:gd name="T74" fmla="*/ 296 w 326"/>
                <a:gd name="T75" fmla="*/ 147 h 202"/>
                <a:gd name="T76" fmla="*/ 306 w 326"/>
                <a:gd name="T77" fmla="*/ 140 h 202"/>
                <a:gd name="T78" fmla="*/ 313 w 326"/>
                <a:gd name="T79" fmla="*/ 141 h 202"/>
                <a:gd name="T80" fmla="*/ 320 w 326"/>
                <a:gd name="T81" fmla="*/ 144 h 202"/>
                <a:gd name="T82" fmla="*/ 324 w 326"/>
                <a:gd name="T83" fmla="*/ 141 h 202"/>
                <a:gd name="T84" fmla="*/ 322 w 326"/>
                <a:gd name="T85" fmla="*/ 130 h 202"/>
                <a:gd name="T86" fmla="*/ 307 w 326"/>
                <a:gd name="T87" fmla="*/ 126 h 202"/>
                <a:gd name="T88" fmla="*/ 285 w 326"/>
                <a:gd name="T89" fmla="*/ 113 h 202"/>
                <a:gd name="T90" fmla="*/ 243 w 326"/>
                <a:gd name="T91" fmla="*/ 87 h 202"/>
                <a:gd name="T92" fmla="*/ 228 w 326"/>
                <a:gd name="T93" fmla="*/ 76 h 202"/>
                <a:gd name="T94" fmla="*/ 223 w 326"/>
                <a:gd name="T95" fmla="*/ 64 h 202"/>
                <a:gd name="T96" fmla="*/ 201 w 326"/>
                <a:gd name="T97" fmla="*/ 44 h 202"/>
                <a:gd name="T98" fmla="*/ 184 w 326"/>
                <a:gd name="T99" fmla="*/ 42 h 202"/>
                <a:gd name="T100" fmla="*/ 171 w 326"/>
                <a:gd name="T101" fmla="*/ 32 h 202"/>
                <a:gd name="T102" fmla="*/ 169 w 326"/>
                <a:gd name="T103" fmla="*/ 22 h 202"/>
                <a:gd name="T104" fmla="*/ 164 w 326"/>
                <a:gd name="T105" fmla="*/ 12 h 202"/>
                <a:gd name="T106" fmla="*/ 152 w 326"/>
                <a:gd name="T107" fmla="*/ 8 h 202"/>
                <a:gd name="T108" fmla="*/ 149 w 326"/>
                <a:gd name="T109" fmla="*/ 6 h 2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201">
                  <a:moveTo>
                    <a:pt x="140" y="0"/>
                  </a:moveTo>
                  <a:cubicBezTo>
                    <a:pt x="139" y="0"/>
                    <a:pt x="139" y="0"/>
                    <a:pt x="139" y="0"/>
                  </a:cubicBezTo>
                  <a:cubicBezTo>
                    <a:pt x="137" y="3"/>
                    <a:pt x="136" y="3"/>
                    <a:pt x="137" y="4"/>
                  </a:cubicBezTo>
                  <a:cubicBezTo>
                    <a:pt x="137" y="5"/>
                    <a:pt x="138" y="6"/>
                    <a:pt x="139" y="7"/>
                  </a:cubicBezTo>
                  <a:cubicBezTo>
                    <a:pt x="151" y="21"/>
                    <a:pt x="151" y="21"/>
                    <a:pt x="151" y="21"/>
                  </a:cubicBezTo>
                  <a:cubicBezTo>
                    <a:pt x="136" y="12"/>
                    <a:pt x="136" y="12"/>
                    <a:pt x="136" y="12"/>
                  </a:cubicBezTo>
                  <a:cubicBezTo>
                    <a:pt x="135" y="11"/>
                    <a:pt x="134" y="10"/>
                    <a:pt x="133" y="10"/>
                  </a:cubicBezTo>
                  <a:cubicBezTo>
                    <a:pt x="133" y="9"/>
                    <a:pt x="133" y="9"/>
                    <a:pt x="133" y="9"/>
                  </a:cubicBezTo>
                  <a:cubicBezTo>
                    <a:pt x="132" y="8"/>
                    <a:pt x="131" y="8"/>
                    <a:pt x="130" y="8"/>
                  </a:cubicBezTo>
                  <a:cubicBezTo>
                    <a:pt x="129" y="8"/>
                    <a:pt x="129" y="8"/>
                    <a:pt x="129" y="8"/>
                  </a:cubicBezTo>
                  <a:cubicBezTo>
                    <a:pt x="129" y="7"/>
                    <a:pt x="128" y="7"/>
                    <a:pt x="128" y="7"/>
                  </a:cubicBezTo>
                  <a:cubicBezTo>
                    <a:pt x="127" y="7"/>
                    <a:pt x="127" y="7"/>
                    <a:pt x="127" y="7"/>
                  </a:cubicBezTo>
                  <a:cubicBezTo>
                    <a:pt x="127" y="8"/>
                    <a:pt x="127" y="8"/>
                    <a:pt x="126" y="9"/>
                  </a:cubicBezTo>
                  <a:cubicBezTo>
                    <a:pt x="126" y="10"/>
                    <a:pt x="126" y="11"/>
                    <a:pt x="126" y="11"/>
                  </a:cubicBezTo>
                  <a:cubicBezTo>
                    <a:pt x="124" y="15"/>
                    <a:pt x="121" y="16"/>
                    <a:pt x="118" y="17"/>
                  </a:cubicBezTo>
                  <a:cubicBezTo>
                    <a:pt x="117" y="17"/>
                    <a:pt x="116" y="17"/>
                    <a:pt x="115" y="17"/>
                  </a:cubicBezTo>
                  <a:cubicBezTo>
                    <a:pt x="112" y="18"/>
                    <a:pt x="110" y="18"/>
                    <a:pt x="109" y="19"/>
                  </a:cubicBezTo>
                  <a:cubicBezTo>
                    <a:pt x="108" y="19"/>
                    <a:pt x="108" y="19"/>
                    <a:pt x="108" y="19"/>
                  </a:cubicBezTo>
                  <a:cubicBezTo>
                    <a:pt x="108" y="19"/>
                    <a:pt x="108" y="19"/>
                    <a:pt x="108" y="19"/>
                  </a:cubicBezTo>
                  <a:cubicBezTo>
                    <a:pt x="107" y="20"/>
                    <a:pt x="106" y="23"/>
                    <a:pt x="106" y="24"/>
                  </a:cubicBezTo>
                  <a:cubicBezTo>
                    <a:pt x="105" y="25"/>
                    <a:pt x="105" y="27"/>
                    <a:pt x="105" y="27"/>
                  </a:cubicBezTo>
                  <a:cubicBezTo>
                    <a:pt x="104" y="28"/>
                    <a:pt x="104" y="28"/>
                    <a:pt x="104" y="28"/>
                  </a:cubicBezTo>
                  <a:cubicBezTo>
                    <a:pt x="105" y="29"/>
                    <a:pt x="105" y="29"/>
                    <a:pt x="105" y="29"/>
                  </a:cubicBezTo>
                  <a:cubicBezTo>
                    <a:pt x="105" y="29"/>
                    <a:pt x="105" y="29"/>
                    <a:pt x="105" y="29"/>
                  </a:cubicBezTo>
                  <a:cubicBezTo>
                    <a:pt x="105" y="30"/>
                    <a:pt x="105" y="31"/>
                    <a:pt x="105" y="32"/>
                  </a:cubicBezTo>
                  <a:cubicBezTo>
                    <a:pt x="105" y="32"/>
                    <a:pt x="106" y="33"/>
                    <a:pt x="106" y="33"/>
                  </a:cubicBezTo>
                  <a:cubicBezTo>
                    <a:pt x="106" y="33"/>
                    <a:pt x="106" y="33"/>
                    <a:pt x="106" y="33"/>
                  </a:cubicBezTo>
                  <a:cubicBezTo>
                    <a:pt x="123" y="35"/>
                    <a:pt x="123" y="35"/>
                    <a:pt x="123" y="35"/>
                  </a:cubicBezTo>
                  <a:cubicBezTo>
                    <a:pt x="106" y="39"/>
                    <a:pt x="106" y="39"/>
                    <a:pt x="106" y="39"/>
                  </a:cubicBezTo>
                  <a:cubicBezTo>
                    <a:pt x="100" y="40"/>
                    <a:pt x="94" y="40"/>
                    <a:pt x="89" y="40"/>
                  </a:cubicBezTo>
                  <a:cubicBezTo>
                    <a:pt x="85" y="40"/>
                    <a:pt x="81" y="40"/>
                    <a:pt x="78" y="40"/>
                  </a:cubicBezTo>
                  <a:cubicBezTo>
                    <a:pt x="77" y="40"/>
                    <a:pt x="77" y="40"/>
                    <a:pt x="77" y="40"/>
                  </a:cubicBezTo>
                  <a:cubicBezTo>
                    <a:pt x="77" y="40"/>
                    <a:pt x="77" y="40"/>
                    <a:pt x="76" y="40"/>
                  </a:cubicBezTo>
                  <a:cubicBezTo>
                    <a:pt x="75" y="41"/>
                    <a:pt x="75" y="41"/>
                    <a:pt x="75" y="41"/>
                  </a:cubicBezTo>
                  <a:cubicBezTo>
                    <a:pt x="75" y="40"/>
                    <a:pt x="75" y="40"/>
                    <a:pt x="75" y="40"/>
                  </a:cubicBezTo>
                  <a:cubicBezTo>
                    <a:pt x="74" y="40"/>
                    <a:pt x="72" y="40"/>
                    <a:pt x="71" y="40"/>
                  </a:cubicBezTo>
                  <a:cubicBezTo>
                    <a:pt x="69" y="41"/>
                    <a:pt x="68" y="41"/>
                    <a:pt x="66" y="41"/>
                  </a:cubicBezTo>
                  <a:cubicBezTo>
                    <a:pt x="66" y="41"/>
                    <a:pt x="66" y="41"/>
                    <a:pt x="66" y="41"/>
                  </a:cubicBezTo>
                  <a:cubicBezTo>
                    <a:pt x="65" y="41"/>
                    <a:pt x="65" y="41"/>
                    <a:pt x="65" y="41"/>
                  </a:cubicBezTo>
                  <a:cubicBezTo>
                    <a:pt x="64" y="41"/>
                    <a:pt x="64" y="41"/>
                    <a:pt x="63" y="40"/>
                  </a:cubicBezTo>
                  <a:cubicBezTo>
                    <a:pt x="63" y="40"/>
                    <a:pt x="63" y="40"/>
                    <a:pt x="63" y="40"/>
                  </a:cubicBezTo>
                  <a:cubicBezTo>
                    <a:pt x="62" y="39"/>
                    <a:pt x="62" y="39"/>
                    <a:pt x="62" y="38"/>
                  </a:cubicBezTo>
                  <a:cubicBezTo>
                    <a:pt x="60" y="36"/>
                    <a:pt x="58" y="34"/>
                    <a:pt x="57" y="33"/>
                  </a:cubicBezTo>
                  <a:cubicBezTo>
                    <a:pt x="56" y="32"/>
                    <a:pt x="56" y="32"/>
                    <a:pt x="56" y="32"/>
                  </a:cubicBezTo>
                  <a:cubicBezTo>
                    <a:pt x="55" y="31"/>
                    <a:pt x="55" y="30"/>
                    <a:pt x="54" y="29"/>
                  </a:cubicBezTo>
                  <a:cubicBezTo>
                    <a:pt x="53" y="27"/>
                    <a:pt x="51" y="26"/>
                    <a:pt x="50" y="25"/>
                  </a:cubicBezTo>
                  <a:cubicBezTo>
                    <a:pt x="48" y="23"/>
                    <a:pt x="48" y="23"/>
                    <a:pt x="48" y="23"/>
                  </a:cubicBezTo>
                  <a:cubicBezTo>
                    <a:pt x="47" y="22"/>
                    <a:pt x="45" y="21"/>
                    <a:pt x="44" y="20"/>
                  </a:cubicBezTo>
                  <a:cubicBezTo>
                    <a:pt x="41" y="17"/>
                    <a:pt x="39" y="14"/>
                    <a:pt x="36" y="13"/>
                  </a:cubicBezTo>
                  <a:cubicBezTo>
                    <a:pt x="35" y="13"/>
                    <a:pt x="35" y="13"/>
                    <a:pt x="35" y="13"/>
                  </a:cubicBezTo>
                  <a:cubicBezTo>
                    <a:pt x="35" y="12"/>
                    <a:pt x="34" y="12"/>
                    <a:pt x="34" y="11"/>
                  </a:cubicBezTo>
                  <a:cubicBezTo>
                    <a:pt x="33" y="11"/>
                    <a:pt x="33" y="11"/>
                    <a:pt x="33" y="11"/>
                  </a:cubicBezTo>
                  <a:cubicBezTo>
                    <a:pt x="32" y="11"/>
                    <a:pt x="32" y="11"/>
                    <a:pt x="32" y="11"/>
                  </a:cubicBezTo>
                  <a:cubicBezTo>
                    <a:pt x="31" y="11"/>
                    <a:pt x="31" y="12"/>
                    <a:pt x="30" y="12"/>
                  </a:cubicBezTo>
                  <a:cubicBezTo>
                    <a:pt x="29" y="12"/>
                    <a:pt x="29" y="12"/>
                    <a:pt x="29" y="12"/>
                  </a:cubicBezTo>
                  <a:cubicBezTo>
                    <a:pt x="27" y="12"/>
                    <a:pt x="24" y="13"/>
                    <a:pt x="21" y="13"/>
                  </a:cubicBezTo>
                  <a:cubicBezTo>
                    <a:pt x="17" y="14"/>
                    <a:pt x="14" y="15"/>
                    <a:pt x="10" y="16"/>
                  </a:cubicBezTo>
                  <a:cubicBezTo>
                    <a:pt x="12" y="16"/>
                    <a:pt x="14" y="16"/>
                    <a:pt x="16" y="15"/>
                  </a:cubicBezTo>
                  <a:cubicBezTo>
                    <a:pt x="18" y="15"/>
                    <a:pt x="20" y="14"/>
                    <a:pt x="23" y="14"/>
                  </a:cubicBezTo>
                  <a:cubicBezTo>
                    <a:pt x="24" y="14"/>
                    <a:pt x="24" y="14"/>
                    <a:pt x="25" y="15"/>
                  </a:cubicBezTo>
                  <a:cubicBezTo>
                    <a:pt x="30" y="16"/>
                    <a:pt x="28" y="18"/>
                    <a:pt x="28" y="21"/>
                  </a:cubicBezTo>
                  <a:cubicBezTo>
                    <a:pt x="29" y="23"/>
                    <a:pt x="31" y="25"/>
                    <a:pt x="31" y="27"/>
                  </a:cubicBezTo>
                  <a:cubicBezTo>
                    <a:pt x="32" y="30"/>
                    <a:pt x="32" y="31"/>
                    <a:pt x="33" y="33"/>
                  </a:cubicBezTo>
                  <a:cubicBezTo>
                    <a:pt x="37" y="37"/>
                    <a:pt x="42" y="39"/>
                    <a:pt x="46" y="42"/>
                  </a:cubicBezTo>
                  <a:cubicBezTo>
                    <a:pt x="47" y="43"/>
                    <a:pt x="50" y="46"/>
                    <a:pt x="48" y="48"/>
                  </a:cubicBezTo>
                  <a:cubicBezTo>
                    <a:pt x="48" y="50"/>
                    <a:pt x="46" y="50"/>
                    <a:pt x="44" y="50"/>
                  </a:cubicBezTo>
                  <a:cubicBezTo>
                    <a:pt x="44" y="50"/>
                    <a:pt x="43" y="50"/>
                    <a:pt x="42" y="50"/>
                  </a:cubicBezTo>
                  <a:cubicBezTo>
                    <a:pt x="42" y="50"/>
                    <a:pt x="41" y="50"/>
                    <a:pt x="40" y="50"/>
                  </a:cubicBezTo>
                  <a:cubicBezTo>
                    <a:pt x="39" y="50"/>
                    <a:pt x="38" y="50"/>
                    <a:pt x="37" y="52"/>
                  </a:cubicBezTo>
                  <a:cubicBezTo>
                    <a:pt x="37" y="53"/>
                    <a:pt x="39" y="55"/>
                    <a:pt x="40" y="55"/>
                  </a:cubicBezTo>
                  <a:cubicBezTo>
                    <a:pt x="40" y="55"/>
                    <a:pt x="40" y="55"/>
                    <a:pt x="40" y="55"/>
                  </a:cubicBezTo>
                  <a:cubicBezTo>
                    <a:pt x="39" y="55"/>
                    <a:pt x="39" y="55"/>
                    <a:pt x="39" y="55"/>
                  </a:cubicBezTo>
                  <a:cubicBezTo>
                    <a:pt x="40" y="55"/>
                    <a:pt x="40" y="55"/>
                    <a:pt x="40" y="55"/>
                  </a:cubicBezTo>
                  <a:cubicBezTo>
                    <a:pt x="39" y="56"/>
                    <a:pt x="37" y="56"/>
                    <a:pt x="36" y="56"/>
                  </a:cubicBezTo>
                  <a:cubicBezTo>
                    <a:pt x="36" y="56"/>
                    <a:pt x="35" y="56"/>
                    <a:pt x="35" y="56"/>
                  </a:cubicBezTo>
                  <a:cubicBezTo>
                    <a:pt x="34" y="56"/>
                    <a:pt x="34" y="56"/>
                    <a:pt x="33" y="56"/>
                  </a:cubicBezTo>
                  <a:cubicBezTo>
                    <a:pt x="32" y="56"/>
                    <a:pt x="30" y="56"/>
                    <a:pt x="29" y="56"/>
                  </a:cubicBezTo>
                  <a:cubicBezTo>
                    <a:pt x="28" y="56"/>
                    <a:pt x="27" y="57"/>
                    <a:pt x="26" y="57"/>
                  </a:cubicBezTo>
                  <a:cubicBezTo>
                    <a:pt x="25" y="57"/>
                    <a:pt x="25" y="57"/>
                    <a:pt x="25" y="57"/>
                  </a:cubicBezTo>
                  <a:cubicBezTo>
                    <a:pt x="23" y="56"/>
                    <a:pt x="24" y="53"/>
                    <a:pt x="23" y="51"/>
                  </a:cubicBezTo>
                  <a:cubicBezTo>
                    <a:pt x="22" y="51"/>
                    <a:pt x="22" y="50"/>
                    <a:pt x="22" y="50"/>
                  </a:cubicBezTo>
                  <a:cubicBezTo>
                    <a:pt x="22" y="50"/>
                    <a:pt x="22" y="51"/>
                    <a:pt x="20" y="53"/>
                  </a:cubicBezTo>
                  <a:cubicBezTo>
                    <a:pt x="20" y="53"/>
                    <a:pt x="19" y="54"/>
                    <a:pt x="18" y="54"/>
                  </a:cubicBezTo>
                  <a:cubicBezTo>
                    <a:pt x="18" y="54"/>
                    <a:pt x="18" y="54"/>
                    <a:pt x="18" y="54"/>
                  </a:cubicBezTo>
                  <a:cubicBezTo>
                    <a:pt x="16" y="54"/>
                    <a:pt x="13" y="53"/>
                    <a:pt x="12" y="53"/>
                  </a:cubicBezTo>
                  <a:cubicBezTo>
                    <a:pt x="9" y="52"/>
                    <a:pt x="7" y="48"/>
                    <a:pt x="5" y="45"/>
                  </a:cubicBezTo>
                  <a:cubicBezTo>
                    <a:pt x="5" y="50"/>
                    <a:pt x="4" y="54"/>
                    <a:pt x="2" y="58"/>
                  </a:cubicBezTo>
                  <a:cubicBezTo>
                    <a:pt x="1" y="60"/>
                    <a:pt x="0" y="63"/>
                    <a:pt x="0" y="65"/>
                  </a:cubicBezTo>
                  <a:cubicBezTo>
                    <a:pt x="0" y="67"/>
                    <a:pt x="1" y="69"/>
                    <a:pt x="2" y="70"/>
                  </a:cubicBezTo>
                  <a:cubicBezTo>
                    <a:pt x="2" y="74"/>
                    <a:pt x="1" y="74"/>
                    <a:pt x="6" y="74"/>
                  </a:cubicBezTo>
                  <a:cubicBezTo>
                    <a:pt x="7" y="74"/>
                    <a:pt x="7" y="74"/>
                    <a:pt x="7" y="74"/>
                  </a:cubicBezTo>
                  <a:cubicBezTo>
                    <a:pt x="8" y="74"/>
                    <a:pt x="8" y="74"/>
                    <a:pt x="9" y="74"/>
                  </a:cubicBezTo>
                  <a:cubicBezTo>
                    <a:pt x="9" y="74"/>
                    <a:pt x="10" y="74"/>
                    <a:pt x="10" y="74"/>
                  </a:cubicBezTo>
                  <a:cubicBezTo>
                    <a:pt x="10" y="74"/>
                    <a:pt x="10" y="74"/>
                    <a:pt x="11" y="74"/>
                  </a:cubicBezTo>
                  <a:cubicBezTo>
                    <a:pt x="12" y="74"/>
                    <a:pt x="12" y="74"/>
                    <a:pt x="13" y="75"/>
                  </a:cubicBezTo>
                  <a:cubicBezTo>
                    <a:pt x="14" y="75"/>
                    <a:pt x="14" y="75"/>
                    <a:pt x="14" y="75"/>
                  </a:cubicBezTo>
                  <a:cubicBezTo>
                    <a:pt x="14" y="75"/>
                    <a:pt x="15" y="75"/>
                    <a:pt x="15" y="75"/>
                  </a:cubicBezTo>
                  <a:cubicBezTo>
                    <a:pt x="15" y="75"/>
                    <a:pt x="15" y="75"/>
                    <a:pt x="15" y="75"/>
                  </a:cubicBezTo>
                  <a:cubicBezTo>
                    <a:pt x="16" y="75"/>
                    <a:pt x="16" y="75"/>
                    <a:pt x="16" y="75"/>
                  </a:cubicBezTo>
                  <a:cubicBezTo>
                    <a:pt x="16" y="75"/>
                    <a:pt x="16" y="75"/>
                    <a:pt x="16" y="75"/>
                  </a:cubicBezTo>
                  <a:cubicBezTo>
                    <a:pt x="16" y="75"/>
                    <a:pt x="16" y="75"/>
                    <a:pt x="16" y="75"/>
                  </a:cubicBezTo>
                  <a:cubicBezTo>
                    <a:pt x="17" y="75"/>
                    <a:pt x="17" y="74"/>
                    <a:pt x="17" y="74"/>
                  </a:cubicBezTo>
                  <a:cubicBezTo>
                    <a:pt x="17" y="74"/>
                    <a:pt x="17" y="75"/>
                    <a:pt x="17" y="75"/>
                  </a:cubicBezTo>
                  <a:cubicBezTo>
                    <a:pt x="18" y="75"/>
                    <a:pt x="17" y="79"/>
                    <a:pt x="17" y="80"/>
                  </a:cubicBezTo>
                  <a:cubicBezTo>
                    <a:pt x="17" y="83"/>
                    <a:pt x="21" y="84"/>
                    <a:pt x="24" y="86"/>
                  </a:cubicBezTo>
                  <a:cubicBezTo>
                    <a:pt x="22" y="87"/>
                    <a:pt x="21" y="87"/>
                    <a:pt x="19" y="88"/>
                  </a:cubicBezTo>
                  <a:cubicBezTo>
                    <a:pt x="19" y="87"/>
                    <a:pt x="19" y="86"/>
                    <a:pt x="19" y="84"/>
                  </a:cubicBezTo>
                  <a:cubicBezTo>
                    <a:pt x="18" y="85"/>
                    <a:pt x="16" y="87"/>
                    <a:pt x="14" y="87"/>
                  </a:cubicBezTo>
                  <a:cubicBezTo>
                    <a:pt x="14" y="87"/>
                    <a:pt x="13" y="87"/>
                    <a:pt x="13" y="87"/>
                  </a:cubicBezTo>
                  <a:cubicBezTo>
                    <a:pt x="12" y="86"/>
                    <a:pt x="14" y="83"/>
                    <a:pt x="15" y="83"/>
                  </a:cubicBezTo>
                  <a:cubicBezTo>
                    <a:pt x="14" y="83"/>
                    <a:pt x="11" y="87"/>
                    <a:pt x="10" y="89"/>
                  </a:cubicBezTo>
                  <a:cubicBezTo>
                    <a:pt x="9" y="91"/>
                    <a:pt x="11" y="93"/>
                    <a:pt x="11" y="96"/>
                  </a:cubicBezTo>
                  <a:cubicBezTo>
                    <a:pt x="12" y="94"/>
                    <a:pt x="12" y="92"/>
                    <a:pt x="11" y="92"/>
                  </a:cubicBezTo>
                  <a:cubicBezTo>
                    <a:pt x="11" y="92"/>
                    <a:pt x="12" y="92"/>
                    <a:pt x="12" y="92"/>
                  </a:cubicBezTo>
                  <a:cubicBezTo>
                    <a:pt x="18" y="92"/>
                    <a:pt x="22" y="97"/>
                    <a:pt x="26" y="101"/>
                  </a:cubicBezTo>
                  <a:cubicBezTo>
                    <a:pt x="29" y="103"/>
                    <a:pt x="30" y="103"/>
                    <a:pt x="29" y="106"/>
                  </a:cubicBezTo>
                  <a:cubicBezTo>
                    <a:pt x="28" y="108"/>
                    <a:pt x="28" y="110"/>
                    <a:pt x="27" y="113"/>
                  </a:cubicBezTo>
                  <a:cubicBezTo>
                    <a:pt x="26" y="120"/>
                    <a:pt x="26" y="129"/>
                    <a:pt x="27" y="137"/>
                  </a:cubicBezTo>
                  <a:cubicBezTo>
                    <a:pt x="27" y="138"/>
                    <a:pt x="27" y="146"/>
                    <a:pt x="29" y="147"/>
                  </a:cubicBezTo>
                  <a:cubicBezTo>
                    <a:pt x="29" y="149"/>
                    <a:pt x="29" y="150"/>
                    <a:pt x="30" y="152"/>
                  </a:cubicBezTo>
                  <a:cubicBezTo>
                    <a:pt x="30" y="153"/>
                    <a:pt x="30" y="155"/>
                    <a:pt x="30" y="156"/>
                  </a:cubicBezTo>
                  <a:cubicBezTo>
                    <a:pt x="60" y="127"/>
                    <a:pt x="60" y="127"/>
                    <a:pt x="60" y="127"/>
                  </a:cubicBezTo>
                  <a:cubicBezTo>
                    <a:pt x="63" y="125"/>
                    <a:pt x="68" y="124"/>
                    <a:pt x="73" y="124"/>
                  </a:cubicBezTo>
                  <a:cubicBezTo>
                    <a:pt x="74" y="124"/>
                    <a:pt x="74" y="124"/>
                    <a:pt x="75" y="124"/>
                  </a:cubicBezTo>
                  <a:cubicBezTo>
                    <a:pt x="77" y="124"/>
                    <a:pt x="78" y="124"/>
                    <a:pt x="80" y="124"/>
                  </a:cubicBezTo>
                  <a:cubicBezTo>
                    <a:pt x="81" y="124"/>
                    <a:pt x="81" y="124"/>
                    <a:pt x="81" y="124"/>
                  </a:cubicBezTo>
                  <a:cubicBezTo>
                    <a:pt x="82" y="124"/>
                    <a:pt x="82" y="124"/>
                    <a:pt x="82" y="124"/>
                  </a:cubicBezTo>
                  <a:cubicBezTo>
                    <a:pt x="83" y="124"/>
                    <a:pt x="83" y="124"/>
                    <a:pt x="85" y="122"/>
                  </a:cubicBezTo>
                  <a:cubicBezTo>
                    <a:pt x="86" y="121"/>
                    <a:pt x="86" y="121"/>
                    <a:pt x="86" y="120"/>
                  </a:cubicBezTo>
                  <a:cubicBezTo>
                    <a:pt x="87" y="120"/>
                    <a:pt x="87" y="120"/>
                    <a:pt x="87" y="120"/>
                  </a:cubicBezTo>
                  <a:cubicBezTo>
                    <a:pt x="87" y="120"/>
                    <a:pt x="88" y="120"/>
                    <a:pt x="89" y="119"/>
                  </a:cubicBezTo>
                  <a:cubicBezTo>
                    <a:pt x="89" y="119"/>
                    <a:pt x="89" y="119"/>
                    <a:pt x="89" y="119"/>
                  </a:cubicBezTo>
                  <a:cubicBezTo>
                    <a:pt x="91" y="119"/>
                    <a:pt x="93" y="119"/>
                    <a:pt x="94" y="119"/>
                  </a:cubicBezTo>
                  <a:cubicBezTo>
                    <a:pt x="95" y="119"/>
                    <a:pt x="95" y="119"/>
                    <a:pt x="95" y="119"/>
                  </a:cubicBezTo>
                  <a:cubicBezTo>
                    <a:pt x="96" y="119"/>
                    <a:pt x="96" y="119"/>
                    <a:pt x="96" y="119"/>
                  </a:cubicBezTo>
                  <a:cubicBezTo>
                    <a:pt x="98" y="119"/>
                    <a:pt x="100" y="119"/>
                    <a:pt x="101" y="119"/>
                  </a:cubicBezTo>
                  <a:cubicBezTo>
                    <a:pt x="102" y="119"/>
                    <a:pt x="102" y="119"/>
                    <a:pt x="102" y="119"/>
                  </a:cubicBezTo>
                  <a:cubicBezTo>
                    <a:pt x="103" y="119"/>
                    <a:pt x="104" y="119"/>
                    <a:pt x="105" y="119"/>
                  </a:cubicBezTo>
                  <a:cubicBezTo>
                    <a:pt x="109" y="120"/>
                    <a:pt x="111" y="123"/>
                    <a:pt x="112" y="126"/>
                  </a:cubicBezTo>
                  <a:cubicBezTo>
                    <a:pt x="112" y="126"/>
                    <a:pt x="112" y="126"/>
                    <a:pt x="112" y="126"/>
                  </a:cubicBezTo>
                  <a:cubicBezTo>
                    <a:pt x="112" y="127"/>
                    <a:pt x="113" y="128"/>
                    <a:pt x="114" y="128"/>
                  </a:cubicBezTo>
                  <a:cubicBezTo>
                    <a:pt x="116" y="128"/>
                    <a:pt x="117" y="129"/>
                    <a:pt x="119" y="129"/>
                  </a:cubicBezTo>
                  <a:cubicBezTo>
                    <a:pt x="120" y="129"/>
                    <a:pt x="121" y="129"/>
                    <a:pt x="122" y="130"/>
                  </a:cubicBezTo>
                  <a:cubicBezTo>
                    <a:pt x="123" y="130"/>
                    <a:pt x="123" y="130"/>
                    <a:pt x="123" y="130"/>
                  </a:cubicBezTo>
                  <a:cubicBezTo>
                    <a:pt x="124" y="130"/>
                    <a:pt x="124" y="130"/>
                    <a:pt x="124" y="130"/>
                  </a:cubicBezTo>
                  <a:cubicBezTo>
                    <a:pt x="126" y="131"/>
                    <a:pt x="127" y="132"/>
                    <a:pt x="128" y="133"/>
                  </a:cubicBezTo>
                  <a:cubicBezTo>
                    <a:pt x="129" y="134"/>
                    <a:pt x="129" y="134"/>
                    <a:pt x="129" y="134"/>
                  </a:cubicBezTo>
                  <a:cubicBezTo>
                    <a:pt x="130" y="134"/>
                    <a:pt x="130" y="134"/>
                    <a:pt x="131" y="135"/>
                  </a:cubicBezTo>
                  <a:cubicBezTo>
                    <a:pt x="132" y="135"/>
                    <a:pt x="132" y="135"/>
                    <a:pt x="132" y="135"/>
                  </a:cubicBezTo>
                  <a:cubicBezTo>
                    <a:pt x="132" y="136"/>
                    <a:pt x="132" y="136"/>
                    <a:pt x="132" y="136"/>
                  </a:cubicBezTo>
                  <a:cubicBezTo>
                    <a:pt x="132" y="136"/>
                    <a:pt x="133" y="136"/>
                    <a:pt x="133" y="136"/>
                  </a:cubicBezTo>
                  <a:cubicBezTo>
                    <a:pt x="134" y="136"/>
                    <a:pt x="134" y="136"/>
                    <a:pt x="134" y="136"/>
                  </a:cubicBezTo>
                  <a:cubicBezTo>
                    <a:pt x="135" y="136"/>
                    <a:pt x="135" y="136"/>
                    <a:pt x="135" y="136"/>
                  </a:cubicBezTo>
                  <a:cubicBezTo>
                    <a:pt x="136" y="136"/>
                    <a:pt x="136" y="136"/>
                    <a:pt x="136" y="136"/>
                  </a:cubicBezTo>
                  <a:cubicBezTo>
                    <a:pt x="136" y="136"/>
                    <a:pt x="136" y="136"/>
                    <a:pt x="137" y="136"/>
                  </a:cubicBezTo>
                  <a:cubicBezTo>
                    <a:pt x="137" y="136"/>
                    <a:pt x="137" y="136"/>
                    <a:pt x="137" y="136"/>
                  </a:cubicBezTo>
                  <a:cubicBezTo>
                    <a:pt x="143" y="136"/>
                    <a:pt x="143" y="136"/>
                    <a:pt x="143" y="136"/>
                  </a:cubicBezTo>
                  <a:cubicBezTo>
                    <a:pt x="144" y="136"/>
                    <a:pt x="144" y="136"/>
                    <a:pt x="145" y="136"/>
                  </a:cubicBezTo>
                  <a:cubicBezTo>
                    <a:pt x="148" y="136"/>
                    <a:pt x="151" y="136"/>
                    <a:pt x="154" y="137"/>
                  </a:cubicBezTo>
                  <a:cubicBezTo>
                    <a:pt x="154" y="137"/>
                    <a:pt x="155" y="138"/>
                    <a:pt x="155" y="138"/>
                  </a:cubicBezTo>
                  <a:cubicBezTo>
                    <a:pt x="155" y="138"/>
                    <a:pt x="155" y="138"/>
                    <a:pt x="155" y="138"/>
                  </a:cubicBezTo>
                  <a:cubicBezTo>
                    <a:pt x="156" y="138"/>
                    <a:pt x="156" y="138"/>
                    <a:pt x="156" y="138"/>
                  </a:cubicBezTo>
                  <a:cubicBezTo>
                    <a:pt x="158" y="139"/>
                    <a:pt x="159" y="140"/>
                    <a:pt x="160" y="142"/>
                  </a:cubicBezTo>
                  <a:cubicBezTo>
                    <a:pt x="160" y="142"/>
                    <a:pt x="160" y="142"/>
                    <a:pt x="160" y="142"/>
                  </a:cubicBezTo>
                  <a:cubicBezTo>
                    <a:pt x="161" y="144"/>
                    <a:pt x="162" y="145"/>
                    <a:pt x="163" y="147"/>
                  </a:cubicBezTo>
                  <a:cubicBezTo>
                    <a:pt x="164" y="148"/>
                    <a:pt x="164" y="148"/>
                    <a:pt x="164" y="148"/>
                  </a:cubicBezTo>
                  <a:cubicBezTo>
                    <a:pt x="164" y="149"/>
                    <a:pt x="164" y="150"/>
                    <a:pt x="165" y="150"/>
                  </a:cubicBezTo>
                  <a:cubicBezTo>
                    <a:pt x="166" y="151"/>
                    <a:pt x="166" y="151"/>
                    <a:pt x="166" y="151"/>
                  </a:cubicBezTo>
                  <a:cubicBezTo>
                    <a:pt x="169" y="151"/>
                    <a:pt x="171" y="152"/>
                    <a:pt x="173" y="153"/>
                  </a:cubicBezTo>
                  <a:cubicBezTo>
                    <a:pt x="175" y="153"/>
                    <a:pt x="175" y="154"/>
                    <a:pt x="176" y="155"/>
                  </a:cubicBezTo>
                  <a:cubicBezTo>
                    <a:pt x="177" y="156"/>
                    <a:pt x="177" y="156"/>
                    <a:pt x="177" y="156"/>
                  </a:cubicBezTo>
                  <a:cubicBezTo>
                    <a:pt x="177" y="157"/>
                    <a:pt x="178" y="158"/>
                    <a:pt x="179" y="159"/>
                  </a:cubicBezTo>
                  <a:cubicBezTo>
                    <a:pt x="180" y="160"/>
                    <a:pt x="180" y="160"/>
                    <a:pt x="180" y="160"/>
                  </a:cubicBezTo>
                  <a:cubicBezTo>
                    <a:pt x="180" y="162"/>
                    <a:pt x="181" y="162"/>
                    <a:pt x="181" y="162"/>
                  </a:cubicBezTo>
                  <a:cubicBezTo>
                    <a:pt x="181" y="163"/>
                    <a:pt x="181" y="163"/>
                    <a:pt x="181" y="163"/>
                  </a:cubicBezTo>
                  <a:cubicBezTo>
                    <a:pt x="182" y="163"/>
                    <a:pt x="182" y="163"/>
                    <a:pt x="184" y="163"/>
                  </a:cubicBezTo>
                  <a:cubicBezTo>
                    <a:pt x="184" y="163"/>
                    <a:pt x="184" y="163"/>
                    <a:pt x="184" y="163"/>
                  </a:cubicBezTo>
                  <a:cubicBezTo>
                    <a:pt x="185" y="163"/>
                    <a:pt x="187" y="163"/>
                    <a:pt x="188" y="163"/>
                  </a:cubicBezTo>
                  <a:cubicBezTo>
                    <a:pt x="189" y="163"/>
                    <a:pt x="189" y="163"/>
                    <a:pt x="189" y="163"/>
                  </a:cubicBezTo>
                  <a:cubicBezTo>
                    <a:pt x="190" y="163"/>
                    <a:pt x="190" y="163"/>
                    <a:pt x="191" y="163"/>
                  </a:cubicBezTo>
                  <a:cubicBezTo>
                    <a:pt x="192" y="163"/>
                    <a:pt x="193" y="163"/>
                    <a:pt x="193" y="163"/>
                  </a:cubicBezTo>
                  <a:cubicBezTo>
                    <a:pt x="195" y="163"/>
                    <a:pt x="196" y="163"/>
                    <a:pt x="198" y="163"/>
                  </a:cubicBezTo>
                  <a:cubicBezTo>
                    <a:pt x="198" y="163"/>
                    <a:pt x="198" y="163"/>
                    <a:pt x="198" y="163"/>
                  </a:cubicBezTo>
                  <a:cubicBezTo>
                    <a:pt x="199" y="163"/>
                    <a:pt x="200" y="163"/>
                    <a:pt x="201" y="164"/>
                  </a:cubicBezTo>
                  <a:cubicBezTo>
                    <a:pt x="202" y="164"/>
                    <a:pt x="202" y="165"/>
                    <a:pt x="202" y="166"/>
                  </a:cubicBezTo>
                  <a:cubicBezTo>
                    <a:pt x="202" y="167"/>
                    <a:pt x="202" y="167"/>
                    <a:pt x="202" y="167"/>
                  </a:cubicBezTo>
                  <a:cubicBezTo>
                    <a:pt x="203" y="170"/>
                    <a:pt x="203" y="172"/>
                    <a:pt x="203" y="175"/>
                  </a:cubicBezTo>
                  <a:cubicBezTo>
                    <a:pt x="203" y="176"/>
                    <a:pt x="203" y="177"/>
                    <a:pt x="203" y="178"/>
                  </a:cubicBezTo>
                  <a:cubicBezTo>
                    <a:pt x="203" y="179"/>
                    <a:pt x="203" y="179"/>
                    <a:pt x="203" y="179"/>
                  </a:cubicBezTo>
                  <a:cubicBezTo>
                    <a:pt x="203" y="181"/>
                    <a:pt x="203" y="183"/>
                    <a:pt x="203" y="186"/>
                  </a:cubicBezTo>
                  <a:cubicBezTo>
                    <a:pt x="204" y="189"/>
                    <a:pt x="204" y="189"/>
                    <a:pt x="204" y="189"/>
                  </a:cubicBezTo>
                  <a:cubicBezTo>
                    <a:pt x="204" y="190"/>
                    <a:pt x="205" y="191"/>
                    <a:pt x="205" y="192"/>
                  </a:cubicBezTo>
                  <a:cubicBezTo>
                    <a:pt x="205" y="192"/>
                    <a:pt x="205" y="192"/>
                    <a:pt x="205" y="192"/>
                  </a:cubicBezTo>
                  <a:cubicBezTo>
                    <a:pt x="206" y="192"/>
                    <a:pt x="206" y="192"/>
                    <a:pt x="206" y="192"/>
                  </a:cubicBezTo>
                  <a:cubicBezTo>
                    <a:pt x="208" y="193"/>
                    <a:pt x="208" y="193"/>
                    <a:pt x="208" y="193"/>
                  </a:cubicBezTo>
                  <a:cubicBezTo>
                    <a:pt x="208" y="193"/>
                    <a:pt x="208" y="193"/>
                    <a:pt x="208" y="193"/>
                  </a:cubicBezTo>
                  <a:cubicBezTo>
                    <a:pt x="210" y="193"/>
                    <a:pt x="211" y="194"/>
                    <a:pt x="213" y="194"/>
                  </a:cubicBezTo>
                  <a:cubicBezTo>
                    <a:pt x="213" y="194"/>
                    <a:pt x="213" y="194"/>
                    <a:pt x="213" y="194"/>
                  </a:cubicBezTo>
                  <a:cubicBezTo>
                    <a:pt x="214" y="194"/>
                    <a:pt x="215" y="194"/>
                    <a:pt x="216" y="195"/>
                  </a:cubicBezTo>
                  <a:cubicBezTo>
                    <a:pt x="218" y="195"/>
                    <a:pt x="220" y="196"/>
                    <a:pt x="221" y="197"/>
                  </a:cubicBezTo>
                  <a:cubicBezTo>
                    <a:pt x="222" y="198"/>
                    <a:pt x="222" y="198"/>
                    <a:pt x="223" y="198"/>
                  </a:cubicBezTo>
                  <a:cubicBezTo>
                    <a:pt x="224" y="200"/>
                    <a:pt x="224" y="200"/>
                    <a:pt x="224" y="200"/>
                  </a:cubicBezTo>
                  <a:cubicBezTo>
                    <a:pt x="225" y="201"/>
                    <a:pt x="225" y="201"/>
                    <a:pt x="226" y="202"/>
                  </a:cubicBezTo>
                  <a:cubicBezTo>
                    <a:pt x="226" y="202"/>
                    <a:pt x="226" y="202"/>
                    <a:pt x="226" y="202"/>
                  </a:cubicBezTo>
                  <a:cubicBezTo>
                    <a:pt x="226" y="202"/>
                    <a:pt x="226" y="202"/>
                    <a:pt x="226" y="202"/>
                  </a:cubicBezTo>
                  <a:cubicBezTo>
                    <a:pt x="229" y="200"/>
                    <a:pt x="232" y="199"/>
                    <a:pt x="234" y="199"/>
                  </a:cubicBezTo>
                  <a:cubicBezTo>
                    <a:pt x="236" y="199"/>
                    <a:pt x="236" y="199"/>
                    <a:pt x="236" y="199"/>
                  </a:cubicBezTo>
                  <a:cubicBezTo>
                    <a:pt x="237" y="199"/>
                    <a:pt x="237" y="199"/>
                    <a:pt x="237" y="199"/>
                  </a:cubicBezTo>
                  <a:cubicBezTo>
                    <a:pt x="238" y="199"/>
                    <a:pt x="238" y="199"/>
                    <a:pt x="238" y="199"/>
                  </a:cubicBezTo>
                  <a:cubicBezTo>
                    <a:pt x="239" y="199"/>
                    <a:pt x="240" y="197"/>
                    <a:pt x="242" y="194"/>
                  </a:cubicBezTo>
                  <a:cubicBezTo>
                    <a:pt x="243" y="193"/>
                    <a:pt x="243" y="193"/>
                    <a:pt x="243" y="193"/>
                  </a:cubicBezTo>
                  <a:cubicBezTo>
                    <a:pt x="244" y="193"/>
                    <a:pt x="244" y="192"/>
                    <a:pt x="245" y="191"/>
                  </a:cubicBezTo>
                  <a:cubicBezTo>
                    <a:pt x="243" y="189"/>
                    <a:pt x="243" y="189"/>
                    <a:pt x="243" y="189"/>
                  </a:cubicBezTo>
                  <a:cubicBezTo>
                    <a:pt x="249" y="184"/>
                    <a:pt x="249" y="184"/>
                    <a:pt x="249" y="184"/>
                  </a:cubicBezTo>
                  <a:cubicBezTo>
                    <a:pt x="250" y="184"/>
                    <a:pt x="250" y="184"/>
                    <a:pt x="250" y="184"/>
                  </a:cubicBezTo>
                  <a:cubicBezTo>
                    <a:pt x="251" y="184"/>
                    <a:pt x="253" y="184"/>
                    <a:pt x="254" y="183"/>
                  </a:cubicBezTo>
                  <a:cubicBezTo>
                    <a:pt x="255" y="183"/>
                    <a:pt x="256" y="182"/>
                    <a:pt x="258" y="182"/>
                  </a:cubicBezTo>
                  <a:cubicBezTo>
                    <a:pt x="262" y="180"/>
                    <a:pt x="262" y="180"/>
                    <a:pt x="262" y="180"/>
                  </a:cubicBezTo>
                  <a:cubicBezTo>
                    <a:pt x="265" y="179"/>
                    <a:pt x="267" y="178"/>
                    <a:pt x="269" y="177"/>
                  </a:cubicBezTo>
                  <a:cubicBezTo>
                    <a:pt x="272" y="176"/>
                    <a:pt x="273" y="175"/>
                    <a:pt x="276" y="173"/>
                  </a:cubicBezTo>
                  <a:cubicBezTo>
                    <a:pt x="277" y="172"/>
                    <a:pt x="277" y="172"/>
                    <a:pt x="277" y="172"/>
                  </a:cubicBezTo>
                  <a:cubicBezTo>
                    <a:pt x="277" y="172"/>
                    <a:pt x="278" y="171"/>
                    <a:pt x="278" y="168"/>
                  </a:cubicBezTo>
                  <a:cubicBezTo>
                    <a:pt x="278" y="168"/>
                    <a:pt x="278" y="167"/>
                    <a:pt x="278" y="166"/>
                  </a:cubicBezTo>
                  <a:cubicBezTo>
                    <a:pt x="278" y="165"/>
                    <a:pt x="278" y="165"/>
                    <a:pt x="278" y="165"/>
                  </a:cubicBezTo>
                  <a:cubicBezTo>
                    <a:pt x="278" y="165"/>
                    <a:pt x="278" y="164"/>
                    <a:pt x="278" y="164"/>
                  </a:cubicBezTo>
                  <a:cubicBezTo>
                    <a:pt x="279" y="163"/>
                    <a:pt x="279" y="163"/>
                    <a:pt x="279" y="163"/>
                  </a:cubicBezTo>
                  <a:cubicBezTo>
                    <a:pt x="294" y="147"/>
                    <a:pt x="294" y="147"/>
                    <a:pt x="294" y="147"/>
                  </a:cubicBezTo>
                  <a:cubicBezTo>
                    <a:pt x="296" y="147"/>
                    <a:pt x="296" y="147"/>
                    <a:pt x="296" y="147"/>
                  </a:cubicBezTo>
                  <a:cubicBezTo>
                    <a:pt x="296" y="147"/>
                    <a:pt x="297" y="147"/>
                    <a:pt x="298" y="147"/>
                  </a:cubicBezTo>
                  <a:cubicBezTo>
                    <a:pt x="298" y="147"/>
                    <a:pt x="298" y="147"/>
                    <a:pt x="298" y="147"/>
                  </a:cubicBezTo>
                  <a:cubicBezTo>
                    <a:pt x="299" y="147"/>
                    <a:pt x="300" y="147"/>
                    <a:pt x="300" y="147"/>
                  </a:cubicBezTo>
                  <a:cubicBezTo>
                    <a:pt x="301" y="147"/>
                    <a:pt x="302" y="144"/>
                    <a:pt x="303" y="143"/>
                  </a:cubicBezTo>
                  <a:cubicBezTo>
                    <a:pt x="305" y="141"/>
                    <a:pt x="305" y="141"/>
                    <a:pt x="305" y="141"/>
                  </a:cubicBezTo>
                  <a:cubicBezTo>
                    <a:pt x="305" y="140"/>
                    <a:pt x="306" y="140"/>
                    <a:pt x="306" y="140"/>
                  </a:cubicBezTo>
                  <a:cubicBezTo>
                    <a:pt x="307" y="140"/>
                    <a:pt x="307" y="140"/>
                    <a:pt x="307" y="140"/>
                  </a:cubicBezTo>
                  <a:cubicBezTo>
                    <a:pt x="308" y="139"/>
                    <a:pt x="308" y="139"/>
                    <a:pt x="308" y="139"/>
                  </a:cubicBezTo>
                  <a:cubicBezTo>
                    <a:pt x="308" y="139"/>
                    <a:pt x="308" y="139"/>
                    <a:pt x="308" y="139"/>
                  </a:cubicBezTo>
                  <a:cubicBezTo>
                    <a:pt x="310" y="139"/>
                    <a:pt x="310" y="139"/>
                    <a:pt x="310" y="139"/>
                  </a:cubicBezTo>
                  <a:cubicBezTo>
                    <a:pt x="311" y="140"/>
                    <a:pt x="312" y="140"/>
                    <a:pt x="313" y="141"/>
                  </a:cubicBezTo>
                  <a:cubicBezTo>
                    <a:pt x="313" y="141"/>
                    <a:pt x="313" y="141"/>
                    <a:pt x="313" y="141"/>
                  </a:cubicBezTo>
                  <a:cubicBezTo>
                    <a:pt x="314" y="141"/>
                    <a:pt x="314" y="141"/>
                    <a:pt x="314" y="142"/>
                  </a:cubicBezTo>
                  <a:cubicBezTo>
                    <a:pt x="315" y="142"/>
                    <a:pt x="316" y="142"/>
                    <a:pt x="316" y="142"/>
                  </a:cubicBezTo>
                  <a:cubicBezTo>
                    <a:pt x="318" y="143"/>
                    <a:pt x="318" y="143"/>
                    <a:pt x="318" y="143"/>
                  </a:cubicBezTo>
                  <a:cubicBezTo>
                    <a:pt x="318" y="143"/>
                    <a:pt x="319" y="144"/>
                    <a:pt x="319" y="144"/>
                  </a:cubicBezTo>
                  <a:cubicBezTo>
                    <a:pt x="319" y="144"/>
                    <a:pt x="320" y="144"/>
                    <a:pt x="320" y="144"/>
                  </a:cubicBezTo>
                  <a:cubicBezTo>
                    <a:pt x="320" y="144"/>
                    <a:pt x="320" y="144"/>
                    <a:pt x="320" y="144"/>
                  </a:cubicBezTo>
                  <a:cubicBezTo>
                    <a:pt x="321" y="144"/>
                    <a:pt x="321" y="144"/>
                    <a:pt x="321" y="144"/>
                  </a:cubicBezTo>
                  <a:cubicBezTo>
                    <a:pt x="323" y="144"/>
                    <a:pt x="323" y="144"/>
                    <a:pt x="323" y="144"/>
                  </a:cubicBezTo>
                  <a:cubicBezTo>
                    <a:pt x="323" y="144"/>
                    <a:pt x="323" y="144"/>
                    <a:pt x="323" y="144"/>
                  </a:cubicBezTo>
                  <a:cubicBezTo>
                    <a:pt x="324" y="144"/>
                    <a:pt x="324" y="144"/>
                    <a:pt x="324" y="144"/>
                  </a:cubicBezTo>
                  <a:cubicBezTo>
                    <a:pt x="324" y="143"/>
                    <a:pt x="324" y="142"/>
                    <a:pt x="324" y="141"/>
                  </a:cubicBezTo>
                  <a:cubicBezTo>
                    <a:pt x="324" y="141"/>
                    <a:pt x="324" y="141"/>
                    <a:pt x="324" y="141"/>
                  </a:cubicBezTo>
                  <a:cubicBezTo>
                    <a:pt x="324" y="141"/>
                    <a:pt x="324" y="140"/>
                    <a:pt x="324" y="140"/>
                  </a:cubicBezTo>
                  <a:cubicBezTo>
                    <a:pt x="325" y="136"/>
                    <a:pt x="325" y="136"/>
                    <a:pt x="325" y="136"/>
                  </a:cubicBezTo>
                  <a:cubicBezTo>
                    <a:pt x="325" y="136"/>
                    <a:pt x="325" y="135"/>
                    <a:pt x="325" y="134"/>
                  </a:cubicBezTo>
                  <a:cubicBezTo>
                    <a:pt x="326" y="133"/>
                    <a:pt x="326" y="133"/>
                    <a:pt x="326" y="133"/>
                  </a:cubicBezTo>
                  <a:cubicBezTo>
                    <a:pt x="326" y="133"/>
                    <a:pt x="326" y="132"/>
                    <a:pt x="326" y="131"/>
                  </a:cubicBezTo>
                  <a:cubicBezTo>
                    <a:pt x="322" y="130"/>
                    <a:pt x="322" y="130"/>
                    <a:pt x="322" y="130"/>
                  </a:cubicBezTo>
                  <a:cubicBezTo>
                    <a:pt x="320" y="129"/>
                    <a:pt x="319" y="128"/>
                    <a:pt x="317" y="127"/>
                  </a:cubicBezTo>
                  <a:cubicBezTo>
                    <a:pt x="316" y="127"/>
                    <a:pt x="316" y="127"/>
                    <a:pt x="316" y="127"/>
                  </a:cubicBezTo>
                  <a:cubicBezTo>
                    <a:pt x="312" y="125"/>
                    <a:pt x="311" y="124"/>
                    <a:pt x="311" y="124"/>
                  </a:cubicBezTo>
                  <a:cubicBezTo>
                    <a:pt x="311" y="125"/>
                    <a:pt x="311" y="125"/>
                    <a:pt x="311" y="125"/>
                  </a:cubicBezTo>
                  <a:cubicBezTo>
                    <a:pt x="310" y="125"/>
                    <a:pt x="309" y="125"/>
                    <a:pt x="308" y="126"/>
                  </a:cubicBezTo>
                  <a:cubicBezTo>
                    <a:pt x="308" y="126"/>
                    <a:pt x="307" y="126"/>
                    <a:pt x="307" y="126"/>
                  </a:cubicBezTo>
                  <a:cubicBezTo>
                    <a:pt x="304" y="126"/>
                    <a:pt x="301" y="124"/>
                    <a:pt x="299" y="123"/>
                  </a:cubicBezTo>
                  <a:cubicBezTo>
                    <a:pt x="298" y="122"/>
                    <a:pt x="298" y="122"/>
                    <a:pt x="298" y="122"/>
                  </a:cubicBezTo>
                  <a:cubicBezTo>
                    <a:pt x="298" y="121"/>
                    <a:pt x="297" y="121"/>
                    <a:pt x="296" y="120"/>
                  </a:cubicBezTo>
                  <a:cubicBezTo>
                    <a:pt x="294" y="119"/>
                    <a:pt x="292" y="118"/>
                    <a:pt x="290" y="116"/>
                  </a:cubicBezTo>
                  <a:cubicBezTo>
                    <a:pt x="289" y="116"/>
                    <a:pt x="289" y="115"/>
                    <a:pt x="288" y="115"/>
                  </a:cubicBezTo>
                  <a:cubicBezTo>
                    <a:pt x="286" y="114"/>
                    <a:pt x="286" y="114"/>
                    <a:pt x="285" y="113"/>
                  </a:cubicBezTo>
                  <a:cubicBezTo>
                    <a:pt x="281" y="111"/>
                    <a:pt x="278" y="110"/>
                    <a:pt x="275" y="107"/>
                  </a:cubicBezTo>
                  <a:cubicBezTo>
                    <a:pt x="271" y="104"/>
                    <a:pt x="267" y="101"/>
                    <a:pt x="262" y="99"/>
                  </a:cubicBezTo>
                  <a:cubicBezTo>
                    <a:pt x="259" y="98"/>
                    <a:pt x="259" y="98"/>
                    <a:pt x="259" y="98"/>
                  </a:cubicBezTo>
                  <a:cubicBezTo>
                    <a:pt x="258" y="97"/>
                    <a:pt x="257" y="97"/>
                    <a:pt x="256" y="96"/>
                  </a:cubicBezTo>
                  <a:cubicBezTo>
                    <a:pt x="252" y="94"/>
                    <a:pt x="248" y="91"/>
                    <a:pt x="245" y="88"/>
                  </a:cubicBezTo>
                  <a:cubicBezTo>
                    <a:pt x="243" y="87"/>
                    <a:pt x="243" y="87"/>
                    <a:pt x="243" y="87"/>
                  </a:cubicBezTo>
                  <a:cubicBezTo>
                    <a:pt x="242" y="87"/>
                    <a:pt x="242" y="86"/>
                    <a:pt x="241" y="85"/>
                  </a:cubicBezTo>
                  <a:cubicBezTo>
                    <a:pt x="237" y="83"/>
                    <a:pt x="237" y="83"/>
                    <a:pt x="237" y="83"/>
                  </a:cubicBezTo>
                  <a:cubicBezTo>
                    <a:pt x="236" y="82"/>
                    <a:pt x="235" y="82"/>
                    <a:pt x="235" y="81"/>
                  </a:cubicBezTo>
                  <a:cubicBezTo>
                    <a:pt x="234" y="81"/>
                    <a:pt x="234" y="81"/>
                    <a:pt x="234" y="81"/>
                  </a:cubicBezTo>
                  <a:cubicBezTo>
                    <a:pt x="233" y="80"/>
                    <a:pt x="230" y="79"/>
                    <a:pt x="229" y="77"/>
                  </a:cubicBezTo>
                  <a:cubicBezTo>
                    <a:pt x="229" y="77"/>
                    <a:pt x="229" y="76"/>
                    <a:pt x="228" y="76"/>
                  </a:cubicBezTo>
                  <a:cubicBezTo>
                    <a:pt x="228" y="76"/>
                    <a:pt x="228" y="76"/>
                    <a:pt x="228" y="76"/>
                  </a:cubicBezTo>
                  <a:cubicBezTo>
                    <a:pt x="228" y="75"/>
                    <a:pt x="228" y="75"/>
                    <a:pt x="228" y="75"/>
                  </a:cubicBezTo>
                  <a:cubicBezTo>
                    <a:pt x="227" y="73"/>
                    <a:pt x="227" y="72"/>
                    <a:pt x="226" y="70"/>
                  </a:cubicBezTo>
                  <a:cubicBezTo>
                    <a:pt x="226" y="69"/>
                    <a:pt x="226" y="69"/>
                    <a:pt x="226" y="68"/>
                  </a:cubicBezTo>
                  <a:cubicBezTo>
                    <a:pt x="225" y="67"/>
                    <a:pt x="225" y="67"/>
                    <a:pt x="225" y="67"/>
                  </a:cubicBezTo>
                  <a:cubicBezTo>
                    <a:pt x="225" y="66"/>
                    <a:pt x="224" y="65"/>
                    <a:pt x="223" y="64"/>
                  </a:cubicBezTo>
                  <a:cubicBezTo>
                    <a:pt x="222" y="64"/>
                    <a:pt x="221" y="62"/>
                    <a:pt x="220" y="60"/>
                  </a:cubicBezTo>
                  <a:cubicBezTo>
                    <a:pt x="220" y="59"/>
                    <a:pt x="219" y="58"/>
                    <a:pt x="218" y="56"/>
                  </a:cubicBezTo>
                  <a:cubicBezTo>
                    <a:pt x="216" y="51"/>
                    <a:pt x="214" y="46"/>
                    <a:pt x="211" y="43"/>
                  </a:cubicBezTo>
                  <a:cubicBezTo>
                    <a:pt x="209" y="41"/>
                    <a:pt x="208" y="41"/>
                    <a:pt x="207" y="41"/>
                  </a:cubicBezTo>
                  <a:cubicBezTo>
                    <a:pt x="207" y="41"/>
                    <a:pt x="207" y="41"/>
                    <a:pt x="207" y="42"/>
                  </a:cubicBezTo>
                  <a:cubicBezTo>
                    <a:pt x="205" y="43"/>
                    <a:pt x="203" y="44"/>
                    <a:pt x="201" y="44"/>
                  </a:cubicBezTo>
                  <a:cubicBezTo>
                    <a:pt x="198" y="44"/>
                    <a:pt x="198" y="44"/>
                    <a:pt x="198" y="44"/>
                  </a:cubicBezTo>
                  <a:cubicBezTo>
                    <a:pt x="197" y="44"/>
                    <a:pt x="196" y="44"/>
                    <a:pt x="195" y="43"/>
                  </a:cubicBezTo>
                  <a:cubicBezTo>
                    <a:pt x="193" y="43"/>
                    <a:pt x="190" y="42"/>
                    <a:pt x="188" y="42"/>
                  </a:cubicBezTo>
                  <a:cubicBezTo>
                    <a:pt x="188" y="42"/>
                    <a:pt x="188" y="42"/>
                    <a:pt x="187" y="42"/>
                  </a:cubicBezTo>
                  <a:cubicBezTo>
                    <a:pt x="187" y="42"/>
                    <a:pt x="186" y="42"/>
                    <a:pt x="186" y="42"/>
                  </a:cubicBezTo>
                  <a:cubicBezTo>
                    <a:pt x="185" y="42"/>
                    <a:pt x="184" y="42"/>
                    <a:pt x="184" y="42"/>
                  </a:cubicBezTo>
                  <a:cubicBezTo>
                    <a:pt x="182" y="42"/>
                    <a:pt x="180" y="42"/>
                    <a:pt x="178" y="40"/>
                  </a:cubicBezTo>
                  <a:cubicBezTo>
                    <a:pt x="177" y="40"/>
                    <a:pt x="177" y="40"/>
                    <a:pt x="177" y="40"/>
                  </a:cubicBezTo>
                  <a:cubicBezTo>
                    <a:pt x="177" y="40"/>
                    <a:pt x="176" y="39"/>
                    <a:pt x="176" y="39"/>
                  </a:cubicBezTo>
                  <a:cubicBezTo>
                    <a:pt x="174" y="38"/>
                    <a:pt x="174" y="38"/>
                    <a:pt x="174" y="38"/>
                  </a:cubicBezTo>
                  <a:cubicBezTo>
                    <a:pt x="174" y="38"/>
                    <a:pt x="174" y="38"/>
                    <a:pt x="174" y="38"/>
                  </a:cubicBezTo>
                  <a:cubicBezTo>
                    <a:pt x="173" y="37"/>
                    <a:pt x="170" y="35"/>
                    <a:pt x="171" y="32"/>
                  </a:cubicBezTo>
                  <a:cubicBezTo>
                    <a:pt x="172" y="30"/>
                    <a:pt x="172" y="30"/>
                    <a:pt x="172" y="30"/>
                  </a:cubicBezTo>
                  <a:cubicBezTo>
                    <a:pt x="172" y="29"/>
                    <a:pt x="172" y="29"/>
                    <a:pt x="172" y="29"/>
                  </a:cubicBezTo>
                  <a:cubicBezTo>
                    <a:pt x="172" y="29"/>
                    <a:pt x="172" y="29"/>
                    <a:pt x="172" y="28"/>
                  </a:cubicBezTo>
                  <a:cubicBezTo>
                    <a:pt x="169" y="25"/>
                    <a:pt x="169" y="25"/>
                    <a:pt x="169" y="25"/>
                  </a:cubicBezTo>
                  <a:cubicBezTo>
                    <a:pt x="173" y="24"/>
                    <a:pt x="173" y="24"/>
                    <a:pt x="173" y="24"/>
                  </a:cubicBezTo>
                  <a:cubicBezTo>
                    <a:pt x="172" y="23"/>
                    <a:pt x="171" y="22"/>
                    <a:pt x="169" y="22"/>
                  </a:cubicBezTo>
                  <a:cubicBezTo>
                    <a:pt x="163" y="19"/>
                    <a:pt x="163" y="19"/>
                    <a:pt x="163" y="19"/>
                  </a:cubicBezTo>
                  <a:cubicBezTo>
                    <a:pt x="169" y="17"/>
                    <a:pt x="169" y="17"/>
                    <a:pt x="169" y="17"/>
                  </a:cubicBezTo>
                  <a:cubicBezTo>
                    <a:pt x="169" y="16"/>
                    <a:pt x="169" y="16"/>
                    <a:pt x="169" y="16"/>
                  </a:cubicBezTo>
                  <a:cubicBezTo>
                    <a:pt x="169" y="16"/>
                    <a:pt x="169" y="16"/>
                    <a:pt x="169" y="16"/>
                  </a:cubicBezTo>
                  <a:cubicBezTo>
                    <a:pt x="169" y="16"/>
                    <a:pt x="169" y="15"/>
                    <a:pt x="169" y="14"/>
                  </a:cubicBezTo>
                  <a:cubicBezTo>
                    <a:pt x="167" y="13"/>
                    <a:pt x="165" y="13"/>
                    <a:pt x="164" y="12"/>
                  </a:cubicBezTo>
                  <a:cubicBezTo>
                    <a:pt x="163" y="12"/>
                    <a:pt x="163" y="12"/>
                    <a:pt x="163" y="12"/>
                  </a:cubicBezTo>
                  <a:cubicBezTo>
                    <a:pt x="162" y="12"/>
                    <a:pt x="159" y="12"/>
                    <a:pt x="157" y="12"/>
                  </a:cubicBezTo>
                  <a:cubicBezTo>
                    <a:pt x="157" y="12"/>
                    <a:pt x="157" y="12"/>
                    <a:pt x="157" y="12"/>
                  </a:cubicBezTo>
                  <a:cubicBezTo>
                    <a:pt x="156" y="12"/>
                    <a:pt x="156" y="12"/>
                    <a:pt x="156" y="12"/>
                  </a:cubicBezTo>
                  <a:cubicBezTo>
                    <a:pt x="155" y="12"/>
                    <a:pt x="154" y="11"/>
                    <a:pt x="153" y="10"/>
                  </a:cubicBezTo>
                  <a:cubicBezTo>
                    <a:pt x="153" y="9"/>
                    <a:pt x="152" y="9"/>
                    <a:pt x="152" y="8"/>
                  </a:cubicBezTo>
                  <a:cubicBezTo>
                    <a:pt x="151" y="7"/>
                    <a:pt x="151" y="7"/>
                    <a:pt x="151" y="7"/>
                  </a:cubicBezTo>
                  <a:cubicBezTo>
                    <a:pt x="151" y="7"/>
                    <a:pt x="151" y="7"/>
                    <a:pt x="150" y="6"/>
                  </a:cubicBezTo>
                  <a:cubicBezTo>
                    <a:pt x="150" y="6"/>
                    <a:pt x="150" y="6"/>
                    <a:pt x="150" y="6"/>
                  </a:cubicBezTo>
                  <a:cubicBezTo>
                    <a:pt x="150" y="6"/>
                    <a:pt x="150" y="6"/>
                    <a:pt x="150" y="6"/>
                  </a:cubicBezTo>
                  <a:cubicBezTo>
                    <a:pt x="150" y="6"/>
                    <a:pt x="149" y="6"/>
                    <a:pt x="149" y="6"/>
                  </a:cubicBezTo>
                  <a:cubicBezTo>
                    <a:pt x="149" y="6"/>
                    <a:pt x="149" y="6"/>
                    <a:pt x="149" y="6"/>
                  </a:cubicBezTo>
                  <a:cubicBezTo>
                    <a:pt x="148" y="6"/>
                    <a:pt x="148" y="6"/>
                    <a:pt x="148" y="6"/>
                  </a:cubicBezTo>
                  <a:cubicBezTo>
                    <a:pt x="148" y="6"/>
                    <a:pt x="147" y="6"/>
                    <a:pt x="147" y="6"/>
                  </a:cubicBezTo>
                  <a:cubicBezTo>
                    <a:pt x="146" y="5"/>
                    <a:pt x="145" y="5"/>
                    <a:pt x="144" y="5"/>
                  </a:cubicBezTo>
                  <a:cubicBezTo>
                    <a:pt x="143" y="3"/>
                    <a:pt x="141" y="2"/>
                    <a:pt x="140" y="0"/>
                  </a:cubicBezTo>
                  <a:cubicBezTo>
                    <a:pt x="140" y="0"/>
                    <a:pt x="140" y="0"/>
                    <a:pt x="1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290"/>
            <p:cNvSpPr/>
            <p:nvPr/>
          </p:nvSpPr>
          <p:spPr bwMode="auto">
            <a:xfrm>
              <a:off x="7518" y="396"/>
              <a:ext cx="2"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291"/>
            <p:cNvSpPr/>
            <p:nvPr/>
          </p:nvSpPr>
          <p:spPr bwMode="auto">
            <a:xfrm>
              <a:off x="7518" y="396"/>
              <a:ext cx="2"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292"/>
            <p:cNvSpPr/>
            <p:nvPr/>
          </p:nvSpPr>
          <p:spPr bwMode="auto">
            <a:xfrm>
              <a:off x="7416" y="396"/>
              <a:ext cx="262" cy="213"/>
            </a:xfrm>
            <a:custGeom>
              <a:gdLst>
                <a:gd name="T0" fmla="*/ 36 w 111"/>
                <a:gd name="T1" fmla="*/ 4 h 90"/>
                <a:gd name="T2" fmla="*/ 34 w 111"/>
                <a:gd name="T3" fmla="*/ 4 h 90"/>
                <a:gd name="T4" fmla="*/ 33 w 111"/>
                <a:gd name="T5" fmla="*/ 20 h 90"/>
                <a:gd name="T6" fmla="*/ 29 w 111"/>
                <a:gd name="T7" fmla="*/ 10 h 90"/>
                <a:gd name="T8" fmla="*/ 22 w 111"/>
                <a:gd name="T9" fmla="*/ 19 h 90"/>
                <a:gd name="T10" fmla="*/ 15 w 111"/>
                <a:gd name="T11" fmla="*/ 18 h 90"/>
                <a:gd name="T12" fmla="*/ 5 w 111"/>
                <a:gd name="T13" fmla="*/ 17 h 90"/>
                <a:gd name="T14" fmla="*/ 3 w 111"/>
                <a:gd name="T15" fmla="*/ 18 h 90"/>
                <a:gd name="T16" fmla="*/ 0 w 111"/>
                <a:gd name="T17" fmla="*/ 22 h 90"/>
                <a:gd name="T18" fmla="*/ 3 w 111"/>
                <a:gd name="T19" fmla="*/ 26 h 90"/>
                <a:gd name="T20" fmla="*/ 18 w 111"/>
                <a:gd name="T21" fmla="*/ 32 h 90"/>
                <a:gd name="T22" fmla="*/ 17 w 111"/>
                <a:gd name="T23" fmla="*/ 44 h 90"/>
                <a:gd name="T24" fmla="*/ 20 w 111"/>
                <a:gd name="T25" fmla="*/ 47 h 90"/>
                <a:gd name="T26" fmla="*/ 14 w 111"/>
                <a:gd name="T27" fmla="*/ 68 h 90"/>
                <a:gd name="T28" fmla="*/ 10 w 111"/>
                <a:gd name="T29" fmla="*/ 76 h 90"/>
                <a:gd name="T30" fmla="*/ 12 w 111"/>
                <a:gd name="T31" fmla="*/ 83 h 90"/>
                <a:gd name="T32" fmla="*/ 17 w 111"/>
                <a:gd name="T33" fmla="*/ 80 h 90"/>
                <a:gd name="T34" fmla="*/ 28 w 111"/>
                <a:gd name="T35" fmla="*/ 76 h 90"/>
                <a:gd name="T36" fmla="*/ 30 w 111"/>
                <a:gd name="T37" fmla="*/ 75 h 90"/>
                <a:gd name="T38" fmla="*/ 38 w 111"/>
                <a:gd name="T39" fmla="*/ 76 h 90"/>
                <a:gd name="T40" fmla="*/ 42 w 111"/>
                <a:gd name="T41" fmla="*/ 79 h 90"/>
                <a:gd name="T42" fmla="*/ 42 w 111"/>
                <a:gd name="T43" fmla="*/ 76 h 90"/>
                <a:gd name="T44" fmla="*/ 44 w 111"/>
                <a:gd name="T45" fmla="*/ 69 h 90"/>
                <a:gd name="T46" fmla="*/ 57 w 111"/>
                <a:gd name="T47" fmla="*/ 67 h 90"/>
                <a:gd name="T48" fmla="*/ 61 w 111"/>
                <a:gd name="T49" fmla="*/ 68 h 90"/>
                <a:gd name="T50" fmla="*/ 61 w 111"/>
                <a:gd name="T51" fmla="*/ 66 h 90"/>
                <a:gd name="T52" fmla="*/ 61 w 111"/>
                <a:gd name="T53" fmla="*/ 57 h 90"/>
                <a:gd name="T54" fmla="*/ 69 w 111"/>
                <a:gd name="T55" fmla="*/ 52 h 90"/>
                <a:gd name="T56" fmla="*/ 80 w 111"/>
                <a:gd name="T57" fmla="*/ 43 h 90"/>
                <a:gd name="T58" fmla="*/ 86 w 111"/>
                <a:gd name="T59" fmla="*/ 45 h 90"/>
                <a:gd name="T60" fmla="*/ 90 w 111"/>
                <a:gd name="T61" fmla="*/ 45 h 90"/>
                <a:gd name="T62" fmla="*/ 90 w 111"/>
                <a:gd name="T63" fmla="*/ 50 h 90"/>
                <a:gd name="T64" fmla="*/ 96 w 111"/>
                <a:gd name="T65" fmla="*/ 57 h 90"/>
                <a:gd name="T66" fmla="*/ 96 w 111"/>
                <a:gd name="T67" fmla="*/ 79 h 90"/>
                <a:gd name="T68" fmla="*/ 96 w 111"/>
                <a:gd name="T69" fmla="*/ 80 h 90"/>
                <a:gd name="T70" fmla="*/ 96 w 111"/>
                <a:gd name="T71" fmla="*/ 86 h 90"/>
                <a:gd name="T72" fmla="*/ 98 w 111"/>
                <a:gd name="T73" fmla="*/ 90 h 90"/>
                <a:gd name="T74" fmla="*/ 111 w 111"/>
                <a:gd name="T75" fmla="*/ 86 h 90"/>
                <a:gd name="T76" fmla="*/ 104 w 111"/>
                <a:gd name="T77" fmla="*/ 26 h 90"/>
                <a:gd name="T78" fmla="*/ 99 w 111"/>
                <a:gd name="T79" fmla="*/ 26 h 90"/>
                <a:gd name="T80" fmla="*/ 96 w 111"/>
                <a:gd name="T81" fmla="*/ 21 h 90"/>
                <a:gd name="T82" fmla="*/ 92 w 111"/>
                <a:gd name="T83" fmla="*/ 19 h 90"/>
                <a:gd name="T84" fmla="*/ 82 w 111"/>
                <a:gd name="T85" fmla="*/ 22 h 90"/>
                <a:gd name="T86" fmla="*/ 82 w 111"/>
                <a:gd name="T87" fmla="*/ 22 h 90"/>
                <a:gd name="T88" fmla="*/ 58 w 111"/>
                <a:gd name="T89" fmla="*/ 18 h 90"/>
                <a:gd name="T90" fmla="*/ 39 w 111"/>
                <a:gd name="T91" fmla="*/ 16 h 90"/>
                <a:gd name="T92" fmla="*/ 39 w 111"/>
                <a:gd name="T93" fmla="*/ 1 h 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90">
                  <a:moveTo>
                    <a:pt x="38" y="0"/>
                  </a:moveTo>
                  <a:cubicBezTo>
                    <a:pt x="38" y="1"/>
                    <a:pt x="37" y="2"/>
                    <a:pt x="37" y="3"/>
                  </a:cubicBezTo>
                  <a:cubicBezTo>
                    <a:pt x="36" y="4"/>
                    <a:pt x="36" y="4"/>
                    <a:pt x="36" y="4"/>
                  </a:cubicBezTo>
                  <a:cubicBezTo>
                    <a:pt x="35" y="4"/>
                    <a:pt x="35" y="4"/>
                    <a:pt x="35" y="4"/>
                  </a:cubicBezTo>
                  <a:cubicBezTo>
                    <a:pt x="34" y="4"/>
                    <a:pt x="34" y="4"/>
                    <a:pt x="34" y="4"/>
                  </a:cubicBezTo>
                  <a:cubicBezTo>
                    <a:pt x="34" y="4"/>
                    <a:pt x="34" y="4"/>
                    <a:pt x="34" y="4"/>
                  </a:cubicBezTo>
                  <a:cubicBezTo>
                    <a:pt x="34" y="5"/>
                    <a:pt x="34" y="5"/>
                    <a:pt x="34" y="5"/>
                  </a:cubicBezTo>
                  <a:cubicBezTo>
                    <a:pt x="34" y="6"/>
                    <a:pt x="34" y="6"/>
                    <a:pt x="34" y="7"/>
                  </a:cubicBezTo>
                  <a:cubicBezTo>
                    <a:pt x="33" y="20"/>
                    <a:pt x="33" y="20"/>
                    <a:pt x="33" y="20"/>
                  </a:cubicBezTo>
                  <a:cubicBezTo>
                    <a:pt x="29" y="9"/>
                    <a:pt x="29" y="9"/>
                    <a:pt x="29" y="9"/>
                  </a:cubicBezTo>
                  <a:cubicBezTo>
                    <a:pt x="29" y="9"/>
                    <a:pt x="29" y="9"/>
                    <a:pt x="29" y="9"/>
                  </a:cubicBezTo>
                  <a:cubicBezTo>
                    <a:pt x="29" y="10"/>
                    <a:pt x="29" y="10"/>
                    <a:pt x="29" y="10"/>
                  </a:cubicBezTo>
                  <a:cubicBezTo>
                    <a:pt x="27" y="15"/>
                    <a:pt x="26" y="18"/>
                    <a:pt x="24" y="18"/>
                  </a:cubicBezTo>
                  <a:cubicBezTo>
                    <a:pt x="24" y="19"/>
                    <a:pt x="24" y="19"/>
                    <a:pt x="24" y="19"/>
                  </a:cubicBezTo>
                  <a:cubicBezTo>
                    <a:pt x="23" y="19"/>
                    <a:pt x="23" y="19"/>
                    <a:pt x="22" y="19"/>
                  </a:cubicBezTo>
                  <a:cubicBezTo>
                    <a:pt x="21" y="19"/>
                    <a:pt x="21" y="19"/>
                    <a:pt x="20" y="19"/>
                  </a:cubicBezTo>
                  <a:cubicBezTo>
                    <a:pt x="19" y="19"/>
                    <a:pt x="19" y="19"/>
                    <a:pt x="19" y="19"/>
                  </a:cubicBezTo>
                  <a:cubicBezTo>
                    <a:pt x="18" y="19"/>
                    <a:pt x="17" y="18"/>
                    <a:pt x="15" y="18"/>
                  </a:cubicBezTo>
                  <a:cubicBezTo>
                    <a:pt x="13" y="18"/>
                    <a:pt x="10" y="17"/>
                    <a:pt x="7" y="17"/>
                  </a:cubicBezTo>
                  <a:cubicBezTo>
                    <a:pt x="6" y="17"/>
                    <a:pt x="6" y="17"/>
                    <a:pt x="5" y="17"/>
                  </a:cubicBezTo>
                  <a:cubicBezTo>
                    <a:pt x="5" y="17"/>
                    <a:pt x="5" y="17"/>
                    <a:pt x="5" y="17"/>
                  </a:cubicBezTo>
                  <a:cubicBezTo>
                    <a:pt x="4" y="17"/>
                    <a:pt x="4" y="17"/>
                    <a:pt x="4" y="17"/>
                  </a:cubicBezTo>
                  <a:cubicBezTo>
                    <a:pt x="4" y="17"/>
                    <a:pt x="4" y="17"/>
                    <a:pt x="4" y="17"/>
                  </a:cubicBezTo>
                  <a:cubicBezTo>
                    <a:pt x="4" y="17"/>
                    <a:pt x="3" y="18"/>
                    <a:pt x="3" y="18"/>
                  </a:cubicBezTo>
                  <a:cubicBezTo>
                    <a:pt x="2" y="18"/>
                    <a:pt x="2" y="18"/>
                    <a:pt x="2" y="18"/>
                  </a:cubicBezTo>
                  <a:cubicBezTo>
                    <a:pt x="1" y="19"/>
                    <a:pt x="0" y="20"/>
                    <a:pt x="0" y="22"/>
                  </a:cubicBezTo>
                  <a:cubicBezTo>
                    <a:pt x="0" y="22"/>
                    <a:pt x="0" y="22"/>
                    <a:pt x="0" y="22"/>
                  </a:cubicBezTo>
                  <a:cubicBezTo>
                    <a:pt x="0" y="23"/>
                    <a:pt x="1" y="23"/>
                    <a:pt x="1" y="24"/>
                  </a:cubicBezTo>
                  <a:cubicBezTo>
                    <a:pt x="2" y="24"/>
                    <a:pt x="2" y="24"/>
                    <a:pt x="2" y="24"/>
                  </a:cubicBezTo>
                  <a:cubicBezTo>
                    <a:pt x="2" y="25"/>
                    <a:pt x="3" y="25"/>
                    <a:pt x="3" y="26"/>
                  </a:cubicBezTo>
                  <a:cubicBezTo>
                    <a:pt x="5" y="28"/>
                    <a:pt x="5" y="28"/>
                    <a:pt x="9" y="28"/>
                  </a:cubicBezTo>
                  <a:cubicBezTo>
                    <a:pt x="9" y="28"/>
                    <a:pt x="10" y="28"/>
                    <a:pt x="12" y="28"/>
                  </a:cubicBezTo>
                  <a:cubicBezTo>
                    <a:pt x="14" y="29"/>
                    <a:pt x="17" y="30"/>
                    <a:pt x="18" y="32"/>
                  </a:cubicBezTo>
                  <a:cubicBezTo>
                    <a:pt x="18" y="33"/>
                    <a:pt x="18" y="33"/>
                    <a:pt x="19" y="34"/>
                  </a:cubicBezTo>
                  <a:cubicBezTo>
                    <a:pt x="19" y="36"/>
                    <a:pt x="18" y="38"/>
                    <a:pt x="18" y="41"/>
                  </a:cubicBezTo>
                  <a:cubicBezTo>
                    <a:pt x="17" y="44"/>
                    <a:pt x="17" y="44"/>
                    <a:pt x="17" y="44"/>
                  </a:cubicBezTo>
                  <a:cubicBezTo>
                    <a:pt x="17" y="44"/>
                    <a:pt x="17" y="45"/>
                    <a:pt x="18" y="45"/>
                  </a:cubicBezTo>
                  <a:cubicBezTo>
                    <a:pt x="18" y="46"/>
                    <a:pt x="18" y="46"/>
                    <a:pt x="18" y="46"/>
                  </a:cubicBezTo>
                  <a:cubicBezTo>
                    <a:pt x="20" y="47"/>
                    <a:pt x="20" y="47"/>
                    <a:pt x="20" y="47"/>
                  </a:cubicBezTo>
                  <a:cubicBezTo>
                    <a:pt x="20" y="48"/>
                    <a:pt x="21" y="49"/>
                    <a:pt x="22" y="50"/>
                  </a:cubicBezTo>
                  <a:cubicBezTo>
                    <a:pt x="25" y="54"/>
                    <a:pt x="20" y="61"/>
                    <a:pt x="15" y="66"/>
                  </a:cubicBezTo>
                  <a:cubicBezTo>
                    <a:pt x="15" y="67"/>
                    <a:pt x="14" y="68"/>
                    <a:pt x="14" y="68"/>
                  </a:cubicBezTo>
                  <a:cubicBezTo>
                    <a:pt x="13" y="70"/>
                    <a:pt x="13" y="70"/>
                    <a:pt x="13" y="70"/>
                  </a:cubicBezTo>
                  <a:cubicBezTo>
                    <a:pt x="12" y="71"/>
                    <a:pt x="11" y="72"/>
                    <a:pt x="10" y="74"/>
                  </a:cubicBezTo>
                  <a:cubicBezTo>
                    <a:pt x="10" y="74"/>
                    <a:pt x="10" y="75"/>
                    <a:pt x="10" y="76"/>
                  </a:cubicBezTo>
                  <a:cubicBezTo>
                    <a:pt x="10" y="78"/>
                    <a:pt x="10" y="79"/>
                    <a:pt x="9" y="80"/>
                  </a:cubicBezTo>
                  <a:cubicBezTo>
                    <a:pt x="9" y="81"/>
                    <a:pt x="9" y="81"/>
                    <a:pt x="9" y="82"/>
                  </a:cubicBezTo>
                  <a:cubicBezTo>
                    <a:pt x="12" y="83"/>
                    <a:pt x="12" y="83"/>
                    <a:pt x="12" y="83"/>
                  </a:cubicBezTo>
                  <a:cubicBezTo>
                    <a:pt x="12" y="84"/>
                    <a:pt x="12" y="84"/>
                    <a:pt x="12" y="84"/>
                  </a:cubicBezTo>
                  <a:cubicBezTo>
                    <a:pt x="13" y="83"/>
                    <a:pt x="13" y="83"/>
                    <a:pt x="13" y="83"/>
                  </a:cubicBezTo>
                  <a:cubicBezTo>
                    <a:pt x="15" y="82"/>
                    <a:pt x="17" y="81"/>
                    <a:pt x="17" y="80"/>
                  </a:cubicBezTo>
                  <a:cubicBezTo>
                    <a:pt x="18" y="80"/>
                    <a:pt x="19" y="79"/>
                    <a:pt x="20" y="79"/>
                  </a:cubicBezTo>
                  <a:cubicBezTo>
                    <a:pt x="22" y="78"/>
                    <a:pt x="24" y="77"/>
                    <a:pt x="27" y="76"/>
                  </a:cubicBezTo>
                  <a:cubicBezTo>
                    <a:pt x="27" y="76"/>
                    <a:pt x="27" y="76"/>
                    <a:pt x="28" y="76"/>
                  </a:cubicBezTo>
                  <a:cubicBezTo>
                    <a:pt x="29" y="77"/>
                    <a:pt x="29" y="77"/>
                    <a:pt x="29" y="77"/>
                  </a:cubicBezTo>
                  <a:cubicBezTo>
                    <a:pt x="28" y="76"/>
                    <a:pt x="28" y="76"/>
                    <a:pt x="28" y="76"/>
                  </a:cubicBezTo>
                  <a:cubicBezTo>
                    <a:pt x="29" y="75"/>
                    <a:pt x="29" y="75"/>
                    <a:pt x="30" y="75"/>
                  </a:cubicBezTo>
                  <a:cubicBezTo>
                    <a:pt x="31" y="74"/>
                    <a:pt x="32" y="74"/>
                    <a:pt x="33" y="74"/>
                  </a:cubicBezTo>
                  <a:cubicBezTo>
                    <a:pt x="34" y="74"/>
                    <a:pt x="35" y="74"/>
                    <a:pt x="37" y="75"/>
                  </a:cubicBezTo>
                  <a:cubicBezTo>
                    <a:pt x="37" y="76"/>
                    <a:pt x="37" y="76"/>
                    <a:pt x="38" y="76"/>
                  </a:cubicBezTo>
                  <a:cubicBezTo>
                    <a:pt x="40" y="78"/>
                    <a:pt x="40" y="78"/>
                    <a:pt x="40" y="78"/>
                  </a:cubicBezTo>
                  <a:cubicBezTo>
                    <a:pt x="40" y="79"/>
                    <a:pt x="41" y="79"/>
                    <a:pt x="41" y="80"/>
                  </a:cubicBezTo>
                  <a:cubicBezTo>
                    <a:pt x="42" y="79"/>
                    <a:pt x="42" y="79"/>
                    <a:pt x="42" y="79"/>
                  </a:cubicBezTo>
                  <a:cubicBezTo>
                    <a:pt x="42" y="78"/>
                    <a:pt x="42" y="78"/>
                    <a:pt x="42" y="78"/>
                  </a:cubicBezTo>
                  <a:cubicBezTo>
                    <a:pt x="42" y="78"/>
                    <a:pt x="42" y="78"/>
                    <a:pt x="42" y="78"/>
                  </a:cubicBezTo>
                  <a:cubicBezTo>
                    <a:pt x="42" y="77"/>
                    <a:pt x="42" y="76"/>
                    <a:pt x="42" y="76"/>
                  </a:cubicBezTo>
                  <a:cubicBezTo>
                    <a:pt x="43" y="74"/>
                    <a:pt x="43" y="74"/>
                    <a:pt x="43" y="74"/>
                  </a:cubicBezTo>
                  <a:cubicBezTo>
                    <a:pt x="43" y="73"/>
                    <a:pt x="43" y="71"/>
                    <a:pt x="44" y="70"/>
                  </a:cubicBezTo>
                  <a:cubicBezTo>
                    <a:pt x="44" y="69"/>
                    <a:pt x="44" y="69"/>
                    <a:pt x="44" y="69"/>
                  </a:cubicBezTo>
                  <a:cubicBezTo>
                    <a:pt x="45" y="67"/>
                    <a:pt x="47" y="66"/>
                    <a:pt x="50" y="66"/>
                  </a:cubicBezTo>
                  <a:cubicBezTo>
                    <a:pt x="52" y="66"/>
                    <a:pt x="54" y="67"/>
                    <a:pt x="55" y="67"/>
                  </a:cubicBezTo>
                  <a:cubicBezTo>
                    <a:pt x="56" y="67"/>
                    <a:pt x="56" y="67"/>
                    <a:pt x="57" y="67"/>
                  </a:cubicBezTo>
                  <a:cubicBezTo>
                    <a:pt x="58" y="68"/>
                    <a:pt x="59" y="68"/>
                    <a:pt x="60" y="68"/>
                  </a:cubicBezTo>
                  <a:cubicBezTo>
                    <a:pt x="61" y="68"/>
                    <a:pt x="61" y="68"/>
                    <a:pt x="61" y="68"/>
                  </a:cubicBezTo>
                  <a:cubicBezTo>
                    <a:pt x="61" y="68"/>
                    <a:pt x="61" y="68"/>
                    <a:pt x="61" y="68"/>
                  </a:cubicBezTo>
                  <a:cubicBezTo>
                    <a:pt x="61" y="67"/>
                    <a:pt x="61" y="67"/>
                    <a:pt x="61" y="67"/>
                  </a:cubicBezTo>
                  <a:cubicBezTo>
                    <a:pt x="62" y="67"/>
                    <a:pt x="62" y="67"/>
                    <a:pt x="62" y="67"/>
                  </a:cubicBezTo>
                  <a:cubicBezTo>
                    <a:pt x="61" y="66"/>
                    <a:pt x="61" y="66"/>
                    <a:pt x="61" y="66"/>
                  </a:cubicBezTo>
                  <a:cubicBezTo>
                    <a:pt x="61" y="65"/>
                    <a:pt x="61" y="65"/>
                    <a:pt x="61" y="65"/>
                  </a:cubicBezTo>
                  <a:cubicBezTo>
                    <a:pt x="60" y="64"/>
                    <a:pt x="59" y="63"/>
                    <a:pt x="59" y="62"/>
                  </a:cubicBezTo>
                  <a:cubicBezTo>
                    <a:pt x="59" y="61"/>
                    <a:pt x="59" y="59"/>
                    <a:pt x="61" y="57"/>
                  </a:cubicBezTo>
                  <a:cubicBezTo>
                    <a:pt x="62" y="57"/>
                    <a:pt x="64" y="55"/>
                    <a:pt x="65" y="54"/>
                  </a:cubicBezTo>
                  <a:cubicBezTo>
                    <a:pt x="66" y="54"/>
                    <a:pt x="67" y="52"/>
                    <a:pt x="68" y="51"/>
                  </a:cubicBezTo>
                  <a:cubicBezTo>
                    <a:pt x="69" y="52"/>
                    <a:pt x="69" y="52"/>
                    <a:pt x="69" y="52"/>
                  </a:cubicBezTo>
                  <a:cubicBezTo>
                    <a:pt x="68" y="51"/>
                    <a:pt x="68" y="51"/>
                    <a:pt x="68" y="51"/>
                  </a:cubicBezTo>
                  <a:cubicBezTo>
                    <a:pt x="70" y="49"/>
                    <a:pt x="72" y="46"/>
                    <a:pt x="74" y="45"/>
                  </a:cubicBezTo>
                  <a:cubicBezTo>
                    <a:pt x="76" y="43"/>
                    <a:pt x="78" y="43"/>
                    <a:pt x="80" y="43"/>
                  </a:cubicBezTo>
                  <a:cubicBezTo>
                    <a:pt x="81" y="43"/>
                    <a:pt x="81" y="43"/>
                    <a:pt x="81" y="43"/>
                  </a:cubicBezTo>
                  <a:cubicBezTo>
                    <a:pt x="83" y="43"/>
                    <a:pt x="83" y="43"/>
                    <a:pt x="83" y="43"/>
                  </a:cubicBezTo>
                  <a:cubicBezTo>
                    <a:pt x="84" y="44"/>
                    <a:pt x="85" y="44"/>
                    <a:pt x="86" y="45"/>
                  </a:cubicBezTo>
                  <a:cubicBezTo>
                    <a:pt x="87" y="46"/>
                    <a:pt x="87" y="46"/>
                    <a:pt x="87" y="47"/>
                  </a:cubicBezTo>
                  <a:cubicBezTo>
                    <a:pt x="92" y="43"/>
                    <a:pt x="92" y="43"/>
                    <a:pt x="92" y="43"/>
                  </a:cubicBezTo>
                  <a:cubicBezTo>
                    <a:pt x="90" y="45"/>
                    <a:pt x="90" y="45"/>
                    <a:pt x="90" y="45"/>
                  </a:cubicBezTo>
                  <a:cubicBezTo>
                    <a:pt x="91" y="44"/>
                    <a:pt x="91" y="44"/>
                    <a:pt x="91" y="44"/>
                  </a:cubicBezTo>
                  <a:cubicBezTo>
                    <a:pt x="89" y="48"/>
                    <a:pt x="89" y="48"/>
                    <a:pt x="89" y="48"/>
                  </a:cubicBezTo>
                  <a:cubicBezTo>
                    <a:pt x="90" y="50"/>
                    <a:pt x="90" y="50"/>
                    <a:pt x="90" y="50"/>
                  </a:cubicBezTo>
                  <a:cubicBezTo>
                    <a:pt x="90" y="50"/>
                    <a:pt x="91" y="51"/>
                    <a:pt x="91" y="51"/>
                  </a:cubicBezTo>
                  <a:cubicBezTo>
                    <a:pt x="92" y="53"/>
                    <a:pt x="93" y="54"/>
                    <a:pt x="92" y="56"/>
                  </a:cubicBezTo>
                  <a:cubicBezTo>
                    <a:pt x="93" y="56"/>
                    <a:pt x="95" y="57"/>
                    <a:pt x="96" y="57"/>
                  </a:cubicBezTo>
                  <a:cubicBezTo>
                    <a:pt x="97" y="58"/>
                    <a:pt x="98" y="60"/>
                    <a:pt x="98" y="61"/>
                  </a:cubicBezTo>
                  <a:cubicBezTo>
                    <a:pt x="98" y="64"/>
                    <a:pt x="98" y="66"/>
                    <a:pt x="97" y="69"/>
                  </a:cubicBezTo>
                  <a:cubicBezTo>
                    <a:pt x="97" y="73"/>
                    <a:pt x="97" y="76"/>
                    <a:pt x="96" y="79"/>
                  </a:cubicBezTo>
                  <a:cubicBezTo>
                    <a:pt x="102" y="80"/>
                    <a:pt x="102" y="80"/>
                    <a:pt x="102" y="80"/>
                  </a:cubicBezTo>
                  <a:cubicBezTo>
                    <a:pt x="96" y="80"/>
                    <a:pt x="96" y="80"/>
                    <a:pt x="96" y="80"/>
                  </a:cubicBezTo>
                  <a:cubicBezTo>
                    <a:pt x="96" y="80"/>
                    <a:pt x="96" y="80"/>
                    <a:pt x="96" y="80"/>
                  </a:cubicBezTo>
                  <a:cubicBezTo>
                    <a:pt x="95" y="81"/>
                    <a:pt x="95" y="82"/>
                    <a:pt x="95" y="82"/>
                  </a:cubicBezTo>
                  <a:cubicBezTo>
                    <a:pt x="95" y="83"/>
                    <a:pt x="95" y="83"/>
                    <a:pt x="95" y="84"/>
                  </a:cubicBezTo>
                  <a:cubicBezTo>
                    <a:pt x="95" y="85"/>
                    <a:pt x="95" y="86"/>
                    <a:pt x="96" y="86"/>
                  </a:cubicBezTo>
                  <a:cubicBezTo>
                    <a:pt x="96" y="87"/>
                    <a:pt x="97" y="88"/>
                    <a:pt x="97" y="88"/>
                  </a:cubicBezTo>
                  <a:cubicBezTo>
                    <a:pt x="97" y="89"/>
                    <a:pt x="97" y="89"/>
                    <a:pt x="97" y="89"/>
                  </a:cubicBezTo>
                  <a:cubicBezTo>
                    <a:pt x="97" y="89"/>
                    <a:pt x="98" y="90"/>
                    <a:pt x="98" y="90"/>
                  </a:cubicBezTo>
                  <a:cubicBezTo>
                    <a:pt x="109" y="86"/>
                    <a:pt x="109" y="86"/>
                    <a:pt x="109" y="86"/>
                  </a:cubicBezTo>
                  <a:cubicBezTo>
                    <a:pt x="110" y="86"/>
                    <a:pt x="110" y="86"/>
                    <a:pt x="110" y="86"/>
                  </a:cubicBezTo>
                  <a:cubicBezTo>
                    <a:pt x="111" y="86"/>
                    <a:pt x="111" y="86"/>
                    <a:pt x="111" y="86"/>
                  </a:cubicBezTo>
                  <a:cubicBezTo>
                    <a:pt x="111" y="29"/>
                    <a:pt x="111" y="29"/>
                    <a:pt x="111" y="29"/>
                  </a:cubicBezTo>
                  <a:cubicBezTo>
                    <a:pt x="109" y="28"/>
                    <a:pt x="109" y="28"/>
                    <a:pt x="109" y="28"/>
                  </a:cubicBezTo>
                  <a:cubicBezTo>
                    <a:pt x="108" y="27"/>
                    <a:pt x="105" y="26"/>
                    <a:pt x="104" y="26"/>
                  </a:cubicBezTo>
                  <a:cubicBezTo>
                    <a:pt x="103" y="26"/>
                    <a:pt x="103" y="26"/>
                    <a:pt x="103" y="26"/>
                  </a:cubicBezTo>
                  <a:cubicBezTo>
                    <a:pt x="99" y="26"/>
                    <a:pt x="99" y="26"/>
                    <a:pt x="99" y="26"/>
                  </a:cubicBezTo>
                  <a:cubicBezTo>
                    <a:pt x="99" y="26"/>
                    <a:pt x="99" y="26"/>
                    <a:pt x="99" y="26"/>
                  </a:cubicBezTo>
                  <a:cubicBezTo>
                    <a:pt x="97" y="24"/>
                    <a:pt x="97" y="22"/>
                    <a:pt x="97" y="21"/>
                  </a:cubicBezTo>
                  <a:cubicBezTo>
                    <a:pt x="96" y="21"/>
                    <a:pt x="96" y="21"/>
                    <a:pt x="96" y="21"/>
                  </a:cubicBezTo>
                  <a:cubicBezTo>
                    <a:pt x="96" y="21"/>
                    <a:pt x="96" y="21"/>
                    <a:pt x="96" y="21"/>
                  </a:cubicBezTo>
                  <a:cubicBezTo>
                    <a:pt x="96" y="21"/>
                    <a:pt x="95" y="21"/>
                    <a:pt x="95" y="21"/>
                  </a:cubicBezTo>
                  <a:cubicBezTo>
                    <a:pt x="94" y="21"/>
                    <a:pt x="94" y="21"/>
                    <a:pt x="94" y="21"/>
                  </a:cubicBezTo>
                  <a:cubicBezTo>
                    <a:pt x="93" y="20"/>
                    <a:pt x="93" y="20"/>
                    <a:pt x="92" y="19"/>
                  </a:cubicBezTo>
                  <a:cubicBezTo>
                    <a:pt x="92" y="19"/>
                    <a:pt x="92" y="19"/>
                    <a:pt x="92" y="19"/>
                  </a:cubicBezTo>
                  <a:cubicBezTo>
                    <a:pt x="88" y="21"/>
                    <a:pt x="86" y="22"/>
                    <a:pt x="83" y="22"/>
                  </a:cubicBezTo>
                  <a:cubicBezTo>
                    <a:pt x="83" y="22"/>
                    <a:pt x="83" y="22"/>
                    <a:pt x="82" y="22"/>
                  </a:cubicBezTo>
                  <a:cubicBezTo>
                    <a:pt x="82" y="22"/>
                    <a:pt x="82" y="22"/>
                    <a:pt x="82" y="22"/>
                  </a:cubicBezTo>
                  <a:cubicBezTo>
                    <a:pt x="82" y="22"/>
                    <a:pt x="82" y="22"/>
                    <a:pt x="82" y="22"/>
                  </a:cubicBezTo>
                  <a:cubicBezTo>
                    <a:pt x="82" y="22"/>
                    <a:pt x="82" y="22"/>
                    <a:pt x="82" y="22"/>
                  </a:cubicBezTo>
                  <a:cubicBezTo>
                    <a:pt x="81" y="22"/>
                    <a:pt x="81" y="22"/>
                    <a:pt x="81" y="22"/>
                  </a:cubicBezTo>
                  <a:cubicBezTo>
                    <a:pt x="77" y="21"/>
                    <a:pt x="73" y="20"/>
                    <a:pt x="69" y="19"/>
                  </a:cubicBezTo>
                  <a:cubicBezTo>
                    <a:pt x="65" y="19"/>
                    <a:pt x="62" y="18"/>
                    <a:pt x="58" y="18"/>
                  </a:cubicBezTo>
                  <a:cubicBezTo>
                    <a:pt x="53" y="18"/>
                    <a:pt x="48" y="19"/>
                    <a:pt x="43" y="19"/>
                  </a:cubicBezTo>
                  <a:cubicBezTo>
                    <a:pt x="39" y="19"/>
                    <a:pt x="39" y="19"/>
                    <a:pt x="39" y="19"/>
                  </a:cubicBezTo>
                  <a:cubicBezTo>
                    <a:pt x="39" y="16"/>
                    <a:pt x="39" y="16"/>
                    <a:pt x="39" y="16"/>
                  </a:cubicBezTo>
                  <a:cubicBezTo>
                    <a:pt x="39" y="13"/>
                    <a:pt x="39" y="10"/>
                    <a:pt x="39" y="7"/>
                  </a:cubicBezTo>
                  <a:cubicBezTo>
                    <a:pt x="40" y="1"/>
                    <a:pt x="40" y="1"/>
                    <a:pt x="40" y="1"/>
                  </a:cubicBezTo>
                  <a:cubicBezTo>
                    <a:pt x="39" y="1"/>
                    <a:pt x="39" y="1"/>
                    <a:pt x="39" y="1"/>
                  </a:cubicBezTo>
                  <a:cubicBezTo>
                    <a:pt x="39" y="1"/>
                    <a:pt x="38"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293"/>
            <p:cNvSpPr/>
            <p:nvPr/>
          </p:nvSpPr>
          <p:spPr bwMode="auto">
            <a:xfrm>
              <a:off x="7515" y="344"/>
              <a:ext cx="74" cy="52"/>
            </a:xfrm>
            <a:custGeom>
              <a:gdLst>
                <a:gd name="T0" fmla="*/ 27 w 31"/>
                <a:gd name="T1" fmla="*/ 0 h 22"/>
                <a:gd name="T2" fmla="*/ 27 w 31"/>
                <a:gd name="T3" fmla="*/ 0 h 22"/>
                <a:gd name="T4" fmla="*/ 26 w 31"/>
                <a:gd name="T5" fmla="*/ 1 h 22"/>
                <a:gd name="T6" fmla="*/ 25 w 31"/>
                <a:gd name="T7" fmla="*/ 2 h 22"/>
                <a:gd name="T8" fmla="*/ 23 w 31"/>
                <a:gd name="T9" fmla="*/ 3 h 22"/>
                <a:gd name="T10" fmla="*/ 23 w 31"/>
                <a:gd name="T11" fmla="*/ 3 h 22"/>
                <a:gd name="T12" fmla="*/ 19 w 31"/>
                <a:gd name="T13" fmla="*/ 6 h 22"/>
                <a:gd name="T14" fmla="*/ 18 w 31"/>
                <a:gd name="T15" fmla="*/ 7 h 22"/>
                <a:gd name="T16" fmla="*/ 16 w 31"/>
                <a:gd name="T17" fmla="*/ 7 h 22"/>
                <a:gd name="T18" fmla="*/ 14 w 31"/>
                <a:gd name="T19" fmla="*/ 8 h 22"/>
                <a:gd name="T20" fmla="*/ 9 w 31"/>
                <a:gd name="T21" fmla="*/ 10 h 22"/>
                <a:gd name="T22" fmla="*/ 6 w 31"/>
                <a:gd name="T23" fmla="*/ 9 h 22"/>
                <a:gd name="T24" fmla="*/ 6 w 31"/>
                <a:gd name="T25" fmla="*/ 9 h 22"/>
                <a:gd name="T26" fmla="*/ 5 w 31"/>
                <a:gd name="T27" fmla="*/ 9 h 22"/>
                <a:gd name="T28" fmla="*/ 2 w 31"/>
                <a:gd name="T29" fmla="*/ 7 h 22"/>
                <a:gd name="T30" fmla="*/ 2 w 31"/>
                <a:gd name="T31" fmla="*/ 8 h 22"/>
                <a:gd name="T32" fmla="*/ 1 w 31"/>
                <a:gd name="T33" fmla="*/ 10 h 22"/>
                <a:gd name="T34" fmla="*/ 2 w 31"/>
                <a:gd name="T35" fmla="*/ 16 h 22"/>
                <a:gd name="T36" fmla="*/ 2 w 31"/>
                <a:gd name="T37" fmla="*/ 17 h 22"/>
                <a:gd name="T38" fmla="*/ 3 w 31"/>
                <a:gd name="T39" fmla="*/ 19 h 22"/>
                <a:gd name="T40" fmla="*/ 3 w 31"/>
                <a:gd name="T41" fmla="*/ 21 h 22"/>
                <a:gd name="T42" fmla="*/ 6 w 31"/>
                <a:gd name="T43" fmla="*/ 19 h 22"/>
                <a:gd name="T44" fmla="*/ 7 w 31"/>
                <a:gd name="T45" fmla="*/ 18 h 22"/>
                <a:gd name="T46" fmla="*/ 8 w 31"/>
                <a:gd name="T47" fmla="*/ 18 h 22"/>
                <a:gd name="T48" fmla="*/ 15 w 31"/>
                <a:gd name="T49" fmla="*/ 17 h 22"/>
                <a:gd name="T50" fmla="*/ 30 w 31"/>
                <a:gd name="T51" fmla="*/ 22 h 22"/>
                <a:gd name="T52" fmla="*/ 31 w 31"/>
                <a:gd name="T53" fmla="*/ 21 h 22"/>
                <a:gd name="T54" fmla="*/ 30 w 31"/>
                <a:gd name="T55" fmla="*/ 21 h 22"/>
                <a:gd name="T56" fmla="*/ 30 w 31"/>
                <a:gd name="T57" fmla="*/ 21 h 22"/>
                <a:gd name="T58" fmla="*/ 24 w 31"/>
                <a:gd name="T59" fmla="*/ 16 h 22"/>
                <a:gd name="T60" fmla="*/ 20 w 31"/>
                <a:gd name="T61" fmla="*/ 14 h 22"/>
                <a:gd name="T62" fmla="*/ 23 w 31"/>
                <a:gd name="T63" fmla="*/ 11 h 22"/>
                <a:gd name="T64" fmla="*/ 31 w 31"/>
                <a:gd name="T65" fmla="*/ 5 h 22"/>
                <a:gd name="T66" fmla="*/ 27 w 31"/>
                <a:gd name="T67"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22">
                  <a:moveTo>
                    <a:pt x="27" y="0"/>
                  </a:moveTo>
                  <a:cubicBezTo>
                    <a:pt x="27" y="0"/>
                    <a:pt x="27" y="0"/>
                    <a:pt x="27" y="0"/>
                  </a:cubicBezTo>
                  <a:cubicBezTo>
                    <a:pt x="26" y="1"/>
                    <a:pt x="26" y="1"/>
                    <a:pt x="26" y="1"/>
                  </a:cubicBezTo>
                  <a:cubicBezTo>
                    <a:pt x="26" y="1"/>
                    <a:pt x="25" y="1"/>
                    <a:pt x="25" y="2"/>
                  </a:cubicBezTo>
                  <a:cubicBezTo>
                    <a:pt x="24" y="2"/>
                    <a:pt x="24" y="2"/>
                    <a:pt x="23" y="3"/>
                  </a:cubicBezTo>
                  <a:cubicBezTo>
                    <a:pt x="23" y="3"/>
                    <a:pt x="23" y="3"/>
                    <a:pt x="23" y="3"/>
                  </a:cubicBezTo>
                  <a:cubicBezTo>
                    <a:pt x="21" y="4"/>
                    <a:pt x="20" y="5"/>
                    <a:pt x="19" y="6"/>
                  </a:cubicBezTo>
                  <a:cubicBezTo>
                    <a:pt x="18" y="7"/>
                    <a:pt x="18" y="7"/>
                    <a:pt x="18" y="7"/>
                  </a:cubicBezTo>
                  <a:cubicBezTo>
                    <a:pt x="17" y="7"/>
                    <a:pt x="17" y="7"/>
                    <a:pt x="16" y="7"/>
                  </a:cubicBezTo>
                  <a:cubicBezTo>
                    <a:pt x="16" y="7"/>
                    <a:pt x="15" y="8"/>
                    <a:pt x="14" y="8"/>
                  </a:cubicBezTo>
                  <a:cubicBezTo>
                    <a:pt x="13" y="9"/>
                    <a:pt x="11" y="10"/>
                    <a:pt x="9" y="10"/>
                  </a:cubicBezTo>
                  <a:cubicBezTo>
                    <a:pt x="8" y="10"/>
                    <a:pt x="7" y="10"/>
                    <a:pt x="6" y="9"/>
                  </a:cubicBezTo>
                  <a:cubicBezTo>
                    <a:pt x="6" y="9"/>
                    <a:pt x="6" y="9"/>
                    <a:pt x="6" y="9"/>
                  </a:cubicBezTo>
                  <a:cubicBezTo>
                    <a:pt x="5" y="9"/>
                    <a:pt x="5" y="9"/>
                    <a:pt x="5" y="9"/>
                  </a:cubicBezTo>
                  <a:cubicBezTo>
                    <a:pt x="4" y="8"/>
                    <a:pt x="3" y="8"/>
                    <a:pt x="2" y="7"/>
                  </a:cubicBezTo>
                  <a:cubicBezTo>
                    <a:pt x="2" y="8"/>
                    <a:pt x="2" y="8"/>
                    <a:pt x="2" y="8"/>
                  </a:cubicBezTo>
                  <a:cubicBezTo>
                    <a:pt x="1" y="9"/>
                    <a:pt x="1" y="10"/>
                    <a:pt x="1" y="10"/>
                  </a:cubicBezTo>
                  <a:cubicBezTo>
                    <a:pt x="0" y="11"/>
                    <a:pt x="1" y="14"/>
                    <a:pt x="2" y="16"/>
                  </a:cubicBezTo>
                  <a:cubicBezTo>
                    <a:pt x="2" y="17"/>
                    <a:pt x="2" y="17"/>
                    <a:pt x="2" y="17"/>
                  </a:cubicBezTo>
                  <a:cubicBezTo>
                    <a:pt x="2" y="17"/>
                    <a:pt x="2" y="18"/>
                    <a:pt x="3" y="19"/>
                  </a:cubicBezTo>
                  <a:cubicBezTo>
                    <a:pt x="3" y="21"/>
                    <a:pt x="3" y="21"/>
                    <a:pt x="3" y="21"/>
                  </a:cubicBezTo>
                  <a:cubicBezTo>
                    <a:pt x="4" y="20"/>
                    <a:pt x="5" y="19"/>
                    <a:pt x="6" y="19"/>
                  </a:cubicBezTo>
                  <a:cubicBezTo>
                    <a:pt x="6" y="19"/>
                    <a:pt x="7" y="19"/>
                    <a:pt x="7" y="18"/>
                  </a:cubicBezTo>
                  <a:cubicBezTo>
                    <a:pt x="8" y="18"/>
                    <a:pt x="8" y="18"/>
                    <a:pt x="8" y="18"/>
                  </a:cubicBezTo>
                  <a:cubicBezTo>
                    <a:pt x="11" y="17"/>
                    <a:pt x="13" y="17"/>
                    <a:pt x="15" y="17"/>
                  </a:cubicBezTo>
                  <a:cubicBezTo>
                    <a:pt x="20" y="17"/>
                    <a:pt x="27" y="20"/>
                    <a:pt x="30" y="22"/>
                  </a:cubicBezTo>
                  <a:cubicBezTo>
                    <a:pt x="31" y="21"/>
                    <a:pt x="31" y="21"/>
                    <a:pt x="31" y="21"/>
                  </a:cubicBezTo>
                  <a:cubicBezTo>
                    <a:pt x="30" y="21"/>
                    <a:pt x="30" y="21"/>
                    <a:pt x="30" y="21"/>
                  </a:cubicBezTo>
                  <a:cubicBezTo>
                    <a:pt x="30" y="21"/>
                    <a:pt x="30" y="21"/>
                    <a:pt x="30" y="21"/>
                  </a:cubicBezTo>
                  <a:cubicBezTo>
                    <a:pt x="28" y="19"/>
                    <a:pt x="26" y="18"/>
                    <a:pt x="24" y="16"/>
                  </a:cubicBezTo>
                  <a:cubicBezTo>
                    <a:pt x="20" y="14"/>
                    <a:pt x="20" y="14"/>
                    <a:pt x="20" y="14"/>
                  </a:cubicBezTo>
                  <a:cubicBezTo>
                    <a:pt x="23" y="11"/>
                    <a:pt x="23" y="11"/>
                    <a:pt x="23" y="11"/>
                  </a:cubicBezTo>
                  <a:cubicBezTo>
                    <a:pt x="25" y="9"/>
                    <a:pt x="28" y="7"/>
                    <a:pt x="31" y="5"/>
                  </a:cubicBez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294"/>
            <p:cNvSpPr>
              <a:spLocks noEditPoints="1"/>
            </p:cNvSpPr>
            <p:nvPr/>
          </p:nvSpPr>
          <p:spPr bwMode="auto">
            <a:xfrm>
              <a:off x="7522" y="228"/>
              <a:ext cx="156" cy="220"/>
            </a:xfrm>
            <a:custGeom>
              <a:gdLst>
                <a:gd name="T0" fmla="*/ 65 w 66"/>
                <a:gd name="T1" fmla="*/ 65 h 93"/>
                <a:gd name="T2" fmla="*/ 61 w 66"/>
                <a:gd name="T3" fmla="*/ 70 h 93"/>
                <a:gd name="T4" fmla="*/ 54 w 66"/>
                <a:gd name="T5" fmla="*/ 72 h 93"/>
                <a:gd name="T6" fmla="*/ 47 w 66"/>
                <a:gd name="T7" fmla="*/ 70 h 93"/>
                <a:gd name="T8" fmla="*/ 45 w 66"/>
                <a:gd name="T9" fmla="*/ 69 h 93"/>
                <a:gd name="T10" fmla="*/ 44 w 66"/>
                <a:gd name="T11" fmla="*/ 69 h 93"/>
                <a:gd name="T12" fmla="*/ 42 w 66"/>
                <a:gd name="T13" fmla="*/ 69 h 93"/>
                <a:gd name="T14" fmla="*/ 39 w 66"/>
                <a:gd name="T15" fmla="*/ 69 h 93"/>
                <a:gd name="T16" fmla="*/ 37 w 66"/>
                <a:gd name="T17" fmla="*/ 70 h 93"/>
                <a:gd name="T18" fmla="*/ 34 w 66"/>
                <a:gd name="T19" fmla="*/ 73 h 93"/>
                <a:gd name="T20" fmla="*/ 32 w 66"/>
                <a:gd name="T21" fmla="*/ 74 h 93"/>
                <a:gd name="T22" fmla="*/ 31 w 66"/>
                <a:gd name="T23" fmla="*/ 75 h 93"/>
                <a:gd name="T24" fmla="*/ 29 w 66"/>
                <a:gd name="T25" fmla="*/ 76 h 93"/>
                <a:gd name="T26" fmla="*/ 28 w 66"/>
                <a:gd name="T27" fmla="*/ 77 h 93"/>
                <a:gd name="T28" fmla="*/ 28 w 66"/>
                <a:gd name="T29" fmla="*/ 78 h 93"/>
                <a:gd name="T30" fmla="*/ 27 w 66"/>
                <a:gd name="T31" fmla="*/ 78 h 93"/>
                <a:gd name="T32" fmla="*/ 22 w 66"/>
                <a:gd name="T33" fmla="*/ 79 h 93"/>
                <a:gd name="T34" fmla="*/ 22 w 66"/>
                <a:gd name="T35" fmla="*/ 75 h 93"/>
                <a:gd name="T36" fmla="*/ 7 w 66"/>
                <a:gd name="T37" fmla="*/ 73 h 93"/>
                <a:gd name="T38" fmla="*/ 4 w 66"/>
                <a:gd name="T39" fmla="*/ 74 h 93"/>
                <a:gd name="T40" fmla="*/ 3 w 66"/>
                <a:gd name="T41" fmla="*/ 76 h 93"/>
                <a:gd name="T42" fmla="*/ 0 w 66"/>
                <a:gd name="T43" fmla="*/ 80 h 93"/>
                <a:gd name="T44" fmla="*/ 13 w 66"/>
                <a:gd name="T45" fmla="*/ 84 h 93"/>
                <a:gd name="T46" fmla="*/ 37 w 66"/>
                <a:gd name="T47" fmla="*/ 87 h 93"/>
                <a:gd name="T48" fmla="*/ 38 w 66"/>
                <a:gd name="T49" fmla="*/ 87 h 93"/>
                <a:gd name="T50" fmla="*/ 45 w 66"/>
                <a:gd name="T51" fmla="*/ 84 h 93"/>
                <a:gd name="T52" fmla="*/ 51 w 66"/>
                <a:gd name="T53" fmla="*/ 81 h 93"/>
                <a:gd name="T54" fmla="*/ 52 w 66"/>
                <a:gd name="T55" fmla="*/ 86 h 93"/>
                <a:gd name="T56" fmla="*/ 58 w 66"/>
                <a:gd name="T57" fmla="*/ 91 h 93"/>
                <a:gd name="T58" fmla="*/ 66 w 66"/>
                <a:gd name="T59" fmla="*/ 93 h 93"/>
                <a:gd name="T60" fmla="*/ 66 w 66"/>
                <a:gd name="T61" fmla="*/ 65 h 93"/>
                <a:gd name="T62" fmla="*/ 63 w 66"/>
                <a:gd name="T63" fmla="*/ 0 h 93"/>
                <a:gd name="T64" fmla="*/ 51 w 66"/>
                <a:gd name="T65" fmla="*/ 0 h 93"/>
                <a:gd name="T66" fmla="*/ 48 w 66"/>
                <a:gd name="T67" fmla="*/ 0 h 93"/>
                <a:gd name="T68" fmla="*/ 47 w 66"/>
                <a:gd name="T69" fmla="*/ 0 h 93"/>
                <a:gd name="T70" fmla="*/ 44 w 66"/>
                <a:gd name="T71" fmla="*/ 3 h 93"/>
                <a:gd name="T72" fmla="*/ 44 w 66"/>
                <a:gd name="T73" fmla="*/ 3 h 93"/>
                <a:gd name="T74" fmla="*/ 41 w 66"/>
                <a:gd name="T75" fmla="*/ 6 h 93"/>
                <a:gd name="T76" fmla="*/ 39 w 66"/>
                <a:gd name="T77" fmla="*/ 9 h 93"/>
                <a:gd name="T78" fmla="*/ 42 w 66"/>
                <a:gd name="T79" fmla="*/ 9 h 93"/>
                <a:gd name="T80" fmla="*/ 51 w 66"/>
                <a:gd name="T81" fmla="*/ 11 h 93"/>
                <a:gd name="T82" fmla="*/ 23 w 66"/>
                <a:gd name="T83" fmla="*/ 30 h 93"/>
                <a:gd name="T84" fmla="*/ 24 w 66"/>
                <a:gd name="T85" fmla="*/ 30 h 93"/>
                <a:gd name="T86" fmla="*/ 26 w 66"/>
                <a:gd name="T87" fmla="*/ 31 h 93"/>
                <a:gd name="T88" fmla="*/ 32 w 66"/>
                <a:gd name="T89" fmla="*/ 32 h 93"/>
                <a:gd name="T90" fmla="*/ 34 w 66"/>
                <a:gd name="T91" fmla="*/ 37 h 93"/>
                <a:gd name="T92" fmla="*/ 44 w 66"/>
                <a:gd name="T93" fmla="*/ 39 h 93"/>
                <a:gd name="T94" fmla="*/ 46 w 66"/>
                <a:gd name="T95" fmla="*/ 32 h 93"/>
                <a:gd name="T96" fmla="*/ 49 w 66"/>
                <a:gd name="T97" fmla="*/ 29 h 93"/>
                <a:gd name="T98" fmla="*/ 61 w 66"/>
                <a:gd name="T99" fmla="*/ 37 h 93"/>
                <a:gd name="T100" fmla="*/ 61 w 66"/>
                <a:gd name="T101" fmla="*/ 38 h 93"/>
                <a:gd name="T102" fmla="*/ 66 w 66"/>
                <a:gd name="T103" fmla="*/ 38 h 93"/>
                <a:gd name="T104" fmla="*/ 66 w 66"/>
                <a:gd name="T105" fmla="*/ 0 h 93"/>
                <a:gd name="T106" fmla="*/ 63 w 66"/>
                <a:gd name="T107"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 h="93">
                  <a:moveTo>
                    <a:pt x="65" y="65"/>
                  </a:moveTo>
                  <a:cubicBezTo>
                    <a:pt x="65" y="65"/>
                    <a:pt x="65" y="65"/>
                    <a:pt x="65" y="65"/>
                  </a:cubicBezTo>
                  <a:cubicBezTo>
                    <a:pt x="64" y="66"/>
                    <a:pt x="64" y="66"/>
                    <a:pt x="64" y="66"/>
                  </a:cubicBezTo>
                  <a:cubicBezTo>
                    <a:pt x="64" y="68"/>
                    <a:pt x="63" y="69"/>
                    <a:pt x="61" y="70"/>
                  </a:cubicBezTo>
                  <a:cubicBezTo>
                    <a:pt x="60" y="71"/>
                    <a:pt x="60" y="71"/>
                    <a:pt x="60" y="71"/>
                  </a:cubicBezTo>
                  <a:cubicBezTo>
                    <a:pt x="58" y="71"/>
                    <a:pt x="56" y="72"/>
                    <a:pt x="54" y="72"/>
                  </a:cubicBezTo>
                  <a:cubicBezTo>
                    <a:pt x="53" y="72"/>
                    <a:pt x="51" y="72"/>
                    <a:pt x="50" y="71"/>
                  </a:cubicBezTo>
                  <a:cubicBezTo>
                    <a:pt x="49" y="70"/>
                    <a:pt x="48" y="70"/>
                    <a:pt x="47" y="70"/>
                  </a:cubicBezTo>
                  <a:cubicBezTo>
                    <a:pt x="46" y="69"/>
                    <a:pt x="46" y="69"/>
                    <a:pt x="46" y="69"/>
                  </a:cubicBezTo>
                  <a:cubicBezTo>
                    <a:pt x="46" y="69"/>
                    <a:pt x="45" y="69"/>
                    <a:pt x="45" y="69"/>
                  </a:cubicBezTo>
                  <a:cubicBezTo>
                    <a:pt x="45" y="69"/>
                    <a:pt x="45" y="69"/>
                    <a:pt x="45" y="69"/>
                  </a:cubicBezTo>
                  <a:cubicBezTo>
                    <a:pt x="45" y="69"/>
                    <a:pt x="44" y="69"/>
                    <a:pt x="44" y="69"/>
                  </a:cubicBezTo>
                  <a:cubicBezTo>
                    <a:pt x="44" y="69"/>
                    <a:pt x="44" y="69"/>
                    <a:pt x="44" y="69"/>
                  </a:cubicBezTo>
                  <a:cubicBezTo>
                    <a:pt x="43" y="69"/>
                    <a:pt x="42" y="69"/>
                    <a:pt x="42" y="69"/>
                  </a:cubicBezTo>
                  <a:cubicBezTo>
                    <a:pt x="41" y="69"/>
                    <a:pt x="40" y="69"/>
                    <a:pt x="40" y="69"/>
                  </a:cubicBezTo>
                  <a:cubicBezTo>
                    <a:pt x="39" y="69"/>
                    <a:pt x="39" y="69"/>
                    <a:pt x="39" y="69"/>
                  </a:cubicBezTo>
                  <a:cubicBezTo>
                    <a:pt x="38" y="70"/>
                    <a:pt x="38" y="70"/>
                    <a:pt x="38" y="70"/>
                  </a:cubicBezTo>
                  <a:cubicBezTo>
                    <a:pt x="37" y="70"/>
                    <a:pt x="37" y="70"/>
                    <a:pt x="37" y="70"/>
                  </a:cubicBezTo>
                  <a:cubicBezTo>
                    <a:pt x="35" y="72"/>
                    <a:pt x="35" y="72"/>
                    <a:pt x="35" y="72"/>
                  </a:cubicBezTo>
                  <a:cubicBezTo>
                    <a:pt x="34" y="73"/>
                    <a:pt x="34" y="73"/>
                    <a:pt x="34" y="73"/>
                  </a:cubicBezTo>
                  <a:cubicBezTo>
                    <a:pt x="34" y="73"/>
                    <a:pt x="34" y="73"/>
                    <a:pt x="34" y="73"/>
                  </a:cubicBezTo>
                  <a:cubicBezTo>
                    <a:pt x="33" y="73"/>
                    <a:pt x="33" y="74"/>
                    <a:pt x="32" y="74"/>
                  </a:cubicBezTo>
                  <a:cubicBezTo>
                    <a:pt x="32" y="75"/>
                    <a:pt x="32" y="75"/>
                    <a:pt x="32" y="75"/>
                  </a:cubicBezTo>
                  <a:cubicBezTo>
                    <a:pt x="31" y="75"/>
                    <a:pt x="31" y="75"/>
                    <a:pt x="31" y="75"/>
                  </a:cubicBezTo>
                  <a:cubicBezTo>
                    <a:pt x="30" y="76"/>
                    <a:pt x="30" y="76"/>
                    <a:pt x="30" y="76"/>
                  </a:cubicBezTo>
                  <a:cubicBezTo>
                    <a:pt x="29" y="76"/>
                    <a:pt x="29" y="76"/>
                    <a:pt x="29" y="76"/>
                  </a:cubicBezTo>
                  <a:cubicBezTo>
                    <a:pt x="29" y="77"/>
                    <a:pt x="29" y="77"/>
                    <a:pt x="29" y="77"/>
                  </a:cubicBezTo>
                  <a:cubicBezTo>
                    <a:pt x="28" y="77"/>
                    <a:pt x="28" y="77"/>
                    <a:pt x="28" y="77"/>
                  </a:cubicBezTo>
                  <a:cubicBezTo>
                    <a:pt x="28" y="78"/>
                    <a:pt x="28" y="78"/>
                    <a:pt x="28" y="78"/>
                  </a:cubicBezTo>
                  <a:cubicBezTo>
                    <a:pt x="28" y="78"/>
                    <a:pt x="28" y="78"/>
                    <a:pt x="28" y="78"/>
                  </a:cubicBezTo>
                  <a:cubicBezTo>
                    <a:pt x="27" y="78"/>
                    <a:pt x="27" y="78"/>
                    <a:pt x="27" y="78"/>
                  </a:cubicBezTo>
                  <a:cubicBezTo>
                    <a:pt x="27" y="78"/>
                    <a:pt x="27" y="78"/>
                    <a:pt x="27" y="78"/>
                  </a:cubicBezTo>
                  <a:cubicBezTo>
                    <a:pt x="26" y="79"/>
                    <a:pt x="25" y="79"/>
                    <a:pt x="24" y="79"/>
                  </a:cubicBezTo>
                  <a:cubicBezTo>
                    <a:pt x="22" y="79"/>
                    <a:pt x="22" y="79"/>
                    <a:pt x="22" y="79"/>
                  </a:cubicBezTo>
                  <a:cubicBezTo>
                    <a:pt x="21" y="76"/>
                    <a:pt x="21" y="76"/>
                    <a:pt x="21" y="76"/>
                  </a:cubicBezTo>
                  <a:cubicBezTo>
                    <a:pt x="21" y="76"/>
                    <a:pt x="21" y="75"/>
                    <a:pt x="22" y="75"/>
                  </a:cubicBezTo>
                  <a:cubicBezTo>
                    <a:pt x="18" y="73"/>
                    <a:pt x="14" y="71"/>
                    <a:pt x="12" y="71"/>
                  </a:cubicBezTo>
                  <a:cubicBezTo>
                    <a:pt x="11" y="71"/>
                    <a:pt x="9" y="72"/>
                    <a:pt x="7" y="73"/>
                  </a:cubicBezTo>
                  <a:cubicBezTo>
                    <a:pt x="7" y="73"/>
                    <a:pt x="7" y="73"/>
                    <a:pt x="7" y="73"/>
                  </a:cubicBezTo>
                  <a:cubicBezTo>
                    <a:pt x="6" y="73"/>
                    <a:pt x="5" y="73"/>
                    <a:pt x="4" y="74"/>
                  </a:cubicBezTo>
                  <a:cubicBezTo>
                    <a:pt x="4" y="74"/>
                    <a:pt x="4" y="74"/>
                    <a:pt x="4" y="74"/>
                  </a:cubicBezTo>
                  <a:cubicBezTo>
                    <a:pt x="4" y="74"/>
                    <a:pt x="4" y="74"/>
                    <a:pt x="3" y="76"/>
                  </a:cubicBezTo>
                  <a:cubicBezTo>
                    <a:pt x="2" y="77"/>
                    <a:pt x="2" y="77"/>
                    <a:pt x="2" y="78"/>
                  </a:cubicBezTo>
                  <a:cubicBezTo>
                    <a:pt x="0" y="80"/>
                    <a:pt x="0" y="80"/>
                    <a:pt x="0" y="80"/>
                  </a:cubicBezTo>
                  <a:cubicBezTo>
                    <a:pt x="0" y="84"/>
                    <a:pt x="0" y="84"/>
                    <a:pt x="0" y="84"/>
                  </a:cubicBezTo>
                  <a:cubicBezTo>
                    <a:pt x="4" y="84"/>
                    <a:pt x="8" y="84"/>
                    <a:pt x="13" y="84"/>
                  </a:cubicBezTo>
                  <a:cubicBezTo>
                    <a:pt x="17" y="84"/>
                    <a:pt x="21" y="84"/>
                    <a:pt x="25" y="84"/>
                  </a:cubicBezTo>
                  <a:cubicBezTo>
                    <a:pt x="29" y="85"/>
                    <a:pt x="33" y="86"/>
                    <a:pt x="37" y="87"/>
                  </a:cubicBezTo>
                  <a:cubicBezTo>
                    <a:pt x="38" y="83"/>
                    <a:pt x="38" y="83"/>
                    <a:pt x="38" y="83"/>
                  </a:cubicBezTo>
                  <a:cubicBezTo>
                    <a:pt x="38" y="87"/>
                    <a:pt x="38" y="87"/>
                    <a:pt x="38" y="87"/>
                  </a:cubicBezTo>
                  <a:cubicBezTo>
                    <a:pt x="39" y="87"/>
                    <a:pt x="43" y="85"/>
                    <a:pt x="44" y="84"/>
                  </a:cubicBezTo>
                  <a:cubicBezTo>
                    <a:pt x="45" y="84"/>
                    <a:pt x="45" y="84"/>
                    <a:pt x="45" y="84"/>
                  </a:cubicBezTo>
                  <a:cubicBezTo>
                    <a:pt x="46" y="83"/>
                    <a:pt x="47" y="83"/>
                    <a:pt x="48" y="83"/>
                  </a:cubicBezTo>
                  <a:cubicBezTo>
                    <a:pt x="51" y="81"/>
                    <a:pt x="51" y="81"/>
                    <a:pt x="51" y="81"/>
                  </a:cubicBezTo>
                  <a:cubicBezTo>
                    <a:pt x="52" y="86"/>
                    <a:pt x="52" y="86"/>
                    <a:pt x="52" y="86"/>
                  </a:cubicBezTo>
                  <a:cubicBezTo>
                    <a:pt x="52" y="86"/>
                    <a:pt x="52" y="86"/>
                    <a:pt x="52" y="86"/>
                  </a:cubicBezTo>
                  <a:cubicBezTo>
                    <a:pt x="57" y="86"/>
                    <a:pt x="57" y="90"/>
                    <a:pt x="58" y="91"/>
                  </a:cubicBezTo>
                  <a:cubicBezTo>
                    <a:pt x="58" y="91"/>
                    <a:pt x="58" y="91"/>
                    <a:pt x="58" y="91"/>
                  </a:cubicBezTo>
                  <a:cubicBezTo>
                    <a:pt x="59" y="91"/>
                    <a:pt x="59" y="91"/>
                    <a:pt x="59" y="91"/>
                  </a:cubicBezTo>
                  <a:cubicBezTo>
                    <a:pt x="62" y="92"/>
                    <a:pt x="64" y="92"/>
                    <a:pt x="66" y="93"/>
                  </a:cubicBezTo>
                  <a:cubicBezTo>
                    <a:pt x="66" y="93"/>
                    <a:pt x="66" y="93"/>
                    <a:pt x="66" y="93"/>
                  </a:cubicBezTo>
                  <a:cubicBezTo>
                    <a:pt x="66" y="65"/>
                    <a:pt x="66" y="65"/>
                    <a:pt x="66" y="65"/>
                  </a:cubicBezTo>
                  <a:cubicBezTo>
                    <a:pt x="65" y="65"/>
                    <a:pt x="65" y="65"/>
                    <a:pt x="65" y="65"/>
                  </a:cubicBezTo>
                  <a:moveTo>
                    <a:pt x="63" y="0"/>
                  </a:moveTo>
                  <a:cubicBezTo>
                    <a:pt x="51" y="0"/>
                    <a:pt x="51" y="0"/>
                    <a:pt x="51" y="0"/>
                  </a:cubicBezTo>
                  <a:cubicBezTo>
                    <a:pt x="51" y="0"/>
                    <a:pt x="51" y="0"/>
                    <a:pt x="51" y="0"/>
                  </a:cubicBezTo>
                  <a:cubicBezTo>
                    <a:pt x="51" y="0"/>
                    <a:pt x="50" y="0"/>
                    <a:pt x="50" y="0"/>
                  </a:cubicBezTo>
                  <a:cubicBezTo>
                    <a:pt x="49" y="0"/>
                    <a:pt x="48" y="0"/>
                    <a:pt x="48" y="0"/>
                  </a:cubicBezTo>
                  <a:cubicBezTo>
                    <a:pt x="47" y="0"/>
                    <a:pt x="47" y="0"/>
                    <a:pt x="47" y="0"/>
                  </a:cubicBezTo>
                  <a:cubicBezTo>
                    <a:pt x="47" y="0"/>
                    <a:pt x="47" y="0"/>
                    <a:pt x="47" y="0"/>
                  </a:cubicBezTo>
                  <a:cubicBezTo>
                    <a:pt x="46" y="0"/>
                    <a:pt x="46" y="0"/>
                    <a:pt x="46" y="0"/>
                  </a:cubicBezTo>
                  <a:cubicBezTo>
                    <a:pt x="45" y="1"/>
                    <a:pt x="45" y="2"/>
                    <a:pt x="44" y="3"/>
                  </a:cubicBezTo>
                  <a:cubicBezTo>
                    <a:pt x="43" y="2"/>
                    <a:pt x="43" y="2"/>
                    <a:pt x="43" y="2"/>
                  </a:cubicBezTo>
                  <a:cubicBezTo>
                    <a:pt x="44" y="3"/>
                    <a:pt x="44" y="3"/>
                    <a:pt x="44" y="3"/>
                  </a:cubicBezTo>
                  <a:cubicBezTo>
                    <a:pt x="43" y="3"/>
                    <a:pt x="43" y="4"/>
                    <a:pt x="43" y="4"/>
                  </a:cubicBezTo>
                  <a:cubicBezTo>
                    <a:pt x="41" y="6"/>
                    <a:pt x="41" y="6"/>
                    <a:pt x="41" y="6"/>
                  </a:cubicBezTo>
                  <a:cubicBezTo>
                    <a:pt x="40" y="7"/>
                    <a:pt x="39" y="8"/>
                    <a:pt x="38" y="8"/>
                  </a:cubicBezTo>
                  <a:cubicBezTo>
                    <a:pt x="39" y="9"/>
                    <a:pt x="39" y="9"/>
                    <a:pt x="39" y="9"/>
                  </a:cubicBezTo>
                  <a:cubicBezTo>
                    <a:pt x="39" y="9"/>
                    <a:pt x="39" y="9"/>
                    <a:pt x="39" y="9"/>
                  </a:cubicBezTo>
                  <a:cubicBezTo>
                    <a:pt x="39" y="9"/>
                    <a:pt x="40" y="9"/>
                    <a:pt x="42" y="9"/>
                  </a:cubicBezTo>
                  <a:cubicBezTo>
                    <a:pt x="43" y="9"/>
                    <a:pt x="43" y="9"/>
                    <a:pt x="44" y="10"/>
                  </a:cubicBezTo>
                  <a:cubicBezTo>
                    <a:pt x="51" y="11"/>
                    <a:pt x="51" y="11"/>
                    <a:pt x="51" y="11"/>
                  </a:cubicBezTo>
                  <a:cubicBezTo>
                    <a:pt x="41" y="17"/>
                    <a:pt x="41" y="17"/>
                    <a:pt x="41" y="17"/>
                  </a:cubicBezTo>
                  <a:cubicBezTo>
                    <a:pt x="38" y="19"/>
                    <a:pt x="28" y="26"/>
                    <a:pt x="23" y="30"/>
                  </a:cubicBezTo>
                  <a:cubicBezTo>
                    <a:pt x="23" y="30"/>
                    <a:pt x="23" y="30"/>
                    <a:pt x="23" y="30"/>
                  </a:cubicBezTo>
                  <a:cubicBezTo>
                    <a:pt x="23" y="30"/>
                    <a:pt x="23" y="30"/>
                    <a:pt x="24" y="30"/>
                  </a:cubicBezTo>
                  <a:cubicBezTo>
                    <a:pt x="24" y="30"/>
                    <a:pt x="24" y="30"/>
                    <a:pt x="24" y="30"/>
                  </a:cubicBezTo>
                  <a:cubicBezTo>
                    <a:pt x="25" y="31"/>
                    <a:pt x="25" y="31"/>
                    <a:pt x="26" y="31"/>
                  </a:cubicBezTo>
                  <a:cubicBezTo>
                    <a:pt x="31" y="29"/>
                    <a:pt x="31" y="29"/>
                    <a:pt x="31" y="29"/>
                  </a:cubicBezTo>
                  <a:cubicBezTo>
                    <a:pt x="32" y="32"/>
                    <a:pt x="32" y="32"/>
                    <a:pt x="32" y="32"/>
                  </a:cubicBezTo>
                  <a:cubicBezTo>
                    <a:pt x="33" y="33"/>
                    <a:pt x="33" y="33"/>
                    <a:pt x="33" y="34"/>
                  </a:cubicBezTo>
                  <a:cubicBezTo>
                    <a:pt x="33" y="36"/>
                    <a:pt x="34" y="36"/>
                    <a:pt x="34" y="37"/>
                  </a:cubicBezTo>
                  <a:cubicBezTo>
                    <a:pt x="35" y="37"/>
                    <a:pt x="35" y="37"/>
                    <a:pt x="35" y="37"/>
                  </a:cubicBezTo>
                  <a:cubicBezTo>
                    <a:pt x="38" y="38"/>
                    <a:pt x="41" y="39"/>
                    <a:pt x="44" y="39"/>
                  </a:cubicBezTo>
                  <a:cubicBezTo>
                    <a:pt x="44" y="38"/>
                    <a:pt x="44" y="37"/>
                    <a:pt x="45" y="36"/>
                  </a:cubicBezTo>
                  <a:cubicBezTo>
                    <a:pt x="46" y="32"/>
                    <a:pt x="46" y="32"/>
                    <a:pt x="46" y="32"/>
                  </a:cubicBezTo>
                  <a:cubicBezTo>
                    <a:pt x="48" y="34"/>
                    <a:pt x="48" y="34"/>
                    <a:pt x="48" y="34"/>
                  </a:cubicBezTo>
                  <a:cubicBezTo>
                    <a:pt x="49" y="29"/>
                    <a:pt x="49" y="29"/>
                    <a:pt x="49" y="29"/>
                  </a:cubicBezTo>
                  <a:cubicBezTo>
                    <a:pt x="52" y="30"/>
                    <a:pt x="52" y="30"/>
                    <a:pt x="52" y="30"/>
                  </a:cubicBezTo>
                  <a:cubicBezTo>
                    <a:pt x="57" y="31"/>
                    <a:pt x="59" y="34"/>
                    <a:pt x="61" y="37"/>
                  </a:cubicBezTo>
                  <a:cubicBezTo>
                    <a:pt x="61" y="38"/>
                    <a:pt x="61" y="38"/>
                    <a:pt x="61" y="38"/>
                  </a:cubicBezTo>
                  <a:cubicBezTo>
                    <a:pt x="61" y="38"/>
                    <a:pt x="61" y="38"/>
                    <a:pt x="61" y="38"/>
                  </a:cubicBezTo>
                  <a:cubicBezTo>
                    <a:pt x="62" y="38"/>
                    <a:pt x="63" y="38"/>
                    <a:pt x="63" y="38"/>
                  </a:cubicBezTo>
                  <a:cubicBezTo>
                    <a:pt x="64" y="38"/>
                    <a:pt x="65" y="38"/>
                    <a:pt x="66" y="38"/>
                  </a:cubicBezTo>
                  <a:cubicBezTo>
                    <a:pt x="66" y="0"/>
                    <a:pt x="66" y="0"/>
                    <a:pt x="66" y="0"/>
                  </a:cubicBezTo>
                  <a:cubicBezTo>
                    <a:pt x="66" y="0"/>
                    <a:pt x="66" y="0"/>
                    <a:pt x="66" y="0"/>
                  </a:cubicBezTo>
                  <a:cubicBezTo>
                    <a:pt x="65" y="0"/>
                    <a:pt x="65" y="0"/>
                    <a:pt x="65" y="0"/>
                  </a:cubicBezTo>
                  <a:cubicBezTo>
                    <a:pt x="64" y="0"/>
                    <a:pt x="64"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295"/>
            <p:cNvSpPr>
              <a:spLocks noChangeArrowheads="1"/>
            </p:cNvSpPr>
            <p:nvPr/>
          </p:nvSpPr>
          <p:spPr bwMode="auto">
            <a:xfrm>
              <a:off x="7631" y="22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296"/>
            <p:cNvSpPr>
              <a:spLocks noChangeArrowheads="1"/>
            </p:cNvSpPr>
            <p:nvPr/>
          </p:nvSpPr>
          <p:spPr bwMode="auto">
            <a:xfrm>
              <a:off x="7631" y="22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297"/>
            <p:cNvSpPr>
              <a:spLocks noEditPoints="1"/>
            </p:cNvSpPr>
            <p:nvPr/>
          </p:nvSpPr>
          <p:spPr bwMode="auto">
            <a:xfrm>
              <a:off x="6783" y="13"/>
              <a:ext cx="895" cy="567"/>
            </a:xfrm>
            <a:custGeom>
              <a:gdLst>
                <a:gd name="T0" fmla="*/ 75 w 379"/>
                <a:gd name="T1" fmla="*/ 11 h 240"/>
                <a:gd name="T2" fmla="*/ 67 w 379"/>
                <a:gd name="T3" fmla="*/ 1 h 240"/>
                <a:gd name="T4" fmla="*/ 62 w 379"/>
                <a:gd name="T5" fmla="*/ 9 h 240"/>
                <a:gd name="T6" fmla="*/ 60 w 379"/>
                <a:gd name="T7" fmla="*/ 25 h 240"/>
                <a:gd name="T8" fmla="*/ 61 w 379"/>
                <a:gd name="T9" fmla="*/ 32 h 240"/>
                <a:gd name="T10" fmla="*/ 52 w 379"/>
                <a:gd name="T11" fmla="*/ 41 h 240"/>
                <a:gd name="T12" fmla="*/ 57 w 379"/>
                <a:gd name="T13" fmla="*/ 10 h 240"/>
                <a:gd name="T14" fmla="*/ 0 w 379"/>
                <a:gd name="T15" fmla="*/ 25 h 240"/>
                <a:gd name="T16" fmla="*/ 9 w 379"/>
                <a:gd name="T17" fmla="*/ 126 h 240"/>
                <a:gd name="T18" fmla="*/ 19 w 379"/>
                <a:gd name="T19" fmla="*/ 125 h 240"/>
                <a:gd name="T20" fmla="*/ 33 w 379"/>
                <a:gd name="T21" fmla="*/ 103 h 240"/>
                <a:gd name="T22" fmla="*/ 50 w 379"/>
                <a:gd name="T23" fmla="*/ 93 h 240"/>
                <a:gd name="T24" fmla="*/ 67 w 379"/>
                <a:gd name="T25" fmla="*/ 91 h 240"/>
                <a:gd name="T26" fmla="*/ 84 w 379"/>
                <a:gd name="T27" fmla="*/ 98 h 240"/>
                <a:gd name="T28" fmla="*/ 99 w 379"/>
                <a:gd name="T29" fmla="*/ 118 h 240"/>
                <a:gd name="T30" fmla="*/ 99 w 379"/>
                <a:gd name="T31" fmla="*/ 126 h 240"/>
                <a:gd name="T32" fmla="*/ 120 w 379"/>
                <a:gd name="T33" fmla="*/ 130 h 240"/>
                <a:gd name="T34" fmla="*/ 145 w 379"/>
                <a:gd name="T35" fmla="*/ 149 h 240"/>
                <a:gd name="T36" fmla="*/ 157 w 379"/>
                <a:gd name="T37" fmla="*/ 167 h 240"/>
                <a:gd name="T38" fmla="*/ 206 w 379"/>
                <a:gd name="T39" fmla="*/ 199 h 240"/>
                <a:gd name="T40" fmla="*/ 226 w 379"/>
                <a:gd name="T41" fmla="*/ 211 h 240"/>
                <a:gd name="T42" fmla="*/ 251 w 379"/>
                <a:gd name="T43" fmla="*/ 222 h 240"/>
                <a:gd name="T44" fmla="*/ 255 w 379"/>
                <a:gd name="T45" fmla="*/ 235 h 240"/>
                <a:gd name="T46" fmla="*/ 268 w 379"/>
                <a:gd name="T47" fmla="*/ 240 h 240"/>
                <a:gd name="T48" fmla="*/ 273 w 379"/>
                <a:gd name="T49" fmla="*/ 234 h 240"/>
                <a:gd name="T50" fmla="*/ 284 w 379"/>
                <a:gd name="T51" fmla="*/ 214 h 240"/>
                <a:gd name="T52" fmla="*/ 276 w 379"/>
                <a:gd name="T53" fmla="*/ 195 h 240"/>
                <a:gd name="T54" fmla="*/ 268 w 379"/>
                <a:gd name="T55" fmla="*/ 175 h 240"/>
                <a:gd name="T56" fmla="*/ 289 w 379"/>
                <a:gd name="T57" fmla="*/ 175 h 240"/>
                <a:gd name="T58" fmla="*/ 303 w 379"/>
                <a:gd name="T59" fmla="*/ 156 h 240"/>
                <a:gd name="T60" fmla="*/ 311 w 379"/>
                <a:gd name="T61" fmla="*/ 141 h 240"/>
                <a:gd name="T62" fmla="*/ 319 w 379"/>
                <a:gd name="T63" fmla="*/ 144 h 240"/>
                <a:gd name="T64" fmla="*/ 329 w 379"/>
                <a:gd name="T65" fmla="*/ 139 h 240"/>
                <a:gd name="T66" fmla="*/ 347 w 379"/>
                <a:gd name="T67" fmla="*/ 147 h 240"/>
                <a:gd name="T68" fmla="*/ 351 w 379"/>
                <a:gd name="T69" fmla="*/ 155 h 240"/>
                <a:gd name="T70" fmla="*/ 370 w 379"/>
                <a:gd name="T71" fmla="*/ 157 h 240"/>
                <a:gd name="T72" fmla="*/ 377 w 379"/>
                <a:gd name="T73" fmla="*/ 150 h 240"/>
                <a:gd name="T74" fmla="*/ 375 w 379"/>
                <a:gd name="T75" fmla="*/ 137 h 240"/>
                <a:gd name="T76" fmla="*/ 367 w 379"/>
                <a:gd name="T77" fmla="*/ 128 h 240"/>
                <a:gd name="T78" fmla="*/ 363 w 379"/>
                <a:gd name="T79" fmla="*/ 137 h 240"/>
                <a:gd name="T80" fmla="*/ 341 w 379"/>
                <a:gd name="T81" fmla="*/ 128 h 240"/>
                <a:gd name="T82" fmla="*/ 330 w 379"/>
                <a:gd name="T83" fmla="*/ 126 h 240"/>
                <a:gd name="T84" fmla="*/ 311 w 379"/>
                <a:gd name="T85" fmla="*/ 128 h 240"/>
                <a:gd name="T86" fmla="*/ 297 w 379"/>
                <a:gd name="T87" fmla="*/ 142 h 240"/>
                <a:gd name="T88" fmla="*/ 292 w 379"/>
                <a:gd name="T89" fmla="*/ 151 h 240"/>
                <a:gd name="T90" fmla="*/ 278 w 379"/>
                <a:gd name="T91" fmla="*/ 140 h 240"/>
                <a:gd name="T92" fmla="*/ 273 w 379"/>
                <a:gd name="T93" fmla="*/ 135 h 240"/>
                <a:gd name="T94" fmla="*/ 245 w 379"/>
                <a:gd name="T95" fmla="*/ 127 h 240"/>
                <a:gd name="T96" fmla="*/ 237 w 379"/>
                <a:gd name="T97" fmla="*/ 112 h 240"/>
                <a:gd name="T98" fmla="*/ 231 w 379"/>
                <a:gd name="T99" fmla="*/ 94 h 240"/>
                <a:gd name="T100" fmla="*/ 224 w 379"/>
                <a:gd name="T101" fmla="*/ 80 h 240"/>
                <a:gd name="T102" fmla="*/ 204 w 379"/>
                <a:gd name="T103" fmla="*/ 64 h 240"/>
                <a:gd name="T104" fmla="*/ 181 w 379"/>
                <a:gd name="T105" fmla="*/ 66 h 240"/>
                <a:gd name="T106" fmla="*/ 135 w 379"/>
                <a:gd name="T107" fmla="*/ 67 h 240"/>
                <a:gd name="T108" fmla="*/ 94 w 379"/>
                <a:gd name="T109" fmla="*/ 31 h 240"/>
                <a:gd name="T110" fmla="*/ 84 w 379"/>
                <a:gd name="T111" fmla="*/ 50 h 240"/>
                <a:gd name="T112" fmla="*/ 79 w 379"/>
                <a:gd name="T113" fmla="*/ 19 h 240"/>
                <a:gd name="T114" fmla="*/ 77 w 379"/>
                <a:gd name="T115" fmla="*/ 11 h 2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9" h="240">
                  <a:moveTo>
                    <a:pt x="75" y="11"/>
                  </a:moveTo>
                  <a:cubicBezTo>
                    <a:pt x="75" y="11"/>
                    <a:pt x="75" y="11"/>
                    <a:pt x="75" y="11"/>
                  </a:cubicBezTo>
                  <a:cubicBezTo>
                    <a:pt x="75" y="11"/>
                    <a:pt x="75" y="11"/>
                    <a:pt x="75" y="11"/>
                  </a:cubicBezTo>
                  <a:cubicBezTo>
                    <a:pt x="75" y="11"/>
                    <a:pt x="75" y="11"/>
                    <a:pt x="75" y="11"/>
                  </a:cubicBezTo>
                  <a:moveTo>
                    <a:pt x="75" y="13"/>
                  </a:moveTo>
                  <a:cubicBezTo>
                    <a:pt x="75" y="13"/>
                    <a:pt x="75" y="13"/>
                    <a:pt x="75" y="13"/>
                  </a:cubicBezTo>
                  <a:cubicBezTo>
                    <a:pt x="75" y="12"/>
                    <a:pt x="75" y="10"/>
                    <a:pt x="75" y="8"/>
                  </a:cubicBezTo>
                  <a:cubicBezTo>
                    <a:pt x="77" y="9"/>
                    <a:pt x="75" y="9"/>
                    <a:pt x="75" y="11"/>
                  </a:cubicBezTo>
                  <a:cubicBezTo>
                    <a:pt x="75" y="11"/>
                    <a:pt x="75" y="11"/>
                    <a:pt x="75" y="12"/>
                  </a:cubicBezTo>
                  <a:cubicBezTo>
                    <a:pt x="75" y="13"/>
                    <a:pt x="75" y="13"/>
                    <a:pt x="75" y="13"/>
                  </a:cubicBezTo>
                  <a:moveTo>
                    <a:pt x="70" y="0"/>
                  </a:moveTo>
                  <a:cubicBezTo>
                    <a:pt x="69" y="0"/>
                    <a:pt x="69" y="1"/>
                    <a:pt x="69" y="2"/>
                  </a:cubicBezTo>
                  <a:cubicBezTo>
                    <a:pt x="69" y="3"/>
                    <a:pt x="69" y="4"/>
                    <a:pt x="68" y="4"/>
                  </a:cubicBezTo>
                  <a:cubicBezTo>
                    <a:pt x="68" y="4"/>
                    <a:pt x="68" y="4"/>
                    <a:pt x="68" y="4"/>
                  </a:cubicBezTo>
                  <a:cubicBezTo>
                    <a:pt x="67" y="3"/>
                    <a:pt x="69" y="1"/>
                    <a:pt x="68" y="1"/>
                  </a:cubicBezTo>
                  <a:cubicBezTo>
                    <a:pt x="68" y="1"/>
                    <a:pt x="68" y="1"/>
                    <a:pt x="67" y="1"/>
                  </a:cubicBezTo>
                  <a:cubicBezTo>
                    <a:pt x="66" y="1"/>
                    <a:pt x="67" y="4"/>
                    <a:pt x="67" y="4"/>
                  </a:cubicBezTo>
                  <a:cubicBezTo>
                    <a:pt x="67" y="6"/>
                    <a:pt x="65" y="7"/>
                    <a:pt x="64" y="8"/>
                  </a:cubicBezTo>
                  <a:cubicBezTo>
                    <a:pt x="64" y="8"/>
                    <a:pt x="64" y="8"/>
                    <a:pt x="64" y="8"/>
                  </a:cubicBezTo>
                  <a:cubicBezTo>
                    <a:pt x="62" y="9"/>
                    <a:pt x="62" y="9"/>
                    <a:pt x="62" y="9"/>
                  </a:cubicBezTo>
                  <a:cubicBezTo>
                    <a:pt x="62" y="9"/>
                    <a:pt x="62" y="9"/>
                    <a:pt x="62" y="9"/>
                  </a:cubicBezTo>
                  <a:cubicBezTo>
                    <a:pt x="62" y="9"/>
                    <a:pt x="62" y="9"/>
                    <a:pt x="62" y="9"/>
                  </a:cubicBezTo>
                  <a:cubicBezTo>
                    <a:pt x="62" y="9"/>
                    <a:pt x="62" y="9"/>
                    <a:pt x="62" y="9"/>
                  </a:cubicBezTo>
                  <a:cubicBezTo>
                    <a:pt x="62" y="9"/>
                    <a:pt x="62" y="9"/>
                    <a:pt x="62" y="9"/>
                  </a:cubicBezTo>
                  <a:cubicBezTo>
                    <a:pt x="62" y="9"/>
                    <a:pt x="62" y="9"/>
                    <a:pt x="62" y="9"/>
                  </a:cubicBezTo>
                  <a:cubicBezTo>
                    <a:pt x="61" y="11"/>
                    <a:pt x="61" y="11"/>
                    <a:pt x="61" y="11"/>
                  </a:cubicBezTo>
                  <a:cubicBezTo>
                    <a:pt x="61" y="11"/>
                    <a:pt x="61" y="11"/>
                    <a:pt x="61" y="11"/>
                  </a:cubicBezTo>
                  <a:cubicBezTo>
                    <a:pt x="60" y="13"/>
                    <a:pt x="60" y="14"/>
                    <a:pt x="60" y="16"/>
                  </a:cubicBezTo>
                  <a:cubicBezTo>
                    <a:pt x="61" y="17"/>
                    <a:pt x="62" y="18"/>
                    <a:pt x="62" y="19"/>
                  </a:cubicBezTo>
                  <a:cubicBezTo>
                    <a:pt x="62" y="20"/>
                    <a:pt x="60" y="21"/>
                    <a:pt x="59" y="22"/>
                  </a:cubicBezTo>
                  <a:cubicBezTo>
                    <a:pt x="59" y="23"/>
                    <a:pt x="58" y="25"/>
                    <a:pt x="59" y="25"/>
                  </a:cubicBezTo>
                  <a:cubicBezTo>
                    <a:pt x="60" y="25"/>
                    <a:pt x="60" y="25"/>
                    <a:pt x="60" y="25"/>
                  </a:cubicBezTo>
                  <a:cubicBezTo>
                    <a:pt x="61" y="24"/>
                    <a:pt x="63" y="23"/>
                    <a:pt x="63" y="23"/>
                  </a:cubicBezTo>
                  <a:cubicBezTo>
                    <a:pt x="63" y="23"/>
                    <a:pt x="63" y="23"/>
                    <a:pt x="62" y="24"/>
                  </a:cubicBezTo>
                  <a:cubicBezTo>
                    <a:pt x="63" y="25"/>
                    <a:pt x="62" y="25"/>
                    <a:pt x="61" y="26"/>
                  </a:cubicBezTo>
                  <a:cubicBezTo>
                    <a:pt x="61" y="26"/>
                    <a:pt x="61" y="27"/>
                    <a:pt x="61" y="28"/>
                  </a:cubicBezTo>
                  <a:cubicBezTo>
                    <a:pt x="61" y="31"/>
                    <a:pt x="63" y="30"/>
                    <a:pt x="63" y="32"/>
                  </a:cubicBezTo>
                  <a:cubicBezTo>
                    <a:pt x="63" y="32"/>
                    <a:pt x="63" y="32"/>
                    <a:pt x="62" y="32"/>
                  </a:cubicBezTo>
                  <a:cubicBezTo>
                    <a:pt x="62" y="32"/>
                    <a:pt x="62" y="32"/>
                    <a:pt x="62" y="32"/>
                  </a:cubicBezTo>
                  <a:cubicBezTo>
                    <a:pt x="61" y="32"/>
                    <a:pt x="61" y="32"/>
                    <a:pt x="61" y="32"/>
                  </a:cubicBezTo>
                  <a:cubicBezTo>
                    <a:pt x="61" y="32"/>
                    <a:pt x="61" y="32"/>
                    <a:pt x="60" y="32"/>
                  </a:cubicBezTo>
                  <a:cubicBezTo>
                    <a:pt x="60" y="32"/>
                    <a:pt x="59" y="31"/>
                    <a:pt x="59" y="31"/>
                  </a:cubicBezTo>
                  <a:cubicBezTo>
                    <a:pt x="58" y="31"/>
                    <a:pt x="58" y="31"/>
                    <a:pt x="58" y="32"/>
                  </a:cubicBezTo>
                  <a:cubicBezTo>
                    <a:pt x="58" y="33"/>
                    <a:pt x="58" y="33"/>
                    <a:pt x="58" y="33"/>
                  </a:cubicBezTo>
                  <a:cubicBezTo>
                    <a:pt x="58" y="33"/>
                    <a:pt x="59" y="33"/>
                    <a:pt x="59" y="33"/>
                  </a:cubicBezTo>
                  <a:cubicBezTo>
                    <a:pt x="59" y="33"/>
                    <a:pt x="59" y="33"/>
                    <a:pt x="59" y="33"/>
                  </a:cubicBezTo>
                  <a:cubicBezTo>
                    <a:pt x="59" y="33"/>
                    <a:pt x="60" y="34"/>
                    <a:pt x="59" y="35"/>
                  </a:cubicBezTo>
                  <a:cubicBezTo>
                    <a:pt x="58" y="38"/>
                    <a:pt x="54" y="41"/>
                    <a:pt x="52" y="41"/>
                  </a:cubicBezTo>
                  <a:cubicBezTo>
                    <a:pt x="50" y="41"/>
                    <a:pt x="49" y="40"/>
                    <a:pt x="49" y="37"/>
                  </a:cubicBezTo>
                  <a:cubicBezTo>
                    <a:pt x="50" y="36"/>
                    <a:pt x="51" y="36"/>
                    <a:pt x="51" y="34"/>
                  </a:cubicBezTo>
                  <a:cubicBezTo>
                    <a:pt x="51" y="33"/>
                    <a:pt x="50" y="32"/>
                    <a:pt x="49" y="31"/>
                  </a:cubicBezTo>
                  <a:cubicBezTo>
                    <a:pt x="48" y="28"/>
                    <a:pt x="50" y="27"/>
                    <a:pt x="51" y="24"/>
                  </a:cubicBezTo>
                  <a:cubicBezTo>
                    <a:pt x="51" y="22"/>
                    <a:pt x="52" y="19"/>
                    <a:pt x="53" y="18"/>
                  </a:cubicBezTo>
                  <a:cubicBezTo>
                    <a:pt x="53" y="17"/>
                    <a:pt x="53" y="16"/>
                    <a:pt x="54" y="14"/>
                  </a:cubicBezTo>
                  <a:cubicBezTo>
                    <a:pt x="55" y="13"/>
                    <a:pt x="56" y="13"/>
                    <a:pt x="57" y="12"/>
                  </a:cubicBezTo>
                  <a:cubicBezTo>
                    <a:pt x="57" y="11"/>
                    <a:pt x="57" y="11"/>
                    <a:pt x="57" y="10"/>
                  </a:cubicBezTo>
                  <a:cubicBezTo>
                    <a:pt x="57" y="10"/>
                    <a:pt x="57" y="10"/>
                    <a:pt x="57" y="10"/>
                  </a:cubicBezTo>
                  <a:cubicBezTo>
                    <a:pt x="54" y="10"/>
                    <a:pt x="54" y="10"/>
                    <a:pt x="54" y="10"/>
                  </a:cubicBezTo>
                  <a:cubicBezTo>
                    <a:pt x="53" y="11"/>
                    <a:pt x="51" y="11"/>
                    <a:pt x="49" y="12"/>
                  </a:cubicBezTo>
                  <a:cubicBezTo>
                    <a:pt x="47" y="12"/>
                    <a:pt x="47" y="12"/>
                    <a:pt x="47" y="12"/>
                  </a:cubicBezTo>
                  <a:cubicBezTo>
                    <a:pt x="41" y="14"/>
                    <a:pt x="41" y="14"/>
                    <a:pt x="41" y="14"/>
                  </a:cubicBezTo>
                  <a:cubicBezTo>
                    <a:pt x="29" y="17"/>
                    <a:pt x="18" y="20"/>
                    <a:pt x="8" y="23"/>
                  </a:cubicBezTo>
                  <a:cubicBezTo>
                    <a:pt x="7" y="23"/>
                    <a:pt x="6" y="23"/>
                    <a:pt x="5" y="24"/>
                  </a:cubicBezTo>
                  <a:cubicBezTo>
                    <a:pt x="3" y="24"/>
                    <a:pt x="1" y="24"/>
                    <a:pt x="0" y="25"/>
                  </a:cubicBezTo>
                  <a:cubicBezTo>
                    <a:pt x="0" y="25"/>
                    <a:pt x="0" y="25"/>
                    <a:pt x="0" y="25"/>
                  </a:cubicBezTo>
                  <a:cubicBezTo>
                    <a:pt x="0" y="26"/>
                    <a:pt x="0" y="26"/>
                    <a:pt x="0" y="26"/>
                  </a:cubicBezTo>
                  <a:cubicBezTo>
                    <a:pt x="0" y="41"/>
                    <a:pt x="0" y="57"/>
                    <a:pt x="0" y="73"/>
                  </a:cubicBezTo>
                  <a:cubicBezTo>
                    <a:pt x="0" y="125"/>
                    <a:pt x="0" y="125"/>
                    <a:pt x="0" y="125"/>
                  </a:cubicBezTo>
                  <a:cubicBezTo>
                    <a:pt x="6" y="125"/>
                    <a:pt x="6" y="125"/>
                    <a:pt x="6" y="125"/>
                  </a:cubicBezTo>
                  <a:cubicBezTo>
                    <a:pt x="5" y="126"/>
                    <a:pt x="5" y="126"/>
                    <a:pt x="5" y="126"/>
                  </a:cubicBezTo>
                  <a:cubicBezTo>
                    <a:pt x="5" y="126"/>
                    <a:pt x="5" y="126"/>
                    <a:pt x="5" y="126"/>
                  </a:cubicBezTo>
                  <a:cubicBezTo>
                    <a:pt x="6" y="126"/>
                    <a:pt x="8" y="126"/>
                    <a:pt x="9" y="126"/>
                  </a:cubicBezTo>
                  <a:cubicBezTo>
                    <a:pt x="9" y="126"/>
                    <a:pt x="9" y="126"/>
                    <a:pt x="9" y="126"/>
                  </a:cubicBezTo>
                  <a:cubicBezTo>
                    <a:pt x="9" y="126"/>
                    <a:pt x="10" y="126"/>
                    <a:pt x="10" y="126"/>
                  </a:cubicBezTo>
                  <a:cubicBezTo>
                    <a:pt x="10" y="126"/>
                    <a:pt x="10" y="126"/>
                    <a:pt x="10" y="126"/>
                  </a:cubicBezTo>
                  <a:cubicBezTo>
                    <a:pt x="10" y="126"/>
                    <a:pt x="10" y="126"/>
                    <a:pt x="10" y="126"/>
                  </a:cubicBezTo>
                  <a:cubicBezTo>
                    <a:pt x="11" y="126"/>
                    <a:pt x="12" y="126"/>
                    <a:pt x="13" y="126"/>
                  </a:cubicBezTo>
                  <a:cubicBezTo>
                    <a:pt x="15" y="125"/>
                    <a:pt x="15" y="125"/>
                    <a:pt x="15" y="125"/>
                  </a:cubicBezTo>
                  <a:cubicBezTo>
                    <a:pt x="17" y="125"/>
                    <a:pt x="18" y="125"/>
                    <a:pt x="19" y="125"/>
                  </a:cubicBezTo>
                  <a:cubicBezTo>
                    <a:pt x="19" y="125"/>
                    <a:pt x="19" y="125"/>
                    <a:pt x="19" y="125"/>
                  </a:cubicBezTo>
                  <a:cubicBezTo>
                    <a:pt x="18" y="124"/>
                    <a:pt x="18" y="122"/>
                    <a:pt x="18" y="121"/>
                  </a:cubicBezTo>
                  <a:cubicBezTo>
                    <a:pt x="17" y="119"/>
                    <a:pt x="17" y="118"/>
                    <a:pt x="18" y="116"/>
                  </a:cubicBezTo>
                  <a:cubicBezTo>
                    <a:pt x="19" y="115"/>
                    <a:pt x="19" y="115"/>
                    <a:pt x="19" y="114"/>
                  </a:cubicBezTo>
                  <a:cubicBezTo>
                    <a:pt x="20" y="111"/>
                    <a:pt x="21" y="108"/>
                    <a:pt x="23" y="106"/>
                  </a:cubicBezTo>
                  <a:cubicBezTo>
                    <a:pt x="24" y="105"/>
                    <a:pt x="24" y="105"/>
                    <a:pt x="24" y="105"/>
                  </a:cubicBezTo>
                  <a:cubicBezTo>
                    <a:pt x="25" y="105"/>
                    <a:pt x="25" y="105"/>
                    <a:pt x="26" y="104"/>
                  </a:cubicBezTo>
                  <a:cubicBezTo>
                    <a:pt x="28" y="104"/>
                    <a:pt x="30" y="103"/>
                    <a:pt x="33" y="103"/>
                  </a:cubicBezTo>
                  <a:cubicBezTo>
                    <a:pt x="33" y="103"/>
                    <a:pt x="33" y="103"/>
                    <a:pt x="33" y="103"/>
                  </a:cubicBezTo>
                  <a:cubicBezTo>
                    <a:pt x="34" y="103"/>
                    <a:pt x="35" y="102"/>
                    <a:pt x="36" y="102"/>
                  </a:cubicBezTo>
                  <a:cubicBezTo>
                    <a:pt x="39" y="101"/>
                    <a:pt x="39" y="101"/>
                    <a:pt x="39" y="100"/>
                  </a:cubicBezTo>
                  <a:cubicBezTo>
                    <a:pt x="40" y="99"/>
                    <a:pt x="40" y="99"/>
                    <a:pt x="40" y="98"/>
                  </a:cubicBezTo>
                  <a:cubicBezTo>
                    <a:pt x="41" y="96"/>
                    <a:pt x="42" y="93"/>
                    <a:pt x="45" y="92"/>
                  </a:cubicBezTo>
                  <a:cubicBezTo>
                    <a:pt x="45" y="92"/>
                    <a:pt x="46" y="92"/>
                    <a:pt x="46" y="92"/>
                  </a:cubicBezTo>
                  <a:cubicBezTo>
                    <a:pt x="47" y="92"/>
                    <a:pt x="47" y="92"/>
                    <a:pt x="48" y="93"/>
                  </a:cubicBezTo>
                  <a:cubicBezTo>
                    <a:pt x="48" y="93"/>
                    <a:pt x="49" y="93"/>
                    <a:pt x="49" y="93"/>
                  </a:cubicBezTo>
                  <a:cubicBezTo>
                    <a:pt x="50" y="93"/>
                    <a:pt x="50" y="93"/>
                    <a:pt x="50" y="93"/>
                  </a:cubicBezTo>
                  <a:cubicBezTo>
                    <a:pt x="51" y="90"/>
                    <a:pt x="53" y="88"/>
                    <a:pt x="54" y="87"/>
                  </a:cubicBezTo>
                  <a:cubicBezTo>
                    <a:pt x="55" y="86"/>
                    <a:pt x="56" y="86"/>
                    <a:pt x="56" y="85"/>
                  </a:cubicBezTo>
                  <a:cubicBezTo>
                    <a:pt x="58" y="83"/>
                    <a:pt x="58" y="83"/>
                    <a:pt x="58" y="83"/>
                  </a:cubicBezTo>
                  <a:cubicBezTo>
                    <a:pt x="61" y="85"/>
                    <a:pt x="61" y="85"/>
                    <a:pt x="61" y="85"/>
                  </a:cubicBezTo>
                  <a:cubicBezTo>
                    <a:pt x="61" y="85"/>
                    <a:pt x="61" y="85"/>
                    <a:pt x="62" y="86"/>
                  </a:cubicBezTo>
                  <a:cubicBezTo>
                    <a:pt x="63" y="87"/>
                    <a:pt x="63" y="87"/>
                    <a:pt x="63" y="87"/>
                  </a:cubicBezTo>
                  <a:cubicBezTo>
                    <a:pt x="64" y="88"/>
                    <a:pt x="66" y="90"/>
                    <a:pt x="67" y="91"/>
                  </a:cubicBezTo>
                  <a:cubicBezTo>
                    <a:pt x="67" y="91"/>
                    <a:pt x="67" y="91"/>
                    <a:pt x="67" y="91"/>
                  </a:cubicBezTo>
                  <a:cubicBezTo>
                    <a:pt x="68" y="91"/>
                    <a:pt x="68" y="91"/>
                    <a:pt x="68" y="91"/>
                  </a:cubicBezTo>
                  <a:cubicBezTo>
                    <a:pt x="69" y="91"/>
                    <a:pt x="69" y="91"/>
                    <a:pt x="70" y="91"/>
                  </a:cubicBezTo>
                  <a:cubicBezTo>
                    <a:pt x="71" y="91"/>
                    <a:pt x="73" y="92"/>
                    <a:pt x="73" y="93"/>
                  </a:cubicBezTo>
                  <a:cubicBezTo>
                    <a:pt x="75" y="96"/>
                    <a:pt x="75" y="96"/>
                    <a:pt x="75" y="96"/>
                  </a:cubicBezTo>
                  <a:cubicBezTo>
                    <a:pt x="76" y="96"/>
                    <a:pt x="76" y="97"/>
                    <a:pt x="76" y="97"/>
                  </a:cubicBezTo>
                  <a:cubicBezTo>
                    <a:pt x="77" y="97"/>
                    <a:pt x="77" y="97"/>
                    <a:pt x="77" y="97"/>
                  </a:cubicBezTo>
                  <a:cubicBezTo>
                    <a:pt x="77" y="97"/>
                    <a:pt x="77" y="97"/>
                    <a:pt x="77" y="97"/>
                  </a:cubicBezTo>
                  <a:cubicBezTo>
                    <a:pt x="79" y="98"/>
                    <a:pt x="82" y="97"/>
                    <a:pt x="84" y="98"/>
                  </a:cubicBezTo>
                  <a:cubicBezTo>
                    <a:pt x="84" y="98"/>
                    <a:pt x="84" y="98"/>
                    <a:pt x="84" y="98"/>
                  </a:cubicBezTo>
                  <a:cubicBezTo>
                    <a:pt x="87" y="98"/>
                    <a:pt x="91" y="100"/>
                    <a:pt x="94" y="101"/>
                  </a:cubicBezTo>
                  <a:cubicBezTo>
                    <a:pt x="99" y="104"/>
                    <a:pt x="99" y="104"/>
                    <a:pt x="99" y="104"/>
                  </a:cubicBezTo>
                  <a:cubicBezTo>
                    <a:pt x="94" y="106"/>
                    <a:pt x="94" y="106"/>
                    <a:pt x="94" y="106"/>
                  </a:cubicBezTo>
                  <a:cubicBezTo>
                    <a:pt x="94" y="107"/>
                    <a:pt x="94" y="108"/>
                    <a:pt x="94" y="109"/>
                  </a:cubicBezTo>
                  <a:cubicBezTo>
                    <a:pt x="96" y="110"/>
                    <a:pt x="98" y="112"/>
                    <a:pt x="99" y="113"/>
                  </a:cubicBezTo>
                  <a:cubicBezTo>
                    <a:pt x="102" y="116"/>
                    <a:pt x="102" y="116"/>
                    <a:pt x="102" y="116"/>
                  </a:cubicBezTo>
                  <a:cubicBezTo>
                    <a:pt x="99" y="118"/>
                    <a:pt x="99" y="118"/>
                    <a:pt x="99" y="118"/>
                  </a:cubicBezTo>
                  <a:cubicBezTo>
                    <a:pt x="98" y="118"/>
                    <a:pt x="98" y="118"/>
                    <a:pt x="97" y="119"/>
                  </a:cubicBezTo>
                  <a:cubicBezTo>
                    <a:pt x="97" y="119"/>
                    <a:pt x="97" y="120"/>
                    <a:pt x="97" y="121"/>
                  </a:cubicBezTo>
                  <a:cubicBezTo>
                    <a:pt x="97" y="122"/>
                    <a:pt x="97" y="122"/>
                    <a:pt x="97" y="122"/>
                  </a:cubicBezTo>
                  <a:cubicBezTo>
                    <a:pt x="97" y="122"/>
                    <a:pt x="97" y="123"/>
                    <a:pt x="97" y="123"/>
                  </a:cubicBezTo>
                  <a:cubicBezTo>
                    <a:pt x="96" y="124"/>
                    <a:pt x="96" y="124"/>
                    <a:pt x="96" y="124"/>
                  </a:cubicBezTo>
                  <a:cubicBezTo>
                    <a:pt x="96" y="124"/>
                    <a:pt x="96" y="124"/>
                    <a:pt x="96" y="124"/>
                  </a:cubicBezTo>
                  <a:cubicBezTo>
                    <a:pt x="98" y="125"/>
                    <a:pt x="98" y="125"/>
                    <a:pt x="98" y="125"/>
                  </a:cubicBezTo>
                  <a:cubicBezTo>
                    <a:pt x="98" y="125"/>
                    <a:pt x="99" y="126"/>
                    <a:pt x="99" y="126"/>
                  </a:cubicBezTo>
                  <a:cubicBezTo>
                    <a:pt x="100" y="126"/>
                    <a:pt x="100" y="126"/>
                    <a:pt x="100" y="126"/>
                  </a:cubicBezTo>
                  <a:cubicBezTo>
                    <a:pt x="101" y="127"/>
                    <a:pt x="102" y="127"/>
                    <a:pt x="103" y="127"/>
                  </a:cubicBezTo>
                  <a:cubicBezTo>
                    <a:pt x="103" y="127"/>
                    <a:pt x="104" y="127"/>
                    <a:pt x="104" y="127"/>
                  </a:cubicBezTo>
                  <a:cubicBezTo>
                    <a:pt x="105" y="127"/>
                    <a:pt x="106" y="127"/>
                    <a:pt x="107" y="127"/>
                  </a:cubicBezTo>
                  <a:cubicBezTo>
                    <a:pt x="107" y="127"/>
                    <a:pt x="107" y="127"/>
                    <a:pt x="108" y="127"/>
                  </a:cubicBezTo>
                  <a:cubicBezTo>
                    <a:pt x="110" y="127"/>
                    <a:pt x="113" y="128"/>
                    <a:pt x="115" y="129"/>
                  </a:cubicBezTo>
                  <a:cubicBezTo>
                    <a:pt x="116" y="129"/>
                    <a:pt x="117" y="129"/>
                    <a:pt x="118" y="129"/>
                  </a:cubicBezTo>
                  <a:cubicBezTo>
                    <a:pt x="120" y="130"/>
                    <a:pt x="120" y="130"/>
                    <a:pt x="120" y="130"/>
                  </a:cubicBezTo>
                  <a:cubicBezTo>
                    <a:pt x="120" y="130"/>
                    <a:pt x="121" y="129"/>
                    <a:pt x="121" y="129"/>
                  </a:cubicBezTo>
                  <a:cubicBezTo>
                    <a:pt x="121" y="128"/>
                    <a:pt x="122" y="128"/>
                    <a:pt x="122" y="127"/>
                  </a:cubicBezTo>
                  <a:cubicBezTo>
                    <a:pt x="123" y="127"/>
                    <a:pt x="124" y="126"/>
                    <a:pt x="124" y="126"/>
                  </a:cubicBezTo>
                  <a:cubicBezTo>
                    <a:pt x="125" y="126"/>
                    <a:pt x="126" y="126"/>
                    <a:pt x="126" y="126"/>
                  </a:cubicBezTo>
                  <a:cubicBezTo>
                    <a:pt x="129" y="126"/>
                    <a:pt x="132" y="127"/>
                    <a:pt x="134" y="130"/>
                  </a:cubicBezTo>
                  <a:cubicBezTo>
                    <a:pt x="138" y="133"/>
                    <a:pt x="141" y="140"/>
                    <a:pt x="143" y="145"/>
                  </a:cubicBezTo>
                  <a:cubicBezTo>
                    <a:pt x="143" y="146"/>
                    <a:pt x="143" y="146"/>
                    <a:pt x="143" y="146"/>
                  </a:cubicBezTo>
                  <a:cubicBezTo>
                    <a:pt x="144" y="147"/>
                    <a:pt x="144" y="148"/>
                    <a:pt x="145" y="149"/>
                  </a:cubicBezTo>
                  <a:cubicBezTo>
                    <a:pt x="145" y="150"/>
                    <a:pt x="146" y="150"/>
                    <a:pt x="146" y="151"/>
                  </a:cubicBezTo>
                  <a:cubicBezTo>
                    <a:pt x="148" y="152"/>
                    <a:pt x="149" y="154"/>
                    <a:pt x="150" y="156"/>
                  </a:cubicBezTo>
                  <a:cubicBezTo>
                    <a:pt x="150" y="157"/>
                    <a:pt x="150" y="157"/>
                    <a:pt x="150" y="157"/>
                  </a:cubicBezTo>
                  <a:cubicBezTo>
                    <a:pt x="150" y="158"/>
                    <a:pt x="151" y="159"/>
                    <a:pt x="151" y="160"/>
                  </a:cubicBezTo>
                  <a:cubicBezTo>
                    <a:pt x="151" y="160"/>
                    <a:pt x="151" y="160"/>
                    <a:pt x="151" y="160"/>
                  </a:cubicBezTo>
                  <a:cubicBezTo>
                    <a:pt x="151" y="161"/>
                    <a:pt x="152" y="163"/>
                    <a:pt x="152" y="164"/>
                  </a:cubicBezTo>
                  <a:cubicBezTo>
                    <a:pt x="153" y="164"/>
                    <a:pt x="153" y="164"/>
                    <a:pt x="153" y="164"/>
                  </a:cubicBezTo>
                  <a:cubicBezTo>
                    <a:pt x="153" y="165"/>
                    <a:pt x="155" y="166"/>
                    <a:pt x="157" y="167"/>
                  </a:cubicBezTo>
                  <a:cubicBezTo>
                    <a:pt x="157" y="168"/>
                    <a:pt x="158" y="168"/>
                    <a:pt x="159" y="169"/>
                  </a:cubicBezTo>
                  <a:cubicBezTo>
                    <a:pt x="163" y="172"/>
                    <a:pt x="163" y="172"/>
                    <a:pt x="163" y="172"/>
                  </a:cubicBezTo>
                  <a:cubicBezTo>
                    <a:pt x="164" y="173"/>
                    <a:pt x="166" y="174"/>
                    <a:pt x="167" y="175"/>
                  </a:cubicBezTo>
                  <a:cubicBezTo>
                    <a:pt x="170" y="177"/>
                    <a:pt x="174" y="180"/>
                    <a:pt x="178" y="182"/>
                  </a:cubicBezTo>
                  <a:cubicBezTo>
                    <a:pt x="179" y="183"/>
                    <a:pt x="180" y="183"/>
                    <a:pt x="181" y="184"/>
                  </a:cubicBezTo>
                  <a:cubicBezTo>
                    <a:pt x="184" y="185"/>
                    <a:pt x="184" y="185"/>
                    <a:pt x="184" y="185"/>
                  </a:cubicBezTo>
                  <a:cubicBezTo>
                    <a:pt x="189" y="187"/>
                    <a:pt x="194" y="190"/>
                    <a:pt x="198" y="194"/>
                  </a:cubicBezTo>
                  <a:cubicBezTo>
                    <a:pt x="200" y="196"/>
                    <a:pt x="203" y="197"/>
                    <a:pt x="206" y="199"/>
                  </a:cubicBezTo>
                  <a:cubicBezTo>
                    <a:pt x="209" y="201"/>
                    <a:pt x="209" y="201"/>
                    <a:pt x="209" y="201"/>
                  </a:cubicBezTo>
                  <a:cubicBezTo>
                    <a:pt x="210" y="201"/>
                    <a:pt x="211" y="202"/>
                    <a:pt x="212" y="202"/>
                  </a:cubicBezTo>
                  <a:cubicBezTo>
                    <a:pt x="214" y="204"/>
                    <a:pt x="216" y="205"/>
                    <a:pt x="218" y="206"/>
                  </a:cubicBezTo>
                  <a:cubicBezTo>
                    <a:pt x="219" y="207"/>
                    <a:pt x="219" y="207"/>
                    <a:pt x="219" y="207"/>
                  </a:cubicBezTo>
                  <a:cubicBezTo>
                    <a:pt x="220" y="208"/>
                    <a:pt x="220" y="208"/>
                    <a:pt x="221" y="208"/>
                  </a:cubicBezTo>
                  <a:cubicBezTo>
                    <a:pt x="222" y="209"/>
                    <a:pt x="222" y="209"/>
                    <a:pt x="222" y="209"/>
                  </a:cubicBezTo>
                  <a:cubicBezTo>
                    <a:pt x="224" y="210"/>
                    <a:pt x="225" y="211"/>
                    <a:pt x="226" y="211"/>
                  </a:cubicBezTo>
                  <a:cubicBezTo>
                    <a:pt x="226" y="211"/>
                    <a:pt x="226" y="211"/>
                    <a:pt x="226" y="211"/>
                  </a:cubicBezTo>
                  <a:cubicBezTo>
                    <a:pt x="227" y="211"/>
                    <a:pt x="227" y="211"/>
                    <a:pt x="227" y="211"/>
                  </a:cubicBezTo>
                  <a:cubicBezTo>
                    <a:pt x="228" y="210"/>
                    <a:pt x="228" y="210"/>
                    <a:pt x="228" y="210"/>
                  </a:cubicBezTo>
                  <a:cubicBezTo>
                    <a:pt x="229" y="210"/>
                    <a:pt x="229" y="210"/>
                    <a:pt x="230" y="210"/>
                  </a:cubicBezTo>
                  <a:cubicBezTo>
                    <a:pt x="233" y="210"/>
                    <a:pt x="236" y="211"/>
                    <a:pt x="238" y="213"/>
                  </a:cubicBezTo>
                  <a:cubicBezTo>
                    <a:pt x="239" y="213"/>
                    <a:pt x="239" y="213"/>
                    <a:pt x="239" y="213"/>
                  </a:cubicBezTo>
                  <a:cubicBezTo>
                    <a:pt x="240" y="214"/>
                    <a:pt x="242" y="215"/>
                    <a:pt x="243" y="215"/>
                  </a:cubicBezTo>
                  <a:cubicBezTo>
                    <a:pt x="249" y="218"/>
                    <a:pt x="249" y="218"/>
                    <a:pt x="249" y="218"/>
                  </a:cubicBezTo>
                  <a:cubicBezTo>
                    <a:pt x="251" y="219"/>
                    <a:pt x="251" y="221"/>
                    <a:pt x="251" y="222"/>
                  </a:cubicBezTo>
                  <a:cubicBezTo>
                    <a:pt x="251" y="222"/>
                    <a:pt x="251" y="223"/>
                    <a:pt x="251" y="223"/>
                  </a:cubicBezTo>
                  <a:cubicBezTo>
                    <a:pt x="250" y="224"/>
                    <a:pt x="250" y="225"/>
                    <a:pt x="250" y="225"/>
                  </a:cubicBezTo>
                  <a:cubicBezTo>
                    <a:pt x="250" y="226"/>
                    <a:pt x="250" y="226"/>
                    <a:pt x="250" y="226"/>
                  </a:cubicBezTo>
                  <a:cubicBezTo>
                    <a:pt x="250" y="227"/>
                    <a:pt x="250" y="228"/>
                    <a:pt x="250" y="228"/>
                  </a:cubicBezTo>
                  <a:cubicBezTo>
                    <a:pt x="249" y="233"/>
                    <a:pt x="249" y="233"/>
                    <a:pt x="249" y="233"/>
                  </a:cubicBezTo>
                  <a:cubicBezTo>
                    <a:pt x="249" y="234"/>
                    <a:pt x="249" y="234"/>
                    <a:pt x="249" y="235"/>
                  </a:cubicBezTo>
                  <a:cubicBezTo>
                    <a:pt x="252" y="235"/>
                    <a:pt x="252" y="235"/>
                    <a:pt x="252" y="235"/>
                  </a:cubicBezTo>
                  <a:cubicBezTo>
                    <a:pt x="253" y="235"/>
                    <a:pt x="254" y="235"/>
                    <a:pt x="255" y="235"/>
                  </a:cubicBezTo>
                  <a:cubicBezTo>
                    <a:pt x="258" y="235"/>
                    <a:pt x="259" y="236"/>
                    <a:pt x="262" y="238"/>
                  </a:cubicBezTo>
                  <a:cubicBezTo>
                    <a:pt x="262" y="239"/>
                    <a:pt x="262" y="239"/>
                    <a:pt x="262" y="239"/>
                  </a:cubicBezTo>
                  <a:cubicBezTo>
                    <a:pt x="263" y="239"/>
                    <a:pt x="263" y="239"/>
                    <a:pt x="263" y="239"/>
                  </a:cubicBezTo>
                  <a:cubicBezTo>
                    <a:pt x="263" y="239"/>
                    <a:pt x="263" y="239"/>
                    <a:pt x="263" y="239"/>
                  </a:cubicBezTo>
                  <a:cubicBezTo>
                    <a:pt x="263" y="239"/>
                    <a:pt x="263" y="239"/>
                    <a:pt x="263" y="239"/>
                  </a:cubicBezTo>
                  <a:cubicBezTo>
                    <a:pt x="264" y="239"/>
                    <a:pt x="264" y="239"/>
                    <a:pt x="264" y="239"/>
                  </a:cubicBezTo>
                  <a:cubicBezTo>
                    <a:pt x="264" y="240"/>
                    <a:pt x="265" y="240"/>
                    <a:pt x="266" y="240"/>
                  </a:cubicBezTo>
                  <a:cubicBezTo>
                    <a:pt x="267" y="240"/>
                    <a:pt x="267" y="240"/>
                    <a:pt x="268" y="240"/>
                  </a:cubicBezTo>
                  <a:cubicBezTo>
                    <a:pt x="270" y="239"/>
                    <a:pt x="270" y="239"/>
                    <a:pt x="271" y="239"/>
                  </a:cubicBezTo>
                  <a:cubicBezTo>
                    <a:pt x="271" y="238"/>
                    <a:pt x="271" y="238"/>
                    <a:pt x="271" y="238"/>
                  </a:cubicBezTo>
                  <a:cubicBezTo>
                    <a:pt x="272" y="238"/>
                    <a:pt x="272" y="238"/>
                    <a:pt x="272" y="238"/>
                  </a:cubicBezTo>
                  <a:cubicBezTo>
                    <a:pt x="272" y="238"/>
                    <a:pt x="272" y="238"/>
                    <a:pt x="273" y="237"/>
                  </a:cubicBezTo>
                  <a:cubicBezTo>
                    <a:pt x="272" y="237"/>
                    <a:pt x="272" y="237"/>
                    <a:pt x="272" y="237"/>
                  </a:cubicBezTo>
                  <a:cubicBezTo>
                    <a:pt x="272" y="236"/>
                    <a:pt x="272" y="236"/>
                    <a:pt x="272" y="236"/>
                  </a:cubicBezTo>
                  <a:cubicBezTo>
                    <a:pt x="272" y="235"/>
                    <a:pt x="273" y="234"/>
                    <a:pt x="273" y="234"/>
                  </a:cubicBezTo>
                  <a:cubicBezTo>
                    <a:pt x="273" y="234"/>
                    <a:pt x="273" y="234"/>
                    <a:pt x="273" y="234"/>
                  </a:cubicBezTo>
                  <a:cubicBezTo>
                    <a:pt x="273" y="233"/>
                    <a:pt x="273" y="233"/>
                    <a:pt x="273" y="233"/>
                  </a:cubicBezTo>
                  <a:cubicBezTo>
                    <a:pt x="274" y="231"/>
                    <a:pt x="275" y="230"/>
                    <a:pt x="276" y="229"/>
                  </a:cubicBezTo>
                  <a:cubicBezTo>
                    <a:pt x="277" y="227"/>
                    <a:pt x="277" y="227"/>
                    <a:pt x="277" y="227"/>
                  </a:cubicBezTo>
                  <a:cubicBezTo>
                    <a:pt x="277" y="227"/>
                    <a:pt x="278" y="226"/>
                    <a:pt x="278" y="226"/>
                  </a:cubicBezTo>
                  <a:cubicBezTo>
                    <a:pt x="279" y="225"/>
                    <a:pt x="279" y="225"/>
                    <a:pt x="279" y="225"/>
                  </a:cubicBezTo>
                  <a:cubicBezTo>
                    <a:pt x="284" y="218"/>
                    <a:pt x="285" y="216"/>
                    <a:pt x="285" y="215"/>
                  </a:cubicBezTo>
                  <a:cubicBezTo>
                    <a:pt x="285" y="215"/>
                    <a:pt x="285" y="215"/>
                    <a:pt x="285" y="215"/>
                  </a:cubicBezTo>
                  <a:cubicBezTo>
                    <a:pt x="285" y="214"/>
                    <a:pt x="284" y="214"/>
                    <a:pt x="284" y="214"/>
                  </a:cubicBezTo>
                  <a:cubicBezTo>
                    <a:pt x="283" y="213"/>
                    <a:pt x="283" y="213"/>
                    <a:pt x="282" y="212"/>
                  </a:cubicBezTo>
                  <a:cubicBezTo>
                    <a:pt x="282" y="212"/>
                    <a:pt x="282" y="212"/>
                    <a:pt x="282" y="212"/>
                  </a:cubicBezTo>
                  <a:cubicBezTo>
                    <a:pt x="282" y="212"/>
                    <a:pt x="281" y="211"/>
                    <a:pt x="281" y="211"/>
                  </a:cubicBezTo>
                  <a:cubicBezTo>
                    <a:pt x="280" y="210"/>
                    <a:pt x="280" y="209"/>
                    <a:pt x="279" y="207"/>
                  </a:cubicBezTo>
                  <a:cubicBezTo>
                    <a:pt x="279" y="207"/>
                    <a:pt x="279" y="206"/>
                    <a:pt x="279" y="205"/>
                  </a:cubicBezTo>
                  <a:cubicBezTo>
                    <a:pt x="280" y="202"/>
                    <a:pt x="280" y="202"/>
                    <a:pt x="280" y="202"/>
                  </a:cubicBezTo>
                  <a:cubicBezTo>
                    <a:pt x="281" y="198"/>
                    <a:pt x="281" y="197"/>
                    <a:pt x="281" y="197"/>
                  </a:cubicBezTo>
                  <a:cubicBezTo>
                    <a:pt x="281" y="196"/>
                    <a:pt x="278" y="196"/>
                    <a:pt x="276" y="195"/>
                  </a:cubicBezTo>
                  <a:cubicBezTo>
                    <a:pt x="272" y="195"/>
                    <a:pt x="271" y="195"/>
                    <a:pt x="267" y="192"/>
                  </a:cubicBezTo>
                  <a:cubicBezTo>
                    <a:pt x="266" y="191"/>
                    <a:pt x="266" y="191"/>
                    <a:pt x="266" y="191"/>
                  </a:cubicBezTo>
                  <a:cubicBezTo>
                    <a:pt x="265" y="190"/>
                    <a:pt x="265" y="190"/>
                    <a:pt x="265" y="190"/>
                  </a:cubicBezTo>
                  <a:cubicBezTo>
                    <a:pt x="265" y="189"/>
                    <a:pt x="264" y="189"/>
                    <a:pt x="264" y="189"/>
                  </a:cubicBezTo>
                  <a:cubicBezTo>
                    <a:pt x="263" y="187"/>
                    <a:pt x="262" y="185"/>
                    <a:pt x="262" y="183"/>
                  </a:cubicBezTo>
                  <a:cubicBezTo>
                    <a:pt x="262" y="183"/>
                    <a:pt x="262" y="183"/>
                    <a:pt x="262" y="183"/>
                  </a:cubicBezTo>
                  <a:cubicBezTo>
                    <a:pt x="263" y="180"/>
                    <a:pt x="264" y="178"/>
                    <a:pt x="267" y="175"/>
                  </a:cubicBezTo>
                  <a:cubicBezTo>
                    <a:pt x="268" y="175"/>
                    <a:pt x="268" y="175"/>
                    <a:pt x="268" y="175"/>
                  </a:cubicBezTo>
                  <a:cubicBezTo>
                    <a:pt x="269" y="174"/>
                    <a:pt x="270" y="174"/>
                    <a:pt x="271" y="173"/>
                  </a:cubicBezTo>
                  <a:cubicBezTo>
                    <a:pt x="271" y="173"/>
                    <a:pt x="271" y="173"/>
                    <a:pt x="271" y="173"/>
                  </a:cubicBezTo>
                  <a:cubicBezTo>
                    <a:pt x="272" y="173"/>
                    <a:pt x="273" y="173"/>
                    <a:pt x="274" y="173"/>
                  </a:cubicBezTo>
                  <a:cubicBezTo>
                    <a:pt x="274" y="173"/>
                    <a:pt x="275" y="173"/>
                    <a:pt x="276" y="173"/>
                  </a:cubicBezTo>
                  <a:cubicBezTo>
                    <a:pt x="279" y="174"/>
                    <a:pt x="281" y="174"/>
                    <a:pt x="284" y="174"/>
                  </a:cubicBezTo>
                  <a:cubicBezTo>
                    <a:pt x="286" y="175"/>
                    <a:pt x="287" y="175"/>
                    <a:pt x="287" y="175"/>
                  </a:cubicBezTo>
                  <a:cubicBezTo>
                    <a:pt x="288" y="175"/>
                    <a:pt x="288" y="175"/>
                    <a:pt x="289" y="175"/>
                  </a:cubicBezTo>
                  <a:cubicBezTo>
                    <a:pt x="289" y="175"/>
                    <a:pt x="289" y="175"/>
                    <a:pt x="289" y="175"/>
                  </a:cubicBezTo>
                  <a:cubicBezTo>
                    <a:pt x="290" y="175"/>
                    <a:pt x="290" y="175"/>
                    <a:pt x="290" y="175"/>
                  </a:cubicBezTo>
                  <a:cubicBezTo>
                    <a:pt x="290" y="174"/>
                    <a:pt x="290" y="173"/>
                    <a:pt x="291" y="170"/>
                  </a:cubicBezTo>
                  <a:cubicBezTo>
                    <a:pt x="291" y="170"/>
                    <a:pt x="291" y="170"/>
                    <a:pt x="291" y="170"/>
                  </a:cubicBezTo>
                  <a:cubicBezTo>
                    <a:pt x="292" y="168"/>
                    <a:pt x="293" y="166"/>
                    <a:pt x="294" y="165"/>
                  </a:cubicBezTo>
                  <a:cubicBezTo>
                    <a:pt x="294" y="165"/>
                    <a:pt x="295" y="165"/>
                    <a:pt x="295" y="164"/>
                  </a:cubicBezTo>
                  <a:cubicBezTo>
                    <a:pt x="294" y="164"/>
                    <a:pt x="292" y="163"/>
                    <a:pt x="292" y="161"/>
                  </a:cubicBezTo>
                  <a:cubicBezTo>
                    <a:pt x="290" y="158"/>
                    <a:pt x="290" y="158"/>
                    <a:pt x="290" y="158"/>
                  </a:cubicBezTo>
                  <a:cubicBezTo>
                    <a:pt x="303" y="156"/>
                    <a:pt x="303" y="156"/>
                    <a:pt x="303" y="156"/>
                  </a:cubicBezTo>
                  <a:cubicBezTo>
                    <a:pt x="303" y="156"/>
                    <a:pt x="303" y="156"/>
                    <a:pt x="304" y="156"/>
                  </a:cubicBezTo>
                  <a:cubicBezTo>
                    <a:pt x="305" y="156"/>
                    <a:pt x="305" y="156"/>
                    <a:pt x="306" y="156"/>
                  </a:cubicBezTo>
                  <a:cubicBezTo>
                    <a:pt x="305" y="154"/>
                    <a:pt x="305" y="151"/>
                    <a:pt x="305" y="149"/>
                  </a:cubicBezTo>
                  <a:cubicBezTo>
                    <a:pt x="306" y="147"/>
                    <a:pt x="306" y="146"/>
                    <a:pt x="307" y="144"/>
                  </a:cubicBezTo>
                  <a:cubicBezTo>
                    <a:pt x="308" y="143"/>
                    <a:pt x="308" y="143"/>
                    <a:pt x="308" y="143"/>
                  </a:cubicBezTo>
                  <a:cubicBezTo>
                    <a:pt x="308" y="143"/>
                    <a:pt x="308" y="143"/>
                    <a:pt x="308" y="143"/>
                  </a:cubicBezTo>
                  <a:cubicBezTo>
                    <a:pt x="309" y="141"/>
                    <a:pt x="309" y="141"/>
                    <a:pt x="309" y="141"/>
                  </a:cubicBezTo>
                  <a:cubicBezTo>
                    <a:pt x="311" y="141"/>
                    <a:pt x="311" y="141"/>
                    <a:pt x="311" y="141"/>
                  </a:cubicBezTo>
                  <a:cubicBezTo>
                    <a:pt x="311" y="141"/>
                    <a:pt x="311" y="141"/>
                    <a:pt x="311" y="141"/>
                  </a:cubicBezTo>
                  <a:cubicBezTo>
                    <a:pt x="312" y="141"/>
                    <a:pt x="312" y="141"/>
                    <a:pt x="312" y="141"/>
                  </a:cubicBezTo>
                  <a:cubicBezTo>
                    <a:pt x="313" y="141"/>
                    <a:pt x="313" y="141"/>
                    <a:pt x="313" y="141"/>
                  </a:cubicBezTo>
                  <a:cubicBezTo>
                    <a:pt x="313" y="141"/>
                    <a:pt x="314" y="142"/>
                    <a:pt x="314" y="142"/>
                  </a:cubicBezTo>
                  <a:cubicBezTo>
                    <a:pt x="315" y="142"/>
                    <a:pt x="315" y="142"/>
                    <a:pt x="315" y="142"/>
                  </a:cubicBezTo>
                  <a:cubicBezTo>
                    <a:pt x="316" y="142"/>
                    <a:pt x="316" y="142"/>
                    <a:pt x="316" y="142"/>
                  </a:cubicBezTo>
                  <a:cubicBezTo>
                    <a:pt x="316" y="143"/>
                    <a:pt x="317" y="143"/>
                    <a:pt x="318" y="143"/>
                  </a:cubicBezTo>
                  <a:cubicBezTo>
                    <a:pt x="318" y="144"/>
                    <a:pt x="318" y="144"/>
                    <a:pt x="319" y="144"/>
                  </a:cubicBezTo>
                  <a:cubicBezTo>
                    <a:pt x="319" y="144"/>
                    <a:pt x="319" y="144"/>
                    <a:pt x="319" y="144"/>
                  </a:cubicBezTo>
                  <a:cubicBezTo>
                    <a:pt x="319" y="144"/>
                    <a:pt x="319" y="144"/>
                    <a:pt x="319" y="144"/>
                  </a:cubicBezTo>
                  <a:cubicBezTo>
                    <a:pt x="320" y="144"/>
                    <a:pt x="320" y="144"/>
                    <a:pt x="320" y="144"/>
                  </a:cubicBezTo>
                  <a:cubicBezTo>
                    <a:pt x="320" y="144"/>
                    <a:pt x="321" y="144"/>
                    <a:pt x="321" y="143"/>
                  </a:cubicBezTo>
                  <a:cubicBezTo>
                    <a:pt x="322" y="143"/>
                    <a:pt x="323" y="142"/>
                    <a:pt x="325" y="142"/>
                  </a:cubicBezTo>
                  <a:cubicBezTo>
                    <a:pt x="325" y="142"/>
                    <a:pt x="325" y="142"/>
                    <a:pt x="325" y="142"/>
                  </a:cubicBezTo>
                  <a:cubicBezTo>
                    <a:pt x="326" y="141"/>
                    <a:pt x="326" y="141"/>
                    <a:pt x="326" y="141"/>
                  </a:cubicBezTo>
                  <a:cubicBezTo>
                    <a:pt x="327" y="140"/>
                    <a:pt x="328" y="139"/>
                    <a:pt x="329" y="139"/>
                  </a:cubicBezTo>
                  <a:cubicBezTo>
                    <a:pt x="330" y="138"/>
                    <a:pt x="330" y="138"/>
                    <a:pt x="330" y="138"/>
                  </a:cubicBezTo>
                  <a:cubicBezTo>
                    <a:pt x="331" y="138"/>
                    <a:pt x="331" y="137"/>
                    <a:pt x="331" y="137"/>
                  </a:cubicBezTo>
                  <a:cubicBezTo>
                    <a:pt x="332" y="136"/>
                    <a:pt x="332" y="136"/>
                    <a:pt x="333" y="136"/>
                  </a:cubicBezTo>
                  <a:cubicBezTo>
                    <a:pt x="334" y="135"/>
                    <a:pt x="334" y="135"/>
                    <a:pt x="335" y="134"/>
                  </a:cubicBezTo>
                  <a:cubicBezTo>
                    <a:pt x="335" y="134"/>
                    <a:pt x="335" y="134"/>
                    <a:pt x="335" y="134"/>
                  </a:cubicBezTo>
                  <a:cubicBezTo>
                    <a:pt x="338" y="132"/>
                    <a:pt x="338" y="132"/>
                    <a:pt x="338" y="132"/>
                  </a:cubicBezTo>
                  <a:cubicBezTo>
                    <a:pt x="349" y="145"/>
                    <a:pt x="349" y="145"/>
                    <a:pt x="349" y="145"/>
                  </a:cubicBezTo>
                  <a:cubicBezTo>
                    <a:pt x="347" y="147"/>
                    <a:pt x="347" y="147"/>
                    <a:pt x="347" y="147"/>
                  </a:cubicBezTo>
                  <a:cubicBezTo>
                    <a:pt x="345" y="149"/>
                    <a:pt x="342" y="151"/>
                    <a:pt x="340" y="153"/>
                  </a:cubicBezTo>
                  <a:cubicBezTo>
                    <a:pt x="341" y="154"/>
                    <a:pt x="342" y="155"/>
                    <a:pt x="343" y="156"/>
                  </a:cubicBezTo>
                  <a:cubicBezTo>
                    <a:pt x="344" y="156"/>
                    <a:pt x="344" y="156"/>
                    <a:pt x="346" y="156"/>
                  </a:cubicBezTo>
                  <a:cubicBezTo>
                    <a:pt x="346" y="156"/>
                    <a:pt x="346" y="156"/>
                    <a:pt x="346" y="156"/>
                  </a:cubicBezTo>
                  <a:cubicBezTo>
                    <a:pt x="347" y="156"/>
                    <a:pt x="347" y="156"/>
                    <a:pt x="348" y="156"/>
                  </a:cubicBezTo>
                  <a:cubicBezTo>
                    <a:pt x="349" y="155"/>
                    <a:pt x="349" y="155"/>
                    <a:pt x="349" y="155"/>
                  </a:cubicBezTo>
                  <a:cubicBezTo>
                    <a:pt x="349" y="155"/>
                    <a:pt x="349" y="155"/>
                    <a:pt x="349" y="155"/>
                  </a:cubicBezTo>
                  <a:cubicBezTo>
                    <a:pt x="350" y="155"/>
                    <a:pt x="351" y="155"/>
                    <a:pt x="351" y="155"/>
                  </a:cubicBezTo>
                  <a:cubicBezTo>
                    <a:pt x="352" y="154"/>
                    <a:pt x="352" y="154"/>
                    <a:pt x="352" y="154"/>
                  </a:cubicBezTo>
                  <a:cubicBezTo>
                    <a:pt x="353" y="154"/>
                    <a:pt x="355" y="154"/>
                    <a:pt x="357" y="154"/>
                  </a:cubicBezTo>
                  <a:cubicBezTo>
                    <a:pt x="358" y="154"/>
                    <a:pt x="358" y="154"/>
                    <a:pt x="358" y="154"/>
                  </a:cubicBezTo>
                  <a:cubicBezTo>
                    <a:pt x="359" y="154"/>
                    <a:pt x="359" y="154"/>
                    <a:pt x="360" y="154"/>
                  </a:cubicBezTo>
                  <a:cubicBezTo>
                    <a:pt x="361" y="155"/>
                    <a:pt x="362" y="155"/>
                    <a:pt x="363" y="156"/>
                  </a:cubicBezTo>
                  <a:cubicBezTo>
                    <a:pt x="364" y="156"/>
                    <a:pt x="365" y="156"/>
                    <a:pt x="365" y="157"/>
                  </a:cubicBezTo>
                  <a:cubicBezTo>
                    <a:pt x="366" y="157"/>
                    <a:pt x="367" y="158"/>
                    <a:pt x="367" y="158"/>
                  </a:cubicBezTo>
                  <a:cubicBezTo>
                    <a:pt x="368" y="158"/>
                    <a:pt x="369" y="157"/>
                    <a:pt x="370" y="157"/>
                  </a:cubicBezTo>
                  <a:cubicBezTo>
                    <a:pt x="370" y="156"/>
                    <a:pt x="370" y="156"/>
                    <a:pt x="370" y="156"/>
                  </a:cubicBezTo>
                  <a:cubicBezTo>
                    <a:pt x="371" y="156"/>
                    <a:pt x="371" y="156"/>
                    <a:pt x="371" y="156"/>
                  </a:cubicBezTo>
                  <a:cubicBezTo>
                    <a:pt x="372" y="155"/>
                    <a:pt x="372" y="155"/>
                    <a:pt x="372" y="155"/>
                  </a:cubicBezTo>
                  <a:cubicBezTo>
                    <a:pt x="372" y="155"/>
                    <a:pt x="372" y="154"/>
                    <a:pt x="372" y="154"/>
                  </a:cubicBezTo>
                  <a:cubicBezTo>
                    <a:pt x="373" y="153"/>
                    <a:pt x="374" y="152"/>
                    <a:pt x="374" y="151"/>
                  </a:cubicBezTo>
                  <a:cubicBezTo>
                    <a:pt x="376" y="150"/>
                    <a:pt x="376" y="150"/>
                    <a:pt x="376" y="150"/>
                  </a:cubicBezTo>
                  <a:cubicBezTo>
                    <a:pt x="376" y="150"/>
                    <a:pt x="376" y="150"/>
                    <a:pt x="376" y="150"/>
                  </a:cubicBezTo>
                  <a:cubicBezTo>
                    <a:pt x="377" y="150"/>
                    <a:pt x="377" y="150"/>
                    <a:pt x="377" y="150"/>
                  </a:cubicBezTo>
                  <a:cubicBezTo>
                    <a:pt x="377" y="151"/>
                    <a:pt x="377" y="151"/>
                    <a:pt x="377" y="151"/>
                  </a:cubicBezTo>
                  <a:cubicBezTo>
                    <a:pt x="377" y="150"/>
                    <a:pt x="377" y="150"/>
                    <a:pt x="377" y="150"/>
                  </a:cubicBezTo>
                  <a:cubicBezTo>
                    <a:pt x="377" y="150"/>
                    <a:pt x="377" y="150"/>
                    <a:pt x="378" y="150"/>
                  </a:cubicBezTo>
                  <a:cubicBezTo>
                    <a:pt x="378" y="150"/>
                    <a:pt x="378" y="150"/>
                    <a:pt x="378" y="150"/>
                  </a:cubicBezTo>
                  <a:cubicBezTo>
                    <a:pt x="378" y="150"/>
                    <a:pt x="379" y="150"/>
                    <a:pt x="379" y="150"/>
                  </a:cubicBezTo>
                  <a:cubicBezTo>
                    <a:pt x="379" y="140"/>
                    <a:pt x="379" y="140"/>
                    <a:pt x="379" y="140"/>
                  </a:cubicBezTo>
                  <a:cubicBezTo>
                    <a:pt x="375" y="141"/>
                    <a:pt x="375" y="141"/>
                    <a:pt x="375" y="141"/>
                  </a:cubicBezTo>
                  <a:cubicBezTo>
                    <a:pt x="375" y="137"/>
                    <a:pt x="375" y="137"/>
                    <a:pt x="375" y="137"/>
                  </a:cubicBezTo>
                  <a:cubicBezTo>
                    <a:pt x="375" y="137"/>
                    <a:pt x="375" y="137"/>
                    <a:pt x="375" y="136"/>
                  </a:cubicBezTo>
                  <a:cubicBezTo>
                    <a:pt x="375" y="136"/>
                    <a:pt x="375" y="135"/>
                    <a:pt x="375" y="135"/>
                  </a:cubicBezTo>
                  <a:cubicBezTo>
                    <a:pt x="374" y="135"/>
                    <a:pt x="374" y="135"/>
                    <a:pt x="374" y="135"/>
                  </a:cubicBezTo>
                  <a:cubicBezTo>
                    <a:pt x="374" y="135"/>
                    <a:pt x="374" y="135"/>
                    <a:pt x="374" y="135"/>
                  </a:cubicBezTo>
                  <a:cubicBezTo>
                    <a:pt x="373" y="135"/>
                    <a:pt x="373" y="135"/>
                    <a:pt x="373" y="135"/>
                  </a:cubicBezTo>
                  <a:cubicBezTo>
                    <a:pt x="372" y="135"/>
                    <a:pt x="371" y="134"/>
                    <a:pt x="370" y="133"/>
                  </a:cubicBezTo>
                  <a:cubicBezTo>
                    <a:pt x="370" y="132"/>
                    <a:pt x="369" y="132"/>
                    <a:pt x="369" y="131"/>
                  </a:cubicBezTo>
                  <a:cubicBezTo>
                    <a:pt x="368" y="130"/>
                    <a:pt x="368" y="129"/>
                    <a:pt x="367" y="128"/>
                  </a:cubicBezTo>
                  <a:cubicBezTo>
                    <a:pt x="367" y="131"/>
                    <a:pt x="367" y="131"/>
                    <a:pt x="367" y="131"/>
                  </a:cubicBezTo>
                  <a:cubicBezTo>
                    <a:pt x="364" y="131"/>
                    <a:pt x="364" y="131"/>
                    <a:pt x="364" y="131"/>
                  </a:cubicBezTo>
                  <a:cubicBezTo>
                    <a:pt x="364" y="131"/>
                    <a:pt x="364" y="131"/>
                    <a:pt x="364" y="131"/>
                  </a:cubicBezTo>
                  <a:cubicBezTo>
                    <a:pt x="364" y="131"/>
                    <a:pt x="364" y="131"/>
                    <a:pt x="363" y="131"/>
                  </a:cubicBezTo>
                  <a:cubicBezTo>
                    <a:pt x="363" y="131"/>
                    <a:pt x="363" y="131"/>
                    <a:pt x="363" y="131"/>
                  </a:cubicBezTo>
                  <a:cubicBezTo>
                    <a:pt x="363" y="132"/>
                    <a:pt x="363" y="132"/>
                    <a:pt x="363" y="132"/>
                  </a:cubicBezTo>
                  <a:cubicBezTo>
                    <a:pt x="363" y="133"/>
                    <a:pt x="363" y="133"/>
                    <a:pt x="363" y="134"/>
                  </a:cubicBezTo>
                  <a:cubicBezTo>
                    <a:pt x="363" y="137"/>
                    <a:pt x="363" y="137"/>
                    <a:pt x="363" y="137"/>
                  </a:cubicBezTo>
                  <a:cubicBezTo>
                    <a:pt x="360" y="136"/>
                    <a:pt x="360" y="136"/>
                    <a:pt x="360" y="136"/>
                  </a:cubicBezTo>
                  <a:cubicBezTo>
                    <a:pt x="359" y="136"/>
                    <a:pt x="359" y="136"/>
                    <a:pt x="358" y="136"/>
                  </a:cubicBezTo>
                  <a:cubicBezTo>
                    <a:pt x="358" y="136"/>
                    <a:pt x="357" y="136"/>
                    <a:pt x="357" y="136"/>
                  </a:cubicBezTo>
                  <a:cubicBezTo>
                    <a:pt x="356" y="136"/>
                    <a:pt x="356" y="136"/>
                    <a:pt x="356" y="136"/>
                  </a:cubicBezTo>
                  <a:cubicBezTo>
                    <a:pt x="355" y="136"/>
                    <a:pt x="355" y="136"/>
                    <a:pt x="354" y="136"/>
                  </a:cubicBezTo>
                  <a:cubicBezTo>
                    <a:pt x="351" y="135"/>
                    <a:pt x="348" y="135"/>
                    <a:pt x="345" y="133"/>
                  </a:cubicBezTo>
                  <a:cubicBezTo>
                    <a:pt x="343" y="132"/>
                    <a:pt x="342" y="130"/>
                    <a:pt x="341" y="128"/>
                  </a:cubicBezTo>
                  <a:cubicBezTo>
                    <a:pt x="341" y="128"/>
                    <a:pt x="341" y="128"/>
                    <a:pt x="341" y="128"/>
                  </a:cubicBezTo>
                  <a:cubicBezTo>
                    <a:pt x="339" y="128"/>
                    <a:pt x="339" y="128"/>
                    <a:pt x="339" y="128"/>
                  </a:cubicBezTo>
                  <a:cubicBezTo>
                    <a:pt x="339" y="128"/>
                    <a:pt x="338" y="128"/>
                    <a:pt x="338" y="128"/>
                  </a:cubicBezTo>
                  <a:cubicBezTo>
                    <a:pt x="337" y="128"/>
                    <a:pt x="335" y="128"/>
                    <a:pt x="334" y="126"/>
                  </a:cubicBezTo>
                  <a:cubicBezTo>
                    <a:pt x="334" y="126"/>
                    <a:pt x="334" y="126"/>
                    <a:pt x="334" y="126"/>
                  </a:cubicBezTo>
                  <a:cubicBezTo>
                    <a:pt x="333" y="126"/>
                    <a:pt x="333" y="126"/>
                    <a:pt x="333" y="126"/>
                  </a:cubicBezTo>
                  <a:cubicBezTo>
                    <a:pt x="333" y="126"/>
                    <a:pt x="333" y="126"/>
                    <a:pt x="333" y="126"/>
                  </a:cubicBezTo>
                  <a:cubicBezTo>
                    <a:pt x="333" y="126"/>
                    <a:pt x="332" y="126"/>
                    <a:pt x="332" y="126"/>
                  </a:cubicBezTo>
                  <a:cubicBezTo>
                    <a:pt x="332" y="126"/>
                    <a:pt x="331" y="126"/>
                    <a:pt x="330" y="126"/>
                  </a:cubicBezTo>
                  <a:cubicBezTo>
                    <a:pt x="330" y="125"/>
                    <a:pt x="330" y="125"/>
                    <a:pt x="330" y="125"/>
                  </a:cubicBezTo>
                  <a:cubicBezTo>
                    <a:pt x="329" y="125"/>
                    <a:pt x="329" y="124"/>
                    <a:pt x="328" y="124"/>
                  </a:cubicBezTo>
                  <a:cubicBezTo>
                    <a:pt x="327" y="121"/>
                    <a:pt x="329" y="119"/>
                    <a:pt x="331" y="117"/>
                  </a:cubicBezTo>
                  <a:cubicBezTo>
                    <a:pt x="333" y="115"/>
                    <a:pt x="337" y="113"/>
                    <a:pt x="340" y="110"/>
                  </a:cubicBezTo>
                  <a:cubicBezTo>
                    <a:pt x="327" y="118"/>
                    <a:pt x="327" y="118"/>
                    <a:pt x="327" y="118"/>
                  </a:cubicBezTo>
                  <a:cubicBezTo>
                    <a:pt x="324" y="119"/>
                    <a:pt x="321" y="121"/>
                    <a:pt x="317" y="124"/>
                  </a:cubicBezTo>
                  <a:cubicBezTo>
                    <a:pt x="316" y="125"/>
                    <a:pt x="316" y="125"/>
                    <a:pt x="316" y="125"/>
                  </a:cubicBezTo>
                  <a:cubicBezTo>
                    <a:pt x="315" y="126"/>
                    <a:pt x="313" y="127"/>
                    <a:pt x="311" y="128"/>
                  </a:cubicBezTo>
                  <a:cubicBezTo>
                    <a:pt x="315" y="133"/>
                    <a:pt x="315" y="133"/>
                    <a:pt x="315" y="133"/>
                  </a:cubicBezTo>
                  <a:cubicBezTo>
                    <a:pt x="310" y="129"/>
                    <a:pt x="310" y="129"/>
                    <a:pt x="310" y="129"/>
                  </a:cubicBezTo>
                  <a:cubicBezTo>
                    <a:pt x="310" y="129"/>
                    <a:pt x="310" y="129"/>
                    <a:pt x="310" y="129"/>
                  </a:cubicBezTo>
                  <a:cubicBezTo>
                    <a:pt x="309" y="130"/>
                    <a:pt x="308" y="131"/>
                    <a:pt x="307" y="132"/>
                  </a:cubicBezTo>
                  <a:cubicBezTo>
                    <a:pt x="306" y="133"/>
                    <a:pt x="306" y="134"/>
                    <a:pt x="304" y="135"/>
                  </a:cubicBezTo>
                  <a:cubicBezTo>
                    <a:pt x="302" y="136"/>
                    <a:pt x="302" y="136"/>
                    <a:pt x="302" y="136"/>
                  </a:cubicBezTo>
                  <a:cubicBezTo>
                    <a:pt x="299" y="138"/>
                    <a:pt x="298" y="140"/>
                    <a:pt x="297" y="141"/>
                  </a:cubicBezTo>
                  <a:cubicBezTo>
                    <a:pt x="297" y="142"/>
                    <a:pt x="297" y="142"/>
                    <a:pt x="297" y="142"/>
                  </a:cubicBezTo>
                  <a:cubicBezTo>
                    <a:pt x="297" y="143"/>
                    <a:pt x="297" y="143"/>
                    <a:pt x="297" y="143"/>
                  </a:cubicBezTo>
                  <a:cubicBezTo>
                    <a:pt x="297" y="146"/>
                    <a:pt x="297" y="149"/>
                    <a:pt x="295" y="150"/>
                  </a:cubicBezTo>
                  <a:cubicBezTo>
                    <a:pt x="295" y="151"/>
                    <a:pt x="294" y="151"/>
                    <a:pt x="294" y="151"/>
                  </a:cubicBezTo>
                  <a:cubicBezTo>
                    <a:pt x="293" y="151"/>
                    <a:pt x="293" y="151"/>
                    <a:pt x="293" y="151"/>
                  </a:cubicBezTo>
                  <a:cubicBezTo>
                    <a:pt x="293" y="150"/>
                    <a:pt x="293" y="150"/>
                    <a:pt x="293" y="150"/>
                  </a:cubicBezTo>
                  <a:cubicBezTo>
                    <a:pt x="293" y="151"/>
                    <a:pt x="293" y="151"/>
                    <a:pt x="293" y="151"/>
                  </a:cubicBezTo>
                  <a:cubicBezTo>
                    <a:pt x="292" y="151"/>
                    <a:pt x="292" y="151"/>
                    <a:pt x="292" y="151"/>
                  </a:cubicBezTo>
                  <a:cubicBezTo>
                    <a:pt x="292" y="151"/>
                    <a:pt x="292" y="151"/>
                    <a:pt x="292" y="151"/>
                  </a:cubicBezTo>
                  <a:cubicBezTo>
                    <a:pt x="291" y="151"/>
                    <a:pt x="291" y="151"/>
                    <a:pt x="291" y="151"/>
                  </a:cubicBezTo>
                  <a:cubicBezTo>
                    <a:pt x="291" y="150"/>
                    <a:pt x="291" y="150"/>
                    <a:pt x="291" y="150"/>
                  </a:cubicBezTo>
                  <a:cubicBezTo>
                    <a:pt x="291" y="150"/>
                    <a:pt x="291" y="150"/>
                    <a:pt x="291" y="150"/>
                  </a:cubicBezTo>
                  <a:cubicBezTo>
                    <a:pt x="290" y="151"/>
                    <a:pt x="290" y="151"/>
                    <a:pt x="290" y="151"/>
                  </a:cubicBezTo>
                  <a:cubicBezTo>
                    <a:pt x="290" y="151"/>
                    <a:pt x="289" y="151"/>
                    <a:pt x="289" y="151"/>
                  </a:cubicBezTo>
                  <a:cubicBezTo>
                    <a:pt x="285" y="149"/>
                    <a:pt x="282" y="147"/>
                    <a:pt x="278" y="145"/>
                  </a:cubicBezTo>
                  <a:cubicBezTo>
                    <a:pt x="275" y="143"/>
                    <a:pt x="275" y="143"/>
                    <a:pt x="275" y="143"/>
                  </a:cubicBezTo>
                  <a:cubicBezTo>
                    <a:pt x="278" y="140"/>
                    <a:pt x="278" y="140"/>
                    <a:pt x="278" y="140"/>
                  </a:cubicBezTo>
                  <a:cubicBezTo>
                    <a:pt x="278" y="140"/>
                    <a:pt x="279" y="139"/>
                    <a:pt x="280" y="138"/>
                  </a:cubicBezTo>
                  <a:cubicBezTo>
                    <a:pt x="279" y="137"/>
                    <a:pt x="279" y="137"/>
                    <a:pt x="279" y="137"/>
                  </a:cubicBezTo>
                  <a:cubicBezTo>
                    <a:pt x="279" y="137"/>
                    <a:pt x="279" y="137"/>
                    <a:pt x="279" y="137"/>
                  </a:cubicBezTo>
                  <a:cubicBezTo>
                    <a:pt x="278" y="137"/>
                    <a:pt x="278" y="137"/>
                    <a:pt x="278" y="137"/>
                  </a:cubicBezTo>
                  <a:cubicBezTo>
                    <a:pt x="278" y="136"/>
                    <a:pt x="277" y="136"/>
                    <a:pt x="277" y="136"/>
                  </a:cubicBezTo>
                  <a:cubicBezTo>
                    <a:pt x="277" y="136"/>
                    <a:pt x="276" y="135"/>
                    <a:pt x="276" y="135"/>
                  </a:cubicBezTo>
                  <a:cubicBezTo>
                    <a:pt x="276" y="135"/>
                    <a:pt x="276" y="135"/>
                    <a:pt x="275" y="135"/>
                  </a:cubicBezTo>
                  <a:cubicBezTo>
                    <a:pt x="274" y="135"/>
                    <a:pt x="273" y="135"/>
                    <a:pt x="273" y="135"/>
                  </a:cubicBezTo>
                  <a:cubicBezTo>
                    <a:pt x="272" y="135"/>
                    <a:pt x="272" y="135"/>
                    <a:pt x="272" y="135"/>
                  </a:cubicBezTo>
                  <a:cubicBezTo>
                    <a:pt x="271" y="135"/>
                    <a:pt x="271" y="135"/>
                    <a:pt x="271" y="135"/>
                  </a:cubicBezTo>
                  <a:cubicBezTo>
                    <a:pt x="250" y="136"/>
                    <a:pt x="250" y="136"/>
                    <a:pt x="250" y="136"/>
                  </a:cubicBezTo>
                  <a:cubicBezTo>
                    <a:pt x="250" y="136"/>
                    <a:pt x="250" y="136"/>
                    <a:pt x="250" y="136"/>
                  </a:cubicBezTo>
                  <a:cubicBezTo>
                    <a:pt x="249" y="135"/>
                    <a:pt x="247" y="134"/>
                    <a:pt x="247" y="133"/>
                  </a:cubicBezTo>
                  <a:cubicBezTo>
                    <a:pt x="247" y="132"/>
                    <a:pt x="246" y="131"/>
                    <a:pt x="246" y="130"/>
                  </a:cubicBezTo>
                  <a:cubicBezTo>
                    <a:pt x="246" y="128"/>
                    <a:pt x="246" y="128"/>
                    <a:pt x="246" y="128"/>
                  </a:cubicBezTo>
                  <a:cubicBezTo>
                    <a:pt x="245" y="127"/>
                    <a:pt x="245" y="127"/>
                    <a:pt x="245" y="127"/>
                  </a:cubicBezTo>
                  <a:cubicBezTo>
                    <a:pt x="244" y="124"/>
                    <a:pt x="244" y="124"/>
                    <a:pt x="244" y="124"/>
                  </a:cubicBezTo>
                  <a:cubicBezTo>
                    <a:pt x="244" y="121"/>
                    <a:pt x="243" y="118"/>
                    <a:pt x="242" y="115"/>
                  </a:cubicBezTo>
                  <a:cubicBezTo>
                    <a:pt x="242" y="114"/>
                    <a:pt x="242" y="114"/>
                    <a:pt x="242" y="113"/>
                  </a:cubicBezTo>
                  <a:cubicBezTo>
                    <a:pt x="242" y="113"/>
                    <a:pt x="242" y="113"/>
                    <a:pt x="242" y="113"/>
                  </a:cubicBezTo>
                  <a:cubicBezTo>
                    <a:pt x="242" y="113"/>
                    <a:pt x="242" y="112"/>
                    <a:pt x="242" y="112"/>
                  </a:cubicBezTo>
                  <a:cubicBezTo>
                    <a:pt x="241" y="112"/>
                    <a:pt x="241" y="112"/>
                    <a:pt x="241" y="112"/>
                  </a:cubicBezTo>
                  <a:cubicBezTo>
                    <a:pt x="241" y="112"/>
                    <a:pt x="240" y="112"/>
                    <a:pt x="240" y="112"/>
                  </a:cubicBezTo>
                  <a:cubicBezTo>
                    <a:pt x="239" y="112"/>
                    <a:pt x="238" y="112"/>
                    <a:pt x="237" y="112"/>
                  </a:cubicBezTo>
                  <a:cubicBezTo>
                    <a:pt x="237" y="112"/>
                    <a:pt x="236" y="112"/>
                    <a:pt x="236" y="112"/>
                  </a:cubicBezTo>
                  <a:cubicBezTo>
                    <a:pt x="236" y="112"/>
                    <a:pt x="236" y="112"/>
                    <a:pt x="236" y="112"/>
                  </a:cubicBezTo>
                  <a:cubicBezTo>
                    <a:pt x="235" y="112"/>
                    <a:pt x="235" y="112"/>
                    <a:pt x="235" y="112"/>
                  </a:cubicBezTo>
                  <a:cubicBezTo>
                    <a:pt x="233" y="112"/>
                    <a:pt x="231" y="111"/>
                    <a:pt x="231" y="109"/>
                  </a:cubicBezTo>
                  <a:cubicBezTo>
                    <a:pt x="230" y="108"/>
                    <a:pt x="230" y="106"/>
                    <a:pt x="230" y="104"/>
                  </a:cubicBezTo>
                  <a:cubicBezTo>
                    <a:pt x="230" y="103"/>
                    <a:pt x="230" y="102"/>
                    <a:pt x="231" y="101"/>
                  </a:cubicBezTo>
                  <a:cubicBezTo>
                    <a:pt x="231" y="100"/>
                    <a:pt x="231" y="100"/>
                    <a:pt x="231" y="100"/>
                  </a:cubicBezTo>
                  <a:cubicBezTo>
                    <a:pt x="231" y="98"/>
                    <a:pt x="231" y="96"/>
                    <a:pt x="231" y="94"/>
                  </a:cubicBezTo>
                  <a:cubicBezTo>
                    <a:pt x="232" y="92"/>
                    <a:pt x="232" y="91"/>
                    <a:pt x="232" y="89"/>
                  </a:cubicBezTo>
                  <a:cubicBezTo>
                    <a:pt x="232" y="88"/>
                    <a:pt x="232" y="88"/>
                    <a:pt x="232" y="88"/>
                  </a:cubicBezTo>
                  <a:cubicBezTo>
                    <a:pt x="232" y="87"/>
                    <a:pt x="233" y="86"/>
                    <a:pt x="233" y="85"/>
                  </a:cubicBezTo>
                  <a:cubicBezTo>
                    <a:pt x="232" y="85"/>
                    <a:pt x="232" y="85"/>
                    <a:pt x="231" y="85"/>
                  </a:cubicBezTo>
                  <a:cubicBezTo>
                    <a:pt x="228" y="85"/>
                    <a:pt x="226" y="83"/>
                    <a:pt x="225" y="82"/>
                  </a:cubicBezTo>
                  <a:cubicBezTo>
                    <a:pt x="225" y="81"/>
                    <a:pt x="225" y="81"/>
                    <a:pt x="225" y="81"/>
                  </a:cubicBezTo>
                  <a:cubicBezTo>
                    <a:pt x="224" y="81"/>
                    <a:pt x="224" y="81"/>
                    <a:pt x="224" y="81"/>
                  </a:cubicBezTo>
                  <a:cubicBezTo>
                    <a:pt x="224" y="80"/>
                    <a:pt x="224" y="80"/>
                    <a:pt x="224" y="80"/>
                  </a:cubicBezTo>
                  <a:cubicBezTo>
                    <a:pt x="223" y="79"/>
                    <a:pt x="223" y="79"/>
                    <a:pt x="223" y="79"/>
                  </a:cubicBezTo>
                  <a:cubicBezTo>
                    <a:pt x="221" y="76"/>
                    <a:pt x="219" y="74"/>
                    <a:pt x="216" y="72"/>
                  </a:cubicBezTo>
                  <a:cubicBezTo>
                    <a:pt x="214" y="71"/>
                    <a:pt x="214" y="71"/>
                    <a:pt x="214" y="71"/>
                  </a:cubicBezTo>
                  <a:cubicBezTo>
                    <a:pt x="214" y="70"/>
                    <a:pt x="213" y="70"/>
                    <a:pt x="213" y="69"/>
                  </a:cubicBezTo>
                  <a:cubicBezTo>
                    <a:pt x="211" y="67"/>
                    <a:pt x="211" y="67"/>
                    <a:pt x="211" y="67"/>
                  </a:cubicBezTo>
                  <a:cubicBezTo>
                    <a:pt x="210" y="66"/>
                    <a:pt x="209" y="65"/>
                    <a:pt x="208" y="64"/>
                  </a:cubicBezTo>
                  <a:cubicBezTo>
                    <a:pt x="207" y="64"/>
                    <a:pt x="207" y="63"/>
                    <a:pt x="206" y="63"/>
                  </a:cubicBezTo>
                  <a:cubicBezTo>
                    <a:pt x="205" y="63"/>
                    <a:pt x="204" y="64"/>
                    <a:pt x="204" y="64"/>
                  </a:cubicBezTo>
                  <a:cubicBezTo>
                    <a:pt x="203" y="65"/>
                    <a:pt x="203" y="65"/>
                    <a:pt x="203" y="65"/>
                  </a:cubicBezTo>
                  <a:cubicBezTo>
                    <a:pt x="206" y="69"/>
                    <a:pt x="206" y="69"/>
                    <a:pt x="206" y="69"/>
                  </a:cubicBezTo>
                  <a:cubicBezTo>
                    <a:pt x="202" y="65"/>
                    <a:pt x="202" y="65"/>
                    <a:pt x="202" y="65"/>
                  </a:cubicBezTo>
                  <a:cubicBezTo>
                    <a:pt x="201" y="66"/>
                    <a:pt x="201" y="66"/>
                    <a:pt x="201" y="66"/>
                  </a:cubicBezTo>
                  <a:cubicBezTo>
                    <a:pt x="200" y="66"/>
                    <a:pt x="198" y="67"/>
                    <a:pt x="196" y="67"/>
                  </a:cubicBezTo>
                  <a:cubicBezTo>
                    <a:pt x="195" y="67"/>
                    <a:pt x="195" y="67"/>
                    <a:pt x="195" y="67"/>
                  </a:cubicBezTo>
                  <a:cubicBezTo>
                    <a:pt x="188" y="67"/>
                    <a:pt x="188" y="67"/>
                    <a:pt x="188" y="67"/>
                  </a:cubicBezTo>
                  <a:cubicBezTo>
                    <a:pt x="186" y="66"/>
                    <a:pt x="183" y="66"/>
                    <a:pt x="181" y="66"/>
                  </a:cubicBezTo>
                  <a:cubicBezTo>
                    <a:pt x="177" y="66"/>
                    <a:pt x="173" y="65"/>
                    <a:pt x="170" y="65"/>
                  </a:cubicBezTo>
                  <a:cubicBezTo>
                    <a:pt x="169" y="65"/>
                    <a:pt x="167" y="66"/>
                    <a:pt x="166" y="66"/>
                  </a:cubicBezTo>
                  <a:cubicBezTo>
                    <a:pt x="162" y="66"/>
                    <a:pt x="158" y="67"/>
                    <a:pt x="153" y="68"/>
                  </a:cubicBezTo>
                  <a:cubicBezTo>
                    <a:pt x="149" y="68"/>
                    <a:pt x="146" y="69"/>
                    <a:pt x="142" y="69"/>
                  </a:cubicBezTo>
                  <a:cubicBezTo>
                    <a:pt x="142" y="69"/>
                    <a:pt x="141" y="69"/>
                    <a:pt x="141" y="69"/>
                  </a:cubicBezTo>
                  <a:cubicBezTo>
                    <a:pt x="140" y="69"/>
                    <a:pt x="139" y="69"/>
                    <a:pt x="138" y="69"/>
                  </a:cubicBezTo>
                  <a:cubicBezTo>
                    <a:pt x="138" y="69"/>
                    <a:pt x="138" y="69"/>
                    <a:pt x="138" y="69"/>
                  </a:cubicBezTo>
                  <a:cubicBezTo>
                    <a:pt x="137" y="69"/>
                    <a:pt x="136" y="68"/>
                    <a:pt x="135" y="67"/>
                  </a:cubicBezTo>
                  <a:cubicBezTo>
                    <a:pt x="134" y="67"/>
                    <a:pt x="134" y="67"/>
                    <a:pt x="134" y="67"/>
                  </a:cubicBezTo>
                  <a:cubicBezTo>
                    <a:pt x="134" y="66"/>
                    <a:pt x="133" y="66"/>
                    <a:pt x="132" y="65"/>
                  </a:cubicBezTo>
                  <a:cubicBezTo>
                    <a:pt x="131" y="64"/>
                    <a:pt x="131" y="64"/>
                    <a:pt x="131" y="64"/>
                  </a:cubicBezTo>
                  <a:cubicBezTo>
                    <a:pt x="131" y="63"/>
                    <a:pt x="131" y="63"/>
                    <a:pt x="130" y="63"/>
                  </a:cubicBezTo>
                  <a:cubicBezTo>
                    <a:pt x="128" y="60"/>
                    <a:pt x="125" y="57"/>
                    <a:pt x="122" y="54"/>
                  </a:cubicBezTo>
                  <a:cubicBezTo>
                    <a:pt x="122" y="54"/>
                    <a:pt x="117" y="49"/>
                    <a:pt x="115" y="45"/>
                  </a:cubicBezTo>
                  <a:cubicBezTo>
                    <a:pt x="113" y="42"/>
                    <a:pt x="101" y="35"/>
                    <a:pt x="96" y="32"/>
                  </a:cubicBezTo>
                  <a:cubicBezTo>
                    <a:pt x="94" y="31"/>
                    <a:pt x="94" y="31"/>
                    <a:pt x="94" y="31"/>
                  </a:cubicBezTo>
                  <a:cubicBezTo>
                    <a:pt x="94" y="35"/>
                    <a:pt x="94" y="39"/>
                    <a:pt x="93" y="42"/>
                  </a:cubicBezTo>
                  <a:cubicBezTo>
                    <a:pt x="93" y="43"/>
                    <a:pt x="93" y="44"/>
                    <a:pt x="92" y="45"/>
                  </a:cubicBezTo>
                  <a:cubicBezTo>
                    <a:pt x="91" y="46"/>
                    <a:pt x="88" y="47"/>
                    <a:pt x="88" y="48"/>
                  </a:cubicBezTo>
                  <a:cubicBezTo>
                    <a:pt x="88" y="48"/>
                    <a:pt x="89" y="51"/>
                    <a:pt x="89" y="51"/>
                  </a:cubicBezTo>
                  <a:cubicBezTo>
                    <a:pt x="88" y="51"/>
                    <a:pt x="88" y="51"/>
                    <a:pt x="88" y="51"/>
                  </a:cubicBezTo>
                  <a:cubicBezTo>
                    <a:pt x="87" y="51"/>
                    <a:pt x="87" y="49"/>
                    <a:pt x="86" y="49"/>
                  </a:cubicBezTo>
                  <a:cubicBezTo>
                    <a:pt x="86" y="49"/>
                    <a:pt x="86" y="49"/>
                    <a:pt x="86" y="49"/>
                  </a:cubicBezTo>
                  <a:cubicBezTo>
                    <a:pt x="85" y="49"/>
                    <a:pt x="85" y="49"/>
                    <a:pt x="84" y="50"/>
                  </a:cubicBezTo>
                  <a:cubicBezTo>
                    <a:pt x="83" y="50"/>
                    <a:pt x="83" y="50"/>
                    <a:pt x="82" y="50"/>
                  </a:cubicBezTo>
                  <a:cubicBezTo>
                    <a:pt x="82" y="50"/>
                    <a:pt x="82" y="50"/>
                    <a:pt x="81" y="50"/>
                  </a:cubicBezTo>
                  <a:cubicBezTo>
                    <a:pt x="78" y="50"/>
                    <a:pt x="80" y="48"/>
                    <a:pt x="78" y="46"/>
                  </a:cubicBezTo>
                  <a:cubicBezTo>
                    <a:pt x="75" y="43"/>
                    <a:pt x="73" y="40"/>
                    <a:pt x="72" y="35"/>
                  </a:cubicBezTo>
                  <a:cubicBezTo>
                    <a:pt x="71" y="30"/>
                    <a:pt x="75" y="26"/>
                    <a:pt x="77" y="20"/>
                  </a:cubicBezTo>
                  <a:cubicBezTo>
                    <a:pt x="78" y="21"/>
                    <a:pt x="78" y="21"/>
                    <a:pt x="78" y="21"/>
                  </a:cubicBezTo>
                  <a:cubicBezTo>
                    <a:pt x="78" y="19"/>
                    <a:pt x="78" y="19"/>
                    <a:pt x="78" y="19"/>
                  </a:cubicBezTo>
                  <a:cubicBezTo>
                    <a:pt x="79" y="19"/>
                    <a:pt x="79" y="19"/>
                    <a:pt x="79" y="19"/>
                  </a:cubicBezTo>
                  <a:cubicBezTo>
                    <a:pt x="83" y="21"/>
                    <a:pt x="87" y="24"/>
                    <a:pt x="91" y="26"/>
                  </a:cubicBezTo>
                  <a:cubicBezTo>
                    <a:pt x="87" y="24"/>
                    <a:pt x="83" y="21"/>
                    <a:pt x="79" y="19"/>
                  </a:cubicBezTo>
                  <a:cubicBezTo>
                    <a:pt x="79" y="19"/>
                    <a:pt x="79" y="18"/>
                    <a:pt x="79" y="18"/>
                  </a:cubicBezTo>
                  <a:cubicBezTo>
                    <a:pt x="79" y="17"/>
                    <a:pt x="79" y="17"/>
                    <a:pt x="79" y="17"/>
                  </a:cubicBezTo>
                  <a:cubicBezTo>
                    <a:pt x="78" y="17"/>
                    <a:pt x="78" y="17"/>
                    <a:pt x="78" y="17"/>
                  </a:cubicBezTo>
                  <a:cubicBezTo>
                    <a:pt x="79" y="16"/>
                    <a:pt x="79" y="16"/>
                    <a:pt x="79" y="15"/>
                  </a:cubicBezTo>
                  <a:cubicBezTo>
                    <a:pt x="78" y="16"/>
                    <a:pt x="78" y="16"/>
                    <a:pt x="78" y="16"/>
                  </a:cubicBezTo>
                  <a:cubicBezTo>
                    <a:pt x="77" y="15"/>
                    <a:pt x="77" y="12"/>
                    <a:pt x="77" y="11"/>
                  </a:cubicBezTo>
                  <a:cubicBezTo>
                    <a:pt x="77" y="9"/>
                    <a:pt x="77" y="7"/>
                    <a:pt x="76" y="7"/>
                  </a:cubicBezTo>
                  <a:cubicBezTo>
                    <a:pt x="76" y="7"/>
                    <a:pt x="76" y="7"/>
                    <a:pt x="75" y="8"/>
                  </a:cubicBezTo>
                  <a:cubicBezTo>
                    <a:pt x="75" y="7"/>
                    <a:pt x="75" y="6"/>
                    <a:pt x="75" y="6"/>
                  </a:cubicBezTo>
                  <a:cubicBezTo>
                    <a:pt x="74" y="5"/>
                    <a:pt x="73" y="5"/>
                    <a:pt x="72" y="4"/>
                  </a:cubicBezTo>
                  <a:cubicBezTo>
                    <a:pt x="72" y="3"/>
                    <a:pt x="72" y="1"/>
                    <a:pt x="71" y="0"/>
                  </a:cubicBezTo>
                  <a:cubicBezTo>
                    <a:pt x="71" y="0"/>
                    <a:pt x="70" y="0"/>
                    <a:pt x="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298"/>
            <p:cNvSpPr>
              <a:spLocks noEditPoints="1"/>
            </p:cNvSpPr>
            <p:nvPr/>
          </p:nvSpPr>
          <p:spPr bwMode="auto">
            <a:xfrm>
              <a:off x="6563" y="1344"/>
              <a:ext cx="425" cy="475"/>
            </a:xfrm>
            <a:custGeom>
              <a:gdLst>
                <a:gd name="T0" fmla="*/ 133 w 180"/>
                <a:gd name="T1" fmla="*/ 143 h 201"/>
                <a:gd name="T2" fmla="*/ 100 w 180"/>
                <a:gd name="T3" fmla="*/ 0 h 201"/>
                <a:gd name="T4" fmla="*/ 94 w 180"/>
                <a:gd name="T5" fmla="*/ 4 h 201"/>
                <a:gd name="T6" fmla="*/ 89 w 180"/>
                <a:gd name="T7" fmla="*/ 5 h 201"/>
                <a:gd name="T8" fmla="*/ 88 w 180"/>
                <a:gd name="T9" fmla="*/ 13 h 201"/>
                <a:gd name="T10" fmla="*/ 89 w 180"/>
                <a:gd name="T11" fmla="*/ 14 h 201"/>
                <a:gd name="T12" fmla="*/ 95 w 180"/>
                <a:gd name="T13" fmla="*/ 21 h 201"/>
                <a:gd name="T14" fmla="*/ 84 w 180"/>
                <a:gd name="T15" fmla="*/ 23 h 201"/>
                <a:gd name="T16" fmla="*/ 84 w 180"/>
                <a:gd name="T17" fmla="*/ 28 h 201"/>
                <a:gd name="T18" fmla="*/ 82 w 180"/>
                <a:gd name="T19" fmla="*/ 23 h 201"/>
                <a:gd name="T20" fmla="*/ 79 w 180"/>
                <a:gd name="T21" fmla="*/ 28 h 201"/>
                <a:gd name="T22" fmla="*/ 77 w 180"/>
                <a:gd name="T23" fmla="*/ 40 h 201"/>
                <a:gd name="T24" fmla="*/ 75 w 180"/>
                <a:gd name="T25" fmla="*/ 49 h 201"/>
                <a:gd name="T26" fmla="*/ 74 w 180"/>
                <a:gd name="T27" fmla="*/ 52 h 201"/>
                <a:gd name="T28" fmla="*/ 77 w 180"/>
                <a:gd name="T29" fmla="*/ 56 h 201"/>
                <a:gd name="T30" fmla="*/ 80 w 180"/>
                <a:gd name="T31" fmla="*/ 62 h 201"/>
                <a:gd name="T32" fmla="*/ 82 w 180"/>
                <a:gd name="T33" fmla="*/ 67 h 201"/>
                <a:gd name="T34" fmla="*/ 82 w 180"/>
                <a:gd name="T35" fmla="*/ 77 h 201"/>
                <a:gd name="T36" fmla="*/ 77 w 180"/>
                <a:gd name="T37" fmla="*/ 96 h 201"/>
                <a:gd name="T38" fmla="*/ 74 w 180"/>
                <a:gd name="T39" fmla="*/ 105 h 201"/>
                <a:gd name="T40" fmla="*/ 73 w 180"/>
                <a:gd name="T41" fmla="*/ 107 h 201"/>
                <a:gd name="T42" fmla="*/ 72 w 180"/>
                <a:gd name="T43" fmla="*/ 111 h 201"/>
                <a:gd name="T44" fmla="*/ 72 w 180"/>
                <a:gd name="T45" fmla="*/ 113 h 201"/>
                <a:gd name="T46" fmla="*/ 68 w 180"/>
                <a:gd name="T47" fmla="*/ 122 h 201"/>
                <a:gd name="T48" fmla="*/ 67 w 180"/>
                <a:gd name="T49" fmla="*/ 123 h 201"/>
                <a:gd name="T50" fmla="*/ 40 w 180"/>
                <a:gd name="T51" fmla="*/ 132 h 201"/>
                <a:gd name="T52" fmla="*/ 0 w 180"/>
                <a:gd name="T53" fmla="*/ 146 h 201"/>
                <a:gd name="T54" fmla="*/ 25 w 180"/>
                <a:gd name="T55" fmla="*/ 201 h 201"/>
                <a:gd name="T56" fmla="*/ 52 w 180"/>
                <a:gd name="T57" fmla="*/ 192 h 201"/>
                <a:gd name="T58" fmla="*/ 58 w 180"/>
                <a:gd name="T59" fmla="*/ 193 h 201"/>
                <a:gd name="T60" fmla="*/ 66 w 180"/>
                <a:gd name="T61" fmla="*/ 193 h 201"/>
                <a:gd name="T62" fmla="*/ 79 w 180"/>
                <a:gd name="T63" fmla="*/ 172 h 201"/>
                <a:gd name="T64" fmla="*/ 93 w 180"/>
                <a:gd name="T65" fmla="*/ 170 h 201"/>
                <a:gd name="T66" fmla="*/ 103 w 180"/>
                <a:gd name="T67" fmla="*/ 164 h 201"/>
                <a:gd name="T68" fmla="*/ 109 w 180"/>
                <a:gd name="T69" fmla="*/ 150 h 201"/>
                <a:gd name="T70" fmla="*/ 133 w 180"/>
                <a:gd name="T71" fmla="*/ 143 h 201"/>
                <a:gd name="T72" fmla="*/ 133 w 180"/>
                <a:gd name="T73" fmla="*/ 142 h 201"/>
                <a:gd name="T74" fmla="*/ 132 w 180"/>
                <a:gd name="T75" fmla="*/ 140 h 201"/>
                <a:gd name="T76" fmla="*/ 131 w 180"/>
                <a:gd name="T77" fmla="*/ 134 h 201"/>
                <a:gd name="T78" fmla="*/ 133 w 180"/>
                <a:gd name="T79" fmla="*/ 120 h 201"/>
                <a:gd name="T80" fmla="*/ 142 w 180"/>
                <a:gd name="T81" fmla="*/ 105 h 201"/>
                <a:gd name="T82" fmla="*/ 144 w 180"/>
                <a:gd name="T83" fmla="*/ 110 h 201"/>
                <a:gd name="T84" fmla="*/ 149 w 180"/>
                <a:gd name="T85" fmla="*/ 107 h 201"/>
                <a:gd name="T86" fmla="*/ 162 w 180"/>
                <a:gd name="T87" fmla="*/ 89 h 201"/>
                <a:gd name="T88" fmla="*/ 176 w 180"/>
                <a:gd name="T89" fmla="*/ 71 h 201"/>
                <a:gd name="T90" fmla="*/ 176 w 180"/>
                <a:gd name="T91" fmla="*/ 57 h 201"/>
                <a:gd name="T92" fmla="*/ 167 w 180"/>
                <a:gd name="T93" fmla="*/ 50 h 201"/>
                <a:gd name="T94" fmla="*/ 156 w 180"/>
                <a:gd name="T95" fmla="*/ 36 h 201"/>
                <a:gd name="T96" fmla="*/ 150 w 180"/>
                <a:gd name="T97" fmla="*/ 30 h 201"/>
                <a:gd name="T98" fmla="*/ 147 w 180"/>
                <a:gd name="T99" fmla="*/ 30 h 201"/>
                <a:gd name="T100" fmla="*/ 132 w 180"/>
                <a:gd name="T101" fmla="*/ 27 h 201"/>
                <a:gd name="T102" fmla="*/ 109 w 180"/>
                <a:gd name="T103" fmla="*/ 14 h 201"/>
                <a:gd name="T104" fmla="*/ 102 w 180"/>
                <a:gd name="T105" fmla="*/ 4 h 201"/>
                <a:gd name="T106" fmla="*/ 100 w 180"/>
                <a:gd name="T107" fmla="*/ 0 h 2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201">
                  <a:moveTo>
                    <a:pt x="133" y="143"/>
                  </a:moveTo>
                  <a:cubicBezTo>
                    <a:pt x="133" y="143"/>
                    <a:pt x="133" y="143"/>
                    <a:pt x="133" y="143"/>
                  </a:cubicBezTo>
                  <a:cubicBezTo>
                    <a:pt x="133" y="143"/>
                    <a:pt x="133" y="143"/>
                    <a:pt x="133" y="143"/>
                  </a:cubicBezTo>
                  <a:moveTo>
                    <a:pt x="100" y="0"/>
                  </a:moveTo>
                  <a:cubicBezTo>
                    <a:pt x="99" y="2"/>
                    <a:pt x="98" y="2"/>
                    <a:pt x="97" y="3"/>
                  </a:cubicBezTo>
                  <a:cubicBezTo>
                    <a:pt x="96" y="3"/>
                    <a:pt x="95" y="4"/>
                    <a:pt x="94" y="4"/>
                  </a:cubicBezTo>
                  <a:cubicBezTo>
                    <a:pt x="90" y="8"/>
                    <a:pt x="90" y="8"/>
                    <a:pt x="90" y="8"/>
                  </a:cubicBezTo>
                  <a:cubicBezTo>
                    <a:pt x="89" y="5"/>
                    <a:pt x="89" y="5"/>
                    <a:pt x="89" y="5"/>
                  </a:cubicBezTo>
                  <a:cubicBezTo>
                    <a:pt x="89" y="5"/>
                    <a:pt x="89" y="5"/>
                    <a:pt x="89" y="5"/>
                  </a:cubicBezTo>
                  <a:cubicBezTo>
                    <a:pt x="88" y="7"/>
                    <a:pt x="88" y="10"/>
                    <a:pt x="88" y="13"/>
                  </a:cubicBezTo>
                  <a:cubicBezTo>
                    <a:pt x="88" y="14"/>
                    <a:pt x="88" y="14"/>
                    <a:pt x="88" y="14"/>
                  </a:cubicBezTo>
                  <a:cubicBezTo>
                    <a:pt x="89" y="14"/>
                    <a:pt x="89" y="14"/>
                    <a:pt x="89" y="14"/>
                  </a:cubicBezTo>
                  <a:cubicBezTo>
                    <a:pt x="91" y="16"/>
                    <a:pt x="92" y="17"/>
                    <a:pt x="93" y="18"/>
                  </a:cubicBezTo>
                  <a:cubicBezTo>
                    <a:pt x="95" y="21"/>
                    <a:pt x="95" y="21"/>
                    <a:pt x="95" y="21"/>
                  </a:cubicBezTo>
                  <a:cubicBezTo>
                    <a:pt x="89" y="22"/>
                    <a:pt x="89" y="22"/>
                    <a:pt x="89" y="22"/>
                  </a:cubicBezTo>
                  <a:cubicBezTo>
                    <a:pt x="87" y="23"/>
                    <a:pt x="86" y="23"/>
                    <a:pt x="84" y="23"/>
                  </a:cubicBezTo>
                  <a:cubicBezTo>
                    <a:pt x="84" y="23"/>
                    <a:pt x="84" y="23"/>
                    <a:pt x="84" y="23"/>
                  </a:cubicBezTo>
                  <a:cubicBezTo>
                    <a:pt x="84" y="28"/>
                    <a:pt x="84" y="28"/>
                    <a:pt x="84" y="28"/>
                  </a:cubicBezTo>
                  <a:cubicBezTo>
                    <a:pt x="82" y="23"/>
                    <a:pt x="82" y="23"/>
                    <a:pt x="82" y="23"/>
                  </a:cubicBezTo>
                  <a:cubicBezTo>
                    <a:pt x="82" y="23"/>
                    <a:pt x="82" y="23"/>
                    <a:pt x="82" y="23"/>
                  </a:cubicBezTo>
                  <a:cubicBezTo>
                    <a:pt x="80" y="24"/>
                    <a:pt x="80" y="25"/>
                    <a:pt x="79" y="27"/>
                  </a:cubicBezTo>
                  <a:cubicBezTo>
                    <a:pt x="79" y="28"/>
                    <a:pt x="79" y="28"/>
                    <a:pt x="79" y="28"/>
                  </a:cubicBezTo>
                  <a:cubicBezTo>
                    <a:pt x="79" y="29"/>
                    <a:pt x="79" y="30"/>
                    <a:pt x="79" y="31"/>
                  </a:cubicBezTo>
                  <a:cubicBezTo>
                    <a:pt x="78" y="34"/>
                    <a:pt x="77" y="37"/>
                    <a:pt x="77" y="40"/>
                  </a:cubicBezTo>
                  <a:cubicBezTo>
                    <a:pt x="75" y="47"/>
                    <a:pt x="75" y="47"/>
                    <a:pt x="75" y="47"/>
                  </a:cubicBezTo>
                  <a:cubicBezTo>
                    <a:pt x="75" y="48"/>
                    <a:pt x="75" y="48"/>
                    <a:pt x="75" y="49"/>
                  </a:cubicBezTo>
                  <a:cubicBezTo>
                    <a:pt x="75" y="50"/>
                    <a:pt x="75" y="50"/>
                    <a:pt x="75" y="50"/>
                  </a:cubicBezTo>
                  <a:cubicBezTo>
                    <a:pt x="75" y="50"/>
                    <a:pt x="74" y="52"/>
                    <a:pt x="74" y="52"/>
                  </a:cubicBezTo>
                  <a:cubicBezTo>
                    <a:pt x="75" y="54"/>
                    <a:pt x="76" y="55"/>
                    <a:pt x="76" y="56"/>
                  </a:cubicBezTo>
                  <a:cubicBezTo>
                    <a:pt x="77" y="56"/>
                    <a:pt x="77" y="56"/>
                    <a:pt x="77" y="56"/>
                  </a:cubicBezTo>
                  <a:cubicBezTo>
                    <a:pt x="77" y="58"/>
                    <a:pt x="78" y="59"/>
                    <a:pt x="79" y="61"/>
                  </a:cubicBezTo>
                  <a:cubicBezTo>
                    <a:pt x="80" y="62"/>
                    <a:pt x="80" y="62"/>
                    <a:pt x="80" y="62"/>
                  </a:cubicBezTo>
                  <a:cubicBezTo>
                    <a:pt x="80" y="64"/>
                    <a:pt x="81" y="65"/>
                    <a:pt x="81" y="66"/>
                  </a:cubicBezTo>
                  <a:cubicBezTo>
                    <a:pt x="81" y="66"/>
                    <a:pt x="81" y="67"/>
                    <a:pt x="82" y="67"/>
                  </a:cubicBezTo>
                  <a:cubicBezTo>
                    <a:pt x="82" y="69"/>
                    <a:pt x="83" y="71"/>
                    <a:pt x="83" y="73"/>
                  </a:cubicBezTo>
                  <a:cubicBezTo>
                    <a:pt x="83" y="74"/>
                    <a:pt x="82" y="76"/>
                    <a:pt x="82" y="77"/>
                  </a:cubicBezTo>
                  <a:cubicBezTo>
                    <a:pt x="82" y="81"/>
                    <a:pt x="81" y="83"/>
                    <a:pt x="80" y="86"/>
                  </a:cubicBezTo>
                  <a:cubicBezTo>
                    <a:pt x="77" y="96"/>
                    <a:pt x="77" y="96"/>
                    <a:pt x="77" y="96"/>
                  </a:cubicBezTo>
                  <a:cubicBezTo>
                    <a:pt x="76" y="98"/>
                    <a:pt x="75" y="101"/>
                    <a:pt x="74" y="104"/>
                  </a:cubicBezTo>
                  <a:cubicBezTo>
                    <a:pt x="74" y="105"/>
                    <a:pt x="74" y="105"/>
                    <a:pt x="74" y="105"/>
                  </a:cubicBezTo>
                  <a:cubicBezTo>
                    <a:pt x="74" y="106"/>
                    <a:pt x="74" y="106"/>
                    <a:pt x="74" y="106"/>
                  </a:cubicBezTo>
                  <a:cubicBezTo>
                    <a:pt x="73" y="107"/>
                    <a:pt x="73" y="107"/>
                    <a:pt x="73" y="107"/>
                  </a:cubicBezTo>
                  <a:cubicBezTo>
                    <a:pt x="73" y="109"/>
                    <a:pt x="73" y="109"/>
                    <a:pt x="73" y="109"/>
                  </a:cubicBezTo>
                  <a:cubicBezTo>
                    <a:pt x="73" y="110"/>
                    <a:pt x="72" y="111"/>
                    <a:pt x="72" y="111"/>
                  </a:cubicBezTo>
                  <a:cubicBezTo>
                    <a:pt x="72" y="112"/>
                    <a:pt x="72" y="112"/>
                    <a:pt x="72" y="112"/>
                  </a:cubicBezTo>
                  <a:cubicBezTo>
                    <a:pt x="72" y="113"/>
                    <a:pt x="72" y="113"/>
                    <a:pt x="72" y="113"/>
                  </a:cubicBezTo>
                  <a:cubicBezTo>
                    <a:pt x="71" y="115"/>
                    <a:pt x="71" y="118"/>
                    <a:pt x="70" y="119"/>
                  </a:cubicBezTo>
                  <a:cubicBezTo>
                    <a:pt x="69" y="120"/>
                    <a:pt x="69" y="121"/>
                    <a:pt x="68" y="122"/>
                  </a:cubicBezTo>
                  <a:cubicBezTo>
                    <a:pt x="69" y="125"/>
                    <a:pt x="69" y="125"/>
                    <a:pt x="69" y="125"/>
                  </a:cubicBezTo>
                  <a:cubicBezTo>
                    <a:pt x="67" y="123"/>
                    <a:pt x="67" y="123"/>
                    <a:pt x="67" y="123"/>
                  </a:cubicBezTo>
                  <a:cubicBezTo>
                    <a:pt x="63" y="124"/>
                    <a:pt x="63" y="124"/>
                    <a:pt x="63" y="124"/>
                  </a:cubicBezTo>
                  <a:cubicBezTo>
                    <a:pt x="55" y="127"/>
                    <a:pt x="48" y="129"/>
                    <a:pt x="40" y="132"/>
                  </a:cubicBezTo>
                  <a:cubicBezTo>
                    <a:pt x="3" y="145"/>
                    <a:pt x="3" y="145"/>
                    <a:pt x="3" y="145"/>
                  </a:cubicBezTo>
                  <a:cubicBezTo>
                    <a:pt x="1" y="145"/>
                    <a:pt x="1" y="145"/>
                    <a:pt x="0" y="146"/>
                  </a:cubicBezTo>
                  <a:cubicBezTo>
                    <a:pt x="7" y="162"/>
                    <a:pt x="7" y="162"/>
                    <a:pt x="7" y="162"/>
                  </a:cubicBezTo>
                  <a:cubicBezTo>
                    <a:pt x="13" y="175"/>
                    <a:pt x="19" y="188"/>
                    <a:pt x="25" y="201"/>
                  </a:cubicBezTo>
                  <a:cubicBezTo>
                    <a:pt x="28" y="200"/>
                    <a:pt x="33" y="197"/>
                    <a:pt x="35" y="196"/>
                  </a:cubicBezTo>
                  <a:cubicBezTo>
                    <a:pt x="41" y="194"/>
                    <a:pt x="46" y="192"/>
                    <a:pt x="52" y="192"/>
                  </a:cubicBezTo>
                  <a:cubicBezTo>
                    <a:pt x="52" y="192"/>
                    <a:pt x="52" y="192"/>
                    <a:pt x="52" y="192"/>
                  </a:cubicBezTo>
                  <a:cubicBezTo>
                    <a:pt x="54" y="192"/>
                    <a:pt x="56" y="192"/>
                    <a:pt x="58" y="193"/>
                  </a:cubicBezTo>
                  <a:cubicBezTo>
                    <a:pt x="60" y="193"/>
                    <a:pt x="62" y="193"/>
                    <a:pt x="63" y="193"/>
                  </a:cubicBezTo>
                  <a:cubicBezTo>
                    <a:pt x="64" y="193"/>
                    <a:pt x="65" y="193"/>
                    <a:pt x="66" y="193"/>
                  </a:cubicBezTo>
                  <a:cubicBezTo>
                    <a:pt x="66" y="193"/>
                    <a:pt x="67" y="192"/>
                    <a:pt x="67" y="192"/>
                  </a:cubicBezTo>
                  <a:cubicBezTo>
                    <a:pt x="75" y="188"/>
                    <a:pt x="70" y="175"/>
                    <a:pt x="79" y="172"/>
                  </a:cubicBezTo>
                  <a:cubicBezTo>
                    <a:pt x="81" y="171"/>
                    <a:pt x="84" y="171"/>
                    <a:pt x="86" y="171"/>
                  </a:cubicBezTo>
                  <a:cubicBezTo>
                    <a:pt x="88" y="171"/>
                    <a:pt x="91" y="171"/>
                    <a:pt x="93" y="170"/>
                  </a:cubicBezTo>
                  <a:cubicBezTo>
                    <a:pt x="96" y="169"/>
                    <a:pt x="100" y="168"/>
                    <a:pt x="102" y="166"/>
                  </a:cubicBezTo>
                  <a:cubicBezTo>
                    <a:pt x="103" y="164"/>
                    <a:pt x="102" y="165"/>
                    <a:pt x="103" y="164"/>
                  </a:cubicBezTo>
                  <a:cubicBezTo>
                    <a:pt x="104" y="162"/>
                    <a:pt x="104" y="161"/>
                    <a:pt x="104" y="160"/>
                  </a:cubicBezTo>
                  <a:cubicBezTo>
                    <a:pt x="106" y="157"/>
                    <a:pt x="107" y="153"/>
                    <a:pt x="109" y="150"/>
                  </a:cubicBezTo>
                  <a:cubicBezTo>
                    <a:pt x="109" y="149"/>
                    <a:pt x="115" y="149"/>
                    <a:pt x="116" y="148"/>
                  </a:cubicBezTo>
                  <a:cubicBezTo>
                    <a:pt x="120" y="147"/>
                    <a:pt x="132" y="146"/>
                    <a:pt x="133" y="143"/>
                  </a:cubicBezTo>
                  <a:cubicBezTo>
                    <a:pt x="133" y="143"/>
                    <a:pt x="133" y="143"/>
                    <a:pt x="133" y="143"/>
                  </a:cubicBezTo>
                  <a:cubicBezTo>
                    <a:pt x="133" y="143"/>
                    <a:pt x="133" y="142"/>
                    <a:pt x="133" y="142"/>
                  </a:cubicBezTo>
                  <a:cubicBezTo>
                    <a:pt x="132" y="141"/>
                    <a:pt x="132" y="140"/>
                    <a:pt x="132" y="140"/>
                  </a:cubicBezTo>
                  <a:cubicBezTo>
                    <a:pt x="132" y="140"/>
                    <a:pt x="132" y="140"/>
                    <a:pt x="132" y="140"/>
                  </a:cubicBezTo>
                  <a:cubicBezTo>
                    <a:pt x="132" y="139"/>
                    <a:pt x="131" y="139"/>
                    <a:pt x="131" y="137"/>
                  </a:cubicBezTo>
                  <a:cubicBezTo>
                    <a:pt x="131" y="136"/>
                    <a:pt x="132" y="135"/>
                    <a:pt x="131" y="134"/>
                  </a:cubicBezTo>
                  <a:cubicBezTo>
                    <a:pt x="131" y="132"/>
                    <a:pt x="130" y="130"/>
                    <a:pt x="130" y="128"/>
                  </a:cubicBezTo>
                  <a:cubicBezTo>
                    <a:pt x="130" y="125"/>
                    <a:pt x="132" y="122"/>
                    <a:pt x="133" y="120"/>
                  </a:cubicBezTo>
                  <a:cubicBezTo>
                    <a:pt x="134" y="116"/>
                    <a:pt x="137" y="106"/>
                    <a:pt x="141" y="105"/>
                  </a:cubicBezTo>
                  <a:cubicBezTo>
                    <a:pt x="141" y="105"/>
                    <a:pt x="142" y="105"/>
                    <a:pt x="142" y="105"/>
                  </a:cubicBezTo>
                  <a:cubicBezTo>
                    <a:pt x="143" y="105"/>
                    <a:pt x="144" y="106"/>
                    <a:pt x="142" y="107"/>
                  </a:cubicBezTo>
                  <a:cubicBezTo>
                    <a:pt x="140" y="110"/>
                    <a:pt x="142" y="110"/>
                    <a:pt x="144" y="110"/>
                  </a:cubicBezTo>
                  <a:cubicBezTo>
                    <a:pt x="145" y="110"/>
                    <a:pt x="145" y="110"/>
                    <a:pt x="146" y="110"/>
                  </a:cubicBezTo>
                  <a:cubicBezTo>
                    <a:pt x="149" y="109"/>
                    <a:pt x="148" y="109"/>
                    <a:pt x="149" y="107"/>
                  </a:cubicBezTo>
                  <a:cubicBezTo>
                    <a:pt x="151" y="105"/>
                    <a:pt x="152" y="103"/>
                    <a:pt x="154" y="101"/>
                  </a:cubicBezTo>
                  <a:cubicBezTo>
                    <a:pt x="157" y="97"/>
                    <a:pt x="158" y="92"/>
                    <a:pt x="162" y="89"/>
                  </a:cubicBezTo>
                  <a:cubicBezTo>
                    <a:pt x="166" y="86"/>
                    <a:pt x="168" y="85"/>
                    <a:pt x="170" y="81"/>
                  </a:cubicBezTo>
                  <a:cubicBezTo>
                    <a:pt x="172" y="78"/>
                    <a:pt x="176" y="74"/>
                    <a:pt x="176" y="71"/>
                  </a:cubicBezTo>
                  <a:cubicBezTo>
                    <a:pt x="178" y="67"/>
                    <a:pt x="180" y="65"/>
                    <a:pt x="180" y="61"/>
                  </a:cubicBezTo>
                  <a:cubicBezTo>
                    <a:pt x="180" y="58"/>
                    <a:pt x="179" y="57"/>
                    <a:pt x="176" y="57"/>
                  </a:cubicBezTo>
                  <a:cubicBezTo>
                    <a:pt x="173" y="57"/>
                    <a:pt x="172" y="56"/>
                    <a:pt x="171" y="54"/>
                  </a:cubicBezTo>
                  <a:cubicBezTo>
                    <a:pt x="169" y="53"/>
                    <a:pt x="168" y="51"/>
                    <a:pt x="167" y="50"/>
                  </a:cubicBezTo>
                  <a:cubicBezTo>
                    <a:pt x="165" y="48"/>
                    <a:pt x="164" y="46"/>
                    <a:pt x="162" y="44"/>
                  </a:cubicBezTo>
                  <a:cubicBezTo>
                    <a:pt x="160" y="41"/>
                    <a:pt x="158" y="38"/>
                    <a:pt x="156" y="36"/>
                  </a:cubicBezTo>
                  <a:cubicBezTo>
                    <a:pt x="154" y="34"/>
                    <a:pt x="152" y="30"/>
                    <a:pt x="151" y="30"/>
                  </a:cubicBezTo>
                  <a:cubicBezTo>
                    <a:pt x="150" y="30"/>
                    <a:pt x="150" y="30"/>
                    <a:pt x="150" y="30"/>
                  </a:cubicBezTo>
                  <a:cubicBezTo>
                    <a:pt x="149" y="30"/>
                    <a:pt x="148" y="30"/>
                    <a:pt x="147" y="30"/>
                  </a:cubicBezTo>
                  <a:cubicBezTo>
                    <a:pt x="147" y="30"/>
                    <a:pt x="147" y="30"/>
                    <a:pt x="147" y="30"/>
                  </a:cubicBezTo>
                  <a:cubicBezTo>
                    <a:pt x="145" y="30"/>
                    <a:pt x="144" y="30"/>
                    <a:pt x="142" y="29"/>
                  </a:cubicBezTo>
                  <a:cubicBezTo>
                    <a:pt x="138" y="27"/>
                    <a:pt x="136" y="28"/>
                    <a:pt x="132" y="27"/>
                  </a:cubicBezTo>
                  <a:cubicBezTo>
                    <a:pt x="127" y="24"/>
                    <a:pt x="119" y="24"/>
                    <a:pt x="114" y="20"/>
                  </a:cubicBezTo>
                  <a:cubicBezTo>
                    <a:pt x="112" y="18"/>
                    <a:pt x="111" y="16"/>
                    <a:pt x="109" y="14"/>
                  </a:cubicBezTo>
                  <a:cubicBezTo>
                    <a:pt x="108" y="12"/>
                    <a:pt x="105" y="11"/>
                    <a:pt x="104" y="8"/>
                  </a:cubicBezTo>
                  <a:cubicBezTo>
                    <a:pt x="103" y="7"/>
                    <a:pt x="102" y="5"/>
                    <a:pt x="102" y="4"/>
                  </a:cubicBezTo>
                  <a:cubicBezTo>
                    <a:pt x="101" y="3"/>
                    <a:pt x="101" y="2"/>
                    <a:pt x="100" y="1"/>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299"/>
            <p:cNvSpPr/>
            <p:nvPr/>
          </p:nvSpPr>
          <p:spPr bwMode="auto">
            <a:xfrm>
              <a:off x="6031" y="1691"/>
              <a:ext cx="577" cy="355"/>
            </a:xfrm>
            <a:custGeom>
              <a:gdLst>
                <a:gd name="T0" fmla="*/ 209 w 244"/>
                <a:gd name="T1" fmla="*/ 2 h 150"/>
                <a:gd name="T2" fmla="*/ 174 w 244"/>
                <a:gd name="T3" fmla="*/ 7 h 150"/>
                <a:gd name="T4" fmla="*/ 144 w 244"/>
                <a:gd name="T5" fmla="*/ 14 h 150"/>
                <a:gd name="T6" fmla="*/ 133 w 244"/>
                <a:gd name="T7" fmla="*/ 20 h 150"/>
                <a:gd name="T8" fmla="*/ 111 w 244"/>
                <a:gd name="T9" fmla="*/ 48 h 150"/>
                <a:gd name="T10" fmla="*/ 107 w 244"/>
                <a:gd name="T11" fmla="*/ 49 h 150"/>
                <a:gd name="T12" fmla="*/ 105 w 244"/>
                <a:gd name="T13" fmla="*/ 49 h 150"/>
                <a:gd name="T14" fmla="*/ 99 w 244"/>
                <a:gd name="T15" fmla="*/ 46 h 150"/>
                <a:gd name="T16" fmla="*/ 96 w 244"/>
                <a:gd name="T17" fmla="*/ 42 h 150"/>
                <a:gd name="T18" fmla="*/ 94 w 244"/>
                <a:gd name="T19" fmla="*/ 41 h 150"/>
                <a:gd name="T20" fmla="*/ 81 w 244"/>
                <a:gd name="T21" fmla="*/ 40 h 150"/>
                <a:gd name="T22" fmla="*/ 55 w 244"/>
                <a:gd name="T23" fmla="*/ 38 h 150"/>
                <a:gd name="T24" fmla="*/ 43 w 244"/>
                <a:gd name="T25" fmla="*/ 40 h 150"/>
                <a:gd name="T26" fmla="*/ 39 w 244"/>
                <a:gd name="T27" fmla="*/ 40 h 150"/>
                <a:gd name="T28" fmla="*/ 33 w 244"/>
                <a:gd name="T29" fmla="*/ 41 h 150"/>
                <a:gd name="T30" fmla="*/ 28 w 244"/>
                <a:gd name="T31" fmla="*/ 40 h 150"/>
                <a:gd name="T32" fmla="*/ 23 w 244"/>
                <a:gd name="T33" fmla="*/ 37 h 150"/>
                <a:gd name="T34" fmla="*/ 19 w 244"/>
                <a:gd name="T35" fmla="*/ 37 h 150"/>
                <a:gd name="T36" fmla="*/ 18 w 244"/>
                <a:gd name="T37" fmla="*/ 37 h 150"/>
                <a:gd name="T38" fmla="*/ 15 w 244"/>
                <a:gd name="T39" fmla="*/ 44 h 150"/>
                <a:gd name="T40" fmla="*/ 15 w 244"/>
                <a:gd name="T41" fmla="*/ 45 h 150"/>
                <a:gd name="T42" fmla="*/ 15 w 244"/>
                <a:gd name="T43" fmla="*/ 47 h 150"/>
                <a:gd name="T44" fmla="*/ 16 w 244"/>
                <a:gd name="T45" fmla="*/ 49 h 150"/>
                <a:gd name="T46" fmla="*/ 13 w 244"/>
                <a:gd name="T47" fmla="*/ 58 h 150"/>
                <a:gd name="T48" fmla="*/ 8 w 244"/>
                <a:gd name="T49" fmla="*/ 61 h 150"/>
                <a:gd name="T50" fmla="*/ 5 w 244"/>
                <a:gd name="T51" fmla="*/ 64 h 150"/>
                <a:gd name="T52" fmla="*/ 5 w 244"/>
                <a:gd name="T53" fmla="*/ 72 h 150"/>
                <a:gd name="T54" fmla="*/ 4 w 244"/>
                <a:gd name="T55" fmla="*/ 81 h 150"/>
                <a:gd name="T56" fmla="*/ 3 w 244"/>
                <a:gd name="T57" fmla="*/ 87 h 150"/>
                <a:gd name="T58" fmla="*/ 1 w 244"/>
                <a:gd name="T59" fmla="*/ 89 h 150"/>
                <a:gd name="T60" fmla="*/ 2 w 244"/>
                <a:gd name="T61" fmla="*/ 89 h 150"/>
                <a:gd name="T62" fmla="*/ 4 w 244"/>
                <a:gd name="T63" fmla="*/ 90 h 150"/>
                <a:gd name="T64" fmla="*/ 9 w 244"/>
                <a:gd name="T65" fmla="*/ 109 h 150"/>
                <a:gd name="T66" fmla="*/ 15 w 244"/>
                <a:gd name="T67" fmla="*/ 133 h 150"/>
                <a:gd name="T68" fmla="*/ 20 w 244"/>
                <a:gd name="T69" fmla="*/ 149 h 150"/>
                <a:gd name="T70" fmla="*/ 35 w 244"/>
                <a:gd name="T71" fmla="*/ 150 h 150"/>
                <a:gd name="T72" fmla="*/ 41 w 244"/>
                <a:gd name="T73" fmla="*/ 150 h 150"/>
                <a:gd name="T74" fmla="*/ 45 w 244"/>
                <a:gd name="T75" fmla="*/ 148 h 150"/>
                <a:gd name="T76" fmla="*/ 49 w 244"/>
                <a:gd name="T77" fmla="*/ 147 h 150"/>
                <a:gd name="T78" fmla="*/ 58 w 244"/>
                <a:gd name="T79" fmla="*/ 148 h 150"/>
                <a:gd name="T80" fmla="*/ 78 w 244"/>
                <a:gd name="T81" fmla="*/ 133 h 150"/>
                <a:gd name="T82" fmla="*/ 122 w 244"/>
                <a:gd name="T83" fmla="*/ 119 h 150"/>
                <a:gd name="T84" fmla="*/ 133 w 244"/>
                <a:gd name="T85" fmla="*/ 118 h 150"/>
                <a:gd name="T86" fmla="*/ 143 w 244"/>
                <a:gd name="T87" fmla="*/ 117 h 150"/>
                <a:gd name="T88" fmla="*/ 160 w 244"/>
                <a:gd name="T89" fmla="*/ 102 h 150"/>
                <a:gd name="T90" fmla="*/ 189 w 244"/>
                <a:gd name="T91" fmla="*/ 93 h 150"/>
                <a:gd name="T92" fmla="*/ 219 w 244"/>
                <a:gd name="T93" fmla="*/ 82 h 150"/>
                <a:gd name="T94" fmla="*/ 226 w 244"/>
                <a:gd name="T95" fmla="*/ 76 h 150"/>
                <a:gd name="T96" fmla="*/ 225 w 244"/>
                <a:gd name="T97" fmla="*/ 73 h 150"/>
                <a:gd name="T98" fmla="*/ 237 w 244"/>
                <a:gd name="T99" fmla="*/ 58 h 150"/>
                <a:gd name="T100" fmla="*/ 226 w 244"/>
                <a:gd name="T101" fmla="*/ 16 h 1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150">
                  <a:moveTo>
                    <a:pt x="219" y="0"/>
                  </a:moveTo>
                  <a:cubicBezTo>
                    <a:pt x="215" y="1"/>
                    <a:pt x="212" y="2"/>
                    <a:pt x="209" y="2"/>
                  </a:cubicBezTo>
                  <a:cubicBezTo>
                    <a:pt x="198" y="4"/>
                    <a:pt x="187" y="5"/>
                    <a:pt x="178" y="7"/>
                  </a:cubicBezTo>
                  <a:cubicBezTo>
                    <a:pt x="174" y="7"/>
                    <a:pt x="174" y="7"/>
                    <a:pt x="174" y="7"/>
                  </a:cubicBezTo>
                  <a:cubicBezTo>
                    <a:pt x="165" y="7"/>
                    <a:pt x="156" y="8"/>
                    <a:pt x="149" y="12"/>
                  </a:cubicBezTo>
                  <a:cubicBezTo>
                    <a:pt x="148" y="12"/>
                    <a:pt x="146" y="13"/>
                    <a:pt x="144" y="14"/>
                  </a:cubicBezTo>
                  <a:cubicBezTo>
                    <a:pt x="140" y="15"/>
                    <a:pt x="136" y="17"/>
                    <a:pt x="134" y="19"/>
                  </a:cubicBezTo>
                  <a:cubicBezTo>
                    <a:pt x="133" y="20"/>
                    <a:pt x="133" y="20"/>
                    <a:pt x="133" y="20"/>
                  </a:cubicBezTo>
                  <a:cubicBezTo>
                    <a:pt x="118" y="42"/>
                    <a:pt x="118" y="42"/>
                    <a:pt x="118" y="42"/>
                  </a:cubicBezTo>
                  <a:cubicBezTo>
                    <a:pt x="116" y="44"/>
                    <a:pt x="114" y="46"/>
                    <a:pt x="111" y="48"/>
                  </a:cubicBezTo>
                  <a:cubicBezTo>
                    <a:pt x="110" y="48"/>
                    <a:pt x="109" y="48"/>
                    <a:pt x="108" y="49"/>
                  </a:cubicBezTo>
                  <a:cubicBezTo>
                    <a:pt x="107" y="49"/>
                    <a:pt x="107" y="49"/>
                    <a:pt x="107" y="49"/>
                  </a:cubicBezTo>
                  <a:cubicBezTo>
                    <a:pt x="107" y="49"/>
                    <a:pt x="106" y="49"/>
                    <a:pt x="105" y="49"/>
                  </a:cubicBezTo>
                  <a:cubicBezTo>
                    <a:pt x="105" y="49"/>
                    <a:pt x="105" y="49"/>
                    <a:pt x="105" y="49"/>
                  </a:cubicBezTo>
                  <a:cubicBezTo>
                    <a:pt x="104" y="49"/>
                    <a:pt x="104" y="49"/>
                    <a:pt x="104" y="49"/>
                  </a:cubicBezTo>
                  <a:cubicBezTo>
                    <a:pt x="102" y="49"/>
                    <a:pt x="100" y="48"/>
                    <a:pt x="99" y="46"/>
                  </a:cubicBezTo>
                  <a:cubicBezTo>
                    <a:pt x="99" y="46"/>
                    <a:pt x="98" y="45"/>
                    <a:pt x="98" y="45"/>
                  </a:cubicBezTo>
                  <a:cubicBezTo>
                    <a:pt x="97" y="43"/>
                    <a:pt x="96" y="42"/>
                    <a:pt x="96" y="42"/>
                  </a:cubicBezTo>
                  <a:cubicBezTo>
                    <a:pt x="95" y="42"/>
                    <a:pt x="95" y="42"/>
                    <a:pt x="95" y="42"/>
                  </a:cubicBezTo>
                  <a:cubicBezTo>
                    <a:pt x="94" y="41"/>
                    <a:pt x="94" y="41"/>
                    <a:pt x="94" y="41"/>
                  </a:cubicBezTo>
                  <a:cubicBezTo>
                    <a:pt x="90" y="41"/>
                    <a:pt x="86" y="41"/>
                    <a:pt x="82" y="40"/>
                  </a:cubicBezTo>
                  <a:cubicBezTo>
                    <a:pt x="81" y="40"/>
                    <a:pt x="81" y="40"/>
                    <a:pt x="81" y="40"/>
                  </a:cubicBezTo>
                  <a:cubicBezTo>
                    <a:pt x="74" y="39"/>
                    <a:pt x="67" y="38"/>
                    <a:pt x="60" y="38"/>
                  </a:cubicBezTo>
                  <a:cubicBezTo>
                    <a:pt x="58" y="38"/>
                    <a:pt x="57" y="38"/>
                    <a:pt x="55" y="38"/>
                  </a:cubicBezTo>
                  <a:cubicBezTo>
                    <a:pt x="52" y="38"/>
                    <a:pt x="49" y="39"/>
                    <a:pt x="45" y="39"/>
                  </a:cubicBezTo>
                  <a:cubicBezTo>
                    <a:pt x="43" y="40"/>
                    <a:pt x="43" y="40"/>
                    <a:pt x="43" y="40"/>
                  </a:cubicBezTo>
                  <a:cubicBezTo>
                    <a:pt x="42" y="40"/>
                    <a:pt x="41" y="40"/>
                    <a:pt x="41" y="40"/>
                  </a:cubicBezTo>
                  <a:cubicBezTo>
                    <a:pt x="40" y="40"/>
                    <a:pt x="39" y="40"/>
                    <a:pt x="39" y="40"/>
                  </a:cubicBezTo>
                  <a:cubicBezTo>
                    <a:pt x="37" y="41"/>
                    <a:pt x="37" y="41"/>
                    <a:pt x="37" y="41"/>
                  </a:cubicBezTo>
                  <a:cubicBezTo>
                    <a:pt x="36" y="41"/>
                    <a:pt x="35" y="41"/>
                    <a:pt x="33" y="41"/>
                  </a:cubicBezTo>
                  <a:cubicBezTo>
                    <a:pt x="32" y="41"/>
                    <a:pt x="30" y="41"/>
                    <a:pt x="29" y="41"/>
                  </a:cubicBezTo>
                  <a:cubicBezTo>
                    <a:pt x="28" y="40"/>
                    <a:pt x="28" y="40"/>
                    <a:pt x="28" y="40"/>
                  </a:cubicBezTo>
                  <a:cubicBezTo>
                    <a:pt x="26" y="40"/>
                    <a:pt x="24" y="39"/>
                    <a:pt x="23" y="37"/>
                  </a:cubicBezTo>
                  <a:cubicBezTo>
                    <a:pt x="23" y="37"/>
                    <a:pt x="23" y="37"/>
                    <a:pt x="23" y="37"/>
                  </a:cubicBezTo>
                  <a:cubicBezTo>
                    <a:pt x="22" y="37"/>
                    <a:pt x="22" y="37"/>
                    <a:pt x="21" y="37"/>
                  </a:cubicBezTo>
                  <a:cubicBezTo>
                    <a:pt x="21" y="37"/>
                    <a:pt x="20" y="37"/>
                    <a:pt x="19" y="37"/>
                  </a:cubicBezTo>
                  <a:cubicBezTo>
                    <a:pt x="19" y="37"/>
                    <a:pt x="19" y="37"/>
                    <a:pt x="19" y="37"/>
                  </a:cubicBezTo>
                  <a:cubicBezTo>
                    <a:pt x="18" y="37"/>
                    <a:pt x="18" y="37"/>
                    <a:pt x="18" y="37"/>
                  </a:cubicBezTo>
                  <a:cubicBezTo>
                    <a:pt x="18" y="38"/>
                    <a:pt x="17" y="39"/>
                    <a:pt x="16" y="42"/>
                  </a:cubicBezTo>
                  <a:cubicBezTo>
                    <a:pt x="15" y="43"/>
                    <a:pt x="15" y="44"/>
                    <a:pt x="15" y="44"/>
                  </a:cubicBezTo>
                  <a:cubicBezTo>
                    <a:pt x="15" y="44"/>
                    <a:pt x="15" y="45"/>
                    <a:pt x="15" y="45"/>
                  </a:cubicBezTo>
                  <a:cubicBezTo>
                    <a:pt x="15" y="45"/>
                    <a:pt x="15" y="45"/>
                    <a:pt x="15" y="45"/>
                  </a:cubicBezTo>
                  <a:cubicBezTo>
                    <a:pt x="15" y="46"/>
                    <a:pt x="15" y="46"/>
                    <a:pt x="15" y="46"/>
                  </a:cubicBezTo>
                  <a:cubicBezTo>
                    <a:pt x="15" y="47"/>
                    <a:pt x="15" y="47"/>
                    <a:pt x="15" y="47"/>
                  </a:cubicBezTo>
                  <a:cubicBezTo>
                    <a:pt x="15" y="47"/>
                    <a:pt x="15" y="48"/>
                    <a:pt x="15" y="49"/>
                  </a:cubicBezTo>
                  <a:cubicBezTo>
                    <a:pt x="16" y="49"/>
                    <a:pt x="16" y="49"/>
                    <a:pt x="16" y="49"/>
                  </a:cubicBezTo>
                  <a:cubicBezTo>
                    <a:pt x="16" y="52"/>
                    <a:pt x="17" y="55"/>
                    <a:pt x="15" y="57"/>
                  </a:cubicBezTo>
                  <a:cubicBezTo>
                    <a:pt x="14" y="57"/>
                    <a:pt x="14" y="57"/>
                    <a:pt x="13" y="58"/>
                  </a:cubicBezTo>
                  <a:cubicBezTo>
                    <a:pt x="12" y="58"/>
                    <a:pt x="12" y="58"/>
                    <a:pt x="12" y="58"/>
                  </a:cubicBezTo>
                  <a:cubicBezTo>
                    <a:pt x="8" y="60"/>
                    <a:pt x="8" y="61"/>
                    <a:pt x="8" y="61"/>
                  </a:cubicBezTo>
                  <a:cubicBezTo>
                    <a:pt x="7" y="62"/>
                    <a:pt x="7" y="62"/>
                    <a:pt x="7" y="62"/>
                  </a:cubicBezTo>
                  <a:cubicBezTo>
                    <a:pt x="5" y="64"/>
                    <a:pt x="5" y="64"/>
                    <a:pt x="5" y="64"/>
                  </a:cubicBezTo>
                  <a:cubicBezTo>
                    <a:pt x="4" y="64"/>
                    <a:pt x="4" y="64"/>
                    <a:pt x="4" y="64"/>
                  </a:cubicBezTo>
                  <a:cubicBezTo>
                    <a:pt x="5" y="66"/>
                    <a:pt x="5" y="69"/>
                    <a:pt x="5" y="72"/>
                  </a:cubicBezTo>
                  <a:cubicBezTo>
                    <a:pt x="5" y="73"/>
                    <a:pt x="4" y="74"/>
                    <a:pt x="4" y="75"/>
                  </a:cubicBezTo>
                  <a:cubicBezTo>
                    <a:pt x="4" y="77"/>
                    <a:pt x="4" y="79"/>
                    <a:pt x="4" y="81"/>
                  </a:cubicBezTo>
                  <a:cubicBezTo>
                    <a:pt x="4" y="84"/>
                    <a:pt x="4" y="86"/>
                    <a:pt x="4" y="89"/>
                  </a:cubicBezTo>
                  <a:cubicBezTo>
                    <a:pt x="4" y="89"/>
                    <a:pt x="4" y="87"/>
                    <a:pt x="3" y="87"/>
                  </a:cubicBezTo>
                  <a:cubicBezTo>
                    <a:pt x="3" y="87"/>
                    <a:pt x="3" y="87"/>
                    <a:pt x="3" y="87"/>
                  </a:cubicBezTo>
                  <a:cubicBezTo>
                    <a:pt x="0" y="88"/>
                    <a:pt x="0" y="89"/>
                    <a:pt x="1" y="89"/>
                  </a:cubicBezTo>
                  <a:cubicBezTo>
                    <a:pt x="1" y="89"/>
                    <a:pt x="1" y="89"/>
                    <a:pt x="1" y="89"/>
                  </a:cubicBezTo>
                  <a:cubicBezTo>
                    <a:pt x="2" y="89"/>
                    <a:pt x="2" y="89"/>
                    <a:pt x="2" y="89"/>
                  </a:cubicBezTo>
                  <a:cubicBezTo>
                    <a:pt x="2" y="89"/>
                    <a:pt x="2" y="89"/>
                    <a:pt x="3" y="89"/>
                  </a:cubicBezTo>
                  <a:cubicBezTo>
                    <a:pt x="3" y="89"/>
                    <a:pt x="4" y="89"/>
                    <a:pt x="4" y="90"/>
                  </a:cubicBezTo>
                  <a:cubicBezTo>
                    <a:pt x="6" y="91"/>
                    <a:pt x="6" y="98"/>
                    <a:pt x="7" y="100"/>
                  </a:cubicBezTo>
                  <a:cubicBezTo>
                    <a:pt x="7" y="103"/>
                    <a:pt x="8" y="106"/>
                    <a:pt x="9" y="109"/>
                  </a:cubicBezTo>
                  <a:cubicBezTo>
                    <a:pt x="10" y="114"/>
                    <a:pt x="11" y="118"/>
                    <a:pt x="14" y="122"/>
                  </a:cubicBezTo>
                  <a:cubicBezTo>
                    <a:pt x="16" y="127"/>
                    <a:pt x="15" y="128"/>
                    <a:pt x="15" y="133"/>
                  </a:cubicBezTo>
                  <a:cubicBezTo>
                    <a:pt x="15" y="134"/>
                    <a:pt x="14" y="135"/>
                    <a:pt x="15" y="136"/>
                  </a:cubicBezTo>
                  <a:cubicBezTo>
                    <a:pt x="16" y="141"/>
                    <a:pt x="18" y="145"/>
                    <a:pt x="20" y="149"/>
                  </a:cubicBezTo>
                  <a:cubicBezTo>
                    <a:pt x="20" y="150"/>
                    <a:pt x="23" y="150"/>
                    <a:pt x="27" y="150"/>
                  </a:cubicBezTo>
                  <a:cubicBezTo>
                    <a:pt x="29" y="150"/>
                    <a:pt x="33" y="150"/>
                    <a:pt x="35" y="150"/>
                  </a:cubicBezTo>
                  <a:cubicBezTo>
                    <a:pt x="38" y="150"/>
                    <a:pt x="41" y="150"/>
                    <a:pt x="41" y="150"/>
                  </a:cubicBezTo>
                  <a:cubicBezTo>
                    <a:pt x="41" y="150"/>
                    <a:pt x="41" y="150"/>
                    <a:pt x="41" y="150"/>
                  </a:cubicBezTo>
                  <a:cubicBezTo>
                    <a:pt x="42" y="150"/>
                    <a:pt x="42" y="150"/>
                    <a:pt x="42" y="150"/>
                  </a:cubicBezTo>
                  <a:cubicBezTo>
                    <a:pt x="43" y="150"/>
                    <a:pt x="44" y="149"/>
                    <a:pt x="45" y="148"/>
                  </a:cubicBezTo>
                  <a:cubicBezTo>
                    <a:pt x="47" y="148"/>
                    <a:pt x="48" y="147"/>
                    <a:pt x="49" y="147"/>
                  </a:cubicBezTo>
                  <a:cubicBezTo>
                    <a:pt x="49" y="147"/>
                    <a:pt x="49" y="147"/>
                    <a:pt x="49" y="147"/>
                  </a:cubicBezTo>
                  <a:cubicBezTo>
                    <a:pt x="52" y="147"/>
                    <a:pt x="54" y="148"/>
                    <a:pt x="56" y="148"/>
                  </a:cubicBezTo>
                  <a:cubicBezTo>
                    <a:pt x="57" y="148"/>
                    <a:pt x="57" y="148"/>
                    <a:pt x="58" y="148"/>
                  </a:cubicBezTo>
                  <a:cubicBezTo>
                    <a:pt x="57" y="142"/>
                    <a:pt x="65" y="140"/>
                    <a:pt x="69" y="136"/>
                  </a:cubicBezTo>
                  <a:cubicBezTo>
                    <a:pt x="72" y="133"/>
                    <a:pt x="74" y="133"/>
                    <a:pt x="78" y="133"/>
                  </a:cubicBezTo>
                  <a:cubicBezTo>
                    <a:pt x="87" y="131"/>
                    <a:pt x="97" y="129"/>
                    <a:pt x="106" y="128"/>
                  </a:cubicBezTo>
                  <a:cubicBezTo>
                    <a:pt x="112" y="126"/>
                    <a:pt x="117" y="123"/>
                    <a:pt x="122" y="119"/>
                  </a:cubicBezTo>
                  <a:cubicBezTo>
                    <a:pt x="125" y="118"/>
                    <a:pt x="126" y="117"/>
                    <a:pt x="128" y="117"/>
                  </a:cubicBezTo>
                  <a:cubicBezTo>
                    <a:pt x="129" y="117"/>
                    <a:pt x="131" y="118"/>
                    <a:pt x="133" y="118"/>
                  </a:cubicBezTo>
                  <a:cubicBezTo>
                    <a:pt x="133" y="118"/>
                    <a:pt x="134" y="118"/>
                    <a:pt x="136" y="118"/>
                  </a:cubicBezTo>
                  <a:cubicBezTo>
                    <a:pt x="138" y="118"/>
                    <a:pt x="142" y="118"/>
                    <a:pt x="143" y="117"/>
                  </a:cubicBezTo>
                  <a:cubicBezTo>
                    <a:pt x="145" y="114"/>
                    <a:pt x="148" y="111"/>
                    <a:pt x="150" y="108"/>
                  </a:cubicBezTo>
                  <a:cubicBezTo>
                    <a:pt x="153" y="105"/>
                    <a:pt x="156" y="104"/>
                    <a:pt x="160" y="102"/>
                  </a:cubicBezTo>
                  <a:cubicBezTo>
                    <a:pt x="163" y="101"/>
                    <a:pt x="166" y="100"/>
                    <a:pt x="169" y="99"/>
                  </a:cubicBezTo>
                  <a:cubicBezTo>
                    <a:pt x="176" y="97"/>
                    <a:pt x="182" y="95"/>
                    <a:pt x="189" y="93"/>
                  </a:cubicBezTo>
                  <a:cubicBezTo>
                    <a:pt x="195" y="91"/>
                    <a:pt x="200" y="91"/>
                    <a:pt x="206" y="88"/>
                  </a:cubicBezTo>
                  <a:cubicBezTo>
                    <a:pt x="210" y="86"/>
                    <a:pt x="214" y="84"/>
                    <a:pt x="219" y="82"/>
                  </a:cubicBezTo>
                  <a:cubicBezTo>
                    <a:pt x="220" y="82"/>
                    <a:pt x="226" y="80"/>
                    <a:pt x="226" y="79"/>
                  </a:cubicBezTo>
                  <a:cubicBezTo>
                    <a:pt x="227" y="78"/>
                    <a:pt x="226" y="77"/>
                    <a:pt x="226" y="76"/>
                  </a:cubicBezTo>
                  <a:cubicBezTo>
                    <a:pt x="226" y="75"/>
                    <a:pt x="226" y="74"/>
                    <a:pt x="226" y="74"/>
                  </a:cubicBezTo>
                  <a:cubicBezTo>
                    <a:pt x="226" y="73"/>
                    <a:pt x="225" y="73"/>
                    <a:pt x="225" y="73"/>
                  </a:cubicBezTo>
                  <a:cubicBezTo>
                    <a:pt x="225" y="69"/>
                    <a:pt x="228" y="66"/>
                    <a:pt x="230" y="63"/>
                  </a:cubicBezTo>
                  <a:cubicBezTo>
                    <a:pt x="232" y="60"/>
                    <a:pt x="233" y="59"/>
                    <a:pt x="237" y="58"/>
                  </a:cubicBezTo>
                  <a:cubicBezTo>
                    <a:pt x="239" y="57"/>
                    <a:pt x="242" y="56"/>
                    <a:pt x="244" y="55"/>
                  </a:cubicBezTo>
                  <a:cubicBezTo>
                    <a:pt x="238" y="43"/>
                    <a:pt x="232" y="29"/>
                    <a:pt x="226" y="16"/>
                  </a:cubicBezTo>
                  <a:cubicBezTo>
                    <a:pt x="219" y="0"/>
                    <a:pt x="219" y="0"/>
                    <a:pt x="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300"/>
            <p:cNvSpPr/>
            <p:nvPr/>
          </p:nvSpPr>
          <p:spPr bwMode="auto">
            <a:xfrm>
              <a:off x="6544" y="1278"/>
              <a:ext cx="253" cy="184"/>
            </a:xfrm>
            <a:custGeom>
              <a:gdLst>
                <a:gd name="T0" fmla="*/ 97 w 107"/>
                <a:gd name="T1" fmla="*/ 0 h 78"/>
                <a:gd name="T2" fmla="*/ 92 w 107"/>
                <a:gd name="T3" fmla="*/ 7 h 78"/>
                <a:gd name="T4" fmla="*/ 86 w 107"/>
                <a:gd name="T5" fmla="*/ 13 h 78"/>
                <a:gd name="T6" fmla="*/ 70 w 107"/>
                <a:gd name="T7" fmla="*/ 28 h 78"/>
                <a:gd name="T8" fmla="*/ 65 w 107"/>
                <a:gd name="T9" fmla="*/ 34 h 78"/>
                <a:gd name="T10" fmla="*/ 60 w 107"/>
                <a:gd name="T11" fmla="*/ 42 h 78"/>
                <a:gd name="T12" fmla="*/ 58 w 107"/>
                <a:gd name="T13" fmla="*/ 43 h 78"/>
                <a:gd name="T14" fmla="*/ 53 w 107"/>
                <a:gd name="T15" fmla="*/ 42 h 78"/>
                <a:gd name="T16" fmla="*/ 45 w 107"/>
                <a:gd name="T17" fmla="*/ 47 h 78"/>
                <a:gd name="T18" fmla="*/ 44 w 107"/>
                <a:gd name="T19" fmla="*/ 48 h 78"/>
                <a:gd name="T20" fmla="*/ 39 w 107"/>
                <a:gd name="T21" fmla="*/ 47 h 78"/>
                <a:gd name="T22" fmla="*/ 31 w 107"/>
                <a:gd name="T23" fmla="*/ 46 h 78"/>
                <a:gd name="T24" fmla="*/ 21 w 107"/>
                <a:gd name="T25" fmla="*/ 47 h 78"/>
                <a:gd name="T26" fmla="*/ 4 w 107"/>
                <a:gd name="T27" fmla="*/ 50 h 78"/>
                <a:gd name="T28" fmla="*/ 0 w 107"/>
                <a:gd name="T29" fmla="*/ 49 h 78"/>
                <a:gd name="T30" fmla="*/ 3 w 107"/>
                <a:gd name="T31" fmla="*/ 52 h 78"/>
                <a:gd name="T32" fmla="*/ 4 w 107"/>
                <a:gd name="T33" fmla="*/ 54 h 78"/>
                <a:gd name="T34" fmla="*/ 7 w 107"/>
                <a:gd name="T35" fmla="*/ 58 h 78"/>
                <a:gd name="T36" fmla="*/ 11 w 107"/>
                <a:gd name="T37" fmla="*/ 62 h 78"/>
                <a:gd name="T38" fmla="*/ 19 w 107"/>
                <a:gd name="T39" fmla="*/ 72 h 78"/>
                <a:gd name="T40" fmla="*/ 77 w 107"/>
                <a:gd name="T41" fmla="*/ 78 h 78"/>
                <a:gd name="T42" fmla="*/ 77 w 107"/>
                <a:gd name="T43" fmla="*/ 75 h 78"/>
                <a:gd name="T44" fmla="*/ 78 w 107"/>
                <a:gd name="T45" fmla="*/ 74 h 78"/>
                <a:gd name="T46" fmla="*/ 79 w 107"/>
                <a:gd name="T47" fmla="*/ 68 h 78"/>
                <a:gd name="T48" fmla="*/ 81 w 107"/>
                <a:gd name="T49" fmla="*/ 58 h 78"/>
                <a:gd name="T50" fmla="*/ 81 w 107"/>
                <a:gd name="T51" fmla="*/ 56 h 78"/>
                <a:gd name="T52" fmla="*/ 81 w 107"/>
                <a:gd name="T53" fmla="*/ 55 h 78"/>
                <a:gd name="T54" fmla="*/ 82 w 107"/>
                <a:gd name="T55" fmla="*/ 54 h 78"/>
                <a:gd name="T56" fmla="*/ 87 w 107"/>
                <a:gd name="T57" fmla="*/ 46 h 78"/>
                <a:gd name="T58" fmla="*/ 89 w 107"/>
                <a:gd name="T59" fmla="*/ 45 h 78"/>
                <a:gd name="T60" fmla="*/ 90 w 107"/>
                <a:gd name="T61" fmla="*/ 45 h 78"/>
                <a:gd name="T62" fmla="*/ 91 w 107"/>
                <a:gd name="T63" fmla="*/ 45 h 78"/>
                <a:gd name="T64" fmla="*/ 91 w 107"/>
                <a:gd name="T65" fmla="*/ 45 h 78"/>
                <a:gd name="T66" fmla="*/ 91 w 107"/>
                <a:gd name="T67" fmla="*/ 45 h 78"/>
                <a:gd name="T68" fmla="*/ 90 w 107"/>
                <a:gd name="T69" fmla="*/ 43 h 78"/>
                <a:gd name="T70" fmla="*/ 92 w 107"/>
                <a:gd name="T71" fmla="*/ 29 h 78"/>
                <a:gd name="T72" fmla="*/ 93 w 107"/>
                <a:gd name="T73" fmla="*/ 27 h 78"/>
                <a:gd name="T74" fmla="*/ 99 w 107"/>
                <a:gd name="T75" fmla="*/ 27 h 78"/>
                <a:gd name="T76" fmla="*/ 103 w 107"/>
                <a:gd name="T77" fmla="*/ 25 h 78"/>
                <a:gd name="T78" fmla="*/ 104 w 107"/>
                <a:gd name="T79" fmla="*/ 22 h 78"/>
                <a:gd name="T80" fmla="*/ 105 w 107"/>
                <a:gd name="T81" fmla="*/ 21 h 78"/>
                <a:gd name="T82" fmla="*/ 106 w 107"/>
                <a:gd name="T83" fmla="*/ 22 h 78"/>
                <a:gd name="T84" fmla="*/ 106 w 107"/>
                <a:gd name="T85" fmla="*/ 21 h 78"/>
                <a:gd name="T86" fmla="*/ 107 w 107"/>
                <a:gd name="T87" fmla="*/ 21 h 78"/>
                <a:gd name="T88" fmla="*/ 107 w 107"/>
                <a:gd name="T89" fmla="*/ 15 h 78"/>
                <a:gd name="T90" fmla="*/ 105 w 107"/>
                <a:gd name="T91" fmla="*/ 11 h 78"/>
                <a:gd name="T92" fmla="*/ 103 w 107"/>
                <a:gd name="T93" fmla="*/ 11 h 78"/>
                <a:gd name="T94" fmla="*/ 101 w 107"/>
                <a:gd name="T95" fmla="*/ 11 h 78"/>
                <a:gd name="T96" fmla="*/ 97 w 107"/>
                <a:gd name="T97" fmla="*/ 0 h 78"/>
                <a:gd name="T98" fmla="*/ 97 w 107"/>
                <a:gd name="T99" fmla="*/ 0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78">
                  <a:moveTo>
                    <a:pt x="97" y="0"/>
                  </a:moveTo>
                  <a:cubicBezTo>
                    <a:pt x="96" y="2"/>
                    <a:pt x="94" y="5"/>
                    <a:pt x="92" y="7"/>
                  </a:cubicBezTo>
                  <a:cubicBezTo>
                    <a:pt x="91" y="9"/>
                    <a:pt x="87" y="11"/>
                    <a:pt x="86" y="13"/>
                  </a:cubicBezTo>
                  <a:cubicBezTo>
                    <a:pt x="80" y="18"/>
                    <a:pt x="76" y="24"/>
                    <a:pt x="70" y="28"/>
                  </a:cubicBezTo>
                  <a:cubicBezTo>
                    <a:pt x="67" y="30"/>
                    <a:pt x="66" y="31"/>
                    <a:pt x="65" y="34"/>
                  </a:cubicBezTo>
                  <a:cubicBezTo>
                    <a:pt x="63" y="37"/>
                    <a:pt x="62" y="41"/>
                    <a:pt x="60" y="42"/>
                  </a:cubicBezTo>
                  <a:cubicBezTo>
                    <a:pt x="59" y="43"/>
                    <a:pt x="58" y="43"/>
                    <a:pt x="58" y="43"/>
                  </a:cubicBezTo>
                  <a:cubicBezTo>
                    <a:pt x="56" y="43"/>
                    <a:pt x="54" y="42"/>
                    <a:pt x="53" y="42"/>
                  </a:cubicBezTo>
                  <a:cubicBezTo>
                    <a:pt x="56" y="45"/>
                    <a:pt x="48" y="47"/>
                    <a:pt x="45" y="47"/>
                  </a:cubicBezTo>
                  <a:cubicBezTo>
                    <a:pt x="45" y="48"/>
                    <a:pt x="44" y="48"/>
                    <a:pt x="44" y="48"/>
                  </a:cubicBezTo>
                  <a:cubicBezTo>
                    <a:pt x="42" y="48"/>
                    <a:pt x="41" y="47"/>
                    <a:pt x="39" y="47"/>
                  </a:cubicBezTo>
                  <a:cubicBezTo>
                    <a:pt x="37" y="46"/>
                    <a:pt x="34" y="46"/>
                    <a:pt x="31" y="46"/>
                  </a:cubicBezTo>
                  <a:cubicBezTo>
                    <a:pt x="27" y="46"/>
                    <a:pt x="24" y="46"/>
                    <a:pt x="21" y="47"/>
                  </a:cubicBezTo>
                  <a:cubicBezTo>
                    <a:pt x="18" y="47"/>
                    <a:pt x="10" y="50"/>
                    <a:pt x="4" y="50"/>
                  </a:cubicBezTo>
                  <a:cubicBezTo>
                    <a:pt x="3" y="50"/>
                    <a:pt x="1" y="50"/>
                    <a:pt x="0" y="49"/>
                  </a:cubicBezTo>
                  <a:cubicBezTo>
                    <a:pt x="1" y="50"/>
                    <a:pt x="2" y="51"/>
                    <a:pt x="3" y="52"/>
                  </a:cubicBezTo>
                  <a:cubicBezTo>
                    <a:pt x="4" y="54"/>
                    <a:pt x="4" y="54"/>
                    <a:pt x="4" y="54"/>
                  </a:cubicBezTo>
                  <a:cubicBezTo>
                    <a:pt x="5" y="55"/>
                    <a:pt x="7" y="58"/>
                    <a:pt x="7" y="58"/>
                  </a:cubicBezTo>
                  <a:cubicBezTo>
                    <a:pt x="11" y="62"/>
                    <a:pt x="11" y="62"/>
                    <a:pt x="11" y="62"/>
                  </a:cubicBezTo>
                  <a:cubicBezTo>
                    <a:pt x="13" y="66"/>
                    <a:pt x="16" y="69"/>
                    <a:pt x="19" y="72"/>
                  </a:cubicBezTo>
                  <a:cubicBezTo>
                    <a:pt x="77" y="78"/>
                    <a:pt x="77" y="78"/>
                    <a:pt x="77" y="78"/>
                  </a:cubicBezTo>
                  <a:cubicBezTo>
                    <a:pt x="77" y="77"/>
                    <a:pt x="77" y="76"/>
                    <a:pt x="77" y="75"/>
                  </a:cubicBezTo>
                  <a:cubicBezTo>
                    <a:pt x="78" y="75"/>
                    <a:pt x="78" y="74"/>
                    <a:pt x="78" y="74"/>
                  </a:cubicBezTo>
                  <a:cubicBezTo>
                    <a:pt x="79" y="68"/>
                    <a:pt x="79" y="68"/>
                    <a:pt x="79" y="68"/>
                  </a:cubicBezTo>
                  <a:cubicBezTo>
                    <a:pt x="80" y="65"/>
                    <a:pt x="80" y="61"/>
                    <a:pt x="81" y="58"/>
                  </a:cubicBezTo>
                  <a:cubicBezTo>
                    <a:pt x="81" y="57"/>
                    <a:pt x="81" y="57"/>
                    <a:pt x="81" y="56"/>
                  </a:cubicBezTo>
                  <a:cubicBezTo>
                    <a:pt x="81" y="55"/>
                    <a:pt x="81" y="55"/>
                    <a:pt x="81" y="55"/>
                  </a:cubicBezTo>
                  <a:cubicBezTo>
                    <a:pt x="82" y="55"/>
                    <a:pt x="82" y="54"/>
                    <a:pt x="82" y="54"/>
                  </a:cubicBezTo>
                  <a:cubicBezTo>
                    <a:pt x="82" y="51"/>
                    <a:pt x="83" y="48"/>
                    <a:pt x="87" y="46"/>
                  </a:cubicBezTo>
                  <a:cubicBezTo>
                    <a:pt x="88" y="46"/>
                    <a:pt x="89" y="45"/>
                    <a:pt x="89" y="45"/>
                  </a:cubicBezTo>
                  <a:cubicBezTo>
                    <a:pt x="90" y="45"/>
                    <a:pt x="90" y="45"/>
                    <a:pt x="90" y="45"/>
                  </a:cubicBezTo>
                  <a:cubicBezTo>
                    <a:pt x="91" y="45"/>
                    <a:pt x="91" y="45"/>
                    <a:pt x="91" y="45"/>
                  </a:cubicBezTo>
                  <a:cubicBezTo>
                    <a:pt x="91" y="45"/>
                    <a:pt x="91" y="45"/>
                    <a:pt x="91" y="45"/>
                  </a:cubicBezTo>
                  <a:cubicBezTo>
                    <a:pt x="91" y="45"/>
                    <a:pt x="91" y="45"/>
                    <a:pt x="91" y="45"/>
                  </a:cubicBezTo>
                  <a:cubicBezTo>
                    <a:pt x="90" y="44"/>
                    <a:pt x="90" y="44"/>
                    <a:pt x="90" y="43"/>
                  </a:cubicBezTo>
                  <a:cubicBezTo>
                    <a:pt x="90" y="37"/>
                    <a:pt x="91" y="33"/>
                    <a:pt x="92" y="29"/>
                  </a:cubicBezTo>
                  <a:cubicBezTo>
                    <a:pt x="93" y="27"/>
                    <a:pt x="93" y="27"/>
                    <a:pt x="93" y="27"/>
                  </a:cubicBezTo>
                  <a:cubicBezTo>
                    <a:pt x="99" y="27"/>
                    <a:pt x="99" y="27"/>
                    <a:pt x="99" y="27"/>
                  </a:cubicBezTo>
                  <a:cubicBezTo>
                    <a:pt x="101" y="26"/>
                    <a:pt x="102" y="25"/>
                    <a:pt x="103" y="25"/>
                  </a:cubicBezTo>
                  <a:cubicBezTo>
                    <a:pt x="103" y="25"/>
                    <a:pt x="104" y="24"/>
                    <a:pt x="104" y="22"/>
                  </a:cubicBezTo>
                  <a:cubicBezTo>
                    <a:pt x="105" y="21"/>
                    <a:pt x="105" y="21"/>
                    <a:pt x="105" y="21"/>
                  </a:cubicBezTo>
                  <a:cubicBezTo>
                    <a:pt x="106" y="22"/>
                    <a:pt x="106" y="22"/>
                    <a:pt x="106" y="22"/>
                  </a:cubicBezTo>
                  <a:cubicBezTo>
                    <a:pt x="106" y="21"/>
                    <a:pt x="106" y="21"/>
                    <a:pt x="106" y="21"/>
                  </a:cubicBezTo>
                  <a:cubicBezTo>
                    <a:pt x="107" y="21"/>
                    <a:pt x="107" y="21"/>
                    <a:pt x="107" y="21"/>
                  </a:cubicBezTo>
                  <a:cubicBezTo>
                    <a:pt x="107" y="19"/>
                    <a:pt x="107" y="16"/>
                    <a:pt x="107" y="15"/>
                  </a:cubicBezTo>
                  <a:cubicBezTo>
                    <a:pt x="106" y="14"/>
                    <a:pt x="106" y="12"/>
                    <a:pt x="105" y="11"/>
                  </a:cubicBezTo>
                  <a:cubicBezTo>
                    <a:pt x="104" y="11"/>
                    <a:pt x="104" y="11"/>
                    <a:pt x="103" y="11"/>
                  </a:cubicBezTo>
                  <a:cubicBezTo>
                    <a:pt x="102" y="11"/>
                    <a:pt x="102" y="11"/>
                    <a:pt x="101" y="11"/>
                  </a:cubicBezTo>
                  <a:cubicBezTo>
                    <a:pt x="98" y="9"/>
                    <a:pt x="98" y="4"/>
                    <a:pt x="97" y="0"/>
                  </a:cubicBez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301"/>
            <p:cNvSpPr/>
            <p:nvPr/>
          </p:nvSpPr>
          <p:spPr bwMode="auto">
            <a:xfrm>
              <a:off x="5580" y="911"/>
              <a:ext cx="1165" cy="915"/>
            </a:xfrm>
            <a:custGeom>
              <a:gdLst>
                <a:gd name="T0" fmla="*/ 96 w 493"/>
                <a:gd name="T1" fmla="*/ 5 h 387"/>
                <a:gd name="T2" fmla="*/ 79 w 493"/>
                <a:gd name="T3" fmla="*/ 31 h 387"/>
                <a:gd name="T4" fmla="*/ 83 w 493"/>
                <a:gd name="T5" fmla="*/ 35 h 387"/>
                <a:gd name="T6" fmla="*/ 65 w 493"/>
                <a:gd name="T7" fmla="*/ 56 h 387"/>
                <a:gd name="T8" fmla="*/ 59 w 493"/>
                <a:gd name="T9" fmla="*/ 57 h 387"/>
                <a:gd name="T10" fmla="*/ 44 w 493"/>
                <a:gd name="T11" fmla="*/ 70 h 387"/>
                <a:gd name="T12" fmla="*/ 29 w 493"/>
                <a:gd name="T13" fmla="*/ 75 h 387"/>
                <a:gd name="T14" fmla="*/ 12 w 493"/>
                <a:gd name="T15" fmla="*/ 72 h 387"/>
                <a:gd name="T16" fmla="*/ 3 w 493"/>
                <a:gd name="T17" fmla="*/ 103 h 387"/>
                <a:gd name="T18" fmla="*/ 6 w 493"/>
                <a:gd name="T19" fmla="*/ 101 h 387"/>
                <a:gd name="T20" fmla="*/ 10 w 493"/>
                <a:gd name="T21" fmla="*/ 101 h 387"/>
                <a:gd name="T22" fmla="*/ 33 w 493"/>
                <a:gd name="T23" fmla="*/ 128 h 387"/>
                <a:gd name="T24" fmla="*/ 65 w 493"/>
                <a:gd name="T25" fmla="*/ 176 h 387"/>
                <a:gd name="T26" fmla="*/ 90 w 493"/>
                <a:gd name="T27" fmla="*/ 207 h 387"/>
                <a:gd name="T28" fmla="*/ 109 w 493"/>
                <a:gd name="T29" fmla="*/ 244 h 387"/>
                <a:gd name="T30" fmla="*/ 116 w 493"/>
                <a:gd name="T31" fmla="*/ 284 h 387"/>
                <a:gd name="T32" fmla="*/ 138 w 493"/>
                <a:gd name="T33" fmla="*/ 301 h 387"/>
                <a:gd name="T34" fmla="*/ 181 w 493"/>
                <a:gd name="T35" fmla="*/ 362 h 387"/>
                <a:gd name="T36" fmla="*/ 200 w 493"/>
                <a:gd name="T37" fmla="*/ 383 h 387"/>
                <a:gd name="T38" fmla="*/ 200 w 493"/>
                <a:gd name="T39" fmla="*/ 375 h 387"/>
                <a:gd name="T40" fmla="*/ 209 w 493"/>
                <a:gd name="T41" fmla="*/ 361 h 387"/>
                <a:gd name="T42" fmla="*/ 221 w 493"/>
                <a:gd name="T43" fmla="*/ 365 h 387"/>
                <a:gd name="T44" fmla="*/ 227 w 493"/>
                <a:gd name="T45" fmla="*/ 365 h 387"/>
                <a:gd name="T46" fmla="*/ 246 w 493"/>
                <a:gd name="T47" fmla="*/ 363 h 387"/>
                <a:gd name="T48" fmla="*/ 286 w 493"/>
                <a:gd name="T49" fmla="*/ 366 h 387"/>
                <a:gd name="T50" fmla="*/ 294 w 493"/>
                <a:gd name="T51" fmla="*/ 372 h 387"/>
                <a:gd name="T52" fmla="*/ 297 w 493"/>
                <a:gd name="T53" fmla="*/ 373 h 387"/>
                <a:gd name="T54" fmla="*/ 321 w 493"/>
                <a:gd name="T55" fmla="*/ 345 h 387"/>
                <a:gd name="T56" fmla="*/ 365 w 493"/>
                <a:gd name="T57" fmla="*/ 331 h 387"/>
                <a:gd name="T58" fmla="*/ 412 w 493"/>
                <a:gd name="T59" fmla="*/ 324 h 387"/>
                <a:gd name="T60" fmla="*/ 480 w 493"/>
                <a:gd name="T61" fmla="*/ 300 h 387"/>
                <a:gd name="T62" fmla="*/ 483 w 493"/>
                <a:gd name="T63" fmla="*/ 292 h 387"/>
                <a:gd name="T64" fmla="*/ 491 w 493"/>
                <a:gd name="T65" fmla="*/ 267 h 387"/>
                <a:gd name="T66" fmla="*/ 492 w 493"/>
                <a:gd name="T67" fmla="*/ 252 h 387"/>
                <a:gd name="T68" fmla="*/ 487 w 493"/>
                <a:gd name="T69" fmla="*/ 242 h 387"/>
                <a:gd name="T70" fmla="*/ 425 w 493"/>
                <a:gd name="T71" fmla="*/ 233 h 387"/>
                <a:gd name="T72" fmla="*/ 406 w 493"/>
                <a:gd name="T73" fmla="*/ 211 h 387"/>
                <a:gd name="T74" fmla="*/ 396 w 493"/>
                <a:gd name="T75" fmla="*/ 193 h 387"/>
                <a:gd name="T76" fmla="*/ 399 w 493"/>
                <a:gd name="T77" fmla="*/ 188 h 387"/>
                <a:gd name="T78" fmla="*/ 394 w 493"/>
                <a:gd name="T79" fmla="*/ 189 h 387"/>
                <a:gd name="T80" fmla="*/ 389 w 493"/>
                <a:gd name="T81" fmla="*/ 189 h 387"/>
                <a:gd name="T82" fmla="*/ 384 w 493"/>
                <a:gd name="T83" fmla="*/ 185 h 387"/>
                <a:gd name="T84" fmla="*/ 364 w 493"/>
                <a:gd name="T85" fmla="*/ 154 h 387"/>
                <a:gd name="T86" fmla="*/ 369 w 493"/>
                <a:gd name="T87" fmla="*/ 144 h 387"/>
                <a:gd name="T88" fmla="*/ 363 w 493"/>
                <a:gd name="T89" fmla="*/ 132 h 387"/>
                <a:gd name="T90" fmla="*/ 353 w 493"/>
                <a:gd name="T91" fmla="*/ 125 h 387"/>
                <a:gd name="T92" fmla="*/ 345 w 493"/>
                <a:gd name="T93" fmla="*/ 115 h 387"/>
                <a:gd name="T94" fmla="*/ 336 w 493"/>
                <a:gd name="T95" fmla="*/ 111 h 387"/>
                <a:gd name="T96" fmla="*/ 327 w 493"/>
                <a:gd name="T97" fmla="*/ 92 h 387"/>
                <a:gd name="T98" fmla="*/ 323 w 493"/>
                <a:gd name="T99" fmla="*/ 93 h 387"/>
                <a:gd name="T100" fmla="*/ 305 w 493"/>
                <a:gd name="T101" fmla="*/ 86 h 387"/>
                <a:gd name="T102" fmla="*/ 305 w 493"/>
                <a:gd name="T103" fmla="*/ 85 h 387"/>
                <a:gd name="T104" fmla="*/ 304 w 493"/>
                <a:gd name="T105" fmla="*/ 83 h 387"/>
                <a:gd name="T106" fmla="*/ 283 w 493"/>
                <a:gd name="T107" fmla="*/ 78 h 387"/>
                <a:gd name="T108" fmla="*/ 277 w 493"/>
                <a:gd name="T109" fmla="*/ 79 h 387"/>
                <a:gd name="T110" fmla="*/ 227 w 493"/>
                <a:gd name="T111" fmla="*/ 65 h 387"/>
                <a:gd name="T112" fmla="*/ 177 w 493"/>
                <a:gd name="T113" fmla="*/ 27 h 387"/>
                <a:gd name="T114" fmla="*/ 143 w 493"/>
                <a:gd name="T115" fmla="*/ 7 h 3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2" h="387">
                  <a:moveTo>
                    <a:pt x="110" y="0"/>
                  </a:moveTo>
                  <a:cubicBezTo>
                    <a:pt x="109" y="0"/>
                    <a:pt x="109" y="0"/>
                    <a:pt x="109" y="0"/>
                  </a:cubicBezTo>
                  <a:cubicBezTo>
                    <a:pt x="105" y="2"/>
                    <a:pt x="101" y="3"/>
                    <a:pt x="97" y="5"/>
                  </a:cubicBezTo>
                  <a:cubicBezTo>
                    <a:pt x="96" y="5"/>
                    <a:pt x="96" y="5"/>
                    <a:pt x="96" y="5"/>
                  </a:cubicBezTo>
                  <a:cubicBezTo>
                    <a:pt x="94" y="5"/>
                    <a:pt x="92" y="6"/>
                    <a:pt x="91" y="7"/>
                  </a:cubicBezTo>
                  <a:cubicBezTo>
                    <a:pt x="83" y="9"/>
                    <a:pt x="75" y="12"/>
                    <a:pt x="67" y="14"/>
                  </a:cubicBezTo>
                  <a:cubicBezTo>
                    <a:pt x="64" y="15"/>
                    <a:pt x="64" y="15"/>
                    <a:pt x="64" y="15"/>
                  </a:cubicBezTo>
                  <a:cubicBezTo>
                    <a:pt x="69" y="20"/>
                    <a:pt x="74" y="25"/>
                    <a:pt x="79" y="31"/>
                  </a:cubicBezTo>
                  <a:cubicBezTo>
                    <a:pt x="79" y="31"/>
                    <a:pt x="80" y="32"/>
                    <a:pt x="80" y="32"/>
                  </a:cubicBezTo>
                  <a:cubicBezTo>
                    <a:pt x="81" y="33"/>
                    <a:pt x="81" y="33"/>
                    <a:pt x="81" y="33"/>
                  </a:cubicBezTo>
                  <a:cubicBezTo>
                    <a:pt x="81" y="33"/>
                    <a:pt x="82" y="34"/>
                    <a:pt x="82" y="34"/>
                  </a:cubicBezTo>
                  <a:cubicBezTo>
                    <a:pt x="83" y="34"/>
                    <a:pt x="83" y="35"/>
                    <a:pt x="83" y="35"/>
                  </a:cubicBezTo>
                  <a:cubicBezTo>
                    <a:pt x="85" y="37"/>
                    <a:pt x="85" y="38"/>
                    <a:pt x="85" y="39"/>
                  </a:cubicBezTo>
                  <a:cubicBezTo>
                    <a:pt x="85" y="40"/>
                    <a:pt x="85" y="42"/>
                    <a:pt x="74" y="52"/>
                  </a:cubicBezTo>
                  <a:cubicBezTo>
                    <a:pt x="73" y="53"/>
                    <a:pt x="73" y="54"/>
                    <a:pt x="72" y="54"/>
                  </a:cubicBezTo>
                  <a:cubicBezTo>
                    <a:pt x="70" y="56"/>
                    <a:pt x="67" y="56"/>
                    <a:pt x="65" y="56"/>
                  </a:cubicBezTo>
                  <a:cubicBezTo>
                    <a:pt x="64" y="56"/>
                    <a:pt x="64" y="56"/>
                    <a:pt x="64" y="56"/>
                  </a:cubicBezTo>
                  <a:cubicBezTo>
                    <a:pt x="63" y="56"/>
                    <a:pt x="63" y="57"/>
                    <a:pt x="62" y="57"/>
                  </a:cubicBezTo>
                  <a:cubicBezTo>
                    <a:pt x="61" y="57"/>
                    <a:pt x="60" y="57"/>
                    <a:pt x="60" y="57"/>
                  </a:cubicBezTo>
                  <a:cubicBezTo>
                    <a:pt x="59" y="57"/>
                    <a:pt x="59" y="57"/>
                    <a:pt x="59" y="57"/>
                  </a:cubicBezTo>
                  <a:cubicBezTo>
                    <a:pt x="58" y="57"/>
                    <a:pt x="57" y="58"/>
                    <a:pt x="56" y="58"/>
                  </a:cubicBezTo>
                  <a:cubicBezTo>
                    <a:pt x="53" y="59"/>
                    <a:pt x="51" y="61"/>
                    <a:pt x="49" y="63"/>
                  </a:cubicBezTo>
                  <a:cubicBezTo>
                    <a:pt x="49" y="64"/>
                    <a:pt x="48" y="65"/>
                    <a:pt x="47" y="66"/>
                  </a:cubicBezTo>
                  <a:cubicBezTo>
                    <a:pt x="44" y="70"/>
                    <a:pt x="44" y="70"/>
                    <a:pt x="44" y="70"/>
                  </a:cubicBezTo>
                  <a:cubicBezTo>
                    <a:pt x="42" y="73"/>
                    <a:pt x="40" y="74"/>
                    <a:pt x="39" y="75"/>
                  </a:cubicBezTo>
                  <a:cubicBezTo>
                    <a:pt x="38" y="76"/>
                    <a:pt x="37" y="76"/>
                    <a:pt x="36" y="76"/>
                  </a:cubicBezTo>
                  <a:cubicBezTo>
                    <a:pt x="35" y="76"/>
                    <a:pt x="33" y="75"/>
                    <a:pt x="30" y="75"/>
                  </a:cubicBezTo>
                  <a:cubicBezTo>
                    <a:pt x="29" y="75"/>
                    <a:pt x="29" y="75"/>
                    <a:pt x="29" y="75"/>
                  </a:cubicBezTo>
                  <a:cubicBezTo>
                    <a:pt x="29" y="74"/>
                    <a:pt x="29" y="74"/>
                    <a:pt x="29" y="74"/>
                  </a:cubicBezTo>
                  <a:cubicBezTo>
                    <a:pt x="14" y="72"/>
                    <a:pt x="14" y="72"/>
                    <a:pt x="14" y="72"/>
                  </a:cubicBezTo>
                  <a:cubicBezTo>
                    <a:pt x="13" y="72"/>
                    <a:pt x="13" y="72"/>
                    <a:pt x="13" y="72"/>
                  </a:cubicBezTo>
                  <a:cubicBezTo>
                    <a:pt x="12" y="72"/>
                    <a:pt x="12" y="72"/>
                    <a:pt x="12" y="72"/>
                  </a:cubicBezTo>
                  <a:cubicBezTo>
                    <a:pt x="11" y="73"/>
                    <a:pt x="11" y="73"/>
                    <a:pt x="11" y="73"/>
                  </a:cubicBezTo>
                  <a:cubicBezTo>
                    <a:pt x="10" y="73"/>
                    <a:pt x="10" y="73"/>
                    <a:pt x="10" y="73"/>
                  </a:cubicBezTo>
                  <a:cubicBezTo>
                    <a:pt x="8" y="79"/>
                    <a:pt x="7" y="86"/>
                    <a:pt x="4" y="92"/>
                  </a:cubicBezTo>
                  <a:cubicBezTo>
                    <a:pt x="4" y="93"/>
                    <a:pt x="0" y="102"/>
                    <a:pt x="3" y="103"/>
                  </a:cubicBezTo>
                  <a:cubicBezTo>
                    <a:pt x="3" y="103"/>
                    <a:pt x="3" y="103"/>
                    <a:pt x="3" y="103"/>
                  </a:cubicBezTo>
                  <a:cubicBezTo>
                    <a:pt x="4" y="103"/>
                    <a:pt x="3" y="101"/>
                    <a:pt x="4" y="101"/>
                  </a:cubicBezTo>
                  <a:cubicBezTo>
                    <a:pt x="4" y="100"/>
                    <a:pt x="4" y="100"/>
                    <a:pt x="5" y="100"/>
                  </a:cubicBezTo>
                  <a:cubicBezTo>
                    <a:pt x="5" y="100"/>
                    <a:pt x="5" y="101"/>
                    <a:pt x="6" y="101"/>
                  </a:cubicBezTo>
                  <a:cubicBezTo>
                    <a:pt x="6" y="101"/>
                    <a:pt x="7" y="101"/>
                    <a:pt x="7" y="101"/>
                  </a:cubicBezTo>
                  <a:cubicBezTo>
                    <a:pt x="7" y="101"/>
                    <a:pt x="7" y="101"/>
                    <a:pt x="8" y="101"/>
                  </a:cubicBezTo>
                  <a:cubicBezTo>
                    <a:pt x="8" y="101"/>
                    <a:pt x="8" y="101"/>
                    <a:pt x="9" y="101"/>
                  </a:cubicBezTo>
                  <a:cubicBezTo>
                    <a:pt x="9" y="101"/>
                    <a:pt x="10" y="101"/>
                    <a:pt x="10" y="101"/>
                  </a:cubicBezTo>
                  <a:cubicBezTo>
                    <a:pt x="10" y="101"/>
                    <a:pt x="11" y="100"/>
                    <a:pt x="12" y="100"/>
                  </a:cubicBezTo>
                  <a:cubicBezTo>
                    <a:pt x="12" y="100"/>
                    <a:pt x="12" y="100"/>
                    <a:pt x="12" y="100"/>
                  </a:cubicBezTo>
                  <a:cubicBezTo>
                    <a:pt x="14" y="100"/>
                    <a:pt x="15" y="102"/>
                    <a:pt x="17" y="104"/>
                  </a:cubicBezTo>
                  <a:cubicBezTo>
                    <a:pt x="23" y="111"/>
                    <a:pt x="27" y="121"/>
                    <a:pt x="33" y="128"/>
                  </a:cubicBezTo>
                  <a:cubicBezTo>
                    <a:pt x="39" y="136"/>
                    <a:pt x="43" y="148"/>
                    <a:pt x="51" y="153"/>
                  </a:cubicBezTo>
                  <a:cubicBezTo>
                    <a:pt x="52" y="154"/>
                    <a:pt x="52" y="155"/>
                    <a:pt x="52" y="157"/>
                  </a:cubicBezTo>
                  <a:cubicBezTo>
                    <a:pt x="52" y="160"/>
                    <a:pt x="53" y="161"/>
                    <a:pt x="56" y="164"/>
                  </a:cubicBezTo>
                  <a:cubicBezTo>
                    <a:pt x="59" y="167"/>
                    <a:pt x="63" y="172"/>
                    <a:pt x="65" y="176"/>
                  </a:cubicBezTo>
                  <a:cubicBezTo>
                    <a:pt x="66" y="179"/>
                    <a:pt x="66" y="183"/>
                    <a:pt x="67" y="186"/>
                  </a:cubicBezTo>
                  <a:cubicBezTo>
                    <a:pt x="68" y="190"/>
                    <a:pt x="69" y="192"/>
                    <a:pt x="71" y="195"/>
                  </a:cubicBezTo>
                  <a:cubicBezTo>
                    <a:pt x="73" y="198"/>
                    <a:pt x="76" y="198"/>
                    <a:pt x="79" y="198"/>
                  </a:cubicBezTo>
                  <a:cubicBezTo>
                    <a:pt x="83" y="199"/>
                    <a:pt x="87" y="204"/>
                    <a:pt x="90" y="207"/>
                  </a:cubicBezTo>
                  <a:cubicBezTo>
                    <a:pt x="92" y="208"/>
                    <a:pt x="92" y="209"/>
                    <a:pt x="94" y="211"/>
                  </a:cubicBezTo>
                  <a:cubicBezTo>
                    <a:pt x="97" y="216"/>
                    <a:pt x="99" y="221"/>
                    <a:pt x="102" y="226"/>
                  </a:cubicBezTo>
                  <a:cubicBezTo>
                    <a:pt x="104" y="231"/>
                    <a:pt x="106" y="235"/>
                    <a:pt x="108" y="240"/>
                  </a:cubicBezTo>
                  <a:cubicBezTo>
                    <a:pt x="108" y="241"/>
                    <a:pt x="109" y="243"/>
                    <a:pt x="109" y="244"/>
                  </a:cubicBezTo>
                  <a:cubicBezTo>
                    <a:pt x="109" y="245"/>
                    <a:pt x="108" y="246"/>
                    <a:pt x="108" y="247"/>
                  </a:cubicBezTo>
                  <a:cubicBezTo>
                    <a:pt x="106" y="250"/>
                    <a:pt x="108" y="254"/>
                    <a:pt x="108" y="258"/>
                  </a:cubicBezTo>
                  <a:cubicBezTo>
                    <a:pt x="109" y="264"/>
                    <a:pt x="108" y="272"/>
                    <a:pt x="111" y="277"/>
                  </a:cubicBezTo>
                  <a:cubicBezTo>
                    <a:pt x="112" y="280"/>
                    <a:pt x="114" y="281"/>
                    <a:pt x="116" y="284"/>
                  </a:cubicBezTo>
                  <a:cubicBezTo>
                    <a:pt x="119" y="289"/>
                    <a:pt x="122" y="293"/>
                    <a:pt x="127" y="296"/>
                  </a:cubicBezTo>
                  <a:cubicBezTo>
                    <a:pt x="127" y="295"/>
                    <a:pt x="127" y="295"/>
                    <a:pt x="127" y="295"/>
                  </a:cubicBezTo>
                  <a:cubicBezTo>
                    <a:pt x="129" y="296"/>
                    <a:pt x="130" y="296"/>
                    <a:pt x="132" y="296"/>
                  </a:cubicBezTo>
                  <a:cubicBezTo>
                    <a:pt x="133" y="297"/>
                    <a:pt x="136" y="300"/>
                    <a:pt x="138" y="301"/>
                  </a:cubicBezTo>
                  <a:cubicBezTo>
                    <a:pt x="140" y="302"/>
                    <a:pt x="140" y="303"/>
                    <a:pt x="141" y="305"/>
                  </a:cubicBezTo>
                  <a:cubicBezTo>
                    <a:pt x="146" y="313"/>
                    <a:pt x="151" y="321"/>
                    <a:pt x="155" y="329"/>
                  </a:cubicBezTo>
                  <a:cubicBezTo>
                    <a:pt x="159" y="335"/>
                    <a:pt x="163" y="341"/>
                    <a:pt x="167" y="348"/>
                  </a:cubicBezTo>
                  <a:cubicBezTo>
                    <a:pt x="170" y="353"/>
                    <a:pt x="176" y="358"/>
                    <a:pt x="181" y="362"/>
                  </a:cubicBezTo>
                  <a:cubicBezTo>
                    <a:pt x="185" y="366"/>
                    <a:pt x="183" y="369"/>
                    <a:pt x="185" y="375"/>
                  </a:cubicBezTo>
                  <a:cubicBezTo>
                    <a:pt x="185" y="375"/>
                    <a:pt x="185" y="375"/>
                    <a:pt x="185" y="375"/>
                  </a:cubicBezTo>
                  <a:cubicBezTo>
                    <a:pt x="191" y="375"/>
                    <a:pt x="193" y="382"/>
                    <a:pt x="194" y="387"/>
                  </a:cubicBezTo>
                  <a:cubicBezTo>
                    <a:pt x="195" y="386"/>
                    <a:pt x="197" y="385"/>
                    <a:pt x="200" y="383"/>
                  </a:cubicBezTo>
                  <a:cubicBezTo>
                    <a:pt x="201" y="383"/>
                    <a:pt x="201" y="383"/>
                    <a:pt x="201" y="382"/>
                  </a:cubicBezTo>
                  <a:cubicBezTo>
                    <a:pt x="201" y="382"/>
                    <a:pt x="201" y="382"/>
                    <a:pt x="201" y="381"/>
                  </a:cubicBezTo>
                  <a:cubicBezTo>
                    <a:pt x="201" y="380"/>
                    <a:pt x="200" y="379"/>
                    <a:pt x="200" y="378"/>
                  </a:cubicBezTo>
                  <a:cubicBezTo>
                    <a:pt x="200" y="377"/>
                    <a:pt x="200" y="376"/>
                    <a:pt x="200" y="375"/>
                  </a:cubicBezTo>
                  <a:cubicBezTo>
                    <a:pt x="200" y="375"/>
                    <a:pt x="200" y="374"/>
                    <a:pt x="200" y="373"/>
                  </a:cubicBezTo>
                  <a:cubicBezTo>
                    <a:pt x="201" y="372"/>
                    <a:pt x="201" y="371"/>
                    <a:pt x="202" y="370"/>
                  </a:cubicBezTo>
                  <a:cubicBezTo>
                    <a:pt x="204" y="362"/>
                    <a:pt x="206" y="361"/>
                    <a:pt x="208" y="361"/>
                  </a:cubicBezTo>
                  <a:cubicBezTo>
                    <a:pt x="209" y="361"/>
                    <a:pt x="209" y="361"/>
                    <a:pt x="209" y="361"/>
                  </a:cubicBezTo>
                  <a:cubicBezTo>
                    <a:pt x="210" y="361"/>
                    <a:pt x="211" y="361"/>
                    <a:pt x="212" y="361"/>
                  </a:cubicBezTo>
                  <a:cubicBezTo>
                    <a:pt x="214" y="361"/>
                    <a:pt x="215" y="361"/>
                    <a:pt x="216" y="362"/>
                  </a:cubicBezTo>
                  <a:cubicBezTo>
                    <a:pt x="217" y="362"/>
                    <a:pt x="218" y="363"/>
                    <a:pt x="218" y="363"/>
                  </a:cubicBezTo>
                  <a:cubicBezTo>
                    <a:pt x="219" y="364"/>
                    <a:pt x="220" y="364"/>
                    <a:pt x="221" y="365"/>
                  </a:cubicBezTo>
                  <a:cubicBezTo>
                    <a:pt x="221" y="365"/>
                    <a:pt x="221" y="365"/>
                    <a:pt x="221" y="365"/>
                  </a:cubicBezTo>
                  <a:cubicBezTo>
                    <a:pt x="221" y="365"/>
                    <a:pt x="222" y="365"/>
                    <a:pt x="222" y="365"/>
                  </a:cubicBezTo>
                  <a:cubicBezTo>
                    <a:pt x="223" y="365"/>
                    <a:pt x="224" y="365"/>
                    <a:pt x="224" y="365"/>
                  </a:cubicBezTo>
                  <a:cubicBezTo>
                    <a:pt x="225" y="365"/>
                    <a:pt x="226" y="365"/>
                    <a:pt x="227" y="365"/>
                  </a:cubicBezTo>
                  <a:cubicBezTo>
                    <a:pt x="228" y="365"/>
                    <a:pt x="228" y="365"/>
                    <a:pt x="228" y="365"/>
                  </a:cubicBezTo>
                  <a:cubicBezTo>
                    <a:pt x="229" y="365"/>
                    <a:pt x="230" y="364"/>
                    <a:pt x="231" y="364"/>
                  </a:cubicBezTo>
                  <a:cubicBezTo>
                    <a:pt x="232" y="364"/>
                    <a:pt x="234" y="364"/>
                    <a:pt x="235" y="364"/>
                  </a:cubicBezTo>
                  <a:cubicBezTo>
                    <a:pt x="239" y="363"/>
                    <a:pt x="242" y="363"/>
                    <a:pt x="246" y="363"/>
                  </a:cubicBezTo>
                  <a:cubicBezTo>
                    <a:pt x="248" y="362"/>
                    <a:pt x="249" y="362"/>
                    <a:pt x="251" y="362"/>
                  </a:cubicBezTo>
                  <a:cubicBezTo>
                    <a:pt x="258" y="362"/>
                    <a:pt x="266" y="363"/>
                    <a:pt x="273" y="364"/>
                  </a:cubicBezTo>
                  <a:cubicBezTo>
                    <a:pt x="278" y="365"/>
                    <a:pt x="282" y="365"/>
                    <a:pt x="285" y="366"/>
                  </a:cubicBezTo>
                  <a:cubicBezTo>
                    <a:pt x="286" y="366"/>
                    <a:pt x="286" y="366"/>
                    <a:pt x="286" y="366"/>
                  </a:cubicBezTo>
                  <a:cubicBezTo>
                    <a:pt x="287" y="366"/>
                    <a:pt x="287" y="366"/>
                    <a:pt x="287" y="366"/>
                  </a:cubicBezTo>
                  <a:cubicBezTo>
                    <a:pt x="288" y="366"/>
                    <a:pt x="288" y="366"/>
                    <a:pt x="288" y="366"/>
                  </a:cubicBezTo>
                  <a:cubicBezTo>
                    <a:pt x="291" y="367"/>
                    <a:pt x="293" y="370"/>
                    <a:pt x="294" y="372"/>
                  </a:cubicBezTo>
                  <a:cubicBezTo>
                    <a:pt x="294" y="372"/>
                    <a:pt x="294" y="372"/>
                    <a:pt x="294" y="372"/>
                  </a:cubicBezTo>
                  <a:cubicBezTo>
                    <a:pt x="294" y="372"/>
                    <a:pt x="295" y="373"/>
                    <a:pt x="295" y="373"/>
                  </a:cubicBezTo>
                  <a:cubicBezTo>
                    <a:pt x="295" y="373"/>
                    <a:pt x="295" y="373"/>
                    <a:pt x="295" y="373"/>
                  </a:cubicBezTo>
                  <a:cubicBezTo>
                    <a:pt x="296" y="373"/>
                    <a:pt x="296" y="373"/>
                    <a:pt x="296" y="373"/>
                  </a:cubicBezTo>
                  <a:cubicBezTo>
                    <a:pt x="297" y="373"/>
                    <a:pt x="297" y="373"/>
                    <a:pt x="297" y="373"/>
                  </a:cubicBezTo>
                  <a:cubicBezTo>
                    <a:pt x="298" y="373"/>
                    <a:pt x="299" y="373"/>
                    <a:pt x="300" y="372"/>
                  </a:cubicBezTo>
                  <a:cubicBezTo>
                    <a:pt x="302" y="371"/>
                    <a:pt x="303" y="370"/>
                    <a:pt x="304" y="369"/>
                  </a:cubicBezTo>
                  <a:cubicBezTo>
                    <a:pt x="319" y="346"/>
                    <a:pt x="319" y="346"/>
                    <a:pt x="319" y="346"/>
                  </a:cubicBezTo>
                  <a:cubicBezTo>
                    <a:pt x="320" y="346"/>
                    <a:pt x="320" y="345"/>
                    <a:pt x="321" y="345"/>
                  </a:cubicBezTo>
                  <a:cubicBezTo>
                    <a:pt x="324" y="342"/>
                    <a:pt x="329" y="340"/>
                    <a:pt x="333" y="339"/>
                  </a:cubicBezTo>
                  <a:cubicBezTo>
                    <a:pt x="333" y="338"/>
                    <a:pt x="333" y="338"/>
                    <a:pt x="333" y="338"/>
                  </a:cubicBezTo>
                  <a:cubicBezTo>
                    <a:pt x="335" y="338"/>
                    <a:pt x="336" y="337"/>
                    <a:pt x="338" y="336"/>
                  </a:cubicBezTo>
                  <a:cubicBezTo>
                    <a:pt x="346" y="332"/>
                    <a:pt x="355" y="332"/>
                    <a:pt x="365" y="331"/>
                  </a:cubicBezTo>
                  <a:cubicBezTo>
                    <a:pt x="369" y="331"/>
                    <a:pt x="369" y="331"/>
                    <a:pt x="369" y="331"/>
                  </a:cubicBezTo>
                  <a:cubicBezTo>
                    <a:pt x="377" y="330"/>
                    <a:pt x="388" y="328"/>
                    <a:pt x="399" y="326"/>
                  </a:cubicBezTo>
                  <a:cubicBezTo>
                    <a:pt x="402" y="326"/>
                    <a:pt x="406" y="325"/>
                    <a:pt x="411" y="324"/>
                  </a:cubicBezTo>
                  <a:cubicBezTo>
                    <a:pt x="412" y="324"/>
                    <a:pt x="412" y="324"/>
                    <a:pt x="412" y="324"/>
                  </a:cubicBezTo>
                  <a:cubicBezTo>
                    <a:pt x="414" y="323"/>
                    <a:pt x="415" y="323"/>
                    <a:pt x="417" y="322"/>
                  </a:cubicBezTo>
                  <a:cubicBezTo>
                    <a:pt x="453" y="310"/>
                    <a:pt x="453" y="310"/>
                    <a:pt x="453" y="310"/>
                  </a:cubicBezTo>
                  <a:cubicBezTo>
                    <a:pt x="461" y="307"/>
                    <a:pt x="469" y="304"/>
                    <a:pt x="477" y="302"/>
                  </a:cubicBezTo>
                  <a:cubicBezTo>
                    <a:pt x="480" y="300"/>
                    <a:pt x="480" y="300"/>
                    <a:pt x="480" y="300"/>
                  </a:cubicBezTo>
                  <a:cubicBezTo>
                    <a:pt x="481" y="299"/>
                    <a:pt x="481" y="299"/>
                    <a:pt x="481" y="299"/>
                  </a:cubicBezTo>
                  <a:cubicBezTo>
                    <a:pt x="481" y="298"/>
                    <a:pt x="481" y="297"/>
                    <a:pt x="482" y="296"/>
                  </a:cubicBezTo>
                  <a:cubicBezTo>
                    <a:pt x="482" y="295"/>
                    <a:pt x="482" y="295"/>
                    <a:pt x="482" y="295"/>
                  </a:cubicBezTo>
                  <a:cubicBezTo>
                    <a:pt x="482" y="294"/>
                    <a:pt x="482" y="293"/>
                    <a:pt x="483" y="292"/>
                  </a:cubicBezTo>
                  <a:cubicBezTo>
                    <a:pt x="483" y="291"/>
                    <a:pt x="483" y="290"/>
                    <a:pt x="484" y="288"/>
                  </a:cubicBezTo>
                  <a:cubicBezTo>
                    <a:pt x="484" y="288"/>
                    <a:pt x="484" y="287"/>
                    <a:pt x="484" y="287"/>
                  </a:cubicBezTo>
                  <a:cubicBezTo>
                    <a:pt x="485" y="285"/>
                    <a:pt x="486" y="283"/>
                    <a:pt x="486" y="280"/>
                  </a:cubicBezTo>
                  <a:cubicBezTo>
                    <a:pt x="491" y="267"/>
                    <a:pt x="491" y="267"/>
                    <a:pt x="491" y="267"/>
                  </a:cubicBezTo>
                  <a:cubicBezTo>
                    <a:pt x="491" y="265"/>
                    <a:pt x="492" y="262"/>
                    <a:pt x="493" y="260"/>
                  </a:cubicBezTo>
                  <a:cubicBezTo>
                    <a:pt x="493" y="258"/>
                    <a:pt x="493" y="257"/>
                    <a:pt x="493" y="256"/>
                  </a:cubicBezTo>
                  <a:cubicBezTo>
                    <a:pt x="493" y="255"/>
                    <a:pt x="493" y="253"/>
                    <a:pt x="492" y="252"/>
                  </a:cubicBezTo>
                  <a:cubicBezTo>
                    <a:pt x="492" y="252"/>
                    <a:pt x="492" y="252"/>
                    <a:pt x="492" y="252"/>
                  </a:cubicBezTo>
                  <a:cubicBezTo>
                    <a:pt x="492" y="251"/>
                    <a:pt x="492" y="251"/>
                    <a:pt x="492" y="251"/>
                  </a:cubicBezTo>
                  <a:cubicBezTo>
                    <a:pt x="491" y="250"/>
                    <a:pt x="491" y="249"/>
                    <a:pt x="490" y="248"/>
                  </a:cubicBezTo>
                  <a:cubicBezTo>
                    <a:pt x="490" y="246"/>
                    <a:pt x="490" y="246"/>
                    <a:pt x="490" y="246"/>
                  </a:cubicBezTo>
                  <a:cubicBezTo>
                    <a:pt x="489" y="245"/>
                    <a:pt x="488" y="244"/>
                    <a:pt x="487" y="242"/>
                  </a:cubicBezTo>
                  <a:cubicBezTo>
                    <a:pt x="487" y="242"/>
                    <a:pt x="487" y="242"/>
                    <a:pt x="487" y="242"/>
                  </a:cubicBezTo>
                  <a:cubicBezTo>
                    <a:pt x="487" y="241"/>
                    <a:pt x="486" y="240"/>
                    <a:pt x="486" y="239"/>
                  </a:cubicBezTo>
                  <a:cubicBezTo>
                    <a:pt x="485" y="239"/>
                    <a:pt x="485" y="239"/>
                    <a:pt x="485" y="239"/>
                  </a:cubicBezTo>
                  <a:cubicBezTo>
                    <a:pt x="425" y="233"/>
                    <a:pt x="425" y="233"/>
                    <a:pt x="425" y="233"/>
                  </a:cubicBezTo>
                  <a:cubicBezTo>
                    <a:pt x="424" y="232"/>
                    <a:pt x="423" y="232"/>
                    <a:pt x="423" y="231"/>
                  </a:cubicBezTo>
                  <a:cubicBezTo>
                    <a:pt x="419" y="228"/>
                    <a:pt x="416" y="224"/>
                    <a:pt x="413" y="220"/>
                  </a:cubicBezTo>
                  <a:cubicBezTo>
                    <a:pt x="408" y="213"/>
                    <a:pt x="408" y="213"/>
                    <a:pt x="408" y="213"/>
                  </a:cubicBezTo>
                  <a:cubicBezTo>
                    <a:pt x="406" y="211"/>
                    <a:pt x="406" y="211"/>
                    <a:pt x="406" y="211"/>
                  </a:cubicBezTo>
                  <a:cubicBezTo>
                    <a:pt x="403" y="208"/>
                    <a:pt x="400" y="204"/>
                    <a:pt x="399" y="201"/>
                  </a:cubicBezTo>
                  <a:cubicBezTo>
                    <a:pt x="398" y="197"/>
                    <a:pt x="398" y="197"/>
                    <a:pt x="398" y="197"/>
                  </a:cubicBezTo>
                  <a:cubicBezTo>
                    <a:pt x="397" y="197"/>
                    <a:pt x="396" y="197"/>
                    <a:pt x="395" y="196"/>
                  </a:cubicBezTo>
                  <a:cubicBezTo>
                    <a:pt x="395" y="196"/>
                    <a:pt x="395" y="194"/>
                    <a:pt x="396" y="193"/>
                  </a:cubicBezTo>
                  <a:cubicBezTo>
                    <a:pt x="397" y="192"/>
                    <a:pt x="398" y="192"/>
                    <a:pt x="399" y="190"/>
                  </a:cubicBezTo>
                  <a:cubicBezTo>
                    <a:pt x="399" y="190"/>
                    <a:pt x="399" y="190"/>
                    <a:pt x="399" y="190"/>
                  </a:cubicBezTo>
                  <a:cubicBezTo>
                    <a:pt x="399" y="188"/>
                    <a:pt x="399" y="188"/>
                    <a:pt x="399" y="188"/>
                  </a:cubicBezTo>
                  <a:cubicBezTo>
                    <a:pt x="399" y="188"/>
                    <a:pt x="399" y="188"/>
                    <a:pt x="399" y="188"/>
                  </a:cubicBezTo>
                  <a:cubicBezTo>
                    <a:pt x="398" y="188"/>
                    <a:pt x="397" y="189"/>
                    <a:pt x="397" y="189"/>
                  </a:cubicBezTo>
                  <a:cubicBezTo>
                    <a:pt x="396" y="189"/>
                    <a:pt x="396" y="189"/>
                    <a:pt x="396" y="189"/>
                  </a:cubicBezTo>
                  <a:cubicBezTo>
                    <a:pt x="396" y="189"/>
                    <a:pt x="395" y="189"/>
                    <a:pt x="395" y="189"/>
                  </a:cubicBezTo>
                  <a:cubicBezTo>
                    <a:pt x="395" y="189"/>
                    <a:pt x="394" y="189"/>
                    <a:pt x="394" y="189"/>
                  </a:cubicBezTo>
                  <a:cubicBezTo>
                    <a:pt x="393" y="189"/>
                    <a:pt x="392" y="189"/>
                    <a:pt x="391" y="189"/>
                  </a:cubicBezTo>
                  <a:cubicBezTo>
                    <a:pt x="390" y="189"/>
                    <a:pt x="390" y="189"/>
                    <a:pt x="389" y="189"/>
                  </a:cubicBezTo>
                  <a:cubicBezTo>
                    <a:pt x="389" y="189"/>
                    <a:pt x="389" y="189"/>
                    <a:pt x="389" y="189"/>
                  </a:cubicBezTo>
                  <a:cubicBezTo>
                    <a:pt x="389" y="189"/>
                    <a:pt x="389" y="189"/>
                    <a:pt x="389" y="189"/>
                  </a:cubicBezTo>
                  <a:cubicBezTo>
                    <a:pt x="388" y="189"/>
                    <a:pt x="388" y="189"/>
                    <a:pt x="388" y="189"/>
                  </a:cubicBezTo>
                  <a:cubicBezTo>
                    <a:pt x="388" y="189"/>
                    <a:pt x="388" y="189"/>
                    <a:pt x="388" y="189"/>
                  </a:cubicBezTo>
                  <a:cubicBezTo>
                    <a:pt x="387" y="189"/>
                    <a:pt x="387" y="189"/>
                    <a:pt x="387" y="189"/>
                  </a:cubicBezTo>
                  <a:cubicBezTo>
                    <a:pt x="386" y="188"/>
                    <a:pt x="385" y="187"/>
                    <a:pt x="384" y="185"/>
                  </a:cubicBezTo>
                  <a:cubicBezTo>
                    <a:pt x="384" y="184"/>
                    <a:pt x="384" y="184"/>
                    <a:pt x="384" y="184"/>
                  </a:cubicBezTo>
                  <a:cubicBezTo>
                    <a:pt x="383" y="184"/>
                    <a:pt x="383" y="184"/>
                    <a:pt x="383" y="184"/>
                  </a:cubicBezTo>
                  <a:cubicBezTo>
                    <a:pt x="380" y="179"/>
                    <a:pt x="377" y="174"/>
                    <a:pt x="374" y="168"/>
                  </a:cubicBezTo>
                  <a:cubicBezTo>
                    <a:pt x="371" y="164"/>
                    <a:pt x="366" y="159"/>
                    <a:pt x="364" y="154"/>
                  </a:cubicBezTo>
                  <a:cubicBezTo>
                    <a:pt x="364" y="153"/>
                    <a:pt x="364" y="150"/>
                    <a:pt x="365" y="150"/>
                  </a:cubicBezTo>
                  <a:cubicBezTo>
                    <a:pt x="365" y="149"/>
                    <a:pt x="365" y="149"/>
                    <a:pt x="365" y="149"/>
                  </a:cubicBezTo>
                  <a:cubicBezTo>
                    <a:pt x="366" y="149"/>
                    <a:pt x="367" y="152"/>
                    <a:pt x="368" y="153"/>
                  </a:cubicBezTo>
                  <a:cubicBezTo>
                    <a:pt x="369" y="151"/>
                    <a:pt x="370" y="146"/>
                    <a:pt x="369" y="144"/>
                  </a:cubicBezTo>
                  <a:cubicBezTo>
                    <a:pt x="368" y="141"/>
                    <a:pt x="363" y="140"/>
                    <a:pt x="365" y="135"/>
                  </a:cubicBezTo>
                  <a:cubicBezTo>
                    <a:pt x="365" y="137"/>
                    <a:pt x="366" y="137"/>
                    <a:pt x="368" y="137"/>
                  </a:cubicBezTo>
                  <a:cubicBezTo>
                    <a:pt x="368" y="137"/>
                    <a:pt x="368" y="137"/>
                    <a:pt x="368" y="137"/>
                  </a:cubicBezTo>
                  <a:cubicBezTo>
                    <a:pt x="366" y="136"/>
                    <a:pt x="365" y="133"/>
                    <a:pt x="363" y="132"/>
                  </a:cubicBezTo>
                  <a:cubicBezTo>
                    <a:pt x="362" y="132"/>
                    <a:pt x="360" y="132"/>
                    <a:pt x="359" y="131"/>
                  </a:cubicBezTo>
                  <a:cubicBezTo>
                    <a:pt x="357" y="129"/>
                    <a:pt x="356" y="124"/>
                    <a:pt x="353" y="124"/>
                  </a:cubicBezTo>
                  <a:cubicBezTo>
                    <a:pt x="353" y="124"/>
                    <a:pt x="353" y="124"/>
                    <a:pt x="353" y="124"/>
                  </a:cubicBezTo>
                  <a:cubicBezTo>
                    <a:pt x="353" y="124"/>
                    <a:pt x="353" y="125"/>
                    <a:pt x="353" y="125"/>
                  </a:cubicBezTo>
                  <a:cubicBezTo>
                    <a:pt x="350" y="125"/>
                    <a:pt x="348" y="119"/>
                    <a:pt x="344" y="117"/>
                  </a:cubicBezTo>
                  <a:cubicBezTo>
                    <a:pt x="345" y="117"/>
                    <a:pt x="347" y="117"/>
                    <a:pt x="348" y="116"/>
                  </a:cubicBezTo>
                  <a:cubicBezTo>
                    <a:pt x="347" y="115"/>
                    <a:pt x="347" y="115"/>
                    <a:pt x="346" y="115"/>
                  </a:cubicBezTo>
                  <a:cubicBezTo>
                    <a:pt x="346" y="115"/>
                    <a:pt x="345" y="115"/>
                    <a:pt x="345" y="115"/>
                  </a:cubicBezTo>
                  <a:cubicBezTo>
                    <a:pt x="345" y="115"/>
                    <a:pt x="345" y="115"/>
                    <a:pt x="345" y="115"/>
                  </a:cubicBezTo>
                  <a:cubicBezTo>
                    <a:pt x="344" y="115"/>
                    <a:pt x="344" y="115"/>
                    <a:pt x="343" y="115"/>
                  </a:cubicBezTo>
                  <a:cubicBezTo>
                    <a:pt x="342" y="114"/>
                    <a:pt x="342" y="113"/>
                    <a:pt x="341" y="113"/>
                  </a:cubicBezTo>
                  <a:cubicBezTo>
                    <a:pt x="338" y="112"/>
                    <a:pt x="338" y="114"/>
                    <a:pt x="336" y="111"/>
                  </a:cubicBezTo>
                  <a:cubicBezTo>
                    <a:pt x="335" y="109"/>
                    <a:pt x="335" y="105"/>
                    <a:pt x="333" y="103"/>
                  </a:cubicBezTo>
                  <a:cubicBezTo>
                    <a:pt x="332" y="99"/>
                    <a:pt x="330" y="96"/>
                    <a:pt x="329" y="92"/>
                  </a:cubicBezTo>
                  <a:cubicBezTo>
                    <a:pt x="328" y="93"/>
                    <a:pt x="328" y="93"/>
                    <a:pt x="328" y="93"/>
                  </a:cubicBezTo>
                  <a:cubicBezTo>
                    <a:pt x="327" y="92"/>
                    <a:pt x="327" y="92"/>
                    <a:pt x="327" y="92"/>
                  </a:cubicBezTo>
                  <a:cubicBezTo>
                    <a:pt x="326" y="92"/>
                    <a:pt x="326" y="92"/>
                    <a:pt x="326" y="92"/>
                  </a:cubicBezTo>
                  <a:cubicBezTo>
                    <a:pt x="326" y="92"/>
                    <a:pt x="326" y="92"/>
                    <a:pt x="326" y="92"/>
                  </a:cubicBezTo>
                  <a:cubicBezTo>
                    <a:pt x="325" y="92"/>
                    <a:pt x="324" y="92"/>
                    <a:pt x="323" y="93"/>
                  </a:cubicBezTo>
                  <a:cubicBezTo>
                    <a:pt x="323" y="93"/>
                    <a:pt x="323" y="93"/>
                    <a:pt x="323" y="93"/>
                  </a:cubicBezTo>
                  <a:cubicBezTo>
                    <a:pt x="321" y="93"/>
                    <a:pt x="319" y="93"/>
                    <a:pt x="317" y="93"/>
                  </a:cubicBezTo>
                  <a:cubicBezTo>
                    <a:pt x="314" y="93"/>
                    <a:pt x="312" y="92"/>
                    <a:pt x="310" y="91"/>
                  </a:cubicBezTo>
                  <a:cubicBezTo>
                    <a:pt x="308" y="91"/>
                    <a:pt x="307" y="90"/>
                    <a:pt x="306" y="88"/>
                  </a:cubicBezTo>
                  <a:cubicBezTo>
                    <a:pt x="305" y="87"/>
                    <a:pt x="305" y="87"/>
                    <a:pt x="305" y="86"/>
                  </a:cubicBezTo>
                  <a:cubicBezTo>
                    <a:pt x="305" y="86"/>
                    <a:pt x="305" y="86"/>
                    <a:pt x="305" y="86"/>
                  </a:cubicBezTo>
                  <a:cubicBezTo>
                    <a:pt x="305" y="86"/>
                    <a:pt x="305" y="86"/>
                    <a:pt x="305" y="86"/>
                  </a:cubicBezTo>
                  <a:cubicBezTo>
                    <a:pt x="305" y="85"/>
                    <a:pt x="305" y="85"/>
                    <a:pt x="305" y="85"/>
                  </a:cubicBezTo>
                  <a:cubicBezTo>
                    <a:pt x="305" y="85"/>
                    <a:pt x="305" y="85"/>
                    <a:pt x="305" y="85"/>
                  </a:cubicBezTo>
                  <a:cubicBezTo>
                    <a:pt x="304" y="84"/>
                    <a:pt x="304" y="84"/>
                    <a:pt x="304" y="84"/>
                  </a:cubicBezTo>
                  <a:cubicBezTo>
                    <a:pt x="304" y="84"/>
                    <a:pt x="304" y="84"/>
                    <a:pt x="304" y="84"/>
                  </a:cubicBezTo>
                  <a:cubicBezTo>
                    <a:pt x="304" y="83"/>
                    <a:pt x="304" y="83"/>
                    <a:pt x="304" y="83"/>
                  </a:cubicBezTo>
                  <a:cubicBezTo>
                    <a:pt x="304" y="83"/>
                    <a:pt x="304" y="83"/>
                    <a:pt x="304" y="83"/>
                  </a:cubicBezTo>
                  <a:cubicBezTo>
                    <a:pt x="285" y="78"/>
                    <a:pt x="285" y="78"/>
                    <a:pt x="285" y="78"/>
                  </a:cubicBezTo>
                  <a:cubicBezTo>
                    <a:pt x="284" y="78"/>
                    <a:pt x="284" y="78"/>
                    <a:pt x="284" y="78"/>
                  </a:cubicBezTo>
                  <a:cubicBezTo>
                    <a:pt x="283" y="78"/>
                    <a:pt x="283" y="78"/>
                    <a:pt x="283" y="78"/>
                  </a:cubicBezTo>
                  <a:cubicBezTo>
                    <a:pt x="283" y="78"/>
                    <a:pt x="283" y="78"/>
                    <a:pt x="283" y="78"/>
                  </a:cubicBezTo>
                  <a:cubicBezTo>
                    <a:pt x="282" y="79"/>
                    <a:pt x="281" y="79"/>
                    <a:pt x="281" y="79"/>
                  </a:cubicBezTo>
                  <a:cubicBezTo>
                    <a:pt x="280" y="79"/>
                    <a:pt x="280" y="79"/>
                    <a:pt x="280" y="79"/>
                  </a:cubicBezTo>
                  <a:cubicBezTo>
                    <a:pt x="279" y="79"/>
                    <a:pt x="278" y="79"/>
                    <a:pt x="277" y="79"/>
                  </a:cubicBezTo>
                  <a:cubicBezTo>
                    <a:pt x="277" y="79"/>
                    <a:pt x="277" y="79"/>
                    <a:pt x="277" y="79"/>
                  </a:cubicBezTo>
                  <a:cubicBezTo>
                    <a:pt x="276" y="79"/>
                    <a:pt x="276" y="79"/>
                    <a:pt x="276" y="79"/>
                  </a:cubicBezTo>
                  <a:cubicBezTo>
                    <a:pt x="244" y="76"/>
                    <a:pt x="244" y="76"/>
                    <a:pt x="244" y="76"/>
                  </a:cubicBezTo>
                  <a:cubicBezTo>
                    <a:pt x="242" y="76"/>
                    <a:pt x="240" y="75"/>
                    <a:pt x="238" y="74"/>
                  </a:cubicBezTo>
                  <a:cubicBezTo>
                    <a:pt x="234" y="71"/>
                    <a:pt x="230" y="68"/>
                    <a:pt x="227" y="65"/>
                  </a:cubicBezTo>
                  <a:cubicBezTo>
                    <a:pt x="224" y="63"/>
                    <a:pt x="221" y="61"/>
                    <a:pt x="218" y="59"/>
                  </a:cubicBezTo>
                  <a:cubicBezTo>
                    <a:pt x="202" y="47"/>
                    <a:pt x="202" y="47"/>
                    <a:pt x="202" y="47"/>
                  </a:cubicBezTo>
                  <a:cubicBezTo>
                    <a:pt x="199" y="44"/>
                    <a:pt x="196" y="41"/>
                    <a:pt x="193" y="39"/>
                  </a:cubicBezTo>
                  <a:cubicBezTo>
                    <a:pt x="188" y="34"/>
                    <a:pt x="182" y="30"/>
                    <a:pt x="177" y="27"/>
                  </a:cubicBezTo>
                  <a:cubicBezTo>
                    <a:pt x="171" y="23"/>
                    <a:pt x="171" y="23"/>
                    <a:pt x="171" y="23"/>
                  </a:cubicBezTo>
                  <a:cubicBezTo>
                    <a:pt x="169" y="22"/>
                    <a:pt x="167" y="21"/>
                    <a:pt x="165" y="20"/>
                  </a:cubicBezTo>
                  <a:cubicBezTo>
                    <a:pt x="159" y="17"/>
                    <a:pt x="152" y="13"/>
                    <a:pt x="145" y="9"/>
                  </a:cubicBezTo>
                  <a:cubicBezTo>
                    <a:pt x="145" y="8"/>
                    <a:pt x="144" y="8"/>
                    <a:pt x="143" y="7"/>
                  </a:cubicBezTo>
                  <a:cubicBezTo>
                    <a:pt x="142" y="6"/>
                    <a:pt x="140" y="5"/>
                    <a:pt x="139" y="4"/>
                  </a:cubicBezTo>
                  <a:cubicBezTo>
                    <a:pt x="110" y="0"/>
                    <a:pt x="110" y="0"/>
                    <a:pt x="1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302"/>
            <p:cNvSpPr/>
            <p:nvPr/>
          </p:nvSpPr>
          <p:spPr bwMode="auto">
            <a:xfrm>
              <a:off x="6783" y="1254"/>
              <a:ext cx="21" cy="38"/>
            </a:xfrm>
            <a:custGeom>
              <a:gdLst>
                <a:gd name="T0" fmla="*/ 6 w 9"/>
                <a:gd name="T1" fmla="*/ 0 h 16"/>
                <a:gd name="T2" fmla="*/ 0 w 9"/>
                <a:gd name="T3" fmla="*/ 5 h 16"/>
                <a:gd name="T4" fmla="*/ 2 w 9"/>
                <a:gd name="T5" fmla="*/ 5 h 16"/>
                <a:gd name="T6" fmla="*/ 2 w 9"/>
                <a:gd name="T7" fmla="*/ 6 h 16"/>
                <a:gd name="T8" fmla="*/ 2 w 9"/>
                <a:gd name="T9" fmla="*/ 8 h 16"/>
                <a:gd name="T10" fmla="*/ 2 w 9"/>
                <a:gd name="T11" fmla="*/ 10 h 16"/>
                <a:gd name="T12" fmla="*/ 3 w 9"/>
                <a:gd name="T13" fmla="*/ 15 h 16"/>
                <a:gd name="T14" fmla="*/ 3 w 9"/>
                <a:gd name="T15" fmla="*/ 14 h 16"/>
                <a:gd name="T16" fmla="*/ 4 w 9"/>
                <a:gd name="T17" fmla="*/ 16 h 16"/>
                <a:gd name="T18" fmla="*/ 8 w 9"/>
                <a:gd name="T19" fmla="*/ 7 h 16"/>
                <a:gd name="T20" fmla="*/ 5 w 9"/>
                <a:gd name="T21" fmla="*/ 4 h 16"/>
                <a:gd name="T22" fmla="*/ 9 w 9"/>
                <a:gd name="T23" fmla="*/ 1 h 16"/>
                <a:gd name="T24" fmla="*/ 6 w 9"/>
                <a:gd name="T25"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6" y="0"/>
                  </a:moveTo>
                  <a:cubicBezTo>
                    <a:pt x="3" y="0"/>
                    <a:pt x="2" y="2"/>
                    <a:pt x="0" y="5"/>
                  </a:cubicBezTo>
                  <a:cubicBezTo>
                    <a:pt x="2" y="5"/>
                    <a:pt x="2" y="5"/>
                    <a:pt x="2" y="5"/>
                  </a:cubicBezTo>
                  <a:cubicBezTo>
                    <a:pt x="2" y="6"/>
                    <a:pt x="2" y="6"/>
                    <a:pt x="2" y="6"/>
                  </a:cubicBezTo>
                  <a:cubicBezTo>
                    <a:pt x="2" y="6"/>
                    <a:pt x="2" y="7"/>
                    <a:pt x="2" y="8"/>
                  </a:cubicBezTo>
                  <a:cubicBezTo>
                    <a:pt x="2" y="10"/>
                    <a:pt x="2" y="10"/>
                    <a:pt x="2" y="10"/>
                  </a:cubicBezTo>
                  <a:cubicBezTo>
                    <a:pt x="2" y="12"/>
                    <a:pt x="3" y="14"/>
                    <a:pt x="3" y="15"/>
                  </a:cubicBezTo>
                  <a:cubicBezTo>
                    <a:pt x="3" y="14"/>
                    <a:pt x="3" y="14"/>
                    <a:pt x="3" y="14"/>
                  </a:cubicBezTo>
                  <a:cubicBezTo>
                    <a:pt x="4" y="16"/>
                    <a:pt x="4" y="16"/>
                    <a:pt x="4" y="16"/>
                  </a:cubicBezTo>
                  <a:cubicBezTo>
                    <a:pt x="6" y="13"/>
                    <a:pt x="7" y="8"/>
                    <a:pt x="8" y="7"/>
                  </a:cubicBezTo>
                  <a:cubicBezTo>
                    <a:pt x="6" y="6"/>
                    <a:pt x="5" y="6"/>
                    <a:pt x="5" y="4"/>
                  </a:cubicBezTo>
                  <a:cubicBezTo>
                    <a:pt x="6" y="3"/>
                    <a:pt x="8" y="2"/>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303"/>
            <p:cNvSpPr/>
            <p:nvPr/>
          </p:nvSpPr>
          <p:spPr bwMode="auto">
            <a:xfrm>
              <a:off x="5892" y="171"/>
              <a:ext cx="357" cy="152"/>
            </a:xfrm>
            <a:custGeom>
              <a:gdLst>
                <a:gd name="T0" fmla="*/ 0 w 151"/>
                <a:gd name="T1" fmla="*/ 4 h 64"/>
                <a:gd name="T2" fmla="*/ 10 w 151"/>
                <a:gd name="T3" fmla="*/ 10 h 64"/>
                <a:gd name="T4" fmla="*/ 33 w 151"/>
                <a:gd name="T5" fmla="*/ 27 h 64"/>
                <a:gd name="T6" fmla="*/ 39 w 151"/>
                <a:gd name="T7" fmla="*/ 46 h 64"/>
                <a:gd name="T8" fmla="*/ 35 w 151"/>
                <a:gd name="T9" fmla="*/ 53 h 64"/>
                <a:gd name="T10" fmla="*/ 41 w 151"/>
                <a:gd name="T11" fmla="*/ 54 h 64"/>
                <a:gd name="T12" fmla="*/ 46 w 151"/>
                <a:gd name="T13" fmla="*/ 54 h 64"/>
                <a:gd name="T14" fmla="*/ 55 w 151"/>
                <a:gd name="T15" fmla="*/ 55 h 64"/>
                <a:gd name="T16" fmla="*/ 61 w 151"/>
                <a:gd name="T17" fmla="*/ 51 h 64"/>
                <a:gd name="T18" fmla="*/ 68 w 151"/>
                <a:gd name="T19" fmla="*/ 56 h 64"/>
                <a:gd name="T20" fmla="*/ 69 w 151"/>
                <a:gd name="T21" fmla="*/ 56 h 64"/>
                <a:gd name="T22" fmla="*/ 71 w 151"/>
                <a:gd name="T23" fmla="*/ 57 h 64"/>
                <a:gd name="T24" fmla="*/ 76 w 151"/>
                <a:gd name="T25" fmla="*/ 60 h 64"/>
                <a:gd name="T26" fmla="*/ 79 w 151"/>
                <a:gd name="T27" fmla="*/ 63 h 64"/>
                <a:gd name="T28" fmla="*/ 80 w 151"/>
                <a:gd name="T29" fmla="*/ 64 h 64"/>
                <a:gd name="T30" fmla="*/ 83 w 151"/>
                <a:gd name="T31" fmla="*/ 64 h 64"/>
                <a:gd name="T32" fmla="*/ 102 w 151"/>
                <a:gd name="T33" fmla="*/ 61 h 64"/>
                <a:gd name="T34" fmla="*/ 106 w 151"/>
                <a:gd name="T35" fmla="*/ 61 h 64"/>
                <a:gd name="T36" fmla="*/ 109 w 151"/>
                <a:gd name="T37" fmla="*/ 61 h 64"/>
                <a:gd name="T38" fmla="*/ 109 w 151"/>
                <a:gd name="T39" fmla="*/ 60 h 64"/>
                <a:gd name="T40" fmla="*/ 117 w 151"/>
                <a:gd name="T41" fmla="*/ 57 h 64"/>
                <a:gd name="T42" fmla="*/ 123 w 151"/>
                <a:gd name="T43" fmla="*/ 55 h 64"/>
                <a:gd name="T44" fmla="*/ 131 w 151"/>
                <a:gd name="T45" fmla="*/ 58 h 64"/>
                <a:gd name="T46" fmla="*/ 134 w 151"/>
                <a:gd name="T47" fmla="*/ 61 h 64"/>
                <a:gd name="T48" fmla="*/ 148 w 151"/>
                <a:gd name="T49" fmla="*/ 64 h 64"/>
                <a:gd name="T50" fmla="*/ 151 w 151"/>
                <a:gd name="T51" fmla="*/ 62 h 64"/>
                <a:gd name="T52" fmla="*/ 142 w 151"/>
                <a:gd name="T53" fmla="*/ 55 h 64"/>
                <a:gd name="T54" fmla="*/ 145 w 151"/>
                <a:gd name="T55" fmla="*/ 46 h 64"/>
                <a:gd name="T56" fmla="*/ 130 w 151"/>
                <a:gd name="T57" fmla="*/ 40 h 64"/>
                <a:gd name="T58" fmla="*/ 128 w 151"/>
                <a:gd name="T59" fmla="*/ 31 h 64"/>
                <a:gd name="T60" fmla="*/ 114 w 151"/>
                <a:gd name="T61" fmla="*/ 24 h 64"/>
                <a:gd name="T62" fmla="*/ 111 w 151"/>
                <a:gd name="T63" fmla="*/ 33 h 64"/>
                <a:gd name="T64" fmla="*/ 105 w 151"/>
                <a:gd name="T65" fmla="*/ 24 h 64"/>
                <a:gd name="T66" fmla="*/ 99 w 151"/>
                <a:gd name="T67" fmla="*/ 26 h 64"/>
                <a:gd name="T68" fmla="*/ 89 w 151"/>
                <a:gd name="T69" fmla="*/ 28 h 64"/>
                <a:gd name="T70" fmla="*/ 82 w 151"/>
                <a:gd name="T71" fmla="*/ 24 h 64"/>
                <a:gd name="T72" fmla="*/ 83 w 151"/>
                <a:gd name="T73" fmla="*/ 22 h 64"/>
                <a:gd name="T74" fmla="*/ 55 w 151"/>
                <a:gd name="T75" fmla="*/ 10 h 64"/>
                <a:gd name="T76" fmla="*/ 46 w 151"/>
                <a:gd name="T77" fmla="*/ 11 h 64"/>
                <a:gd name="T78" fmla="*/ 12 w 151"/>
                <a:gd name="T79" fmla="*/ 2 h 64"/>
                <a:gd name="T80" fmla="*/ 9 w 151"/>
                <a:gd name="T81" fmla="*/ 2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1" h="64">
                  <a:moveTo>
                    <a:pt x="1" y="0"/>
                  </a:moveTo>
                  <a:cubicBezTo>
                    <a:pt x="1" y="1"/>
                    <a:pt x="1" y="2"/>
                    <a:pt x="0" y="4"/>
                  </a:cubicBezTo>
                  <a:cubicBezTo>
                    <a:pt x="0" y="5"/>
                    <a:pt x="0" y="5"/>
                    <a:pt x="0" y="5"/>
                  </a:cubicBezTo>
                  <a:cubicBezTo>
                    <a:pt x="3" y="7"/>
                    <a:pt x="6" y="9"/>
                    <a:pt x="10" y="10"/>
                  </a:cubicBezTo>
                  <a:cubicBezTo>
                    <a:pt x="15" y="12"/>
                    <a:pt x="21" y="12"/>
                    <a:pt x="23" y="17"/>
                  </a:cubicBezTo>
                  <a:cubicBezTo>
                    <a:pt x="25" y="22"/>
                    <a:pt x="32" y="21"/>
                    <a:pt x="33" y="27"/>
                  </a:cubicBezTo>
                  <a:cubicBezTo>
                    <a:pt x="34" y="30"/>
                    <a:pt x="35" y="38"/>
                    <a:pt x="39" y="38"/>
                  </a:cubicBezTo>
                  <a:cubicBezTo>
                    <a:pt x="37" y="41"/>
                    <a:pt x="40" y="43"/>
                    <a:pt x="39" y="46"/>
                  </a:cubicBezTo>
                  <a:cubicBezTo>
                    <a:pt x="38" y="49"/>
                    <a:pt x="37" y="51"/>
                    <a:pt x="35" y="53"/>
                  </a:cubicBezTo>
                  <a:cubicBezTo>
                    <a:pt x="35" y="53"/>
                    <a:pt x="35" y="53"/>
                    <a:pt x="35" y="53"/>
                  </a:cubicBezTo>
                  <a:cubicBezTo>
                    <a:pt x="36" y="54"/>
                    <a:pt x="37" y="54"/>
                    <a:pt x="38" y="54"/>
                  </a:cubicBezTo>
                  <a:cubicBezTo>
                    <a:pt x="39" y="54"/>
                    <a:pt x="40" y="54"/>
                    <a:pt x="41" y="54"/>
                  </a:cubicBezTo>
                  <a:cubicBezTo>
                    <a:pt x="42" y="53"/>
                    <a:pt x="43" y="53"/>
                    <a:pt x="44" y="53"/>
                  </a:cubicBezTo>
                  <a:cubicBezTo>
                    <a:pt x="44" y="53"/>
                    <a:pt x="45" y="53"/>
                    <a:pt x="46" y="54"/>
                  </a:cubicBezTo>
                  <a:cubicBezTo>
                    <a:pt x="48" y="54"/>
                    <a:pt x="48" y="54"/>
                    <a:pt x="48" y="54"/>
                  </a:cubicBezTo>
                  <a:cubicBezTo>
                    <a:pt x="50" y="54"/>
                    <a:pt x="52" y="54"/>
                    <a:pt x="55" y="55"/>
                  </a:cubicBezTo>
                  <a:cubicBezTo>
                    <a:pt x="55" y="53"/>
                    <a:pt x="57" y="52"/>
                    <a:pt x="59" y="51"/>
                  </a:cubicBezTo>
                  <a:cubicBezTo>
                    <a:pt x="59" y="51"/>
                    <a:pt x="60" y="51"/>
                    <a:pt x="61" y="51"/>
                  </a:cubicBezTo>
                  <a:cubicBezTo>
                    <a:pt x="64" y="51"/>
                    <a:pt x="66" y="52"/>
                    <a:pt x="69" y="55"/>
                  </a:cubicBezTo>
                  <a:cubicBezTo>
                    <a:pt x="68" y="56"/>
                    <a:pt x="68" y="56"/>
                    <a:pt x="68" y="56"/>
                  </a:cubicBezTo>
                  <a:cubicBezTo>
                    <a:pt x="69" y="55"/>
                    <a:pt x="69" y="55"/>
                    <a:pt x="69" y="55"/>
                  </a:cubicBezTo>
                  <a:cubicBezTo>
                    <a:pt x="69" y="56"/>
                    <a:pt x="69" y="56"/>
                    <a:pt x="69" y="56"/>
                  </a:cubicBezTo>
                  <a:cubicBezTo>
                    <a:pt x="70" y="56"/>
                    <a:pt x="70" y="56"/>
                    <a:pt x="70" y="57"/>
                  </a:cubicBezTo>
                  <a:cubicBezTo>
                    <a:pt x="71" y="57"/>
                    <a:pt x="71" y="57"/>
                    <a:pt x="71" y="57"/>
                  </a:cubicBezTo>
                  <a:cubicBezTo>
                    <a:pt x="72" y="58"/>
                    <a:pt x="72" y="58"/>
                    <a:pt x="72" y="58"/>
                  </a:cubicBezTo>
                  <a:cubicBezTo>
                    <a:pt x="73" y="59"/>
                    <a:pt x="75" y="60"/>
                    <a:pt x="76" y="60"/>
                  </a:cubicBezTo>
                  <a:cubicBezTo>
                    <a:pt x="77" y="61"/>
                    <a:pt x="77" y="61"/>
                    <a:pt x="77" y="61"/>
                  </a:cubicBezTo>
                  <a:cubicBezTo>
                    <a:pt x="78" y="62"/>
                    <a:pt x="79" y="63"/>
                    <a:pt x="79" y="63"/>
                  </a:cubicBezTo>
                  <a:cubicBezTo>
                    <a:pt x="80" y="64"/>
                    <a:pt x="80" y="64"/>
                    <a:pt x="80" y="64"/>
                  </a:cubicBezTo>
                  <a:cubicBezTo>
                    <a:pt x="80" y="64"/>
                    <a:pt x="80" y="64"/>
                    <a:pt x="80" y="64"/>
                  </a:cubicBezTo>
                  <a:cubicBezTo>
                    <a:pt x="81" y="64"/>
                    <a:pt x="81" y="64"/>
                    <a:pt x="81" y="64"/>
                  </a:cubicBezTo>
                  <a:cubicBezTo>
                    <a:pt x="83" y="64"/>
                    <a:pt x="83" y="64"/>
                    <a:pt x="83" y="64"/>
                  </a:cubicBezTo>
                  <a:cubicBezTo>
                    <a:pt x="88" y="63"/>
                    <a:pt x="93" y="63"/>
                    <a:pt x="98" y="62"/>
                  </a:cubicBezTo>
                  <a:cubicBezTo>
                    <a:pt x="99" y="62"/>
                    <a:pt x="101" y="61"/>
                    <a:pt x="102" y="61"/>
                  </a:cubicBezTo>
                  <a:cubicBezTo>
                    <a:pt x="103" y="61"/>
                    <a:pt x="104" y="61"/>
                    <a:pt x="105" y="61"/>
                  </a:cubicBezTo>
                  <a:cubicBezTo>
                    <a:pt x="106" y="61"/>
                    <a:pt x="106" y="61"/>
                    <a:pt x="106" y="61"/>
                  </a:cubicBezTo>
                  <a:cubicBezTo>
                    <a:pt x="107" y="61"/>
                    <a:pt x="108" y="61"/>
                    <a:pt x="108" y="61"/>
                  </a:cubicBezTo>
                  <a:cubicBezTo>
                    <a:pt x="109" y="61"/>
                    <a:pt x="109" y="61"/>
                    <a:pt x="109" y="61"/>
                  </a:cubicBezTo>
                  <a:cubicBezTo>
                    <a:pt x="110" y="61"/>
                    <a:pt x="110" y="61"/>
                    <a:pt x="110" y="61"/>
                  </a:cubicBezTo>
                  <a:cubicBezTo>
                    <a:pt x="109" y="60"/>
                    <a:pt x="109" y="60"/>
                    <a:pt x="109" y="60"/>
                  </a:cubicBezTo>
                  <a:cubicBezTo>
                    <a:pt x="114" y="59"/>
                    <a:pt x="114" y="59"/>
                    <a:pt x="114" y="59"/>
                  </a:cubicBezTo>
                  <a:cubicBezTo>
                    <a:pt x="115" y="59"/>
                    <a:pt x="116" y="58"/>
                    <a:pt x="117" y="57"/>
                  </a:cubicBezTo>
                  <a:cubicBezTo>
                    <a:pt x="119" y="56"/>
                    <a:pt x="119" y="56"/>
                    <a:pt x="119" y="56"/>
                  </a:cubicBezTo>
                  <a:cubicBezTo>
                    <a:pt x="120" y="55"/>
                    <a:pt x="122" y="55"/>
                    <a:pt x="123" y="55"/>
                  </a:cubicBezTo>
                  <a:cubicBezTo>
                    <a:pt x="123" y="55"/>
                    <a:pt x="124" y="55"/>
                    <a:pt x="124" y="55"/>
                  </a:cubicBezTo>
                  <a:cubicBezTo>
                    <a:pt x="127" y="56"/>
                    <a:pt x="129" y="57"/>
                    <a:pt x="131" y="58"/>
                  </a:cubicBezTo>
                  <a:cubicBezTo>
                    <a:pt x="132" y="59"/>
                    <a:pt x="132" y="59"/>
                    <a:pt x="132" y="59"/>
                  </a:cubicBezTo>
                  <a:cubicBezTo>
                    <a:pt x="132" y="59"/>
                    <a:pt x="133" y="60"/>
                    <a:pt x="134" y="61"/>
                  </a:cubicBezTo>
                  <a:cubicBezTo>
                    <a:pt x="135" y="61"/>
                    <a:pt x="135" y="61"/>
                    <a:pt x="136" y="61"/>
                  </a:cubicBezTo>
                  <a:cubicBezTo>
                    <a:pt x="140" y="63"/>
                    <a:pt x="144" y="63"/>
                    <a:pt x="148" y="64"/>
                  </a:cubicBezTo>
                  <a:cubicBezTo>
                    <a:pt x="149" y="64"/>
                    <a:pt x="150" y="64"/>
                    <a:pt x="151" y="64"/>
                  </a:cubicBezTo>
                  <a:cubicBezTo>
                    <a:pt x="151" y="62"/>
                    <a:pt x="151" y="62"/>
                    <a:pt x="151" y="62"/>
                  </a:cubicBezTo>
                  <a:cubicBezTo>
                    <a:pt x="149" y="61"/>
                    <a:pt x="147" y="59"/>
                    <a:pt x="146" y="58"/>
                  </a:cubicBezTo>
                  <a:cubicBezTo>
                    <a:pt x="145" y="57"/>
                    <a:pt x="144" y="56"/>
                    <a:pt x="142" y="55"/>
                  </a:cubicBezTo>
                  <a:cubicBezTo>
                    <a:pt x="139" y="54"/>
                    <a:pt x="139" y="54"/>
                    <a:pt x="139" y="54"/>
                  </a:cubicBezTo>
                  <a:cubicBezTo>
                    <a:pt x="145" y="46"/>
                    <a:pt x="145" y="46"/>
                    <a:pt x="145" y="46"/>
                  </a:cubicBezTo>
                  <a:cubicBezTo>
                    <a:pt x="144" y="46"/>
                    <a:pt x="144" y="46"/>
                    <a:pt x="143" y="45"/>
                  </a:cubicBezTo>
                  <a:cubicBezTo>
                    <a:pt x="139" y="45"/>
                    <a:pt x="130" y="40"/>
                    <a:pt x="130" y="40"/>
                  </a:cubicBezTo>
                  <a:cubicBezTo>
                    <a:pt x="129" y="39"/>
                    <a:pt x="128" y="38"/>
                    <a:pt x="128" y="36"/>
                  </a:cubicBezTo>
                  <a:cubicBezTo>
                    <a:pt x="127" y="35"/>
                    <a:pt x="128" y="33"/>
                    <a:pt x="128" y="31"/>
                  </a:cubicBezTo>
                  <a:cubicBezTo>
                    <a:pt x="124" y="29"/>
                    <a:pt x="117" y="27"/>
                    <a:pt x="114" y="25"/>
                  </a:cubicBezTo>
                  <a:cubicBezTo>
                    <a:pt x="114" y="24"/>
                    <a:pt x="114" y="24"/>
                    <a:pt x="114" y="24"/>
                  </a:cubicBezTo>
                  <a:cubicBezTo>
                    <a:pt x="114" y="25"/>
                    <a:pt x="113" y="25"/>
                    <a:pt x="113" y="26"/>
                  </a:cubicBezTo>
                  <a:cubicBezTo>
                    <a:pt x="111" y="33"/>
                    <a:pt x="111" y="33"/>
                    <a:pt x="111" y="33"/>
                  </a:cubicBezTo>
                  <a:cubicBezTo>
                    <a:pt x="108" y="26"/>
                    <a:pt x="108" y="26"/>
                    <a:pt x="108" y="26"/>
                  </a:cubicBezTo>
                  <a:cubicBezTo>
                    <a:pt x="107" y="25"/>
                    <a:pt x="106" y="24"/>
                    <a:pt x="105" y="24"/>
                  </a:cubicBezTo>
                  <a:cubicBezTo>
                    <a:pt x="105" y="24"/>
                    <a:pt x="105" y="24"/>
                    <a:pt x="105" y="24"/>
                  </a:cubicBezTo>
                  <a:cubicBezTo>
                    <a:pt x="103" y="24"/>
                    <a:pt x="101" y="25"/>
                    <a:pt x="99" y="26"/>
                  </a:cubicBezTo>
                  <a:cubicBezTo>
                    <a:pt x="96" y="28"/>
                    <a:pt x="93" y="29"/>
                    <a:pt x="91" y="29"/>
                  </a:cubicBezTo>
                  <a:cubicBezTo>
                    <a:pt x="90" y="29"/>
                    <a:pt x="89" y="29"/>
                    <a:pt x="89" y="28"/>
                  </a:cubicBezTo>
                  <a:cubicBezTo>
                    <a:pt x="89" y="28"/>
                    <a:pt x="84" y="27"/>
                    <a:pt x="83" y="25"/>
                  </a:cubicBezTo>
                  <a:cubicBezTo>
                    <a:pt x="82" y="24"/>
                    <a:pt x="82" y="24"/>
                    <a:pt x="82" y="24"/>
                  </a:cubicBezTo>
                  <a:cubicBezTo>
                    <a:pt x="83" y="22"/>
                    <a:pt x="83" y="22"/>
                    <a:pt x="83" y="22"/>
                  </a:cubicBezTo>
                  <a:cubicBezTo>
                    <a:pt x="83" y="22"/>
                    <a:pt x="83" y="22"/>
                    <a:pt x="83" y="22"/>
                  </a:cubicBezTo>
                  <a:cubicBezTo>
                    <a:pt x="78" y="21"/>
                    <a:pt x="67" y="16"/>
                    <a:pt x="65" y="13"/>
                  </a:cubicBezTo>
                  <a:cubicBezTo>
                    <a:pt x="64" y="12"/>
                    <a:pt x="60" y="10"/>
                    <a:pt x="55" y="10"/>
                  </a:cubicBezTo>
                  <a:cubicBezTo>
                    <a:pt x="54" y="10"/>
                    <a:pt x="52" y="10"/>
                    <a:pt x="51" y="10"/>
                  </a:cubicBezTo>
                  <a:cubicBezTo>
                    <a:pt x="50" y="11"/>
                    <a:pt x="48" y="11"/>
                    <a:pt x="46" y="11"/>
                  </a:cubicBezTo>
                  <a:cubicBezTo>
                    <a:pt x="37" y="11"/>
                    <a:pt x="21" y="6"/>
                    <a:pt x="18" y="4"/>
                  </a:cubicBezTo>
                  <a:cubicBezTo>
                    <a:pt x="16" y="3"/>
                    <a:pt x="13" y="2"/>
                    <a:pt x="12" y="2"/>
                  </a:cubicBezTo>
                  <a:cubicBezTo>
                    <a:pt x="12" y="2"/>
                    <a:pt x="12" y="2"/>
                    <a:pt x="11" y="2"/>
                  </a:cubicBezTo>
                  <a:cubicBezTo>
                    <a:pt x="11" y="2"/>
                    <a:pt x="10" y="2"/>
                    <a:pt x="9" y="2"/>
                  </a:cubicBezTo>
                  <a:cubicBezTo>
                    <a:pt x="7" y="2"/>
                    <a:pt x="4"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304"/>
            <p:cNvSpPr/>
            <p:nvPr/>
          </p:nvSpPr>
          <p:spPr bwMode="auto">
            <a:xfrm>
              <a:off x="6400" y="-20"/>
              <a:ext cx="2" cy="0"/>
            </a:xfrm>
            <a:custGeom>
              <a:gdLst>
                <a:gd name="T0" fmla="*/ 0 w 1"/>
                <a:gd name="T1" fmla="*/ 0 w 1"/>
                <a:gd name="T2" fmla="*/ 1 w 1"/>
                <a:gd name="T3" fmla="*/ 0 w 1"/>
              </a:gd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305"/>
            <p:cNvSpPr>
              <a:spLocks noEditPoints="1"/>
            </p:cNvSpPr>
            <p:nvPr/>
          </p:nvSpPr>
          <p:spPr bwMode="auto">
            <a:xfrm>
              <a:off x="5696" y="-27"/>
              <a:ext cx="697" cy="345"/>
            </a:xfrm>
            <a:custGeom>
              <a:gdLst>
                <a:gd name="T0" fmla="*/ 2 w 295"/>
                <a:gd name="T1" fmla="*/ 30 h 146"/>
                <a:gd name="T2" fmla="*/ 288 w 295"/>
                <a:gd name="T3" fmla="*/ 0 h 146"/>
                <a:gd name="T4" fmla="*/ 46 w 295"/>
                <a:gd name="T5" fmla="*/ 10 h 146"/>
                <a:gd name="T6" fmla="*/ 40 w 295"/>
                <a:gd name="T7" fmla="*/ 7 h 146"/>
                <a:gd name="T8" fmla="*/ 35 w 295"/>
                <a:gd name="T9" fmla="*/ 16 h 146"/>
                <a:gd name="T10" fmla="*/ 35 w 295"/>
                <a:gd name="T11" fmla="*/ 9 h 146"/>
                <a:gd name="T12" fmla="*/ 32 w 295"/>
                <a:gd name="T13" fmla="*/ 11 h 146"/>
                <a:gd name="T14" fmla="*/ 24 w 295"/>
                <a:gd name="T15" fmla="*/ 21 h 146"/>
                <a:gd name="T16" fmla="*/ 24 w 295"/>
                <a:gd name="T17" fmla="*/ 31 h 146"/>
                <a:gd name="T18" fmla="*/ 7 w 295"/>
                <a:gd name="T19" fmla="*/ 28 h 146"/>
                <a:gd name="T20" fmla="*/ 4 w 295"/>
                <a:gd name="T21" fmla="*/ 29 h 146"/>
                <a:gd name="T22" fmla="*/ 8 w 295"/>
                <a:gd name="T23" fmla="*/ 31 h 146"/>
                <a:gd name="T24" fmla="*/ 0 w 295"/>
                <a:gd name="T25" fmla="*/ 34 h 146"/>
                <a:gd name="T26" fmla="*/ 21 w 295"/>
                <a:gd name="T27" fmla="*/ 49 h 146"/>
                <a:gd name="T28" fmla="*/ 28 w 295"/>
                <a:gd name="T29" fmla="*/ 49 h 146"/>
                <a:gd name="T30" fmla="*/ 33 w 295"/>
                <a:gd name="T31" fmla="*/ 52 h 146"/>
                <a:gd name="T32" fmla="*/ 47 w 295"/>
                <a:gd name="T33" fmla="*/ 60 h 146"/>
                <a:gd name="T34" fmla="*/ 78 w 295"/>
                <a:gd name="T35" fmla="*/ 85 h 146"/>
                <a:gd name="T36" fmla="*/ 84 w 295"/>
                <a:gd name="T37" fmla="*/ 78 h 146"/>
                <a:gd name="T38" fmla="*/ 85 w 295"/>
                <a:gd name="T39" fmla="*/ 79 h 146"/>
                <a:gd name="T40" fmla="*/ 93 w 295"/>
                <a:gd name="T41" fmla="*/ 80 h 146"/>
                <a:gd name="T42" fmla="*/ 104 w 295"/>
                <a:gd name="T43" fmla="*/ 83 h 146"/>
                <a:gd name="T44" fmla="*/ 129 w 295"/>
                <a:gd name="T45" fmla="*/ 89 h 146"/>
                <a:gd name="T46" fmla="*/ 138 w 295"/>
                <a:gd name="T47" fmla="*/ 88 h 146"/>
                <a:gd name="T48" fmla="*/ 167 w 295"/>
                <a:gd name="T49" fmla="*/ 100 h 146"/>
                <a:gd name="T50" fmla="*/ 172 w 295"/>
                <a:gd name="T51" fmla="*/ 106 h 146"/>
                <a:gd name="T52" fmla="*/ 175 w 295"/>
                <a:gd name="T53" fmla="*/ 107 h 146"/>
                <a:gd name="T54" fmla="*/ 188 w 295"/>
                <a:gd name="T55" fmla="*/ 102 h 146"/>
                <a:gd name="T56" fmla="*/ 193 w 295"/>
                <a:gd name="T57" fmla="*/ 104 h 146"/>
                <a:gd name="T58" fmla="*/ 196 w 295"/>
                <a:gd name="T59" fmla="*/ 102 h 146"/>
                <a:gd name="T60" fmla="*/ 216 w 295"/>
                <a:gd name="T61" fmla="*/ 110 h 146"/>
                <a:gd name="T62" fmla="*/ 218 w 295"/>
                <a:gd name="T63" fmla="*/ 114 h 146"/>
                <a:gd name="T64" fmla="*/ 227 w 295"/>
                <a:gd name="T65" fmla="*/ 123 h 146"/>
                <a:gd name="T66" fmla="*/ 229 w 295"/>
                <a:gd name="T67" fmla="*/ 124 h 146"/>
                <a:gd name="T68" fmla="*/ 231 w 295"/>
                <a:gd name="T69" fmla="*/ 126 h 146"/>
                <a:gd name="T70" fmla="*/ 236 w 295"/>
                <a:gd name="T71" fmla="*/ 126 h 146"/>
                <a:gd name="T72" fmla="*/ 246 w 295"/>
                <a:gd name="T73" fmla="*/ 133 h 146"/>
                <a:gd name="T74" fmla="*/ 253 w 295"/>
                <a:gd name="T75" fmla="*/ 141 h 146"/>
                <a:gd name="T76" fmla="*/ 263 w 295"/>
                <a:gd name="T77" fmla="*/ 146 h 146"/>
                <a:gd name="T78" fmla="*/ 270 w 295"/>
                <a:gd name="T79" fmla="*/ 138 h 146"/>
                <a:gd name="T80" fmla="*/ 274 w 295"/>
                <a:gd name="T81" fmla="*/ 135 h 146"/>
                <a:gd name="T82" fmla="*/ 280 w 295"/>
                <a:gd name="T83" fmla="*/ 128 h 146"/>
                <a:gd name="T84" fmla="*/ 268 w 295"/>
                <a:gd name="T85" fmla="*/ 113 h 146"/>
                <a:gd name="T86" fmla="*/ 260 w 295"/>
                <a:gd name="T87" fmla="*/ 101 h 146"/>
                <a:gd name="T88" fmla="*/ 260 w 295"/>
                <a:gd name="T89" fmla="*/ 77 h 146"/>
                <a:gd name="T90" fmla="*/ 260 w 295"/>
                <a:gd name="T91" fmla="*/ 73 h 146"/>
                <a:gd name="T92" fmla="*/ 254 w 295"/>
                <a:gd name="T93" fmla="*/ 80 h 146"/>
                <a:gd name="T94" fmla="*/ 255 w 295"/>
                <a:gd name="T95" fmla="*/ 71 h 146"/>
                <a:gd name="T96" fmla="*/ 239 w 295"/>
                <a:gd name="T97" fmla="*/ 57 h 146"/>
                <a:gd name="T98" fmla="*/ 253 w 295"/>
                <a:gd name="T99" fmla="*/ 34 h 146"/>
                <a:gd name="T100" fmla="*/ 256 w 295"/>
                <a:gd name="T101" fmla="*/ 23 h 146"/>
                <a:gd name="T102" fmla="*/ 256 w 295"/>
                <a:gd name="T103" fmla="*/ 23 h 146"/>
                <a:gd name="T104" fmla="*/ 260 w 295"/>
                <a:gd name="T105" fmla="*/ 24 h 146"/>
                <a:gd name="T106" fmla="*/ 265 w 295"/>
                <a:gd name="T107" fmla="*/ 22 h 146"/>
                <a:gd name="T108" fmla="*/ 271 w 295"/>
                <a:gd name="T109" fmla="*/ 19 h 146"/>
                <a:gd name="T110" fmla="*/ 275 w 295"/>
                <a:gd name="T111" fmla="*/ 18 h 146"/>
                <a:gd name="T112" fmla="*/ 282 w 295"/>
                <a:gd name="T113" fmla="*/ 12 h 146"/>
                <a:gd name="T114" fmla="*/ 285 w 295"/>
                <a:gd name="T115" fmla="*/ 9 h 146"/>
                <a:gd name="T116" fmla="*/ 290 w 295"/>
                <a:gd name="T117" fmla="*/ 7 h 146"/>
                <a:gd name="T118" fmla="*/ 294 w 295"/>
                <a:gd name="T119" fmla="*/ 7 h 146"/>
                <a:gd name="T120" fmla="*/ 293 w 295"/>
                <a:gd name="T121" fmla="*/ 2 h 146"/>
                <a:gd name="T122" fmla="*/ 287 w 295"/>
                <a:gd name="T123" fmla="*/ 4 h 1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5" h="146">
                  <a:moveTo>
                    <a:pt x="2" y="30"/>
                  </a:moveTo>
                  <a:cubicBezTo>
                    <a:pt x="2" y="30"/>
                    <a:pt x="2" y="30"/>
                    <a:pt x="2" y="30"/>
                  </a:cubicBezTo>
                  <a:cubicBezTo>
                    <a:pt x="2" y="30"/>
                    <a:pt x="2" y="30"/>
                    <a:pt x="2" y="30"/>
                  </a:cubicBezTo>
                  <a:moveTo>
                    <a:pt x="288" y="0"/>
                  </a:moveTo>
                  <a:cubicBezTo>
                    <a:pt x="33" y="0"/>
                    <a:pt x="33" y="0"/>
                    <a:pt x="33" y="0"/>
                  </a:cubicBezTo>
                  <a:cubicBezTo>
                    <a:pt x="38" y="2"/>
                    <a:pt x="47" y="6"/>
                    <a:pt x="46" y="10"/>
                  </a:cubicBezTo>
                  <a:cubicBezTo>
                    <a:pt x="45" y="10"/>
                    <a:pt x="43" y="9"/>
                    <a:pt x="41" y="8"/>
                  </a:cubicBezTo>
                  <a:cubicBezTo>
                    <a:pt x="40" y="7"/>
                    <a:pt x="40" y="7"/>
                    <a:pt x="40" y="7"/>
                  </a:cubicBezTo>
                  <a:cubicBezTo>
                    <a:pt x="40" y="7"/>
                    <a:pt x="40" y="7"/>
                    <a:pt x="40" y="7"/>
                  </a:cubicBezTo>
                  <a:cubicBezTo>
                    <a:pt x="36" y="7"/>
                    <a:pt x="35" y="13"/>
                    <a:pt x="35" y="16"/>
                  </a:cubicBezTo>
                  <a:cubicBezTo>
                    <a:pt x="35" y="14"/>
                    <a:pt x="35" y="11"/>
                    <a:pt x="34" y="10"/>
                  </a:cubicBezTo>
                  <a:cubicBezTo>
                    <a:pt x="35" y="10"/>
                    <a:pt x="35" y="10"/>
                    <a:pt x="35" y="9"/>
                  </a:cubicBezTo>
                  <a:cubicBezTo>
                    <a:pt x="35" y="9"/>
                    <a:pt x="35" y="9"/>
                    <a:pt x="35" y="9"/>
                  </a:cubicBezTo>
                  <a:cubicBezTo>
                    <a:pt x="34" y="9"/>
                    <a:pt x="33" y="10"/>
                    <a:pt x="32" y="11"/>
                  </a:cubicBezTo>
                  <a:cubicBezTo>
                    <a:pt x="32" y="11"/>
                    <a:pt x="27" y="22"/>
                    <a:pt x="25" y="22"/>
                  </a:cubicBezTo>
                  <a:cubicBezTo>
                    <a:pt x="25" y="22"/>
                    <a:pt x="24" y="21"/>
                    <a:pt x="24" y="21"/>
                  </a:cubicBezTo>
                  <a:cubicBezTo>
                    <a:pt x="23" y="23"/>
                    <a:pt x="31" y="31"/>
                    <a:pt x="24" y="31"/>
                  </a:cubicBezTo>
                  <a:cubicBezTo>
                    <a:pt x="24" y="31"/>
                    <a:pt x="24" y="31"/>
                    <a:pt x="24" y="31"/>
                  </a:cubicBezTo>
                  <a:cubicBezTo>
                    <a:pt x="19" y="31"/>
                    <a:pt x="15" y="30"/>
                    <a:pt x="11" y="29"/>
                  </a:cubicBezTo>
                  <a:cubicBezTo>
                    <a:pt x="9" y="28"/>
                    <a:pt x="8" y="28"/>
                    <a:pt x="7" y="28"/>
                  </a:cubicBezTo>
                  <a:cubicBezTo>
                    <a:pt x="5" y="28"/>
                    <a:pt x="4" y="29"/>
                    <a:pt x="2" y="30"/>
                  </a:cubicBezTo>
                  <a:cubicBezTo>
                    <a:pt x="3" y="30"/>
                    <a:pt x="4" y="29"/>
                    <a:pt x="4" y="29"/>
                  </a:cubicBezTo>
                  <a:cubicBezTo>
                    <a:pt x="5" y="29"/>
                    <a:pt x="5" y="30"/>
                    <a:pt x="6" y="30"/>
                  </a:cubicBezTo>
                  <a:cubicBezTo>
                    <a:pt x="7" y="31"/>
                    <a:pt x="7" y="31"/>
                    <a:pt x="8" y="31"/>
                  </a:cubicBezTo>
                  <a:cubicBezTo>
                    <a:pt x="8" y="31"/>
                    <a:pt x="9" y="31"/>
                    <a:pt x="9" y="31"/>
                  </a:cubicBezTo>
                  <a:cubicBezTo>
                    <a:pt x="6" y="34"/>
                    <a:pt x="3" y="34"/>
                    <a:pt x="0" y="34"/>
                  </a:cubicBezTo>
                  <a:cubicBezTo>
                    <a:pt x="3" y="36"/>
                    <a:pt x="7" y="38"/>
                    <a:pt x="10" y="39"/>
                  </a:cubicBezTo>
                  <a:cubicBezTo>
                    <a:pt x="14" y="40"/>
                    <a:pt x="18" y="46"/>
                    <a:pt x="21" y="49"/>
                  </a:cubicBezTo>
                  <a:cubicBezTo>
                    <a:pt x="21" y="50"/>
                    <a:pt x="22" y="50"/>
                    <a:pt x="22" y="50"/>
                  </a:cubicBezTo>
                  <a:cubicBezTo>
                    <a:pt x="24" y="50"/>
                    <a:pt x="27" y="49"/>
                    <a:pt x="28" y="49"/>
                  </a:cubicBezTo>
                  <a:cubicBezTo>
                    <a:pt x="28" y="49"/>
                    <a:pt x="28" y="49"/>
                    <a:pt x="28" y="49"/>
                  </a:cubicBezTo>
                  <a:cubicBezTo>
                    <a:pt x="31" y="49"/>
                    <a:pt x="31" y="50"/>
                    <a:pt x="33" y="52"/>
                  </a:cubicBezTo>
                  <a:cubicBezTo>
                    <a:pt x="34" y="53"/>
                    <a:pt x="36" y="56"/>
                    <a:pt x="37" y="57"/>
                  </a:cubicBezTo>
                  <a:cubicBezTo>
                    <a:pt x="40" y="59"/>
                    <a:pt x="44" y="59"/>
                    <a:pt x="47" y="60"/>
                  </a:cubicBezTo>
                  <a:cubicBezTo>
                    <a:pt x="51" y="61"/>
                    <a:pt x="55" y="65"/>
                    <a:pt x="59" y="68"/>
                  </a:cubicBezTo>
                  <a:cubicBezTo>
                    <a:pt x="66" y="73"/>
                    <a:pt x="72" y="79"/>
                    <a:pt x="78" y="85"/>
                  </a:cubicBezTo>
                  <a:cubicBezTo>
                    <a:pt x="79" y="81"/>
                    <a:pt x="81" y="79"/>
                    <a:pt x="82" y="79"/>
                  </a:cubicBezTo>
                  <a:cubicBezTo>
                    <a:pt x="83" y="79"/>
                    <a:pt x="83" y="78"/>
                    <a:pt x="84" y="78"/>
                  </a:cubicBezTo>
                  <a:cubicBezTo>
                    <a:pt x="84" y="78"/>
                    <a:pt x="85" y="78"/>
                    <a:pt x="85" y="79"/>
                  </a:cubicBezTo>
                  <a:cubicBezTo>
                    <a:pt x="85" y="79"/>
                    <a:pt x="85" y="79"/>
                    <a:pt x="85" y="79"/>
                  </a:cubicBezTo>
                  <a:cubicBezTo>
                    <a:pt x="89" y="80"/>
                    <a:pt x="91" y="80"/>
                    <a:pt x="92" y="80"/>
                  </a:cubicBezTo>
                  <a:cubicBezTo>
                    <a:pt x="93" y="80"/>
                    <a:pt x="93" y="80"/>
                    <a:pt x="93" y="80"/>
                  </a:cubicBezTo>
                  <a:cubicBezTo>
                    <a:pt x="94" y="80"/>
                    <a:pt x="94" y="80"/>
                    <a:pt x="95" y="80"/>
                  </a:cubicBezTo>
                  <a:cubicBezTo>
                    <a:pt x="98" y="80"/>
                    <a:pt x="102" y="82"/>
                    <a:pt x="104" y="83"/>
                  </a:cubicBezTo>
                  <a:cubicBezTo>
                    <a:pt x="104" y="83"/>
                    <a:pt x="105" y="84"/>
                    <a:pt x="107" y="84"/>
                  </a:cubicBezTo>
                  <a:cubicBezTo>
                    <a:pt x="112" y="86"/>
                    <a:pt x="123" y="89"/>
                    <a:pt x="129" y="89"/>
                  </a:cubicBezTo>
                  <a:cubicBezTo>
                    <a:pt x="130" y="89"/>
                    <a:pt x="131" y="89"/>
                    <a:pt x="132" y="89"/>
                  </a:cubicBezTo>
                  <a:cubicBezTo>
                    <a:pt x="134" y="88"/>
                    <a:pt x="136" y="88"/>
                    <a:pt x="138" y="88"/>
                  </a:cubicBezTo>
                  <a:cubicBezTo>
                    <a:pt x="144" y="88"/>
                    <a:pt x="150" y="91"/>
                    <a:pt x="152" y="93"/>
                  </a:cubicBezTo>
                  <a:cubicBezTo>
                    <a:pt x="154" y="95"/>
                    <a:pt x="165" y="100"/>
                    <a:pt x="167" y="100"/>
                  </a:cubicBezTo>
                  <a:cubicBezTo>
                    <a:pt x="169" y="100"/>
                    <a:pt x="170" y="101"/>
                    <a:pt x="171" y="102"/>
                  </a:cubicBezTo>
                  <a:cubicBezTo>
                    <a:pt x="172" y="104"/>
                    <a:pt x="172" y="105"/>
                    <a:pt x="172" y="106"/>
                  </a:cubicBezTo>
                  <a:cubicBezTo>
                    <a:pt x="172" y="106"/>
                    <a:pt x="173" y="107"/>
                    <a:pt x="173" y="107"/>
                  </a:cubicBezTo>
                  <a:cubicBezTo>
                    <a:pt x="174" y="107"/>
                    <a:pt x="174" y="107"/>
                    <a:pt x="175" y="107"/>
                  </a:cubicBezTo>
                  <a:cubicBezTo>
                    <a:pt x="176" y="107"/>
                    <a:pt x="177" y="107"/>
                    <a:pt x="179" y="105"/>
                  </a:cubicBezTo>
                  <a:cubicBezTo>
                    <a:pt x="182" y="103"/>
                    <a:pt x="185" y="102"/>
                    <a:pt x="188" y="102"/>
                  </a:cubicBezTo>
                  <a:cubicBezTo>
                    <a:pt x="188" y="102"/>
                    <a:pt x="189" y="102"/>
                    <a:pt x="190" y="103"/>
                  </a:cubicBezTo>
                  <a:cubicBezTo>
                    <a:pt x="191" y="103"/>
                    <a:pt x="192" y="103"/>
                    <a:pt x="193" y="104"/>
                  </a:cubicBezTo>
                  <a:cubicBezTo>
                    <a:pt x="193" y="103"/>
                    <a:pt x="194" y="103"/>
                    <a:pt x="195" y="103"/>
                  </a:cubicBezTo>
                  <a:cubicBezTo>
                    <a:pt x="195" y="102"/>
                    <a:pt x="196" y="102"/>
                    <a:pt x="196" y="102"/>
                  </a:cubicBezTo>
                  <a:cubicBezTo>
                    <a:pt x="198" y="102"/>
                    <a:pt x="199" y="103"/>
                    <a:pt x="201" y="104"/>
                  </a:cubicBezTo>
                  <a:cubicBezTo>
                    <a:pt x="204" y="106"/>
                    <a:pt x="214" y="110"/>
                    <a:pt x="216" y="110"/>
                  </a:cubicBezTo>
                  <a:cubicBezTo>
                    <a:pt x="221" y="110"/>
                    <a:pt x="221" y="110"/>
                    <a:pt x="221" y="110"/>
                  </a:cubicBezTo>
                  <a:cubicBezTo>
                    <a:pt x="218" y="114"/>
                    <a:pt x="218" y="114"/>
                    <a:pt x="218" y="114"/>
                  </a:cubicBezTo>
                  <a:cubicBezTo>
                    <a:pt x="217" y="117"/>
                    <a:pt x="216" y="118"/>
                    <a:pt x="216" y="119"/>
                  </a:cubicBezTo>
                  <a:cubicBezTo>
                    <a:pt x="219" y="121"/>
                    <a:pt x="226" y="123"/>
                    <a:pt x="227" y="123"/>
                  </a:cubicBezTo>
                  <a:cubicBezTo>
                    <a:pt x="228" y="123"/>
                    <a:pt x="228" y="123"/>
                    <a:pt x="228" y="123"/>
                  </a:cubicBezTo>
                  <a:cubicBezTo>
                    <a:pt x="229" y="124"/>
                    <a:pt x="229" y="124"/>
                    <a:pt x="229" y="124"/>
                  </a:cubicBezTo>
                  <a:cubicBezTo>
                    <a:pt x="229" y="124"/>
                    <a:pt x="230" y="125"/>
                    <a:pt x="231" y="126"/>
                  </a:cubicBezTo>
                  <a:cubicBezTo>
                    <a:pt x="231" y="126"/>
                    <a:pt x="231" y="126"/>
                    <a:pt x="231" y="126"/>
                  </a:cubicBezTo>
                  <a:cubicBezTo>
                    <a:pt x="232" y="126"/>
                    <a:pt x="232" y="126"/>
                    <a:pt x="232" y="126"/>
                  </a:cubicBezTo>
                  <a:cubicBezTo>
                    <a:pt x="234" y="126"/>
                    <a:pt x="235" y="126"/>
                    <a:pt x="236" y="126"/>
                  </a:cubicBezTo>
                  <a:cubicBezTo>
                    <a:pt x="236" y="127"/>
                    <a:pt x="236" y="127"/>
                    <a:pt x="237" y="127"/>
                  </a:cubicBezTo>
                  <a:cubicBezTo>
                    <a:pt x="241" y="127"/>
                    <a:pt x="245" y="130"/>
                    <a:pt x="246" y="133"/>
                  </a:cubicBezTo>
                  <a:cubicBezTo>
                    <a:pt x="247" y="135"/>
                    <a:pt x="248" y="137"/>
                    <a:pt x="249" y="137"/>
                  </a:cubicBezTo>
                  <a:cubicBezTo>
                    <a:pt x="251" y="138"/>
                    <a:pt x="253" y="141"/>
                    <a:pt x="253" y="141"/>
                  </a:cubicBezTo>
                  <a:cubicBezTo>
                    <a:pt x="254" y="142"/>
                    <a:pt x="255" y="144"/>
                    <a:pt x="259" y="145"/>
                  </a:cubicBezTo>
                  <a:cubicBezTo>
                    <a:pt x="261" y="145"/>
                    <a:pt x="262" y="146"/>
                    <a:pt x="263" y="146"/>
                  </a:cubicBezTo>
                  <a:cubicBezTo>
                    <a:pt x="265" y="146"/>
                    <a:pt x="265" y="145"/>
                    <a:pt x="266" y="144"/>
                  </a:cubicBezTo>
                  <a:cubicBezTo>
                    <a:pt x="267" y="140"/>
                    <a:pt x="269" y="139"/>
                    <a:pt x="270" y="138"/>
                  </a:cubicBezTo>
                  <a:cubicBezTo>
                    <a:pt x="271" y="138"/>
                    <a:pt x="271" y="137"/>
                    <a:pt x="272" y="137"/>
                  </a:cubicBezTo>
                  <a:cubicBezTo>
                    <a:pt x="272" y="137"/>
                    <a:pt x="273" y="136"/>
                    <a:pt x="274" y="135"/>
                  </a:cubicBezTo>
                  <a:cubicBezTo>
                    <a:pt x="275" y="134"/>
                    <a:pt x="279" y="131"/>
                    <a:pt x="280" y="129"/>
                  </a:cubicBezTo>
                  <a:cubicBezTo>
                    <a:pt x="280" y="128"/>
                    <a:pt x="280" y="128"/>
                    <a:pt x="280" y="128"/>
                  </a:cubicBezTo>
                  <a:cubicBezTo>
                    <a:pt x="280" y="128"/>
                    <a:pt x="280" y="128"/>
                    <a:pt x="280" y="128"/>
                  </a:cubicBezTo>
                  <a:cubicBezTo>
                    <a:pt x="274" y="124"/>
                    <a:pt x="272" y="118"/>
                    <a:pt x="268" y="113"/>
                  </a:cubicBezTo>
                  <a:cubicBezTo>
                    <a:pt x="266" y="111"/>
                    <a:pt x="264" y="109"/>
                    <a:pt x="262" y="105"/>
                  </a:cubicBezTo>
                  <a:cubicBezTo>
                    <a:pt x="262" y="104"/>
                    <a:pt x="261" y="102"/>
                    <a:pt x="260" y="101"/>
                  </a:cubicBezTo>
                  <a:cubicBezTo>
                    <a:pt x="260" y="100"/>
                    <a:pt x="258" y="100"/>
                    <a:pt x="258" y="99"/>
                  </a:cubicBezTo>
                  <a:cubicBezTo>
                    <a:pt x="259" y="92"/>
                    <a:pt x="259" y="84"/>
                    <a:pt x="260" y="77"/>
                  </a:cubicBezTo>
                  <a:cubicBezTo>
                    <a:pt x="260" y="76"/>
                    <a:pt x="260" y="74"/>
                    <a:pt x="261" y="73"/>
                  </a:cubicBezTo>
                  <a:cubicBezTo>
                    <a:pt x="261" y="73"/>
                    <a:pt x="260" y="73"/>
                    <a:pt x="260" y="73"/>
                  </a:cubicBezTo>
                  <a:cubicBezTo>
                    <a:pt x="257" y="73"/>
                    <a:pt x="256" y="79"/>
                    <a:pt x="256" y="82"/>
                  </a:cubicBezTo>
                  <a:cubicBezTo>
                    <a:pt x="255" y="82"/>
                    <a:pt x="254" y="81"/>
                    <a:pt x="254" y="80"/>
                  </a:cubicBezTo>
                  <a:cubicBezTo>
                    <a:pt x="255" y="80"/>
                    <a:pt x="256" y="77"/>
                    <a:pt x="256" y="76"/>
                  </a:cubicBezTo>
                  <a:cubicBezTo>
                    <a:pt x="257" y="75"/>
                    <a:pt x="256" y="73"/>
                    <a:pt x="255" y="71"/>
                  </a:cubicBezTo>
                  <a:cubicBezTo>
                    <a:pt x="252" y="66"/>
                    <a:pt x="251" y="63"/>
                    <a:pt x="246" y="60"/>
                  </a:cubicBezTo>
                  <a:cubicBezTo>
                    <a:pt x="244" y="59"/>
                    <a:pt x="241" y="59"/>
                    <a:pt x="239" y="57"/>
                  </a:cubicBezTo>
                  <a:cubicBezTo>
                    <a:pt x="235" y="55"/>
                    <a:pt x="241" y="49"/>
                    <a:pt x="243" y="47"/>
                  </a:cubicBezTo>
                  <a:cubicBezTo>
                    <a:pt x="248" y="42"/>
                    <a:pt x="250" y="40"/>
                    <a:pt x="253" y="34"/>
                  </a:cubicBezTo>
                  <a:cubicBezTo>
                    <a:pt x="254" y="31"/>
                    <a:pt x="255" y="28"/>
                    <a:pt x="256" y="24"/>
                  </a:cubicBezTo>
                  <a:cubicBezTo>
                    <a:pt x="256" y="24"/>
                    <a:pt x="256" y="23"/>
                    <a:pt x="256" y="23"/>
                  </a:cubicBezTo>
                  <a:cubicBezTo>
                    <a:pt x="257" y="24"/>
                    <a:pt x="257" y="24"/>
                    <a:pt x="257" y="24"/>
                  </a:cubicBezTo>
                  <a:cubicBezTo>
                    <a:pt x="256" y="23"/>
                    <a:pt x="256" y="23"/>
                    <a:pt x="256" y="23"/>
                  </a:cubicBezTo>
                  <a:cubicBezTo>
                    <a:pt x="257" y="21"/>
                    <a:pt x="257" y="21"/>
                    <a:pt x="257" y="21"/>
                  </a:cubicBezTo>
                  <a:cubicBezTo>
                    <a:pt x="258" y="22"/>
                    <a:pt x="260" y="23"/>
                    <a:pt x="260" y="24"/>
                  </a:cubicBezTo>
                  <a:cubicBezTo>
                    <a:pt x="261" y="22"/>
                    <a:pt x="260" y="20"/>
                    <a:pt x="259" y="18"/>
                  </a:cubicBezTo>
                  <a:cubicBezTo>
                    <a:pt x="261" y="20"/>
                    <a:pt x="263" y="21"/>
                    <a:pt x="265" y="22"/>
                  </a:cubicBezTo>
                  <a:cubicBezTo>
                    <a:pt x="266" y="20"/>
                    <a:pt x="266" y="19"/>
                    <a:pt x="268" y="19"/>
                  </a:cubicBezTo>
                  <a:cubicBezTo>
                    <a:pt x="269" y="19"/>
                    <a:pt x="270" y="19"/>
                    <a:pt x="271" y="19"/>
                  </a:cubicBezTo>
                  <a:cubicBezTo>
                    <a:pt x="271" y="19"/>
                    <a:pt x="272" y="19"/>
                    <a:pt x="272" y="19"/>
                  </a:cubicBezTo>
                  <a:cubicBezTo>
                    <a:pt x="273" y="19"/>
                    <a:pt x="274" y="19"/>
                    <a:pt x="275" y="18"/>
                  </a:cubicBezTo>
                  <a:cubicBezTo>
                    <a:pt x="277" y="16"/>
                    <a:pt x="280" y="14"/>
                    <a:pt x="282" y="12"/>
                  </a:cubicBezTo>
                  <a:cubicBezTo>
                    <a:pt x="282" y="12"/>
                    <a:pt x="282" y="12"/>
                    <a:pt x="282" y="12"/>
                  </a:cubicBezTo>
                  <a:cubicBezTo>
                    <a:pt x="283" y="12"/>
                    <a:pt x="286" y="15"/>
                    <a:pt x="287" y="16"/>
                  </a:cubicBezTo>
                  <a:cubicBezTo>
                    <a:pt x="286" y="14"/>
                    <a:pt x="286" y="11"/>
                    <a:pt x="285" y="9"/>
                  </a:cubicBezTo>
                  <a:cubicBezTo>
                    <a:pt x="285" y="7"/>
                    <a:pt x="287" y="7"/>
                    <a:pt x="288" y="7"/>
                  </a:cubicBezTo>
                  <a:cubicBezTo>
                    <a:pt x="289" y="7"/>
                    <a:pt x="289" y="7"/>
                    <a:pt x="290" y="7"/>
                  </a:cubicBezTo>
                  <a:cubicBezTo>
                    <a:pt x="291" y="7"/>
                    <a:pt x="291" y="7"/>
                    <a:pt x="292" y="7"/>
                  </a:cubicBezTo>
                  <a:cubicBezTo>
                    <a:pt x="293" y="7"/>
                    <a:pt x="294" y="7"/>
                    <a:pt x="294" y="7"/>
                  </a:cubicBezTo>
                  <a:cubicBezTo>
                    <a:pt x="295" y="6"/>
                    <a:pt x="295" y="4"/>
                    <a:pt x="295" y="3"/>
                  </a:cubicBezTo>
                  <a:cubicBezTo>
                    <a:pt x="295" y="3"/>
                    <a:pt x="294" y="2"/>
                    <a:pt x="293" y="2"/>
                  </a:cubicBezTo>
                  <a:cubicBezTo>
                    <a:pt x="292" y="1"/>
                    <a:pt x="291" y="1"/>
                    <a:pt x="289" y="0"/>
                  </a:cubicBezTo>
                  <a:cubicBezTo>
                    <a:pt x="287" y="4"/>
                    <a:pt x="287" y="4"/>
                    <a:pt x="287" y="4"/>
                  </a:cubicBezTo>
                  <a:cubicBezTo>
                    <a:pt x="288" y="0"/>
                    <a:pt x="288" y="0"/>
                    <a:pt x="2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306"/>
            <p:cNvSpPr/>
            <p:nvPr/>
          </p:nvSpPr>
          <p:spPr bwMode="auto">
            <a:xfrm>
              <a:off x="5381" y="4223"/>
              <a:ext cx="59" cy="78"/>
            </a:xfrm>
            <a:custGeom>
              <a:gdLst>
                <a:gd name="T0" fmla="*/ 12 w 25"/>
                <a:gd name="T1" fmla="*/ 0 h 33"/>
                <a:gd name="T2" fmla="*/ 12 w 25"/>
                <a:gd name="T3" fmla="*/ 1 h 33"/>
                <a:gd name="T4" fmla="*/ 3 w 25"/>
                <a:gd name="T5" fmla="*/ 11 h 33"/>
                <a:gd name="T6" fmla="*/ 0 w 25"/>
                <a:gd name="T7" fmla="*/ 17 h 33"/>
                <a:gd name="T8" fmla="*/ 0 w 25"/>
                <a:gd name="T9" fmla="*/ 20 h 33"/>
                <a:gd name="T10" fmla="*/ 1 w 25"/>
                <a:gd name="T11" fmla="*/ 22 h 33"/>
                <a:gd name="T12" fmla="*/ 5 w 25"/>
                <a:gd name="T13" fmla="*/ 27 h 33"/>
                <a:gd name="T14" fmla="*/ 9 w 25"/>
                <a:gd name="T15" fmla="*/ 32 h 33"/>
                <a:gd name="T16" fmla="*/ 9 w 25"/>
                <a:gd name="T17" fmla="*/ 32 h 33"/>
                <a:gd name="T18" fmla="*/ 22 w 25"/>
                <a:gd name="T19" fmla="*/ 33 h 33"/>
                <a:gd name="T20" fmla="*/ 23 w 25"/>
                <a:gd name="T21" fmla="*/ 23 h 33"/>
                <a:gd name="T22" fmla="*/ 24 w 25"/>
                <a:gd name="T23" fmla="*/ 20 h 33"/>
                <a:gd name="T24" fmla="*/ 25 w 25"/>
                <a:gd name="T25" fmla="*/ 21 h 33"/>
                <a:gd name="T26" fmla="*/ 24 w 25"/>
                <a:gd name="T27" fmla="*/ 6 h 33"/>
                <a:gd name="T28" fmla="*/ 24 w 25"/>
                <a:gd name="T29" fmla="*/ 6 h 33"/>
                <a:gd name="T30" fmla="*/ 21 w 25"/>
                <a:gd name="T31" fmla="*/ 5 h 33"/>
                <a:gd name="T32" fmla="*/ 21 w 25"/>
                <a:gd name="T33" fmla="*/ 5 h 33"/>
                <a:gd name="T34" fmla="*/ 21 w 25"/>
                <a:gd name="T35" fmla="*/ 5 h 33"/>
                <a:gd name="T36" fmla="*/ 18 w 25"/>
                <a:gd name="T37" fmla="*/ 4 h 33"/>
                <a:gd name="T38" fmla="*/ 12 w 25"/>
                <a:gd name="T39" fmla="*/ 1 h 33"/>
                <a:gd name="T40" fmla="*/ 12 w 25"/>
                <a:gd name="T41"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33">
                  <a:moveTo>
                    <a:pt x="12" y="0"/>
                  </a:moveTo>
                  <a:cubicBezTo>
                    <a:pt x="12" y="1"/>
                    <a:pt x="12" y="1"/>
                    <a:pt x="12" y="1"/>
                  </a:cubicBezTo>
                  <a:cubicBezTo>
                    <a:pt x="8" y="4"/>
                    <a:pt x="6" y="6"/>
                    <a:pt x="3" y="11"/>
                  </a:cubicBezTo>
                  <a:cubicBezTo>
                    <a:pt x="2" y="12"/>
                    <a:pt x="1" y="15"/>
                    <a:pt x="0" y="17"/>
                  </a:cubicBezTo>
                  <a:cubicBezTo>
                    <a:pt x="0" y="20"/>
                    <a:pt x="0" y="20"/>
                    <a:pt x="0" y="20"/>
                  </a:cubicBezTo>
                  <a:cubicBezTo>
                    <a:pt x="0" y="21"/>
                    <a:pt x="1" y="21"/>
                    <a:pt x="1" y="22"/>
                  </a:cubicBezTo>
                  <a:cubicBezTo>
                    <a:pt x="3" y="23"/>
                    <a:pt x="4" y="25"/>
                    <a:pt x="5" y="27"/>
                  </a:cubicBezTo>
                  <a:cubicBezTo>
                    <a:pt x="9" y="32"/>
                    <a:pt x="9" y="32"/>
                    <a:pt x="9" y="32"/>
                  </a:cubicBezTo>
                  <a:cubicBezTo>
                    <a:pt x="9" y="32"/>
                    <a:pt x="9" y="32"/>
                    <a:pt x="9" y="32"/>
                  </a:cubicBezTo>
                  <a:cubicBezTo>
                    <a:pt x="22" y="33"/>
                    <a:pt x="22" y="33"/>
                    <a:pt x="22" y="33"/>
                  </a:cubicBezTo>
                  <a:cubicBezTo>
                    <a:pt x="21" y="30"/>
                    <a:pt x="22" y="27"/>
                    <a:pt x="23" y="23"/>
                  </a:cubicBezTo>
                  <a:cubicBezTo>
                    <a:pt x="24" y="20"/>
                    <a:pt x="24" y="20"/>
                    <a:pt x="24" y="20"/>
                  </a:cubicBezTo>
                  <a:cubicBezTo>
                    <a:pt x="25" y="21"/>
                    <a:pt x="25" y="21"/>
                    <a:pt x="25" y="21"/>
                  </a:cubicBezTo>
                  <a:cubicBezTo>
                    <a:pt x="24" y="6"/>
                    <a:pt x="24" y="6"/>
                    <a:pt x="24" y="6"/>
                  </a:cubicBezTo>
                  <a:cubicBezTo>
                    <a:pt x="24" y="6"/>
                    <a:pt x="24" y="6"/>
                    <a:pt x="24" y="6"/>
                  </a:cubicBezTo>
                  <a:cubicBezTo>
                    <a:pt x="21" y="5"/>
                    <a:pt x="21" y="5"/>
                    <a:pt x="21" y="5"/>
                  </a:cubicBezTo>
                  <a:cubicBezTo>
                    <a:pt x="21" y="5"/>
                    <a:pt x="21" y="5"/>
                    <a:pt x="21" y="5"/>
                  </a:cubicBezTo>
                  <a:cubicBezTo>
                    <a:pt x="21" y="5"/>
                    <a:pt x="21" y="5"/>
                    <a:pt x="21" y="5"/>
                  </a:cubicBezTo>
                  <a:cubicBezTo>
                    <a:pt x="19" y="5"/>
                    <a:pt x="19" y="5"/>
                    <a:pt x="18" y="4"/>
                  </a:cubicBezTo>
                  <a:cubicBezTo>
                    <a:pt x="16" y="4"/>
                    <a:pt x="14" y="2"/>
                    <a:pt x="12" y="1"/>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307"/>
            <p:cNvSpPr/>
            <p:nvPr/>
          </p:nvSpPr>
          <p:spPr bwMode="auto">
            <a:xfrm>
              <a:off x="5169" y="4391"/>
              <a:ext cx="125" cy="118"/>
            </a:xfrm>
            <a:custGeom>
              <a:gdLst>
                <a:gd name="T0" fmla="*/ 36 w 53"/>
                <a:gd name="T1" fmla="*/ 0 h 50"/>
                <a:gd name="T2" fmla="*/ 36 w 53"/>
                <a:gd name="T3" fmla="*/ 0 h 50"/>
                <a:gd name="T4" fmla="*/ 27 w 53"/>
                <a:gd name="T5" fmla="*/ 3 h 50"/>
                <a:gd name="T6" fmla="*/ 23 w 53"/>
                <a:gd name="T7" fmla="*/ 5 h 50"/>
                <a:gd name="T8" fmla="*/ 21 w 53"/>
                <a:gd name="T9" fmla="*/ 6 h 50"/>
                <a:gd name="T10" fmla="*/ 20 w 53"/>
                <a:gd name="T11" fmla="*/ 6 h 50"/>
                <a:gd name="T12" fmla="*/ 16 w 53"/>
                <a:gd name="T13" fmla="*/ 9 h 50"/>
                <a:gd name="T14" fmla="*/ 15 w 53"/>
                <a:gd name="T15" fmla="*/ 10 h 50"/>
                <a:gd name="T16" fmla="*/ 10 w 53"/>
                <a:gd name="T17" fmla="*/ 17 h 50"/>
                <a:gd name="T18" fmla="*/ 7 w 53"/>
                <a:gd name="T19" fmla="*/ 22 h 50"/>
                <a:gd name="T20" fmla="*/ 4 w 53"/>
                <a:gd name="T21" fmla="*/ 24 h 50"/>
                <a:gd name="T22" fmla="*/ 3 w 53"/>
                <a:gd name="T23" fmla="*/ 25 h 50"/>
                <a:gd name="T24" fmla="*/ 0 w 53"/>
                <a:gd name="T25" fmla="*/ 26 h 50"/>
                <a:gd name="T26" fmla="*/ 0 w 53"/>
                <a:gd name="T27" fmla="*/ 26 h 50"/>
                <a:gd name="T28" fmla="*/ 0 w 53"/>
                <a:gd name="T29" fmla="*/ 26 h 50"/>
                <a:gd name="T30" fmla="*/ 0 w 53"/>
                <a:gd name="T31" fmla="*/ 26 h 50"/>
                <a:gd name="T32" fmla="*/ 0 w 53"/>
                <a:gd name="T33" fmla="*/ 26 h 50"/>
                <a:gd name="T34" fmla="*/ 2 w 53"/>
                <a:gd name="T35" fmla="*/ 30 h 50"/>
                <a:gd name="T36" fmla="*/ 4 w 53"/>
                <a:gd name="T37" fmla="*/ 32 h 50"/>
                <a:gd name="T38" fmla="*/ 6 w 53"/>
                <a:gd name="T39" fmla="*/ 37 h 50"/>
                <a:gd name="T40" fmla="*/ 8 w 53"/>
                <a:gd name="T41" fmla="*/ 42 h 50"/>
                <a:gd name="T42" fmla="*/ 13 w 53"/>
                <a:gd name="T43" fmla="*/ 45 h 50"/>
                <a:gd name="T44" fmla="*/ 15 w 53"/>
                <a:gd name="T45" fmla="*/ 46 h 50"/>
                <a:gd name="T46" fmla="*/ 21 w 53"/>
                <a:gd name="T47" fmla="*/ 49 h 50"/>
                <a:gd name="T48" fmla="*/ 22 w 53"/>
                <a:gd name="T49" fmla="*/ 50 h 50"/>
                <a:gd name="T50" fmla="*/ 22 w 53"/>
                <a:gd name="T51" fmla="*/ 50 h 50"/>
                <a:gd name="T52" fmla="*/ 22 w 53"/>
                <a:gd name="T53" fmla="*/ 50 h 50"/>
                <a:gd name="T54" fmla="*/ 23 w 53"/>
                <a:gd name="T55" fmla="*/ 50 h 50"/>
                <a:gd name="T56" fmla="*/ 23 w 53"/>
                <a:gd name="T57" fmla="*/ 49 h 50"/>
                <a:gd name="T58" fmla="*/ 26 w 53"/>
                <a:gd name="T59" fmla="*/ 43 h 50"/>
                <a:gd name="T60" fmla="*/ 26 w 53"/>
                <a:gd name="T61" fmla="*/ 42 h 50"/>
                <a:gd name="T62" fmla="*/ 27 w 53"/>
                <a:gd name="T63" fmla="*/ 40 h 50"/>
                <a:gd name="T64" fmla="*/ 29 w 53"/>
                <a:gd name="T65" fmla="*/ 38 h 50"/>
                <a:gd name="T66" fmla="*/ 29 w 53"/>
                <a:gd name="T67" fmla="*/ 38 h 50"/>
                <a:gd name="T68" fmla="*/ 30 w 53"/>
                <a:gd name="T69" fmla="*/ 37 h 50"/>
                <a:gd name="T70" fmla="*/ 35 w 53"/>
                <a:gd name="T71" fmla="*/ 36 h 50"/>
                <a:gd name="T72" fmla="*/ 38 w 53"/>
                <a:gd name="T73" fmla="*/ 35 h 50"/>
                <a:gd name="T74" fmla="*/ 44 w 53"/>
                <a:gd name="T75" fmla="*/ 33 h 50"/>
                <a:gd name="T76" fmla="*/ 45 w 53"/>
                <a:gd name="T77" fmla="*/ 32 h 50"/>
                <a:gd name="T78" fmla="*/ 46 w 53"/>
                <a:gd name="T79" fmla="*/ 32 h 50"/>
                <a:gd name="T80" fmla="*/ 46 w 53"/>
                <a:gd name="T81" fmla="*/ 31 h 50"/>
                <a:gd name="T82" fmla="*/ 47 w 53"/>
                <a:gd name="T83" fmla="*/ 31 h 50"/>
                <a:gd name="T84" fmla="*/ 46 w 53"/>
                <a:gd name="T85" fmla="*/ 29 h 50"/>
                <a:gd name="T86" fmla="*/ 46 w 53"/>
                <a:gd name="T87" fmla="*/ 29 h 50"/>
                <a:gd name="T88" fmla="*/ 46 w 53"/>
                <a:gd name="T89" fmla="*/ 29 h 50"/>
                <a:gd name="T90" fmla="*/ 47 w 53"/>
                <a:gd name="T91" fmla="*/ 27 h 50"/>
                <a:gd name="T92" fmla="*/ 47 w 53"/>
                <a:gd name="T93" fmla="*/ 26 h 50"/>
                <a:gd name="T94" fmla="*/ 47 w 53"/>
                <a:gd name="T95" fmla="*/ 26 h 50"/>
                <a:gd name="T96" fmla="*/ 47 w 53"/>
                <a:gd name="T97" fmla="*/ 25 h 50"/>
                <a:gd name="T98" fmla="*/ 49 w 53"/>
                <a:gd name="T99" fmla="*/ 23 h 50"/>
                <a:gd name="T100" fmla="*/ 51 w 53"/>
                <a:gd name="T101" fmla="*/ 20 h 50"/>
                <a:gd name="T102" fmla="*/ 52 w 53"/>
                <a:gd name="T103" fmla="*/ 19 h 50"/>
                <a:gd name="T104" fmla="*/ 53 w 53"/>
                <a:gd name="T105" fmla="*/ 17 h 50"/>
                <a:gd name="T106" fmla="*/ 52 w 53"/>
                <a:gd name="T107" fmla="*/ 13 h 50"/>
                <a:gd name="T108" fmla="*/ 51 w 53"/>
                <a:gd name="T109" fmla="*/ 12 h 50"/>
                <a:gd name="T110" fmla="*/ 49 w 53"/>
                <a:gd name="T111" fmla="*/ 11 h 50"/>
                <a:gd name="T112" fmla="*/ 46 w 53"/>
                <a:gd name="T113" fmla="*/ 8 h 50"/>
                <a:gd name="T114" fmla="*/ 45 w 53"/>
                <a:gd name="T115" fmla="*/ 7 h 50"/>
                <a:gd name="T116" fmla="*/ 43 w 53"/>
                <a:gd name="T117" fmla="*/ 6 h 50"/>
                <a:gd name="T118" fmla="*/ 36 w 53"/>
                <a:gd name="T119" fmla="*/ 0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50">
                  <a:moveTo>
                    <a:pt x="36" y="0"/>
                  </a:moveTo>
                  <a:cubicBezTo>
                    <a:pt x="36" y="0"/>
                    <a:pt x="36" y="0"/>
                    <a:pt x="36" y="0"/>
                  </a:cubicBezTo>
                  <a:cubicBezTo>
                    <a:pt x="33" y="1"/>
                    <a:pt x="30" y="2"/>
                    <a:pt x="27" y="3"/>
                  </a:cubicBezTo>
                  <a:cubicBezTo>
                    <a:pt x="26" y="4"/>
                    <a:pt x="24" y="4"/>
                    <a:pt x="23" y="5"/>
                  </a:cubicBezTo>
                  <a:cubicBezTo>
                    <a:pt x="21" y="6"/>
                    <a:pt x="21" y="6"/>
                    <a:pt x="21" y="6"/>
                  </a:cubicBezTo>
                  <a:cubicBezTo>
                    <a:pt x="21" y="6"/>
                    <a:pt x="20" y="6"/>
                    <a:pt x="20" y="6"/>
                  </a:cubicBezTo>
                  <a:cubicBezTo>
                    <a:pt x="18" y="7"/>
                    <a:pt x="16" y="8"/>
                    <a:pt x="16" y="9"/>
                  </a:cubicBezTo>
                  <a:cubicBezTo>
                    <a:pt x="15" y="10"/>
                    <a:pt x="15" y="10"/>
                    <a:pt x="15" y="10"/>
                  </a:cubicBezTo>
                  <a:cubicBezTo>
                    <a:pt x="13" y="12"/>
                    <a:pt x="12" y="15"/>
                    <a:pt x="10" y="17"/>
                  </a:cubicBezTo>
                  <a:cubicBezTo>
                    <a:pt x="9" y="19"/>
                    <a:pt x="8" y="20"/>
                    <a:pt x="7" y="22"/>
                  </a:cubicBezTo>
                  <a:cubicBezTo>
                    <a:pt x="6" y="23"/>
                    <a:pt x="5" y="24"/>
                    <a:pt x="4" y="24"/>
                  </a:cubicBezTo>
                  <a:cubicBezTo>
                    <a:pt x="3" y="25"/>
                    <a:pt x="3" y="25"/>
                    <a:pt x="3" y="25"/>
                  </a:cubicBezTo>
                  <a:cubicBezTo>
                    <a:pt x="2" y="25"/>
                    <a:pt x="1" y="25"/>
                    <a:pt x="0" y="26"/>
                  </a:cubicBezTo>
                  <a:cubicBezTo>
                    <a:pt x="0" y="26"/>
                    <a:pt x="0" y="26"/>
                    <a:pt x="0" y="26"/>
                  </a:cubicBezTo>
                  <a:cubicBezTo>
                    <a:pt x="0" y="26"/>
                    <a:pt x="0" y="26"/>
                    <a:pt x="0" y="26"/>
                  </a:cubicBezTo>
                  <a:cubicBezTo>
                    <a:pt x="0" y="26"/>
                    <a:pt x="0" y="26"/>
                    <a:pt x="0" y="26"/>
                  </a:cubicBezTo>
                  <a:cubicBezTo>
                    <a:pt x="0" y="26"/>
                    <a:pt x="0" y="26"/>
                    <a:pt x="0" y="26"/>
                  </a:cubicBezTo>
                  <a:cubicBezTo>
                    <a:pt x="0" y="27"/>
                    <a:pt x="2" y="29"/>
                    <a:pt x="2" y="30"/>
                  </a:cubicBezTo>
                  <a:cubicBezTo>
                    <a:pt x="3" y="31"/>
                    <a:pt x="3" y="31"/>
                    <a:pt x="4" y="32"/>
                  </a:cubicBezTo>
                  <a:cubicBezTo>
                    <a:pt x="5" y="34"/>
                    <a:pt x="5" y="35"/>
                    <a:pt x="6" y="37"/>
                  </a:cubicBezTo>
                  <a:cubicBezTo>
                    <a:pt x="8" y="42"/>
                    <a:pt x="8" y="42"/>
                    <a:pt x="8" y="42"/>
                  </a:cubicBezTo>
                  <a:cubicBezTo>
                    <a:pt x="9" y="42"/>
                    <a:pt x="12" y="44"/>
                    <a:pt x="13" y="45"/>
                  </a:cubicBezTo>
                  <a:cubicBezTo>
                    <a:pt x="15" y="46"/>
                    <a:pt x="15" y="46"/>
                    <a:pt x="15" y="46"/>
                  </a:cubicBezTo>
                  <a:cubicBezTo>
                    <a:pt x="17" y="47"/>
                    <a:pt x="19" y="49"/>
                    <a:pt x="21" y="49"/>
                  </a:cubicBezTo>
                  <a:cubicBezTo>
                    <a:pt x="21" y="49"/>
                    <a:pt x="21" y="50"/>
                    <a:pt x="22" y="50"/>
                  </a:cubicBezTo>
                  <a:cubicBezTo>
                    <a:pt x="22" y="50"/>
                    <a:pt x="22" y="50"/>
                    <a:pt x="22" y="50"/>
                  </a:cubicBezTo>
                  <a:cubicBezTo>
                    <a:pt x="22" y="50"/>
                    <a:pt x="22" y="50"/>
                    <a:pt x="22" y="50"/>
                  </a:cubicBezTo>
                  <a:cubicBezTo>
                    <a:pt x="23" y="50"/>
                    <a:pt x="23" y="50"/>
                    <a:pt x="23" y="50"/>
                  </a:cubicBezTo>
                  <a:cubicBezTo>
                    <a:pt x="23" y="49"/>
                    <a:pt x="23" y="49"/>
                    <a:pt x="23" y="49"/>
                  </a:cubicBezTo>
                  <a:cubicBezTo>
                    <a:pt x="24" y="48"/>
                    <a:pt x="25" y="45"/>
                    <a:pt x="26" y="43"/>
                  </a:cubicBezTo>
                  <a:cubicBezTo>
                    <a:pt x="26" y="42"/>
                    <a:pt x="26" y="42"/>
                    <a:pt x="26" y="42"/>
                  </a:cubicBezTo>
                  <a:cubicBezTo>
                    <a:pt x="27" y="41"/>
                    <a:pt x="27" y="40"/>
                    <a:pt x="27" y="40"/>
                  </a:cubicBezTo>
                  <a:cubicBezTo>
                    <a:pt x="28" y="39"/>
                    <a:pt x="28" y="38"/>
                    <a:pt x="29" y="38"/>
                  </a:cubicBezTo>
                  <a:cubicBezTo>
                    <a:pt x="29" y="38"/>
                    <a:pt x="29" y="38"/>
                    <a:pt x="29" y="38"/>
                  </a:cubicBezTo>
                  <a:cubicBezTo>
                    <a:pt x="30" y="37"/>
                    <a:pt x="30" y="37"/>
                    <a:pt x="30" y="37"/>
                  </a:cubicBezTo>
                  <a:cubicBezTo>
                    <a:pt x="35" y="36"/>
                    <a:pt x="35" y="36"/>
                    <a:pt x="35" y="36"/>
                  </a:cubicBezTo>
                  <a:cubicBezTo>
                    <a:pt x="36" y="35"/>
                    <a:pt x="37" y="35"/>
                    <a:pt x="38" y="35"/>
                  </a:cubicBezTo>
                  <a:cubicBezTo>
                    <a:pt x="40" y="34"/>
                    <a:pt x="43" y="34"/>
                    <a:pt x="44" y="33"/>
                  </a:cubicBezTo>
                  <a:cubicBezTo>
                    <a:pt x="45" y="32"/>
                    <a:pt x="45" y="32"/>
                    <a:pt x="45" y="32"/>
                  </a:cubicBezTo>
                  <a:cubicBezTo>
                    <a:pt x="46" y="32"/>
                    <a:pt x="46" y="32"/>
                    <a:pt x="46" y="32"/>
                  </a:cubicBezTo>
                  <a:cubicBezTo>
                    <a:pt x="46" y="31"/>
                    <a:pt x="46" y="31"/>
                    <a:pt x="46" y="31"/>
                  </a:cubicBezTo>
                  <a:cubicBezTo>
                    <a:pt x="47" y="31"/>
                    <a:pt x="47" y="31"/>
                    <a:pt x="47" y="31"/>
                  </a:cubicBezTo>
                  <a:cubicBezTo>
                    <a:pt x="46" y="29"/>
                    <a:pt x="46" y="29"/>
                    <a:pt x="46" y="29"/>
                  </a:cubicBezTo>
                  <a:cubicBezTo>
                    <a:pt x="46" y="29"/>
                    <a:pt x="46" y="29"/>
                    <a:pt x="46" y="29"/>
                  </a:cubicBezTo>
                  <a:cubicBezTo>
                    <a:pt x="46" y="29"/>
                    <a:pt x="46" y="29"/>
                    <a:pt x="46" y="29"/>
                  </a:cubicBezTo>
                  <a:cubicBezTo>
                    <a:pt x="46" y="29"/>
                    <a:pt x="46" y="28"/>
                    <a:pt x="47" y="27"/>
                  </a:cubicBezTo>
                  <a:cubicBezTo>
                    <a:pt x="47" y="26"/>
                    <a:pt x="47" y="26"/>
                    <a:pt x="47" y="26"/>
                  </a:cubicBezTo>
                  <a:cubicBezTo>
                    <a:pt x="47" y="26"/>
                    <a:pt x="47" y="26"/>
                    <a:pt x="47" y="26"/>
                  </a:cubicBezTo>
                  <a:cubicBezTo>
                    <a:pt x="47" y="25"/>
                    <a:pt x="47" y="25"/>
                    <a:pt x="47" y="25"/>
                  </a:cubicBezTo>
                  <a:cubicBezTo>
                    <a:pt x="48" y="25"/>
                    <a:pt x="49" y="24"/>
                    <a:pt x="49" y="23"/>
                  </a:cubicBezTo>
                  <a:cubicBezTo>
                    <a:pt x="50" y="22"/>
                    <a:pt x="50" y="21"/>
                    <a:pt x="51" y="20"/>
                  </a:cubicBezTo>
                  <a:cubicBezTo>
                    <a:pt x="52" y="19"/>
                    <a:pt x="52" y="19"/>
                    <a:pt x="52" y="19"/>
                  </a:cubicBezTo>
                  <a:cubicBezTo>
                    <a:pt x="52" y="19"/>
                    <a:pt x="53" y="18"/>
                    <a:pt x="53" y="17"/>
                  </a:cubicBezTo>
                  <a:cubicBezTo>
                    <a:pt x="53" y="17"/>
                    <a:pt x="53" y="14"/>
                    <a:pt x="52" y="13"/>
                  </a:cubicBezTo>
                  <a:cubicBezTo>
                    <a:pt x="51" y="13"/>
                    <a:pt x="51" y="12"/>
                    <a:pt x="51" y="12"/>
                  </a:cubicBezTo>
                  <a:cubicBezTo>
                    <a:pt x="49" y="11"/>
                    <a:pt x="49" y="11"/>
                    <a:pt x="49" y="11"/>
                  </a:cubicBezTo>
                  <a:cubicBezTo>
                    <a:pt x="48" y="10"/>
                    <a:pt x="47" y="9"/>
                    <a:pt x="46" y="8"/>
                  </a:cubicBezTo>
                  <a:cubicBezTo>
                    <a:pt x="45" y="7"/>
                    <a:pt x="45" y="7"/>
                    <a:pt x="45" y="7"/>
                  </a:cubicBezTo>
                  <a:cubicBezTo>
                    <a:pt x="44" y="7"/>
                    <a:pt x="44" y="7"/>
                    <a:pt x="43" y="6"/>
                  </a:cubicBezTo>
                  <a:cubicBezTo>
                    <a:pt x="41" y="5"/>
                    <a:pt x="38" y="3"/>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308"/>
            <p:cNvSpPr>
              <a:spLocks noEditPoints="1"/>
            </p:cNvSpPr>
            <p:nvPr/>
          </p:nvSpPr>
          <p:spPr bwMode="auto">
            <a:xfrm>
              <a:off x="4583" y="4015"/>
              <a:ext cx="905" cy="754"/>
            </a:xfrm>
            <a:custGeom>
              <a:gdLst>
                <a:gd name="T0" fmla="*/ 295 w 383"/>
                <a:gd name="T1" fmla="*/ 164 h 319"/>
                <a:gd name="T2" fmla="*/ 304 w 383"/>
                <a:gd name="T3" fmla="*/ 179 h 319"/>
                <a:gd name="T4" fmla="*/ 298 w 383"/>
                <a:gd name="T5" fmla="*/ 189 h 319"/>
                <a:gd name="T6" fmla="*/ 280 w 383"/>
                <a:gd name="T7" fmla="*/ 199 h 319"/>
                <a:gd name="T8" fmla="*/ 268 w 383"/>
                <a:gd name="T9" fmla="*/ 212 h 319"/>
                <a:gd name="T10" fmla="*/ 249 w 383"/>
                <a:gd name="T11" fmla="*/ 193 h 319"/>
                <a:gd name="T12" fmla="*/ 245 w 383"/>
                <a:gd name="T13" fmla="*/ 184 h 319"/>
                <a:gd name="T14" fmla="*/ 260 w 383"/>
                <a:gd name="T15" fmla="*/ 167 h 319"/>
                <a:gd name="T16" fmla="*/ 283 w 383"/>
                <a:gd name="T17" fmla="*/ 156 h 319"/>
                <a:gd name="T18" fmla="*/ 297 w 383"/>
                <a:gd name="T19" fmla="*/ 0 h 319"/>
                <a:gd name="T20" fmla="*/ 280 w 383"/>
                <a:gd name="T21" fmla="*/ 10 h 319"/>
                <a:gd name="T22" fmla="*/ 273 w 383"/>
                <a:gd name="T23" fmla="*/ 15 h 319"/>
                <a:gd name="T24" fmla="*/ 246 w 383"/>
                <a:gd name="T25" fmla="*/ 44 h 319"/>
                <a:gd name="T26" fmla="*/ 227 w 383"/>
                <a:gd name="T27" fmla="*/ 61 h 319"/>
                <a:gd name="T28" fmla="*/ 214 w 383"/>
                <a:gd name="T29" fmla="*/ 83 h 319"/>
                <a:gd name="T30" fmla="*/ 198 w 383"/>
                <a:gd name="T31" fmla="*/ 90 h 319"/>
                <a:gd name="T32" fmla="*/ 168 w 383"/>
                <a:gd name="T33" fmla="*/ 81 h 319"/>
                <a:gd name="T34" fmla="*/ 150 w 383"/>
                <a:gd name="T35" fmla="*/ 81 h 319"/>
                <a:gd name="T36" fmla="*/ 149 w 383"/>
                <a:gd name="T37" fmla="*/ 87 h 319"/>
                <a:gd name="T38" fmla="*/ 147 w 383"/>
                <a:gd name="T39" fmla="*/ 91 h 319"/>
                <a:gd name="T40" fmla="*/ 130 w 383"/>
                <a:gd name="T41" fmla="*/ 109 h 319"/>
                <a:gd name="T42" fmla="*/ 118 w 383"/>
                <a:gd name="T43" fmla="*/ 117 h 319"/>
                <a:gd name="T44" fmla="*/ 111 w 383"/>
                <a:gd name="T45" fmla="*/ 116 h 319"/>
                <a:gd name="T46" fmla="*/ 102 w 383"/>
                <a:gd name="T47" fmla="*/ 115 h 319"/>
                <a:gd name="T48" fmla="*/ 93 w 383"/>
                <a:gd name="T49" fmla="*/ 112 h 319"/>
                <a:gd name="T50" fmla="*/ 93 w 383"/>
                <a:gd name="T51" fmla="*/ 108 h 319"/>
                <a:gd name="T52" fmla="*/ 97 w 383"/>
                <a:gd name="T53" fmla="*/ 98 h 319"/>
                <a:gd name="T54" fmla="*/ 94 w 383"/>
                <a:gd name="T55" fmla="*/ 80 h 319"/>
                <a:gd name="T56" fmla="*/ 84 w 383"/>
                <a:gd name="T57" fmla="*/ 145 h 319"/>
                <a:gd name="T58" fmla="*/ 75 w 383"/>
                <a:gd name="T59" fmla="*/ 158 h 319"/>
                <a:gd name="T60" fmla="*/ 60 w 383"/>
                <a:gd name="T61" fmla="*/ 169 h 319"/>
                <a:gd name="T62" fmla="*/ 26 w 383"/>
                <a:gd name="T63" fmla="*/ 166 h 319"/>
                <a:gd name="T64" fmla="*/ 17 w 383"/>
                <a:gd name="T65" fmla="*/ 159 h 319"/>
                <a:gd name="T66" fmla="*/ 13 w 383"/>
                <a:gd name="T67" fmla="*/ 150 h 319"/>
                <a:gd name="T68" fmla="*/ 9 w 383"/>
                <a:gd name="T69" fmla="*/ 148 h 319"/>
                <a:gd name="T70" fmla="*/ 4 w 383"/>
                <a:gd name="T71" fmla="*/ 155 h 319"/>
                <a:gd name="T72" fmla="*/ 13 w 383"/>
                <a:gd name="T73" fmla="*/ 190 h 319"/>
                <a:gd name="T74" fmla="*/ 37 w 383"/>
                <a:gd name="T75" fmla="*/ 266 h 319"/>
                <a:gd name="T76" fmla="*/ 30 w 383"/>
                <a:gd name="T77" fmla="*/ 269 h 319"/>
                <a:gd name="T78" fmla="*/ 44 w 383"/>
                <a:gd name="T79" fmla="*/ 291 h 319"/>
                <a:gd name="T80" fmla="*/ 50 w 383"/>
                <a:gd name="T81" fmla="*/ 300 h 319"/>
                <a:gd name="T82" fmla="*/ 59 w 383"/>
                <a:gd name="T83" fmla="*/ 308 h 319"/>
                <a:gd name="T84" fmla="*/ 86 w 383"/>
                <a:gd name="T85" fmla="*/ 317 h 319"/>
                <a:gd name="T86" fmla="*/ 121 w 383"/>
                <a:gd name="T87" fmla="*/ 308 h 319"/>
                <a:gd name="T88" fmla="*/ 160 w 383"/>
                <a:gd name="T89" fmla="*/ 301 h 319"/>
                <a:gd name="T90" fmla="*/ 195 w 383"/>
                <a:gd name="T91" fmla="*/ 303 h 319"/>
                <a:gd name="T92" fmla="*/ 214 w 383"/>
                <a:gd name="T93" fmla="*/ 297 h 319"/>
                <a:gd name="T94" fmla="*/ 225 w 383"/>
                <a:gd name="T95" fmla="*/ 291 h 319"/>
                <a:gd name="T96" fmla="*/ 275 w 383"/>
                <a:gd name="T97" fmla="*/ 265 h 319"/>
                <a:gd name="T98" fmla="*/ 363 w 383"/>
                <a:gd name="T99" fmla="*/ 164 h 319"/>
                <a:gd name="T100" fmla="*/ 383 w 383"/>
                <a:gd name="T101" fmla="*/ 116 h 319"/>
                <a:gd name="T102" fmla="*/ 366 w 383"/>
                <a:gd name="T103" fmla="*/ 116 h 319"/>
                <a:gd name="T104" fmla="*/ 342 w 383"/>
                <a:gd name="T105" fmla="*/ 123 h 319"/>
                <a:gd name="T106" fmla="*/ 333 w 383"/>
                <a:gd name="T107" fmla="*/ 111 h 319"/>
                <a:gd name="T108" fmla="*/ 336 w 383"/>
                <a:gd name="T109" fmla="*/ 96 h 319"/>
                <a:gd name="T110" fmla="*/ 358 w 383"/>
                <a:gd name="T111" fmla="*/ 87 h 319"/>
                <a:gd name="T112" fmla="*/ 360 w 383"/>
                <a:gd name="T113" fmla="*/ 80 h 319"/>
                <a:gd name="T114" fmla="*/ 359 w 383"/>
                <a:gd name="T115" fmla="*/ 53 h 319"/>
                <a:gd name="T116" fmla="*/ 350 w 383"/>
                <a:gd name="T117" fmla="*/ 24 h 319"/>
                <a:gd name="T118" fmla="*/ 344 w 383"/>
                <a:gd name="T119" fmla="*/ 5 h 319"/>
                <a:gd name="T120" fmla="*/ 310 w 383"/>
                <a:gd name="T121" fmla="*/ 0 h 3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3" h="319">
                  <a:moveTo>
                    <a:pt x="284" y="155"/>
                  </a:moveTo>
                  <a:cubicBezTo>
                    <a:pt x="286" y="155"/>
                    <a:pt x="286" y="155"/>
                    <a:pt x="286" y="155"/>
                  </a:cubicBezTo>
                  <a:cubicBezTo>
                    <a:pt x="286" y="156"/>
                    <a:pt x="286" y="156"/>
                    <a:pt x="286" y="156"/>
                  </a:cubicBezTo>
                  <a:cubicBezTo>
                    <a:pt x="288" y="159"/>
                    <a:pt x="291" y="161"/>
                    <a:pt x="293" y="162"/>
                  </a:cubicBezTo>
                  <a:cubicBezTo>
                    <a:pt x="294" y="163"/>
                    <a:pt x="294" y="163"/>
                    <a:pt x="295" y="164"/>
                  </a:cubicBezTo>
                  <a:cubicBezTo>
                    <a:pt x="296" y="165"/>
                    <a:pt x="296" y="165"/>
                    <a:pt x="296" y="165"/>
                  </a:cubicBezTo>
                  <a:cubicBezTo>
                    <a:pt x="297" y="165"/>
                    <a:pt x="299" y="166"/>
                    <a:pt x="299" y="167"/>
                  </a:cubicBezTo>
                  <a:cubicBezTo>
                    <a:pt x="301" y="168"/>
                    <a:pt x="301" y="168"/>
                    <a:pt x="301" y="168"/>
                  </a:cubicBezTo>
                  <a:cubicBezTo>
                    <a:pt x="303" y="170"/>
                    <a:pt x="305" y="173"/>
                    <a:pt x="305" y="176"/>
                  </a:cubicBezTo>
                  <a:cubicBezTo>
                    <a:pt x="305" y="177"/>
                    <a:pt x="305" y="178"/>
                    <a:pt x="304" y="179"/>
                  </a:cubicBezTo>
                  <a:cubicBezTo>
                    <a:pt x="302" y="180"/>
                    <a:pt x="301" y="182"/>
                    <a:pt x="300" y="184"/>
                  </a:cubicBezTo>
                  <a:cubicBezTo>
                    <a:pt x="300" y="185"/>
                    <a:pt x="299" y="186"/>
                    <a:pt x="298" y="187"/>
                  </a:cubicBezTo>
                  <a:cubicBezTo>
                    <a:pt x="298" y="187"/>
                    <a:pt x="298" y="187"/>
                    <a:pt x="298" y="187"/>
                  </a:cubicBezTo>
                  <a:cubicBezTo>
                    <a:pt x="298" y="188"/>
                    <a:pt x="298" y="188"/>
                    <a:pt x="298" y="188"/>
                  </a:cubicBezTo>
                  <a:cubicBezTo>
                    <a:pt x="298" y="189"/>
                    <a:pt x="298" y="189"/>
                    <a:pt x="298" y="189"/>
                  </a:cubicBezTo>
                  <a:cubicBezTo>
                    <a:pt x="299" y="192"/>
                    <a:pt x="297" y="193"/>
                    <a:pt x="296" y="193"/>
                  </a:cubicBezTo>
                  <a:cubicBezTo>
                    <a:pt x="296" y="194"/>
                    <a:pt x="295" y="194"/>
                    <a:pt x="294" y="195"/>
                  </a:cubicBezTo>
                  <a:cubicBezTo>
                    <a:pt x="292" y="196"/>
                    <a:pt x="289" y="197"/>
                    <a:pt x="287" y="197"/>
                  </a:cubicBezTo>
                  <a:cubicBezTo>
                    <a:pt x="286" y="197"/>
                    <a:pt x="285" y="198"/>
                    <a:pt x="284" y="198"/>
                  </a:cubicBezTo>
                  <a:cubicBezTo>
                    <a:pt x="280" y="199"/>
                    <a:pt x="280" y="199"/>
                    <a:pt x="280" y="199"/>
                  </a:cubicBezTo>
                  <a:cubicBezTo>
                    <a:pt x="279" y="199"/>
                    <a:pt x="279" y="200"/>
                    <a:pt x="278" y="201"/>
                  </a:cubicBezTo>
                  <a:cubicBezTo>
                    <a:pt x="278" y="201"/>
                    <a:pt x="278" y="202"/>
                    <a:pt x="277" y="203"/>
                  </a:cubicBezTo>
                  <a:cubicBezTo>
                    <a:pt x="276" y="208"/>
                    <a:pt x="274" y="211"/>
                    <a:pt x="272" y="212"/>
                  </a:cubicBezTo>
                  <a:cubicBezTo>
                    <a:pt x="272" y="212"/>
                    <a:pt x="271" y="212"/>
                    <a:pt x="270" y="212"/>
                  </a:cubicBezTo>
                  <a:cubicBezTo>
                    <a:pt x="269" y="212"/>
                    <a:pt x="269" y="212"/>
                    <a:pt x="268" y="212"/>
                  </a:cubicBezTo>
                  <a:cubicBezTo>
                    <a:pt x="265" y="211"/>
                    <a:pt x="263" y="209"/>
                    <a:pt x="261" y="207"/>
                  </a:cubicBezTo>
                  <a:cubicBezTo>
                    <a:pt x="260" y="207"/>
                    <a:pt x="260" y="207"/>
                    <a:pt x="260" y="207"/>
                  </a:cubicBezTo>
                  <a:cubicBezTo>
                    <a:pt x="255" y="204"/>
                    <a:pt x="253" y="203"/>
                    <a:pt x="253" y="202"/>
                  </a:cubicBezTo>
                  <a:cubicBezTo>
                    <a:pt x="251" y="198"/>
                    <a:pt x="251" y="198"/>
                    <a:pt x="251" y="198"/>
                  </a:cubicBezTo>
                  <a:cubicBezTo>
                    <a:pt x="250" y="196"/>
                    <a:pt x="249" y="194"/>
                    <a:pt x="249" y="193"/>
                  </a:cubicBezTo>
                  <a:cubicBezTo>
                    <a:pt x="248" y="192"/>
                    <a:pt x="248" y="191"/>
                    <a:pt x="247" y="191"/>
                  </a:cubicBezTo>
                  <a:cubicBezTo>
                    <a:pt x="246" y="189"/>
                    <a:pt x="245" y="187"/>
                    <a:pt x="245" y="186"/>
                  </a:cubicBezTo>
                  <a:cubicBezTo>
                    <a:pt x="245" y="186"/>
                    <a:pt x="245" y="186"/>
                    <a:pt x="245" y="186"/>
                  </a:cubicBezTo>
                  <a:cubicBezTo>
                    <a:pt x="245" y="185"/>
                    <a:pt x="245" y="185"/>
                    <a:pt x="245" y="185"/>
                  </a:cubicBezTo>
                  <a:cubicBezTo>
                    <a:pt x="245" y="185"/>
                    <a:pt x="244" y="184"/>
                    <a:pt x="245" y="184"/>
                  </a:cubicBezTo>
                  <a:cubicBezTo>
                    <a:pt x="245" y="181"/>
                    <a:pt x="248" y="181"/>
                    <a:pt x="250" y="180"/>
                  </a:cubicBezTo>
                  <a:cubicBezTo>
                    <a:pt x="250" y="180"/>
                    <a:pt x="250" y="180"/>
                    <a:pt x="250" y="180"/>
                  </a:cubicBezTo>
                  <a:cubicBezTo>
                    <a:pt x="251" y="180"/>
                    <a:pt x="252" y="179"/>
                    <a:pt x="253" y="179"/>
                  </a:cubicBezTo>
                  <a:cubicBezTo>
                    <a:pt x="253" y="178"/>
                    <a:pt x="254" y="176"/>
                    <a:pt x="255" y="174"/>
                  </a:cubicBezTo>
                  <a:cubicBezTo>
                    <a:pt x="257" y="172"/>
                    <a:pt x="258" y="169"/>
                    <a:pt x="260" y="167"/>
                  </a:cubicBezTo>
                  <a:cubicBezTo>
                    <a:pt x="261" y="166"/>
                    <a:pt x="261" y="166"/>
                    <a:pt x="261" y="166"/>
                  </a:cubicBezTo>
                  <a:cubicBezTo>
                    <a:pt x="262" y="164"/>
                    <a:pt x="265" y="163"/>
                    <a:pt x="268" y="162"/>
                  </a:cubicBezTo>
                  <a:cubicBezTo>
                    <a:pt x="269" y="161"/>
                    <a:pt x="269" y="161"/>
                    <a:pt x="269" y="161"/>
                  </a:cubicBezTo>
                  <a:cubicBezTo>
                    <a:pt x="271" y="160"/>
                    <a:pt x="272" y="160"/>
                    <a:pt x="274" y="159"/>
                  </a:cubicBezTo>
                  <a:cubicBezTo>
                    <a:pt x="277" y="157"/>
                    <a:pt x="280" y="156"/>
                    <a:pt x="283" y="156"/>
                  </a:cubicBezTo>
                  <a:cubicBezTo>
                    <a:pt x="283" y="155"/>
                    <a:pt x="283" y="155"/>
                    <a:pt x="284" y="155"/>
                  </a:cubicBezTo>
                  <a:cubicBezTo>
                    <a:pt x="284" y="155"/>
                    <a:pt x="284" y="155"/>
                    <a:pt x="284" y="155"/>
                  </a:cubicBezTo>
                  <a:cubicBezTo>
                    <a:pt x="284" y="155"/>
                    <a:pt x="284" y="155"/>
                    <a:pt x="284" y="155"/>
                  </a:cubicBezTo>
                  <a:moveTo>
                    <a:pt x="300" y="0"/>
                  </a:moveTo>
                  <a:cubicBezTo>
                    <a:pt x="299" y="0"/>
                    <a:pt x="298" y="0"/>
                    <a:pt x="297" y="0"/>
                  </a:cubicBezTo>
                  <a:cubicBezTo>
                    <a:pt x="296" y="0"/>
                    <a:pt x="295" y="0"/>
                    <a:pt x="295" y="0"/>
                  </a:cubicBezTo>
                  <a:cubicBezTo>
                    <a:pt x="295" y="1"/>
                    <a:pt x="295" y="1"/>
                    <a:pt x="294" y="2"/>
                  </a:cubicBezTo>
                  <a:cubicBezTo>
                    <a:pt x="293" y="4"/>
                    <a:pt x="292" y="6"/>
                    <a:pt x="289" y="7"/>
                  </a:cubicBezTo>
                  <a:cubicBezTo>
                    <a:pt x="287" y="8"/>
                    <a:pt x="287" y="8"/>
                    <a:pt x="287" y="8"/>
                  </a:cubicBezTo>
                  <a:cubicBezTo>
                    <a:pt x="286" y="8"/>
                    <a:pt x="283" y="9"/>
                    <a:pt x="280" y="10"/>
                  </a:cubicBezTo>
                  <a:cubicBezTo>
                    <a:pt x="280" y="10"/>
                    <a:pt x="280" y="10"/>
                    <a:pt x="280" y="10"/>
                  </a:cubicBezTo>
                  <a:cubicBezTo>
                    <a:pt x="279" y="10"/>
                    <a:pt x="279" y="10"/>
                    <a:pt x="279" y="9"/>
                  </a:cubicBezTo>
                  <a:cubicBezTo>
                    <a:pt x="278" y="9"/>
                    <a:pt x="278" y="9"/>
                    <a:pt x="278" y="9"/>
                  </a:cubicBezTo>
                  <a:cubicBezTo>
                    <a:pt x="277" y="10"/>
                    <a:pt x="275" y="13"/>
                    <a:pt x="274" y="14"/>
                  </a:cubicBezTo>
                  <a:cubicBezTo>
                    <a:pt x="273" y="15"/>
                    <a:pt x="273" y="15"/>
                    <a:pt x="273" y="15"/>
                  </a:cubicBezTo>
                  <a:cubicBezTo>
                    <a:pt x="270" y="19"/>
                    <a:pt x="267" y="23"/>
                    <a:pt x="262" y="26"/>
                  </a:cubicBezTo>
                  <a:cubicBezTo>
                    <a:pt x="260" y="27"/>
                    <a:pt x="259" y="28"/>
                    <a:pt x="257" y="29"/>
                  </a:cubicBezTo>
                  <a:cubicBezTo>
                    <a:pt x="254" y="32"/>
                    <a:pt x="248" y="35"/>
                    <a:pt x="247" y="38"/>
                  </a:cubicBezTo>
                  <a:cubicBezTo>
                    <a:pt x="246" y="42"/>
                    <a:pt x="246" y="42"/>
                    <a:pt x="246" y="42"/>
                  </a:cubicBezTo>
                  <a:cubicBezTo>
                    <a:pt x="246" y="42"/>
                    <a:pt x="246" y="43"/>
                    <a:pt x="246" y="44"/>
                  </a:cubicBezTo>
                  <a:cubicBezTo>
                    <a:pt x="246" y="45"/>
                    <a:pt x="245" y="46"/>
                    <a:pt x="245" y="47"/>
                  </a:cubicBezTo>
                  <a:cubicBezTo>
                    <a:pt x="245" y="49"/>
                    <a:pt x="244" y="51"/>
                    <a:pt x="242" y="52"/>
                  </a:cubicBezTo>
                  <a:cubicBezTo>
                    <a:pt x="242" y="53"/>
                    <a:pt x="241" y="53"/>
                    <a:pt x="240" y="54"/>
                  </a:cubicBezTo>
                  <a:cubicBezTo>
                    <a:pt x="238" y="56"/>
                    <a:pt x="238" y="56"/>
                    <a:pt x="238" y="56"/>
                  </a:cubicBezTo>
                  <a:cubicBezTo>
                    <a:pt x="234" y="60"/>
                    <a:pt x="232" y="61"/>
                    <a:pt x="227" y="61"/>
                  </a:cubicBezTo>
                  <a:cubicBezTo>
                    <a:pt x="225" y="62"/>
                    <a:pt x="223" y="62"/>
                    <a:pt x="222" y="62"/>
                  </a:cubicBezTo>
                  <a:cubicBezTo>
                    <a:pt x="222" y="63"/>
                    <a:pt x="222" y="63"/>
                    <a:pt x="222" y="63"/>
                  </a:cubicBezTo>
                  <a:cubicBezTo>
                    <a:pt x="222" y="64"/>
                    <a:pt x="222" y="65"/>
                    <a:pt x="221" y="66"/>
                  </a:cubicBezTo>
                  <a:cubicBezTo>
                    <a:pt x="220" y="72"/>
                    <a:pt x="218" y="77"/>
                    <a:pt x="216" y="81"/>
                  </a:cubicBezTo>
                  <a:cubicBezTo>
                    <a:pt x="215" y="82"/>
                    <a:pt x="215" y="82"/>
                    <a:pt x="214" y="83"/>
                  </a:cubicBezTo>
                  <a:cubicBezTo>
                    <a:pt x="213" y="84"/>
                    <a:pt x="213" y="84"/>
                    <a:pt x="213" y="84"/>
                  </a:cubicBezTo>
                  <a:cubicBezTo>
                    <a:pt x="212" y="85"/>
                    <a:pt x="210" y="87"/>
                    <a:pt x="208" y="88"/>
                  </a:cubicBezTo>
                  <a:cubicBezTo>
                    <a:pt x="207" y="88"/>
                    <a:pt x="206" y="89"/>
                    <a:pt x="204" y="89"/>
                  </a:cubicBezTo>
                  <a:cubicBezTo>
                    <a:pt x="203" y="89"/>
                    <a:pt x="203" y="89"/>
                    <a:pt x="203" y="89"/>
                  </a:cubicBezTo>
                  <a:cubicBezTo>
                    <a:pt x="201" y="89"/>
                    <a:pt x="200" y="89"/>
                    <a:pt x="198" y="90"/>
                  </a:cubicBezTo>
                  <a:cubicBezTo>
                    <a:pt x="197" y="90"/>
                    <a:pt x="195" y="90"/>
                    <a:pt x="194" y="90"/>
                  </a:cubicBezTo>
                  <a:cubicBezTo>
                    <a:pt x="191" y="90"/>
                    <a:pt x="189" y="90"/>
                    <a:pt x="187" y="89"/>
                  </a:cubicBezTo>
                  <a:cubicBezTo>
                    <a:pt x="174" y="84"/>
                    <a:pt x="174" y="84"/>
                    <a:pt x="174" y="84"/>
                  </a:cubicBezTo>
                  <a:cubicBezTo>
                    <a:pt x="173" y="84"/>
                    <a:pt x="171" y="83"/>
                    <a:pt x="170" y="82"/>
                  </a:cubicBezTo>
                  <a:cubicBezTo>
                    <a:pt x="168" y="81"/>
                    <a:pt x="168" y="81"/>
                    <a:pt x="168" y="81"/>
                  </a:cubicBezTo>
                  <a:cubicBezTo>
                    <a:pt x="166" y="80"/>
                    <a:pt x="163" y="79"/>
                    <a:pt x="161" y="78"/>
                  </a:cubicBezTo>
                  <a:cubicBezTo>
                    <a:pt x="158" y="77"/>
                    <a:pt x="157" y="77"/>
                    <a:pt x="155" y="77"/>
                  </a:cubicBezTo>
                  <a:cubicBezTo>
                    <a:pt x="154" y="77"/>
                    <a:pt x="154" y="77"/>
                    <a:pt x="153" y="77"/>
                  </a:cubicBezTo>
                  <a:cubicBezTo>
                    <a:pt x="153" y="77"/>
                    <a:pt x="151" y="80"/>
                    <a:pt x="150" y="80"/>
                  </a:cubicBezTo>
                  <a:cubicBezTo>
                    <a:pt x="150" y="81"/>
                    <a:pt x="150" y="81"/>
                    <a:pt x="150" y="81"/>
                  </a:cubicBezTo>
                  <a:cubicBezTo>
                    <a:pt x="150" y="81"/>
                    <a:pt x="150" y="82"/>
                    <a:pt x="150" y="82"/>
                  </a:cubicBezTo>
                  <a:cubicBezTo>
                    <a:pt x="150" y="82"/>
                    <a:pt x="150" y="82"/>
                    <a:pt x="150" y="82"/>
                  </a:cubicBezTo>
                  <a:cubicBezTo>
                    <a:pt x="150" y="83"/>
                    <a:pt x="150" y="83"/>
                    <a:pt x="150" y="83"/>
                  </a:cubicBezTo>
                  <a:cubicBezTo>
                    <a:pt x="150" y="84"/>
                    <a:pt x="150" y="85"/>
                    <a:pt x="149" y="85"/>
                  </a:cubicBezTo>
                  <a:cubicBezTo>
                    <a:pt x="149" y="86"/>
                    <a:pt x="149" y="86"/>
                    <a:pt x="149" y="87"/>
                  </a:cubicBezTo>
                  <a:cubicBezTo>
                    <a:pt x="148" y="87"/>
                    <a:pt x="148" y="87"/>
                    <a:pt x="148" y="87"/>
                  </a:cubicBezTo>
                  <a:cubicBezTo>
                    <a:pt x="149" y="88"/>
                    <a:pt x="149" y="88"/>
                    <a:pt x="149" y="88"/>
                  </a:cubicBezTo>
                  <a:cubicBezTo>
                    <a:pt x="149" y="89"/>
                    <a:pt x="149" y="89"/>
                    <a:pt x="149" y="89"/>
                  </a:cubicBezTo>
                  <a:cubicBezTo>
                    <a:pt x="147" y="90"/>
                    <a:pt x="147" y="90"/>
                    <a:pt x="147" y="90"/>
                  </a:cubicBezTo>
                  <a:cubicBezTo>
                    <a:pt x="147" y="91"/>
                    <a:pt x="147" y="91"/>
                    <a:pt x="147" y="91"/>
                  </a:cubicBezTo>
                  <a:cubicBezTo>
                    <a:pt x="147" y="92"/>
                    <a:pt x="147" y="94"/>
                    <a:pt x="146" y="95"/>
                  </a:cubicBezTo>
                  <a:cubicBezTo>
                    <a:pt x="145" y="96"/>
                    <a:pt x="145" y="96"/>
                    <a:pt x="144" y="97"/>
                  </a:cubicBezTo>
                  <a:cubicBezTo>
                    <a:pt x="142" y="99"/>
                    <a:pt x="142" y="99"/>
                    <a:pt x="142" y="99"/>
                  </a:cubicBezTo>
                  <a:cubicBezTo>
                    <a:pt x="131" y="109"/>
                    <a:pt x="131" y="109"/>
                    <a:pt x="131" y="109"/>
                  </a:cubicBezTo>
                  <a:cubicBezTo>
                    <a:pt x="130" y="109"/>
                    <a:pt x="130" y="109"/>
                    <a:pt x="130" y="109"/>
                  </a:cubicBezTo>
                  <a:cubicBezTo>
                    <a:pt x="130" y="110"/>
                    <a:pt x="130" y="110"/>
                    <a:pt x="130" y="110"/>
                  </a:cubicBezTo>
                  <a:cubicBezTo>
                    <a:pt x="127" y="112"/>
                    <a:pt x="127" y="112"/>
                    <a:pt x="127" y="112"/>
                  </a:cubicBezTo>
                  <a:cubicBezTo>
                    <a:pt x="125" y="114"/>
                    <a:pt x="123" y="116"/>
                    <a:pt x="119" y="117"/>
                  </a:cubicBezTo>
                  <a:cubicBezTo>
                    <a:pt x="119" y="117"/>
                    <a:pt x="119" y="117"/>
                    <a:pt x="119" y="117"/>
                  </a:cubicBezTo>
                  <a:cubicBezTo>
                    <a:pt x="118" y="117"/>
                    <a:pt x="118" y="117"/>
                    <a:pt x="118" y="117"/>
                  </a:cubicBezTo>
                  <a:cubicBezTo>
                    <a:pt x="117" y="117"/>
                    <a:pt x="116" y="117"/>
                    <a:pt x="116" y="116"/>
                  </a:cubicBezTo>
                  <a:cubicBezTo>
                    <a:pt x="115" y="116"/>
                    <a:pt x="115" y="116"/>
                    <a:pt x="115" y="116"/>
                  </a:cubicBezTo>
                  <a:cubicBezTo>
                    <a:pt x="114" y="116"/>
                    <a:pt x="114" y="116"/>
                    <a:pt x="113" y="116"/>
                  </a:cubicBezTo>
                  <a:cubicBezTo>
                    <a:pt x="113" y="116"/>
                    <a:pt x="113" y="116"/>
                    <a:pt x="113" y="116"/>
                  </a:cubicBezTo>
                  <a:cubicBezTo>
                    <a:pt x="112" y="116"/>
                    <a:pt x="112" y="116"/>
                    <a:pt x="111" y="116"/>
                  </a:cubicBezTo>
                  <a:cubicBezTo>
                    <a:pt x="111" y="116"/>
                    <a:pt x="111" y="116"/>
                    <a:pt x="110" y="116"/>
                  </a:cubicBezTo>
                  <a:cubicBezTo>
                    <a:pt x="110" y="116"/>
                    <a:pt x="109" y="116"/>
                    <a:pt x="108" y="116"/>
                  </a:cubicBezTo>
                  <a:cubicBezTo>
                    <a:pt x="107" y="116"/>
                    <a:pt x="106" y="116"/>
                    <a:pt x="105" y="116"/>
                  </a:cubicBezTo>
                  <a:cubicBezTo>
                    <a:pt x="104" y="116"/>
                    <a:pt x="103" y="115"/>
                    <a:pt x="103" y="115"/>
                  </a:cubicBezTo>
                  <a:cubicBezTo>
                    <a:pt x="103" y="115"/>
                    <a:pt x="102" y="115"/>
                    <a:pt x="102" y="115"/>
                  </a:cubicBezTo>
                  <a:cubicBezTo>
                    <a:pt x="102" y="115"/>
                    <a:pt x="101" y="116"/>
                    <a:pt x="101" y="116"/>
                  </a:cubicBezTo>
                  <a:cubicBezTo>
                    <a:pt x="100" y="116"/>
                    <a:pt x="99" y="117"/>
                    <a:pt x="99" y="117"/>
                  </a:cubicBezTo>
                  <a:cubicBezTo>
                    <a:pt x="96" y="119"/>
                    <a:pt x="96" y="119"/>
                    <a:pt x="96" y="119"/>
                  </a:cubicBezTo>
                  <a:cubicBezTo>
                    <a:pt x="94" y="116"/>
                    <a:pt x="94" y="116"/>
                    <a:pt x="94" y="116"/>
                  </a:cubicBezTo>
                  <a:cubicBezTo>
                    <a:pt x="94" y="115"/>
                    <a:pt x="94" y="114"/>
                    <a:pt x="93" y="112"/>
                  </a:cubicBezTo>
                  <a:cubicBezTo>
                    <a:pt x="93" y="112"/>
                    <a:pt x="93" y="111"/>
                    <a:pt x="93" y="111"/>
                  </a:cubicBezTo>
                  <a:cubicBezTo>
                    <a:pt x="88" y="112"/>
                    <a:pt x="88" y="112"/>
                    <a:pt x="88" y="112"/>
                  </a:cubicBezTo>
                  <a:cubicBezTo>
                    <a:pt x="93" y="110"/>
                    <a:pt x="93" y="110"/>
                    <a:pt x="93" y="110"/>
                  </a:cubicBezTo>
                  <a:cubicBezTo>
                    <a:pt x="93" y="109"/>
                    <a:pt x="93" y="109"/>
                    <a:pt x="93" y="109"/>
                  </a:cubicBezTo>
                  <a:cubicBezTo>
                    <a:pt x="93" y="109"/>
                    <a:pt x="93" y="108"/>
                    <a:pt x="93" y="108"/>
                  </a:cubicBezTo>
                  <a:cubicBezTo>
                    <a:pt x="93" y="106"/>
                    <a:pt x="93" y="106"/>
                    <a:pt x="93" y="106"/>
                  </a:cubicBezTo>
                  <a:cubicBezTo>
                    <a:pt x="93" y="104"/>
                    <a:pt x="94" y="101"/>
                    <a:pt x="95" y="99"/>
                  </a:cubicBezTo>
                  <a:cubicBezTo>
                    <a:pt x="96" y="99"/>
                    <a:pt x="96" y="99"/>
                    <a:pt x="96" y="99"/>
                  </a:cubicBezTo>
                  <a:cubicBezTo>
                    <a:pt x="96" y="98"/>
                    <a:pt x="96" y="98"/>
                    <a:pt x="96" y="98"/>
                  </a:cubicBezTo>
                  <a:cubicBezTo>
                    <a:pt x="97" y="98"/>
                    <a:pt x="97" y="98"/>
                    <a:pt x="97" y="98"/>
                  </a:cubicBezTo>
                  <a:cubicBezTo>
                    <a:pt x="98" y="96"/>
                    <a:pt x="98" y="96"/>
                    <a:pt x="98" y="95"/>
                  </a:cubicBezTo>
                  <a:cubicBezTo>
                    <a:pt x="98" y="95"/>
                    <a:pt x="98" y="95"/>
                    <a:pt x="98" y="94"/>
                  </a:cubicBezTo>
                  <a:cubicBezTo>
                    <a:pt x="98" y="91"/>
                    <a:pt x="96" y="86"/>
                    <a:pt x="95" y="83"/>
                  </a:cubicBezTo>
                  <a:cubicBezTo>
                    <a:pt x="94" y="81"/>
                    <a:pt x="94" y="81"/>
                    <a:pt x="94" y="81"/>
                  </a:cubicBezTo>
                  <a:cubicBezTo>
                    <a:pt x="94" y="81"/>
                    <a:pt x="94" y="80"/>
                    <a:pt x="94" y="80"/>
                  </a:cubicBezTo>
                  <a:cubicBezTo>
                    <a:pt x="93" y="78"/>
                    <a:pt x="93" y="78"/>
                    <a:pt x="93" y="78"/>
                  </a:cubicBezTo>
                  <a:cubicBezTo>
                    <a:pt x="92" y="75"/>
                    <a:pt x="89" y="71"/>
                    <a:pt x="88" y="70"/>
                  </a:cubicBezTo>
                  <a:cubicBezTo>
                    <a:pt x="86" y="69"/>
                    <a:pt x="85" y="68"/>
                    <a:pt x="83" y="67"/>
                  </a:cubicBezTo>
                  <a:cubicBezTo>
                    <a:pt x="84" y="69"/>
                    <a:pt x="84" y="70"/>
                    <a:pt x="84" y="72"/>
                  </a:cubicBezTo>
                  <a:cubicBezTo>
                    <a:pt x="84" y="145"/>
                    <a:pt x="84" y="145"/>
                    <a:pt x="84" y="145"/>
                  </a:cubicBezTo>
                  <a:cubicBezTo>
                    <a:pt x="84" y="145"/>
                    <a:pt x="84" y="146"/>
                    <a:pt x="84" y="146"/>
                  </a:cubicBezTo>
                  <a:cubicBezTo>
                    <a:pt x="84" y="147"/>
                    <a:pt x="84" y="147"/>
                    <a:pt x="84" y="147"/>
                  </a:cubicBezTo>
                  <a:cubicBezTo>
                    <a:pt x="84" y="151"/>
                    <a:pt x="84" y="153"/>
                    <a:pt x="83" y="155"/>
                  </a:cubicBezTo>
                  <a:cubicBezTo>
                    <a:pt x="82" y="157"/>
                    <a:pt x="79" y="158"/>
                    <a:pt x="76" y="158"/>
                  </a:cubicBezTo>
                  <a:cubicBezTo>
                    <a:pt x="75" y="158"/>
                    <a:pt x="75" y="158"/>
                    <a:pt x="75" y="158"/>
                  </a:cubicBezTo>
                  <a:cubicBezTo>
                    <a:pt x="74" y="158"/>
                    <a:pt x="73" y="158"/>
                    <a:pt x="73" y="159"/>
                  </a:cubicBezTo>
                  <a:cubicBezTo>
                    <a:pt x="71" y="160"/>
                    <a:pt x="69" y="161"/>
                    <a:pt x="67" y="162"/>
                  </a:cubicBezTo>
                  <a:cubicBezTo>
                    <a:pt x="66" y="163"/>
                    <a:pt x="66" y="164"/>
                    <a:pt x="65" y="165"/>
                  </a:cubicBezTo>
                  <a:cubicBezTo>
                    <a:pt x="65" y="166"/>
                    <a:pt x="65" y="167"/>
                    <a:pt x="64" y="168"/>
                  </a:cubicBezTo>
                  <a:cubicBezTo>
                    <a:pt x="63" y="169"/>
                    <a:pt x="62" y="169"/>
                    <a:pt x="60" y="169"/>
                  </a:cubicBezTo>
                  <a:cubicBezTo>
                    <a:pt x="59" y="169"/>
                    <a:pt x="57" y="170"/>
                    <a:pt x="54" y="170"/>
                  </a:cubicBezTo>
                  <a:cubicBezTo>
                    <a:pt x="51" y="170"/>
                    <a:pt x="47" y="169"/>
                    <a:pt x="44" y="169"/>
                  </a:cubicBezTo>
                  <a:cubicBezTo>
                    <a:pt x="43" y="169"/>
                    <a:pt x="41" y="169"/>
                    <a:pt x="41" y="169"/>
                  </a:cubicBezTo>
                  <a:cubicBezTo>
                    <a:pt x="36" y="169"/>
                    <a:pt x="31" y="167"/>
                    <a:pt x="27" y="166"/>
                  </a:cubicBezTo>
                  <a:cubicBezTo>
                    <a:pt x="26" y="166"/>
                    <a:pt x="26" y="166"/>
                    <a:pt x="26" y="166"/>
                  </a:cubicBezTo>
                  <a:cubicBezTo>
                    <a:pt x="25" y="165"/>
                    <a:pt x="24" y="165"/>
                    <a:pt x="24" y="165"/>
                  </a:cubicBezTo>
                  <a:cubicBezTo>
                    <a:pt x="23" y="165"/>
                    <a:pt x="23" y="165"/>
                    <a:pt x="23" y="165"/>
                  </a:cubicBezTo>
                  <a:cubicBezTo>
                    <a:pt x="21" y="164"/>
                    <a:pt x="18" y="164"/>
                    <a:pt x="17" y="162"/>
                  </a:cubicBezTo>
                  <a:cubicBezTo>
                    <a:pt x="16" y="161"/>
                    <a:pt x="17" y="160"/>
                    <a:pt x="17" y="159"/>
                  </a:cubicBezTo>
                  <a:cubicBezTo>
                    <a:pt x="17" y="159"/>
                    <a:pt x="17" y="159"/>
                    <a:pt x="17" y="159"/>
                  </a:cubicBezTo>
                  <a:cubicBezTo>
                    <a:pt x="17" y="158"/>
                    <a:pt x="16" y="158"/>
                    <a:pt x="16" y="157"/>
                  </a:cubicBezTo>
                  <a:cubicBezTo>
                    <a:pt x="15" y="156"/>
                    <a:pt x="15" y="156"/>
                    <a:pt x="15" y="155"/>
                  </a:cubicBezTo>
                  <a:cubicBezTo>
                    <a:pt x="15" y="154"/>
                    <a:pt x="15" y="153"/>
                    <a:pt x="16" y="153"/>
                  </a:cubicBezTo>
                  <a:cubicBezTo>
                    <a:pt x="15" y="152"/>
                    <a:pt x="14" y="152"/>
                    <a:pt x="13" y="151"/>
                  </a:cubicBezTo>
                  <a:cubicBezTo>
                    <a:pt x="13" y="150"/>
                    <a:pt x="13" y="150"/>
                    <a:pt x="13" y="150"/>
                  </a:cubicBezTo>
                  <a:cubicBezTo>
                    <a:pt x="12" y="150"/>
                    <a:pt x="12" y="150"/>
                    <a:pt x="12" y="150"/>
                  </a:cubicBezTo>
                  <a:cubicBezTo>
                    <a:pt x="12" y="149"/>
                    <a:pt x="12" y="148"/>
                    <a:pt x="12" y="148"/>
                  </a:cubicBezTo>
                  <a:cubicBezTo>
                    <a:pt x="10" y="148"/>
                    <a:pt x="10" y="148"/>
                    <a:pt x="10" y="148"/>
                  </a:cubicBezTo>
                  <a:cubicBezTo>
                    <a:pt x="9" y="148"/>
                    <a:pt x="9" y="148"/>
                    <a:pt x="9" y="148"/>
                  </a:cubicBezTo>
                  <a:cubicBezTo>
                    <a:pt x="9" y="148"/>
                    <a:pt x="9" y="148"/>
                    <a:pt x="9" y="148"/>
                  </a:cubicBezTo>
                  <a:cubicBezTo>
                    <a:pt x="9" y="148"/>
                    <a:pt x="8" y="149"/>
                    <a:pt x="8" y="149"/>
                  </a:cubicBezTo>
                  <a:cubicBezTo>
                    <a:pt x="8" y="150"/>
                    <a:pt x="8" y="150"/>
                    <a:pt x="8" y="150"/>
                  </a:cubicBezTo>
                  <a:cubicBezTo>
                    <a:pt x="7" y="151"/>
                    <a:pt x="6" y="152"/>
                    <a:pt x="6" y="153"/>
                  </a:cubicBezTo>
                  <a:cubicBezTo>
                    <a:pt x="5" y="154"/>
                    <a:pt x="5" y="154"/>
                    <a:pt x="4" y="155"/>
                  </a:cubicBezTo>
                  <a:cubicBezTo>
                    <a:pt x="4" y="155"/>
                    <a:pt x="4" y="155"/>
                    <a:pt x="4" y="155"/>
                  </a:cubicBezTo>
                  <a:cubicBezTo>
                    <a:pt x="3" y="156"/>
                    <a:pt x="2" y="158"/>
                    <a:pt x="1" y="159"/>
                  </a:cubicBezTo>
                  <a:cubicBezTo>
                    <a:pt x="0" y="160"/>
                    <a:pt x="0" y="160"/>
                    <a:pt x="0" y="160"/>
                  </a:cubicBezTo>
                  <a:cubicBezTo>
                    <a:pt x="0" y="160"/>
                    <a:pt x="0" y="160"/>
                    <a:pt x="0" y="160"/>
                  </a:cubicBezTo>
                  <a:cubicBezTo>
                    <a:pt x="0" y="162"/>
                    <a:pt x="1" y="163"/>
                    <a:pt x="2" y="165"/>
                  </a:cubicBezTo>
                  <a:cubicBezTo>
                    <a:pt x="5" y="173"/>
                    <a:pt x="9" y="182"/>
                    <a:pt x="13" y="190"/>
                  </a:cubicBezTo>
                  <a:cubicBezTo>
                    <a:pt x="18" y="202"/>
                    <a:pt x="23" y="215"/>
                    <a:pt x="30" y="226"/>
                  </a:cubicBezTo>
                  <a:cubicBezTo>
                    <a:pt x="32" y="231"/>
                    <a:pt x="35" y="235"/>
                    <a:pt x="37" y="239"/>
                  </a:cubicBezTo>
                  <a:cubicBezTo>
                    <a:pt x="38" y="241"/>
                    <a:pt x="40" y="244"/>
                    <a:pt x="40" y="246"/>
                  </a:cubicBezTo>
                  <a:cubicBezTo>
                    <a:pt x="41" y="249"/>
                    <a:pt x="43" y="252"/>
                    <a:pt x="41" y="255"/>
                  </a:cubicBezTo>
                  <a:cubicBezTo>
                    <a:pt x="40" y="259"/>
                    <a:pt x="38" y="262"/>
                    <a:pt x="37" y="266"/>
                  </a:cubicBezTo>
                  <a:cubicBezTo>
                    <a:pt x="37" y="266"/>
                    <a:pt x="37" y="266"/>
                    <a:pt x="37" y="266"/>
                  </a:cubicBezTo>
                  <a:cubicBezTo>
                    <a:pt x="37" y="266"/>
                    <a:pt x="36" y="266"/>
                    <a:pt x="36" y="266"/>
                  </a:cubicBezTo>
                  <a:cubicBezTo>
                    <a:pt x="35" y="266"/>
                    <a:pt x="34" y="266"/>
                    <a:pt x="34" y="266"/>
                  </a:cubicBezTo>
                  <a:cubicBezTo>
                    <a:pt x="32" y="266"/>
                    <a:pt x="31" y="266"/>
                    <a:pt x="30" y="267"/>
                  </a:cubicBezTo>
                  <a:cubicBezTo>
                    <a:pt x="30" y="269"/>
                    <a:pt x="30" y="269"/>
                    <a:pt x="30" y="269"/>
                  </a:cubicBezTo>
                  <a:cubicBezTo>
                    <a:pt x="31" y="271"/>
                    <a:pt x="31" y="273"/>
                    <a:pt x="32" y="273"/>
                  </a:cubicBezTo>
                  <a:cubicBezTo>
                    <a:pt x="32" y="273"/>
                    <a:pt x="32" y="273"/>
                    <a:pt x="32" y="273"/>
                  </a:cubicBezTo>
                  <a:cubicBezTo>
                    <a:pt x="33" y="273"/>
                    <a:pt x="33" y="273"/>
                    <a:pt x="33" y="273"/>
                  </a:cubicBezTo>
                  <a:cubicBezTo>
                    <a:pt x="36" y="273"/>
                    <a:pt x="36" y="277"/>
                    <a:pt x="37" y="280"/>
                  </a:cubicBezTo>
                  <a:cubicBezTo>
                    <a:pt x="39" y="283"/>
                    <a:pt x="41" y="287"/>
                    <a:pt x="44" y="291"/>
                  </a:cubicBezTo>
                  <a:cubicBezTo>
                    <a:pt x="45" y="293"/>
                    <a:pt x="42" y="296"/>
                    <a:pt x="42" y="299"/>
                  </a:cubicBezTo>
                  <a:cubicBezTo>
                    <a:pt x="42" y="302"/>
                    <a:pt x="44" y="305"/>
                    <a:pt x="45" y="307"/>
                  </a:cubicBezTo>
                  <a:cubicBezTo>
                    <a:pt x="45" y="306"/>
                    <a:pt x="45" y="306"/>
                    <a:pt x="45" y="306"/>
                  </a:cubicBezTo>
                  <a:cubicBezTo>
                    <a:pt x="45" y="305"/>
                    <a:pt x="44" y="304"/>
                    <a:pt x="45" y="302"/>
                  </a:cubicBezTo>
                  <a:cubicBezTo>
                    <a:pt x="46" y="301"/>
                    <a:pt x="48" y="300"/>
                    <a:pt x="50" y="300"/>
                  </a:cubicBezTo>
                  <a:cubicBezTo>
                    <a:pt x="51" y="300"/>
                    <a:pt x="52" y="300"/>
                    <a:pt x="53" y="301"/>
                  </a:cubicBezTo>
                  <a:cubicBezTo>
                    <a:pt x="55" y="303"/>
                    <a:pt x="52" y="307"/>
                    <a:pt x="54" y="308"/>
                  </a:cubicBezTo>
                  <a:cubicBezTo>
                    <a:pt x="54" y="309"/>
                    <a:pt x="54" y="309"/>
                    <a:pt x="54" y="309"/>
                  </a:cubicBezTo>
                  <a:cubicBezTo>
                    <a:pt x="55" y="309"/>
                    <a:pt x="56" y="308"/>
                    <a:pt x="56" y="308"/>
                  </a:cubicBezTo>
                  <a:cubicBezTo>
                    <a:pt x="57" y="308"/>
                    <a:pt x="58" y="308"/>
                    <a:pt x="59" y="308"/>
                  </a:cubicBezTo>
                  <a:cubicBezTo>
                    <a:pt x="59" y="308"/>
                    <a:pt x="60" y="308"/>
                    <a:pt x="60" y="308"/>
                  </a:cubicBezTo>
                  <a:cubicBezTo>
                    <a:pt x="62" y="310"/>
                    <a:pt x="65" y="314"/>
                    <a:pt x="67" y="315"/>
                  </a:cubicBezTo>
                  <a:cubicBezTo>
                    <a:pt x="71" y="316"/>
                    <a:pt x="76" y="317"/>
                    <a:pt x="80" y="319"/>
                  </a:cubicBezTo>
                  <a:cubicBezTo>
                    <a:pt x="81" y="319"/>
                    <a:pt x="81" y="319"/>
                    <a:pt x="82" y="319"/>
                  </a:cubicBezTo>
                  <a:cubicBezTo>
                    <a:pt x="83" y="319"/>
                    <a:pt x="84" y="319"/>
                    <a:pt x="86" y="317"/>
                  </a:cubicBezTo>
                  <a:cubicBezTo>
                    <a:pt x="92" y="313"/>
                    <a:pt x="97" y="309"/>
                    <a:pt x="105" y="308"/>
                  </a:cubicBezTo>
                  <a:cubicBezTo>
                    <a:pt x="108" y="308"/>
                    <a:pt x="112" y="308"/>
                    <a:pt x="115" y="308"/>
                  </a:cubicBezTo>
                  <a:cubicBezTo>
                    <a:pt x="116" y="308"/>
                    <a:pt x="116" y="308"/>
                    <a:pt x="116" y="308"/>
                  </a:cubicBezTo>
                  <a:cubicBezTo>
                    <a:pt x="117" y="308"/>
                    <a:pt x="117" y="308"/>
                    <a:pt x="118" y="308"/>
                  </a:cubicBezTo>
                  <a:cubicBezTo>
                    <a:pt x="119" y="308"/>
                    <a:pt x="120" y="308"/>
                    <a:pt x="121" y="308"/>
                  </a:cubicBezTo>
                  <a:cubicBezTo>
                    <a:pt x="123" y="308"/>
                    <a:pt x="124" y="308"/>
                    <a:pt x="125" y="307"/>
                  </a:cubicBezTo>
                  <a:cubicBezTo>
                    <a:pt x="128" y="306"/>
                    <a:pt x="131" y="302"/>
                    <a:pt x="133" y="300"/>
                  </a:cubicBezTo>
                  <a:cubicBezTo>
                    <a:pt x="135" y="299"/>
                    <a:pt x="140" y="299"/>
                    <a:pt x="142" y="299"/>
                  </a:cubicBezTo>
                  <a:cubicBezTo>
                    <a:pt x="143" y="299"/>
                    <a:pt x="145" y="299"/>
                    <a:pt x="146" y="299"/>
                  </a:cubicBezTo>
                  <a:cubicBezTo>
                    <a:pt x="151" y="299"/>
                    <a:pt x="155" y="300"/>
                    <a:pt x="160" y="301"/>
                  </a:cubicBezTo>
                  <a:cubicBezTo>
                    <a:pt x="161" y="299"/>
                    <a:pt x="164" y="298"/>
                    <a:pt x="166" y="298"/>
                  </a:cubicBezTo>
                  <a:cubicBezTo>
                    <a:pt x="170" y="298"/>
                    <a:pt x="175" y="300"/>
                    <a:pt x="178" y="300"/>
                  </a:cubicBezTo>
                  <a:cubicBezTo>
                    <a:pt x="181" y="301"/>
                    <a:pt x="189" y="303"/>
                    <a:pt x="193" y="303"/>
                  </a:cubicBezTo>
                  <a:cubicBezTo>
                    <a:pt x="194" y="303"/>
                    <a:pt x="194" y="303"/>
                    <a:pt x="195" y="303"/>
                  </a:cubicBezTo>
                  <a:cubicBezTo>
                    <a:pt x="195" y="303"/>
                    <a:pt x="195" y="303"/>
                    <a:pt x="195" y="303"/>
                  </a:cubicBezTo>
                  <a:cubicBezTo>
                    <a:pt x="195" y="303"/>
                    <a:pt x="196" y="300"/>
                    <a:pt x="197" y="300"/>
                  </a:cubicBezTo>
                  <a:cubicBezTo>
                    <a:pt x="199" y="298"/>
                    <a:pt x="199" y="297"/>
                    <a:pt x="201" y="297"/>
                  </a:cubicBezTo>
                  <a:cubicBezTo>
                    <a:pt x="202" y="297"/>
                    <a:pt x="203" y="297"/>
                    <a:pt x="204" y="298"/>
                  </a:cubicBezTo>
                  <a:cubicBezTo>
                    <a:pt x="208" y="298"/>
                    <a:pt x="211" y="299"/>
                    <a:pt x="215" y="299"/>
                  </a:cubicBezTo>
                  <a:cubicBezTo>
                    <a:pt x="214" y="297"/>
                    <a:pt x="214" y="297"/>
                    <a:pt x="214" y="297"/>
                  </a:cubicBezTo>
                  <a:cubicBezTo>
                    <a:pt x="214" y="297"/>
                    <a:pt x="213" y="297"/>
                    <a:pt x="213" y="296"/>
                  </a:cubicBezTo>
                  <a:cubicBezTo>
                    <a:pt x="214" y="295"/>
                    <a:pt x="217" y="292"/>
                    <a:pt x="218" y="291"/>
                  </a:cubicBezTo>
                  <a:cubicBezTo>
                    <a:pt x="219" y="291"/>
                    <a:pt x="221" y="291"/>
                    <a:pt x="222" y="291"/>
                  </a:cubicBezTo>
                  <a:cubicBezTo>
                    <a:pt x="222" y="291"/>
                    <a:pt x="223" y="291"/>
                    <a:pt x="224" y="291"/>
                  </a:cubicBezTo>
                  <a:cubicBezTo>
                    <a:pt x="224" y="291"/>
                    <a:pt x="225" y="291"/>
                    <a:pt x="225" y="291"/>
                  </a:cubicBezTo>
                  <a:cubicBezTo>
                    <a:pt x="226" y="291"/>
                    <a:pt x="226" y="291"/>
                    <a:pt x="226" y="291"/>
                  </a:cubicBezTo>
                  <a:cubicBezTo>
                    <a:pt x="229" y="290"/>
                    <a:pt x="233" y="290"/>
                    <a:pt x="236" y="290"/>
                  </a:cubicBezTo>
                  <a:cubicBezTo>
                    <a:pt x="240" y="290"/>
                    <a:pt x="245" y="287"/>
                    <a:pt x="248" y="285"/>
                  </a:cubicBezTo>
                  <a:cubicBezTo>
                    <a:pt x="253" y="282"/>
                    <a:pt x="258" y="279"/>
                    <a:pt x="262" y="276"/>
                  </a:cubicBezTo>
                  <a:cubicBezTo>
                    <a:pt x="266" y="272"/>
                    <a:pt x="270" y="268"/>
                    <a:pt x="275" y="265"/>
                  </a:cubicBezTo>
                  <a:cubicBezTo>
                    <a:pt x="284" y="260"/>
                    <a:pt x="291" y="251"/>
                    <a:pt x="298" y="244"/>
                  </a:cubicBezTo>
                  <a:cubicBezTo>
                    <a:pt x="309" y="233"/>
                    <a:pt x="319" y="224"/>
                    <a:pt x="327" y="212"/>
                  </a:cubicBezTo>
                  <a:cubicBezTo>
                    <a:pt x="334" y="202"/>
                    <a:pt x="338" y="190"/>
                    <a:pt x="346" y="181"/>
                  </a:cubicBezTo>
                  <a:cubicBezTo>
                    <a:pt x="350" y="176"/>
                    <a:pt x="354" y="170"/>
                    <a:pt x="359" y="167"/>
                  </a:cubicBezTo>
                  <a:cubicBezTo>
                    <a:pt x="360" y="166"/>
                    <a:pt x="364" y="165"/>
                    <a:pt x="363" y="164"/>
                  </a:cubicBezTo>
                  <a:cubicBezTo>
                    <a:pt x="363" y="163"/>
                    <a:pt x="364" y="162"/>
                    <a:pt x="365" y="161"/>
                  </a:cubicBezTo>
                  <a:cubicBezTo>
                    <a:pt x="367" y="159"/>
                    <a:pt x="371" y="156"/>
                    <a:pt x="373" y="153"/>
                  </a:cubicBezTo>
                  <a:cubicBezTo>
                    <a:pt x="376" y="147"/>
                    <a:pt x="377" y="139"/>
                    <a:pt x="379" y="132"/>
                  </a:cubicBezTo>
                  <a:cubicBezTo>
                    <a:pt x="380" y="127"/>
                    <a:pt x="382" y="122"/>
                    <a:pt x="383" y="116"/>
                  </a:cubicBezTo>
                  <a:cubicBezTo>
                    <a:pt x="383" y="116"/>
                    <a:pt x="383" y="116"/>
                    <a:pt x="383" y="116"/>
                  </a:cubicBezTo>
                  <a:cubicBezTo>
                    <a:pt x="379" y="117"/>
                    <a:pt x="379" y="117"/>
                    <a:pt x="379" y="117"/>
                  </a:cubicBezTo>
                  <a:cubicBezTo>
                    <a:pt x="378" y="117"/>
                    <a:pt x="376" y="117"/>
                    <a:pt x="374" y="117"/>
                  </a:cubicBezTo>
                  <a:cubicBezTo>
                    <a:pt x="374" y="117"/>
                    <a:pt x="374" y="117"/>
                    <a:pt x="374" y="117"/>
                  </a:cubicBezTo>
                  <a:cubicBezTo>
                    <a:pt x="373" y="117"/>
                    <a:pt x="371" y="117"/>
                    <a:pt x="370" y="117"/>
                  </a:cubicBezTo>
                  <a:cubicBezTo>
                    <a:pt x="369" y="116"/>
                    <a:pt x="367" y="116"/>
                    <a:pt x="366" y="116"/>
                  </a:cubicBezTo>
                  <a:cubicBezTo>
                    <a:pt x="366" y="116"/>
                    <a:pt x="366" y="116"/>
                    <a:pt x="366" y="116"/>
                  </a:cubicBezTo>
                  <a:cubicBezTo>
                    <a:pt x="365" y="118"/>
                    <a:pt x="365" y="121"/>
                    <a:pt x="366" y="124"/>
                  </a:cubicBezTo>
                  <a:cubicBezTo>
                    <a:pt x="366" y="128"/>
                    <a:pt x="366" y="128"/>
                    <a:pt x="366" y="128"/>
                  </a:cubicBezTo>
                  <a:cubicBezTo>
                    <a:pt x="346" y="126"/>
                    <a:pt x="346" y="126"/>
                    <a:pt x="346" y="126"/>
                  </a:cubicBezTo>
                  <a:cubicBezTo>
                    <a:pt x="344" y="125"/>
                    <a:pt x="343" y="124"/>
                    <a:pt x="342" y="123"/>
                  </a:cubicBezTo>
                  <a:cubicBezTo>
                    <a:pt x="338" y="118"/>
                    <a:pt x="338" y="118"/>
                    <a:pt x="338" y="118"/>
                  </a:cubicBezTo>
                  <a:cubicBezTo>
                    <a:pt x="338" y="117"/>
                    <a:pt x="337" y="114"/>
                    <a:pt x="336" y="114"/>
                  </a:cubicBezTo>
                  <a:cubicBezTo>
                    <a:pt x="335" y="113"/>
                    <a:pt x="335" y="113"/>
                    <a:pt x="335" y="113"/>
                  </a:cubicBezTo>
                  <a:cubicBezTo>
                    <a:pt x="334" y="113"/>
                    <a:pt x="334" y="113"/>
                    <a:pt x="333" y="112"/>
                  </a:cubicBezTo>
                  <a:cubicBezTo>
                    <a:pt x="333" y="111"/>
                    <a:pt x="333" y="111"/>
                    <a:pt x="333" y="111"/>
                  </a:cubicBezTo>
                  <a:cubicBezTo>
                    <a:pt x="332" y="111"/>
                    <a:pt x="332" y="110"/>
                    <a:pt x="332" y="110"/>
                  </a:cubicBezTo>
                  <a:cubicBezTo>
                    <a:pt x="332" y="108"/>
                    <a:pt x="332" y="107"/>
                    <a:pt x="332" y="106"/>
                  </a:cubicBezTo>
                  <a:cubicBezTo>
                    <a:pt x="332" y="104"/>
                    <a:pt x="332" y="104"/>
                    <a:pt x="332" y="104"/>
                  </a:cubicBezTo>
                  <a:cubicBezTo>
                    <a:pt x="332" y="104"/>
                    <a:pt x="332" y="104"/>
                    <a:pt x="332" y="104"/>
                  </a:cubicBezTo>
                  <a:cubicBezTo>
                    <a:pt x="333" y="101"/>
                    <a:pt x="335" y="97"/>
                    <a:pt x="336" y="96"/>
                  </a:cubicBezTo>
                  <a:cubicBezTo>
                    <a:pt x="339" y="91"/>
                    <a:pt x="342" y="88"/>
                    <a:pt x="346" y="84"/>
                  </a:cubicBezTo>
                  <a:cubicBezTo>
                    <a:pt x="347" y="83"/>
                    <a:pt x="348" y="83"/>
                    <a:pt x="350" y="83"/>
                  </a:cubicBezTo>
                  <a:cubicBezTo>
                    <a:pt x="350" y="83"/>
                    <a:pt x="351" y="83"/>
                    <a:pt x="352" y="83"/>
                  </a:cubicBezTo>
                  <a:cubicBezTo>
                    <a:pt x="354" y="84"/>
                    <a:pt x="354" y="84"/>
                    <a:pt x="354" y="84"/>
                  </a:cubicBezTo>
                  <a:cubicBezTo>
                    <a:pt x="355" y="85"/>
                    <a:pt x="357" y="86"/>
                    <a:pt x="358" y="87"/>
                  </a:cubicBezTo>
                  <a:cubicBezTo>
                    <a:pt x="360" y="87"/>
                    <a:pt x="360" y="87"/>
                    <a:pt x="360" y="87"/>
                  </a:cubicBezTo>
                  <a:cubicBezTo>
                    <a:pt x="360" y="85"/>
                    <a:pt x="360" y="85"/>
                    <a:pt x="360" y="85"/>
                  </a:cubicBezTo>
                  <a:cubicBezTo>
                    <a:pt x="360" y="84"/>
                    <a:pt x="361" y="83"/>
                    <a:pt x="361" y="83"/>
                  </a:cubicBezTo>
                  <a:cubicBezTo>
                    <a:pt x="361" y="82"/>
                    <a:pt x="360" y="81"/>
                    <a:pt x="360" y="80"/>
                  </a:cubicBezTo>
                  <a:cubicBezTo>
                    <a:pt x="360" y="80"/>
                    <a:pt x="360" y="80"/>
                    <a:pt x="360" y="80"/>
                  </a:cubicBezTo>
                  <a:cubicBezTo>
                    <a:pt x="360" y="79"/>
                    <a:pt x="360" y="77"/>
                    <a:pt x="360" y="76"/>
                  </a:cubicBezTo>
                  <a:cubicBezTo>
                    <a:pt x="361" y="74"/>
                    <a:pt x="361" y="74"/>
                    <a:pt x="361" y="74"/>
                  </a:cubicBezTo>
                  <a:cubicBezTo>
                    <a:pt x="361" y="73"/>
                    <a:pt x="361" y="72"/>
                    <a:pt x="361" y="72"/>
                  </a:cubicBezTo>
                  <a:cubicBezTo>
                    <a:pt x="361" y="67"/>
                    <a:pt x="360" y="62"/>
                    <a:pt x="360" y="57"/>
                  </a:cubicBezTo>
                  <a:cubicBezTo>
                    <a:pt x="359" y="53"/>
                    <a:pt x="359" y="53"/>
                    <a:pt x="359" y="53"/>
                  </a:cubicBezTo>
                  <a:cubicBezTo>
                    <a:pt x="359" y="49"/>
                    <a:pt x="359" y="44"/>
                    <a:pt x="358" y="42"/>
                  </a:cubicBezTo>
                  <a:cubicBezTo>
                    <a:pt x="352" y="33"/>
                    <a:pt x="352" y="33"/>
                    <a:pt x="352" y="33"/>
                  </a:cubicBezTo>
                  <a:cubicBezTo>
                    <a:pt x="350" y="30"/>
                    <a:pt x="350" y="28"/>
                    <a:pt x="350" y="25"/>
                  </a:cubicBezTo>
                  <a:cubicBezTo>
                    <a:pt x="347" y="25"/>
                    <a:pt x="347" y="25"/>
                    <a:pt x="347" y="25"/>
                  </a:cubicBezTo>
                  <a:cubicBezTo>
                    <a:pt x="350" y="24"/>
                    <a:pt x="350" y="24"/>
                    <a:pt x="350" y="24"/>
                  </a:cubicBezTo>
                  <a:cubicBezTo>
                    <a:pt x="350" y="24"/>
                    <a:pt x="350" y="24"/>
                    <a:pt x="350" y="24"/>
                  </a:cubicBezTo>
                  <a:cubicBezTo>
                    <a:pt x="350" y="23"/>
                    <a:pt x="350" y="22"/>
                    <a:pt x="349" y="21"/>
                  </a:cubicBezTo>
                  <a:cubicBezTo>
                    <a:pt x="349" y="18"/>
                    <a:pt x="348" y="15"/>
                    <a:pt x="347" y="12"/>
                  </a:cubicBezTo>
                  <a:cubicBezTo>
                    <a:pt x="346" y="10"/>
                    <a:pt x="345" y="8"/>
                    <a:pt x="345" y="6"/>
                  </a:cubicBezTo>
                  <a:cubicBezTo>
                    <a:pt x="344" y="5"/>
                    <a:pt x="344" y="5"/>
                    <a:pt x="344" y="5"/>
                  </a:cubicBezTo>
                  <a:cubicBezTo>
                    <a:pt x="344" y="5"/>
                    <a:pt x="344" y="5"/>
                    <a:pt x="344" y="5"/>
                  </a:cubicBezTo>
                  <a:cubicBezTo>
                    <a:pt x="342" y="3"/>
                    <a:pt x="340" y="3"/>
                    <a:pt x="337" y="3"/>
                  </a:cubicBezTo>
                  <a:cubicBezTo>
                    <a:pt x="336" y="2"/>
                    <a:pt x="336" y="2"/>
                    <a:pt x="336" y="2"/>
                  </a:cubicBezTo>
                  <a:cubicBezTo>
                    <a:pt x="329" y="1"/>
                    <a:pt x="321" y="1"/>
                    <a:pt x="313" y="1"/>
                  </a:cubicBezTo>
                  <a:cubicBezTo>
                    <a:pt x="310" y="0"/>
                    <a:pt x="310" y="0"/>
                    <a:pt x="310" y="0"/>
                  </a:cubicBezTo>
                  <a:cubicBezTo>
                    <a:pt x="307" y="0"/>
                    <a:pt x="305" y="0"/>
                    <a:pt x="302" y="0"/>
                  </a:cubicBezTo>
                  <a:cubicBezTo>
                    <a:pt x="302" y="0"/>
                    <a:pt x="302" y="0"/>
                    <a:pt x="302" y="0"/>
                  </a:cubicBezTo>
                  <a:cubicBezTo>
                    <a:pt x="301" y="0"/>
                    <a:pt x="301" y="0"/>
                    <a:pt x="301" y="0"/>
                  </a:cubicBezTo>
                  <a:cubicBezTo>
                    <a:pt x="300" y="0"/>
                    <a:pt x="300" y="0"/>
                    <a:pt x="3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309"/>
            <p:cNvSpPr/>
            <p:nvPr/>
          </p:nvSpPr>
          <p:spPr bwMode="auto">
            <a:xfrm>
              <a:off x="5348" y="3344"/>
              <a:ext cx="586" cy="933"/>
            </a:xfrm>
            <a:custGeom>
              <a:gdLst>
                <a:gd name="T0" fmla="*/ 209 w 248"/>
                <a:gd name="T1" fmla="*/ 17 h 395"/>
                <a:gd name="T2" fmla="*/ 194 w 248"/>
                <a:gd name="T3" fmla="*/ 23 h 395"/>
                <a:gd name="T4" fmla="*/ 180 w 248"/>
                <a:gd name="T5" fmla="*/ 21 h 395"/>
                <a:gd name="T6" fmla="*/ 170 w 248"/>
                <a:gd name="T7" fmla="*/ 29 h 395"/>
                <a:gd name="T8" fmla="*/ 156 w 248"/>
                <a:gd name="T9" fmla="*/ 28 h 395"/>
                <a:gd name="T10" fmla="*/ 136 w 248"/>
                <a:gd name="T11" fmla="*/ 27 h 395"/>
                <a:gd name="T12" fmla="*/ 128 w 248"/>
                <a:gd name="T13" fmla="*/ 25 h 395"/>
                <a:gd name="T14" fmla="*/ 107 w 248"/>
                <a:gd name="T15" fmla="*/ 26 h 395"/>
                <a:gd name="T16" fmla="*/ 102 w 248"/>
                <a:gd name="T17" fmla="*/ 53 h 395"/>
                <a:gd name="T18" fmla="*/ 104 w 248"/>
                <a:gd name="T19" fmla="*/ 68 h 395"/>
                <a:gd name="T20" fmla="*/ 127 w 248"/>
                <a:gd name="T21" fmla="*/ 90 h 395"/>
                <a:gd name="T22" fmla="*/ 133 w 248"/>
                <a:gd name="T23" fmla="*/ 107 h 395"/>
                <a:gd name="T24" fmla="*/ 133 w 248"/>
                <a:gd name="T25" fmla="*/ 118 h 395"/>
                <a:gd name="T26" fmla="*/ 125 w 248"/>
                <a:gd name="T27" fmla="*/ 136 h 395"/>
                <a:gd name="T28" fmla="*/ 120 w 248"/>
                <a:gd name="T29" fmla="*/ 137 h 395"/>
                <a:gd name="T30" fmla="*/ 117 w 248"/>
                <a:gd name="T31" fmla="*/ 146 h 395"/>
                <a:gd name="T32" fmla="*/ 107 w 248"/>
                <a:gd name="T33" fmla="*/ 151 h 395"/>
                <a:gd name="T34" fmla="*/ 96 w 248"/>
                <a:gd name="T35" fmla="*/ 140 h 395"/>
                <a:gd name="T36" fmla="*/ 90 w 248"/>
                <a:gd name="T37" fmla="*/ 127 h 395"/>
                <a:gd name="T38" fmla="*/ 95 w 248"/>
                <a:gd name="T39" fmla="*/ 112 h 395"/>
                <a:gd name="T40" fmla="*/ 94 w 248"/>
                <a:gd name="T41" fmla="*/ 97 h 395"/>
                <a:gd name="T42" fmla="*/ 79 w 248"/>
                <a:gd name="T43" fmla="*/ 98 h 395"/>
                <a:gd name="T44" fmla="*/ 74 w 248"/>
                <a:gd name="T45" fmla="*/ 95 h 395"/>
                <a:gd name="T46" fmla="*/ 3 w 248"/>
                <a:gd name="T47" fmla="*/ 116 h 395"/>
                <a:gd name="T48" fmla="*/ 5 w 248"/>
                <a:gd name="T49" fmla="*/ 121 h 395"/>
                <a:gd name="T50" fmla="*/ 6 w 248"/>
                <a:gd name="T51" fmla="*/ 128 h 395"/>
                <a:gd name="T52" fmla="*/ 43 w 248"/>
                <a:gd name="T53" fmla="*/ 138 h 395"/>
                <a:gd name="T54" fmla="*/ 62 w 248"/>
                <a:gd name="T55" fmla="*/ 145 h 395"/>
                <a:gd name="T56" fmla="*/ 65 w 248"/>
                <a:gd name="T57" fmla="*/ 149 h 395"/>
                <a:gd name="T58" fmla="*/ 64 w 248"/>
                <a:gd name="T59" fmla="*/ 153 h 395"/>
                <a:gd name="T60" fmla="*/ 66 w 248"/>
                <a:gd name="T61" fmla="*/ 185 h 395"/>
                <a:gd name="T62" fmla="*/ 63 w 248"/>
                <a:gd name="T63" fmla="*/ 193 h 395"/>
                <a:gd name="T64" fmla="*/ 59 w 248"/>
                <a:gd name="T65" fmla="*/ 200 h 395"/>
                <a:gd name="T66" fmla="*/ 62 w 248"/>
                <a:gd name="T67" fmla="*/ 217 h 395"/>
                <a:gd name="T68" fmla="*/ 66 w 248"/>
                <a:gd name="T69" fmla="*/ 227 h 395"/>
                <a:gd name="T70" fmla="*/ 54 w 248"/>
                <a:gd name="T71" fmla="*/ 243 h 395"/>
                <a:gd name="T72" fmla="*/ 52 w 248"/>
                <a:gd name="T73" fmla="*/ 257 h 395"/>
                <a:gd name="T74" fmla="*/ 38 w 248"/>
                <a:gd name="T75" fmla="*/ 275 h 395"/>
                <a:gd name="T76" fmla="*/ 26 w 248"/>
                <a:gd name="T77" fmla="*/ 289 h 395"/>
                <a:gd name="T78" fmla="*/ 35 w 248"/>
                <a:gd name="T79" fmla="*/ 307 h 395"/>
                <a:gd name="T80" fmla="*/ 41 w 248"/>
                <a:gd name="T81" fmla="*/ 336 h 395"/>
                <a:gd name="T82" fmla="*/ 42 w 248"/>
                <a:gd name="T83" fmla="*/ 364 h 395"/>
                <a:gd name="T84" fmla="*/ 43 w 248"/>
                <a:gd name="T85" fmla="*/ 374 h 395"/>
                <a:gd name="T86" fmla="*/ 45 w 248"/>
                <a:gd name="T87" fmla="*/ 395 h 395"/>
                <a:gd name="T88" fmla="*/ 58 w 248"/>
                <a:gd name="T89" fmla="*/ 395 h 395"/>
                <a:gd name="T90" fmla="*/ 50 w 248"/>
                <a:gd name="T91" fmla="*/ 376 h 395"/>
                <a:gd name="T92" fmla="*/ 57 w 248"/>
                <a:gd name="T93" fmla="*/ 370 h 395"/>
                <a:gd name="T94" fmla="*/ 122 w 248"/>
                <a:gd name="T95" fmla="*/ 321 h 395"/>
                <a:gd name="T96" fmla="*/ 119 w 248"/>
                <a:gd name="T97" fmla="*/ 320 h 395"/>
                <a:gd name="T98" fmla="*/ 120 w 248"/>
                <a:gd name="T99" fmla="*/ 282 h 395"/>
                <a:gd name="T100" fmla="*/ 111 w 248"/>
                <a:gd name="T101" fmla="*/ 253 h 395"/>
                <a:gd name="T102" fmla="*/ 102 w 248"/>
                <a:gd name="T103" fmla="*/ 231 h 395"/>
                <a:gd name="T104" fmla="*/ 99 w 248"/>
                <a:gd name="T105" fmla="*/ 217 h 395"/>
                <a:gd name="T106" fmla="*/ 113 w 248"/>
                <a:gd name="T107" fmla="*/ 220 h 395"/>
                <a:gd name="T108" fmla="*/ 131 w 248"/>
                <a:gd name="T109" fmla="*/ 202 h 395"/>
                <a:gd name="T110" fmla="*/ 143 w 248"/>
                <a:gd name="T111" fmla="*/ 197 h 395"/>
                <a:gd name="T112" fmla="*/ 155 w 248"/>
                <a:gd name="T113" fmla="*/ 177 h 395"/>
                <a:gd name="T114" fmla="*/ 205 w 248"/>
                <a:gd name="T115" fmla="*/ 152 h 395"/>
                <a:gd name="T116" fmla="*/ 247 w 248"/>
                <a:gd name="T117" fmla="*/ 101 h 395"/>
                <a:gd name="T118" fmla="*/ 243 w 248"/>
                <a:gd name="T119" fmla="*/ 87 h 395"/>
                <a:gd name="T120" fmla="*/ 241 w 248"/>
                <a:gd name="T121" fmla="*/ 60 h 395"/>
                <a:gd name="T122" fmla="*/ 238 w 248"/>
                <a:gd name="T123" fmla="*/ 56 h 395"/>
                <a:gd name="T124" fmla="*/ 236 w 248"/>
                <a:gd name="T125" fmla="*/ 18 h 3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 h="395">
                  <a:moveTo>
                    <a:pt x="240" y="0"/>
                  </a:moveTo>
                  <a:cubicBezTo>
                    <a:pt x="239" y="0"/>
                    <a:pt x="239" y="0"/>
                    <a:pt x="239" y="1"/>
                  </a:cubicBezTo>
                  <a:cubicBezTo>
                    <a:pt x="233" y="5"/>
                    <a:pt x="233" y="5"/>
                    <a:pt x="233" y="5"/>
                  </a:cubicBezTo>
                  <a:cubicBezTo>
                    <a:pt x="227" y="9"/>
                    <a:pt x="220" y="14"/>
                    <a:pt x="213" y="16"/>
                  </a:cubicBezTo>
                  <a:cubicBezTo>
                    <a:pt x="212" y="17"/>
                    <a:pt x="210" y="17"/>
                    <a:pt x="209" y="17"/>
                  </a:cubicBezTo>
                  <a:cubicBezTo>
                    <a:pt x="208" y="17"/>
                    <a:pt x="207" y="17"/>
                    <a:pt x="207" y="17"/>
                  </a:cubicBezTo>
                  <a:cubicBezTo>
                    <a:pt x="206" y="17"/>
                    <a:pt x="206" y="17"/>
                    <a:pt x="206" y="17"/>
                  </a:cubicBezTo>
                  <a:cubicBezTo>
                    <a:pt x="203" y="17"/>
                    <a:pt x="201" y="18"/>
                    <a:pt x="198" y="20"/>
                  </a:cubicBezTo>
                  <a:cubicBezTo>
                    <a:pt x="195" y="22"/>
                    <a:pt x="195" y="22"/>
                    <a:pt x="195" y="22"/>
                  </a:cubicBezTo>
                  <a:cubicBezTo>
                    <a:pt x="195" y="22"/>
                    <a:pt x="194" y="22"/>
                    <a:pt x="194" y="23"/>
                  </a:cubicBezTo>
                  <a:cubicBezTo>
                    <a:pt x="193" y="23"/>
                    <a:pt x="192" y="23"/>
                    <a:pt x="192" y="23"/>
                  </a:cubicBezTo>
                  <a:cubicBezTo>
                    <a:pt x="190" y="23"/>
                    <a:pt x="187" y="22"/>
                    <a:pt x="184" y="20"/>
                  </a:cubicBezTo>
                  <a:cubicBezTo>
                    <a:pt x="184" y="20"/>
                    <a:pt x="183" y="20"/>
                    <a:pt x="183" y="20"/>
                  </a:cubicBezTo>
                  <a:cubicBezTo>
                    <a:pt x="182" y="20"/>
                    <a:pt x="181" y="20"/>
                    <a:pt x="180" y="21"/>
                  </a:cubicBezTo>
                  <a:cubicBezTo>
                    <a:pt x="180" y="21"/>
                    <a:pt x="180" y="21"/>
                    <a:pt x="180" y="21"/>
                  </a:cubicBezTo>
                  <a:cubicBezTo>
                    <a:pt x="179" y="21"/>
                    <a:pt x="179" y="22"/>
                    <a:pt x="179" y="22"/>
                  </a:cubicBezTo>
                  <a:cubicBezTo>
                    <a:pt x="179" y="23"/>
                    <a:pt x="179" y="23"/>
                    <a:pt x="178" y="23"/>
                  </a:cubicBezTo>
                  <a:cubicBezTo>
                    <a:pt x="178" y="24"/>
                    <a:pt x="178" y="25"/>
                    <a:pt x="177" y="26"/>
                  </a:cubicBezTo>
                  <a:cubicBezTo>
                    <a:pt x="176" y="26"/>
                    <a:pt x="176" y="26"/>
                    <a:pt x="176" y="26"/>
                  </a:cubicBezTo>
                  <a:cubicBezTo>
                    <a:pt x="175" y="28"/>
                    <a:pt x="172" y="29"/>
                    <a:pt x="170" y="29"/>
                  </a:cubicBezTo>
                  <a:cubicBezTo>
                    <a:pt x="170" y="30"/>
                    <a:pt x="169" y="30"/>
                    <a:pt x="167" y="30"/>
                  </a:cubicBezTo>
                  <a:cubicBezTo>
                    <a:pt x="167" y="30"/>
                    <a:pt x="167" y="30"/>
                    <a:pt x="167" y="30"/>
                  </a:cubicBezTo>
                  <a:cubicBezTo>
                    <a:pt x="165" y="30"/>
                    <a:pt x="164" y="29"/>
                    <a:pt x="162" y="29"/>
                  </a:cubicBezTo>
                  <a:cubicBezTo>
                    <a:pt x="160" y="28"/>
                    <a:pt x="159" y="27"/>
                    <a:pt x="157" y="27"/>
                  </a:cubicBezTo>
                  <a:cubicBezTo>
                    <a:pt x="157" y="27"/>
                    <a:pt x="156" y="27"/>
                    <a:pt x="156" y="28"/>
                  </a:cubicBezTo>
                  <a:cubicBezTo>
                    <a:pt x="155" y="28"/>
                    <a:pt x="154" y="28"/>
                    <a:pt x="154" y="28"/>
                  </a:cubicBezTo>
                  <a:cubicBezTo>
                    <a:pt x="153" y="29"/>
                    <a:pt x="153" y="29"/>
                    <a:pt x="153" y="29"/>
                  </a:cubicBezTo>
                  <a:cubicBezTo>
                    <a:pt x="152" y="29"/>
                    <a:pt x="151" y="30"/>
                    <a:pt x="149" y="30"/>
                  </a:cubicBezTo>
                  <a:cubicBezTo>
                    <a:pt x="148" y="30"/>
                    <a:pt x="148" y="31"/>
                    <a:pt x="147" y="31"/>
                  </a:cubicBezTo>
                  <a:cubicBezTo>
                    <a:pt x="143" y="31"/>
                    <a:pt x="138" y="28"/>
                    <a:pt x="136" y="27"/>
                  </a:cubicBezTo>
                  <a:cubicBezTo>
                    <a:pt x="134" y="26"/>
                    <a:pt x="134" y="26"/>
                    <a:pt x="134" y="26"/>
                  </a:cubicBezTo>
                  <a:cubicBezTo>
                    <a:pt x="133" y="26"/>
                    <a:pt x="133" y="26"/>
                    <a:pt x="133" y="26"/>
                  </a:cubicBezTo>
                  <a:cubicBezTo>
                    <a:pt x="132" y="25"/>
                    <a:pt x="132" y="25"/>
                    <a:pt x="131" y="25"/>
                  </a:cubicBezTo>
                  <a:cubicBezTo>
                    <a:pt x="131" y="24"/>
                    <a:pt x="130" y="24"/>
                    <a:pt x="130" y="24"/>
                  </a:cubicBezTo>
                  <a:cubicBezTo>
                    <a:pt x="130" y="24"/>
                    <a:pt x="129" y="24"/>
                    <a:pt x="128" y="25"/>
                  </a:cubicBezTo>
                  <a:cubicBezTo>
                    <a:pt x="127" y="26"/>
                    <a:pt x="127" y="26"/>
                    <a:pt x="127" y="26"/>
                  </a:cubicBezTo>
                  <a:cubicBezTo>
                    <a:pt x="127" y="26"/>
                    <a:pt x="126" y="27"/>
                    <a:pt x="125" y="27"/>
                  </a:cubicBezTo>
                  <a:cubicBezTo>
                    <a:pt x="124" y="28"/>
                    <a:pt x="123" y="28"/>
                    <a:pt x="121" y="28"/>
                  </a:cubicBezTo>
                  <a:cubicBezTo>
                    <a:pt x="117" y="28"/>
                    <a:pt x="110" y="27"/>
                    <a:pt x="107" y="26"/>
                  </a:cubicBezTo>
                  <a:cubicBezTo>
                    <a:pt x="107" y="26"/>
                    <a:pt x="107" y="26"/>
                    <a:pt x="107" y="26"/>
                  </a:cubicBezTo>
                  <a:cubicBezTo>
                    <a:pt x="106" y="27"/>
                    <a:pt x="106" y="27"/>
                    <a:pt x="106" y="27"/>
                  </a:cubicBezTo>
                  <a:cubicBezTo>
                    <a:pt x="106" y="30"/>
                    <a:pt x="106" y="33"/>
                    <a:pt x="104" y="35"/>
                  </a:cubicBezTo>
                  <a:cubicBezTo>
                    <a:pt x="104" y="36"/>
                    <a:pt x="104" y="36"/>
                    <a:pt x="104" y="36"/>
                  </a:cubicBezTo>
                  <a:cubicBezTo>
                    <a:pt x="102" y="40"/>
                    <a:pt x="100" y="42"/>
                    <a:pt x="102" y="47"/>
                  </a:cubicBezTo>
                  <a:cubicBezTo>
                    <a:pt x="102" y="49"/>
                    <a:pt x="102" y="51"/>
                    <a:pt x="102" y="53"/>
                  </a:cubicBezTo>
                  <a:cubicBezTo>
                    <a:pt x="102" y="55"/>
                    <a:pt x="102" y="57"/>
                    <a:pt x="103" y="58"/>
                  </a:cubicBezTo>
                  <a:cubicBezTo>
                    <a:pt x="103" y="60"/>
                    <a:pt x="103" y="60"/>
                    <a:pt x="103" y="60"/>
                  </a:cubicBezTo>
                  <a:cubicBezTo>
                    <a:pt x="103" y="62"/>
                    <a:pt x="104" y="64"/>
                    <a:pt x="104" y="66"/>
                  </a:cubicBezTo>
                  <a:cubicBezTo>
                    <a:pt x="104" y="67"/>
                    <a:pt x="104" y="67"/>
                    <a:pt x="104" y="68"/>
                  </a:cubicBezTo>
                  <a:cubicBezTo>
                    <a:pt x="104" y="68"/>
                    <a:pt x="104" y="68"/>
                    <a:pt x="104" y="68"/>
                  </a:cubicBezTo>
                  <a:cubicBezTo>
                    <a:pt x="106" y="66"/>
                    <a:pt x="106" y="66"/>
                    <a:pt x="106" y="66"/>
                  </a:cubicBezTo>
                  <a:cubicBezTo>
                    <a:pt x="108" y="68"/>
                    <a:pt x="108" y="68"/>
                    <a:pt x="108" y="68"/>
                  </a:cubicBezTo>
                  <a:cubicBezTo>
                    <a:pt x="110" y="69"/>
                    <a:pt x="112" y="71"/>
                    <a:pt x="113" y="72"/>
                  </a:cubicBezTo>
                  <a:cubicBezTo>
                    <a:pt x="113" y="72"/>
                    <a:pt x="113" y="72"/>
                    <a:pt x="113" y="72"/>
                  </a:cubicBezTo>
                  <a:cubicBezTo>
                    <a:pt x="127" y="90"/>
                    <a:pt x="127" y="90"/>
                    <a:pt x="127" y="90"/>
                  </a:cubicBezTo>
                  <a:cubicBezTo>
                    <a:pt x="131" y="87"/>
                    <a:pt x="131" y="87"/>
                    <a:pt x="131" y="87"/>
                  </a:cubicBezTo>
                  <a:cubicBezTo>
                    <a:pt x="128" y="91"/>
                    <a:pt x="128" y="91"/>
                    <a:pt x="128" y="91"/>
                  </a:cubicBezTo>
                  <a:cubicBezTo>
                    <a:pt x="129" y="92"/>
                    <a:pt x="129" y="92"/>
                    <a:pt x="129" y="92"/>
                  </a:cubicBezTo>
                  <a:cubicBezTo>
                    <a:pt x="131" y="95"/>
                    <a:pt x="133" y="97"/>
                    <a:pt x="133" y="102"/>
                  </a:cubicBezTo>
                  <a:cubicBezTo>
                    <a:pt x="133" y="104"/>
                    <a:pt x="133" y="106"/>
                    <a:pt x="133" y="107"/>
                  </a:cubicBezTo>
                  <a:cubicBezTo>
                    <a:pt x="133" y="109"/>
                    <a:pt x="133" y="109"/>
                    <a:pt x="133" y="109"/>
                  </a:cubicBezTo>
                  <a:cubicBezTo>
                    <a:pt x="132" y="110"/>
                    <a:pt x="132" y="110"/>
                    <a:pt x="132" y="111"/>
                  </a:cubicBezTo>
                  <a:cubicBezTo>
                    <a:pt x="132" y="112"/>
                    <a:pt x="132" y="112"/>
                    <a:pt x="132" y="112"/>
                  </a:cubicBezTo>
                  <a:cubicBezTo>
                    <a:pt x="132" y="113"/>
                    <a:pt x="132" y="113"/>
                    <a:pt x="132" y="114"/>
                  </a:cubicBezTo>
                  <a:cubicBezTo>
                    <a:pt x="133" y="115"/>
                    <a:pt x="133" y="116"/>
                    <a:pt x="133" y="118"/>
                  </a:cubicBezTo>
                  <a:cubicBezTo>
                    <a:pt x="133" y="119"/>
                    <a:pt x="133" y="119"/>
                    <a:pt x="133" y="120"/>
                  </a:cubicBezTo>
                  <a:cubicBezTo>
                    <a:pt x="132" y="129"/>
                    <a:pt x="132" y="129"/>
                    <a:pt x="132" y="129"/>
                  </a:cubicBezTo>
                  <a:cubicBezTo>
                    <a:pt x="132" y="131"/>
                    <a:pt x="130" y="133"/>
                    <a:pt x="128" y="135"/>
                  </a:cubicBezTo>
                  <a:cubicBezTo>
                    <a:pt x="127" y="135"/>
                    <a:pt x="126" y="136"/>
                    <a:pt x="125" y="136"/>
                  </a:cubicBezTo>
                  <a:cubicBezTo>
                    <a:pt x="125" y="136"/>
                    <a:pt x="125" y="136"/>
                    <a:pt x="125" y="136"/>
                  </a:cubicBezTo>
                  <a:cubicBezTo>
                    <a:pt x="125" y="136"/>
                    <a:pt x="125" y="136"/>
                    <a:pt x="125" y="136"/>
                  </a:cubicBezTo>
                  <a:cubicBezTo>
                    <a:pt x="124" y="136"/>
                    <a:pt x="124" y="136"/>
                    <a:pt x="123" y="136"/>
                  </a:cubicBezTo>
                  <a:cubicBezTo>
                    <a:pt x="121" y="137"/>
                    <a:pt x="121" y="137"/>
                    <a:pt x="121" y="137"/>
                  </a:cubicBezTo>
                  <a:cubicBezTo>
                    <a:pt x="121" y="137"/>
                    <a:pt x="120" y="137"/>
                    <a:pt x="120" y="137"/>
                  </a:cubicBezTo>
                  <a:cubicBezTo>
                    <a:pt x="120" y="137"/>
                    <a:pt x="120" y="137"/>
                    <a:pt x="120" y="137"/>
                  </a:cubicBezTo>
                  <a:cubicBezTo>
                    <a:pt x="119" y="138"/>
                    <a:pt x="119" y="138"/>
                    <a:pt x="119" y="138"/>
                  </a:cubicBezTo>
                  <a:cubicBezTo>
                    <a:pt x="118" y="141"/>
                    <a:pt x="116" y="143"/>
                    <a:pt x="116" y="144"/>
                  </a:cubicBezTo>
                  <a:cubicBezTo>
                    <a:pt x="116" y="145"/>
                    <a:pt x="116" y="145"/>
                    <a:pt x="116" y="145"/>
                  </a:cubicBezTo>
                  <a:cubicBezTo>
                    <a:pt x="116" y="145"/>
                    <a:pt x="116" y="145"/>
                    <a:pt x="116" y="145"/>
                  </a:cubicBezTo>
                  <a:cubicBezTo>
                    <a:pt x="117" y="146"/>
                    <a:pt x="117" y="146"/>
                    <a:pt x="117" y="146"/>
                  </a:cubicBezTo>
                  <a:cubicBezTo>
                    <a:pt x="120" y="161"/>
                    <a:pt x="120" y="161"/>
                    <a:pt x="120" y="161"/>
                  </a:cubicBezTo>
                  <a:cubicBezTo>
                    <a:pt x="116" y="160"/>
                    <a:pt x="116" y="160"/>
                    <a:pt x="116" y="160"/>
                  </a:cubicBezTo>
                  <a:cubicBezTo>
                    <a:pt x="111" y="160"/>
                    <a:pt x="109" y="158"/>
                    <a:pt x="108" y="154"/>
                  </a:cubicBezTo>
                  <a:cubicBezTo>
                    <a:pt x="108" y="153"/>
                    <a:pt x="108" y="153"/>
                    <a:pt x="108" y="153"/>
                  </a:cubicBezTo>
                  <a:cubicBezTo>
                    <a:pt x="108" y="152"/>
                    <a:pt x="108" y="151"/>
                    <a:pt x="107" y="151"/>
                  </a:cubicBezTo>
                  <a:cubicBezTo>
                    <a:pt x="107" y="150"/>
                    <a:pt x="107" y="150"/>
                    <a:pt x="107" y="150"/>
                  </a:cubicBezTo>
                  <a:cubicBezTo>
                    <a:pt x="107" y="150"/>
                    <a:pt x="105" y="148"/>
                    <a:pt x="104" y="148"/>
                  </a:cubicBezTo>
                  <a:cubicBezTo>
                    <a:pt x="104" y="147"/>
                    <a:pt x="103" y="147"/>
                    <a:pt x="103" y="147"/>
                  </a:cubicBezTo>
                  <a:cubicBezTo>
                    <a:pt x="101" y="144"/>
                    <a:pt x="101" y="144"/>
                    <a:pt x="101" y="144"/>
                  </a:cubicBezTo>
                  <a:cubicBezTo>
                    <a:pt x="99" y="143"/>
                    <a:pt x="97" y="141"/>
                    <a:pt x="96" y="140"/>
                  </a:cubicBezTo>
                  <a:cubicBezTo>
                    <a:pt x="95" y="139"/>
                    <a:pt x="95" y="139"/>
                    <a:pt x="95" y="139"/>
                  </a:cubicBezTo>
                  <a:cubicBezTo>
                    <a:pt x="94" y="138"/>
                    <a:pt x="94" y="138"/>
                    <a:pt x="94" y="138"/>
                  </a:cubicBezTo>
                  <a:cubicBezTo>
                    <a:pt x="94" y="138"/>
                    <a:pt x="94" y="137"/>
                    <a:pt x="94" y="137"/>
                  </a:cubicBezTo>
                  <a:cubicBezTo>
                    <a:pt x="93" y="136"/>
                    <a:pt x="93" y="136"/>
                    <a:pt x="93" y="136"/>
                  </a:cubicBezTo>
                  <a:cubicBezTo>
                    <a:pt x="92" y="134"/>
                    <a:pt x="90" y="130"/>
                    <a:pt x="90" y="127"/>
                  </a:cubicBezTo>
                  <a:cubicBezTo>
                    <a:pt x="90" y="125"/>
                    <a:pt x="91" y="123"/>
                    <a:pt x="92" y="122"/>
                  </a:cubicBezTo>
                  <a:cubicBezTo>
                    <a:pt x="93" y="121"/>
                    <a:pt x="94" y="118"/>
                    <a:pt x="95" y="117"/>
                  </a:cubicBezTo>
                  <a:cubicBezTo>
                    <a:pt x="95" y="116"/>
                    <a:pt x="95" y="116"/>
                    <a:pt x="95" y="116"/>
                  </a:cubicBezTo>
                  <a:cubicBezTo>
                    <a:pt x="95" y="115"/>
                    <a:pt x="95" y="115"/>
                    <a:pt x="95" y="114"/>
                  </a:cubicBezTo>
                  <a:cubicBezTo>
                    <a:pt x="95" y="112"/>
                    <a:pt x="95" y="112"/>
                    <a:pt x="95" y="112"/>
                  </a:cubicBezTo>
                  <a:cubicBezTo>
                    <a:pt x="96" y="112"/>
                    <a:pt x="96" y="112"/>
                    <a:pt x="96" y="112"/>
                  </a:cubicBezTo>
                  <a:cubicBezTo>
                    <a:pt x="97" y="110"/>
                    <a:pt x="98" y="108"/>
                    <a:pt x="98" y="107"/>
                  </a:cubicBezTo>
                  <a:cubicBezTo>
                    <a:pt x="98" y="107"/>
                    <a:pt x="98" y="107"/>
                    <a:pt x="98" y="107"/>
                  </a:cubicBezTo>
                  <a:cubicBezTo>
                    <a:pt x="97" y="105"/>
                    <a:pt x="97" y="105"/>
                    <a:pt x="97" y="105"/>
                  </a:cubicBezTo>
                  <a:cubicBezTo>
                    <a:pt x="97" y="102"/>
                    <a:pt x="95" y="100"/>
                    <a:pt x="94" y="97"/>
                  </a:cubicBezTo>
                  <a:cubicBezTo>
                    <a:pt x="94" y="96"/>
                    <a:pt x="94" y="96"/>
                    <a:pt x="94" y="96"/>
                  </a:cubicBezTo>
                  <a:cubicBezTo>
                    <a:pt x="94" y="96"/>
                    <a:pt x="94" y="95"/>
                    <a:pt x="93" y="95"/>
                  </a:cubicBezTo>
                  <a:cubicBezTo>
                    <a:pt x="92" y="95"/>
                    <a:pt x="90" y="96"/>
                    <a:pt x="89" y="96"/>
                  </a:cubicBezTo>
                  <a:cubicBezTo>
                    <a:pt x="88" y="96"/>
                    <a:pt x="88" y="96"/>
                    <a:pt x="88" y="96"/>
                  </a:cubicBezTo>
                  <a:cubicBezTo>
                    <a:pt x="79" y="98"/>
                    <a:pt x="79" y="98"/>
                    <a:pt x="79" y="98"/>
                  </a:cubicBezTo>
                  <a:cubicBezTo>
                    <a:pt x="78" y="98"/>
                    <a:pt x="78" y="98"/>
                    <a:pt x="78" y="98"/>
                  </a:cubicBezTo>
                  <a:cubicBezTo>
                    <a:pt x="77" y="98"/>
                    <a:pt x="77" y="98"/>
                    <a:pt x="76" y="98"/>
                  </a:cubicBezTo>
                  <a:cubicBezTo>
                    <a:pt x="75" y="97"/>
                    <a:pt x="75" y="97"/>
                    <a:pt x="75" y="97"/>
                  </a:cubicBezTo>
                  <a:cubicBezTo>
                    <a:pt x="75" y="96"/>
                    <a:pt x="74" y="96"/>
                    <a:pt x="74" y="95"/>
                  </a:cubicBezTo>
                  <a:cubicBezTo>
                    <a:pt x="74" y="95"/>
                    <a:pt x="74" y="95"/>
                    <a:pt x="74" y="95"/>
                  </a:cubicBezTo>
                  <a:cubicBezTo>
                    <a:pt x="72" y="92"/>
                    <a:pt x="70" y="89"/>
                    <a:pt x="68" y="87"/>
                  </a:cubicBezTo>
                  <a:cubicBezTo>
                    <a:pt x="67" y="86"/>
                    <a:pt x="67" y="86"/>
                    <a:pt x="67" y="86"/>
                  </a:cubicBezTo>
                  <a:cubicBezTo>
                    <a:pt x="67" y="86"/>
                    <a:pt x="67" y="86"/>
                    <a:pt x="67" y="86"/>
                  </a:cubicBezTo>
                  <a:cubicBezTo>
                    <a:pt x="0" y="108"/>
                    <a:pt x="0" y="108"/>
                    <a:pt x="0" y="108"/>
                  </a:cubicBezTo>
                  <a:cubicBezTo>
                    <a:pt x="1" y="110"/>
                    <a:pt x="2" y="114"/>
                    <a:pt x="3" y="116"/>
                  </a:cubicBezTo>
                  <a:cubicBezTo>
                    <a:pt x="3" y="117"/>
                    <a:pt x="4" y="117"/>
                    <a:pt x="4" y="118"/>
                  </a:cubicBezTo>
                  <a:cubicBezTo>
                    <a:pt x="4" y="118"/>
                    <a:pt x="4" y="118"/>
                    <a:pt x="4" y="118"/>
                  </a:cubicBezTo>
                  <a:cubicBezTo>
                    <a:pt x="4" y="119"/>
                    <a:pt x="4" y="119"/>
                    <a:pt x="4" y="119"/>
                  </a:cubicBezTo>
                  <a:cubicBezTo>
                    <a:pt x="5" y="120"/>
                    <a:pt x="5" y="120"/>
                    <a:pt x="5" y="120"/>
                  </a:cubicBezTo>
                  <a:cubicBezTo>
                    <a:pt x="5" y="121"/>
                    <a:pt x="5" y="121"/>
                    <a:pt x="5" y="121"/>
                  </a:cubicBezTo>
                  <a:cubicBezTo>
                    <a:pt x="5" y="122"/>
                    <a:pt x="5" y="122"/>
                    <a:pt x="5" y="122"/>
                  </a:cubicBezTo>
                  <a:cubicBezTo>
                    <a:pt x="5" y="123"/>
                    <a:pt x="5" y="123"/>
                    <a:pt x="5" y="124"/>
                  </a:cubicBezTo>
                  <a:cubicBezTo>
                    <a:pt x="5" y="126"/>
                    <a:pt x="5" y="126"/>
                    <a:pt x="5" y="127"/>
                  </a:cubicBezTo>
                  <a:cubicBezTo>
                    <a:pt x="5" y="127"/>
                    <a:pt x="5" y="127"/>
                    <a:pt x="5" y="127"/>
                  </a:cubicBezTo>
                  <a:cubicBezTo>
                    <a:pt x="6" y="128"/>
                    <a:pt x="6" y="128"/>
                    <a:pt x="6" y="128"/>
                  </a:cubicBezTo>
                  <a:cubicBezTo>
                    <a:pt x="6" y="128"/>
                    <a:pt x="8" y="128"/>
                    <a:pt x="11" y="128"/>
                  </a:cubicBezTo>
                  <a:cubicBezTo>
                    <a:pt x="12" y="128"/>
                    <a:pt x="13" y="128"/>
                    <a:pt x="13" y="128"/>
                  </a:cubicBezTo>
                  <a:cubicBezTo>
                    <a:pt x="14" y="128"/>
                    <a:pt x="15" y="128"/>
                    <a:pt x="15" y="128"/>
                  </a:cubicBezTo>
                  <a:cubicBezTo>
                    <a:pt x="17" y="128"/>
                    <a:pt x="18" y="129"/>
                    <a:pt x="20" y="129"/>
                  </a:cubicBezTo>
                  <a:cubicBezTo>
                    <a:pt x="43" y="138"/>
                    <a:pt x="43" y="138"/>
                    <a:pt x="43" y="138"/>
                  </a:cubicBezTo>
                  <a:cubicBezTo>
                    <a:pt x="44" y="139"/>
                    <a:pt x="46" y="140"/>
                    <a:pt x="47" y="141"/>
                  </a:cubicBezTo>
                  <a:cubicBezTo>
                    <a:pt x="52" y="143"/>
                    <a:pt x="56" y="144"/>
                    <a:pt x="60" y="144"/>
                  </a:cubicBezTo>
                  <a:cubicBezTo>
                    <a:pt x="60" y="144"/>
                    <a:pt x="60" y="144"/>
                    <a:pt x="60" y="144"/>
                  </a:cubicBezTo>
                  <a:cubicBezTo>
                    <a:pt x="61" y="145"/>
                    <a:pt x="61" y="145"/>
                    <a:pt x="61" y="145"/>
                  </a:cubicBezTo>
                  <a:cubicBezTo>
                    <a:pt x="61" y="145"/>
                    <a:pt x="62" y="145"/>
                    <a:pt x="62" y="145"/>
                  </a:cubicBezTo>
                  <a:cubicBezTo>
                    <a:pt x="62" y="145"/>
                    <a:pt x="63" y="145"/>
                    <a:pt x="63" y="145"/>
                  </a:cubicBezTo>
                  <a:cubicBezTo>
                    <a:pt x="64" y="146"/>
                    <a:pt x="64" y="146"/>
                    <a:pt x="64" y="146"/>
                  </a:cubicBezTo>
                  <a:cubicBezTo>
                    <a:pt x="65" y="146"/>
                    <a:pt x="65" y="147"/>
                    <a:pt x="65" y="148"/>
                  </a:cubicBezTo>
                  <a:cubicBezTo>
                    <a:pt x="65" y="148"/>
                    <a:pt x="65" y="148"/>
                    <a:pt x="65" y="148"/>
                  </a:cubicBezTo>
                  <a:cubicBezTo>
                    <a:pt x="65" y="149"/>
                    <a:pt x="65" y="149"/>
                    <a:pt x="65" y="149"/>
                  </a:cubicBezTo>
                  <a:cubicBezTo>
                    <a:pt x="65" y="149"/>
                    <a:pt x="65" y="149"/>
                    <a:pt x="65" y="149"/>
                  </a:cubicBezTo>
                  <a:cubicBezTo>
                    <a:pt x="64" y="150"/>
                    <a:pt x="64" y="150"/>
                    <a:pt x="64" y="150"/>
                  </a:cubicBezTo>
                  <a:cubicBezTo>
                    <a:pt x="64" y="151"/>
                    <a:pt x="64" y="151"/>
                    <a:pt x="64" y="151"/>
                  </a:cubicBezTo>
                  <a:cubicBezTo>
                    <a:pt x="64" y="152"/>
                    <a:pt x="64" y="152"/>
                    <a:pt x="64" y="152"/>
                  </a:cubicBezTo>
                  <a:cubicBezTo>
                    <a:pt x="64" y="153"/>
                    <a:pt x="64" y="153"/>
                    <a:pt x="64" y="153"/>
                  </a:cubicBezTo>
                  <a:cubicBezTo>
                    <a:pt x="64" y="153"/>
                    <a:pt x="64" y="154"/>
                    <a:pt x="65" y="155"/>
                  </a:cubicBezTo>
                  <a:cubicBezTo>
                    <a:pt x="65" y="156"/>
                    <a:pt x="65" y="157"/>
                    <a:pt x="65" y="158"/>
                  </a:cubicBezTo>
                  <a:cubicBezTo>
                    <a:pt x="66" y="162"/>
                    <a:pt x="66" y="165"/>
                    <a:pt x="66" y="169"/>
                  </a:cubicBezTo>
                  <a:cubicBezTo>
                    <a:pt x="66" y="171"/>
                    <a:pt x="66" y="172"/>
                    <a:pt x="66" y="174"/>
                  </a:cubicBezTo>
                  <a:cubicBezTo>
                    <a:pt x="66" y="178"/>
                    <a:pt x="66" y="182"/>
                    <a:pt x="66" y="185"/>
                  </a:cubicBezTo>
                  <a:cubicBezTo>
                    <a:pt x="67" y="186"/>
                    <a:pt x="67" y="186"/>
                    <a:pt x="67" y="186"/>
                  </a:cubicBezTo>
                  <a:cubicBezTo>
                    <a:pt x="66" y="187"/>
                    <a:pt x="66" y="187"/>
                    <a:pt x="66" y="187"/>
                  </a:cubicBezTo>
                  <a:cubicBezTo>
                    <a:pt x="66" y="189"/>
                    <a:pt x="65" y="190"/>
                    <a:pt x="64" y="191"/>
                  </a:cubicBezTo>
                  <a:cubicBezTo>
                    <a:pt x="63" y="192"/>
                    <a:pt x="63" y="192"/>
                    <a:pt x="63" y="192"/>
                  </a:cubicBezTo>
                  <a:cubicBezTo>
                    <a:pt x="63" y="193"/>
                    <a:pt x="63" y="193"/>
                    <a:pt x="63" y="193"/>
                  </a:cubicBezTo>
                  <a:cubicBezTo>
                    <a:pt x="63" y="193"/>
                    <a:pt x="63" y="193"/>
                    <a:pt x="62" y="194"/>
                  </a:cubicBezTo>
                  <a:cubicBezTo>
                    <a:pt x="61" y="194"/>
                    <a:pt x="61" y="194"/>
                    <a:pt x="61" y="194"/>
                  </a:cubicBezTo>
                  <a:cubicBezTo>
                    <a:pt x="62" y="194"/>
                    <a:pt x="62" y="194"/>
                    <a:pt x="62" y="194"/>
                  </a:cubicBezTo>
                  <a:cubicBezTo>
                    <a:pt x="62" y="197"/>
                    <a:pt x="61" y="198"/>
                    <a:pt x="60" y="200"/>
                  </a:cubicBezTo>
                  <a:cubicBezTo>
                    <a:pt x="59" y="200"/>
                    <a:pt x="59" y="200"/>
                    <a:pt x="59" y="200"/>
                  </a:cubicBezTo>
                  <a:cubicBezTo>
                    <a:pt x="60" y="200"/>
                    <a:pt x="60" y="200"/>
                    <a:pt x="60" y="200"/>
                  </a:cubicBezTo>
                  <a:cubicBezTo>
                    <a:pt x="60" y="201"/>
                    <a:pt x="61" y="201"/>
                    <a:pt x="61" y="202"/>
                  </a:cubicBezTo>
                  <a:cubicBezTo>
                    <a:pt x="61" y="202"/>
                    <a:pt x="62" y="203"/>
                    <a:pt x="62" y="203"/>
                  </a:cubicBezTo>
                  <a:cubicBezTo>
                    <a:pt x="63" y="206"/>
                    <a:pt x="62" y="209"/>
                    <a:pt x="62" y="212"/>
                  </a:cubicBezTo>
                  <a:cubicBezTo>
                    <a:pt x="62" y="214"/>
                    <a:pt x="62" y="215"/>
                    <a:pt x="62" y="217"/>
                  </a:cubicBezTo>
                  <a:cubicBezTo>
                    <a:pt x="62" y="217"/>
                    <a:pt x="62" y="217"/>
                    <a:pt x="62" y="217"/>
                  </a:cubicBezTo>
                  <a:cubicBezTo>
                    <a:pt x="63" y="217"/>
                    <a:pt x="63" y="217"/>
                    <a:pt x="64" y="217"/>
                  </a:cubicBezTo>
                  <a:cubicBezTo>
                    <a:pt x="64" y="218"/>
                    <a:pt x="64" y="218"/>
                    <a:pt x="64" y="218"/>
                  </a:cubicBezTo>
                  <a:cubicBezTo>
                    <a:pt x="66" y="220"/>
                    <a:pt x="66" y="220"/>
                    <a:pt x="66" y="220"/>
                  </a:cubicBezTo>
                  <a:cubicBezTo>
                    <a:pt x="67" y="223"/>
                    <a:pt x="67" y="224"/>
                    <a:pt x="66" y="227"/>
                  </a:cubicBezTo>
                  <a:cubicBezTo>
                    <a:pt x="65" y="229"/>
                    <a:pt x="64" y="232"/>
                    <a:pt x="63" y="234"/>
                  </a:cubicBezTo>
                  <a:cubicBezTo>
                    <a:pt x="61" y="237"/>
                    <a:pt x="59" y="240"/>
                    <a:pt x="58" y="241"/>
                  </a:cubicBezTo>
                  <a:cubicBezTo>
                    <a:pt x="57" y="242"/>
                    <a:pt x="56" y="243"/>
                    <a:pt x="56" y="243"/>
                  </a:cubicBezTo>
                  <a:cubicBezTo>
                    <a:pt x="55" y="243"/>
                    <a:pt x="55" y="243"/>
                    <a:pt x="55" y="243"/>
                  </a:cubicBezTo>
                  <a:cubicBezTo>
                    <a:pt x="54" y="243"/>
                    <a:pt x="54" y="243"/>
                    <a:pt x="54" y="243"/>
                  </a:cubicBezTo>
                  <a:cubicBezTo>
                    <a:pt x="53" y="244"/>
                    <a:pt x="53" y="247"/>
                    <a:pt x="53" y="248"/>
                  </a:cubicBezTo>
                  <a:cubicBezTo>
                    <a:pt x="52" y="248"/>
                    <a:pt x="52" y="249"/>
                    <a:pt x="52" y="249"/>
                  </a:cubicBezTo>
                  <a:cubicBezTo>
                    <a:pt x="52" y="250"/>
                    <a:pt x="52" y="250"/>
                    <a:pt x="52" y="250"/>
                  </a:cubicBezTo>
                  <a:cubicBezTo>
                    <a:pt x="52" y="251"/>
                    <a:pt x="51" y="253"/>
                    <a:pt x="51" y="255"/>
                  </a:cubicBezTo>
                  <a:cubicBezTo>
                    <a:pt x="51" y="255"/>
                    <a:pt x="52" y="257"/>
                    <a:pt x="52" y="257"/>
                  </a:cubicBezTo>
                  <a:cubicBezTo>
                    <a:pt x="56" y="264"/>
                    <a:pt x="56" y="264"/>
                    <a:pt x="56" y="264"/>
                  </a:cubicBezTo>
                  <a:cubicBezTo>
                    <a:pt x="49" y="263"/>
                    <a:pt x="49" y="263"/>
                    <a:pt x="49" y="263"/>
                  </a:cubicBezTo>
                  <a:cubicBezTo>
                    <a:pt x="49" y="263"/>
                    <a:pt x="48" y="264"/>
                    <a:pt x="48" y="264"/>
                  </a:cubicBezTo>
                  <a:cubicBezTo>
                    <a:pt x="45" y="267"/>
                    <a:pt x="42" y="271"/>
                    <a:pt x="40" y="272"/>
                  </a:cubicBezTo>
                  <a:cubicBezTo>
                    <a:pt x="39" y="273"/>
                    <a:pt x="39" y="274"/>
                    <a:pt x="38" y="275"/>
                  </a:cubicBezTo>
                  <a:cubicBezTo>
                    <a:pt x="29" y="285"/>
                    <a:pt x="29" y="285"/>
                    <a:pt x="29" y="285"/>
                  </a:cubicBezTo>
                  <a:cubicBezTo>
                    <a:pt x="28" y="285"/>
                    <a:pt x="28" y="285"/>
                    <a:pt x="28" y="285"/>
                  </a:cubicBezTo>
                  <a:cubicBezTo>
                    <a:pt x="27" y="286"/>
                    <a:pt x="27" y="286"/>
                    <a:pt x="26" y="287"/>
                  </a:cubicBezTo>
                  <a:cubicBezTo>
                    <a:pt x="26" y="287"/>
                    <a:pt x="26" y="287"/>
                    <a:pt x="26" y="287"/>
                  </a:cubicBezTo>
                  <a:cubicBezTo>
                    <a:pt x="26" y="289"/>
                    <a:pt x="26" y="289"/>
                    <a:pt x="26" y="289"/>
                  </a:cubicBezTo>
                  <a:cubicBezTo>
                    <a:pt x="27" y="290"/>
                    <a:pt x="27" y="291"/>
                    <a:pt x="28" y="293"/>
                  </a:cubicBezTo>
                  <a:cubicBezTo>
                    <a:pt x="28" y="294"/>
                    <a:pt x="28" y="294"/>
                    <a:pt x="28" y="294"/>
                  </a:cubicBezTo>
                  <a:cubicBezTo>
                    <a:pt x="29" y="297"/>
                    <a:pt x="31" y="301"/>
                    <a:pt x="31" y="304"/>
                  </a:cubicBezTo>
                  <a:cubicBezTo>
                    <a:pt x="31" y="305"/>
                    <a:pt x="31" y="306"/>
                    <a:pt x="32" y="307"/>
                  </a:cubicBezTo>
                  <a:cubicBezTo>
                    <a:pt x="35" y="307"/>
                    <a:pt x="35" y="307"/>
                    <a:pt x="35" y="307"/>
                  </a:cubicBezTo>
                  <a:cubicBezTo>
                    <a:pt x="32" y="308"/>
                    <a:pt x="32" y="308"/>
                    <a:pt x="32" y="308"/>
                  </a:cubicBezTo>
                  <a:cubicBezTo>
                    <a:pt x="32" y="308"/>
                    <a:pt x="32" y="308"/>
                    <a:pt x="32" y="308"/>
                  </a:cubicBezTo>
                  <a:cubicBezTo>
                    <a:pt x="31" y="311"/>
                    <a:pt x="31" y="312"/>
                    <a:pt x="33" y="314"/>
                  </a:cubicBezTo>
                  <a:cubicBezTo>
                    <a:pt x="38" y="323"/>
                    <a:pt x="38" y="323"/>
                    <a:pt x="38" y="323"/>
                  </a:cubicBezTo>
                  <a:cubicBezTo>
                    <a:pt x="41" y="326"/>
                    <a:pt x="41" y="332"/>
                    <a:pt x="41" y="336"/>
                  </a:cubicBezTo>
                  <a:cubicBezTo>
                    <a:pt x="41" y="340"/>
                    <a:pt x="41" y="340"/>
                    <a:pt x="41" y="340"/>
                  </a:cubicBezTo>
                  <a:cubicBezTo>
                    <a:pt x="42" y="345"/>
                    <a:pt x="42" y="351"/>
                    <a:pt x="42" y="356"/>
                  </a:cubicBezTo>
                  <a:cubicBezTo>
                    <a:pt x="42" y="357"/>
                    <a:pt x="42" y="358"/>
                    <a:pt x="42" y="359"/>
                  </a:cubicBezTo>
                  <a:cubicBezTo>
                    <a:pt x="42" y="360"/>
                    <a:pt x="42" y="360"/>
                    <a:pt x="42" y="360"/>
                  </a:cubicBezTo>
                  <a:cubicBezTo>
                    <a:pt x="42" y="361"/>
                    <a:pt x="42" y="363"/>
                    <a:pt x="42" y="364"/>
                  </a:cubicBezTo>
                  <a:cubicBezTo>
                    <a:pt x="42" y="365"/>
                    <a:pt x="42" y="365"/>
                    <a:pt x="42" y="366"/>
                  </a:cubicBezTo>
                  <a:cubicBezTo>
                    <a:pt x="43" y="367"/>
                    <a:pt x="42" y="369"/>
                    <a:pt x="42" y="371"/>
                  </a:cubicBezTo>
                  <a:cubicBezTo>
                    <a:pt x="42" y="371"/>
                    <a:pt x="42" y="371"/>
                    <a:pt x="42" y="371"/>
                  </a:cubicBezTo>
                  <a:cubicBezTo>
                    <a:pt x="42" y="372"/>
                    <a:pt x="42" y="372"/>
                    <a:pt x="42" y="373"/>
                  </a:cubicBezTo>
                  <a:cubicBezTo>
                    <a:pt x="42" y="373"/>
                    <a:pt x="42" y="373"/>
                    <a:pt x="43" y="374"/>
                  </a:cubicBezTo>
                  <a:cubicBezTo>
                    <a:pt x="43" y="374"/>
                    <a:pt x="43" y="374"/>
                    <a:pt x="43" y="374"/>
                  </a:cubicBezTo>
                  <a:cubicBezTo>
                    <a:pt x="43" y="374"/>
                    <a:pt x="44" y="375"/>
                    <a:pt x="44" y="376"/>
                  </a:cubicBezTo>
                  <a:cubicBezTo>
                    <a:pt x="44" y="376"/>
                    <a:pt x="44" y="376"/>
                    <a:pt x="44" y="376"/>
                  </a:cubicBezTo>
                  <a:cubicBezTo>
                    <a:pt x="44" y="376"/>
                    <a:pt x="44" y="376"/>
                    <a:pt x="44" y="376"/>
                  </a:cubicBezTo>
                  <a:cubicBezTo>
                    <a:pt x="45" y="395"/>
                    <a:pt x="45" y="395"/>
                    <a:pt x="45" y="395"/>
                  </a:cubicBezTo>
                  <a:cubicBezTo>
                    <a:pt x="45" y="395"/>
                    <a:pt x="46" y="395"/>
                    <a:pt x="47" y="395"/>
                  </a:cubicBezTo>
                  <a:cubicBezTo>
                    <a:pt x="48" y="395"/>
                    <a:pt x="49" y="395"/>
                    <a:pt x="50" y="395"/>
                  </a:cubicBezTo>
                  <a:cubicBezTo>
                    <a:pt x="50" y="395"/>
                    <a:pt x="50" y="395"/>
                    <a:pt x="51" y="395"/>
                  </a:cubicBezTo>
                  <a:cubicBezTo>
                    <a:pt x="52" y="395"/>
                    <a:pt x="54" y="395"/>
                    <a:pt x="55" y="395"/>
                  </a:cubicBezTo>
                  <a:cubicBezTo>
                    <a:pt x="58" y="395"/>
                    <a:pt x="58" y="395"/>
                    <a:pt x="58" y="395"/>
                  </a:cubicBezTo>
                  <a:cubicBezTo>
                    <a:pt x="59" y="395"/>
                    <a:pt x="60" y="395"/>
                    <a:pt x="60" y="395"/>
                  </a:cubicBezTo>
                  <a:cubicBezTo>
                    <a:pt x="61" y="390"/>
                    <a:pt x="61" y="380"/>
                    <a:pt x="61" y="378"/>
                  </a:cubicBezTo>
                  <a:cubicBezTo>
                    <a:pt x="59" y="379"/>
                    <a:pt x="60" y="383"/>
                    <a:pt x="59" y="383"/>
                  </a:cubicBezTo>
                  <a:cubicBezTo>
                    <a:pt x="56" y="381"/>
                    <a:pt x="56" y="381"/>
                    <a:pt x="56" y="381"/>
                  </a:cubicBezTo>
                  <a:cubicBezTo>
                    <a:pt x="54" y="379"/>
                    <a:pt x="53" y="377"/>
                    <a:pt x="50" y="376"/>
                  </a:cubicBezTo>
                  <a:cubicBezTo>
                    <a:pt x="51" y="375"/>
                    <a:pt x="51" y="375"/>
                    <a:pt x="52" y="375"/>
                  </a:cubicBezTo>
                  <a:cubicBezTo>
                    <a:pt x="52" y="375"/>
                    <a:pt x="52" y="375"/>
                    <a:pt x="52" y="375"/>
                  </a:cubicBezTo>
                  <a:cubicBezTo>
                    <a:pt x="52" y="375"/>
                    <a:pt x="52" y="375"/>
                    <a:pt x="53" y="375"/>
                  </a:cubicBezTo>
                  <a:cubicBezTo>
                    <a:pt x="53" y="375"/>
                    <a:pt x="54" y="375"/>
                    <a:pt x="54" y="374"/>
                  </a:cubicBezTo>
                  <a:cubicBezTo>
                    <a:pt x="56" y="373"/>
                    <a:pt x="56" y="371"/>
                    <a:pt x="57" y="370"/>
                  </a:cubicBezTo>
                  <a:cubicBezTo>
                    <a:pt x="58" y="367"/>
                    <a:pt x="59" y="365"/>
                    <a:pt x="62" y="363"/>
                  </a:cubicBezTo>
                  <a:cubicBezTo>
                    <a:pt x="71" y="357"/>
                    <a:pt x="83" y="353"/>
                    <a:pt x="94" y="349"/>
                  </a:cubicBezTo>
                  <a:cubicBezTo>
                    <a:pt x="101" y="346"/>
                    <a:pt x="110" y="343"/>
                    <a:pt x="115" y="337"/>
                  </a:cubicBezTo>
                  <a:cubicBezTo>
                    <a:pt x="117" y="335"/>
                    <a:pt x="119" y="333"/>
                    <a:pt x="120" y="330"/>
                  </a:cubicBezTo>
                  <a:cubicBezTo>
                    <a:pt x="122" y="327"/>
                    <a:pt x="122" y="324"/>
                    <a:pt x="122" y="321"/>
                  </a:cubicBezTo>
                  <a:cubicBezTo>
                    <a:pt x="121" y="322"/>
                    <a:pt x="120" y="324"/>
                    <a:pt x="119" y="324"/>
                  </a:cubicBezTo>
                  <a:cubicBezTo>
                    <a:pt x="118" y="324"/>
                    <a:pt x="118" y="324"/>
                    <a:pt x="118" y="323"/>
                  </a:cubicBezTo>
                  <a:cubicBezTo>
                    <a:pt x="118" y="322"/>
                    <a:pt x="118" y="322"/>
                    <a:pt x="118" y="322"/>
                  </a:cubicBezTo>
                  <a:cubicBezTo>
                    <a:pt x="118" y="320"/>
                    <a:pt x="118" y="318"/>
                    <a:pt x="118" y="318"/>
                  </a:cubicBezTo>
                  <a:cubicBezTo>
                    <a:pt x="118" y="318"/>
                    <a:pt x="119" y="319"/>
                    <a:pt x="119" y="320"/>
                  </a:cubicBezTo>
                  <a:cubicBezTo>
                    <a:pt x="120" y="317"/>
                    <a:pt x="120" y="314"/>
                    <a:pt x="120" y="312"/>
                  </a:cubicBezTo>
                  <a:cubicBezTo>
                    <a:pt x="121" y="301"/>
                    <a:pt x="122" y="291"/>
                    <a:pt x="123" y="281"/>
                  </a:cubicBezTo>
                  <a:cubicBezTo>
                    <a:pt x="122" y="282"/>
                    <a:pt x="122" y="282"/>
                    <a:pt x="122" y="283"/>
                  </a:cubicBezTo>
                  <a:cubicBezTo>
                    <a:pt x="122" y="281"/>
                    <a:pt x="121" y="279"/>
                    <a:pt x="121" y="279"/>
                  </a:cubicBezTo>
                  <a:cubicBezTo>
                    <a:pt x="120" y="279"/>
                    <a:pt x="120" y="280"/>
                    <a:pt x="120" y="282"/>
                  </a:cubicBezTo>
                  <a:cubicBezTo>
                    <a:pt x="119" y="282"/>
                    <a:pt x="119" y="282"/>
                    <a:pt x="119" y="282"/>
                  </a:cubicBezTo>
                  <a:cubicBezTo>
                    <a:pt x="119" y="282"/>
                    <a:pt x="119" y="283"/>
                    <a:pt x="119" y="284"/>
                  </a:cubicBezTo>
                  <a:cubicBezTo>
                    <a:pt x="118" y="279"/>
                    <a:pt x="118" y="272"/>
                    <a:pt x="116" y="267"/>
                  </a:cubicBezTo>
                  <a:cubicBezTo>
                    <a:pt x="115" y="265"/>
                    <a:pt x="114" y="263"/>
                    <a:pt x="113" y="260"/>
                  </a:cubicBezTo>
                  <a:cubicBezTo>
                    <a:pt x="112" y="258"/>
                    <a:pt x="110" y="255"/>
                    <a:pt x="111" y="253"/>
                  </a:cubicBezTo>
                  <a:cubicBezTo>
                    <a:pt x="112" y="252"/>
                    <a:pt x="113" y="251"/>
                    <a:pt x="111" y="250"/>
                  </a:cubicBezTo>
                  <a:cubicBezTo>
                    <a:pt x="110" y="248"/>
                    <a:pt x="108" y="247"/>
                    <a:pt x="107" y="245"/>
                  </a:cubicBezTo>
                  <a:cubicBezTo>
                    <a:pt x="103" y="242"/>
                    <a:pt x="102" y="241"/>
                    <a:pt x="101" y="237"/>
                  </a:cubicBezTo>
                  <a:cubicBezTo>
                    <a:pt x="101" y="237"/>
                    <a:pt x="101" y="237"/>
                    <a:pt x="102" y="237"/>
                  </a:cubicBezTo>
                  <a:cubicBezTo>
                    <a:pt x="103" y="237"/>
                    <a:pt x="102" y="233"/>
                    <a:pt x="102" y="231"/>
                  </a:cubicBezTo>
                  <a:cubicBezTo>
                    <a:pt x="103" y="232"/>
                    <a:pt x="103" y="232"/>
                    <a:pt x="103" y="232"/>
                  </a:cubicBezTo>
                  <a:cubicBezTo>
                    <a:pt x="104" y="232"/>
                    <a:pt x="104" y="232"/>
                    <a:pt x="104" y="232"/>
                  </a:cubicBezTo>
                  <a:cubicBezTo>
                    <a:pt x="105" y="231"/>
                    <a:pt x="104" y="228"/>
                    <a:pt x="104" y="228"/>
                  </a:cubicBezTo>
                  <a:cubicBezTo>
                    <a:pt x="104" y="226"/>
                    <a:pt x="105" y="223"/>
                    <a:pt x="104" y="222"/>
                  </a:cubicBezTo>
                  <a:cubicBezTo>
                    <a:pt x="103" y="221"/>
                    <a:pt x="98" y="217"/>
                    <a:pt x="99" y="217"/>
                  </a:cubicBezTo>
                  <a:cubicBezTo>
                    <a:pt x="99" y="217"/>
                    <a:pt x="100" y="217"/>
                    <a:pt x="100" y="217"/>
                  </a:cubicBezTo>
                  <a:cubicBezTo>
                    <a:pt x="101" y="217"/>
                    <a:pt x="103" y="220"/>
                    <a:pt x="104" y="221"/>
                  </a:cubicBezTo>
                  <a:cubicBezTo>
                    <a:pt x="106" y="222"/>
                    <a:pt x="106" y="223"/>
                    <a:pt x="107" y="223"/>
                  </a:cubicBezTo>
                  <a:cubicBezTo>
                    <a:pt x="107" y="223"/>
                    <a:pt x="108" y="223"/>
                    <a:pt x="109" y="223"/>
                  </a:cubicBezTo>
                  <a:cubicBezTo>
                    <a:pt x="110" y="222"/>
                    <a:pt x="112" y="221"/>
                    <a:pt x="113" y="220"/>
                  </a:cubicBezTo>
                  <a:cubicBezTo>
                    <a:pt x="117" y="217"/>
                    <a:pt x="120" y="214"/>
                    <a:pt x="123" y="210"/>
                  </a:cubicBezTo>
                  <a:cubicBezTo>
                    <a:pt x="124" y="208"/>
                    <a:pt x="126" y="206"/>
                    <a:pt x="128" y="204"/>
                  </a:cubicBezTo>
                  <a:cubicBezTo>
                    <a:pt x="129" y="203"/>
                    <a:pt x="129" y="202"/>
                    <a:pt x="130" y="202"/>
                  </a:cubicBezTo>
                  <a:cubicBezTo>
                    <a:pt x="130" y="202"/>
                    <a:pt x="130" y="202"/>
                    <a:pt x="130" y="202"/>
                  </a:cubicBezTo>
                  <a:cubicBezTo>
                    <a:pt x="131" y="202"/>
                    <a:pt x="131" y="202"/>
                    <a:pt x="131" y="202"/>
                  </a:cubicBezTo>
                  <a:cubicBezTo>
                    <a:pt x="132" y="202"/>
                    <a:pt x="132" y="201"/>
                    <a:pt x="133" y="200"/>
                  </a:cubicBezTo>
                  <a:cubicBezTo>
                    <a:pt x="134" y="199"/>
                    <a:pt x="135" y="199"/>
                    <a:pt x="136" y="199"/>
                  </a:cubicBezTo>
                  <a:cubicBezTo>
                    <a:pt x="137" y="199"/>
                    <a:pt x="138" y="199"/>
                    <a:pt x="140" y="200"/>
                  </a:cubicBezTo>
                  <a:cubicBezTo>
                    <a:pt x="139" y="198"/>
                    <a:pt x="140" y="197"/>
                    <a:pt x="142" y="197"/>
                  </a:cubicBezTo>
                  <a:cubicBezTo>
                    <a:pt x="142" y="197"/>
                    <a:pt x="142" y="197"/>
                    <a:pt x="143" y="197"/>
                  </a:cubicBezTo>
                  <a:cubicBezTo>
                    <a:pt x="143" y="195"/>
                    <a:pt x="149" y="189"/>
                    <a:pt x="151" y="187"/>
                  </a:cubicBezTo>
                  <a:cubicBezTo>
                    <a:pt x="152" y="186"/>
                    <a:pt x="156" y="182"/>
                    <a:pt x="156" y="180"/>
                  </a:cubicBezTo>
                  <a:cubicBezTo>
                    <a:pt x="156" y="179"/>
                    <a:pt x="155" y="179"/>
                    <a:pt x="154" y="178"/>
                  </a:cubicBezTo>
                  <a:cubicBezTo>
                    <a:pt x="153" y="176"/>
                    <a:pt x="153" y="176"/>
                    <a:pt x="154" y="176"/>
                  </a:cubicBezTo>
                  <a:cubicBezTo>
                    <a:pt x="154" y="176"/>
                    <a:pt x="155" y="176"/>
                    <a:pt x="155" y="177"/>
                  </a:cubicBezTo>
                  <a:cubicBezTo>
                    <a:pt x="160" y="175"/>
                    <a:pt x="165" y="170"/>
                    <a:pt x="170" y="167"/>
                  </a:cubicBezTo>
                  <a:cubicBezTo>
                    <a:pt x="174" y="166"/>
                    <a:pt x="177" y="165"/>
                    <a:pt x="181" y="163"/>
                  </a:cubicBezTo>
                  <a:cubicBezTo>
                    <a:pt x="183" y="161"/>
                    <a:pt x="182" y="160"/>
                    <a:pt x="184" y="159"/>
                  </a:cubicBezTo>
                  <a:cubicBezTo>
                    <a:pt x="185" y="157"/>
                    <a:pt x="191" y="156"/>
                    <a:pt x="193" y="156"/>
                  </a:cubicBezTo>
                  <a:cubicBezTo>
                    <a:pt x="197" y="154"/>
                    <a:pt x="201" y="153"/>
                    <a:pt x="205" y="152"/>
                  </a:cubicBezTo>
                  <a:cubicBezTo>
                    <a:pt x="211" y="150"/>
                    <a:pt x="216" y="146"/>
                    <a:pt x="221" y="142"/>
                  </a:cubicBezTo>
                  <a:cubicBezTo>
                    <a:pt x="227" y="139"/>
                    <a:pt x="230" y="131"/>
                    <a:pt x="234" y="125"/>
                  </a:cubicBezTo>
                  <a:cubicBezTo>
                    <a:pt x="238" y="119"/>
                    <a:pt x="243" y="114"/>
                    <a:pt x="245" y="108"/>
                  </a:cubicBezTo>
                  <a:cubicBezTo>
                    <a:pt x="246" y="105"/>
                    <a:pt x="244" y="105"/>
                    <a:pt x="244" y="104"/>
                  </a:cubicBezTo>
                  <a:cubicBezTo>
                    <a:pt x="244" y="102"/>
                    <a:pt x="246" y="103"/>
                    <a:pt x="247" y="101"/>
                  </a:cubicBezTo>
                  <a:cubicBezTo>
                    <a:pt x="248" y="100"/>
                    <a:pt x="247" y="95"/>
                    <a:pt x="247" y="94"/>
                  </a:cubicBezTo>
                  <a:cubicBezTo>
                    <a:pt x="247" y="92"/>
                    <a:pt x="246" y="92"/>
                    <a:pt x="246" y="92"/>
                  </a:cubicBezTo>
                  <a:cubicBezTo>
                    <a:pt x="245" y="92"/>
                    <a:pt x="244" y="94"/>
                    <a:pt x="243" y="95"/>
                  </a:cubicBezTo>
                  <a:cubicBezTo>
                    <a:pt x="243" y="93"/>
                    <a:pt x="246" y="90"/>
                    <a:pt x="244" y="88"/>
                  </a:cubicBezTo>
                  <a:cubicBezTo>
                    <a:pt x="244" y="87"/>
                    <a:pt x="244" y="87"/>
                    <a:pt x="243" y="87"/>
                  </a:cubicBezTo>
                  <a:cubicBezTo>
                    <a:pt x="243" y="87"/>
                    <a:pt x="242" y="87"/>
                    <a:pt x="241" y="88"/>
                  </a:cubicBezTo>
                  <a:cubicBezTo>
                    <a:pt x="241" y="86"/>
                    <a:pt x="243" y="84"/>
                    <a:pt x="242" y="82"/>
                  </a:cubicBezTo>
                  <a:cubicBezTo>
                    <a:pt x="242" y="80"/>
                    <a:pt x="242" y="79"/>
                    <a:pt x="241" y="77"/>
                  </a:cubicBezTo>
                  <a:cubicBezTo>
                    <a:pt x="241" y="75"/>
                    <a:pt x="240" y="72"/>
                    <a:pt x="240" y="70"/>
                  </a:cubicBezTo>
                  <a:cubicBezTo>
                    <a:pt x="240" y="66"/>
                    <a:pt x="241" y="63"/>
                    <a:pt x="241" y="60"/>
                  </a:cubicBezTo>
                  <a:cubicBezTo>
                    <a:pt x="241" y="58"/>
                    <a:pt x="241" y="58"/>
                    <a:pt x="240" y="57"/>
                  </a:cubicBezTo>
                  <a:cubicBezTo>
                    <a:pt x="240" y="57"/>
                    <a:pt x="239" y="57"/>
                    <a:pt x="239" y="57"/>
                  </a:cubicBezTo>
                  <a:cubicBezTo>
                    <a:pt x="239" y="57"/>
                    <a:pt x="239" y="57"/>
                    <a:pt x="239" y="57"/>
                  </a:cubicBezTo>
                  <a:cubicBezTo>
                    <a:pt x="239" y="57"/>
                    <a:pt x="238" y="57"/>
                    <a:pt x="238" y="57"/>
                  </a:cubicBezTo>
                  <a:cubicBezTo>
                    <a:pt x="238" y="57"/>
                    <a:pt x="238" y="57"/>
                    <a:pt x="238" y="56"/>
                  </a:cubicBezTo>
                  <a:cubicBezTo>
                    <a:pt x="241" y="53"/>
                    <a:pt x="241" y="53"/>
                    <a:pt x="241" y="53"/>
                  </a:cubicBezTo>
                  <a:cubicBezTo>
                    <a:pt x="242" y="51"/>
                    <a:pt x="242" y="52"/>
                    <a:pt x="242" y="50"/>
                  </a:cubicBezTo>
                  <a:cubicBezTo>
                    <a:pt x="242" y="48"/>
                    <a:pt x="241" y="46"/>
                    <a:pt x="241" y="44"/>
                  </a:cubicBezTo>
                  <a:cubicBezTo>
                    <a:pt x="240" y="39"/>
                    <a:pt x="240" y="33"/>
                    <a:pt x="239" y="28"/>
                  </a:cubicBezTo>
                  <a:cubicBezTo>
                    <a:pt x="239" y="23"/>
                    <a:pt x="239" y="21"/>
                    <a:pt x="236" y="18"/>
                  </a:cubicBezTo>
                  <a:cubicBezTo>
                    <a:pt x="239" y="16"/>
                    <a:pt x="239" y="13"/>
                    <a:pt x="239" y="9"/>
                  </a:cubicBezTo>
                  <a:cubicBezTo>
                    <a:pt x="239" y="8"/>
                    <a:pt x="243" y="7"/>
                    <a:pt x="240" y="5"/>
                  </a:cubicBezTo>
                  <a:cubicBezTo>
                    <a:pt x="238" y="4"/>
                    <a:pt x="241" y="3"/>
                    <a:pt x="243" y="3"/>
                  </a:cubicBezTo>
                  <a:cubicBezTo>
                    <a:pt x="242" y="2"/>
                    <a:pt x="241" y="1"/>
                    <a:pt x="2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310"/>
            <p:cNvSpPr/>
            <p:nvPr/>
          </p:nvSpPr>
          <p:spPr bwMode="auto">
            <a:xfrm>
              <a:off x="5306" y="2816"/>
              <a:ext cx="602" cy="587"/>
            </a:xfrm>
            <a:custGeom>
              <a:gdLst>
                <a:gd name="T0" fmla="*/ 30 w 255"/>
                <a:gd name="T1" fmla="*/ 7 h 248"/>
                <a:gd name="T2" fmla="*/ 33 w 255"/>
                <a:gd name="T3" fmla="*/ 19 h 248"/>
                <a:gd name="T4" fmla="*/ 30 w 255"/>
                <a:gd name="T5" fmla="*/ 31 h 248"/>
                <a:gd name="T6" fmla="*/ 30 w 255"/>
                <a:gd name="T7" fmla="*/ 33 h 248"/>
                <a:gd name="T8" fmla="*/ 34 w 255"/>
                <a:gd name="T9" fmla="*/ 39 h 248"/>
                <a:gd name="T10" fmla="*/ 34 w 255"/>
                <a:gd name="T11" fmla="*/ 55 h 248"/>
                <a:gd name="T12" fmla="*/ 30 w 255"/>
                <a:gd name="T13" fmla="*/ 59 h 248"/>
                <a:gd name="T14" fmla="*/ 19 w 255"/>
                <a:gd name="T15" fmla="*/ 80 h 248"/>
                <a:gd name="T16" fmla="*/ 5 w 255"/>
                <a:gd name="T17" fmla="*/ 83 h 248"/>
                <a:gd name="T18" fmla="*/ 3 w 255"/>
                <a:gd name="T19" fmla="*/ 91 h 248"/>
                <a:gd name="T20" fmla="*/ 7 w 255"/>
                <a:gd name="T21" fmla="*/ 114 h 248"/>
                <a:gd name="T22" fmla="*/ 9 w 255"/>
                <a:gd name="T23" fmla="*/ 127 h 248"/>
                <a:gd name="T24" fmla="*/ 22 w 255"/>
                <a:gd name="T25" fmla="*/ 136 h 248"/>
                <a:gd name="T26" fmla="*/ 36 w 255"/>
                <a:gd name="T27" fmla="*/ 176 h 248"/>
                <a:gd name="T28" fmla="*/ 37 w 255"/>
                <a:gd name="T29" fmla="*/ 175 h 248"/>
                <a:gd name="T30" fmla="*/ 46 w 255"/>
                <a:gd name="T31" fmla="*/ 177 h 248"/>
                <a:gd name="T32" fmla="*/ 56 w 255"/>
                <a:gd name="T33" fmla="*/ 183 h 248"/>
                <a:gd name="T34" fmla="*/ 70 w 255"/>
                <a:gd name="T35" fmla="*/ 188 h 248"/>
                <a:gd name="T36" fmla="*/ 83 w 255"/>
                <a:gd name="T37" fmla="*/ 193 h 248"/>
                <a:gd name="T38" fmla="*/ 101 w 255"/>
                <a:gd name="T39" fmla="*/ 199 h 248"/>
                <a:gd name="T40" fmla="*/ 105 w 255"/>
                <a:gd name="T41" fmla="*/ 197 h 248"/>
                <a:gd name="T42" fmla="*/ 125 w 255"/>
                <a:gd name="T43" fmla="*/ 244 h 248"/>
                <a:gd name="T44" fmla="*/ 141 w 255"/>
                <a:gd name="T45" fmla="*/ 245 h 248"/>
                <a:gd name="T46" fmla="*/ 151 w 255"/>
                <a:gd name="T47" fmla="*/ 242 h 248"/>
                <a:gd name="T48" fmla="*/ 155 w 255"/>
                <a:gd name="T49" fmla="*/ 244 h 248"/>
                <a:gd name="T50" fmla="*/ 169 w 255"/>
                <a:gd name="T51" fmla="*/ 246 h 248"/>
                <a:gd name="T52" fmla="*/ 185 w 255"/>
                <a:gd name="T53" fmla="*/ 247 h 248"/>
                <a:gd name="T54" fmla="*/ 192 w 255"/>
                <a:gd name="T55" fmla="*/ 242 h 248"/>
                <a:gd name="T56" fmla="*/ 195 w 255"/>
                <a:gd name="T57" fmla="*/ 239 h 248"/>
                <a:gd name="T58" fmla="*/ 211 w 255"/>
                <a:gd name="T59" fmla="*/ 239 h 248"/>
                <a:gd name="T60" fmla="*/ 224 w 255"/>
                <a:gd name="T61" fmla="*/ 234 h 248"/>
                <a:gd name="T62" fmla="*/ 227 w 255"/>
                <a:gd name="T63" fmla="*/ 234 h 248"/>
                <a:gd name="T64" fmla="*/ 255 w 255"/>
                <a:gd name="T65" fmla="*/ 218 h 248"/>
                <a:gd name="T66" fmla="*/ 246 w 255"/>
                <a:gd name="T67" fmla="*/ 214 h 248"/>
                <a:gd name="T68" fmla="*/ 239 w 255"/>
                <a:gd name="T69" fmla="*/ 210 h 248"/>
                <a:gd name="T70" fmla="*/ 230 w 255"/>
                <a:gd name="T71" fmla="*/ 175 h 248"/>
                <a:gd name="T72" fmla="*/ 221 w 255"/>
                <a:gd name="T73" fmla="*/ 125 h 248"/>
                <a:gd name="T74" fmla="*/ 226 w 255"/>
                <a:gd name="T75" fmla="*/ 86 h 248"/>
                <a:gd name="T76" fmla="*/ 211 w 255"/>
                <a:gd name="T77" fmla="*/ 76 h 248"/>
                <a:gd name="T78" fmla="*/ 189 w 255"/>
                <a:gd name="T79" fmla="*/ 59 h 248"/>
                <a:gd name="T80" fmla="*/ 188 w 255"/>
                <a:gd name="T81" fmla="*/ 49 h 248"/>
                <a:gd name="T82" fmla="*/ 185 w 255"/>
                <a:gd name="T83" fmla="*/ 47 h 248"/>
                <a:gd name="T84" fmla="*/ 143 w 255"/>
                <a:gd name="T85" fmla="*/ 22 h 248"/>
                <a:gd name="T86" fmla="*/ 100 w 255"/>
                <a:gd name="T87" fmla="*/ 5 h 248"/>
                <a:gd name="T88" fmla="*/ 97 w 255"/>
                <a:gd name="T89" fmla="*/ 9 h 248"/>
                <a:gd name="T90" fmla="*/ 96 w 255"/>
                <a:gd name="T91" fmla="*/ 15 h 248"/>
                <a:gd name="T92" fmla="*/ 88 w 255"/>
                <a:gd name="T93" fmla="*/ 22 h 248"/>
                <a:gd name="T94" fmla="*/ 90 w 255"/>
                <a:gd name="T95" fmla="*/ 34 h 248"/>
                <a:gd name="T96" fmla="*/ 86 w 255"/>
                <a:gd name="T97" fmla="*/ 32 h 248"/>
                <a:gd name="T98" fmla="*/ 80 w 255"/>
                <a:gd name="T99" fmla="*/ 31 h 248"/>
                <a:gd name="T100" fmla="*/ 75 w 255"/>
                <a:gd name="T101" fmla="*/ 44 h 248"/>
                <a:gd name="T102" fmla="*/ 77 w 255"/>
                <a:gd name="T103" fmla="*/ 33 h 248"/>
                <a:gd name="T104" fmla="*/ 69 w 255"/>
                <a:gd name="T105" fmla="*/ 34 h 248"/>
                <a:gd name="T106" fmla="*/ 60 w 255"/>
                <a:gd name="T107" fmla="*/ 33 h 248"/>
                <a:gd name="T108" fmla="*/ 57 w 255"/>
                <a:gd name="T109" fmla="*/ 38 h 248"/>
                <a:gd name="T110" fmla="*/ 50 w 255"/>
                <a:gd name="T111" fmla="*/ 28 h 2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5" h="248">
                  <a:moveTo>
                    <a:pt x="53" y="0"/>
                  </a:moveTo>
                  <a:cubicBezTo>
                    <a:pt x="53" y="0"/>
                    <a:pt x="52" y="0"/>
                    <a:pt x="52" y="0"/>
                  </a:cubicBezTo>
                  <a:cubicBezTo>
                    <a:pt x="42" y="0"/>
                    <a:pt x="33" y="1"/>
                    <a:pt x="26" y="1"/>
                  </a:cubicBezTo>
                  <a:cubicBezTo>
                    <a:pt x="30" y="7"/>
                    <a:pt x="30" y="7"/>
                    <a:pt x="30" y="7"/>
                  </a:cubicBezTo>
                  <a:cubicBezTo>
                    <a:pt x="31" y="10"/>
                    <a:pt x="32" y="11"/>
                    <a:pt x="32" y="13"/>
                  </a:cubicBezTo>
                  <a:cubicBezTo>
                    <a:pt x="32" y="15"/>
                    <a:pt x="32" y="16"/>
                    <a:pt x="32" y="18"/>
                  </a:cubicBezTo>
                  <a:cubicBezTo>
                    <a:pt x="32" y="18"/>
                    <a:pt x="32" y="18"/>
                    <a:pt x="32" y="18"/>
                  </a:cubicBezTo>
                  <a:cubicBezTo>
                    <a:pt x="32" y="18"/>
                    <a:pt x="33" y="18"/>
                    <a:pt x="33" y="19"/>
                  </a:cubicBezTo>
                  <a:cubicBezTo>
                    <a:pt x="33" y="20"/>
                    <a:pt x="34" y="21"/>
                    <a:pt x="34" y="22"/>
                  </a:cubicBezTo>
                  <a:cubicBezTo>
                    <a:pt x="34" y="24"/>
                    <a:pt x="34" y="26"/>
                    <a:pt x="33" y="28"/>
                  </a:cubicBezTo>
                  <a:cubicBezTo>
                    <a:pt x="33" y="29"/>
                    <a:pt x="32" y="30"/>
                    <a:pt x="32" y="30"/>
                  </a:cubicBezTo>
                  <a:cubicBezTo>
                    <a:pt x="31" y="31"/>
                    <a:pt x="31" y="31"/>
                    <a:pt x="30" y="31"/>
                  </a:cubicBezTo>
                  <a:cubicBezTo>
                    <a:pt x="30" y="31"/>
                    <a:pt x="30" y="31"/>
                    <a:pt x="30" y="31"/>
                  </a:cubicBezTo>
                  <a:cubicBezTo>
                    <a:pt x="30" y="32"/>
                    <a:pt x="30" y="32"/>
                    <a:pt x="30" y="32"/>
                  </a:cubicBezTo>
                  <a:cubicBezTo>
                    <a:pt x="30" y="33"/>
                    <a:pt x="30" y="33"/>
                    <a:pt x="30" y="33"/>
                  </a:cubicBezTo>
                  <a:cubicBezTo>
                    <a:pt x="30" y="33"/>
                    <a:pt x="30" y="33"/>
                    <a:pt x="30" y="33"/>
                  </a:cubicBezTo>
                  <a:cubicBezTo>
                    <a:pt x="30" y="34"/>
                    <a:pt x="31" y="35"/>
                    <a:pt x="31" y="36"/>
                  </a:cubicBezTo>
                  <a:cubicBezTo>
                    <a:pt x="32" y="36"/>
                    <a:pt x="32" y="37"/>
                    <a:pt x="32" y="38"/>
                  </a:cubicBezTo>
                  <a:cubicBezTo>
                    <a:pt x="34" y="38"/>
                    <a:pt x="34" y="38"/>
                    <a:pt x="34" y="38"/>
                  </a:cubicBezTo>
                  <a:cubicBezTo>
                    <a:pt x="34" y="39"/>
                    <a:pt x="34" y="39"/>
                    <a:pt x="34" y="39"/>
                  </a:cubicBezTo>
                  <a:cubicBezTo>
                    <a:pt x="35" y="40"/>
                    <a:pt x="36" y="46"/>
                    <a:pt x="36" y="49"/>
                  </a:cubicBezTo>
                  <a:cubicBezTo>
                    <a:pt x="36" y="50"/>
                    <a:pt x="36" y="51"/>
                    <a:pt x="36" y="51"/>
                  </a:cubicBezTo>
                  <a:cubicBezTo>
                    <a:pt x="35" y="52"/>
                    <a:pt x="35" y="53"/>
                    <a:pt x="34" y="54"/>
                  </a:cubicBezTo>
                  <a:cubicBezTo>
                    <a:pt x="34" y="55"/>
                    <a:pt x="34" y="55"/>
                    <a:pt x="34" y="55"/>
                  </a:cubicBezTo>
                  <a:cubicBezTo>
                    <a:pt x="34" y="56"/>
                    <a:pt x="34" y="56"/>
                    <a:pt x="34" y="56"/>
                  </a:cubicBezTo>
                  <a:cubicBezTo>
                    <a:pt x="33" y="57"/>
                    <a:pt x="33" y="57"/>
                    <a:pt x="33" y="57"/>
                  </a:cubicBezTo>
                  <a:cubicBezTo>
                    <a:pt x="32" y="58"/>
                    <a:pt x="32" y="58"/>
                    <a:pt x="31" y="59"/>
                  </a:cubicBezTo>
                  <a:cubicBezTo>
                    <a:pt x="31" y="59"/>
                    <a:pt x="30" y="59"/>
                    <a:pt x="30" y="59"/>
                  </a:cubicBezTo>
                  <a:cubicBezTo>
                    <a:pt x="29" y="60"/>
                    <a:pt x="29" y="61"/>
                    <a:pt x="29" y="63"/>
                  </a:cubicBezTo>
                  <a:cubicBezTo>
                    <a:pt x="29" y="65"/>
                    <a:pt x="28" y="68"/>
                    <a:pt x="27" y="70"/>
                  </a:cubicBezTo>
                  <a:cubicBezTo>
                    <a:pt x="26" y="72"/>
                    <a:pt x="26" y="72"/>
                    <a:pt x="26" y="72"/>
                  </a:cubicBezTo>
                  <a:cubicBezTo>
                    <a:pt x="24" y="75"/>
                    <a:pt x="23" y="77"/>
                    <a:pt x="19" y="80"/>
                  </a:cubicBezTo>
                  <a:cubicBezTo>
                    <a:pt x="18" y="80"/>
                    <a:pt x="18" y="80"/>
                    <a:pt x="13" y="81"/>
                  </a:cubicBezTo>
                  <a:cubicBezTo>
                    <a:pt x="11" y="81"/>
                    <a:pt x="8" y="81"/>
                    <a:pt x="7" y="81"/>
                  </a:cubicBezTo>
                  <a:cubicBezTo>
                    <a:pt x="7" y="82"/>
                    <a:pt x="6" y="82"/>
                    <a:pt x="6" y="82"/>
                  </a:cubicBezTo>
                  <a:cubicBezTo>
                    <a:pt x="5" y="82"/>
                    <a:pt x="5" y="83"/>
                    <a:pt x="5" y="83"/>
                  </a:cubicBezTo>
                  <a:cubicBezTo>
                    <a:pt x="2" y="84"/>
                    <a:pt x="2" y="84"/>
                    <a:pt x="2" y="84"/>
                  </a:cubicBezTo>
                  <a:cubicBezTo>
                    <a:pt x="1" y="83"/>
                    <a:pt x="1" y="83"/>
                    <a:pt x="1" y="83"/>
                  </a:cubicBezTo>
                  <a:cubicBezTo>
                    <a:pt x="0" y="85"/>
                    <a:pt x="0" y="88"/>
                    <a:pt x="1" y="89"/>
                  </a:cubicBezTo>
                  <a:cubicBezTo>
                    <a:pt x="1" y="89"/>
                    <a:pt x="3" y="91"/>
                    <a:pt x="3" y="91"/>
                  </a:cubicBezTo>
                  <a:cubicBezTo>
                    <a:pt x="5" y="93"/>
                    <a:pt x="6" y="94"/>
                    <a:pt x="6" y="96"/>
                  </a:cubicBezTo>
                  <a:cubicBezTo>
                    <a:pt x="6" y="98"/>
                    <a:pt x="4" y="100"/>
                    <a:pt x="4" y="102"/>
                  </a:cubicBezTo>
                  <a:cubicBezTo>
                    <a:pt x="5" y="104"/>
                    <a:pt x="7" y="107"/>
                    <a:pt x="7" y="108"/>
                  </a:cubicBezTo>
                  <a:cubicBezTo>
                    <a:pt x="9" y="112"/>
                    <a:pt x="9" y="111"/>
                    <a:pt x="7" y="114"/>
                  </a:cubicBezTo>
                  <a:cubicBezTo>
                    <a:pt x="7" y="115"/>
                    <a:pt x="6" y="115"/>
                    <a:pt x="5" y="116"/>
                  </a:cubicBezTo>
                  <a:cubicBezTo>
                    <a:pt x="4" y="119"/>
                    <a:pt x="3" y="120"/>
                    <a:pt x="5" y="122"/>
                  </a:cubicBezTo>
                  <a:cubicBezTo>
                    <a:pt x="6" y="123"/>
                    <a:pt x="8" y="127"/>
                    <a:pt x="9" y="127"/>
                  </a:cubicBezTo>
                  <a:cubicBezTo>
                    <a:pt x="9" y="127"/>
                    <a:pt x="9" y="127"/>
                    <a:pt x="9" y="127"/>
                  </a:cubicBezTo>
                  <a:cubicBezTo>
                    <a:pt x="10" y="127"/>
                    <a:pt x="10" y="126"/>
                    <a:pt x="10" y="126"/>
                  </a:cubicBezTo>
                  <a:cubicBezTo>
                    <a:pt x="11" y="126"/>
                    <a:pt x="11" y="126"/>
                    <a:pt x="12" y="126"/>
                  </a:cubicBezTo>
                  <a:cubicBezTo>
                    <a:pt x="12" y="126"/>
                    <a:pt x="12" y="126"/>
                    <a:pt x="12" y="126"/>
                  </a:cubicBezTo>
                  <a:cubicBezTo>
                    <a:pt x="16" y="126"/>
                    <a:pt x="20" y="133"/>
                    <a:pt x="22" y="136"/>
                  </a:cubicBezTo>
                  <a:cubicBezTo>
                    <a:pt x="24" y="138"/>
                    <a:pt x="24" y="141"/>
                    <a:pt x="26" y="144"/>
                  </a:cubicBezTo>
                  <a:cubicBezTo>
                    <a:pt x="29" y="153"/>
                    <a:pt x="32" y="162"/>
                    <a:pt x="36" y="171"/>
                  </a:cubicBezTo>
                  <a:cubicBezTo>
                    <a:pt x="36" y="172"/>
                    <a:pt x="36" y="173"/>
                    <a:pt x="36" y="173"/>
                  </a:cubicBezTo>
                  <a:cubicBezTo>
                    <a:pt x="36" y="176"/>
                    <a:pt x="36" y="176"/>
                    <a:pt x="36" y="176"/>
                  </a:cubicBezTo>
                  <a:cubicBezTo>
                    <a:pt x="36" y="176"/>
                    <a:pt x="36" y="176"/>
                    <a:pt x="36" y="176"/>
                  </a:cubicBezTo>
                  <a:cubicBezTo>
                    <a:pt x="36" y="177"/>
                    <a:pt x="36" y="177"/>
                    <a:pt x="36" y="177"/>
                  </a:cubicBezTo>
                  <a:cubicBezTo>
                    <a:pt x="36" y="175"/>
                    <a:pt x="36" y="175"/>
                    <a:pt x="36" y="175"/>
                  </a:cubicBezTo>
                  <a:cubicBezTo>
                    <a:pt x="37" y="175"/>
                    <a:pt x="37" y="175"/>
                    <a:pt x="37" y="175"/>
                  </a:cubicBezTo>
                  <a:cubicBezTo>
                    <a:pt x="40" y="175"/>
                    <a:pt x="42" y="175"/>
                    <a:pt x="44" y="176"/>
                  </a:cubicBezTo>
                  <a:cubicBezTo>
                    <a:pt x="46" y="171"/>
                    <a:pt x="46" y="171"/>
                    <a:pt x="46" y="171"/>
                  </a:cubicBezTo>
                  <a:cubicBezTo>
                    <a:pt x="45" y="177"/>
                    <a:pt x="45" y="177"/>
                    <a:pt x="45" y="177"/>
                  </a:cubicBezTo>
                  <a:cubicBezTo>
                    <a:pt x="46" y="177"/>
                    <a:pt x="46" y="177"/>
                    <a:pt x="46" y="177"/>
                  </a:cubicBezTo>
                  <a:cubicBezTo>
                    <a:pt x="47" y="178"/>
                    <a:pt x="49" y="179"/>
                    <a:pt x="51" y="180"/>
                  </a:cubicBezTo>
                  <a:cubicBezTo>
                    <a:pt x="52" y="181"/>
                    <a:pt x="53" y="181"/>
                    <a:pt x="55" y="182"/>
                  </a:cubicBezTo>
                  <a:cubicBezTo>
                    <a:pt x="58" y="177"/>
                    <a:pt x="58" y="177"/>
                    <a:pt x="58" y="177"/>
                  </a:cubicBezTo>
                  <a:cubicBezTo>
                    <a:pt x="56" y="183"/>
                    <a:pt x="56" y="183"/>
                    <a:pt x="56" y="183"/>
                  </a:cubicBezTo>
                  <a:cubicBezTo>
                    <a:pt x="56" y="183"/>
                    <a:pt x="56" y="183"/>
                    <a:pt x="56" y="183"/>
                  </a:cubicBezTo>
                  <a:cubicBezTo>
                    <a:pt x="57" y="183"/>
                    <a:pt x="57" y="183"/>
                    <a:pt x="57" y="183"/>
                  </a:cubicBezTo>
                  <a:cubicBezTo>
                    <a:pt x="58" y="184"/>
                    <a:pt x="58" y="184"/>
                    <a:pt x="58" y="184"/>
                  </a:cubicBezTo>
                  <a:cubicBezTo>
                    <a:pt x="61" y="186"/>
                    <a:pt x="66" y="187"/>
                    <a:pt x="70" y="188"/>
                  </a:cubicBezTo>
                  <a:cubicBezTo>
                    <a:pt x="73" y="189"/>
                    <a:pt x="76" y="190"/>
                    <a:pt x="79" y="191"/>
                  </a:cubicBezTo>
                  <a:cubicBezTo>
                    <a:pt x="79" y="191"/>
                    <a:pt x="80" y="192"/>
                    <a:pt x="80" y="192"/>
                  </a:cubicBezTo>
                  <a:cubicBezTo>
                    <a:pt x="81" y="192"/>
                    <a:pt x="81" y="192"/>
                    <a:pt x="81" y="192"/>
                  </a:cubicBezTo>
                  <a:cubicBezTo>
                    <a:pt x="83" y="193"/>
                    <a:pt x="83" y="193"/>
                    <a:pt x="83" y="193"/>
                  </a:cubicBezTo>
                  <a:cubicBezTo>
                    <a:pt x="87" y="194"/>
                    <a:pt x="91" y="195"/>
                    <a:pt x="95" y="197"/>
                  </a:cubicBezTo>
                  <a:cubicBezTo>
                    <a:pt x="96" y="197"/>
                    <a:pt x="97" y="198"/>
                    <a:pt x="99" y="198"/>
                  </a:cubicBezTo>
                  <a:cubicBezTo>
                    <a:pt x="100" y="198"/>
                    <a:pt x="100" y="198"/>
                    <a:pt x="100" y="198"/>
                  </a:cubicBezTo>
                  <a:cubicBezTo>
                    <a:pt x="100" y="199"/>
                    <a:pt x="101" y="199"/>
                    <a:pt x="101" y="199"/>
                  </a:cubicBezTo>
                  <a:cubicBezTo>
                    <a:pt x="103" y="200"/>
                    <a:pt x="103" y="200"/>
                    <a:pt x="103" y="200"/>
                  </a:cubicBezTo>
                  <a:cubicBezTo>
                    <a:pt x="103" y="200"/>
                    <a:pt x="103" y="200"/>
                    <a:pt x="103" y="200"/>
                  </a:cubicBezTo>
                  <a:cubicBezTo>
                    <a:pt x="103" y="199"/>
                    <a:pt x="103" y="198"/>
                    <a:pt x="104" y="198"/>
                  </a:cubicBezTo>
                  <a:cubicBezTo>
                    <a:pt x="104" y="198"/>
                    <a:pt x="104" y="197"/>
                    <a:pt x="105" y="197"/>
                  </a:cubicBezTo>
                  <a:cubicBezTo>
                    <a:pt x="107" y="197"/>
                    <a:pt x="112" y="203"/>
                    <a:pt x="113" y="205"/>
                  </a:cubicBezTo>
                  <a:cubicBezTo>
                    <a:pt x="114" y="207"/>
                    <a:pt x="116" y="208"/>
                    <a:pt x="117" y="210"/>
                  </a:cubicBezTo>
                  <a:cubicBezTo>
                    <a:pt x="117" y="216"/>
                    <a:pt x="119" y="222"/>
                    <a:pt x="119" y="227"/>
                  </a:cubicBezTo>
                  <a:cubicBezTo>
                    <a:pt x="119" y="234"/>
                    <a:pt x="122" y="239"/>
                    <a:pt x="125" y="244"/>
                  </a:cubicBezTo>
                  <a:cubicBezTo>
                    <a:pt x="126" y="243"/>
                    <a:pt x="126" y="243"/>
                    <a:pt x="126" y="243"/>
                  </a:cubicBezTo>
                  <a:cubicBezTo>
                    <a:pt x="127" y="244"/>
                    <a:pt x="127" y="244"/>
                    <a:pt x="127" y="244"/>
                  </a:cubicBezTo>
                  <a:cubicBezTo>
                    <a:pt x="130" y="244"/>
                    <a:pt x="136" y="245"/>
                    <a:pt x="139" y="245"/>
                  </a:cubicBezTo>
                  <a:cubicBezTo>
                    <a:pt x="140" y="245"/>
                    <a:pt x="141" y="245"/>
                    <a:pt x="141" y="245"/>
                  </a:cubicBezTo>
                  <a:cubicBezTo>
                    <a:pt x="141" y="245"/>
                    <a:pt x="141" y="245"/>
                    <a:pt x="142" y="244"/>
                  </a:cubicBezTo>
                  <a:cubicBezTo>
                    <a:pt x="142" y="244"/>
                    <a:pt x="142" y="244"/>
                    <a:pt x="142" y="244"/>
                  </a:cubicBezTo>
                  <a:cubicBezTo>
                    <a:pt x="144" y="242"/>
                    <a:pt x="146" y="241"/>
                    <a:pt x="148" y="241"/>
                  </a:cubicBezTo>
                  <a:cubicBezTo>
                    <a:pt x="149" y="241"/>
                    <a:pt x="150" y="241"/>
                    <a:pt x="151" y="242"/>
                  </a:cubicBezTo>
                  <a:cubicBezTo>
                    <a:pt x="152" y="242"/>
                    <a:pt x="152" y="242"/>
                    <a:pt x="152" y="242"/>
                  </a:cubicBezTo>
                  <a:cubicBezTo>
                    <a:pt x="152" y="243"/>
                    <a:pt x="152" y="243"/>
                    <a:pt x="152" y="243"/>
                  </a:cubicBezTo>
                  <a:cubicBezTo>
                    <a:pt x="153" y="243"/>
                    <a:pt x="153" y="243"/>
                    <a:pt x="153" y="243"/>
                  </a:cubicBezTo>
                  <a:cubicBezTo>
                    <a:pt x="154" y="243"/>
                    <a:pt x="154" y="244"/>
                    <a:pt x="155" y="244"/>
                  </a:cubicBezTo>
                  <a:cubicBezTo>
                    <a:pt x="156" y="245"/>
                    <a:pt x="156" y="245"/>
                    <a:pt x="156" y="245"/>
                  </a:cubicBezTo>
                  <a:cubicBezTo>
                    <a:pt x="159" y="246"/>
                    <a:pt x="162" y="248"/>
                    <a:pt x="165" y="248"/>
                  </a:cubicBezTo>
                  <a:cubicBezTo>
                    <a:pt x="165" y="248"/>
                    <a:pt x="165" y="248"/>
                    <a:pt x="166" y="248"/>
                  </a:cubicBezTo>
                  <a:cubicBezTo>
                    <a:pt x="167" y="247"/>
                    <a:pt x="168" y="247"/>
                    <a:pt x="169" y="246"/>
                  </a:cubicBezTo>
                  <a:cubicBezTo>
                    <a:pt x="170" y="246"/>
                    <a:pt x="171" y="246"/>
                    <a:pt x="172" y="245"/>
                  </a:cubicBezTo>
                  <a:cubicBezTo>
                    <a:pt x="173" y="245"/>
                    <a:pt x="174" y="245"/>
                    <a:pt x="175" y="245"/>
                  </a:cubicBezTo>
                  <a:cubicBezTo>
                    <a:pt x="178" y="245"/>
                    <a:pt x="180" y="246"/>
                    <a:pt x="182" y="246"/>
                  </a:cubicBezTo>
                  <a:cubicBezTo>
                    <a:pt x="183" y="247"/>
                    <a:pt x="184" y="247"/>
                    <a:pt x="185" y="247"/>
                  </a:cubicBezTo>
                  <a:cubicBezTo>
                    <a:pt x="186" y="247"/>
                    <a:pt x="186" y="247"/>
                    <a:pt x="186" y="247"/>
                  </a:cubicBezTo>
                  <a:cubicBezTo>
                    <a:pt x="188" y="246"/>
                    <a:pt x="190" y="246"/>
                    <a:pt x="190" y="245"/>
                  </a:cubicBezTo>
                  <a:cubicBezTo>
                    <a:pt x="191" y="244"/>
                    <a:pt x="191" y="244"/>
                    <a:pt x="191" y="244"/>
                  </a:cubicBezTo>
                  <a:cubicBezTo>
                    <a:pt x="191" y="244"/>
                    <a:pt x="191" y="243"/>
                    <a:pt x="192" y="242"/>
                  </a:cubicBezTo>
                  <a:cubicBezTo>
                    <a:pt x="192" y="241"/>
                    <a:pt x="193" y="241"/>
                    <a:pt x="194" y="240"/>
                  </a:cubicBezTo>
                  <a:cubicBezTo>
                    <a:pt x="190" y="235"/>
                    <a:pt x="190" y="235"/>
                    <a:pt x="190" y="235"/>
                  </a:cubicBezTo>
                  <a:cubicBezTo>
                    <a:pt x="195" y="239"/>
                    <a:pt x="195" y="239"/>
                    <a:pt x="195" y="239"/>
                  </a:cubicBezTo>
                  <a:cubicBezTo>
                    <a:pt x="195" y="239"/>
                    <a:pt x="195" y="239"/>
                    <a:pt x="195" y="239"/>
                  </a:cubicBezTo>
                  <a:cubicBezTo>
                    <a:pt x="197" y="238"/>
                    <a:pt x="199" y="237"/>
                    <a:pt x="200" y="237"/>
                  </a:cubicBezTo>
                  <a:cubicBezTo>
                    <a:pt x="202" y="237"/>
                    <a:pt x="203" y="237"/>
                    <a:pt x="204" y="238"/>
                  </a:cubicBezTo>
                  <a:cubicBezTo>
                    <a:pt x="207" y="239"/>
                    <a:pt x="209" y="240"/>
                    <a:pt x="209" y="240"/>
                  </a:cubicBezTo>
                  <a:cubicBezTo>
                    <a:pt x="210" y="240"/>
                    <a:pt x="210" y="240"/>
                    <a:pt x="211" y="239"/>
                  </a:cubicBezTo>
                  <a:cubicBezTo>
                    <a:pt x="211" y="239"/>
                    <a:pt x="211" y="239"/>
                    <a:pt x="211" y="239"/>
                  </a:cubicBezTo>
                  <a:cubicBezTo>
                    <a:pt x="212" y="238"/>
                    <a:pt x="212" y="238"/>
                    <a:pt x="212" y="238"/>
                  </a:cubicBezTo>
                  <a:cubicBezTo>
                    <a:pt x="213" y="238"/>
                    <a:pt x="213" y="238"/>
                    <a:pt x="213" y="238"/>
                  </a:cubicBezTo>
                  <a:cubicBezTo>
                    <a:pt x="216" y="236"/>
                    <a:pt x="219" y="234"/>
                    <a:pt x="224" y="234"/>
                  </a:cubicBezTo>
                  <a:cubicBezTo>
                    <a:pt x="225" y="234"/>
                    <a:pt x="225" y="234"/>
                    <a:pt x="225" y="234"/>
                  </a:cubicBezTo>
                  <a:cubicBezTo>
                    <a:pt x="225" y="234"/>
                    <a:pt x="225" y="234"/>
                    <a:pt x="225" y="234"/>
                  </a:cubicBezTo>
                  <a:cubicBezTo>
                    <a:pt x="226" y="234"/>
                    <a:pt x="226" y="234"/>
                    <a:pt x="226" y="234"/>
                  </a:cubicBezTo>
                  <a:cubicBezTo>
                    <a:pt x="226" y="234"/>
                    <a:pt x="227" y="234"/>
                    <a:pt x="227" y="234"/>
                  </a:cubicBezTo>
                  <a:cubicBezTo>
                    <a:pt x="228" y="234"/>
                    <a:pt x="228" y="234"/>
                    <a:pt x="229" y="234"/>
                  </a:cubicBezTo>
                  <a:cubicBezTo>
                    <a:pt x="236" y="232"/>
                    <a:pt x="242" y="227"/>
                    <a:pt x="247" y="224"/>
                  </a:cubicBezTo>
                  <a:cubicBezTo>
                    <a:pt x="255" y="218"/>
                    <a:pt x="255" y="218"/>
                    <a:pt x="255" y="218"/>
                  </a:cubicBezTo>
                  <a:cubicBezTo>
                    <a:pt x="255" y="218"/>
                    <a:pt x="255" y="218"/>
                    <a:pt x="255" y="218"/>
                  </a:cubicBezTo>
                  <a:cubicBezTo>
                    <a:pt x="254" y="217"/>
                    <a:pt x="253" y="216"/>
                    <a:pt x="253" y="215"/>
                  </a:cubicBezTo>
                  <a:cubicBezTo>
                    <a:pt x="251" y="214"/>
                    <a:pt x="250" y="214"/>
                    <a:pt x="249" y="214"/>
                  </a:cubicBezTo>
                  <a:cubicBezTo>
                    <a:pt x="248" y="213"/>
                    <a:pt x="248" y="213"/>
                    <a:pt x="248" y="213"/>
                  </a:cubicBezTo>
                  <a:cubicBezTo>
                    <a:pt x="247" y="213"/>
                    <a:pt x="247" y="213"/>
                    <a:pt x="246" y="214"/>
                  </a:cubicBezTo>
                  <a:cubicBezTo>
                    <a:pt x="246" y="214"/>
                    <a:pt x="246" y="214"/>
                    <a:pt x="245" y="214"/>
                  </a:cubicBezTo>
                  <a:cubicBezTo>
                    <a:pt x="245" y="214"/>
                    <a:pt x="244" y="213"/>
                    <a:pt x="244" y="212"/>
                  </a:cubicBezTo>
                  <a:cubicBezTo>
                    <a:pt x="243" y="211"/>
                    <a:pt x="242" y="210"/>
                    <a:pt x="241" y="210"/>
                  </a:cubicBezTo>
                  <a:cubicBezTo>
                    <a:pt x="240" y="210"/>
                    <a:pt x="239" y="210"/>
                    <a:pt x="239" y="210"/>
                  </a:cubicBezTo>
                  <a:cubicBezTo>
                    <a:pt x="239" y="205"/>
                    <a:pt x="235" y="200"/>
                    <a:pt x="235" y="196"/>
                  </a:cubicBezTo>
                  <a:cubicBezTo>
                    <a:pt x="235" y="194"/>
                    <a:pt x="237" y="193"/>
                    <a:pt x="237" y="191"/>
                  </a:cubicBezTo>
                  <a:cubicBezTo>
                    <a:pt x="236" y="188"/>
                    <a:pt x="233" y="186"/>
                    <a:pt x="232" y="184"/>
                  </a:cubicBezTo>
                  <a:cubicBezTo>
                    <a:pt x="230" y="182"/>
                    <a:pt x="230" y="178"/>
                    <a:pt x="230" y="175"/>
                  </a:cubicBezTo>
                  <a:cubicBezTo>
                    <a:pt x="229" y="171"/>
                    <a:pt x="228" y="169"/>
                    <a:pt x="230" y="166"/>
                  </a:cubicBezTo>
                  <a:cubicBezTo>
                    <a:pt x="233" y="160"/>
                    <a:pt x="231" y="158"/>
                    <a:pt x="230" y="152"/>
                  </a:cubicBezTo>
                  <a:cubicBezTo>
                    <a:pt x="228" y="147"/>
                    <a:pt x="232" y="144"/>
                    <a:pt x="234" y="139"/>
                  </a:cubicBezTo>
                  <a:cubicBezTo>
                    <a:pt x="236" y="136"/>
                    <a:pt x="223" y="127"/>
                    <a:pt x="221" y="125"/>
                  </a:cubicBezTo>
                  <a:cubicBezTo>
                    <a:pt x="218" y="123"/>
                    <a:pt x="216" y="116"/>
                    <a:pt x="217" y="114"/>
                  </a:cubicBezTo>
                  <a:cubicBezTo>
                    <a:pt x="220" y="106"/>
                    <a:pt x="222" y="98"/>
                    <a:pt x="225" y="90"/>
                  </a:cubicBezTo>
                  <a:cubicBezTo>
                    <a:pt x="225" y="89"/>
                    <a:pt x="226" y="88"/>
                    <a:pt x="226" y="86"/>
                  </a:cubicBezTo>
                  <a:cubicBezTo>
                    <a:pt x="226" y="86"/>
                    <a:pt x="226" y="86"/>
                    <a:pt x="226" y="86"/>
                  </a:cubicBezTo>
                  <a:cubicBezTo>
                    <a:pt x="225" y="86"/>
                    <a:pt x="225" y="86"/>
                    <a:pt x="225" y="86"/>
                  </a:cubicBezTo>
                  <a:cubicBezTo>
                    <a:pt x="222" y="84"/>
                    <a:pt x="219" y="82"/>
                    <a:pt x="217" y="80"/>
                  </a:cubicBezTo>
                  <a:cubicBezTo>
                    <a:pt x="215" y="79"/>
                    <a:pt x="215" y="79"/>
                    <a:pt x="215" y="79"/>
                  </a:cubicBezTo>
                  <a:cubicBezTo>
                    <a:pt x="214" y="78"/>
                    <a:pt x="212" y="77"/>
                    <a:pt x="211" y="76"/>
                  </a:cubicBezTo>
                  <a:cubicBezTo>
                    <a:pt x="210" y="75"/>
                    <a:pt x="210" y="75"/>
                    <a:pt x="210" y="75"/>
                  </a:cubicBezTo>
                  <a:cubicBezTo>
                    <a:pt x="209" y="74"/>
                    <a:pt x="208" y="74"/>
                    <a:pt x="208" y="74"/>
                  </a:cubicBezTo>
                  <a:cubicBezTo>
                    <a:pt x="205" y="71"/>
                    <a:pt x="205" y="71"/>
                    <a:pt x="205" y="71"/>
                  </a:cubicBezTo>
                  <a:cubicBezTo>
                    <a:pt x="200" y="68"/>
                    <a:pt x="194" y="64"/>
                    <a:pt x="189" y="59"/>
                  </a:cubicBezTo>
                  <a:cubicBezTo>
                    <a:pt x="188" y="58"/>
                    <a:pt x="188" y="58"/>
                    <a:pt x="188" y="58"/>
                  </a:cubicBezTo>
                  <a:cubicBezTo>
                    <a:pt x="187" y="56"/>
                    <a:pt x="187" y="54"/>
                    <a:pt x="187" y="52"/>
                  </a:cubicBezTo>
                  <a:cubicBezTo>
                    <a:pt x="188" y="51"/>
                    <a:pt x="188" y="50"/>
                    <a:pt x="188" y="50"/>
                  </a:cubicBezTo>
                  <a:cubicBezTo>
                    <a:pt x="188" y="49"/>
                    <a:pt x="188" y="49"/>
                    <a:pt x="188" y="49"/>
                  </a:cubicBezTo>
                  <a:cubicBezTo>
                    <a:pt x="188" y="49"/>
                    <a:pt x="187" y="49"/>
                    <a:pt x="186" y="48"/>
                  </a:cubicBezTo>
                  <a:cubicBezTo>
                    <a:pt x="186" y="48"/>
                    <a:pt x="186" y="48"/>
                    <a:pt x="186" y="48"/>
                  </a:cubicBezTo>
                  <a:cubicBezTo>
                    <a:pt x="183" y="52"/>
                    <a:pt x="183" y="52"/>
                    <a:pt x="183" y="52"/>
                  </a:cubicBezTo>
                  <a:cubicBezTo>
                    <a:pt x="185" y="47"/>
                    <a:pt x="185" y="47"/>
                    <a:pt x="185" y="47"/>
                  </a:cubicBezTo>
                  <a:cubicBezTo>
                    <a:pt x="184" y="47"/>
                    <a:pt x="184" y="47"/>
                    <a:pt x="184" y="47"/>
                  </a:cubicBezTo>
                  <a:cubicBezTo>
                    <a:pt x="184" y="46"/>
                    <a:pt x="183" y="45"/>
                    <a:pt x="183" y="45"/>
                  </a:cubicBezTo>
                  <a:cubicBezTo>
                    <a:pt x="181" y="44"/>
                    <a:pt x="180" y="42"/>
                    <a:pt x="179" y="42"/>
                  </a:cubicBezTo>
                  <a:cubicBezTo>
                    <a:pt x="167" y="35"/>
                    <a:pt x="155" y="28"/>
                    <a:pt x="143" y="22"/>
                  </a:cubicBezTo>
                  <a:cubicBezTo>
                    <a:pt x="130" y="14"/>
                    <a:pt x="117" y="7"/>
                    <a:pt x="105" y="0"/>
                  </a:cubicBezTo>
                  <a:cubicBezTo>
                    <a:pt x="104" y="2"/>
                    <a:pt x="103" y="4"/>
                    <a:pt x="104" y="5"/>
                  </a:cubicBezTo>
                  <a:cubicBezTo>
                    <a:pt x="103" y="5"/>
                    <a:pt x="102" y="5"/>
                    <a:pt x="101" y="5"/>
                  </a:cubicBezTo>
                  <a:cubicBezTo>
                    <a:pt x="100" y="5"/>
                    <a:pt x="100" y="5"/>
                    <a:pt x="100" y="5"/>
                  </a:cubicBezTo>
                  <a:cubicBezTo>
                    <a:pt x="100" y="8"/>
                    <a:pt x="102" y="8"/>
                    <a:pt x="103" y="9"/>
                  </a:cubicBezTo>
                  <a:cubicBezTo>
                    <a:pt x="102" y="9"/>
                    <a:pt x="100" y="8"/>
                    <a:pt x="99" y="8"/>
                  </a:cubicBezTo>
                  <a:cubicBezTo>
                    <a:pt x="99" y="8"/>
                    <a:pt x="98" y="8"/>
                    <a:pt x="98" y="9"/>
                  </a:cubicBezTo>
                  <a:cubicBezTo>
                    <a:pt x="97" y="9"/>
                    <a:pt x="97" y="9"/>
                    <a:pt x="97" y="9"/>
                  </a:cubicBezTo>
                  <a:cubicBezTo>
                    <a:pt x="97" y="9"/>
                    <a:pt x="97" y="9"/>
                    <a:pt x="97" y="9"/>
                  </a:cubicBezTo>
                  <a:cubicBezTo>
                    <a:pt x="97" y="9"/>
                    <a:pt x="97" y="9"/>
                    <a:pt x="97" y="9"/>
                  </a:cubicBezTo>
                  <a:cubicBezTo>
                    <a:pt x="96" y="9"/>
                    <a:pt x="97" y="9"/>
                    <a:pt x="97" y="11"/>
                  </a:cubicBezTo>
                  <a:cubicBezTo>
                    <a:pt x="97" y="12"/>
                    <a:pt x="98" y="13"/>
                    <a:pt x="96" y="15"/>
                  </a:cubicBezTo>
                  <a:cubicBezTo>
                    <a:pt x="94" y="17"/>
                    <a:pt x="88" y="14"/>
                    <a:pt x="88" y="19"/>
                  </a:cubicBezTo>
                  <a:cubicBezTo>
                    <a:pt x="89" y="19"/>
                    <a:pt x="90" y="18"/>
                    <a:pt x="91" y="18"/>
                  </a:cubicBezTo>
                  <a:cubicBezTo>
                    <a:pt x="90" y="22"/>
                    <a:pt x="90" y="22"/>
                    <a:pt x="90" y="22"/>
                  </a:cubicBezTo>
                  <a:cubicBezTo>
                    <a:pt x="89" y="22"/>
                    <a:pt x="89" y="22"/>
                    <a:pt x="88" y="22"/>
                  </a:cubicBezTo>
                  <a:cubicBezTo>
                    <a:pt x="87" y="22"/>
                    <a:pt x="86" y="22"/>
                    <a:pt x="86" y="22"/>
                  </a:cubicBezTo>
                  <a:cubicBezTo>
                    <a:pt x="85" y="24"/>
                    <a:pt x="88" y="24"/>
                    <a:pt x="91" y="24"/>
                  </a:cubicBezTo>
                  <a:cubicBezTo>
                    <a:pt x="95" y="24"/>
                    <a:pt x="99" y="24"/>
                    <a:pt x="100" y="24"/>
                  </a:cubicBezTo>
                  <a:cubicBezTo>
                    <a:pt x="98" y="26"/>
                    <a:pt x="93" y="33"/>
                    <a:pt x="90" y="34"/>
                  </a:cubicBezTo>
                  <a:cubicBezTo>
                    <a:pt x="90" y="34"/>
                    <a:pt x="90" y="34"/>
                    <a:pt x="90" y="34"/>
                  </a:cubicBezTo>
                  <a:cubicBezTo>
                    <a:pt x="90" y="34"/>
                    <a:pt x="88" y="33"/>
                    <a:pt x="88" y="33"/>
                  </a:cubicBezTo>
                  <a:cubicBezTo>
                    <a:pt x="88" y="32"/>
                    <a:pt x="87" y="32"/>
                    <a:pt x="87" y="32"/>
                  </a:cubicBezTo>
                  <a:cubicBezTo>
                    <a:pt x="87" y="32"/>
                    <a:pt x="87" y="32"/>
                    <a:pt x="86" y="32"/>
                  </a:cubicBezTo>
                  <a:cubicBezTo>
                    <a:pt x="86" y="32"/>
                    <a:pt x="86" y="32"/>
                    <a:pt x="86" y="32"/>
                  </a:cubicBezTo>
                  <a:cubicBezTo>
                    <a:pt x="86" y="32"/>
                    <a:pt x="85" y="32"/>
                    <a:pt x="85" y="32"/>
                  </a:cubicBezTo>
                  <a:cubicBezTo>
                    <a:pt x="84" y="32"/>
                    <a:pt x="83" y="31"/>
                    <a:pt x="82" y="31"/>
                  </a:cubicBezTo>
                  <a:cubicBezTo>
                    <a:pt x="81" y="31"/>
                    <a:pt x="80" y="31"/>
                    <a:pt x="80" y="31"/>
                  </a:cubicBezTo>
                  <a:cubicBezTo>
                    <a:pt x="79" y="31"/>
                    <a:pt x="79" y="31"/>
                    <a:pt x="78" y="33"/>
                  </a:cubicBezTo>
                  <a:cubicBezTo>
                    <a:pt x="78" y="35"/>
                    <a:pt x="78" y="35"/>
                    <a:pt x="78" y="35"/>
                  </a:cubicBezTo>
                  <a:cubicBezTo>
                    <a:pt x="78" y="36"/>
                    <a:pt x="78" y="36"/>
                    <a:pt x="78" y="37"/>
                  </a:cubicBezTo>
                  <a:cubicBezTo>
                    <a:pt x="78" y="40"/>
                    <a:pt x="77" y="42"/>
                    <a:pt x="75" y="44"/>
                  </a:cubicBezTo>
                  <a:cubicBezTo>
                    <a:pt x="75" y="43"/>
                    <a:pt x="75" y="43"/>
                    <a:pt x="76" y="42"/>
                  </a:cubicBezTo>
                  <a:cubicBezTo>
                    <a:pt x="75" y="42"/>
                    <a:pt x="75" y="41"/>
                    <a:pt x="74" y="41"/>
                  </a:cubicBezTo>
                  <a:cubicBezTo>
                    <a:pt x="78" y="39"/>
                    <a:pt x="77" y="39"/>
                    <a:pt x="77" y="37"/>
                  </a:cubicBezTo>
                  <a:cubicBezTo>
                    <a:pt x="76" y="36"/>
                    <a:pt x="76" y="34"/>
                    <a:pt x="77" y="33"/>
                  </a:cubicBezTo>
                  <a:cubicBezTo>
                    <a:pt x="76" y="33"/>
                    <a:pt x="76" y="33"/>
                    <a:pt x="76" y="33"/>
                  </a:cubicBezTo>
                  <a:cubicBezTo>
                    <a:pt x="75" y="33"/>
                    <a:pt x="74" y="33"/>
                    <a:pt x="73" y="33"/>
                  </a:cubicBezTo>
                  <a:cubicBezTo>
                    <a:pt x="74" y="32"/>
                    <a:pt x="73" y="31"/>
                    <a:pt x="72" y="30"/>
                  </a:cubicBezTo>
                  <a:cubicBezTo>
                    <a:pt x="72" y="31"/>
                    <a:pt x="71" y="33"/>
                    <a:pt x="69" y="34"/>
                  </a:cubicBezTo>
                  <a:cubicBezTo>
                    <a:pt x="70" y="31"/>
                    <a:pt x="69" y="32"/>
                    <a:pt x="67" y="31"/>
                  </a:cubicBezTo>
                  <a:cubicBezTo>
                    <a:pt x="65" y="30"/>
                    <a:pt x="65" y="28"/>
                    <a:pt x="62" y="27"/>
                  </a:cubicBezTo>
                  <a:cubicBezTo>
                    <a:pt x="63" y="29"/>
                    <a:pt x="59" y="28"/>
                    <a:pt x="59" y="30"/>
                  </a:cubicBezTo>
                  <a:cubicBezTo>
                    <a:pt x="59" y="30"/>
                    <a:pt x="60" y="32"/>
                    <a:pt x="60" y="33"/>
                  </a:cubicBezTo>
                  <a:cubicBezTo>
                    <a:pt x="59" y="33"/>
                    <a:pt x="58" y="33"/>
                    <a:pt x="58" y="33"/>
                  </a:cubicBezTo>
                  <a:cubicBezTo>
                    <a:pt x="57" y="33"/>
                    <a:pt x="57" y="33"/>
                    <a:pt x="57" y="33"/>
                  </a:cubicBezTo>
                  <a:cubicBezTo>
                    <a:pt x="57" y="33"/>
                    <a:pt x="57" y="34"/>
                    <a:pt x="56" y="35"/>
                  </a:cubicBezTo>
                  <a:cubicBezTo>
                    <a:pt x="56" y="35"/>
                    <a:pt x="57" y="37"/>
                    <a:pt x="57" y="38"/>
                  </a:cubicBezTo>
                  <a:cubicBezTo>
                    <a:pt x="57" y="38"/>
                    <a:pt x="57" y="38"/>
                    <a:pt x="57" y="38"/>
                  </a:cubicBezTo>
                  <a:cubicBezTo>
                    <a:pt x="56" y="38"/>
                    <a:pt x="55" y="36"/>
                    <a:pt x="55" y="36"/>
                  </a:cubicBezTo>
                  <a:cubicBezTo>
                    <a:pt x="53" y="36"/>
                    <a:pt x="53" y="38"/>
                    <a:pt x="53" y="39"/>
                  </a:cubicBezTo>
                  <a:cubicBezTo>
                    <a:pt x="52" y="36"/>
                    <a:pt x="51" y="32"/>
                    <a:pt x="50" y="28"/>
                  </a:cubicBezTo>
                  <a:cubicBezTo>
                    <a:pt x="50" y="27"/>
                    <a:pt x="48" y="22"/>
                    <a:pt x="48" y="21"/>
                  </a:cubicBezTo>
                  <a:cubicBezTo>
                    <a:pt x="48" y="19"/>
                    <a:pt x="49" y="19"/>
                    <a:pt x="50" y="18"/>
                  </a:cubicBezTo>
                  <a:cubicBezTo>
                    <a:pt x="52" y="13"/>
                    <a:pt x="52" y="6"/>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311"/>
            <p:cNvSpPr>
              <a:spLocks noEditPoints="1"/>
            </p:cNvSpPr>
            <p:nvPr/>
          </p:nvSpPr>
          <p:spPr bwMode="auto">
            <a:xfrm>
              <a:off x="5551" y="2504"/>
              <a:ext cx="426" cy="506"/>
            </a:xfrm>
            <a:custGeom>
              <a:gdLst>
                <a:gd name="T0" fmla="*/ 44 w 180"/>
                <a:gd name="T1" fmla="*/ 0 h 214"/>
                <a:gd name="T2" fmla="*/ 8 w 180"/>
                <a:gd name="T3" fmla="*/ 3 h 214"/>
                <a:gd name="T4" fmla="*/ 4 w 180"/>
                <a:gd name="T5" fmla="*/ 7 h 214"/>
                <a:gd name="T6" fmla="*/ 7 w 180"/>
                <a:gd name="T7" fmla="*/ 14 h 214"/>
                <a:gd name="T8" fmla="*/ 11 w 180"/>
                <a:gd name="T9" fmla="*/ 16 h 214"/>
                <a:gd name="T10" fmla="*/ 14 w 180"/>
                <a:gd name="T11" fmla="*/ 20 h 214"/>
                <a:gd name="T12" fmla="*/ 20 w 180"/>
                <a:gd name="T13" fmla="*/ 37 h 214"/>
                <a:gd name="T14" fmla="*/ 32 w 180"/>
                <a:gd name="T15" fmla="*/ 55 h 214"/>
                <a:gd name="T16" fmla="*/ 26 w 180"/>
                <a:gd name="T17" fmla="*/ 59 h 214"/>
                <a:gd name="T18" fmla="*/ 22 w 180"/>
                <a:gd name="T19" fmla="*/ 73 h 214"/>
                <a:gd name="T20" fmla="*/ 17 w 180"/>
                <a:gd name="T21" fmla="*/ 81 h 214"/>
                <a:gd name="T22" fmla="*/ 13 w 180"/>
                <a:gd name="T23" fmla="*/ 83 h 214"/>
                <a:gd name="T24" fmla="*/ 9 w 180"/>
                <a:gd name="T25" fmla="*/ 91 h 214"/>
                <a:gd name="T26" fmla="*/ 3 w 180"/>
                <a:gd name="T27" fmla="*/ 100 h 214"/>
                <a:gd name="T28" fmla="*/ 1 w 180"/>
                <a:gd name="T29" fmla="*/ 103 h 214"/>
                <a:gd name="T30" fmla="*/ 5 w 180"/>
                <a:gd name="T31" fmla="*/ 113 h 214"/>
                <a:gd name="T32" fmla="*/ 18 w 180"/>
                <a:gd name="T33" fmla="*/ 108 h 214"/>
                <a:gd name="T34" fmla="*/ 19 w 180"/>
                <a:gd name="T35" fmla="*/ 112 h 214"/>
                <a:gd name="T36" fmla="*/ 15 w 180"/>
                <a:gd name="T37" fmla="*/ 114 h 214"/>
                <a:gd name="T38" fmla="*/ 13 w 180"/>
                <a:gd name="T39" fmla="*/ 113 h 214"/>
                <a:gd name="T40" fmla="*/ 11 w 180"/>
                <a:gd name="T41" fmla="*/ 118 h 214"/>
                <a:gd name="T42" fmla="*/ 8 w 180"/>
                <a:gd name="T43" fmla="*/ 116 h 214"/>
                <a:gd name="T44" fmla="*/ 6 w 180"/>
                <a:gd name="T45" fmla="*/ 116 h 214"/>
                <a:gd name="T46" fmla="*/ 4 w 180"/>
                <a:gd name="T47" fmla="*/ 126 h 214"/>
                <a:gd name="T48" fmla="*/ 77 w 180"/>
                <a:gd name="T49" fmla="*/ 169 h 214"/>
                <a:gd name="T50" fmla="*/ 83 w 180"/>
                <a:gd name="T51" fmla="*/ 173 h 214"/>
                <a:gd name="T52" fmla="*/ 90 w 180"/>
                <a:gd name="T53" fmla="*/ 182 h 214"/>
                <a:gd name="T54" fmla="*/ 108 w 180"/>
                <a:gd name="T55" fmla="*/ 201 h 214"/>
                <a:gd name="T56" fmla="*/ 116 w 180"/>
                <a:gd name="T57" fmla="*/ 207 h 214"/>
                <a:gd name="T58" fmla="*/ 132 w 180"/>
                <a:gd name="T59" fmla="*/ 206 h 214"/>
                <a:gd name="T60" fmla="*/ 136 w 180"/>
                <a:gd name="T61" fmla="*/ 190 h 214"/>
                <a:gd name="T62" fmla="*/ 158 w 180"/>
                <a:gd name="T63" fmla="*/ 162 h 214"/>
                <a:gd name="T64" fmla="*/ 164 w 180"/>
                <a:gd name="T65" fmla="*/ 159 h 214"/>
                <a:gd name="T66" fmla="*/ 163 w 180"/>
                <a:gd name="T67" fmla="*/ 156 h 214"/>
                <a:gd name="T68" fmla="*/ 165 w 180"/>
                <a:gd name="T69" fmla="*/ 150 h 214"/>
                <a:gd name="T70" fmla="*/ 176 w 180"/>
                <a:gd name="T71" fmla="*/ 147 h 214"/>
                <a:gd name="T72" fmla="*/ 165 w 180"/>
                <a:gd name="T73" fmla="*/ 131 h 214"/>
                <a:gd name="T74" fmla="*/ 162 w 180"/>
                <a:gd name="T75" fmla="*/ 110 h 214"/>
                <a:gd name="T76" fmla="*/ 162 w 180"/>
                <a:gd name="T77" fmla="*/ 47 h 214"/>
                <a:gd name="T78" fmla="*/ 165 w 180"/>
                <a:gd name="T79" fmla="*/ 33 h 214"/>
                <a:gd name="T80" fmla="*/ 170 w 180"/>
                <a:gd name="T81" fmla="*/ 27 h 214"/>
                <a:gd name="T82" fmla="*/ 172 w 180"/>
                <a:gd name="T83" fmla="*/ 16 h 214"/>
                <a:gd name="T84" fmla="*/ 159 w 180"/>
                <a:gd name="T85" fmla="*/ 8 h 214"/>
                <a:gd name="T86" fmla="*/ 132 w 180"/>
                <a:gd name="T87" fmla="*/ 28 h 214"/>
                <a:gd name="T88" fmla="*/ 128 w 180"/>
                <a:gd name="T89" fmla="*/ 28 h 214"/>
                <a:gd name="T90" fmla="*/ 115 w 180"/>
                <a:gd name="T91" fmla="*/ 25 h 214"/>
                <a:gd name="T92" fmla="*/ 91 w 180"/>
                <a:gd name="T93" fmla="*/ 20 h 214"/>
                <a:gd name="T94" fmla="*/ 75 w 180"/>
                <a:gd name="T95" fmla="*/ 9 h 214"/>
                <a:gd name="T96" fmla="*/ 68 w 180"/>
                <a:gd name="T97" fmla="*/ 6 h 214"/>
                <a:gd name="T98" fmla="*/ 62 w 180"/>
                <a:gd name="T99" fmla="*/ 4 h 2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214">
                  <a:moveTo>
                    <a:pt x="164" y="158"/>
                  </a:moveTo>
                  <a:cubicBezTo>
                    <a:pt x="164" y="158"/>
                    <a:pt x="164" y="158"/>
                    <a:pt x="164" y="158"/>
                  </a:cubicBezTo>
                  <a:cubicBezTo>
                    <a:pt x="164" y="158"/>
                    <a:pt x="164" y="158"/>
                    <a:pt x="164" y="158"/>
                  </a:cubicBezTo>
                  <a:moveTo>
                    <a:pt x="44" y="0"/>
                  </a:moveTo>
                  <a:cubicBezTo>
                    <a:pt x="41" y="0"/>
                    <a:pt x="41" y="0"/>
                    <a:pt x="41" y="0"/>
                  </a:cubicBezTo>
                  <a:cubicBezTo>
                    <a:pt x="11" y="0"/>
                    <a:pt x="11" y="0"/>
                    <a:pt x="11" y="0"/>
                  </a:cubicBezTo>
                  <a:cubicBezTo>
                    <a:pt x="10" y="0"/>
                    <a:pt x="10" y="0"/>
                    <a:pt x="9" y="1"/>
                  </a:cubicBezTo>
                  <a:cubicBezTo>
                    <a:pt x="8" y="2"/>
                    <a:pt x="8" y="2"/>
                    <a:pt x="8" y="3"/>
                  </a:cubicBezTo>
                  <a:cubicBezTo>
                    <a:pt x="7" y="3"/>
                    <a:pt x="7" y="4"/>
                    <a:pt x="6" y="4"/>
                  </a:cubicBezTo>
                  <a:cubicBezTo>
                    <a:pt x="6" y="4"/>
                    <a:pt x="6" y="4"/>
                    <a:pt x="6" y="4"/>
                  </a:cubicBezTo>
                  <a:cubicBezTo>
                    <a:pt x="4" y="7"/>
                    <a:pt x="4" y="7"/>
                    <a:pt x="4" y="7"/>
                  </a:cubicBezTo>
                  <a:cubicBezTo>
                    <a:pt x="4" y="7"/>
                    <a:pt x="4" y="7"/>
                    <a:pt x="4" y="7"/>
                  </a:cubicBezTo>
                  <a:cubicBezTo>
                    <a:pt x="4" y="8"/>
                    <a:pt x="4" y="8"/>
                    <a:pt x="4" y="9"/>
                  </a:cubicBezTo>
                  <a:cubicBezTo>
                    <a:pt x="5" y="10"/>
                    <a:pt x="5" y="10"/>
                    <a:pt x="5" y="10"/>
                  </a:cubicBezTo>
                  <a:cubicBezTo>
                    <a:pt x="5" y="11"/>
                    <a:pt x="5" y="12"/>
                    <a:pt x="6" y="13"/>
                  </a:cubicBezTo>
                  <a:cubicBezTo>
                    <a:pt x="6" y="14"/>
                    <a:pt x="6" y="14"/>
                    <a:pt x="7" y="14"/>
                  </a:cubicBezTo>
                  <a:cubicBezTo>
                    <a:pt x="7" y="15"/>
                    <a:pt x="7" y="15"/>
                    <a:pt x="8" y="15"/>
                  </a:cubicBezTo>
                  <a:cubicBezTo>
                    <a:pt x="8" y="15"/>
                    <a:pt x="8" y="15"/>
                    <a:pt x="8" y="15"/>
                  </a:cubicBezTo>
                  <a:cubicBezTo>
                    <a:pt x="9" y="15"/>
                    <a:pt x="10" y="16"/>
                    <a:pt x="11" y="16"/>
                  </a:cubicBezTo>
                  <a:cubicBezTo>
                    <a:pt x="11" y="16"/>
                    <a:pt x="11" y="16"/>
                    <a:pt x="11" y="16"/>
                  </a:cubicBezTo>
                  <a:cubicBezTo>
                    <a:pt x="12" y="17"/>
                    <a:pt x="13" y="17"/>
                    <a:pt x="13" y="18"/>
                  </a:cubicBezTo>
                  <a:cubicBezTo>
                    <a:pt x="13" y="18"/>
                    <a:pt x="13" y="18"/>
                    <a:pt x="13" y="18"/>
                  </a:cubicBezTo>
                  <a:cubicBezTo>
                    <a:pt x="14" y="19"/>
                    <a:pt x="14" y="19"/>
                    <a:pt x="14" y="19"/>
                  </a:cubicBezTo>
                  <a:cubicBezTo>
                    <a:pt x="14" y="20"/>
                    <a:pt x="14" y="20"/>
                    <a:pt x="14" y="20"/>
                  </a:cubicBezTo>
                  <a:cubicBezTo>
                    <a:pt x="15" y="22"/>
                    <a:pt x="15" y="25"/>
                    <a:pt x="16" y="28"/>
                  </a:cubicBezTo>
                  <a:cubicBezTo>
                    <a:pt x="16" y="30"/>
                    <a:pt x="16" y="30"/>
                    <a:pt x="16" y="30"/>
                  </a:cubicBezTo>
                  <a:cubicBezTo>
                    <a:pt x="16" y="32"/>
                    <a:pt x="17" y="33"/>
                    <a:pt x="19" y="35"/>
                  </a:cubicBezTo>
                  <a:cubicBezTo>
                    <a:pt x="20" y="37"/>
                    <a:pt x="20" y="37"/>
                    <a:pt x="20" y="37"/>
                  </a:cubicBezTo>
                  <a:cubicBezTo>
                    <a:pt x="20" y="37"/>
                    <a:pt x="20" y="38"/>
                    <a:pt x="21" y="38"/>
                  </a:cubicBezTo>
                  <a:cubicBezTo>
                    <a:pt x="23" y="42"/>
                    <a:pt x="25" y="45"/>
                    <a:pt x="25" y="47"/>
                  </a:cubicBezTo>
                  <a:cubicBezTo>
                    <a:pt x="25" y="51"/>
                    <a:pt x="25" y="53"/>
                    <a:pt x="26" y="57"/>
                  </a:cubicBezTo>
                  <a:cubicBezTo>
                    <a:pt x="32" y="55"/>
                    <a:pt x="32" y="55"/>
                    <a:pt x="32" y="55"/>
                  </a:cubicBezTo>
                  <a:cubicBezTo>
                    <a:pt x="26" y="58"/>
                    <a:pt x="26" y="58"/>
                    <a:pt x="26" y="58"/>
                  </a:cubicBezTo>
                  <a:cubicBezTo>
                    <a:pt x="26" y="59"/>
                    <a:pt x="26" y="59"/>
                    <a:pt x="26" y="59"/>
                  </a:cubicBezTo>
                  <a:cubicBezTo>
                    <a:pt x="26" y="59"/>
                    <a:pt x="26" y="59"/>
                    <a:pt x="26" y="59"/>
                  </a:cubicBezTo>
                  <a:cubicBezTo>
                    <a:pt x="26" y="59"/>
                    <a:pt x="26" y="59"/>
                    <a:pt x="26" y="59"/>
                  </a:cubicBezTo>
                  <a:cubicBezTo>
                    <a:pt x="27" y="62"/>
                    <a:pt x="26" y="65"/>
                    <a:pt x="24" y="69"/>
                  </a:cubicBezTo>
                  <a:cubicBezTo>
                    <a:pt x="23" y="70"/>
                    <a:pt x="23" y="70"/>
                    <a:pt x="23" y="70"/>
                  </a:cubicBezTo>
                  <a:cubicBezTo>
                    <a:pt x="23" y="71"/>
                    <a:pt x="23" y="71"/>
                    <a:pt x="23" y="72"/>
                  </a:cubicBezTo>
                  <a:cubicBezTo>
                    <a:pt x="22" y="72"/>
                    <a:pt x="22" y="73"/>
                    <a:pt x="22" y="73"/>
                  </a:cubicBezTo>
                  <a:cubicBezTo>
                    <a:pt x="22" y="73"/>
                    <a:pt x="22" y="73"/>
                    <a:pt x="22" y="73"/>
                  </a:cubicBezTo>
                  <a:cubicBezTo>
                    <a:pt x="22" y="74"/>
                    <a:pt x="22" y="74"/>
                    <a:pt x="22" y="74"/>
                  </a:cubicBezTo>
                  <a:cubicBezTo>
                    <a:pt x="22" y="75"/>
                    <a:pt x="23" y="77"/>
                    <a:pt x="22" y="78"/>
                  </a:cubicBezTo>
                  <a:cubicBezTo>
                    <a:pt x="21" y="80"/>
                    <a:pt x="19" y="80"/>
                    <a:pt x="17" y="81"/>
                  </a:cubicBezTo>
                  <a:cubicBezTo>
                    <a:pt x="17" y="81"/>
                    <a:pt x="17" y="81"/>
                    <a:pt x="17" y="81"/>
                  </a:cubicBezTo>
                  <a:cubicBezTo>
                    <a:pt x="16" y="84"/>
                    <a:pt x="16" y="84"/>
                    <a:pt x="16" y="84"/>
                  </a:cubicBezTo>
                  <a:cubicBezTo>
                    <a:pt x="14" y="83"/>
                    <a:pt x="14" y="83"/>
                    <a:pt x="14" y="83"/>
                  </a:cubicBezTo>
                  <a:cubicBezTo>
                    <a:pt x="13" y="83"/>
                    <a:pt x="13" y="83"/>
                    <a:pt x="13" y="83"/>
                  </a:cubicBezTo>
                  <a:cubicBezTo>
                    <a:pt x="13" y="84"/>
                    <a:pt x="12" y="85"/>
                    <a:pt x="12" y="86"/>
                  </a:cubicBezTo>
                  <a:cubicBezTo>
                    <a:pt x="11" y="87"/>
                    <a:pt x="11" y="87"/>
                    <a:pt x="11" y="87"/>
                  </a:cubicBezTo>
                  <a:cubicBezTo>
                    <a:pt x="11" y="88"/>
                    <a:pt x="11" y="88"/>
                    <a:pt x="10" y="89"/>
                  </a:cubicBezTo>
                  <a:cubicBezTo>
                    <a:pt x="10" y="89"/>
                    <a:pt x="9" y="90"/>
                    <a:pt x="9" y="91"/>
                  </a:cubicBezTo>
                  <a:cubicBezTo>
                    <a:pt x="8" y="92"/>
                    <a:pt x="8" y="92"/>
                    <a:pt x="8" y="92"/>
                  </a:cubicBezTo>
                  <a:cubicBezTo>
                    <a:pt x="7" y="93"/>
                    <a:pt x="6" y="94"/>
                    <a:pt x="6" y="95"/>
                  </a:cubicBezTo>
                  <a:cubicBezTo>
                    <a:pt x="5" y="96"/>
                    <a:pt x="5" y="96"/>
                    <a:pt x="5" y="97"/>
                  </a:cubicBezTo>
                  <a:cubicBezTo>
                    <a:pt x="5" y="98"/>
                    <a:pt x="4" y="99"/>
                    <a:pt x="3" y="100"/>
                  </a:cubicBezTo>
                  <a:cubicBezTo>
                    <a:pt x="3" y="100"/>
                    <a:pt x="3" y="100"/>
                    <a:pt x="3" y="100"/>
                  </a:cubicBezTo>
                  <a:cubicBezTo>
                    <a:pt x="3" y="101"/>
                    <a:pt x="3" y="102"/>
                    <a:pt x="3" y="102"/>
                  </a:cubicBezTo>
                  <a:cubicBezTo>
                    <a:pt x="2" y="103"/>
                    <a:pt x="2" y="103"/>
                    <a:pt x="2" y="103"/>
                  </a:cubicBezTo>
                  <a:cubicBezTo>
                    <a:pt x="1" y="103"/>
                    <a:pt x="1" y="103"/>
                    <a:pt x="1" y="103"/>
                  </a:cubicBezTo>
                  <a:cubicBezTo>
                    <a:pt x="1" y="104"/>
                    <a:pt x="1" y="104"/>
                    <a:pt x="1" y="104"/>
                  </a:cubicBezTo>
                  <a:cubicBezTo>
                    <a:pt x="0" y="104"/>
                    <a:pt x="0" y="104"/>
                    <a:pt x="0" y="104"/>
                  </a:cubicBezTo>
                  <a:cubicBezTo>
                    <a:pt x="0" y="105"/>
                    <a:pt x="0" y="106"/>
                    <a:pt x="1" y="106"/>
                  </a:cubicBezTo>
                  <a:cubicBezTo>
                    <a:pt x="2" y="108"/>
                    <a:pt x="4" y="111"/>
                    <a:pt x="5" y="113"/>
                  </a:cubicBezTo>
                  <a:cubicBezTo>
                    <a:pt x="6" y="114"/>
                    <a:pt x="7" y="114"/>
                    <a:pt x="7" y="114"/>
                  </a:cubicBezTo>
                  <a:cubicBezTo>
                    <a:pt x="7" y="114"/>
                    <a:pt x="7" y="114"/>
                    <a:pt x="8" y="114"/>
                  </a:cubicBezTo>
                  <a:cubicBezTo>
                    <a:pt x="10" y="112"/>
                    <a:pt x="8" y="111"/>
                    <a:pt x="8" y="111"/>
                  </a:cubicBezTo>
                  <a:cubicBezTo>
                    <a:pt x="9" y="110"/>
                    <a:pt x="16" y="108"/>
                    <a:pt x="18" y="108"/>
                  </a:cubicBezTo>
                  <a:cubicBezTo>
                    <a:pt x="17" y="110"/>
                    <a:pt x="20" y="111"/>
                    <a:pt x="20" y="112"/>
                  </a:cubicBezTo>
                  <a:cubicBezTo>
                    <a:pt x="20" y="113"/>
                    <a:pt x="20" y="113"/>
                    <a:pt x="20" y="113"/>
                  </a:cubicBezTo>
                  <a:cubicBezTo>
                    <a:pt x="20" y="113"/>
                    <a:pt x="19" y="113"/>
                    <a:pt x="19" y="113"/>
                  </a:cubicBezTo>
                  <a:cubicBezTo>
                    <a:pt x="19" y="112"/>
                    <a:pt x="19" y="112"/>
                    <a:pt x="19" y="112"/>
                  </a:cubicBezTo>
                  <a:cubicBezTo>
                    <a:pt x="19" y="112"/>
                    <a:pt x="19" y="112"/>
                    <a:pt x="19" y="112"/>
                  </a:cubicBezTo>
                  <a:cubicBezTo>
                    <a:pt x="17" y="113"/>
                    <a:pt x="18" y="113"/>
                    <a:pt x="16" y="114"/>
                  </a:cubicBezTo>
                  <a:cubicBezTo>
                    <a:pt x="16" y="114"/>
                    <a:pt x="16" y="114"/>
                    <a:pt x="16" y="114"/>
                  </a:cubicBezTo>
                  <a:cubicBezTo>
                    <a:pt x="16" y="114"/>
                    <a:pt x="15" y="114"/>
                    <a:pt x="15" y="114"/>
                  </a:cubicBezTo>
                  <a:cubicBezTo>
                    <a:pt x="15" y="113"/>
                    <a:pt x="14" y="113"/>
                    <a:pt x="14" y="113"/>
                  </a:cubicBezTo>
                  <a:cubicBezTo>
                    <a:pt x="14" y="113"/>
                    <a:pt x="14" y="113"/>
                    <a:pt x="14" y="113"/>
                  </a:cubicBezTo>
                  <a:cubicBezTo>
                    <a:pt x="14" y="113"/>
                    <a:pt x="14" y="113"/>
                    <a:pt x="13" y="113"/>
                  </a:cubicBezTo>
                  <a:cubicBezTo>
                    <a:pt x="13" y="113"/>
                    <a:pt x="13" y="113"/>
                    <a:pt x="13" y="113"/>
                  </a:cubicBezTo>
                  <a:cubicBezTo>
                    <a:pt x="13" y="113"/>
                    <a:pt x="13" y="113"/>
                    <a:pt x="13" y="113"/>
                  </a:cubicBezTo>
                  <a:cubicBezTo>
                    <a:pt x="12" y="113"/>
                    <a:pt x="12" y="114"/>
                    <a:pt x="12" y="115"/>
                  </a:cubicBezTo>
                  <a:cubicBezTo>
                    <a:pt x="12" y="116"/>
                    <a:pt x="12" y="117"/>
                    <a:pt x="11" y="117"/>
                  </a:cubicBezTo>
                  <a:cubicBezTo>
                    <a:pt x="11" y="118"/>
                    <a:pt x="11" y="118"/>
                    <a:pt x="11" y="118"/>
                  </a:cubicBezTo>
                  <a:cubicBezTo>
                    <a:pt x="10" y="118"/>
                    <a:pt x="10" y="116"/>
                    <a:pt x="9" y="116"/>
                  </a:cubicBezTo>
                  <a:cubicBezTo>
                    <a:pt x="9" y="116"/>
                    <a:pt x="9" y="116"/>
                    <a:pt x="9" y="116"/>
                  </a:cubicBezTo>
                  <a:cubicBezTo>
                    <a:pt x="9" y="116"/>
                    <a:pt x="9" y="116"/>
                    <a:pt x="9" y="116"/>
                  </a:cubicBezTo>
                  <a:cubicBezTo>
                    <a:pt x="9" y="116"/>
                    <a:pt x="8" y="116"/>
                    <a:pt x="8" y="116"/>
                  </a:cubicBezTo>
                  <a:cubicBezTo>
                    <a:pt x="8" y="116"/>
                    <a:pt x="8" y="116"/>
                    <a:pt x="8" y="116"/>
                  </a:cubicBezTo>
                  <a:cubicBezTo>
                    <a:pt x="7" y="116"/>
                    <a:pt x="7" y="116"/>
                    <a:pt x="7" y="116"/>
                  </a:cubicBezTo>
                  <a:cubicBezTo>
                    <a:pt x="7" y="116"/>
                    <a:pt x="7" y="116"/>
                    <a:pt x="7" y="116"/>
                  </a:cubicBezTo>
                  <a:cubicBezTo>
                    <a:pt x="6" y="116"/>
                    <a:pt x="6" y="116"/>
                    <a:pt x="6" y="116"/>
                  </a:cubicBezTo>
                  <a:cubicBezTo>
                    <a:pt x="6" y="116"/>
                    <a:pt x="6" y="116"/>
                    <a:pt x="6" y="116"/>
                  </a:cubicBezTo>
                  <a:cubicBezTo>
                    <a:pt x="4" y="116"/>
                    <a:pt x="5" y="116"/>
                    <a:pt x="4" y="117"/>
                  </a:cubicBezTo>
                  <a:cubicBezTo>
                    <a:pt x="3" y="118"/>
                    <a:pt x="1" y="122"/>
                    <a:pt x="2" y="123"/>
                  </a:cubicBezTo>
                  <a:cubicBezTo>
                    <a:pt x="2" y="124"/>
                    <a:pt x="4" y="125"/>
                    <a:pt x="4" y="126"/>
                  </a:cubicBezTo>
                  <a:cubicBezTo>
                    <a:pt x="4" y="126"/>
                    <a:pt x="4" y="127"/>
                    <a:pt x="4" y="127"/>
                  </a:cubicBezTo>
                  <a:cubicBezTo>
                    <a:pt x="16" y="134"/>
                    <a:pt x="29" y="141"/>
                    <a:pt x="41" y="149"/>
                  </a:cubicBezTo>
                  <a:cubicBezTo>
                    <a:pt x="53" y="155"/>
                    <a:pt x="64" y="161"/>
                    <a:pt x="75" y="167"/>
                  </a:cubicBezTo>
                  <a:cubicBezTo>
                    <a:pt x="77" y="169"/>
                    <a:pt x="77" y="169"/>
                    <a:pt x="77" y="169"/>
                  </a:cubicBezTo>
                  <a:cubicBezTo>
                    <a:pt x="79" y="170"/>
                    <a:pt x="81" y="171"/>
                    <a:pt x="82" y="173"/>
                  </a:cubicBezTo>
                  <a:cubicBezTo>
                    <a:pt x="82" y="174"/>
                    <a:pt x="82" y="174"/>
                    <a:pt x="82" y="174"/>
                  </a:cubicBezTo>
                  <a:cubicBezTo>
                    <a:pt x="82" y="173"/>
                    <a:pt x="82" y="173"/>
                    <a:pt x="82" y="173"/>
                  </a:cubicBezTo>
                  <a:cubicBezTo>
                    <a:pt x="83" y="173"/>
                    <a:pt x="83" y="173"/>
                    <a:pt x="83" y="173"/>
                  </a:cubicBezTo>
                  <a:cubicBezTo>
                    <a:pt x="83" y="173"/>
                    <a:pt x="84" y="174"/>
                    <a:pt x="84" y="174"/>
                  </a:cubicBezTo>
                  <a:cubicBezTo>
                    <a:pt x="86" y="175"/>
                    <a:pt x="86" y="175"/>
                    <a:pt x="86" y="175"/>
                  </a:cubicBezTo>
                  <a:cubicBezTo>
                    <a:pt x="87" y="177"/>
                    <a:pt x="89" y="178"/>
                    <a:pt x="89" y="179"/>
                  </a:cubicBezTo>
                  <a:cubicBezTo>
                    <a:pt x="90" y="180"/>
                    <a:pt x="90" y="181"/>
                    <a:pt x="90" y="182"/>
                  </a:cubicBezTo>
                  <a:cubicBezTo>
                    <a:pt x="90" y="183"/>
                    <a:pt x="89" y="184"/>
                    <a:pt x="89" y="185"/>
                  </a:cubicBezTo>
                  <a:cubicBezTo>
                    <a:pt x="89" y="186"/>
                    <a:pt x="89" y="186"/>
                    <a:pt x="89" y="187"/>
                  </a:cubicBezTo>
                  <a:cubicBezTo>
                    <a:pt x="94" y="191"/>
                    <a:pt x="99" y="195"/>
                    <a:pt x="104" y="199"/>
                  </a:cubicBezTo>
                  <a:cubicBezTo>
                    <a:pt x="108" y="201"/>
                    <a:pt x="108" y="201"/>
                    <a:pt x="108" y="201"/>
                  </a:cubicBezTo>
                  <a:cubicBezTo>
                    <a:pt x="108" y="201"/>
                    <a:pt x="109" y="202"/>
                    <a:pt x="110" y="203"/>
                  </a:cubicBezTo>
                  <a:cubicBezTo>
                    <a:pt x="111" y="203"/>
                    <a:pt x="111" y="203"/>
                    <a:pt x="111" y="203"/>
                  </a:cubicBezTo>
                  <a:cubicBezTo>
                    <a:pt x="112" y="204"/>
                    <a:pt x="113" y="205"/>
                    <a:pt x="114" y="206"/>
                  </a:cubicBezTo>
                  <a:cubicBezTo>
                    <a:pt x="116" y="207"/>
                    <a:pt x="116" y="207"/>
                    <a:pt x="116" y="207"/>
                  </a:cubicBezTo>
                  <a:cubicBezTo>
                    <a:pt x="119" y="209"/>
                    <a:pt x="121" y="211"/>
                    <a:pt x="124" y="213"/>
                  </a:cubicBezTo>
                  <a:cubicBezTo>
                    <a:pt x="124" y="213"/>
                    <a:pt x="124" y="213"/>
                    <a:pt x="124" y="213"/>
                  </a:cubicBezTo>
                  <a:cubicBezTo>
                    <a:pt x="125" y="214"/>
                    <a:pt x="125" y="214"/>
                    <a:pt x="125" y="214"/>
                  </a:cubicBezTo>
                  <a:cubicBezTo>
                    <a:pt x="128" y="211"/>
                    <a:pt x="130" y="210"/>
                    <a:pt x="132" y="206"/>
                  </a:cubicBezTo>
                  <a:cubicBezTo>
                    <a:pt x="132" y="205"/>
                    <a:pt x="133" y="204"/>
                    <a:pt x="133" y="202"/>
                  </a:cubicBezTo>
                  <a:cubicBezTo>
                    <a:pt x="134" y="201"/>
                    <a:pt x="131" y="199"/>
                    <a:pt x="133" y="199"/>
                  </a:cubicBezTo>
                  <a:cubicBezTo>
                    <a:pt x="136" y="198"/>
                    <a:pt x="138" y="196"/>
                    <a:pt x="138" y="193"/>
                  </a:cubicBezTo>
                  <a:cubicBezTo>
                    <a:pt x="138" y="191"/>
                    <a:pt x="136" y="191"/>
                    <a:pt x="136" y="190"/>
                  </a:cubicBezTo>
                  <a:cubicBezTo>
                    <a:pt x="136" y="188"/>
                    <a:pt x="140" y="185"/>
                    <a:pt x="141" y="184"/>
                  </a:cubicBezTo>
                  <a:cubicBezTo>
                    <a:pt x="144" y="182"/>
                    <a:pt x="144" y="183"/>
                    <a:pt x="145" y="180"/>
                  </a:cubicBezTo>
                  <a:cubicBezTo>
                    <a:pt x="146" y="177"/>
                    <a:pt x="146" y="176"/>
                    <a:pt x="146" y="174"/>
                  </a:cubicBezTo>
                  <a:cubicBezTo>
                    <a:pt x="147" y="164"/>
                    <a:pt x="153" y="167"/>
                    <a:pt x="158" y="162"/>
                  </a:cubicBezTo>
                  <a:cubicBezTo>
                    <a:pt x="158" y="161"/>
                    <a:pt x="160" y="158"/>
                    <a:pt x="162" y="158"/>
                  </a:cubicBezTo>
                  <a:cubicBezTo>
                    <a:pt x="162" y="158"/>
                    <a:pt x="162" y="158"/>
                    <a:pt x="162" y="158"/>
                  </a:cubicBezTo>
                  <a:cubicBezTo>
                    <a:pt x="162" y="158"/>
                    <a:pt x="163" y="158"/>
                    <a:pt x="163" y="159"/>
                  </a:cubicBezTo>
                  <a:cubicBezTo>
                    <a:pt x="163" y="159"/>
                    <a:pt x="164" y="159"/>
                    <a:pt x="164" y="159"/>
                  </a:cubicBezTo>
                  <a:cubicBezTo>
                    <a:pt x="164" y="159"/>
                    <a:pt x="164" y="159"/>
                    <a:pt x="164" y="158"/>
                  </a:cubicBezTo>
                  <a:cubicBezTo>
                    <a:pt x="164" y="158"/>
                    <a:pt x="164" y="158"/>
                    <a:pt x="164" y="158"/>
                  </a:cubicBezTo>
                  <a:cubicBezTo>
                    <a:pt x="164" y="158"/>
                    <a:pt x="164" y="158"/>
                    <a:pt x="163" y="157"/>
                  </a:cubicBezTo>
                  <a:cubicBezTo>
                    <a:pt x="163" y="157"/>
                    <a:pt x="163" y="156"/>
                    <a:pt x="163" y="156"/>
                  </a:cubicBezTo>
                  <a:cubicBezTo>
                    <a:pt x="163" y="156"/>
                    <a:pt x="163" y="156"/>
                    <a:pt x="163" y="156"/>
                  </a:cubicBezTo>
                  <a:cubicBezTo>
                    <a:pt x="162" y="155"/>
                    <a:pt x="162" y="153"/>
                    <a:pt x="162" y="152"/>
                  </a:cubicBezTo>
                  <a:cubicBezTo>
                    <a:pt x="162" y="152"/>
                    <a:pt x="162" y="152"/>
                    <a:pt x="163" y="152"/>
                  </a:cubicBezTo>
                  <a:cubicBezTo>
                    <a:pt x="163" y="152"/>
                    <a:pt x="164" y="151"/>
                    <a:pt x="165" y="150"/>
                  </a:cubicBezTo>
                  <a:cubicBezTo>
                    <a:pt x="164" y="152"/>
                    <a:pt x="164" y="153"/>
                    <a:pt x="165" y="153"/>
                  </a:cubicBezTo>
                  <a:cubicBezTo>
                    <a:pt x="166" y="153"/>
                    <a:pt x="166" y="153"/>
                    <a:pt x="167" y="153"/>
                  </a:cubicBezTo>
                  <a:cubicBezTo>
                    <a:pt x="168" y="152"/>
                    <a:pt x="169" y="151"/>
                    <a:pt x="171" y="150"/>
                  </a:cubicBezTo>
                  <a:cubicBezTo>
                    <a:pt x="172" y="149"/>
                    <a:pt x="174" y="148"/>
                    <a:pt x="176" y="147"/>
                  </a:cubicBezTo>
                  <a:cubicBezTo>
                    <a:pt x="175" y="147"/>
                    <a:pt x="175" y="147"/>
                    <a:pt x="175" y="147"/>
                  </a:cubicBezTo>
                  <a:cubicBezTo>
                    <a:pt x="174" y="145"/>
                    <a:pt x="174" y="145"/>
                    <a:pt x="174" y="145"/>
                  </a:cubicBezTo>
                  <a:cubicBezTo>
                    <a:pt x="173" y="142"/>
                    <a:pt x="172" y="140"/>
                    <a:pt x="170" y="138"/>
                  </a:cubicBezTo>
                  <a:cubicBezTo>
                    <a:pt x="168" y="136"/>
                    <a:pt x="166" y="133"/>
                    <a:pt x="165" y="131"/>
                  </a:cubicBezTo>
                  <a:cubicBezTo>
                    <a:pt x="164" y="130"/>
                    <a:pt x="163" y="128"/>
                    <a:pt x="162" y="127"/>
                  </a:cubicBezTo>
                  <a:cubicBezTo>
                    <a:pt x="161" y="124"/>
                    <a:pt x="161" y="118"/>
                    <a:pt x="162" y="114"/>
                  </a:cubicBezTo>
                  <a:cubicBezTo>
                    <a:pt x="162" y="114"/>
                    <a:pt x="162" y="114"/>
                    <a:pt x="162" y="114"/>
                  </a:cubicBezTo>
                  <a:cubicBezTo>
                    <a:pt x="162" y="112"/>
                    <a:pt x="162" y="111"/>
                    <a:pt x="162" y="110"/>
                  </a:cubicBezTo>
                  <a:cubicBezTo>
                    <a:pt x="162" y="101"/>
                    <a:pt x="162" y="92"/>
                    <a:pt x="162" y="83"/>
                  </a:cubicBezTo>
                  <a:cubicBezTo>
                    <a:pt x="162" y="81"/>
                    <a:pt x="162" y="81"/>
                    <a:pt x="162" y="81"/>
                  </a:cubicBezTo>
                  <a:cubicBezTo>
                    <a:pt x="162" y="73"/>
                    <a:pt x="162" y="66"/>
                    <a:pt x="162" y="58"/>
                  </a:cubicBezTo>
                  <a:cubicBezTo>
                    <a:pt x="162" y="47"/>
                    <a:pt x="162" y="47"/>
                    <a:pt x="162" y="47"/>
                  </a:cubicBezTo>
                  <a:cubicBezTo>
                    <a:pt x="162" y="46"/>
                    <a:pt x="162" y="46"/>
                    <a:pt x="162" y="45"/>
                  </a:cubicBezTo>
                  <a:cubicBezTo>
                    <a:pt x="161" y="41"/>
                    <a:pt x="161" y="39"/>
                    <a:pt x="162" y="37"/>
                  </a:cubicBezTo>
                  <a:cubicBezTo>
                    <a:pt x="163" y="36"/>
                    <a:pt x="163" y="36"/>
                    <a:pt x="163" y="36"/>
                  </a:cubicBezTo>
                  <a:cubicBezTo>
                    <a:pt x="164" y="35"/>
                    <a:pt x="165" y="34"/>
                    <a:pt x="165" y="33"/>
                  </a:cubicBezTo>
                  <a:cubicBezTo>
                    <a:pt x="167" y="31"/>
                    <a:pt x="167" y="31"/>
                    <a:pt x="167" y="31"/>
                  </a:cubicBezTo>
                  <a:cubicBezTo>
                    <a:pt x="163" y="28"/>
                    <a:pt x="163" y="28"/>
                    <a:pt x="163" y="28"/>
                  </a:cubicBezTo>
                  <a:cubicBezTo>
                    <a:pt x="168" y="30"/>
                    <a:pt x="168" y="30"/>
                    <a:pt x="168" y="30"/>
                  </a:cubicBezTo>
                  <a:cubicBezTo>
                    <a:pt x="170" y="27"/>
                    <a:pt x="170" y="27"/>
                    <a:pt x="170" y="27"/>
                  </a:cubicBezTo>
                  <a:cubicBezTo>
                    <a:pt x="170" y="27"/>
                    <a:pt x="176" y="20"/>
                    <a:pt x="180" y="15"/>
                  </a:cubicBezTo>
                  <a:cubicBezTo>
                    <a:pt x="178" y="15"/>
                    <a:pt x="176" y="16"/>
                    <a:pt x="174" y="16"/>
                  </a:cubicBezTo>
                  <a:cubicBezTo>
                    <a:pt x="173" y="16"/>
                    <a:pt x="173" y="16"/>
                    <a:pt x="172" y="16"/>
                  </a:cubicBezTo>
                  <a:cubicBezTo>
                    <a:pt x="172" y="16"/>
                    <a:pt x="172" y="16"/>
                    <a:pt x="172" y="16"/>
                  </a:cubicBezTo>
                  <a:cubicBezTo>
                    <a:pt x="171" y="16"/>
                    <a:pt x="170" y="16"/>
                    <a:pt x="169" y="15"/>
                  </a:cubicBezTo>
                  <a:cubicBezTo>
                    <a:pt x="169" y="15"/>
                    <a:pt x="168" y="15"/>
                    <a:pt x="167" y="14"/>
                  </a:cubicBezTo>
                  <a:cubicBezTo>
                    <a:pt x="165" y="13"/>
                    <a:pt x="162" y="11"/>
                    <a:pt x="161" y="9"/>
                  </a:cubicBezTo>
                  <a:cubicBezTo>
                    <a:pt x="160" y="9"/>
                    <a:pt x="160" y="8"/>
                    <a:pt x="159" y="8"/>
                  </a:cubicBezTo>
                  <a:cubicBezTo>
                    <a:pt x="142" y="16"/>
                    <a:pt x="142" y="16"/>
                    <a:pt x="142" y="16"/>
                  </a:cubicBezTo>
                  <a:cubicBezTo>
                    <a:pt x="140" y="17"/>
                    <a:pt x="139" y="19"/>
                    <a:pt x="138" y="21"/>
                  </a:cubicBezTo>
                  <a:cubicBezTo>
                    <a:pt x="136" y="23"/>
                    <a:pt x="135" y="26"/>
                    <a:pt x="132" y="27"/>
                  </a:cubicBezTo>
                  <a:cubicBezTo>
                    <a:pt x="132" y="28"/>
                    <a:pt x="132" y="28"/>
                    <a:pt x="132" y="28"/>
                  </a:cubicBezTo>
                  <a:cubicBezTo>
                    <a:pt x="131" y="28"/>
                    <a:pt x="131" y="28"/>
                    <a:pt x="131" y="28"/>
                  </a:cubicBezTo>
                  <a:cubicBezTo>
                    <a:pt x="131" y="28"/>
                    <a:pt x="130" y="28"/>
                    <a:pt x="130" y="28"/>
                  </a:cubicBezTo>
                  <a:cubicBezTo>
                    <a:pt x="129" y="28"/>
                    <a:pt x="129" y="28"/>
                    <a:pt x="129" y="28"/>
                  </a:cubicBezTo>
                  <a:cubicBezTo>
                    <a:pt x="128" y="28"/>
                    <a:pt x="128" y="28"/>
                    <a:pt x="128" y="28"/>
                  </a:cubicBezTo>
                  <a:cubicBezTo>
                    <a:pt x="126" y="28"/>
                    <a:pt x="126" y="28"/>
                    <a:pt x="126" y="28"/>
                  </a:cubicBezTo>
                  <a:cubicBezTo>
                    <a:pt x="126" y="27"/>
                    <a:pt x="126" y="27"/>
                    <a:pt x="126" y="27"/>
                  </a:cubicBezTo>
                  <a:cubicBezTo>
                    <a:pt x="124" y="27"/>
                    <a:pt x="121" y="26"/>
                    <a:pt x="118" y="26"/>
                  </a:cubicBezTo>
                  <a:cubicBezTo>
                    <a:pt x="115" y="25"/>
                    <a:pt x="115" y="25"/>
                    <a:pt x="115" y="25"/>
                  </a:cubicBezTo>
                  <a:cubicBezTo>
                    <a:pt x="114" y="25"/>
                    <a:pt x="114" y="25"/>
                    <a:pt x="113" y="25"/>
                  </a:cubicBezTo>
                  <a:cubicBezTo>
                    <a:pt x="112" y="25"/>
                    <a:pt x="112" y="25"/>
                    <a:pt x="112" y="25"/>
                  </a:cubicBezTo>
                  <a:cubicBezTo>
                    <a:pt x="106" y="25"/>
                    <a:pt x="99" y="25"/>
                    <a:pt x="95" y="22"/>
                  </a:cubicBezTo>
                  <a:cubicBezTo>
                    <a:pt x="93" y="21"/>
                    <a:pt x="92" y="20"/>
                    <a:pt x="91" y="20"/>
                  </a:cubicBezTo>
                  <a:cubicBezTo>
                    <a:pt x="90" y="19"/>
                    <a:pt x="90" y="19"/>
                    <a:pt x="90" y="19"/>
                  </a:cubicBezTo>
                  <a:cubicBezTo>
                    <a:pt x="87" y="17"/>
                    <a:pt x="84" y="15"/>
                    <a:pt x="81" y="13"/>
                  </a:cubicBezTo>
                  <a:cubicBezTo>
                    <a:pt x="80" y="12"/>
                    <a:pt x="80" y="12"/>
                    <a:pt x="80" y="12"/>
                  </a:cubicBezTo>
                  <a:cubicBezTo>
                    <a:pt x="78" y="11"/>
                    <a:pt x="76" y="10"/>
                    <a:pt x="75" y="9"/>
                  </a:cubicBezTo>
                  <a:cubicBezTo>
                    <a:pt x="74" y="9"/>
                    <a:pt x="74" y="9"/>
                    <a:pt x="74" y="9"/>
                  </a:cubicBezTo>
                  <a:cubicBezTo>
                    <a:pt x="73" y="8"/>
                    <a:pt x="72" y="8"/>
                    <a:pt x="71" y="7"/>
                  </a:cubicBezTo>
                  <a:cubicBezTo>
                    <a:pt x="70" y="7"/>
                    <a:pt x="70" y="7"/>
                    <a:pt x="70" y="7"/>
                  </a:cubicBezTo>
                  <a:cubicBezTo>
                    <a:pt x="69" y="6"/>
                    <a:pt x="69" y="6"/>
                    <a:pt x="68" y="6"/>
                  </a:cubicBezTo>
                  <a:cubicBezTo>
                    <a:pt x="68" y="6"/>
                    <a:pt x="68" y="6"/>
                    <a:pt x="68" y="6"/>
                  </a:cubicBezTo>
                  <a:cubicBezTo>
                    <a:pt x="67" y="5"/>
                    <a:pt x="67" y="5"/>
                    <a:pt x="67" y="5"/>
                  </a:cubicBezTo>
                  <a:cubicBezTo>
                    <a:pt x="66" y="5"/>
                    <a:pt x="66" y="5"/>
                    <a:pt x="65" y="4"/>
                  </a:cubicBezTo>
                  <a:cubicBezTo>
                    <a:pt x="64" y="4"/>
                    <a:pt x="63" y="4"/>
                    <a:pt x="62" y="4"/>
                  </a:cubicBezTo>
                  <a:cubicBezTo>
                    <a:pt x="49" y="4"/>
                    <a:pt x="49" y="4"/>
                    <a:pt x="49" y="4"/>
                  </a:cubicBezTo>
                  <a:cubicBezTo>
                    <a:pt x="47" y="4"/>
                    <a:pt x="45" y="2"/>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312"/>
            <p:cNvSpPr/>
            <p:nvPr/>
          </p:nvSpPr>
          <p:spPr bwMode="auto">
            <a:xfrm>
              <a:off x="5313" y="49"/>
              <a:ext cx="4" cy="2"/>
            </a:xfrm>
            <a:custGeom>
              <a:gdLst>
                <a:gd name="T0" fmla="*/ 2 w 4"/>
                <a:gd name="T1" fmla="*/ 0 h 2"/>
                <a:gd name="T2" fmla="*/ 0 w 4"/>
                <a:gd name="T3" fmla="*/ 2 h 2"/>
                <a:gd name="T4" fmla="*/ 0 w 4"/>
                <a:gd name="T5" fmla="*/ 2 h 2"/>
                <a:gd name="T6" fmla="*/ 4 w 4"/>
                <a:gd name="T7" fmla="*/ 2 h 2"/>
                <a:gd name="T8" fmla="*/ 2 w 4"/>
                <a:gd name="T9" fmla="*/ 0 h 2"/>
              </a:gdLst>
              <a:cxnLst>
                <a:cxn ang="0">
                  <a:pos x="T0" y="T1"/>
                </a:cxn>
                <a:cxn ang="0">
                  <a:pos x="T2" y="T3"/>
                </a:cxn>
                <a:cxn ang="0">
                  <a:pos x="T4" y="T5"/>
                </a:cxn>
                <a:cxn ang="0">
                  <a:pos x="T6" y="T7"/>
                </a:cxn>
                <a:cxn ang="0">
                  <a:pos x="T8" y="T9"/>
                </a:cxn>
              </a:cxnLst>
              <a:rect l="0" t="0" r="r" b="b"/>
              <a:pathLst>
                <a:path w="4" h="2">
                  <a:moveTo>
                    <a:pt x="2" y="0"/>
                  </a:moveTo>
                  <a:lnTo>
                    <a:pt x="0" y="2"/>
                  </a:lnTo>
                  <a:lnTo>
                    <a:pt x="0" y="2"/>
                  </a:lnTo>
                  <a:lnTo>
                    <a:pt x="4"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313"/>
            <p:cNvSpPr/>
            <p:nvPr/>
          </p:nvSpPr>
          <p:spPr bwMode="auto">
            <a:xfrm>
              <a:off x="5313" y="49"/>
              <a:ext cx="4" cy="2"/>
            </a:xfrm>
            <a:custGeom>
              <a:gdLst>
                <a:gd name="T0" fmla="*/ 2 w 4"/>
                <a:gd name="T1" fmla="*/ 0 h 2"/>
                <a:gd name="T2" fmla="*/ 0 w 4"/>
                <a:gd name="T3" fmla="*/ 2 h 2"/>
                <a:gd name="T4" fmla="*/ 0 w 4"/>
                <a:gd name="T5" fmla="*/ 2 h 2"/>
                <a:gd name="T6" fmla="*/ 4 w 4"/>
                <a:gd name="T7" fmla="*/ 2 h 2"/>
                <a:gd name="T8" fmla="*/ 2 w 4"/>
                <a:gd name="T9" fmla="*/ 0 h 2"/>
              </a:gdLst>
              <a:cxnLst>
                <a:cxn ang="0">
                  <a:pos x="T0" y="T1"/>
                </a:cxn>
                <a:cxn ang="0">
                  <a:pos x="T2" y="T3"/>
                </a:cxn>
                <a:cxn ang="0">
                  <a:pos x="T4" y="T5"/>
                </a:cxn>
                <a:cxn ang="0">
                  <a:pos x="T6" y="T7"/>
                </a:cxn>
                <a:cxn ang="0">
                  <a:pos x="T8" y="T9"/>
                </a:cxn>
              </a:cxnLst>
              <a:rect l="0" t="0" r="r" b="b"/>
              <a:pathLst>
                <a:path w="4" h="2">
                  <a:moveTo>
                    <a:pt x="2" y="0"/>
                  </a:moveTo>
                  <a:lnTo>
                    <a:pt x="0" y="2"/>
                  </a:lnTo>
                  <a:lnTo>
                    <a:pt x="0" y="2"/>
                  </a:lnTo>
                  <a:lnTo>
                    <a:pt x="4" y="2"/>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314"/>
            <p:cNvSpPr>
              <a:spLocks noEditPoints="1"/>
            </p:cNvSpPr>
            <p:nvPr/>
          </p:nvSpPr>
          <p:spPr bwMode="auto">
            <a:xfrm>
              <a:off x="5237" y="-27"/>
              <a:ext cx="461" cy="135"/>
            </a:xfrm>
            <a:custGeom>
              <a:gdLst>
                <a:gd name="T0" fmla="*/ 41 w 195"/>
                <a:gd name="T1" fmla="*/ 1 h 57"/>
                <a:gd name="T2" fmla="*/ 37 w 195"/>
                <a:gd name="T3" fmla="*/ 2 h 57"/>
                <a:gd name="T4" fmla="*/ 34 w 195"/>
                <a:gd name="T5" fmla="*/ 1 h 57"/>
                <a:gd name="T6" fmla="*/ 34 w 195"/>
                <a:gd name="T7" fmla="*/ 1 h 57"/>
                <a:gd name="T8" fmla="*/ 28 w 195"/>
                <a:gd name="T9" fmla="*/ 0 h 57"/>
                <a:gd name="T10" fmla="*/ 23 w 195"/>
                <a:gd name="T11" fmla="*/ 1 h 57"/>
                <a:gd name="T12" fmla="*/ 21 w 195"/>
                <a:gd name="T13" fmla="*/ 1 h 57"/>
                <a:gd name="T14" fmla="*/ 18 w 195"/>
                <a:gd name="T15" fmla="*/ 0 h 57"/>
                <a:gd name="T16" fmla="*/ 17 w 195"/>
                <a:gd name="T17" fmla="*/ 3 h 57"/>
                <a:gd name="T18" fmla="*/ 16 w 195"/>
                <a:gd name="T19" fmla="*/ 8 h 57"/>
                <a:gd name="T20" fmla="*/ 13 w 195"/>
                <a:gd name="T21" fmla="*/ 13 h 57"/>
                <a:gd name="T22" fmla="*/ 10 w 195"/>
                <a:gd name="T23" fmla="*/ 16 h 57"/>
                <a:gd name="T24" fmla="*/ 8 w 195"/>
                <a:gd name="T25" fmla="*/ 19 h 57"/>
                <a:gd name="T26" fmla="*/ 8 w 195"/>
                <a:gd name="T27" fmla="*/ 23 h 57"/>
                <a:gd name="T28" fmla="*/ 1 w 195"/>
                <a:gd name="T29" fmla="*/ 27 h 57"/>
                <a:gd name="T30" fmla="*/ 10 w 195"/>
                <a:gd name="T31" fmla="*/ 30 h 57"/>
                <a:gd name="T32" fmla="*/ 25 w 195"/>
                <a:gd name="T33" fmla="*/ 26 h 57"/>
                <a:gd name="T34" fmla="*/ 32 w 195"/>
                <a:gd name="T35" fmla="*/ 29 h 57"/>
                <a:gd name="T36" fmla="*/ 35 w 195"/>
                <a:gd name="T37" fmla="*/ 19 h 57"/>
                <a:gd name="T38" fmla="*/ 41 w 195"/>
                <a:gd name="T39" fmla="*/ 16 h 57"/>
                <a:gd name="T40" fmla="*/ 49 w 195"/>
                <a:gd name="T41" fmla="*/ 10 h 57"/>
                <a:gd name="T42" fmla="*/ 44 w 195"/>
                <a:gd name="T43" fmla="*/ 0 h 57"/>
                <a:gd name="T44" fmla="*/ 44 w 195"/>
                <a:gd name="T45" fmla="*/ 0 h 57"/>
                <a:gd name="T46" fmla="*/ 45 w 195"/>
                <a:gd name="T47" fmla="*/ 1 h 57"/>
                <a:gd name="T48" fmla="*/ 46 w 195"/>
                <a:gd name="T49" fmla="*/ 1 h 57"/>
                <a:gd name="T50" fmla="*/ 49 w 195"/>
                <a:gd name="T51" fmla="*/ 4 h 57"/>
                <a:gd name="T52" fmla="*/ 52 w 195"/>
                <a:gd name="T53" fmla="*/ 2 h 57"/>
                <a:gd name="T54" fmla="*/ 84 w 195"/>
                <a:gd name="T55" fmla="*/ 0 h 57"/>
                <a:gd name="T56" fmla="*/ 84 w 195"/>
                <a:gd name="T57" fmla="*/ 1 h 57"/>
                <a:gd name="T58" fmla="*/ 85 w 195"/>
                <a:gd name="T59" fmla="*/ 4 h 57"/>
                <a:gd name="T60" fmla="*/ 94 w 195"/>
                <a:gd name="T61" fmla="*/ 8 h 57"/>
                <a:gd name="T62" fmla="*/ 99 w 195"/>
                <a:gd name="T63" fmla="*/ 8 h 57"/>
                <a:gd name="T64" fmla="*/ 113 w 195"/>
                <a:gd name="T65" fmla="*/ 5 h 57"/>
                <a:gd name="T66" fmla="*/ 117 w 195"/>
                <a:gd name="T67" fmla="*/ 8 h 57"/>
                <a:gd name="T68" fmla="*/ 122 w 195"/>
                <a:gd name="T69" fmla="*/ 8 h 57"/>
                <a:gd name="T70" fmla="*/ 126 w 195"/>
                <a:gd name="T71" fmla="*/ 14 h 57"/>
                <a:gd name="T72" fmla="*/ 117 w 195"/>
                <a:gd name="T73" fmla="*/ 18 h 57"/>
                <a:gd name="T74" fmla="*/ 114 w 195"/>
                <a:gd name="T75" fmla="*/ 18 h 57"/>
                <a:gd name="T76" fmla="*/ 105 w 195"/>
                <a:gd name="T77" fmla="*/ 24 h 57"/>
                <a:gd name="T78" fmla="*/ 98 w 195"/>
                <a:gd name="T79" fmla="*/ 28 h 57"/>
                <a:gd name="T80" fmla="*/ 115 w 195"/>
                <a:gd name="T81" fmla="*/ 35 h 57"/>
                <a:gd name="T82" fmla="*/ 123 w 195"/>
                <a:gd name="T83" fmla="*/ 45 h 57"/>
                <a:gd name="T84" fmla="*/ 123 w 195"/>
                <a:gd name="T85" fmla="*/ 52 h 57"/>
                <a:gd name="T86" fmla="*/ 122 w 195"/>
                <a:gd name="T87" fmla="*/ 55 h 57"/>
                <a:gd name="T88" fmla="*/ 130 w 195"/>
                <a:gd name="T89" fmla="*/ 56 h 57"/>
                <a:gd name="T90" fmla="*/ 170 w 195"/>
                <a:gd name="T91" fmla="*/ 37 h 57"/>
                <a:gd name="T92" fmla="*/ 178 w 195"/>
                <a:gd name="T93" fmla="*/ 40 h 57"/>
                <a:gd name="T94" fmla="*/ 184 w 195"/>
                <a:gd name="T95" fmla="*/ 40 h 57"/>
                <a:gd name="T96" fmla="*/ 186 w 195"/>
                <a:gd name="T97" fmla="*/ 40 h 57"/>
                <a:gd name="T98" fmla="*/ 192 w 195"/>
                <a:gd name="T99" fmla="*/ 32 h 57"/>
                <a:gd name="T100" fmla="*/ 192 w 195"/>
                <a:gd name="T101" fmla="*/ 30 h 57"/>
                <a:gd name="T102" fmla="*/ 186 w 195"/>
                <a:gd name="T103" fmla="*/ 30 h 57"/>
                <a:gd name="T104" fmla="*/ 177 w 195"/>
                <a:gd name="T105" fmla="*/ 29 h 57"/>
                <a:gd name="T106" fmla="*/ 174 w 195"/>
                <a:gd name="T107" fmla="*/ 29 h 57"/>
                <a:gd name="T108" fmla="*/ 164 w 195"/>
                <a:gd name="T109" fmla="*/ 27 h 57"/>
                <a:gd name="T110" fmla="*/ 153 w 195"/>
                <a:gd name="T111" fmla="*/ 6 h 57"/>
                <a:gd name="T112" fmla="*/ 159 w 195"/>
                <a:gd name="T113" fmla="*/ 3 h 57"/>
                <a:gd name="T114" fmla="*/ 163 w 195"/>
                <a:gd name="T115" fmla="*/ 0 h 57"/>
                <a:gd name="T116" fmla="*/ 167 w 195"/>
                <a:gd name="T117" fmla="*/ 0 h 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57">
                  <a:moveTo>
                    <a:pt x="44" y="0"/>
                  </a:moveTo>
                  <a:cubicBezTo>
                    <a:pt x="43" y="0"/>
                    <a:pt x="43" y="0"/>
                    <a:pt x="43" y="0"/>
                  </a:cubicBezTo>
                  <a:cubicBezTo>
                    <a:pt x="43" y="0"/>
                    <a:pt x="42" y="1"/>
                    <a:pt x="41" y="1"/>
                  </a:cubicBezTo>
                  <a:cubicBezTo>
                    <a:pt x="41" y="1"/>
                    <a:pt x="41" y="1"/>
                    <a:pt x="41" y="1"/>
                  </a:cubicBezTo>
                  <a:cubicBezTo>
                    <a:pt x="40" y="1"/>
                    <a:pt x="39" y="2"/>
                    <a:pt x="37" y="2"/>
                  </a:cubicBezTo>
                  <a:cubicBezTo>
                    <a:pt x="37" y="2"/>
                    <a:pt x="37" y="2"/>
                    <a:pt x="37" y="2"/>
                  </a:cubicBezTo>
                  <a:cubicBezTo>
                    <a:pt x="36" y="2"/>
                    <a:pt x="36" y="2"/>
                    <a:pt x="36" y="2"/>
                  </a:cubicBezTo>
                  <a:cubicBezTo>
                    <a:pt x="36" y="2"/>
                    <a:pt x="36" y="2"/>
                    <a:pt x="36" y="2"/>
                  </a:cubicBezTo>
                  <a:cubicBezTo>
                    <a:pt x="35" y="2"/>
                    <a:pt x="35" y="2"/>
                    <a:pt x="34" y="1"/>
                  </a:cubicBezTo>
                  <a:cubicBezTo>
                    <a:pt x="34" y="1"/>
                    <a:pt x="34" y="1"/>
                    <a:pt x="34" y="1"/>
                  </a:cubicBezTo>
                  <a:cubicBezTo>
                    <a:pt x="34" y="1"/>
                    <a:pt x="34" y="1"/>
                    <a:pt x="34" y="1"/>
                  </a:cubicBezTo>
                  <a:cubicBezTo>
                    <a:pt x="34" y="1"/>
                    <a:pt x="34" y="1"/>
                    <a:pt x="34" y="1"/>
                  </a:cubicBezTo>
                  <a:cubicBezTo>
                    <a:pt x="33" y="1"/>
                    <a:pt x="33" y="1"/>
                    <a:pt x="33" y="1"/>
                  </a:cubicBezTo>
                  <a:cubicBezTo>
                    <a:pt x="33" y="1"/>
                    <a:pt x="32" y="1"/>
                    <a:pt x="32" y="1"/>
                  </a:cubicBezTo>
                  <a:cubicBezTo>
                    <a:pt x="31" y="1"/>
                    <a:pt x="30" y="1"/>
                    <a:pt x="28" y="0"/>
                  </a:cubicBezTo>
                  <a:cubicBezTo>
                    <a:pt x="28" y="0"/>
                    <a:pt x="28" y="0"/>
                    <a:pt x="27" y="0"/>
                  </a:cubicBezTo>
                  <a:cubicBezTo>
                    <a:pt x="25" y="0"/>
                    <a:pt x="25" y="0"/>
                    <a:pt x="25" y="0"/>
                  </a:cubicBezTo>
                  <a:cubicBezTo>
                    <a:pt x="24" y="0"/>
                    <a:pt x="24" y="0"/>
                    <a:pt x="23" y="1"/>
                  </a:cubicBezTo>
                  <a:cubicBezTo>
                    <a:pt x="22" y="1"/>
                    <a:pt x="22" y="1"/>
                    <a:pt x="22" y="1"/>
                  </a:cubicBezTo>
                  <a:cubicBezTo>
                    <a:pt x="22" y="1"/>
                    <a:pt x="22" y="1"/>
                    <a:pt x="21" y="1"/>
                  </a:cubicBezTo>
                  <a:cubicBezTo>
                    <a:pt x="21" y="1"/>
                    <a:pt x="21" y="1"/>
                    <a:pt x="21" y="1"/>
                  </a:cubicBezTo>
                  <a:cubicBezTo>
                    <a:pt x="20" y="1"/>
                    <a:pt x="20" y="1"/>
                    <a:pt x="19" y="0"/>
                  </a:cubicBezTo>
                  <a:cubicBezTo>
                    <a:pt x="19" y="0"/>
                    <a:pt x="19" y="0"/>
                    <a:pt x="19" y="0"/>
                  </a:cubicBezTo>
                  <a:cubicBezTo>
                    <a:pt x="18" y="0"/>
                    <a:pt x="18" y="0"/>
                    <a:pt x="18" y="0"/>
                  </a:cubicBezTo>
                  <a:cubicBezTo>
                    <a:pt x="17" y="0"/>
                    <a:pt x="17" y="0"/>
                    <a:pt x="17" y="0"/>
                  </a:cubicBezTo>
                  <a:cubicBezTo>
                    <a:pt x="17" y="0"/>
                    <a:pt x="17" y="0"/>
                    <a:pt x="17" y="0"/>
                  </a:cubicBezTo>
                  <a:cubicBezTo>
                    <a:pt x="17" y="1"/>
                    <a:pt x="17" y="2"/>
                    <a:pt x="17" y="3"/>
                  </a:cubicBezTo>
                  <a:cubicBezTo>
                    <a:pt x="17" y="4"/>
                    <a:pt x="17" y="4"/>
                    <a:pt x="17" y="6"/>
                  </a:cubicBezTo>
                  <a:cubicBezTo>
                    <a:pt x="17" y="6"/>
                    <a:pt x="17" y="7"/>
                    <a:pt x="16" y="8"/>
                  </a:cubicBezTo>
                  <a:cubicBezTo>
                    <a:pt x="16" y="8"/>
                    <a:pt x="16" y="8"/>
                    <a:pt x="16" y="8"/>
                  </a:cubicBezTo>
                  <a:cubicBezTo>
                    <a:pt x="16" y="9"/>
                    <a:pt x="16" y="9"/>
                    <a:pt x="16" y="9"/>
                  </a:cubicBezTo>
                  <a:cubicBezTo>
                    <a:pt x="15" y="10"/>
                    <a:pt x="15" y="10"/>
                    <a:pt x="15" y="10"/>
                  </a:cubicBezTo>
                  <a:cubicBezTo>
                    <a:pt x="15" y="12"/>
                    <a:pt x="14" y="12"/>
                    <a:pt x="13" y="13"/>
                  </a:cubicBezTo>
                  <a:cubicBezTo>
                    <a:pt x="13" y="13"/>
                    <a:pt x="13" y="13"/>
                    <a:pt x="13" y="13"/>
                  </a:cubicBezTo>
                  <a:cubicBezTo>
                    <a:pt x="12" y="14"/>
                    <a:pt x="12" y="15"/>
                    <a:pt x="11" y="16"/>
                  </a:cubicBezTo>
                  <a:cubicBezTo>
                    <a:pt x="10" y="16"/>
                    <a:pt x="10" y="16"/>
                    <a:pt x="10" y="16"/>
                  </a:cubicBezTo>
                  <a:cubicBezTo>
                    <a:pt x="10" y="17"/>
                    <a:pt x="10" y="17"/>
                    <a:pt x="10" y="17"/>
                  </a:cubicBezTo>
                  <a:cubicBezTo>
                    <a:pt x="10" y="17"/>
                    <a:pt x="10" y="17"/>
                    <a:pt x="10" y="17"/>
                  </a:cubicBezTo>
                  <a:cubicBezTo>
                    <a:pt x="9" y="18"/>
                    <a:pt x="9" y="18"/>
                    <a:pt x="8" y="19"/>
                  </a:cubicBezTo>
                  <a:cubicBezTo>
                    <a:pt x="7" y="19"/>
                    <a:pt x="6" y="20"/>
                    <a:pt x="6" y="20"/>
                  </a:cubicBezTo>
                  <a:cubicBezTo>
                    <a:pt x="6" y="21"/>
                    <a:pt x="6" y="21"/>
                    <a:pt x="6" y="21"/>
                  </a:cubicBezTo>
                  <a:cubicBezTo>
                    <a:pt x="8" y="23"/>
                    <a:pt x="8" y="23"/>
                    <a:pt x="8" y="23"/>
                  </a:cubicBezTo>
                  <a:cubicBezTo>
                    <a:pt x="6" y="24"/>
                    <a:pt x="6" y="24"/>
                    <a:pt x="6" y="24"/>
                  </a:cubicBezTo>
                  <a:cubicBezTo>
                    <a:pt x="3" y="25"/>
                    <a:pt x="2" y="26"/>
                    <a:pt x="0" y="27"/>
                  </a:cubicBezTo>
                  <a:cubicBezTo>
                    <a:pt x="1" y="27"/>
                    <a:pt x="1" y="27"/>
                    <a:pt x="1" y="27"/>
                  </a:cubicBezTo>
                  <a:cubicBezTo>
                    <a:pt x="2" y="28"/>
                    <a:pt x="3" y="29"/>
                    <a:pt x="4" y="30"/>
                  </a:cubicBezTo>
                  <a:cubicBezTo>
                    <a:pt x="5" y="30"/>
                    <a:pt x="6" y="30"/>
                    <a:pt x="7" y="31"/>
                  </a:cubicBezTo>
                  <a:cubicBezTo>
                    <a:pt x="10" y="30"/>
                    <a:pt x="10" y="30"/>
                    <a:pt x="10" y="30"/>
                  </a:cubicBezTo>
                  <a:cubicBezTo>
                    <a:pt x="12" y="30"/>
                    <a:pt x="13" y="30"/>
                    <a:pt x="15" y="29"/>
                  </a:cubicBezTo>
                  <a:cubicBezTo>
                    <a:pt x="16" y="29"/>
                    <a:pt x="16" y="29"/>
                    <a:pt x="16" y="29"/>
                  </a:cubicBezTo>
                  <a:cubicBezTo>
                    <a:pt x="19" y="27"/>
                    <a:pt x="22" y="26"/>
                    <a:pt x="25" y="26"/>
                  </a:cubicBezTo>
                  <a:cubicBezTo>
                    <a:pt x="26" y="26"/>
                    <a:pt x="26" y="26"/>
                    <a:pt x="26" y="26"/>
                  </a:cubicBezTo>
                  <a:cubicBezTo>
                    <a:pt x="28" y="26"/>
                    <a:pt x="31" y="27"/>
                    <a:pt x="32" y="29"/>
                  </a:cubicBezTo>
                  <a:cubicBezTo>
                    <a:pt x="32" y="29"/>
                    <a:pt x="32" y="29"/>
                    <a:pt x="32" y="29"/>
                  </a:cubicBezTo>
                  <a:cubicBezTo>
                    <a:pt x="33" y="25"/>
                    <a:pt x="31" y="21"/>
                    <a:pt x="30" y="16"/>
                  </a:cubicBezTo>
                  <a:cubicBezTo>
                    <a:pt x="32" y="18"/>
                    <a:pt x="31" y="21"/>
                    <a:pt x="32" y="21"/>
                  </a:cubicBezTo>
                  <a:cubicBezTo>
                    <a:pt x="32" y="21"/>
                    <a:pt x="33" y="20"/>
                    <a:pt x="35" y="19"/>
                  </a:cubicBezTo>
                  <a:cubicBezTo>
                    <a:pt x="36" y="18"/>
                    <a:pt x="37" y="16"/>
                    <a:pt x="39" y="16"/>
                  </a:cubicBezTo>
                  <a:cubicBezTo>
                    <a:pt x="39" y="16"/>
                    <a:pt x="39" y="16"/>
                    <a:pt x="40" y="16"/>
                  </a:cubicBezTo>
                  <a:cubicBezTo>
                    <a:pt x="40" y="16"/>
                    <a:pt x="40" y="16"/>
                    <a:pt x="41" y="16"/>
                  </a:cubicBezTo>
                  <a:cubicBezTo>
                    <a:pt x="41" y="16"/>
                    <a:pt x="41" y="16"/>
                    <a:pt x="42" y="16"/>
                  </a:cubicBezTo>
                  <a:cubicBezTo>
                    <a:pt x="42" y="16"/>
                    <a:pt x="43" y="16"/>
                    <a:pt x="43" y="15"/>
                  </a:cubicBezTo>
                  <a:cubicBezTo>
                    <a:pt x="44" y="14"/>
                    <a:pt x="49" y="11"/>
                    <a:pt x="49" y="10"/>
                  </a:cubicBezTo>
                  <a:cubicBezTo>
                    <a:pt x="47" y="8"/>
                    <a:pt x="46" y="6"/>
                    <a:pt x="44" y="3"/>
                  </a:cubicBezTo>
                  <a:cubicBezTo>
                    <a:pt x="44" y="2"/>
                    <a:pt x="43" y="1"/>
                    <a:pt x="43" y="1"/>
                  </a:cubicBezTo>
                  <a:cubicBezTo>
                    <a:pt x="43" y="0"/>
                    <a:pt x="43" y="0"/>
                    <a:pt x="44" y="0"/>
                  </a:cubicBezTo>
                  <a:cubicBezTo>
                    <a:pt x="44" y="0"/>
                    <a:pt x="44" y="0"/>
                    <a:pt x="44" y="0"/>
                  </a:cubicBezTo>
                  <a:moveTo>
                    <a:pt x="53" y="0"/>
                  </a:moveTo>
                  <a:cubicBezTo>
                    <a:pt x="44" y="0"/>
                    <a:pt x="44" y="0"/>
                    <a:pt x="44" y="0"/>
                  </a:cubicBezTo>
                  <a:cubicBezTo>
                    <a:pt x="44" y="0"/>
                    <a:pt x="44" y="0"/>
                    <a:pt x="45" y="0"/>
                  </a:cubicBezTo>
                  <a:cubicBezTo>
                    <a:pt x="45" y="1"/>
                    <a:pt x="45" y="1"/>
                    <a:pt x="45" y="1"/>
                  </a:cubicBezTo>
                  <a:cubicBezTo>
                    <a:pt x="45" y="1"/>
                    <a:pt x="45" y="1"/>
                    <a:pt x="45" y="1"/>
                  </a:cubicBezTo>
                  <a:cubicBezTo>
                    <a:pt x="45" y="1"/>
                    <a:pt x="45" y="1"/>
                    <a:pt x="45" y="1"/>
                  </a:cubicBezTo>
                  <a:cubicBezTo>
                    <a:pt x="45" y="1"/>
                    <a:pt x="45" y="1"/>
                    <a:pt x="45" y="1"/>
                  </a:cubicBezTo>
                  <a:cubicBezTo>
                    <a:pt x="46" y="1"/>
                    <a:pt x="46" y="1"/>
                    <a:pt x="46" y="1"/>
                  </a:cubicBezTo>
                  <a:cubicBezTo>
                    <a:pt x="46" y="1"/>
                    <a:pt x="46" y="1"/>
                    <a:pt x="47" y="0"/>
                  </a:cubicBezTo>
                  <a:cubicBezTo>
                    <a:pt x="47" y="1"/>
                    <a:pt x="47" y="1"/>
                    <a:pt x="47" y="2"/>
                  </a:cubicBezTo>
                  <a:cubicBezTo>
                    <a:pt x="47" y="2"/>
                    <a:pt x="48" y="3"/>
                    <a:pt x="49" y="4"/>
                  </a:cubicBezTo>
                  <a:cubicBezTo>
                    <a:pt x="49" y="4"/>
                    <a:pt x="49" y="4"/>
                    <a:pt x="49" y="5"/>
                  </a:cubicBezTo>
                  <a:cubicBezTo>
                    <a:pt x="49" y="5"/>
                    <a:pt x="49" y="5"/>
                    <a:pt x="49" y="5"/>
                  </a:cubicBezTo>
                  <a:cubicBezTo>
                    <a:pt x="50" y="4"/>
                    <a:pt x="51" y="3"/>
                    <a:pt x="52" y="2"/>
                  </a:cubicBezTo>
                  <a:cubicBezTo>
                    <a:pt x="52" y="1"/>
                    <a:pt x="53" y="0"/>
                    <a:pt x="53" y="0"/>
                  </a:cubicBezTo>
                  <a:moveTo>
                    <a:pt x="160" y="0"/>
                  </a:moveTo>
                  <a:cubicBezTo>
                    <a:pt x="84" y="0"/>
                    <a:pt x="84" y="0"/>
                    <a:pt x="84" y="0"/>
                  </a:cubicBezTo>
                  <a:cubicBezTo>
                    <a:pt x="85" y="0"/>
                    <a:pt x="85" y="0"/>
                    <a:pt x="85" y="1"/>
                  </a:cubicBezTo>
                  <a:cubicBezTo>
                    <a:pt x="85" y="1"/>
                    <a:pt x="85" y="1"/>
                    <a:pt x="85" y="1"/>
                  </a:cubicBezTo>
                  <a:cubicBezTo>
                    <a:pt x="84" y="1"/>
                    <a:pt x="84" y="1"/>
                    <a:pt x="84" y="1"/>
                  </a:cubicBezTo>
                  <a:cubicBezTo>
                    <a:pt x="84" y="1"/>
                    <a:pt x="84" y="1"/>
                    <a:pt x="84" y="1"/>
                  </a:cubicBezTo>
                  <a:cubicBezTo>
                    <a:pt x="82" y="1"/>
                    <a:pt x="81" y="1"/>
                    <a:pt x="81" y="2"/>
                  </a:cubicBezTo>
                  <a:cubicBezTo>
                    <a:pt x="80" y="3"/>
                    <a:pt x="83" y="3"/>
                    <a:pt x="85" y="4"/>
                  </a:cubicBezTo>
                  <a:cubicBezTo>
                    <a:pt x="88" y="5"/>
                    <a:pt x="91" y="5"/>
                    <a:pt x="92" y="6"/>
                  </a:cubicBezTo>
                  <a:cubicBezTo>
                    <a:pt x="92" y="6"/>
                    <a:pt x="92" y="7"/>
                    <a:pt x="93" y="7"/>
                  </a:cubicBezTo>
                  <a:cubicBezTo>
                    <a:pt x="93" y="7"/>
                    <a:pt x="93" y="7"/>
                    <a:pt x="94" y="8"/>
                  </a:cubicBezTo>
                  <a:cubicBezTo>
                    <a:pt x="95" y="8"/>
                    <a:pt x="95" y="8"/>
                    <a:pt x="96" y="8"/>
                  </a:cubicBezTo>
                  <a:cubicBezTo>
                    <a:pt x="96" y="8"/>
                    <a:pt x="96" y="8"/>
                    <a:pt x="96" y="8"/>
                  </a:cubicBezTo>
                  <a:cubicBezTo>
                    <a:pt x="97" y="8"/>
                    <a:pt x="98" y="8"/>
                    <a:pt x="99" y="8"/>
                  </a:cubicBezTo>
                  <a:cubicBezTo>
                    <a:pt x="101" y="8"/>
                    <a:pt x="103" y="7"/>
                    <a:pt x="104" y="7"/>
                  </a:cubicBezTo>
                  <a:cubicBezTo>
                    <a:pt x="105" y="7"/>
                    <a:pt x="105" y="7"/>
                    <a:pt x="105" y="7"/>
                  </a:cubicBezTo>
                  <a:cubicBezTo>
                    <a:pt x="108" y="6"/>
                    <a:pt x="110" y="6"/>
                    <a:pt x="113" y="5"/>
                  </a:cubicBezTo>
                  <a:cubicBezTo>
                    <a:pt x="113" y="5"/>
                    <a:pt x="113" y="5"/>
                    <a:pt x="114" y="5"/>
                  </a:cubicBezTo>
                  <a:cubicBezTo>
                    <a:pt x="115" y="5"/>
                    <a:pt x="115" y="6"/>
                    <a:pt x="116" y="7"/>
                  </a:cubicBezTo>
                  <a:cubicBezTo>
                    <a:pt x="116" y="7"/>
                    <a:pt x="116" y="8"/>
                    <a:pt x="117" y="8"/>
                  </a:cubicBezTo>
                  <a:cubicBezTo>
                    <a:pt x="117" y="9"/>
                    <a:pt x="118" y="9"/>
                    <a:pt x="119" y="9"/>
                  </a:cubicBezTo>
                  <a:cubicBezTo>
                    <a:pt x="119" y="9"/>
                    <a:pt x="119" y="9"/>
                    <a:pt x="119" y="9"/>
                  </a:cubicBezTo>
                  <a:cubicBezTo>
                    <a:pt x="120" y="9"/>
                    <a:pt x="121" y="9"/>
                    <a:pt x="122" y="8"/>
                  </a:cubicBezTo>
                  <a:cubicBezTo>
                    <a:pt x="123" y="8"/>
                    <a:pt x="124" y="8"/>
                    <a:pt x="124" y="7"/>
                  </a:cubicBezTo>
                  <a:cubicBezTo>
                    <a:pt x="124" y="8"/>
                    <a:pt x="124" y="9"/>
                    <a:pt x="124" y="9"/>
                  </a:cubicBezTo>
                  <a:cubicBezTo>
                    <a:pt x="124" y="11"/>
                    <a:pt x="124" y="13"/>
                    <a:pt x="126" y="14"/>
                  </a:cubicBezTo>
                  <a:cubicBezTo>
                    <a:pt x="126" y="15"/>
                    <a:pt x="124" y="15"/>
                    <a:pt x="122" y="16"/>
                  </a:cubicBezTo>
                  <a:cubicBezTo>
                    <a:pt x="121" y="16"/>
                    <a:pt x="120" y="16"/>
                    <a:pt x="120" y="16"/>
                  </a:cubicBezTo>
                  <a:cubicBezTo>
                    <a:pt x="119" y="16"/>
                    <a:pt x="118" y="17"/>
                    <a:pt x="117" y="18"/>
                  </a:cubicBezTo>
                  <a:cubicBezTo>
                    <a:pt x="117" y="18"/>
                    <a:pt x="116" y="18"/>
                    <a:pt x="116" y="18"/>
                  </a:cubicBezTo>
                  <a:cubicBezTo>
                    <a:pt x="115" y="18"/>
                    <a:pt x="115" y="19"/>
                    <a:pt x="115" y="19"/>
                  </a:cubicBezTo>
                  <a:cubicBezTo>
                    <a:pt x="115" y="19"/>
                    <a:pt x="114" y="18"/>
                    <a:pt x="114" y="18"/>
                  </a:cubicBezTo>
                  <a:cubicBezTo>
                    <a:pt x="114" y="19"/>
                    <a:pt x="110" y="20"/>
                    <a:pt x="108" y="21"/>
                  </a:cubicBezTo>
                  <a:cubicBezTo>
                    <a:pt x="107" y="21"/>
                    <a:pt x="107" y="22"/>
                    <a:pt x="106" y="23"/>
                  </a:cubicBezTo>
                  <a:cubicBezTo>
                    <a:pt x="106" y="23"/>
                    <a:pt x="105" y="24"/>
                    <a:pt x="105" y="24"/>
                  </a:cubicBezTo>
                  <a:cubicBezTo>
                    <a:pt x="104" y="24"/>
                    <a:pt x="103" y="25"/>
                    <a:pt x="102" y="25"/>
                  </a:cubicBezTo>
                  <a:cubicBezTo>
                    <a:pt x="101" y="25"/>
                    <a:pt x="101" y="26"/>
                    <a:pt x="100" y="26"/>
                  </a:cubicBezTo>
                  <a:cubicBezTo>
                    <a:pt x="99" y="27"/>
                    <a:pt x="98" y="27"/>
                    <a:pt x="98" y="28"/>
                  </a:cubicBezTo>
                  <a:cubicBezTo>
                    <a:pt x="98" y="29"/>
                    <a:pt x="98" y="29"/>
                    <a:pt x="98" y="29"/>
                  </a:cubicBezTo>
                  <a:cubicBezTo>
                    <a:pt x="98" y="31"/>
                    <a:pt x="107" y="33"/>
                    <a:pt x="112" y="34"/>
                  </a:cubicBezTo>
                  <a:cubicBezTo>
                    <a:pt x="113" y="35"/>
                    <a:pt x="114" y="35"/>
                    <a:pt x="115" y="35"/>
                  </a:cubicBezTo>
                  <a:cubicBezTo>
                    <a:pt x="118" y="36"/>
                    <a:pt x="122" y="36"/>
                    <a:pt x="123" y="39"/>
                  </a:cubicBezTo>
                  <a:cubicBezTo>
                    <a:pt x="124" y="39"/>
                    <a:pt x="124" y="41"/>
                    <a:pt x="124" y="42"/>
                  </a:cubicBezTo>
                  <a:cubicBezTo>
                    <a:pt x="124" y="44"/>
                    <a:pt x="123" y="44"/>
                    <a:pt x="123" y="45"/>
                  </a:cubicBezTo>
                  <a:cubicBezTo>
                    <a:pt x="122" y="46"/>
                    <a:pt x="122" y="46"/>
                    <a:pt x="122" y="47"/>
                  </a:cubicBezTo>
                  <a:cubicBezTo>
                    <a:pt x="122" y="47"/>
                    <a:pt x="122" y="48"/>
                    <a:pt x="122" y="49"/>
                  </a:cubicBezTo>
                  <a:cubicBezTo>
                    <a:pt x="122" y="50"/>
                    <a:pt x="123" y="51"/>
                    <a:pt x="123" y="52"/>
                  </a:cubicBezTo>
                  <a:cubicBezTo>
                    <a:pt x="121" y="52"/>
                    <a:pt x="120" y="52"/>
                    <a:pt x="118" y="52"/>
                  </a:cubicBezTo>
                  <a:cubicBezTo>
                    <a:pt x="119" y="53"/>
                    <a:pt x="119" y="53"/>
                    <a:pt x="120" y="54"/>
                  </a:cubicBezTo>
                  <a:cubicBezTo>
                    <a:pt x="120" y="54"/>
                    <a:pt x="121" y="55"/>
                    <a:pt x="122" y="55"/>
                  </a:cubicBezTo>
                  <a:cubicBezTo>
                    <a:pt x="124" y="56"/>
                    <a:pt x="125" y="57"/>
                    <a:pt x="127" y="57"/>
                  </a:cubicBezTo>
                  <a:cubicBezTo>
                    <a:pt x="127" y="57"/>
                    <a:pt x="127" y="57"/>
                    <a:pt x="127" y="57"/>
                  </a:cubicBezTo>
                  <a:cubicBezTo>
                    <a:pt x="128" y="57"/>
                    <a:pt x="129" y="57"/>
                    <a:pt x="130" y="56"/>
                  </a:cubicBezTo>
                  <a:cubicBezTo>
                    <a:pt x="136" y="53"/>
                    <a:pt x="142" y="50"/>
                    <a:pt x="148" y="47"/>
                  </a:cubicBezTo>
                  <a:cubicBezTo>
                    <a:pt x="154" y="44"/>
                    <a:pt x="161" y="41"/>
                    <a:pt x="167" y="38"/>
                  </a:cubicBezTo>
                  <a:cubicBezTo>
                    <a:pt x="168" y="38"/>
                    <a:pt x="169" y="37"/>
                    <a:pt x="170" y="37"/>
                  </a:cubicBezTo>
                  <a:cubicBezTo>
                    <a:pt x="172" y="37"/>
                    <a:pt x="174" y="38"/>
                    <a:pt x="176" y="40"/>
                  </a:cubicBezTo>
                  <a:cubicBezTo>
                    <a:pt x="177" y="40"/>
                    <a:pt x="177" y="40"/>
                    <a:pt x="177" y="40"/>
                  </a:cubicBezTo>
                  <a:cubicBezTo>
                    <a:pt x="178" y="40"/>
                    <a:pt x="178" y="40"/>
                    <a:pt x="178" y="40"/>
                  </a:cubicBezTo>
                  <a:cubicBezTo>
                    <a:pt x="178" y="41"/>
                    <a:pt x="178" y="41"/>
                    <a:pt x="179" y="41"/>
                  </a:cubicBezTo>
                  <a:cubicBezTo>
                    <a:pt x="180" y="41"/>
                    <a:pt x="182" y="40"/>
                    <a:pt x="183" y="40"/>
                  </a:cubicBezTo>
                  <a:cubicBezTo>
                    <a:pt x="183" y="40"/>
                    <a:pt x="184" y="40"/>
                    <a:pt x="184" y="40"/>
                  </a:cubicBezTo>
                  <a:cubicBezTo>
                    <a:pt x="184" y="40"/>
                    <a:pt x="184" y="40"/>
                    <a:pt x="184" y="40"/>
                  </a:cubicBezTo>
                  <a:cubicBezTo>
                    <a:pt x="185" y="40"/>
                    <a:pt x="185" y="40"/>
                    <a:pt x="185" y="40"/>
                  </a:cubicBezTo>
                  <a:cubicBezTo>
                    <a:pt x="186" y="40"/>
                    <a:pt x="186" y="40"/>
                    <a:pt x="186" y="40"/>
                  </a:cubicBezTo>
                  <a:cubicBezTo>
                    <a:pt x="187" y="40"/>
                    <a:pt x="187" y="40"/>
                    <a:pt x="188" y="39"/>
                  </a:cubicBezTo>
                  <a:cubicBezTo>
                    <a:pt x="190" y="38"/>
                    <a:pt x="189" y="37"/>
                    <a:pt x="190" y="34"/>
                  </a:cubicBezTo>
                  <a:cubicBezTo>
                    <a:pt x="191" y="33"/>
                    <a:pt x="191" y="32"/>
                    <a:pt x="192" y="32"/>
                  </a:cubicBezTo>
                  <a:cubicBezTo>
                    <a:pt x="192" y="31"/>
                    <a:pt x="193" y="31"/>
                    <a:pt x="193" y="31"/>
                  </a:cubicBezTo>
                  <a:cubicBezTo>
                    <a:pt x="194" y="31"/>
                    <a:pt x="195" y="30"/>
                    <a:pt x="195" y="30"/>
                  </a:cubicBezTo>
                  <a:cubicBezTo>
                    <a:pt x="194" y="30"/>
                    <a:pt x="193" y="30"/>
                    <a:pt x="192" y="30"/>
                  </a:cubicBezTo>
                  <a:cubicBezTo>
                    <a:pt x="192" y="30"/>
                    <a:pt x="192" y="30"/>
                    <a:pt x="192" y="30"/>
                  </a:cubicBezTo>
                  <a:cubicBezTo>
                    <a:pt x="190" y="30"/>
                    <a:pt x="189" y="30"/>
                    <a:pt x="188" y="30"/>
                  </a:cubicBezTo>
                  <a:cubicBezTo>
                    <a:pt x="187" y="30"/>
                    <a:pt x="186" y="30"/>
                    <a:pt x="186" y="30"/>
                  </a:cubicBezTo>
                  <a:cubicBezTo>
                    <a:pt x="185" y="30"/>
                    <a:pt x="183" y="30"/>
                    <a:pt x="182" y="30"/>
                  </a:cubicBezTo>
                  <a:cubicBezTo>
                    <a:pt x="181" y="30"/>
                    <a:pt x="181" y="30"/>
                    <a:pt x="180" y="30"/>
                  </a:cubicBezTo>
                  <a:cubicBezTo>
                    <a:pt x="179" y="30"/>
                    <a:pt x="178" y="29"/>
                    <a:pt x="177" y="29"/>
                  </a:cubicBezTo>
                  <a:cubicBezTo>
                    <a:pt x="177" y="29"/>
                    <a:pt x="176" y="29"/>
                    <a:pt x="176" y="29"/>
                  </a:cubicBezTo>
                  <a:cubicBezTo>
                    <a:pt x="176" y="29"/>
                    <a:pt x="176" y="29"/>
                    <a:pt x="176" y="29"/>
                  </a:cubicBezTo>
                  <a:cubicBezTo>
                    <a:pt x="175" y="29"/>
                    <a:pt x="175" y="29"/>
                    <a:pt x="174" y="29"/>
                  </a:cubicBezTo>
                  <a:cubicBezTo>
                    <a:pt x="173" y="30"/>
                    <a:pt x="172" y="31"/>
                    <a:pt x="170" y="32"/>
                  </a:cubicBezTo>
                  <a:cubicBezTo>
                    <a:pt x="170" y="32"/>
                    <a:pt x="170" y="32"/>
                    <a:pt x="170" y="32"/>
                  </a:cubicBezTo>
                  <a:cubicBezTo>
                    <a:pt x="167" y="32"/>
                    <a:pt x="166" y="29"/>
                    <a:pt x="164" y="27"/>
                  </a:cubicBezTo>
                  <a:cubicBezTo>
                    <a:pt x="160" y="22"/>
                    <a:pt x="157" y="19"/>
                    <a:pt x="155" y="14"/>
                  </a:cubicBezTo>
                  <a:cubicBezTo>
                    <a:pt x="154" y="12"/>
                    <a:pt x="153" y="10"/>
                    <a:pt x="153" y="8"/>
                  </a:cubicBezTo>
                  <a:cubicBezTo>
                    <a:pt x="153" y="7"/>
                    <a:pt x="153" y="6"/>
                    <a:pt x="153" y="6"/>
                  </a:cubicBezTo>
                  <a:cubicBezTo>
                    <a:pt x="153" y="5"/>
                    <a:pt x="153" y="5"/>
                    <a:pt x="154" y="4"/>
                  </a:cubicBezTo>
                  <a:cubicBezTo>
                    <a:pt x="155" y="4"/>
                    <a:pt x="155" y="4"/>
                    <a:pt x="156" y="4"/>
                  </a:cubicBezTo>
                  <a:cubicBezTo>
                    <a:pt x="157" y="3"/>
                    <a:pt x="158" y="3"/>
                    <a:pt x="159" y="3"/>
                  </a:cubicBezTo>
                  <a:cubicBezTo>
                    <a:pt x="160" y="2"/>
                    <a:pt x="160" y="1"/>
                    <a:pt x="160" y="0"/>
                  </a:cubicBezTo>
                  <a:moveTo>
                    <a:pt x="168" y="0"/>
                  </a:moveTo>
                  <a:cubicBezTo>
                    <a:pt x="163" y="0"/>
                    <a:pt x="163" y="0"/>
                    <a:pt x="163" y="0"/>
                  </a:cubicBezTo>
                  <a:cubicBezTo>
                    <a:pt x="163" y="0"/>
                    <a:pt x="163" y="0"/>
                    <a:pt x="164" y="0"/>
                  </a:cubicBezTo>
                  <a:cubicBezTo>
                    <a:pt x="167" y="1"/>
                    <a:pt x="157" y="8"/>
                    <a:pt x="157" y="8"/>
                  </a:cubicBezTo>
                  <a:cubicBezTo>
                    <a:pt x="160" y="6"/>
                    <a:pt x="164" y="3"/>
                    <a:pt x="167" y="0"/>
                  </a:cubicBezTo>
                  <a:cubicBezTo>
                    <a:pt x="168" y="0"/>
                    <a:pt x="168" y="0"/>
                    <a:pt x="1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24417219"/>
      </p:ext>
    </p:extLst>
  </p:cSld>
  <p:clrMapOvr>
    <a:masterClrMapping/>
  </p:clrMapOvr>
  <p:transition/>
  <p:timing/>
</p:sldLayout>
</file>

<file path=ppt/slideLayouts/slideLayout9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Europe">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378" name="Text Placeholder 377"/>
          <p:cNvSpPr>
            <a:spLocks noGrp="1"/>
          </p:cNvSpPr>
          <p:nvPr>
            <p:ph type="body" sz="quarter" idx="12" hasCustomPrompt="1"/>
          </p:nvPr>
        </p:nvSpPr>
        <p:spPr>
          <a:xfrm>
            <a:off x="334963"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grpSp>
        <p:nvGrpSpPr>
          <p:cNvPr id="376" name="Group 375"/>
          <p:cNvGrpSpPr/>
          <p:nvPr userDrawn="1"/>
        </p:nvGrpSpPr>
        <p:grpSpPr>
          <a:xfrm>
            <a:off x="2336799" y="294744"/>
            <a:ext cx="9855207" cy="6563257"/>
            <a:chOff x="1533009" y="-232098"/>
            <a:chExt cx="10646298" cy="7090099"/>
          </a:xfrm>
          <a:gradFill>
            <a:gsLst>
              <a:gs pos="100000">
                <a:schemeClr val="accent4"/>
              </a:gs>
              <a:gs pos="0">
                <a:schemeClr val="accent1"/>
              </a:gs>
            </a:gsLst>
            <a:lin ang="1200000" scaled="0"/>
          </a:gradFill>
        </p:grpSpPr>
        <p:grpSp>
          <p:nvGrpSpPr>
            <p:cNvPr id="377" name="Group 376"/>
            <p:cNvGrpSpPr/>
            <p:nvPr/>
          </p:nvGrpSpPr>
          <p:grpSpPr>
            <a:xfrm>
              <a:off x="1533009" y="40537"/>
              <a:ext cx="10646298" cy="6817464"/>
              <a:chOff x="1533009" y="40537"/>
              <a:chExt cx="10646298" cy="6817464"/>
            </a:xfrm>
            <a:grpFill/>
          </p:grpSpPr>
          <p:grpSp>
            <p:nvGrpSpPr>
              <p:cNvPr id="389" name="Group 388"/>
              <p:cNvGrpSpPr/>
              <p:nvPr/>
            </p:nvGrpSpPr>
            <p:grpSpPr>
              <a:xfrm>
                <a:off x="1533009" y="40537"/>
                <a:ext cx="9054328" cy="6666374"/>
                <a:chOff x="1533009" y="40537"/>
                <a:chExt cx="9054328" cy="6666374"/>
              </a:xfrm>
              <a:grpFill/>
            </p:grpSpPr>
            <p:sp>
              <p:nvSpPr>
                <p:cNvPr id="565" name="Freeform 5"/>
                <p:cNvSpPr/>
                <p:nvPr/>
              </p:nvSpPr>
              <p:spPr bwMode="auto">
                <a:xfrm>
                  <a:off x="3534026" y="1076054"/>
                  <a:ext cx="106868" cy="51592"/>
                </a:xfrm>
                <a:custGeom>
                  <a:gdLst>
                    <a:gd name="T0" fmla="*/ 34 w 34"/>
                    <a:gd name="T1" fmla="*/ 0 h 16"/>
                    <a:gd name="T2" fmla="*/ 0 w 34"/>
                    <a:gd name="T3" fmla="*/ 16 h 16"/>
                    <a:gd name="T4" fmla="*/ 21 w 34"/>
                    <a:gd name="T5" fmla="*/ 9 h 16"/>
                    <a:gd name="T6" fmla="*/ 34 w 34"/>
                    <a:gd name="T7" fmla="*/ 0 h 16"/>
                  </a:gdLst>
                  <a:cxnLst>
                    <a:cxn ang="0">
                      <a:pos x="T0" y="T1"/>
                    </a:cxn>
                    <a:cxn ang="0">
                      <a:pos x="T2" y="T3"/>
                    </a:cxn>
                    <a:cxn ang="0">
                      <a:pos x="T4" y="T5"/>
                    </a:cxn>
                    <a:cxn ang="0">
                      <a:pos x="T6" y="T7"/>
                    </a:cxn>
                  </a:cxnLst>
                  <a:rect l="0" t="0" r="r" b="b"/>
                  <a:pathLst>
                    <a:path w="34" h="16">
                      <a:moveTo>
                        <a:pt x="34" y="0"/>
                      </a:moveTo>
                      <a:cubicBezTo>
                        <a:pt x="23" y="5"/>
                        <a:pt x="12" y="10"/>
                        <a:pt x="0" y="16"/>
                      </a:cubicBezTo>
                      <a:cubicBezTo>
                        <a:pt x="7" y="14"/>
                        <a:pt x="14" y="12"/>
                        <a:pt x="21" y="9"/>
                      </a:cubicBezTo>
                      <a:cubicBezTo>
                        <a:pt x="27" y="8"/>
                        <a:pt x="30" y="4"/>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8"/>
                <p:cNvSpPr/>
                <p:nvPr/>
              </p:nvSpPr>
              <p:spPr bwMode="auto">
                <a:xfrm>
                  <a:off x="2141053" y="2068290"/>
                  <a:ext cx="998666" cy="456954"/>
                </a:xfrm>
                <a:custGeom>
                  <a:gdLst>
                    <a:gd name="T0" fmla="*/ 231 w 314"/>
                    <a:gd name="T1" fmla="*/ 12 h 144"/>
                    <a:gd name="T2" fmla="*/ 195 w 314"/>
                    <a:gd name="T3" fmla="*/ 24 h 144"/>
                    <a:gd name="T4" fmla="*/ 184 w 314"/>
                    <a:gd name="T5" fmla="*/ 40 h 144"/>
                    <a:gd name="T6" fmla="*/ 146 w 314"/>
                    <a:gd name="T7" fmla="*/ 22 h 144"/>
                    <a:gd name="T8" fmla="*/ 146 w 314"/>
                    <a:gd name="T9" fmla="*/ 35 h 144"/>
                    <a:gd name="T10" fmla="*/ 124 w 314"/>
                    <a:gd name="T11" fmla="*/ 20 h 144"/>
                    <a:gd name="T12" fmla="*/ 116 w 314"/>
                    <a:gd name="T13" fmla="*/ 49 h 144"/>
                    <a:gd name="T14" fmla="*/ 108 w 314"/>
                    <a:gd name="T15" fmla="*/ 40 h 144"/>
                    <a:gd name="T16" fmla="*/ 98 w 314"/>
                    <a:gd name="T17" fmla="*/ 64 h 144"/>
                    <a:gd name="T18" fmla="*/ 87 w 314"/>
                    <a:gd name="T19" fmla="*/ 46 h 144"/>
                    <a:gd name="T20" fmla="*/ 83 w 314"/>
                    <a:gd name="T21" fmla="*/ 38 h 144"/>
                    <a:gd name="T22" fmla="*/ 84 w 314"/>
                    <a:gd name="T23" fmla="*/ 28 h 144"/>
                    <a:gd name="T24" fmla="*/ 58 w 314"/>
                    <a:gd name="T25" fmla="*/ 3 h 144"/>
                    <a:gd name="T26" fmla="*/ 44 w 314"/>
                    <a:gd name="T27" fmla="*/ 11 h 144"/>
                    <a:gd name="T28" fmla="*/ 54 w 314"/>
                    <a:gd name="T29" fmla="*/ 11 h 144"/>
                    <a:gd name="T30" fmla="*/ 61 w 314"/>
                    <a:gd name="T31" fmla="*/ 12 h 144"/>
                    <a:gd name="T32" fmla="*/ 61 w 314"/>
                    <a:gd name="T33" fmla="*/ 27 h 144"/>
                    <a:gd name="T34" fmla="*/ 54 w 314"/>
                    <a:gd name="T35" fmla="*/ 33 h 144"/>
                    <a:gd name="T36" fmla="*/ 28 w 314"/>
                    <a:gd name="T37" fmla="*/ 17 h 144"/>
                    <a:gd name="T38" fmla="*/ 33 w 314"/>
                    <a:gd name="T39" fmla="*/ 25 h 144"/>
                    <a:gd name="T40" fmla="*/ 36 w 314"/>
                    <a:gd name="T41" fmla="*/ 32 h 144"/>
                    <a:gd name="T42" fmla="*/ 19 w 314"/>
                    <a:gd name="T43" fmla="*/ 30 h 144"/>
                    <a:gd name="T44" fmla="*/ 29 w 314"/>
                    <a:gd name="T45" fmla="*/ 38 h 144"/>
                    <a:gd name="T46" fmla="*/ 13 w 314"/>
                    <a:gd name="T47" fmla="*/ 34 h 144"/>
                    <a:gd name="T48" fmla="*/ 19 w 314"/>
                    <a:gd name="T49" fmla="*/ 47 h 144"/>
                    <a:gd name="T50" fmla="*/ 3 w 314"/>
                    <a:gd name="T51" fmla="*/ 46 h 144"/>
                    <a:gd name="T52" fmla="*/ 34 w 314"/>
                    <a:gd name="T53" fmla="*/ 48 h 144"/>
                    <a:gd name="T54" fmla="*/ 81 w 314"/>
                    <a:gd name="T55" fmla="*/ 51 h 144"/>
                    <a:gd name="T56" fmla="*/ 74 w 314"/>
                    <a:gd name="T57" fmla="*/ 65 h 144"/>
                    <a:gd name="T58" fmla="*/ 69 w 314"/>
                    <a:gd name="T59" fmla="*/ 70 h 144"/>
                    <a:gd name="T60" fmla="*/ 53 w 314"/>
                    <a:gd name="T61" fmla="*/ 72 h 144"/>
                    <a:gd name="T62" fmla="*/ 46 w 314"/>
                    <a:gd name="T63" fmla="*/ 72 h 144"/>
                    <a:gd name="T64" fmla="*/ 42 w 314"/>
                    <a:gd name="T65" fmla="*/ 72 h 144"/>
                    <a:gd name="T66" fmla="*/ 39 w 314"/>
                    <a:gd name="T67" fmla="*/ 71 h 144"/>
                    <a:gd name="T68" fmla="*/ 25 w 314"/>
                    <a:gd name="T69" fmla="*/ 76 h 144"/>
                    <a:gd name="T70" fmla="*/ 14 w 314"/>
                    <a:gd name="T71" fmla="*/ 77 h 144"/>
                    <a:gd name="T72" fmla="*/ 61 w 314"/>
                    <a:gd name="T73" fmla="*/ 88 h 144"/>
                    <a:gd name="T74" fmla="*/ 66 w 314"/>
                    <a:gd name="T75" fmla="*/ 96 h 144"/>
                    <a:gd name="T76" fmla="*/ 69 w 314"/>
                    <a:gd name="T77" fmla="*/ 103 h 144"/>
                    <a:gd name="T78" fmla="*/ 63 w 314"/>
                    <a:gd name="T79" fmla="*/ 115 h 144"/>
                    <a:gd name="T80" fmla="*/ 52 w 314"/>
                    <a:gd name="T81" fmla="*/ 125 h 144"/>
                    <a:gd name="T82" fmla="*/ 116 w 314"/>
                    <a:gd name="T83" fmla="*/ 127 h 144"/>
                    <a:gd name="T84" fmla="*/ 163 w 314"/>
                    <a:gd name="T85" fmla="*/ 144 h 144"/>
                    <a:gd name="T86" fmla="*/ 183 w 314"/>
                    <a:gd name="T87" fmla="*/ 140 h 144"/>
                    <a:gd name="T88" fmla="*/ 239 w 314"/>
                    <a:gd name="T89" fmla="*/ 113 h 144"/>
                    <a:gd name="T90" fmla="*/ 266 w 314"/>
                    <a:gd name="T91" fmla="*/ 105 h 144"/>
                    <a:gd name="T92" fmla="*/ 283 w 314"/>
                    <a:gd name="T93" fmla="*/ 98 h 144"/>
                    <a:gd name="T94" fmla="*/ 293 w 314"/>
                    <a:gd name="T95" fmla="*/ 86 h 144"/>
                    <a:gd name="T96" fmla="*/ 299 w 314"/>
                    <a:gd name="T97" fmla="*/ 75 h 144"/>
                    <a:gd name="T98" fmla="*/ 302 w 314"/>
                    <a:gd name="T99" fmla="*/ 71 h 144"/>
                    <a:gd name="T100" fmla="*/ 293 w 314"/>
                    <a:gd name="T101" fmla="*/ 70 h 144"/>
                    <a:gd name="T102" fmla="*/ 303 w 314"/>
                    <a:gd name="T103" fmla="*/ 62 h 144"/>
                    <a:gd name="T104" fmla="*/ 312 w 314"/>
                    <a:gd name="T105" fmla="*/ 59 h 144"/>
                    <a:gd name="T106" fmla="*/ 307 w 314"/>
                    <a:gd name="T107" fmla="*/ 56 h 144"/>
                    <a:gd name="T108" fmla="*/ 292 w 314"/>
                    <a:gd name="T109" fmla="*/ 41 h 144"/>
                    <a:gd name="T110" fmla="*/ 289 w 314"/>
                    <a:gd name="T111" fmla="*/ 41 h 144"/>
                    <a:gd name="T112" fmla="*/ 277 w 314"/>
                    <a:gd name="T113" fmla="*/ 37 h 144"/>
                    <a:gd name="T114" fmla="*/ 269 w 314"/>
                    <a:gd name="T115" fmla="*/ 18 h 144"/>
                    <a:gd name="T116" fmla="*/ 281 w 314"/>
                    <a:gd name="T117" fmla="*/ 7 h 144"/>
                    <a:gd name="T118" fmla="*/ 250 w 314"/>
                    <a:gd name="T119" fmla="*/ 6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4" h="144">
                      <a:moveTo>
                        <a:pt x="239" y="0"/>
                      </a:moveTo>
                      <a:cubicBezTo>
                        <a:pt x="237" y="0"/>
                        <a:pt x="234" y="1"/>
                        <a:pt x="231" y="1"/>
                      </a:cubicBezTo>
                      <a:cubicBezTo>
                        <a:pt x="227" y="1"/>
                        <a:pt x="226" y="2"/>
                        <a:pt x="228" y="7"/>
                      </a:cubicBezTo>
                      <a:cubicBezTo>
                        <a:pt x="229" y="9"/>
                        <a:pt x="231" y="11"/>
                        <a:pt x="231" y="12"/>
                      </a:cubicBezTo>
                      <a:cubicBezTo>
                        <a:pt x="231" y="15"/>
                        <a:pt x="227" y="16"/>
                        <a:pt x="230" y="18"/>
                      </a:cubicBezTo>
                      <a:cubicBezTo>
                        <a:pt x="225" y="18"/>
                        <a:pt x="219" y="17"/>
                        <a:pt x="214" y="16"/>
                      </a:cubicBezTo>
                      <a:cubicBezTo>
                        <a:pt x="210" y="18"/>
                        <a:pt x="201" y="24"/>
                        <a:pt x="196" y="24"/>
                      </a:cubicBezTo>
                      <a:cubicBezTo>
                        <a:pt x="196" y="24"/>
                        <a:pt x="195" y="24"/>
                        <a:pt x="195" y="24"/>
                      </a:cubicBezTo>
                      <a:cubicBezTo>
                        <a:pt x="193" y="23"/>
                        <a:pt x="192" y="21"/>
                        <a:pt x="190" y="20"/>
                      </a:cubicBezTo>
                      <a:cubicBezTo>
                        <a:pt x="188" y="18"/>
                        <a:pt x="183" y="17"/>
                        <a:pt x="179" y="17"/>
                      </a:cubicBezTo>
                      <a:cubicBezTo>
                        <a:pt x="179" y="17"/>
                        <a:pt x="178" y="17"/>
                        <a:pt x="178" y="17"/>
                      </a:cubicBezTo>
                      <a:cubicBezTo>
                        <a:pt x="179" y="25"/>
                        <a:pt x="182" y="32"/>
                        <a:pt x="184" y="40"/>
                      </a:cubicBezTo>
                      <a:cubicBezTo>
                        <a:pt x="179" y="32"/>
                        <a:pt x="174" y="26"/>
                        <a:pt x="169" y="20"/>
                      </a:cubicBezTo>
                      <a:cubicBezTo>
                        <a:pt x="167" y="18"/>
                        <a:pt x="164" y="17"/>
                        <a:pt x="162" y="17"/>
                      </a:cubicBezTo>
                      <a:cubicBezTo>
                        <a:pt x="160" y="17"/>
                        <a:pt x="158" y="17"/>
                        <a:pt x="155" y="18"/>
                      </a:cubicBezTo>
                      <a:cubicBezTo>
                        <a:pt x="153" y="18"/>
                        <a:pt x="148" y="21"/>
                        <a:pt x="146" y="22"/>
                      </a:cubicBezTo>
                      <a:cubicBezTo>
                        <a:pt x="144" y="24"/>
                        <a:pt x="146" y="24"/>
                        <a:pt x="145" y="25"/>
                      </a:cubicBezTo>
                      <a:cubicBezTo>
                        <a:pt x="145" y="26"/>
                        <a:pt x="143" y="26"/>
                        <a:pt x="143" y="27"/>
                      </a:cubicBezTo>
                      <a:cubicBezTo>
                        <a:pt x="143" y="27"/>
                        <a:pt x="145" y="30"/>
                        <a:pt x="146" y="31"/>
                      </a:cubicBezTo>
                      <a:cubicBezTo>
                        <a:pt x="146" y="32"/>
                        <a:pt x="146" y="34"/>
                        <a:pt x="146" y="35"/>
                      </a:cubicBezTo>
                      <a:cubicBezTo>
                        <a:pt x="145" y="37"/>
                        <a:pt x="145" y="37"/>
                        <a:pt x="144" y="37"/>
                      </a:cubicBezTo>
                      <a:cubicBezTo>
                        <a:pt x="143" y="37"/>
                        <a:pt x="141" y="34"/>
                        <a:pt x="139" y="33"/>
                      </a:cubicBezTo>
                      <a:cubicBezTo>
                        <a:pt x="135" y="29"/>
                        <a:pt x="131" y="25"/>
                        <a:pt x="127" y="21"/>
                      </a:cubicBezTo>
                      <a:cubicBezTo>
                        <a:pt x="126" y="20"/>
                        <a:pt x="125" y="20"/>
                        <a:pt x="124" y="20"/>
                      </a:cubicBezTo>
                      <a:cubicBezTo>
                        <a:pt x="123" y="20"/>
                        <a:pt x="122" y="20"/>
                        <a:pt x="121" y="20"/>
                      </a:cubicBezTo>
                      <a:cubicBezTo>
                        <a:pt x="117" y="21"/>
                        <a:pt x="117" y="21"/>
                        <a:pt x="118" y="25"/>
                      </a:cubicBezTo>
                      <a:cubicBezTo>
                        <a:pt x="119" y="28"/>
                        <a:pt x="121" y="33"/>
                        <a:pt x="121" y="36"/>
                      </a:cubicBezTo>
                      <a:cubicBezTo>
                        <a:pt x="121" y="40"/>
                        <a:pt x="118" y="45"/>
                        <a:pt x="116" y="49"/>
                      </a:cubicBezTo>
                      <a:cubicBezTo>
                        <a:pt x="114" y="48"/>
                        <a:pt x="113" y="45"/>
                        <a:pt x="111" y="45"/>
                      </a:cubicBezTo>
                      <a:cubicBezTo>
                        <a:pt x="111" y="45"/>
                        <a:pt x="111" y="45"/>
                        <a:pt x="111" y="45"/>
                      </a:cubicBezTo>
                      <a:cubicBezTo>
                        <a:pt x="111" y="42"/>
                        <a:pt x="112" y="40"/>
                        <a:pt x="110" y="40"/>
                      </a:cubicBezTo>
                      <a:cubicBezTo>
                        <a:pt x="109" y="40"/>
                        <a:pt x="109" y="40"/>
                        <a:pt x="108" y="40"/>
                      </a:cubicBezTo>
                      <a:cubicBezTo>
                        <a:pt x="107" y="40"/>
                        <a:pt x="105" y="42"/>
                        <a:pt x="104" y="43"/>
                      </a:cubicBezTo>
                      <a:cubicBezTo>
                        <a:pt x="101" y="46"/>
                        <a:pt x="104" y="51"/>
                        <a:pt x="100" y="53"/>
                      </a:cubicBezTo>
                      <a:cubicBezTo>
                        <a:pt x="100" y="52"/>
                        <a:pt x="99" y="51"/>
                        <a:pt x="98" y="50"/>
                      </a:cubicBezTo>
                      <a:cubicBezTo>
                        <a:pt x="97" y="55"/>
                        <a:pt x="98" y="60"/>
                        <a:pt x="98" y="64"/>
                      </a:cubicBezTo>
                      <a:cubicBezTo>
                        <a:pt x="95" y="60"/>
                        <a:pt x="92" y="55"/>
                        <a:pt x="88" y="52"/>
                      </a:cubicBezTo>
                      <a:cubicBezTo>
                        <a:pt x="86" y="50"/>
                        <a:pt x="90" y="49"/>
                        <a:pt x="91" y="48"/>
                      </a:cubicBezTo>
                      <a:cubicBezTo>
                        <a:pt x="92" y="46"/>
                        <a:pt x="92" y="45"/>
                        <a:pt x="90" y="45"/>
                      </a:cubicBezTo>
                      <a:cubicBezTo>
                        <a:pt x="89" y="45"/>
                        <a:pt x="88" y="45"/>
                        <a:pt x="87" y="46"/>
                      </a:cubicBezTo>
                      <a:cubicBezTo>
                        <a:pt x="91" y="41"/>
                        <a:pt x="86" y="43"/>
                        <a:pt x="83" y="42"/>
                      </a:cubicBezTo>
                      <a:cubicBezTo>
                        <a:pt x="81" y="41"/>
                        <a:pt x="80" y="38"/>
                        <a:pt x="79" y="36"/>
                      </a:cubicBezTo>
                      <a:cubicBezTo>
                        <a:pt x="79" y="36"/>
                        <a:pt x="79" y="36"/>
                        <a:pt x="79" y="36"/>
                      </a:cubicBezTo>
                      <a:cubicBezTo>
                        <a:pt x="80" y="36"/>
                        <a:pt x="82" y="37"/>
                        <a:pt x="83" y="38"/>
                      </a:cubicBezTo>
                      <a:cubicBezTo>
                        <a:pt x="84" y="39"/>
                        <a:pt x="85" y="40"/>
                        <a:pt x="87" y="40"/>
                      </a:cubicBezTo>
                      <a:cubicBezTo>
                        <a:pt x="88" y="40"/>
                        <a:pt x="89" y="39"/>
                        <a:pt x="90" y="38"/>
                      </a:cubicBezTo>
                      <a:cubicBezTo>
                        <a:pt x="90" y="37"/>
                        <a:pt x="92" y="34"/>
                        <a:pt x="92" y="32"/>
                      </a:cubicBezTo>
                      <a:cubicBezTo>
                        <a:pt x="93" y="27"/>
                        <a:pt x="88" y="28"/>
                        <a:pt x="84" y="28"/>
                      </a:cubicBezTo>
                      <a:cubicBezTo>
                        <a:pt x="86" y="26"/>
                        <a:pt x="89" y="26"/>
                        <a:pt x="91" y="25"/>
                      </a:cubicBezTo>
                      <a:cubicBezTo>
                        <a:pt x="86" y="24"/>
                        <a:pt x="82" y="25"/>
                        <a:pt x="79" y="21"/>
                      </a:cubicBezTo>
                      <a:cubicBezTo>
                        <a:pt x="74" y="14"/>
                        <a:pt x="71" y="11"/>
                        <a:pt x="65" y="7"/>
                      </a:cubicBezTo>
                      <a:cubicBezTo>
                        <a:pt x="62" y="5"/>
                        <a:pt x="61" y="4"/>
                        <a:pt x="58" y="3"/>
                      </a:cubicBezTo>
                      <a:cubicBezTo>
                        <a:pt x="57" y="3"/>
                        <a:pt x="56" y="3"/>
                        <a:pt x="54" y="3"/>
                      </a:cubicBezTo>
                      <a:cubicBezTo>
                        <a:pt x="50" y="3"/>
                        <a:pt x="45" y="4"/>
                        <a:pt x="40" y="4"/>
                      </a:cubicBezTo>
                      <a:cubicBezTo>
                        <a:pt x="43" y="7"/>
                        <a:pt x="39" y="11"/>
                        <a:pt x="44" y="11"/>
                      </a:cubicBezTo>
                      <a:cubicBezTo>
                        <a:pt x="44" y="11"/>
                        <a:pt x="44" y="11"/>
                        <a:pt x="44" y="11"/>
                      </a:cubicBezTo>
                      <a:cubicBezTo>
                        <a:pt x="46" y="11"/>
                        <a:pt x="47" y="9"/>
                        <a:pt x="49" y="8"/>
                      </a:cubicBezTo>
                      <a:cubicBezTo>
                        <a:pt x="48" y="9"/>
                        <a:pt x="48" y="10"/>
                        <a:pt x="49" y="10"/>
                      </a:cubicBezTo>
                      <a:cubicBezTo>
                        <a:pt x="50" y="10"/>
                        <a:pt x="54" y="8"/>
                        <a:pt x="54" y="8"/>
                      </a:cubicBezTo>
                      <a:cubicBezTo>
                        <a:pt x="53" y="10"/>
                        <a:pt x="51" y="11"/>
                        <a:pt x="54" y="11"/>
                      </a:cubicBezTo>
                      <a:cubicBezTo>
                        <a:pt x="54" y="11"/>
                        <a:pt x="55" y="11"/>
                        <a:pt x="55" y="11"/>
                      </a:cubicBezTo>
                      <a:cubicBezTo>
                        <a:pt x="56" y="11"/>
                        <a:pt x="58" y="10"/>
                        <a:pt x="58" y="10"/>
                      </a:cubicBezTo>
                      <a:cubicBezTo>
                        <a:pt x="59" y="10"/>
                        <a:pt x="59" y="11"/>
                        <a:pt x="57" y="12"/>
                      </a:cubicBezTo>
                      <a:cubicBezTo>
                        <a:pt x="59" y="12"/>
                        <a:pt x="60" y="12"/>
                        <a:pt x="61" y="12"/>
                      </a:cubicBezTo>
                      <a:cubicBezTo>
                        <a:pt x="58" y="15"/>
                        <a:pt x="54" y="16"/>
                        <a:pt x="50" y="19"/>
                      </a:cubicBezTo>
                      <a:cubicBezTo>
                        <a:pt x="54" y="19"/>
                        <a:pt x="56" y="21"/>
                        <a:pt x="59" y="21"/>
                      </a:cubicBezTo>
                      <a:cubicBezTo>
                        <a:pt x="60" y="21"/>
                        <a:pt x="60" y="21"/>
                        <a:pt x="61" y="21"/>
                      </a:cubicBezTo>
                      <a:cubicBezTo>
                        <a:pt x="58" y="24"/>
                        <a:pt x="60" y="24"/>
                        <a:pt x="61" y="27"/>
                      </a:cubicBezTo>
                      <a:cubicBezTo>
                        <a:pt x="61" y="29"/>
                        <a:pt x="61" y="30"/>
                        <a:pt x="60" y="32"/>
                      </a:cubicBezTo>
                      <a:cubicBezTo>
                        <a:pt x="59" y="30"/>
                        <a:pt x="58" y="28"/>
                        <a:pt x="57" y="28"/>
                      </a:cubicBezTo>
                      <a:cubicBezTo>
                        <a:pt x="57" y="28"/>
                        <a:pt x="56" y="28"/>
                        <a:pt x="55" y="30"/>
                      </a:cubicBezTo>
                      <a:cubicBezTo>
                        <a:pt x="55" y="31"/>
                        <a:pt x="54" y="32"/>
                        <a:pt x="54" y="33"/>
                      </a:cubicBezTo>
                      <a:cubicBezTo>
                        <a:pt x="55" y="27"/>
                        <a:pt x="56" y="27"/>
                        <a:pt x="53" y="23"/>
                      </a:cubicBezTo>
                      <a:cubicBezTo>
                        <a:pt x="51" y="25"/>
                        <a:pt x="50" y="27"/>
                        <a:pt x="49" y="29"/>
                      </a:cubicBezTo>
                      <a:cubicBezTo>
                        <a:pt x="47" y="26"/>
                        <a:pt x="46" y="22"/>
                        <a:pt x="43" y="20"/>
                      </a:cubicBezTo>
                      <a:cubicBezTo>
                        <a:pt x="39" y="18"/>
                        <a:pt x="32" y="18"/>
                        <a:pt x="28" y="17"/>
                      </a:cubicBezTo>
                      <a:cubicBezTo>
                        <a:pt x="29" y="18"/>
                        <a:pt x="31" y="19"/>
                        <a:pt x="32" y="20"/>
                      </a:cubicBezTo>
                      <a:cubicBezTo>
                        <a:pt x="30" y="19"/>
                        <a:pt x="29" y="19"/>
                        <a:pt x="28" y="19"/>
                      </a:cubicBezTo>
                      <a:cubicBezTo>
                        <a:pt x="27" y="19"/>
                        <a:pt x="26" y="19"/>
                        <a:pt x="25" y="19"/>
                      </a:cubicBezTo>
                      <a:cubicBezTo>
                        <a:pt x="27" y="22"/>
                        <a:pt x="31" y="22"/>
                        <a:pt x="33" y="25"/>
                      </a:cubicBezTo>
                      <a:cubicBezTo>
                        <a:pt x="31" y="25"/>
                        <a:pt x="26" y="22"/>
                        <a:pt x="23" y="22"/>
                      </a:cubicBezTo>
                      <a:cubicBezTo>
                        <a:pt x="22" y="22"/>
                        <a:pt x="21" y="22"/>
                        <a:pt x="21" y="23"/>
                      </a:cubicBezTo>
                      <a:cubicBezTo>
                        <a:pt x="20" y="26"/>
                        <a:pt x="28" y="29"/>
                        <a:pt x="31" y="30"/>
                      </a:cubicBezTo>
                      <a:cubicBezTo>
                        <a:pt x="32" y="31"/>
                        <a:pt x="34" y="31"/>
                        <a:pt x="36" y="32"/>
                      </a:cubicBezTo>
                      <a:cubicBezTo>
                        <a:pt x="33" y="32"/>
                        <a:pt x="30" y="32"/>
                        <a:pt x="27" y="31"/>
                      </a:cubicBezTo>
                      <a:cubicBezTo>
                        <a:pt x="26" y="31"/>
                        <a:pt x="24" y="29"/>
                        <a:pt x="22" y="29"/>
                      </a:cubicBezTo>
                      <a:cubicBezTo>
                        <a:pt x="22" y="29"/>
                        <a:pt x="21" y="29"/>
                        <a:pt x="20" y="29"/>
                      </a:cubicBezTo>
                      <a:cubicBezTo>
                        <a:pt x="20" y="29"/>
                        <a:pt x="20" y="29"/>
                        <a:pt x="19" y="30"/>
                      </a:cubicBezTo>
                      <a:cubicBezTo>
                        <a:pt x="18" y="32"/>
                        <a:pt x="26" y="34"/>
                        <a:pt x="28" y="34"/>
                      </a:cubicBezTo>
                      <a:cubicBezTo>
                        <a:pt x="30" y="35"/>
                        <a:pt x="32" y="36"/>
                        <a:pt x="34" y="36"/>
                      </a:cubicBezTo>
                      <a:cubicBezTo>
                        <a:pt x="35" y="36"/>
                        <a:pt x="36" y="36"/>
                        <a:pt x="38" y="35"/>
                      </a:cubicBezTo>
                      <a:cubicBezTo>
                        <a:pt x="35" y="37"/>
                        <a:pt x="32" y="37"/>
                        <a:pt x="29" y="38"/>
                      </a:cubicBezTo>
                      <a:cubicBezTo>
                        <a:pt x="28" y="39"/>
                        <a:pt x="28" y="43"/>
                        <a:pt x="27" y="43"/>
                      </a:cubicBezTo>
                      <a:cubicBezTo>
                        <a:pt x="27" y="43"/>
                        <a:pt x="27" y="42"/>
                        <a:pt x="26" y="41"/>
                      </a:cubicBezTo>
                      <a:cubicBezTo>
                        <a:pt x="25" y="39"/>
                        <a:pt x="24" y="39"/>
                        <a:pt x="21" y="37"/>
                      </a:cubicBezTo>
                      <a:cubicBezTo>
                        <a:pt x="18" y="36"/>
                        <a:pt x="16" y="35"/>
                        <a:pt x="13" y="34"/>
                      </a:cubicBezTo>
                      <a:cubicBezTo>
                        <a:pt x="11" y="41"/>
                        <a:pt x="17" y="40"/>
                        <a:pt x="21" y="43"/>
                      </a:cubicBezTo>
                      <a:cubicBezTo>
                        <a:pt x="18" y="43"/>
                        <a:pt x="16" y="42"/>
                        <a:pt x="13" y="42"/>
                      </a:cubicBezTo>
                      <a:cubicBezTo>
                        <a:pt x="14" y="44"/>
                        <a:pt x="17" y="46"/>
                        <a:pt x="20" y="47"/>
                      </a:cubicBezTo>
                      <a:cubicBezTo>
                        <a:pt x="19" y="47"/>
                        <a:pt x="19" y="47"/>
                        <a:pt x="19" y="47"/>
                      </a:cubicBezTo>
                      <a:cubicBezTo>
                        <a:pt x="17" y="47"/>
                        <a:pt x="15" y="46"/>
                        <a:pt x="13" y="45"/>
                      </a:cubicBezTo>
                      <a:cubicBezTo>
                        <a:pt x="11" y="44"/>
                        <a:pt x="9" y="42"/>
                        <a:pt x="7" y="42"/>
                      </a:cubicBezTo>
                      <a:cubicBezTo>
                        <a:pt x="6" y="42"/>
                        <a:pt x="6" y="43"/>
                        <a:pt x="5" y="43"/>
                      </a:cubicBezTo>
                      <a:cubicBezTo>
                        <a:pt x="5" y="43"/>
                        <a:pt x="4" y="45"/>
                        <a:pt x="3" y="46"/>
                      </a:cubicBezTo>
                      <a:cubicBezTo>
                        <a:pt x="2" y="47"/>
                        <a:pt x="1" y="48"/>
                        <a:pt x="0" y="48"/>
                      </a:cubicBezTo>
                      <a:cubicBezTo>
                        <a:pt x="5" y="50"/>
                        <a:pt x="12" y="52"/>
                        <a:pt x="17" y="53"/>
                      </a:cubicBezTo>
                      <a:cubicBezTo>
                        <a:pt x="17" y="53"/>
                        <a:pt x="17" y="53"/>
                        <a:pt x="18" y="53"/>
                      </a:cubicBezTo>
                      <a:cubicBezTo>
                        <a:pt x="23" y="53"/>
                        <a:pt x="29" y="49"/>
                        <a:pt x="34" y="48"/>
                      </a:cubicBezTo>
                      <a:cubicBezTo>
                        <a:pt x="38" y="47"/>
                        <a:pt x="42" y="44"/>
                        <a:pt x="45" y="44"/>
                      </a:cubicBezTo>
                      <a:cubicBezTo>
                        <a:pt x="46" y="44"/>
                        <a:pt x="46" y="44"/>
                        <a:pt x="46" y="44"/>
                      </a:cubicBezTo>
                      <a:cubicBezTo>
                        <a:pt x="49" y="44"/>
                        <a:pt x="52" y="45"/>
                        <a:pt x="55" y="46"/>
                      </a:cubicBezTo>
                      <a:cubicBezTo>
                        <a:pt x="63" y="47"/>
                        <a:pt x="72" y="49"/>
                        <a:pt x="81" y="51"/>
                      </a:cubicBezTo>
                      <a:cubicBezTo>
                        <a:pt x="75" y="52"/>
                        <a:pt x="72" y="54"/>
                        <a:pt x="68" y="56"/>
                      </a:cubicBezTo>
                      <a:cubicBezTo>
                        <a:pt x="64" y="58"/>
                        <a:pt x="59" y="59"/>
                        <a:pt x="57" y="62"/>
                      </a:cubicBezTo>
                      <a:cubicBezTo>
                        <a:pt x="60" y="63"/>
                        <a:pt x="67" y="66"/>
                        <a:pt x="71" y="66"/>
                      </a:cubicBezTo>
                      <a:cubicBezTo>
                        <a:pt x="72" y="66"/>
                        <a:pt x="73" y="65"/>
                        <a:pt x="74" y="65"/>
                      </a:cubicBezTo>
                      <a:cubicBezTo>
                        <a:pt x="75" y="65"/>
                        <a:pt x="76" y="63"/>
                        <a:pt x="77" y="63"/>
                      </a:cubicBezTo>
                      <a:cubicBezTo>
                        <a:pt x="77" y="63"/>
                        <a:pt x="77" y="63"/>
                        <a:pt x="78" y="63"/>
                      </a:cubicBezTo>
                      <a:cubicBezTo>
                        <a:pt x="81" y="63"/>
                        <a:pt x="78" y="69"/>
                        <a:pt x="77" y="69"/>
                      </a:cubicBezTo>
                      <a:cubicBezTo>
                        <a:pt x="74" y="70"/>
                        <a:pt x="72" y="70"/>
                        <a:pt x="69" y="70"/>
                      </a:cubicBezTo>
                      <a:cubicBezTo>
                        <a:pt x="68" y="70"/>
                        <a:pt x="67" y="70"/>
                        <a:pt x="66" y="70"/>
                      </a:cubicBezTo>
                      <a:cubicBezTo>
                        <a:pt x="64" y="70"/>
                        <a:pt x="62" y="69"/>
                        <a:pt x="60" y="69"/>
                      </a:cubicBezTo>
                      <a:cubicBezTo>
                        <a:pt x="59" y="69"/>
                        <a:pt x="58" y="69"/>
                        <a:pt x="58" y="69"/>
                      </a:cubicBezTo>
                      <a:cubicBezTo>
                        <a:pt x="56" y="70"/>
                        <a:pt x="54" y="72"/>
                        <a:pt x="53" y="72"/>
                      </a:cubicBezTo>
                      <a:cubicBezTo>
                        <a:pt x="53" y="72"/>
                        <a:pt x="53" y="72"/>
                        <a:pt x="53" y="72"/>
                      </a:cubicBezTo>
                      <a:cubicBezTo>
                        <a:pt x="53" y="72"/>
                        <a:pt x="52" y="71"/>
                        <a:pt x="51" y="70"/>
                      </a:cubicBezTo>
                      <a:cubicBezTo>
                        <a:pt x="51" y="70"/>
                        <a:pt x="51" y="69"/>
                        <a:pt x="51" y="68"/>
                      </a:cubicBezTo>
                      <a:cubicBezTo>
                        <a:pt x="50" y="69"/>
                        <a:pt x="47" y="71"/>
                        <a:pt x="46" y="72"/>
                      </a:cubicBezTo>
                      <a:cubicBezTo>
                        <a:pt x="46" y="72"/>
                        <a:pt x="46" y="72"/>
                        <a:pt x="45" y="72"/>
                      </a:cubicBezTo>
                      <a:cubicBezTo>
                        <a:pt x="45" y="72"/>
                        <a:pt x="45" y="72"/>
                        <a:pt x="45" y="72"/>
                      </a:cubicBezTo>
                      <a:cubicBezTo>
                        <a:pt x="44" y="71"/>
                        <a:pt x="44" y="71"/>
                        <a:pt x="43" y="71"/>
                      </a:cubicBezTo>
                      <a:cubicBezTo>
                        <a:pt x="43" y="71"/>
                        <a:pt x="43" y="71"/>
                        <a:pt x="42" y="72"/>
                      </a:cubicBezTo>
                      <a:cubicBezTo>
                        <a:pt x="42" y="72"/>
                        <a:pt x="40" y="74"/>
                        <a:pt x="40" y="74"/>
                      </a:cubicBezTo>
                      <a:cubicBezTo>
                        <a:pt x="40" y="74"/>
                        <a:pt x="40" y="74"/>
                        <a:pt x="40" y="74"/>
                      </a:cubicBezTo>
                      <a:cubicBezTo>
                        <a:pt x="38" y="74"/>
                        <a:pt x="41" y="72"/>
                        <a:pt x="39" y="71"/>
                      </a:cubicBezTo>
                      <a:cubicBezTo>
                        <a:pt x="39" y="71"/>
                        <a:pt x="39" y="71"/>
                        <a:pt x="39" y="71"/>
                      </a:cubicBezTo>
                      <a:cubicBezTo>
                        <a:pt x="37" y="71"/>
                        <a:pt x="36" y="74"/>
                        <a:pt x="35" y="75"/>
                      </a:cubicBezTo>
                      <a:cubicBezTo>
                        <a:pt x="34" y="74"/>
                        <a:pt x="34" y="73"/>
                        <a:pt x="33" y="73"/>
                      </a:cubicBezTo>
                      <a:cubicBezTo>
                        <a:pt x="31" y="73"/>
                        <a:pt x="28" y="76"/>
                        <a:pt x="25" y="76"/>
                      </a:cubicBezTo>
                      <a:cubicBezTo>
                        <a:pt x="25" y="76"/>
                        <a:pt x="25" y="76"/>
                        <a:pt x="25" y="76"/>
                      </a:cubicBezTo>
                      <a:cubicBezTo>
                        <a:pt x="24" y="76"/>
                        <a:pt x="23" y="76"/>
                        <a:pt x="22" y="76"/>
                      </a:cubicBezTo>
                      <a:cubicBezTo>
                        <a:pt x="21" y="75"/>
                        <a:pt x="20" y="75"/>
                        <a:pt x="19" y="75"/>
                      </a:cubicBezTo>
                      <a:cubicBezTo>
                        <a:pt x="19" y="75"/>
                        <a:pt x="19" y="75"/>
                        <a:pt x="19" y="75"/>
                      </a:cubicBezTo>
                      <a:cubicBezTo>
                        <a:pt x="17" y="75"/>
                        <a:pt x="16" y="76"/>
                        <a:pt x="14" y="77"/>
                      </a:cubicBezTo>
                      <a:cubicBezTo>
                        <a:pt x="16" y="83"/>
                        <a:pt x="18" y="84"/>
                        <a:pt x="24" y="84"/>
                      </a:cubicBezTo>
                      <a:cubicBezTo>
                        <a:pt x="24" y="84"/>
                        <a:pt x="24" y="84"/>
                        <a:pt x="24" y="84"/>
                      </a:cubicBezTo>
                      <a:cubicBezTo>
                        <a:pt x="38" y="84"/>
                        <a:pt x="53" y="84"/>
                        <a:pt x="67" y="84"/>
                      </a:cubicBezTo>
                      <a:cubicBezTo>
                        <a:pt x="65" y="85"/>
                        <a:pt x="63" y="88"/>
                        <a:pt x="61" y="88"/>
                      </a:cubicBezTo>
                      <a:cubicBezTo>
                        <a:pt x="61" y="88"/>
                        <a:pt x="60" y="88"/>
                        <a:pt x="60" y="88"/>
                      </a:cubicBezTo>
                      <a:cubicBezTo>
                        <a:pt x="61" y="89"/>
                        <a:pt x="61" y="90"/>
                        <a:pt x="62" y="90"/>
                      </a:cubicBezTo>
                      <a:cubicBezTo>
                        <a:pt x="63" y="92"/>
                        <a:pt x="64" y="92"/>
                        <a:pt x="66" y="93"/>
                      </a:cubicBezTo>
                      <a:cubicBezTo>
                        <a:pt x="66" y="94"/>
                        <a:pt x="64" y="95"/>
                        <a:pt x="66" y="96"/>
                      </a:cubicBezTo>
                      <a:cubicBezTo>
                        <a:pt x="67" y="96"/>
                        <a:pt x="67" y="96"/>
                        <a:pt x="67" y="96"/>
                      </a:cubicBezTo>
                      <a:cubicBezTo>
                        <a:pt x="70" y="96"/>
                        <a:pt x="76" y="92"/>
                        <a:pt x="78" y="91"/>
                      </a:cubicBezTo>
                      <a:cubicBezTo>
                        <a:pt x="77" y="94"/>
                        <a:pt x="74" y="94"/>
                        <a:pt x="72" y="96"/>
                      </a:cubicBezTo>
                      <a:cubicBezTo>
                        <a:pt x="71" y="98"/>
                        <a:pt x="72" y="102"/>
                        <a:pt x="69" y="103"/>
                      </a:cubicBezTo>
                      <a:cubicBezTo>
                        <a:pt x="73" y="102"/>
                        <a:pt x="77" y="102"/>
                        <a:pt x="81" y="101"/>
                      </a:cubicBezTo>
                      <a:cubicBezTo>
                        <a:pt x="78" y="102"/>
                        <a:pt x="76" y="105"/>
                        <a:pt x="74" y="107"/>
                      </a:cubicBezTo>
                      <a:cubicBezTo>
                        <a:pt x="76" y="108"/>
                        <a:pt x="78" y="109"/>
                        <a:pt x="79" y="110"/>
                      </a:cubicBezTo>
                      <a:cubicBezTo>
                        <a:pt x="74" y="111"/>
                        <a:pt x="69" y="113"/>
                        <a:pt x="63" y="115"/>
                      </a:cubicBezTo>
                      <a:cubicBezTo>
                        <a:pt x="62" y="116"/>
                        <a:pt x="59" y="117"/>
                        <a:pt x="57" y="117"/>
                      </a:cubicBezTo>
                      <a:cubicBezTo>
                        <a:pt x="57" y="117"/>
                        <a:pt x="56" y="117"/>
                        <a:pt x="56" y="117"/>
                      </a:cubicBezTo>
                      <a:cubicBezTo>
                        <a:pt x="55" y="117"/>
                        <a:pt x="54" y="114"/>
                        <a:pt x="53" y="114"/>
                      </a:cubicBezTo>
                      <a:cubicBezTo>
                        <a:pt x="52" y="117"/>
                        <a:pt x="52" y="121"/>
                        <a:pt x="52" y="125"/>
                      </a:cubicBezTo>
                      <a:cubicBezTo>
                        <a:pt x="71" y="125"/>
                        <a:pt x="90" y="124"/>
                        <a:pt x="109" y="123"/>
                      </a:cubicBezTo>
                      <a:cubicBezTo>
                        <a:pt x="108" y="125"/>
                        <a:pt x="109" y="127"/>
                        <a:pt x="107" y="128"/>
                      </a:cubicBezTo>
                      <a:cubicBezTo>
                        <a:pt x="108" y="129"/>
                        <a:pt x="109" y="129"/>
                        <a:pt x="110" y="129"/>
                      </a:cubicBezTo>
                      <a:cubicBezTo>
                        <a:pt x="112" y="129"/>
                        <a:pt x="114" y="128"/>
                        <a:pt x="116" y="127"/>
                      </a:cubicBezTo>
                      <a:cubicBezTo>
                        <a:pt x="113" y="130"/>
                        <a:pt x="112" y="130"/>
                        <a:pt x="116" y="133"/>
                      </a:cubicBezTo>
                      <a:cubicBezTo>
                        <a:pt x="120" y="137"/>
                        <a:pt x="124" y="138"/>
                        <a:pt x="129" y="139"/>
                      </a:cubicBezTo>
                      <a:cubicBezTo>
                        <a:pt x="140" y="141"/>
                        <a:pt x="150" y="143"/>
                        <a:pt x="160" y="144"/>
                      </a:cubicBezTo>
                      <a:cubicBezTo>
                        <a:pt x="161" y="144"/>
                        <a:pt x="162" y="144"/>
                        <a:pt x="163" y="144"/>
                      </a:cubicBezTo>
                      <a:cubicBezTo>
                        <a:pt x="169" y="144"/>
                        <a:pt x="174" y="142"/>
                        <a:pt x="180" y="142"/>
                      </a:cubicBezTo>
                      <a:cubicBezTo>
                        <a:pt x="179" y="140"/>
                        <a:pt x="177" y="140"/>
                        <a:pt x="177" y="138"/>
                      </a:cubicBezTo>
                      <a:cubicBezTo>
                        <a:pt x="179" y="140"/>
                        <a:pt x="179" y="141"/>
                        <a:pt x="181" y="141"/>
                      </a:cubicBezTo>
                      <a:cubicBezTo>
                        <a:pt x="181" y="141"/>
                        <a:pt x="182" y="141"/>
                        <a:pt x="183" y="140"/>
                      </a:cubicBezTo>
                      <a:cubicBezTo>
                        <a:pt x="185" y="138"/>
                        <a:pt x="186" y="134"/>
                        <a:pt x="187" y="132"/>
                      </a:cubicBezTo>
                      <a:cubicBezTo>
                        <a:pt x="191" y="126"/>
                        <a:pt x="204" y="128"/>
                        <a:pt x="210" y="127"/>
                      </a:cubicBezTo>
                      <a:cubicBezTo>
                        <a:pt x="216" y="126"/>
                        <a:pt x="220" y="126"/>
                        <a:pt x="226" y="122"/>
                      </a:cubicBezTo>
                      <a:cubicBezTo>
                        <a:pt x="230" y="119"/>
                        <a:pt x="235" y="116"/>
                        <a:pt x="239" y="113"/>
                      </a:cubicBezTo>
                      <a:cubicBezTo>
                        <a:pt x="245" y="109"/>
                        <a:pt x="257" y="107"/>
                        <a:pt x="260" y="102"/>
                      </a:cubicBezTo>
                      <a:cubicBezTo>
                        <a:pt x="261" y="103"/>
                        <a:pt x="265" y="105"/>
                        <a:pt x="266" y="105"/>
                      </a:cubicBezTo>
                      <a:cubicBezTo>
                        <a:pt x="266" y="105"/>
                        <a:pt x="266" y="105"/>
                        <a:pt x="266" y="105"/>
                      </a:cubicBezTo>
                      <a:cubicBezTo>
                        <a:pt x="266" y="105"/>
                        <a:pt x="266" y="105"/>
                        <a:pt x="266" y="105"/>
                      </a:cubicBezTo>
                      <a:cubicBezTo>
                        <a:pt x="267" y="105"/>
                        <a:pt x="268" y="105"/>
                        <a:pt x="268" y="105"/>
                      </a:cubicBezTo>
                      <a:cubicBezTo>
                        <a:pt x="269" y="106"/>
                        <a:pt x="270" y="106"/>
                        <a:pt x="271" y="106"/>
                      </a:cubicBezTo>
                      <a:cubicBezTo>
                        <a:pt x="271" y="106"/>
                        <a:pt x="271" y="106"/>
                        <a:pt x="272" y="106"/>
                      </a:cubicBezTo>
                      <a:cubicBezTo>
                        <a:pt x="276" y="105"/>
                        <a:pt x="280" y="100"/>
                        <a:pt x="283" y="98"/>
                      </a:cubicBezTo>
                      <a:cubicBezTo>
                        <a:pt x="286" y="96"/>
                        <a:pt x="283" y="93"/>
                        <a:pt x="283" y="91"/>
                      </a:cubicBezTo>
                      <a:cubicBezTo>
                        <a:pt x="283" y="90"/>
                        <a:pt x="284" y="89"/>
                        <a:pt x="286" y="87"/>
                      </a:cubicBezTo>
                      <a:cubicBezTo>
                        <a:pt x="289" y="83"/>
                        <a:pt x="287" y="85"/>
                        <a:pt x="286" y="82"/>
                      </a:cubicBezTo>
                      <a:cubicBezTo>
                        <a:pt x="289" y="84"/>
                        <a:pt x="290" y="86"/>
                        <a:pt x="293" y="86"/>
                      </a:cubicBezTo>
                      <a:cubicBezTo>
                        <a:pt x="294" y="86"/>
                        <a:pt x="295" y="85"/>
                        <a:pt x="296" y="85"/>
                      </a:cubicBezTo>
                      <a:cubicBezTo>
                        <a:pt x="298" y="84"/>
                        <a:pt x="302" y="80"/>
                        <a:pt x="301" y="77"/>
                      </a:cubicBezTo>
                      <a:cubicBezTo>
                        <a:pt x="300" y="76"/>
                        <a:pt x="299" y="75"/>
                        <a:pt x="298" y="75"/>
                      </a:cubicBezTo>
                      <a:cubicBezTo>
                        <a:pt x="298" y="75"/>
                        <a:pt x="299" y="75"/>
                        <a:pt x="299" y="75"/>
                      </a:cubicBezTo>
                      <a:cubicBezTo>
                        <a:pt x="300" y="75"/>
                        <a:pt x="300" y="75"/>
                        <a:pt x="301" y="75"/>
                      </a:cubicBezTo>
                      <a:cubicBezTo>
                        <a:pt x="301" y="75"/>
                        <a:pt x="301" y="75"/>
                        <a:pt x="302" y="75"/>
                      </a:cubicBezTo>
                      <a:cubicBezTo>
                        <a:pt x="304" y="75"/>
                        <a:pt x="305" y="75"/>
                        <a:pt x="303" y="73"/>
                      </a:cubicBezTo>
                      <a:cubicBezTo>
                        <a:pt x="303" y="72"/>
                        <a:pt x="302" y="71"/>
                        <a:pt x="302" y="71"/>
                      </a:cubicBezTo>
                      <a:cubicBezTo>
                        <a:pt x="301" y="71"/>
                        <a:pt x="300" y="70"/>
                        <a:pt x="298" y="70"/>
                      </a:cubicBezTo>
                      <a:cubicBezTo>
                        <a:pt x="298" y="70"/>
                        <a:pt x="297" y="71"/>
                        <a:pt x="297" y="71"/>
                      </a:cubicBezTo>
                      <a:cubicBezTo>
                        <a:pt x="296" y="71"/>
                        <a:pt x="296" y="71"/>
                        <a:pt x="295" y="71"/>
                      </a:cubicBezTo>
                      <a:cubicBezTo>
                        <a:pt x="294" y="71"/>
                        <a:pt x="294" y="71"/>
                        <a:pt x="293" y="70"/>
                      </a:cubicBezTo>
                      <a:cubicBezTo>
                        <a:pt x="300" y="69"/>
                        <a:pt x="307" y="69"/>
                        <a:pt x="314" y="68"/>
                      </a:cubicBezTo>
                      <a:cubicBezTo>
                        <a:pt x="312" y="67"/>
                        <a:pt x="310" y="67"/>
                        <a:pt x="308" y="66"/>
                      </a:cubicBezTo>
                      <a:cubicBezTo>
                        <a:pt x="307" y="65"/>
                        <a:pt x="307" y="63"/>
                        <a:pt x="306" y="63"/>
                      </a:cubicBezTo>
                      <a:cubicBezTo>
                        <a:pt x="305" y="62"/>
                        <a:pt x="304" y="62"/>
                        <a:pt x="303" y="62"/>
                      </a:cubicBezTo>
                      <a:cubicBezTo>
                        <a:pt x="303" y="62"/>
                        <a:pt x="302" y="62"/>
                        <a:pt x="301" y="63"/>
                      </a:cubicBezTo>
                      <a:cubicBezTo>
                        <a:pt x="300" y="63"/>
                        <a:pt x="300" y="63"/>
                        <a:pt x="299" y="63"/>
                      </a:cubicBezTo>
                      <a:cubicBezTo>
                        <a:pt x="299" y="63"/>
                        <a:pt x="299" y="63"/>
                        <a:pt x="299" y="63"/>
                      </a:cubicBezTo>
                      <a:cubicBezTo>
                        <a:pt x="303" y="61"/>
                        <a:pt x="307" y="60"/>
                        <a:pt x="312" y="59"/>
                      </a:cubicBezTo>
                      <a:cubicBezTo>
                        <a:pt x="309" y="59"/>
                        <a:pt x="307" y="58"/>
                        <a:pt x="304" y="58"/>
                      </a:cubicBezTo>
                      <a:cubicBezTo>
                        <a:pt x="303" y="58"/>
                        <a:pt x="301" y="58"/>
                        <a:pt x="300" y="59"/>
                      </a:cubicBezTo>
                      <a:cubicBezTo>
                        <a:pt x="301" y="58"/>
                        <a:pt x="303" y="58"/>
                        <a:pt x="305" y="57"/>
                      </a:cubicBezTo>
                      <a:cubicBezTo>
                        <a:pt x="306" y="57"/>
                        <a:pt x="306" y="56"/>
                        <a:pt x="307" y="56"/>
                      </a:cubicBezTo>
                      <a:cubicBezTo>
                        <a:pt x="308" y="55"/>
                        <a:pt x="309" y="53"/>
                        <a:pt x="309" y="51"/>
                      </a:cubicBezTo>
                      <a:cubicBezTo>
                        <a:pt x="310" y="51"/>
                        <a:pt x="311" y="49"/>
                        <a:pt x="310" y="49"/>
                      </a:cubicBezTo>
                      <a:cubicBezTo>
                        <a:pt x="310" y="46"/>
                        <a:pt x="302" y="45"/>
                        <a:pt x="300" y="44"/>
                      </a:cubicBezTo>
                      <a:cubicBezTo>
                        <a:pt x="298" y="43"/>
                        <a:pt x="295" y="42"/>
                        <a:pt x="292" y="41"/>
                      </a:cubicBezTo>
                      <a:cubicBezTo>
                        <a:pt x="293" y="41"/>
                        <a:pt x="293" y="42"/>
                        <a:pt x="293" y="42"/>
                      </a:cubicBezTo>
                      <a:cubicBezTo>
                        <a:pt x="293" y="42"/>
                        <a:pt x="292" y="41"/>
                        <a:pt x="291" y="41"/>
                      </a:cubicBezTo>
                      <a:cubicBezTo>
                        <a:pt x="289" y="41"/>
                        <a:pt x="287" y="46"/>
                        <a:pt x="285" y="47"/>
                      </a:cubicBezTo>
                      <a:cubicBezTo>
                        <a:pt x="286" y="45"/>
                        <a:pt x="288" y="43"/>
                        <a:pt x="289" y="41"/>
                      </a:cubicBezTo>
                      <a:cubicBezTo>
                        <a:pt x="291" y="39"/>
                        <a:pt x="292" y="41"/>
                        <a:pt x="290" y="37"/>
                      </a:cubicBezTo>
                      <a:cubicBezTo>
                        <a:pt x="290" y="36"/>
                        <a:pt x="289" y="35"/>
                        <a:pt x="288" y="35"/>
                      </a:cubicBezTo>
                      <a:cubicBezTo>
                        <a:pt x="286" y="35"/>
                        <a:pt x="285" y="36"/>
                        <a:pt x="283" y="36"/>
                      </a:cubicBezTo>
                      <a:cubicBezTo>
                        <a:pt x="281" y="37"/>
                        <a:pt x="279" y="37"/>
                        <a:pt x="277" y="37"/>
                      </a:cubicBezTo>
                      <a:cubicBezTo>
                        <a:pt x="275" y="37"/>
                        <a:pt x="275" y="36"/>
                        <a:pt x="279" y="32"/>
                      </a:cubicBezTo>
                      <a:cubicBezTo>
                        <a:pt x="280" y="31"/>
                        <a:pt x="281" y="31"/>
                        <a:pt x="282" y="29"/>
                      </a:cubicBezTo>
                      <a:cubicBezTo>
                        <a:pt x="283" y="25"/>
                        <a:pt x="276" y="24"/>
                        <a:pt x="273" y="23"/>
                      </a:cubicBezTo>
                      <a:cubicBezTo>
                        <a:pt x="270" y="22"/>
                        <a:pt x="263" y="21"/>
                        <a:pt x="269" y="18"/>
                      </a:cubicBezTo>
                      <a:cubicBezTo>
                        <a:pt x="272" y="17"/>
                        <a:pt x="270" y="14"/>
                        <a:pt x="271" y="12"/>
                      </a:cubicBezTo>
                      <a:cubicBezTo>
                        <a:pt x="271" y="11"/>
                        <a:pt x="272" y="11"/>
                        <a:pt x="273" y="11"/>
                      </a:cubicBezTo>
                      <a:cubicBezTo>
                        <a:pt x="276" y="9"/>
                        <a:pt x="281" y="9"/>
                        <a:pt x="283" y="7"/>
                      </a:cubicBezTo>
                      <a:cubicBezTo>
                        <a:pt x="282" y="7"/>
                        <a:pt x="282" y="7"/>
                        <a:pt x="281" y="7"/>
                      </a:cubicBezTo>
                      <a:cubicBezTo>
                        <a:pt x="274" y="7"/>
                        <a:pt x="265" y="9"/>
                        <a:pt x="261" y="14"/>
                      </a:cubicBezTo>
                      <a:cubicBezTo>
                        <a:pt x="261" y="14"/>
                        <a:pt x="261" y="17"/>
                        <a:pt x="260" y="18"/>
                      </a:cubicBezTo>
                      <a:cubicBezTo>
                        <a:pt x="256" y="16"/>
                        <a:pt x="253" y="13"/>
                        <a:pt x="249" y="11"/>
                      </a:cubicBezTo>
                      <a:cubicBezTo>
                        <a:pt x="251" y="10"/>
                        <a:pt x="252" y="8"/>
                        <a:pt x="250" y="6"/>
                      </a:cubicBezTo>
                      <a:cubicBezTo>
                        <a:pt x="249" y="5"/>
                        <a:pt x="241" y="5"/>
                        <a:pt x="245" y="2"/>
                      </a:cubicBezTo>
                      <a:cubicBezTo>
                        <a:pt x="243" y="1"/>
                        <a:pt x="241" y="0"/>
                        <a:pt x="2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32"/>
                <p:cNvSpPr/>
                <p:nvPr/>
              </p:nvSpPr>
              <p:spPr bwMode="auto">
                <a:xfrm>
                  <a:off x="2391641" y="1171867"/>
                  <a:ext cx="18426" cy="22111"/>
                </a:xfrm>
                <a:custGeom>
                  <a:gdLst>
                    <a:gd name="T0" fmla="*/ 1 w 5"/>
                    <a:gd name="T1" fmla="*/ 0 h 7"/>
                    <a:gd name="T2" fmla="*/ 0 w 5"/>
                    <a:gd name="T3" fmla="*/ 0 h 7"/>
                    <a:gd name="T4" fmla="*/ 2 w 5"/>
                    <a:gd name="T5" fmla="*/ 5 h 7"/>
                    <a:gd name="T6" fmla="*/ 1 w 5"/>
                    <a:gd name="T7" fmla="*/ 7 h 7"/>
                    <a:gd name="T8" fmla="*/ 2 w 5"/>
                    <a:gd name="T9" fmla="*/ 7 h 7"/>
                    <a:gd name="T10" fmla="*/ 5 w 5"/>
                    <a:gd name="T11" fmla="*/ 5 h 7"/>
                    <a:gd name="T12" fmla="*/ 1 w 5"/>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5" h="7">
                      <a:moveTo>
                        <a:pt x="1" y="0"/>
                      </a:moveTo>
                      <a:cubicBezTo>
                        <a:pt x="1" y="0"/>
                        <a:pt x="0" y="0"/>
                        <a:pt x="0" y="0"/>
                      </a:cubicBezTo>
                      <a:cubicBezTo>
                        <a:pt x="1" y="1"/>
                        <a:pt x="2" y="3"/>
                        <a:pt x="2" y="5"/>
                      </a:cubicBezTo>
                      <a:cubicBezTo>
                        <a:pt x="2" y="6"/>
                        <a:pt x="1" y="7"/>
                        <a:pt x="1" y="7"/>
                      </a:cubicBezTo>
                      <a:cubicBezTo>
                        <a:pt x="1" y="7"/>
                        <a:pt x="2" y="7"/>
                        <a:pt x="2" y="7"/>
                      </a:cubicBezTo>
                      <a:cubicBezTo>
                        <a:pt x="3" y="7"/>
                        <a:pt x="5" y="7"/>
                        <a:pt x="5" y="5"/>
                      </a:cubicBezTo>
                      <a:cubicBezTo>
                        <a:pt x="5"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34"/>
                <p:cNvSpPr/>
                <p:nvPr/>
              </p:nvSpPr>
              <p:spPr bwMode="auto">
                <a:xfrm>
                  <a:off x="1533009" y="5162848"/>
                  <a:ext cx="7370" cy="14740"/>
                </a:xfrm>
                <a:custGeom>
                  <a:gdLst>
                    <a:gd name="T0" fmla="*/ 2 w 2"/>
                    <a:gd name="T1" fmla="*/ 0 h 5"/>
                    <a:gd name="T2" fmla="*/ 2 w 2"/>
                    <a:gd name="T3" fmla="*/ 5 h 5"/>
                    <a:gd name="T4" fmla="*/ 2 w 2"/>
                    <a:gd name="T5" fmla="*/ 0 h 5"/>
                  </a:gdLst>
                  <a:cxnLst>
                    <a:cxn ang="0">
                      <a:pos x="T0" y="T1"/>
                    </a:cxn>
                    <a:cxn ang="0">
                      <a:pos x="T2" y="T3"/>
                    </a:cxn>
                    <a:cxn ang="0">
                      <a:pos x="T4" y="T5"/>
                    </a:cxn>
                  </a:cxnLst>
                  <a:rect l="0" t="0" r="r" b="b"/>
                  <a:pathLst>
                    <a:path w="2" h="5">
                      <a:moveTo>
                        <a:pt x="2" y="0"/>
                      </a:moveTo>
                      <a:cubicBezTo>
                        <a:pt x="0" y="1"/>
                        <a:pt x="0" y="3"/>
                        <a:pt x="2" y="5"/>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35"/>
                <p:cNvSpPr/>
                <p:nvPr/>
              </p:nvSpPr>
              <p:spPr bwMode="auto">
                <a:xfrm>
                  <a:off x="1772541" y="5262346"/>
                  <a:ext cx="51592" cy="18426"/>
                </a:xfrm>
                <a:custGeom>
                  <a:gdLst>
                    <a:gd name="T0" fmla="*/ 7 w 16"/>
                    <a:gd name="T1" fmla="*/ 0 h 5"/>
                    <a:gd name="T2" fmla="*/ 6 w 16"/>
                    <a:gd name="T3" fmla="*/ 5 h 5"/>
                    <a:gd name="T4" fmla="*/ 11 w 16"/>
                    <a:gd name="T5" fmla="*/ 5 h 5"/>
                    <a:gd name="T6" fmla="*/ 16 w 16"/>
                    <a:gd name="T7" fmla="*/ 4 h 5"/>
                    <a:gd name="T8" fmla="*/ 7 w 16"/>
                    <a:gd name="T9" fmla="*/ 0 h 5"/>
                  </a:gdLst>
                  <a:cxnLst>
                    <a:cxn ang="0">
                      <a:pos x="T0" y="T1"/>
                    </a:cxn>
                    <a:cxn ang="0">
                      <a:pos x="T2" y="T3"/>
                    </a:cxn>
                    <a:cxn ang="0">
                      <a:pos x="T4" y="T5"/>
                    </a:cxn>
                    <a:cxn ang="0">
                      <a:pos x="T6" y="T7"/>
                    </a:cxn>
                    <a:cxn ang="0">
                      <a:pos x="T8" y="T9"/>
                    </a:cxn>
                  </a:cxnLst>
                  <a:rect l="0" t="0" r="r" b="b"/>
                  <a:pathLst>
                    <a:path w="16" h="5">
                      <a:moveTo>
                        <a:pt x="7" y="0"/>
                      </a:moveTo>
                      <a:cubicBezTo>
                        <a:pt x="2" y="1"/>
                        <a:pt x="0" y="2"/>
                        <a:pt x="6" y="5"/>
                      </a:cubicBezTo>
                      <a:cubicBezTo>
                        <a:pt x="7" y="5"/>
                        <a:pt x="9" y="5"/>
                        <a:pt x="11" y="5"/>
                      </a:cubicBezTo>
                      <a:cubicBezTo>
                        <a:pt x="13" y="5"/>
                        <a:pt x="15" y="5"/>
                        <a:pt x="16" y="4"/>
                      </a:cubicBezTo>
                      <a:cubicBezTo>
                        <a:pt x="15" y="3"/>
                        <a:pt x="9"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36"/>
                <p:cNvSpPr/>
                <p:nvPr/>
              </p:nvSpPr>
              <p:spPr bwMode="auto">
                <a:xfrm>
                  <a:off x="1875724" y="5240235"/>
                  <a:ext cx="40536" cy="14740"/>
                </a:xfrm>
                <a:custGeom>
                  <a:gdLst>
                    <a:gd name="T0" fmla="*/ 8 w 13"/>
                    <a:gd name="T1" fmla="*/ 0 h 5"/>
                    <a:gd name="T2" fmla="*/ 3 w 13"/>
                    <a:gd name="T3" fmla="*/ 1 h 5"/>
                    <a:gd name="T4" fmla="*/ 10 w 13"/>
                    <a:gd name="T5" fmla="*/ 5 h 5"/>
                    <a:gd name="T6" fmla="*/ 9 w 13"/>
                    <a:gd name="T7" fmla="*/ 0 h 5"/>
                    <a:gd name="T8" fmla="*/ 8 w 13"/>
                    <a:gd name="T9" fmla="*/ 0 h 5"/>
                  </a:gdLst>
                  <a:cxnLst>
                    <a:cxn ang="0">
                      <a:pos x="T0" y="T1"/>
                    </a:cxn>
                    <a:cxn ang="0">
                      <a:pos x="T2" y="T3"/>
                    </a:cxn>
                    <a:cxn ang="0">
                      <a:pos x="T4" y="T5"/>
                    </a:cxn>
                    <a:cxn ang="0">
                      <a:pos x="T6" y="T7"/>
                    </a:cxn>
                    <a:cxn ang="0">
                      <a:pos x="T8" y="T9"/>
                    </a:cxn>
                  </a:cxnLst>
                  <a:rect l="0" t="0" r="r" b="b"/>
                  <a:pathLst>
                    <a:path w="13" h="5">
                      <a:moveTo>
                        <a:pt x="8" y="0"/>
                      </a:moveTo>
                      <a:cubicBezTo>
                        <a:pt x="6" y="0"/>
                        <a:pt x="4" y="0"/>
                        <a:pt x="3" y="1"/>
                      </a:cubicBezTo>
                      <a:cubicBezTo>
                        <a:pt x="0" y="4"/>
                        <a:pt x="10" y="5"/>
                        <a:pt x="10" y="5"/>
                      </a:cubicBezTo>
                      <a:cubicBezTo>
                        <a:pt x="12" y="2"/>
                        <a:pt x="13" y="1"/>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37"/>
                <p:cNvSpPr/>
                <p:nvPr/>
              </p:nvSpPr>
              <p:spPr bwMode="auto">
                <a:xfrm>
                  <a:off x="2023129" y="5332363"/>
                  <a:ext cx="66332" cy="22111"/>
                </a:xfrm>
                <a:custGeom>
                  <a:gdLst>
                    <a:gd name="T0" fmla="*/ 3 w 21"/>
                    <a:gd name="T1" fmla="*/ 0 h 7"/>
                    <a:gd name="T2" fmla="*/ 0 w 21"/>
                    <a:gd name="T3" fmla="*/ 2 h 7"/>
                    <a:gd name="T4" fmla="*/ 12 w 21"/>
                    <a:gd name="T5" fmla="*/ 7 h 7"/>
                    <a:gd name="T6" fmla="*/ 13 w 21"/>
                    <a:gd name="T7" fmla="*/ 7 h 7"/>
                    <a:gd name="T8" fmla="*/ 21 w 21"/>
                    <a:gd name="T9" fmla="*/ 3 h 7"/>
                    <a:gd name="T10" fmla="*/ 18 w 21"/>
                    <a:gd name="T11" fmla="*/ 2 h 7"/>
                    <a:gd name="T12" fmla="*/ 14 w 21"/>
                    <a:gd name="T13" fmla="*/ 2 h 7"/>
                    <a:gd name="T14" fmla="*/ 9 w 21"/>
                    <a:gd name="T15" fmla="*/ 3 h 7"/>
                    <a:gd name="T16" fmla="*/ 8 w 21"/>
                    <a:gd name="T17" fmla="*/ 3 h 7"/>
                    <a:gd name="T18" fmla="*/ 3 w 21"/>
                    <a:gd name="T1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7">
                      <a:moveTo>
                        <a:pt x="3" y="0"/>
                      </a:moveTo>
                      <a:cubicBezTo>
                        <a:pt x="2" y="0"/>
                        <a:pt x="1" y="1"/>
                        <a:pt x="0" y="2"/>
                      </a:cubicBezTo>
                      <a:cubicBezTo>
                        <a:pt x="4" y="4"/>
                        <a:pt x="8" y="7"/>
                        <a:pt x="12" y="7"/>
                      </a:cubicBezTo>
                      <a:cubicBezTo>
                        <a:pt x="13" y="7"/>
                        <a:pt x="13" y="7"/>
                        <a:pt x="13" y="7"/>
                      </a:cubicBezTo>
                      <a:cubicBezTo>
                        <a:pt x="15" y="6"/>
                        <a:pt x="21" y="4"/>
                        <a:pt x="21" y="3"/>
                      </a:cubicBezTo>
                      <a:cubicBezTo>
                        <a:pt x="21" y="2"/>
                        <a:pt x="20" y="2"/>
                        <a:pt x="18" y="2"/>
                      </a:cubicBezTo>
                      <a:cubicBezTo>
                        <a:pt x="17" y="2"/>
                        <a:pt x="15" y="2"/>
                        <a:pt x="14" y="2"/>
                      </a:cubicBezTo>
                      <a:cubicBezTo>
                        <a:pt x="13" y="2"/>
                        <a:pt x="11" y="3"/>
                        <a:pt x="9" y="3"/>
                      </a:cubicBezTo>
                      <a:cubicBezTo>
                        <a:pt x="9" y="3"/>
                        <a:pt x="8" y="3"/>
                        <a:pt x="8" y="3"/>
                      </a:cubicBezTo>
                      <a:cubicBezTo>
                        <a:pt x="6" y="2"/>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38"/>
                <p:cNvSpPr>
                  <a:spLocks noEditPoints="1"/>
                </p:cNvSpPr>
                <p:nvPr/>
              </p:nvSpPr>
              <p:spPr bwMode="auto">
                <a:xfrm>
                  <a:off x="2082091" y="5428176"/>
                  <a:ext cx="14740" cy="3685"/>
                </a:xfrm>
                <a:custGeom>
                  <a:gdLst>
                    <a:gd name="T0" fmla="*/ 5 w 5"/>
                    <a:gd name="T1" fmla="*/ 1 h 1"/>
                    <a:gd name="T2" fmla="*/ 5 w 5"/>
                    <a:gd name="T3" fmla="*/ 1 h 1"/>
                    <a:gd name="T4" fmla="*/ 5 w 5"/>
                    <a:gd name="T5" fmla="*/ 1 h 1"/>
                    <a:gd name="T6" fmla="*/ 0 w 5"/>
                    <a:gd name="T7" fmla="*/ 0 h 1"/>
                    <a:gd name="T8" fmla="*/ 5 w 5"/>
                    <a:gd name="T9" fmla="*/ 1 h 1"/>
                    <a:gd name="T10" fmla="*/ 0 w 5"/>
                    <a:gd name="T11" fmla="*/ 0 h 1"/>
                  </a:gdLst>
                  <a:cxnLst>
                    <a:cxn ang="0">
                      <a:pos x="T0" y="T1"/>
                    </a:cxn>
                    <a:cxn ang="0">
                      <a:pos x="T2" y="T3"/>
                    </a:cxn>
                    <a:cxn ang="0">
                      <a:pos x="T4" y="T5"/>
                    </a:cxn>
                    <a:cxn ang="0">
                      <a:pos x="T6" y="T7"/>
                    </a:cxn>
                    <a:cxn ang="0">
                      <a:pos x="T8" y="T9"/>
                    </a:cxn>
                    <a:cxn ang="0">
                      <a:pos x="T10" y="T11"/>
                    </a:cxn>
                  </a:cxnLst>
                  <a:rect l="0" t="0" r="r" b="b"/>
                  <a:pathLst>
                    <a:path w="5" h="1">
                      <a:moveTo>
                        <a:pt x="5" y="1"/>
                      </a:moveTo>
                      <a:cubicBezTo>
                        <a:pt x="5" y="1"/>
                        <a:pt x="5" y="1"/>
                        <a:pt x="5" y="1"/>
                      </a:cubicBezTo>
                      <a:cubicBezTo>
                        <a:pt x="5" y="1"/>
                        <a:pt x="5" y="1"/>
                        <a:pt x="5" y="1"/>
                      </a:cubicBezTo>
                      <a:moveTo>
                        <a:pt x="0" y="0"/>
                      </a:moveTo>
                      <a:cubicBezTo>
                        <a:pt x="1" y="1"/>
                        <a:pt x="3" y="0"/>
                        <a:pt x="5" y="1"/>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Rectangle 39"/>
                <p:cNvSpPr>
                  <a:spLocks noChangeArrowheads="1"/>
                </p:cNvSpPr>
                <p:nvPr/>
              </p:nvSpPr>
              <p:spPr bwMode="auto">
                <a:xfrm>
                  <a:off x="6014109" y="4831187"/>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40"/>
                <p:cNvSpPr/>
                <p:nvPr/>
              </p:nvSpPr>
              <p:spPr bwMode="auto">
                <a:xfrm flipH="1">
                  <a:off x="6014109" y="483118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41"/>
                <p:cNvSpPr/>
                <p:nvPr/>
              </p:nvSpPr>
              <p:spPr bwMode="auto">
                <a:xfrm>
                  <a:off x="5944092" y="4801706"/>
                  <a:ext cx="11055" cy="0"/>
                </a:xfrm>
                <a:custGeom>
                  <a:gdLst>
                    <a:gd name="T0" fmla="*/ 1 w 3"/>
                    <a:gd name="T1" fmla="*/ 0 h 1"/>
                    <a:gd name="T2" fmla="*/ 0 w 3"/>
                    <a:gd name="T3" fmla="*/ 0 h 1"/>
                    <a:gd name="T4" fmla="*/ 3 w 3"/>
                    <a:gd name="T5" fmla="*/ 1 h 1"/>
                    <a:gd name="T6" fmla="*/ 3 w 3"/>
                    <a:gd name="T7" fmla="*/ 1 h 1"/>
                    <a:gd name="T8" fmla="*/ 1 w 3"/>
                    <a:gd name="T9" fmla="*/ 0 h 1"/>
                  </a:gdLst>
                  <a:cxnLst>
                    <a:cxn ang="0">
                      <a:pos x="T0" y="T1"/>
                    </a:cxn>
                    <a:cxn ang="0">
                      <a:pos x="T2" y="T3"/>
                    </a:cxn>
                    <a:cxn ang="0">
                      <a:pos x="T4" y="T5"/>
                    </a:cxn>
                    <a:cxn ang="0">
                      <a:pos x="T6" y="T7"/>
                    </a:cxn>
                    <a:cxn ang="0">
                      <a:pos x="T8" y="T9"/>
                    </a:cxn>
                  </a:cxnLst>
                  <a:rect l="0" t="0" r="r" b="b"/>
                  <a:pathLst>
                    <a:path w="3" h="1">
                      <a:moveTo>
                        <a:pt x="1" y="0"/>
                      </a:moveTo>
                      <a:cubicBezTo>
                        <a:pt x="0" y="0"/>
                        <a:pt x="0" y="0"/>
                        <a:pt x="0" y="0"/>
                      </a:cubicBezTo>
                      <a:cubicBezTo>
                        <a:pt x="1" y="0"/>
                        <a:pt x="2" y="0"/>
                        <a:pt x="3" y="1"/>
                      </a:cubicBezTo>
                      <a:cubicBezTo>
                        <a:pt x="3" y="1"/>
                        <a:pt x="3" y="1"/>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Rectangle 42"/>
                <p:cNvSpPr>
                  <a:spLocks noChangeArrowheads="1"/>
                </p:cNvSpPr>
                <p:nvPr/>
              </p:nvSpPr>
              <p:spPr bwMode="auto">
                <a:xfrm>
                  <a:off x="877426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Rectangle 43"/>
                <p:cNvSpPr>
                  <a:spLocks noChangeArrowheads="1"/>
                </p:cNvSpPr>
                <p:nvPr/>
              </p:nvSpPr>
              <p:spPr bwMode="auto">
                <a:xfrm>
                  <a:off x="877426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44"/>
                <p:cNvSpPr/>
                <p:nvPr/>
              </p:nvSpPr>
              <p:spPr bwMode="auto">
                <a:xfrm>
                  <a:off x="7200716" y="4411084"/>
                  <a:ext cx="51592" cy="25796"/>
                </a:xfrm>
                <a:custGeom>
                  <a:gdLst>
                    <a:gd name="T0" fmla="*/ 0 w 16"/>
                    <a:gd name="T1" fmla="*/ 0 h 7"/>
                    <a:gd name="T2" fmla="*/ 16 w 16"/>
                    <a:gd name="T3" fmla="*/ 7 h 7"/>
                    <a:gd name="T4" fmla="*/ 0 w 16"/>
                    <a:gd name="T5" fmla="*/ 0 h 7"/>
                  </a:gdLst>
                  <a:cxnLst>
                    <a:cxn ang="0">
                      <a:pos x="T0" y="T1"/>
                    </a:cxn>
                    <a:cxn ang="0">
                      <a:pos x="T2" y="T3"/>
                    </a:cxn>
                    <a:cxn ang="0">
                      <a:pos x="T4" y="T5"/>
                    </a:cxn>
                  </a:cxnLst>
                  <a:rect l="0" t="0" r="r" b="b"/>
                  <a:pathLst>
                    <a:path w="16" h="7">
                      <a:moveTo>
                        <a:pt x="0" y="0"/>
                      </a:moveTo>
                      <a:cubicBezTo>
                        <a:pt x="1" y="6"/>
                        <a:pt x="11" y="6"/>
                        <a:pt x="16" y="7"/>
                      </a:cubicBezTo>
                      <a:cubicBezTo>
                        <a:pt x="10" y="4"/>
                        <a:pt x="5"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45"/>
                <p:cNvSpPr/>
                <p:nvPr/>
              </p:nvSpPr>
              <p:spPr bwMode="auto">
                <a:xfrm>
                  <a:off x="4248939" y="2634858"/>
                  <a:ext cx="18426" cy="33166"/>
                </a:xfrm>
                <a:custGeom>
                  <a:gdLst>
                    <a:gd name="T0" fmla="*/ 4 w 6"/>
                    <a:gd name="T1" fmla="*/ 0 h 11"/>
                    <a:gd name="T2" fmla="*/ 2 w 6"/>
                    <a:gd name="T3" fmla="*/ 4 h 11"/>
                    <a:gd name="T4" fmla="*/ 3 w 6"/>
                    <a:gd name="T5" fmla="*/ 11 h 11"/>
                    <a:gd name="T6" fmla="*/ 6 w 6"/>
                    <a:gd name="T7" fmla="*/ 1 h 11"/>
                    <a:gd name="T8" fmla="*/ 4 w 6"/>
                    <a:gd name="T9" fmla="*/ 0 h 11"/>
                  </a:gdLst>
                  <a:cxnLst>
                    <a:cxn ang="0">
                      <a:pos x="T0" y="T1"/>
                    </a:cxn>
                    <a:cxn ang="0">
                      <a:pos x="T2" y="T3"/>
                    </a:cxn>
                    <a:cxn ang="0">
                      <a:pos x="T4" y="T5"/>
                    </a:cxn>
                    <a:cxn ang="0">
                      <a:pos x="T6" y="T7"/>
                    </a:cxn>
                    <a:cxn ang="0">
                      <a:pos x="T8" y="T9"/>
                    </a:cxn>
                  </a:cxnLst>
                  <a:rect l="0" t="0" r="r" b="b"/>
                  <a:pathLst>
                    <a:path w="6" h="11">
                      <a:moveTo>
                        <a:pt x="4" y="0"/>
                      </a:moveTo>
                      <a:cubicBezTo>
                        <a:pt x="3" y="0"/>
                        <a:pt x="3" y="2"/>
                        <a:pt x="2" y="4"/>
                      </a:cubicBezTo>
                      <a:cubicBezTo>
                        <a:pt x="1" y="7"/>
                        <a:pt x="0" y="7"/>
                        <a:pt x="3" y="11"/>
                      </a:cubicBezTo>
                      <a:cubicBezTo>
                        <a:pt x="4" y="8"/>
                        <a:pt x="5" y="4"/>
                        <a:pt x="6"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46"/>
                <p:cNvSpPr/>
                <p:nvPr/>
              </p:nvSpPr>
              <p:spPr bwMode="auto">
                <a:xfrm>
                  <a:off x="4201032" y="2649599"/>
                  <a:ext cx="58962" cy="106868"/>
                </a:xfrm>
                <a:custGeom>
                  <a:gdLst>
                    <a:gd name="T0" fmla="*/ 10 w 18"/>
                    <a:gd name="T1" fmla="*/ 0 h 33"/>
                    <a:gd name="T2" fmla="*/ 8 w 18"/>
                    <a:gd name="T3" fmla="*/ 1 h 33"/>
                    <a:gd name="T4" fmla="*/ 9 w 18"/>
                    <a:gd name="T5" fmla="*/ 5 h 33"/>
                    <a:gd name="T6" fmla="*/ 4 w 18"/>
                    <a:gd name="T7" fmla="*/ 4 h 33"/>
                    <a:gd name="T8" fmla="*/ 3 w 18"/>
                    <a:gd name="T9" fmla="*/ 7 h 33"/>
                    <a:gd name="T10" fmla="*/ 7 w 18"/>
                    <a:gd name="T11" fmla="*/ 6 h 33"/>
                    <a:gd name="T12" fmla="*/ 12 w 18"/>
                    <a:gd name="T13" fmla="*/ 12 h 33"/>
                    <a:gd name="T14" fmla="*/ 11 w 18"/>
                    <a:gd name="T15" fmla="*/ 12 h 33"/>
                    <a:gd name="T16" fmla="*/ 11 w 18"/>
                    <a:gd name="T17" fmla="*/ 12 h 33"/>
                    <a:gd name="T18" fmla="*/ 7 w 18"/>
                    <a:gd name="T19" fmla="*/ 14 h 33"/>
                    <a:gd name="T20" fmla="*/ 0 w 18"/>
                    <a:gd name="T21" fmla="*/ 15 h 33"/>
                    <a:gd name="T22" fmla="*/ 3 w 18"/>
                    <a:gd name="T23" fmla="*/ 17 h 33"/>
                    <a:gd name="T24" fmla="*/ 6 w 18"/>
                    <a:gd name="T25" fmla="*/ 17 h 33"/>
                    <a:gd name="T26" fmla="*/ 5 w 18"/>
                    <a:gd name="T27" fmla="*/ 19 h 33"/>
                    <a:gd name="T28" fmla="*/ 6 w 18"/>
                    <a:gd name="T29" fmla="*/ 19 h 33"/>
                    <a:gd name="T30" fmla="*/ 10 w 18"/>
                    <a:gd name="T31" fmla="*/ 16 h 33"/>
                    <a:gd name="T32" fmla="*/ 12 w 18"/>
                    <a:gd name="T33" fmla="*/ 16 h 33"/>
                    <a:gd name="T34" fmla="*/ 12 w 18"/>
                    <a:gd name="T35" fmla="*/ 23 h 33"/>
                    <a:gd name="T36" fmla="*/ 12 w 18"/>
                    <a:gd name="T37" fmla="*/ 33 h 33"/>
                    <a:gd name="T38" fmla="*/ 18 w 18"/>
                    <a:gd name="T39" fmla="*/ 8 h 33"/>
                    <a:gd name="T40" fmla="*/ 16 w 18"/>
                    <a:gd name="T41" fmla="*/ 10 h 33"/>
                    <a:gd name="T42" fmla="*/ 12 w 18"/>
                    <a:gd name="T43" fmla="*/ 1 h 33"/>
                    <a:gd name="T44" fmla="*/ 10 w 18"/>
                    <a:gd name="T45"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33">
                      <a:moveTo>
                        <a:pt x="10" y="0"/>
                      </a:moveTo>
                      <a:cubicBezTo>
                        <a:pt x="9" y="0"/>
                        <a:pt x="8" y="0"/>
                        <a:pt x="8" y="1"/>
                      </a:cubicBezTo>
                      <a:cubicBezTo>
                        <a:pt x="7" y="2"/>
                        <a:pt x="8" y="4"/>
                        <a:pt x="9" y="5"/>
                      </a:cubicBezTo>
                      <a:cubicBezTo>
                        <a:pt x="8" y="5"/>
                        <a:pt x="6" y="4"/>
                        <a:pt x="4" y="4"/>
                      </a:cubicBezTo>
                      <a:cubicBezTo>
                        <a:pt x="3" y="4"/>
                        <a:pt x="2" y="5"/>
                        <a:pt x="3" y="7"/>
                      </a:cubicBezTo>
                      <a:cubicBezTo>
                        <a:pt x="7" y="6"/>
                        <a:pt x="7" y="6"/>
                        <a:pt x="7" y="6"/>
                      </a:cubicBezTo>
                      <a:cubicBezTo>
                        <a:pt x="7" y="10"/>
                        <a:pt x="10" y="10"/>
                        <a:pt x="12" y="12"/>
                      </a:cubicBezTo>
                      <a:cubicBezTo>
                        <a:pt x="12" y="12"/>
                        <a:pt x="12" y="12"/>
                        <a:pt x="11" y="12"/>
                      </a:cubicBezTo>
                      <a:cubicBezTo>
                        <a:pt x="11" y="12"/>
                        <a:pt x="11" y="12"/>
                        <a:pt x="11" y="12"/>
                      </a:cubicBezTo>
                      <a:cubicBezTo>
                        <a:pt x="10" y="14"/>
                        <a:pt x="9" y="14"/>
                        <a:pt x="7" y="14"/>
                      </a:cubicBezTo>
                      <a:cubicBezTo>
                        <a:pt x="5" y="14"/>
                        <a:pt x="3" y="14"/>
                        <a:pt x="0" y="15"/>
                      </a:cubicBezTo>
                      <a:cubicBezTo>
                        <a:pt x="0" y="17"/>
                        <a:pt x="1" y="17"/>
                        <a:pt x="3" y="17"/>
                      </a:cubicBezTo>
                      <a:cubicBezTo>
                        <a:pt x="4" y="17"/>
                        <a:pt x="5" y="17"/>
                        <a:pt x="6" y="17"/>
                      </a:cubicBezTo>
                      <a:cubicBezTo>
                        <a:pt x="5" y="18"/>
                        <a:pt x="5" y="19"/>
                        <a:pt x="5" y="19"/>
                      </a:cubicBezTo>
                      <a:cubicBezTo>
                        <a:pt x="6" y="19"/>
                        <a:pt x="6" y="19"/>
                        <a:pt x="6" y="19"/>
                      </a:cubicBezTo>
                      <a:cubicBezTo>
                        <a:pt x="9" y="17"/>
                        <a:pt x="8" y="16"/>
                        <a:pt x="10" y="16"/>
                      </a:cubicBezTo>
                      <a:cubicBezTo>
                        <a:pt x="11" y="16"/>
                        <a:pt x="11" y="16"/>
                        <a:pt x="12" y="16"/>
                      </a:cubicBezTo>
                      <a:cubicBezTo>
                        <a:pt x="10" y="19"/>
                        <a:pt x="12" y="21"/>
                        <a:pt x="12" y="23"/>
                      </a:cubicBezTo>
                      <a:cubicBezTo>
                        <a:pt x="11" y="27"/>
                        <a:pt x="7" y="31"/>
                        <a:pt x="12" y="33"/>
                      </a:cubicBezTo>
                      <a:cubicBezTo>
                        <a:pt x="14" y="25"/>
                        <a:pt x="17" y="16"/>
                        <a:pt x="18" y="8"/>
                      </a:cubicBezTo>
                      <a:cubicBezTo>
                        <a:pt x="17" y="9"/>
                        <a:pt x="17" y="9"/>
                        <a:pt x="16" y="10"/>
                      </a:cubicBezTo>
                      <a:cubicBezTo>
                        <a:pt x="16" y="7"/>
                        <a:pt x="13" y="3"/>
                        <a:pt x="12" y="1"/>
                      </a:cubicBezTo>
                      <a:cubicBezTo>
                        <a:pt x="11"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47"/>
                <p:cNvSpPr/>
                <p:nvPr/>
              </p:nvSpPr>
              <p:spPr bwMode="auto">
                <a:xfrm>
                  <a:off x="3858316" y="3294494"/>
                  <a:ext cx="44221" cy="36851"/>
                </a:xfrm>
                <a:custGeom>
                  <a:gdLst>
                    <a:gd name="T0" fmla="*/ 6 w 13"/>
                    <a:gd name="T1" fmla="*/ 0 h 11"/>
                    <a:gd name="T2" fmla="*/ 9 w 13"/>
                    <a:gd name="T3" fmla="*/ 11 h 11"/>
                    <a:gd name="T4" fmla="*/ 11 w 13"/>
                    <a:gd name="T5" fmla="*/ 6 h 11"/>
                    <a:gd name="T6" fmla="*/ 10 w 13"/>
                    <a:gd name="T7" fmla="*/ 2 h 11"/>
                    <a:gd name="T8" fmla="*/ 7 w 13"/>
                    <a:gd name="T9" fmla="*/ 0 h 11"/>
                    <a:gd name="T10" fmla="*/ 6 w 13"/>
                    <a:gd name="T11" fmla="*/ 0 h 11"/>
                  </a:gdLst>
                  <a:cxnLst>
                    <a:cxn ang="0">
                      <a:pos x="T0" y="T1"/>
                    </a:cxn>
                    <a:cxn ang="0">
                      <a:pos x="T2" y="T3"/>
                    </a:cxn>
                    <a:cxn ang="0">
                      <a:pos x="T4" y="T5"/>
                    </a:cxn>
                    <a:cxn ang="0">
                      <a:pos x="T6" y="T7"/>
                    </a:cxn>
                    <a:cxn ang="0">
                      <a:pos x="T8" y="T9"/>
                    </a:cxn>
                    <a:cxn ang="0">
                      <a:pos x="T10" y="T11"/>
                    </a:cxn>
                  </a:cxnLst>
                  <a:rect l="0" t="0" r="r" b="b"/>
                  <a:pathLst>
                    <a:path w="13" h="11">
                      <a:moveTo>
                        <a:pt x="6" y="0"/>
                      </a:moveTo>
                      <a:cubicBezTo>
                        <a:pt x="0" y="0"/>
                        <a:pt x="8" y="10"/>
                        <a:pt x="9" y="11"/>
                      </a:cubicBezTo>
                      <a:cubicBezTo>
                        <a:pt x="13" y="11"/>
                        <a:pt x="12" y="8"/>
                        <a:pt x="11" y="6"/>
                      </a:cubicBezTo>
                      <a:cubicBezTo>
                        <a:pt x="11" y="6"/>
                        <a:pt x="10" y="3"/>
                        <a:pt x="10" y="2"/>
                      </a:cubicBezTo>
                      <a:cubicBezTo>
                        <a:pt x="9" y="1"/>
                        <a:pt x="8" y="0"/>
                        <a:pt x="7"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48"/>
                <p:cNvSpPr/>
                <p:nvPr/>
              </p:nvSpPr>
              <p:spPr bwMode="auto">
                <a:xfrm>
                  <a:off x="3740393" y="3043906"/>
                  <a:ext cx="106868" cy="81073"/>
                </a:xfrm>
                <a:custGeom>
                  <a:gdLst>
                    <a:gd name="T0" fmla="*/ 15 w 34"/>
                    <a:gd name="T1" fmla="*/ 0 h 26"/>
                    <a:gd name="T2" fmla="*/ 13 w 34"/>
                    <a:gd name="T3" fmla="*/ 6 h 26"/>
                    <a:gd name="T4" fmla="*/ 11 w 34"/>
                    <a:gd name="T5" fmla="*/ 7 h 26"/>
                    <a:gd name="T6" fmla="*/ 6 w 34"/>
                    <a:gd name="T7" fmla="*/ 3 h 26"/>
                    <a:gd name="T8" fmla="*/ 6 w 34"/>
                    <a:gd name="T9" fmla="*/ 9 h 26"/>
                    <a:gd name="T10" fmla="*/ 3 w 34"/>
                    <a:gd name="T11" fmla="*/ 7 h 26"/>
                    <a:gd name="T12" fmla="*/ 3 w 34"/>
                    <a:gd name="T13" fmla="*/ 7 h 26"/>
                    <a:gd name="T14" fmla="*/ 5 w 34"/>
                    <a:gd name="T15" fmla="*/ 10 h 26"/>
                    <a:gd name="T16" fmla="*/ 13 w 34"/>
                    <a:gd name="T17" fmla="*/ 14 h 26"/>
                    <a:gd name="T18" fmla="*/ 13 w 34"/>
                    <a:gd name="T19" fmla="*/ 14 h 26"/>
                    <a:gd name="T20" fmla="*/ 10 w 34"/>
                    <a:gd name="T21" fmla="*/ 15 h 26"/>
                    <a:gd name="T22" fmla="*/ 21 w 34"/>
                    <a:gd name="T23" fmla="*/ 20 h 26"/>
                    <a:gd name="T24" fmla="*/ 23 w 34"/>
                    <a:gd name="T25" fmla="*/ 18 h 26"/>
                    <a:gd name="T26" fmla="*/ 26 w 34"/>
                    <a:gd name="T27" fmla="*/ 20 h 26"/>
                    <a:gd name="T28" fmla="*/ 28 w 34"/>
                    <a:gd name="T29" fmla="*/ 20 h 26"/>
                    <a:gd name="T30" fmla="*/ 23 w 34"/>
                    <a:gd name="T31" fmla="*/ 26 h 26"/>
                    <a:gd name="T32" fmla="*/ 28 w 34"/>
                    <a:gd name="T33" fmla="*/ 23 h 26"/>
                    <a:gd name="T34" fmla="*/ 30 w 34"/>
                    <a:gd name="T35" fmla="*/ 21 h 26"/>
                    <a:gd name="T36" fmla="*/ 34 w 34"/>
                    <a:gd name="T37" fmla="*/ 17 h 26"/>
                    <a:gd name="T38" fmla="*/ 25 w 34"/>
                    <a:gd name="T39" fmla="*/ 17 h 26"/>
                    <a:gd name="T40" fmla="*/ 23 w 34"/>
                    <a:gd name="T41" fmla="*/ 16 h 26"/>
                    <a:gd name="T42" fmla="*/ 22 w 34"/>
                    <a:gd name="T43" fmla="*/ 16 h 26"/>
                    <a:gd name="T44" fmla="*/ 22 w 34"/>
                    <a:gd name="T45" fmla="*/ 15 h 26"/>
                    <a:gd name="T46" fmla="*/ 20 w 34"/>
                    <a:gd name="T47" fmla="*/ 15 h 26"/>
                    <a:gd name="T48" fmla="*/ 19 w 34"/>
                    <a:gd name="T49" fmla="*/ 11 h 26"/>
                    <a:gd name="T50" fmla="*/ 18 w 34"/>
                    <a:gd name="T51" fmla="*/ 11 h 26"/>
                    <a:gd name="T52" fmla="*/ 19 w 34"/>
                    <a:gd name="T53" fmla="*/ 2 h 26"/>
                    <a:gd name="T54" fmla="*/ 16 w 34"/>
                    <a:gd name="T55" fmla="*/ 0 h 26"/>
                    <a:gd name="T56" fmla="*/ 15 w 34"/>
                    <a:gd name="T57"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26">
                      <a:moveTo>
                        <a:pt x="15" y="0"/>
                      </a:moveTo>
                      <a:cubicBezTo>
                        <a:pt x="13" y="0"/>
                        <a:pt x="12" y="3"/>
                        <a:pt x="13" y="6"/>
                      </a:cubicBezTo>
                      <a:cubicBezTo>
                        <a:pt x="12" y="7"/>
                        <a:pt x="12" y="7"/>
                        <a:pt x="11" y="7"/>
                      </a:cubicBezTo>
                      <a:cubicBezTo>
                        <a:pt x="10" y="7"/>
                        <a:pt x="8" y="4"/>
                        <a:pt x="6" y="3"/>
                      </a:cubicBezTo>
                      <a:cubicBezTo>
                        <a:pt x="6" y="5"/>
                        <a:pt x="6" y="7"/>
                        <a:pt x="6" y="9"/>
                      </a:cubicBezTo>
                      <a:cubicBezTo>
                        <a:pt x="5" y="8"/>
                        <a:pt x="4" y="7"/>
                        <a:pt x="3" y="7"/>
                      </a:cubicBezTo>
                      <a:cubicBezTo>
                        <a:pt x="3" y="7"/>
                        <a:pt x="3" y="7"/>
                        <a:pt x="3" y="7"/>
                      </a:cubicBezTo>
                      <a:cubicBezTo>
                        <a:pt x="0" y="7"/>
                        <a:pt x="4" y="10"/>
                        <a:pt x="5" y="10"/>
                      </a:cubicBezTo>
                      <a:cubicBezTo>
                        <a:pt x="8" y="11"/>
                        <a:pt x="11" y="12"/>
                        <a:pt x="13" y="14"/>
                      </a:cubicBezTo>
                      <a:cubicBezTo>
                        <a:pt x="13" y="14"/>
                        <a:pt x="13" y="14"/>
                        <a:pt x="13" y="14"/>
                      </a:cubicBezTo>
                      <a:cubicBezTo>
                        <a:pt x="12" y="14"/>
                        <a:pt x="11" y="15"/>
                        <a:pt x="10" y="15"/>
                      </a:cubicBezTo>
                      <a:cubicBezTo>
                        <a:pt x="11" y="17"/>
                        <a:pt x="18" y="20"/>
                        <a:pt x="21" y="20"/>
                      </a:cubicBezTo>
                      <a:cubicBezTo>
                        <a:pt x="23" y="20"/>
                        <a:pt x="23" y="20"/>
                        <a:pt x="23" y="18"/>
                      </a:cubicBezTo>
                      <a:cubicBezTo>
                        <a:pt x="24" y="19"/>
                        <a:pt x="25" y="20"/>
                        <a:pt x="26" y="20"/>
                      </a:cubicBezTo>
                      <a:cubicBezTo>
                        <a:pt x="27" y="20"/>
                        <a:pt x="27" y="20"/>
                        <a:pt x="28" y="20"/>
                      </a:cubicBezTo>
                      <a:cubicBezTo>
                        <a:pt x="27" y="22"/>
                        <a:pt x="25" y="24"/>
                        <a:pt x="23" y="26"/>
                      </a:cubicBezTo>
                      <a:cubicBezTo>
                        <a:pt x="26" y="25"/>
                        <a:pt x="26" y="25"/>
                        <a:pt x="28" y="23"/>
                      </a:cubicBezTo>
                      <a:cubicBezTo>
                        <a:pt x="30" y="21"/>
                        <a:pt x="30" y="21"/>
                        <a:pt x="30" y="21"/>
                      </a:cubicBezTo>
                      <a:cubicBezTo>
                        <a:pt x="31" y="20"/>
                        <a:pt x="34" y="20"/>
                        <a:pt x="34" y="17"/>
                      </a:cubicBezTo>
                      <a:cubicBezTo>
                        <a:pt x="31" y="17"/>
                        <a:pt x="28" y="17"/>
                        <a:pt x="25" y="17"/>
                      </a:cubicBezTo>
                      <a:cubicBezTo>
                        <a:pt x="24" y="16"/>
                        <a:pt x="24" y="16"/>
                        <a:pt x="23" y="16"/>
                      </a:cubicBezTo>
                      <a:cubicBezTo>
                        <a:pt x="22" y="16"/>
                        <a:pt x="22" y="16"/>
                        <a:pt x="22" y="16"/>
                      </a:cubicBezTo>
                      <a:cubicBezTo>
                        <a:pt x="22" y="16"/>
                        <a:pt x="22" y="15"/>
                        <a:pt x="22" y="15"/>
                      </a:cubicBezTo>
                      <a:cubicBezTo>
                        <a:pt x="21" y="15"/>
                        <a:pt x="21" y="15"/>
                        <a:pt x="20" y="15"/>
                      </a:cubicBezTo>
                      <a:cubicBezTo>
                        <a:pt x="20" y="14"/>
                        <a:pt x="21" y="11"/>
                        <a:pt x="19" y="11"/>
                      </a:cubicBezTo>
                      <a:cubicBezTo>
                        <a:pt x="19" y="11"/>
                        <a:pt x="19" y="11"/>
                        <a:pt x="18" y="11"/>
                      </a:cubicBezTo>
                      <a:cubicBezTo>
                        <a:pt x="21" y="9"/>
                        <a:pt x="20" y="5"/>
                        <a:pt x="19" y="2"/>
                      </a:cubicBezTo>
                      <a:cubicBezTo>
                        <a:pt x="18" y="2"/>
                        <a:pt x="16" y="0"/>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49"/>
                <p:cNvSpPr/>
                <p:nvPr/>
              </p:nvSpPr>
              <p:spPr bwMode="auto">
                <a:xfrm>
                  <a:off x="4215773" y="3906223"/>
                  <a:ext cx="44221" cy="18426"/>
                </a:xfrm>
                <a:custGeom>
                  <a:gdLst>
                    <a:gd name="T0" fmla="*/ 7 w 14"/>
                    <a:gd name="T1" fmla="*/ 0 h 6"/>
                    <a:gd name="T2" fmla="*/ 0 w 14"/>
                    <a:gd name="T3" fmla="*/ 3 h 6"/>
                    <a:gd name="T4" fmla="*/ 8 w 14"/>
                    <a:gd name="T5" fmla="*/ 6 h 6"/>
                    <a:gd name="T6" fmla="*/ 14 w 14"/>
                    <a:gd name="T7" fmla="*/ 2 h 6"/>
                    <a:gd name="T8" fmla="*/ 7 w 14"/>
                    <a:gd name="T9" fmla="*/ 0 h 6"/>
                  </a:gdLst>
                  <a:cxnLst>
                    <a:cxn ang="0">
                      <a:pos x="T0" y="T1"/>
                    </a:cxn>
                    <a:cxn ang="0">
                      <a:pos x="T2" y="T3"/>
                    </a:cxn>
                    <a:cxn ang="0">
                      <a:pos x="T4" y="T5"/>
                    </a:cxn>
                    <a:cxn ang="0">
                      <a:pos x="T6" y="T7"/>
                    </a:cxn>
                    <a:cxn ang="0">
                      <a:pos x="T8" y="T9"/>
                    </a:cxn>
                  </a:cxnLst>
                  <a:rect l="0" t="0" r="r" b="b"/>
                  <a:pathLst>
                    <a:path w="14" h="6">
                      <a:moveTo>
                        <a:pt x="7" y="0"/>
                      </a:moveTo>
                      <a:cubicBezTo>
                        <a:pt x="4" y="0"/>
                        <a:pt x="2" y="1"/>
                        <a:pt x="0" y="3"/>
                      </a:cubicBezTo>
                      <a:cubicBezTo>
                        <a:pt x="2" y="4"/>
                        <a:pt x="5" y="5"/>
                        <a:pt x="8" y="6"/>
                      </a:cubicBezTo>
                      <a:cubicBezTo>
                        <a:pt x="12" y="6"/>
                        <a:pt x="11" y="3"/>
                        <a:pt x="14" y="2"/>
                      </a:cubicBezTo>
                      <a:cubicBezTo>
                        <a:pt x="12" y="1"/>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50"/>
                <p:cNvSpPr/>
                <p:nvPr/>
              </p:nvSpPr>
              <p:spPr bwMode="auto">
                <a:xfrm>
                  <a:off x="3714597" y="3010740"/>
                  <a:ext cx="36851" cy="25796"/>
                </a:xfrm>
                <a:custGeom>
                  <a:gdLst>
                    <a:gd name="T0" fmla="*/ 7 w 12"/>
                    <a:gd name="T1" fmla="*/ 0 h 8"/>
                    <a:gd name="T2" fmla="*/ 1 w 12"/>
                    <a:gd name="T3" fmla="*/ 4 h 8"/>
                    <a:gd name="T4" fmla="*/ 0 w 12"/>
                    <a:gd name="T5" fmla="*/ 3 h 8"/>
                    <a:gd name="T6" fmla="*/ 4 w 12"/>
                    <a:gd name="T7" fmla="*/ 8 h 8"/>
                    <a:gd name="T8" fmla="*/ 4 w 12"/>
                    <a:gd name="T9" fmla="*/ 8 h 8"/>
                    <a:gd name="T10" fmla="*/ 9 w 12"/>
                    <a:gd name="T11" fmla="*/ 1 h 8"/>
                    <a:gd name="T12" fmla="*/ 7 w 12"/>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12" h="8">
                      <a:moveTo>
                        <a:pt x="7" y="0"/>
                      </a:moveTo>
                      <a:cubicBezTo>
                        <a:pt x="4" y="0"/>
                        <a:pt x="3" y="2"/>
                        <a:pt x="1" y="4"/>
                      </a:cubicBezTo>
                      <a:cubicBezTo>
                        <a:pt x="1" y="4"/>
                        <a:pt x="0" y="3"/>
                        <a:pt x="0" y="3"/>
                      </a:cubicBezTo>
                      <a:cubicBezTo>
                        <a:pt x="0" y="4"/>
                        <a:pt x="3" y="7"/>
                        <a:pt x="4" y="8"/>
                      </a:cubicBezTo>
                      <a:cubicBezTo>
                        <a:pt x="4" y="8"/>
                        <a:pt x="4" y="8"/>
                        <a:pt x="4" y="8"/>
                      </a:cubicBezTo>
                      <a:cubicBezTo>
                        <a:pt x="7" y="8"/>
                        <a:pt x="12" y="3"/>
                        <a:pt x="9"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51"/>
                <p:cNvSpPr/>
                <p:nvPr/>
              </p:nvSpPr>
              <p:spPr bwMode="auto">
                <a:xfrm>
                  <a:off x="3707227" y="2940723"/>
                  <a:ext cx="95813" cy="73702"/>
                </a:xfrm>
                <a:custGeom>
                  <a:gdLst>
                    <a:gd name="T0" fmla="*/ 26 w 30"/>
                    <a:gd name="T1" fmla="*/ 0 h 24"/>
                    <a:gd name="T2" fmla="*/ 24 w 30"/>
                    <a:gd name="T3" fmla="*/ 0 h 24"/>
                    <a:gd name="T4" fmla="*/ 16 w 30"/>
                    <a:gd name="T5" fmla="*/ 5 h 24"/>
                    <a:gd name="T6" fmla="*/ 13 w 30"/>
                    <a:gd name="T7" fmla="*/ 6 h 24"/>
                    <a:gd name="T8" fmla="*/ 7 w 30"/>
                    <a:gd name="T9" fmla="*/ 12 h 24"/>
                    <a:gd name="T10" fmla="*/ 5 w 30"/>
                    <a:gd name="T11" fmla="*/ 10 h 24"/>
                    <a:gd name="T12" fmla="*/ 4 w 30"/>
                    <a:gd name="T13" fmla="*/ 10 h 24"/>
                    <a:gd name="T14" fmla="*/ 2 w 30"/>
                    <a:gd name="T15" fmla="*/ 20 h 24"/>
                    <a:gd name="T16" fmla="*/ 11 w 30"/>
                    <a:gd name="T17" fmla="*/ 24 h 24"/>
                    <a:gd name="T18" fmla="*/ 15 w 30"/>
                    <a:gd name="T19" fmla="*/ 24 h 24"/>
                    <a:gd name="T20" fmla="*/ 14 w 30"/>
                    <a:gd name="T21" fmla="*/ 18 h 24"/>
                    <a:gd name="T22" fmla="*/ 16 w 30"/>
                    <a:gd name="T23" fmla="*/ 17 h 24"/>
                    <a:gd name="T24" fmla="*/ 17 w 30"/>
                    <a:gd name="T25" fmla="*/ 22 h 24"/>
                    <a:gd name="T26" fmla="*/ 17 w 30"/>
                    <a:gd name="T27" fmla="*/ 23 h 24"/>
                    <a:gd name="T28" fmla="*/ 23 w 30"/>
                    <a:gd name="T29" fmla="*/ 18 h 24"/>
                    <a:gd name="T30" fmla="*/ 17 w 30"/>
                    <a:gd name="T31" fmla="*/ 16 h 24"/>
                    <a:gd name="T32" fmla="*/ 16 w 30"/>
                    <a:gd name="T33" fmla="*/ 16 h 24"/>
                    <a:gd name="T34" fmla="*/ 23 w 30"/>
                    <a:gd name="T35" fmla="*/ 11 h 24"/>
                    <a:gd name="T36" fmla="*/ 27 w 30"/>
                    <a:gd name="T37" fmla="*/ 12 h 24"/>
                    <a:gd name="T38" fmla="*/ 29 w 30"/>
                    <a:gd name="T39" fmla="*/ 11 h 24"/>
                    <a:gd name="T40" fmla="*/ 28 w 30"/>
                    <a:gd name="T41" fmla="*/ 4 h 24"/>
                    <a:gd name="T42" fmla="*/ 26 w 30"/>
                    <a:gd name="T43"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24">
                      <a:moveTo>
                        <a:pt x="26" y="0"/>
                      </a:moveTo>
                      <a:cubicBezTo>
                        <a:pt x="26" y="0"/>
                        <a:pt x="25" y="0"/>
                        <a:pt x="24" y="0"/>
                      </a:cubicBezTo>
                      <a:cubicBezTo>
                        <a:pt x="21" y="1"/>
                        <a:pt x="19" y="4"/>
                        <a:pt x="16" y="5"/>
                      </a:cubicBezTo>
                      <a:cubicBezTo>
                        <a:pt x="15" y="6"/>
                        <a:pt x="14" y="5"/>
                        <a:pt x="13" y="6"/>
                      </a:cubicBezTo>
                      <a:cubicBezTo>
                        <a:pt x="11" y="7"/>
                        <a:pt x="9" y="11"/>
                        <a:pt x="7" y="12"/>
                      </a:cubicBezTo>
                      <a:cubicBezTo>
                        <a:pt x="8" y="12"/>
                        <a:pt x="6" y="10"/>
                        <a:pt x="5" y="10"/>
                      </a:cubicBezTo>
                      <a:cubicBezTo>
                        <a:pt x="5" y="10"/>
                        <a:pt x="5" y="10"/>
                        <a:pt x="4" y="10"/>
                      </a:cubicBezTo>
                      <a:cubicBezTo>
                        <a:pt x="0" y="11"/>
                        <a:pt x="4" y="18"/>
                        <a:pt x="2" y="20"/>
                      </a:cubicBezTo>
                      <a:cubicBezTo>
                        <a:pt x="5" y="21"/>
                        <a:pt x="8" y="22"/>
                        <a:pt x="11" y="24"/>
                      </a:cubicBezTo>
                      <a:cubicBezTo>
                        <a:pt x="12" y="24"/>
                        <a:pt x="13" y="24"/>
                        <a:pt x="15" y="24"/>
                      </a:cubicBezTo>
                      <a:cubicBezTo>
                        <a:pt x="13" y="21"/>
                        <a:pt x="11" y="20"/>
                        <a:pt x="14" y="18"/>
                      </a:cubicBezTo>
                      <a:cubicBezTo>
                        <a:pt x="15" y="17"/>
                        <a:pt x="15" y="17"/>
                        <a:pt x="16" y="17"/>
                      </a:cubicBezTo>
                      <a:cubicBezTo>
                        <a:pt x="17" y="17"/>
                        <a:pt x="17" y="20"/>
                        <a:pt x="17" y="22"/>
                      </a:cubicBezTo>
                      <a:cubicBezTo>
                        <a:pt x="17" y="23"/>
                        <a:pt x="17" y="23"/>
                        <a:pt x="17" y="23"/>
                      </a:cubicBezTo>
                      <a:cubicBezTo>
                        <a:pt x="19" y="23"/>
                        <a:pt x="23" y="19"/>
                        <a:pt x="23" y="18"/>
                      </a:cubicBezTo>
                      <a:cubicBezTo>
                        <a:pt x="22" y="17"/>
                        <a:pt x="20" y="16"/>
                        <a:pt x="17" y="16"/>
                      </a:cubicBezTo>
                      <a:cubicBezTo>
                        <a:pt x="17" y="16"/>
                        <a:pt x="17" y="16"/>
                        <a:pt x="16" y="16"/>
                      </a:cubicBezTo>
                      <a:cubicBezTo>
                        <a:pt x="19" y="15"/>
                        <a:pt x="25" y="15"/>
                        <a:pt x="23" y="11"/>
                      </a:cubicBezTo>
                      <a:cubicBezTo>
                        <a:pt x="24" y="11"/>
                        <a:pt x="25" y="12"/>
                        <a:pt x="27" y="12"/>
                      </a:cubicBezTo>
                      <a:cubicBezTo>
                        <a:pt x="27" y="12"/>
                        <a:pt x="28" y="12"/>
                        <a:pt x="29" y="11"/>
                      </a:cubicBezTo>
                      <a:cubicBezTo>
                        <a:pt x="30" y="9"/>
                        <a:pt x="29" y="5"/>
                        <a:pt x="28" y="4"/>
                      </a:cubicBezTo>
                      <a:cubicBezTo>
                        <a:pt x="28" y="2"/>
                        <a:pt x="29"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52"/>
                <p:cNvSpPr/>
                <p:nvPr/>
              </p:nvSpPr>
              <p:spPr bwMode="auto">
                <a:xfrm>
                  <a:off x="3773559" y="3124979"/>
                  <a:ext cx="22111" cy="14740"/>
                </a:xfrm>
                <a:custGeom>
                  <a:gdLst>
                    <a:gd name="T0" fmla="*/ 2 w 7"/>
                    <a:gd name="T1" fmla="*/ 0 h 5"/>
                    <a:gd name="T2" fmla="*/ 4 w 7"/>
                    <a:gd name="T3" fmla="*/ 5 h 5"/>
                    <a:gd name="T4" fmla="*/ 2 w 7"/>
                    <a:gd name="T5" fmla="*/ 0 h 5"/>
                  </a:gdLst>
                  <a:cxnLst>
                    <a:cxn ang="0">
                      <a:pos x="T0" y="T1"/>
                    </a:cxn>
                    <a:cxn ang="0">
                      <a:pos x="T2" y="T3"/>
                    </a:cxn>
                    <a:cxn ang="0">
                      <a:pos x="T4" y="T5"/>
                    </a:cxn>
                  </a:cxnLst>
                  <a:rect l="0" t="0" r="r" b="b"/>
                  <a:pathLst>
                    <a:path w="7" h="5">
                      <a:moveTo>
                        <a:pt x="2" y="0"/>
                      </a:moveTo>
                      <a:cubicBezTo>
                        <a:pt x="1" y="0"/>
                        <a:pt x="0" y="2"/>
                        <a:pt x="4" y="5"/>
                      </a:cubicBezTo>
                      <a:cubicBezTo>
                        <a:pt x="7"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53"/>
                <p:cNvSpPr/>
                <p:nvPr/>
              </p:nvSpPr>
              <p:spPr bwMode="auto">
                <a:xfrm>
                  <a:off x="3777244" y="3176570"/>
                  <a:ext cx="77387" cy="47907"/>
                </a:xfrm>
                <a:custGeom>
                  <a:gdLst>
                    <a:gd name="T0" fmla="*/ 8 w 24"/>
                    <a:gd name="T1" fmla="*/ 0 h 15"/>
                    <a:gd name="T2" fmla="*/ 7 w 24"/>
                    <a:gd name="T3" fmla="*/ 0 h 15"/>
                    <a:gd name="T4" fmla="*/ 3 w 24"/>
                    <a:gd name="T5" fmla="*/ 1 h 15"/>
                    <a:gd name="T6" fmla="*/ 5 w 24"/>
                    <a:gd name="T7" fmla="*/ 5 h 15"/>
                    <a:gd name="T8" fmla="*/ 9 w 24"/>
                    <a:gd name="T9" fmla="*/ 6 h 15"/>
                    <a:gd name="T10" fmla="*/ 11 w 24"/>
                    <a:gd name="T11" fmla="*/ 6 h 15"/>
                    <a:gd name="T12" fmla="*/ 8 w 24"/>
                    <a:gd name="T13" fmla="*/ 11 h 15"/>
                    <a:gd name="T14" fmla="*/ 4 w 24"/>
                    <a:gd name="T15" fmla="*/ 15 h 15"/>
                    <a:gd name="T16" fmla="*/ 14 w 24"/>
                    <a:gd name="T17" fmla="*/ 12 h 15"/>
                    <a:gd name="T18" fmla="*/ 15 w 24"/>
                    <a:gd name="T19" fmla="*/ 12 h 15"/>
                    <a:gd name="T20" fmla="*/ 16 w 24"/>
                    <a:gd name="T21" fmla="*/ 12 h 15"/>
                    <a:gd name="T22" fmla="*/ 16 w 24"/>
                    <a:gd name="T23" fmla="*/ 12 h 15"/>
                    <a:gd name="T24" fmla="*/ 17 w 24"/>
                    <a:gd name="T25" fmla="*/ 13 h 15"/>
                    <a:gd name="T26" fmla="*/ 17 w 24"/>
                    <a:gd name="T27" fmla="*/ 13 h 15"/>
                    <a:gd name="T28" fmla="*/ 20 w 24"/>
                    <a:gd name="T29" fmla="*/ 11 h 15"/>
                    <a:gd name="T30" fmla="*/ 15 w 24"/>
                    <a:gd name="T31" fmla="*/ 5 h 15"/>
                    <a:gd name="T32" fmla="*/ 10 w 24"/>
                    <a:gd name="T33" fmla="*/ 1 h 15"/>
                    <a:gd name="T34" fmla="*/ 8 w 24"/>
                    <a:gd name="T35"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5">
                      <a:moveTo>
                        <a:pt x="8" y="0"/>
                      </a:moveTo>
                      <a:cubicBezTo>
                        <a:pt x="7" y="0"/>
                        <a:pt x="7" y="0"/>
                        <a:pt x="7" y="0"/>
                      </a:cubicBezTo>
                      <a:cubicBezTo>
                        <a:pt x="6" y="0"/>
                        <a:pt x="4" y="1"/>
                        <a:pt x="3" y="1"/>
                      </a:cubicBezTo>
                      <a:cubicBezTo>
                        <a:pt x="2" y="4"/>
                        <a:pt x="4" y="3"/>
                        <a:pt x="5" y="5"/>
                      </a:cubicBezTo>
                      <a:cubicBezTo>
                        <a:pt x="6" y="6"/>
                        <a:pt x="8" y="6"/>
                        <a:pt x="9" y="6"/>
                      </a:cubicBezTo>
                      <a:cubicBezTo>
                        <a:pt x="10" y="6"/>
                        <a:pt x="11" y="6"/>
                        <a:pt x="11" y="6"/>
                      </a:cubicBezTo>
                      <a:cubicBezTo>
                        <a:pt x="12" y="9"/>
                        <a:pt x="12" y="11"/>
                        <a:pt x="8" y="11"/>
                      </a:cubicBezTo>
                      <a:cubicBezTo>
                        <a:pt x="5" y="12"/>
                        <a:pt x="0" y="11"/>
                        <a:pt x="4" y="15"/>
                      </a:cubicBezTo>
                      <a:cubicBezTo>
                        <a:pt x="7" y="14"/>
                        <a:pt x="11" y="13"/>
                        <a:pt x="14" y="12"/>
                      </a:cubicBezTo>
                      <a:cubicBezTo>
                        <a:pt x="14" y="12"/>
                        <a:pt x="15" y="12"/>
                        <a:pt x="15" y="12"/>
                      </a:cubicBezTo>
                      <a:cubicBezTo>
                        <a:pt x="15" y="12"/>
                        <a:pt x="16" y="12"/>
                        <a:pt x="16" y="12"/>
                      </a:cubicBezTo>
                      <a:cubicBezTo>
                        <a:pt x="16" y="12"/>
                        <a:pt x="16" y="12"/>
                        <a:pt x="16" y="12"/>
                      </a:cubicBezTo>
                      <a:cubicBezTo>
                        <a:pt x="16" y="13"/>
                        <a:pt x="16" y="13"/>
                        <a:pt x="17" y="13"/>
                      </a:cubicBezTo>
                      <a:cubicBezTo>
                        <a:pt x="17" y="13"/>
                        <a:pt x="17" y="13"/>
                        <a:pt x="17" y="13"/>
                      </a:cubicBezTo>
                      <a:cubicBezTo>
                        <a:pt x="18" y="13"/>
                        <a:pt x="20" y="12"/>
                        <a:pt x="20" y="11"/>
                      </a:cubicBezTo>
                      <a:cubicBezTo>
                        <a:pt x="24" y="7"/>
                        <a:pt x="18" y="6"/>
                        <a:pt x="15" y="5"/>
                      </a:cubicBezTo>
                      <a:cubicBezTo>
                        <a:pt x="12" y="4"/>
                        <a:pt x="12" y="1"/>
                        <a:pt x="10"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54"/>
                <p:cNvSpPr/>
                <p:nvPr/>
              </p:nvSpPr>
              <p:spPr bwMode="auto">
                <a:xfrm>
                  <a:off x="3674061" y="3047591"/>
                  <a:ext cx="44221" cy="18426"/>
                </a:xfrm>
                <a:custGeom>
                  <a:gdLst>
                    <a:gd name="T0" fmla="*/ 1 w 13"/>
                    <a:gd name="T1" fmla="*/ 0 h 6"/>
                    <a:gd name="T2" fmla="*/ 6 w 13"/>
                    <a:gd name="T3" fmla="*/ 4 h 6"/>
                    <a:gd name="T4" fmla="*/ 8 w 13"/>
                    <a:gd name="T5" fmla="*/ 6 h 6"/>
                    <a:gd name="T6" fmla="*/ 9 w 13"/>
                    <a:gd name="T7" fmla="*/ 6 h 6"/>
                    <a:gd name="T8" fmla="*/ 13 w 13"/>
                    <a:gd name="T9" fmla="*/ 1 h 6"/>
                    <a:gd name="T10" fmla="*/ 6 w 13"/>
                    <a:gd name="T11" fmla="*/ 0 h 6"/>
                    <a:gd name="T12" fmla="*/ 5 w 13"/>
                    <a:gd name="T13" fmla="*/ 0 h 6"/>
                    <a:gd name="T14" fmla="*/ 3 w 13"/>
                    <a:gd name="T15" fmla="*/ 0 h 6"/>
                    <a:gd name="T16" fmla="*/ 1 w 13"/>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6">
                      <a:moveTo>
                        <a:pt x="1" y="0"/>
                      </a:moveTo>
                      <a:cubicBezTo>
                        <a:pt x="0" y="3"/>
                        <a:pt x="4" y="4"/>
                        <a:pt x="6" y="4"/>
                      </a:cubicBezTo>
                      <a:cubicBezTo>
                        <a:pt x="7" y="5"/>
                        <a:pt x="7" y="6"/>
                        <a:pt x="8" y="6"/>
                      </a:cubicBezTo>
                      <a:cubicBezTo>
                        <a:pt x="9" y="6"/>
                        <a:pt x="9" y="6"/>
                        <a:pt x="9" y="6"/>
                      </a:cubicBezTo>
                      <a:cubicBezTo>
                        <a:pt x="12" y="5"/>
                        <a:pt x="12" y="3"/>
                        <a:pt x="13" y="1"/>
                      </a:cubicBezTo>
                      <a:cubicBezTo>
                        <a:pt x="11" y="0"/>
                        <a:pt x="8" y="0"/>
                        <a:pt x="6" y="0"/>
                      </a:cubicBezTo>
                      <a:cubicBezTo>
                        <a:pt x="6" y="0"/>
                        <a:pt x="5" y="0"/>
                        <a:pt x="5" y="0"/>
                      </a:cubicBezTo>
                      <a:cubicBezTo>
                        <a:pt x="4" y="0"/>
                        <a:pt x="4" y="0"/>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55"/>
                <p:cNvSpPr/>
                <p:nvPr/>
              </p:nvSpPr>
              <p:spPr bwMode="auto">
                <a:xfrm>
                  <a:off x="4267364" y="2620118"/>
                  <a:ext cx="25796" cy="22111"/>
                </a:xfrm>
                <a:custGeom>
                  <a:gdLst>
                    <a:gd name="T0" fmla="*/ 4 w 8"/>
                    <a:gd name="T1" fmla="*/ 0 h 7"/>
                    <a:gd name="T2" fmla="*/ 2 w 8"/>
                    <a:gd name="T3" fmla="*/ 2 h 7"/>
                    <a:gd name="T4" fmla="*/ 4 w 8"/>
                    <a:gd name="T5" fmla="*/ 7 h 7"/>
                    <a:gd name="T6" fmla="*/ 5 w 8"/>
                    <a:gd name="T7" fmla="*/ 7 h 7"/>
                    <a:gd name="T8" fmla="*/ 5 w 8"/>
                    <a:gd name="T9" fmla="*/ 0 h 7"/>
                    <a:gd name="T10" fmla="*/ 4 w 8"/>
                    <a:gd name="T11" fmla="*/ 0 h 7"/>
                  </a:gdLst>
                  <a:cxnLst>
                    <a:cxn ang="0">
                      <a:pos x="T0" y="T1"/>
                    </a:cxn>
                    <a:cxn ang="0">
                      <a:pos x="T2" y="T3"/>
                    </a:cxn>
                    <a:cxn ang="0">
                      <a:pos x="T4" y="T5"/>
                    </a:cxn>
                    <a:cxn ang="0">
                      <a:pos x="T6" y="T7"/>
                    </a:cxn>
                    <a:cxn ang="0">
                      <a:pos x="T8" y="T9"/>
                    </a:cxn>
                    <a:cxn ang="0">
                      <a:pos x="T10" y="T11"/>
                    </a:cxn>
                  </a:cxnLst>
                  <a:rect l="0" t="0" r="r" b="b"/>
                  <a:pathLst>
                    <a:path w="8" h="7">
                      <a:moveTo>
                        <a:pt x="4" y="0"/>
                      </a:moveTo>
                      <a:cubicBezTo>
                        <a:pt x="3" y="0"/>
                        <a:pt x="3" y="1"/>
                        <a:pt x="2" y="2"/>
                      </a:cubicBezTo>
                      <a:cubicBezTo>
                        <a:pt x="0" y="4"/>
                        <a:pt x="1" y="7"/>
                        <a:pt x="4" y="7"/>
                      </a:cubicBezTo>
                      <a:cubicBezTo>
                        <a:pt x="4" y="7"/>
                        <a:pt x="4" y="7"/>
                        <a:pt x="5" y="7"/>
                      </a:cubicBezTo>
                      <a:cubicBezTo>
                        <a:pt x="5" y="5"/>
                        <a:pt x="8"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56"/>
                <p:cNvSpPr/>
                <p:nvPr/>
              </p:nvSpPr>
              <p:spPr bwMode="auto">
                <a:xfrm>
                  <a:off x="4046257" y="2878076"/>
                  <a:ext cx="18426" cy="18426"/>
                </a:xfrm>
                <a:custGeom>
                  <a:gdLst>
                    <a:gd name="T0" fmla="*/ 2 w 6"/>
                    <a:gd name="T1" fmla="*/ 0 h 6"/>
                    <a:gd name="T2" fmla="*/ 0 w 6"/>
                    <a:gd name="T3" fmla="*/ 1 h 6"/>
                    <a:gd name="T4" fmla="*/ 5 w 6"/>
                    <a:gd name="T5" fmla="*/ 6 h 6"/>
                    <a:gd name="T6" fmla="*/ 3 w 6"/>
                    <a:gd name="T7" fmla="*/ 1 h 6"/>
                    <a:gd name="T8" fmla="*/ 2 w 6"/>
                    <a:gd name="T9" fmla="*/ 0 h 6"/>
                  </a:gdLst>
                  <a:cxnLst>
                    <a:cxn ang="0">
                      <a:pos x="T0" y="T1"/>
                    </a:cxn>
                    <a:cxn ang="0">
                      <a:pos x="T2" y="T3"/>
                    </a:cxn>
                    <a:cxn ang="0">
                      <a:pos x="T4" y="T5"/>
                    </a:cxn>
                    <a:cxn ang="0">
                      <a:pos x="T6" y="T7"/>
                    </a:cxn>
                    <a:cxn ang="0">
                      <a:pos x="T8" y="T9"/>
                    </a:cxn>
                  </a:cxnLst>
                  <a:rect l="0" t="0" r="r" b="b"/>
                  <a:pathLst>
                    <a:path w="6" h="6">
                      <a:moveTo>
                        <a:pt x="2" y="0"/>
                      </a:moveTo>
                      <a:cubicBezTo>
                        <a:pt x="1" y="0"/>
                        <a:pt x="1" y="0"/>
                        <a:pt x="0" y="1"/>
                      </a:cubicBezTo>
                      <a:cubicBezTo>
                        <a:pt x="2" y="3"/>
                        <a:pt x="4" y="4"/>
                        <a:pt x="5" y="6"/>
                      </a:cubicBezTo>
                      <a:cubicBezTo>
                        <a:pt x="6" y="3"/>
                        <a:pt x="6" y="2"/>
                        <a:pt x="3"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57"/>
                <p:cNvSpPr/>
                <p:nvPr/>
              </p:nvSpPr>
              <p:spPr bwMode="auto">
                <a:xfrm>
                  <a:off x="3791984" y="2914927"/>
                  <a:ext cx="725968" cy="1083424"/>
                </a:xfrm>
                <a:custGeom>
                  <a:gdLst>
                    <a:gd name="T0" fmla="*/ 75 w 228"/>
                    <a:gd name="T1" fmla="*/ 2 h 341"/>
                    <a:gd name="T2" fmla="*/ 42 w 228"/>
                    <a:gd name="T3" fmla="*/ 9 h 341"/>
                    <a:gd name="T4" fmla="*/ 31 w 228"/>
                    <a:gd name="T5" fmla="*/ 10 h 341"/>
                    <a:gd name="T6" fmla="*/ 29 w 228"/>
                    <a:gd name="T7" fmla="*/ 17 h 341"/>
                    <a:gd name="T8" fmla="*/ 23 w 228"/>
                    <a:gd name="T9" fmla="*/ 24 h 341"/>
                    <a:gd name="T10" fmla="*/ 23 w 228"/>
                    <a:gd name="T11" fmla="*/ 31 h 341"/>
                    <a:gd name="T12" fmla="*/ 16 w 228"/>
                    <a:gd name="T13" fmla="*/ 35 h 341"/>
                    <a:gd name="T14" fmla="*/ 11 w 228"/>
                    <a:gd name="T15" fmla="*/ 45 h 341"/>
                    <a:gd name="T16" fmla="*/ 22 w 228"/>
                    <a:gd name="T17" fmla="*/ 55 h 341"/>
                    <a:gd name="T18" fmla="*/ 17 w 228"/>
                    <a:gd name="T19" fmla="*/ 64 h 341"/>
                    <a:gd name="T20" fmla="*/ 12 w 228"/>
                    <a:gd name="T21" fmla="*/ 68 h 341"/>
                    <a:gd name="T22" fmla="*/ 16 w 228"/>
                    <a:gd name="T23" fmla="*/ 89 h 341"/>
                    <a:gd name="T24" fmla="*/ 25 w 228"/>
                    <a:gd name="T25" fmla="*/ 87 h 341"/>
                    <a:gd name="T26" fmla="*/ 26 w 228"/>
                    <a:gd name="T27" fmla="*/ 90 h 341"/>
                    <a:gd name="T28" fmla="*/ 15 w 228"/>
                    <a:gd name="T29" fmla="*/ 111 h 341"/>
                    <a:gd name="T30" fmla="*/ 22 w 228"/>
                    <a:gd name="T31" fmla="*/ 115 h 341"/>
                    <a:gd name="T32" fmla="*/ 19 w 228"/>
                    <a:gd name="T33" fmla="*/ 132 h 341"/>
                    <a:gd name="T34" fmla="*/ 22 w 228"/>
                    <a:gd name="T35" fmla="*/ 110 h 341"/>
                    <a:gd name="T36" fmla="*/ 36 w 228"/>
                    <a:gd name="T37" fmla="*/ 99 h 341"/>
                    <a:gd name="T38" fmla="*/ 33 w 228"/>
                    <a:gd name="T39" fmla="*/ 110 h 341"/>
                    <a:gd name="T40" fmla="*/ 45 w 228"/>
                    <a:gd name="T41" fmla="*/ 111 h 341"/>
                    <a:gd name="T42" fmla="*/ 40 w 228"/>
                    <a:gd name="T43" fmla="*/ 120 h 341"/>
                    <a:gd name="T44" fmla="*/ 35 w 228"/>
                    <a:gd name="T45" fmla="*/ 158 h 341"/>
                    <a:gd name="T46" fmla="*/ 53 w 228"/>
                    <a:gd name="T47" fmla="*/ 160 h 341"/>
                    <a:gd name="T48" fmla="*/ 78 w 228"/>
                    <a:gd name="T49" fmla="*/ 149 h 341"/>
                    <a:gd name="T50" fmla="*/ 75 w 228"/>
                    <a:gd name="T51" fmla="*/ 166 h 341"/>
                    <a:gd name="T52" fmla="*/ 89 w 228"/>
                    <a:gd name="T53" fmla="*/ 182 h 341"/>
                    <a:gd name="T54" fmla="*/ 91 w 228"/>
                    <a:gd name="T55" fmla="*/ 202 h 341"/>
                    <a:gd name="T56" fmla="*/ 87 w 228"/>
                    <a:gd name="T57" fmla="*/ 211 h 341"/>
                    <a:gd name="T58" fmla="*/ 59 w 228"/>
                    <a:gd name="T59" fmla="*/ 218 h 341"/>
                    <a:gd name="T60" fmla="*/ 54 w 228"/>
                    <a:gd name="T61" fmla="*/ 222 h 341"/>
                    <a:gd name="T62" fmla="*/ 61 w 228"/>
                    <a:gd name="T63" fmla="*/ 230 h 341"/>
                    <a:gd name="T64" fmla="*/ 32 w 228"/>
                    <a:gd name="T65" fmla="*/ 274 h 341"/>
                    <a:gd name="T66" fmla="*/ 37 w 228"/>
                    <a:gd name="T67" fmla="*/ 279 h 341"/>
                    <a:gd name="T68" fmla="*/ 70 w 228"/>
                    <a:gd name="T69" fmla="*/ 282 h 341"/>
                    <a:gd name="T70" fmla="*/ 89 w 228"/>
                    <a:gd name="T71" fmla="*/ 295 h 341"/>
                    <a:gd name="T72" fmla="*/ 38 w 228"/>
                    <a:gd name="T73" fmla="*/ 320 h 341"/>
                    <a:gd name="T74" fmla="*/ 49 w 228"/>
                    <a:gd name="T75" fmla="*/ 329 h 341"/>
                    <a:gd name="T76" fmla="*/ 63 w 228"/>
                    <a:gd name="T77" fmla="*/ 328 h 341"/>
                    <a:gd name="T78" fmla="*/ 79 w 228"/>
                    <a:gd name="T79" fmla="*/ 315 h 341"/>
                    <a:gd name="T80" fmla="*/ 121 w 228"/>
                    <a:gd name="T81" fmla="*/ 317 h 341"/>
                    <a:gd name="T82" fmla="*/ 125 w 228"/>
                    <a:gd name="T83" fmla="*/ 312 h 341"/>
                    <a:gd name="T84" fmla="*/ 164 w 228"/>
                    <a:gd name="T85" fmla="*/ 311 h 341"/>
                    <a:gd name="T86" fmla="*/ 217 w 228"/>
                    <a:gd name="T87" fmla="*/ 297 h 341"/>
                    <a:gd name="T88" fmla="*/ 214 w 228"/>
                    <a:gd name="T89" fmla="*/ 287 h 341"/>
                    <a:gd name="T90" fmla="*/ 200 w 228"/>
                    <a:gd name="T91" fmla="*/ 283 h 341"/>
                    <a:gd name="T92" fmla="*/ 197 w 228"/>
                    <a:gd name="T93" fmla="*/ 276 h 341"/>
                    <a:gd name="T94" fmla="*/ 208 w 228"/>
                    <a:gd name="T95" fmla="*/ 267 h 341"/>
                    <a:gd name="T96" fmla="*/ 218 w 228"/>
                    <a:gd name="T97" fmla="*/ 264 h 341"/>
                    <a:gd name="T98" fmla="*/ 192 w 228"/>
                    <a:gd name="T99" fmla="*/ 230 h 341"/>
                    <a:gd name="T100" fmla="*/ 181 w 228"/>
                    <a:gd name="T101" fmla="*/ 228 h 341"/>
                    <a:gd name="T102" fmla="*/ 162 w 228"/>
                    <a:gd name="T103" fmla="*/ 200 h 341"/>
                    <a:gd name="T104" fmla="*/ 177 w 228"/>
                    <a:gd name="T105" fmla="*/ 202 h 341"/>
                    <a:gd name="T106" fmla="*/ 142 w 228"/>
                    <a:gd name="T107" fmla="*/ 160 h 341"/>
                    <a:gd name="T108" fmla="*/ 82 w 228"/>
                    <a:gd name="T109" fmla="*/ 108 h 341"/>
                    <a:gd name="T110" fmla="*/ 96 w 228"/>
                    <a:gd name="T111" fmla="*/ 91 h 341"/>
                    <a:gd name="T112" fmla="*/ 126 w 228"/>
                    <a:gd name="T113" fmla="*/ 50 h 341"/>
                    <a:gd name="T114" fmla="*/ 58 w 228"/>
                    <a:gd name="T115" fmla="*/ 49 h 341"/>
                    <a:gd name="T116" fmla="*/ 63 w 228"/>
                    <a:gd name="T117" fmla="*/ 40 h 341"/>
                    <a:gd name="T118" fmla="*/ 75 w 228"/>
                    <a:gd name="T119" fmla="*/ 22 h 3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8" h="341">
                      <a:moveTo>
                        <a:pt x="82" y="0"/>
                      </a:moveTo>
                      <a:cubicBezTo>
                        <a:pt x="80" y="0"/>
                        <a:pt x="79" y="2"/>
                        <a:pt x="77" y="3"/>
                      </a:cubicBezTo>
                      <a:cubicBezTo>
                        <a:pt x="77" y="3"/>
                        <a:pt x="77" y="3"/>
                        <a:pt x="77" y="3"/>
                      </a:cubicBezTo>
                      <a:cubicBezTo>
                        <a:pt x="77" y="3"/>
                        <a:pt x="76" y="2"/>
                        <a:pt x="76" y="2"/>
                      </a:cubicBezTo>
                      <a:cubicBezTo>
                        <a:pt x="76" y="2"/>
                        <a:pt x="75" y="2"/>
                        <a:pt x="75" y="2"/>
                      </a:cubicBezTo>
                      <a:cubicBezTo>
                        <a:pt x="75" y="2"/>
                        <a:pt x="75" y="2"/>
                        <a:pt x="75" y="2"/>
                      </a:cubicBezTo>
                      <a:cubicBezTo>
                        <a:pt x="73" y="2"/>
                        <a:pt x="68" y="4"/>
                        <a:pt x="65" y="4"/>
                      </a:cubicBezTo>
                      <a:cubicBezTo>
                        <a:pt x="64" y="4"/>
                        <a:pt x="63" y="4"/>
                        <a:pt x="63" y="3"/>
                      </a:cubicBezTo>
                      <a:cubicBezTo>
                        <a:pt x="60" y="7"/>
                        <a:pt x="54" y="4"/>
                        <a:pt x="50" y="9"/>
                      </a:cubicBezTo>
                      <a:cubicBezTo>
                        <a:pt x="51" y="7"/>
                        <a:pt x="52" y="5"/>
                        <a:pt x="50" y="4"/>
                      </a:cubicBezTo>
                      <a:cubicBezTo>
                        <a:pt x="49" y="4"/>
                        <a:pt x="49" y="4"/>
                        <a:pt x="48" y="4"/>
                      </a:cubicBezTo>
                      <a:cubicBezTo>
                        <a:pt x="46" y="4"/>
                        <a:pt x="44" y="8"/>
                        <a:pt x="42" y="9"/>
                      </a:cubicBezTo>
                      <a:cubicBezTo>
                        <a:pt x="43" y="7"/>
                        <a:pt x="45" y="5"/>
                        <a:pt x="44" y="4"/>
                      </a:cubicBezTo>
                      <a:cubicBezTo>
                        <a:pt x="44" y="3"/>
                        <a:pt x="43" y="3"/>
                        <a:pt x="42" y="3"/>
                      </a:cubicBezTo>
                      <a:cubicBezTo>
                        <a:pt x="41" y="3"/>
                        <a:pt x="41" y="3"/>
                        <a:pt x="40" y="4"/>
                      </a:cubicBezTo>
                      <a:cubicBezTo>
                        <a:pt x="40" y="2"/>
                        <a:pt x="39" y="2"/>
                        <a:pt x="37" y="2"/>
                      </a:cubicBezTo>
                      <a:cubicBezTo>
                        <a:pt x="37" y="2"/>
                        <a:pt x="37" y="2"/>
                        <a:pt x="37" y="2"/>
                      </a:cubicBezTo>
                      <a:cubicBezTo>
                        <a:pt x="34" y="2"/>
                        <a:pt x="32" y="6"/>
                        <a:pt x="31" y="10"/>
                      </a:cubicBezTo>
                      <a:cubicBezTo>
                        <a:pt x="30" y="15"/>
                        <a:pt x="33" y="17"/>
                        <a:pt x="37" y="17"/>
                      </a:cubicBezTo>
                      <a:cubicBezTo>
                        <a:pt x="37" y="17"/>
                        <a:pt x="37" y="17"/>
                        <a:pt x="37" y="17"/>
                      </a:cubicBezTo>
                      <a:cubicBezTo>
                        <a:pt x="36" y="17"/>
                        <a:pt x="35" y="17"/>
                        <a:pt x="34" y="17"/>
                      </a:cubicBezTo>
                      <a:cubicBezTo>
                        <a:pt x="33" y="17"/>
                        <a:pt x="33" y="17"/>
                        <a:pt x="32" y="17"/>
                      </a:cubicBezTo>
                      <a:cubicBezTo>
                        <a:pt x="32" y="17"/>
                        <a:pt x="31" y="17"/>
                        <a:pt x="30" y="17"/>
                      </a:cubicBezTo>
                      <a:cubicBezTo>
                        <a:pt x="30" y="17"/>
                        <a:pt x="30" y="17"/>
                        <a:pt x="29" y="17"/>
                      </a:cubicBezTo>
                      <a:cubicBezTo>
                        <a:pt x="28" y="17"/>
                        <a:pt x="27" y="17"/>
                        <a:pt x="26" y="17"/>
                      </a:cubicBezTo>
                      <a:cubicBezTo>
                        <a:pt x="26" y="17"/>
                        <a:pt x="25" y="17"/>
                        <a:pt x="24" y="17"/>
                      </a:cubicBezTo>
                      <a:cubicBezTo>
                        <a:pt x="25" y="19"/>
                        <a:pt x="26" y="21"/>
                        <a:pt x="28" y="21"/>
                      </a:cubicBezTo>
                      <a:cubicBezTo>
                        <a:pt x="27" y="22"/>
                        <a:pt x="26" y="24"/>
                        <a:pt x="25" y="25"/>
                      </a:cubicBezTo>
                      <a:cubicBezTo>
                        <a:pt x="25" y="24"/>
                        <a:pt x="23" y="23"/>
                        <a:pt x="23" y="23"/>
                      </a:cubicBezTo>
                      <a:cubicBezTo>
                        <a:pt x="23" y="23"/>
                        <a:pt x="22" y="24"/>
                        <a:pt x="23" y="24"/>
                      </a:cubicBezTo>
                      <a:cubicBezTo>
                        <a:pt x="23" y="26"/>
                        <a:pt x="26" y="28"/>
                        <a:pt x="27" y="28"/>
                      </a:cubicBezTo>
                      <a:cubicBezTo>
                        <a:pt x="29" y="30"/>
                        <a:pt x="32" y="31"/>
                        <a:pt x="33" y="34"/>
                      </a:cubicBezTo>
                      <a:cubicBezTo>
                        <a:pt x="30" y="32"/>
                        <a:pt x="27" y="30"/>
                        <a:pt x="24" y="30"/>
                      </a:cubicBezTo>
                      <a:cubicBezTo>
                        <a:pt x="24" y="30"/>
                        <a:pt x="24" y="30"/>
                        <a:pt x="24" y="30"/>
                      </a:cubicBezTo>
                      <a:cubicBezTo>
                        <a:pt x="25" y="32"/>
                        <a:pt x="27" y="32"/>
                        <a:pt x="29" y="34"/>
                      </a:cubicBezTo>
                      <a:cubicBezTo>
                        <a:pt x="27" y="33"/>
                        <a:pt x="25" y="31"/>
                        <a:pt x="23" y="31"/>
                      </a:cubicBezTo>
                      <a:cubicBezTo>
                        <a:pt x="23" y="31"/>
                        <a:pt x="23" y="31"/>
                        <a:pt x="23" y="31"/>
                      </a:cubicBezTo>
                      <a:cubicBezTo>
                        <a:pt x="22" y="32"/>
                        <a:pt x="23" y="33"/>
                        <a:pt x="21" y="33"/>
                      </a:cubicBezTo>
                      <a:cubicBezTo>
                        <a:pt x="21" y="33"/>
                        <a:pt x="21" y="33"/>
                        <a:pt x="21" y="33"/>
                      </a:cubicBezTo>
                      <a:cubicBezTo>
                        <a:pt x="19" y="33"/>
                        <a:pt x="20" y="31"/>
                        <a:pt x="18" y="31"/>
                      </a:cubicBezTo>
                      <a:cubicBezTo>
                        <a:pt x="18" y="31"/>
                        <a:pt x="18" y="31"/>
                        <a:pt x="18" y="31"/>
                      </a:cubicBezTo>
                      <a:cubicBezTo>
                        <a:pt x="16" y="31"/>
                        <a:pt x="17" y="33"/>
                        <a:pt x="16" y="35"/>
                      </a:cubicBezTo>
                      <a:cubicBezTo>
                        <a:pt x="16" y="34"/>
                        <a:pt x="15" y="33"/>
                        <a:pt x="14" y="33"/>
                      </a:cubicBezTo>
                      <a:cubicBezTo>
                        <a:pt x="13" y="33"/>
                        <a:pt x="13" y="33"/>
                        <a:pt x="12" y="33"/>
                      </a:cubicBezTo>
                      <a:cubicBezTo>
                        <a:pt x="10" y="36"/>
                        <a:pt x="18" y="46"/>
                        <a:pt x="21" y="46"/>
                      </a:cubicBezTo>
                      <a:cubicBezTo>
                        <a:pt x="19" y="47"/>
                        <a:pt x="18" y="47"/>
                        <a:pt x="17" y="47"/>
                      </a:cubicBezTo>
                      <a:cubicBezTo>
                        <a:pt x="16" y="47"/>
                        <a:pt x="16" y="47"/>
                        <a:pt x="14" y="46"/>
                      </a:cubicBezTo>
                      <a:cubicBezTo>
                        <a:pt x="13" y="46"/>
                        <a:pt x="12" y="45"/>
                        <a:pt x="11" y="45"/>
                      </a:cubicBezTo>
                      <a:cubicBezTo>
                        <a:pt x="11" y="45"/>
                        <a:pt x="11" y="46"/>
                        <a:pt x="11" y="48"/>
                      </a:cubicBezTo>
                      <a:cubicBezTo>
                        <a:pt x="11" y="52"/>
                        <a:pt x="17" y="51"/>
                        <a:pt x="18" y="53"/>
                      </a:cubicBezTo>
                      <a:cubicBezTo>
                        <a:pt x="19" y="53"/>
                        <a:pt x="19" y="53"/>
                        <a:pt x="19" y="53"/>
                      </a:cubicBezTo>
                      <a:cubicBezTo>
                        <a:pt x="17" y="54"/>
                        <a:pt x="15" y="54"/>
                        <a:pt x="14" y="56"/>
                      </a:cubicBezTo>
                      <a:cubicBezTo>
                        <a:pt x="16" y="57"/>
                        <a:pt x="17" y="57"/>
                        <a:pt x="18" y="57"/>
                      </a:cubicBezTo>
                      <a:cubicBezTo>
                        <a:pt x="19" y="57"/>
                        <a:pt x="20" y="56"/>
                        <a:pt x="22" y="55"/>
                      </a:cubicBezTo>
                      <a:cubicBezTo>
                        <a:pt x="20" y="58"/>
                        <a:pt x="16" y="58"/>
                        <a:pt x="16" y="61"/>
                      </a:cubicBezTo>
                      <a:cubicBezTo>
                        <a:pt x="16" y="63"/>
                        <a:pt x="19" y="64"/>
                        <a:pt x="21" y="64"/>
                      </a:cubicBezTo>
                      <a:cubicBezTo>
                        <a:pt x="22" y="64"/>
                        <a:pt x="23" y="64"/>
                        <a:pt x="24" y="64"/>
                      </a:cubicBezTo>
                      <a:cubicBezTo>
                        <a:pt x="22" y="64"/>
                        <a:pt x="22" y="64"/>
                        <a:pt x="21" y="64"/>
                      </a:cubicBezTo>
                      <a:cubicBezTo>
                        <a:pt x="20" y="64"/>
                        <a:pt x="20" y="64"/>
                        <a:pt x="19" y="64"/>
                      </a:cubicBezTo>
                      <a:cubicBezTo>
                        <a:pt x="18" y="64"/>
                        <a:pt x="18" y="64"/>
                        <a:pt x="17" y="64"/>
                      </a:cubicBezTo>
                      <a:cubicBezTo>
                        <a:pt x="16" y="64"/>
                        <a:pt x="16" y="64"/>
                        <a:pt x="16" y="64"/>
                      </a:cubicBezTo>
                      <a:cubicBezTo>
                        <a:pt x="10" y="65"/>
                        <a:pt x="16" y="68"/>
                        <a:pt x="20" y="68"/>
                      </a:cubicBezTo>
                      <a:cubicBezTo>
                        <a:pt x="19" y="69"/>
                        <a:pt x="18" y="69"/>
                        <a:pt x="18" y="69"/>
                      </a:cubicBezTo>
                      <a:cubicBezTo>
                        <a:pt x="17" y="69"/>
                        <a:pt x="16" y="69"/>
                        <a:pt x="15" y="68"/>
                      </a:cubicBezTo>
                      <a:cubicBezTo>
                        <a:pt x="15" y="68"/>
                        <a:pt x="14" y="68"/>
                        <a:pt x="13" y="68"/>
                      </a:cubicBezTo>
                      <a:cubicBezTo>
                        <a:pt x="13" y="68"/>
                        <a:pt x="12" y="68"/>
                        <a:pt x="12" y="68"/>
                      </a:cubicBezTo>
                      <a:cubicBezTo>
                        <a:pt x="9" y="70"/>
                        <a:pt x="10" y="75"/>
                        <a:pt x="11" y="77"/>
                      </a:cubicBezTo>
                      <a:cubicBezTo>
                        <a:pt x="10" y="78"/>
                        <a:pt x="10" y="78"/>
                        <a:pt x="10" y="78"/>
                      </a:cubicBezTo>
                      <a:cubicBezTo>
                        <a:pt x="9" y="78"/>
                        <a:pt x="8" y="78"/>
                        <a:pt x="7" y="78"/>
                      </a:cubicBezTo>
                      <a:cubicBezTo>
                        <a:pt x="4" y="78"/>
                        <a:pt x="1" y="78"/>
                        <a:pt x="0" y="80"/>
                      </a:cubicBezTo>
                      <a:cubicBezTo>
                        <a:pt x="3" y="82"/>
                        <a:pt x="7" y="85"/>
                        <a:pt x="10" y="86"/>
                      </a:cubicBezTo>
                      <a:cubicBezTo>
                        <a:pt x="12" y="87"/>
                        <a:pt x="14" y="87"/>
                        <a:pt x="16" y="89"/>
                      </a:cubicBezTo>
                      <a:cubicBezTo>
                        <a:pt x="21" y="85"/>
                        <a:pt x="26" y="80"/>
                        <a:pt x="32" y="76"/>
                      </a:cubicBezTo>
                      <a:cubicBezTo>
                        <a:pt x="32" y="78"/>
                        <a:pt x="32" y="80"/>
                        <a:pt x="34" y="80"/>
                      </a:cubicBezTo>
                      <a:cubicBezTo>
                        <a:pt x="34" y="80"/>
                        <a:pt x="34" y="80"/>
                        <a:pt x="35" y="80"/>
                      </a:cubicBezTo>
                      <a:cubicBezTo>
                        <a:pt x="32" y="81"/>
                        <a:pt x="29" y="82"/>
                        <a:pt x="27" y="83"/>
                      </a:cubicBezTo>
                      <a:cubicBezTo>
                        <a:pt x="26" y="84"/>
                        <a:pt x="25" y="85"/>
                        <a:pt x="23" y="86"/>
                      </a:cubicBezTo>
                      <a:cubicBezTo>
                        <a:pt x="24" y="87"/>
                        <a:pt x="25" y="87"/>
                        <a:pt x="25" y="87"/>
                      </a:cubicBezTo>
                      <a:cubicBezTo>
                        <a:pt x="26" y="87"/>
                        <a:pt x="27" y="86"/>
                        <a:pt x="28" y="86"/>
                      </a:cubicBezTo>
                      <a:cubicBezTo>
                        <a:pt x="26" y="88"/>
                        <a:pt x="23" y="86"/>
                        <a:pt x="22" y="89"/>
                      </a:cubicBezTo>
                      <a:cubicBezTo>
                        <a:pt x="24" y="90"/>
                        <a:pt x="26" y="90"/>
                        <a:pt x="27" y="90"/>
                      </a:cubicBezTo>
                      <a:cubicBezTo>
                        <a:pt x="28" y="90"/>
                        <a:pt x="30" y="90"/>
                        <a:pt x="32" y="88"/>
                      </a:cubicBezTo>
                      <a:cubicBezTo>
                        <a:pt x="30" y="90"/>
                        <a:pt x="29" y="91"/>
                        <a:pt x="28" y="91"/>
                      </a:cubicBezTo>
                      <a:cubicBezTo>
                        <a:pt x="28" y="91"/>
                        <a:pt x="27" y="91"/>
                        <a:pt x="26" y="90"/>
                      </a:cubicBezTo>
                      <a:cubicBezTo>
                        <a:pt x="26" y="90"/>
                        <a:pt x="25" y="90"/>
                        <a:pt x="25" y="90"/>
                      </a:cubicBezTo>
                      <a:cubicBezTo>
                        <a:pt x="24" y="90"/>
                        <a:pt x="23" y="90"/>
                        <a:pt x="22" y="91"/>
                      </a:cubicBezTo>
                      <a:cubicBezTo>
                        <a:pt x="20" y="92"/>
                        <a:pt x="17" y="98"/>
                        <a:pt x="20" y="99"/>
                      </a:cubicBezTo>
                      <a:cubicBezTo>
                        <a:pt x="19" y="100"/>
                        <a:pt x="19" y="102"/>
                        <a:pt x="18" y="103"/>
                      </a:cubicBezTo>
                      <a:cubicBezTo>
                        <a:pt x="18" y="103"/>
                        <a:pt x="19" y="102"/>
                        <a:pt x="20" y="102"/>
                      </a:cubicBezTo>
                      <a:cubicBezTo>
                        <a:pt x="19" y="105"/>
                        <a:pt x="15" y="108"/>
                        <a:pt x="15" y="111"/>
                      </a:cubicBezTo>
                      <a:cubicBezTo>
                        <a:pt x="17" y="110"/>
                        <a:pt x="17" y="108"/>
                        <a:pt x="19" y="107"/>
                      </a:cubicBezTo>
                      <a:cubicBezTo>
                        <a:pt x="18" y="109"/>
                        <a:pt x="16" y="111"/>
                        <a:pt x="15" y="113"/>
                      </a:cubicBezTo>
                      <a:cubicBezTo>
                        <a:pt x="16" y="112"/>
                        <a:pt x="18" y="112"/>
                        <a:pt x="18" y="112"/>
                      </a:cubicBezTo>
                      <a:cubicBezTo>
                        <a:pt x="17" y="114"/>
                        <a:pt x="14" y="117"/>
                        <a:pt x="18" y="117"/>
                      </a:cubicBezTo>
                      <a:cubicBezTo>
                        <a:pt x="19" y="117"/>
                        <a:pt x="19" y="117"/>
                        <a:pt x="19" y="117"/>
                      </a:cubicBezTo>
                      <a:cubicBezTo>
                        <a:pt x="20" y="117"/>
                        <a:pt x="21" y="116"/>
                        <a:pt x="22" y="115"/>
                      </a:cubicBezTo>
                      <a:cubicBezTo>
                        <a:pt x="20" y="119"/>
                        <a:pt x="17" y="120"/>
                        <a:pt x="15" y="124"/>
                      </a:cubicBezTo>
                      <a:cubicBezTo>
                        <a:pt x="15" y="126"/>
                        <a:pt x="15" y="128"/>
                        <a:pt x="15" y="130"/>
                      </a:cubicBezTo>
                      <a:cubicBezTo>
                        <a:pt x="14" y="131"/>
                        <a:pt x="13" y="132"/>
                        <a:pt x="13" y="133"/>
                      </a:cubicBezTo>
                      <a:cubicBezTo>
                        <a:pt x="12" y="135"/>
                        <a:pt x="15" y="136"/>
                        <a:pt x="17" y="136"/>
                      </a:cubicBezTo>
                      <a:cubicBezTo>
                        <a:pt x="18" y="136"/>
                        <a:pt x="19" y="136"/>
                        <a:pt x="20" y="135"/>
                      </a:cubicBezTo>
                      <a:cubicBezTo>
                        <a:pt x="21" y="133"/>
                        <a:pt x="19" y="133"/>
                        <a:pt x="19" y="132"/>
                      </a:cubicBezTo>
                      <a:cubicBezTo>
                        <a:pt x="19" y="130"/>
                        <a:pt x="22" y="127"/>
                        <a:pt x="22" y="126"/>
                      </a:cubicBezTo>
                      <a:cubicBezTo>
                        <a:pt x="22" y="125"/>
                        <a:pt x="21" y="124"/>
                        <a:pt x="22" y="122"/>
                      </a:cubicBezTo>
                      <a:cubicBezTo>
                        <a:pt x="22" y="121"/>
                        <a:pt x="23" y="120"/>
                        <a:pt x="24" y="119"/>
                      </a:cubicBezTo>
                      <a:cubicBezTo>
                        <a:pt x="25" y="118"/>
                        <a:pt x="26" y="119"/>
                        <a:pt x="26" y="117"/>
                      </a:cubicBezTo>
                      <a:cubicBezTo>
                        <a:pt x="26" y="116"/>
                        <a:pt x="24" y="114"/>
                        <a:pt x="24" y="114"/>
                      </a:cubicBezTo>
                      <a:cubicBezTo>
                        <a:pt x="24" y="113"/>
                        <a:pt x="22" y="111"/>
                        <a:pt x="22" y="110"/>
                      </a:cubicBezTo>
                      <a:cubicBezTo>
                        <a:pt x="22" y="109"/>
                        <a:pt x="22" y="108"/>
                        <a:pt x="23" y="108"/>
                      </a:cubicBezTo>
                      <a:cubicBezTo>
                        <a:pt x="23" y="108"/>
                        <a:pt x="23" y="109"/>
                        <a:pt x="23" y="109"/>
                      </a:cubicBezTo>
                      <a:cubicBezTo>
                        <a:pt x="23" y="109"/>
                        <a:pt x="24" y="109"/>
                        <a:pt x="24" y="109"/>
                      </a:cubicBezTo>
                      <a:cubicBezTo>
                        <a:pt x="24" y="109"/>
                        <a:pt x="24" y="109"/>
                        <a:pt x="25" y="108"/>
                      </a:cubicBezTo>
                      <a:cubicBezTo>
                        <a:pt x="26" y="107"/>
                        <a:pt x="28" y="105"/>
                        <a:pt x="30" y="103"/>
                      </a:cubicBezTo>
                      <a:cubicBezTo>
                        <a:pt x="31" y="102"/>
                        <a:pt x="34" y="99"/>
                        <a:pt x="36" y="99"/>
                      </a:cubicBezTo>
                      <a:cubicBezTo>
                        <a:pt x="34" y="100"/>
                        <a:pt x="34" y="101"/>
                        <a:pt x="32" y="103"/>
                      </a:cubicBezTo>
                      <a:cubicBezTo>
                        <a:pt x="31" y="103"/>
                        <a:pt x="30" y="104"/>
                        <a:pt x="29" y="104"/>
                      </a:cubicBezTo>
                      <a:cubicBezTo>
                        <a:pt x="26" y="107"/>
                        <a:pt x="24" y="111"/>
                        <a:pt x="28" y="113"/>
                      </a:cubicBezTo>
                      <a:cubicBezTo>
                        <a:pt x="29" y="112"/>
                        <a:pt x="30" y="111"/>
                        <a:pt x="30" y="110"/>
                      </a:cubicBezTo>
                      <a:cubicBezTo>
                        <a:pt x="30" y="111"/>
                        <a:pt x="32" y="112"/>
                        <a:pt x="32" y="112"/>
                      </a:cubicBezTo>
                      <a:cubicBezTo>
                        <a:pt x="33" y="112"/>
                        <a:pt x="33" y="112"/>
                        <a:pt x="33" y="110"/>
                      </a:cubicBezTo>
                      <a:cubicBezTo>
                        <a:pt x="34" y="112"/>
                        <a:pt x="35" y="114"/>
                        <a:pt x="35" y="114"/>
                      </a:cubicBezTo>
                      <a:cubicBezTo>
                        <a:pt x="36" y="114"/>
                        <a:pt x="36" y="113"/>
                        <a:pt x="37" y="111"/>
                      </a:cubicBezTo>
                      <a:cubicBezTo>
                        <a:pt x="39" y="108"/>
                        <a:pt x="38" y="105"/>
                        <a:pt x="38" y="102"/>
                      </a:cubicBezTo>
                      <a:cubicBezTo>
                        <a:pt x="38" y="103"/>
                        <a:pt x="39" y="104"/>
                        <a:pt x="39" y="104"/>
                      </a:cubicBezTo>
                      <a:cubicBezTo>
                        <a:pt x="40" y="103"/>
                        <a:pt x="41" y="102"/>
                        <a:pt x="42" y="101"/>
                      </a:cubicBezTo>
                      <a:cubicBezTo>
                        <a:pt x="43" y="104"/>
                        <a:pt x="42" y="109"/>
                        <a:pt x="45" y="111"/>
                      </a:cubicBezTo>
                      <a:cubicBezTo>
                        <a:pt x="46" y="111"/>
                        <a:pt x="48" y="111"/>
                        <a:pt x="50" y="112"/>
                      </a:cubicBezTo>
                      <a:cubicBezTo>
                        <a:pt x="49" y="112"/>
                        <a:pt x="49" y="112"/>
                        <a:pt x="49" y="112"/>
                      </a:cubicBezTo>
                      <a:cubicBezTo>
                        <a:pt x="48" y="112"/>
                        <a:pt x="47" y="111"/>
                        <a:pt x="45" y="111"/>
                      </a:cubicBezTo>
                      <a:cubicBezTo>
                        <a:pt x="44" y="111"/>
                        <a:pt x="43" y="110"/>
                        <a:pt x="42" y="110"/>
                      </a:cubicBezTo>
                      <a:cubicBezTo>
                        <a:pt x="41" y="110"/>
                        <a:pt x="41" y="110"/>
                        <a:pt x="41" y="110"/>
                      </a:cubicBezTo>
                      <a:cubicBezTo>
                        <a:pt x="37" y="111"/>
                        <a:pt x="39" y="117"/>
                        <a:pt x="40" y="120"/>
                      </a:cubicBezTo>
                      <a:cubicBezTo>
                        <a:pt x="41" y="125"/>
                        <a:pt x="41" y="122"/>
                        <a:pt x="44" y="124"/>
                      </a:cubicBezTo>
                      <a:cubicBezTo>
                        <a:pt x="49" y="130"/>
                        <a:pt x="41" y="138"/>
                        <a:pt x="38" y="142"/>
                      </a:cubicBezTo>
                      <a:cubicBezTo>
                        <a:pt x="37" y="145"/>
                        <a:pt x="35" y="147"/>
                        <a:pt x="34" y="149"/>
                      </a:cubicBezTo>
                      <a:cubicBezTo>
                        <a:pt x="34" y="150"/>
                        <a:pt x="30" y="150"/>
                        <a:pt x="30" y="151"/>
                      </a:cubicBezTo>
                      <a:cubicBezTo>
                        <a:pt x="30" y="152"/>
                        <a:pt x="32" y="155"/>
                        <a:pt x="32" y="156"/>
                      </a:cubicBezTo>
                      <a:cubicBezTo>
                        <a:pt x="33" y="157"/>
                        <a:pt x="34" y="157"/>
                        <a:pt x="35" y="158"/>
                      </a:cubicBezTo>
                      <a:cubicBezTo>
                        <a:pt x="36" y="160"/>
                        <a:pt x="36" y="163"/>
                        <a:pt x="39" y="163"/>
                      </a:cubicBezTo>
                      <a:cubicBezTo>
                        <a:pt x="38" y="160"/>
                        <a:pt x="35" y="156"/>
                        <a:pt x="38" y="155"/>
                      </a:cubicBezTo>
                      <a:cubicBezTo>
                        <a:pt x="38" y="154"/>
                        <a:pt x="39" y="154"/>
                        <a:pt x="40" y="154"/>
                      </a:cubicBezTo>
                      <a:cubicBezTo>
                        <a:pt x="43" y="154"/>
                        <a:pt x="46" y="158"/>
                        <a:pt x="49" y="160"/>
                      </a:cubicBezTo>
                      <a:cubicBezTo>
                        <a:pt x="50" y="160"/>
                        <a:pt x="51" y="161"/>
                        <a:pt x="51" y="161"/>
                      </a:cubicBezTo>
                      <a:cubicBezTo>
                        <a:pt x="52" y="161"/>
                        <a:pt x="52" y="161"/>
                        <a:pt x="53" y="160"/>
                      </a:cubicBezTo>
                      <a:cubicBezTo>
                        <a:pt x="56" y="157"/>
                        <a:pt x="52" y="157"/>
                        <a:pt x="52" y="155"/>
                      </a:cubicBezTo>
                      <a:cubicBezTo>
                        <a:pt x="52" y="153"/>
                        <a:pt x="52" y="153"/>
                        <a:pt x="53" y="153"/>
                      </a:cubicBezTo>
                      <a:cubicBezTo>
                        <a:pt x="54" y="153"/>
                        <a:pt x="58" y="157"/>
                        <a:pt x="60" y="157"/>
                      </a:cubicBezTo>
                      <a:cubicBezTo>
                        <a:pt x="61" y="158"/>
                        <a:pt x="62" y="158"/>
                        <a:pt x="62" y="158"/>
                      </a:cubicBezTo>
                      <a:cubicBezTo>
                        <a:pt x="66" y="158"/>
                        <a:pt x="70" y="154"/>
                        <a:pt x="73" y="152"/>
                      </a:cubicBezTo>
                      <a:cubicBezTo>
                        <a:pt x="75" y="150"/>
                        <a:pt x="76" y="149"/>
                        <a:pt x="78" y="149"/>
                      </a:cubicBezTo>
                      <a:cubicBezTo>
                        <a:pt x="78" y="149"/>
                        <a:pt x="78" y="149"/>
                        <a:pt x="78" y="149"/>
                      </a:cubicBezTo>
                      <a:cubicBezTo>
                        <a:pt x="82" y="149"/>
                        <a:pt x="87" y="149"/>
                        <a:pt x="91" y="149"/>
                      </a:cubicBezTo>
                      <a:cubicBezTo>
                        <a:pt x="88" y="151"/>
                        <a:pt x="83" y="149"/>
                        <a:pt x="83" y="153"/>
                      </a:cubicBezTo>
                      <a:cubicBezTo>
                        <a:pt x="82" y="152"/>
                        <a:pt x="82" y="152"/>
                        <a:pt x="82" y="152"/>
                      </a:cubicBezTo>
                      <a:cubicBezTo>
                        <a:pt x="80" y="154"/>
                        <a:pt x="80" y="157"/>
                        <a:pt x="78" y="159"/>
                      </a:cubicBezTo>
                      <a:cubicBezTo>
                        <a:pt x="77" y="162"/>
                        <a:pt x="75" y="163"/>
                        <a:pt x="75" y="166"/>
                      </a:cubicBezTo>
                      <a:cubicBezTo>
                        <a:pt x="75" y="167"/>
                        <a:pt x="74" y="167"/>
                        <a:pt x="75" y="168"/>
                      </a:cubicBezTo>
                      <a:cubicBezTo>
                        <a:pt x="75" y="171"/>
                        <a:pt x="79" y="174"/>
                        <a:pt x="80" y="176"/>
                      </a:cubicBezTo>
                      <a:cubicBezTo>
                        <a:pt x="81" y="177"/>
                        <a:pt x="81" y="178"/>
                        <a:pt x="82" y="179"/>
                      </a:cubicBezTo>
                      <a:cubicBezTo>
                        <a:pt x="83" y="180"/>
                        <a:pt x="85" y="183"/>
                        <a:pt x="85" y="183"/>
                      </a:cubicBezTo>
                      <a:cubicBezTo>
                        <a:pt x="86" y="184"/>
                        <a:pt x="87" y="184"/>
                        <a:pt x="87" y="184"/>
                      </a:cubicBezTo>
                      <a:cubicBezTo>
                        <a:pt x="88" y="184"/>
                        <a:pt x="88" y="184"/>
                        <a:pt x="89" y="182"/>
                      </a:cubicBezTo>
                      <a:cubicBezTo>
                        <a:pt x="90" y="180"/>
                        <a:pt x="91" y="180"/>
                        <a:pt x="92" y="180"/>
                      </a:cubicBezTo>
                      <a:cubicBezTo>
                        <a:pt x="93" y="180"/>
                        <a:pt x="94" y="180"/>
                        <a:pt x="96" y="181"/>
                      </a:cubicBezTo>
                      <a:cubicBezTo>
                        <a:pt x="95" y="184"/>
                        <a:pt x="94" y="187"/>
                        <a:pt x="92" y="189"/>
                      </a:cubicBezTo>
                      <a:cubicBezTo>
                        <a:pt x="91" y="191"/>
                        <a:pt x="91" y="191"/>
                        <a:pt x="91" y="191"/>
                      </a:cubicBezTo>
                      <a:cubicBezTo>
                        <a:pt x="90" y="193"/>
                        <a:pt x="92" y="196"/>
                        <a:pt x="93" y="198"/>
                      </a:cubicBezTo>
                      <a:cubicBezTo>
                        <a:pt x="94" y="200"/>
                        <a:pt x="92" y="200"/>
                        <a:pt x="91" y="202"/>
                      </a:cubicBezTo>
                      <a:cubicBezTo>
                        <a:pt x="90" y="203"/>
                        <a:pt x="89" y="204"/>
                        <a:pt x="89" y="204"/>
                      </a:cubicBezTo>
                      <a:cubicBezTo>
                        <a:pt x="89" y="207"/>
                        <a:pt x="96" y="212"/>
                        <a:pt x="97" y="214"/>
                      </a:cubicBezTo>
                      <a:cubicBezTo>
                        <a:pt x="96" y="214"/>
                        <a:pt x="96" y="215"/>
                        <a:pt x="95" y="215"/>
                      </a:cubicBezTo>
                      <a:cubicBezTo>
                        <a:pt x="93" y="215"/>
                        <a:pt x="94" y="211"/>
                        <a:pt x="91" y="210"/>
                      </a:cubicBezTo>
                      <a:cubicBezTo>
                        <a:pt x="91" y="210"/>
                        <a:pt x="91" y="210"/>
                        <a:pt x="91" y="210"/>
                      </a:cubicBezTo>
                      <a:cubicBezTo>
                        <a:pt x="90" y="210"/>
                        <a:pt x="87" y="211"/>
                        <a:pt x="87" y="211"/>
                      </a:cubicBezTo>
                      <a:cubicBezTo>
                        <a:pt x="86" y="212"/>
                        <a:pt x="89" y="215"/>
                        <a:pt x="89" y="216"/>
                      </a:cubicBezTo>
                      <a:cubicBezTo>
                        <a:pt x="86" y="216"/>
                        <a:pt x="82" y="216"/>
                        <a:pt x="78" y="215"/>
                      </a:cubicBezTo>
                      <a:cubicBezTo>
                        <a:pt x="76" y="215"/>
                        <a:pt x="71" y="214"/>
                        <a:pt x="69" y="214"/>
                      </a:cubicBezTo>
                      <a:cubicBezTo>
                        <a:pt x="69" y="214"/>
                        <a:pt x="68" y="214"/>
                        <a:pt x="68" y="214"/>
                      </a:cubicBezTo>
                      <a:cubicBezTo>
                        <a:pt x="67" y="214"/>
                        <a:pt x="66" y="216"/>
                        <a:pt x="65" y="216"/>
                      </a:cubicBezTo>
                      <a:cubicBezTo>
                        <a:pt x="63" y="218"/>
                        <a:pt x="61" y="217"/>
                        <a:pt x="59" y="218"/>
                      </a:cubicBezTo>
                      <a:cubicBezTo>
                        <a:pt x="60" y="217"/>
                        <a:pt x="62" y="216"/>
                        <a:pt x="62" y="215"/>
                      </a:cubicBezTo>
                      <a:cubicBezTo>
                        <a:pt x="60" y="214"/>
                        <a:pt x="58" y="214"/>
                        <a:pt x="57" y="213"/>
                      </a:cubicBezTo>
                      <a:cubicBezTo>
                        <a:pt x="56" y="212"/>
                        <a:pt x="56" y="211"/>
                        <a:pt x="55" y="211"/>
                      </a:cubicBezTo>
                      <a:cubicBezTo>
                        <a:pt x="55" y="210"/>
                        <a:pt x="54" y="210"/>
                        <a:pt x="53" y="210"/>
                      </a:cubicBezTo>
                      <a:cubicBezTo>
                        <a:pt x="51" y="210"/>
                        <a:pt x="49" y="211"/>
                        <a:pt x="48" y="211"/>
                      </a:cubicBezTo>
                      <a:cubicBezTo>
                        <a:pt x="49" y="215"/>
                        <a:pt x="52" y="218"/>
                        <a:pt x="54" y="222"/>
                      </a:cubicBezTo>
                      <a:cubicBezTo>
                        <a:pt x="54" y="221"/>
                        <a:pt x="55" y="221"/>
                        <a:pt x="56" y="220"/>
                      </a:cubicBezTo>
                      <a:cubicBezTo>
                        <a:pt x="55" y="222"/>
                        <a:pt x="54" y="224"/>
                        <a:pt x="53" y="225"/>
                      </a:cubicBezTo>
                      <a:cubicBezTo>
                        <a:pt x="52" y="229"/>
                        <a:pt x="44" y="230"/>
                        <a:pt x="42" y="234"/>
                      </a:cubicBezTo>
                      <a:cubicBezTo>
                        <a:pt x="43" y="234"/>
                        <a:pt x="43" y="234"/>
                        <a:pt x="44" y="234"/>
                      </a:cubicBezTo>
                      <a:cubicBezTo>
                        <a:pt x="48" y="234"/>
                        <a:pt x="50" y="232"/>
                        <a:pt x="53" y="231"/>
                      </a:cubicBezTo>
                      <a:cubicBezTo>
                        <a:pt x="56" y="230"/>
                        <a:pt x="59" y="230"/>
                        <a:pt x="61" y="230"/>
                      </a:cubicBezTo>
                      <a:cubicBezTo>
                        <a:pt x="60" y="234"/>
                        <a:pt x="59" y="234"/>
                        <a:pt x="60" y="239"/>
                      </a:cubicBezTo>
                      <a:cubicBezTo>
                        <a:pt x="61" y="243"/>
                        <a:pt x="60" y="242"/>
                        <a:pt x="65" y="244"/>
                      </a:cubicBezTo>
                      <a:cubicBezTo>
                        <a:pt x="63" y="247"/>
                        <a:pt x="61" y="252"/>
                        <a:pt x="58" y="255"/>
                      </a:cubicBezTo>
                      <a:cubicBezTo>
                        <a:pt x="55" y="257"/>
                        <a:pt x="50" y="258"/>
                        <a:pt x="47" y="260"/>
                      </a:cubicBezTo>
                      <a:cubicBezTo>
                        <a:pt x="40" y="262"/>
                        <a:pt x="33" y="265"/>
                        <a:pt x="27" y="268"/>
                      </a:cubicBezTo>
                      <a:cubicBezTo>
                        <a:pt x="28" y="270"/>
                        <a:pt x="30" y="272"/>
                        <a:pt x="32" y="274"/>
                      </a:cubicBezTo>
                      <a:cubicBezTo>
                        <a:pt x="30" y="274"/>
                        <a:pt x="29" y="274"/>
                        <a:pt x="28" y="275"/>
                      </a:cubicBezTo>
                      <a:cubicBezTo>
                        <a:pt x="29" y="275"/>
                        <a:pt x="30" y="276"/>
                        <a:pt x="30" y="277"/>
                      </a:cubicBezTo>
                      <a:cubicBezTo>
                        <a:pt x="33" y="276"/>
                        <a:pt x="36" y="274"/>
                        <a:pt x="40" y="273"/>
                      </a:cubicBezTo>
                      <a:cubicBezTo>
                        <a:pt x="38" y="277"/>
                        <a:pt x="35" y="277"/>
                        <a:pt x="32" y="277"/>
                      </a:cubicBezTo>
                      <a:cubicBezTo>
                        <a:pt x="34" y="278"/>
                        <a:pt x="34" y="279"/>
                        <a:pt x="35" y="279"/>
                      </a:cubicBezTo>
                      <a:cubicBezTo>
                        <a:pt x="36" y="279"/>
                        <a:pt x="36" y="279"/>
                        <a:pt x="37" y="279"/>
                      </a:cubicBezTo>
                      <a:cubicBezTo>
                        <a:pt x="40" y="278"/>
                        <a:pt x="42" y="276"/>
                        <a:pt x="45" y="275"/>
                      </a:cubicBezTo>
                      <a:cubicBezTo>
                        <a:pt x="47" y="274"/>
                        <a:pt x="49" y="274"/>
                        <a:pt x="51" y="274"/>
                      </a:cubicBezTo>
                      <a:cubicBezTo>
                        <a:pt x="51" y="274"/>
                        <a:pt x="51" y="273"/>
                        <a:pt x="52" y="273"/>
                      </a:cubicBezTo>
                      <a:cubicBezTo>
                        <a:pt x="54" y="273"/>
                        <a:pt x="61" y="277"/>
                        <a:pt x="62" y="277"/>
                      </a:cubicBezTo>
                      <a:cubicBezTo>
                        <a:pt x="59" y="278"/>
                        <a:pt x="55" y="278"/>
                        <a:pt x="55" y="281"/>
                      </a:cubicBezTo>
                      <a:cubicBezTo>
                        <a:pt x="60" y="282"/>
                        <a:pt x="65" y="282"/>
                        <a:pt x="70" y="282"/>
                      </a:cubicBezTo>
                      <a:cubicBezTo>
                        <a:pt x="72" y="282"/>
                        <a:pt x="73" y="285"/>
                        <a:pt x="75" y="286"/>
                      </a:cubicBezTo>
                      <a:cubicBezTo>
                        <a:pt x="75" y="286"/>
                        <a:pt x="76" y="286"/>
                        <a:pt x="76" y="286"/>
                      </a:cubicBezTo>
                      <a:cubicBezTo>
                        <a:pt x="77" y="286"/>
                        <a:pt x="78" y="286"/>
                        <a:pt x="79" y="286"/>
                      </a:cubicBezTo>
                      <a:cubicBezTo>
                        <a:pt x="88" y="284"/>
                        <a:pt x="97" y="282"/>
                        <a:pt x="105" y="277"/>
                      </a:cubicBezTo>
                      <a:cubicBezTo>
                        <a:pt x="101" y="282"/>
                        <a:pt x="97" y="286"/>
                        <a:pt x="92" y="290"/>
                      </a:cubicBezTo>
                      <a:cubicBezTo>
                        <a:pt x="89" y="294"/>
                        <a:pt x="94" y="295"/>
                        <a:pt x="89" y="295"/>
                      </a:cubicBezTo>
                      <a:cubicBezTo>
                        <a:pt x="89" y="295"/>
                        <a:pt x="88" y="295"/>
                        <a:pt x="88" y="295"/>
                      </a:cubicBezTo>
                      <a:cubicBezTo>
                        <a:pt x="82" y="295"/>
                        <a:pt x="75" y="294"/>
                        <a:pt x="69" y="294"/>
                      </a:cubicBezTo>
                      <a:cubicBezTo>
                        <a:pt x="66" y="294"/>
                        <a:pt x="63" y="294"/>
                        <a:pt x="61" y="294"/>
                      </a:cubicBezTo>
                      <a:cubicBezTo>
                        <a:pt x="55" y="296"/>
                        <a:pt x="48" y="303"/>
                        <a:pt x="48" y="309"/>
                      </a:cubicBezTo>
                      <a:cubicBezTo>
                        <a:pt x="48" y="314"/>
                        <a:pt x="40" y="316"/>
                        <a:pt x="39" y="320"/>
                      </a:cubicBezTo>
                      <a:cubicBezTo>
                        <a:pt x="39" y="320"/>
                        <a:pt x="38" y="320"/>
                        <a:pt x="38" y="320"/>
                      </a:cubicBezTo>
                      <a:cubicBezTo>
                        <a:pt x="29" y="320"/>
                        <a:pt x="20" y="332"/>
                        <a:pt x="15" y="337"/>
                      </a:cubicBezTo>
                      <a:cubicBezTo>
                        <a:pt x="17" y="337"/>
                        <a:pt x="19" y="337"/>
                        <a:pt x="21" y="337"/>
                      </a:cubicBezTo>
                      <a:cubicBezTo>
                        <a:pt x="24" y="337"/>
                        <a:pt x="26" y="337"/>
                        <a:pt x="28" y="339"/>
                      </a:cubicBezTo>
                      <a:cubicBezTo>
                        <a:pt x="28" y="339"/>
                        <a:pt x="28" y="341"/>
                        <a:pt x="29" y="341"/>
                      </a:cubicBezTo>
                      <a:cubicBezTo>
                        <a:pt x="31" y="339"/>
                        <a:pt x="34" y="335"/>
                        <a:pt x="34" y="333"/>
                      </a:cubicBezTo>
                      <a:cubicBezTo>
                        <a:pt x="39" y="331"/>
                        <a:pt x="44" y="330"/>
                        <a:pt x="49" y="329"/>
                      </a:cubicBezTo>
                      <a:cubicBezTo>
                        <a:pt x="51" y="329"/>
                        <a:pt x="54" y="328"/>
                        <a:pt x="56" y="328"/>
                      </a:cubicBezTo>
                      <a:cubicBezTo>
                        <a:pt x="57" y="328"/>
                        <a:pt x="57" y="328"/>
                        <a:pt x="58" y="328"/>
                      </a:cubicBezTo>
                      <a:cubicBezTo>
                        <a:pt x="58" y="326"/>
                        <a:pt x="58" y="325"/>
                        <a:pt x="58" y="323"/>
                      </a:cubicBezTo>
                      <a:cubicBezTo>
                        <a:pt x="58" y="324"/>
                        <a:pt x="60" y="327"/>
                        <a:pt x="61" y="328"/>
                      </a:cubicBezTo>
                      <a:cubicBezTo>
                        <a:pt x="61" y="328"/>
                        <a:pt x="62" y="328"/>
                        <a:pt x="62" y="328"/>
                      </a:cubicBezTo>
                      <a:cubicBezTo>
                        <a:pt x="62" y="328"/>
                        <a:pt x="63" y="328"/>
                        <a:pt x="63" y="328"/>
                      </a:cubicBezTo>
                      <a:cubicBezTo>
                        <a:pt x="63" y="328"/>
                        <a:pt x="63" y="328"/>
                        <a:pt x="63" y="328"/>
                      </a:cubicBezTo>
                      <a:cubicBezTo>
                        <a:pt x="64" y="328"/>
                        <a:pt x="64" y="328"/>
                        <a:pt x="65" y="328"/>
                      </a:cubicBezTo>
                      <a:cubicBezTo>
                        <a:pt x="67" y="329"/>
                        <a:pt x="68" y="331"/>
                        <a:pt x="70" y="332"/>
                      </a:cubicBezTo>
                      <a:cubicBezTo>
                        <a:pt x="70" y="332"/>
                        <a:pt x="70" y="332"/>
                        <a:pt x="70" y="332"/>
                      </a:cubicBezTo>
                      <a:cubicBezTo>
                        <a:pt x="75" y="332"/>
                        <a:pt x="76" y="324"/>
                        <a:pt x="78" y="321"/>
                      </a:cubicBezTo>
                      <a:cubicBezTo>
                        <a:pt x="78" y="319"/>
                        <a:pt x="80" y="317"/>
                        <a:pt x="79" y="315"/>
                      </a:cubicBezTo>
                      <a:cubicBezTo>
                        <a:pt x="83" y="314"/>
                        <a:pt x="87" y="313"/>
                        <a:pt x="92" y="313"/>
                      </a:cubicBezTo>
                      <a:cubicBezTo>
                        <a:pt x="97" y="313"/>
                        <a:pt x="101" y="314"/>
                        <a:pt x="105" y="317"/>
                      </a:cubicBezTo>
                      <a:cubicBezTo>
                        <a:pt x="106" y="318"/>
                        <a:pt x="107" y="318"/>
                        <a:pt x="107" y="320"/>
                      </a:cubicBezTo>
                      <a:cubicBezTo>
                        <a:pt x="110" y="319"/>
                        <a:pt x="111" y="318"/>
                        <a:pt x="114" y="318"/>
                      </a:cubicBezTo>
                      <a:cubicBezTo>
                        <a:pt x="114" y="318"/>
                        <a:pt x="115" y="318"/>
                        <a:pt x="117" y="318"/>
                      </a:cubicBezTo>
                      <a:cubicBezTo>
                        <a:pt x="118" y="318"/>
                        <a:pt x="120" y="318"/>
                        <a:pt x="121" y="317"/>
                      </a:cubicBezTo>
                      <a:cubicBezTo>
                        <a:pt x="122" y="315"/>
                        <a:pt x="120" y="314"/>
                        <a:pt x="119" y="314"/>
                      </a:cubicBezTo>
                      <a:cubicBezTo>
                        <a:pt x="119" y="314"/>
                        <a:pt x="118" y="314"/>
                        <a:pt x="118" y="314"/>
                      </a:cubicBezTo>
                      <a:cubicBezTo>
                        <a:pt x="119" y="313"/>
                        <a:pt x="120" y="312"/>
                        <a:pt x="122" y="312"/>
                      </a:cubicBezTo>
                      <a:cubicBezTo>
                        <a:pt x="122" y="312"/>
                        <a:pt x="123" y="312"/>
                        <a:pt x="123" y="312"/>
                      </a:cubicBezTo>
                      <a:cubicBezTo>
                        <a:pt x="124" y="312"/>
                        <a:pt x="124" y="312"/>
                        <a:pt x="124" y="312"/>
                      </a:cubicBezTo>
                      <a:cubicBezTo>
                        <a:pt x="124" y="312"/>
                        <a:pt x="125" y="312"/>
                        <a:pt x="125" y="312"/>
                      </a:cubicBezTo>
                      <a:cubicBezTo>
                        <a:pt x="130" y="312"/>
                        <a:pt x="133" y="311"/>
                        <a:pt x="137" y="307"/>
                      </a:cubicBezTo>
                      <a:cubicBezTo>
                        <a:pt x="137" y="307"/>
                        <a:pt x="136" y="306"/>
                        <a:pt x="136" y="306"/>
                      </a:cubicBezTo>
                      <a:cubicBezTo>
                        <a:pt x="139" y="306"/>
                        <a:pt x="143" y="307"/>
                        <a:pt x="147" y="308"/>
                      </a:cubicBezTo>
                      <a:cubicBezTo>
                        <a:pt x="151" y="308"/>
                        <a:pt x="151" y="309"/>
                        <a:pt x="154" y="312"/>
                      </a:cubicBezTo>
                      <a:cubicBezTo>
                        <a:pt x="154" y="313"/>
                        <a:pt x="155" y="313"/>
                        <a:pt x="156" y="313"/>
                      </a:cubicBezTo>
                      <a:cubicBezTo>
                        <a:pt x="158" y="313"/>
                        <a:pt x="161" y="312"/>
                        <a:pt x="164" y="311"/>
                      </a:cubicBezTo>
                      <a:cubicBezTo>
                        <a:pt x="168" y="310"/>
                        <a:pt x="171" y="309"/>
                        <a:pt x="173" y="309"/>
                      </a:cubicBezTo>
                      <a:cubicBezTo>
                        <a:pt x="173" y="309"/>
                        <a:pt x="173" y="309"/>
                        <a:pt x="174" y="309"/>
                      </a:cubicBezTo>
                      <a:cubicBezTo>
                        <a:pt x="177" y="310"/>
                        <a:pt x="181" y="312"/>
                        <a:pt x="184" y="312"/>
                      </a:cubicBezTo>
                      <a:cubicBezTo>
                        <a:pt x="185" y="312"/>
                        <a:pt x="185" y="312"/>
                        <a:pt x="186" y="312"/>
                      </a:cubicBezTo>
                      <a:cubicBezTo>
                        <a:pt x="192" y="310"/>
                        <a:pt x="199" y="307"/>
                        <a:pt x="205" y="304"/>
                      </a:cubicBezTo>
                      <a:cubicBezTo>
                        <a:pt x="208" y="302"/>
                        <a:pt x="215" y="299"/>
                        <a:pt x="217" y="297"/>
                      </a:cubicBezTo>
                      <a:cubicBezTo>
                        <a:pt x="218" y="295"/>
                        <a:pt x="216" y="293"/>
                        <a:pt x="217" y="292"/>
                      </a:cubicBezTo>
                      <a:cubicBezTo>
                        <a:pt x="217" y="292"/>
                        <a:pt x="217" y="292"/>
                        <a:pt x="217" y="292"/>
                      </a:cubicBezTo>
                      <a:cubicBezTo>
                        <a:pt x="217" y="292"/>
                        <a:pt x="217" y="291"/>
                        <a:pt x="217" y="291"/>
                      </a:cubicBezTo>
                      <a:cubicBezTo>
                        <a:pt x="217" y="290"/>
                        <a:pt x="218" y="290"/>
                        <a:pt x="218" y="290"/>
                      </a:cubicBezTo>
                      <a:cubicBezTo>
                        <a:pt x="218" y="290"/>
                        <a:pt x="218" y="290"/>
                        <a:pt x="218" y="290"/>
                      </a:cubicBezTo>
                      <a:cubicBezTo>
                        <a:pt x="218" y="287"/>
                        <a:pt x="218" y="288"/>
                        <a:pt x="214" y="287"/>
                      </a:cubicBezTo>
                      <a:cubicBezTo>
                        <a:pt x="205" y="287"/>
                        <a:pt x="197" y="286"/>
                        <a:pt x="188" y="286"/>
                      </a:cubicBezTo>
                      <a:cubicBezTo>
                        <a:pt x="191" y="284"/>
                        <a:pt x="194" y="283"/>
                        <a:pt x="197" y="283"/>
                      </a:cubicBezTo>
                      <a:cubicBezTo>
                        <a:pt x="197" y="283"/>
                        <a:pt x="198" y="282"/>
                        <a:pt x="198" y="282"/>
                      </a:cubicBezTo>
                      <a:cubicBezTo>
                        <a:pt x="198" y="282"/>
                        <a:pt x="198" y="283"/>
                        <a:pt x="198" y="283"/>
                      </a:cubicBezTo>
                      <a:cubicBezTo>
                        <a:pt x="199" y="283"/>
                        <a:pt x="199" y="283"/>
                        <a:pt x="199" y="283"/>
                      </a:cubicBezTo>
                      <a:cubicBezTo>
                        <a:pt x="199" y="283"/>
                        <a:pt x="200" y="283"/>
                        <a:pt x="200" y="283"/>
                      </a:cubicBezTo>
                      <a:cubicBezTo>
                        <a:pt x="201" y="282"/>
                        <a:pt x="202" y="281"/>
                        <a:pt x="203" y="281"/>
                      </a:cubicBezTo>
                      <a:cubicBezTo>
                        <a:pt x="205" y="278"/>
                        <a:pt x="203" y="276"/>
                        <a:pt x="201" y="276"/>
                      </a:cubicBezTo>
                      <a:cubicBezTo>
                        <a:pt x="201" y="276"/>
                        <a:pt x="200" y="275"/>
                        <a:pt x="200" y="275"/>
                      </a:cubicBezTo>
                      <a:cubicBezTo>
                        <a:pt x="200" y="275"/>
                        <a:pt x="200" y="276"/>
                        <a:pt x="199" y="276"/>
                      </a:cubicBezTo>
                      <a:cubicBezTo>
                        <a:pt x="199" y="276"/>
                        <a:pt x="199" y="276"/>
                        <a:pt x="198" y="276"/>
                      </a:cubicBezTo>
                      <a:cubicBezTo>
                        <a:pt x="198" y="276"/>
                        <a:pt x="198" y="276"/>
                        <a:pt x="197" y="276"/>
                      </a:cubicBezTo>
                      <a:cubicBezTo>
                        <a:pt x="200" y="274"/>
                        <a:pt x="204" y="273"/>
                        <a:pt x="207" y="273"/>
                      </a:cubicBezTo>
                      <a:cubicBezTo>
                        <a:pt x="207" y="273"/>
                        <a:pt x="207" y="273"/>
                        <a:pt x="207" y="273"/>
                      </a:cubicBezTo>
                      <a:cubicBezTo>
                        <a:pt x="207" y="273"/>
                        <a:pt x="207" y="273"/>
                        <a:pt x="207" y="273"/>
                      </a:cubicBezTo>
                      <a:cubicBezTo>
                        <a:pt x="208" y="273"/>
                        <a:pt x="208" y="273"/>
                        <a:pt x="209" y="273"/>
                      </a:cubicBezTo>
                      <a:cubicBezTo>
                        <a:pt x="209" y="273"/>
                        <a:pt x="209" y="273"/>
                        <a:pt x="209" y="273"/>
                      </a:cubicBezTo>
                      <a:cubicBezTo>
                        <a:pt x="215" y="272"/>
                        <a:pt x="211" y="269"/>
                        <a:pt x="208" y="267"/>
                      </a:cubicBezTo>
                      <a:cubicBezTo>
                        <a:pt x="209" y="267"/>
                        <a:pt x="211" y="266"/>
                        <a:pt x="212" y="266"/>
                      </a:cubicBezTo>
                      <a:cubicBezTo>
                        <a:pt x="212" y="266"/>
                        <a:pt x="213" y="266"/>
                        <a:pt x="213" y="266"/>
                      </a:cubicBezTo>
                      <a:cubicBezTo>
                        <a:pt x="212" y="266"/>
                        <a:pt x="211" y="265"/>
                        <a:pt x="210" y="264"/>
                      </a:cubicBezTo>
                      <a:cubicBezTo>
                        <a:pt x="212" y="264"/>
                        <a:pt x="213" y="266"/>
                        <a:pt x="215" y="267"/>
                      </a:cubicBezTo>
                      <a:cubicBezTo>
                        <a:pt x="215" y="267"/>
                        <a:pt x="215" y="267"/>
                        <a:pt x="215" y="267"/>
                      </a:cubicBezTo>
                      <a:cubicBezTo>
                        <a:pt x="216" y="267"/>
                        <a:pt x="217" y="266"/>
                        <a:pt x="218" y="264"/>
                      </a:cubicBezTo>
                      <a:cubicBezTo>
                        <a:pt x="219" y="264"/>
                        <a:pt x="221" y="262"/>
                        <a:pt x="222" y="262"/>
                      </a:cubicBezTo>
                      <a:cubicBezTo>
                        <a:pt x="225" y="259"/>
                        <a:pt x="227" y="249"/>
                        <a:pt x="227" y="244"/>
                      </a:cubicBezTo>
                      <a:cubicBezTo>
                        <a:pt x="228" y="237"/>
                        <a:pt x="223" y="234"/>
                        <a:pt x="218" y="231"/>
                      </a:cubicBezTo>
                      <a:cubicBezTo>
                        <a:pt x="213" y="228"/>
                        <a:pt x="206" y="227"/>
                        <a:pt x="200" y="227"/>
                      </a:cubicBezTo>
                      <a:cubicBezTo>
                        <a:pt x="199" y="227"/>
                        <a:pt x="198" y="227"/>
                        <a:pt x="198" y="227"/>
                      </a:cubicBezTo>
                      <a:cubicBezTo>
                        <a:pt x="195" y="227"/>
                        <a:pt x="194" y="229"/>
                        <a:pt x="192" y="230"/>
                      </a:cubicBezTo>
                      <a:cubicBezTo>
                        <a:pt x="189" y="231"/>
                        <a:pt x="187" y="233"/>
                        <a:pt x="185" y="234"/>
                      </a:cubicBezTo>
                      <a:cubicBezTo>
                        <a:pt x="185" y="234"/>
                        <a:pt x="185" y="234"/>
                        <a:pt x="185" y="234"/>
                      </a:cubicBezTo>
                      <a:cubicBezTo>
                        <a:pt x="184" y="234"/>
                        <a:pt x="182" y="232"/>
                        <a:pt x="181" y="232"/>
                      </a:cubicBezTo>
                      <a:cubicBezTo>
                        <a:pt x="180" y="231"/>
                        <a:pt x="180" y="231"/>
                        <a:pt x="179" y="231"/>
                      </a:cubicBezTo>
                      <a:cubicBezTo>
                        <a:pt x="179" y="231"/>
                        <a:pt x="178" y="231"/>
                        <a:pt x="178" y="231"/>
                      </a:cubicBezTo>
                      <a:cubicBezTo>
                        <a:pt x="178" y="230"/>
                        <a:pt x="180" y="229"/>
                        <a:pt x="181" y="228"/>
                      </a:cubicBezTo>
                      <a:cubicBezTo>
                        <a:pt x="182" y="226"/>
                        <a:pt x="184" y="225"/>
                        <a:pt x="186" y="223"/>
                      </a:cubicBezTo>
                      <a:cubicBezTo>
                        <a:pt x="190" y="218"/>
                        <a:pt x="178" y="207"/>
                        <a:pt x="173" y="203"/>
                      </a:cubicBezTo>
                      <a:cubicBezTo>
                        <a:pt x="171" y="201"/>
                        <a:pt x="170" y="199"/>
                        <a:pt x="167" y="199"/>
                      </a:cubicBezTo>
                      <a:cubicBezTo>
                        <a:pt x="167" y="199"/>
                        <a:pt x="167" y="199"/>
                        <a:pt x="167" y="199"/>
                      </a:cubicBezTo>
                      <a:cubicBezTo>
                        <a:pt x="166" y="199"/>
                        <a:pt x="165" y="199"/>
                        <a:pt x="164" y="200"/>
                      </a:cubicBezTo>
                      <a:cubicBezTo>
                        <a:pt x="164" y="200"/>
                        <a:pt x="163" y="200"/>
                        <a:pt x="162" y="200"/>
                      </a:cubicBezTo>
                      <a:cubicBezTo>
                        <a:pt x="162" y="200"/>
                        <a:pt x="161" y="200"/>
                        <a:pt x="160" y="199"/>
                      </a:cubicBezTo>
                      <a:cubicBezTo>
                        <a:pt x="163" y="199"/>
                        <a:pt x="165" y="198"/>
                        <a:pt x="167" y="198"/>
                      </a:cubicBezTo>
                      <a:cubicBezTo>
                        <a:pt x="169" y="198"/>
                        <a:pt x="170" y="198"/>
                        <a:pt x="171" y="199"/>
                      </a:cubicBezTo>
                      <a:cubicBezTo>
                        <a:pt x="173" y="200"/>
                        <a:pt x="173" y="202"/>
                        <a:pt x="175" y="202"/>
                      </a:cubicBezTo>
                      <a:cubicBezTo>
                        <a:pt x="175" y="202"/>
                        <a:pt x="175" y="202"/>
                        <a:pt x="176" y="202"/>
                      </a:cubicBezTo>
                      <a:cubicBezTo>
                        <a:pt x="176" y="202"/>
                        <a:pt x="177" y="202"/>
                        <a:pt x="177" y="202"/>
                      </a:cubicBezTo>
                      <a:cubicBezTo>
                        <a:pt x="178" y="202"/>
                        <a:pt x="178" y="202"/>
                        <a:pt x="179" y="202"/>
                      </a:cubicBezTo>
                      <a:cubicBezTo>
                        <a:pt x="179" y="202"/>
                        <a:pt x="180" y="202"/>
                        <a:pt x="180" y="203"/>
                      </a:cubicBezTo>
                      <a:cubicBezTo>
                        <a:pt x="178" y="196"/>
                        <a:pt x="176" y="187"/>
                        <a:pt x="172" y="182"/>
                      </a:cubicBezTo>
                      <a:cubicBezTo>
                        <a:pt x="169" y="179"/>
                        <a:pt x="166" y="176"/>
                        <a:pt x="163" y="173"/>
                      </a:cubicBezTo>
                      <a:cubicBezTo>
                        <a:pt x="161" y="171"/>
                        <a:pt x="158" y="167"/>
                        <a:pt x="155" y="166"/>
                      </a:cubicBezTo>
                      <a:cubicBezTo>
                        <a:pt x="151" y="164"/>
                        <a:pt x="147" y="162"/>
                        <a:pt x="142" y="160"/>
                      </a:cubicBezTo>
                      <a:cubicBezTo>
                        <a:pt x="140" y="159"/>
                        <a:pt x="139" y="153"/>
                        <a:pt x="138" y="151"/>
                      </a:cubicBezTo>
                      <a:cubicBezTo>
                        <a:pt x="136" y="145"/>
                        <a:pt x="134" y="139"/>
                        <a:pt x="132" y="132"/>
                      </a:cubicBezTo>
                      <a:cubicBezTo>
                        <a:pt x="131" y="123"/>
                        <a:pt x="123" y="118"/>
                        <a:pt x="115" y="114"/>
                      </a:cubicBezTo>
                      <a:cubicBezTo>
                        <a:pt x="102" y="106"/>
                        <a:pt x="85" y="112"/>
                        <a:pt x="71" y="106"/>
                      </a:cubicBezTo>
                      <a:cubicBezTo>
                        <a:pt x="74" y="106"/>
                        <a:pt x="77" y="108"/>
                        <a:pt x="80" y="108"/>
                      </a:cubicBezTo>
                      <a:cubicBezTo>
                        <a:pt x="81" y="108"/>
                        <a:pt x="81" y="108"/>
                        <a:pt x="82" y="108"/>
                      </a:cubicBezTo>
                      <a:cubicBezTo>
                        <a:pt x="86" y="107"/>
                        <a:pt x="88" y="105"/>
                        <a:pt x="91" y="102"/>
                      </a:cubicBezTo>
                      <a:cubicBezTo>
                        <a:pt x="92" y="101"/>
                        <a:pt x="93" y="101"/>
                        <a:pt x="94" y="101"/>
                      </a:cubicBezTo>
                      <a:cubicBezTo>
                        <a:pt x="95" y="101"/>
                        <a:pt x="95" y="101"/>
                        <a:pt x="95" y="101"/>
                      </a:cubicBezTo>
                      <a:cubicBezTo>
                        <a:pt x="96" y="101"/>
                        <a:pt x="96" y="101"/>
                        <a:pt x="97" y="101"/>
                      </a:cubicBezTo>
                      <a:cubicBezTo>
                        <a:pt x="97" y="101"/>
                        <a:pt x="98" y="101"/>
                        <a:pt x="98" y="101"/>
                      </a:cubicBezTo>
                      <a:cubicBezTo>
                        <a:pt x="104" y="101"/>
                        <a:pt x="99" y="92"/>
                        <a:pt x="96" y="91"/>
                      </a:cubicBezTo>
                      <a:cubicBezTo>
                        <a:pt x="102" y="90"/>
                        <a:pt x="104" y="84"/>
                        <a:pt x="108" y="80"/>
                      </a:cubicBezTo>
                      <a:cubicBezTo>
                        <a:pt x="109" y="78"/>
                        <a:pt x="111" y="77"/>
                        <a:pt x="113" y="75"/>
                      </a:cubicBezTo>
                      <a:cubicBezTo>
                        <a:pt x="115" y="73"/>
                        <a:pt x="114" y="72"/>
                        <a:pt x="115" y="69"/>
                      </a:cubicBezTo>
                      <a:cubicBezTo>
                        <a:pt x="116" y="67"/>
                        <a:pt x="118" y="66"/>
                        <a:pt x="119" y="63"/>
                      </a:cubicBezTo>
                      <a:cubicBezTo>
                        <a:pt x="119" y="61"/>
                        <a:pt x="119" y="59"/>
                        <a:pt x="121" y="56"/>
                      </a:cubicBezTo>
                      <a:cubicBezTo>
                        <a:pt x="122" y="54"/>
                        <a:pt x="125" y="53"/>
                        <a:pt x="126" y="50"/>
                      </a:cubicBezTo>
                      <a:cubicBezTo>
                        <a:pt x="127" y="49"/>
                        <a:pt x="127" y="44"/>
                        <a:pt x="125" y="44"/>
                      </a:cubicBezTo>
                      <a:cubicBezTo>
                        <a:pt x="114" y="42"/>
                        <a:pt x="104" y="41"/>
                        <a:pt x="94" y="40"/>
                      </a:cubicBezTo>
                      <a:cubicBezTo>
                        <a:pt x="91" y="40"/>
                        <a:pt x="89" y="40"/>
                        <a:pt x="87" y="40"/>
                      </a:cubicBezTo>
                      <a:cubicBezTo>
                        <a:pt x="82" y="40"/>
                        <a:pt x="79" y="40"/>
                        <a:pt x="73" y="42"/>
                      </a:cubicBezTo>
                      <a:cubicBezTo>
                        <a:pt x="70" y="43"/>
                        <a:pt x="66" y="43"/>
                        <a:pt x="63" y="44"/>
                      </a:cubicBezTo>
                      <a:cubicBezTo>
                        <a:pt x="61" y="45"/>
                        <a:pt x="60" y="49"/>
                        <a:pt x="58" y="49"/>
                      </a:cubicBezTo>
                      <a:cubicBezTo>
                        <a:pt x="58" y="49"/>
                        <a:pt x="58" y="49"/>
                        <a:pt x="58" y="49"/>
                      </a:cubicBezTo>
                      <a:cubicBezTo>
                        <a:pt x="55" y="48"/>
                        <a:pt x="57" y="41"/>
                        <a:pt x="59" y="41"/>
                      </a:cubicBezTo>
                      <a:cubicBezTo>
                        <a:pt x="60" y="40"/>
                        <a:pt x="61" y="39"/>
                        <a:pt x="63" y="39"/>
                      </a:cubicBezTo>
                      <a:cubicBezTo>
                        <a:pt x="63" y="39"/>
                        <a:pt x="63" y="39"/>
                        <a:pt x="63" y="39"/>
                      </a:cubicBezTo>
                      <a:cubicBezTo>
                        <a:pt x="63" y="39"/>
                        <a:pt x="63" y="39"/>
                        <a:pt x="63" y="39"/>
                      </a:cubicBezTo>
                      <a:cubicBezTo>
                        <a:pt x="63" y="40"/>
                        <a:pt x="63" y="40"/>
                        <a:pt x="63" y="40"/>
                      </a:cubicBezTo>
                      <a:cubicBezTo>
                        <a:pt x="63" y="40"/>
                        <a:pt x="63" y="40"/>
                        <a:pt x="63" y="40"/>
                      </a:cubicBezTo>
                      <a:cubicBezTo>
                        <a:pt x="65" y="40"/>
                        <a:pt x="66" y="39"/>
                        <a:pt x="66" y="37"/>
                      </a:cubicBezTo>
                      <a:cubicBezTo>
                        <a:pt x="67" y="33"/>
                        <a:pt x="55" y="35"/>
                        <a:pt x="53" y="32"/>
                      </a:cubicBezTo>
                      <a:cubicBezTo>
                        <a:pt x="54" y="32"/>
                        <a:pt x="58" y="33"/>
                        <a:pt x="60" y="33"/>
                      </a:cubicBezTo>
                      <a:cubicBezTo>
                        <a:pt x="62" y="33"/>
                        <a:pt x="63" y="32"/>
                        <a:pt x="61" y="30"/>
                      </a:cubicBezTo>
                      <a:cubicBezTo>
                        <a:pt x="61" y="29"/>
                        <a:pt x="73" y="24"/>
                        <a:pt x="75" y="22"/>
                      </a:cubicBezTo>
                      <a:cubicBezTo>
                        <a:pt x="78" y="20"/>
                        <a:pt x="81" y="18"/>
                        <a:pt x="84" y="16"/>
                      </a:cubicBezTo>
                      <a:cubicBezTo>
                        <a:pt x="89" y="12"/>
                        <a:pt x="90" y="7"/>
                        <a:pt x="92" y="1"/>
                      </a:cubicBezTo>
                      <a:cubicBezTo>
                        <a:pt x="91" y="1"/>
                        <a:pt x="90" y="1"/>
                        <a:pt x="90" y="1"/>
                      </a:cubicBezTo>
                      <a:cubicBezTo>
                        <a:pt x="88" y="1"/>
                        <a:pt x="86" y="1"/>
                        <a:pt x="84" y="0"/>
                      </a:cubicBezTo>
                      <a:cubicBezTo>
                        <a:pt x="84" y="0"/>
                        <a:pt x="81" y="0"/>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58"/>
                <p:cNvSpPr/>
                <p:nvPr/>
              </p:nvSpPr>
              <p:spPr bwMode="auto">
                <a:xfrm>
                  <a:off x="3681431" y="3080757"/>
                  <a:ext cx="33166" cy="36851"/>
                </a:xfrm>
                <a:custGeom>
                  <a:gdLst>
                    <a:gd name="T0" fmla="*/ 3 w 10"/>
                    <a:gd name="T1" fmla="*/ 0 h 12"/>
                    <a:gd name="T2" fmla="*/ 1 w 10"/>
                    <a:gd name="T3" fmla="*/ 3 h 12"/>
                    <a:gd name="T4" fmla="*/ 7 w 10"/>
                    <a:gd name="T5" fmla="*/ 12 h 12"/>
                    <a:gd name="T6" fmla="*/ 5 w 10"/>
                    <a:gd name="T7" fmla="*/ 8 h 12"/>
                    <a:gd name="T8" fmla="*/ 3 w 10"/>
                    <a:gd name="T9" fmla="*/ 7 h 12"/>
                    <a:gd name="T10" fmla="*/ 2 w 10"/>
                    <a:gd name="T11" fmla="*/ 1 h 12"/>
                    <a:gd name="T12" fmla="*/ 7 w 10"/>
                    <a:gd name="T13" fmla="*/ 3 h 12"/>
                    <a:gd name="T14" fmla="*/ 3 w 10"/>
                    <a:gd name="T15" fmla="*/ 0 h 1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3" y="0"/>
                      </a:moveTo>
                      <a:cubicBezTo>
                        <a:pt x="2" y="0"/>
                        <a:pt x="1" y="1"/>
                        <a:pt x="1" y="3"/>
                      </a:cubicBezTo>
                      <a:cubicBezTo>
                        <a:pt x="0" y="9"/>
                        <a:pt x="1" y="11"/>
                        <a:pt x="7" y="12"/>
                      </a:cubicBezTo>
                      <a:cubicBezTo>
                        <a:pt x="4" y="10"/>
                        <a:pt x="4" y="11"/>
                        <a:pt x="5" y="8"/>
                      </a:cubicBezTo>
                      <a:cubicBezTo>
                        <a:pt x="5" y="7"/>
                        <a:pt x="4" y="7"/>
                        <a:pt x="3" y="7"/>
                      </a:cubicBezTo>
                      <a:cubicBezTo>
                        <a:pt x="10" y="3"/>
                        <a:pt x="6" y="5"/>
                        <a:pt x="2" y="1"/>
                      </a:cubicBezTo>
                      <a:cubicBezTo>
                        <a:pt x="4" y="2"/>
                        <a:pt x="5" y="2"/>
                        <a:pt x="7" y="3"/>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59"/>
                <p:cNvSpPr/>
                <p:nvPr/>
              </p:nvSpPr>
              <p:spPr bwMode="auto">
                <a:xfrm>
                  <a:off x="3751448" y="3172885"/>
                  <a:ext cx="22111" cy="14740"/>
                </a:xfrm>
                <a:custGeom>
                  <a:gdLst>
                    <a:gd name="T0" fmla="*/ 7 w 7"/>
                    <a:gd name="T1" fmla="*/ 0 h 5"/>
                    <a:gd name="T2" fmla="*/ 0 w 7"/>
                    <a:gd name="T3" fmla="*/ 5 h 5"/>
                    <a:gd name="T4" fmla="*/ 7 w 7"/>
                    <a:gd name="T5" fmla="*/ 0 h 5"/>
                  </a:gdLst>
                  <a:cxnLst>
                    <a:cxn ang="0">
                      <a:pos x="T0" y="T1"/>
                    </a:cxn>
                    <a:cxn ang="0">
                      <a:pos x="T2" y="T3"/>
                    </a:cxn>
                    <a:cxn ang="0">
                      <a:pos x="T4" y="T5"/>
                    </a:cxn>
                  </a:cxnLst>
                  <a:rect l="0" t="0" r="r" b="b"/>
                  <a:pathLst>
                    <a:path w="7" h="5">
                      <a:moveTo>
                        <a:pt x="7" y="0"/>
                      </a:moveTo>
                      <a:cubicBezTo>
                        <a:pt x="5" y="2"/>
                        <a:pt x="3" y="4"/>
                        <a:pt x="0" y="5"/>
                      </a:cubicBezTo>
                      <a:cubicBezTo>
                        <a:pt x="3" y="5"/>
                        <a:pt x="6"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60"/>
                <p:cNvSpPr/>
                <p:nvPr/>
              </p:nvSpPr>
              <p:spPr bwMode="auto">
                <a:xfrm>
                  <a:off x="3688801" y="3069702"/>
                  <a:ext cx="18426" cy="11055"/>
                </a:xfrm>
                <a:custGeom>
                  <a:gdLst>
                    <a:gd name="T0" fmla="*/ 2 w 6"/>
                    <a:gd name="T1" fmla="*/ 0 h 3"/>
                    <a:gd name="T2" fmla="*/ 0 w 6"/>
                    <a:gd name="T3" fmla="*/ 0 h 3"/>
                    <a:gd name="T4" fmla="*/ 3 w 6"/>
                    <a:gd name="T5" fmla="*/ 3 h 3"/>
                    <a:gd name="T6" fmla="*/ 2 w 6"/>
                    <a:gd name="T7" fmla="*/ 0 h 3"/>
                  </a:gdLst>
                  <a:cxnLst>
                    <a:cxn ang="0">
                      <a:pos x="T0" y="T1"/>
                    </a:cxn>
                    <a:cxn ang="0">
                      <a:pos x="T2" y="T3"/>
                    </a:cxn>
                    <a:cxn ang="0">
                      <a:pos x="T4" y="T5"/>
                    </a:cxn>
                    <a:cxn ang="0">
                      <a:pos x="T6" y="T7"/>
                    </a:cxn>
                  </a:cxnLst>
                  <a:rect l="0" t="0" r="r" b="b"/>
                  <a:pathLst>
                    <a:path w="6" h="3">
                      <a:moveTo>
                        <a:pt x="2" y="0"/>
                      </a:moveTo>
                      <a:cubicBezTo>
                        <a:pt x="1" y="0"/>
                        <a:pt x="0" y="0"/>
                        <a:pt x="0" y="0"/>
                      </a:cubicBezTo>
                      <a:cubicBezTo>
                        <a:pt x="1" y="1"/>
                        <a:pt x="2" y="2"/>
                        <a:pt x="3" y="3"/>
                      </a:cubicBezTo>
                      <a:cubicBezTo>
                        <a:pt x="6"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61"/>
                <p:cNvSpPr/>
                <p:nvPr/>
              </p:nvSpPr>
              <p:spPr bwMode="auto">
                <a:xfrm>
                  <a:off x="3677746" y="3128664"/>
                  <a:ext cx="11055" cy="11055"/>
                </a:xfrm>
                <a:custGeom>
                  <a:gdLst>
                    <a:gd name="T0" fmla="*/ 0 w 3"/>
                    <a:gd name="T1" fmla="*/ 0 h 3"/>
                    <a:gd name="T2" fmla="*/ 0 w 3"/>
                    <a:gd name="T3" fmla="*/ 3 h 3"/>
                    <a:gd name="T4" fmla="*/ 3 w 3"/>
                    <a:gd name="T5" fmla="*/ 1 h 3"/>
                    <a:gd name="T6" fmla="*/ 0 w 3"/>
                    <a:gd name="T7" fmla="*/ 0 h 3"/>
                  </a:gdLst>
                  <a:cxnLst>
                    <a:cxn ang="0">
                      <a:pos x="T0" y="T1"/>
                    </a:cxn>
                    <a:cxn ang="0">
                      <a:pos x="T2" y="T3"/>
                    </a:cxn>
                    <a:cxn ang="0">
                      <a:pos x="T4" y="T5"/>
                    </a:cxn>
                    <a:cxn ang="0">
                      <a:pos x="T6" y="T7"/>
                    </a:cxn>
                  </a:cxnLst>
                  <a:rect l="0" t="0" r="r" b="b"/>
                  <a:pathLst>
                    <a:path w="3" h="3">
                      <a:moveTo>
                        <a:pt x="0" y="0"/>
                      </a:moveTo>
                      <a:cubicBezTo>
                        <a:pt x="0" y="1"/>
                        <a:pt x="0" y="2"/>
                        <a:pt x="0" y="3"/>
                      </a:cubicBezTo>
                      <a:cubicBezTo>
                        <a:pt x="1" y="2"/>
                        <a:pt x="2" y="2"/>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62"/>
                <p:cNvSpPr>
                  <a:spLocks noEditPoints="1"/>
                </p:cNvSpPr>
                <p:nvPr/>
              </p:nvSpPr>
              <p:spPr bwMode="auto">
                <a:xfrm>
                  <a:off x="3733023" y="3194996"/>
                  <a:ext cx="14740" cy="7370"/>
                </a:xfrm>
                <a:custGeom>
                  <a:gdLst>
                    <a:gd name="T0" fmla="*/ 0 w 5"/>
                    <a:gd name="T1" fmla="*/ 3 h 3"/>
                    <a:gd name="T2" fmla="*/ 0 w 5"/>
                    <a:gd name="T3" fmla="*/ 3 h 3"/>
                    <a:gd name="T4" fmla="*/ 0 w 5"/>
                    <a:gd name="T5" fmla="*/ 3 h 3"/>
                    <a:gd name="T6" fmla="*/ 5 w 5"/>
                    <a:gd name="T7" fmla="*/ 0 h 3"/>
                    <a:gd name="T8" fmla="*/ 0 w 5"/>
                    <a:gd name="T9" fmla="*/ 3 h 3"/>
                    <a:gd name="T10" fmla="*/ 5 w 5"/>
                    <a:gd name="T11" fmla="*/ 0 h 3"/>
                    <a:gd name="T12" fmla="*/ 5 w 5"/>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5" h="3">
                      <a:moveTo>
                        <a:pt x="0" y="3"/>
                      </a:moveTo>
                      <a:cubicBezTo>
                        <a:pt x="0" y="3"/>
                        <a:pt x="0" y="3"/>
                        <a:pt x="0" y="3"/>
                      </a:cubicBezTo>
                      <a:cubicBezTo>
                        <a:pt x="0" y="3"/>
                        <a:pt x="0" y="3"/>
                        <a:pt x="0" y="3"/>
                      </a:cubicBezTo>
                      <a:moveTo>
                        <a:pt x="5" y="0"/>
                      </a:moveTo>
                      <a:cubicBezTo>
                        <a:pt x="2" y="0"/>
                        <a:pt x="2" y="2"/>
                        <a:pt x="0" y="3"/>
                      </a:cubicBezTo>
                      <a:cubicBezTo>
                        <a:pt x="2" y="2"/>
                        <a:pt x="3" y="1"/>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63"/>
                <p:cNvSpPr/>
                <p:nvPr/>
              </p:nvSpPr>
              <p:spPr bwMode="auto">
                <a:xfrm>
                  <a:off x="4049942" y="2852280"/>
                  <a:ext cx="77387" cy="33166"/>
                </a:xfrm>
                <a:custGeom>
                  <a:gdLst>
                    <a:gd name="T0" fmla="*/ 5 w 24"/>
                    <a:gd name="T1" fmla="*/ 0 h 11"/>
                    <a:gd name="T2" fmla="*/ 4 w 24"/>
                    <a:gd name="T3" fmla="*/ 0 h 11"/>
                    <a:gd name="T4" fmla="*/ 1 w 24"/>
                    <a:gd name="T5" fmla="*/ 6 h 11"/>
                    <a:gd name="T6" fmla="*/ 16 w 24"/>
                    <a:gd name="T7" fmla="*/ 11 h 11"/>
                    <a:gd name="T8" fmla="*/ 14 w 24"/>
                    <a:gd name="T9" fmla="*/ 6 h 11"/>
                    <a:gd name="T10" fmla="*/ 13 w 24"/>
                    <a:gd name="T11" fmla="*/ 6 h 11"/>
                    <a:gd name="T12" fmla="*/ 11 w 24"/>
                    <a:gd name="T13" fmla="*/ 6 h 11"/>
                    <a:gd name="T14" fmla="*/ 9 w 24"/>
                    <a:gd name="T15" fmla="*/ 6 h 11"/>
                    <a:gd name="T16" fmla="*/ 7 w 24"/>
                    <a:gd name="T17" fmla="*/ 6 h 11"/>
                    <a:gd name="T18" fmla="*/ 9 w 24"/>
                    <a:gd name="T19" fmla="*/ 1 h 11"/>
                    <a:gd name="T20" fmla="*/ 5 w 24"/>
                    <a:gd name="T21"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1">
                      <a:moveTo>
                        <a:pt x="5" y="0"/>
                      </a:moveTo>
                      <a:cubicBezTo>
                        <a:pt x="4" y="0"/>
                        <a:pt x="4" y="0"/>
                        <a:pt x="4" y="0"/>
                      </a:cubicBezTo>
                      <a:cubicBezTo>
                        <a:pt x="2" y="0"/>
                        <a:pt x="0" y="3"/>
                        <a:pt x="1" y="6"/>
                      </a:cubicBezTo>
                      <a:cubicBezTo>
                        <a:pt x="2" y="10"/>
                        <a:pt x="12" y="10"/>
                        <a:pt x="16" y="11"/>
                      </a:cubicBezTo>
                      <a:cubicBezTo>
                        <a:pt x="24" y="8"/>
                        <a:pt x="15" y="8"/>
                        <a:pt x="14" y="6"/>
                      </a:cubicBezTo>
                      <a:cubicBezTo>
                        <a:pt x="14" y="6"/>
                        <a:pt x="13" y="6"/>
                        <a:pt x="13" y="6"/>
                      </a:cubicBezTo>
                      <a:cubicBezTo>
                        <a:pt x="12" y="6"/>
                        <a:pt x="11" y="6"/>
                        <a:pt x="11" y="6"/>
                      </a:cubicBezTo>
                      <a:cubicBezTo>
                        <a:pt x="10" y="6"/>
                        <a:pt x="9" y="6"/>
                        <a:pt x="9" y="6"/>
                      </a:cubicBezTo>
                      <a:cubicBezTo>
                        <a:pt x="8" y="6"/>
                        <a:pt x="8" y="6"/>
                        <a:pt x="7" y="6"/>
                      </a:cubicBezTo>
                      <a:cubicBezTo>
                        <a:pt x="10" y="4"/>
                        <a:pt x="12" y="4"/>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64"/>
                <p:cNvSpPr/>
                <p:nvPr/>
              </p:nvSpPr>
              <p:spPr bwMode="auto">
                <a:xfrm>
                  <a:off x="3806725" y="3239217"/>
                  <a:ext cx="36851" cy="47907"/>
                </a:xfrm>
                <a:custGeom>
                  <a:gdLst>
                    <a:gd name="T0" fmla="*/ 11 w 12"/>
                    <a:gd name="T1" fmla="*/ 0 h 14"/>
                    <a:gd name="T2" fmla="*/ 5 w 12"/>
                    <a:gd name="T3" fmla="*/ 4 h 14"/>
                    <a:gd name="T4" fmla="*/ 4 w 12"/>
                    <a:gd name="T5" fmla="*/ 14 h 14"/>
                    <a:gd name="T6" fmla="*/ 10 w 12"/>
                    <a:gd name="T7" fmla="*/ 3 h 14"/>
                    <a:gd name="T8" fmla="*/ 12 w 12"/>
                    <a:gd name="T9" fmla="*/ 0 h 14"/>
                    <a:gd name="T10" fmla="*/ 11 w 12"/>
                    <a:gd name="T11" fmla="*/ 0 h 14"/>
                  </a:gdLst>
                  <a:cxnLst>
                    <a:cxn ang="0">
                      <a:pos x="T0" y="T1"/>
                    </a:cxn>
                    <a:cxn ang="0">
                      <a:pos x="T2" y="T3"/>
                    </a:cxn>
                    <a:cxn ang="0">
                      <a:pos x="T4" y="T5"/>
                    </a:cxn>
                    <a:cxn ang="0">
                      <a:pos x="T6" y="T7"/>
                    </a:cxn>
                    <a:cxn ang="0">
                      <a:pos x="T8" y="T9"/>
                    </a:cxn>
                    <a:cxn ang="0">
                      <a:pos x="T10" y="T11"/>
                    </a:cxn>
                  </a:cxnLst>
                  <a:rect l="0" t="0" r="r" b="b"/>
                  <a:pathLst>
                    <a:path w="12" h="14">
                      <a:moveTo>
                        <a:pt x="11" y="0"/>
                      </a:moveTo>
                      <a:cubicBezTo>
                        <a:pt x="10" y="0"/>
                        <a:pt x="6" y="3"/>
                        <a:pt x="5" y="4"/>
                      </a:cubicBezTo>
                      <a:cubicBezTo>
                        <a:pt x="1" y="7"/>
                        <a:pt x="0" y="9"/>
                        <a:pt x="4" y="14"/>
                      </a:cubicBezTo>
                      <a:cubicBezTo>
                        <a:pt x="6" y="11"/>
                        <a:pt x="9" y="7"/>
                        <a:pt x="10" y="3"/>
                      </a:cubicBezTo>
                      <a:cubicBezTo>
                        <a:pt x="11" y="2"/>
                        <a:pt x="12" y="1"/>
                        <a:pt x="12"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65"/>
                <p:cNvSpPr/>
                <p:nvPr/>
              </p:nvSpPr>
              <p:spPr bwMode="auto">
                <a:xfrm>
                  <a:off x="3766189" y="3268698"/>
                  <a:ext cx="44221" cy="44221"/>
                </a:xfrm>
                <a:custGeom>
                  <a:gdLst>
                    <a:gd name="T0" fmla="*/ 11 w 14"/>
                    <a:gd name="T1" fmla="*/ 0 h 14"/>
                    <a:gd name="T2" fmla="*/ 5 w 14"/>
                    <a:gd name="T3" fmla="*/ 4 h 14"/>
                    <a:gd name="T4" fmla="*/ 5 w 14"/>
                    <a:gd name="T5" fmla="*/ 1 h 14"/>
                    <a:gd name="T6" fmla="*/ 2 w 14"/>
                    <a:gd name="T7" fmla="*/ 5 h 14"/>
                    <a:gd name="T8" fmla="*/ 3 w 14"/>
                    <a:gd name="T9" fmla="*/ 5 h 14"/>
                    <a:gd name="T10" fmla="*/ 4 w 14"/>
                    <a:gd name="T11" fmla="*/ 5 h 14"/>
                    <a:gd name="T12" fmla="*/ 6 w 14"/>
                    <a:gd name="T13" fmla="*/ 5 h 14"/>
                    <a:gd name="T14" fmla="*/ 7 w 14"/>
                    <a:gd name="T15" fmla="*/ 6 h 14"/>
                    <a:gd name="T16" fmla="*/ 7 w 14"/>
                    <a:gd name="T17" fmla="*/ 14 h 14"/>
                    <a:gd name="T18" fmla="*/ 14 w 14"/>
                    <a:gd name="T19" fmla="*/ 8 h 14"/>
                    <a:gd name="T20" fmla="*/ 11 w 14"/>
                    <a:gd name="T21"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4">
                      <a:moveTo>
                        <a:pt x="11" y="0"/>
                      </a:moveTo>
                      <a:cubicBezTo>
                        <a:pt x="9" y="0"/>
                        <a:pt x="6" y="1"/>
                        <a:pt x="5" y="4"/>
                      </a:cubicBezTo>
                      <a:cubicBezTo>
                        <a:pt x="5" y="3"/>
                        <a:pt x="5" y="2"/>
                        <a:pt x="5" y="1"/>
                      </a:cubicBezTo>
                      <a:cubicBezTo>
                        <a:pt x="4" y="2"/>
                        <a:pt x="0" y="3"/>
                        <a:pt x="2" y="5"/>
                      </a:cubicBezTo>
                      <a:cubicBezTo>
                        <a:pt x="2" y="5"/>
                        <a:pt x="2" y="5"/>
                        <a:pt x="3" y="5"/>
                      </a:cubicBezTo>
                      <a:cubicBezTo>
                        <a:pt x="3" y="5"/>
                        <a:pt x="4" y="5"/>
                        <a:pt x="4" y="5"/>
                      </a:cubicBezTo>
                      <a:cubicBezTo>
                        <a:pt x="5" y="5"/>
                        <a:pt x="5" y="5"/>
                        <a:pt x="6" y="5"/>
                      </a:cubicBezTo>
                      <a:cubicBezTo>
                        <a:pt x="6" y="5"/>
                        <a:pt x="6" y="5"/>
                        <a:pt x="7" y="6"/>
                      </a:cubicBezTo>
                      <a:cubicBezTo>
                        <a:pt x="8" y="7"/>
                        <a:pt x="7" y="12"/>
                        <a:pt x="7" y="14"/>
                      </a:cubicBezTo>
                      <a:cubicBezTo>
                        <a:pt x="9" y="11"/>
                        <a:pt x="14" y="12"/>
                        <a:pt x="14" y="8"/>
                      </a:cubicBezTo>
                      <a:cubicBezTo>
                        <a:pt x="14" y="5"/>
                        <a:pt x="11" y="3"/>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66"/>
                <p:cNvSpPr/>
                <p:nvPr/>
              </p:nvSpPr>
              <p:spPr bwMode="auto">
                <a:xfrm>
                  <a:off x="9139087" y="5207069"/>
                  <a:ext cx="7370" cy="33166"/>
                </a:xfrm>
                <a:custGeom>
                  <a:gdLst>
                    <a:gd name="T0" fmla="*/ 2 w 2"/>
                    <a:gd name="T1" fmla="*/ 0 h 11"/>
                    <a:gd name="T2" fmla="*/ 2 w 2"/>
                    <a:gd name="T3" fmla="*/ 11 h 11"/>
                    <a:gd name="T4" fmla="*/ 2 w 2"/>
                    <a:gd name="T5" fmla="*/ 0 h 11"/>
                  </a:gdLst>
                  <a:cxnLst>
                    <a:cxn ang="0">
                      <a:pos x="T0" y="T1"/>
                    </a:cxn>
                    <a:cxn ang="0">
                      <a:pos x="T2" y="T3"/>
                    </a:cxn>
                    <a:cxn ang="0">
                      <a:pos x="T4" y="T5"/>
                    </a:cxn>
                  </a:cxnLst>
                  <a:rect l="0" t="0" r="r" b="b"/>
                  <a:pathLst>
                    <a:path w="2" h="11">
                      <a:moveTo>
                        <a:pt x="2" y="0"/>
                      </a:moveTo>
                      <a:cubicBezTo>
                        <a:pt x="0" y="3"/>
                        <a:pt x="2" y="9"/>
                        <a:pt x="2" y="11"/>
                      </a:cubicBezTo>
                      <a:cubicBezTo>
                        <a:pt x="2" y="8"/>
                        <a:pt x="1" y="4"/>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67"/>
                <p:cNvSpPr/>
                <p:nvPr/>
              </p:nvSpPr>
              <p:spPr bwMode="auto">
                <a:xfrm>
                  <a:off x="6673745" y="5096516"/>
                  <a:ext cx="25796" cy="3685"/>
                </a:xfrm>
                <a:custGeom>
                  <a:gdLst>
                    <a:gd name="T0" fmla="*/ 9 w 9"/>
                    <a:gd name="T1" fmla="*/ 0 h 1"/>
                    <a:gd name="T2" fmla="*/ 0 w 9"/>
                    <a:gd name="T3" fmla="*/ 0 h 1"/>
                    <a:gd name="T4" fmla="*/ 4 w 9"/>
                    <a:gd name="T5" fmla="*/ 1 h 1"/>
                    <a:gd name="T6" fmla="*/ 9 w 9"/>
                    <a:gd name="T7" fmla="*/ 0 h 1"/>
                    <a:gd name="T8" fmla="*/ 9 w 9"/>
                    <a:gd name="T9" fmla="*/ 0 h 1"/>
                  </a:gdLst>
                  <a:cxnLst>
                    <a:cxn ang="0">
                      <a:pos x="T0" y="T1"/>
                    </a:cxn>
                    <a:cxn ang="0">
                      <a:pos x="T2" y="T3"/>
                    </a:cxn>
                    <a:cxn ang="0">
                      <a:pos x="T4" y="T5"/>
                    </a:cxn>
                    <a:cxn ang="0">
                      <a:pos x="T6" y="T7"/>
                    </a:cxn>
                    <a:cxn ang="0">
                      <a:pos x="T8" y="T9"/>
                    </a:cxn>
                  </a:cxnLst>
                  <a:rect l="0" t="0" r="r" b="b"/>
                  <a:pathLst>
                    <a:path w="9" h="1">
                      <a:moveTo>
                        <a:pt x="9" y="0"/>
                      </a:moveTo>
                      <a:cubicBezTo>
                        <a:pt x="6" y="0"/>
                        <a:pt x="3" y="0"/>
                        <a:pt x="0" y="0"/>
                      </a:cubicBezTo>
                      <a:cubicBezTo>
                        <a:pt x="1" y="1"/>
                        <a:pt x="2" y="1"/>
                        <a:pt x="4" y="1"/>
                      </a:cubicBezTo>
                      <a:cubicBezTo>
                        <a:pt x="6" y="1"/>
                        <a:pt x="8" y="1"/>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68"/>
                <p:cNvSpPr/>
                <p:nvPr/>
              </p:nvSpPr>
              <p:spPr bwMode="auto">
                <a:xfrm>
                  <a:off x="5361844" y="5652968"/>
                  <a:ext cx="11055" cy="11055"/>
                </a:xfrm>
                <a:custGeom>
                  <a:gdLst>
                    <a:gd name="T0" fmla="*/ 4 w 4"/>
                    <a:gd name="T1" fmla="*/ 0 h 3"/>
                    <a:gd name="T2" fmla="*/ 0 w 4"/>
                    <a:gd name="T3" fmla="*/ 3 h 3"/>
                    <a:gd name="T4" fmla="*/ 4 w 4"/>
                    <a:gd name="T5" fmla="*/ 0 h 3"/>
                  </a:gdLst>
                  <a:cxnLst>
                    <a:cxn ang="0">
                      <a:pos x="T0" y="T1"/>
                    </a:cxn>
                    <a:cxn ang="0">
                      <a:pos x="T2" y="T3"/>
                    </a:cxn>
                    <a:cxn ang="0">
                      <a:pos x="T4" y="T5"/>
                    </a:cxn>
                  </a:cxnLst>
                  <a:rect l="0" t="0" r="r" b="b"/>
                  <a:pathLst>
                    <a:path w="4" h="3">
                      <a:moveTo>
                        <a:pt x="4" y="0"/>
                      </a:moveTo>
                      <a:cubicBezTo>
                        <a:pt x="2" y="1"/>
                        <a:pt x="1" y="2"/>
                        <a:pt x="0" y="3"/>
                      </a:cubicBezTo>
                      <a:cubicBezTo>
                        <a:pt x="1"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69"/>
                <p:cNvSpPr/>
                <p:nvPr/>
              </p:nvSpPr>
              <p:spPr bwMode="auto">
                <a:xfrm>
                  <a:off x="5988313" y="3010740"/>
                  <a:ext cx="92128" cy="132664"/>
                </a:xfrm>
                <a:custGeom>
                  <a:gdLst>
                    <a:gd name="T0" fmla="*/ 25 w 29"/>
                    <a:gd name="T1" fmla="*/ 0 h 41"/>
                    <a:gd name="T2" fmla="*/ 20 w 29"/>
                    <a:gd name="T3" fmla="*/ 2 h 41"/>
                    <a:gd name="T4" fmla="*/ 19 w 29"/>
                    <a:gd name="T5" fmla="*/ 0 h 41"/>
                    <a:gd name="T6" fmla="*/ 15 w 29"/>
                    <a:gd name="T7" fmla="*/ 2 h 41"/>
                    <a:gd name="T8" fmla="*/ 11 w 29"/>
                    <a:gd name="T9" fmla="*/ 4 h 41"/>
                    <a:gd name="T10" fmla="*/ 7 w 29"/>
                    <a:gd name="T11" fmla="*/ 10 h 41"/>
                    <a:gd name="T12" fmla="*/ 3 w 29"/>
                    <a:gd name="T13" fmla="*/ 14 h 41"/>
                    <a:gd name="T14" fmla="*/ 1 w 29"/>
                    <a:gd name="T15" fmla="*/ 27 h 41"/>
                    <a:gd name="T16" fmla="*/ 2 w 29"/>
                    <a:gd name="T17" fmla="*/ 41 h 41"/>
                    <a:gd name="T18" fmla="*/ 8 w 29"/>
                    <a:gd name="T19" fmla="*/ 37 h 41"/>
                    <a:gd name="T20" fmla="*/ 12 w 29"/>
                    <a:gd name="T21" fmla="*/ 30 h 41"/>
                    <a:gd name="T22" fmla="*/ 18 w 29"/>
                    <a:gd name="T23" fmla="*/ 28 h 41"/>
                    <a:gd name="T24" fmla="*/ 19 w 29"/>
                    <a:gd name="T25" fmla="*/ 24 h 41"/>
                    <a:gd name="T26" fmla="*/ 23 w 29"/>
                    <a:gd name="T27" fmla="*/ 22 h 41"/>
                    <a:gd name="T28" fmla="*/ 23 w 29"/>
                    <a:gd name="T29" fmla="*/ 22 h 41"/>
                    <a:gd name="T30" fmla="*/ 20 w 29"/>
                    <a:gd name="T31" fmla="*/ 17 h 41"/>
                    <a:gd name="T32" fmla="*/ 21 w 29"/>
                    <a:gd name="T33" fmla="*/ 14 h 41"/>
                    <a:gd name="T34" fmla="*/ 20 w 29"/>
                    <a:gd name="T35" fmla="*/ 11 h 41"/>
                    <a:gd name="T36" fmla="*/ 21 w 29"/>
                    <a:gd name="T37" fmla="*/ 8 h 41"/>
                    <a:gd name="T38" fmla="*/ 22 w 29"/>
                    <a:gd name="T39" fmla="*/ 8 h 41"/>
                    <a:gd name="T40" fmla="*/ 22 w 29"/>
                    <a:gd name="T41" fmla="*/ 8 h 41"/>
                    <a:gd name="T42" fmla="*/ 23 w 29"/>
                    <a:gd name="T43" fmla="*/ 7 h 41"/>
                    <a:gd name="T44" fmla="*/ 24 w 29"/>
                    <a:gd name="T45" fmla="*/ 7 h 41"/>
                    <a:gd name="T46" fmla="*/ 24 w 29"/>
                    <a:gd name="T47" fmla="*/ 7 h 41"/>
                    <a:gd name="T48" fmla="*/ 25 w 29"/>
                    <a:gd name="T49" fmla="*/ 7 h 41"/>
                    <a:gd name="T50" fmla="*/ 25 w 29"/>
                    <a:gd name="T51" fmla="*/ 5 h 41"/>
                    <a:gd name="T52" fmla="*/ 26 w 29"/>
                    <a:gd name="T53" fmla="*/ 5 h 41"/>
                    <a:gd name="T54" fmla="*/ 27 w 29"/>
                    <a:gd name="T55" fmla="*/ 4 h 41"/>
                    <a:gd name="T56" fmla="*/ 28 w 29"/>
                    <a:gd name="T57" fmla="*/ 3 h 41"/>
                    <a:gd name="T58" fmla="*/ 29 w 29"/>
                    <a:gd name="T59" fmla="*/ 4 h 41"/>
                    <a:gd name="T60" fmla="*/ 25 w 29"/>
                    <a:gd name="T61" fmla="*/ 0 h 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41">
                      <a:moveTo>
                        <a:pt x="25" y="0"/>
                      </a:moveTo>
                      <a:cubicBezTo>
                        <a:pt x="23" y="0"/>
                        <a:pt x="21" y="1"/>
                        <a:pt x="20" y="2"/>
                      </a:cubicBezTo>
                      <a:cubicBezTo>
                        <a:pt x="20" y="0"/>
                        <a:pt x="20" y="0"/>
                        <a:pt x="19" y="0"/>
                      </a:cubicBezTo>
                      <a:cubicBezTo>
                        <a:pt x="18" y="0"/>
                        <a:pt x="16" y="1"/>
                        <a:pt x="15" y="2"/>
                      </a:cubicBezTo>
                      <a:cubicBezTo>
                        <a:pt x="14" y="2"/>
                        <a:pt x="12" y="3"/>
                        <a:pt x="11" y="4"/>
                      </a:cubicBezTo>
                      <a:cubicBezTo>
                        <a:pt x="9" y="5"/>
                        <a:pt x="9" y="8"/>
                        <a:pt x="7" y="10"/>
                      </a:cubicBezTo>
                      <a:cubicBezTo>
                        <a:pt x="6" y="12"/>
                        <a:pt x="4" y="12"/>
                        <a:pt x="3" y="14"/>
                      </a:cubicBezTo>
                      <a:cubicBezTo>
                        <a:pt x="1" y="16"/>
                        <a:pt x="0" y="23"/>
                        <a:pt x="1" y="27"/>
                      </a:cubicBezTo>
                      <a:cubicBezTo>
                        <a:pt x="2" y="33"/>
                        <a:pt x="5" y="36"/>
                        <a:pt x="2" y="41"/>
                      </a:cubicBezTo>
                      <a:cubicBezTo>
                        <a:pt x="4" y="40"/>
                        <a:pt x="6" y="38"/>
                        <a:pt x="8" y="37"/>
                      </a:cubicBezTo>
                      <a:cubicBezTo>
                        <a:pt x="9" y="34"/>
                        <a:pt x="11" y="32"/>
                        <a:pt x="12" y="30"/>
                      </a:cubicBezTo>
                      <a:cubicBezTo>
                        <a:pt x="14" y="29"/>
                        <a:pt x="17" y="29"/>
                        <a:pt x="18" y="28"/>
                      </a:cubicBezTo>
                      <a:cubicBezTo>
                        <a:pt x="19" y="27"/>
                        <a:pt x="18" y="25"/>
                        <a:pt x="19" y="24"/>
                      </a:cubicBezTo>
                      <a:cubicBezTo>
                        <a:pt x="20" y="23"/>
                        <a:pt x="22" y="22"/>
                        <a:pt x="23" y="22"/>
                      </a:cubicBezTo>
                      <a:cubicBezTo>
                        <a:pt x="23" y="22"/>
                        <a:pt x="23" y="22"/>
                        <a:pt x="23" y="22"/>
                      </a:cubicBezTo>
                      <a:cubicBezTo>
                        <a:pt x="26" y="20"/>
                        <a:pt x="20" y="19"/>
                        <a:pt x="20" y="17"/>
                      </a:cubicBezTo>
                      <a:cubicBezTo>
                        <a:pt x="20" y="16"/>
                        <a:pt x="21" y="15"/>
                        <a:pt x="21" y="14"/>
                      </a:cubicBezTo>
                      <a:cubicBezTo>
                        <a:pt x="21" y="13"/>
                        <a:pt x="20" y="12"/>
                        <a:pt x="20" y="11"/>
                      </a:cubicBezTo>
                      <a:cubicBezTo>
                        <a:pt x="21" y="8"/>
                        <a:pt x="21" y="8"/>
                        <a:pt x="21" y="8"/>
                      </a:cubicBezTo>
                      <a:cubicBezTo>
                        <a:pt x="22" y="8"/>
                        <a:pt x="22" y="8"/>
                        <a:pt x="22" y="8"/>
                      </a:cubicBezTo>
                      <a:cubicBezTo>
                        <a:pt x="22" y="8"/>
                        <a:pt x="22" y="8"/>
                        <a:pt x="22" y="8"/>
                      </a:cubicBezTo>
                      <a:cubicBezTo>
                        <a:pt x="22" y="8"/>
                        <a:pt x="22" y="8"/>
                        <a:pt x="23" y="7"/>
                      </a:cubicBezTo>
                      <a:cubicBezTo>
                        <a:pt x="23" y="7"/>
                        <a:pt x="23" y="7"/>
                        <a:pt x="24" y="7"/>
                      </a:cubicBezTo>
                      <a:cubicBezTo>
                        <a:pt x="24" y="7"/>
                        <a:pt x="24" y="7"/>
                        <a:pt x="24" y="7"/>
                      </a:cubicBezTo>
                      <a:cubicBezTo>
                        <a:pt x="24" y="7"/>
                        <a:pt x="25" y="7"/>
                        <a:pt x="25" y="7"/>
                      </a:cubicBezTo>
                      <a:cubicBezTo>
                        <a:pt x="25" y="7"/>
                        <a:pt x="26" y="7"/>
                        <a:pt x="25" y="5"/>
                      </a:cubicBezTo>
                      <a:cubicBezTo>
                        <a:pt x="25" y="5"/>
                        <a:pt x="26" y="5"/>
                        <a:pt x="26" y="5"/>
                      </a:cubicBezTo>
                      <a:cubicBezTo>
                        <a:pt x="26" y="5"/>
                        <a:pt x="27" y="5"/>
                        <a:pt x="27" y="4"/>
                      </a:cubicBezTo>
                      <a:cubicBezTo>
                        <a:pt x="27" y="4"/>
                        <a:pt x="27" y="3"/>
                        <a:pt x="28" y="3"/>
                      </a:cubicBezTo>
                      <a:cubicBezTo>
                        <a:pt x="28" y="3"/>
                        <a:pt x="29" y="3"/>
                        <a:pt x="29" y="4"/>
                      </a:cubicBezTo>
                      <a:cubicBezTo>
                        <a:pt x="29" y="1"/>
                        <a:pt x="27"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70"/>
                <p:cNvSpPr/>
                <p:nvPr/>
              </p:nvSpPr>
              <p:spPr bwMode="auto">
                <a:xfrm>
                  <a:off x="5387639" y="2966519"/>
                  <a:ext cx="44221" cy="18426"/>
                </a:xfrm>
                <a:custGeom>
                  <a:gdLst>
                    <a:gd name="T0" fmla="*/ 10 w 14"/>
                    <a:gd name="T1" fmla="*/ 0 h 5"/>
                    <a:gd name="T2" fmla="*/ 3 w 14"/>
                    <a:gd name="T3" fmla="*/ 2 h 5"/>
                    <a:gd name="T4" fmla="*/ 0 w 14"/>
                    <a:gd name="T5" fmla="*/ 4 h 5"/>
                    <a:gd name="T6" fmla="*/ 8 w 14"/>
                    <a:gd name="T7" fmla="*/ 5 h 5"/>
                    <a:gd name="T8" fmla="*/ 12 w 14"/>
                    <a:gd name="T9" fmla="*/ 1 h 5"/>
                    <a:gd name="T10" fmla="*/ 10 w 14"/>
                    <a:gd name="T11" fmla="*/ 0 h 5"/>
                  </a:gdLst>
                  <a:cxnLst>
                    <a:cxn ang="0">
                      <a:pos x="T0" y="T1"/>
                    </a:cxn>
                    <a:cxn ang="0">
                      <a:pos x="T2" y="T3"/>
                    </a:cxn>
                    <a:cxn ang="0">
                      <a:pos x="T4" y="T5"/>
                    </a:cxn>
                    <a:cxn ang="0">
                      <a:pos x="T6" y="T7"/>
                    </a:cxn>
                    <a:cxn ang="0">
                      <a:pos x="T8" y="T9"/>
                    </a:cxn>
                    <a:cxn ang="0">
                      <a:pos x="T10" y="T11"/>
                    </a:cxn>
                  </a:cxnLst>
                  <a:rect l="0" t="0" r="r" b="b"/>
                  <a:pathLst>
                    <a:path w="14" h="5">
                      <a:moveTo>
                        <a:pt x="10" y="0"/>
                      </a:moveTo>
                      <a:cubicBezTo>
                        <a:pt x="8" y="0"/>
                        <a:pt x="5" y="1"/>
                        <a:pt x="3" y="2"/>
                      </a:cubicBezTo>
                      <a:cubicBezTo>
                        <a:pt x="2" y="3"/>
                        <a:pt x="1" y="4"/>
                        <a:pt x="0" y="4"/>
                      </a:cubicBezTo>
                      <a:cubicBezTo>
                        <a:pt x="2" y="4"/>
                        <a:pt x="5" y="5"/>
                        <a:pt x="8" y="5"/>
                      </a:cubicBezTo>
                      <a:cubicBezTo>
                        <a:pt x="11" y="5"/>
                        <a:pt x="14" y="4"/>
                        <a:pt x="12" y="1"/>
                      </a:cubicBezTo>
                      <a:cubicBezTo>
                        <a:pt x="12"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71"/>
                <p:cNvSpPr/>
                <p:nvPr/>
              </p:nvSpPr>
              <p:spPr bwMode="auto">
                <a:xfrm>
                  <a:off x="5398695" y="2992315"/>
                  <a:ext cx="22111" cy="14740"/>
                </a:xfrm>
                <a:custGeom>
                  <a:gdLst>
                    <a:gd name="T0" fmla="*/ 5 w 7"/>
                    <a:gd name="T1" fmla="*/ 0 h 4"/>
                    <a:gd name="T2" fmla="*/ 2 w 7"/>
                    <a:gd name="T3" fmla="*/ 0 h 4"/>
                    <a:gd name="T4" fmla="*/ 2 w 7"/>
                    <a:gd name="T5" fmla="*/ 0 h 4"/>
                    <a:gd name="T6" fmla="*/ 0 w 7"/>
                    <a:gd name="T7" fmla="*/ 2 h 4"/>
                    <a:gd name="T8" fmla="*/ 2 w 7"/>
                    <a:gd name="T9" fmla="*/ 4 h 4"/>
                    <a:gd name="T10" fmla="*/ 4 w 7"/>
                    <a:gd name="T11" fmla="*/ 3 h 4"/>
                    <a:gd name="T12" fmla="*/ 5 w 7"/>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7" h="4">
                      <a:moveTo>
                        <a:pt x="5" y="0"/>
                      </a:moveTo>
                      <a:cubicBezTo>
                        <a:pt x="4" y="0"/>
                        <a:pt x="3" y="0"/>
                        <a:pt x="2" y="0"/>
                      </a:cubicBezTo>
                      <a:cubicBezTo>
                        <a:pt x="2" y="0"/>
                        <a:pt x="2" y="0"/>
                        <a:pt x="2" y="0"/>
                      </a:cubicBezTo>
                      <a:cubicBezTo>
                        <a:pt x="0" y="0"/>
                        <a:pt x="0" y="1"/>
                        <a:pt x="0" y="2"/>
                      </a:cubicBezTo>
                      <a:cubicBezTo>
                        <a:pt x="0" y="3"/>
                        <a:pt x="1" y="4"/>
                        <a:pt x="2" y="4"/>
                      </a:cubicBezTo>
                      <a:cubicBezTo>
                        <a:pt x="2" y="4"/>
                        <a:pt x="3" y="4"/>
                        <a:pt x="4" y="3"/>
                      </a:cubicBezTo>
                      <a:cubicBezTo>
                        <a:pt x="7"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72"/>
                <p:cNvSpPr/>
                <p:nvPr/>
              </p:nvSpPr>
              <p:spPr bwMode="auto">
                <a:xfrm>
                  <a:off x="5837223" y="3084442"/>
                  <a:ext cx="66332" cy="136349"/>
                </a:xfrm>
                <a:custGeom>
                  <a:gdLst>
                    <a:gd name="T0" fmla="*/ 19 w 21"/>
                    <a:gd name="T1" fmla="*/ 0 h 43"/>
                    <a:gd name="T2" fmla="*/ 16 w 21"/>
                    <a:gd name="T3" fmla="*/ 4 h 43"/>
                    <a:gd name="T4" fmla="*/ 11 w 21"/>
                    <a:gd name="T5" fmla="*/ 14 h 43"/>
                    <a:gd name="T6" fmla="*/ 8 w 21"/>
                    <a:gd name="T7" fmla="*/ 19 h 43"/>
                    <a:gd name="T8" fmla="*/ 3 w 21"/>
                    <a:gd name="T9" fmla="*/ 25 h 43"/>
                    <a:gd name="T10" fmla="*/ 0 w 21"/>
                    <a:gd name="T11" fmla="*/ 37 h 43"/>
                    <a:gd name="T12" fmla="*/ 2 w 21"/>
                    <a:gd name="T13" fmla="*/ 43 h 43"/>
                    <a:gd name="T14" fmla="*/ 4 w 21"/>
                    <a:gd name="T15" fmla="*/ 41 h 43"/>
                    <a:gd name="T16" fmla="*/ 6 w 21"/>
                    <a:gd name="T17" fmla="*/ 36 h 43"/>
                    <a:gd name="T18" fmla="*/ 13 w 21"/>
                    <a:gd name="T19" fmla="*/ 19 h 43"/>
                    <a:gd name="T20" fmla="*/ 19 w 21"/>
                    <a:gd name="T21" fmla="*/ 0 h 43"/>
                    <a:gd name="T22" fmla="*/ 19 w 21"/>
                    <a:gd name="T23"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3">
                      <a:moveTo>
                        <a:pt x="19" y="0"/>
                      </a:moveTo>
                      <a:cubicBezTo>
                        <a:pt x="17" y="0"/>
                        <a:pt x="16" y="3"/>
                        <a:pt x="16" y="4"/>
                      </a:cubicBezTo>
                      <a:cubicBezTo>
                        <a:pt x="14" y="7"/>
                        <a:pt x="13" y="11"/>
                        <a:pt x="11" y="14"/>
                      </a:cubicBezTo>
                      <a:cubicBezTo>
                        <a:pt x="10" y="16"/>
                        <a:pt x="9" y="18"/>
                        <a:pt x="8" y="19"/>
                      </a:cubicBezTo>
                      <a:cubicBezTo>
                        <a:pt x="6" y="21"/>
                        <a:pt x="4" y="22"/>
                        <a:pt x="3" y="25"/>
                      </a:cubicBezTo>
                      <a:cubicBezTo>
                        <a:pt x="1" y="29"/>
                        <a:pt x="0" y="32"/>
                        <a:pt x="0" y="37"/>
                      </a:cubicBezTo>
                      <a:cubicBezTo>
                        <a:pt x="0" y="40"/>
                        <a:pt x="1" y="43"/>
                        <a:pt x="2" y="43"/>
                      </a:cubicBezTo>
                      <a:cubicBezTo>
                        <a:pt x="3" y="43"/>
                        <a:pt x="3" y="43"/>
                        <a:pt x="4" y="41"/>
                      </a:cubicBezTo>
                      <a:cubicBezTo>
                        <a:pt x="5" y="39"/>
                        <a:pt x="5" y="38"/>
                        <a:pt x="6" y="36"/>
                      </a:cubicBezTo>
                      <a:cubicBezTo>
                        <a:pt x="8" y="30"/>
                        <a:pt x="11" y="25"/>
                        <a:pt x="13" y="19"/>
                      </a:cubicBezTo>
                      <a:cubicBezTo>
                        <a:pt x="14" y="16"/>
                        <a:pt x="21" y="1"/>
                        <a:pt x="19" y="0"/>
                      </a:cubicBez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75"/>
                <p:cNvSpPr/>
                <p:nvPr/>
              </p:nvSpPr>
              <p:spPr bwMode="auto">
                <a:xfrm>
                  <a:off x="6607412" y="117924"/>
                  <a:ext cx="36851" cy="29481"/>
                </a:xfrm>
                <a:custGeom>
                  <a:gdLst>
                    <a:gd name="T0" fmla="*/ 11 w 11"/>
                    <a:gd name="T1" fmla="*/ 0 h 10"/>
                    <a:gd name="T2" fmla="*/ 0 w 11"/>
                    <a:gd name="T3" fmla="*/ 10 h 10"/>
                    <a:gd name="T4" fmla="*/ 11 w 11"/>
                    <a:gd name="T5" fmla="*/ 0 h 10"/>
                  </a:gdLst>
                  <a:cxnLst>
                    <a:cxn ang="0">
                      <a:pos x="T0" y="T1"/>
                    </a:cxn>
                    <a:cxn ang="0">
                      <a:pos x="T2" y="T3"/>
                    </a:cxn>
                    <a:cxn ang="0">
                      <a:pos x="T4" y="T5"/>
                    </a:cxn>
                  </a:cxnLst>
                  <a:rect l="0" t="0" r="r" b="b"/>
                  <a:pathLst>
                    <a:path w="11" h="10">
                      <a:moveTo>
                        <a:pt x="11" y="0"/>
                      </a:moveTo>
                      <a:cubicBezTo>
                        <a:pt x="7" y="2"/>
                        <a:pt x="3" y="6"/>
                        <a:pt x="0" y="10"/>
                      </a:cubicBezTo>
                      <a:cubicBezTo>
                        <a:pt x="4" y="7"/>
                        <a:pt x="8" y="3"/>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76"/>
                <p:cNvSpPr/>
                <p:nvPr/>
              </p:nvSpPr>
              <p:spPr bwMode="auto">
                <a:xfrm>
                  <a:off x="4702208" y="5100201"/>
                  <a:ext cx="44221" cy="29481"/>
                </a:xfrm>
                <a:custGeom>
                  <a:gdLst>
                    <a:gd name="T0" fmla="*/ 7 w 14"/>
                    <a:gd name="T1" fmla="*/ 0 h 9"/>
                    <a:gd name="T2" fmla="*/ 0 w 14"/>
                    <a:gd name="T3" fmla="*/ 2 h 9"/>
                    <a:gd name="T4" fmla="*/ 13 w 14"/>
                    <a:gd name="T5" fmla="*/ 9 h 9"/>
                    <a:gd name="T6" fmla="*/ 9 w 14"/>
                    <a:gd name="T7" fmla="*/ 0 h 9"/>
                    <a:gd name="T8" fmla="*/ 7 w 14"/>
                    <a:gd name="T9" fmla="*/ 0 h 9"/>
                  </a:gdLst>
                  <a:cxnLst>
                    <a:cxn ang="0">
                      <a:pos x="T0" y="T1"/>
                    </a:cxn>
                    <a:cxn ang="0">
                      <a:pos x="T2" y="T3"/>
                    </a:cxn>
                    <a:cxn ang="0">
                      <a:pos x="T4" y="T5"/>
                    </a:cxn>
                    <a:cxn ang="0">
                      <a:pos x="T6" y="T7"/>
                    </a:cxn>
                    <a:cxn ang="0">
                      <a:pos x="T8" y="T9"/>
                    </a:cxn>
                  </a:cxnLst>
                  <a:rect l="0" t="0" r="r" b="b"/>
                  <a:pathLst>
                    <a:path w="14" h="9">
                      <a:moveTo>
                        <a:pt x="7" y="0"/>
                      </a:moveTo>
                      <a:cubicBezTo>
                        <a:pt x="4" y="0"/>
                        <a:pt x="1" y="1"/>
                        <a:pt x="0" y="2"/>
                      </a:cubicBezTo>
                      <a:cubicBezTo>
                        <a:pt x="3" y="5"/>
                        <a:pt x="9" y="7"/>
                        <a:pt x="13" y="9"/>
                      </a:cubicBezTo>
                      <a:cubicBezTo>
                        <a:pt x="14" y="5"/>
                        <a:pt x="12" y="2"/>
                        <a:pt x="9"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77"/>
                <p:cNvSpPr/>
                <p:nvPr/>
              </p:nvSpPr>
              <p:spPr bwMode="auto">
                <a:xfrm>
                  <a:off x="4462675" y="5207069"/>
                  <a:ext cx="40536" cy="29481"/>
                </a:xfrm>
                <a:custGeom>
                  <a:gdLst>
                    <a:gd name="T0" fmla="*/ 9 w 13"/>
                    <a:gd name="T1" fmla="*/ 0 h 9"/>
                    <a:gd name="T2" fmla="*/ 5 w 13"/>
                    <a:gd name="T3" fmla="*/ 1 h 9"/>
                    <a:gd name="T4" fmla="*/ 5 w 13"/>
                    <a:gd name="T5" fmla="*/ 9 h 9"/>
                    <a:gd name="T6" fmla="*/ 12 w 13"/>
                    <a:gd name="T7" fmla="*/ 1 h 9"/>
                    <a:gd name="T8" fmla="*/ 9 w 13"/>
                    <a:gd name="T9" fmla="*/ 0 h 9"/>
                  </a:gdLst>
                  <a:cxnLst>
                    <a:cxn ang="0">
                      <a:pos x="T0" y="T1"/>
                    </a:cxn>
                    <a:cxn ang="0">
                      <a:pos x="T2" y="T3"/>
                    </a:cxn>
                    <a:cxn ang="0">
                      <a:pos x="T4" y="T5"/>
                    </a:cxn>
                    <a:cxn ang="0">
                      <a:pos x="T6" y="T7"/>
                    </a:cxn>
                    <a:cxn ang="0">
                      <a:pos x="T8" y="T9"/>
                    </a:cxn>
                  </a:cxnLst>
                  <a:rect l="0" t="0" r="r" b="b"/>
                  <a:pathLst>
                    <a:path w="13" h="9">
                      <a:moveTo>
                        <a:pt x="9" y="0"/>
                      </a:moveTo>
                      <a:cubicBezTo>
                        <a:pt x="8" y="0"/>
                        <a:pt x="6" y="0"/>
                        <a:pt x="5" y="1"/>
                      </a:cubicBezTo>
                      <a:cubicBezTo>
                        <a:pt x="0" y="3"/>
                        <a:pt x="2" y="5"/>
                        <a:pt x="5" y="9"/>
                      </a:cubicBezTo>
                      <a:cubicBezTo>
                        <a:pt x="7" y="7"/>
                        <a:pt x="13" y="3"/>
                        <a:pt x="12" y="1"/>
                      </a:cubicBezTo>
                      <a:cubicBezTo>
                        <a:pt x="12" y="0"/>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78"/>
                <p:cNvSpPr/>
                <p:nvPr/>
              </p:nvSpPr>
              <p:spPr bwMode="auto">
                <a:xfrm>
                  <a:off x="4569544" y="5114941"/>
                  <a:ext cx="103183" cy="70017"/>
                </a:xfrm>
                <a:custGeom>
                  <a:gdLst>
                    <a:gd name="T0" fmla="*/ 23 w 33"/>
                    <a:gd name="T1" fmla="*/ 0 h 22"/>
                    <a:gd name="T2" fmla="*/ 0 w 33"/>
                    <a:gd name="T3" fmla="*/ 12 h 22"/>
                    <a:gd name="T4" fmla="*/ 5 w 33"/>
                    <a:gd name="T5" fmla="*/ 15 h 22"/>
                    <a:gd name="T6" fmla="*/ 6 w 33"/>
                    <a:gd name="T7" fmla="*/ 14 h 22"/>
                    <a:gd name="T8" fmla="*/ 8 w 33"/>
                    <a:gd name="T9" fmla="*/ 14 h 22"/>
                    <a:gd name="T10" fmla="*/ 10 w 33"/>
                    <a:gd name="T11" fmla="*/ 15 h 22"/>
                    <a:gd name="T12" fmla="*/ 12 w 33"/>
                    <a:gd name="T13" fmla="*/ 20 h 22"/>
                    <a:gd name="T14" fmla="*/ 19 w 33"/>
                    <a:gd name="T15" fmla="*/ 22 h 22"/>
                    <a:gd name="T16" fmla="*/ 20 w 33"/>
                    <a:gd name="T17" fmla="*/ 22 h 22"/>
                    <a:gd name="T18" fmla="*/ 27 w 33"/>
                    <a:gd name="T19" fmla="*/ 18 h 22"/>
                    <a:gd name="T20" fmla="*/ 32 w 33"/>
                    <a:gd name="T21" fmla="*/ 8 h 22"/>
                    <a:gd name="T22" fmla="*/ 24 w 33"/>
                    <a:gd name="T23" fmla="*/ 2 h 22"/>
                    <a:gd name="T24" fmla="*/ 22 w 33"/>
                    <a:gd name="T25" fmla="*/ 3 h 22"/>
                    <a:gd name="T26" fmla="*/ 25 w 33"/>
                    <a:gd name="T27" fmla="*/ 0 h 22"/>
                    <a:gd name="T28" fmla="*/ 23 w 33"/>
                    <a:gd name="T29"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22">
                      <a:moveTo>
                        <a:pt x="23" y="0"/>
                      </a:moveTo>
                      <a:cubicBezTo>
                        <a:pt x="15" y="0"/>
                        <a:pt x="7" y="8"/>
                        <a:pt x="0" y="12"/>
                      </a:cubicBezTo>
                      <a:cubicBezTo>
                        <a:pt x="2" y="13"/>
                        <a:pt x="3" y="15"/>
                        <a:pt x="5" y="15"/>
                      </a:cubicBezTo>
                      <a:cubicBezTo>
                        <a:pt x="5" y="15"/>
                        <a:pt x="6" y="14"/>
                        <a:pt x="6" y="14"/>
                      </a:cubicBezTo>
                      <a:cubicBezTo>
                        <a:pt x="7" y="14"/>
                        <a:pt x="8" y="14"/>
                        <a:pt x="8" y="14"/>
                      </a:cubicBezTo>
                      <a:cubicBezTo>
                        <a:pt x="9" y="14"/>
                        <a:pt x="9" y="14"/>
                        <a:pt x="10" y="15"/>
                      </a:cubicBezTo>
                      <a:cubicBezTo>
                        <a:pt x="11" y="16"/>
                        <a:pt x="11" y="18"/>
                        <a:pt x="12" y="20"/>
                      </a:cubicBezTo>
                      <a:cubicBezTo>
                        <a:pt x="13" y="21"/>
                        <a:pt x="18" y="22"/>
                        <a:pt x="19" y="22"/>
                      </a:cubicBezTo>
                      <a:cubicBezTo>
                        <a:pt x="19" y="22"/>
                        <a:pt x="19" y="22"/>
                        <a:pt x="20" y="22"/>
                      </a:cubicBezTo>
                      <a:cubicBezTo>
                        <a:pt x="22" y="22"/>
                        <a:pt x="24" y="20"/>
                        <a:pt x="27" y="18"/>
                      </a:cubicBezTo>
                      <a:cubicBezTo>
                        <a:pt x="27" y="15"/>
                        <a:pt x="33" y="10"/>
                        <a:pt x="32" y="8"/>
                      </a:cubicBezTo>
                      <a:cubicBezTo>
                        <a:pt x="31" y="5"/>
                        <a:pt x="17" y="9"/>
                        <a:pt x="24" y="2"/>
                      </a:cubicBezTo>
                      <a:cubicBezTo>
                        <a:pt x="23" y="3"/>
                        <a:pt x="22" y="3"/>
                        <a:pt x="22" y="3"/>
                      </a:cubicBezTo>
                      <a:cubicBezTo>
                        <a:pt x="21" y="3"/>
                        <a:pt x="23" y="1"/>
                        <a:pt x="25" y="0"/>
                      </a:cubicBezTo>
                      <a:cubicBezTo>
                        <a:pt x="24" y="0"/>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79"/>
                <p:cNvSpPr/>
                <p:nvPr/>
              </p:nvSpPr>
              <p:spPr bwMode="auto">
                <a:xfrm>
                  <a:off x="2878076" y="5826168"/>
                  <a:ext cx="7370" cy="7370"/>
                </a:xfrm>
                <a:custGeom>
                  <a:gdLst>
                    <a:gd name="T0" fmla="*/ 2 w 2"/>
                    <a:gd name="T1" fmla="*/ 0 h 2"/>
                    <a:gd name="T2" fmla="*/ 0 w 2"/>
                    <a:gd name="T3" fmla="*/ 2 h 2"/>
                    <a:gd name="T4" fmla="*/ 2 w 2"/>
                    <a:gd name="T5" fmla="*/ 0 h 2"/>
                    <a:gd name="T6" fmla="*/ 2 w 2"/>
                    <a:gd name="T7" fmla="*/ 0 h 2"/>
                  </a:gdLst>
                  <a:cxnLst>
                    <a:cxn ang="0">
                      <a:pos x="T0" y="T1"/>
                    </a:cxn>
                    <a:cxn ang="0">
                      <a:pos x="T2" y="T3"/>
                    </a:cxn>
                    <a:cxn ang="0">
                      <a:pos x="T4" y="T5"/>
                    </a:cxn>
                    <a:cxn ang="0">
                      <a:pos x="T6" y="T7"/>
                    </a:cxn>
                  </a:cxnLst>
                  <a:rect l="0" t="0" r="r" b="b"/>
                  <a:pathLst>
                    <a:path w="2" h="2">
                      <a:moveTo>
                        <a:pt x="2" y="0"/>
                      </a:moveTo>
                      <a:cubicBezTo>
                        <a:pt x="1" y="0"/>
                        <a:pt x="1" y="1"/>
                        <a:pt x="0" y="2"/>
                      </a:cubicBezTo>
                      <a:cubicBezTo>
                        <a:pt x="1" y="1"/>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80"/>
                <p:cNvSpPr/>
                <p:nvPr/>
              </p:nvSpPr>
              <p:spPr bwMode="auto">
                <a:xfrm>
                  <a:off x="6194680" y="1230829"/>
                  <a:ext cx="44221" cy="25796"/>
                </a:xfrm>
                <a:custGeom>
                  <a:gdLst>
                    <a:gd name="T0" fmla="*/ 10 w 13"/>
                    <a:gd name="T1" fmla="*/ 0 h 8"/>
                    <a:gd name="T2" fmla="*/ 0 w 13"/>
                    <a:gd name="T3" fmla="*/ 3 h 8"/>
                    <a:gd name="T4" fmla="*/ 3 w 13"/>
                    <a:gd name="T5" fmla="*/ 8 h 8"/>
                    <a:gd name="T6" fmla="*/ 5 w 13"/>
                    <a:gd name="T7" fmla="*/ 6 h 8"/>
                    <a:gd name="T8" fmla="*/ 7 w 13"/>
                    <a:gd name="T9" fmla="*/ 8 h 8"/>
                    <a:gd name="T10" fmla="*/ 9 w 13"/>
                    <a:gd name="T11" fmla="*/ 8 h 8"/>
                    <a:gd name="T12" fmla="*/ 10 w 13"/>
                    <a:gd name="T13" fmla="*/ 8 h 8"/>
                    <a:gd name="T14" fmla="*/ 12 w 13"/>
                    <a:gd name="T15" fmla="*/ 0 h 8"/>
                    <a:gd name="T16" fmla="*/ 10 w 13"/>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8">
                      <a:moveTo>
                        <a:pt x="10" y="0"/>
                      </a:moveTo>
                      <a:cubicBezTo>
                        <a:pt x="7" y="0"/>
                        <a:pt x="3" y="2"/>
                        <a:pt x="0" y="3"/>
                      </a:cubicBezTo>
                      <a:cubicBezTo>
                        <a:pt x="1" y="5"/>
                        <a:pt x="2" y="8"/>
                        <a:pt x="3" y="8"/>
                      </a:cubicBezTo>
                      <a:cubicBezTo>
                        <a:pt x="4" y="8"/>
                        <a:pt x="5" y="7"/>
                        <a:pt x="5" y="6"/>
                      </a:cubicBezTo>
                      <a:cubicBezTo>
                        <a:pt x="5" y="7"/>
                        <a:pt x="6" y="8"/>
                        <a:pt x="7" y="8"/>
                      </a:cubicBezTo>
                      <a:cubicBezTo>
                        <a:pt x="6" y="8"/>
                        <a:pt x="9" y="8"/>
                        <a:pt x="9" y="8"/>
                      </a:cubicBezTo>
                      <a:cubicBezTo>
                        <a:pt x="10" y="8"/>
                        <a:pt x="10" y="8"/>
                        <a:pt x="10" y="8"/>
                      </a:cubicBezTo>
                      <a:cubicBezTo>
                        <a:pt x="13" y="6"/>
                        <a:pt x="12" y="4"/>
                        <a:pt x="12" y="0"/>
                      </a:cubicBezTo>
                      <a:cubicBezTo>
                        <a:pt x="12"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81"/>
                <p:cNvSpPr/>
                <p:nvPr/>
              </p:nvSpPr>
              <p:spPr bwMode="auto">
                <a:xfrm>
                  <a:off x="6419472" y="1160812"/>
                  <a:ext cx="73702" cy="55277"/>
                </a:xfrm>
                <a:custGeom>
                  <a:gdLst>
                    <a:gd name="T0" fmla="*/ 18 w 24"/>
                    <a:gd name="T1" fmla="*/ 0 h 17"/>
                    <a:gd name="T2" fmla="*/ 19 w 24"/>
                    <a:gd name="T3" fmla="*/ 4 h 17"/>
                    <a:gd name="T4" fmla="*/ 0 w 24"/>
                    <a:gd name="T5" fmla="*/ 11 h 17"/>
                    <a:gd name="T6" fmla="*/ 9 w 24"/>
                    <a:gd name="T7" fmla="*/ 17 h 17"/>
                    <a:gd name="T8" fmla="*/ 12 w 24"/>
                    <a:gd name="T9" fmla="*/ 16 h 17"/>
                    <a:gd name="T10" fmla="*/ 22 w 24"/>
                    <a:gd name="T11" fmla="*/ 5 h 17"/>
                    <a:gd name="T12" fmla="*/ 19 w 24"/>
                    <a:gd name="T13" fmla="*/ 0 h 17"/>
                    <a:gd name="T14" fmla="*/ 18 w 24"/>
                    <a:gd name="T15" fmla="*/ 0 h 1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7">
                      <a:moveTo>
                        <a:pt x="18" y="0"/>
                      </a:moveTo>
                      <a:cubicBezTo>
                        <a:pt x="15" y="0"/>
                        <a:pt x="17" y="3"/>
                        <a:pt x="19" y="4"/>
                      </a:cubicBezTo>
                      <a:cubicBezTo>
                        <a:pt x="14" y="8"/>
                        <a:pt x="6" y="9"/>
                        <a:pt x="0" y="11"/>
                      </a:cubicBezTo>
                      <a:cubicBezTo>
                        <a:pt x="3" y="14"/>
                        <a:pt x="5" y="17"/>
                        <a:pt x="9" y="17"/>
                      </a:cubicBezTo>
                      <a:cubicBezTo>
                        <a:pt x="10" y="17"/>
                        <a:pt x="11" y="17"/>
                        <a:pt x="12" y="16"/>
                      </a:cubicBezTo>
                      <a:cubicBezTo>
                        <a:pt x="15" y="14"/>
                        <a:pt x="24" y="9"/>
                        <a:pt x="22" y="5"/>
                      </a:cubicBezTo>
                      <a:cubicBezTo>
                        <a:pt x="21" y="2"/>
                        <a:pt x="22" y="1"/>
                        <a:pt x="19" y="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82"/>
                <p:cNvSpPr/>
                <p:nvPr/>
              </p:nvSpPr>
              <p:spPr bwMode="auto">
                <a:xfrm>
                  <a:off x="4853298" y="2417437"/>
                  <a:ext cx="33166" cy="18426"/>
                </a:xfrm>
                <a:custGeom>
                  <a:gdLst>
                    <a:gd name="T0" fmla="*/ 10 w 10"/>
                    <a:gd name="T1" fmla="*/ 0 h 5"/>
                    <a:gd name="T2" fmla="*/ 4 w 10"/>
                    <a:gd name="T3" fmla="*/ 5 h 5"/>
                    <a:gd name="T4" fmla="*/ 5 w 10"/>
                    <a:gd name="T5" fmla="*/ 5 h 5"/>
                    <a:gd name="T6" fmla="*/ 10 w 10"/>
                    <a:gd name="T7" fmla="*/ 0 h 5"/>
                  </a:gdLst>
                  <a:cxnLst>
                    <a:cxn ang="0">
                      <a:pos x="T0" y="T1"/>
                    </a:cxn>
                    <a:cxn ang="0">
                      <a:pos x="T2" y="T3"/>
                    </a:cxn>
                    <a:cxn ang="0">
                      <a:pos x="T4" y="T5"/>
                    </a:cxn>
                    <a:cxn ang="0">
                      <a:pos x="T6" y="T7"/>
                    </a:cxn>
                  </a:cxnLst>
                  <a:rect l="0" t="0" r="r" b="b"/>
                  <a:pathLst>
                    <a:path w="10" h="5">
                      <a:moveTo>
                        <a:pt x="10" y="0"/>
                      </a:moveTo>
                      <a:cubicBezTo>
                        <a:pt x="9" y="1"/>
                        <a:pt x="0" y="3"/>
                        <a:pt x="4" y="5"/>
                      </a:cubicBezTo>
                      <a:cubicBezTo>
                        <a:pt x="4" y="5"/>
                        <a:pt x="4" y="5"/>
                        <a:pt x="5" y="5"/>
                      </a:cubicBezTo>
                      <a:cubicBezTo>
                        <a:pt x="7" y="5"/>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83"/>
                <p:cNvSpPr/>
                <p:nvPr/>
              </p:nvSpPr>
              <p:spPr bwMode="auto">
                <a:xfrm>
                  <a:off x="4820132" y="2815429"/>
                  <a:ext cx="22111" cy="33166"/>
                </a:xfrm>
                <a:custGeom>
                  <a:gdLst>
                    <a:gd name="T0" fmla="*/ 3 w 7"/>
                    <a:gd name="T1" fmla="*/ 0 h 10"/>
                    <a:gd name="T2" fmla="*/ 1 w 7"/>
                    <a:gd name="T3" fmla="*/ 9 h 10"/>
                    <a:gd name="T4" fmla="*/ 3 w 7"/>
                    <a:gd name="T5" fmla="*/ 10 h 10"/>
                    <a:gd name="T6" fmla="*/ 5 w 7"/>
                    <a:gd name="T7" fmla="*/ 9 h 10"/>
                    <a:gd name="T8" fmla="*/ 3 w 7"/>
                    <a:gd name="T9" fmla="*/ 0 h 10"/>
                  </a:gdLst>
                  <a:cxnLst>
                    <a:cxn ang="0">
                      <a:pos x="T0" y="T1"/>
                    </a:cxn>
                    <a:cxn ang="0">
                      <a:pos x="T2" y="T3"/>
                    </a:cxn>
                    <a:cxn ang="0">
                      <a:pos x="T4" y="T5"/>
                    </a:cxn>
                    <a:cxn ang="0">
                      <a:pos x="T6" y="T7"/>
                    </a:cxn>
                    <a:cxn ang="0">
                      <a:pos x="T8" y="T9"/>
                    </a:cxn>
                  </a:cxnLst>
                  <a:rect l="0" t="0" r="r" b="b"/>
                  <a:pathLst>
                    <a:path w="7" h="10">
                      <a:moveTo>
                        <a:pt x="3" y="0"/>
                      </a:moveTo>
                      <a:cubicBezTo>
                        <a:pt x="2" y="2"/>
                        <a:pt x="0" y="7"/>
                        <a:pt x="1" y="9"/>
                      </a:cubicBezTo>
                      <a:cubicBezTo>
                        <a:pt x="2" y="10"/>
                        <a:pt x="2" y="10"/>
                        <a:pt x="3" y="10"/>
                      </a:cubicBezTo>
                      <a:cubicBezTo>
                        <a:pt x="4" y="10"/>
                        <a:pt x="4" y="10"/>
                        <a:pt x="5" y="9"/>
                      </a:cubicBezTo>
                      <a:cubicBezTo>
                        <a:pt x="7" y="6"/>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84"/>
                <p:cNvSpPr/>
                <p:nvPr/>
              </p:nvSpPr>
              <p:spPr bwMode="auto">
                <a:xfrm>
                  <a:off x="6043590" y="1249255"/>
                  <a:ext cx="92128" cy="44221"/>
                </a:xfrm>
                <a:custGeom>
                  <a:gdLst>
                    <a:gd name="T0" fmla="*/ 14 w 29"/>
                    <a:gd name="T1" fmla="*/ 0 h 14"/>
                    <a:gd name="T2" fmla="*/ 12 w 29"/>
                    <a:gd name="T3" fmla="*/ 2 h 14"/>
                    <a:gd name="T4" fmla="*/ 10 w 29"/>
                    <a:gd name="T5" fmla="*/ 2 h 14"/>
                    <a:gd name="T6" fmla="*/ 4 w 29"/>
                    <a:gd name="T7" fmla="*/ 5 h 14"/>
                    <a:gd name="T8" fmla="*/ 7 w 29"/>
                    <a:gd name="T9" fmla="*/ 11 h 14"/>
                    <a:gd name="T10" fmla="*/ 15 w 29"/>
                    <a:gd name="T11" fmla="*/ 14 h 14"/>
                    <a:gd name="T12" fmla="*/ 18 w 29"/>
                    <a:gd name="T13" fmla="*/ 13 h 14"/>
                    <a:gd name="T14" fmla="*/ 27 w 29"/>
                    <a:gd name="T15" fmla="*/ 6 h 14"/>
                    <a:gd name="T16" fmla="*/ 26 w 29"/>
                    <a:gd name="T17" fmla="*/ 2 h 14"/>
                    <a:gd name="T18" fmla="*/ 14 w 29"/>
                    <a:gd name="T1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4">
                      <a:moveTo>
                        <a:pt x="14" y="0"/>
                      </a:moveTo>
                      <a:cubicBezTo>
                        <a:pt x="12" y="0"/>
                        <a:pt x="10" y="0"/>
                        <a:pt x="12" y="2"/>
                      </a:cubicBezTo>
                      <a:cubicBezTo>
                        <a:pt x="11" y="2"/>
                        <a:pt x="11" y="2"/>
                        <a:pt x="10" y="2"/>
                      </a:cubicBezTo>
                      <a:cubicBezTo>
                        <a:pt x="8" y="2"/>
                        <a:pt x="6" y="4"/>
                        <a:pt x="4" y="5"/>
                      </a:cubicBezTo>
                      <a:cubicBezTo>
                        <a:pt x="0" y="8"/>
                        <a:pt x="4" y="10"/>
                        <a:pt x="7" y="11"/>
                      </a:cubicBezTo>
                      <a:cubicBezTo>
                        <a:pt x="10" y="13"/>
                        <a:pt x="12" y="14"/>
                        <a:pt x="15" y="14"/>
                      </a:cubicBezTo>
                      <a:cubicBezTo>
                        <a:pt x="16" y="14"/>
                        <a:pt x="17" y="14"/>
                        <a:pt x="18" y="13"/>
                      </a:cubicBezTo>
                      <a:cubicBezTo>
                        <a:pt x="22" y="13"/>
                        <a:pt x="25" y="9"/>
                        <a:pt x="27" y="6"/>
                      </a:cubicBezTo>
                      <a:cubicBezTo>
                        <a:pt x="29" y="4"/>
                        <a:pt x="28" y="4"/>
                        <a:pt x="26" y="2"/>
                      </a:cubicBezTo>
                      <a:cubicBezTo>
                        <a:pt x="24" y="1"/>
                        <a:pt x="18"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85"/>
                <p:cNvSpPr/>
                <p:nvPr/>
              </p:nvSpPr>
              <p:spPr bwMode="auto">
                <a:xfrm>
                  <a:off x="5652968" y="1422455"/>
                  <a:ext cx="95813" cy="66332"/>
                </a:xfrm>
                <a:custGeom>
                  <a:gdLst>
                    <a:gd name="T0" fmla="*/ 20 w 30"/>
                    <a:gd name="T1" fmla="*/ 0 h 21"/>
                    <a:gd name="T2" fmla="*/ 19 w 30"/>
                    <a:gd name="T3" fmla="*/ 2 h 21"/>
                    <a:gd name="T4" fmla="*/ 20 w 30"/>
                    <a:gd name="T5" fmla="*/ 5 h 21"/>
                    <a:gd name="T6" fmla="*/ 12 w 30"/>
                    <a:gd name="T7" fmla="*/ 12 h 21"/>
                    <a:gd name="T8" fmla="*/ 2 w 30"/>
                    <a:gd name="T9" fmla="*/ 19 h 21"/>
                    <a:gd name="T10" fmla="*/ 4 w 30"/>
                    <a:gd name="T11" fmla="*/ 20 h 21"/>
                    <a:gd name="T12" fmla="*/ 6 w 30"/>
                    <a:gd name="T13" fmla="*/ 20 h 21"/>
                    <a:gd name="T14" fmla="*/ 9 w 30"/>
                    <a:gd name="T15" fmla="*/ 17 h 21"/>
                    <a:gd name="T16" fmla="*/ 13 w 30"/>
                    <a:gd name="T17" fmla="*/ 16 h 21"/>
                    <a:gd name="T18" fmla="*/ 19 w 30"/>
                    <a:gd name="T19" fmla="*/ 17 h 21"/>
                    <a:gd name="T20" fmla="*/ 18 w 30"/>
                    <a:gd name="T21" fmla="*/ 21 h 21"/>
                    <a:gd name="T22" fmla="*/ 18 w 30"/>
                    <a:gd name="T23" fmla="*/ 21 h 21"/>
                    <a:gd name="T24" fmla="*/ 27 w 30"/>
                    <a:gd name="T25" fmla="*/ 18 h 21"/>
                    <a:gd name="T26" fmla="*/ 29 w 30"/>
                    <a:gd name="T27" fmla="*/ 13 h 21"/>
                    <a:gd name="T28" fmla="*/ 29 w 30"/>
                    <a:gd name="T29" fmla="*/ 9 h 21"/>
                    <a:gd name="T30" fmla="*/ 28 w 30"/>
                    <a:gd name="T31" fmla="*/ 8 h 21"/>
                    <a:gd name="T32" fmla="*/ 27 w 30"/>
                    <a:gd name="T33" fmla="*/ 9 h 21"/>
                    <a:gd name="T34" fmla="*/ 26 w 30"/>
                    <a:gd name="T35" fmla="*/ 9 h 21"/>
                    <a:gd name="T36" fmla="*/ 26 w 30"/>
                    <a:gd name="T37" fmla="*/ 9 h 21"/>
                    <a:gd name="T38" fmla="*/ 20 w 30"/>
                    <a:gd name="T39"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21">
                      <a:moveTo>
                        <a:pt x="20" y="0"/>
                      </a:moveTo>
                      <a:cubicBezTo>
                        <a:pt x="20" y="0"/>
                        <a:pt x="19" y="1"/>
                        <a:pt x="19" y="2"/>
                      </a:cubicBezTo>
                      <a:cubicBezTo>
                        <a:pt x="19" y="4"/>
                        <a:pt x="21" y="4"/>
                        <a:pt x="20" y="5"/>
                      </a:cubicBezTo>
                      <a:cubicBezTo>
                        <a:pt x="17" y="7"/>
                        <a:pt x="14" y="10"/>
                        <a:pt x="12" y="12"/>
                      </a:cubicBezTo>
                      <a:cubicBezTo>
                        <a:pt x="9" y="13"/>
                        <a:pt x="0" y="15"/>
                        <a:pt x="2" y="19"/>
                      </a:cubicBezTo>
                      <a:cubicBezTo>
                        <a:pt x="3" y="20"/>
                        <a:pt x="3" y="20"/>
                        <a:pt x="4" y="20"/>
                      </a:cubicBezTo>
                      <a:cubicBezTo>
                        <a:pt x="5" y="20"/>
                        <a:pt x="6" y="20"/>
                        <a:pt x="6" y="20"/>
                      </a:cubicBezTo>
                      <a:cubicBezTo>
                        <a:pt x="8" y="19"/>
                        <a:pt x="8" y="18"/>
                        <a:pt x="9" y="17"/>
                      </a:cubicBezTo>
                      <a:cubicBezTo>
                        <a:pt x="11" y="16"/>
                        <a:pt x="12" y="16"/>
                        <a:pt x="13" y="16"/>
                      </a:cubicBezTo>
                      <a:cubicBezTo>
                        <a:pt x="15" y="16"/>
                        <a:pt x="17" y="16"/>
                        <a:pt x="19" y="17"/>
                      </a:cubicBezTo>
                      <a:cubicBezTo>
                        <a:pt x="17" y="18"/>
                        <a:pt x="13" y="21"/>
                        <a:pt x="18" y="21"/>
                      </a:cubicBezTo>
                      <a:cubicBezTo>
                        <a:pt x="18" y="21"/>
                        <a:pt x="18" y="21"/>
                        <a:pt x="18" y="21"/>
                      </a:cubicBezTo>
                      <a:cubicBezTo>
                        <a:pt x="21" y="21"/>
                        <a:pt x="24" y="19"/>
                        <a:pt x="27" y="18"/>
                      </a:cubicBezTo>
                      <a:cubicBezTo>
                        <a:pt x="29" y="16"/>
                        <a:pt x="30" y="16"/>
                        <a:pt x="29" y="13"/>
                      </a:cubicBezTo>
                      <a:cubicBezTo>
                        <a:pt x="29" y="12"/>
                        <a:pt x="30" y="10"/>
                        <a:pt x="29" y="9"/>
                      </a:cubicBezTo>
                      <a:cubicBezTo>
                        <a:pt x="29" y="8"/>
                        <a:pt x="29" y="8"/>
                        <a:pt x="28" y="8"/>
                      </a:cubicBezTo>
                      <a:cubicBezTo>
                        <a:pt x="28" y="8"/>
                        <a:pt x="28" y="9"/>
                        <a:pt x="27" y="9"/>
                      </a:cubicBezTo>
                      <a:cubicBezTo>
                        <a:pt x="27" y="9"/>
                        <a:pt x="27" y="9"/>
                        <a:pt x="26" y="9"/>
                      </a:cubicBezTo>
                      <a:cubicBezTo>
                        <a:pt x="26" y="9"/>
                        <a:pt x="26" y="9"/>
                        <a:pt x="26" y="9"/>
                      </a:cubicBezTo>
                      <a:cubicBezTo>
                        <a:pt x="25" y="7"/>
                        <a:pt x="23"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86"/>
                <p:cNvSpPr/>
                <p:nvPr/>
              </p:nvSpPr>
              <p:spPr bwMode="auto">
                <a:xfrm>
                  <a:off x="5074405" y="2295828"/>
                  <a:ext cx="22111" cy="3685"/>
                </a:xfrm>
                <a:custGeom>
                  <a:gdLst>
                    <a:gd name="T0" fmla="*/ 2 w 7"/>
                    <a:gd name="T1" fmla="*/ 0 h 1"/>
                    <a:gd name="T2" fmla="*/ 0 w 7"/>
                    <a:gd name="T3" fmla="*/ 0 h 1"/>
                    <a:gd name="T4" fmla="*/ 4 w 7"/>
                    <a:gd name="T5" fmla="*/ 1 h 1"/>
                    <a:gd name="T6" fmla="*/ 4 w 7"/>
                    <a:gd name="T7" fmla="*/ 1 h 1"/>
                    <a:gd name="T8" fmla="*/ 7 w 7"/>
                    <a:gd name="T9" fmla="*/ 1 h 1"/>
                    <a:gd name="T10" fmla="*/ 2 w 7"/>
                    <a:gd name="T11" fmla="*/ 0 h 1"/>
                  </a:gdLst>
                  <a:cxnLst>
                    <a:cxn ang="0">
                      <a:pos x="T0" y="T1"/>
                    </a:cxn>
                    <a:cxn ang="0">
                      <a:pos x="T2" y="T3"/>
                    </a:cxn>
                    <a:cxn ang="0">
                      <a:pos x="T4" y="T5"/>
                    </a:cxn>
                    <a:cxn ang="0">
                      <a:pos x="T6" y="T7"/>
                    </a:cxn>
                    <a:cxn ang="0">
                      <a:pos x="T8" y="T9"/>
                    </a:cxn>
                    <a:cxn ang="0">
                      <a:pos x="T10" y="T11"/>
                    </a:cxn>
                  </a:cxnLst>
                  <a:rect l="0" t="0" r="r" b="b"/>
                  <a:pathLst>
                    <a:path w="7" h="1">
                      <a:moveTo>
                        <a:pt x="2" y="0"/>
                      </a:moveTo>
                      <a:cubicBezTo>
                        <a:pt x="1" y="0"/>
                        <a:pt x="1" y="0"/>
                        <a:pt x="0" y="0"/>
                      </a:cubicBezTo>
                      <a:cubicBezTo>
                        <a:pt x="1" y="0"/>
                        <a:pt x="3" y="1"/>
                        <a:pt x="4" y="1"/>
                      </a:cubicBezTo>
                      <a:cubicBezTo>
                        <a:pt x="4" y="1"/>
                        <a:pt x="4" y="1"/>
                        <a:pt x="4" y="1"/>
                      </a:cubicBezTo>
                      <a:cubicBezTo>
                        <a:pt x="5" y="1"/>
                        <a:pt x="6" y="1"/>
                        <a:pt x="7" y="1"/>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87"/>
                <p:cNvSpPr/>
                <p:nvPr/>
              </p:nvSpPr>
              <p:spPr bwMode="auto">
                <a:xfrm>
                  <a:off x="5756151" y="1381919"/>
                  <a:ext cx="62647" cy="62647"/>
                </a:xfrm>
                <a:custGeom>
                  <a:gdLst>
                    <a:gd name="T0" fmla="*/ 20 w 20"/>
                    <a:gd name="T1" fmla="*/ 0 h 19"/>
                    <a:gd name="T2" fmla="*/ 0 w 20"/>
                    <a:gd name="T3" fmla="*/ 18 h 19"/>
                    <a:gd name="T4" fmla="*/ 0 w 20"/>
                    <a:gd name="T5" fmla="*/ 19 h 19"/>
                    <a:gd name="T6" fmla="*/ 2 w 20"/>
                    <a:gd name="T7" fmla="*/ 15 h 19"/>
                    <a:gd name="T8" fmla="*/ 3 w 20"/>
                    <a:gd name="T9" fmla="*/ 13 h 19"/>
                    <a:gd name="T10" fmla="*/ 4 w 20"/>
                    <a:gd name="T11" fmla="*/ 13 h 19"/>
                    <a:gd name="T12" fmla="*/ 5 w 20"/>
                    <a:gd name="T13" fmla="*/ 14 h 19"/>
                    <a:gd name="T14" fmla="*/ 5 w 20"/>
                    <a:gd name="T15" fmla="*/ 14 h 19"/>
                    <a:gd name="T16" fmla="*/ 13 w 20"/>
                    <a:gd name="T17" fmla="*/ 9 h 19"/>
                    <a:gd name="T18" fmla="*/ 17 w 20"/>
                    <a:gd name="T19" fmla="*/ 6 h 19"/>
                    <a:gd name="T20" fmla="*/ 20 w 20"/>
                    <a:gd name="T21"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9">
                      <a:moveTo>
                        <a:pt x="20" y="0"/>
                      </a:moveTo>
                      <a:cubicBezTo>
                        <a:pt x="11" y="4"/>
                        <a:pt x="0" y="6"/>
                        <a:pt x="0" y="18"/>
                      </a:cubicBezTo>
                      <a:cubicBezTo>
                        <a:pt x="0" y="18"/>
                        <a:pt x="0" y="19"/>
                        <a:pt x="0" y="19"/>
                      </a:cubicBezTo>
                      <a:cubicBezTo>
                        <a:pt x="1" y="19"/>
                        <a:pt x="3" y="17"/>
                        <a:pt x="2" y="15"/>
                      </a:cubicBezTo>
                      <a:cubicBezTo>
                        <a:pt x="2" y="13"/>
                        <a:pt x="2" y="13"/>
                        <a:pt x="3" y="13"/>
                      </a:cubicBezTo>
                      <a:cubicBezTo>
                        <a:pt x="3" y="13"/>
                        <a:pt x="3" y="13"/>
                        <a:pt x="4" y="13"/>
                      </a:cubicBezTo>
                      <a:cubicBezTo>
                        <a:pt x="4" y="14"/>
                        <a:pt x="5" y="14"/>
                        <a:pt x="5" y="14"/>
                      </a:cubicBezTo>
                      <a:cubicBezTo>
                        <a:pt x="5" y="14"/>
                        <a:pt x="5" y="14"/>
                        <a:pt x="5" y="14"/>
                      </a:cubicBezTo>
                      <a:cubicBezTo>
                        <a:pt x="8" y="14"/>
                        <a:pt x="11" y="11"/>
                        <a:pt x="13" y="9"/>
                      </a:cubicBezTo>
                      <a:cubicBezTo>
                        <a:pt x="14" y="8"/>
                        <a:pt x="16" y="7"/>
                        <a:pt x="17" y="6"/>
                      </a:cubicBezTo>
                      <a:cubicBezTo>
                        <a:pt x="18" y="4"/>
                        <a:pt x="19" y="2"/>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88"/>
                <p:cNvSpPr/>
                <p:nvPr/>
              </p:nvSpPr>
              <p:spPr bwMode="auto">
                <a:xfrm>
                  <a:off x="5715615" y="1429826"/>
                  <a:ext cx="140034" cy="103183"/>
                </a:xfrm>
                <a:custGeom>
                  <a:gdLst>
                    <a:gd name="T0" fmla="*/ 24 w 44"/>
                    <a:gd name="T1" fmla="*/ 0 h 32"/>
                    <a:gd name="T2" fmla="*/ 18 w 44"/>
                    <a:gd name="T3" fmla="*/ 7 h 32"/>
                    <a:gd name="T4" fmla="*/ 15 w 44"/>
                    <a:gd name="T5" fmla="*/ 11 h 32"/>
                    <a:gd name="T6" fmla="*/ 19 w 44"/>
                    <a:gd name="T7" fmla="*/ 12 h 32"/>
                    <a:gd name="T8" fmla="*/ 13 w 44"/>
                    <a:gd name="T9" fmla="*/ 11 h 32"/>
                    <a:gd name="T10" fmla="*/ 12 w 44"/>
                    <a:gd name="T11" fmla="*/ 11 h 32"/>
                    <a:gd name="T12" fmla="*/ 13 w 44"/>
                    <a:gd name="T13" fmla="*/ 16 h 32"/>
                    <a:gd name="T14" fmla="*/ 8 w 44"/>
                    <a:gd name="T15" fmla="*/ 19 h 32"/>
                    <a:gd name="T16" fmla="*/ 8 w 44"/>
                    <a:gd name="T17" fmla="*/ 24 h 32"/>
                    <a:gd name="T18" fmla="*/ 0 w 44"/>
                    <a:gd name="T19" fmla="*/ 30 h 32"/>
                    <a:gd name="T20" fmla="*/ 3 w 44"/>
                    <a:gd name="T21" fmla="*/ 30 h 32"/>
                    <a:gd name="T22" fmla="*/ 15 w 44"/>
                    <a:gd name="T23" fmla="*/ 31 h 32"/>
                    <a:gd name="T24" fmla="*/ 16 w 44"/>
                    <a:gd name="T25" fmla="*/ 32 h 32"/>
                    <a:gd name="T26" fmla="*/ 18 w 44"/>
                    <a:gd name="T27" fmla="*/ 31 h 32"/>
                    <a:gd name="T28" fmla="*/ 23 w 44"/>
                    <a:gd name="T29" fmla="*/ 26 h 32"/>
                    <a:gd name="T30" fmla="*/ 30 w 44"/>
                    <a:gd name="T31" fmla="*/ 20 h 32"/>
                    <a:gd name="T32" fmla="*/ 41 w 44"/>
                    <a:gd name="T33" fmla="*/ 19 h 32"/>
                    <a:gd name="T34" fmla="*/ 44 w 44"/>
                    <a:gd name="T35" fmla="*/ 6 h 32"/>
                    <a:gd name="T36" fmla="*/ 43 w 44"/>
                    <a:gd name="T37" fmla="*/ 6 h 32"/>
                    <a:gd name="T38" fmla="*/ 40 w 44"/>
                    <a:gd name="T39" fmla="*/ 5 h 32"/>
                    <a:gd name="T40" fmla="*/ 36 w 44"/>
                    <a:gd name="T41" fmla="*/ 4 h 32"/>
                    <a:gd name="T42" fmla="*/ 33 w 44"/>
                    <a:gd name="T43" fmla="*/ 5 h 32"/>
                    <a:gd name="T44" fmla="*/ 32 w 44"/>
                    <a:gd name="T45" fmla="*/ 9 h 32"/>
                    <a:gd name="T46" fmla="*/ 29 w 44"/>
                    <a:gd name="T47" fmla="*/ 14 h 32"/>
                    <a:gd name="T48" fmla="*/ 19 w 44"/>
                    <a:gd name="T49" fmla="*/ 20 h 32"/>
                    <a:gd name="T50" fmla="*/ 22 w 44"/>
                    <a:gd name="T51" fmla="*/ 15 h 32"/>
                    <a:gd name="T52" fmla="*/ 25 w 44"/>
                    <a:gd name="T53" fmla="*/ 14 h 32"/>
                    <a:gd name="T54" fmla="*/ 21 w 44"/>
                    <a:gd name="T55" fmla="*/ 10 h 32"/>
                    <a:gd name="T56" fmla="*/ 24 w 44"/>
                    <a:gd name="T57"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32">
                      <a:moveTo>
                        <a:pt x="24" y="0"/>
                      </a:moveTo>
                      <a:cubicBezTo>
                        <a:pt x="17" y="0"/>
                        <a:pt x="17" y="0"/>
                        <a:pt x="18" y="7"/>
                      </a:cubicBezTo>
                      <a:cubicBezTo>
                        <a:pt x="15" y="7"/>
                        <a:pt x="11" y="7"/>
                        <a:pt x="15" y="11"/>
                      </a:cubicBezTo>
                      <a:cubicBezTo>
                        <a:pt x="15" y="11"/>
                        <a:pt x="17" y="11"/>
                        <a:pt x="19" y="12"/>
                      </a:cubicBezTo>
                      <a:cubicBezTo>
                        <a:pt x="18" y="12"/>
                        <a:pt x="14" y="11"/>
                        <a:pt x="13" y="11"/>
                      </a:cubicBezTo>
                      <a:cubicBezTo>
                        <a:pt x="12" y="11"/>
                        <a:pt x="12" y="11"/>
                        <a:pt x="12" y="11"/>
                      </a:cubicBezTo>
                      <a:cubicBezTo>
                        <a:pt x="11" y="13"/>
                        <a:pt x="15" y="15"/>
                        <a:pt x="13" y="16"/>
                      </a:cubicBezTo>
                      <a:cubicBezTo>
                        <a:pt x="12" y="17"/>
                        <a:pt x="8" y="18"/>
                        <a:pt x="8" y="19"/>
                      </a:cubicBezTo>
                      <a:cubicBezTo>
                        <a:pt x="8" y="21"/>
                        <a:pt x="8" y="23"/>
                        <a:pt x="8" y="24"/>
                      </a:cubicBezTo>
                      <a:cubicBezTo>
                        <a:pt x="7" y="26"/>
                        <a:pt x="2" y="29"/>
                        <a:pt x="0" y="30"/>
                      </a:cubicBezTo>
                      <a:cubicBezTo>
                        <a:pt x="1" y="30"/>
                        <a:pt x="2" y="30"/>
                        <a:pt x="3" y="30"/>
                      </a:cubicBezTo>
                      <a:cubicBezTo>
                        <a:pt x="7" y="30"/>
                        <a:pt x="10" y="31"/>
                        <a:pt x="15" y="31"/>
                      </a:cubicBezTo>
                      <a:cubicBezTo>
                        <a:pt x="16" y="31"/>
                        <a:pt x="16" y="32"/>
                        <a:pt x="16" y="32"/>
                      </a:cubicBezTo>
                      <a:cubicBezTo>
                        <a:pt x="17" y="32"/>
                        <a:pt x="17" y="31"/>
                        <a:pt x="18" y="31"/>
                      </a:cubicBezTo>
                      <a:cubicBezTo>
                        <a:pt x="20" y="30"/>
                        <a:pt x="22" y="28"/>
                        <a:pt x="23" y="26"/>
                      </a:cubicBezTo>
                      <a:cubicBezTo>
                        <a:pt x="25" y="25"/>
                        <a:pt x="28" y="20"/>
                        <a:pt x="30" y="20"/>
                      </a:cubicBezTo>
                      <a:cubicBezTo>
                        <a:pt x="33" y="20"/>
                        <a:pt x="37" y="20"/>
                        <a:pt x="41" y="19"/>
                      </a:cubicBezTo>
                      <a:cubicBezTo>
                        <a:pt x="43" y="19"/>
                        <a:pt x="44" y="9"/>
                        <a:pt x="44" y="6"/>
                      </a:cubicBezTo>
                      <a:cubicBezTo>
                        <a:pt x="44" y="6"/>
                        <a:pt x="44" y="6"/>
                        <a:pt x="43" y="6"/>
                      </a:cubicBezTo>
                      <a:cubicBezTo>
                        <a:pt x="42" y="6"/>
                        <a:pt x="41" y="5"/>
                        <a:pt x="40" y="5"/>
                      </a:cubicBezTo>
                      <a:cubicBezTo>
                        <a:pt x="38" y="4"/>
                        <a:pt x="37" y="4"/>
                        <a:pt x="36" y="4"/>
                      </a:cubicBezTo>
                      <a:cubicBezTo>
                        <a:pt x="35" y="4"/>
                        <a:pt x="34" y="4"/>
                        <a:pt x="33" y="5"/>
                      </a:cubicBezTo>
                      <a:cubicBezTo>
                        <a:pt x="31" y="7"/>
                        <a:pt x="30" y="7"/>
                        <a:pt x="32" y="9"/>
                      </a:cubicBezTo>
                      <a:cubicBezTo>
                        <a:pt x="33" y="11"/>
                        <a:pt x="30" y="13"/>
                        <a:pt x="29" y="14"/>
                      </a:cubicBezTo>
                      <a:cubicBezTo>
                        <a:pt x="26" y="17"/>
                        <a:pt x="23" y="19"/>
                        <a:pt x="19" y="20"/>
                      </a:cubicBezTo>
                      <a:cubicBezTo>
                        <a:pt x="21" y="19"/>
                        <a:pt x="21" y="17"/>
                        <a:pt x="22" y="15"/>
                      </a:cubicBezTo>
                      <a:cubicBezTo>
                        <a:pt x="22" y="15"/>
                        <a:pt x="25" y="15"/>
                        <a:pt x="25" y="14"/>
                      </a:cubicBezTo>
                      <a:cubicBezTo>
                        <a:pt x="25" y="12"/>
                        <a:pt x="22" y="11"/>
                        <a:pt x="21" y="10"/>
                      </a:cubicBezTo>
                      <a:cubicBezTo>
                        <a:pt x="25" y="7"/>
                        <a:pt x="25" y="4"/>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89"/>
                <p:cNvSpPr/>
                <p:nvPr/>
              </p:nvSpPr>
              <p:spPr bwMode="auto">
                <a:xfrm>
                  <a:off x="5984628" y="1282421"/>
                  <a:ext cx="95813" cy="51592"/>
                </a:xfrm>
                <a:custGeom>
                  <a:gdLst>
                    <a:gd name="T0" fmla="*/ 21 w 30"/>
                    <a:gd name="T1" fmla="*/ 0 h 17"/>
                    <a:gd name="T2" fmla="*/ 20 w 30"/>
                    <a:gd name="T3" fmla="*/ 1 h 17"/>
                    <a:gd name="T4" fmla="*/ 18 w 30"/>
                    <a:gd name="T5" fmla="*/ 9 h 17"/>
                    <a:gd name="T6" fmla="*/ 17 w 30"/>
                    <a:gd name="T7" fmla="*/ 5 h 17"/>
                    <a:gd name="T8" fmla="*/ 15 w 30"/>
                    <a:gd name="T9" fmla="*/ 5 h 17"/>
                    <a:gd name="T10" fmla="*/ 14 w 30"/>
                    <a:gd name="T11" fmla="*/ 7 h 17"/>
                    <a:gd name="T12" fmla="*/ 14 w 30"/>
                    <a:gd name="T13" fmla="*/ 7 h 17"/>
                    <a:gd name="T14" fmla="*/ 13 w 30"/>
                    <a:gd name="T15" fmla="*/ 6 h 17"/>
                    <a:gd name="T16" fmla="*/ 10 w 30"/>
                    <a:gd name="T17" fmla="*/ 5 h 17"/>
                    <a:gd name="T18" fmla="*/ 9 w 30"/>
                    <a:gd name="T19" fmla="*/ 5 h 17"/>
                    <a:gd name="T20" fmla="*/ 6 w 30"/>
                    <a:gd name="T21" fmla="*/ 9 h 17"/>
                    <a:gd name="T22" fmla="*/ 6 w 30"/>
                    <a:gd name="T23" fmla="*/ 9 h 17"/>
                    <a:gd name="T24" fmla="*/ 8 w 30"/>
                    <a:gd name="T25" fmla="*/ 15 h 17"/>
                    <a:gd name="T26" fmla="*/ 3 w 30"/>
                    <a:gd name="T27" fmla="*/ 13 h 17"/>
                    <a:gd name="T28" fmla="*/ 0 w 30"/>
                    <a:gd name="T29" fmla="*/ 16 h 17"/>
                    <a:gd name="T30" fmla="*/ 15 w 30"/>
                    <a:gd name="T31" fmla="*/ 16 h 17"/>
                    <a:gd name="T32" fmla="*/ 16 w 30"/>
                    <a:gd name="T33" fmla="*/ 16 h 17"/>
                    <a:gd name="T34" fmla="*/ 23 w 30"/>
                    <a:gd name="T35" fmla="*/ 11 h 17"/>
                    <a:gd name="T36" fmla="*/ 29 w 30"/>
                    <a:gd name="T37" fmla="*/ 6 h 17"/>
                    <a:gd name="T38" fmla="*/ 23 w 30"/>
                    <a:gd name="T39" fmla="*/ 2 h 17"/>
                    <a:gd name="T40" fmla="*/ 23 w 30"/>
                    <a:gd name="T41" fmla="*/ 2 h 17"/>
                    <a:gd name="T42" fmla="*/ 21 w 30"/>
                    <a:gd name="T4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17">
                      <a:moveTo>
                        <a:pt x="21" y="0"/>
                      </a:moveTo>
                      <a:cubicBezTo>
                        <a:pt x="21" y="0"/>
                        <a:pt x="20" y="0"/>
                        <a:pt x="20" y="1"/>
                      </a:cubicBezTo>
                      <a:cubicBezTo>
                        <a:pt x="18" y="2"/>
                        <a:pt x="19" y="7"/>
                        <a:pt x="18" y="9"/>
                      </a:cubicBezTo>
                      <a:cubicBezTo>
                        <a:pt x="18" y="7"/>
                        <a:pt x="19" y="5"/>
                        <a:pt x="17" y="5"/>
                      </a:cubicBezTo>
                      <a:cubicBezTo>
                        <a:pt x="16" y="5"/>
                        <a:pt x="16" y="5"/>
                        <a:pt x="15" y="5"/>
                      </a:cubicBezTo>
                      <a:cubicBezTo>
                        <a:pt x="15" y="5"/>
                        <a:pt x="15" y="7"/>
                        <a:pt x="14" y="7"/>
                      </a:cubicBezTo>
                      <a:cubicBezTo>
                        <a:pt x="14" y="7"/>
                        <a:pt x="14" y="7"/>
                        <a:pt x="14" y="7"/>
                      </a:cubicBezTo>
                      <a:cubicBezTo>
                        <a:pt x="13" y="7"/>
                        <a:pt x="14" y="6"/>
                        <a:pt x="13" y="6"/>
                      </a:cubicBezTo>
                      <a:cubicBezTo>
                        <a:pt x="12" y="6"/>
                        <a:pt x="11" y="5"/>
                        <a:pt x="10" y="5"/>
                      </a:cubicBezTo>
                      <a:cubicBezTo>
                        <a:pt x="10" y="5"/>
                        <a:pt x="10" y="5"/>
                        <a:pt x="9" y="5"/>
                      </a:cubicBezTo>
                      <a:cubicBezTo>
                        <a:pt x="8" y="6"/>
                        <a:pt x="9" y="9"/>
                        <a:pt x="6" y="9"/>
                      </a:cubicBezTo>
                      <a:cubicBezTo>
                        <a:pt x="6" y="9"/>
                        <a:pt x="6" y="9"/>
                        <a:pt x="6" y="9"/>
                      </a:cubicBezTo>
                      <a:cubicBezTo>
                        <a:pt x="6" y="11"/>
                        <a:pt x="8" y="13"/>
                        <a:pt x="8" y="15"/>
                      </a:cubicBezTo>
                      <a:cubicBezTo>
                        <a:pt x="7" y="14"/>
                        <a:pt x="5" y="13"/>
                        <a:pt x="3" y="13"/>
                      </a:cubicBezTo>
                      <a:cubicBezTo>
                        <a:pt x="2" y="13"/>
                        <a:pt x="1" y="14"/>
                        <a:pt x="0" y="16"/>
                      </a:cubicBezTo>
                      <a:cubicBezTo>
                        <a:pt x="5" y="17"/>
                        <a:pt x="10" y="16"/>
                        <a:pt x="15" y="16"/>
                      </a:cubicBezTo>
                      <a:cubicBezTo>
                        <a:pt x="15" y="16"/>
                        <a:pt x="16" y="16"/>
                        <a:pt x="16" y="16"/>
                      </a:cubicBezTo>
                      <a:cubicBezTo>
                        <a:pt x="21" y="16"/>
                        <a:pt x="22" y="16"/>
                        <a:pt x="23" y="11"/>
                      </a:cubicBezTo>
                      <a:cubicBezTo>
                        <a:pt x="25" y="10"/>
                        <a:pt x="30" y="8"/>
                        <a:pt x="29" y="6"/>
                      </a:cubicBezTo>
                      <a:cubicBezTo>
                        <a:pt x="29" y="4"/>
                        <a:pt x="25" y="2"/>
                        <a:pt x="23" y="2"/>
                      </a:cubicBezTo>
                      <a:cubicBezTo>
                        <a:pt x="23" y="2"/>
                        <a:pt x="23" y="2"/>
                        <a:pt x="23" y="2"/>
                      </a:cubicBezTo>
                      <a:cubicBezTo>
                        <a:pt x="23" y="1"/>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90"/>
                <p:cNvSpPr/>
                <p:nvPr/>
              </p:nvSpPr>
              <p:spPr bwMode="auto">
                <a:xfrm>
                  <a:off x="5863019" y="1330327"/>
                  <a:ext cx="125294" cy="92128"/>
                </a:xfrm>
                <a:custGeom>
                  <a:gdLst>
                    <a:gd name="T0" fmla="*/ 24 w 40"/>
                    <a:gd name="T1" fmla="*/ 0 h 29"/>
                    <a:gd name="T2" fmla="*/ 28 w 40"/>
                    <a:gd name="T3" fmla="*/ 7 h 29"/>
                    <a:gd name="T4" fmla="*/ 27 w 40"/>
                    <a:gd name="T5" fmla="*/ 7 h 29"/>
                    <a:gd name="T6" fmla="*/ 25 w 40"/>
                    <a:gd name="T7" fmla="*/ 6 h 29"/>
                    <a:gd name="T8" fmla="*/ 24 w 40"/>
                    <a:gd name="T9" fmla="*/ 5 h 29"/>
                    <a:gd name="T10" fmla="*/ 24 w 40"/>
                    <a:gd name="T11" fmla="*/ 5 h 29"/>
                    <a:gd name="T12" fmla="*/ 23 w 40"/>
                    <a:gd name="T13" fmla="*/ 5 h 29"/>
                    <a:gd name="T14" fmla="*/ 21 w 40"/>
                    <a:gd name="T15" fmla="*/ 5 h 29"/>
                    <a:gd name="T16" fmla="*/ 19 w 40"/>
                    <a:gd name="T17" fmla="*/ 5 h 29"/>
                    <a:gd name="T18" fmla="*/ 15 w 40"/>
                    <a:gd name="T19" fmla="*/ 6 h 29"/>
                    <a:gd name="T20" fmla="*/ 23 w 40"/>
                    <a:gd name="T21" fmla="*/ 9 h 29"/>
                    <a:gd name="T22" fmla="*/ 20 w 40"/>
                    <a:gd name="T23" fmla="*/ 11 h 29"/>
                    <a:gd name="T24" fmla="*/ 13 w 40"/>
                    <a:gd name="T25" fmla="*/ 10 h 29"/>
                    <a:gd name="T26" fmla="*/ 7 w 40"/>
                    <a:gd name="T27" fmla="*/ 12 h 29"/>
                    <a:gd name="T28" fmla="*/ 13 w 40"/>
                    <a:gd name="T29" fmla="*/ 18 h 29"/>
                    <a:gd name="T30" fmla="*/ 11 w 40"/>
                    <a:gd name="T31" fmla="*/ 21 h 29"/>
                    <a:gd name="T32" fmla="*/ 5 w 40"/>
                    <a:gd name="T33" fmla="*/ 27 h 29"/>
                    <a:gd name="T34" fmla="*/ 5 w 40"/>
                    <a:gd name="T35" fmla="*/ 27 h 29"/>
                    <a:gd name="T36" fmla="*/ 10 w 40"/>
                    <a:gd name="T37" fmla="*/ 26 h 29"/>
                    <a:gd name="T38" fmla="*/ 12 w 40"/>
                    <a:gd name="T39" fmla="*/ 27 h 29"/>
                    <a:gd name="T40" fmla="*/ 13 w 40"/>
                    <a:gd name="T41" fmla="*/ 29 h 29"/>
                    <a:gd name="T42" fmla="*/ 13 w 40"/>
                    <a:gd name="T43" fmla="*/ 29 h 29"/>
                    <a:gd name="T44" fmla="*/ 15 w 40"/>
                    <a:gd name="T45" fmla="*/ 28 h 29"/>
                    <a:gd name="T46" fmla="*/ 29 w 40"/>
                    <a:gd name="T47" fmla="*/ 23 h 29"/>
                    <a:gd name="T48" fmla="*/ 37 w 40"/>
                    <a:gd name="T49" fmla="*/ 20 h 29"/>
                    <a:gd name="T50" fmla="*/ 38 w 40"/>
                    <a:gd name="T51" fmla="*/ 15 h 29"/>
                    <a:gd name="T52" fmla="*/ 39 w 40"/>
                    <a:gd name="T53" fmla="*/ 8 h 29"/>
                    <a:gd name="T54" fmla="*/ 38 w 40"/>
                    <a:gd name="T55" fmla="*/ 9 h 29"/>
                    <a:gd name="T56" fmla="*/ 39 w 40"/>
                    <a:gd name="T57" fmla="*/ 5 h 29"/>
                    <a:gd name="T58" fmla="*/ 32 w 40"/>
                    <a:gd name="T59" fmla="*/ 1 h 29"/>
                    <a:gd name="T60" fmla="*/ 32 w 40"/>
                    <a:gd name="T61" fmla="*/ 1 h 29"/>
                    <a:gd name="T62" fmla="*/ 32 w 40"/>
                    <a:gd name="T63" fmla="*/ 2 h 29"/>
                    <a:gd name="T64" fmla="*/ 32 w 40"/>
                    <a:gd name="T65" fmla="*/ 3 h 29"/>
                    <a:gd name="T66" fmla="*/ 32 w 40"/>
                    <a:gd name="T67" fmla="*/ 3 h 29"/>
                    <a:gd name="T68" fmla="*/ 30 w 40"/>
                    <a:gd name="T69" fmla="*/ 1 h 29"/>
                    <a:gd name="T70" fmla="*/ 28 w 40"/>
                    <a:gd name="T71" fmla="*/ 1 h 29"/>
                    <a:gd name="T72" fmla="*/ 28 w 40"/>
                    <a:gd name="T73" fmla="*/ 3 h 29"/>
                    <a:gd name="T74" fmla="*/ 24 w 40"/>
                    <a:gd name="T75"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8">
                      <a:moveTo>
                        <a:pt x="24" y="0"/>
                      </a:moveTo>
                      <a:cubicBezTo>
                        <a:pt x="25" y="2"/>
                        <a:pt x="27" y="4"/>
                        <a:pt x="28" y="7"/>
                      </a:cubicBezTo>
                      <a:cubicBezTo>
                        <a:pt x="27" y="7"/>
                        <a:pt x="27" y="7"/>
                        <a:pt x="27" y="7"/>
                      </a:cubicBezTo>
                      <a:cubicBezTo>
                        <a:pt x="26" y="7"/>
                        <a:pt x="26" y="6"/>
                        <a:pt x="25" y="6"/>
                      </a:cubicBezTo>
                      <a:cubicBezTo>
                        <a:pt x="25" y="6"/>
                        <a:pt x="24" y="5"/>
                        <a:pt x="24" y="5"/>
                      </a:cubicBezTo>
                      <a:cubicBezTo>
                        <a:pt x="24" y="5"/>
                        <a:pt x="24" y="5"/>
                        <a:pt x="24" y="5"/>
                      </a:cubicBezTo>
                      <a:cubicBezTo>
                        <a:pt x="24" y="5"/>
                        <a:pt x="24" y="5"/>
                        <a:pt x="23" y="5"/>
                      </a:cubicBezTo>
                      <a:cubicBezTo>
                        <a:pt x="23" y="5"/>
                        <a:pt x="22" y="5"/>
                        <a:pt x="21" y="5"/>
                      </a:cubicBezTo>
                      <a:cubicBezTo>
                        <a:pt x="21" y="5"/>
                        <a:pt x="20" y="5"/>
                        <a:pt x="19" y="5"/>
                      </a:cubicBezTo>
                      <a:cubicBezTo>
                        <a:pt x="18" y="5"/>
                        <a:pt x="16" y="5"/>
                        <a:pt x="15" y="6"/>
                      </a:cubicBezTo>
                      <a:cubicBezTo>
                        <a:pt x="16" y="8"/>
                        <a:pt x="20" y="8"/>
                        <a:pt x="23" y="9"/>
                      </a:cubicBezTo>
                      <a:cubicBezTo>
                        <a:pt x="21" y="9"/>
                        <a:pt x="19" y="9"/>
                        <a:pt x="20" y="11"/>
                      </a:cubicBezTo>
                      <a:cubicBezTo>
                        <a:pt x="19" y="10"/>
                        <a:pt x="16" y="10"/>
                        <a:pt x="13" y="10"/>
                      </a:cubicBezTo>
                      <a:cubicBezTo>
                        <a:pt x="10" y="10"/>
                        <a:pt x="7" y="10"/>
                        <a:pt x="7" y="12"/>
                      </a:cubicBezTo>
                      <a:cubicBezTo>
                        <a:pt x="6" y="16"/>
                        <a:pt x="11" y="17"/>
                        <a:pt x="13" y="18"/>
                      </a:cubicBezTo>
                      <a:cubicBezTo>
                        <a:pt x="8" y="19"/>
                        <a:pt x="3" y="19"/>
                        <a:pt x="11" y="21"/>
                      </a:cubicBezTo>
                      <a:cubicBezTo>
                        <a:pt x="10" y="21"/>
                        <a:pt x="0" y="27"/>
                        <a:pt x="5" y="27"/>
                      </a:cubicBezTo>
                      <a:cubicBezTo>
                        <a:pt x="5" y="27"/>
                        <a:pt x="5" y="27"/>
                        <a:pt x="5" y="27"/>
                      </a:cubicBezTo>
                      <a:cubicBezTo>
                        <a:pt x="7" y="27"/>
                        <a:pt x="8" y="26"/>
                        <a:pt x="10" y="26"/>
                      </a:cubicBezTo>
                      <a:cubicBezTo>
                        <a:pt x="10" y="26"/>
                        <a:pt x="11" y="26"/>
                        <a:pt x="12" y="27"/>
                      </a:cubicBezTo>
                      <a:cubicBezTo>
                        <a:pt x="11" y="29"/>
                        <a:pt x="11" y="29"/>
                        <a:pt x="13" y="29"/>
                      </a:cubicBezTo>
                      <a:cubicBezTo>
                        <a:pt x="13" y="29"/>
                        <a:pt x="13" y="29"/>
                        <a:pt x="13" y="29"/>
                      </a:cubicBezTo>
                      <a:cubicBezTo>
                        <a:pt x="16" y="29"/>
                        <a:pt x="15" y="28"/>
                        <a:pt x="15" y="28"/>
                      </a:cubicBezTo>
                      <a:cubicBezTo>
                        <a:pt x="18" y="26"/>
                        <a:pt x="24" y="24"/>
                        <a:pt x="29" y="23"/>
                      </a:cubicBezTo>
                      <a:cubicBezTo>
                        <a:pt x="32" y="22"/>
                        <a:pt x="34" y="21"/>
                        <a:pt x="37" y="20"/>
                      </a:cubicBezTo>
                      <a:cubicBezTo>
                        <a:pt x="38" y="19"/>
                        <a:pt x="38" y="16"/>
                        <a:pt x="38" y="15"/>
                      </a:cubicBezTo>
                      <a:cubicBezTo>
                        <a:pt x="39" y="14"/>
                        <a:pt x="40" y="8"/>
                        <a:pt x="39" y="8"/>
                      </a:cubicBezTo>
                      <a:cubicBezTo>
                        <a:pt x="39" y="8"/>
                        <a:pt x="38" y="8"/>
                        <a:pt x="38" y="9"/>
                      </a:cubicBezTo>
                      <a:cubicBezTo>
                        <a:pt x="36" y="8"/>
                        <a:pt x="38" y="7"/>
                        <a:pt x="39" y="5"/>
                      </a:cubicBezTo>
                      <a:cubicBezTo>
                        <a:pt x="36" y="4"/>
                        <a:pt x="35" y="1"/>
                        <a:pt x="32" y="1"/>
                      </a:cubicBezTo>
                      <a:cubicBezTo>
                        <a:pt x="32" y="1"/>
                        <a:pt x="32" y="1"/>
                        <a:pt x="32" y="1"/>
                      </a:cubicBezTo>
                      <a:cubicBezTo>
                        <a:pt x="32" y="1"/>
                        <a:pt x="32" y="2"/>
                        <a:pt x="32" y="2"/>
                      </a:cubicBezTo>
                      <a:cubicBezTo>
                        <a:pt x="32" y="3"/>
                        <a:pt x="32" y="3"/>
                        <a:pt x="32" y="3"/>
                      </a:cubicBezTo>
                      <a:cubicBezTo>
                        <a:pt x="32" y="3"/>
                        <a:pt x="32" y="3"/>
                        <a:pt x="32" y="3"/>
                      </a:cubicBezTo>
                      <a:cubicBezTo>
                        <a:pt x="31" y="3"/>
                        <a:pt x="30" y="1"/>
                        <a:pt x="30" y="1"/>
                      </a:cubicBezTo>
                      <a:cubicBezTo>
                        <a:pt x="29" y="1"/>
                        <a:pt x="29" y="1"/>
                        <a:pt x="28" y="1"/>
                      </a:cubicBezTo>
                      <a:cubicBezTo>
                        <a:pt x="28" y="1"/>
                        <a:pt x="28" y="1"/>
                        <a:pt x="28" y="3"/>
                      </a:cubicBezTo>
                      <a:cubicBezTo>
                        <a:pt x="27" y="2"/>
                        <a:pt x="25" y="1"/>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91"/>
                <p:cNvSpPr/>
                <p:nvPr/>
              </p:nvSpPr>
              <p:spPr bwMode="auto">
                <a:xfrm>
                  <a:off x="5107571" y="2214755"/>
                  <a:ext cx="51592" cy="14740"/>
                </a:xfrm>
                <a:custGeom>
                  <a:gdLst>
                    <a:gd name="T0" fmla="*/ 16 w 16"/>
                    <a:gd name="T1" fmla="*/ 0 h 4"/>
                    <a:gd name="T2" fmla="*/ 0 w 16"/>
                    <a:gd name="T3" fmla="*/ 3 h 4"/>
                    <a:gd name="T4" fmla="*/ 3 w 16"/>
                    <a:gd name="T5" fmla="*/ 4 h 4"/>
                    <a:gd name="T6" fmla="*/ 16 w 16"/>
                    <a:gd name="T7" fmla="*/ 0 h 4"/>
                  </a:gdLst>
                  <a:cxnLst>
                    <a:cxn ang="0">
                      <a:pos x="T0" y="T1"/>
                    </a:cxn>
                    <a:cxn ang="0">
                      <a:pos x="T2" y="T3"/>
                    </a:cxn>
                    <a:cxn ang="0">
                      <a:pos x="T4" y="T5"/>
                    </a:cxn>
                    <a:cxn ang="0">
                      <a:pos x="T6" y="T7"/>
                    </a:cxn>
                  </a:cxnLst>
                  <a:rect l="0" t="0" r="r" b="b"/>
                  <a:pathLst>
                    <a:path w="16" h="4">
                      <a:moveTo>
                        <a:pt x="16" y="0"/>
                      </a:moveTo>
                      <a:cubicBezTo>
                        <a:pt x="11" y="1"/>
                        <a:pt x="5" y="1"/>
                        <a:pt x="0" y="3"/>
                      </a:cubicBezTo>
                      <a:cubicBezTo>
                        <a:pt x="1" y="3"/>
                        <a:pt x="2" y="4"/>
                        <a:pt x="3" y="4"/>
                      </a:cubicBezTo>
                      <a:cubicBezTo>
                        <a:pt x="8" y="4"/>
                        <a:pt x="13" y="3"/>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92"/>
                <p:cNvSpPr/>
                <p:nvPr/>
              </p:nvSpPr>
              <p:spPr bwMode="auto">
                <a:xfrm>
                  <a:off x="6334714" y="1127646"/>
                  <a:ext cx="143719" cy="58962"/>
                </a:xfrm>
                <a:custGeom>
                  <a:gdLst>
                    <a:gd name="T0" fmla="*/ 42 w 46"/>
                    <a:gd name="T1" fmla="*/ 0 h 18"/>
                    <a:gd name="T2" fmla="*/ 39 w 46"/>
                    <a:gd name="T3" fmla="*/ 1 h 18"/>
                    <a:gd name="T4" fmla="*/ 25 w 46"/>
                    <a:gd name="T5" fmla="*/ 8 h 18"/>
                    <a:gd name="T6" fmla="*/ 17 w 46"/>
                    <a:gd name="T7" fmla="*/ 8 h 18"/>
                    <a:gd name="T8" fmla="*/ 14 w 46"/>
                    <a:gd name="T9" fmla="*/ 6 h 18"/>
                    <a:gd name="T10" fmla="*/ 13 w 46"/>
                    <a:gd name="T11" fmla="*/ 7 h 18"/>
                    <a:gd name="T12" fmla="*/ 12 w 46"/>
                    <a:gd name="T13" fmla="*/ 9 h 18"/>
                    <a:gd name="T14" fmla="*/ 11 w 46"/>
                    <a:gd name="T15" fmla="*/ 8 h 18"/>
                    <a:gd name="T16" fmla="*/ 10 w 46"/>
                    <a:gd name="T17" fmla="*/ 8 h 18"/>
                    <a:gd name="T18" fmla="*/ 7 w 46"/>
                    <a:gd name="T19" fmla="*/ 10 h 18"/>
                    <a:gd name="T20" fmla="*/ 7 w 46"/>
                    <a:gd name="T21" fmla="*/ 10 h 18"/>
                    <a:gd name="T22" fmla="*/ 5 w 46"/>
                    <a:gd name="T23" fmla="*/ 9 h 18"/>
                    <a:gd name="T24" fmla="*/ 3 w 46"/>
                    <a:gd name="T25" fmla="*/ 8 h 18"/>
                    <a:gd name="T26" fmla="*/ 2 w 46"/>
                    <a:gd name="T27" fmla="*/ 9 h 18"/>
                    <a:gd name="T28" fmla="*/ 6 w 46"/>
                    <a:gd name="T29" fmla="*/ 18 h 18"/>
                    <a:gd name="T30" fmla="*/ 20 w 46"/>
                    <a:gd name="T31" fmla="*/ 16 h 18"/>
                    <a:gd name="T32" fmla="*/ 22 w 46"/>
                    <a:gd name="T33" fmla="*/ 14 h 18"/>
                    <a:gd name="T34" fmla="*/ 23 w 46"/>
                    <a:gd name="T35" fmla="*/ 16 h 18"/>
                    <a:gd name="T36" fmla="*/ 24 w 46"/>
                    <a:gd name="T37" fmla="*/ 15 h 18"/>
                    <a:gd name="T38" fmla="*/ 27 w 46"/>
                    <a:gd name="T39" fmla="*/ 16 h 18"/>
                    <a:gd name="T40" fmla="*/ 29 w 46"/>
                    <a:gd name="T41" fmla="*/ 15 h 18"/>
                    <a:gd name="T42" fmla="*/ 31 w 46"/>
                    <a:gd name="T43" fmla="*/ 14 h 18"/>
                    <a:gd name="T44" fmla="*/ 34 w 46"/>
                    <a:gd name="T45" fmla="*/ 13 h 18"/>
                    <a:gd name="T46" fmla="*/ 38 w 46"/>
                    <a:gd name="T47" fmla="*/ 8 h 18"/>
                    <a:gd name="T48" fmla="*/ 42 w 46"/>
                    <a:gd name="T49" fmla="*/ 5 h 18"/>
                    <a:gd name="T50" fmla="*/ 42 w 46"/>
                    <a:gd name="T51" fmla="*/ 5 h 18"/>
                    <a:gd name="T52" fmla="*/ 45 w 46"/>
                    <a:gd name="T53" fmla="*/ 3 h 18"/>
                    <a:gd name="T54" fmla="*/ 42 w 46"/>
                    <a:gd name="T5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18">
                      <a:moveTo>
                        <a:pt x="42" y="0"/>
                      </a:moveTo>
                      <a:cubicBezTo>
                        <a:pt x="41" y="0"/>
                        <a:pt x="40" y="0"/>
                        <a:pt x="39" y="1"/>
                      </a:cubicBezTo>
                      <a:cubicBezTo>
                        <a:pt x="35" y="7"/>
                        <a:pt x="31" y="8"/>
                        <a:pt x="25" y="8"/>
                      </a:cubicBezTo>
                      <a:cubicBezTo>
                        <a:pt x="23" y="8"/>
                        <a:pt x="20" y="8"/>
                        <a:pt x="17" y="8"/>
                      </a:cubicBezTo>
                      <a:cubicBezTo>
                        <a:pt x="16" y="6"/>
                        <a:pt x="15" y="6"/>
                        <a:pt x="14" y="6"/>
                      </a:cubicBezTo>
                      <a:cubicBezTo>
                        <a:pt x="14" y="6"/>
                        <a:pt x="13" y="7"/>
                        <a:pt x="13" y="7"/>
                      </a:cubicBezTo>
                      <a:cubicBezTo>
                        <a:pt x="13" y="8"/>
                        <a:pt x="12" y="9"/>
                        <a:pt x="12" y="9"/>
                      </a:cubicBezTo>
                      <a:cubicBezTo>
                        <a:pt x="12" y="9"/>
                        <a:pt x="11" y="9"/>
                        <a:pt x="11" y="8"/>
                      </a:cubicBezTo>
                      <a:cubicBezTo>
                        <a:pt x="10" y="8"/>
                        <a:pt x="10" y="8"/>
                        <a:pt x="10" y="8"/>
                      </a:cubicBezTo>
                      <a:cubicBezTo>
                        <a:pt x="9" y="8"/>
                        <a:pt x="8" y="9"/>
                        <a:pt x="7" y="10"/>
                      </a:cubicBezTo>
                      <a:cubicBezTo>
                        <a:pt x="7" y="10"/>
                        <a:pt x="7" y="10"/>
                        <a:pt x="7" y="10"/>
                      </a:cubicBezTo>
                      <a:cubicBezTo>
                        <a:pt x="7" y="10"/>
                        <a:pt x="6" y="9"/>
                        <a:pt x="5" y="9"/>
                      </a:cubicBezTo>
                      <a:cubicBezTo>
                        <a:pt x="4" y="9"/>
                        <a:pt x="3" y="8"/>
                        <a:pt x="3" y="8"/>
                      </a:cubicBezTo>
                      <a:cubicBezTo>
                        <a:pt x="3" y="8"/>
                        <a:pt x="2" y="8"/>
                        <a:pt x="2" y="9"/>
                      </a:cubicBezTo>
                      <a:cubicBezTo>
                        <a:pt x="0" y="10"/>
                        <a:pt x="8" y="16"/>
                        <a:pt x="6" y="18"/>
                      </a:cubicBezTo>
                      <a:cubicBezTo>
                        <a:pt x="10" y="18"/>
                        <a:pt x="17" y="17"/>
                        <a:pt x="20" y="16"/>
                      </a:cubicBezTo>
                      <a:cubicBezTo>
                        <a:pt x="21" y="16"/>
                        <a:pt x="22" y="14"/>
                        <a:pt x="22" y="14"/>
                      </a:cubicBezTo>
                      <a:cubicBezTo>
                        <a:pt x="23" y="14"/>
                        <a:pt x="23" y="15"/>
                        <a:pt x="23" y="16"/>
                      </a:cubicBezTo>
                      <a:cubicBezTo>
                        <a:pt x="23" y="16"/>
                        <a:pt x="24" y="15"/>
                        <a:pt x="24" y="15"/>
                      </a:cubicBezTo>
                      <a:cubicBezTo>
                        <a:pt x="25" y="15"/>
                        <a:pt x="26" y="16"/>
                        <a:pt x="27" y="16"/>
                      </a:cubicBezTo>
                      <a:cubicBezTo>
                        <a:pt x="27" y="16"/>
                        <a:pt x="28" y="16"/>
                        <a:pt x="29" y="15"/>
                      </a:cubicBezTo>
                      <a:cubicBezTo>
                        <a:pt x="30" y="15"/>
                        <a:pt x="30" y="14"/>
                        <a:pt x="31" y="14"/>
                      </a:cubicBezTo>
                      <a:cubicBezTo>
                        <a:pt x="32" y="13"/>
                        <a:pt x="34" y="13"/>
                        <a:pt x="34" y="13"/>
                      </a:cubicBezTo>
                      <a:cubicBezTo>
                        <a:pt x="35" y="12"/>
                        <a:pt x="36" y="9"/>
                        <a:pt x="38" y="8"/>
                      </a:cubicBezTo>
                      <a:cubicBezTo>
                        <a:pt x="39" y="6"/>
                        <a:pt x="41" y="7"/>
                        <a:pt x="42" y="5"/>
                      </a:cubicBezTo>
                      <a:cubicBezTo>
                        <a:pt x="42" y="5"/>
                        <a:pt x="42" y="5"/>
                        <a:pt x="42" y="5"/>
                      </a:cubicBezTo>
                      <a:cubicBezTo>
                        <a:pt x="43" y="5"/>
                        <a:pt x="45" y="4"/>
                        <a:pt x="45" y="3"/>
                      </a:cubicBezTo>
                      <a:cubicBezTo>
                        <a:pt x="46" y="1"/>
                        <a:pt x="44"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93"/>
                <p:cNvSpPr/>
                <p:nvPr/>
              </p:nvSpPr>
              <p:spPr bwMode="auto">
                <a:xfrm>
                  <a:off x="6117292" y="1223459"/>
                  <a:ext cx="58962" cy="29481"/>
                </a:xfrm>
                <a:custGeom>
                  <a:gdLst>
                    <a:gd name="T0" fmla="*/ 2 w 19"/>
                    <a:gd name="T1" fmla="*/ 0 h 9"/>
                    <a:gd name="T2" fmla="*/ 0 w 19"/>
                    <a:gd name="T3" fmla="*/ 0 h 9"/>
                    <a:gd name="T4" fmla="*/ 5 w 19"/>
                    <a:gd name="T5" fmla="*/ 6 h 9"/>
                    <a:gd name="T6" fmla="*/ 7 w 19"/>
                    <a:gd name="T7" fmla="*/ 9 h 9"/>
                    <a:gd name="T8" fmla="*/ 11 w 19"/>
                    <a:gd name="T9" fmla="*/ 9 h 9"/>
                    <a:gd name="T10" fmla="*/ 14 w 19"/>
                    <a:gd name="T11" fmla="*/ 9 h 9"/>
                    <a:gd name="T12" fmla="*/ 13 w 19"/>
                    <a:gd name="T13" fmla="*/ 4 h 9"/>
                    <a:gd name="T14" fmla="*/ 2 w 19"/>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
                      <a:moveTo>
                        <a:pt x="2" y="0"/>
                      </a:moveTo>
                      <a:cubicBezTo>
                        <a:pt x="1" y="0"/>
                        <a:pt x="1" y="0"/>
                        <a:pt x="0" y="0"/>
                      </a:cubicBezTo>
                      <a:cubicBezTo>
                        <a:pt x="3" y="2"/>
                        <a:pt x="4" y="3"/>
                        <a:pt x="5" y="6"/>
                      </a:cubicBezTo>
                      <a:cubicBezTo>
                        <a:pt x="6" y="7"/>
                        <a:pt x="5" y="9"/>
                        <a:pt x="7" y="9"/>
                      </a:cubicBezTo>
                      <a:cubicBezTo>
                        <a:pt x="8" y="9"/>
                        <a:pt x="9" y="9"/>
                        <a:pt x="11" y="9"/>
                      </a:cubicBezTo>
                      <a:cubicBezTo>
                        <a:pt x="12" y="9"/>
                        <a:pt x="13" y="9"/>
                        <a:pt x="14" y="9"/>
                      </a:cubicBezTo>
                      <a:cubicBezTo>
                        <a:pt x="19" y="6"/>
                        <a:pt x="17" y="6"/>
                        <a:pt x="13" y="4"/>
                      </a:cubicBezTo>
                      <a:cubicBezTo>
                        <a:pt x="10" y="2"/>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94"/>
                <p:cNvSpPr/>
                <p:nvPr/>
              </p:nvSpPr>
              <p:spPr bwMode="auto">
                <a:xfrm>
                  <a:off x="4838557" y="2741727"/>
                  <a:ext cx="22111" cy="18426"/>
                </a:xfrm>
                <a:custGeom>
                  <a:gdLst>
                    <a:gd name="T0" fmla="*/ 0 w 7"/>
                    <a:gd name="T1" fmla="*/ 0 h 6"/>
                    <a:gd name="T2" fmla="*/ 0 w 7"/>
                    <a:gd name="T3" fmla="*/ 5 h 6"/>
                    <a:gd name="T4" fmla="*/ 6 w 7"/>
                    <a:gd name="T5" fmla="*/ 6 h 6"/>
                    <a:gd name="T6" fmla="*/ 7 w 7"/>
                    <a:gd name="T7" fmla="*/ 6 h 6"/>
                    <a:gd name="T8" fmla="*/ 0 w 7"/>
                    <a:gd name="T9" fmla="*/ 0 h 6"/>
                  </a:gdLst>
                  <a:cxnLst>
                    <a:cxn ang="0">
                      <a:pos x="T0" y="T1"/>
                    </a:cxn>
                    <a:cxn ang="0">
                      <a:pos x="T2" y="T3"/>
                    </a:cxn>
                    <a:cxn ang="0">
                      <a:pos x="T4" y="T5"/>
                    </a:cxn>
                    <a:cxn ang="0">
                      <a:pos x="T6" y="T7"/>
                    </a:cxn>
                    <a:cxn ang="0">
                      <a:pos x="T8" y="T9"/>
                    </a:cxn>
                  </a:cxnLst>
                  <a:rect l="0" t="0" r="r" b="b"/>
                  <a:pathLst>
                    <a:path w="7" h="6">
                      <a:moveTo>
                        <a:pt x="0" y="0"/>
                      </a:moveTo>
                      <a:cubicBezTo>
                        <a:pt x="0" y="1"/>
                        <a:pt x="0" y="3"/>
                        <a:pt x="0" y="5"/>
                      </a:cubicBezTo>
                      <a:cubicBezTo>
                        <a:pt x="2" y="6"/>
                        <a:pt x="4" y="6"/>
                        <a:pt x="6" y="6"/>
                      </a:cubicBezTo>
                      <a:cubicBezTo>
                        <a:pt x="7" y="6"/>
                        <a:pt x="7" y="6"/>
                        <a:pt x="7" y="6"/>
                      </a:cubicBezTo>
                      <a:cubicBezTo>
                        <a:pt x="6" y="2"/>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95"/>
                <p:cNvSpPr/>
                <p:nvPr/>
              </p:nvSpPr>
              <p:spPr bwMode="auto">
                <a:xfrm>
                  <a:off x="5063349" y="2251606"/>
                  <a:ext cx="33166" cy="18426"/>
                </a:xfrm>
                <a:custGeom>
                  <a:gdLst>
                    <a:gd name="T0" fmla="*/ 8 w 11"/>
                    <a:gd name="T1" fmla="*/ 0 h 5"/>
                    <a:gd name="T2" fmla="*/ 5 w 11"/>
                    <a:gd name="T3" fmla="*/ 1 h 5"/>
                    <a:gd name="T4" fmla="*/ 0 w 11"/>
                    <a:gd name="T5" fmla="*/ 3 h 5"/>
                    <a:gd name="T6" fmla="*/ 11 w 11"/>
                    <a:gd name="T7" fmla="*/ 5 h 5"/>
                    <a:gd name="T8" fmla="*/ 8 w 11"/>
                    <a:gd name="T9" fmla="*/ 0 h 5"/>
                  </a:gdLst>
                  <a:cxnLst>
                    <a:cxn ang="0">
                      <a:pos x="T0" y="T1"/>
                    </a:cxn>
                    <a:cxn ang="0">
                      <a:pos x="T2" y="T3"/>
                    </a:cxn>
                    <a:cxn ang="0">
                      <a:pos x="T4" y="T5"/>
                    </a:cxn>
                    <a:cxn ang="0">
                      <a:pos x="T6" y="T7"/>
                    </a:cxn>
                    <a:cxn ang="0">
                      <a:pos x="T8" y="T9"/>
                    </a:cxn>
                  </a:cxnLst>
                  <a:rect l="0" t="0" r="r" b="b"/>
                  <a:pathLst>
                    <a:path w="11" h="5">
                      <a:moveTo>
                        <a:pt x="8" y="0"/>
                      </a:moveTo>
                      <a:cubicBezTo>
                        <a:pt x="7" y="0"/>
                        <a:pt x="6" y="1"/>
                        <a:pt x="5" y="1"/>
                      </a:cubicBezTo>
                      <a:cubicBezTo>
                        <a:pt x="4" y="1"/>
                        <a:pt x="2" y="2"/>
                        <a:pt x="0" y="3"/>
                      </a:cubicBezTo>
                      <a:cubicBezTo>
                        <a:pt x="4" y="4"/>
                        <a:pt x="8" y="4"/>
                        <a:pt x="11" y="5"/>
                      </a:cubicBezTo>
                      <a:cubicBezTo>
                        <a:pt x="10" y="2"/>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96"/>
                <p:cNvSpPr/>
                <p:nvPr/>
              </p:nvSpPr>
              <p:spPr bwMode="auto">
                <a:xfrm>
                  <a:off x="5111256" y="2229496"/>
                  <a:ext cx="84758" cy="29481"/>
                </a:xfrm>
                <a:custGeom>
                  <a:gdLst>
                    <a:gd name="T0" fmla="*/ 18 w 27"/>
                    <a:gd name="T1" fmla="*/ 0 h 10"/>
                    <a:gd name="T2" fmla="*/ 0 w 27"/>
                    <a:gd name="T3" fmla="*/ 8 h 10"/>
                    <a:gd name="T4" fmla="*/ 5 w 27"/>
                    <a:gd name="T5" fmla="*/ 10 h 10"/>
                    <a:gd name="T6" fmla="*/ 18 w 27"/>
                    <a:gd name="T7" fmla="*/ 7 h 10"/>
                    <a:gd name="T8" fmla="*/ 21 w 27"/>
                    <a:gd name="T9" fmla="*/ 1 h 10"/>
                    <a:gd name="T10" fmla="*/ 18 w 27"/>
                    <a:gd name="T11" fmla="*/ 0 h 10"/>
                  </a:gdLst>
                  <a:cxnLst>
                    <a:cxn ang="0">
                      <a:pos x="T0" y="T1"/>
                    </a:cxn>
                    <a:cxn ang="0">
                      <a:pos x="T2" y="T3"/>
                    </a:cxn>
                    <a:cxn ang="0">
                      <a:pos x="T4" y="T5"/>
                    </a:cxn>
                    <a:cxn ang="0">
                      <a:pos x="T6" y="T7"/>
                    </a:cxn>
                    <a:cxn ang="0">
                      <a:pos x="T8" y="T9"/>
                    </a:cxn>
                    <a:cxn ang="0">
                      <a:pos x="T10" y="T11"/>
                    </a:cxn>
                  </a:cxnLst>
                  <a:rect l="0" t="0" r="r" b="b"/>
                  <a:pathLst>
                    <a:path w="27" h="10">
                      <a:moveTo>
                        <a:pt x="18" y="0"/>
                      </a:moveTo>
                      <a:cubicBezTo>
                        <a:pt x="12" y="0"/>
                        <a:pt x="4" y="6"/>
                        <a:pt x="0" y="8"/>
                      </a:cubicBezTo>
                      <a:cubicBezTo>
                        <a:pt x="1" y="9"/>
                        <a:pt x="3" y="10"/>
                        <a:pt x="5" y="10"/>
                      </a:cubicBezTo>
                      <a:cubicBezTo>
                        <a:pt x="10" y="10"/>
                        <a:pt x="14" y="8"/>
                        <a:pt x="18" y="7"/>
                      </a:cubicBezTo>
                      <a:cubicBezTo>
                        <a:pt x="22" y="6"/>
                        <a:pt x="27" y="4"/>
                        <a:pt x="21" y="1"/>
                      </a:cubicBezTo>
                      <a:cubicBezTo>
                        <a:pt x="20" y="1"/>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97"/>
                <p:cNvSpPr/>
                <p:nvPr/>
              </p:nvSpPr>
              <p:spPr bwMode="auto">
                <a:xfrm>
                  <a:off x="6375250" y="1201348"/>
                  <a:ext cx="58962" cy="22111"/>
                </a:xfrm>
                <a:custGeom>
                  <a:gdLst>
                    <a:gd name="T0" fmla="*/ 4 w 19"/>
                    <a:gd name="T1" fmla="*/ 0 h 7"/>
                    <a:gd name="T2" fmla="*/ 4 w 19"/>
                    <a:gd name="T3" fmla="*/ 2 h 7"/>
                    <a:gd name="T4" fmla="*/ 0 w 19"/>
                    <a:gd name="T5" fmla="*/ 2 h 7"/>
                    <a:gd name="T6" fmla="*/ 14 w 19"/>
                    <a:gd name="T7" fmla="*/ 7 h 7"/>
                    <a:gd name="T8" fmla="*/ 19 w 19"/>
                    <a:gd name="T9" fmla="*/ 5 h 7"/>
                    <a:gd name="T10" fmla="*/ 4 w 19"/>
                    <a:gd name="T11" fmla="*/ 0 h 7"/>
                  </a:gdLst>
                  <a:cxnLst>
                    <a:cxn ang="0">
                      <a:pos x="T0" y="T1"/>
                    </a:cxn>
                    <a:cxn ang="0">
                      <a:pos x="T2" y="T3"/>
                    </a:cxn>
                    <a:cxn ang="0">
                      <a:pos x="T4" y="T5"/>
                    </a:cxn>
                    <a:cxn ang="0">
                      <a:pos x="T6" y="T7"/>
                    </a:cxn>
                    <a:cxn ang="0">
                      <a:pos x="T8" y="T9"/>
                    </a:cxn>
                    <a:cxn ang="0">
                      <a:pos x="T10" y="T11"/>
                    </a:cxn>
                  </a:cxnLst>
                  <a:rect l="0" t="0" r="r" b="b"/>
                  <a:pathLst>
                    <a:path w="19" h="7">
                      <a:moveTo>
                        <a:pt x="4" y="0"/>
                      </a:moveTo>
                      <a:cubicBezTo>
                        <a:pt x="4" y="1"/>
                        <a:pt x="4" y="2"/>
                        <a:pt x="4" y="2"/>
                      </a:cubicBezTo>
                      <a:cubicBezTo>
                        <a:pt x="2" y="2"/>
                        <a:pt x="1" y="2"/>
                        <a:pt x="0" y="2"/>
                      </a:cubicBezTo>
                      <a:cubicBezTo>
                        <a:pt x="3" y="4"/>
                        <a:pt x="9" y="7"/>
                        <a:pt x="14" y="7"/>
                      </a:cubicBezTo>
                      <a:cubicBezTo>
                        <a:pt x="16" y="7"/>
                        <a:pt x="17" y="6"/>
                        <a:pt x="19" y="5"/>
                      </a:cubicBezTo>
                      <a:cubicBezTo>
                        <a:pt x="17"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98"/>
                <p:cNvSpPr/>
                <p:nvPr/>
              </p:nvSpPr>
              <p:spPr bwMode="auto">
                <a:xfrm>
                  <a:off x="4886464" y="2402696"/>
                  <a:ext cx="18426" cy="22111"/>
                </a:xfrm>
                <a:custGeom>
                  <a:gdLst>
                    <a:gd name="T0" fmla="*/ 2 w 6"/>
                    <a:gd name="T1" fmla="*/ 0 h 7"/>
                    <a:gd name="T2" fmla="*/ 0 w 6"/>
                    <a:gd name="T3" fmla="*/ 1 h 7"/>
                    <a:gd name="T4" fmla="*/ 1 w 6"/>
                    <a:gd name="T5" fmla="*/ 7 h 7"/>
                    <a:gd name="T6" fmla="*/ 2 w 6"/>
                    <a:gd name="T7" fmla="*/ 7 h 7"/>
                    <a:gd name="T8" fmla="*/ 6 w 6"/>
                    <a:gd name="T9" fmla="*/ 1 h 7"/>
                    <a:gd name="T10" fmla="*/ 2 w 6"/>
                    <a:gd name="T11" fmla="*/ 0 h 7"/>
                  </a:gdLst>
                  <a:cxnLst>
                    <a:cxn ang="0">
                      <a:pos x="T0" y="T1"/>
                    </a:cxn>
                    <a:cxn ang="0">
                      <a:pos x="T2" y="T3"/>
                    </a:cxn>
                    <a:cxn ang="0">
                      <a:pos x="T4" y="T5"/>
                    </a:cxn>
                    <a:cxn ang="0">
                      <a:pos x="T6" y="T7"/>
                    </a:cxn>
                    <a:cxn ang="0">
                      <a:pos x="T8" y="T9"/>
                    </a:cxn>
                    <a:cxn ang="0">
                      <a:pos x="T10" y="T11"/>
                    </a:cxn>
                  </a:cxnLst>
                  <a:rect l="0" t="0" r="r" b="b"/>
                  <a:pathLst>
                    <a:path w="6" h="7">
                      <a:moveTo>
                        <a:pt x="2" y="0"/>
                      </a:moveTo>
                      <a:cubicBezTo>
                        <a:pt x="2" y="0"/>
                        <a:pt x="1" y="1"/>
                        <a:pt x="0" y="1"/>
                      </a:cubicBezTo>
                      <a:cubicBezTo>
                        <a:pt x="0" y="2"/>
                        <a:pt x="0" y="6"/>
                        <a:pt x="1" y="7"/>
                      </a:cubicBezTo>
                      <a:cubicBezTo>
                        <a:pt x="1" y="7"/>
                        <a:pt x="2" y="7"/>
                        <a:pt x="2" y="7"/>
                      </a:cubicBezTo>
                      <a:cubicBezTo>
                        <a:pt x="4" y="7"/>
                        <a:pt x="5" y="3"/>
                        <a:pt x="6" y="1"/>
                      </a:cubicBezTo>
                      <a:cubicBezTo>
                        <a:pt x="5"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99"/>
                <p:cNvSpPr/>
                <p:nvPr/>
              </p:nvSpPr>
              <p:spPr bwMode="auto">
                <a:xfrm>
                  <a:off x="5575580" y="1525639"/>
                  <a:ext cx="62647" cy="40536"/>
                </a:xfrm>
                <a:custGeom>
                  <a:gdLst>
                    <a:gd name="T0" fmla="*/ 14 w 20"/>
                    <a:gd name="T1" fmla="*/ 0 h 13"/>
                    <a:gd name="T2" fmla="*/ 13 w 20"/>
                    <a:gd name="T3" fmla="*/ 1 h 13"/>
                    <a:gd name="T4" fmla="*/ 10 w 20"/>
                    <a:gd name="T5" fmla="*/ 3 h 13"/>
                    <a:gd name="T6" fmla="*/ 4 w 20"/>
                    <a:gd name="T7" fmla="*/ 5 h 13"/>
                    <a:gd name="T8" fmla="*/ 6 w 20"/>
                    <a:gd name="T9" fmla="*/ 6 h 13"/>
                    <a:gd name="T10" fmla="*/ 3 w 20"/>
                    <a:gd name="T11" fmla="*/ 13 h 13"/>
                    <a:gd name="T12" fmla="*/ 5 w 20"/>
                    <a:gd name="T13" fmla="*/ 11 h 13"/>
                    <a:gd name="T14" fmla="*/ 6 w 20"/>
                    <a:gd name="T15" fmla="*/ 12 h 13"/>
                    <a:gd name="T16" fmla="*/ 8 w 20"/>
                    <a:gd name="T17" fmla="*/ 12 h 13"/>
                    <a:gd name="T18" fmla="*/ 10 w 20"/>
                    <a:gd name="T19" fmla="*/ 11 h 13"/>
                    <a:gd name="T20" fmla="*/ 20 w 20"/>
                    <a:gd name="T21" fmla="*/ 4 h 13"/>
                    <a:gd name="T22" fmla="*/ 18 w 20"/>
                    <a:gd name="T23" fmla="*/ 3 h 13"/>
                    <a:gd name="T24" fmla="*/ 18 w 20"/>
                    <a:gd name="T25" fmla="*/ 3 h 13"/>
                    <a:gd name="T26" fmla="*/ 18 w 20"/>
                    <a:gd name="T27" fmla="*/ 3 h 13"/>
                    <a:gd name="T28" fmla="*/ 17 w 20"/>
                    <a:gd name="T29" fmla="*/ 2 h 13"/>
                    <a:gd name="T30" fmla="*/ 16 w 20"/>
                    <a:gd name="T31" fmla="*/ 2 h 13"/>
                    <a:gd name="T32" fmla="*/ 16 w 20"/>
                    <a:gd name="T33" fmla="*/ 2 h 13"/>
                    <a:gd name="T34" fmla="*/ 14 w 20"/>
                    <a:gd name="T3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3">
                      <a:moveTo>
                        <a:pt x="14" y="0"/>
                      </a:moveTo>
                      <a:cubicBezTo>
                        <a:pt x="14" y="0"/>
                        <a:pt x="14" y="0"/>
                        <a:pt x="13" y="1"/>
                      </a:cubicBezTo>
                      <a:cubicBezTo>
                        <a:pt x="12" y="1"/>
                        <a:pt x="11" y="2"/>
                        <a:pt x="10" y="3"/>
                      </a:cubicBezTo>
                      <a:cubicBezTo>
                        <a:pt x="8" y="4"/>
                        <a:pt x="6" y="4"/>
                        <a:pt x="4" y="5"/>
                      </a:cubicBezTo>
                      <a:cubicBezTo>
                        <a:pt x="4" y="5"/>
                        <a:pt x="5" y="5"/>
                        <a:pt x="6" y="6"/>
                      </a:cubicBezTo>
                      <a:cubicBezTo>
                        <a:pt x="1" y="7"/>
                        <a:pt x="0" y="9"/>
                        <a:pt x="3" y="13"/>
                      </a:cubicBezTo>
                      <a:cubicBezTo>
                        <a:pt x="3" y="12"/>
                        <a:pt x="4" y="11"/>
                        <a:pt x="5" y="11"/>
                      </a:cubicBezTo>
                      <a:cubicBezTo>
                        <a:pt x="5" y="11"/>
                        <a:pt x="6" y="12"/>
                        <a:pt x="6" y="12"/>
                      </a:cubicBezTo>
                      <a:cubicBezTo>
                        <a:pt x="7" y="12"/>
                        <a:pt x="8" y="12"/>
                        <a:pt x="8" y="12"/>
                      </a:cubicBezTo>
                      <a:cubicBezTo>
                        <a:pt x="9" y="12"/>
                        <a:pt x="9" y="12"/>
                        <a:pt x="10" y="11"/>
                      </a:cubicBezTo>
                      <a:cubicBezTo>
                        <a:pt x="13" y="10"/>
                        <a:pt x="17" y="7"/>
                        <a:pt x="20" y="4"/>
                      </a:cubicBezTo>
                      <a:cubicBezTo>
                        <a:pt x="20" y="4"/>
                        <a:pt x="18" y="3"/>
                        <a:pt x="18" y="3"/>
                      </a:cubicBezTo>
                      <a:cubicBezTo>
                        <a:pt x="18" y="3"/>
                        <a:pt x="18" y="3"/>
                        <a:pt x="18" y="3"/>
                      </a:cubicBezTo>
                      <a:cubicBezTo>
                        <a:pt x="18" y="3"/>
                        <a:pt x="18" y="3"/>
                        <a:pt x="18" y="3"/>
                      </a:cubicBezTo>
                      <a:cubicBezTo>
                        <a:pt x="18" y="3"/>
                        <a:pt x="17" y="3"/>
                        <a:pt x="17" y="2"/>
                      </a:cubicBezTo>
                      <a:cubicBezTo>
                        <a:pt x="16" y="2"/>
                        <a:pt x="16" y="2"/>
                        <a:pt x="16" y="2"/>
                      </a:cubicBezTo>
                      <a:cubicBezTo>
                        <a:pt x="16" y="2"/>
                        <a:pt x="16" y="2"/>
                        <a:pt x="16" y="2"/>
                      </a:cubicBezTo>
                      <a:cubicBezTo>
                        <a:pt x="15" y="1"/>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100"/>
                <p:cNvSpPr/>
                <p:nvPr/>
              </p:nvSpPr>
              <p:spPr bwMode="auto">
                <a:xfrm>
                  <a:off x="5516618" y="1562490"/>
                  <a:ext cx="36851" cy="44221"/>
                </a:xfrm>
                <a:custGeom>
                  <a:gdLst>
                    <a:gd name="T0" fmla="*/ 8 w 11"/>
                    <a:gd name="T1" fmla="*/ 0 h 14"/>
                    <a:gd name="T2" fmla="*/ 5 w 11"/>
                    <a:gd name="T3" fmla="*/ 5 h 14"/>
                    <a:gd name="T4" fmla="*/ 0 w 11"/>
                    <a:gd name="T5" fmla="*/ 14 h 14"/>
                    <a:gd name="T6" fmla="*/ 9 w 11"/>
                    <a:gd name="T7" fmla="*/ 8 h 14"/>
                    <a:gd name="T8" fmla="*/ 8 w 11"/>
                    <a:gd name="T9" fmla="*/ 4 h 14"/>
                    <a:gd name="T10" fmla="*/ 9 w 11"/>
                    <a:gd name="T11" fmla="*/ 1 h 14"/>
                    <a:gd name="T12" fmla="*/ 8 w 11"/>
                    <a:gd name="T13" fmla="*/ 0 h 14"/>
                  </a:gdLst>
                  <a:cxnLst>
                    <a:cxn ang="0">
                      <a:pos x="T0" y="T1"/>
                    </a:cxn>
                    <a:cxn ang="0">
                      <a:pos x="T2" y="T3"/>
                    </a:cxn>
                    <a:cxn ang="0">
                      <a:pos x="T4" y="T5"/>
                    </a:cxn>
                    <a:cxn ang="0">
                      <a:pos x="T6" y="T7"/>
                    </a:cxn>
                    <a:cxn ang="0">
                      <a:pos x="T8" y="T9"/>
                    </a:cxn>
                    <a:cxn ang="0">
                      <a:pos x="T10" y="T11"/>
                    </a:cxn>
                    <a:cxn ang="0">
                      <a:pos x="T12" y="T13"/>
                    </a:cxn>
                  </a:cxnLst>
                  <a:rect l="0" t="0" r="r" b="b"/>
                  <a:pathLst>
                    <a:path w="11" h="14">
                      <a:moveTo>
                        <a:pt x="8" y="0"/>
                      </a:moveTo>
                      <a:cubicBezTo>
                        <a:pt x="7" y="0"/>
                        <a:pt x="5" y="4"/>
                        <a:pt x="5" y="5"/>
                      </a:cubicBezTo>
                      <a:cubicBezTo>
                        <a:pt x="3" y="7"/>
                        <a:pt x="0" y="11"/>
                        <a:pt x="0" y="14"/>
                      </a:cubicBezTo>
                      <a:cubicBezTo>
                        <a:pt x="3" y="14"/>
                        <a:pt x="7" y="11"/>
                        <a:pt x="9" y="8"/>
                      </a:cubicBezTo>
                      <a:cubicBezTo>
                        <a:pt x="11" y="6"/>
                        <a:pt x="7" y="6"/>
                        <a:pt x="8" y="4"/>
                      </a:cubicBezTo>
                      <a:cubicBezTo>
                        <a:pt x="8" y="3"/>
                        <a:pt x="9" y="2"/>
                        <a:pt x="9" y="1"/>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101"/>
                <p:cNvSpPr/>
                <p:nvPr/>
              </p:nvSpPr>
              <p:spPr bwMode="auto">
                <a:xfrm>
                  <a:off x="6489489" y="1146072"/>
                  <a:ext cx="44221" cy="29481"/>
                </a:xfrm>
                <a:custGeom>
                  <a:gdLst>
                    <a:gd name="T0" fmla="*/ 3 w 14"/>
                    <a:gd name="T1" fmla="*/ 0 h 10"/>
                    <a:gd name="T2" fmla="*/ 2 w 14"/>
                    <a:gd name="T3" fmla="*/ 9 h 10"/>
                    <a:gd name="T4" fmla="*/ 9 w 14"/>
                    <a:gd name="T5" fmla="*/ 10 h 10"/>
                    <a:gd name="T6" fmla="*/ 12 w 14"/>
                    <a:gd name="T7" fmla="*/ 9 h 10"/>
                    <a:gd name="T8" fmla="*/ 6 w 14"/>
                    <a:gd name="T9" fmla="*/ 1 h 10"/>
                    <a:gd name="T10" fmla="*/ 3 w 14"/>
                    <a:gd name="T11" fmla="*/ 0 h 10"/>
                  </a:gdLst>
                  <a:cxnLst>
                    <a:cxn ang="0">
                      <a:pos x="T0" y="T1"/>
                    </a:cxn>
                    <a:cxn ang="0">
                      <a:pos x="T2" y="T3"/>
                    </a:cxn>
                    <a:cxn ang="0">
                      <a:pos x="T4" y="T5"/>
                    </a:cxn>
                    <a:cxn ang="0">
                      <a:pos x="T6" y="T7"/>
                    </a:cxn>
                    <a:cxn ang="0">
                      <a:pos x="T8" y="T9"/>
                    </a:cxn>
                    <a:cxn ang="0">
                      <a:pos x="T10" y="T11"/>
                    </a:cxn>
                  </a:cxnLst>
                  <a:rect l="0" t="0" r="r" b="b"/>
                  <a:pathLst>
                    <a:path w="14" h="10">
                      <a:moveTo>
                        <a:pt x="3" y="0"/>
                      </a:moveTo>
                      <a:cubicBezTo>
                        <a:pt x="0" y="0"/>
                        <a:pt x="2" y="5"/>
                        <a:pt x="2" y="9"/>
                      </a:cubicBezTo>
                      <a:cubicBezTo>
                        <a:pt x="3" y="9"/>
                        <a:pt x="7" y="10"/>
                        <a:pt x="9" y="10"/>
                      </a:cubicBezTo>
                      <a:cubicBezTo>
                        <a:pt x="11" y="10"/>
                        <a:pt x="12" y="10"/>
                        <a:pt x="12" y="9"/>
                      </a:cubicBezTo>
                      <a:cubicBezTo>
                        <a:pt x="14" y="3"/>
                        <a:pt x="12" y="4"/>
                        <a:pt x="6"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102"/>
                <p:cNvSpPr/>
                <p:nvPr/>
              </p:nvSpPr>
              <p:spPr bwMode="auto">
                <a:xfrm>
                  <a:off x="4842242" y="2723301"/>
                  <a:ext cx="36851" cy="25796"/>
                </a:xfrm>
                <a:custGeom>
                  <a:gdLst>
                    <a:gd name="T0" fmla="*/ 7 w 11"/>
                    <a:gd name="T1" fmla="*/ 0 h 8"/>
                    <a:gd name="T2" fmla="*/ 0 w 11"/>
                    <a:gd name="T3" fmla="*/ 4 h 8"/>
                    <a:gd name="T4" fmla="*/ 5 w 11"/>
                    <a:gd name="T5" fmla="*/ 8 h 8"/>
                    <a:gd name="T6" fmla="*/ 5 w 11"/>
                    <a:gd name="T7" fmla="*/ 8 h 8"/>
                    <a:gd name="T8" fmla="*/ 9 w 11"/>
                    <a:gd name="T9" fmla="*/ 1 h 8"/>
                    <a:gd name="T10" fmla="*/ 7 w 11"/>
                    <a:gd name="T11" fmla="*/ 0 h 8"/>
                  </a:gdLst>
                  <a:cxnLst>
                    <a:cxn ang="0">
                      <a:pos x="T0" y="T1"/>
                    </a:cxn>
                    <a:cxn ang="0">
                      <a:pos x="T2" y="T3"/>
                    </a:cxn>
                    <a:cxn ang="0">
                      <a:pos x="T4" y="T5"/>
                    </a:cxn>
                    <a:cxn ang="0">
                      <a:pos x="T6" y="T7"/>
                    </a:cxn>
                    <a:cxn ang="0">
                      <a:pos x="T8" y="T9"/>
                    </a:cxn>
                    <a:cxn ang="0">
                      <a:pos x="T10" y="T11"/>
                    </a:cxn>
                  </a:cxnLst>
                  <a:rect l="0" t="0" r="r" b="b"/>
                  <a:pathLst>
                    <a:path w="11" h="8">
                      <a:moveTo>
                        <a:pt x="7" y="0"/>
                      </a:moveTo>
                      <a:cubicBezTo>
                        <a:pt x="4" y="0"/>
                        <a:pt x="2" y="4"/>
                        <a:pt x="0" y="4"/>
                      </a:cubicBezTo>
                      <a:cubicBezTo>
                        <a:pt x="2" y="6"/>
                        <a:pt x="3" y="7"/>
                        <a:pt x="5" y="8"/>
                      </a:cubicBezTo>
                      <a:cubicBezTo>
                        <a:pt x="5" y="8"/>
                        <a:pt x="5" y="8"/>
                        <a:pt x="5" y="8"/>
                      </a:cubicBezTo>
                      <a:cubicBezTo>
                        <a:pt x="8" y="8"/>
                        <a:pt x="11" y="3"/>
                        <a:pt x="9"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103"/>
                <p:cNvSpPr/>
                <p:nvPr/>
              </p:nvSpPr>
              <p:spPr bwMode="auto">
                <a:xfrm>
                  <a:off x="6633208" y="1072369"/>
                  <a:ext cx="77387" cy="36851"/>
                </a:xfrm>
                <a:custGeom>
                  <a:gdLst>
                    <a:gd name="T0" fmla="*/ 13 w 24"/>
                    <a:gd name="T1" fmla="*/ 0 h 12"/>
                    <a:gd name="T2" fmla="*/ 13 w 24"/>
                    <a:gd name="T3" fmla="*/ 0 h 12"/>
                    <a:gd name="T4" fmla="*/ 10 w 24"/>
                    <a:gd name="T5" fmla="*/ 1 h 12"/>
                    <a:gd name="T6" fmla="*/ 14 w 24"/>
                    <a:gd name="T7" fmla="*/ 5 h 12"/>
                    <a:gd name="T8" fmla="*/ 13 w 24"/>
                    <a:gd name="T9" fmla="*/ 5 h 12"/>
                    <a:gd name="T10" fmla="*/ 11 w 24"/>
                    <a:gd name="T11" fmla="*/ 5 h 12"/>
                    <a:gd name="T12" fmla="*/ 8 w 24"/>
                    <a:gd name="T13" fmla="*/ 5 h 12"/>
                    <a:gd name="T14" fmla="*/ 3 w 24"/>
                    <a:gd name="T15" fmla="*/ 6 h 12"/>
                    <a:gd name="T16" fmla="*/ 5 w 24"/>
                    <a:gd name="T17" fmla="*/ 9 h 12"/>
                    <a:gd name="T18" fmla="*/ 10 w 24"/>
                    <a:gd name="T19" fmla="*/ 12 h 12"/>
                    <a:gd name="T20" fmla="*/ 11 w 24"/>
                    <a:gd name="T21" fmla="*/ 12 h 12"/>
                    <a:gd name="T22" fmla="*/ 24 w 24"/>
                    <a:gd name="T23" fmla="*/ 8 h 12"/>
                    <a:gd name="T24" fmla="*/ 23 w 24"/>
                    <a:gd name="T25" fmla="*/ 9 h 12"/>
                    <a:gd name="T26" fmla="*/ 22 w 24"/>
                    <a:gd name="T27" fmla="*/ 3 h 12"/>
                    <a:gd name="T28" fmla="*/ 20 w 24"/>
                    <a:gd name="T29" fmla="*/ 3 h 12"/>
                    <a:gd name="T30" fmla="*/ 13 w 24"/>
                    <a:gd name="T31"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2">
                      <a:moveTo>
                        <a:pt x="13" y="0"/>
                      </a:moveTo>
                      <a:cubicBezTo>
                        <a:pt x="13" y="0"/>
                        <a:pt x="13" y="0"/>
                        <a:pt x="13" y="0"/>
                      </a:cubicBezTo>
                      <a:cubicBezTo>
                        <a:pt x="12" y="0"/>
                        <a:pt x="11" y="1"/>
                        <a:pt x="10" y="1"/>
                      </a:cubicBezTo>
                      <a:cubicBezTo>
                        <a:pt x="11" y="3"/>
                        <a:pt x="13" y="4"/>
                        <a:pt x="14" y="5"/>
                      </a:cubicBezTo>
                      <a:cubicBezTo>
                        <a:pt x="14" y="5"/>
                        <a:pt x="13" y="5"/>
                        <a:pt x="13" y="5"/>
                      </a:cubicBezTo>
                      <a:cubicBezTo>
                        <a:pt x="12" y="5"/>
                        <a:pt x="12" y="5"/>
                        <a:pt x="11" y="5"/>
                      </a:cubicBezTo>
                      <a:cubicBezTo>
                        <a:pt x="10" y="5"/>
                        <a:pt x="9" y="5"/>
                        <a:pt x="8" y="5"/>
                      </a:cubicBezTo>
                      <a:cubicBezTo>
                        <a:pt x="6" y="5"/>
                        <a:pt x="5" y="5"/>
                        <a:pt x="3" y="6"/>
                      </a:cubicBezTo>
                      <a:cubicBezTo>
                        <a:pt x="0" y="8"/>
                        <a:pt x="3" y="8"/>
                        <a:pt x="5" y="9"/>
                      </a:cubicBezTo>
                      <a:cubicBezTo>
                        <a:pt x="6" y="11"/>
                        <a:pt x="8" y="12"/>
                        <a:pt x="10" y="12"/>
                      </a:cubicBezTo>
                      <a:cubicBezTo>
                        <a:pt x="10" y="12"/>
                        <a:pt x="11" y="12"/>
                        <a:pt x="11" y="12"/>
                      </a:cubicBezTo>
                      <a:cubicBezTo>
                        <a:pt x="15" y="11"/>
                        <a:pt x="20" y="10"/>
                        <a:pt x="24" y="8"/>
                      </a:cubicBezTo>
                      <a:cubicBezTo>
                        <a:pt x="24" y="9"/>
                        <a:pt x="23" y="9"/>
                        <a:pt x="23" y="9"/>
                      </a:cubicBezTo>
                      <a:cubicBezTo>
                        <a:pt x="21" y="9"/>
                        <a:pt x="24" y="4"/>
                        <a:pt x="22" y="3"/>
                      </a:cubicBezTo>
                      <a:cubicBezTo>
                        <a:pt x="20" y="3"/>
                        <a:pt x="20" y="3"/>
                        <a:pt x="20" y="3"/>
                      </a:cubicBezTo>
                      <a:cubicBezTo>
                        <a:pt x="17" y="2"/>
                        <a:pt x="17"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104"/>
                <p:cNvSpPr/>
                <p:nvPr/>
              </p:nvSpPr>
              <p:spPr bwMode="auto">
                <a:xfrm>
                  <a:off x="5107571" y="2281087"/>
                  <a:ext cx="25796" cy="11055"/>
                </a:xfrm>
                <a:custGeom>
                  <a:gdLst>
                    <a:gd name="T0" fmla="*/ 4 w 8"/>
                    <a:gd name="T1" fmla="*/ 0 h 3"/>
                    <a:gd name="T2" fmla="*/ 3 w 8"/>
                    <a:gd name="T3" fmla="*/ 2 h 3"/>
                    <a:gd name="T4" fmla="*/ 2 w 8"/>
                    <a:gd name="T5" fmla="*/ 1 h 3"/>
                    <a:gd name="T6" fmla="*/ 0 w 8"/>
                    <a:gd name="T7" fmla="*/ 3 h 3"/>
                    <a:gd name="T8" fmla="*/ 5 w 8"/>
                    <a:gd name="T9" fmla="*/ 3 h 3"/>
                    <a:gd name="T10" fmla="*/ 8 w 8"/>
                    <a:gd name="T11" fmla="*/ 3 h 3"/>
                    <a:gd name="T12" fmla="*/ 4 w 8"/>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8" h="3">
                      <a:moveTo>
                        <a:pt x="4" y="0"/>
                      </a:moveTo>
                      <a:cubicBezTo>
                        <a:pt x="3" y="0"/>
                        <a:pt x="3" y="0"/>
                        <a:pt x="3" y="2"/>
                      </a:cubicBezTo>
                      <a:cubicBezTo>
                        <a:pt x="3" y="1"/>
                        <a:pt x="3" y="1"/>
                        <a:pt x="2" y="1"/>
                      </a:cubicBezTo>
                      <a:cubicBezTo>
                        <a:pt x="1" y="1"/>
                        <a:pt x="1" y="1"/>
                        <a:pt x="0" y="3"/>
                      </a:cubicBezTo>
                      <a:cubicBezTo>
                        <a:pt x="2" y="3"/>
                        <a:pt x="4" y="3"/>
                        <a:pt x="5" y="3"/>
                      </a:cubicBezTo>
                      <a:cubicBezTo>
                        <a:pt x="6" y="3"/>
                        <a:pt x="7" y="3"/>
                        <a:pt x="8" y="3"/>
                      </a:cubicBezTo>
                      <a:cubicBezTo>
                        <a:pt x="7" y="2"/>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Freeform 105"/>
                <p:cNvSpPr/>
                <p:nvPr/>
              </p:nvSpPr>
              <p:spPr bwMode="auto">
                <a:xfrm>
                  <a:off x="4820132" y="2760152"/>
                  <a:ext cx="14740" cy="29481"/>
                </a:xfrm>
                <a:custGeom>
                  <a:gdLst>
                    <a:gd name="T0" fmla="*/ 2 w 5"/>
                    <a:gd name="T1" fmla="*/ 0 h 10"/>
                    <a:gd name="T2" fmla="*/ 1 w 5"/>
                    <a:gd name="T3" fmla="*/ 3 h 10"/>
                    <a:gd name="T4" fmla="*/ 2 w 5"/>
                    <a:gd name="T5" fmla="*/ 2 h 10"/>
                    <a:gd name="T6" fmla="*/ 3 w 5"/>
                    <a:gd name="T7" fmla="*/ 10 h 10"/>
                    <a:gd name="T8" fmla="*/ 5 w 5"/>
                    <a:gd name="T9" fmla="*/ 4 h 10"/>
                    <a:gd name="T10" fmla="*/ 2 w 5"/>
                    <a:gd name="T11" fmla="*/ 0 h 10"/>
                  </a:gdLst>
                  <a:cxnLst>
                    <a:cxn ang="0">
                      <a:pos x="T0" y="T1"/>
                    </a:cxn>
                    <a:cxn ang="0">
                      <a:pos x="T2" y="T3"/>
                    </a:cxn>
                    <a:cxn ang="0">
                      <a:pos x="T4" y="T5"/>
                    </a:cxn>
                    <a:cxn ang="0">
                      <a:pos x="T6" y="T7"/>
                    </a:cxn>
                    <a:cxn ang="0">
                      <a:pos x="T8" y="T9"/>
                    </a:cxn>
                    <a:cxn ang="0">
                      <a:pos x="T10" y="T11"/>
                    </a:cxn>
                  </a:cxnLst>
                  <a:rect l="0" t="0" r="r" b="b"/>
                  <a:pathLst>
                    <a:path w="5" h="10">
                      <a:moveTo>
                        <a:pt x="2" y="0"/>
                      </a:moveTo>
                      <a:cubicBezTo>
                        <a:pt x="1" y="2"/>
                        <a:pt x="0" y="2"/>
                        <a:pt x="1" y="3"/>
                      </a:cubicBezTo>
                      <a:cubicBezTo>
                        <a:pt x="2" y="2"/>
                        <a:pt x="2" y="2"/>
                        <a:pt x="2" y="2"/>
                      </a:cubicBezTo>
                      <a:cubicBezTo>
                        <a:pt x="2" y="5"/>
                        <a:pt x="2" y="8"/>
                        <a:pt x="3" y="10"/>
                      </a:cubicBezTo>
                      <a:cubicBezTo>
                        <a:pt x="5" y="9"/>
                        <a:pt x="4" y="6"/>
                        <a:pt x="5" y="4"/>
                      </a:cubicBezTo>
                      <a:cubicBezTo>
                        <a:pt x="4"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Freeform 106"/>
                <p:cNvSpPr/>
                <p:nvPr/>
              </p:nvSpPr>
              <p:spPr bwMode="auto">
                <a:xfrm>
                  <a:off x="5641912" y="1507213"/>
                  <a:ext cx="88443" cy="44221"/>
                </a:xfrm>
                <a:custGeom>
                  <a:gdLst>
                    <a:gd name="T0" fmla="*/ 28 w 28"/>
                    <a:gd name="T1" fmla="*/ 0 h 14"/>
                    <a:gd name="T2" fmla="*/ 9 w 28"/>
                    <a:gd name="T3" fmla="*/ 3 h 14"/>
                    <a:gd name="T4" fmla="*/ 5 w 28"/>
                    <a:gd name="T5" fmla="*/ 8 h 14"/>
                    <a:gd name="T6" fmla="*/ 5 w 28"/>
                    <a:gd name="T7" fmla="*/ 8 h 14"/>
                    <a:gd name="T8" fmla="*/ 4 w 28"/>
                    <a:gd name="T9" fmla="*/ 8 h 14"/>
                    <a:gd name="T10" fmla="*/ 4 w 28"/>
                    <a:gd name="T11" fmla="*/ 8 h 14"/>
                    <a:gd name="T12" fmla="*/ 4 w 28"/>
                    <a:gd name="T13" fmla="*/ 9 h 14"/>
                    <a:gd name="T14" fmla="*/ 3 w 28"/>
                    <a:gd name="T15" fmla="*/ 11 h 14"/>
                    <a:gd name="T16" fmla="*/ 0 w 28"/>
                    <a:gd name="T17" fmla="*/ 14 h 14"/>
                    <a:gd name="T18" fmla="*/ 28 w 28"/>
                    <a:gd name="T1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4">
                      <a:moveTo>
                        <a:pt x="28" y="0"/>
                      </a:moveTo>
                      <a:cubicBezTo>
                        <a:pt x="21" y="0"/>
                        <a:pt x="15" y="2"/>
                        <a:pt x="9" y="3"/>
                      </a:cubicBezTo>
                      <a:cubicBezTo>
                        <a:pt x="8" y="5"/>
                        <a:pt x="7" y="6"/>
                        <a:pt x="5" y="8"/>
                      </a:cubicBezTo>
                      <a:cubicBezTo>
                        <a:pt x="5" y="8"/>
                        <a:pt x="5" y="8"/>
                        <a:pt x="5" y="8"/>
                      </a:cubicBezTo>
                      <a:cubicBezTo>
                        <a:pt x="4" y="8"/>
                        <a:pt x="4" y="8"/>
                        <a:pt x="4" y="8"/>
                      </a:cubicBezTo>
                      <a:cubicBezTo>
                        <a:pt x="4" y="8"/>
                        <a:pt x="4" y="8"/>
                        <a:pt x="4" y="8"/>
                      </a:cubicBezTo>
                      <a:cubicBezTo>
                        <a:pt x="3" y="8"/>
                        <a:pt x="3" y="8"/>
                        <a:pt x="4" y="9"/>
                      </a:cubicBezTo>
                      <a:cubicBezTo>
                        <a:pt x="2" y="10"/>
                        <a:pt x="3" y="10"/>
                        <a:pt x="3" y="11"/>
                      </a:cubicBezTo>
                      <a:cubicBezTo>
                        <a:pt x="1" y="11"/>
                        <a:pt x="0" y="12"/>
                        <a:pt x="0" y="14"/>
                      </a:cubicBezTo>
                      <a:cubicBezTo>
                        <a:pt x="10" y="12"/>
                        <a:pt x="22" y="8"/>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107"/>
                <p:cNvSpPr/>
                <p:nvPr/>
              </p:nvSpPr>
              <p:spPr bwMode="auto">
                <a:xfrm>
                  <a:off x="4705893" y="3773559"/>
                  <a:ext cx="33166" cy="18426"/>
                </a:xfrm>
                <a:custGeom>
                  <a:gdLst>
                    <a:gd name="T0" fmla="*/ 2 w 11"/>
                    <a:gd name="T1" fmla="*/ 0 h 5"/>
                    <a:gd name="T2" fmla="*/ 0 w 11"/>
                    <a:gd name="T3" fmla="*/ 0 h 5"/>
                    <a:gd name="T4" fmla="*/ 5 w 11"/>
                    <a:gd name="T5" fmla="*/ 2 h 5"/>
                    <a:gd name="T6" fmla="*/ 9 w 11"/>
                    <a:gd name="T7" fmla="*/ 5 h 5"/>
                    <a:gd name="T8" fmla="*/ 11 w 11"/>
                    <a:gd name="T9" fmla="*/ 4 h 5"/>
                    <a:gd name="T10" fmla="*/ 2 w 11"/>
                    <a:gd name="T11" fmla="*/ 0 h 5"/>
                  </a:gdLst>
                  <a:cxnLst>
                    <a:cxn ang="0">
                      <a:pos x="T0" y="T1"/>
                    </a:cxn>
                    <a:cxn ang="0">
                      <a:pos x="T2" y="T3"/>
                    </a:cxn>
                    <a:cxn ang="0">
                      <a:pos x="T4" y="T5"/>
                    </a:cxn>
                    <a:cxn ang="0">
                      <a:pos x="T6" y="T7"/>
                    </a:cxn>
                    <a:cxn ang="0">
                      <a:pos x="T8" y="T9"/>
                    </a:cxn>
                    <a:cxn ang="0">
                      <a:pos x="T10" y="T11"/>
                    </a:cxn>
                  </a:cxnLst>
                  <a:rect l="0" t="0" r="r" b="b"/>
                  <a:pathLst>
                    <a:path w="11" h="5">
                      <a:moveTo>
                        <a:pt x="2" y="0"/>
                      </a:moveTo>
                      <a:cubicBezTo>
                        <a:pt x="1" y="0"/>
                        <a:pt x="1" y="0"/>
                        <a:pt x="0" y="0"/>
                      </a:cubicBezTo>
                      <a:cubicBezTo>
                        <a:pt x="2" y="1"/>
                        <a:pt x="3" y="2"/>
                        <a:pt x="5" y="2"/>
                      </a:cubicBezTo>
                      <a:cubicBezTo>
                        <a:pt x="6" y="4"/>
                        <a:pt x="7" y="5"/>
                        <a:pt x="9" y="5"/>
                      </a:cubicBezTo>
                      <a:cubicBezTo>
                        <a:pt x="10" y="5"/>
                        <a:pt x="10" y="5"/>
                        <a:pt x="11" y="4"/>
                      </a:cubicBezTo>
                      <a:cubicBezTo>
                        <a:pt x="8" y="2"/>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108"/>
                <p:cNvSpPr/>
                <p:nvPr/>
              </p:nvSpPr>
              <p:spPr bwMode="auto">
                <a:xfrm>
                  <a:off x="4908574" y="3570878"/>
                  <a:ext cx="18426" cy="3685"/>
                </a:xfrm>
                <a:custGeom>
                  <a:gdLst>
                    <a:gd name="T0" fmla="*/ 6 w 6"/>
                    <a:gd name="T1" fmla="*/ 0 h 1"/>
                    <a:gd name="T2" fmla="*/ 0 w 6"/>
                    <a:gd name="T3" fmla="*/ 1 h 1"/>
                    <a:gd name="T4" fmla="*/ 2 w 6"/>
                    <a:gd name="T5" fmla="*/ 1 h 1"/>
                    <a:gd name="T6" fmla="*/ 3 w 6"/>
                    <a:gd name="T7" fmla="*/ 1 h 1"/>
                    <a:gd name="T8" fmla="*/ 6 w 6"/>
                    <a:gd name="T9" fmla="*/ 0 h 1"/>
                  </a:gdLst>
                  <a:cxnLst>
                    <a:cxn ang="0">
                      <a:pos x="T0" y="T1"/>
                    </a:cxn>
                    <a:cxn ang="0">
                      <a:pos x="T2" y="T3"/>
                    </a:cxn>
                    <a:cxn ang="0">
                      <a:pos x="T4" y="T5"/>
                    </a:cxn>
                    <a:cxn ang="0">
                      <a:pos x="T6" y="T7"/>
                    </a:cxn>
                    <a:cxn ang="0">
                      <a:pos x="T8" y="T9"/>
                    </a:cxn>
                  </a:cxnLst>
                  <a:rect l="0" t="0" r="r" b="b"/>
                  <a:pathLst>
                    <a:path w="6" h="1">
                      <a:moveTo>
                        <a:pt x="6" y="0"/>
                      </a:moveTo>
                      <a:cubicBezTo>
                        <a:pt x="4" y="0"/>
                        <a:pt x="2" y="1"/>
                        <a:pt x="0" y="1"/>
                      </a:cubicBezTo>
                      <a:cubicBezTo>
                        <a:pt x="1" y="1"/>
                        <a:pt x="1" y="1"/>
                        <a:pt x="2" y="1"/>
                      </a:cubicBezTo>
                      <a:cubicBezTo>
                        <a:pt x="2" y="1"/>
                        <a:pt x="3" y="1"/>
                        <a:pt x="3" y="1"/>
                      </a:cubicBezTo>
                      <a:cubicBezTo>
                        <a:pt x="4" y="1"/>
                        <a:pt x="5"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Freeform 109"/>
                <p:cNvSpPr/>
                <p:nvPr/>
              </p:nvSpPr>
              <p:spPr bwMode="auto">
                <a:xfrm>
                  <a:off x="4823817" y="3585618"/>
                  <a:ext cx="18426" cy="3685"/>
                </a:xfrm>
                <a:custGeom>
                  <a:gdLst>
                    <a:gd name="T0" fmla="*/ 6 w 6"/>
                    <a:gd name="T1" fmla="*/ 0 h 2"/>
                    <a:gd name="T2" fmla="*/ 0 w 6"/>
                    <a:gd name="T3" fmla="*/ 2 h 2"/>
                    <a:gd name="T4" fmla="*/ 6 w 6"/>
                    <a:gd name="T5" fmla="*/ 0 h 2"/>
                  </a:gdLst>
                  <a:cxnLst>
                    <a:cxn ang="0">
                      <a:pos x="T0" y="T1"/>
                    </a:cxn>
                    <a:cxn ang="0">
                      <a:pos x="T2" y="T3"/>
                    </a:cxn>
                    <a:cxn ang="0">
                      <a:pos x="T4" y="T5"/>
                    </a:cxn>
                  </a:cxnLst>
                  <a:rect l="0" t="0" r="r" b="b"/>
                  <a:pathLst>
                    <a:path w="6" h="2">
                      <a:moveTo>
                        <a:pt x="6" y="0"/>
                      </a:moveTo>
                      <a:cubicBezTo>
                        <a:pt x="4" y="1"/>
                        <a:pt x="2" y="1"/>
                        <a:pt x="0" y="2"/>
                      </a:cubicBezTo>
                      <a:cubicBezTo>
                        <a:pt x="2" y="1"/>
                        <a:pt x="4"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110"/>
                <p:cNvSpPr/>
                <p:nvPr/>
              </p:nvSpPr>
              <p:spPr bwMode="auto">
                <a:xfrm>
                  <a:off x="4783280" y="3611414"/>
                  <a:ext cx="18426" cy="22111"/>
                </a:xfrm>
                <a:custGeom>
                  <a:gdLst>
                    <a:gd name="T0" fmla="*/ 4 w 6"/>
                    <a:gd name="T1" fmla="*/ 0 h 7"/>
                    <a:gd name="T2" fmla="*/ 0 w 6"/>
                    <a:gd name="T3" fmla="*/ 7 h 7"/>
                    <a:gd name="T4" fmla="*/ 4 w 6"/>
                    <a:gd name="T5" fmla="*/ 0 h 7"/>
                  </a:gdLst>
                  <a:cxnLst>
                    <a:cxn ang="0">
                      <a:pos x="T0" y="T1"/>
                    </a:cxn>
                    <a:cxn ang="0">
                      <a:pos x="T2" y="T3"/>
                    </a:cxn>
                    <a:cxn ang="0">
                      <a:pos x="T4" y="T5"/>
                    </a:cxn>
                  </a:cxnLst>
                  <a:rect l="0" t="0" r="r" b="b"/>
                  <a:pathLst>
                    <a:path w="6" h="7">
                      <a:moveTo>
                        <a:pt x="4" y="0"/>
                      </a:moveTo>
                      <a:cubicBezTo>
                        <a:pt x="3" y="2"/>
                        <a:pt x="2" y="4"/>
                        <a:pt x="0" y="7"/>
                      </a:cubicBezTo>
                      <a:cubicBezTo>
                        <a:pt x="3" y="5"/>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111"/>
                <p:cNvSpPr/>
                <p:nvPr/>
              </p:nvSpPr>
              <p:spPr bwMode="auto">
                <a:xfrm>
                  <a:off x="4687467" y="3784614"/>
                  <a:ext cx="36851" cy="14740"/>
                </a:xfrm>
                <a:custGeom>
                  <a:gdLst>
                    <a:gd name="T0" fmla="*/ 5 w 11"/>
                    <a:gd name="T1" fmla="*/ 0 h 5"/>
                    <a:gd name="T2" fmla="*/ 0 w 11"/>
                    <a:gd name="T3" fmla="*/ 2 h 5"/>
                    <a:gd name="T4" fmla="*/ 3 w 11"/>
                    <a:gd name="T5" fmla="*/ 3 h 5"/>
                    <a:gd name="T6" fmla="*/ 3 w 11"/>
                    <a:gd name="T7" fmla="*/ 3 h 5"/>
                    <a:gd name="T8" fmla="*/ 4 w 11"/>
                    <a:gd name="T9" fmla="*/ 3 h 5"/>
                    <a:gd name="T10" fmla="*/ 6 w 11"/>
                    <a:gd name="T11" fmla="*/ 3 h 5"/>
                    <a:gd name="T12" fmla="*/ 10 w 11"/>
                    <a:gd name="T13" fmla="*/ 5 h 5"/>
                    <a:gd name="T14" fmla="*/ 11 w 11"/>
                    <a:gd name="T15" fmla="*/ 3 h 5"/>
                    <a:gd name="T16" fmla="*/ 5 w 11"/>
                    <a:gd name="T17" fmla="*/ 0 h 5"/>
                    <a:gd name="T18" fmla="*/ 5 w 11"/>
                    <a:gd name="T19"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5">
                      <a:moveTo>
                        <a:pt x="5" y="0"/>
                      </a:moveTo>
                      <a:cubicBezTo>
                        <a:pt x="3" y="0"/>
                        <a:pt x="2" y="1"/>
                        <a:pt x="0" y="2"/>
                      </a:cubicBezTo>
                      <a:cubicBezTo>
                        <a:pt x="1" y="3"/>
                        <a:pt x="2" y="3"/>
                        <a:pt x="3" y="3"/>
                      </a:cubicBezTo>
                      <a:cubicBezTo>
                        <a:pt x="3" y="3"/>
                        <a:pt x="3" y="3"/>
                        <a:pt x="3" y="3"/>
                      </a:cubicBezTo>
                      <a:cubicBezTo>
                        <a:pt x="4" y="3"/>
                        <a:pt x="4" y="3"/>
                        <a:pt x="4" y="3"/>
                      </a:cubicBezTo>
                      <a:cubicBezTo>
                        <a:pt x="5" y="3"/>
                        <a:pt x="5" y="3"/>
                        <a:pt x="6" y="3"/>
                      </a:cubicBezTo>
                      <a:cubicBezTo>
                        <a:pt x="6" y="3"/>
                        <a:pt x="9" y="5"/>
                        <a:pt x="10" y="5"/>
                      </a:cubicBezTo>
                      <a:cubicBezTo>
                        <a:pt x="11" y="5"/>
                        <a:pt x="11" y="4"/>
                        <a:pt x="11" y="3"/>
                      </a:cubicBezTo>
                      <a:cubicBezTo>
                        <a:pt x="10" y="2"/>
                        <a:pt x="6" y="1"/>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112"/>
                <p:cNvSpPr/>
                <p:nvPr/>
              </p:nvSpPr>
              <p:spPr bwMode="auto">
                <a:xfrm>
                  <a:off x="5649283" y="5531359"/>
                  <a:ext cx="18426" cy="18426"/>
                </a:xfrm>
                <a:custGeom>
                  <a:gdLst>
                    <a:gd name="T0" fmla="*/ 0 w 5"/>
                    <a:gd name="T1" fmla="*/ 0 h 6"/>
                    <a:gd name="T2" fmla="*/ 0 w 5"/>
                    <a:gd name="T3" fmla="*/ 0 h 6"/>
                    <a:gd name="T4" fmla="*/ 5 w 5"/>
                    <a:gd name="T5" fmla="*/ 6 h 6"/>
                    <a:gd name="T6" fmla="*/ 0 w 5"/>
                    <a:gd name="T7" fmla="*/ 0 h 6"/>
                  </a:gdLst>
                  <a:cxnLst>
                    <a:cxn ang="0">
                      <a:pos x="T0" y="T1"/>
                    </a:cxn>
                    <a:cxn ang="0">
                      <a:pos x="T2" y="T3"/>
                    </a:cxn>
                    <a:cxn ang="0">
                      <a:pos x="T4" y="T5"/>
                    </a:cxn>
                    <a:cxn ang="0">
                      <a:pos x="T6" y="T7"/>
                    </a:cxn>
                  </a:cxnLst>
                  <a:rect l="0" t="0" r="r" b="b"/>
                  <a:pathLst>
                    <a:path w="5" h="6">
                      <a:moveTo>
                        <a:pt x="0" y="0"/>
                      </a:moveTo>
                      <a:cubicBezTo>
                        <a:pt x="0" y="0"/>
                        <a:pt x="0" y="0"/>
                        <a:pt x="0" y="0"/>
                      </a:cubicBezTo>
                      <a:cubicBezTo>
                        <a:pt x="1" y="2"/>
                        <a:pt x="3" y="4"/>
                        <a:pt x="5" y="6"/>
                      </a:cubicBezTo>
                      <a:cubicBezTo>
                        <a:pt x="4" y="0"/>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113"/>
                <p:cNvSpPr/>
                <p:nvPr/>
              </p:nvSpPr>
              <p:spPr bwMode="auto">
                <a:xfrm>
                  <a:off x="4149441" y="4079424"/>
                  <a:ext cx="22111" cy="11055"/>
                </a:xfrm>
                <a:custGeom>
                  <a:gdLst>
                    <a:gd name="T0" fmla="*/ 2 w 7"/>
                    <a:gd name="T1" fmla="*/ 0 h 3"/>
                    <a:gd name="T2" fmla="*/ 6 w 7"/>
                    <a:gd name="T3" fmla="*/ 3 h 3"/>
                    <a:gd name="T4" fmla="*/ 7 w 7"/>
                    <a:gd name="T5" fmla="*/ 3 h 3"/>
                    <a:gd name="T6" fmla="*/ 6 w 7"/>
                    <a:gd name="T7" fmla="*/ 0 h 3"/>
                    <a:gd name="T8" fmla="*/ 2 w 7"/>
                    <a:gd name="T9" fmla="*/ 0 h 3"/>
                  </a:gdLst>
                  <a:cxnLst>
                    <a:cxn ang="0">
                      <a:pos x="T0" y="T1"/>
                    </a:cxn>
                    <a:cxn ang="0">
                      <a:pos x="T2" y="T3"/>
                    </a:cxn>
                    <a:cxn ang="0">
                      <a:pos x="T4" y="T5"/>
                    </a:cxn>
                    <a:cxn ang="0">
                      <a:pos x="T6" y="T7"/>
                    </a:cxn>
                    <a:cxn ang="0">
                      <a:pos x="T8" y="T9"/>
                    </a:cxn>
                  </a:cxnLst>
                  <a:rect l="0" t="0" r="r" b="b"/>
                  <a:pathLst>
                    <a:path w="7" h="3">
                      <a:moveTo>
                        <a:pt x="2" y="0"/>
                      </a:moveTo>
                      <a:cubicBezTo>
                        <a:pt x="0" y="2"/>
                        <a:pt x="4" y="3"/>
                        <a:pt x="6" y="3"/>
                      </a:cubicBezTo>
                      <a:cubicBezTo>
                        <a:pt x="6" y="3"/>
                        <a:pt x="7" y="3"/>
                        <a:pt x="7" y="3"/>
                      </a:cubicBezTo>
                      <a:cubicBezTo>
                        <a:pt x="7" y="2"/>
                        <a:pt x="6" y="1"/>
                        <a:pt x="6"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114"/>
                <p:cNvSpPr/>
                <p:nvPr/>
              </p:nvSpPr>
              <p:spPr bwMode="auto">
                <a:xfrm>
                  <a:off x="5092830" y="4974907"/>
                  <a:ext cx="147405" cy="257958"/>
                </a:xfrm>
                <a:custGeom>
                  <a:gdLst>
                    <a:gd name="T0" fmla="*/ 30 w 47"/>
                    <a:gd name="T1" fmla="*/ 0 h 81"/>
                    <a:gd name="T2" fmla="*/ 8 w 47"/>
                    <a:gd name="T3" fmla="*/ 15 h 81"/>
                    <a:gd name="T4" fmla="*/ 8 w 47"/>
                    <a:gd name="T5" fmla="*/ 15 h 81"/>
                    <a:gd name="T6" fmla="*/ 1 w 47"/>
                    <a:gd name="T7" fmla="*/ 11 h 81"/>
                    <a:gd name="T8" fmla="*/ 0 w 47"/>
                    <a:gd name="T9" fmla="*/ 16 h 81"/>
                    <a:gd name="T10" fmla="*/ 0 w 47"/>
                    <a:gd name="T11" fmla="*/ 19 h 81"/>
                    <a:gd name="T12" fmla="*/ 0 w 47"/>
                    <a:gd name="T13" fmla="*/ 23 h 81"/>
                    <a:gd name="T14" fmla="*/ 1 w 47"/>
                    <a:gd name="T15" fmla="*/ 23 h 81"/>
                    <a:gd name="T16" fmla="*/ 4 w 47"/>
                    <a:gd name="T17" fmla="*/ 24 h 81"/>
                    <a:gd name="T18" fmla="*/ 7 w 47"/>
                    <a:gd name="T19" fmla="*/ 30 h 81"/>
                    <a:gd name="T20" fmla="*/ 7 w 47"/>
                    <a:gd name="T21" fmla="*/ 40 h 81"/>
                    <a:gd name="T22" fmla="*/ 7 w 47"/>
                    <a:gd name="T23" fmla="*/ 43 h 81"/>
                    <a:gd name="T24" fmla="*/ 11 w 47"/>
                    <a:gd name="T25" fmla="*/ 53 h 81"/>
                    <a:gd name="T26" fmla="*/ 11 w 47"/>
                    <a:gd name="T27" fmla="*/ 52 h 81"/>
                    <a:gd name="T28" fmla="*/ 9 w 47"/>
                    <a:gd name="T29" fmla="*/ 55 h 81"/>
                    <a:gd name="T30" fmla="*/ 8 w 47"/>
                    <a:gd name="T31" fmla="*/ 58 h 81"/>
                    <a:gd name="T32" fmla="*/ 8 w 47"/>
                    <a:gd name="T33" fmla="*/ 58 h 81"/>
                    <a:gd name="T34" fmla="*/ 7 w 47"/>
                    <a:gd name="T35" fmla="*/ 59 h 81"/>
                    <a:gd name="T36" fmla="*/ 6 w 47"/>
                    <a:gd name="T37" fmla="*/ 73 h 81"/>
                    <a:gd name="T38" fmla="*/ 6 w 47"/>
                    <a:gd name="T39" fmla="*/ 73 h 81"/>
                    <a:gd name="T40" fmla="*/ 14 w 47"/>
                    <a:gd name="T41" fmla="*/ 80 h 81"/>
                    <a:gd name="T42" fmla="*/ 16 w 47"/>
                    <a:gd name="T43" fmla="*/ 81 h 81"/>
                    <a:gd name="T44" fmla="*/ 21 w 47"/>
                    <a:gd name="T45" fmla="*/ 80 h 81"/>
                    <a:gd name="T46" fmla="*/ 26 w 47"/>
                    <a:gd name="T47" fmla="*/ 69 h 81"/>
                    <a:gd name="T48" fmla="*/ 28 w 47"/>
                    <a:gd name="T49" fmla="*/ 70 h 81"/>
                    <a:gd name="T50" fmla="*/ 28 w 47"/>
                    <a:gd name="T51" fmla="*/ 70 h 81"/>
                    <a:gd name="T52" fmla="*/ 30 w 47"/>
                    <a:gd name="T53" fmla="*/ 69 h 81"/>
                    <a:gd name="T54" fmla="*/ 31 w 47"/>
                    <a:gd name="T55" fmla="*/ 69 h 81"/>
                    <a:gd name="T56" fmla="*/ 31 w 47"/>
                    <a:gd name="T57" fmla="*/ 69 h 81"/>
                    <a:gd name="T58" fmla="*/ 34 w 47"/>
                    <a:gd name="T59" fmla="*/ 70 h 81"/>
                    <a:gd name="T60" fmla="*/ 39 w 47"/>
                    <a:gd name="T61" fmla="*/ 73 h 81"/>
                    <a:gd name="T62" fmla="*/ 47 w 47"/>
                    <a:gd name="T63" fmla="*/ 28 h 81"/>
                    <a:gd name="T64" fmla="*/ 46 w 47"/>
                    <a:gd name="T65" fmla="*/ 22 h 81"/>
                    <a:gd name="T66" fmla="*/ 43 w 47"/>
                    <a:gd name="T67" fmla="*/ 14 h 81"/>
                    <a:gd name="T68" fmla="*/ 38 w 47"/>
                    <a:gd name="T69" fmla="*/ 12 h 81"/>
                    <a:gd name="T70" fmla="*/ 39 w 47"/>
                    <a:gd name="T71" fmla="*/ 4 h 81"/>
                    <a:gd name="T72" fmla="*/ 38 w 47"/>
                    <a:gd name="T73" fmla="*/ 4 h 81"/>
                    <a:gd name="T74" fmla="*/ 30 w 47"/>
                    <a:gd name="T75"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81">
                      <a:moveTo>
                        <a:pt x="30" y="0"/>
                      </a:moveTo>
                      <a:cubicBezTo>
                        <a:pt x="25" y="5"/>
                        <a:pt x="16" y="15"/>
                        <a:pt x="8" y="15"/>
                      </a:cubicBezTo>
                      <a:cubicBezTo>
                        <a:pt x="8" y="15"/>
                        <a:pt x="8" y="15"/>
                        <a:pt x="8" y="15"/>
                      </a:cubicBezTo>
                      <a:cubicBezTo>
                        <a:pt x="4" y="15"/>
                        <a:pt x="4" y="13"/>
                        <a:pt x="1" y="11"/>
                      </a:cubicBezTo>
                      <a:cubicBezTo>
                        <a:pt x="2" y="13"/>
                        <a:pt x="1" y="13"/>
                        <a:pt x="0" y="16"/>
                      </a:cubicBezTo>
                      <a:cubicBezTo>
                        <a:pt x="0" y="18"/>
                        <a:pt x="1" y="18"/>
                        <a:pt x="0" y="19"/>
                      </a:cubicBezTo>
                      <a:cubicBezTo>
                        <a:pt x="0" y="20"/>
                        <a:pt x="0" y="22"/>
                        <a:pt x="0" y="23"/>
                      </a:cubicBezTo>
                      <a:cubicBezTo>
                        <a:pt x="0" y="23"/>
                        <a:pt x="1" y="23"/>
                        <a:pt x="1" y="23"/>
                      </a:cubicBezTo>
                      <a:cubicBezTo>
                        <a:pt x="2" y="23"/>
                        <a:pt x="4" y="23"/>
                        <a:pt x="4" y="24"/>
                      </a:cubicBezTo>
                      <a:cubicBezTo>
                        <a:pt x="5" y="24"/>
                        <a:pt x="7" y="29"/>
                        <a:pt x="7" y="30"/>
                      </a:cubicBezTo>
                      <a:cubicBezTo>
                        <a:pt x="10" y="34"/>
                        <a:pt x="8" y="35"/>
                        <a:pt x="7" y="40"/>
                      </a:cubicBezTo>
                      <a:cubicBezTo>
                        <a:pt x="7" y="42"/>
                        <a:pt x="7" y="41"/>
                        <a:pt x="7" y="43"/>
                      </a:cubicBezTo>
                      <a:cubicBezTo>
                        <a:pt x="7" y="46"/>
                        <a:pt x="10" y="50"/>
                        <a:pt x="11" y="53"/>
                      </a:cubicBezTo>
                      <a:cubicBezTo>
                        <a:pt x="11" y="53"/>
                        <a:pt x="11" y="52"/>
                        <a:pt x="11" y="52"/>
                      </a:cubicBezTo>
                      <a:cubicBezTo>
                        <a:pt x="10" y="52"/>
                        <a:pt x="10" y="54"/>
                        <a:pt x="9" y="55"/>
                      </a:cubicBezTo>
                      <a:cubicBezTo>
                        <a:pt x="9" y="56"/>
                        <a:pt x="8" y="58"/>
                        <a:pt x="8" y="58"/>
                      </a:cubicBezTo>
                      <a:cubicBezTo>
                        <a:pt x="8" y="58"/>
                        <a:pt x="8" y="58"/>
                        <a:pt x="8" y="58"/>
                      </a:cubicBezTo>
                      <a:cubicBezTo>
                        <a:pt x="8" y="58"/>
                        <a:pt x="8" y="59"/>
                        <a:pt x="7" y="59"/>
                      </a:cubicBezTo>
                      <a:cubicBezTo>
                        <a:pt x="6" y="64"/>
                        <a:pt x="6" y="68"/>
                        <a:pt x="6" y="73"/>
                      </a:cubicBezTo>
                      <a:cubicBezTo>
                        <a:pt x="6" y="73"/>
                        <a:pt x="6" y="73"/>
                        <a:pt x="6" y="73"/>
                      </a:cubicBezTo>
                      <a:cubicBezTo>
                        <a:pt x="11" y="74"/>
                        <a:pt x="11" y="76"/>
                        <a:pt x="14" y="80"/>
                      </a:cubicBezTo>
                      <a:cubicBezTo>
                        <a:pt x="14" y="80"/>
                        <a:pt x="15" y="81"/>
                        <a:pt x="16" y="81"/>
                      </a:cubicBezTo>
                      <a:cubicBezTo>
                        <a:pt x="18" y="81"/>
                        <a:pt x="20" y="80"/>
                        <a:pt x="21" y="80"/>
                      </a:cubicBezTo>
                      <a:cubicBezTo>
                        <a:pt x="24" y="78"/>
                        <a:pt x="24" y="72"/>
                        <a:pt x="26" y="69"/>
                      </a:cubicBezTo>
                      <a:cubicBezTo>
                        <a:pt x="27" y="69"/>
                        <a:pt x="27" y="70"/>
                        <a:pt x="28" y="70"/>
                      </a:cubicBezTo>
                      <a:cubicBezTo>
                        <a:pt x="28" y="70"/>
                        <a:pt x="28" y="70"/>
                        <a:pt x="28" y="70"/>
                      </a:cubicBezTo>
                      <a:cubicBezTo>
                        <a:pt x="29" y="70"/>
                        <a:pt x="29" y="70"/>
                        <a:pt x="30" y="69"/>
                      </a:cubicBezTo>
                      <a:cubicBezTo>
                        <a:pt x="30" y="69"/>
                        <a:pt x="31" y="69"/>
                        <a:pt x="31" y="69"/>
                      </a:cubicBezTo>
                      <a:cubicBezTo>
                        <a:pt x="31" y="69"/>
                        <a:pt x="31" y="69"/>
                        <a:pt x="31" y="69"/>
                      </a:cubicBezTo>
                      <a:cubicBezTo>
                        <a:pt x="33" y="69"/>
                        <a:pt x="33" y="70"/>
                        <a:pt x="34" y="70"/>
                      </a:cubicBezTo>
                      <a:cubicBezTo>
                        <a:pt x="35" y="71"/>
                        <a:pt x="38" y="72"/>
                        <a:pt x="39" y="73"/>
                      </a:cubicBezTo>
                      <a:cubicBezTo>
                        <a:pt x="44" y="58"/>
                        <a:pt x="43" y="43"/>
                        <a:pt x="47" y="28"/>
                      </a:cubicBezTo>
                      <a:cubicBezTo>
                        <a:pt x="47" y="26"/>
                        <a:pt x="47" y="25"/>
                        <a:pt x="46" y="22"/>
                      </a:cubicBezTo>
                      <a:cubicBezTo>
                        <a:pt x="45" y="20"/>
                        <a:pt x="45" y="16"/>
                        <a:pt x="43" y="14"/>
                      </a:cubicBezTo>
                      <a:cubicBezTo>
                        <a:pt x="42" y="13"/>
                        <a:pt x="39" y="13"/>
                        <a:pt x="38" y="12"/>
                      </a:cubicBezTo>
                      <a:cubicBezTo>
                        <a:pt x="38" y="10"/>
                        <a:pt x="40" y="6"/>
                        <a:pt x="39" y="4"/>
                      </a:cubicBezTo>
                      <a:cubicBezTo>
                        <a:pt x="39" y="4"/>
                        <a:pt x="38" y="4"/>
                        <a:pt x="38" y="4"/>
                      </a:cubicBezTo>
                      <a:cubicBezTo>
                        <a:pt x="36" y="4"/>
                        <a:pt x="32"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115"/>
                <p:cNvSpPr/>
                <p:nvPr/>
              </p:nvSpPr>
              <p:spPr bwMode="auto">
                <a:xfrm>
                  <a:off x="5435546" y="5442916"/>
                  <a:ext cx="3685" cy="7370"/>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1" y="3"/>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116"/>
                <p:cNvSpPr/>
                <p:nvPr/>
              </p:nvSpPr>
              <p:spPr bwMode="auto">
                <a:xfrm>
                  <a:off x="5266031" y="4801706"/>
                  <a:ext cx="33166" cy="18426"/>
                </a:xfrm>
                <a:custGeom>
                  <a:gdLst>
                    <a:gd name="T0" fmla="*/ 9 w 10"/>
                    <a:gd name="T1" fmla="*/ 0 h 5"/>
                    <a:gd name="T2" fmla="*/ 5 w 10"/>
                    <a:gd name="T3" fmla="*/ 1 h 5"/>
                    <a:gd name="T4" fmla="*/ 3 w 10"/>
                    <a:gd name="T5" fmla="*/ 1 h 5"/>
                    <a:gd name="T6" fmla="*/ 0 w 10"/>
                    <a:gd name="T7" fmla="*/ 2 h 5"/>
                    <a:gd name="T8" fmla="*/ 9 w 10"/>
                    <a:gd name="T9" fmla="*/ 5 h 5"/>
                    <a:gd name="T10" fmla="*/ 9 w 10"/>
                    <a:gd name="T11" fmla="*/ 0 h 5"/>
                  </a:gdLst>
                  <a:cxnLst>
                    <a:cxn ang="0">
                      <a:pos x="T0" y="T1"/>
                    </a:cxn>
                    <a:cxn ang="0">
                      <a:pos x="T2" y="T3"/>
                    </a:cxn>
                    <a:cxn ang="0">
                      <a:pos x="T4" y="T5"/>
                    </a:cxn>
                    <a:cxn ang="0">
                      <a:pos x="T6" y="T7"/>
                    </a:cxn>
                    <a:cxn ang="0">
                      <a:pos x="T8" y="T9"/>
                    </a:cxn>
                    <a:cxn ang="0">
                      <a:pos x="T10" y="T11"/>
                    </a:cxn>
                  </a:cxnLst>
                  <a:rect l="0" t="0" r="r" b="b"/>
                  <a:pathLst>
                    <a:path w="10" h="5">
                      <a:moveTo>
                        <a:pt x="9" y="0"/>
                      </a:moveTo>
                      <a:cubicBezTo>
                        <a:pt x="8" y="0"/>
                        <a:pt x="7" y="0"/>
                        <a:pt x="5" y="1"/>
                      </a:cubicBezTo>
                      <a:cubicBezTo>
                        <a:pt x="3" y="1"/>
                        <a:pt x="3" y="1"/>
                        <a:pt x="3" y="1"/>
                      </a:cubicBezTo>
                      <a:cubicBezTo>
                        <a:pt x="2" y="1"/>
                        <a:pt x="1" y="1"/>
                        <a:pt x="0" y="2"/>
                      </a:cubicBezTo>
                      <a:cubicBezTo>
                        <a:pt x="3" y="3"/>
                        <a:pt x="6" y="4"/>
                        <a:pt x="9" y="5"/>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117"/>
                <p:cNvSpPr/>
                <p:nvPr/>
              </p:nvSpPr>
              <p:spPr bwMode="auto">
                <a:xfrm>
                  <a:off x="5472397" y="5291827"/>
                  <a:ext cx="294809" cy="169515"/>
                </a:xfrm>
                <a:custGeom>
                  <a:gdLst>
                    <a:gd name="T0" fmla="*/ 93 w 93"/>
                    <a:gd name="T1" fmla="*/ 0 h 53"/>
                    <a:gd name="T2" fmla="*/ 71 w 93"/>
                    <a:gd name="T3" fmla="*/ 5 h 53"/>
                    <a:gd name="T4" fmla="*/ 53 w 93"/>
                    <a:gd name="T5" fmla="*/ 9 h 53"/>
                    <a:gd name="T6" fmla="*/ 51 w 93"/>
                    <a:gd name="T7" fmla="*/ 8 h 53"/>
                    <a:gd name="T8" fmla="*/ 30 w 93"/>
                    <a:gd name="T9" fmla="*/ 5 h 53"/>
                    <a:gd name="T10" fmla="*/ 27 w 93"/>
                    <a:gd name="T11" fmla="*/ 3 h 53"/>
                    <a:gd name="T12" fmla="*/ 26 w 93"/>
                    <a:gd name="T13" fmla="*/ 3 h 53"/>
                    <a:gd name="T14" fmla="*/ 21 w 93"/>
                    <a:gd name="T15" fmla="*/ 5 h 53"/>
                    <a:gd name="T16" fmla="*/ 15 w 93"/>
                    <a:gd name="T17" fmla="*/ 7 h 53"/>
                    <a:gd name="T18" fmla="*/ 14 w 93"/>
                    <a:gd name="T19" fmla="*/ 7 h 53"/>
                    <a:gd name="T20" fmla="*/ 11 w 93"/>
                    <a:gd name="T21" fmla="*/ 4 h 53"/>
                    <a:gd name="T22" fmla="*/ 10 w 93"/>
                    <a:gd name="T23" fmla="*/ 4 h 53"/>
                    <a:gd name="T24" fmla="*/ 8 w 93"/>
                    <a:gd name="T25" fmla="*/ 6 h 53"/>
                    <a:gd name="T26" fmla="*/ 2 w 93"/>
                    <a:gd name="T27" fmla="*/ 17 h 53"/>
                    <a:gd name="T28" fmla="*/ 7 w 93"/>
                    <a:gd name="T29" fmla="*/ 23 h 53"/>
                    <a:gd name="T30" fmla="*/ 10 w 93"/>
                    <a:gd name="T31" fmla="*/ 24 h 53"/>
                    <a:gd name="T32" fmla="*/ 14 w 93"/>
                    <a:gd name="T33" fmla="*/ 23 h 53"/>
                    <a:gd name="T34" fmla="*/ 14 w 93"/>
                    <a:gd name="T35" fmla="*/ 23 h 53"/>
                    <a:gd name="T36" fmla="*/ 22 w 93"/>
                    <a:gd name="T37" fmla="*/ 27 h 53"/>
                    <a:gd name="T38" fmla="*/ 47 w 93"/>
                    <a:gd name="T39" fmla="*/ 38 h 53"/>
                    <a:gd name="T40" fmla="*/ 58 w 93"/>
                    <a:gd name="T41" fmla="*/ 45 h 53"/>
                    <a:gd name="T42" fmla="*/ 60 w 93"/>
                    <a:gd name="T43" fmla="*/ 48 h 53"/>
                    <a:gd name="T44" fmla="*/ 78 w 93"/>
                    <a:gd name="T45" fmla="*/ 53 h 53"/>
                    <a:gd name="T46" fmla="*/ 84 w 93"/>
                    <a:gd name="T47" fmla="*/ 42 h 53"/>
                    <a:gd name="T48" fmla="*/ 84 w 93"/>
                    <a:gd name="T49" fmla="*/ 42 h 53"/>
                    <a:gd name="T50" fmla="*/ 78 w 93"/>
                    <a:gd name="T51" fmla="*/ 31 h 53"/>
                    <a:gd name="T52" fmla="*/ 80 w 93"/>
                    <a:gd name="T53" fmla="*/ 20 h 53"/>
                    <a:gd name="T54" fmla="*/ 93 w 93"/>
                    <a:gd name="T55" fmla="*/ 0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3" h="52">
                      <a:moveTo>
                        <a:pt x="93" y="0"/>
                      </a:moveTo>
                      <a:cubicBezTo>
                        <a:pt x="86" y="2"/>
                        <a:pt x="78" y="3"/>
                        <a:pt x="71" y="5"/>
                      </a:cubicBezTo>
                      <a:cubicBezTo>
                        <a:pt x="66" y="6"/>
                        <a:pt x="59" y="9"/>
                        <a:pt x="53" y="9"/>
                      </a:cubicBezTo>
                      <a:cubicBezTo>
                        <a:pt x="52" y="9"/>
                        <a:pt x="52" y="9"/>
                        <a:pt x="51" y="8"/>
                      </a:cubicBezTo>
                      <a:cubicBezTo>
                        <a:pt x="44" y="7"/>
                        <a:pt x="37" y="6"/>
                        <a:pt x="30" y="5"/>
                      </a:cubicBezTo>
                      <a:cubicBezTo>
                        <a:pt x="28" y="4"/>
                        <a:pt x="29" y="3"/>
                        <a:pt x="27" y="3"/>
                      </a:cubicBezTo>
                      <a:cubicBezTo>
                        <a:pt x="27" y="3"/>
                        <a:pt x="27" y="3"/>
                        <a:pt x="26" y="3"/>
                      </a:cubicBezTo>
                      <a:cubicBezTo>
                        <a:pt x="25" y="3"/>
                        <a:pt x="23" y="4"/>
                        <a:pt x="21" y="5"/>
                      </a:cubicBezTo>
                      <a:cubicBezTo>
                        <a:pt x="19" y="6"/>
                        <a:pt x="18" y="7"/>
                        <a:pt x="15" y="7"/>
                      </a:cubicBezTo>
                      <a:cubicBezTo>
                        <a:pt x="15" y="7"/>
                        <a:pt x="14" y="7"/>
                        <a:pt x="14" y="7"/>
                      </a:cubicBezTo>
                      <a:cubicBezTo>
                        <a:pt x="12" y="6"/>
                        <a:pt x="13" y="5"/>
                        <a:pt x="11" y="4"/>
                      </a:cubicBezTo>
                      <a:cubicBezTo>
                        <a:pt x="11" y="4"/>
                        <a:pt x="10" y="4"/>
                        <a:pt x="10" y="4"/>
                      </a:cubicBezTo>
                      <a:cubicBezTo>
                        <a:pt x="10" y="4"/>
                        <a:pt x="9" y="4"/>
                        <a:pt x="8" y="6"/>
                      </a:cubicBezTo>
                      <a:cubicBezTo>
                        <a:pt x="7" y="8"/>
                        <a:pt x="0" y="15"/>
                        <a:pt x="2" y="17"/>
                      </a:cubicBezTo>
                      <a:cubicBezTo>
                        <a:pt x="3" y="18"/>
                        <a:pt x="6" y="22"/>
                        <a:pt x="7" y="23"/>
                      </a:cubicBezTo>
                      <a:cubicBezTo>
                        <a:pt x="8" y="23"/>
                        <a:pt x="9" y="24"/>
                        <a:pt x="10" y="24"/>
                      </a:cubicBezTo>
                      <a:cubicBezTo>
                        <a:pt x="11" y="24"/>
                        <a:pt x="13" y="23"/>
                        <a:pt x="14" y="23"/>
                      </a:cubicBezTo>
                      <a:cubicBezTo>
                        <a:pt x="14" y="23"/>
                        <a:pt x="14" y="23"/>
                        <a:pt x="14" y="23"/>
                      </a:cubicBezTo>
                      <a:cubicBezTo>
                        <a:pt x="17" y="23"/>
                        <a:pt x="20" y="26"/>
                        <a:pt x="22" y="27"/>
                      </a:cubicBezTo>
                      <a:cubicBezTo>
                        <a:pt x="30" y="30"/>
                        <a:pt x="39" y="34"/>
                        <a:pt x="47" y="38"/>
                      </a:cubicBezTo>
                      <a:cubicBezTo>
                        <a:pt x="51" y="40"/>
                        <a:pt x="55" y="41"/>
                        <a:pt x="58" y="45"/>
                      </a:cubicBezTo>
                      <a:cubicBezTo>
                        <a:pt x="58" y="46"/>
                        <a:pt x="59" y="48"/>
                        <a:pt x="60" y="48"/>
                      </a:cubicBezTo>
                      <a:cubicBezTo>
                        <a:pt x="64" y="52"/>
                        <a:pt x="73" y="51"/>
                        <a:pt x="78" y="53"/>
                      </a:cubicBezTo>
                      <a:cubicBezTo>
                        <a:pt x="79" y="50"/>
                        <a:pt x="80" y="42"/>
                        <a:pt x="84" y="42"/>
                      </a:cubicBezTo>
                      <a:cubicBezTo>
                        <a:pt x="84" y="42"/>
                        <a:pt x="84" y="42"/>
                        <a:pt x="84" y="42"/>
                      </a:cubicBezTo>
                      <a:cubicBezTo>
                        <a:pt x="82" y="38"/>
                        <a:pt x="80" y="35"/>
                        <a:pt x="78" y="31"/>
                      </a:cubicBezTo>
                      <a:cubicBezTo>
                        <a:pt x="76" y="29"/>
                        <a:pt x="80" y="23"/>
                        <a:pt x="80" y="20"/>
                      </a:cubicBezTo>
                      <a:cubicBezTo>
                        <a:pt x="83" y="13"/>
                        <a:pt x="88" y="7"/>
                        <a:pt x="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118"/>
                <p:cNvSpPr/>
                <p:nvPr/>
              </p:nvSpPr>
              <p:spPr bwMode="auto">
                <a:xfrm>
                  <a:off x="3924649" y="3460324"/>
                  <a:ext cx="44221" cy="40536"/>
                </a:xfrm>
                <a:custGeom>
                  <a:gdLst>
                    <a:gd name="T0" fmla="*/ 12 w 14"/>
                    <a:gd name="T1" fmla="*/ 0 h 13"/>
                    <a:gd name="T2" fmla="*/ 6 w 14"/>
                    <a:gd name="T3" fmla="*/ 3 h 13"/>
                    <a:gd name="T4" fmla="*/ 2 w 14"/>
                    <a:gd name="T5" fmla="*/ 9 h 13"/>
                    <a:gd name="T6" fmla="*/ 0 w 14"/>
                    <a:gd name="T7" fmla="*/ 13 h 13"/>
                    <a:gd name="T8" fmla="*/ 2 w 14"/>
                    <a:gd name="T9" fmla="*/ 13 h 13"/>
                    <a:gd name="T10" fmla="*/ 10 w 14"/>
                    <a:gd name="T11" fmla="*/ 9 h 13"/>
                    <a:gd name="T12" fmla="*/ 14 w 14"/>
                    <a:gd name="T13" fmla="*/ 4 h 13"/>
                    <a:gd name="T14" fmla="*/ 12 w 14"/>
                    <a:gd name="T15" fmla="*/ 0 h 1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3">
                      <a:moveTo>
                        <a:pt x="12" y="0"/>
                      </a:moveTo>
                      <a:cubicBezTo>
                        <a:pt x="10" y="1"/>
                        <a:pt x="8" y="2"/>
                        <a:pt x="6" y="3"/>
                      </a:cubicBezTo>
                      <a:cubicBezTo>
                        <a:pt x="5" y="6"/>
                        <a:pt x="3" y="7"/>
                        <a:pt x="2" y="9"/>
                      </a:cubicBezTo>
                      <a:cubicBezTo>
                        <a:pt x="1" y="10"/>
                        <a:pt x="1" y="12"/>
                        <a:pt x="0" y="13"/>
                      </a:cubicBezTo>
                      <a:cubicBezTo>
                        <a:pt x="1" y="13"/>
                        <a:pt x="2" y="13"/>
                        <a:pt x="2" y="13"/>
                      </a:cubicBezTo>
                      <a:cubicBezTo>
                        <a:pt x="6" y="13"/>
                        <a:pt x="8" y="12"/>
                        <a:pt x="10" y="9"/>
                      </a:cubicBezTo>
                      <a:cubicBezTo>
                        <a:pt x="11" y="8"/>
                        <a:pt x="14" y="6"/>
                        <a:pt x="14" y="4"/>
                      </a:cubicBezTo>
                      <a:cubicBezTo>
                        <a:pt x="14" y="2"/>
                        <a:pt x="11"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119"/>
                <p:cNvSpPr/>
                <p:nvPr/>
              </p:nvSpPr>
              <p:spPr bwMode="auto">
                <a:xfrm>
                  <a:off x="5645597" y="4547433"/>
                  <a:ext cx="18426" cy="62647"/>
                </a:xfrm>
                <a:custGeom>
                  <a:gdLst>
                    <a:gd name="T0" fmla="*/ 0 w 5"/>
                    <a:gd name="T1" fmla="*/ 0 h 20"/>
                    <a:gd name="T2" fmla="*/ 5 w 5"/>
                    <a:gd name="T3" fmla="*/ 20 h 20"/>
                    <a:gd name="T4" fmla="*/ 4 w 5"/>
                    <a:gd name="T5" fmla="*/ 12 h 20"/>
                    <a:gd name="T6" fmla="*/ 5 w 5"/>
                    <a:gd name="T7" fmla="*/ 7 h 20"/>
                    <a:gd name="T8" fmla="*/ 2 w 5"/>
                    <a:gd name="T9" fmla="*/ 4 h 20"/>
                    <a:gd name="T10" fmla="*/ 0 w 5"/>
                    <a:gd name="T11" fmla="*/ 0 h 20"/>
                  </a:gdLst>
                  <a:cxnLst>
                    <a:cxn ang="0">
                      <a:pos x="T0" y="T1"/>
                    </a:cxn>
                    <a:cxn ang="0">
                      <a:pos x="T2" y="T3"/>
                    </a:cxn>
                    <a:cxn ang="0">
                      <a:pos x="T4" y="T5"/>
                    </a:cxn>
                    <a:cxn ang="0">
                      <a:pos x="T6" y="T7"/>
                    </a:cxn>
                    <a:cxn ang="0">
                      <a:pos x="T8" y="T9"/>
                    </a:cxn>
                    <a:cxn ang="0">
                      <a:pos x="T10" y="T11"/>
                    </a:cxn>
                  </a:cxnLst>
                  <a:rect l="0" t="0" r="r" b="b"/>
                  <a:pathLst>
                    <a:path w="5" h="20">
                      <a:moveTo>
                        <a:pt x="0" y="0"/>
                      </a:moveTo>
                      <a:cubicBezTo>
                        <a:pt x="2" y="7"/>
                        <a:pt x="3" y="13"/>
                        <a:pt x="5" y="20"/>
                      </a:cubicBezTo>
                      <a:cubicBezTo>
                        <a:pt x="5" y="17"/>
                        <a:pt x="4" y="15"/>
                        <a:pt x="4" y="12"/>
                      </a:cubicBezTo>
                      <a:cubicBezTo>
                        <a:pt x="4" y="11"/>
                        <a:pt x="5" y="8"/>
                        <a:pt x="5" y="7"/>
                      </a:cubicBezTo>
                      <a:cubicBezTo>
                        <a:pt x="4" y="7"/>
                        <a:pt x="2" y="5"/>
                        <a:pt x="2"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120"/>
                <p:cNvSpPr/>
                <p:nvPr/>
              </p:nvSpPr>
              <p:spPr bwMode="auto">
                <a:xfrm>
                  <a:off x="5870389" y="4790651"/>
                  <a:ext cx="33166" cy="7370"/>
                </a:xfrm>
                <a:custGeom>
                  <a:gdLst>
                    <a:gd name="T0" fmla="*/ 0 w 11"/>
                    <a:gd name="T1" fmla="*/ 0 h 2"/>
                    <a:gd name="T2" fmla="*/ 3 w 11"/>
                    <a:gd name="T3" fmla="*/ 2 h 2"/>
                    <a:gd name="T4" fmla="*/ 6 w 11"/>
                    <a:gd name="T5" fmla="*/ 2 h 2"/>
                    <a:gd name="T6" fmla="*/ 8 w 11"/>
                    <a:gd name="T7" fmla="*/ 2 h 2"/>
                    <a:gd name="T8" fmla="*/ 9 w 11"/>
                    <a:gd name="T9" fmla="*/ 2 h 2"/>
                    <a:gd name="T10" fmla="*/ 11 w 11"/>
                    <a:gd name="T11" fmla="*/ 2 h 2"/>
                    <a:gd name="T12" fmla="*/ 0 w 11"/>
                    <a:gd name="T13" fmla="*/ 0 h 2"/>
                  </a:gdLst>
                  <a:cxnLst>
                    <a:cxn ang="0">
                      <a:pos x="T0" y="T1"/>
                    </a:cxn>
                    <a:cxn ang="0">
                      <a:pos x="T2" y="T3"/>
                    </a:cxn>
                    <a:cxn ang="0">
                      <a:pos x="T4" y="T5"/>
                    </a:cxn>
                    <a:cxn ang="0">
                      <a:pos x="T6" y="T7"/>
                    </a:cxn>
                    <a:cxn ang="0">
                      <a:pos x="T8" y="T9"/>
                    </a:cxn>
                    <a:cxn ang="0">
                      <a:pos x="T10" y="T11"/>
                    </a:cxn>
                    <a:cxn ang="0">
                      <a:pos x="T12" y="T13"/>
                    </a:cxn>
                  </a:cxnLst>
                  <a:rect l="0" t="0" r="r" b="b"/>
                  <a:pathLst>
                    <a:path w="11" h="2">
                      <a:moveTo>
                        <a:pt x="0" y="0"/>
                      </a:moveTo>
                      <a:cubicBezTo>
                        <a:pt x="1" y="1"/>
                        <a:pt x="2" y="2"/>
                        <a:pt x="3" y="2"/>
                      </a:cubicBezTo>
                      <a:cubicBezTo>
                        <a:pt x="4" y="2"/>
                        <a:pt x="5" y="2"/>
                        <a:pt x="6" y="2"/>
                      </a:cubicBezTo>
                      <a:cubicBezTo>
                        <a:pt x="6" y="2"/>
                        <a:pt x="7" y="2"/>
                        <a:pt x="8" y="2"/>
                      </a:cubicBezTo>
                      <a:cubicBezTo>
                        <a:pt x="8" y="2"/>
                        <a:pt x="9" y="2"/>
                        <a:pt x="9" y="2"/>
                      </a:cubicBezTo>
                      <a:cubicBezTo>
                        <a:pt x="10" y="2"/>
                        <a:pt x="11" y="2"/>
                        <a:pt x="11" y="2"/>
                      </a:cubicBezTo>
                      <a:cubicBezTo>
                        <a:pt x="8" y="1"/>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121"/>
                <p:cNvSpPr/>
                <p:nvPr/>
              </p:nvSpPr>
              <p:spPr bwMode="auto">
                <a:xfrm>
                  <a:off x="5874075" y="4812762"/>
                  <a:ext cx="3685" cy="3685"/>
                </a:xfrm>
                <a:custGeom>
                  <a:gdLst>
                    <a:gd name="T0" fmla="*/ 0 w 2"/>
                    <a:gd name="T1" fmla="*/ 0 h 1"/>
                    <a:gd name="T2" fmla="*/ 0 w 2"/>
                    <a:gd name="T3" fmla="*/ 0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0"/>
                        <a:pt x="0" y="0"/>
                        <a:pt x="0" y="0"/>
                      </a:cubicBezTo>
                      <a:cubicBezTo>
                        <a:pt x="1" y="0"/>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122"/>
                <p:cNvSpPr/>
                <p:nvPr/>
              </p:nvSpPr>
              <p:spPr bwMode="auto">
                <a:xfrm>
                  <a:off x="5837223" y="4742744"/>
                  <a:ext cx="47906" cy="14740"/>
                </a:xfrm>
                <a:custGeom>
                  <a:gdLst>
                    <a:gd name="T0" fmla="*/ 2 w 15"/>
                    <a:gd name="T1" fmla="*/ 0 h 5"/>
                    <a:gd name="T2" fmla="*/ 0 w 15"/>
                    <a:gd name="T3" fmla="*/ 0 h 5"/>
                    <a:gd name="T4" fmla="*/ 7 w 15"/>
                    <a:gd name="T5" fmla="*/ 5 h 5"/>
                    <a:gd name="T6" fmla="*/ 7 w 15"/>
                    <a:gd name="T7" fmla="*/ 1 h 5"/>
                    <a:gd name="T8" fmla="*/ 2 w 15"/>
                    <a:gd name="T9" fmla="*/ 0 h 5"/>
                  </a:gdLst>
                  <a:cxnLst>
                    <a:cxn ang="0">
                      <a:pos x="T0" y="T1"/>
                    </a:cxn>
                    <a:cxn ang="0">
                      <a:pos x="T2" y="T3"/>
                    </a:cxn>
                    <a:cxn ang="0">
                      <a:pos x="T4" y="T5"/>
                    </a:cxn>
                    <a:cxn ang="0">
                      <a:pos x="T6" y="T7"/>
                    </a:cxn>
                    <a:cxn ang="0">
                      <a:pos x="T8" y="T9"/>
                    </a:cxn>
                  </a:cxnLst>
                  <a:rect l="0" t="0" r="r" b="b"/>
                  <a:pathLst>
                    <a:path w="15" h="5">
                      <a:moveTo>
                        <a:pt x="2" y="0"/>
                      </a:moveTo>
                      <a:cubicBezTo>
                        <a:pt x="1" y="0"/>
                        <a:pt x="1" y="0"/>
                        <a:pt x="0" y="0"/>
                      </a:cubicBezTo>
                      <a:cubicBezTo>
                        <a:pt x="1" y="3"/>
                        <a:pt x="5" y="4"/>
                        <a:pt x="7" y="5"/>
                      </a:cubicBezTo>
                      <a:cubicBezTo>
                        <a:pt x="14" y="4"/>
                        <a:pt x="15" y="3"/>
                        <a:pt x="7" y="1"/>
                      </a:cubicBezTo>
                      <a:cubicBezTo>
                        <a:pt x="5"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123"/>
                <p:cNvSpPr/>
                <p:nvPr/>
              </p:nvSpPr>
              <p:spPr bwMode="auto">
                <a:xfrm>
                  <a:off x="5921981" y="4805391"/>
                  <a:ext cx="33166" cy="14740"/>
                </a:xfrm>
                <a:custGeom>
                  <a:gdLst>
                    <a:gd name="T0" fmla="*/ 0 w 10"/>
                    <a:gd name="T1" fmla="*/ 0 h 4"/>
                    <a:gd name="T2" fmla="*/ 10 w 10"/>
                    <a:gd name="T3" fmla="*/ 4 h 4"/>
                    <a:gd name="T4" fmla="*/ 0 w 10"/>
                    <a:gd name="T5" fmla="*/ 0 h 4"/>
                  </a:gdLst>
                  <a:cxnLst>
                    <a:cxn ang="0">
                      <a:pos x="T0" y="T1"/>
                    </a:cxn>
                    <a:cxn ang="0">
                      <a:pos x="T2" y="T3"/>
                    </a:cxn>
                    <a:cxn ang="0">
                      <a:pos x="T4" y="T5"/>
                    </a:cxn>
                  </a:cxnLst>
                  <a:rect l="0" t="0" r="r" b="b"/>
                  <a:pathLst>
                    <a:path w="10" h="4">
                      <a:moveTo>
                        <a:pt x="0" y="0"/>
                      </a:moveTo>
                      <a:cubicBezTo>
                        <a:pt x="2" y="3"/>
                        <a:pt x="7" y="4"/>
                        <a:pt x="10" y="4"/>
                      </a:cubicBezTo>
                      <a:cubicBezTo>
                        <a:pt x="7" y="3"/>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124"/>
                <p:cNvSpPr/>
                <p:nvPr/>
              </p:nvSpPr>
              <p:spPr bwMode="auto">
                <a:xfrm>
                  <a:off x="5804057" y="4779596"/>
                  <a:ext cx="11055" cy="3685"/>
                </a:xfrm>
                <a:custGeom>
                  <a:gdLst>
                    <a:gd name="T0" fmla="*/ 3 w 4"/>
                    <a:gd name="T1" fmla="*/ 0 h 2"/>
                    <a:gd name="T2" fmla="*/ 1 w 4"/>
                    <a:gd name="T3" fmla="*/ 1 h 2"/>
                    <a:gd name="T4" fmla="*/ 1 w 4"/>
                    <a:gd name="T5" fmla="*/ 2 h 2"/>
                    <a:gd name="T6" fmla="*/ 4 w 4"/>
                    <a:gd name="T7" fmla="*/ 0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1" y="0"/>
                        <a:pt x="1" y="1"/>
                      </a:cubicBezTo>
                      <a:cubicBezTo>
                        <a:pt x="0" y="1"/>
                        <a:pt x="1" y="2"/>
                        <a:pt x="1" y="2"/>
                      </a:cubicBezTo>
                      <a:cubicBezTo>
                        <a:pt x="2" y="2"/>
                        <a:pt x="3" y="1"/>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125"/>
                <p:cNvSpPr/>
                <p:nvPr/>
              </p:nvSpPr>
              <p:spPr bwMode="auto">
                <a:xfrm>
                  <a:off x="5715615" y="4680097"/>
                  <a:ext cx="11055" cy="11055"/>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0" y="2"/>
                        <a:pt x="2" y="3"/>
                        <a:pt x="3" y="4"/>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Freeform 126"/>
                <p:cNvSpPr/>
                <p:nvPr/>
              </p:nvSpPr>
              <p:spPr bwMode="auto">
                <a:xfrm>
                  <a:off x="5693504" y="4665357"/>
                  <a:ext cx="22111" cy="14740"/>
                </a:xfrm>
                <a:custGeom>
                  <a:gdLst>
                    <a:gd name="T0" fmla="*/ 0 w 7"/>
                    <a:gd name="T1" fmla="*/ 0 h 5"/>
                    <a:gd name="T2" fmla="*/ 7 w 7"/>
                    <a:gd name="T3" fmla="*/ 5 h 5"/>
                    <a:gd name="T4" fmla="*/ 0 w 7"/>
                    <a:gd name="T5" fmla="*/ 0 h 5"/>
                  </a:gdLst>
                  <a:cxnLst>
                    <a:cxn ang="0">
                      <a:pos x="T0" y="T1"/>
                    </a:cxn>
                    <a:cxn ang="0">
                      <a:pos x="T2" y="T3"/>
                    </a:cxn>
                    <a:cxn ang="0">
                      <a:pos x="T4" y="T5"/>
                    </a:cxn>
                  </a:cxnLst>
                  <a:rect l="0" t="0" r="r" b="b"/>
                  <a:pathLst>
                    <a:path w="7" h="5">
                      <a:moveTo>
                        <a:pt x="0" y="0"/>
                      </a:moveTo>
                      <a:cubicBezTo>
                        <a:pt x="3" y="1"/>
                        <a:pt x="5" y="3"/>
                        <a:pt x="7" y="5"/>
                      </a:cubicBezTo>
                      <a:cubicBezTo>
                        <a:pt x="5"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Freeform 127"/>
                <p:cNvSpPr/>
                <p:nvPr/>
              </p:nvSpPr>
              <p:spPr bwMode="auto">
                <a:xfrm>
                  <a:off x="5686134" y="4599025"/>
                  <a:ext cx="40536" cy="44221"/>
                </a:xfrm>
                <a:custGeom>
                  <a:gdLst>
                    <a:gd name="T0" fmla="*/ 0 w 13"/>
                    <a:gd name="T1" fmla="*/ 0 h 14"/>
                    <a:gd name="T2" fmla="*/ 12 w 13"/>
                    <a:gd name="T3" fmla="*/ 14 h 14"/>
                    <a:gd name="T4" fmla="*/ 5 w 13"/>
                    <a:gd name="T5" fmla="*/ 5 h 14"/>
                    <a:gd name="T6" fmla="*/ 5 w 13"/>
                    <a:gd name="T7" fmla="*/ 3 h 14"/>
                    <a:gd name="T8" fmla="*/ 5 w 13"/>
                    <a:gd name="T9" fmla="*/ 3 h 14"/>
                    <a:gd name="T10" fmla="*/ 4 w 13"/>
                    <a:gd name="T11" fmla="*/ 3 h 14"/>
                    <a:gd name="T12" fmla="*/ 4 w 13"/>
                    <a:gd name="T13" fmla="*/ 3 h 14"/>
                    <a:gd name="T14" fmla="*/ 3 w 13"/>
                    <a:gd name="T15" fmla="*/ 3 h 14"/>
                    <a:gd name="T16" fmla="*/ 0 w 13"/>
                    <a:gd name="T1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0"/>
                      </a:moveTo>
                      <a:cubicBezTo>
                        <a:pt x="4" y="5"/>
                        <a:pt x="8" y="9"/>
                        <a:pt x="12" y="14"/>
                      </a:cubicBezTo>
                      <a:cubicBezTo>
                        <a:pt x="13" y="7"/>
                        <a:pt x="8" y="10"/>
                        <a:pt x="5" y="5"/>
                      </a:cubicBezTo>
                      <a:cubicBezTo>
                        <a:pt x="5" y="5"/>
                        <a:pt x="6" y="4"/>
                        <a:pt x="5" y="3"/>
                      </a:cubicBezTo>
                      <a:cubicBezTo>
                        <a:pt x="5" y="3"/>
                        <a:pt x="5" y="3"/>
                        <a:pt x="5" y="3"/>
                      </a:cubicBezTo>
                      <a:cubicBezTo>
                        <a:pt x="5" y="3"/>
                        <a:pt x="4" y="3"/>
                        <a:pt x="4" y="3"/>
                      </a:cubicBezTo>
                      <a:cubicBezTo>
                        <a:pt x="4" y="3"/>
                        <a:pt x="4" y="3"/>
                        <a:pt x="4" y="3"/>
                      </a:cubicBezTo>
                      <a:cubicBezTo>
                        <a:pt x="3"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128"/>
                <p:cNvSpPr/>
                <p:nvPr/>
              </p:nvSpPr>
              <p:spPr bwMode="auto">
                <a:xfrm>
                  <a:off x="5656653" y="4540063"/>
                  <a:ext cx="29481" cy="33166"/>
                </a:xfrm>
                <a:custGeom>
                  <a:gdLst>
                    <a:gd name="T0" fmla="*/ 4 w 9"/>
                    <a:gd name="T1" fmla="*/ 0 h 10"/>
                    <a:gd name="T2" fmla="*/ 0 w 9"/>
                    <a:gd name="T3" fmla="*/ 5 h 10"/>
                    <a:gd name="T4" fmla="*/ 9 w 9"/>
                    <a:gd name="T5" fmla="*/ 10 h 10"/>
                    <a:gd name="T6" fmla="*/ 5 w 9"/>
                    <a:gd name="T7" fmla="*/ 3 h 10"/>
                    <a:gd name="T8" fmla="*/ 5 w 9"/>
                    <a:gd name="T9" fmla="*/ 3 h 10"/>
                    <a:gd name="T10" fmla="*/ 4 w 9"/>
                    <a:gd name="T11" fmla="*/ 0 h 10"/>
                  </a:gdLst>
                  <a:cxnLst>
                    <a:cxn ang="0">
                      <a:pos x="T0" y="T1"/>
                    </a:cxn>
                    <a:cxn ang="0">
                      <a:pos x="T2" y="T3"/>
                    </a:cxn>
                    <a:cxn ang="0">
                      <a:pos x="T4" y="T5"/>
                    </a:cxn>
                    <a:cxn ang="0">
                      <a:pos x="T6" y="T7"/>
                    </a:cxn>
                    <a:cxn ang="0">
                      <a:pos x="T8" y="T9"/>
                    </a:cxn>
                    <a:cxn ang="0">
                      <a:pos x="T10" y="T11"/>
                    </a:cxn>
                  </a:cxnLst>
                  <a:rect l="0" t="0" r="r" b="b"/>
                  <a:pathLst>
                    <a:path w="9" h="10">
                      <a:moveTo>
                        <a:pt x="4" y="0"/>
                      </a:moveTo>
                      <a:cubicBezTo>
                        <a:pt x="3" y="3"/>
                        <a:pt x="2" y="4"/>
                        <a:pt x="0" y="5"/>
                      </a:cubicBezTo>
                      <a:cubicBezTo>
                        <a:pt x="3" y="7"/>
                        <a:pt x="6" y="9"/>
                        <a:pt x="9" y="10"/>
                      </a:cubicBezTo>
                      <a:cubicBezTo>
                        <a:pt x="9" y="8"/>
                        <a:pt x="8" y="3"/>
                        <a:pt x="5" y="3"/>
                      </a:cubicBezTo>
                      <a:cubicBezTo>
                        <a:pt x="5" y="3"/>
                        <a:pt x="5" y="3"/>
                        <a:pt x="5" y="3"/>
                      </a:cubicBezTo>
                      <a:cubicBezTo>
                        <a:pt x="6"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129"/>
                <p:cNvSpPr/>
                <p:nvPr/>
              </p:nvSpPr>
              <p:spPr bwMode="auto">
                <a:xfrm>
                  <a:off x="5837223" y="4761170"/>
                  <a:ext cx="66332" cy="14740"/>
                </a:xfrm>
                <a:custGeom>
                  <a:gdLst>
                    <a:gd name="T0" fmla="*/ 3 w 21"/>
                    <a:gd name="T1" fmla="*/ 0 h 4"/>
                    <a:gd name="T2" fmla="*/ 0 w 21"/>
                    <a:gd name="T3" fmla="*/ 1 h 4"/>
                    <a:gd name="T4" fmla="*/ 17 w 21"/>
                    <a:gd name="T5" fmla="*/ 4 h 4"/>
                    <a:gd name="T6" fmla="*/ 21 w 21"/>
                    <a:gd name="T7" fmla="*/ 3 h 4"/>
                    <a:gd name="T8" fmla="*/ 7 w 21"/>
                    <a:gd name="T9" fmla="*/ 1 h 4"/>
                    <a:gd name="T10" fmla="*/ 3 w 21"/>
                    <a:gd name="T11" fmla="*/ 0 h 4"/>
                  </a:gdLst>
                  <a:cxnLst>
                    <a:cxn ang="0">
                      <a:pos x="T0" y="T1"/>
                    </a:cxn>
                    <a:cxn ang="0">
                      <a:pos x="T2" y="T3"/>
                    </a:cxn>
                    <a:cxn ang="0">
                      <a:pos x="T4" y="T5"/>
                    </a:cxn>
                    <a:cxn ang="0">
                      <a:pos x="T6" y="T7"/>
                    </a:cxn>
                    <a:cxn ang="0">
                      <a:pos x="T8" y="T9"/>
                    </a:cxn>
                    <a:cxn ang="0">
                      <a:pos x="T10" y="T11"/>
                    </a:cxn>
                  </a:cxnLst>
                  <a:rect l="0" t="0" r="r" b="b"/>
                  <a:pathLst>
                    <a:path w="21" h="4">
                      <a:moveTo>
                        <a:pt x="3" y="0"/>
                      </a:moveTo>
                      <a:cubicBezTo>
                        <a:pt x="2" y="0"/>
                        <a:pt x="1" y="1"/>
                        <a:pt x="0" y="1"/>
                      </a:cubicBezTo>
                      <a:cubicBezTo>
                        <a:pt x="5" y="2"/>
                        <a:pt x="11" y="4"/>
                        <a:pt x="17" y="4"/>
                      </a:cubicBezTo>
                      <a:cubicBezTo>
                        <a:pt x="18" y="4"/>
                        <a:pt x="20" y="4"/>
                        <a:pt x="21" y="3"/>
                      </a:cubicBezTo>
                      <a:cubicBezTo>
                        <a:pt x="16" y="3"/>
                        <a:pt x="11" y="3"/>
                        <a:pt x="7" y="1"/>
                      </a:cubicBezTo>
                      <a:cubicBezTo>
                        <a:pt x="6"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Freeform 130"/>
                <p:cNvSpPr/>
                <p:nvPr/>
              </p:nvSpPr>
              <p:spPr bwMode="auto">
                <a:xfrm>
                  <a:off x="6644264" y="5406065"/>
                  <a:ext cx="25796" cy="29481"/>
                </a:xfrm>
                <a:custGeom>
                  <a:gdLst>
                    <a:gd name="T0" fmla="*/ 5 w 8"/>
                    <a:gd name="T1" fmla="*/ 0 h 9"/>
                    <a:gd name="T2" fmla="*/ 0 w 8"/>
                    <a:gd name="T3" fmla="*/ 3 h 9"/>
                    <a:gd name="T4" fmla="*/ 3 w 8"/>
                    <a:gd name="T5" fmla="*/ 9 h 9"/>
                    <a:gd name="T6" fmla="*/ 7 w 8"/>
                    <a:gd name="T7" fmla="*/ 2 h 9"/>
                    <a:gd name="T8" fmla="*/ 5 w 8"/>
                    <a:gd name="T9" fmla="*/ 0 h 9"/>
                  </a:gdLst>
                  <a:cxnLst>
                    <a:cxn ang="0">
                      <a:pos x="T0" y="T1"/>
                    </a:cxn>
                    <a:cxn ang="0">
                      <a:pos x="T2" y="T3"/>
                    </a:cxn>
                    <a:cxn ang="0">
                      <a:pos x="T4" y="T5"/>
                    </a:cxn>
                    <a:cxn ang="0">
                      <a:pos x="T6" y="T7"/>
                    </a:cxn>
                    <a:cxn ang="0">
                      <a:pos x="T8" y="T9"/>
                    </a:cxn>
                  </a:cxnLst>
                  <a:rect l="0" t="0" r="r" b="b"/>
                  <a:pathLst>
                    <a:path w="8" h="9">
                      <a:moveTo>
                        <a:pt x="5" y="0"/>
                      </a:moveTo>
                      <a:cubicBezTo>
                        <a:pt x="3" y="0"/>
                        <a:pt x="1" y="3"/>
                        <a:pt x="0" y="3"/>
                      </a:cubicBezTo>
                      <a:cubicBezTo>
                        <a:pt x="0" y="5"/>
                        <a:pt x="2" y="7"/>
                        <a:pt x="3" y="9"/>
                      </a:cubicBezTo>
                      <a:cubicBezTo>
                        <a:pt x="5" y="8"/>
                        <a:pt x="8" y="4"/>
                        <a:pt x="7" y="2"/>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131"/>
                <p:cNvSpPr/>
                <p:nvPr/>
              </p:nvSpPr>
              <p:spPr bwMode="auto">
                <a:xfrm>
                  <a:off x="6636893" y="5446601"/>
                  <a:ext cx="7370" cy="18426"/>
                </a:xfrm>
                <a:custGeom>
                  <a:gdLst>
                    <a:gd name="T0" fmla="*/ 0 w 2"/>
                    <a:gd name="T1" fmla="*/ 0 h 5"/>
                    <a:gd name="T2" fmla="*/ 2 w 2"/>
                    <a:gd name="T3" fmla="*/ 5 h 5"/>
                    <a:gd name="T4" fmla="*/ 0 w 2"/>
                    <a:gd name="T5" fmla="*/ 0 h 5"/>
                  </a:gdLst>
                  <a:cxnLst>
                    <a:cxn ang="0">
                      <a:pos x="T0" y="T1"/>
                    </a:cxn>
                    <a:cxn ang="0">
                      <a:pos x="T2" y="T3"/>
                    </a:cxn>
                    <a:cxn ang="0">
                      <a:pos x="T4" y="T5"/>
                    </a:cxn>
                  </a:cxnLst>
                  <a:rect l="0" t="0" r="r" b="b"/>
                  <a:pathLst>
                    <a:path w="2" h="5">
                      <a:moveTo>
                        <a:pt x="0" y="0"/>
                      </a:moveTo>
                      <a:cubicBezTo>
                        <a:pt x="0" y="2"/>
                        <a:pt x="1" y="3"/>
                        <a:pt x="2" y="5"/>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132"/>
                <p:cNvSpPr/>
                <p:nvPr/>
              </p:nvSpPr>
              <p:spPr bwMode="auto">
                <a:xfrm>
                  <a:off x="6467378" y="5321308"/>
                  <a:ext cx="7370" cy="11055"/>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133"/>
                <p:cNvSpPr/>
                <p:nvPr/>
              </p:nvSpPr>
              <p:spPr bwMode="auto">
                <a:xfrm>
                  <a:off x="6611098" y="5107571"/>
                  <a:ext cx="44221" cy="25796"/>
                </a:xfrm>
                <a:custGeom>
                  <a:gdLst>
                    <a:gd name="T0" fmla="*/ 13 w 13"/>
                    <a:gd name="T1" fmla="*/ 0 h 8"/>
                    <a:gd name="T2" fmla="*/ 8 w 13"/>
                    <a:gd name="T3" fmla="*/ 2 h 8"/>
                    <a:gd name="T4" fmla="*/ 8 w 13"/>
                    <a:gd name="T5" fmla="*/ 2 h 8"/>
                    <a:gd name="T6" fmla="*/ 7 w 13"/>
                    <a:gd name="T7" fmla="*/ 1 h 8"/>
                    <a:gd name="T8" fmla="*/ 5 w 13"/>
                    <a:gd name="T9" fmla="*/ 1 h 8"/>
                    <a:gd name="T10" fmla="*/ 4 w 13"/>
                    <a:gd name="T11" fmla="*/ 1 h 8"/>
                    <a:gd name="T12" fmla="*/ 3 w 13"/>
                    <a:gd name="T13" fmla="*/ 1 h 8"/>
                    <a:gd name="T14" fmla="*/ 1 w 13"/>
                    <a:gd name="T15" fmla="*/ 6 h 8"/>
                    <a:gd name="T16" fmla="*/ 6 w 13"/>
                    <a:gd name="T17" fmla="*/ 4 h 8"/>
                    <a:gd name="T18" fmla="*/ 10 w 13"/>
                    <a:gd name="T19" fmla="*/ 8 h 8"/>
                    <a:gd name="T20" fmla="*/ 13 w 13"/>
                    <a:gd name="T2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8">
                      <a:moveTo>
                        <a:pt x="13" y="0"/>
                      </a:moveTo>
                      <a:cubicBezTo>
                        <a:pt x="12" y="0"/>
                        <a:pt x="9" y="2"/>
                        <a:pt x="8" y="2"/>
                      </a:cubicBezTo>
                      <a:cubicBezTo>
                        <a:pt x="8" y="2"/>
                        <a:pt x="8" y="2"/>
                        <a:pt x="8" y="2"/>
                      </a:cubicBezTo>
                      <a:cubicBezTo>
                        <a:pt x="7" y="2"/>
                        <a:pt x="8" y="1"/>
                        <a:pt x="7" y="1"/>
                      </a:cubicBezTo>
                      <a:cubicBezTo>
                        <a:pt x="7" y="1"/>
                        <a:pt x="6" y="1"/>
                        <a:pt x="5" y="1"/>
                      </a:cubicBezTo>
                      <a:cubicBezTo>
                        <a:pt x="5" y="1"/>
                        <a:pt x="4" y="1"/>
                        <a:pt x="4" y="1"/>
                      </a:cubicBezTo>
                      <a:cubicBezTo>
                        <a:pt x="3" y="1"/>
                        <a:pt x="3" y="1"/>
                        <a:pt x="3" y="1"/>
                      </a:cubicBezTo>
                      <a:cubicBezTo>
                        <a:pt x="0" y="2"/>
                        <a:pt x="2" y="3"/>
                        <a:pt x="1" y="6"/>
                      </a:cubicBezTo>
                      <a:cubicBezTo>
                        <a:pt x="4" y="5"/>
                        <a:pt x="5" y="4"/>
                        <a:pt x="6" y="4"/>
                      </a:cubicBezTo>
                      <a:cubicBezTo>
                        <a:pt x="7" y="4"/>
                        <a:pt x="8" y="5"/>
                        <a:pt x="10" y="8"/>
                      </a:cubicBezTo>
                      <a:cubicBezTo>
                        <a:pt x="9" y="3"/>
                        <a:pt x="12" y="3"/>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134"/>
                <p:cNvSpPr/>
                <p:nvPr/>
              </p:nvSpPr>
              <p:spPr bwMode="auto">
                <a:xfrm>
                  <a:off x="6614783" y="5409750"/>
                  <a:ext cx="22111" cy="18426"/>
                </a:xfrm>
                <a:custGeom>
                  <a:gdLst>
                    <a:gd name="T0" fmla="*/ 7 w 7"/>
                    <a:gd name="T1" fmla="*/ 0 h 6"/>
                    <a:gd name="T2" fmla="*/ 4 w 7"/>
                    <a:gd name="T3" fmla="*/ 6 h 6"/>
                    <a:gd name="T4" fmla="*/ 7 w 7"/>
                    <a:gd name="T5" fmla="*/ 0 h 6"/>
                  </a:gdLst>
                  <a:cxnLst>
                    <a:cxn ang="0">
                      <a:pos x="T0" y="T1"/>
                    </a:cxn>
                    <a:cxn ang="0">
                      <a:pos x="T2" y="T3"/>
                    </a:cxn>
                    <a:cxn ang="0">
                      <a:pos x="T4" y="T5"/>
                    </a:cxn>
                  </a:cxnLst>
                  <a:rect l="0" t="0" r="r" b="b"/>
                  <a:pathLst>
                    <a:path w="7" h="6">
                      <a:moveTo>
                        <a:pt x="7" y="0"/>
                      </a:moveTo>
                      <a:cubicBezTo>
                        <a:pt x="3" y="1"/>
                        <a:pt x="0" y="2"/>
                        <a:pt x="4" y="6"/>
                      </a:cubicBezTo>
                      <a:cubicBezTo>
                        <a:pt x="7" y="4"/>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135"/>
                <p:cNvSpPr/>
                <p:nvPr/>
              </p:nvSpPr>
              <p:spPr bwMode="auto">
                <a:xfrm>
                  <a:off x="6647949" y="5479768"/>
                  <a:ext cx="7370" cy="14740"/>
                </a:xfrm>
                <a:custGeom>
                  <a:gdLst>
                    <a:gd name="T0" fmla="*/ 0 w 2"/>
                    <a:gd name="T1" fmla="*/ 0 h 5"/>
                    <a:gd name="T2" fmla="*/ 1 w 2"/>
                    <a:gd name="T3" fmla="*/ 5 h 5"/>
                    <a:gd name="T4" fmla="*/ 0 w 2"/>
                    <a:gd name="T5" fmla="*/ 0 h 5"/>
                  </a:gdLst>
                  <a:cxnLst>
                    <a:cxn ang="0">
                      <a:pos x="T0" y="T1"/>
                    </a:cxn>
                    <a:cxn ang="0">
                      <a:pos x="T2" y="T3"/>
                    </a:cxn>
                    <a:cxn ang="0">
                      <a:pos x="T4" y="T5"/>
                    </a:cxn>
                  </a:cxnLst>
                  <a:rect l="0" t="0" r="r" b="b"/>
                  <a:pathLst>
                    <a:path w="2" h="5">
                      <a:moveTo>
                        <a:pt x="0" y="0"/>
                      </a:moveTo>
                      <a:cubicBezTo>
                        <a:pt x="0" y="2"/>
                        <a:pt x="1" y="3"/>
                        <a:pt x="1" y="5"/>
                      </a:cubicBezTo>
                      <a:cubicBezTo>
                        <a:pt x="2" y="3"/>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136"/>
                <p:cNvSpPr/>
                <p:nvPr/>
              </p:nvSpPr>
              <p:spPr bwMode="auto">
                <a:xfrm>
                  <a:off x="6699540" y="5354474"/>
                  <a:ext cx="33166" cy="18426"/>
                </a:xfrm>
                <a:custGeom>
                  <a:gdLst>
                    <a:gd name="T0" fmla="*/ 10 w 10"/>
                    <a:gd name="T1" fmla="*/ 0 h 5"/>
                    <a:gd name="T2" fmla="*/ 0 w 10"/>
                    <a:gd name="T3" fmla="*/ 5 h 5"/>
                    <a:gd name="T4" fmla="*/ 10 w 10"/>
                    <a:gd name="T5" fmla="*/ 0 h 5"/>
                  </a:gdLst>
                  <a:cxnLst>
                    <a:cxn ang="0">
                      <a:pos x="T0" y="T1"/>
                    </a:cxn>
                    <a:cxn ang="0">
                      <a:pos x="T2" y="T3"/>
                    </a:cxn>
                    <a:cxn ang="0">
                      <a:pos x="T4" y="T5"/>
                    </a:cxn>
                  </a:cxnLst>
                  <a:rect l="0" t="0" r="r" b="b"/>
                  <a:pathLst>
                    <a:path w="10" h="5">
                      <a:moveTo>
                        <a:pt x="10" y="0"/>
                      </a:moveTo>
                      <a:cubicBezTo>
                        <a:pt x="7" y="1"/>
                        <a:pt x="3" y="3"/>
                        <a:pt x="0" y="5"/>
                      </a:cubicBezTo>
                      <a:cubicBezTo>
                        <a:pt x="4" y="5"/>
                        <a:pt x="8"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137"/>
                <p:cNvSpPr/>
                <p:nvPr/>
              </p:nvSpPr>
              <p:spPr bwMode="auto">
                <a:xfrm>
                  <a:off x="6600042" y="5376584"/>
                  <a:ext cx="7370" cy="11055"/>
                </a:xfrm>
                <a:custGeom>
                  <a:gdLst>
                    <a:gd name="T0" fmla="*/ 2 w 2"/>
                    <a:gd name="T1" fmla="*/ 0 h 4"/>
                    <a:gd name="T2" fmla="*/ 0 w 2"/>
                    <a:gd name="T3" fmla="*/ 4 h 4"/>
                    <a:gd name="T4" fmla="*/ 2 w 2"/>
                    <a:gd name="T5" fmla="*/ 0 h 4"/>
                  </a:gdLst>
                  <a:cxnLst>
                    <a:cxn ang="0">
                      <a:pos x="T0" y="T1"/>
                    </a:cxn>
                    <a:cxn ang="0">
                      <a:pos x="T2" y="T3"/>
                    </a:cxn>
                    <a:cxn ang="0">
                      <a:pos x="T4" y="T5"/>
                    </a:cxn>
                  </a:cxnLst>
                  <a:rect l="0" t="0" r="r" b="b"/>
                  <a:pathLst>
                    <a:path w="2" h="4">
                      <a:moveTo>
                        <a:pt x="2" y="0"/>
                      </a:moveTo>
                      <a:cubicBezTo>
                        <a:pt x="1" y="0"/>
                        <a:pt x="1" y="1"/>
                        <a:pt x="0" y="4"/>
                      </a:cubicBezTo>
                      <a:cubicBezTo>
                        <a:pt x="2" y="2"/>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Freeform 138"/>
                <p:cNvSpPr/>
                <p:nvPr/>
              </p:nvSpPr>
              <p:spPr bwMode="auto">
                <a:xfrm>
                  <a:off x="6485804" y="5192329"/>
                  <a:ext cx="7370" cy="18426"/>
                </a:xfrm>
                <a:custGeom>
                  <a:gdLst>
                    <a:gd name="T0" fmla="*/ 0 w 3"/>
                    <a:gd name="T1" fmla="*/ 0 h 5"/>
                    <a:gd name="T2" fmla="*/ 3 w 3"/>
                    <a:gd name="T3" fmla="*/ 5 h 5"/>
                    <a:gd name="T4" fmla="*/ 0 w 3"/>
                    <a:gd name="T5" fmla="*/ 0 h 5"/>
                  </a:gdLst>
                  <a:cxnLst>
                    <a:cxn ang="0">
                      <a:pos x="T0" y="T1"/>
                    </a:cxn>
                    <a:cxn ang="0">
                      <a:pos x="T2" y="T3"/>
                    </a:cxn>
                    <a:cxn ang="0">
                      <a:pos x="T4" y="T5"/>
                    </a:cxn>
                  </a:cxnLst>
                  <a:rect l="0" t="0" r="r" b="b"/>
                  <a:pathLst>
                    <a:path w="3" h="5">
                      <a:moveTo>
                        <a:pt x="0" y="0"/>
                      </a:moveTo>
                      <a:cubicBezTo>
                        <a:pt x="1" y="2"/>
                        <a:pt x="2" y="3"/>
                        <a:pt x="3"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139"/>
                <p:cNvSpPr/>
                <p:nvPr/>
              </p:nvSpPr>
              <p:spPr bwMode="auto">
                <a:xfrm>
                  <a:off x="6688485" y="5173903"/>
                  <a:ext cx="73702" cy="44221"/>
                </a:xfrm>
                <a:custGeom>
                  <a:gdLst>
                    <a:gd name="T0" fmla="*/ 12 w 23"/>
                    <a:gd name="T1" fmla="*/ 0 h 14"/>
                    <a:gd name="T2" fmla="*/ 6 w 23"/>
                    <a:gd name="T3" fmla="*/ 3 h 14"/>
                    <a:gd name="T4" fmla="*/ 4 w 23"/>
                    <a:gd name="T5" fmla="*/ 4 h 14"/>
                    <a:gd name="T6" fmla="*/ 3 w 23"/>
                    <a:gd name="T7" fmla="*/ 4 h 14"/>
                    <a:gd name="T8" fmla="*/ 3 w 23"/>
                    <a:gd name="T9" fmla="*/ 4 h 14"/>
                    <a:gd name="T10" fmla="*/ 0 w 23"/>
                    <a:gd name="T11" fmla="*/ 5 h 14"/>
                    <a:gd name="T12" fmla="*/ 10 w 23"/>
                    <a:gd name="T13" fmla="*/ 6 h 14"/>
                    <a:gd name="T14" fmla="*/ 11 w 23"/>
                    <a:gd name="T15" fmla="*/ 6 h 14"/>
                    <a:gd name="T16" fmla="*/ 7 w 23"/>
                    <a:gd name="T17" fmla="*/ 10 h 14"/>
                    <a:gd name="T18" fmla="*/ 16 w 23"/>
                    <a:gd name="T19" fmla="*/ 14 h 14"/>
                    <a:gd name="T20" fmla="*/ 17 w 23"/>
                    <a:gd name="T21" fmla="*/ 14 h 14"/>
                    <a:gd name="T22" fmla="*/ 17 w 23"/>
                    <a:gd name="T23" fmla="*/ 9 h 14"/>
                    <a:gd name="T24" fmla="*/ 17 w 23"/>
                    <a:gd name="T25" fmla="*/ 9 h 14"/>
                    <a:gd name="T26" fmla="*/ 19 w 23"/>
                    <a:gd name="T27" fmla="*/ 11 h 14"/>
                    <a:gd name="T28" fmla="*/ 21 w 23"/>
                    <a:gd name="T29" fmla="*/ 13 h 14"/>
                    <a:gd name="T30" fmla="*/ 22 w 23"/>
                    <a:gd name="T31" fmla="*/ 12 h 14"/>
                    <a:gd name="T32" fmla="*/ 16 w 23"/>
                    <a:gd name="T33" fmla="*/ 5 h 14"/>
                    <a:gd name="T34" fmla="*/ 14 w 23"/>
                    <a:gd name="T35" fmla="*/ 1 h 14"/>
                    <a:gd name="T36" fmla="*/ 12 w 23"/>
                    <a:gd name="T3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4">
                      <a:moveTo>
                        <a:pt x="12" y="0"/>
                      </a:moveTo>
                      <a:cubicBezTo>
                        <a:pt x="10" y="0"/>
                        <a:pt x="8" y="2"/>
                        <a:pt x="6" y="3"/>
                      </a:cubicBezTo>
                      <a:cubicBezTo>
                        <a:pt x="5" y="4"/>
                        <a:pt x="4" y="4"/>
                        <a:pt x="4" y="4"/>
                      </a:cubicBezTo>
                      <a:cubicBezTo>
                        <a:pt x="3" y="4"/>
                        <a:pt x="3" y="4"/>
                        <a:pt x="3" y="4"/>
                      </a:cubicBezTo>
                      <a:cubicBezTo>
                        <a:pt x="3" y="4"/>
                        <a:pt x="3" y="4"/>
                        <a:pt x="3" y="4"/>
                      </a:cubicBezTo>
                      <a:cubicBezTo>
                        <a:pt x="2" y="4"/>
                        <a:pt x="1" y="4"/>
                        <a:pt x="0" y="5"/>
                      </a:cubicBezTo>
                      <a:cubicBezTo>
                        <a:pt x="3" y="5"/>
                        <a:pt x="6" y="6"/>
                        <a:pt x="10" y="6"/>
                      </a:cubicBezTo>
                      <a:cubicBezTo>
                        <a:pt x="10" y="6"/>
                        <a:pt x="11" y="6"/>
                        <a:pt x="11" y="6"/>
                      </a:cubicBezTo>
                      <a:cubicBezTo>
                        <a:pt x="10" y="8"/>
                        <a:pt x="9" y="10"/>
                        <a:pt x="7" y="10"/>
                      </a:cubicBezTo>
                      <a:cubicBezTo>
                        <a:pt x="10" y="12"/>
                        <a:pt x="13" y="13"/>
                        <a:pt x="16" y="14"/>
                      </a:cubicBezTo>
                      <a:cubicBezTo>
                        <a:pt x="17" y="14"/>
                        <a:pt x="17" y="14"/>
                        <a:pt x="17" y="14"/>
                      </a:cubicBezTo>
                      <a:cubicBezTo>
                        <a:pt x="23" y="14"/>
                        <a:pt x="15" y="11"/>
                        <a:pt x="17" y="9"/>
                      </a:cubicBezTo>
                      <a:cubicBezTo>
                        <a:pt x="17" y="9"/>
                        <a:pt x="17" y="9"/>
                        <a:pt x="17" y="9"/>
                      </a:cubicBezTo>
                      <a:cubicBezTo>
                        <a:pt x="18" y="9"/>
                        <a:pt x="19" y="10"/>
                        <a:pt x="19" y="11"/>
                      </a:cubicBezTo>
                      <a:cubicBezTo>
                        <a:pt x="20" y="12"/>
                        <a:pt x="21" y="13"/>
                        <a:pt x="21" y="13"/>
                      </a:cubicBezTo>
                      <a:cubicBezTo>
                        <a:pt x="21" y="13"/>
                        <a:pt x="22" y="13"/>
                        <a:pt x="22" y="12"/>
                      </a:cubicBezTo>
                      <a:cubicBezTo>
                        <a:pt x="23" y="9"/>
                        <a:pt x="17" y="6"/>
                        <a:pt x="16" y="5"/>
                      </a:cubicBezTo>
                      <a:cubicBezTo>
                        <a:pt x="15" y="3"/>
                        <a:pt x="16" y="2"/>
                        <a:pt x="14" y="1"/>
                      </a:cubicBezTo>
                      <a:cubicBezTo>
                        <a:pt x="14"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140"/>
                <p:cNvSpPr/>
                <p:nvPr/>
              </p:nvSpPr>
              <p:spPr bwMode="auto">
                <a:xfrm>
                  <a:off x="6655319" y="5059664"/>
                  <a:ext cx="18426" cy="7370"/>
                </a:xfrm>
                <a:custGeom>
                  <a:gdLst>
                    <a:gd name="T0" fmla="*/ 0 w 6"/>
                    <a:gd name="T1" fmla="*/ 0 h 2"/>
                    <a:gd name="T2" fmla="*/ 4 w 6"/>
                    <a:gd name="T3" fmla="*/ 2 h 2"/>
                    <a:gd name="T4" fmla="*/ 6 w 6"/>
                    <a:gd name="T5" fmla="*/ 1 h 2"/>
                    <a:gd name="T6" fmla="*/ 0 w 6"/>
                    <a:gd name="T7" fmla="*/ 0 h 2"/>
                  </a:gdLst>
                  <a:cxnLst>
                    <a:cxn ang="0">
                      <a:pos x="T0" y="T1"/>
                    </a:cxn>
                    <a:cxn ang="0">
                      <a:pos x="T2" y="T3"/>
                    </a:cxn>
                    <a:cxn ang="0">
                      <a:pos x="T4" y="T5"/>
                    </a:cxn>
                    <a:cxn ang="0">
                      <a:pos x="T6" y="T7"/>
                    </a:cxn>
                  </a:cxnLst>
                  <a:rect l="0" t="0" r="r" b="b"/>
                  <a:pathLst>
                    <a:path w="6" h="2">
                      <a:moveTo>
                        <a:pt x="0" y="0"/>
                      </a:moveTo>
                      <a:cubicBezTo>
                        <a:pt x="2" y="1"/>
                        <a:pt x="3" y="2"/>
                        <a:pt x="4" y="2"/>
                      </a:cubicBezTo>
                      <a:cubicBezTo>
                        <a:pt x="5" y="2"/>
                        <a:pt x="5" y="2"/>
                        <a:pt x="6"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141"/>
                <p:cNvSpPr/>
                <p:nvPr/>
              </p:nvSpPr>
              <p:spPr bwMode="auto">
                <a:xfrm>
                  <a:off x="6581617" y="5424491"/>
                  <a:ext cx="3685" cy="11055"/>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0" y="1"/>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142"/>
                <p:cNvSpPr>
                  <a:spLocks noEditPoints="1"/>
                </p:cNvSpPr>
                <p:nvPr/>
              </p:nvSpPr>
              <p:spPr bwMode="auto">
                <a:xfrm>
                  <a:off x="6478433" y="5560840"/>
                  <a:ext cx="250588" cy="77387"/>
                </a:xfrm>
                <a:custGeom>
                  <a:gdLst>
                    <a:gd name="T0" fmla="*/ 79 w 79"/>
                    <a:gd name="T1" fmla="*/ 12 h 24"/>
                    <a:gd name="T2" fmla="*/ 79 w 79"/>
                    <a:gd name="T3" fmla="*/ 12 h 24"/>
                    <a:gd name="T4" fmla="*/ 79 w 79"/>
                    <a:gd name="T5" fmla="*/ 12 h 24"/>
                    <a:gd name="T6" fmla="*/ 6 w 79"/>
                    <a:gd name="T7" fmla="*/ 0 h 24"/>
                    <a:gd name="T8" fmla="*/ 0 w 79"/>
                    <a:gd name="T9" fmla="*/ 12 h 24"/>
                    <a:gd name="T10" fmla="*/ 26 w 79"/>
                    <a:gd name="T11" fmla="*/ 17 h 24"/>
                    <a:gd name="T12" fmla="*/ 34 w 79"/>
                    <a:gd name="T13" fmla="*/ 24 h 24"/>
                    <a:gd name="T14" fmla="*/ 59 w 79"/>
                    <a:gd name="T15" fmla="*/ 22 h 24"/>
                    <a:gd name="T16" fmla="*/ 76 w 79"/>
                    <a:gd name="T17" fmla="*/ 21 h 24"/>
                    <a:gd name="T18" fmla="*/ 78 w 79"/>
                    <a:gd name="T19" fmla="*/ 17 h 24"/>
                    <a:gd name="T20" fmla="*/ 79 w 79"/>
                    <a:gd name="T21" fmla="*/ 16 h 24"/>
                    <a:gd name="T22" fmla="*/ 78 w 79"/>
                    <a:gd name="T23" fmla="*/ 14 h 24"/>
                    <a:gd name="T24" fmla="*/ 79 w 79"/>
                    <a:gd name="T25" fmla="*/ 12 h 24"/>
                    <a:gd name="T26" fmla="*/ 69 w 79"/>
                    <a:gd name="T27" fmla="*/ 16 h 24"/>
                    <a:gd name="T28" fmla="*/ 65 w 79"/>
                    <a:gd name="T29" fmla="*/ 18 h 24"/>
                    <a:gd name="T30" fmla="*/ 64 w 79"/>
                    <a:gd name="T31" fmla="*/ 11 h 24"/>
                    <a:gd name="T32" fmla="*/ 63 w 79"/>
                    <a:gd name="T33" fmla="*/ 11 h 24"/>
                    <a:gd name="T34" fmla="*/ 60 w 79"/>
                    <a:gd name="T35" fmla="*/ 12 h 24"/>
                    <a:gd name="T36" fmla="*/ 57 w 79"/>
                    <a:gd name="T37" fmla="*/ 12 h 24"/>
                    <a:gd name="T38" fmla="*/ 56 w 79"/>
                    <a:gd name="T39" fmla="*/ 12 h 24"/>
                    <a:gd name="T40" fmla="*/ 42 w 79"/>
                    <a:gd name="T41" fmla="*/ 9 h 24"/>
                    <a:gd name="T42" fmla="*/ 40 w 79"/>
                    <a:gd name="T43" fmla="*/ 9 h 24"/>
                    <a:gd name="T44" fmla="*/ 33 w 79"/>
                    <a:gd name="T45" fmla="*/ 10 h 24"/>
                    <a:gd name="T46" fmla="*/ 27 w 79"/>
                    <a:gd name="T47" fmla="*/ 11 h 24"/>
                    <a:gd name="T48" fmla="*/ 21 w 79"/>
                    <a:gd name="T49" fmla="*/ 8 h 24"/>
                    <a:gd name="T50" fmla="*/ 17 w 79"/>
                    <a:gd name="T51" fmla="*/ 5 h 24"/>
                    <a:gd name="T52" fmla="*/ 19 w 79"/>
                    <a:gd name="T53" fmla="*/ 3 h 24"/>
                    <a:gd name="T54" fmla="*/ 16 w 79"/>
                    <a:gd name="T55" fmla="*/ 2 h 24"/>
                    <a:gd name="T56" fmla="*/ 9 w 79"/>
                    <a:gd name="T57" fmla="*/ 4 h 24"/>
                    <a:gd name="T58" fmla="*/ 8 w 79"/>
                    <a:gd name="T59" fmla="*/ 4 h 24"/>
                    <a:gd name="T60" fmla="*/ 6 w 79"/>
                    <a:gd name="T61"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24">
                      <a:moveTo>
                        <a:pt x="79" y="12"/>
                      </a:moveTo>
                      <a:cubicBezTo>
                        <a:pt x="79" y="12"/>
                        <a:pt x="79" y="12"/>
                        <a:pt x="79" y="12"/>
                      </a:cubicBezTo>
                      <a:cubicBezTo>
                        <a:pt x="79" y="12"/>
                        <a:pt x="79" y="12"/>
                        <a:pt x="79" y="12"/>
                      </a:cubicBezTo>
                      <a:moveTo>
                        <a:pt x="6" y="0"/>
                      </a:moveTo>
                      <a:cubicBezTo>
                        <a:pt x="4" y="4"/>
                        <a:pt x="2" y="8"/>
                        <a:pt x="0" y="12"/>
                      </a:cubicBezTo>
                      <a:cubicBezTo>
                        <a:pt x="8" y="14"/>
                        <a:pt x="17" y="15"/>
                        <a:pt x="26" y="17"/>
                      </a:cubicBezTo>
                      <a:cubicBezTo>
                        <a:pt x="30" y="18"/>
                        <a:pt x="37" y="19"/>
                        <a:pt x="34" y="24"/>
                      </a:cubicBezTo>
                      <a:cubicBezTo>
                        <a:pt x="42" y="24"/>
                        <a:pt x="51" y="22"/>
                        <a:pt x="59" y="22"/>
                      </a:cubicBezTo>
                      <a:cubicBezTo>
                        <a:pt x="64" y="21"/>
                        <a:pt x="70" y="21"/>
                        <a:pt x="76" y="21"/>
                      </a:cubicBezTo>
                      <a:cubicBezTo>
                        <a:pt x="78" y="21"/>
                        <a:pt x="78" y="19"/>
                        <a:pt x="78" y="17"/>
                      </a:cubicBezTo>
                      <a:cubicBezTo>
                        <a:pt x="78" y="16"/>
                        <a:pt x="79" y="16"/>
                        <a:pt x="79" y="16"/>
                      </a:cubicBezTo>
                      <a:cubicBezTo>
                        <a:pt x="79" y="15"/>
                        <a:pt x="78" y="15"/>
                        <a:pt x="78" y="14"/>
                      </a:cubicBezTo>
                      <a:cubicBezTo>
                        <a:pt x="78" y="13"/>
                        <a:pt x="79" y="12"/>
                        <a:pt x="79" y="12"/>
                      </a:cubicBezTo>
                      <a:cubicBezTo>
                        <a:pt x="74" y="16"/>
                        <a:pt x="75" y="14"/>
                        <a:pt x="69" y="16"/>
                      </a:cubicBezTo>
                      <a:cubicBezTo>
                        <a:pt x="67" y="16"/>
                        <a:pt x="66" y="17"/>
                        <a:pt x="65" y="18"/>
                      </a:cubicBezTo>
                      <a:cubicBezTo>
                        <a:pt x="64" y="16"/>
                        <a:pt x="62" y="13"/>
                        <a:pt x="64" y="11"/>
                      </a:cubicBezTo>
                      <a:cubicBezTo>
                        <a:pt x="64" y="11"/>
                        <a:pt x="63" y="11"/>
                        <a:pt x="63" y="11"/>
                      </a:cubicBezTo>
                      <a:cubicBezTo>
                        <a:pt x="62" y="11"/>
                        <a:pt x="61" y="11"/>
                        <a:pt x="60" y="12"/>
                      </a:cubicBezTo>
                      <a:cubicBezTo>
                        <a:pt x="59" y="12"/>
                        <a:pt x="58" y="12"/>
                        <a:pt x="57" y="12"/>
                      </a:cubicBezTo>
                      <a:cubicBezTo>
                        <a:pt x="57" y="12"/>
                        <a:pt x="56" y="12"/>
                        <a:pt x="56" y="12"/>
                      </a:cubicBezTo>
                      <a:cubicBezTo>
                        <a:pt x="51" y="11"/>
                        <a:pt x="46" y="10"/>
                        <a:pt x="42" y="9"/>
                      </a:cubicBezTo>
                      <a:cubicBezTo>
                        <a:pt x="41" y="9"/>
                        <a:pt x="41" y="9"/>
                        <a:pt x="40" y="9"/>
                      </a:cubicBezTo>
                      <a:cubicBezTo>
                        <a:pt x="38" y="9"/>
                        <a:pt x="36" y="9"/>
                        <a:pt x="33" y="10"/>
                      </a:cubicBezTo>
                      <a:cubicBezTo>
                        <a:pt x="31" y="10"/>
                        <a:pt x="29" y="11"/>
                        <a:pt x="27" y="11"/>
                      </a:cubicBezTo>
                      <a:cubicBezTo>
                        <a:pt x="25" y="11"/>
                        <a:pt x="23" y="10"/>
                        <a:pt x="21" y="8"/>
                      </a:cubicBezTo>
                      <a:cubicBezTo>
                        <a:pt x="20" y="7"/>
                        <a:pt x="12" y="6"/>
                        <a:pt x="17" y="5"/>
                      </a:cubicBezTo>
                      <a:cubicBezTo>
                        <a:pt x="19" y="5"/>
                        <a:pt x="20" y="4"/>
                        <a:pt x="19" y="3"/>
                      </a:cubicBezTo>
                      <a:cubicBezTo>
                        <a:pt x="18" y="2"/>
                        <a:pt x="17" y="2"/>
                        <a:pt x="16" y="2"/>
                      </a:cubicBezTo>
                      <a:cubicBezTo>
                        <a:pt x="14" y="2"/>
                        <a:pt x="10" y="4"/>
                        <a:pt x="9" y="4"/>
                      </a:cubicBezTo>
                      <a:cubicBezTo>
                        <a:pt x="9" y="4"/>
                        <a:pt x="9" y="4"/>
                        <a:pt x="8" y="4"/>
                      </a:cubicBezTo>
                      <a:cubicBezTo>
                        <a:pt x="6" y="4"/>
                        <a:pt x="7"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143"/>
                <p:cNvSpPr/>
                <p:nvPr/>
              </p:nvSpPr>
              <p:spPr bwMode="auto">
                <a:xfrm>
                  <a:off x="6854315" y="5483453"/>
                  <a:ext cx="51592" cy="55277"/>
                </a:xfrm>
                <a:custGeom>
                  <a:gdLst>
                    <a:gd name="T0" fmla="*/ 14 w 16"/>
                    <a:gd name="T1" fmla="*/ 0 h 17"/>
                    <a:gd name="T2" fmla="*/ 8 w 16"/>
                    <a:gd name="T3" fmla="*/ 3 h 17"/>
                    <a:gd name="T4" fmla="*/ 1 w 16"/>
                    <a:gd name="T5" fmla="*/ 9 h 17"/>
                    <a:gd name="T6" fmla="*/ 1 w 16"/>
                    <a:gd name="T7" fmla="*/ 15 h 17"/>
                    <a:gd name="T8" fmla="*/ 1 w 16"/>
                    <a:gd name="T9" fmla="*/ 17 h 17"/>
                    <a:gd name="T10" fmla="*/ 2 w 16"/>
                    <a:gd name="T11" fmla="*/ 17 h 17"/>
                    <a:gd name="T12" fmla="*/ 7 w 16"/>
                    <a:gd name="T13" fmla="*/ 14 h 17"/>
                    <a:gd name="T14" fmla="*/ 10 w 16"/>
                    <a:gd name="T15" fmla="*/ 12 h 17"/>
                    <a:gd name="T16" fmla="*/ 11 w 16"/>
                    <a:gd name="T17" fmla="*/ 13 h 17"/>
                    <a:gd name="T18" fmla="*/ 14 w 16"/>
                    <a:gd name="T19" fmla="*/ 6 h 17"/>
                    <a:gd name="T20" fmla="*/ 16 w 16"/>
                    <a:gd name="T21" fmla="*/ 1 h 17"/>
                    <a:gd name="T22" fmla="*/ 14 w 16"/>
                    <a:gd name="T2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7">
                      <a:moveTo>
                        <a:pt x="14" y="0"/>
                      </a:moveTo>
                      <a:cubicBezTo>
                        <a:pt x="13" y="0"/>
                        <a:pt x="9" y="2"/>
                        <a:pt x="8" y="3"/>
                      </a:cubicBezTo>
                      <a:cubicBezTo>
                        <a:pt x="5" y="4"/>
                        <a:pt x="2" y="6"/>
                        <a:pt x="1" y="9"/>
                      </a:cubicBezTo>
                      <a:cubicBezTo>
                        <a:pt x="1" y="10"/>
                        <a:pt x="0" y="13"/>
                        <a:pt x="1" y="15"/>
                      </a:cubicBezTo>
                      <a:cubicBezTo>
                        <a:pt x="2" y="16"/>
                        <a:pt x="1" y="16"/>
                        <a:pt x="1" y="17"/>
                      </a:cubicBezTo>
                      <a:cubicBezTo>
                        <a:pt x="1" y="17"/>
                        <a:pt x="2" y="17"/>
                        <a:pt x="2" y="17"/>
                      </a:cubicBezTo>
                      <a:cubicBezTo>
                        <a:pt x="3" y="17"/>
                        <a:pt x="6" y="15"/>
                        <a:pt x="7" y="14"/>
                      </a:cubicBezTo>
                      <a:cubicBezTo>
                        <a:pt x="8" y="13"/>
                        <a:pt x="9" y="12"/>
                        <a:pt x="10" y="12"/>
                      </a:cubicBezTo>
                      <a:cubicBezTo>
                        <a:pt x="10" y="12"/>
                        <a:pt x="11" y="12"/>
                        <a:pt x="11" y="13"/>
                      </a:cubicBezTo>
                      <a:cubicBezTo>
                        <a:pt x="11" y="9"/>
                        <a:pt x="12" y="9"/>
                        <a:pt x="14" y="6"/>
                      </a:cubicBezTo>
                      <a:cubicBezTo>
                        <a:pt x="14" y="5"/>
                        <a:pt x="16" y="2"/>
                        <a:pt x="16" y="1"/>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144"/>
                <p:cNvSpPr/>
                <p:nvPr/>
              </p:nvSpPr>
              <p:spPr bwMode="auto">
                <a:xfrm>
                  <a:off x="6585302" y="5321308"/>
                  <a:ext cx="22111" cy="33166"/>
                </a:xfrm>
                <a:custGeom>
                  <a:gdLst>
                    <a:gd name="T0" fmla="*/ 2 w 8"/>
                    <a:gd name="T1" fmla="*/ 0 h 10"/>
                    <a:gd name="T2" fmla="*/ 0 w 8"/>
                    <a:gd name="T3" fmla="*/ 1 h 10"/>
                    <a:gd name="T4" fmla="*/ 8 w 8"/>
                    <a:gd name="T5" fmla="*/ 10 h 10"/>
                    <a:gd name="T6" fmla="*/ 7 w 8"/>
                    <a:gd name="T7" fmla="*/ 5 h 10"/>
                    <a:gd name="T8" fmla="*/ 5 w 8"/>
                    <a:gd name="T9" fmla="*/ 3 h 10"/>
                    <a:gd name="T10" fmla="*/ 2 w 8"/>
                    <a:gd name="T11" fmla="*/ 0 h 10"/>
                  </a:gdLst>
                  <a:cxnLst>
                    <a:cxn ang="0">
                      <a:pos x="T0" y="T1"/>
                    </a:cxn>
                    <a:cxn ang="0">
                      <a:pos x="T2" y="T3"/>
                    </a:cxn>
                    <a:cxn ang="0">
                      <a:pos x="T4" y="T5"/>
                    </a:cxn>
                    <a:cxn ang="0">
                      <a:pos x="T6" y="T7"/>
                    </a:cxn>
                    <a:cxn ang="0">
                      <a:pos x="T8" y="T9"/>
                    </a:cxn>
                    <a:cxn ang="0">
                      <a:pos x="T10" y="T11"/>
                    </a:cxn>
                  </a:cxnLst>
                  <a:rect l="0" t="0" r="r" b="b"/>
                  <a:pathLst>
                    <a:path w="8" h="10">
                      <a:moveTo>
                        <a:pt x="2" y="0"/>
                      </a:moveTo>
                      <a:cubicBezTo>
                        <a:pt x="2" y="0"/>
                        <a:pt x="1" y="1"/>
                        <a:pt x="0" y="1"/>
                      </a:cubicBezTo>
                      <a:cubicBezTo>
                        <a:pt x="2" y="4"/>
                        <a:pt x="5" y="7"/>
                        <a:pt x="8" y="10"/>
                      </a:cubicBezTo>
                      <a:cubicBezTo>
                        <a:pt x="8" y="8"/>
                        <a:pt x="8" y="6"/>
                        <a:pt x="7" y="5"/>
                      </a:cubicBezTo>
                      <a:cubicBezTo>
                        <a:pt x="7" y="3"/>
                        <a:pt x="6" y="4"/>
                        <a:pt x="5" y="3"/>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145"/>
                <p:cNvSpPr/>
                <p:nvPr/>
              </p:nvSpPr>
              <p:spPr bwMode="auto">
                <a:xfrm>
                  <a:off x="6419472" y="5214439"/>
                  <a:ext cx="158460" cy="114239"/>
                </a:xfrm>
                <a:custGeom>
                  <a:gdLst>
                    <a:gd name="T0" fmla="*/ 11 w 50"/>
                    <a:gd name="T1" fmla="*/ 0 h 36"/>
                    <a:gd name="T2" fmla="*/ 0 w 50"/>
                    <a:gd name="T3" fmla="*/ 6 h 36"/>
                    <a:gd name="T4" fmla="*/ 5 w 50"/>
                    <a:gd name="T5" fmla="*/ 5 h 36"/>
                    <a:gd name="T6" fmla="*/ 8 w 50"/>
                    <a:gd name="T7" fmla="*/ 6 h 36"/>
                    <a:gd name="T8" fmla="*/ 22 w 50"/>
                    <a:gd name="T9" fmla="*/ 20 h 36"/>
                    <a:gd name="T10" fmla="*/ 27 w 50"/>
                    <a:gd name="T11" fmla="*/ 21 h 36"/>
                    <a:gd name="T12" fmla="*/ 28 w 50"/>
                    <a:gd name="T13" fmla="*/ 21 h 36"/>
                    <a:gd name="T14" fmla="*/ 30 w 50"/>
                    <a:gd name="T15" fmla="*/ 21 h 36"/>
                    <a:gd name="T16" fmla="*/ 32 w 50"/>
                    <a:gd name="T17" fmla="*/ 21 h 36"/>
                    <a:gd name="T18" fmla="*/ 37 w 50"/>
                    <a:gd name="T19" fmla="*/ 28 h 36"/>
                    <a:gd name="T20" fmla="*/ 47 w 50"/>
                    <a:gd name="T21" fmla="*/ 36 h 36"/>
                    <a:gd name="T22" fmla="*/ 49 w 50"/>
                    <a:gd name="T23" fmla="*/ 29 h 36"/>
                    <a:gd name="T24" fmla="*/ 46 w 50"/>
                    <a:gd name="T25" fmla="*/ 29 h 36"/>
                    <a:gd name="T26" fmla="*/ 39 w 50"/>
                    <a:gd name="T27" fmla="*/ 25 h 36"/>
                    <a:gd name="T28" fmla="*/ 38 w 50"/>
                    <a:gd name="T29" fmla="*/ 20 h 36"/>
                    <a:gd name="T30" fmla="*/ 38 w 50"/>
                    <a:gd name="T31" fmla="*/ 16 h 36"/>
                    <a:gd name="T32" fmla="*/ 36 w 50"/>
                    <a:gd name="T33" fmla="*/ 14 h 36"/>
                    <a:gd name="T34" fmla="*/ 35 w 50"/>
                    <a:gd name="T35" fmla="*/ 12 h 36"/>
                    <a:gd name="T36" fmla="*/ 33 w 50"/>
                    <a:gd name="T37" fmla="*/ 12 h 36"/>
                    <a:gd name="T38" fmla="*/ 31 w 50"/>
                    <a:gd name="T39" fmla="*/ 12 h 36"/>
                    <a:gd name="T40" fmla="*/ 30 w 50"/>
                    <a:gd name="T41" fmla="*/ 12 h 36"/>
                    <a:gd name="T42" fmla="*/ 29 w 50"/>
                    <a:gd name="T43" fmla="*/ 12 h 36"/>
                    <a:gd name="T44" fmla="*/ 24 w 50"/>
                    <a:gd name="T45" fmla="*/ 9 h 36"/>
                    <a:gd name="T46" fmla="*/ 19 w 50"/>
                    <a:gd name="T47" fmla="*/ 7 h 36"/>
                    <a:gd name="T48" fmla="*/ 12 w 50"/>
                    <a:gd name="T49" fmla="*/ 0 h 36"/>
                    <a:gd name="T50" fmla="*/ 11 w 50"/>
                    <a:gd name="T51"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36">
                      <a:moveTo>
                        <a:pt x="11" y="0"/>
                      </a:moveTo>
                      <a:cubicBezTo>
                        <a:pt x="8" y="0"/>
                        <a:pt x="3" y="4"/>
                        <a:pt x="0" y="6"/>
                      </a:cubicBezTo>
                      <a:cubicBezTo>
                        <a:pt x="1" y="6"/>
                        <a:pt x="3" y="5"/>
                        <a:pt x="5" y="5"/>
                      </a:cubicBezTo>
                      <a:cubicBezTo>
                        <a:pt x="6" y="5"/>
                        <a:pt x="7" y="5"/>
                        <a:pt x="8" y="6"/>
                      </a:cubicBezTo>
                      <a:cubicBezTo>
                        <a:pt x="14" y="9"/>
                        <a:pt x="17" y="16"/>
                        <a:pt x="22" y="20"/>
                      </a:cubicBezTo>
                      <a:cubicBezTo>
                        <a:pt x="24" y="21"/>
                        <a:pt x="25" y="21"/>
                        <a:pt x="27" y="21"/>
                      </a:cubicBezTo>
                      <a:cubicBezTo>
                        <a:pt x="27" y="21"/>
                        <a:pt x="28" y="21"/>
                        <a:pt x="28" y="21"/>
                      </a:cubicBezTo>
                      <a:cubicBezTo>
                        <a:pt x="29" y="21"/>
                        <a:pt x="29" y="21"/>
                        <a:pt x="30" y="21"/>
                      </a:cubicBezTo>
                      <a:cubicBezTo>
                        <a:pt x="31" y="21"/>
                        <a:pt x="31" y="21"/>
                        <a:pt x="32" y="21"/>
                      </a:cubicBezTo>
                      <a:cubicBezTo>
                        <a:pt x="35" y="22"/>
                        <a:pt x="35" y="26"/>
                        <a:pt x="37" y="28"/>
                      </a:cubicBezTo>
                      <a:cubicBezTo>
                        <a:pt x="39" y="32"/>
                        <a:pt x="43" y="33"/>
                        <a:pt x="47" y="36"/>
                      </a:cubicBezTo>
                      <a:cubicBezTo>
                        <a:pt x="50" y="33"/>
                        <a:pt x="48" y="32"/>
                        <a:pt x="49" y="29"/>
                      </a:cubicBezTo>
                      <a:cubicBezTo>
                        <a:pt x="48" y="29"/>
                        <a:pt x="47" y="29"/>
                        <a:pt x="46" y="29"/>
                      </a:cubicBezTo>
                      <a:cubicBezTo>
                        <a:pt x="42" y="29"/>
                        <a:pt x="41" y="28"/>
                        <a:pt x="39" y="25"/>
                      </a:cubicBezTo>
                      <a:cubicBezTo>
                        <a:pt x="39" y="23"/>
                        <a:pt x="38" y="22"/>
                        <a:pt x="38" y="20"/>
                      </a:cubicBezTo>
                      <a:cubicBezTo>
                        <a:pt x="38" y="19"/>
                        <a:pt x="38" y="17"/>
                        <a:pt x="38" y="16"/>
                      </a:cubicBezTo>
                      <a:cubicBezTo>
                        <a:pt x="38" y="15"/>
                        <a:pt x="36" y="15"/>
                        <a:pt x="36" y="14"/>
                      </a:cubicBezTo>
                      <a:cubicBezTo>
                        <a:pt x="35" y="13"/>
                        <a:pt x="37" y="13"/>
                        <a:pt x="35" y="12"/>
                      </a:cubicBezTo>
                      <a:cubicBezTo>
                        <a:pt x="35" y="12"/>
                        <a:pt x="34" y="12"/>
                        <a:pt x="33" y="12"/>
                      </a:cubicBezTo>
                      <a:cubicBezTo>
                        <a:pt x="33" y="12"/>
                        <a:pt x="32" y="12"/>
                        <a:pt x="31" y="12"/>
                      </a:cubicBezTo>
                      <a:cubicBezTo>
                        <a:pt x="31" y="12"/>
                        <a:pt x="30" y="12"/>
                        <a:pt x="30" y="12"/>
                      </a:cubicBezTo>
                      <a:cubicBezTo>
                        <a:pt x="29" y="12"/>
                        <a:pt x="29" y="12"/>
                        <a:pt x="29" y="12"/>
                      </a:cubicBezTo>
                      <a:cubicBezTo>
                        <a:pt x="26" y="11"/>
                        <a:pt x="25" y="10"/>
                        <a:pt x="24" y="9"/>
                      </a:cubicBezTo>
                      <a:cubicBezTo>
                        <a:pt x="22" y="8"/>
                        <a:pt x="21" y="9"/>
                        <a:pt x="19" y="7"/>
                      </a:cubicBezTo>
                      <a:cubicBezTo>
                        <a:pt x="16" y="5"/>
                        <a:pt x="16" y="0"/>
                        <a:pt x="12"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146"/>
                <p:cNvSpPr/>
                <p:nvPr/>
              </p:nvSpPr>
              <p:spPr bwMode="auto">
                <a:xfrm>
                  <a:off x="6754817" y="5339733"/>
                  <a:ext cx="44221" cy="18426"/>
                </a:xfrm>
                <a:custGeom>
                  <a:gdLst>
                    <a:gd name="T0" fmla="*/ 6 w 14"/>
                    <a:gd name="T1" fmla="*/ 0 h 6"/>
                    <a:gd name="T2" fmla="*/ 0 w 14"/>
                    <a:gd name="T3" fmla="*/ 2 h 6"/>
                    <a:gd name="T4" fmla="*/ 6 w 14"/>
                    <a:gd name="T5" fmla="*/ 6 h 6"/>
                    <a:gd name="T6" fmla="*/ 13 w 14"/>
                    <a:gd name="T7" fmla="*/ 2 h 6"/>
                    <a:gd name="T8" fmla="*/ 6 w 14"/>
                    <a:gd name="T9" fmla="*/ 0 h 6"/>
                  </a:gdLst>
                  <a:cxnLst>
                    <a:cxn ang="0">
                      <a:pos x="T0" y="T1"/>
                    </a:cxn>
                    <a:cxn ang="0">
                      <a:pos x="T2" y="T3"/>
                    </a:cxn>
                    <a:cxn ang="0">
                      <a:pos x="T4" y="T5"/>
                    </a:cxn>
                    <a:cxn ang="0">
                      <a:pos x="T6" y="T7"/>
                    </a:cxn>
                    <a:cxn ang="0">
                      <a:pos x="T8" y="T9"/>
                    </a:cxn>
                  </a:cxnLst>
                  <a:rect l="0" t="0" r="r" b="b"/>
                  <a:pathLst>
                    <a:path w="14" h="6">
                      <a:moveTo>
                        <a:pt x="6" y="0"/>
                      </a:moveTo>
                      <a:cubicBezTo>
                        <a:pt x="4" y="0"/>
                        <a:pt x="2" y="1"/>
                        <a:pt x="0" y="2"/>
                      </a:cubicBezTo>
                      <a:cubicBezTo>
                        <a:pt x="2" y="4"/>
                        <a:pt x="4" y="5"/>
                        <a:pt x="6" y="6"/>
                      </a:cubicBezTo>
                      <a:cubicBezTo>
                        <a:pt x="9" y="5"/>
                        <a:pt x="14" y="4"/>
                        <a:pt x="13" y="2"/>
                      </a:cubicBezTo>
                      <a:cubicBezTo>
                        <a:pt x="11"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147"/>
                <p:cNvSpPr/>
                <p:nvPr/>
              </p:nvSpPr>
              <p:spPr bwMode="auto">
                <a:xfrm>
                  <a:off x="6471063" y="5347103"/>
                  <a:ext cx="11055" cy="7370"/>
                </a:xfrm>
                <a:custGeom>
                  <a:gdLst>
                    <a:gd name="T0" fmla="*/ 2 w 3"/>
                    <a:gd name="T1" fmla="*/ 0 h 3"/>
                    <a:gd name="T2" fmla="*/ 0 w 3"/>
                    <a:gd name="T3" fmla="*/ 0 h 3"/>
                    <a:gd name="T4" fmla="*/ 1 w 3"/>
                    <a:gd name="T5" fmla="*/ 3 h 3"/>
                    <a:gd name="T6" fmla="*/ 3 w 3"/>
                    <a:gd name="T7" fmla="*/ 0 h 3"/>
                    <a:gd name="T8" fmla="*/ 2 w 3"/>
                    <a:gd name="T9" fmla="*/ 0 h 3"/>
                  </a:gdLst>
                  <a:cxnLst>
                    <a:cxn ang="0">
                      <a:pos x="T0" y="T1"/>
                    </a:cxn>
                    <a:cxn ang="0">
                      <a:pos x="T2" y="T3"/>
                    </a:cxn>
                    <a:cxn ang="0">
                      <a:pos x="T4" y="T5"/>
                    </a:cxn>
                    <a:cxn ang="0">
                      <a:pos x="T6" y="T7"/>
                    </a:cxn>
                    <a:cxn ang="0">
                      <a:pos x="T8" y="T9"/>
                    </a:cxn>
                  </a:cxnLst>
                  <a:rect l="0" t="0" r="r" b="b"/>
                  <a:pathLst>
                    <a:path w="3" h="3">
                      <a:moveTo>
                        <a:pt x="2" y="0"/>
                      </a:moveTo>
                      <a:cubicBezTo>
                        <a:pt x="1" y="0"/>
                        <a:pt x="0" y="0"/>
                        <a:pt x="0" y="0"/>
                      </a:cubicBezTo>
                      <a:cubicBezTo>
                        <a:pt x="0" y="1"/>
                        <a:pt x="0" y="2"/>
                        <a:pt x="1" y="3"/>
                      </a:cubicBezTo>
                      <a:cubicBezTo>
                        <a:pt x="2" y="2"/>
                        <a:pt x="2"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148"/>
                <p:cNvSpPr/>
                <p:nvPr/>
              </p:nvSpPr>
              <p:spPr bwMode="auto">
                <a:xfrm>
                  <a:off x="6795353" y="5546100"/>
                  <a:ext cx="18426" cy="44221"/>
                </a:xfrm>
                <a:custGeom>
                  <a:gdLst>
                    <a:gd name="T0" fmla="*/ 5 w 5"/>
                    <a:gd name="T1" fmla="*/ 0 h 14"/>
                    <a:gd name="T2" fmla="*/ 3 w 5"/>
                    <a:gd name="T3" fmla="*/ 14 h 14"/>
                    <a:gd name="T4" fmla="*/ 5 w 5"/>
                    <a:gd name="T5" fmla="*/ 9 h 14"/>
                    <a:gd name="T6" fmla="*/ 3 w 5"/>
                    <a:gd name="T7" fmla="*/ 7 h 14"/>
                    <a:gd name="T8" fmla="*/ 5 w 5"/>
                    <a:gd name="T9" fmla="*/ 0 h 14"/>
                  </a:gdLst>
                  <a:cxnLst>
                    <a:cxn ang="0">
                      <a:pos x="T0" y="T1"/>
                    </a:cxn>
                    <a:cxn ang="0">
                      <a:pos x="T2" y="T3"/>
                    </a:cxn>
                    <a:cxn ang="0">
                      <a:pos x="T4" y="T5"/>
                    </a:cxn>
                    <a:cxn ang="0">
                      <a:pos x="T6" y="T7"/>
                    </a:cxn>
                    <a:cxn ang="0">
                      <a:pos x="T8" y="T9"/>
                    </a:cxn>
                  </a:cxnLst>
                  <a:rect l="0" t="0" r="r" b="b"/>
                  <a:pathLst>
                    <a:path w="5" h="14">
                      <a:moveTo>
                        <a:pt x="5" y="0"/>
                      </a:moveTo>
                      <a:cubicBezTo>
                        <a:pt x="1" y="6"/>
                        <a:pt x="0" y="7"/>
                        <a:pt x="3" y="14"/>
                      </a:cubicBezTo>
                      <a:cubicBezTo>
                        <a:pt x="4" y="10"/>
                        <a:pt x="5" y="13"/>
                        <a:pt x="5" y="9"/>
                      </a:cubicBezTo>
                      <a:cubicBezTo>
                        <a:pt x="4" y="8"/>
                        <a:pt x="3" y="7"/>
                        <a:pt x="3" y="7"/>
                      </a:cubicBezTo>
                      <a:cubicBezTo>
                        <a:pt x="3" y="5"/>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149"/>
                <p:cNvSpPr/>
                <p:nvPr/>
              </p:nvSpPr>
              <p:spPr bwMode="auto">
                <a:xfrm>
                  <a:off x="6552136" y="5450287"/>
                  <a:ext cx="22111" cy="14740"/>
                </a:xfrm>
                <a:custGeom>
                  <a:gdLst>
                    <a:gd name="T0" fmla="*/ 6 w 7"/>
                    <a:gd name="T1" fmla="*/ 0 h 4"/>
                    <a:gd name="T2" fmla="*/ 0 w 7"/>
                    <a:gd name="T3" fmla="*/ 3 h 4"/>
                    <a:gd name="T4" fmla="*/ 6 w 7"/>
                    <a:gd name="T5" fmla="*/ 0 h 4"/>
                  </a:gdLst>
                  <a:cxnLst>
                    <a:cxn ang="0">
                      <a:pos x="T0" y="T1"/>
                    </a:cxn>
                    <a:cxn ang="0">
                      <a:pos x="T2" y="T3"/>
                    </a:cxn>
                    <a:cxn ang="0">
                      <a:pos x="T4" y="T5"/>
                    </a:cxn>
                  </a:cxnLst>
                  <a:rect l="0" t="0" r="r" b="b"/>
                  <a:pathLst>
                    <a:path w="7" h="4">
                      <a:moveTo>
                        <a:pt x="6" y="0"/>
                      </a:moveTo>
                      <a:cubicBezTo>
                        <a:pt x="4" y="1"/>
                        <a:pt x="2" y="2"/>
                        <a:pt x="0" y="3"/>
                      </a:cubicBezTo>
                      <a:cubicBezTo>
                        <a:pt x="2" y="3"/>
                        <a:pt x="7"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150"/>
                <p:cNvSpPr/>
                <p:nvPr/>
              </p:nvSpPr>
              <p:spPr bwMode="auto">
                <a:xfrm>
                  <a:off x="6419472" y="5490823"/>
                  <a:ext cx="14740" cy="25796"/>
                </a:xfrm>
                <a:custGeom>
                  <a:gdLst>
                    <a:gd name="T0" fmla="*/ 3 w 5"/>
                    <a:gd name="T1" fmla="*/ 0 h 8"/>
                    <a:gd name="T2" fmla="*/ 5 w 5"/>
                    <a:gd name="T3" fmla="*/ 8 h 8"/>
                    <a:gd name="T4" fmla="*/ 3 w 5"/>
                    <a:gd name="T5" fmla="*/ 0 h 8"/>
                  </a:gdLst>
                  <a:cxnLst>
                    <a:cxn ang="0">
                      <a:pos x="T0" y="T1"/>
                    </a:cxn>
                    <a:cxn ang="0">
                      <a:pos x="T2" y="T3"/>
                    </a:cxn>
                    <a:cxn ang="0">
                      <a:pos x="T4" y="T5"/>
                    </a:cxn>
                  </a:cxnLst>
                  <a:rect l="0" t="0" r="r" b="b"/>
                  <a:pathLst>
                    <a:path w="5" h="8">
                      <a:moveTo>
                        <a:pt x="3" y="0"/>
                      </a:moveTo>
                      <a:cubicBezTo>
                        <a:pt x="2" y="4"/>
                        <a:pt x="0" y="8"/>
                        <a:pt x="5" y="8"/>
                      </a:cubicBezTo>
                      <a:cubicBezTo>
                        <a:pt x="5" y="5"/>
                        <a:pt x="4"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Freeform 151"/>
                <p:cNvSpPr/>
                <p:nvPr/>
              </p:nvSpPr>
              <p:spPr bwMode="auto">
                <a:xfrm>
                  <a:off x="6216790" y="5332363"/>
                  <a:ext cx="33166" cy="25796"/>
                </a:xfrm>
                <a:custGeom>
                  <a:gdLst>
                    <a:gd name="T0" fmla="*/ 3 w 11"/>
                    <a:gd name="T1" fmla="*/ 0 h 9"/>
                    <a:gd name="T2" fmla="*/ 6 w 11"/>
                    <a:gd name="T3" fmla="*/ 9 h 9"/>
                    <a:gd name="T4" fmla="*/ 9 w 11"/>
                    <a:gd name="T5" fmla="*/ 6 h 9"/>
                    <a:gd name="T6" fmla="*/ 11 w 11"/>
                    <a:gd name="T7" fmla="*/ 7 h 9"/>
                    <a:gd name="T8" fmla="*/ 4 w 11"/>
                    <a:gd name="T9" fmla="*/ 2 h 9"/>
                    <a:gd name="T10" fmla="*/ 3 w 11"/>
                    <a:gd name="T11" fmla="*/ 0 h 9"/>
                  </a:gdLst>
                  <a:cxnLst>
                    <a:cxn ang="0">
                      <a:pos x="T0" y="T1"/>
                    </a:cxn>
                    <a:cxn ang="0">
                      <a:pos x="T2" y="T3"/>
                    </a:cxn>
                    <a:cxn ang="0">
                      <a:pos x="T4" y="T5"/>
                    </a:cxn>
                    <a:cxn ang="0">
                      <a:pos x="T6" y="T7"/>
                    </a:cxn>
                    <a:cxn ang="0">
                      <a:pos x="T8" y="T9"/>
                    </a:cxn>
                    <a:cxn ang="0">
                      <a:pos x="T10" y="T11"/>
                    </a:cxn>
                  </a:cxnLst>
                  <a:rect l="0" t="0" r="r" b="b"/>
                  <a:pathLst>
                    <a:path w="11" h="9">
                      <a:moveTo>
                        <a:pt x="3" y="0"/>
                      </a:moveTo>
                      <a:cubicBezTo>
                        <a:pt x="0" y="0"/>
                        <a:pt x="5" y="7"/>
                        <a:pt x="6" y="9"/>
                      </a:cubicBezTo>
                      <a:cubicBezTo>
                        <a:pt x="7" y="7"/>
                        <a:pt x="8" y="6"/>
                        <a:pt x="9" y="6"/>
                      </a:cubicBezTo>
                      <a:cubicBezTo>
                        <a:pt x="10" y="6"/>
                        <a:pt x="10" y="6"/>
                        <a:pt x="11" y="7"/>
                      </a:cubicBezTo>
                      <a:cubicBezTo>
                        <a:pt x="8" y="4"/>
                        <a:pt x="7" y="4"/>
                        <a:pt x="4" y="2"/>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152"/>
                <p:cNvSpPr/>
                <p:nvPr/>
              </p:nvSpPr>
              <p:spPr bwMode="auto">
                <a:xfrm>
                  <a:off x="6563191" y="5026498"/>
                  <a:ext cx="33166" cy="22111"/>
                </a:xfrm>
                <a:custGeom>
                  <a:gdLst>
                    <a:gd name="T0" fmla="*/ 5 w 10"/>
                    <a:gd name="T1" fmla="*/ 0 h 7"/>
                    <a:gd name="T2" fmla="*/ 3 w 10"/>
                    <a:gd name="T3" fmla="*/ 1 h 7"/>
                    <a:gd name="T4" fmla="*/ 5 w 10"/>
                    <a:gd name="T5" fmla="*/ 7 h 7"/>
                    <a:gd name="T6" fmla="*/ 9 w 10"/>
                    <a:gd name="T7" fmla="*/ 2 h 7"/>
                    <a:gd name="T8" fmla="*/ 5 w 10"/>
                    <a:gd name="T9" fmla="*/ 0 h 7"/>
                  </a:gdLst>
                  <a:cxnLst>
                    <a:cxn ang="0">
                      <a:pos x="T0" y="T1"/>
                    </a:cxn>
                    <a:cxn ang="0">
                      <a:pos x="T2" y="T3"/>
                    </a:cxn>
                    <a:cxn ang="0">
                      <a:pos x="T4" y="T5"/>
                    </a:cxn>
                    <a:cxn ang="0">
                      <a:pos x="T6" y="T7"/>
                    </a:cxn>
                    <a:cxn ang="0">
                      <a:pos x="T8" y="T9"/>
                    </a:cxn>
                  </a:cxnLst>
                  <a:rect l="0" t="0" r="r" b="b"/>
                  <a:pathLst>
                    <a:path w="10" h="7">
                      <a:moveTo>
                        <a:pt x="5" y="0"/>
                      </a:moveTo>
                      <a:cubicBezTo>
                        <a:pt x="4" y="0"/>
                        <a:pt x="3" y="1"/>
                        <a:pt x="3" y="1"/>
                      </a:cubicBezTo>
                      <a:cubicBezTo>
                        <a:pt x="0" y="3"/>
                        <a:pt x="3" y="5"/>
                        <a:pt x="5" y="7"/>
                      </a:cubicBezTo>
                      <a:cubicBezTo>
                        <a:pt x="7" y="6"/>
                        <a:pt x="10" y="4"/>
                        <a:pt x="9" y="2"/>
                      </a:cubicBezTo>
                      <a:cubicBezTo>
                        <a:pt x="8"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153"/>
                <p:cNvSpPr/>
                <p:nvPr/>
              </p:nvSpPr>
              <p:spPr bwMode="auto">
                <a:xfrm>
                  <a:off x="6559506" y="5376584"/>
                  <a:ext cx="3685" cy="11055"/>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154"/>
                <p:cNvSpPr/>
                <p:nvPr/>
              </p:nvSpPr>
              <p:spPr bwMode="auto">
                <a:xfrm>
                  <a:off x="6780613" y="5417121"/>
                  <a:ext cx="18426" cy="14740"/>
                </a:xfrm>
                <a:custGeom>
                  <a:gdLst>
                    <a:gd name="T0" fmla="*/ 0 w 6"/>
                    <a:gd name="T1" fmla="*/ 0 h 5"/>
                    <a:gd name="T2" fmla="*/ 3 w 6"/>
                    <a:gd name="T3" fmla="*/ 5 h 5"/>
                    <a:gd name="T4" fmla="*/ 0 w 6"/>
                    <a:gd name="T5" fmla="*/ 0 h 5"/>
                  </a:gdLst>
                  <a:cxnLst>
                    <a:cxn ang="0">
                      <a:pos x="T0" y="T1"/>
                    </a:cxn>
                    <a:cxn ang="0">
                      <a:pos x="T2" y="T3"/>
                    </a:cxn>
                    <a:cxn ang="0">
                      <a:pos x="T4" y="T5"/>
                    </a:cxn>
                  </a:cxnLst>
                  <a:rect l="0" t="0" r="r" b="b"/>
                  <a:pathLst>
                    <a:path w="6" h="5">
                      <a:moveTo>
                        <a:pt x="0" y="0"/>
                      </a:moveTo>
                      <a:cubicBezTo>
                        <a:pt x="1" y="2"/>
                        <a:pt x="2" y="4"/>
                        <a:pt x="3" y="5"/>
                      </a:cubicBezTo>
                      <a:cubicBezTo>
                        <a:pt x="6"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Freeform 155"/>
                <p:cNvSpPr/>
                <p:nvPr/>
              </p:nvSpPr>
              <p:spPr bwMode="auto">
                <a:xfrm>
                  <a:off x="6544766" y="5354474"/>
                  <a:ext cx="14740" cy="18426"/>
                </a:xfrm>
                <a:custGeom>
                  <a:gdLst>
                    <a:gd name="T0" fmla="*/ 4 w 4"/>
                    <a:gd name="T1" fmla="*/ 0 h 5"/>
                    <a:gd name="T2" fmla="*/ 0 w 4"/>
                    <a:gd name="T3" fmla="*/ 5 h 5"/>
                    <a:gd name="T4" fmla="*/ 4 w 4"/>
                    <a:gd name="T5" fmla="*/ 0 h 5"/>
                  </a:gdLst>
                  <a:cxnLst>
                    <a:cxn ang="0">
                      <a:pos x="T0" y="T1"/>
                    </a:cxn>
                    <a:cxn ang="0">
                      <a:pos x="T2" y="T3"/>
                    </a:cxn>
                    <a:cxn ang="0">
                      <a:pos x="T4" y="T5"/>
                    </a:cxn>
                  </a:cxnLst>
                  <a:rect l="0" t="0" r="r" b="b"/>
                  <a:pathLst>
                    <a:path w="4" h="5">
                      <a:moveTo>
                        <a:pt x="4" y="0"/>
                      </a:moveTo>
                      <a:cubicBezTo>
                        <a:pt x="2" y="1"/>
                        <a:pt x="1" y="3"/>
                        <a:pt x="0" y="5"/>
                      </a:cubicBezTo>
                      <a:cubicBezTo>
                        <a:pt x="2" y="4"/>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156"/>
                <p:cNvSpPr/>
                <p:nvPr/>
              </p:nvSpPr>
              <p:spPr bwMode="auto">
                <a:xfrm>
                  <a:off x="6190994" y="5273401"/>
                  <a:ext cx="40536" cy="40536"/>
                </a:xfrm>
                <a:custGeom>
                  <a:gdLst>
                    <a:gd name="T0" fmla="*/ 7 w 13"/>
                    <a:gd name="T1" fmla="*/ 0 h 13"/>
                    <a:gd name="T2" fmla="*/ 4 w 13"/>
                    <a:gd name="T3" fmla="*/ 5 h 13"/>
                    <a:gd name="T4" fmla="*/ 0 w 13"/>
                    <a:gd name="T5" fmla="*/ 9 h 13"/>
                    <a:gd name="T6" fmla="*/ 1 w 13"/>
                    <a:gd name="T7" fmla="*/ 9 h 13"/>
                    <a:gd name="T8" fmla="*/ 2 w 13"/>
                    <a:gd name="T9" fmla="*/ 9 h 13"/>
                    <a:gd name="T10" fmla="*/ 3 w 13"/>
                    <a:gd name="T11" fmla="*/ 9 h 13"/>
                    <a:gd name="T12" fmla="*/ 5 w 13"/>
                    <a:gd name="T13" fmla="*/ 9 h 13"/>
                    <a:gd name="T14" fmla="*/ 5 w 13"/>
                    <a:gd name="T15" fmla="*/ 11 h 13"/>
                    <a:gd name="T16" fmla="*/ 6 w 13"/>
                    <a:gd name="T17" fmla="*/ 11 h 13"/>
                    <a:gd name="T18" fmla="*/ 7 w 13"/>
                    <a:gd name="T19" fmla="*/ 11 h 13"/>
                    <a:gd name="T20" fmla="*/ 7 w 13"/>
                    <a:gd name="T21" fmla="*/ 11 h 13"/>
                    <a:gd name="T22" fmla="*/ 8 w 13"/>
                    <a:gd name="T23" fmla="*/ 11 h 13"/>
                    <a:gd name="T24" fmla="*/ 13 w 13"/>
                    <a:gd name="T25" fmla="*/ 13 h 13"/>
                    <a:gd name="T26" fmla="*/ 13 w 13"/>
                    <a:gd name="T27" fmla="*/ 13 h 13"/>
                    <a:gd name="T28" fmla="*/ 7 w 13"/>
                    <a:gd name="T29"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3">
                      <a:moveTo>
                        <a:pt x="7" y="0"/>
                      </a:moveTo>
                      <a:cubicBezTo>
                        <a:pt x="6" y="1"/>
                        <a:pt x="5" y="3"/>
                        <a:pt x="4" y="5"/>
                      </a:cubicBezTo>
                      <a:cubicBezTo>
                        <a:pt x="2" y="6"/>
                        <a:pt x="0" y="6"/>
                        <a:pt x="0" y="9"/>
                      </a:cubicBezTo>
                      <a:cubicBezTo>
                        <a:pt x="0" y="9"/>
                        <a:pt x="1" y="9"/>
                        <a:pt x="1" y="9"/>
                      </a:cubicBezTo>
                      <a:cubicBezTo>
                        <a:pt x="1" y="9"/>
                        <a:pt x="1" y="9"/>
                        <a:pt x="2" y="9"/>
                      </a:cubicBezTo>
                      <a:cubicBezTo>
                        <a:pt x="2" y="9"/>
                        <a:pt x="3" y="9"/>
                        <a:pt x="3" y="9"/>
                      </a:cubicBezTo>
                      <a:cubicBezTo>
                        <a:pt x="4" y="9"/>
                        <a:pt x="4" y="9"/>
                        <a:pt x="5" y="9"/>
                      </a:cubicBezTo>
                      <a:cubicBezTo>
                        <a:pt x="5" y="9"/>
                        <a:pt x="4" y="11"/>
                        <a:pt x="5" y="11"/>
                      </a:cubicBezTo>
                      <a:cubicBezTo>
                        <a:pt x="5" y="11"/>
                        <a:pt x="6" y="11"/>
                        <a:pt x="6" y="11"/>
                      </a:cubicBezTo>
                      <a:cubicBezTo>
                        <a:pt x="6" y="11"/>
                        <a:pt x="6" y="11"/>
                        <a:pt x="7" y="11"/>
                      </a:cubicBezTo>
                      <a:cubicBezTo>
                        <a:pt x="7" y="11"/>
                        <a:pt x="7" y="11"/>
                        <a:pt x="7" y="11"/>
                      </a:cubicBezTo>
                      <a:cubicBezTo>
                        <a:pt x="7" y="11"/>
                        <a:pt x="7" y="11"/>
                        <a:pt x="8" y="11"/>
                      </a:cubicBezTo>
                      <a:cubicBezTo>
                        <a:pt x="9" y="12"/>
                        <a:pt x="11" y="13"/>
                        <a:pt x="13" y="13"/>
                      </a:cubicBezTo>
                      <a:cubicBezTo>
                        <a:pt x="13" y="13"/>
                        <a:pt x="13" y="13"/>
                        <a:pt x="13" y="13"/>
                      </a:cubicBezTo>
                      <a:cubicBezTo>
                        <a:pt x="11" y="9"/>
                        <a:pt x="9"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Freeform 157"/>
                <p:cNvSpPr/>
                <p:nvPr/>
              </p:nvSpPr>
              <p:spPr bwMode="auto">
                <a:xfrm>
                  <a:off x="6644264" y="5376584"/>
                  <a:ext cx="11055" cy="7370"/>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0"/>
                        <a:pt x="1" y="1"/>
                        <a:pt x="0" y="2"/>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158"/>
                <p:cNvSpPr/>
                <p:nvPr/>
              </p:nvSpPr>
              <p:spPr bwMode="auto">
                <a:xfrm>
                  <a:off x="6791668" y="5439231"/>
                  <a:ext cx="33166" cy="14740"/>
                </a:xfrm>
                <a:custGeom>
                  <a:gdLst>
                    <a:gd name="T0" fmla="*/ 7 w 11"/>
                    <a:gd name="T1" fmla="*/ 0 h 5"/>
                    <a:gd name="T2" fmla="*/ 0 w 11"/>
                    <a:gd name="T3" fmla="*/ 5 h 5"/>
                    <a:gd name="T4" fmla="*/ 11 w 11"/>
                    <a:gd name="T5" fmla="*/ 0 h 5"/>
                    <a:gd name="T6" fmla="*/ 7 w 11"/>
                    <a:gd name="T7" fmla="*/ 0 h 5"/>
                  </a:gdLst>
                  <a:cxnLst>
                    <a:cxn ang="0">
                      <a:pos x="T0" y="T1"/>
                    </a:cxn>
                    <a:cxn ang="0">
                      <a:pos x="T2" y="T3"/>
                    </a:cxn>
                    <a:cxn ang="0">
                      <a:pos x="T4" y="T5"/>
                    </a:cxn>
                    <a:cxn ang="0">
                      <a:pos x="T6" y="T7"/>
                    </a:cxn>
                  </a:cxnLst>
                  <a:rect l="0" t="0" r="r" b="b"/>
                  <a:pathLst>
                    <a:path w="11" h="5">
                      <a:moveTo>
                        <a:pt x="7" y="0"/>
                      </a:moveTo>
                      <a:cubicBezTo>
                        <a:pt x="4" y="0"/>
                        <a:pt x="2" y="2"/>
                        <a:pt x="0" y="5"/>
                      </a:cubicBezTo>
                      <a:cubicBezTo>
                        <a:pt x="3" y="2"/>
                        <a:pt x="8" y="3"/>
                        <a:pt x="11"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159"/>
                <p:cNvSpPr/>
                <p:nvPr/>
              </p:nvSpPr>
              <p:spPr bwMode="auto">
                <a:xfrm>
                  <a:off x="6865371" y="5465027"/>
                  <a:ext cx="3685" cy="7370"/>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160"/>
                <p:cNvSpPr/>
                <p:nvPr/>
              </p:nvSpPr>
              <p:spPr bwMode="auto">
                <a:xfrm>
                  <a:off x="6209420" y="5232865"/>
                  <a:ext cx="18426" cy="29481"/>
                </a:xfrm>
                <a:custGeom>
                  <a:gdLst>
                    <a:gd name="T0" fmla="*/ 5 w 6"/>
                    <a:gd name="T1" fmla="*/ 0 h 9"/>
                    <a:gd name="T2" fmla="*/ 0 w 6"/>
                    <a:gd name="T3" fmla="*/ 9 h 9"/>
                    <a:gd name="T4" fmla="*/ 5 w 6"/>
                    <a:gd name="T5" fmla="*/ 0 h 9"/>
                  </a:gdLst>
                  <a:cxnLst>
                    <a:cxn ang="0">
                      <a:pos x="T0" y="T1"/>
                    </a:cxn>
                    <a:cxn ang="0">
                      <a:pos x="T2" y="T3"/>
                    </a:cxn>
                    <a:cxn ang="0">
                      <a:pos x="T4" y="T5"/>
                    </a:cxn>
                  </a:cxnLst>
                  <a:rect l="0" t="0" r="r" b="b"/>
                  <a:pathLst>
                    <a:path w="6" h="9">
                      <a:moveTo>
                        <a:pt x="5" y="0"/>
                      </a:moveTo>
                      <a:cubicBezTo>
                        <a:pt x="0" y="2"/>
                        <a:pt x="1" y="6"/>
                        <a:pt x="0" y="9"/>
                      </a:cubicBezTo>
                      <a:cubicBezTo>
                        <a:pt x="6" y="8"/>
                        <a:pt x="5" y="6"/>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161"/>
                <p:cNvSpPr/>
                <p:nvPr/>
              </p:nvSpPr>
              <p:spPr bwMode="auto">
                <a:xfrm>
                  <a:off x="6563191" y="5218124"/>
                  <a:ext cx="22111" cy="22111"/>
                </a:xfrm>
                <a:custGeom>
                  <a:gdLst>
                    <a:gd name="T0" fmla="*/ 0 w 7"/>
                    <a:gd name="T1" fmla="*/ 0 h 7"/>
                    <a:gd name="T2" fmla="*/ 2 w 7"/>
                    <a:gd name="T3" fmla="*/ 7 h 7"/>
                    <a:gd name="T4" fmla="*/ 4 w 7"/>
                    <a:gd name="T5" fmla="*/ 7 h 7"/>
                    <a:gd name="T6" fmla="*/ 3 w 7"/>
                    <a:gd name="T7" fmla="*/ 4 h 7"/>
                    <a:gd name="T8" fmla="*/ 3 w 7"/>
                    <a:gd name="T9" fmla="*/ 2 h 7"/>
                    <a:gd name="T10" fmla="*/ 0 w 7"/>
                    <a:gd name="T11" fmla="*/ 0 h 7"/>
                  </a:gdLst>
                  <a:cxnLst>
                    <a:cxn ang="0">
                      <a:pos x="T0" y="T1"/>
                    </a:cxn>
                    <a:cxn ang="0">
                      <a:pos x="T2" y="T3"/>
                    </a:cxn>
                    <a:cxn ang="0">
                      <a:pos x="T4" y="T5"/>
                    </a:cxn>
                    <a:cxn ang="0">
                      <a:pos x="T6" y="T7"/>
                    </a:cxn>
                    <a:cxn ang="0">
                      <a:pos x="T8" y="T9"/>
                    </a:cxn>
                    <a:cxn ang="0">
                      <a:pos x="T10" y="T11"/>
                    </a:cxn>
                  </a:cxnLst>
                  <a:rect l="0" t="0" r="r" b="b"/>
                  <a:pathLst>
                    <a:path w="7" h="7">
                      <a:moveTo>
                        <a:pt x="0" y="0"/>
                      </a:moveTo>
                      <a:cubicBezTo>
                        <a:pt x="1" y="2"/>
                        <a:pt x="2" y="5"/>
                        <a:pt x="2" y="7"/>
                      </a:cubicBezTo>
                      <a:cubicBezTo>
                        <a:pt x="3" y="7"/>
                        <a:pt x="4" y="7"/>
                        <a:pt x="4" y="7"/>
                      </a:cubicBezTo>
                      <a:cubicBezTo>
                        <a:pt x="7" y="7"/>
                        <a:pt x="4" y="5"/>
                        <a:pt x="3" y="4"/>
                      </a:cubicBezTo>
                      <a:cubicBezTo>
                        <a:pt x="3" y="2"/>
                        <a:pt x="3"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162"/>
                <p:cNvSpPr/>
                <p:nvPr/>
              </p:nvSpPr>
              <p:spPr bwMode="auto">
                <a:xfrm>
                  <a:off x="6684800" y="5258661"/>
                  <a:ext cx="36851" cy="47907"/>
                </a:xfrm>
                <a:custGeom>
                  <a:gdLst>
                    <a:gd name="T0" fmla="*/ 4 w 11"/>
                    <a:gd name="T1" fmla="*/ 0 h 15"/>
                    <a:gd name="T2" fmla="*/ 1 w 11"/>
                    <a:gd name="T3" fmla="*/ 3 h 15"/>
                    <a:gd name="T4" fmla="*/ 6 w 11"/>
                    <a:gd name="T5" fmla="*/ 15 h 15"/>
                    <a:gd name="T6" fmla="*/ 9 w 11"/>
                    <a:gd name="T7" fmla="*/ 4 h 15"/>
                    <a:gd name="T8" fmla="*/ 6 w 11"/>
                    <a:gd name="T9" fmla="*/ 0 h 15"/>
                    <a:gd name="T10" fmla="*/ 4 w 11"/>
                    <a:gd name="T11" fmla="*/ 0 h 15"/>
                  </a:gdLst>
                  <a:cxnLst>
                    <a:cxn ang="0">
                      <a:pos x="T0" y="T1"/>
                    </a:cxn>
                    <a:cxn ang="0">
                      <a:pos x="T2" y="T3"/>
                    </a:cxn>
                    <a:cxn ang="0">
                      <a:pos x="T4" y="T5"/>
                    </a:cxn>
                    <a:cxn ang="0">
                      <a:pos x="T6" y="T7"/>
                    </a:cxn>
                    <a:cxn ang="0">
                      <a:pos x="T8" y="T9"/>
                    </a:cxn>
                    <a:cxn ang="0">
                      <a:pos x="T10" y="T11"/>
                    </a:cxn>
                  </a:cxnLst>
                  <a:rect l="0" t="0" r="r" b="b"/>
                  <a:pathLst>
                    <a:path w="11" h="15">
                      <a:moveTo>
                        <a:pt x="4" y="0"/>
                      </a:moveTo>
                      <a:cubicBezTo>
                        <a:pt x="2" y="0"/>
                        <a:pt x="1" y="1"/>
                        <a:pt x="1" y="3"/>
                      </a:cubicBezTo>
                      <a:cubicBezTo>
                        <a:pt x="1" y="9"/>
                        <a:pt x="0" y="11"/>
                        <a:pt x="6" y="15"/>
                      </a:cubicBezTo>
                      <a:cubicBezTo>
                        <a:pt x="9" y="13"/>
                        <a:pt x="11" y="8"/>
                        <a:pt x="9" y="4"/>
                      </a:cubicBezTo>
                      <a:cubicBezTo>
                        <a:pt x="11" y="2"/>
                        <a:pt x="8" y="1"/>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163"/>
                <p:cNvSpPr/>
                <p:nvPr/>
              </p:nvSpPr>
              <p:spPr bwMode="auto">
                <a:xfrm>
                  <a:off x="6124662" y="5129682"/>
                  <a:ext cx="40536" cy="33166"/>
                </a:xfrm>
                <a:custGeom>
                  <a:gdLst>
                    <a:gd name="T0" fmla="*/ 7 w 13"/>
                    <a:gd name="T1" fmla="*/ 0 h 10"/>
                    <a:gd name="T2" fmla="*/ 4 w 13"/>
                    <a:gd name="T3" fmla="*/ 1 h 10"/>
                    <a:gd name="T4" fmla="*/ 4 w 13"/>
                    <a:gd name="T5" fmla="*/ 1 h 10"/>
                    <a:gd name="T6" fmla="*/ 3 w 13"/>
                    <a:gd name="T7" fmla="*/ 1 h 10"/>
                    <a:gd name="T8" fmla="*/ 3 w 13"/>
                    <a:gd name="T9" fmla="*/ 1 h 10"/>
                    <a:gd name="T10" fmla="*/ 2 w 13"/>
                    <a:gd name="T11" fmla="*/ 1 h 10"/>
                    <a:gd name="T12" fmla="*/ 9 w 13"/>
                    <a:gd name="T13" fmla="*/ 10 h 10"/>
                    <a:gd name="T14" fmla="*/ 9 w 13"/>
                    <a:gd name="T15" fmla="*/ 6 h 10"/>
                    <a:gd name="T16" fmla="*/ 8 w 13"/>
                    <a:gd name="T17" fmla="*/ 0 h 10"/>
                    <a:gd name="T18" fmla="*/ 7 w 13"/>
                    <a:gd name="T1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7" y="0"/>
                      </a:moveTo>
                      <a:cubicBezTo>
                        <a:pt x="6" y="0"/>
                        <a:pt x="5" y="0"/>
                        <a:pt x="4" y="1"/>
                      </a:cubicBezTo>
                      <a:cubicBezTo>
                        <a:pt x="4" y="1"/>
                        <a:pt x="4" y="1"/>
                        <a:pt x="4" y="1"/>
                      </a:cubicBezTo>
                      <a:cubicBezTo>
                        <a:pt x="4" y="1"/>
                        <a:pt x="3" y="1"/>
                        <a:pt x="3" y="1"/>
                      </a:cubicBezTo>
                      <a:cubicBezTo>
                        <a:pt x="3" y="1"/>
                        <a:pt x="3" y="1"/>
                        <a:pt x="3" y="1"/>
                      </a:cubicBezTo>
                      <a:cubicBezTo>
                        <a:pt x="3" y="1"/>
                        <a:pt x="2" y="1"/>
                        <a:pt x="2" y="1"/>
                      </a:cubicBezTo>
                      <a:cubicBezTo>
                        <a:pt x="0" y="3"/>
                        <a:pt x="8" y="9"/>
                        <a:pt x="9" y="10"/>
                      </a:cubicBezTo>
                      <a:cubicBezTo>
                        <a:pt x="9" y="9"/>
                        <a:pt x="9" y="7"/>
                        <a:pt x="9" y="6"/>
                      </a:cubicBezTo>
                      <a:cubicBezTo>
                        <a:pt x="3" y="5"/>
                        <a:pt x="13" y="2"/>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164"/>
                <p:cNvSpPr/>
                <p:nvPr/>
              </p:nvSpPr>
              <p:spPr bwMode="auto">
                <a:xfrm>
                  <a:off x="6607412" y="5354474"/>
                  <a:ext cx="29481" cy="18426"/>
                </a:xfrm>
                <a:custGeom>
                  <a:gdLst>
                    <a:gd name="T0" fmla="*/ 1 w 9"/>
                    <a:gd name="T1" fmla="*/ 0 h 5"/>
                    <a:gd name="T2" fmla="*/ 0 w 9"/>
                    <a:gd name="T3" fmla="*/ 0 h 5"/>
                    <a:gd name="T4" fmla="*/ 6 w 9"/>
                    <a:gd name="T5" fmla="*/ 5 h 5"/>
                    <a:gd name="T6" fmla="*/ 1 w 9"/>
                    <a:gd name="T7" fmla="*/ 0 h 5"/>
                  </a:gdLst>
                  <a:cxnLst>
                    <a:cxn ang="0">
                      <a:pos x="T0" y="T1"/>
                    </a:cxn>
                    <a:cxn ang="0">
                      <a:pos x="T2" y="T3"/>
                    </a:cxn>
                    <a:cxn ang="0">
                      <a:pos x="T4" y="T5"/>
                    </a:cxn>
                    <a:cxn ang="0">
                      <a:pos x="T6" y="T7"/>
                    </a:cxn>
                  </a:cxnLst>
                  <a:rect l="0" t="0" r="r" b="b"/>
                  <a:pathLst>
                    <a:path w="9" h="5">
                      <a:moveTo>
                        <a:pt x="1" y="0"/>
                      </a:moveTo>
                      <a:cubicBezTo>
                        <a:pt x="1" y="0"/>
                        <a:pt x="0" y="0"/>
                        <a:pt x="0" y="0"/>
                      </a:cubicBezTo>
                      <a:cubicBezTo>
                        <a:pt x="2" y="2"/>
                        <a:pt x="4" y="3"/>
                        <a:pt x="6" y="5"/>
                      </a:cubicBezTo>
                      <a:cubicBezTo>
                        <a:pt x="9" y="1"/>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Freeform 165"/>
                <p:cNvSpPr/>
                <p:nvPr/>
              </p:nvSpPr>
              <p:spPr bwMode="auto">
                <a:xfrm>
                  <a:off x="5339733" y="3445584"/>
                  <a:ext cx="29481" cy="11055"/>
                </a:xfrm>
                <a:custGeom>
                  <a:gdLst>
                    <a:gd name="T0" fmla="*/ 6 w 9"/>
                    <a:gd name="T1" fmla="*/ 0 h 4"/>
                    <a:gd name="T2" fmla="*/ 4 w 9"/>
                    <a:gd name="T3" fmla="*/ 0 h 4"/>
                    <a:gd name="T4" fmla="*/ 9 w 9"/>
                    <a:gd name="T5" fmla="*/ 4 h 4"/>
                    <a:gd name="T6" fmla="*/ 6 w 9"/>
                    <a:gd name="T7" fmla="*/ 0 h 4"/>
                  </a:gdLst>
                  <a:cxnLst>
                    <a:cxn ang="0">
                      <a:pos x="T0" y="T1"/>
                    </a:cxn>
                    <a:cxn ang="0">
                      <a:pos x="T2" y="T3"/>
                    </a:cxn>
                    <a:cxn ang="0">
                      <a:pos x="T4" y="T5"/>
                    </a:cxn>
                    <a:cxn ang="0">
                      <a:pos x="T6" y="T7"/>
                    </a:cxn>
                  </a:cxnLst>
                  <a:rect l="0" t="0" r="r" b="b"/>
                  <a:pathLst>
                    <a:path w="9" h="4">
                      <a:moveTo>
                        <a:pt x="6" y="0"/>
                      </a:moveTo>
                      <a:cubicBezTo>
                        <a:pt x="5" y="0"/>
                        <a:pt x="5" y="0"/>
                        <a:pt x="4" y="0"/>
                      </a:cubicBezTo>
                      <a:cubicBezTo>
                        <a:pt x="0" y="3"/>
                        <a:pt x="8" y="4"/>
                        <a:pt x="9" y="4"/>
                      </a:cubicBezTo>
                      <a:cubicBezTo>
                        <a:pt x="9" y="3"/>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166"/>
                <p:cNvSpPr/>
                <p:nvPr/>
              </p:nvSpPr>
              <p:spPr bwMode="auto">
                <a:xfrm>
                  <a:off x="5030183" y="3541397"/>
                  <a:ext cx="11055" cy="0"/>
                </a:xfrm>
                <a:custGeom>
                  <a:gdLst>
                    <a:gd name="T0" fmla="*/ 0 w 3"/>
                    <a:gd name="T1" fmla="*/ 0 h 1"/>
                    <a:gd name="T2" fmla="*/ 0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0" y="0"/>
                        <a:pt x="0" y="1"/>
                        <a:pt x="0" y="1"/>
                      </a:cubicBezTo>
                      <a:cubicBezTo>
                        <a:pt x="1"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167"/>
                <p:cNvSpPr/>
                <p:nvPr/>
              </p:nvSpPr>
              <p:spPr bwMode="auto">
                <a:xfrm>
                  <a:off x="5538729" y="3423473"/>
                  <a:ext cx="62647" cy="58962"/>
                </a:xfrm>
                <a:custGeom>
                  <a:gdLst>
                    <a:gd name="T0" fmla="*/ 8 w 19"/>
                    <a:gd name="T1" fmla="*/ 0 h 18"/>
                    <a:gd name="T2" fmla="*/ 4 w 19"/>
                    <a:gd name="T3" fmla="*/ 2 h 18"/>
                    <a:gd name="T4" fmla="*/ 4 w 19"/>
                    <a:gd name="T5" fmla="*/ 2 h 18"/>
                    <a:gd name="T6" fmla="*/ 6 w 19"/>
                    <a:gd name="T7" fmla="*/ 4 h 18"/>
                    <a:gd name="T8" fmla="*/ 7 w 19"/>
                    <a:gd name="T9" fmla="*/ 3 h 18"/>
                    <a:gd name="T10" fmla="*/ 9 w 19"/>
                    <a:gd name="T11" fmla="*/ 5 h 18"/>
                    <a:gd name="T12" fmla="*/ 8 w 19"/>
                    <a:gd name="T13" fmla="*/ 5 h 18"/>
                    <a:gd name="T14" fmla="*/ 7 w 19"/>
                    <a:gd name="T15" fmla="*/ 6 h 18"/>
                    <a:gd name="T16" fmla="*/ 7 w 19"/>
                    <a:gd name="T17" fmla="*/ 4 h 18"/>
                    <a:gd name="T18" fmla="*/ 5 w 19"/>
                    <a:gd name="T19" fmla="*/ 6 h 18"/>
                    <a:gd name="T20" fmla="*/ 2 w 19"/>
                    <a:gd name="T21" fmla="*/ 5 h 18"/>
                    <a:gd name="T22" fmla="*/ 1 w 19"/>
                    <a:gd name="T23" fmla="*/ 6 h 18"/>
                    <a:gd name="T24" fmla="*/ 8 w 19"/>
                    <a:gd name="T25" fmla="*/ 18 h 18"/>
                    <a:gd name="T26" fmla="*/ 13 w 19"/>
                    <a:gd name="T27" fmla="*/ 13 h 18"/>
                    <a:gd name="T28" fmla="*/ 14 w 19"/>
                    <a:gd name="T29" fmla="*/ 13 h 18"/>
                    <a:gd name="T30" fmla="*/ 17 w 19"/>
                    <a:gd name="T31" fmla="*/ 16 h 18"/>
                    <a:gd name="T32" fmla="*/ 18 w 19"/>
                    <a:gd name="T33" fmla="*/ 13 h 18"/>
                    <a:gd name="T34" fmla="*/ 13 w 19"/>
                    <a:gd name="T35" fmla="*/ 8 h 18"/>
                    <a:gd name="T36" fmla="*/ 14 w 19"/>
                    <a:gd name="T37" fmla="*/ 4 h 18"/>
                    <a:gd name="T38" fmla="*/ 13 w 19"/>
                    <a:gd name="T39" fmla="*/ 4 h 18"/>
                    <a:gd name="T40" fmla="*/ 12 w 19"/>
                    <a:gd name="T41" fmla="*/ 4 h 18"/>
                    <a:gd name="T42" fmla="*/ 11 w 19"/>
                    <a:gd name="T43" fmla="*/ 4 h 18"/>
                    <a:gd name="T44" fmla="*/ 8 w 19"/>
                    <a:gd name="T45" fmla="*/ 3 h 18"/>
                    <a:gd name="T46" fmla="*/ 9 w 19"/>
                    <a:gd name="T47" fmla="*/ 0 h 18"/>
                    <a:gd name="T48" fmla="*/ 9 w 19"/>
                    <a:gd name="T49" fmla="*/ 0 h 18"/>
                    <a:gd name="T50" fmla="*/ 8 w 19"/>
                    <a:gd name="T5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8">
                      <a:moveTo>
                        <a:pt x="8" y="0"/>
                      </a:moveTo>
                      <a:cubicBezTo>
                        <a:pt x="6" y="0"/>
                        <a:pt x="4" y="1"/>
                        <a:pt x="4" y="2"/>
                      </a:cubicBezTo>
                      <a:cubicBezTo>
                        <a:pt x="4" y="2"/>
                        <a:pt x="4" y="2"/>
                        <a:pt x="4" y="2"/>
                      </a:cubicBezTo>
                      <a:cubicBezTo>
                        <a:pt x="5" y="2"/>
                        <a:pt x="6" y="2"/>
                        <a:pt x="6" y="4"/>
                      </a:cubicBezTo>
                      <a:cubicBezTo>
                        <a:pt x="7" y="3"/>
                        <a:pt x="7" y="3"/>
                        <a:pt x="7" y="3"/>
                      </a:cubicBezTo>
                      <a:cubicBezTo>
                        <a:pt x="8" y="3"/>
                        <a:pt x="9" y="4"/>
                        <a:pt x="9" y="5"/>
                      </a:cubicBezTo>
                      <a:cubicBezTo>
                        <a:pt x="9" y="5"/>
                        <a:pt x="9" y="5"/>
                        <a:pt x="8" y="5"/>
                      </a:cubicBezTo>
                      <a:cubicBezTo>
                        <a:pt x="8" y="5"/>
                        <a:pt x="7" y="5"/>
                        <a:pt x="7" y="6"/>
                      </a:cubicBezTo>
                      <a:cubicBezTo>
                        <a:pt x="7" y="5"/>
                        <a:pt x="6" y="5"/>
                        <a:pt x="7" y="4"/>
                      </a:cubicBezTo>
                      <a:cubicBezTo>
                        <a:pt x="6" y="5"/>
                        <a:pt x="6" y="5"/>
                        <a:pt x="5" y="6"/>
                      </a:cubicBezTo>
                      <a:cubicBezTo>
                        <a:pt x="5" y="6"/>
                        <a:pt x="3" y="5"/>
                        <a:pt x="2" y="5"/>
                      </a:cubicBezTo>
                      <a:cubicBezTo>
                        <a:pt x="1" y="5"/>
                        <a:pt x="1" y="5"/>
                        <a:pt x="1" y="6"/>
                      </a:cubicBezTo>
                      <a:cubicBezTo>
                        <a:pt x="0" y="14"/>
                        <a:pt x="0" y="14"/>
                        <a:pt x="8" y="18"/>
                      </a:cubicBezTo>
                      <a:cubicBezTo>
                        <a:pt x="9" y="14"/>
                        <a:pt x="10" y="14"/>
                        <a:pt x="13" y="13"/>
                      </a:cubicBezTo>
                      <a:cubicBezTo>
                        <a:pt x="13" y="13"/>
                        <a:pt x="14" y="13"/>
                        <a:pt x="14" y="13"/>
                      </a:cubicBezTo>
                      <a:cubicBezTo>
                        <a:pt x="16" y="13"/>
                        <a:pt x="17" y="14"/>
                        <a:pt x="17" y="16"/>
                      </a:cubicBezTo>
                      <a:cubicBezTo>
                        <a:pt x="18" y="15"/>
                        <a:pt x="18" y="14"/>
                        <a:pt x="18" y="13"/>
                      </a:cubicBezTo>
                      <a:cubicBezTo>
                        <a:pt x="16" y="12"/>
                        <a:pt x="13" y="11"/>
                        <a:pt x="13" y="8"/>
                      </a:cubicBezTo>
                      <a:cubicBezTo>
                        <a:pt x="14" y="6"/>
                        <a:pt x="19" y="5"/>
                        <a:pt x="14" y="4"/>
                      </a:cubicBezTo>
                      <a:cubicBezTo>
                        <a:pt x="14" y="4"/>
                        <a:pt x="14" y="4"/>
                        <a:pt x="13" y="4"/>
                      </a:cubicBezTo>
                      <a:cubicBezTo>
                        <a:pt x="13" y="4"/>
                        <a:pt x="13" y="4"/>
                        <a:pt x="12" y="4"/>
                      </a:cubicBezTo>
                      <a:cubicBezTo>
                        <a:pt x="12" y="4"/>
                        <a:pt x="11" y="4"/>
                        <a:pt x="11" y="4"/>
                      </a:cubicBezTo>
                      <a:cubicBezTo>
                        <a:pt x="10" y="4"/>
                        <a:pt x="8" y="4"/>
                        <a:pt x="8" y="3"/>
                      </a:cubicBezTo>
                      <a:cubicBezTo>
                        <a:pt x="7" y="2"/>
                        <a:pt x="9" y="0"/>
                        <a:pt x="9" y="0"/>
                      </a:cubicBezTo>
                      <a:cubicBezTo>
                        <a:pt x="9" y="0"/>
                        <a:pt x="9"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168"/>
                <p:cNvSpPr/>
                <p:nvPr/>
              </p:nvSpPr>
              <p:spPr bwMode="auto">
                <a:xfrm>
                  <a:off x="4149441" y="4337382"/>
                  <a:ext cx="11055" cy="14740"/>
                </a:xfrm>
                <a:custGeom>
                  <a:gdLst>
                    <a:gd name="T0" fmla="*/ 1 w 4"/>
                    <a:gd name="T1" fmla="*/ 0 h 5"/>
                    <a:gd name="T2" fmla="*/ 0 w 4"/>
                    <a:gd name="T3" fmla="*/ 0 h 5"/>
                    <a:gd name="T4" fmla="*/ 4 w 4"/>
                    <a:gd name="T5" fmla="*/ 5 h 5"/>
                    <a:gd name="T6" fmla="*/ 1 w 4"/>
                    <a:gd name="T7" fmla="*/ 0 h 5"/>
                  </a:gdLst>
                  <a:cxnLst>
                    <a:cxn ang="0">
                      <a:pos x="T0" y="T1"/>
                    </a:cxn>
                    <a:cxn ang="0">
                      <a:pos x="T2" y="T3"/>
                    </a:cxn>
                    <a:cxn ang="0">
                      <a:pos x="T4" y="T5"/>
                    </a:cxn>
                    <a:cxn ang="0">
                      <a:pos x="T6" y="T7"/>
                    </a:cxn>
                  </a:cxnLst>
                  <a:rect l="0" t="0" r="r" b="b"/>
                  <a:pathLst>
                    <a:path w="4" h="5">
                      <a:moveTo>
                        <a:pt x="1" y="0"/>
                      </a:moveTo>
                      <a:cubicBezTo>
                        <a:pt x="1" y="0"/>
                        <a:pt x="1" y="0"/>
                        <a:pt x="0" y="0"/>
                      </a:cubicBezTo>
                      <a:cubicBezTo>
                        <a:pt x="2" y="2"/>
                        <a:pt x="3" y="3"/>
                        <a:pt x="4" y="5"/>
                      </a:cubicBezTo>
                      <a:cubicBezTo>
                        <a:pt x="3"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Freeform 169"/>
                <p:cNvSpPr/>
                <p:nvPr/>
              </p:nvSpPr>
              <p:spPr bwMode="auto">
                <a:xfrm>
                  <a:off x="4064683" y="4296845"/>
                  <a:ext cx="14740" cy="11055"/>
                </a:xfrm>
                <a:custGeom>
                  <a:gdLst>
                    <a:gd name="T0" fmla="*/ 0 w 5"/>
                    <a:gd name="T1" fmla="*/ 0 h 4"/>
                    <a:gd name="T2" fmla="*/ 5 w 5"/>
                    <a:gd name="T3" fmla="*/ 4 h 4"/>
                    <a:gd name="T4" fmla="*/ 0 w 5"/>
                    <a:gd name="T5" fmla="*/ 0 h 4"/>
                  </a:gdLst>
                  <a:cxnLst>
                    <a:cxn ang="0">
                      <a:pos x="T0" y="T1"/>
                    </a:cxn>
                    <a:cxn ang="0">
                      <a:pos x="T2" y="T3"/>
                    </a:cxn>
                    <a:cxn ang="0">
                      <a:pos x="T4" y="T5"/>
                    </a:cxn>
                  </a:cxnLst>
                  <a:rect l="0" t="0" r="r" b="b"/>
                  <a:pathLst>
                    <a:path w="5" h="4">
                      <a:moveTo>
                        <a:pt x="0" y="0"/>
                      </a:moveTo>
                      <a:cubicBezTo>
                        <a:pt x="1" y="1"/>
                        <a:pt x="3" y="3"/>
                        <a:pt x="5"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170"/>
                <p:cNvSpPr/>
                <p:nvPr/>
              </p:nvSpPr>
              <p:spPr bwMode="auto">
                <a:xfrm>
                  <a:off x="4223143" y="4429510"/>
                  <a:ext cx="18426" cy="7370"/>
                </a:xfrm>
                <a:custGeom>
                  <a:gdLst>
                    <a:gd name="T0" fmla="*/ 1 w 6"/>
                    <a:gd name="T1" fmla="*/ 0 h 2"/>
                    <a:gd name="T2" fmla="*/ 0 w 6"/>
                    <a:gd name="T3" fmla="*/ 0 h 2"/>
                    <a:gd name="T4" fmla="*/ 6 w 6"/>
                    <a:gd name="T5" fmla="*/ 2 h 2"/>
                    <a:gd name="T6" fmla="*/ 1 w 6"/>
                    <a:gd name="T7" fmla="*/ 0 h 2"/>
                  </a:gdLst>
                  <a:cxnLst>
                    <a:cxn ang="0">
                      <a:pos x="T0" y="T1"/>
                    </a:cxn>
                    <a:cxn ang="0">
                      <a:pos x="T2" y="T3"/>
                    </a:cxn>
                    <a:cxn ang="0">
                      <a:pos x="T4" y="T5"/>
                    </a:cxn>
                    <a:cxn ang="0">
                      <a:pos x="T6" y="T7"/>
                    </a:cxn>
                  </a:cxnLst>
                  <a:rect l="0" t="0" r="r" b="b"/>
                  <a:pathLst>
                    <a:path w="6" h="2">
                      <a:moveTo>
                        <a:pt x="1" y="0"/>
                      </a:moveTo>
                      <a:cubicBezTo>
                        <a:pt x="1" y="0"/>
                        <a:pt x="1" y="0"/>
                        <a:pt x="0" y="0"/>
                      </a:cubicBezTo>
                      <a:cubicBezTo>
                        <a:pt x="2" y="1"/>
                        <a:pt x="4" y="2"/>
                        <a:pt x="6" y="2"/>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171"/>
                <p:cNvSpPr/>
                <p:nvPr/>
              </p:nvSpPr>
              <p:spPr bwMode="auto">
                <a:xfrm>
                  <a:off x="4230513" y="4447935"/>
                  <a:ext cx="22111" cy="29481"/>
                </a:xfrm>
                <a:custGeom>
                  <a:gdLst>
                    <a:gd name="T0" fmla="*/ 0 w 7"/>
                    <a:gd name="T1" fmla="*/ 0 h 9"/>
                    <a:gd name="T2" fmla="*/ 5 w 7"/>
                    <a:gd name="T3" fmla="*/ 9 h 9"/>
                    <a:gd name="T4" fmla="*/ 0 w 7"/>
                    <a:gd name="T5" fmla="*/ 0 h 9"/>
                  </a:gdLst>
                  <a:cxnLst>
                    <a:cxn ang="0">
                      <a:pos x="T0" y="T1"/>
                    </a:cxn>
                    <a:cxn ang="0">
                      <a:pos x="T2" y="T3"/>
                    </a:cxn>
                    <a:cxn ang="0">
                      <a:pos x="T4" y="T5"/>
                    </a:cxn>
                  </a:cxnLst>
                  <a:rect l="0" t="0" r="r" b="b"/>
                  <a:pathLst>
                    <a:path w="7" h="9">
                      <a:moveTo>
                        <a:pt x="0" y="0"/>
                      </a:moveTo>
                      <a:cubicBezTo>
                        <a:pt x="1" y="3"/>
                        <a:pt x="3" y="6"/>
                        <a:pt x="5" y="9"/>
                      </a:cubicBezTo>
                      <a:cubicBezTo>
                        <a:pt x="7" y="4"/>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172"/>
                <p:cNvSpPr/>
                <p:nvPr/>
              </p:nvSpPr>
              <p:spPr bwMode="auto">
                <a:xfrm>
                  <a:off x="5122311" y="4786966"/>
                  <a:ext cx="99498" cy="176886"/>
                </a:xfrm>
                <a:custGeom>
                  <a:gdLst>
                    <a:gd name="T0" fmla="*/ 24 w 31"/>
                    <a:gd name="T1" fmla="*/ 0 h 56"/>
                    <a:gd name="T2" fmla="*/ 24 w 31"/>
                    <a:gd name="T3" fmla="*/ 0 h 56"/>
                    <a:gd name="T4" fmla="*/ 20 w 31"/>
                    <a:gd name="T5" fmla="*/ 10 h 56"/>
                    <a:gd name="T6" fmla="*/ 2 w 31"/>
                    <a:gd name="T7" fmla="*/ 21 h 56"/>
                    <a:gd name="T8" fmla="*/ 2 w 31"/>
                    <a:gd name="T9" fmla="*/ 35 h 56"/>
                    <a:gd name="T10" fmla="*/ 7 w 31"/>
                    <a:gd name="T11" fmla="*/ 39 h 56"/>
                    <a:gd name="T12" fmla="*/ 4 w 31"/>
                    <a:gd name="T13" fmla="*/ 42 h 56"/>
                    <a:gd name="T14" fmla="*/ 9 w 31"/>
                    <a:gd name="T15" fmla="*/ 44 h 56"/>
                    <a:gd name="T16" fmla="*/ 20 w 31"/>
                    <a:gd name="T17" fmla="*/ 56 h 56"/>
                    <a:gd name="T18" fmla="*/ 30 w 31"/>
                    <a:gd name="T19" fmla="*/ 26 h 56"/>
                    <a:gd name="T20" fmla="*/ 29 w 31"/>
                    <a:gd name="T21" fmla="*/ 12 h 56"/>
                    <a:gd name="T22" fmla="*/ 24 w 31"/>
                    <a:gd name="T23" fmla="*/ 0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56">
                      <a:moveTo>
                        <a:pt x="24" y="0"/>
                      </a:moveTo>
                      <a:cubicBezTo>
                        <a:pt x="24" y="0"/>
                        <a:pt x="24" y="0"/>
                        <a:pt x="24" y="0"/>
                      </a:cubicBezTo>
                      <a:cubicBezTo>
                        <a:pt x="23" y="4"/>
                        <a:pt x="25" y="10"/>
                        <a:pt x="20" y="10"/>
                      </a:cubicBezTo>
                      <a:cubicBezTo>
                        <a:pt x="13" y="10"/>
                        <a:pt x="8" y="16"/>
                        <a:pt x="2" y="21"/>
                      </a:cubicBezTo>
                      <a:cubicBezTo>
                        <a:pt x="0" y="23"/>
                        <a:pt x="5" y="33"/>
                        <a:pt x="2" y="35"/>
                      </a:cubicBezTo>
                      <a:cubicBezTo>
                        <a:pt x="5" y="36"/>
                        <a:pt x="8" y="35"/>
                        <a:pt x="7" y="39"/>
                      </a:cubicBezTo>
                      <a:cubicBezTo>
                        <a:pt x="6" y="40"/>
                        <a:pt x="6" y="42"/>
                        <a:pt x="4" y="42"/>
                      </a:cubicBezTo>
                      <a:cubicBezTo>
                        <a:pt x="6" y="43"/>
                        <a:pt x="8" y="44"/>
                        <a:pt x="9" y="44"/>
                      </a:cubicBezTo>
                      <a:cubicBezTo>
                        <a:pt x="6" y="51"/>
                        <a:pt x="14" y="52"/>
                        <a:pt x="20" y="56"/>
                      </a:cubicBezTo>
                      <a:cubicBezTo>
                        <a:pt x="23" y="46"/>
                        <a:pt x="26" y="36"/>
                        <a:pt x="30" y="26"/>
                      </a:cubicBezTo>
                      <a:cubicBezTo>
                        <a:pt x="31" y="22"/>
                        <a:pt x="29" y="16"/>
                        <a:pt x="29" y="12"/>
                      </a:cubicBezTo>
                      <a:cubicBezTo>
                        <a:pt x="28" y="9"/>
                        <a:pt x="29"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Freeform 173"/>
                <p:cNvSpPr/>
                <p:nvPr/>
              </p:nvSpPr>
              <p:spPr bwMode="auto">
                <a:xfrm>
                  <a:off x="3718282" y="2417437"/>
                  <a:ext cx="47906" cy="36851"/>
                </a:xfrm>
                <a:custGeom>
                  <a:gdLst>
                    <a:gd name="T0" fmla="*/ 3 w 16"/>
                    <a:gd name="T1" fmla="*/ 0 h 11"/>
                    <a:gd name="T2" fmla="*/ 0 w 16"/>
                    <a:gd name="T3" fmla="*/ 0 h 11"/>
                    <a:gd name="T4" fmla="*/ 4 w 16"/>
                    <a:gd name="T5" fmla="*/ 6 h 11"/>
                    <a:gd name="T6" fmla="*/ 5 w 16"/>
                    <a:gd name="T7" fmla="*/ 6 h 11"/>
                    <a:gd name="T8" fmla="*/ 7 w 16"/>
                    <a:gd name="T9" fmla="*/ 6 h 11"/>
                    <a:gd name="T10" fmla="*/ 8 w 16"/>
                    <a:gd name="T11" fmla="*/ 5 h 11"/>
                    <a:gd name="T12" fmla="*/ 9 w 16"/>
                    <a:gd name="T13" fmla="*/ 5 h 11"/>
                    <a:gd name="T14" fmla="*/ 12 w 16"/>
                    <a:gd name="T15" fmla="*/ 11 h 11"/>
                    <a:gd name="T16" fmla="*/ 12 w 16"/>
                    <a:gd name="T17" fmla="*/ 5 h 11"/>
                    <a:gd name="T18" fmla="*/ 13 w 16"/>
                    <a:gd name="T19" fmla="*/ 5 h 11"/>
                    <a:gd name="T20" fmla="*/ 3 w 16"/>
                    <a:gd name="T21"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1">
                      <a:moveTo>
                        <a:pt x="3" y="0"/>
                      </a:moveTo>
                      <a:cubicBezTo>
                        <a:pt x="2" y="0"/>
                        <a:pt x="1" y="0"/>
                        <a:pt x="0" y="0"/>
                      </a:cubicBezTo>
                      <a:cubicBezTo>
                        <a:pt x="2" y="2"/>
                        <a:pt x="2" y="4"/>
                        <a:pt x="4" y="6"/>
                      </a:cubicBezTo>
                      <a:cubicBezTo>
                        <a:pt x="5" y="6"/>
                        <a:pt x="5" y="6"/>
                        <a:pt x="5" y="6"/>
                      </a:cubicBezTo>
                      <a:cubicBezTo>
                        <a:pt x="6" y="6"/>
                        <a:pt x="6" y="6"/>
                        <a:pt x="7" y="6"/>
                      </a:cubicBezTo>
                      <a:cubicBezTo>
                        <a:pt x="7" y="5"/>
                        <a:pt x="8" y="5"/>
                        <a:pt x="8" y="5"/>
                      </a:cubicBezTo>
                      <a:cubicBezTo>
                        <a:pt x="8" y="5"/>
                        <a:pt x="8" y="5"/>
                        <a:pt x="9" y="5"/>
                      </a:cubicBezTo>
                      <a:cubicBezTo>
                        <a:pt x="11" y="6"/>
                        <a:pt x="11" y="9"/>
                        <a:pt x="12" y="11"/>
                      </a:cubicBezTo>
                      <a:cubicBezTo>
                        <a:pt x="16" y="7"/>
                        <a:pt x="14" y="8"/>
                        <a:pt x="12" y="5"/>
                      </a:cubicBezTo>
                      <a:cubicBezTo>
                        <a:pt x="12" y="5"/>
                        <a:pt x="13" y="5"/>
                        <a:pt x="13" y="5"/>
                      </a:cubicBezTo>
                      <a:cubicBezTo>
                        <a:pt x="9" y="3"/>
                        <a:pt x="7"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174"/>
                <p:cNvSpPr/>
                <p:nvPr/>
              </p:nvSpPr>
              <p:spPr bwMode="auto">
                <a:xfrm>
                  <a:off x="3733023" y="2476398"/>
                  <a:ext cx="22111" cy="22111"/>
                </a:xfrm>
                <a:custGeom>
                  <a:gdLst>
                    <a:gd name="T0" fmla="*/ 0 w 7"/>
                    <a:gd name="T1" fmla="*/ 0 h 7"/>
                    <a:gd name="T2" fmla="*/ 7 w 7"/>
                    <a:gd name="T3" fmla="*/ 7 h 7"/>
                    <a:gd name="T4" fmla="*/ 0 w 7"/>
                    <a:gd name="T5" fmla="*/ 0 h 7"/>
                  </a:gdLst>
                  <a:cxnLst>
                    <a:cxn ang="0">
                      <a:pos x="T0" y="T1"/>
                    </a:cxn>
                    <a:cxn ang="0">
                      <a:pos x="T2" y="T3"/>
                    </a:cxn>
                    <a:cxn ang="0">
                      <a:pos x="T4" y="T5"/>
                    </a:cxn>
                  </a:cxnLst>
                  <a:rect l="0" t="0" r="r" b="b"/>
                  <a:pathLst>
                    <a:path w="7" h="7">
                      <a:moveTo>
                        <a:pt x="0" y="0"/>
                      </a:moveTo>
                      <a:cubicBezTo>
                        <a:pt x="2" y="2"/>
                        <a:pt x="5" y="4"/>
                        <a:pt x="7" y="7"/>
                      </a:cubicBezTo>
                      <a:cubicBezTo>
                        <a:pt x="7" y="1"/>
                        <a:pt x="5"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Freeform 175"/>
                <p:cNvSpPr/>
                <p:nvPr/>
              </p:nvSpPr>
              <p:spPr bwMode="auto">
                <a:xfrm>
                  <a:off x="3725652" y="2513250"/>
                  <a:ext cx="29481" cy="33166"/>
                </a:xfrm>
                <a:custGeom>
                  <a:gdLst>
                    <a:gd name="T0" fmla="*/ 0 w 9"/>
                    <a:gd name="T1" fmla="*/ 0 h 10"/>
                    <a:gd name="T2" fmla="*/ 9 w 9"/>
                    <a:gd name="T3" fmla="*/ 10 h 10"/>
                    <a:gd name="T4" fmla="*/ 0 w 9"/>
                    <a:gd name="T5" fmla="*/ 0 h 10"/>
                  </a:gdLst>
                  <a:cxnLst>
                    <a:cxn ang="0">
                      <a:pos x="T0" y="T1"/>
                    </a:cxn>
                    <a:cxn ang="0">
                      <a:pos x="T2" y="T3"/>
                    </a:cxn>
                    <a:cxn ang="0">
                      <a:pos x="T4" y="T5"/>
                    </a:cxn>
                  </a:cxnLst>
                  <a:rect l="0" t="0" r="r" b="b"/>
                  <a:pathLst>
                    <a:path w="9" h="10">
                      <a:moveTo>
                        <a:pt x="0" y="0"/>
                      </a:moveTo>
                      <a:cubicBezTo>
                        <a:pt x="2" y="5"/>
                        <a:pt x="5" y="7"/>
                        <a:pt x="9" y="10"/>
                      </a:cubicBezTo>
                      <a:cubicBezTo>
                        <a:pt x="8" y="4"/>
                        <a:pt x="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176"/>
                <p:cNvSpPr/>
                <p:nvPr/>
              </p:nvSpPr>
              <p:spPr bwMode="auto">
                <a:xfrm>
                  <a:off x="3766189" y="2413751"/>
                  <a:ext cx="18426" cy="22111"/>
                </a:xfrm>
                <a:custGeom>
                  <a:gdLst>
                    <a:gd name="T0" fmla="*/ 0 w 6"/>
                    <a:gd name="T1" fmla="*/ 0 h 8"/>
                    <a:gd name="T2" fmla="*/ 1 w 6"/>
                    <a:gd name="T3" fmla="*/ 8 h 8"/>
                    <a:gd name="T4" fmla="*/ 1 w 6"/>
                    <a:gd name="T5" fmla="*/ 8 h 8"/>
                    <a:gd name="T6" fmla="*/ 2 w 6"/>
                    <a:gd name="T7" fmla="*/ 2 h 8"/>
                    <a:gd name="T8" fmla="*/ 0 w 6"/>
                    <a:gd name="T9" fmla="*/ 0 h 8"/>
                  </a:gdLst>
                  <a:cxnLst>
                    <a:cxn ang="0">
                      <a:pos x="T0" y="T1"/>
                    </a:cxn>
                    <a:cxn ang="0">
                      <a:pos x="T2" y="T3"/>
                    </a:cxn>
                    <a:cxn ang="0">
                      <a:pos x="T4" y="T5"/>
                    </a:cxn>
                    <a:cxn ang="0">
                      <a:pos x="T6" y="T7"/>
                    </a:cxn>
                    <a:cxn ang="0">
                      <a:pos x="T8" y="T9"/>
                    </a:cxn>
                  </a:cxnLst>
                  <a:rect l="0" t="0" r="r" b="b"/>
                  <a:pathLst>
                    <a:path w="6" h="8">
                      <a:moveTo>
                        <a:pt x="0" y="0"/>
                      </a:moveTo>
                      <a:cubicBezTo>
                        <a:pt x="0" y="2"/>
                        <a:pt x="1" y="5"/>
                        <a:pt x="1" y="8"/>
                      </a:cubicBezTo>
                      <a:cubicBezTo>
                        <a:pt x="1" y="8"/>
                        <a:pt x="1" y="8"/>
                        <a:pt x="1" y="8"/>
                      </a:cubicBezTo>
                      <a:cubicBezTo>
                        <a:pt x="6" y="8"/>
                        <a:pt x="4" y="4"/>
                        <a:pt x="2" y="2"/>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Freeform 177"/>
                <p:cNvSpPr/>
                <p:nvPr/>
              </p:nvSpPr>
              <p:spPr bwMode="auto">
                <a:xfrm>
                  <a:off x="3688801" y="2439547"/>
                  <a:ext cx="33166" cy="22111"/>
                </a:xfrm>
                <a:custGeom>
                  <a:gdLst>
                    <a:gd name="T0" fmla="*/ 5 w 10"/>
                    <a:gd name="T1" fmla="*/ 0 h 6"/>
                    <a:gd name="T2" fmla="*/ 3 w 10"/>
                    <a:gd name="T3" fmla="*/ 0 h 6"/>
                    <a:gd name="T4" fmla="*/ 1 w 10"/>
                    <a:gd name="T5" fmla="*/ 1 h 6"/>
                    <a:gd name="T6" fmla="*/ 0 w 10"/>
                    <a:gd name="T7" fmla="*/ 0 h 6"/>
                    <a:gd name="T8" fmla="*/ 6 w 10"/>
                    <a:gd name="T9" fmla="*/ 6 h 6"/>
                    <a:gd name="T10" fmla="*/ 9 w 10"/>
                    <a:gd name="T11" fmla="*/ 2 h 6"/>
                    <a:gd name="T12" fmla="*/ 9 w 10"/>
                    <a:gd name="T13" fmla="*/ 1 h 6"/>
                    <a:gd name="T14" fmla="*/ 5 w 10"/>
                    <a:gd name="T15" fmla="*/ 0 h 6"/>
                    <a:gd name="T16" fmla="*/ 5 w 10"/>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5" y="0"/>
                      </a:moveTo>
                      <a:cubicBezTo>
                        <a:pt x="4" y="0"/>
                        <a:pt x="4" y="0"/>
                        <a:pt x="3" y="0"/>
                      </a:cubicBezTo>
                      <a:cubicBezTo>
                        <a:pt x="3" y="0"/>
                        <a:pt x="2" y="1"/>
                        <a:pt x="1" y="1"/>
                      </a:cubicBezTo>
                      <a:cubicBezTo>
                        <a:pt x="1" y="1"/>
                        <a:pt x="0" y="0"/>
                        <a:pt x="0" y="0"/>
                      </a:cubicBezTo>
                      <a:cubicBezTo>
                        <a:pt x="1" y="2"/>
                        <a:pt x="4" y="4"/>
                        <a:pt x="6" y="6"/>
                      </a:cubicBezTo>
                      <a:cubicBezTo>
                        <a:pt x="8" y="5"/>
                        <a:pt x="10" y="3"/>
                        <a:pt x="9" y="2"/>
                      </a:cubicBezTo>
                      <a:cubicBezTo>
                        <a:pt x="9" y="2"/>
                        <a:pt x="9" y="1"/>
                        <a:pt x="9" y="1"/>
                      </a:cubicBezTo>
                      <a:cubicBezTo>
                        <a:pt x="8" y="1"/>
                        <a:pt x="7"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Freeform 178"/>
                <p:cNvSpPr/>
                <p:nvPr/>
              </p:nvSpPr>
              <p:spPr bwMode="auto">
                <a:xfrm>
                  <a:off x="3696171" y="2417437"/>
                  <a:ext cx="51592" cy="51592"/>
                </a:xfrm>
                <a:custGeom>
                  <a:gdLst>
                    <a:gd name="T0" fmla="*/ 4 w 16"/>
                    <a:gd name="T1" fmla="*/ 0 h 16"/>
                    <a:gd name="T2" fmla="*/ 3 w 16"/>
                    <a:gd name="T3" fmla="*/ 0 h 16"/>
                    <a:gd name="T4" fmla="*/ 6 w 16"/>
                    <a:gd name="T5" fmla="*/ 8 h 16"/>
                    <a:gd name="T6" fmla="*/ 6 w 16"/>
                    <a:gd name="T7" fmla="*/ 9 h 16"/>
                    <a:gd name="T8" fmla="*/ 16 w 16"/>
                    <a:gd name="T9" fmla="*/ 16 h 16"/>
                    <a:gd name="T10" fmla="*/ 15 w 16"/>
                    <a:gd name="T11" fmla="*/ 11 h 16"/>
                    <a:gd name="T12" fmla="*/ 15 w 16"/>
                    <a:gd name="T13" fmla="*/ 11 h 16"/>
                    <a:gd name="T14" fmla="*/ 14 w 16"/>
                    <a:gd name="T15" fmla="*/ 11 h 16"/>
                    <a:gd name="T16" fmla="*/ 13 w 16"/>
                    <a:gd name="T17" fmla="*/ 11 h 16"/>
                    <a:gd name="T18" fmla="*/ 13 w 16"/>
                    <a:gd name="T19" fmla="*/ 11 h 16"/>
                    <a:gd name="T20" fmla="*/ 13 w 16"/>
                    <a:gd name="T21" fmla="*/ 9 h 16"/>
                    <a:gd name="T22" fmla="*/ 11 w 16"/>
                    <a:gd name="T23" fmla="*/ 9 h 16"/>
                    <a:gd name="T24" fmla="*/ 9 w 16"/>
                    <a:gd name="T25" fmla="*/ 5 h 16"/>
                    <a:gd name="T26" fmla="*/ 7 w 16"/>
                    <a:gd name="T27" fmla="*/ 2 h 16"/>
                    <a:gd name="T28" fmla="*/ 4 w 16"/>
                    <a:gd name="T29"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4" y="0"/>
                      </a:moveTo>
                      <a:cubicBezTo>
                        <a:pt x="3" y="0"/>
                        <a:pt x="3" y="0"/>
                        <a:pt x="3" y="0"/>
                      </a:cubicBezTo>
                      <a:cubicBezTo>
                        <a:pt x="0" y="2"/>
                        <a:pt x="3" y="5"/>
                        <a:pt x="6" y="8"/>
                      </a:cubicBezTo>
                      <a:cubicBezTo>
                        <a:pt x="6" y="8"/>
                        <a:pt x="6" y="9"/>
                        <a:pt x="6" y="9"/>
                      </a:cubicBezTo>
                      <a:cubicBezTo>
                        <a:pt x="10" y="12"/>
                        <a:pt x="15" y="16"/>
                        <a:pt x="16" y="16"/>
                      </a:cubicBezTo>
                      <a:cubicBezTo>
                        <a:pt x="16" y="14"/>
                        <a:pt x="16" y="13"/>
                        <a:pt x="15" y="11"/>
                      </a:cubicBezTo>
                      <a:cubicBezTo>
                        <a:pt x="15" y="11"/>
                        <a:pt x="15" y="11"/>
                        <a:pt x="15" y="11"/>
                      </a:cubicBezTo>
                      <a:cubicBezTo>
                        <a:pt x="15" y="11"/>
                        <a:pt x="15" y="11"/>
                        <a:pt x="14" y="11"/>
                      </a:cubicBezTo>
                      <a:cubicBezTo>
                        <a:pt x="14" y="11"/>
                        <a:pt x="14" y="11"/>
                        <a:pt x="13" y="11"/>
                      </a:cubicBezTo>
                      <a:cubicBezTo>
                        <a:pt x="13" y="11"/>
                        <a:pt x="13" y="11"/>
                        <a:pt x="13" y="11"/>
                      </a:cubicBezTo>
                      <a:cubicBezTo>
                        <a:pt x="12" y="11"/>
                        <a:pt x="14" y="9"/>
                        <a:pt x="13" y="9"/>
                      </a:cubicBezTo>
                      <a:cubicBezTo>
                        <a:pt x="12" y="9"/>
                        <a:pt x="12" y="9"/>
                        <a:pt x="11" y="9"/>
                      </a:cubicBezTo>
                      <a:cubicBezTo>
                        <a:pt x="13" y="7"/>
                        <a:pt x="10" y="7"/>
                        <a:pt x="9" y="5"/>
                      </a:cubicBezTo>
                      <a:cubicBezTo>
                        <a:pt x="8" y="5"/>
                        <a:pt x="8" y="3"/>
                        <a:pt x="7"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Freeform 179"/>
                <p:cNvSpPr/>
                <p:nvPr/>
              </p:nvSpPr>
              <p:spPr bwMode="auto">
                <a:xfrm>
                  <a:off x="6375250" y="2686450"/>
                  <a:ext cx="7370" cy="3685"/>
                </a:xfrm>
                <a:custGeom>
                  <a:gdLst>
                    <a:gd name="T0" fmla="*/ 2 w 3"/>
                    <a:gd name="T1" fmla="*/ 0 h 2"/>
                    <a:gd name="T2" fmla="*/ 0 w 3"/>
                    <a:gd name="T3" fmla="*/ 2 h 2"/>
                    <a:gd name="T4" fmla="*/ 1 w 3"/>
                    <a:gd name="T5" fmla="*/ 2 h 2"/>
                    <a:gd name="T6" fmla="*/ 3 w 3"/>
                    <a:gd name="T7" fmla="*/ 1 h 2"/>
                    <a:gd name="T8" fmla="*/ 2 w 3"/>
                    <a:gd name="T9" fmla="*/ 0 h 2"/>
                  </a:gdLst>
                  <a:cxnLst>
                    <a:cxn ang="0">
                      <a:pos x="T0" y="T1"/>
                    </a:cxn>
                    <a:cxn ang="0">
                      <a:pos x="T2" y="T3"/>
                    </a:cxn>
                    <a:cxn ang="0">
                      <a:pos x="T4" y="T5"/>
                    </a:cxn>
                    <a:cxn ang="0">
                      <a:pos x="T6" y="T7"/>
                    </a:cxn>
                    <a:cxn ang="0">
                      <a:pos x="T8" y="T9"/>
                    </a:cxn>
                  </a:cxnLst>
                  <a:rect l="0" t="0" r="r" b="b"/>
                  <a:pathLst>
                    <a:path w="3" h="2">
                      <a:moveTo>
                        <a:pt x="2" y="0"/>
                      </a:moveTo>
                      <a:cubicBezTo>
                        <a:pt x="1" y="0"/>
                        <a:pt x="1" y="1"/>
                        <a:pt x="0" y="2"/>
                      </a:cubicBezTo>
                      <a:cubicBezTo>
                        <a:pt x="0" y="2"/>
                        <a:pt x="1" y="2"/>
                        <a:pt x="1" y="2"/>
                      </a:cubicBezTo>
                      <a:cubicBezTo>
                        <a:pt x="1" y="2"/>
                        <a:pt x="2" y="1"/>
                        <a:pt x="3" y="1"/>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180"/>
                <p:cNvSpPr/>
                <p:nvPr/>
              </p:nvSpPr>
              <p:spPr bwMode="auto">
                <a:xfrm>
                  <a:off x="6316288" y="2715931"/>
                  <a:ext cx="7370" cy="3685"/>
                </a:xfrm>
                <a:custGeom>
                  <a:gdLst>
                    <a:gd name="T0" fmla="*/ 2 w 2"/>
                    <a:gd name="T1" fmla="*/ 0 h 1"/>
                    <a:gd name="T2" fmla="*/ 0 w 2"/>
                    <a:gd name="T3" fmla="*/ 1 h 1"/>
                    <a:gd name="T4" fmla="*/ 1 w 2"/>
                    <a:gd name="T5" fmla="*/ 1 h 1"/>
                    <a:gd name="T6" fmla="*/ 2 w 2"/>
                    <a:gd name="T7" fmla="*/ 0 h 1"/>
                  </a:gdLst>
                  <a:cxnLst>
                    <a:cxn ang="0">
                      <a:pos x="T0" y="T1"/>
                    </a:cxn>
                    <a:cxn ang="0">
                      <a:pos x="T2" y="T3"/>
                    </a:cxn>
                    <a:cxn ang="0">
                      <a:pos x="T4" y="T5"/>
                    </a:cxn>
                    <a:cxn ang="0">
                      <a:pos x="T6" y="T7"/>
                    </a:cxn>
                  </a:cxnLst>
                  <a:rect l="0" t="0" r="r" b="b"/>
                  <a:pathLst>
                    <a:path w="2" h="1">
                      <a:moveTo>
                        <a:pt x="2" y="0"/>
                      </a:moveTo>
                      <a:cubicBezTo>
                        <a:pt x="1" y="0"/>
                        <a:pt x="1" y="0"/>
                        <a:pt x="0" y="1"/>
                      </a:cubicBezTo>
                      <a:cubicBezTo>
                        <a:pt x="1" y="1"/>
                        <a:pt x="1" y="1"/>
                        <a:pt x="1" y="1"/>
                      </a:cubicBezTo>
                      <a:cubicBezTo>
                        <a:pt x="2"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Freeform 181"/>
                <p:cNvSpPr/>
                <p:nvPr/>
              </p:nvSpPr>
              <p:spPr bwMode="auto">
                <a:xfrm>
                  <a:off x="6183624" y="2712246"/>
                  <a:ext cx="3685" cy="14740"/>
                </a:xfrm>
                <a:custGeom>
                  <a:gdLst>
                    <a:gd name="T0" fmla="*/ 0 w 1"/>
                    <a:gd name="T1" fmla="*/ 0 h 5"/>
                    <a:gd name="T2" fmla="*/ 1 w 1"/>
                    <a:gd name="T3" fmla="*/ 5 h 5"/>
                    <a:gd name="T4" fmla="*/ 0 w 1"/>
                    <a:gd name="T5" fmla="*/ 0 h 5"/>
                  </a:gdLst>
                  <a:cxnLst>
                    <a:cxn ang="0">
                      <a:pos x="T0" y="T1"/>
                    </a:cxn>
                    <a:cxn ang="0">
                      <a:pos x="T2" y="T3"/>
                    </a:cxn>
                    <a:cxn ang="0">
                      <a:pos x="T4" y="T5"/>
                    </a:cxn>
                  </a:cxnLst>
                  <a:rect l="0" t="0" r="r" b="b"/>
                  <a:pathLst>
                    <a:path w="1" h="5">
                      <a:moveTo>
                        <a:pt x="0" y="0"/>
                      </a:moveTo>
                      <a:cubicBezTo>
                        <a:pt x="0" y="2"/>
                        <a:pt x="0" y="3"/>
                        <a:pt x="1" y="5"/>
                      </a:cubicBezTo>
                      <a:cubicBezTo>
                        <a:pt x="1" y="3"/>
                        <a:pt x="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182"/>
                <p:cNvSpPr/>
                <p:nvPr/>
              </p:nvSpPr>
              <p:spPr bwMode="auto">
                <a:xfrm>
                  <a:off x="6120977" y="2693820"/>
                  <a:ext cx="14740" cy="18426"/>
                </a:xfrm>
                <a:custGeom>
                  <a:gdLst>
                    <a:gd name="T0" fmla="*/ 2 w 5"/>
                    <a:gd name="T1" fmla="*/ 0 h 6"/>
                    <a:gd name="T2" fmla="*/ 1 w 5"/>
                    <a:gd name="T3" fmla="*/ 6 h 6"/>
                    <a:gd name="T4" fmla="*/ 2 w 5"/>
                    <a:gd name="T5" fmla="*/ 0 h 6"/>
                  </a:gdLst>
                  <a:cxnLst>
                    <a:cxn ang="0">
                      <a:pos x="T0" y="T1"/>
                    </a:cxn>
                    <a:cxn ang="0">
                      <a:pos x="T2" y="T3"/>
                    </a:cxn>
                    <a:cxn ang="0">
                      <a:pos x="T4" y="T5"/>
                    </a:cxn>
                  </a:cxnLst>
                  <a:rect l="0" t="0" r="r" b="b"/>
                  <a:pathLst>
                    <a:path w="5" h="6">
                      <a:moveTo>
                        <a:pt x="2" y="0"/>
                      </a:moveTo>
                      <a:cubicBezTo>
                        <a:pt x="2" y="2"/>
                        <a:pt x="0" y="4"/>
                        <a:pt x="1" y="6"/>
                      </a:cubicBezTo>
                      <a:cubicBezTo>
                        <a:pt x="5" y="5"/>
                        <a:pt x="4"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Freeform 183"/>
                <p:cNvSpPr/>
                <p:nvPr/>
              </p:nvSpPr>
              <p:spPr bwMode="auto">
                <a:xfrm>
                  <a:off x="6338399" y="2704876"/>
                  <a:ext cx="14740" cy="7370"/>
                </a:xfrm>
                <a:custGeom>
                  <a:gdLst>
                    <a:gd name="T0" fmla="*/ 4 w 4"/>
                    <a:gd name="T1" fmla="*/ 0 h 3"/>
                    <a:gd name="T2" fmla="*/ 1 w 4"/>
                    <a:gd name="T3" fmla="*/ 3 h 3"/>
                    <a:gd name="T4" fmla="*/ 4 w 4"/>
                    <a:gd name="T5" fmla="*/ 0 h 3"/>
                  </a:gdLst>
                  <a:cxnLst>
                    <a:cxn ang="0">
                      <a:pos x="T0" y="T1"/>
                    </a:cxn>
                    <a:cxn ang="0">
                      <a:pos x="T2" y="T3"/>
                    </a:cxn>
                    <a:cxn ang="0">
                      <a:pos x="T4" y="T5"/>
                    </a:cxn>
                  </a:cxnLst>
                  <a:rect l="0" t="0" r="r" b="b"/>
                  <a:pathLst>
                    <a:path w="4" h="3">
                      <a:moveTo>
                        <a:pt x="4" y="0"/>
                      </a:moveTo>
                      <a:cubicBezTo>
                        <a:pt x="1" y="2"/>
                        <a:pt x="0" y="3"/>
                        <a:pt x="1" y="3"/>
                      </a:cubicBezTo>
                      <a:cubicBezTo>
                        <a:pt x="1" y="3"/>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184"/>
                <p:cNvSpPr/>
                <p:nvPr/>
              </p:nvSpPr>
              <p:spPr bwMode="auto">
                <a:xfrm>
                  <a:off x="6161514" y="2723301"/>
                  <a:ext cx="18426" cy="14740"/>
                </a:xfrm>
                <a:custGeom>
                  <a:gdLst>
                    <a:gd name="T0" fmla="*/ 4 w 6"/>
                    <a:gd name="T1" fmla="*/ 0 h 5"/>
                    <a:gd name="T2" fmla="*/ 0 w 6"/>
                    <a:gd name="T3" fmla="*/ 1 h 5"/>
                    <a:gd name="T4" fmla="*/ 5 w 6"/>
                    <a:gd name="T5" fmla="*/ 5 h 5"/>
                    <a:gd name="T6" fmla="*/ 4 w 6"/>
                    <a:gd name="T7" fmla="*/ 0 h 5"/>
                  </a:gdLst>
                  <a:cxnLst>
                    <a:cxn ang="0">
                      <a:pos x="T0" y="T1"/>
                    </a:cxn>
                    <a:cxn ang="0">
                      <a:pos x="T2" y="T3"/>
                    </a:cxn>
                    <a:cxn ang="0">
                      <a:pos x="T4" y="T5"/>
                    </a:cxn>
                    <a:cxn ang="0">
                      <a:pos x="T6" y="T7"/>
                    </a:cxn>
                  </a:cxnLst>
                  <a:rect l="0" t="0" r="r" b="b"/>
                  <a:pathLst>
                    <a:path w="6" h="5">
                      <a:moveTo>
                        <a:pt x="4" y="0"/>
                      </a:moveTo>
                      <a:cubicBezTo>
                        <a:pt x="3" y="0"/>
                        <a:pt x="1" y="0"/>
                        <a:pt x="0" y="1"/>
                      </a:cubicBezTo>
                      <a:cubicBezTo>
                        <a:pt x="2" y="2"/>
                        <a:pt x="3" y="2"/>
                        <a:pt x="5" y="5"/>
                      </a:cubicBezTo>
                      <a:cubicBezTo>
                        <a:pt x="6" y="2"/>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Freeform 185"/>
                <p:cNvSpPr/>
                <p:nvPr/>
              </p:nvSpPr>
              <p:spPr bwMode="auto">
                <a:xfrm>
                  <a:off x="6353140" y="2693820"/>
                  <a:ext cx="22111" cy="3685"/>
                </a:xfrm>
                <a:custGeom>
                  <a:gdLst>
                    <a:gd name="T0" fmla="*/ 7 w 7"/>
                    <a:gd name="T1" fmla="*/ 0 h 1"/>
                    <a:gd name="T2" fmla="*/ 0 w 7"/>
                    <a:gd name="T3" fmla="*/ 1 h 1"/>
                    <a:gd name="T4" fmla="*/ 0 w 7"/>
                    <a:gd name="T5" fmla="*/ 1 h 1"/>
                    <a:gd name="T6" fmla="*/ 2 w 7"/>
                    <a:gd name="T7" fmla="*/ 1 h 1"/>
                    <a:gd name="T8" fmla="*/ 3 w 7"/>
                    <a:gd name="T9" fmla="*/ 1 h 1"/>
                    <a:gd name="T10" fmla="*/ 3 w 7"/>
                    <a:gd name="T11" fmla="*/ 1 h 1"/>
                    <a:gd name="T12" fmla="*/ 7 w 7"/>
                    <a:gd name="T13" fmla="*/ 0 h 1"/>
                  </a:gdLst>
                  <a:cxnLst>
                    <a:cxn ang="0">
                      <a:pos x="T0" y="T1"/>
                    </a:cxn>
                    <a:cxn ang="0">
                      <a:pos x="T2" y="T3"/>
                    </a:cxn>
                    <a:cxn ang="0">
                      <a:pos x="T4" y="T5"/>
                    </a:cxn>
                    <a:cxn ang="0">
                      <a:pos x="T6" y="T7"/>
                    </a:cxn>
                    <a:cxn ang="0">
                      <a:pos x="T8" y="T9"/>
                    </a:cxn>
                    <a:cxn ang="0">
                      <a:pos x="T10" y="T11"/>
                    </a:cxn>
                    <a:cxn ang="0">
                      <a:pos x="T12" y="T13"/>
                    </a:cxn>
                  </a:cxnLst>
                  <a:rect l="0" t="0" r="r" b="b"/>
                  <a:pathLst>
                    <a:path w="7" h="1">
                      <a:moveTo>
                        <a:pt x="7" y="0"/>
                      </a:moveTo>
                      <a:cubicBezTo>
                        <a:pt x="5" y="0"/>
                        <a:pt x="2" y="0"/>
                        <a:pt x="0" y="1"/>
                      </a:cubicBezTo>
                      <a:cubicBezTo>
                        <a:pt x="0" y="1"/>
                        <a:pt x="0" y="1"/>
                        <a:pt x="0" y="1"/>
                      </a:cubicBezTo>
                      <a:cubicBezTo>
                        <a:pt x="1" y="1"/>
                        <a:pt x="2" y="1"/>
                        <a:pt x="2" y="1"/>
                      </a:cubicBezTo>
                      <a:cubicBezTo>
                        <a:pt x="2" y="1"/>
                        <a:pt x="3" y="1"/>
                        <a:pt x="3" y="1"/>
                      </a:cubicBezTo>
                      <a:cubicBezTo>
                        <a:pt x="3" y="1"/>
                        <a:pt x="3" y="1"/>
                        <a:pt x="3" y="1"/>
                      </a:cubicBezTo>
                      <a:cubicBezTo>
                        <a:pt x="4" y="1"/>
                        <a:pt x="6"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Freeform 186"/>
                <p:cNvSpPr/>
                <p:nvPr/>
              </p:nvSpPr>
              <p:spPr bwMode="auto">
                <a:xfrm>
                  <a:off x="6132033" y="2679080"/>
                  <a:ext cx="55277" cy="47907"/>
                </a:xfrm>
                <a:custGeom>
                  <a:gdLst>
                    <a:gd name="T0" fmla="*/ 6 w 17"/>
                    <a:gd name="T1" fmla="*/ 0 h 15"/>
                    <a:gd name="T2" fmla="*/ 4 w 17"/>
                    <a:gd name="T3" fmla="*/ 0 h 15"/>
                    <a:gd name="T4" fmla="*/ 1 w 17"/>
                    <a:gd name="T5" fmla="*/ 5 h 15"/>
                    <a:gd name="T6" fmla="*/ 0 w 17"/>
                    <a:gd name="T7" fmla="*/ 5 h 15"/>
                    <a:gd name="T8" fmla="*/ 8 w 17"/>
                    <a:gd name="T9" fmla="*/ 15 h 15"/>
                    <a:gd name="T10" fmla="*/ 10 w 17"/>
                    <a:gd name="T11" fmla="*/ 8 h 15"/>
                    <a:gd name="T12" fmla="*/ 10 w 17"/>
                    <a:gd name="T13" fmla="*/ 4 h 15"/>
                    <a:gd name="T14" fmla="*/ 14 w 17"/>
                    <a:gd name="T15" fmla="*/ 10 h 15"/>
                    <a:gd name="T16" fmla="*/ 16 w 17"/>
                    <a:gd name="T17" fmla="*/ 8 h 15"/>
                    <a:gd name="T18" fmla="*/ 13 w 17"/>
                    <a:gd name="T19" fmla="*/ 3 h 15"/>
                    <a:gd name="T20" fmla="*/ 12 w 17"/>
                    <a:gd name="T21" fmla="*/ 3 h 15"/>
                    <a:gd name="T22" fmla="*/ 12 w 17"/>
                    <a:gd name="T23" fmla="*/ 2 h 15"/>
                    <a:gd name="T24" fmla="*/ 12 w 17"/>
                    <a:gd name="T25" fmla="*/ 2 h 15"/>
                    <a:gd name="T26" fmla="*/ 11 w 17"/>
                    <a:gd name="T27" fmla="*/ 2 h 15"/>
                    <a:gd name="T28" fmla="*/ 10 w 17"/>
                    <a:gd name="T29" fmla="*/ 2 h 15"/>
                    <a:gd name="T30" fmla="*/ 10 w 17"/>
                    <a:gd name="T31" fmla="*/ 2 h 15"/>
                    <a:gd name="T32" fmla="*/ 9 w 17"/>
                    <a:gd name="T33" fmla="*/ 2 h 15"/>
                    <a:gd name="T34" fmla="*/ 8 w 17"/>
                    <a:gd name="T35" fmla="*/ 2 h 15"/>
                    <a:gd name="T36" fmla="*/ 8 w 17"/>
                    <a:gd name="T37" fmla="*/ 2 h 15"/>
                    <a:gd name="T38" fmla="*/ 7 w 17"/>
                    <a:gd name="T39" fmla="*/ 1 h 15"/>
                    <a:gd name="T40" fmla="*/ 6 w 17"/>
                    <a:gd name="T41"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5">
                      <a:moveTo>
                        <a:pt x="6" y="0"/>
                      </a:moveTo>
                      <a:cubicBezTo>
                        <a:pt x="5" y="0"/>
                        <a:pt x="5" y="0"/>
                        <a:pt x="4" y="0"/>
                      </a:cubicBezTo>
                      <a:cubicBezTo>
                        <a:pt x="3" y="2"/>
                        <a:pt x="3" y="5"/>
                        <a:pt x="1" y="5"/>
                      </a:cubicBezTo>
                      <a:cubicBezTo>
                        <a:pt x="1" y="5"/>
                        <a:pt x="0" y="5"/>
                        <a:pt x="0" y="5"/>
                      </a:cubicBezTo>
                      <a:cubicBezTo>
                        <a:pt x="2" y="8"/>
                        <a:pt x="5" y="12"/>
                        <a:pt x="8" y="15"/>
                      </a:cubicBezTo>
                      <a:cubicBezTo>
                        <a:pt x="11" y="12"/>
                        <a:pt x="10" y="10"/>
                        <a:pt x="10" y="8"/>
                      </a:cubicBezTo>
                      <a:cubicBezTo>
                        <a:pt x="9" y="5"/>
                        <a:pt x="9" y="6"/>
                        <a:pt x="10" y="4"/>
                      </a:cubicBezTo>
                      <a:cubicBezTo>
                        <a:pt x="12" y="6"/>
                        <a:pt x="13" y="10"/>
                        <a:pt x="14" y="10"/>
                      </a:cubicBezTo>
                      <a:cubicBezTo>
                        <a:pt x="14" y="10"/>
                        <a:pt x="15" y="9"/>
                        <a:pt x="16" y="8"/>
                      </a:cubicBezTo>
                      <a:cubicBezTo>
                        <a:pt x="17" y="6"/>
                        <a:pt x="16" y="3"/>
                        <a:pt x="13" y="3"/>
                      </a:cubicBezTo>
                      <a:cubicBezTo>
                        <a:pt x="13" y="3"/>
                        <a:pt x="13" y="3"/>
                        <a:pt x="12" y="3"/>
                      </a:cubicBezTo>
                      <a:cubicBezTo>
                        <a:pt x="12" y="2"/>
                        <a:pt x="12" y="2"/>
                        <a:pt x="12" y="2"/>
                      </a:cubicBezTo>
                      <a:cubicBezTo>
                        <a:pt x="12" y="2"/>
                        <a:pt x="12" y="2"/>
                        <a:pt x="12" y="2"/>
                      </a:cubicBezTo>
                      <a:cubicBezTo>
                        <a:pt x="11" y="2"/>
                        <a:pt x="11" y="2"/>
                        <a:pt x="11" y="2"/>
                      </a:cubicBezTo>
                      <a:cubicBezTo>
                        <a:pt x="11" y="2"/>
                        <a:pt x="11" y="2"/>
                        <a:pt x="10" y="2"/>
                      </a:cubicBezTo>
                      <a:cubicBezTo>
                        <a:pt x="10" y="2"/>
                        <a:pt x="10" y="2"/>
                        <a:pt x="10" y="2"/>
                      </a:cubicBezTo>
                      <a:cubicBezTo>
                        <a:pt x="10" y="2"/>
                        <a:pt x="9" y="2"/>
                        <a:pt x="9" y="2"/>
                      </a:cubicBezTo>
                      <a:cubicBezTo>
                        <a:pt x="9" y="2"/>
                        <a:pt x="9" y="2"/>
                        <a:pt x="8" y="2"/>
                      </a:cubicBezTo>
                      <a:cubicBezTo>
                        <a:pt x="8" y="2"/>
                        <a:pt x="8" y="2"/>
                        <a:pt x="8" y="2"/>
                      </a:cubicBezTo>
                      <a:cubicBezTo>
                        <a:pt x="7" y="2"/>
                        <a:pt x="8" y="1"/>
                        <a:pt x="7" y="1"/>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Freeform 187"/>
                <p:cNvSpPr/>
                <p:nvPr/>
              </p:nvSpPr>
              <p:spPr bwMode="auto">
                <a:xfrm>
                  <a:off x="6349454" y="2863335"/>
                  <a:ext cx="77387" cy="44221"/>
                </a:xfrm>
                <a:custGeom>
                  <a:gdLst>
                    <a:gd name="T0" fmla="*/ 17 w 24"/>
                    <a:gd name="T1" fmla="*/ 0 h 14"/>
                    <a:gd name="T2" fmla="*/ 2 w 24"/>
                    <a:gd name="T3" fmla="*/ 4 h 14"/>
                    <a:gd name="T4" fmla="*/ 0 w 24"/>
                    <a:gd name="T5" fmla="*/ 4 h 14"/>
                    <a:gd name="T6" fmla="*/ 11 w 24"/>
                    <a:gd name="T7" fmla="*/ 14 h 14"/>
                    <a:gd name="T8" fmla="*/ 24 w 24"/>
                    <a:gd name="T9" fmla="*/ 8 h 14"/>
                    <a:gd name="T10" fmla="*/ 17 w 24"/>
                    <a:gd name="T11" fmla="*/ 0 h 14"/>
                  </a:gdLst>
                  <a:cxnLst>
                    <a:cxn ang="0">
                      <a:pos x="T0" y="T1"/>
                    </a:cxn>
                    <a:cxn ang="0">
                      <a:pos x="T2" y="T3"/>
                    </a:cxn>
                    <a:cxn ang="0">
                      <a:pos x="T4" y="T5"/>
                    </a:cxn>
                    <a:cxn ang="0">
                      <a:pos x="T6" y="T7"/>
                    </a:cxn>
                    <a:cxn ang="0">
                      <a:pos x="T8" y="T9"/>
                    </a:cxn>
                    <a:cxn ang="0">
                      <a:pos x="T10" y="T11"/>
                    </a:cxn>
                  </a:cxnLst>
                  <a:rect l="0" t="0" r="r" b="b"/>
                  <a:pathLst>
                    <a:path w="24" h="14">
                      <a:moveTo>
                        <a:pt x="17" y="0"/>
                      </a:moveTo>
                      <a:cubicBezTo>
                        <a:pt x="13" y="1"/>
                        <a:pt x="7" y="4"/>
                        <a:pt x="2" y="4"/>
                      </a:cubicBezTo>
                      <a:cubicBezTo>
                        <a:pt x="1" y="4"/>
                        <a:pt x="1" y="4"/>
                        <a:pt x="0" y="4"/>
                      </a:cubicBezTo>
                      <a:cubicBezTo>
                        <a:pt x="3" y="6"/>
                        <a:pt x="14" y="8"/>
                        <a:pt x="11" y="14"/>
                      </a:cubicBezTo>
                      <a:cubicBezTo>
                        <a:pt x="15" y="13"/>
                        <a:pt x="21" y="10"/>
                        <a:pt x="24" y="8"/>
                      </a:cubicBezTo>
                      <a:cubicBezTo>
                        <a:pt x="22" y="6"/>
                        <a:pt x="18" y="2"/>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188"/>
                <p:cNvSpPr/>
                <p:nvPr/>
              </p:nvSpPr>
              <p:spPr bwMode="auto">
                <a:xfrm>
                  <a:off x="6327344" y="2918612"/>
                  <a:ext cx="132664" cy="92128"/>
                </a:xfrm>
                <a:custGeom>
                  <a:gdLst>
                    <a:gd name="T0" fmla="*/ 27 w 42"/>
                    <a:gd name="T1" fmla="*/ 0 h 29"/>
                    <a:gd name="T2" fmla="*/ 11 w 42"/>
                    <a:gd name="T3" fmla="*/ 4 h 29"/>
                    <a:gd name="T4" fmla="*/ 6 w 42"/>
                    <a:gd name="T5" fmla="*/ 6 h 29"/>
                    <a:gd name="T6" fmla="*/ 0 w 42"/>
                    <a:gd name="T7" fmla="*/ 5 h 29"/>
                    <a:gd name="T8" fmla="*/ 2 w 42"/>
                    <a:gd name="T9" fmla="*/ 7 h 29"/>
                    <a:gd name="T10" fmla="*/ 1 w 42"/>
                    <a:gd name="T11" fmla="*/ 13 h 29"/>
                    <a:gd name="T12" fmla="*/ 2 w 42"/>
                    <a:gd name="T13" fmla="*/ 15 h 29"/>
                    <a:gd name="T14" fmla="*/ 9 w 42"/>
                    <a:gd name="T15" fmla="*/ 20 h 29"/>
                    <a:gd name="T16" fmla="*/ 6 w 42"/>
                    <a:gd name="T17" fmla="*/ 29 h 29"/>
                    <a:gd name="T18" fmla="*/ 6 w 42"/>
                    <a:gd name="T19" fmla="*/ 29 h 29"/>
                    <a:gd name="T20" fmla="*/ 10 w 42"/>
                    <a:gd name="T21" fmla="*/ 24 h 29"/>
                    <a:gd name="T22" fmla="*/ 20 w 42"/>
                    <a:gd name="T23" fmla="*/ 15 h 29"/>
                    <a:gd name="T24" fmla="*/ 28 w 42"/>
                    <a:gd name="T25" fmla="*/ 14 h 29"/>
                    <a:gd name="T26" fmla="*/ 32 w 42"/>
                    <a:gd name="T27" fmla="*/ 10 h 29"/>
                    <a:gd name="T28" fmla="*/ 42 w 42"/>
                    <a:gd name="T29" fmla="*/ 6 h 29"/>
                    <a:gd name="T30" fmla="*/ 27 w 42"/>
                    <a:gd name="T31"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28">
                      <a:moveTo>
                        <a:pt x="27" y="0"/>
                      </a:moveTo>
                      <a:cubicBezTo>
                        <a:pt x="21" y="1"/>
                        <a:pt x="17" y="1"/>
                        <a:pt x="11" y="4"/>
                      </a:cubicBezTo>
                      <a:cubicBezTo>
                        <a:pt x="9" y="6"/>
                        <a:pt x="8" y="6"/>
                        <a:pt x="6" y="6"/>
                      </a:cubicBezTo>
                      <a:cubicBezTo>
                        <a:pt x="5" y="6"/>
                        <a:pt x="3" y="5"/>
                        <a:pt x="0" y="5"/>
                      </a:cubicBezTo>
                      <a:cubicBezTo>
                        <a:pt x="1" y="5"/>
                        <a:pt x="2" y="6"/>
                        <a:pt x="2" y="7"/>
                      </a:cubicBezTo>
                      <a:cubicBezTo>
                        <a:pt x="5" y="12"/>
                        <a:pt x="1" y="10"/>
                        <a:pt x="1" y="13"/>
                      </a:cubicBezTo>
                      <a:cubicBezTo>
                        <a:pt x="0" y="14"/>
                        <a:pt x="1" y="15"/>
                        <a:pt x="2" y="15"/>
                      </a:cubicBezTo>
                      <a:cubicBezTo>
                        <a:pt x="4" y="16"/>
                        <a:pt x="10" y="18"/>
                        <a:pt x="9" y="20"/>
                      </a:cubicBezTo>
                      <a:cubicBezTo>
                        <a:pt x="9" y="21"/>
                        <a:pt x="2" y="28"/>
                        <a:pt x="6" y="29"/>
                      </a:cubicBezTo>
                      <a:cubicBezTo>
                        <a:pt x="6" y="29"/>
                        <a:pt x="6" y="29"/>
                        <a:pt x="6" y="29"/>
                      </a:cubicBezTo>
                      <a:cubicBezTo>
                        <a:pt x="8" y="29"/>
                        <a:pt x="10" y="24"/>
                        <a:pt x="10" y="24"/>
                      </a:cubicBezTo>
                      <a:cubicBezTo>
                        <a:pt x="12" y="19"/>
                        <a:pt x="14" y="15"/>
                        <a:pt x="20" y="15"/>
                      </a:cubicBezTo>
                      <a:cubicBezTo>
                        <a:pt x="23" y="15"/>
                        <a:pt x="25" y="14"/>
                        <a:pt x="28" y="14"/>
                      </a:cubicBezTo>
                      <a:cubicBezTo>
                        <a:pt x="30" y="13"/>
                        <a:pt x="30" y="11"/>
                        <a:pt x="32" y="10"/>
                      </a:cubicBezTo>
                      <a:cubicBezTo>
                        <a:pt x="35" y="6"/>
                        <a:pt x="38" y="8"/>
                        <a:pt x="42" y="6"/>
                      </a:cubicBezTo>
                      <a:cubicBezTo>
                        <a:pt x="39" y="3"/>
                        <a:pt x="31" y="2"/>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Freeform 189"/>
                <p:cNvSpPr/>
                <p:nvPr/>
              </p:nvSpPr>
              <p:spPr bwMode="auto">
                <a:xfrm>
                  <a:off x="3430843" y="3508231"/>
                  <a:ext cx="33166" cy="18426"/>
                </a:xfrm>
                <a:custGeom>
                  <a:gdLst>
                    <a:gd name="T0" fmla="*/ 5 w 10"/>
                    <a:gd name="T1" fmla="*/ 0 h 6"/>
                    <a:gd name="T2" fmla="*/ 0 w 10"/>
                    <a:gd name="T3" fmla="*/ 2 h 6"/>
                    <a:gd name="T4" fmla="*/ 8 w 10"/>
                    <a:gd name="T5" fmla="*/ 6 h 6"/>
                    <a:gd name="T6" fmla="*/ 5 w 10"/>
                    <a:gd name="T7" fmla="*/ 0 h 6"/>
                    <a:gd name="T8" fmla="*/ 5 w 10"/>
                    <a:gd name="T9" fmla="*/ 0 h 6"/>
                  </a:gdLst>
                  <a:cxnLst>
                    <a:cxn ang="0">
                      <a:pos x="T0" y="T1"/>
                    </a:cxn>
                    <a:cxn ang="0">
                      <a:pos x="T2" y="T3"/>
                    </a:cxn>
                    <a:cxn ang="0">
                      <a:pos x="T4" y="T5"/>
                    </a:cxn>
                    <a:cxn ang="0">
                      <a:pos x="T6" y="T7"/>
                    </a:cxn>
                    <a:cxn ang="0">
                      <a:pos x="T8" y="T9"/>
                    </a:cxn>
                  </a:cxnLst>
                  <a:rect l="0" t="0" r="r" b="b"/>
                  <a:pathLst>
                    <a:path w="10" h="6">
                      <a:moveTo>
                        <a:pt x="5" y="0"/>
                      </a:moveTo>
                      <a:cubicBezTo>
                        <a:pt x="4" y="0"/>
                        <a:pt x="1" y="1"/>
                        <a:pt x="0" y="2"/>
                      </a:cubicBezTo>
                      <a:cubicBezTo>
                        <a:pt x="2" y="3"/>
                        <a:pt x="5" y="4"/>
                        <a:pt x="8" y="6"/>
                      </a:cubicBezTo>
                      <a:cubicBezTo>
                        <a:pt x="8" y="1"/>
                        <a:pt x="10"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Freeform 190"/>
                <p:cNvSpPr/>
                <p:nvPr/>
              </p:nvSpPr>
              <p:spPr bwMode="auto">
                <a:xfrm>
                  <a:off x="5225494" y="3375567"/>
                  <a:ext cx="33166" cy="25796"/>
                </a:xfrm>
                <a:custGeom>
                  <a:gdLst>
                    <a:gd name="T0" fmla="*/ 3 w 11"/>
                    <a:gd name="T1" fmla="*/ 0 h 9"/>
                    <a:gd name="T2" fmla="*/ 0 w 11"/>
                    <a:gd name="T3" fmla="*/ 1 h 9"/>
                    <a:gd name="T4" fmla="*/ 6 w 11"/>
                    <a:gd name="T5" fmla="*/ 4 h 9"/>
                    <a:gd name="T6" fmla="*/ 9 w 11"/>
                    <a:gd name="T7" fmla="*/ 9 h 9"/>
                    <a:gd name="T8" fmla="*/ 5 w 11"/>
                    <a:gd name="T9" fmla="*/ 1 h 9"/>
                    <a:gd name="T10" fmla="*/ 4 w 11"/>
                    <a:gd name="T11" fmla="*/ 0 h 9"/>
                    <a:gd name="T12" fmla="*/ 3 w 11"/>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11" h="9">
                      <a:moveTo>
                        <a:pt x="3" y="0"/>
                      </a:moveTo>
                      <a:cubicBezTo>
                        <a:pt x="2" y="0"/>
                        <a:pt x="1" y="0"/>
                        <a:pt x="0" y="1"/>
                      </a:cubicBezTo>
                      <a:cubicBezTo>
                        <a:pt x="2" y="2"/>
                        <a:pt x="4" y="3"/>
                        <a:pt x="6" y="4"/>
                      </a:cubicBezTo>
                      <a:cubicBezTo>
                        <a:pt x="6" y="7"/>
                        <a:pt x="7" y="8"/>
                        <a:pt x="9" y="9"/>
                      </a:cubicBezTo>
                      <a:cubicBezTo>
                        <a:pt x="11" y="5"/>
                        <a:pt x="10" y="3"/>
                        <a:pt x="5" y="1"/>
                      </a:cubicBezTo>
                      <a:cubicBezTo>
                        <a:pt x="5" y="1"/>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Freeform 191"/>
                <p:cNvSpPr/>
                <p:nvPr/>
              </p:nvSpPr>
              <p:spPr bwMode="auto">
                <a:xfrm>
                  <a:off x="5100200" y="3032851"/>
                  <a:ext cx="217422" cy="151090"/>
                </a:xfrm>
                <a:custGeom>
                  <a:gdLst>
                    <a:gd name="T0" fmla="*/ 68 w 68"/>
                    <a:gd name="T1" fmla="*/ 0 h 47"/>
                    <a:gd name="T2" fmla="*/ 46 w 68"/>
                    <a:gd name="T3" fmla="*/ 10 h 47"/>
                    <a:gd name="T4" fmla="*/ 32 w 68"/>
                    <a:gd name="T5" fmla="*/ 24 h 47"/>
                    <a:gd name="T6" fmla="*/ 28 w 68"/>
                    <a:gd name="T7" fmla="*/ 25 h 47"/>
                    <a:gd name="T8" fmla="*/ 22 w 68"/>
                    <a:gd name="T9" fmla="*/ 24 h 47"/>
                    <a:gd name="T10" fmla="*/ 17 w 68"/>
                    <a:gd name="T11" fmla="*/ 24 h 47"/>
                    <a:gd name="T12" fmla="*/ 11 w 68"/>
                    <a:gd name="T13" fmla="*/ 25 h 47"/>
                    <a:gd name="T14" fmla="*/ 0 w 68"/>
                    <a:gd name="T15" fmla="*/ 42 h 47"/>
                    <a:gd name="T16" fmla="*/ 8 w 68"/>
                    <a:gd name="T17" fmla="*/ 47 h 47"/>
                    <a:gd name="T18" fmla="*/ 9 w 68"/>
                    <a:gd name="T19" fmla="*/ 47 h 47"/>
                    <a:gd name="T20" fmla="*/ 5 w 68"/>
                    <a:gd name="T21" fmla="*/ 43 h 47"/>
                    <a:gd name="T22" fmla="*/ 9 w 68"/>
                    <a:gd name="T23" fmla="*/ 37 h 47"/>
                    <a:gd name="T24" fmla="*/ 11 w 68"/>
                    <a:gd name="T25" fmla="*/ 43 h 47"/>
                    <a:gd name="T26" fmla="*/ 12 w 68"/>
                    <a:gd name="T27" fmla="*/ 43 h 47"/>
                    <a:gd name="T28" fmla="*/ 16 w 68"/>
                    <a:gd name="T29" fmla="*/ 41 h 47"/>
                    <a:gd name="T30" fmla="*/ 17 w 68"/>
                    <a:gd name="T31" fmla="*/ 35 h 47"/>
                    <a:gd name="T32" fmla="*/ 18 w 68"/>
                    <a:gd name="T33" fmla="*/ 35 h 47"/>
                    <a:gd name="T34" fmla="*/ 19 w 68"/>
                    <a:gd name="T35" fmla="*/ 32 h 47"/>
                    <a:gd name="T36" fmla="*/ 37 w 68"/>
                    <a:gd name="T37" fmla="*/ 28 h 47"/>
                    <a:gd name="T38" fmla="*/ 45 w 68"/>
                    <a:gd name="T39" fmla="*/ 27 h 47"/>
                    <a:gd name="T40" fmla="*/ 48 w 68"/>
                    <a:gd name="T41" fmla="*/ 27 h 47"/>
                    <a:gd name="T42" fmla="*/ 51 w 68"/>
                    <a:gd name="T43" fmla="*/ 27 h 47"/>
                    <a:gd name="T44" fmla="*/ 54 w 68"/>
                    <a:gd name="T45" fmla="*/ 27 h 47"/>
                    <a:gd name="T46" fmla="*/ 62 w 68"/>
                    <a:gd name="T47" fmla="*/ 24 h 47"/>
                    <a:gd name="T48" fmla="*/ 64 w 68"/>
                    <a:gd name="T49" fmla="*/ 15 h 47"/>
                    <a:gd name="T50" fmla="*/ 62 w 68"/>
                    <a:gd name="T51" fmla="*/ 7 h 47"/>
                    <a:gd name="T52" fmla="*/ 68 w 68"/>
                    <a:gd name="T53"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47">
                      <a:moveTo>
                        <a:pt x="68" y="0"/>
                      </a:moveTo>
                      <a:cubicBezTo>
                        <a:pt x="60" y="4"/>
                        <a:pt x="53" y="7"/>
                        <a:pt x="46" y="10"/>
                      </a:cubicBezTo>
                      <a:cubicBezTo>
                        <a:pt x="40" y="12"/>
                        <a:pt x="39" y="22"/>
                        <a:pt x="32" y="24"/>
                      </a:cubicBezTo>
                      <a:cubicBezTo>
                        <a:pt x="31" y="25"/>
                        <a:pt x="29" y="25"/>
                        <a:pt x="28" y="25"/>
                      </a:cubicBezTo>
                      <a:cubicBezTo>
                        <a:pt x="26" y="25"/>
                        <a:pt x="24" y="25"/>
                        <a:pt x="22" y="24"/>
                      </a:cubicBezTo>
                      <a:cubicBezTo>
                        <a:pt x="21" y="24"/>
                        <a:pt x="19" y="24"/>
                        <a:pt x="17" y="24"/>
                      </a:cubicBezTo>
                      <a:cubicBezTo>
                        <a:pt x="15" y="24"/>
                        <a:pt x="13" y="24"/>
                        <a:pt x="11" y="25"/>
                      </a:cubicBezTo>
                      <a:cubicBezTo>
                        <a:pt x="4" y="28"/>
                        <a:pt x="1" y="36"/>
                        <a:pt x="0" y="42"/>
                      </a:cubicBezTo>
                      <a:cubicBezTo>
                        <a:pt x="3" y="43"/>
                        <a:pt x="5" y="46"/>
                        <a:pt x="8" y="47"/>
                      </a:cubicBezTo>
                      <a:cubicBezTo>
                        <a:pt x="8" y="47"/>
                        <a:pt x="8" y="47"/>
                        <a:pt x="9" y="47"/>
                      </a:cubicBezTo>
                      <a:cubicBezTo>
                        <a:pt x="9" y="47"/>
                        <a:pt x="5" y="44"/>
                        <a:pt x="5" y="43"/>
                      </a:cubicBezTo>
                      <a:cubicBezTo>
                        <a:pt x="6" y="41"/>
                        <a:pt x="8" y="39"/>
                        <a:pt x="9" y="37"/>
                      </a:cubicBezTo>
                      <a:cubicBezTo>
                        <a:pt x="9" y="39"/>
                        <a:pt x="9" y="43"/>
                        <a:pt x="11" y="43"/>
                      </a:cubicBezTo>
                      <a:cubicBezTo>
                        <a:pt x="12" y="43"/>
                        <a:pt x="12" y="43"/>
                        <a:pt x="12" y="43"/>
                      </a:cubicBezTo>
                      <a:cubicBezTo>
                        <a:pt x="14" y="43"/>
                        <a:pt x="15" y="42"/>
                        <a:pt x="16" y="41"/>
                      </a:cubicBezTo>
                      <a:cubicBezTo>
                        <a:pt x="17" y="39"/>
                        <a:pt x="16" y="35"/>
                        <a:pt x="17" y="35"/>
                      </a:cubicBezTo>
                      <a:cubicBezTo>
                        <a:pt x="18" y="35"/>
                        <a:pt x="18" y="35"/>
                        <a:pt x="18" y="35"/>
                      </a:cubicBezTo>
                      <a:cubicBezTo>
                        <a:pt x="19" y="34"/>
                        <a:pt x="19" y="33"/>
                        <a:pt x="19" y="32"/>
                      </a:cubicBezTo>
                      <a:cubicBezTo>
                        <a:pt x="25" y="28"/>
                        <a:pt x="30" y="30"/>
                        <a:pt x="37" y="28"/>
                      </a:cubicBezTo>
                      <a:cubicBezTo>
                        <a:pt x="40" y="27"/>
                        <a:pt x="42" y="27"/>
                        <a:pt x="45" y="27"/>
                      </a:cubicBezTo>
                      <a:cubicBezTo>
                        <a:pt x="46" y="27"/>
                        <a:pt x="47" y="27"/>
                        <a:pt x="48" y="27"/>
                      </a:cubicBezTo>
                      <a:cubicBezTo>
                        <a:pt x="49" y="27"/>
                        <a:pt x="50" y="27"/>
                        <a:pt x="51" y="27"/>
                      </a:cubicBezTo>
                      <a:cubicBezTo>
                        <a:pt x="52" y="27"/>
                        <a:pt x="53" y="27"/>
                        <a:pt x="54" y="27"/>
                      </a:cubicBezTo>
                      <a:cubicBezTo>
                        <a:pt x="59" y="27"/>
                        <a:pt x="60" y="28"/>
                        <a:pt x="62" y="24"/>
                      </a:cubicBezTo>
                      <a:cubicBezTo>
                        <a:pt x="63" y="21"/>
                        <a:pt x="64" y="18"/>
                        <a:pt x="64" y="15"/>
                      </a:cubicBezTo>
                      <a:cubicBezTo>
                        <a:pt x="64" y="14"/>
                        <a:pt x="61" y="8"/>
                        <a:pt x="62" y="7"/>
                      </a:cubicBezTo>
                      <a:cubicBezTo>
                        <a:pt x="64" y="5"/>
                        <a:pt x="66" y="3"/>
                        <a:pt x="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Freeform 192"/>
                <p:cNvSpPr/>
                <p:nvPr/>
              </p:nvSpPr>
              <p:spPr bwMode="auto">
                <a:xfrm>
                  <a:off x="5229179" y="3309234"/>
                  <a:ext cx="103183" cy="70017"/>
                </a:xfrm>
                <a:custGeom>
                  <a:gdLst>
                    <a:gd name="T0" fmla="*/ 27 w 33"/>
                    <a:gd name="T1" fmla="*/ 0 h 22"/>
                    <a:gd name="T2" fmla="*/ 26 w 33"/>
                    <a:gd name="T3" fmla="*/ 4 h 22"/>
                    <a:gd name="T4" fmla="*/ 23 w 33"/>
                    <a:gd name="T5" fmla="*/ 5 h 22"/>
                    <a:gd name="T6" fmla="*/ 22 w 33"/>
                    <a:gd name="T7" fmla="*/ 5 h 22"/>
                    <a:gd name="T8" fmla="*/ 24 w 33"/>
                    <a:gd name="T9" fmla="*/ 3 h 22"/>
                    <a:gd name="T10" fmla="*/ 18 w 33"/>
                    <a:gd name="T11" fmla="*/ 1 h 22"/>
                    <a:gd name="T12" fmla="*/ 10 w 33"/>
                    <a:gd name="T13" fmla="*/ 2 h 22"/>
                    <a:gd name="T14" fmla="*/ 0 w 33"/>
                    <a:gd name="T15" fmla="*/ 4 h 22"/>
                    <a:gd name="T16" fmla="*/ 5 w 33"/>
                    <a:gd name="T17" fmla="*/ 8 h 22"/>
                    <a:gd name="T18" fmla="*/ 8 w 33"/>
                    <a:gd name="T19" fmla="*/ 15 h 22"/>
                    <a:gd name="T20" fmla="*/ 15 w 33"/>
                    <a:gd name="T21" fmla="*/ 18 h 22"/>
                    <a:gd name="T22" fmla="*/ 22 w 33"/>
                    <a:gd name="T23" fmla="*/ 22 h 22"/>
                    <a:gd name="T24" fmla="*/ 24 w 33"/>
                    <a:gd name="T25" fmla="*/ 22 h 22"/>
                    <a:gd name="T26" fmla="*/ 33 w 33"/>
                    <a:gd name="T27" fmla="*/ 15 h 22"/>
                    <a:gd name="T28" fmla="*/ 30 w 33"/>
                    <a:gd name="T29" fmla="*/ 7 h 22"/>
                    <a:gd name="T30" fmla="*/ 27 w 33"/>
                    <a:gd name="T31" fmla="*/ 6 h 22"/>
                    <a:gd name="T32" fmla="*/ 26 w 33"/>
                    <a:gd name="T33" fmla="*/ 6 h 22"/>
                    <a:gd name="T34" fmla="*/ 26 w 33"/>
                    <a:gd name="T35" fmla="*/ 6 h 22"/>
                    <a:gd name="T36" fmla="*/ 25 w 33"/>
                    <a:gd name="T37" fmla="*/ 6 h 22"/>
                    <a:gd name="T38" fmla="*/ 31 w 33"/>
                    <a:gd name="T39" fmla="*/ 4 h 22"/>
                    <a:gd name="T40" fmla="*/ 28 w 33"/>
                    <a:gd name="T41" fmla="*/ 0 h 22"/>
                    <a:gd name="T42" fmla="*/ 27 w 33"/>
                    <a:gd name="T43"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2">
                      <a:moveTo>
                        <a:pt x="27" y="0"/>
                      </a:moveTo>
                      <a:cubicBezTo>
                        <a:pt x="26" y="0"/>
                        <a:pt x="26" y="3"/>
                        <a:pt x="26" y="4"/>
                      </a:cubicBezTo>
                      <a:cubicBezTo>
                        <a:pt x="25" y="5"/>
                        <a:pt x="24" y="5"/>
                        <a:pt x="23" y="5"/>
                      </a:cubicBezTo>
                      <a:cubicBezTo>
                        <a:pt x="23" y="5"/>
                        <a:pt x="22" y="5"/>
                        <a:pt x="22" y="5"/>
                      </a:cubicBezTo>
                      <a:cubicBezTo>
                        <a:pt x="23" y="4"/>
                        <a:pt x="23" y="3"/>
                        <a:pt x="24" y="3"/>
                      </a:cubicBezTo>
                      <a:cubicBezTo>
                        <a:pt x="22" y="1"/>
                        <a:pt x="20" y="1"/>
                        <a:pt x="18" y="1"/>
                      </a:cubicBezTo>
                      <a:cubicBezTo>
                        <a:pt x="15" y="1"/>
                        <a:pt x="13" y="1"/>
                        <a:pt x="10" y="2"/>
                      </a:cubicBezTo>
                      <a:cubicBezTo>
                        <a:pt x="7" y="3"/>
                        <a:pt x="4" y="3"/>
                        <a:pt x="0" y="4"/>
                      </a:cubicBezTo>
                      <a:cubicBezTo>
                        <a:pt x="3" y="5"/>
                        <a:pt x="3" y="6"/>
                        <a:pt x="5" y="8"/>
                      </a:cubicBezTo>
                      <a:cubicBezTo>
                        <a:pt x="6" y="10"/>
                        <a:pt x="7" y="13"/>
                        <a:pt x="8" y="15"/>
                      </a:cubicBezTo>
                      <a:cubicBezTo>
                        <a:pt x="10" y="16"/>
                        <a:pt x="13" y="17"/>
                        <a:pt x="15" y="18"/>
                      </a:cubicBezTo>
                      <a:cubicBezTo>
                        <a:pt x="18" y="20"/>
                        <a:pt x="19" y="21"/>
                        <a:pt x="22" y="22"/>
                      </a:cubicBezTo>
                      <a:cubicBezTo>
                        <a:pt x="23" y="22"/>
                        <a:pt x="24" y="22"/>
                        <a:pt x="24" y="22"/>
                      </a:cubicBezTo>
                      <a:cubicBezTo>
                        <a:pt x="28" y="22"/>
                        <a:pt x="32" y="19"/>
                        <a:pt x="33" y="15"/>
                      </a:cubicBezTo>
                      <a:cubicBezTo>
                        <a:pt x="33" y="13"/>
                        <a:pt x="31" y="10"/>
                        <a:pt x="30" y="7"/>
                      </a:cubicBezTo>
                      <a:cubicBezTo>
                        <a:pt x="30" y="6"/>
                        <a:pt x="28" y="6"/>
                        <a:pt x="27" y="6"/>
                      </a:cubicBezTo>
                      <a:cubicBezTo>
                        <a:pt x="26" y="6"/>
                        <a:pt x="26" y="6"/>
                        <a:pt x="26" y="6"/>
                      </a:cubicBezTo>
                      <a:cubicBezTo>
                        <a:pt x="26" y="6"/>
                        <a:pt x="26" y="6"/>
                        <a:pt x="26" y="6"/>
                      </a:cubicBezTo>
                      <a:cubicBezTo>
                        <a:pt x="26" y="6"/>
                        <a:pt x="25" y="6"/>
                        <a:pt x="25" y="6"/>
                      </a:cubicBezTo>
                      <a:cubicBezTo>
                        <a:pt x="27" y="5"/>
                        <a:pt x="30" y="6"/>
                        <a:pt x="31" y="4"/>
                      </a:cubicBezTo>
                      <a:cubicBezTo>
                        <a:pt x="31" y="3"/>
                        <a:pt x="28" y="0"/>
                        <a:pt x="28" y="0"/>
                      </a:cubicBezTo>
                      <a:cubicBezTo>
                        <a:pt x="28"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Freeform 193"/>
                <p:cNvSpPr/>
                <p:nvPr/>
              </p:nvSpPr>
              <p:spPr bwMode="auto">
                <a:xfrm>
                  <a:off x="5343418" y="3246588"/>
                  <a:ext cx="151090" cy="195311"/>
                </a:xfrm>
                <a:custGeom>
                  <a:gdLst>
                    <a:gd name="T0" fmla="*/ 39 w 48"/>
                    <a:gd name="T1" fmla="*/ 0 h 61"/>
                    <a:gd name="T2" fmla="*/ 35 w 48"/>
                    <a:gd name="T3" fmla="*/ 0 h 61"/>
                    <a:gd name="T4" fmla="*/ 28 w 48"/>
                    <a:gd name="T5" fmla="*/ 4 h 61"/>
                    <a:gd name="T6" fmla="*/ 32 w 48"/>
                    <a:gd name="T7" fmla="*/ 13 h 61"/>
                    <a:gd name="T8" fmla="*/ 28 w 48"/>
                    <a:gd name="T9" fmla="*/ 18 h 61"/>
                    <a:gd name="T10" fmla="*/ 28 w 48"/>
                    <a:gd name="T11" fmla="*/ 7 h 61"/>
                    <a:gd name="T12" fmla="*/ 24 w 48"/>
                    <a:gd name="T13" fmla="*/ 17 h 61"/>
                    <a:gd name="T14" fmla="*/ 21 w 48"/>
                    <a:gd name="T15" fmla="*/ 14 h 61"/>
                    <a:gd name="T16" fmla="*/ 21 w 48"/>
                    <a:gd name="T17" fmla="*/ 11 h 61"/>
                    <a:gd name="T18" fmla="*/ 24 w 48"/>
                    <a:gd name="T19" fmla="*/ 5 h 61"/>
                    <a:gd name="T20" fmla="*/ 21 w 48"/>
                    <a:gd name="T21" fmla="*/ 5 h 61"/>
                    <a:gd name="T22" fmla="*/ 16 w 48"/>
                    <a:gd name="T23" fmla="*/ 5 h 61"/>
                    <a:gd name="T24" fmla="*/ 11 w 48"/>
                    <a:gd name="T25" fmla="*/ 4 h 61"/>
                    <a:gd name="T26" fmla="*/ 10 w 48"/>
                    <a:gd name="T27" fmla="*/ 4 h 61"/>
                    <a:gd name="T28" fmla="*/ 16 w 48"/>
                    <a:gd name="T29" fmla="*/ 9 h 61"/>
                    <a:gd name="T30" fmla="*/ 8 w 48"/>
                    <a:gd name="T31" fmla="*/ 16 h 61"/>
                    <a:gd name="T32" fmla="*/ 7 w 48"/>
                    <a:gd name="T33" fmla="*/ 16 h 61"/>
                    <a:gd name="T34" fmla="*/ 0 w 48"/>
                    <a:gd name="T35" fmla="*/ 15 h 61"/>
                    <a:gd name="T36" fmla="*/ 1 w 48"/>
                    <a:gd name="T37" fmla="*/ 18 h 61"/>
                    <a:gd name="T38" fmla="*/ 5 w 48"/>
                    <a:gd name="T39" fmla="*/ 20 h 61"/>
                    <a:gd name="T40" fmla="*/ 8 w 48"/>
                    <a:gd name="T41" fmla="*/ 27 h 61"/>
                    <a:gd name="T42" fmla="*/ 9 w 48"/>
                    <a:gd name="T43" fmla="*/ 32 h 61"/>
                    <a:gd name="T44" fmla="*/ 25 w 48"/>
                    <a:gd name="T45" fmla="*/ 38 h 61"/>
                    <a:gd name="T46" fmla="*/ 21 w 48"/>
                    <a:gd name="T47" fmla="*/ 40 h 61"/>
                    <a:gd name="T48" fmla="*/ 20 w 48"/>
                    <a:gd name="T49" fmla="*/ 40 h 61"/>
                    <a:gd name="T50" fmla="*/ 26 w 48"/>
                    <a:gd name="T51" fmla="*/ 43 h 61"/>
                    <a:gd name="T52" fmla="*/ 25 w 48"/>
                    <a:gd name="T53" fmla="*/ 50 h 61"/>
                    <a:gd name="T54" fmla="*/ 28 w 48"/>
                    <a:gd name="T55" fmla="*/ 59 h 61"/>
                    <a:gd name="T56" fmla="*/ 29 w 48"/>
                    <a:gd name="T57" fmla="*/ 61 h 61"/>
                    <a:gd name="T58" fmla="*/ 29 w 48"/>
                    <a:gd name="T59" fmla="*/ 60 h 61"/>
                    <a:gd name="T60" fmla="*/ 35 w 48"/>
                    <a:gd name="T61" fmla="*/ 50 h 61"/>
                    <a:gd name="T62" fmla="*/ 27 w 48"/>
                    <a:gd name="T63" fmla="*/ 46 h 61"/>
                    <a:gd name="T64" fmla="*/ 32 w 48"/>
                    <a:gd name="T65" fmla="*/ 43 h 61"/>
                    <a:gd name="T66" fmla="*/ 31 w 48"/>
                    <a:gd name="T67" fmla="*/ 37 h 61"/>
                    <a:gd name="T68" fmla="*/ 43 w 48"/>
                    <a:gd name="T69" fmla="*/ 32 h 61"/>
                    <a:gd name="T70" fmla="*/ 37 w 48"/>
                    <a:gd name="T71" fmla="*/ 27 h 61"/>
                    <a:gd name="T72" fmla="*/ 41 w 48"/>
                    <a:gd name="T73" fmla="*/ 20 h 61"/>
                    <a:gd name="T74" fmla="*/ 46 w 48"/>
                    <a:gd name="T75" fmla="*/ 17 h 61"/>
                    <a:gd name="T76" fmla="*/ 46 w 48"/>
                    <a:gd name="T77" fmla="*/ 10 h 61"/>
                    <a:gd name="T78" fmla="*/ 44 w 48"/>
                    <a:gd name="T79" fmla="*/ 2 h 61"/>
                    <a:gd name="T80" fmla="*/ 39 w 48"/>
                    <a:gd name="T81" fmla="*/ 0 h 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61">
                      <a:moveTo>
                        <a:pt x="39" y="0"/>
                      </a:moveTo>
                      <a:cubicBezTo>
                        <a:pt x="38" y="0"/>
                        <a:pt x="36" y="0"/>
                        <a:pt x="35" y="0"/>
                      </a:cubicBezTo>
                      <a:cubicBezTo>
                        <a:pt x="33" y="1"/>
                        <a:pt x="31" y="3"/>
                        <a:pt x="28" y="4"/>
                      </a:cubicBezTo>
                      <a:cubicBezTo>
                        <a:pt x="31" y="6"/>
                        <a:pt x="32" y="9"/>
                        <a:pt x="32" y="13"/>
                      </a:cubicBezTo>
                      <a:cubicBezTo>
                        <a:pt x="32" y="16"/>
                        <a:pt x="32" y="17"/>
                        <a:pt x="28" y="18"/>
                      </a:cubicBezTo>
                      <a:cubicBezTo>
                        <a:pt x="31" y="13"/>
                        <a:pt x="32" y="11"/>
                        <a:pt x="28" y="7"/>
                      </a:cubicBezTo>
                      <a:cubicBezTo>
                        <a:pt x="28" y="9"/>
                        <a:pt x="26" y="15"/>
                        <a:pt x="24" y="17"/>
                      </a:cubicBezTo>
                      <a:cubicBezTo>
                        <a:pt x="23" y="16"/>
                        <a:pt x="22" y="15"/>
                        <a:pt x="21" y="14"/>
                      </a:cubicBezTo>
                      <a:cubicBezTo>
                        <a:pt x="19" y="12"/>
                        <a:pt x="21" y="12"/>
                        <a:pt x="21" y="11"/>
                      </a:cubicBezTo>
                      <a:cubicBezTo>
                        <a:pt x="21" y="7"/>
                        <a:pt x="22" y="8"/>
                        <a:pt x="24" y="5"/>
                      </a:cubicBezTo>
                      <a:cubicBezTo>
                        <a:pt x="23" y="5"/>
                        <a:pt x="22" y="5"/>
                        <a:pt x="21" y="5"/>
                      </a:cubicBezTo>
                      <a:cubicBezTo>
                        <a:pt x="19" y="5"/>
                        <a:pt x="18" y="5"/>
                        <a:pt x="16" y="5"/>
                      </a:cubicBezTo>
                      <a:cubicBezTo>
                        <a:pt x="14" y="5"/>
                        <a:pt x="13" y="4"/>
                        <a:pt x="11" y="4"/>
                      </a:cubicBezTo>
                      <a:cubicBezTo>
                        <a:pt x="10" y="4"/>
                        <a:pt x="10" y="4"/>
                        <a:pt x="10" y="4"/>
                      </a:cubicBezTo>
                      <a:cubicBezTo>
                        <a:pt x="12" y="6"/>
                        <a:pt x="17" y="6"/>
                        <a:pt x="16" y="9"/>
                      </a:cubicBezTo>
                      <a:cubicBezTo>
                        <a:pt x="16" y="11"/>
                        <a:pt x="9" y="15"/>
                        <a:pt x="8" y="16"/>
                      </a:cubicBezTo>
                      <a:cubicBezTo>
                        <a:pt x="7" y="16"/>
                        <a:pt x="7" y="16"/>
                        <a:pt x="7" y="16"/>
                      </a:cubicBezTo>
                      <a:cubicBezTo>
                        <a:pt x="4" y="16"/>
                        <a:pt x="2" y="15"/>
                        <a:pt x="0" y="15"/>
                      </a:cubicBezTo>
                      <a:cubicBezTo>
                        <a:pt x="1" y="15"/>
                        <a:pt x="0" y="17"/>
                        <a:pt x="1" y="18"/>
                      </a:cubicBezTo>
                      <a:cubicBezTo>
                        <a:pt x="2" y="19"/>
                        <a:pt x="5" y="18"/>
                        <a:pt x="5" y="20"/>
                      </a:cubicBezTo>
                      <a:cubicBezTo>
                        <a:pt x="6" y="22"/>
                        <a:pt x="7" y="25"/>
                        <a:pt x="8" y="27"/>
                      </a:cubicBezTo>
                      <a:cubicBezTo>
                        <a:pt x="8" y="30"/>
                        <a:pt x="1" y="29"/>
                        <a:pt x="9" y="32"/>
                      </a:cubicBezTo>
                      <a:cubicBezTo>
                        <a:pt x="14" y="34"/>
                        <a:pt x="20" y="35"/>
                        <a:pt x="25" y="38"/>
                      </a:cubicBezTo>
                      <a:cubicBezTo>
                        <a:pt x="24" y="39"/>
                        <a:pt x="23" y="40"/>
                        <a:pt x="21" y="40"/>
                      </a:cubicBezTo>
                      <a:cubicBezTo>
                        <a:pt x="21" y="40"/>
                        <a:pt x="20" y="40"/>
                        <a:pt x="20" y="40"/>
                      </a:cubicBezTo>
                      <a:cubicBezTo>
                        <a:pt x="22" y="41"/>
                        <a:pt x="24" y="42"/>
                        <a:pt x="26" y="43"/>
                      </a:cubicBezTo>
                      <a:cubicBezTo>
                        <a:pt x="22" y="46"/>
                        <a:pt x="21" y="45"/>
                        <a:pt x="25" y="50"/>
                      </a:cubicBezTo>
                      <a:cubicBezTo>
                        <a:pt x="27" y="53"/>
                        <a:pt x="26" y="56"/>
                        <a:pt x="28" y="59"/>
                      </a:cubicBezTo>
                      <a:cubicBezTo>
                        <a:pt x="28" y="59"/>
                        <a:pt x="28" y="61"/>
                        <a:pt x="29" y="61"/>
                      </a:cubicBezTo>
                      <a:cubicBezTo>
                        <a:pt x="29" y="61"/>
                        <a:pt x="29" y="61"/>
                        <a:pt x="29" y="60"/>
                      </a:cubicBezTo>
                      <a:cubicBezTo>
                        <a:pt x="31" y="56"/>
                        <a:pt x="31" y="52"/>
                        <a:pt x="35" y="50"/>
                      </a:cubicBezTo>
                      <a:cubicBezTo>
                        <a:pt x="33" y="48"/>
                        <a:pt x="29" y="48"/>
                        <a:pt x="27" y="46"/>
                      </a:cubicBezTo>
                      <a:cubicBezTo>
                        <a:pt x="29" y="45"/>
                        <a:pt x="30" y="45"/>
                        <a:pt x="32" y="43"/>
                      </a:cubicBezTo>
                      <a:cubicBezTo>
                        <a:pt x="34" y="40"/>
                        <a:pt x="33" y="40"/>
                        <a:pt x="31" y="37"/>
                      </a:cubicBezTo>
                      <a:cubicBezTo>
                        <a:pt x="33" y="36"/>
                        <a:pt x="43" y="35"/>
                        <a:pt x="43" y="32"/>
                      </a:cubicBezTo>
                      <a:cubicBezTo>
                        <a:pt x="44" y="29"/>
                        <a:pt x="38" y="28"/>
                        <a:pt x="37" y="27"/>
                      </a:cubicBezTo>
                      <a:cubicBezTo>
                        <a:pt x="35" y="23"/>
                        <a:pt x="38" y="21"/>
                        <a:pt x="41" y="20"/>
                      </a:cubicBezTo>
                      <a:cubicBezTo>
                        <a:pt x="43" y="19"/>
                        <a:pt x="44" y="19"/>
                        <a:pt x="46" y="17"/>
                      </a:cubicBezTo>
                      <a:cubicBezTo>
                        <a:pt x="48" y="15"/>
                        <a:pt x="47" y="12"/>
                        <a:pt x="46" y="10"/>
                      </a:cubicBezTo>
                      <a:cubicBezTo>
                        <a:pt x="45" y="6"/>
                        <a:pt x="46" y="5"/>
                        <a:pt x="44" y="2"/>
                      </a:cubicBezTo>
                      <a:cubicBezTo>
                        <a:pt x="42" y="0"/>
                        <a:pt x="41"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194"/>
                <p:cNvSpPr/>
                <p:nvPr/>
              </p:nvSpPr>
              <p:spPr bwMode="auto">
                <a:xfrm>
                  <a:off x="5302882" y="3261328"/>
                  <a:ext cx="14740" cy="25796"/>
                </a:xfrm>
                <a:custGeom>
                  <a:gdLst>
                    <a:gd name="T0" fmla="*/ 2 w 5"/>
                    <a:gd name="T1" fmla="*/ 0 h 9"/>
                    <a:gd name="T2" fmla="*/ 1 w 5"/>
                    <a:gd name="T3" fmla="*/ 9 h 9"/>
                    <a:gd name="T4" fmla="*/ 5 w 5"/>
                    <a:gd name="T5" fmla="*/ 4 h 9"/>
                    <a:gd name="T6" fmla="*/ 2 w 5"/>
                    <a:gd name="T7" fmla="*/ 0 h 9"/>
                  </a:gdLst>
                  <a:cxnLst>
                    <a:cxn ang="0">
                      <a:pos x="T0" y="T1"/>
                    </a:cxn>
                    <a:cxn ang="0">
                      <a:pos x="T2" y="T3"/>
                    </a:cxn>
                    <a:cxn ang="0">
                      <a:pos x="T4" y="T5"/>
                    </a:cxn>
                    <a:cxn ang="0">
                      <a:pos x="T6" y="T7"/>
                    </a:cxn>
                  </a:cxnLst>
                  <a:rect l="0" t="0" r="r" b="b"/>
                  <a:pathLst>
                    <a:path w="5" h="9">
                      <a:moveTo>
                        <a:pt x="2" y="0"/>
                      </a:moveTo>
                      <a:cubicBezTo>
                        <a:pt x="0" y="1"/>
                        <a:pt x="1" y="6"/>
                        <a:pt x="1" y="9"/>
                      </a:cubicBezTo>
                      <a:cubicBezTo>
                        <a:pt x="3" y="7"/>
                        <a:pt x="4" y="6"/>
                        <a:pt x="5" y="4"/>
                      </a:cubicBezTo>
                      <a:cubicBezTo>
                        <a:pt x="4"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Freeform 195"/>
                <p:cNvSpPr/>
                <p:nvPr/>
              </p:nvSpPr>
              <p:spPr bwMode="auto">
                <a:xfrm>
                  <a:off x="5347103" y="3095498"/>
                  <a:ext cx="7370" cy="7370"/>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1"/>
                        <a:pt x="1" y="2"/>
                        <a:pt x="0" y="2"/>
                      </a:cubicBezTo>
                      <a:cubicBezTo>
                        <a:pt x="2"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196"/>
                <p:cNvSpPr/>
                <p:nvPr/>
              </p:nvSpPr>
              <p:spPr bwMode="auto">
                <a:xfrm>
                  <a:off x="5332363" y="3401362"/>
                  <a:ext cx="88443" cy="25796"/>
                </a:xfrm>
                <a:custGeom>
                  <a:gdLst>
                    <a:gd name="T0" fmla="*/ 15 w 28"/>
                    <a:gd name="T1" fmla="*/ 0 h 9"/>
                    <a:gd name="T2" fmla="*/ 6 w 28"/>
                    <a:gd name="T3" fmla="*/ 1 h 9"/>
                    <a:gd name="T4" fmla="*/ 8 w 28"/>
                    <a:gd name="T5" fmla="*/ 2 h 9"/>
                    <a:gd name="T6" fmla="*/ 13 w 28"/>
                    <a:gd name="T7" fmla="*/ 8 h 9"/>
                    <a:gd name="T8" fmla="*/ 18 w 28"/>
                    <a:gd name="T9" fmla="*/ 9 h 9"/>
                    <a:gd name="T10" fmla="*/ 28 w 28"/>
                    <a:gd name="T11" fmla="*/ 6 h 9"/>
                    <a:gd name="T12" fmla="*/ 22 w 28"/>
                    <a:gd name="T13" fmla="*/ 2 h 9"/>
                    <a:gd name="T14" fmla="*/ 15 w 28"/>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9">
                      <a:moveTo>
                        <a:pt x="15" y="0"/>
                      </a:moveTo>
                      <a:cubicBezTo>
                        <a:pt x="12" y="0"/>
                        <a:pt x="9" y="1"/>
                        <a:pt x="6" y="1"/>
                      </a:cubicBezTo>
                      <a:cubicBezTo>
                        <a:pt x="7" y="2"/>
                        <a:pt x="7" y="2"/>
                        <a:pt x="8" y="2"/>
                      </a:cubicBezTo>
                      <a:cubicBezTo>
                        <a:pt x="0" y="4"/>
                        <a:pt x="12" y="7"/>
                        <a:pt x="13" y="8"/>
                      </a:cubicBezTo>
                      <a:cubicBezTo>
                        <a:pt x="15" y="9"/>
                        <a:pt x="17" y="9"/>
                        <a:pt x="18" y="9"/>
                      </a:cubicBezTo>
                      <a:cubicBezTo>
                        <a:pt x="22" y="9"/>
                        <a:pt x="25" y="8"/>
                        <a:pt x="28" y="6"/>
                      </a:cubicBezTo>
                      <a:cubicBezTo>
                        <a:pt x="27" y="2"/>
                        <a:pt x="26" y="3"/>
                        <a:pt x="22" y="2"/>
                      </a:cubicBezTo>
                      <a:cubicBezTo>
                        <a:pt x="19" y="2"/>
                        <a:pt x="17"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Freeform 197"/>
                <p:cNvSpPr/>
                <p:nvPr/>
              </p:nvSpPr>
              <p:spPr bwMode="auto">
                <a:xfrm>
                  <a:off x="5306567" y="3364511"/>
                  <a:ext cx="40536" cy="55277"/>
                </a:xfrm>
                <a:custGeom>
                  <a:gdLst>
                    <a:gd name="T0" fmla="*/ 12 w 12"/>
                    <a:gd name="T1" fmla="*/ 0 h 17"/>
                    <a:gd name="T2" fmla="*/ 6 w 12"/>
                    <a:gd name="T3" fmla="*/ 8 h 17"/>
                    <a:gd name="T4" fmla="*/ 5 w 12"/>
                    <a:gd name="T5" fmla="*/ 17 h 17"/>
                    <a:gd name="T6" fmla="*/ 12 w 12"/>
                    <a:gd name="T7" fmla="*/ 0 h 17"/>
                  </a:gdLst>
                  <a:cxnLst>
                    <a:cxn ang="0">
                      <a:pos x="T0" y="T1"/>
                    </a:cxn>
                    <a:cxn ang="0">
                      <a:pos x="T2" y="T3"/>
                    </a:cxn>
                    <a:cxn ang="0">
                      <a:pos x="T4" y="T5"/>
                    </a:cxn>
                    <a:cxn ang="0">
                      <a:pos x="T6" y="T7"/>
                    </a:cxn>
                  </a:cxnLst>
                  <a:rect l="0" t="0" r="r" b="b"/>
                  <a:pathLst>
                    <a:path w="12" h="17">
                      <a:moveTo>
                        <a:pt x="12" y="0"/>
                      </a:moveTo>
                      <a:cubicBezTo>
                        <a:pt x="9" y="2"/>
                        <a:pt x="8" y="5"/>
                        <a:pt x="6" y="8"/>
                      </a:cubicBezTo>
                      <a:cubicBezTo>
                        <a:pt x="5" y="14"/>
                        <a:pt x="0" y="11"/>
                        <a:pt x="5" y="17"/>
                      </a:cubicBezTo>
                      <a:cubicBezTo>
                        <a:pt x="7" y="12"/>
                        <a:pt x="11" y="6"/>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198"/>
                <p:cNvSpPr/>
                <p:nvPr/>
              </p:nvSpPr>
              <p:spPr bwMode="auto">
                <a:xfrm>
                  <a:off x="5453971" y="3379252"/>
                  <a:ext cx="44221" cy="22111"/>
                </a:xfrm>
                <a:custGeom>
                  <a:gdLst>
                    <a:gd name="T0" fmla="*/ 3 w 14"/>
                    <a:gd name="T1" fmla="*/ 0 h 7"/>
                    <a:gd name="T2" fmla="*/ 0 w 14"/>
                    <a:gd name="T3" fmla="*/ 7 h 7"/>
                    <a:gd name="T4" fmla="*/ 5 w 14"/>
                    <a:gd name="T5" fmla="*/ 4 h 7"/>
                    <a:gd name="T6" fmla="*/ 6 w 14"/>
                    <a:gd name="T7" fmla="*/ 4 h 7"/>
                    <a:gd name="T8" fmla="*/ 8 w 14"/>
                    <a:gd name="T9" fmla="*/ 4 h 7"/>
                    <a:gd name="T10" fmla="*/ 9 w 14"/>
                    <a:gd name="T11" fmla="*/ 5 h 7"/>
                    <a:gd name="T12" fmla="*/ 9 w 14"/>
                    <a:gd name="T13" fmla="*/ 4 h 7"/>
                    <a:gd name="T14" fmla="*/ 3 w 14"/>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3" y="0"/>
                      </a:moveTo>
                      <a:cubicBezTo>
                        <a:pt x="2" y="2"/>
                        <a:pt x="1" y="5"/>
                        <a:pt x="0" y="7"/>
                      </a:cubicBezTo>
                      <a:cubicBezTo>
                        <a:pt x="2" y="6"/>
                        <a:pt x="3" y="4"/>
                        <a:pt x="5" y="4"/>
                      </a:cubicBezTo>
                      <a:cubicBezTo>
                        <a:pt x="6" y="4"/>
                        <a:pt x="6" y="4"/>
                        <a:pt x="6" y="4"/>
                      </a:cubicBezTo>
                      <a:cubicBezTo>
                        <a:pt x="6" y="4"/>
                        <a:pt x="7" y="4"/>
                        <a:pt x="8" y="4"/>
                      </a:cubicBezTo>
                      <a:cubicBezTo>
                        <a:pt x="8" y="4"/>
                        <a:pt x="9" y="5"/>
                        <a:pt x="9" y="5"/>
                      </a:cubicBezTo>
                      <a:cubicBezTo>
                        <a:pt x="9" y="5"/>
                        <a:pt x="9" y="5"/>
                        <a:pt x="9" y="4"/>
                      </a:cubicBezTo>
                      <a:cubicBezTo>
                        <a:pt x="1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Freeform 199"/>
                <p:cNvSpPr/>
                <p:nvPr/>
              </p:nvSpPr>
              <p:spPr bwMode="auto">
                <a:xfrm>
                  <a:off x="8906924" y="6500545"/>
                  <a:ext cx="18426" cy="44221"/>
                </a:xfrm>
                <a:custGeom>
                  <a:gdLst>
                    <a:gd name="T0" fmla="*/ 2 w 5"/>
                    <a:gd name="T1" fmla="*/ 0 h 14"/>
                    <a:gd name="T2" fmla="*/ 1 w 5"/>
                    <a:gd name="T3" fmla="*/ 1 h 14"/>
                    <a:gd name="T4" fmla="*/ 3 w 5"/>
                    <a:gd name="T5" fmla="*/ 14 h 14"/>
                    <a:gd name="T6" fmla="*/ 5 w 5"/>
                    <a:gd name="T7" fmla="*/ 6 h 14"/>
                    <a:gd name="T8" fmla="*/ 4 w 5"/>
                    <a:gd name="T9" fmla="*/ 2 h 14"/>
                    <a:gd name="T10" fmla="*/ 2 w 5"/>
                    <a:gd name="T11" fmla="*/ 0 h 14"/>
                  </a:gdLst>
                  <a:cxnLst>
                    <a:cxn ang="0">
                      <a:pos x="T0" y="T1"/>
                    </a:cxn>
                    <a:cxn ang="0">
                      <a:pos x="T2" y="T3"/>
                    </a:cxn>
                    <a:cxn ang="0">
                      <a:pos x="T4" y="T5"/>
                    </a:cxn>
                    <a:cxn ang="0">
                      <a:pos x="T6" y="T7"/>
                    </a:cxn>
                    <a:cxn ang="0">
                      <a:pos x="T8" y="T9"/>
                    </a:cxn>
                    <a:cxn ang="0">
                      <a:pos x="T10" y="T11"/>
                    </a:cxn>
                  </a:cxnLst>
                  <a:rect l="0" t="0" r="r" b="b"/>
                  <a:pathLst>
                    <a:path w="5" h="14">
                      <a:moveTo>
                        <a:pt x="2" y="0"/>
                      </a:moveTo>
                      <a:cubicBezTo>
                        <a:pt x="2" y="0"/>
                        <a:pt x="2" y="0"/>
                        <a:pt x="1" y="1"/>
                      </a:cubicBezTo>
                      <a:cubicBezTo>
                        <a:pt x="0" y="2"/>
                        <a:pt x="3" y="12"/>
                        <a:pt x="3" y="14"/>
                      </a:cubicBezTo>
                      <a:cubicBezTo>
                        <a:pt x="4" y="12"/>
                        <a:pt x="5" y="9"/>
                        <a:pt x="5" y="6"/>
                      </a:cubicBezTo>
                      <a:cubicBezTo>
                        <a:pt x="5" y="4"/>
                        <a:pt x="3" y="2"/>
                        <a:pt x="4" y="2"/>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200"/>
                <p:cNvSpPr/>
                <p:nvPr/>
              </p:nvSpPr>
              <p:spPr bwMode="auto">
                <a:xfrm>
                  <a:off x="9345453" y="6434212"/>
                  <a:ext cx="88443" cy="36851"/>
                </a:xfrm>
                <a:custGeom>
                  <a:gdLst>
                    <a:gd name="T0" fmla="*/ 23 w 28"/>
                    <a:gd name="T1" fmla="*/ 0 h 12"/>
                    <a:gd name="T2" fmla="*/ 19 w 28"/>
                    <a:gd name="T3" fmla="*/ 0 h 12"/>
                    <a:gd name="T4" fmla="*/ 14 w 28"/>
                    <a:gd name="T5" fmla="*/ 0 h 12"/>
                    <a:gd name="T6" fmla="*/ 14 w 28"/>
                    <a:gd name="T7" fmla="*/ 0 h 12"/>
                    <a:gd name="T8" fmla="*/ 10 w 28"/>
                    <a:gd name="T9" fmla="*/ 6 h 12"/>
                    <a:gd name="T10" fmla="*/ 7 w 28"/>
                    <a:gd name="T11" fmla="*/ 7 h 12"/>
                    <a:gd name="T12" fmla="*/ 0 w 28"/>
                    <a:gd name="T13" fmla="*/ 12 h 12"/>
                    <a:gd name="T14" fmla="*/ 2 w 28"/>
                    <a:gd name="T15" fmla="*/ 12 h 12"/>
                    <a:gd name="T16" fmla="*/ 16 w 28"/>
                    <a:gd name="T17" fmla="*/ 7 h 12"/>
                    <a:gd name="T18" fmla="*/ 17 w 28"/>
                    <a:gd name="T19" fmla="*/ 7 h 12"/>
                    <a:gd name="T20" fmla="*/ 18 w 28"/>
                    <a:gd name="T21" fmla="*/ 7 h 12"/>
                    <a:gd name="T22" fmla="*/ 18 w 28"/>
                    <a:gd name="T23" fmla="*/ 7 h 12"/>
                    <a:gd name="T24" fmla="*/ 19 w 28"/>
                    <a:gd name="T25" fmla="*/ 7 h 12"/>
                    <a:gd name="T26" fmla="*/ 22 w 28"/>
                    <a:gd name="T27" fmla="*/ 5 h 12"/>
                    <a:gd name="T28" fmla="*/ 28 w 28"/>
                    <a:gd name="T29" fmla="*/ 0 h 12"/>
                    <a:gd name="T30" fmla="*/ 25 w 28"/>
                    <a:gd name="T31" fmla="*/ 0 h 12"/>
                    <a:gd name="T32" fmla="*/ 23 w 28"/>
                    <a:gd name="T3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12">
                      <a:moveTo>
                        <a:pt x="23" y="0"/>
                      </a:moveTo>
                      <a:cubicBezTo>
                        <a:pt x="22" y="0"/>
                        <a:pt x="21" y="0"/>
                        <a:pt x="19" y="0"/>
                      </a:cubicBezTo>
                      <a:cubicBezTo>
                        <a:pt x="20" y="0"/>
                        <a:pt x="16" y="0"/>
                        <a:pt x="14" y="0"/>
                      </a:cubicBezTo>
                      <a:cubicBezTo>
                        <a:pt x="14" y="0"/>
                        <a:pt x="14" y="0"/>
                        <a:pt x="14" y="0"/>
                      </a:cubicBezTo>
                      <a:cubicBezTo>
                        <a:pt x="12" y="2"/>
                        <a:pt x="15" y="4"/>
                        <a:pt x="10" y="6"/>
                      </a:cubicBezTo>
                      <a:cubicBezTo>
                        <a:pt x="9" y="6"/>
                        <a:pt x="8" y="6"/>
                        <a:pt x="7" y="7"/>
                      </a:cubicBezTo>
                      <a:cubicBezTo>
                        <a:pt x="4" y="8"/>
                        <a:pt x="0" y="9"/>
                        <a:pt x="0" y="12"/>
                      </a:cubicBezTo>
                      <a:cubicBezTo>
                        <a:pt x="1" y="12"/>
                        <a:pt x="1" y="12"/>
                        <a:pt x="2" y="12"/>
                      </a:cubicBezTo>
                      <a:cubicBezTo>
                        <a:pt x="7" y="10"/>
                        <a:pt x="12" y="7"/>
                        <a:pt x="16" y="7"/>
                      </a:cubicBezTo>
                      <a:cubicBezTo>
                        <a:pt x="16" y="7"/>
                        <a:pt x="16" y="7"/>
                        <a:pt x="17" y="7"/>
                      </a:cubicBezTo>
                      <a:cubicBezTo>
                        <a:pt x="17" y="7"/>
                        <a:pt x="17" y="7"/>
                        <a:pt x="18" y="7"/>
                      </a:cubicBezTo>
                      <a:cubicBezTo>
                        <a:pt x="18" y="7"/>
                        <a:pt x="18" y="7"/>
                        <a:pt x="18" y="7"/>
                      </a:cubicBezTo>
                      <a:cubicBezTo>
                        <a:pt x="19" y="7"/>
                        <a:pt x="19" y="7"/>
                        <a:pt x="19" y="7"/>
                      </a:cubicBezTo>
                      <a:cubicBezTo>
                        <a:pt x="20" y="7"/>
                        <a:pt x="22" y="5"/>
                        <a:pt x="22" y="5"/>
                      </a:cubicBezTo>
                      <a:cubicBezTo>
                        <a:pt x="24" y="3"/>
                        <a:pt x="25" y="1"/>
                        <a:pt x="28" y="0"/>
                      </a:cubicBezTo>
                      <a:cubicBezTo>
                        <a:pt x="27" y="0"/>
                        <a:pt x="26" y="0"/>
                        <a:pt x="25" y="0"/>
                      </a:cubicBezTo>
                      <a:cubicBezTo>
                        <a:pt x="24" y="0"/>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Freeform 201"/>
                <p:cNvSpPr/>
                <p:nvPr/>
              </p:nvSpPr>
              <p:spPr bwMode="auto">
                <a:xfrm>
                  <a:off x="9194363" y="6692171"/>
                  <a:ext cx="44221" cy="14740"/>
                </a:xfrm>
                <a:custGeom>
                  <a:gdLst>
                    <a:gd name="T0" fmla="*/ 6 w 14"/>
                    <a:gd name="T1" fmla="*/ 0 h 4"/>
                    <a:gd name="T2" fmla="*/ 0 w 14"/>
                    <a:gd name="T3" fmla="*/ 2 h 4"/>
                    <a:gd name="T4" fmla="*/ 5 w 14"/>
                    <a:gd name="T5" fmla="*/ 4 h 4"/>
                    <a:gd name="T6" fmla="*/ 7 w 14"/>
                    <a:gd name="T7" fmla="*/ 0 h 4"/>
                    <a:gd name="T8" fmla="*/ 6 w 14"/>
                    <a:gd name="T9" fmla="*/ 0 h 4"/>
                  </a:gdLst>
                  <a:cxnLst>
                    <a:cxn ang="0">
                      <a:pos x="T0" y="T1"/>
                    </a:cxn>
                    <a:cxn ang="0">
                      <a:pos x="T2" y="T3"/>
                    </a:cxn>
                    <a:cxn ang="0">
                      <a:pos x="T4" y="T5"/>
                    </a:cxn>
                    <a:cxn ang="0">
                      <a:pos x="T6" y="T7"/>
                    </a:cxn>
                    <a:cxn ang="0">
                      <a:pos x="T8" y="T9"/>
                    </a:cxn>
                  </a:cxnLst>
                  <a:rect l="0" t="0" r="r" b="b"/>
                  <a:pathLst>
                    <a:path w="14" h="4">
                      <a:moveTo>
                        <a:pt x="6" y="0"/>
                      </a:moveTo>
                      <a:cubicBezTo>
                        <a:pt x="4" y="0"/>
                        <a:pt x="2" y="1"/>
                        <a:pt x="0" y="2"/>
                      </a:cubicBezTo>
                      <a:cubicBezTo>
                        <a:pt x="2" y="3"/>
                        <a:pt x="3" y="3"/>
                        <a:pt x="5" y="4"/>
                      </a:cubicBezTo>
                      <a:cubicBezTo>
                        <a:pt x="7" y="4"/>
                        <a:pt x="14" y="2"/>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202"/>
                <p:cNvSpPr/>
                <p:nvPr/>
              </p:nvSpPr>
              <p:spPr bwMode="auto">
                <a:xfrm>
                  <a:off x="9198049" y="40537"/>
                  <a:ext cx="1389288" cy="681746"/>
                </a:xfrm>
                <a:custGeom>
                  <a:gdLst>
                    <a:gd name="T0" fmla="*/ 350 w 438"/>
                    <a:gd name="T1" fmla="*/ 16 h 215"/>
                    <a:gd name="T2" fmla="*/ 325 w 438"/>
                    <a:gd name="T3" fmla="*/ 31 h 215"/>
                    <a:gd name="T4" fmla="*/ 292 w 438"/>
                    <a:gd name="T5" fmla="*/ 39 h 215"/>
                    <a:gd name="T6" fmla="*/ 261 w 438"/>
                    <a:gd name="T7" fmla="*/ 44 h 215"/>
                    <a:gd name="T8" fmla="*/ 248 w 438"/>
                    <a:gd name="T9" fmla="*/ 44 h 215"/>
                    <a:gd name="T10" fmla="*/ 241 w 438"/>
                    <a:gd name="T11" fmla="*/ 45 h 215"/>
                    <a:gd name="T12" fmla="*/ 233 w 438"/>
                    <a:gd name="T13" fmla="*/ 43 h 215"/>
                    <a:gd name="T14" fmla="*/ 216 w 438"/>
                    <a:gd name="T15" fmla="*/ 43 h 215"/>
                    <a:gd name="T16" fmla="*/ 198 w 438"/>
                    <a:gd name="T17" fmla="*/ 59 h 215"/>
                    <a:gd name="T18" fmla="*/ 194 w 438"/>
                    <a:gd name="T19" fmla="*/ 52 h 215"/>
                    <a:gd name="T20" fmla="*/ 172 w 438"/>
                    <a:gd name="T21" fmla="*/ 63 h 215"/>
                    <a:gd name="T22" fmla="*/ 146 w 438"/>
                    <a:gd name="T23" fmla="*/ 69 h 215"/>
                    <a:gd name="T24" fmla="*/ 112 w 438"/>
                    <a:gd name="T25" fmla="*/ 87 h 215"/>
                    <a:gd name="T26" fmla="*/ 101 w 438"/>
                    <a:gd name="T27" fmla="*/ 96 h 215"/>
                    <a:gd name="T28" fmla="*/ 82 w 438"/>
                    <a:gd name="T29" fmla="*/ 113 h 215"/>
                    <a:gd name="T30" fmla="*/ 73 w 438"/>
                    <a:gd name="T31" fmla="*/ 108 h 215"/>
                    <a:gd name="T32" fmla="*/ 67 w 438"/>
                    <a:gd name="T33" fmla="*/ 118 h 215"/>
                    <a:gd name="T34" fmla="*/ 79 w 438"/>
                    <a:gd name="T35" fmla="*/ 120 h 215"/>
                    <a:gd name="T36" fmla="*/ 75 w 438"/>
                    <a:gd name="T37" fmla="*/ 123 h 215"/>
                    <a:gd name="T38" fmla="*/ 78 w 438"/>
                    <a:gd name="T39" fmla="*/ 128 h 215"/>
                    <a:gd name="T40" fmla="*/ 92 w 438"/>
                    <a:gd name="T41" fmla="*/ 134 h 215"/>
                    <a:gd name="T42" fmla="*/ 75 w 438"/>
                    <a:gd name="T43" fmla="*/ 133 h 215"/>
                    <a:gd name="T44" fmla="*/ 61 w 438"/>
                    <a:gd name="T45" fmla="*/ 135 h 215"/>
                    <a:gd name="T46" fmla="*/ 65 w 438"/>
                    <a:gd name="T47" fmla="*/ 143 h 215"/>
                    <a:gd name="T48" fmla="*/ 74 w 438"/>
                    <a:gd name="T49" fmla="*/ 146 h 215"/>
                    <a:gd name="T50" fmla="*/ 50 w 438"/>
                    <a:gd name="T51" fmla="*/ 158 h 215"/>
                    <a:gd name="T52" fmla="*/ 58 w 438"/>
                    <a:gd name="T53" fmla="*/ 165 h 215"/>
                    <a:gd name="T54" fmla="*/ 42 w 438"/>
                    <a:gd name="T55" fmla="*/ 163 h 215"/>
                    <a:gd name="T56" fmla="*/ 27 w 438"/>
                    <a:gd name="T57" fmla="*/ 176 h 215"/>
                    <a:gd name="T58" fmla="*/ 1 w 438"/>
                    <a:gd name="T59" fmla="*/ 185 h 215"/>
                    <a:gd name="T60" fmla="*/ 47 w 438"/>
                    <a:gd name="T61" fmla="*/ 189 h 215"/>
                    <a:gd name="T62" fmla="*/ 15 w 438"/>
                    <a:gd name="T63" fmla="*/ 203 h 215"/>
                    <a:gd name="T64" fmla="*/ 36 w 438"/>
                    <a:gd name="T65" fmla="*/ 205 h 215"/>
                    <a:gd name="T66" fmla="*/ 58 w 438"/>
                    <a:gd name="T67" fmla="*/ 210 h 215"/>
                    <a:gd name="T68" fmla="*/ 71 w 438"/>
                    <a:gd name="T69" fmla="*/ 213 h 215"/>
                    <a:gd name="T70" fmla="*/ 101 w 438"/>
                    <a:gd name="T71" fmla="*/ 200 h 215"/>
                    <a:gd name="T72" fmla="*/ 102 w 438"/>
                    <a:gd name="T73" fmla="*/ 198 h 215"/>
                    <a:gd name="T74" fmla="*/ 104 w 438"/>
                    <a:gd name="T75" fmla="*/ 182 h 215"/>
                    <a:gd name="T76" fmla="*/ 119 w 438"/>
                    <a:gd name="T77" fmla="*/ 177 h 215"/>
                    <a:gd name="T78" fmla="*/ 107 w 438"/>
                    <a:gd name="T79" fmla="*/ 164 h 215"/>
                    <a:gd name="T80" fmla="*/ 126 w 438"/>
                    <a:gd name="T81" fmla="*/ 174 h 215"/>
                    <a:gd name="T82" fmla="*/ 134 w 438"/>
                    <a:gd name="T83" fmla="*/ 162 h 215"/>
                    <a:gd name="T84" fmla="*/ 140 w 438"/>
                    <a:gd name="T85" fmla="*/ 149 h 215"/>
                    <a:gd name="T86" fmla="*/ 156 w 438"/>
                    <a:gd name="T87" fmla="*/ 143 h 215"/>
                    <a:gd name="T88" fmla="*/ 171 w 438"/>
                    <a:gd name="T89" fmla="*/ 140 h 215"/>
                    <a:gd name="T90" fmla="*/ 181 w 438"/>
                    <a:gd name="T91" fmla="*/ 133 h 215"/>
                    <a:gd name="T92" fmla="*/ 195 w 438"/>
                    <a:gd name="T93" fmla="*/ 116 h 215"/>
                    <a:gd name="T94" fmla="*/ 227 w 438"/>
                    <a:gd name="T95" fmla="*/ 98 h 215"/>
                    <a:gd name="T96" fmla="*/ 358 w 438"/>
                    <a:gd name="T97" fmla="*/ 61 h 215"/>
                    <a:gd name="T98" fmla="*/ 431 w 438"/>
                    <a:gd name="T99" fmla="*/ 25 h 215"/>
                    <a:gd name="T100" fmla="*/ 426 w 438"/>
                    <a:gd name="T101" fmla="*/ 7 h 215"/>
                    <a:gd name="T102" fmla="*/ 410 w 438"/>
                    <a:gd name="T103" fmla="*/ 2 h 2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8" h="215">
                      <a:moveTo>
                        <a:pt x="399" y="0"/>
                      </a:moveTo>
                      <a:cubicBezTo>
                        <a:pt x="397" y="0"/>
                        <a:pt x="395" y="0"/>
                        <a:pt x="393" y="1"/>
                      </a:cubicBezTo>
                      <a:cubicBezTo>
                        <a:pt x="388" y="3"/>
                        <a:pt x="384" y="3"/>
                        <a:pt x="379" y="4"/>
                      </a:cubicBezTo>
                      <a:cubicBezTo>
                        <a:pt x="375" y="4"/>
                        <a:pt x="370" y="7"/>
                        <a:pt x="366" y="8"/>
                      </a:cubicBezTo>
                      <a:cubicBezTo>
                        <a:pt x="362" y="10"/>
                        <a:pt x="352" y="13"/>
                        <a:pt x="350" y="16"/>
                      </a:cubicBezTo>
                      <a:cubicBezTo>
                        <a:pt x="347" y="19"/>
                        <a:pt x="348" y="25"/>
                        <a:pt x="352" y="27"/>
                      </a:cubicBezTo>
                      <a:cubicBezTo>
                        <a:pt x="351" y="27"/>
                        <a:pt x="350" y="27"/>
                        <a:pt x="349" y="27"/>
                      </a:cubicBezTo>
                      <a:cubicBezTo>
                        <a:pt x="346" y="27"/>
                        <a:pt x="342" y="26"/>
                        <a:pt x="338" y="25"/>
                      </a:cubicBezTo>
                      <a:cubicBezTo>
                        <a:pt x="338" y="25"/>
                        <a:pt x="338" y="25"/>
                        <a:pt x="338" y="25"/>
                      </a:cubicBezTo>
                      <a:cubicBezTo>
                        <a:pt x="333" y="25"/>
                        <a:pt x="329" y="30"/>
                        <a:pt x="325" y="31"/>
                      </a:cubicBezTo>
                      <a:cubicBezTo>
                        <a:pt x="324" y="31"/>
                        <a:pt x="323" y="30"/>
                        <a:pt x="322" y="30"/>
                      </a:cubicBezTo>
                      <a:cubicBezTo>
                        <a:pt x="318" y="30"/>
                        <a:pt x="309" y="35"/>
                        <a:pt x="307" y="36"/>
                      </a:cubicBezTo>
                      <a:cubicBezTo>
                        <a:pt x="306" y="37"/>
                        <a:pt x="299" y="41"/>
                        <a:pt x="296" y="41"/>
                      </a:cubicBezTo>
                      <a:cubicBezTo>
                        <a:pt x="296" y="41"/>
                        <a:pt x="295" y="41"/>
                        <a:pt x="295" y="41"/>
                      </a:cubicBezTo>
                      <a:cubicBezTo>
                        <a:pt x="293" y="40"/>
                        <a:pt x="293" y="39"/>
                        <a:pt x="292" y="39"/>
                      </a:cubicBezTo>
                      <a:cubicBezTo>
                        <a:pt x="291" y="39"/>
                        <a:pt x="291" y="40"/>
                        <a:pt x="289" y="40"/>
                      </a:cubicBezTo>
                      <a:cubicBezTo>
                        <a:pt x="283" y="40"/>
                        <a:pt x="278" y="42"/>
                        <a:pt x="272" y="44"/>
                      </a:cubicBezTo>
                      <a:cubicBezTo>
                        <a:pt x="270" y="45"/>
                        <a:pt x="267" y="47"/>
                        <a:pt x="265" y="47"/>
                      </a:cubicBezTo>
                      <a:cubicBezTo>
                        <a:pt x="265" y="47"/>
                        <a:pt x="265" y="47"/>
                        <a:pt x="264" y="47"/>
                      </a:cubicBezTo>
                      <a:cubicBezTo>
                        <a:pt x="262" y="47"/>
                        <a:pt x="262" y="45"/>
                        <a:pt x="261" y="44"/>
                      </a:cubicBezTo>
                      <a:cubicBezTo>
                        <a:pt x="260" y="44"/>
                        <a:pt x="260" y="44"/>
                        <a:pt x="260" y="44"/>
                      </a:cubicBezTo>
                      <a:cubicBezTo>
                        <a:pt x="258" y="44"/>
                        <a:pt x="256" y="45"/>
                        <a:pt x="255" y="46"/>
                      </a:cubicBezTo>
                      <a:cubicBezTo>
                        <a:pt x="253" y="47"/>
                        <a:pt x="251" y="48"/>
                        <a:pt x="250" y="48"/>
                      </a:cubicBezTo>
                      <a:cubicBezTo>
                        <a:pt x="249" y="48"/>
                        <a:pt x="248" y="48"/>
                        <a:pt x="248" y="47"/>
                      </a:cubicBezTo>
                      <a:cubicBezTo>
                        <a:pt x="247" y="46"/>
                        <a:pt x="250" y="44"/>
                        <a:pt x="248" y="44"/>
                      </a:cubicBezTo>
                      <a:cubicBezTo>
                        <a:pt x="248" y="44"/>
                        <a:pt x="247" y="44"/>
                        <a:pt x="247" y="44"/>
                      </a:cubicBezTo>
                      <a:cubicBezTo>
                        <a:pt x="246" y="44"/>
                        <a:pt x="245" y="45"/>
                        <a:pt x="244" y="45"/>
                      </a:cubicBezTo>
                      <a:cubicBezTo>
                        <a:pt x="243" y="45"/>
                        <a:pt x="243" y="45"/>
                        <a:pt x="243" y="45"/>
                      </a:cubicBezTo>
                      <a:cubicBezTo>
                        <a:pt x="243" y="45"/>
                        <a:pt x="242" y="45"/>
                        <a:pt x="242" y="45"/>
                      </a:cubicBezTo>
                      <a:cubicBezTo>
                        <a:pt x="242" y="45"/>
                        <a:pt x="241" y="45"/>
                        <a:pt x="241" y="45"/>
                      </a:cubicBezTo>
                      <a:cubicBezTo>
                        <a:pt x="240" y="45"/>
                        <a:pt x="240" y="45"/>
                        <a:pt x="239" y="45"/>
                      </a:cubicBezTo>
                      <a:cubicBezTo>
                        <a:pt x="239" y="45"/>
                        <a:pt x="238" y="45"/>
                        <a:pt x="238" y="45"/>
                      </a:cubicBezTo>
                      <a:cubicBezTo>
                        <a:pt x="237" y="44"/>
                        <a:pt x="236" y="43"/>
                        <a:pt x="235" y="42"/>
                      </a:cubicBezTo>
                      <a:cubicBezTo>
                        <a:pt x="235" y="42"/>
                        <a:pt x="235" y="42"/>
                        <a:pt x="235" y="42"/>
                      </a:cubicBezTo>
                      <a:cubicBezTo>
                        <a:pt x="234" y="42"/>
                        <a:pt x="234" y="42"/>
                        <a:pt x="233" y="43"/>
                      </a:cubicBezTo>
                      <a:cubicBezTo>
                        <a:pt x="233" y="43"/>
                        <a:pt x="232" y="43"/>
                        <a:pt x="232" y="43"/>
                      </a:cubicBezTo>
                      <a:cubicBezTo>
                        <a:pt x="231" y="43"/>
                        <a:pt x="231" y="43"/>
                        <a:pt x="231" y="43"/>
                      </a:cubicBezTo>
                      <a:cubicBezTo>
                        <a:pt x="230" y="42"/>
                        <a:pt x="229" y="42"/>
                        <a:pt x="228" y="42"/>
                      </a:cubicBezTo>
                      <a:cubicBezTo>
                        <a:pt x="228" y="42"/>
                        <a:pt x="227" y="42"/>
                        <a:pt x="227" y="42"/>
                      </a:cubicBezTo>
                      <a:cubicBezTo>
                        <a:pt x="223" y="42"/>
                        <a:pt x="220" y="43"/>
                        <a:pt x="216" y="43"/>
                      </a:cubicBezTo>
                      <a:cubicBezTo>
                        <a:pt x="212" y="44"/>
                        <a:pt x="208" y="44"/>
                        <a:pt x="210" y="50"/>
                      </a:cubicBezTo>
                      <a:cubicBezTo>
                        <a:pt x="211" y="52"/>
                        <a:pt x="213" y="50"/>
                        <a:pt x="213" y="53"/>
                      </a:cubicBezTo>
                      <a:cubicBezTo>
                        <a:pt x="213" y="55"/>
                        <a:pt x="208" y="56"/>
                        <a:pt x="206" y="56"/>
                      </a:cubicBezTo>
                      <a:cubicBezTo>
                        <a:pt x="203" y="57"/>
                        <a:pt x="201" y="59"/>
                        <a:pt x="198" y="59"/>
                      </a:cubicBezTo>
                      <a:cubicBezTo>
                        <a:pt x="198" y="59"/>
                        <a:pt x="198" y="59"/>
                        <a:pt x="198" y="59"/>
                      </a:cubicBezTo>
                      <a:cubicBezTo>
                        <a:pt x="197" y="59"/>
                        <a:pt x="196" y="59"/>
                        <a:pt x="196" y="59"/>
                      </a:cubicBezTo>
                      <a:cubicBezTo>
                        <a:pt x="195" y="59"/>
                        <a:pt x="195" y="59"/>
                        <a:pt x="194" y="59"/>
                      </a:cubicBezTo>
                      <a:cubicBezTo>
                        <a:pt x="194" y="59"/>
                        <a:pt x="194" y="59"/>
                        <a:pt x="194" y="59"/>
                      </a:cubicBezTo>
                      <a:cubicBezTo>
                        <a:pt x="196" y="56"/>
                        <a:pt x="200" y="52"/>
                        <a:pt x="195" y="52"/>
                      </a:cubicBezTo>
                      <a:cubicBezTo>
                        <a:pt x="195" y="52"/>
                        <a:pt x="194" y="52"/>
                        <a:pt x="194" y="52"/>
                      </a:cubicBezTo>
                      <a:cubicBezTo>
                        <a:pt x="190" y="53"/>
                        <a:pt x="188" y="53"/>
                        <a:pt x="185" y="56"/>
                      </a:cubicBezTo>
                      <a:cubicBezTo>
                        <a:pt x="187" y="57"/>
                        <a:pt x="188" y="58"/>
                        <a:pt x="190" y="59"/>
                      </a:cubicBezTo>
                      <a:cubicBezTo>
                        <a:pt x="187" y="60"/>
                        <a:pt x="183" y="60"/>
                        <a:pt x="180" y="61"/>
                      </a:cubicBezTo>
                      <a:cubicBezTo>
                        <a:pt x="179" y="61"/>
                        <a:pt x="177" y="62"/>
                        <a:pt x="176" y="63"/>
                      </a:cubicBezTo>
                      <a:cubicBezTo>
                        <a:pt x="174" y="63"/>
                        <a:pt x="173" y="63"/>
                        <a:pt x="172" y="63"/>
                      </a:cubicBezTo>
                      <a:cubicBezTo>
                        <a:pt x="171" y="63"/>
                        <a:pt x="170" y="63"/>
                        <a:pt x="169" y="63"/>
                      </a:cubicBezTo>
                      <a:cubicBezTo>
                        <a:pt x="169" y="63"/>
                        <a:pt x="168" y="63"/>
                        <a:pt x="167" y="63"/>
                      </a:cubicBezTo>
                      <a:cubicBezTo>
                        <a:pt x="166" y="63"/>
                        <a:pt x="165" y="63"/>
                        <a:pt x="165" y="63"/>
                      </a:cubicBezTo>
                      <a:cubicBezTo>
                        <a:pt x="160" y="64"/>
                        <a:pt x="157" y="67"/>
                        <a:pt x="153" y="68"/>
                      </a:cubicBezTo>
                      <a:cubicBezTo>
                        <a:pt x="150" y="68"/>
                        <a:pt x="148" y="68"/>
                        <a:pt x="146" y="69"/>
                      </a:cubicBezTo>
                      <a:cubicBezTo>
                        <a:pt x="140" y="72"/>
                        <a:pt x="136" y="76"/>
                        <a:pt x="129" y="78"/>
                      </a:cubicBezTo>
                      <a:cubicBezTo>
                        <a:pt x="129" y="78"/>
                        <a:pt x="125" y="78"/>
                        <a:pt x="125" y="78"/>
                      </a:cubicBezTo>
                      <a:cubicBezTo>
                        <a:pt x="123" y="80"/>
                        <a:pt x="128" y="81"/>
                        <a:pt x="129" y="82"/>
                      </a:cubicBezTo>
                      <a:cubicBezTo>
                        <a:pt x="130" y="84"/>
                        <a:pt x="122" y="85"/>
                        <a:pt x="120" y="85"/>
                      </a:cubicBezTo>
                      <a:cubicBezTo>
                        <a:pt x="117" y="86"/>
                        <a:pt x="114" y="86"/>
                        <a:pt x="112" y="87"/>
                      </a:cubicBezTo>
                      <a:cubicBezTo>
                        <a:pt x="109" y="89"/>
                        <a:pt x="113" y="92"/>
                        <a:pt x="114" y="95"/>
                      </a:cubicBezTo>
                      <a:cubicBezTo>
                        <a:pt x="115" y="96"/>
                        <a:pt x="116" y="97"/>
                        <a:pt x="115" y="98"/>
                      </a:cubicBezTo>
                      <a:cubicBezTo>
                        <a:pt x="115" y="99"/>
                        <a:pt x="114" y="99"/>
                        <a:pt x="114" y="99"/>
                      </a:cubicBezTo>
                      <a:cubicBezTo>
                        <a:pt x="112" y="99"/>
                        <a:pt x="110" y="98"/>
                        <a:pt x="109" y="97"/>
                      </a:cubicBezTo>
                      <a:cubicBezTo>
                        <a:pt x="106" y="96"/>
                        <a:pt x="105" y="96"/>
                        <a:pt x="101" y="96"/>
                      </a:cubicBezTo>
                      <a:cubicBezTo>
                        <a:pt x="99" y="96"/>
                        <a:pt x="98" y="95"/>
                        <a:pt x="97" y="95"/>
                      </a:cubicBezTo>
                      <a:cubicBezTo>
                        <a:pt x="96" y="95"/>
                        <a:pt x="95" y="96"/>
                        <a:pt x="93" y="96"/>
                      </a:cubicBezTo>
                      <a:cubicBezTo>
                        <a:pt x="90" y="97"/>
                        <a:pt x="86" y="99"/>
                        <a:pt x="91" y="101"/>
                      </a:cubicBezTo>
                      <a:cubicBezTo>
                        <a:pt x="96" y="103"/>
                        <a:pt x="87" y="109"/>
                        <a:pt x="85" y="111"/>
                      </a:cubicBezTo>
                      <a:cubicBezTo>
                        <a:pt x="84" y="111"/>
                        <a:pt x="83" y="112"/>
                        <a:pt x="82" y="113"/>
                      </a:cubicBezTo>
                      <a:cubicBezTo>
                        <a:pt x="81" y="113"/>
                        <a:pt x="81" y="113"/>
                        <a:pt x="81" y="113"/>
                      </a:cubicBezTo>
                      <a:cubicBezTo>
                        <a:pt x="80" y="113"/>
                        <a:pt x="80" y="112"/>
                        <a:pt x="80" y="111"/>
                      </a:cubicBezTo>
                      <a:cubicBezTo>
                        <a:pt x="79" y="109"/>
                        <a:pt x="78" y="107"/>
                        <a:pt x="77" y="107"/>
                      </a:cubicBezTo>
                      <a:cubicBezTo>
                        <a:pt x="76" y="107"/>
                        <a:pt x="75" y="107"/>
                        <a:pt x="75" y="108"/>
                      </a:cubicBezTo>
                      <a:cubicBezTo>
                        <a:pt x="74" y="108"/>
                        <a:pt x="73" y="108"/>
                        <a:pt x="73" y="108"/>
                      </a:cubicBezTo>
                      <a:cubicBezTo>
                        <a:pt x="71" y="108"/>
                        <a:pt x="71" y="105"/>
                        <a:pt x="69" y="105"/>
                      </a:cubicBezTo>
                      <a:cubicBezTo>
                        <a:pt x="69" y="105"/>
                        <a:pt x="68" y="105"/>
                        <a:pt x="68" y="105"/>
                      </a:cubicBezTo>
                      <a:cubicBezTo>
                        <a:pt x="66" y="105"/>
                        <a:pt x="58" y="109"/>
                        <a:pt x="60" y="112"/>
                      </a:cubicBezTo>
                      <a:cubicBezTo>
                        <a:pt x="60" y="113"/>
                        <a:pt x="64" y="112"/>
                        <a:pt x="65" y="113"/>
                      </a:cubicBezTo>
                      <a:cubicBezTo>
                        <a:pt x="66" y="115"/>
                        <a:pt x="65" y="118"/>
                        <a:pt x="67" y="118"/>
                      </a:cubicBezTo>
                      <a:cubicBezTo>
                        <a:pt x="67" y="118"/>
                        <a:pt x="67" y="118"/>
                        <a:pt x="67" y="118"/>
                      </a:cubicBezTo>
                      <a:cubicBezTo>
                        <a:pt x="70" y="117"/>
                        <a:pt x="72" y="116"/>
                        <a:pt x="75" y="116"/>
                      </a:cubicBezTo>
                      <a:cubicBezTo>
                        <a:pt x="76" y="116"/>
                        <a:pt x="77" y="115"/>
                        <a:pt x="78" y="115"/>
                      </a:cubicBezTo>
                      <a:cubicBezTo>
                        <a:pt x="80" y="115"/>
                        <a:pt x="79" y="116"/>
                        <a:pt x="77" y="119"/>
                      </a:cubicBezTo>
                      <a:cubicBezTo>
                        <a:pt x="78" y="120"/>
                        <a:pt x="78" y="120"/>
                        <a:pt x="79" y="120"/>
                      </a:cubicBezTo>
                      <a:cubicBezTo>
                        <a:pt x="79" y="120"/>
                        <a:pt x="79" y="120"/>
                        <a:pt x="79" y="120"/>
                      </a:cubicBezTo>
                      <a:cubicBezTo>
                        <a:pt x="80" y="120"/>
                        <a:pt x="81" y="120"/>
                        <a:pt x="82" y="120"/>
                      </a:cubicBezTo>
                      <a:cubicBezTo>
                        <a:pt x="83" y="119"/>
                        <a:pt x="84" y="119"/>
                        <a:pt x="85" y="119"/>
                      </a:cubicBezTo>
                      <a:cubicBezTo>
                        <a:pt x="85" y="119"/>
                        <a:pt x="86" y="119"/>
                        <a:pt x="85" y="120"/>
                      </a:cubicBezTo>
                      <a:cubicBezTo>
                        <a:pt x="83" y="122"/>
                        <a:pt x="78" y="122"/>
                        <a:pt x="75" y="123"/>
                      </a:cubicBezTo>
                      <a:cubicBezTo>
                        <a:pt x="72" y="123"/>
                        <a:pt x="70" y="124"/>
                        <a:pt x="68" y="125"/>
                      </a:cubicBezTo>
                      <a:cubicBezTo>
                        <a:pt x="66" y="126"/>
                        <a:pt x="59" y="127"/>
                        <a:pt x="64" y="129"/>
                      </a:cubicBezTo>
                      <a:cubicBezTo>
                        <a:pt x="65" y="130"/>
                        <a:pt x="65" y="130"/>
                        <a:pt x="66" y="130"/>
                      </a:cubicBezTo>
                      <a:cubicBezTo>
                        <a:pt x="67" y="130"/>
                        <a:pt x="70" y="129"/>
                        <a:pt x="72" y="129"/>
                      </a:cubicBezTo>
                      <a:cubicBezTo>
                        <a:pt x="74" y="129"/>
                        <a:pt x="76" y="128"/>
                        <a:pt x="78" y="128"/>
                      </a:cubicBezTo>
                      <a:cubicBezTo>
                        <a:pt x="79" y="128"/>
                        <a:pt x="80" y="128"/>
                        <a:pt x="81" y="129"/>
                      </a:cubicBezTo>
                      <a:cubicBezTo>
                        <a:pt x="82" y="132"/>
                        <a:pt x="83" y="134"/>
                        <a:pt x="86" y="134"/>
                      </a:cubicBezTo>
                      <a:cubicBezTo>
                        <a:pt x="86" y="135"/>
                        <a:pt x="87" y="135"/>
                        <a:pt x="87" y="135"/>
                      </a:cubicBezTo>
                      <a:cubicBezTo>
                        <a:pt x="88" y="135"/>
                        <a:pt x="89" y="134"/>
                        <a:pt x="90" y="134"/>
                      </a:cubicBezTo>
                      <a:cubicBezTo>
                        <a:pt x="90" y="134"/>
                        <a:pt x="91" y="134"/>
                        <a:pt x="92" y="134"/>
                      </a:cubicBezTo>
                      <a:cubicBezTo>
                        <a:pt x="93" y="134"/>
                        <a:pt x="93" y="134"/>
                        <a:pt x="94" y="134"/>
                      </a:cubicBezTo>
                      <a:cubicBezTo>
                        <a:pt x="92" y="135"/>
                        <a:pt x="91" y="136"/>
                        <a:pt x="89" y="136"/>
                      </a:cubicBezTo>
                      <a:cubicBezTo>
                        <a:pt x="87" y="136"/>
                        <a:pt x="84" y="135"/>
                        <a:pt x="82" y="135"/>
                      </a:cubicBezTo>
                      <a:cubicBezTo>
                        <a:pt x="80" y="134"/>
                        <a:pt x="78" y="133"/>
                        <a:pt x="76" y="133"/>
                      </a:cubicBezTo>
                      <a:cubicBezTo>
                        <a:pt x="76" y="133"/>
                        <a:pt x="76" y="133"/>
                        <a:pt x="75" y="133"/>
                      </a:cubicBezTo>
                      <a:cubicBezTo>
                        <a:pt x="73" y="134"/>
                        <a:pt x="71" y="135"/>
                        <a:pt x="68" y="135"/>
                      </a:cubicBezTo>
                      <a:cubicBezTo>
                        <a:pt x="67" y="136"/>
                        <a:pt x="66" y="136"/>
                        <a:pt x="65" y="136"/>
                      </a:cubicBezTo>
                      <a:cubicBezTo>
                        <a:pt x="64" y="136"/>
                        <a:pt x="64" y="136"/>
                        <a:pt x="64" y="136"/>
                      </a:cubicBezTo>
                      <a:cubicBezTo>
                        <a:pt x="63" y="136"/>
                        <a:pt x="63" y="135"/>
                        <a:pt x="62" y="135"/>
                      </a:cubicBezTo>
                      <a:cubicBezTo>
                        <a:pt x="61" y="135"/>
                        <a:pt x="61" y="135"/>
                        <a:pt x="61" y="135"/>
                      </a:cubicBezTo>
                      <a:cubicBezTo>
                        <a:pt x="59" y="135"/>
                        <a:pt x="55" y="135"/>
                        <a:pt x="55" y="136"/>
                      </a:cubicBezTo>
                      <a:cubicBezTo>
                        <a:pt x="53" y="139"/>
                        <a:pt x="58" y="143"/>
                        <a:pt x="60" y="143"/>
                      </a:cubicBezTo>
                      <a:cubicBezTo>
                        <a:pt x="61" y="143"/>
                        <a:pt x="61" y="143"/>
                        <a:pt x="62" y="143"/>
                      </a:cubicBezTo>
                      <a:cubicBezTo>
                        <a:pt x="62" y="143"/>
                        <a:pt x="63" y="143"/>
                        <a:pt x="63" y="143"/>
                      </a:cubicBezTo>
                      <a:cubicBezTo>
                        <a:pt x="64" y="143"/>
                        <a:pt x="65" y="143"/>
                        <a:pt x="65" y="143"/>
                      </a:cubicBezTo>
                      <a:cubicBezTo>
                        <a:pt x="66" y="143"/>
                        <a:pt x="67" y="143"/>
                        <a:pt x="68" y="144"/>
                      </a:cubicBezTo>
                      <a:cubicBezTo>
                        <a:pt x="69" y="144"/>
                        <a:pt x="70" y="145"/>
                        <a:pt x="71" y="146"/>
                      </a:cubicBezTo>
                      <a:cubicBezTo>
                        <a:pt x="71" y="146"/>
                        <a:pt x="71" y="146"/>
                        <a:pt x="71" y="146"/>
                      </a:cubicBezTo>
                      <a:cubicBezTo>
                        <a:pt x="72" y="146"/>
                        <a:pt x="72" y="146"/>
                        <a:pt x="73" y="146"/>
                      </a:cubicBezTo>
                      <a:cubicBezTo>
                        <a:pt x="73" y="146"/>
                        <a:pt x="74" y="146"/>
                        <a:pt x="74" y="146"/>
                      </a:cubicBezTo>
                      <a:cubicBezTo>
                        <a:pt x="74" y="146"/>
                        <a:pt x="74" y="146"/>
                        <a:pt x="74" y="146"/>
                      </a:cubicBezTo>
                      <a:cubicBezTo>
                        <a:pt x="68" y="149"/>
                        <a:pt x="59" y="147"/>
                        <a:pt x="52" y="149"/>
                      </a:cubicBezTo>
                      <a:cubicBezTo>
                        <a:pt x="50" y="149"/>
                        <a:pt x="42" y="151"/>
                        <a:pt x="49" y="154"/>
                      </a:cubicBezTo>
                      <a:cubicBezTo>
                        <a:pt x="52" y="155"/>
                        <a:pt x="57" y="154"/>
                        <a:pt x="59" y="156"/>
                      </a:cubicBezTo>
                      <a:cubicBezTo>
                        <a:pt x="56" y="157"/>
                        <a:pt x="53" y="158"/>
                        <a:pt x="50" y="158"/>
                      </a:cubicBezTo>
                      <a:cubicBezTo>
                        <a:pt x="49" y="158"/>
                        <a:pt x="49" y="158"/>
                        <a:pt x="49" y="158"/>
                      </a:cubicBezTo>
                      <a:cubicBezTo>
                        <a:pt x="47" y="157"/>
                        <a:pt x="46" y="157"/>
                        <a:pt x="45" y="157"/>
                      </a:cubicBezTo>
                      <a:cubicBezTo>
                        <a:pt x="44" y="157"/>
                        <a:pt x="43" y="157"/>
                        <a:pt x="41" y="158"/>
                      </a:cubicBezTo>
                      <a:cubicBezTo>
                        <a:pt x="43" y="160"/>
                        <a:pt x="48" y="161"/>
                        <a:pt x="51" y="161"/>
                      </a:cubicBezTo>
                      <a:cubicBezTo>
                        <a:pt x="54" y="162"/>
                        <a:pt x="55" y="164"/>
                        <a:pt x="58" y="165"/>
                      </a:cubicBezTo>
                      <a:cubicBezTo>
                        <a:pt x="59" y="165"/>
                        <a:pt x="61" y="165"/>
                        <a:pt x="62" y="166"/>
                      </a:cubicBezTo>
                      <a:cubicBezTo>
                        <a:pt x="62" y="167"/>
                        <a:pt x="61" y="167"/>
                        <a:pt x="60" y="167"/>
                      </a:cubicBezTo>
                      <a:cubicBezTo>
                        <a:pt x="59" y="167"/>
                        <a:pt x="57" y="167"/>
                        <a:pt x="57" y="167"/>
                      </a:cubicBezTo>
                      <a:cubicBezTo>
                        <a:pt x="55" y="167"/>
                        <a:pt x="52" y="166"/>
                        <a:pt x="49" y="165"/>
                      </a:cubicBezTo>
                      <a:cubicBezTo>
                        <a:pt x="46" y="165"/>
                        <a:pt x="45" y="163"/>
                        <a:pt x="42" y="163"/>
                      </a:cubicBezTo>
                      <a:cubicBezTo>
                        <a:pt x="42" y="163"/>
                        <a:pt x="42" y="163"/>
                        <a:pt x="41" y="163"/>
                      </a:cubicBezTo>
                      <a:cubicBezTo>
                        <a:pt x="39" y="164"/>
                        <a:pt x="37" y="165"/>
                        <a:pt x="35" y="166"/>
                      </a:cubicBezTo>
                      <a:cubicBezTo>
                        <a:pt x="33" y="167"/>
                        <a:pt x="30" y="168"/>
                        <a:pt x="29" y="170"/>
                      </a:cubicBezTo>
                      <a:cubicBezTo>
                        <a:pt x="27" y="173"/>
                        <a:pt x="28" y="172"/>
                        <a:pt x="31" y="174"/>
                      </a:cubicBezTo>
                      <a:cubicBezTo>
                        <a:pt x="33" y="175"/>
                        <a:pt x="28" y="176"/>
                        <a:pt x="27" y="176"/>
                      </a:cubicBezTo>
                      <a:cubicBezTo>
                        <a:pt x="22" y="177"/>
                        <a:pt x="19" y="179"/>
                        <a:pt x="14" y="180"/>
                      </a:cubicBezTo>
                      <a:cubicBezTo>
                        <a:pt x="11" y="181"/>
                        <a:pt x="10" y="184"/>
                        <a:pt x="8" y="185"/>
                      </a:cubicBezTo>
                      <a:cubicBezTo>
                        <a:pt x="7" y="185"/>
                        <a:pt x="6" y="186"/>
                        <a:pt x="6" y="186"/>
                      </a:cubicBezTo>
                      <a:cubicBezTo>
                        <a:pt x="5" y="186"/>
                        <a:pt x="4" y="185"/>
                        <a:pt x="3" y="185"/>
                      </a:cubicBezTo>
                      <a:cubicBezTo>
                        <a:pt x="2" y="185"/>
                        <a:pt x="1" y="185"/>
                        <a:pt x="1" y="185"/>
                      </a:cubicBezTo>
                      <a:cubicBezTo>
                        <a:pt x="0" y="185"/>
                        <a:pt x="0" y="185"/>
                        <a:pt x="0" y="185"/>
                      </a:cubicBezTo>
                      <a:cubicBezTo>
                        <a:pt x="6" y="189"/>
                        <a:pt x="13" y="190"/>
                        <a:pt x="20" y="190"/>
                      </a:cubicBezTo>
                      <a:cubicBezTo>
                        <a:pt x="24" y="190"/>
                        <a:pt x="27" y="189"/>
                        <a:pt x="31" y="189"/>
                      </a:cubicBezTo>
                      <a:cubicBezTo>
                        <a:pt x="34" y="189"/>
                        <a:pt x="39" y="189"/>
                        <a:pt x="43" y="189"/>
                      </a:cubicBezTo>
                      <a:cubicBezTo>
                        <a:pt x="44" y="189"/>
                        <a:pt x="46" y="189"/>
                        <a:pt x="47" y="189"/>
                      </a:cubicBezTo>
                      <a:cubicBezTo>
                        <a:pt x="44" y="190"/>
                        <a:pt x="40" y="191"/>
                        <a:pt x="36" y="192"/>
                      </a:cubicBezTo>
                      <a:cubicBezTo>
                        <a:pt x="35" y="192"/>
                        <a:pt x="33" y="192"/>
                        <a:pt x="31" y="192"/>
                      </a:cubicBezTo>
                      <a:cubicBezTo>
                        <a:pt x="30" y="193"/>
                        <a:pt x="29" y="194"/>
                        <a:pt x="27" y="195"/>
                      </a:cubicBezTo>
                      <a:cubicBezTo>
                        <a:pt x="24" y="195"/>
                        <a:pt x="21" y="197"/>
                        <a:pt x="19" y="199"/>
                      </a:cubicBezTo>
                      <a:cubicBezTo>
                        <a:pt x="17" y="200"/>
                        <a:pt x="15" y="201"/>
                        <a:pt x="15" y="203"/>
                      </a:cubicBezTo>
                      <a:cubicBezTo>
                        <a:pt x="15" y="206"/>
                        <a:pt x="13" y="206"/>
                        <a:pt x="11" y="207"/>
                      </a:cubicBezTo>
                      <a:cubicBezTo>
                        <a:pt x="15" y="208"/>
                        <a:pt x="19" y="208"/>
                        <a:pt x="24" y="208"/>
                      </a:cubicBezTo>
                      <a:cubicBezTo>
                        <a:pt x="24" y="208"/>
                        <a:pt x="24" y="208"/>
                        <a:pt x="24" y="208"/>
                      </a:cubicBezTo>
                      <a:cubicBezTo>
                        <a:pt x="24" y="208"/>
                        <a:pt x="24" y="208"/>
                        <a:pt x="24" y="208"/>
                      </a:cubicBezTo>
                      <a:cubicBezTo>
                        <a:pt x="27" y="207"/>
                        <a:pt x="32" y="205"/>
                        <a:pt x="36" y="205"/>
                      </a:cubicBezTo>
                      <a:cubicBezTo>
                        <a:pt x="36" y="205"/>
                        <a:pt x="37" y="205"/>
                        <a:pt x="37" y="205"/>
                      </a:cubicBezTo>
                      <a:cubicBezTo>
                        <a:pt x="41" y="206"/>
                        <a:pt x="44" y="209"/>
                        <a:pt x="47" y="209"/>
                      </a:cubicBezTo>
                      <a:cubicBezTo>
                        <a:pt x="49" y="210"/>
                        <a:pt x="51" y="210"/>
                        <a:pt x="53" y="210"/>
                      </a:cubicBezTo>
                      <a:cubicBezTo>
                        <a:pt x="54" y="210"/>
                        <a:pt x="55" y="210"/>
                        <a:pt x="56" y="210"/>
                      </a:cubicBezTo>
                      <a:cubicBezTo>
                        <a:pt x="57" y="210"/>
                        <a:pt x="58" y="210"/>
                        <a:pt x="58" y="210"/>
                      </a:cubicBezTo>
                      <a:cubicBezTo>
                        <a:pt x="59" y="210"/>
                        <a:pt x="60" y="210"/>
                        <a:pt x="61" y="210"/>
                      </a:cubicBezTo>
                      <a:cubicBezTo>
                        <a:pt x="62" y="210"/>
                        <a:pt x="63" y="211"/>
                        <a:pt x="63" y="211"/>
                      </a:cubicBezTo>
                      <a:cubicBezTo>
                        <a:pt x="64" y="211"/>
                        <a:pt x="64" y="210"/>
                        <a:pt x="64" y="210"/>
                      </a:cubicBezTo>
                      <a:cubicBezTo>
                        <a:pt x="65" y="209"/>
                        <a:pt x="65" y="206"/>
                        <a:pt x="64" y="205"/>
                      </a:cubicBezTo>
                      <a:cubicBezTo>
                        <a:pt x="67" y="207"/>
                        <a:pt x="68" y="212"/>
                        <a:pt x="71" y="213"/>
                      </a:cubicBezTo>
                      <a:cubicBezTo>
                        <a:pt x="74" y="213"/>
                        <a:pt x="77" y="213"/>
                        <a:pt x="80" y="213"/>
                      </a:cubicBezTo>
                      <a:cubicBezTo>
                        <a:pt x="81" y="214"/>
                        <a:pt x="84" y="215"/>
                        <a:pt x="86" y="215"/>
                      </a:cubicBezTo>
                      <a:cubicBezTo>
                        <a:pt x="87" y="215"/>
                        <a:pt x="88" y="214"/>
                        <a:pt x="88" y="214"/>
                      </a:cubicBezTo>
                      <a:cubicBezTo>
                        <a:pt x="89" y="210"/>
                        <a:pt x="89" y="208"/>
                        <a:pt x="92" y="206"/>
                      </a:cubicBezTo>
                      <a:cubicBezTo>
                        <a:pt x="95" y="204"/>
                        <a:pt x="99" y="203"/>
                        <a:pt x="101" y="200"/>
                      </a:cubicBezTo>
                      <a:cubicBezTo>
                        <a:pt x="99" y="199"/>
                        <a:pt x="96" y="197"/>
                        <a:pt x="94" y="196"/>
                      </a:cubicBezTo>
                      <a:cubicBezTo>
                        <a:pt x="93" y="196"/>
                        <a:pt x="91" y="196"/>
                        <a:pt x="90" y="196"/>
                      </a:cubicBezTo>
                      <a:cubicBezTo>
                        <a:pt x="88" y="195"/>
                        <a:pt x="89" y="193"/>
                        <a:pt x="87" y="192"/>
                      </a:cubicBezTo>
                      <a:cubicBezTo>
                        <a:pt x="93" y="193"/>
                        <a:pt x="97" y="197"/>
                        <a:pt x="102" y="198"/>
                      </a:cubicBezTo>
                      <a:cubicBezTo>
                        <a:pt x="102" y="198"/>
                        <a:pt x="102" y="198"/>
                        <a:pt x="102" y="198"/>
                      </a:cubicBezTo>
                      <a:cubicBezTo>
                        <a:pt x="106" y="198"/>
                        <a:pt x="111" y="192"/>
                        <a:pt x="110" y="188"/>
                      </a:cubicBezTo>
                      <a:cubicBezTo>
                        <a:pt x="110" y="187"/>
                        <a:pt x="107" y="185"/>
                        <a:pt x="106" y="184"/>
                      </a:cubicBezTo>
                      <a:cubicBezTo>
                        <a:pt x="100" y="181"/>
                        <a:pt x="90" y="184"/>
                        <a:pt x="84" y="180"/>
                      </a:cubicBezTo>
                      <a:cubicBezTo>
                        <a:pt x="85" y="180"/>
                        <a:pt x="86" y="180"/>
                        <a:pt x="88" y="180"/>
                      </a:cubicBezTo>
                      <a:cubicBezTo>
                        <a:pt x="93" y="180"/>
                        <a:pt x="99" y="181"/>
                        <a:pt x="104" y="182"/>
                      </a:cubicBezTo>
                      <a:cubicBezTo>
                        <a:pt x="107" y="182"/>
                        <a:pt x="108" y="183"/>
                        <a:pt x="110" y="184"/>
                      </a:cubicBezTo>
                      <a:cubicBezTo>
                        <a:pt x="111" y="185"/>
                        <a:pt x="113" y="189"/>
                        <a:pt x="115" y="189"/>
                      </a:cubicBezTo>
                      <a:cubicBezTo>
                        <a:pt x="115" y="189"/>
                        <a:pt x="115" y="189"/>
                        <a:pt x="115" y="189"/>
                      </a:cubicBezTo>
                      <a:cubicBezTo>
                        <a:pt x="119" y="189"/>
                        <a:pt x="119" y="180"/>
                        <a:pt x="119" y="178"/>
                      </a:cubicBezTo>
                      <a:cubicBezTo>
                        <a:pt x="119" y="178"/>
                        <a:pt x="121" y="177"/>
                        <a:pt x="119" y="177"/>
                      </a:cubicBezTo>
                      <a:cubicBezTo>
                        <a:pt x="119" y="176"/>
                        <a:pt x="118" y="176"/>
                        <a:pt x="118" y="176"/>
                      </a:cubicBezTo>
                      <a:cubicBezTo>
                        <a:pt x="117" y="175"/>
                        <a:pt x="116" y="175"/>
                        <a:pt x="115" y="174"/>
                      </a:cubicBezTo>
                      <a:cubicBezTo>
                        <a:pt x="114" y="173"/>
                        <a:pt x="112" y="170"/>
                        <a:pt x="110" y="170"/>
                      </a:cubicBezTo>
                      <a:cubicBezTo>
                        <a:pt x="108" y="170"/>
                        <a:pt x="105" y="169"/>
                        <a:pt x="103" y="169"/>
                      </a:cubicBezTo>
                      <a:cubicBezTo>
                        <a:pt x="105" y="167"/>
                        <a:pt x="110" y="166"/>
                        <a:pt x="107" y="164"/>
                      </a:cubicBezTo>
                      <a:cubicBezTo>
                        <a:pt x="113" y="165"/>
                        <a:pt x="116" y="173"/>
                        <a:pt x="123" y="173"/>
                      </a:cubicBezTo>
                      <a:cubicBezTo>
                        <a:pt x="123" y="173"/>
                        <a:pt x="123" y="173"/>
                        <a:pt x="123" y="173"/>
                      </a:cubicBezTo>
                      <a:cubicBezTo>
                        <a:pt x="123" y="173"/>
                        <a:pt x="123" y="173"/>
                        <a:pt x="123" y="173"/>
                      </a:cubicBezTo>
                      <a:cubicBezTo>
                        <a:pt x="123" y="173"/>
                        <a:pt x="124" y="173"/>
                        <a:pt x="125" y="173"/>
                      </a:cubicBezTo>
                      <a:cubicBezTo>
                        <a:pt x="125" y="174"/>
                        <a:pt x="126" y="174"/>
                        <a:pt x="126" y="174"/>
                      </a:cubicBezTo>
                      <a:cubicBezTo>
                        <a:pt x="126" y="174"/>
                        <a:pt x="126" y="174"/>
                        <a:pt x="126" y="174"/>
                      </a:cubicBezTo>
                      <a:cubicBezTo>
                        <a:pt x="128" y="173"/>
                        <a:pt x="128" y="169"/>
                        <a:pt x="128" y="167"/>
                      </a:cubicBezTo>
                      <a:cubicBezTo>
                        <a:pt x="128" y="165"/>
                        <a:pt x="128" y="166"/>
                        <a:pt x="130" y="164"/>
                      </a:cubicBezTo>
                      <a:cubicBezTo>
                        <a:pt x="131" y="162"/>
                        <a:pt x="131" y="162"/>
                        <a:pt x="132" y="162"/>
                      </a:cubicBezTo>
                      <a:cubicBezTo>
                        <a:pt x="132" y="162"/>
                        <a:pt x="133" y="162"/>
                        <a:pt x="134" y="162"/>
                      </a:cubicBezTo>
                      <a:cubicBezTo>
                        <a:pt x="136" y="163"/>
                        <a:pt x="137" y="163"/>
                        <a:pt x="138" y="163"/>
                      </a:cubicBezTo>
                      <a:cubicBezTo>
                        <a:pt x="139" y="163"/>
                        <a:pt x="140" y="163"/>
                        <a:pt x="141" y="162"/>
                      </a:cubicBezTo>
                      <a:cubicBezTo>
                        <a:pt x="142" y="160"/>
                        <a:pt x="143" y="157"/>
                        <a:pt x="142" y="155"/>
                      </a:cubicBezTo>
                      <a:cubicBezTo>
                        <a:pt x="142" y="153"/>
                        <a:pt x="141" y="152"/>
                        <a:pt x="140" y="151"/>
                      </a:cubicBezTo>
                      <a:cubicBezTo>
                        <a:pt x="140" y="150"/>
                        <a:pt x="143" y="150"/>
                        <a:pt x="140" y="149"/>
                      </a:cubicBezTo>
                      <a:cubicBezTo>
                        <a:pt x="139" y="148"/>
                        <a:pt x="136" y="145"/>
                        <a:pt x="135" y="145"/>
                      </a:cubicBezTo>
                      <a:cubicBezTo>
                        <a:pt x="132" y="144"/>
                        <a:pt x="130" y="143"/>
                        <a:pt x="129" y="142"/>
                      </a:cubicBezTo>
                      <a:cubicBezTo>
                        <a:pt x="138" y="142"/>
                        <a:pt x="144" y="148"/>
                        <a:pt x="153" y="149"/>
                      </a:cubicBezTo>
                      <a:cubicBezTo>
                        <a:pt x="153" y="149"/>
                        <a:pt x="153" y="149"/>
                        <a:pt x="154" y="149"/>
                      </a:cubicBezTo>
                      <a:cubicBezTo>
                        <a:pt x="157" y="149"/>
                        <a:pt x="155" y="145"/>
                        <a:pt x="156" y="143"/>
                      </a:cubicBezTo>
                      <a:cubicBezTo>
                        <a:pt x="156" y="141"/>
                        <a:pt x="158" y="140"/>
                        <a:pt x="158" y="138"/>
                      </a:cubicBezTo>
                      <a:cubicBezTo>
                        <a:pt x="157" y="137"/>
                        <a:pt x="153" y="138"/>
                        <a:pt x="156" y="136"/>
                      </a:cubicBezTo>
                      <a:cubicBezTo>
                        <a:pt x="158" y="135"/>
                        <a:pt x="156" y="133"/>
                        <a:pt x="155" y="132"/>
                      </a:cubicBezTo>
                      <a:cubicBezTo>
                        <a:pt x="161" y="133"/>
                        <a:pt x="165" y="139"/>
                        <a:pt x="170" y="140"/>
                      </a:cubicBezTo>
                      <a:cubicBezTo>
                        <a:pt x="171" y="140"/>
                        <a:pt x="171" y="140"/>
                        <a:pt x="171" y="140"/>
                      </a:cubicBezTo>
                      <a:cubicBezTo>
                        <a:pt x="174" y="140"/>
                        <a:pt x="175" y="135"/>
                        <a:pt x="173" y="133"/>
                      </a:cubicBezTo>
                      <a:cubicBezTo>
                        <a:pt x="173" y="133"/>
                        <a:pt x="172" y="133"/>
                        <a:pt x="172" y="133"/>
                      </a:cubicBezTo>
                      <a:cubicBezTo>
                        <a:pt x="171" y="133"/>
                        <a:pt x="170" y="133"/>
                        <a:pt x="170" y="132"/>
                      </a:cubicBezTo>
                      <a:cubicBezTo>
                        <a:pt x="169" y="132"/>
                        <a:pt x="168" y="130"/>
                        <a:pt x="167" y="129"/>
                      </a:cubicBezTo>
                      <a:cubicBezTo>
                        <a:pt x="172" y="130"/>
                        <a:pt x="176" y="133"/>
                        <a:pt x="181" y="133"/>
                      </a:cubicBezTo>
                      <a:cubicBezTo>
                        <a:pt x="182" y="133"/>
                        <a:pt x="182" y="133"/>
                        <a:pt x="183" y="132"/>
                      </a:cubicBezTo>
                      <a:cubicBezTo>
                        <a:pt x="188" y="131"/>
                        <a:pt x="186" y="132"/>
                        <a:pt x="187" y="127"/>
                      </a:cubicBezTo>
                      <a:cubicBezTo>
                        <a:pt x="187" y="123"/>
                        <a:pt x="194" y="123"/>
                        <a:pt x="197" y="119"/>
                      </a:cubicBezTo>
                      <a:cubicBezTo>
                        <a:pt x="191" y="119"/>
                        <a:pt x="185" y="119"/>
                        <a:pt x="179" y="118"/>
                      </a:cubicBezTo>
                      <a:cubicBezTo>
                        <a:pt x="184" y="116"/>
                        <a:pt x="190" y="116"/>
                        <a:pt x="195" y="116"/>
                      </a:cubicBezTo>
                      <a:cubicBezTo>
                        <a:pt x="201" y="116"/>
                        <a:pt x="200" y="115"/>
                        <a:pt x="205" y="110"/>
                      </a:cubicBezTo>
                      <a:cubicBezTo>
                        <a:pt x="207" y="108"/>
                        <a:pt x="219" y="103"/>
                        <a:pt x="217" y="99"/>
                      </a:cubicBezTo>
                      <a:cubicBezTo>
                        <a:pt x="218" y="100"/>
                        <a:pt x="220" y="104"/>
                        <a:pt x="221" y="104"/>
                      </a:cubicBezTo>
                      <a:cubicBezTo>
                        <a:pt x="221" y="104"/>
                        <a:pt x="221" y="104"/>
                        <a:pt x="221" y="104"/>
                      </a:cubicBezTo>
                      <a:cubicBezTo>
                        <a:pt x="224" y="104"/>
                        <a:pt x="226" y="100"/>
                        <a:pt x="227" y="98"/>
                      </a:cubicBezTo>
                      <a:cubicBezTo>
                        <a:pt x="231" y="93"/>
                        <a:pt x="237" y="92"/>
                        <a:pt x="243" y="90"/>
                      </a:cubicBezTo>
                      <a:cubicBezTo>
                        <a:pt x="259" y="87"/>
                        <a:pt x="276" y="83"/>
                        <a:pt x="290" y="80"/>
                      </a:cubicBezTo>
                      <a:cubicBezTo>
                        <a:pt x="300" y="77"/>
                        <a:pt x="309" y="72"/>
                        <a:pt x="319" y="71"/>
                      </a:cubicBezTo>
                      <a:cubicBezTo>
                        <a:pt x="329" y="70"/>
                        <a:pt x="338" y="66"/>
                        <a:pt x="347" y="63"/>
                      </a:cubicBezTo>
                      <a:cubicBezTo>
                        <a:pt x="351" y="62"/>
                        <a:pt x="355" y="62"/>
                        <a:pt x="358" y="61"/>
                      </a:cubicBezTo>
                      <a:cubicBezTo>
                        <a:pt x="364" y="59"/>
                        <a:pt x="370" y="57"/>
                        <a:pt x="376" y="55"/>
                      </a:cubicBezTo>
                      <a:cubicBezTo>
                        <a:pt x="387" y="53"/>
                        <a:pt x="397" y="46"/>
                        <a:pt x="408" y="44"/>
                      </a:cubicBezTo>
                      <a:cubicBezTo>
                        <a:pt x="410" y="43"/>
                        <a:pt x="411" y="43"/>
                        <a:pt x="413" y="43"/>
                      </a:cubicBezTo>
                      <a:cubicBezTo>
                        <a:pt x="417" y="43"/>
                        <a:pt x="414" y="43"/>
                        <a:pt x="416" y="40"/>
                      </a:cubicBezTo>
                      <a:cubicBezTo>
                        <a:pt x="419" y="36"/>
                        <a:pt x="432" y="31"/>
                        <a:pt x="431" y="25"/>
                      </a:cubicBezTo>
                      <a:cubicBezTo>
                        <a:pt x="431" y="21"/>
                        <a:pt x="438" y="20"/>
                        <a:pt x="435" y="16"/>
                      </a:cubicBezTo>
                      <a:cubicBezTo>
                        <a:pt x="433" y="14"/>
                        <a:pt x="432" y="13"/>
                        <a:pt x="430" y="12"/>
                      </a:cubicBezTo>
                      <a:cubicBezTo>
                        <a:pt x="428" y="11"/>
                        <a:pt x="431" y="9"/>
                        <a:pt x="430" y="8"/>
                      </a:cubicBezTo>
                      <a:cubicBezTo>
                        <a:pt x="430" y="8"/>
                        <a:pt x="430" y="8"/>
                        <a:pt x="430" y="8"/>
                      </a:cubicBezTo>
                      <a:cubicBezTo>
                        <a:pt x="430" y="8"/>
                        <a:pt x="426" y="7"/>
                        <a:pt x="426" y="7"/>
                      </a:cubicBezTo>
                      <a:cubicBezTo>
                        <a:pt x="424" y="6"/>
                        <a:pt x="422" y="5"/>
                        <a:pt x="422" y="5"/>
                      </a:cubicBezTo>
                      <a:cubicBezTo>
                        <a:pt x="421" y="5"/>
                        <a:pt x="422" y="3"/>
                        <a:pt x="420" y="3"/>
                      </a:cubicBezTo>
                      <a:cubicBezTo>
                        <a:pt x="420" y="3"/>
                        <a:pt x="419" y="3"/>
                        <a:pt x="419" y="3"/>
                      </a:cubicBezTo>
                      <a:cubicBezTo>
                        <a:pt x="419" y="3"/>
                        <a:pt x="418" y="3"/>
                        <a:pt x="418" y="3"/>
                      </a:cubicBezTo>
                      <a:cubicBezTo>
                        <a:pt x="415" y="3"/>
                        <a:pt x="413" y="2"/>
                        <a:pt x="410" y="2"/>
                      </a:cubicBezTo>
                      <a:cubicBezTo>
                        <a:pt x="407" y="1"/>
                        <a:pt x="403" y="0"/>
                        <a:pt x="39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203"/>
                <p:cNvSpPr/>
                <p:nvPr/>
              </p:nvSpPr>
              <p:spPr bwMode="auto">
                <a:xfrm>
                  <a:off x="8704243" y="1341383"/>
                  <a:ext cx="213737" cy="128979"/>
                </a:xfrm>
                <a:custGeom>
                  <a:gdLst>
                    <a:gd name="T0" fmla="*/ 24 w 67"/>
                    <a:gd name="T1" fmla="*/ 0 h 40"/>
                    <a:gd name="T2" fmla="*/ 16 w 67"/>
                    <a:gd name="T3" fmla="*/ 2 h 40"/>
                    <a:gd name="T4" fmla="*/ 2 w 67"/>
                    <a:gd name="T5" fmla="*/ 18 h 40"/>
                    <a:gd name="T6" fmla="*/ 0 w 67"/>
                    <a:gd name="T7" fmla="*/ 26 h 40"/>
                    <a:gd name="T8" fmla="*/ 16 w 67"/>
                    <a:gd name="T9" fmla="*/ 40 h 40"/>
                    <a:gd name="T10" fmla="*/ 39 w 67"/>
                    <a:gd name="T11" fmla="*/ 33 h 40"/>
                    <a:gd name="T12" fmla="*/ 49 w 67"/>
                    <a:gd name="T13" fmla="*/ 26 h 40"/>
                    <a:gd name="T14" fmla="*/ 51 w 67"/>
                    <a:gd name="T15" fmla="*/ 22 h 40"/>
                    <a:gd name="T16" fmla="*/ 57 w 67"/>
                    <a:gd name="T17" fmla="*/ 18 h 40"/>
                    <a:gd name="T18" fmla="*/ 55 w 67"/>
                    <a:gd name="T19" fmla="*/ 26 h 40"/>
                    <a:gd name="T20" fmla="*/ 48 w 67"/>
                    <a:gd name="T21" fmla="*/ 9 h 40"/>
                    <a:gd name="T22" fmla="*/ 24 w 67"/>
                    <a:gd name="T23"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40">
                      <a:moveTo>
                        <a:pt x="24" y="0"/>
                      </a:moveTo>
                      <a:cubicBezTo>
                        <a:pt x="22" y="0"/>
                        <a:pt x="19" y="1"/>
                        <a:pt x="16" y="2"/>
                      </a:cubicBezTo>
                      <a:cubicBezTo>
                        <a:pt x="9" y="5"/>
                        <a:pt x="3" y="10"/>
                        <a:pt x="2" y="18"/>
                      </a:cubicBezTo>
                      <a:cubicBezTo>
                        <a:pt x="1" y="20"/>
                        <a:pt x="0" y="23"/>
                        <a:pt x="0" y="26"/>
                      </a:cubicBezTo>
                      <a:cubicBezTo>
                        <a:pt x="1" y="34"/>
                        <a:pt x="10" y="36"/>
                        <a:pt x="16" y="40"/>
                      </a:cubicBezTo>
                      <a:cubicBezTo>
                        <a:pt x="24" y="38"/>
                        <a:pt x="32" y="37"/>
                        <a:pt x="39" y="33"/>
                      </a:cubicBezTo>
                      <a:cubicBezTo>
                        <a:pt x="42" y="32"/>
                        <a:pt x="47" y="29"/>
                        <a:pt x="49" y="26"/>
                      </a:cubicBezTo>
                      <a:cubicBezTo>
                        <a:pt x="50" y="24"/>
                        <a:pt x="49" y="23"/>
                        <a:pt x="51" y="22"/>
                      </a:cubicBezTo>
                      <a:cubicBezTo>
                        <a:pt x="53" y="20"/>
                        <a:pt x="55" y="19"/>
                        <a:pt x="57" y="18"/>
                      </a:cubicBezTo>
                      <a:cubicBezTo>
                        <a:pt x="57" y="21"/>
                        <a:pt x="55" y="24"/>
                        <a:pt x="55" y="26"/>
                      </a:cubicBezTo>
                      <a:cubicBezTo>
                        <a:pt x="67" y="20"/>
                        <a:pt x="55" y="12"/>
                        <a:pt x="48" y="9"/>
                      </a:cubicBezTo>
                      <a:cubicBezTo>
                        <a:pt x="40" y="5"/>
                        <a:pt x="33"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204"/>
                <p:cNvSpPr>
                  <a:spLocks noEditPoints="1"/>
                </p:cNvSpPr>
                <p:nvPr/>
              </p:nvSpPr>
              <p:spPr bwMode="auto">
                <a:xfrm>
                  <a:off x="8991682" y="700173"/>
                  <a:ext cx="563823" cy="471695"/>
                </a:xfrm>
                <a:custGeom>
                  <a:gdLst>
                    <a:gd name="T0" fmla="*/ 29 w 177"/>
                    <a:gd name="T1" fmla="*/ 34 h 148"/>
                    <a:gd name="T2" fmla="*/ 67 w 177"/>
                    <a:gd name="T3" fmla="*/ 5 h 148"/>
                    <a:gd name="T4" fmla="*/ 49 w 177"/>
                    <a:gd name="T5" fmla="*/ 20 h 148"/>
                    <a:gd name="T6" fmla="*/ 46 w 177"/>
                    <a:gd name="T7" fmla="*/ 25 h 148"/>
                    <a:gd name="T8" fmla="*/ 31 w 177"/>
                    <a:gd name="T9" fmla="*/ 31 h 148"/>
                    <a:gd name="T10" fmla="*/ 42 w 177"/>
                    <a:gd name="T11" fmla="*/ 37 h 148"/>
                    <a:gd name="T12" fmla="*/ 47 w 177"/>
                    <a:gd name="T13" fmla="*/ 39 h 148"/>
                    <a:gd name="T14" fmla="*/ 38 w 177"/>
                    <a:gd name="T15" fmla="*/ 43 h 148"/>
                    <a:gd name="T16" fmla="*/ 47 w 177"/>
                    <a:gd name="T17" fmla="*/ 42 h 148"/>
                    <a:gd name="T18" fmla="*/ 38 w 177"/>
                    <a:gd name="T19" fmla="*/ 47 h 148"/>
                    <a:gd name="T20" fmla="*/ 32 w 177"/>
                    <a:gd name="T21" fmla="*/ 59 h 148"/>
                    <a:gd name="T22" fmla="*/ 29 w 177"/>
                    <a:gd name="T23" fmla="*/ 62 h 148"/>
                    <a:gd name="T24" fmla="*/ 28 w 177"/>
                    <a:gd name="T25" fmla="*/ 69 h 148"/>
                    <a:gd name="T26" fmla="*/ 14 w 177"/>
                    <a:gd name="T27" fmla="*/ 66 h 148"/>
                    <a:gd name="T28" fmla="*/ 0 w 177"/>
                    <a:gd name="T29" fmla="*/ 83 h 148"/>
                    <a:gd name="T30" fmla="*/ 23 w 177"/>
                    <a:gd name="T31" fmla="*/ 96 h 148"/>
                    <a:gd name="T32" fmla="*/ 28 w 177"/>
                    <a:gd name="T33" fmla="*/ 97 h 148"/>
                    <a:gd name="T34" fmla="*/ 42 w 177"/>
                    <a:gd name="T35" fmla="*/ 105 h 148"/>
                    <a:gd name="T36" fmla="*/ 49 w 177"/>
                    <a:gd name="T37" fmla="*/ 100 h 148"/>
                    <a:gd name="T38" fmla="*/ 53 w 177"/>
                    <a:gd name="T39" fmla="*/ 104 h 148"/>
                    <a:gd name="T40" fmla="*/ 62 w 177"/>
                    <a:gd name="T41" fmla="*/ 106 h 148"/>
                    <a:gd name="T42" fmla="*/ 59 w 177"/>
                    <a:gd name="T43" fmla="*/ 113 h 148"/>
                    <a:gd name="T44" fmla="*/ 72 w 177"/>
                    <a:gd name="T45" fmla="*/ 123 h 148"/>
                    <a:gd name="T46" fmla="*/ 63 w 177"/>
                    <a:gd name="T47" fmla="*/ 122 h 148"/>
                    <a:gd name="T48" fmla="*/ 62 w 177"/>
                    <a:gd name="T49" fmla="*/ 124 h 148"/>
                    <a:gd name="T50" fmla="*/ 65 w 177"/>
                    <a:gd name="T51" fmla="*/ 134 h 148"/>
                    <a:gd name="T52" fmla="*/ 54 w 177"/>
                    <a:gd name="T53" fmla="*/ 133 h 148"/>
                    <a:gd name="T54" fmla="*/ 93 w 177"/>
                    <a:gd name="T55" fmla="*/ 144 h 148"/>
                    <a:gd name="T56" fmla="*/ 98 w 177"/>
                    <a:gd name="T57" fmla="*/ 144 h 148"/>
                    <a:gd name="T58" fmla="*/ 108 w 177"/>
                    <a:gd name="T59" fmla="*/ 145 h 148"/>
                    <a:gd name="T60" fmla="*/ 117 w 177"/>
                    <a:gd name="T61" fmla="*/ 141 h 148"/>
                    <a:gd name="T62" fmla="*/ 130 w 177"/>
                    <a:gd name="T63" fmla="*/ 148 h 148"/>
                    <a:gd name="T64" fmla="*/ 145 w 177"/>
                    <a:gd name="T65" fmla="*/ 148 h 148"/>
                    <a:gd name="T66" fmla="*/ 137 w 177"/>
                    <a:gd name="T67" fmla="*/ 140 h 148"/>
                    <a:gd name="T68" fmla="*/ 152 w 177"/>
                    <a:gd name="T69" fmla="*/ 142 h 148"/>
                    <a:gd name="T70" fmla="*/ 171 w 177"/>
                    <a:gd name="T71" fmla="*/ 142 h 148"/>
                    <a:gd name="T72" fmla="*/ 168 w 177"/>
                    <a:gd name="T73" fmla="*/ 136 h 148"/>
                    <a:gd name="T74" fmla="*/ 118 w 177"/>
                    <a:gd name="T75" fmla="*/ 88 h 148"/>
                    <a:gd name="T76" fmla="*/ 114 w 177"/>
                    <a:gd name="T77" fmla="*/ 69 h 148"/>
                    <a:gd name="T78" fmla="*/ 113 w 177"/>
                    <a:gd name="T79" fmla="*/ 51 h 148"/>
                    <a:gd name="T80" fmla="*/ 115 w 177"/>
                    <a:gd name="T81" fmla="*/ 44 h 148"/>
                    <a:gd name="T82" fmla="*/ 115 w 177"/>
                    <a:gd name="T83" fmla="*/ 44 h 148"/>
                    <a:gd name="T84" fmla="*/ 127 w 177"/>
                    <a:gd name="T85" fmla="*/ 38 h 148"/>
                    <a:gd name="T86" fmla="*/ 115 w 177"/>
                    <a:gd name="T87" fmla="*/ 32 h 148"/>
                    <a:gd name="T88" fmla="*/ 123 w 177"/>
                    <a:gd name="T89" fmla="*/ 32 h 148"/>
                    <a:gd name="T90" fmla="*/ 129 w 177"/>
                    <a:gd name="T91" fmla="*/ 32 h 148"/>
                    <a:gd name="T92" fmla="*/ 138 w 177"/>
                    <a:gd name="T93" fmla="*/ 24 h 148"/>
                    <a:gd name="T94" fmla="*/ 130 w 177"/>
                    <a:gd name="T95" fmla="*/ 23 h 148"/>
                    <a:gd name="T96" fmla="*/ 134 w 177"/>
                    <a:gd name="T97" fmla="*/ 20 h 148"/>
                    <a:gd name="T98" fmla="*/ 139 w 177"/>
                    <a:gd name="T99" fmla="*/ 20 h 148"/>
                    <a:gd name="T100" fmla="*/ 130 w 177"/>
                    <a:gd name="T101" fmla="*/ 17 h 148"/>
                    <a:gd name="T102" fmla="*/ 147 w 177"/>
                    <a:gd name="T103" fmla="*/ 13 h 148"/>
                    <a:gd name="T104" fmla="*/ 88 w 177"/>
                    <a:gd name="T105" fmla="*/ 0 h 1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7" h="148">
                      <a:moveTo>
                        <a:pt x="29" y="34"/>
                      </a:moveTo>
                      <a:cubicBezTo>
                        <a:pt x="29" y="34"/>
                        <a:pt x="29" y="34"/>
                        <a:pt x="29" y="34"/>
                      </a:cubicBezTo>
                      <a:cubicBezTo>
                        <a:pt x="29" y="34"/>
                        <a:pt x="29" y="34"/>
                        <a:pt x="29" y="34"/>
                      </a:cubicBezTo>
                      <a:moveTo>
                        <a:pt x="88" y="0"/>
                      </a:moveTo>
                      <a:cubicBezTo>
                        <a:pt x="88" y="0"/>
                        <a:pt x="88" y="0"/>
                        <a:pt x="88" y="0"/>
                      </a:cubicBezTo>
                      <a:cubicBezTo>
                        <a:pt x="81" y="2"/>
                        <a:pt x="74" y="4"/>
                        <a:pt x="67" y="5"/>
                      </a:cubicBezTo>
                      <a:cubicBezTo>
                        <a:pt x="62" y="7"/>
                        <a:pt x="52" y="7"/>
                        <a:pt x="50" y="12"/>
                      </a:cubicBezTo>
                      <a:cubicBezTo>
                        <a:pt x="49" y="13"/>
                        <a:pt x="50" y="16"/>
                        <a:pt x="50" y="17"/>
                      </a:cubicBezTo>
                      <a:cubicBezTo>
                        <a:pt x="52" y="20"/>
                        <a:pt x="49" y="18"/>
                        <a:pt x="49" y="20"/>
                      </a:cubicBezTo>
                      <a:cubicBezTo>
                        <a:pt x="50" y="22"/>
                        <a:pt x="53" y="26"/>
                        <a:pt x="51" y="26"/>
                      </a:cubicBezTo>
                      <a:cubicBezTo>
                        <a:pt x="50" y="26"/>
                        <a:pt x="50" y="26"/>
                        <a:pt x="49" y="25"/>
                      </a:cubicBezTo>
                      <a:cubicBezTo>
                        <a:pt x="48" y="25"/>
                        <a:pt x="47" y="25"/>
                        <a:pt x="46" y="25"/>
                      </a:cubicBezTo>
                      <a:cubicBezTo>
                        <a:pt x="45" y="25"/>
                        <a:pt x="44" y="25"/>
                        <a:pt x="42" y="25"/>
                      </a:cubicBezTo>
                      <a:cubicBezTo>
                        <a:pt x="40" y="26"/>
                        <a:pt x="38" y="27"/>
                        <a:pt x="35" y="27"/>
                      </a:cubicBezTo>
                      <a:cubicBezTo>
                        <a:pt x="34" y="28"/>
                        <a:pt x="32" y="30"/>
                        <a:pt x="31" y="31"/>
                      </a:cubicBezTo>
                      <a:cubicBezTo>
                        <a:pt x="31" y="31"/>
                        <a:pt x="29" y="34"/>
                        <a:pt x="29" y="34"/>
                      </a:cubicBezTo>
                      <a:cubicBezTo>
                        <a:pt x="29" y="34"/>
                        <a:pt x="29" y="34"/>
                        <a:pt x="29" y="34"/>
                      </a:cubicBezTo>
                      <a:cubicBezTo>
                        <a:pt x="28" y="37"/>
                        <a:pt x="39" y="37"/>
                        <a:pt x="42" y="37"/>
                      </a:cubicBezTo>
                      <a:cubicBezTo>
                        <a:pt x="45" y="37"/>
                        <a:pt x="47" y="38"/>
                        <a:pt x="50" y="39"/>
                      </a:cubicBezTo>
                      <a:cubicBezTo>
                        <a:pt x="50" y="39"/>
                        <a:pt x="50" y="39"/>
                        <a:pt x="49" y="39"/>
                      </a:cubicBezTo>
                      <a:cubicBezTo>
                        <a:pt x="49" y="39"/>
                        <a:pt x="48" y="39"/>
                        <a:pt x="47" y="39"/>
                      </a:cubicBezTo>
                      <a:cubicBezTo>
                        <a:pt x="46" y="38"/>
                        <a:pt x="45" y="38"/>
                        <a:pt x="44" y="38"/>
                      </a:cubicBezTo>
                      <a:cubicBezTo>
                        <a:pt x="43" y="38"/>
                        <a:pt x="41" y="39"/>
                        <a:pt x="40" y="39"/>
                      </a:cubicBezTo>
                      <a:cubicBezTo>
                        <a:pt x="38" y="40"/>
                        <a:pt x="39" y="41"/>
                        <a:pt x="38" y="43"/>
                      </a:cubicBezTo>
                      <a:cubicBezTo>
                        <a:pt x="38" y="43"/>
                        <a:pt x="39" y="43"/>
                        <a:pt x="39" y="43"/>
                      </a:cubicBezTo>
                      <a:cubicBezTo>
                        <a:pt x="40" y="43"/>
                        <a:pt x="42" y="43"/>
                        <a:pt x="43" y="43"/>
                      </a:cubicBezTo>
                      <a:cubicBezTo>
                        <a:pt x="44" y="42"/>
                        <a:pt x="45" y="42"/>
                        <a:pt x="47" y="42"/>
                      </a:cubicBezTo>
                      <a:cubicBezTo>
                        <a:pt x="47" y="42"/>
                        <a:pt x="47" y="42"/>
                        <a:pt x="47" y="42"/>
                      </a:cubicBezTo>
                      <a:cubicBezTo>
                        <a:pt x="46" y="43"/>
                        <a:pt x="43" y="45"/>
                        <a:pt x="42" y="46"/>
                      </a:cubicBezTo>
                      <a:cubicBezTo>
                        <a:pt x="41" y="46"/>
                        <a:pt x="39" y="46"/>
                        <a:pt x="38" y="47"/>
                      </a:cubicBezTo>
                      <a:cubicBezTo>
                        <a:pt x="35" y="49"/>
                        <a:pt x="37" y="52"/>
                        <a:pt x="37" y="55"/>
                      </a:cubicBezTo>
                      <a:cubicBezTo>
                        <a:pt x="36" y="55"/>
                        <a:pt x="35" y="55"/>
                        <a:pt x="34" y="55"/>
                      </a:cubicBezTo>
                      <a:cubicBezTo>
                        <a:pt x="37" y="58"/>
                        <a:pt x="34" y="59"/>
                        <a:pt x="32" y="59"/>
                      </a:cubicBezTo>
                      <a:cubicBezTo>
                        <a:pt x="31" y="59"/>
                        <a:pt x="30" y="59"/>
                        <a:pt x="29" y="59"/>
                      </a:cubicBezTo>
                      <a:cubicBezTo>
                        <a:pt x="29" y="60"/>
                        <a:pt x="30" y="61"/>
                        <a:pt x="31" y="62"/>
                      </a:cubicBezTo>
                      <a:cubicBezTo>
                        <a:pt x="30" y="62"/>
                        <a:pt x="29" y="62"/>
                        <a:pt x="29" y="62"/>
                      </a:cubicBezTo>
                      <a:cubicBezTo>
                        <a:pt x="28" y="62"/>
                        <a:pt x="30" y="65"/>
                        <a:pt x="31" y="66"/>
                      </a:cubicBezTo>
                      <a:cubicBezTo>
                        <a:pt x="30" y="65"/>
                        <a:pt x="29" y="65"/>
                        <a:pt x="29" y="65"/>
                      </a:cubicBezTo>
                      <a:cubicBezTo>
                        <a:pt x="27" y="65"/>
                        <a:pt x="29" y="68"/>
                        <a:pt x="28" y="69"/>
                      </a:cubicBezTo>
                      <a:cubicBezTo>
                        <a:pt x="28" y="70"/>
                        <a:pt x="27" y="70"/>
                        <a:pt x="27" y="70"/>
                      </a:cubicBezTo>
                      <a:cubicBezTo>
                        <a:pt x="25" y="70"/>
                        <a:pt x="23" y="69"/>
                        <a:pt x="22" y="69"/>
                      </a:cubicBezTo>
                      <a:cubicBezTo>
                        <a:pt x="19" y="69"/>
                        <a:pt x="18" y="69"/>
                        <a:pt x="14" y="66"/>
                      </a:cubicBezTo>
                      <a:cubicBezTo>
                        <a:pt x="14" y="66"/>
                        <a:pt x="13" y="66"/>
                        <a:pt x="13" y="66"/>
                      </a:cubicBezTo>
                      <a:cubicBezTo>
                        <a:pt x="11" y="66"/>
                        <a:pt x="8" y="68"/>
                        <a:pt x="7" y="69"/>
                      </a:cubicBezTo>
                      <a:cubicBezTo>
                        <a:pt x="3" y="72"/>
                        <a:pt x="0" y="78"/>
                        <a:pt x="0" y="83"/>
                      </a:cubicBezTo>
                      <a:cubicBezTo>
                        <a:pt x="0" y="87"/>
                        <a:pt x="5" y="93"/>
                        <a:pt x="4" y="96"/>
                      </a:cubicBezTo>
                      <a:cubicBezTo>
                        <a:pt x="6" y="97"/>
                        <a:pt x="8" y="97"/>
                        <a:pt x="10" y="97"/>
                      </a:cubicBezTo>
                      <a:cubicBezTo>
                        <a:pt x="14" y="97"/>
                        <a:pt x="18" y="96"/>
                        <a:pt x="23" y="96"/>
                      </a:cubicBezTo>
                      <a:cubicBezTo>
                        <a:pt x="23" y="96"/>
                        <a:pt x="23" y="96"/>
                        <a:pt x="23" y="96"/>
                      </a:cubicBezTo>
                      <a:cubicBezTo>
                        <a:pt x="23" y="96"/>
                        <a:pt x="24" y="96"/>
                        <a:pt x="25" y="96"/>
                      </a:cubicBezTo>
                      <a:cubicBezTo>
                        <a:pt x="26" y="97"/>
                        <a:pt x="27" y="97"/>
                        <a:pt x="28" y="97"/>
                      </a:cubicBezTo>
                      <a:cubicBezTo>
                        <a:pt x="30" y="97"/>
                        <a:pt x="32" y="96"/>
                        <a:pt x="32" y="93"/>
                      </a:cubicBezTo>
                      <a:cubicBezTo>
                        <a:pt x="34" y="96"/>
                        <a:pt x="33" y="100"/>
                        <a:pt x="35" y="102"/>
                      </a:cubicBezTo>
                      <a:cubicBezTo>
                        <a:pt x="35" y="102"/>
                        <a:pt x="41" y="105"/>
                        <a:pt x="42" y="105"/>
                      </a:cubicBezTo>
                      <a:cubicBezTo>
                        <a:pt x="42" y="105"/>
                        <a:pt x="42" y="105"/>
                        <a:pt x="42" y="105"/>
                      </a:cubicBezTo>
                      <a:cubicBezTo>
                        <a:pt x="46" y="104"/>
                        <a:pt x="44" y="100"/>
                        <a:pt x="48" y="100"/>
                      </a:cubicBezTo>
                      <a:cubicBezTo>
                        <a:pt x="48" y="100"/>
                        <a:pt x="48" y="100"/>
                        <a:pt x="49" y="100"/>
                      </a:cubicBezTo>
                      <a:cubicBezTo>
                        <a:pt x="49" y="100"/>
                        <a:pt x="49" y="100"/>
                        <a:pt x="49" y="100"/>
                      </a:cubicBezTo>
                      <a:cubicBezTo>
                        <a:pt x="51" y="100"/>
                        <a:pt x="53" y="98"/>
                        <a:pt x="55" y="97"/>
                      </a:cubicBezTo>
                      <a:cubicBezTo>
                        <a:pt x="56" y="100"/>
                        <a:pt x="53" y="102"/>
                        <a:pt x="53" y="104"/>
                      </a:cubicBezTo>
                      <a:cubicBezTo>
                        <a:pt x="53" y="104"/>
                        <a:pt x="55" y="108"/>
                        <a:pt x="56" y="109"/>
                      </a:cubicBezTo>
                      <a:cubicBezTo>
                        <a:pt x="57" y="110"/>
                        <a:pt x="57" y="110"/>
                        <a:pt x="58" y="110"/>
                      </a:cubicBezTo>
                      <a:cubicBezTo>
                        <a:pt x="59" y="110"/>
                        <a:pt x="60" y="108"/>
                        <a:pt x="62" y="106"/>
                      </a:cubicBezTo>
                      <a:cubicBezTo>
                        <a:pt x="63" y="105"/>
                        <a:pt x="66" y="105"/>
                        <a:pt x="67" y="104"/>
                      </a:cubicBezTo>
                      <a:cubicBezTo>
                        <a:pt x="65" y="105"/>
                        <a:pt x="65" y="107"/>
                        <a:pt x="63" y="109"/>
                      </a:cubicBezTo>
                      <a:cubicBezTo>
                        <a:pt x="63" y="110"/>
                        <a:pt x="59" y="112"/>
                        <a:pt x="59" y="113"/>
                      </a:cubicBezTo>
                      <a:cubicBezTo>
                        <a:pt x="58" y="116"/>
                        <a:pt x="73" y="120"/>
                        <a:pt x="75" y="121"/>
                      </a:cubicBezTo>
                      <a:cubicBezTo>
                        <a:pt x="73" y="121"/>
                        <a:pt x="71" y="121"/>
                        <a:pt x="69" y="120"/>
                      </a:cubicBezTo>
                      <a:cubicBezTo>
                        <a:pt x="70" y="121"/>
                        <a:pt x="71" y="122"/>
                        <a:pt x="72" y="123"/>
                      </a:cubicBezTo>
                      <a:cubicBezTo>
                        <a:pt x="69" y="123"/>
                        <a:pt x="66" y="122"/>
                        <a:pt x="64" y="122"/>
                      </a:cubicBezTo>
                      <a:cubicBezTo>
                        <a:pt x="64" y="122"/>
                        <a:pt x="64" y="122"/>
                        <a:pt x="64" y="122"/>
                      </a:cubicBezTo>
                      <a:cubicBezTo>
                        <a:pt x="64" y="122"/>
                        <a:pt x="63" y="122"/>
                        <a:pt x="63" y="122"/>
                      </a:cubicBezTo>
                      <a:cubicBezTo>
                        <a:pt x="63" y="122"/>
                        <a:pt x="62" y="122"/>
                        <a:pt x="62" y="122"/>
                      </a:cubicBezTo>
                      <a:cubicBezTo>
                        <a:pt x="61" y="122"/>
                        <a:pt x="61" y="122"/>
                        <a:pt x="61" y="122"/>
                      </a:cubicBezTo>
                      <a:cubicBezTo>
                        <a:pt x="60" y="122"/>
                        <a:pt x="60" y="123"/>
                        <a:pt x="62" y="124"/>
                      </a:cubicBezTo>
                      <a:cubicBezTo>
                        <a:pt x="63" y="126"/>
                        <a:pt x="66" y="127"/>
                        <a:pt x="66" y="129"/>
                      </a:cubicBezTo>
                      <a:cubicBezTo>
                        <a:pt x="67" y="131"/>
                        <a:pt x="63" y="132"/>
                        <a:pt x="65" y="134"/>
                      </a:cubicBezTo>
                      <a:cubicBezTo>
                        <a:pt x="65" y="134"/>
                        <a:pt x="65" y="134"/>
                        <a:pt x="65" y="134"/>
                      </a:cubicBezTo>
                      <a:cubicBezTo>
                        <a:pt x="63" y="134"/>
                        <a:pt x="62" y="134"/>
                        <a:pt x="60" y="134"/>
                      </a:cubicBezTo>
                      <a:cubicBezTo>
                        <a:pt x="59" y="134"/>
                        <a:pt x="57" y="133"/>
                        <a:pt x="56" y="133"/>
                      </a:cubicBezTo>
                      <a:cubicBezTo>
                        <a:pt x="55" y="133"/>
                        <a:pt x="55" y="133"/>
                        <a:pt x="54" y="133"/>
                      </a:cubicBezTo>
                      <a:cubicBezTo>
                        <a:pt x="56" y="134"/>
                        <a:pt x="57" y="135"/>
                        <a:pt x="59" y="136"/>
                      </a:cubicBezTo>
                      <a:cubicBezTo>
                        <a:pt x="62" y="137"/>
                        <a:pt x="66" y="138"/>
                        <a:pt x="70" y="138"/>
                      </a:cubicBezTo>
                      <a:cubicBezTo>
                        <a:pt x="78" y="140"/>
                        <a:pt x="86" y="141"/>
                        <a:pt x="93" y="144"/>
                      </a:cubicBezTo>
                      <a:cubicBezTo>
                        <a:pt x="92" y="142"/>
                        <a:pt x="89" y="141"/>
                        <a:pt x="88" y="138"/>
                      </a:cubicBezTo>
                      <a:cubicBezTo>
                        <a:pt x="88" y="138"/>
                        <a:pt x="89" y="137"/>
                        <a:pt x="89" y="136"/>
                      </a:cubicBezTo>
                      <a:cubicBezTo>
                        <a:pt x="92" y="139"/>
                        <a:pt x="94" y="142"/>
                        <a:pt x="98" y="144"/>
                      </a:cubicBezTo>
                      <a:cubicBezTo>
                        <a:pt x="100" y="145"/>
                        <a:pt x="102" y="147"/>
                        <a:pt x="104" y="148"/>
                      </a:cubicBezTo>
                      <a:cubicBezTo>
                        <a:pt x="105" y="148"/>
                        <a:pt x="106" y="148"/>
                        <a:pt x="106" y="148"/>
                      </a:cubicBezTo>
                      <a:cubicBezTo>
                        <a:pt x="107" y="148"/>
                        <a:pt x="107" y="147"/>
                        <a:pt x="108" y="145"/>
                      </a:cubicBezTo>
                      <a:cubicBezTo>
                        <a:pt x="110" y="143"/>
                        <a:pt x="112" y="142"/>
                        <a:pt x="112" y="141"/>
                      </a:cubicBezTo>
                      <a:cubicBezTo>
                        <a:pt x="114" y="140"/>
                        <a:pt x="114" y="140"/>
                        <a:pt x="114" y="140"/>
                      </a:cubicBezTo>
                      <a:cubicBezTo>
                        <a:pt x="115" y="140"/>
                        <a:pt x="115" y="140"/>
                        <a:pt x="117" y="141"/>
                      </a:cubicBezTo>
                      <a:cubicBezTo>
                        <a:pt x="119" y="141"/>
                        <a:pt x="123" y="143"/>
                        <a:pt x="125" y="145"/>
                      </a:cubicBezTo>
                      <a:cubicBezTo>
                        <a:pt x="124" y="145"/>
                        <a:pt x="123" y="146"/>
                        <a:pt x="122" y="146"/>
                      </a:cubicBezTo>
                      <a:cubicBezTo>
                        <a:pt x="124" y="147"/>
                        <a:pt x="128" y="148"/>
                        <a:pt x="130" y="148"/>
                      </a:cubicBezTo>
                      <a:cubicBezTo>
                        <a:pt x="129" y="146"/>
                        <a:pt x="127" y="145"/>
                        <a:pt x="126" y="143"/>
                      </a:cubicBezTo>
                      <a:cubicBezTo>
                        <a:pt x="129" y="144"/>
                        <a:pt x="132" y="146"/>
                        <a:pt x="135" y="147"/>
                      </a:cubicBezTo>
                      <a:cubicBezTo>
                        <a:pt x="138" y="148"/>
                        <a:pt x="141" y="147"/>
                        <a:pt x="145" y="148"/>
                      </a:cubicBezTo>
                      <a:cubicBezTo>
                        <a:pt x="144" y="144"/>
                        <a:pt x="144" y="143"/>
                        <a:pt x="141" y="143"/>
                      </a:cubicBezTo>
                      <a:cubicBezTo>
                        <a:pt x="140" y="143"/>
                        <a:pt x="139" y="143"/>
                        <a:pt x="138" y="143"/>
                      </a:cubicBezTo>
                      <a:cubicBezTo>
                        <a:pt x="137" y="143"/>
                        <a:pt x="137" y="141"/>
                        <a:pt x="137" y="140"/>
                      </a:cubicBezTo>
                      <a:cubicBezTo>
                        <a:pt x="147" y="143"/>
                        <a:pt x="157" y="148"/>
                        <a:pt x="167" y="148"/>
                      </a:cubicBezTo>
                      <a:cubicBezTo>
                        <a:pt x="163" y="146"/>
                        <a:pt x="163" y="146"/>
                        <a:pt x="159" y="145"/>
                      </a:cubicBezTo>
                      <a:cubicBezTo>
                        <a:pt x="156" y="145"/>
                        <a:pt x="155" y="144"/>
                        <a:pt x="152" y="142"/>
                      </a:cubicBezTo>
                      <a:cubicBezTo>
                        <a:pt x="157" y="143"/>
                        <a:pt x="162" y="145"/>
                        <a:pt x="167" y="146"/>
                      </a:cubicBezTo>
                      <a:cubicBezTo>
                        <a:pt x="168" y="146"/>
                        <a:pt x="168" y="146"/>
                        <a:pt x="169" y="146"/>
                      </a:cubicBezTo>
                      <a:cubicBezTo>
                        <a:pt x="170" y="146"/>
                        <a:pt x="171" y="144"/>
                        <a:pt x="171" y="142"/>
                      </a:cubicBezTo>
                      <a:cubicBezTo>
                        <a:pt x="172" y="141"/>
                        <a:pt x="173" y="140"/>
                        <a:pt x="174" y="140"/>
                      </a:cubicBezTo>
                      <a:cubicBezTo>
                        <a:pt x="175" y="140"/>
                        <a:pt x="176" y="141"/>
                        <a:pt x="177" y="141"/>
                      </a:cubicBezTo>
                      <a:cubicBezTo>
                        <a:pt x="173" y="138"/>
                        <a:pt x="171" y="137"/>
                        <a:pt x="168" y="136"/>
                      </a:cubicBezTo>
                      <a:cubicBezTo>
                        <a:pt x="157" y="133"/>
                        <a:pt x="148" y="124"/>
                        <a:pt x="139" y="118"/>
                      </a:cubicBezTo>
                      <a:cubicBezTo>
                        <a:pt x="132" y="113"/>
                        <a:pt x="130" y="105"/>
                        <a:pt x="125" y="98"/>
                      </a:cubicBezTo>
                      <a:cubicBezTo>
                        <a:pt x="122" y="95"/>
                        <a:pt x="120" y="92"/>
                        <a:pt x="118" y="88"/>
                      </a:cubicBezTo>
                      <a:cubicBezTo>
                        <a:pt x="116" y="83"/>
                        <a:pt x="115" y="78"/>
                        <a:pt x="110" y="78"/>
                      </a:cubicBezTo>
                      <a:cubicBezTo>
                        <a:pt x="112" y="77"/>
                        <a:pt x="113" y="77"/>
                        <a:pt x="114" y="74"/>
                      </a:cubicBezTo>
                      <a:cubicBezTo>
                        <a:pt x="114" y="73"/>
                        <a:pt x="114" y="70"/>
                        <a:pt x="114" y="69"/>
                      </a:cubicBezTo>
                      <a:cubicBezTo>
                        <a:pt x="115" y="64"/>
                        <a:pt x="120" y="66"/>
                        <a:pt x="116" y="60"/>
                      </a:cubicBezTo>
                      <a:cubicBezTo>
                        <a:pt x="115" y="59"/>
                        <a:pt x="112" y="59"/>
                        <a:pt x="114" y="56"/>
                      </a:cubicBezTo>
                      <a:cubicBezTo>
                        <a:pt x="116" y="54"/>
                        <a:pt x="116" y="53"/>
                        <a:pt x="113" y="51"/>
                      </a:cubicBezTo>
                      <a:cubicBezTo>
                        <a:pt x="111" y="50"/>
                        <a:pt x="109" y="50"/>
                        <a:pt x="107" y="50"/>
                      </a:cubicBezTo>
                      <a:cubicBezTo>
                        <a:pt x="109" y="49"/>
                        <a:pt x="113" y="49"/>
                        <a:pt x="116" y="49"/>
                      </a:cubicBezTo>
                      <a:cubicBezTo>
                        <a:pt x="119" y="49"/>
                        <a:pt x="116" y="45"/>
                        <a:pt x="115" y="44"/>
                      </a:cubicBezTo>
                      <a:cubicBezTo>
                        <a:pt x="114" y="43"/>
                        <a:pt x="112" y="43"/>
                        <a:pt x="111" y="43"/>
                      </a:cubicBezTo>
                      <a:cubicBezTo>
                        <a:pt x="111" y="43"/>
                        <a:pt x="111" y="43"/>
                        <a:pt x="111" y="43"/>
                      </a:cubicBezTo>
                      <a:cubicBezTo>
                        <a:pt x="113" y="43"/>
                        <a:pt x="114" y="43"/>
                        <a:pt x="115" y="44"/>
                      </a:cubicBezTo>
                      <a:cubicBezTo>
                        <a:pt x="117" y="44"/>
                        <a:pt x="118" y="45"/>
                        <a:pt x="119" y="45"/>
                      </a:cubicBezTo>
                      <a:cubicBezTo>
                        <a:pt x="120" y="45"/>
                        <a:pt x="120" y="44"/>
                        <a:pt x="121" y="44"/>
                      </a:cubicBezTo>
                      <a:cubicBezTo>
                        <a:pt x="125" y="41"/>
                        <a:pt x="122" y="38"/>
                        <a:pt x="127" y="38"/>
                      </a:cubicBezTo>
                      <a:cubicBezTo>
                        <a:pt x="127" y="38"/>
                        <a:pt x="128" y="38"/>
                        <a:pt x="128" y="38"/>
                      </a:cubicBezTo>
                      <a:cubicBezTo>
                        <a:pt x="126" y="34"/>
                        <a:pt x="120" y="32"/>
                        <a:pt x="116" y="32"/>
                      </a:cubicBezTo>
                      <a:cubicBezTo>
                        <a:pt x="116" y="32"/>
                        <a:pt x="115" y="32"/>
                        <a:pt x="115" y="32"/>
                      </a:cubicBezTo>
                      <a:cubicBezTo>
                        <a:pt x="116" y="31"/>
                        <a:pt x="117" y="31"/>
                        <a:pt x="118" y="31"/>
                      </a:cubicBezTo>
                      <a:cubicBezTo>
                        <a:pt x="119" y="31"/>
                        <a:pt x="120" y="31"/>
                        <a:pt x="122" y="32"/>
                      </a:cubicBezTo>
                      <a:cubicBezTo>
                        <a:pt x="122" y="32"/>
                        <a:pt x="122" y="32"/>
                        <a:pt x="123" y="32"/>
                      </a:cubicBezTo>
                      <a:cubicBezTo>
                        <a:pt x="124" y="32"/>
                        <a:pt x="125" y="31"/>
                        <a:pt x="126" y="31"/>
                      </a:cubicBezTo>
                      <a:cubicBezTo>
                        <a:pt x="126" y="31"/>
                        <a:pt x="126" y="31"/>
                        <a:pt x="126" y="31"/>
                      </a:cubicBezTo>
                      <a:cubicBezTo>
                        <a:pt x="127" y="31"/>
                        <a:pt x="128" y="31"/>
                        <a:pt x="129" y="32"/>
                      </a:cubicBezTo>
                      <a:cubicBezTo>
                        <a:pt x="130" y="32"/>
                        <a:pt x="132" y="32"/>
                        <a:pt x="133" y="32"/>
                      </a:cubicBezTo>
                      <a:cubicBezTo>
                        <a:pt x="133" y="32"/>
                        <a:pt x="134" y="32"/>
                        <a:pt x="135" y="31"/>
                      </a:cubicBezTo>
                      <a:cubicBezTo>
                        <a:pt x="137" y="30"/>
                        <a:pt x="139" y="25"/>
                        <a:pt x="138" y="24"/>
                      </a:cubicBezTo>
                      <a:cubicBezTo>
                        <a:pt x="137" y="23"/>
                        <a:pt x="136" y="23"/>
                        <a:pt x="135" y="23"/>
                      </a:cubicBezTo>
                      <a:cubicBezTo>
                        <a:pt x="134" y="23"/>
                        <a:pt x="133" y="23"/>
                        <a:pt x="133" y="23"/>
                      </a:cubicBezTo>
                      <a:cubicBezTo>
                        <a:pt x="132" y="23"/>
                        <a:pt x="131" y="23"/>
                        <a:pt x="130" y="23"/>
                      </a:cubicBezTo>
                      <a:cubicBezTo>
                        <a:pt x="130" y="23"/>
                        <a:pt x="130" y="23"/>
                        <a:pt x="130" y="23"/>
                      </a:cubicBezTo>
                      <a:cubicBezTo>
                        <a:pt x="128" y="23"/>
                        <a:pt x="122" y="23"/>
                        <a:pt x="121" y="22"/>
                      </a:cubicBezTo>
                      <a:cubicBezTo>
                        <a:pt x="124" y="21"/>
                        <a:pt x="130" y="20"/>
                        <a:pt x="134" y="20"/>
                      </a:cubicBezTo>
                      <a:cubicBezTo>
                        <a:pt x="134" y="20"/>
                        <a:pt x="134" y="20"/>
                        <a:pt x="135" y="20"/>
                      </a:cubicBezTo>
                      <a:cubicBezTo>
                        <a:pt x="135" y="20"/>
                        <a:pt x="136" y="20"/>
                        <a:pt x="137" y="20"/>
                      </a:cubicBezTo>
                      <a:cubicBezTo>
                        <a:pt x="137" y="20"/>
                        <a:pt x="138" y="20"/>
                        <a:pt x="139" y="20"/>
                      </a:cubicBezTo>
                      <a:cubicBezTo>
                        <a:pt x="140" y="20"/>
                        <a:pt x="142" y="20"/>
                        <a:pt x="143" y="18"/>
                      </a:cubicBezTo>
                      <a:cubicBezTo>
                        <a:pt x="140" y="17"/>
                        <a:pt x="137" y="17"/>
                        <a:pt x="133" y="17"/>
                      </a:cubicBezTo>
                      <a:cubicBezTo>
                        <a:pt x="132" y="17"/>
                        <a:pt x="131" y="17"/>
                        <a:pt x="130" y="17"/>
                      </a:cubicBezTo>
                      <a:cubicBezTo>
                        <a:pt x="129" y="17"/>
                        <a:pt x="128" y="17"/>
                        <a:pt x="127" y="17"/>
                      </a:cubicBezTo>
                      <a:cubicBezTo>
                        <a:pt x="127" y="17"/>
                        <a:pt x="127" y="17"/>
                        <a:pt x="127" y="17"/>
                      </a:cubicBezTo>
                      <a:cubicBezTo>
                        <a:pt x="131" y="16"/>
                        <a:pt x="145" y="16"/>
                        <a:pt x="147" y="13"/>
                      </a:cubicBezTo>
                      <a:cubicBezTo>
                        <a:pt x="136" y="9"/>
                        <a:pt x="125" y="6"/>
                        <a:pt x="114" y="3"/>
                      </a:cubicBezTo>
                      <a:cubicBezTo>
                        <a:pt x="106" y="0"/>
                        <a:pt x="97" y="1"/>
                        <a:pt x="88" y="0"/>
                      </a:cubicBezTo>
                      <a:cubicBezTo>
                        <a:pt x="88" y="0"/>
                        <a:pt x="88" y="0"/>
                        <a:pt x="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0" name="Freeform 206"/>
              <p:cNvSpPr/>
              <p:nvPr/>
            </p:nvSpPr>
            <p:spPr bwMode="auto">
              <a:xfrm>
                <a:off x="12039273" y="445900"/>
                <a:ext cx="47906" cy="14740"/>
              </a:xfrm>
              <a:custGeom>
                <a:gdLst>
                  <a:gd name="T0" fmla="*/ 9 w 15"/>
                  <a:gd name="T1" fmla="*/ 0 h 4"/>
                  <a:gd name="T2" fmla="*/ 0 w 15"/>
                  <a:gd name="T3" fmla="*/ 4 h 4"/>
                  <a:gd name="T4" fmla="*/ 9 w 15"/>
                  <a:gd name="T5" fmla="*/ 4 h 4"/>
                  <a:gd name="T6" fmla="*/ 15 w 15"/>
                  <a:gd name="T7" fmla="*/ 4 h 4"/>
                  <a:gd name="T8" fmla="*/ 9 w 15"/>
                  <a:gd name="T9" fmla="*/ 0 h 4"/>
                </a:gdLst>
                <a:cxnLst>
                  <a:cxn ang="0">
                    <a:pos x="T0" y="T1"/>
                  </a:cxn>
                  <a:cxn ang="0">
                    <a:pos x="T2" y="T3"/>
                  </a:cxn>
                  <a:cxn ang="0">
                    <a:pos x="T4" y="T5"/>
                  </a:cxn>
                  <a:cxn ang="0">
                    <a:pos x="T6" y="T7"/>
                  </a:cxn>
                  <a:cxn ang="0">
                    <a:pos x="T8" y="T9"/>
                  </a:cxn>
                </a:cxnLst>
                <a:rect l="0" t="0" r="r" b="b"/>
                <a:pathLst>
                  <a:path w="15" h="4">
                    <a:moveTo>
                      <a:pt x="9" y="0"/>
                    </a:moveTo>
                    <a:cubicBezTo>
                      <a:pt x="6" y="1"/>
                      <a:pt x="2" y="1"/>
                      <a:pt x="0" y="4"/>
                    </a:cubicBezTo>
                    <a:cubicBezTo>
                      <a:pt x="2" y="4"/>
                      <a:pt x="6" y="4"/>
                      <a:pt x="9" y="4"/>
                    </a:cubicBezTo>
                    <a:cubicBezTo>
                      <a:pt x="11" y="4"/>
                      <a:pt x="13" y="4"/>
                      <a:pt x="15" y="4"/>
                    </a:cubicBezTo>
                    <a:cubicBezTo>
                      <a:pt x="13" y="0"/>
                      <a:pt x="13"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07"/>
              <p:cNvSpPr/>
              <p:nvPr/>
            </p:nvSpPr>
            <p:spPr bwMode="auto">
              <a:xfrm>
                <a:off x="9632892" y="1190293"/>
                <a:ext cx="184256" cy="125294"/>
              </a:xfrm>
              <a:custGeom>
                <a:gdLst>
                  <a:gd name="T0" fmla="*/ 15 w 58"/>
                  <a:gd name="T1" fmla="*/ 0 h 40"/>
                  <a:gd name="T2" fmla="*/ 10 w 58"/>
                  <a:gd name="T3" fmla="*/ 2 h 40"/>
                  <a:gd name="T4" fmla="*/ 8 w 58"/>
                  <a:gd name="T5" fmla="*/ 2 h 40"/>
                  <a:gd name="T6" fmla="*/ 8 w 58"/>
                  <a:gd name="T7" fmla="*/ 3 h 40"/>
                  <a:gd name="T8" fmla="*/ 1 w 58"/>
                  <a:gd name="T9" fmla="*/ 6 h 40"/>
                  <a:gd name="T10" fmla="*/ 9 w 58"/>
                  <a:gd name="T11" fmla="*/ 13 h 40"/>
                  <a:gd name="T12" fmla="*/ 5 w 58"/>
                  <a:gd name="T13" fmla="*/ 11 h 40"/>
                  <a:gd name="T14" fmla="*/ 4 w 58"/>
                  <a:gd name="T15" fmla="*/ 11 h 40"/>
                  <a:gd name="T16" fmla="*/ 2 w 58"/>
                  <a:gd name="T17" fmla="*/ 18 h 40"/>
                  <a:gd name="T18" fmla="*/ 17 w 58"/>
                  <a:gd name="T19" fmla="*/ 31 h 40"/>
                  <a:gd name="T20" fmla="*/ 14 w 58"/>
                  <a:gd name="T21" fmla="*/ 27 h 40"/>
                  <a:gd name="T22" fmla="*/ 24 w 58"/>
                  <a:gd name="T23" fmla="*/ 30 h 40"/>
                  <a:gd name="T24" fmla="*/ 32 w 58"/>
                  <a:gd name="T25" fmla="*/ 35 h 40"/>
                  <a:gd name="T26" fmla="*/ 34 w 58"/>
                  <a:gd name="T27" fmla="*/ 38 h 40"/>
                  <a:gd name="T28" fmla="*/ 38 w 58"/>
                  <a:gd name="T29" fmla="*/ 39 h 40"/>
                  <a:gd name="T30" fmla="*/ 41 w 58"/>
                  <a:gd name="T31" fmla="*/ 40 h 40"/>
                  <a:gd name="T32" fmla="*/ 41 w 58"/>
                  <a:gd name="T33" fmla="*/ 40 h 40"/>
                  <a:gd name="T34" fmla="*/ 42 w 58"/>
                  <a:gd name="T35" fmla="*/ 39 h 40"/>
                  <a:gd name="T36" fmla="*/ 45 w 58"/>
                  <a:gd name="T37" fmla="*/ 38 h 40"/>
                  <a:gd name="T38" fmla="*/ 46 w 58"/>
                  <a:gd name="T39" fmla="*/ 38 h 40"/>
                  <a:gd name="T40" fmla="*/ 50 w 58"/>
                  <a:gd name="T41" fmla="*/ 39 h 40"/>
                  <a:gd name="T42" fmla="*/ 51 w 58"/>
                  <a:gd name="T43" fmla="*/ 39 h 40"/>
                  <a:gd name="T44" fmla="*/ 56 w 58"/>
                  <a:gd name="T45" fmla="*/ 30 h 40"/>
                  <a:gd name="T46" fmla="*/ 53 w 58"/>
                  <a:gd name="T47" fmla="*/ 25 h 40"/>
                  <a:gd name="T48" fmla="*/ 19 w 58"/>
                  <a:gd name="T49" fmla="*/ 1 h 40"/>
                  <a:gd name="T50" fmla="*/ 15 w 58"/>
                  <a:gd name="T51"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 h="40">
                    <a:moveTo>
                      <a:pt x="15" y="0"/>
                    </a:moveTo>
                    <a:cubicBezTo>
                      <a:pt x="14" y="0"/>
                      <a:pt x="12" y="0"/>
                      <a:pt x="10" y="2"/>
                    </a:cubicBezTo>
                    <a:cubicBezTo>
                      <a:pt x="10" y="2"/>
                      <a:pt x="9" y="2"/>
                      <a:pt x="8" y="2"/>
                    </a:cubicBezTo>
                    <a:cubicBezTo>
                      <a:pt x="7" y="2"/>
                      <a:pt x="8" y="3"/>
                      <a:pt x="8" y="3"/>
                    </a:cubicBezTo>
                    <a:cubicBezTo>
                      <a:pt x="6" y="4"/>
                      <a:pt x="4" y="5"/>
                      <a:pt x="1" y="6"/>
                    </a:cubicBezTo>
                    <a:cubicBezTo>
                      <a:pt x="4" y="8"/>
                      <a:pt x="7" y="10"/>
                      <a:pt x="9" y="13"/>
                    </a:cubicBezTo>
                    <a:cubicBezTo>
                      <a:pt x="8" y="12"/>
                      <a:pt x="6" y="11"/>
                      <a:pt x="5" y="11"/>
                    </a:cubicBezTo>
                    <a:cubicBezTo>
                      <a:pt x="4" y="11"/>
                      <a:pt x="4" y="11"/>
                      <a:pt x="4" y="11"/>
                    </a:cubicBezTo>
                    <a:cubicBezTo>
                      <a:pt x="0" y="11"/>
                      <a:pt x="1" y="14"/>
                      <a:pt x="2" y="18"/>
                    </a:cubicBezTo>
                    <a:cubicBezTo>
                      <a:pt x="4" y="24"/>
                      <a:pt x="12" y="29"/>
                      <a:pt x="17" y="31"/>
                    </a:cubicBezTo>
                    <a:cubicBezTo>
                      <a:pt x="16" y="29"/>
                      <a:pt x="14" y="28"/>
                      <a:pt x="14" y="27"/>
                    </a:cubicBezTo>
                    <a:cubicBezTo>
                      <a:pt x="17" y="27"/>
                      <a:pt x="21" y="28"/>
                      <a:pt x="24" y="30"/>
                    </a:cubicBezTo>
                    <a:cubicBezTo>
                      <a:pt x="26" y="31"/>
                      <a:pt x="33" y="32"/>
                      <a:pt x="32" y="35"/>
                    </a:cubicBezTo>
                    <a:cubicBezTo>
                      <a:pt x="31" y="38"/>
                      <a:pt x="32" y="38"/>
                      <a:pt x="34" y="38"/>
                    </a:cubicBezTo>
                    <a:cubicBezTo>
                      <a:pt x="35" y="39"/>
                      <a:pt x="37" y="39"/>
                      <a:pt x="38" y="39"/>
                    </a:cubicBezTo>
                    <a:cubicBezTo>
                      <a:pt x="39" y="39"/>
                      <a:pt x="40" y="40"/>
                      <a:pt x="41" y="40"/>
                    </a:cubicBezTo>
                    <a:cubicBezTo>
                      <a:pt x="41" y="40"/>
                      <a:pt x="41" y="40"/>
                      <a:pt x="41" y="40"/>
                    </a:cubicBezTo>
                    <a:cubicBezTo>
                      <a:pt x="42" y="40"/>
                      <a:pt x="41" y="39"/>
                      <a:pt x="42" y="39"/>
                    </a:cubicBezTo>
                    <a:cubicBezTo>
                      <a:pt x="43" y="39"/>
                      <a:pt x="44" y="38"/>
                      <a:pt x="45" y="38"/>
                    </a:cubicBezTo>
                    <a:cubicBezTo>
                      <a:pt x="45" y="38"/>
                      <a:pt x="45" y="38"/>
                      <a:pt x="46" y="38"/>
                    </a:cubicBezTo>
                    <a:cubicBezTo>
                      <a:pt x="48" y="39"/>
                      <a:pt x="48" y="39"/>
                      <a:pt x="50" y="39"/>
                    </a:cubicBezTo>
                    <a:cubicBezTo>
                      <a:pt x="50" y="39"/>
                      <a:pt x="51" y="39"/>
                      <a:pt x="51" y="39"/>
                    </a:cubicBezTo>
                    <a:cubicBezTo>
                      <a:pt x="58" y="38"/>
                      <a:pt x="56" y="36"/>
                      <a:pt x="56" y="30"/>
                    </a:cubicBezTo>
                    <a:cubicBezTo>
                      <a:pt x="55" y="27"/>
                      <a:pt x="55" y="27"/>
                      <a:pt x="53" y="25"/>
                    </a:cubicBezTo>
                    <a:cubicBezTo>
                      <a:pt x="41" y="18"/>
                      <a:pt x="30" y="10"/>
                      <a:pt x="19" y="1"/>
                    </a:cubicBezTo>
                    <a:cubicBezTo>
                      <a:pt x="18"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208"/>
              <p:cNvSpPr/>
              <p:nvPr/>
            </p:nvSpPr>
            <p:spPr bwMode="auto">
              <a:xfrm>
                <a:off x="9069070" y="1035518"/>
                <a:ext cx="88443" cy="70017"/>
              </a:xfrm>
              <a:custGeom>
                <a:gdLst>
                  <a:gd name="T0" fmla="*/ 11 w 28"/>
                  <a:gd name="T1" fmla="*/ 0 h 22"/>
                  <a:gd name="T2" fmla="*/ 0 w 28"/>
                  <a:gd name="T3" fmla="*/ 3 h 22"/>
                  <a:gd name="T4" fmla="*/ 22 w 28"/>
                  <a:gd name="T5" fmla="*/ 21 h 22"/>
                  <a:gd name="T6" fmla="*/ 24 w 28"/>
                  <a:gd name="T7" fmla="*/ 22 h 22"/>
                  <a:gd name="T8" fmla="*/ 24 w 28"/>
                  <a:gd name="T9" fmla="*/ 18 h 22"/>
                  <a:gd name="T10" fmla="*/ 26 w 28"/>
                  <a:gd name="T11" fmla="*/ 15 h 22"/>
                  <a:gd name="T12" fmla="*/ 28 w 28"/>
                  <a:gd name="T13" fmla="*/ 8 h 22"/>
                  <a:gd name="T14" fmla="*/ 19 w 28"/>
                  <a:gd name="T15" fmla="*/ 6 h 22"/>
                  <a:gd name="T16" fmla="*/ 15 w 28"/>
                  <a:gd name="T17" fmla="*/ 1 h 22"/>
                  <a:gd name="T18" fmla="*/ 22 w 28"/>
                  <a:gd name="T19" fmla="*/ 6 h 22"/>
                  <a:gd name="T20" fmla="*/ 11 w 28"/>
                  <a:gd name="T21"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2">
                    <a:moveTo>
                      <a:pt x="11" y="0"/>
                    </a:moveTo>
                    <a:cubicBezTo>
                      <a:pt x="7" y="0"/>
                      <a:pt x="3" y="1"/>
                      <a:pt x="0" y="3"/>
                    </a:cubicBezTo>
                    <a:cubicBezTo>
                      <a:pt x="6" y="10"/>
                      <a:pt x="14" y="15"/>
                      <a:pt x="22" y="21"/>
                    </a:cubicBezTo>
                    <a:cubicBezTo>
                      <a:pt x="22" y="22"/>
                      <a:pt x="23" y="22"/>
                      <a:pt x="24" y="22"/>
                    </a:cubicBezTo>
                    <a:cubicBezTo>
                      <a:pt x="25" y="22"/>
                      <a:pt x="25" y="20"/>
                      <a:pt x="24" y="18"/>
                    </a:cubicBezTo>
                    <a:cubicBezTo>
                      <a:pt x="23" y="15"/>
                      <a:pt x="25" y="17"/>
                      <a:pt x="26" y="15"/>
                    </a:cubicBezTo>
                    <a:cubicBezTo>
                      <a:pt x="27" y="14"/>
                      <a:pt x="28" y="11"/>
                      <a:pt x="28" y="8"/>
                    </a:cubicBezTo>
                    <a:cubicBezTo>
                      <a:pt x="27" y="7"/>
                      <a:pt x="21" y="6"/>
                      <a:pt x="19" y="6"/>
                    </a:cubicBezTo>
                    <a:cubicBezTo>
                      <a:pt x="16" y="4"/>
                      <a:pt x="16" y="4"/>
                      <a:pt x="15" y="1"/>
                    </a:cubicBezTo>
                    <a:cubicBezTo>
                      <a:pt x="18" y="2"/>
                      <a:pt x="19" y="5"/>
                      <a:pt x="22" y="6"/>
                    </a:cubicBezTo>
                    <a:cubicBezTo>
                      <a:pt x="20" y="1"/>
                      <a:pt x="16"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209"/>
              <p:cNvSpPr/>
              <p:nvPr/>
            </p:nvSpPr>
            <p:spPr bwMode="auto">
              <a:xfrm>
                <a:off x="10657354" y="678062"/>
                <a:ext cx="169515" cy="81073"/>
              </a:xfrm>
              <a:custGeom>
                <a:gdLst>
                  <a:gd name="T0" fmla="*/ 31 w 54"/>
                  <a:gd name="T1" fmla="*/ 0 h 26"/>
                  <a:gd name="T2" fmla="*/ 30 w 54"/>
                  <a:gd name="T3" fmla="*/ 0 h 26"/>
                  <a:gd name="T4" fmla="*/ 5 w 54"/>
                  <a:gd name="T5" fmla="*/ 5 h 26"/>
                  <a:gd name="T6" fmla="*/ 5 w 54"/>
                  <a:gd name="T7" fmla="*/ 16 h 26"/>
                  <a:gd name="T8" fmla="*/ 2 w 54"/>
                  <a:gd name="T9" fmla="*/ 23 h 26"/>
                  <a:gd name="T10" fmla="*/ 4 w 54"/>
                  <a:gd name="T11" fmla="*/ 26 h 26"/>
                  <a:gd name="T12" fmla="*/ 5 w 54"/>
                  <a:gd name="T13" fmla="*/ 26 h 26"/>
                  <a:gd name="T14" fmla="*/ 9 w 54"/>
                  <a:gd name="T15" fmla="*/ 23 h 26"/>
                  <a:gd name="T16" fmla="*/ 13 w 54"/>
                  <a:gd name="T17" fmla="*/ 25 h 26"/>
                  <a:gd name="T18" fmla="*/ 23 w 54"/>
                  <a:gd name="T19" fmla="*/ 22 h 26"/>
                  <a:gd name="T20" fmla="*/ 37 w 54"/>
                  <a:gd name="T21" fmla="*/ 20 h 26"/>
                  <a:gd name="T22" fmla="*/ 44 w 54"/>
                  <a:gd name="T23" fmla="*/ 18 h 26"/>
                  <a:gd name="T24" fmla="*/ 45 w 54"/>
                  <a:gd name="T25" fmla="*/ 18 h 26"/>
                  <a:gd name="T26" fmla="*/ 48 w 54"/>
                  <a:gd name="T27" fmla="*/ 18 h 26"/>
                  <a:gd name="T28" fmla="*/ 50 w 54"/>
                  <a:gd name="T29" fmla="*/ 18 h 26"/>
                  <a:gd name="T30" fmla="*/ 52 w 54"/>
                  <a:gd name="T31" fmla="*/ 17 h 26"/>
                  <a:gd name="T32" fmla="*/ 47 w 54"/>
                  <a:gd name="T33" fmla="*/ 10 h 26"/>
                  <a:gd name="T34" fmla="*/ 45 w 54"/>
                  <a:gd name="T35" fmla="*/ 10 h 26"/>
                  <a:gd name="T36" fmla="*/ 43 w 54"/>
                  <a:gd name="T37" fmla="*/ 10 h 26"/>
                  <a:gd name="T38" fmla="*/ 41 w 54"/>
                  <a:gd name="T39" fmla="*/ 11 h 26"/>
                  <a:gd name="T40" fmla="*/ 38 w 54"/>
                  <a:gd name="T41" fmla="*/ 9 h 26"/>
                  <a:gd name="T42" fmla="*/ 36 w 54"/>
                  <a:gd name="T43" fmla="*/ 4 h 26"/>
                  <a:gd name="T44" fmla="*/ 38 w 54"/>
                  <a:gd name="T45" fmla="*/ 3 h 26"/>
                  <a:gd name="T46" fmla="*/ 39 w 54"/>
                  <a:gd name="T47" fmla="*/ 3 h 26"/>
                  <a:gd name="T48" fmla="*/ 40 w 54"/>
                  <a:gd name="T49" fmla="*/ 3 h 26"/>
                  <a:gd name="T50" fmla="*/ 40 w 54"/>
                  <a:gd name="T51" fmla="*/ 3 h 26"/>
                  <a:gd name="T52" fmla="*/ 31 w 54"/>
                  <a:gd name="T53"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26">
                    <a:moveTo>
                      <a:pt x="31" y="0"/>
                    </a:moveTo>
                    <a:cubicBezTo>
                      <a:pt x="31" y="0"/>
                      <a:pt x="31" y="0"/>
                      <a:pt x="30" y="0"/>
                    </a:cubicBezTo>
                    <a:cubicBezTo>
                      <a:pt x="22" y="1"/>
                      <a:pt x="13" y="3"/>
                      <a:pt x="5" y="5"/>
                    </a:cubicBezTo>
                    <a:cubicBezTo>
                      <a:pt x="5" y="8"/>
                      <a:pt x="5" y="12"/>
                      <a:pt x="5" y="16"/>
                    </a:cubicBezTo>
                    <a:cubicBezTo>
                      <a:pt x="5" y="19"/>
                      <a:pt x="3" y="20"/>
                      <a:pt x="2" y="23"/>
                    </a:cubicBezTo>
                    <a:cubicBezTo>
                      <a:pt x="0" y="25"/>
                      <a:pt x="2" y="25"/>
                      <a:pt x="4" y="26"/>
                    </a:cubicBezTo>
                    <a:cubicBezTo>
                      <a:pt x="5" y="26"/>
                      <a:pt x="5" y="26"/>
                      <a:pt x="5" y="26"/>
                    </a:cubicBezTo>
                    <a:cubicBezTo>
                      <a:pt x="7" y="26"/>
                      <a:pt x="8" y="25"/>
                      <a:pt x="9" y="23"/>
                    </a:cubicBezTo>
                    <a:cubicBezTo>
                      <a:pt x="10" y="25"/>
                      <a:pt x="11" y="25"/>
                      <a:pt x="13" y="25"/>
                    </a:cubicBezTo>
                    <a:cubicBezTo>
                      <a:pt x="16" y="25"/>
                      <a:pt x="21" y="23"/>
                      <a:pt x="23" y="22"/>
                    </a:cubicBezTo>
                    <a:cubicBezTo>
                      <a:pt x="28" y="20"/>
                      <a:pt x="32" y="21"/>
                      <a:pt x="37" y="20"/>
                    </a:cubicBezTo>
                    <a:cubicBezTo>
                      <a:pt x="40" y="20"/>
                      <a:pt x="42" y="18"/>
                      <a:pt x="44" y="18"/>
                    </a:cubicBezTo>
                    <a:cubicBezTo>
                      <a:pt x="45" y="18"/>
                      <a:pt x="45" y="18"/>
                      <a:pt x="45" y="18"/>
                    </a:cubicBezTo>
                    <a:cubicBezTo>
                      <a:pt x="46" y="18"/>
                      <a:pt x="47" y="18"/>
                      <a:pt x="48" y="18"/>
                    </a:cubicBezTo>
                    <a:cubicBezTo>
                      <a:pt x="48" y="18"/>
                      <a:pt x="49" y="18"/>
                      <a:pt x="50" y="18"/>
                    </a:cubicBezTo>
                    <a:cubicBezTo>
                      <a:pt x="51" y="18"/>
                      <a:pt x="51" y="18"/>
                      <a:pt x="52" y="17"/>
                    </a:cubicBezTo>
                    <a:cubicBezTo>
                      <a:pt x="54" y="16"/>
                      <a:pt x="48" y="11"/>
                      <a:pt x="47" y="10"/>
                    </a:cubicBezTo>
                    <a:cubicBezTo>
                      <a:pt x="47" y="10"/>
                      <a:pt x="46" y="10"/>
                      <a:pt x="45" y="10"/>
                    </a:cubicBezTo>
                    <a:cubicBezTo>
                      <a:pt x="45" y="10"/>
                      <a:pt x="44" y="10"/>
                      <a:pt x="43" y="10"/>
                    </a:cubicBezTo>
                    <a:cubicBezTo>
                      <a:pt x="43" y="10"/>
                      <a:pt x="42" y="11"/>
                      <a:pt x="41" y="11"/>
                    </a:cubicBezTo>
                    <a:cubicBezTo>
                      <a:pt x="41" y="11"/>
                      <a:pt x="40" y="10"/>
                      <a:pt x="38" y="9"/>
                    </a:cubicBezTo>
                    <a:cubicBezTo>
                      <a:pt x="36" y="4"/>
                      <a:pt x="36" y="4"/>
                      <a:pt x="36" y="4"/>
                    </a:cubicBezTo>
                    <a:cubicBezTo>
                      <a:pt x="36" y="3"/>
                      <a:pt x="37" y="3"/>
                      <a:pt x="38" y="3"/>
                    </a:cubicBezTo>
                    <a:cubicBezTo>
                      <a:pt x="38" y="3"/>
                      <a:pt x="38" y="3"/>
                      <a:pt x="39" y="3"/>
                    </a:cubicBezTo>
                    <a:cubicBezTo>
                      <a:pt x="39" y="3"/>
                      <a:pt x="39" y="3"/>
                      <a:pt x="40" y="3"/>
                    </a:cubicBezTo>
                    <a:cubicBezTo>
                      <a:pt x="40" y="3"/>
                      <a:pt x="40" y="3"/>
                      <a:pt x="40" y="3"/>
                    </a:cubicBezTo>
                    <a:cubicBezTo>
                      <a:pt x="38" y="1"/>
                      <a:pt x="35"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10"/>
              <p:cNvSpPr/>
              <p:nvPr/>
            </p:nvSpPr>
            <p:spPr bwMode="auto">
              <a:xfrm>
                <a:off x="10465728" y="6710596"/>
                <a:ext cx="18426" cy="25796"/>
              </a:xfrm>
              <a:custGeom>
                <a:gdLst>
                  <a:gd name="T0" fmla="*/ 1 w 6"/>
                  <a:gd name="T1" fmla="*/ 0 h 8"/>
                  <a:gd name="T2" fmla="*/ 2 w 6"/>
                  <a:gd name="T3" fmla="*/ 2 h 8"/>
                  <a:gd name="T4" fmla="*/ 0 w 6"/>
                  <a:gd name="T5" fmla="*/ 1 h 8"/>
                  <a:gd name="T6" fmla="*/ 0 w 6"/>
                  <a:gd name="T7" fmla="*/ 8 h 8"/>
                  <a:gd name="T8" fmla="*/ 5 w 6"/>
                  <a:gd name="T9" fmla="*/ 2 h 8"/>
                  <a:gd name="T10" fmla="*/ 2 w 6"/>
                  <a:gd name="T11" fmla="*/ 2 h 8"/>
                  <a:gd name="T12" fmla="*/ 5 w 6"/>
                  <a:gd name="T13" fmla="*/ 2 h 8"/>
                  <a:gd name="T14" fmla="*/ 6 w 6"/>
                  <a:gd name="T15" fmla="*/ 2 h 8"/>
                  <a:gd name="T16" fmla="*/ 1 w 6"/>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1" y="0"/>
                    </a:moveTo>
                    <a:cubicBezTo>
                      <a:pt x="1" y="1"/>
                      <a:pt x="1" y="1"/>
                      <a:pt x="2" y="2"/>
                    </a:cubicBezTo>
                    <a:cubicBezTo>
                      <a:pt x="1" y="1"/>
                      <a:pt x="1" y="1"/>
                      <a:pt x="0" y="1"/>
                    </a:cubicBezTo>
                    <a:cubicBezTo>
                      <a:pt x="0" y="3"/>
                      <a:pt x="0" y="5"/>
                      <a:pt x="0" y="8"/>
                    </a:cubicBezTo>
                    <a:cubicBezTo>
                      <a:pt x="5" y="7"/>
                      <a:pt x="2" y="5"/>
                      <a:pt x="5" y="2"/>
                    </a:cubicBezTo>
                    <a:cubicBezTo>
                      <a:pt x="4" y="2"/>
                      <a:pt x="3" y="2"/>
                      <a:pt x="2" y="2"/>
                    </a:cubicBezTo>
                    <a:cubicBezTo>
                      <a:pt x="3" y="2"/>
                      <a:pt x="4" y="2"/>
                      <a:pt x="5" y="2"/>
                    </a:cubicBezTo>
                    <a:cubicBezTo>
                      <a:pt x="5" y="2"/>
                      <a:pt x="5" y="2"/>
                      <a:pt x="6" y="2"/>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211"/>
              <p:cNvSpPr/>
              <p:nvPr/>
            </p:nvSpPr>
            <p:spPr bwMode="auto">
              <a:xfrm>
                <a:off x="10443618" y="6710596"/>
                <a:ext cx="18426" cy="18426"/>
              </a:xfrm>
              <a:custGeom>
                <a:gdLst>
                  <a:gd name="T0" fmla="*/ 5 w 5"/>
                  <a:gd name="T1" fmla="*/ 0 h 6"/>
                  <a:gd name="T2" fmla="*/ 0 w 5"/>
                  <a:gd name="T3" fmla="*/ 4 h 6"/>
                  <a:gd name="T4" fmla="*/ 2 w 5"/>
                  <a:gd name="T5" fmla="*/ 6 h 6"/>
                  <a:gd name="T6" fmla="*/ 5 w 5"/>
                  <a:gd name="T7" fmla="*/ 5 h 6"/>
                  <a:gd name="T8" fmla="*/ 5 w 5"/>
                  <a:gd name="T9" fmla="*/ 0 h 6"/>
                </a:gdLst>
                <a:cxnLst>
                  <a:cxn ang="0">
                    <a:pos x="T0" y="T1"/>
                  </a:cxn>
                  <a:cxn ang="0">
                    <a:pos x="T2" y="T3"/>
                  </a:cxn>
                  <a:cxn ang="0">
                    <a:pos x="T4" y="T5"/>
                  </a:cxn>
                  <a:cxn ang="0">
                    <a:pos x="T6" y="T7"/>
                  </a:cxn>
                  <a:cxn ang="0">
                    <a:pos x="T8" y="T9"/>
                  </a:cxn>
                </a:cxnLst>
                <a:rect l="0" t="0" r="r" b="b"/>
                <a:pathLst>
                  <a:path w="5" h="6">
                    <a:moveTo>
                      <a:pt x="5" y="0"/>
                    </a:moveTo>
                    <a:cubicBezTo>
                      <a:pt x="3" y="2"/>
                      <a:pt x="0" y="1"/>
                      <a:pt x="0" y="4"/>
                    </a:cubicBezTo>
                    <a:cubicBezTo>
                      <a:pt x="0" y="5"/>
                      <a:pt x="1" y="6"/>
                      <a:pt x="2" y="6"/>
                    </a:cubicBezTo>
                    <a:cubicBezTo>
                      <a:pt x="3" y="6"/>
                      <a:pt x="4" y="6"/>
                      <a:pt x="5" y="5"/>
                    </a:cubicBezTo>
                    <a:cubicBezTo>
                      <a:pt x="5" y="3"/>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212"/>
              <p:cNvSpPr/>
              <p:nvPr/>
            </p:nvSpPr>
            <p:spPr bwMode="auto">
              <a:xfrm>
                <a:off x="10473099" y="6714281"/>
                <a:ext cx="22111" cy="22111"/>
              </a:xfrm>
              <a:custGeom>
                <a:gdLst>
                  <a:gd name="T0" fmla="*/ 6 w 7"/>
                  <a:gd name="T1" fmla="*/ 0 h 7"/>
                  <a:gd name="T2" fmla="*/ 6 w 7"/>
                  <a:gd name="T3" fmla="*/ 7 h 7"/>
                  <a:gd name="T4" fmla="*/ 6 w 7"/>
                  <a:gd name="T5" fmla="*/ 0 h 7"/>
                </a:gdLst>
                <a:cxnLst>
                  <a:cxn ang="0">
                    <a:pos x="T0" y="T1"/>
                  </a:cxn>
                  <a:cxn ang="0">
                    <a:pos x="T2" y="T3"/>
                  </a:cxn>
                  <a:cxn ang="0">
                    <a:pos x="T4" y="T5"/>
                  </a:cxn>
                </a:cxnLst>
                <a:rect l="0" t="0" r="r" b="b"/>
                <a:pathLst>
                  <a:path w="7" h="7">
                    <a:moveTo>
                      <a:pt x="6" y="0"/>
                    </a:moveTo>
                    <a:cubicBezTo>
                      <a:pt x="0" y="3"/>
                      <a:pt x="2" y="4"/>
                      <a:pt x="6" y="7"/>
                    </a:cubicBezTo>
                    <a:cubicBezTo>
                      <a:pt x="7" y="4"/>
                      <a:pt x="6" y="3"/>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213"/>
              <p:cNvSpPr/>
              <p:nvPr/>
            </p:nvSpPr>
            <p:spPr bwMode="auto">
              <a:xfrm>
                <a:off x="7267048" y="5560840"/>
                <a:ext cx="210052" cy="106868"/>
              </a:xfrm>
              <a:custGeom>
                <a:gdLst>
                  <a:gd name="T0" fmla="*/ 66 w 66"/>
                  <a:gd name="T1" fmla="*/ 0 h 33"/>
                  <a:gd name="T2" fmla="*/ 40 w 66"/>
                  <a:gd name="T3" fmla="*/ 10 h 33"/>
                  <a:gd name="T4" fmla="*/ 39 w 66"/>
                  <a:gd name="T5" fmla="*/ 10 h 33"/>
                  <a:gd name="T6" fmla="*/ 34 w 66"/>
                  <a:gd name="T7" fmla="*/ 11 h 33"/>
                  <a:gd name="T8" fmla="*/ 28 w 66"/>
                  <a:gd name="T9" fmla="*/ 11 h 33"/>
                  <a:gd name="T10" fmla="*/ 19 w 66"/>
                  <a:gd name="T11" fmla="*/ 9 h 33"/>
                  <a:gd name="T12" fmla="*/ 16 w 66"/>
                  <a:gd name="T13" fmla="*/ 14 h 33"/>
                  <a:gd name="T14" fmla="*/ 7 w 66"/>
                  <a:gd name="T15" fmla="*/ 18 h 33"/>
                  <a:gd name="T16" fmla="*/ 4 w 66"/>
                  <a:gd name="T17" fmla="*/ 20 h 33"/>
                  <a:gd name="T18" fmla="*/ 4 w 66"/>
                  <a:gd name="T19" fmla="*/ 20 h 33"/>
                  <a:gd name="T20" fmla="*/ 2 w 66"/>
                  <a:gd name="T21" fmla="*/ 20 h 33"/>
                  <a:gd name="T22" fmla="*/ 1 w 66"/>
                  <a:gd name="T23" fmla="*/ 19 h 33"/>
                  <a:gd name="T24" fmla="*/ 1 w 66"/>
                  <a:gd name="T25" fmla="*/ 19 h 33"/>
                  <a:gd name="T26" fmla="*/ 4 w 66"/>
                  <a:gd name="T27" fmla="*/ 30 h 33"/>
                  <a:gd name="T28" fmla="*/ 19 w 66"/>
                  <a:gd name="T29" fmla="*/ 33 h 33"/>
                  <a:gd name="T30" fmla="*/ 20 w 66"/>
                  <a:gd name="T31" fmla="*/ 33 h 33"/>
                  <a:gd name="T32" fmla="*/ 38 w 66"/>
                  <a:gd name="T33" fmla="*/ 27 h 33"/>
                  <a:gd name="T34" fmla="*/ 41 w 66"/>
                  <a:gd name="T35" fmla="*/ 23 h 33"/>
                  <a:gd name="T36" fmla="*/ 46 w 66"/>
                  <a:gd name="T37" fmla="*/ 23 h 33"/>
                  <a:gd name="T38" fmla="*/ 46 w 66"/>
                  <a:gd name="T39" fmla="*/ 23 h 33"/>
                  <a:gd name="T40" fmla="*/ 46 w 66"/>
                  <a:gd name="T41" fmla="*/ 20 h 33"/>
                  <a:gd name="T42" fmla="*/ 49 w 66"/>
                  <a:gd name="T43" fmla="*/ 23 h 33"/>
                  <a:gd name="T44" fmla="*/ 50 w 66"/>
                  <a:gd name="T45" fmla="*/ 23 h 33"/>
                  <a:gd name="T46" fmla="*/ 52 w 66"/>
                  <a:gd name="T47" fmla="*/ 23 h 33"/>
                  <a:gd name="T48" fmla="*/ 49 w 66"/>
                  <a:gd name="T49" fmla="*/ 12 h 33"/>
                  <a:gd name="T50" fmla="*/ 51 w 66"/>
                  <a:gd name="T51" fmla="*/ 11 h 33"/>
                  <a:gd name="T52" fmla="*/ 53 w 66"/>
                  <a:gd name="T53" fmla="*/ 9 h 33"/>
                  <a:gd name="T54" fmla="*/ 58 w 66"/>
                  <a:gd name="T55" fmla="*/ 6 h 33"/>
                  <a:gd name="T56" fmla="*/ 66 w 66"/>
                  <a:gd name="T57"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 h="33">
                    <a:moveTo>
                      <a:pt x="66" y="0"/>
                    </a:moveTo>
                    <a:cubicBezTo>
                      <a:pt x="57" y="3"/>
                      <a:pt x="48" y="7"/>
                      <a:pt x="40" y="10"/>
                    </a:cubicBezTo>
                    <a:cubicBezTo>
                      <a:pt x="39" y="10"/>
                      <a:pt x="39" y="10"/>
                      <a:pt x="39" y="10"/>
                    </a:cubicBezTo>
                    <a:cubicBezTo>
                      <a:pt x="37" y="10"/>
                      <a:pt x="36" y="10"/>
                      <a:pt x="34" y="11"/>
                    </a:cubicBezTo>
                    <a:cubicBezTo>
                      <a:pt x="32" y="11"/>
                      <a:pt x="30" y="11"/>
                      <a:pt x="28" y="11"/>
                    </a:cubicBezTo>
                    <a:cubicBezTo>
                      <a:pt x="25" y="11"/>
                      <a:pt x="21" y="10"/>
                      <a:pt x="19" y="9"/>
                    </a:cubicBezTo>
                    <a:cubicBezTo>
                      <a:pt x="19" y="13"/>
                      <a:pt x="20" y="13"/>
                      <a:pt x="16" y="14"/>
                    </a:cubicBezTo>
                    <a:cubicBezTo>
                      <a:pt x="12" y="15"/>
                      <a:pt x="9" y="16"/>
                      <a:pt x="7" y="18"/>
                    </a:cubicBezTo>
                    <a:cubicBezTo>
                      <a:pt x="6" y="19"/>
                      <a:pt x="6" y="20"/>
                      <a:pt x="4" y="20"/>
                    </a:cubicBezTo>
                    <a:cubicBezTo>
                      <a:pt x="4" y="20"/>
                      <a:pt x="4" y="20"/>
                      <a:pt x="4" y="20"/>
                    </a:cubicBezTo>
                    <a:cubicBezTo>
                      <a:pt x="4" y="20"/>
                      <a:pt x="3" y="20"/>
                      <a:pt x="2" y="20"/>
                    </a:cubicBezTo>
                    <a:cubicBezTo>
                      <a:pt x="1" y="19"/>
                      <a:pt x="1" y="19"/>
                      <a:pt x="1" y="19"/>
                    </a:cubicBezTo>
                    <a:cubicBezTo>
                      <a:pt x="1" y="19"/>
                      <a:pt x="1" y="19"/>
                      <a:pt x="1" y="19"/>
                    </a:cubicBezTo>
                    <a:cubicBezTo>
                      <a:pt x="0" y="19"/>
                      <a:pt x="3" y="29"/>
                      <a:pt x="4" y="30"/>
                    </a:cubicBezTo>
                    <a:cubicBezTo>
                      <a:pt x="8" y="33"/>
                      <a:pt x="15" y="33"/>
                      <a:pt x="19" y="33"/>
                    </a:cubicBezTo>
                    <a:cubicBezTo>
                      <a:pt x="19" y="33"/>
                      <a:pt x="20" y="33"/>
                      <a:pt x="20" y="33"/>
                    </a:cubicBezTo>
                    <a:cubicBezTo>
                      <a:pt x="26" y="33"/>
                      <a:pt x="32" y="30"/>
                      <a:pt x="38" y="27"/>
                    </a:cubicBezTo>
                    <a:cubicBezTo>
                      <a:pt x="40" y="26"/>
                      <a:pt x="40" y="24"/>
                      <a:pt x="41" y="23"/>
                    </a:cubicBezTo>
                    <a:cubicBezTo>
                      <a:pt x="43" y="23"/>
                      <a:pt x="45" y="23"/>
                      <a:pt x="46" y="23"/>
                    </a:cubicBezTo>
                    <a:cubicBezTo>
                      <a:pt x="46" y="23"/>
                      <a:pt x="46" y="23"/>
                      <a:pt x="46" y="23"/>
                    </a:cubicBezTo>
                    <a:cubicBezTo>
                      <a:pt x="48" y="23"/>
                      <a:pt x="46" y="21"/>
                      <a:pt x="46" y="20"/>
                    </a:cubicBezTo>
                    <a:cubicBezTo>
                      <a:pt x="47" y="22"/>
                      <a:pt x="47" y="23"/>
                      <a:pt x="49" y="23"/>
                    </a:cubicBezTo>
                    <a:cubicBezTo>
                      <a:pt x="49" y="23"/>
                      <a:pt x="50" y="23"/>
                      <a:pt x="50" y="23"/>
                    </a:cubicBezTo>
                    <a:cubicBezTo>
                      <a:pt x="52" y="23"/>
                      <a:pt x="52" y="23"/>
                      <a:pt x="52" y="23"/>
                    </a:cubicBezTo>
                    <a:cubicBezTo>
                      <a:pt x="50" y="19"/>
                      <a:pt x="45" y="15"/>
                      <a:pt x="49" y="12"/>
                    </a:cubicBezTo>
                    <a:cubicBezTo>
                      <a:pt x="49" y="11"/>
                      <a:pt x="51" y="11"/>
                      <a:pt x="51" y="11"/>
                    </a:cubicBezTo>
                    <a:cubicBezTo>
                      <a:pt x="52" y="11"/>
                      <a:pt x="52" y="9"/>
                      <a:pt x="53" y="9"/>
                    </a:cubicBezTo>
                    <a:cubicBezTo>
                      <a:pt x="54" y="8"/>
                      <a:pt x="56" y="7"/>
                      <a:pt x="58" y="6"/>
                    </a:cubicBezTo>
                    <a:cubicBezTo>
                      <a:pt x="60" y="5"/>
                      <a:pt x="66" y="2"/>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214"/>
              <p:cNvSpPr/>
              <p:nvPr/>
            </p:nvSpPr>
            <p:spPr bwMode="auto">
              <a:xfrm>
                <a:off x="5678764" y="3353456"/>
                <a:ext cx="40536" cy="29481"/>
              </a:xfrm>
              <a:custGeom>
                <a:gdLst>
                  <a:gd name="T0" fmla="*/ 2 w 13"/>
                  <a:gd name="T1" fmla="*/ 0 h 10"/>
                  <a:gd name="T2" fmla="*/ 2 w 13"/>
                  <a:gd name="T3" fmla="*/ 7 h 10"/>
                  <a:gd name="T4" fmla="*/ 10 w 13"/>
                  <a:gd name="T5" fmla="*/ 10 h 10"/>
                  <a:gd name="T6" fmla="*/ 11 w 13"/>
                  <a:gd name="T7" fmla="*/ 4 h 10"/>
                  <a:gd name="T8" fmla="*/ 2 w 13"/>
                  <a:gd name="T9" fmla="*/ 0 h 10"/>
                </a:gdLst>
                <a:cxnLst>
                  <a:cxn ang="0">
                    <a:pos x="T0" y="T1"/>
                  </a:cxn>
                  <a:cxn ang="0">
                    <a:pos x="T2" y="T3"/>
                  </a:cxn>
                  <a:cxn ang="0">
                    <a:pos x="T4" y="T5"/>
                  </a:cxn>
                  <a:cxn ang="0">
                    <a:pos x="T6" y="T7"/>
                  </a:cxn>
                  <a:cxn ang="0">
                    <a:pos x="T8" y="T9"/>
                  </a:cxn>
                </a:cxnLst>
                <a:rect l="0" t="0" r="r" b="b"/>
                <a:pathLst>
                  <a:path w="13" h="10">
                    <a:moveTo>
                      <a:pt x="2" y="0"/>
                    </a:moveTo>
                    <a:cubicBezTo>
                      <a:pt x="2" y="1"/>
                      <a:pt x="0" y="6"/>
                      <a:pt x="2" y="7"/>
                    </a:cubicBezTo>
                    <a:cubicBezTo>
                      <a:pt x="4" y="8"/>
                      <a:pt x="7" y="9"/>
                      <a:pt x="10" y="10"/>
                    </a:cubicBezTo>
                    <a:cubicBezTo>
                      <a:pt x="11" y="9"/>
                      <a:pt x="13" y="5"/>
                      <a:pt x="11" y="4"/>
                    </a:cubicBezTo>
                    <a:cubicBezTo>
                      <a:pt x="8" y="3"/>
                      <a:pt x="5"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215"/>
              <p:cNvSpPr/>
              <p:nvPr/>
            </p:nvSpPr>
            <p:spPr bwMode="auto">
              <a:xfrm>
                <a:off x="9772927" y="4455306"/>
                <a:ext cx="40536" cy="14740"/>
              </a:xfrm>
              <a:custGeom>
                <a:gdLst>
                  <a:gd name="T0" fmla="*/ 9 w 12"/>
                  <a:gd name="T1" fmla="*/ 0 h 5"/>
                  <a:gd name="T2" fmla="*/ 0 w 12"/>
                  <a:gd name="T3" fmla="*/ 2 h 5"/>
                  <a:gd name="T4" fmla="*/ 6 w 12"/>
                  <a:gd name="T5" fmla="*/ 4 h 5"/>
                  <a:gd name="T6" fmla="*/ 8 w 12"/>
                  <a:gd name="T7" fmla="*/ 5 h 5"/>
                  <a:gd name="T8" fmla="*/ 12 w 12"/>
                  <a:gd name="T9" fmla="*/ 1 h 5"/>
                  <a:gd name="T10" fmla="*/ 9 w 12"/>
                  <a:gd name="T11" fmla="*/ 0 h 5"/>
                </a:gdLst>
                <a:cxnLst>
                  <a:cxn ang="0">
                    <a:pos x="T0" y="T1"/>
                  </a:cxn>
                  <a:cxn ang="0">
                    <a:pos x="T2" y="T3"/>
                  </a:cxn>
                  <a:cxn ang="0">
                    <a:pos x="T4" y="T5"/>
                  </a:cxn>
                  <a:cxn ang="0">
                    <a:pos x="T6" y="T7"/>
                  </a:cxn>
                  <a:cxn ang="0">
                    <a:pos x="T8" y="T9"/>
                  </a:cxn>
                  <a:cxn ang="0">
                    <a:pos x="T10" y="T11"/>
                  </a:cxn>
                </a:cxnLst>
                <a:rect l="0" t="0" r="r" b="b"/>
                <a:pathLst>
                  <a:path w="12" h="5">
                    <a:moveTo>
                      <a:pt x="9" y="0"/>
                    </a:moveTo>
                    <a:cubicBezTo>
                      <a:pt x="5" y="0"/>
                      <a:pt x="0" y="1"/>
                      <a:pt x="0" y="2"/>
                    </a:cubicBezTo>
                    <a:cubicBezTo>
                      <a:pt x="0" y="4"/>
                      <a:pt x="4" y="3"/>
                      <a:pt x="6" y="4"/>
                    </a:cubicBezTo>
                    <a:cubicBezTo>
                      <a:pt x="7" y="5"/>
                      <a:pt x="7" y="5"/>
                      <a:pt x="8" y="5"/>
                    </a:cubicBezTo>
                    <a:cubicBezTo>
                      <a:pt x="10" y="5"/>
                      <a:pt x="11" y="4"/>
                      <a:pt x="12" y="1"/>
                    </a:cubicBezTo>
                    <a:cubicBezTo>
                      <a:pt x="12" y="0"/>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216"/>
              <p:cNvSpPr/>
              <p:nvPr/>
            </p:nvSpPr>
            <p:spPr bwMode="auto">
              <a:xfrm>
                <a:off x="4871723" y="3972555"/>
                <a:ext cx="73702" cy="84758"/>
              </a:xfrm>
              <a:custGeom>
                <a:gdLst>
                  <a:gd name="T0" fmla="*/ 9 w 23"/>
                  <a:gd name="T1" fmla="*/ 0 h 27"/>
                  <a:gd name="T2" fmla="*/ 7 w 23"/>
                  <a:gd name="T3" fmla="*/ 1 h 27"/>
                  <a:gd name="T4" fmla="*/ 5 w 23"/>
                  <a:gd name="T5" fmla="*/ 3 h 27"/>
                  <a:gd name="T6" fmla="*/ 4 w 23"/>
                  <a:gd name="T7" fmla="*/ 5 h 27"/>
                  <a:gd name="T8" fmla="*/ 4 w 23"/>
                  <a:gd name="T9" fmla="*/ 6 h 27"/>
                  <a:gd name="T10" fmla="*/ 1 w 23"/>
                  <a:gd name="T11" fmla="*/ 11 h 27"/>
                  <a:gd name="T12" fmla="*/ 1 w 23"/>
                  <a:gd name="T13" fmla="*/ 12 h 27"/>
                  <a:gd name="T14" fmla="*/ 4 w 23"/>
                  <a:gd name="T15" fmla="*/ 19 h 27"/>
                  <a:gd name="T16" fmla="*/ 3 w 23"/>
                  <a:gd name="T17" fmla="*/ 23 h 27"/>
                  <a:gd name="T18" fmla="*/ 2 w 23"/>
                  <a:gd name="T19" fmla="*/ 23 h 27"/>
                  <a:gd name="T20" fmla="*/ 5 w 23"/>
                  <a:gd name="T21" fmla="*/ 24 h 27"/>
                  <a:gd name="T22" fmla="*/ 11 w 23"/>
                  <a:gd name="T23" fmla="*/ 25 h 27"/>
                  <a:gd name="T24" fmla="*/ 13 w 23"/>
                  <a:gd name="T25" fmla="*/ 25 h 27"/>
                  <a:gd name="T26" fmla="*/ 16 w 23"/>
                  <a:gd name="T27" fmla="*/ 26 h 27"/>
                  <a:gd name="T28" fmla="*/ 18 w 23"/>
                  <a:gd name="T29" fmla="*/ 27 h 27"/>
                  <a:gd name="T30" fmla="*/ 18 w 23"/>
                  <a:gd name="T31" fmla="*/ 27 h 27"/>
                  <a:gd name="T32" fmla="*/ 18 w 23"/>
                  <a:gd name="T33" fmla="*/ 27 h 27"/>
                  <a:gd name="T34" fmla="*/ 18 w 23"/>
                  <a:gd name="T35" fmla="*/ 26 h 27"/>
                  <a:gd name="T36" fmla="*/ 21 w 23"/>
                  <a:gd name="T37" fmla="*/ 15 h 27"/>
                  <a:gd name="T38" fmla="*/ 21 w 23"/>
                  <a:gd name="T39" fmla="*/ 15 h 27"/>
                  <a:gd name="T40" fmla="*/ 20 w 23"/>
                  <a:gd name="T41" fmla="*/ 14 h 27"/>
                  <a:gd name="T42" fmla="*/ 19 w 23"/>
                  <a:gd name="T43" fmla="*/ 13 h 27"/>
                  <a:gd name="T44" fmla="*/ 17 w 23"/>
                  <a:gd name="T45" fmla="*/ 12 h 27"/>
                  <a:gd name="T46" fmla="*/ 12 w 23"/>
                  <a:gd name="T47" fmla="*/ 7 h 27"/>
                  <a:gd name="T48" fmla="*/ 12 w 23"/>
                  <a:gd name="T49" fmla="*/ 7 h 27"/>
                  <a:gd name="T50" fmla="*/ 12 w 23"/>
                  <a:gd name="T51" fmla="*/ 5 h 27"/>
                  <a:gd name="T52" fmla="*/ 10 w 23"/>
                  <a:gd name="T53" fmla="*/ 1 h 27"/>
                  <a:gd name="T54" fmla="*/ 10 w 23"/>
                  <a:gd name="T55" fmla="*/ 1 h 27"/>
                  <a:gd name="T56" fmla="*/ 9 w 23"/>
                  <a:gd name="T57"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 h="27">
                    <a:moveTo>
                      <a:pt x="9" y="0"/>
                    </a:moveTo>
                    <a:cubicBezTo>
                      <a:pt x="8" y="0"/>
                      <a:pt x="8" y="1"/>
                      <a:pt x="7" y="1"/>
                    </a:cubicBezTo>
                    <a:cubicBezTo>
                      <a:pt x="7" y="2"/>
                      <a:pt x="6" y="2"/>
                      <a:pt x="5" y="3"/>
                    </a:cubicBezTo>
                    <a:cubicBezTo>
                      <a:pt x="4" y="4"/>
                      <a:pt x="4" y="5"/>
                      <a:pt x="4" y="5"/>
                    </a:cubicBezTo>
                    <a:cubicBezTo>
                      <a:pt x="4" y="6"/>
                      <a:pt x="4" y="6"/>
                      <a:pt x="4" y="6"/>
                    </a:cubicBezTo>
                    <a:cubicBezTo>
                      <a:pt x="2" y="8"/>
                      <a:pt x="2" y="10"/>
                      <a:pt x="1" y="11"/>
                    </a:cubicBezTo>
                    <a:cubicBezTo>
                      <a:pt x="1" y="12"/>
                      <a:pt x="1" y="12"/>
                      <a:pt x="1" y="12"/>
                    </a:cubicBezTo>
                    <a:cubicBezTo>
                      <a:pt x="0" y="12"/>
                      <a:pt x="3" y="16"/>
                      <a:pt x="4" y="19"/>
                    </a:cubicBezTo>
                    <a:cubicBezTo>
                      <a:pt x="4" y="20"/>
                      <a:pt x="4" y="22"/>
                      <a:pt x="3" y="23"/>
                    </a:cubicBezTo>
                    <a:cubicBezTo>
                      <a:pt x="2" y="23"/>
                      <a:pt x="2" y="23"/>
                      <a:pt x="2" y="23"/>
                    </a:cubicBezTo>
                    <a:cubicBezTo>
                      <a:pt x="3" y="24"/>
                      <a:pt x="4" y="24"/>
                      <a:pt x="5" y="24"/>
                    </a:cubicBezTo>
                    <a:cubicBezTo>
                      <a:pt x="7" y="25"/>
                      <a:pt x="9" y="25"/>
                      <a:pt x="11" y="25"/>
                    </a:cubicBezTo>
                    <a:cubicBezTo>
                      <a:pt x="12" y="25"/>
                      <a:pt x="12" y="25"/>
                      <a:pt x="13" y="25"/>
                    </a:cubicBezTo>
                    <a:cubicBezTo>
                      <a:pt x="14" y="25"/>
                      <a:pt x="15" y="25"/>
                      <a:pt x="16" y="26"/>
                    </a:cubicBezTo>
                    <a:cubicBezTo>
                      <a:pt x="17" y="26"/>
                      <a:pt x="17" y="26"/>
                      <a:pt x="18" y="27"/>
                    </a:cubicBezTo>
                    <a:cubicBezTo>
                      <a:pt x="18" y="27"/>
                      <a:pt x="18" y="27"/>
                      <a:pt x="18" y="27"/>
                    </a:cubicBezTo>
                    <a:cubicBezTo>
                      <a:pt x="18" y="27"/>
                      <a:pt x="18" y="27"/>
                      <a:pt x="18" y="27"/>
                    </a:cubicBezTo>
                    <a:cubicBezTo>
                      <a:pt x="18" y="26"/>
                      <a:pt x="18" y="26"/>
                      <a:pt x="18" y="26"/>
                    </a:cubicBezTo>
                    <a:cubicBezTo>
                      <a:pt x="16" y="24"/>
                      <a:pt x="23" y="18"/>
                      <a:pt x="21" y="15"/>
                    </a:cubicBezTo>
                    <a:cubicBezTo>
                      <a:pt x="21" y="15"/>
                      <a:pt x="21" y="15"/>
                      <a:pt x="21" y="15"/>
                    </a:cubicBezTo>
                    <a:cubicBezTo>
                      <a:pt x="20" y="14"/>
                      <a:pt x="20" y="14"/>
                      <a:pt x="20" y="14"/>
                    </a:cubicBezTo>
                    <a:cubicBezTo>
                      <a:pt x="20" y="14"/>
                      <a:pt x="19" y="13"/>
                      <a:pt x="19" y="13"/>
                    </a:cubicBezTo>
                    <a:cubicBezTo>
                      <a:pt x="18" y="13"/>
                      <a:pt x="17" y="12"/>
                      <a:pt x="17" y="12"/>
                    </a:cubicBezTo>
                    <a:cubicBezTo>
                      <a:pt x="15" y="11"/>
                      <a:pt x="13" y="9"/>
                      <a:pt x="12" y="7"/>
                    </a:cubicBezTo>
                    <a:cubicBezTo>
                      <a:pt x="12" y="7"/>
                      <a:pt x="12" y="7"/>
                      <a:pt x="12" y="7"/>
                    </a:cubicBezTo>
                    <a:cubicBezTo>
                      <a:pt x="12" y="6"/>
                      <a:pt x="12" y="5"/>
                      <a:pt x="12" y="5"/>
                    </a:cubicBezTo>
                    <a:cubicBezTo>
                      <a:pt x="12" y="3"/>
                      <a:pt x="11" y="2"/>
                      <a:pt x="10" y="1"/>
                    </a:cubicBezTo>
                    <a:cubicBezTo>
                      <a:pt x="10" y="1"/>
                      <a:pt x="10" y="1"/>
                      <a:pt x="10" y="1"/>
                    </a:cubicBezTo>
                    <a:cubicBezTo>
                      <a:pt x="10" y="1"/>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217"/>
              <p:cNvSpPr/>
              <p:nvPr/>
            </p:nvSpPr>
            <p:spPr bwMode="auto">
              <a:xfrm>
                <a:off x="6448953" y="2863336"/>
                <a:ext cx="18426" cy="11055"/>
              </a:xfrm>
              <a:custGeom>
                <a:gdLst>
                  <a:gd name="T0" fmla="*/ 0 w 6"/>
                  <a:gd name="T1" fmla="*/ 0 h 3"/>
                  <a:gd name="T2" fmla="*/ 4 w 6"/>
                  <a:gd name="T3" fmla="*/ 3 h 3"/>
                  <a:gd name="T4" fmla="*/ 6 w 6"/>
                  <a:gd name="T5" fmla="*/ 3 h 3"/>
                  <a:gd name="T6" fmla="*/ 0 w 6"/>
                  <a:gd name="T7" fmla="*/ 0 h 3"/>
                </a:gdLst>
                <a:cxnLst>
                  <a:cxn ang="0">
                    <a:pos x="T0" y="T1"/>
                  </a:cxn>
                  <a:cxn ang="0">
                    <a:pos x="T2" y="T3"/>
                  </a:cxn>
                  <a:cxn ang="0">
                    <a:pos x="T4" y="T5"/>
                  </a:cxn>
                  <a:cxn ang="0">
                    <a:pos x="T6" y="T7"/>
                  </a:cxn>
                </a:cxnLst>
                <a:rect l="0" t="0" r="r" b="b"/>
                <a:pathLst>
                  <a:path w="6" h="3">
                    <a:moveTo>
                      <a:pt x="0" y="0"/>
                    </a:moveTo>
                    <a:cubicBezTo>
                      <a:pt x="2" y="2"/>
                      <a:pt x="2" y="3"/>
                      <a:pt x="4" y="3"/>
                    </a:cubicBezTo>
                    <a:cubicBezTo>
                      <a:pt x="4" y="3"/>
                      <a:pt x="5" y="3"/>
                      <a:pt x="6" y="3"/>
                    </a:cubicBezTo>
                    <a:cubicBezTo>
                      <a:pt x="4"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218"/>
              <p:cNvSpPr/>
              <p:nvPr/>
            </p:nvSpPr>
            <p:spPr bwMode="auto">
              <a:xfrm>
                <a:off x="6434212" y="2914927"/>
                <a:ext cx="33166" cy="14740"/>
              </a:xfrm>
              <a:custGeom>
                <a:gdLst>
                  <a:gd name="T0" fmla="*/ 5 w 10"/>
                  <a:gd name="T1" fmla="*/ 0 h 5"/>
                  <a:gd name="T2" fmla="*/ 3 w 10"/>
                  <a:gd name="T3" fmla="*/ 4 h 5"/>
                  <a:gd name="T4" fmla="*/ 8 w 10"/>
                  <a:gd name="T5" fmla="*/ 5 h 5"/>
                  <a:gd name="T6" fmla="*/ 8 w 10"/>
                  <a:gd name="T7" fmla="*/ 2 h 5"/>
                  <a:gd name="T8" fmla="*/ 5 w 10"/>
                  <a:gd name="T9" fmla="*/ 0 h 5"/>
                </a:gdLst>
                <a:cxnLst>
                  <a:cxn ang="0">
                    <a:pos x="T0" y="T1"/>
                  </a:cxn>
                  <a:cxn ang="0">
                    <a:pos x="T2" y="T3"/>
                  </a:cxn>
                  <a:cxn ang="0">
                    <a:pos x="T4" y="T5"/>
                  </a:cxn>
                  <a:cxn ang="0">
                    <a:pos x="T6" y="T7"/>
                  </a:cxn>
                  <a:cxn ang="0">
                    <a:pos x="T8" y="T9"/>
                  </a:cxn>
                </a:cxnLst>
                <a:rect l="0" t="0" r="r" b="b"/>
                <a:pathLst>
                  <a:path w="10" h="5">
                    <a:moveTo>
                      <a:pt x="5" y="0"/>
                    </a:moveTo>
                    <a:cubicBezTo>
                      <a:pt x="2" y="0"/>
                      <a:pt x="0" y="3"/>
                      <a:pt x="3" y="4"/>
                    </a:cubicBezTo>
                    <a:cubicBezTo>
                      <a:pt x="5" y="5"/>
                      <a:pt x="7" y="5"/>
                      <a:pt x="8" y="5"/>
                    </a:cubicBezTo>
                    <a:cubicBezTo>
                      <a:pt x="10" y="5"/>
                      <a:pt x="10" y="4"/>
                      <a:pt x="8" y="2"/>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219"/>
              <p:cNvSpPr/>
              <p:nvPr/>
            </p:nvSpPr>
            <p:spPr bwMode="auto">
              <a:xfrm flipH="1">
                <a:off x="7355491" y="6272068"/>
                <a:ext cx="0" cy="3685"/>
              </a:xfrm>
              <a:custGeom>
                <a:gdLst>
                  <a:gd name="T0" fmla="*/ 0 h 1"/>
                  <a:gd name="T1" fmla="*/ 1 h 1"/>
                  <a:gd name="T2" fmla="*/ 0 h 1"/>
                  <a:gd name="T3" fmla="*/ 0 h 1"/>
                </a:gdLst>
                <a:cxnLst>
                  <a:cxn ang="0">
                    <a:pos x="0" y="T0"/>
                  </a:cxn>
                  <a:cxn ang="0">
                    <a:pos x="0" y="T1"/>
                  </a:cxn>
                  <a:cxn ang="0">
                    <a:pos x="0" y="T2"/>
                  </a:cxn>
                  <a:cxn ang="0">
                    <a:pos x="0" y="T3"/>
                  </a:cxn>
                </a:cxnLst>
                <a:rect l="0" t="0" r="r" b="b"/>
                <a:pathLst>
                  <a:path h="1">
                    <a:moveTo>
                      <a:pt x="0" y="0"/>
                    </a:move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220"/>
              <p:cNvSpPr/>
              <p:nvPr/>
            </p:nvSpPr>
            <p:spPr bwMode="auto">
              <a:xfrm flipH="1">
                <a:off x="7355491" y="6272068"/>
                <a:ext cx="0" cy="3685"/>
              </a:xfrm>
              <a:custGeom>
                <a:gdLst>
                  <a:gd name="T0" fmla="*/ 0 h 1"/>
                  <a:gd name="T1" fmla="*/ 1 h 1"/>
                  <a:gd name="T2" fmla="*/ 0 h 1"/>
                  <a:gd name="T3" fmla="*/ 0 h 1"/>
                </a:gdLst>
                <a:cxnLst>
                  <a:cxn ang="0">
                    <a:pos x="0" y="T0"/>
                  </a:cxn>
                  <a:cxn ang="0">
                    <a:pos x="0" y="T1"/>
                  </a:cxn>
                  <a:cxn ang="0">
                    <a:pos x="0" y="T2"/>
                  </a:cxn>
                  <a:cxn ang="0">
                    <a:pos x="0" y="T3"/>
                  </a:cxn>
                </a:cxnLst>
                <a:rect l="0" t="0" r="r" b="b"/>
                <a:pathLst>
                  <a:path h="1">
                    <a:moveTo>
                      <a:pt x="0" y="0"/>
                    </a:moveTo>
                    <a:lnTo>
                      <a:pt x="0" y="1"/>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221"/>
              <p:cNvSpPr/>
              <p:nvPr/>
            </p:nvSpPr>
            <p:spPr bwMode="auto">
              <a:xfrm>
                <a:off x="7326010" y="6014110"/>
                <a:ext cx="29481" cy="7370"/>
              </a:xfrm>
              <a:custGeom>
                <a:gdLst>
                  <a:gd name="T0" fmla="*/ 7 w 9"/>
                  <a:gd name="T1" fmla="*/ 0 h 2"/>
                  <a:gd name="T2" fmla="*/ 0 w 9"/>
                  <a:gd name="T3" fmla="*/ 2 h 2"/>
                  <a:gd name="T4" fmla="*/ 9 w 9"/>
                  <a:gd name="T5" fmla="*/ 0 h 2"/>
                  <a:gd name="T6" fmla="*/ 7 w 9"/>
                  <a:gd name="T7" fmla="*/ 0 h 2"/>
                </a:gdLst>
                <a:cxnLst>
                  <a:cxn ang="0">
                    <a:pos x="T0" y="T1"/>
                  </a:cxn>
                  <a:cxn ang="0">
                    <a:pos x="T2" y="T3"/>
                  </a:cxn>
                  <a:cxn ang="0">
                    <a:pos x="T4" y="T5"/>
                  </a:cxn>
                  <a:cxn ang="0">
                    <a:pos x="T6" y="T7"/>
                  </a:cxn>
                </a:cxnLst>
                <a:rect l="0" t="0" r="r" b="b"/>
                <a:pathLst>
                  <a:path w="9" h="2">
                    <a:moveTo>
                      <a:pt x="7" y="0"/>
                    </a:moveTo>
                    <a:cubicBezTo>
                      <a:pt x="4" y="0"/>
                      <a:pt x="3" y="1"/>
                      <a:pt x="0" y="2"/>
                    </a:cubicBezTo>
                    <a:cubicBezTo>
                      <a:pt x="3" y="1"/>
                      <a:pt x="6"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222"/>
              <p:cNvSpPr/>
              <p:nvPr/>
            </p:nvSpPr>
            <p:spPr bwMode="auto">
              <a:xfrm>
                <a:off x="2800688" y="5851964"/>
                <a:ext cx="47906" cy="18426"/>
              </a:xfrm>
              <a:custGeom>
                <a:gdLst>
                  <a:gd name="T0" fmla="*/ 8 w 16"/>
                  <a:gd name="T1" fmla="*/ 0 h 6"/>
                  <a:gd name="T2" fmla="*/ 0 w 16"/>
                  <a:gd name="T3" fmla="*/ 1 h 6"/>
                  <a:gd name="T4" fmla="*/ 9 w 16"/>
                  <a:gd name="T5" fmla="*/ 6 h 6"/>
                  <a:gd name="T6" fmla="*/ 16 w 16"/>
                  <a:gd name="T7" fmla="*/ 2 h 6"/>
                  <a:gd name="T8" fmla="*/ 16 w 16"/>
                  <a:gd name="T9" fmla="*/ 2 h 6"/>
                  <a:gd name="T10" fmla="*/ 9 w 16"/>
                  <a:gd name="T11" fmla="*/ 0 h 6"/>
                  <a:gd name="T12" fmla="*/ 8 w 16"/>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16" h="6">
                    <a:moveTo>
                      <a:pt x="8" y="0"/>
                    </a:moveTo>
                    <a:cubicBezTo>
                      <a:pt x="5" y="0"/>
                      <a:pt x="2" y="1"/>
                      <a:pt x="0" y="1"/>
                    </a:cubicBezTo>
                    <a:cubicBezTo>
                      <a:pt x="1" y="4"/>
                      <a:pt x="6" y="5"/>
                      <a:pt x="9" y="6"/>
                    </a:cubicBezTo>
                    <a:cubicBezTo>
                      <a:pt x="11" y="5"/>
                      <a:pt x="14" y="4"/>
                      <a:pt x="16" y="2"/>
                    </a:cubicBezTo>
                    <a:cubicBezTo>
                      <a:pt x="16" y="2"/>
                      <a:pt x="16" y="2"/>
                      <a:pt x="16" y="2"/>
                    </a:cubicBezTo>
                    <a:cubicBezTo>
                      <a:pt x="13" y="2"/>
                      <a:pt x="11"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223"/>
              <p:cNvSpPr/>
              <p:nvPr/>
            </p:nvSpPr>
            <p:spPr bwMode="auto">
              <a:xfrm>
                <a:off x="2730671" y="6249957"/>
                <a:ext cx="29481" cy="25796"/>
              </a:xfrm>
              <a:custGeom>
                <a:gdLst>
                  <a:gd name="T0" fmla="*/ 5 w 10"/>
                  <a:gd name="T1" fmla="*/ 0 h 9"/>
                  <a:gd name="T2" fmla="*/ 1 w 10"/>
                  <a:gd name="T3" fmla="*/ 2 h 9"/>
                  <a:gd name="T4" fmla="*/ 7 w 10"/>
                  <a:gd name="T5" fmla="*/ 9 h 9"/>
                  <a:gd name="T6" fmla="*/ 7 w 10"/>
                  <a:gd name="T7" fmla="*/ 0 h 9"/>
                  <a:gd name="T8" fmla="*/ 5 w 10"/>
                  <a:gd name="T9" fmla="*/ 0 h 9"/>
                </a:gdLst>
                <a:cxnLst>
                  <a:cxn ang="0">
                    <a:pos x="T0" y="T1"/>
                  </a:cxn>
                  <a:cxn ang="0">
                    <a:pos x="T2" y="T3"/>
                  </a:cxn>
                  <a:cxn ang="0">
                    <a:pos x="T4" y="T5"/>
                  </a:cxn>
                  <a:cxn ang="0">
                    <a:pos x="T6" y="T7"/>
                  </a:cxn>
                  <a:cxn ang="0">
                    <a:pos x="T8" y="T9"/>
                  </a:cxn>
                </a:cxnLst>
                <a:rect l="0" t="0" r="r" b="b"/>
                <a:pathLst>
                  <a:path w="10" h="9">
                    <a:moveTo>
                      <a:pt x="5" y="0"/>
                    </a:moveTo>
                    <a:cubicBezTo>
                      <a:pt x="3" y="0"/>
                      <a:pt x="1" y="1"/>
                      <a:pt x="1" y="2"/>
                    </a:cubicBezTo>
                    <a:cubicBezTo>
                      <a:pt x="0" y="5"/>
                      <a:pt x="5" y="9"/>
                      <a:pt x="7" y="9"/>
                    </a:cubicBezTo>
                    <a:cubicBezTo>
                      <a:pt x="7" y="7"/>
                      <a:pt x="10" y="2"/>
                      <a:pt x="7"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224"/>
              <p:cNvSpPr/>
              <p:nvPr/>
            </p:nvSpPr>
            <p:spPr bwMode="auto">
              <a:xfrm>
                <a:off x="2712246" y="6342085"/>
                <a:ext cx="25796" cy="22111"/>
              </a:xfrm>
              <a:custGeom>
                <a:gdLst>
                  <a:gd name="T0" fmla="*/ 9 w 9"/>
                  <a:gd name="T1" fmla="*/ 0 h 7"/>
                  <a:gd name="T2" fmla="*/ 5 w 9"/>
                  <a:gd name="T3" fmla="*/ 3 h 7"/>
                  <a:gd name="T4" fmla="*/ 7 w 9"/>
                  <a:gd name="T5" fmla="*/ 7 h 7"/>
                  <a:gd name="T6" fmla="*/ 9 w 9"/>
                  <a:gd name="T7" fmla="*/ 0 h 7"/>
                </a:gdLst>
                <a:cxnLst>
                  <a:cxn ang="0">
                    <a:pos x="T0" y="T1"/>
                  </a:cxn>
                  <a:cxn ang="0">
                    <a:pos x="T2" y="T3"/>
                  </a:cxn>
                  <a:cxn ang="0">
                    <a:pos x="T4" y="T5"/>
                  </a:cxn>
                  <a:cxn ang="0">
                    <a:pos x="T6" y="T7"/>
                  </a:cxn>
                </a:cxnLst>
                <a:rect l="0" t="0" r="r" b="b"/>
                <a:pathLst>
                  <a:path w="9" h="7">
                    <a:moveTo>
                      <a:pt x="9" y="0"/>
                    </a:moveTo>
                    <a:cubicBezTo>
                      <a:pt x="7" y="1"/>
                      <a:pt x="7" y="2"/>
                      <a:pt x="5" y="3"/>
                    </a:cubicBezTo>
                    <a:cubicBezTo>
                      <a:pt x="0" y="6"/>
                      <a:pt x="4" y="4"/>
                      <a:pt x="7" y="7"/>
                    </a:cubicBezTo>
                    <a:cubicBezTo>
                      <a:pt x="8" y="5"/>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225"/>
              <p:cNvSpPr/>
              <p:nvPr/>
            </p:nvSpPr>
            <p:spPr bwMode="auto">
              <a:xfrm>
                <a:off x="2782263" y="6312604"/>
                <a:ext cx="33166" cy="14740"/>
              </a:xfrm>
              <a:custGeom>
                <a:gdLst>
                  <a:gd name="T0" fmla="*/ 6 w 10"/>
                  <a:gd name="T1" fmla="*/ 0 h 5"/>
                  <a:gd name="T2" fmla="*/ 6 w 10"/>
                  <a:gd name="T3" fmla="*/ 5 h 5"/>
                  <a:gd name="T4" fmla="*/ 6 w 10"/>
                  <a:gd name="T5" fmla="*/ 0 h 5"/>
                </a:gdLst>
                <a:cxnLst>
                  <a:cxn ang="0">
                    <a:pos x="T0" y="T1"/>
                  </a:cxn>
                  <a:cxn ang="0">
                    <a:pos x="T2" y="T3"/>
                  </a:cxn>
                  <a:cxn ang="0">
                    <a:pos x="T4" y="T5"/>
                  </a:cxn>
                </a:cxnLst>
                <a:rect l="0" t="0" r="r" b="b"/>
                <a:pathLst>
                  <a:path w="10" h="5">
                    <a:moveTo>
                      <a:pt x="6" y="0"/>
                    </a:moveTo>
                    <a:cubicBezTo>
                      <a:pt x="4" y="0"/>
                      <a:pt x="0" y="2"/>
                      <a:pt x="6" y="5"/>
                    </a:cubicBezTo>
                    <a:cubicBezTo>
                      <a:pt x="10" y="2"/>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226"/>
              <p:cNvSpPr/>
              <p:nvPr/>
            </p:nvSpPr>
            <p:spPr bwMode="auto">
              <a:xfrm>
                <a:off x="2830169" y="6272068"/>
                <a:ext cx="70017" cy="58962"/>
              </a:xfrm>
              <a:custGeom>
                <a:gdLst>
                  <a:gd name="T0" fmla="*/ 22 w 22"/>
                  <a:gd name="T1" fmla="*/ 0 h 18"/>
                  <a:gd name="T2" fmla="*/ 16 w 22"/>
                  <a:gd name="T3" fmla="*/ 1 h 18"/>
                  <a:gd name="T4" fmla="*/ 13 w 22"/>
                  <a:gd name="T5" fmla="*/ 4 h 18"/>
                  <a:gd name="T6" fmla="*/ 0 w 22"/>
                  <a:gd name="T7" fmla="*/ 7 h 18"/>
                  <a:gd name="T8" fmla="*/ 0 w 22"/>
                  <a:gd name="T9" fmla="*/ 7 h 18"/>
                  <a:gd name="T10" fmla="*/ 1 w 22"/>
                  <a:gd name="T11" fmla="*/ 9 h 18"/>
                  <a:gd name="T12" fmla="*/ 6 w 22"/>
                  <a:gd name="T13" fmla="*/ 18 h 18"/>
                  <a:gd name="T14" fmla="*/ 22 w 22"/>
                  <a:gd name="T15" fmla="*/ 0 h 1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22" y="0"/>
                    </a:moveTo>
                    <a:cubicBezTo>
                      <a:pt x="20" y="1"/>
                      <a:pt x="18" y="0"/>
                      <a:pt x="16" y="1"/>
                    </a:cubicBezTo>
                    <a:cubicBezTo>
                      <a:pt x="14" y="2"/>
                      <a:pt x="14" y="3"/>
                      <a:pt x="13" y="4"/>
                    </a:cubicBezTo>
                    <a:cubicBezTo>
                      <a:pt x="9" y="6"/>
                      <a:pt x="5" y="6"/>
                      <a:pt x="0" y="7"/>
                    </a:cubicBezTo>
                    <a:cubicBezTo>
                      <a:pt x="0" y="7"/>
                      <a:pt x="0" y="7"/>
                      <a:pt x="0" y="7"/>
                    </a:cubicBezTo>
                    <a:cubicBezTo>
                      <a:pt x="0" y="8"/>
                      <a:pt x="0" y="8"/>
                      <a:pt x="1" y="9"/>
                    </a:cubicBezTo>
                    <a:cubicBezTo>
                      <a:pt x="3" y="12"/>
                      <a:pt x="5" y="16"/>
                      <a:pt x="6" y="18"/>
                    </a:cubicBezTo>
                    <a:cubicBezTo>
                      <a:pt x="12" y="12"/>
                      <a:pt x="17" y="6"/>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227"/>
              <p:cNvSpPr/>
              <p:nvPr/>
            </p:nvSpPr>
            <p:spPr bwMode="auto">
              <a:xfrm>
                <a:off x="2925982" y="6312604"/>
                <a:ext cx="47906" cy="44221"/>
              </a:xfrm>
              <a:custGeom>
                <a:gdLst>
                  <a:gd name="T0" fmla="*/ 12 w 15"/>
                  <a:gd name="T1" fmla="*/ 0 h 14"/>
                  <a:gd name="T2" fmla="*/ 10 w 15"/>
                  <a:gd name="T3" fmla="*/ 2 h 14"/>
                  <a:gd name="T4" fmla="*/ 4 w 15"/>
                  <a:gd name="T5" fmla="*/ 1 h 14"/>
                  <a:gd name="T6" fmla="*/ 1 w 15"/>
                  <a:gd name="T7" fmla="*/ 9 h 14"/>
                  <a:gd name="T8" fmla="*/ 7 w 15"/>
                  <a:gd name="T9" fmla="*/ 14 h 14"/>
                  <a:gd name="T10" fmla="*/ 12 w 15"/>
                  <a:gd name="T11" fmla="*/ 0 h 14"/>
                </a:gdLst>
                <a:cxnLst>
                  <a:cxn ang="0">
                    <a:pos x="T0" y="T1"/>
                  </a:cxn>
                  <a:cxn ang="0">
                    <a:pos x="T2" y="T3"/>
                  </a:cxn>
                  <a:cxn ang="0">
                    <a:pos x="T4" y="T5"/>
                  </a:cxn>
                  <a:cxn ang="0">
                    <a:pos x="T6" y="T7"/>
                  </a:cxn>
                  <a:cxn ang="0">
                    <a:pos x="T8" y="T9"/>
                  </a:cxn>
                  <a:cxn ang="0">
                    <a:pos x="T10" y="T11"/>
                  </a:cxn>
                </a:cxnLst>
                <a:rect l="0" t="0" r="r" b="b"/>
                <a:pathLst>
                  <a:path w="15" h="14">
                    <a:moveTo>
                      <a:pt x="12" y="0"/>
                    </a:moveTo>
                    <a:cubicBezTo>
                      <a:pt x="12" y="1"/>
                      <a:pt x="11" y="2"/>
                      <a:pt x="10" y="2"/>
                    </a:cubicBezTo>
                    <a:cubicBezTo>
                      <a:pt x="8" y="2"/>
                      <a:pt x="5" y="1"/>
                      <a:pt x="4" y="1"/>
                    </a:cubicBezTo>
                    <a:cubicBezTo>
                      <a:pt x="5" y="5"/>
                      <a:pt x="0" y="5"/>
                      <a:pt x="1" y="9"/>
                    </a:cubicBezTo>
                    <a:cubicBezTo>
                      <a:pt x="1" y="11"/>
                      <a:pt x="5" y="14"/>
                      <a:pt x="7" y="14"/>
                    </a:cubicBezTo>
                    <a:cubicBezTo>
                      <a:pt x="13" y="10"/>
                      <a:pt x="15" y="7"/>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228"/>
              <p:cNvSpPr/>
              <p:nvPr/>
            </p:nvSpPr>
            <p:spPr bwMode="auto">
              <a:xfrm>
                <a:off x="3047591" y="6249957"/>
                <a:ext cx="66332" cy="73702"/>
              </a:xfrm>
              <a:custGeom>
                <a:gdLst>
                  <a:gd name="T0" fmla="*/ 13 w 21"/>
                  <a:gd name="T1" fmla="*/ 0 h 24"/>
                  <a:gd name="T2" fmla="*/ 16 w 21"/>
                  <a:gd name="T3" fmla="*/ 3 h 24"/>
                  <a:gd name="T4" fmla="*/ 12 w 21"/>
                  <a:gd name="T5" fmla="*/ 9 h 24"/>
                  <a:gd name="T6" fmla="*/ 9 w 21"/>
                  <a:gd name="T7" fmla="*/ 16 h 24"/>
                  <a:gd name="T8" fmla="*/ 1 w 21"/>
                  <a:gd name="T9" fmla="*/ 23 h 24"/>
                  <a:gd name="T10" fmla="*/ 0 w 21"/>
                  <a:gd name="T11" fmla="*/ 24 h 24"/>
                  <a:gd name="T12" fmla="*/ 1 w 21"/>
                  <a:gd name="T13" fmla="*/ 24 h 24"/>
                  <a:gd name="T14" fmla="*/ 1 w 21"/>
                  <a:gd name="T15" fmla="*/ 24 h 24"/>
                  <a:gd name="T16" fmla="*/ 1 w 21"/>
                  <a:gd name="T17" fmla="*/ 24 h 24"/>
                  <a:gd name="T18" fmla="*/ 1 w 21"/>
                  <a:gd name="T19" fmla="*/ 24 h 24"/>
                  <a:gd name="T20" fmla="*/ 1 w 21"/>
                  <a:gd name="T21" fmla="*/ 24 h 24"/>
                  <a:gd name="T22" fmla="*/ 5 w 21"/>
                  <a:gd name="T23" fmla="*/ 24 h 24"/>
                  <a:gd name="T24" fmla="*/ 18 w 21"/>
                  <a:gd name="T25" fmla="*/ 12 h 24"/>
                  <a:gd name="T26" fmla="*/ 19 w 21"/>
                  <a:gd name="T27" fmla="*/ 5 h 24"/>
                  <a:gd name="T28" fmla="*/ 21 w 21"/>
                  <a:gd name="T29" fmla="*/ 6 h 24"/>
                  <a:gd name="T30" fmla="*/ 13 w 21"/>
                  <a:gd name="T31"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4">
                    <a:moveTo>
                      <a:pt x="13" y="0"/>
                    </a:moveTo>
                    <a:cubicBezTo>
                      <a:pt x="14" y="1"/>
                      <a:pt x="15" y="2"/>
                      <a:pt x="16" y="3"/>
                    </a:cubicBezTo>
                    <a:cubicBezTo>
                      <a:pt x="14" y="4"/>
                      <a:pt x="13" y="7"/>
                      <a:pt x="12" y="9"/>
                    </a:cubicBezTo>
                    <a:cubicBezTo>
                      <a:pt x="11" y="12"/>
                      <a:pt x="10" y="14"/>
                      <a:pt x="9" y="16"/>
                    </a:cubicBezTo>
                    <a:cubicBezTo>
                      <a:pt x="7" y="21"/>
                      <a:pt x="6" y="21"/>
                      <a:pt x="1" y="23"/>
                    </a:cubicBezTo>
                    <a:cubicBezTo>
                      <a:pt x="0" y="24"/>
                      <a:pt x="0" y="24"/>
                      <a:pt x="0" y="24"/>
                    </a:cubicBezTo>
                    <a:cubicBezTo>
                      <a:pt x="0" y="24"/>
                      <a:pt x="0" y="24"/>
                      <a:pt x="1" y="24"/>
                    </a:cubicBezTo>
                    <a:cubicBezTo>
                      <a:pt x="1" y="24"/>
                      <a:pt x="1" y="24"/>
                      <a:pt x="1" y="24"/>
                    </a:cubicBezTo>
                    <a:cubicBezTo>
                      <a:pt x="1" y="24"/>
                      <a:pt x="1" y="24"/>
                      <a:pt x="1" y="24"/>
                    </a:cubicBezTo>
                    <a:cubicBezTo>
                      <a:pt x="1" y="24"/>
                      <a:pt x="1" y="24"/>
                      <a:pt x="1" y="24"/>
                    </a:cubicBezTo>
                    <a:cubicBezTo>
                      <a:pt x="1" y="24"/>
                      <a:pt x="1" y="24"/>
                      <a:pt x="1" y="24"/>
                    </a:cubicBezTo>
                    <a:cubicBezTo>
                      <a:pt x="3" y="24"/>
                      <a:pt x="4" y="24"/>
                      <a:pt x="5" y="24"/>
                    </a:cubicBezTo>
                    <a:cubicBezTo>
                      <a:pt x="11" y="21"/>
                      <a:pt x="17" y="19"/>
                      <a:pt x="18" y="12"/>
                    </a:cubicBezTo>
                    <a:cubicBezTo>
                      <a:pt x="19" y="11"/>
                      <a:pt x="20" y="8"/>
                      <a:pt x="19" y="5"/>
                    </a:cubicBezTo>
                    <a:cubicBezTo>
                      <a:pt x="20" y="6"/>
                      <a:pt x="21" y="6"/>
                      <a:pt x="21" y="6"/>
                    </a:cubicBezTo>
                    <a:cubicBezTo>
                      <a:pt x="20" y="3"/>
                      <a:pt x="17"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229"/>
              <p:cNvSpPr/>
              <p:nvPr/>
            </p:nvSpPr>
            <p:spPr bwMode="auto">
              <a:xfrm>
                <a:off x="3110238" y="6209421"/>
                <a:ext cx="36851" cy="40536"/>
              </a:xfrm>
              <a:custGeom>
                <a:gdLst>
                  <a:gd name="T0" fmla="*/ 10 w 11"/>
                  <a:gd name="T1" fmla="*/ 0 h 12"/>
                  <a:gd name="T2" fmla="*/ 9 w 11"/>
                  <a:gd name="T3" fmla="*/ 1 h 12"/>
                  <a:gd name="T4" fmla="*/ 1 w 11"/>
                  <a:gd name="T5" fmla="*/ 12 h 12"/>
                  <a:gd name="T6" fmla="*/ 10 w 11"/>
                  <a:gd name="T7" fmla="*/ 5 h 12"/>
                  <a:gd name="T8" fmla="*/ 10 w 11"/>
                  <a:gd name="T9" fmla="*/ 0 h 12"/>
                </a:gdLst>
                <a:cxnLst>
                  <a:cxn ang="0">
                    <a:pos x="T0" y="T1"/>
                  </a:cxn>
                  <a:cxn ang="0">
                    <a:pos x="T2" y="T3"/>
                  </a:cxn>
                  <a:cxn ang="0">
                    <a:pos x="T4" y="T5"/>
                  </a:cxn>
                  <a:cxn ang="0">
                    <a:pos x="T6" y="T7"/>
                  </a:cxn>
                  <a:cxn ang="0">
                    <a:pos x="T8" y="T9"/>
                  </a:cxn>
                </a:cxnLst>
                <a:rect l="0" t="0" r="r" b="b"/>
                <a:pathLst>
                  <a:path w="11" h="12">
                    <a:moveTo>
                      <a:pt x="10" y="0"/>
                    </a:moveTo>
                    <a:cubicBezTo>
                      <a:pt x="10" y="0"/>
                      <a:pt x="9" y="0"/>
                      <a:pt x="9" y="1"/>
                    </a:cubicBezTo>
                    <a:cubicBezTo>
                      <a:pt x="2" y="5"/>
                      <a:pt x="0" y="4"/>
                      <a:pt x="1" y="12"/>
                    </a:cubicBezTo>
                    <a:cubicBezTo>
                      <a:pt x="3" y="8"/>
                      <a:pt x="8" y="9"/>
                      <a:pt x="10" y="5"/>
                    </a:cubicBezTo>
                    <a:cubicBezTo>
                      <a:pt x="10" y="3"/>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230"/>
              <p:cNvSpPr/>
              <p:nvPr/>
            </p:nvSpPr>
            <p:spPr bwMode="auto">
              <a:xfrm>
                <a:off x="10598393" y="3338716"/>
                <a:ext cx="7370" cy="3685"/>
              </a:xfrm>
              <a:custGeom>
                <a:gdLst>
                  <a:gd name="T0" fmla="*/ 1 w 2"/>
                  <a:gd name="T1" fmla="*/ 0 h 1"/>
                  <a:gd name="T2" fmla="*/ 0 w 2"/>
                  <a:gd name="T3" fmla="*/ 1 h 1"/>
                  <a:gd name="T4" fmla="*/ 1 w 2"/>
                  <a:gd name="T5" fmla="*/ 1 h 1"/>
                  <a:gd name="T6" fmla="*/ 2 w 2"/>
                  <a:gd name="T7" fmla="*/ 0 h 1"/>
                  <a:gd name="T8" fmla="*/ 1 w 2"/>
                  <a:gd name="T9" fmla="*/ 0 h 1"/>
                </a:gdLst>
                <a:cxnLst>
                  <a:cxn ang="0">
                    <a:pos x="T0" y="T1"/>
                  </a:cxn>
                  <a:cxn ang="0">
                    <a:pos x="T2" y="T3"/>
                  </a:cxn>
                  <a:cxn ang="0">
                    <a:pos x="T4" y="T5"/>
                  </a:cxn>
                  <a:cxn ang="0">
                    <a:pos x="T6" y="T7"/>
                  </a:cxn>
                  <a:cxn ang="0">
                    <a:pos x="T8" y="T9"/>
                  </a:cxn>
                </a:cxnLst>
                <a:rect l="0" t="0" r="r" b="b"/>
                <a:pathLst>
                  <a:path w="2" h="1">
                    <a:moveTo>
                      <a:pt x="1" y="0"/>
                    </a:moveTo>
                    <a:cubicBezTo>
                      <a:pt x="0" y="0"/>
                      <a:pt x="0" y="1"/>
                      <a:pt x="0" y="1"/>
                    </a:cubicBezTo>
                    <a:cubicBezTo>
                      <a:pt x="0" y="1"/>
                      <a:pt x="1" y="1"/>
                      <a:pt x="1" y="1"/>
                    </a:cubicBezTo>
                    <a:cubicBezTo>
                      <a:pt x="1" y="1"/>
                      <a:pt x="2" y="1"/>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231"/>
              <p:cNvSpPr/>
              <p:nvPr/>
            </p:nvSpPr>
            <p:spPr bwMode="auto">
              <a:xfrm>
                <a:off x="8936405" y="6511600"/>
                <a:ext cx="81073" cy="147405"/>
              </a:xfrm>
              <a:custGeom>
                <a:gdLst>
                  <a:gd name="T0" fmla="*/ 13 w 25"/>
                  <a:gd name="T1" fmla="*/ 0 h 46"/>
                  <a:gd name="T2" fmla="*/ 11 w 25"/>
                  <a:gd name="T3" fmla="*/ 0 h 46"/>
                  <a:gd name="T4" fmla="*/ 6 w 25"/>
                  <a:gd name="T5" fmla="*/ 9 h 46"/>
                  <a:gd name="T6" fmla="*/ 2 w 25"/>
                  <a:gd name="T7" fmla="*/ 19 h 46"/>
                  <a:gd name="T8" fmla="*/ 0 w 25"/>
                  <a:gd name="T9" fmla="*/ 30 h 46"/>
                  <a:gd name="T10" fmla="*/ 1 w 25"/>
                  <a:gd name="T11" fmla="*/ 39 h 46"/>
                  <a:gd name="T12" fmla="*/ 1 w 25"/>
                  <a:gd name="T13" fmla="*/ 40 h 46"/>
                  <a:gd name="T14" fmla="*/ 2 w 25"/>
                  <a:gd name="T15" fmla="*/ 41 h 46"/>
                  <a:gd name="T16" fmla="*/ 6 w 25"/>
                  <a:gd name="T17" fmla="*/ 46 h 46"/>
                  <a:gd name="T18" fmla="*/ 6 w 25"/>
                  <a:gd name="T19" fmla="*/ 46 h 46"/>
                  <a:gd name="T20" fmla="*/ 7 w 25"/>
                  <a:gd name="T21" fmla="*/ 46 h 46"/>
                  <a:gd name="T22" fmla="*/ 7 w 25"/>
                  <a:gd name="T23" fmla="*/ 46 h 46"/>
                  <a:gd name="T24" fmla="*/ 7 w 25"/>
                  <a:gd name="T25" fmla="*/ 46 h 46"/>
                  <a:gd name="T26" fmla="*/ 8 w 25"/>
                  <a:gd name="T27" fmla="*/ 46 h 46"/>
                  <a:gd name="T28" fmla="*/ 10 w 25"/>
                  <a:gd name="T29" fmla="*/ 46 h 46"/>
                  <a:gd name="T30" fmla="*/ 14 w 25"/>
                  <a:gd name="T31" fmla="*/ 46 h 46"/>
                  <a:gd name="T32" fmla="*/ 14 w 25"/>
                  <a:gd name="T33" fmla="*/ 46 h 46"/>
                  <a:gd name="T34" fmla="*/ 16 w 25"/>
                  <a:gd name="T35" fmla="*/ 46 h 46"/>
                  <a:gd name="T36" fmla="*/ 17 w 25"/>
                  <a:gd name="T37" fmla="*/ 46 h 46"/>
                  <a:gd name="T38" fmla="*/ 20 w 25"/>
                  <a:gd name="T39" fmla="*/ 45 h 46"/>
                  <a:gd name="T40" fmla="*/ 20 w 25"/>
                  <a:gd name="T41" fmla="*/ 43 h 46"/>
                  <a:gd name="T42" fmla="*/ 19 w 25"/>
                  <a:gd name="T43" fmla="*/ 43 h 46"/>
                  <a:gd name="T44" fmla="*/ 21 w 25"/>
                  <a:gd name="T45" fmla="*/ 39 h 46"/>
                  <a:gd name="T46" fmla="*/ 24 w 25"/>
                  <a:gd name="T47" fmla="*/ 26 h 46"/>
                  <a:gd name="T48" fmla="*/ 21 w 25"/>
                  <a:gd name="T49" fmla="*/ 17 h 46"/>
                  <a:gd name="T50" fmla="*/ 22 w 25"/>
                  <a:gd name="T51" fmla="*/ 6 h 46"/>
                  <a:gd name="T52" fmla="*/ 20 w 25"/>
                  <a:gd name="T53" fmla="*/ 5 h 46"/>
                  <a:gd name="T54" fmla="*/ 20 w 25"/>
                  <a:gd name="T55" fmla="*/ 5 h 46"/>
                  <a:gd name="T56" fmla="*/ 20 w 25"/>
                  <a:gd name="T57" fmla="*/ 5 h 46"/>
                  <a:gd name="T58" fmla="*/ 18 w 25"/>
                  <a:gd name="T59" fmla="*/ 5 h 46"/>
                  <a:gd name="T60" fmla="*/ 14 w 25"/>
                  <a:gd name="T61" fmla="*/ 0 h 46"/>
                  <a:gd name="T62" fmla="*/ 13 w 25"/>
                  <a:gd name="T63" fmla="*/ 0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 h="46">
                    <a:moveTo>
                      <a:pt x="13" y="0"/>
                    </a:moveTo>
                    <a:cubicBezTo>
                      <a:pt x="12" y="0"/>
                      <a:pt x="12" y="0"/>
                      <a:pt x="11" y="0"/>
                    </a:cubicBezTo>
                    <a:cubicBezTo>
                      <a:pt x="7" y="1"/>
                      <a:pt x="6" y="5"/>
                      <a:pt x="6" y="9"/>
                    </a:cubicBezTo>
                    <a:cubicBezTo>
                      <a:pt x="3" y="12"/>
                      <a:pt x="3" y="15"/>
                      <a:pt x="2" y="19"/>
                    </a:cubicBezTo>
                    <a:cubicBezTo>
                      <a:pt x="2" y="22"/>
                      <a:pt x="0" y="27"/>
                      <a:pt x="0" y="30"/>
                    </a:cubicBezTo>
                    <a:cubicBezTo>
                      <a:pt x="0" y="32"/>
                      <a:pt x="1" y="36"/>
                      <a:pt x="1" y="39"/>
                    </a:cubicBezTo>
                    <a:cubicBezTo>
                      <a:pt x="1" y="40"/>
                      <a:pt x="1" y="40"/>
                      <a:pt x="1" y="40"/>
                    </a:cubicBezTo>
                    <a:cubicBezTo>
                      <a:pt x="2" y="41"/>
                      <a:pt x="2" y="41"/>
                      <a:pt x="2" y="41"/>
                    </a:cubicBezTo>
                    <a:cubicBezTo>
                      <a:pt x="3" y="44"/>
                      <a:pt x="4" y="45"/>
                      <a:pt x="6" y="46"/>
                    </a:cubicBezTo>
                    <a:cubicBezTo>
                      <a:pt x="6" y="46"/>
                      <a:pt x="6" y="46"/>
                      <a:pt x="6" y="46"/>
                    </a:cubicBezTo>
                    <a:cubicBezTo>
                      <a:pt x="7" y="46"/>
                      <a:pt x="7" y="46"/>
                      <a:pt x="7" y="46"/>
                    </a:cubicBezTo>
                    <a:cubicBezTo>
                      <a:pt x="7" y="46"/>
                      <a:pt x="7" y="46"/>
                      <a:pt x="7" y="46"/>
                    </a:cubicBezTo>
                    <a:cubicBezTo>
                      <a:pt x="7" y="46"/>
                      <a:pt x="7" y="46"/>
                      <a:pt x="7" y="46"/>
                    </a:cubicBezTo>
                    <a:cubicBezTo>
                      <a:pt x="8" y="46"/>
                      <a:pt x="8" y="46"/>
                      <a:pt x="8" y="46"/>
                    </a:cubicBezTo>
                    <a:cubicBezTo>
                      <a:pt x="9" y="46"/>
                      <a:pt x="9" y="46"/>
                      <a:pt x="10" y="46"/>
                    </a:cubicBezTo>
                    <a:cubicBezTo>
                      <a:pt x="11" y="46"/>
                      <a:pt x="13" y="46"/>
                      <a:pt x="14" y="46"/>
                    </a:cubicBezTo>
                    <a:cubicBezTo>
                      <a:pt x="14" y="46"/>
                      <a:pt x="14" y="46"/>
                      <a:pt x="14" y="46"/>
                    </a:cubicBezTo>
                    <a:cubicBezTo>
                      <a:pt x="15" y="46"/>
                      <a:pt x="16" y="46"/>
                      <a:pt x="16" y="46"/>
                    </a:cubicBezTo>
                    <a:cubicBezTo>
                      <a:pt x="16" y="46"/>
                      <a:pt x="17" y="46"/>
                      <a:pt x="17" y="46"/>
                    </a:cubicBezTo>
                    <a:cubicBezTo>
                      <a:pt x="17" y="46"/>
                      <a:pt x="18" y="45"/>
                      <a:pt x="20" y="45"/>
                    </a:cubicBezTo>
                    <a:cubicBezTo>
                      <a:pt x="20" y="43"/>
                      <a:pt x="20" y="43"/>
                      <a:pt x="20" y="43"/>
                    </a:cubicBezTo>
                    <a:cubicBezTo>
                      <a:pt x="19" y="43"/>
                      <a:pt x="19" y="43"/>
                      <a:pt x="19" y="43"/>
                    </a:cubicBezTo>
                    <a:cubicBezTo>
                      <a:pt x="20" y="41"/>
                      <a:pt x="20" y="40"/>
                      <a:pt x="21" y="39"/>
                    </a:cubicBezTo>
                    <a:cubicBezTo>
                      <a:pt x="21" y="36"/>
                      <a:pt x="25" y="28"/>
                      <a:pt x="24" y="26"/>
                    </a:cubicBezTo>
                    <a:cubicBezTo>
                      <a:pt x="22" y="24"/>
                      <a:pt x="20" y="20"/>
                      <a:pt x="21" y="17"/>
                    </a:cubicBezTo>
                    <a:cubicBezTo>
                      <a:pt x="21" y="14"/>
                      <a:pt x="24" y="8"/>
                      <a:pt x="22" y="6"/>
                    </a:cubicBezTo>
                    <a:cubicBezTo>
                      <a:pt x="21" y="5"/>
                      <a:pt x="21" y="5"/>
                      <a:pt x="20" y="5"/>
                    </a:cubicBezTo>
                    <a:cubicBezTo>
                      <a:pt x="20" y="5"/>
                      <a:pt x="20" y="5"/>
                      <a:pt x="20" y="5"/>
                    </a:cubicBezTo>
                    <a:cubicBezTo>
                      <a:pt x="20" y="5"/>
                      <a:pt x="20" y="5"/>
                      <a:pt x="20" y="5"/>
                    </a:cubicBezTo>
                    <a:cubicBezTo>
                      <a:pt x="19" y="5"/>
                      <a:pt x="19" y="5"/>
                      <a:pt x="18" y="5"/>
                    </a:cubicBezTo>
                    <a:cubicBezTo>
                      <a:pt x="17" y="4"/>
                      <a:pt x="16" y="1"/>
                      <a:pt x="14" y="0"/>
                    </a:cubicBezTo>
                    <a:cubicBezTo>
                      <a:pt x="14"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232"/>
              <p:cNvSpPr>
                <a:spLocks noEditPoints="1"/>
              </p:cNvSpPr>
              <p:nvPr/>
            </p:nvSpPr>
            <p:spPr bwMode="auto">
              <a:xfrm>
                <a:off x="10369915" y="3419788"/>
                <a:ext cx="7370" cy="0"/>
              </a:xfrm>
              <a:custGeom>
                <a:gdLst>
                  <a:gd name="T0" fmla="*/ 2 w 2"/>
                  <a:gd name="T1" fmla="*/ 1 w 2"/>
                  <a:gd name="T2" fmla="*/ 0 w 2"/>
                  <a:gd name="T3" fmla="*/ 1 w 2"/>
                  <a:gd name="T4" fmla="*/ 2 w 2"/>
                  <a:gd name="T5" fmla="*/ 2 w 2"/>
                  <a:gd name="T6" fmla="*/ 2 w 2"/>
                  <a:gd name="T7" fmla="*/ 2 w 2"/>
                  <a:gd name="T8" fmla="*/ 2 w 2"/>
                </a:gd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cubicBezTo>
                      <a:pt x="2" y="0"/>
                      <a:pt x="2" y="0"/>
                      <a:pt x="1" y="0"/>
                    </a:cubicBezTo>
                    <a:cubicBezTo>
                      <a:pt x="1" y="0"/>
                      <a:pt x="0" y="0"/>
                      <a:pt x="0" y="0"/>
                    </a:cubicBezTo>
                    <a:cubicBezTo>
                      <a:pt x="0" y="0"/>
                      <a:pt x="0" y="0"/>
                      <a:pt x="1" y="0"/>
                    </a:cubicBezTo>
                    <a:cubicBezTo>
                      <a:pt x="1" y="0"/>
                      <a:pt x="2" y="0"/>
                      <a:pt x="2" y="0"/>
                    </a:cubicBezTo>
                    <a:moveTo>
                      <a:pt x="2" y="0"/>
                    </a:moveTo>
                    <a:cubicBezTo>
                      <a:pt x="2" y="0"/>
                      <a:pt x="2" y="0"/>
                      <a:pt x="2"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233"/>
              <p:cNvSpPr/>
              <p:nvPr/>
            </p:nvSpPr>
            <p:spPr bwMode="auto">
              <a:xfrm>
                <a:off x="3773559" y="3500861"/>
                <a:ext cx="7370" cy="0"/>
              </a:xfrm>
              <a:custGeom>
                <a:gdLst>
                  <a:gd name="T0" fmla="*/ 2 w 2"/>
                  <a:gd name="T1" fmla="*/ 2 w 2"/>
                  <a:gd name="T2" fmla="*/ 0 w 2"/>
                  <a:gd name="T3" fmla="*/ 2 w 2"/>
                </a:gdLst>
                <a:cxnLst>
                  <a:cxn ang="0">
                    <a:pos x="T0" y="0"/>
                  </a:cxn>
                  <a:cxn ang="0">
                    <a:pos x="T1" y="0"/>
                  </a:cxn>
                  <a:cxn ang="0">
                    <a:pos x="T2" y="0"/>
                  </a:cxn>
                  <a:cxn ang="0">
                    <a:pos x="T3" y="0"/>
                  </a:cxn>
                </a:cxnLst>
                <a:rect l="0" t="0" r="r" b="b"/>
                <a:pathLst>
                  <a:path w="2">
                    <a:moveTo>
                      <a:pt x="2" y="0"/>
                    </a:moveTo>
                    <a:cubicBezTo>
                      <a:pt x="2" y="0"/>
                      <a:pt x="2" y="0"/>
                      <a:pt x="2" y="0"/>
                    </a:cubicBezTo>
                    <a:cubicBezTo>
                      <a:pt x="1" y="0"/>
                      <a:pt x="1" y="0"/>
                      <a:pt x="0" y="0"/>
                    </a:cubicBezTo>
                    <a:cubicBezTo>
                      <a:pt x="1" y="0"/>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234"/>
              <p:cNvSpPr/>
              <p:nvPr/>
            </p:nvSpPr>
            <p:spPr bwMode="auto">
              <a:xfrm>
                <a:off x="3497175" y="4893834"/>
                <a:ext cx="283754" cy="530657"/>
              </a:xfrm>
              <a:custGeom>
                <a:gdLst>
                  <a:gd name="T0" fmla="*/ 34 w 89"/>
                  <a:gd name="T1" fmla="*/ 1 h 167"/>
                  <a:gd name="T2" fmla="*/ 19 w 89"/>
                  <a:gd name="T3" fmla="*/ 8 h 167"/>
                  <a:gd name="T4" fmla="*/ 20 w 89"/>
                  <a:gd name="T5" fmla="*/ 16 h 167"/>
                  <a:gd name="T6" fmla="*/ 24 w 89"/>
                  <a:gd name="T7" fmla="*/ 29 h 167"/>
                  <a:gd name="T8" fmla="*/ 25 w 89"/>
                  <a:gd name="T9" fmla="*/ 41 h 167"/>
                  <a:gd name="T10" fmla="*/ 19 w 89"/>
                  <a:gd name="T11" fmla="*/ 59 h 167"/>
                  <a:gd name="T12" fmla="*/ 8 w 89"/>
                  <a:gd name="T13" fmla="*/ 88 h 167"/>
                  <a:gd name="T14" fmla="*/ 3 w 89"/>
                  <a:gd name="T15" fmla="*/ 99 h 167"/>
                  <a:gd name="T16" fmla="*/ 2 w 89"/>
                  <a:gd name="T17" fmla="*/ 110 h 167"/>
                  <a:gd name="T18" fmla="*/ 8 w 89"/>
                  <a:gd name="T19" fmla="*/ 111 h 167"/>
                  <a:gd name="T20" fmla="*/ 15 w 89"/>
                  <a:gd name="T21" fmla="*/ 103 h 167"/>
                  <a:gd name="T22" fmla="*/ 15 w 89"/>
                  <a:gd name="T23" fmla="*/ 112 h 167"/>
                  <a:gd name="T24" fmla="*/ 9 w 89"/>
                  <a:gd name="T25" fmla="*/ 112 h 167"/>
                  <a:gd name="T26" fmla="*/ 9 w 89"/>
                  <a:gd name="T27" fmla="*/ 121 h 167"/>
                  <a:gd name="T28" fmla="*/ 21 w 89"/>
                  <a:gd name="T29" fmla="*/ 116 h 167"/>
                  <a:gd name="T30" fmla="*/ 22 w 89"/>
                  <a:gd name="T31" fmla="*/ 121 h 167"/>
                  <a:gd name="T32" fmla="*/ 20 w 89"/>
                  <a:gd name="T33" fmla="*/ 131 h 167"/>
                  <a:gd name="T34" fmla="*/ 15 w 89"/>
                  <a:gd name="T35" fmla="*/ 166 h 167"/>
                  <a:gd name="T36" fmla="*/ 27 w 89"/>
                  <a:gd name="T37" fmla="*/ 162 h 167"/>
                  <a:gd name="T38" fmla="*/ 40 w 89"/>
                  <a:gd name="T39" fmla="*/ 165 h 167"/>
                  <a:gd name="T40" fmla="*/ 44 w 89"/>
                  <a:gd name="T41" fmla="*/ 167 h 167"/>
                  <a:gd name="T42" fmla="*/ 57 w 89"/>
                  <a:gd name="T43" fmla="*/ 161 h 167"/>
                  <a:gd name="T44" fmla="*/ 56 w 89"/>
                  <a:gd name="T45" fmla="*/ 158 h 167"/>
                  <a:gd name="T46" fmla="*/ 55 w 89"/>
                  <a:gd name="T47" fmla="*/ 153 h 167"/>
                  <a:gd name="T48" fmla="*/ 56 w 89"/>
                  <a:gd name="T49" fmla="*/ 141 h 167"/>
                  <a:gd name="T50" fmla="*/ 65 w 89"/>
                  <a:gd name="T51" fmla="*/ 130 h 167"/>
                  <a:gd name="T52" fmla="*/ 65 w 89"/>
                  <a:gd name="T53" fmla="*/ 129 h 167"/>
                  <a:gd name="T54" fmla="*/ 63 w 89"/>
                  <a:gd name="T55" fmla="*/ 126 h 167"/>
                  <a:gd name="T56" fmla="*/ 60 w 89"/>
                  <a:gd name="T57" fmla="*/ 114 h 167"/>
                  <a:gd name="T58" fmla="*/ 59 w 89"/>
                  <a:gd name="T59" fmla="*/ 103 h 167"/>
                  <a:gd name="T60" fmla="*/ 65 w 89"/>
                  <a:gd name="T61" fmla="*/ 104 h 167"/>
                  <a:gd name="T62" fmla="*/ 66 w 89"/>
                  <a:gd name="T63" fmla="*/ 103 h 167"/>
                  <a:gd name="T64" fmla="*/ 69 w 89"/>
                  <a:gd name="T65" fmla="*/ 100 h 167"/>
                  <a:gd name="T66" fmla="*/ 62 w 89"/>
                  <a:gd name="T67" fmla="*/ 97 h 167"/>
                  <a:gd name="T68" fmla="*/ 61 w 89"/>
                  <a:gd name="T69" fmla="*/ 93 h 167"/>
                  <a:gd name="T70" fmla="*/ 58 w 89"/>
                  <a:gd name="T71" fmla="*/ 89 h 167"/>
                  <a:gd name="T72" fmla="*/ 58 w 89"/>
                  <a:gd name="T73" fmla="*/ 75 h 167"/>
                  <a:gd name="T74" fmla="*/ 68 w 89"/>
                  <a:gd name="T75" fmla="*/ 76 h 167"/>
                  <a:gd name="T76" fmla="*/ 71 w 89"/>
                  <a:gd name="T77" fmla="*/ 57 h 167"/>
                  <a:gd name="T78" fmla="*/ 73 w 89"/>
                  <a:gd name="T79" fmla="*/ 52 h 167"/>
                  <a:gd name="T80" fmla="*/ 73 w 89"/>
                  <a:gd name="T81" fmla="*/ 42 h 167"/>
                  <a:gd name="T82" fmla="*/ 74 w 89"/>
                  <a:gd name="T83" fmla="*/ 28 h 167"/>
                  <a:gd name="T84" fmla="*/ 80 w 89"/>
                  <a:gd name="T85" fmla="*/ 23 h 167"/>
                  <a:gd name="T86" fmla="*/ 85 w 89"/>
                  <a:gd name="T87" fmla="*/ 20 h 167"/>
                  <a:gd name="T88" fmla="*/ 87 w 89"/>
                  <a:gd name="T89" fmla="*/ 15 h 167"/>
                  <a:gd name="T90" fmla="*/ 81 w 89"/>
                  <a:gd name="T91" fmla="*/ 8 h 167"/>
                  <a:gd name="T92" fmla="*/ 81 w 89"/>
                  <a:gd name="T93" fmla="*/ 5 h 167"/>
                  <a:gd name="T94" fmla="*/ 81 w 89"/>
                  <a:gd name="T95" fmla="*/ 5 h 167"/>
                  <a:gd name="T96" fmla="*/ 79 w 89"/>
                  <a:gd name="T97" fmla="*/ 5 h 167"/>
                  <a:gd name="T98" fmla="*/ 74 w 89"/>
                  <a:gd name="T99" fmla="*/ 5 h 167"/>
                  <a:gd name="T100" fmla="*/ 71 w 89"/>
                  <a:gd name="T101" fmla="*/ 5 h 167"/>
                  <a:gd name="T102" fmla="*/ 64 w 89"/>
                  <a:gd name="T103" fmla="*/ 8 h 167"/>
                  <a:gd name="T104" fmla="*/ 61 w 89"/>
                  <a:gd name="T105" fmla="*/ 8 h 167"/>
                  <a:gd name="T106" fmla="*/ 54 w 89"/>
                  <a:gd name="T107" fmla="*/ 9 h 167"/>
                  <a:gd name="T108" fmla="*/ 48 w 89"/>
                  <a:gd name="T109" fmla="*/ 7 h 167"/>
                  <a:gd name="T110" fmla="*/ 47 w 89"/>
                  <a:gd name="T111" fmla="*/ 6 h 167"/>
                  <a:gd name="T112" fmla="*/ 40 w 89"/>
                  <a:gd name="T113" fmla="*/ 10 h 167"/>
                  <a:gd name="T114" fmla="*/ 40 w 89"/>
                  <a:gd name="T115" fmla="*/ 10 h 167"/>
                  <a:gd name="T116" fmla="*/ 39 w 89"/>
                  <a:gd name="T117" fmla="*/ 10 h 167"/>
                  <a:gd name="T118" fmla="*/ 34 w 89"/>
                  <a:gd name="T119" fmla="*/ 3 h 1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 h="167">
                    <a:moveTo>
                      <a:pt x="35" y="0"/>
                    </a:moveTo>
                    <a:cubicBezTo>
                      <a:pt x="34" y="1"/>
                      <a:pt x="34" y="1"/>
                      <a:pt x="34" y="1"/>
                    </a:cubicBezTo>
                    <a:cubicBezTo>
                      <a:pt x="33" y="1"/>
                      <a:pt x="32" y="1"/>
                      <a:pt x="31" y="1"/>
                    </a:cubicBezTo>
                    <a:cubicBezTo>
                      <a:pt x="29" y="2"/>
                      <a:pt x="23" y="5"/>
                      <a:pt x="19" y="8"/>
                    </a:cubicBezTo>
                    <a:cubicBezTo>
                      <a:pt x="19" y="8"/>
                      <a:pt x="19" y="8"/>
                      <a:pt x="19" y="8"/>
                    </a:cubicBezTo>
                    <a:cubicBezTo>
                      <a:pt x="19" y="10"/>
                      <a:pt x="20" y="13"/>
                      <a:pt x="20" y="16"/>
                    </a:cubicBezTo>
                    <a:cubicBezTo>
                      <a:pt x="21" y="18"/>
                      <a:pt x="21" y="21"/>
                      <a:pt x="22" y="23"/>
                    </a:cubicBezTo>
                    <a:cubicBezTo>
                      <a:pt x="22" y="25"/>
                      <a:pt x="24" y="28"/>
                      <a:pt x="24" y="29"/>
                    </a:cubicBezTo>
                    <a:cubicBezTo>
                      <a:pt x="26" y="33"/>
                      <a:pt x="21" y="41"/>
                      <a:pt x="23" y="44"/>
                    </a:cubicBezTo>
                    <a:cubicBezTo>
                      <a:pt x="23" y="43"/>
                      <a:pt x="24" y="42"/>
                      <a:pt x="25" y="41"/>
                    </a:cubicBezTo>
                    <a:cubicBezTo>
                      <a:pt x="27" y="44"/>
                      <a:pt x="22" y="46"/>
                      <a:pt x="21" y="48"/>
                    </a:cubicBezTo>
                    <a:cubicBezTo>
                      <a:pt x="19" y="51"/>
                      <a:pt x="19" y="56"/>
                      <a:pt x="19" y="59"/>
                    </a:cubicBezTo>
                    <a:cubicBezTo>
                      <a:pt x="17" y="67"/>
                      <a:pt x="14" y="75"/>
                      <a:pt x="11" y="83"/>
                    </a:cubicBezTo>
                    <a:cubicBezTo>
                      <a:pt x="11" y="84"/>
                      <a:pt x="9" y="87"/>
                      <a:pt x="8" y="88"/>
                    </a:cubicBezTo>
                    <a:cubicBezTo>
                      <a:pt x="6" y="88"/>
                      <a:pt x="5" y="89"/>
                      <a:pt x="5" y="92"/>
                    </a:cubicBezTo>
                    <a:cubicBezTo>
                      <a:pt x="4" y="94"/>
                      <a:pt x="4" y="96"/>
                      <a:pt x="3" y="99"/>
                    </a:cubicBezTo>
                    <a:cubicBezTo>
                      <a:pt x="2" y="100"/>
                      <a:pt x="3" y="102"/>
                      <a:pt x="2" y="104"/>
                    </a:cubicBezTo>
                    <a:cubicBezTo>
                      <a:pt x="2" y="106"/>
                      <a:pt x="0" y="108"/>
                      <a:pt x="2" y="110"/>
                    </a:cubicBezTo>
                    <a:cubicBezTo>
                      <a:pt x="3" y="111"/>
                      <a:pt x="5" y="111"/>
                      <a:pt x="6" y="111"/>
                    </a:cubicBezTo>
                    <a:cubicBezTo>
                      <a:pt x="7" y="111"/>
                      <a:pt x="7" y="111"/>
                      <a:pt x="8" y="111"/>
                    </a:cubicBezTo>
                    <a:cubicBezTo>
                      <a:pt x="11" y="109"/>
                      <a:pt x="11" y="109"/>
                      <a:pt x="12" y="106"/>
                    </a:cubicBezTo>
                    <a:cubicBezTo>
                      <a:pt x="13" y="105"/>
                      <a:pt x="14" y="104"/>
                      <a:pt x="15" y="103"/>
                    </a:cubicBezTo>
                    <a:cubicBezTo>
                      <a:pt x="16" y="107"/>
                      <a:pt x="18" y="109"/>
                      <a:pt x="14" y="110"/>
                    </a:cubicBezTo>
                    <a:cubicBezTo>
                      <a:pt x="14" y="111"/>
                      <a:pt x="15" y="111"/>
                      <a:pt x="15" y="112"/>
                    </a:cubicBezTo>
                    <a:cubicBezTo>
                      <a:pt x="13" y="112"/>
                      <a:pt x="13" y="112"/>
                      <a:pt x="13" y="114"/>
                    </a:cubicBezTo>
                    <a:cubicBezTo>
                      <a:pt x="12" y="113"/>
                      <a:pt x="10" y="112"/>
                      <a:pt x="9" y="112"/>
                    </a:cubicBezTo>
                    <a:cubicBezTo>
                      <a:pt x="8" y="112"/>
                      <a:pt x="7" y="112"/>
                      <a:pt x="7" y="112"/>
                    </a:cubicBezTo>
                    <a:cubicBezTo>
                      <a:pt x="9" y="115"/>
                      <a:pt x="8" y="117"/>
                      <a:pt x="9" y="121"/>
                    </a:cubicBezTo>
                    <a:cubicBezTo>
                      <a:pt x="11" y="119"/>
                      <a:pt x="14" y="119"/>
                      <a:pt x="16" y="118"/>
                    </a:cubicBezTo>
                    <a:cubicBezTo>
                      <a:pt x="18" y="117"/>
                      <a:pt x="20" y="116"/>
                      <a:pt x="21" y="116"/>
                    </a:cubicBezTo>
                    <a:cubicBezTo>
                      <a:pt x="23" y="116"/>
                      <a:pt x="24" y="117"/>
                      <a:pt x="25" y="121"/>
                    </a:cubicBezTo>
                    <a:cubicBezTo>
                      <a:pt x="23" y="121"/>
                      <a:pt x="23" y="121"/>
                      <a:pt x="22" y="121"/>
                    </a:cubicBezTo>
                    <a:cubicBezTo>
                      <a:pt x="20" y="121"/>
                      <a:pt x="20" y="121"/>
                      <a:pt x="18" y="118"/>
                    </a:cubicBezTo>
                    <a:cubicBezTo>
                      <a:pt x="18" y="122"/>
                      <a:pt x="21" y="128"/>
                      <a:pt x="20" y="131"/>
                    </a:cubicBezTo>
                    <a:cubicBezTo>
                      <a:pt x="19" y="135"/>
                      <a:pt x="20" y="141"/>
                      <a:pt x="20" y="146"/>
                    </a:cubicBezTo>
                    <a:cubicBezTo>
                      <a:pt x="20" y="153"/>
                      <a:pt x="18" y="159"/>
                      <a:pt x="15" y="166"/>
                    </a:cubicBezTo>
                    <a:cubicBezTo>
                      <a:pt x="18" y="166"/>
                      <a:pt x="22" y="164"/>
                      <a:pt x="25" y="163"/>
                    </a:cubicBezTo>
                    <a:cubicBezTo>
                      <a:pt x="26" y="162"/>
                      <a:pt x="26" y="162"/>
                      <a:pt x="27" y="162"/>
                    </a:cubicBezTo>
                    <a:cubicBezTo>
                      <a:pt x="29" y="162"/>
                      <a:pt x="31" y="164"/>
                      <a:pt x="34" y="164"/>
                    </a:cubicBezTo>
                    <a:cubicBezTo>
                      <a:pt x="36" y="164"/>
                      <a:pt x="38" y="164"/>
                      <a:pt x="40" y="165"/>
                    </a:cubicBezTo>
                    <a:cubicBezTo>
                      <a:pt x="41" y="165"/>
                      <a:pt x="43" y="167"/>
                      <a:pt x="44" y="167"/>
                    </a:cubicBezTo>
                    <a:cubicBezTo>
                      <a:pt x="44" y="167"/>
                      <a:pt x="44" y="167"/>
                      <a:pt x="44" y="167"/>
                    </a:cubicBezTo>
                    <a:cubicBezTo>
                      <a:pt x="48" y="166"/>
                      <a:pt x="51" y="165"/>
                      <a:pt x="55" y="163"/>
                    </a:cubicBezTo>
                    <a:cubicBezTo>
                      <a:pt x="56" y="162"/>
                      <a:pt x="57" y="161"/>
                      <a:pt x="57" y="161"/>
                    </a:cubicBezTo>
                    <a:cubicBezTo>
                      <a:pt x="55" y="160"/>
                      <a:pt x="55" y="160"/>
                      <a:pt x="55" y="160"/>
                    </a:cubicBezTo>
                    <a:cubicBezTo>
                      <a:pt x="56" y="158"/>
                      <a:pt x="56" y="158"/>
                      <a:pt x="56" y="158"/>
                    </a:cubicBezTo>
                    <a:cubicBezTo>
                      <a:pt x="55" y="157"/>
                      <a:pt x="55" y="157"/>
                      <a:pt x="55" y="157"/>
                    </a:cubicBezTo>
                    <a:cubicBezTo>
                      <a:pt x="55" y="156"/>
                      <a:pt x="55" y="154"/>
                      <a:pt x="55" y="153"/>
                    </a:cubicBezTo>
                    <a:cubicBezTo>
                      <a:pt x="53" y="149"/>
                      <a:pt x="55" y="144"/>
                      <a:pt x="56" y="141"/>
                    </a:cubicBezTo>
                    <a:cubicBezTo>
                      <a:pt x="56" y="141"/>
                      <a:pt x="56" y="141"/>
                      <a:pt x="56" y="141"/>
                    </a:cubicBezTo>
                    <a:cubicBezTo>
                      <a:pt x="57" y="139"/>
                      <a:pt x="60" y="133"/>
                      <a:pt x="63" y="131"/>
                    </a:cubicBezTo>
                    <a:cubicBezTo>
                      <a:pt x="64" y="131"/>
                      <a:pt x="65" y="130"/>
                      <a:pt x="65" y="130"/>
                    </a:cubicBezTo>
                    <a:cubicBezTo>
                      <a:pt x="66" y="130"/>
                      <a:pt x="66" y="130"/>
                      <a:pt x="66" y="130"/>
                    </a:cubicBezTo>
                    <a:cubicBezTo>
                      <a:pt x="65" y="129"/>
                      <a:pt x="65" y="129"/>
                      <a:pt x="65" y="129"/>
                    </a:cubicBezTo>
                    <a:cubicBezTo>
                      <a:pt x="65" y="129"/>
                      <a:pt x="64" y="128"/>
                      <a:pt x="64" y="127"/>
                    </a:cubicBezTo>
                    <a:cubicBezTo>
                      <a:pt x="64" y="127"/>
                      <a:pt x="63" y="126"/>
                      <a:pt x="63" y="126"/>
                    </a:cubicBezTo>
                    <a:cubicBezTo>
                      <a:pt x="61" y="123"/>
                      <a:pt x="58" y="119"/>
                      <a:pt x="59" y="116"/>
                    </a:cubicBezTo>
                    <a:cubicBezTo>
                      <a:pt x="60" y="114"/>
                      <a:pt x="60" y="114"/>
                      <a:pt x="60" y="114"/>
                    </a:cubicBezTo>
                    <a:cubicBezTo>
                      <a:pt x="61" y="111"/>
                      <a:pt x="62" y="109"/>
                      <a:pt x="63" y="106"/>
                    </a:cubicBezTo>
                    <a:cubicBezTo>
                      <a:pt x="59" y="103"/>
                      <a:pt x="59" y="103"/>
                      <a:pt x="59" y="103"/>
                    </a:cubicBezTo>
                    <a:cubicBezTo>
                      <a:pt x="65" y="105"/>
                      <a:pt x="65" y="105"/>
                      <a:pt x="65" y="105"/>
                    </a:cubicBezTo>
                    <a:cubicBezTo>
                      <a:pt x="65" y="104"/>
                      <a:pt x="65" y="104"/>
                      <a:pt x="65" y="104"/>
                    </a:cubicBezTo>
                    <a:cubicBezTo>
                      <a:pt x="66" y="104"/>
                      <a:pt x="66" y="104"/>
                      <a:pt x="66" y="104"/>
                    </a:cubicBezTo>
                    <a:cubicBezTo>
                      <a:pt x="66" y="103"/>
                      <a:pt x="66" y="103"/>
                      <a:pt x="66" y="103"/>
                    </a:cubicBezTo>
                    <a:cubicBezTo>
                      <a:pt x="67" y="102"/>
                      <a:pt x="68" y="101"/>
                      <a:pt x="68" y="101"/>
                    </a:cubicBezTo>
                    <a:cubicBezTo>
                      <a:pt x="69" y="100"/>
                      <a:pt x="69" y="100"/>
                      <a:pt x="69" y="100"/>
                    </a:cubicBezTo>
                    <a:cubicBezTo>
                      <a:pt x="68" y="100"/>
                      <a:pt x="67" y="100"/>
                      <a:pt x="67" y="100"/>
                    </a:cubicBezTo>
                    <a:cubicBezTo>
                      <a:pt x="65" y="99"/>
                      <a:pt x="64" y="98"/>
                      <a:pt x="62" y="97"/>
                    </a:cubicBezTo>
                    <a:cubicBezTo>
                      <a:pt x="62" y="97"/>
                      <a:pt x="62" y="97"/>
                      <a:pt x="62" y="97"/>
                    </a:cubicBezTo>
                    <a:cubicBezTo>
                      <a:pt x="61" y="96"/>
                      <a:pt x="61" y="94"/>
                      <a:pt x="61" y="93"/>
                    </a:cubicBezTo>
                    <a:cubicBezTo>
                      <a:pt x="61" y="93"/>
                      <a:pt x="61" y="93"/>
                      <a:pt x="61" y="93"/>
                    </a:cubicBezTo>
                    <a:cubicBezTo>
                      <a:pt x="59" y="92"/>
                      <a:pt x="59" y="90"/>
                      <a:pt x="58" y="89"/>
                    </a:cubicBezTo>
                    <a:cubicBezTo>
                      <a:pt x="50" y="75"/>
                      <a:pt x="50" y="75"/>
                      <a:pt x="50" y="75"/>
                    </a:cubicBezTo>
                    <a:cubicBezTo>
                      <a:pt x="58" y="75"/>
                      <a:pt x="58" y="75"/>
                      <a:pt x="58" y="75"/>
                    </a:cubicBezTo>
                    <a:cubicBezTo>
                      <a:pt x="63" y="76"/>
                      <a:pt x="65" y="76"/>
                      <a:pt x="66" y="76"/>
                    </a:cubicBezTo>
                    <a:cubicBezTo>
                      <a:pt x="68" y="76"/>
                      <a:pt x="68" y="76"/>
                      <a:pt x="68" y="76"/>
                    </a:cubicBezTo>
                    <a:cubicBezTo>
                      <a:pt x="69" y="75"/>
                      <a:pt x="70" y="67"/>
                      <a:pt x="70" y="62"/>
                    </a:cubicBezTo>
                    <a:cubicBezTo>
                      <a:pt x="69" y="60"/>
                      <a:pt x="69" y="58"/>
                      <a:pt x="71" y="57"/>
                    </a:cubicBezTo>
                    <a:cubicBezTo>
                      <a:pt x="72" y="56"/>
                      <a:pt x="72" y="56"/>
                      <a:pt x="72" y="56"/>
                    </a:cubicBezTo>
                    <a:cubicBezTo>
                      <a:pt x="72" y="54"/>
                      <a:pt x="73" y="53"/>
                      <a:pt x="73" y="52"/>
                    </a:cubicBezTo>
                    <a:cubicBezTo>
                      <a:pt x="73" y="49"/>
                      <a:pt x="73" y="49"/>
                      <a:pt x="73" y="49"/>
                    </a:cubicBezTo>
                    <a:cubicBezTo>
                      <a:pt x="73" y="47"/>
                      <a:pt x="74" y="44"/>
                      <a:pt x="73" y="42"/>
                    </a:cubicBezTo>
                    <a:cubicBezTo>
                      <a:pt x="73" y="41"/>
                      <a:pt x="72" y="40"/>
                      <a:pt x="72" y="40"/>
                    </a:cubicBezTo>
                    <a:cubicBezTo>
                      <a:pt x="71" y="36"/>
                      <a:pt x="69" y="32"/>
                      <a:pt x="74" y="28"/>
                    </a:cubicBezTo>
                    <a:cubicBezTo>
                      <a:pt x="75" y="27"/>
                      <a:pt x="75" y="27"/>
                      <a:pt x="75" y="27"/>
                    </a:cubicBezTo>
                    <a:cubicBezTo>
                      <a:pt x="77" y="25"/>
                      <a:pt x="79" y="24"/>
                      <a:pt x="80" y="23"/>
                    </a:cubicBezTo>
                    <a:cubicBezTo>
                      <a:pt x="82" y="22"/>
                      <a:pt x="83" y="22"/>
                      <a:pt x="84" y="21"/>
                    </a:cubicBezTo>
                    <a:cubicBezTo>
                      <a:pt x="85" y="20"/>
                      <a:pt x="85" y="20"/>
                      <a:pt x="85" y="20"/>
                    </a:cubicBezTo>
                    <a:cubicBezTo>
                      <a:pt x="87" y="18"/>
                      <a:pt x="88" y="17"/>
                      <a:pt x="89" y="16"/>
                    </a:cubicBezTo>
                    <a:cubicBezTo>
                      <a:pt x="89" y="15"/>
                      <a:pt x="88" y="15"/>
                      <a:pt x="87" y="15"/>
                    </a:cubicBezTo>
                    <a:cubicBezTo>
                      <a:pt x="87" y="14"/>
                      <a:pt x="87" y="14"/>
                      <a:pt x="86" y="14"/>
                    </a:cubicBezTo>
                    <a:cubicBezTo>
                      <a:pt x="84" y="13"/>
                      <a:pt x="80" y="12"/>
                      <a:pt x="81" y="8"/>
                    </a:cubicBezTo>
                    <a:cubicBezTo>
                      <a:pt x="81" y="8"/>
                      <a:pt x="81" y="8"/>
                      <a:pt x="81" y="7"/>
                    </a:cubicBezTo>
                    <a:cubicBezTo>
                      <a:pt x="81" y="7"/>
                      <a:pt x="81" y="6"/>
                      <a:pt x="81" y="5"/>
                    </a:cubicBezTo>
                    <a:cubicBezTo>
                      <a:pt x="81" y="5"/>
                      <a:pt x="81" y="5"/>
                      <a:pt x="81" y="5"/>
                    </a:cubicBezTo>
                    <a:cubicBezTo>
                      <a:pt x="81" y="5"/>
                      <a:pt x="81" y="5"/>
                      <a:pt x="81" y="5"/>
                    </a:cubicBezTo>
                    <a:cubicBezTo>
                      <a:pt x="81" y="5"/>
                      <a:pt x="80" y="5"/>
                      <a:pt x="79" y="5"/>
                    </a:cubicBezTo>
                    <a:cubicBezTo>
                      <a:pt x="79" y="5"/>
                      <a:pt x="79" y="5"/>
                      <a:pt x="79" y="5"/>
                    </a:cubicBezTo>
                    <a:cubicBezTo>
                      <a:pt x="78" y="5"/>
                      <a:pt x="76" y="5"/>
                      <a:pt x="75" y="5"/>
                    </a:cubicBezTo>
                    <a:cubicBezTo>
                      <a:pt x="75" y="5"/>
                      <a:pt x="74" y="5"/>
                      <a:pt x="74" y="5"/>
                    </a:cubicBezTo>
                    <a:cubicBezTo>
                      <a:pt x="73" y="5"/>
                      <a:pt x="72" y="5"/>
                      <a:pt x="71" y="5"/>
                    </a:cubicBezTo>
                    <a:cubicBezTo>
                      <a:pt x="71" y="5"/>
                      <a:pt x="71" y="5"/>
                      <a:pt x="71" y="5"/>
                    </a:cubicBezTo>
                    <a:cubicBezTo>
                      <a:pt x="69" y="6"/>
                      <a:pt x="68" y="7"/>
                      <a:pt x="66" y="7"/>
                    </a:cubicBezTo>
                    <a:cubicBezTo>
                      <a:pt x="66" y="7"/>
                      <a:pt x="65" y="8"/>
                      <a:pt x="64" y="8"/>
                    </a:cubicBezTo>
                    <a:cubicBezTo>
                      <a:pt x="63" y="8"/>
                      <a:pt x="63" y="8"/>
                      <a:pt x="62" y="8"/>
                    </a:cubicBezTo>
                    <a:cubicBezTo>
                      <a:pt x="61" y="8"/>
                      <a:pt x="61" y="8"/>
                      <a:pt x="61" y="8"/>
                    </a:cubicBezTo>
                    <a:cubicBezTo>
                      <a:pt x="59" y="9"/>
                      <a:pt x="57" y="9"/>
                      <a:pt x="55" y="9"/>
                    </a:cubicBezTo>
                    <a:cubicBezTo>
                      <a:pt x="54" y="9"/>
                      <a:pt x="54" y="9"/>
                      <a:pt x="54" y="9"/>
                    </a:cubicBezTo>
                    <a:cubicBezTo>
                      <a:pt x="52" y="9"/>
                      <a:pt x="51" y="8"/>
                      <a:pt x="49" y="8"/>
                    </a:cubicBezTo>
                    <a:cubicBezTo>
                      <a:pt x="49" y="8"/>
                      <a:pt x="49" y="7"/>
                      <a:pt x="48" y="7"/>
                    </a:cubicBezTo>
                    <a:cubicBezTo>
                      <a:pt x="48" y="7"/>
                      <a:pt x="48" y="7"/>
                      <a:pt x="48" y="7"/>
                    </a:cubicBezTo>
                    <a:cubicBezTo>
                      <a:pt x="47" y="6"/>
                      <a:pt x="47" y="6"/>
                      <a:pt x="47" y="6"/>
                    </a:cubicBezTo>
                    <a:cubicBezTo>
                      <a:pt x="45" y="8"/>
                      <a:pt x="43" y="10"/>
                      <a:pt x="41" y="10"/>
                    </a:cubicBezTo>
                    <a:cubicBezTo>
                      <a:pt x="41" y="10"/>
                      <a:pt x="40" y="10"/>
                      <a:pt x="40" y="10"/>
                    </a:cubicBezTo>
                    <a:cubicBezTo>
                      <a:pt x="40" y="10"/>
                      <a:pt x="40" y="10"/>
                      <a:pt x="40" y="10"/>
                    </a:cubicBezTo>
                    <a:cubicBezTo>
                      <a:pt x="40" y="10"/>
                      <a:pt x="40" y="10"/>
                      <a:pt x="40" y="10"/>
                    </a:cubicBezTo>
                    <a:cubicBezTo>
                      <a:pt x="40" y="10"/>
                      <a:pt x="39" y="10"/>
                      <a:pt x="39" y="10"/>
                    </a:cubicBezTo>
                    <a:cubicBezTo>
                      <a:pt x="39" y="10"/>
                      <a:pt x="39" y="10"/>
                      <a:pt x="39" y="10"/>
                    </a:cubicBezTo>
                    <a:cubicBezTo>
                      <a:pt x="36" y="10"/>
                      <a:pt x="35" y="9"/>
                      <a:pt x="35" y="8"/>
                    </a:cubicBezTo>
                    <a:cubicBezTo>
                      <a:pt x="34" y="7"/>
                      <a:pt x="33" y="6"/>
                      <a:pt x="34" y="3"/>
                    </a:cubicBezTo>
                    <a:cubicBezTo>
                      <a:pt x="34" y="2"/>
                      <a:pt x="34"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235"/>
              <p:cNvSpPr/>
              <p:nvPr/>
            </p:nvSpPr>
            <p:spPr bwMode="auto">
              <a:xfrm>
                <a:off x="3581933" y="5420806"/>
                <a:ext cx="1838873" cy="1437195"/>
              </a:xfrm>
              <a:custGeom>
                <a:gdLst>
                  <a:gd name="T0" fmla="*/ 397 w 579"/>
                  <a:gd name="T1" fmla="*/ 13 h 453"/>
                  <a:gd name="T2" fmla="*/ 354 w 579"/>
                  <a:gd name="T3" fmla="*/ 6 h 453"/>
                  <a:gd name="T4" fmla="*/ 323 w 579"/>
                  <a:gd name="T5" fmla="*/ 11 h 453"/>
                  <a:gd name="T6" fmla="*/ 252 w 579"/>
                  <a:gd name="T7" fmla="*/ 30 h 453"/>
                  <a:gd name="T8" fmla="*/ 232 w 579"/>
                  <a:gd name="T9" fmla="*/ 38 h 453"/>
                  <a:gd name="T10" fmla="*/ 205 w 579"/>
                  <a:gd name="T11" fmla="*/ 57 h 453"/>
                  <a:gd name="T12" fmla="*/ 186 w 579"/>
                  <a:gd name="T13" fmla="*/ 64 h 453"/>
                  <a:gd name="T14" fmla="*/ 193 w 579"/>
                  <a:gd name="T15" fmla="*/ 70 h 453"/>
                  <a:gd name="T16" fmla="*/ 195 w 579"/>
                  <a:gd name="T17" fmla="*/ 79 h 453"/>
                  <a:gd name="T18" fmla="*/ 199 w 579"/>
                  <a:gd name="T19" fmla="*/ 94 h 453"/>
                  <a:gd name="T20" fmla="*/ 198 w 579"/>
                  <a:gd name="T21" fmla="*/ 109 h 453"/>
                  <a:gd name="T22" fmla="*/ 217 w 579"/>
                  <a:gd name="T23" fmla="*/ 147 h 453"/>
                  <a:gd name="T24" fmla="*/ 212 w 579"/>
                  <a:gd name="T25" fmla="*/ 162 h 453"/>
                  <a:gd name="T26" fmla="*/ 197 w 579"/>
                  <a:gd name="T27" fmla="*/ 163 h 453"/>
                  <a:gd name="T28" fmla="*/ 192 w 579"/>
                  <a:gd name="T29" fmla="*/ 162 h 453"/>
                  <a:gd name="T30" fmla="*/ 172 w 579"/>
                  <a:gd name="T31" fmla="*/ 162 h 453"/>
                  <a:gd name="T32" fmla="*/ 162 w 579"/>
                  <a:gd name="T33" fmla="*/ 166 h 453"/>
                  <a:gd name="T34" fmla="*/ 144 w 579"/>
                  <a:gd name="T35" fmla="*/ 176 h 453"/>
                  <a:gd name="T36" fmla="*/ 138 w 579"/>
                  <a:gd name="T37" fmla="*/ 175 h 453"/>
                  <a:gd name="T38" fmla="*/ 138 w 579"/>
                  <a:gd name="T39" fmla="*/ 177 h 453"/>
                  <a:gd name="T40" fmla="*/ 139 w 579"/>
                  <a:gd name="T41" fmla="*/ 185 h 453"/>
                  <a:gd name="T42" fmla="*/ 136 w 579"/>
                  <a:gd name="T43" fmla="*/ 201 h 453"/>
                  <a:gd name="T44" fmla="*/ 97 w 579"/>
                  <a:gd name="T45" fmla="*/ 224 h 453"/>
                  <a:gd name="T46" fmla="*/ 62 w 579"/>
                  <a:gd name="T47" fmla="*/ 234 h 453"/>
                  <a:gd name="T48" fmla="*/ 51 w 579"/>
                  <a:gd name="T49" fmla="*/ 241 h 453"/>
                  <a:gd name="T50" fmla="*/ 40 w 579"/>
                  <a:gd name="T51" fmla="*/ 244 h 453"/>
                  <a:gd name="T52" fmla="*/ 15 w 579"/>
                  <a:gd name="T53" fmla="*/ 257 h 453"/>
                  <a:gd name="T54" fmla="*/ 1 w 579"/>
                  <a:gd name="T55" fmla="*/ 266 h 453"/>
                  <a:gd name="T56" fmla="*/ 106 w 579"/>
                  <a:gd name="T57" fmla="*/ 375 h 453"/>
                  <a:gd name="T58" fmla="*/ 129 w 579"/>
                  <a:gd name="T59" fmla="*/ 390 h 453"/>
                  <a:gd name="T60" fmla="*/ 220 w 579"/>
                  <a:gd name="T61" fmla="*/ 453 h 453"/>
                  <a:gd name="T62" fmla="*/ 577 w 579"/>
                  <a:gd name="T63" fmla="*/ 418 h 453"/>
                  <a:gd name="T64" fmla="*/ 565 w 579"/>
                  <a:gd name="T65" fmla="*/ 401 h 453"/>
                  <a:gd name="T66" fmla="*/ 548 w 579"/>
                  <a:gd name="T67" fmla="*/ 396 h 453"/>
                  <a:gd name="T68" fmla="*/ 543 w 579"/>
                  <a:gd name="T69" fmla="*/ 397 h 453"/>
                  <a:gd name="T70" fmla="*/ 538 w 579"/>
                  <a:gd name="T71" fmla="*/ 397 h 453"/>
                  <a:gd name="T72" fmla="*/ 533 w 579"/>
                  <a:gd name="T73" fmla="*/ 393 h 453"/>
                  <a:gd name="T74" fmla="*/ 526 w 579"/>
                  <a:gd name="T75" fmla="*/ 383 h 453"/>
                  <a:gd name="T76" fmla="*/ 519 w 579"/>
                  <a:gd name="T77" fmla="*/ 361 h 453"/>
                  <a:gd name="T78" fmla="*/ 515 w 579"/>
                  <a:gd name="T79" fmla="*/ 356 h 453"/>
                  <a:gd name="T80" fmla="*/ 518 w 579"/>
                  <a:gd name="T81" fmla="*/ 331 h 453"/>
                  <a:gd name="T82" fmla="*/ 520 w 579"/>
                  <a:gd name="T83" fmla="*/ 328 h 453"/>
                  <a:gd name="T84" fmla="*/ 518 w 579"/>
                  <a:gd name="T85" fmla="*/ 313 h 453"/>
                  <a:gd name="T86" fmla="*/ 521 w 579"/>
                  <a:gd name="T87" fmla="*/ 297 h 453"/>
                  <a:gd name="T88" fmla="*/ 519 w 579"/>
                  <a:gd name="T89" fmla="*/ 266 h 453"/>
                  <a:gd name="T90" fmla="*/ 513 w 579"/>
                  <a:gd name="T91" fmla="*/ 237 h 453"/>
                  <a:gd name="T92" fmla="*/ 507 w 579"/>
                  <a:gd name="T93" fmla="*/ 217 h 453"/>
                  <a:gd name="T94" fmla="*/ 510 w 579"/>
                  <a:gd name="T95" fmla="*/ 216 h 453"/>
                  <a:gd name="T96" fmla="*/ 497 w 579"/>
                  <a:gd name="T97" fmla="*/ 163 h 453"/>
                  <a:gd name="T98" fmla="*/ 480 w 579"/>
                  <a:gd name="T99" fmla="*/ 150 h 453"/>
                  <a:gd name="T100" fmla="*/ 475 w 579"/>
                  <a:gd name="T101" fmla="*/ 136 h 453"/>
                  <a:gd name="T102" fmla="*/ 468 w 579"/>
                  <a:gd name="T103" fmla="*/ 128 h 453"/>
                  <a:gd name="T104" fmla="*/ 457 w 579"/>
                  <a:gd name="T105" fmla="*/ 91 h 453"/>
                  <a:gd name="T106" fmla="*/ 479 w 579"/>
                  <a:gd name="T107" fmla="*/ 56 h 453"/>
                  <a:gd name="T108" fmla="*/ 477 w 579"/>
                  <a:gd name="T109" fmla="*/ 47 h 453"/>
                  <a:gd name="T110" fmla="*/ 475 w 579"/>
                  <a:gd name="T111" fmla="*/ 22 h 453"/>
                  <a:gd name="T112" fmla="*/ 465 w 579"/>
                  <a:gd name="T113" fmla="*/ 6 h 453"/>
                  <a:gd name="T114" fmla="*/ 447 w 579"/>
                  <a:gd name="T115" fmla="*/ 2 h 453"/>
                  <a:gd name="T116" fmla="*/ 432 w 579"/>
                  <a:gd name="T117" fmla="*/ 3 h 4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9" h="452">
                    <a:moveTo>
                      <a:pt x="424" y="0"/>
                    </a:moveTo>
                    <a:cubicBezTo>
                      <a:pt x="423" y="0"/>
                      <a:pt x="422" y="1"/>
                      <a:pt x="421" y="4"/>
                    </a:cubicBezTo>
                    <a:cubicBezTo>
                      <a:pt x="413" y="7"/>
                      <a:pt x="405" y="10"/>
                      <a:pt x="398" y="13"/>
                    </a:cubicBezTo>
                    <a:cubicBezTo>
                      <a:pt x="397" y="13"/>
                      <a:pt x="397" y="13"/>
                      <a:pt x="397" y="13"/>
                    </a:cubicBezTo>
                    <a:cubicBezTo>
                      <a:pt x="395" y="13"/>
                      <a:pt x="389" y="11"/>
                      <a:pt x="388" y="10"/>
                    </a:cubicBezTo>
                    <a:cubicBezTo>
                      <a:pt x="383" y="9"/>
                      <a:pt x="379" y="7"/>
                      <a:pt x="374" y="6"/>
                    </a:cubicBezTo>
                    <a:cubicBezTo>
                      <a:pt x="372" y="5"/>
                      <a:pt x="370" y="5"/>
                      <a:pt x="367" y="5"/>
                    </a:cubicBezTo>
                    <a:cubicBezTo>
                      <a:pt x="363" y="5"/>
                      <a:pt x="358" y="5"/>
                      <a:pt x="354" y="6"/>
                    </a:cubicBezTo>
                    <a:cubicBezTo>
                      <a:pt x="349" y="7"/>
                      <a:pt x="343" y="9"/>
                      <a:pt x="338" y="10"/>
                    </a:cubicBezTo>
                    <a:cubicBezTo>
                      <a:pt x="333" y="10"/>
                      <a:pt x="333" y="10"/>
                      <a:pt x="333" y="10"/>
                    </a:cubicBezTo>
                    <a:cubicBezTo>
                      <a:pt x="328" y="8"/>
                      <a:pt x="328" y="8"/>
                      <a:pt x="328" y="8"/>
                    </a:cubicBezTo>
                    <a:cubicBezTo>
                      <a:pt x="323" y="11"/>
                      <a:pt x="323" y="11"/>
                      <a:pt x="323" y="11"/>
                    </a:cubicBezTo>
                    <a:cubicBezTo>
                      <a:pt x="320" y="13"/>
                      <a:pt x="317" y="15"/>
                      <a:pt x="315" y="15"/>
                    </a:cubicBezTo>
                    <a:cubicBezTo>
                      <a:pt x="310" y="16"/>
                      <a:pt x="304" y="16"/>
                      <a:pt x="299" y="16"/>
                    </a:cubicBezTo>
                    <a:cubicBezTo>
                      <a:pt x="290" y="17"/>
                      <a:pt x="282" y="19"/>
                      <a:pt x="274" y="21"/>
                    </a:cubicBezTo>
                    <a:cubicBezTo>
                      <a:pt x="266" y="23"/>
                      <a:pt x="258" y="25"/>
                      <a:pt x="252" y="30"/>
                    </a:cubicBezTo>
                    <a:cubicBezTo>
                      <a:pt x="248" y="33"/>
                      <a:pt x="245" y="37"/>
                      <a:pt x="242" y="40"/>
                    </a:cubicBezTo>
                    <a:cubicBezTo>
                      <a:pt x="241" y="41"/>
                      <a:pt x="240" y="41"/>
                      <a:pt x="239" y="41"/>
                    </a:cubicBezTo>
                    <a:cubicBezTo>
                      <a:pt x="238" y="41"/>
                      <a:pt x="236" y="39"/>
                      <a:pt x="233" y="38"/>
                    </a:cubicBezTo>
                    <a:cubicBezTo>
                      <a:pt x="233" y="38"/>
                      <a:pt x="232" y="38"/>
                      <a:pt x="232" y="38"/>
                    </a:cubicBezTo>
                    <a:cubicBezTo>
                      <a:pt x="231" y="38"/>
                      <a:pt x="230" y="39"/>
                      <a:pt x="230" y="39"/>
                    </a:cubicBezTo>
                    <a:cubicBezTo>
                      <a:pt x="227" y="40"/>
                      <a:pt x="225" y="41"/>
                      <a:pt x="222" y="42"/>
                    </a:cubicBezTo>
                    <a:cubicBezTo>
                      <a:pt x="219" y="43"/>
                      <a:pt x="214" y="45"/>
                      <a:pt x="212" y="47"/>
                    </a:cubicBezTo>
                    <a:cubicBezTo>
                      <a:pt x="209" y="49"/>
                      <a:pt x="208" y="54"/>
                      <a:pt x="205" y="57"/>
                    </a:cubicBezTo>
                    <a:cubicBezTo>
                      <a:pt x="201" y="59"/>
                      <a:pt x="195" y="59"/>
                      <a:pt x="192" y="61"/>
                    </a:cubicBezTo>
                    <a:cubicBezTo>
                      <a:pt x="189" y="61"/>
                      <a:pt x="187" y="62"/>
                      <a:pt x="184" y="63"/>
                    </a:cubicBezTo>
                    <a:cubicBezTo>
                      <a:pt x="185" y="63"/>
                      <a:pt x="185" y="63"/>
                      <a:pt x="185" y="63"/>
                    </a:cubicBezTo>
                    <a:cubicBezTo>
                      <a:pt x="186" y="64"/>
                      <a:pt x="186" y="64"/>
                      <a:pt x="186" y="64"/>
                    </a:cubicBezTo>
                    <a:cubicBezTo>
                      <a:pt x="187" y="65"/>
                      <a:pt x="188" y="66"/>
                      <a:pt x="188" y="67"/>
                    </a:cubicBezTo>
                    <a:cubicBezTo>
                      <a:pt x="190" y="68"/>
                      <a:pt x="190" y="68"/>
                      <a:pt x="190" y="68"/>
                    </a:cubicBezTo>
                    <a:cubicBezTo>
                      <a:pt x="190" y="68"/>
                      <a:pt x="191" y="69"/>
                      <a:pt x="191" y="69"/>
                    </a:cubicBezTo>
                    <a:cubicBezTo>
                      <a:pt x="193" y="70"/>
                      <a:pt x="193" y="70"/>
                      <a:pt x="193" y="70"/>
                    </a:cubicBezTo>
                    <a:cubicBezTo>
                      <a:pt x="194" y="71"/>
                      <a:pt x="196" y="72"/>
                      <a:pt x="197" y="73"/>
                    </a:cubicBezTo>
                    <a:cubicBezTo>
                      <a:pt x="197" y="74"/>
                      <a:pt x="197" y="74"/>
                      <a:pt x="197" y="74"/>
                    </a:cubicBezTo>
                    <a:cubicBezTo>
                      <a:pt x="197" y="75"/>
                      <a:pt x="197" y="75"/>
                      <a:pt x="197" y="75"/>
                    </a:cubicBezTo>
                    <a:cubicBezTo>
                      <a:pt x="197" y="77"/>
                      <a:pt x="196" y="78"/>
                      <a:pt x="195" y="79"/>
                    </a:cubicBezTo>
                    <a:cubicBezTo>
                      <a:pt x="196" y="79"/>
                      <a:pt x="196" y="80"/>
                      <a:pt x="197" y="80"/>
                    </a:cubicBezTo>
                    <a:cubicBezTo>
                      <a:pt x="200" y="83"/>
                      <a:pt x="198" y="86"/>
                      <a:pt x="198" y="87"/>
                    </a:cubicBezTo>
                    <a:cubicBezTo>
                      <a:pt x="197" y="88"/>
                      <a:pt x="197" y="88"/>
                      <a:pt x="197" y="88"/>
                    </a:cubicBezTo>
                    <a:cubicBezTo>
                      <a:pt x="199" y="94"/>
                      <a:pt x="199" y="94"/>
                      <a:pt x="199" y="94"/>
                    </a:cubicBezTo>
                    <a:cubicBezTo>
                      <a:pt x="200" y="97"/>
                      <a:pt x="199" y="101"/>
                      <a:pt x="198" y="105"/>
                    </a:cubicBezTo>
                    <a:cubicBezTo>
                      <a:pt x="198" y="106"/>
                      <a:pt x="198" y="106"/>
                      <a:pt x="198" y="106"/>
                    </a:cubicBezTo>
                    <a:cubicBezTo>
                      <a:pt x="198" y="106"/>
                      <a:pt x="198" y="107"/>
                      <a:pt x="198" y="108"/>
                    </a:cubicBezTo>
                    <a:cubicBezTo>
                      <a:pt x="198" y="108"/>
                      <a:pt x="198" y="109"/>
                      <a:pt x="198" y="109"/>
                    </a:cubicBezTo>
                    <a:cubicBezTo>
                      <a:pt x="209" y="137"/>
                      <a:pt x="209" y="137"/>
                      <a:pt x="209" y="137"/>
                    </a:cubicBezTo>
                    <a:cubicBezTo>
                      <a:pt x="209" y="138"/>
                      <a:pt x="210" y="139"/>
                      <a:pt x="211" y="140"/>
                    </a:cubicBezTo>
                    <a:cubicBezTo>
                      <a:pt x="213" y="141"/>
                      <a:pt x="213" y="141"/>
                      <a:pt x="213" y="141"/>
                    </a:cubicBezTo>
                    <a:cubicBezTo>
                      <a:pt x="215" y="142"/>
                      <a:pt x="217" y="143"/>
                      <a:pt x="217" y="147"/>
                    </a:cubicBezTo>
                    <a:cubicBezTo>
                      <a:pt x="217" y="150"/>
                      <a:pt x="215" y="152"/>
                      <a:pt x="213" y="153"/>
                    </a:cubicBezTo>
                    <a:cubicBezTo>
                      <a:pt x="212" y="155"/>
                      <a:pt x="212" y="155"/>
                      <a:pt x="212" y="155"/>
                    </a:cubicBezTo>
                    <a:cubicBezTo>
                      <a:pt x="213" y="156"/>
                      <a:pt x="214" y="157"/>
                      <a:pt x="213" y="159"/>
                    </a:cubicBezTo>
                    <a:cubicBezTo>
                      <a:pt x="213" y="160"/>
                      <a:pt x="212" y="161"/>
                      <a:pt x="212" y="162"/>
                    </a:cubicBezTo>
                    <a:cubicBezTo>
                      <a:pt x="210" y="163"/>
                      <a:pt x="209" y="163"/>
                      <a:pt x="207" y="163"/>
                    </a:cubicBezTo>
                    <a:cubicBezTo>
                      <a:pt x="207" y="163"/>
                      <a:pt x="206" y="163"/>
                      <a:pt x="206" y="163"/>
                    </a:cubicBezTo>
                    <a:cubicBezTo>
                      <a:pt x="205" y="163"/>
                      <a:pt x="204" y="163"/>
                      <a:pt x="204" y="163"/>
                    </a:cubicBezTo>
                    <a:cubicBezTo>
                      <a:pt x="202" y="163"/>
                      <a:pt x="199" y="163"/>
                      <a:pt x="197" y="163"/>
                    </a:cubicBezTo>
                    <a:cubicBezTo>
                      <a:pt x="197" y="161"/>
                      <a:pt x="197" y="161"/>
                      <a:pt x="197" y="161"/>
                    </a:cubicBezTo>
                    <a:cubicBezTo>
                      <a:pt x="197" y="161"/>
                      <a:pt x="197" y="161"/>
                      <a:pt x="197" y="161"/>
                    </a:cubicBezTo>
                    <a:cubicBezTo>
                      <a:pt x="196" y="163"/>
                      <a:pt x="196" y="163"/>
                      <a:pt x="196" y="163"/>
                    </a:cubicBezTo>
                    <a:cubicBezTo>
                      <a:pt x="195" y="162"/>
                      <a:pt x="193" y="162"/>
                      <a:pt x="192" y="162"/>
                    </a:cubicBezTo>
                    <a:cubicBezTo>
                      <a:pt x="189" y="162"/>
                      <a:pt x="186" y="162"/>
                      <a:pt x="183" y="161"/>
                    </a:cubicBezTo>
                    <a:cubicBezTo>
                      <a:pt x="182" y="161"/>
                      <a:pt x="182" y="161"/>
                      <a:pt x="182" y="161"/>
                    </a:cubicBezTo>
                    <a:cubicBezTo>
                      <a:pt x="180" y="161"/>
                      <a:pt x="179" y="161"/>
                      <a:pt x="178" y="161"/>
                    </a:cubicBezTo>
                    <a:cubicBezTo>
                      <a:pt x="176" y="161"/>
                      <a:pt x="174" y="161"/>
                      <a:pt x="172" y="162"/>
                    </a:cubicBezTo>
                    <a:cubicBezTo>
                      <a:pt x="171" y="162"/>
                      <a:pt x="170" y="162"/>
                      <a:pt x="169" y="162"/>
                    </a:cubicBezTo>
                    <a:cubicBezTo>
                      <a:pt x="169" y="162"/>
                      <a:pt x="169" y="162"/>
                      <a:pt x="169" y="162"/>
                    </a:cubicBezTo>
                    <a:cubicBezTo>
                      <a:pt x="168" y="162"/>
                      <a:pt x="167" y="162"/>
                      <a:pt x="166" y="163"/>
                    </a:cubicBezTo>
                    <a:cubicBezTo>
                      <a:pt x="164" y="163"/>
                      <a:pt x="163" y="164"/>
                      <a:pt x="162" y="166"/>
                    </a:cubicBezTo>
                    <a:cubicBezTo>
                      <a:pt x="161" y="168"/>
                      <a:pt x="159" y="171"/>
                      <a:pt x="156" y="172"/>
                    </a:cubicBezTo>
                    <a:cubicBezTo>
                      <a:pt x="156" y="172"/>
                      <a:pt x="155" y="173"/>
                      <a:pt x="154" y="173"/>
                    </a:cubicBezTo>
                    <a:cubicBezTo>
                      <a:pt x="153" y="173"/>
                      <a:pt x="153" y="173"/>
                      <a:pt x="153" y="173"/>
                    </a:cubicBezTo>
                    <a:cubicBezTo>
                      <a:pt x="150" y="174"/>
                      <a:pt x="147" y="176"/>
                      <a:pt x="144" y="176"/>
                    </a:cubicBezTo>
                    <a:cubicBezTo>
                      <a:pt x="144" y="176"/>
                      <a:pt x="144" y="176"/>
                      <a:pt x="143" y="176"/>
                    </a:cubicBezTo>
                    <a:cubicBezTo>
                      <a:pt x="143" y="176"/>
                      <a:pt x="143" y="176"/>
                      <a:pt x="142" y="176"/>
                    </a:cubicBezTo>
                    <a:cubicBezTo>
                      <a:pt x="141" y="176"/>
                      <a:pt x="140" y="176"/>
                      <a:pt x="139" y="175"/>
                    </a:cubicBezTo>
                    <a:cubicBezTo>
                      <a:pt x="138" y="175"/>
                      <a:pt x="138" y="175"/>
                      <a:pt x="138" y="175"/>
                    </a:cubicBezTo>
                    <a:cubicBezTo>
                      <a:pt x="137" y="175"/>
                      <a:pt x="137" y="175"/>
                      <a:pt x="137" y="175"/>
                    </a:cubicBezTo>
                    <a:cubicBezTo>
                      <a:pt x="137" y="176"/>
                      <a:pt x="137" y="176"/>
                      <a:pt x="137" y="176"/>
                    </a:cubicBezTo>
                    <a:cubicBezTo>
                      <a:pt x="137" y="176"/>
                      <a:pt x="138" y="176"/>
                      <a:pt x="138" y="177"/>
                    </a:cubicBezTo>
                    <a:cubicBezTo>
                      <a:pt x="138" y="177"/>
                      <a:pt x="138" y="177"/>
                      <a:pt x="138" y="177"/>
                    </a:cubicBezTo>
                    <a:cubicBezTo>
                      <a:pt x="138" y="177"/>
                      <a:pt x="138" y="177"/>
                      <a:pt x="138" y="177"/>
                    </a:cubicBezTo>
                    <a:cubicBezTo>
                      <a:pt x="139" y="178"/>
                      <a:pt x="140" y="179"/>
                      <a:pt x="140" y="179"/>
                    </a:cubicBezTo>
                    <a:cubicBezTo>
                      <a:pt x="141" y="180"/>
                      <a:pt x="141" y="182"/>
                      <a:pt x="140" y="184"/>
                    </a:cubicBezTo>
                    <a:cubicBezTo>
                      <a:pt x="140" y="184"/>
                      <a:pt x="139" y="185"/>
                      <a:pt x="139" y="185"/>
                    </a:cubicBezTo>
                    <a:cubicBezTo>
                      <a:pt x="140" y="185"/>
                      <a:pt x="141" y="186"/>
                      <a:pt x="141" y="186"/>
                    </a:cubicBezTo>
                    <a:cubicBezTo>
                      <a:pt x="142" y="187"/>
                      <a:pt x="144" y="189"/>
                      <a:pt x="144" y="191"/>
                    </a:cubicBezTo>
                    <a:cubicBezTo>
                      <a:pt x="146" y="197"/>
                      <a:pt x="140" y="199"/>
                      <a:pt x="137" y="200"/>
                    </a:cubicBezTo>
                    <a:cubicBezTo>
                      <a:pt x="137" y="200"/>
                      <a:pt x="136" y="200"/>
                      <a:pt x="136" y="201"/>
                    </a:cubicBezTo>
                    <a:cubicBezTo>
                      <a:pt x="106" y="214"/>
                      <a:pt x="106" y="214"/>
                      <a:pt x="106" y="214"/>
                    </a:cubicBezTo>
                    <a:cubicBezTo>
                      <a:pt x="104" y="215"/>
                      <a:pt x="103" y="217"/>
                      <a:pt x="101" y="218"/>
                    </a:cubicBezTo>
                    <a:cubicBezTo>
                      <a:pt x="101" y="220"/>
                      <a:pt x="100" y="221"/>
                      <a:pt x="99" y="222"/>
                    </a:cubicBezTo>
                    <a:cubicBezTo>
                      <a:pt x="97" y="224"/>
                      <a:pt x="97" y="224"/>
                      <a:pt x="97" y="224"/>
                    </a:cubicBezTo>
                    <a:cubicBezTo>
                      <a:pt x="96" y="225"/>
                      <a:pt x="95" y="226"/>
                      <a:pt x="94" y="227"/>
                    </a:cubicBezTo>
                    <a:cubicBezTo>
                      <a:pt x="92" y="229"/>
                      <a:pt x="90" y="230"/>
                      <a:pt x="88" y="231"/>
                    </a:cubicBezTo>
                    <a:cubicBezTo>
                      <a:pt x="84" y="232"/>
                      <a:pt x="74" y="235"/>
                      <a:pt x="66" y="235"/>
                    </a:cubicBezTo>
                    <a:cubicBezTo>
                      <a:pt x="65" y="235"/>
                      <a:pt x="63" y="235"/>
                      <a:pt x="62" y="234"/>
                    </a:cubicBezTo>
                    <a:cubicBezTo>
                      <a:pt x="61" y="237"/>
                      <a:pt x="59" y="241"/>
                      <a:pt x="55" y="242"/>
                    </a:cubicBezTo>
                    <a:cubicBezTo>
                      <a:pt x="55" y="242"/>
                      <a:pt x="55" y="242"/>
                      <a:pt x="54" y="242"/>
                    </a:cubicBezTo>
                    <a:cubicBezTo>
                      <a:pt x="54" y="242"/>
                      <a:pt x="53" y="242"/>
                      <a:pt x="53" y="242"/>
                    </a:cubicBezTo>
                    <a:cubicBezTo>
                      <a:pt x="52" y="242"/>
                      <a:pt x="51" y="241"/>
                      <a:pt x="51" y="241"/>
                    </a:cubicBezTo>
                    <a:cubicBezTo>
                      <a:pt x="50" y="241"/>
                      <a:pt x="50" y="241"/>
                      <a:pt x="50" y="241"/>
                    </a:cubicBezTo>
                    <a:cubicBezTo>
                      <a:pt x="50" y="241"/>
                      <a:pt x="50" y="241"/>
                      <a:pt x="50" y="241"/>
                    </a:cubicBezTo>
                    <a:cubicBezTo>
                      <a:pt x="48" y="242"/>
                      <a:pt x="46" y="242"/>
                      <a:pt x="44" y="243"/>
                    </a:cubicBezTo>
                    <a:cubicBezTo>
                      <a:pt x="40" y="244"/>
                      <a:pt x="40" y="244"/>
                      <a:pt x="40" y="244"/>
                    </a:cubicBezTo>
                    <a:cubicBezTo>
                      <a:pt x="38" y="244"/>
                      <a:pt x="37" y="245"/>
                      <a:pt x="35" y="245"/>
                    </a:cubicBezTo>
                    <a:cubicBezTo>
                      <a:pt x="33" y="246"/>
                      <a:pt x="31" y="246"/>
                      <a:pt x="28" y="247"/>
                    </a:cubicBezTo>
                    <a:cubicBezTo>
                      <a:pt x="27" y="248"/>
                      <a:pt x="26" y="249"/>
                      <a:pt x="25" y="249"/>
                    </a:cubicBezTo>
                    <a:cubicBezTo>
                      <a:pt x="22" y="252"/>
                      <a:pt x="18" y="255"/>
                      <a:pt x="15" y="257"/>
                    </a:cubicBezTo>
                    <a:cubicBezTo>
                      <a:pt x="11" y="259"/>
                      <a:pt x="11" y="259"/>
                      <a:pt x="11" y="259"/>
                    </a:cubicBezTo>
                    <a:cubicBezTo>
                      <a:pt x="10" y="260"/>
                      <a:pt x="9" y="260"/>
                      <a:pt x="8" y="261"/>
                    </a:cubicBezTo>
                    <a:cubicBezTo>
                      <a:pt x="6" y="263"/>
                      <a:pt x="6" y="263"/>
                      <a:pt x="6" y="263"/>
                    </a:cubicBezTo>
                    <a:cubicBezTo>
                      <a:pt x="4" y="264"/>
                      <a:pt x="3" y="265"/>
                      <a:pt x="1" y="266"/>
                    </a:cubicBezTo>
                    <a:cubicBezTo>
                      <a:pt x="1" y="266"/>
                      <a:pt x="1" y="267"/>
                      <a:pt x="0" y="267"/>
                    </a:cubicBezTo>
                    <a:cubicBezTo>
                      <a:pt x="0" y="293"/>
                      <a:pt x="0" y="293"/>
                      <a:pt x="0" y="293"/>
                    </a:cubicBezTo>
                    <a:cubicBezTo>
                      <a:pt x="1" y="307"/>
                      <a:pt x="1" y="307"/>
                      <a:pt x="1" y="307"/>
                    </a:cubicBezTo>
                    <a:cubicBezTo>
                      <a:pt x="40" y="331"/>
                      <a:pt x="74" y="354"/>
                      <a:pt x="106" y="375"/>
                    </a:cubicBezTo>
                    <a:cubicBezTo>
                      <a:pt x="107" y="375"/>
                      <a:pt x="107" y="375"/>
                      <a:pt x="107" y="375"/>
                    </a:cubicBezTo>
                    <a:cubicBezTo>
                      <a:pt x="126" y="382"/>
                      <a:pt x="126" y="382"/>
                      <a:pt x="126" y="382"/>
                    </a:cubicBezTo>
                    <a:cubicBezTo>
                      <a:pt x="117" y="382"/>
                      <a:pt x="117" y="382"/>
                      <a:pt x="117" y="382"/>
                    </a:cubicBezTo>
                    <a:cubicBezTo>
                      <a:pt x="129" y="390"/>
                      <a:pt x="129" y="390"/>
                      <a:pt x="129" y="390"/>
                    </a:cubicBezTo>
                    <a:cubicBezTo>
                      <a:pt x="129" y="390"/>
                      <a:pt x="129" y="390"/>
                      <a:pt x="129" y="390"/>
                    </a:cubicBezTo>
                    <a:cubicBezTo>
                      <a:pt x="136" y="395"/>
                      <a:pt x="145" y="401"/>
                      <a:pt x="153" y="406"/>
                    </a:cubicBezTo>
                    <a:cubicBezTo>
                      <a:pt x="166" y="416"/>
                      <a:pt x="180" y="425"/>
                      <a:pt x="193" y="434"/>
                    </a:cubicBezTo>
                    <a:cubicBezTo>
                      <a:pt x="201" y="440"/>
                      <a:pt x="210" y="447"/>
                      <a:pt x="220" y="453"/>
                    </a:cubicBezTo>
                    <a:cubicBezTo>
                      <a:pt x="528" y="453"/>
                      <a:pt x="528" y="453"/>
                      <a:pt x="528" y="453"/>
                    </a:cubicBezTo>
                    <a:cubicBezTo>
                      <a:pt x="579" y="422"/>
                      <a:pt x="579" y="422"/>
                      <a:pt x="579" y="422"/>
                    </a:cubicBezTo>
                    <a:cubicBezTo>
                      <a:pt x="578" y="421"/>
                      <a:pt x="578" y="420"/>
                      <a:pt x="577" y="419"/>
                    </a:cubicBezTo>
                    <a:cubicBezTo>
                      <a:pt x="577" y="418"/>
                      <a:pt x="577" y="418"/>
                      <a:pt x="577" y="418"/>
                    </a:cubicBezTo>
                    <a:cubicBezTo>
                      <a:pt x="576" y="417"/>
                      <a:pt x="575" y="415"/>
                      <a:pt x="575" y="414"/>
                    </a:cubicBezTo>
                    <a:cubicBezTo>
                      <a:pt x="574" y="412"/>
                      <a:pt x="573" y="410"/>
                      <a:pt x="572" y="408"/>
                    </a:cubicBezTo>
                    <a:cubicBezTo>
                      <a:pt x="571" y="407"/>
                      <a:pt x="571" y="407"/>
                      <a:pt x="570" y="406"/>
                    </a:cubicBezTo>
                    <a:cubicBezTo>
                      <a:pt x="569" y="403"/>
                      <a:pt x="568" y="402"/>
                      <a:pt x="565" y="401"/>
                    </a:cubicBezTo>
                    <a:cubicBezTo>
                      <a:pt x="559" y="399"/>
                      <a:pt x="559" y="399"/>
                      <a:pt x="559" y="399"/>
                    </a:cubicBezTo>
                    <a:cubicBezTo>
                      <a:pt x="557" y="398"/>
                      <a:pt x="554" y="398"/>
                      <a:pt x="552" y="397"/>
                    </a:cubicBezTo>
                    <a:cubicBezTo>
                      <a:pt x="550" y="396"/>
                      <a:pt x="549" y="396"/>
                      <a:pt x="548" y="396"/>
                    </a:cubicBezTo>
                    <a:cubicBezTo>
                      <a:pt x="548" y="396"/>
                      <a:pt x="548" y="396"/>
                      <a:pt x="548" y="396"/>
                    </a:cubicBezTo>
                    <a:cubicBezTo>
                      <a:pt x="548" y="396"/>
                      <a:pt x="548" y="396"/>
                      <a:pt x="548" y="396"/>
                    </a:cubicBezTo>
                    <a:cubicBezTo>
                      <a:pt x="547" y="396"/>
                      <a:pt x="546" y="396"/>
                      <a:pt x="544" y="397"/>
                    </a:cubicBezTo>
                    <a:cubicBezTo>
                      <a:pt x="543" y="397"/>
                      <a:pt x="543" y="397"/>
                      <a:pt x="543" y="397"/>
                    </a:cubicBezTo>
                    <a:cubicBezTo>
                      <a:pt x="543" y="397"/>
                      <a:pt x="543" y="397"/>
                      <a:pt x="543" y="397"/>
                    </a:cubicBezTo>
                    <a:cubicBezTo>
                      <a:pt x="543" y="404"/>
                      <a:pt x="543" y="404"/>
                      <a:pt x="543" y="404"/>
                    </a:cubicBezTo>
                    <a:cubicBezTo>
                      <a:pt x="541" y="397"/>
                      <a:pt x="541" y="397"/>
                      <a:pt x="541" y="397"/>
                    </a:cubicBezTo>
                    <a:cubicBezTo>
                      <a:pt x="540" y="397"/>
                      <a:pt x="540" y="397"/>
                      <a:pt x="540" y="397"/>
                    </a:cubicBezTo>
                    <a:cubicBezTo>
                      <a:pt x="539" y="397"/>
                      <a:pt x="539" y="397"/>
                      <a:pt x="538" y="397"/>
                    </a:cubicBezTo>
                    <a:cubicBezTo>
                      <a:pt x="537" y="396"/>
                      <a:pt x="537" y="396"/>
                      <a:pt x="537" y="396"/>
                    </a:cubicBezTo>
                    <a:cubicBezTo>
                      <a:pt x="536" y="396"/>
                      <a:pt x="535" y="395"/>
                      <a:pt x="534" y="394"/>
                    </a:cubicBezTo>
                    <a:cubicBezTo>
                      <a:pt x="534" y="394"/>
                      <a:pt x="534" y="394"/>
                      <a:pt x="534" y="394"/>
                    </a:cubicBezTo>
                    <a:cubicBezTo>
                      <a:pt x="533" y="393"/>
                      <a:pt x="533" y="393"/>
                      <a:pt x="533" y="393"/>
                    </a:cubicBezTo>
                    <a:cubicBezTo>
                      <a:pt x="531" y="391"/>
                      <a:pt x="529" y="389"/>
                      <a:pt x="528" y="387"/>
                    </a:cubicBezTo>
                    <a:cubicBezTo>
                      <a:pt x="527" y="386"/>
                      <a:pt x="527" y="385"/>
                      <a:pt x="526" y="384"/>
                    </a:cubicBezTo>
                    <a:cubicBezTo>
                      <a:pt x="526" y="384"/>
                      <a:pt x="526" y="383"/>
                      <a:pt x="526" y="383"/>
                    </a:cubicBezTo>
                    <a:cubicBezTo>
                      <a:pt x="526" y="383"/>
                      <a:pt x="526" y="383"/>
                      <a:pt x="526" y="383"/>
                    </a:cubicBezTo>
                    <a:cubicBezTo>
                      <a:pt x="526" y="382"/>
                      <a:pt x="526" y="382"/>
                      <a:pt x="526" y="382"/>
                    </a:cubicBezTo>
                    <a:cubicBezTo>
                      <a:pt x="525" y="380"/>
                      <a:pt x="525" y="377"/>
                      <a:pt x="524" y="375"/>
                    </a:cubicBezTo>
                    <a:cubicBezTo>
                      <a:pt x="523" y="371"/>
                      <a:pt x="523" y="367"/>
                      <a:pt x="521" y="364"/>
                    </a:cubicBezTo>
                    <a:cubicBezTo>
                      <a:pt x="521" y="363"/>
                      <a:pt x="520" y="362"/>
                      <a:pt x="519" y="361"/>
                    </a:cubicBezTo>
                    <a:cubicBezTo>
                      <a:pt x="518" y="360"/>
                      <a:pt x="518" y="360"/>
                      <a:pt x="518" y="360"/>
                    </a:cubicBezTo>
                    <a:cubicBezTo>
                      <a:pt x="518" y="360"/>
                      <a:pt x="518" y="359"/>
                      <a:pt x="517" y="359"/>
                    </a:cubicBezTo>
                    <a:cubicBezTo>
                      <a:pt x="517" y="358"/>
                      <a:pt x="517" y="358"/>
                      <a:pt x="517" y="358"/>
                    </a:cubicBezTo>
                    <a:cubicBezTo>
                      <a:pt x="516" y="358"/>
                      <a:pt x="516" y="357"/>
                      <a:pt x="515" y="356"/>
                    </a:cubicBezTo>
                    <a:cubicBezTo>
                      <a:pt x="511" y="351"/>
                      <a:pt x="508" y="347"/>
                      <a:pt x="508" y="344"/>
                    </a:cubicBezTo>
                    <a:cubicBezTo>
                      <a:pt x="507" y="341"/>
                      <a:pt x="508" y="339"/>
                      <a:pt x="512" y="336"/>
                    </a:cubicBezTo>
                    <a:cubicBezTo>
                      <a:pt x="512" y="335"/>
                      <a:pt x="514" y="333"/>
                      <a:pt x="515" y="333"/>
                    </a:cubicBezTo>
                    <a:cubicBezTo>
                      <a:pt x="516" y="332"/>
                      <a:pt x="517" y="331"/>
                      <a:pt x="518" y="331"/>
                    </a:cubicBezTo>
                    <a:cubicBezTo>
                      <a:pt x="519" y="331"/>
                      <a:pt x="519" y="331"/>
                      <a:pt x="519" y="331"/>
                    </a:cubicBezTo>
                    <a:cubicBezTo>
                      <a:pt x="519" y="330"/>
                      <a:pt x="520" y="330"/>
                      <a:pt x="520" y="330"/>
                    </a:cubicBezTo>
                    <a:cubicBezTo>
                      <a:pt x="520" y="330"/>
                      <a:pt x="520" y="329"/>
                      <a:pt x="520" y="329"/>
                    </a:cubicBezTo>
                    <a:cubicBezTo>
                      <a:pt x="520" y="328"/>
                      <a:pt x="520" y="328"/>
                      <a:pt x="520" y="328"/>
                    </a:cubicBezTo>
                    <a:cubicBezTo>
                      <a:pt x="519" y="325"/>
                      <a:pt x="519" y="322"/>
                      <a:pt x="519" y="319"/>
                    </a:cubicBezTo>
                    <a:cubicBezTo>
                      <a:pt x="518" y="317"/>
                      <a:pt x="518" y="317"/>
                      <a:pt x="518" y="317"/>
                    </a:cubicBezTo>
                    <a:cubicBezTo>
                      <a:pt x="518" y="316"/>
                      <a:pt x="518" y="315"/>
                      <a:pt x="518" y="315"/>
                    </a:cubicBezTo>
                    <a:cubicBezTo>
                      <a:pt x="518" y="314"/>
                      <a:pt x="518" y="314"/>
                      <a:pt x="518" y="313"/>
                    </a:cubicBezTo>
                    <a:cubicBezTo>
                      <a:pt x="517" y="312"/>
                      <a:pt x="517" y="311"/>
                      <a:pt x="517" y="309"/>
                    </a:cubicBezTo>
                    <a:cubicBezTo>
                      <a:pt x="516" y="306"/>
                      <a:pt x="518" y="303"/>
                      <a:pt x="519" y="301"/>
                    </a:cubicBezTo>
                    <a:cubicBezTo>
                      <a:pt x="519" y="300"/>
                      <a:pt x="519" y="299"/>
                      <a:pt x="520" y="299"/>
                    </a:cubicBezTo>
                    <a:cubicBezTo>
                      <a:pt x="520" y="298"/>
                      <a:pt x="520" y="297"/>
                      <a:pt x="521" y="297"/>
                    </a:cubicBezTo>
                    <a:cubicBezTo>
                      <a:pt x="522" y="294"/>
                      <a:pt x="522" y="293"/>
                      <a:pt x="522" y="291"/>
                    </a:cubicBezTo>
                    <a:cubicBezTo>
                      <a:pt x="520" y="286"/>
                      <a:pt x="520" y="286"/>
                      <a:pt x="520" y="286"/>
                    </a:cubicBezTo>
                    <a:cubicBezTo>
                      <a:pt x="520" y="284"/>
                      <a:pt x="519" y="282"/>
                      <a:pt x="519" y="280"/>
                    </a:cubicBezTo>
                    <a:cubicBezTo>
                      <a:pt x="518" y="275"/>
                      <a:pt x="519" y="271"/>
                      <a:pt x="519" y="266"/>
                    </a:cubicBezTo>
                    <a:cubicBezTo>
                      <a:pt x="519" y="265"/>
                      <a:pt x="519" y="265"/>
                      <a:pt x="519" y="265"/>
                    </a:cubicBezTo>
                    <a:cubicBezTo>
                      <a:pt x="520" y="264"/>
                      <a:pt x="520" y="263"/>
                      <a:pt x="520" y="261"/>
                    </a:cubicBezTo>
                    <a:cubicBezTo>
                      <a:pt x="520" y="253"/>
                      <a:pt x="519" y="246"/>
                      <a:pt x="515" y="240"/>
                    </a:cubicBezTo>
                    <a:cubicBezTo>
                      <a:pt x="515" y="240"/>
                      <a:pt x="514" y="239"/>
                      <a:pt x="513" y="237"/>
                    </a:cubicBezTo>
                    <a:cubicBezTo>
                      <a:pt x="509" y="231"/>
                      <a:pt x="506" y="226"/>
                      <a:pt x="505" y="222"/>
                    </a:cubicBezTo>
                    <a:cubicBezTo>
                      <a:pt x="505" y="222"/>
                      <a:pt x="505" y="221"/>
                      <a:pt x="505" y="221"/>
                    </a:cubicBezTo>
                    <a:cubicBezTo>
                      <a:pt x="505" y="221"/>
                      <a:pt x="505" y="220"/>
                      <a:pt x="506" y="219"/>
                    </a:cubicBezTo>
                    <a:cubicBezTo>
                      <a:pt x="507" y="217"/>
                      <a:pt x="507" y="217"/>
                      <a:pt x="507" y="217"/>
                    </a:cubicBezTo>
                    <a:cubicBezTo>
                      <a:pt x="509" y="217"/>
                      <a:pt x="509" y="217"/>
                      <a:pt x="509" y="217"/>
                    </a:cubicBezTo>
                    <a:cubicBezTo>
                      <a:pt x="510" y="218"/>
                      <a:pt x="510" y="218"/>
                      <a:pt x="510" y="218"/>
                    </a:cubicBezTo>
                    <a:cubicBezTo>
                      <a:pt x="509" y="217"/>
                      <a:pt x="509" y="217"/>
                      <a:pt x="509" y="217"/>
                    </a:cubicBezTo>
                    <a:cubicBezTo>
                      <a:pt x="509" y="217"/>
                      <a:pt x="510" y="216"/>
                      <a:pt x="510" y="216"/>
                    </a:cubicBezTo>
                    <a:cubicBezTo>
                      <a:pt x="510" y="216"/>
                      <a:pt x="510" y="216"/>
                      <a:pt x="510" y="216"/>
                    </a:cubicBezTo>
                    <a:cubicBezTo>
                      <a:pt x="510" y="216"/>
                      <a:pt x="510" y="216"/>
                      <a:pt x="510" y="216"/>
                    </a:cubicBezTo>
                    <a:cubicBezTo>
                      <a:pt x="498" y="165"/>
                      <a:pt x="498" y="165"/>
                      <a:pt x="498" y="165"/>
                    </a:cubicBezTo>
                    <a:cubicBezTo>
                      <a:pt x="498" y="164"/>
                      <a:pt x="498" y="164"/>
                      <a:pt x="497" y="163"/>
                    </a:cubicBezTo>
                    <a:cubicBezTo>
                      <a:pt x="496" y="162"/>
                      <a:pt x="495" y="161"/>
                      <a:pt x="493" y="160"/>
                    </a:cubicBezTo>
                    <a:cubicBezTo>
                      <a:pt x="492" y="159"/>
                      <a:pt x="491" y="159"/>
                      <a:pt x="490" y="158"/>
                    </a:cubicBezTo>
                    <a:cubicBezTo>
                      <a:pt x="482" y="151"/>
                      <a:pt x="482" y="151"/>
                      <a:pt x="482" y="151"/>
                    </a:cubicBezTo>
                    <a:cubicBezTo>
                      <a:pt x="481" y="151"/>
                      <a:pt x="481" y="150"/>
                      <a:pt x="480" y="150"/>
                    </a:cubicBezTo>
                    <a:cubicBezTo>
                      <a:pt x="479" y="149"/>
                      <a:pt x="479" y="149"/>
                      <a:pt x="479" y="149"/>
                    </a:cubicBezTo>
                    <a:cubicBezTo>
                      <a:pt x="476" y="147"/>
                      <a:pt x="476" y="143"/>
                      <a:pt x="476" y="141"/>
                    </a:cubicBezTo>
                    <a:cubicBezTo>
                      <a:pt x="476" y="139"/>
                      <a:pt x="476" y="139"/>
                      <a:pt x="476" y="139"/>
                    </a:cubicBezTo>
                    <a:cubicBezTo>
                      <a:pt x="476" y="138"/>
                      <a:pt x="476" y="137"/>
                      <a:pt x="475" y="136"/>
                    </a:cubicBezTo>
                    <a:cubicBezTo>
                      <a:pt x="475" y="136"/>
                      <a:pt x="475" y="136"/>
                      <a:pt x="475" y="136"/>
                    </a:cubicBezTo>
                    <a:cubicBezTo>
                      <a:pt x="475" y="135"/>
                      <a:pt x="475" y="135"/>
                      <a:pt x="475" y="135"/>
                    </a:cubicBezTo>
                    <a:cubicBezTo>
                      <a:pt x="473" y="133"/>
                      <a:pt x="473" y="133"/>
                      <a:pt x="473" y="133"/>
                    </a:cubicBezTo>
                    <a:cubicBezTo>
                      <a:pt x="472" y="132"/>
                      <a:pt x="470" y="130"/>
                      <a:pt x="468" y="128"/>
                    </a:cubicBezTo>
                    <a:cubicBezTo>
                      <a:pt x="465" y="125"/>
                      <a:pt x="461" y="122"/>
                      <a:pt x="459" y="118"/>
                    </a:cubicBezTo>
                    <a:cubicBezTo>
                      <a:pt x="457" y="115"/>
                      <a:pt x="454" y="109"/>
                      <a:pt x="453" y="103"/>
                    </a:cubicBezTo>
                    <a:cubicBezTo>
                      <a:pt x="452" y="97"/>
                      <a:pt x="454" y="94"/>
                      <a:pt x="456" y="92"/>
                    </a:cubicBezTo>
                    <a:cubicBezTo>
                      <a:pt x="457" y="91"/>
                      <a:pt x="457" y="91"/>
                      <a:pt x="457" y="91"/>
                    </a:cubicBezTo>
                    <a:cubicBezTo>
                      <a:pt x="459" y="89"/>
                      <a:pt x="462" y="87"/>
                      <a:pt x="465" y="84"/>
                    </a:cubicBezTo>
                    <a:cubicBezTo>
                      <a:pt x="469" y="81"/>
                      <a:pt x="472" y="78"/>
                      <a:pt x="475" y="74"/>
                    </a:cubicBezTo>
                    <a:cubicBezTo>
                      <a:pt x="477" y="70"/>
                      <a:pt x="478" y="65"/>
                      <a:pt x="479" y="60"/>
                    </a:cubicBezTo>
                    <a:cubicBezTo>
                      <a:pt x="479" y="59"/>
                      <a:pt x="479" y="58"/>
                      <a:pt x="479" y="56"/>
                    </a:cubicBezTo>
                    <a:cubicBezTo>
                      <a:pt x="479" y="56"/>
                      <a:pt x="479" y="56"/>
                      <a:pt x="479" y="56"/>
                    </a:cubicBezTo>
                    <a:cubicBezTo>
                      <a:pt x="479" y="55"/>
                      <a:pt x="478" y="54"/>
                      <a:pt x="478" y="54"/>
                    </a:cubicBezTo>
                    <a:cubicBezTo>
                      <a:pt x="477" y="49"/>
                      <a:pt x="477" y="49"/>
                      <a:pt x="477" y="49"/>
                    </a:cubicBezTo>
                    <a:cubicBezTo>
                      <a:pt x="477" y="49"/>
                      <a:pt x="477" y="48"/>
                      <a:pt x="477" y="47"/>
                    </a:cubicBezTo>
                    <a:cubicBezTo>
                      <a:pt x="477" y="46"/>
                      <a:pt x="477" y="46"/>
                      <a:pt x="477" y="46"/>
                    </a:cubicBezTo>
                    <a:cubicBezTo>
                      <a:pt x="476" y="42"/>
                      <a:pt x="475" y="37"/>
                      <a:pt x="476" y="33"/>
                    </a:cubicBezTo>
                    <a:cubicBezTo>
                      <a:pt x="477" y="27"/>
                      <a:pt x="477" y="27"/>
                      <a:pt x="477" y="27"/>
                    </a:cubicBezTo>
                    <a:cubicBezTo>
                      <a:pt x="477" y="24"/>
                      <a:pt x="477" y="24"/>
                      <a:pt x="475" y="22"/>
                    </a:cubicBezTo>
                    <a:cubicBezTo>
                      <a:pt x="471" y="19"/>
                      <a:pt x="471" y="19"/>
                      <a:pt x="471" y="19"/>
                    </a:cubicBezTo>
                    <a:cubicBezTo>
                      <a:pt x="483" y="4"/>
                      <a:pt x="483" y="4"/>
                      <a:pt x="483" y="4"/>
                    </a:cubicBezTo>
                    <a:cubicBezTo>
                      <a:pt x="479" y="4"/>
                      <a:pt x="475" y="5"/>
                      <a:pt x="470" y="5"/>
                    </a:cubicBezTo>
                    <a:cubicBezTo>
                      <a:pt x="469" y="5"/>
                      <a:pt x="467" y="6"/>
                      <a:pt x="465" y="6"/>
                    </a:cubicBezTo>
                    <a:cubicBezTo>
                      <a:pt x="465" y="6"/>
                      <a:pt x="464" y="6"/>
                      <a:pt x="464" y="6"/>
                    </a:cubicBezTo>
                    <a:cubicBezTo>
                      <a:pt x="463" y="5"/>
                      <a:pt x="464" y="3"/>
                      <a:pt x="462" y="2"/>
                    </a:cubicBezTo>
                    <a:cubicBezTo>
                      <a:pt x="458" y="1"/>
                      <a:pt x="455" y="0"/>
                      <a:pt x="452" y="0"/>
                    </a:cubicBezTo>
                    <a:cubicBezTo>
                      <a:pt x="450" y="0"/>
                      <a:pt x="448" y="1"/>
                      <a:pt x="447" y="2"/>
                    </a:cubicBezTo>
                    <a:cubicBezTo>
                      <a:pt x="445" y="3"/>
                      <a:pt x="442" y="6"/>
                      <a:pt x="440" y="6"/>
                    </a:cubicBezTo>
                    <a:cubicBezTo>
                      <a:pt x="440" y="6"/>
                      <a:pt x="440" y="6"/>
                      <a:pt x="439" y="6"/>
                    </a:cubicBezTo>
                    <a:cubicBezTo>
                      <a:pt x="438" y="5"/>
                      <a:pt x="438" y="4"/>
                      <a:pt x="437" y="4"/>
                    </a:cubicBezTo>
                    <a:cubicBezTo>
                      <a:pt x="435" y="4"/>
                      <a:pt x="433" y="4"/>
                      <a:pt x="432" y="3"/>
                    </a:cubicBezTo>
                    <a:cubicBezTo>
                      <a:pt x="428" y="2"/>
                      <a:pt x="426" y="0"/>
                      <a:pt x="4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236"/>
              <p:cNvSpPr>
                <a:spLocks noEditPoints="1"/>
              </p:cNvSpPr>
              <p:nvPr/>
            </p:nvSpPr>
            <p:spPr bwMode="auto">
              <a:xfrm>
                <a:off x="4798021" y="1079740"/>
                <a:ext cx="2365844" cy="1923630"/>
              </a:xfrm>
              <a:custGeom>
                <a:gdLst>
                  <a:gd name="T0" fmla="*/ 637 w 746"/>
                  <a:gd name="T1" fmla="*/ 27 h 605"/>
                  <a:gd name="T2" fmla="*/ 618 w 746"/>
                  <a:gd name="T3" fmla="*/ 39 h 605"/>
                  <a:gd name="T4" fmla="*/ 586 w 746"/>
                  <a:gd name="T5" fmla="*/ 44 h 605"/>
                  <a:gd name="T6" fmla="*/ 579 w 746"/>
                  <a:gd name="T7" fmla="*/ 10 h 605"/>
                  <a:gd name="T8" fmla="*/ 556 w 746"/>
                  <a:gd name="T9" fmla="*/ 14 h 605"/>
                  <a:gd name="T10" fmla="*/ 530 w 746"/>
                  <a:gd name="T11" fmla="*/ 45 h 605"/>
                  <a:gd name="T12" fmla="*/ 501 w 746"/>
                  <a:gd name="T13" fmla="*/ 44 h 605"/>
                  <a:gd name="T14" fmla="*/ 475 w 746"/>
                  <a:gd name="T15" fmla="*/ 52 h 605"/>
                  <a:gd name="T16" fmla="*/ 445 w 746"/>
                  <a:gd name="T17" fmla="*/ 78 h 605"/>
                  <a:gd name="T18" fmla="*/ 426 w 746"/>
                  <a:gd name="T19" fmla="*/ 70 h 605"/>
                  <a:gd name="T20" fmla="*/ 389 w 746"/>
                  <a:gd name="T21" fmla="*/ 82 h 605"/>
                  <a:gd name="T22" fmla="*/ 359 w 746"/>
                  <a:gd name="T23" fmla="*/ 116 h 605"/>
                  <a:gd name="T24" fmla="*/ 359 w 746"/>
                  <a:gd name="T25" fmla="*/ 131 h 605"/>
                  <a:gd name="T26" fmla="*/ 337 w 746"/>
                  <a:gd name="T27" fmla="*/ 153 h 605"/>
                  <a:gd name="T28" fmla="*/ 306 w 746"/>
                  <a:gd name="T29" fmla="*/ 152 h 605"/>
                  <a:gd name="T30" fmla="*/ 289 w 746"/>
                  <a:gd name="T31" fmla="*/ 162 h 605"/>
                  <a:gd name="T32" fmla="*/ 311 w 746"/>
                  <a:gd name="T33" fmla="*/ 187 h 605"/>
                  <a:gd name="T34" fmla="*/ 270 w 746"/>
                  <a:gd name="T35" fmla="*/ 192 h 605"/>
                  <a:gd name="T36" fmla="*/ 242 w 746"/>
                  <a:gd name="T37" fmla="*/ 218 h 605"/>
                  <a:gd name="T38" fmla="*/ 232 w 746"/>
                  <a:gd name="T39" fmla="*/ 229 h 605"/>
                  <a:gd name="T40" fmla="*/ 229 w 746"/>
                  <a:gd name="T41" fmla="*/ 254 h 605"/>
                  <a:gd name="T42" fmla="*/ 212 w 746"/>
                  <a:gd name="T43" fmla="*/ 272 h 605"/>
                  <a:gd name="T44" fmla="*/ 210 w 746"/>
                  <a:gd name="T45" fmla="*/ 290 h 605"/>
                  <a:gd name="T46" fmla="*/ 189 w 746"/>
                  <a:gd name="T47" fmla="*/ 324 h 605"/>
                  <a:gd name="T48" fmla="*/ 138 w 746"/>
                  <a:gd name="T49" fmla="*/ 358 h 605"/>
                  <a:gd name="T50" fmla="*/ 165 w 746"/>
                  <a:gd name="T51" fmla="*/ 365 h 605"/>
                  <a:gd name="T52" fmla="*/ 113 w 746"/>
                  <a:gd name="T53" fmla="*/ 381 h 605"/>
                  <a:gd name="T54" fmla="*/ 91 w 746"/>
                  <a:gd name="T55" fmla="*/ 395 h 605"/>
                  <a:gd name="T56" fmla="*/ 73 w 746"/>
                  <a:gd name="T57" fmla="*/ 407 h 605"/>
                  <a:gd name="T58" fmla="*/ 60 w 746"/>
                  <a:gd name="T59" fmla="*/ 416 h 605"/>
                  <a:gd name="T60" fmla="*/ 50 w 746"/>
                  <a:gd name="T61" fmla="*/ 425 h 605"/>
                  <a:gd name="T62" fmla="*/ 11 w 746"/>
                  <a:gd name="T63" fmla="*/ 425 h 605"/>
                  <a:gd name="T64" fmla="*/ 0 w 746"/>
                  <a:gd name="T65" fmla="*/ 441 h 605"/>
                  <a:gd name="T66" fmla="*/ 7 w 746"/>
                  <a:gd name="T67" fmla="*/ 459 h 605"/>
                  <a:gd name="T68" fmla="*/ 63 w 746"/>
                  <a:gd name="T69" fmla="*/ 470 h 605"/>
                  <a:gd name="T70" fmla="*/ 62 w 746"/>
                  <a:gd name="T71" fmla="*/ 481 h 605"/>
                  <a:gd name="T72" fmla="*/ 5 w 746"/>
                  <a:gd name="T73" fmla="*/ 479 h 605"/>
                  <a:gd name="T74" fmla="*/ 13 w 746"/>
                  <a:gd name="T75" fmla="*/ 510 h 605"/>
                  <a:gd name="T76" fmla="*/ 48 w 746"/>
                  <a:gd name="T77" fmla="*/ 516 h 605"/>
                  <a:gd name="T78" fmla="*/ 28 w 746"/>
                  <a:gd name="T79" fmla="*/ 536 h 605"/>
                  <a:gd name="T80" fmla="*/ 21 w 746"/>
                  <a:gd name="T81" fmla="*/ 542 h 605"/>
                  <a:gd name="T82" fmla="*/ 30 w 746"/>
                  <a:gd name="T83" fmla="*/ 559 h 605"/>
                  <a:gd name="T84" fmla="*/ 53 w 746"/>
                  <a:gd name="T85" fmla="*/ 594 h 605"/>
                  <a:gd name="T86" fmla="*/ 116 w 746"/>
                  <a:gd name="T87" fmla="*/ 579 h 605"/>
                  <a:gd name="T88" fmla="*/ 156 w 746"/>
                  <a:gd name="T89" fmla="*/ 539 h 605"/>
                  <a:gd name="T90" fmla="*/ 179 w 746"/>
                  <a:gd name="T91" fmla="*/ 556 h 605"/>
                  <a:gd name="T92" fmla="*/ 196 w 746"/>
                  <a:gd name="T93" fmla="*/ 528 h 605"/>
                  <a:gd name="T94" fmla="*/ 211 w 746"/>
                  <a:gd name="T95" fmla="*/ 487 h 605"/>
                  <a:gd name="T96" fmla="*/ 210 w 746"/>
                  <a:gd name="T97" fmla="*/ 453 h 605"/>
                  <a:gd name="T98" fmla="*/ 201 w 746"/>
                  <a:gd name="T99" fmla="*/ 381 h 605"/>
                  <a:gd name="T100" fmla="*/ 259 w 746"/>
                  <a:gd name="T101" fmla="*/ 336 h 605"/>
                  <a:gd name="T102" fmla="*/ 271 w 746"/>
                  <a:gd name="T103" fmla="*/ 282 h 605"/>
                  <a:gd name="T104" fmla="*/ 302 w 746"/>
                  <a:gd name="T105" fmla="*/ 224 h 605"/>
                  <a:gd name="T106" fmla="*/ 355 w 746"/>
                  <a:gd name="T107" fmla="*/ 149 h 605"/>
                  <a:gd name="T108" fmla="*/ 428 w 746"/>
                  <a:gd name="T109" fmla="*/ 136 h 605"/>
                  <a:gd name="T110" fmla="*/ 463 w 746"/>
                  <a:gd name="T111" fmla="*/ 91 h 605"/>
                  <a:gd name="T112" fmla="*/ 572 w 746"/>
                  <a:gd name="T113" fmla="*/ 122 h 605"/>
                  <a:gd name="T114" fmla="*/ 609 w 746"/>
                  <a:gd name="T115" fmla="*/ 64 h 605"/>
                  <a:gd name="T116" fmla="*/ 677 w 746"/>
                  <a:gd name="T117" fmla="*/ 65 h 605"/>
                  <a:gd name="T118" fmla="*/ 726 w 746"/>
                  <a:gd name="T119" fmla="*/ 73 h 605"/>
                  <a:gd name="T120" fmla="*/ 705 w 746"/>
                  <a:gd name="T121" fmla="*/ 70 h 605"/>
                  <a:gd name="T122" fmla="*/ 716 w 746"/>
                  <a:gd name="T123" fmla="*/ 21 h 605"/>
                  <a:gd name="T124" fmla="*/ 666 w 746"/>
                  <a:gd name="T125" fmla="*/ 20 h 6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6" h="605">
                    <a:moveTo>
                      <a:pt x="283" y="172"/>
                    </a:moveTo>
                    <a:cubicBezTo>
                      <a:pt x="282" y="172"/>
                      <a:pt x="282" y="173"/>
                      <a:pt x="282" y="173"/>
                    </a:cubicBezTo>
                    <a:cubicBezTo>
                      <a:pt x="282" y="173"/>
                      <a:pt x="283" y="172"/>
                      <a:pt x="283" y="172"/>
                    </a:cubicBezTo>
                    <a:moveTo>
                      <a:pt x="649" y="0"/>
                    </a:moveTo>
                    <a:cubicBezTo>
                      <a:pt x="648" y="1"/>
                      <a:pt x="647" y="6"/>
                      <a:pt x="646" y="8"/>
                    </a:cubicBezTo>
                    <a:cubicBezTo>
                      <a:pt x="644" y="10"/>
                      <a:pt x="639" y="10"/>
                      <a:pt x="636" y="12"/>
                    </a:cubicBezTo>
                    <a:cubicBezTo>
                      <a:pt x="637" y="12"/>
                      <a:pt x="638" y="12"/>
                      <a:pt x="639" y="12"/>
                    </a:cubicBezTo>
                    <a:cubicBezTo>
                      <a:pt x="640" y="12"/>
                      <a:pt x="640" y="12"/>
                      <a:pt x="641" y="12"/>
                    </a:cubicBezTo>
                    <a:cubicBezTo>
                      <a:pt x="641" y="12"/>
                      <a:pt x="641" y="12"/>
                      <a:pt x="641" y="12"/>
                    </a:cubicBezTo>
                    <a:cubicBezTo>
                      <a:pt x="641" y="12"/>
                      <a:pt x="641" y="12"/>
                      <a:pt x="641" y="12"/>
                    </a:cubicBezTo>
                    <a:cubicBezTo>
                      <a:pt x="643" y="12"/>
                      <a:pt x="643" y="13"/>
                      <a:pt x="645" y="13"/>
                    </a:cubicBezTo>
                    <a:cubicBezTo>
                      <a:pt x="642" y="16"/>
                      <a:pt x="646" y="16"/>
                      <a:pt x="648" y="16"/>
                    </a:cubicBezTo>
                    <a:cubicBezTo>
                      <a:pt x="643" y="19"/>
                      <a:pt x="638" y="19"/>
                      <a:pt x="632" y="22"/>
                    </a:cubicBezTo>
                    <a:cubicBezTo>
                      <a:pt x="636" y="22"/>
                      <a:pt x="632" y="24"/>
                      <a:pt x="633" y="25"/>
                    </a:cubicBezTo>
                    <a:cubicBezTo>
                      <a:pt x="634" y="26"/>
                      <a:pt x="637" y="27"/>
                      <a:pt x="637" y="27"/>
                    </a:cubicBezTo>
                    <a:cubicBezTo>
                      <a:pt x="636" y="27"/>
                      <a:pt x="633" y="26"/>
                      <a:pt x="632" y="26"/>
                    </a:cubicBezTo>
                    <a:cubicBezTo>
                      <a:pt x="630" y="26"/>
                      <a:pt x="629" y="27"/>
                      <a:pt x="629" y="29"/>
                    </a:cubicBezTo>
                    <a:cubicBezTo>
                      <a:pt x="629" y="31"/>
                      <a:pt x="631" y="32"/>
                      <a:pt x="633" y="33"/>
                    </a:cubicBezTo>
                    <a:cubicBezTo>
                      <a:pt x="631" y="33"/>
                      <a:pt x="631" y="34"/>
                      <a:pt x="630" y="34"/>
                    </a:cubicBezTo>
                    <a:cubicBezTo>
                      <a:pt x="629" y="34"/>
                      <a:pt x="629" y="33"/>
                      <a:pt x="628" y="33"/>
                    </a:cubicBezTo>
                    <a:cubicBezTo>
                      <a:pt x="627" y="33"/>
                      <a:pt x="627" y="32"/>
                      <a:pt x="625" y="32"/>
                    </a:cubicBezTo>
                    <a:cubicBezTo>
                      <a:pt x="625" y="32"/>
                      <a:pt x="625" y="32"/>
                      <a:pt x="625" y="32"/>
                    </a:cubicBezTo>
                    <a:cubicBezTo>
                      <a:pt x="623" y="33"/>
                      <a:pt x="623" y="34"/>
                      <a:pt x="621" y="36"/>
                    </a:cubicBezTo>
                    <a:cubicBezTo>
                      <a:pt x="621" y="36"/>
                      <a:pt x="621" y="36"/>
                      <a:pt x="621" y="36"/>
                    </a:cubicBezTo>
                    <a:cubicBezTo>
                      <a:pt x="621" y="36"/>
                      <a:pt x="620" y="36"/>
                      <a:pt x="620" y="36"/>
                    </a:cubicBezTo>
                    <a:cubicBezTo>
                      <a:pt x="619" y="37"/>
                      <a:pt x="619" y="37"/>
                      <a:pt x="619" y="37"/>
                    </a:cubicBezTo>
                    <a:cubicBezTo>
                      <a:pt x="619" y="37"/>
                      <a:pt x="619" y="37"/>
                      <a:pt x="619" y="37"/>
                    </a:cubicBezTo>
                    <a:cubicBezTo>
                      <a:pt x="619" y="37"/>
                      <a:pt x="619" y="37"/>
                      <a:pt x="619" y="37"/>
                    </a:cubicBezTo>
                    <a:cubicBezTo>
                      <a:pt x="619" y="37"/>
                      <a:pt x="619" y="37"/>
                      <a:pt x="619" y="38"/>
                    </a:cubicBezTo>
                    <a:cubicBezTo>
                      <a:pt x="618" y="38"/>
                      <a:pt x="618" y="39"/>
                      <a:pt x="618" y="39"/>
                    </a:cubicBezTo>
                    <a:cubicBezTo>
                      <a:pt x="617" y="39"/>
                      <a:pt x="617" y="38"/>
                      <a:pt x="616" y="37"/>
                    </a:cubicBezTo>
                    <a:cubicBezTo>
                      <a:pt x="616" y="34"/>
                      <a:pt x="616" y="24"/>
                      <a:pt x="613" y="24"/>
                    </a:cubicBezTo>
                    <a:cubicBezTo>
                      <a:pt x="612" y="24"/>
                      <a:pt x="612" y="24"/>
                      <a:pt x="612" y="24"/>
                    </a:cubicBezTo>
                    <a:cubicBezTo>
                      <a:pt x="614" y="22"/>
                      <a:pt x="618" y="22"/>
                      <a:pt x="620" y="20"/>
                    </a:cubicBezTo>
                    <a:cubicBezTo>
                      <a:pt x="622" y="17"/>
                      <a:pt x="621" y="11"/>
                      <a:pt x="621" y="8"/>
                    </a:cubicBezTo>
                    <a:cubicBezTo>
                      <a:pt x="615" y="13"/>
                      <a:pt x="608" y="18"/>
                      <a:pt x="602" y="23"/>
                    </a:cubicBezTo>
                    <a:cubicBezTo>
                      <a:pt x="600" y="24"/>
                      <a:pt x="599" y="27"/>
                      <a:pt x="597" y="28"/>
                    </a:cubicBezTo>
                    <a:cubicBezTo>
                      <a:pt x="596" y="29"/>
                      <a:pt x="595" y="30"/>
                      <a:pt x="594" y="31"/>
                    </a:cubicBezTo>
                    <a:cubicBezTo>
                      <a:pt x="592" y="32"/>
                      <a:pt x="590" y="34"/>
                      <a:pt x="588" y="36"/>
                    </a:cubicBezTo>
                    <a:cubicBezTo>
                      <a:pt x="588" y="37"/>
                      <a:pt x="585" y="38"/>
                      <a:pt x="585" y="39"/>
                    </a:cubicBezTo>
                    <a:cubicBezTo>
                      <a:pt x="585" y="40"/>
                      <a:pt x="585" y="41"/>
                      <a:pt x="585" y="41"/>
                    </a:cubicBezTo>
                    <a:cubicBezTo>
                      <a:pt x="585" y="41"/>
                      <a:pt x="585" y="40"/>
                      <a:pt x="585" y="40"/>
                    </a:cubicBezTo>
                    <a:cubicBezTo>
                      <a:pt x="585" y="40"/>
                      <a:pt x="585" y="40"/>
                      <a:pt x="585" y="40"/>
                    </a:cubicBezTo>
                    <a:cubicBezTo>
                      <a:pt x="586" y="40"/>
                      <a:pt x="586" y="41"/>
                      <a:pt x="586" y="41"/>
                    </a:cubicBezTo>
                    <a:cubicBezTo>
                      <a:pt x="586" y="43"/>
                      <a:pt x="587" y="41"/>
                      <a:pt x="586" y="44"/>
                    </a:cubicBezTo>
                    <a:cubicBezTo>
                      <a:pt x="585" y="46"/>
                      <a:pt x="582" y="47"/>
                      <a:pt x="580" y="49"/>
                    </a:cubicBezTo>
                    <a:cubicBezTo>
                      <a:pt x="579" y="51"/>
                      <a:pt x="579" y="53"/>
                      <a:pt x="578" y="53"/>
                    </a:cubicBezTo>
                    <a:cubicBezTo>
                      <a:pt x="577" y="53"/>
                      <a:pt x="577" y="53"/>
                      <a:pt x="577" y="53"/>
                    </a:cubicBezTo>
                    <a:cubicBezTo>
                      <a:pt x="576" y="52"/>
                      <a:pt x="575" y="49"/>
                      <a:pt x="574" y="49"/>
                    </a:cubicBezTo>
                    <a:cubicBezTo>
                      <a:pt x="574" y="49"/>
                      <a:pt x="574" y="49"/>
                      <a:pt x="573" y="50"/>
                    </a:cubicBezTo>
                    <a:cubicBezTo>
                      <a:pt x="572" y="51"/>
                      <a:pt x="574" y="53"/>
                      <a:pt x="574" y="54"/>
                    </a:cubicBezTo>
                    <a:cubicBezTo>
                      <a:pt x="565" y="50"/>
                      <a:pt x="576" y="38"/>
                      <a:pt x="576" y="33"/>
                    </a:cubicBezTo>
                    <a:cubicBezTo>
                      <a:pt x="572" y="32"/>
                      <a:pt x="577" y="29"/>
                      <a:pt x="579" y="28"/>
                    </a:cubicBezTo>
                    <a:cubicBezTo>
                      <a:pt x="582" y="26"/>
                      <a:pt x="584" y="24"/>
                      <a:pt x="587" y="23"/>
                    </a:cubicBezTo>
                    <a:cubicBezTo>
                      <a:pt x="588" y="22"/>
                      <a:pt x="591" y="21"/>
                      <a:pt x="592" y="20"/>
                    </a:cubicBezTo>
                    <a:cubicBezTo>
                      <a:pt x="595" y="18"/>
                      <a:pt x="595" y="15"/>
                      <a:pt x="599" y="13"/>
                    </a:cubicBezTo>
                    <a:cubicBezTo>
                      <a:pt x="595" y="11"/>
                      <a:pt x="589" y="10"/>
                      <a:pt x="583" y="10"/>
                    </a:cubicBezTo>
                    <a:cubicBezTo>
                      <a:pt x="583" y="10"/>
                      <a:pt x="582" y="10"/>
                      <a:pt x="581" y="10"/>
                    </a:cubicBezTo>
                    <a:cubicBezTo>
                      <a:pt x="580" y="10"/>
                      <a:pt x="579" y="10"/>
                      <a:pt x="579" y="10"/>
                    </a:cubicBezTo>
                    <a:cubicBezTo>
                      <a:pt x="579" y="10"/>
                      <a:pt x="579" y="10"/>
                      <a:pt x="579" y="10"/>
                    </a:cubicBezTo>
                    <a:cubicBezTo>
                      <a:pt x="577" y="10"/>
                      <a:pt x="576" y="10"/>
                      <a:pt x="575" y="10"/>
                    </a:cubicBezTo>
                    <a:cubicBezTo>
                      <a:pt x="573" y="11"/>
                      <a:pt x="572" y="12"/>
                      <a:pt x="570" y="12"/>
                    </a:cubicBezTo>
                    <a:cubicBezTo>
                      <a:pt x="570" y="12"/>
                      <a:pt x="570" y="12"/>
                      <a:pt x="570" y="12"/>
                    </a:cubicBezTo>
                    <a:cubicBezTo>
                      <a:pt x="571" y="12"/>
                      <a:pt x="574" y="10"/>
                      <a:pt x="574" y="9"/>
                    </a:cubicBezTo>
                    <a:cubicBezTo>
                      <a:pt x="574" y="8"/>
                      <a:pt x="573" y="7"/>
                      <a:pt x="573" y="7"/>
                    </a:cubicBezTo>
                    <a:cubicBezTo>
                      <a:pt x="572" y="7"/>
                      <a:pt x="570" y="9"/>
                      <a:pt x="569" y="9"/>
                    </a:cubicBezTo>
                    <a:cubicBezTo>
                      <a:pt x="569" y="9"/>
                      <a:pt x="569" y="9"/>
                      <a:pt x="568" y="9"/>
                    </a:cubicBezTo>
                    <a:cubicBezTo>
                      <a:pt x="568" y="9"/>
                      <a:pt x="567" y="9"/>
                      <a:pt x="567" y="8"/>
                    </a:cubicBezTo>
                    <a:cubicBezTo>
                      <a:pt x="567" y="8"/>
                      <a:pt x="566" y="7"/>
                      <a:pt x="565" y="7"/>
                    </a:cubicBezTo>
                    <a:cubicBezTo>
                      <a:pt x="565" y="7"/>
                      <a:pt x="564" y="7"/>
                      <a:pt x="564" y="7"/>
                    </a:cubicBezTo>
                    <a:cubicBezTo>
                      <a:pt x="565" y="6"/>
                      <a:pt x="563" y="5"/>
                      <a:pt x="562" y="5"/>
                    </a:cubicBezTo>
                    <a:cubicBezTo>
                      <a:pt x="562" y="5"/>
                      <a:pt x="561" y="5"/>
                      <a:pt x="561" y="5"/>
                    </a:cubicBezTo>
                    <a:cubicBezTo>
                      <a:pt x="559" y="6"/>
                      <a:pt x="559" y="12"/>
                      <a:pt x="559" y="14"/>
                    </a:cubicBezTo>
                    <a:cubicBezTo>
                      <a:pt x="558" y="15"/>
                      <a:pt x="558" y="15"/>
                      <a:pt x="558" y="15"/>
                    </a:cubicBezTo>
                    <a:cubicBezTo>
                      <a:pt x="557" y="15"/>
                      <a:pt x="557" y="14"/>
                      <a:pt x="556" y="14"/>
                    </a:cubicBezTo>
                    <a:cubicBezTo>
                      <a:pt x="555" y="14"/>
                      <a:pt x="554" y="13"/>
                      <a:pt x="553" y="13"/>
                    </a:cubicBezTo>
                    <a:cubicBezTo>
                      <a:pt x="553" y="13"/>
                      <a:pt x="552" y="13"/>
                      <a:pt x="552" y="15"/>
                    </a:cubicBezTo>
                    <a:cubicBezTo>
                      <a:pt x="550" y="19"/>
                      <a:pt x="561" y="23"/>
                      <a:pt x="564" y="24"/>
                    </a:cubicBezTo>
                    <a:cubicBezTo>
                      <a:pt x="561" y="23"/>
                      <a:pt x="559" y="23"/>
                      <a:pt x="557" y="23"/>
                    </a:cubicBezTo>
                    <a:cubicBezTo>
                      <a:pt x="555" y="23"/>
                      <a:pt x="553" y="24"/>
                      <a:pt x="552" y="28"/>
                    </a:cubicBezTo>
                    <a:cubicBezTo>
                      <a:pt x="550" y="32"/>
                      <a:pt x="553" y="31"/>
                      <a:pt x="554" y="34"/>
                    </a:cubicBezTo>
                    <a:cubicBezTo>
                      <a:pt x="554" y="34"/>
                      <a:pt x="554" y="34"/>
                      <a:pt x="554" y="34"/>
                    </a:cubicBezTo>
                    <a:cubicBezTo>
                      <a:pt x="551" y="34"/>
                      <a:pt x="548" y="33"/>
                      <a:pt x="545" y="32"/>
                    </a:cubicBezTo>
                    <a:cubicBezTo>
                      <a:pt x="545" y="32"/>
                      <a:pt x="544" y="32"/>
                      <a:pt x="544" y="32"/>
                    </a:cubicBezTo>
                    <a:cubicBezTo>
                      <a:pt x="542" y="32"/>
                      <a:pt x="539" y="34"/>
                      <a:pt x="537" y="35"/>
                    </a:cubicBezTo>
                    <a:cubicBezTo>
                      <a:pt x="532" y="37"/>
                      <a:pt x="526" y="40"/>
                      <a:pt x="524" y="45"/>
                    </a:cubicBezTo>
                    <a:cubicBezTo>
                      <a:pt x="524" y="45"/>
                      <a:pt x="525" y="45"/>
                      <a:pt x="525" y="45"/>
                    </a:cubicBezTo>
                    <a:cubicBezTo>
                      <a:pt x="526" y="45"/>
                      <a:pt x="526" y="45"/>
                      <a:pt x="527" y="45"/>
                    </a:cubicBezTo>
                    <a:cubicBezTo>
                      <a:pt x="527" y="45"/>
                      <a:pt x="528" y="45"/>
                      <a:pt x="528" y="45"/>
                    </a:cubicBezTo>
                    <a:cubicBezTo>
                      <a:pt x="529" y="45"/>
                      <a:pt x="530" y="45"/>
                      <a:pt x="530" y="45"/>
                    </a:cubicBezTo>
                    <a:cubicBezTo>
                      <a:pt x="528" y="45"/>
                      <a:pt x="525" y="46"/>
                      <a:pt x="522" y="47"/>
                    </a:cubicBezTo>
                    <a:cubicBezTo>
                      <a:pt x="524" y="48"/>
                      <a:pt x="525" y="50"/>
                      <a:pt x="524" y="52"/>
                    </a:cubicBezTo>
                    <a:cubicBezTo>
                      <a:pt x="524" y="53"/>
                      <a:pt x="520" y="52"/>
                      <a:pt x="522" y="55"/>
                    </a:cubicBezTo>
                    <a:cubicBezTo>
                      <a:pt x="524" y="56"/>
                      <a:pt x="528" y="56"/>
                      <a:pt x="531" y="57"/>
                    </a:cubicBezTo>
                    <a:cubicBezTo>
                      <a:pt x="529" y="59"/>
                      <a:pt x="528" y="58"/>
                      <a:pt x="526" y="58"/>
                    </a:cubicBezTo>
                    <a:cubicBezTo>
                      <a:pt x="524" y="59"/>
                      <a:pt x="521" y="61"/>
                      <a:pt x="519" y="61"/>
                    </a:cubicBezTo>
                    <a:cubicBezTo>
                      <a:pt x="519" y="61"/>
                      <a:pt x="518" y="61"/>
                      <a:pt x="518" y="60"/>
                    </a:cubicBezTo>
                    <a:cubicBezTo>
                      <a:pt x="523" y="59"/>
                      <a:pt x="517" y="56"/>
                      <a:pt x="516" y="55"/>
                    </a:cubicBezTo>
                    <a:cubicBezTo>
                      <a:pt x="514" y="54"/>
                      <a:pt x="517" y="53"/>
                      <a:pt x="515" y="53"/>
                    </a:cubicBezTo>
                    <a:cubicBezTo>
                      <a:pt x="514" y="52"/>
                      <a:pt x="514" y="52"/>
                      <a:pt x="513" y="52"/>
                    </a:cubicBezTo>
                    <a:cubicBezTo>
                      <a:pt x="512" y="52"/>
                      <a:pt x="511" y="53"/>
                      <a:pt x="510" y="53"/>
                    </a:cubicBezTo>
                    <a:cubicBezTo>
                      <a:pt x="505" y="54"/>
                      <a:pt x="500" y="55"/>
                      <a:pt x="496" y="56"/>
                    </a:cubicBezTo>
                    <a:cubicBezTo>
                      <a:pt x="499" y="52"/>
                      <a:pt x="506" y="54"/>
                      <a:pt x="510" y="52"/>
                    </a:cubicBezTo>
                    <a:cubicBezTo>
                      <a:pt x="511" y="52"/>
                      <a:pt x="515" y="49"/>
                      <a:pt x="515" y="48"/>
                    </a:cubicBezTo>
                    <a:cubicBezTo>
                      <a:pt x="515" y="46"/>
                      <a:pt x="504" y="44"/>
                      <a:pt x="501" y="44"/>
                    </a:cubicBezTo>
                    <a:cubicBezTo>
                      <a:pt x="501" y="44"/>
                      <a:pt x="501" y="44"/>
                      <a:pt x="501" y="44"/>
                    </a:cubicBezTo>
                    <a:cubicBezTo>
                      <a:pt x="499" y="45"/>
                      <a:pt x="496" y="47"/>
                      <a:pt x="496" y="49"/>
                    </a:cubicBezTo>
                    <a:cubicBezTo>
                      <a:pt x="496" y="49"/>
                      <a:pt x="501" y="51"/>
                      <a:pt x="502" y="51"/>
                    </a:cubicBezTo>
                    <a:cubicBezTo>
                      <a:pt x="501" y="51"/>
                      <a:pt x="499" y="51"/>
                      <a:pt x="498" y="51"/>
                    </a:cubicBezTo>
                    <a:cubicBezTo>
                      <a:pt x="498" y="51"/>
                      <a:pt x="497" y="51"/>
                      <a:pt x="497" y="51"/>
                    </a:cubicBezTo>
                    <a:cubicBezTo>
                      <a:pt x="497" y="51"/>
                      <a:pt x="496" y="51"/>
                      <a:pt x="496" y="51"/>
                    </a:cubicBezTo>
                    <a:cubicBezTo>
                      <a:pt x="495" y="51"/>
                      <a:pt x="494" y="51"/>
                      <a:pt x="493" y="50"/>
                    </a:cubicBezTo>
                    <a:cubicBezTo>
                      <a:pt x="494" y="50"/>
                      <a:pt x="494" y="50"/>
                      <a:pt x="494" y="50"/>
                    </a:cubicBezTo>
                    <a:cubicBezTo>
                      <a:pt x="484" y="48"/>
                      <a:pt x="474" y="47"/>
                      <a:pt x="464" y="46"/>
                    </a:cubicBezTo>
                    <a:cubicBezTo>
                      <a:pt x="467" y="49"/>
                      <a:pt x="470" y="48"/>
                      <a:pt x="473" y="50"/>
                    </a:cubicBezTo>
                    <a:cubicBezTo>
                      <a:pt x="473" y="50"/>
                      <a:pt x="473" y="52"/>
                      <a:pt x="474" y="52"/>
                    </a:cubicBezTo>
                    <a:cubicBezTo>
                      <a:pt x="474" y="52"/>
                      <a:pt x="474" y="52"/>
                      <a:pt x="474" y="52"/>
                    </a:cubicBezTo>
                    <a:cubicBezTo>
                      <a:pt x="475" y="52"/>
                      <a:pt x="475" y="52"/>
                      <a:pt x="475" y="52"/>
                    </a:cubicBezTo>
                    <a:cubicBezTo>
                      <a:pt x="475" y="52"/>
                      <a:pt x="475" y="52"/>
                      <a:pt x="475" y="52"/>
                    </a:cubicBezTo>
                    <a:cubicBezTo>
                      <a:pt x="475" y="52"/>
                      <a:pt x="475" y="52"/>
                      <a:pt x="475" y="52"/>
                    </a:cubicBezTo>
                    <a:cubicBezTo>
                      <a:pt x="476" y="53"/>
                      <a:pt x="477" y="53"/>
                      <a:pt x="478" y="54"/>
                    </a:cubicBezTo>
                    <a:cubicBezTo>
                      <a:pt x="479" y="54"/>
                      <a:pt x="479" y="54"/>
                      <a:pt x="480" y="54"/>
                    </a:cubicBezTo>
                    <a:cubicBezTo>
                      <a:pt x="483" y="54"/>
                      <a:pt x="487" y="53"/>
                      <a:pt x="489" y="51"/>
                    </a:cubicBezTo>
                    <a:cubicBezTo>
                      <a:pt x="490" y="53"/>
                      <a:pt x="489" y="56"/>
                      <a:pt x="489" y="58"/>
                    </a:cubicBezTo>
                    <a:cubicBezTo>
                      <a:pt x="489" y="59"/>
                      <a:pt x="489" y="60"/>
                      <a:pt x="488" y="61"/>
                    </a:cubicBezTo>
                    <a:cubicBezTo>
                      <a:pt x="483" y="64"/>
                      <a:pt x="487" y="62"/>
                      <a:pt x="487" y="64"/>
                    </a:cubicBezTo>
                    <a:cubicBezTo>
                      <a:pt x="487" y="65"/>
                      <a:pt x="489" y="65"/>
                      <a:pt x="486" y="66"/>
                    </a:cubicBezTo>
                    <a:cubicBezTo>
                      <a:pt x="488" y="67"/>
                      <a:pt x="489" y="69"/>
                      <a:pt x="491" y="70"/>
                    </a:cubicBezTo>
                    <a:cubicBezTo>
                      <a:pt x="482" y="66"/>
                      <a:pt x="474" y="62"/>
                      <a:pt x="465" y="59"/>
                    </a:cubicBezTo>
                    <a:cubicBezTo>
                      <a:pt x="466" y="61"/>
                      <a:pt x="467" y="65"/>
                      <a:pt x="464" y="66"/>
                    </a:cubicBezTo>
                    <a:cubicBezTo>
                      <a:pt x="464" y="67"/>
                      <a:pt x="463" y="67"/>
                      <a:pt x="462" y="67"/>
                    </a:cubicBezTo>
                    <a:cubicBezTo>
                      <a:pt x="460" y="67"/>
                      <a:pt x="459" y="64"/>
                      <a:pt x="458" y="62"/>
                    </a:cubicBezTo>
                    <a:cubicBezTo>
                      <a:pt x="455" y="63"/>
                      <a:pt x="443" y="67"/>
                      <a:pt x="444" y="71"/>
                    </a:cubicBezTo>
                    <a:cubicBezTo>
                      <a:pt x="446" y="74"/>
                      <a:pt x="446" y="79"/>
                      <a:pt x="450" y="81"/>
                    </a:cubicBezTo>
                    <a:cubicBezTo>
                      <a:pt x="449" y="80"/>
                      <a:pt x="446" y="78"/>
                      <a:pt x="445" y="78"/>
                    </a:cubicBezTo>
                    <a:cubicBezTo>
                      <a:pt x="444" y="78"/>
                      <a:pt x="444" y="79"/>
                      <a:pt x="444" y="79"/>
                    </a:cubicBezTo>
                    <a:cubicBezTo>
                      <a:pt x="442" y="81"/>
                      <a:pt x="441" y="85"/>
                      <a:pt x="439" y="87"/>
                    </a:cubicBezTo>
                    <a:cubicBezTo>
                      <a:pt x="437" y="90"/>
                      <a:pt x="432" y="91"/>
                      <a:pt x="430" y="94"/>
                    </a:cubicBezTo>
                    <a:cubicBezTo>
                      <a:pt x="431" y="91"/>
                      <a:pt x="434" y="89"/>
                      <a:pt x="436" y="86"/>
                    </a:cubicBezTo>
                    <a:cubicBezTo>
                      <a:pt x="438" y="84"/>
                      <a:pt x="437" y="84"/>
                      <a:pt x="438" y="81"/>
                    </a:cubicBezTo>
                    <a:cubicBezTo>
                      <a:pt x="439" y="80"/>
                      <a:pt x="440" y="79"/>
                      <a:pt x="440" y="78"/>
                    </a:cubicBezTo>
                    <a:cubicBezTo>
                      <a:pt x="441" y="76"/>
                      <a:pt x="440" y="75"/>
                      <a:pt x="440" y="72"/>
                    </a:cubicBezTo>
                    <a:cubicBezTo>
                      <a:pt x="439" y="69"/>
                      <a:pt x="442" y="67"/>
                      <a:pt x="442" y="64"/>
                    </a:cubicBezTo>
                    <a:cubicBezTo>
                      <a:pt x="442" y="63"/>
                      <a:pt x="441" y="59"/>
                      <a:pt x="439" y="59"/>
                    </a:cubicBezTo>
                    <a:cubicBezTo>
                      <a:pt x="439" y="59"/>
                      <a:pt x="439" y="59"/>
                      <a:pt x="439" y="59"/>
                    </a:cubicBezTo>
                    <a:cubicBezTo>
                      <a:pt x="438" y="59"/>
                      <a:pt x="436" y="61"/>
                      <a:pt x="435" y="62"/>
                    </a:cubicBezTo>
                    <a:cubicBezTo>
                      <a:pt x="435" y="61"/>
                      <a:pt x="435" y="60"/>
                      <a:pt x="435" y="60"/>
                    </a:cubicBezTo>
                    <a:cubicBezTo>
                      <a:pt x="433" y="63"/>
                      <a:pt x="432" y="66"/>
                      <a:pt x="430" y="68"/>
                    </a:cubicBezTo>
                    <a:cubicBezTo>
                      <a:pt x="430" y="67"/>
                      <a:pt x="431" y="66"/>
                      <a:pt x="431" y="65"/>
                    </a:cubicBezTo>
                    <a:cubicBezTo>
                      <a:pt x="429" y="66"/>
                      <a:pt x="427" y="68"/>
                      <a:pt x="426" y="70"/>
                    </a:cubicBezTo>
                    <a:cubicBezTo>
                      <a:pt x="423" y="75"/>
                      <a:pt x="428" y="77"/>
                      <a:pt x="432" y="79"/>
                    </a:cubicBezTo>
                    <a:cubicBezTo>
                      <a:pt x="430" y="80"/>
                      <a:pt x="423" y="86"/>
                      <a:pt x="420" y="86"/>
                    </a:cubicBezTo>
                    <a:cubicBezTo>
                      <a:pt x="420" y="86"/>
                      <a:pt x="419" y="86"/>
                      <a:pt x="419" y="86"/>
                    </a:cubicBezTo>
                    <a:cubicBezTo>
                      <a:pt x="422" y="83"/>
                      <a:pt x="420" y="84"/>
                      <a:pt x="421" y="81"/>
                    </a:cubicBezTo>
                    <a:cubicBezTo>
                      <a:pt x="421" y="79"/>
                      <a:pt x="423" y="79"/>
                      <a:pt x="423" y="77"/>
                    </a:cubicBezTo>
                    <a:cubicBezTo>
                      <a:pt x="423" y="75"/>
                      <a:pt x="422" y="75"/>
                      <a:pt x="422" y="73"/>
                    </a:cubicBezTo>
                    <a:cubicBezTo>
                      <a:pt x="421" y="72"/>
                      <a:pt x="423" y="69"/>
                      <a:pt x="423" y="68"/>
                    </a:cubicBezTo>
                    <a:cubicBezTo>
                      <a:pt x="423" y="67"/>
                      <a:pt x="422" y="67"/>
                      <a:pt x="421" y="67"/>
                    </a:cubicBezTo>
                    <a:cubicBezTo>
                      <a:pt x="418" y="67"/>
                      <a:pt x="415" y="68"/>
                      <a:pt x="413" y="68"/>
                    </a:cubicBezTo>
                    <a:cubicBezTo>
                      <a:pt x="411" y="69"/>
                      <a:pt x="409" y="69"/>
                      <a:pt x="407" y="70"/>
                    </a:cubicBezTo>
                    <a:cubicBezTo>
                      <a:pt x="405" y="71"/>
                      <a:pt x="399" y="76"/>
                      <a:pt x="402" y="78"/>
                    </a:cubicBezTo>
                    <a:cubicBezTo>
                      <a:pt x="405" y="79"/>
                      <a:pt x="408" y="79"/>
                      <a:pt x="409" y="81"/>
                    </a:cubicBezTo>
                    <a:cubicBezTo>
                      <a:pt x="407" y="82"/>
                      <a:pt x="405" y="82"/>
                      <a:pt x="402" y="83"/>
                    </a:cubicBezTo>
                    <a:cubicBezTo>
                      <a:pt x="403" y="84"/>
                      <a:pt x="404" y="86"/>
                      <a:pt x="404" y="87"/>
                    </a:cubicBezTo>
                    <a:cubicBezTo>
                      <a:pt x="399" y="84"/>
                      <a:pt x="395" y="83"/>
                      <a:pt x="389" y="82"/>
                    </a:cubicBezTo>
                    <a:cubicBezTo>
                      <a:pt x="391" y="85"/>
                      <a:pt x="393" y="88"/>
                      <a:pt x="397" y="90"/>
                    </a:cubicBezTo>
                    <a:cubicBezTo>
                      <a:pt x="398" y="91"/>
                      <a:pt x="400" y="91"/>
                      <a:pt x="401" y="92"/>
                    </a:cubicBezTo>
                    <a:cubicBezTo>
                      <a:pt x="400" y="94"/>
                      <a:pt x="398" y="94"/>
                      <a:pt x="396" y="94"/>
                    </a:cubicBezTo>
                    <a:cubicBezTo>
                      <a:pt x="394" y="94"/>
                      <a:pt x="392" y="94"/>
                      <a:pt x="390" y="93"/>
                    </a:cubicBezTo>
                    <a:cubicBezTo>
                      <a:pt x="387" y="92"/>
                      <a:pt x="387" y="92"/>
                      <a:pt x="386" y="89"/>
                    </a:cubicBezTo>
                    <a:cubicBezTo>
                      <a:pt x="385" y="89"/>
                      <a:pt x="384" y="88"/>
                      <a:pt x="383" y="88"/>
                    </a:cubicBezTo>
                    <a:cubicBezTo>
                      <a:pt x="383" y="86"/>
                      <a:pt x="385" y="86"/>
                      <a:pt x="383" y="84"/>
                    </a:cubicBezTo>
                    <a:cubicBezTo>
                      <a:pt x="382" y="84"/>
                      <a:pt x="382" y="84"/>
                      <a:pt x="381" y="84"/>
                    </a:cubicBezTo>
                    <a:cubicBezTo>
                      <a:pt x="379" y="84"/>
                      <a:pt x="377" y="87"/>
                      <a:pt x="376" y="89"/>
                    </a:cubicBezTo>
                    <a:cubicBezTo>
                      <a:pt x="375" y="90"/>
                      <a:pt x="374" y="93"/>
                      <a:pt x="374" y="94"/>
                    </a:cubicBezTo>
                    <a:cubicBezTo>
                      <a:pt x="374" y="97"/>
                      <a:pt x="377" y="96"/>
                      <a:pt x="374" y="99"/>
                    </a:cubicBezTo>
                    <a:cubicBezTo>
                      <a:pt x="372" y="101"/>
                      <a:pt x="371" y="101"/>
                      <a:pt x="368" y="101"/>
                    </a:cubicBezTo>
                    <a:cubicBezTo>
                      <a:pt x="367" y="102"/>
                      <a:pt x="365" y="102"/>
                      <a:pt x="364" y="102"/>
                    </a:cubicBezTo>
                    <a:cubicBezTo>
                      <a:pt x="361" y="106"/>
                      <a:pt x="365" y="112"/>
                      <a:pt x="368" y="114"/>
                    </a:cubicBezTo>
                    <a:cubicBezTo>
                      <a:pt x="366" y="116"/>
                      <a:pt x="362" y="116"/>
                      <a:pt x="359" y="116"/>
                    </a:cubicBezTo>
                    <a:cubicBezTo>
                      <a:pt x="361" y="117"/>
                      <a:pt x="367" y="118"/>
                      <a:pt x="368" y="119"/>
                    </a:cubicBezTo>
                    <a:cubicBezTo>
                      <a:pt x="368" y="119"/>
                      <a:pt x="368" y="119"/>
                      <a:pt x="368" y="119"/>
                    </a:cubicBezTo>
                    <a:cubicBezTo>
                      <a:pt x="364" y="119"/>
                      <a:pt x="361" y="118"/>
                      <a:pt x="358" y="117"/>
                    </a:cubicBezTo>
                    <a:cubicBezTo>
                      <a:pt x="359" y="123"/>
                      <a:pt x="359" y="122"/>
                      <a:pt x="364" y="124"/>
                    </a:cubicBezTo>
                    <a:cubicBezTo>
                      <a:pt x="364" y="124"/>
                      <a:pt x="364" y="124"/>
                      <a:pt x="363" y="124"/>
                    </a:cubicBezTo>
                    <a:cubicBezTo>
                      <a:pt x="361" y="124"/>
                      <a:pt x="359" y="123"/>
                      <a:pt x="358" y="123"/>
                    </a:cubicBezTo>
                    <a:cubicBezTo>
                      <a:pt x="356" y="123"/>
                      <a:pt x="354" y="122"/>
                      <a:pt x="352" y="122"/>
                    </a:cubicBezTo>
                    <a:cubicBezTo>
                      <a:pt x="351" y="122"/>
                      <a:pt x="349" y="122"/>
                      <a:pt x="347" y="123"/>
                    </a:cubicBezTo>
                    <a:cubicBezTo>
                      <a:pt x="343" y="125"/>
                      <a:pt x="339" y="127"/>
                      <a:pt x="335" y="129"/>
                    </a:cubicBezTo>
                    <a:cubicBezTo>
                      <a:pt x="332" y="130"/>
                      <a:pt x="333" y="132"/>
                      <a:pt x="333" y="135"/>
                    </a:cubicBezTo>
                    <a:cubicBezTo>
                      <a:pt x="334" y="135"/>
                      <a:pt x="335" y="135"/>
                      <a:pt x="336" y="135"/>
                    </a:cubicBezTo>
                    <a:cubicBezTo>
                      <a:pt x="337" y="135"/>
                      <a:pt x="337" y="135"/>
                      <a:pt x="338" y="135"/>
                    </a:cubicBezTo>
                    <a:cubicBezTo>
                      <a:pt x="343" y="135"/>
                      <a:pt x="347" y="135"/>
                      <a:pt x="351" y="135"/>
                    </a:cubicBezTo>
                    <a:cubicBezTo>
                      <a:pt x="354" y="134"/>
                      <a:pt x="356" y="132"/>
                      <a:pt x="358" y="132"/>
                    </a:cubicBezTo>
                    <a:cubicBezTo>
                      <a:pt x="358" y="132"/>
                      <a:pt x="359" y="131"/>
                      <a:pt x="359" y="131"/>
                    </a:cubicBezTo>
                    <a:cubicBezTo>
                      <a:pt x="361" y="131"/>
                      <a:pt x="362" y="133"/>
                      <a:pt x="364" y="134"/>
                    </a:cubicBezTo>
                    <a:cubicBezTo>
                      <a:pt x="365" y="135"/>
                      <a:pt x="367" y="137"/>
                      <a:pt x="369" y="137"/>
                    </a:cubicBezTo>
                    <a:cubicBezTo>
                      <a:pt x="369" y="137"/>
                      <a:pt x="370" y="137"/>
                      <a:pt x="370" y="136"/>
                    </a:cubicBezTo>
                    <a:cubicBezTo>
                      <a:pt x="367" y="139"/>
                      <a:pt x="354" y="142"/>
                      <a:pt x="356" y="147"/>
                    </a:cubicBezTo>
                    <a:cubicBezTo>
                      <a:pt x="352" y="146"/>
                      <a:pt x="350" y="141"/>
                      <a:pt x="347" y="139"/>
                    </a:cubicBezTo>
                    <a:cubicBezTo>
                      <a:pt x="347" y="139"/>
                      <a:pt x="347" y="139"/>
                      <a:pt x="347" y="139"/>
                    </a:cubicBezTo>
                    <a:cubicBezTo>
                      <a:pt x="346" y="139"/>
                      <a:pt x="338" y="143"/>
                      <a:pt x="337" y="144"/>
                    </a:cubicBezTo>
                    <a:cubicBezTo>
                      <a:pt x="333" y="147"/>
                      <a:pt x="338" y="148"/>
                      <a:pt x="340" y="149"/>
                    </a:cubicBezTo>
                    <a:cubicBezTo>
                      <a:pt x="337" y="148"/>
                      <a:pt x="334" y="147"/>
                      <a:pt x="330" y="146"/>
                    </a:cubicBezTo>
                    <a:cubicBezTo>
                      <a:pt x="331" y="147"/>
                      <a:pt x="332" y="148"/>
                      <a:pt x="333" y="148"/>
                    </a:cubicBezTo>
                    <a:cubicBezTo>
                      <a:pt x="331" y="150"/>
                      <a:pt x="329" y="150"/>
                      <a:pt x="327" y="152"/>
                    </a:cubicBezTo>
                    <a:cubicBezTo>
                      <a:pt x="328" y="152"/>
                      <a:pt x="330" y="151"/>
                      <a:pt x="331" y="151"/>
                    </a:cubicBezTo>
                    <a:cubicBezTo>
                      <a:pt x="331" y="151"/>
                      <a:pt x="332" y="151"/>
                      <a:pt x="332" y="152"/>
                    </a:cubicBezTo>
                    <a:cubicBezTo>
                      <a:pt x="333" y="152"/>
                      <a:pt x="335" y="153"/>
                      <a:pt x="336" y="153"/>
                    </a:cubicBezTo>
                    <a:cubicBezTo>
                      <a:pt x="337" y="153"/>
                      <a:pt x="337" y="153"/>
                      <a:pt x="337" y="153"/>
                    </a:cubicBezTo>
                    <a:cubicBezTo>
                      <a:pt x="334" y="154"/>
                      <a:pt x="331" y="153"/>
                      <a:pt x="328" y="155"/>
                    </a:cubicBezTo>
                    <a:cubicBezTo>
                      <a:pt x="329" y="155"/>
                      <a:pt x="330" y="156"/>
                      <a:pt x="331" y="157"/>
                    </a:cubicBezTo>
                    <a:cubicBezTo>
                      <a:pt x="329" y="158"/>
                      <a:pt x="333" y="157"/>
                      <a:pt x="331" y="159"/>
                    </a:cubicBezTo>
                    <a:cubicBezTo>
                      <a:pt x="330" y="161"/>
                      <a:pt x="331" y="161"/>
                      <a:pt x="329" y="161"/>
                    </a:cubicBezTo>
                    <a:cubicBezTo>
                      <a:pt x="328" y="161"/>
                      <a:pt x="328" y="161"/>
                      <a:pt x="327" y="161"/>
                    </a:cubicBezTo>
                    <a:cubicBezTo>
                      <a:pt x="327" y="161"/>
                      <a:pt x="327" y="161"/>
                      <a:pt x="326" y="161"/>
                    </a:cubicBezTo>
                    <a:cubicBezTo>
                      <a:pt x="326" y="161"/>
                      <a:pt x="326" y="161"/>
                      <a:pt x="325" y="161"/>
                    </a:cubicBezTo>
                    <a:cubicBezTo>
                      <a:pt x="325" y="161"/>
                      <a:pt x="324" y="161"/>
                      <a:pt x="324" y="161"/>
                    </a:cubicBezTo>
                    <a:cubicBezTo>
                      <a:pt x="326" y="163"/>
                      <a:pt x="329" y="163"/>
                      <a:pt x="330" y="165"/>
                    </a:cubicBezTo>
                    <a:cubicBezTo>
                      <a:pt x="327" y="164"/>
                      <a:pt x="323" y="163"/>
                      <a:pt x="322" y="159"/>
                    </a:cubicBezTo>
                    <a:cubicBezTo>
                      <a:pt x="321" y="156"/>
                      <a:pt x="322" y="150"/>
                      <a:pt x="319" y="147"/>
                    </a:cubicBezTo>
                    <a:cubicBezTo>
                      <a:pt x="318" y="146"/>
                      <a:pt x="317" y="146"/>
                      <a:pt x="317" y="146"/>
                    </a:cubicBezTo>
                    <a:cubicBezTo>
                      <a:pt x="314" y="146"/>
                      <a:pt x="312" y="150"/>
                      <a:pt x="309" y="151"/>
                    </a:cubicBezTo>
                    <a:cubicBezTo>
                      <a:pt x="309" y="152"/>
                      <a:pt x="307" y="153"/>
                      <a:pt x="306" y="153"/>
                    </a:cubicBezTo>
                    <a:cubicBezTo>
                      <a:pt x="306" y="153"/>
                      <a:pt x="306" y="153"/>
                      <a:pt x="306" y="152"/>
                    </a:cubicBezTo>
                    <a:cubicBezTo>
                      <a:pt x="306" y="151"/>
                      <a:pt x="310" y="148"/>
                      <a:pt x="307" y="148"/>
                    </a:cubicBezTo>
                    <a:cubicBezTo>
                      <a:pt x="307" y="148"/>
                      <a:pt x="307" y="148"/>
                      <a:pt x="307" y="148"/>
                    </a:cubicBezTo>
                    <a:cubicBezTo>
                      <a:pt x="305" y="148"/>
                      <a:pt x="304" y="150"/>
                      <a:pt x="303" y="151"/>
                    </a:cubicBezTo>
                    <a:cubicBezTo>
                      <a:pt x="303" y="151"/>
                      <a:pt x="303" y="151"/>
                      <a:pt x="303" y="151"/>
                    </a:cubicBezTo>
                    <a:cubicBezTo>
                      <a:pt x="303" y="151"/>
                      <a:pt x="303" y="151"/>
                      <a:pt x="302" y="151"/>
                    </a:cubicBezTo>
                    <a:cubicBezTo>
                      <a:pt x="302" y="150"/>
                      <a:pt x="302" y="150"/>
                      <a:pt x="301" y="150"/>
                    </a:cubicBezTo>
                    <a:cubicBezTo>
                      <a:pt x="301" y="150"/>
                      <a:pt x="301" y="150"/>
                      <a:pt x="300" y="151"/>
                    </a:cubicBezTo>
                    <a:cubicBezTo>
                      <a:pt x="299" y="152"/>
                      <a:pt x="298" y="153"/>
                      <a:pt x="297" y="154"/>
                    </a:cubicBezTo>
                    <a:cubicBezTo>
                      <a:pt x="303" y="155"/>
                      <a:pt x="308" y="154"/>
                      <a:pt x="314" y="156"/>
                    </a:cubicBezTo>
                    <a:cubicBezTo>
                      <a:pt x="309" y="159"/>
                      <a:pt x="305" y="161"/>
                      <a:pt x="301" y="161"/>
                    </a:cubicBezTo>
                    <a:cubicBezTo>
                      <a:pt x="299" y="161"/>
                      <a:pt x="298" y="162"/>
                      <a:pt x="297" y="163"/>
                    </a:cubicBezTo>
                    <a:cubicBezTo>
                      <a:pt x="296" y="163"/>
                      <a:pt x="295" y="164"/>
                      <a:pt x="294" y="164"/>
                    </a:cubicBezTo>
                    <a:cubicBezTo>
                      <a:pt x="294" y="164"/>
                      <a:pt x="294" y="164"/>
                      <a:pt x="294" y="164"/>
                    </a:cubicBezTo>
                    <a:cubicBezTo>
                      <a:pt x="294" y="164"/>
                      <a:pt x="294" y="163"/>
                      <a:pt x="293" y="162"/>
                    </a:cubicBezTo>
                    <a:cubicBezTo>
                      <a:pt x="292" y="162"/>
                      <a:pt x="291" y="162"/>
                      <a:pt x="289" y="162"/>
                    </a:cubicBezTo>
                    <a:cubicBezTo>
                      <a:pt x="287" y="162"/>
                      <a:pt x="285" y="162"/>
                      <a:pt x="285" y="163"/>
                    </a:cubicBezTo>
                    <a:cubicBezTo>
                      <a:pt x="284" y="165"/>
                      <a:pt x="282" y="165"/>
                      <a:pt x="282" y="166"/>
                    </a:cubicBezTo>
                    <a:cubicBezTo>
                      <a:pt x="283" y="168"/>
                      <a:pt x="285" y="171"/>
                      <a:pt x="283" y="172"/>
                    </a:cubicBezTo>
                    <a:cubicBezTo>
                      <a:pt x="287" y="171"/>
                      <a:pt x="299" y="167"/>
                      <a:pt x="299" y="164"/>
                    </a:cubicBezTo>
                    <a:cubicBezTo>
                      <a:pt x="303" y="164"/>
                      <a:pt x="306" y="167"/>
                      <a:pt x="309" y="169"/>
                    </a:cubicBezTo>
                    <a:cubicBezTo>
                      <a:pt x="308" y="169"/>
                      <a:pt x="308" y="169"/>
                      <a:pt x="307" y="169"/>
                    </a:cubicBezTo>
                    <a:cubicBezTo>
                      <a:pt x="303" y="169"/>
                      <a:pt x="298" y="172"/>
                      <a:pt x="294" y="174"/>
                    </a:cubicBezTo>
                    <a:cubicBezTo>
                      <a:pt x="295" y="174"/>
                      <a:pt x="300" y="175"/>
                      <a:pt x="300" y="176"/>
                    </a:cubicBezTo>
                    <a:cubicBezTo>
                      <a:pt x="302" y="178"/>
                      <a:pt x="300" y="180"/>
                      <a:pt x="303" y="180"/>
                    </a:cubicBezTo>
                    <a:cubicBezTo>
                      <a:pt x="303" y="180"/>
                      <a:pt x="303" y="180"/>
                      <a:pt x="303" y="180"/>
                    </a:cubicBezTo>
                    <a:cubicBezTo>
                      <a:pt x="305" y="180"/>
                      <a:pt x="306" y="180"/>
                      <a:pt x="308" y="179"/>
                    </a:cubicBezTo>
                    <a:cubicBezTo>
                      <a:pt x="310" y="178"/>
                      <a:pt x="312" y="177"/>
                      <a:pt x="313" y="177"/>
                    </a:cubicBezTo>
                    <a:cubicBezTo>
                      <a:pt x="313" y="177"/>
                      <a:pt x="313" y="177"/>
                      <a:pt x="314" y="177"/>
                    </a:cubicBezTo>
                    <a:cubicBezTo>
                      <a:pt x="311" y="180"/>
                      <a:pt x="304" y="183"/>
                      <a:pt x="306" y="186"/>
                    </a:cubicBezTo>
                    <a:cubicBezTo>
                      <a:pt x="306" y="186"/>
                      <a:pt x="310" y="187"/>
                      <a:pt x="311" y="187"/>
                    </a:cubicBezTo>
                    <a:cubicBezTo>
                      <a:pt x="305" y="187"/>
                      <a:pt x="299" y="184"/>
                      <a:pt x="294" y="182"/>
                    </a:cubicBezTo>
                    <a:cubicBezTo>
                      <a:pt x="293" y="182"/>
                      <a:pt x="292" y="182"/>
                      <a:pt x="291" y="182"/>
                    </a:cubicBezTo>
                    <a:cubicBezTo>
                      <a:pt x="291" y="182"/>
                      <a:pt x="290" y="182"/>
                      <a:pt x="290" y="182"/>
                    </a:cubicBezTo>
                    <a:cubicBezTo>
                      <a:pt x="289" y="182"/>
                      <a:pt x="289" y="182"/>
                      <a:pt x="289" y="182"/>
                    </a:cubicBezTo>
                    <a:cubicBezTo>
                      <a:pt x="288" y="182"/>
                      <a:pt x="288" y="182"/>
                      <a:pt x="288" y="182"/>
                    </a:cubicBezTo>
                    <a:cubicBezTo>
                      <a:pt x="288" y="181"/>
                      <a:pt x="291" y="177"/>
                      <a:pt x="290" y="177"/>
                    </a:cubicBezTo>
                    <a:cubicBezTo>
                      <a:pt x="290" y="177"/>
                      <a:pt x="289" y="177"/>
                      <a:pt x="289" y="177"/>
                    </a:cubicBezTo>
                    <a:cubicBezTo>
                      <a:pt x="286" y="178"/>
                      <a:pt x="283" y="180"/>
                      <a:pt x="280" y="182"/>
                    </a:cubicBezTo>
                    <a:cubicBezTo>
                      <a:pt x="283" y="183"/>
                      <a:pt x="287" y="183"/>
                      <a:pt x="290" y="183"/>
                    </a:cubicBezTo>
                    <a:cubicBezTo>
                      <a:pt x="289" y="184"/>
                      <a:pt x="285" y="186"/>
                      <a:pt x="284" y="186"/>
                    </a:cubicBezTo>
                    <a:cubicBezTo>
                      <a:pt x="284" y="186"/>
                      <a:pt x="284" y="186"/>
                      <a:pt x="284" y="186"/>
                    </a:cubicBezTo>
                    <a:cubicBezTo>
                      <a:pt x="283" y="185"/>
                      <a:pt x="282" y="184"/>
                      <a:pt x="281" y="184"/>
                    </a:cubicBezTo>
                    <a:cubicBezTo>
                      <a:pt x="280" y="184"/>
                      <a:pt x="279" y="185"/>
                      <a:pt x="278" y="185"/>
                    </a:cubicBezTo>
                    <a:cubicBezTo>
                      <a:pt x="277" y="187"/>
                      <a:pt x="276" y="188"/>
                      <a:pt x="274" y="190"/>
                    </a:cubicBezTo>
                    <a:cubicBezTo>
                      <a:pt x="273" y="191"/>
                      <a:pt x="271" y="191"/>
                      <a:pt x="270" y="192"/>
                    </a:cubicBezTo>
                    <a:cubicBezTo>
                      <a:pt x="276" y="192"/>
                      <a:pt x="283" y="191"/>
                      <a:pt x="289" y="190"/>
                    </a:cubicBezTo>
                    <a:cubicBezTo>
                      <a:pt x="289" y="190"/>
                      <a:pt x="289" y="190"/>
                      <a:pt x="290" y="190"/>
                    </a:cubicBezTo>
                    <a:cubicBezTo>
                      <a:pt x="292" y="190"/>
                      <a:pt x="296" y="193"/>
                      <a:pt x="298" y="194"/>
                    </a:cubicBezTo>
                    <a:cubicBezTo>
                      <a:pt x="301" y="196"/>
                      <a:pt x="301" y="195"/>
                      <a:pt x="302" y="200"/>
                    </a:cubicBezTo>
                    <a:cubicBezTo>
                      <a:pt x="301" y="200"/>
                      <a:pt x="301" y="200"/>
                      <a:pt x="301" y="200"/>
                    </a:cubicBezTo>
                    <a:cubicBezTo>
                      <a:pt x="298" y="195"/>
                      <a:pt x="297" y="196"/>
                      <a:pt x="291" y="196"/>
                    </a:cubicBezTo>
                    <a:cubicBezTo>
                      <a:pt x="289" y="196"/>
                      <a:pt x="286" y="195"/>
                      <a:pt x="283" y="195"/>
                    </a:cubicBezTo>
                    <a:cubicBezTo>
                      <a:pt x="282" y="195"/>
                      <a:pt x="281" y="195"/>
                      <a:pt x="280" y="195"/>
                    </a:cubicBezTo>
                    <a:cubicBezTo>
                      <a:pt x="277" y="196"/>
                      <a:pt x="274" y="197"/>
                      <a:pt x="271" y="197"/>
                    </a:cubicBezTo>
                    <a:cubicBezTo>
                      <a:pt x="269" y="198"/>
                      <a:pt x="269" y="198"/>
                      <a:pt x="270" y="201"/>
                    </a:cubicBezTo>
                    <a:cubicBezTo>
                      <a:pt x="270" y="202"/>
                      <a:pt x="275" y="202"/>
                      <a:pt x="277" y="202"/>
                    </a:cubicBezTo>
                    <a:cubicBezTo>
                      <a:pt x="272" y="203"/>
                      <a:pt x="269" y="202"/>
                      <a:pt x="264" y="203"/>
                    </a:cubicBezTo>
                    <a:cubicBezTo>
                      <a:pt x="259" y="205"/>
                      <a:pt x="254" y="206"/>
                      <a:pt x="249" y="208"/>
                    </a:cubicBezTo>
                    <a:cubicBezTo>
                      <a:pt x="252" y="213"/>
                      <a:pt x="253" y="214"/>
                      <a:pt x="260" y="215"/>
                    </a:cubicBezTo>
                    <a:cubicBezTo>
                      <a:pt x="254" y="216"/>
                      <a:pt x="248" y="217"/>
                      <a:pt x="242" y="218"/>
                    </a:cubicBezTo>
                    <a:cubicBezTo>
                      <a:pt x="244" y="219"/>
                      <a:pt x="245" y="220"/>
                      <a:pt x="247" y="221"/>
                    </a:cubicBezTo>
                    <a:cubicBezTo>
                      <a:pt x="246" y="221"/>
                      <a:pt x="246" y="221"/>
                      <a:pt x="245" y="221"/>
                    </a:cubicBezTo>
                    <a:cubicBezTo>
                      <a:pt x="244" y="221"/>
                      <a:pt x="244" y="221"/>
                      <a:pt x="243" y="221"/>
                    </a:cubicBezTo>
                    <a:cubicBezTo>
                      <a:pt x="242" y="221"/>
                      <a:pt x="242" y="221"/>
                      <a:pt x="241" y="221"/>
                    </a:cubicBezTo>
                    <a:cubicBezTo>
                      <a:pt x="241" y="221"/>
                      <a:pt x="240" y="221"/>
                      <a:pt x="240" y="221"/>
                    </a:cubicBezTo>
                    <a:cubicBezTo>
                      <a:pt x="244" y="223"/>
                      <a:pt x="241" y="225"/>
                      <a:pt x="242" y="226"/>
                    </a:cubicBezTo>
                    <a:cubicBezTo>
                      <a:pt x="242" y="226"/>
                      <a:pt x="243" y="226"/>
                      <a:pt x="243" y="226"/>
                    </a:cubicBezTo>
                    <a:cubicBezTo>
                      <a:pt x="244" y="226"/>
                      <a:pt x="245" y="225"/>
                      <a:pt x="246" y="225"/>
                    </a:cubicBezTo>
                    <a:cubicBezTo>
                      <a:pt x="248" y="224"/>
                      <a:pt x="249" y="224"/>
                      <a:pt x="251" y="224"/>
                    </a:cubicBezTo>
                    <a:cubicBezTo>
                      <a:pt x="251" y="224"/>
                      <a:pt x="251" y="224"/>
                      <a:pt x="251" y="224"/>
                    </a:cubicBezTo>
                    <a:cubicBezTo>
                      <a:pt x="254" y="224"/>
                      <a:pt x="250" y="226"/>
                      <a:pt x="251" y="228"/>
                    </a:cubicBezTo>
                    <a:cubicBezTo>
                      <a:pt x="250" y="228"/>
                      <a:pt x="249" y="228"/>
                      <a:pt x="248" y="228"/>
                    </a:cubicBezTo>
                    <a:cubicBezTo>
                      <a:pt x="247" y="228"/>
                      <a:pt x="246" y="228"/>
                      <a:pt x="244" y="228"/>
                    </a:cubicBezTo>
                    <a:cubicBezTo>
                      <a:pt x="243" y="228"/>
                      <a:pt x="242" y="228"/>
                      <a:pt x="240" y="228"/>
                    </a:cubicBezTo>
                    <a:cubicBezTo>
                      <a:pt x="236" y="228"/>
                      <a:pt x="232" y="228"/>
                      <a:pt x="232" y="229"/>
                    </a:cubicBezTo>
                    <a:cubicBezTo>
                      <a:pt x="232" y="230"/>
                      <a:pt x="231" y="236"/>
                      <a:pt x="232" y="237"/>
                    </a:cubicBezTo>
                    <a:cubicBezTo>
                      <a:pt x="234" y="238"/>
                      <a:pt x="237" y="239"/>
                      <a:pt x="240" y="239"/>
                    </a:cubicBezTo>
                    <a:cubicBezTo>
                      <a:pt x="237" y="240"/>
                      <a:pt x="234" y="242"/>
                      <a:pt x="232" y="243"/>
                    </a:cubicBezTo>
                    <a:cubicBezTo>
                      <a:pt x="237" y="243"/>
                      <a:pt x="241" y="241"/>
                      <a:pt x="246" y="240"/>
                    </a:cubicBezTo>
                    <a:cubicBezTo>
                      <a:pt x="251" y="239"/>
                      <a:pt x="258" y="239"/>
                      <a:pt x="264" y="237"/>
                    </a:cubicBezTo>
                    <a:cubicBezTo>
                      <a:pt x="260" y="239"/>
                      <a:pt x="254" y="245"/>
                      <a:pt x="250" y="245"/>
                    </a:cubicBezTo>
                    <a:cubicBezTo>
                      <a:pt x="249" y="245"/>
                      <a:pt x="249" y="245"/>
                      <a:pt x="248" y="244"/>
                    </a:cubicBezTo>
                    <a:cubicBezTo>
                      <a:pt x="247" y="244"/>
                      <a:pt x="246" y="242"/>
                      <a:pt x="245" y="242"/>
                    </a:cubicBezTo>
                    <a:cubicBezTo>
                      <a:pt x="245" y="242"/>
                      <a:pt x="245" y="242"/>
                      <a:pt x="245" y="242"/>
                    </a:cubicBezTo>
                    <a:cubicBezTo>
                      <a:pt x="244" y="242"/>
                      <a:pt x="241" y="243"/>
                      <a:pt x="240" y="243"/>
                    </a:cubicBezTo>
                    <a:cubicBezTo>
                      <a:pt x="238" y="244"/>
                      <a:pt x="235" y="245"/>
                      <a:pt x="233" y="245"/>
                    </a:cubicBezTo>
                    <a:cubicBezTo>
                      <a:pt x="231" y="246"/>
                      <a:pt x="228" y="246"/>
                      <a:pt x="227" y="247"/>
                    </a:cubicBezTo>
                    <a:cubicBezTo>
                      <a:pt x="224" y="249"/>
                      <a:pt x="226" y="250"/>
                      <a:pt x="229" y="250"/>
                    </a:cubicBezTo>
                    <a:cubicBezTo>
                      <a:pt x="230" y="250"/>
                      <a:pt x="231" y="249"/>
                      <a:pt x="232" y="249"/>
                    </a:cubicBezTo>
                    <a:cubicBezTo>
                      <a:pt x="232" y="251"/>
                      <a:pt x="230" y="252"/>
                      <a:pt x="229" y="254"/>
                    </a:cubicBezTo>
                    <a:cubicBezTo>
                      <a:pt x="232" y="255"/>
                      <a:pt x="236" y="256"/>
                      <a:pt x="237" y="260"/>
                    </a:cubicBezTo>
                    <a:cubicBezTo>
                      <a:pt x="233" y="259"/>
                      <a:pt x="231" y="255"/>
                      <a:pt x="229" y="255"/>
                    </a:cubicBezTo>
                    <a:cubicBezTo>
                      <a:pt x="228" y="255"/>
                      <a:pt x="227" y="255"/>
                      <a:pt x="226" y="256"/>
                    </a:cubicBezTo>
                    <a:cubicBezTo>
                      <a:pt x="225" y="258"/>
                      <a:pt x="220" y="262"/>
                      <a:pt x="221" y="264"/>
                    </a:cubicBezTo>
                    <a:cubicBezTo>
                      <a:pt x="221" y="265"/>
                      <a:pt x="222" y="266"/>
                      <a:pt x="223" y="268"/>
                    </a:cubicBezTo>
                    <a:cubicBezTo>
                      <a:pt x="221" y="267"/>
                      <a:pt x="220" y="266"/>
                      <a:pt x="219" y="266"/>
                    </a:cubicBezTo>
                    <a:cubicBezTo>
                      <a:pt x="217" y="266"/>
                      <a:pt x="217" y="268"/>
                      <a:pt x="215" y="272"/>
                    </a:cubicBezTo>
                    <a:cubicBezTo>
                      <a:pt x="214" y="276"/>
                      <a:pt x="220" y="275"/>
                      <a:pt x="221" y="275"/>
                    </a:cubicBezTo>
                    <a:cubicBezTo>
                      <a:pt x="219" y="277"/>
                      <a:pt x="221" y="277"/>
                      <a:pt x="222" y="278"/>
                    </a:cubicBezTo>
                    <a:cubicBezTo>
                      <a:pt x="222" y="278"/>
                      <a:pt x="222" y="278"/>
                      <a:pt x="223" y="278"/>
                    </a:cubicBezTo>
                    <a:cubicBezTo>
                      <a:pt x="223" y="278"/>
                      <a:pt x="223" y="278"/>
                      <a:pt x="223" y="278"/>
                    </a:cubicBezTo>
                    <a:cubicBezTo>
                      <a:pt x="223" y="278"/>
                      <a:pt x="224" y="278"/>
                      <a:pt x="224" y="278"/>
                    </a:cubicBezTo>
                    <a:cubicBezTo>
                      <a:pt x="224" y="278"/>
                      <a:pt x="224" y="278"/>
                      <a:pt x="224" y="279"/>
                    </a:cubicBezTo>
                    <a:cubicBezTo>
                      <a:pt x="224" y="279"/>
                      <a:pt x="223" y="281"/>
                      <a:pt x="223" y="282"/>
                    </a:cubicBezTo>
                    <a:cubicBezTo>
                      <a:pt x="220" y="280"/>
                      <a:pt x="213" y="276"/>
                      <a:pt x="212" y="272"/>
                    </a:cubicBezTo>
                    <a:cubicBezTo>
                      <a:pt x="210" y="278"/>
                      <a:pt x="208" y="284"/>
                      <a:pt x="205" y="290"/>
                    </a:cubicBezTo>
                    <a:cubicBezTo>
                      <a:pt x="207" y="288"/>
                      <a:pt x="211" y="285"/>
                      <a:pt x="213" y="285"/>
                    </a:cubicBezTo>
                    <a:cubicBezTo>
                      <a:pt x="214" y="285"/>
                      <a:pt x="215" y="285"/>
                      <a:pt x="215" y="286"/>
                    </a:cubicBezTo>
                    <a:cubicBezTo>
                      <a:pt x="217" y="290"/>
                      <a:pt x="217" y="290"/>
                      <a:pt x="216" y="290"/>
                    </a:cubicBezTo>
                    <a:cubicBezTo>
                      <a:pt x="216" y="290"/>
                      <a:pt x="216" y="290"/>
                      <a:pt x="216" y="290"/>
                    </a:cubicBezTo>
                    <a:cubicBezTo>
                      <a:pt x="216" y="290"/>
                      <a:pt x="216" y="290"/>
                      <a:pt x="216" y="290"/>
                    </a:cubicBezTo>
                    <a:cubicBezTo>
                      <a:pt x="215" y="290"/>
                      <a:pt x="214" y="290"/>
                      <a:pt x="214" y="291"/>
                    </a:cubicBezTo>
                    <a:cubicBezTo>
                      <a:pt x="214" y="292"/>
                      <a:pt x="214" y="292"/>
                      <a:pt x="215" y="292"/>
                    </a:cubicBezTo>
                    <a:cubicBezTo>
                      <a:pt x="217" y="292"/>
                      <a:pt x="221" y="290"/>
                      <a:pt x="222" y="290"/>
                    </a:cubicBezTo>
                    <a:cubicBezTo>
                      <a:pt x="225" y="288"/>
                      <a:pt x="227" y="286"/>
                      <a:pt x="230" y="284"/>
                    </a:cubicBezTo>
                    <a:cubicBezTo>
                      <a:pt x="227" y="290"/>
                      <a:pt x="220" y="291"/>
                      <a:pt x="216" y="295"/>
                    </a:cubicBezTo>
                    <a:cubicBezTo>
                      <a:pt x="217" y="295"/>
                      <a:pt x="217" y="295"/>
                      <a:pt x="217" y="295"/>
                    </a:cubicBezTo>
                    <a:cubicBezTo>
                      <a:pt x="215" y="296"/>
                      <a:pt x="213" y="297"/>
                      <a:pt x="211" y="297"/>
                    </a:cubicBezTo>
                    <a:cubicBezTo>
                      <a:pt x="211" y="297"/>
                      <a:pt x="210" y="297"/>
                      <a:pt x="210" y="297"/>
                    </a:cubicBezTo>
                    <a:cubicBezTo>
                      <a:pt x="213" y="295"/>
                      <a:pt x="214" y="291"/>
                      <a:pt x="210" y="290"/>
                    </a:cubicBezTo>
                    <a:cubicBezTo>
                      <a:pt x="210" y="290"/>
                      <a:pt x="209" y="290"/>
                      <a:pt x="209" y="290"/>
                    </a:cubicBezTo>
                    <a:cubicBezTo>
                      <a:pt x="205" y="290"/>
                      <a:pt x="198" y="295"/>
                      <a:pt x="197" y="298"/>
                    </a:cubicBezTo>
                    <a:cubicBezTo>
                      <a:pt x="199" y="298"/>
                      <a:pt x="200" y="296"/>
                      <a:pt x="202" y="296"/>
                    </a:cubicBezTo>
                    <a:cubicBezTo>
                      <a:pt x="202" y="296"/>
                      <a:pt x="202" y="296"/>
                      <a:pt x="202" y="296"/>
                    </a:cubicBezTo>
                    <a:cubicBezTo>
                      <a:pt x="195" y="301"/>
                      <a:pt x="188" y="306"/>
                      <a:pt x="182" y="312"/>
                    </a:cubicBezTo>
                    <a:cubicBezTo>
                      <a:pt x="186" y="310"/>
                      <a:pt x="189" y="309"/>
                      <a:pt x="193" y="307"/>
                    </a:cubicBezTo>
                    <a:cubicBezTo>
                      <a:pt x="193" y="306"/>
                      <a:pt x="194" y="305"/>
                      <a:pt x="195" y="305"/>
                    </a:cubicBezTo>
                    <a:cubicBezTo>
                      <a:pt x="196" y="304"/>
                      <a:pt x="197" y="304"/>
                      <a:pt x="198" y="303"/>
                    </a:cubicBezTo>
                    <a:cubicBezTo>
                      <a:pt x="200" y="303"/>
                      <a:pt x="202" y="302"/>
                      <a:pt x="203" y="302"/>
                    </a:cubicBezTo>
                    <a:cubicBezTo>
                      <a:pt x="204" y="302"/>
                      <a:pt x="204" y="302"/>
                      <a:pt x="205" y="302"/>
                    </a:cubicBezTo>
                    <a:cubicBezTo>
                      <a:pt x="201" y="302"/>
                      <a:pt x="196" y="305"/>
                      <a:pt x="194" y="308"/>
                    </a:cubicBezTo>
                    <a:cubicBezTo>
                      <a:pt x="195" y="308"/>
                      <a:pt x="197" y="309"/>
                      <a:pt x="198" y="309"/>
                    </a:cubicBezTo>
                    <a:cubicBezTo>
                      <a:pt x="195" y="311"/>
                      <a:pt x="191" y="312"/>
                      <a:pt x="187" y="313"/>
                    </a:cubicBezTo>
                    <a:cubicBezTo>
                      <a:pt x="190" y="315"/>
                      <a:pt x="192" y="317"/>
                      <a:pt x="195" y="318"/>
                    </a:cubicBezTo>
                    <a:cubicBezTo>
                      <a:pt x="192" y="320"/>
                      <a:pt x="186" y="324"/>
                      <a:pt x="189" y="324"/>
                    </a:cubicBezTo>
                    <a:cubicBezTo>
                      <a:pt x="189" y="324"/>
                      <a:pt x="190" y="324"/>
                      <a:pt x="192" y="323"/>
                    </a:cubicBezTo>
                    <a:cubicBezTo>
                      <a:pt x="188" y="325"/>
                      <a:pt x="185" y="328"/>
                      <a:pt x="182" y="331"/>
                    </a:cubicBezTo>
                    <a:cubicBezTo>
                      <a:pt x="182" y="327"/>
                      <a:pt x="186" y="326"/>
                      <a:pt x="182" y="324"/>
                    </a:cubicBezTo>
                    <a:cubicBezTo>
                      <a:pt x="179" y="323"/>
                      <a:pt x="177" y="321"/>
                      <a:pt x="175" y="321"/>
                    </a:cubicBezTo>
                    <a:cubicBezTo>
                      <a:pt x="174" y="321"/>
                      <a:pt x="173" y="322"/>
                      <a:pt x="172" y="322"/>
                    </a:cubicBezTo>
                    <a:cubicBezTo>
                      <a:pt x="168" y="325"/>
                      <a:pt x="164" y="327"/>
                      <a:pt x="160" y="330"/>
                    </a:cubicBezTo>
                    <a:cubicBezTo>
                      <a:pt x="158" y="332"/>
                      <a:pt x="152" y="335"/>
                      <a:pt x="158" y="336"/>
                    </a:cubicBezTo>
                    <a:cubicBezTo>
                      <a:pt x="154" y="339"/>
                      <a:pt x="148" y="342"/>
                      <a:pt x="145" y="347"/>
                    </a:cubicBezTo>
                    <a:cubicBezTo>
                      <a:pt x="147" y="347"/>
                      <a:pt x="148" y="346"/>
                      <a:pt x="149" y="346"/>
                    </a:cubicBezTo>
                    <a:cubicBezTo>
                      <a:pt x="150" y="346"/>
                      <a:pt x="150" y="346"/>
                      <a:pt x="150" y="346"/>
                    </a:cubicBezTo>
                    <a:cubicBezTo>
                      <a:pt x="149" y="348"/>
                      <a:pt x="147" y="348"/>
                      <a:pt x="146" y="349"/>
                    </a:cubicBezTo>
                    <a:cubicBezTo>
                      <a:pt x="146" y="349"/>
                      <a:pt x="147" y="349"/>
                      <a:pt x="148" y="349"/>
                    </a:cubicBezTo>
                    <a:cubicBezTo>
                      <a:pt x="149" y="349"/>
                      <a:pt x="149" y="349"/>
                      <a:pt x="149" y="349"/>
                    </a:cubicBezTo>
                    <a:cubicBezTo>
                      <a:pt x="144" y="351"/>
                      <a:pt x="139" y="354"/>
                      <a:pt x="134" y="358"/>
                    </a:cubicBezTo>
                    <a:cubicBezTo>
                      <a:pt x="136" y="358"/>
                      <a:pt x="137" y="358"/>
                      <a:pt x="138" y="358"/>
                    </a:cubicBezTo>
                    <a:cubicBezTo>
                      <a:pt x="141" y="358"/>
                      <a:pt x="144" y="357"/>
                      <a:pt x="148" y="357"/>
                    </a:cubicBezTo>
                    <a:cubicBezTo>
                      <a:pt x="146" y="358"/>
                      <a:pt x="143" y="360"/>
                      <a:pt x="142" y="362"/>
                    </a:cubicBezTo>
                    <a:cubicBezTo>
                      <a:pt x="142" y="364"/>
                      <a:pt x="143" y="364"/>
                      <a:pt x="143" y="365"/>
                    </a:cubicBezTo>
                    <a:cubicBezTo>
                      <a:pt x="144" y="367"/>
                      <a:pt x="145" y="368"/>
                      <a:pt x="147" y="368"/>
                    </a:cubicBezTo>
                    <a:cubicBezTo>
                      <a:pt x="148" y="368"/>
                      <a:pt x="148" y="368"/>
                      <a:pt x="149" y="368"/>
                    </a:cubicBezTo>
                    <a:cubicBezTo>
                      <a:pt x="155" y="365"/>
                      <a:pt x="161" y="362"/>
                      <a:pt x="167" y="359"/>
                    </a:cubicBezTo>
                    <a:cubicBezTo>
                      <a:pt x="169" y="358"/>
                      <a:pt x="171" y="357"/>
                      <a:pt x="173" y="356"/>
                    </a:cubicBezTo>
                    <a:cubicBezTo>
                      <a:pt x="176" y="354"/>
                      <a:pt x="175" y="353"/>
                      <a:pt x="174" y="350"/>
                    </a:cubicBezTo>
                    <a:cubicBezTo>
                      <a:pt x="171" y="351"/>
                      <a:pt x="167" y="353"/>
                      <a:pt x="164" y="354"/>
                    </a:cubicBezTo>
                    <a:cubicBezTo>
                      <a:pt x="170" y="350"/>
                      <a:pt x="175" y="345"/>
                      <a:pt x="182" y="342"/>
                    </a:cubicBezTo>
                    <a:cubicBezTo>
                      <a:pt x="183" y="341"/>
                      <a:pt x="184" y="341"/>
                      <a:pt x="185" y="341"/>
                    </a:cubicBezTo>
                    <a:cubicBezTo>
                      <a:pt x="186" y="341"/>
                      <a:pt x="185" y="343"/>
                      <a:pt x="188" y="345"/>
                    </a:cubicBezTo>
                    <a:cubicBezTo>
                      <a:pt x="184" y="346"/>
                      <a:pt x="181" y="348"/>
                      <a:pt x="178" y="350"/>
                    </a:cubicBezTo>
                    <a:cubicBezTo>
                      <a:pt x="179" y="352"/>
                      <a:pt x="184" y="352"/>
                      <a:pt x="186" y="353"/>
                    </a:cubicBezTo>
                    <a:cubicBezTo>
                      <a:pt x="181" y="360"/>
                      <a:pt x="170" y="359"/>
                      <a:pt x="165" y="365"/>
                    </a:cubicBezTo>
                    <a:cubicBezTo>
                      <a:pt x="167" y="365"/>
                      <a:pt x="169" y="364"/>
                      <a:pt x="171" y="364"/>
                    </a:cubicBezTo>
                    <a:cubicBezTo>
                      <a:pt x="168" y="367"/>
                      <a:pt x="168" y="367"/>
                      <a:pt x="170" y="370"/>
                    </a:cubicBezTo>
                    <a:cubicBezTo>
                      <a:pt x="161" y="371"/>
                      <a:pt x="151" y="372"/>
                      <a:pt x="142" y="376"/>
                    </a:cubicBezTo>
                    <a:cubicBezTo>
                      <a:pt x="143" y="373"/>
                      <a:pt x="145" y="371"/>
                      <a:pt x="143" y="368"/>
                    </a:cubicBezTo>
                    <a:cubicBezTo>
                      <a:pt x="143" y="368"/>
                      <a:pt x="139" y="362"/>
                      <a:pt x="138" y="362"/>
                    </a:cubicBezTo>
                    <a:cubicBezTo>
                      <a:pt x="138" y="362"/>
                      <a:pt x="138" y="362"/>
                      <a:pt x="138" y="362"/>
                    </a:cubicBezTo>
                    <a:cubicBezTo>
                      <a:pt x="133" y="364"/>
                      <a:pt x="127" y="365"/>
                      <a:pt x="123" y="368"/>
                    </a:cubicBezTo>
                    <a:cubicBezTo>
                      <a:pt x="125" y="369"/>
                      <a:pt x="127" y="369"/>
                      <a:pt x="129" y="369"/>
                    </a:cubicBezTo>
                    <a:cubicBezTo>
                      <a:pt x="130" y="369"/>
                      <a:pt x="131" y="369"/>
                      <a:pt x="132" y="369"/>
                    </a:cubicBezTo>
                    <a:cubicBezTo>
                      <a:pt x="128" y="372"/>
                      <a:pt x="123" y="375"/>
                      <a:pt x="120" y="378"/>
                    </a:cubicBezTo>
                    <a:cubicBezTo>
                      <a:pt x="121" y="375"/>
                      <a:pt x="122" y="376"/>
                      <a:pt x="119" y="372"/>
                    </a:cubicBezTo>
                    <a:cubicBezTo>
                      <a:pt x="118" y="371"/>
                      <a:pt x="117" y="370"/>
                      <a:pt x="116" y="370"/>
                    </a:cubicBezTo>
                    <a:cubicBezTo>
                      <a:pt x="115" y="370"/>
                      <a:pt x="114" y="371"/>
                      <a:pt x="112" y="371"/>
                    </a:cubicBezTo>
                    <a:cubicBezTo>
                      <a:pt x="109" y="372"/>
                      <a:pt x="108" y="376"/>
                      <a:pt x="105" y="377"/>
                    </a:cubicBezTo>
                    <a:cubicBezTo>
                      <a:pt x="107" y="379"/>
                      <a:pt x="110" y="380"/>
                      <a:pt x="113" y="381"/>
                    </a:cubicBezTo>
                    <a:cubicBezTo>
                      <a:pt x="110" y="383"/>
                      <a:pt x="95" y="382"/>
                      <a:pt x="95" y="385"/>
                    </a:cubicBezTo>
                    <a:cubicBezTo>
                      <a:pt x="95" y="389"/>
                      <a:pt x="101" y="390"/>
                      <a:pt x="103" y="390"/>
                    </a:cubicBezTo>
                    <a:cubicBezTo>
                      <a:pt x="107" y="391"/>
                      <a:pt x="109" y="392"/>
                      <a:pt x="110" y="397"/>
                    </a:cubicBezTo>
                    <a:cubicBezTo>
                      <a:pt x="110" y="397"/>
                      <a:pt x="109" y="398"/>
                      <a:pt x="109" y="398"/>
                    </a:cubicBezTo>
                    <a:cubicBezTo>
                      <a:pt x="108" y="398"/>
                      <a:pt x="108" y="397"/>
                      <a:pt x="107" y="396"/>
                    </a:cubicBezTo>
                    <a:cubicBezTo>
                      <a:pt x="107" y="396"/>
                      <a:pt x="106" y="396"/>
                      <a:pt x="105" y="396"/>
                    </a:cubicBezTo>
                    <a:cubicBezTo>
                      <a:pt x="105" y="396"/>
                      <a:pt x="105" y="396"/>
                      <a:pt x="104" y="396"/>
                    </a:cubicBezTo>
                    <a:cubicBezTo>
                      <a:pt x="104" y="396"/>
                      <a:pt x="104" y="396"/>
                      <a:pt x="103" y="396"/>
                    </a:cubicBezTo>
                    <a:cubicBezTo>
                      <a:pt x="103" y="396"/>
                      <a:pt x="102" y="396"/>
                      <a:pt x="102" y="396"/>
                    </a:cubicBezTo>
                    <a:cubicBezTo>
                      <a:pt x="98" y="394"/>
                      <a:pt x="94" y="386"/>
                      <a:pt x="91" y="386"/>
                    </a:cubicBezTo>
                    <a:cubicBezTo>
                      <a:pt x="90" y="386"/>
                      <a:pt x="88" y="387"/>
                      <a:pt x="87" y="390"/>
                    </a:cubicBezTo>
                    <a:cubicBezTo>
                      <a:pt x="88" y="389"/>
                      <a:pt x="88" y="390"/>
                      <a:pt x="89" y="388"/>
                    </a:cubicBezTo>
                    <a:cubicBezTo>
                      <a:pt x="93" y="394"/>
                      <a:pt x="99" y="399"/>
                      <a:pt x="105" y="402"/>
                    </a:cubicBezTo>
                    <a:cubicBezTo>
                      <a:pt x="105" y="403"/>
                      <a:pt x="105" y="403"/>
                      <a:pt x="105" y="403"/>
                    </a:cubicBezTo>
                    <a:cubicBezTo>
                      <a:pt x="100" y="400"/>
                      <a:pt x="96" y="398"/>
                      <a:pt x="91" y="395"/>
                    </a:cubicBezTo>
                    <a:cubicBezTo>
                      <a:pt x="88" y="393"/>
                      <a:pt x="86" y="392"/>
                      <a:pt x="84" y="392"/>
                    </a:cubicBezTo>
                    <a:cubicBezTo>
                      <a:pt x="83" y="392"/>
                      <a:pt x="81" y="393"/>
                      <a:pt x="78" y="393"/>
                    </a:cubicBezTo>
                    <a:cubicBezTo>
                      <a:pt x="77" y="394"/>
                      <a:pt x="76" y="394"/>
                      <a:pt x="75" y="394"/>
                    </a:cubicBezTo>
                    <a:cubicBezTo>
                      <a:pt x="74" y="394"/>
                      <a:pt x="74" y="394"/>
                      <a:pt x="74" y="394"/>
                    </a:cubicBezTo>
                    <a:cubicBezTo>
                      <a:pt x="73" y="393"/>
                      <a:pt x="70" y="390"/>
                      <a:pt x="69" y="390"/>
                    </a:cubicBezTo>
                    <a:cubicBezTo>
                      <a:pt x="69" y="390"/>
                      <a:pt x="69" y="390"/>
                      <a:pt x="69" y="390"/>
                    </a:cubicBezTo>
                    <a:cubicBezTo>
                      <a:pt x="65" y="391"/>
                      <a:pt x="61" y="392"/>
                      <a:pt x="59" y="394"/>
                    </a:cubicBezTo>
                    <a:cubicBezTo>
                      <a:pt x="60" y="395"/>
                      <a:pt x="61" y="396"/>
                      <a:pt x="62" y="397"/>
                    </a:cubicBezTo>
                    <a:cubicBezTo>
                      <a:pt x="64" y="398"/>
                      <a:pt x="66" y="397"/>
                      <a:pt x="67" y="399"/>
                    </a:cubicBezTo>
                    <a:cubicBezTo>
                      <a:pt x="67" y="399"/>
                      <a:pt x="67" y="398"/>
                      <a:pt x="67" y="398"/>
                    </a:cubicBezTo>
                    <a:cubicBezTo>
                      <a:pt x="64" y="398"/>
                      <a:pt x="62" y="401"/>
                      <a:pt x="61" y="402"/>
                    </a:cubicBezTo>
                    <a:cubicBezTo>
                      <a:pt x="67" y="402"/>
                      <a:pt x="73" y="403"/>
                      <a:pt x="79" y="403"/>
                    </a:cubicBezTo>
                    <a:cubicBezTo>
                      <a:pt x="79" y="403"/>
                      <a:pt x="79" y="403"/>
                      <a:pt x="79" y="403"/>
                    </a:cubicBezTo>
                    <a:cubicBezTo>
                      <a:pt x="83" y="403"/>
                      <a:pt x="87" y="400"/>
                      <a:pt x="91" y="400"/>
                    </a:cubicBezTo>
                    <a:cubicBezTo>
                      <a:pt x="91" y="404"/>
                      <a:pt x="77" y="403"/>
                      <a:pt x="73" y="407"/>
                    </a:cubicBezTo>
                    <a:cubicBezTo>
                      <a:pt x="72" y="409"/>
                      <a:pt x="76" y="409"/>
                      <a:pt x="79" y="409"/>
                    </a:cubicBezTo>
                    <a:cubicBezTo>
                      <a:pt x="81" y="409"/>
                      <a:pt x="83" y="409"/>
                      <a:pt x="83" y="409"/>
                    </a:cubicBezTo>
                    <a:cubicBezTo>
                      <a:pt x="80" y="410"/>
                      <a:pt x="78" y="411"/>
                      <a:pt x="76" y="411"/>
                    </a:cubicBezTo>
                    <a:cubicBezTo>
                      <a:pt x="76" y="411"/>
                      <a:pt x="75" y="411"/>
                      <a:pt x="73" y="410"/>
                    </a:cubicBezTo>
                    <a:cubicBezTo>
                      <a:pt x="71" y="409"/>
                      <a:pt x="69" y="407"/>
                      <a:pt x="66" y="407"/>
                    </a:cubicBezTo>
                    <a:cubicBezTo>
                      <a:pt x="66" y="407"/>
                      <a:pt x="65" y="407"/>
                      <a:pt x="64" y="407"/>
                    </a:cubicBezTo>
                    <a:cubicBezTo>
                      <a:pt x="61" y="407"/>
                      <a:pt x="58" y="407"/>
                      <a:pt x="56" y="407"/>
                    </a:cubicBezTo>
                    <a:cubicBezTo>
                      <a:pt x="54" y="408"/>
                      <a:pt x="39" y="408"/>
                      <a:pt x="41" y="411"/>
                    </a:cubicBezTo>
                    <a:cubicBezTo>
                      <a:pt x="41" y="411"/>
                      <a:pt x="46" y="411"/>
                      <a:pt x="49" y="411"/>
                    </a:cubicBezTo>
                    <a:cubicBezTo>
                      <a:pt x="49" y="411"/>
                      <a:pt x="50" y="411"/>
                      <a:pt x="50" y="411"/>
                    </a:cubicBezTo>
                    <a:cubicBezTo>
                      <a:pt x="48" y="412"/>
                      <a:pt x="46" y="412"/>
                      <a:pt x="44" y="413"/>
                    </a:cubicBezTo>
                    <a:cubicBezTo>
                      <a:pt x="45" y="414"/>
                      <a:pt x="46" y="415"/>
                      <a:pt x="47" y="415"/>
                    </a:cubicBezTo>
                    <a:cubicBezTo>
                      <a:pt x="48" y="415"/>
                      <a:pt x="50" y="414"/>
                      <a:pt x="52" y="413"/>
                    </a:cubicBezTo>
                    <a:cubicBezTo>
                      <a:pt x="52" y="413"/>
                      <a:pt x="53" y="413"/>
                      <a:pt x="53" y="413"/>
                    </a:cubicBezTo>
                    <a:cubicBezTo>
                      <a:pt x="55" y="413"/>
                      <a:pt x="57" y="415"/>
                      <a:pt x="60" y="416"/>
                    </a:cubicBezTo>
                    <a:cubicBezTo>
                      <a:pt x="61" y="417"/>
                      <a:pt x="59" y="420"/>
                      <a:pt x="62" y="421"/>
                    </a:cubicBezTo>
                    <a:cubicBezTo>
                      <a:pt x="65" y="421"/>
                      <a:pt x="67" y="422"/>
                      <a:pt x="69" y="423"/>
                    </a:cubicBezTo>
                    <a:cubicBezTo>
                      <a:pt x="68" y="422"/>
                      <a:pt x="66" y="422"/>
                      <a:pt x="65" y="422"/>
                    </a:cubicBezTo>
                    <a:cubicBezTo>
                      <a:pt x="63" y="422"/>
                      <a:pt x="62" y="422"/>
                      <a:pt x="62" y="424"/>
                    </a:cubicBezTo>
                    <a:cubicBezTo>
                      <a:pt x="62" y="428"/>
                      <a:pt x="63" y="428"/>
                      <a:pt x="67" y="429"/>
                    </a:cubicBezTo>
                    <a:cubicBezTo>
                      <a:pt x="66" y="429"/>
                      <a:pt x="66" y="429"/>
                      <a:pt x="65" y="429"/>
                    </a:cubicBezTo>
                    <a:cubicBezTo>
                      <a:pt x="64" y="429"/>
                      <a:pt x="63" y="429"/>
                      <a:pt x="62" y="429"/>
                    </a:cubicBezTo>
                    <a:cubicBezTo>
                      <a:pt x="62" y="430"/>
                      <a:pt x="61" y="430"/>
                      <a:pt x="60" y="430"/>
                    </a:cubicBezTo>
                    <a:cubicBezTo>
                      <a:pt x="60" y="430"/>
                      <a:pt x="59" y="430"/>
                      <a:pt x="59" y="430"/>
                    </a:cubicBezTo>
                    <a:cubicBezTo>
                      <a:pt x="61" y="427"/>
                      <a:pt x="63" y="424"/>
                      <a:pt x="60" y="421"/>
                    </a:cubicBezTo>
                    <a:cubicBezTo>
                      <a:pt x="59" y="420"/>
                      <a:pt x="60" y="417"/>
                      <a:pt x="59" y="416"/>
                    </a:cubicBezTo>
                    <a:cubicBezTo>
                      <a:pt x="58" y="415"/>
                      <a:pt x="54" y="415"/>
                      <a:pt x="52" y="415"/>
                    </a:cubicBezTo>
                    <a:cubicBezTo>
                      <a:pt x="52" y="415"/>
                      <a:pt x="52" y="415"/>
                      <a:pt x="52" y="415"/>
                    </a:cubicBezTo>
                    <a:cubicBezTo>
                      <a:pt x="50" y="415"/>
                      <a:pt x="45" y="416"/>
                      <a:pt x="45" y="418"/>
                    </a:cubicBezTo>
                    <a:cubicBezTo>
                      <a:pt x="44" y="421"/>
                      <a:pt x="50" y="423"/>
                      <a:pt x="50" y="425"/>
                    </a:cubicBezTo>
                    <a:cubicBezTo>
                      <a:pt x="50" y="426"/>
                      <a:pt x="50" y="427"/>
                      <a:pt x="49" y="427"/>
                    </a:cubicBezTo>
                    <a:cubicBezTo>
                      <a:pt x="47" y="427"/>
                      <a:pt x="45" y="420"/>
                      <a:pt x="44" y="420"/>
                    </a:cubicBezTo>
                    <a:cubicBezTo>
                      <a:pt x="43" y="419"/>
                      <a:pt x="42" y="418"/>
                      <a:pt x="41" y="418"/>
                    </a:cubicBezTo>
                    <a:cubicBezTo>
                      <a:pt x="41" y="418"/>
                      <a:pt x="40" y="419"/>
                      <a:pt x="39" y="420"/>
                    </a:cubicBezTo>
                    <a:cubicBezTo>
                      <a:pt x="37" y="421"/>
                      <a:pt x="34" y="422"/>
                      <a:pt x="33" y="423"/>
                    </a:cubicBezTo>
                    <a:cubicBezTo>
                      <a:pt x="31" y="426"/>
                      <a:pt x="34" y="426"/>
                      <a:pt x="36" y="429"/>
                    </a:cubicBezTo>
                    <a:cubicBezTo>
                      <a:pt x="36" y="429"/>
                      <a:pt x="35" y="428"/>
                      <a:pt x="34" y="428"/>
                    </a:cubicBezTo>
                    <a:cubicBezTo>
                      <a:pt x="32" y="428"/>
                      <a:pt x="31" y="431"/>
                      <a:pt x="29" y="433"/>
                    </a:cubicBezTo>
                    <a:cubicBezTo>
                      <a:pt x="31" y="431"/>
                      <a:pt x="28" y="428"/>
                      <a:pt x="27" y="426"/>
                    </a:cubicBezTo>
                    <a:cubicBezTo>
                      <a:pt x="25" y="427"/>
                      <a:pt x="25" y="428"/>
                      <a:pt x="24" y="428"/>
                    </a:cubicBezTo>
                    <a:cubicBezTo>
                      <a:pt x="23" y="428"/>
                      <a:pt x="22" y="427"/>
                      <a:pt x="21" y="427"/>
                    </a:cubicBezTo>
                    <a:cubicBezTo>
                      <a:pt x="20" y="426"/>
                      <a:pt x="19" y="426"/>
                      <a:pt x="19" y="426"/>
                    </a:cubicBezTo>
                    <a:cubicBezTo>
                      <a:pt x="18" y="426"/>
                      <a:pt x="17" y="426"/>
                      <a:pt x="17" y="427"/>
                    </a:cubicBezTo>
                    <a:cubicBezTo>
                      <a:pt x="16" y="428"/>
                      <a:pt x="18" y="432"/>
                      <a:pt x="18" y="434"/>
                    </a:cubicBezTo>
                    <a:cubicBezTo>
                      <a:pt x="17" y="432"/>
                      <a:pt x="13" y="425"/>
                      <a:pt x="11" y="425"/>
                    </a:cubicBezTo>
                    <a:cubicBezTo>
                      <a:pt x="11" y="425"/>
                      <a:pt x="11" y="425"/>
                      <a:pt x="11" y="425"/>
                    </a:cubicBezTo>
                    <a:cubicBezTo>
                      <a:pt x="8" y="425"/>
                      <a:pt x="14" y="432"/>
                      <a:pt x="17" y="433"/>
                    </a:cubicBezTo>
                    <a:cubicBezTo>
                      <a:pt x="15" y="435"/>
                      <a:pt x="11" y="436"/>
                      <a:pt x="9" y="437"/>
                    </a:cubicBezTo>
                    <a:cubicBezTo>
                      <a:pt x="17" y="437"/>
                      <a:pt x="24" y="438"/>
                      <a:pt x="32" y="439"/>
                    </a:cubicBezTo>
                    <a:cubicBezTo>
                      <a:pt x="34" y="440"/>
                      <a:pt x="36" y="440"/>
                      <a:pt x="38" y="440"/>
                    </a:cubicBezTo>
                    <a:cubicBezTo>
                      <a:pt x="42" y="440"/>
                      <a:pt x="45" y="439"/>
                      <a:pt x="49" y="439"/>
                    </a:cubicBezTo>
                    <a:cubicBezTo>
                      <a:pt x="42" y="441"/>
                      <a:pt x="37" y="442"/>
                      <a:pt x="31" y="446"/>
                    </a:cubicBezTo>
                    <a:cubicBezTo>
                      <a:pt x="30" y="444"/>
                      <a:pt x="30" y="442"/>
                      <a:pt x="31" y="440"/>
                    </a:cubicBezTo>
                    <a:cubicBezTo>
                      <a:pt x="29" y="441"/>
                      <a:pt x="28" y="441"/>
                      <a:pt x="27" y="441"/>
                    </a:cubicBezTo>
                    <a:cubicBezTo>
                      <a:pt x="26" y="441"/>
                      <a:pt x="25" y="441"/>
                      <a:pt x="25" y="441"/>
                    </a:cubicBezTo>
                    <a:cubicBezTo>
                      <a:pt x="23" y="440"/>
                      <a:pt x="19" y="438"/>
                      <a:pt x="17" y="438"/>
                    </a:cubicBezTo>
                    <a:cubicBezTo>
                      <a:pt x="17" y="438"/>
                      <a:pt x="17" y="438"/>
                      <a:pt x="16" y="438"/>
                    </a:cubicBezTo>
                    <a:cubicBezTo>
                      <a:pt x="15" y="438"/>
                      <a:pt x="13" y="439"/>
                      <a:pt x="12" y="441"/>
                    </a:cubicBezTo>
                    <a:cubicBezTo>
                      <a:pt x="10" y="441"/>
                      <a:pt x="8" y="441"/>
                      <a:pt x="5" y="441"/>
                    </a:cubicBezTo>
                    <a:cubicBezTo>
                      <a:pt x="4" y="441"/>
                      <a:pt x="2" y="441"/>
                      <a:pt x="0" y="441"/>
                    </a:cubicBezTo>
                    <a:cubicBezTo>
                      <a:pt x="2" y="441"/>
                      <a:pt x="2" y="443"/>
                      <a:pt x="2" y="444"/>
                    </a:cubicBezTo>
                    <a:cubicBezTo>
                      <a:pt x="5" y="442"/>
                      <a:pt x="9" y="442"/>
                      <a:pt x="12" y="441"/>
                    </a:cubicBezTo>
                    <a:cubicBezTo>
                      <a:pt x="9" y="443"/>
                      <a:pt x="6" y="446"/>
                      <a:pt x="4" y="448"/>
                    </a:cubicBezTo>
                    <a:cubicBezTo>
                      <a:pt x="8" y="449"/>
                      <a:pt x="11" y="450"/>
                      <a:pt x="15" y="450"/>
                    </a:cubicBezTo>
                    <a:cubicBezTo>
                      <a:pt x="12" y="451"/>
                      <a:pt x="8" y="450"/>
                      <a:pt x="5" y="452"/>
                    </a:cubicBezTo>
                    <a:cubicBezTo>
                      <a:pt x="6" y="452"/>
                      <a:pt x="6" y="452"/>
                      <a:pt x="6" y="452"/>
                    </a:cubicBezTo>
                    <a:cubicBezTo>
                      <a:pt x="7" y="452"/>
                      <a:pt x="8" y="451"/>
                      <a:pt x="9" y="451"/>
                    </a:cubicBezTo>
                    <a:cubicBezTo>
                      <a:pt x="11" y="451"/>
                      <a:pt x="12" y="451"/>
                      <a:pt x="13" y="451"/>
                    </a:cubicBezTo>
                    <a:cubicBezTo>
                      <a:pt x="14" y="451"/>
                      <a:pt x="15" y="451"/>
                      <a:pt x="17" y="452"/>
                    </a:cubicBezTo>
                    <a:cubicBezTo>
                      <a:pt x="15" y="452"/>
                      <a:pt x="14" y="452"/>
                      <a:pt x="13" y="452"/>
                    </a:cubicBezTo>
                    <a:cubicBezTo>
                      <a:pt x="12" y="452"/>
                      <a:pt x="12" y="452"/>
                      <a:pt x="11" y="452"/>
                    </a:cubicBezTo>
                    <a:cubicBezTo>
                      <a:pt x="12" y="453"/>
                      <a:pt x="14" y="453"/>
                      <a:pt x="15" y="454"/>
                    </a:cubicBezTo>
                    <a:cubicBezTo>
                      <a:pt x="14" y="455"/>
                      <a:pt x="14" y="456"/>
                      <a:pt x="13" y="456"/>
                    </a:cubicBezTo>
                    <a:cubicBezTo>
                      <a:pt x="18" y="456"/>
                      <a:pt x="22" y="456"/>
                      <a:pt x="27" y="456"/>
                    </a:cubicBezTo>
                    <a:cubicBezTo>
                      <a:pt x="22" y="457"/>
                      <a:pt x="11" y="456"/>
                      <a:pt x="7" y="459"/>
                    </a:cubicBezTo>
                    <a:cubicBezTo>
                      <a:pt x="8" y="460"/>
                      <a:pt x="8" y="461"/>
                      <a:pt x="7" y="463"/>
                    </a:cubicBezTo>
                    <a:cubicBezTo>
                      <a:pt x="11" y="462"/>
                      <a:pt x="15" y="461"/>
                      <a:pt x="19" y="461"/>
                    </a:cubicBezTo>
                    <a:cubicBezTo>
                      <a:pt x="20" y="461"/>
                      <a:pt x="22" y="461"/>
                      <a:pt x="23" y="462"/>
                    </a:cubicBezTo>
                    <a:cubicBezTo>
                      <a:pt x="23" y="462"/>
                      <a:pt x="23" y="462"/>
                      <a:pt x="23" y="462"/>
                    </a:cubicBezTo>
                    <a:cubicBezTo>
                      <a:pt x="18" y="462"/>
                      <a:pt x="7" y="462"/>
                      <a:pt x="5" y="467"/>
                    </a:cubicBezTo>
                    <a:cubicBezTo>
                      <a:pt x="8" y="469"/>
                      <a:pt x="13" y="474"/>
                      <a:pt x="16" y="474"/>
                    </a:cubicBezTo>
                    <a:cubicBezTo>
                      <a:pt x="16" y="474"/>
                      <a:pt x="16" y="474"/>
                      <a:pt x="16" y="474"/>
                    </a:cubicBezTo>
                    <a:cubicBezTo>
                      <a:pt x="23" y="473"/>
                      <a:pt x="29" y="472"/>
                      <a:pt x="35" y="471"/>
                    </a:cubicBezTo>
                    <a:cubicBezTo>
                      <a:pt x="35" y="471"/>
                      <a:pt x="35" y="471"/>
                      <a:pt x="35" y="471"/>
                    </a:cubicBezTo>
                    <a:cubicBezTo>
                      <a:pt x="37" y="471"/>
                      <a:pt x="38" y="471"/>
                      <a:pt x="39" y="472"/>
                    </a:cubicBezTo>
                    <a:cubicBezTo>
                      <a:pt x="41" y="472"/>
                      <a:pt x="42" y="473"/>
                      <a:pt x="43" y="473"/>
                    </a:cubicBezTo>
                    <a:cubicBezTo>
                      <a:pt x="44" y="473"/>
                      <a:pt x="44" y="473"/>
                      <a:pt x="45" y="473"/>
                    </a:cubicBezTo>
                    <a:cubicBezTo>
                      <a:pt x="47" y="472"/>
                      <a:pt x="49" y="469"/>
                      <a:pt x="51" y="467"/>
                    </a:cubicBezTo>
                    <a:cubicBezTo>
                      <a:pt x="50" y="469"/>
                      <a:pt x="54" y="469"/>
                      <a:pt x="57" y="470"/>
                    </a:cubicBezTo>
                    <a:cubicBezTo>
                      <a:pt x="59" y="470"/>
                      <a:pt x="61" y="470"/>
                      <a:pt x="63" y="470"/>
                    </a:cubicBezTo>
                    <a:cubicBezTo>
                      <a:pt x="65" y="470"/>
                      <a:pt x="66" y="470"/>
                      <a:pt x="68" y="470"/>
                    </a:cubicBezTo>
                    <a:cubicBezTo>
                      <a:pt x="69" y="470"/>
                      <a:pt x="71" y="470"/>
                      <a:pt x="72" y="470"/>
                    </a:cubicBezTo>
                    <a:cubicBezTo>
                      <a:pt x="72" y="470"/>
                      <a:pt x="72" y="470"/>
                      <a:pt x="72" y="470"/>
                    </a:cubicBezTo>
                    <a:cubicBezTo>
                      <a:pt x="71" y="469"/>
                      <a:pt x="68" y="466"/>
                      <a:pt x="69" y="465"/>
                    </a:cubicBezTo>
                    <a:cubicBezTo>
                      <a:pt x="69" y="463"/>
                      <a:pt x="71" y="463"/>
                      <a:pt x="70" y="461"/>
                    </a:cubicBezTo>
                    <a:cubicBezTo>
                      <a:pt x="70" y="461"/>
                      <a:pt x="70" y="461"/>
                      <a:pt x="70" y="461"/>
                    </a:cubicBezTo>
                    <a:cubicBezTo>
                      <a:pt x="73" y="461"/>
                      <a:pt x="76" y="458"/>
                      <a:pt x="78" y="457"/>
                    </a:cubicBezTo>
                    <a:cubicBezTo>
                      <a:pt x="76" y="459"/>
                      <a:pt x="68" y="465"/>
                      <a:pt x="72" y="468"/>
                    </a:cubicBezTo>
                    <a:cubicBezTo>
                      <a:pt x="73" y="469"/>
                      <a:pt x="73" y="469"/>
                      <a:pt x="74" y="469"/>
                    </a:cubicBezTo>
                    <a:cubicBezTo>
                      <a:pt x="76" y="469"/>
                      <a:pt x="79" y="468"/>
                      <a:pt x="81" y="467"/>
                    </a:cubicBezTo>
                    <a:cubicBezTo>
                      <a:pt x="77" y="469"/>
                      <a:pt x="73" y="470"/>
                      <a:pt x="69" y="471"/>
                    </a:cubicBezTo>
                    <a:cubicBezTo>
                      <a:pt x="65" y="473"/>
                      <a:pt x="61" y="474"/>
                      <a:pt x="64" y="478"/>
                    </a:cubicBezTo>
                    <a:cubicBezTo>
                      <a:pt x="64" y="479"/>
                      <a:pt x="68" y="480"/>
                      <a:pt x="66" y="482"/>
                    </a:cubicBezTo>
                    <a:cubicBezTo>
                      <a:pt x="65" y="482"/>
                      <a:pt x="65" y="482"/>
                      <a:pt x="64" y="482"/>
                    </a:cubicBezTo>
                    <a:cubicBezTo>
                      <a:pt x="64" y="482"/>
                      <a:pt x="63" y="482"/>
                      <a:pt x="62" y="481"/>
                    </a:cubicBezTo>
                    <a:cubicBezTo>
                      <a:pt x="61" y="481"/>
                      <a:pt x="60" y="481"/>
                      <a:pt x="59" y="481"/>
                    </a:cubicBezTo>
                    <a:cubicBezTo>
                      <a:pt x="59" y="481"/>
                      <a:pt x="58" y="481"/>
                      <a:pt x="58" y="481"/>
                    </a:cubicBezTo>
                    <a:cubicBezTo>
                      <a:pt x="59" y="479"/>
                      <a:pt x="60" y="478"/>
                      <a:pt x="61" y="476"/>
                    </a:cubicBezTo>
                    <a:cubicBezTo>
                      <a:pt x="59" y="475"/>
                      <a:pt x="55" y="471"/>
                      <a:pt x="52" y="471"/>
                    </a:cubicBezTo>
                    <a:cubicBezTo>
                      <a:pt x="51" y="471"/>
                      <a:pt x="51" y="471"/>
                      <a:pt x="51" y="471"/>
                    </a:cubicBezTo>
                    <a:cubicBezTo>
                      <a:pt x="49" y="473"/>
                      <a:pt x="44" y="475"/>
                      <a:pt x="44" y="477"/>
                    </a:cubicBezTo>
                    <a:cubicBezTo>
                      <a:pt x="41" y="476"/>
                      <a:pt x="39" y="473"/>
                      <a:pt x="35" y="473"/>
                    </a:cubicBezTo>
                    <a:cubicBezTo>
                      <a:pt x="35" y="473"/>
                      <a:pt x="35" y="473"/>
                      <a:pt x="34" y="473"/>
                    </a:cubicBezTo>
                    <a:cubicBezTo>
                      <a:pt x="29" y="474"/>
                      <a:pt x="24" y="475"/>
                      <a:pt x="18" y="475"/>
                    </a:cubicBezTo>
                    <a:cubicBezTo>
                      <a:pt x="18" y="475"/>
                      <a:pt x="18" y="475"/>
                      <a:pt x="18" y="475"/>
                    </a:cubicBezTo>
                    <a:cubicBezTo>
                      <a:pt x="16" y="475"/>
                      <a:pt x="13" y="474"/>
                      <a:pt x="11" y="474"/>
                    </a:cubicBezTo>
                    <a:cubicBezTo>
                      <a:pt x="10" y="474"/>
                      <a:pt x="9" y="474"/>
                      <a:pt x="9" y="474"/>
                    </a:cubicBezTo>
                    <a:cubicBezTo>
                      <a:pt x="5" y="475"/>
                      <a:pt x="9" y="478"/>
                      <a:pt x="11" y="479"/>
                    </a:cubicBezTo>
                    <a:cubicBezTo>
                      <a:pt x="10" y="480"/>
                      <a:pt x="8" y="481"/>
                      <a:pt x="7" y="483"/>
                    </a:cubicBezTo>
                    <a:cubicBezTo>
                      <a:pt x="6" y="482"/>
                      <a:pt x="5" y="481"/>
                      <a:pt x="5" y="479"/>
                    </a:cubicBezTo>
                    <a:cubicBezTo>
                      <a:pt x="6" y="483"/>
                      <a:pt x="6" y="484"/>
                      <a:pt x="8" y="484"/>
                    </a:cubicBezTo>
                    <a:cubicBezTo>
                      <a:pt x="9" y="484"/>
                      <a:pt x="11" y="484"/>
                      <a:pt x="12" y="484"/>
                    </a:cubicBezTo>
                    <a:cubicBezTo>
                      <a:pt x="14" y="484"/>
                      <a:pt x="15" y="483"/>
                      <a:pt x="17" y="483"/>
                    </a:cubicBezTo>
                    <a:cubicBezTo>
                      <a:pt x="11" y="484"/>
                      <a:pt x="13" y="488"/>
                      <a:pt x="16" y="490"/>
                    </a:cubicBezTo>
                    <a:cubicBezTo>
                      <a:pt x="14" y="491"/>
                      <a:pt x="7" y="496"/>
                      <a:pt x="13" y="496"/>
                    </a:cubicBezTo>
                    <a:cubicBezTo>
                      <a:pt x="13" y="496"/>
                      <a:pt x="13" y="496"/>
                      <a:pt x="13" y="496"/>
                    </a:cubicBezTo>
                    <a:cubicBezTo>
                      <a:pt x="15" y="496"/>
                      <a:pt x="17" y="494"/>
                      <a:pt x="19" y="493"/>
                    </a:cubicBezTo>
                    <a:cubicBezTo>
                      <a:pt x="21" y="491"/>
                      <a:pt x="23" y="489"/>
                      <a:pt x="25" y="489"/>
                    </a:cubicBezTo>
                    <a:cubicBezTo>
                      <a:pt x="26" y="489"/>
                      <a:pt x="26" y="489"/>
                      <a:pt x="27" y="490"/>
                    </a:cubicBezTo>
                    <a:cubicBezTo>
                      <a:pt x="26" y="493"/>
                      <a:pt x="24" y="496"/>
                      <a:pt x="23" y="500"/>
                    </a:cubicBezTo>
                    <a:cubicBezTo>
                      <a:pt x="22" y="501"/>
                      <a:pt x="22" y="501"/>
                      <a:pt x="21" y="501"/>
                    </a:cubicBezTo>
                    <a:cubicBezTo>
                      <a:pt x="20" y="501"/>
                      <a:pt x="19" y="501"/>
                      <a:pt x="17" y="501"/>
                    </a:cubicBezTo>
                    <a:cubicBezTo>
                      <a:pt x="16" y="501"/>
                      <a:pt x="14" y="498"/>
                      <a:pt x="13" y="498"/>
                    </a:cubicBezTo>
                    <a:cubicBezTo>
                      <a:pt x="13" y="498"/>
                      <a:pt x="12" y="498"/>
                      <a:pt x="12" y="498"/>
                    </a:cubicBezTo>
                    <a:cubicBezTo>
                      <a:pt x="9" y="504"/>
                      <a:pt x="9" y="504"/>
                      <a:pt x="13" y="510"/>
                    </a:cubicBezTo>
                    <a:cubicBezTo>
                      <a:pt x="14" y="511"/>
                      <a:pt x="15" y="513"/>
                      <a:pt x="17" y="513"/>
                    </a:cubicBezTo>
                    <a:cubicBezTo>
                      <a:pt x="17" y="513"/>
                      <a:pt x="17" y="513"/>
                      <a:pt x="17" y="513"/>
                    </a:cubicBezTo>
                    <a:cubicBezTo>
                      <a:pt x="19" y="513"/>
                      <a:pt x="21" y="508"/>
                      <a:pt x="23" y="506"/>
                    </a:cubicBezTo>
                    <a:cubicBezTo>
                      <a:pt x="23" y="507"/>
                      <a:pt x="20" y="513"/>
                      <a:pt x="21" y="513"/>
                    </a:cubicBezTo>
                    <a:cubicBezTo>
                      <a:pt x="21" y="513"/>
                      <a:pt x="21" y="513"/>
                      <a:pt x="21" y="513"/>
                    </a:cubicBezTo>
                    <a:cubicBezTo>
                      <a:pt x="23" y="513"/>
                      <a:pt x="25" y="512"/>
                      <a:pt x="27" y="511"/>
                    </a:cubicBezTo>
                    <a:cubicBezTo>
                      <a:pt x="27" y="512"/>
                      <a:pt x="24" y="521"/>
                      <a:pt x="27" y="521"/>
                    </a:cubicBezTo>
                    <a:cubicBezTo>
                      <a:pt x="27" y="521"/>
                      <a:pt x="27" y="521"/>
                      <a:pt x="28" y="521"/>
                    </a:cubicBezTo>
                    <a:cubicBezTo>
                      <a:pt x="29" y="521"/>
                      <a:pt x="29" y="516"/>
                      <a:pt x="30" y="515"/>
                    </a:cubicBezTo>
                    <a:cubicBezTo>
                      <a:pt x="30" y="514"/>
                      <a:pt x="33" y="512"/>
                      <a:pt x="34" y="512"/>
                    </a:cubicBezTo>
                    <a:cubicBezTo>
                      <a:pt x="39" y="508"/>
                      <a:pt x="44" y="503"/>
                      <a:pt x="49" y="501"/>
                    </a:cubicBezTo>
                    <a:cubicBezTo>
                      <a:pt x="53" y="500"/>
                      <a:pt x="57" y="499"/>
                      <a:pt x="60" y="499"/>
                    </a:cubicBezTo>
                    <a:cubicBezTo>
                      <a:pt x="62" y="499"/>
                      <a:pt x="63" y="499"/>
                      <a:pt x="65" y="499"/>
                    </a:cubicBezTo>
                    <a:cubicBezTo>
                      <a:pt x="59" y="500"/>
                      <a:pt x="57" y="499"/>
                      <a:pt x="54" y="504"/>
                    </a:cubicBezTo>
                    <a:cubicBezTo>
                      <a:pt x="52" y="508"/>
                      <a:pt x="50" y="512"/>
                      <a:pt x="48" y="516"/>
                    </a:cubicBezTo>
                    <a:cubicBezTo>
                      <a:pt x="49" y="512"/>
                      <a:pt x="49" y="507"/>
                      <a:pt x="51" y="504"/>
                    </a:cubicBezTo>
                    <a:cubicBezTo>
                      <a:pt x="51" y="504"/>
                      <a:pt x="51" y="504"/>
                      <a:pt x="50" y="504"/>
                    </a:cubicBezTo>
                    <a:cubicBezTo>
                      <a:pt x="45" y="504"/>
                      <a:pt x="42" y="507"/>
                      <a:pt x="38" y="510"/>
                    </a:cubicBezTo>
                    <a:cubicBezTo>
                      <a:pt x="36" y="511"/>
                      <a:pt x="34" y="514"/>
                      <a:pt x="38" y="515"/>
                    </a:cubicBezTo>
                    <a:cubicBezTo>
                      <a:pt x="38" y="515"/>
                      <a:pt x="38" y="515"/>
                      <a:pt x="39" y="515"/>
                    </a:cubicBezTo>
                    <a:cubicBezTo>
                      <a:pt x="39" y="515"/>
                      <a:pt x="39" y="515"/>
                      <a:pt x="40" y="514"/>
                    </a:cubicBezTo>
                    <a:cubicBezTo>
                      <a:pt x="40" y="514"/>
                      <a:pt x="41" y="514"/>
                      <a:pt x="41" y="514"/>
                    </a:cubicBezTo>
                    <a:cubicBezTo>
                      <a:pt x="41" y="514"/>
                      <a:pt x="41" y="515"/>
                      <a:pt x="40" y="516"/>
                    </a:cubicBezTo>
                    <a:cubicBezTo>
                      <a:pt x="38" y="518"/>
                      <a:pt x="35" y="519"/>
                      <a:pt x="32" y="520"/>
                    </a:cubicBezTo>
                    <a:cubicBezTo>
                      <a:pt x="31" y="521"/>
                      <a:pt x="32" y="522"/>
                      <a:pt x="32" y="523"/>
                    </a:cubicBezTo>
                    <a:cubicBezTo>
                      <a:pt x="30" y="523"/>
                      <a:pt x="29" y="524"/>
                      <a:pt x="28" y="525"/>
                    </a:cubicBezTo>
                    <a:cubicBezTo>
                      <a:pt x="26" y="526"/>
                      <a:pt x="25" y="526"/>
                      <a:pt x="24" y="528"/>
                    </a:cubicBezTo>
                    <a:cubicBezTo>
                      <a:pt x="25" y="528"/>
                      <a:pt x="26" y="529"/>
                      <a:pt x="27" y="529"/>
                    </a:cubicBezTo>
                    <a:cubicBezTo>
                      <a:pt x="29" y="530"/>
                      <a:pt x="32" y="530"/>
                      <a:pt x="35" y="530"/>
                    </a:cubicBezTo>
                    <a:cubicBezTo>
                      <a:pt x="33" y="532"/>
                      <a:pt x="28" y="533"/>
                      <a:pt x="28" y="536"/>
                    </a:cubicBezTo>
                    <a:cubicBezTo>
                      <a:pt x="28" y="537"/>
                      <a:pt x="27" y="538"/>
                      <a:pt x="26" y="538"/>
                    </a:cubicBezTo>
                    <a:cubicBezTo>
                      <a:pt x="26" y="538"/>
                      <a:pt x="25" y="538"/>
                      <a:pt x="25" y="538"/>
                    </a:cubicBezTo>
                    <a:cubicBezTo>
                      <a:pt x="26" y="537"/>
                      <a:pt x="24" y="535"/>
                      <a:pt x="22" y="535"/>
                    </a:cubicBezTo>
                    <a:cubicBezTo>
                      <a:pt x="22" y="535"/>
                      <a:pt x="22" y="535"/>
                      <a:pt x="21" y="535"/>
                    </a:cubicBezTo>
                    <a:cubicBezTo>
                      <a:pt x="21" y="536"/>
                      <a:pt x="19" y="540"/>
                      <a:pt x="18" y="541"/>
                    </a:cubicBezTo>
                    <a:cubicBezTo>
                      <a:pt x="18" y="541"/>
                      <a:pt x="17" y="542"/>
                      <a:pt x="16" y="542"/>
                    </a:cubicBezTo>
                    <a:cubicBezTo>
                      <a:pt x="15" y="542"/>
                      <a:pt x="15" y="541"/>
                      <a:pt x="14" y="541"/>
                    </a:cubicBezTo>
                    <a:cubicBezTo>
                      <a:pt x="19" y="539"/>
                      <a:pt x="19" y="538"/>
                      <a:pt x="19" y="532"/>
                    </a:cubicBezTo>
                    <a:cubicBezTo>
                      <a:pt x="17" y="533"/>
                      <a:pt x="17" y="534"/>
                      <a:pt x="16" y="535"/>
                    </a:cubicBezTo>
                    <a:cubicBezTo>
                      <a:pt x="13" y="537"/>
                      <a:pt x="13" y="537"/>
                      <a:pt x="13" y="537"/>
                    </a:cubicBezTo>
                    <a:cubicBezTo>
                      <a:pt x="12" y="539"/>
                      <a:pt x="13" y="542"/>
                      <a:pt x="11" y="544"/>
                    </a:cubicBezTo>
                    <a:cubicBezTo>
                      <a:pt x="15" y="545"/>
                      <a:pt x="16" y="547"/>
                      <a:pt x="19" y="550"/>
                    </a:cubicBezTo>
                    <a:cubicBezTo>
                      <a:pt x="19" y="550"/>
                      <a:pt x="19" y="550"/>
                      <a:pt x="20" y="550"/>
                    </a:cubicBezTo>
                    <a:cubicBezTo>
                      <a:pt x="20" y="550"/>
                      <a:pt x="20" y="550"/>
                      <a:pt x="21" y="549"/>
                    </a:cubicBezTo>
                    <a:cubicBezTo>
                      <a:pt x="22" y="548"/>
                      <a:pt x="21" y="543"/>
                      <a:pt x="21" y="542"/>
                    </a:cubicBezTo>
                    <a:cubicBezTo>
                      <a:pt x="22" y="545"/>
                      <a:pt x="22" y="548"/>
                      <a:pt x="23" y="551"/>
                    </a:cubicBezTo>
                    <a:cubicBezTo>
                      <a:pt x="23" y="550"/>
                      <a:pt x="25" y="550"/>
                      <a:pt x="25" y="548"/>
                    </a:cubicBezTo>
                    <a:cubicBezTo>
                      <a:pt x="27" y="544"/>
                      <a:pt x="24" y="544"/>
                      <a:pt x="29" y="543"/>
                    </a:cubicBezTo>
                    <a:cubicBezTo>
                      <a:pt x="31" y="542"/>
                      <a:pt x="32" y="542"/>
                      <a:pt x="34" y="542"/>
                    </a:cubicBezTo>
                    <a:cubicBezTo>
                      <a:pt x="35" y="542"/>
                      <a:pt x="37" y="542"/>
                      <a:pt x="38" y="543"/>
                    </a:cubicBezTo>
                    <a:cubicBezTo>
                      <a:pt x="35" y="543"/>
                      <a:pt x="34" y="544"/>
                      <a:pt x="32" y="547"/>
                    </a:cubicBezTo>
                    <a:cubicBezTo>
                      <a:pt x="35" y="546"/>
                      <a:pt x="37" y="545"/>
                      <a:pt x="38" y="543"/>
                    </a:cubicBezTo>
                    <a:cubicBezTo>
                      <a:pt x="39" y="541"/>
                      <a:pt x="40" y="539"/>
                      <a:pt x="42" y="538"/>
                    </a:cubicBezTo>
                    <a:cubicBezTo>
                      <a:pt x="42" y="538"/>
                      <a:pt x="42" y="538"/>
                      <a:pt x="43" y="538"/>
                    </a:cubicBezTo>
                    <a:cubicBezTo>
                      <a:pt x="44" y="538"/>
                      <a:pt x="47" y="539"/>
                      <a:pt x="49" y="540"/>
                    </a:cubicBezTo>
                    <a:cubicBezTo>
                      <a:pt x="49" y="540"/>
                      <a:pt x="48" y="540"/>
                      <a:pt x="48" y="540"/>
                    </a:cubicBezTo>
                    <a:cubicBezTo>
                      <a:pt x="43" y="540"/>
                      <a:pt x="37" y="545"/>
                      <a:pt x="33" y="548"/>
                    </a:cubicBezTo>
                    <a:cubicBezTo>
                      <a:pt x="38" y="548"/>
                      <a:pt x="43" y="548"/>
                      <a:pt x="47" y="550"/>
                    </a:cubicBezTo>
                    <a:cubicBezTo>
                      <a:pt x="47" y="550"/>
                      <a:pt x="47" y="550"/>
                      <a:pt x="47" y="550"/>
                    </a:cubicBezTo>
                    <a:cubicBezTo>
                      <a:pt x="43" y="550"/>
                      <a:pt x="31" y="556"/>
                      <a:pt x="30" y="559"/>
                    </a:cubicBezTo>
                    <a:cubicBezTo>
                      <a:pt x="30" y="562"/>
                      <a:pt x="32" y="562"/>
                      <a:pt x="36" y="562"/>
                    </a:cubicBezTo>
                    <a:cubicBezTo>
                      <a:pt x="41" y="562"/>
                      <a:pt x="49" y="561"/>
                      <a:pt x="51" y="561"/>
                    </a:cubicBezTo>
                    <a:cubicBezTo>
                      <a:pt x="49" y="561"/>
                      <a:pt x="46" y="562"/>
                      <a:pt x="44" y="562"/>
                    </a:cubicBezTo>
                    <a:cubicBezTo>
                      <a:pt x="39" y="563"/>
                      <a:pt x="39" y="564"/>
                      <a:pt x="38" y="570"/>
                    </a:cubicBezTo>
                    <a:cubicBezTo>
                      <a:pt x="34" y="568"/>
                      <a:pt x="32" y="567"/>
                      <a:pt x="28" y="566"/>
                    </a:cubicBezTo>
                    <a:cubicBezTo>
                      <a:pt x="26" y="566"/>
                      <a:pt x="25" y="566"/>
                      <a:pt x="24" y="564"/>
                    </a:cubicBezTo>
                    <a:cubicBezTo>
                      <a:pt x="23" y="563"/>
                      <a:pt x="23" y="562"/>
                      <a:pt x="21" y="562"/>
                    </a:cubicBezTo>
                    <a:cubicBezTo>
                      <a:pt x="21" y="562"/>
                      <a:pt x="21" y="563"/>
                      <a:pt x="20" y="563"/>
                    </a:cubicBezTo>
                    <a:cubicBezTo>
                      <a:pt x="22" y="565"/>
                      <a:pt x="23" y="565"/>
                      <a:pt x="22" y="567"/>
                    </a:cubicBezTo>
                    <a:cubicBezTo>
                      <a:pt x="22" y="567"/>
                      <a:pt x="20" y="568"/>
                      <a:pt x="20" y="569"/>
                    </a:cubicBezTo>
                    <a:cubicBezTo>
                      <a:pt x="19" y="570"/>
                      <a:pt x="19" y="572"/>
                      <a:pt x="19" y="574"/>
                    </a:cubicBezTo>
                    <a:cubicBezTo>
                      <a:pt x="18" y="576"/>
                      <a:pt x="26" y="584"/>
                      <a:pt x="28" y="585"/>
                    </a:cubicBezTo>
                    <a:cubicBezTo>
                      <a:pt x="33" y="588"/>
                      <a:pt x="39" y="592"/>
                      <a:pt x="44" y="593"/>
                    </a:cubicBezTo>
                    <a:cubicBezTo>
                      <a:pt x="46" y="593"/>
                      <a:pt x="49" y="594"/>
                      <a:pt x="51" y="594"/>
                    </a:cubicBezTo>
                    <a:cubicBezTo>
                      <a:pt x="52" y="594"/>
                      <a:pt x="52" y="594"/>
                      <a:pt x="53" y="594"/>
                    </a:cubicBezTo>
                    <a:cubicBezTo>
                      <a:pt x="55" y="594"/>
                      <a:pt x="57" y="593"/>
                      <a:pt x="58" y="593"/>
                    </a:cubicBezTo>
                    <a:cubicBezTo>
                      <a:pt x="58" y="593"/>
                      <a:pt x="58" y="593"/>
                      <a:pt x="58" y="593"/>
                    </a:cubicBezTo>
                    <a:cubicBezTo>
                      <a:pt x="55" y="595"/>
                      <a:pt x="51" y="596"/>
                      <a:pt x="49" y="600"/>
                    </a:cubicBezTo>
                    <a:cubicBezTo>
                      <a:pt x="51" y="602"/>
                      <a:pt x="56" y="602"/>
                      <a:pt x="59" y="602"/>
                    </a:cubicBezTo>
                    <a:cubicBezTo>
                      <a:pt x="59" y="602"/>
                      <a:pt x="59" y="602"/>
                      <a:pt x="60" y="602"/>
                    </a:cubicBezTo>
                    <a:cubicBezTo>
                      <a:pt x="63" y="602"/>
                      <a:pt x="63" y="600"/>
                      <a:pt x="66" y="599"/>
                    </a:cubicBezTo>
                    <a:cubicBezTo>
                      <a:pt x="65" y="601"/>
                      <a:pt x="63" y="603"/>
                      <a:pt x="62" y="605"/>
                    </a:cubicBezTo>
                    <a:cubicBezTo>
                      <a:pt x="63" y="604"/>
                      <a:pt x="64" y="603"/>
                      <a:pt x="65" y="603"/>
                    </a:cubicBezTo>
                    <a:cubicBezTo>
                      <a:pt x="66" y="603"/>
                      <a:pt x="67" y="602"/>
                      <a:pt x="68" y="602"/>
                    </a:cubicBezTo>
                    <a:cubicBezTo>
                      <a:pt x="70" y="602"/>
                      <a:pt x="72" y="603"/>
                      <a:pt x="74" y="603"/>
                    </a:cubicBezTo>
                    <a:cubicBezTo>
                      <a:pt x="74" y="603"/>
                      <a:pt x="74" y="603"/>
                      <a:pt x="74" y="603"/>
                    </a:cubicBezTo>
                    <a:cubicBezTo>
                      <a:pt x="76" y="603"/>
                      <a:pt x="80" y="600"/>
                      <a:pt x="82" y="600"/>
                    </a:cubicBezTo>
                    <a:cubicBezTo>
                      <a:pt x="90" y="599"/>
                      <a:pt x="97" y="596"/>
                      <a:pt x="104" y="593"/>
                    </a:cubicBezTo>
                    <a:cubicBezTo>
                      <a:pt x="107" y="592"/>
                      <a:pt x="109" y="588"/>
                      <a:pt x="111" y="586"/>
                    </a:cubicBezTo>
                    <a:cubicBezTo>
                      <a:pt x="113" y="584"/>
                      <a:pt x="118" y="582"/>
                      <a:pt x="116" y="579"/>
                    </a:cubicBezTo>
                    <a:cubicBezTo>
                      <a:pt x="118" y="578"/>
                      <a:pt x="124" y="577"/>
                      <a:pt x="125" y="575"/>
                    </a:cubicBezTo>
                    <a:cubicBezTo>
                      <a:pt x="123" y="575"/>
                      <a:pt x="122" y="574"/>
                      <a:pt x="120" y="573"/>
                    </a:cubicBezTo>
                    <a:cubicBezTo>
                      <a:pt x="123" y="573"/>
                      <a:pt x="126" y="573"/>
                      <a:pt x="129" y="572"/>
                    </a:cubicBezTo>
                    <a:cubicBezTo>
                      <a:pt x="128" y="571"/>
                      <a:pt x="127" y="569"/>
                      <a:pt x="127" y="568"/>
                    </a:cubicBezTo>
                    <a:cubicBezTo>
                      <a:pt x="127" y="568"/>
                      <a:pt x="127" y="568"/>
                      <a:pt x="127" y="568"/>
                    </a:cubicBezTo>
                    <a:cubicBezTo>
                      <a:pt x="130" y="568"/>
                      <a:pt x="136" y="564"/>
                      <a:pt x="138" y="563"/>
                    </a:cubicBezTo>
                    <a:cubicBezTo>
                      <a:pt x="136" y="562"/>
                      <a:pt x="135" y="560"/>
                      <a:pt x="133" y="558"/>
                    </a:cubicBezTo>
                    <a:cubicBezTo>
                      <a:pt x="138" y="558"/>
                      <a:pt x="140" y="561"/>
                      <a:pt x="145" y="561"/>
                    </a:cubicBezTo>
                    <a:cubicBezTo>
                      <a:pt x="145" y="561"/>
                      <a:pt x="146" y="562"/>
                      <a:pt x="147" y="562"/>
                    </a:cubicBezTo>
                    <a:cubicBezTo>
                      <a:pt x="149" y="562"/>
                      <a:pt x="150" y="561"/>
                      <a:pt x="153" y="558"/>
                    </a:cubicBezTo>
                    <a:cubicBezTo>
                      <a:pt x="155" y="556"/>
                      <a:pt x="156" y="554"/>
                      <a:pt x="157" y="551"/>
                    </a:cubicBezTo>
                    <a:cubicBezTo>
                      <a:pt x="158" y="554"/>
                      <a:pt x="159" y="555"/>
                      <a:pt x="159" y="555"/>
                    </a:cubicBezTo>
                    <a:cubicBezTo>
                      <a:pt x="160" y="555"/>
                      <a:pt x="161" y="551"/>
                      <a:pt x="160" y="548"/>
                    </a:cubicBezTo>
                    <a:cubicBezTo>
                      <a:pt x="160" y="545"/>
                      <a:pt x="155" y="542"/>
                      <a:pt x="153" y="539"/>
                    </a:cubicBezTo>
                    <a:cubicBezTo>
                      <a:pt x="154" y="539"/>
                      <a:pt x="155" y="539"/>
                      <a:pt x="156" y="539"/>
                    </a:cubicBezTo>
                    <a:cubicBezTo>
                      <a:pt x="157" y="539"/>
                      <a:pt x="158" y="539"/>
                      <a:pt x="158" y="537"/>
                    </a:cubicBezTo>
                    <a:cubicBezTo>
                      <a:pt x="160" y="538"/>
                      <a:pt x="162" y="538"/>
                      <a:pt x="162" y="538"/>
                    </a:cubicBezTo>
                    <a:cubicBezTo>
                      <a:pt x="165" y="538"/>
                      <a:pt x="163" y="536"/>
                      <a:pt x="161" y="533"/>
                    </a:cubicBezTo>
                    <a:cubicBezTo>
                      <a:pt x="160" y="529"/>
                      <a:pt x="161" y="526"/>
                      <a:pt x="164" y="525"/>
                    </a:cubicBezTo>
                    <a:cubicBezTo>
                      <a:pt x="164" y="525"/>
                      <a:pt x="165" y="525"/>
                      <a:pt x="165" y="525"/>
                    </a:cubicBezTo>
                    <a:cubicBezTo>
                      <a:pt x="168" y="525"/>
                      <a:pt x="167" y="530"/>
                      <a:pt x="167" y="531"/>
                    </a:cubicBezTo>
                    <a:cubicBezTo>
                      <a:pt x="167" y="531"/>
                      <a:pt x="166" y="530"/>
                      <a:pt x="166" y="529"/>
                    </a:cubicBezTo>
                    <a:cubicBezTo>
                      <a:pt x="162" y="531"/>
                      <a:pt x="163" y="531"/>
                      <a:pt x="164" y="536"/>
                    </a:cubicBezTo>
                    <a:cubicBezTo>
                      <a:pt x="165" y="538"/>
                      <a:pt x="166" y="541"/>
                      <a:pt x="166" y="543"/>
                    </a:cubicBezTo>
                    <a:cubicBezTo>
                      <a:pt x="165" y="546"/>
                      <a:pt x="164" y="548"/>
                      <a:pt x="167" y="549"/>
                    </a:cubicBezTo>
                    <a:cubicBezTo>
                      <a:pt x="169" y="550"/>
                      <a:pt x="168" y="554"/>
                      <a:pt x="170" y="556"/>
                    </a:cubicBezTo>
                    <a:cubicBezTo>
                      <a:pt x="170" y="556"/>
                      <a:pt x="171" y="556"/>
                      <a:pt x="172" y="556"/>
                    </a:cubicBezTo>
                    <a:cubicBezTo>
                      <a:pt x="172" y="556"/>
                      <a:pt x="173" y="556"/>
                      <a:pt x="174" y="556"/>
                    </a:cubicBezTo>
                    <a:cubicBezTo>
                      <a:pt x="175" y="556"/>
                      <a:pt x="176" y="556"/>
                      <a:pt x="177" y="556"/>
                    </a:cubicBezTo>
                    <a:cubicBezTo>
                      <a:pt x="178" y="556"/>
                      <a:pt x="178" y="556"/>
                      <a:pt x="179" y="556"/>
                    </a:cubicBezTo>
                    <a:cubicBezTo>
                      <a:pt x="179" y="556"/>
                      <a:pt x="179" y="556"/>
                      <a:pt x="179" y="556"/>
                    </a:cubicBezTo>
                    <a:cubicBezTo>
                      <a:pt x="180" y="557"/>
                      <a:pt x="180" y="557"/>
                      <a:pt x="180" y="557"/>
                    </a:cubicBezTo>
                    <a:cubicBezTo>
                      <a:pt x="182" y="556"/>
                      <a:pt x="182" y="556"/>
                      <a:pt x="182" y="556"/>
                    </a:cubicBezTo>
                    <a:cubicBezTo>
                      <a:pt x="183" y="557"/>
                      <a:pt x="183" y="557"/>
                      <a:pt x="183" y="557"/>
                    </a:cubicBezTo>
                    <a:cubicBezTo>
                      <a:pt x="184" y="558"/>
                      <a:pt x="188" y="560"/>
                      <a:pt x="191" y="561"/>
                    </a:cubicBezTo>
                    <a:cubicBezTo>
                      <a:pt x="191" y="561"/>
                      <a:pt x="191" y="561"/>
                      <a:pt x="191" y="561"/>
                    </a:cubicBezTo>
                    <a:cubicBezTo>
                      <a:pt x="194" y="552"/>
                      <a:pt x="194" y="552"/>
                      <a:pt x="194" y="552"/>
                    </a:cubicBezTo>
                    <a:cubicBezTo>
                      <a:pt x="194" y="551"/>
                      <a:pt x="193" y="546"/>
                      <a:pt x="193" y="544"/>
                    </a:cubicBezTo>
                    <a:cubicBezTo>
                      <a:pt x="193" y="543"/>
                      <a:pt x="192" y="542"/>
                      <a:pt x="192" y="541"/>
                    </a:cubicBezTo>
                    <a:cubicBezTo>
                      <a:pt x="192" y="537"/>
                      <a:pt x="192" y="535"/>
                      <a:pt x="194" y="532"/>
                    </a:cubicBezTo>
                    <a:cubicBezTo>
                      <a:pt x="195" y="531"/>
                      <a:pt x="195" y="531"/>
                      <a:pt x="195" y="531"/>
                    </a:cubicBezTo>
                    <a:cubicBezTo>
                      <a:pt x="195" y="530"/>
                      <a:pt x="196" y="529"/>
                      <a:pt x="196" y="529"/>
                    </a:cubicBezTo>
                    <a:cubicBezTo>
                      <a:pt x="196" y="529"/>
                      <a:pt x="196" y="529"/>
                      <a:pt x="196" y="529"/>
                    </a:cubicBezTo>
                    <a:cubicBezTo>
                      <a:pt x="196" y="528"/>
                      <a:pt x="196" y="528"/>
                      <a:pt x="196" y="528"/>
                    </a:cubicBezTo>
                    <a:cubicBezTo>
                      <a:pt x="196" y="528"/>
                      <a:pt x="196" y="528"/>
                      <a:pt x="196" y="528"/>
                    </a:cubicBezTo>
                    <a:cubicBezTo>
                      <a:pt x="196" y="527"/>
                      <a:pt x="196" y="527"/>
                      <a:pt x="196" y="527"/>
                    </a:cubicBezTo>
                    <a:cubicBezTo>
                      <a:pt x="195" y="526"/>
                      <a:pt x="195" y="526"/>
                      <a:pt x="195" y="526"/>
                    </a:cubicBezTo>
                    <a:cubicBezTo>
                      <a:pt x="195" y="526"/>
                      <a:pt x="195" y="526"/>
                      <a:pt x="195" y="526"/>
                    </a:cubicBezTo>
                    <a:cubicBezTo>
                      <a:pt x="195" y="526"/>
                      <a:pt x="195" y="526"/>
                      <a:pt x="195" y="526"/>
                    </a:cubicBezTo>
                    <a:cubicBezTo>
                      <a:pt x="196" y="525"/>
                      <a:pt x="196" y="525"/>
                      <a:pt x="196" y="525"/>
                    </a:cubicBezTo>
                    <a:cubicBezTo>
                      <a:pt x="196" y="523"/>
                      <a:pt x="198" y="522"/>
                      <a:pt x="199" y="522"/>
                    </a:cubicBezTo>
                    <a:cubicBezTo>
                      <a:pt x="205" y="520"/>
                      <a:pt x="205" y="520"/>
                      <a:pt x="205" y="520"/>
                    </a:cubicBezTo>
                    <a:cubicBezTo>
                      <a:pt x="206" y="519"/>
                      <a:pt x="206" y="519"/>
                      <a:pt x="207" y="519"/>
                    </a:cubicBezTo>
                    <a:cubicBezTo>
                      <a:pt x="210" y="518"/>
                      <a:pt x="210" y="518"/>
                      <a:pt x="210" y="517"/>
                    </a:cubicBezTo>
                    <a:cubicBezTo>
                      <a:pt x="210" y="516"/>
                      <a:pt x="210" y="516"/>
                      <a:pt x="210" y="516"/>
                    </a:cubicBezTo>
                    <a:cubicBezTo>
                      <a:pt x="211" y="516"/>
                      <a:pt x="211" y="516"/>
                      <a:pt x="211" y="516"/>
                    </a:cubicBezTo>
                    <a:cubicBezTo>
                      <a:pt x="211" y="513"/>
                      <a:pt x="211" y="513"/>
                      <a:pt x="211" y="513"/>
                    </a:cubicBezTo>
                    <a:cubicBezTo>
                      <a:pt x="212" y="509"/>
                      <a:pt x="214" y="506"/>
                      <a:pt x="215" y="502"/>
                    </a:cubicBezTo>
                    <a:cubicBezTo>
                      <a:pt x="215" y="500"/>
                      <a:pt x="215" y="500"/>
                      <a:pt x="215" y="500"/>
                    </a:cubicBezTo>
                    <a:cubicBezTo>
                      <a:pt x="216" y="497"/>
                      <a:pt x="213" y="492"/>
                      <a:pt x="211" y="487"/>
                    </a:cubicBezTo>
                    <a:cubicBezTo>
                      <a:pt x="210" y="487"/>
                      <a:pt x="210" y="487"/>
                      <a:pt x="210" y="487"/>
                    </a:cubicBezTo>
                    <a:cubicBezTo>
                      <a:pt x="209" y="484"/>
                      <a:pt x="207" y="481"/>
                      <a:pt x="207" y="478"/>
                    </a:cubicBezTo>
                    <a:cubicBezTo>
                      <a:pt x="205" y="474"/>
                      <a:pt x="205" y="474"/>
                      <a:pt x="205" y="474"/>
                    </a:cubicBezTo>
                    <a:cubicBezTo>
                      <a:pt x="209" y="474"/>
                      <a:pt x="209" y="474"/>
                      <a:pt x="209" y="474"/>
                    </a:cubicBezTo>
                    <a:cubicBezTo>
                      <a:pt x="210" y="474"/>
                      <a:pt x="212" y="474"/>
                      <a:pt x="213" y="474"/>
                    </a:cubicBezTo>
                    <a:cubicBezTo>
                      <a:pt x="213" y="474"/>
                      <a:pt x="213" y="474"/>
                      <a:pt x="213" y="474"/>
                    </a:cubicBezTo>
                    <a:cubicBezTo>
                      <a:pt x="216" y="473"/>
                      <a:pt x="218" y="473"/>
                      <a:pt x="219" y="473"/>
                    </a:cubicBezTo>
                    <a:cubicBezTo>
                      <a:pt x="220" y="472"/>
                      <a:pt x="220" y="472"/>
                      <a:pt x="220" y="472"/>
                    </a:cubicBezTo>
                    <a:cubicBezTo>
                      <a:pt x="221" y="470"/>
                      <a:pt x="223" y="467"/>
                      <a:pt x="223" y="466"/>
                    </a:cubicBezTo>
                    <a:cubicBezTo>
                      <a:pt x="223" y="466"/>
                      <a:pt x="223" y="465"/>
                      <a:pt x="222" y="463"/>
                    </a:cubicBezTo>
                    <a:cubicBezTo>
                      <a:pt x="222" y="463"/>
                      <a:pt x="222" y="463"/>
                      <a:pt x="222" y="463"/>
                    </a:cubicBezTo>
                    <a:cubicBezTo>
                      <a:pt x="221" y="462"/>
                      <a:pt x="221" y="461"/>
                      <a:pt x="216" y="457"/>
                    </a:cubicBezTo>
                    <a:cubicBezTo>
                      <a:pt x="215" y="457"/>
                      <a:pt x="214" y="456"/>
                      <a:pt x="213" y="455"/>
                    </a:cubicBezTo>
                    <a:cubicBezTo>
                      <a:pt x="212" y="455"/>
                      <a:pt x="212" y="455"/>
                      <a:pt x="212" y="455"/>
                    </a:cubicBezTo>
                    <a:cubicBezTo>
                      <a:pt x="211" y="454"/>
                      <a:pt x="210" y="453"/>
                      <a:pt x="210" y="453"/>
                    </a:cubicBezTo>
                    <a:cubicBezTo>
                      <a:pt x="209" y="452"/>
                      <a:pt x="208" y="452"/>
                      <a:pt x="208" y="451"/>
                    </a:cubicBezTo>
                    <a:cubicBezTo>
                      <a:pt x="208" y="451"/>
                      <a:pt x="207" y="451"/>
                      <a:pt x="207" y="450"/>
                    </a:cubicBezTo>
                    <a:cubicBezTo>
                      <a:pt x="205" y="448"/>
                      <a:pt x="204" y="446"/>
                      <a:pt x="205" y="442"/>
                    </a:cubicBezTo>
                    <a:cubicBezTo>
                      <a:pt x="208" y="422"/>
                      <a:pt x="208" y="422"/>
                      <a:pt x="208" y="422"/>
                    </a:cubicBezTo>
                    <a:cubicBezTo>
                      <a:pt x="209" y="422"/>
                      <a:pt x="208" y="420"/>
                      <a:pt x="205" y="415"/>
                    </a:cubicBezTo>
                    <a:cubicBezTo>
                      <a:pt x="204" y="414"/>
                      <a:pt x="204" y="413"/>
                      <a:pt x="203" y="412"/>
                    </a:cubicBezTo>
                    <a:cubicBezTo>
                      <a:pt x="202" y="410"/>
                      <a:pt x="202" y="408"/>
                      <a:pt x="202" y="406"/>
                    </a:cubicBezTo>
                    <a:cubicBezTo>
                      <a:pt x="202" y="405"/>
                      <a:pt x="203" y="405"/>
                      <a:pt x="203" y="404"/>
                    </a:cubicBezTo>
                    <a:cubicBezTo>
                      <a:pt x="204" y="401"/>
                      <a:pt x="204" y="398"/>
                      <a:pt x="205" y="395"/>
                    </a:cubicBezTo>
                    <a:cubicBezTo>
                      <a:pt x="205" y="392"/>
                      <a:pt x="205" y="392"/>
                      <a:pt x="205" y="392"/>
                    </a:cubicBezTo>
                    <a:cubicBezTo>
                      <a:pt x="205" y="390"/>
                      <a:pt x="205" y="389"/>
                      <a:pt x="204" y="387"/>
                    </a:cubicBezTo>
                    <a:cubicBezTo>
                      <a:pt x="204" y="387"/>
                      <a:pt x="204" y="386"/>
                      <a:pt x="203" y="385"/>
                    </a:cubicBezTo>
                    <a:cubicBezTo>
                      <a:pt x="203" y="384"/>
                      <a:pt x="203" y="384"/>
                      <a:pt x="203" y="384"/>
                    </a:cubicBezTo>
                    <a:cubicBezTo>
                      <a:pt x="202" y="384"/>
                      <a:pt x="202" y="383"/>
                      <a:pt x="202" y="383"/>
                    </a:cubicBezTo>
                    <a:cubicBezTo>
                      <a:pt x="201" y="381"/>
                      <a:pt x="201" y="381"/>
                      <a:pt x="201" y="381"/>
                    </a:cubicBezTo>
                    <a:cubicBezTo>
                      <a:pt x="201" y="380"/>
                      <a:pt x="200" y="380"/>
                      <a:pt x="200" y="379"/>
                    </a:cubicBezTo>
                    <a:cubicBezTo>
                      <a:pt x="200" y="377"/>
                      <a:pt x="200" y="375"/>
                      <a:pt x="201" y="372"/>
                    </a:cubicBezTo>
                    <a:cubicBezTo>
                      <a:pt x="202" y="369"/>
                      <a:pt x="202" y="369"/>
                      <a:pt x="202" y="369"/>
                    </a:cubicBezTo>
                    <a:cubicBezTo>
                      <a:pt x="204" y="366"/>
                      <a:pt x="205" y="363"/>
                      <a:pt x="207" y="360"/>
                    </a:cubicBezTo>
                    <a:cubicBezTo>
                      <a:pt x="215" y="351"/>
                      <a:pt x="215" y="351"/>
                      <a:pt x="215" y="351"/>
                    </a:cubicBezTo>
                    <a:cubicBezTo>
                      <a:pt x="218" y="347"/>
                      <a:pt x="221" y="344"/>
                      <a:pt x="225" y="342"/>
                    </a:cubicBezTo>
                    <a:cubicBezTo>
                      <a:pt x="226" y="342"/>
                      <a:pt x="226" y="342"/>
                      <a:pt x="226" y="342"/>
                    </a:cubicBezTo>
                    <a:cubicBezTo>
                      <a:pt x="227" y="342"/>
                      <a:pt x="227" y="341"/>
                      <a:pt x="228" y="341"/>
                    </a:cubicBezTo>
                    <a:cubicBezTo>
                      <a:pt x="228" y="341"/>
                      <a:pt x="229" y="341"/>
                      <a:pt x="229" y="340"/>
                    </a:cubicBezTo>
                    <a:cubicBezTo>
                      <a:pt x="230" y="340"/>
                      <a:pt x="230" y="340"/>
                      <a:pt x="230" y="340"/>
                    </a:cubicBezTo>
                    <a:cubicBezTo>
                      <a:pt x="232" y="339"/>
                      <a:pt x="234" y="338"/>
                      <a:pt x="237" y="338"/>
                    </a:cubicBezTo>
                    <a:cubicBezTo>
                      <a:pt x="238" y="338"/>
                      <a:pt x="238" y="338"/>
                      <a:pt x="239" y="338"/>
                    </a:cubicBezTo>
                    <a:cubicBezTo>
                      <a:pt x="255" y="340"/>
                      <a:pt x="255" y="340"/>
                      <a:pt x="255" y="340"/>
                    </a:cubicBezTo>
                    <a:cubicBezTo>
                      <a:pt x="255" y="340"/>
                      <a:pt x="255" y="340"/>
                      <a:pt x="256" y="340"/>
                    </a:cubicBezTo>
                    <a:cubicBezTo>
                      <a:pt x="257" y="340"/>
                      <a:pt x="258" y="340"/>
                      <a:pt x="259" y="336"/>
                    </a:cubicBezTo>
                    <a:cubicBezTo>
                      <a:pt x="260" y="334"/>
                      <a:pt x="260" y="332"/>
                      <a:pt x="260" y="330"/>
                    </a:cubicBezTo>
                    <a:cubicBezTo>
                      <a:pt x="259" y="329"/>
                      <a:pt x="259" y="329"/>
                      <a:pt x="259" y="329"/>
                    </a:cubicBezTo>
                    <a:cubicBezTo>
                      <a:pt x="259" y="328"/>
                      <a:pt x="259" y="328"/>
                      <a:pt x="259" y="328"/>
                    </a:cubicBezTo>
                    <a:cubicBezTo>
                      <a:pt x="259" y="327"/>
                      <a:pt x="259" y="327"/>
                      <a:pt x="257" y="326"/>
                    </a:cubicBezTo>
                    <a:cubicBezTo>
                      <a:pt x="257" y="325"/>
                      <a:pt x="255" y="325"/>
                      <a:pt x="255" y="323"/>
                    </a:cubicBezTo>
                    <a:cubicBezTo>
                      <a:pt x="254" y="323"/>
                      <a:pt x="254" y="323"/>
                      <a:pt x="254" y="323"/>
                    </a:cubicBezTo>
                    <a:cubicBezTo>
                      <a:pt x="253" y="319"/>
                      <a:pt x="253" y="315"/>
                      <a:pt x="252" y="311"/>
                    </a:cubicBezTo>
                    <a:cubicBezTo>
                      <a:pt x="252" y="310"/>
                      <a:pt x="252" y="310"/>
                      <a:pt x="252" y="310"/>
                    </a:cubicBezTo>
                    <a:cubicBezTo>
                      <a:pt x="253" y="308"/>
                      <a:pt x="253" y="308"/>
                      <a:pt x="253" y="308"/>
                    </a:cubicBezTo>
                    <a:cubicBezTo>
                      <a:pt x="254" y="307"/>
                      <a:pt x="255" y="305"/>
                      <a:pt x="257" y="304"/>
                    </a:cubicBezTo>
                    <a:cubicBezTo>
                      <a:pt x="257" y="303"/>
                      <a:pt x="257" y="303"/>
                      <a:pt x="257" y="303"/>
                    </a:cubicBezTo>
                    <a:cubicBezTo>
                      <a:pt x="259" y="301"/>
                      <a:pt x="261" y="298"/>
                      <a:pt x="263" y="296"/>
                    </a:cubicBezTo>
                    <a:cubicBezTo>
                      <a:pt x="264" y="294"/>
                      <a:pt x="266" y="293"/>
                      <a:pt x="267" y="291"/>
                    </a:cubicBezTo>
                    <a:cubicBezTo>
                      <a:pt x="267" y="290"/>
                      <a:pt x="268" y="289"/>
                      <a:pt x="268" y="289"/>
                    </a:cubicBezTo>
                    <a:cubicBezTo>
                      <a:pt x="269" y="287"/>
                      <a:pt x="271" y="284"/>
                      <a:pt x="271" y="282"/>
                    </a:cubicBezTo>
                    <a:cubicBezTo>
                      <a:pt x="271" y="280"/>
                      <a:pt x="271" y="280"/>
                      <a:pt x="271" y="280"/>
                    </a:cubicBezTo>
                    <a:cubicBezTo>
                      <a:pt x="272" y="276"/>
                      <a:pt x="272" y="273"/>
                      <a:pt x="273" y="269"/>
                    </a:cubicBezTo>
                    <a:cubicBezTo>
                      <a:pt x="273" y="267"/>
                      <a:pt x="273" y="266"/>
                      <a:pt x="273" y="264"/>
                    </a:cubicBezTo>
                    <a:cubicBezTo>
                      <a:pt x="274" y="262"/>
                      <a:pt x="274" y="260"/>
                      <a:pt x="274" y="258"/>
                    </a:cubicBezTo>
                    <a:cubicBezTo>
                      <a:pt x="274" y="258"/>
                      <a:pt x="274" y="258"/>
                      <a:pt x="274" y="258"/>
                    </a:cubicBezTo>
                    <a:cubicBezTo>
                      <a:pt x="273" y="256"/>
                      <a:pt x="273" y="256"/>
                      <a:pt x="273" y="256"/>
                    </a:cubicBezTo>
                    <a:cubicBezTo>
                      <a:pt x="273" y="255"/>
                      <a:pt x="273" y="254"/>
                      <a:pt x="273" y="253"/>
                    </a:cubicBezTo>
                    <a:cubicBezTo>
                      <a:pt x="272" y="250"/>
                      <a:pt x="271" y="246"/>
                      <a:pt x="277" y="243"/>
                    </a:cubicBezTo>
                    <a:cubicBezTo>
                      <a:pt x="277" y="243"/>
                      <a:pt x="278" y="243"/>
                      <a:pt x="279" y="242"/>
                    </a:cubicBezTo>
                    <a:cubicBezTo>
                      <a:pt x="281" y="242"/>
                      <a:pt x="281" y="242"/>
                      <a:pt x="281" y="242"/>
                    </a:cubicBezTo>
                    <a:cubicBezTo>
                      <a:pt x="285" y="240"/>
                      <a:pt x="291" y="238"/>
                      <a:pt x="295" y="236"/>
                    </a:cubicBezTo>
                    <a:cubicBezTo>
                      <a:pt x="297" y="235"/>
                      <a:pt x="298" y="235"/>
                      <a:pt x="299" y="235"/>
                    </a:cubicBezTo>
                    <a:cubicBezTo>
                      <a:pt x="298" y="234"/>
                      <a:pt x="298" y="234"/>
                      <a:pt x="298" y="234"/>
                    </a:cubicBezTo>
                    <a:cubicBezTo>
                      <a:pt x="298" y="233"/>
                      <a:pt x="296" y="230"/>
                      <a:pt x="298" y="227"/>
                    </a:cubicBezTo>
                    <a:cubicBezTo>
                      <a:pt x="299" y="226"/>
                      <a:pt x="300" y="225"/>
                      <a:pt x="302" y="224"/>
                    </a:cubicBezTo>
                    <a:cubicBezTo>
                      <a:pt x="303" y="223"/>
                      <a:pt x="305" y="221"/>
                      <a:pt x="307" y="219"/>
                    </a:cubicBezTo>
                    <a:cubicBezTo>
                      <a:pt x="308" y="218"/>
                      <a:pt x="308" y="218"/>
                      <a:pt x="308" y="218"/>
                    </a:cubicBezTo>
                    <a:cubicBezTo>
                      <a:pt x="309" y="216"/>
                      <a:pt x="311" y="215"/>
                      <a:pt x="312" y="214"/>
                    </a:cubicBezTo>
                    <a:cubicBezTo>
                      <a:pt x="317" y="209"/>
                      <a:pt x="322" y="205"/>
                      <a:pt x="324" y="199"/>
                    </a:cubicBezTo>
                    <a:cubicBezTo>
                      <a:pt x="325" y="197"/>
                      <a:pt x="325" y="197"/>
                      <a:pt x="325" y="197"/>
                    </a:cubicBezTo>
                    <a:cubicBezTo>
                      <a:pt x="325" y="196"/>
                      <a:pt x="323" y="193"/>
                      <a:pt x="322" y="191"/>
                    </a:cubicBezTo>
                    <a:cubicBezTo>
                      <a:pt x="320" y="188"/>
                      <a:pt x="317" y="185"/>
                      <a:pt x="319" y="182"/>
                    </a:cubicBezTo>
                    <a:cubicBezTo>
                      <a:pt x="320" y="178"/>
                      <a:pt x="324" y="177"/>
                      <a:pt x="327" y="176"/>
                    </a:cubicBezTo>
                    <a:cubicBezTo>
                      <a:pt x="328" y="176"/>
                      <a:pt x="330" y="174"/>
                      <a:pt x="331" y="171"/>
                    </a:cubicBezTo>
                    <a:cubicBezTo>
                      <a:pt x="332" y="169"/>
                      <a:pt x="333" y="167"/>
                      <a:pt x="333" y="166"/>
                    </a:cubicBezTo>
                    <a:cubicBezTo>
                      <a:pt x="336" y="159"/>
                      <a:pt x="338" y="158"/>
                      <a:pt x="344" y="154"/>
                    </a:cubicBezTo>
                    <a:cubicBezTo>
                      <a:pt x="344" y="154"/>
                      <a:pt x="345" y="154"/>
                      <a:pt x="345" y="154"/>
                    </a:cubicBezTo>
                    <a:cubicBezTo>
                      <a:pt x="346" y="153"/>
                      <a:pt x="346" y="153"/>
                      <a:pt x="346" y="153"/>
                    </a:cubicBezTo>
                    <a:cubicBezTo>
                      <a:pt x="347" y="153"/>
                      <a:pt x="349" y="151"/>
                      <a:pt x="350" y="150"/>
                    </a:cubicBezTo>
                    <a:cubicBezTo>
                      <a:pt x="352" y="149"/>
                      <a:pt x="354" y="149"/>
                      <a:pt x="355" y="149"/>
                    </a:cubicBezTo>
                    <a:cubicBezTo>
                      <a:pt x="356" y="149"/>
                      <a:pt x="357" y="149"/>
                      <a:pt x="357" y="149"/>
                    </a:cubicBezTo>
                    <a:cubicBezTo>
                      <a:pt x="361" y="150"/>
                      <a:pt x="361" y="150"/>
                      <a:pt x="361" y="150"/>
                    </a:cubicBezTo>
                    <a:cubicBezTo>
                      <a:pt x="362" y="151"/>
                      <a:pt x="364" y="152"/>
                      <a:pt x="365" y="152"/>
                    </a:cubicBezTo>
                    <a:cubicBezTo>
                      <a:pt x="369" y="153"/>
                      <a:pt x="369" y="153"/>
                      <a:pt x="369" y="153"/>
                    </a:cubicBezTo>
                    <a:cubicBezTo>
                      <a:pt x="369" y="154"/>
                      <a:pt x="369" y="154"/>
                      <a:pt x="369" y="154"/>
                    </a:cubicBezTo>
                    <a:cubicBezTo>
                      <a:pt x="370" y="154"/>
                      <a:pt x="370" y="154"/>
                      <a:pt x="370" y="153"/>
                    </a:cubicBezTo>
                    <a:cubicBezTo>
                      <a:pt x="371" y="153"/>
                      <a:pt x="371" y="153"/>
                      <a:pt x="371" y="153"/>
                    </a:cubicBezTo>
                    <a:cubicBezTo>
                      <a:pt x="371" y="153"/>
                      <a:pt x="371" y="153"/>
                      <a:pt x="371" y="153"/>
                    </a:cubicBezTo>
                    <a:cubicBezTo>
                      <a:pt x="372" y="151"/>
                      <a:pt x="374" y="147"/>
                      <a:pt x="374" y="146"/>
                    </a:cubicBezTo>
                    <a:cubicBezTo>
                      <a:pt x="374" y="142"/>
                      <a:pt x="374" y="142"/>
                      <a:pt x="374" y="142"/>
                    </a:cubicBezTo>
                    <a:cubicBezTo>
                      <a:pt x="374" y="140"/>
                      <a:pt x="374" y="138"/>
                      <a:pt x="374" y="136"/>
                    </a:cubicBezTo>
                    <a:cubicBezTo>
                      <a:pt x="374" y="134"/>
                      <a:pt x="374" y="132"/>
                      <a:pt x="374" y="130"/>
                    </a:cubicBezTo>
                    <a:cubicBezTo>
                      <a:pt x="375" y="126"/>
                      <a:pt x="375" y="126"/>
                      <a:pt x="375" y="126"/>
                    </a:cubicBezTo>
                    <a:cubicBezTo>
                      <a:pt x="428" y="136"/>
                      <a:pt x="428" y="136"/>
                      <a:pt x="428" y="136"/>
                    </a:cubicBezTo>
                    <a:cubicBezTo>
                      <a:pt x="428" y="136"/>
                      <a:pt x="428" y="136"/>
                      <a:pt x="428" y="136"/>
                    </a:cubicBezTo>
                    <a:cubicBezTo>
                      <a:pt x="428" y="134"/>
                      <a:pt x="428" y="134"/>
                      <a:pt x="428" y="134"/>
                    </a:cubicBezTo>
                    <a:cubicBezTo>
                      <a:pt x="428" y="133"/>
                      <a:pt x="428" y="133"/>
                      <a:pt x="428" y="133"/>
                    </a:cubicBezTo>
                    <a:cubicBezTo>
                      <a:pt x="428" y="130"/>
                      <a:pt x="428" y="128"/>
                      <a:pt x="429" y="127"/>
                    </a:cubicBezTo>
                    <a:cubicBezTo>
                      <a:pt x="429" y="126"/>
                      <a:pt x="429" y="125"/>
                      <a:pt x="430" y="125"/>
                    </a:cubicBezTo>
                    <a:cubicBezTo>
                      <a:pt x="430" y="124"/>
                      <a:pt x="431" y="123"/>
                      <a:pt x="431" y="122"/>
                    </a:cubicBezTo>
                    <a:cubicBezTo>
                      <a:pt x="432" y="121"/>
                      <a:pt x="434" y="118"/>
                      <a:pt x="435" y="117"/>
                    </a:cubicBezTo>
                    <a:cubicBezTo>
                      <a:pt x="434" y="116"/>
                      <a:pt x="434" y="116"/>
                      <a:pt x="434" y="116"/>
                    </a:cubicBezTo>
                    <a:cubicBezTo>
                      <a:pt x="435" y="115"/>
                      <a:pt x="435" y="115"/>
                      <a:pt x="435" y="115"/>
                    </a:cubicBezTo>
                    <a:cubicBezTo>
                      <a:pt x="435" y="114"/>
                      <a:pt x="433" y="112"/>
                      <a:pt x="433" y="110"/>
                    </a:cubicBezTo>
                    <a:cubicBezTo>
                      <a:pt x="429" y="103"/>
                      <a:pt x="429" y="103"/>
                      <a:pt x="429" y="103"/>
                    </a:cubicBezTo>
                    <a:cubicBezTo>
                      <a:pt x="448" y="102"/>
                      <a:pt x="448" y="102"/>
                      <a:pt x="448" y="102"/>
                    </a:cubicBezTo>
                    <a:cubicBezTo>
                      <a:pt x="457" y="101"/>
                      <a:pt x="457" y="101"/>
                      <a:pt x="457" y="101"/>
                    </a:cubicBezTo>
                    <a:cubicBezTo>
                      <a:pt x="457" y="100"/>
                      <a:pt x="457" y="100"/>
                      <a:pt x="457" y="99"/>
                    </a:cubicBezTo>
                    <a:cubicBezTo>
                      <a:pt x="457" y="98"/>
                      <a:pt x="457" y="96"/>
                      <a:pt x="459" y="94"/>
                    </a:cubicBezTo>
                    <a:cubicBezTo>
                      <a:pt x="460" y="92"/>
                      <a:pt x="461" y="92"/>
                      <a:pt x="463" y="91"/>
                    </a:cubicBezTo>
                    <a:cubicBezTo>
                      <a:pt x="465" y="90"/>
                      <a:pt x="466" y="90"/>
                      <a:pt x="468" y="90"/>
                    </a:cubicBezTo>
                    <a:cubicBezTo>
                      <a:pt x="469" y="90"/>
                      <a:pt x="470" y="90"/>
                      <a:pt x="471" y="91"/>
                    </a:cubicBezTo>
                    <a:cubicBezTo>
                      <a:pt x="472" y="91"/>
                      <a:pt x="473" y="92"/>
                      <a:pt x="475" y="93"/>
                    </a:cubicBezTo>
                    <a:cubicBezTo>
                      <a:pt x="488" y="102"/>
                      <a:pt x="488" y="102"/>
                      <a:pt x="488" y="102"/>
                    </a:cubicBezTo>
                    <a:cubicBezTo>
                      <a:pt x="491" y="105"/>
                      <a:pt x="499" y="112"/>
                      <a:pt x="501" y="117"/>
                    </a:cubicBezTo>
                    <a:cubicBezTo>
                      <a:pt x="501" y="118"/>
                      <a:pt x="501" y="118"/>
                      <a:pt x="501" y="118"/>
                    </a:cubicBezTo>
                    <a:cubicBezTo>
                      <a:pt x="501" y="118"/>
                      <a:pt x="501" y="118"/>
                      <a:pt x="501" y="118"/>
                    </a:cubicBezTo>
                    <a:cubicBezTo>
                      <a:pt x="504" y="118"/>
                      <a:pt x="504" y="118"/>
                      <a:pt x="504" y="118"/>
                    </a:cubicBezTo>
                    <a:cubicBezTo>
                      <a:pt x="534" y="117"/>
                      <a:pt x="534" y="117"/>
                      <a:pt x="534" y="117"/>
                    </a:cubicBezTo>
                    <a:cubicBezTo>
                      <a:pt x="534" y="116"/>
                      <a:pt x="535" y="116"/>
                      <a:pt x="535" y="115"/>
                    </a:cubicBezTo>
                    <a:cubicBezTo>
                      <a:pt x="537" y="114"/>
                      <a:pt x="539" y="113"/>
                      <a:pt x="541" y="113"/>
                    </a:cubicBezTo>
                    <a:cubicBezTo>
                      <a:pt x="545" y="113"/>
                      <a:pt x="550" y="116"/>
                      <a:pt x="553" y="117"/>
                    </a:cubicBezTo>
                    <a:cubicBezTo>
                      <a:pt x="554" y="118"/>
                      <a:pt x="555" y="118"/>
                      <a:pt x="556" y="119"/>
                    </a:cubicBezTo>
                    <a:cubicBezTo>
                      <a:pt x="570" y="125"/>
                      <a:pt x="570" y="125"/>
                      <a:pt x="570" y="125"/>
                    </a:cubicBezTo>
                    <a:cubicBezTo>
                      <a:pt x="570" y="124"/>
                      <a:pt x="571" y="123"/>
                      <a:pt x="572" y="122"/>
                    </a:cubicBezTo>
                    <a:cubicBezTo>
                      <a:pt x="572" y="122"/>
                      <a:pt x="573" y="121"/>
                      <a:pt x="573" y="121"/>
                    </a:cubicBezTo>
                    <a:cubicBezTo>
                      <a:pt x="582" y="111"/>
                      <a:pt x="582" y="111"/>
                      <a:pt x="582" y="111"/>
                    </a:cubicBezTo>
                    <a:cubicBezTo>
                      <a:pt x="583" y="110"/>
                      <a:pt x="585" y="109"/>
                      <a:pt x="586" y="109"/>
                    </a:cubicBezTo>
                    <a:cubicBezTo>
                      <a:pt x="587" y="109"/>
                      <a:pt x="588" y="110"/>
                      <a:pt x="588" y="110"/>
                    </a:cubicBezTo>
                    <a:cubicBezTo>
                      <a:pt x="589" y="108"/>
                      <a:pt x="590" y="107"/>
                      <a:pt x="590" y="106"/>
                    </a:cubicBezTo>
                    <a:cubicBezTo>
                      <a:pt x="591" y="103"/>
                      <a:pt x="591" y="99"/>
                      <a:pt x="592" y="96"/>
                    </a:cubicBezTo>
                    <a:cubicBezTo>
                      <a:pt x="592" y="95"/>
                      <a:pt x="592" y="95"/>
                      <a:pt x="592" y="95"/>
                    </a:cubicBezTo>
                    <a:cubicBezTo>
                      <a:pt x="592" y="92"/>
                      <a:pt x="592" y="88"/>
                      <a:pt x="593" y="85"/>
                    </a:cubicBezTo>
                    <a:cubicBezTo>
                      <a:pt x="594" y="83"/>
                      <a:pt x="594" y="83"/>
                      <a:pt x="594" y="83"/>
                    </a:cubicBezTo>
                    <a:cubicBezTo>
                      <a:pt x="594" y="82"/>
                      <a:pt x="594" y="81"/>
                      <a:pt x="594" y="80"/>
                    </a:cubicBezTo>
                    <a:cubicBezTo>
                      <a:pt x="595" y="77"/>
                      <a:pt x="596" y="74"/>
                      <a:pt x="598" y="72"/>
                    </a:cubicBezTo>
                    <a:cubicBezTo>
                      <a:pt x="598" y="72"/>
                      <a:pt x="599" y="71"/>
                      <a:pt x="599" y="71"/>
                    </a:cubicBezTo>
                    <a:cubicBezTo>
                      <a:pt x="601" y="69"/>
                      <a:pt x="602" y="68"/>
                      <a:pt x="604" y="67"/>
                    </a:cubicBezTo>
                    <a:cubicBezTo>
                      <a:pt x="606" y="66"/>
                      <a:pt x="607" y="65"/>
                      <a:pt x="609" y="64"/>
                    </a:cubicBezTo>
                    <a:cubicBezTo>
                      <a:pt x="609" y="64"/>
                      <a:pt x="609" y="64"/>
                      <a:pt x="609" y="64"/>
                    </a:cubicBezTo>
                    <a:cubicBezTo>
                      <a:pt x="614" y="58"/>
                      <a:pt x="617" y="57"/>
                      <a:pt x="625" y="56"/>
                    </a:cubicBezTo>
                    <a:cubicBezTo>
                      <a:pt x="628" y="56"/>
                      <a:pt x="628" y="56"/>
                      <a:pt x="628" y="56"/>
                    </a:cubicBezTo>
                    <a:cubicBezTo>
                      <a:pt x="630" y="56"/>
                      <a:pt x="632" y="56"/>
                      <a:pt x="634" y="56"/>
                    </a:cubicBezTo>
                    <a:cubicBezTo>
                      <a:pt x="635" y="56"/>
                      <a:pt x="636" y="56"/>
                      <a:pt x="637" y="55"/>
                    </a:cubicBezTo>
                    <a:cubicBezTo>
                      <a:pt x="638" y="55"/>
                      <a:pt x="638" y="55"/>
                      <a:pt x="639" y="55"/>
                    </a:cubicBezTo>
                    <a:cubicBezTo>
                      <a:pt x="640" y="54"/>
                      <a:pt x="640" y="54"/>
                      <a:pt x="640" y="54"/>
                    </a:cubicBezTo>
                    <a:cubicBezTo>
                      <a:pt x="640" y="54"/>
                      <a:pt x="641" y="54"/>
                      <a:pt x="642" y="53"/>
                    </a:cubicBezTo>
                    <a:cubicBezTo>
                      <a:pt x="642" y="53"/>
                      <a:pt x="642" y="53"/>
                      <a:pt x="642" y="53"/>
                    </a:cubicBezTo>
                    <a:cubicBezTo>
                      <a:pt x="643" y="52"/>
                      <a:pt x="644" y="52"/>
                      <a:pt x="644" y="51"/>
                    </a:cubicBezTo>
                    <a:cubicBezTo>
                      <a:pt x="646" y="51"/>
                      <a:pt x="648" y="50"/>
                      <a:pt x="650" y="50"/>
                    </a:cubicBezTo>
                    <a:cubicBezTo>
                      <a:pt x="655" y="50"/>
                      <a:pt x="660" y="54"/>
                      <a:pt x="663" y="57"/>
                    </a:cubicBezTo>
                    <a:cubicBezTo>
                      <a:pt x="665" y="58"/>
                      <a:pt x="665" y="58"/>
                      <a:pt x="665" y="58"/>
                    </a:cubicBezTo>
                    <a:cubicBezTo>
                      <a:pt x="666" y="59"/>
                      <a:pt x="666" y="59"/>
                      <a:pt x="667" y="60"/>
                    </a:cubicBezTo>
                    <a:cubicBezTo>
                      <a:pt x="668" y="61"/>
                      <a:pt x="671" y="62"/>
                      <a:pt x="673" y="63"/>
                    </a:cubicBezTo>
                    <a:cubicBezTo>
                      <a:pt x="675" y="64"/>
                      <a:pt x="676" y="64"/>
                      <a:pt x="677" y="65"/>
                    </a:cubicBezTo>
                    <a:cubicBezTo>
                      <a:pt x="679" y="66"/>
                      <a:pt x="679" y="66"/>
                      <a:pt x="679" y="66"/>
                    </a:cubicBezTo>
                    <a:cubicBezTo>
                      <a:pt x="681" y="66"/>
                      <a:pt x="682" y="67"/>
                      <a:pt x="684" y="68"/>
                    </a:cubicBezTo>
                    <a:cubicBezTo>
                      <a:pt x="686" y="69"/>
                      <a:pt x="696" y="74"/>
                      <a:pt x="697" y="80"/>
                    </a:cubicBezTo>
                    <a:cubicBezTo>
                      <a:pt x="698" y="82"/>
                      <a:pt x="698" y="84"/>
                      <a:pt x="697" y="86"/>
                    </a:cubicBezTo>
                    <a:cubicBezTo>
                      <a:pt x="698" y="86"/>
                      <a:pt x="698" y="86"/>
                      <a:pt x="698" y="86"/>
                    </a:cubicBezTo>
                    <a:cubicBezTo>
                      <a:pt x="700" y="86"/>
                      <a:pt x="702" y="85"/>
                      <a:pt x="704" y="85"/>
                    </a:cubicBezTo>
                    <a:cubicBezTo>
                      <a:pt x="706" y="84"/>
                      <a:pt x="706" y="84"/>
                      <a:pt x="706" y="84"/>
                    </a:cubicBezTo>
                    <a:cubicBezTo>
                      <a:pt x="710" y="83"/>
                      <a:pt x="710" y="82"/>
                      <a:pt x="713" y="78"/>
                    </a:cubicBezTo>
                    <a:cubicBezTo>
                      <a:pt x="713" y="77"/>
                      <a:pt x="714" y="77"/>
                      <a:pt x="714" y="76"/>
                    </a:cubicBezTo>
                    <a:cubicBezTo>
                      <a:pt x="712" y="74"/>
                      <a:pt x="712" y="74"/>
                      <a:pt x="712" y="74"/>
                    </a:cubicBezTo>
                    <a:cubicBezTo>
                      <a:pt x="715" y="71"/>
                      <a:pt x="715" y="71"/>
                      <a:pt x="715" y="71"/>
                    </a:cubicBezTo>
                    <a:cubicBezTo>
                      <a:pt x="716" y="71"/>
                      <a:pt x="717" y="70"/>
                      <a:pt x="719" y="70"/>
                    </a:cubicBezTo>
                    <a:cubicBezTo>
                      <a:pt x="720" y="70"/>
                      <a:pt x="721" y="71"/>
                      <a:pt x="722" y="71"/>
                    </a:cubicBezTo>
                    <a:cubicBezTo>
                      <a:pt x="723" y="72"/>
                      <a:pt x="723" y="72"/>
                      <a:pt x="724" y="72"/>
                    </a:cubicBezTo>
                    <a:cubicBezTo>
                      <a:pt x="726" y="73"/>
                      <a:pt x="726" y="73"/>
                      <a:pt x="726" y="73"/>
                    </a:cubicBezTo>
                    <a:cubicBezTo>
                      <a:pt x="728" y="73"/>
                      <a:pt x="730" y="74"/>
                      <a:pt x="732" y="75"/>
                    </a:cubicBezTo>
                    <a:cubicBezTo>
                      <a:pt x="732" y="75"/>
                      <a:pt x="733" y="75"/>
                      <a:pt x="733" y="75"/>
                    </a:cubicBezTo>
                    <a:cubicBezTo>
                      <a:pt x="735" y="75"/>
                      <a:pt x="735" y="75"/>
                      <a:pt x="735" y="75"/>
                    </a:cubicBezTo>
                    <a:cubicBezTo>
                      <a:pt x="735" y="75"/>
                      <a:pt x="735" y="75"/>
                      <a:pt x="735" y="75"/>
                    </a:cubicBezTo>
                    <a:cubicBezTo>
                      <a:pt x="735" y="74"/>
                      <a:pt x="735" y="72"/>
                      <a:pt x="734" y="71"/>
                    </a:cubicBezTo>
                    <a:cubicBezTo>
                      <a:pt x="734" y="69"/>
                      <a:pt x="734" y="69"/>
                      <a:pt x="734" y="69"/>
                    </a:cubicBezTo>
                    <a:cubicBezTo>
                      <a:pt x="737" y="69"/>
                      <a:pt x="737" y="69"/>
                      <a:pt x="737" y="69"/>
                    </a:cubicBezTo>
                    <a:cubicBezTo>
                      <a:pt x="736" y="68"/>
                      <a:pt x="734" y="67"/>
                      <a:pt x="732" y="67"/>
                    </a:cubicBezTo>
                    <a:cubicBezTo>
                      <a:pt x="730" y="67"/>
                      <a:pt x="727" y="68"/>
                      <a:pt x="726" y="71"/>
                    </a:cubicBezTo>
                    <a:cubicBezTo>
                      <a:pt x="725" y="69"/>
                      <a:pt x="722" y="65"/>
                      <a:pt x="720" y="64"/>
                    </a:cubicBezTo>
                    <a:cubicBezTo>
                      <a:pt x="720" y="64"/>
                      <a:pt x="720" y="64"/>
                      <a:pt x="720" y="64"/>
                    </a:cubicBezTo>
                    <a:cubicBezTo>
                      <a:pt x="719" y="64"/>
                      <a:pt x="718" y="66"/>
                      <a:pt x="717" y="67"/>
                    </a:cubicBezTo>
                    <a:cubicBezTo>
                      <a:pt x="712" y="70"/>
                      <a:pt x="706" y="73"/>
                      <a:pt x="701" y="74"/>
                    </a:cubicBezTo>
                    <a:cubicBezTo>
                      <a:pt x="700" y="72"/>
                      <a:pt x="700" y="72"/>
                      <a:pt x="700" y="72"/>
                    </a:cubicBezTo>
                    <a:cubicBezTo>
                      <a:pt x="703" y="72"/>
                      <a:pt x="704" y="71"/>
                      <a:pt x="705" y="70"/>
                    </a:cubicBezTo>
                    <a:cubicBezTo>
                      <a:pt x="705" y="69"/>
                      <a:pt x="705" y="69"/>
                      <a:pt x="705" y="69"/>
                    </a:cubicBezTo>
                    <a:cubicBezTo>
                      <a:pt x="705" y="69"/>
                      <a:pt x="706" y="69"/>
                      <a:pt x="706" y="69"/>
                    </a:cubicBezTo>
                    <a:cubicBezTo>
                      <a:pt x="704" y="66"/>
                      <a:pt x="700" y="66"/>
                      <a:pt x="697" y="64"/>
                    </a:cubicBezTo>
                    <a:cubicBezTo>
                      <a:pt x="701" y="63"/>
                      <a:pt x="698" y="57"/>
                      <a:pt x="696" y="56"/>
                    </a:cubicBezTo>
                    <a:cubicBezTo>
                      <a:pt x="689" y="55"/>
                      <a:pt x="682" y="54"/>
                      <a:pt x="675" y="51"/>
                    </a:cubicBezTo>
                    <a:cubicBezTo>
                      <a:pt x="675" y="49"/>
                      <a:pt x="676" y="48"/>
                      <a:pt x="677" y="48"/>
                    </a:cubicBezTo>
                    <a:cubicBezTo>
                      <a:pt x="680" y="48"/>
                      <a:pt x="684" y="50"/>
                      <a:pt x="686" y="51"/>
                    </a:cubicBezTo>
                    <a:cubicBezTo>
                      <a:pt x="697" y="53"/>
                      <a:pt x="709" y="53"/>
                      <a:pt x="720" y="54"/>
                    </a:cubicBezTo>
                    <a:cubicBezTo>
                      <a:pt x="722" y="48"/>
                      <a:pt x="734" y="46"/>
                      <a:pt x="739" y="44"/>
                    </a:cubicBezTo>
                    <a:cubicBezTo>
                      <a:pt x="743" y="43"/>
                      <a:pt x="746" y="43"/>
                      <a:pt x="744" y="38"/>
                    </a:cubicBezTo>
                    <a:cubicBezTo>
                      <a:pt x="743" y="34"/>
                      <a:pt x="742" y="36"/>
                      <a:pt x="738" y="35"/>
                    </a:cubicBezTo>
                    <a:cubicBezTo>
                      <a:pt x="732" y="32"/>
                      <a:pt x="724" y="32"/>
                      <a:pt x="717" y="30"/>
                    </a:cubicBezTo>
                    <a:cubicBezTo>
                      <a:pt x="720" y="29"/>
                      <a:pt x="720" y="29"/>
                      <a:pt x="720" y="29"/>
                    </a:cubicBezTo>
                    <a:cubicBezTo>
                      <a:pt x="721" y="27"/>
                      <a:pt x="719" y="23"/>
                      <a:pt x="718" y="22"/>
                    </a:cubicBezTo>
                    <a:cubicBezTo>
                      <a:pt x="717" y="21"/>
                      <a:pt x="717" y="21"/>
                      <a:pt x="716" y="21"/>
                    </a:cubicBezTo>
                    <a:cubicBezTo>
                      <a:pt x="714" y="21"/>
                      <a:pt x="709" y="24"/>
                      <a:pt x="708" y="24"/>
                    </a:cubicBezTo>
                    <a:cubicBezTo>
                      <a:pt x="708" y="23"/>
                      <a:pt x="708" y="21"/>
                      <a:pt x="708" y="20"/>
                    </a:cubicBezTo>
                    <a:cubicBezTo>
                      <a:pt x="704" y="21"/>
                      <a:pt x="699" y="23"/>
                      <a:pt x="695" y="24"/>
                    </a:cubicBezTo>
                    <a:cubicBezTo>
                      <a:pt x="695" y="23"/>
                      <a:pt x="696" y="22"/>
                      <a:pt x="697" y="22"/>
                    </a:cubicBezTo>
                    <a:cubicBezTo>
                      <a:pt x="693" y="19"/>
                      <a:pt x="687" y="13"/>
                      <a:pt x="683" y="13"/>
                    </a:cubicBezTo>
                    <a:cubicBezTo>
                      <a:pt x="681" y="13"/>
                      <a:pt x="679" y="14"/>
                      <a:pt x="677" y="17"/>
                    </a:cubicBezTo>
                    <a:cubicBezTo>
                      <a:pt x="676" y="20"/>
                      <a:pt x="669" y="29"/>
                      <a:pt x="671" y="31"/>
                    </a:cubicBezTo>
                    <a:cubicBezTo>
                      <a:pt x="674" y="35"/>
                      <a:pt x="667" y="40"/>
                      <a:pt x="663" y="42"/>
                    </a:cubicBezTo>
                    <a:cubicBezTo>
                      <a:pt x="664" y="37"/>
                      <a:pt x="665" y="37"/>
                      <a:pt x="667" y="33"/>
                    </a:cubicBezTo>
                    <a:cubicBezTo>
                      <a:pt x="667" y="33"/>
                      <a:pt x="667" y="33"/>
                      <a:pt x="667" y="33"/>
                    </a:cubicBezTo>
                    <a:cubicBezTo>
                      <a:pt x="665" y="33"/>
                      <a:pt x="663" y="34"/>
                      <a:pt x="662" y="34"/>
                    </a:cubicBezTo>
                    <a:cubicBezTo>
                      <a:pt x="660" y="35"/>
                      <a:pt x="658" y="35"/>
                      <a:pt x="656" y="35"/>
                    </a:cubicBezTo>
                    <a:cubicBezTo>
                      <a:pt x="655" y="35"/>
                      <a:pt x="655" y="35"/>
                      <a:pt x="654" y="35"/>
                    </a:cubicBezTo>
                    <a:cubicBezTo>
                      <a:pt x="652" y="33"/>
                      <a:pt x="654" y="32"/>
                      <a:pt x="655" y="31"/>
                    </a:cubicBezTo>
                    <a:cubicBezTo>
                      <a:pt x="661" y="27"/>
                      <a:pt x="665" y="28"/>
                      <a:pt x="666" y="20"/>
                    </a:cubicBezTo>
                    <a:cubicBezTo>
                      <a:pt x="662" y="22"/>
                      <a:pt x="658" y="23"/>
                      <a:pt x="654" y="24"/>
                    </a:cubicBezTo>
                    <a:cubicBezTo>
                      <a:pt x="654" y="23"/>
                      <a:pt x="654" y="23"/>
                      <a:pt x="654" y="23"/>
                    </a:cubicBezTo>
                    <a:cubicBezTo>
                      <a:pt x="655" y="23"/>
                      <a:pt x="656" y="23"/>
                      <a:pt x="657" y="23"/>
                    </a:cubicBezTo>
                    <a:cubicBezTo>
                      <a:pt x="656" y="22"/>
                      <a:pt x="655" y="20"/>
                      <a:pt x="654" y="20"/>
                    </a:cubicBezTo>
                    <a:cubicBezTo>
                      <a:pt x="656" y="17"/>
                      <a:pt x="657" y="17"/>
                      <a:pt x="659" y="17"/>
                    </a:cubicBezTo>
                    <a:cubicBezTo>
                      <a:pt x="659" y="17"/>
                      <a:pt x="660" y="17"/>
                      <a:pt x="662" y="17"/>
                    </a:cubicBezTo>
                    <a:cubicBezTo>
                      <a:pt x="663" y="17"/>
                      <a:pt x="663" y="17"/>
                      <a:pt x="664" y="17"/>
                    </a:cubicBezTo>
                    <a:cubicBezTo>
                      <a:pt x="664" y="17"/>
                      <a:pt x="665" y="17"/>
                      <a:pt x="666" y="17"/>
                    </a:cubicBezTo>
                    <a:cubicBezTo>
                      <a:pt x="667" y="16"/>
                      <a:pt x="670" y="14"/>
                      <a:pt x="671" y="13"/>
                    </a:cubicBezTo>
                    <a:cubicBezTo>
                      <a:pt x="674" y="10"/>
                      <a:pt x="673" y="7"/>
                      <a:pt x="669" y="6"/>
                    </a:cubicBezTo>
                    <a:cubicBezTo>
                      <a:pt x="662" y="4"/>
                      <a:pt x="655" y="2"/>
                      <a:pt x="6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237"/>
              <p:cNvSpPr>
                <a:spLocks noEditPoints="1"/>
              </p:cNvSpPr>
              <p:nvPr/>
            </p:nvSpPr>
            <p:spPr bwMode="auto">
              <a:xfrm>
                <a:off x="5365529" y="1426140"/>
                <a:ext cx="1153441" cy="1908890"/>
              </a:xfrm>
              <a:custGeom>
                <a:gdLst>
                  <a:gd name="T0" fmla="*/ 199 w 364"/>
                  <a:gd name="T1" fmla="*/ 441 h 601"/>
                  <a:gd name="T2" fmla="*/ 257 w 364"/>
                  <a:gd name="T3" fmla="*/ 19 h 601"/>
                  <a:gd name="T4" fmla="*/ 249 w 364"/>
                  <a:gd name="T5" fmla="*/ 34 h 601"/>
                  <a:gd name="T6" fmla="*/ 193 w 364"/>
                  <a:gd name="T7" fmla="*/ 51 h 601"/>
                  <a:gd name="T8" fmla="*/ 170 w 364"/>
                  <a:gd name="T9" fmla="*/ 50 h 601"/>
                  <a:gd name="T10" fmla="*/ 148 w 364"/>
                  <a:gd name="T11" fmla="*/ 78 h 601"/>
                  <a:gd name="T12" fmla="*/ 133 w 364"/>
                  <a:gd name="T13" fmla="*/ 115 h 601"/>
                  <a:gd name="T14" fmla="*/ 101 w 364"/>
                  <a:gd name="T15" fmla="*/ 141 h 601"/>
                  <a:gd name="T16" fmla="*/ 101 w 364"/>
                  <a:gd name="T17" fmla="*/ 147 h 601"/>
                  <a:gd name="T18" fmla="*/ 94 w 364"/>
                  <a:gd name="T19" fmla="*/ 185 h 601"/>
                  <a:gd name="T20" fmla="*/ 87 w 364"/>
                  <a:gd name="T21" fmla="*/ 217 h 601"/>
                  <a:gd name="T22" fmla="*/ 58 w 364"/>
                  <a:gd name="T23" fmla="*/ 236 h 601"/>
                  <a:gd name="T24" fmla="*/ 34 w 364"/>
                  <a:gd name="T25" fmla="*/ 256 h 601"/>
                  <a:gd name="T26" fmla="*/ 33 w 364"/>
                  <a:gd name="T27" fmla="*/ 284 h 601"/>
                  <a:gd name="T28" fmla="*/ 36 w 364"/>
                  <a:gd name="T29" fmla="*/ 315 h 601"/>
                  <a:gd name="T30" fmla="*/ 41 w 364"/>
                  <a:gd name="T31" fmla="*/ 343 h 601"/>
                  <a:gd name="T32" fmla="*/ 43 w 364"/>
                  <a:gd name="T33" fmla="*/ 393 h 601"/>
                  <a:gd name="T34" fmla="*/ 30 w 364"/>
                  <a:gd name="T35" fmla="*/ 416 h 601"/>
                  <a:gd name="T36" fmla="*/ 22 w 364"/>
                  <a:gd name="T37" fmla="*/ 445 h 601"/>
                  <a:gd name="T38" fmla="*/ 3 w 364"/>
                  <a:gd name="T39" fmla="*/ 481 h 601"/>
                  <a:gd name="T40" fmla="*/ 14 w 364"/>
                  <a:gd name="T41" fmla="*/ 477 h 601"/>
                  <a:gd name="T42" fmla="*/ 21 w 364"/>
                  <a:gd name="T43" fmla="*/ 487 h 601"/>
                  <a:gd name="T44" fmla="*/ 17 w 364"/>
                  <a:gd name="T45" fmla="*/ 507 h 601"/>
                  <a:gd name="T46" fmla="*/ 50 w 364"/>
                  <a:gd name="T47" fmla="*/ 558 h 601"/>
                  <a:gd name="T48" fmla="*/ 46 w 364"/>
                  <a:gd name="T49" fmla="*/ 568 h 601"/>
                  <a:gd name="T50" fmla="*/ 52 w 364"/>
                  <a:gd name="T51" fmla="*/ 599 h 601"/>
                  <a:gd name="T52" fmla="*/ 114 w 364"/>
                  <a:gd name="T53" fmla="*/ 571 h 601"/>
                  <a:gd name="T54" fmla="*/ 150 w 364"/>
                  <a:gd name="T55" fmla="*/ 545 h 601"/>
                  <a:gd name="T56" fmla="*/ 154 w 364"/>
                  <a:gd name="T57" fmla="*/ 511 h 601"/>
                  <a:gd name="T58" fmla="*/ 153 w 364"/>
                  <a:gd name="T59" fmla="*/ 499 h 601"/>
                  <a:gd name="T60" fmla="*/ 161 w 364"/>
                  <a:gd name="T61" fmla="*/ 486 h 601"/>
                  <a:gd name="T62" fmla="*/ 165 w 364"/>
                  <a:gd name="T63" fmla="*/ 475 h 601"/>
                  <a:gd name="T64" fmla="*/ 150 w 364"/>
                  <a:gd name="T65" fmla="*/ 469 h 601"/>
                  <a:gd name="T66" fmla="*/ 187 w 364"/>
                  <a:gd name="T67" fmla="*/ 448 h 601"/>
                  <a:gd name="T68" fmla="*/ 199 w 364"/>
                  <a:gd name="T69" fmla="*/ 453 h 601"/>
                  <a:gd name="T70" fmla="*/ 207 w 364"/>
                  <a:gd name="T71" fmla="*/ 443 h 601"/>
                  <a:gd name="T72" fmla="*/ 214 w 364"/>
                  <a:gd name="T73" fmla="*/ 442 h 601"/>
                  <a:gd name="T74" fmla="*/ 201 w 364"/>
                  <a:gd name="T75" fmla="*/ 435 h 601"/>
                  <a:gd name="T76" fmla="*/ 196 w 364"/>
                  <a:gd name="T77" fmla="*/ 390 h 601"/>
                  <a:gd name="T78" fmla="*/ 171 w 364"/>
                  <a:gd name="T79" fmla="*/ 382 h 601"/>
                  <a:gd name="T80" fmla="*/ 169 w 364"/>
                  <a:gd name="T81" fmla="*/ 353 h 601"/>
                  <a:gd name="T82" fmla="*/ 168 w 364"/>
                  <a:gd name="T83" fmla="*/ 344 h 601"/>
                  <a:gd name="T84" fmla="*/ 175 w 364"/>
                  <a:gd name="T85" fmla="*/ 333 h 601"/>
                  <a:gd name="T86" fmla="*/ 180 w 364"/>
                  <a:gd name="T87" fmla="*/ 305 h 601"/>
                  <a:gd name="T88" fmla="*/ 185 w 364"/>
                  <a:gd name="T89" fmla="*/ 280 h 601"/>
                  <a:gd name="T90" fmla="*/ 197 w 364"/>
                  <a:gd name="T91" fmla="*/ 289 h 601"/>
                  <a:gd name="T92" fmla="*/ 224 w 364"/>
                  <a:gd name="T93" fmla="*/ 273 h 601"/>
                  <a:gd name="T94" fmla="*/ 262 w 364"/>
                  <a:gd name="T95" fmla="*/ 249 h 601"/>
                  <a:gd name="T96" fmla="*/ 292 w 364"/>
                  <a:gd name="T97" fmla="*/ 213 h 601"/>
                  <a:gd name="T98" fmla="*/ 285 w 364"/>
                  <a:gd name="T99" fmla="*/ 201 h 601"/>
                  <a:gd name="T100" fmla="*/ 296 w 364"/>
                  <a:gd name="T101" fmla="*/ 175 h 601"/>
                  <a:gd name="T102" fmla="*/ 318 w 364"/>
                  <a:gd name="T103" fmla="*/ 156 h 601"/>
                  <a:gd name="T104" fmla="*/ 341 w 364"/>
                  <a:gd name="T105" fmla="*/ 152 h 601"/>
                  <a:gd name="T106" fmla="*/ 352 w 364"/>
                  <a:gd name="T107" fmla="*/ 131 h 601"/>
                  <a:gd name="T108" fmla="*/ 360 w 364"/>
                  <a:gd name="T109" fmla="*/ 105 h 601"/>
                  <a:gd name="T110" fmla="*/ 352 w 364"/>
                  <a:gd name="T111" fmla="*/ 78 h 601"/>
                  <a:gd name="T112" fmla="*/ 345 w 364"/>
                  <a:gd name="T113" fmla="*/ 74 h 601"/>
                  <a:gd name="T114" fmla="*/ 350 w 364"/>
                  <a:gd name="T115" fmla="*/ 50 h 6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4" h="601">
                    <a:moveTo>
                      <a:pt x="199" y="441"/>
                    </a:moveTo>
                    <a:cubicBezTo>
                      <a:pt x="198" y="439"/>
                      <a:pt x="197" y="436"/>
                      <a:pt x="199" y="436"/>
                    </a:cubicBezTo>
                    <a:cubicBezTo>
                      <a:pt x="199" y="436"/>
                      <a:pt x="199" y="436"/>
                      <a:pt x="199" y="436"/>
                    </a:cubicBezTo>
                    <a:cubicBezTo>
                      <a:pt x="199" y="436"/>
                      <a:pt x="199" y="437"/>
                      <a:pt x="199" y="437"/>
                    </a:cubicBezTo>
                    <a:cubicBezTo>
                      <a:pt x="200" y="437"/>
                      <a:pt x="200" y="437"/>
                      <a:pt x="200" y="437"/>
                    </a:cubicBezTo>
                    <a:cubicBezTo>
                      <a:pt x="200" y="440"/>
                      <a:pt x="200" y="440"/>
                      <a:pt x="200" y="440"/>
                    </a:cubicBezTo>
                    <a:cubicBezTo>
                      <a:pt x="200" y="440"/>
                      <a:pt x="199" y="441"/>
                      <a:pt x="199" y="441"/>
                    </a:cubicBezTo>
                    <a:moveTo>
                      <a:pt x="268" y="0"/>
                    </a:moveTo>
                    <a:cubicBezTo>
                      <a:pt x="261" y="0"/>
                      <a:pt x="261" y="0"/>
                      <a:pt x="261" y="0"/>
                    </a:cubicBezTo>
                    <a:cubicBezTo>
                      <a:pt x="262" y="2"/>
                      <a:pt x="263" y="4"/>
                      <a:pt x="263" y="7"/>
                    </a:cubicBezTo>
                    <a:cubicBezTo>
                      <a:pt x="262" y="7"/>
                      <a:pt x="262" y="7"/>
                      <a:pt x="262" y="7"/>
                    </a:cubicBezTo>
                    <a:cubicBezTo>
                      <a:pt x="262" y="8"/>
                      <a:pt x="262" y="8"/>
                      <a:pt x="262" y="8"/>
                    </a:cubicBezTo>
                    <a:cubicBezTo>
                      <a:pt x="262" y="11"/>
                      <a:pt x="260" y="15"/>
                      <a:pt x="258" y="17"/>
                    </a:cubicBezTo>
                    <a:cubicBezTo>
                      <a:pt x="257" y="18"/>
                      <a:pt x="257" y="19"/>
                      <a:pt x="257" y="19"/>
                    </a:cubicBezTo>
                    <a:cubicBezTo>
                      <a:pt x="256" y="20"/>
                      <a:pt x="256" y="20"/>
                      <a:pt x="256" y="20"/>
                    </a:cubicBezTo>
                    <a:cubicBezTo>
                      <a:pt x="256" y="21"/>
                      <a:pt x="256" y="23"/>
                      <a:pt x="256" y="24"/>
                    </a:cubicBezTo>
                    <a:cubicBezTo>
                      <a:pt x="256" y="25"/>
                      <a:pt x="256" y="25"/>
                      <a:pt x="256" y="25"/>
                    </a:cubicBezTo>
                    <a:cubicBezTo>
                      <a:pt x="256" y="26"/>
                      <a:pt x="256" y="26"/>
                      <a:pt x="256" y="26"/>
                    </a:cubicBezTo>
                    <a:cubicBezTo>
                      <a:pt x="256" y="28"/>
                      <a:pt x="255" y="30"/>
                      <a:pt x="254" y="32"/>
                    </a:cubicBezTo>
                    <a:cubicBezTo>
                      <a:pt x="253" y="33"/>
                      <a:pt x="252" y="34"/>
                      <a:pt x="250" y="34"/>
                    </a:cubicBezTo>
                    <a:cubicBezTo>
                      <a:pt x="250" y="34"/>
                      <a:pt x="249" y="34"/>
                      <a:pt x="249" y="34"/>
                    </a:cubicBezTo>
                    <a:cubicBezTo>
                      <a:pt x="249" y="34"/>
                      <a:pt x="248" y="34"/>
                      <a:pt x="248" y="34"/>
                    </a:cubicBezTo>
                    <a:cubicBezTo>
                      <a:pt x="202" y="26"/>
                      <a:pt x="202" y="26"/>
                      <a:pt x="202" y="26"/>
                    </a:cubicBezTo>
                    <a:cubicBezTo>
                      <a:pt x="202" y="27"/>
                      <a:pt x="202" y="27"/>
                      <a:pt x="202" y="27"/>
                    </a:cubicBezTo>
                    <a:cubicBezTo>
                      <a:pt x="202" y="29"/>
                      <a:pt x="202" y="31"/>
                      <a:pt x="202" y="33"/>
                    </a:cubicBezTo>
                    <a:cubicBezTo>
                      <a:pt x="202" y="37"/>
                      <a:pt x="202" y="37"/>
                      <a:pt x="202" y="37"/>
                    </a:cubicBezTo>
                    <a:cubicBezTo>
                      <a:pt x="202" y="38"/>
                      <a:pt x="199" y="51"/>
                      <a:pt x="193" y="51"/>
                    </a:cubicBezTo>
                    <a:cubicBezTo>
                      <a:pt x="193" y="51"/>
                      <a:pt x="193" y="51"/>
                      <a:pt x="193" y="51"/>
                    </a:cubicBezTo>
                    <a:cubicBezTo>
                      <a:pt x="192" y="51"/>
                      <a:pt x="191" y="52"/>
                      <a:pt x="190" y="52"/>
                    </a:cubicBezTo>
                    <a:cubicBezTo>
                      <a:pt x="189" y="52"/>
                      <a:pt x="188" y="51"/>
                      <a:pt x="187" y="51"/>
                    </a:cubicBezTo>
                    <a:cubicBezTo>
                      <a:pt x="184" y="50"/>
                      <a:pt x="184" y="50"/>
                      <a:pt x="184" y="50"/>
                    </a:cubicBezTo>
                    <a:cubicBezTo>
                      <a:pt x="183" y="49"/>
                      <a:pt x="181" y="49"/>
                      <a:pt x="180" y="48"/>
                    </a:cubicBezTo>
                    <a:cubicBezTo>
                      <a:pt x="176" y="47"/>
                      <a:pt x="176" y="47"/>
                      <a:pt x="176" y="47"/>
                    </a:cubicBezTo>
                    <a:cubicBezTo>
                      <a:pt x="176" y="47"/>
                      <a:pt x="176" y="47"/>
                      <a:pt x="175" y="47"/>
                    </a:cubicBezTo>
                    <a:cubicBezTo>
                      <a:pt x="174" y="48"/>
                      <a:pt x="172" y="49"/>
                      <a:pt x="170" y="50"/>
                    </a:cubicBezTo>
                    <a:cubicBezTo>
                      <a:pt x="170" y="51"/>
                      <a:pt x="169" y="51"/>
                      <a:pt x="168" y="52"/>
                    </a:cubicBezTo>
                    <a:cubicBezTo>
                      <a:pt x="163" y="55"/>
                      <a:pt x="162" y="55"/>
                      <a:pt x="161" y="59"/>
                    </a:cubicBezTo>
                    <a:cubicBezTo>
                      <a:pt x="161" y="60"/>
                      <a:pt x="161" y="60"/>
                      <a:pt x="161" y="60"/>
                    </a:cubicBezTo>
                    <a:cubicBezTo>
                      <a:pt x="160" y="61"/>
                      <a:pt x="159" y="63"/>
                      <a:pt x="158" y="65"/>
                    </a:cubicBezTo>
                    <a:cubicBezTo>
                      <a:pt x="157" y="69"/>
                      <a:pt x="154" y="73"/>
                      <a:pt x="149" y="74"/>
                    </a:cubicBezTo>
                    <a:cubicBezTo>
                      <a:pt x="148" y="74"/>
                      <a:pt x="147" y="75"/>
                      <a:pt x="146" y="75"/>
                    </a:cubicBezTo>
                    <a:cubicBezTo>
                      <a:pt x="147" y="76"/>
                      <a:pt x="148" y="77"/>
                      <a:pt x="148" y="78"/>
                    </a:cubicBezTo>
                    <a:cubicBezTo>
                      <a:pt x="151" y="81"/>
                      <a:pt x="154" y="86"/>
                      <a:pt x="153" y="90"/>
                    </a:cubicBezTo>
                    <a:cubicBezTo>
                      <a:pt x="152" y="91"/>
                      <a:pt x="152" y="91"/>
                      <a:pt x="152" y="91"/>
                    </a:cubicBezTo>
                    <a:cubicBezTo>
                      <a:pt x="152" y="91"/>
                      <a:pt x="152" y="92"/>
                      <a:pt x="152" y="93"/>
                    </a:cubicBezTo>
                    <a:cubicBezTo>
                      <a:pt x="149" y="100"/>
                      <a:pt x="143" y="105"/>
                      <a:pt x="138" y="110"/>
                    </a:cubicBezTo>
                    <a:cubicBezTo>
                      <a:pt x="137" y="111"/>
                      <a:pt x="137" y="111"/>
                      <a:pt x="137" y="111"/>
                    </a:cubicBezTo>
                    <a:cubicBezTo>
                      <a:pt x="136" y="112"/>
                      <a:pt x="135" y="113"/>
                      <a:pt x="134" y="114"/>
                    </a:cubicBezTo>
                    <a:cubicBezTo>
                      <a:pt x="133" y="115"/>
                      <a:pt x="133" y="115"/>
                      <a:pt x="133" y="115"/>
                    </a:cubicBezTo>
                    <a:cubicBezTo>
                      <a:pt x="131" y="117"/>
                      <a:pt x="129" y="119"/>
                      <a:pt x="127" y="121"/>
                    </a:cubicBezTo>
                    <a:cubicBezTo>
                      <a:pt x="126" y="121"/>
                      <a:pt x="126" y="121"/>
                      <a:pt x="125" y="122"/>
                    </a:cubicBezTo>
                    <a:cubicBezTo>
                      <a:pt x="125" y="122"/>
                      <a:pt x="125" y="122"/>
                      <a:pt x="125" y="122"/>
                    </a:cubicBezTo>
                    <a:cubicBezTo>
                      <a:pt x="126" y="123"/>
                      <a:pt x="128" y="126"/>
                      <a:pt x="126" y="129"/>
                    </a:cubicBezTo>
                    <a:cubicBezTo>
                      <a:pt x="125" y="131"/>
                      <a:pt x="123" y="132"/>
                      <a:pt x="119" y="133"/>
                    </a:cubicBezTo>
                    <a:cubicBezTo>
                      <a:pt x="115" y="135"/>
                      <a:pt x="110" y="137"/>
                      <a:pt x="104" y="139"/>
                    </a:cubicBezTo>
                    <a:cubicBezTo>
                      <a:pt x="103" y="140"/>
                      <a:pt x="101" y="140"/>
                      <a:pt x="101" y="141"/>
                    </a:cubicBezTo>
                    <a:cubicBezTo>
                      <a:pt x="100" y="141"/>
                      <a:pt x="100" y="141"/>
                      <a:pt x="100" y="141"/>
                    </a:cubicBezTo>
                    <a:cubicBezTo>
                      <a:pt x="100" y="141"/>
                      <a:pt x="100" y="142"/>
                      <a:pt x="100" y="142"/>
                    </a:cubicBezTo>
                    <a:cubicBezTo>
                      <a:pt x="100" y="143"/>
                      <a:pt x="100" y="143"/>
                      <a:pt x="100" y="143"/>
                    </a:cubicBezTo>
                    <a:cubicBezTo>
                      <a:pt x="101" y="143"/>
                      <a:pt x="101" y="144"/>
                      <a:pt x="101" y="145"/>
                    </a:cubicBezTo>
                    <a:cubicBezTo>
                      <a:pt x="101" y="146"/>
                      <a:pt x="101" y="146"/>
                      <a:pt x="101" y="146"/>
                    </a:cubicBezTo>
                    <a:cubicBezTo>
                      <a:pt x="106" y="145"/>
                      <a:pt x="106" y="145"/>
                      <a:pt x="106" y="145"/>
                    </a:cubicBezTo>
                    <a:cubicBezTo>
                      <a:pt x="101" y="147"/>
                      <a:pt x="101" y="147"/>
                      <a:pt x="101" y="147"/>
                    </a:cubicBezTo>
                    <a:cubicBezTo>
                      <a:pt x="102" y="151"/>
                      <a:pt x="102" y="153"/>
                      <a:pt x="101" y="156"/>
                    </a:cubicBezTo>
                    <a:cubicBezTo>
                      <a:pt x="101" y="157"/>
                      <a:pt x="101" y="158"/>
                      <a:pt x="101" y="159"/>
                    </a:cubicBezTo>
                    <a:cubicBezTo>
                      <a:pt x="101" y="161"/>
                      <a:pt x="101" y="161"/>
                      <a:pt x="101" y="161"/>
                    </a:cubicBezTo>
                    <a:cubicBezTo>
                      <a:pt x="100" y="164"/>
                      <a:pt x="100" y="168"/>
                      <a:pt x="99" y="172"/>
                    </a:cubicBezTo>
                    <a:cubicBezTo>
                      <a:pt x="99" y="174"/>
                      <a:pt x="99" y="174"/>
                      <a:pt x="99" y="174"/>
                    </a:cubicBezTo>
                    <a:cubicBezTo>
                      <a:pt x="99" y="178"/>
                      <a:pt x="97" y="181"/>
                      <a:pt x="95" y="183"/>
                    </a:cubicBezTo>
                    <a:cubicBezTo>
                      <a:pt x="95" y="184"/>
                      <a:pt x="94" y="184"/>
                      <a:pt x="94" y="185"/>
                    </a:cubicBezTo>
                    <a:cubicBezTo>
                      <a:pt x="94" y="185"/>
                      <a:pt x="94" y="185"/>
                      <a:pt x="94" y="185"/>
                    </a:cubicBezTo>
                    <a:cubicBezTo>
                      <a:pt x="93" y="188"/>
                      <a:pt x="91" y="189"/>
                      <a:pt x="89" y="191"/>
                    </a:cubicBezTo>
                    <a:cubicBezTo>
                      <a:pt x="87" y="194"/>
                      <a:pt x="85" y="197"/>
                      <a:pt x="83" y="199"/>
                    </a:cubicBezTo>
                    <a:cubicBezTo>
                      <a:pt x="82" y="200"/>
                      <a:pt x="81" y="201"/>
                      <a:pt x="80" y="202"/>
                    </a:cubicBezTo>
                    <a:cubicBezTo>
                      <a:pt x="80" y="205"/>
                      <a:pt x="81" y="208"/>
                      <a:pt x="82" y="211"/>
                    </a:cubicBezTo>
                    <a:cubicBezTo>
                      <a:pt x="83" y="212"/>
                      <a:pt x="83" y="212"/>
                      <a:pt x="83" y="212"/>
                    </a:cubicBezTo>
                    <a:cubicBezTo>
                      <a:pt x="84" y="213"/>
                      <a:pt x="86" y="214"/>
                      <a:pt x="87" y="217"/>
                    </a:cubicBezTo>
                    <a:cubicBezTo>
                      <a:pt x="87" y="218"/>
                      <a:pt x="87" y="218"/>
                      <a:pt x="87" y="218"/>
                    </a:cubicBezTo>
                    <a:cubicBezTo>
                      <a:pt x="87" y="219"/>
                      <a:pt x="87" y="219"/>
                      <a:pt x="87" y="219"/>
                    </a:cubicBezTo>
                    <a:cubicBezTo>
                      <a:pt x="88" y="222"/>
                      <a:pt x="88" y="226"/>
                      <a:pt x="87" y="229"/>
                    </a:cubicBezTo>
                    <a:cubicBezTo>
                      <a:pt x="85" y="235"/>
                      <a:pt x="82" y="238"/>
                      <a:pt x="77" y="238"/>
                    </a:cubicBezTo>
                    <a:cubicBezTo>
                      <a:pt x="76" y="238"/>
                      <a:pt x="76" y="238"/>
                      <a:pt x="75" y="238"/>
                    </a:cubicBezTo>
                    <a:cubicBezTo>
                      <a:pt x="59" y="236"/>
                      <a:pt x="59" y="236"/>
                      <a:pt x="59" y="236"/>
                    </a:cubicBezTo>
                    <a:cubicBezTo>
                      <a:pt x="59" y="236"/>
                      <a:pt x="59" y="236"/>
                      <a:pt x="58" y="236"/>
                    </a:cubicBezTo>
                    <a:cubicBezTo>
                      <a:pt x="57" y="236"/>
                      <a:pt x="56" y="236"/>
                      <a:pt x="54" y="237"/>
                    </a:cubicBezTo>
                    <a:cubicBezTo>
                      <a:pt x="52" y="239"/>
                      <a:pt x="52" y="239"/>
                      <a:pt x="52" y="239"/>
                    </a:cubicBezTo>
                    <a:cubicBezTo>
                      <a:pt x="51" y="239"/>
                      <a:pt x="51" y="239"/>
                      <a:pt x="51" y="239"/>
                    </a:cubicBezTo>
                    <a:cubicBezTo>
                      <a:pt x="50" y="239"/>
                      <a:pt x="50" y="239"/>
                      <a:pt x="50" y="239"/>
                    </a:cubicBezTo>
                    <a:cubicBezTo>
                      <a:pt x="49" y="240"/>
                      <a:pt x="49" y="240"/>
                      <a:pt x="49" y="240"/>
                    </a:cubicBezTo>
                    <a:cubicBezTo>
                      <a:pt x="46" y="241"/>
                      <a:pt x="44" y="243"/>
                      <a:pt x="41" y="246"/>
                    </a:cubicBezTo>
                    <a:cubicBezTo>
                      <a:pt x="34" y="256"/>
                      <a:pt x="34" y="256"/>
                      <a:pt x="34" y="256"/>
                    </a:cubicBezTo>
                    <a:cubicBezTo>
                      <a:pt x="32" y="258"/>
                      <a:pt x="31" y="261"/>
                      <a:pt x="30" y="263"/>
                    </a:cubicBezTo>
                    <a:cubicBezTo>
                      <a:pt x="28" y="266"/>
                      <a:pt x="28" y="266"/>
                      <a:pt x="28" y="266"/>
                    </a:cubicBezTo>
                    <a:cubicBezTo>
                      <a:pt x="28" y="267"/>
                      <a:pt x="28" y="268"/>
                      <a:pt x="28" y="268"/>
                    </a:cubicBezTo>
                    <a:cubicBezTo>
                      <a:pt x="28" y="268"/>
                      <a:pt x="28" y="268"/>
                      <a:pt x="28" y="269"/>
                    </a:cubicBezTo>
                    <a:cubicBezTo>
                      <a:pt x="29" y="271"/>
                      <a:pt x="29" y="271"/>
                      <a:pt x="29" y="271"/>
                    </a:cubicBezTo>
                    <a:cubicBezTo>
                      <a:pt x="30" y="272"/>
                      <a:pt x="30" y="272"/>
                      <a:pt x="30" y="273"/>
                    </a:cubicBezTo>
                    <a:cubicBezTo>
                      <a:pt x="32" y="276"/>
                      <a:pt x="34" y="280"/>
                      <a:pt x="33" y="284"/>
                    </a:cubicBezTo>
                    <a:cubicBezTo>
                      <a:pt x="33" y="287"/>
                      <a:pt x="33" y="287"/>
                      <a:pt x="33" y="287"/>
                    </a:cubicBezTo>
                    <a:cubicBezTo>
                      <a:pt x="32" y="290"/>
                      <a:pt x="32" y="294"/>
                      <a:pt x="30" y="298"/>
                    </a:cubicBezTo>
                    <a:cubicBezTo>
                      <a:pt x="30" y="298"/>
                      <a:pt x="30" y="298"/>
                      <a:pt x="30" y="298"/>
                    </a:cubicBezTo>
                    <a:cubicBezTo>
                      <a:pt x="30" y="299"/>
                      <a:pt x="30" y="299"/>
                      <a:pt x="31" y="300"/>
                    </a:cubicBezTo>
                    <a:cubicBezTo>
                      <a:pt x="31" y="300"/>
                      <a:pt x="31" y="301"/>
                      <a:pt x="32" y="301"/>
                    </a:cubicBezTo>
                    <a:cubicBezTo>
                      <a:pt x="32" y="302"/>
                      <a:pt x="32" y="302"/>
                      <a:pt x="32" y="302"/>
                    </a:cubicBezTo>
                    <a:cubicBezTo>
                      <a:pt x="34" y="306"/>
                      <a:pt x="37" y="311"/>
                      <a:pt x="36" y="315"/>
                    </a:cubicBezTo>
                    <a:cubicBezTo>
                      <a:pt x="32" y="334"/>
                      <a:pt x="32" y="334"/>
                      <a:pt x="32" y="334"/>
                    </a:cubicBezTo>
                    <a:cubicBezTo>
                      <a:pt x="32" y="336"/>
                      <a:pt x="32" y="336"/>
                      <a:pt x="33" y="336"/>
                    </a:cubicBezTo>
                    <a:cubicBezTo>
                      <a:pt x="33" y="337"/>
                      <a:pt x="33" y="337"/>
                      <a:pt x="33" y="337"/>
                    </a:cubicBezTo>
                    <a:cubicBezTo>
                      <a:pt x="34" y="337"/>
                      <a:pt x="35" y="338"/>
                      <a:pt x="35" y="338"/>
                    </a:cubicBezTo>
                    <a:cubicBezTo>
                      <a:pt x="36" y="339"/>
                      <a:pt x="37" y="340"/>
                      <a:pt x="38" y="340"/>
                    </a:cubicBezTo>
                    <a:cubicBezTo>
                      <a:pt x="39" y="341"/>
                      <a:pt x="39" y="341"/>
                      <a:pt x="40" y="342"/>
                    </a:cubicBezTo>
                    <a:cubicBezTo>
                      <a:pt x="41" y="343"/>
                      <a:pt x="41" y="343"/>
                      <a:pt x="41" y="343"/>
                    </a:cubicBezTo>
                    <a:cubicBezTo>
                      <a:pt x="46" y="346"/>
                      <a:pt x="48" y="349"/>
                      <a:pt x="49" y="351"/>
                    </a:cubicBezTo>
                    <a:cubicBezTo>
                      <a:pt x="51" y="353"/>
                      <a:pt x="52" y="356"/>
                      <a:pt x="51" y="359"/>
                    </a:cubicBezTo>
                    <a:cubicBezTo>
                      <a:pt x="51" y="359"/>
                      <a:pt x="47" y="370"/>
                      <a:pt x="44" y="370"/>
                    </a:cubicBezTo>
                    <a:cubicBezTo>
                      <a:pt x="43" y="370"/>
                      <a:pt x="43" y="370"/>
                      <a:pt x="43" y="370"/>
                    </a:cubicBezTo>
                    <a:cubicBezTo>
                      <a:pt x="41" y="371"/>
                      <a:pt x="38" y="371"/>
                      <a:pt x="36" y="371"/>
                    </a:cubicBezTo>
                    <a:cubicBezTo>
                      <a:pt x="37" y="373"/>
                      <a:pt x="37" y="374"/>
                      <a:pt x="38" y="375"/>
                    </a:cubicBezTo>
                    <a:cubicBezTo>
                      <a:pt x="41" y="381"/>
                      <a:pt x="44" y="387"/>
                      <a:pt x="43" y="393"/>
                    </a:cubicBezTo>
                    <a:cubicBezTo>
                      <a:pt x="42" y="394"/>
                      <a:pt x="42" y="394"/>
                      <a:pt x="42" y="394"/>
                    </a:cubicBezTo>
                    <a:cubicBezTo>
                      <a:pt x="41" y="398"/>
                      <a:pt x="40" y="402"/>
                      <a:pt x="39" y="406"/>
                    </a:cubicBezTo>
                    <a:cubicBezTo>
                      <a:pt x="39" y="407"/>
                      <a:pt x="39" y="407"/>
                      <a:pt x="39" y="407"/>
                    </a:cubicBezTo>
                    <a:cubicBezTo>
                      <a:pt x="42" y="408"/>
                      <a:pt x="42" y="408"/>
                      <a:pt x="42" y="408"/>
                    </a:cubicBezTo>
                    <a:cubicBezTo>
                      <a:pt x="39" y="408"/>
                      <a:pt x="39" y="408"/>
                      <a:pt x="39" y="408"/>
                    </a:cubicBezTo>
                    <a:cubicBezTo>
                      <a:pt x="38" y="411"/>
                      <a:pt x="38" y="411"/>
                      <a:pt x="38" y="411"/>
                    </a:cubicBezTo>
                    <a:cubicBezTo>
                      <a:pt x="36" y="415"/>
                      <a:pt x="33" y="416"/>
                      <a:pt x="30" y="416"/>
                    </a:cubicBezTo>
                    <a:cubicBezTo>
                      <a:pt x="30" y="417"/>
                      <a:pt x="29" y="417"/>
                      <a:pt x="28" y="417"/>
                    </a:cubicBezTo>
                    <a:cubicBezTo>
                      <a:pt x="24" y="419"/>
                      <a:pt x="24" y="419"/>
                      <a:pt x="24" y="419"/>
                    </a:cubicBezTo>
                    <a:cubicBezTo>
                      <a:pt x="24" y="419"/>
                      <a:pt x="24" y="420"/>
                      <a:pt x="24" y="420"/>
                    </a:cubicBezTo>
                    <a:cubicBezTo>
                      <a:pt x="24" y="423"/>
                      <a:pt x="22" y="425"/>
                      <a:pt x="21" y="427"/>
                    </a:cubicBezTo>
                    <a:cubicBezTo>
                      <a:pt x="20" y="428"/>
                      <a:pt x="20" y="428"/>
                      <a:pt x="20" y="431"/>
                    </a:cubicBezTo>
                    <a:cubicBezTo>
                      <a:pt x="20" y="432"/>
                      <a:pt x="21" y="433"/>
                      <a:pt x="21" y="434"/>
                    </a:cubicBezTo>
                    <a:cubicBezTo>
                      <a:pt x="22" y="438"/>
                      <a:pt x="22" y="442"/>
                      <a:pt x="22" y="445"/>
                    </a:cubicBezTo>
                    <a:cubicBezTo>
                      <a:pt x="16" y="462"/>
                      <a:pt x="16" y="462"/>
                      <a:pt x="16" y="462"/>
                    </a:cubicBezTo>
                    <a:cubicBezTo>
                      <a:pt x="13" y="460"/>
                      <a:pt x="13" y="460"/>
                      <a:pt x="13" y="460"/>
                    </a:cubicBezTo>
                    <a:cubicBezTo>
                      <a:pt x="12" y="460"/>
                      <a:pt x="11" y="459"/>
                      <a:pt x="10" y="459"/>
                    </a:cubicBezTo>
                    <a:cubicBezTo>
                      <a:pt x="9" y="459"/>
                      <a:pt x="9" y="459"/>
                      <a:pt x="9" y="459"/>
                    </a:cubicBezTo>
                    <a:cubicBezTo>
                      <a:pt x="6" y="457"/>
                      <a:pt x="3" y="456"/>
                      <a:pt x="1" y="455"/>
                    </a:cubicBezTo>
                    <a:cubicBezTo>
                      <a:pt x="0" y="461"/>
                      <a:pt x="1" y="467"/>
                      <a:pt x="2" y="474"/>
                    </a:cubicBezTo>
                    <a:cubicBezTo>
                      <a:pt x="2" y="476"/>
                      <a:pt x="2" y="480"/>
                      <a:pt x="3" y="481"/>
                    </a:cubicBezTo>
                    <a:cubicBezTo>
                      <a:pt x="3" y="481"/>
                      <a:pt x="3" y="481"/>
                      <a:pt x="3" y="481"/>
                    </a:cubicBezTo>
                    <a:cubicBezTo>
                      <a:pt x="4" y="481"/>
                      <a:pt x="4" y="481"/>
                      <a:pt x="4" y="480"/>
                    </a:cubicBezTo>
                    <a:cubicBezTo>
                      <a:pt x="4" y="480"/>
                      <a:pt x="4" y="480"/>
                      <a:pt x="5" y="480"/>
                    </a:cubicBezTo>
                    <a:cubicBezTo>
                      <a:pt x="5" y="480"/>
                      <a:pt x="5" y="480"/>
                      <a:pt x="5" y="480"/>
                    </a:cubicBezTo>
                    <a:cubicBezTo>
                      <a:pt x="6" y="482"/>
                      <a:pt x="7" y="484"/>
                      <a:pt x="8" y="484"/>
                    </a:cubicBezTo>
                    <a:cubicBezTo>
                      <a:pt x="9" y="484"/>
                      <a:pt x="10" y="483"/>
                      <a:pt x="11" y="482"/>
                    </a:cubicBezTo>
                    <a:cubicBezTo>
                      <a:pt x="12" y="481"/>
                      <a:pt x="11" y="477"/>
                      <a:pt x="14" y="477"/>
                    </a:cubicBezTo>
                    <a:cubicBezTo>
                      <a:pt x="14" y="477"/>
                      <a:pt x="15" y="477"/>
                      <a:pt x="15" y="478"/>
                    </a:cubicBezTo>
                    <a:cubicBezTo>
                      <a:pt x="14" y="480"/>
                      <a:pt x="12" y="482"/>
                      <a:pt x="11" y="485"/>
                    </a:cubicBezTo>
                    <a:cubicBezTo>
                      <a:pt x="14" y="484"/>
                      <a:pt x="17" y="483"/>
                      <a:pt x="20" y="482"/>
                    </a:cubicBezTo>
                    <a:cubicBezTo>
                      <a:pt x="20" y="482"/>
                      <a:pt x="20" y="482"/>
                      <a:pt x="20" y="482"/>
                    </a:cubicBezTo>
                    <a:cubicBezTo>
                      <a:pt x="20" y="484"/>
                      <a:pt x="20" y="484"/>
                      <a:pt x="20" y="484"/>
                    </a:cubicBezTo>
                    <a:cubicBezTo>
                      <a:pt x="21" y="484"/>
                      <a:pt x="21" y="484"/>
                      <a:pt x="21" y="484"/>
                    </a:cubicBezTo>
                    <a:cubicBezTo>
                      <a:pt x="21" y="485"/>
                      <a:pt x="21" y="486"/>
                      <a:pt x="21" y="487"/>
                    </a:cubicBezTo>
                    <a:cubicBezTo>
                      <a:pt x="21" y="487"/>
                      <a:pt x="21" y="487"/>
                      <a:pt x="21" y="487"/>
                    </a:cubicBezTo>
                    <a:cubicBezTo>
                      <a:pt x="21" y="487"/>
                      <a:pt x="20" y="487"/>
                      <a:pt x="20" y="488"/>
                    </a:cubicBezTo>
                    <a:cubicBezTo>
                      <a:pt x="19" y="489"/>
                      <a:pt x="19" y="491"/>
                      <a:pt x="19" y="492"/>
                    </a:cubicBezTo>
                    <a:cubicBezTo>
                      <a:pt x="18" y="494"/>
                      <a:pt x="18" y="495"/>
                      <a:pt x="18" y="497"/>
                    </a:cubicBezTo>
                    <a:cubicBezTo>
                      <a:pt x="17" y="499"/>
                      <a:pt x="15" y="504"/>
                      <a:pt x="18" y="504"/>
                    </a:cubicBezTo>
                    <a:cubicBezTo>
                      <a:pt x="18" y="504"/>
                      <a:pt x="19" y="504"/>
                      <a:pt x="20" y="504"/>
                    </a:cubicBezTo>
                    <a:cubicBezTo>
                      <a:pt x="19" y="504"/>
                      <a:pt x="17" y="506"/>
                      <a:pt x="17" y="507"/>
                    </a:cubicBezTo>
                    <a:cubicBezTo>
                      <a:pt x="17" y="508"/>
                      <a:pt x="19" y="510"/>
                      <a:pt x="20" y="511"/>
                    </a:cubicBezTo>
                    <a:cubicBezTo>
                      <a:pt x="23" y="513"/>
                      <a:pt x="22" y="515"/>
                      <a:pt x="22" y="518"/>
                    </a:cubicBezTo>
                    <a:cubicBezTo>
                      <a:pt x="21" y="521"/>
                      <a:pt x="25" y="524"/>
                      <a:pt x="26" y="526"/>
                    </a:cubicBezTo>
                    <a:cubicBezTo>
                      <a:pt x="29" y="531"/>
                      <a:pt x="31" y="536"/>
                      <a:pt x="35" y="540"/>
                    </a:cubicBezTo>
                    <a:cubicBezTo>
                      <a:pt x="36" y="542"/>
                      <a:pt x="38" y="543"/>
                      <a:pt x="40" y="545"/>
                    </a:cubicBezTo>
                    <a:cubicBezTo>
                      <a:pt x="41" y="546"/>
                      <a:pt x="43" y="550"/>
                      <a:pt x="45" y="551"/>
                    </a:cubicBezTo>
                    <a:cubicBezTo>
                      <a:pt x="49" y="553"/>
                      <a:pt x="51" y="551"/>
                      <a:pt x="50" y="558"/>
                    </a:cubicBezTo>
                    <a:cubicBezTo>
                      <a:pt x="50" y="559"/>
                      <a:pt x="48" y="559"/>
                      <a:pt x="46" y="559"/>
                    </a:cubicBezTo>
                    <a:cubicBezTo>
                      <a:pt x="46" y="559"/>
                      <a:pt x="46" y="559"/>
                      <a:pt x="46" y="559"/>
                    </a:cubicBezTo>
                    <a:cubicBezTo>
                      <a:pt x="46" y="559"/>
                      <a:pt x="46" y="559"/>
                      <a:pt x="45" y="559"/>
                    </a:cubicBezTo>
                    <a:cubicBezTo>
                      <a:pt x="44" y="559"/>
                      <a:pt x="43" y="559"/>
                      <a:pt x="42" y="559"/>
                    </a:cubicBezTo>
                    <a:cubicBezTo>
                      <a:pt x="41" y="561"/>
                      <a:pt x="42" y="560"/>
                      <a:pt x="43" y="561"/>
                    </a:cubicBezTo>
                    <a:cubicBezTo>
                      <a:pt x="45" y="562"/>
                      <a:pt x="45" y="562"/>
                      <a:pt x="45" y="562"/>
                    </a:cubicBezTo>
                    <a:cubicBezTo>
                      <a:pt x="46" y="563"/>
                      <a:pt x="46" y="566"/>
                      <a:pt x="46" y="568"/>
                    </a:cubicBezTo>
                    <a:cubicBezTo>
                      <a:pt x="43" y="567"/>
                      <a:pt x="41" y="566"/>
                      <a:pt x="38" y="565"/>
                    </a:cubicBezTo>
                    <a:cubicBezTo>
                      <a:pt x="40" y="567"/>
                      <a:pt x="41" y="571"/>
                      <a:pt x="42" y="573"/>
                    </a:cubicBezTo>
                    <a:cubicBezTo>
                      <a:pt x="44" y="576"/>
                      <a:pt x="46" y="579"/>
                      <a:pt x="47" y="582"/>
                    </a:cubicBezTo>
                    <a:cubicBezTo>
                      <a:pt x="48" y="583"/>
                      <a:pt x="49" y="586"/>
                      <a:pt x="50" y="587"/>
                    </a:cubicBezTo>
                    <a:cubicBezTo>
                      <a:pt x="53" y="589"/>
                      <a:pt x="54" y="589"/>
                      <a:pt x="54" y="592"/>
                    </a:cubicBezTo>
                    <a:cubicBezTo>
                      <a:pt x="54" y="592"/>
                      <a:pt x="52" y="591"/>
                      <a:pt x="52" y="592"/>
                    </a:cubicBezTo>
                    <a:cubicBezTo>
                      <a:pt x="51" y="594"/>
                      <a:pt x="52" y="597"/>
                      <a:pt x="52" y="599"/>
                    </a:cubicBezTo>
                    <a:cubicBezTo>
                      <a:pt x="51" y="598"/>
                      <a:pt x="51" y="598"/>
                      <a:pt x="51" y="598"/>
                    </a:cubicBezTo>
                    <a:cubicBezTo>
                      <a:pt x="51" y="600"/>
                      <a:pt x="49" y="601"/>
                      <a:pt x="48" y="601"/>
                    </a:cubicBezTo>
                    <a:cubicBezTo>
                      <a:pt x="61" y="601"/>
                      <a:pt x="74" y="601"/>
                      <a:pt x="87" y="600"/>
                    </a:cubicBezTo>
                    <a:cubicBezTo>
                      <a:pt x="88" y="600"/>
                      <a:pt x="90" y="596"/>
                      <a:pt x="91" y="595"/>
                    </a:cubicBezTo>
                    <a:cubicBezTo>
                      <a:pt x="91" y="594"/>
                      <a:pt x="90" y="592"/>
                      <a:pt x="90" y="591"/>
                    </a:cubicBezTo>
                    <a:cubicBezTo>
                      <a:pt x="88" y="587"/>
                      <a:pt x="86" y="584"/>
                      <a:pt x="89" y="581"/>
                    </a:cubicBezTo>
                    <a:cubicBezTo>
                      <a:pt x="94" y="573"/>
                      <a:pt x="106" y="572"/>
                      <a:pt x="114" y="571"/>
                    </a:cubicBezTo>
                    <a:cubicBezTo>
                      <a:pt x="118" y="570"/>
                      <a:pt x="122" y="569"/>
                      <a:pt x="125" y="569"/>
                    </a:cubicBezTo>
                    <a:cubicBezTo>
                      <a:pt x="126" y="569"/>
                      <a:pt x="127" y="569"/>
                      <a:pt x="127" y="569"/>
                    </a:cubicBezTo>
                    <a:cubicBezTo>
                      <a:pt x="130" y="569"/>
                      <a:pt x="131" y="572"/>
                      <a:pt x="133" y="573"/>
                    </a:cubicBezTo>
                    <a:cubicBezTo>
                      <a:pt x="139" y="567"/>
                      <a:pt x="142" y="559"/>
                      <a:pt x="147" y="552"/>
                    </a:cubicBezTo>
                    <a:cubicBezTo>
                      <a:pt x="148" y="550"/>
                      <a:pt x="151" y="547"/>
                      <a:pt x="151" y="545"/>
                    </a:cubicBezTo>
                    <a:cubicBezTo>
                      <a:pt x="151" y="545"/>
                      <a:pt x="151" y="545"/>
                      <a:pt x="151" y="545"/>
                    </a:cubicBezTo>
                    <a:cubicBezTo>
                      <a:pt x="151" y="545"/>
                      <a:pt x="150" y="545"/>
                      <a:pt x="150" y="545"/>
                    </a:cubicBezTo>
                    <a:cubicBezTo>
                      <a:pt x="150" y="543"/>
                      <a:pt x="150" y="540"/>
                      <a:pt x="150" y="538"/>
                    </a:cubicBezTo>
                    <a:cubicBezTo>
                      <a:pt x="151" y="534"/>
                      <a:pt x="151" y="536"/>
                      <a:pt x="154" y="534"/>
                    </a:cubicBezTo>
                    <a:cubicBezTo>
                      <a:pt x="154" y="534"/>
                      <a:pt x="150" y="527"/>
                      <a:pt x="152" y="524"/>
                    </a:cubicBezTo>
                    <a:cubicBezTo>
                      <a:pt x="154" y="521"/>
                      <a:pt x="158" y="520"/>
                      <a:pt x="157" y="516"/>
                    </a:cubicBezTo>
                    <a:cubicBezTo>
                      <a:pt x="156" y="513"/>
                      <a:pt x="155" y="514"/>
                      <a:pt x="153" y="511"/>
                    </a:cubicBezTo>
                    <a:cubicBezTo>
                      <a:pt x="153" y="511"/>
                      <a:pt x="154" y="511"/>
                      <a:pt x="154" y="511"/>
                    </a:cubicBezTo>
                    <a:cubicBezTo>
                      <a:pt x="154" y="511"/>
                      <a:pt x="154" y="511"/>
                      <a:pt x="154" y="511"/>
                    </a:cubicBezTo>
                    <a:cubicBezTo>
                      <a:pt x="154" y="511"/>
                      <a:pt x="155" y="511"/>
                      <a:pt x="155" y="511"/>
                    </a:cubicBezTo>
                    <a:cubicBezTo>
                      <a:pt x="155" y="511"/>
                      <a:pt x="156" y="511"/>
                      <a:pt x="156" y="512"/>
                    </a:cubicBezTo>
                    <a:cubicBezTo>
                      <a:pt x="156" y="510"/>
                      <a:pt x="155" y="509"/>
                      <a:pt x="154" y="508"/>
                    </a:cubicBezTo>
                    <a:cubicBezTo>
                      <a:pt x="155" y="508"/>
                      <a:pt x="156" y="508"/>
                      <a:pt x="157" y="508"/>
                    </a:cubicBezTo>
                    <a:cubicBezTo>
                      <a:pt x="158" y="508"/>
                      <a:pt x="158" y="506"/>
                      <a:pt x="156" y="505"/>
                    </a:cubicBezTo>
                    <a:cubicBezTo>
                      <a:pt x="155" y="503"/>
                      <a:pt x="153" y="501"/>
                      <a:pt x="151" y="499"/>
                    </a:cubicBezTo>
                    <a:cubicBezTo>
                      <a:pt x="152" y="499"/>
                      <a:pt x="152" y="499"/>
                      <a:pt x="153" y="499"/>
                    </a:cubicBezTo>
                    <a:cubicBezTo>
                      <a:pt x="153" y="499"/>
                      <a:pt x="153" y="499"/>
                      <a:pt x="154" y="499"/>
                    </a:cubicBezTo>
                    <a:cubicBezTo>
                      <a:pt x="154" y="499"/>
                      <a:pt x="154" y="499"/>
                      <a:pt x="155" y="499"/>
                    </a:cubicBezTo>
                    <a:cubicBezTo>
                      <a:pt x="155" y="499"/>
                      <a:pt x="155" y="499"/>
                      <a:pt x="155" y="499"/>
                    </a:cubicBezTo>
                    <a:cubicBezTo>
                      <a:pt x="156" y="499"/>
                      <a:pt x="157" y="500"/>
                      <a:pt x="157" y="500"/>
                    </a:cubicBezTo>
                    <a:cubicBezTo>
                      <a:pt x="158" y="500"/>
                      <a:pt x="159" y="500"/>
                      <a:pt x="160" y="499"/>
                    </a:cubicBezTo>
                    <a:cubicBezTo>
                      <a:pt x="159" y="497"/>
                      <a:pt x="158" y="496"/>
                      <a:pt x="157" y="496"/>
                    </a:cubicBezTo>
                    <a:cubicBezTo>
                      <a:pt x="159" y="493"/>
                      <a:pt x="162" y="490"/>
                      <a:pt x="161" y="486"/>
                    </a:cubicBezTo>
                    <a:cubicBezTo>
                      <a:pt x="160" y="481"/>
                      <a:pt x="160" y="484"/>
                      <a:pt x="157" y="481"/>
                    </a:cubicBezTo>
                    <a:cubicBezTo>
                      <a:pt x="158" y="481"/>
                      <a:pt x="159" y="480"/>
                      <a:pt x="160" y="480"/>
                    </a:cubicBezTo>
                    <a:cubicBezTo>
                      <a:pt x="157" y="479"/>
                      <a:pt x="153" y="478"/>
                      <a:pt x="150" y="476"/>
                    </a:cubicBezTo>
                    <a:cubicBezTo>
                      <a:pt x="150" y="476"/>
                      <a:pt x="150" y="476"/>
                      <a:pt x="151" y="476"/>
                    </a:cubicBezTo>
                    <a:cubicBezTo>
                      <a:pt x="153" y="476"/>
                      <a:pt x="154" y="476"/>
                      <a:pt x="155" y="477"/>
                    </a:cubicBezTo>
                    <a:cubicBezTo>
                      <a:pt x="157" y="477"/>
                      <a:pt x="158" y="478"/>
                      <a:pt x="160" y="478"/>
                    </a:cubicBezTo>
                    <a:cubicBezTo>
                      <a:pt x="161" y="478"/>
                      <a:pt x="163" y="477"/>
                      <a:pt x="165" y="475"/>
                    </a:cubicBezTo>
                    <a:cubicBezTo>
                      <a:pt x="161" y="473"/>
                      <a:pt x="158" y="470"/>
                      <a:pt x="153" y="470"/>
                    </a:cubicBezTo>
                    <a:cubicBezTo>
                      <a:pt x="151" y="470"/>
                      <a:pt x="151" y="470"/>
                      <a:pt x="151" y="470"/>
                    </a:cubicBezTo>
                    <a:cubicBezTo>
                      <a:pt x="151" y="470"/>
                      <a:pt x="149" y="471"/>
                      <a:pt x="150" y="471"/>
                    </a:cubicBezTo>
                    <a:cubicBezTo>
                      <a:pt x="149" y="471"/>
                      <a:pt x="147" y="470"/>
                      <a:pt x="145" y="470"/>
                    </a:cubicBezTo>
                    <a:cubicBezTo>
                      <a:pt x="142" y="469"/>
                      <a:pt x="147" y="468"/>
                      <a:pt x="147" y="468"/>
                    </a:cubicBezTo>
                    <a:cubicBezTo>
                      <a:pt x="147" y="468"/>
                      <a:pt x="147" y="468"/>
                      <a:pt x="147" y="468"/>
                    </a:cubicBezTo>
                    <a:cubicBezTo>
                      <a:pt x="148" y="468"/>
                      <a:pt x="149" y="468"/>
                      <a:pt x="150" y="469"/>
                    </a:cubicBezTo>
                    <a:cubicBezTo>
                      <a:pt x="152" y="469"/>
                      <a:pt x="154" y="469"/>
                      <a:pt x="157" y="469"/>
                    </a:cubicBezTo>
                    <a:cubicBezTo>
                      <a:pt x="157" y="469"/>
                      <a:pt x="158" y="469"/>
                      <a:pt x="159" y="469"/>
                    </a:cubicBezTo>
                    <a:cubicBezTo>
                      <a:pt x="165" y="469"/>
                      <a:pt x="172" y="467"/>
                      <a:pt x="178" y="465"/>
                    </a:cubicBezTo>
                    <a:cubicBezTo>
                      <a:pt x="182" y="464"/>
                      <a:pt x="183" y="460"/>
                      <a:pt x="183" y="456"/>
                    </a:cubicBezTo>
                    <a:cubicBezTo>
                      <a:pt x="184" y="457"/>
                      <a:pt x="185" y="458"/>
                      <a:pt x="186" y="458"/>
                    </a:cubicBezTo>
                    <a:cubicBezTo>
                      <a:pt x="186" y="457"/>
                      <a:pt x="185" y="450"/>
                      <a:pt x="186" y="449"/>
                    </a:cubicBezTo>
                    <a:cubicBezTo>
                      <a:pt x="187" y="448"/>
                      <a:pt x="187" y="448"/>
                      <a:pt x="187" y="448"/>
                    </a:cubicBezTo>
                    <a:cubicBezTo>
                      <a:pt x="188" y="448"/>
                      <a:pt x="188" y="449"/>
                      <a:pt x="188" y="449"/>
                    </a:cubicBezTo>
                    <a:cubicBezTo>
                      <a:pt x="188" y="450"/>
                      <a:pt x="188" y="451"/>
                      <a:pt x="188" y="451"/>
                    </a:cubicBezTo>
                    <a:cubicBezTo>
                      <a:pt x="188" y="451"/>
                      <a:pt x="188" y="451"/>
                      <a:pt x="188" y="451"/>
                    </a:cubicBezTo>
                    <a:cubicBezTo>
                      <a:pt x="188" y="455"/>
                      <a:pt x="187" y="458"/>
                      <a:pt x="191" y="462"/>
                    </a:cubicBezTo>
                    <a:cubicBezTo>
                      <a:pt x="190" y="462"/>
                      <a:pt x="190" y="461"/>
                      <a:pt x="190" y="461"/>
                    </a:cubicBezTo>
                    <a:cubicBezTo>
                      <a:pt x="193" y="460"/>
                      <a:pt x="192" y="459"/>
                      <a:pt x="194" y="457"/>
                    </a:cubicBezTo>
                    <a:cubicBezTo>
                      <a:pt x="195" y="456"/>
                      <a:pt x="197" y="454"/>
                      <a:pt x="199" y="453"/>
                    </a:cubicBezTo>
                    <a:cubicBezTo>
                      <a:pt x="199" y="454"/>
                      <a:pt x="199" y="454"/>
                      <a:pt x="199" y="454"/>
                    </a:cubicBezTo>
                    <a:cubicBezTo>
                      <a:pt x="199" y="453"/>
                      <a:pt x="199" y="453"/>
                      <a:pt x="199" y="453"/>
                    </a:cubicBezTo>
                    <a:cubicBezTo>
                      <a:pt x="202" y="451"/>
                      <a:pt x="205" y="449"/>
                      <a:pt x="208" y="447"/>
                    </a:cubicBezTo>
                    <a:cubicBezTo>
                      <a:pt x="208" y="447"/>
                      <a:pt x="208" y="447"/>
                      <a:pt x="207" y="447"/>
                    </a:cubicBezTo>
                    <a:cubicBezTo>
                      <a:pt x="206" y="447"/>
                      <a:pt x="205" y="445"/>
                      <a:pt x="205" y="443"/>
                    </a:cubicBezTo>
                    <a:cubicBezTo>
                      <a:pt x="206" y="443"/>
                      <a:pt x="206" y="443"/>
                      <a:pt x="206" y="443"/>
                    </a:cubicBezTo>
                    <a:cubicBezTo>
                      <a:pt x="207" y="443"/>
                      <a:pt x="207" y="443"/>
                      <a:pt x="207" y="443"/>
                    </a:cubicBezTo>
                    <a:cubicBezTo>
                      <a:pt x="208" y="444"/>
                      <a:pt x="209" y="444"/>
                      <a:pt x="210" y="444"/>
                    </a:cubicBezTo>
                    <a:cubicBezTo>
                      <a:pt x="211" y="444"/>
                      <a:pt x="211" y="444"/>
                      <a:pt x="212" y="444"/>
                    </a:cubicBezTo>
                    <a:cubicBezTo>
                      <a:pt x="210" y="443"/>
                      <a:pt x="209" y="442"/>
                      <a:pt x="208" y="442"/>
                    </a:cubicBezTo>
                    <a:cubicBezTo>
                      <a:pt x="208" y="442"/>
                      <a:pt x="208" y="442"/>
                      <a:pt x="208" y="442"/>
                    </a:cubicBezTo>
                    <a:cubicBezTo>
                      <a:pt x="209" y="442"/>
                      <a:pt x="211" y="443"/>
                      <a:pt x="212" y="443"/>
                    </a:cubicBezTo>
                    <a:cubicBezTo>
                      <a:pt x="213" y="443"/>
                      <a:pt x="214" y="443"/>
                      <a:pt x="214" y="442"/>
                    </a:cubicBezTo>
                    <a:cubicBezTo>
                      <a:pt x="214" y="442"/>
                      <a:pt x="214" y="442"/>
                      <a:pt x="214" y="442"/>
                    </a:cubicBezTo>
                    <a:cubicBezTo>
                      <a:pt x="212" y="442"/>
                      <a:pt x="214" y="440"/>
                      <a:pt x="212" y="439"/>
                    </a:cubicBezTo>
                    <a:cubicBezTo>
                      <a:pt x="211" y="438"/>
                      <a:pt x="208" y="437"/>
                      <a:pt x="206" y="436"/>
                    </a:cubicBezTo>
                    <a:cubicBezTo>
                      <a:pt x="207" y="437"/>
                      <a:pt x="207" y="438"/>
                      <a:pt x="207" y="439"/>
                    </a:cubicBezTo>
                    <a:cubicBezTo>
                      <a:pt x="207" y="439"/>
                      <a:pt x="207" y="439"/>
                      <a:pt x="207" y="439"/>
                    </a:cubicBezTo>
                    <a:cubicBezTo>
                      <a:pt x="206" y="438"/>
                      <a:pt x="206" y="438"/>
                      <a:pt x="206" y="438"/>
                    </a:cubicBezTo>
                    <a:cubicBezTo>
                      <a:pt x="203" y="437"/>
                      <a:pt x="203" y="437"/>
                      <a:pt x="203" y="437"/>
                    </a:cubicBezTo>
                    <a:cubicBezTo>
                      <a:pt x="202" y="436"/>
                      <a:pt x="202" y="436"/>
                      <a:pt x="201" y="435"/>
                    </a:cubicBezTo>
                    <a:cubicBezTo>
                      <a:pt x="205" y="434"/>
                      <a:pt x="208" y="430"/>
                      <a:pt x="211" y="428"/>
                    </a:cubicBezTo>
                    <a:cubicBezTo>
                      <a:pt x="215" y="425"/>
                      <a:pt x="220" y="424"/>
                      <a:pt x="225" y="422"/>
                    </a:cubicBezTo>
                    <a:cubicBezTo>
                      <a:pt x="223" y="417"/>
                      <a:pt x="221" y="412"/>
                      <a:pt x="218" y="408"/>
                    </a:cubicBezTo>
                    <a:cubicBezTo>
                      <a:pt x="217" y="406"/>
                      <a:pt x="212" y="406"/>
                      <a:pt x="210" y="406"/>
                    </a:cubicBezTo>
                    <a:cubicBezTo>
                      <a:pt x="211" y="403"/>
                      <a:pt x="212" y="403"/>
                      <a:pt x="210" y="400"/>
                    </a:cubicBezTo>
                    <a:cubicBezTo>
                      <a:pt x="209" y="399"/>
                      <a:pt x="206" y="397"/>
                      <a:pt x="205" y="396"/>
                    </a:cubicBezTo>
                    <a:cubicBezTo>
                      <a:pt x="202" y="394"/>
                      <a:pt x="199" y="392"/>
                      <a:pt x="196" y="390"/>
                    </a:cubicBezTo>
                    <a:cubicBezTo>
                      <a:pt x="196" y="389"/>
                      <a:pt x="195" y="387"/>
                      <a:pt x="195" y="387"/>
                    </a:cubicBezTo>
                    <a:cubicBezTo>
                      <a:pt x="194" y="387"/>
                      <a:pt x="194" y="387"/>
                      <a:pt x="193" y="387"/>
                    </a:cubicBezTo>
                    <a:cubicBezTo>
                      <a:pt x="192" y="387"/>
                      <a:pt x="191" y="387"/>
                      <a:pt x="190" y="388"/>
                    </a:cubicBezTo>
                    <a:cubicBezTo>
                      <a:pt x="188" y="389"/>
                      <a:pt x="187" y="389"/>
                      <a:pt x="186" y="389"/>
                    </a:cubicBezTo>
                    <a:cubicBezTo>
                      <a:pt x="185" y="389"/>
                      <a:pt x="184" y="389"/>
                      <a:pt x="183" y="389"/>
                    </a:cubicBezTo>
                    <a:cubicBezTo>
                      <a:pt x="181" y="386"/>
                      <a:pt x="176" y="382"/>
                      <a:pt x="172" y="382"/>
                    </a:cubicBezTo>
                    <a:cubicBezTo>
                      <a:pt x="172" y="382"/>
                      <a:pt x="172" y="382"/>
                      <a:pt x="171" y="382"/>
                    </a:cubicBezTo>
                    <a:cubicBezTo>
                      <a:pt x="172" y="381"/>
                      <a:pt x="174" y="381"/>
                      <a:pt x="175" y="380"/>
                    </a:cubicBezTo>
                    <a:cubicBezTo>
                      <a:pt x="176" y="379"/>
                      <a:pt x="174" y="378"/>
                      <a:pt x="174" y="377"/>
                    </a:cubicBezTo>
                    <a:cubicBezTo>
                      <a:pt x="173" y="376"/>
                      <a:pt x="172" y="374"/>
                      <a:pt x="171" y="372"/>
                    </a:cubicBezTo>
                    <a:cubicBezTo>
                      <a:pt x="171" y="370"/>
                      <a:pt x="170" y="370"/>
                      <a:pt x="170" y="367"/>
                    </a:cubicBezTo>
                    <a:cubicBezTo>
                      <a:pt x="170" y="363"/>
                      <a:pt x="170" y="360"/>
                      <a:pt x="170" y="356"/>
                    </a:cubicBezTo>
                    <a:cubicBezTo>
                      <a:pt x="171" y="356"/>
                      <a:pt x="172" y="357"/>
                      <a:pt x="172" y="357"/>
                    </a:cubicBezTo>
                    <a:cubicBezTo>
                      <a:pt x="173" y="357"/>
                      <a:pt x="170" y="353"/>
                      <a:pt x="169" y="353"/>
                    </a:cubicBezTo>
                    <a:cubicBezTo>
                      <a:pt x="169" y="351"/>
                      <a:pt x="171" y="350"/>
                      <a:pt x="170" y="347"/>
                    </a:cubicBezTo>
                    <a:cubicBezTo>
                      <a:pt x="169" y="347"/>
                      <a:pt x="169" y="346"/>
                      <a:pt x="168" y="345"/>
                    </a:cubicBezTo>
                    <a:cubicBezTo>
                      <a:pt x="168" y="345"/>
                      <a:pt x="169" y="345"/>
                      <a:pt x="169" y="345"/>
                    </a:cubicBezTo>
                    <a:cubicBezTo>
                      <a:pt x="169" y="345"/>
                      <a:pt x="169" y="345"/>
                      <a:pt x="170" y="345"/>
                    </a:cubicBezTo>
                    <a:cubicBezTo>
                      <a:pt x="170" y="345"/>
                      <a:pt x="171" y="345"/>
                      <a:pt x="171" y="345"/>
                    </a:cubicBezTo>
                    <a:cubicBezTo>
                      <a:pt x="171" y="345"/>
                      <a:pt x="171" y="345"/>
                      <a:pt x="172" y="345"/>
                    </a:cubicBezTo>
                    <a:cubicBezTo>
                      <a:pt x="171" y="345"/>
                      <a:pt x="169" y="344"/>
                      <a:pt x="168" y="344"/>
                    </a:cubicBezTo>
                    <a:cubicBezTo>
                      <a:pt x="170" y="343"/>
                      <a:pt x="171" y="343"/>
                      <a:pt x="172" y="343"/>
                    </a:cubicBezTo>
                    <a:cubicBezTo>
                      <a:pt x="171" y="342"/>
                      <a:pt x="170" y="342"/>
                      <a:pt x="169" y="341"/>
                    </a:cubicBezTo>
                    <a:cubicBezTo>
                      <a:pt x="172" y="341"/>
                      <a:pt x="173" y="339"/>
                      <a:pt x="169" y="338"/>
                    </a:cubicBezTo>
                    <a:cubicBezTo>
                      <a:pt x="170" y="338"/>
                      <a:pt x="171" y="338"/>
                      <a:pt x="171" y="338"/>
                    </a:cubicBezTo>
                    <a:cubicBezTo>
                      <a:pt x="173" y="338"/>
                      <a:pt x="175" y="338"/>
                      <a:pt x="176" y="339"/>
                    </a:cubicBezTo>
                    <a:cubicBezTo>
                      <a:pt x="178" y="340"/>
                      <a:pt x="177" y="342"/>
                      <a:pt x="180" y="342"/>
                    </a:cubicBezTo>
                    <a:cubicBezTo>
                      <a:pt x="178" y="339"/>
                      <a:pt x="175" y="336"/>
                      <a:pt x="175" y="333"/>
                    </a:cubicBezTo>
                    <a:cubicBezTo>
                      <a:pt x="175" y="327"/>
                      <a:pt x="181" y="322"/>
                      <a:pt x="180" y="316"/>
                    </a:cubicBezTo>
                    <a:cubicBezTo>
                      <a:pt x="180" y="316"/>
                      <a:pt x="179" y="313"/>
                      <a:pt x="179" y="312"/>
                    </a:cubicBezTo>
                    <a:cubicBezTo>
                      <a:pt x="179" y="312"/>
                      <a:pt x="177" y="311"/>
                      <a:pt x="177" y="311"/>
                    </a:cubicBezTo>
                    <a:cubicBezTo>
                      <a:pt x="177" y="311"/>
                      <a:pt x="177" y="311"/>
                      <a:pt x="177" y="311"/>
                    </a:cubicBezTo>
                    <a:cubicBezTo>
                      <a:pt x="176" y="309"/>
                      <a:pt x="177" y="306"/>
                      <a:pt x="176" y="305"/>
                    </a:cubicBezTo>
                    <a:cubicBezTo>
                      <a:pt x="176" y="305"/>
                      <a:pt x="176" y="305"/>
                      <a:pt x="177" y="305"/>
                    </a:cubicBezTo>
                    <a:cubicBezTo>
                      <a:pt x="178" y="305"/>
                      <a:pt x="179" y="305"/>
                      <a:pt x="180" y="305"/>
                    </a:cubicBezTo>
                    <a:cubicBezTo>
                      <a:pt x="181" y="306"/>
                      <a:pt x="183" y="306"/>
                      <a:pt x="184" y="306"/>
                    </a:cubicBezTo>
                    <a:cubicBezTo>
                      <a:pt x="184" y="306"/>
                      <a:pt x="184" y="306"/>
                      <a:pt x="184" y="306"/>
                    </a:cubicBezTo>
                    <a:cubicBezTo>
                      <a:pt x="189" y="306"/>
                      <a:pt x="190" y="302"/>
                      <a:pt x="191" y="298"/>
                    </a:cubicBezTo>
                    <a:cubicBezTo>
                      <a:pt x="192" y="296"/>
                      <a:pt x="192" y="295"/>
                      <a:pt x="193" y="293"/>
                    </a:cubicBezTo>
                    <a:cubicBezTo>
                      <a:pt x="194" y="292"/>
                      <a:pt x="192" y="290"/>
                      <a:pt x="191" y="289"/>
                    </a:cubicBezTo>
                    <a:cubicBezTo>
                      <a:pt x="191" y="288"/>
                      <a:pt x="191" y="286"/>
                      <a:pt x="190" y="284"/>
                    </a:cubicBezTo>
                    <a:cubicBezTo>
                      <a:pt x="189" y="283"/>
                      <a:pt x="185" y="282"/>
                      <a:pt x="185" y="280"/>
                    </a:cubicBezTo>
                    <a:cubicBezTo>
                      <a:pt x="186" y="280"/>
                      <a:pt x="187" y="279"/>
                      <a:pt x="187" y="279"/>
                    </a:cubicBezTo>
                    <a:cubicBezTo>
                      <a:pt x="189" y="279"/>
                      <a:pt x="190" y="283"/>
                      <a:pt x="191" y="284"/>
                    </a:cubicBezTo>
                    <a:cubicBezTo>
                      <a:pt x="191" y="285"/>
                      <a:pt x="192" y="284"/>
                      <a:pt x="192" y="285"/>
                    </a:cubicBezTo>
                    <a:cubicBezTo>
                      <a:pt x="192" y="286"/>
                      <a:pt x="191" y="287"/>
                      <a:pt x="192" y="288"/>
                    </a:cubicBezTo>
                    <a:cubicBezTo>
                      <a:pt x="192" y="289"/>
                      <a:pt x="193" y="289"/>
                      <a:pt x="194" y="289"/>
                    </a:cubicBezTo>
                    <a:cubicBezTo>
                      <a:pt x="194" y="289"/>
                      <a:pt x="195" y="289"/>
                      <a:pt x="195" y="289"/>
                    </a:cubicBezTo>
                    <a:cubicBezTo>
                      <a:pt x="196" y="289"/>
                      <a:pt x="196" y="289"/>
                      <a:pt x="197" y="289"/>
                    </a:cubicBezTo>
                    <a:cubicBezTo>
                      <a:pt x="197" y="289"/>
                      <a:pt x="198" y="289"/>
                      <a:pt x="198" y="289"/>
                    </a:cubicBezTo>
                    <a:cubicBezTo>
                      <a:pt x="197" y="290"/>
                      <a:pt x="197" y="291"/>
                      <a:pt x="197" y="291"/>
                    </a:cubicBezTo>
                    <a:cubicBezTo>
                      <a:pt x="198" y="291"/>
                      <a:pt x="198" y="290"/>
                      <a:pt x="199" y="289"/>
                    </a:cubicBezTo>
                    <a:cubicBezTo>
                      <a:pt x="200" y="287"/>
                      <a:pt x="202" y="284"/>
                      <a:pt x="203" y="281"/>
                    </a:cubicBezTo>
                    <a:cubicBezTo>
                      <a:pt x="202" y="281"/>
                      <a:pt x="202" y="281"/>
                      <a:pt x="201" y="281"/>
                    </a:cubicBezTo>
                    <a:cubicBezTo>
                      <a:pt x="204" y="280"/>
                      <a:pt x="218" y="272"/>
                      <a:pt x="222" y="272"/>
                    </a:cubicBezTo>
                    <a:cubicBezTo>
                      <a:pt x="223" y="272"/>
                      <a:pt x="223" y="272"/>
                      <a:pt x="224" y="273"/>
                    </a:cubicBezTo>
                    <a:cubicBezTo>
                      <a:pt x="226" y="269"/>
                      <a:pt x="228" y="266"/>
                      <a:pt x="230" y="262"/>
                    </a:cubicBezTo>
                    <a:cubicBezTo>
                      <a:pt x="231" y="261"/>
                      <a:pt x="232" y="261"/>
                      <a:pt x="233" y="261"/>
                    </a:cubicBezTo>
                    <a:cubicBezTo>
                      <a:pt x="234" y="261"/>
                      <a:pt x="236" y="261"/>
                      <a:pt x="237" y="262"/>
                    </a:cubicBezTo>
                    <a:cubicBezTo>
                      <a:pt x="237" y="260"/>
                      <a:pt x="235" y="258"/>
                      <a:pt x="235" y="256"/>
                    </a:cubicBezTo>
                    <a:cubicBezTo>
                      <a:pt x="240" y="257"/>
                      <a:pt x="240" y="261"/>
                      <a:pt x="243" y="261"/>
                    </a:cubicBezTo>
                    <a:cubicBezTo>
                      <a:pt x="243" y="261"/>
                      <a:pt x="245" y="260"/>
                      <a:pt x="246" y="259"/>
                    </a:cubicBezTo>
                    <a:cubicBezTo>
                      <a:pt x="251" y="254"/>
                      <a:pt x="256" y="251"/>
                      <a:pt x="262" y="249"/>
                    </a:cubicBezTo>
                    <a:cubicBezTo>
                      <a:pt x="262" y="250"/>
                      <a:pt x="262" y="250"/>
                      <a:pt x="263" y="250"/>
                    </a:cubicBezTo>
                    <a:cubicBezTo>
                      <a:pt x="264" y="250"/>
                      <a:pt x="265" y="248"/>
                      <a:pt x="266" y="248"/>
                    </a:cubicBezTo>
                    <a:cubicBezTo>
                      <a:pt x="269" y="246"/>
                      <a:pt x="271" y="245"/>
                      <a:pt x="272" y="243"/>
                    </a:cubicBezTo>
                    <a:cubicBezTo>
                      <a:pt x="277" y="238"/>
                      <a:pt x="280" y="232"/>
                      <a:pt x="284" y="226"/>
                    </a:cubicBezTo>
                    <a:cubicBezTo>
                      <a:pt x="286" y="223"/>
                      <a:pt x="288" y="224"/>
                      <a:pt x="290" y="222"/>
                    </a:cubicBezTo>
                    <a:cubicBezTo>
                      <a:pt x="291" y="220"/>
                      <a:pt x="295" y="217"/>
                      <a:pt x="297" y="217"/>
                    </a:cubicBezTo>
                    <a:cubicBezTo>
                      <a:pt x="293" y="216"/>
                      <a:pt x="293" y="216"/>
                      <a:pt x="292" y="213"/>
                    </a:cubicBezTo>
                    <a:cubicBezTo>
                      <a:pt x="293" y="213"/>
                      <a:pt x="294" y="213"/>
                      <a:pt x="295" y="213"/>
                    </a:cubicBezTo>
                    <a:cubicBezTo>
                      <a:pt x="295" y="213"/>
                      <a:pt x="295" y="213"/>
                      <a:pt x="296" y="213"/>
                    </a:cubicBezTo>
                    <a:cubicBezTo>
                      <a:pt x="294" y="210"/>
                      <a:pt x="291" y="210"/>
                      <a:pt x="289" y="209"/>
                    </a:cubicBezTo>
                    <a:cubicBezTo>
                      <a:pt x="288" y="208"/>
                      <a:pt x="286" y="206"/>
                      <a:pt x="283" y="205"/>
                    </a:cubicBezTo>
                    <a:cubicBezTo>
                      <a:pt x="285" y="205"/>
                      <a:pt x="286" y="206"/>
                      <a:pt x="288" y="206"/>
                    </a:cubicBezTo>
                    <a:cubicBezTo>
                      <a:pt x="288" y="205"/>
                      <a:pt x="287" y="201"/>
                      <a:pt x="285" y="201"/>
                    </a:cubicBezTo>
                    <a:cubicBezTo>
                      <a:pt x="285" y="201"/>
                      <a:pt x="285" y="201"/>
                      <a:pt x="285" y="201"/>
                    </a:cubicBezTo>
                    <a:cubicBezTo>
                      <a:pt x="285" y="201"/>
                      <a:pt x="284" y="201"/>
                      <a:pt x="284" y="201"/>
                    </a:cubicBezTo>
                    <a:cubicBezTo>
                      <a:pt x="283" y="201"/>
                      <a:pt x="282" y="201"/>
                      <a:pt x="282" y="201"/>
                    </a:cubicBezTo>
                    <a:cubicBezTo>
                      <a:pt x="278" y="197"/>
                      <a:pt x="293" y="190"/>
                      <a:pt x="295" y="188"/>
                    </a:cubicBezTo>
                    <a:cubicBezTo>
                      <a:pt x="298" y="186"/>
                      <a:pt x="294" y="181"/>
                      <a:pt x="297" y="179"/>
                    </a:cubicBezTo>
                    <a:cubicBezTo>
                      <a:pt x="299" y="178"/>
                      <a:pt x="301" y="177"/>
                      <a:pt x="299" y="176"/>
                    </a:cubicBezTo>
                    <a:cubicBezTo>
                      <a:pt x="299" y="176"/>
                      <a:pt x="296" y="175"/>
                      <a:pt x="296" y="175"/>
                    </a:cubicBezTo>
                    <a:cubicBezTo>
                      <a:pt x="296" y="175"/>
                      <a:pt x="296" y="175"/>
                      <a:pt x="296" y="175"/>
                    </a:cubicBezTo>
                    <a:cubicBezTo>
                      <a:pt x="288" y="175"/>
                      <a:pt x="302" y="168"/>
                      <a:pt x="303" y="167"/>
                    </a:cubicBezTo>
                    <a:cubicBezTo>
                      <a:pt x="305" y="165"/>
                      <a:pt x="308" y="163"/>
                      <a:pt x="311" y="163"/>
                    </a:cubicBezTo>
                    <a:cubicBezTo>
                      <a:pt x="311" y="163"/>
                      <a:pt x="311" y="163"/>
                      <a:pt x="312" y="163"/>
                    </a:cubicBezTo>
                    <a:cubicBezTo>
                      <a:pt x="313" y="163"/>
                      <a:pt x="315" y="164"/>
                      <a:pt x="317" y="164"/>
                    </a:cubicBezTo>
                    <a:cubicBezTo>
                      <a:pt x="319" y="164"/>
                      <a:pt x="320" y="164"/>
                      <a:pt x="319" y="161"/>
                    </a:cubicBezTo>
                    <a:cubicBezTo>
                      <a:pt x="319" y="160"/>
                      <a:pt x="314" y="161"/>
                      <a:pt x="316" y="158"/>
                    </a:cubicBezTo>
                    <a:cubicBezTo>
                      <a:pt x="316" y="157"/>
                      <a:pt x="318" y="157"/>
                      <a:pt x="318" y="156"/>
                    </a:cubicBezTo>
                    <a:cubicBezTo>
                      <a:pt x="318" y="155"/>
                      <a:pt x="317" y="155"/>
                      <a:pt x="317" y="154"/>
                    </a:cubicBezTo>
                    <a:cubicBezTo>
                      <a:pt x="318" y="153"/>
                      <a:pt x="319" y="152"/>
                      <a:pt x="319" y="151"/>
                    </a:cubicBezTo>
                    <a:cubicBezTo>
                      <a:pt x="321" y="152"/>
                      <a:pt x="323" y="154"/>
                      <a:pt x="326" y="154"/>
                    </a:cubicBezTo>
                    <a:cubicBezTo>
                      <a:pt x="326" y="154"/>
                      <a:pt x="326" y="155"/>
                      <a:pt x="326" y="155"/>
                    </a:cubicBezTo>
                    <a:cubicBezTo>
                      <a:pt x="328" y="155"/>
                      <a:pt x="328" y="152"/>
                      <a:pt x="328" y="150"/>
                    </a:cubicBezTo>
                    <a:cubicBezTo>
                      <a:pt x="330" y="151"/>
                      <a:pt x="339" y="156"/>
                      <a:pt x="339" y="158"/>
                    </a:cubicBezTo>
                    <a:cubicBezTo>
                      <a:pt x="340" y="157"/>
                      <a:pt x="343" y="153"/>
                      <a:pt x="341" y="152"/>
                    </a:cubicBezTo>
                    <a:cubicBezTo>
                      <a:pt x="343" y="152"/>
                      <a:pt x="344" y="152"/>
                      <a:pt x="346" y="152"/>
                    </a:cubicBezTo>
                    <a:cubicBezTo>
                      <a:pt x="352" y="152"/>
                      <a:pt x="358" y="152"/>
                      <a:pt x="364" y="152"/>
                    </a:cubicBezTo>
                    <a:cubicBezTo>
                      <a:pt x="360" y="141"/>
                      <a:pt x="360" y="141"/>
                      <a:pt x="360" y="141"/>
                    </a:cubicBezTo>
                    <a:cubicBezTo>
                      <a:pt x="359" y="140"/>
                      <a:pt x="359" y="139"/>
                      <a:pt x="358" y="138"/>
                    </a:cubicBezTo>
                    <a:cubicBezTo>
                      <a:pt x="356" y="137"/>
                      <a:pt x="355" y="136"/>
                      <a:pt x="354" y="134"/>
                    </a:cubicBezTo>
                    <a:cubicBezTo>
                      <a:pt x="353" y="134"/>
                      <a:pt x="353" y="133"/>
                      <a:pt x="353" y="133"/>
                    </a:cubicBezTo>
                    <a:cubicBezTo>
                      <a:pt x="353" y="132"/>
                      <a:pt x="352" y="132"/>
                      <a:pt x="352" y="131"/>
                    </a:cubicBezTo>
                    <a:cubicBezTo>
                      <a:pt x="352" y="130"/>
                      <a:pt x="352" y="129"/>
                      <a:pt x="352" y="128"/>
                    </a:cubicBezTo>
                    <a:cubicBezTo>
                      <a:pt x="352" y="127"/>
                      <a:pt x="352" y="126"/>
                      <a:pt x="353" y="125"/>
                    </a:cubicBezTo>
                    <a:cubicBezTo>
                      <a:pt x="353" y="122"/>
                      <a:pt x="355" y="119"/>
                      <a:pt x="356" y="117"/>
                    </a:cubicBezTo>
                    <a:cubicBezTo>
                      <a:pt x="357" y="115"/>
                      <a:pt x="357" y="113"/>
                      <a:pt x="358" y="112"/>
                    </a:cubicBezTo>
                    <a:cubicBezTo>
                      <a:pt x="358" y="111"/>
                      <a:pt x="359" y="109"/>
                      <a:pt x="359" y="108"/>
                    </a:cubicBezTo>
                    <a:cubicBezTo>
                      <a:pt x="359" y="107"/>
                      <a:pt x="359" y="106"/>
                      <a:pt x="360" y="105"/>
                    </a:cubicBezTo>
                    <a:cubicBezTo>
                      <a:pt x="360" y="105"/>
                      <a:pt x="360" y="105"/>
                      <a:pt x="360" y="105"/>
                    </a:cubicBezTo>
                    <a:cubicBezTo>
                      <a:pt x="360" y="105"/>
                      <a:pt x="360" y="104"/>
                      <a:pt x="359" y="104"/>
                    </a:cubicBezTo>
                    <a:cubicBezTo>
                      <a:pt x="359" y="103"/>
                      <a:pt x="359" y="103"/>
                      <a:pt x="359" y="103"/>
                    </a:cubicBezTo>
                    <a:cubicBezTo>
                      <a:pt x="358" y="102"/>
                      <a:pt x="357" y="101"/>
                      <a:pt x="356" y="100"/>
                    </a:cubicBezTo>
                    <a:cubicBezTo>
                      <a:pt x="353" y="96"/>
                      <a:pt x="350" y="92"/>
                      <a:pt x="350" y="87"/>
                    </a:cubicBezTo>
                    <a:cubicBezTo>
                      <a:pt x="350" y="85"/>
                      <a:pt x="351" y="83"/>
                      <a:pt x="354" y="81"/>
                    </a:cubicBezTo>
                    <a:cubicBezTo>
                      <a:pt x="354" y="81"/>
                      <a:pt x="354" y="81"/>
                      <a:pt x="355" y="80"/>
                    </a:cubicBezTo>
                    <a:cubicBezTo>
                      <a:pt x="354" y="79"/>
                      <a:pt x="353" y="79"/>
                      <a:pt x="352" y="78"/>
                    </a:cubicBezTo>
                    <a:cubicBezTo>
                      <a:pt x="352" y="78"/>
                      <a:pt x="352" y="78"/>
                      <a:pt x="352" y="78"/>
                    </a:cubicBezTo>
                    <a:cubicBezTo>
                      <a:pt x="351" y="78"/>
                      <a:pt x="351" y="78"/>
                      <a:pt x="351" y="78"/>
                    </a:cubicBezTo>
                    <a:cubicBezTo>
                      <a:pt x="350" y="78"/>
                      <a:pt x="349" y="77"/>
                      <a:pt x="348" y="77"/>
                    </a:cubicBezTo>
                    <a:cubicBezTo>
                      <a:pt x="348" y="77"/>
                      <a:pt x="348" y="77"/>
                      <a:pt x="348" y="77"/>
                    </a:cubicBezTo>
                    <a:cubicBezTo>
                      <a:pt x="347" y="76"/>
                      <a:pt x="347" y="76"/>
                      <a:pt x="346" y="76"/>
                    </a:cubicBezTo>
                    <a:cubicBezTo>
                      <a:pt x="346" y="75"/>
                      <a:pt x="346" y="75"/>
                      <a:pt x="346" y="75"/>
                    </a:cubicBezTo>
                    <a:cubicBezTo>
                      <a:pt x="345" y="74"/>
                      <a:pt x="345" y="74"/>
                      <a:pt x="345" y="74"/>
                    </a:cubicBezTo>
                    <a:cubicBezTo>
                      <a:pt x="345" y="71"/>
                      <a:pt x="346" y="69"/>
                      <a:pt x="347" y="69"/>
                    </a:cubicBezTo>
                    <a:cubicBezTo>
                      <a:pt x="347" y="68"/>
                      <a:pt x="347" y="68"/>
                      <a:pt x="348" y="68"/>
                    </a:cubicBezTo>
                    <a:cubicBezTo>
                      <a:pt x="348" y="67"/>
                      <a:pt x="348" y="66"/>
                      <a:pt x="348" y="65"/>
                    </a:cubicBezTo>
                    <a:cubicBezTo>
                      <a:pt x="348" y="62"/>
                      <a:pt x="348" y="62"/>
                      <a:pt x="348" y="62"/>
                    </a:cubicBezTo>
                    <a:cubicBezTo>
                      <a:pt x="348" y="59"/>
                      <a:pt x="347" y="55"/>
                      <a:pt x="349" y="51"/>
                    </a:cubicBezTo>
                    <a:cubicBezTo>
                      <a:pt x="350" y="51"/>
                      <a:pt x="350" y="51"/>
                      <a:pt x="350" y="51"/>
                    </a:cubicBezTo>
                    <a:cubicBezTo>
                      <a:pt x="350" y="50"/>
                      <a:pt x="350" y="50"/>
                      <a:pt x="350" y="50"/>
                    </a:cubicBezTo>
                    <a:cubicBezTo>
                      <a:pt x="348" y="49"/>
                      <a:pt x="348" y="49"/>
                      <a:pt x="348" y="49"/>
                    </a:cubicBezTo>
                    <a:cubicBezTo>
                      <a:pt x="348" y="48"/>
                      <a:pt x="348" y="48"/>
                      <a:pt x="348" y="48"/>
                    </a:cubicBezTo>
                    <a:cubicBezTo>
                      <a:pt x="345" y="45"/>
                      <a:pt x="343" y="43"/>
                      <a:pt x="339" y="41"/>
                    </a:cubicBezTo>
                    <a:cubicBezTo>
                      <a:pt x="268" y="0"/>
                      <a:pt x="268" y="0"/>
                      <a:pt x="2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238"/>
              <p:cNvSpPr/>
              <p:nvPr/>
            </p:nvSpPr>
            <p:spPr bwMode="auto">
              <a:xfrm>
                <a:off x="7513951" y="5815113"/>
                <a:ext cx="364826" cy="390622"/>
              </a:xfrm>
              <a:custGeom>
                <a:gdLst>
                  <a:gd name="T0" fmla="*/ 92 w 115"/>
                  <a:gd name="T1" fmla="*/ 8 h 123"/>
                  <a:gd name="T2" fmla="*/ 88 w 115"/>
                  <a:gd name="T3" fmla="*/ 10 h 123"/>
                  <a:gd name="T4" fmla="*/ 84 w 115"/>
                  <a:gd name="T5" fmla="*/ 13 h 123"/>
                  <a:gd name="T6" fmla="*/ 71 w 115"/>
                  <a:gd name="T7" fmla="*/ 20 h 123"/>
                  <a:gd name="T8" fmla="*/ 66 w 115"/>
                  <a:gd name="T9" fmla="*/ 23 h 123"/>
                  <a:gd name="T10" fmla="*/ 62 w 115"/>
                  <a:gd name="T11" fmla="*/ 26 h 123"/>
                  <a:gd name="T12" fmla="*/ 58 w 115"/>
                  <a:gd name="T13" fmla="*/ 29 h 123"/>
                  <a:gd name="T14" fmla="*/ 56 w 115"/>
                  <a:gd name="T15" fmla="*/ 30 h 123"/>
                  <a:gd name="T16" fmla="*/ 54 w 115"/>
                  <a:gd name="T17" fmla="*/ 31 h 123"/>
                  <a:gd name="T18" fmla="*/ 52 w 115"/>
                  <a:gd name="T19" fmla="*/ 32 h 123"/>
                  <a:gd name="T20" fmla="*/ 50 w 115"/>
                  <a:gd name="T21" fmla="*/ 32 h 123"/>
                  <a:gd name="T22" fmla="*/ 49 w 115"/>
                  <a:gd name="T23" fmla="*/ 32 h 123"/>
                  <a:gd name="T24" fmla="*/ 46 w 115"/>
                  <a:gd name="T25" fmla="*/ 31 h 123"/>
                  <a:gd name="T26" fmla="*/ 41 w 115"/>
                  <a:gd name="T27" fmla="*/ 30 h 123"/>
                  <a:gd name="T28" fmla="*/ 36 w 115"/>
                  <a:gd name="T29" fmla="*/ 28 h 123"/>
                  <a:gd name="T30" fmla="*/ 29 w 115"/>
                  <a:gd name="T31" fmla="*/ 25 h 123"/>
                  <a:gd name="T32" fmla="*/ 25 w 115"/>
                  <a:gd name="T33" fmla="*/ 22 h 123"/>
                  <a:gd name="T34" fmla="*/ 23 w 115"/>
                  <a:gd name="T35" fmla="*/ 20 h 123"/>
                  <a:gd name="T36" fmla="*/ 22 w 115"/>
                  <a:gd name="T37" fmla="*/ 20 h 123"/>
                  <a:gd name="T38" fmla="*/ 21 w 115"/>
                  <a:gd name="T39" fmla="*/ 20 h 123"/>
                  <a:gd name="T40" fmla="*/ 20 w 115"/>
                  <a:gd name="T41" fmla="*/ 22 h 123"/>
                  <a:gd name="T42" fmla="*/ 20 w 115"/>
                  <a:gd name="T43" fmla="*/ 28 h 123"/>
                  <a:gd name="T44" fmla="*/ 15 w 115"/>
                  <a:gd name="T45" fmla="*/ 43 h 123"/>
                  <a:gd name="T46" fmla="*/ 14 w 115"/>
                  <a:gd name="T47" fmla="*/ 52 h 123"/>
                  <a:gd name="T48" fmla="*/ 16 w 115"/>
                  <a:gd name="T49" fmla="*/ 58 h 123"/>
                  <a:gd name="T50" fmla="*/ 13 w 115"/>
                  <a:gd name="T51" fmla="*/ 73 h 123"/>
                  <a:gd name="T52" fmla="*/ 10 w 115"/>
                  <a:gd name="T53" fmla="*/ 83 h 123"/>
                  <a:gd name="T54" fmla="*/ 3 w 115"/>
                  <a:gd name="T55" fmla="*/ 115 h 123"/>
                  <a:gd name="T56" fmla="*/ 0 w 115"/>
                  <a:gd name="T57" fmla="*/ 116 h 123"/>
                  <a:gd name="T58" fmla="*/ 1 w 115"/>
                  <a:gd name="T59" fmla="*/ 118 h 123"/>
                  <a:gd name="T60" fmla="*/ 2 w 115"/>
                  <a:gd name="T61" fmla="*/ 118 h 123"/>
                  <a:gd name="T62" fmla="*/ 21 w 115"/>
                  <a:gd name="T63" fmla="*/ 121 h 123"/>
                  <a:gd name="T64" fmla="*/ 24 w 115"/>
                  <a:gd name="T65" fmla="*/ 122 h 123"/>
                  <a:gd name="T66" fmla="*/ 33 w 115"/>
                  <a:gd name="T67" fmla="*/ 118 h 123"/>
                  <a:gd name="T68" fmla="*/ 35 w 115"/>
                  <a:gd name="T69" fmla="*/ 116 h 123"/>
                  <a:gd name="T70" fmla="*/ 40 w 115"/>
                  <a:gd name="T71" fmla="*/ 110 h 123"/>
                  <a:gd name="T72" fmla="*/ 55 w 115"/>
                  <a:gd name="T73" fmla="*/ 100 h 123"/>
                  <a:gd name="T74" fmla="*/ 59 w 115"/>
                  <a:gd name="T75" fmla="*/ 100 h 123"/>
                  <a:gd name="T76" fmla="*/ 63 w 115"/>
                  <a:gd name="T77" fmla="*/ 99 h 123"/>
                  <a:gd name="T78" fmla="*/ 70 w 115"/>
                  <a:gd name="T79" fmla="*/ 97 h 123"/>
                  <a:gd name="T80" fmla="*/ 81 w 115"/>
                  <a:gd name="T81" fmla="*/ 85 h 123"/>
                  <a:gd name="T82" fmla="*/ 78 w 115"/>
                  <a:gd name="T83" fmla="*/ 82 h 123"/>
                  <a:gd name="T84" fmla="*/ 76 w 115"/>
                  <a:gd name="T85" fmla="*/ 80 h 123"/>
                  <a:gd name="T86" fmla="*/ 50 w 115"/>
                  <a:gd name="T87" fmla="*/ 52 h 123"/>
                  <a:gd name="T88" fmla="*/ 64 w 115"/>
                  <a:gd name="T89" fmla="*/ 48 h 123"/>
                  <a:gd name="T90" fmla="*/ 93 w 115"/>
                  <a:gd name="T91" fmla="*/ 40 h 123"/>
                  <a:gd name="T92" fmla="*/ 100 w 115"/>
                  <a:gd name="T93" fmla="*/ 37 h 123"/>
                  <a:gd name="T94" fmla="*/ 103 w 115"/>
                  <a:gd name="T95" fmla="*/ 35 h 123"/>
                  <a:gd name="T96" fmla="*/ 113 w 115"/>
                  <a:gd name="T97" fmla="*/ 31 h 123"/>
                  <a:gd name="T98" fmla="*/ 112 w 115"/>
                  <a:gd name="T99" fmla="*/ 30 h 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123">
                    <a:moveTo>
                      <a:pt x="105" y="0"/>
                    </a:moveTo>
                    <a:cubicBezTo>
                      <a:pt x="102" y="2"/>
                      <a:pt x="97" y="5"/>
                      <a:pt x="92" y="8"/>
                    </a:cubicBezTo>
                    <a:cubicBezTo>
                      <a:pt x="91" y="8"/>
                      <a:pt x="91" y="8"/>
                      <a:pt x="91" y="8"/>
                    </a:cubicBezTo>
                    <a:cubicBezTo>
                      <a:pt x="90" y="9"/>
                      <a:pt x="89" y="10"/>
                      <a:pt x="88" y="10"/>
                    </a:cubicBezTo>
                    <a:cubicBezTo>
                      <a:pt x="87" y="11"/>
                      <a:pt x="86" y="11"/>
                      <a:pt x="85" y="12"/>
                    </a:cubicBezTo>
                    <a:cubicBezTo>
                      <a:pt x="84" y="12"/>
                      <a:pt x="84" y="12"/>
                      <a:pt x="84" y="13"/>
                    </a:cubicBezTo>
                    <a:cubicBezTo>
                      <a:pt x="82" y="14"/>
                      <a:pt x="80" y="15"/>
                      <a:pt x="78" y="16"/>
                    </a:cubicBezTo>
                    <a:cubicBezTo>
                      <a:pt x="71" y="20"/>
                      <a:pt x="71" y="20"/>
                      <a:pt x="71" y="20"/>
                    </a:cubicBezTo>
                    <a:cubicBezTo>
                      <a:pt x="69" y="21"/>
                      <a:pt x="68" y="22"/>
                      <a:pt x="66" y="23"/>
                    </a:cubicBezTo>
                    <a:cubicBezTo>
                      <a:pt x="66" y="23"/>
                      <a:pt x="66" y="23"/>
                      <a:pt x="66" y="23"/>
                    </a:cubicBezTo>
                    <a:cubicBezTo>
                      <a:pt x="65" y="24"/>
                      <a:pt x="65" y="24"/>
                      <a:pt x="65" y="24"/>
                    </a:cubicBezTo>
                    <a:cubicBezTo>
                      <a:pt x="64" y="25"/>
                      <a:pt x="63" y="25"/>
                      <a:pt x="62" y="26"/>
                    </a:cubicBezTo>
                    <a:cubicBezTo>
                      <a:pt x="61" y="27"/>
                      <a:pt x="60" y="27"/>
                      <a:pt x="59" y="28"/>
                    </a:cubicBezTo>
                    <a:cubicBezTo>
                      <a:pt x="58" y="29"/>
                      <a:pt x="58" y="29"/>
                      <a:pt x="58" y="29"/>
                    </a:cubicBezTo>
                    <a:cubicBezTo>
                      <a:pt x="58" y="29"/>
                      <a:pt x="57" y="29"/>
                      <a:pt x="57" y="30"/>
                    </a:cubicBezTo>
                    <a:cubicBezTo>
                      <a:pt x="56" y="30"/>
                      <a:pt x="56" y="30"/>
                      <a:pt x="56" y="30"/>
                    </a:cubicBezTo>
                    <a:cubicBezTo>
                      <a:pt x="56" y="30"/>
                      <a:pt x="55" y="31"/>
                      <a:pt x="55" y="31"/>
                    </a:cubicBezTo>
                    <a:cubicBezTo>
                      <a:pt x="54" y="31"/>
                      <a:pt x="54" y="31"/>
                      <a:pt x="54" y="31"/>
                    </a:cubicBezTo>
                    <a:cubicBezTo>
                      <a:pt x="53" y="31"/>
                      <a:pt x="53" y="32"/>
                      <a:pt x="52" y="32"/>
                    </a:cubicBezTo>
                    <a:cubicBezTo>
                      <a:pt x="52" y="32"/>
                      <a:pt x="52" y="32"/>
                      <a:pt x="52" y="32"/>
                    </a:cubicBezTo>
                    <a:cubicBezTo>
                      <a:pt x="51" y="32"/>
                      <a:pt x="51" y="32"/>
                      <a:pt x="51" y="32"/>
                    </a:cubicBezTo>
                    <a:cubicBezTo>
                      <a:pt x="51" y="32"/>
                      <a:pt x="51" y="32"/>
                      <a:pt x="50" y="32"/>
                    </a:cubicBezTo>
                    <a:cubicBezTo>
                      <a:pt x="50" y="32"/>
                      <a:pt x="50" y="32"/>
                      <a:pt x="50" y="32"/>
                    </a:cubicBezTo>
                    <a:cubicBezTo>
                      <a:pt x="49" y="32"/>
                      <a:pt x="49" y="32"/>
                      <a:pt x="49" y="32"/>
                    </a:cubicBezTo>
                    <a:cubicBezTo>
                      <a:pt x="48" y="32"/>
                      <a:pt x="47" y="31"/>
                      <a:pt x="46" y="31"/>
                    </a:cubicBezTo>
                    <a:cubicBezTo>
                      <a:pt x="46" y="31"/>
                      <a:pt x="46" y="31"/>
                      <a:pt x="46" y="31"/>
                    </a:cubicBezTo>
                    <a:cubicBezTo>
                      <a:pt x="44" y="31"/>
                      <a:pt x="43" y="30"/>
                      <a:pt x="42" y="30"/>
                    </a:cubicBezTo>
                    <a:cubicBezTo>
                      <a:pt x="41" y="30"/>
                      <a:pt x="41" y="30"/>
                      <a:pt x="41" y="30"/>
                    </a:cubicBezTo>
                    <a:cubicBezTo>
                      <a:pt x="40" y="29"/>
                      <a:pt x="38" y="29"/>
                      <a:pt x="37" y="28"/>
                    </a:cubicBezTo>
                    <a:cubicBezTo>
                      <a:pt x="36" y="28"/>
                      <a:pt x="36" y="28"/>
                      <a:pt x="36" y="28"/>
                    </a:cubicBezTo>
                    <a:cubicBezTo>
                      <a:pt x="34" y="27"/>
                      <a:pt x="32" y="26"/>
                      <a:pt x="30" y="25"/>
                    </a:cubicBezTo>
                    <a:cubicBezTo>
                      <a:pt x="29" y="25"/>
                      <a:pt x="29" y="25"/>
                      <a:pt x="29" y="25"/>
                    </a:cubicBezTo>
                    <a:cubicBezTo>
                      <a:pt x="28" y="24"/>
                      <a:pt x="27" y="23"/>
                      <a:pt x="26" y="22"/>
                    </a:cubicBezTo>
                    <a:cubicBezTo>
                      <a:pt x="25" y="22"/>
                      <a:pt x="25" y="22"/>
                      <a:pt x="25" y="22"/>
                    </a:cubicBezTo>
                    <a:cubicBezTo>
                      <a:pt x="24" y="21"/>
                      <a:pt x="24" y="21"/>
                      <a:pt x="24" y="21"/>
                    </a:cubicBezTo>
                    <a:cubicBezTo>
                      <a:pt x="24" y="21"/>
                      <a:pt x="23" y="21"/>
                      <a:pt x="23" y="20"/>
                    </a:cubicBezTo>
                    <a:cubicBezTo>
                      <a:pt x="22" y="20"/>
                      <a:pt x="22" y="20"/>
                      <a:pt x="22" y="20"/>
                    </a:cubicBezTo>
                    <a:cubicBezTo>
                      <a:pt x="22" y="20"/>
                      <a:pt x="22" y="20"/>
                      <a:pt x="22" y="20"/>
                    </a:cubicBezTo>
                    <a:cubicBezTo>
                      <a:pt x="21" y="20"/>
                      <a:pt x="21" y="20"/>
                      <a:pt x="21" y="20"/>
                    </a:cubicBezTo>
                    <a:cubicBezTo>
                      <a:pt x="21" y="20"/>
                      <a:pt x="21" y="20"/>
                      <a:pt x="21" y="20"/>
                    </a:cubicBezTo>
                    <a:cubicBezTo>
                      <a:pt x="21" y="20"/>
                      <a:pt x="21" y="20"/>
                      <a:pt x="21" y="20"/>
                    </a:cubicBezTo>
                    <a:cubicBezTo>
                      <a:pt x="20" y="22"/>
                      <a:pt x="20" y="22"/>
                      <a:pt x="20" y="22"/>
                    </a:cubicBezTo>
                    <a:cubicBezTo>
                      <a:pt x="20" y="23"/>
                      <a:pt x="20" y="25"/>
                      <a:pt x="20" y="27"/>
                    </a:cubicBezTo>
                    <a:cubicBezTo>
                      <a:pt x="20" y="28"/>
                      <a:pt x="20" y="28"/>
                      <a:pt x="20" y="28"/>
                    </a:cubicBezTo>
                    <a:cubicBezTo>
                      <a:pt x="16" y="28"/>
                      <a:pt x="16" y="28"/>
                      <a:pt x="16" y="28"/>
                    </a:cubicBezTo>
                    <a:cubicBezTo>
                      <a:pt x="16" y="33"/>
                      <a:pt x="15" y="38"/>
                      <a:pt x="15" y="43"/>
                    </a:cubicBezTo>
                    <a:cubicBezTo>
                      <a:pt x="15" y="43"/>
                      <a:pt x="15" y="43"/>
                      <a:pt x="15" y="43"/>
                    </a:cubicBezTo>
                    <a:cubicBezTo>
                      <a:pt x="15" y="46"/>
                      <a:pt x="14" y="49"/>
                      <a:pt x="14" y="52"/>
                    </a:cubicBezTo>
                    <a:cubicBezTo>
                      <a:pt x="17" y="52"/>
                      <a:pt x="17" y="52"/>
                      <a:pt x="17" y="52"/>
                    </a:cubicBezTo>
                    <a:cubicBezTo>
                      <a:pt x="16" y="58"/>
                      <a:pt x="16" y="58"/>
                      <a:pt x="16" y="58"/>
                    </a:cubicBezTo>
                    <a:cubicBezTo>
                      <a:pt x="16" y="62"/>
                      <a:pt x="15" y="65"/>
                      <a:pt x="14" y="68"/>
                    </a:cubicBezTo>
                    <a:cubicBezTo>
                      <a:pt x="14" y="70"/>
                      <a:pt x="14" y="72"/>
                      <a:pt x="13" y="73"/>
                    </a:cubicBezTo>
                    <a:cubicBezTo>
                      <a:pt x="13" y="76"/>
                      <a:pt x="13" y="76"/>
                      <a:pt x="13" y="76"/>
                    </a:cubicBezTo>
                    <a:cubicBezTo>
                      <a:pt x="12" y="78"/>
                      <a:pt x="11" y="81"/>
                      <a:pt x="10" y="83"/>
                    </a:cubicBezTo>
                    <a:cubicBezTo>
                      <a:pt x="9" y="91"/>
                      <a:pt x="9" y="91"/>
                      <a:pt x="9" y="91"/>
                    </a:cubicBezTo>
                    <a:cubicBezTo>
                      <a:pt x="7" y="98"/>
                      <a:pt x="4" y="107"/>
                      <a:pt x="3" y="115"/>
                    </a:cubicBezTo>
                    <a:cubicBezTo>
                      <a:pt x="3" y="117"/>
                      <a:pt x="3" y="117"/>
                      <a:pt x="3" y="117"/>
                    </a:cubicBezTo>
                    <a:cubicBezTo>
                      <a:pt x="0" y="116"/>
                      <a:pt x="0" y="116"/>
                      <a:pt x="0" y="116"/>
                    </a:cubicBezTo>
                    <a:cubicBezTo>
                      <a:pt x="0" y="118"/>
                      <a:pt x="0" y="118"/>
                      <a:pt x="0" y="118"/>
                    </a:cubicBezTo>
                    <a:cubicBezTo>
                      <a:pt x="1" y="118"/>
                      <a:pt x="1" y="118"/>
                      <a:pt x="1" y="118"/>
                    </a:cubicBezTo>
                    <a:cubicBezTo>
                      <a:pt x="1" y="118"/>
                      <a:pt x="1" y="118"/>
                      <a:pt x="1" y="118"/>
                    </a:cubicBezTo>
                    <a:cubicBezTo>
                      <a:pt x="2" y="118"/>
                      <a:pt x="2" y="118"/>
                      <a:pt x="2" y="118"/>
                    </a:cubicBezTo>
                    <a:cubicBezTo>
                      <a:pt x="2" y="118"/>
                      <a:pt x="3" y="118"/>
                      <a:pt x="3" y="118"/>
                    </a:cubicBezTo>
                    <a:cubicBezTo>
                      <a:pt x="21" y="121"/>
                      <a:pt x="21" y="121"/>
                      <a:pt x="21" y="121"/>
                    </a:cubicBezTo>
                    <a:cubicBezTo>
                      <a:pt x="22" y="121"/>
                      <a:pt x="22" y="121"/>
                      <a:pt x="23" y="121"/>
                    </a:cubicBezTo>
                    <a:cubicBezTo>
                      <a:pt x="24" y="122"/>
                      <a:pt x="24" y="122"/>
                      <a:pt x="24" y="122"/>
                    </a:cubicBezTo>
                    <a:cubicBezTo>
                      <a:pt x="27" y="122"/>
                      <a:pt x="28" y="123"/>
                      <a:pt x="29" y="123"/>
                    </a:cubicBezTo>
                    <a:cubicBezTo>
                      <a:pt x="30" y="122"/>
                      <a:pt x="31" y="121"/>
                      <a:pt x="33" y="118"/>
                    </a:cubicBezTo>
                    <a:cubicBezTo>
                      <a:pt x="34" y="117"/>
                      <a:pt x="34" y="117"/>
                      <a:pt x="34" y="117"/>
                    </a:cubicBezTo>
                    <a:cubicBezTo>
                      <a:pt x="34" y="117"/>
                      <a:pt x="34" y="116"/>
                      <a:pt x="35" y="116"/>
                    </a:cubicBezTo>
                    <a:cubicBezTo>
                      <a:pt x="38" y="113"/>
                      <a:pt x="38" y="113"/>
                      <a:pt x="38" y="113"/>
                    </a:cubicBezTo>
                    <a:cubicBezTo>
                      <a:pt x="38" y="112"/>
                      <a:pt x="39" y="111"/>
                      <a:pt x="40" y="110"/>
                    </a:cubicBezTo>
                    <a:cubicBezTo>
                      <a:pt x="43" y="107"/>
                      <a:pt x="46" y="103"/>
                      <a:pt x="51" y="101"/>
                    </a:cubicBezTo>
                    <a:cubicBezTo>
                      <a:pt x="52" y="101"/>
                      <a:pt x="54" y="101"/>
                      <a:pt x="55" y="100"/>
                    </a:cubicBezTo>
                    <a:cubicBezTo>
                      <a:pt x="57" y="100"/>
                      <a:pt x="57" y="100"/>
                      <a:pt x="57" y="100"/>
                    </a:cubicBezTo>
                    <a:cubicBezTo>
                      <a:pt x="58" y="100"/>
                      <a:pt x="58" y="100"/>
                      <a:pt x="59" y="100"/>
                    </a:cubicBezTo>
                    <a:cubicBezTo>
                      <a:pt x="60" y="99"/>
                      <a:pt x="61" y="99"/>
                      <a:pt x="63" y="99"/>
                    </a:cubicBezTo>
                    <a:cubicBezTo>
                      <a:pt x="63" y="99"/>
                      <a:pt x="63" y="99"/>
                      <a:pt x="63" y="99"/>
                    </a:cubicBezTo>
                    <a:cubicBezTo>
                      <a:pt x="65" y="99"/>
                      <a:pt x="68" y="99"/>
                      <a:pt x="69" y="98"/>
                    </a:cubicBezTo>
                    <a:cubicBezTo>
                      <a:pt x="69" y="98"/>
                      <a:pt x="69" y="97"/>
                      <a:pt x="70" y="97"/>
                    </a:cubicBezTo>
                    <a:cubicBezTo>
                      <a:pt x="70" y="96"/>
                      <a:pt x="70" y="96"/>
                      <a:pt x="70" y="96"/>
                    </a:cubicBezTo>
                    <a:cubicBezTo>
                      <a:pt x="78" y="90"/>
                      <a:pt x="80" y="86"/>
                      <a:pt x="81" y="85"/>
                    </a:cubicBezTo>
                    <a:cubicBezTo>
                      <a:pt x="81" y="85"/>
                      <a:pt x="80" y="84"/>
                      <a:pt x="80" y="84"/>
                    </a:cubicBezTo>
                    <a:cubicBezTo>
                      <a:pt x="79" y="83"/>
                      <a:pt x="79" y="83"/>
                      <a:pt x="78" y="82"/>
                    </a:cubicBezTo>
                    <a:cubicBezTo>
                      <a:pt x="78" y="82"/>
                      <a:pt x="78" y="82"/>
                      <a:pt x="78" y="82"/>
                    </a:cubicBezTo>
                    <a:cubicBezTo>
                      <a:pt x="77" y="81"/>
                      <a:pt x="76" y="80"/>
                      <a:pt x="76" y="80"/>
                    </a:cubicBezTo>
                    <a:cubicBezTo>
                      <a:pt x="68" y="72"/>
                      <a:pt x="61" y="64"/>
                      <a:pt x="54" y="56"/>
                    </a:cubicBezTo>
                    <a:cubicBezTo>
                      <a:pt x="50" y="52"/>
                      <a:pt x="50" y="52"/>
                      <a:pt x="50" y="52"/>
                    </a:cubicBezTo>
                    <a:cubicBezTo>
                      <a:pt x="56" y="51"/>
                      <a:pt x="56" y="51"/>
                      <a:pt x="56" y="51"/>
                    </a:cubicBezTo>
                    <a:cubicBezTo>
                      <a:pt x="59" y="50"/>
                      <a:pt x="61" y="49"/>
                      <a:pt x="64" y="48"/>
                    </a:cubicBezTo>
                    <a:cubicBezTo>
                      <a:pt x="65" y="48"/>
                      <a:pt x="65" y="48"/>
                      <a:pt x="65" y="48"/>
                    </a:cubicBezTo>
                    <a:cubicBezTo>
                      <a:pt x="74" y="45"/>
                      <a:pt x="84" y="43"/>
                      <a:pt x="93" y="40"/>
                    </a:cubicBezTo>
                    <a:cubicBezTo>
                      <a:pt x="95" y="39"/>
                      <a:pt x="97" y="38"/>
                      <a:pt x="99" y="38"/>
                    </a:cubicBezTo>
                    <a:cubicBezTo>
                      <a:pt x="100" y="37"/>
                      <a:pt x="100" y="37"/>
                      <a:pt x="100" y="37"/>
                    </a:cubicBezTo>
                    <a:cubicBezTo>
                      <a:pt x="102" y="37"/>
                      <a:pt x="103" y="36"/>
                      <a:pt x="105" y="36"/>
                    </a:cubicBezTo>
                    <a:cubicBezTo>
                      <a:pt x="103" y="35"/>
                      <a:pt x="103" y="35"/>
                      <a:pt x="103" y="35"/>
                    </a:cubicBezTo>
                    <a:cubicBezTo>
                      <a:pt x="115" y="32"/>
                      <a:pt x="115" y="32"/>
                      <a:pt x="115" y="32"/>
                    </a:cubicBezTo>
                    <a:cubicBezTo>
                      <a:pt x="114" y="31"/>
                      <a:pt x="113" y="31"/>
                      <a:pt x="113" y="31"/>
                    </a:cubicBezTo>
                    <a:cubicBezTo>
                      <a:pt x="112" y="30"/>
                      <a:pt x="112" y="30"/>
                      <a:pt x="112" y="30"/>
                    </a:cubicBezTo>
                    <a:cubicBezTo>
                      <a:pt x="112" y="30"/>
                      <a:pt x="112" y="30"/>
                      <a:pt x="112" y="30"/>
                    </a:cubicBezTo>
                    <a:cubicBezTo>
                      <a:pt x="105" y="0"/>
                      <a:pt x="105" y="0"/>
                      <a:pt x="1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239"/>
              <p:cNvSpPr/>
              <p:nvPr/>
            </p:nvSpPr>
            <p:spPr bwMode="auto">
              <a:xfrm>
                <a:off x="7871407" y="5398695"/>
                <a:ext cx="869687" cy="818096"/>
              </a:xfrm>
              <a:custGeom>
                <a:gdLst>
                  <a:gd name="T0" fmla="*/ 101 w 274"/>
                  <a:gd name="T1" fmla="*/ 8 h 258"/>
                  <a:gd name="T2" fmla="*/ 86 w 274"/>
                  <a:gd name="T3" fmla="*/ 23 h 258"/>
                  <a:gd name="T4" fmla="*/ 75 w 274"/>
                  <a:gd name="T5" fmla="*/ 27 h 258"/>
                  <a:gd name="T6" fmla="*/ 70 w 274"/>
                  <a:gd name="T7" fmla="*/ 47 h 258"/>
                  <a:gd name="T8" fmla="*/ 69 w 274"/>
                  <a:gd name="T9" fmla="*/ 63 h 258"/>
                  <a:gd name="T10" fmla="*/ 68 w 274"/>
                  <a:gd name="T11" fmla="*/ 77 h 258"/>
                  <a:gd name="T12" fmla="*/ 52 w 274"/>
                  <a:gd name="T13" fmla="*/ 99 h 258"/>
                  <a:gd name="T14" fmla="*/ 40 w 274"/>
                  <a:gd name="T15" fmla="*/ 104 h 258"/>
                  <a:gd name="T16" fmla="*/ 0 w 274"/>
                  <a:gd name="T17" fmla="*/ 128 h 258"/>
                  <a:gd name="T18" fmla="*/ 11 w 274"/>
                  <a:gd name="T19" fmla="*/ 158 h 258"/>
                  <a:gd name="T20" fmla="*/ 42 w 274"/>
                  <a:gd name="T21" fmla="*/ 168 h 258"/>
                  <a:gd name="T22" fmla="*/ 84 w 274"/>
                  <a:gd name="T23" fmla="*/ 191 h 258"/>
                  <a:gd name="T24" fmla="*/ 131 w 274"/>
                  <a:gd name="T25" fmla="*/ 226 h 258"/>
                  <a:gd name="T26" fmla="*/ 168 w 274"/>
                  <a:gd name="T27" fmla="*/ 253 h 258"/>
                  <a:gd name="T28" fmla="*/ 210 w 274"/>
                  <a:gd name="T29" fmla="*/ 257 h 258"/>
                  <a:gd name="T30" fmla="*/ 214 w 274"/>
                  <a:gd name="T31" fmla="*/ 257 h 258"/>
                  <a:gd name="T32" fmla="*/ 225 w 274"/>
                  <a:gd name="T33" fmla="*/ 238 h 258"/>
                  <a:gd name="T34" fmla="*/ 252 w 274"/>
                  <a:gd name="T35" fmla="*/ 226 h 258"/>
                  <a:gd name="T36" fmla="*/ 266 w 274"/>
                  <a:gd name="T37" fmla="*/ 231 h 258"/>
                  <a:gd name="T38" fmla="*/ 267 w 274"/>
                  <a:gd name="T39" fmla="*/ 232 h 258"/>
                  <a:gd name="T40" fmla="*/ 273 w 274"/>
                  <a:gd name="T41" fmla="*/ 235 h 258"/>
                  <a:gd name="T42" fmla="*/ 262 w 274"/>
                  <a:gd name="T43" fmla="*/ 223 h 258"/>
                  <a:gd name="T44" fmla="*/ 255 w 274"/>
                  <a:gd name="T45" fmla="*/ 211 h 258"/>
                  <a:gd name="T46" fmla="*/ 252 w 274"/>
                  <a:gd name="T47" fmla="*/ 204 h 258"/>
                  <a:gd name="T48" fmla="*/ 245 w 274"/>
                  <a:gd name="T49" fmla="*/ 201 h 258"/>
                  <a:gd name="T50" fmla="*/ 248 w 274"/>
                  <a:gd name="T51" fmla="*/ 181 h 258"/>
                  <a:gd name="T52" fmla="*/ 250 w 274"/>
                  <a:gd name="T53" fmla="*/ 177 h 258"/>
                  <a:gd name="T54" fmla="*/ 243 w 274"/>
                  <a:gd name="T55" fmla="*/ 167 h 258"/>
                  <a:gd name="T56" fmla="*/ 238 w 274"/>
                  <a:gd name="T57" fmla="*/ 158 h 258"/>
                  <a:gd name="T58" fmla="*/ 233 w 274"/>
                  <a:gd name="T59" fmla="*/ 158 h 258"/>
                  <a:gd name="T60" fmla="*/ 211 w 274"/>
                  <a:gd name="T61" fmla="*/ 143 h 258"/>
                  <a:gd name="T62" fmla="*/ 201 w 274"/>
                  <a:gd name="T63" fmla="*/ 140 h 258"/>
                  <a:gd name="T64" fmla="*/ 197 w 274"/>
                  <a:gd name="T65" fmla="*/ 127 h 258"/>
                  <a:gd name="T66" fmla="*/ 195 w 274"/>
                  <a:gd name="T67" fmla="*/ 122 h 258"/>
                  <a:gd name="T68" fmla="*/ 183 w 274"/>
                  <a:gd name="T69" fmla="*/ 112 h 258"/>
                  <a:gd name="T70" fmla="*/ 184 w 274"/>
                  <a:gd name="T71" fmla="*/ 98 h 258"/>
                  <a:gd name="T72" fmla="*/ 184 w 274"/>
                  <a:gd name="T73" fmla="*/ 95 h 258"/>
                  <a:gd name="T74" fmla="*/ 190 w 274"/>
                  <a:gd name="T75" fmla="*/ 84 h 258"/>
                  <a:gd name="T76" fmla="*/ 202 w 274"/>
                  <a:gd name="T77" fmla="*/ 68 h 258"/>
                  <a:gd name="T78" fmla="*/ 200 w 274"/>
                  <a:gd name="T79" fmla="*/ 64 h 258"/>
                  <a:gd name="T80" fmla="*/ 198 w 274"/>
                  <a:gd name="T81" fmla="*/ 55 h 258"/>
                  <a:gd name="T82" fmla="*/ 196 w 274"/>
                  <a:gd name="T83" fmla="*/ 51 h 258"/>
                  <a:gd name="T84" fmla="*/ 187 w 274"/>
                  <a:gd name="T85" fmla="*/ 45 h 258"/>
                  <a:gd name="T86" fmla="*/ 183 w 274"/>
                  <a:gd name="T87" fmla="*/ 45 h 258"/>
                  <a:gd name="T88" fmla="*/ 176 w 274"/>
                  <a:gd name="T89" fmla="*/ 31 h 258"/>
                  <a:gd name="T90" fmla="*/ 171 w 274"/>
                  <a:gd name="T91" fmla="*/ 27 h 258"/>
                  <a:gd name="T92" fmla="*/ 169 w 274"/>
                  <a:gd name="T93" fmla="*/ 20 h 258"/>
                  <a:gd name="T94" fmla="*/ 166 w 274"/>
                  <a:gd name="T95" fmla="*/ 11 h 258"/>
                  <a:gd name="T96" fmla="*/ 161 w 274"/>
                  <a:gd name="T97" fmla="*/ 10 h 258"/>
                  <a:gd name="T98" fmla="*/ 153 w 274"/>
                  <a:gd name="T99" fmla="*/ 12 h 258"/>
                  <a:gd name="T100" fmla="*/ 147 w 274"/>
                  <a:gd name="T101" fmla="*/ 5 h 258"/>
                  <a:gd name="T102" fmla="*/ 139 w 274"/>
                  <a:gd name="T103" fmla="*/ 3 h 258"/>
                  <a:gd name="T104" fmla="*/ 118 w 274"/>
                  <a:gd name="T105" fmla="*/ 0 h 2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4" h="258">
                    <a:moveTo>
                      <a:pt x="115" y="0"/>
                    </a:moveTo>
                    <a:cubicBezTo>
                      <a:pt x="110" y="0"/>
                      <a:pt x="108" y="2"/>
                      <a:pt x="103" y="5"/>
                    </a:cubicBezTo>
                    <a:cubicBezTo>
                      <a:pt x="101" y="7"/>
                      <a:pt x="101" y="7"/>
                      <a:pt x="101" y="7"/>
                    </a:cubicBezTo>
                    <a:cubicBezTo>
                      <a:pt x="101" y="8"/>
                      <a:pt x="101" y="8"/>
                      <a:pt x="101" y="8"/>
                    </a:cubicBezTo>
                    <a:cubicBezTo>
                      <a:pt x="100" y="9"/>
                      <a:pt x="100" y="9"/>
                      <a:pt x="99" y="10"/>
                    </a:cubicBezTo>
                    <a:cubicBezTo>
                      <a:pt x="99" y="11"/>
                      <a:pt x="99" y="11"/>
                      <a:pt x="99" y="11"/>
                    </a:cubicBezTo>
                    <a:cubicBezTo>
                      <a:pt x="96" y="13"/>
                      <a:pt x="96" y="13"/>
                      <a:pt x="96" y="13"/>
                    </a:cubicBezTo>
                    <a:cubicBezTo>
                      <a:pt x="92" y="17"/>
                      <a:pt x="89" y="20"/>
                      <a:pt x="86" y="23"/>
                    </a:cubicBezTo>
                    <a:cubicBezTo>
                      <a:pt x="84" y="24"/>
                      <a:pt x="83" y="25"/>
                      <a:pt x="81" y="26"/>
                    </a:cubicBezTo>
                    <a:cubicBezTo>
                      <a:pt x="83" y="33"/>
                      <a:pt x="83" y="33"/>
                      <a:pt x="83" y="33"/>
                    </a:cubicBezTo>
                    <a:cubicBezTo>
                      <a:pt x="79" y="26"/>
                      <a:pt x="79" y="26"/>
                      <a:pt x="79" y="26"/>
                    </a:cubicBezTo>
                    <a:cubicBezTo>
                      <a:pt x="75" y="27"/>
                      <a:pt x="75" y="27"/>
                      <a:pt x="75" y="27"/>
                    </a:cubicBezTo>
                    <a:cubicBezTo>
                      <a:pt x="75" y="27"/>
                      <a:pt x="74" y="27"/>
                      <a:pt x="74" y="27"/>
                    </a:cubicBezTo>
                    <a:cubicBezTo>
                      <a:pt x="73" y="28"/>
                      <a:pt x="72" y="28"/>
                      <a:pt x="72" y="28"/>
                    </a:cubicBezTo>
                    <a:cubicBezTo>
                      <a:pt x="72" y="28"/>
                      <a:pt x="72" y="29"/>
                      <a:pt x="71" y="30"/>
                    </a:cubicBezTo>
                    <a:cubicBezTo>
                      <a:pt x="69" y="35"/>
                      <a:pt x="70" y="41"/>
                      <a:pt x="70" y="47"/>
                    </a:cubicBezTo>
                    <a:cubicBezTo>
                      <a:pt x="71" y="48"/>
                      <a:pt x="71" y="48"/>
                      <a:pt x="71" y="48"/>
                    </a:cubicBezTo>
                    <a:cubicBezTo>
                      <a:pt x="71" y="50"/>
                      <a:pt x="71" y="53"/>
                      <a:pt x="71" y="56"/>
                    </a:cubicBezTo>
                    <a:cubicBezTo>
                      <a:pt x="71" y="59"/>
                      <a:pt x="70" y="61"/>
                      <a:pt x="70" y="62"/>
                    </a:cubicBezTo>
                    <a:cubicBezTo>
                      <a:pt x="69" y="63"/>
                      <a:pt x="69" y="63"/>
                      <a:pt x="69" y="63"/>
                    </a:cubicBezTo>
                    <a:cubicBezTo>
                      <a:pt x="69" y="66"/>
                      <a:pt x="68" y="69"/>
                      <a:pt x="68" y="72"/>
                    </a:cubicBezTo>
                    <a:cubicBezTo>
                      <a:pt x="68" y="73"/>
                      <a:pt x="68" y="74"/>
                      <a:pt x="68" y="76"/>
                    </a:cubicBezTo>
                    <a:cubicBezTo>
                      <a:pt x="68" y="77"/>
                      <a:pt x="68" y="77"/>
                      <a:pt x="68" y="77"/>
                    </a:cubicBezTo>
                    <a:cubicBezTo>
                      <a:pt x="68" y="77"/>
                      <a:pt x="68" y="77"/>
                      <a:pt x="68" y="77"/>
                    </a:cubicBezTo>
                    <a:cubicBezTo>
                      <a:pt x="68" y="79"/>
                      <a:pt x="68" y="82"/>
                      <a:pt x="67" y="84"/>
                    </a:cubicBezTo>
                    <a:cubicBezTo>
                      <a:pt x="66" y="87"/>
                      <a:pt x="64" y="91"/>
                      <a:pt x="62" y="94"/>
                    </a:cubicBezTo>
                    <a:cubicBezTo>
                      <a:pt x="60" y="96"/>
                      <a:pt x="57" y="97"/>
                      <a:pt x="55" y="98"/>
                    </a:cubicBezTo>
                    <a:cubicBezTo>
                      <a:pt x="54" y="98"/>
                      <a:pt x="53" y="98"/>
                      <a:pt x="52" y="99"/>
                    </a:cubicBezTo>
                    <a:cubicBezTo>
                      <a:pt x="50" y="99"/>
                      <a:pt x="49" y="100"/>
                      <a:pt x="47" y="101"/>
                    </a:cubicBezTo>
                    <a:cubicBezTo>
                      <a:pt x="42" y="104"/>
                      <a:pt x="42" y="104"/>
                      <a:pt x="42" y="104"/>
                    </a:cubicBezTo>
                    <a:cubicBezTo>
                      <a:pt x="44" y="107"/>
                      <a:pt x="44" y="107"/>
                      <a:pt x="44" y="107"/>
                    </a:cubicBezTo>
                    <a:cubicBezTo>
                      <a:pt x="40" y="104"/>
                      <a:pt x="40" y="104"/>
                      <a:pt x="40" y="104"/>
                    </a:cubicBezTo>
                    <a:cubicBezTo>
                      <a:pt x="35" y="108"/>
                      <a:pt x="35" y="108"/>
                      <a:pt x="35" y="108"/>
                    </a:cubicBezTo>
                    <a:cubicBezTo>
                      <a:pt x="31" y="110"/>
                      <a:pt x="26" y="112"/>
                      <a:pt x="22" y="115"/>
                    </a:cubicBezTo>
                    <a:cubicBezTo>
                      <a:pt x="16" y="118"/>
                      <a:pt x="10" y="122"/>
                      <a:pt x="4" y="125"/>
                    </a:cubicBezTo>
                    <a:cubicBezTo>
                      <a:pt x="0" y="128"/>
                      <a:pt x="0" y="128"/>
                      <a:pt x="0" y="128"/>
                    </a:cubicBezTo>
                    <a:cubicBezTo>
                      <a:pt x="0" y="128"/>
                      <a:pt x="0" y="128"/>
                      <a:pt x="0" y="128"/>
                    </a:cubicBezTo>
                    <a:cubicBezTo>
                      <a:pt x="6" y="156"/>
                      <a:pt x="6" y="156"/>
                      <a:pt x="6" y="156"/>
                    </a:cubicBezTo>
                    <a:cubicBezTo>
                      <a:pt x="7" y="157"/>
                      <a:pt x="9" y="157"/>
                      <a:pt x="10" y="158"/>
                    </a:cubicBezTo>
                    <a:cubicBezTo>
                      <a:pt x="10" y="158"/>
                      <a:pt x="11" y="158"/>
                      <a:pt x="11" y="158"/>
                    </a:cubicBezTo>
                    <a:cubicBezTo>
                      <a:pt x="12" y="159"/>
                      <a:pt x="12" y="159"/>
                      <a:pt x="12" y="159"/>
                    </a:cubicBezTo>
                    <a:cubicBezTo>
                      <a:pt x="16" y="162"/>
                      <a:pt x="16" y="162"/>
                      <a:pt x="16" y="162"/>
                    </a:cubicBezTo>
                    <a:cubicBezTo>
                      <a:pt x="14" y="163"/>
                      <a:pt x="14" y="163"/>
                      <a:pt x="14" y="163"/>
                    </a:cubicBezTo>
                    <a:cubicBezTo>
                      <a:pt x="42" y="168"/>
                      <a:pt x="42" y="168"/>
                      <a:pt x="42" y="168"/>
                    </a:cubicBezTo>
                    <a:cubicBezTo>
                      <a:pt x="45" y="168"/>
                      <a:pt x="48" y="170"/>
                      <a:pt x="51" y="172"/>
                    </a:cubicBezTo>
                    <a:cubicBezTo>
                      <a:pt x="52" y="173"/>
                      <a:pt x="52" y="174"/>
                      <a:pt x="53" y="174"/>
                    </a:cubicBezTo>
                    <a:cubicBezTo>
                      <a:pt x="61" y="179"/>
                      <a:pt x="69" y="183"/>
                      <a:pt x="76" y="187"/>
                    </a:cubicBezTo>
                    <a:cubicBezTo>
                      <a:pt x="79" y="188"/>
                      <a:pt x="81" y="190"/>
                      <a:pt x="84" y="191"/>
                    </a:cubicBezTo>
                    <a:cubicBezTo>
                      <a:pt x="91" y="195"/>
                      <a:pt x="91" y="195"/>
                      <a:pt x="91" y="195"/>
                    </a:cubicBezTo>
                    <a:cubicBezTo>
                      <a:pt x="98" y="199"/>
                      <a:pt x="105" y="205"/>
                      <a:pt x="111" y="211"/>
                    </a:cubicBezTo>
                    <a:cubicBezTo>
                      <a:pt x="115" y="214"/>
                      <a:pt x="119" y="217"/>
                      <a:pt x="122" y="220"/>
                    </a:cubicBezTo>
                    <a:cubicBezTo>
                      <a:pt x="125" y="222"/>
                      <a:pt x="128" y="224"/>
                      <a:pt x="131" y="226"/>
                    </a:cubicBezTo>
                    <a:cubicBezTo>
                      <a:pt x="143" y="235"/>
                      <a:pt x="143" y="235"/>
                      <a:pt x="143" y="235"/>
                    </a:cubicBezTo>
                    <a:cubicBezTo>
                      <a:pt x="146" y="238"/>
                      <a:pt x="149" y="240"/>
                      <a:pt x="152" y="243"/>
                    </a:cubicBezTo>
                    <a:cubicBezTo>
                      <a:pt x="156" y="246"/>
                      <a:pt x="161" y="249"/>
                      <a:pt x="165" y="253"/>
                    </a:cubicBezTo>
                    <a:cubicBezTo>
                      <a:pt x="166" y="253"/>
                      <a:pt x="167" y="253"/>
                      <a:pt x="168" y="253"/>
                    </a:cubicBezTo>
                    <a:cubicBezTo>
                      <a:pt x="170" y="254"/>
                      <a:pt x="170" y="254"/>
                      <a:pt x="170" y="254"/>
                    </a:cubicBezTo>
                    <a:cubicBezTo>
                      <a:pt x="208" y="257"/>
                      <a:pt x="208" y="257"/>
                      <a:pt x="208" y="257"/>
                    </a:cubicBezTo>
                    <a:cubicBezTo>
                      <a:pt x="208" y="257"/>
                      <a:pt x="209" y="257"/>
                      <a:pt x="209" y="257"/>
                    </a:cubicBezTo>
                    <a:cubicBezTo>
                      <a:pt x="210" y="257"/>
                      <a:pt x="210" y="257"/>
                      <a:pt x="210" y="257"/>
                    </a:cubicBezTo>
                    <a:cubicBezTo>
                      <a:pt x="211" y="257"/>
                      <a:pt x="211" y="258"/>
                      <a:pt x="212" y="258"/>
                    </a:cubicBezTo>
                    <a:cubicBezTo>
                      <a:pt x="212" y="258"/>
                      <a:pt x="212" y="258"/>
                      <a:pt x="212" y="258"/>
                    </a:cubicBezTo>
                    <a:cubicBezTo>
                      <a:pt x="212" y="257"/>
                      <a:pt x="212" y="257"/>
                      <a:pt x="212" y="257"/>
                    </a:cubicBezTo>
                    <a:cubicBezTo>
                      <a:pt x="213" y="257"/>
                      <a:pt x="214" y="257"/>
                      <a:pt x="214" y="257"/>
                    </a:cubicBezTo>
                    <a:cubicBezTo>
                      <a:pt x="215" y="256"/>
                      <a:pt x="215" y="256"/>
                      <a:pt x="215" y="256"/>
                    </a:cubicBezTo>
                    <a:cubicBezTo>
                      <a:pt x="218" y="251"/>
                      <a:pt x="220" y="246"/>
                      <a:pt x="223" y="242"/>
                    </a:cubicBezTo>
                    <a:cubicBezTo>
                      <a:pt x="224" y="241"/>
                      <a:pt x="224" y="240"/>
                      <a:pt x="225" y="239"/>
                    </a:cubicBezTo>
                    <a:cubicBezTo>
                      <a:pt x="225" y="238"/>
                      <a:pt x="225" y="238"/>
                      <a:pt x="225" y="238"/>
                    </a:cubicBezTo>
                    <a:cubicBezTo>
                      <a:pt x="227" y="235"/>
                      <a:pt x="229" y="230"/>
                      <a:pt x="233" y="228"/>
                    </a:cubicBezTo>
                    <a:cubicBezTo>
                      <a:pt x="235" y="226"/>
                      <a:pt x="237" y="226"/>
                      <a:pt x="240" y="225"/>
                    </a:cubicBezTo>
                    <a:cubicBezTo>
                      <a:pt x="241" y="225"/>
                      <a:pt x="242" y="225"/>
                      <a:pt x="244" y="225"/>
                    </a:cubicBezTo>
                    <a:cubicBezTo>
                      <a:pt x="246" y="225"/>
                      <a:pt x="249" y="225"/>
                      <a:pt x="252" y="226"/>
                    </a:cubicBezTo>
                    <a:cubicBezTo>
                      <a:pt x="252" y="223"/>
                      <a:pt x="252" y="223"/>
                      <a:pt x="252" y="223"/>
                    </a:cubicBezTo>
                    <a:cubicBezTo>
                      <a:pt x="258" y="227"/>
                      <a:pt x="258" y="227"/>
                      <a:pt x="258" y="227"/>
                    </a:cubicBezTo>
                    <a:cubicBezTo>
                      <a:pt x="261" y="229"/>
                      <a:pt x="264" y="230"/>
                      <a:pt x="266" y="231"/>
                    </a:cubicBezTo>
                    <a:cubicBezTo>
                      <a:pt x="266" y="231"/>
                      <a:pt x="266" y="231"/>
                      <a:pt x="266" y="231"/>
                    </a:cubicBezTo>
                    <a:cubicBezTo>
                      <a:pt x="266" y="231"/>
                      <a:pt x="266" y="231"/>
                      <a:pt x="266" y="231"/>
                    </a:cubicBezTo>
                    <a:cubicBezTo>
                      <a:pt x="266" y="231"/>
                      <a:pt x="266" y="231"/>
                      <a:pt x="266" y="231"/>
                    </a:cubicBezTo>
                    <a:cubicBezTo>
                      <a:pt x="267" y="232"/>
                      <a:pt x="267" y="232"/>
                      <a:pt x="267" y="232"/>
                    </a:cubicBezTo>
                    <a:cubicBezTo>
                      <a:pt x="267" y="232"/>
                      <a:pt x="267" y="232"/>
                      <a:pt x="267" y="232"/>
                    </a:cubicBezTo>
                    <a:cubicBezTo>
                      <a:pt x="269" y="235"/>
                      <a:pt x="269" y="235"/>
                      <a:pt x="269" y="235"/>
                    </a:cubicBezTo>
                    <a:cubicBezTo>
                      <a:pt x="270" y="235"/>
                      <a:pt x="271" y="235"/>
                      <a:pt x="273" y="236"/>
                    </a:cubicBezTo>
                    <a:cubicBezTo>
                      <a:pt x="274" y="236"/>
                      <a:pt x="274" y="236"/>
                      <a:pt x="274" y="236"/>
                    </a:cubicBezTo>
                    <a:cubicBezTo>
                      <a:pt x="273" y="235"/>
                      <a:pt x="273" y="235"/>
                      <a:pt x="273" y="235"/>
                    </a:cubicBezTo>
                    <a:cubicBezTo>
                      <a:pt x="270" y="233"/>
                      <a:pt x="267" y="230"/>
                      <a:pt x="266" y="229"/>
                    </a:cubicBezTo>
                    <a:cubicBezTo>
                      <a:pt x="266" y="228"/>
                      <a:pt x="266" y="228"/>
                      <a:pt x="266" y="228"/>
                    </a:cubicBezTo>
                    <a:cubicBezTo>
                      <a:pt x="265" y="227"/>
                      <a:pt x="265" y="227"/>
                      <a:pt x="265" y="227"/>
                    </a:cubicBezTo>
                    <a:cubicBezTo>
                      <a:pt x="264" y="225"/>
                      <a:pt x="263" y="224"/>
                      <a:pt x="262" y="223"/>
                    </a:cubicBezTo>
                    <a:cubicBezTo>
                      <a:pt x="261" y="222"/>
                      <a:pt x="260" y="222"/>
                      <a:pt x="259" y="221"/>
                    </a:cubicBezTo>
                    <a:cubicBezTo>
                      <a:pt x="257" y="220"/>
                      <a:pt x="256" y="218"/>
                      <a:pt x="255" y="217"/>
                    </a:cubicBezTo>
                    <a:cubicBezTo>
                      <a:pt x="255" y="216"/>
                      <a:pt x="255" y="216"/>
                      <a:pt x="255" y="216"/>
                    </a:cubicBezTo>
                    <a:cubicBezTo>
                      <a:pt x="255" y="214"/>
                      <a:pt x="255" y="213"/>
                      <a:pt x="255" y="211"/>
                    </a:cubicBezTo>
                    <a:cubicBezTo>
                      <a:pt x="255" y="211"/>
                      <a:pt x="255" y="211"/>
                      <a:pt x="255" y="211"/>
                    </a:cubicBezTo>
                    <a:cubicBezTo>
                      <a:pt x="255" y="209"/>
                      <a:pt x="256" y="206"/>
                      <a:pt x="255" y="204"/>
                    </a:cubicBezTo>
                    <a:cubicBezTo>
                      <a:pt x="255" y="204"/>
                      <a:pt x="255" y="204"/>
                      <a:pt x="255" y="204"/>
                    </a:cubicBezTo>
                    <a:cubicBezTo>
                      <a:pt x="255" y="204"/>
                      <a:pt x="253" y="204"/>
                      <a:pt x="252" y="204"/>
                    </a:cubicBezTo>
                    <a:cubicBezTo>
                      <a:pt x="250" y="204"/>
                      <a:pt x="250" y="204"/>
                      <a:pt x="250" y="204"/>
                    </a:cubicBezTo>
                    <a:cubicBezTo>
                      <a:pt x="249" y="204"/>
                      <a:pt x="249" y="204"/>
                      <a:pt x="249" y="204"/>
                    </a:cubicBezTo>
                    <a:cubicBezTo>
                      <a:pt x="245" y="204"/>
                      <a:pt x="245" y="204"/>
                      <a:pt x="245" y="204"/>
                    </a:cubicBezTo>
                    <a:cubicBezTo>
                      <a:pt x="245" y="201"/>
                      <a:pt x="245" y="201"/>
                      <a:pt x="245" y="201"/>
                    </a:cubicBezTo>
                    <a:cubicBezTo>
                      <a:pt x="245" y="198"/>
                      <a:pt x="245" y="195"/>
                      <a:pt x="246" y="191"/>
                    </a:cubicBezTo>
                    <a:cubicBezTo>
                      <a:pt x="246" y="189"/>
                      <a:pt x="246" y="188"/>
                      <a:pt x="246" y="186"/>
                    </a:cubicBezTo>
                    <a:cubicBezTo>
                      <a:pt x="246" y="185"/>
                      <a:pt x="246" y="185"/>
                      <a:pt x="247" y="184"/>
                    </a:cubicBezTo>
                    <a:cubicBezTo>
                      <a:pt x="248" y="181"/>
                      <a:pt x="248" y="181"/>
                      <a:pt x="248" y="181"/>
                    </a:cubicBezTo>
                    <a:cubicBezTo>
                      <a:pt x="248" y="180"/>
                      <a:pt x="249" y="180"/>
                      <a:pt x="249" y="179"/>
                    </a:cubicBezTo>
                    <a:cubicBezTo>
                      <a:pt x="242" y="176"/>
                      <a:pt x="242" y="176"/>
                      <a:pt x="242" y="176"/>
                    </a:cubicBezTo>
                    <a:cubicBezTo>
                      <a:pt x="250" y="177"/>
                      <a:pt x="250" y="177"/>
                      <a:pt x="250" y="177"/>
                    </a:cubicBezTo>
                    <a:cubicBezTo>
                      <a:pt x="250" y="177"/>
                      <a:pt x="250" y="177"/>
                      <a:pt x="250" y="177"/>
                    </a:cubicBezTo>
                    <a:cubicBezTo>
                      <a:pt x="250" y="177"/>
                      <a:pt x="250" y="177"/>
                      <a:pt x="250" y="177"/>
                    </a:cubicBezTo>
                    <a:cubicBezTo>
                      <a:pt x="250" y="176"/>
                      <a:pt x="250" y="176"/>
                      <a:pt x="250" y="176"/>
                    </a:cubicBezTo>
                    <a:cubicBezTo>
                      <a:pt x="250" y="176"/>
                      <a:pt x="249" y="175"/>
                      <a:pt x="247" y="171"/>
                    </a:cubicBezTo>
                    <a:cubicBezTo>
                      <a:pt x="246" y="170"/>
                      <a:pt x="244" y="168"/>
                      <a:pt x="243" y="167"/>
                    </a:cubicBezTo>
                    <a:cubicBezTo>
                      <a:pt x="243" y="166"/>
                      <a:pt x="243" y="166"/>
                      <a:pt x="243" y="166"/>
                    </a:cubicBezTo>
                    <a:cubicBezTo>
                      <a:pt x="236" y="170"/>
                      <a:pt x="236" y="170"/>
                      <a:pt x="236" y="170"/>
                    </a:cubicBezTo>
                    <a:cubicBezTo>
                      <a:pt x="242" y="165"/>
                      <a:pt x="242" y="165"/>
                      <a:pt x="242" y="165"/>
                    </a:cubicBezTo>
                    <a:cubicBezTo>
                      <a:pt x="241" y="162"/>
                      <a:pt x="239" y="160"/>
                      <a:pt x="238" y="158"/>
                    </a:cubicBezTo>
                    <a:cubicBezTo>
                      <a:pt x="237" y="158"/>
                      <a:pt x="237" y="157"/>
                      <a:pt x="237" y="157"/>
                    </a:cubicBezTo>
                    <a:cubicBezTo>
                      <a:pt x="236" y="157"/>
                      <a:pt x="236" y="157"/>
                      <a:pt x="236" y="157"/>
                    </a:cubicBezTo>
                    <a:cubicBezTo>
                      <a:pt x="236" y="157"/>
                      <a:pt x="235" y="157"/>
                      <a:pt x="235" y="157"/>
                    </a:cubicBezTo>
                    <a:cubicBezTo>
                      <a:pt x="235" y="157"/>
                      <a:pt x="234" y="158"/>
                      <a:pt x="233" y="158"/>
                    </a:cubicBezTo>
                    <a:cubicBezTo>
                      <a:pt x="233" y="158"/>
                      <a:pt x="232" y="157"/>
                      <a:pt x="231" y="157"/>
                    </a:cubicBezTo>
                    <a:cubicBezTo>
                      <a:pt x="230" y="157"/>
                      <a:pt x="229" y="156"/>
                      <a:pt x="228" y="156"/>
                    </a:cubicBezTo>
                    <a:cubicBezTo>
                      <a:pt x="216" y="146"/>
                      <a:pt x="216" y="146"/>
                      <a:pt x="216" y="146"/>
                    </a:cubicBezTo>
                    <a:cubicBezTo>
                      <a:pt x="215" y="145"/>
                      <a:pt x="213" y="144"/>
                      <a:pt x="211" y="143"/>
                    </a:cubicBezTo>
                    <a:cubicBezTo>
                      <a:pt x="210" y="143"/>
                      <a:pt x="209" y="142"/>
                      <a:pt x="208" y="142"/>
                    </a:cubicBezTo>
                    <a:cubicBezTo>
                      <a:pt x="207" y="142"/>
                      <a:pt x="207" y="142"/>
                      <a:pt x="207" y="142"/>
                    </a:cubicBezTo>
                    <a:cubicBezTo>
                      <a:pt x="205" y="142"/>
                      <a:pt x="203" y="142"/>
                      <a:pt x="202" y="141"/>
                    </a:cubicBezTo>
                    <a:cubicBezTo>
                      <a:pt x="201" y="140"/>
                      <a:pt x="201" y="140"/>
                      <a:pt x="201" y="140"/>
                    </a:cubicBezTo>
                    <a:cubicBezTo>
                      <a:pt x="200" y="139"/>
                      <a:pt x="199" y="138"/>
                      <a:pt x="199" y="137"/>
                    </a:cubicBezTo>
                    <a:cubicBezTo>
                      <a:pt x="198" y="135"/>
                      <a:pt x="198" y="132"/>
                      <a:pt x="197" y="130"/>
                    </a:cubicBezTo>
                    <a:cubicBezTo>
                      <a:pt x="197" y="130"/>
                      <a:pt x="197" y="130"/>
                      <a:pt x="197" y="130"/>
                    </a:cubicBezTo>
                    <a:cubicBezTo>
                      <a:pt x="197" y="128"/>
                      <a:pt x="197" y="127"/>
                      <a:pt x="197" y="127"/>
                    </a:cubicBezTo>
                    <a:cubicBezTo>
                      <a:pt x="196" y="126"/>
                      <a:pt x="196" y="125"/>
                      <a:pt x="196" y="124"/>
                    </a:cubicBezTo>
                    <a:cubicBezTo>
                      <a:pt x="196" y="123"/>
                      <a:pt x="196" y="123"/>
                      <a:pt x="196" y="123"/>
                    </a:cubicBezTo>
                    <a:cubicBezTo>
                      <a:pt x="196" y="122"/>
                      <a:pt x="196" y="122"/>
                      <a:pt x="196" y="122"/>
                    </a:cubicBezTo>
                    <a:cubicBezTo>
                      <a:pt x="195" y="122"/>
                      <a:pt x="195" y="122"/>
                      <a:pt x="195" y="122"/>
                    </a:cubicBezTo>
                    <a:cubicBezTo>
                      <a:pt x="195" y="122"/>
                      <a:pt x="195" y="122"/>
                      <a:pt x="195" y="122"/>
                    </a:cubicBezTo>
                    <a:cubicBezTo>
                      <a:pt x="193" y="121"/>
                      <a:pt x="192" y="121"/>
                      <a:pt x="191" y="120"/>
                    </a:cubicBezTo>
                    <a:cubicBezTo>
                      <a:pt x="191" y="120"/>
                      <a:pt x="191" y="120"/>
                      <a:pt x="191" y="120"/>
                    </a:cubicBezTo>
                    <a:cubicBezTo>
                      <a:pt x="183" y="112"/>
                      <a:pt x="183" y="112"/>
                      <a:pt x="183" y="112"/>
                    </a:cubicBezTo>
                    <a:cubicBezTo>
                      <a:pt x="183" y="111"/>
                      <a:pt x="182" y="111"/>
                      <a:pt x="182" y="110"/>
                    </a:cubicBezTo>
                    <a:cubicBezTo>
                      <a:pt x="181" y="109"/>
                      <a:pt x="180" y="107"/>
                      <a:pt x="181" y="105"/>
                    </a:cubicBezTo>
                    <a:cubicBezTo>
                      <a:pt x="181" y="104"/>
                      <a:pt x="181" y="104"/>
                      <a:pt x="181" y="104"/>
                    </a:cubicBezTo>
                    <a:cubicBezTo>
                      <a:pt x="182" y="102"/>
                      <a:pt x="183" y="100"/>
                      <a:pt x="184" y="98"/>
                    </a:cubicBezTo>
                    <a:cubicBezTo>
                      <a:pt x="185" y="96"/>
                      <a:pt x="185" y="96"/>
                      <a:pt x="185" y="96"/>
                    </a:cubicBezTo>
                    <a:cubicBezTo>
                      <a:pt x="185" y="96"/>
                      <a:pt x="185" y="96"/>
                      <a:pt x="185" y="96"/>
                    </a:cubicBezTo>
                    <a:cubicBezTo>
                      <a:pt x="184" y="95"/>
                      <a:pt x="184" y="95"/>
                      <a:pt x="184" y="95"/>
                    </a:cubicBezTo>
                    <a:cubicBezTo>
                      <a:pt x="184" y="95"/>
                      <a:pt x="184" y="95"/>
                      <a:pt x="184" y="95"/>
                    </a:cubicBezTo>
                    <a:cubicBezTo>
                      <a:pt x="183" y="94"/>
                      <a:pt x="182" y="93"/>
                      <a:pt x="182" y="91"/>
                    </a:cubicBezTo>
                    <a:cubicBezTo>
                      <a:pt x="181" y="89"/>
                      <a:pt x="181" y="89"/>
                      <a:pt x="181" y="89"/>
                    </a:cubicBezTo>
                    <a:cubicBezTo>
                      <a:pt x="188" y="82"/>
                      <a:pt x="188" y="82"/>
                      <a:pt x="188" y="82"/>
                    </a:cubicBezTo>
                    <a:cubicBezTo>
                      <a:pt x="190" y="84"/>
                      <a:pt x="190" y="84"/>
                      <a:pt x="190" y="84"/>
                    </a:cubicBezTo>
                    <a:cubicBezTo>
                      <a:pt x="190" y="82"/>
                      <a:pt x="190" y="82"/>
                      <a:pt x="190" y="82"/>
                    </a:cubicBezTo>
                    <a:cubicBezTo>
                      <a:pt x="191" y="78"/>
                      <a:pt x="192" y="75"/>
                      <a:pt x="195" y="71"/>
                    </a:cubicBezTo>
                    <a:cubicBezTo>
                      <a:pt x="195" y="70"/>
                      <a:pt x="195" y="70"/>
                      <a:pt x="195" y="70"/>
                    </a:cubicBezTo>
                    <a:cubicBezTo>
                      <a:pt x="197" y="69"/>
                      <a:pt x="200" y="68"/>
                      <a:pt x="202" y="68"/>
                    </a:cubicBezTo>
                    <a:cubicBezTo>
                      <a:pt x="202" y="67"/>
                      <a:pt x="202" y="67"/>
                      <a:pt x="202" y="67"/>
                    </a:cubicBezTo>
                    <a:cubicBezTo>
                      <a:pt x="202" y="67"/>
                      <a:pt x="202" y="67"/>
                      <a:pt x="202" y="67"/>
                    </a:cubicBezTo>
                    <a:cubicBezTo>
                      <a:pt x="202" y="66"/>
                      <a:pt x="202" y="66"/>
                      <a:pt x="201" y="64"/>
                    </a:cubicBezTo>
                    <a:cubicBezTo>
                      <a:pt x="200" y="64"/>
                      <a:pt x="200" y="64"/>
                      <a:pt x="200" y="64"/>
                    </a:cubicBezTo>
                    <a:cubicBezTo>
                      <a:pt x="200" y="63"/>
                      <a:pt x="199" y="62"/>
                      <a:pt x="199" y="62"/>
                    </a:cubicBezTo>
                    <a:cubicBezTo>
                      <a:pt x="198" y="61"/>
                      <a:pt x="198" y="61"/>
                      <a:pt x="198" y="61"/>
                    </a:cubicBezTo>
                    <a:cubicBezTo>
                      <a:pt x="198" y="59"/>
                      <a:pt x="198" y="58"/>
                      <a:pt x="198" y="57"/>
                    </a:cubicBezTo>
                    <a:cubicBezTo>
                      <a:pt x="198" y="55"/>
                      <a:pt x="198" y="55"/>
                      <a:pt x="198" y="55"/>
                    </a:cubicBezTo>
                    <a:cubicBezTo>
                      <a:pt x="198" y="55"/>
                      <a:pt x="198" y="54"/>
                      <a:pt x="198" y="54"/>
                    </a:cubicBezTo>
                    <a:cubicBezTo>
                      <a:pt x="198" y="52"/>
                      <a:pt x="198" y="52"/>
                      <a:pt x="198" y="52"/>
                    </a:cubicBezTo>
                    <a:cubicBezTo>
                      <a:pt x="198" y="52"/>
                      <a:pt x="199" y="51"/>
                      <a:pt x="199" y="50"/>
                    </a:cubicBezTo>
                    <a:cubicBezTo>
                      <a:pt x="198" y="51"/>
                      <a:pt x="197" y="51"/>
                      <a:pt x="196" y="51"/>
                    </a:cubicBezTo>
                    <a:cubicBezTo>
                      <a:pt x="196" y="51"/>
                      <a:pt x="195" y="51"/>
                      <a:pt x="195" y="51"/>
                    </a:cubicBezTo>
                    <a:cubicBezTo>
                      <a:pt x="193" y="50"/>
                      <a:pt x="192" y="50"/>
                      <a:pt x="191" y="49"/>
                    </a:cubicBezTo>
                    <a:cubicBezTo>
                      <a:pt x="190" y="48"/>
                      <a:pt x="190" y="48"/>
                      <a:pt x="190" y="48"/>
                    </a:cubicBezTo>
                    <a:cubicBezTo>
                      <a:pt x="189" y="47"/>
                      <a:pt x="188" y="46"/>
                      <a:pt x="187" y="45"/>
                    </a:cubicBezTo>
                    <a:cubicBezTo>
                      <a:pt x="186" y="45"/>
                      <a:pt x="186" y="44"/>
                      <a:pt x="186" y="44"/>
                    </a:cubicBezTo>
                    <a:cubicBezTo>
                      <a:pt x="186" y="44"/>
                      <a:pt x="186" y="44"/>
                      <a:pt x="185" y="45"/>
                    </a:cubicBezTo>
                    <a:cubicBezTo>
                      <a:pt x="184" y="45"/>
                      <a:pt x="184" y="45"/>
                      <a:pt x="184" y="45"/>
                    </a:cubicBezTo>
                    <a:cubicBezTo>
                      <a:pt x="183" y="45"/>
                      <a:pt x="183" y="45"/>
                      <a:pt x="183" y="45"/>
                    </a:cubicBezTo>
                    <a:cubicBezTo>
                      <a:pt x="181" y="45"/>
                      <a:pt x="179" y="43"/>
                      <a:pt x="179" y="40"/>
                    </a:cubicBezTo>
                    <a:cubicBezTo>
                      <a:pt x="179" y="40"/>
                      <a:pt x="178" y="40"/>
                      <a:pt x="178" y="39"/>
                    </a:cubicBezTo>
                    <a:cubicBezTo>
                      <a:pt x="178" y="37"/>
                      <a:pt x="178" y="37"/>
                      <a:pt x="178" y="37"/>
                    </a:cubicBezTo>
                    <a:cubicBezTo>
                      <a:pt x="178" y="35"/>
                      <a:pt x="177" y="33"/>
                      <a:pt x="176" y="31"/>
                    </a:cubicBezTo>
                    <a:cubicBezTo>
                      <a:pt x="176" y="30"/>
                      <a:pt x="176" y="30"/>
                      <a:pt x="176" y="30"/>
                    </a:cubicBezTo>
                    <a:cubicBezTo>
                      <a:pt x="176" y="30"/>
                      <a:pt x="176" y="30"/>
                      <a:pt x="176" y="30"/>
                    </a:cubicBezTo>
                    <a:cubicBezTo>
                      <a:pt x="175" y="29"/>
                      <a:pt x="175" y="29"/>
                      <a:pt x="175" y="29"/>
                    </a:cubicBezTo>
                    <a:cubicBezTo>
                      <a:pt x="173" y="28"/>
                      <a:pt x="172" y="28"/>
                      <a:pt x="171" y="27"/>
                    </a:cubicBezTo>
                    <a:cubicBezTo>
                      <a:pt x="170" y="25"/>
                      <a:pt x="170" y="23"/>
                      <a:pt x="170" y="21"/>
                    </a:cubicBezTo>
                    <a:cubicBezTo>
                      <a:pt x="170" y="21"/>
                      <a:pt x="170" y="21"/>
                      <a:pt x="170" y="21"/>
                    </a:cubicBezTo>
                    <a:cubicBezTo>
                      <a:pt x="170" y="20"/>
                      <a:pt x="170" y="20"/>
                      <a:pt x="170" y="20"/>
                    </a:cubicBezTo>
                    <a:cubicBezTo>
                      <a:pt x="169" y="20"/>
                      <a:pt x="169" y="20"/>
                      <a:pt x="169" y="20"/>
                    </a:cubicBezTo>
                    <a:cubicBezTo>
                      <a:pt x="169" y="20"/>
                      <a:pt x="167" y="19"/>
                      <a:pt x="166" y="18"/>
                    </a:cubicBezTo>
                    <a:cubicBezTo>
                      <a:pt x="165" y="16"/>
                      <a:pt x="165" y="14"/>
                      <a:pt x="165" y="13"/>
                    </a:cubicBezTo>
                    <a:cubicBezTo>
                      <a:pt x="165" y="12"/>
                      <a:pt x="165" y="12"/>
                      <a:pt x="165" y="12"/>
                    </a:cubicBezTo>
                    <a:cubicBezTo>
                      <a:pt x="166" y="11"/>
                      <a:pt x="166" y="11"/>
                      <a:pt x="166" y="11"/>
                    </a:cubicBezTo>
                    <a:cubicBezTo>
                      <a:pt x="165" y="10"/>
                      <a:pt x="165" y="10"/>
                      <a:pt x="165" y="10"/>
                    </a:cubicBezTo>
                    <a:cubicBezTo>
                      <a:pt x="165" y="9"/>
                      <a:pt x="165" y="9"/>
                      <a:pt x="164" y="8"/>
                    </a:cubicBezTo>
                    <a:cubicBezTo>
                      <a:pt x="162" y="9"/>
                      <a:pt x="162" y="9"/>
                      <a:pt x="162" y="9"/>
                    </a:cubicBezTo>
                    <a:cubicBezTo>
                      <a:pt x="162" y="10"/>
                      <a:pt x="161" y="10"/>
                      <a:pt x="161" y="10"/>
                    </a:cubicBezTo>
                    <a:cubicBezTo>
                      <a:pt x="160" y="10"/>
                      <a:pt x="160" y="10"/>
                      <a:pt x="160" y="10"/>
                    </a:cubicBezTo>
                    <a:cubicBezTo>
                      <a:pt x="158" y="11"/>
                      <a:pt x="157" y="12"/>
                      <a:pt x="155" y="12"/>
                    </a:cubicBezTo>
                    <a:cubicBezTo>
                      <a:pt x="154" y="12"/>
                      <a:pt x="154" y="12"/>
                      <a:pt x="154" y="12"/>
                    </a:cubicBezTo>
                    <a:cubicBezTo>
                      <a:pt x="153" y="12"/>
                      <a:pt x="153" y="12"/>
                      <a:pt x="153" y="12"/>
                    </a:cubicBezTo>
                    <a:cubicBezTo>
                      <a:pt x="150" y="12"/>
                      <a:pt x="149" y="9"/>
                      <a:pt x="149" y="8"/>
                    </a:cubicBezTo>
                    <a:cubicBezTo>
                      <a:pt x="149" y="7"/>
                      <a:pt x="148" y="7"/>
                      <a:pt x="148" y="6"/>
                    </a:cubicBezTo>
                    <a:cubicBezTo>
                      <a:pt x="148" y="6"/>
                      <a:pt x="148" y="6"/>
                      <a:pt x="148" y="6"/>
                    </a:cubicBezTo>
                    <a:cubicBezTo>
                      <a:pt x="148" y="5"/>
                      <a:pt x="148" y="5"/>
                      <a:pt x="147" y="5"/>
                    </a:cubicBezTo>
                    <a:cubicBezTo>
                      <a:pt x="147" y="4"/>
                      <a:pt x="147" y="4"/>
                      <a:pt x="147" y="4"/>
                    </a:cubicBezTo>
                    <a:cubicBezTo>
                      <a:pt x="147" y="3"/>
                      <a:pt x="146" y="2"/>
                      <a:pt x="146" y="2"/>
                    </a:cubicBezTo>
                    <a:cubicBezTo>
                      <a:pt x="146" y="2"/>
                      <a:pt x="145" y="2"/>
                      <a:pt x="144" y="3"/>
                    </a:cubicBezTo>
                    <a:cubicBezTo>
                      <a:pt x="143" y="3"/>
                      <a:pt x="141" y="3"/>
                      <a:pt x="139" y="3"/>
                    </a:cubicBezTo>
                    <a:cubicBezTo>
                      <a:pt x="135" y="3"/>
                      <a:pt x="130" y="2"/>
                      <a:pt x="126" y="2"/>
                    </a:cubicBezTo>
                    <a:cubicBezTo>
                      <a:pt x="123" y="1"/>
                      <a:pt x="123" y="1"/>
                      <a:pt x="123" y="1"/>
                    </a:cubicBezTo>
                    <a:cubicBezTo>
                      <a:pt x="121" y="1"/>
                      <a:pt x="120" y="0"/>
                      <a:pt x="118" y="0"/>
                    </a:cubicBezTo>
                    <a:cubicBezTo>
                      <a:pt x="118" y="0"/>
                      <a:pt x="118" y="0"/>
                      <a:pt x="118" y="0"/>
                    </a:cubicBezTo>
                    <a:cubicBezTo>
                      <a:pt x="117" y="0"/>
                      <a:pt x="116" y="0"/>
                      <a:pt x="116" y="0"/>
                    </a:cubicBezTo>
                    <a:cubicBezTo>
                      <a:pt x="115" y="0"/>
                      <a:pt x="115"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240"/>
              <p:cNvSpPr/>
              <p:nvPr/>
            </p:nvSpPr>
            <p:spPr bwMode="auto">
              <a:xfrm>
                <a:off x="8575264" y="6135718"/>
                <a:ext cx="143719" cy="132664"/>
              </a:xfrm>
              <a:custGeom>
                <a:gdLst>
                  <a:gd name="T0" fmla="*/ 22 w 46"/>
                  <a:gd name="T1" fmla="*/ 0 h 42"/>
                  <a:gd name="T2" fmla="*/ 19 w 46"/>
                  <a:gd name="T3" fmla="*/ 0 h 42"/>
                  <a:gd name="T4" fmla="*/ 15 w 46"/>
                  <a:gd name="T5" fmla="*/ 2 h 42"/>
                  <a:gd name="T6" fmla="*/ 9 w 46"/>
                  <a:gd name="T7" fmla="*/ 10 h 42"/>
                  <a:gd name="T8" fmla="*/ 9 w 46"/>
                  <a:gd name="T9" fmla="*/ 10 h 42"/>
                  <a:gd name="T10" fmla="*/ 7 w 46"/>
                  <a:gd name="T11" fmla="*/ 13 h 42"/>
                  <a:gd name="T12" fmla="*/ 0 w 46"/>
                  <a:gd name="T13" fmla="*/ 25 h 42"/>
                  <a:gd name="T14" fmla="*/ 21 w 46"/>
                  <a:gd name="T15" fmla="*/ 31 h 42"/>
                  <a:gd name="T16" fmla="*/ 26 w 46"/>
                  <a:gd name="T17" fmla="*/ 37 h 42"/>
                  <a:gd name="T18" fmla="*/ 27 w 46"/>
                  <a:gd name="T19" fmla="*/ 39 h 42"/>
                  <a:gd name="T20" fmla="*/ 27 w 46"/>
                  <a:gd name="T21" fmla="*/ 39 h 42"/>
                  <a:gd name="T22" fmla="*/ 27 w 46"/>
                  <a:gd name="T23" fmla="*/ 40 h 42"/>
                  <a:gd name="T24" fmla="*/ 29 w 46"/>
                  <a:gd name="T25" fmla="*/ 41 h 42"/>
                  <a:gd name="T26" fmla="*/ 35 w 46"/>
                  <a:gd name="T27" fmla="*/ 42 h 42"/>
                  <a:gd name="T28" fmla="*/ 42 w 46"/>
                  <a:gd name="T29" fmla="*/ 42 h 42"/>
                  <a:gd name="T30" fmla="*/ 46 w 46"/>
                  <a:gd name="T31" fmla="*/ 42 h 42"/>
                  <a:gd name="T32" fmla="*/ 39 w 46"/>
                  <a:gd name="T33" fmla="*/ 27 h 42"/>
                  <a:gd name="T34" fmla="*/ 37 w 46"/>
                  <a:gd name="T35" fmla="*/ 21 h 42"/>
                  <a:gd name="T36" fmla="*/ 29 w 46"/>
                  <a:gd name="T37" fmla="*/ 19 h 42"/>
                  <a:gd name="T38" fmla="*/ 35 w 46"/>
                  <a:gd name="T39" fmla="*/ 11 h 42"/>
                  <a:gd name="T40" fmla="*/ 35 w 46"/>
                  <a:gd name="T41" fmla="*/ 11 h 42"/>
                  <a:gd name="T42" fmla="*/ 40 w 46"/>
                  <a:gd name="T43" fmla="*/ 13 h 42"/>
                  <a:gd name="T44" fmla="*/ 38 w 46"/>
                  <a:gd name="T45" fmla="*/ 8 h 42"/>
                  <a:gd name="T46" fmla="*/ 35 w 46"/>
                  <a:gd name="T47" fmla="*/ 4 h 42"/>
                  <a:gd name="T48" fmla="*/ 30 w 46"/>
                  <a:gd name="T49" fmla="*/ 2 h 42"/>
                  <a:gd name="T50" fmla="*/ 22 w 46"/>
                  <a:gd name="T51" fmla="*/ 0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 h="42">
                    <a:moveTo>
                      <a:pt x="22" y="0"/>
                    </a:moveTo>
                    <a:cubicBezTo>
                      <a:pt x="21" y="0"/>
                      <a:pt x="20" y="0"/>
                      <a:pt x="19" y="0"/>
                    </a:cubicBezTo>
                    <a:cubicBezTo>
                      <a:pt x="17" y="0"/>
                      <a:pt x="16" y="1"/>
                      <a:pt x="15" y="2"/>
                    </a:cubicBezTo>
                    <a:cubicBezTo>
                      <a:pt x="13" y="3"/>
                      <a:pt x="11" y="7"/>
                      <a:pt x="9" y="10"/>
                    </a:cubicBezTo>
                    <a:cubicBezTo>
                      <a:pt x="9" y="10"/>
                      <a:pt x="9" y="10"/>
                      <a:pt x="9" y="10"/>
                    </a:cubicBezTo>
                    <a:cubicBezTo>
                      <a:pt x="9" y="11"/>
                      <a:pt x="8" y="12"/>
                      <a:pt x="7" y="13"/>
                    </a:cubicBezTo>
                    <a:cubicBezTo>
                      <a:pt x="5" y="17"/>
                      <a:pt x="2" y="21"/>
                      <a:pt x="0" y="25"/>
                    </a:cubicBezTo>
                    <a:cubicBezTo>
                      <a:pt x="21" y="31"/>
                      <a:pt x="21" y="31"/>
                      <a:pt x="21" y="31"/>
                    </a:cubicBezTo>
                    <a:cubicBezTo>
                      <a:pt x="25" y="32"/>
                      <a:pt x="26" y="36"/>
                      <a:pt x="26" y="37"/>
                    </a:cubicBezTo>
                    <a:cubicBezTo>
                      <a:pt x="26" y="38"/>
                      <a:pt x="27" y="38"/>
                      <a:pt x="27" y="39"/>
                    </a:cubicBezTo>
                    <a:cubicBezTo>
                      <a:pt x="27" y="39"/>
                      <a:pt x="27" y="39"/>
                      <a:pt x="27" y="39"/>
                    </a:cubicBezTo>
                    <a:cubicBezTo>
                      <a:pt x="27" y="39"/>
                      <a:pt x="27" y="40"/>
                      <a:pt x="27" y="40"/>
                    </a:cubicBezTo>
                    <a:cubicBezTo>
                      <a:pt x="27" y="40"/>
                      <a:pt x="28" y="41"/>
                      <a:pt x="29" y="41"/>
                    </a:cubicBezTo>
                    <a:cubicBezTo>
                      <a:pt x="30" y="42"/>
                      <a:pt x="33" y="42"/>
                      <a:pt x="35" y="42"/>
                    </a:cubicBezTo>
                    <a:cubicBezTo>
                      <a:pt x="37" y="42"/>
                      <a:pt x="40" y="42"/>
                      <a:pt x="42" y="42"/>
                    </a:cubicBezTo>
                    <a:cubicBezTo>
                      <a:pt x="43" y="42"/>
                      <a:pt x="44" y="42"/>
                      <a:pt x="46" y="42"/>
                    </a:cubicBezTo>
                    <a:cubicBezTo>
                      <a:pt x="44" y="37"/>
                      <a:pt x="41" y="32"/>
                      <a:pt x="39" y="27"/>
                    </a:cubicBezTo>
                    <a:cubicBezTo>
                      <a:pt x="38" y="25"/>
                      <a:pt x="38" y="23"/>
                      <a:pt x="37" y="21"/>
                    </a:cubicBezTo>
                    <a:cubicBezTo>
                      <a:pt x="35" y="19"/>
                      <a:pt x="32" y="19"/>
                      <a:pt x="29" y="19"/>
                    </a:cubicBezTo>
                    <a:cubicBezTo>
                      <a:pt x="30" y="17"/>
                      <a:pt x="33" y="12"/>
                      <a:pt x="35" y="11"/>
                    </a:cubicBezTo>
                    <a:cubicBezTo>
                      <a:pt x="35" y="11"/>
                      <a:pt x="35" y="11"/>
                      <a:pt x="35" y="11"/>
                    </a:cubicBezTo>
                    <a:cubicBezTo>
                      <a:pt x="36" y="11"/>
                      <a:pt x="39" y="13"/>
                      <a:pt x="40" y="13"/>
                    </a:cubicBezTo>
                    <a:cubicBezTo>
                      <a:pt x="40" y="12"/>
                      <a:pt x="39" y="10"/>
                      <a:pt x="38" y="8"/>
                    </a:cubicBezTo>
                    <a:cubicBezTo>
                      <a:pt x="38" y="8"/>
                      <a:pt x="36" y="6"/>
                      <a:pt x="35" y="4"/>
                    </a:cubicBezTo>
                    <a:cubicBezTo>
                      <a:pt x="30" y="2"/>
                      <a:pt x="30" y="2"/>
                      <a:pt x="30" y="2"/>
                    </a:cubicBezTo>
                    <a:cubicBezTo>
                      <a:pt x="26" y="0"/>
                      <a:pt x="24"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241"/>
              <p:cNvSpPr/>
              <p:nvPr/>
            </p:nvSpPr>
            <p:spPr bwMode="auto">
              <a:xfrm>
                <a:off x="8693188" y="6146774"/>
                <a:ext cx="25796" cy="29481"/>
              </a:xfrm>
              <a:custGeom>
                <a:gdLst>
                  <a:gd name="T0" fmla="*/ 1 w 9"/>
                  <a:gd name="T1" fmla="*/ 0 h 9"/>
                  <a:gd name="T2" fmla="*/ 0 w 9"/>
                  <a:gd name="T3" fmla="*/ 2 h 9"/>
                  <a:gd name="T4" fmla="*/ 4 w 9"/>
                  <a:gd name="T5" fmla="*/ 9 h 9"/>
                  <a:gd name="T6" fmla="*/ 8 w 9"/>
                  <a:gd name="T7" fmla="*/ 3 h 9"/>
                  <a:gd name="T8" fmla="*/ 4 w 9"/>
                  <a:gd name="T9" fmla="*/ 1 h 9"/>
                  <a:gd name="T10" fmla="*/ 3 w 9"/>
                  <a:gd name="T11" fmla="*/ 1 h 9"/>
                  <a:gd name="T12" fmla="*/ 2 w 9"/>
                  <a:gd name="T13" fmla="*/ 2 h 9"/>
                  <a:gd name="T14" fmla="*/ 2 w 9"/>
                  <a:gd name="T15" fmla="*/ 1 h 9"/>
                  <a:gd name="T16" fmla="*/ 1 w 9"/>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1" y="0"/>
                    </a:moveTo>
                    <a:cubicBezTo>
                      <a:pt x="1" y="1"/>
                      <a:pt x="0" y="1"/>
                      <a:pt x="0" y="2"/>
                    </a:cubicBezTo>
                    <a:cubicBezTo>
                      <a:pt x="0" y="4"/>
                      <a:pt x="3" y="7"/>
                      <a:pt x="4" y="9"/>
                    </a:cubicBezTo>
                    <a:cubicBezTo>
                      <a:pt x="8" y="7"/>
                      <a:pt x="9" y="5"/>
                      <a:pt x="8" y="3"/>
                    </a:cubicBezTo>
                    <a:cubicBezTo>
                      <a:pt x="4" y="1"/>
                      <a:pt x="4" y="1"/>
                      <a:pt x="4" y="1"/>
                    </a:cubicBezTo>
                    <a:cubicBezTo>
                      <a:pt x="3" y="1"/>
                      <a:pt x="3" y="1"/>
                      <a:pt x="3" y="1"/>
                    </a:cubicBezTo>
                    <a:cubicBezTo>
                      <a:pt x="2" y="2"/>
                      <a:pt x="2" y="2"/>
                      <a:pt x="2" y="2"/>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242"/>
              <p:cNvSpPr/>
              <p:nvPr/>
            </p:nvSpPr>
            <p:spPr bwMode="auto">
              <a:xfrm>
                <a:off x="7580283" y="5413436"/>
                <a:ext cx="585933" cy="479065"/>
              </a:xfrm>
              <a:custGeom>
                <a:gdLst>
                  <a:gd name="T0" fmla="*/ 177 w 185"/>
                  <a:gd name="T1" fmla="*/ 1 h 151"/>
                  <a:gd name="T2" fmla="*/ 146 w 185"/>
                  <a:gd name="T3" fmla="*/ 4 h 151"/>
                  <a:gd name="T4" fmla="*/ 135 w 185"/>
                  <a:gd name="T5" fmla="*/ 7 h 151"/>
                  <a:gd name="T6" fmla="*/ 129 w 185"/>
                  <a:gd name="T7" fmla="*/ 10 h 151"/>
                  <a:gd name="T8" fmla="*/ 106 w 185"/>
                  <a:gd name="T9" fmla="*/ 17 h 151"/>
                  <a:gd name="T10" fmla="*/ 104 w 185"/>
                  <a:gd name="T11" fmla="*/ 17 h 151"/>
                  <a:gd name="T12" fmla="*/ 85 w 185"/>
                  <a:gd name="T13" fmla="*/ 16 h 151"/>
                  <a:gd name="T14" fmla="*/ 81 w 185"/>
                  <a:gd name="T15" fmla="*/ 15 h 151"/>
                  <a:gd name="T16" fmla="*/ 79 w 185"/>
                  <a:gd name="T17" fmla="*/ 13 h 151"/>
                  <a:gd name="T18" fmla="*/ 71 w 185"/>
                  <a:gd name="T19" fmla="*/ 11 h 151"/>
                  <a:gd name="T20" fmla="*/ 66 w 185"/>
                  <a:gd name="T21" fmla="*/ 13 h 151"/>
                  <a:gd name="T22" fmla="*/ 44 w 185"/>
                  <a:gd name="T23" fmla="*/ 19 h 151"/>
                  <a:gd name="T24" fmla="*/ 34 w 185"/>
                  <a:gd name="T25" fmla="*/ 18 h 151"/>
                  <a:gd name="T26" fmla="*/ 27 w 185"/>
                  <a:gd name="T27" fmla="*/ 21 h 151"/>
                  <a:gd name="T28" fmla="*/ 36 w 185"/>
                  <a:gd name="T29" fmla="*/ 26 h 151"/>
                  <a:gd name="T30" fmla="*/ 26 w 185"/>
                  <a:gd name="T31" fmla="*/ 30 h 151"/>
                  <a:gd name="T32" fmla="*/ 22 w 185"/>
                  <a:gd name="T33" fmla="*/ 32 h 151"/>
                  <a:gd name="T34" fmla="*/ 22 w 185"/>
                  <a:gd name="T35" fmla="*/ 33 h 151"/>
                  <a:gd name="T36" fmla="*/ 18 w 185"/>
                  <a:gd name="T37" fmla="*/ 40 h 151"/>
                  <a:gd name="T38" fmla="*/ 16 w 185"/>
                  <a:gd name="T39" fmla="*/ 41 h 151"/>
                  <a:gd name="T40" fmla="*/ 15 w 185"/>
                  <a:gd name="T41" fmla="*/ 44 h 151"/>
                  <a:gd name="T42" fmla="*/ 10 w 185"/>
                  <a:gd name="T43" fmla="*/ 45 h 151"/>
                  <a:gd name="T44" fmla="*/ 1 w 185"/>
                  <a:gd name="T45" fmla="*/ 46 h 151"/>
                  <a:gd name="T46" fmla="*/ 5 w 185"/>
                  <a:gd name="T47" fmla="*/ 57 h 151"/>
                  <a:gd name="T48" fmla="*/ 6 w 185"/>
                  <a:gd name="T49" fmla="*/ 77 h 151"/>
                  <a:gd name="T50" fmla="*/ 11 w 185"/>
                  <a:gd name="T51" fmla="*/ 77 h 151"/>
                  <a:gd name="T52" fmla="*/ 16 w 185"/>
                  <a:gd name="T53" fmla="*/ 77 h 151"/>
                  <a:gd name="T54" fmla="*/ 20 w 185"/>
                  <a:gd name="T55" fmla="*/ 77 h 151"/>
                  <a:gd name="T56" fmla="*/ 23 w 185"/>
                  <a:gd name="T57" fmla="*/ 83 h 151"/>
                  <a:gd name="T58" fmla="*/ 26 w 185"/>
                  <a:gd name="T59" fmla="*/ 89 h 151"/>
                  <a:gd name="T60" fmla="*/ 25 w 185"/>
                  <a:gd name="T61" fmla="*/ 99 h 151"/>
                  <a:gd name="T62" fmla="*/ 44 w 185"/>
                  <a:gd name="T63" fmla="*/ 125 h 151"/>
                  <a:gd name="T64" fmla="*/ 14 w 185"/>
                  <a:gd name="T65" fmla="*/ 109 h 151"/>
                  <a:gd name="T66" fmla="*/ 10 w 185"/>
                  <a:gd name="T67" fmla="*/ 110 h 151"/>
                  <a:gd name="T68" fmla="*/ 12 w 185"/>
                  <a:gd name="T69" fmla="*/ 115 h 151"/>
                  <a:gd name="T70" fmla="*/ 11 w 185"/>
                  <a:gd name="T71" fmla="*/ 117 h 151"/>
                  <a:gd name="T72" fmla="*/ 5 w 185"/>
                  <a:gd name="T73" fmla="*/ 123 h 151"/>
                  <a:gd name="T74" fmla="*/ 2 w 185"/>
                  <a:gd name="T75" fmla="*/ 125 h 151"/>
                  <a:gd name="T76" fmla="*/ 1 w 185"/>
                  <a:gd name="T77" fmla="*/ 130 h 151"/>
                  <a:gd name="T78" fmla="*/ 1 w 185"/>
                  <a:gd name="T79" fmla="*/ 138 h 151"/>
                  <a:gd name="T80" fmla="*/ 3 w 185"/>
                  <a:gd name="T81" fmla="*/ 139 h 151"/>
                  <a:gd name="T82" fmla="*/ 7 w 185"/>
                  <a:gd name="T83" fmla="*/ 141 h 151"/>
                  <a:gd name="T84" fmla="*/ 12 w 185"/>
                  <a:gd name="T85" fmla="*/ 145 h 151"/>
                  <a:gd name="T86" fmla="*/ 34 w 185"/>
                  <a:gd name="T87" fmla="*/ 149 h 151"/>
                  <a:gd name="T88" fmla="*/ 85 w 185"/>
                  <a:gd name="T89" fmla="*/ 118 h 151"/>
                  <a:gd name="T90" fmla="*/ 88 w 185"/>
                  <a:gd name="T91" fmla="*/ 116 h 151"/>
                  <a:gd name="T92" fmla="*/ 110 w 185"/>
                  <a:gd name="T93" fmla="*/ 104 h 151"/>
                  <a:gd name="T94" fmla="*/ 127 w 185"/>
                  <a:gd name="T95" fmla="*/ 94 h 151"/>
                  <a:gd name="T96" fmla="*/ 140 w 185"/>
                  <a:gd name="T97" fmla="*/ 87 h 151"/>
                  <a:gd name="T98" fmla="*/ 143 w 185"/>
                  <a:gd name="T99" fmla="*/ 86 h 151"/>
                  <a:gd name="T100" fmla="*/ 151 w 185"/>
                  <a:gd name="T101" fmla="*/ 76 h 151"/>
                  <a:gd name="T102" fmla="*/ 152 w 185"/>
                  <a:gd name="T103" fmla="*/ 71 h 151"/>
                  <a:gd name="T104" fmla="*/ 154 w 185"/>
                  <a:gd name="T105" fmla="*/ 56 h 151"/>
                  <a:gd name="T106" fmla="*/ 155 w 185"/>
                  <a:gd name="T107" fmla="*/ 51 h 151"/>
                  <a:gd name="T108" fmla="*/ 155 w 185"/>
                  <a:gd name="T109" fmla="*/ 42 h 151"/>
                  <a:gd name="T110" fmla="*/ 157 w 185"/>
                  <a:gd name="T111" fmla="*/ 19 h 151"/>
                  <a:gd name="T112" fmla="*/ 167 w 185"/>
                  <a:gd name="T113" fmla="*/ 15 h 151"/>
                  <a:gd name="T114" fmla="*/ 168 w 185"/>
                  <a:gd name="T115" fmla="*/ 14 h 151"/>
                  <a:gd name="T116" fmla="*/ 172 w 185"/>
                  <a:gd name="T117" fmla="*/ 13 h 151"/>
                  <a:gd name="T118" fmla="*/ 185 w 185"/>
                  <a:gd name="T119" fmla="*/ 1 h 151"/>
                  <a:gd name="T120" fmla="*/ 185 w 185"/>
                  <a:gd name="T121" fmla="*/ 0 h 1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5" h="151">
                    <a:moveTo>
                      <a:pt x="185" y="0"/>
                    </a:moveTo>
                    <a:cubicBezTo>
                      <a:pt x="182" y="0"/>
                      <a:pt x="180" y="1"/>
                      <a:pt x="177" y="1"/>
                    </a:cubicBezTo>
                    <a:cubicBezTo>
                      <a:pt x="169" y="3"/>
                      <a:pt x="161" y="4"/>
                      <a:pt x="151" y="4"/>
                    </a:cubicBezTo>
                    <a:cubicBezTo>
                      <a:pt x="149" y="4"/>
                      <a:pt x="148" y="4"/>
                      <a:pt x="146" y="4"/>
                    </a:cubicBezTo>
                    <a:cubicBezTo>
                      <a:pt x="146" y="4"/>
                      <a:pt x="146" y="4"/>
                      <a:pt x="146" y="4"/>
                    </a:cubicBezTo>
                    <a:cubicBezTo>
                      <a:pt x="142" y="4"/>
                      <a:pt x="139" y="6"/>
                      <a:pt x="135" y="7"/>
                    </a:cubicBezTo>
                    <a:cubicBezTo>
                      <a:pt x="134" y="8"/>
                      <a:pt x="133" y="9"/>
                      <a:pt x="131" y="9"/>
                    </a:cubicBezTo>
                    <a:cubicBezTo>
                      <a:pt x="130" y="10"/>
                      <a:pt x="129" y="10"/>
                      <a:pt x="129" y="10"/>
                    </a:cubicBezTo>
                    <a:cubicBezTo>
                      <a:pt x="123" y="12"/>
                      <a:pt x="123" y="12"/>
                      <a:pt x="123" y="12"/>
                    </a:cubicBezTo>
                    <a:cubicBezTo>
                      <a:pt x="118" y="14"/>
                      <a:pt x="112" y="16"/>
                      <a:pt x="106" y="17"/>
                    </a:cubicBezTo>
                    <a:cubicBezTo>
                      <a:pt x="106" y="17"/>
                      <a:pt x="105" y="17"/>
                      <a:pt x="105" y="17"/>
                    </a:cubicBezTo>
                    <a:cubicBezTo>
                      <a:pt x="104" y="17"/>
                      <a:pt x="104" y="17"/>
                      <a:pt x="104" y="17"/>
                    </a:cubicBezTo>
                    <a:cubicBezTo>
                      <a:pt x="103" y="17"/>
                      <a:pt x="102" y="17"/>
                      <a:pt x="101" y="17"/>
                    </a:cubicBezTo>
                    <a:cubicBezTo>
                      <a:pt x="95" y="17"/>
                      <a:pt x="90" y="17"/>
                      <a:pt x="85" y="16"/>
                    </a:cubicBezTo>
                    <a:cubicBezTo>
                      <a:pt x="83" y="15"/>
                      <a:pt x="83" y="15"/>
                      <a:pt x="83" y="15"/>
                    </a:cubicBezTo>
                    <a:cubicBezTo>
                      <a:pt x="82" y="15"/>
                      <a:pt x="82" y="15"/>
                      <a:pt x="81" y="15"/>
                    </a:cubicBezTo>
                    <a:cubicBezTo>
                      <a:pt x="80" y="14"/>
                      <a:pt x="80" y="14"/>
                      <a:pt x="80" y="14"/>
                    </a:cubicBezTo>
                    <a:cubicBezTo>
                      <a:pt x="79" y="14"/>
                      <a:pt x="79" y="13"/>
                      <a:pt x="79" y="13"/>
                    </a:cubicBezTo>
                    <a:cubicBezTo>
                      <a:pt x="73" y="11"/>
                      <a:pt x="73" y="11"/>
                      <a:pt x="73" y="11"/>
                    </a:cubicBezTo>
                    <a:cubicBezTo>
                      <a:pt x="72" y="11"/>
                      <a:pt x="71" y="11"/>
                      <a:pt x="71" y="11"/>
                    </a:cubicBezTo>
                    <a:cubicBezTo>
                      <a:pt x="70" y="11"/>
                      <a:pt x="69" y="11"/>
                      <a:pt x="68" y="12"/>
                    </a:cubicBezTo>
                    <a:cubicBezTo>
                      <a:pt x="66" y="13"/>
                      <a:pt x="66" y="13"/>
                      <a:pt x="66" y="13"/>
                    </a:cubicBezTo>
                    <a:cubicBezTo>
                      <a:pt x="58" y="16"/>
                      <a:pt x="51" y="18"/>
                      <a:pt x="46" y="19"/>
                    </a:cubicBezTo>
                    <a:cubicBezTo>
                      <a:pt x="44" y="19"/>
                      <a:pt x="44" y="19"/>
                      <a:pt x="44" y="19"/>
                    </a:cubicBezTo>
                    <a:cubicBezTo>
                      <a:pt x="43" y="19"/>
                      <a:pt x="41" y="19"/>
                      <a:pt x="39" y="19"/>
                    </a:cubicBezTo>
                    <a:cubicBezTo>
                      <a:pt x="38" y="19"/>
                      <a:pt x="36" y="19"/>
                      <a:pt x="34" y="18"/>
                    </a:cubicBezTo>
                    <a:cubicBezTo>
                      <a:pt x="28" y="14"/>
                      <a:pt x="28" y="14"/>
                      <a:pt x="28" y="14"/>
                    </a:cubicBezTo>
                    <a:cubicBezTo>
                      <a:pt x="27" y="17"/>
                      <a:pt x="27" y="19"/>
                      <a:pt x="27" y="21"/>
                    </a:cubicBezTo>
                    <a:cubicBezTo>
                      <a:pt x="27" y="23"/>
                      <a:pt x="27" y="23"/>
                      <a:pt x="27" y="23"/>
                    </a:cubicBezTo>
                    <a:cubicBezTo>
                      <a:pt x="36" y="26"/>
                      <a:pt x="36" y="26"/>
                      <a:pt x="36" y="26"/>
                    </a:cubicBezTo>
                    <a:cubicBezTo>
                      <a:pt x="28" y="29"/>
                      <a:pt x="28" y="29"/>
                      <a:pt x="28" y="29"/>
                    </a:cubicBezTo>
                    <a:cubicBezTo>
                      <a:pt x="27" y="30"/>
                      <a:pt x="26" y="30"/>
                      <a:pt x="26" y="30"/>
                    </a:cubicBezTo>
                    <a:cubicBezTo>
                      <a:pt x="25" y="31"/>
                      <a:pt x="25" y="31"/>
                      <a:pt x="25" y="31"/>
                    </a:cubicBezTo>
                    <a:cubicBezTo>
                      <a:pt x="24" y="31"/>
                      <a:pt x="23" y="32"/>
                      <a:pt x="22" y="32"/>
                    </a:cubicBezTo>
                    <a:cubicBezTo>
                      <a:pt x="22" y="33"/>
                      <a:pt x="22" y="33"/>
                      <a:pt x="22" y="33"/>
                    </a:cubicBezTo>
                    <a:cubicBezTo>
                      <a:pt x="22" y="33"/>
                      <a:pt x="22" y="33"/>
                      <a:pt x="22" y="33"/>
                    </a:cubicBezTo>
                    <a:cubicBezTo>
                      <a:pt x="22" y="34"/>
                      <a:pt x="22" y="34"/>
                      <a:pt x="22" y="34"/>
                    </a:cubicBezTo>
                    <a:cubicBezTo>
                      <a:pt x="22" y="37"/>
                      <a:pt x="19" y="39"/>
                      <a:pt x="18" y="40"/>
                    </a:cubicBezTo>
                    <a:cubicBezTo>
                      <a:pt x="17" y="40"/>
                      <a:pt x="17" y="40"/>
                      <a:pt x="17" y="40"/>
                    </a:cubicBezTo>
                    <a:cubicBezTo>
                      <a:pt x="16" y="41"/>
                      <a:pt x="16" y="41"/>
                      <a:pt x="16" y="41"/>
                    </a:cubicBezTo>
                    <a:cubicBezTo>
                      <a:pt x="15" y="42"/>
                      <a:pt x="15" y="42"/>
                      <a:pt x="15" y="42"/>
                    </a:cubicBezTo>
                    <a:cubicBezTo>
                      <a:pt x="15" y="43"/>
                      <a:pt x="15" y="43"/>
                      <a:pt x="15" y="44"/>
                    </a:cubicBezTo>
                    <a:cubicBezTo>
                      <a:pt x="14" y="47"/>
                      <a:pt x="14" y="47"/>
                      <a:pt x="14" y="47"/>
                    </a:cubicBezTo>
                    <a:cubicBezTo>
                      <a:pt x="10" y="45"/>
                      <a:pt x="10" y="45"/>
                      <a:pt x="10" y="45"/>
                    </a:cubicBezTo>
                    <a:cubicBezTo>
                      <a:pt x="9" y="45"/>
                      <a:pt x="5" y="43"/>
                      <a:pt x="2" y="42"/>
                    </a:cubicBezTo>
                    <a:cubicBezTo>
                      <a:pt x="2" y="43"/>
                      <a:pt x="2" y="44"/>
                      <a:pt x="1" y="46"/>
                    </a:cubicBezTo>
                    <a:cubicBezTo>
                      <a:pt x="1" y="47"/>
                      <a:pt x="1" y="49"/>
                      <a:pt x="0" y="50"/>
                    </a:cubicBezTo>
                    <a:cubicBezTo>
                      <a:pt x="2" y="53"/>
                      <a:pt x="5" y="54"/>
                      <a:pt x="5" y="57"/>
                    </a:cubicBezTo>
                    <a:cubicBezTo>
                      <a:pt x="5" y="61"/>
                      <a:pt x="4" y="65"/>
                      <a:pt x="5" y="69"/>
                    </a:cubicBezTo>
                    <a:cubicBezTo>
                      <a:pt x="5" y="72"/>
                      <a:pt x="5" y="74"/>
                      <a:pt x="6" y="77"/>
                    </a:cubicBezTo>
                    <a:cubicBezTo>
                      <a:pt x="6" y="77"/>
                      <a:pt x="6" y="77"/>
                      <a:pt x="6" y="77"/>
                    </a:cubicBezTo>
                    <a:cubicBezTo>
                      <a:pt x="8" y="77"/>
                      <a:pt x="10" y="77"/>
                      <a:pt x="11" y="77"/>
                    </a:cubicBezTo>
                    <a:cubicBezTo>
                      <a:pt x="12" y="77"/>
                      <a:pt x="12" y="77"/>
                      <a:pt x="13" y="77"/>
                    </a:cubicBezTo>
                    <a:cubicBezTo>
                      <a:pt x="14" y="77"/>
                      <a:pt x="15" y="77"/>
                      <a:pt x="16" y="77"/>
                    </a:cubicBezTo>
                    <a:cubicBezTo>
                      <a:pt x="16" y="77"/>
                      <a:pt x="16" y="77"/>
                      <a:pt x="16" y="77"/>
                    </a:cubicBezTo>
                    <a:cubicBezTo>
                      <a:pt x="18" y="77"/>
                      <a:pt x="19" y="77"/>
                      <a:pt x="20" y="77"/>
                    </a:cubicBezTo>
                    <a:cubicBezTo>
                      <a:pt x="27" y="77"/>
                      <a:pt x="27" y="77"/>
                      <a:pt x="27" y="77"/>
                    </a:cubicBezTo>
                    <a:cubicBezTo>
                      <a:pt x="23" y="83"/>
                      <a:pt x="23" y="83"/>
                      <a:pt x="23" y="83"/>
                    </a:cubicBezTo>
                    <a:cubicBezTo>
                      <a:pt x="24" y="84"/>
                      <a:pt x="25" y="86"/>
                      <a:pt x="26" y="88"/>
                    </a:cubicBezTo>
                    <a:cubicBezTo>
                      <a:pt x="26" y="88"/>
                      <a:pt x="26" y="88"/>
                      <a:pt x="26" y="89"/>
                    </a:cubicBezTo>
                    <a:cubicBezTo>
                      <a:pt x="27" y="90"/>
                      <a:pt x="30" y="95"/>
                      <a:pt x="27" y="98"/>
                    </a:cubicBezTo>
                    <a:cubicBezTo>
                      <a:pt x="26" y="98"/>
                      <a:pt x="26" y="99"/>
                      <a:pt x="25" y="99"/>
                    </a:cubicBezTo>
                    <a:cubicBezTo>
                      <a:pt x="22" y="101"/>
                      <a:pt x="20" y="103"/>
                      <a:pt x="20" y="104"/>
                    </a:cubicBezTo>
                    <a:cubicBezTo>
                      <a:pt x="44" y="125"/>
                      <a:pt x="44" y="125"/>
                      <a:pt x="44" y="125"/>
                    </a:cubicBezTo>
                    <a:cubicBezTo>
                      <a:pt x="16" y="109"/>
                      <a:pt x="16" y="109"/>
                      <a:pt x="16" y="109"/>
                    </a:cubicBezTo>
                    <a:cubicBezTo>
                      <a:pt x="15" y="109"/>
                      <a:pt x="14" y="109"/>
                      <a:pt x="14" y="109"/>
                    </a:cubicBezTo>
                    <a:cubicBezTo>
                      <a:pt x="13" y="109"/>
                      <a:pt x="13" y="109"/>
                      <a:pt x="12" y="109"/>
                    </a:cubicBezTo>
                    <a:cubicBezTo>
                      <a:pt x="11" y="110"/>
                      <a:pt x="11" y="110"/>
                      <a:pt x="10" y="110"/>
                    </a:cubicBezTo>
                    <a:cubicBezTo>
                      <a:pt x="11" y="111"/>
                      <a:pt x="11" y="111"/>
                      <a:pt x="11" y="111"/>
                    </a:cubicBezTo>
                    <a:cubicBezTo>
                      <a:pt x="11" y="111"/>
                      <a:pt x="12" y="113"/>
                      <a:pt x="12" y="115"/>
                    </a:cubicBezTo>
                    <a:cubicBezTo>
                      <a:pt x="12" y="116"/>
                      <a:pt x="12" y="116"/>
                      <a:pt x="12" y="116"/>
                    </a:cubicBezTo>
                    <a:cubicBezTo>
                      <a:pt x="11" y="117"/>
                      <a:pt x="11" y="117"/>
                      <a:pt x="11" y="117"/>
                    </a:cubicBezTo>
                    <a:cubicBezTo>
                      <a:pt x="10" y="118"/>
                      <a:pt x="10" y="118"/>
                      <a:pt x="10" y="118"/>
                    </a:cubicBezTo>
                    <a:cubicBezTo>
                      <a:pt x="9" y="120"/>
                      <a:pt x="7" y="121"/>
                      <a:pt x="5" y="123"/>
                    </a:cubicBezTo>
                    <a:cubicBezTo>
                      <a:pt x="4" y="123"/>
                      <a:pt x="3" y="124"/>
                      <a:pt x="3" y="124"/>
                    </a:cubicBezTo>
                    <a:cubicBezTo>
                      <a:pt x="2" y="125"/>
                      <a:pt x="2" y="125"/>
                      <a:pt x="2" y="125"/>
                    </a:cubicBezTo>
                    <a:cubicBezTo>
                      <a:pt x="1" y="125"/>
                      <a:pt x="1" y="125"/>
                      <a:pt x="1" y="125"/>
                    </a:cubicBezTo>
                    <a:cubicBezTo>
                      <a:pt x="1" y="127"/>
                      <a:pt x="1" y="129"/>
                      <a:pt x="1" y="130"/>
                    </a:cubicBezTo>
                    <a:cubicBezTo>
                      <a:pt x="1" y="132"/>
                      <a:pt x="1" y="133"/>
                      <a:pt x="0" y="134"/>
                    </a:cubicBezTo>
                    <a:cubicBezTo>
                      <a:pt x="0" y="135"/>
                      <a:pt x="1" y="136"/>
                      <a:pt x="1" y="138"/>
                    </a:cubicBezTo>
                    <a:cubicBezTo>
                      <a:pt x="1" y="139"/>
                      <a:pt x="1" y="139"/>
                      <a:pt x="1" y="139"/>
                    </a:cubicBezTo>
                    <a:cubicBezTo>
                      <a:pt x="2" y="139"/>
                      <a:pt x="3" y="139"/>
                      <a:pt x="3" y="139"/>
                    </a:cubicBezTo>
                    <a:cubicBezTo>
                      <a:pt x="4" y="140"/>
                      <a:pt x="4" y="140"/>
                      <a:pt x="4" y="140"/>
                    </a:cubicBezTo>
                    <a:cubicBezTo>
                      <a:pt x="5" y="140"/>
                      <a:pt x="6" y="141"/>
                      <a:pt x="7" y="141"/>
                    </a:cubicBezTo>
                    <a:cubicBezTo>
                      <a:pt x="7" y="141"/>
                      <a:pt x="8" y="142"/>
                      <a:pt x="8" y="142"/>
                    </a:cubicBezTo>
                    <a:cubicBezTo>
                      <a:pt x="9" y="143"/>
                      <a:pt x="11" y="144"/>
                      <a:pt x="12" y="145"/>
                    </a:cubicBezTo>
                    <a:cubicBezTo>
                      <a:pt x="22" y="149"/>
                      <a:pt x="26" y="151"/>
                      <a:pt x="29" y="151"/>
                    </a:cubicBezTo>
                    <a:cubicBezTo>
                      <a:pt x="31" y="151"/>
                      <a:pt x="32" y="150"/>
                      <a:pt x="34" y="149"/>
                    </a:cubicBezTo>
                    <a:cubicBezTo>
                      <a:pt x="35" y="148"/>
                      <a:pt x="35" y="147"/>
                      <a:pt x="37" y="146"/>
                    </a:cubicBezTo>
                    <a:cubicBezTo>
                      <a:pt x="46" y="139"/>
                      <a:pt x="74" y="124"/>
                      <a:pt x="85" y="118"/>
                    </a:cubicBezTo>
                    <a:cubicBezTo>
                      <a:pt x="87" y="116"/>
                      <a:pt x="87" y="116"/>
                      <a:pt x="87" y="116"/>
                    </a:cubicBezTo>
                    <a:cubicBezTo>
                      <a:pt x="88" y="116"/>
                      <a:pt x="88" y="116"/>
                      <a:pt x="88" y="116"/>
                    </a:cubicBezTo>
                    <a:cubicBezTo>
                      <a:pt x="92" y="114"/>
                      <a:pt x="92" y="114"/>
                      <a:pt x="92" y="114"/>
                    </a:cubicBezTo>
                    <a:cubicBezTo>
                      <a:pt x="98" y="111"/>
                      <a:pt x="104" y="107"/>
                      <a:pt x="110" y="104"/>
                    </a:cubicBezTo>
                    <a:cubicBezTo>
                      <a:pt x="127" y="94"/>
                      <a:pt x="127" y="94"/>
                      <a:pt x="127" y="94"/>
                    </a:cubicBezTo>
                    <a:cubicBezTo>
                      <a:pt x="127" y="94"/>
                      <a:pt x="127" y="94"/>
                      <a:pt x="127" y="94"/>
                    </a:cubicBezTo>
                    <a:cubicBezTo>
                      <a:pt x="135" y="90"/>
                      <a:pt x="135" y="90"/>
                      <a:pt x="135" y="90"/>
                    </a:cubicBezTo>
                    <a:cubicBezTo>
                      <a:pt x="136" y="89"/>
                      <a:pt x="139" y="88"/>
                      <a:pt x="140" y="87"/>
                    </a:cubicBezTo>
                    <a:cubicBezTo>
                      <a:pt x="141" y="87"/>
                      <a:pt x="142" y="86"/>
                      <a:pt x="143" y="86"/>
                    </a:cubicBezTo>
                    <a:cubicBezTo>
                      <a:pt x="143" y="86"/>
                      <a:pt x="143" y="86"/>
                      <a:pt x="143" y="86"/>
                    </a:cubicBezTo>
                    <a:cubicBezTo>
                      <a:pt x="145" y="85"/>
                      <a:pt x="147" y="85"/>
                      <a:pt x="147" y="84"/>
                    </a:cubicBezTo>
                    <a:cubicBezTo>
                      <a:pt x="149" y="82"/>
                      <a:pt x="150" y="79"/>
                      <a:pt x="151" y="76"/>
                    </a:cubicBezTo>
                    <a:cubicBezTo>
                      <a:pt x="152" y="75"/>
                      <a:pt x="152" y="73"/>
                      <a:pt x="152" y="72"/>
                    </a:cubicBezTo>
                    <a:cubicBezTo>
                      <a:pt x="152" y="71"/>
                      <a:pt x="152" y="71"/>
                      <a:pt x="152" y="71"/>
                    </a:cubicBezTo>
                    <a:cubicBezTo>
                      <a:pt x="152" y="70"/>
                      <a:pt x="152" y="68"/>
                      <a:pt x="152" y="67"/>
                    </a:cubicBezTo>
                    <a:cubicBezTo>
                      <a:pt x="152" y="63"/>
                      <a:pt x="153" y="60"/>
                      <a:pt x="154" y="56"/>
                    </a:cubicBezTo>
                    <a:cubicBezTo>
                      <a:pt x="154" y="56"/>
                      <a:pt x="154" y="56"/>
                      <a:pt x="154" y="56"/>
                    </a:cubicBezTo>
                    <a:cubicBezTo>
                      <a:pt x="154" y="54"/>
                      <a:pt x="155" y="52"/>
                      <a:pt x="155" y="51"/>
                    </a:cubicBezTo>
                    <a:cubicBezTo>
                      <a:pt x="155" y="49"/>
                      <a:pt x="155" y="46"/>
                      <a:pt x="155" y="43"/>
                    </a:cubicBezTo>
                    <a:cubicBezTo>
                      <a:pt x="155" y="42"/>
                      <a:pt x="155" y="42"/>
                      <a:pt x="155" y="42"/>
                    </a:cubicBezTo>
                    <a:cubicBezTo>
                      <a:pt x="154" y="36"/>
                      <a:pt x="153" y="29"/>
                      <a:pt x="156" y="23"/>
                    </a:cubicBezTo>
                    <a:cubicBezTo>
                      <a:pt x="156" y="21"/>
                      <a:pt x="157" y="20"/>
                      <a:pt x="157" y="19"/>
                    </a:cubicBezTo>
                    <a:cubicBezTo>
                      <a:pt x="159" y="17"/>
                      <a:pt x="161" y="16"/>
                      <a:pt x="165" y="15"/>
                    </a:cubicBezTo>
                    <a:cubicBezTo>
                      <a:pt x="167" y="15"/>
                      <a:pt x="167" y="15"/>
                      <a:pt x="167" y="15"/>
                    </a:cubicBezTo>
                    <a:cubicBezTo>
                      <a:pt x="166" y="12"/>
                      <a:pt x="166" y="12"/>
                      <a:pt x="166" y="12"/>
                    </a:cubicBezTo>
                    <a:cubicBezTo>
                      <a:pt x="168" y="14"/>
                      <a:pt x="168" y="14"/>
                      <a:pt x="168" y="14"/>
                    </a:cubicBezTo>
                    <a:cubicBezTo>
                      <a:pt x="170" y="14"/>
                      <a:pt x="170" y="14"/>
                      <a:pt x="170" y="14"/>
                    </a:cubicBezTo>
                    <a:cubicBezTo>
                      <a:pt x="170" y="14"/>
                      <a:pt x="171" y="14"/>
                      <a:pt x="172" y="13"/>
                    </a:cubicBezTo>
                    <a:cubicBezTo>
                      <a:pt x="175" y="10"/>
                      <a:pt x="178" y="6"/>
                      <a:pt x="182" y="3"/>
                    </a:cubicBezTo>
                    <a:cubicBezTo>
                      <a:pt x="185" y="1"/>
                      <a:pt x="185" y="1"/>
                      <a:pt x="185" y="1"/>
                    </a:cubicBezTo>
                    <a:cubicBezTo>
                      <a:pt x="185" y="0"/>
                      <a:pt x="185" y="0"/>
                      <a:pt x="185" y="0"/>
                    </a:cubicBezTo>
                    <a:cubicBezTo>
                      <a:pt x="185" y="0"/>
                      <a:pt x="185" y="0"/>
                      <a:pt x="1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243"/>
              <p:cNvSpPr/>
              <p:nvPr/>
            </p:nvSpPr>
            <p:spPr bwMode="auto">
              <a:xfrm>
                <a:off x="7543432" y="5881445"/>
                <a:ext cx="11055" cy="7370"/>
              </a:xfrm>
              <a:custGeom>
                <a:gdLst>
                  <a:gd name="T0" fmla="*/ 4 w 4"/>
                  <a:gd name="T1" fmla="*/ 0 h 3"/>
                  <a:gd name="T2" fmla="*/ 0 w 4"/>
                  <a:gd name="T3" fmla="*/ 1 h 3"/>
                  <a:gd name="T4" fmla="*/ 4 w 4"/>
                  <a:gd name="T5" fmla="*/ 3 h 3"/>
                  <a:gd name="T6" fmla="*/ 4 w 4"/>
                  <a:gd name="T7" fmla="*/ 0 h 3"/>
                </a:gdLst>
                <a:cxnLst>
                  <a:cxn ang="0">
                    <a:pos x="T0" y="T1"/>
                  </a:cxn>
                  <a:cxn ang="0">
                    <a:pos x="T2" y="T3"/>
                  </a:cxn>
                  <a:cxn ang="0">
                    <a:pos x="T4" y="T5"/>
                  </a:cxn>
                  <a:cxn ang="0">
                    <a:pos x="T6" y="T7"/>
                  </a:cxn>
                </a:cxnLst>
                <a:rect l="0" t="0" r="r" b="b"/>
                <a:pathLst>
                  <a:path w="4" h="3">
                    <a:moveTo>
                      <a:pt x="4" y="0"/>
                    </a:moveTo>
                    <a:cubicBezTo>
                      <a:pt x="0" y="1"/>
                      <a:pt x="0" y="1"/>
                      <a:pt x="0" y="1"/>
                    </a:cubicBezTo>
                    <a:cubicBezTo>
                      <a:pt x="1" y="2"/>
                      <a:pt x="3" y="2"/>
                      <a:pt x="4" y="3"/>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244"/>
              <p:cNvSpPr/>
              <p:nvPr/>
            </p:nvSpPr>
            <p:spPr bwMode="auto">
              <a:xfrm>
                <a:off x="7451304" y="5833539"/>
                <a:ext cx="110553" cy="324290"/>
              </a:xfrm>
              <a:custGeom>
                <a:gdLst>
                  <a:gd name="T0" fmla="*/ 35 w 35"/>
                  <a:gd name="T1" fmla="*/ 0 h 102"/>
                  <a:gd name="T2" fmla="*/ 31 w 35"/>
                  <a:gd name="T3" fmla="*/ 1 h 102"/>
                  <a:gd name="T4" fmla="*/ 29 w 35"/>
                  <a:gd name="T5" fmla="*/ 1 h 102"/>
                  <a:gd name="T6" fmla="*/ 22 w 35"/>
                  <a:gd name="T7" fmla="*/ 1 h 102"/>
                  <a:gd name="T8" fmla="*/ 22 w 35"/>
                  <a:gd name="T9" fmla="*/ 4 h 102"/>
                  <a:gd name="T10" fmla="*/ 19 w 35"/>
                  <a:gd name="T11" fmla="*/ 11 h 102"/>
                  <a:gd name="T12" fmla="*/ 6 w 35"/>
                  <a:gd name="T13" fmla="*/ 45 h 102"/>
                  <a:gd name="T14" fmla="*/ 5 w 35"/>
                  <a:gd name="T15" fmla="*/ 45 h 102"/>
                  <a:gd name="T16" fmla="*/ 0 w 35"/>
                  <a:gd name="T17" fmla="*/ 51 h 102"/>
                  <a:gd name="T18" fmla="*/ 1 w 35"/>
                  <a:gd name="T19" fmla="*/ 53 h 102"/>
                  <a:gd name="T20" fmla="*/ 0 w 35"/>
                  <a:gd name="T21" fmla="*/ 53 h 102"/>
                  <a:gd name="T22" fmla="*/ 1 w 35"/>
                  <a:gd name="T23" fmla="*/ 53 h 102"/>
                  <a:gd name="T24" fmla="*/ 2 w 35"/>
                  <a:gd name="T25" fmla="*/ 53 h 102"/>
                  <a:gd name="T26" fmla="*/ 2 w 35"/>
                  <a:gd name="T27" fmla="*/ 55 h 102"/>
                  <a:gd name="T28" fmla="*/ 2 w 35"/>
                  <a:gd name="T29" fmla="*/ 55 h 102"/>
                  <a:gd name="T30" fmla="*/ 17 w 35"/>
                  <a:gd name="T31" fmla="*/ 102 h 102"/>
                  <a:gd name="T32" fmla="*/ 22 w 35"/>
                  <a:gd name="T33" fmla="*/ 83 h 102"/>
                  <a:gd name="T34" fmla="*/ 24 w 35"/>
                  <a:gd name="T35" fmla="*/ 75 h 102"/>
                  <a:gd name="T36" fmla="*/ 26 w 35"/>
                  <a:gd name="T37" fmla="*/ 67 h 102"/>
                  <a:gd name="T38" fmla="*/ 27 w 35"/>
                  <a:gd name="T39" fmla="*/ 65 h 102"/>
                  <a:gd name="T40" fmla="*/ 28 w 35"/>
                  <a:gd name="T41" fmla="*/ 61 h 102"/>
                  <a:gd name="T42" fmla="*/ 29 w 35"/>
                  <a:gd name="T43" fmla="*/ 51 h 102"/>
                  <a:gd name="T44" fmla="*/ 29 w 35"/>
                  <a:gd name="T45" fmla="*/ 50 h 102"/>
                  <a:gd name="T46" fmla="*/ 26 w 35"/>
                  <a:gd name="T47" fmla="*/ 52 h 102"/>
                  <a:gd name="T48" fmla="*/ 25 w 35"/>
                  <a:gd name="T49" fmla="*/ 52 h 102"/>
                  <a:gd name="T50" fmla="*/ 24 w 35"/>
                  <a:gd name="T51" fmla="*/ 52 h 102"/>
                  <a:gd name="T52" fmla="*/ 24 w 35"/>
                  <a:gd name="T53" fmla="*/ 52 h 102"/>
                  <a:gd name="T54" fmla="*/ 22 w 35"/>
                  <a:gd name="T55" fmla="*/ 52 h 102"/>
                  <a:gd name="T56" fmla="*/ 21 w 35"/>
                  <a:gd name="T57" fmla="*/ 52 h 102"/>
                  <a:gd name="T58" fmla="*/ 21 w 35"/>
                  <a:gd name="T59" fmla="*/ 52 h 102"/>
                  <a:gd name="T60" fmla="*/ 18 w 35"/>
                  <a:gd name="T61" fmla="*/ 53 h 102"/>
                  <a:gd name="T62" fmla="*/ 25 w 35"/>
                  <a:gd name="T63" fmla="*/ 40 h 102"/>
                  <a:gd name="T64" fmla="*/ 26 w 35"/>
                  <a:gd name="T65" fmla="*/ 40 h 102"/>
                  <a:gd name="T66" fmla="*/ 19 w 35"/>
                  <a:gd name="T67" fmla="*/ 37 h 102"/>
                  <a:gd name="T68" fmla="*/ 21 w 35"/>
                  <a:gd name="T69" fmla="*/ 20 h 102"/>
                  <a:gd name="T70" fmla="*/ 25 w 35"/>
                  <a:gd name="T71" fmla="*/ 16 h 102"/>
                  <a:gd name="T72" fmla="*/ 26 w 35"/>
                  <a:gd name="T73" fmla="*/ 15 h 102"/>
                  <a:gd name="T74" fmla="*/ 26 w 35"/>
                  <a:gd name="T75" fmla="*/ 15 h 102"/>
                  <a:gd name="T76" fmla="*/ 35 w 35"/>
                  <a:gd name="T77" fmla="*/ 8 h 102"/>
                  <a:gd name="T78" fmla="*/ 35 w 35"/>
                  <a:gd name="T79" fmla="*/ 8 h 102"/>
                  <a:gd name="T80" fmla="*/ 35 w 35"/>
                  <a:gd name="T81" fmla="*/ 7 h 102"/>
                  <a:gd name="T82" fmla="*/ 34 w 35"/>
                  <a:gd name="T83" fmla="*/ 2 h 102"/>
                  <a:gd name="T84" fmla="*/ 35 w 35"/>
                  <a:gd name="T85" fmla="*/ 0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 h="102">
                    <a:moveTo>
                      <a:pt x="35" y="0"/>
                    </a:moveTo>
                    <a:cubicBezTo>
                      <a:pt x="34" y="0"/>
                      <a:pt x="32" y="1"/>
                      <a:pt x="31" y="1"/>
                    </a:cubicBezTo>
                    <a:cubicBezTo>
                      <a:pt x="30" y="1"/>
                      <a:pt x="30" y="1"/>
                      <a:pt x="29" y="1"/>
                    </a:cubicBezTo>
                    <a:cubicBezTo>
                      <a:pt x="22" y="1"/>
                      <a:pt x="22" y="1"/>
                      <a:pt x="22" y="1"/>
                    </a:cubicBezTo>
                    <a:cubicBezTo>
                      <a:pt x="22" y="2"/>
                      <a:pt x="22" y="3"/>
                      <a:pt x="22" y="4"/>
                    </a:cubicBezTo>
                    <a:cubicBezTo>
                      <a:pt x="22" y="6"/>
                      <a:pt x="20" y="9"/>
                      <a:pt x="19" y="11"/>
                    </a:cubicBezTo>
                    <a:cubicBezTo>
                      <a:pt x="15" y="23"/>
                      <a:pt x="12" y="34"/>
                      <a:pt x="6" y="45"/>
                    </a:cubicBezTo>
                    <a:cubicBezTo>
                      <a:pt x="5" y="45"/>
                      <a:pt x="5" y="45"/>
                      <a:pt x="5" y="45"/>
                    </a:cubicBezTo>
                    <a:cubicBezTo>
                      <a:pt x="4" y="47"/>
                      <a:pt x="1" y="49"/>
                      <a:pt x="0" y="51"/>
                    </a:cubicBezTo>
                    <a:cubicBezTo>
                      <a:pt x="1" y="53"/>
                      <a:pt x="1" y="53"/>
                      <a:pt x="1" y="53"/>
                    </a:cubicBezTo>
                    <a:cubicBezTo>
                      <a:pt x="0" y="53"/>
                      <a:pt x="0" y="53"/>
                      <a:pt x="0" y="53"/>
                    </a:cubicBezTo>
                    <a:cubicBezTo>
                      <a:pt x="1" y="53"/>
                      <a:pt x="1" y="53"/>
                      <a:pt x="1" y="53"/>
                    </a:cubicBezTo>
                    <a:cubicBezTo>
                      <a:pt x="2" y="53"/>
                      <a:pt x="2" y="53"/>
                      <a:pt x="2" y="53"/>
                    </a:cubicBezTo>
                    <a:cubicBezTo>
                      <a:pt x="2" y="55"/>
                      <a:pt x="2" y="55"/>
                      <a:pt x="2" y="55"/>
                    </a:cubicBezTo>
                    <a:cubicBezTo>
                      <a:pt x="2" y="55"/>
                      <a:pt x="2" y="55"/>
                      <a:pt x="2" y="55"/>
                    </a:cubicBezTo>
                    <a:cubicBezTo>
                      <a:pt x="17" y="102"/>
                      <a:pt x="17" y="102"/>
                      <a:pt x="17" y="102"/>
                    </a:cubicBezTo>
                    <a:cubicBezTo>
                      <a:pt x="19" y="95"/>
                      <a:pt x="20" y="89"/>
                      <a:pt x="22" y="83"/>
                    </a:cubicBezTo>
                    <a:cubicBezTo>
                      <a:pt x="24" y="75"/>
                      <a:pt x="24" y="75"/>
                      <a:pt x="24" y="75"/>
                    </a:cubicBezTo>
                    <a:cubicBezTo>
                      <a:pt x="24" y="73"/>
                      <a:pt x="25" y="70"/>
                      <a:pt x="26" y="67"/>
                    </a:cubicBezTo>
                    <a:cubicBezTo>
                      <a:pt x="27" y="65"/>
                      <a:pt x="27" y="65"/>
                      <a:pt x="27" y="65"/>
                    </a:cubicBezTo>
                    <a:cubicBezTo>
                      <a:pt x="27" y="64"/>
                      <a:pt x="27" y="62"/>
                      <a:pt x="28" y="61"/>
                    </a:cubicBezTo>
                    <a:cubicBezTo>
                      <a:pt x="28" y="58"/>
                      <a:pt x="29" y="55"/>
                      <a:pt x="29" y="51"/>
                    </a:cubicBezTo>
                    <a:cubicBezTo>
                      <a:pt x="29" y="50"/>
                      <a:pt x="29" y="50"/>
                      <a:pt x="29" y="50"/>
                    </a:cubicBezTo>
                    <a:cubicBezTo>
                      <a:pt x="28" y="51"/>
                      <a:pt x="27" y="51"/>
                      <a:pt x="26" y="52"/>
                    </a:cubicBezTo>
                    <a:cubicBezTo>
                      <a:pt x="25" y="52"/>
                      <a:pt x="25" y="52"/>
                      <a:pt x="25" y="52"/>
                    </a:cubicBezTo>
                    <a:cubicBezTo>
                      <a:pt x="24" y="52"/>
                      <a:pt x="24" y="52"/>
                      <a:pt x="24" y="52"/>
                    </a:cubicBezTo>
                    <a:cubicBezTo>
                      <a:pt x="24" y="52"/>
                      <a:pt x="24" y="52"/>
                      <a:pt x="24" y="52"/>
                    </a:cubicBezTo>
                    <a:cubicBezTo>
                      <a:pt x="23" y="52"/>
                      <a:pt x="22" y="52"/>
                      <a:pt x="22" y="52"/>
                    </a:cubicBezTo>
                    <a:cubicBezTo>
                      <a:pt x="22" y="52"/>
                      <a:pt x="21" y="52"/>
                      <a:pt x="21" y="52"/>
                    </a:cubicBezTo>
                    <a:cubicBezTo>
                      <a:pt x="21" y="52"/>
                      <a:pt x="21" y="52"/>
                      <a:pt x="21" y="52"/>
                    </a:cubicBezTo>
                    <a:cubicBezTo>
                      <a:pt x="20" y="52"/>
                      <a:pt x="19" y="53"/>
                      <a:pt x="18" y="53"/>
                    </a:cubicBezTo>
                    <a:cubicBezTo>
                      <a:pt x="18" y="49"/>
                      <a:pt x="20" y="40"/>
                      <a:pt x="25" y="40"/>
                    </a:cubicBezTo>
                    <a:cubicBezTo>
                      <a:pt x="25" y="40"/>
                      <a:pt x="26" y="40"/>
                      <a:pt x="26" y="40"/>
                    </a:cubicBezTo>
                    <a:cubicBezTo>
                      <a:pt x="24" y="38"/>
                      <a:pt x="22" y="37"/>
                      <a:pt x="19" y="37"/>
                    </a:cubicBezTo>
                    <a:cubicBezTo>
                      <a:pt x="20" y="32"/>
                      <a:pt x="19" y="25"/>
                      <a:pt x="21" y="20"/>
                    </a:cubicBezTo>
                    <a:cubicBezTo>
                      <a:pt x="22" y="18"/>
                      <a:pt x="24" y="17"/>
                      <a:pt x="25" y="16"/>
                    </a:cubicBezTo>
                    <a:cubicBezTo>
                      <a:pt x="25" y="16"/>
                      <a:pt x="26" y="15"/>
                      <a:pt x="26" y="15"/>
                    </a:cubicBezTo>
                    <a:cubicBezTo>
                      <a:pt x="26" y="15"/>
                      <a:pt x="26" y="15"/>
                      <a:pt x="26" y="15"/>
                    </a:cubicBezTo>
                    <a:cubicBezTo>
                      <a:pt x="35" y="8"/>
                      <a:pt x="35" y="8"/>
                      <a:pt x="35" y="8"/>
                    </a:cubicBezTo>
                    <a:cubicBezTo>
                      <a:pt x="35" y="8"/>
                      <a:pt x="35" y="8"/>
                      <a:pt x="35" y="8"/>
                    </a:cubicBezTo>
                    <a:cubicBezTo>
                      <a:pt x="35" y="7"/>
                      <a:pt x="35" y="7"/>
                      <a:pt x="35" y="7"/>
                    </a:cubicBezTo>
                    <a:cubicBezTo>
                      <a:pt x="35" y="6"/>
                      <a:pt x="34" y="4"/>
                      <a:pt x="34" y="2"/>
                    </a:cubicBezTo>
                    <a:cubicBezTo>
                      <a:pt x="35" y="1"/>
                      <a:pt x="35"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Rectangle 245"/>
              <p:cNvSpPr>
                <a:spLocks noChangeArrowheads="1"/>
              </p:cNvSpPr>
              <p:nvPr/>
            </p:nvSpPr>
            <p:spPr bwMode="auto">
              <a:xfrm>
                <a:off x="8391008" y="5402380"/>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246"/>
              <p:cNvSpPr/>
              <p:nvPr/>
            </p:nvSpPr>
            <p:spPr bwMode="auto">
              <a:xfrm flipH="1">
                <a:off x="8391008" y="5402380"/>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247"/>
              <p:cNvSpPr/>
              <p:nvPr/>
            </p:nvSpPr>
            <p:spPr bwMode="auto">
              <a:xfrm>
                <a:off x="6706911" y="4893834"/>
                <a:ext cx="1680413" cy="641210"/>
              </a:xfrm>
              <a:custGeom>
                <a:gdLst>
                  <a:gd name="T0" fmla="*/ 233 w 529"/>
                  <a:gd name="T1" fmla="*/ 2 h 202"/>
                  <a:gd name="T2" fmla="*/ 167 w 529"/>
                  <a:gd name="T3" fmla="*/ 17 h 202"/>
                  <a:gd name="T4" fmla="*/ 119 w 529"/>
                  <a:gd name="T5" fmla="*/ 28 h 202"/>
                  <a:gd name="T6" fmla="*/ 87 w 529"/>
                  <a:gd name="T7" fmla="*/ 28 h 202"/>
                  <a:gd name="T8" fmla="*/ 108 w 529"/>
                  <a:gd name="T9" fmla="*/ 44 h 202"/>
                  <a:gd name="T10" fmla="*/ 72 w 529"/>
                  <a:gd name="T11" fmla="*/ 56 h 202"/>
                  <a:gd name="T12" fmla="*/ 44 w 529"/>
                  <a:gd name="T13" fmla="*/ 58 h 202"/>
                  <a:gd name="T14" fmla="*/ 15 w 529"/>
                  <a:gd name="T15" fmla="*/ 60 h 202"/>
                  <a:gd name="T16" fmla="*/ 2 w 529"/>
                  <a:gd name="T17" fmla="*/ 87 h 202"/>
                  <a:gd name="T18" fmla="*/ 21 w 529"/>
                  <a:gd name="T19" fmla="*/ 102 h 202"/>
                  <a:gd name="T20" fmla="*/ 23 w 529"/>
                  <a:gd name="T21" fmla="*/ 123 h 202"/>
                  <a:gd name="T22" fmla="*/ 11 w 529"/>
                  <a:gd name="T23" fmla="*/ 118 h 202"/>
                  <a:gd name="T24" fmla="*/ 7 w 529"/>
                  <a:gd name="T25" fmla="*/ 124 h 202"/>
                  <a:gd name="T26" fmla="*/ 16 w 529"/>
                  <a:gd name="T27" fmla="*/ 128 h 202"/>
                  <a:gd name="T28" fmla="*/ 44 w 529"/>
                  <a:gd name="T29" fmla="*/ 159 h 202"/>
                  <a:gd name="T30" fmla="*/ 36 w 529"/>
                  <a:gd name="T31" fmla="*/ 164 h 202"/>
                  <a:gd name="T32" fmla="*/ 48 w 529"/>
                  <a:gd name="T33" fmla="*/ 175 h 202"/>
                  <a:gd name="T34" fmla="*/ 54 w 529"/>
                  <a:gd name="T35" fmla="*/ 179 h 202"/>
                  <a:gd name="T36" fmla="*/ 54 w 529"/>
                  <a:gd name="T37" fmla="*/ 182 h 202"/>
                  <a:gd name="T38" fmla="*/ 79 w 529"/>
                  <a:gd name="T39" fmla="*/ 181 h 202"/>
                  <a:gd name="T40" fmla="*/ 114 w 529"/>
                  <a:gd name="T41" fmla="*/ 193 h 202"/>
                  <a:gd name="T42" fmla="*/ 129 w 529"/>
                  <a:gd name="T43" fmla="*/ 173 h 202"/>
                  <a:gd name="T44" fmla="*/ 188 w 529"/>
                  <a:gd name="T45" fmla="*/ 197 h 202"/>
                  <a:gd name="T46" fmla="*/ 228 w 529"/>
                  <a:gd name="T47" fmla="*/ 189 h 202"/>
                  <a:gd name="T48" fmla="*/ 264 w 529"/>
                  <a:gd name="T49" fmla="*/ 183 h 202"/>
                  <a:gd name="T50" fmla="*/ 282 w 529"/>
                  <a:gd name="T51" fmla="*/ 200 h 202"/>
                  <a:gd name="T52" fmla="*/ 289 w 529"/>
                  <a:gd name="T53" fmla="*/ 198 h 202"/>
                  <a:gd name="T54" fmla="*/ 293 w 529"/>
                  <a:gd name="T55" fmla="*/ 190 h 202"/>
                  <a:gd name="T56" fmla="*/ 313 w 529"/>
                  <a:gd name="T57" fmla="*/ 176 h 202"/>
                  <a:gd name="T58" fmla="*/ 340 w 529"/>
                  <a:gd name="T59" fmla="*/ 170 h 202"/>
                  <a:gd name="T60" fmla="*/ 359 w 529"/>
                  <a:gd name="T61" fmla="*/ 172 h 202"/>
                  <a:gd name="T62" fmla="*/ 380 w 529"/>
                  <a:gd name="T63" fmla="*/ 174 h 202"/>
                  <a:gd name="T64" fmla="*/ 403 w 529"/>
                  <a:gd name="T65" fmla="*/ 167 h 202"/>
                  <a:gd name="T66" fmla="*/ 426 w 529"/>
                  <a:gd name="T67" fmla="*/ 161 h 202"/>
                  <a:gd name="T68" fmla="*/ 481 w 529"/>
                  <a:gd name="T69" fmla="*/ 152 h 202"/>
                  <a:gd name="T70" fmla="*/ 485 w 529"/>
                  <a:gd name="T71" fmla="*/ 154 h 202"/>
                  <a:gd name="T72" fmla="*/ 509 w 529"/>
                  <a:gd name="T73" fmla="*/ 155 h 202"/>
                  <a:gd name="T74" fmla="*/ 521 w 529"/>
                  <a:gd name="T75" fmla="*/ 164 h 202"/>
                  <a:gd name="T76" fmla="*/ 529 w 529"/>
                  <a:gd name="T77" fmla="*/ 159 h 202"/>
                  <a:gd name="T78" fmla="*/ 525 w 529"/>
                  <a:gd name="T79" fmla="*/ 155 h 202"/>
                  <a:gd name="T80" fmla="*/ 524 w 529"/>
                  <a:gd name="T81" fmla="*/ 145 h 202"/>
                  <a:gd name="T82" fmla="*/ 518 w 529"/>
                  <a:gd name="T83" fmla="*/ 142 h 202"/>
                  <a:gd name="T84" fmla="*/ 515 w 529"/>
                  <a:gd name="T85" fmla="*/ 131 h 202"/>
                  <a:gd name="T86" fmla="*/ 514 w 529"/>
                  <a:gd name="T87" fmla="*/ 109 h 202"/>
                  <a:gd name="T88" fmla="*/ 511 w 529"/>
                  <a:gd name="T89" fmla="*/ 86 h 202"/>
                  <a:gd name="T90" fmla="*/ 514 w 529"/>
                  <a:gd name="T91" fmla="*/ 71 h 202"/>
                  <a:gd name="T92" fmla="*/ 499 w 529"/>
                  <a:gd name="T93" fmla="*/ 68 h 202"/>
                  <a:gd name="T94" fmla="*/ 494 w 529"/>
                  <a:gd name="T95" fmla="*/ 52 h 202"/>
                  <a:gd name="T96" fmla="*/ 497 w 529"/>
                  <a:gd name="T97" fmla="*/ 45 h 202"/>
                  <a:gd name="T98" fmla="*/ 496 w 529"/>
                  <a:gd name="T99" fmla="*/ 40 h 202"/>
                  <a:gd name="T100" fmla="*/ 482 w 529"/>
                  <a:gd name="T101" fmla="*/ 26 h 202"/>
                  <a:gd name="T102" fmla="*/ 477 w 529"/>
                  <a:gd name="T103" fmla="*/ 22 h 202"/>
                  <a:gd name="T104" fmla="*/ 470 w 529"/>
                  <a:gd name="T105" fmla="*/ 24 h 202"/>
                  <a:gd name="T106" fmla="*/ 449 w 529"/>
                  <a:gd name="T107" fmla="*/ 22 h 202"/>
                  <a:gd name="T108" fmla="*/ 439 w 529"/>
                  <a:gd name="T109" fmla="*/ 22 h 202"/>
                  <a:gd name="T110" fmla="*/ 399 w 529"/>
                  <a:gd name="T111" fmla="*/ 37 h 202"/>
                  <a:gd name="T112" fmla="*/ 393 w 529"/>
                  <a:gd name="T113" fmla="*/ 36 h 202"/>
                  <a:gd name="T114" fmla="*/ 374 w 529"/>
                  <a:gd name="T115" fmla="*/ 33 h 202"/>
                  <a:gd name="T116" fmla="*/ 328 w 529"/>
                  <a:gd name="T117" fmla="*/ 33 h 202"/>
                  <a:gd name="T118" fmla="*/ 287 w 529"/>
                  <a:gd name="T119" fmla="*/ 19 h 202"/>
                  <a:gd name="T120" fmla="*/ 258 w 529"/>
                  <a:gd name="T121" fmla="*/ 6 h 2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9" h="201">
                    <a:moveTo>
                      <a:pt x="257" y="0"/>
                    </a:moveTo>
                    <a:cubicBezTo>
                      <a:pt x="255" y="0"/>
                      <a:pt x="252" y="0"/>
                      <a:pt x="251" y="0"/>
                    </a:cubicBezTo>
                    <a:cubicBezTo>
                      <a:pt x="248" y="2"/>
                      <a:pt x="245" y="3"/>
                      <a:pt x="242" y="3"/>
                    </a:cubicBezTo>
                    <a:cubicBezTo>
                      <a:pt x="240" y="3"/>
                      <a:pt x="239" y="3"/>
                      <a:pt x="238" y="3"/>
                    </a:cubicBezTo>
                    <a:cubicBezTo>
                      <a:pt x="236" y="2"/>
                      <a:pt x="235" y="2"/>
                      <a:pt x="233" y="2"/>
                    </a:cubicBezTo>
                    <a:cubicBezTo>
                      <a:pt x="233" y="2"/>
                      <a:pt x="233" y="2"/>
                      <a:pt x="233" y="2"/>
                    </a:cubicBezTo>
                    <a:cubicBezTo>
                      <a:pt x="226" y="2"/>
                      <a:pt x="218" y="2"/>
                      <a:pt x="211" y="1"/>
                    </a:cubicBezTo>
                    <a:cubicBezTo>
                      <a:pt x="210" y="1"/>
                      <a:pt x="210" y="1"/>
                      <a:pt x="209" y="1"/>
                    </a:cubicBezTo>
                    <a:cubicBezTo>
                      <a:pt x="201" y="1"/>
                      <a:pt x="195" y="5"/>
                      <a:pt x="187" y="7"/>
                    </a:cubicBezTo>
                    <a:cubicBezTo>
                      <a:pt x="179" y="9"/>
                      <a:pt x="174" y="13"/>
                      <a:pt x="167" y="17"/>
                    </a:cubicBezTo>
                    <a:cubicBezTo>
                      <a:pt x="163" y="19"/>
                      <a:pt x="160" y="21"/>
                      <a:pt x="156" y="24"/>
                    </a:cubicBezTo>
                    <a:cubicBezTo>
                      <a:pt x="154" y="26"/>
                      <a:pt x="150" y="31"/>
                      <a:pt x="148" y="31"/>
                    </a:cubicBezTo>
                    <a:cubicBezTo>
                      <a:pt x="145" y="32"/>
                      <a:pt x="141" y="32"/>
                      <a:pt x="138" y="32"/>
                    </a:cubicBezTo>
                    <a:cubicBezTo>
                      <a:pt x="133" y="32"/>
                      <a:pt x="128" y="31"/>
                      <a:pt x="123" y="29"/>
                    </a:cubicBezTo>
                    <a:cubicBezTo>
                      <a:pt x="122" y="29"/>
                      <a:pt x="121" y="28"/>
                      <a:pt x="119" y="28"/>
                    </a:cubicBezTo>
                    <a:cubicBezTo>
                      <a:pt x="116" y="28"/>
                      <a:pt x="112" y="30"/>
                      <a:pt x="109" y="30"/>
                    </a:cubicBezTo>
                    <a:cubicBezTo>
                      <a:pt x="108" y="30"/>
                      <a:pt x="108" y="30"/>
                      <a:pt x="107" y="30"/>
                    </a:cubicBezTo>
                    <a:cubicBezTo>
                      <a:pt x="104" y="30"/>
                      <a:pt x="100" y="29"/>
                      <a:pt x="97" y="28"/>
                    </a:cubicBezTo>
                    <a:cubicBezTo>
                      <a:pt x="96" y="28"/>
                      <a:pt x="92" y="27"/>
                      <a:pt x="90" y="27"/>
                    </a:cubicBezTo>
                    <a:cubicBezTo>
                      <a:pt x="89" y="27"/>
                      <a:pt x="87" y="27"/>
                      <a:pt x="87" y="28"/>
                    </a:cubicBezTo>
                    <a:cubicBezTo>
                      <a:pt x="87" y="28"/>
                      <a:pt x="87" y="28"/>
                      <a:pt x="87" y="28"/>
                    </a:cubicBezTo>
                    <a:cubicBezTo>
                      <a:pt x="89" y="30"/>
                      <a:pt x="90" y="32"/>
                      <a:pt x="90" y="34"/>
                    </a:cubicBezTo>
                    <a:cubicBezTo>
                      <a:pt x="90" y="36"/>
                      <a:pt x="90" y="37"/>
                      <a:pt x="89" y="38"/>
                    </a:cubicBezTo>
                    <a:cubicBezTo>
                      <a:pt x="92" y="40"/>
                      <a:pt x="94" y="42"/>
                      <a:pt x="98" y="43"/>
                    </a:cubicBezTo>
                    <a:cubicBezTo>
                      <a:pt x="101" y="44"/>
                      <a:pt x="105" y="43"/>
                      <a:pt x="108" y="44"/>
                    </a:cubicBezTo>
                    <a:cubicBezTo>
                      <a:pt x="102" y="45"/>
                      <a:pt x="95" y="45"/>
                      <a:pt x="89" y="47"/>
                    </a:cubicBezTo>
                    <a:cubicBezTo>
                      <a:pt x="85" y="47"/>
                      <a:pt x="79" y="48"/>
                      <a:pt x="77" y="51"/>
                    </a:cubicBezTo>
                    <a:cubicBezTo>
                      <a:pt x="80" y="52"/>
                      <a:pt x="85" y="51"/>
                      <a:pt x="87" y="54"/>
                    </a:cubicBezTo>
                    <a:cubicBezTo>
                      <a:pt x="85" y="56"/>
                      <a:pt x="82" y="57"/>
                      <a:pt x="79" y="57"/>
                    </a:cubicBezTo>
                    <a:cubicBezTo>
                      <a:pt x="77" y="57"/>
                      <a:pt x="74" y="56"/>
                      <a:pt x="72" y="56"/>
                    </a:cubicBezTo>
                    <a:cubicBezTo>
                      <a:pt x="67" y="56"/>
                      <a:pt x="63" y="56"/>
                      <a:pt x="59" y="56"/>
                    </a:cubicBezTo>
                    <a:cubicBezTo>
                      <a:pt x="57" y="56"/>
                      <a:pt x="55" y="56"/>
                      <a:pt x="52" y="56"/>
                    </a:cubicBezTo>
                    <a:cubicBezTo>
                      <a:pt x="54" y="50"/>
                      <a:pt x="52" y="52"/>
                      <a:pt x="48" y="51"/>
                    </a:cubicBezTo>
                    <a:cubicBezTo>
                      <a:pt x="48" y="53"/>
                      <a:pt x="50" y="54"/>
                      <a:pt x="52" y="56"/>
                    </a:cubicBezTo>
                    <a:cubicBezTo>
                      <a:pt x="49" y="57"/>
                      <a:pt x="46" y="57"/>
                      <a:pt x="44" y="58"/>
                    </a:cubicBezTo>
                    <a:cubicBezTo>
                      <a:pt x="43" y="58"/>
                      <a:pt x="43" y="58"/>
                      <a:pt x="42" y="58"/>
                    </a:cubicBezTo>
                    <a:cubicBezTo>
                      <a:pt x="40" y="58"/>
                      <a:pt x="39" y="57"/>
                      <a:pt x="37" y="55"/>
                    </a:cubicBezTo>
                    <a:cubicBezTo>
                      <a:pt x="36" y="54"/>
                      <a:pt x="35" y="53"/>
                      <a:pt x="34" y="53"/>
                    </a:cubicBezTo>
                    <a:cubicBezTo>
                      <a:pt x="34" y="53"/>
                      <a:pt x="33" y="53"/>
                      <a:pt x="33" y="53"/>
                    </a:cubicBezTo>
                    <a:cubicBezTo>
                      <a:pt x="27" y="56"/>
                      <a:pt x="21" y="58"/>
                      <a:pt x="15" y="60"/>
                    </a:cubicBezTo>
                    <a:cubicBezTo>
                      <a:pt x="10" y="62"/>
                      <a:pt x="4" y="67"/>
                      <a:pt x="2" y="71"/>
                    </a:cubicBezTo>
                    <a:cubicBezTo>
                      <a:pt x="2" y="74"/>
                      <a:pt x="3" y="78"/>
                      <a:pt x="3" y="81"/>
                    </a:cubicBezTo>
                    <a:cubicBezTo>
                      <a:pt x="3" y="82"/>
                      <a:pt x="1" y="83"/>
                      <a:pt x="1" y="85"/>
                    </a:cubicBezTo>
                    <a:cubicBezTo>
                      <a:pt x="1" y="85"/>
                      <a:pt x="0" y="86"/>
                      <a:pt x="0" y="86"/>
                    </a:cubicBezTo>
                    <a:cubicBezTo>
                      <a:pt x="0" y="87"/>
                      <a:pt x="1" y="87"/>
                      <a:pt x="2" y="87"/>
                    </a:cubicBezTo>
                    <a:cubicBezTo>
                      <a:pt x="4" y="87"/>
                      <a:pt x="8" y="86"/>
                      <a:pt x="9" y="85"/>
                    </a:cubicBezTo>
                    <a:cubicBezTo>
                      <a:pt x="14" y="84"/>
                      <a:pt x="19" y="84"/>
                      <a:pt x="25" y="84"/>
                    </a:cubicBezTo>
                    <a:cubicBezTo>
                      <a:pt x="22" y="87"/>
                      <a:pt x="20" y="90"/>
                      <a:pt x="17" y="92"/>
                    </a:cubicBezTo>
                    <a:cubicBezTo>
                      <a:pt x="18" y="94"/>
                      <a:pt x="20" y="95"/>
                      <a:pt x="20" y="97"/>
                    </a:cubicBezTo>
                    <a:cubicBezTo>
                      <a:pt x="20" y="98"/>
                      <a:pt x="20" y="101"/>
                      <a:pt x="21" y="102"/>
                    </a:cubicBezTo>
                    <a:cubicBezTo>
                      <a:pt x="22" y="104"/>
                      <a:pt x="25" y="104"/>
                      <a:pt x="28" y="105"/>
                    </a:cubicBezTo>
                    <a:cubicBezTo>
                      <a:pt x="26" y="108"/>
                      <a:pt x="25" y="110"/>
                      <a:pt x="21" y="111"/>
                    </a:cubicBezTo>
                    <a:cubicBezTo>
                      <a:pt x="21" y="111"/>
                      <a:pt x="19" y="111"/>
                      <a:pt x="19" y="111"/>
                    </a:cubicBezTo>
                    <a:cubicBezTo>
                      <a:pt x="20" y="117"/>
                      <a:pt x="25" y="120"/>
                      <a:pt x="30" y="122"/>
                    </a:cubicBezTo>
                    <a:cubicBezTo>
                      <a:pt x="27" y="122"/>
                      <a:pt x="25" y="123"/>
                      <a:pt x="23" y="123"/>
                    </a:cubicBezTo>
                    <a:cubicBezTo>
                      <a:pt x="21" y="123"/>
                      <a:pt x="19" y="122"/>
                      <a:pt x="17" y="121"/>
                    </a:cubicBezTo>
                    <a:cubicBezTo>
                      <a:pt x="15" y="120"/>
                      <a:pt x="15" y="118"/>
                      <a:pt x="15" y="117"/>
                    </a:cubicBezTo>
                    <a:cubicBezTo>
                      <a:pt x="14" y="116"/>
                      <a:pt x="14" y="115"/>
                      <a:pt x="13" y="114"/>
                    </a:cubicBezTo>
                    <a:cubicBezTo>
                      <a:pt x="12" y="114"/>
                      <a:pt x="12" y="113"/>
                      <a:pt x="11" y="113"/>
                    </a:cubicBezTo>
                    <a:cubicBezTo>
                      <a:pt x="10" y="113"/>
                      <a:pt x="11" y="115"/>
                      <a:pt x="11" y="118"/>
                    </a:cubicBezTo>
                    <a:cubicBezTo>
                      <a:pt x="11" y="119"/>
                      <a:pt x="12" y="123"/>
                      <a:pt x="11" y="124"/>
                    </a:cubicBezTo>
                    <a:cubicBezTo>
                      <a:pt x="10" y="124"/>
                      <a:pt x="10" y="124"/>
                      <a:pt x="9" y="124"/>
                    </a:cubicBezTo>
                    <a:cubicBezTo>
                      <a:pt x="9" y="124"/>
                      <a:pt x="9" y="124"/>
                      <a:pt x="9" y="124"/>
                    </a:cubicBezTo>
                    <a:cubicBezTo>
                      <a:pt x="9" y="124"/>
                      <a:pt x="9" y="124"/>
                      <a:pt x="9" y="124"/>
                    </a:cubicBezTo>
                    <a:cubicBezTo>
                      <a:pt x="8" y="124"/>
                      <a:pt x="8" y="124"/>
                      <a:pt x="7" y="124"/>
                    </a:cubicBezTo>
                    <a:cubicBezTo>
                      <a:pt x="6" y="123"/>
                      <a:pt x="6" y="123"/>
                      <a:pt x="6" y="123"/>
                    </a:cubicBezTo>
                    <a:cubicBezTo>
                      <a:pt x="7" y="125"/>
                      <a:pt x="6" y="126"/>
                      <a:pt x="5" y="126"/>
                    </a:cubicBezTo>
                    <a:cubicBezTo>
                      <a:pt x="8" y="128"/>
                      <a:pt x="11" y="129"/>
                      <a:pt x="15" y="129"/>
                    </a:cubicBezTo>
                    <a:cubicBezTo>
                      <a:pt x="15" y="129"/>
                      <a:pt x="16" y="129"/>
                      <a:pt x="16" y="128"/>
                    </a:cubicBezTo>
                    <a:cubicBezTo>
                      <a:pt x="16" y="128"/>
                      <a:pt x="16" y="128"/>
                      <a:pt x="16" y="128"/>
                    </a:cubicBezTo>
                    <a:cubicBezTo>
                      <a:pt x="21" y="128"/>
                      <a:pt x="25" y="133"/>
                      <a:pt x="29" y="134"/>
                    </a:cubicBezTo>
                    <a:cubicBezTo>
                      <a:pt x="32" y="135"/>
                      <a:pt x="37" y="140"/>
                      <a:pt x="33" y="144"/>
                    </a:cubicBezTo>
                    <a:cubicBezTo>
                      <a:pt x="32" y="146"/>
                      <a:pt x="28" y="146"/>
                      <a:pt x="27" y="146"/>
                    </a:cubicBezTo>
                    <a:cubicBezTo>
                      <a:pt x="31" y="149"/>
                      <a:pt x="35" y="151"/>
                      <a:pt x="32" y="156"/>
                    </a:cubicBezTo>
                    <a:cubicBezTo>
                      <a:pt x="35" y="157"/>
                      <a:pt x="42" y="156"/>
                      <a:pt x="44" y="159"/>
                    </a:cubicBezTo>
                    <a:cubicBezTo>
                      <a:pt x="45" y="161"/>
                      <a:pt x="43" y="165"/>
                      <a:pt x="40" y="165"/>
                    </a:cubicBezTo>
                    <a:cubicBezTo>
                      <a:pt x="40" y="165"/>
                      <a:pt x="40" y="165"/>
                      <a:pt x="40" y="165"/>
                    </a:cubicBezTo>
                    <a:cubicBezTo>
                      <a:pt x="39" y="165"/>
                      <a:pt x="38" y="165"/>
                      <a:pt x="38" y="165"/>
                    </a:cubicBezTo>
                    <a:cubicBezTo>
                      <a:pt x="37" y="164"/>
                      <a:pt x="37" y="164"/>
                      <a:pt x="36" y="164"/>
                    </a:cubicBezTo>
                    <a:cubicBezTo>
                      <a:pt x="36" y="164"/>
                      <a:pt x="36" y="164"/>
                      <a:pt x="36" y="164"/>
                    </a:cubicBezTo>
                    <a:cubicBezTo>
                      <a:pt x="34" y="165"/>
                      <a:pt x="33" y="166"/>
                      <a:pt x="34" y="169"/>
                    </a:cubicBezTo>
                    <a:cubicBezTo>
                      <a:pt x="34" y="169"/>
                      <a:pt x="35" y="169"/>
                      <a:pt x="35" y="169"/>
                    </a:cubicBezTo>
                    <a:cubicBezTo>
                      <a:pt x="45" y="169"/>
                      <a:pt x="54" y="167"/>
                      <a:pt x="64" y="166"/>
                    </a:cubicBezTo>
                    <a:cubicBezTo>
                      <a:pt x="60" y="170"/>
                      <a:pt x="58" y="174"/>
                      <a:pt x="52" y="174"/>
                    </a:cubicBezTo>
                    <a:cubicBezTo>
                      <a:pt x="51" y="174"/>
                      <a:pt x="49" y="175"/>
                      <a:pt x="48" y="175"/>
                    </a:cubicBezTo>
                    <a:cubicBezTo>
                      <a:pt x="46" y="175"/>
                      <a:pt x="45" y="176"/>
                      <a:pt x="43" y="176"/>
                    </a:cubicBezTo>
                    <a:cubicBezTo>
                      <a:pt x="41" y="176"/>
                      <a:pt x="39" y="177"/>
                      <a:pt x="37" y="178"/>
                    </a:cubicBezTo>
                    <a:cubicBezTo>
                      <a:pt x="37" y="178"/>
                      <a:pt x="38" y="179"/>
                      <a:pt x="39" y="179"/>
                    </a:cubicBezTo>
                    <a:cubicBezTo>
                      <a:pt x="45" y="179"/>
                      <a:pt x="56" y="175"/>
                      <a:pt x="58" y="174"/>
                    </a:cubicBezTo>
                    <a:cubicBezTo>
                      <a:pt x="57" y="176"/>
                      <a:pt x="55" y="177"/>
                      <a:pt x="54" y="179"/>
                    </a:cubicBezTo>
                    <a:cubicBezTo>
                      <a:pt x="55" y="178"/>
                      <a:pt x="55" y="178"/>
                      <a:pt x="55" y="178"/>
                    </a:cubicBezTo>
                    <a:cubicBezTo>
                      <a:pt x="56" y="178"/>
                      <a:pt x="56" y="179"/>
                      <a:pt x="56" y="180"/>
                    </a:cubicBezTo>
                    <a:cubicBezTo>
                      <a:pt x="57" y="180"/>
                      <a:pt x="57" y="180"/>
                      <a:pt x="57" y="180"/>
                    </a:cubicBezTo>
                    <a:cubicBezTo>
                      <a:pt x="57" y="181"/>
                      <a:pt x="54" y="181"/>
                      <a:pt x="54" y="182"/>
                    </a:cubicBezTo>
                    <a:cubicBezTo>
                      <a:pt x="54" y="182"/>
                      <a:pt x="54" y="182"/>
                      <a:pt x="54" y="182"/>
                    </a:cubicBezTo>
                    <a:cubicBezTo>
                      <a:pt x="55" y="182"/>
                      <a:pt x="62" y="176"/>
                      <a:pt x="62" y="176"/>
                    </a:cubicBezTo>
                    <a:cubicBezTo>
                      <a:pt x="65" y="174"/>
                      <a:pt x="66" y="173"/>
                      <a:pt x="67" y="173"/>
                    </a:cubicBezTo>
                    <a:cubicBezTo>
                      <a:pt x="68" y="173"/>
                      <a:pt x="69" y="174"/>
                      <a:pt x="71" y="174"/>
                    </a:cubicBezTo>
                    <a:cubicBezTo>
                      <a:pt x="74" y="175"/>
                      <a:pt x="71" y="178"/>
                      <a:pt x="75" y="178"/>
                    </a:cubicBezTo>
                    <a:cubicBezTo>
                      <a:pt x="78" y="178"/>
                      <a:pt x="79" y="181"/>
                      <a:pt x="79" y="181"/>
                    </a:cubicBezTo>
                    <a:cubicBezTo>
                      <a:pt x="80" y="181"/>
                      <a:pt x="80" y="180"/>
                      <a:pt x="81" y="176"/>
                    </a:cubicBezTo>
                    <a:cubicBezTo>
                      <a:pt x="84" y="180"/>
                      <a:pt x="88" y="190"/>
                      <a:pt x="92" y="191"/>
                    </a:cubicBezTo>
                    <a:cubicBezTo>
                      <a:pt x="96" y="193"/>
                      <a:pt x="101" y="194"/>
                      <a:pt x="105" y="195"/>
                    </a:cubicBezTo>
                    <a:cubicBezTo>
                      <a:pt x="105" y="196"/>
                      <a:pt x="105" y="196"/>
                      <a:pt x="106" y="196"/>
                    </a:cubicBezTo>
                    <a:cubicBezTo>
                      <a:pt x="108" y="196"/>
                      <a:pt x="112" y="193"/>
                      <a:pt x="114" y="193"/>
                    </a:cubicBezTo>
                    <a:cubicBezTo>
                      <a:pt x="115" y="192"/>
                      <a:pt x="117" y="191"/>
                      <a:pt x="118" y="191"/>
                    </a:cubicBezTo>
                    <a:cubicBezTo>
                      <a:pt x="120" y="191"/>
                      <a:pt x="121" y="193"/>
                      <a:pt x="122" y="193"/>
                    </a:cubicBezTo>
                    <a:cubicBezTo>
                      <a:pt x="122" y="193"/>
                      <a:pt x="122" y="193"/>
                      <a:pt x="122" y="193"/>
                    </a:cubicBezTo>
                    <a:cubicBezTo>
                      <a:pt x="124" y="193"/>
                      <a:pt x="126" y="192"/>
                      <a:pt x="126" y="190"/>
                    </a:cubicBezTo>
                    <a:cubicBezTo>
                      <a:pt x="127" y="186"/>
                      <a:pt x="126" y="176"/>
                      <a:pt x="129" y="173"/>
                    </a:cubicBezTo>
                    <a:cubicBezTo>
                      <a:pt x="130" y="172"/>
                      <a:pt x="131" y="172"/>
                      <a:pt x="132" y="172"/>
                    </a:cubicBezTo>
                    <a:cubicBezTo>
                      <a:pt x="133" y="172"/>
                      <a:pt x="134" y="172"/>
                      <a:pt x="135" y="172"/>
                    </a:cubicBezTo>
                    <a:cubicBezTo>
                      <a:pt x="142" y="173"/>
                      <a:pt x="148" y="175"/>
                      <a:pt x="155" y="178"/>
                    </a:cubicBezTo>
                    <a:cubicBezTo>
                      <a:pt x="162" y="180"/>
                      <a:pt x="167" y="185"/>
                      <a:pt x="174" y="189"/>
                    </a:cubicBezTo>
                    <a:cubicBezTo>
                      <a:pt x="178" y="192"/>
                      <a:pt x="182" y="197"/>
                      <a:pt x="188" y="197"/>
                    </a:cubicBezTo>
                    <a:cubicBezTo>
                      <a:pt x="188" y="197"/>
                      <a:pt x="188" y="197"/>
                      <a:pt x="188" y="197"/>
                    </a:cubicBezTo>
                    <a:cubicBezTo>
                      <a:pt x="196" y="197"/>
                      <a:pt x="203" y="195"/>
                      <a:pt x="211" y="195"/>
                    </a:cubicBezTo>
                    <a:cubicBezTo>
                      <a:pt x="211" y="195"/>
                      <a:pt x="211" y="195"/>
                      <a:pt x="211" y="195"/>
                    </a:cubicBezTo>
                    <a:cubicBezTo>
                      <a:pt x="211" y="195"/>
                      <a:pt x="212" y="195"/>
                      <a:pt x="212" y="195"/>
                    </a:cubicBezTo>
                    <a:cubicBezTo>
                      <a:pt x="219" y="195"/>
                      <a:pt x="223" y="195"/>
                      <a:pt x="228" y="189"/>
                    </a:cubicBezTo>
                    <a:cubicBezTo>
                      <a:pt x="233" y="181"/>
                      <a:pt x="239" y="178"/>
                      <a:pt x="248" y="175"/>
                    </a:cubicBezTo>
                    <a:cubicBezTo>
                      <a:pt x="248" y="175"/>
                      <a:pt x="258" y="180"/>
                      <a:pt x="258" y="180"/>
                    </a:cubicBezTo>
                    <a:cubicBezTo>
                      <a:pt x="259" y="180"/>
                      <a:pt x="260" y="181"/>
                      <a:pt x="261" y="181"/>
                    </a:cubicBezTo>
                    <a:cubicBezTo>
                      <a:pt x="261" y="181"/>
                      <a:pt x="263" y="183"/>
                      <a:pt x="263" y="183"/>
                    </a:cubicBezTo>
                    <a:cubicBezTo>
                      <a:pt x="263" y="183"/>
                      <a:pt x="264" y="183"/>
                      <a:pt x="264" y="183"/>
                    </a:cubicBezTo>
                    <a:cubicBezTo>
                      <a:pt x="267" y="183"/>
                      <a:pt x="270" y="180"/>
                      <a:pt x="273" y="177"/>
                    </a:cubicBezTo>
                    <a:cubicBezTo>
                      <a:pt x="275" y="175"/>
                      <a:pt x="278" y="172"/>
                      <a:pt x="281" y="172"/>
                    </a:cubicBezTo>
                    <a:cubicBezTo>
                      <a:pt x="281" y="172"/>
                      <a:pt x="281" y="172"/>
                      <a:pt x="281" y="172"/>
                    </a:cubicBezTo>
                    <a:cubicBezTo>
                      <a:pt x="295" y="172"/>
                      <a:pt x="282" y="185"/>
                      <a:pt x="278" y="190"/>
                    </a:cubicBezTo>
                    <a:cubicBezTo>
                      <a:pt x="276" y="194"/>
                      <a:pt x="281" y="196"/>
                      <a:pt x="282" y="200"/>
                    </a:cubicBezTo>
                    <a:cubicBezTo>
                      <a:pt x="281" y="200"/>
                      <a:pt x="281" y="200"/>
                      <a:pt x="281" y="200"/>
                    </a:cubicBezTo>
                    <a:cubicBezTo>
                      <a:pt x="283" y="201"/>
                      <a:pt x="284" y="201"/>
                      <a:pt x="285" y="202"/>
                    </a:cubicBezTo>
                    <a:cubicBezTo>
                      <a:pt x="285" y="201"/>
                      <a:pt x="286" y="200"/>
                      <a:pt x="287" y="199"/>
                    </a:cubicBezTo>
                    <a:cubicBezTo>
                      <a:pt x="287" y="199"/>
                      <a:pt x="287" y="199"/>
                      <a:pt x="287" y="199"/>
                    </a:cubicBezTo>
                    <a:cubicBezTo>
                      <a:pt x="288" y="198"/>
                      <a:pt x="288" y="198"/>
                      <a:pt x="289" y="198"/>
                    </a:cubicBezTo>
                    <a:cubicBezTo>
                      <a:pt x="290" y="197"/>
                      <a:pt x="290" y="197"/>
                      <a:pt x="290" y="197"/>
                    </a:cubicBezTo>
                    <a:cubicBezTo>
                      <a:pt x="290" y="196"/>
                      <a:pt x="290" y="196"/>
                      <a:pt x="290" y="196"/>
                    </a:cubicBezTo>
                    <a:cubicBezTo>
                      <a:pt x="290" y="195"/>
                      <a:pt x="290" y="195"/>
                      <a:pt x="291" y="194"/>
                    </a:cubicBezTo>
                    <a:cubicBezTo>
                      <a:pt x="291" y="193"/>
                      <a:pt x="291" y="193"/>
                      <a:pt x="292" y="192"/>
                    </a:cubicBezTo>
                    <a:cubicBezTo>
                      <a:pt x="292" y="192"/>
                      <a:pt x="293" y="191"/>
                      <a:pt x="293" y="190"/>
                    </a:cubicBezTo>
                    <a:cubicBezTo>
                      <a:pt x="294" y="190"/>
                      <a:pt x="295" y="190"/>
                      <a:pt x="295" y="189"/>
                    </a:cubicBezTo>
                    <a:cubicBezTo>
                      <a:pt x="295" y="188"/>
                      <a:pt x="295" y="187"/>
                      <a:pt x="295" y="185"/>
                    </a:cubicBezTo>
                    <a:cubicBezTo>
                      <a:pt x="295" y="181"/>
                      <a:pt x="296" y="177"/>
                      <a:pt x="297" y="174"/>
                    </a:cubicBezTo>
                    <a:cubicBezTo>
                      <a:pt x="299" y="168"/>
                      <a:pt x="299" y="168"/>
                      <a:pt x="299" y="168"/>
                    </a:cubicBezTo>
                    <a:cubicBezTo>
                      <a:pt x="313" y="176"/>
                      <a:pt x="313" y="176"/>
                      <a:pt x="313" y="176"/>
                    </a:cubicBezTo>
                    <a:cubicBezTo>
                      <a:pt x="313" y="176"/>
                      <a:pt x="314" y="176"/>
                      <a:pt x="314" y="176"/>
                    </a:cubicBezTo>
                    <a:cubicBezTo>
                      <a:pt x="315" y="176"/>
                      <a:pt x="317" y="176"/>
                      <a:pt x="318" y="176"/>
                    </a:cubicBezTo>
                    <a:cubicBezTo>
                      <a:pt x="320" y="176"/>
                      <a:pt x="320" y="176"/>
                      <a:pt x="320" y="176"/>
                    </a:cubicBezTo>
                    <a:cubicBezTo>
                      <a:pt x="325" y="175"/>
                      <a:pt x="331" y="173"/>
                      <a:pt x="338" y="170"/>
                    </a:cubicBezTo>
                    <a:cubicBezTo>
                      <a:pt x="340" y="170"/>
                      <a:pt x="340" y="170"/>
                      <a:pt x="340" y="170"/>
                    </a:cubicBezTo>
                    <a:cubicBezTo>
                      <a:pt x="342" y="169"/>
                      <a:pt x="344" y="168"/>
                      <a:pt x="345" y="168"/>
                    </a:cubicBezTo>
                    <a:cubicBezTo>
                      <a:pt x="347" y="168"/>
                      <a:pt x="348" y="168"/>
                      <a:pt x="350" y="169"/>
                    </a:cubicBezTo>
                    <a:cubicBezTo>
                      <a:pt x="355" y="170"/>
                      <a:pt x="355" y="170"/>
                      <a:pt x="355" y="170"/>
                    </a:cubicBezTo>
                    <a:cubicBezTo>
                      <a:pt x="357" y="170"/>
                      <a:pt x="358" y="171"/>
                      <a:pt x="359" y="172"/>
                    </a:cubicBezTo>
                    <a:cubicBezTo>
                      <a:pt x="359" y="172"/>
                      <a:pt x="359" y="172"/>
                      <a:pt x="359" y="172"/>
                    </a:cubicBezTo>
                    <a:cubicBezTo>
                      <a:pt x="359" y="172"/>
                      <a:pt x="359" y="172"/>
                      <a:pt x="359" y="172"/>
                    </a:cubicBezTo>
                    <a:cubicBezTo>
                      <a:pt x="360" y="173"/>
                      <a:pt x="360" y="173"/>
                      <a:pt x="360" y="173"/>
                    </a:cubicBezTo>
                    <a:cubicBezTo>
                      <a:pt x="366" y="174"/>
                      <a:pt x="371" y="174"/>
                      <a:pt x="376" y="174"/>
                    </a:cubicBezTo>
                    <a:cubicBezTo>
                      <a:pt x="377" y="174"/>
                      <a:pt x="378" y="174"/>
                      <a:pt x="379" y="174"/>
                    </a:cubicBezTo>
                    <a:cubicBezTo>
                      <a:pt x="380" y="174"/>
                      <a:pt x="380" y="174"/>
                      <a:pt x="380" y="174"/>
                    </a:cubicBezTo>
                    <a:cubicBezTo>
                      <a:pt x="380" y="176"/>
                      <a:pt x="380" y="176"/>
                      <a:pt x="380" y="176"/>
                    </a:cubicBezTo>
                    <a:cubicBezTo>
                      <a:pt x="380" y="174"/>
                      <a:pt x="380" y="174"/>
                      <a:pt x="380" y="174"/>
                    </a:cubicBezTo>
                    <a:cubicBezTo>
                      <a:pt x="385" y="173"/>
                      <a:pt x="391" y="171"/>
                      <a:pt x="396" y="169"/>
                    </a:cubicBezTo>
                    <a:cubicBezTo>
                      <a:pt x="401" y="168"/>
                      <a:pt x="401" y="168"/>
                      <a:pt x="401" y="168"/>
                    </a:cubicBezTo>
                    <a:cubicBezTo>
                      <a:pt x="402" y="167"/>
                      <a:pt x="403" y="167"/>
                      <a:pt x="403" y="167"/>
                    </a:cubicBezTo>
                    <a:cubicBezTo>
                      <a:pt x="405" y="166"/>
                      <a:pt x="406" y="166"/>
                      <a:pt x="407" y="165"/>
                    </a:cubicBezTo>
                    <a:cubicBezTo>
                      <a:pt x="408" y="165"/>
                      <a:pt x="408" y="165"/>
                      <a:pt x="408" y="165"/>
                    </a:cubicBezTo>
                    <a:cubicBezTo>
                      <a:pt x="411" y="163"/>
                      <a:pt x="416" y="161"/>
                      <a:pt x="420" y="161"/>
                    </a:cubicBezTo>
                    <a:cubicBezTo>
                      <a:pt x="420" y="161"/>
                      <a:pt x="421" y="161"/>
                      <a:pt x="421" y="161"/>
                    </a:cubicBezTo>
                    <a:cubicBezTo>
                      <a:pt x="423" y="161"/>
                      <a:pt x="424" y="161"/>
                      <a:pt x="426" y="161"/>
                    </a:cubicBezTo>
                    <a:cubicBezTo>
                      <a:pt x="435" y="161"/>
                      <a:pt x="443" y="160"/>
                      <a:pt x="451" y="159"/>
                    </a:cubicBezTo>
                    <a:cubicBezTo>
                      <a:pt x="454" y="158"/>
                      <a:pt x="457" y="157"/>
                      <a:pt x="461" y="156"/>
                    </a:cubicBezTo>
                    <a:cubicBezTo>
                      <a:pt x="464" y="155"/>
                      <a:pt x="464" y="155"/>
                      <a:pt x="464" y="155"/>
                    </a:cubicBezTo>
                    <a:cubicBezTo>
                      <a:pt x="465" y="158"/>
                      <a:pt x="465" y="158"/>
                      <a:pt x="465" y="158"/>
                    </a:cubicBezTo>
                    <a:cubicBezTo>
                      <a:pt x="470" y="155"/>
                      <a:pt x="474" y="152"/>
                      <a:pt x="481" y="152"/>
                    </a:cubicBezTo>
                    <a:cubicBezTo>
                      <a:pt x="483" y="152"/>
                      <a:pt x="483" y="152"/>
                      <a:pt x="483" y="152"/>
                    </a:cubicBezTo>
                    <a:cubicBezTo>
                      <a:pt x="483" y="152"/>
                      <a:pt x="484" y="152"/>
                      <a:pt x="484" y="152"/>
                    </a:cubicBezTo>
                    <a:cubicBezTo>
                      <a:pt x="484" y="152"/>
                      <a:pt x="484" y="152"/>
                      <a:pt x="485" y="152"/>
                    </a:cubicBezTo>
                    <a:cubicBezTo>
                      <a:pt x="485" y="152"/>
                      <a:pt x="485" y="152"/>
                      <a:pt x="485" y="152"/>
                    </a:cubicBezTo>
                    <a:cubicBezTo>
                      <a:pt x="485" y="154"/>
                      <a:pt x="485" y="154"/>
                      <a:pt x="485" y="154"/>
                    </a:cubicBezTo>
                    <a:cubicBezTo>
                      <a:pt x="486" y="152"/>
                      <a:pt x="486" y="152"/>
                      <a:pt x="486" y="152"/>
                    </a:cubicBezTo>
                    <a:cubicBezTo>
                      <a:pt x="487" y="152"/>
                      <a:pt x="488" y="153"/>
                      <a:pt x="489" y="153"/>
                    </a:cubicBezTo>
                    <a:cubicBezTo>
                      <a:pt x="494" y="154"/>
                      <a:pt x="494" y="154"/>
                      <a:pt x="494" y="154"/>
                    </a:cubicBezTo>
                    <a:cubicBezTo>
                      <a:pt x="497" y="154"/>
                      <a:pt x="501" y="155"/>
                      <a:pt x="505" y="155"/>
                    </a:cubicBezTo>
                    <a:cubicBezTo>
                      <a:pt x="506" y="155"/>
                      <a:pt x="507" y="155"/>
                      <a:pt x="509" y="155"/>
                    </a:cubicBezTo>
                    <a:cubicBezTo>
                      <a:pt x="510" y="154"/>
                      <a:pt x="511" y="154"/>
                      <a:pt x="512" y="154"/>
                    </a:cubicBezTo>
                    <a:cubicBezTo>
                      <a:pt x="517" y="154"/>
                      <a:pt x="519" y="159"/>
                      <a:pt x="520" y="160"/>
                    </a:cubicBezTo>
                    <a:cubicBezTo>
                      <a:pt x="520" y="161"/>
                      <a:pt x="520" y="161"/>
                      <a:pt x="520" y="161"/>
                    </a:cubicBezTo>
                    <a:cubicBezTo>
                      <a:pt x="520" y="162"/>
                      <a:pt x="520" y="162"/>
                      <a:pt x="521" y="163"/>
                    </a:cubicBezTo>
                    <a:cubicBezTo>
                      <a:pt x="521" y="163"/>
                      <a:pt x="521" y="164"/>
                      <a:pt x="521" y="164"/>
                    </a:cubicBezTo>
                    <a:cubicBezTo>
                      <a:pt x="522" y="163"/>
                      <a:pt x="522" y="163"/>
                      <a:pt x="522" y="163"/>
                    </a:cubicBezTo>
                    <a:cubicBezTo>
                      <a:pt x="524" y="163"/>
                      <a:pt x="525" y="162"/>
                      <a:pt x="526" y="162"/>
                    </a:cubicBezTo>
                    <a:cubicBezTo>
                      <a:pt x="529" y="160"/>
                      <a:pt x="529" y="160"/>
                      <a:pt x="529" y="160"/>
                    </a:cubicBezTo>
                    <a:cubicBezTo>
                      <a:pt x="529" y="160"/>
                      <a:pt x="529" y="160"/>
                      <a:pt x="529" y="160"/>
                    </a:cubicBezTo>
                    <a:cubicBezTo>
                      <a:pt x="529" y="160"/>
                      <a:pt x="529" y="160"/>
                      <a:pt x="529" y="159"/>
                    </a:cubicBezTo>
                    <a:cubicBezTo>
                      <a:pt x="529" y="159"/>
                      <a:pt x="529" y="159"/>
                      <a:pt x="529" y="159"/>
                    </a:cubicBezTo>
                    <a:cubicBezTo>
                      <a:pt x="529" y="158"/>
                      <a:pt x="529" y="158"/>
                      <a:pt x="529" y="158"/>
                    </a:cubicBezTo>
                    <a:cubicBezTo>
                      <a:pt x="528" y="158"/>
                      <a:pt x="528" y="158"/>
                      <a:pt x="528" y="158"/>
                    </a:cubicBezTo>
                    <a:cubicBezTo>
                      <a:pt x="526" y="157"/>
                      <a:pt x="526" y="157"/>
                      <a:pt x="526" y="157"/>
                    </a:cubicBezTo>
                    <a:cubicBezTo>
                      <a:pt x="526" y="156"/>
                      <a:pt x="525" y="156"/>
                      <a:pt x="525" y="155"/>
                    </a:cubicBezTo>
                    <a:cubicBezTo>
                      <a:pt x="524" y="154"/>
                      <a:pt x="524" y="154"/>
                      <a:pt x="524" y="154"/>
                    </a:cubicBezTo>
                    <a:cubicBezTo>
                      <a:pt x="523" y="151"/>
                      <a:pt x="523" y="149"/>
                      <a:pt x="523" y="147"/>
                    </a:cubicBezTo>
                    <a:cubicBezTo>
                      <a:pt x="524" y="147"/>
                      <a:pt x="524" y="147"/>
                      <a:pt x="524" y="147"/>
                    </a:cubicBezTo>
                    <a:cubicBezTo>
                      <a:pt x="524" y="146"/>
                      <a:pt x="524" y="146"/>
                      <a:pt x="524" y="146"/>
                    </a:cubicBezTo>
                    <a:cubicBezTo>
                      <a:pt x="524" y="145"/>
                      <a:pt x="524" y="145"/>
                      <a:pt x="524" y="145"/>
                    </a:cubicBezTo>
                    <a:cubicBezTo>
                      <a:pt x="523" y="145"/>
                      <a:pt x="523" y="145"/>
                      <a:pt x="523" y="145"/>
                    </a:cubicBezTo>
                    <a:cubicBezTo>
                      <a:pt x="523" y="145"/>
                      <a:pt x="522" y="144"/>
                      <a:pt x="521" y="144"/>
                    </a:cubicBezTo>
                    <a:cubicBezTo>
                      <a:pt x="520" y="143"/>
                      <a:pt x="520" y="143"/>
                      <a:pt x="520" y="143"/>
                    </a:cubicBezTo>
                    <a:cubicBezTo>
                      <a:pt x="520" y="143"/>
                      <a:pt x="519" y="143"/>
                      <a:pt x="519" y="142"/>
                    </a:cubicBezTo>
                    <a:cubicBezTo>
                      <a:pt x="518" y="142"/>
                      <a:pt x="518" y="142"/>
                      <a:pt x="518" y="142"/>
                    </a:cubicBezTo>
                    <a:cubicBezTo>
                      <a:pt x="517" y="142"/>
                      <a:pt x="516" y="142"/>
                      <a:pt x="516" y="141"/>
                    </a:cubicBezTo>
                    <a:cubicBezTo>
                      <a:pt x="515" y="140"/>
                      <a:pt x="515" y="140"/>
                      <a:pt x="515" y="140"/>
                    </a:cubicBezTo>
                    <a:cubicBezTo>
                      <a:pt x="514" y="139"/>
                      <a:pt x="513" y="138"/>
                      <a:pt x="513" y="137"/>
                    </a:cubicBezTo>
                    <a:cubicBezTo>
                      <a:pt x="513" y="136"/>
                      <a:pt x="513" y="135"/>
                      <a:pt x="514" y="134"/>
                    </a:cubicBezTo>
                    <a:cubicBezTo>
                      <a:pt x="514" y="133"/>
                      <a:pt x="514" y="133"/>
                      <a:pt x="515" y="131"/>
                    </a:cubicBezTo>
                    <a:cubicBezTo>
                      <a:pt x="516" y="130"/>
                      <a:pt x="518" y="128"/>
                      <a:pt x="519" y="126"/>
                    </a:cubicBezTo>
                    <a:cubicBezTo>
                      <a:pt x="515" y="127"/>
                      <a:pt x="515" y="127"/>
                      <a:pt x="515" y="127"/>
                    </a:cubicBezTo>
                    <a:cubicBezTo>
                      <a:pt x="516" y="122"/>
                      <a:pt x="516" y="122"/>
                      <a:pt x="516" y="122"/>
                    </a:cubicBezTo>
                    <a:cubicBezTo>
                      <a:pt x="516" y="117"/>
                      <a:pt x="516" y="111"/>
                      <a:pt x="515" y="110"/>
                    </a:cubicBezTo>
                    <a:cubicBezTo>
                      <a:pt x="514" y="109"/>
                      <a:pt x="514" y="109"/>
                      <a:pt x="514" y="109"/>
                    </a:cubicBezTo>
                    <a:cubicBezTo>
                      <a:pt x="514" y="108"/>
                      <a:pt x="514" y="108"/>
                      <a:pt x="514" y="108"/>
                    </a:cubicBezTo>
                    <a:cubicBezTo>
                      <a:pt x="513" y="106"/>
                      <a:pt x="512" y="104"/>
                      <a:pt x="510" y="100"/>
                    </a:cubicBezTo>
                    <a:cubicBezTo>
                      <a:pt x="510" y="99"/>
                      <a:pt x="509" y="98"/>
                      <a:pt x="509" y="96"/>
                    </a:cubicBezTo>
                    <a:cubicBezTo>
                      <a:pt x="507" y="90"/>
                      <a:pt x="507" y="90"/>
                      <a:pt x="507" y="90"/>
                    </a:cubicBezTo>
                    <a:cubicBezTo>
                      <a:pt x="511" y="86"/>
                      <a:pt x="511" y="86"/>
                      <a:pt x="511" y="86"/>
                    </a:cubicBezTo>
                    <a:cubicBezTo>
                      <a:pt x="512" y="86"/>
                      <a:pt x="512" y="86"/>
                      <a:pt x="512" y="86"/>
                    </a:cubicBezTo>
                    <a:cubicBezTo>
                      <a:pt x="515" y="86"/>
                      <a:pt x="518" y="85"/>
                      <a:pt x="519" y="85"/>
                    </a:cubicBezTo>
                    <a:cubicBezTo>
                      <a:pt x="519" y="85"/>
                      <a:pt x="520" y="84"/>
                      <a:pt x="520" y="82"/>
                    </a:cubicBezTo>
                    <a:cubicBezTo>
                      <a:pt x="519" y="80"/>
                      <a:pt x="519" y="76"/>
                      <a:pt x="522" y="75"/>
                    </a:cubicBezTo>
                    <a:cubicBezTo>
                      <a:pt x="519" y="72"/>
                      <a:pt x="519" y="72"/>
                      <a:pt x="514" y="71"/>
                    </a:cubicBezTo>
                    <a:cubicBezTo>
                      <a:pt x="512" y="71"/>
                      <a:pt x="511" y="71"/>
                      <a:pt x="509" y="71"/>
                    </a:cubicBezTo>
                    <a:cubicBezTo>
                      <a:pt x="509" y="71"/>
                      <a:pt x="509" y="71"/>
                      <a:pt x="509" y="71"/>
                    </a:cubicBezTo>
                    <a:cubicBezTo>
                      <a:pt x="509" y="71"/>
                      <a:pt x="508" y="71"/>
                      <a:pt x="508" y="71"/>
                    </a:cubicBezTo>
                    <a:cubicBezTo>
                      <a:pt x="505" y="71"/>
                      <a:pt x="503" y="70"/>
                      <a:pt x="501" y="69"/>
                    </a:cubicBezTo>
                    <a:cubicBezTo>
                      <a:pt x="499" y="68"/>
                      <a:pt x="499" y="68"/>
                      <a:pt x="499" y="68"/>
                    </a:cubicBezTo>
                    <a:cubicBezTo>
                      <a:pt x="498" y="68"/>
                      <a:pt x="497" y="67"/>
                      <a:pt x="497" y="65"/>
                    </a:cubicBezTo>
                    <a:cubicBezTo>
                      <a:pt x="496" y="63"/>
                      <a:pt x="497" y="62"/>
                      <a:pt x="497" y="61"/>
                    </a:cubicBezTo>
                    <a:cubicBezTo>
                      <a:pt x="497" y="61"/>
                      <a:pt x="497" y="61"/>
                      <a:pt x="497" y="61"/>
                    </a:cubicBezTo>
                    <a:cubicBezTo>
                      <a:pt x="497" y="60"/>
                      <a:pt x="497" y="60"/>
                      <a:pt x="496" y="59"/>
                    </a:cubicBezTo>
                    <a:cubicBezTo>
                      <a:pt x="494" y="55"/>
                      <a:pt x="494" y="54"/>
                      <a:pt x="494" y="52"/>
                    </a:cubicBezTo>
                    <a:cubicBezTo>
                      <a:pt x="494" y="50"/>
                      <a:pt x="495" y="49"/>
                      <a:pt x="496" y="48"/>
                    </a:cubicBezTo>
                    <a:cubicBezTo>
                      <a:pt x="497" y="48"/>
                      <a:pt x="497" y="48"/>
                      <a:pt x="497" y="48"/>
                    </a:cubicBezTo>
                    <a:cubicBezTo>
                      <a:pt x="497" y="48"/>
                      <a:pt x="497" y="48"/>
                      <a:pt x="497" y="48"/>
                    </a:cubicBezTo>
                    <a:cubicBezTo>
                      <a:pt x="498" y="47"/>
                      <a:pt x="498" y="47"/>
                      <a:pt x="498" y="47"/>
                    </a:cubicBezTo>
                    <a:cubicBezTo>
                      <a:pt x="497" y="45"/>
                      <a:pt x="497" y="45"/>
                      <a:pt x="497" y="45"/>
                    </a:cubicBezTo>
                    <a:cubicBezTo>
                      <a:pt x="497" y="44"/>
                      <a:pt x="497" y="44"/>
                      <a:pt x="497" y="43"/>
                    </a:cubicBezTo>
                    <a:cubicBezTo>
                      <a:pt x="497" y="43"/>
                      <a:pt x="497" y="42"/>
                      <a:pt x="497" y="42"/>
                    </a:cubicBezTo>
                    <a:cubicBezTo>
                      <a:pt x="497" y="41"/>
                      <a:pt x="497" y="41"/>
                      <a:pt x="497" y="41"/>
                    </a:cubicBezTo>
                    <a:cubicBezTo>
                      <a:pt x="496" y="40"/>
                      <a:pt x="496" y="40"/>
                      <a:pt x="496" y="40"/>
                    </a:cubicBezTo>
                    <a:cubicBezTo>
                      <a:pt x="496" y="40"/>
                      <a:pt x="496" y="40"/>
                      <a:pt x="496" y="40"/>
                    </a:cubicBezTo>
                    <a:cubicBezTo>
                      <a:pt x="496" y="39"/>
                      <a:pt x="496" y="39"/>
                      <a:pt x="496" y="39"/>
                    </a:cubicBezTo>
                    <a:cubicBezTo>
                      <a:pt x="496" y="38"/>
                      <a:pt x="495" y="37"/>
                      <a:pt x="495" y="37"/>
                    </a:cubicBezTo>
                    <a:cubicBezTo>
                      <a:pt x="487" y="29"/>
                      <a:pt x="487" y="29"/>
                      <a:pt x="487" y="29"/>
                    </a:cubicBezTo>
                    <a:cubicBezTo>
                      <a:pt x="487" y="29"/>
                      <a:pt x="487" y="29"/>
                      <a:pt x="487" y="29"/>
                    </a:cubicBezTo>
                    <a:cubicBezTo>
                      <a:pt x="485" y="28"/>
                      <a:pt x="484" y="27"/>
                      <a:pt x="482" y="26"/>
                    </a:cubicBezTo>
                    <a:cubicBezTo>
                      <a:pt x="481" y="25"/>
                      <a:pt x="481" y="25"/>
                      <a:pt x="481" y="25"/>
                    </a:cubicBezTo>
                    <a:cubicBezTo>
                      <a:pt x="481" y="25"/>
                      <a:pt x="481" y="25"/>
                      <a:pt x="481" y="25"/>
                    </a:cubicBezTo>
                    <a:cubicBezTo>
                      <a:pt x="480" y="24"/>
                      <a:pt x="480" y="24"/>
                      <a:pt x="479" y="24"/>
                    </a:cubicBezTo>
                    <a:cubicBezTo>
                      <a:pt x="479" y="23"/>
                      <a:pt x="478" y="23"/>
                      <a:pt x="478" y="22"/>
                    </a:cubicBezTo>
                    <a:cubicBezTo>
                      <a:pt x="477" y="22"/>
                      <a:pt x="477" y="22"/>
                      <a:pt x="477" y="22"/>
                    </a:cubicBezTo>
                    <a:cubicBezTo>
                      <a:pt x="477" y="21"/>
                      <a:pt x="477" y="21"/>
                      <a:pt x="477" y="21"/>
                    </a:cubicBezTo>
                    <a:cubicBezTo>
                      <a:pt x="475" y="19"/>
                      <a:pt x="474" y="19"/>
                      <a:pt x="472" y="19"/>
                    </a:cubicBezTo>
                    <a:cubicBezTo>
                      <a:pt x="472" y="19"/>
                      <a:pt x="472" y="19"/>
                      <a:pt x="472" y="19"/>
                    </a:cubicBezTo>
                    <a:cubicBezTo>
                      <a:pt x="472" y="19"/>
                      <a:pt x="471" y="19"/>
                      <a:pt x="471" y="21"/>
                    </a:cubicBezTo>
                    <a:cubicBezTo>
                      <a:pt x="470" y="24"/>
                      <a:pt x="470" y="24"/>
                      <a:pt x="470" y="24"/>
                    </a:cubicBezTo>
                    <a:cubicBezTo>
                      <a:pt x="467" y="23"/>
                      <a:pt x="467" y="23"/>
                      <a:pt x="467" y="23"/>
                    </a:cubicBezTo>
                    <a:cubicBezTo>
                      <a:pt x="463" y="23"/>
                      <a:pt x="460" y="22"/>
                      <a:pt x="457" y="22"/>
                    </a:cubicBezTo>
                    <a:cubicBezTo>
                      <a:pt x="454" y="22"/>
                      <a:pt x="454" y="22"/>
                      <a:pt x="454" y="22"/>
                    </a:cubicBezTo>
                    <a:cubicBezTo>
                      <a:pt x="453" y="22"/>
                      <a:pt x="453" y="22"/>
                      <a:pt x="452" y="22"/>
                    </a:cubicBezTo>
                    <a:cubicBezTo>
                      <a:pt x="451" y="22"/>
                      <a:pt x="450" y="22"/>
                      <a:pt x="449" y="22"/>
                    </a:cubicBezTo>
                    <a:cubicBezTo>
                      <a:pt x="449" y="22"/>
                      <a:pt x="449" y="22"/>
                      <a:pt x="449" y="22"/>
                    </a:cubicBezTo>
                    <a:cubicBezTo>
                      <a:pt x="447" y="22"/>
                      <a:pt x="446" y="22"/>
                      <a:pt x="445" y="22"/>
                    </a:cubicBezTo>
                    <a:cubicBezTo>
                      <a:pt x="444" y="22"/>
                      <a:pt x="442" y="22"/>
                      <a:pt x="441" y="21"/>
                    </a:cubicBezTo>
                    <a:cubicBezTo>
                      <a:pt x="443" y="26"/>
                      <a:pt x="443" y="26"/>
                      <a:pt x="443" y="26"/>
                    </a:cubicBezTo>
                    <a:cubicBezTo>
                      <a:pt x="439" y="22"/>
                      <a:pt x="439" y="22"/>
                      <a:pt x="439" y="22"/>
                    </a:cubicBezTo>
                    <a:cubicBezTo>
                      <a:pt x="428" y="26"/>
                      <a:pt x="428" y="26"/>
                      <a:pt x="428" y="26"/>
                    </a:cubicBezTo>
                    <a:cubicBezTo>
                      <a:pt x="426" y="27"/>
                      <a:pt x="425" y="28"/>
                      <a:pt x="423" y="28"/>
                    </a:cubicBezTo>
                    <a:cubicBezTo>
                      <a:pt x="421" y="29"/>
                      <a:pt x="418" y="29"/>
                      <a:pt x="417" y="30"/>
                    </a:cubicBezTo>
                    <a:cubicBezTo>
                      <a:pt x="414" y="33"/>
                      <a:pt x="409" y="34"/>
                      <a:pt x="405" y="36"/>
                    </a:cubicBezTo>
                    <a:cubicBezTo>
                      <a:pt x="403" y="37"/>
                      <a:pt x="402" y="37"/>
                      <a:pt x="399" y="37"/>
                    </a:cubicBezTo>
                    <a:cubicBezTo>
                      <a:pt x="399" y="37"/>
                      <a:pt x="399" y="37"/>
                      <a:pt x="399" y="37"/>
                    </a:cubicBezTo>
                    <a:cubicBezTo>
                      <a:pt x="398" y="37"/>
                      <a:pt x="397" y="37"/>
                      <a:pt x="397" y="37"/>
                    </a:cubicBezTo>
                    <a:cubicBezTo>
                      <a:pt x="396" y="36"/>
                      <a:pt x="396" y="36"/>
                      <a:pt x="395" y="36"/>
                    </a:cubicBezTo>
                    <a:cubicBezTo>
                      <a:pt x="395" y="36"/>
                      <a:pt x="395" y="36"/>
                      <a:pt x="394" y="36"/>
                    </a:cubicBezTo>
                    <a:cubicBezTo>
                      <a:pt x="394" y="36"/>
                      <a:pt x="393" y="36"/>
                      <a:pt x="393" y="36"/>
                    </a:cubicBezTo>
                    <a:cubicBezTo>
                      <a:pt x="389" y="36"/>
                      <a:pt x="385" y="34"/>
                      <a:pt x="382" y="33"/>
                    </a:cubicBezTo>
                    <a:cubicBezTo>
                      <a:pt x="381" y="32"/>
                      <a:pt x="380" y="32"/>
                      <a:pt x="380" y="32"/>
                    </a:cubicBezTo>
                    <a:cubicBezTo>
                      <a:pt x="379" y="32"/>
                      <a:pt x="378" y="32"/>
                      <a:pt x="376" y="33"/>
                    </a:cubicBezTo>
                    <a:cubicBezTo>
                      <a:pt x="376" y="33"/>
                      <a:pt x="375" y="33"/>
                      <a:pt x="375" y="33"/>
                    </a:cubicBezTo>
                    <a:cubicBezTo>
                      <a:pt x="374" y="33"/>
                      <a:pt x="374" y="33"/>
                      <a:pt x="374" y="33"/>
                    </a:cubicBezTo>
                    <a:cubicBezTo>
                      <a:pt x="373" y="33"/>
                      <a:pt x="373" y="33"/>
                      <a:pt x="372" y="33"/>
                    </a:cubicBezTo>
                    <a:cubicBezTo>
                      <a:pt x="372" y="33"/>
                      <a:pt x="371" y="33"/>
                      <a:pt x="370" y="33"/>
                    </a:cubicBezTo>
                    <a:cubicBezTo>
                      <a:pt x="364" y="35"/>
                      <a:pt x="357" y="38"/>
                      <a:pt x="350" y="38"/>
                    </a:cubicBezTo>
                    <a:cubicBezTo>
                      <a:pt x="350" y="38"/>
                      <a:pt x="350" y="38"/>
                      <a:pt x="350" y="38"/>
                    </a:cubicBezTo>
                    <a:cubicBezTo>
                      <a:pt x="343" y="38"/>
                      <a:pt x="335" y="34"/>
                      <a:pt x="328" y="33"/>
                    </a:cubicBezTo>
                    <a:cubicBezTo>
                      <a:pt x="319" y="32"/>
                      <a:pt x="314" y="29"/>
                      <a:pt x="306" y="23"/>
                    </a:cubicBezTo>
                    <a:cubicBezTo>
                      <a:pt x="306" y="23"/>
                      <a:pt x="305" y="23"/>
                      <a:pt x="305" y="23"/>
                    </a:cubicBezTo>
                    <a:cubicBezTo>
                      <a:pt x="303" y="23"/>
                      <a:pt x="297" y="26"/>
                      <a:pt x="295" y="26"/>
                    </a:cubicBezTo>
                    <a:cubicBezTo>
                      <a:pt x="295" y="26"/>
                      <a:pt x="295" y="26"/>
                      <a:pt x="295" y="26"/>
                    </a:cubicBezTo>
                    <a:cubicBezTo>
                      <a:pt x="292" y="26"/>
                      <a:pt x="288" y="21"/>
                      <a:pt x="287" y="19"/>
                    </a:cubicBezTo>
                    <a:cubicBezTo>
                      <a:pt x="285" y="16"/>
                      <a:pt x="285" y="11"/>
                      <a:pt x="281" y="11"/>
                    </a:cubicBezTo>
                    <a:cubicBezTo>
                      <a:pt x="281" y="11"/>
                      <a:pt x="280" y="11"/>
                      <a:pt x="279" y="11"/>
                    </a:cubicBezTo>
                    <a:cubicBezTo>
                      <a:pt x="276" y="12"/>
                      <a:pt x="273" y="13"/>
                      <a:pt x="270" y="13"/>
                    </a:cubicBezTo>
                    <a:cubicBezTo>
                      <a:pt x="269" y="13"/>
                      <a:pt x="269" y="13"/>
                      <a:pt x="268" y="13"/>
                    </a:cubicBezTo>
                    <a:cubicBezTo>
                      <a:pt x="264" y="12"/>
                      <a:pt x="261" y="9"/>
                      <a:pt x="258" y="6"/>
                    </a:cubicBezTo>
                    <a:cubicBezTo>
                      <a:pt x="257" y="4"/>
                      <a:pt x="257" y="0"/>
                      <a:pt x="259" y="0"/>
                    </a:cubicBezTo>
                    <a:cubicBezTo>
                      <a:pt x="259" y="0"/>
                      <a:pt x="260" y="0"/>
                      <a:pt x="260" y="1"/>
                    </a:cubicBezTo>
                    <a:cubicBezTo>
                      <a:pt x="259" y="0"/>
                      <a:pt x="258" y="0"/>
                      <a:pt x="2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248"/>
              <p:cNvSpPr/>
              <p:nvPr/>
            </p:nvSpPr>
            <p:spPr bwMode="auto">
              <a:xfrm>
                <a:off x="7528691" y="5678764"/>
                <a:ext cx="117924" cy="136349"/>
              </a:xfrm>
              <a:custGeom>
                <a:gdLst>
                  <a:gd name="T0" fmla="*/ 22 w 37"/>
                  <a:gd name="T1" fmla="*/ 0 h 42"/>
                  <a:gd name="T2" fmla="*/ 20 w 37"/>
                  <a:gd name="T3" fmla="*/ 2 h 42"/>
                  <a:gd name="T4" fmla="*/ 15 w 37"/>
                  <a:gd name="T5" fmla="*/ 6 h 42"/>
                  <a:gd name="T6" fmla="*/ 11 w 37"/>
                  <a:gd name="T7" fmla="*/ 20 h 42"/>
                  <a:gd name="T8" fmla="*/ 8 w 37"/>
                  <a:gd name="T9" fmla="*/ 25 h 42"/>
                  <a:gd name="T10" fmla="*/ 5 w 37"/>
                  <a:gd name="T11" fmla="*/ 31 h 42"/>
                  <a:gd name="T12" fmla="*/ 0 w 37"/>
                  <a:gd name="T13" fmla="*/ 42 h 42"/>
                  <a:gd name="T14" fmla="*/ 2 w 37"/>
                  <a:gd name="T15" fmla="*/ 42 h 42"/>
                  <a:gd name="T16" fmla="*/ 5 w 37"/>
                  <a:gd name="T17" fmla="*/ 42 h 42"/>
                  <a:gd name="T18" fmla="*/ 9 w 37"/>
                  <a:gd name="T19" fmla="*/ 40 h 42"/>
                  <a:gd name="T20" fmla="*/ 11 w 37"/>
                  <a:gd name="T21" fmla="*/ 37 h 42"/>
                  <a:gd name="T22" fmla="*/ 13 w 37"/>
                  <a:gd name="T23" fmla="*/ 36 h 42"/>
                  <a:gd name="T24" fmla="*/ 15 w 37"/>
                  <a:gd name="T25" fmla="*/ 34 h 42"/>
                  <a:gd name="T26" fmla="*/ 15 w 37"/>
                  <a:gd name="T27" fmla="*/ 34 h 42"/>
                  <a:gd name="T28" fmla="*/ 17 w 37"/>
                  <a:gd name="T29" fmla="*/ 33 h 42"/>
                  <a:gd name="T30" fmla="*/ 20 w 37"/>
                  <a:gd name="T31" fmla="*/ 30 h 42"/>
                  <a:gd name="T32" fmla="*/ 20 w 37"/>
                  <a:gd name="T33" fmla="*/ 30 h 42"/>
                  <a:gd name="T34" fmla="*/ 19 w 37"/>
                  <a:gd name="T35" fmla="*/ 27 h 42"/>
                  <a:gd name="T36" fmla="*/ 25 w 37"/>
                  <a:gd name="T37" fmla="*/ 19 h 42"/>
                  <a:gd name="T38" fmla="*/ 29 w 37"/>
                  <a:gd name="T39" fmla="*/ 18 h 42"/>
                  <a:gd name="T40" fmla="*/ 36 w 37"/>
                  <a:gd name="T41" fmla="*/ 10 h 42"/>
                  <a:gd name="T42" fmla="*/ 37 w 37"/>
                  <a:gd name="T43" fmla="*/ 9 h 42"/>
                  <a:gd name="T44" fmla="*/ 36 w 37"/>
                  <a:gd name="T45" fmla="*/ 8 h 42"/>
                  <a:gd name="T46" fmla="*/ 35 w 37"/>
                  <a:gd name="T47" fmla="*/ 7 h 42"/>
                  <a:gd name="T48" fmla="*/ 33 w 37"/>
                  <a:gd name="T49" fmla="*/ 4 h 42"/>
                  <a:gd name="T50" fmla="*/ 28 w 37"/>
                  <a:gd name="T51" fmla="*/ 3 h 42"/>
                  <a:gd name="T52" fmla="*/ 30 w 37"/>
                  <a:gd name="T53" fmla="*/ 0 h 42"/>
                  <a:gd name="T54" fmla="*/ 26 w 37"/>
                  <a:gd name="T55" fmla="*/ 0 h 42"/>
                  <a:gd name="T56" fmla="*/ 22 w 37"/>
                  <a:gd name="T57" fmla="*/ 0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42">
                    <a:moveTo>
                      <a:pt x="22" y="0"/>
                    </a:moveTo>
                    <a:cubicBezTo>
                      <a:pt x="22" y="0"/>
                      <a:pt x="21" y="1"/>
                      <a:pt x="20" y="2"/>
                    </a:cubicBezTo>
                    <a:cubicBezTo>
                      <a:pt x="19" y="3"/>
                      <a:pt x="16" y="4"/>
                      <a:pt x="15" y="6"/>
                    </a:cubicBezTo>
                    <a:cubicBezTo>
                      <a:pt x="13" y="11"/>
                      <a:pt x="13" y="15"/>
                      <a:pt x="11" y="20"/>
                    </a:cubicBezTo>
                    <a:cubicBezTo>
                      <a:pt x="9" y="22"/>
                      <a:pt x="9" y="22"/>
                      <a:pt x="8" y="25"/>
                    </a:cubicBezTo>
                    <a:cubicBezTo>
                      <a:pt x="7" y="27"/>
                      <a:pt x="6" y="29"/>
                      <a:pt x="5" y="31"/>
                    </a:cubicBezTo>
                    <a:cubicBezTo>
                      <a:pt x="3" y="35"/>
                      <a:pt x="2" y="38"/>
                      <a:pt x="0" y="42"/>
                    </a:cubicBezTo>
                    <a:cubicBezTo>
                      <a:pt x="2" y="42"/>
                      <a:pt x="2" y="42"/>
                      <a:pt x="2" y="42"/>
                    </a:cubicBezTo>
                    <a:cubicBezTo>
                      <a:pt x="4" y="42"/>
                      <a:pt x="5" y="42"/>
                      <a:pt x="5" y="42"/>
                    </a:cubicBezTo>
                    <a:cubicBezTo>
                      <a:pt x="8" y="42"/>
                      <a:pt x="8" y="42"/>
                      <a:pt x="9" y="40"/>
                    </a:cubicBezTo>
                    <a:cubicBezTo>
                      <a:pt x="11" y="37"/>
                      <a:pt x="11" y="37"/>
                      <a:pt x="11" y="37"/>
                    </a:cubicBezTo>
                    <a:cubicBezTo>
                      <a:pt x="12" y="37"/>
                      <a:pt x="12" y="36"/>
                      <a:pt x="13" y="36"/>
                    </a:cubicBezTo>
                    <a:cubicBezTo>
                      <a:pt x="15" y="34"/>
                      <a:pt x="15" y="34"/>
                      <a:pt x="15" y="34"/>
                    </a:cubicBezTo>
                    <a:cubicBezTo>
                      <a:pt x="15" y="34"/>
                      <a:pt x="15" y="34"/>
                      <a:pt x="15" y="34"/>
                    </a:cubicBezTo>
                    <a:cubicBezTo>
                      <a:pt x="16" y="34"/>
                      <a:pt x="17" y="33"/>
                      <a:pt x="17" y="33"/>
                    </a:cubicBezTo>
                    <a:cubicBezTo>
                      <a:pt x="19" y="32"/>
                      <a:pt x="20" y="31"/>
                      <a:pt x="20" y="30"/>
                    </a:cubicBezTo>
                    <a:cubicBezTo>
                      <a:pt x="20" y="30"/>
                      <a:pt x="20" y="30"/>
                      <a:pt x="20" y="30"/>
                    </a:cubicBezTo>
                    <a:cubicBezTo>
                      <a:pt x="20" y="29"/>
                      <a:pt x="20" y="28"/>
                      <a:pt x="19" y="27"/>
                    </a:cubicBezTo>
                    <a:cubicBezTo>
                      <a:pt x="19" y="24"/>
                      <a:pt x="21" y="21"/>
                      <a:pt x="25" y="19"/>
                    </a:cubicBezTo>
                    <a:cubicBezTo>
                      <a:pt x="26" y="18"/>
                      <a:pt x="27" y="18"/>
                      <a:pt x="29" y="18"/>
                    </a:cubicBezTo>
                    <a:cubicBezTo>
                      <a:pt x="30" y="14"/>
                      <a:pt x="34" y="12"/>
                      <a:pt x="36" y="10"/>
                    </a:cubicBezTo>
                    <a:cubicBezTo>
                      <a:pt x="37" y="9"/>
                      <a:pt x="37" y="9"/>
                      <a:pt x="37" y="9"/>
                    </a:cubicBezTo>
                    <a:cubicBezTo>
                      <a:pt x="36" y="8"/>
                      <a:pt x="36" y="8"/>
                      <a:pt x="36" y="8"/>
                    </a:cubicBezTo>
                    <a:cubicBezTo>
                      <a:pt x="36" y="8"/>
                      <a:pt x="36" y="7"/>
                      <a:pt x="35" y="7"/>
                    </a:cubicBezTo>
                    <a:cubicBezTo>
                      <a:pt x="35" y="5"/>
                      <a:pt x="35" y="5"/>
                      <a:pt x="33" y="4"/>
                    </a:cubicBezTo>
                    <a:cubicBezTo>
                      <a:pt x="28" y="3"/>
                      <a:pt x="28" y="3"/>
                      <a:pt x="28" y="3"/>
                    </a:cubicBezTo>
                    <a:cubicBezTo>
                      <a:pt x="30" y="0"/>
                      <a:pt x="30" y="0"/>
                      <a:pt x="30" y="0"/>
                    </a:cubicBezTo>
                    <a:cubicBezTo>
                      <a:pt x="29" y="0"/>
                      <a:pt x="27" y="0"/>
                      <a:pt x="26" y="0"/>
                    </a:cubicBezTo>
                    <a:cubicBezTo>
                      <a:pt x="25" y="0"/>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249"/>
              <p:cNvSpPr/>
              <p:nvPr/>
            </p:nvSpPr>
            <p:spPr bwMode="auto">
              <a:xfrm>
                <a:off x="8298881" y="4985962"/>
                <a:ext cx="243218" cy="232162"/>
              </a:xfrm>
              <a:custGeom>
                <a:gdLst>
                  <a:gd name="T0" fmla="*/ 37 w 77"/>
                  <a:gd name="T1" fmla="*/ 0 h 74"/>
                  <a:gd name="T2" fmla="*/ 33 w 77"/>
                  <a:gd name="T3" fmla="*/ 2 h 74"/>
                  <a:gd name="T4" fmla="*/ 29 w 77"/>
                  <a:gd name="T5" fmla="*/ 2 h 74"/>
                  <a:gd name="T6" fmla="*/ 26 w 77"/>
                  <a:gd name="T7" fmla="*/ 2 h 74"/>
                  <a:gd name="T8" fmla="*/ 17 w 77"/>
                  <a:gd name="T9" fmla="*/ 3 h 74"/>
                  <a:gd name="T10" fmla="*/ 1 w 77"/>
                  <a:gd name="T11" fmla="*/ 6 h 74"/>
                  <a:gd name="T12" fmla="*/ 2 w 77"/>
                  <a:gd name="T13" fmla="*/ 8 h 74"/>
                  <a:gd name="T14" fmla="*/ 2 w 77"/>
                  <a:gd name="T15" fmla="*/ 9 h 74"/>
                  <a:gd name="T16" fmla="*/ 3 w 77"/>
                  <a:gd name="T17" fmla="*/ 12 h 74"/>
                  <a:gd name="T18" fmla="*/ 3 w 77"/>
                  <a:gd name="T19" fmla="*/ 15 h 74"/>
                  <a:gd name="T20" fmla="*/ 2 w 77"/>
                  <a:gd name="T21" fmla="*/ 22 h 74"/>
                  <a:gd name="T22" fmla="*/ 0 w 77"/>
                  <a:gd name="T23" fmla="*/ 24 h 74"/>
                  <a:gd name="T24" fmla="*/ 3 w 77"/>
                  <a:gd name="T25" fmla="*/ 30 h 74"/>
                  <a:gd name="T26" fmla="*/ 7 w 77"/>
                  <a:gd name="T27" fmla="*/ 35 h 74"/>
                  <a:gd name="T28" fmla="*/ 9 w 77"/>
                  <a:gd name="T29" fmla="*/ 35 h 74"/>
                  <a:gd name="T30" fmla="*/ 27 w 77"/>
                  <a:gd name="T31" fmla="*/ 41 h 74"/>
                  <a:gd name="T32" fmla="*/ 34 w 77"/>
                  <a:gd name="T33" fmla="*/ 45 h 74"/>
                  <a:gd name="T34" fmla="*/ 40 w 77"/>
                  <a:gd name="T35" fmla="*/ 43 h 74"/>
                  <a:gd name="T36" fmla="*/ 46 w 77"/>
                  <a:gd name="T37" fmla="*/ 48 h 74"/>
                  <a:gd name="T38" fmla="*/ 47 w 77"/>
                  <a:gd name="T39" fmla="*/ 50 h 74"/>
                  <a:gd name="T40" fmla="*/ 50 w 77"/>
                  <a:gd name="T41" fmla="*/ 52 h 74"/>
                  <a:gd name="T42" fmla="*/ 52 w 77"/>
                  <a:gd name="T43" fmla="*/ 52 h 74"/>
                  <a:gd name="T44" fmla="*/ 59 w 77"/>
                  <a:gd name="T45" fmla="*/ 49 h 74"/>
                  <a:gd name="T46" fmla="*/ 62 w 77"/>
                  <a:gd name="T47" fmla="*/ 57 h 74"/>
                  <a:gd name="T48" fmla="*/ 64 w 77"/>
                  <a:gd name="T49" fmla="*/ 59 h 74"/>
                  <a:gd name="T50" fmla="*/ 68 w 77"/>
                  <a:gd name="T51" fmla="*/ 62 h 74"/>
                  <a:gd name="T52" fmla="*/ 73 w 77"/>
                  <a:gd name="T53" fmla="*/ 74 h 74"/>
                  <a:gd name="T54" fmla="*/ 76 w 77"/>
                  <a:gd name="T55" fmla="*/ 73 h 74"/>
                  <a:gd name="T56" fmla="*/ 77 w 77"/>
                  <a:gd name="T57" fmla="*/ 73 h 74"/>
                  <a:gd name="T58" fmla="*/ 76 w 77"/>
                  <a:gd name="T59" fmla="*/ 71 h 74"/>
                  <a:gd name="T60" fmla="*/ 75 w 77"/>
                  <a:gd name="T61" fmla="*/ 68 h 74"/>
                  <a:gd name="T62" fmla="*/ 74 w 77"/>
                  <a:gd name="T63" fmla="*/ 60 h 74"/>
                  <a:gd name="T64" fmla="*/ 54 w 77"/>
                  <a:gd name="T65" fmla="*/ 45 h 74"/>
                  <a:gd name="T66" fmla="*/ 53 w 77"/>
                  <a:gd name="T67" fmla="*/ 37 h 74"/>
                  <a:gd name="T68" fmla="*/ 59 w 77"/>
                  <a:gd name="T69" fmla="*/ 36 h 74"/>
                  <a:gd name="T70" fmla="*/ 60 w 77"/>
                  <a:gd name="T71" fmla="*/ 35 h 74"/>
                  <a:gd name="T72" fmla="*/ 57 w 77"/>
                  <a:gd name="T73" fmla="*/ 31 h 74"/>
                  <a:gd name="T74" fmla="*/ 52 w 77"/>
                  <a:gd name="T75" fmla="*/ 27 h 74"/>
                  <a:gd name="T76" fmla="*/ 49 w 77"/>
                  <a:gd name="T77" fmla="*/ 12 h 74"/>
                  <a:gd name="T78" fmla="*/ 50 w 77"/>
                  <a:gd name="T79" fmla="*/ 11 h 74"/>
                  <a:gd name="T80" fmla="*/ 47 w 77"/>
                  <a:gd name="T81" fmla="*/ 9 h 74"/>
                  <a:gd name="T82" fmla="*/ 41 w 77"/>
                  <a:gd name="T83" fmla="*/ 7 h 74"/>
                  <a:gd name="T84" fmla="*/ 31 w 77"/>
                  <a:gd name="T85" fmla="*/ 10 h 74"/>
                  <a:gd name="T86" fmla="*/ 38 w 77"/>
                  <a:gd name="T87" fmla="*/ 1 h 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7" h="74">
                    <a:moveTo>
                      <a:pt x="37" y="0"/>
                    </a:moveTo>
                    <a:cubicBezTo>
                      <a:pt x="37" y="0"/>
                      <a:pt x="37" y="0"/>
                      <a:pt x="37" y="0"/>
                    </a:cubicBezTo>
                    <a:cubicBezTo>
                      <a:pt x="36" y="1"/>
                      <a:pt x="36" y="1"/>
                      <a:pt x="36" y="1"/>
                    </a:cubicBezTo>
                    <a:cubicBezTo>
                      <a:pt x="35" y="1"/>
                      <a:pt x="34" y="1"/>
                      <a:pt x="33" y="2"/>
                    </a:cubicBezTo>
                    <a:cubicBezTo>
                      <a:pt x="32" y="2"/>
                      <a:pt x="32" y="2"/>
                      <a:pt x="32" y="2"/>
                    </a:cubicBezTo>
                    <a:cubicBezTo>
                      <a:pt x="31" y="2"/>
                      <a:pt x="30" y="2"/>
                      <a:pt x="29" y="2"/>
                    </a:cubicBezTo>
                    <a:cubicBezTo>
                      <a:pt x="29" y="2"/>
                      <a:pt x="29" y="2"/>
                      <a:pt x="29" y="2"/>
                    </a:cubicBezTo>
                    <a:cubicBezTo>
                      <a:pt x="27" y="2"/>
                      <a:pt x="27" y="2"/>
                      <a:pt x="26" y="2"/>
                    </a:cubicBezTo>
                    <a:cubicBezTo>
                      <a:pt x="24" y="2"/>
                      <a:pt x="23" y="2"/>
                      <a:pt x="22" y="2"/>
                    </a:cubicBezTo>
                    <a:cubicBezTo>
                      <a:pt x="20" y="2"/>
                      <a:pt x="19" y="2"/>
                      <a:pt x="17" y="3"/>
                    </a:cubicBezTo>
                    <a:cubicBezTo>
                      <a:pt x="11" y="3"/>
                      <a:pt x="6" y="4"/>
                      <a:pt x="0" y="5"/>
                    </a:cubicBezTo>
                    <a:cubicBezTo>
                      <a:pt x="1" y="5"/>
                      <a:pt x="1" y="6"/>
                      <a:pt x="1" y="6"/>
                    </a:cubicBezTo>
                    <a:cubicBezTo>
                      <a:pt x="1" y="7"/>
                      <a:pt x="2" y="7"/>
                      <a:pt x="2" y="7"/>
                    </a:cubicBezTo>
                    <a:cubicBezTo>
                      <a:pt x="2" y="8"/>
                      <a:pt x="2" y="8"/>
                      <a:pt x="2" y="8"/>
                    </a:cubicBezTo>
                    <a:cubicBezTo>
                      <a:pt x="8" y="6"/>
                      <a:pt x="8" y="6"/>
                      <a:pt x="8" y="6"/>
                    </a:cubicBezTo>
                    <a:cubicBezTo>
                      <a:pt x="2" y="9"/>
                      <a:pt x="2" y="9"/>
                      <a:pt x="2" y="9"/>
                    </a:cubicBezTo>
                    <a:cubicBezTo>
                      <a:pt x="2" y="10"/>
                      <a:pt x="2" y="10"/>
                      <a:pt x="2" y="10"/>
                    </a:cubicBezTo>
                    <a:cubicBezTo>
                      <a:pt x="3" y="10"/>
                      <a:pt x="3" y="11"/>
                      <a:pt x="3" y="12"/>
                    </a:cubicBezTo>
                    <a:cubicBezTo>
                      <a:pt x="3" y="13"/>
                      <a:pt x="3" y="13"/>
                      <a:pt x="3" y="13"/>
                    </a:cubicBezTo>
                    <a:cubicBezTo>
                      <a:pt x="3" y="14"/>
                      <a:pt x="3" y="15"/>
                      <a:pt x="3" y="15"/>
                    </a:cubicBezTo>
                    <a:cubicBezTo>
                      <a:pt x="4" y="19"/>
                      <a:pt x="4" y="19"/>
                      <a:pt x="4" y="19"/>
                    </a:cubicBezTo>
                    <a:cubicBezTo>
                      <a:pt x="4" y="21"/>
                      <a:pt x="3" y="22"/>
                      <a:pt x="2" y="22"/>
                    </a:cubicBezTo>
                    <a:cubicBezTo>
                      <a:pt x="2" y="23"/>
                      <a:pt x="1" y="24"/>
                      <a:pt x="1" y="24"/>
                    </a:cubicBezTo>
                    <a:cubicBezTo>
                      <a:pt x="0" y="24"/>
                      <a:pt x="0" y="24"/>
                      <a:pt x="0" y="24"/>
                    </a:cubicBezTo>
                    <a:cubicBezTo>
                      <a:pt x="1" y="25"/>
                      <a:pt x="1" y="26"/>
                      <a:pt x="1" y="27"/>
                    </a:cubicBezTo>
                    <a:cubicBezTo>
                      <a:pt x="3" y="29"/>
                      <a:pt x="3" y="30"/>
                      <a:pt x="3" y="30"/>
                    </a:cubicBezTo>
                    <a:cubicBezTo>
                      <a:pt x="4" y="31"/>
                      <a:pt x="3" y="33"/>
                      <a:pt x="3" y="34"/>
                    </a:cubicBezTo>
                    <a:cubicBezTo>
                      <a:pt x="5" y="34"/>
                      <a:pt x="6" y="35"/>
                      <a:pt x="7" y="35"/>
                    </a:cubicBezTo>
                    <a:cubicBezTo>
                      <a:pt x="8" y="35"/>
                      <a:pt x="8" y="35"/>
                      <a:pt x="8" y="35"/>
                    </a:cubicBezTo>
                    <a:cubicBezTo>
                      <a:pt x="8" y="35"/>
                      <a:pt x="8" y="35"/>
                      <a:pt x="9" y="35"/>
                    </a:cubicBezTo>
                    <a:cubicBezTo>
                      <a:pt x="10" y="35"/>
                      <a:pt x="12" y="35"/>
                      <a:pt x="14" y="35"/>
                    </a:cubicBezTo>
                    <a:cubicBezTo>
                      <a:pt x="21" y="36"/>
                      <a:pt x="22" y="37"/>
                      <a:pt x="27" y="41"/>
                    </a:cubicBezTo>
                    <a:cubicBezTo>
                      <a:pt x="32" y="46"/>
                      <a:pt x="32" y="46"/>
                      <a:pt x="32" y="46"/>
                    </a:cubicBezTo>
                    <a:cubicBezTo>
                      <a:pt x="33" y="46"/>
                      <a:pt x="33" y="45"/>
                      <a:pt x="34" y="45"/>
                    </a:cubicBezTo>
                    <a:cubicBezTo>
                      <a:pt x="36" y="45"/>
                      <a:pt x="37" y="44"/>
                      <a:pt x="38" y="44"/>
                    </a:cubicBezTo>
                    <a:cubicBezTo>
                      <a:pt x="40" y="43"/>
                      <a:pt x="40" y="43"/>
                      <a:pt x="40" y="43"/>
                    </a:cubicBezTo>
                    <a:cubicBezTo>
                      <a:pt x="43" y="46"/>
                      <a:pt x="43" y="46"/>
                      <a:pt x="43" y="46"/>
                    </a:cubicBezTo>
                    <a:cubicBezTo>
                      <a:pt x="44" y="46"/>
                      <a:pt x="45" y="47"/>
                      <a:pt x="46" y="48"/>
                    </a:cubicBezTo>
                    <a:cubicBezTo>
                      <a:pt x="46" y="49"/>
                      <a:pt x="46" y="49"/>
                      <a:pt x="46" y="49"/>
                    </a:cubicBezTo>
                    <a:cubicBezTo>
                      <a:pt x="46" y="49"/>
                      <a:pt x="47" y="50"/>
                      <a:pt x="47" y="50"/>
                    </a:cubicBezTo>
                    <a:cubicBezTo>
                      <a:pt x="47" y="50"/>
                      <a:pt x="48" y="51"/>
                      <a:pt x="49" y="51"/>
                    </a:cubicBezTo>
                    <a:cubicBezTo>
                      <a:pt x="49" y="52"/>
                      <a:pt x="50" y="52"/>
                      <a:pt x="50" y="52"/>
                    </a:cubicBezTo>
                    <a:cubicBezTo>
                      <a:pt x="51" y="52"/>
                      <a:pt x="51" y="52"/>
                      <a:pt x="51" y="52"/>
                    </a:cubicBezTo>
                    <a:cubicBezTo>
                      <a:pt x="52" y="52"/>
                      <a:pt x="52" y="52"/>
                      <a:pt x="52" y="52"/>
                    </a:cubicBezTo>
                    <a:cubicBezTo>
                      <a:pt x="52" y="52"/>
                      <a:pt x="54" y="52"/>
                      <a:pt x="54" y="51"/>
                    </a:cubicBezTo>
                    <a:cubicBezTo>
                      <a:pt x="59" y="49"/>
                      <a:pt x="59" y="49"/>
                      <a:pt x="59" y="49"/>
                    </a:cubicBezTo>
                    <a:cubicBezTo>
                      <a:pt x="61" y="53"/>
                      <a:pt x="61" y="53"/>
                      <a:pt x="61" y="53"/>
                    </a:cubicBezTo>
                    <a:cubicBezTo>
                      <a:pt x="61" y="54"/>
                      <a:pt x="62" y="56"/>
                      <a:pt x="62" y="57"/>
                    </a:cubicBezTo>
                    <a:cubicBezTo>
                      <a:pt x="62" y="58"/>
                      <a:pt x="62" y="58"/>
                      <a:pt x="62" y="58"/>
                    </a:cubicBezTo>
                    <a:cubicBezTo>
                      <a:pt x="63" y="59"/>
                      <a:pt x="63" y="59"/>
                      <a:pt x="64" y="59"/>
                    </a:cubicBezTo>
                    <a:cubicBezTo>
                      <a:pt x="64" y="59"/>
                      <a:pt x="64" y="59"/>
                      <a:pt x="64" y="59"/>
                    </a:cubicBezTo>
                    <a:cubicBezTo>
                      <a:pt x="66" y="60"/>
                      <a:pt x="67" y="61"/>
                      <a:pt x="68" y="62"/>
                    </a:cubicBezTo>
                    <a:cubicBezTo>
                      <a:pt x="70" y="65"/>
                      <a:pt x="72" y="69"/>
                      <a:pt x="73" y="73"/>
                    </a:cubicBezTo>
                    <a:cubicBezTo>
                      <a:pt x="73" y="74"/>
                      <a:pt x="73" y="74"/>
                      <a:pt x="73" y="74"/>
                    </a:cubicBezTo>
                    <a:cubicBezTo>
                      <a:pt x="73" y="74"/>
                      <a:pt x="73" y="74"/>
                      <a:pt x="73" y="74"/>
                    </a:cubicBezTo>
                    <a:cubicBezTo>
                      <a:pt x="74" y="74"/>
                      <a:pt x="75" y="73"/>
                      <a:pt x="76" y="73"/>
                    </a:cubicBezTo>
                    <a:cubicBezTo>
                      <a:pt x="77" y="73"/>
                      <a:pt x="77" y="73"/>
                      <a:pt x="77" y="73"/>
                    </a:cubicBezTo>
                    <a:cubicBezTo>
                      <a:pt x="77" y="73"/>
                      <a:pt x="77" y="73"/>
                      <a:pt x="77" y="73"/>
                    </a:cubicBezTo>
                    <a:cubicBezTo>
                      <a:pt x="77" y="72"/>
                      <a:pt x="77" y="72"/>
                      <a:pt x="76" y="71"/>
                    </a:cubicBezTo>
                    <a:cubicBezTo>
                      <a:pt x="76" y="71"/>
                      <a:pt x="76" y="71"/>
                      <a:pt x="76" y="71"/>
                    </a:cubicBezTo>
                    <a:cubicBezTo>
                      <a:pt x="75" y="70"/>
                      <a:pt x="75" y="70"/>
                      <a:pt x="75" y="70"/>
                    </a:cubicBezTo>
                    <a:cubicBezTo>
                      <a:pt x="75" y="68"/>
                      <a:pt x="75" y="68"/>
                      <a:pt x="75" y="68"/>
                    </a:cubicBezTo>
                    <a:cubicBezTo>
                      <a:pt x="74" y="66"/>
                      <a:pt x="75" y="65"/>
                      <a:pt x="76" y="64"/>
                    </a:cubicBezTo>
                    <a:cubicBezTo>
                      <a:pt x="75" y="63"/>
                      <a:pt x="74" y="62"/>
                      <a:pt x="74" y="60"/>
                    </a:cubicBezTo>
                    <a:cubicBezTo>
                      <a:pt x="74" y="59"/>
                      <a:pt x="74" y="58"/>
                      <a:pt x="75" y="58"/>
                    </a:cubicBezTo>
                    <a:cubicBezTo>
                      <a:pt x="68" y="53"/>
                      <a:pt x="61" y="49"/>
                      <a:pt x="54" y="45"/>
                    </a:cubicBezTo>
                    <a:cubicBezTo>
                      <a:pt x="45" y="39"/>
                      <a:pt x="45" y="39"/>
                      <a:pt x="45" y="39"/>
                    </a:cubicBezTo>
                    <a:cubicBezTo>
                      <a:pt x="53" y="37"/>
                      <a:pt x="53" y="37"/>
                      <a:pt x="53" y="37"/>
                    </a:cubicBezTo>
                    <a:cubicBezTo>
                      <a:pt x="54" y="37"/>
                      <a:pt x="55" y="37"/>
                      <a:pt x="56" y="36"/>
                    </a:cubicBezTo>
                    <a:cubicBezTo>
                      <a:pt x="58" y="36"/>
                      <a:pt x="59" y="36"/>
                      <a:pt x="59" y="36"/>
                    </a:cubicBezTo>
                    <a:cubicBezTo>
                      <a:pt x="59" y="36"/>
                      <a:pt x="59" y="36"/>
                      <a:pt x="59" y="36"/>
                    </a:cubicBezTo>
                    <a:cubicBezTo>
                      <a:pt x="60" y="35"/>
                      <a:pt x="60" y="35"/>
                      <a:pt x="60" y="35"/>
                    </a:cubicBezTo>
                    <a:cubicBezTo>
                      <a:pt x="60" y="34"/>
                      <a:pt x="60" y="33"/>
                      <a:pt x="60" y="33"/>
                    </a:cubicBezTo>
                    <a:cubicBezTo>
                      <a:pt x="59" y="32"/>
                      <a:pt x="58" y="31"/>
                      <a:pt x="57" y="31"/>
                    </a:cubicBezTo>
                    <a:cubicBezTo>
                      <a:pt x="54" y="28"/>
                      <a:pt x="54" y="28"/>
                      <a:pt x="54" y="28"/>
                    </a:cubicBezTo>
                    <a:cubicBezTo>
                      <a:pt x="53" y="28"/>
                      <a:pt x="53" y="27"/>
                      <a:pt x="52" y="27"/>
                    </a:cubicBezTo>
                    <a:cubicBezTo>
                      <a:pt x="49" y="24"/>
                      <a:pt x="44" y="21"/>
                      <a:pt x="46" y="15"/>
                    </a:cubicBezTo>
                    <a:cubicBezTo>
                      <a:pt x="47" y="13"/>
                      <a:pt x="48" y="13"/>
                      <a:pt x="49" y="12"/>
                    </a:cubicBezTo>
                    <a:cubicBezTo>
                      <a:pt x="49" y="12"/>
                      <a:pt x="50" y="12"/>
                      <a:pt x="50" y="11"/>
                    </a:cubicBezTo>
                    <a:cubicBezTo>
                      <a:pt x="50" y="11"/>
                      <a:pt x="50" y="11"/>
                      <a:pt x="50" y="11"/>
                    </a:cubicBezTo>
                    <a:cubicBezTo>
                      <a:pt x="50" y="11"/>
                      <a:pt x="50" y="11"/>
                      <a:pt x="49" y="10"/>
                    </a:cubicBezTo>
                    <a:cubicBezTo>
                      <a:pt x="49" y="10"/>
                      <a:pt x="48" y="10"/>
                      <a:pt x="47" y="9"/>
                    </a:cubicBezTo>
                    <a:cubicBezTo>
                      <a:pt x="45" y="8"/>
                      <a:pt x="43" y="7"/>
                      <a:pt x="42" y="7"/>
                    </a:cubicBezTo>
                    <a:cubicBezTo>
                      <a:pt x="41" y="7"/>
                      <a:pt x="41" y="7"/>
                      <a:pt x="41" y="7"/>
                    </a:cubicBezTo>
                    <a:cubicBezTo>
                      <a:pt x="41" y="7"/>
                      <a:pt x="41" y="7"/>
                      <a:pt x="41" y="7"/>
                    </a:cubicBezTo>
                    <a:cubicBezTo>
                      <a:pt x="31" y="10"/>
                      <a:pt x="31" y="10"/>
                      <a:pt x="31" y="10"/>
                    </a:cubicBezTo>
                    <a:cubicBezTo>
                      <a:pt x="37" y="2"/>
                      <a:pt x="37" y="2"/>
                      <a:pt x="37" y="2"/>
                    </a:cubicBezTo>
                    <a:cubicBezTo>
                      <a:pt x="38" y="1"/>
                      <a:pt x="38" y="1"/>
                      <a:pt x="38" y="1"/>
                    </a:cubicBezTo>
                    <a:cubicBezTo>
                      <a:pt x="38" y="1"/>
                      <a:pt x="38"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Rectangle 250"/>
              <p:cNvSpPr>
                <a:spLocks noChangeArrowheads="1"/>
              </p:cNvSpPr>
              <p:nvPr/>
            </p:nvSpPr>
            <p:spPr bwMode="auto">
              <a:xfrm>
                <a:off x="8542098" y="5207069"/>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251"/>
              <p:cNvSpPr/>
              <p:nvPr/>
            </p:nvSpPr>
            <p:spPr bwMode="auto">
              <a:xfrm flipH="1">
                <a:off x="8542098" y="520706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252"/>
              <p:cNvSpPr/>
              <p:nvPr/>
            </p:nvSpPr>
            <p:spPr bwMode="auto">
              <a:xfrm>
                <a:off x="8560524" y="5199699"/>
                <a:ext cx="7370" cy="7370"/>
              </a:xfrm>
              <a:custGeom>
                <a:gdLst>
                  <a:gd name="T0" fmla="*/ 2 w 2"/>
                  <a:gd name="T1" fmla="*/ 0 h 2"/>
                  <a:gd name="T2" fmla="*/ 1 w 2"/>
                  <a:gd name="T3" fmla="*/ 1 h 2"/>
                  <a:gd name="T4" fmla="*/ 0 w 2"/>
                  <a:gd name="T5" fmla="*/ 1 h 2"/>
                  <a:gd name="T6" fmla="*/ 1 w 2"/>
                  <a:gd name="T7" fmla="*/ 2 h 2"/>
                  <a:gd name="T8" fmla="*/ 1 w 2"/>
                  <a:gd name="T9" fmla="*/ 2 h 2"/>
                  <a:gd name="T10" fmla="*/ 2 w 2"/>
                  <a:gd name="T11" fmla="*/ 0 h 2"/>
                </a:gdLst>
                <a:cxnLst>
                  <a:cxn ang="0">
                    <a:pos x="T0" y="T1"/>
                  </a:cxn>
                  <a:cxn ang="0">
                    <a:pos x="T2" y="T3"/>
                  </a:cxn>
                  <a:cxn ang="0">
                    <a:pos x="T4" y="T5"/>
                  </a:cxn>
                  <a:cxn ang="0">
                    <a:pos x="T6" y="T7"/>
                  </a:cxn>
                  <a:cxn ang="0">
                    <a:pos x="T8" y="T9"/>
                  </a:cxn>
                  <a:cxn ang="0">
                    <a:pos x="T10" y="T11"/>
                  </a:cxn>
                </a:cxnLst>
                <a:rect l="0" t="0" r="r" b="b"/>
                <a:pathLst>
                  <a:path w="2" h="2">
                    <a:moveTo>
                      <a:pt x="2" y="0"/>
                    </a:moveTo>
                    <a:cubicBezTo>
                      <a:pt x="1" y="1"/>
                      <a:pt x="1" y="1"/>
                      <a:pt x="1" y="1"/>
                    </a:cubicBezTo>
                    <a:cubicBezTo>
                      <a:pt x="0" y="1"/>
                      <a:pt x="0" y="1"/>
                      <a:pt x="0" y="1"/>
                    </a:cubicBezTo>
                    <a:cubicBezTo>
                      <a:pt x="1" y="2"/>
                      <a:pt x="1" y="2"/>
                      <a:pt x="1" y="2"/>
                    </a:cubicBezTo>
                    <a:cubicBezTo>
                      <a:pt x="1" y="2"/>
                      <a:pt x="1" y="2"/>
                      <a:pt x="1" y="2"/>
                    </a:cubicBezTo>
                    <a:cubicBezTo>
                      <a:pt x="2"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253"/>
              <p:cNvSpPr/>
              <p:nvPr/>
            </p:nvSpPr>
            <p:spPr bwMode="auto">
              <a:xfrm>
                <a:off x="8438915" y="4919630"/>
                <a:ext cx="464325" cy="346401"/>
              </a:xfrm>
              <a:custGeom>
                <a:gdLst>
                  <a:gd name="T0" fmla="*/ 33 w 146"/>
                  <a:gd name="T1" fmla="*/ 5 h 110"/>
                  <a:gd name="T2" fmla="*/ 40 w 146"/>
                  <a:gd name="T3" fmla="*/ 11 h 110"/>
                  <a:gd name="T4" fmla="*/ 43 w 146"/>
                  <a:gd name="T5" fmla="*/ 22 h 110"/>
                  <a:gd name="T6" fmla="*/ 43 w 146"/>
                  <a:gd name="T7" fmla="*/ 28 h 110"/>
                  <a:gd name="T8" fmla="*/ 32 w 146"/>
                  <a:gd name="T9" fmla="*/ 26 h 110"/>
                  <a:gd name="T10" fmla="*/ 13 w 146"/>
                  <a:gd name="T11" fmla="*/ 21 h 110"/>
                  <a:gd name="T12" fmla="*/ 3 w 146"/>
                  <a:gd name="T13" fmla="*/ 15 h 110"/>
                  <a:gd name="T14" fmla="*/ 0 w 146"/>
                  <a:gd name="T15" fmla="*/ 17 h 110"/>
                  <a:gd name="T16" fmla="*/ 0 w 146"/>
                  <a:gd name="T17" fmla="*/ 18 h 110"/>
                  <a:gd name="T18" fmla="*/ 1 w 146"/>
                  <a:gd name="T19" fmla="*/ 19 h 110"/>
                  <a:gd name="T20" fmla="*/ 2 w 146"/>
                  <a:gd name="T21" fmla="*/ 21 h 110"/>
                  <a:gd name="T22" fmla="*/ 7 w 146"/>
                  <a:gd name="T23" fmla="*/ 24 h 110"/>
                  <a:gd name="T24" fmla="*/ 13 w 146"/>
                  <a:gd name="T25" fmla="*/ 36 h 110"/>
                  <a:gd name="T26" fmla="*/ 9 w 146"/>
                  <a:gd name="T27" fmla="*/ 39 h 110"/>
                  <a:gd name="T28" fmla="*/ 8 w 146"/>
                  <a:gd name="T29" fmla="*/ 39 h 110"/>
                  <a:gd name="T30" fmla="*/ 14 w 146"/>
                  <a:gd name="T31" fmla="*/ 44 h 110"/>
                  <a:gd name="T32" fmla="*/ 20 w 146"/>
                  <a:gd name="T33" fmla="*/ 48 h 110"/>
                  <a:gd name="T34" fmla="*/ 22 w 146"/>
                  <a:gd name="T35" fmla="*/ 57 h 110"/>
                  <a:gd name="T36" fmla="*/ 38 w 146"/>
                  <a:gd name="T37" fmla="*/ 75 h 110"/>
                  <a:gd name="T38" fmla="*/ 38 w 146"/>
                  <a:gd name="T39" fmla="*/ 81 h 110"/>
                  <a:gd name="T40" fmla="*/ 41 w 146"/>
                  <a:gd name="T41" fmla="*/ 84 h 110"/>
                  <a:gd name="T42" fmla="*/ 50 w 146"/>
                  <a:gd name="T43" fmla="*/ 82 h 110"/>
                  <a:gd name="T44" fmla="*/ 67 w 146"/>
                  <a:gd name="T45" fmla="*/ 71 h 110"/>
                  <a:gd name="T46" fmla="*/ 77 w 146"/>
                  <a:gd name="T47" fmla="*/ 67 h 110"/>
                  <a:gd name="T48" fmla="*/ 86 w 146"/>
                  <a:gd name="T49" fmla="*/ 74 h 110"/>
                  <a:gd name="T50" fmla="*/ 90 w 146"/>
                  <a:gd name="T51" fmla="*/ 81 h 110"/>
                  <a:gd name="T52" fmla="*/ 87 w 146"/>
                  <a:gd name="T53" fmla="*/ 87 h 110"/>
                  <a:gd name="T54" fmla="*/ 90 w 146"/>
                  <a:gd name="T55" fmla="*/ 90 h 110"/>
                  <a:gd name="T56" fmla="*/ 85 w 146"/>
                  <a:gd name="T57" fmla="*/ 98 h 110"/>
                  <a:gd name="T58" fmla="*/ 88 w 146"/>
                  <a:gd name="T59" fmla="*/ 102 h 110"/>
                  <a:gd name="T60" fmla="*/ 92 w 146"/>
                  <a:gd name="T61" fmla="*/ 104 h 110"/>
                  <a:gd name="T62" fmla="*/ 97 w 146"/>
                  <a:gd name="T63" fmla="*/ 109 h 110"/>
                  <a:gd name="T64" fmla="*/ 97 w 146"/>
                  <a:gd name="T65" fmla="*/ 110 h 110"/>
                  <a:gd name="T66" fmla="*/ 104 w 146"/>
                  <a:gd name="T67" fmla="*/ 109 h 110"/>
                  <a:gd name="T68" fmla="*/ 107 w 146"/>
                  <a:gd name="T69" fmla="*/ 88 h 110"/>
                  <a:gd name="T70" fmla="*/ 111 w 146"/>
                  <a:gd name="T71" fmla="*/ 95 h 110"/>
                  <a:gd name="T72" fmla="*/ 116 w 146"/>
                  <a:gd name="T73" fmla="*/ 83 h 110"/>
                  <a:gd name="T74" fmla="*/ 118 w 146"/>
                  <a:gd name="T75" fmla="*/ 84 h 110"/>
                  <a:gd name="T76" fmla="*/ 118 w 146"/>
                  <a:gd name="T77" fmla="*/ 80 h 110"/>
                  <a:gd name="T78" fmla="*/ 119 w 146"/>
                  <a:gd name="T79" fmla="*/ 65 h 110"/>
                  <a:gd name="T80" fmla="*/ 135 w 146"/>
                  <a:gd name="T81" fmla="*/ 49 h 110"/>
                  <a:gd name="T82" fmla="*/ 146 w 146"/>
                  <a:gd name="T83" fmla="*/ 53 h 110"/>
                  <a:gd name="T84" fmla="*/ 137 w 146"/>
                  <a:gd name="T85" fmla="*/ 42 h 110"/>
                  <a:gd name="T86" fmla="*/ 133 w 146"/>
                  <a:gd name="T87" fmla="*/ 41 h 110"/>
                  <a:gd name="T88" fmla="*/ 131 w 146"/>
                  <a:gd name="T89" fmla="*/ 42 h 110"/>
                  <a:gd name="T90" fmla="*/ 110 w 146"/>
                  <a:gd name="T91" fmla="*/ 17 h 110"/>
                  <a:gd name="T92" fmla="*/ 89 w 146"/>
                  <a:gd name="T93" fmla="*/ 10 h 110"/>
                  <a:gd name="T94" fmla="*/ 87 w 146"/>
                  <a:gd name="T95" fmla="*/ 11 h 110"/>
                  <a:gd name="T96" fmla="*/ 81 w 146"/>
                  <a:gd name="T97" fmla="*/ 17 h 110"/>
                  <a:gd name="T98" fmla="*/ 66 w 146"/>
                  <a:gd name="T99" fmla="*/ 23 h 110"/>
                  <a:gd name="T100" fmla="*/ 52 w 146"/>
                  <a:gd name="T101" fmla="*/ 12 h 110"/>
                  <a:gd name="T102" fmla="*/ 40 w 146"/>
                  <a:gd name="T103" fmla="*/ 0 h 110"/>
                  <a:gd name="T104" fmla="*/ 36 w 146"/>
                  <a:gd name="T105" fmla="*/ 0 h 1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10">
                    <a:moveTo>
                      <a:pt x="36" y="0"/>
                    </a:moveTo>
                    <a:cubicBezTo>
                      <a:pt x="33" y="5"/>
                      <a:pt x="33" y="5"/>
                      <a:pt x="33" y="5"/>
                    </a:cubicBezTo>
                    <a:cubicBezTo>
                      <a:pt x="34" y="6"/>
                      <a:pt x="35" y="6"/>
                      <a:pt x="35" y="7"/>
                    </a:cubicBezTo>
                    <a:cubicBezTo>
                      <a:pt x="37" y="9"/>
                      <a:pt x="38" y="10"/>
                      <a:pt x="40" y="11"/>
                    </a:cubicBezTo>
                    <a:cubicBezTo>
                      <a:pt x="45" y="13"/>
                      <a:pt x="44" y="18"/>
                      <a:pt x="43" y="21"/>
                    </a:cubicBezTo>
                    <a:cubicBezTo>
                      <a:pt x="43" y="22"/>
                      <a:pt x="43" y="22"/>
                      <a:pt x="43" y="22"/>
                    </a:cubicBezTo>
                    <a:cubicBezTo>
                      <a:pt x="43" y="23"/>
                      <a:pt x="43" y="23"/>
                      <a:pt x="43" y="24"/>
                    </a:cubicBezTo>
                    <a:cubicBezTo>
                      <a:pt x="43" y="28"/>
                      <a:pt x="43" y="28"/>
                      <a:pt x="43" y="28"/>
                    </a:cubicBezTo>
                    <a:cubicBezTo>
                      <a:pt x="39" y="27"/>
                      <a:pt x="39" y="27"/>
                      <a:pt x="39" y="27"/>
                    </a:cubicBezTo>
                    <a:cubicBezTo>
                      <a:pt x="37" y="27"/>
                      <a:pt x="35" y="26"/>
                      <a:pt x="32" y="26"/>
                    </a:cubicBezTo>
                    <a:cubicBezTo>
                      <a:pt x="27" y="25"/>
                      <a:pt x="21" y="25"/>
                      <a:pt x="16" y="23"/>
                    </a:cubicBezTo>
                    <a:cubicBezTo>
                      <a:pt x="15" y="22"/>
                      <a:pt x="14" y="22"/>
                      <a:pt x="13" y="21"/>
                    </a:cubicBezTo>
                    <a:cubicBezTo>
                      <a:pt x="11" y="20"/>
                      <a:pt x="10" y="19"/>
                      <a:pt x="8" y="18"/>
                    </a:cubicBezTo>
                    <a:cubicBezTo>
                      <a:pt x="6" y="17"/>
                      <a:pt x="5" y="16"/>
                      <a:pt x="3" y="15"/>
                    </a:cubicBezTo>
                    <a:cubicBezTo>
                      <a:pt x="2" y="16"/>
                      <a:pt x="2" y="16"/>
                      <a:pt x="2" y="16"/>
                    </a:cubicBezTo>
                    <a:cubicBezTo>
                      <a:pt x="0" y="17"/>
                      <a:pt x="0" y="17"/>
                      <a:pt x="0" y="17"/>
                    </a:cubicBezTo>
                    <a:cubicBezTo>
                      <a:pt x="0" y="17"/>
                      <a:pt x="0" y="17"/>
                      <a:pt x="0" y="17"/>
                    </a:cubicBezTo>
                    <a:cubicBezTo>
                      <a:pt x="0" y="18"/>
                      <a:pt x="0" y="18"/>
                      <a:pt x="0" y="18"/>
                    </a:cubicBezTo>
                    <a:cubicBezTo>
                      <a:pt x="1" y="18"/>
                      <a:pt x="1" y="18"/>
                      <a:pt x="1" y="18"/>
                    </a:cubicBezTo>
                    <a:cubicBezTo>
                      <a:pt x="1" y="19"/>
                      <a:pt x="1" y="19"/>
                      <a:pt x="1" y="19"/>
                    </a:cubicBezTo>
                    <a:cubicBezTo>
                      <a:pt x="2" y="19"/>
                      <a:pt x="2" y="20"/>
                      <a:pt x="2" y="20"/>
                    </a:cubicBezTo>
                    <a:cubicBezTo>
                      <a:pt x="2" y="21"/>
                      <a:pt x="2" y="21"/>
                      <a:pt x="2" y="21"/>
                    </a:cubicBezTo>
                    <a:cubicBezTo>
                      <a:pt x="3" y="21"/>
                      <a:pt x="3" y="22"/>
                      <a:pt x="3" y="22"/>
                    </a:cubicBezTo>
                    <a:cubicBezTo>
                      <a:pt x="4" y="23"/>
                      <a:pt x="6" y="24"/>
                      <a:pt x="7" y="24"/>
                    </a:cubicBezTo>
                    <a:cubicBezTo>
                      <a:pt x="10" y="26"/>
                      <a:pt x="12" y="28"/>
                      <a:pt x="13" y="30"/>
                    </a:cubicBezTo>
                    <a:cubicBezTo>
                      <a:pt x="15" y="32"/>
                      <a:pt x="14" y="35"/>
                      <a:pt x="13" y="36"/>
                    </a:cubicBezTo>
                    <a:cubicBezTo>
                      <a:pt x="12" y="37"/>
                      <a:pt x="11" y="38"/>
                      <a:pt x="10" y="38"/>
                    </a:cubicBezTo>
                    <a:cubicBezTo>
                      <a:pt x="10" y="38"/>
                      <a:pt x="9" y="39"/>
                      <a:pt x="9" y="39"/>
                    </a:cubicBezTo>
                    <a:cubicBezTo>
                      <a:pt x="9" y="39"/>
                      <a:pt x="9" y="39"/>
                      <a:pt x="9" y="39"/>
                    </a:cubicBezTo>
                    <a:cubicBezTo>
                      <a:pt x="8" y="39"/>
                      <a:pt x="8" y="39"/>
                      <a:pt x="8" y="39"/>
                    </a:cubicBezTo>
                    <a:cubicBezTo>
                      <a:pt x="9" y="40"/>
                      <a:pt x="10" y="41"/>
                      <a:pt x="12" y="42"/>
                    </a:cubicBezTo>
                    <a:cubicBezTo>
                      <a:pt x="13" y="43"/>
                      <a:pt x="14" y="43"/>
                      <a:pt x="14" y="44"/>
                    </a:cubicBezTo>
                    <a:cubicBezTo>
                      <a:pt x="17" y="46"/>
                      <a:pt x="17" y="46"/>
                      <a:pt x="17" y="46"/>
                    </a:cubicBezTo>
                    <a:cubicBezTo>
                      <a:pt x="18" y="47"/>
                      <a:pt x="19" y="48"/>
                      <a:pt x="20" y="48"/>
                    </a:cubicBezTo>
                    <a:cubicBezTo>
                      <a:pt x="23" y="50"/>
                      <a:pt x="23" y="54"/>
                      <a:pt x="23" y="56"/>
                    </a:cubicBezTo>
                    <a:cubicBezTo>
                      <a:pt x="22" y="57"/>
                      <a:pt x="22" y="57"/>
                      <a:pt x="22" y="57"/>
                    </a:cubicBezTo>
                    <a:cubicBezTo>
                      <a:pt x="22" y="60"/>
                      <a:pt x="22" y="61"/>
                      <a:pt x="19" y="63"/>
                    </a:cubicBezTo>
                    <a:cubicBezTo>
                      <a:pt x="25" y="67"/>
                      <a:pt x="32" y="71"/>
                      <a:pt x="38" y="75"/>
                    </a:cubicBezTo>
                    <a:cubicBezTo>
                      <a:pt x="43" y="78"/>
                      <a:pt x="43" y="78"/>
                      <a:pt x="43" y="78"/>
                    </a:cubicBezTo>
                    <a:cubicBezTo>
                      <a:pt x="38" y="81"/>
                      <a:pt x="38" y="81"/>
                      <a:pt x="38" y="81"/>
                    </a:cubicBezTo>
                    <a:cubicBezTo>
                      <a:pt x="38" y="81"/>
                      <a:pt x="38" y="81"/>
                      <a:pt x="38" y="81"/>
                    </a:cubicBezTo>
                    <a:cubicBezTo>
                      <a:pt x="39" y="82"/>
                      <a:pt x="40" y="83"/>
                      <a:pt x="41" y="84"/>
                    </a:cubicBezTo>
                    <a:cubicBezTo>
                      <a:pt x="44" y="86"/>
                      <a:pt x="44" y="86"/>
                      <a:pt x="44" y="86"/>
                    </a:cubicBezTo>
                    <a:cubicBezTo>
                      <a:pt x="46" y="85"/>
                      <a:pt x="48" y="84"/>
                      <a:pt x="50" y="82"/>
                    </a:cubicBezTo>
                    <a:cubicBezTo>
                      <a:pt x="52" y="81"/>
                      <a:pt x="54" y="80"/>
                      <a:pt x="56" y="79"/>
                    </a:cubicBezTo>
                    <a:cubicBezTo>
                      <a:pt x="59" y="76"/>
                      <a:pt x="63" y="74"/>
                      <a:pt x="67" y="71"/>
                    </a:cubicBezTo>
                    <a:cubicBezTo>
                      <a:pt x="68" y="71"/>
                      <a:pt x="68" y="71"/>
                      <a:pt x="68" y="71"/>
                    </a:cubicBezTo>
                    <a:cubicBezTo>
                      <a:pt x="72" y="68"/>
                      <a:pt x="75" y="67"/>
                      <a:pt x="77" y="67"/>
                    </a:cubicBezTo>
                    <a:cubicBezTo>
                      <a:pt x="78" y="67"/>
                      <a:pt x="78" y="67"/>
                      <a:pt x="79" y="67"/>
                    </a:cubicBezTo>
                    <a:cubicBezTo>
                      <a:pt x="81" y="67"/>
                      <a:pt x="83" y="70"/>
                      <a:pt x="86" y="74"/>
                    </a:cubicBezTo>
                    <a:cubicBezTo>
                      <a:pt x="88" y="76"/>
                      <a:pt x="88" y="76"/>
                      <a:pt x="88" y="76"/>
                    </a:cubicBezTo>
                    <a:cubicBezTo>
                      <a:pt x="89" y="78"/>
                      <a:pt x="90" y="79"/>
                      <a:pt x="90" y="81"/>
                    </a:cubicBezTo>
                    <a:cubicBezTo>
                      <a:pt x="91" y="83"/>
                      <a:pt x="89" y="85"/>
                      <a:pt x="88" y="86"/>
                    </a:cubicBezTo>
                    <a:cubicBezTo>
                      <a:pt x="87" y="87"/>
                      <a:pt x="87" y="87"/>
                      <a:pt x="87" y="87"/>
                    </a:cubicBezTo>
                    <a:cubicBezTo>
                      <a:pt x="88" y="88"/>
                      <a:pt x="88" y="88"/>
                      <a:pt x="88" y="88"/>
                    </a:cubicBezTo>
                    <a:cubicBezTo>
                      <a:pt x="89" y="88"/>
                      <a:pt x="89" y="89"/>
                      <a:pt x="90" y="90"/>
                    </a:cubicBezTo>
                    <a:cubicBezTo>
                      <a:pt x="93" y="93"/>
                      <a:pt x="93" y="93"/>
                      <a:pt x="93" y="93"/>
                    </a:cubicBezTo>
                    <a:cubicBezTo>
                      <a:pt x="85" y="98"/>
                      <a:pt x="85" y="98"/>
                      <a:pt x="85" y="98"/>
                    </a:cubicBezTo>
                    <a:cubicBezTo>
                      <a:pt x="87" y="100"/>
                      <a:pt x="87" y="100"/>
                      <a:pt x="87" y="100"/>
                    </a:cubicBezTo>
                    <a:cubicBezTo>
                      <a:pt x="88" y="100"/>
                      <a:pt x="88" y="101"/>
                      <a:pt x="88" y="102"/>
                    </a:cubicBezTo>
                    <a:cubicBezTo>
                      <a:pt x="89" y="103"/>
                      <a:pt x="89" y="103"/>
                      <a:pt x="89" y="103"/>
                    </a:cubicBezTo>
                    <a:cubicBezTo>
                      <a:pt x="90" y="103"/>
                      <a:pt x="91" y="104"/>
                      <a:pt x="92" y="104"/>
                    </a:cubicBezTo>
                    <a:cubicBezTo>
                      <a:pt x="92" y="105"/>
                      <a:pt x="93" y="105"/>
                      <a:pt x="95" y="106"/>
                    </a:cubicBezTo>
                    <a:cubicBezTo>
                      <a:pt x="96" y="107"/>
                      <a:pt x="96" y="108"/>
                      <a:pt x="97" y="109"/>
                    </a:cubicBezTo>
                    <a:cubicBezTo>
                      <a:pt x="97" y="110"/>
                      <a:pt x="97" y="110"/>
                      <a:pt x="97" y="110"/>
                    </a:cubicBezTo>
                    <a:cubicBezTo>
                      <a:pt x="97" y="110"/>
                      <a:pt x="97" y="110"/>
                      <a:pt x="97" y="110"/>
                    </a:cubicBezTo>
                    <a:cubicBezTo>
                      <a:pt x="98" y="110"/>
                      <a:pt x="100" y="109"/>
                      <a:pt x="102" y="109"/>
                    </a:cubicBezTo>
                    <a:cubicBezTo>
                      <a:pt x="104" y="109"/>
                      <a:pt x="104" y="109"/>
                      <a:pt x="104" y="109"/>
                    </a:cubicBezTo>
                    <a:cubicBezTo>
                      <a:pt x="103" y="105"/>
                      <a:pt x="104" y="102"/>
                      <a:pt x="104" y="98"/>
                    </a:cubicBezTo>
                    <a:cubicBezTo>
                      <a:pt x="105" y="95"/>
                      <a:pt x="104" y="88"/>
                      <a:pt x="107" y="88"/>
                    </a:cubicBezTo>
                    <a:cubicBezTo>
                      <a:pt x="108" y="88"/>
                      <a:pt x="108" y="88"/>
                      <a:pt x="108" y="88"/>
                    </a:cubicBezTo>
                    <a:cubicBezTo>
                      <a:pt x="109" y="89"/>
                      <a:pt x="111" y="94"/>
                      <a:pt x="111" y="95"/>
                    </a:cubicBezTo>
                    <a:cubicBezTo>
                      <a:pt x="112" y="92"/>
                      <a:pt x="112" y="84"/>
                      <a:pt x="115" y="83"/>
                    </a:cubicBezTo>
                    <a:cubicBezTo>
                      <a:pt x="116" y="83"/>
                      <a:pt x="116" y="83"/>
                      <a:pt x="116" y="83"/>
                    </a:cubicBezTo>
                    <a:cubicBezTo>
                      <a:pt x="116" y="83"/>
                      <a:pt x="117" y="83"/>
                      <a:pt x="117" y="83"/>
                    </a:cubicBezTo>
                    <a:cubicBezTo>
                      <a:pt x="117" y="84"/>
                      <a:pt x="117" y="84"/>
                      <a:pt x="118" y="84"/>
                    </a:cubicBezTo>
                    <a:cubicBezTo>
                      <a:pt x="118" y="84"/>
                      <a:pt x="118" y="84"/>
                      <a:pt x="118" y="83"/>
                    </a:cubicBezTo>
                    <a:cubicBezTo>
                      <a:pt x="119" y="81"/>
                      <a:pt x="118" y="81"/>
                      <a:pt x="118" y="80"/>
                    </a:cubicBezTo>
                    <a:cubicBezTo>
                      <a:pt x="117" y="78"/>
                      <a:pt x="115" y="77"/>
                      <a:pt x="116" y="74"/>
                    </a:cubicBezTo>
                    <a:cubicBezTo>
                      <a:pt x="117" y="71"/>
                      <a:pt x="118" y="68"/>
                      <a:pt x="119" y="65"/>
                    </a:cubicBezTo>
                    <a:cubicBezTo>
                      <a:pt x="120" y="61"/>
                      <a:pt x="121" y="56"/>
                      <a:pt x="125" y="53"/>
                    </a:cubicBezTo>
                    <a:cubicBezTo>
                      <a:pt x="128" y="50"/>
                      <a:pt x="132" y="49"/>
                      <a:pt x="135" y="49"/>
                    </a:cubicBezTo>
                    <a:cubicBezTo>
                      <a:pt x="136" y="49"/>
                      <a:pt x="137" y="49"/>
                      <a:pt x="137" y="49"/>
                    </a:cubicBezTo>
                    <a:cubicBezTo>
                      <a:pt x="141" y="49"/>
                      <a:pt x="143" y="49"/>
                      <a:pt x="146" y="53"/>
                    </a:cubicBezTo>
                    <a:cubicBezTo>
                      <a:pt x="145" y="50"/>
                      <a:pt x="146" y="48"/>
                      <a:pt x="143" y="46"/>
                    </a:cubicBezTo>
                    <a:cubicBezTo>
                      <a:pt x="141" y="44"/>
                      <a:pt x="139" y="43"/>
                      <a:pt x="137" y="42"/>
                    </a:cubicBezTo>
                    <a:cubicBezTo>
                      <a:pt x="136" y="41"/>
                      <a:pt x="135" y="41"/>
                      <a:pt x="133" y="41"/>
                    </a:cubicBezTo>
                    <a:cubicBezTo>
                      <a:pt x="133" y="41"/>
                      <a:pt x="133" y="41"/>
                      <a:pt x="133" y="41"/>
                    </a:cubicBezTo>
                    <a:cubicBezTo>
                      <a:pt x="132" y="41"/>
                      <a:pt x="132" y="42"/>
                      <a:pt x="131" y="42"/>
                    </a:cubicBezTo>
                    <a:cubicBezTo>
                      <a:pt x="131" y="42"/>
                      <a:pt x="131" y="42"/>
                      <a:pt x="131" y="42"/>
                    </a:cubicBezTo>
                    <a:cubicBezTo>
                      <a:pt x="127" y="41"/>
                      <a:pt x="125" y="39"/>
                      <a:pt x="122" y="36"/>
                    </a:cubicBezTo>
                    <a:cubicBezTo>
                      <a:pt x="116" y="31"/>
                      <a:pt x="112" y="24"/>
                      <a:pt x="110" y="17"/>
                    </a:cubicBezTo>
                    <a:cubicBezTo>
                      <a:pt x="107" y="11"/>
                      <a:pt x="102" y="5"/>
                      <a:pt x="97" y="0"/>
                    </a:cubicBezTo>
                    <a:cubicBezTo>
                      <a:pt x="96" y="4"/>
                      <a:pt x="92" y="7"/>
                      <a:pt x="89" y="10"/>
                    </a:cubicBezTo>
                    <a:cubicBezTo>
                      <a:pt x="88" y="10"/>
                      <a:pt x="88" y="10"/>
                      <a:pt x="88" y="10"/>
                    </a:cubicBezTo>
                    <a:cubicBezTo>
                      <a:pt x="88" y="10"/>
                      <a:pt x="87" y="11"/>
                      <a:pt x="87" y="11"/>
                    </a:cubicBezTo>
                    <a:cubicBezTo>
                      <a:pt x="86" y="12"/>
                      <a:pt x="85" y="13"/>
                      <a:pt x="84" y="13"/>
                    </a:cubicBezTo>
                    <a:cubicBezTo>
                      <a:pt x="83" y="14"/>
                      <a:pt x="82" y="14"/>
                      <a:pt x="81" y="17"/>
                    </a:cubicBezTo>
                    <a:cubicBezTo>
                      <a:pt x="79" y="21"/>
                      <a:pt x="76" y="23"/>
                      <a:pt x="72" y="23"/>
                    </a:cubicBezTo>
                    <a:cubicBezTo>
                      <a:pt x="70" y="23"/>
                      <a:pt x="68" y="23"/>
                      <a:pt x="66" y="23"/>
                    </a:cubicBezTo>
                    <a:cubicBezTo>
                      <a:pt x="58" y="21"/>
                      <a:pt x="55" y="17"/>
                      <a:pt x="54" y="15"/>
                    </a:cubicBezTo>
                    <a:cubicBezTo>
                      <a:pt x="53" y="14"/>
                      <a:pt x="52" y="12"/>
                      <a:pt x="52" y="12"/>
                    </a:cubicBezTo>
                    <a:cubicBezTo>
                      <a:pt x="49" y="12"/>
                      <a:pt x="46" y="8"/>
                      <a:pt x="45" y="5"/>
                    </a:cubicBezTo>
                    <a:cubicBezTo>
                      <a:pt x="44" y="2"/>
                      <a:pt x="41" y="1"/>
                      <a:pt x="40" y="0"/>
                    </a:cubicBezTo>
                    <a:cubicBezTo>
                      <a:pt x="38" y="0"/>
                      <a:pt x="37" y="0"/>
                      <a:pt x="36" y="0"/>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254"/>
              <p:cNvSpPr/>
              <p:nvPr/>
            </p:nvSpPr>
            <p:spPr bwMode="auto">
              <a:xfrm>
                <a:off x="8413119" y="5148107"/>
                <a:ext cx="95813" cy="70017"/>
              </a:xfrm>
              <a:custGeom>
                <a:gdLst>
                  <a:gd name="T0" fmla="*/ 2 w 30"/>
                  <a:gd name="T1" fmla="*/ 0 h 23"/>
                  <a:gd name="T2" fmla="*/ 0 w 30"/>
                  <a:gd name="T3" fmla="*/ 1 h 23"/>
                  <a:gd name="T4" fmla="*/ 0 w 30"/>
                  <a:gd name="T5" fmla="*/ 1 h 23"/>
                  <a:gd name="T6" fmla="*/ 0 w 30"/>
                  <a:gd name="T7" fmla="*/ 3 h 23"/>
                  <a:gd name="T8" fmla="*/ 8 w 30"/>
                  <a:gd name="T9" fmla="*/ 11 h 23"/>
                  <a:gd name="T10" fmla="*/ 10 w 30"/>
                  <a:gd name="T11" fmla="*/ 13 h 23"/>
                  <a:gd name="T12" fmla="*/ 10 w 30"/>
                  <a:gd name="T13" fmla="*/ 13 h 23"/>
                  <a:gd name="T14" fmla="*/ 16 w 30"/>
                  <a:gd name="T15" fmla="*/ 19 h 23"/>
                  <a:gd name="T16" fmla="*/ 26 w 30"/>
                  <a:gd name="T17" fmla="*/ 22 h 23"/>
                  <a:gd name="T18" fmla="*/ 28 w 30"/>
                  <a:gd name="T19" fmla="*/ 23 h 23"/>
                  <a:gd name="T20" fmla="*/ 30 w 30"/>
                  <a:gd name="T21" fmla="*/ 23 h 23"/>
                  <a:gd name="T22" fmla="*/ 30 w 30"/>
                  <a:gd name="T23" fmla="*/ 23 h 23"/>
                  <a:gd name="T24" fmla="*/ 27 w 30"/>
                  <a:gd name="T25" fmla="*/ 15 h 23"/>
                  <a:gd name="T26" fmla="*/ 26 w 30"/>
                  <a:gd name="T27" fmla="*/ 15 h 23"/>
                  <a:gd name="T28" fmla="*/ 25 w 30"/>
                  <a:gd name="T29" fmla="*/ 15 h 23"/>
                  <a:gd name="T30" fmla="*/ 20 w 30"/>
                  <a:gd name="T31" fmla="*/ 10 h 23"/>
                  <a:gd name="T32" fmla="*/ 19 w 30"/>
                  <a:gd name="T33" fmla="*/ 8 h 23"/>
                  <a:gd name="T34" fmla="*/ 16 w 30"/>
                  <a:gd name="T35" fmla="*/ 8 h 23"/>
                  <a:gd name="T36" fmla="*/ 15 w 30"/>
                  <a:gd name="T37" fmla="*/ 8 h 23"/>
                  <a:gd name="T38" fmla="*/ 12 w 30"/>
                  <a:gd name="T39" fmla="*/ 8 h 23"/>
                  <a:gd name="T40" fmla="*/ 12 w 30"/>
                  <a:gd name="T41" fmla="*/ 8 h 23"/>
                  <a:gd name="T42" fmla="*/ 9 w 30"/>
                  <a:gd name="T43" fmla="*/ 6 h 23"/>
                  <a:gd name="T44" fmla="*/ 6 w 30"/>
                  <a:gd name="T45" fmla="*/ 4 h 23"/>
                  <a:gd name="T46" fmla="*/ 5 w 30"/>
                  <a:gd name="T47" fmla="*/ 2 h 23"/>
                  <a:gd name="T48" fmla="*/ 3 w 30"/>
                  <a:gd name="T49" fmla="*/ 0 h 23"/>
                  <a:gd name="T50" fmla="*/ 2 w 30"/>
                  <a:gd name="T51"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3">
                    <a:moveTo>
                      <a:pt x="2" y="0"/>
                    </a:moveTo>
                    <a:cubicBezTo>
                      <a:pt x="0" y="1"/>
                      <a:pt x="0" y="1"/>
                      <a:pt x="0" y="1"/>
                    </a:cubicBezTo>
                    <a:cubicBezTo>
                      <a:pt x="0" y="1"/>
                      <a:pt x="0" y="1"/>
                      <a:pt x="0" y="1"/>
                    </a:cubicBezTo>
                    <a:cubicBezTo>
                      <a:pt x="0" y="1"/>
                      <a:pt x="0" y="2"/>
                      <a:pt x="0" y="3"/>
                    </a:cubicBezTo>
                    <a:cubicBezTo>
                      <a:pt x="1" y="3"/>
                      <a:pt x="2" y="5"/>
                      <a:pt x="8" y="11"/>
                    </a:cubicBezTo>
                    <a:cubicBezTo>
                      <a:pt x="9" y="12"/>
                      <a:pt x="9" y="12"/>
                      <a:pt x="10" y="13"/>
                    </a:cubicBezTo>
                    <a:cubicBezTo>
                      <a:pt x="10" y="13"/>
                      <a:pt x="10" y="13"/>
                      <a:pt x="10" y="13"/>
                    </a:cubicBezTo>
                    <a:cubicBezTo>
                      <a:pt x="13" y="16"/>
                      <a:pt x="15" y="17"/>
                      <a:pt x="16" y="19"/>
                    </a:cubicBezTo>
                    <a:cubicBezTo>
                      <a:pt x="16" y="19"/>
                      <a:pt x="21" y="21"/>
                      <a:pt x="26" y="22"/>
                    </a:cubicBezTo>
                    <a:cubicBezTo>
                      <a:pt x="27" y="22"/>
                      <a:pt x="27" y="23"/>
                      <a:pt x="28" y="23"/>
                    </a:cubicBezTo>
                    <a:cubicBezTo>
                      <a:pt x="29" y="23"/>
                      <a:pt x="29" y="23"/>
                      <a:pt x="30" y="23"/>
                    </a:cubicBezTo>
                    <a:cubicBezTo>
                      <a:pt x="30" y="23"/>
                      <a:pt x="30" y="23"/>
                      <a:pt x="30" y="23"/>
                    </a:cubicBezTo>
                    <a:cubicBezTo>
                      <a:pt x="29" y="20"/>
                      <a:pt x="28" y="17"/>
                      <a:pt x="27" y="15"/>
                    </a:cubicBezTo>
                    <a:cubicBezTo>
                      <a:pt x="27" y="15"/>
                      <a:pt x="26" y="15"/>
                      <a:pt x="26" y="15"/>
                    </a:cubicBezTo>
                    <a:cubicBezTo>
                      <a:pt x="25" y="15"/>
                      <a:pt x="25" y="15"/>
                      <a:pt x="25" y="15"/>
                    </a:cubicBezTo>
                    <a:cubicBezTo>
                      <a:pt x="23" y="13"/>
                      <a:pt x="21" y="12"/>
                      <a:pt x="20" y="10"/>
                    </a:cubicBezTo>
                    <a:cubicBezTo>
                      <a:pt x="20" y="9"/>
                      <a:pt x="19" y="8"/>
                      <a:pt x="19" y="8"/>
                    </a:cubicBezTo>
                    <a:cubicBezTo>
                      <a:pt x="18" y="8"/>
                      <a:pt x="17" y="8"/>
                      <a:pt x="16" y="8"/>
                    </a:cubicBezTo>
                    <a:cubicBezTo>
                      <a:pt x="15" y="8"/>
                      <a:pt x="15" y="8"/>
                      <a:pt x="15" y="8"/>
                    </a:cubicBezTo>
                    <a:cubicBezTo>
                      <a:pt x="14" y="8"/>
                      <a:pt x="13" y="8"/>
                      <a:pt x="12" y="8"/>
                    </a:cubicBezTo>
                    <a:cubicBezTo>
                      <a:pt x="12" y="8"/>
                      <a:pt x="12" y="8"/>
                      <a:pt x="12" y="8"/>
                    </a:cubicBezTo>
                    <a:cubicBezTo>
                      <a:pt x="11" y="7"/>
                      <a:pt x="10" y="7"/>
                      <a:pt x="9" y="6"/>
                    </a:cubicBezTo>
                    <a:cubicBezTo>
                      <a:pt x="8" y="5"/>
                      <a:pt x="7" y="5"/>
                      <a:pt x="6" y="4"/>
                    </a:cubicBezTo>
                    <a:cubicBezTo>
                      <a:pt x="5" y="3"/>
                      <a:pt x="5" y="3"/>
                      <a:pt x="5" y="2"/>
                    </a:cubicBezTo>
                    <a:cubicBezTo>
                      <a:pt x="4" y="1"/>
                      <a:pt x="3" y="1"/>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255"/>
              <p:cNvSpPr/>
              <p:nvPr/>
            </p:nvSpPr>
            <p:spPr bwMode="auto">
              <a:xfrm>
                <a:off x="5210754" y="5822483"/>
                <a:ext cx="1411399" cy="1035518"/>
              </a:xfrm>
              <a:custGeom>
                <a:gdLst>
                  <a:gd name="T0" fmla="*/ 61 w 444"/>
                  <a:gd name="T1" fmla="*/ 21 h 326"/>
                  <a:gd name="T2" fmla="*/ 48 w 444"/>
                  <a:gd name="T3" fmla="*/ 31 h 326"/>
                  <a:gd name="T4" fmla="*/ 42 w 444"/>
                  <a:gd name="T5" fmla="*/ 34 h 326"/>
                  <a:gd name="T6" fmla="*/ 34 w 444"/>
                  <a:gd name="T7" fmla="*/ 40 h 326"/>
                  <a:gd name="T8" fmla="*/ 28 w 444"/>
                  <a:gd name="T9" fmla="*/ 46 h 326"/>
                  <a:gd name="T10" fmla="*/ 26 w 444"/>
                  <a:gd name="T11" fmla="*/ 48 h 326"/>
                  <a:gd name="T12" fmla="*/ 25 w 444"/>
                  <a:gd name="T13" fmla="*/ 63 h 326"/>
                  <a:gd name="T14" fmla="*/ 28 w 444"/>
                  <a:gd name="T15" fmla="*/ 83 h 326"/>
                  <a:gd name="T16" fmla="*/ 18 w 444"/>
                  <a:gd name="T17" fmla="*/ 84 h 326"/>
                  <a:gd name="T18" fmla="*/ 8 w 444"/>
                  <a:gd name="T19" fmla="*/ 92 h 326"/>
                  <a:gd name="T20" fmla="*/ 2 w 444"/>
                  <a:gd name="T21" fmla="*/ 94 h 326"/>
                  <a:gd name="T22" fmla="*/ 0 w 444"/>
                  <a:gd name="T23" fmla="*/ 96 h 326"/>
                  <a:gd name="T24" fmla="*/ 14 w 444"/>
                  <a:gd name="T25" fmla="*/ 134 h 326"/>
                  <a:gd name="T26" fmla="*/ 13 w 444"/>
                  <a:gd name="T27" fmla="*/ 152 h 326"/>
                  <a:gd name="T28" fmla="*/ 14 w 444"/>
                  <a:gd name="T29" fmla="*/ 172 h 326"/>
                  <a:gd name="T30" fmla="*/ 12 w 444"/>
                  <a:gd name="T31" fmla="*/ 176 h 326"/>
                  <a:gd name="T32" fmla="*/ 12 w 444"/>
                  <a:gd name="T33" fmla="*/ 186 h 326"/>
                  <a:gd name="T34" fmla="*/ 14 w 444"/>
                  <a:gd name="T35" fmla="*/ 200 h 326"/>
                  <a:gd name="T36" fmla="*/ 10 w 444"/>
                  <a:gd name="T37" fmla="*/ 210 h 326"/>
                  <a:gd name="T38" fmla="*/ 6 w 444"/>
                  <a:gd name="T39" fmla="*/ 211 h 326"/>
                  <a:gd name="T40" fmla="*/ 2 w 444"/>
                  <a:gd name="T41" fmla="*/ 216 h 326"/>
                  <a:gd name="T42" fmla="*/ 7 w 444"/>
                  <a:gd name="T43" fmla="*/ 225 h 326"/>
                  <a:gd name="T44" fmla="*/ 11 w 444"/>
                  <a:gd name="T45" fmla="*/ 229 h 326"/>
                  <a:gd name="T46" fmla="*/ 18 w 444"/>
                  <a:gd name="T47" fmla="*/ 247 h 326"/>
                  <a:gd name="T48" fmla="*/ 20 w 444"/>
                  <a:gd name="T49" fmla="*/ 254 h 326"/>
                  <a:gd name="T50" fmla="*/ 25 w 444"/>
                  <a:gd name="T51" fmla="*/ 261 h 326"/>
                  <a:gd name="T52" fmla="*/ 28 w 444"/>
                  <a:gd name="T53" fmla="*/ 263 h 326"/>
                  <a:gd name="T54" fmla="*/ 34 w 444"/>
                  <a:gd name="T55" fmla="*/ 257 h 326"/>
                  <a:gd name="T56" fmla="*/ 41 w 444"/>
                  <a:gd name="T57" fmla="*/ 263 h 326"/>
                  <a:gd name="T58" fmla="*/ 63 w 444"/>
                  <a:gd name="T59" fmla="*/ 275 h 326"/>
                  <a:gd name="T60" fmla="*/ 68 w 444"/>
                  <a:gd name="T61" fmla="*/ 284 h 326"/>
                  <a:gd name="T62" fmla="*/ 73 w 444"/>
                  <a:gd name="T63" fmla="*/ 292 h 326"/>
                  <a:gd name="T64" fmla="*/ 113 w 444"/>
                  <a:gd name="T65" fmla="*/ 302 h 326"/>
                  <a:gd name="T66" fmla="*/ 130 w 444"/>
                  <a:gd name="T67" fmla="*/ 314 h 326"/>
                  <a:gd name="T68" fmla="*/ 135 w 444"/>
                  <a:gd name="T69" fmla="*/ 318 h 326"/>
                  <a:gd name="T70" fmla="*/ 139 w 444"/>
                  <a:gd name="T71" fmla="*/ 317 h 326"/>
                  <a:gd name="T72" fmla="*/ 185 w 444"/>
                  <a:gd name="T73" fmla="*/ 295 h 326"/>
                  <a:gd name="T74" fmla="*/ 201 w 444"/>
                  <a:gd name="T75" fmla="*/ 302 h 326"/>
                  <a:gd name="T76" fmla="*/ 250 w 444"/>
                  <a:gd name="T77" fmla="*/ 326 h 326"/>
                  <a:gd name="T78" fmla="*/ 437 w 444"/>
                  <a:gd name="T79" fmla="*/ 138 h 326"/>
                  <a:gd name="T80" fmla="*/ 432 w 444"/>
                  <a:gd name="T81" fmla="*/ 103 h 326"/>
                  <a:gd name="T82" fmla="*/ 429 w 444"/>
                  <a:gd name="T83" fmla="*/ 94 h 326"/>
                  <a:gd name="T84" fmla="*/ 435 w 444"/>
                  <a:gd name="T85" fmla="*/ 81 h 326"/>
                  <a:gd name="T86" fmla="*/ 434 w 444"/>
                  <a:gd name="T87" fmla="*/ 62 h 326"/>
                  <a:gd name="T88" fmla="*/ 440 w 444"/>
                  <a:gd name="T89" fmla="*/ 46 h 326"/>
                  <a:gd name="T90" fmla="*/ 444 w 444"/>
                  <a:gd name="T91" fmla="*/ 43 h 326"/>
                  <a:gd name="T92" fmla="*/ 433 w 444"/>
                  <a:gd name="T93" fmla="*/ 35 h 326"/>
                  <a:gd name="T94" fmla="*/ 414 w 444"/>
                  <a:gd name="T95" fmla="*/ 33 h 326"/>
                  <a:gd name="T96" fmla="*/ 387 w 444"/>
                  <a:gd name="T97" fmla="*/ 16 h 326"/>
                  <a:gd name="T98" fmla="*/ 356 w 444"/>
                  <a:gd name="T99" fmla="*/ 7 h 326"/>
                  <a:gd name="T100" fmla="*/ 316 w 444"/>
                  <a:gd name="T101" fmla="*/ 17 h 326"/>
                  <a:gd name="T102" fmla="*/ 299 w 444"/>
                  <a:gd name="T103" fmla="*/ 53 h 326"/>
                  <a:gd name="T104" fmla="*/ 280 w 444"/>
                  <a:gd name="T105" fmla="*/ 89 h 326"/>
                  <a:gd name="T106" fmla="*/ 264 w 444"/>
                  <a:gd name="T107" fmla="*/ 87 h 326"/>
                  <a:gd name="T108" fmla="*/ 185 w 444"/>
                  <a:gd name="T109" fmla="*/ 57 h 326"/>
                  <a:gd name="T110" fmla="*/ 160 w 444"/>
                  <a:gd name="T111" fmla="*/ 22 h 326"/>
                  <a:gd name="T112" fmla="*/ 104 w 444"/>
                  <a:gd name="T113" fmla="*/ 9 h 326"/>
                  <a:gd name="T114" fmla="*/ 90 w 444"/>
                  <a:gd name="T115" fmla="*/ 10 h 3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3" h="326">
                    <a:moveTo>
                      <a:pt x="61" y="0"/>
                    </a:moveTo>
                    <a:cubicBezTo>
                      <a:pt x="61" y="0"/>
                      <a:pt x="61" y="0"/>
                      <a:pt x="61" y="0"/>
                    </a:cubicBezTo>
                    <a:cubicBezTo>
                      <a:pt x="61" y="21"/>
                      <a:pt x="61" y="21"/>
                      <a:pt x="61" y="21"/>
                    </a:cubicBezTo>
                    <a:cubicBezTo>
                      <a:pt x="61" y="24"/>
                      <a:pt x="58" y="27"/>
                      <a:pt x="57" y="27"/>
                    </a:cubicBezTo>
                    <a:cubicBezTo>
                      <a:pt x="54" y="28"/>
                      <a:pt x="52" y="29"/>
                      <a:pt x="50" y="30"/>
                    </a:cubicBezTo>
                    <a:cubicBezTo>
                      <a:pt x="48" y="31"/>
                      <a:pt x="48" y="31"/>
                      <a:pt x="48" y="31"/>
                    </a:cubicBezTo>
                    <a:cubicBezTo>
                      <a:pt x="46" y="32"/>
                      <a:pt x="44" y="32"/>
                      <a:pt x="43" y="33"/>
                    </a:cubicBezTo>
                    <a:cubicBezTo>
                      <a:pt x="43" y="33"/>
                      <a:pt x="43" y="33"/>
                      <a:pt x="43" y="33"/>
                    </a:cubicBezTo>
                    <a:cubicBezTo>
                      <a:pt x="42" y="34"/>
                      <a:pt x="42" y="34"/>
                      <a:pt x="42" y="34"/>
                    </a:cubicBezTo>
                    <a:cubicBezTo>
                      <a:pt x="42" y="34"/>
                      <a:pt x="41" y="35"/>
                      <a:pt x="41" y="36"/>
                    </a:cubicBezTo>
                    <a:cubicBezTo>
                      <a:pt x="40" y="37"/>
                      <a:pt x="39" y="38"/>
                      <a:pt x="37" y="39"/>
                    </a:cubicBezTo>
                    <a:cubicBezTo>
                      <a:pt x="36" y="40"/>
                      <a:pt x="35" y="40"/>
                      <a:pt x="34" y="40"/>
                    </a:cubicBezTo>
                    <a:cubicBezTo>
                      <a:pt x="34" y="40"/>
                      <a:pt x="34" y="40"/>
                      <a:pt x="34" y="40"/>
                    </a:cubicBezTo>
                    <a:cubicBezTo>
                      <a:pt x="33" y="41"/>
                      <a:pt x="33" y="41"/>
                      <a:pt x="33" y="41"/>
                    </a:cubicBezTo>
                    <a:cubicBezTo>
                      <a:pt x="32" y="43"/>
                      <a:pt x="30" y="45"/>
                      <a:pt x="28" y="46"/>
                    </a:cubicBezTo>
                    <a:cubicBezTo>
                      <a:pt x="27" y="47"/>
                      <a:pt x="27" y="47"/>
                      <a:pt x="27" y="47"/>
                    </a:cubicBezTo>
                    <a:cubicBezTo>
                      <a:pt x="26" y="48"/>
                      <a:pt x="26" y="48"/>
                      <a:pt x="26" y="48"/>
                    </a:cubicBezTo>
                    <a:cubicBezTo>
                      <a:pt x="26" y="48"/>
                      <a:pt x="26" y="48"/>
                      <a:pt x="26" y="48"/>
                    </a:cubicBezTo>
                    <a:cubicBezTo>
                      <a:pt x="25" y="50"/>
                      <a:pt x="24" y="54"/>
                      <a:pt x="24" y="57"/>
                    </a:cubicBezTo>
                    <a:cubicBezTo>
                      <a:pt x="24" y="59"/>
                      <a:pt x="24" y="61"/>
                      <a:pt x="24" y="62"/>
                    </a:cubicBezTo>
                    <a:cubicBezTo>
                      <a:pt x="25" y="63"/>
                      <a:pt x="25" y="63"/>
                      <a:pt x="25" y="63"/>
                    </a:cubicBezTo>
                    <a:cubicBezTo>
                      <a:pt x="25" y="64"/>
                      <a:pt x="25" y="65"/>
                      <a:pt x="25" y="66"/>
                    </a:cubicBezTo>
                    <a:cubicBezTo>
                      <a:pt x="26" y="72"/>
                      <a:pt x="24" y="76"/>
                      <a:pt x="22" y="79"/>
                    </a:cubicBezTo>
                    <a:cubicBezTo>
                      <a:pt x="28" y="83"/>
                      <a:pt x="28" y="83"/>
                      <a:pt x="28" y="83"/>
                    </a:cubicBezTo>
                    <a:cubicBezTo>
                      <a:pt x="21" y="80"/>
                      <a:pt x="21" y="80"/>
                      <a:pt x="21" y="80"/>
                    </a:cubicBezTo>
                    <a:cubicBezTo>
                      <a:pt x="21" y="81"/>
                      <a:pt x="21" y="81"/>
                      <a:pt x="21" y="81"/>
                    </a:cubicBezTo>
                    <a:cubicBezTo>
                      <a:pt x="20" y="82"/>
                      <a:pt x="19" y="83"/>
                      <a:pt x="18" y="84"/>
                    </a:cubicBezTo>
                    <a:cubicBezTo>
                      <a:pt x="17" y="85"/>
                      <a:pt x="17" y="85"/>
                      <a:pt x="17" y="85"/>
                    </a:cubicBezTo>
                    <a:cubicBezTo>
                      <a:pt x="17" y="85"/>
                      <a:pt x="16" y="86"/>
                      <a:pt x="16" y="87"/>
                    </a:cubicBezTo>
                    <a:cubicBezTo>
                      <a:pt x="14" y="90"/>
                      <a:pt x="10" y="91"/>
                      <a:pt x="8" y="92"/>
                    </a:cubicBezTo>
                    <a:cubicBezTo>
                      <a:pt x="5" y="93"/>
                      <a:pt x="5" y="93"/>
                      <a:pt x="5" y="93"/>
                    </a:cubicBezTo>
                    <a:cubicBezTo>
                      <a:pt x="4" y="93"/>
                      <a:pt x="3" y="94"/>
                      <a:pt x="2" y="94"/>
                    </a:cubicBezTo>
                    <a:cubicBezTo>
                      <a:pt x="2" y="94"/>
                      <a:pt x="2" y="94"/>
                      <a:pt x="2" y="94"/>
                    </a:cubicBezTo>
                    <a:cubicBezTo>
                      <a:pt x="2" y="94"/>
                      <a:pt x="2" y="94"/>
                      <a:pt x="2" y="94"/>
                    </a:cubicBezTo>
                    <a:cubicBezTo>
                      <a:pt x="1" y="95"/>
                      <a:pt x="1" y="95"/>
                      <a:pt x="1" y="95"/>
                    </a:cubicBezTo>
                    <a:cubicBezTo>
                      <a:pt x="0" y="96"/>
                      <a:pt x="0" y="96"/>
                      <a:pt x="0" y="96"/>
                    </a:cubicBezTo>
                    <a:cubicBezTo>
                      <a:pt x="1" y="99"/>
                      <a:pt x="4" y="104"/>
                      <a:pt x="6" y="106"/>
                    </a:cubicBezTo>
                    <a:cubicBezTo>
                      <a:pt x="7" y="108"/>
                      <a:pt x="8" y="109"/>
                      <a:pt x="8" y="110"/>
                    </a:cubicBezTo>
                    <a:cubicBezTo>
                      <a:pt x="12" y="117"/>
                      <a:pt x="14" y="124"/>
                      <a:pt x="14" y="134"/>
                    </a:cubicBezTo>
                    <a:cubicBezTo>
                      <a:pt x="14" y="136"/>
                      <a:pt x="14" y="138"/>
                      <a:pt x="13" y="139"/>
                    </a:cubicBezTo>
                    <a:cubicBezTo>
                      <a:pt x="13" y="140"/>
                      <a:pt x="13" y="140"/>
                      <a:pt x="13" y="140"/>
                    </a:cubicBezTo>
                    <a:cubicBezTo>
                      <a:pt x="13" y="144"/>
                      <a:pt x="12" y="148"/>
                      <a:pt x="13" y="152"/>
                    </a:cubicBezTo>
                    <a:cubicBezTo>
                      <a:pt x="13" y="154"/>
                      <a:pt x="13" y="155"/>
                      <a:pt x="14" y="157"/>
                    </a:cubicBezTo>
                    <a:cubicBezTo>
                      <a:pt x="16" y="162"/>
                      <a:pt x="16" y="162"/>
                      <a:pt x="16" y="162"/>
                    </a:cubicBezTo>
                    <a:cubicBezTo>
                      <a:pt x="17" y="166"/>
                      <a:pt x="15" y="169"/>
                      <a:pt x="14" y="172"/>
                    </a:cubicBezTo>
                    <a:cubicBezTo>
                      <a:pt x="14" y="173"/>
                      <a:pt x="13" y="174"/>
                      <a:pt x="13" y="174"/>
                    </a:cubicBezTo>
                    <a:cubicBezTo>
                      <a:pt x="13" y="175"/>
                      <a:pt x="13" y="175"/>
                      <a:pt x="13" y="175"/>
                    </a:cubicBezTo>
                    <a:cubicBezTo>
                      <a:pt x="13" y="176"/>
                      <a:pt x="12" y="176"/>
                      <a:pt x="12" y="176"/>
                    </a:cubicBezTo>
                    <a:cubicBezTo>
                      <a:pt x="11" y="178"/>
                      <a:pt x="10" y="180"/>
                      <a:pt x="11" y="182"/>
                    </a:cubicBezTo>
                    <a:cubicBezTo>
                      <a:pt x="11" y="182"/>
                      <a:pt x="11" y="183"/>
                      <a:pt x="11" y="184"/>
                    </a:cubicBezTo>
                    <a:cubicBezTo>
                      <a:pt x="11" y="184"/>
                      <a:pt x="12" y="185"/>
                      <a:pt x="12" y="186"/>
                    </a:cubicBezTo>
                    <a:cubicBezTo>
                      <a:pt x="12" y="187"/>
                      <a:pt x="12" y="188"/>
                      <a:pt x="12" y="189"/>
                    </a:cubicBezTo>
                    <a:cubicBezTo>
                      <a:pt x="13" y="192"/>
                      <a:pt x="13" y="192"/>
                      <a:pt x="13" y="192"/>
                    </a:cubicBezTo>
                    <a:cubicBezTo>
                      <a:pt x="13" y="195"/>
                      <a:pt x="13" y="198"/>
                      <a:pt x="14" y="200"/>
                    </a:cubicBezTo>
                    <a:cubicBezTo>
                      <a:pt x="14" y="201"/>
                      <a:pt x="14" y="201"/>
                      <a:pt x="14" y="201"/>
                    </a:cubicBezTo>
                    <a:cubicBezTo>
                      <a:pt x="14" y="205"/>
                      <a:pt x="14" y="207"/>
                      <a:pt x="10" y="209"/>
                    </a:cubicBezTo>
                    <a:cubicBezTo>
                      <a:pt x="10" y="210"/>
                      <a:pt x="10" y="210"/>
                      <a:pt x="10" y="210"/>
                    </a:cubicBezTo>
                    <a:cubicBezTo>
                      <a:pt x="9" y="210"/>
                      <a:pt x="9" y="210"/>
                      <a:pt x="9" y="210"/>
                    </a:cubicBezTo>
                    <a:cubicBezTo>
                      <a:pt x="7" y="211"/>
                      <a:pt x="7" y="211"/>
                      <a:pt x="7" y="211"/>
                    </a:cubicBezTo>
                    <a:cubicBezTo>
                      <a:pt x="6" y="211"/>
                      <a:pt x="6" y="211"/>
                      <a:pt x="6" y="211"/>
                    </a:cubicBezTo>
                    <a:cubicBezTo>
                      <a:pt x="5" y="212"/>
                      <a:pt x="5" y="212"/>
                      <a:pt x="4" y="214"/>
                    </a:cubicBezTo>
                    <a:cubicBezTo>
                      <a:pt x="2" y="215"/>
                      <a:pt x="2" y="216"/>
                      <a:pt x="1" y="216"/>
                    </a:cubicBezTo>
                    <a:cubicBezTo>
                      <a:pt x="2" y="216"/>
                      <a:pt x="2" y="216"/>
                      <a:pt x="2" y="216"/>
                    </a:cubicBezTo>
                    <a:cubicBezTo>
                      <a:pt x="1" y="217"/>
                      <a:pt x="1" y="217"/>
                      <a:pt x="1" y="217"/>
                    </a:cubicBezTo>
                    <a:cubicBezTo>
                      <a:pt x="2" y="217"/>
                      <a:pt x="2" y="218"/>
                      <a:pt x="7" y="224"/>
                    </a:cubicBezTo>
                    <a:cubicBezTo>
                      <a:pt x="7" y="225"/>
                      <a:pt x="7" y="225"/>
                      <a:pt x="7" y="225"/>
                    </a:cubicBezTo>
                    <a:cubicBezTo>
                      <a:pt x="8" y="226"/>
                      <a:pt x="9" y="226"/>
                      <a:pt x="9" y="227"/>
                    </a:cubicBezTo>
                    <a:cubicBezTo>
                      <a:pt x="10" y="228"/>
                      <a:pt x="10" y="228"/>
                      <a:pt x="10" y="228"/>
                    </a:cubicBezTo>
                    <a:cubicBezTo>
                      <a:pt x="10" y="228"/>
                      <a:pt x="11" y="229"/>
                      <a:pt x="11" y="229"/>
                    </a:cubicBezTo>
                    <a:cubicBezTo>
                      <a:pt x="11" y="230"/>
                      <a:pt x="11" y="230"/>
                      <a:pt x="11" y="230"/>
                    </a:cubicBezTo>
                    <a:cubicBezTo>
                      <a:pt x="13" y="231"/>
                      <a:pt x="14" y="232"/>
                      <a:pt x="14" y="234"/>
                    </a:cubicBezTo>
                    <a:cubicBezTo>
                      <a:pt x="17" y="238"/>
                      <a:pt x="17" y="243"/>
                      <a:pt x="18" y="247"/>
                    </a:cubicBezTo>
                    <a:cubicBezTo>
                      <a:pt x="18" y="248"/>
                      <a:pt x="18" y="248"/>
                      <a:pt x="18" y="248"/>
                    </a:cubicBezTo>
                    <a:cubicBezTo>
                      <a:pt x="19" y="249"/>
                      <a:pt x="19" y="251"/>
                      <a:pt x="19" y="253"/>
                    </a:cubicBezTo>
                    <a:cubicBezTo>
                      <a:pt x="20" y="254"/>
                      <a:pt x="20" y="254"/>
                      <a:pt x="20" y="254"/>
                    </a:cubicBezTo>
                    <a:cubicBezTo>
                      <a:pt x="20" y="255"/>
                      <a:pt x="20" y="255"/>
                      <a:pt x="20" y="255"/>
                    </a:cubicBezTo>
                    <a:cubicBezTo>
                      <a:pt x="22" y="257"/>
                      <a:pt x="23" y="259"/>
                      <a:pt x="25" y="261"/>
                    </a:cubicBezTo>
                    <a:cubicBezTo>
                      <a:pt x="25" y="261"/>
                      <a:pt x="25" y="261"/>
                      <a:pt x="25" y="261"/>
                    </a:cubicBezTo>
                    <a:cubicBezTo>
                      <a:pt x="26" y="262"/>
                      <a:pt x="26" y="262"/>
                      <a:pt x="26" y="262"/>
                    </a:cubicBezTo>
                    <a:cubicBezTo>
                      <a:pt x="26" y="262"/>
                      <a:pt x="27" y="263"/>
                      <a:pt x="27" y="263"/>
                    </a:cubicBezTo>
                    <a:cubicBezTo>
                      <a:pt x="28" y="263"/>
                      <a:pt x="28" y="263"/>
                      <a:pt x="28" y="263"/>
                    </a:cubicBezTo>
                    <a:cubicBezTo>
                      <a:pt x="29" y="263"/>
                      <a:pt x="29" y="263"/>
                      <a:pt x="29" y="263"/>
                    </a:cubicBezTo>
                    <a:cubicBezTo>
                      <a:pt x="31" y="262"/>
                      <a:pt x="32" y="262"/>
                      <a:pt x="34" y="262"/>
                    </a:cubicBezTo>
                    <a:cubicBezTo>
                      <a:pt x="34" y="257"/>
                      <a:pt x="34" y="257"/>
                      <a:pt x="34" y="257"/>
                    </a:cubicBezTo>
                    <a:cubicBezTo>
                      <a:pt x="35" y="262"/>
                      <a:pt x="35" y="262"/>
                      <a:pt x="35" y="262"/>
                    </a:cubicBezTo>
                    <a:cubicBezTo>
                      <a:pt x="36" y="262"/>
                      <a:pt x="36" y="262"/>
                      <a:pt x="36" y="262"/>
                    </a:cubicBezTo>
                    <a:cubicBezTo>
                      <a:pt x="37" y="262"/>
                      <a:pt x="39" y="262"/>
                      <a:pt x="41" y="263"/>
                    </a:cubicBezTo>
                    <a:cubicBezTo>
                      <a:pt x="44" y="264"/>
                      <a:pt x="46" y="265"/>
                      <a:pt x="49" y="266"/>
                    </a:cubicBezTo>
                    <a:cubicBezTo>
                      <a:pt x="54" y="267"/>
                      <a:pt x="54" y="267"/>
                      <a:pt x="54" y="267"/>
                    </a:cubicBezTo>
                    <a:cubicBezTo>
                      <a:pt x="59" y="269"/>
                      <a:pt x="61" y="272"/>
                      <a:pt x="63" y="275"/>
                    </a:cubicBezTo>
                    <a:cubicBezTo>
                      <a:pt x="63" y="275"/>
                      <a:pt x="63" y="275"/>
                      <a:pt x="63" y="275"/>
                    </a:cubicBezTo>
                    <a:cubicBezTo>
                      <a:pt x="64" y="276"/>
                      <a:pt x="64" y="277"/>
                      <a:pt x="65" y="277"/>
                    </a:cubicBezTo>
                    <a:cubicBezTo>
                      <a:pt x="66" y="279"/>
                      <a:pt x="67" y="281"/>
                      <a:pt x="68" y="284"/>
                    </a:cubicBezTo>
                    <a:cubicBezTo>
                      <a:pt x="68" y="284"/>
                      <a:pt x="68" y="284"/>
                      <a:pt x="68" y="284"/>
                    </a:cubicBezTo>
                    <a:cubicBezTo>
                      <a:pt x="70" y="287"/>
                      <a:pt x="71" y="291"/>
                      <a:pt x="73" y="292"/>
                    </a:cubicBezTo>
                    <a:cubicBezTo>
                      <a:pt x="73" y="292"/>
                      <a:pt x="73" y="292"/>
                      <a:pt x="73" y="292"/>
                    </a:cubicBezTo>
                    <a:cubicBezTo>
                      <a:pt x="84" y="292"/>
                      <a:pt x="84" y="292"/>
                      <a:pt x="84" y="292"/>
                    </a:cubicBezTo>
                    <a:cubicBezTo>
                      <a:pt x="80" y="294"/>
                      <a:pt x="80" y="294"/>
                      <a:pt x="80" y="294"/>
                    </a:cubicBezTo>
                    <a:cubicBezTo>
                      <a:pt x="113" y="302"/>
                      <a:pt x="113" y="302"/>
                      <a:pt x="113" y="302"/>
                    </a:cubicBezTo>
                    <a:cubicBezTo>
                      <a:pt x="118" y="303"/>
                      <a:pt x="121" y="306"/>
                      <a:pt x="124" y="309"/>
                    </a:cubicBezTo>
                    <a:cubicBezTo>
                      <a:pt x="129" y="313"/>
                      <a:pt x="129" y="313"/>
                      <a:pt x="129" y="313"/>
                    </a:cubicBezTo>
                    <a:cubicBezTo>
                      <a:pt x="129" y="313"/>
                      <a:pt x="130" y="314"/>
                      <a:pt x="130" y="314"/>
                    </a:cubicBezTo>
                    <a:cubicBezTo>
                      <a:pt x="131" y="315"/>
                      <a:pt x="131" y="315"/>
                      <a:pt x="131" y="315"/>
                    </a:cubicBezTo>
                    <a:cubicBezTo>
                      <a:pt x="132" y="316"/>
                      <a:pt x="133" y="317"/>
                      <a:pt x="134" y="318"/>
                    </a:cubicBezTo>
                    <a:cubicBezTo>
                      <a:pt x="135" y="318"/>
                      <a:pt x="135" y="318"/>
                      <a:pt x="135" y="318"/>
                    </a:cubicBezTo>
                    <a:cubicBezTo>
                      <a:pt x="135" y="318"/>
                      <a:pt x="135" y="318"/>
                      <a:pt x="135" y="318"/>
                    </a:cubicBezTo>
                    <a:cubicBezTo>
                      <a:pt x="136" y="318"/>
                      <a:pt x="137" y="318"/>
                      <a:pt x="138" y="318"/>
                    </a:cubicBezTo>
                    <a:cubicBezTo>
                      <a:pt x="138" y="318"/>
                      <a:pt x="138" y="317"/>
                      <a:pt x="139" y="317"/>
                    </a:cubicBezTo>
                    <a:cubicBezTo>
                      <a:pt x="180" y="296"/>
                      <a:pt x="180" y="296"/>
                      <a:pt x="180" y="296"/>
                    </a:cubicBezTo>
                    <a:cubicBezTo>
                      <a:pt x="180" y="296"/>
                      <a:pt x="181" y="296"/>
                      <a:pt x="181" y="296"/>
                    </a:cubicBezTo>
                    <a:cubicBezTo>
                      <a:pt x="182" y="295"/>
                      <a:pt x="184" y="295"/>
                      <a:pt x="185" y="295"/>
                    </a:cubicBezTo>
                    <a:cubicBezTo>
                      <a:pt x="186" y="295"/>
                      <a:pt x="186" y="295"/>
                      <a:pt x="187" y="295"/>
                    </a:cubicBezTo>
                    <a:cubicBezTo>
                      <a:pt x="188" y="296"/>
                      <a:pt x="190" y="296"/>
                      <a:pt x="191" y="297"/>
                    </a:cubicBezTo>
                    <a:cubicBezTo>
                      <a:pt x="201" y="302"/>
                      <a:pt x="201" y="302"/>
                      <a:pt x="201" y="302"/>
                    </a:cubicBezTo>
                    <a:cubicBezTo>
                      <a:pt x="210" y="306"/>
                      <a:pt x="219" y="311"/>
                      <a:pt x="228" y="315"/>
                    </a:cubicBezTo>
                    <a:cubicBezTo>
                      <a:pt x="241" y="322"/>
                      <a:pt x="241" y="322"/>
                      <a:pt x="241" y="322"/>
                    </a:cubicBezTo>
                    <a:cubicBezTo>
                      <a:pt x="244" y="323"/>
                      <a:pt x="247" y="325"/>
                      <a:pt x="250" y="326"/>
                    </a:cubicBezTo>
                    <a:cubicBezTo>
                      <a:pt x="437" y="326"/>
                      <a:pt x="437" y="326"/>
                      <a:pt x="437" y="326"/>
                    </a:cubicBezTo>
                    <a:cubicBezTo>
                      <a:pt x="437" y="169"/>
                      <a:pt x="437" y="169"/>
                      <a:pt x="437" y="169"/>
                    </a:cubicBezTo>
                    <a:cubicBezTo>
                      <a:pt x="437" y="159"/>
                      <a:pt x="437" y="148"/>
                      <a:pt x="437" y="138"/>
                    </a:cubicBezTo>
                    <a:cubicBezTo>
                      <a:pt x="436" y="134"/>
                      <a:pt x="436" y="130"/>
                      <a:pt x="436" y="126"/>
                    </a:cubicBezTo>
                    <a:cubicBezTo>
                      <a:pt x="435" y="119"/>
                      <a:pt x="434" y="113"/>
                      <a:pt x="433" y="107"/>
                    </a:cubicBezTo>
                    <a:cubicBezTo>
                      <a:pt x="432" y="106"/>
                      <a:pt x="432" y="105"/>
                      <a:pt x="432" y="103"/>
                    </a:cubicBezTo>
                    <a:cubicBezTo>
                      <a:pt x="432" y="103"/>
                      <a:pt x="432" y="103"/>
                      <a:pt x="432" y="103"/>
                    </a:cubicBezTo>
                    <a:cubicBezTo>
                      <a:pt x="431" y="101"/>
                      <a:pt x="431" y="99"/>
                      <a:pt x="430" y="97"/>
                    </a:cubicBezTo>
                    <a:cubicBezTo>
                      <a:pt x="430" y="96"/>
                      <a:pt x="429" y="95"/>
                      <a:pt x="429" y="94"/>
                    </a:cubicBezTo>
                    <a:cubicBezTo>
                      <a:pt x="429" y="90"/>
                      <a:pt x="431" y="87"/>
                      <a:pt x="433" y="84"/>
                    </a:cubicBezTo>
                    <a:cubicBezTo>
                      <a:pt x="434" y="83"/>
                      <a:pt x="435" y="82"/>
                      <a:pt x="435" y="81"/>
                    </a:cubicBezTo>
                    <a:cubicBezTo>
                      <a:pt x="435" y="81"/>
                      <a:pt x="435" y="81"/>
                      <a:pt x="435" y="81"/>
                    </a:cubicBezTo>
                    <a:cubicBezTo>
                      <a:pt x="436" y="79"/>
                      <a:pt x="437" y="76"/>
                      <a:pt x="436" y="73"/>
                    </a:cubicBezTo>
                    <a:cubicBezTo>
                      <a:pt x="436" y="72"/>
                      <a:pt x="435" y="71"/>
                      <a:pt x="435" y="69"/>
                    </a:cubicBezTo>
                    <a:cubicBezTo>
                      <a:pt x="435" y="67"/>
                      <a:pt x="434" y="65"/>
                      <a:pt x="434" y="62"/>
                    </a:cubicBezTo>
                    <a:cubicBezTo>
                      <a:pt x="433" y="61"/>
                      <a:pt x="433" y="58"/>
                      <a:pt x="434" y="56"/>
                    </a:cubicBezTo>
                    <a:cubicBezTo>
                      <a:pt x="434" y="55"/>
                      <a:pt x="434" y="54"/>
                      <a:pt x="435" y="53"/>
                    </a:cubicBezTo>
                    <a:cubicBezTo>
                      <a:pt x="436" y="51"/>
                      <a:pt x="438" y="49"/>
                      <a:pt x="440" y="46"/>
                    </a:cubicBezTo>
                    <a:cubicBezTo>
                      <a:pt x="442" y="45"/>
                      <a:pt x="442" y="45"/>
                      <a:pt x="442" y="45"/>
                    </a:cubicBezTo>
                    <a:cubicBezTo>
                      <a:pt x="442" y="44"/>
                      <a:pt x="443" y="44"/>
                      <a:pt x="443" y="43"/>
                    </a:cubicBezTo>
                    <a:cubicBezTo>
                      <a:pt x="444" y="43"/>
                      <a:pt x="444" y="43"/>
                      <a:pt x="444" y="43"/>
                    </a:cubicBezTo>
                    <a:cubicBezTo>
                      <a:pt x="442" y="41"/>
                      <a:pt x="441" y="37"/>
                      <a:pt x="439" y="36"/>
                    </a:cubicBezTo>
                    <a:cubicBezTo>
                      <a:pt x="438" y="36"/>
                      <a:pt x="436" y="35"/>
                      <a:pt x="435" y="35"/>
                    </a:cubicBezTo>
                    <a:cubicBezTo>
                      <a:pt x="434" y="35"/>
                      <a:pt x="433" y="35"/>
                      <a:pt x="433" y="35"/>
                    </a:cubicBezTo>
                    <a:cubicBezTo>
                      <a:pt x="432" y="35"/>
                      <a:pt x="431" y="35"/>
                      <a:pt x="430" y="35"/>
                    </a:cubicBezTo>
                    <a:cubicBezTo>
                      <a:pt x="429" y="35"/>
                      <a:pt x="428" y="36"/>
                      <a:pt x="427" y="36"/>
                    </a:cubicBezTo>
                    <a:cubicBezTo>
                      <a:pt x="422" y="36"/>
                      <a:pt x="418" y="34"/>
                      <a:pt x="414" y="33"/>
                    </a:cubicBezTo>
                    <a:cubicBezTo>
                      <a:pt x="406" y="30"/>
                      <a:pt x="399" y="30"/>
                      <a:pt x="391" y="29"/>
                    </a:cubicBezTo>
                    <a:cubicBezTo>
                      <a:pt x="389" y="28"/>
                      <a:pt x="387" y="25"/>
                      <a:pt x="386" y="24"/>
                    </a:cubicBezTo>
                    <a:cubicBezTo>
                      <a:pt x="386" y="22"/>
                      <a:pt x="388" y="18"/>
                      <a:pt x="387" y="16"/>
                    </a:cubicBezTo>
                    <a:cubicBezTo>
                      <a:pt x="386" y="14"/>
                      <a:pt x="381" y="13"/>
                      <a:pt x="379" y="13"/>
                    </a:cubicBezTo>
                    <a:cubicBezTo>
                      <a:pt x="375" y="11"/>
                      <a:pt x="370" y="10"/>
                      <a:pt x="366" y="9"/>
                    </a:cubicBezTo>
                    <a:cubicBezTo>
                      <a:pt x="363" y="8"/>
                      <a:pt x="359" y="7"/>
                      <a:pt x="356" y="7"/>
                    </a:cubicBezTo>
                    <a:cubicBezTo>
                      <a:pt x="355" y="7"/>
                      <a:pt x="355" y="7"/>
                      <a:pt x="354" y="7"/>
                    </a:cubicBezTo>
                    <a:cubicBezTo>
                      <a:pt x="349" y="8"/>
                      <a:pt x="345" y="9"/>
                      <a:pt x="340" y="10"/>
                    </a:cubicBezTo>
                    <a:cubicBezTo>
                      <a:pt x="332" y="12"/>
                      <a:pt x="324" y="15"/>
                      <a:pt x="316" y="17"/>
                    </a:cubicBezTo>
                    <a:cubicBezTo>
                      <a:pt x="313" y="18"/>
                      <a:pt x="310" y="22"/>
                      <a:pt x="308" y="24"/>
                    </a:cubicBezTo>
                    <a:cubicBezTo>
                      <a:pt x="306" y="27"/>
                      <a:pt x="303" y="30"/>
                      <a:pt x="300" y="33"/>
                    </a:cubicBezTo>
                    <a:cubicBezTo>
                      <a:pt x="295" y="39"/>
                      <a:pt x="296" y="47"/>
                      <a:pt x="299" y="53"/>
                    </a:cubicBezTo>
                    <a:cubicBezTo>
                      <a:pt x="300" y="55"/>
                      <a:pt x="301" y="56"/>
                      <a:pt x="301" y="57"/>
                    </a:cubicBezTo>
                    <a:cubicBezTo>
                      <a:pt x="304" y="62"/>
                      <a:pt x="302" y="69"/>
                      <a:pt x="299" y="73"/>
                    </a:cubicBezTo>
                    <a:cubicBezTo>
                      <a:pt x="294" y="80"/>
                      <a:pt x="288" y="86"/>
                      <a:pt x="280" y="89"/>
                    </a:cubicBezTo>
                    <a:cubicBezTo>
                      <a:pt x="278" y="89"/>
                      <a:pt x="276" y="90"/>
                      <a:pt x="273" y="90"/>
                    </a:cubicBezTo>
                    <a:cubicBezTo>
                      <a:pt x="272" y="90"/>
                      <a:pt x="272" y="90"/>
                      <a:pt x="271" y="90"/>
                    </a:cubicBezTo>
                    <a:cubicBezTo>
                      <a:pt x="268" y="89"/>
                      <a:pt x="266" y="88"/>
                      <a:pt x="264" y="87"/>
                    </a:cubicBezTo>
                    <a:cubicBezTo>
                      <a:pt x="256" y="81"/>
                      <a:pt x="249" y="76"/>
                      <a:pt x="241" y="71"/>
                    </a:cubicBezTo>
                    <a:cubicBezTo>
                      <a:pt x="232" y="66"/>
                      <a:pt x="218" y="62"/>
                      <a:pt x="207" y="60"/>
                    </a:cubicBezTo>
                    <a:cubicBezTo>
                      <a:pt x="199" y="59"/>
                      <a:pt x="192" y="61"/>
                      <a:pt x="185" y="57"/>
                    </a:cubicBezTo>
                    <a:cubicBezTo>
                      <a:pt x="178" y="53"/>
                      <a:pt x="173" y="52"/>
                      <a:pt x="170" y="45"/>
                    </a:cubicBezTo>
                    <a:cubicBezTo>
                      <a:pt x="169" y="43"/>
                      <a:pt x="168" y="40"/>
                      <a:pt x="167" y="37"/>
                    </a:cubicBezTo>
                    <a:cubicBezTo>
                      <a:pt x="166" y="33"/>
                      <a:pt x="165" y="25"/>
                      <a:pt x="160" y="22"/>
                    </a:cubicBezTo>
                    <a:cubicBezTo>
                      <a:pt x="159" y="22"/>
                      <a:pt x="156" y="22"/>
                      <a:pt x="154" y="22"/>
                    </a:cubicBezTo>
                    <a:cubicBezTo>
                      <a:pt x="145" y="21"/>
                      <a:pt x="138" y="17"/>
                      <a:pt x="129" y="13"/>
                    </a:cubicBezTo>
                    <a:cubicBezTo>
                      <a:pt x="122" y="9"/>
                      <a:pt x="112" y="10"/>
                      <a:pt x="104" y="9"/>
                    </a:cubicBezTo>
                    <a:cubicBezTo>
                      <a:pt x="103" y="9"/>
                      <a:pt x="102" y="9"/>
                      <a:pt x="102" y="9"/>
                    </a:cubicBezTo>
                    <a:cubicBezTo>
                      <a:pt x="100" y="9"/>
                      <a:pt x="98" y="9"/>
                      <a:pt x="96" y="9"/>
                    </a:cubicBezTo>
                    <a:cubicBezTo>
                      <a:pt x="94" y="10"/>
                      <a:pt x="92" y="10"/>
                      <a:pt x="90" y="10"/>
                    </a:cubicBezTo>
                    <a:cubicBezTo>
                      <a:pt x="88" y="10"/>
                      <a:pt x="86" y="10"/>
                      <a:pt x="84" y="9"/>
                    </a:cubicBezTo>
                    <a:cubicBezTo>
                      <a:pt x="77" y="6"/>
                      <a:pt x="69" y="3"/>
                      <a:pt x="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256"/>
              <p:cNvSpPr/>
              <p:nvPr/>
            </p:nvSpPr>
            <p:spPr bwMode="auto">
              <a:xfrm>
                <a:off x="5044924" y="5395010"/>
                <a:ext cx="339031" cy="696487"/>
              </a:xfrm>
              <a:custGeom>
                <a:gdLst>
                  <a:gd name="T0" fmla="*/ 56 w 107"/>
                  <a:gd name="T1" fmla="*/ 0 h 220"/>
                  <a:gd name="T2" fmla="*/ 35 w 107"/>
                  <a:gd name="T3" fmla="*/ 10 h 220"/>
                  <a:gd name="T4" fmla="*/ 33 w 107"/>
                  <a:gd name="T5" fmla="*/ 11 h 220"/>
                  <a:gd name="T6" fmla="*/ 21 w 107"/>
                  <a:gd name="T7" fmla="*/ 26 h 220"/>
                  <a:gd name="T8" fmla="*/ 22 w 107"/>
                  <a:gd name="T9" fmla="*/ 43 h 220"/>
                  <a:gd name="T10" fmla="*/ 24 w 107"/>
                  <a:gd name="T11" fmla="*/ 56 h 220"/>
                  <a:gd name="T12" fmla="*/ 26 w 107"/>
                  <a:gd name="T13" fmla="*/ 62 h 220"/>
                  <a:gd name="T14" fmla="*/ 26 w 107"/>
                  <a:gd name="T15" fmla="*/ 69 h 220"/>
                  <a:gd name="T16" fmla="*/ 9 w 107"/>
                  <a:gd name="T17" fmla="*/ 98 h 220"/>
                  <a:gd name="T18" fmla="*/ 1 w 107"/>
                  <a:gd name="T19" fmla="*/ 105 h 220"/>
                  <a:gd name="T20" fmla="*/ 5 w 107"/>
                  <a:gd name="T21" fmla="*/ 122 h 220"/>
                  <a:gd name="T22" fmla="*/ 19 w 107"/>
                  <a:gd name="T23" fmla="*/ 137 h 220"/>
                  <a:gd name="T24" fmla="*/ 21 w 107"/>
                  <a:gd name="T25" fmla="*/ 141 h 220"/>
                  <a:gd name="T26" fmla="*/ 23 w 107"/>
                  <a:gd name="T27" fmla="*/ 147 h 220"/>
                  <a:gd name="T28" fmla="*/ 23 w 107"/>
                  <a:gd name="T29" fmla="*/ 151 h 220"/>
                  <a:gd name="T30" fmla="*/ 26 w 107"/>
                  <a:gd name="T31" fmla="*/ 154 h 220"/>
                  <a:gd name="T32" fmla="*/ 37 w 107"/>
                  <a:gd name="T33" fmla="*/ 162 h 220"/>
                  <a:gd name="T34" fmla="*/ 45 w 107"/>
                  <a:gd name="T35" fmla="*/ 171 h 220"/>
                  <a:gd name="T36" fmla="*/ 62 w 107"/>
                  <a:gd name="T37" fmla="*/ 210 h 220"/>
                  <a:gd name="T38" fmla="*/ 63 w 107"/>
                  <a:gd name="T39" fmla="*/ 217 h 220"/>
                  <a:gd name="T40" fmla="*/ 66 w 107"/>
                  <a:gd name="T41" fmla="*/ 214 h 220"/>
                  <a:gd name="T42" fmla="*/ 68 w 107"/>
                  <a:gd name="T43" fmla="*/ 211 h 220"/>
                  <a:gd name="T44" fmla="*/ 71 w 107"/>
                  <a:gd name="T45" fmla="*/ 200 h 220"/>
                  <a:gd name="T46" fmla="*/ 70 w 107"/>
                  <a:gd name="T47" fmla="*/ 192 h 220"/>
                  <a:gd name="T48" fmla="*/ 77 w 107"/>
                  <a:gd name="T49" fmla="*/ 175 h 220"/>
                  <a:gd name="T50" fmla="*/ 80 w 107"/>
                  <a:gd name="T51" fmla="*/ 172 h 220"/>
                  <a:gd name="T52" fmla="*/ 86 w 107"/>
                  <a:gd name="T53" fmla="*/ 167 h 220"/>
                  <a:gd name="T54" fmla="*/ 88 w 107"/>
                  <a:gd name="T55" fmla="*/ 166 h 220"/>
                  <a:gd name="T56" fmla="*/ 90 w 107"/>
                  <a:gd name="T57" fmla="*/ 164 h 220"/>
                  <a:gd name="T58" fmla="*/ 92 w 107"/>
                  <a:gd name="T59" fmla="*/ 162 h 220"/>
                  <a:gd name="T60" fmla="*/ 101 w 107"/>
                  <a:gd name="T61" fmla="*/ 159 h 220"/>
                  <a:gd name="T62" fmla="*/ 107 w 107"/>
                  <a:gd name="T63" fmla="*/ 155 h 220"/>
                  <a:gd name="T64" fmla="*/ 107 w 107"/>
                  <a:gd name="T65" fmla="*/ 135 h 220"/>
                  <a:gd name="T66" fmla="*/ 107 w 107"/>
                  <a:gd name="T67" fmla="*/ 133 h 220"/>
                  <a:gd name="T68" fmla="*/ 100 w 107"/>
                  <a:gd name="T69" fmla="*/ 129 h 220"/>
                  <a:gd name="T70" fmla="*/ 95 w 107"/>
                  <a:gd name="T71" fmla="*/ 118 h 220"/>
                  <a:gd name="T72" fmla="*/ 89 w 107"/>
                  <a:gd name="T73" fmla="*/ 123 h 220"/>
                  <a:gd name="T74" fmla="*/ 87 w 107"/>
                  <a:gd name="T75" fmla="*/ 116 h 220"/>
                  <a:gd name="T76" fmla="*/ 82 w 107"/>
                  <a:gd name="T77" fmla="*/ 117 h 220"/>
                  <a:gd name="T78" fmla="*/ 68 w 107"/>
                  <a:gd name="T79" fmla="*/ 102 h 220"/>
                  <a:gd name="T80" fmla="*/ 96 w 107"/>
                  <a:gd name="T81" fmla="*/ 72 h 220"/>
                  <a:gd name="T82" fmla="*/ 96 w 107"/>
                  <a:gd name="T83" fmla="*/ 56 h 220"/>
                  <a:gd name="T84" fmla="*/ 82 w 107"/>
                  <a:gd name="T85" fmla="*/ 31 h 220"/>
                  <a:gd name="T86" fmla="*/ 97 w 107"/>
                  <a:gd name="T87" fmla="*/ 17 h 220"/>
                  <a:gd name="T88" fmla="*/ 93 w 107"/>
                  <a:gd name="T89" fmla="*/ 8 h 220"/>
                  <a:gd name="T90" fmla="*/ 83 w 107"/>
                  <a:gd name="T91" fmla="*/ 15 h 220"/>
                  <a:gd name="T92" fmla="*/ 79 w 107"/>
                  <a:gd name="T93" fmla="*/ 19 h 220"/>
                  <a:gd name="T94" fmla="*/ 74 w 107"/>
                  <a:gd name="T95" fmla="*/ 8 h 220"/>
                  <a:gd name="T96" fmla="*/ 66 w 107"/>
                  <a:gd name="T97" fmla="*/ 1 h 220"/>
                  <a:gd name="T98" fmla="*/ 58 w 107"/>
                  <a:gd name="T99" fmla="*/ 0 h 2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220">
                    <a:moveTo>
                      <a:pt x="58" y="0"/>
                    </a:moveTo>
                    <a:cubicBezTo>
                      <a:pt x="58" y="0"/>
                      <a:pt x="57" y="0"/>
                      <a:pt x="56" y="0"/>
                    </a:cubicBezTo>
                    <a:cubicBezTo>
                      <a:pt x="51" y="1"/>
                      <a:pt x="46" y="3"/>
                      <a:pt x="41" y="5"/>
                    </a:cubicBezTo>
                    <a:cubicBezTo>
                      <a:pt x="39" y="6"/>
                      <a:pt x="38" y="9"/>
                      <a:pt x="35" y="10"/>
                    </a:cubicBezTo>
                    <a:cubicBezTo>
                      <a:pt x="34" y="10"/>
                      <a:pt x="33" y="10"/>
                      <a:pt x="32" y="11"/>
                    </a:cubicBezTo>
                    <a:cubicBezTo>
                      <a:pt x="33" y="11"/>
                      <a:pt x="33" y="11"/>
                      <a:pt x="33" y="11"/>
                    </a:cubicBezTo>
                    <a:cubicBezTo>
                      <a:pt x="31" y="14"/>
                      <a:pt x="31" y="14"/>
                      <a:pt x="31" y="14"/>
                    </a:cubicBezTo>
                    <a:cubicBezTo>
                      <a:pt x="21" y="26"/>
                      <a:pt x="21" y="26"/>
                      <a:pt x="21" y="26"/>
                    </a:cubicBezTo>
                    <a:cubicBezTo>
                      <a:pt x="23" y="28"/>
                      <a:pt x="25" y="30"/>
                      <a:pt x="24" y="36"/>
                    </a:cubicBezTo>
                    <a:cubicBezTo>
                      <a:pt x="22" y="43"/>
                      <a:pt x="22" y="43"/>
                      <a:pt x="22" y="43"/>
                    </a:cubicBezTo>
                    <a:cubicBezTo>
                      <a:pt x="22" y="45"/>
                      <a:pt x="23" y="49"/>
                      <a:pt x="23" y="53"/>
                    </a:cubicBezTo>
                    <a:cubicBezTo>
                      <a:pt x="24" y="54"/>
                      <a:pt x="24" y="55"/>
                      <a:pt x="24" y="56"/>
                    </a:cubicBezTo>
                    <a:cubicBezTo>
                      <a:pt x="25" y="60"/>
                      <a:pt x="25" y="60"/>
                      <a:pt x="25" y="60"/>
                    </a:cubicBezTo>
                    <a:cubicBezTo>
                      <a:pt x="25" y="61"/>
                      <a:pt x="25" y="61"/>
                      <a:pt x="26" y="62"/>
                    </a:cubicBezTo>
                    <a:cubicBezTo>
                      <a:pt x="26" y="62"/>
                      <a:pt x="26" y="62"/>
                      <a:pt x="26" y="62"/>
                    </a:cubicBezTo>
                    <a:cubicBezTo>
                      <a:pt x="26" y="65"/>
                      <a:pt x="27" y="67"/>
                      <a:pt x="26" y="69"/>
                    </a:cubicBezTo>
                    <a:cubicBezTo>
                      <a:pt x="25" y="75"/>
                      <a:pt x="23" y="81"/>
                      <a:pt x="21" y="86"/>
                    </a:cubicBezTo>
                    <a:cubicBezTo>
                      <a:pt x="17" y="90"/>
                      <a:pt x="14" y="94"/>
                      <a:pt x="9" y="98"/>
                    </a:cubicBezTo>
                    <a:cubicBezTo>
                      <a:pt x="7" y="100"/>
                      <a:pt x="4" y="102"/>
                      <a:pt x="2" y="104"/>
                    </a:cubicBezTo>
                    <a:cubicBezTo>
                      <a:pt x="1" y="105"/>
                      <a:pt x="1" y="105"/>
                      <a:pt x="1" y="105"/>
                    </a:cubicBezTo>
                    <a:cubicBezTo>
                      <a:pt x="0" y="106"/>
                      <a:pt x="0" y="107"/>
                      <a:pt x="0" y="110"/>
                    </a:cubicBezTo>
                    <a:cubicBezTo>
                      <a:pt x="0" y="114"/>
                      <a:pt x="2" y="118"/>
                      <a:pt x="5" y="122"/>
                    </a:cubicBezTo>
                    <a:cubicBezTo>
                      <a:pt x="7" y="126"/>
                      <a:pt x="10" y="128"/>
                      <a:pt x="13" y="131"/>
                    </a:cubicBezTo>
                    <a:cubicBezTo>
                      <a:pt x="15" y="133"/>
                      <a:pt x="17" y="135"/>
                      <a:pt x="19" y="137"/>
                    </a:cubicBezTo>
                    <a:cubicBezTo>
                      <a:pt x="19" y="138"/>
                      <a:pt x="20" y="139"/>
                      <a:pt x="20" y="139"/>
                    </a:cubicBezTo>
                    <a:cubicBezTo>
                      <a:pt x="21" y="140"/>
                      <a:pt x="21" y="140"/>
                      <a:pt x="21" y="141"/>
                    </a:cubicBezTo>
                    <a:cubicBezTo>
                      <a:pt x="21" y="141"/>
                      <a:pt x="21" y="141"/>
                      <a:pt x="21" y="141"/>
                    </a:cubicBezTo>
                    <a:cubicBezTo>
                      <a:pt x="22" y="143"/>
                      <a:pt x="23" y="145"/>
                      <a:pt x="23" y="147"/>
                    </a:cubicBezTo>
                    <a:cubicBezTo>
                      <a:pt x="23" y="148"/>
                      <a:pt x="23" y="148"/>
                      <a:pt x="23" y="148"/>
                    </a:cubicBezTo>
                    <a:cubicBezTo>
                      <a:pt x="23" y="149"/>
                      <a:pt x="23" y="151"/>
                      <a:pt x="23" y="151"/>
                    </a:cubicBezTo>
                    <a:cubicBezTo>
                      <a:pt x="25" y="153"/>
                      <a:pt x="25" y="153"/>
                      <a:pt x="25" y="153"/>
                    </a:cubicBezTo>
                    <a:cubicBezTo>
                      <a:pt x="25" y="153"/>
                      <a:pt x="26" y="153"/>
                      <a:pt x="26" y="154"/>
                    </a:cubicBezTo>
                    <a:cubicBezTo>
                      <a:pt x="35" y="161"/>
                      <a:pt x="35" y="161"/>
                      <a:pt x="35" y="161"/>
                    </a:cubicBezTo>
                    <a:cubicBezTo>
                      <a:pt x="36" y="161"/>
                      <a:pt x="36" y="162"/>
                      <a:pt x="37" y="162"/>
                    </a:cubicBezTo>
                    <a:cubicBezTo>
                      <a:pt x="39" y="163"/>
                      <a:pt x="41" y="165"/>
                      <a:pt x="42" y="166"/>
                    </a:cubicBezTo>
                    <a:cubicBezTo>
                      <a:pt x="44" y="168"/>
                      <a:pt x="45" y="170"/>
                      <a:pt x="45" y="171"/>
                    </a:cubicBezTo>
                    <a:cubicBezTo>
                      <a:pt x="56" y="217"/>
                      <a:pt x="56" y="217"/>
                      <a:pt x="56" y="217"/>
                    </a:cubicBezTo>
                    <a:cubicBezTo>
                      <a:pt x="62" y="210"/>
                      <a:pt x="62" y="210"/>
                      <a:pt x="62" y="210"/>
                    </a:cubicBezTo>
                    <a:cubicBezTo>
                      <a:pt x="59" y="220"/>
                      <a:pt x="59" y="220"/>
                      <a:pt x="59" y="220"/>
                    </a:cubicBezTo>
                    <a:cubicBezTo>
                      <a:pt x="60" y="220"/>
                      <a:pt x="62" y="219"/>
                      <a:pt x="63" y="217"/>
                    </a:cubicBezTo>
                    <a:cubicBezTo>
                      <a:pt x="64" y="217"/>
                      <a:pt x="65" y="216"/>
                      <a:pt x="65" y="215"/>
                    </a:cubicBezTo>
                    <a:cubicBezTo>
                      <a:pt x="66" y="214"/>
                      <a:pt x="66" y="214"/>
                      <a:pt x="66" y="214"/>
                    </a:cubicBezTo>
                    <a:cubicBezTo>
                      <a:pt x="67" y="213"/>
                      <a:pt x="67" y="212"/>
                      <a:pt x="68" y="212"/>
                    </a:cubicBezTo>
                    <a:cubicBezTo>
                      <a:pt x="68" y="211"/>
                      <a:pt x="68" y="211"/>
                      <a:pt x="68" y="211"/>
                    </a:cubicBezTo>
                    <a:cubicBezTo>
                      <a:pt x="71" y="208"/>
                      <a:pt x="72" y="205"/>
                      <a:pt x="71" y="202"/>
                    </a:cubicBezTo>
                    <a:cubicBezTo>
                      <a:pt x="71" y="202"/>
                      <a:pt x="71" y="201"/>
                      <a:pt x="71" y="200"/>
                    </a:cubicBezTo>
                    <a:cubicBezTo>
                      <a:pt x="71" y="199"/>
                      <a:pt x="71" y="199"/>
                      <a:pt x="71" y="199"/>
                    </a:cubicBezTo>
                    <a:cubicBezTo>
                      <a:pt x="70" y="197"/>
                      <a:pt x="70" y="195"/>
                      <a:pt x="70" y="192"/>
                    </a:cubicBezTo>
                    <a:cubicBezTo>
                      <a:pt x="70" y="192"/>
                      <a:pt x="70" y="181"/>
                      <a:pt x="74" y="177"/>
                    </a:cubicBezTo>
                    <a:cubicBezTo>
                      <a:pt x="75" y="176"/>
                      <a:pt x="76" y="175"/>
                      <a:pt x="77" y="175"/>
                    </a:cubicBezTo>
                    <a:cubicBezTo>
                      <a:pt x="77" y="175"/>
                      <a:pt x="77" y="175"/>
                      <a:pt x="78" y="175"/>
                    </a:cubicBezTo>
                    <a:cubicBezTo>
                      <a:pt x="78" y="174"/>
                      <a:pt x="79" y="173"/>
                      <a:pt x="80" y="172"/>
                    </a:cubicBezTo>
                    <a:cubicBezTo>
                      <a:pt x="81" y="171"/>
                      <a:pt x="82" y="169"/>
                      <a:pt x="84" y="168"/>
                    </a:cubicBezTo>
                    <a:cubicBezTo>
                      <a:pt x="85" y="168"/>
                      <a:pt x="85" y="167"/>
                      <a:pt x="86" y="167"/>
                    </a:cubicBezTo>
                    <a:cubicBezTo>
                      <a:pt x="86" y="167"/>
                      <a:pt x="87" y="167"/>
                      <a:pt x="87" y="168"/>
                    </a:cubicBezTo>
                    <a:cubicBezTo>
                      <a:pt x="87" y="167"/>
                      <a:pt x="88" y="166"/>
                      <a:pt x="88" y="166"/>
                    </a:cubicBezTo>
                    <a:cubicBezTo>
                      <a:pt x="89" y="165"/>
                      <a:pt x="89" y="165"/>
                      <a:pt x="89" y="165"/>
                    </a:cubicBezTo>
                    <a:cubicBezTo>
                      <a:pt x="89" y="165"/>
                      <a:pt x="90" y="164"/>
                      <a:pt x="90" y="164"/>
                    </a:cubicBezTo>
                    <a:cubicBezTo>
                      <a:pt x="91" y="163"/>
                      <a:pt x="91" y="163"/>
                      <a:pt x="91" y="163"/>
                    </a:cubicBezTo>
                    <a:cubicBezTo>
                      <a:pt x="92" y="163"/>
                      <a:pt x="92" y="162"/>
                      <a:pt x="92" y="162"/>
                    </a:cubicBezTo>
                    <a:cubicBezTo>
                      <a:pt x="94" y="161"/>
                      <a:pt x="96" y="160"/>
                      <a:pt x="99" y="159"/>
                    </a:cubicBezTo>
                    <a:cubicBezTo>
                      <a:pt x="101" y="159"/>
                      <a:pt x="101" y="159"/>
                      <a:pt x="101" y="159"/>
                    </a:cubicBezTo>
                    <a:cubicBezTo>
                      <a:pt x="103" y="158"/>
                      <a:pt x="105" y="157"/>
                      <a:pt x="106" y="156"/>
                    </a:cubicBezTo>
                    <a:cubicBezTo>
                      <a:pt x="107" y="156"/>
                      <a:pt x="107" y="155"/>
                      <a:pt x="107" y="155"/>
                    </a:cubicBezTo>
                    <a:cubicBezTo>
                      <a:pt x="107" y="136"/>
                      <a:pt x="107" y="136"/>
                      <a:pt x="107" y="136"/>
                    </a:cubicBezTo>
                    <a:cubicBezTo>
                      <a:pt x="107" y="135"/>
                      <a:pt x="107" y="135"/>
                      <a:pt x="107" y="135"/>
                    </a:cubicBezTo>
                    <a:cubicBezTo>
                      <a:pt x="106" y="134"/>
                      <a:pt x="106" y="134"/>
                      <a:pt x="106" y="134"/>
                    </a:cubicBezTo>
                    <a:cubicBezTo>
                      <a:pt x="107" y="133"/>
                      <a:pt x="107" y="133"/>
                      <a:pt x="107" y="133"/>
                    </a:cubicBezTo>
                    <a:cubicBezTo>
                      <a:pt x="106" y="133"/>
                      <a:pt x="106" y="133"/>
                      <a:pt x="106" y="133"/>
                    </a:cubicBezTo>
                    <a:cubicBezTo>
                      <a:pt x="105" y="133"/>
                      <a:pt x="96" y="130"/>
                      <a:pt x="100" y="129"/>
                    </a:cubicBezTo>
                    <a:cubicBezTo>
                      <a:pt x="98" y="126"/>
                      <a:pt x="99" y="120"/>
                      <a:pt x="96" y="119"/>
                    </a:cubicBezTo>
                    <a:cubicBezTo>
                      <a:pt x="95" y="118"/>
                      <a:pt x="95" y="118"/>
                      <a:pt x="95" y="118"/>
                    </a:cubicBezTo>
                    <a:cubicBezTo>
                      <a:pt x="93" y="118"/>
                      <a:pt x="94" y="121"/>
                      <a:pt x="94" y="121"/>
                    </a:cubicBezTo>
                    <a:cubicBezTo>
                      <a:pt x="93" y="122"/>
                      <a:pt x="90" y="123"/>
                      <a:pt x="89" y="123"/>
                    </a:cubicBezTo>
                    <a:cubicBezTo>
                      <a:pt x="88" y="123"/>
                      <a:pt x="87" y="123"/>
                      <a:pt x="87" y="122"/>
                    </a:cubicBezTo>
                    <a:cubicBezTo>
                      <a:pt x="86" y="121"/>
                      <a:pt x="90" y="118"/>
                      <a:pt x="87" y="116"/>
                    </a:cubicBezTo>
                    <a:cubicBezTo>
                      <a:pt x="84" y="117"/>
                      <a:pt x="84" y="117"/>
                      <a:pt x="84" y="117"/>
                    </a:cubicBezTo>
                    <a:cubicBezTo>
                      <a:pt x="83" y="117"/>
                      <a:pt x="82" y="117"/>
                      <a:pt x="82" y="117"/>
                    </a:cubicBezTo>
                    <a:cubicBezTo>
                      <a:pt x="79" y="117"/>
                      <a:pt x="77" y="116"/>
                      <a:pt x="74" y="113"/>
                    </a:cubicBezTo>
                    <a:cubicBezTo>
                      <a:pt x="70" y="110"/>
                      <a:pt x="69" y="106"/>
                      <a:pt x="68" y="102"/>
                    </a:cubicBezTo>
                    <a:cubicBezTo>
                      <a:pt x="67" y="99"/>
                      <a:pt x="83" y="89"/>
                      <a:pt x="86" y="87"/>
                    </a:cubicBezTo>
                    <a:cubicBezTo>
                      <a:pt x="91" y="83"/>
                      <a:pt x="93" y="77"/>
                      <a:pt x="96" y="72"/>
                    </a:cubicBezTo>
                    <a:cubicBezTo>
                      <a:pt x="98" y="69"/>
                      <a:pt x="100" y="68"/>
                      <a:pt x="99" y="65"/>
                    </a:cubicBezTo>
                    <a:cubicBezTo>
                      <a:pt x="98" y="63"/>
                      <a:pt x="98" y="58"/>
                      <a:pt x="96" y="56"/>
                    </a:cubicBezTo>
                    <a:cubicBezTo>
                      <a:pt x="90" y="52"/>
                      <a:pt x="82" y="47"/>
                      <a:pt x="81" y="39"/>
                    </a:cubicBezTo>
                    <a:cubicBezTo>
                      <a:pt x="80" y="37"/>
                      <a:pt x="81" y="32"/>
                      <a:pt x="82" y="31"/>
                    </a:cubicBezTo>
                    <a:cubicBezTo>
                      <a:pt x="84" y="28"/>
                      <a:pt x="89" y="28"/>
                      <a:pt x="91" y="26"/>
                    </a:cubicBezTo>
                    <a:cubicBezTo>
                      <a:pt x="94" y="23"/>
                      <a:pt x="96" y="20"/>
                      <a:pt x="97" y="17"/>
                    </a:cubicBezTo>
                    <a:cubicBezTo>
                      <a:pt x="99" y="14"/>
                      <a:pt x="99" y="7"/>
                      <a:pt x="96" y="7"/>
                    </a:cubicBezTo>
                    <a:cubicBezTo>
                      <a:pt x="95" y="7"/>
                      <a:pt x="94" y="8"/>
                      <a:pt x="93" y="8"/>
                    </a:cubicBezTo>
                    <a:cubicBezTo>
                      <a:pt x="91" y="10"/>
                      <a:pt x="90" y="13"/>
                      <a:pt x="88" y="14"/>
                    </a:cubicBezTo>
                    <a:cubicBezTo>
                      <a:pt x="86" y="14"/>
                      <a:pt x="85" y="14"/>
                      <a:pt x="83" y="15"/>
                    </a:cubicBezTo>
                    <a:cubicBezTo>
                      <a:pt x="83" y="15"/>
                      <a:pt x="83" y="17"/>
                      <a:pt x="82" y="17"/>
                    </a:cubicBezTo>
                    <a:cubicBezTo>
                      <a:pt x="81" y="18"/>
                      <a:pt x="80" y="19"/>
                      <a:pt x="79" y="19"/>
                    </a:cubicBezTo>
                    <a:cubicBezTo>
                      <a:pt x="78" y="19"/>
                      <a:pt x="77" y="18"/>
                      <a:pt x="75" y="17"/>
                    </a:cubicBezTo>
                    <a:cubicBezTo>
                      <a:pt x="77" y="13"/>
                      <a:pt x="76" y="12"/>
                      <a:pt x="74" y="8"/>
                    </a:cubicBezTo>
                    <a:cubicBezTo>
                      <a:pt x="73" y="5"/>
                      <a:pt x="72" y="3"/>
                      <a:pt x="69" y="2"/>
                    </a:cubicBezTo>
                    <a:cubicBezTo>
                      <a:pt x="68" y="1"/>
                      <a:pt x="67" y="1"/>
                      <a:pt x="66" y="1"/>
                    </a:cubicBezTo>
                    <a:cubicBezTo>
                      <a:pt x="64" y="1"/>
                      <a:pt x="63" y="3"/>
                      <a:pt x="62" y="5"/>
                    </a:cubicBezTo>
                    <a:cubicBezTo>
                      <a:pt x="60" y="2"/>
                      <a:pt x="60" y="0"/>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257"/>
              <p:cNvSpPr/>
              <p:nvPr/>
            </p:nvSpPr>
            <p:spPr bwMode="auto">
              <a:xfrm>
                <a:off x="5722985" y="6780614"/>
                <a:ext cx="235847" cy="77387"/>
              </a:xfrm>
              <a:custGeom>
                <a:gdLst>
                  <a:gd name="T0" fmla="*/ 24 w 74"/>
                  <a:gd name="T1" fmla="*/ 0 h 24"/>
                  <a:gd name="T2" fmla="*/ 23 w 74"/>
                  <a:gd name="T3" fmla="*/ 0 h 24"/>
                  <a:gd name="T4" fmla="*/ 22 w 74"/>
                  <a:gd name="T5" fmla="*/ 1 h 24"/>
                  <a:gd name="T6" fmla="*/ 0 w 74"/>
                  <a:gd name="T7" fmla="*/ 12 h 24"/>
                  <a:gd name="T8" fmla="*/ 1 w 74"/>
                  <a:gd name="T9" fmla="*/ 17 h 24"/>
                  <a:gd name="T10" fmla="*/ 2 w 74"/>
                  <a:gd name="T11" fmla="*/ 24 h 24"/>
                  <a:gd name="T12" fmla="*/ 74 w 74"/>
                  <a:gd name="T13" fmla="*/ 24 h 24"/>
                  <a:gd name="T14" fmla="*/ 64 w 74"/>
                  <a:gd name="T15" fmla="*/ 20 h 24"/>
                  <a:gd name="T16" fmla="*/ 36 w 74"/>
                  <a:gd name="T17" fmla="*/ 6 h 24"/>
                  <a:gd name="T18" fmla="*/ 27 w 74"/>
                  <a:gd name="T19" fmla="*/ 1 h 24"/>
                  <a:gd name="T20" fmla="*/ 24 w 74"/>
                  <a:gd name="T21"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24">
                    <a:moveTo>
                      <a:pt x="24" y="0"/>
                    </a:moveTo>
                    <a:cubicBezTo>
                      <a:pt x="24" y="0"/>
                      <a:pt x="24" y="0"/>
                      <a:pt x="23" y="0"/>
                    </a:cubicBezTo>
                    <a:cubicBezTo>
                      <a:pt x="22" y="1"/>
                      <a:pt x="22" y="1"/>
                      <a:pt x="22" y="1"/>
                    </a:cubicBezTo>
                    <a:cubicBezTo>
                      <a:pt x="0" y="12"/>
                      <a:pt x="0" y="12"/>
                      <a:pt x="0" y="12"/>
                    </a:cubicBezTo>
                    <a:cubicBezTo>
                      <a:pt x="1" y="17"/>
                      <a:pt x="1" y="17"/>
                      <a:pt x="1" y="17"/>
                    </a:cubicBezTo>
                    <a:cubicBezTo>
                      <a:pt x="1" y="20"/>
                      <a:pt x="2" y="22"/>
                      <a:pt x="2" y="24"/>
                    </a:cubicBezTo>
                    <a:cubicBezTo>
                      <a:pt x="74" y="24"/>
                      <a:pt x="74" y="24"/>
                      <a:pt x="74" y="24"/>
                    </a:cubicBezTo>
                    <a:cubicBezTo>
                      <a:pt x="64" y="20"/>
                      <a:pt x="64" y="20"/>
                      <a:pt x="64" y="20"/>
                    </a:cubicBezTo>
                    <a:cubicBezTo>
                      <a:pt x="55" y="15"/>
                      <a:pt x="46" y="10"/>
                      <a:pt x="36" y="6"/>
                    </a:cubicBezTo>
                    <a:cubicBezTo>
                      <a:pt x="27" y="1"/>
                      <a:pt x="27" y="1"/>
                      <a:pt x="27" y="1"/>
                    </a:cubicBezTo>
                    <a:cubicBezTo>
                      <a:pt x="26" y="1"/>
                      <a:pt x="25"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258"/>
              <p:cNvSpPr/>
              <p:nvPr/>
            </p:nvSpPr>
            <p:spPr bwMode="auto">
              <a:xfrm>
                <a:off x="5302882" y="6776928"/>
                <a:ext cx="405363" cy="81073"/>
              </a:xfrm>
              <a:custGeom>
                <a:gdLst>
                  <a:gd name="T0" fmla="*/ 42 w 127"/>
                  <a:gd name="T1" fmla="*/ 0 h 26"/>
                  <a:gd name="T2" fmla="*/ 0 w 127"/>
                  <a:gd name="T3" fmla="*/ 26 h 26"/>
                  <a:gd name="T4" fmla="*/ 127 w 127"/>
                  <a:gd name="T5" fmla="*/ 26 h 26"/>
                  <a:gd name="T6" fmla="*/ 126 w 127"/>
                  <a:gd name="T7" fmla="*/ 21 h 26"/>
                  <a:gd name="T8" fmla="*/ 125 w 127"/>
                  <a:gd name="T9" fmla="*/ 19 h 26"/>
                  <a:gd name="T10" fmla="*/ 125 w 127"/>
                  <a:gd name="T11" fmla="*/ 17 h 26"/>
                  <a:gd name="T12" fmla="*/ 113 w 127"/>
                  <a:gd name="T13" fmla="*/ 23 h 26"/>
                  <a:gd name="T14" fmla="*/ 107 w 127"/>
                  <a:gd name="T15" fmla="*/ 25 h 26"/>
                  <a:gd name="T16" fmla="*/ 101 w 127"/>
                  <a:gd name="T17" fmla="*/ 23 h 26"/>
                  <a:gd name="T18" fmla="*/ 97 w 127"/>
                  <a:gd name="T19" fmla="*/ 20 h 26"/>
                  <a:gd name="T20" fmla="*/ 97 w 127"/>
                  <a:gd name="T21" fmla="*/ 20 h 26"/>
                  <a:gd name="T22" fmla="*/ 95 w 127"/>
                  <a:gd name="T23" fmla="*/ 18 h 26"/>
                  <a:gd name="T24" fmla="*/ 90 w 127"/>
                  <a:gd name="T25" fmla="*/ 14 h 26"/>
                  <a:gd name="T26" fmla="*/ 82 w 127"/>
                  <a:gd name="T27" fmla="*/ 9 h 26"/>
                  <a:gd name="T28" fmla="*/ 42 w 127"/>
                  <a:gd name="T29"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26">
                    <a:moveTo>
                      <a:pt x="42" y="0"/>
                    </a:moveTo>
                    <a:cubicBezTo>
                      <a:pt x="0" y="26"/>
                      <a:pt x="0" y="26"/>
                      <a:pt x="0" y="26"/>
                    </a:cubicBezTo>
                    <a:cubicBezTo>
                      <a:pt x="127" y="26"/>
                      <a:pt x="127" y="26"/>
                      <a:pt x="127" y="26"/>
                    </a:cubicBezTo>
                    <a:cubicBezTo>
                      <a:pt x="127" y="24"/>
                      <a:pt x="126" y="22"/>
                      <a:pt x="126" y="21"/>
                    </a:cubicBezTo>
                    <a:cubicBezTo>
                      <a:pt x="125" y="19"/>
                      <a:pt x="125" y="19"/>
                      <a:pt x="125" y="19"/>
                    </a:cubicBezTo>
                    <a:cubicBezTo>
                      <a:pt x="125" y="19"/>
                      <a:pt x="125" y="18"/>
                      <a:pt x="125" y="17"/>
                    </a:cubicBezTo>
                    <a:cubicBezTo>
                      <a:pt x="113" y="23"/>
                      <a:pt x="113" y="23"/>
                      <a:pt x="113" y="23"/>
                    </a:cubicBezTo>
                    <a:cubicBezTo>
                      <a:pt x="112" y="24"/>
                      <a:pt x="110" y="25"/>
                      <a:pt x="107" y="25"/>
                    </a:cubicBezTo>
                    <a:cubicBezTo>
                      <a:pt x="105" y="25"/>
                      <a:pt x="103" y="25"/>
                      <a:pt x="101" y="23"/>
                    </a:cubicBezTo>
                    <a:cubicBezTo>
                      <a:pt x="100" y="23"/>
                      <a:pt x="99" y="21"/>
                      <a:pt x="97" y="20"/>
                    </a:cubicBezTo>
                    <a:cubicBezTo>
                      <a:pt x="97" y="20"/>
                      <a:pt x="97" y="20"/>
                      <a:pt x="97" y="20"/>
                    </a:cubicBezTo>
                    <a:cubicBezTo>
                      <a:pt x="96" y="19"/>
                      <a:pt x="96" y="19"/>
                      <a:pt x="95" y="18"/>
                    </a:cubicBezTo>
                    <a:cubicBezTo>
                      <a:pt x="90" y="14"/>
                      <a:pt x="90" y="14"/>
                      <a:pt x="90" y="14"/>
                    </a:cubicBezTo>
                    <a:cubicBezTo>
                      <a:pt x="87" y="11"/>
                      <a:pt x="85" y="10"/>
                      <a:pt x="82" y="9"/>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259"/>
              <p:cNvSpPr/>
              <p:nvPr/>
            </p:nvSpPr>
            <p:spPr bwMode="auto">
              <a:xfrm>
                <a:off x="6596357" y="5973573"/>
                <a:ext cx="983926" cy="884428"/>
              </a:xfrm>
              <a:custGeom>
                <a:gdLst>
                  <a:gd name="T0" fmla="*/ 27 w 310"/>
                  <a:gd name="T1" fmla="*/ 0 h 278"/>
                  <a:gd name="T2" fmla="*/ 11 w 310"/>
                  <a:gd name="T3" fmla="*/ 2 h 278"/>
                  <a:gd name="T4" fmla="*/ 5 w 310"/>
                  <a:gd name="T5" fmla="*/ 8 h 278"/>
                  <a:gd name="T6" fmla="*/ 5 w 310"/>
                  <a:gd name="T7" fmla="*/ 14 h 278"/>
                  <a:gd name="T8" fmla="*/ 6 w 310"/>
                  <a:gd name="T9" fmla="*/ 19 h 278"/>
                  <a:gd name="T10" fmla="*/ 6 w 310"/>
                  <a:gd name="T11" fmla="*/ 35 h 278"/>
                  <a:gd name="T12" fmla="*/ 3 w 310"/>
                  <a:gd name="T13" fmla="*/ 40 h 278"/>
                  <a:gd name="T14" fmla="*/ 1 w 310"/>
                  <a:gd name="T15" fmla="*/ 47 h 278"/>
                  <a:gd name="T16" fmla="*/ 3 w 310"/>
                  <a:gd name="T17" fmla="*/ 55 h 278"/>
                  <a:gd name="T18" fmla="*/ 7 w 310"/>
                  <a:gd name="T19" fmla="*/ 77 h 278"/>
                  <a:gd name="T20" fmla="*/ 8 w 310"/>
                  <a:gd name="T21" fmla="*/ 116 h 278"/>
                  <a:gd name="T22" fmla="*/ 8 w 310"/>
                  <a:gd name="T23" fmla="*/ 278 h 278"/>
                  <a:gd name="T24" fmla="*/ 280 w 310"/>
                  <a:gd name="T25" fmla="*/ 278 h 278"/>
                  <a:gd name="T26" fmla="*/ 281 w 310"/>
                  <a:gd name="T27" fmla="*/ 275 h 278"/>
                  <a:gd name="T28" fmla="*/ 291 w 310"/>
                  <a:gd name="T29" fmla="*/ 264 h 278"/>
                  <a:gd name="T30" fmla="*/ 301 w 310"/>
                  <a:gd name="T31" fmla="*/ 259 h 278"/>
                  <a:gd name="T32" fmla="*/ 306 w 310"/>
                  <a:gd name="T33" fmla="*/ 256 h 278"/>
                  <a:gd name="T34" fmla="*/ 305 w 310"/>
                  <a:gd name="T35" fmla="*/ 253 h 278"/>
                  <a:gd name="T36" fmla="*/ 303 w 310"/>
                  <a:gd name="T37" fmla="*/ 234 h 278"/>
                  <a:gd name="T38" fmla="*/ 306 w 310"/>
                  <a:gd name="T39" fmla="*/ 235 h 278"/>
                  <a:gd name="T40" fmla="*/ 310 w 310"/>
                  <a:gd name="T41" fmla="*/ 235 h 278"/>
                  <a:gd name="T42" fmla="*/ 303 w 310"/>
                  <a:gd name="T43" fmla="*/ 230 h 278"/>
                  <a:gd name="T44" fmla="*/ 264 w 310"/>
                  <a:gd name="T45" fmla="*/ 161 h 278"/>
                  <a:gd name="T46" fmla="*/ 259 w 310"/>
                  <a:gd name="T47" fmla="*/ 153 h 278"/>
                  <a:gd name="T48" fmla="*/ 252 w 310"/>
                  <a:gd name="T49" fmla="*/ 126 h 278"/>
                  <a:gd name="T50" fmla="*/ 241 w 310"/>
                  <a:gd name="T51" fmla="*/ 109 h 278"/>
                  <a:gd name="T52" fmla="*/ 229 w 310"/>
                  <a:gd name="T53" fmla="*/ 94 h 278"/>
                  <a:gd name="T54" fmla="*/ 213 w 310"/>
                  <a:gd name="T55" fmla="*/ 62 h 278"/>
                  <a:gd name="T56" fmla="*/ 218 w 310"/>
                  <a:gd name="T57" fmla="*/ 52 h 278"/>
                  <a:gd name="T58" fmla="*/ 224 w 310"/>
                  <a:gd name="T59" fmla="*/ 67 h 278"/>
                  <a:gd name="T60" fmla="*/ 230 w 310"/>
                  <a:gd name="T61" fmla="*/ 74 h 278"/>
                  <a:gd name="T62" fmla="*/ 239 w 310"/>
                  <a:gd name="T63" fmla="*/ 94 h 278"/>
                  <a:gd name="T64" fmla="*/ 268 w 310"/>
                  <a:gd name="T65" fmla="*/ 120 h 278"/>
                  <a:gd name="T66" fmla="*/ 286 w 310"/>
                  <a:gd name="T67" fmla="*/ 67 h 278"/>
                  <a:gd name="T68" fmla="*/ 266 w 310"/>
                  <a:gd name="T69" fmla="*/ 9 h 278"/>
                  <a:gd name="T70" fmla="*/ 254 w 310"/>
                  <a:gd name="T71" fmla="*/ 14 h 278"/>
                  <a:gd name="T72" fmla="*/ 234 w 310"/>
                  <a:gd name="T73" fmla="*/ 17 h 278"/>
                  <a:gd name="T74" fmla="*/ 232 w 310"/>
                  <a:gd name="T75" fmla="*/ 17 h 278"/>
                  <a:gd name="T76" fmla="*/ 226 w 310"/>
                  <a:gd name="T77" fmla="*/ 17 h 278"/>
                  <a:gd name="T78" fmla="*/ 210 w 310"/>
                  <a:gd name="T79" fmla="*/ 10 h 278"/>
                  <a:gd name="T80" fmla="*/ 198 w 310"/>
                  <a:gd name="T81" fmla="*/ 10 h 278"/>
                  <a:gd name="T82" fmla="*/ 201 w 310"/>
                  <a:gd name="T83" fmla="*/ 2 h 278"/>
                  <a:gd name="T84" fmla="*/ 192 w 310"/>
                  <a:gd name="T85" fmla="*/ 5 h 278"/>
                  <a:gd name="T86" fmla="*/ 176 w 310"/>
                  <a:gd name="T87" fmla="*/ 0 h 278"/>
                  <a:gd name="T88" fmla="*/ 152 w 310"/>
                  <a:gd name="T89" fmla="*/ 10 h 278"/>
                  <a:gd name="T90" fmla="*/ 153 w 310"/>
                  <a:gd name="T91" fmla="*/ 12 h 278"/>
                  <a:gd name="T92" fmla="*/ 150 w 310"/>
                  <a:gd name="T93" fmla="*/ 10 h 278"/>
                  <a:gd name="T94" fmla="*/ 143 w 310"/>
                  <a:gd name="T95" fmla="*/ 14 h 278"/>
                  <a:gd name="T96" fmla="*/ 120 w 310"/>
                  <a:gd name="T97" fmla="*/ 24 h 278"/>
                  <a:gd name="T98" fmla="*/ 91 w 310"/>
                  <a:gd name="T99" fmla="*/ 16 h 278"/>
                  <a:gd name="T100" fmla="*/ 72 w 310"/>
                  <a:gd name="T101" fmla="*/ 10 h 278"/>
                  <a:gd name="T102" fmla="*/ 31 w 310"/>
                  <a:gd name="T103" fmla="*/ 0 h 2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0" h="278">
                    <a:moveTo>
                      <a:pt x="31" y="0"/>
                    </a:moveTo>
                    <a:cubicBezTo>
                      <a:pt x="30" y="0"/>
                      <a:pt x="28" y="0"/>
                      <a:pt x="27" y="0"/>
                    </a:cubicBezTo>
                    <a:cubicBezTo>
                      <a:pt x="24" y="1"/>
                      <a:pt x="18" y="3"/>
                      <a:pt x="14" y="3"/>
                    </a:cubicBezTo>
                    <a:cubicBezTo>
                      <a:pt x="13" y="3"/>
                      <a:pt x="12" y="2"/>
                      <a:pt x="11" y="2"/>
                    </a:cubicBezTo>
                    <a:cubicBezTo>
                      <a:pt x="10" y="3"/>
                      <a:pt x="10" y="3"/>
                      <a:pt x="10" y="3"/>
                    </a:cubicBezTo>
                    <a:cubicBezTo>
                      <a:pt x="7" y="5"/>
                      <a:pt x="6" y="7"/>
                      <a:pt x="5" y="8"/>
                    </a:cubicBezTo>
                    <a:cubicBezTo>
                      <a:pt x="5" y="9"/>
                      <a:pt x="4" y="10"/>
                      <a:pt x="4" y="10"/>
                    </a:cubicBezTo>
                    <a:cubicBezTo>
                      <a:pt x="4" y="10"/>
                      <a:pt x="4" y="12"/>
                      <a:pt x="5" y="14"/>
                    </a:cubicBezTo>
                    <a:cubicBezTo>
                      <a:pt x="5" y="15"/>
                      <a:pt x="5" y="17"/>
                      <a:pt x="6" y="19"/>
                    </a:cubicBezTo>
                    <a:cubicBezTo>
                      <a:pt x="6" y="19"/>
                      <a:pt x="6" y="19"/>
                      <a:pt x="6" y="19"/>
                    </a:cubicBezTo>
                    <a:cubicBezTo>
                      <a:pt x="6" y="21"/>
                      <a:pt x="7" y="22"/>
                      <a:pt x="7" y="24"/>
                    </a:cubicBezTo>
                    <a:cubicBezTo>
                      <a:pt x="7" y="27"/>
                      <a:pt x="8" y="31"/>
                      <a:pt x="6" y="35"/>
                    </a:cubicBezTo>
                    <a:cubicBezTo>
                      <a:pt x="5" y="36"/>
                      <a:pt x="5" y="36"/>
                      <a:pt x="5" y="36"/>
                    </a:cubicBezTo>
                    <a:cubicBezTo>
                      <a:pt x="5" y="38"/>
                      <a:pt x="4" y="39"/>
                      <a:pt x="3" y="40"/>
                    </a:cubicBezTo>
                    <a:cubicBezTo>
                      <a:pt x="2" y="42"/>
                      <a:pt x="0" y="44"/>
                      <a:pt x="0" y="45"/>
                    </a:cubicBezTo>
                    <a:cubicBezTo>
                      <a:pt x="1" y="47"/>
                      <a:pt x="1" y="47"/>
                      <a:pt x="1" y="47"/>
                    </a:cubicBezTo>
                    <a:cubicBezTo>
                      <a:pt x="2" y="49"/>
                      <a:pt x="2" y="51"/>
                      <a:pt x="3" y="53"/>
                    </a:cubicBezTo>
                    <a:cubicBezTo>
                      <a:pt x="3" y="54"/>
                      <a:pt x="3" y="54"/>
                      <a:pt x="3" y="55"/>
                    </a:cubicBezTo>
                    <a:cubicBezTo>
                      <a:pt x="3" y="56"/>
                      <a:pt x="3" y="56"/>
                      <a:pt x="3" y="57"/>
                    </a:cubicBezTo>
                    <a:cubicBezTo>
                      <a:pt x="5" y="63"/>
                      <a:pt x="6" y="70"/>
                      <a:pt x="7" y="77"/>
                    </a:cubicBezTo>
                    <a:cubicBezTo>
                      <a:pt x="7" y="82"/>
                      <a:pt x="7" y="86"/>
                      <a:pt x="8" y="90"/>
                    </a:cubicBezTo>
                    <a:cubicBezTo>
                      <a:pt x="8" y="99"/>
                      <a:pt x="8" y="107"/>
                      <a:pt x="8" y="116"/>
                    </a:cubicBezTo>
                    <a:cubicBezTo>
                      <a:pt x="8" y="128"/>
                      <a:pt x="8" y="128"/>
                      <a:pt x="8" y="128"/>
                    </a:cubicBezTo>
                    <a:cubicBezTo>
                      <a:pt x="8" y="278"/>
                      <a:pt x="8" y="278"/>
                      <a:pt x="8" y="278"/>
                    </a:cubicBezTo>
                    <a:cubicBezTo>
                      <a:pt x="280" y="278"/>
                      <a:pt x="280" y="278"/>
                      <a:pt x="280" y="278"/>
                    </a:cubicBezTo>
                    <a:cubicBezTo>
                      <a:pt x="280" y="278"/>
                      <a:pt x="280" y="278"/>
                      <a:pt x="280" y="278"/>
                    </a:cubicBezTo>
                    <a:cubicBezTo>
                      <a:pt x="280" y="278"/>
                      <a:pt x="280" y="277"/>
                      <a:pt x="281" y="276"/>
                    </a:cubicBezTo>
                    <a:cubicBezTo>
                      <a:pt x="281" y="275"/>
                      <a:pt x="281" y="275"/>
                      <a:pt x="281" y="275"/>
                    </a:cubicBezTo>
                    <a:cubicBezTo>
                      <a:pt x="282" y="272"/>
                      <a:pt x="284" y="268"/>
                      <a:pt x="287" y="265"/>
                    </a:cubicBezTo>
                    <a:cubicBezTo>
                      <a:pt x="288" y="265"/>
                      <a:pt x="289" y="264"/>
                      <a:pt x="291" y="264"/>
                    </a:cubicBezTo>
                    <a:cubicBezTo>
                      <a:pt x="292" y="263"/>
                      <a:pt x="294" y="262"/>
                      <a:pt x="296" y="261"/>
                    </a:cubicBezTo>
                    <a:cubicBezTo>
                      <a:pt x="298" y="260"/>
                      <a:pt x="299" y="260"/>
                      <a:pt x="301" y="259"/>
                    </a:cubicBezTo>
                    <a:cubicBezTo>
                      <a:pt x="302" y="258"/>
                      <a:pt x="302" y="258"/>
                      <a:pt x="303" y="257"/>
                    </a:cubicBezTo>
                    <a:cubicBezTo>
                      <a:pt x="304" y="257"/>
                      <a:pt x="305" y="256"/>
                      <a:pt x="306" y="256"/>
                    </a:cubicBezTo>
                    <a:cubicBezTo>
                      <a:pt x="306" y="256"/>
                      <a:pt x="306" y="256"/>
                      <a:pt x="306" y="256"/>
                    </a:cubicBezTo>
                    <a:cubicBezTo>
                      <a:pt x="306" y="255"/>
                      <a:pt x="306" y="254"/>
                      <a:pt x="305" y="253"/>
                    </a:cubicBezTo>
                    <a:cubicBezTo>
                      <a:pt x="305" y="249"/>
                      <a:pt x="304" y="246"/>
                      <a:pt x="304" y="242"/>
                    </a:cubicBezTo>
                    <a:cubicBezTo>
                      <a:pt x="303" y="241"/>
                      <a:pt x="302" y="235"/>
                      <a:pt x="303" y="234"/>
                    </a:cubicBezTo>
                    <a:cubicBezTo>
                      <a:pt x="304" y="234"/>
                      <a:pt x="304" y="234"/>
                      <a:pt x="304" y="234"/>
                    </a:cubicBezTo>
                    <a:cubicBezTo>
                      <a:pt x="305" y="234"/>
                      <a:pt x="305" y="234"/>
                      <a:pt x="306" y="235"/>
                    </a:cubicBezTo>
                    <a:cubicBezTo>
                      <a:pt x="307" y="235"/>
                      <a:pt x="308" y="235"/>
                      <a:pt x="309" y="235"/>
                    </a:cubicBezTo>
                    <a:cubicBezTo>
                      <a:pt x="310" y="235"/>
                      <a:pt x="310" y="235"/>
                      <a:pt x="310" y="235"/>
                    </a:cubicBezTo>
                    <a:cubicBezTo>
                      <a:pt x="309" y="234"/>
                      <a:pt x="305" y="230"/>
                      <a:pt x="303" y="230"/>
                    </a:cubicBezTo>
                    <a:cubicBezTo>
                      <a:pt x="303" y="230"/>
                      <a:pt x="303" y="230"/>
                      <a:pt x="303" y="230"/>
                    </a:cubicBezTo>
                    <a:cubicBezTo>
                      <a:pt x="299" y="224"/>
                      <a:pt x="294" y="219"/>
                      <a:pt x="291" y="213"/>
                    </a:cubicBezTo>
                    <a:cubicBezTo>
                      <a:pt x="282" y="196"/>
                      <a:pt x="273" y="178"/>
                      <a:pt x="264" y="161"/>
                    </a:cubicBezTo>
                    <a:cubicBezTo>
                      <a:pt x="263" y="158"/>
                      <a:pt x="261" y="156"/>
                      <a:pt x="260" y="154"/>
                    </a:cubicBezTo>
                    <a:cubicBezTo>
                      <a:pt x="260" y="153"/>
                      <a:pt x="259" y="154"/>
                      <a:pt x="259" y="153"/>
                    </a:cubicBezTo>
                    <a:cubicBezTo>
                      <a:pt x="259" y="151"/>
                      <a:pt x="260" y="150"/>
                      <a:pt x="260" y="148"/>
                    </a:cubicBezTo>
                    <a:cubicBezTo>
                      <a:pt x="261" y="141"/>
                      <a:pt x="255" y="132"/>
                      <a:pt x="252" y="126"/>
                    </a:cubicBezTo>
                    <a:cubicBezTo>
                      <a:pt x="251" y="123"/>
                      <a:pt x="250" y="118"/>
                      <a:pt x="248" y="116"/>
                    </a:cubicBezTo>
                    <a:cubicBezTo>
                      <a:pt x="246" y="114"/>
                      <a:pt x="243" y="112"/>
                      <a:pt x="241" y="109"/>
                    </a:cubicBezTo>
                    <a:cubicBezTo>
                      <a:pt x="239" y="107"/>
                      <a:pt x="238" y="106"/>
                      <a:pt x="236" y="104"/>
                    </a:cubicBezTo>
                    <a:cubicBezTo>
                      <a:pt x="234" y="101"/>
                      <a:pt x="231" y="97"/>
                      <a:pt x="229" y="94"/>
                    </a:cubicBezTo>
                    <a:cubicBezTo>
                      <a:pt x="226" y="90"/>
                      <a:pt x="224" y="83"/>
                      <a:pt x="223" y="78"/>
                    </a:cubicBezTo>
                    <a:cubicBezTo>
                      <a:pt x="221" y="73"/>
                      <a:pt x="214" y="67"/>
                      <a:pt x="213" y="62"/>
                    </a:cubicBezTo>
                    <a:cubicBezTo>
                      <a:pt x="213" y="60"/>
                      <a:pt x="215" y="59"/>
                      <a:pt x="216" y="57"/>
                    </a:cubicBezTo>
                    <a:cubicBezTo>
                      <a:pt x="217" y="55"/>
                      <a:pt x="216" y="53"/>
                      <a:pt x="218" y="52"/>
                    </a:cubicBezTo>
                    <a:cubicBezTo>
                      <a:pt x="218" y="51"/>
                      <a:pt x="218" y="51"/>
                      <a:pt x="219" y="51"/>
                    </a:cubicBezTo>
                    <a:cubicBezTo>
                      <a:pt x="222" y="51"/>
                      <a:pt x="224" y="65"/>
                      <a:pt x="224" y="67"/>
                    </a:cubicBezTo>
                    <a:cubicBezTo>
                      <a:pt x="224" y="66"/>
                      <a:pt x="224" y="66"/>
                      <a:pt x="224" y="66"/>
                    </a:cubicBezTo>
                    <a:cubicBezTo>
                      <a:pt x="226" y="69"/>
                      <a:pt x="227" y="72"/>
                      <a:pt x="230" y="74"/>
                    </a:cubicBezTo>
                    <a:cubicBezTo>
                      <a:pt x="232" y="76"/>
                      <a:pt x="236" y="79"/>
                      <a:pt x="237" y="81"/>
                    </a:cubicBezTo>
                    <a:cubicBezTo>
                      <a:pt x="239" y="85"/>
                      <a:pt x="238" y="91"/>
                      <a:pt x="239" y="94"/>
                    </a:cubicBezTo>
                    <a:cubicBezTo>
                      <a:pt x="240" y="97"/>
                      <a:pt x="243" y="99"/>
                      <a:pt x="245" y="101"/>
                    </a:cubicBezTo>
                    <a:cubicBezTo>
                      <a:pt x="253" y="109"/>
                      <a:pt x="257" y="116"/>
                      <a:pt x="268" y="120"/>
                    </a:cubicBezTo>
                    <a:cubicBezTo>
                      <a:pt x="268" y="120"/>
                      <a:pt x="268" y="119"/>
                      <a:pt x="268" y="118"/>
                    </a:cubicBezTo>
                    <a:cubicBezTo>
                      <a:pt x="274" y="101"/>
                      <a:pt x="280" y="84"/>
                      <a:pt x="286" y="67"/>
                    </a:cubicBezTo>
                    <a:cubicBezTo>
                      <a:pt x="267" y="10"/>
                      <a:pt x="267" y="10"/>
                      <a:pt x="267" y="10"/>
                    </a:cubicBezTo>
                    <a:cubicBezTo>
                      <a:pt x="267" y="9"/>
                      <a:pt x="267" y="9"/>
                      <a:pt x="266" y="9"/>
                    </a:cubicBezTo>
                    <a:cubicBezTo>
                      <a:pt x="266" y="9"/>
                      <a:pt x="266" y="9"/>
                      <a:pt x="266" y="9"/>
                    </a:cubicBezTo>
                    <a:cubicBezTo>
                      <a:pt x="262" y="11"/>
                      <a:pt x="258" y="12"/>
                      <a:pt x="254" y="14"/>
                    </a:cubicBezTo>
                    <a:cubicBezTo>
                      <a:pt x="252" y="15"/>
                      <a:pt x="251" y="15"/>
                      <a:pt x="249" y="15"/>
                    </a:cubicBezTo>
                    <a:cubicBezTo>
                      <a:pt x="244" y="16"/>
                      <a:pt x="239" y="17"/>
                      <a:pt x="234" y="17"/>
                    </a:cubicBezTo>
                    <a:cubicBezTo>
                      <a:pt x="233" y="17"/>
                      <a:pt x="233" y="17"/>
                      <a:pt x="233" y="17"/>
                    </a:cubicBezTo>
                    <a:cubicBezTo>
                      <a:pt x="232" y="17"/>
                      <a:pt x="232" y="17"/>
                      <a:pt x="232" y="17"/>
                    </a:cubicBezTo>
                    <a:cubicBezTo>
                      <a:pt x="231" y="17"/>
                      <a:pt x="230" y="17"/>
                      <a:pt x="229" y="17"/>
                    </a:cubicBezTo>
                    <a:cubicBezTo>
                      <a:pt x="228" y="17"/>
                      <a:pt x="227" y="17"/>
                      <a:pt x="226" y="17"/>
                    </a:cubicBezTo>
                    <a:cubicBezTo>
                      <a:pt x="223" y="17"/>
                      <a:pt x="221" y="17"/>
                      <a:pt x="220" y="16"/>
                    </a:cubicBezTo>
                    <a:cubicBezTo>
                      <a:pt x="217" y="14"/>
                      <a:pt x="213" y="10"/>
                      <a:pt x="210" y="10"/>
                    </a:cubicBezTo>
                    <a:cubicBezTo>
                      <a:pt x="215" y="12"/>
                      <a:pt x="210" y="16"/>
                      <a:pt x="208" y="16"/>
                    </a:cubicBezTo>
                    <a:cubicBezTo>
                      <a:pt x="206" y="15"/>
                      <a:pt x="198" y="12"/>
                      <a:pt x="198" y="10"/>
                    </a:cubicBezTo>
                    <a:cubicBezTo>
                      <a:pt x="198" y="9"/>
                      <a:pt x="201" y="3"/>
                      <a:pt x="201" y="2"/>
                    </a:cubicBezTo>
                    <a:cubicBezTo>
                      <a:pt x="201" y="2"/>
                      <a:pt x="201" y="2"/>
                      <a:pt x="201" y="2"/>
                    </a:cubicBezTo>
                    <a:cubicBezTo>
                      <a:pt x="198" y="2"/>
                      <a:pt x="195" y="4"/>
                      <a:pt x="193" y="4"/>
                    </a:cubicBezTo>
                    <a:cubicBezTo>
                      <a:pt x="193" y="5"/>
                      <a:pt x="192" y="5"/>
                      <a:pt x="192" y="5"/>
                    </a:cubicBezTo>
                    <a:cubicBezTo>
                      <a:pt x="189" y="5"/>
                      <a:pt x="184" y="2"/>
                      <a:pt x="181" y="1"/>
                    </a:cubicBezTo>
                    <a:cubicBezTo>
                      <a:pt x="179" y="1"/>
                      <a:pt x="178" y="0"/>
                      <a:pt x="176" y="0"/>
                    </a:cubicBezTo>
                    <a:cubicBezTo>
                      <a:pt x="175" y="0"/>
                      <a:pt x="174" y="0"/>
                      <a:pt x="173" y="1"/>
                    </a:cubicBezTo>
                    <a:cubicBezTo>
                      <a:pt x="164" y="3"/>
                      <a:pt x="158" y="4"/>
                      <a:pt x="152" y="10"/>
                    </a:cubicBezTo>
                    <a:cubicBezTo>
                      <a:pt x="153" y="10"/>
                      <a:pt x="154" y="11"/>
                      <a:pt x="155" y="11"/>
                    </a:cubicBezTo>
                    <a:cubicBezTo>
                      <a:pt x="154" y="12"/>
                      <a:pt x="153" y="12"/>
                      <a:pt x="153" y="12"/>
                    </a:cubicBezTo>
                    <a:cubicBezTo>
                      <a:pt x="153" y="12"/>
                      <a:pt x="153" y="12"/>
                      <a:pt x="153" y="12"/>
                    </a:cubicBezTo>
                    <a:cubicBezTo>
                      <a:pt x="152" y="12"/>
                      <a:pt x="151" y="10"/>
                      <a:pt x="150" y="10"/>
                    </a:cubicBezTo>
                    <a:cubicBezTo>
                      <a:pt x="149" y="10"/>
                      <a:pt x="149" y="10"/>
                      <a:pt x="149" y="10"/>
                    </a:cubicBezTo>
                    <a:cubicBezTo>
                      <a:pt x="147" y="11"/>
                      <a:pt x="145" y="13"/>
                      <a:pt x="143" y="14"/>
                    </a:cubicBezTo>
                    <a:cubicBezTo>
                      <a:pt x="137" y="18"/>
                      <a:pt x="129" y="23"/>
                      <a:pt x="121" y="24"/>
                    </a:cubicBezTo>
                    <a:cubicBezTo>
                      <a:pt x="120" y="24"/>
                      <a:pt x="120" y="24"/>
                      <a:pt x="120" y="24"/>
                    </a:cubicBezTo>
                    <a:cubicBezTo>
                      <a:pt x="116" y="24"/>
                      <a:pt x="115" y="21"/>
                      <a:pt x="112" y="20"/>
                    </a:cubicBezTo>
                    <a:cubicBezTo>
                      <a:pt x="106" y="17"/>
                      <a:pt x="98" y="17"/>
                      <a:pt x="91" y="16"/>
                    </a:cubicBezTo>
                    <a:cubicBezTo>
                      <a:pt x="87" y="16"/>
                      <a:pt x="83" y="14"/>
                      <a:pt x="78" y="13"/>
                    </a:cubicBezTo>
                    <a:cubicBezTo>
                      <a:pt x="76" y="12"/>
                      <a:pt x="74" y="11"/>
                      <a:pt x="72" y="10"/>
                    </a:cubicBezTo>
                    <a:cubicBezTo>
                      <a:pt x="66" y="7"/>
                      <a:pt x="57" y="6"/>
                      <a:pt x="50" y="4"/>
                    </a:cubicBezTo>
                    <a:cubicBezTo>
                      <a:pt x="44" y="2"/>
                      <a:pt x="37"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260"/>
              <p:cNvSpPr/>
              <p:nvPr/>
            </p:nvSpPr>
            <p:spPr bwMode="auto">
              <a:xfrm>
                <a:off x="7506581" y="6806409"/>
                <a:ext cx="114239" cy="51592"/>
              </a:xfrm>
              <a:custGeom>
                <a:gdLst>
                  <a:gd name="T0" fmla="*/ 22 w 36"/>
                  <a:gd name="T1" fmla="*/ 0 h 16"/>
                  <a:gd name="T2" fmla="*/ 20 w 36"/>
                  <a:gd name="T3" fmla="*/ 1 h 16"/>
                  <a:gd name="T4" fmla="*/ 20 w 36"/>
                  <a:gd name="T5" fmla="*/ 1 h 16"/>
                  <a:gd name="T6" fmla="*/ 17 w 36"/>
                  <a:gd name="T7" fmla="*/ 3 h 16"/>
                  <a:gd name="T8" fmla="*/ 12 w 36"/>
                  <a:gd name="T9" fmla="*/ 5 h 16"/>
                  <a:gd name="T10" fmla="*/ 12 w 36"/>
                  <a:gd name="T11" fmla="*/ 6 h 16"/>
                  <a:gd name="T12" fmla="*/ 7 w 36"/>
                  <a:gd name="T13" fmla="*/ 8 h 16"/>
                  <a:gd name="T14" fmla="*/ 6 w 36"/>
                  <a:gd name="T15" fmla="*/ 8 h 16"/>
                  <a:gd name="T16" fmla="*/ 4 w 36"/>
                  <a:gd name="T17" fmla="*/ 9 h 16"/>
                  <a:gd name="T18" fmla="*/ 0 w 36"/>
                  <a:gd name="T19" fmla="*/ 16 h 16"/>
                  <a:gd name="T20" fmla="*/ 0 w 36"/>
                  <a:gd name="T21" fmla="*/ 16 h 16"/>
                  <a:gd name="T22" fmla="*/ 36 w 36"/>
                  <a:gd name="T23" fmla="*/ 16 h 16"/>
                  <a:gd name="T24" fmla="*/ 31 w 36"/>
                  <a:gd name="T25" fmla="*/ 12 h 16"/>
                  <a:gd name="T26" fmla="*/ 22 w 36"/>
                  <a:gd name="T27"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6">
                    <a:moveTo>
                      <a:pt x="22" y="0"/>
                    </a:moveTo>
                    <a:cubicBezTo>
                      <a:pt x="21" y="1"/>
                      <a:pt x="21" y="1"/>
                      <a:pt x="20" y="1"/>
                    </a:cubicBezTo>
                    <a:cubicBezTo>
                      <a:pt x="20" y="1"/>
                      <a:pt x="20" y="1"/>
                      <a:pt x="20" y="1"/>
                    </a:cubicBezTo>
                    <a:cubicBezTo>
                      <a:pt x="19" y="2"/>
                      <a:pt x="18" y="2"/>
                      <a:pt x="17" y="3"/>
                    </a:cubicBezTo>
                    <a:cubicBezTo>
                      <a:pt x="15" y="4"/>
                      <a:pt x="14" y="5"/>
                      <a:pt x="12" y="5"/>
                    </a:cubicBezTo>
                    <a:cubicBezTo>
                      <a:pt x="12" y="6"/>
                      <a:pt x="12" y="6"/>
                      <a:pt x="12" y="6"/>
                    </a:cubicBezTo>
                    <a:cubicBezTo>
                      <a:pt x="10" y="6"/>
                      <a:pt x="8" y="7"/>
                      <a:pt x="7" y="8"/>
                    </a:cubicBezTo>
                    <a:cubicBezTo>
                      <a:pt x="6" y="8"/>
                      <a:pt x="6" y="8"/>
                      <a:pt x="6" y="8"/>
                    </a:cubicBezTo>
                    <a:cubicBezTo>
                      <a:pt x="6" y="8"/>
                      <a:pt x="4" y="9"/>
                      <a:pt x="4" y="9"/>
                    </a:cubicBezTo>
                    <a:cubicBezTo>
                      <a:pt x="3" y="10"/>
                      <a:pt x="1" y="13"/>
                      <a:pt x="0" y="16"/>
                    </a:cubicBezTo>
                    <a:cubicBezTo>
                      <a:pt x="0" y="16"/>
                      <a:pt x="0" y="16"/>
                      <a:pt x="0" y="16"/>
                    </a:cubicBezTo>
                    <a:cubicBezTo>
                      <a:pt x="36" y="16"/>
                      <a:pt x="36" y="16"/>
                      <a:pt x="36" y="16"/>
                    </a:cubicBezTo>
                    <a:cubicBezTo>
                      <a:pt x="35" y="15"/>
                      <a:pt x="33" y="13"/>
                      <a:pt x="31" y="12"/>
                    </a:cubicBezTo>
                    <a:cubicBezTo>
                      <a:pt x="29" y="10"/>
                      <a:pt x="25" y="5"/>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261"/>
              <p:cNvSpPr/>
              <p:nvPr/>
            </p:nvSpPr>
            <p:spPr bwMode="auto">
              <a:xfrm>
                <a:off x="3773559" y="6633209"/>
                <a:ext cx="468010" cy="224792"/>
              </a:xfrm>
              <a:custGeom>
                <a:gdLst>
                  <a:gd name="T0" fmla="*/ 44 w 147"/>
                  <a:gd name="T1" fmla="*/ 0 h 71"/>
                  <a:gd name="T2" fmla="*/ 0 w 147"/>
                  <a:gd name="T3" fmla="*/ 0 h 71"/>
                  <a:gd name="T4" fmla="*/ 3 w 147"/>
                  <a:gd name="T5" fmla="*/ 22 h 71"/>
                  <a:gd name="T6" fmla="*/ 3 w 147"/>
                  <a:gd name="T7" fmla="*/ 27 h 71"/>
                  <a:gd name="T8" fmla="*/ 4 w 147"/>
                  <a:gd name="T9" fmla="*/ 36 h 71"/>
                  <a:gd name="T10" fmla="*/ 9 w 147"/>
                  <a:gd name="T11" fmla="*/ 71 h 71"/>
                  <a:gd name="T12" fmla="*/ 147 w 147"/>
                  <a:gd name="T13" fmla="*/ 71 h 71"/>
                  <a:gd name="T14" fmla="*/ 129 w 147"/>
                  <a:gd name="T15" fmla="*/ 58 h 71"/>
                  <a:gd name="T16" fmla="*/ 96 w 147"/>
                  <a:gd name="T17" fmla="*/ 35 h 71"/>
                  <a:gd name="T18" fmla="*/ 89 w 147"/>
                  <a:gd name="T19" fmla="*/ 30 h 71"/>
                  <a:gd name="T20" fmla="*/ 67 w 147"/>
                  <a:gd name="T21" fmla="*/ 15 h 71"/>
                  <a:gd name="T22" fmla="*/ 65 w 147"/>
                  <a:gd name="T23" fmla="*/ 14 h 71"/>
                  <a:gd name="T24" fmla="*/ 58 w 147"/>
                  <a:gd name="T25" fmla="*/ 9 h 71"/>
                  <a:gd name="T26" fmla="*/ 52 w 147"/>
                  <a:gd name="T27" fmla="*/ 5 h 71"/>
                  <a:gd name="T28" fmla="*/ 44 w 147"/>
                  <a:gd name="T29" fmla="*/ 0 h 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71">
                    <a:moveTo>
                      <a:pt x="44" y="0"/>
                    </a:moveTo>
                    <a:cubicBezTo>
                      <a:pt x="0" y="0"/>
                      <a:pt x="0" y="0"/>
                      <a:pt x="0" y="0"/>
                    </a:cubicBezTo>
                    <a:cubicBezTo>
                      <a:pt x="3" y="22"/>
                      <a:pt x="3" y="22"/>
                      <a:pt x="3" y="22"/>
                    </a:cubicBezTo>
                    <a:cubicBezTo>
                      <a:pt x="3" y="24"/>
                      <a:pt x="3" y="25"/>
                      <a:pt x="3" y="27"/>
                    </a:cubicBezTo>
                    <a:cubicBezTo>
                      <a:pt x="4" y="36"/>
                      <a:pt x="4" y="36"/>
                      <a:pt x="4" y="36"/>
                    </a:cubicBezTo>
                    <a:cubicBezTo>
                      <a:pt x="6" y="48"/>
                      <a:pt x="7" y="59"/>
                      <a:pt x="9" y="71"/>
                    </a:cubicBezTo>
                    <a:cubicBezTo>
                      <a:pt x="147" y="71"/>
                      <a:pt x="147" y="71"/>
                      <a:pt x="147" y="71"/>
                    </a:cubicBezTo>
                    <a:cubicBezTo>
                      <a:pt x="141" y="67"/>
                      <a:pt x="135" y="62"/>
                      <a:pt x="129" y="58"/>
                    </a:cubicBezTo>
                    <a:cubicBezTo>
                      <a:pt x="118" y="51"/>
                      <a:pt x="107" y="43"/>
                      <a:pt x="96" y="35"/>
                    </a:cubicBezTo>
                    <a:cubicBezTo>
                      <a:pt x="89" y="30"/>
                      <a:pt x="89" y="30"/>
                      <a:pt x="89" y="30"/>
                    </a:cubicBezTo>
                    <a:cubicBezTo>
                      <a:pt x="82" y="25"/>
                      <a:pt x="74" y="20"/>
                      <a:pt x="67" y="15"/>
                    </a:cubicBezTo>
                    <a:cubicBezTo>
                      <a:pt x="65" y="14"/>
                      <a:pt x="65" y="14"/>
                      <a:pt x="65" y="14"/>
                    </a:cubicBezTo>
                    <a:cubicBezTo>
                      <a:pt x="63" y="13"/>
                      <a:pt x="61" y="11"/>
                      <a:pt x="58" y="9"/>
                    </a:cubicBezTo>
                    <a:cubicBezTo>
                      <a:pt x="52" y="5"/>
                      <a:pt x="52" y="5"/>
                      <a:pt x="52" y="5"/>
                    </a:cubicBezTo>
                    <a:cubicBezTo>
                      <a:pt x="49" y="3"/>
                      <a:pt x="47" y="1"/>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262"/>
              <p:cNvSpPr/>
              <p:nvPr/>
            </p:nvSpPr>
            <p:spPr bwMode="auto">
              <a:xfrm flipH="1">
                <a:off x="4016777" y="6028850"/>
                <a:ext cx="0" cy="3685"/>
              </a:xfrm>
              <a:custGeom>
                <a:gdLst>
                  <a:gd name="T0" fmla="*/ 0 h 1"/>
                  <a:gd name="T1" fmla="*/ 0 h 1"/>
                  <a:gd name="T2" fmla="*/ 1 h 1"/>
                  <a:gd name="T3" fmla="*/ 0 h 1"/>
                  <a:gd name="T4" fmla="*/ 0 h 1"/>
                </a:gdLst>
                <a:cxnLst>
                  <a:cxn ang="0">
                    <a:pos x="0" y="T0"/>
                  </a:cxn>
                  <a:cxn ang="0">
                    <a:pos x="0" y="T1"/>
                  </a:cxn>
                  <a:cxn ang="0">
                    <a:pos x="0" y="T2"/>
                  </a:cxn>
                  <a:cxn ang="0">
                    <a:pos x="0" y="T3"/>
                  </a:cxn>
                  <a:cxn ang="0">
                    <a:pos x="0" y="T4"/>
                  </a:cxn>
                </a:cxnLst>
                <a:rect l="0" t="0" r="r" b="b"/>
                <a:pathLst>
                  <a:path h="1">
                    <a:moveTo>
                      <a:pt x="0" y="0"/>
                    </a:moveTo>
                    <a:lnTo>
                      <a:pt x="0" y="0"/>
                    </a:ln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263"/>
              <p:cNvSpPr/>
              <p:nvPr/>
            </p:nvSpPr>
            <p:spPr bwMode="auto">
              <a:xfrm flipH="1">
                <a:off x="4016777" y="6028850"/>
                <a:ext cx="0" cy="3685"/>
              </a:xfrm>
              <a:custGeom>
                <a:gdLst>
                  <a:gd name="T0" fmla="*/ 0 h 1"/>
                  <a:gd name="T1" fmla="*/ 0 h 1"/>
                  <a:gd name="T2" fmla="*/ 1 h 1"/>
                  <a:gd name="T3" fmla="*/ 0 h 1"/>
                  <a:gd name="T4" fmla="*/ 0 h 1"/>
                </a:gdLst>
                <a:cxnLst>
                  <a:cxn ang="0">
                    <a:pos x="0" y="T0"/>
                  </a:cxn>
                  <a:cxn ang="0">
                    <a:pos x="0" y="T1"/>
                  </a:cxn>
                  <a:cxn ang="0">
                    <a:pos x="0" y="T2"/>
                  </a:cxn>
                  <a:cxn ang="0">
                    <a:pos x="0" y="T3"/>
                  </a:cxn>
                  <a:cxn ang="0">
                    <a:pos x="0" y="T4"/>
                  </a:cxn>
                </a:cxnLst>
                <a:rect l="0" t="0" r="r" b="b"/>
                <a:pathLst>
                  <a:path h="1">
                    <a:moveTo>
                      <a:pt x="0" y="0"/>
                    </a:moveTo>
                    <a:lnTo>
                      <a:pt x="0" y="0"/>
                    </a:lnTo>
                    <a:lnTo>
                      <a:pt x="0" y="1"/>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264"/>
              <p:cNvSpPr/>
              <p:nvPr/>
            </p:nvSpPr>
            <p:spPr bwMode="auto">
              <a:xfrm>
                <a:off x="3176570" y="5538730"/>
                <a:ext cx="1072369" cy="810725"/>
              </a:xfrm>
              <a:custGeom>
                <a:gdLst>
                  <a:gd name="T0" fmla="*/ 202 w 337"/>
                  <a:gd name="T1" fmla="*/ 6 h 256"/>
                  <a:gd name="T2" fmla="*/ 163 w 337"/>
                  <a:gd name="T3" fmla="*/ 70 h 256"/>
                  <a:gd name="T4" fmla="*/ 143 w 337"/>
                  <a:gd name="T5" fmla="*/ 79 h 256"/>
                  <a:gd name="T6" fmla="*/ 107 w 337"/>
                  <a:gd name="T7" fmla="*/ 108 h 256"/>
                  <a:gd name="T8" fmla="*/ 93 w 337"/>
                  <a:gd name="T9" fmla="*/ 148 h 256"/>
                  <a:gd name="T10" fmla="*/ 91 w 337"/>
                  <a:gd name="T11" fmla="*/ 168 h 256"/>
                  <a:gd name="T12" fmla="*/ 97 w 337"/>
                  <a:gd name="T13" fmla="*/ 184 h 256"/>
                  <a:gd name="T14" fmla="*/ 37 w 337"/>
                  <a:gd name="T15" fmla="*/ 243 h 256"/>
                  <a:gd name="T16" fmla="*/ 3 w 337"/>
                  <a:gd name="T17" fmla="*/ 252 h 256"/>
                  <a:gd name="T18" fmla="*/ 121 w 337"/>
                  <a:gd name="T19" fmla="*/ 230 h 256"/>
                  <a:gd name="T20" fmla="*/ 131 w 337"/>
                  <a:gd name="T21" fmla="*/ 219 h 256"/>
                  <a:gd name="T22" fmla="*/ 139 w 337"/>
                  <a:gd name="T23" fmla="*/ 214 h 256"/>
                  <a:gd name="T24" fmla="*/ 161 w 337"/>
                  <a:gd name="T25" fmla="*/ 201 h 256"/>
                  <a:gd name="T26" fmla="*/ 176 w 337"/>
                  <a:gd name="T27" fmla="*/ 197 h 256"/>
                  <a:gd name="T28" fmla="*/ 182 w 337"/>
                  <a:gd name="T29" fmla="*/ 198 h 256"/>
                  <a:gd name="T30" fmla="*/ 183 w 337"/>
                  <a:gd name="T31" fmla="*/ 194 h 256"/>
                  <a:gd name="T32" fmla="*/ 189 w 337"/>
                  <a:gd name="T33" fmla="*/ 190 h 256"/>
                  <a:gd name="T34" fmla="*/ 213 w 337"/>
                  <a:gd name="T35" fmla="*/ 187 h 256"/>
                  <a:gd name="T36" fmla="*/ 222 w 337"/>
                  <a:gd name="T37" fmla="*/ 180 h 256"/>
                  <a:gd name="T38" fmla="*/ 231 w 337"/>
                  <a:gd name="T39" fmla="*/ 171 h 256"/>
                  <a:gd name="T40" fmla="*/ 264 w 337"/>
                  <a:gd name="T41" fmla="*/ 156 h 256"/>
                  <a:gd name="T42" fmla="*/ 261 w 337"/>
                  <a:gd name="T43" fmla="*/ 145 h 256"/>
                  <a:gd name="T44" fmla="*/ 259 w 337"/>
                  <a:gd name="T45" fmla="*/ 141 h 256"/>
                  <a:gd name="T46" fmla="*/ 265 w 337"/>
                  <a:gd name="T47" fmla="*/ 131 h 256"/>
                  <a:gd name="T48" fmla="*/ 271 w 337"/>
                  <a:gd name="T49" fmla="*/ 132 h 256"/>
                  <a:gd name="T50" fmla="*/ 282 w 337"/>
                  <a:gd name="T51" fmla="*/ 128 h 256"/>
                  <a:gd name="T52" fmla="*/ 296 w 337"/>
                  <a:gd name="T53" fmla="*/ 118 h 256"/>
                  <a:gd name="T54" fmla="*/ 310 w 337"/>
                  <a:gd name="T55" fmla="*/ 117 h 256"/>
                  <a:gd name="T56" fmla="*/ 326 w 337"/>
                  <a:gd name="T57" fmla="*/ 119 h 256"/>
                  <a:gd name="T58" fmla="*/ 336 w 337"/>
                  <a:gd name="T59" fmla="*/ 111 h 256"/>
                  <a:gd name="T60" fmla="*/ 330 w 337"/>
                  <a:gd name="T61" fmla="*/ 102 h 256"/>
                  <a:gd name="T62" fmla="*/ 320 w 337"/>
                  <a:gd name="T63" fmla="*/ 66 h 256"/>
                  <a:gd name="T64" fmla="*/ 318 w 337"/>
                  <a:gd name="T65" fmla="*/ 49 h 256"/>
                  <a:gd name="T66" fmla="*/ 315 w 337"/>
                  <a:gd name="T67" fmla="*/ 42 h 256"/>
                  <a:gd name="T68" fmla="*/ 315 w 337"/>
                  <a:gd name="T69" fmla="*/ 38 h 256"/>
                  <a:gd name="T70" fmla="*/ 312 w 337"/>
                  <a:gd name="T71" fmla="*/ 35 h 256"/>
                  <a:gd name="T72" fmla="*/ 307 w 337"/>
                  <a:gd name="T73" fmla="*/ 30 h 256"/>
                  <a:gd name="T74" fmla="*/ 304 w 337"/>
                  <a:gd name="T75" fmla="*/ 28 h 256"/>
                  <a:gd name="T76" fmla="*/ 289 w 337"/>
                  <a:gd name="T77" fmla="*/ 22 h 256"/>
                  <a:gd name="T78" fmla="*/ 285 w 337"/>
                  <a:gd name="T79" fmla="*/ 17 h 256"/>
                  <a:gd name="T80" fmla="*/ 244 w 337"/>
                  <a:gd name="T81" fmla="*/ 24 h 256"/>
                  <a:gd name="T82" fmla="*/ 225 w 337"/>
                  <a:gd name="T83" fmla="*/ 12 h 256"/>
                  <a:gd name="T84" fmla="*/ 221 w 337"/>
                  <a:gd name="T85" fmla="*/ 1 h 2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7" h="256">
                    <a:moveTo>
                      <a:pt x="218" y="0"/>
                    </a:moveTo>
                    <a:cubicBezTo>
                      <a:pt x="218" y="0"/>
                      <a:pt x="218" y="0"/>
                      <a:pt x="218" y="0"/>
                    </a:cubicBezTo>
                    <a:cubicBezTo>
                      <a:pt x="214" y="2"/>
                      <a:pt x="204" y="2"/>
                      <a:pt x="202" y="6"/>
                    </a:cubicBezTo>
                    <a:cubicBezTo>
                      <a:pt x="200" y="12"/>
                      <a:pt x="198" y="18"/>
                      <a:pt x="196" y="23"/>
                    </a:cubicBezTo>
                    <a:cubicBezTo>
                      <a:pt x="192" y="35"/>
                      <a:pt x="186" y="45"/>
                      <a:pt x="180" y="56"/>
                    </a:cubicBezTo>
                    <a:cubicBezTo>
                      <a:pt x="177" y="62"/>
                      <a:pt x="169" y="67"/>
                      <a:pt x="163" y="70"/>
                    </a:cubicBezTo>
                    <a:cubicBezTo>
                      <a:pt x="162" y="71"/>
                      <a:pt x="162" y="71"/>
                      <a:pt x="161" y="71"/>
                    </a:cubicBezTo>
                    <a:cubicBezTo>
                      <a:pt x="148" y="77"/>
                      <a:pt x="148" y="77"/>
                      <a:pt x="148" y="77"/>
                    </a:cubicBezTo>
                    <a:cubicBezTo>
                      <a:pt x="146" y="78"/>
                      <a:pt x="145" y="78"/>
                      <a:pt x="143" y="79"/>
                    </a:cubicBezTo>
                    <a:cubicBezTo>
                      <a:pt x="138" y="81"/>
                      <a:pt x="132" y="83"/>
                      <a:pt x="128" y="87"/>
                    </a:cubicBezTo>
                    <a:cubicBezTo>
                      <a:pt x="123" y="91"/>
                      <a:pt x="119" y="97"/>
                      <a:pt x="114" y="102"/>
                    </a:cubicBezTo>
                    <a:cubicBezTo>
                      <a:pt x="112" y="104"/>
                      <a:pt x="109" y="106"/>
                      <a:pt x="107" y="108"/>
                    </a:cubicBezTo>
                    <a:cubicBezTo>
                      <a:pt x="106" y="110"/>
                      <a:pt x="106" y="115"/>
                      <a:pt x="106" y="117"/>
                    </a:cubicBezTo>
                    <a:cubicBezTo>
                      <a:pt x="103" y="126"/>
                      <a:pt x="99" y="132"/>
                      <a:pt x="94" y="140"/>
                    </a:cubicBezTo>
                    <a:cubicBezTo>
                      <a:pt x="91" y="144"/>
                      <a:pt x="93" y="144"/>
                      <a:pt x="93" y="148"/>
                    </a:cubicBezTo>
                    <a:cubicBezTo>
                      <a:pt x="92" y="152"/>
                      <a:pt x="92" y="156"/>
                      <a:pt x="92" y="160"/>
                    </a:cubicBezTo>
                    <a:cubicBezTo>
                      <a:pt x="92" y="163"/>
                      <a:pt x="91" y="166"/>
                      <a:pt x="91" y="168"/>
                    </a:cubicBezTo>
                    <a:cubicBezTo>
                      <a:pt x="91" y="168"/>
                      <a:pt x="91" y="168"/>
                      <a:pt x="91" y="168"/>
                    </a:cubicBezTo>
                    <a:cubicBezTo>
                      <a:pt x="92" y="168"/>
                      <a:pt x="92" y="168"/>
                      <a:pt x="92" y="169"/>
                    </a:cubicBezTo>
                    <a:cubicBezTo>
                      <a:pt x="96" y="172"/>
                      <a:pt x="98" y="174"/>
                      <a:pt x="98" y="179"/>
                    </a:cubicBezTo>
                    <a:cubicBezTo>
                      <a:pt x="98" y="180"/>
                      <a:pt x="97" y="182"/>
                      <a:pt x="97" y="184"/>
                    </a:cubicBezTo>
                    <a:cubicBezTo>
                      <a:pt x="93" y="195"/>
                      <a:pt x="83" y="205"/>
                      <a:pt x="76" y="213"/>
                    </a:cubicBezTo>
                    <a:cubicBezTo>
                      <a:pt x="71" y="219"/>
                      <a:pt x="63" y="223"/>
                      <a:pt x="57" y="228"/>
                    </a:cubicBezTo>
                    <a:cubicBezTo>
                      <a:pt x="50" y="232"/>
                      <a:pt x="44" y="238"/>
                      <a:pt x="37" y="243"/>
                    </a:cubicBezTo>
                    <a:cubicBezTo>
                      <a:pt x="35" y="244"/>
                      <a:pt x="32" y="245"/>
                      <a:pt x="29" y="245"/>
                    </a:cubicBezTo>
                    <a:cubicBezTo>
                      <a:pt x="24" y="247"/>
                      <a:pt x="18" y="248"/>
                      <a:pt x="13" y="250"/>
                    </a:cubicBezTo>
                    <a:cubicBezTo>
                      <a:pt x="11" y="250"/>
                      <a:pt x="3" y="251"/>
                      <a:pt x="3" y="252"/>
                    </a:cubicBezTo>
                    <a:cubicBezTo>
                      <a:pt x="2" y="254"/>
                      <a:pt x="1" y="255"/>
                      <a:pt x="0" y="256"/>
                    </a:cubicBezTo>
                    <a:cubicBezTo>
                      <a:pt x="122" y="256"/>
                      <a:pt x="122" y="256"/>
                      <a:pt x="122" y="256"/>
                    </a:cubicBezTo>
                    <a:cubicBezTo>
                      <a:pt x="121" y="230"/>
                      <a:pt x="121" y="230"/>
                      <a:pt x="121" y="230"/>
                    </a:cubicBezTo>
                    <a:cubicBezTo>
                      <a:pt x="121" y="229"/>
                      <a:pt x="122" y="229"/>
                      <a:pt x="122" y="228"/>
                    </a:cubicBezTo>
                    <a:cubicBezTo>
                      <a:pt x="123" y="226"/>
                      <a:pt x="124" y="225"/>
                      <a:pt x="125" y="223"/>
                    </a:cubicBezTo>
                    <a:cubicBezTo>
                      <a:pt x="127" y="222"/>
                      <a:pt x="129" y="221"/>
                      <a:pt x="131" y="219"/>
                    </a:cubicBezTo>
                    <a:cubicBezTo>
                      <a:pt x="134" y="217"/>
                      <a:pt x="134" y="217"/>
                      <a:pt x="134" y="217"/>
                    </a:cubicBezTo>
                    <a:cubicBezTo>
                      <a:pt x="134" y="217"/>
                      <a:pt x="135" y="217"/>
                      <a:pt x="135" y="217"/>
                    </a:cubicBezTo>
                    <a:cubicBezTo>
                      <a:pt x="139" y="214"/>
                      <a:pt x="139" y="214"/>
                      <a:pt x="139" y="214"/>
                    </a:cubicBezTo>
                    <a:cubicBezTo>
                      <a:pt x="143" y="211"/>
                      <a:pt x="146" y="209"/>
                      <a:pt x="149" y="207"/>
                    </a:cubicBezTo>
                    <a:cubicBezTo>
                      <a:pt x="150" y="206"/>
                      <a:pt x="152" y="205"/>
                      <a:pt x="153" y="204"/>
                    </a:cubicBezTo>
                    <a:cubicBezTo>
                      <a:pt x="156" y="203"/>
                      <a:pt x="159" y="202"/>
                      <a:pt x="161" y="201"/>
                    </a:cubicBezTo>
                    <a:cubicBezTo>
                      <a:pt x="163" y="201"/>
                      <a:pt x="164" y="200"/>
                      <a:pt x="166" y="200"/>
                    </a:cubicBezTo>
                    <a:cubicBezTo>
                      <a:pt x="170" y="199"/>
                      <a:pt x="170" y="199"/>
                      <a:pt x="170" y="199"/>
                    </a:cubicBezTo>
                    <a:cubicBezTo>
                      <a:pt x="172" y="198"/>
                      <a:pt x="174" y="198"/>
                      <a:pt x="176" y="197"/>
                    </a:cubicBezTo>
                    <a:cubicBezTo>
                      <a:pt x="177" y="197"/>
                      <a:pt x="177" y="197"/>
                      <a:pt x="178" y="197"/>
                    </a:cubicBezTo>
                    <a:cubicBezTo>
                      <a:pt x="179" y="197"/>
                      <a:pt x="180" y="197"/>
                      <a:pt x="181" y="198"/>
                    </a:cubicBezTo>
                    <a:cubicBezTo>
                      <a:pt x="181" y="198"/>
                      <a:pt x="181" y="198"/>
                      <a:pt x="182" y="198"/>
                    </a:cubicBezTo>
                    <a:cubicBezTo>
                      <a:pt x="182" y="198"/>
                      <a:pt x="182" y="198"/>
                      <a:pt x="182" y="198"/>
                    </a:cubicBezTo>
                    <a:cubicBezTo>
                      <a:pt x="182" y="197"/>
                      <a:pt x="183" y="195"/>
                      <a:pt x="183" y="194"/>
                    </a:cubicBezTo>
                    <a:cubicBezTo>
                      <a:pt x="183" y="194"/>
                      <a:pt x="183" y="194"/>
                      <a:pt x="183" y="194"/>
                    </a:cubicBezTo>
                    <a:cubicBezTo>
                      <a:pt x="184" y="193"/>
                      <a:pt x="184" y="192"/>
                      <a:pt x="184" y="192"/>
                    </a:cubicBezTo>
                    <a:cubicBezTo>
                      <a:pt x="185" y="188"/>
                      <a:pt x="185" y="188"/>
                      <a:pt x="185" y="188"/>
                    </a:cubicBezTo>
                    <a:cubicBezTo>
                      <a:pt x="189" y="190"/>
                      <a:pt x="189" y="190"/>
                      <a:pt x="189" y="190"/>
                    </a:cubicBezTo>
                    <a:cubicBezTo>
                      <a:pt x="189" y="190"/>
                      <a:pt x="190" y="190"/>
                      <a:pt x="190" y="190"/>
                    </a:cubicBezTo>
                    <a:cubicBezTo>
                      <a:pt x="191" y="191"/>
                      <a:pt x="193" y="191"/>
                      <a:pt x="194" y="191"/>
                    </a:cubicBezTo>
                    <a:cubicBezTo>
                      <a:pt x="200" y="191"/>
                      <a:pt x="209" y="189"/>
                      <a:pt x="213" y="187"/>
                    </a:cubicBezTo>
                    <a:cubicBezTo>
                      <a:pt x="215" y="187"/>
                      <a:pt x="216" y="186"/>
                      <a:pt x="217" y="185"/>
                    </a:cubicBezTo>
                    <a:cubicBezTo>
                      <a:pt x="218" y="184"/>
                      <a:pt x="219" y="183"/>
                      <a:pt x="220" y="182"/>
                    </a:cubicBezTo>
                    <a:cubicBezTo>
                      <a:pt x="222" y="180"/>
                      <a:pt x="222" y="180"/>
                      <a:pt x="222" y="180"/>
                    </a:cubicBezTo>
                    <a:cubicBezTo>
                      <a:pt x="223" y="180"/>
                      <a:pt x="223" y="179"/>
                      <a:pt x="223" y="178"/>
                    </a:cubicBezTo>
                    <a:cubicBezTo>
                      <a:pt x="224" y="177"/>
                      <a:pt x="224" y="177"/>
                      <a:pt x="224" y="177"/>
                    </a:cubicBezTo>
                    <a:cubicBezTo>
                      <a:pt x="226" y="175"/>
                      <a:pt x="228" y="173"/>
                      <a:pt x="231" y="171"/>
                    </a:cubicBezTo>
                    <a:cubicBezTo>
                      <a:pt x="261" y="157"/>
                      <a:pt x="261" y="157"/>
                      <a:pt x="261" y="157"/>
                    </a:cubicBezTo>
                    <a:cubicBezTo>
                      <a:pt x="261" y="157"/>
                      <a:pt x="262" y="157"/>
                      <a:pt x="263" y="156"/>
                    </a:cubicBezTo>
                    <a:cubicBezTo>
                      <a:pt x="263" y="156"/>
                      <a:pt x="264" y="156"/>
                      <a:pt x="264" y="156"/>
                    </a:cubicBezTo>
                    <a:cubicBezTo>
                      <a:pt x="262" y="155"/>
                      <a:pt x="262" y="155"/>
                      <a:pt x="262" y="155"/>
                    </a:cubicBezTo>
                    <a:cubicBezTo>
                      <a:pt x="259" y="153"/>
                      <a:pt x="259" y="150"/>
                      <a:pt x="260" y="148"/>
                    </a:cubicBezTo>
                    <a:cubicBezTo>
                      <a:pt x="260" y="147"/>
                      <a:pt x="260" y="146"/>
                      <a:pt x="261" y="145"/>
                    </a:cubicBezTo>
                    <a:cubicBezTo>
                      <a:pt x="260" y="144"/>
                      <a:pt x="260" y="144"/>
                      <a:pt x="260" y="144"/>
                    </a:cubicBezTo>
                    <a:cubicBezTo>
                      <a:pt x="260" y="144"/>
                      <a:pt x="260" y="144"/>
                      <a:pt x="260" y="144"/>
                    </a:cubicBezTo>
                    <a:cubicBezTo>
                      <a:pt x="260" y="144"/>
                      <a:pt x="259" y="142"/>
                      <a:pt x="259" y="141"/>
                    </a:cubicBezTo>
                    <a:cubicBezTo>
                      <a:pt x="258" y="140"/>
                      <a:pt x="258" y="139"/>
                      <a:pt x="258" y="138"/>
                    </a:cubicBezTo>
                    <a:cubicBezTo>
                      <a:pt x="259" y="134"/>
                      <a:pt x="261" y="132"/>
                      <a:pt x="264" y="131"/>
                    </a:cubicBezTo>
                    <a:cubicBezTo>
                      <a:pt x="265" y="131"/>
                      <a:pt x="265" y="131"/>
                      <a:pt x="265" y="131"/>
                    </a:cubicBezTo>
                    <a:cubicBezTo>
                      <a:pt x="266" y="131"/>
                      <a:pt x="267" y="131"/>
                      <a:pt x="268" y="132"/>
                    </a:cubicBezTo>
                    <a:cubicBezTo>
                      <a:pt x="269" y="132"/>
                      <a:pt x="270" y="132"/>
                      <a:pt x="271" y="132"/>
                    </a:cubicBezTo>
                    <a:cubicBezTo>
                      <a:pt x="271" y="132"/>
                      <a:pt x="271" y="132"/>
                      <a:pt x="271" y="132"/>
                    </a:cubicBezTo>
                    <a:cubicBezTo>
                      <a:pt x="271" y="132"/>
                      <a:pt x="271" y="132"/>
                      <a:pt x="271" y="132"/>
                    </a:cubicBezTo>
                    <a:cubicBezTo>
                      <a:pt x="273" y="132"/>
                      <a:pt x="276" y="131"/>
                      <a:pt x="279" y="130"/>
                    </a:cubicBezTo>
                    <a:cubicBezTo>
                      <a:pt x="280" y="129"/>
                      <a:pt x="281" y="129"/>
                      <a:pt x="282" y="128"/>
                    </a:cubicBezTo>
                    <a:cubicBezTo>
                      <a:pt x="283" y="128"/>
                      <a:pt x="284" y="127"/>
                      <a:pt x="285" y="125"/>
                    </a:cubicBezTo>
                    <a:cubicBezTo>
                      <a:pt x="286" y="123"/>
                      <a:pt x="288" y="120"/>
                      <a:pt x="291" y="119"/>
                    </a:cubicBezTo>
                    <a:cubicBezTo>
                      <a:pt x="293" y="119"/>
                      <a:pt x="295" y="118"/>
                      <a:pt x="296" y="118"/>
                    </a:cubicBezTo>
                    <a:cubicBezTo>
                      <a:pt x="297" y="118"/>
                      <a:pt x="298" y="118"/>
                      <a:pt x="299" y="118"/>
                    </a:cubicBezTo>
                    <a:cubicBezTo>
                      <a:pt x="301" y="117"/>
                      <a:pt x="303" y="117"/>
                      <a:pt x="306" y="117"/>
                    </a:cubicBezTo>
                    <a:cubicBezTo>
                      <a:pt x="307" y="117"/>
                      <a:pt x="309" y="117"/>
                      <a:pt x="310" y="117"/>
                    </a:cubicBezTo>
                    <a:cubicBezTo>
                      <a:pt x="311" y="117"/>
                      <a:pt x="311" y="117"/>
                      <a:pt x="311" y="117"/>
                    </a:cubicBezTo>
                    <a:cubicBezTo>
                      <a:pt x="314" y="118"/>
                      <a:pt x="317" y="118"/>
                      <a:pt x="320" y="118"/>
                    </a:cubicBezTo>
                    <a:cubicBezTo>
                      <a:pt x="322" y="118"/>
                      <a:pt x="324" y="118"/>
                      <a:pt x="326" y="119"/>
                    </a:cubicBezTo>
                    <a:cubicBezTo>
                      <a:pt x="328" y="119"/>
                      <a:pt x="330" y="119"/>
                      <a:pt x="332" y="119"/>
                    </a:cubicBezTo>
                    <a:cubicBezTo>
                      <a:pt x="332" y="118"/>
                      <a:pt x="332" y="117"/>
                      <a:pt x="333" y="116"/>
                    </a:cubicBezTo>
                    <a:cubicBezTo>
                      <a:pt x="336" y="111"/>
                      <a:pt x="336" y="111"/>
                      <a:pt x="336" y="111"/>
                    </a:cubicBezTo>
                    <a:cubicBezTo>
                      <a:pt x="337" y="111"/>
                      <a:pt x="337" y="110"/>
                      <a:pt x="337" y="110"/>
                    </a:cubicBezTo>
                    <a:cubicBezTo>
                      <a:pt x="335" y="108"/>
                      <a:pt x="335" y="108"/>
                      <a:pt x="335" y="108"/>
                    </a:cubicBezTo>
                    <a:cubicBezTo>
                      <a:pt x="333" y="106"/>
                      <a:pt x="331" y="105"/>
                      <a:pt x="330" y="102"/>
                    </a:cubicBezTo>
                    <a:cubicBezTo>
                      <a:pt x="320" y="74"/>
                      <a:pt x="320" y="74"/>
                      <a:pt x="320" y="74"/>
                    </a:cubicBezTo>
                    <a:cubicBezTo>
                      <a:pt x="319" y="73"/>
                      <a:pt x="319" y="71"/>
                      <a:pt x="319" y="70"/>
                    </a:cubicBezTo>
                    <a:cubicBezTo>
                      <a:pt x="319" y="68"/>
                      <a:pt x="319" y="67"/>
                      <a:pt x="320" y="66"/>
                    </a:cubicBezTo>
                    <a:cubicBezTo>
                      <a:pt x="320" y="64"/>
                      <a:pt x="321" y="60"/>
                      <a:pt x="320" y="59"/>
                    </a:cubicBezTo>
                    <a:cubicBezTo>
                      <a:pt x="318" y="52"/>
                      <a:pt x="318" y="52"/>
                      <a:pt x="318" y="52"/>
                    </a:cubicBezTo>
                    <a:cubicBezTo>
                      <a:pt x="318" y="51"/>
                      <a:pt x="318" y="50"/>
                      <a:pt x="318" y="49"/>
                    </a:cubicBezTo>
                    <a:cubicBezTo>
                      <a:pt x="319" y="49"/>
                      <a:pt x="319" y="48"/>
                      <a:pt x="319" y="47"/>
                    </a:cubicBezTo>
                    <a:cubicBezTo>
                      <a:pt x="318" y="47"/>
                      <a:pt x="317" y="46"/>
                      <a:pt x="317" y="45"/>
                    </a:cubicBezTo>
                    <a:cubicBezTo>
                      <a:pt x="316" y="44"/>
                      <a:pt x="315" y="43"/>
                      <a:pt x="315" y="42"/>
                    </a:cubicBezTo>
                    <a:cubicBezTo>
                      <a:pt x="315" y="41"/>
                      <a:pt x="316" y="40"/>
                      <a:pt x="316" y="40"/>
                    </a:cubicBezTo>
                    <a:cubicBezTo>
                      <a:pt x="314" y="42"/>
                      <a:pt x="314" y="42"/>
                      <a:pt x="314" y="42"/>
                    </a:cubicBezTo>
                    <a:cubicBezTo>
                      <a:pt x="315" y="38"/>
                      <a:pt x="315" y="38"/>
                      <a:pt x="315" y="38"/>
                    </a:cubicBezTo>
                    <a:cubicBezTo>
                      <a:pt x="315" y="38"/>
                      <a:pt x="315" y="38"/>
                      <a:pt x="315" y="38"/>
                    </a:cubicBezTo>
                    <a:cubicBezTo>
                      <a:pt x="314" y="37"/>
                      <a:pt x="313" y="36"/>
                      <a:pt x="312" y="35"/>
                    </a:cubicBezTo>
                    <a:cubicBezTo>
                      <a:pt x="312" y="35"/>
                      <a:pt x="312" y="35"/>
                      <a:pt x="312" y="35"/>
                    </a:cubicBezTo>
                    <a:cubicBezTo>
                      <a:pt x="311" y="34"/>
                      <a:pt x="310" y="33"/>
                      <a:pt x="309" y="32"/>
                    </a:cubicBezTo>
                    <a:cubicBezTo>
                      <a:pt x="308" y="32"/>
                      <a:pt x="308" y="32"/>
                      <a:pt x="308" y="32"/>
                    </a:cubicBezTo>
                    <a:cubicBezTo>
                      <a:pt x="308" y="31"/>
                      <a:pt x="307" y="31"/>
                      <a:pt x="307" y="30"/>
                    </a:cubicBezTo>
                    <a:cubicBezTo>
                      <a:pt x="306" y="29"/>
                      <a:pt x="306" y="29"/>
                      <a:pt x="306" y="29"/>
                    </a:cubicBezTo>
                    <a:cubicBezTo>
                      <a:pt x="305" y="29"/>
                      <a:pt x="305" y="29"/>
                      <a:pt x="305" y="29"/>
                    </a:cubicBezTo>
                    <a:cubicBezTo>
                      <a:pt x="304" y="28"/>
                      <a:pt x="304" y="28"/>
                      <a:pt x="304" y="28"/>
                    </a:cubicBezTo>
                    <a:cubicBezTo>
                      <a:pt x="306" y="26"/>
                      <a:pt x="306" y="26"/>
                      <a:pt x="306" y="26"/>
                    </a:cubicBezTo>
                    <a:cubicBezTo>
                      <a:pt x="301" y="24"/>
                      <a:pt x="296" y="22"/>
                      <a:pt x="290" y="22"/>
                    </a:cubicBezTo>
                    <a:cubicBezTo>
                      <a:pt x="290" y="22"/>
                      <a:pt x="289" y="22"/>
                      <a:pt x="289" y="22"/>
                    </a:cubicBezTo>
                    <a:cubicBezTo>
                      <a:pt x="290" y="23"/>
                      <a:pt x="290" y="25"/>
                      <a:pt x="290" y="26"/>
                    </a:cubicBezTo>
                    <a:cubicBezTo>
                      <a:pt x="289" y="25"/>
                      <a:pt x="289" y="24"/>
                      <a:pt x="289" y="22"/>
                    </a:cubicBezTo>
                    <a:cubicBezTo>
                      <a:pt x="288" y="18"/>
                      <a:pt x="287" y="17"/>
                      <a:pt x="285" y="17"/>
                    </a:cubicBezTo>
                    <a:cubicBezTo>
                      <a:pt x="284" y="17"/>
                      <a:pt x="284" y="17"/>
                      <a:pt x="282" y="17"/>
                    </a:cubicBezTo>
                    <a:cubicBezTo>
                      <a:pt x="275" y="20"/>
                      <a:pt x="267" y="23"/>
                      <a:pt x="259" y="24"/>
                    </a:cubicBezTo>
                    <a:cubicBezTo>
                      <a:pt x="254" y="24"/>
                      <a:pt x="249" y="24"/>
                      <a:pt x="244" y="24"/>
                    </a:cubicBezTo>
                    <a:cubicBezTo>
                      <a:pt x="244" y="24"/>
                      <a:pt x="244" y="24"/>
                      <a:pt x="243" y="24"/>
                    </a:cubicBezTo>
                    <a:cubicBezTo>
                      <a:pt x="241" y="24"/>
                      <a:pt x="236" y="20"/>
                      <a:pt x="233" y="19"/>
                    </a:cubicBezTo>
                    <a:cubicBezTo>
                      <a:pt x="229" y="17"/>
                      <a:pt x="227" y="16"/>
                      <a:pt x="225" y="12"/>
                    </a:cubicBezTo>
                    <a:cubicBezTo>
                      <a:pt x="223" y="9"/>
                      <a:pt x="221" y="6"/>
                      <a:pt x="219" y="2"/>
                    </a:cubicBezTo>
                    <a:cubicBezTo>
                      <a:pt x="219" y="3"/>
                      <a:pt x="219" y="3"/>
                      <a:pt x="219" y="3"/>
                    </a:cubicBezTo>
                    <a:cubicBezTo>
                      <a:pt x="220" y="2"/>
                      <a:pt x="221" y="1"/>
                      <a:pt x="221" y="1"/>
                    </a:cubicBezTo>
                    <a:cubicBezTo>
                      <a:pt x="220" y="0"/>
                      <a:pt x="219" y="0"/>
                      <a:pt x="2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265"/>
              <p:cNvSpPr/>
              <p:nvPr/>
            </p:nvSpPr>
            <p:spPr bwMode="auto">
              <a:xfrm>
                <a:off x="2874391" y="6371566"/>
                <a:ext cx="689117" cy="486435"/>
              </a:xfrm>
              <a:custGeom>
                <a:gdLst>
                  <a:gd name="T0" fmla="*/ 217 w 217"/>
                  <a:gd name="T1" fmla="*/ 0 h 153"/>
                  <a:gd name="T2" fmla="*/ 91 w 217"/>
                  <a:gd name="T3" fmla="*/ 0 h 153"/>
                  <a:gd name="T4" fmla="*/ 76 w 217"/>
                  <a:gd name="T5" fmla="*/ 29 h 153"/>
                  <a:gd name="T6" fmla="*/ 59 w 217"/>
                  <a:gd name="T7" fmla="*/ 39 h 153"/>
                  <a:gd name="T8" fmla="*/ 55 w 217"/>
                  <a:gd name="T9" fmla="*/ 43 h 153"/>
                  <a:gd name="T10" fmla="*/ 47 w 217"/>
                  <a:gd name="T11" fmla="*/ 63 h 153"/>
                  <a:gd name="T12" fmla="*/ 41 w 217"/>
                  <a:gd name="T13" fmla="*/ 89 h 153"/>
                  <a:gd name="T14" fmla="*/ 34 w 217"/>
                  <a:gd name="T15" fmla="*/ 95 h 153"/>
                  <a:gd name="T16" fmla="*/ 26 w 217"/>
                  <a:gd name="T17" fmla="*/ 103 h 153"/>
                  <a:gd name="T18" fmla="*/ 15 w 217"/>
                  <a:gd name="T19" fmla="*/ 118 h 153"/>
                  <a:gd name="T20" fmla="*/ 5 w 217"/>
                  <a:gd name="T21" fmla="*/ 138 h 153"/>
                  <a:gd name="T22" fmla="*/ 0 w 217"/>
                  <a:gd name="T23" fmla="*/ 151 h 153"/>
                  <a:gd name="T24" fmla="*/ 0 w 217"/>
                  <a:gd name="T25" fmla="*/ 153 h 153"/>
                  <a:gd name="T26" fmla="*/ 91 w 217"/>
                  <a:gd name="T27" fmla="*/ 153 h 153"/>
                  <a:gd name="T28" fmla="*/ 91 w 217"/>
                  <a:gd name="T29" fmla="*/ 153 h 153"/>
                  <a:gd name="T30" fmla="*/ 91 w 217"/>
                  <a:gd name="T31" fmla="*/ 152 h 153"/>
                  <a:gd name="T32" fmla="*/ 90 w 217"/>
                  <a:gd name="T33" fmla="*/ 151 h 153"/>
                  <a:gd name="T34" fmla="*/ 92 w 217"/>
                  <a:gd name="T35" fmla="*/ 141 h 153"/>
                  <a:gd name="T36" fmla="*/ 102 w 217"/>
                  <a:gd name="T37" fmla="*/ 130 h 153"/>
                  <a:gd name="T38" fmla="*/ 105 w 217"/>
                  <a:gd name="T39" fmla="*/ 128 h 153"/>
                  <a:gd name="T40" fmla="*/ 107 w 217"/>
                  <a:gd name="T41" fmla="*/ 127 h 153"/>
                  <a:gd name="T42" fmla="*/ 111 w 217"/>
                  <a:gd name="T43" fmla="*/ 126 h 153"/>
                  <a:gd name="T44" fmla="*/ 116 w 217"/>
                  <a:gd name="T45" fmla="*/ 124 h 153"/>
                  <a:gd name="T46" fmla="*/ 119 w 217"/>
                  <a:gd name="T47" fmla="*/ 123 h 153"/>
                  <a:gd name="T48" fmla="*/ 119 w 217"/>
                  <a:gd name="T49" fmla="*/ 123 h 153"/>
                  <a:gd name="T50" fmla="*/ 122 w 217"/>
                  <a:gd name="T51" fmla="*/ 122 h 153"/>
                  <a:gd name="T52" fmla="*/ 122 w 217"/>
                  <a:gd name="T53" fmla="*/ 112 h 153"/>
                  <a:gd name="T54" fmla="*/ 122 w 217"/>
                  <a:gd name="T55" fmla="*/ 111 h 153"/>
                  <a:gd name="T56" fmla="*/ 122 w 217"/>
                  <a:gd name="T57" fmla="*/ 108 h 153"/>
                  <a:gd name="T58" fmla="*/ 122 w 217"/>
                  <a:gd name="T59" fmla="*/ 52 h 153"/>
                  <a:gd name="T60" fmla="*/ 125 w 217"/>
                  <a:gd name="T61" fmla="*/ 45 h 153"/>
                  <a:gd name="T62" fmla="*/ 126 w 217"/>
                  <a:gd name="T63" fmla="*/ 45 h 153"/>
                  <a:gd name="T64" fmla="*/ 129 w 217"/>
                  <a:gd name="T65" fmla="*/ 44 h 153"/>
                  <a:gd name="T66" fmla="*/ 130 w 217"/>
                  <a:gd name="T67" fmla="*/ 44 h 153"/>
                  <a:gd name="T68" fmla="*/ 132 w 217"/>
                  <a:gd name="T69" fmla="*/ 44 h 153"/>
                  <a:gd name="T70" fmla="*/ 217 w 217"/>
                  <a:gd name="T71" fmla="*/ 44 h 153"/>
                  <a:gd name="T72" fmla="*/ 217 w 217"/>
                  <a:gd name="T73" fmla="*/ 38 h 153"/>
                  <a:gd name="T74" fmla="*/ 217 w 217"/>
                  <a:gd name="T75" fmla="*/ 38 h 153"/>
                  <a:gd name="T76" fmla="*/ 216 w 217"/>
                  <a:gd name="T77" fmla="*/ 33 h 153"/>
                  <a:gd name="T78" fmla="*/ 216 w 217"/>
                  <a:gd name="T79" fmla="*/ 2 h 153"/>
                  <a:gd name="T80" fmla="*/ 217 w 217"/>
                  <a:gd name="T81" fmla="*/ 2 h 153"/>
                  <a:gd name="T82" fmla="*/ 217 w 217"/>
                  <a:gd name="T83" fmla="*/ 0 h 1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6" h="153">
                    <a:moveTo>
                      <a:pt x="217" y="0"/>
                    </a:moveTo>
                    <a:cubicBezTo>
                      <a:pt x="91" y="0"/>
                      <a:pt x="91" y="0"/>
                      <a:pt x="91" y="0"/>
                    </a:cubicBezTo>
                    <a:cubicBezTo>
                      <a:pt x="87" y="10"/>
                      <a:pt x="84" y="24"/>
                      <a:pt x="76" y="29"/>
                    </a:cubicBezTo>
                    <a:cubicBezTo>
                      <a:pt x="71" y="33"/>
                      <a:pt x="65" y="36"/>
                      <a:pt x="59" y="39"/>
                    </a:cubicBezTo>
                    <a:cubicBezTo>
                      <a:pt x="58" y="40"/>
                      <a:pt x="55" y="41"/>
                      <a:pt x="55" y="43"/>
                    </a:cubicBezTo>
                    <a:cubicBezTo>
                      <a:pt x="54" y="51"/>
                      <a:pt x="50" y="57"/>
                      <a:pt x="47" y="63"/>
                    </a:cubicBezTo>
                    <a:cubicBezTo>
                      <a:pt x="43" y="71"/>
                      <a:pt x="45" y="82"/>
                      <a:pt x="41" y="89"/>
                    </a:cubicBezTo>
                    <a:cubicBezTo>
                      <a:pt x="39" y="93"/>
                      <a:pt x="36" y="92"/>
                      <a:pt x="34" y="95"/>
                    </a:cubicBezTo>
                    <a:cubicBezTo>
                      <a:pt x="31" y="98"/>
                      <a:pt x="29" y="101"/>
                      <a:pt x="26" y="103"/>
                    </a:cubicBezTo>
                    <a:cubicBezTo>
                      <a:pt x="22" y="108"/>
                      <a:pt x="18" y="112"/>
                      <a:pt x="15" y="118"/>
                    </a:cubicBezTo>
                    <a:cubicBezTo>
                      <a:pt x="11" y="124"/>
                      <a:pt x="7" y="131"/>
                      <a:pt x="5" y="138"/>
                    </a:cubicBezTo>
                    <a:cubicBezTo>
                      <a:pt x="4" y="142"/>
                      <a:pt x="2" y="146"/>
                      <a:pt x="0" y="151"/>
                    </a:cubicBezTo>
                    <a:cubicBezTo>
                      <a:pt x="0" y="151"/>
                      <a:pt x="0" y="152"/>
                      <a:pt x="0" y="153"/>
                    </a:cubicBezTo>
                    <a:cubicBezTo>
                      <a:pt x="91" y="153"/>
                      <a:pt x="91" y="153"/>
                      <a:pt x="91" y="153"/>
                    </a:cubicBezTo>
                    <a:cubicBezTo>
                      <a:pt x="91" y="153"/>
                      <a:pt x="91" y="153"/>
                      <a:pt x="91" y="153"/>
                    </a:cubicBezTo>
                    <a:cubicBezTo>
                      <a:pt x="91" y="152"/>
                      <a:pt x="91" y="152"/>
                      <a:pt x="91" y="152"/>
                    </a:cubicBezTo>
                    <a:cubicBezTo>
                      <a:pt x="90" y="151"/>
                      <a:pt x="90" y="151"/>
                      <a:pt x="90" y="151"/>
                    </a:cubicBezTo>
                    <a:cubicBezTo>
                      <a:pt x="89" y="146"/>
                      <a:pt x="90" y="143"/>
                      <a:pt x="92" y="141"/>
                    </a:cubicBezTo>
                    <a:cubicBezTo>
                      <a:pt x="95" y="136"/>
                      <a:pt x="98" y="132"/>
                      <a:pt x="102" y="130"/>
                    </a:cubicBezTo>
                    <a:cubicBezTo>
                      <a:pt x="103" y="129"/>
                      <a:pt x="104" y="129"/>
                      <a:pt x="105" y="128"/>
                    </a:cubicBezTo>
                    <a:cubicBezTo>
                      <a:pt x="105" y="128"/>
                      <a:pt x="106" y="128"/>
                      <a:pt x="107" y="127"/>
                    </a:cubicBezTo>
                    <a:cubicBezTo>
                      <a:pt x="108" y="127"/>
                      <a:pt x="109" y="126"/>
                      <a:pt x="111" y="126"/>
                    </a:cubicBezTo>
                    <a:cubicBezTo>
                      <a:pt x="113" y="126"/>
                      <a:pt x="114" y="125"/>
                      <a:pt x="116" y="124"/>
                    </a:cubicBezTo>
                    <a:cubicBezTo>
                      <a:pt x="118" y="124"/>
                      <a:pt x="118" y="124"/>
                      <a:pt x="119" y="123"/>
                    </a:cubicBezTo>
                    <a:cubicBezTo>
                      <a:pt x="119" y="123"/>
                      <a:pt x="119" y="123"/>
                      <a:pt x="119" y="123"/>
                    </a:cubicBezTo>
                    <a:cubicBezTo>
                      <a:pt x="120" y="123"/>
                      <a:pt x="121" y="123"/>
                      <a:pt x="122" y="122"/>
                    </a:cubicBezTo>
                    <a:cubicBezTo>
                      <a:pt x="123" y="120"/>
                      <a:pt x="122" y="115"/>
                      <a:pt x="122" y="112"/>
                    </a:cubicBezTo>
                    <a:cubicBezTo>
                      <a:pt x="122" y="111"/>
                      <a:pt x="122" y="111"/>
                      <a:pt x="122" y="111"/>
                    </a:cubicBezTo>
                    <a:cubicBezTo>
                      <a:pt x="122" y="110"/>
                      <a:pt x="122" y="109"/>
                      <a:pt x="122" y="108"/>
                    </a:cubicBezTo>
                    <a:cubicBezTo>
                      <a:pt x="122" y="52"/>
                      <a:pt x="122" y="52"/>
                      <a:pt x="122" y="52"/>
                    </a:cubicBezTo>
                    <a:cubicBezTo>
                      <a:pt x="122" y="50"/>
                      <a:pt x="122" y="46"/>
                      <a:pt x="125" y="45"/>
                    </a:cubicBezTo>
                    <a:cubicBezTo>
                      <a:pt x="126" y="45"/>
                      <a:pt x="126" y="45"/>
                      <a:pt x="126" y="45"/>
                    </a:cubicBezTo>
                    <a:cubicBezTo>
                      <a:pt x="127" y="44"/>
                      <a:pt x="128" y="44"/>
                      <a:pt x="129" y="44"/>
                    </a:cubicBezTo>
                    <a:cubicBezTo>
                      <a:pt x="130" y="44"/>
                      <a:pt x="130" y="44"/>
                      <a:pt x="130" y="44"/>
                    </a:cubicBezTo>
                    <a:cubicBezTo>
                      <a:pt x="131" y="44"/>
                      <a:pt x="131" y="44"/>
                      <a:pt x="132" y="44"/>
                    </a:cubicBezTo>
                    <a:cubicBezTo>
                      <a:pt x="217" y="44"/>
                      <a:pt x="217" y="44"/>
                      <a:pt x="217" y="44"/>
                    </a:cubicBezTo>
                    <a:cubicBezTo>
                      <a:pt x="217" y="43"/>
                      <a:pt x="217" y="40"/>
                      <a:pt x="217" y="38"/>
                    </a:cubicBezTo>
                    <a:cubicBezTo>
                      <a:pt x="217" y="38"/>
                      <a:pt x="217" y="38"/>
                      <a:pt x="217" y="38"/>
                    </a:cubicBezTo>
                    <a:cubicBezTo>
                      <a:pt x="217" y="36"/>
                      <a:pt x="216" y="35"/>
                      <a:pt x="216" y="33"/>
                    </a:cubicBezTo>
                    <a:cubicBezTo>
                      <a:pt x="216" y="2"/>
                      <a:pt x="216" y="2"/>
                      <a:pt x="216" y="2"/>
                    </a:cubicBezTo>
                    <a:cubicBezTo>
                      <a:pt x="217" y="2"/>
                      <a:pt x="217" y="2"/>
                      <a:pt x="217" y="2"/>
                    </a:cubicBezTo>
                    <a:cubicBezTo>
                      <a:pt x="217" y="0"/>
                      <a:pt x="217" y="0"/>
                      <a:pt x="2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266"/>
              <p:cNvSpPr/>
              <p:nvPr/>
            </p:nvSpPr>
            <p:spPr bwMode="auto">
              <a:xfrm>
                <a:off x="3183940" y="6419472"/>
                <a:ext cx="696487" cy="438529"/>
              </a:xfrm>
              <a:custGeom>
                <a:gdLst>
                  <a:gd name="T0" fmla="*/ 126 w 219"/>
                  <a:gd name="T1" fmla="*/ 0 h 138"/>
                  <a:gd name="T2" fmla="*/ 126 w 219"/>
                  <a:gd name="T3" fmla="*/ 12 h 138"/>
                  <a:gd name="T4" fmla="*/ 126 w 219"/>
                  <a:gd name="T5" fmla="*/ 18 h 138"/>
                  <a:gd name="T6" fmla="*/ 127 w 219"/>
                  <a:gd name="T7" fmla="*/ 21 h 138"/>
                  <a:gd name="T8" fmla="*/ 127 w 219"/>
                  <a:gd name="T9" fmla="*/ 22 h 138"/>
                  <a:gd name="T10" fmla="*/ 126 w 219"/>
                  <a:gd name="T11" fmla="*/ 32 h 138"/>
                  <a:gd name="T12" fmla="*/ 123 w 219"/>
                  <a:gd name="T13" fmla="*/ 36 h 138"/>
                  <a:gd name="T14" fmla="*/ 35 w 219"/>
                  <a:gd name="T15" fmla="*/ 36 h 138"/>
                  <a:gd name="T16" fmla="*/ 32 w 219"/>
                  <a:gd name="T17" fmla="*/ 36 h 138"/>
                  <a:gd name="T18" fmla="*/ 32 w 219"/>
                  <a:gd name="T19" fmla="*/ 36 h 138"/>
                  <a:gd name="T20" fmla="*/ 32 w 219"/>
                  <a:gd name="T21" fmla="*/ 37 h 138"/>
                  <a:gd name="T22" fmla="*/ 32 w 219"/>
                  <a:gd name="T23" fmla="*/ 93 h 138"/>
                  <a:gd name="T24" fmla="*/ 32 w 219"/>
                  <a:gd name="T25" fmla="*/ 96 h 138"/>
                  <a:gd name="T26" fmla="*/ 32 w 219"/>
                  <a:gd name="T27" fmla="*/ 96 h 138"/>
                  <a:gd name="T28" fmla="*/ 32 w 219"/>
                  <a:gd name="T29" fmla="*/ 110 h 138"/>
                  <a:gd name="T30" fmla="*/ 30 w 219"/>
                  <a:gd name="T31" fmla="*/ 113 h 138"/>
                  <a:gd name="T32" fmla="*/ 24 w 219"/>
                  <a:gd name="T33" fmla="*/ 115 h 138"/>
                  <a:gd name="T34" fmla="*/ 22 w 219"/>
                  <a:gd name="T35" fmla="*/ 116 h 138"/>
                  <a:gd name="T36" fmla="*/ 15 w 219"/>
                  <a:gd name="T37" fmla="*/ 118 h 138"/>
                  <a:gd name="T38" fmla="*/ 12 w 219"/>
                  <a:gd name="T39" fmla="*/ 119 h 138"/>
                  <a:gd name="T40" fmla="*/ 11 w 219"/>
                  <a:gd name="T41" fmla="*/ 119 h 138"/>
                  <a:gd name="T42" fmla="*/ 11 w 219"/>
                  <a:gd name="T43" fmla="*/ 119 h 138"/>
                  <a:gd name="T44" fmla="*/ 9 w 219"/>
                  <a:gd name="T45" fmla="*/ 121 h 138"/>
                  <a:gd name="T46" fmla="*/ 1 w 219"/>
                  <a:gd name="T47" fmla="*/ 129 h 138"/>
                  <a:gd name="T48" fmla="*/ 0 w 219"/>
                  <a:gd name="T49" fmla="*/ 134 h 138"/>
                  <a:gd name="T50" fmla="*/ 1 w 219"/>
                  <a:gd name="T51" fmla="*/ 137 h 138"/>
                  <a:gd name="T52" fmla="*/ 1 w 219"/>
                  <a:gd name="T53" fmla="*/ 138 h 138"/>
                  <a:gd name="T54" fmla="*/ 188 w 219"/>
                  <a:gd name="T55" fmla="*/ 138 h 138"/>
                  <a:gd name="T56" fmla="*/ 184 w 219"/>
                  <a:gd name="T57" fmla="*/ 104 h 138"/>
                  <a:gd name="T58" fmla="*/ 180 w 219"/>
                  <a:gd name="T59" fmla="*/ 78 h 138"/>
                  <a:gd name="T60" fmla="*/ 179 w 219"/>
                  <a:gd name="T61" fmla="*/ 64 h 138"/>
                  <a:gd name="T62" fmla="*/ 178 w 219"/>
                  <a:gd name="T63" fmla="*/ 60 h 138"/>
                  <a:gd name="T64" fmla="*/ 219 w 219"/>
                  <a:gd name="T65" fmla="*/ 60 h 138"/>
                  <a:gd name="T66" fmla="*/ 202 w 219"/>
                  <a:gd name="T67" fmla="*/ 48 h 138"/>
                  <a:gd name="T68" fmla="*/ 198 w 219"/>
                  <a:gd name="T69" fmla="*/ 46 h 138"/>
                  <a:gd name="T70" fmla="*/ 177 w 219"/>
                  <a:gd name="T71" fmla="*/ 32 h 138"/>
                  <a:gd name="T72" fmla="*/ 175 w 219"/>
                  <a:gd name="T73" fmla="*/ 31 h 138"/>
                  <a:gd name="T74" fmla="*/ 151 w 219"/>
                  <a:gd name="T75" fmla="*/ 16 h 138"/>
                  <a:gd name="T76" fmla="*/ 151 w 219"/>
                  <a:gd name="T77" fmla="*/ 15 h 138"/>
                  <a:gd name="T78" fmla="*/ 126 w 219"/>
                  <a:gd name="T79" fmla="*/ 0 h 1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9" h="138">
                    <a:moveTo>
                      <a:pt x="126" y="0"/>
                    </a:moveTo>
                    <a:cubicBezTo>
                      <a:pt x="126" y="4"/>
                      <a:pt x="126" y="8"/>
                      <a:pt x="126" y="12"/>
                    </a:cubicBezTo>
                    <a:cubicBezTo>
                      <a:pt x="126" y="18"/>
                      <a:pt x="126" y="18"/>
                      <a:pt x="126" y="18"/>
                    </a:cubicBezTo>
                    <a:cubicBezTo>
                      <a:pt x="126" y="19"/>
                      <a:pt x="126" y="20"/>
                      <a:pt x="127" y="21"/>
                    </a:cubicBezTo>
                    <a:cubicBezTo>
                      <a:pt x="127" y="22"/>
                      <a:pt x="127" y="22"/>
                      <a:pt x="127" y="22"/>
                    </a:cubicBezTo>
                    <a:cubicBezTo>
                      <a:pt x="127" y="25"/>
                      <a:pt x="127" y="29"/>
                      <a:pt x="126" y="32"/>
                    </a:cubicBezTo>
                    <a:cubicBezTo>
                      <a:pt x="126" y="33"/>
                      <a:pt x="126" y="36"/>
                      <a:pt x="123" y="36"/>
                    </a:cubicBezTo>
                    <a:cubicBezTo>
                      <a:pt x="35" y="36"/>
                      <a:pt x="35" y="36"/>
                      <a:pt x="35" y="36"/>
                    </a:cubicBezTo>
                    <a:cubicBezTo>
                      <a:pt x="34" y="36"/>
                      <a:pt x="33" y="36"/>
                      <a:pt x="32" y="36"/>
                    </a:cubicBezTo>
                    <a:cubicBezTo>
                      <a:pt x="32" y="36"/>
                      <a:pt x="32" y="36"/>
                      <a:pt x="32" y="36"/>
                    </a:cubicBezTo>
                    <a:cubicBezTo>
                      <a:pt x="32" y="37"/>
                      <a:pt x="32" y="37"/>
                      <a:pt x="32" y="37"/>
                    </a:cubicBezTo>
                    <a:cubicBezTo>
                      <a:pt x="32" y="93"/>
                      <a:pt x="32" y="93"/>
                      <a:pt x="32" y="93"/>
                    </a:cubicBezTo>
                    <a:cubicBezTo>
                      <a:pt x="32" y="94"/>
                      <a:pt x="32" y="95"/>
                      <a:pt x="32" y="96"/>
                    </a:cubicBezTo>
                    <a:cubicBezTo>
                      <a:pt x="32" y="96"/>
                      <a:pt x="32" y="96"/>
                      <a:pt x="32" y="96"/>
                    </a:cubicBezTo>
                    <a:cubicBezTo>
                      <a:pt x="32" y="102"/>
                      <a:pt x="33" y="107"/>
                      <a:pt x="32" y="110"/>
                    </a:cubicBezTo>
                    <a:cubicBezTo>
                      <a:pt x="31" y="111"/>
                      <a:pt x="31" y="112"/>
                      <a:pt x="30" y="113"/>
                    </a:cubicBezTo>
                    <a:cubicBezTo>
                      <a:pt x="29" y="114"/>
                      <a:pt x="27" y="114"/>
                      <a:pt x="24" y="115"/>
                    </a:cubicBezTo>
                    <a:cubicBezTo>
                      <a:pt x="23" y="115"/>
                      <a:pt x="23" y="115"/>
                      <a:pt x="22" y="116"/>
                    </a:cubicBezTo>
                    <a:cubicBezTo>
                      <a:pt x="20" y="117"/>
                      <a:pt x="18" y="117"/>
                      <a:pt x="15" y="118"/>
                    </a:cubicBezTo>
                    <a:cubicBezTo>
                      <a:pt x="14" y="118"/>
                      <a:pt x="14" y="118"/>
                      <a:pt x="12" y="119"/>
                    </a:cubicBezTo>
                    <a:cubicBezTo>
                      <a:pt x="11" y="119"/>
                      <a:pt x="11" y="119"/>
                      <a:pt x="11" y="119"/>
                    </a:cubicBezTo>
                    <a:cubicBezTo>
                      <a:pt x="11" y="119"/>
                      <a:pt x="11" y="119"/>
                      <a:pt x="11" y="119"/>
                    </a:cubicBezTo>
                    <a:cubicBezTo>
                      <a:pt x="10" y="120"/>
                      <a:pt x="10" y="120"/>
                      <a:pt x="9" y="121"/>
                    </a:cubicBezTo>
                    <a:cubicBezTo>
                      <a:pt x="6" y="122"/>
                      <a:pt x="3" y="125"/>
                      <a:pt x="1" y="129"/>
                    </a:cubicBezTo>
                    <a:cubicBezTo>
                      <a:pt x="0" y="131"/>
                      <a:pt x="0" y="132"/>
                      <a:pt x="0" y="134"/>
                    </a:cubicBezTo>
                    <a:cubicBezTo>
                      <a:pt x="0" y="135"/>
                      <a:pt x="1" y="136"/>
                      <a:pt x="1" y="137"/>
                    </a:cubicBezTo>
                    <a:cubicBezTo>
                      <a:pt x="1" y="137"/>
                      <a:pt x="1" y="138"/>
                      <a:pt x="1" y="138"/>
                    </a:cubicBezTo>
                    <a:cubicBezTo>
                      <a:pt x="188" y="138"/>
                      <a:pt x="188" y="138"/>
                      <a:pt x="188" y="138"/>
                    </a:cubicBezTo>
                    <a:cubicBezTo>
                      <a:pt x="186" y="127"/>
                      <a:pt x="185" y="115"/>
                      <a:pt x="184" y="104"/>
                    </a:cubicBezTo>
                    <a:cubicBezTo>
                      <a:pt x="180" y="78"/>
                      <a:pt x="180" y="78"/>
                      <a:pt x="180" y="78"/>
                    </a:cubicBezTo>
                    <a:cubicBezTo>
                      <a:pt x="180" y="73"/>
                      <a:pt x="179" y="69"/>
                      <a:pt x="179" y="64"/>
                    </a:cubicBezTo>
                    <a:cubicBezTo>
                      <a:pt x="178" y="60"/>
                      <a:pt x="178" y="60"/>
                      <a:pt x="178" y="60"/>
                    </a:cubicBezTo>
                    <a:cubicBezTo>
                      <a:pt x="219" y="60"/>
                      <a:pt x="219" y="60"/>
                      <a:pt x="219" y="60"/>
                    </a:cubicBezTo>
                    <a:cubicBezTo>
                      <a:pt x="214" y="56"/>
                      <a:pt x="208" y="52"/>
                      <a:pt x="202" y="48"/>
                    </a:cubicBezTo>
                    <a:cubicBezTo>
                      <a:pt x="201" y="47"/>
                      <a:pt x="199" y="47"/>
                      <a:pt x="198" y="46"/>
                    </a:cubicBezTo>
                    <a:cubicBezTo>
                      <a:pt x="191" y="41"/>
                      <a:pt x="184" y="37"/>
                      <a:pt x="177" y="32"/>
                    </a:cubicBezTo>
                    <a:cubicBezTo>
                      <a:pt x="176" y="32"/>
                      <a:pt x="175" y="31"/>
                      <a:pt x="175" y="31"/>
                    </a:cubicBezTo>
                    <a:cubicBezTo>
                      <a:pt x="167" y="26"/>
                      <a:pt x="159" y="21"/>
                      <a:pt x="151" y="16"/>
                    </a:cubicBezTo>
                    <a:cubicBezTo>
                      <a:pt x="151" y="15"/>
                      <a:pt x="151" y="15"/>
                      <a:pt x="151" y="15"/>
                    </a:cubicBezTo>
                    <a:cubicBezTo>
                      <a:pt x="143" y="10"/>
                      <a:pt x="135" y="5"/>
                      <a:pt x="1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267"/>
              <p:cNvSpPr/>
              <p:nvPr/>
            </p:nvSpPr>
            <p:spPr bwMode="auto">
              <a:xfrm>
                <a:off x="3515601" y="4702208"/>
                <a:ext cx="1142386" cy="825466"/>
              </a:xfrm>
              <a:custGeom>
                <a:gdLst>
                  <a:gd name="T0" fmla="*/ 31 w 359"/>
                  <a:gd name="T1" fmla="*/ 10 h 260"/>
                  <a:gd name="T2" fmla="*/ 19 w 359"/>
                  <a:gd name="T3" fmla="*/ 16 h 260"/>
                  <a:gd name="T4" fmla="*/ 6 w 359"/>
                  <a:gd name="T5" fmla="*/ 21 h 260"/>
                  <a:gd name="T6" fmla="*/ 1 w 359"/>
                  <a:gd name="T7" fmla="*/ 28 h 260"/>
                  <a:gd name="T8" fmla="*/ 12 w 359"/>
                  <a:gd name="T9" fmla="*/ 45 h 260"/>
                  <a:gd name="T10" fmla="*/ 17 w 359"/>
                  <a:gd name="T11" fmla="*/ 46 h 260"/>
                  <a:gd name="T12" fmla="*/ 12 w 359"/>
                  <a:gd name="T13" fmla="*/ 57 h 260"/>
                  <a:gd name="T14" fmla="*/ 31 w 359"/>
                  <a:gd name="T15" fmla="*/ 53 h 260"/>
                  <a:gd name="T16" fmla="*/ 40 w 359"/>
                  <a:gd name="T17" fmla="*/ 60 h 260"/>
                  <a:gd name="T18" fmla="*/ 54 w 359"/>
                  <a:gd name="T19" fmla="*/ 62 h 260"/>
                  <a:gd name="T20" fmla="*/ 67 w 359"/>
                  <a:gd name="T21" fmla="*/ 59 h 260"/>
                  <a:gd name="T22" fmla="*/ 72 w 359"/>
                  <a:gd name="T23" fmla="*/ 59 h 260"/>
                  <a:gd name="T24" fmla="*/ 82 w 359"/>
                  <a:gd name="T25" fmla="*/ 66 h 260"/>
                  <a:gd name="T26" fmla="*/ 86 w 359"/>
                  <a:gd name="T27" fmla="*/ 70 h 260"/>
                  <a:gd name="T28" fmla="*/ 78 w 359"/>
                  <a:gd name="T29" fmla="*/ 90 h 260"/>
                  <a:gd name="T30" fmla="*/ 72 w 359"/>
                  <a:gd name="T31" fmla="*/ 98 h 260"/>
                  <a:gd name="T32" fmla="*/ 73 w 359"/>
                  <a:gd name="T33" fmla="*/ 120 h 260"/>
                  <a:gd name="T34" fmla="*/ 58 w 359"/>
                  <a:gd name="T35" fmla="*/ 147 h 260"/>
                  <a:gd name="T36" fmla="*/ 64 w 359"/>
                  <a:gd name="T37" fmla="*/ 154 h 260"/>
                  <a:gd name="T38" fmla="*/ 64 w 359"/>
                  <a:gd name="T39" fmla="*/ 170 h 260"/>
                  <a:gd name="T40" fmla="*/ 60 w 359"/>
                  <a:gd name="T41" fmla="*/ 179 h 260"/>
                  <a:gd name="T42" fmla="*/ 71 w 359"/>
                  <a:gd name="T43" fmla="*/ 184 h 260"/>
                  <a:gd name="T44" fmla="*/ 60 w 359"/>
                  <a:gd name="T45" fmla="*/ 198 h 260"/>
                  <a:gd name="T46" fmla="*/ 63 w 359"/>
                  <a:gd name="T47" fmla="*/ 221 h 260"/>
                  <a:gd name="T48" fmla="*/ 75 w 359"/>
                  <a:gd name="T49" fmla="*/ 228 h 260"/>
                  <a:gd name="T50" fmla="*/ 87 w 359"/>
                  <a:gd name="T51" fmla="*/ 231 h 260"/>
                  <a:gd name="T52" fmla="*/ 105 w 359"/>
                  <a:gd name="T53" fmla="*/ 260 h 260"/>
                  <a:gd name="T54" fmla="*/ 118 w 359"/>
                  <a:gd name="T55" fmla="*/ 249 h 260"/>
                  <a:gd name="T56" fmla="*/ 154 w 359"/>
                  <a:gd name="T57" fmla="*/ 237 h 260"/>
                  <a:gd name="T58" fmla="*/ 186 w 359"/>
                  <a:gd name="T59" fmla="*/ 238 h 260"/>
                  <a:gd name="T60" fmla="*/ 209 w 359"/>
                  <a:gd name="T61" fmla="*/ 229 h 260"/>
                  <a:gd name="T62" fmla="*/ 237 w 359"/>
                  <a:gd name="T63" fmla="*/ 209 h 260"/>
                  <a:gd name="T64" fmla="*/ 244 w 359"/>
                  <a:gd name="T65" fmla="*/ 196 h 260"/>
                  <a:gd name="T66" fmla="*/ 285 w 359"/>
                  <a:gd name="T67" fmla="*/ 102 h 260"/>
                  <a:gd name="T68" fmla="*/ 319 w 359"/>
                  <a:gd name="T69" fmla="*/ 82 h 260"/>
                  <a:gd name="T70" fmla="*/ 353 w 359"/>
                  <a:gd name="T71" fmla="*/ 56 h 260"/>
                  <a:gd name="T72" fmla="*/ 353 w 359"/>
                  <a:gd name="T73" fmla="*/ 50 h 260"/>
                  <a:gd name="T74" fmla="*/ 333 w 359"/>
                  <a:gd name="T75" fmla="*/ 53 h 260"/>
                  <a:gd name="T76" fmla="*/ 311 w 359"/>
                  <a:gd name="T77" fmla="*/ 44 h 260"/>
                  <a:gd name="T78" fmla="*/ 287 w 359"/>
                  <a:gd name="T79" fmla="*/ 36 h 260"/>
                  <a:gd name="T80" fmla="*/ 270 w 359"/>
                  <a:gd name="T81" fmla="*/ 41 h 260"/>
                  <a:gd name="T82" fmla="*/ 257 w 359"/>
                  <a:gd name="T83" fmla="*/ 38 h 260"/>
                  <a:gd name="T84" fmla="*/ 244 w 359"/>
                  <a:gd name="T85" fmla="*/ 34 h 260"/>
                  <a:gd name="T86" fmla="*/ 230 w 359"/>
                  <a:gd name="T87" fmla="*/ 30 h 260"/>
                  <a:gd name="T88" fmla="*/ 221 w 359"/>
                  <a:gd name="T89" fmla="*/ 20 h 260"/>
                  <a:gd name="T90" fmla="*/ 211 w 359"/>
                  <a:gd name="T91" fmla="*/ 17 h 260"/>
                  <a:gd name="T92" fmla="*/ 197 w 359"/>
                  <a:gd name="T93" fmla="*/ 16 h 260"/>
                  <a:gd name="T94" fmla="*/ 168 w 359"/>
                  <a:gd name="T95" fmla="*/ 11 h 260"/>
                  <a:gd name="T96" fmla="*/ 136 w 359"/>
                  <a:gd name="T97" fmla="*/ 13 h 260"/>
                  <a:gd name="T98" fmla="*/ 92 w 359"/>
                  <a:gd name="T99" fmla="*/ 5 h 260"/>
                  <a:gd name="T100" fmla="*/ 48 w 359"/>
                  <a:gd name="T101" fmla="*/ 1 h 2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260">
                    <a:moveTo>
                      <a:pt x="41" y="0"/>
                    </a:moveTo>
                    <a:cubicBezTo>
                      <a:pt x="37" y="2"/>
                      <a:pt x="35" y="3"/>
                      <a:pt x="32" y="6"/>
                    </a:cubicBezTo>
                    <a:cubicBezTo>
                      <a:pt x="31" y="6"/>
                      <a:pt x="30" y="7"/>
                      <a:pt x="29" y="7"/>
                    </a:cubicBezTo>
                    <a:cubicBezTo>
                      <a:pt x="29" y="7"/>
                      <a:pt x="28" y="7"/>
                      <a:pt x="28" y="7"/>
                    </a:cubicBezTo>
                    <a:cubicBezTo>
                      <a:pt x="29" y="9"/>
                      <a:pt x="30" y="10"/>
                      <a:pt x="31" y="10"/>
                    </a:cubicBezTo>
                    <a:cubicBezTo>
                      <a:pt x="31" y="10"/>
                      <a:pt x="32" y="10"/>
                      <a:pt x="32" y="9"/>
                    </a:cubicBezTo>
                    <a:cubicBezTo>
                      <a:pt x="32" y="11"/>
                      <a:pt x="31" y="11"/>
                      <a:pt x="32" y="12"/>
                    </a:cubicBezTo>
                    <a:cubicBezTo>
                      <a:pt x="30" y="13"/>
                      <a:pt x="27" y="12"/>
                      <a:pt x="26" y="14"/>
                    </a:cubicBezTo>
                    <a:cubicBezTo>
                      <a:pt x="26" y="14"/>
                      <a:pt x="26" y="14"/>
                      <a:pt x="26" y="14"/>
                    </a:cubicBezTo>
                    <a:cubicBezTo>
                      <a:pt x="23" y="14"/>
                      <a:pt x="22" y="16"/>
                      <a:pt x="19" y="16"/>
                    </a:cubicBezTo>
                    <a:cubicBezTo>
                      <a:pt x="19" y="16"/>
                      <a:pt x="18" y="16"/>
                      <a:pt x="18" y="16"/>
                    </a:cubicBezTo>
                    <a:cubicBezTo>
                      <a:pt x="16" y="16"/>
                      <a:pt x="15" y="15"/>
                      <a:pt x="13" y="15"/>
                    </a:cubicBezTo>
                    <a:cubicBezTo>
                      <a:pt x="13" y="15"/>
                      <a:pt x="13" y="15"/>
                      <a:pt x="13" y="15"/>
                    </a:cubicBezTo>
                    <a:cubicBezTo>
                      <a:pt x="10" y="15"/>
                      <a:pt x="9" y="19"/>
                      <a:pt x="6" y="20"/>
                    </a:cubicBezTo>
                    <a:cubicBezTo>
                      <a:pt x="6" y="20"/>
                      <a:pt x="6" y="21"/>
                      <a:pt x="6" y="21"/>
                    </a:cubicBezTo>
                    <a:cubicBezTo>
                      <a:pt x="6" y="21"/>
                      <a:pt x="5" y="20"/>
                      <a:pt x="5" y="20"/>
                    </a:cubicBezTo>
                    <a:cubicBezTo>
                      <a:pt x="5" y="20"/>
                      <a:pt x="5" y="20"/>
                      <a:pt x="4" y="20"/>
                    </a:cubicBezTo>
                    <a:cubicBezTo>
                      <a:pt x="4" y="20"/>
                      <a:pt x="4" y="20"/>
                      <a:pt x="3" y="21"/>
                    </a:cubicBezTo>
                    <a:cubicBezTo>
                      <a:pt x="2" y="22"/>
                      <a:pt x="2" y="25"/>
                      <a:pt x="0" y="25"/>
                    </a:cubicBezTo>
                    <a:cubicBezTo>
                      <a:pt x="1" y="26"/>
                      <a:pt x="0" y="28"/>
                      <a:pt x="1" y="28"/>
                    </a:cubicBezTo>
                    <a:cubicBezTo>
                      <a:pt x="1" y="31"/>
                      <a:pt x="2" y="32"/>
                      <a:pt x="5" y="34"/>
                    </a:cubicBezTo>
                    <a:cubicBezTo>
                      <a:pt x="8" y="37"/>
                      <a:pt x="8" y="38"/>
                      <a:pt x="6" y="41"/>
                    </a:cubicBezTo>
                    <a:cubicBezTo>
                      <a:pt x="6" y="41"/>
                      <a:pt x="7" y="41"/>
                      <a:pt x="7" y="41"/>
                    </a:cubicBezTo>
                    <a:cubicBezTo>
                      <a:pt x="10" y="41"/>
                      <a:pt x="13" y="39"/>
                      <a:pt x="16" y="37"/>
                    </a:cubicBezTo>
                    <a:cubicBezTo>
                      <a:pt x="15" y="40"/>
                      <a:pt x="14" y="43"/>
                      <a:pt x="12" y="45"/>
                    </a:cubicBezTo>
                    <a:cubicBezTo>
                      <a:pt x="12" y="44"/>
                      <a:pt x="12" y="44"/>
                      <a:pt x="12" y="44"/>
                    </a:cubicBezTo>
                    <a:cubicBezTo>
                      <a:pt x="11" y="44"/>
                      <a:pt x="11" y="44"/>
                      <a:pt x="10" y="45"/>
                    </a:cubicBezTo>
                    <a:cubicBezTo>
                      <a:pt x="12" y="46"/>
                      <a:pt x="13" y="47"/>
                      <a:pt x="14" y="47"/>
                    </a:cubicBezTo>
                    <a:cubicBezTo>
                      <a:pt x="14" y="47"/>
                      <a:pt x="15" y="47"/>
                      <a:pt x="15" y="47"/>
                    </a:cubicBezTo>
                    <a:cubicBezTo>
                      <a:pt x="16" y="47"/>
                      <a:pt x="17" y="46"/>
                      <a:pt x="17" y="46"/>
                    </a:cubicBezTo>
                    <a:cubicBezTo>
                      <a:pt x="18" y="46"/>
                      <a:pt x="18" y="46"/>
                      <a:pt x="18" y="46"/>
                    </a:cubicBezTo>
                    <a:cubicBezTo>
                      <a:pt x="16" y="48"/>
                      <a:pt x="14" y="49"/>
                      <a:pt x="13" y="50"/>
                    </a:cubicBezTo>
                    <a:cubicBezTo>
                      <a:pt x="12" y="52"/>
                      <a:pt x="13" y="52"/>
                      <a:pt x="14" y="52"/>
                    </a:cubicBezTo>
                    <a:cubicBezTo>
                      <a:pt x="15" y="52"/>
                      <a:pt x="17" y="51"/>
                      <a:pt x="18" y="51"/>
                    </a:cubicBezTo>
                    <a:cubicBezTo>
                      <a:pt x="16" y="53"/>
                      <a:pt x="13" y="54"/>
                      <a:pt x="12" y="57"/>
                    </a:cubicBezTo>
                    <a:cubicBezTo>
                      <a:pt x="12" y="58"/>
                      <a:pt x="12" y="60"/>
                      <a:pt x="12" y="61"/>
                    </a:cubicBezTo>
                    <a:cubicBezTo>
                      <a:pt x="15" y="59"/>
                      <a:pt x="20" y="56"/>
                      <a:pt x="23" y="55"/>
                    </a:cubicBezTo>
                    <a:cubicBezTo>
                      <a:pt x="24" y="55"/>
                      <a:pt x="25" y="55"/>
                      <a:pt x="27" y="55"/>
                    </a:cubicBezTo>
                    <a:cubicBezTo>
                      <a:pt x="28" y="54"/>
                      <a:pt x="28" y="54"/>
                      <a:pt x="28" y="54"/>
                    </a:cubicBezTo>
                    <a:cubicBezTo>
                      <a:pt x="29" y="54"/>
                      <a:pt x="30" y="53"/>
                      <a:pt x="31" y="53"/>
                    </a:cubicBezTo>
                    <a:cubicBezTo>
                      <a:pt x="33" y="53"/>
                      <a:pt x="33" y="53"/>
                      <a:pt x="33" y="53"/>
                    </a:cubicBezTo>
                    <a:cubicBezTo>
                      <a:pt x="35" y="54"/>
                      <a:pt x="35" y="54"/>
                      <a:pt x="35" y="54"/>
                    </a:cubicBezTo>
                    <a:cubicBezTo>
                      <a:pt x="36" y="56"/>
                      <a:pt x="38" y="58"/>
                      <a:pt x="37" y="61"/>
                    </a:cubicBezTo>
                    <a:cubicBezTo>
                      <a:pt x="37" y="61"/>
                      <a:pt x="37" y="61"/>
                      <a:pt x="37" y="61"/>
                    </a:cubicBezTo>
                    <a:cubicBezTo>
                      <a:pt x="38" y="60"/>
                      <a:pt x="39" y="60"/>
                      <a:pt x="40" y="60"/>
                    </a:cubicBezTo>
                    <a:cubicBezTo>
                      <a:pt x="42" y="60"/>
                      <a:pt x="44" y="61"/>
                      <a:pt x="45" y="62"/>
                    </a:cubicBezTo>
                    <a:cubicBezTo>
                      <a:pt x="47" y="62"/>
                      <a:pt x="47" y="62"/>
                      <a:pt x="47" y="62"/>
                    </a:cubicBezTo>
                    <a:cubicBezTo>
                      <a:pt x="48" y="63"/>
                      <a:pt x="48" y="63"/>
                      <a:pt x="48" y="63"/>
                    </a:cubicBezTo>
                    <a:cubicBezTo>
                      <a:pt x="48" y="63"/>
                      <a:pt x="49" y="63"/>
                      <a:pt x="49" y="63"/>
                    </a:cubicBezTo>
                    <a:cubicBezTo>
                      <a:pt x="50" y="63"/>
                      <a:pt x="52" y="63"/>
                      <a:pt x="54" y="62"/>
                    </a:cubicBezTo>
                    <a:cubicBezTo>
                      <a:pt x="55" y="62"/>
                      <a:pt x="56" y="62"/>
                      <a:pt x="57" y="62"/>
                    </a:cubicBezTo>
                    <a:cubicBezTo>
                      <a:pt x="58" y="62"/>
                      <a:pt x="58" y="62"/>
                      <a:pt x="58" y="62"/>
                    </a:cubicBezTo>
                    <a:cubicBezTo>
                      <a:pt x="59" y="61"/>
                      <a:pt x="60" y="61"/>
                      <a:pt x="62" y="60"/>
                    </a:cubicBezTo>
                    <a:cubicBezTo>
                      <a:pt x="63" y="59"/>
                      <a:pt x="64" y="59"/>
                      <a:pt x="65" y="59"/>
                    </a:cubicBezTo>
                    <a:cubicBezTo>
                      <a:pt x="66" y="59"/>
                      <a:pt x="66" y="59"/>
                      <a:pt x="67" y="59"/>
                    </a:cubicBezTo>
                    <a:cubicBezTo>
                      <a:pt x="67" y="59"/>
                      <a:pt x="67" y="59"/>
                      <a:pt x="67" y="59"/>
                    </a:cubicBezTo>
                    <a:cubicBezTo>
                      <a:pt x="68" y="59"/>
                      <a:pt x="68" y="59"/>
                      <a:pt x="68" y="59"/>
                    </a:cubicBezTo>
                    <a:cubicBezTo>
                      <a:pt x="69" y="59"/>
                      <a:pt x="69" y="59"/>
                      <a:pt x="69" y="59"/>
                    </a:cubicBezTo>
                    <a:cubicBezTo>
                      <a:pt x="70" y="59"/>
                      <a:pt x="71" y="59"/>
                      <a:pt x="71" y="59"/>
                    </a:cubicBezTo>
                    <a:cubicBezTo>
                      <a:pt x="72" y="59"/>
                      <a:pt x="72" y="59"/>
                      <a:pt x="72" y="59"/>
                    </a:cubicBezTo>
                    <a:cubicBezTo>
                      <a:pt x="73" y="59"/>
                      <a:pt x="74" y="59"/>
                      <a:pt x="74" y="59"/>
                    </a:cubicBezTo>
                    <a:cubicBezTo>
                      <a:pt x="75" y="59"/>
                      <a:pt x="75" y="59"/>
                      <a:pt x="75" y="59"/>
                    </a:cubicBezTo>
                    <a:cubicBezTo>
                      <a:pt x="75" y="59"/>
                      <a:pt x="76" y="59"/>
                      <a:pt x="76" y="59"/>
                    </a:cubicBezTo>
                    <a:cubicBezTo>
                      <a:pt x="78" y="59"/>
                      <a:pt x="79" y="59"/>
                      <a:pt x="80" y="60"/>
                    </a:cubicBezTo>
                    <a:cubicBezTo>
                      <a:pt x="82" y="61"/>
                      <a:pt x="82" y="64"/>
                      <a:pt x="82" y="66"/>
                    </a:cubicBezTo>
                    <a:cubicBezTo>
                      <a:pt x="82" y="66"/>
                      <a:pt x="82" y="67"/>
                      <a:pt x="82" y="67"/>
                    </a:cubicBezTo>
                    <a:cubicBezTo>
                      <a:pt x="82" y="68"/>
                      <a:pt x="82" y="68"/>
                      <a:pt x="82" y="68"/>
                    </a:cubicBezTo>
                    <a:cubicBezTo>
                      <a:pt x="83" y="69"/>
                      <a:pt x="83" y="69"/>
                      <a:pt x="83" y="69"/>
                    </a:cubicBezTo>
                    <a:cubicBezTo>
                      <a:pt x="83" y="69"/>
                      <a:pt x="84" y="69"/>
                      <a:pt x="84" y="69"/>
                    </a:cubicBezTo>
                    <a:cubicBezTo>
                      <a:pt x="86" y="70"/>
                      <a:pt x="86" y="70"/>
                      <a:pt x="86" y="70"/>
                    </a:cubicBezTo>
                    <a:cubicBezTo>
                      <a:pt x="88" y="71"/>
                      <a:pt x="90" y="72"/>
                      <a:pt x="91" y="74"/>
                    </a:cubicBezTo>
                    <a:cubicBezTo>
                      <a:pt x="91" y="76"/>
                      <a:pt x="90" y="78"/>
                      <a:pt x="90" y="80"/>
                    </a:cubicBezTo>
                    <a:cubicBezTo>
                      <a:pt x="88" y="83"/>
                      <a:pt x="86" y="84"/>
                      <a:pt x="84" y="86"/>
                    </a:cubicBezTo>
                    <a:cubicBezTo>
                      <a:pt x="83" y="87"/>
                      <a:pt x="83" y="87"/>
                      <a:pt x="83" y="87"/>
                    </a:cubicBezTo>
                    <a:cubicBezTo>
                      <a:pt x="81" y="89"/>
                      <a:pt x="79" y="90"/>
                      <a:pt x="78" y="90"/>
                    </a:cubicBezTo>
                    <a:cubicBezTo>
                      <a:pt x="76" y="91"/>
                      <a:pt x="75" y="92"/>
                      <a:pt x="74" y="93"/>
                    </a:cubicBezTo>
                    <a:cubicBezTo>
                      <a:pt x="73" y="93"/>
                      <a:pt x="73" y="93"/>
                      <a:pt x="73" y="93"/>
                    </a:cubicBezTo>
                    <a:cubicBezTo>
                      <a:pt x="77" y="99"/>
                      <a:pt x="77" y="99"/>
                      <a:pt x="77" y="99"/>
                    </a:cubicBezTo>
                    <a:cubicBezTo>
                      <a:pt x="72" y="95"/>
                      <a:pt x="72" y="95"/>
                      <a:pt x="72" y="95"/>
                    </a:cubicBezTo>
                    <a:cubicBezTo>
                      <a:pt x="71" y="95"/>
                      <a:pt x="72" y="96"/>
                      <a:pt x="72" y="98"/>
                    </a:cubicBezTo>
                    <a:cubicBezTo>
                      <a:pt x="73" y="99"/>
                      <a:pt x="73" y="100"/>
                      <a:pt x="74" y="101"/>
                    </a:cubicBezTo>
                    <a:cubicBezTo>
                      <a:pt x="75" y="104"/>
                      <a:pt x="74" y="108"/>
                      <a:pt x="74" y="111"/>
                    </a:cubicBezTo>
                    <a:cubicBezTo>
                      <a:pt x="74" y="113"/>
                      <a:pt x="74" y="113"/>
                      <a:pt x="74" y="113"/>
                    </a:cubicBezTo>
                    <a:cubicBezTo>
                      <a:pt x="74" y="115"/>
                      <a:pt x="73" y="116"/>
                      <a:pt x="73" y="118"/>
                    </a:cubicBezTo>
                    <a:cubicBezTo>
                      <a:pt x="73" y="120"/>
                      <a:pt x="73" y="120"/>
                      <a:pt x="73" y="120"/>
                    </a:cubicBezTo>
                    <a:cubicBezTo>
                      <a:pt x="73" y="121"/>
                      <a:pt x="72" y="122"/>
                      <a:pt x="71" y="123"/>
                    </a:cubicBezTo>
                    <a:cubicBezTo>
                      <a:pt x="71" y="126"/>
                      <a:pt x="71" y="139"/>
                      <a:pt x="66" y="143"/>
                    </a:cubicBezTo>
                    <a:cubicBezTo>
                      <a:pt x="64" y="144"/>
                      <a:pt x="63" y="144"/>
                      <a:pt x="60" y="144"/>
                    </a:cubicBezTo>
                    <a:cubicBezTo>
                      <a:pt x="59" y="144"/>
                      <a:pt x="58" y="144"/>
                      <a:pt x="57" y="144"/>
                    </a:cubicBezTo>
                    <a:cubicBezTo>
                      <a:pt x="58" y="147"/>
                      <a:pt x="58" y="147"/>
                      <a:pt x="58" y="147"/>
                    </a:cubicBezTo>
                    <a:cubicBezTo>
                      <a:pt x="59" y="148"/>
                      <a:pt x="59" y="148"/>
                      <a:pt x="60" y="149"/>
                    </a:cubicBezTo>
                    <a:cubicBezTo>
                      <a:pt x="61" y="150"/>
                      <a:pt x="61" y="152"/>
                      <a:pt x="62" y="153"/>
                    </a:cubicBezTo>
                    <a:cubicBezTo>
                      <a:pt x="62" y="153"/>
                      <a:pt x="62" y="153"/>
                      <a:pt x="62" y="153"/>
                    </a:cubicBezTo>
                    <a:cubicBezTo>
                      <a:pt x="62" y="154"/>
                      <a:pt x="62" y="154"/>
                      <a:pt x="62" y="154"/>
                    </a:cubicBezTo>
                    <a:cubicBezTo>
                      <a:pt x="62" y="154"/>
                      <a:pt x="63" y="154"/>
                      <a:pt x="64" y="154"/>
                    </a:cubicBezTo>
                    <a:cubicBezTo>
                      <a:pt x="66" y="155"/>
                      <a:pt x="68" y="156"/>
                      <a:pt x="69" y="159"/>
                    </a:cubicBezTo>
                    <a:cubicBezTo>
                      <a:pt x="70" y="160"/>
                      <a:pt x="70" y="161"/>
                      <a:pt x="70" y="162"/>
                    </a:cubicBezTo>
                    <a:cubicBezTo>
                      <a:pt x="69" y="164"/>
                      <a:pt x="69" y="165"/>
                      <a:pt x="68" y="165"/>
                    </a:cubicBezTo>
                    <a:cubicBezTo>
                      <a:pt x="67" y="167"/>
                      <a:pt x="66" y="168"/>
                      <a:pt x="65" y="169"/>
                    </a:cubicBezTo>
                    <a:cubicBezTo>
                      <a:pt x="64" y="170"/>
                      <a:pt x="64" y="170"/>
                      <a:pt x="64" y="170"/>
                    </a:cubicBezTo>
                    <a:cubicBezTo>
                      <a:pt x="64" y="170"/>
                      <a:pt x="64" y="170"/>
                      <a:pt x="64" y="170"/>
                    </a:cubicBezTo>
                    <a:cubicBezTo>
                      <a:pt x="63" y="171"/>
                      <a:pt x="63" y="171"/>
                      <a:pt x="63" y="171"/>
                    </a:cubicBezTo>
                    <a:cubicBezTo>
                      <a:pt x="63" y="171"/>
                      <a:pt x="63" y="171"/>
                      <a:pt x="63" y="171"/>
                    </a:cubicBezTo>
                    <a:cubicBezTo>
                      <a:pt x="62" y="173"/>
                      <a:pt x="61" y="175"/>
                      <a:pt x="61" y="177"/>
                    </a:cubicBezTo>
                    <a:cubicBezTo>
                      <a:pt x="60" y="177"/>
                      <a:pt x="60" y="178"/>
                      <a:pt x="60" y="179"/>
                    </a:cubicBezTo>
                    <a:cubicBezTo>
                      <a:pt x="60" y="179"/>
                      <a:pt x="61" y="180"/>
                      <a:pt x="62" y="182"/>
                    </a:cubicBezTo>
                    <a:cubicBezTo>
                      <a:pt x="63" y="183"/>
                      <a:pt x="63" y="184"/>
                      <a:pt x="64" y="184"/>
                    </a:cubicBezTo>
                    <a:cubicBezTo>
                      <a:pt x="64" y="185"/>
                      <a:pt x="64" y="185"/>
                      <a:pt x="64" y="185"/>
                    </a:cubicBezTo>
                    <a:cubicBezTo>
                      <a:pt x="65" y="185"/>
                      <a:pt x="65" y="185"/>
                      <a:pt x="65" y="185"/>
                    </a:cubicBezTo>
                    <a:cubicBezTo>
                      <a:pt x="71" y="184"/>
                      <a:pt x="71" y="184"/>
                      <a:pt x="71" y="184"/>
                    </a:cubicBezTo>
                    <a:cubicBezTo>
                      <a:pt x="71" y="188"/>
                      <a:pt x="71" y="188"/>
                      <a:pt x="71" y="188"/>
                    </a:cubicBezTo>
                    <a:cubicBezTo>
                      <a:pt x="71" y="190"/>
                      <a:pt x="70" y="191"/>
                      <a:pt x="69" y="193"/>
                    </a:cubicBezTo>
                    <a:cubicBezTo>
                      <a:pt x="69" y="193"/>
                      <a:pt x="69" y="193"/>
                      <a:pt x="69" y="193"/>
                    </a:cubicBezTo>
                    <a:cubicBezTo>
                      <a:pt x="67" y="195"/>
                      <a:pt x="64" y="196"/>
                      <a:pt x="62" y="197"/>
                    </a:cubicBezTo>
                    <a:cubicBezTo>
                      <a:pt x="62" y="198"/>
                      <a:pt x="61" y="198"/>
                      <a:pt x="60" y="198"/>
                    </a:cubicBezTo>
                    <a:cubicBezTo>
                      <a:pt x="60" y="199"/>
                      <a:pt x="58" y="202"/>
                      <a:pt x="57" y="204"/>
                    </a:cubicBezTo>
                    <a:cubicBezTo>
                      <a:pt x="55" y="208"/>
                      <a:pt x="54" y="210"/>
                      <a:pt x="55" y="212"/>
                    </a:cubicBezTo>
                    <a:cubicBezTo>
                      <a:pt x="56" y="213"/>
                      <a:pt x="57" y="218"/>
                      <a:pt x="57" y="218"/>
                    </a:cubicBezTo>
                    <a:cubicBezTo>
                      <a:pt x="57" y="220"/>
                      <a:pt x="57" y="220"/>
                      <a:pt x="57" y="220"/>
                    </a:cubicBezTo>
                    <a:cubicBezTo>
                      <a:pt x="59" y="220"/>
                      <a:pt x="61" y="220"/>
                      <a:pt x="63" y="221"/>
                    </a:cubicBezTo>
                    <a:cubicBezTo>
                      <a:pt x="64" y="221"/>
                      <a:pt x="64" y="221"/>
                      <a:pt x="65" y="221"/>
                    </a:cubicBezTo>
                    <a:cubicBezTo>
                      <a:pt x="66" y="221"/>
                      <a:pt x="67" y="220"/>
                      <a:pt x="66" y="219"/>
                    </a:cubicBezTo>
                    <a:cubicBezTo>
                      <a:pt x="66" y="219"/>
                      <a:pt x="66" y="219"/>
                      <a:pt x="66" y="219"/>
                    </a:cubicBezTo>
                    <a:cubicBezTo>
                      <a:pt x="67" y="219"/>
                      <a:pt x="68" y="219"/>
                      <a:pt x="68" y="219"/>
                    </a:cubicBezTo>
                    <a:cubicBezTo>
                      <a:pt x="66" y="223"/>
                      <a:pt x="73" y="226"/>
                      <a:pt x="75" y="228"/>
                    </a:cubicBezTo>
                    <a:cubicBezTo>
                      <a:pt x="77" y="230"/>
                      <a:pt x="79" y="232"/>
                      <a:pt x="82" y="233"/>
                    </a:cubicBezTo>
                    <a:cubicBezTo>
                      <a:pt x="82" y="233"/>
                      <a:pt x="82" y="233"/>
                      <a:pt x="82" y="233"/>
                    </a:cubicBezTo>
                    <a:cubicBezTo>
                      <a:pt x="83" y="233"/>
                      <a:pt x="83" y="233"/>
                      <a:pt x="84" y="232"/>
                    </a:cubicBezTo>
                    <a:cubicBezTo>
                      <a:pt x="84" y="232"/>
                      <a:pt x="85" y="231"/>
                      <a:pt x="86" y="231"/>
                    </a:cubicBezTo>
                    <a:cubicBezTo>
                      <a:pt x="86" y="231"/>
                      <a:pt x="86" y="231"/>
                      <a:pt x="87" y="231"/>
                    </a:cubicBezTo>
                    <a:cubicBezTo>
                      <a:pt x="85" y="232"/>
                      <a:pt x="83" y="234"/>
                      <a:pt x="83" y="236"/>
                    </a:cubicBezTo>
                    <a:cubicBezTo>
                      <a:pt x="82" y="236"/>
                      <a:pt x="81" y="236"/>
                      <a:pt x="81" y="237"/>
                    </a:cubicBezTo>
                    <a:cubicBezTo>
                      <a:pt x="81" y="238"/>
                      <a:pt x="84" y="242"/>
                      <a:pt x="85" y="243"/>
                    </a:cubicBezTo>
                    <a:cubicBezTo>
                      <a:pt x="90" y="250"/>
                      <a:pt x="95" y="259"/>
                      <a:pt x="104" y="260"/>
                    </a:cubicBezTo>
                    <a:cubicBezTo>
                      <a:pt x="104" y="260"/>
                      <a:pt x="104" y="260"/>
                      <a:pt x="105" y="260"/>
                    </a:cubicBezTo>
                    <a:cubicBezTo>
                      <a:pt x="106" y="260"/>
                      <a:pt x="110" y="258"/>
                      <a:pt x="112" y="256"/>
                    </a:cubicBezTo>
                    <a:cubicBezTo>
                      <a:pt x="112" y="256"/>
                      <a:pt x="112" y="256"/>
                      <a:pt x="113" y="257"/>
                    </a:cubicBezTo>
                    <a:cubicBezTo>
                      <a:pt x="112" y="256"/>
                      <a:pt x="112" y="256"/>
                      <a:pt x="112" y="256"/>
                    </a:cubicBezTo>
                    <a:cubicBezTo>
                      <a:pt x="113" y="256"/>
                      <a:pt x="113" y="256"/>
                      <a:pt x="113" y="256"/>
                    </a:cubicBezTo>
                    <a:cubicBezTo>
                      <a:pt x="115" y="253"/>
                      <a:pt x="114" y="251"/>
                      <a:pt x="118" y="249"/>
                    </a:cubicBezTo>
                    <a:cubicBezTo>
                      <a:pt x="122" y="247"/>
                      <a:pt x="126" y="245"/>
                      <a:pt x="131" y="243"/>
                    </a:cubicBezTo>
                    <a:cubicBezTo>
                      <a:pt x="133" y="241"/>
                      <a:pt x="136" y="239"/>
                      <a:pt x="138" y="238"/>
                    </a:cubicBezTo>
                    <a:cubicBezTo>
                      <a:pt x="141" y="237"/>
                      <a:pt x="143" y="236"/>
                      <a:pt x="146" y="236"/>
                    </a:cubicBezTo>
                    <a:cubicBezTo>
                      <a:pt x="148" y="236"/>
                      <a:pt x="149" y="236"/>
                      <a:pt x="151" y="236"/>
                    </a:cubicBezTo>
                    <a:cubicBezTo>
                      <a:pt x="152" y="236"/>
                      <a:pt x="153" y="237"/>
                      <a:pt x="154" y="237"/>
                    </a:cubicBezTo>
                    <a:cubicBezTo>
                      <a:pt x="155" y="237"/>
                      <a:pt x="155" y="237"/>
                      <a:pt x="155" y="237"/>
                    </a:cubicBezTo>
                    <a:cubicBezTo>
                      <a:pt x="160" y="236"/>
                      <a:pt x="165" y="236"/>
                      <a:pt x="170" y="236"/>
                    </a:cubicBezTo>
                    <a:cubicBezTo>
                      <a:pt x="173" y="236"/>
                      <a:pt x="175" y="236"/>
                      <a:pt x="178" y="236"/>
                    </a:cubicBezTo>
                    <a:cubicBezTo>
                      <a:pt x="181" y="237"/>
                      <a:pt x="183" y="238"/>
                      <a:pt x="185" y="238"/>
                    </a:cubicBezTo>
                    <a:cubicBezTo>
                      <a:pt x="185" y="238"/>
                      <a:pt x="186" y="238"/>
                      <a:pt x="186" y="238"/>
                    </a:cubicBezTo>
                    <a:cubicBezTo>
                      <a:pt x="190" y="238"/>
                      <a:pt x="192" y="236"/>
                      <a:pt x="196" y="235"/>
                    </a:cubicBezTo>
                    <a:cubicBezTo>
                      <a:pt x="197" y="234"/>
                      <a:pt x="198" y="234"/>
                      <a:pt x="199" y="234"/>
                    </a:cubicBezTo>
                    <a:cubicBezTo>
                      <a:pt x="200" y="234"/>
                      <a:pt x="199" y="235"/>
                      <a:pt x="201" y="236"/>
                    </a:cubicBezTo>
                    <a:cubicBezTo>
                      <a:pt x="202" y="236"/>
                      <a:pt x="202" y="236"/>
                      <a:pt x="202" y="236"/>
                    </a:cubicBezTo>
                    <a:cubicBezTo>
                      <a:pt x="205" y="236"/>
                      <a:pt x="208" y="231"/>
                      <a:pt x="209" y="229"/>
                    </a:cubicBezTo>
                    <a:cubicBezTo>
                      <a:pt x="212" y="224"/>
                      <a:pt x="215" y="220"/>
                      <a:pt x="218" y="216"/>
                    </a:cubicBezTo>
                    <a:cubicBezTo>
                      <a:pt x="219" y="214"/>
                      <a:pt x="227" y="212"/>
                      <a:pt x="229" y="212"/>
                    </a:cubicBezTo>
                    <a:cubicBezTo>
                      <a:pt x="231" y="211"/>
                      <a:pt x="234" y="209"/>
                      <a:pt x="236" y="209"/>
                    </a:cubicBezTo>
                    <a:cubicBezTo>
                      <a:pt x="236" y="209"/>
                      <a:pt x="236" y="209"/>
                      <a:pt x="236" y="209"/>
                    </a:cubicBezTo>
                    <a:cubicBezTo>
                      <a:pt x="236" y="209"/>
                      <a:pt x="237" y="209"/>
                      <a:pt x="237" y="209"/>
                    </a:cubicBezTo>
                    <a:cubicBezTo>
                      <a:pt x="237" y="210"/>
                      <a:pt x="237" y="210"/>
                      <a:pt x="237" y="210"/>
                    </a:cubicBezTo>
                    <a:cubicBezTo>
                      <a:pt x="238" y="210"/>
                      <a:pt x="238" y="210"/>
                      <a:pt x="238" y="210"/>
                    </a:cubicBezTo>
                    <a:cubicBezTo>
                      <a:pt x="239" y="210"/>
                      <a:pt x="241" y="209"/>
                      <a:pt x="243" y="208"/>
                    </a:cubicBezTo>
                    <a:cubicBezTo>
                      <a:pt x="243" y="208"/>
                      <a:pt x="240" y="205"/>
                      <a:pt x="240" y="204"/>
                    </a:cubicBezTo>
                    <a:cubicBezTo>
                      <a:pt x="241" y="202"/>
                      <a:pt x="243" y="199"/>
                      <a:pt x="244" y="196"/>
                    </a:cubicBezTo>
                    <a:cubicBezTo>
                      <a:pt x="245" y="194"/>
                      <a:pt x="246" y="192"/>
                      <a:pt x="247" y="190"/>
                    </a:cubicBezTo>
                    <a:cubicBezTo>
                      <a:pt x="252" y="181"/>
                      <a:pt x="263" y="176"/>
                      <a:pt x="271" y="171"/>
                    </a:cubicBezTo>
                    <a:cubicBezTo>
                      <a:pt x="262" y="165"/>
                      <a:pt x="257" y="160"/>
                      <a:pt x="255" y="150"/>
                    </a:cubicBezTo>
                    <a:cubicBezTo>
                      <a:pt x="254" y="142"/>
                      <a:pt x="262" y="134"/>
                      <a:pt x="266" y="128"/>
                    </a:cubicBezTo>
                    <a:cubicBezTo>
                      <a:pt x="272" y="120"/>
                      <a:pt x="281" y="111"/>
                      <a:pt x="285" y="102"/>
                    </a:cubicBezTo>
                    <a:cubicBezTo>
                      <a:pt x="285" y="102"/>
                      <a:pt x="285" y="102"/>
                      <a:pt x="285" y="102"/>
                    </a:cubicBezTo>
                    <a:cubicBezTo>
                      <a:pt x="286" y="100"/>
                      <a:pt x="288" y="96"/>
                      <a:pt x="291" y="95"/>
                    </a:cubicBezTo>
                    <a:cubicBezTo>
                      <a:pt x="296" y="91"/>
                      <a:pt x="305" y="90"/>
                      <a:pt x="311" y="88"/>
                    </a:cubicBezTo>
                    <a:cubicBezTo>
                      <a:pt x="313" y="88"/>
                      <a:pt x="316" y="86"/>
                      <a:pt x="319" y="85"/>
                    </a:cubicBezTo>
                    <a:cubicBezTo>
                      <a:pt x="319" y="84"/>
                      <a:pt x="319" y="83"/>
                      <a:pt x="319" y="82"/>
                    </a:cubicBezTo>
                    <a:cubicBezTo>
                      <a:pt x="319" y="78"/>
                      <a:pt x="322" y="74"/>
                      <a:pt x="326" y="74"/>
                    </a:cubicBezTo>
                    <a:cubicBezTo>
                      <a:pt x="329" y="74"/>
                      <a:pt x="331" y="76"/>
                      <a:pt x="333" y="78"/>
                    </a:cubicBezTo>
                    <a:cubicBezTo>
                      <a:pt x="333" y="78"/>
                      <a:pt x="334" y="77"/>
                      <a:pt x="335" y="77"/>
                    </a:cubicBezTo>
                    <a:cubicBezTo>
                      <a:pt x="340" y="74"/>
                      <a:pt x="351" y="71"/>
                      <a:pt x="354" y="66"/>
                    </a:cubicBezTo>
                    <a:cubicBezTo>
                      <a:pt x="356" y="62"/>
                      <a:pt x="353" y="59"/>
                      <a:pt x="353" y="56"/>
                    </a:cubicBezTo>
                    <a:cubicBezTo>
                      <a:pt x="353" y="53"/>
                      <a:pt x="355" y="52"/>
                      <a:pt x="359" y="50"/>
                    </a:cubicBezTo>
                    <a:cubicBezTo>
                      <a:pt x="358" y="50"/>
                      <a:pt x="357" y="49"/>
                      <a:pt x="357" y="48"/>
                    </a:cubicBezTo>
                    <a:cubicBezTo>
                      <a:pt x="357" y="49"/>
                      <a:pt x="357" y="49"/>
                      <a:pt x="357" y="49"/>
                    </a:cubicBezTo>
                    <a:cubicBezTo>
                      <a:pt x="353" y="50"/>
                      <a:pt x="353" y="50"/>
                      <a:pt x="353" y="50"/>
                    </a:cubicBezTo>
                    <a:cubicBezTo>
                      <a:pt x="353" y="50"/>
                      <a:pt x="353" y="50"/>
                      <a:pt x="353" y="50"/>
                    </a:cubicBezTo>
                    <a:cubicBezTo>
                      <a:pt x="342" y="52"/>
                      <a:pt x="342" y="52"/>
                      <a:pt x="342" y="52"/>
                    </a:cubicBezTo>
                    <a:cubicBezTo>
                      <a:pt x="341" y="52"/>
                      <a:pt x="341" y="53"/>
                      <a:pt x="340" y="53"/>
                    </a:cubicBezTo>
                    <a:cubicBezTo>
                      <a:pt x="339" y="53"/>
                      <a:pt x="339" y="53"/>
                      <a:pt x="339" y="53"/>
                    </a:cubicBezTo>
                    <a:cubicBezTo>
                      <a:pt x="338" y="53"/>
                      <a:pt x="337" y="53"/>
                      <a:pt x="337" y="53"/>
                    </a:cubicBezTo>
                    <a:cubicBezTo>
                      <a:pt x="335" y="53"/>
                      <a:pt x="334" y="53"/>
                      <a:pt x="333" y="53"/>
                    </a:cubicBezTo>
                    <a:cubicBezTo>
                      <a:pt x="328" y="52"/>
                      <a:pt x="323" y="51"/>
                      <a:pt x="319" y="50"/>
                    </a:cubicBezTo>
                    <a:cubicBezTo>
                      <a:pt x="319" y="50"/>
                      <a:pt x="318" y="50"/>
                      <a:pt x="318" y="50"/>
                    </a:cubicBezTo>
                    <a:cubicBezTo>
                      <a:pt x="317" y="49"/>
                      <a:pt x="317" y="49"/>
                      <a:pt x="317" y="49"/>
                    </a:cubicBezTo>
                    <a:cubicBezTo>
                      <a:pt x="314" y="48"/>
                      <a:pt x="312" y="47"/>
                      <a:pt x="311" y="45"/>
                    </a:cubicBezTo>
                    <a:cubicBezTo>
                      <a:pt x="311" y="44"/>
                      <a:pt x="311" y="44"/>
                      <a:pt x="311" y="44"/>
                    </a:cubicBezTo>
                    <a:cubicBezTo>
                      <a:pt x="305" y="43"/>
                      <a:pt x="300" y="42"/>
                      <a:pt x="295" y="39"/>
                    </a:cubicBezTo>
                    <a:cubicBezTo>
                      <a:pt x="294" y="39"/>
                      <a:pt x="293" y="39"/>
                      <a:pt x="292" y="38"/>
                    </a:cubicBezTo>
                    <a:cubicBezTo>
                      <a:pt x="289" y="37"/>
                      <a:pt x="289" y="37"/>
                      <a:pt x="289" y="37"/>
                    </a:cubicBezTo>
                    <a:cubicBezTo>
                      <a:pt x="289" y="37"/>
                      <a:pt x="288" y="36"/>
                      <a:pt x="287" y="36"/>
                    </a:cubicBezTo>
                    <a:cubicBezTo>
                      <a:pt x="287" y="36"/>
                      <a:pt x="287" y="36"/>
                      <a:pt x="287" y="36"/>
                    </a:cubicBezTo>
                    <a:cubicBezTo>
                      <a:pt x="287" y="37"/>
                      <a:pt x="287" y="37"/>
                      <a:pt x="287" y="37"/>
                    </a:cubicBezTo>
                    <a:cubicBezTo>
                      <a:pt x="287" y="41"/>
                      <a:pt x="287" y="41"/>
                      <a:pt x="287" y="41"/>
                    </a:cubicBezTo>
                    <a:cubicBezTo>
                      <a:pt x="283" y="41"/>
                      <a:pt x="283" y="41"/>
                      <a:pt x="283" y="41"/>
                    </a:cubicBezTo>
                    <a:cubicBezTo>
                      <a:pt x="281" y="41"/>
                      <a:pt x="279" y="41"/>
                      <a:pt x="277" y="41"/>
                    </a:cubicBezTo>
                    <a:cubicBezTo>
                      <a:pt x="275" y="41"/>
                      <a:pt x="273" y="41"/>
                      <a:pt x="270" y="41"/>
                    </a:cubicBezTo>
                    <a:cubicBezTo>
                      <a:pt x="265" y="41"/>
                      <a:pt x="265" y="41"/>
                      <a:pt x="265" y="41"/>
                    </a:cubicBezTo>
                    <a:cubicBezTo>
                      <a:pt x="265" y="41"/>
                      <a:pt x="265" y="41"/>
                      <a:pt x="264" y="41"/>
                    </a:cubicBezTo>
                    <a:cubicBezTo>
                      <a:pt x="264" y="41"/>
                      <a:pt x="264" y="41"/>
                      <a:pt x="263" y="41"/>
                    </a:cubicBezTo>
                    <a:cubicBezTo>
                      <a:pt x="262" y="40"/>
                      <a:pt x="261" y="40"/>
                      <a:pt x="260" y="40"/>
                    </a:cubicBezTo>
                    <a:cubicBezTo>
                      <a:pt x="259" y="39"/>
                      <a:pt x="258" y="38"/>
                      <a:pt x="257" y="38"/>
                    </a:cubicBezTo>
                    <a:cubicBezTo>
                      <a:pt x="256" y="37"/>
                      <a:pt x="256" y="37"/>
                      <a:pt x="255" y="36"/>
                    </a:cubicBezTo>
                    <a:cubicBezTo>
                      <a:pt x="255" y="36"/>
                      <a:pt x="255" y="36"/>
                      <a:pt x="255" y="36"/>
                    </a:cubicBezTo>
                    <a:cubicBezTo>
                      <a:pt x="255" y="36"/>
                      <a:pt x="254" y="36"/>
                      <a:pt x="254" y="36"/>
                    </a:cubicBezTo>
                    <a:cubicBezTo>
                      <a:pt x="252" y="37"/>
                      <a:pt x="251" y="37"/>
                      <a:pt x="250" y="37"/>
                    </a:cubicBezTo>
                    <a:cubicBezTo>
                      <a:pt x="247" y="37"/>
                      <a:pt x="246" y="36"/>
                      <a:pt x="244" y="34"/>
                    </a:cubicBezTo>
                    <a:cubicBezTo>
                      <a:pt x="244" y="34"/>
                      <a:pt x="243" y="33"/>
                      <a:pt x="242" y="33"/>
                    </a:cubicBezTo>
                    <a:cubicBezTo>
                      <a:pt x="241" y="32"/>
                      <a:pt x="241" y="32"/>
                      <a:pt x="241" y="32"/>
                    </a:cubicBezTo>
                    <a:cubicBezTo>
                      <a:pt x="241" y="32"/>
                      <a:pt x="241" y="32"/>
                      <a:pt x="240" y="32"/>
                    </a:cubicBezTo>
                    <a:cubicBezTo>
                      <a:pt x="238" y="31"/>
                      <a:pt x="236" y="31"/>
                      <a:pt x="234" y="31"/>
                    </a:cubicBezTo>
                    <a:cubicBezTo>
                      <a:pt x="233" y="30"/>
                      <a:pt x="231" y="30"/>
                      <a:pt x="230" y="30"/>
                    </a:cubicBezTo>
                    <a:cubicBezTo>
                      <a:pt x="230" y="30"/>
                      <a:pt x="229" y="30"/>
                      <a:pt x="229" y="30"/>
                    </a:cubicBezTo>
                    <a:cubicBezTo>
                      <a:pt x="228" y="30"/>
                      <a:pt x="228" y="30"/>
                      <a:pt x="228" y="30"/>
                    </a:cubicBezTo>
                    <a:cubicBezTo>
                      <a:pt x="226" y="30"/>
                      <a:pt x="224" y="29"/>
                      <a:pt x="223" y="28"/>
                    </a:cubicBezTo>
                    <a:cubicBezTo>
                      <a:pt x="219" y="25"/>
                      <a:pt x="221" y="21"/>
                      <a:pt x="221" y="20"/>
                    </a:cubicBezTo>
                    <a:cubicBezTo>
                      <a:pt x="221" y="20"/>
                      <a:pt x="221" y="20"/>
                      <a:pt x="221" y="20"/>
                    </a:cubicBezTo>
                    <a:cubicBezTo>
                      <a:pt x="221" y="20"/>
                      <a:pt x="221" y="20"/>
                      <a:pt x="221" y="20"/>
                    </a:cubicBezTo>
                    <a:cubicBezTo>
                      <a:pt x="221" y="20"/>
                      <a:pt x="220" y="20"/>
                      <a:pt x="220" y="20"/>
                    </a:cubicBezTo>
                    <a:cubicBezTo>
                      <a:pt x="219" y="21"/>
                      <a:pt x="219" y="21"/>
                      <a:pt x="219" y="21"/>
                    </a:cubicBezTo>
                    <a:cubicBezTo>
                      <a:pt x="218" y="21"/>
                      <a:pt x="218" y="21"/>
                      <a:pt x="218" y="21"/>
                    </a:cubicBezTo>
                    <a:cubicBezTo>
                      <a:pt x="215" y="20"/>
                      <a:pt x="213" y="18"/>
                      <a:pt x="211" y="17"/>
                    </a:cubicBezTo>
                    <a:cubicBezTo>
                      <a:pt x="210" y="16"/>
                      <a:pt x="210" y="16"/>
                      <a:pt x="210" y="16"/>
                    </a:cubicBezTo>
                    <a:cubicBezTo>
                      <a:pt x="212" y="14"/>
                      <a:pt x="212" y="14"/>
                      <a:pt x="212" y="14"/>
                    </a:cubicBezTo>
                    <a:cubicBezTo>
                      <a:pt x="211" y="14"/>
                      <a:pt x="210" y="14"/>
                      <a:pt x="210" y="14"/>
                    </a:cubicBezTo>
                    <a:cubicBezTo>
                      <a:pt x="208" y="14"/>
                      <a:pt x="205" y="15"/>
                      <a:pt x="203" y="15"/>
                    </a:cubicBezTo>
                    <a:cubicBezTo>
                      <a:pt x="201" y="15"/>
                      <a:pt x="199" y="16"/>
                      <a:pt x="197" y="16"/>
                    </a:cubicBezTo>
                    <a:cubicBezTo>
                      <a:pt x="196" y="16"/>
                      <a:pt x="196" y="16"/>
                      <a:pt x="196" y="16"/>
                    </a:cubicBezTo>
                    <a:cubicBezTo>
                      <a:pt x="190" y="15"/>
                      <a:pt x="188" y="12"/>
                      <a:pt x="184" y="12"/>
                    </a:cubicBezTo>
                    <a:cubicBezTo>
                      <a:pt x="183" y="12"/>
                      <a:pt x="182" y="12"/>
                      <a:pt x="181" y="13"/>
                    </a:cubicBezTo>
                    <a:cubicBezTo>
                      <a:pt x="178" y="13"/>
                      <a:pt x="177" y="14"/>
                      <a:pt x="175" y="14"/>
                    </a:cubicBezTo>
                    <a:cubicBezTo>
                      <a:pt x="173" y="14"/>
                      <a:pt x="172" y="13"/>
                      <a:pt x="168" y="11"/>
                    </a:cubicBezTo>
                    <a:cubicBezTo>
                      <a:pt x="167" y="11"/>
                      <a:pt x="165" y="10"/>
                      <a:pt x="164" y="10"/>
                    </a:cubicBezTo>
                    <a:cubicBezTo>
                      <a:pt x="163" y="10"/>
                      <a:pt x="162" y="10"/>
                      <a:pt x="161" y="10"/>
                    </a:cubicBezTo>
                    <a:cubicBezTo>
                      <a:pt x="157" y="10"/>
                      <a:pt x="152" y="11"/>
                      <a:pt x="148" y="11"/>
                    </a:cubicBezTo>
                    <a:cubicBezTo>
                      <a:pt x="145" y="12"/>
                      <a:pt x="141" y="13"/>
                      <a:pt x="137" y="13"/>
                    </a:cubicBezTo>
                    <a:cubicBezTo>
                      <a:pt x="137" y="13"/>
                      <a:pt x="136" y="13"/>
                      <a:pt x="136" y="13"/>
                    </a:cubicBezTo>
                    <a:cubicBezTo>
                      <a:pt x="131" y="12"/>
                      <a:pt x="126" y="11"/>
                      <a:pt x="121" y="10"/>
                    </a:cubicBezTo>
                    <a:cubicBezTo>
                      <a:pt x="116" y="9"/>
                      <a:pt x="111" y="8"/>
                      <a:pt x="105" y="7"/>
                    </a:cubicBezTo>
                    <a:cubicBezTo>
                      <a:pt x="101" y="7"/>
                      <a:pt x="101" y="5"/>
                      <a:pt x="99" y="5"/>
                    </a:cubicBezTo>
                    <a:cubicBezTo>
                      <a:pt x="98" y="4"/>
                      <a:pt x="98" y="4"/>
                      <a:pt x="97" y="4"/>
                    </a:cubicBezTo>
                    <a:cubicBezTo>
                      <a:pt x="96" y="4"/>
                      <a:pt x="94" y="5"/>
                      <a:pt x="92" y="5"/>
                    </a:cubicBezTo>
                    <a:cubicBezTo>
                      <a:pt x="87" y="6"/>
                      <a:pt x="81" y="7"/>
                      <a:pt x="75" y="8"/>
                    </a:cubicBezTo>
                    <a:cubicBezTo>
                      <a:pt x="73" y="8"/>
                      <a:pt x="68" y="10"/>
                      <a:pt x="65" y="10"/>
                    </a:cubicBezTo>
                    <a:cubicBezTo>
                      <a:pt x="65" y="10"/>
                      <a:pt x="64" y="10"/>
                      <a:pt x="64" y="10"/>
                    </a:cubicBezTo>
                    <a:cubicBezTo>
                      <a:pt x="60" y="9"/>
                      <a:pt x="56" y="5"/>
                      <a:pt x="52" y="3"/>
                    </a:cubicBezTo>
                    <a:cubicBezTo>
                      <a:pt x="51" y="2"/>
                      <a:pt x="50" y="1"/>
                      <a:pt x="48" y="1"/>
                    </a:cubicBezTo>
                    <a:cubicBezTo>
                      <a:pt x="46" y="1"/>
                      <a:pt x="44" y="2"/>
                      <a:pt x="42" y="3"/>
                    </a:cubicBezTo>
                    <a:cubicBezTo>
                      <a:pt x="41" y="3"/>
                      <a:pt x="41" y="3"/>
                      <a:pt x="41" y="3"/>
                    </a:cubicBezTo>
                    <a:cubicBezTo>
                      <a:pt x="40" y="3"/>
                      <a:pt x="40" y="2"/>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268"/>
              <p:cNvSpPr/>
              <p:nvPr/>
            </p:nvSpPr>
            <p:spPr bwMode="auto">
              <a:xfrm>
                <a:off x="3924649" y="3865687"/>
                <a:ext cx="1153441" cy="983926"/>
              </a:xfrm>
              <a:custGeom>
                <a:gdLst>
                  <a:gd name="T0" fmla="*/ 149 w 364"/>
                  <a:gd name="T1" fmla="*/ 47 h 309"/>
                  <a:gd name="T2" fmla="*/ 150 w 364"/>
                  <a:gd name="T3" fmla="*/ 59 h 309"/>
                  <a:gd name="T4" fmla="*/ 99 w 364"/>
                  <a:gd name="T5" fmla="*/ 56 h 309"/>
                  <a:gd name="T6" fmla="*/ 81 w 364"/>
                  <a:gd name="T7" fmla="*/ 50 h 309"/>
                  <a:gd name="T8" fmla="*/ 98 w 364"/>
                  <a:gd name="T9" fmla="*/ 89 h 309"/>
                  <a:gd name="T10" fmla="*/ 67 w 364"/>
                  <a:gd name="T11" fmla="*/ 93 h 309"/>
                  <a:gd name="T12" fmla="*/ 1 w 364"/>
                  <a:gd name="T13" fmla="*/ 95 h 309"/>
                  <a:gd name="T14" fmla="*/ 15 w 364"/>
                  <a:gd name="T15" fmla="*/ 100 h 309"/>
                  <a:gd name="T16" fmla="*/ 12 w 364"/>
                  <a:gd name="T17" fmla="*/ 109 h 309"/>
                  <a:gd name="T18" fmla="*/ 20 w 364"/>
                  <a:gd name="T19" fmla="*/ 117 h 309"/>
                  <a:gd name="T20" fmla="*/ 71 w 364"/>
                  <a:gd name="T21" fmla="*/ 140 h 309"/>
                  <a:gd name="T22" fmla="*/ 78 w 364"/>
                  <a:gd name="T23" fmla="*/ 139 h 309"/>
                  <a:gd name="T24" fmla="*/ 105 w 364"/>
                  <a:gd name="T25" fmla="*/ 174 h 309"/>
                  <a:gd name="T26" fmla="*/ 104 w 364"/>
                  <a:gd name="T27" fmla="*/ 202 h 309"/>
                  <a:gd name="T28" fmla="*/ 91 w 364"/>
                  <a:gd name="T29" fmla="*/ 273 h 309"/>
                  <a:gd name="T30" fmla="*/ 100 w 364"/>
                  <a:gd name="T31" fmla="*/ 286 h 309"/>
                  <a:gd name="T32" fmla="*/ 117 w 364"/>
                  <a:gd name="T33" fmla="*/ 289 h 309"/>
                  <a:gd name="T34" fmla="*/ 128 w 364"/>
                  <a:gd name="T35" fmla="*/ 292 h 309"/>
                  <a:gd name="T36" fmla="*/ 142 w 364"/>
                  <a:gd name="T37" fmla="*/ 297 h 309"/>
                  <a:gd name="T38" fmla="*/ 164 w 364"/>
                  <a:gd name="T39" fmla="*/ 294 h 309"/>
                  <a:gd name="T40" fmla="*/ 191 w 364"/>
                  <a:gd name="T41" fmla="*/ 306 h 309"/>
                  <a:gd name="T42" fmla="*/ 211 w 364"/>
                  <a:gd name="T43" fmla="*/ 309 h 309"/>
                  <a:gd name="T44" fmla="*/ 246 w 364"/>
                  <a:gd name="T45" fmla="*/ 274 h 309"/>
                  <a:gd name="T46" fmla="*/ 267 w 364"/>
                  <a:gd name="T47" fmla="*/ 273 h 309"/>
                  <a:gd name="T48" fmla="*/ 279 w 364"/>
                  <a:gd name="T49" fmla="*/ 275 h 309"/>
                  <a:gd name="T50" fmla="*/ 296 w 364"/>
                  <a:gd name="T51" fmla="*/ 283 h 309"/>
                  <a:gd name="T52" fmla="*/ 309 w 364"/>
                  <a:gd name="T53" fmla="*/ 286 h 309"/>
                  <a:gd name="T54" fmla="*/ 348 w 364"/>
                  <a:gd name="T55" fmla="*/ 263 h 309"/>
                  <a:gd name="T56" fmla="*/ 333 w 364"/>
                  <a:gd name="T57" fmla="*/ 247 h 309"/>
                  <a:gd name="T58" fmla="*/ 335 w 364"/>
                  <a:gd name="T59" fmla="*/ 209 h 309"/>
                  <a:gd name="T60" fmla="*/ 331 w 364"/>
                  <a:gd name="T61" fmla="*/ 187 h 309"/>
                  <a:gd name="T62" fmla="*/ 327 w 364"/>
                  <a:gd name="T63" fmla="*/ 172 h 309"/>
                  <a:gd name="T64" fmla="*/ 318 w 364"/>
                  <a:gd name="T65" fmla="*/ 174 h 309"/>
                  <a:gd name="T66" fmla="*/ 307 w 364"/>
                  <a:gd name="T67" fmla="*/ 183 h 309"/>
                  <a:gd name="T68" fmla="*/ 307 w 364"/>
                  <a:gd name="T69" fmla="*/ 172 h 309"/>
                  <a:gd name="T70" fmla="*/ 319 w 364"/>
                  <a:gd name="T71" fmla="*/ 147 h 309"/>
                  <a:gd name="T72" fmla="*/ 336 w 364"/>
                  <a:gd name="T73" fmla="*/ 128 h 309"/>
                  <a:gd name="T74" fmla="*/ 344 w 364"/>
                  <a:gd name="T75" fmla="*/ 130 h 309"/>
                  <a:gd name="T76" fmla="*/ 347 w 364"/>
                  <a:gd name="T77" fmla="*/ 123 h 309"/>
                  <a:gd name="T78" fmla="*/ 347 w 364"/>
                  <a:gd name="T79" fmla="*/ 112 h 309"/>
                  <a:gd name="T80" fmla="*/ 364 w 364"/>
                  <a:gd name="T81" fmla="*/ 80 h 309"/>
                  <a:gd name="T82" fmla="*/ 355 w 364"/>
                  <a:gd name="T83" fmla="*/ 79 h 309"/>
                  <a:gd name="T84" fmla="*/ 345 w 364"/>
                  <a:gd name="T85" fmla="*/ 74 h 309"/>
                  <a:gd name="T86" fmla="*/ 334 w 364"/>
                  <a:gd name="T87" fmla="*/ 74 h 309"/>
                  <a:gd name="T88" fmla="*/ 320 w 364"/>
                  <a:gd name="T89" fmla="*/ 66 h 309"/>
                  <a:gd name="T90" fmla="*/ 303 w 364"/>
                  <a:gd name="T91" fmla="*/ 61 h 309"/>
                  <a:gd name="T92" fmla="*/ 295 w 364"/>
                  <a:gd name="T93" fmla="*/ 61 h 309"/>
                  <a:gd name="T94" fmla="*/ 278 w 364"/>
                  <a:gd name="T95" fmla="*/ 51 h 309"/>
                  <a:gd name="T96" fmla="*/ 259 w 364"/>
                  <a:gd name="T97" fmla="*/ 45 h 309"/>
                  <a:gd name="T98" fmla="*/ 252 w 364"/>
                  <a:gd name="T99" fmla="*/ 34 h 309"/>
                  <a:gd name="T100" fmla="*/ 240 w 364"/>
                  <a:gd name="T101" fmla="*/ 34 h 309"/>
                  <a:gd name="T102" fmla="*/ 235 w 364"/>
                  <a:gd name="T103" fmla="*/ 25 h 309"/>
                  <a:gd name="T104" fmla="*/ 225 w 364"/>
                  <a:gd name="T105" fmla="*/ 15 h 309"/>
                  <a:gd name="T106" fmla="*/ 215 w 364"/>
                  <a:gd name="T107" fmla="*/ 16 h 309"/>
                  <a:gd name="T108" fmla="*/ 205 w 364"/>
                  <a:gd name="T109" fmla="*/ 0 h 3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4" h="309">
                    <a:moveTo>
                      <a:pt x="205" y="0"/>
                    </a:moveTo>
                    <a:cubicBezTo>
                      <a:pt x="198" y="2"/>
                      <a:pt x="191" y="4"/>
                      <a:pt x="184" y="6"/>
                    </a:cubicBezTo>
                    <a:cubicBezTo>
                      <a:pt x="179" y="8"/>
                      <a:pt x="181" y="21"/>
                      <a:pt x="182" y="27"/>
                    </a:cubicBezTo>
                    <a:cubicBezTo>
                      <a:pt x="182" y="32"/>
                      <a:pt x="185" y="32"/>
                      <a:pt x="180" y="35"/>
                    </a:cubicBezTo>
                    <a:cubicBezTo>
                      <a:pt x="174" y="38"/>
                      <a:pt x="169" y="41"/>
                      <a:pt x="163" y="43"/>
                    </a:cubicBezTo>
                    <a:cubicBezTo>
                      <a:pt x="158" y="45"/>
                      <a:pt x="153" y="45"/>
                      <a:pt x="149" y="47"/>
                    </a:cubicBezTo>
                    <a:cubicBezTo>
                      <a:pt x="147" y="48"/>
                      <a:pt x="143" y="49"/>
                      <a:pt x="141" y="51"/>
                    </a:cubicBezTo>
                    <a:cubicBezTo>
                      <a:pt x="141" y="52"/>
                      <a:pt x="139" y="56"/>
                      <a:pt x="139" y="57"/>
                    </a:cubicBezTo>
                    <a:cubicBezTo>
                      <a:pt x="139" y="59"/>
                      <a:pt x="141" y="59"/>
                      <a:pt x="144" y="59"/>
                    </a:cubicBezTo>
                    <a:cubicBezTo>
                      <a:pt x="145" y="59"/>
                      <a:pt x="147" y="59"/>
                      <a:pt x="148" y="59"/>
                    </a:cubicBezTo>
                    <a:cubicBezTo>
                      <a:pt x="149" y="59"/>
                      <a:pt x="149" y="59"/>
                      <a:pt x="150" y="59"/>
                    </a:cubicBezTo>
                    <a:cubicBezTo>
                      <a:pt x="150" y="59"/>
                      <a:pt x="150" y="59"/>
                      <a:pt x="150" y="59"/>
                    </a:cubicBezTo>
                    <a:cubicBezTo>
                      <a:pt x="144" y="61"/>
                      <a:pt x="137" y="65"/>
                      <a:pt x="130" y="66"/>
                    </a:cubicBezTo>
                    <a:cubicBezTo>
                      <a:pt x="130" y="66"/>
                      <a:pt x="129" y="66"/>
                      <a:pt x="128" y="66"/>
                    </a:cubicBezTo>
                    <a:cubicBezTo>
                      <a:pt x="125" y="66"/>
                      <a:pt x="122" y="66"/>
                      <a:pt x="120" y="66"/>
                    </a:cubicBezTo>
                    <a:cubicBezTo>
                      <a:pt x="116" y="65"/>
                      <a:pt x="111" y="65"/>
                      <a:pt x="107" y="64"/>
                    </a:cubicBezTo>
                    <a:cubicBezTo>
                      <a:pt x="104" y="64"/>
                      <a:pt x="105" y="64"/>
                      <a:pt x="103" y="61"/>
                    </a:cubicBezTo>
                    <a:cubicBezTo>
                      <a:pt x="101" y="60"/>
                      <a:pt x="99" y="58"/>
                      <a:pt x="99" y="56"/>
                    </a:cubicBezTo>
                    <a:cubicBezTo>
                      <a:pt x="99" y="52"/>
                      <a:pt x="102" y="52"/>
                      <a:pt x="99" y="51"/>
                    </a:cubicBezTo>
                    <a:cubicBezTo>
                      <a:pt x="98" y="51"/>
                      <a:pt x="98" y="51"/>
                      <a:pt x="97" y="51"/>
                    </a:cubicBezTo>
                    <a:cubicBezTo>
                      <a:pt x="96" y="51"/>
                      <a:pt x="95" y="51"/>
                      <a:pt x="95" y="51"/>
                    </a:cubicBezTo>
                    <a:cubicBezTo>
                      <a:pt x="93" y="51"/>
                      <a:pt x="92" y="53"/>
                      <a:pt x="91" y="53"/>
                    </a:cubicBezTo>
                    <a:cubicBezTo>
                      <a:pt x="90" y="53"/>
                      <a:pt x="89" y="52"/>
                      <a:pt x="88" y="52"/>
                    </a:cubicBezTo>
                    <a:cubicBezTo>
                      <a:pt x="85" y="51"/>
                      <a:pt x="84" y="50"/>
                      <a:pt x="81" y="50"/>
                    </a:cubicBezTo>
                    <a:cubicBezTo>
                      <a:pt x="83" y="55"/>
                      <a:pt x="85" y="60"/>
                      <a:pt x="88" y="64"/>
                    </a:cubicBezTo>
                    <a:cubicBezTo>
                      <a:pt x="88" y="64"/>
                      <a:pt x="88" y="64"/>
                      <a:pt x="88" y="64"/>
                    </a:cubicBezTo>
                    <a:cubicBezTo>
                      <a:pt x="89" y="65"/>
                      <a:pt x="89" y="67"/>
                      <a:pt x="90" y="69"/>
                    </a:cubicBezTo>
                    <a:cubicBezTo>
                      <a:pt x="90" y="68"/>
                      <a:pt x="90" y="68"/>
                      <a:pt x="91" y="68"/>
                    </a:cubicBezTo>
                    <a:cubicBezTo>
                      <a:pt x="93" y="68"/>
                      <a:pt x="93" y="81"/>
                      <a:pt x="94" y="83"/>
                    </a:cubicBezTo>
                    <a:cubicBezTo>
                      <a:pt x="94" y="88"/>
                      <a:pt x="94" y="88"/>
                      <a:pt x="98" y="89"/>
                    </a:cubicBezTo>
                    <a:cubicBezTo>
                      <a:pt x="97" y="90"/>
                      <a:pt x="96" y="90"/>
                      <a:pt x="95" y="90"/>
                    </a:cubicBezTo>
                    <a:cubicBezTo>
                      <a:pt x="91" y="90"/>
                      <a:pt x="89" y="88"/>
                      <a:pt x="85" y="88"/>
                    </a:cubicBezTo>
                    <a:cubicBezTo>
                      <a:pt x="85" y="88"/>
                      <a:pt x="85" y="88"/>
                      <a:pt x="85" y="88"/>
                    </a:cubicBezTo>
                    <a:cubicBezTo>
                      <a:pt x="82" y="88"/>
                      <a:pt x="78" y="90"/>
                      <a:pt x="80" y="93"/>
                    </a:cubicBezTo>
                    <a:cubicBezTo>
                      <a:pt x="79" y="92"/>
                      <a:pt x="77" y="91"/>
                      <a:pt x="75" y="91"/>
                    </a:cubicBezTo>
                    <a:cubicBezTo>
                      <a:pt x="72" y="91"/>
                      <a:pt x="69" y="92"/>
                      <a:pt x="67" y="93"/>
                    </a:cubicBezTo>
                    <a:cubicBezTo>
                      <a:pt x="65" y="93"/>
                      <a:pt x="61" y="93"/>
                      <a:pt x="60" y="95"/>
                    </a:cubicBezTo>
                    <a:cubicBezTo>
                      <a:pt x="57" y="92"/>
                      <a:pt x="53" y="85"/>
                      <a:pt x="50" y="84"/>
                    </a:cubicBezTo>
                    <a:cubicBezTo>
                      <a:pt x="52" y="83"/>
                      <a:pt x="48" y="84"/>
                      <a:pt x="49" y="81"/>
                    </a:cubicBezTo>
                    <a:cubicBezTo>
                      <a:pt x="43" y="83"/>
                      <a:pt x="38" y="86"/>
                      <a:pt x="33" y="88"/>
                    </a:cubicBezTo>
                    <a:cubicBezTo>
                      <a:pt x="29" y="90"/>
                      <a:pt x="23" y="90"/>
                      <a:pt x="19" y="91"/>
                    </a:cubicBezTo>
                    <a:cubicBezTo>
                      <a:pt x="13" y="92"/>
                      <a:pt x="7" y="93"/>
                      <a:pt x="1" y="95"/>
                    </a:cubicBezTo>
                    <a:cubicBezTo>
                      <a:pt x="1" y="95"/>
                      <a:pt x="1" y="95"/>
                      <a:pt x="1" y="95"/>
                    </a:cubicBezTo>
                    <a:cubicBezTo>
                      <a:pt x="1" y="95"/>
                      <a:pt x="0" y="100"/>
                      <a:pt x="0" y="100"/>
                    </a:cubicBezTo>
                    <a:cubicBezTo>
                      <a:pt x="1" y="101"/>
                      <a:pt x="1" y="101"/>
                      <a:pt x="2" y="101"/>
                    </a:cubicBezTo>
                    <a:cubicBezTo>
                      <a:pt x="5" y="101"/>
                      <a:pt x="11" y="99"/>
                      <a:pt x="13" y="98"/>
                    </a:cubicBezTo>
                    <a:cubicBezTo>
                      <a:pt x="12" y="99"/>
                      <a:pt x="10" y="99"/>
                      <a:pt x="10" y="101"/>
                    </a:cubicBezTo>
                    <a:cubicBezTo>
                      <a:pt x="11" y="101"/>
                      <a:pt x="13" y="100"/>
                      <a:pt x="15" y="100"/>
                    </a:cubicBezTo>
                    <a:cubicBezTo>
                      <a:pt x="14" y="102"/>
                      <a:pt x="12" y="103"/>
                      <a:pt x="10" y="103"/>
                    </a:cubicBezTo>
                    <a:cubicBezTo>
                      <a:pt x="8" y="103"/>
                      <a:pt x="7" y="102"/>
                      <a:pt x="6" y="102"/>
                    </a:cubicBezTo>
                    <a:cubicBezTo>
                      <a:pt x="5" y="104"/>
                      <a:pt x="6" y="103"/>
                      <a:pt x="7" y="107"/>
                    </a:cubicBezTo>
                    <a:cubicBezTo>
                      <a:pt x="8" y="106"/>
                      <a:pt x="9" y="105"/>
                      <a:pt x="11" y="105"/>
                    </a:cubicBezTo>
                    <a:cubicBezTo>
                      <a:pt x="11" y="105"/>
                      <a:pt x="11" y="105"/>
                      <a:pt x="12" y="105"/>
                    </a:cubicBezTo>
                    <a:cubicBezTo>
                      <a:pt x="14" y="106"/>
                      <a:pt x="14" y="108"/>
                      <a:pt x="12" y="109"/>
                    </a:cubicBezTo>
                    <a:cubicBezTo>
                      <a:pt x="12" y="110"/>
                      <a:pt x="9" y="110"/>
                      <a:pt x="8" y="110"/>
                    </a:cubicBezTo>
                    <a:cubicBezTo>
                      <a:pt x="6" y="110"/>
                      <a:pt x="3" y="110"/>
                      <a:pt x="2" y="112"/>
                    </a:cubicBezTo>
                    <a:cubicBezTo>
                      <a:pt x="6" y="114"/>
                      <a:pt x="9" y="116"/>
                      <a:pt x="13" y="119"/>
                    </a:cubicBezTo>
                    <a:cubicBezTo>
                      <a:pt x="12" y="119"/>
                      <a:pt x="12" y="120"/>
                      <a:pt x="12" y="120"/>
                    </a:cubicBezTo>
                    <a:cubicBezTo>
                      <a:pt x="15" y="119"/>
                      <a:pt x="18" y="117"/>
                      <a:pt x="20" y="117"/>
                    </a:cubicBezTo>
                    <a:cubicBezTo>
                      <a:pt x="20" y="117"/>
                      <a:pt x="20" y="117"/>
                      <a:pt x="20" y="117"/>
                    </a:cubicBezTo>
                    <a:cubicBezTo>
                      <a:pt x="24" y="117"/>
                      <a:pt x="33" y="119"/>
                      <a:pt x="36" y="121"/>
                    </a:cubicBezTo>
                    <a:cubicBezTo>
                      <a:pt x="40" y="124"/>
                      <a:pt x="47" y="127"/>
                      <a:pt x="47" y="132"/>
                    </a:cubicBezTo>
                    <a:cubicBezTo>
                      <a:pt x="48" y="127"/>
                      <a:pt x="47" y="130"/>
                      <a:pt x="50" y="128"/>
                    </a:cubicBezTo>
                    <a:cubicBezTo>
                      <a:pt x="51" y="127"/>
                      <a:pt x="53" y="128"/>
                      <a:pt x="52" y="126"/>
                    </a:cubicBezTo>
                    <a:cubicBezTo>
                      <a:pt x="57" y="128"/>
                      <a:pt x="61" y="130"/>
                      <a:pt x="66" y="133"/>
                    </a:cubicBezTo>
                    <a:cubicBezTo>
                      <a:pt x="62" y="137"/>
                      <a:pt x="67" y="140"/>
                      <a:pt x="71" y="140"/>
                    </a:cubicBezTo>
                    <a:cubicBezTo>
                      <a:pt x="72" y="140"/>
                      <a:pt x="73" y="140"/>
                      <a:pt x="73" y="139"/>
                    </a:cubicBezTo>
                    <a:cubicBezTo>
                      <a:pt x="75" y="139"/>
                      <a:pt x="75" y="138"/>
                      <a:pt x="77" y="138"/>
                    </a:cubicBezTo>
                    <a:cubicBezTo>
                      <a:pt x="78" y="138"/>
                      <a:pt x="78" y="138"/>
                      <a:pt x="78" y="138"/>
                    </a:cubicBezTo>
                    <a:cubicBezTo>
                      <a:pt x="81" y="138"/>
                      <a:pt x="83" y="139"/>
                      <a:pt x="85" y="141"/>
                    </a:cubicBezTo>
                    <a:cubicBezTo>
                      <a:pt x="82" y="141"/>
                      <a:pt x="82" y="139"/>
                      <a:pt x="79" y="139"/>
                    </a:cubicBezTo>
                    <a:cubicBezTo>
                      <a:pt x="79" y="139"/>
                      <a:pt x="79" y="139"/>
                      <a:pt x="78" y="139"/>
                    </a:cubicBezTo>
                    <a:cubicBezTo>
                      <a:pt x="75" y="139"/>
                      <a:pt x="75" y="142"/>
                      <a:pt x="73" y="144"/>
                    </a:cubicBezTo>
                    <a:cubicBezTo>
                      <a:pt x="75" y="146"/>
                      <a:pt x="77" y="147"/>
                      <a:pt x="80" y="148"/>
                    </a:cubicBezTo>
                    <a:cubicBezTo>
                      <a:pt x="77" y="155"/>
                      <a:pt x="73" y="153"/>
                      <a:pt x="80" y="160"/>
                    </a:cubicBezTo>
                    <a:cubicBezTo>
                      <a:pt x="82" y="162"/>
                      <a:pt x="83" y="164"/>
                      <a:pt x="84" y="165"/>
                    </a:cubicBezTo>
                    <a:cubicBezTo>
                      <a:pt x="85" y="166"/>
                      <a:pt x="85" y="167"/>
                      <a:pt x="85" y="167"/>
                    </a:cubicBezTo>
                    <a:cubicBezTo>
                      <a:pt x="88" y="171"/>
                      <a:pt x="100" y="172"/>
                      <a:pt x="105" y="174"/>
                    </a:cubicBezTo>
                    <a:cubicBezTo>
                      <a:pt x="101" y="179"/>
                      <a:pt x="102" y="180"/>
                      <a:pt x="104" y="187"/>
                    </a:cubicBezTo>
                    <a:cubicBezTo>
                      <a:pt x="105" y="190"/>
                      <a:pt x="103" y="190"/>
                      <a:pt x="104" y="193"/>
                    </a:cubicBezTo>
                    <a:cubicBezTo>
                      <a:pt x="104" y="192"/>
                      <a:pt x="103" y="192"/>
                      <a:pt x="103" y="192"/>
                    </a:cubicBezTo>
                    <a:cubicBezTo>
                      <a:pt x="102" y="192"/>
                      <a:pt x="102" y="192"/>
                      <a:pt x="101" y="193"/>
                    </a:cubicBezTo>
                    <a:cubicBezTo>
                      <a:pt x="100" y="195"/>
                      <a:pt x="103" y="198"/>
                      <a:pt x="106" y="200"/>
                    </a:cubicBezTo>
                    <a:cubicBezTo>
                      <a:pt x="105" y="200"/>
                      <a:pt x="105" y="201"/>
                      <a:pt x="104" y="202"/>
                    </a:cubicBezTo>
                    <a:cubicBezTo>
                      <a:pt x="103" y="205"/>
                      <a:pt x="104" y="213"/>
                      <a:pt x="104" y="216"/>
                    </a:cubicBezTo>
                    <a:cubicBezTo>
                      <a:pt x="104" y="220"/>
                      <a:pt x="104" y="224"/>
                      <a:pt x="105" y="228"/>
                    </a:cubicBezTo>
                    <a:cubicBezTo>
                      <a:pt x="105" y="230"/>
                      <a:pt x="107" y="230"/>
                      <a:pt x="107" y="231"/>
                    </a:cubicBezTo>
                    <a:cubicBezTo>
                      <a:pt x="106" y="234"/>
                      <a:pt x="102" y="236"/>
                      <a:pt x="101" y="239"/>
                    </a:cubicBezTo>
                    <a:cubicBezTo>
                      <a:pt x="99" y="241"/>
                      <a:pt x="99" y="245"/>
                      <a:pt x="98" y="248"/>
                    </a:cubicBezTo>
                    <a:cubicBezTo>
                      <a:pt x="97" y="256"/>
                      <a:pt x="97" y="268"/>
                      <a:pt x="91" y="273"/>
                    </a:cubicBezTo>
                    <a:cubicBezTo>
                      <a:pt x="90" y="274"/>
                      <a:pt x="89" y="275"/>
                      <a:pt x="88" y="275"/>
                    </a:cubicBezTo>
                    <a:cubicBezTo>
                      <a:pt x="89" y="276"/>
                      <a:pt x="90" y="276"/>
                      <a:pt x="91" y="277"/>
                    </a:cubicBezTo>
                    <a:cubicBezTo>
                      <a:pt x="91" y="276"/>
                      <a:pt x="92" y="276"/>
                      <a:pt x="93" y="276"/>
                    </a:cubicBezTo>
                    <a:cubicBezTo>
                      <a:pt x="96" y="276"/>
                      <a:pt x="99" y="278"/>
                      <a:pt x="100" y="280"/>
                    </a:cubicBezTo>
                    <a:cubicBezTo>
                      <a:pt x="101" y="282"/>
                      <a:pt x="100" y="284"/>
                      <a:pt x="100" y="286"/>
                    </a:cubicBezTo>
                    <a:cubicBezTo>
                      <a:pt x="100" y="286"/>
                      <a:pt x="100" y="286"/>
                      <a:pt x="100" y="286"/>
                    </a:cubicBezTo>
                    <a:cubicBezTo>
                      <a:pt x="102" y="286"/>
                      <a:pt x="103" y="286"/>
                      <a:pt x="103" y="286"/>
                    </a:cubicBezTo>
                    <a:cubicBezTo>
                      <a:pt x="104" y="286"/>
                      <a:pt x="106" y="286"/>
                      <a:pt x="107" y="287"/>
                    </a:cubicBezTo>
                    <a:cubicBezTo>
                      <a:pt x="107" y="287"/>
                      <a:pt x="107" y="287"/>
                      <a:pt x="107" y="287"/>
                    </a:cubicBezTo>
                    <a:cubicBezTo>
                      <a:pt x="109" y="287"/>
                      <a:pt x="112" y="287"/>
                      <a:pt x="114" y="288"/>
                    </a:cubicBezTo>
                    <a:cubicBezTo>
                      <a:pt x="115" y="288"/>
                      <a:pt x="116" y="289"/>
                      <a:pt x="116" y="289"/>
                    </a:cubicBezTo>
                    <a:cubicBezTo>
                      <a:pt x="117" y="289"/>
                      <a:pt x="117" y="289"/>
                      <a:pt x="117" y="289"/>
                    </a:cubicBezTo>
                    <a:cubicBezTo>
                      <a:pt x="119" y="290"/>
                      <a:pt x="120" y="292"/>
                      <a:pt x="121" y="292"/>
                    </a:cubicBezTo>
                    <a:cubicBezTo>
                      <a:pt x="122" y="293"/>
                      <a:pt x="122" y="293"/>
                      <a:pt x="122" y="293"/>
                    </a:cubicBezTo>
                    <a:cubicBezTo>
                      <a:pt x="122" y="293"/>
                      <a:pt x="122" y="293"/>
                      <a:pt x="122" y="293"/>
                    </a:cubicBezTo>
                    <a:cubicBezTo>
                      <a:pt x="122" y="293"/>
                      <a:pt x="123" y="293"/>
                      <a:pt x="123" y="293"/>
                    </a:cubicBezTo>
                    <a:cubicBezTo>
                      <a:pt x="125" y="292"/>
                      <a:pt x="126" y="292"/>
                      <a:pt x="127" y="292"/>
                    </a:cubicBezTo>
                    <a:cubicBezTo>
                      <a:pt x="127" y="292"/>
                      <a:pt x="128" y="292"/>
                      <a:pt x="128" y="292"/>
                    </a:cubicBezTo>
                    <a:cubicBezTo>
                      <a:pt x="129" y="292"/>
                      <a:pt x="129" y="292"/>
                      <a:pt x="129" y="292"/>
                    </a:cubicBezTo>
                    <a:cubicBezTo>
                      <a:pt x="129" y="292"/>
                      <a:pt x="130" y="293"/>
                      <a:pt x="131" y="293"/>
                    </a:cubicBezTo>
                    <a:cubicBezTo>
                      <a:pt x="131" y="294"/>
                      <a:pt x="132" y="294"/>
                      <a:pt x="133" y="295"/>
                    </a:cubicBezTo>
                    <a:cubicBezTo>
                      <a:pt x="134" y="295"/>
                      <a:pt x="135" y="296"/>
                      <a:pt x="136" y="297"/>
                    </a:cubicBezTo>
                    <a:cubicBezTo>
                      <a:pt x="137" y="297"/>
                      <a:pt x="137" y="297"/>
                      <a:pt x="137" y="297"/>
                    </a:cubicBezTo>
                    <a:cubicBezTo>
                      <a:pt x="142" y="297"/>
                      <a:pt x="142" y="297"/>
                      <a:pt x="142" y="297"/>
                    </a:cubicBezTo>
                    <a:cubicBezTo>
                      <a:pt x="144" y="297"/>
                      <a:pt x="147" y="297"/>
                      <a:pt x="149" y="297"/>
                    </a:cubicBezTo>
                    <a:cubicBezTo>
                      <a:pt x="150" y="297"/>
                      <a:pt x="151" y="297"/>
                      <a:pt x="152" y="297"/>
                    </a:cubicBezTo>
                    <a:cubicBezTo>
                      <a:pt x="152" y="295"/>
                      <a:pt x="152" y="294"/>
                      <a:pt x="154" y="292"/>
                    </a:cubicBezTo>
                    <a:cubicBezTo>
                      <a:pt x="154" y="292"/>
                      <a:pt x="155" y="291"/>
                      <a:pt x="157" y="291"/>
                    </a:cubicBezTo>
                    <a:cubicBezTo>
                      <a:pt x="157" y="291"/>
                      <a:pt x="158" y="291"/>
                      <a:pt x="159" y="292"/>
                    </a:cubicBezTo>
                    <a:cubicBezTo>
                      <a:pt x="160" y="292"/>
                      <a:pt x="162" y="293"/>
                      <a:pt x="164" y="294"/>
                    </a:cubicBezTo>
                    <a:cubicBezTo>
                      <a:pt x="167" y="295"/>
                      <a:pt x="167" y="295"/>
                      <a:pt x="167" y="295"/>
                    </a:cubicBezTo>
                    <a:cubicBezTo>
                      <a:pt x="168" y="295"/>
                      <a:pt x="169" y="296"/>
                      <a:pt x="169" y="296"/>
                    </a:cubicBezTo>
                    <a:cubicBezTo>
                      <a:pt x="175" y="299"/>
                      <a:pt x="180" y="300"/>
                      <a:pt x="187" y="301"/>
                    </a:cubicBezTo>
                    <a:cubicBezTo>
                      <a:pt x="192" y="302"/>
                      <a:pt x="192" y="302"/>
                      <a:pt x="192" y="302"/>
                    </a:cubicBezTo>
                    <a:cubicBezTo>
                      <a:pt x="190" y="305"/>
                      <a:pt x="190" y="305"/>
                      <a:pt x="190" y="305"/>
                    </a:cubicBezTo>
                    <a:cubicBezTo>
                      <a:pt x="191" y="306"/>
                      <a:pt x="191" y="306"/>
                      <a:pt x="191" y="306"/>
                    </a:cubicBezTo>
                    <a:cubicBezTo>
                      <a:pt x="192" y="306"/>
                      <a:pt x="192" y="306"/>
                      <a:pt x="192" y="306"/>
                    </a:cubicBezTo>
                    <a:cubicBezTo>
                      <a:pt x="192" y="306"/>
                      <a:pt x="193" y="306"/>
                      <a:pt x="193" y="306"/>
                    </a:cubicBezTo>
                    <a:cubicBezTo>
                      <a:pt x="195" y="307"/>
                      <a:pt x="199" y="308"/>
                      <a:pt x="206" y="309"/>
                    </a:cubicBezTo>
                    <a:cubicBezTo>
                      <a:pt x="207" y="309"/>
                      <a:pt x="208" y="309"/>
                      <a:pt x="208" y="309"/>
                    </a:cubicBezTo>
                    <a:cubicBezTo>
                      <a:pt x="209" y="309"/>
                      <a:pt x="210" y="309"/>
                      <a:pt x="211" y="309"/>
                    </a:cubicBezTo>
                    <a:cubicBezTo>
                      <a:pt x="211" y="309"/>
                      <a:pt x="211" y="309"/>
                      <a:pt x="211" y="309"/>
                    </a:cubicBezTo>
                    <a:cubicBezTo>
                      <a:pt x="212" y="309"/>
                      <a:pt x="212" y="308"/>
                      <a:pt x="213" y="308"/>
                    </a:cubicBezTo>
                    <a:cubicBezTo>
                      <a:pt x="226" y="306"/>
                      <a:pt x="226" y="306"/>
                      <a:pt x="226" y="306"/>
                    </a:cubicBezTo>
                    <a:cubicBezTo>
                      <a:pt x="225" y="302"/>
                      <a:pt x="224" y="299"/>
                      <a:pt x="223" y="296"/>
                    </a:cubicBezTo>
                    <a:cubicBezTo>
                      <a:pt x="222" y="295"/>
                      <a:pt x="221" y="295"/>
                      <a:pt x="221" y="294"/>
                    </a:cubicBezTo>
                    <a:cubicBezTo>
                      <a:pt x="223" y="292"/>
                      <a:pt x="224" y="289"/>
                      <a:pt x="225" y="287"/>
                    </a:cubicBezTo>
                    <a:cubicBezTo>
                      <a:pt x="230" y="280"/>
                      <a:pt x="238" y="277"/>
                      <a:pt x="246" y="274"/>
                    </a:cubicBezTo>
                    <a:cubicBezTo>
                      <a:pt x="248" y="272"/>
                      <a:pt x="250" y="271"/>
                      <a:pt x="252" y="271"/>
                    </a:cubicBezTo>
                    <a:cubicBezTo>
                      <a:pt x="253" y="271"/>
                      <a:pt x="254" y="271"/>
                      <a:pt x="254" y="272"/>
                    </a:cubicBezTo>
                    <a:cubicBezTo>
                      <a:pt x="257" y="273"/>
                      <a:pt x="259" y="273"/>
                      <a:pt x="262" y="273"/>
                    </a:cubicBezTo>
                    <a:cubicBezTo>
                      <a:pt x="263" y="273"/>
                      <a:pt x="263" y="273"/>
                      <a:pt x="264" y="273"/>
                    </a:cubicBezTo>
                    <a:cubicBezTo>
                      <a:pt x="265" y="273"/>
                      <a:pt x="265" y="273"/>
                      <a:pt x="266" y="273"/>
                    </a:cubicBezTo>
                    <a:cubicBezTo>
                      <a:pt x="266" y="273"/>
                      <a:pt x="266" y="273"/>
                      <a:pt x="267" y="273"/>
                    </a:cubicBezTo>
                    <a:cubicBezTo>
                      <a:pt x="267" y="273"/>
                      <a:pt x="267" y="273"/>
                      <a:pt x="267" y="273"/>
                    </a:cubicBezTo>
                    <a:cubicBezTo>
                      <a:pt x="268" y="273"/>
                      <a:pt x="269" y="273"/>
                      <a:pt x="270" y="273"/>
                    </a:cubicBezTo>
                    <a:cubicBezTo>
                      <a:pt x="270" y="273"/>
                      <a:pt x="270" y="273"/>
                      <a:pt x="270" y="273"/>
                    </a:cubicBezTo>
                    <a:cubicBezTo>
                      <a:pt x="271" y="273"/>
                      <a:pt x="270" y="275"/>
                      <a:pt x="271" y="275"/>
                    </a:cubicBezTo>
                    <a:cubicBezTo>
                      <a:pt x="272" y="275"/>
                      <a:pt x="273" y="275"/>
                      <a:pt x="274" y="275"/>
                    </a:cubicBezTo>
                    <a:cubicBezTo>
                      <a:pt x="276" y="275"/>
                      <a:pt x="278" y="275"/>
                      <a:pt x="279" y="275"/>
                    </a:cubicBezTo>
                    <a:cubicBezTo>
                      <a:pt x="278" y="277"/>
                      <a:pt x="279" y="277"/>
                      <a:pt x="281" y="277"/>
                    </a:cubicBezTo>
                    <a:cubicBezTo>
                      <a:pt x="282" y="277"/>
                      <a:pt x="283" y="277"/>
                      <a:pt x="283" y="277"/>
                    </a:cubicBezTo>
                    <a:cubicBezTo>
                      <a:pt x="284" y="277"/>
                      <a:pt x="285" y="277"/>
                      <a:pt x="286" y="277"/>
                    </a:cubicBezTo>
                    <a:cubicBezTo>
                      <a:pt x="286" y="277"/>
                      <a:pt x="287" y="277"/>
                      <a:pt x="287" y="278"/>
                    </a:cubicBezTo>
                    <a:cubicBezTo>
                      <a:pt x="288" y="278"/>
                      <a:pt x="288" y="282"/>
                      <a:pt x="289" y="282"/>
                    </a:cubicBezTo>
                    <a:cubicBezTo>
                      <a:pt x="291" y="282"/>
                      <a:pt x="293" y="283"/>
                      <a:pt x="296" y="283"/>
                    </a:cubicBezTo>
                    <a:cubicBezTo>
                      <a:pt x="298" y="283"/>
                      <a:pt x="299" y="284"/>
                      <a:pt x="300" y="285"/>
                    </a:cubicBezTo>
                    <a:cubicBezTo>
                      <a:pt x="301" y="285"/>
                      <a:pt x="301" y="286"/>
                      <a:pt x="301" y="286"/>
                    </a:cubicBezTo>
                    <a:cubicBezTo>
                      <a:pt x="301" y="286"/>
                      <a:pt x="301" y="286"/>
                      <a:pt x="301" y="286"/>
                    </a:cubicBezTo>
                    <a:cubicBezTo>
                      <a:pt x="302" y="287"/>
                      <a:pt x="302" y="287"/>
                      <a:pt x="303" y="287"/>
                    </a:cubicBezTo>
                    <a:cubicBezTo>
                      <a:pt x="304" y="287"/>
                      <a:pt x="305" y="287"/>
                      <a:pt x="307" y="287"/>
                    </a:cubicBezTo>
                    <a:cubicBezTo>
                      <a:pt x="307" y="287"/>
                      <a:pt x="308" y="286"/>
                      <a:pt x="309" y="286"/>
                    </a:cubicBezTo>
                    <a:cubicBezTo>
                      <a:pt x="310" y="286"/>
                      <a:pt x="311" y="287"/>
                      <a:pt x="310" y="288"/>
                    </a:cubicBezTo>
                    <a:cubicBezTo>
                      <a:pt x="310" y="288"/>
                      <a:pt x="310" y="288"/>
                      <a:pt x="310" y="288"/>
                    </a:cubicBezTo>
                    <a:cubicBezTo>
                      <a:pt x="319" y="288"/>
                      <a:pt x="325" y="279"/>
                      <a:pt x="331" y="274"/>
                    </a:cubicBezTo>
                    <a:cubicBezTo>
                      <a:pt x="334" y="271"/>
                      <a:pt x="335" y="271"/>
                      <a:pt x="338" y="270"/>
                    </a:cubicBezTo>
                    <a:cubicBezTo>
                      <a:pt x="341" y="270"/>
                      <a:pt x="344" y="267"/>
                      <a:pt x="346" y="265"/>
                    </a:cubicBezTo>
                    <a:cubicBezTo>
                      <a:pt x="347" y="264"/>
                      <a:pt x="348" y="264"/>
                      <a:pt x="348" y="263"/>
                    </a:cubicBezTo>
                    <a:cubicBezTo>
                      <a:pt x="347" y="263"/>
                      <a:pt x="347" y="263"/>
                      <a:pt x="347" y="263"/>
                    </a:cubicBezTo>
                    <a:cubicBezTo>
                      <a:pt x="347" y="261"/>
                      <a:pt x="347" y="261"/>
                      <a:pt x="347" y="261"/>
                    </a:cubicBezTo>
                    <a:cubicBezTo>
                      <a:pt x="348" y="260"/>
                      <a:pt x="349" y="258"/>
                      <a:pt x="349" y="257"/>
                    </a:cubicBezTo>
                    <a:cubicBezTo>
                      <a:pt x="350" y="256"/>
                      <a:pt x="350" y="256"/>
                      <a:pt x="350" y="256"/>
                    </a:cubicBezTo>
                    <a:cubicBezTo>
                      <a:pt x="350" y="255"/>
                      <a:pt x="350" y="255"/>
                      <a:pt x="351" y="254"/>
                    </a:cubicBezTo>
                    <a:cubicBezTo>
                      <a:pt x="333" y="247"/>
                      <a:pt x="333" y="247"/>
                      <a:pt x="333" y="247"/>
                    </a:cubicBezTo>
                    <a:cubicBezTo>
                      <a:pt x="331" y="246"/>
                      <a:pt x="329" y="243"/>
                      <a:pt x="329" y="240"/>
                    </a:cubicBezTo>
                    <a:cubicBezTo>
                      <a:pt x="328" y="237"/>
                      <a:pt x="330" y="233"/>
                      <a:pt x="332" y="230"/>
                    </a:cubicBezTo>
                    <a:cubicBezTo>
                      <a:pt x="319" y="214"/>
                      <a:pt x="319" y="214"/>
                      <a:pt x="319" y="214"/>
                    </a:cubicBezTo>
                    <a:cubicBezTo>
                      <a:pt x="324" y="213"/>
                      <a:pt x="324" y="213"/>
                      <a:pt x="324" y="213"/>
                    </a:cubicBezTo>
                    <a:cubicBezTo>
                      <a:pt x="325" y="212"/>
                      <a:pt x="326" y="212"/>
                      <a:pt x="328" y="211"/>
                    </a:cubicBezTo>
                    <a:cubicBezTo>
                      <a:pt x="330" y="211"/>
                      <a:pt x="333" y="210"/>
                      <a:pt x="335" y="209"/>
                    </a:cubicBezTo>
                    <a:cubicBezTo>
                      <a:pt x="335" y="209"/>
                      <a:pt x="335" y="208"/>
                      <a:pt x="335" y="207"/>
                    </a:cubicBezTo>
                    <a:cubicBezTo>
                      <a:pt x="335" y="207"/>
                      <a:pt x="336" y="207"/>
                      <a:pt x="336" y="206"/>
                    </a:cubicBezTo>
                    <a:cubicBezTo>
                      <a:pt x="335" y="206"/>
                      <a:pt x="335" y="205"/>
                      <a:pt x="334" y="205"/>
                    </a:cubicBezTo>
                    <a:cubicBezTo>
                      <a:pt x="328" y="197"/>
                      <a:pt x="328" y="197"/>
                      <a:pt x="328" y="197"/>
                    </a:cubicBezTo>
                    <a:cubicBezTo>
                      <a:pt x="327" y="195"/>
                      <a:pt x="326" y="193"/>
                      <a:pt x="327" y="192"/>
                    </a:cubicBezTo>
                    <a:cubicBezTo>
                      <a:pt x="327" y="189"/>
                      <a:pt x="330" y="188"/>
                      <a:pt x="331" y="187"/>
                    </a:cubicBezTo>
                    <a:cubicBezTo>
                      <a:pt x="332" y="186"/>
                      <a:pt x="332" y="186"/>
                      <a:pt x="332" y="186"/>
                    </a:cubicBezTo>
                    <a:cubicBezTo>
                      <a:pt x="331" y="186"/>
                      <a:pt x="331" y="186"/>
                      <a:pt x="331" y="185"/>
                    </a:cubicBezTo>
                    <a:cubicBezTo>
                      <a:pt x="330" y="185"/>
                      <a:pt x="330" y="185"/>
                      <a:pt x="330" y="185"/>
                    </a:cubicBezTo>
                    <a:cubicBezTo>
                      <a:pt x="327" y="181"/>
                      <a:pt x="327" y="180"/>
                      <a:pt x="327" y="179"/>
                    </a:cubicBezTo>
                    <a:cubicBezTo>
                      <a:pt x="327" y="179"/>
                      <a:pt x="327" y="178"/>
                      <a:pt x="327" y="177"/>
                    </a:cubicBezTo>
                    <a:cubicBezTo>
                      <a:pt x="327" y="174"/>
                      <a:pt x="327" y="173"/>
                      <a:pt x="327" y="172"/>
                    </a:cubicBezTo>
                    <a:cubicBezTo>
                      <a:pt x="327" y="172"/>
                      <a:pt x="326" y="172"/>
                      <a:pt x="325" y="172"/>
                    </a:cubicBezTo>
                    <a:cubicBezTo>
                      <a:pt x="325" y="172"/>
                      <a:pt x="325" y="172"/>
                      <a:pt x="324" y="172"/>
                    </a:cubicBezTo>
                    <a:cubicBezTo>
                      <a:pt x="324" y="172"/>
                      <a:pt x="324" y="172"/>
                      <a:pt x="324" y="172"/>
                    </a:cubicBezTo>
                    <a:cubicBezTo>
                      <a:pt x="323" y="172"/>
                      <a:pt x="322" y="172"/>
                      <a:pt x="321" y="173"/>
                    </a:cubicBezTo>
                    <a:cubicBezTo>
                      <a:pt x="321" y="173"/>
                      <a:pt x="321" y="173"/>
                      <a:pt x="321" y="173"/>
                    </a:cubicBezTo>
                    <a:cubicBezTo>
                      <a:pt x="320" y="173"/>
                      <a:pt x="319" y="174"/>
                      <a:pt x="318" y="174"/>
                    </a:cubicBezTo>
                    <a:cubicBezTo>
                      <a:pt x="317" y="173"/>
                      <a:pt x="317" y="173"/>
                      <a:pt x="317" y="173"/>
                    </a:cubicBezTo>
                    <a:cubicBezTo>
                      <a:pt x="318" y="174"/>
                      <a:pt x="318" y="174"/>
                      <a:pt x="318" y="174"/>
                    </a:cubicBezTo>
                    <a:cubicBezTo>
                      <a:pt x="316" y="176"/>
                      <a:pt x="314" y="178"/>
                      <a:pt x="312" y="179"/>
                    </a:cubicBezTo>
                    <a:cubicBezTo>
                      <a:pt x="310" y="181"/>
                      <a:pt x="310" y="181"/>
                      <a:pt x="310" y="181"/>
                    </a:cubicBezTo>
                    <a:cubicBezTo>
                      <a:pt x="310" y="181"/>
                      <a:pt x="309" y="182"/>
                      <a:pt x="308" y="183"/>
                    </a:cubicBezTo>
                    <a:cubicBezTo>
                      <a:pt x="307" y="183"/>
                      <a:pt x="307" y="183"/>
                      <a:pt x="307" y="183"/>
                    </a:cubicBezTo>
                    <a:cubicBezTo>
                      <a:pt x="303" y="179"/>
                      <a:pt x="303" y="179"/>
                      <a:pt x="303" y="179"/>
                    </a:cubicBezTo>
                    <a:cubicBezTo>
                      <a:pt x="303" y="178"/>
                      <a:pt x="303" y="178"/>
                      <a:pt x="303" y="178"/>
                    </a:cubicBezTo>
                    <a:cubicBezTo>
                      <a:pt x="303" y="177"/>
                      <a:pt x="304" y="177"/>
                      <a:pt x="304" y="176"/>
                    </a:cubicBezTo>
                    <a:cubicBezTo>
                      <a:pt x="305" y="176"/>
                      <a:pt x="305" y="176"/>
                      <a:pt x="305" y="176"/>
                    </a:cubicBezTo>
                    <a:cubicBezTo>
                      <a:pt x="306" y="174"/>
                      <a:pt x="307" y="173"/>
                      <a:pt x="307" y="173"/>
                    </a:cubicBezTo>
                    <a:cubicBezTo>
                      <a:pt x="307" y="172"/>
                      <a:pt x="307" y="172"/>
                      <a:pt x="307" y="172"/>
                    </a:cubicBezTo>
                    <a:cubicBezTo>
                      <a:pt x="305" y="170"/>
                      <a:pt x="306" y="168"/>
                      <a:pt x="307" y="166"/>
                    </a:cubicBezTo>
                    <a:cubicBezTo>
                      <a:pt x="309" y="162"/>
                      <a:pt x="312" y="159"/>
                      <a:pt x="315" y="156"/>
                    </a:cubicBezTo>
                    <a:cubicBezTo>
                      <a:pt x="316" y="154"/>
                      <a:pt x="316" y="154"/>
                      <a:pt x="316" y="154"/>
                    </a:cubicBezTo>
                    <a:cubicBezTo>
                      <a:pt x="317" y="154"/>
                      <a:pt x="317" y="152"/>
                      <a:pt x="317" y="151"/>
                    </a:cubicBezTo>
                    <a:cubicBezTo>
                      <a:pt x="317" y="150"/>
                      <a:pt x="317" y="150"/>
                      <a:pt x="317" y="150"/>
                    </a:cubicBezTo>
                    <a:cubicBezTo>
                      <a:pt x="318" y="149"/>
                      <a:pt x="318" y="148"/>
                      <a:pt x="319" y="147"/>
                    </a:cubicBezTo>
                    <a:cubicBezTo>
                      <a:pt x="320" y="146"/>
                      <a:pt x="322" y="145"/>
                      <a:pt x="323" y="144"/>
                    </a:cubicBezTo>
                    <a:cubicBezTo>
                      <a:pt x="324" y="144"/>
                      <a:pt x="325" y="144"/>
                      <a:pt x="325" y="143"/>
                    </a:cubicBezTo>
                    <a:cubicBezTo>
                      <a:pt x="327" y="142"/>
                      <a:pt x="329" y="141"/>
                      <a:pt x="330" y="139"/>
                    </a:cubicBezTo>
                    <a:cubicBezTo>
                      <a:pt x="326" y="138"/>
                      <a:pt x="326" y="138"/>
                      <a:pt x="326" y="138"/>
                    </a:cubicBezTo>
                    <a:cubicBezTo>
                      <a:pt x="330" y="133"/>
                      <a:pt x="330" y="133"/>
                      <a:pt x="330" y="133"/>
                    </a:cubicBezTo>
                    <a:cubicBezTo>
                      <a:pt x="332" y="131"/>
                      <a:pt x="333" y="129"/>
                      <a:pt x="336" y="128"/>
                    </a:cubicBezTo>
                    <a:cubicBezTo>
                      <a:pt x="337" y="128"/>
                      <a:pt x="337" y="128"/>
                      <a:pt x="337" y="128"/>
                    </a:cubicBezTo>
                    <a:cubicBezTo>
                      <a:pt x="339" y="128"/>
                      <a:pt x="341" y="129"/>
                      <a:pt x="342" y="130"/>
                    </a:cubicBezTo>
                    <a:cubicBezTo>
                      <a:pt x="343" y="130"/>
                      <a:pt x="343" y="130"/>
                      <a:pt x="343" y="130"/>
                    </a:cubicBezTo>
                    <a:cubicBezTo>
                      <a:pt x="344" y="131"/>
                      <a:pt x="344" y="131"/>
                      <a:pt x="344" y="131"/>
                    </a:cubicBezTo>
                    <a:cubicBezTo>
                      <a:pt x="344" y="130"/>
                      <a:pt x="344" y="130"/>
                      <a:pt x="344" y="130"/>
                    </a:cubicBezTo>
                    <a:cubicBezTo>
                      <a:pt x="344" y="130"/>
                      <a:pt x="344" y="130"/>
                      <a:pt x="344" y="130"/>
                    </a:cubicBezTo>
                    <a:cubicBezTo>
                      <a:pt x="345" y="130"/>
                      <a:pt x="345" y="130"/>
                      <a:pt x="346" y="130"/>
                    </a:cubicBezTo>
                    <a:cubicBezTo>
                      <a:pt x="346" y="130"/>
                      <a:pt x="346" y="130"/>
                      <a:pt x="346" y="130"/>
                    </a:cubicBezTo>
                    <a:cubicBezTo>
                      <a:pt x="347" y="129"/>
                      <a:pt x="347" y="128"/>
                      <a:pt x="347" y="127"/>
                    </a:cubicBezTo>
                    <a:cubicBezTo>
                      <a:pt x="347" y="126"/>
                      <a:pt x="347" y="126"/>
                      <a:pt x="347" y="126"/>
                    </a:cubicBezTo>
                    <a:cubicBezTo>
                      <a:pt x="348" y="126"/>
                      <a:pt x="348" y="126"/>
                      <a:pt x="348" y="126"/>
                    </a:cubicBezTo>
                    <a:cubicBezTo>
                      <a:pt x="348" y="125"/>
                      <a:pt x="347" y="124"/>
                      <a:pt x="347" y="123"/>
                    </a:cubicBezTo>
                    <a:cubicBezTo>
                      <a:pt x="347" y="122"/>
                      <a:pt x="347" y="120"/>
                      <a:pt x="347" y="119"/>
                    </a:cubicBezTo>
                    <a:cubicBezTo>
                      <a:pt x="347" y="118"/>
                      <a:pt x="347" y="117"/>
                      <a:pt x="347" y="116"/>
                    </a:cubicBezTo>
                    <a:cubicBezTo>
                      <a:pt x="347" y="114"/>
                      <a:pt x="347" y="114"/>
                      <a:pt x="347" y="114"/>
                    </a:cubicBezTo>
                    <a:cubicBezTo>
                      <a:pt x="347" y="114"/>
                      <a:pt x="347" y="114"/>
                      <a:pt x="347" y="114"/>
                    </a:cubicBezTo>
                    <a:cubicBezTo>
                      <a:pt x="347" y="113"/>
                      <a:pt x="347" y="113"/>
                      <a:pt x="347" y="112"/>
                    </a:cubicBezTo>
                    <a:cubicBezTo>
                      <a:pt x="347" y="112"/>
                      <a:pt x="347" y="112"/>
                      <a:pt x="347" y="112"/>
                    </a:cubicBezTo>
                    <a:cubicBezTo>
                      <a:pt x="348" y="111"/>
                      <a:pt x="348" y="110"/>
                      <a:pt x="348" y="109"/>
                    </a:cubicBezTo>
                    <a:cubicBezTo>
                      <a:pt x="348" y="108"/>
                      <a:pt x="348" y="107"/>
                      <a:pt x="349" y="107"/>
                    </a:cubicBezTo>
                    <a:cubicBezTo>
                      <a:pt x="350" y="105"/>
                      <a:pt x="351" y="103"/>
                      <a:pt x="353" y="100"/>
                    </a:cubicBezTo>
                    <a:cubicBezTo>
                      <a:pt x="353" y="99"/>
                      <a:pt x="353" y="99"/>
                      <a:pt x="353" y="99"/>
                    </a:cubicBezTo>
                    <a:cubicBezTo>
                      <a:pt x="353" y="99"/>
                      <a:pt x="353" y="99"/>
                      <a:pt x="353" y="99"/>
                    </a:cubicBezTo>
                    <a:cubicBezTo>
                      <a:pt x="357" y="91"/>
                      <a:pt x="359" y="86"/>
                      <a:pt x="364" y="80"/>
                    </a:cubicBezTo>
                    <a:cubicBezTo>
                      <a:pt x="363" y="79"/>
                      <a:pt x="363" y="79"/>
                      <a:pt x="363" y="79"/>
                    </a:cubicBezTo>
                    <a:cubicBezTo>
                      <a:pt x="362" y="79"/>
                      <a:pt x="361" y="79"/>
                      <a:pt x="360" y="79"/>
                    </a:cubicBezTo>
                    <a:cubicBezTo>
                      <a:pt x="360" y="79"/>
                      <a:pt x="359" y="78"/>
                      <a:pt x="359" y="78"/>
                    </a:cubicBezTo>
                    <a:cubicBezTo>
                      <a:pt x="358" y="78"/>
                      <a:pt x="358" y="79"/>
                      <a:pt x="357" y="79"/>
                    </a:cubicBezTo>
                    <a:cubicBezTo>
                      <a:pt x="356" y="79"/>
                      <a:pt x="356" y="79"/>
                      <a:pt x="356" y="79"/>
                    </a:cubicBezTo>
                    <a:cubicBezTo>
                      <a:pt x="355" y="79"/>
                      <a:pt x="355" y="79"/>
                      <a:pt x="355" y="79"/>
                    </a:cubicBezTo>
                    <a:cubicBezTo>
                      <a:pt x="355" y="79"/>
                      <a:pt x="355" y="79"/>
                      <a:pt x="355" y="79"/>
                    </a:cubicBezTo>
                    <a:cubicBezTo>
                      <a:pt x="354" y="79"/>
                      <a:pt x="354" y="78"/>
                      <a:pt x="353" y="78"/>
                    </a:cubicBezTo>
                    <a:cubicBezTo>
                      <a:pt x="353" y="78"/>
                      <a:pt x="353" y="78"/>
                      <a:pt x="353" y="78"/>
                    </a:cubicBezTo>
                    <a:cubicBezTo>
                      <a:pt x="352" y="78"/>
                      <a:pt x="352" y="78"/>
                      <a:pt x="351" y="78"/>
                    </a:cubicBezTo>
                    <a:cubicBezTo>
                      <a:pt x="350" y="77"/>
                      <a:pt x="350" y="77"/>
                      <a:pt x="349" y="76"/>
                    </a:cubicBezTo>
                    <a:cubicBezTo>
                      <a:pt x="348" y="75"/>
                      <a:pt x="346" y="74"/>
                      <a:pt x="345" y="74"/>
                    </a:cubicBezTo>
                    <a:cubicBezTo>
                      <a:pt x="345" y="74"/>
                      <a:pt x="345" y="74"/>
                      <a:pt x="345" y="74"/>
                    </a:cubicBezTo>
                    <a:cubicBezTo>
                      <a:pt x="342" y="74"/>
                      <a:pt x="342" y="74"/>
                      <a:pt x="342" y="74"/>
                    </a:cubicBezTo>
                    <a:cubicBezTo>
                      <a:pt x="341" y="74"/>
                      <a:pt x="341" y="74"/>
                      <a:pt x="340" y="75"/>
                    </a:cubicBezTo>
                    <a:cubicBezTo>
                      <a:pt x="339" y="75"/>
                      <a:pt x="339" y="75"/>
                      <a:pt x="339" y="75"/>
                    </a:cubicBezTo>
                    <a:cubicBezTo>
                      <a:pt x="339" y="75"/>
                      <a:pt x="339" y="75"/>
                      <a:pt x="338" y="75"/>
                    </a:cubicBezTo>
                    <a:cubicBezTo>
                      <a:pt x="337" y="75"/>
                      <a:pt x="335" y="74"/>
                      <a:pt x="334" y="74"/>
                    </a:cubicBezTo>
                    <a:cubicBezTo>
                      <a:pt x="333" y="74"/>
                      <a:pt x="333" y="74"/>
                      <a:pt x="332" y="74"/>
                    </a:cubicBezTo>
                    <a:cubicBezTo>
                      <a:pt x="332" y="73"/>
                      <a:pt x="332" y="73"/>
                      <a:pt x="332" y="73"/>
                    </a:cubicBezTo>
                    <a:cubicBezTo>
                      <a:pt x="329" y="73"/>
                      <a:pt x="326" y="72"/>
                      <a:pt x="323" y="69"/>
                    </a:cubicBezTo>
                    <a:cubicBezTo>
                      <a:pt x="323" y="68"/>
                      <a:pt x="323" y="68"/>
                      <a:pt x="323" y="68"/>
                    </a:cubicBezTo>
                    <a:cubicBezTo>
                      <a:pt x="322" y="68"/>
                      <a:pt x="322" y="67"/>
                      <a:pt x="321" y="66"/>
                    </a:cubicBezTo>
                    <a:cubicBezTo>
                      <a:pt x="320" y="66"/>
                      <a:pt x="320" y="66"/>
                      <a:pt x="320" y="66"/>
                    </a:cubicBezTo>
                    <a:cubicBezTo>
                      <a:pt x="320" y="66"/>
                      <a:pt x="320" y="66"/>
                      <a:pt x="320" y="66"/>
                    </a:cubicBezTo>
                    <a:cubicBezTo>
                      <a:pt x="314" y="62"/>
                      <a:pt x="314" y="62"/>
                      <a:pt x="314" y="62"/>
                    </a:cubicBezTo>
                    <a:cubicBezTo>
                      <a:pt x="313" y="62"/>
                      <a:pt x="313" y="62"/>
                      <a:pt x="312" y="62"/>
                    </a:cubicBezTo>
                    <a:cubicBezTo>
                      <a:pt x="312" y="62"/>
                      <a:pt x="311" y="62"/>
                      <a:pt x="311" y="62"/>
                    </a:cubicBezTo>
                    <a:cubicBezTo>
                      <a:pt x="309" y="62"/>
                      <a:pt x="309" y="62"/>
                      <a:pt x="309" y="62"/>
                    </a:cubicBezTo>
                    <a:cubicBezTo>
                      <a:pt x="307" y="61"/>
                      <a:pt x="305" y="61"/>
                      <a:pt x="303" y="61"/>
                    </a:cubicBezTo>
                    <a:cubicBezTo>
                      <a:pt x="301" y="60"/>
                      <a:pt x="301" y="60"/>
                      <a:pt x="301" y="60"/>
                    </a:cubicBezTo>
                    <a:cubicBezTo>
                      <a:pt x="301" y="60"/>
                      <a:pt x="301" y="60"/>
                      <a:pt x="301" y="60"/>
                    </a:cubicBezTo>
                    <a:cubicBezTo>
                      <a:pt x="301" y="60"/>
                      <a:pt x="301" y="60"/>
                      <a:pt x="301" y="60"/>
                    </a:cubicBezTo>
                    <a:cubicBezTo>
                      <a:pt x="300" y="60"/>
                      <a:pt x="300" y="60"/>
                      <a:pt x="300" y="60"/>
                    </a:cubicBezTo>
                    <a:cubicBezTo>
                      <a:pt x="299" y="60"/>
                      <a:pt x="297" y="60"/>
                      <a:pt x="296" y="61"/>
                    </a:cubicBezTo>
                    <a:cubicBezTo>
                      <a:pt x="295" y="61"/>
                      <a:pt x="295" y="61"/>
                      <a:pt x="295" y="61"/>
                    </a:cubicBezTo>
                    <a:cubicBezTo>
                      <a:pt x="294" y="61"/>
                      <a:pt x="294" y="61"/>
                      <a:pt x="293" y="61"/>
                    </a:cubicBezTo>
                    <a:cubicBezTo>
                      <a:pt x="293" y="61"/>
                      <a:pt x="293" y="61"/>
                      <a:pt x="293" y="61"/>
                    </a:cubicBezTo>
                    <a:cubicBezTo>
                      <a:pt x="292" y="61"/>
                      <a:pt x="292" y="61"/>
                      <a:pt x="292" y="61"/>
                    </a:cubicBezTo>
                    <a:cubicBezTo>
                      <a:pt x="289" y="60"/>
                      <a:pt x="289" y="59"/>
                      <a:pt x="288" y="58"/>
                    </a:cubicBezTo>
                    <a:cubicBezTo>
                      <a:pt x="288" y="57"/>
                      <a:pt x="288" y="57"/>
                      <a:pt x="287" y="56"/>
                    </a:cubicBezTo>
                    <a:cubicBezTo>
                      <a:pt x="286" y="55"/>
                      <a:pt x="281" y="52"/>
                      <a:pt x="278" y="51"/>
                    </a:cubicBezTo>
                    <a:cubicBezTo>
                      <a:pt x="277" y="51"/>
                      <a:pt x="277" y="51"/>
                      <a:pt x="277" y="51"/>
                    </a:cubicBezTo>
                    <a:cubicBezTo>
                      <a:pt x="276" y="51"/>
                      <a:pt x="276" y="51"/>
                      <a:pt x="276" y="51"/>
                    </a:cubicBezTo>
                    <a:cubicBezTo>
                      <a:pt x="276" y="51"/>
                      <a:pt x="276" y="51"/>
                      <a:pt x="276" y="51"/>
                    </a:cubicBezTo>
                    <a:cubicBezTo>
                      <a:pt x="275" y="51"/>
                      <a:pt x="274" y="51"/>
                      <a:pt x="273" y="50"/>
                    </a:cubicBezTo>
                    <a:cubicBezTo>
                      <a:pt x="271" y="48"/>
                      <a:pt x="270" y="45"/>
                      <a:pt x="270" y="41"/>
                    </a:cubicBezTo>
                    <a:cubicBezTo>
                      <a:pt x="267" y="43"/>
                      <a:pt x="263" y="45"/>
                      <a:pt x="259" y="45"/>
                    </a:cubicBezTo>
                    <a:cubicBezTo>
                      <a:pt x="257" y="45"/>
                      <a:pt x="255" y="45"/>
                      <a:pt x="253" y="44"/>
                    </a:cubicBezTo>
                    <a:cubicBezTo>
                      <a:pt x="249" y="42"/>
                      <a:pt x="249" y="42"/>
                      <a:pt x="249" y="42"/>
                    </a:cubicBezTo>
                    <a:cubicBezTo>
                      <a:pt x="251" y="39"/>
                      <a:pt x="251" y="39"/>
                      <a:pt x="251" y="39"/>
                    </a:cubicBezTo>
                    <a:cubicBezTo>
                      <a:pt x="251" y="38"/>
                      <a:pt x="252" y="38"/>
                      <a:pt x="252" y="37"/>
                    </a:cubicBezTo>
                    <a:cubicBezTo>
                      <a:pt x="252" y="36"/>
                      <a:pt x="252" y="36"/>
                      <a:pt x="252" y="36"/>
                    </a:cubicBezTo>
                    <a:cubicBezTo>
                      <a:pt x="252" y="36"/>
                      <a:pt x="252" y="35"/>
                      <a:pt x="252" y="34"/>
                    </a:cubicBezTo>
                    <a:cubicBezTo>
                      <a:pt x="252" y="32"/>
                      <a:pt x="252" y="32"/>
                      <a:pt x="252" y="32"/>
                    </a:cubicBezTo>
                    <a:cubicBezTo>
                      <a:pt x="252" y="32"/>
                      <a:pt x="252" y="32"/>
                      <a:pt x="252" y="32"/>
                    </a:cubicBezTo>
                    <a:cubicBezTo>
                      <a:pt x="250" y="31"/>
                      <a:pt x="249" y="30"/>
                      <a:pt x="247" y="30"/>
                    </a:cubicBezTo>
                    <a:cubicBezTo>
                      <a:pt x="246" y="30"/>
                      <a:pt x="246" y="30"/>
                      <a:pt x="246" y="30"/>
                    </a:cubicBezTo>
                    <a:cubicBezTo>
                      <a:pt x="245" y="30"/>
                      <a:pt x="245" y="31"/>
                      <a:pt x="244" y="31"/>
                    </a:cubicBezTo>
                    <a:cubicBezTo>
                      <a:pt x="240" y="34"/>
                      <a:pt x="240" y="34"/>
                      <a:pt x="240" y="34"/>
                    </a:cubicBezTo>
                    <a:cubicBezTo>
                      <a:pt x="239" y="30"/>
                      <a:pt x="239" y="30"/>
                      <a:pt x="239" y="30"/>
                    </a:cubicBezTo>
                    <a:cubicBezTo>
                      <a:pt x="238" y="29"/>
                      <a:pt x="238" y="28"/>
                      <a:pt x="238" y="27"/>
                    </a:cubicBezTo>
                    <a:cubicBezTo>
                      <a:pt x="238" y="26"/>
                      <a:pt x="238" y="25"/>
                      <a:pt x="237" y="25"/>
                    </a:cubicBezTo>
                    <a:cubicBezTo>
                      <a:pt x="236" y="25"/>
                      <a:pt x="236" y="25"/>
                      <a:pt x="236" y="25"/>
                    </a:cubicBezTo>
                    <a:cubicBezTo>
                      <a:pt x="236" y="25"/>
                      <a:pt x="236" y="25"/>
                      <a:pt x="235" y="25"/>
                    </a:cubicBezTo>
                    <a:cubicBezTo>
                      <a:pt x="235" y="25"/>
                      <a:pt x="235" y="25"/>
                      <a:pt x="235" y="25"/>
                    </a:cubicBezTo>
                    <a:cubicBezTo>
                      <a:pt x="233" y="25"/>
                      <a:pt x="232" y="25"/>
                      <a:pt x="232" y="24"/>
                    </a:cubicBezTo>
                    <a:cubicBezTo>
                      <a:pt x="231" y="24"/>
                      <a:pt x="230" y="24"/>
                      <a:pt x="230" y="24"/>
                    </a:cubicBezTo>
                    <a:cubicBezTo>
                      <a:pt x="229" y="23"/>
                      <a:pt x="229" y="23"/>
                      <a:pt x="229" y="23"/>
                    </a:cubicBezTo>
                    <a:cubicBezTo>
                      <a:pt x="227" y="22"/>
                      <a:pt x="226" y="19"/>
                      <a:pt x="226" y="17"/>
                    </a:cubicBezTo>
                    <a:cubicBezTo>
                      <a:pt x="225" y="16"/>
                      <a:pt x="225" y="16"/>
                      <a:pt x="225" y="16"/>
                    </a:cubicBezTo>
                    <a:cubicBezTo>
                      <a:pt x="225" y="15"/>
                      <a:pt x="225" y="15"/>
                      <a:pt x="225" y="15"/>
                    </a:cubicBezTo>
                    <a:cubicBezTo>
                      <a:pt x="225" y="14"/>
                      <a:pt x="225" y="14"/>
                      <a:pt x="225" y="14"/>
                    </a:cubicBezTo>
                    <a:cubicBezTo>
                      <a:pt x="224" y="14"/>
                      <a:pt x="224" y="14"/>
                      <a:pt x="224" y="14"/>
                    </a:cubicBezTo>
                    <a:cubicBezTo>
                      <a:pt x="223" y="15"/>
                      <a:pt x="222" y="15"/>
                      <a:pt x="221" y="16"/>
                    </a:cubicBezTo>
                    <a:cubicBezTo>
                      <a:pt x="220" y="16"/>
                      <a:pt x="220" y="16"/>
                      <a:pt x="220" y="16"/>
                    </a:cubicBezTo>
                    <a:cubicBezTo>
                      <a:pt x="219" y="16"/>
                      <a:pt x="219" y="17"/>
                      <a:pt x="218" y="17"/>
                    </a:cubicBezTo>
                    <a:cubicBezTo>
                      <a:pt x="217" y="17"/>
                      <a:pt x="216" y="16"/>
                      <a:pt x="215" y="16"/>
                    </a:cubicBezTo>
                    <a:cubicBezTo>
                      <a:pt x="215" y="15"/>
                      <a:pt x="215" y="15"/>
                      <a:pt x="215" y="15"/>
                    </a:cubicBezTo>
                    <a:cubicBezTo>
                      <a:pt x="214" y="15"/>
                      <a:pt x="213" y="13"/>
                      <a:pt x="212" y="12"/>
                    </a:cubicBezTo>
                    <a:cubicBezTo>
                      <a:pt x="211" y="12"/>
                      <a:pt x="211" y="12"/>
                      <a:pt x="211" y="12"/>
                    </a:cubicBezTo>
                    <a:cubicBezTo>
                      <a:pt x="211" y="11"/>
                      <a:pt x="211" y="11"/>
                      <a:pt x="211" y="11"/>
                    </a:cubicBezTo>
                    <a:cubicBezTo>
                      <a:pt x="210" y="10"/>
                      <a:pt x="208" y="8"/>
                      <a:pt x="206" y="5"/>
                    </a:cubicBezTo>
                    <a:cubicBezTo>
                      <a:pt x="206" y="3"/>
                      <a:pt x="205" y="1"/>
                      <a:pt x="2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269"/>
              <p:cNvSpPr/>
              <p:nvPr/>
            </p:nvSpPr>
            <p:spPr bwMode="auto">
              <a:xfrm>
                <a:off x="4595340" y="3828836"/>
                <a:ext cx="324290" cy="210052"/>
              </a:xfrm>
              <a:custGeom>
                <a:gdLst>
                  <a:gd name="T0" fmla="*/ 60 w 102"/>
                  <a:gd name="T1" fmla="*/ 0 h 66"/>
                  <a:gd name="T2" fmla="*/ 55 w 102"/>
                  <a:gd name="T3" fmla="*/ 1 h 66"/>
                  <a:gd name="T4" fmla="*/ 53 w 102"/>
                  <a:gd name="T5" fmla="*/ 0 h 66"/>
                  <a:gd name="T6" fmla="*/ 48 w 102"/>
                  <a:gd name="T7" fmla="*/ 4 h 66"/>
                  <a:gd name="T8" fmla="*/ 47 w 102"/>
                  <a:gd name="T9" fmla="*/ 4 h 66"/>
                  <a:gd name="T10" fmla="*/ 46 w 102"/>
                  <a:gd name="T11" fmla="*/ 3 h 66"/>
                  <a:gd name="T12" fmla="*/ 46 w 102"/>
                  <a:gd name="T13" fmla="*/ 4 h 66"/>
                  <a:gd name="T14" fmla="*/ 45 w 102"/>
                  <a:gd name="T15" fmla="*/ 4 h 66"/>
                  <a:gd name="T16" fmla="*/ 44 w 102"/>
                  <a:gd name="T17" fmla="*/ 4 h 66"/>
                  <a:gd name="T18" fmla="*/ 43 w 102"/>
                  <a:gd name="T19" fmla="*/ 2 h 66"/>
                  <a:gd name="T20" fmla="*/ 20 w 102"/>
                  <a:gd name="T21" fmla="*/ 0 h 66"/>
                  <a:gd name="T22" fmla="*/ 20 w 102"/>
                  <a:gd name="T23" fmla="*/ 0 h 66"/>
                  <a:gd name="T24" fmla="*/ 0 w 102"/>
                  <a:gd name="T25" fmla="*/ 13 h 66"/>
                  <a:gd name="T26" fmla="*/ 4 w 102"/>
                  <a:gd name="T27" fmla="*/ 18 h 66"/>
                  <a:gd name="T28" fmla="*/ 6 w 102"/>
                  <a:gd name="T29" fmla="*/ 21 h 66"/>
                  <a:gd name="T30" fmla="*/ 11 w 102"/>
                  <a:gd name="T31" fmla="*/ 19 h 66"/>
                  <a:gd name="T32" fmla="*/ 19 w 102"/>
                  <a:gd name="T33" fmla="*/ 23 h 66"/>
                  <a:gd name="T34" fmla="*/ 20 w 102"/>
                  <a:gd name="T35" fmla="*/ 27 h 66"/>
                  <a:gd name="T36" fmla="*/ 21 w 102"/>
                  <a:gd name="T37" fmla="*/ 30 h 66"/>
                  <a:gd name="T38" fmla="*/ 25 w 102"/>
                  <a:gd name="T39" fmla="*/ 30 h 66"/>
                  <a:gd name="T40" fmla="*/ 26 w 102"/>
                  <a:gd name="T41" fmla="*/ 30 h 66"/>
                  <a:gd name="T42" fmla="*/ 32 w 102"/>
                  <a:gd name="T43" fmla="*/ 35 h 66"/>
                  <a:gd name="T44" fmla="*/ 35 w 102"/>
                  <a:gd name="T45" fmla="*/ 35 h 66"/>
                  <a:gd name="T46" fmla="*/ 50 w 102"/>
                  <a:gd name="T47" fmla="*/ 43 h 66"/>
                  <a:gd name="T48" fmla="*/ 47 w 102"/>
                  <a:gd name="T49" fmla="*/ 49 h 66"/>
                  <a:gd name="T50" fmla="*/ 47 w 102"/>
                  <a:gd name="T51" fmla="*/ 50 h 66"/>
                  <a:gd name="T52" fmla="*/ 56 w 102"/>
                  <a:gd name="T53" fmla="*/ 45 h 66"/>
                  <a:gd name="T54" fmla="*/ 63 w 102"/>
                  <a:gd name="T55" fmla="*/ 40 h 66"/>
                  <a:gd name="T56" fmla="*/ 64 w 102"/>
                  <a:gd name="T57" fmla="*/ 48 h 66"/>
                  <a:gd name="T58" fmla="*/ 65 w 102"/>
                  <a:gd name="T59" fmla="*/ 56 h 66"/>
                  <a:gd name="T60" fmla="*/ 69 w 102"/>
                  <a:gd name="T61" fmla="*/ 57 h 66"/>
                  <a:gd name="T62" fmla="*/ 82 w 102"/>
                  <a:gd name="T63" fmla="*/ 66 h 66"/>
                  <a:gd name="T64" fmla="*/ 87 w 102"/>
                  <a:gd name="T65" fmla="*/ 65 h 66"/>
                  <a:gd name="T66" fmla="*/ 88 w 102"/>
                  <a:gd name="T67" fmla="*/ 64 h 66"/>
                  <a:gd name="T68" fmla="*/ 85 w 102"/>
                  <a:gd name="T69" fmla="*/ 55 h 66"/>
                  <a:gd name="T70" fmla="*/ 89 w 102"/>
                  <a:gd name="T71" fmla="*/ 46 h 66"/>
                  <a:gd name="T72" fmla="*/ 88 w 102"/>
                  <a:gd name="T73" fmla="*/ 40 h 66"/>
                  <a:gd name="T74" fmla="*/ 95 w 102"/>
                  <a:gd name="T75" fmla="*/ 41 h 66"/>
                  <a:gd name="T76" fmla="*/ 98 w 102"/>
                  <a:gd name="T77" fmla="*/ 42 h 66"/>
                  <a:gd name="T78" fmla="*/ 99 w 102"/>
                  <a:gd name="T79" fmla="*/ 42 h 66"/>
                  <a:gd name="T80" fmla="*/ 100 w 102"/>
                  <a:gd name="T81" fmla="*/ 41 h 66"/>
                  <a:gd name="T82" fmla="*/ 102 w 102"/>
                  <a:gd name="T83" fmla="*/ 39 h 66"/>
                  <a:gd name="T84" fmla="*/ 96 w 102"/>
                  <a:gd name="T85" fmla="*/ 30 h 66"/>
                  <a:gd name="T86" fmla="*/ 95 w 102"/>
                  <a:gd name="T87" fmla="*/ 29 h 66"/>
                  <a:gd name="T88" fmla="*/ 94 w 102"/>
                  <a:gd name="T89" fmla="*/ 28 h 66"/>
                  <a:gd name="T90" fmla="*/ 92 w 102"/>
                  <a:gd name="T91" fmla="*/ 27 h 66"/>
                  <a:gd name="T92" fmla="*/ 89 w 102"/>
                  <a:gd name="T93" fmla="*/ 27 h 66"/>
                  <a:gd name="T94" fmla="*/ 82 w 102"/>
                  <a:gd name="T95" fmla="*/ 28 h 66"/>
                  <a:gd name="T96" fmla="*/ 86 w 102"/>
                  <a:gd name="T97" fmla="*/ 11 h 66"/>
                  <a:gd name="T98" fmla="*/ 85 w 102"/>
                  <a:gd name="T99" fmla="*/ 11 h 66"/>
                  <a:gd name="T100" fmla="*/ 80 w 102"/>
                  <a:gd name="T101" fmla="*/ 8 h 66"/>
                  <a:gd name="T102" fmla="*/ 77 w 102"/>
                  <a:gd name="T103" fmla="*/ 8 h 66"/>
                  <a:gd name="T104" fmla="*/ 76 w 102"/>
                  <a:gd name="T105" fmla="*/ 8 h 66"/>
                  <a:gd name="T106" fmla="*/ 74 w 102"/>
                  <a:gd name="T107" fmla="*/ 8 h 66"/>
                  <a:gd name="T108" fmla="*/ 67 w 102"/>
                  <a:gd name="T109" fmla="*/ 3 h 66"/>
                  <a:gd name="T110" fmla="*/ 62 w 102"/>
                  <a:gd name="T111" fmla="*/ 0 h 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 h="66">
                    <a:moveTo>
                      <a:pt x="61" y="0"/>
                    </a:moveTo>
                    <a:cubicBezTo>
                      <a:pt x="60" y="0"/>
                      <a:pt x="60" y="0"/>
                      <a:pt x="60" y="0"/>
                    </a:cubicBezTo>
                    <a:cubicBezTo>
                      <a:pt x="59" y="1"/>
                      <a:pt x="58" y="2"/>
                      <a:pt x="57" y="2"/>
                    </a:cubicBezTo>
                    <a:cubicBezTo>
                      <a:pt x="56" y="2"/>
                      <a:pt x="55" y="1"/>
                      <a:pt x="55" y="1"/>
                    </a:cubicBezTo>
                    <a:cubicBezTo>
                      <a:pt x="54" y="1"/>
                      <a:pt x="54" y="1"/>
                      <a:pt x="54" y="1"/>
                    </a:cubicBezTo>
                    <a:cubicBezTo>
                      <a:pt x="54" y="0"/>
                      <a:pt x="53" y="0"/>
                      <a:pt x="53" y="0"/>
                    </a:cubicBezTo>
                    <a:cubicBezTo>
                      <a:pt x="52" y="1"/>
                      <a:pt x="52" y="1"/>
                      <a:pt x="52" y="1"/>
                    </a:cubicBezTo>
                    <a:cubicBezTo>
                      <a:pt x="51" y="2"/>
                      <a:pt x="50" y="3"/>
                      <a:pt x="48" y="4"/>
                    </a:cubicBezTo>
                    <a:cubicBezTo>
                      <a:pt x="47" y="4"/>
                      <a:pt x="47" y="4"/>
                      <a:pt x="47" y="4"/>
                    </a:cubicBezTo>
                    <a:cubicBezTo>
                      <a:pt x="47" y="4"/>
                      <a:pt x="47" y="4"/>
                      <a:pt x="47" y="4"/>
                    </a:cubicBezTo>
                    <a:cubicBezTo>
                      <a:pt x="47" y="4"/>
                      <a:pt x="46" y="4"/>
                      <a:pt x="46" y="4"/>
                    </a:cubicBezTo>
                    <a:cubicBezTo>
                      <a:pt x="46" y="3"/>
                      <a:pt x="46" y="3"/>
                      <a:pt x="46" y="3"/>
                    </a:cubicBezTo>
                    <a:cubicBezTo>
                      <a:pt x="45" y="3"/>
                      <a:pt x="45" y="3"/>
                      <a:pt x="45" y="3"/>
                    </a:cubicBezTo>
                    <a:cubicBezTo>
                      <a:pt x="46" y="3"/>
                      <a:pt x="46" y="4"/>
                      <a:pt x="46" y="4"/>
                    </a:cubicBezTo>
                    <a:cubicBezTo>
                      <a:pt x="46" y="4"/>
                      <a:pt x="46" y="4"/>
                      <a:pt x="46" y="4"/>
                    </a:cubicBezTo>
                    <a:cubicBezTo>
                      <a:pt x="45" y="4"/>
                      <a:pt x="45" y="4"/>
                      <a:pt x="45" y="4"/>
                    </a:cubicBezTo>
                    <a:cubicBezTo>
                      <a:pt x="44" y="4"/>
                      <a:pt x="44" y="4"/>
                      <a:pt x="44" y="4"/>
                    </a:cubicBezTo>
                    <a:cubicBezTo>
                      <a:pt x="44" y="4"/>
                      <a:pt x="44" y="4"/>
                      <a:pt x="44" y="4"/>
                    </a:cubicBezTo>
                    <a:cubicBezTo>
                      <a:pt x="43" y="3"/>
                      <a:pt x="43" y="3"/>
                      <a:pt x="43" y="3"/>
                    </a:cubicBezTo>
                    <a:cubicBezTo>
                      <a:pt x="43" y="2"/>
                      <a:pt x="43" y="2"/>
                      <a:pt x="43" y="2"/>
                    </a:cubicBezTo>
                    <a:cubicBezTo>
                      <a:pt x="43" y="1"/>
                      <a:pt x="43" y="1"/>
                      <a:pt x="43" y="1"/>
                    </a:cubicBezTo>
                    <a:cubicBezTo>
                      <a:pt x="36" y="1"/>
                      <a:pt x="28" y="0"/>
                      <a:pt x="20" y="0"/>
                    </a:cubicBezTo>
                    <a:cubicBezTo>
                      <a:pt x="20" y="1"/>
                      <a:pt x="20" y="1"/>
                      <a:pt x="20" y="2"/>
                    </a:cubicBezTo>
                    <a:cubicBezTo>
                      <a:pt x="20" y="1"/>
                      <a:pt x="20" y="1"/>
                      <a:pt x="20" y="0"/>
                    </a:cubicBezTo>
                    <a:cubicBezTo>
                      <a:pt x="13" y="2"/>
                      <a:pt x="6" y="6"/>
                      <a:pt x="0" y="9"/>
                    </a:cubicBezTo>
                    <a:cubicBezTo>
                      <a:pt x="0" y="13"/>
                      <a:pt x="0" y="13"/>
                      <a:pt x="0" y="13"/>
                    </a:cubicBezTo>
                    <a:cubicBezTo>
                      <a:pt x="0" y="13"/>
                      <a:pt x="1" y="14"/>
                      <a:pt x="1" y="14"/>
                    </a:cubicBezTo>
                    <a:cubicBezTo>
                      <a:pt x="2" y="16"/>
                      <a:pt x="4" y="18"/>
                      <a:pt x="4" y="18"/>
                    </a:cubicBezTo>
                    <a:cubicBezTo>
                      <a:pt x="5" y="19"/>
                      <a:pt x="5" y="19"/>
                      <a:pt x="5" y="19"/>
                    </a:cubicBezTo>
                    <a:cubicBezTo>
                      <a:pt x="5" y="20"/>
                      <a:pt x="6" y="21"/>
                      <a:pt x="6" y="21"/>
                    </a:cubicBezTo>
                    <a:cubicBezTo>
                      <a:pt x="7" y="21"/>
                      <a:pt x="9" y="20"/>
                      <a:pt x="10" y="20"/>
                    </a:cubicBezTo>
                    <a:cubicBezTo>
                      <a:pt x="10" y="20"/>
                      <a:pt x="11" y="19"/>
                      <a:pt x="11" y="19"/>
                    </a:cubicBezTo>
                    <a:cubicBezTo>
                      <a:pt x="12" y="19"/>
                      <a:pt x="12" y="19"/>
                      <a:pt x="13" y="19"/>
                    </a:cubicBezTo>
                    <a:cubicBezTo>
                      <a:pt x="15" y="19"/>
                      <a:pt x="17" y="20"/>
                      <a:pt x="19" y="23"/>
                    </a:cubicBezTo>
                    <a:cubicBezTo>
                      <a:pt x="19" y="23"/>
                      <a:pt x="20" y="24"/>
                      <a:pt x="20" y="26"/>
                    </a:cubicBezTo>
                    <a:cubicBezTo>
                      <a:pt x="20" y="27"/>
                      <a:pt x="20" y="27"/>
                      <a:pt x="20" y="27"/>
                    </a:cubicBezTo>
                    <a:cubicBezTo>
                      <a:pt x="21" y="28"/>
                      <a:pt x="21" y="29"/>
                      <a:pt x="21" y="30"/>
                    </a:cubicBezTo>
                    <a:cubicBezTo>
                      <a:pt x="21" y="30"/>
                      <a:pt x="21" y="30"/>
                      <a:pt x="21" y="30"/>
                    </a:cubicBezTo>
                    <a:cubicBezTo>
                      <a:pt x="22" y="30"/>
                      <a:pt x="22" y="30"/>
                      <a:pt x="23" y="30"/>
                    </a:cubicBezTo>
                    <a:cubicBezTo>
                      <a:pt x="24" y="30"/>
                      <a:pt x="24" y="30"/>
                      <a:pt x="25" y="30"/>
                    </a:cubicBezTo>
                    <a:cubicBezTo>
                      <a:pt x="25" y="30"/>
                      <a:pt x="25" y="30"/>
                      <a:pt x="26" y="30"/>
                    </a:cubicBezTo>
                    <a:cubicBezTo>
                      <a:pt x="26" y="30"/>
                      <a:pt x="26" y="30"/>
                      <a:pt x="26" y="30"/>
                    </a:cubicBezTo>
                    <a:cubicBezTo>
                      <a:pt x="27" y="30"/>
                      <a:pt x="27" y="30"/>
                      <a:pt x="27" y="30"/>
                    </a:cubicBezTo>
                    <a:cubicBezTo>
                      <a:pt x="30" y="30"/>
                      <a:pt x="32" y="33"/>
                      <a:pt x="32" y="35"/>
                    </a:cubicBezTo>
                    <a:cubicBezTo>
                      <a:pt x="33" y="35"/>
                      <a:pt x="33" y="35"/>
                      <a:pt x="33" y="35"/>
                    </a:cubicBezTo>
                    <a:cubicBezTo>
                      <a:pt x="34" y="35"/>
                      <a:pt x="35" y="35"/>
                      <a:pt x="35" y="35"/>
                    </a:cubicBezTo>
                    <a:cubicBezTo>
                      <a:pt x="39" y="35"/>
                      <a:pt x="44" y="37"/>
                      <a:pt x="47" y="40"/>
                    </a:cubicBezTo>
                    <a:cubicBezTo>
                      <a:pt x="50" y="43"/>
                      <a:pt x="50" y="43"/>
                      <a:pt x="50" y="43"/>
                    </a:cubicBezTo>
                    <a:cubicBezTo>
                      <a:pt x="47" y="45"/>
                      <a:pt x="47" y="45"/>
                      <a:pt x="47" y="45"/>
                    </a:cubicBezTo>
                    <a:cubicBezTo>
                      <a:pt x="47" y="47"/>
                      <a:pt x="47" y="48"/>
                      <a:pt x="47" y="49"/>
                    </a:cubicBezTo>
                    <a:cubicBezTo>
                      <a:pt x="47" y="50"/>
                      <a:pt x="47" y="50"/>
                      <a:pt x="47" y="50"/>
                    </a:cubicBezTo>
                    <a:cubicBezTo>
                      <a:pt x="47" y="50"/>
                      <a:pt x="47" y="50"/>
                      <a:pt x="47" y="50"/>
                    </a:cubicBezTo>
                    <a:cubicBezTo>
                      <a:pt x="50" y="50"/>
                      <a:pt x="52" y="49"/>
                      <a:pt x="56" y="46"/>
                    </a:cubicBezTo>
                    <a:cubicBezTo>
                      <a:pt x="56" y="45"/>
                      <a:pt x="56" y="45"/>
                      <a:pt x="56" y="45"/>
                    </a:cubicBezTo>
                    <a:cubicBezTo>
                      <a:pt x="57" y="45"/>
                      <a:pt x="58" y="44"/>
                      <a:pt x="59" y="43"/>
                    </a:cubicBezTo>
                    <a:cubicBezTo>
                      <a:pt x="63" y="40"/>
                      <a:pt x="63" y="40"/>
                      <a:pt x="63" y="40"/>
                    </a:cubicBezTo>
                    <a:cubicBezTo>
                      <a:pt x="64" y="46"/>
                      <a:pt x="64" y="46"/>
                      <a:pt x="64" y="46"/>
                    </a:cubicBezTo>
                    <a:cubicBezTo>
                      <a:pt x="64" y="46"/>
                      <a:pt x="64" y="47"/>
                      <a:pt x="64" y="48"/>
                    </a:cubicBezTo>
                    <a:cubicBezTo>
                      <a:pt x="65" y="52"/>
                      <a:pt x="65" y="55"/>
                      <a:pt x="65" y="56"/>
                    </a:cubicBezTo>
                    <a:cubicBezTo>
                      <a:pt x="65" y="56"/>
                      <a:pt x="65" y="56"/>
                      <a:pt x="65" y="56"/>
                    </a:cubicBezTo>
                    <a:cubicBezTo>
                      <a:pt x="66" y="56"/>
                      <a:pt x="67" y="56"/>
                      <a:pt x="68" y="56"/>
                    </a:cubicBezTo>
                    <a:cubicBezTo>
                      <a:pt x="69" y="57"/>
                      <a:pt x="69" y="57"/>
                      <a:pt x="69" y="57"/>
                    </a:cubicBezTo>
                    <a:cubicBezTo>
                      <a:pt x="72" y="58"/>
                      <a:pt x="78" y="61"/>
                      <a:pt x="80" y="63"/>
                    </a:cubicBezTo>
                    <a:cubicBezTo>
                      <a:pt x="81" y="64"/>
                      <a:pt x="82" y="65"/>
                      <a:pt x="82" y="66"/>
                    </a:cubicBezTo>
                    <a:cubicBezTo>
                      <a:pt x="82" y="66"/>
                      <a:pt x="82" y="66"/>
                      <a:pt x="82" y="66"/>
                    </a:cubicBezTo>
                    <a:cubicBezTo>
                      <a:pt x="84" y="66"/>
                      <a:pt x="86" y="65"/>
                      <a:pt x="87" y="65"/>
                    </a:cubicBezTo>
                    <a:cubicBezTo>
                      <a:pt x="88" y="65"/>
                      <a:pt x="88" y="65"/>
                      <a:pt x="88" y="65"/>
                    </a:cubicBezTo>
                    <a:cubicBezTo>
                      <a:pt x="88" y="64"/>
                      <a:pt x="88" y="64"/>
                      <a:pt x="88" y="64"/>
                    </a:cubicBezTo>
                    <a:cubicBezTo>
                      <a:pt x="87" y="64"/>
                      <a:pt x="87" y="62"/>
                      <a:pt x="86" y="62"/>
                    </a:cubicBezTo>
                    <a:cubicBezTo>
                      <a:pt x="85" y="60"/>
                      <a:pt x="83" y="57"/>
                      <a:pt x="85" y="55"/>
                    </a:cubicBezTo>
                    <a:cubicBezTo>
                      <a:pt x="86" y="53"/>
                      <a:pt x="86" y="51"/>
                      <a:pt x="88" y="49"/>
                    </a:cubicBezTo>
                    <a:cubicBezTo>
                      <a:pt x="88" y="48"/>
                      <a:pt x="89" y="47"/>
                      <a:pt x="89" y="46"/>
                    </a:cubicBezTo>
                    <a:cubicBezTo>
                      <a:pt x="90" y="45"/>
                      <a:pt x="91" y="45"/>
                      <a:pt x="91" y="44"/>
                    </a:cubicBezTo>
                    <a:cubicBezTo>
                      <a:pt x="88" y="40"/>
                      <a:pt x="88" y="40"/>
                      <a:pt x="88" y="40"/>
                    </a:cubicBezTo>
                    <a:cubicBezTo>
                      <a:pt x="94" y="41"/>
                      <a:pt x="94" y="41"/>
                      <a:pt x="94" y="41"/>
                    </a:cubicBezTo>
                    <a:cubicBezTo>
                      <a:pt x="95" y="41"/>
                      <a:pt x="95" y="41"/>
                      <a:pt x="95" y="41"/>
                    </a:cubicBezTo>
                    <a:cubicBezTo>
                      <a:pt x="97" y="42"/>
                      <a:pt x="97" y="42"/>
                      <a:pt x="97" y="42"/>
                    </a:cubicBezTo>
                    <a:cubicBezTo>
                      <a:pt x="98" y="42"/>
                      <a:pt x="98" y="42"/>
                      <a:pt x="98" y="42"/>
                    </a:cubicBezTo>
                    <a:cubicBezTo>
                      <a:pt x="98" y="42"/>
                      <a:pt x="98" y="42"/>
                      <a:pt x="98" y="42"/>
                    </a:cubicBezTo>
                    <a:cubicBezTo>
                      <a:pt x="99" y="42"/>
                      <a:pt x="99" y="42"/>
                      <a:pt x="99" y="42"/>
                    </a:cubicBezTo>
                    <a:cubicBezTo>
                      <a:pt x="99" y="42"/>
                      <a:pt x="99" y="42"/>
                      <a:pt x="99" y="42"/>
                    </a:cubicBezTo>
                    <a:cubicBezTo>
                      <a:pt x="100" y="41"/>
                      <a:pt x="100" y="41"/>
                      <a:pt x="100" y="41"/>
                    </a:cubicBezTo>
                    <a:cubicBezTo>
                      <a:pt x="100" y="40"/>
                      <a:pt x="101" y="40"/>
                      <a:pt x="101" y="39"/>
                    </a:cubicBezTo>
                    <a:cubicBezTo>
                      <a:pt x="102" y="39"/>
                      <a:pt x="102" y="39"/>
                      <a:pt x="102" y="39"/>
                    </a:cubicBezTo>
                    <a:cubicBezTo>
                      <a:pt x="102" y="39"/>
                      <a:pt x="102" y="39"/>
                      <a:pt x="102" y="39"/>
                    </a:cubicBezTo>
                    <a:cubicBezTo>
                      <a:pt x="100" y="35"/>
                      <a:pt x="98" y="33"/>
                      <a:pt x="96" y="30"/>
                    </a:cubicBezTo>
                    <a:cubicBezTo>
                      <a:pt x="95" y="30"/>
                      <a:pt x="95" y="30"/>
                      <a:pt x="95" y="30"/>
                    </a:cubicBezTo>
                    <a:cubicBezTo>
                      <a:pt x="95" y="29"/>
                      <a:pt x="95" y="29"/>
                      <a:pt x="95" y="29"/>
                    </a:cubicBezTo>
                    <a:cubicBezTo>
                      <a:pt x="95" y="29"/>
                      <a:pt x="95" y="29"/>
                      <a:pt x="94" y="28"/>
                    </a:cubicBezTo>
                    <a:cubicBezTo>
                      <a:pt x="94" y="28"/>
                      <a:pt x="94" y="28"/>
                      <a:pt x="94" y="28"/>
                    </a:cubicBezTo>
                    <a:cubicBezTo>
                      <a:pt x="94" y="28"/>
                      <a:pt x="94" y="28"/>
                      <a:pt x="94" y="28"/>
                    </a:cubicBezTo>
                    <a:cubicBezTo>
                      <a:pt x="93" y="28"/>
                      <a:pt x="93" y="27"/>
                      <a:pt x="92" y="27"/>
                    </a:cubicBezTo>
                    <a:cubicBezTo>
                      <a:pt x="92" y="27"/>
                      <a:pt x="91" y="27"/>
                      <a:pt x="91" y="27"/>
                    </a:cubicBezTo>
                    <a:cubicBezTo>
                      <a:pt x="90" y="27"/>
                      <a:pt x="89" y="27"/>
                      <a:pt x="89" y="27"/>
                    </a:cubicBezTo>
                    <a:cubicBezTo>
                      <a:pt x="88" y="27"/>
                      <a:pt x="87" y="27"/>
                      <a:pt x="87" y="27"/>
                    </a:cubicBezTo>
                    <a:cubicBezTo>
                      <a:pt x="82" y="28"/>
                      <a:pt x="82" y="28"/>
                      <a:pt x="82" y="28"/>
                    </a:cubicBezTo>
                    <a:cubicBezTo>
                      <a:pt x="83" y="23"/>
                      <a:pt x="83" y="23"/>
                      <a:pt x="83" y="23"/>
                    </a:cubicBezTo>
                    <a:cubicBezTo>
                      <a:pt x="83" y="21"/>
                      <a:pt x="83" y="15"/>
                      <a:pt x="86" y="11"/>
                    </a:cubicBezTo>
                    <a:cubicBezTo>
                      <a:pt x="86" y="11"/>
                      <a:pt x="86" y="11"/>
                      <a:pt x="86" y="11"/>
                    </a:cubicBezTo>
                    <a:cubicBezTo>
                      <a:pt x="85" y="11"/>
                      <a:pt x="85" y="11"/>
                      <a:pt x="85" y="11"/>
                    </a:cubicBezTo>
                    <a:cubicBezTo>
                      <a:pt x="84" y="11"/>
                      <a:pt x="84" y="11"/>
                      <a:pt x="84" y="10"/>
                    </a:cubicBezTo>
                    <a:cubicBezTo>
                      <a:pt x="82" y="10"/>
                      <a:pt x="81" y="8"/>
                      <a:pt x="80" y="8"/>
                    </a:cubicBezTo>
                    <a:cubicBezTo>
                      <a:pt x="80" y="7"/>
                      <a:pt x="80" y="7"/>
                      <a:pt x="80" y="7"/>
                    </a:cubicBezTo>
                    <a:cubicBezTo>
                      <a:pt x="79" y="8"/>
                      <a:pt x="78" y="8"/>
                      <a:pt x="77" y="8"/>
                    </a:cubicBezTo>
                    <a:cubicBezTo>
                      <a:pt x="77" y="8"/>
                      <a:pt x="76" y="8"/>
                      <a:pt x="76" y="8"/>
                    </a:cubicBezTo>
                    <a:cubicBezTo>
                      <a:pt x="76" y="8"/>
                      <a:pt x="76" y="8"/>
                      <a:pt x="76" y="8"/>
                    </a:cubicBezTo>
                    <a:cubicBezTo>
                      <a:pt x="75" y="8"/>
                      <a:pt x="75" y="8"/>
                      <a:pt x="75" y="8"/>
                    </a:cubicBezTo>
                    <a:cubicBezTo>
                      <a:pt x="75" y="8"/>
                      <a:pt x="74" y="8"/>
                      <a:pt x="74" y="8"/>
                    </a:cubicBezTo>
                    <a:cubicBezTo>
                      <a:pt x="73" y="8"/>
                      <a:pt x="71" y="8"/>
                      <a:pt x="70" y="6"/>
                    </a:cubicBezTo>
                    <a:cubicBezTo>
                      <a:pt x="69" y="5"/>
                      <a:pt x="67" y="4"/>
                      <a:pt x="67" y="3"/>
                    </a:cubicBezTo>
                    <a:cubicBezTo>
                      <a:pt x="66" y="2"/>
                      <a:pt x="66" y="1"/>
                      <a:pt x="66" y="1"/>
                    </a:cubicBezTo>
                    <a:cubicBezTo>
                      <a:pt x="65" y="1"/>
                      <a:pt x="64" y="0"/>
                      <a:pt x="62" y="0"/>
                    </a:cubicBezTo>
                    <a:cubicBezTo>
                      <a:pt x="62" y="0"/>
                      <a:pt x="61" y="0"/>
                      <a:pt x="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270"/>
              <p:cNvSpPr/>
              <p:nvPr/>
            </p:nvSpPr>
            <p:spPr bwMode="auto">
              <a:xfrm>
                <a:off x="4915945" y="4274735"/>
                <a:ext cx="372197" cy="176886"/>
              </a:xfrm>
              <a:custGeom>
                <a:gdLst>
                  <a:gd name="T0" fmla="*/ 70 w 117"/>
                  <a:gd name="T1" fmla="*/ 2 h 56"/>
                  <a:gd name="T2" fmla="*/ 66 w 117"/>
                  <a:gd name="T3" fmla="*/ 3 h 56"/>
                  <a:gd name="T4" fmla="*/ 62 w 117"/>
                  <a:gd name="T5" fmla="*/ 3 h 56"/>
                  <a:gd name="T6" fmla="*/ 60 w 117"/>
                  <a:gd name="T7" fmla="*/ 4 h 56"/>
                  <a:gd name="T8" fmla="*/ 57 w 117"/>
                  <a:gd name="T9" fmla="*/ 4 h 56"/>
                  <a:gd name="T10" fmla="*/ 55 w 117"/>
                  <a:gd name="T11" fmla="*/ 4 h 56"/>
                  <a:gd name="T12" fmla="*/ 50 w 117"/>
                  <a:gd name="T13" fmla="*/ 4 h 56"/>
                  <a:gd name="T14" fmla="*/ 47 w 117"/>
                  <a:gd name="T15" fmla="*/ 4 h 56"/>
                  <a:gd name="T16" fmla="*/ 46 w 117"/>
                  <a:gd name="T17" fmla="*/ 4 h 56"/>
                  <a:gd name="T18" fmla="*/ 42 w 117"/>
                  <a:gd name="T19" fmla="*/ 5 h 56"/>
                  <a:gd name="T20" fmla="*/ 39 w 117"/>
                  <a:gd name="T21" fmla="*/ 6 h 56"/>
                  <a:gd name="T22" fmla="*/ 30 w 117"/>
                  <a:gd name="T23" fmla="*/ 10 h 56"/>
                  <a:gd name="T24" fmla="*/ 25 w 117"/>
                  <a:gd name="T25" fmla="*/ 13 h 56"/>
                  <a:gd name="T26" fmla="*/ 14 w 117"/>
                  <a:gd name="T27" fmla="*/ 22 h 56"/>
                  <a:gd name="T28" fmla="*/ 11 w 117"/>
                  <a:gd name="T29" fmla="*/ 24 h 56"/>
                  <a:gd name="T30" fmla="*/ 8 w 117"/>
                  <a:gd name="T31" fmla="*/ 31 h 56"/>
                  <a:gd name="T32" fmla="*/ 0 w 117"/>
                  <a:gd name="T33" fmla="*/ 41 h 56"/>
                  <a:gd name="T34" fmla="*/ 12 w 117"/>
                  <a:gd name="T35" fmla="*/ 37 h 56"/>
                  <a:gd name="T36" fmla="*/ 20 w 117"/>
                  <a:gd name="T37" fmla="*/ 40 h 56"/>
                  <a:gd name="T38" fmla="*/ 21 w 117"/>
                  <a:gd name="T39" fmla="*/ 49 h 56"/>
                  <a:gd name="T40" fmla="*/ 22 w 117"/>
                  <a:gd name="T41" fmla="*/ 51 h 56"/>
                  <a:gd name="T42" fmla="*/ 24 w 117"/>
                  <a:gd name="T43" fmla="*/ 54 h 56"/>
                  <a:gd name="T44" fmla="*/ 26 w 117"/>
                  <a:gd name="T45" fmla="*/ 56 h 56"/>
                  <a:gd name="T46" fmla="*/ 38 w 117"/>
                  <a:gd name="T47" fmla="*/ 55 h 56"/>
                  <a:gd name="T48" fmla="*/ 45 w 117"/>
                  <a:gd name="T49" fmla="*/ 56 h 56"/>
                  <a:gd name="T50" fmla="*/ 46 w 117"/>
                  <a:gd name="T51" fmla="*/ 54 h 56"/>
                  <a:gd name="T52" fmla="*/ 61 w 117"/>
                  <a:gd name="T53" fmla="*/ 38 h 56"/>
                  <a:gd name="T54" fmla="*/ 64 w 117"/>
                  <a:gd name="T55" fmla="*/ 37 h 56"/>
                  <a:gd name="T56" fmla="*/ 67 w 117"/>
                  <a:gd name="T57" fmla="*/ 43 h 56"/>
                  <a:gd name="T58" fmla="*/ 70 w 117"/>
                  <a:gd name="T59" fmla="*/ 48 h 56"/>
                  <a:gd name="T60" fmla="*/ 73 w 117"/>
                  <a:gd name="T61" fmla="*/ 50 h 56"/>
                  <a:gd name="T62" fmla="*/ 80 w 117"/>
                  <a:gd name="T63" fmla="*/ 50 h 56"/>
                  <a:gd name="T64" fmla="*/ 83 w 117"/>
                  <a:gd name="T65" fmla="*/ 41 h 56"/>
                  <a:gd name="T66" fmla="*/ 84 w 117"/>
                  <a:gd name="T67" fmla="*/ 39 h 56"/>
                  <a:gd name="T68" fmla="*/ 90 w 117"/>
                  <a:gd name="T69" fmla="*/ 36 h 56"/>
                  <a:gd name="T70" fmla="*/ 107 w 117"/>
                  <a:gd name="T71" fmla="*/ 44 h 56"/>
                  <a:gd name="T72" fmla="*/ 106 w 117"/>
                  <a:gd name="T73" fmla="*/ 41 h 56"/>
                  <a:gd name="T74" fmla="*/ 105 w 117"/>
                  <a:gd name="T75" fmla="*/ 37 h 56"/>
                  <a:gd name="T76" fmla="*/ 107 w 117"/>
                  <a:gd name="T77" fmla="*/ 33 h 56"/>
                  <a:gd name="T78" fmla="*/ 117 w 117"/>
                  <a:gd name="T79" fmla="*/ 33 h 56"/>
                  <a:gd name="T80" fmla="*/ 117 w 117"/>
                  <a:gd name="T81" fmla="*/ 26 h 56"/>
                  <a:gd name="T82" fmla="*/ 108 w 117"/>
                  <a:gd name="T83" fmla="*/ 29 h 56"/>
                  <a:gd name="T84" fmla="*/ 96 w 117"/>
                  <a:gd name="T85" fmla="*/ 23 h 56"/>
                  <a:gd name="T86" fmla="*/ 93 w 117"/>
                  <a:gd name="T87" fmla="*/ 18 h 56"/>
                  <a:gd name="T88" fmla="*/ 93 w 117"/>
                  <a:gd name="T89" fmla="*/ 17 h 56"/>
                  <a:gd name="T90" fmla="*/ 92 w 117"/>
                  <a:gd name="T91" fmla="*/ 15 h 56"/>
                  <a:gd name="T92" fmla="*/ 94 w 117"/>
                  <a:gd name="T93" fmla="*/ 6 h 56"/>
                  <a:gd name="T94" fmla="*/ 93 w 117"/>
                  <a:gd name="T95" fmla="*/ 5 h 56"/>
                  <a:gd name="T96" fmla="*/ 82 w 117"/>
                  <a:gd name="T97" fmla="*/ 1 h 56"/>
                  <a:gd name="T98" fmla="*/ 79 w 117"/>
                  <a:gd name="T99" fmla="*/ 1 h 56"/>
                  <a:gd name="T100" fmla="*/ 76 w 117"/>
                  <a:gd name="T101" fmla="*/ 1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7" h="56">
                    <a:moveTo>
                      <a:pt x="71" y="0"/>
                    </a:moveTo>
                    <a:cubicBezTo>
                      <a:pt x="71" y="0"/>
                      <a:pt x="70" y="1"/>
                      <a:pt x="70" y="2"/>
                    </a:cubicBezTo>
                    <a:cubicBezTo>
                      <a:pt x="68" y="4"/>
                      <a:pt x="68" y="4"/>
                      <a:pt x="68" y="4"/>
                    </a:cubicBezTo>
                    <a:cubicBezTo>
                      <a:pt x="66" y="3"/>
                      <a:pt x="66" y="3"/>
                      <a:pt x="66" y="3"/>
                    </a:cubicBezTo>
                    <a:cubicBezTo>
                      <a:pt x="65" y="3"/>
                      <a:pt x="64" y="3"/>
                      <a:pt x="63" y="3"/>
                    </a:cubicBezTo>
                    <a:cubicBezTo>
                      <a:pt x="62" y="3"/>
                      <a:pt x="62" y="3"/>
                      <a:pt x="62" y="3"/>
                    </a:cubicBezTo>
                    <a:cubicBezTo>
                      <a:pt x="62" y="4"/>
                      <a:pt x="61" y="4"/>
                      <a:pt x="61" y="4"/>
                    </a:cubicBezTo>
                    <a:cubicBezTo>
                      <a:pt x="60" y="4"/>
                      <a:pt x="60" y="4"/>
                      <a:pt x="60" y="4"/>
                    </a:cubicBezTo>
                    <a:cubicBezTo>
                      <a:pt x="59" y="4"/>
                      <a:pt x="59" y="4"/>
                      <a:pt x="58" y="4"/>
                    </a:cubicBezTo>
                    <a:cubicBezTo>
                      <a:pt x="58" y="4"/>
                      <a:pt x="58" y="4"/>
                      <a:pt x="57" y="4"/>
                    </a:cubicBezTo>
                    <a:cubicBezTo>
                      <a:pt x="57" y="4"/>
                      <a:pt x="56" y="4"/>
                      <a:pt x="56" y="4"/>
                    </a:cubicBezTo>
                    <a:cubicBezTo>
                      <a:pt x="56" y="4"/>
                      <a:pt x="55" y="4"/>
                      <a:pt x="55" y="4"/>
                    </a:cubicBezTo>
                    <a:cubicBezTo>
                      <a:pt x="54" y="4"/>
                      <a:pt x="53" y="4"/>
                      <a:pt x="52" y="4"/>
                    </a:cubicBezTo>
                    <a:cubicBezTo>
                      <a:pt x="51" y="4"/>
                      <a:pt x="51" y="4"/>
                      <a:pt x="50" y="4"/>
                    </a:cubicBezTo>
                    <a:cubicBezTo>
                      <a:pt x="50" y="4"/>
                      <a:pt x="50" y="4"/>
                      <a:pt x="50" y="4"/>
                    </a:cubicBezTo>
                    <a:cubicBezTo>
                      <a:pt x="49" y="4"/>
                      <a:pt x="48" y="4"/>
                      <a:pt x="47" y="4"/>
                    </a:cubicBezTo>
                    <a:cubicBezTo>
                      <a:pt x="46" y="4"/>
                      <a:pt x="46" y="4"/>
                      <a:pt x="46" y="4"/>
                    </a:cubicBezTo>
                    <a:cubicBezTo>
                      <a:pt x="46" y="4"/>
                      <a:pt x="46" y="4"/>
                      <a:pt x="46" y="4"/>
                    </a:cubicBezTo>
                    <a:cubicBezTo>
                      <a:pt x="45" y="4"/>
                      <a:pt x="45" y="4"/>
                      <a:pt x="45" y="4"/>
                    </a:cubicBezTo>
                    <a:cubicBezTo>
                      <a:pt x="45" y="4"/>
                      <a:pt x="43" y="5"/>
                      <a:pt x="42" y="5"/>
                    </a:cubicBezTo>
                    <a:cubicBezTo>
                      <a:pt x="41" y="5"/>
                      <a:pt x="40" y="5"/>
                      <a:pt x="40" y="5"/>
                    </a:cubicBezTo>
                    <a:cubicBezTo>
                      <a:pt x="39" y="5"/>
                      <a:pt x="39" y="5"/>
                      <a:pt x="39" y="6"/>
                    </a:cubicBezTo>
                    <a:cubicBezTo>
                      <a:pt x="38" y="7"/>
                      <a:pt x="37" y="8"/>
                      <a:pt x="35" y="8"/>
                    </a:cubicBezTo>
                    <a:cubicBezTo>
                      <a:pt x="34" y="9"/>
                      <a:pt x="32" y="10"/>
                      <a:pt x="30" y="10"/>
                    </a:cubicBezTo>
                    <a:cubicBezTo>
                      <a:pt x="30" y="10"/>
                      <a:pt x="29" y="10"/>
                      <a:pt x="28" y="9"/>
                    </a:cubicBezTo>
                    <a:cubicBezTo>
                      <a:pt x="25" y="13"/>
                      <a:pt x="25" y="13"/>
                      <a:pt x="25" y="13"/>
                    </a:cubicBezTo>
                    <a:cubicBezTo>
                      <a:pt x="22" y="16"/>
                      <a:pt x="19" y="19"/>
                      <a:pt x="16" y="21"/>
                    </a:cubicBezTo>
                    <a:cubicBezTo>
                      <a:pt x="15" y="21"/>
                      <a:pt x="15" y="22"/>
                      <a:pt x="14" y="22"/>
                    </a:cubicBezTo>
                    <a:cubicBezTo>
                      <a:pt x="14" y="22"/>
                      <a:pt x="14" y="22"/>
                      <a:pt x="14" y="22"/>
                    </a:cubicBezTo>
                    <a:cubicBezTo>
                      <a:pt x="12" y="23"/>
                      <a:pt x="12" y="24"/>
                      <a:pt x="11" y="24"/>
                    </a:cubicBezTo>
                    <a:cubicBezTo>
                      <a:pt x="11" y="25"/>
                      <a:pt x="11" y="25"/>
                      <a:pt x="11" y="25"/>
                    </a:cubicBezTo>
                    <a:cubicBezTo>
                      <a:pt x="11" y="26"/>
                      <a:pt x="10" y="29"/>
                      <a:pt x="8" y="31"/>
                    </a:cubicBezTo>
                    <a:cubicBezTo>
                      <a:pt x="7" y="32"/>
                      <a:pt x="7" y="32"/>
                      <a:pt x="7" y="32"/>
                    </a:cubicBezTo>
                    <a:cubicBezTo>
                      <a:pt x="4" y="35"/>
                      <a:pt x="2" y="38"/>
                      <a:pt x="0" y="41"/>
                    </a:cubicBezTo>
                    <a:cubicBezTo>
                      <a:pt x="3" y="39"/>
                      <a:pt x="7" y="37"/>
                      <a:pt x="11" y="37"/>
                    </a:cubicBezTo>
                    <a:cubicBezTo>
                      <a:pt x="11" y="37"/>
                      <a:pt x="12" y="37"/>
                      <a:pt x="12" y="37"/>
                    </a:cubicBezTo>
                    <a:cubicBezTo>
                      <a:pt x="13" y="37"/>
                      <a:pt x="13" y="37"/>
                      <a:pt x="13" y="37"/>
                    </a:cubicBezTo>
                    <a:cubicBezTo>
                      <a:pt x="17" y="37"/>
                      <a:pt x="19" y="39"/>
                      <a:pt x="20" y="40"/>
                    </a:cubicBezTo>
                    <a:cubicBezTo>
                      <a:pt x="21" y="42"/>
                      <a:pt x="21" y="45"/>
                      <a:pt x="21" y="49"/>
                    </a:cubicBezTo>
                    <a:cubicBezTo>
                      <a:pt x="21" y="49"/>
                      <a:pt x="21" y="49"/>
                      <a:pt x="21" y="49"/>
                    </a:cubicBezTo>
                    <a:cubicBezTo>
                      <a:pt x="21" y="50"/>
                      <a:pt x="21" y="50"/>
                      <a:pt x="21" y="50"/>
                    </a:cubicBezTo>
                    <a:cubicBezTo>
                      <a:pt x="22" y="51"/>
                      <a:pt x="22" y="51"/>
                      <a:pt x="22" y="51"/>
                    </a:cubicBezTo>
                    <a:cubicBezTo>
                      <a:pt x="22" y="51"/>
                      <a:pt x="22" y="52"/>
                      <a:pt x="23" y="53"/>
                    </a:cubicBezTo>
                    <a:cubicBezTo>
                      <a:pt x="23" y="53"/>
                      <a:pt x="24" y="53"/>
                      <a:pt x="24" y="54"/>
                    </a:cubicBezTo>
                    <a:cubicBezTo>
                      <a:pt x="24" y="54"/>
                      <a:pt x="25" y="55"/>
                      <a:pt x="25" y="55"/>
                    </a:cubicBezTo>
                    <a:cubicBezTo>
                      <a:pt x="26" y="55"/>
                      <a:pt x="26" y="56"/>
                      <a:pt x="26" y="56"/>
                    </a:cubicBezTo>
                    <a:cubicBezTo>
                      <a:pt x="30" y="56"/>
                      <a:pt x="33" y="55"/>
                      <a:pt x="35" y="55"/>
                    </a:cubicBezTo>
                    <a:cubicBezTo>
                      <a:pt x="37" y="55"/>
                      <a:pt x="37" y="55"/>
                      <a:pt x="38" y="55"/>
                    </a:cubicBezTo>
                    <a:cubicBezTo>
                      <a:pt x="40" y="55"/>
                      <a:pt x="42" y="55"/>
                      <a:pt x="44" y="55"/>
                    </a:cubicBezTo>
                    <a:cubicBezTo>
                      <a:pt x="45" y="56"/>
                      <a:pt x="45" y="56"/>
                      <a:pt x="45" y="56"/>
                    </a:cubicBezTo>
                    <a:cubicBezTo>
                      <a:pt x="45" y="56"/>
                      <a:pt x="45" y="56"/>
                      <a:pt x="45" y="56"/>
                    </a:cubicBezTo>
                    <a:cubicBezTo>
                      <a:pt x="46" y="54"/>
                      <a:pt x="46" y="54"/>
                      <a:pt x="46" y="54"/>
                    </a:cubicBezTo>
                    <a:cubicBezTo>
                      <a:pt x="48" y="53"/>
                      <a:pt x="49" y="51"/>
                      <a:pt x="50" y="50"/>
                    </a:cubicBezTo>
                    <a:cubicBezTo>
                      <a:pt x="51" y="47"/>
                      <a:pt x="55" y="39"/>
                      <a:pt x="61" y="38"/>
                    </a:cubicBezTo>
                    <a:cubicBezTo>
                      <a:pt x="61" y="37"/>
                      <a:pt x="62" y="37"/>
                      <a:pt x="63" y="37"/>
                    </a:cubicBezTo>
                    <a:cubicBezTo>
                      <a:pt x="64" y="37"/>
                      <a:pt x="64" y="37"/>
                      <a:pt x="64" y="37"/>
                    </a:cubicBezTo>
                    <a:cubicBezTo>
                      <a:pt x="67" y="38"/>
                      <a:pt x="67" y="38"/>
                      <a:pt x="67" y="38"/>
                    </a:cubicBezTo>
                    <a:cubicBezTo>
                      <a:pt x="67" y="43"/>
                      <a:pt x="67" y="43"/>
                      <a:pt x="67" y="43"/>
                    </a:cubicBezTo>
                    <a:cubicBezTo>
                      <a:pt x="67" y="45"/>
                      <a:pt x="67" y="46"/>
                      <a:pt x="67" y="47"/>
                    </a:cubicBezTo>
                    <a:cubicBezTo>
                      <a:pt x="67" y="47"/>
                      <a:pt x="68" y="48"/>
                      <a:pt x="70" y="48"/>
                    </a:cubicBezTo>
                    <a:cubicBezTo>
                      <a:pt x="71" y="49"/>
                      <a:pt x="72" y="49"/>
                      <a:pt x="72" y="50"/>
                    </a:cubicBezTo>
                    <a:cubicBezTo>
                      <a:pt x="73" y="50"/>
                      <a:pt x="73" y="50"/>
                      <a:pt x="73" y="50"/>
                    </a:cubicBezTo>
                    <a:cubicBezTo>
                      <a:pt x="74" y="50"/>
                      <a:pt x="77" y="51"/>
                      <a:pt x="78" y="53"/>
                    </a:cubicBezTo>
                    <a:cubicBezTo>
                      <a:pt x="78" y="52"/>
                      <a:pt x="79" y="51"/>
                      <a:pt x="80" y="50"/>
                    </a:cubicBezTo>
                    <a:cubicBezTo>
                      <a:pt x="81" y="48"/>
                      <a:pt x="81" y="48"/>
                      <a:pt x="81" y="48"/>
                    </a:cubicBezTo>
                    <a:cubicBezTo>
                      <a:pt x="83" y="46"/>
                      <a:pt x="83" y="44"/>
                      <a:pt x="83" y="41"/>
                    </a:cubicBezTo>
                    <a:cubicBezTo>
                      <a:pt x="83" y="41"/>
                      <a:pt x="83" y="41"/>
                      <a:pt x="83" y="41"/>
                    </a:cubicBezTo>
                    <a:cubicBezTo>
                      <a:pt x="84" y="40"/>
                      <a:pt x="84" y="39"/>
                      <a:pt x="84" y="39"/>
                    </a:cubicBezTo>
                    <a:cubicBezTo>
                      <a:pt x="84" y="33"/>
                      <a:pt x="84" y="33"/>
                      <a:pt x="84" y="33"/>
                    </a:cubicBezTo>
                    <a:cubicBezTo>
                      <a:pt x="90" y="36"/>
                      <a:pt x="90" y="36"/>
                      <a:pt x="90" y="36"/>
                    </a:cubicBezTo>
                    <a:cubicBezTo>
                      <a:pt x="94" y="39"/>
                      <a:pt x="102" y="43"/>
                      <a:pt x="107" y="44"/>
                    </a:cubicBezTo>
                    <a:cubicBezTo>
                      <a:pt x="107" y="44"/>
                      <a:pt x="107" y="44"/>
                      <a:pt x="107" y="44"/>
                    </a:cubicBezTo>
                    <a:cubicBezTo>
                      <a:pt x="107" y="44"/>
                      <a:pt x="107" y="44"/>
                      <a:pt x="107" y="44"/>
                    </a:cubicBezTo>
                    <a:cubicBezTo>
                      <a:pt x="106" y="42"/>
                      <a:pt x="106" y="42"/>
                      <a:pt x="106" y="41"/>
                    </a:cubicBezTo>
                    <a:cubicBezTo>
                      <a:pt x="105" y="39"/>
                      <a:pt x="105" y="39"/>
                      <a:pt x="105" y="38"/>
                    </a:cubicBezTo>
                    <a:cubicBezTo>
                      <a:pt x="105" y="38"/>
                      <a:pt x="105" y="37"/>
                      <a:pt x="105" y="37"/>
                    </a:cubicBezTo>
                    <a:cubicBezTo>
                      <a:pt x="106" y="35"/>
                      <a:pt x="106" y="35"/>
                      <a:pt x="106" y="35"/>
                    </a:cubicBezTo>
                    <a:cubicBezTo>
                      <a:pt x="106" y="35"/>
                      <a:pt x="107" y="34"/>
                      <a:pt x="107" y="33"/>
                    </a:cubicBezTo>
                    <a:cubicBezTo>
                      <a:pt x="109" y="32"/>
                      <a:pt x="110" y="32"/>
                      <a:pt x="112" y="32"/>
                    </a:cubicBezTo>
                    <a:cubicBezTo>
                      <a:pt x="114" y="32"/>
                      <a:pt x="116" y="32"/>
                      <a:pt x="117" y="33"/>
                    </a:cubicBezTo>
                    <a:cubicBezTo>
                      <a:pt x="117" y="31"/>
                      <a:pt x="117" y="29"/>
                      <a:pt x="117" y="27"/>
                    </a:cubicBezTo>
                    <a:cubicBezTo>
                      <a:pt x="117" y="26"/>
                      <a:pt x="117" y="26"/>
                      <a:pt x="117" y="26"/>
                    </a:cubicBezTo>
                    <a:cubicBezTo>
                      <a:pt x="116" y="28"/>
                      <a:pt x="114" y="30"/>
                      <a:pt x="111" y="30"/>
                    </a:cubicBezTo>
                    <a:cubicBezTo>
                      <a:pt x="110" y="30"/>
                      <a:pt x="109" y="30"/>
                      <a:pt x="108" y="29"/>
                    </a:cubicBezTo>
                    <a:cubicBezTo>
                      <a:pt x="97" y="23"/>
                      <a:pt x="97" y="23"/>
                      <a:pt x="97" y="23"/>
                    </a:cubicBezTo>
                    <a:cubicBezTo>
                      <a:pt x="96" y="23"/>
                      <a:pt x="96" y="23"/>
                      <a:pt x="96" y="23"/>
                    </a:cubicBezTo>
                    <a:cubicBezTo>
                      <a:pt x="95" y="22"/>
                      <a:pt x="95" y="22"/>
                      <a:pt x="95" y="22"/>
                    </a:cubicBezTo>
                    <a:cubicBezTo>
                      <a:pt x="94" y="22"/>
                      <a:pt x="92" y="21"/>
                      <a:pt x="93" y="18"/>
                    </a:cubicBezTo>
                    <a:cubicBezTo>
                      <a:pt x="93" y="17"/>
                      <a:pt x="93" y="17"/>
                      <a:pt x="93" y="17"/>
                    </a:cubicBezTo>
                    <a:cubicBezTo>
                      <a:pt x="93" y="17"/>
                      <a:pt x="93" y="17"/>
                      <a:pt x="93" y="17"/>
                    </a:cubicBezTo>
                    <a:cubicBezTo>
                      <a:pt x="93" y="16"/>
                      <a:pt x="93" y="16"/>
                      <a:pt x="93" y="16"/>
                    </a:cubicBezTo>
                    <a:cubicBezTo>
                      <a:pt x="93" y="16"/>
                      <a:pt x="92" y="15"/>
                      <a:pt x="92" y="15"/>
                    </a:cubicBezTo>
                    <a:cubicBezTo>
                      <a:pt x="91" y="11"/>
                      <a:pt x="91" y="9"/>
                      <a:pt x="94" y="6"/>
                    </a:cubicBezTo>
                    <a:cubicBezTo>
                      <a:pt x="94" y="6"/>
                      <a:pt x="94" y="6"/>
                      <a:pt x="94" y="6"/>
                    </a:cubicBezTo>
                    <a:cubicBezTo>
                      <a:pt x="94" y="6"/>
                      <a:pt x="94" y="6"/>
                      <a:pt x="94" y="6"/>
                    </a:cubicBezTo>
                    <a:cubicBezTo>
                      <a:pt x="94" y="6"/>
                      <a:pt x="94" y="5"/>
                      <a:pt x="93" y="5"/>
                    </a:cubicBezTo>
                    <a:cubicBezTo>
                      <a:pt x="92" y="4"/>
                      <a:pt x="92" y="4"/>
                      <a:pt x="92" y="4"/>
                    </a:cubicBezTo>
                    <a:cubicBezTo>
                      <a:pt x="90" y="3"/>
                      <a:pt x="85" y="1"/>
                      <a:pt x="82" y="1"/>
                    </a:cubicBezTo>
                    <a:cubicBezTo>
                      <a:pt x="82" y="1"/>
                      <a:pt x="81" y="0"/>
                      <a:pt x="81" y="0"/>
                    </a:cubicBezTo>
                    <a:cubicBezTo>
                      <a:pt x="80" y="0"/>
                      <a:pt x="80" y="1"/>
                      <a:pt x="79" y="1"/>
                    </a:cubicBezTo>
                    <a:cubicBezTo>
                      <a:pt x="78" y="1"/>
                      <a:pt x="78" y="1"/>
                      <a:pt x="78" y="1"/>
                    </a:cubicBezTo>
                    <a:cubicBezTo>
                      <a:pt x="78" y="1"/>
                      <a:pt x="77" y="1"/>
                      <a:pt x="76" y="1"/>
                    </a:cubicBezTo>
                    <a:cubicBezTo>
                      <a:pt x="75" y="1"/>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271"/>
              <p:cNvSpPr/>
              <p:nvPr/>
            </p:nvSpPr>
            <p:spPr bwMode="auto">
              <a:xfrm>
                <a:off x="4974906" y="4344752"/>
                <a:ext cx="1053943" cy="987611"/>
              </a:xfrm>
              <a:custGeom>
                <a:gdLst>
                  <a:gd name="T0" fmla="*/ 136 w 332"/>
                  <a:gd name="T1" fmla="*/ 2 h 311"/>
                  <a:gd name="T2" fmla="*/ 122 w 332"/>
                  <a:gd name="T3" fmla="*/ 8 h 311"/>
                  <a:gd name="T4" fmla="*/ 107 w 332"/>
                  <a:gd name="T5" fmla="*/ 8 h 311"/>
                  <a:gd name="T6" fmla="*/ 106 w 332"/>
                  <a:gd name="T7" fmla="*/ 16 h 311"/>
                  <a:gd name="T8" fmla="*/ 99 w 332"/>
                  <a:gd name="T9" fmla="*/ 18 h 311"/>
                  <a:gd name="T10" fmla="*/ 97 w 332"/>
                  <a:gd name="T11" fmla="*/ 28 h 311"/>
                  <a:gd name="T12" fmla="*/ 94 w 332"/>
                  <a:gd name="T13" fmla="*/ 30 h 311"/>
                  <a:gd name="T14" fmla="*/ 69 w 332"/>
                  <a:gd name="T15" fmla="*/ 30 h 311"/>
                  <a:gd name="T16" fmla="*/ 65 w 332"/>
                  <a:gd name="T17" fmla="*/ 37 h 311"/>
                  <a:gd name="T18" fmla="*/ 55 w 332"/>
                  <a:gd name="T19" fmla="*/ 39 h 311"/>
                  <a:gd name="T20" fmla="*/ 51 w 332"/>
                  <a:gd name="T21" fmla="*/ 34 h 311"/>
                  <a:gd name="T22" fmla="*/ 38 w 332"/>
                  <a:gd name="T23" fmla="*/ 30 h 311"/>
                  <a:gd name="T24" fmla="*/ 26 w 332"/>
                  <a:gd name="T25" fmla="*/ 41 h 311"/>
                  <a:gd name="T26" fmla="*/ 9 w 332"/>
                  <a:gd name="T27" fmla="*/ 41 h 311"/>
                  <a:gd name="T28" fmla="*/ 3 w 332"/>
                  <a:gd name="T29" fmla="*/ 43 h 311"/>
                  <a:gd name="T30" fmla="*/ 11 w 332"/>
                  <a:gd name="T31" fmla="*/ 59 h 311"/>
                  <a:gd name="T32" fmla="*/ 11 w 332"/>
                  <a:gd name="T33" fmla="*/ 81 h 311"/>
                  <a:gd name="T34" fmla="*/ 29 w 332"/>
                  <a:gd name="T35" fmla="*/ 100 h 311"/>
                  <a:gd name="T36" fmla="*/ 36 w 332"/>
                  <a:gd name="T37" fmla="*/ 107 h 311"/>
                  <a:gd name="T38" fmla="*/ 86 w 332"/>
                  <a:gd name="T39" fmla="*/ 102 h 311"/>
                  <a:gd name="T40" fmla="*/ 103 w 332"/>
                  <a:gd name="T41" fmla="*/ 141 h 311"/>
                  <a:gd name="T42" fmla="*/ 110 w 332"/>
                  <a:gd name="T43" fmla="*/ 142 h 311"/>
                  <a:gd name="T44" fmla="*/ 120 w 332"/>
                  <a:gd name="T45" fmla="*/ 160 h 311"/>
                  <a:gd name="T46" fmla="*/ 127 w 332"/>
                  <a:gd name="T47" fmla="*/ 161 h 311"/>
                  <a:gd name="T48" fmla="*/ 168 w 332"/>
                  <a:gd name="T49" fmla="*/ 193 h 311"/>
                  <a:gd name="T50" fmla="*/ 186 w 332"/>
                  <a:gd name="T51" fmla="*/ 200 h 311"/>
                  <a:gd name="T52" fmla="*/ 216 w 332"/>
                  <a:gd name="T53" fmla="*/ 216 h 311"/>
                  <a:gd name="T54" fmla="*/ 225 w 332"/>
                  <a:gd name="T55" fmla="*/ 219 h 311"/>
                  <a:gd name="T56" fmla="*/ 242 w 332"/>
                  <a:gd name="T57" fmla="*/ 241 h 311"/>
                  <a:gd name="T58" fmla="*/ 256 w 332"/>
                  <a:gd name="T59" fmla="*/ 254 h 311"/>
                  <a:gd name="T60" fmla="*/ 257 w 332"/>
                  <a:gd name="T61" fmla="*/ 286 h 311"/>
                  <a:gd name="T62" fmla="*/ 254 w 332"/>
                  <a:gd name="T63" fmla="*/ 311 h 311"/>
                  <a:gd name="T64" fmla="*/ 276 w 332"/>
                  <a:gd name="T65" fmla="*/ 293 h 311"/>
                  <a:gd name="T66" fmla="*/ 291 w 332"/>
                  <a:gd name="T67" fmla="*/ 278 h 311"/>
                  <a:gd name="T68" fmla="*/ 281 w 332"/>
                  <a:gd name="T69" fmla="*/ 254 h 311"/>
                  <a:gd name="T70" fmla="*/ 277 w 332"/>
                  <a:gd name="T71" fmla="*/ 254 h 311"/>
                  <a:gd name="T72" fmla="*/ 294 w 332"/>
                  <a:gd name="T73" fmla="*/ 228 h 311"/>
                  <a:gd name="T74" fmla="*/ 331 w 332"/>
                  <a:gd name="T75" fmla="*/ 240 h 311"/>
                  <a:gd name="T76" fmla="*/ 258 w 332"/>
                  <a:gd name="T77" fmla="*/ 186 h 311"/>
                  <a:gd name="T78" fmla="*/ 225 w 332"/>
                  <a:gd name="T79" fmla="*/ 171 h 311"/>
                  <a:gd name="T80" fmla="*/ 171 w 332"/>
                  <a:gd name="T81" fmla="*/ 108 h 311"/>
                  <a:gd name="T82" fmla="*/ 161 w 332"/>
                  <a:gd name="T83" fmla="*/ 73 h 311"/>
                  <a:gd name="T84" fmla="*/ 159 w 332"/>
                  <a:gd name="T85" fmla="*/ 51 h 311"/>
                  <a:gd name="T86" fmla="*/ 180 w 332"/>
                  <a:gd name="T87" fmla="*/ 43 h 311"/>
                  <a:gd name="T88" fmla="*/ 189 w 332"/>
                  <a:gd name="T89" fmla="*/ 44 h 311"/>
                  <a:gd name="T90" fmla="*/ 189 w 332"/>
                  <a:gd name="T91" fmla="*/ 38 h 311"/>
                  <a:gd name="T92" fmla="*/ 187 w 332"/>
                  <a:gd name="T93" fmla="*/ 30 h 311"/>
                  <a:gd name="T94" fmla="*/ 184 w 332"/>
                  <a:gd name="T95" fmla="*/ 21 h 311"/>
                  <a:gd name="T96" fmla="*/ 189 w 332"/>
                  <a:gd name="T97" fmla="*/ 18 h 311"/>
                  <a:gd name="T98" fmla="*/ 161 w 332"/>
                  <a:gd name="T99" fmla="*/ 14 h 3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2" h="311">
                    <a:moveTo>
                      <a:pt x="148" y="0"/>
                    </a:moveTo>
                    <a:cubicBezTo>
                      <a:pt x="146" y="0"/>
                      <a:pt x="146" y="0"/>
                      <a:pt x="146" y="0"/>
                    </a:cubicBezTo>
                    <a:cubicBezTo>
                      <a:pt x="143" y="1"/>
                      <a:pt x="140" y="1"/>
                      <a:pt x="137" y="2"/>
                    </a:cubicBezTo>
                    <a:cubicBezTo>
                      <a:pt x="136" y="2"/>
                      <a:pt x="136" y="2"/>
                      <a:pt x="136" y="2"/>
                    </a:cubicBezTo>
                    <a:cubicBezTo>
                      <a:pt x="126" y="4"/>
                      <a:pt x="126" y="4"/>
                      <a:pt x="126" y="4"/>
                    </a:cubicBezTo>
                    <a:cubicBezTo>
                      <a:pt x="125" y="4"/>
                      <a:pt x="125" y="4"/>
                      <a:pt x="124" y="5"/>
                    </a:cubicBezTo>
                    <a:cubicBezTo>
                      <a:pt x="124" y="6"/>
                      <a:pt x="123" y="7"/>
                      <a:pt x="122" y="8"/>
                    </a:cubicBezTo>
                    <a:cubicBezTo>
                      <a:pt x="122" y="8"/>
                      <a:pt x="122" y="8"/>
                      <a:pt x="122" y="8"/>
                    </a:cubicBezTo>
                    <a:cubicBezTo>
                      <a:pt x="121" y="10"/>
                      <a:pt x="121" y="10"/>
                      <a:pt x="120" y="10"/>
                    </a:cubicBezTo>
                    <a:cubicBezTo>
                      <a:pt x="119" y="11"/>
                      <a:pt x="118" y="11"/>
                      <a:pt x="118" y="11"/>
                    </a:cubicBezTo>
                    <a:cubicBezTo>
                      <a:pt x="117" y="11"/>
                      <a:pt x="116" y="10"/>
                      <a:pt x="114" y="10"/>
                    </a:cubicBezTo>
                    <a:cubicBezTo>
                      <a:pt x="112" y="10"/>
                      <a:pt x="109" y="9"/>
                      <a:pt x="107" y="8"/>
                    </a:cubicBezTo>
                    <a:cubicBezTo>
                      <a:pt x="106" y="8"/>
                      <a:pt x="106" y="8"/>
                      <a:pt x="106" y="8"/>
                    </a:cubicBezTo>
                    <a:cubicBezTo>
                      <a:pt x="106" y="10"/>
                      <a:pt x="106" y="12"/>
                      <a:pt x="106" y="13"/>
                    </a:cubicBezTo>
                    <a:cubicBezTo>
                      <a:pt x="106" y="14"/>
                      <a:pt x="106" y="14"/>
                      <a:pt x="106" y="14"/>
                    </a:cubicBezTo>
                    <a:cubicBezTo>
                      <a:pt x="106" y="14"/>
                      <a:pt x="106" y="15"/>
                      <a:pt x="106" y="16"/>
                    </a:cubicBezTo>
                    <a:cubicBezTo>
                      <a:pt x="106" y="20"/>
                      <a:pt x="106" y="20"/>
                      <a:pt x="106" y="20"/>
                    </a:cubicBezTo>
                    <a:cubicBezTo>
                      <a:pt x="102" y="19"/>
                      <a:pt x="102" y="19"/>
                      <a:pt x="102" y="19"/>
                    </a:cubicBezTo>
                    <a:cubicBezTo>
                      <a:pt x="101" y="19"/>
                      <a:pt x="101" y="19"/>
                      <a:pt x="101" y="19"/>
                    </a:cubicBezTo>
                    <a:cubicBezTo>
                      <a:pt x="99" y="18"/>
                      <a:pt x="99" y="18"/>
                      <a:pt x="99" y="18"/>
                    </a:cubicBezTo>
                    <a:cubicBezTo>
                      <a:pt x="99" y="18"/>
                      <a:pt x="97" y="18"/>
                      <a:pt x="96" y="17"/>
                    </a:cubicBezTo>
                    <a:cubicBezTo>
                      <a:pt x="97" y="18"/>
                      <a:pt x="97" y="18"/>
                      <a:pt x="97" y="19"/>
                    </a:cubicBezTo>
                    <a:cubicBezTo>
                      <a:pt x="98" y="20"/>
                      <a:pt x="98" y="21"/>
                      <a:pt x="97" y="23"/>
                    </a:cubicBezTo>
                    <a:cubicBezTo>
                      <a:pt x="98" y="24"/>
                      <a:pt x="98" y="26"/>
                      <a:pt x="97" y="28"/>
                    </a:cubicBezTo>
                    <a:cubicBezTo>
                      <a:pt x="96" y="29"/>
                      <a:pt x="96" y="29"/>
                      <a:pt x="96" y="29"/>
                    </a:cubicBezTo>
                    <a:cubicBezTo>
                      <a:pt x="95" y="29"/>
                      <a:pt x="95" y="29"/>
                      <a:pt x="95" y="29"/>
                    </a:cubicBezTo>
                    <a:cubicBezTo>
                      <a:pt x="95" y="29"/>
                      <a:pt x="95" y="30"/>
                      <a:pt x="94" y="30"/>
                    </a:cubicBezTo>
                    <a:cubicBezTo>
                      <a:pt x="94" y="30"/>
                      <a:pt x="94" y="30"/>
                      <a:pt x="94" y="30"/>
                    </a:cubicBezTo>
                    <a:cubicBezTo>
                      <a:pt x="93" y="30"/>
                      <a:pt x="93" y="30"/>
                      <a:pt x="93" y="30"/>
                    </a:cubicBezTo>
                    <a:cubicBezTo>
                      <a:pt x="93" y="30"/>
                      <a:pt x="93" y="30"/>
                      <a:pt x="93" y="30"/>
                    </a:cubicBezTo>
                    <a:cubicBezTo>
                      <a:pt x="88" y="30"/>
                      <a:pt x="79" y="26"/>
                      <a:pt x="72" y="23"/>
                    </a:cubicBezTo>
                    <a:cubicBezTo>
                      <a:pt x="72" y="25"/>
                      <a:pt x="71" y="28"/>
                      <a:pt x="69" y="30"/>
                    </a:cubicBezTo>
                    <a:cubicBezTo>
                      <a:pt x="68" y="31"/>
                      <a:pt x="68" y="31"/>
                      <a:pt x="68" y="31"/>
                    </a:cubicBezTo>
                    <a:cubicBezTo>
                      <a:pt x="68" y="31"/>
                      <a:pt x="68" y="32"/>
                      <a:pt x="67" y="32"/>
                    </a:cubicBezTo>
                    <a:cubicBezTo>
                      <a:pt x="66" y="33"/>
                      <a:pt x="66" y="33"/>
                      <a:pt x="66" y="35"/>
                    </a:cubicBezTo>
                    <a:cubicBezTo>
                      <a:pt x="65" y="37"/>
                      <a:pt x="65" y="37"/>
                      <a:pt x="65" y="37"/>
                    </a:cubicBezTo>
                    <a:cubicBezTo>
                      <a:pt x="65" y="39"/>
                      <a:pt x="63" y="41"/>
                      <a:pt x="62" y="42"/>
                    </a:cubicBezTo>
                    <a:cubicBezTo>
                      <a:pt x="53" y="53"/>
                      <a:pt x="53" y="53"/>
                      <a:pt x="53" y="53"/>
                    </a:cubicBezTo>
                    <a:cubicBezTo>
                      <a:pt x="55" y="40"/>
                      <a:pt x="55" y="40"/>
                      <a:pt x="55" y="40"/>
                    </a:cubicBezTo>
                    <a:cubicBezTo>
                      <a:pt x="55" y="39"/>
                      <a:pt x="55" y="39"/>
                      <a:pt x="55" y="39"/>
                    </a:cubicBezTo>
                    <a:cubicBezTo>
                      <a:pt x="55" y="38"/>
                      <a:pt x="55" y="37"/>
                      <a:pt x="54" y="36"/>
                    </a:cubicBezTo>
                    <a:cubicBezTo>
                      <a:pt x="54" y="35"/>
                      <a:pt x="54" y="35"/>
                      <a:pt x="54" y="35"/>
                    </a:cubicBezTo>
                    <a:cubicBezTo>
                      <a:pt x="53" y="35"/>
                      <a:pt x="53" y="35"/>
                      <a:pt x="53" y="35"/>
                    </a:cubicBezTo>
                    <a:cubicBezTo>
                      <a:pt x="53" y="34"/>
                      <a:pt x="52" y="34"/>
                      <a:pt x="51" y="34"/>
                    </a:cubicBezTo>
                    <a:cubicBezTo>
                      <a:pt x="50" y="33"/>
                      <a:pt x="50" y="33"/>
                      <a:pt x="49" y="33"/>
                    </a:cubicBezTo>
                    <a:cubicBezTo>
                      <a:pt x="46" y="31"/>
                      <a:pt x="43" y="30"/>
                      <a:pt x="42" y="28"/>
                    </a:cubicBezTo>
                    <a:cubicBezTo>
                      <a:pt x="42" y="27"/>
                      <a:pt x="42" y="26"/>
                      <a:pt x="42" y="25"/>
                    </a:cubicBezTo>
                    <a:cubicBezTo>
                      <a:pt x="40" y="26"/>
                      <a:pt x="39" y="29"/>
                      <a:pt x="38" y="30"/>
                    </a:cubicBezTo>
                    <a:cubicBezTo>
                      <a:pt x="37" y="33"/>
                      <a:pt x="35" y="35"/>
                      <a:pt x="34" y="37"/>
                    </a:cubicBezTo>
                    <a:cubicBezTo>
                      <a:pt x="32" y="39"/>
                      <a:pt x="32" y="39"/>
                      <a:pt x="32" y="39"/>
                    </a:cubicBezTo>
                    <a:cubicBezTo>
                      <a:pt x="32" y="39"/>
                      <a:pt x="30" y="41"/>
                      <a:pt x="28" y="41"/>
                    </a:cubicBezTo>
                    <a:cubicBezTo>
                      <a:pt x="26" y="41"/>
                      <a:pt x="26" y="41"/>
                      <a:pt x="26" y="41"/>
                    </a:cubicBezTo>
                    <a:cubicBezTo>
                      <a:pt x="26" y="41"/>
                      <a:pt x="25" y="40"/>
                      <a:pt x="25" y="40"/>
                    </a:cubicBezTo>
                    <a:cubicBezTo>
                      <a:pt x="23" y="40"/>
                      <a:pt x="21" y="39"/>
                      <a:pt x="20" y="39"/>
                    </a:cubicBezTo>
                    <a:cubicBezTo>
                      <a:pt x="19" y="39"/>
                      <a:pt x="19" y="40"/>
                      <a:pt x="18" y="40"/>
                    </a:cubicBezTo>
                    <a:cubicBezTo>
                      <a:pt x="16" y="40"/>
                      <a:pt x="12" y="40"/>
                      <a:pt x="9" y="41"/>
                    </a:cubicBezTo>
                    <a:cubicBezTo>
                      <a:pt x="8" y="41"/>
                      <a:pt x="8" y="41"/>
                      <a:pt x="8" y="41"/>
                    </a:cubicBezTo>
                    <a:cubicBezTo>
                      <a:pt x="7" y="41"/>
                      <a:pt x="7" y="41"/>
                      <a:pt x="6" y="41"/>
                    </a:cubicBezTo>
                    <a:cubicBezTo>
                      <a:pt x="5" y="42"/>
                      <a:pt x="5" y="42"/>
                      <a:pt x="4" y="43"/>
                    </a:cubicBezTo>
                    <a:cubicBezTo>
                      <a:pt x="3" y="43"/>
                      <a:pt x="3" y="43"/>
                      <a:pt x="3" y="43"/>
                    </a:cubicBezTo>
                    <a:cubicBezTo>
                      <a:pt x="9" y="51"/>
                      <a:pt x="9" y="51"/>
                      <a:pt x="9" y="51"/>
                    </a:cubicBezTo>
                    <a:cubicBezTo>
                      <a:pt x="9" y="51"/>
                      <a:pt x="9" y="51"/>
                      <a:pt x="9" y="51"/>
                    </a:cubicBezTo>
                    <a:cubicBezTo>
                      <a:pt x="11" y="52"/>
                      <a:pt x="12" y="53"/>
                      <a:pt x="13" y="55"/>
                    </a:cubicBezTo>
                    <a:cubicBezTo>
                      <a:pt x="13" y="57"/>
                      <a:pt x="12" y="58"/>
                      <a:pt x="11" y="59"/>
                    </a:cubicBezTo>
                    <a:cubicBezTo>
                      <a:pt x="11" y="60"/>
                      <a:pt x="11" y="60"/>
                      <a:pt x="11" y="60"/>
                    </a:cubicBezTo>
                    <a:cubicBezTo>
                      <a:pt x="12" y="61"/>
                      <a:pt x="11" y="62"/>
                      <a:pt x="11" y="63"/>
                    </a:cubicBezTo>
                    <a:cubicBezTo>
                      <a:pt x="9" y="66"/>
                      <a:pt x="5" y="67"/>
                      <a:pt x="0" y="68"/>
                    </a:cubicBezTo>
                    <a:cubicBezTo>
                      <a:pt x="11" y="81"/>
                      <a:pt x="11" y="81"/>
                      <a:pt x="11" y="81"/>
                    </a:cubicBezTo>
                    <a:cubicBezTo>
                      <a:pt x="8" y="83"/>
                      <a:pt x="8" y="83"/>
                      <a:pt x="8" y="83"/>
                    </a:cubicBezTo>
                    <a:cubicBezTo>
                      <a:pt x="6" y="84"/>
                      <a:pt x="4" y="88"/>
                      <a:pt x="5" y="90"/>
                    </a:cubicBezTo>
                    <a:cubicBezTo>
                      <a:pt x="5" y="90"/>
                      <a:pt x="5" y="90"/>
                      <a:pt x="5" y="90"/>
                    </a:cubicBezTo>
                    <a:cubicBezTo>
                      <a:pt x="29" y="100"/>
                      <a:pt x="29" y="100"/>
                      <a:pt x="29" y="100"/>
                    </a:cubicBezTo>
                    <a:cubicBezTo>
                      <a:pt x="28" y="103"/>
                      <a:pt x="28" y="103"/>
                      <a:pt x="28" y="103"/>
                    </a:cubicBezTo>
                    <a:cubicBezTo>
                      <a:pt x="27" y="105"/>
                      <a:pt x="26" y="107"/>
                      <a:pt x="25" y="109"/>
                    </a:cubicBezTo>
                    <a:cubicBezTo>
                      <a:pt x="25" y="110"/>
                      <a:pt x="24" y="111"/>
                      <a:pt x="24" y="112"/>
                    </a:cubicBezTo>
                    <a:cubicBezTo>
                      <a:pt x="29" y="111"/>
                      <a:pt x="34" y="109"/>
                      <a:pt x="36" y="107"/>
                    </a:cubicBezTo>
                    <a:cubicBezTo>
                      <a:pt x="41" y="102"/>
                      <a:pt x="46" y="97"/>
                      <a:pt x="50" y="92"/>
                    </a:cubicBezTo>
                    <a:cubicBezTo>
                      <a:pt x="50" y="92"/>
                      <a:pt x="51" y="92"/>
                      <a:pt x="52" y="92"/>
                    </a:cubicBezTo>
                    <a:cubicBezTo>
                      <a:pt x="56" y="92"/>
                      <a:pt x="66" y="94"/>
                      <a:pt x="67" y="95"/>
                    </a:cubicBezTo>
                    <a:cubicBezTo>
                      <a:pt x="73" y="97"/>
                      <a:pt x="79" y="99"/>
                      <a:pt x="86" y="102"/>
                    </a:cubicBezTo>
                    <a:cubicBezTo>
                      <a:pt x="90" y="104"/>
                      <a:pt x="96" y="107"/>
                      <a:pt x="97" y="113"/>
                    </a:cubicBezTo>
                    <a:cubicBezTo>
                      <a:pt x="98" y="120"/>
                      <a:pt x="100" y="126"/>
                      <a:pt x="103" y="133"/>
                    </a:cubicBezTo>
                    <a:cubicBezTo>
                      <a:pt x="103" y="135"/>
                      <a:pt x="104" y="138"/>
                      <a:pt x="104" y="140"/>
                    </a:cubicBezTo>
                    <a:cubicBezTo>
                      <a:pt x="104" y="140"/>
                      <a:pt x="103" y="140"/>
                      <a:pt x="103" y="141"/>
                    </a:cubicBezTo>
                    <a:cubicBezTo>
                      <a:pt x="104" y="142"/>
                      <a:pt x="105" y="142"/>
                      <a:pt x="107" y="142"/>
                    </a:cubicBezTo>
                    <a:cubicBezTo>
                      <a:pt x="107" y="142"/>
                      <a:pt x="108" y="142"/>
                      <a:pt x="108" y="142"/>
                    </a:cubicBezTo>
                    <a:cubicBezTo>
                      <a:pt x="109" y="142"/>
                      <a:pt x="109" y="142"/>
                      <a:pt x="109" y="142"/>
                    </a:cubicBezTo>
                    <a:cubicBezTo>
                      <a:pt x="110" y="142"/>
                      <a:pt x="110" y="142"/>
                      <a:pt x="110" y="142"/>
                    </a:cubicBezTo>
                    <a:cubicBezTo>
                      <a:pt x="112" y="142"/>
                      <a:pt x="116" y="150"/>
                      <a:pt x="118" y="152"/>
                    </a:cubicBezTo>
                    <a:cubicBezTo>
                      <a:pt x="119" y="154"/>
                      <a:pt x="122" y="157"/>
                      <a:pt x="122" y="159"/>
                    </a:cubicBezTo>
                    <a:cubicBezTo>
                      <a:pt x="121" y="159"/>
                      <a:pt x="121" y="159"/>
                      <a:pt x="121" y="159"/>
                    </a:cubicBezTo>
                    <a:cubicBezTo>
                      <a:pt x="121" y="159"/>
                      <a:pt x="120" y="159"/>
                      <a:pt x="120" y="160"/>
                    </a:cubicBezTo>
                    <a:cubicBezTo>
                      <a:pt x="121" y="161"/>
                      <a:pt x="123" y="161"/>
                      <a:pt x="125" y="161"/>
                    </a:cubicBezTo>
                    <a:cubicBezTo>
                      <a:pt x="125" y="161"/>
                      <a:pt x="126" y="161"/>
                      <a:pt x="126" y="161"/>
                    </a:cubicBezTo>
                    <a:cubicBezTo>
                      <a:pt x="126" y="161"/>
                      <a:pt x="126" y="161"/>
                      <a:pt x="126" y="161"/>
                    </a:cubicBezTo>
                    <a:cubicBezTo>
                      <a:pt x="127" y="161"/>
                      <a:pt x="127" y="161"/>
                      <a:pt x="127" y="161"/>
                    </a:cubicBezTo>
                    <a:cubicBezTo>
                      <a:pt x="134" y="161"/>
                      <a:pt x="139" y="169"/>
                      <a:pt x="144" y="173"/>
                    </a:cubicBezTo>
                    <a:cubicBezTo>
                      <a:pt x="147" y="176"/>
                      <a:pt x="150" y="178"/>
                      <a:pt x="153" y="181"/>
                    </a:cubicBezTo>
                    <a:cubicBezTo>
                      <a:pt x="158" y="185"/>
                      <a:pt x="158" y="185"/>
                      <a:pt x="158" y="185"/>
                    </a:cubicBezTo>
                    <a:cubicBezTo>
                      <a:pt x="161" y="187"/>
                      <a:pt x="164" y="190"/>
                      <a:pt x="168" y="193"/>
                    </a:cubicBezTo>
                    <a:cubicBezTo>
                      <a:pt x="170" y="195"/>
                      <a:pt x="172" y="197"/>
                      <a:pt x="175" y="198"/>
                    </a:cubicBezTo>
                    <a:cubicBezTo>
                      <a:pt x="175" y="199"/>
                      <a:pt x="176" y="200"/>
                      <a:pt x="176" y="200"/>
                    </a:cubicBezTo>
                    <a:cubicBezTo>
                      <a:pt x="177" y="201"/>
                      <a:pt x="178" y="201"/>
                      <a:pt x="180" y="201"/>
                    </a:cubicBezTo>
                    <a:cubicBezTo>
                      <a:pt x="182" y="201"/>
                      <a:pt x="184" y="201"/>
                      <a:pt x="186" y="200"/>
                    </a:cubicBezTo>
                    <a:cubicBezTo>
                      <a:pt x="187" y="200"/>
                      <a:pt x="189" y="200"/>
                      <a:pt x="191" y="200"/>
                    </a:cubicBezTo>
                    <a:cubicBezTo>
                      <a:pt x="194" y="200"/>
                      <a:pt x="196" y="200"/>
                      <a:pt x="197" y="202"/>
                    </a:cubicBezTo>
                    <a:cubicBezTo>
                      <a:pt x="200" y="206"/>
                      <a:pt x="202" y="210"/>
                      <a:pt x="206" y="212"/>
                    </a:cubicBezTo>
                    <a:cubicBezTo>
                      <a:pt x="209" y="213"/>
                      <a:pt x="212" y="215"/>
                      <a:pt x="216" y="216"/>
                    </a:cubicBezTo>
                    <a:cubicBezTo>
                      <a:pt x="215" y="218"/>
                      <a:pt x="213" y="220"/>
                      <a:pt x="212" y="222"/>
                    </a:cubicBezTo>
                    <a:cubicBezTo>
                      <a:pt x="216" y="221"/>
                      <a:pt x="219" y="220"/>
                      <a:pt x="222" y="220"/>
                    </a:cubicBezTo>
                    <a:cubicBezTo>
                      <a:pt x="223" y="220"/>
                      <a:pt x="224" y="219"/>
                      <a:pt x="224" y="219"/>
                    </a:cubicBezTo>
                    <a:cubicBezTo>
                      <a:pt x="225" y="219"/>
                      <a:pt x="225" y="219"/>
                      <a:pt x="225" y="219"/>
                    </a:cubicBezTo>
                    <a:cubicBezTo>
                      <a:pt x="227" y="220"/>
                      <a:pt x="231" y="228"/>
                      <a:pt x="231" y="230"/>
                    </a:cubicBezTo>
                    <a:cubicBezTo>
                      <a:pt x="231" y="230"/>
                      <a:pt x="230" y="231"/>
                      <a:pt x="230" y="232"/>
                    </a:cubicBezTo>
                    <a:cubicBezTo>
                      <a:pt x="229" y="234"/>
                      <a:pt x="229" y="233"/>
                      <a:pt x="232" y="236"/>
                    </a:cubicBezTo>
                    <a:cubicBezTo>
                      <a:pt x="235" y="238"/>
                      <a:pt x="239" y="241"/>
                      <a:pt x="242" y="241"/>
                    </a:cubicBezTo>
                    <a:cubicBezTo>
                      <a:pt x="243" y="241"/>
                      <a:pt x="243" y="241"/>
                      <a:pt x="243" y="241"/>
                    </a:cubicBezTo>
                    <a:cubicBezTo>
                      <a:pt x="245" y="241"/>
                      <a:pt x="247" y="241"/>
                      <a:pt x="248" y="241"/>
                    </a:cubicBezTo>
                    <a:cubicBezTo>
                      <a:pt x="250" y="241"/>
                      <a:pt x="252" y="241"/>
                      <a:pt x="253" y="244"/>
                    </a:cubicBezTo>
                    <a:cubicBezTo>
                      <a:pt x="254" y="247"/>
                      <a:pt x="255" y="251"/>
                      <a:pt x="256" y="254"/>
                    </a:cubicBezTo>
                    <a:cubicBezTo>
                      <a:pt x="259" y="261"/>
                      <a:pt x="260" y="270"/>
                      <a:pt x="264" y="276"/>
                    </a:cubicBezTo>
                    <a:cubicBezTo>
                      <a:pt x="265" y="278"/>
                      <a:pt x="266" y="277"/>
                      <a:pt x="266" y="279"/>
                    </a:cubicBezTo>
                    <a:cubicBezTo>
                      <a:pt x="266" y="283"/>
                      <a:pt x="263" y="283"/>
                      <a:pt x="260" y="284"/>
                    </a:cubicBezTo>
                    <a:cubicBezTo>
                      <a:pt x="259" y="284"/>
                      <a:pt x="257" y="285"/>
                      <a:pt x="257" y="286"/>
                    </a:cubicBezTo>
                    <a:cubicBezTo>
                      <a:pt x="256" y="287"/>
                      <a:pt x="256" y="286"/>
                      <a:pt x="256" y="287"/>
                    </a:cubicBezTo>
                    <a:cubicBezTo>
                      <a:pt x="255" y="288"/>
                      <a:pt x="258" y="290"/>
                      <a:pt x="258" y="291"/>
                    </a:cubicBezTo>
                    <a:cubicBezTo>
                      <a:pt x="258" y="292"/>
                      <a:pt x="255" y="295"/>
                      <a:pt x="254" y="296"/>
                    </a:cubicBezTo>
                    <a:cubicBezTo>
                      <a:pt x="251" y="300"/>
                      <a:pt x="245" y="309"/>
                      <a:pt x="254" y="311"/>
                    </a:cubicBezTo>
                    <a:cubicBezTo>
                      <a:pt x="254" y="311"/>
                      <a:pt x="256" y="311"/>
                      <a:pt x="257" y="311"/>
                    </a:cubicBezTo>
                    <a:cubicBezTo>
                      <a:pt x="259" y="311"/>
                      <a:pt x="261" y="311"/>
                      <a:pt x="261" y="311"/>
                    </a:cubicBezTo>
                    <a:cubicBezTo>
                      <a:pt x="263" y="310"/>
                      <a:pt x="266" y="305"/>
                      <a:pt x="268" y="303"/>
                    </a:cubicBezTo>
                    <a:cubicBezTo>
                      <a:pt x="270" y="301"/>
                      <a:pt x="275" y="296"/>
                      <a:pt x="276" y="293"/>
                    </a:cubicBezTo>
                    <a:cubicBezTo>
                      <a:pt x="277" y="291"/>
                      <a:pt x="275" y="286"/>
                      <a:pt x="275" y="285"/>
                    </a:cubicBezTo>
                    <a:cubicBezTo>
                      <a:pt x="276" y="282"/>
                      <a:pt x="282" y="277"/>
                      <a:pt x="286" y="277"/>
                    </a:cubicBezTo>
                    <a:cubicBezTo>
                      <a:pt x="286" y="277"/>
                      <a:pt x="286" y="277"/>
                      <a:pt x="287" y="277"/>
                    </a:cubicBezTo>
                    <a:cubicBezTo>
                      <a:pt x="288" y="277"/>
                      <a:pt x="290" y="278"/>
                      <a:pt x="291" y="278"/>
                    </a:cubicBezTo>
                    <a:cubicBezTo>
                      <a:pt x="292" y="278"/>
                      <a:pt x="292" y="278"/>
                      <a:pt x="292" y="278"/>
                    </a:cubicBezTo>
                    <a:cubicBezTo>
                      <a:pt x="295" y="275"/>
                      <a:pt x="293" y="269"/>
                      <a:pt x="293" y="266"/>
                    </a:cubicBezTo>
                    <a:cubicBezTo>
                      <a:pt x="292" y="261"/>
                      <a:pt x="288" y="259"/>
                      <a:pt x="283" y="256"/>
                    </a:cubicBezTo>
                    <a:cubicBezTo>
                      <a:pt x="282" y="255"/>
                      <a:pt x="282" y="255"/>
                      <a:pt x="281" y="254"/>
                    </a:cubicBezTo>
                    <a:cubicBezTo>
                      <a:pt x="280" y="254"/>
                      <a:pt x="280" y="254"/>
                      <a:pt x="280" y="254"/>
                    </a:cubicBezTo>
                    <a:cubicBezTo>
                      <a:pt x="279" y="254"/>
                      <a:pt x="279" y="254"/>
                      <a:pt x="279" y="254"/>
                    </a:cubicBezTo>
                    <a:cubicBezTo>
                      <a:pt x="279" y="254"/>
                      <a:pt x="278" y="254"/>
                      <a:pt x="278" y="254"/>
                    </a:cubicBezTo>
                    <a:cubicBezTo>
                      <a:pt x="278" y="254"/>
                      <a:pt x="277" y="254"/>
                      <a:pt x="277" y="254"/>
                    </a:cubicBezTo>
                    <a:cubicBezTo>
                      <a:pt x="274" y="252"/>
                      <a:pt x="276" y="249"/>
                      <a:pt x="276" y="246"/>
                    </a:cubicBezTo>
                    <a:cubicBezTo>
                      <a:pt x="278" y="238"/>
                      <a:pt x="281" y="232"/>
                      <a:pt x="288" y="225"/>
                    </a:cubicBezTo>
                    <a:cubicBezTo>
                      <a:pt x="289" y="225"/>
                      <a:pt x="290" y="224"/>
                      <a:pt x="292" y="224"/>
                    </a:cubicBezTo>
                    <a:cubicBezTo>
                      <a:pt x="295" y="224"/>
                      <a:pt x="298" y="226"/>
                      <a:pt x="294" y="228"/>
                    </a:cubicBezTo>
                    <a:cubicBezTo>
                      <a:pt x="298" y="229"/>
                      <a:pt x="302" y="230"/>
                      <a:pt x="306" y="231"/>
                    </a:cubicBezTo>
                    <a:cubicBezTo>
                      <a:pt x="311" y="232"/>
                      <a:pt x="311" y="234"/>
                      <a:pt x="314" y="238"/>
                    </a:cubicBezTo>
                    <a:cubicBezTo>
                      <a:pt x="318" y="244"/>
                      <a:pt x="321" y="245"/>
                      <a:pt x="327" y="248"/>
                    </a:cubicBezTo>
                    <a:cubicBezTo>
                      <a:pt x="328" y="244"/>
                      <a:pt x="330" y="243"/>
                      <a:pt x="331" y="240"/>
                    </a:cubicBezTo>
                    <a:cubicBezTo>
                      <a:pt x="332" y="234"/>
                      <a:pt x="323" y="228"/>
                      <a:pt x="319" y="224"/>
                    </a:cubicBezTo>
                    <a:cubicBezTo>
                      <a:pt x="315" y="220"/>
                      <a:pt x="308" y="217"/>
                      <a:pt x="303" y="214"/>
                    </a:cubicBezTo>
                    <a:cubicBezTo>
                      <a:pt x="299" y="211"/>
                      <a:pt x="294" y="209"/>
                      <a:pt x="290" y="207"/>
                    </a:cubicBezTo>
                    <a:cubicBezTo>
                      <a:pt x="278" y="201"/>
                      <a:pt x="266" y="198"/>
                      <a:pt x="258" y="186"/>
                    </a:cubicBezTo>
                    <a:cubicBezTo>
                      <a:pt x="261" y="185"/>
                      <a:pt x="266" y="183"/>
                      <a:pt x="265" y="180"/>
                    </a:cubicBezTo>
                    <a:cubicBezTo>
                      <a:pt x="265" y="179"/>
                      <a:pt x="265" y="177"/>
                      <a:pt x="264" y="177"/>
                    </a:cubicBezTo>
                    <a:cubicBezTo>
                      <a:pt x="254" y="177"/>
                      <a:pt x="245" y="177"/>
                      <a:pt x="236" y="176"/>
                    </a:cubicBezTo>
                    <a:cubicBezTo>
                      <a:pt x="233" y="176"/>
                      <a:pt x="227" y="173"/>
                      <a:pt x="225" y="171"/>
                    </a:cubicBezTo>
                    <a:cubicBezTo>
                      <a:pt x="221" y="169"/>
                      <a:pt x="218" y="166"/>
                      <a:pt x="215" y="163"/>
                    </a:cubicBezTo>
                    <a:cubicBezTo>
                      <a:pt x="208" y="157"/>
                      <a:pt x="205" y="152"/>
                      <a:pt x="201" y="144"/>
                    </a:cubicBezTo>
                    <a:cubicBezTo>
                      <a:pt x="198" y="139"/>
                      <a:pt x="198" y="128"/>
                      <a:pt x="193" y="124"/>
                    </a:cubicBezTo>
                    <a:cubicBezTo>
                      <a:pt x="186" y="119"/>
                      <a:pt x="179" y="113"/>
                      <a:pt x="171" y="108"/>
                    </a:cubicBezTo>
                    <a:cubicBezTo>
                      <a:pt x="164" y="104"/>
                      <a:pt x="158" y="100"/>
                      <a:pt x="156" y="92"/>
                    </a:cubicBezTo>
                    <a:cubicBezTo>
                      <a:pt x="155" y="87"/>
                      <a:pt x="153" y="81"/>
                      <a:pt x="154" y="77"/>
                    </a:cubicBezTo>
                    <a:cubicBezTo>
                      <a:pt x="155" y="77"/>
                      <a:pt x="156" y="77"/>
                      <a:pt x="156" y="77"/>
                    </a:cubicBezTo>
                    <a:cubicBezTo>
                      <a:pt x="159" y="77"/>
                      <a:pt x="160" y="76"/>
                      <a:pt x="161" y="73"/>
                    </a:cubicBezTo>
                    <a:cubicBezTo>
                      <a:pt x="161" y="71"/>
                      <a:pt x="160" y="70"/>
                      <a:pt x="158" y="67"/>
                    </a:cubicBezTo>
                    <a:cubicBezTo>
                      <a:pt x="157" y="66"/>
                      <a:pt x="151" y="61"/>
                      <a:pt x="151" y="59"/>
                    </a:cubicBezTo>
                    <a:cubicBezTo>
                      <a:pt x="151" y="58"/>
                      <a:pt x="153" y="55"/>
                      <a:pt x="154" y="54"/>
                    </a:cubicBezTo>
                    <a:cubicBezTo>
                      <a:pt x="155" y="53"/>
                      <a:pt x="158" y="51"/>
                      <a:pt x="159" y="51"/>
                    </a:cubicBezTo>
                    <a:cubicBezTo>
                      <a:pt x="159" y="52"/>
                      <a:pt x="159" y="54"/>
                      <a:pt x="158" y="55"/>
                    </a:cubicBezTo>
                    <a:cubicBezTo>
                      <a:pt x="161" y="54"/>
                      <a:pt x="164" y="53"/>
                      <a:pt x="167" y="51"/>
                    </a:cubicBezTo>
                    <a:cubicBezTo>
                      <a:pt x="169" y="50"/>
                      <a:pt x="176" y="49"/>
                      <a:pt x="177" y="47"/>
                    </a:cubicBezTo>
                    <a:cubicBezTo>
                      <a:pt x="179" y="44"/>
                      <a:pt x="176" y="44"/>
                      <a:pt x="180" y="43"/>
                    </a:cubicBezTo>
                    <a:cubicBezTo>
                      <a:pt x="180" y="43"/>
                      <a:pt x="180" y="43"/>
                      <a:pt x="181" y="43"/>
                    </a:cubicBezTo>
                    <a:cubicBezTo>
                      <a:pt x="182" y="43"/>
                      <a:pt x="183" y="43"/>
                      <a:pt x="184" y="44"/>
                    </a:cubicBezTo>
                    <a:cubicBezTo>
                      <a:pt x="185" y="44"/>
                      <a:pt x="185" y="44"/>
                      <a:pt x="186" y="44"/>
                    </a:cubicBezTo>
                    <a:cubicBezTo>
                      <a:pt x="187" y="44"/>
                      <a:pt x="188" y="44"/>
                      <a:pt x="189" y="44"/>
                    </a:cubicBezTo>
                    <a:cubicBezTo>
                      <a:pt x="189" y="43"/>
                      <a:pt x="189" y="44"/>
                      <a:pt x="189" y="43"/>
                    </a:cubicBezTo>
                    <a:cubicBezTo>
                      <a:pt x="189" y="43"/>
                      <a:pt x="189" y="43"/>
                      <a:pt x="189" y="43"/>
                    </a:cubicBezTo>
                    <a:cubicBezTo>
                      <a:pt x="189" y="42"/>
                      <a:pt x="189" y="42"/>
                      <a:pt x="189" y="42"/>
                    </a:cubicBezTo>
                    <a:cubicBezTo>
                      <a:pt x="188" y="41"/>
                      <a:pt x="188" y="40"/>
                      <a:pt x="189" y="38"/>
                    </a:cubicBezTo>
                    <a:cubicBezTo>
                      <a:pt x="189" y="37"/>
                      <a:pt x="189" y="37"/>
                      <a:pt x="189" y="37"/>
                    </a:cubicBezTo>
                    <a:cubicBezTo>
                      <a:pt x="189" y="37"/>
                      <a:pt x="187" y="36"/>
                      <a:pt x="187" y="36"/>
                    </a:cubicBezTo>
                    <a:cubicBezTo>
                      <a:pt x="182" y="32"/>
                      <a:pt x="182" y="32"/>
                      <a:pt x="182" y="32"/>
                    </a:cubicBezTo>
                    <a:cubicBezTo>
                      <a:pt x="187" y="30"/>
                      <a:pt x="187" y="30"/>
                      <a:pt x="187" y="30"/>
                    </a:cubicBezTo>
                    <a:cubicBezTo>
                      <a:pt x="188" y="29"/>
                      <a:pt x="188" y="29"/>
                      <a:pt x="188" y="29"/>
                    </a:cubicBezTo>
                    <a:cubicBezTo>
                      <a:pt x="188" y="29"/>
                      <a:pt x="188" y="29"/>
                      <a:pt x="188" y="29"/>
                    </a:cubicBezTo>
                    <a:cubicBezTo>
                      <a:pt x="180" y="24"/>
                      <a:pt x="180" y="24"/>
                      <a:pt x="180" y="24"/>
                    </a:cubicBezTo>
                    <a:cubicBezTo>
                      <a:pt x="184" y="21"/>
                      <a:pt x="184" y="21"/>
                      <a:pt x="184" y="21"/>
                    </a:cubicBezTo>
                    <a:cubicBezTo>
                      <a:pt x="185" y="21"/>
                      <a:pt x="185" y="21"/>
                      <a:pt x="186" y="20"/>
                    </a:cubicBezTo>
                    <a:cubicBezTo>
                      <a:pt x="187" y="20"/>
                      <a:pt x="187" y="20"/>
                      <a:pt x="187" y="20"/>
                    </a:cubicBezTo>
                    <a:cubicBezTo>
                      <a:pt x="187" y="19"/>
                      <a:pt x="188" y="19"/>
                      <a:pt x="189" y="18"/>
                    </a:cubicBezTo>
                    <a:cubicBezTo>
                      <a:pt x="189" y="18"/>
                      <a:pt x="189" y="18"/>
                      <a:pt x="189" y="18"/>
                    </a:cubicBezTo>
                    <a:cubicBezTo>
                      <a:pt x="187" y="18"/>
                      <a:pt x="186" y="18"/>
                      <a:pt x="184" y="18"/>
                    </a:cubicBezTo>
                    <a:cubicBezTo>
                      <a:pt x="178" y="17"/>
                      <a:pt x="172" y="17"/>
                      <a:pt x="165" y="15"/>
                    </a:cubicBezTo>
                    <a:cubicBezTo>
                      <a:pt x="164" y="15"/>
                      <a:pt x="164" y="15"/>
                      <a:pt x="164" y="15"/>
                    </a:cubicBezTo>
                    <a:cubicBezTo>
                      <a:pt x="161" y="14"/>
                      <a:pt x="161" y="14"/>
                      <a:pt x="161" y="14"/>
                    </a:cubicBezTo>
                    <a:cubicBezTo>
                      <a:pt x="156" y="14"/>
                      <a:pt x="151" y="9"/>
                      <a:pt x="149" y="5"/>
                    </a:cubicBezTo>
                    <a:cubicBezTo>
                      <a:pt x="149" y="4"/>
                      <a:pt x="149" y="4"/>
                      <a:pt x="149" y="4"/>
                    </a:cubicBezTo>
                    <a:cubicBezTo>
                      <a:pt x="148" y="3"/>
                      <a:pt x="148" y="2"/>
                      <a:pt x="1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272"/>
              <p:cNvSpPr/>
              <p:nvPr/>
            </p:nvSpPr>
            <p:spPr bwMode="auto">
              <a:xfrm>
                <a:off x="4882779" y="3884113"/>
                <a:ext cx="7370" cy="7370"/>
              </a:xfrm>
              <a:custGeom>
                <a:gdLst>
                  <a:gd name="T0" fmla="*/ 0 w 2"/>
                  <a:gd name="T1" fmla="*/ 0 h 2"/>
                  <a:gd name="T2" fmla="*/ 0 w 2"/>
                  <a:gd name="T3" fmla="*/ 0 h 2"/>
                  <a:gd name="T4" fmla="*/ 0 w 2"/>
                  <a:gd name="T5" fmla="*/ 2 h 2"/>
                  <a:gd name="T6" fmla="*/ 2 w 2"/>
                  <a:gd name="T7" fmla="*/ 2 h 2"/>
                  <a:gd name="T8" fmla="*/ 2 w 2"/>
                  <a:gd name="T9" fmla="*/ 1 h 2"/>
                  <a:gd name="T10" fmla="*/ 2 w 2"/>
                  <a:gd name="T11" fmla="*/ 1 h 2"/>
                  <a:gd name="T12" fmla="*/ 1 w 2"/>
                  <a:gd name="T13" fmla="*/ 0 h 2"/>
                  <a:gd name="T14" fmla="*/ 0 w 2"/>
                  <a:gd name="T15" fmla="*/ 0 h 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cubicBezTo>
                      <a:pt x="0" y="0"/>
                      <a:pt x="0" y="0"/>
                      <a:pt x="0" y="0"/>
                    </a:cubicBezTo>
                    <a:cubicBezTo>
                      <a:pt x="0" y="1"/>
                      <a:pt x="0" y="1"/>
                      <a:pt x="0" y="2"/>
                    </a:cubicBezTo>
                    <a:cubicBezTo>
                      <a:pt x="1" y="2"/>
                      <a:pt x="1" y="2"/>
                      <a:pt x="2" y="2"/>
                    </a:cubicBezTo>
                    <a:cubicBezTo>
                      <a:pt x="2" y="1"/>
                      <a:pt x="2" y="1"/>
                      <a:pt x="2" y="1"/>
                    </a:cubicBezTo>
                    <a:cubicBezTo>
                      <a:pt x="2" y="1"/>
                      <a:pt x="2" y="1"/>
                      <a:pt x="2" y="1"/>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273"/>
              <p:cNvSpPr>
                <a:spLocks noEditPoints="1"/>
              </p:cNvSpPr>
              <p:nvPr/>
            </p:nvSpPr>
            <p:spPr bwMode="auto">
              <a:xfrm>
                <a:off x="4716948" y="3581933"/>
                <a:ext cx="280069" cy="272699"/>
              </a:xfrm>
              <a:custGeom>
                <a:gdLst>
                  <a:gd name="T0" fmla="*/ 30 w 88"/>
                  <a:gd name="T1" fmla="*/ 19 h 86"/>
                  <a:gd name="T2" fmla="*/ 38 w 88"/>
                  <a:gd name="T3" fmla="*/ 16 h 86"/>
                  <a:gd name="T4" fmla="*/ 44 w 88"/>
                  <a:gd name="T5" fmla="*/ 22 h 86"/>
                  <a:gd name="T6" fmla="*/ 46 w 88"/>
                  <a:gd name="T7" fmla="*/ 22 h 86"/>
                  <a:gd name="T8" fmla="*/ 45 w 88"/>
                  <a:gd name="T9" fmla="*/ 27 h 86"/>
                  <a:gd name="T10" fmla="*/ 53 w 88"/>
                  <a:gd name="T11" fmla="*/ 35 h 86"/>
                  <a:gd name="T12" fmla="*/ 33 w 88"/>
                  <a:gd name="T13" fmla="*/ 40 h 86"/>
                  <a:gd name="T14" fmla="*/ 39 w 88"/>
                  <a:gd name="T15" fmla="*/ 43 h 86"/>
                  <a:gd name="T16" fmla="*/ 53 w 88"/>
                  <a:gd name="T17" fmla="*/ 37 h 86"/>
                  <a:gd name="T18" fmla="*/ 45 w 88"/>
                  <a:gd name="T19" fmla="*/ 43 h 86"/>
                  <a:gd name="T20" fmla="*/ 29 w 88"/>
                  <a:gd name="T21" fmla="*/ 41 h 86"/>
                  <a:gd name="T22" fmla="*/ 29 w 88"/>
                  <a:gd name="T23" fmla="*/ 31 h 86"/>
                  <a:gd name="T24" fmla="*/ 35 w 88"/>
                  <a:gd name="T25" fmla="*/ 26 h 86"/>
                  <a:gd name="T26" fmla="*/ 41 w 88"/>
                  <a:gd name="T27" fmla="*/ 8 h 86"/>
                  <a:gd name="T28" fmla="*/ 28 w 88"/>
                  <a:gd name="T29" fmla="*/ 19 h 86"/>
                  <a:gd name="T30" fmla="*/ 18 w 88"/>
                  <a:gd name="T31" fmla="*/ 29 h 86"/>
                  <a:gd name="T32" fmla="*/ 2 w 88"/>
                  <a:gd name="T33" fmla="*/ 60 h 86"/>
                  <a:gd name="T34" fmla="*/ 15 w 88"/>
                  <a:gd name="T35" fmla="*/ 65 h 86"/>
                  <a:gd name="T36" fmla="*/ 23 w 88"/>
                  <a:gd name="T37" fmla="*/ 66 h 86"/>
                  <a:gd name="T38" fmla="*/ 11 w 88"/>
                  <a:gd name="T39" fmla="*/ 67 h 86"/>
                  <a:gd name="T40" fmla="*/ 2 w 88"/>
                  <a:gd name="T41" fmla="*/ 70 h 86"/>
                  <a:gd name="T42" fmla="*/ 7 w 88"/>
                  <a:gd name="T43" fmla="*/ 73 h 86"/>
                  <a:gd name="T44" fmla="*/ 8 w 88"/>
                  <a:gd name="T45" fmla="*/ 75 h 86"/>
                  <a:gd name="T46" fmla="*/ 9 w 88"/>
                  <a:gd name="T47" fmla="*/ 74 h 86"/>
                  <a:gd name="T48" fmla="*/ 14 w 88"/>
                  <a:gd name="T49" fmla="*/ 71 h 86"/>
                  <a:gd name="T50" fmla="*/ 19 w 88"/>
                  <a:gd name="T51" fmla="*/ 71 h 86"/>
                  <a:gd name="T52" fmla="*/ 22 w 88"/>
                  <a:gd name="T53" fmla="*/ 70 h 86"/>
                  <a:gd name="T54" fmla="*/ 28 w 88"/>
                  <a:gd name="T55" fmla="*/ 72 h 86"/>
                  <a:gd name="T56" fmla="*/ 31 w 88"/>
                  <a:gd name="T57" fmla="*/ 72 h 86"/>
                  <a:gd name="T58" fmla="*/ 35 w 88"/>
                  <a:gd name="T59" fmla="*/ 76 h 86"/>
                  <a:gd name="T60" fmla="*/ 35 w 88"/>
                  <a:gd name="T61" fmla="*/ 77 h 86"/>
                  <a:gd name="T62" fmla="*/ 37 w 88"/>
                  <a:gd name="T63" fmla="*/ 79 h 86"/>
                  <a:gd name="T64" fmla="*/ 38 w 88"/>
                  <a:gd name="T65" fmla="*/ 79 h 86"/>
                  <a:gd name="T66" fmla="*/ 39 w 88"/>
                  <a:gd name="T67" fmla="*/ 79 h 86"/>
                  <a:gd name="T68" fmla="*/ 46 w 88"/>
                  <a:gd name="T69" fmla="*/ 80 h 86"/>
                  <a:gd name="T70" fmla="*/ 48 w 88"/>
                  <a:gd name="T71" fmla="*/ 82 h 86"/>
                  <a:gd name="T72" fmla="*/ 54 w 88"/>
                  <a:gd name="T73" fmla="*/ 85 h 86"/>
                  <a:gd name="T74" fmla="*/ 55 w 88"/>
                  <a:gd name="T75" fmla="*/ 86 h 86"/>
                  <a:gd name="T76" fmla="*/ 55 w 88"/>
                  <a:gd name="T77" fmla="*/ 84 h 86"/>
                  <a:gd name="T78" fmla="*/ 56 w 88"/>
                  <a:gd name="T79" fmla="*/ 82 h 86"/>
                  <a:gd name="T80" fmla="*/ 58 w 88"/>
                  <a:gd name="T81" fmla="*/ 80 h 86"/>
                  <a:gd name="T82" fmla="*/ 60 w 88"/>
                  <a:gd name="T83" fmla="*/ 75 h 86"/>
                  <a:gd name="T84" fmla="*/ 52 w 88"/>
                  <a:gd name="T85" fmla="*/ 65 h 86"/>
                  <a:gd name="T86" fmla="*/ 57 w 88"/>
                  <a:gd name="T87" fmla="*/ 56 h 86"/>
                  <a:gd name="T88" fmla="*/ 58 w 88"/>
                  <a:gd name="T89" fmla="*/ 56 h 86"/>
                  <a:gd name="T90" fmla="*/ 62 w 88"/>
                  <a:gd name="T91" fmla="*/ 55 h 86"/>
                  <a:gd name="T92" fmla="*/ 67 w 88"/>
                  <a:gd name="T93" fmla="*/ 49 h 86"/>
                  <a:gd name="T94" fmla="*/ 66 w 88"/>
                  <a:gd name="T95" fmla="*/ 56 h 86"/>
                  <a:gd name="T96" fmla="*/ 70 w 88"/>
                  <a:gd name="T97" fmla="*/ 57 h 86"/>
                  <a:gd name="T98" fmla="*/ 71 w 88"/>
                  <a:gd name="T99" fmla="*/ 56 h 86"/>
                  <a:gd name="T100" fmla="*/ 72 w 88"/>
                  <a:gd name="T101" fmla="*/ 54 h 86"/>
                  <a:gd name="T102" fmla="*/ 79 w 88"/>
                  <a:gd name="T103" fmla="*/ 47 h 86"/>
                  <a:gd name="T104" fmla="*/ 83 w 88"/>
                  <a:gd name="T105" fmla="*/ 44 h 86"/>
                  <a:gd name="T106" fmla="*/ 81 w 88"/>
                  <a:gd name="T107" fmla="*/ 41 h 86"/>
                  <a:gd name="T108" fmla="*/ 76 w 88"/>
                  <a:gd name="T109" fmla="*/ 39 h 86"/>
                  <a:gd name="T110" fmla="*/ 74 w 88"/>
                  <a:gd name="T111" fmla="*/ 34 h 86"/>
                  <a:gd name="T112" fmla="*/ 71 w 88"/>
                  <a:gd name="T113" fmla="*/ 29 h 86"/>
                  <a:gd name="T114" fmla="*/ 80 w 88"/>
                  <a:gd name="T115" fmla="*/ 27 h 86"/>
                  <a:gd name="T116" fmla="*/ 84 w 88"/>
                  <a:gd name="T117" fmla="*/ 25 h 86"/>
                  <a:gd name="T118" fmla="*/ 86 w 88"/>
                  <a:gd name="T119" fmla="*/ 18 h 86"/>
                  <a:gd name="T120" fmla="*/ 87 w 88"/>
                  <a:gd name="T121" fmla="*/ 12 h 86"/>
                  <a:gd name="T122" fmla="*/ 87 w 88"/>
                  <a:gd name="T123" fmla="*/ 6 h 86"/>
                  <a:gd name="T124" fmla="*/ 84 w 88"/>
                  <a:gd name="T125" fmla="*/ 3 h 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86">
                    <a:moveTo>
                      <a:pt x="35" y="26"/>
                    </a:moveTo>
                    <a:cubicBezTo>
                      <a:pt x="31" y="26"/>
                      <a:pt x="31" y="22"/>
                      <a:pt x="30" y="19"/>
                    </a:cubicBezTo>
                    <a:cubicBezTo>
                      <a:pt x="31" y="18"/>
                      <a:pt x="32" y="18"/>
                      <a:pt x="34" y="17"/>
                    </a:cubicBezTo>
                    <a:cubicBezTo>
                      <a:pt x="36" y="17"/>
                      <a:pt x="37" y="16"/>
                      <a:pt x="38" y="16"/>
                    </a:cubicBezTo>
                    <a:cubicBezTo>
                      <a:pt x="40" y="16"/>
                      <a:pt x="40" y="17"/>
                      <a:pt x="41" y="21"/>
                    </a:cubicBezTo>
                    <a:cubicBezTo>
                      <a:pt x="41" y="22"/>
                      <a:pt x="42" y="22"/>
                      <a:pt x="44" y="22"/>
                    </a:cubicBezTo>
                    <a:cubicBezTo>
                      <a:pt x="44" y="22"/>
                      <a:pt x="45" y="22"/>
                      <a:pt x="45" y="22"/>
                    </a:cubicBezTo>
                    <a:cubicBezTo>
                      <a:pt x="45" y="22"/>
                      <a:pt x="46" y="22"/>
                      <a:pt x="46" y="22"/>
                    </a:cubicBezTo>
                    <a:cubicBezTo>
                      <a:pt x="47" y="22"/>
                      <a:pt x="48" y="22"/>
                      <a:pt x="49" y="23"/>
                    </a:cubicBezTo>
                    <a:cubicBezTo>
                      <a:pt x="47" y="24"/>
                      <a:pt x="45" y="25"/>
                      <a:pt x="45" y="27"/>
                    </a:cubicBezTo>
                    <a:cubicBezTo>
                      <a:pt x="45" y="30"/>
                      <a:pt x="47" y="30"/>
                      <a:pt x="50" y="31"/>
                    </a:cubicBezTo>
                    <a:cubicBezTo>
                      <a:pt x="52" y="31"/>
                      <a:pt x="53" y="33"/>
                      <a:pt x="53" y="35"/>
                    </a:cubicBezTo>
                    <a:cubicBezTo>
                      <a:pt x="52" y="33"/>
                      <a:pt x="46" y="32"/>
                      <a:pt x="45" y="32"/>
                    </a:cubicBezTo>
                    <a:cubicBezTo>
                      <a:pt x="43" y="34"/>
                      <a:pt x="34" y="37"/>
                      <a:pt x="33" y="40"/>
                    </a:cubicBezTo>
                    <a:cubicBezTo>
                      <a:pt x="32" y="42"/>
                      <a:pt x="35" y="42"/>
                      <a:pt x="37" y="43"/>
                    </a:cubicBezTo>
                    <a:cubicBezTo>
                      <a:pt x="38" y="43"/>
                      <a:pt x="38" y="43"/>
                      <a:pt x="39" y="43"/>
                    </a:cubicBezTo>
                    <a:cubicBezTo>
                      <a:pt x="42" y="43"/>
                      <a:pt x="48" y="39"/>
                      <a:pt x="51" y="38"/>
                    </a:cubicBezTo>
                    <a:cubicBezTo>
                      <a:pt x="52" y="37"/>
                      <a:pt x="52" y="37"/>
                      <a:pt x="53" y="37"/>
                    </a:cubicBezTo>
                    <a:cubicBezTo>
                      <a:pt x="52" y="37"/>
                      <a:pt x="52" y="38"/>
                      <a:pt x="52" y="38"/>
                    </a:cubicBezTo>
                    <a:cubicBezTo>
                      <a:pt x="50" y="40"/>
                      <a:pt x="46" y="40"/>
                      <a:pt x="45" y="43"/>
                    </a:cubicBezTo>
                    <a:cubicBezTo>
                      <a:pt x="44" y="44"/>
                      <a:pt x="42" y="45"/>
                      <a:pt x="41" y="45"/>
                    </a:cubicBezTo>
                    <a:cubicBezTo>
                      <a:pt x="37" y="45"/>
                      <a:pt x="31" y="42"/>
                      <a:pt x="29" y="41"/>
                    </a:cubicBezTo>
                    <a:cubicBezTo>
                      <a:pt x="31" y="40"/>
                      <a:pt x="31" y="38"/>
                      <a:pt x="31" y="35"/>
                    </a:cubicBezTo>
                    <a:cubicBezTo>
                      <a:pt x="30" y="34"/>
                      <a:pt x="29" y="32"/>
                      <a:pt x="29" y="31"/>
                    </a:cubicBezTo>
                    <a:cubicBezTo>
                      <a:pt x="30" y="28"/>
                      <a:pt x="37" y="31"/>
                      <a:pt x="36" y="26"/>
                    </a:cubicBezTo>
                    <a:cubicBezTo>
                      <a:pt x="36" y="26"/>
                      <a:pt x="35" y="26"/>
                      <a:pt x="35" y="26"/>
                    </a:cubicBezTo>
                    <a:moveTo>
                      <a:pt x="72" y="0"/>
                    </a:moveTo>
                    <a:cubicBezTo>
                      <a:pt x="62" y="0"/>
                      <a:pt x="49" y="0"/>
                      <a:pt x="41" y="8"/>
                    </a:cubicBezTo>
                    <a:cubicBezTo>
                      <a:pt x="39" y="10"/>
                      <a:pt x="38" y="13"/>
                      <a:pt x="35" y="15"/>
                    </a:cubicBezTo>
                    <a:cubicBezTo>
                      <a:pt x="33" y="17"/>
                      <a:pt x="31" y="18"/>
                      <a:pt x="28" y="19"/>
                    </a:cubicBezTo>
                    <a:cubicBezTo>
                      <a:pt x="26" y="20"/>
                      <a:pt x="21" y="20"/>
                      <a:pt x="20" y="21"/>
                    </a:cubicBezTo>
                    <a:cubicBezTo>
                      <a:pt x="19" y="22"/>
                      <a:pt x="18" y="27"/>
                      <a:pt x="18" y="29"/>
                    </a:cubicBezTo>
                    <a:cubicBezTo>
                      <a:pt x="16" y="39"/>
                      <a:pt x="12" y="46"/>
                      <a:pt x="5" y="54"/>
                    </a:cubicBezTo>
                    <a:cubicBezTo>
                      <a:pt x="2" y="56"/>
                      <a:pt x="1" y="57"/>
                      <a:pt x="2" y="60"/>
                    </a:cubicBezTo>
                    <a:cubicBezTo>
                      <a:pt x="2" y="61"/>
                      <a:pt x="7" y="63"/>
                      <a:pt x="8" y="64"/>
                    </a:cubicBezTo>
                    <a:cubicBezTo>
                      <a:pt x="11" y="65"/>
                      <a:pt x="13" y="65"/>
                      <a:pt x="15" y="65"/>
                    </a:cubicBezTo>
                    <a:cubicBezTo>
                      <a:pt x="17" y="65"/>
                      <a:pt x="19" y="64"/>
                      <a:pt x="22" y="62"/>
                    </a:cubicBezTo>
                    <a:cubicBezTo>
                      <a:pt x="21" y="64"/>
                      <a:pt x="22" y="65"/>
                      <a:pt x="23" y="66"/>
                    </a:cubicBezTo>
                    <a:cubicBezTo>
                      <a:pt x="23" y="65"/>
                      <a:pt x="21" y="65"/>
                      <a:pt x="20" y="65"/>
                    </a:cubicBezTo>
                    <a:cubicBezTo>
                      <a:pt x="17" y="65"/>
                      <a:pt x="13" y="66"/>
                      <a:pt x="11" y="67"/>
                    </a:cubicBezTo>
                    <a:cubicBezTo>
                      <a:pt x="9" y="67"/>
                      <a:pt x="5" y="68"/>
                      <a:pt x="6" y="70"/>
                    </a:cubicBezTo>
                    <a:cubicBezTo>
                      <a:pt x="5" y="70"/>
                      <a:pt x="3" y="70"/>
                      <a:pt x="2" y="70"/>
                    </a:cubicBezTo>
                    <a:cubicBezTo>
                      <a:pt x="1" y="70"/>
                      <a:pt x="1" y="70"/>
                      <a:pt x="0" y="70"/>
                    </a:cubicBezTo>
                    <a:cubicBezTo>
                      <a:pt x="2" y="71"/>
                      <a:pt x="5" y="72"/>
                      <a:pt x="7" y="73"/>
                    </a:cubicBezTo>
                    <a:cubicBezTo>
                      <a:pt x="8" y="74"/>
                      <a:pt x="8" y="75"/>
                      <a:pt x="8" y="75"/>
                    </a:cubicBezTo>
                    <a:cubicBezTo>
                      <a:pt x="8" y="75"/>
                      <a:pt x="8" y="75"/>
                      <a:pt x="8" y="75"/>
                    </a:cubicBezTo>
                    <a:cubicBezTo>
                      <a:pt x="8" y="75"/>
                      <a:pt x="8" y="75"/>
                      <a:pt x="8" y="75"/>
                    </a:cubicBezTo>
                    <a:cubicBezTo>
                      <a:pt x="9" y="74"/>
                      <a:pt x="9" y="74"/>
                      <a:pt x="9" y="74"/>
                    </a:cubicBezTo>
                    <a:cubicBezTo>
                      <a:pt x="9" y="73"/>
                      <a:pt x="10" y="72"/>
                      <a:pt x="12" y="71"/>
                    </a:cubicBezTo>
                    <a:cubicBezTo>
                      <a:pt x="13" y="71"/>
                      <a:pt x="14" y="71"/>
                      <a:pt x="14" y="71"/>
                    </a:cubicBezTo>
                    <a:cubicBezTo>
                      <a:pt x="16" y="71"/>
                      <a:pt x="17" y="71"/>
                      <a:pt x="18" y="72"/>
                    </a:cubicBezTo>
                    <a:cubicBezTo>
                      <a:pt x="19" y="71"/>
                      <a:pt x="19" y="71"/>
                      <a:pt x="19" y="71"/>
                    </a:cubicBezTo>
                    <a:cubicBezTo>
                      <a:pt x="20" y="71"/>
                      <a:pt x="20" y="71"/>
                      <a:pt x="20" y="71"/>
                    </a:cubicBezTo>
                    <a:cubicBezTo>
                      <a:pt x="20" y="71"/>
                      <a:pt x="21" y="70"/>
                      <a:pt x="22" y="70"/>
                    </a:cubicBezTo>
                    <a:cubicBezTo>
                      <a:pt x="23" y="70"/>
                      <a:pt x="24" y="71"/>
                      <a:pt x="26" y="71"/>
                    </a:cubicBezTo>
                    <a:cubicBezTo>
                      <a:pt x="26" y="71"/>
                      <a:pt x="27" y="71"/>
                      <a:pt x="28" y="72"/>
                    </a:cubicBezTo>
                    <a:cubicBezTo>
                      <a:pt x="29" y="71"/>
                      <a:pt x="29" y="71"/>
                      <a:pt x="29" y="71"/>
                    </a:cubicBezTo>
                    <a:cubicBezTo>
                      <a:pt x="31" y="72"/>
                      <a:pt x="31" y="72"/>
                      <a:pt x="31" y="72"/>
                    </a:cubicBezTo>
                    <a:cubicBezTo>
                      <a:pt x="32" y="72"/>
                      <a:pt x="33" y="73"/>
                      <a:pt x="34" y="75"/>
                    </a:cubicBezTo>
                    <a:cubicBezTo>
                      <a:pt x="35" y="76"/>
                      <a:pt x="35" y="76"/>
                      <a:pt x="35" y="76"/>
                    </a:cubicBezTo>
                    <a:cubicBezTo>
                      <a:pt x="35" y="77"/>
                      <a:pt x="35" y="77"/>
                      <a:pt x="35" y="77"/>
                    </a:cubicBezTo>
                    <a:cubicBezTo>
                      <a:pt x="35" y="77"/>
                      <a:pt x="35" y="77"/>
                      <a:pt x="35" y="77"/>
                    </a:cubicBezTo>
                    <a:cubicBezTo>
                      <a:pt x="35" y="78"/>
                      <a:pt x="36" y="78"/>
                      <a:pt x="36" y="79"/>
                    </a:cubicBezTo>
                    <a:cubicBezTo>
                      <a:pt x="37" y="79"/>
                      <a:pt x="37" y="79"/>
                      <a:pt x="37" y="79"/>
                    </a:cubicBezTo>
                    <a:cubicBezTo>
                      <a:pt x="37" y="79"/>
                      <a:pt x="38" y="79"/>
                      <a:pt x="38" y="79"/>
                    </a:cubicBezTo>
                    <a:cubicBezTo>
                      <a:pt x="38" y="79"/>
                      <a:pt x="38" y="79"/>
                      <a:pt x="38" y="79"/>
                    </a:cubicBezTo>
                    <a:cubicBezTo>
                      <a:pt x="39" y="79"/>
                      <a:pt x="39" y="79"/>
                      <a:pt x="39" y="79"/>
                    </a:cubicBezTo>
                    <a:cubicBezTo>
                      <a:pt x="39" y="79"/>
                      <a:pt x="39" y="79"/>
                      <a:pt x="39" y="79"/>
                    </a:cubicBezTo>
                    <a:cubicBezTo>
                      <a:pt x="40" y="79"/>
                      <a:pt x="41" y="78"/>
                      <a:pt x="42" y="78"/>
                    </a:cubicBezTo>
                    <a:cubicBezTo>
                      <a:pt x="43" y="78"/>
                      <a:pt x="45" y="79"/>
                      <a:pt x="46" y="80"/>
                    </a:cubicBezTo>
                    <a:cubicBezTo>
                      <a:pt x="47" y="81"/>
                      <a:pt x="47" y="81"/>
                      <a:pt x="47" y="81"/>
                    </a:cubicBezTo>
                    <a:cubicBezTo>
                      <a:pt x="47" y="81"/>
                      <a:pt x="48" y="82"/>
                      <a:pt x="48" y="82"/>
                    </a:cubicBezTo>
                    <a:cubicBezTo>
                      <a:pt x="49" y="82"/>
                      <a:pt x="50" y="82"/>
                      <a:pt x="52" y="83"/>
                    </a:cubicBezTo>
                    <a:cubicBezTo>
                      <a:pt x="53" y="83"/>
                      <a:pt x="54" y="84"/>
                      <a:pt x="54" y="85"/>
                    </a:cubicBezTo>
                    <a:cubicBezTo>
                      <a:pt x="55" y="85"/>
                      <a:pt x="55" y="85"/>
                      <a:pt x="55" y="85"/>
                    </a:cubicBezTo>
                    <a:cubicBezTo>
                      <a:pt x="55" y="86"/>
                      <a:pt x="55" y="86"/>
                      <a:pt x="55" y="86"/>
                    </a:cubicBezTo>
                    <a:cubicBezTo>
                      <a:pt x="56" y="86"/>
                      <a:pt x="56" y="86"/>
                      <a:pt x="56" y="86"/>
                    </a:cubicBezTo>
                    <a:cubicBezTo>
                      <a:pt x="55" y="85"/>
                      <a:pt x="55" y="85"/>
                      <a:pt x="55" y="84"/>
                    </a:cubicBezTo>
                    <a:cubicBezTo>
                      <a:pt x="56" y="83"/>
                      <a:pt x="56" y="83"/>
                      <a:pt x="56" y="83"/>
                    </a:cubicBezTo>
                    <a:cubicBezTo>
                      <a:pt x="56" y="82"/>
                      <a:pt x="56" y="82"/>
                      <a:pt x="56" y="82"/>
                    </a:cubicBezTo>
                    <a:cubicBezTo>
                      <a:pt x="57" y="81"/>
                      <a:pt x="57" y="80"/>
                      <a:pt x="57" y="80"/>
                    </a:cubicBezTo>
                    <a:cubicBezTo>
                      <a:pt x="58" y="80"/>
                      <a:pt x="58" y="80"/>
                      <a:pt x="58" y="80"/>
                    </a:cubicBezTo>
                    <a:cubicBezTo>
                      <a:pt x="58" y="79"/>
                      <a:pt x="58" y="79"/>
                      <a:pt x="58" y="79"/>
                    </a:cubicBezTo>
                    <a:cubicBezTo>
                      <a:pt x="60" y="76"/>
                      <a:pt x="60" y="75"/>
                      <a:pt x="60" y="75"/>
                    </a:cubicBezTo>
                    <a:cubicBezTo>
                      <a:pt x="57" y="72"/>
                      <a:pt x="55" y="70"/>
                      <a:pt x="53" y="67"/>
                    </a:cubicBezTo>
                    <a:cubicBezTo>
                      <a:pt x="53" y="66"/>
                      <a:pt x="52" y="66"/>
                      <a:pt x="52" y="65"/>
                    </a:cubicBezTo>
                    <a:cubicBezTo>
                      <a:pt x="52" y="65"/>
                      <a:pt x="52" y="65"/>
                      <a:pt x="52" y="65"/>
                    </a:cubicBezTo>
                    <a:cubicBezTo>
                      <a:pt x="51" y="61"/>
                      <a:pt x="54" y="58"/>
                      <a:pt x="57" y="56"/>
                    </a:cubicBezTo>
                    <a:cubicBezTo>
                      <a:pt x="58" y="56"/>
                      <a:pt x="58" y="56"/>
                      <a:pt x="58" y="56"/>
                    </a:cubicBezTo>
                    <a:cubicBezTo>
                      <a:pt x="58" y="56"/>
                      <a:pt x="58" y="56"/>
                      <a:pt x="58" y="56"/>
                    </a:cubicBezTo>
                    <a:cubicBezTo>
                      <a:pt x="59" y="55"/>
                      <a:pt x="60" y="55"/>
                      <a:pt x="61" y="55"/>
                    </a:cubicBezTo>
                    <a:cubicBezTo>
                      <a:pt x="61" y="55"/>
                      <a:pt x="61" y="55"/>
                      <a:pt x="62" y="55"/>
                    </a:cubicBezTo>
                    <a:cubicBezTo>
                      <a:pt x="63" y="55"/>
                      <a:pt x="63" y="55"/>
                      <a:pt x="64" y="55"/>
                    </a:cubicBezTo>
                    <a:cubicBezTo>
                      <a:pt x="67" y="49"/>
                      <a:pt x="67" y="49"/>
                      <a:pt x="67" y="49"/>
                    </a:cubicBezTo>
                    <a:cubicBezTo>
                      <a:pt x="66" y="56"/>
                      <a:pt x="66" y="56"/>
                      <a:pt x="66" y="56"/>
                    </a:cubicBezTo>
                    <a:cubicBezTo>
                      <a:pt x="66" y="56"/>
                      <a:pt x="66" y="56"/>
                      <a:pt x="66" y="56"/>
                    </a:cubicBezTo>
                    <a:cubicBezTo>
                      <a:pt x="67" y="56"/>
                      <a:pt x="68" y="57"/>
                      <a:pt x="69" y="57"/>
                    </a:cubicBezTo>
                    <a:cubicBezTo>
                      <a:pt x="70" y="57"/>
                      <a:pt x="70" y="57"/>
                      <a:pt x="70" y="57"/>
                    </a:cubicBezTo>
                    <a:cubicBezTo>
                      <a:pt x="71" y="57"/>
                      <a:pt x="71" y="57"/>
                      <a:pt x="71" y="57"/>
                    </a:cubicBezTo>
                    <a:cubicBezTo>
                      <a:pt x="71" y="56"/>
                      <a:pt x="71" y="56"/>
                      <a:pt x="71" y="56"/>
                    </a:cubicBezTo>
                    <a:cubicBezTo>
                      <a:pt x="72" y="56"/>
                      <a:pt x="73" y="56"/>
                      <a:pt x="74" y="56"/>
                    </a:cubicBezTo>
                    <a:cubicBezTo>
                      <a:pt x="72" y="54"/>
                      <a:pt x="72" y="54"/>
                      <a:pt x="72" y="54"/>
                    </a:cubicBezTo>
                    <a:cubicBezTo>
                      <a:pt x="73" y="52"/>
                      <a:pt x="73" y="52"/>
                      <a:pt x="73" y="52"/>
                    </a:cubicBezTo>
                    <a:cubicBezTo>
                      <a:pt x="74" y="49"/>
                      <a:pt x="77" y="48"/>
                      <a:pt x="79" y="47"/>
                    </a:cubicBezTo>
                    <a:cubicBezTo>
                      <a:pt x="80" y="46"/>
                      <a:pt x="80" y="46"/>
                      <a:pt x="80" y="46"/>
                    </a:cubicBezTo>
                    <a:cubicBezTo>
                      <a:pt x="81" y="45"/>
                      <a:pt x="83" y="44"/>
                      <a:pt x="83" y="44"/>
                    </a:cubicBezTo>
                    <a:cubicBezTo>
                      <a:pt x="83" y="42"/>
                      <a:pt x="83" y="42"/>
                      <a:pt x="81" y="41"/>
                    </a:cubicBezTo>
                    <a:cubicBezTo>
                      <a:pt x="81" y="41"/>
                      <a:pt x="81" y="41"/>
                      <a:pt x="81" y="41"/>
                    </a:cubicBezTo>
                    <a:cubicBezTo>
                      <a:pt x="80" y="41"/>
                      <a:pt x="80" y="41"/>
                      <a:pt x="80" y="41"/>
                    </a:cubicBezTo>
                    <a:cubicBezTo>
                      <a:pt x="78" y="40"/>
                      <a:pt x="77" y="40"/>
                      <a:pt x="76" y="39"/>
                    </a:cubicBezTo>
                    <a:cubicBezTo>
                      <a:pt x="71" y="38"/>
                      <a:pt x="71" y="38"/>
                      <a:pt x="71" y="38"/>
                    </a:cubicBezTo>
                    <a:cubicBezTo>
                      <a:pt x="74" y="34"/>
                      <a:pt x="74" y="34"/>
                      <a:pt x="74" y="34"/>
                    </a:cubicBezTo>
                    <a:cubicBezTo>
                      <a:pt x="75" y="33"/>
                      <a:pt x="75" y="33"/>
                      <a:pt x="75" y="33"/>
                    </a:cubicBezTo>
                    <a:cubicBezTo>
                      <a:pt x="71" y="29"/>
                      <a:pt x="71" y="29"/>
                      <a:pt x="71" y="29"/>
                    </a:cubicBezTo>
                    <a:cubicBezTo>
                      <a:pt x="76" y="27"/>
                      <a:pt x="76" y="27"/>
                      <a:pt x="76" y="27"/>
                    </a:cubicBezTo>
                    <a:cubicBezTo>
                      <a:pt x="78" y="27"/>
                      <a:pt x="79" y="27"/>
                      <a:pt x="80" y="27"/>
                    </a:cubicBezTo>
                    <a:cubicBezTo>
                      <a:pt x="81" y="27"/>
                      <a:pt x="83" y="27"/>
                      <a:pt x="83" y="27"/>
                    </a:cubicBezTo>
                    <a:cubicBezTo>
                      <a:pt x="84" y="25"/>
                      <a:pt x="84" y="25"/>
                      <a:pt x="84" y="25"/>
                    </a:cubicBezTo>
                    <a:cubicBezTo>
                      <a:pt x="84" y="25"/>
                      <a:pt x="84" y="25"/>
                      <a:pt x="84" y="25"/>
                    </a:cubicBezTo>
                    <a:cubicBezTo>
                      <a:pt x="84" y="22"/>
                      <a:pt x="85" y="20"/>
                      <a:pt x="86" y="18"/>
                    </a:cubicBezTo>
                    <a:cubicBezTo>
                      <a:pt x="86" y="17"/>
                      <a:pt x="87" y="16"/>
                      <a:pt x="87" y="15"/>
                    </a:cubicBezTo>
                    <a:cubicBezTo>
                      <a:pt x="87" y="14"/>
                      <a:pt x="87" y="13"/>
                      <a:pt x="87" y="12"/>
                    </a:cubicBezTo>
                    <a:cubicBezTo>
                      <a:pt x="88" y="10"/>
                      <a:pt x="88" y="8"/>
                      <a:pt x="87" y="7"/>
                    </a:cubicBezTo>
                    <a:cubicBezTo>
                      <a:pt x="87" y="6"/>
                      <a:pt x="87" y="6"/>
                      <a:pt x="87" y="6"/>
                    </a:cubicBezTo>
                    <a:cubicBezTo>
                      <a:pt x="87" y="6"/>
                      <a:pt x="87" y="6"/>
                      <a:pt x="87" y="6"/>
                    </a:cubicBezTo>
                    <a:cubicBezTo>
                      <a:pt x="86" y="5"/>
                      <a:pt x="85" y="4"/>
                      <a:pt x="84" y="3"/>
                    </a:cubicBezTo>
                    <a:cubicBezTo>
                      <a:pt x="81" y="0"/>
                      <a:pt x="77" y="0"/>
                      <a:pt x="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274"/>
              <p:cNvSpPr/>
              <p:nvPr/>
            </p:nvSpPr>
            <p:spPr bwMode="auto">
              <a:xfrm>
                <a:off x="4661672" y="3803040"/>
                <a:ext cx="73702" cy="22111"/>
              </a:xfrm>
              <a:custGeom>
                <a:gdLst>
                  <a:gd name="T0" fmla="*/ 11 w 24"/>
                  <a:gd name="T1" fmla="*/ 0 h 7"/>
                  <a:gd name="T2" fmla="*/ 4 w 24"/>
                  <a:gd name="T3" fmla="*/ 1 h 7"/>
                  <a:gd name="T4" fmla="*/ 8 w 24"/>
                  <a:gd name="T5" fmla="*/ 6 h 7"/>
                  <a:gd name="T6" fmla="*/ 11 w 24"/>
                  <a:gd name="T7" fmla="*/ 6 h 7"/>
                  <a:gd name="T8" fmla="*/ 17 w 24"/>
                  <a:gd name="T9" fmla="*/ 5 h 7"/>
                  <a:gd name="T10" fmla="*/ 17 w 24"/>
                  <a:gd name="T11" fmla="*/ 5 h 7"/>
                  <a:gd name="T12" fmla="*/ 23 w 24"/>
                  <a:gd name="T13" fmla="*/ 7 h 7"/>
                  <a:gd name="T14" fmla="*/ 22 w 24"/>
                  <a:gd name="T15" fmla="*/ 5 h 7"/>
                  <a:gd name="T16" fmla="*/ 24 w 24"/>
                  <a:gd name="T17" fmla="*/ 5 h 7"/>
                  <a:gd name="T18" fmla="*/ 21 w 24"/>
                  <a:gd name="T19" fmla="*/ 4 h 7"/>
                  <a:gd name="T20" fmla="*/ 13 w 24"/>
                  <a:gd name="T21" fmla="*/ 0 h 7"/>
                  <a:gd name="T22" fmla="*/ 11 w 24"/>
                  <a:gd name="T2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7">
                    <a:moveTo>
                      <a:pt x="11" y="0"/>
                    </a:moveTo>
                    <a:cubicBezTo>
                      <a:pt x="8" y="0"/>
                      <a:pt x="5" y="0"/>
                      <a:pt x="4" y="1"/>
                    </a:cubicBezTo>
                    <a:cubicBezTo>
                      <a:pt x="0" y="3"/>
                      <a:pt x="6" y="5"/>
                      <a:pt x="8" y="6"/>
                    </a:cubicBezTo>
                    <a:cubicBezTo>
                      <a:pt x="9" y="6"/>
                      <a:pt x="10" y="6"/>
                      <a:pt x="11" y="6"/>
                    </a:cubicBezTo>
                    <a:cubicBezTo>
                      <a:pt x="13" y="6"/>
                      <a:pt x="15" y="5"/>
                      <a:pt x="17" y="5"/>
                    </a:cubicBezTo>
                    <a:cubicBezTo>
                      <a:pt x="17" y="5"/>
                      <a:pt x="17" y="5"/>
                      <a:pt x="17" y="5"/>
                    </a:cubicBezTo>
                    <a:cubicBezTo>
                      <a:pt x="19" y="5"/>
                      <a:pt x="21" y="7"/>
                      <a:pt x="23" y="7"/>
                    </a:cubicBezTo>
                    <a:cubicBezTo>
                      <a:pt x="22" y="5"/>
                      <a:pt x="22" y="5"/>
                      <a:pt x="22" y="5"/>
                    </a:cubicBezTo>
                    <a:cubicBezTo>
                      <a:pt x="24" y="5"/>
                      <a:pt x="24" y="5"/>
                      <a:pt x="24" y="5"/>
                    </a:cubicBezTo>
                    <a:cubicBezTo>
                      <a:pt x="23" y="5"/>
                      <a:pt x="21" y="4"/>
                      <a:pt x="21" y="4"/>
                    </a:cubicBezTo>
                    <a:cubicBezTo>
                      <a:pt x="18" y="2"/>
                      <a:pt x="15" y="2"/>
                      <a:pt x="13"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275"/>
              <p:cNvSpPr/>
              <p:nvPr/>
            </p:nvSpPr>
            <p:spPr bwMode="auto">
              <a:xfrm>
                <a:off x="5476082" y="3884113"/>
                <a:ext cx="563823" cy="261643"/>
              </a:xfrm>
              <a:custGeom>
                <a:gdLst>
                  <a:gd name="T0" fmla="*/ 55 w 178"/>
                  <a:gd name="T1" fmla="*/ 5 h 83"/>
                  <a:gd name="T2" fmla="*/ 50 w 178"/>
                  <a:gd name="T3" fmla="*/ 7 h 83"/>
                  <a:gd name="T4" fmla="*/ 45 w 178"/>
                  <a:gd name="T5" fmla="*/ 9 h 83"/>
                  <a:gd name="T6" fmla="*/ 29 w 178"/>
                  <a:gd name="T7" fmla="*/ 15 h 83"/>
                  <a:gd name="T8" fmla="*/ 10 w 178"/>
                  <a:gd name="T9" fmla="*/ 23 h 83"/>
                  <a:gd name="T10" fmla="*/ 7 w 178"/>
                  <a:gd name="T11" fmla="*/ 23 h 83"/>
                  <a:gd name="T12" fmla="*/ 1 w 178"/>
                  <a:gd name="T13" fmla="*/ 28 h 83"/>
                  <a:gd name="T14" fmla="*/ 0 w 178"/>
                  <a:gd name="T15" fmla="*/ 31 h 83"/>
                  <a:gd name="T16" fmla="*/ 6 w 178"/>
                  <a:gd name="T17" fmla="*/ 37 h 83"/>
                  <a:gd name="T18" fmla="*/ 8 w 178"/>
                  <a:gd name="T19" fmla="*/ 50 h 83"/>
                  <a:gd name="T20" fmla="*/ 13 w 178"/>
                  <a:gd name="T21" fmla="*/ 55 h 83"/>
                  <a:gd name="T22" fmla="*/ 26 w 178"/>
                  <a:gd name="T23" fmla="*/ 65 h 83"/>
                  <a:gd name="T24" fmla="*/ 31 w 178"/>
                  <a:gd name="T25" fmla="*/ 69 h 83"/>
                  <a:gd name="T26" fmla="*/ 42 w 178"/>
                  <a:gd name="T27" fmla="*/ 77 h 83"/>
                  <a:gd name="T28" fmla="*/ 45 w 178"/>
                  <a:gd name="T29" fmla="*/ 79 h 83"/>
                  <a:gd name="T30" fmla="*/ 49 w 178"/>
                  <a:gd name="T31" fmla="*/ 81 h 83"/>
                  <a:gd name="T32" fmla="*/ 64 w 178"/>
                  <a:gd name="T33" fmla="*/ 83 h 83"/>
                  <a:gd name="T34" fmla="*/ 69 w 178"/>
                  <a:gd name="T35" fmla="*/ 74 h 83"/>
                  <a:gd name="T36" fmla="*/ 75 w 178"/>
                  <a:gd name="T37" fmla="*/ 68 h 83"/>
                  <a:gd name="T38" fmla="*/ 82 w 178"/>
                  <a:gd name="T39" fmla="*/ 71 h 83"/>
                  <a:gd name="T40" fmla="*/ 85 w 178"/>
                  <a:gd name="T41" fmla="*/ 71 h 83"/>
                  <a:gd name="T42" fmla="*/ 94 w 178"/>
                  <a:gd name="T43" fmla="*/ 73 h 83"/>
                  <a:gd name="T44" fmla="*/ 109 w 178"/>
                  <a:gd name="T45" fmla="*/ 77 h 83"/>
                  <a:gd name="T46" fmla="*/ 117 w 178"/>
                  <a:gd name="T47" fmla="*/ 75 h 83"/>
                  <a:gd name="T48" fmla="*/ 121 w 178"/>
                  <a:gd name="T49" fmla="*/ 76 h 83"/>
                  <a:gd name="T50" fmla="*/ 126 w 178"/>
                  <a:gd name="T51" fmla="*/ 79 h 83"/>
                  <a:gd name="T52" fmla="*/ 128 w 178"/>
                  <a:gd name="T53" fmla="*/ 80 h 83"/>
                  <a:gd name="T54" fmla="*/ 130 w 178"/>
                  <a:gd name="T55" fmla="*/ 78 h 83"/>
                  <a:gd name="T56" fmla="*/ 132 w 178"/>
                  <a:gd name="T57" fmla="*/ 75 h 83"/>
                  <a:gd name="T58" fmla="*/ 137 w 178"/>
                  <a:gd name="T59" fmla="*/ 73 h 83"/>
                  <a:gd name="T60" fmla="*/ 143 w 178"/>
                  <a:gd name="T61" fmla="*/ 74 h 83"/>
                  <a:gd name="T62" fmla="*/ 158 w 178"/>
                  <a:gd name="T63" fmla="*/ 67 h 83"/>
                  <a:gd name="T64" fmla="*/ 162 w 178"/>
                  <a:gd name="T65" fmla="*/ 60 h 83"/>
                  <a:gd name="T66" fmla="*/ 178 w 178"/>
                  <a:gd name="T67" fmla="*/ 51 h 83"/>
                  <a:gd name="T68" fmla="*/ 166 w 178"/>
                  <a:gd name="T69" fmla="*/ 40 h 83"/>
                  <a:gd name="T70" fmla="*/ 161 w 178"/>
                  <a:gd name="T71" fmla="*/ 37 h 83"/>
                  <a:gd name="T72" fmla="*/ 159 w 178"/>
                  <a:gd name="T73" fmla="*/ 38 h 83"/>
                  <a:gd name="T74" fmla="*/ 155 w 178"/>
                  <a:gd name="T75" fmla="*/ 39 h 83"/>
                  <a:gd name="T76" fmla="*/ 144 w 178"/>
                  <a:gd name="T77" fmla="*/ 28 h 83"/>
                  <a:gd name="T78" fmla="*/ 134 w 178"/>
                  <a:gd name="T79" fmla="*/ 24 h 83"/>
                  <a:gd name="T80" fmla="*/ 130 w 178"/>
                  <a:gd name="T81" fmla="*/ 30 h 83"/>
                  <a:gd name="T82" fmla="*/ 121 w 178"/>
                  <a:gd name="T83" fmla="*/ 33 h 83"/>
                  <a:gd name="T84" fmla="*/ 116 w 178"/>
                  <a:gd name="T85" fmla="*/ 32 h 83"/>
                  <a:gd name="T86" fmla="*/ 111 w 178"/>
                  <a:gd name="T87" fmla="*/ 26 h 83"/>
                  <a:gd name="T88" fmla="*/ 105 w 178"/>
                  <a:gd name="T89" fmla="*/ 18 h 83"/>
                  <a:gd name="T90" fmla="*/ 109 w 178"/>
                  <a:gd name="T91" fmla="*/ 14 h 83"/>
                  <a:gd name="T92" fmla="*/ 108 w 178"/>
                  <a:gd name="T93" fmla="*/ 13 h 83"/>
                  <a:gd name="T94" fmla="*/ 87 w 178"/>
                  <a:gd name="T95" fmla="*/ 10 h 83"/>
                  <a:gd name="T96" fmla="*/ 82 w 178"/>
                  <a:gd name="T97" fmla="*/ 7 h 83"/>
                  <a:gd name="T98" fmla="*/ 77 w 178"/>
                  <a:gd name="T99" fmla="*/ 1 h 83"/>
                  <a:gd name="T100" fmla="*/ 73 w 178"/>
                  <a:gd name="T101" fmla="*/ 4 h 83"/>
                  <a:gd name="T102" fmla="*/ 70 w 178"/>
                  <a:gd name="T103" fmla="*/ 6 h 83"/>
                  <a:gd name="T104" fmla="*/ 65 w 178"/>
                  <a:gd name="T105" fmla="*/ 4 h 83"/>
                  <a:gd name="T106" fmla="*/ 59 w 178"/>
                  <a:gd name="T107" fmla="*/ 1 h 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8" h="83">
                    <a:moveTo>
                      <a:pt x="58" y="0"/>
                    </a:moveTo>
                    <a:cubicBezTo>
                      <a:pt x="58" y="2"/>
                      <a:pt x="57" y="3"/>
                      <a:pt x="56" y="4"/>
                    </a:cubicBezTo>
                    <a:cubicBezTo>
                      <a:pt x="55" y="5"/>
                      <a:pt x="55" y="5"/>
                      <a:pt x="55" y="5"/>
                    </a:cubicBezTo>
                    <a:cubicBezTo>
                      <a:pt x="55" y="5"/>
                      <a:pt x="55" y="5"/>
                      <a:pt x="55" y="5"/>
                    </a:cubicBezTo>
                    <a:cubicBezTo>
                      <a:pt x="54" y="5"/>
                      <a:pt x="54" y="6"/>
                      <a:pt x="54" y="6"/>
                    </a:cubicBezTo>
                    <a:cubicBezTo>
                      <a:pt x="50" y="7"/>
                      <a:pt x="50" y="7"/>
                      <a:pt x="50" y="7"/>
                    </a:cubicBezTo>
                    <a:cubicBezTo>
                      <a:pt x="49" y="7"/>
                      <a:pt x="48" y="8"/>
                      <a:pt x="46" y="8"/>
                    </a:cubicBezTo>
                    <a:cubicBezTo>
                      <a:pt x="45" y="9"/>
                      <a:pt x="45" y="9"/>
                      <a:pt x="45" y="9"/>
                    </a:cubicBezTo>
                    <a:cubicBezTo>
                      <a:pt x="45" y="9"/>
                      <a:pt x="45" y="9"/>
                      <a:pt x="45" y="9"/>
                    </a:cubicBezTo>
                    <a:cubicBezTo>
                      <a:pt x="43" y="9"/>
                      <a:pt x="41" y="10"/>
                      <a:pt x="38" y="11"/>
                    </a:cubicBezTo>
                    <a:cubicBezTo>
                      <a:pt x="37" y="12"/>
                      <a:pt x="36" y="12"/>
                      <a:pt x="35" y="12"/>
                    </a:cubicBezTo>
                    <a:cubicBezTo>
                      <a:pt x="33" y="13"/>
                      <a:pt x="31" y="14"/>
                      <a:pt x="29" y="15"/>
                    </a:cubicBezTo>
                    <a:cubicBezTo>
                      <a:pt x="26" y="18"/>
                      <a:pt x="22" y="20"/>
                      <a:pt x="17" y="22"/>
                    </a:cubicBezTo>
                    <a:cubicBezTo>
                      <a:pt x="16" y="23"/>
                      <a:pt x="14" y="23"/>
                      <a:pt x="13" y="23"/>
                    </a:cubicBezTo>
                    <a:cubicBezTo>
                      <a:pt x="12" y="23"/>
                      <a:pt x="11" y="23"/>
                      <a:pt x="10" y="23"/>
                    </a:cubicBezTo>
                    <a:cubicBezTo>
                      <a:pt x="10" y="23"/>
                      <a:pt x="9" y="23"/>
                      <a:pt x="8" y="23"/>
                    </a:cubicBezTo>
                    <a:cubicBezTo>
                      <a:pt x="8" y="23"/>
                      <a:pt x="7" y="23"/>
                      <a:pt x="7" y="23"/>
                    </a:cubicBezTo>
                    <a:cubicBezTo>
                      <a:pt x="7" y="23"/>
                      <a:pt x="7" y="23"/>
                      <a:pt x="7" y="23"/>
                    </a:cubicBezTo>
                    <a:cubicBezTo>
                      <a:pt x="6" y="23"/>
                      <a:pt x="6" y="23"/>
                      <a:pt x="6" y="23"/>
                    </a:cubicBezTo>
                    <a:cubicBezTo>
                      <a:pt x="5" y="24"/>
                      <a:pt x="3" y="25"/>
                      <a:pt x="2" y="26"/>
                    </a:cubicBezTo>
                    <a:cubicBezTo>
                      <a:pt x="2" y="27"/>
                      <a:pt x="1" y="28"/>
                      <a:pt x="1" y="28"/>
                    </a:cubicBezTo>
                    <a:cubicBezTo>
                      <a:pt x="1" y="29"/>
                      <a:pt x="0" y="30"/>
                      <a:pt x="0" y="30"/>
                    </a:cubicBezTo>
                    <a:cubicBezTo>
                      <a:pt x="0" y="31"/>
                      <a:pt x="0" y="31"/>
                      <a:pt x="0" y="31"/>
                    </a:cubicBezTo>
                    <a:cubicBezTo>
                      <a:pt x="0" y="31"/>
                      <a:pt x="0" y="31"/>
                      <a:pt x="0" y="31"/>
                    </a:cubicBezTo>
                    <a:cubicBezTo>
                      <a:pt x="1" y="31"/>
                      <a:pt x="2" y="32"/>
                      <a:pt x="3" y="32"/>
                    </a:cubicBezTo>
                    <a:cubicBezTo>
                      <a:pt x="5" y="34"/>
                      <a:pt x="6" y="35"/>
                      <a:pt x="6" y="37"/>
                    </a:cubicBezTo>
                    <a:cubicBezTo>
                      <a:pt x="6" y="37"/>
                      <a:pt x="6" y="37"/>
                      <a:pt x="6" y="37"/>
                    </a:cubicBezTo>
                    <a:cubicBezTo>
                      <a:pt x="6" y="40"/>
                      <a:pt x="5" y="42"/>
                      <a:pt x="4" y="43"/>
                    </a:cubicBezTo>
                    <a:cubicBezTo>
                      <a:pt x="4" y="44"/>
                      <a:pt x="4" y="44"/>
                      <a:pt x="4" y="44"/>
                    </a:cubicBezTo>
                    <a:cubicBezTo>
                      <a:pt x="4" y="44"/>
                      <a:pt x="4" y="46"/>
                      <a:pt x="8" y="50"/>
                    </a:cubicBezTo>
                    <a:cubicBezTo>
                      <a:pt x="9" y="51"/>
                      <a:pt x="10" y="52"/>
                      <a:pt x="10" y="53"/>
                    </a:cubicBezTo>
                    <a:cubicBezTo>
                      <a:pt x="11" y="53"/>
                      <a:pt x="12" y="54"/>
                      <a:pt x="12" y="54"/>
                    </a:cubicBezTo>
                    <a:cubicBezTo>
                      <a:pt x="13" y="55"/>
                      <a:pt x="13" y="55"/>
                      <a:pt x="13" y="55"/>
                    </a:cubicBezTo>
                    <a:cubicBezTo>
                      <a:pt x="15" y="56"/>
                      <a:pt x="16" y="57"/>
                      <a:pt x="17" y="58"/>
                    </a:cubicBezTo>
                    <a:cubicBezTo>
                      <a:pt x="17" y="58"/>
                      <a:pt x="17" y="58"/>
                      <a:pt x="17" y="58"/>
                    </a:cubicBezTo>
                    <a:cubicBezTo>
                      <a:pt x="20" y="60"/>
                      <a:pt x="23" y="62"/>
                      <a:pt x="26" y="65"/>
                    </a:cubicBezTo>
                    <a:cubicBezTo>
                      <a:pt x="27" y="66"/>
                      <a:pt x="27" y="66"/>
                      <a:pt x="27" y="66"/>
                    </a:cubicBezTo>
                    <a:cubicBezTo>
                      <a:pt x="28" y="67"/>
                      <a:pt x="29" y="69"/>
                      <a:pt x="31" y="69"/>
                    </a:cubicBezTo>
                    <a:cubicBezTo>
                      <a:pt x="31" y="69"/>
                      <a:pt x="31" y="69"/>
                      <a:pt x="31" y="69"/>
                    </a:cubicBezTo>
                    <a:cubicBezTo>
                      <a:pt x="32" y="69"/>
                      <a:pt x="33" y="69"/>
                      <a:pt x="35" y="71"/>
                    </a:cubicBezTo>
                    <a:cubicBezTo>
                      <a:pt x="37" y="73"/>
                      <a:pt x="37" y="73"/>
                      <a:pt x="37" y="73"/>
                    </a:cubicBezTo>
                    <a:cubicBezTo>
                      <a:pt x="39" y="74"/>
                      <a:pt x="40" y="75"/>
                      <a:pt x="42" y="77"/>
                    </a:cubicBezTo>
                    <a:cubicBezTo>
                      <a:pt x="44" y="78"/>
                      <a:pt x="44" y="78"/>
                      <a:pt x="44" y="78"/>
                    </a:cubicBezTo>
                    <a:cubicBezTo>
                      <a:pt x="44" y="78"/>
                      <a:pt x="45" y="79"/>
                      <a:pt x="45" y="79"/>
                    </a:cubicBezTo>
                    <a:cubicBezTo>
                      <a:pt x="45" y="79"/>
                      <a:pt x="45" y="79"/>
                      <a:pt x="45" y="79"/>
                    </a:cubicBezTo>
                    <a:cubicBezTo>
                      <a:pt x="46" y="79"/>
                      <a:pt x="46" y="79"/>
                      <a:pt x="46" y="79"/>
                    </a:cubicBezTo>
                    <a:cubicBezTo>
                      <a:pt x="47" y="80"/>
                      <a:pt x="48" y="80"/>
                      <a:pt x="49" y="81"/>
                    </a:cubicBezTo>
                    <a:cubicBezTo>
                      <a:pt x="49" y="81"/>
                      <a:pt x="49" y="81"/>
                      <a:pt x="49" y="81"/>
                    </a:cubicBezTo>
                    <a:cubicBezTo>
                      <a:pt x="52" y="83"/>
                      <a:pt x="55" y="83"/>
                      <a:pt x="59" y="83"/>
                    </a:cubicBezTo>
                    <a:cubicBezTo>
                      <a:pt x="60" y="83"/>
                      <a:pt x="60" y="83"/>
                      <a:pt x="60" y="83"/>
                    </a:cubicBezTo>
                    <a:cubicBezTo>
                      <a:pt x="61" y="83"/>
                      <a:pt x="63" y="83"/>
                      <a:pt x="64" y="83"/>
                    </a:cubicBezTo>
                    <a:cubicBezTo>
                      <a:pt x="65" y="82"/>
                      <a:pt x="65" y="82"/>
                      <a:pt x="65" y="82"/>
                    </a:cubicBezTo>
                    <a:cubicBezTo>
                      <a:pt x="68" y="79"/>
                      <a:pt x="69" y="79"/>
                      <a:pt x="69" y="75"/>
                    </a:cubicBezTo>
                    <a:cubicBezTo>
                      <a:pt x="69" y="75"/>
                      <a:pt x="69" y="74"/>
                      <a:pt x="69" y="74"/>
                    </a:cubicBezTo>
                    <a:cubicBezTo>
                      <a:pt x="69" y="72"/>
                      <a:pt x="70" y="70"/>
                      <a:pt x="71" y="69"/>
                    </a:cubicBezTo>
                    <a:cubicBezTo>
                      <a:pt x="72" y="69"/>
                      <a:pt x="72" y="69"/>
                      <a:pt x="72" y="69"/>
                    </a:cubicBezTo>
                    <a:cubicBezTo>
                      <a:pt x="73" y="68"/>
                      <a:pt x="74" y="68"/>
                      <a:pt x="75" y="68"/>
                    </a:cubicBezTo>
                    <a:cubicBezTo>
                      <a:pt x="77" y="68"/>
                      <a:pt x="79" y="69"/>
                      <a:pt x="80" y="70"/>
                    </a:cubicBezTo>
                    <a:cubicBezTo>
                      <a:pt x="80" y="70"/>
                      <a:pt x="80" y="70"/>
                      <a:pt x="81" y="71"/>
                    </a:cubicBezTo>
                    <a:cubicBezTo>
                      <a:pt x="82" y="71"/>
                      <a:pt x="82" y="71"/>
                      <a:pt x="82" y="71"/>
                    </a:cubicBezTo>
                    <a:cubicBezTo>
                      <a:pt x="82" y="71"/>
                      <a:pt x="82" y="71"/>
                      <a:pt x="82" y="71"/>
                    </a:cubicBezTo>
                    <a:cubicBezTo>
                      <a:pt x="83" y="71"/>
                      <a:pt x="83" y="71"/>
                      <a:pt x="83" y="71"/>
                    </a:cubicBezTo>
                    <a:cubicBezTo>
                      <a:pt x="84" y="71"/>
                      <a:pt x="84" y="71"/>
                      <a:pt x="85" y="71"/>
                    </a:cubicBezTo>
                    <a:cubicBezTo>
                      <a:pt x="86" y="71"/>
                      <a:pt x="86" y="71"/>
                      <a:pt x="86" y="71"/>
                    </a:cubicBezTo>
                    <a:cubicBezTo>
                      <a:pt x="87" y="71"/>
                      <a:pt x="88" y="71"/>
                      <a:pt x="89" y="71"/>
                    </a:cubicBezTo>
                    <a:cubicBezTo>
                      <a:pt x="90" y="71"/>
                      <a:pt x="92" y="72"/>
                      <a:pt x="94" y="73"/>
                    </a:cubicBezTo>
                    <a:cubicBezTo>
                      <a:pt x="95" y="73"/>
                      <a:pt x="95" y="73"/>
                      <a:pt x="95" y="73"/>
                    </a:cubicBezTo>
                    <a:cubicBezTo>
                      <a:pt x="95" y="73"/>
                      <a:pt x="96" y="74"/>
                      <a:pt x="97" y="74"/>
                    </a:cubicBezTo>
                    <a:cubicBezTo>
                      <a:pt x="109" y="77"/>
                      <a:pt x="109" y="77"/>
                      <a:pt x="109" y="77"/>
                    </a:cubicBezTo>
                    <a:cubicBezTo>
                      <a:pt x="109" y="77"/>
                      <a:pt x="109" y="77"/>
                      <a:pt x="109" y="77"/>
                    </a:cubicBezTo>
                    <a:cubicBezTo>
                      <a:pt x="109" y="77"/>
                      <a:pt x="110" y="77"/>
                      <a:pt x="112" y="77"/>
                    </a:cubicBezTo>
                    <a:cubicBezTo>
                      <a:pt x="113" y="76"/>
                      <a:pt x="115" y="75"/>
                      <a:pt x="117" y="75"/>
                    </a:cubicBezTo>
                    <a:cubicBezTo>
                      <a:pt x="117" y="75"/>
                      <a:pt x="117" y="75"/>
                      <a:pt x="118" y="75"/>
                    </a:cubicBezTo>
                    <a:cubicBezTo>
                      <a:pt x="119" y="75"/>
                      <a:pt x="120" y="75"/>
                      <a:pt x="120" y="76"/>
                    </a:cubicBezTo>
                    <a:cubicBezTo>
                      <a:pt x="121" y="76"/>
                      <a:pt x="121" y="76"/>
                      <a:pt x="121" y="76"/>
                    </a:cubicBezTo>
                    <a:cubicBezTo>
                      <a:pt x="122" y="76"/>
                      <a:pt x="123" y="77"/>
                      <a:pt x="124" y="77"/>
                    </a:cubicBezTo>
                    <a:cubicBezTo>
                      <a:pt x="124" y="77"/>
                      <a:pt x="124" y="77"/>
                      <a:pt x="124" y="77"/>
                    </a:cubicBezTo>
                    <a:cubicBezTo>
                      <a:pt x="125" y="78"/>
                      <a:pt x="126" y="78"/>
                      <a:pt x="126" y="79"/>
                    </a:cubicBezTo>
                    <a:cubicBezTo>
                      <a:pt x="127" y="79"/>
                      <a:pt x="127" y="79"/>
                      <a:pt x="127" y="79"/>
                    </a:cubicBezTo>
                    <a:cubicBezTo>
                      <a:pt x="127" y="79"/>
                      <a:pt x="128" y="79"/>
                      <a:pt x="128" y="80"/>
                    </a:cubicBezTo>
                    <a:cubicBezTo>
                      <a:pt x="128" y="80"/>
                      <a:pt x="128" y="80"/>
                      <a:pt x="128" y="80"/>
                    </a:cubicBezTo>
                    <a:cubicBezTo>
                      <a:pt x="128" y="80"/>
                      <a:pt x="128" y="80"/>
                      <a:pt x="128" y="80"/>
                    </a:cubicBezTo>
                    <a:cubicBezTo>
                      <a:pt x="128" y="79"/>
                      <a:pt x="128" y="79"/>
                      <a:pt x="128" y="79"/>
                    </a:cubicBezTo>
                    <a:cubicBezTo>
                      <a:pt x="129" y="79"/>
                      <a:pt x="129" y="78"/>
                      <a:pt x="130" y="78"/>
                    </a:cubicBezTo>
                    <a:cubicBezTo>
                      <a:pt x="126" y="74"/>
                      <a:pt x="126" y="74"/>
                      <a:pt x="126" y="74"/>
                    </a:cubicBezTo>
                    <a:cubicBezTo>
                      <a:pt x="131" y="76"/>
                      <a:pt x="131" y="76"/>
                      <a:pt x="131" y="76"/>
                    </a:cubicBezTo>
                    <a:cubicBezTo>
                      <a:pt x="132" y="75"/>
                      <a:pt x="132" y="75"/>
                      <a:pt x="132" y="75"/>
                    </a:cubicBezTo>
                    <a:cubicBezTo>
                      <a:pt x="133" y="74"/>
                      <a:pt x="134" y="74"/>
                      <a:pt x="134" y="74"/>
                    </a:cubicBezTo>
                    <a:cubicBezTo>
                      <a:pt x="134" y="73"/>
                      <a:pt x="135" y="73"/>
                      <a:pt x="135" y="73"/>
                    </a:cubicBezTo>
                    <a:cubicBezTo>
                      <a:pt x="137" y="73"/>
                      <a:pt x="137" y="73"/>
                      <a:pt x="137" y="73"/>
                    </a:cubicBezTo>
                    <a:cubicBezTo>
                      <a:pt x="137" y="73"/>
                      <a:pt x="137" y="73"/>
                      <a:pt x="137" y="73"/>
                    </a:cubicBezTo>
                    <a:cubicBezTo>
                      <a:pt x="139" y="73"/>
                      <a:pt x="140" y="73"/>
                      <a:pt x="141" y="74"/>
                    </a:cubicBezTo>
                    <a:cubicBezTo>
                      <a:pt x="142" y="74"/>
                      <a:pt x="143" y="74"/>
                      <a:pt x="143" y="74"/>
                    </a:cubicBezTo>
                    <a:cubicBezTo>
                      <a:pt x="147" y="74"/>
                      <a:pt x="149" y="73"/>
                      <a:pt x="153" y="71"/>
                    </a:cubicBezTo>
                    <a:cubicBezTo>
                      <a:pt x="156" y="70"/>
                      <a:pt x="158" y="68"/>
                      <a:pt x="158" y="68"/>
                    </a:cubicBezTo>
                    <a:cubicBezTo>
                      <a:pt x="158" y="67"/>
                      <a:pt x="158" y="67"/>
                      <a:pt x="158" y="67"/>
                    </a:cubicBezTo>
                    <a:cubicBezTo>
                      <a:pt x="158" y="66"/>
                      <a:pt x="159" y="64"/>
                      <a:pt x="160" y="63"/>
                    </a:cubicBezTo>
                    <a:cubicBezTo>
                      <a:pt x="161" y="62"/>
                      <a:pt x="161" y="61"/>
                      <a:pt x="162" y="61"/>
                    </a:cubicBezTo>
                    <a:cubicBezTo>
                      <a:pt x="162" y="60"/>
                      <a:pt x="162" y="60"/>
                      <a:pt x="162" y="60"/>
                    </a:cubicBezTo>
                    <a:cubicBezTo>
                      <a:pt x="165" y="56"/>
                      <a:pt x="170" y="54"/>
                      <a:pt x="175" y="52"/>
                    </a:cubicBezTo>
                    <a:cubicBezTo>
                      <a:pt x="176" y="52"/>
                      <a:pt x="177" y="51"/>
                      <a:pt x="178" y="51"/>
                    </a:cubicBezTo>
                    <a:cubicBezTo>
                      <a:pt x="178" y="51"/>
                      <a:pt x="178" y="51"/>
                      <a:pt x="178" y="51"/>
                    </a:cubicBezTo>
                    <a:cubicBezTo>
                      <a:pt x="178" y="51"/>
                      <a:pt x="178" y="51"/>
                      <a:pt x="178" y="51"/>
                    </a:cubicBezTo>
                    <a:cubicBezTo>
                      <a:pt x="177" y="50"/>
                      <a:pt x="176" y="48"/>
                      <a:pt x="174" y="46"/>
                    </a:cubicBezTo>
                    <a:cubicBezTo>
                      <a:pt x="172" y="43"/>
                      <a:pt x="169" y="41"/>
                      <a:pt x="166" y="40"/>
                    </a:cubicBezTo>
                    <a:cubicBezTo>
                      <a:pt x="165" y="40"/>
                      <a:pt x="165" y="40"/>
                      <a:pt x="165" y="40"/>
                    </a:cubicBezTo>
                    <a:cubicBezTo>
                      <a:pt x="164" y="39"/>
                      <a:pt x="163" y="39"/>
                      <a:pt x="162" y="38"/>
                    </a:cubicBezTo>
                    <a:cubicBezTo>
                      <a:pt x="161" y="37"/>
                      <a:pt x="161" y="37"/>
                      <a:pt x="161" y="37"/>
                    </a:cubicBezTo>
                    <a:cubicBezTo>
                      <a:pt x="161" y="37"/>
                      <a:pt x="161" y="37"/>
                      <a:pt x="161" y="37"/>
                    </a:cubicBezTo>
                    <a:cubicBezTo>
                      <a:pt x="160" y="38"/>
                      <a:pt x="160" y="38"/>
                      <a:pt x="159" y="38"/>
                    </a:cubicBezTo>
                    <a:cubicBezTo>
                      <a:pt x="159" y="38"/>
                      <a:pt x="159" y="38"/>
                      <a:pt x="159" y="38"/>
                    </a:cubicBezTo>
                    <a:cubicBezTo>
                      <a:pt x="158" y="39"/>
                      <a:pt x="157" y="39"/>
                      <a:pt x="156" y="39"/>
                    </a:cubicBezTo>
                    <a:cubicBezTo>
                      <a:pt x="156" y="39"/>
                      <a:pt x="156" y="39"/>
                      <a:pt x="156" y="39"/>
                    </a:cubicBezTo>
                    <a:cubicBezTo>
                      <a:pt x="155" y="39"/>
                      <a:pt x="155" y="39"/>
                      <a:pt x="155" y="39"/>
                    </a:cubicBezTo>
                    <a:cubicBezTo>
                      <a:pt x="154" y="39"/>
                      <a:pt x="154" y="39"/>
                      <a:pt x="154" y="39"/>
                    </a:cubicBezTo>
                    <a:cubicBezTo>
                      <a:pt x="151" y="38"/>
                      <a:pt x="148" y="35"/>
                      <a:pt x="147" y="33"/>
                    </a:cubicBezTo>
                    <a:cubicBezTo>
                      <a:pt x="144" y="31"/>
                      <a:pt x="144" y="29"/>
                      <a:pt x="144" y="28"/>
                    </a:cubicBezTo>
                    <a:cubicBezTo>
                      <a:pt x="144" y="27"/>
                      <a:pt x="144" y="27"/>
                      <a:pt x="144" y="27"/>
                    </a:cubicBezTo>
                    <a:cubicBezTo>
                      <a:pt x="142" y="26"/>
                      <a:pt x="139" y="26"/>
                      <a:pt x="136" y="25"/>
                    </a:cubicBezTo>
                    <a:cubicBezTo>
                      <a:pt x="135" y="24"/>
                      <a:pt x="135" y="24"/>
                      <a:pt x="134" y="24"/>
                    </a:cubicBezTo>
                    <a:cubicBezTo>
                      <a:pt x="134" y="25"/>
                      <a:pt x="134" y="25"/>
                      <a:pt x="135" y="26"/>
                    </a:cubicBezTo>
                    <a:cubicBezTo>
                      <a:pt x="138" y="38"/>
                      <a:pt x="138" y="38"/>
                      <a:pt x="138" y="38"/>
                    </a:cubicBezTo>
                    <a:cubicBezTo>
                      <a:pt x="130" y="30"/>
                      <a:pt x="130" y="30"/>
                      <a:pt x="130" y="30"/>
                    </a:cubicBezTo>
                    <a:cubicBezTo>
                      <a:pt x="129" y="30"/>
                      <a:pt x="129" y="30"/>
                      <a:pt x="129" y="30"/>
                    </a:cubicBezTo>
                    <a:cubicBezTo>
                      <a:pt x="129" y="30"/>
                      <a:pt x="128" y="30"/>
                      <a:pt x="127" y="31"/>
                    </a:cubicBezTo>
                    <a:cubicBezTo>
                      <a:pt x="125" y="32"/>
                      <a:pt x="123" y="33"/>
                      <a:pt x="121" y="33"/>
                    </a:cubicBezTo>
                    <a:cubicBezTo>
                      <a:pt x="120" y="33"/>
                      <a:pt x="120" y="33"/>
                      <a:pt x="119" y="33"/>
                    </a:cubicBezTo>
                    <a:cubicBezTo>
                      <a:pt x="118" y="33"/>
                      <a:pt x="118" y="33"/>
                      <a:pt x="118" y="33"/>
                    </a:cubicBezTo>
                    <a:cubicBezTo>
                      <a:pt x="118" y="33"/>
                      <a:pt x="117" y="32"/>
                      <a:pt x="116" y="32"/>
                    </a:cubicBezTo>
                    <a:cubicBezTo>
                      <a:pt x="115" y="31"/>
                      <a:pt x="114" y="30"/>
                      <a:pt x="113" y="28"/>
                    </a:cubicBezTo>
                    <a:cubicBezTo>
                      <a:pt x="113" y="28"/>
                      <a:pt x="113" y="28"/>
                      <a:pt x="113" y="28"/>
                    </a:cubicBezTo>
                    <a:cubicBezTo>
                      <a:pt x="112" y="27"/>
                      <a:pt x="111" y="27"/>
                      <a:pt x="111" y="26"/>
                    </a:cubicBezTo>
                    <a:cubicBezTo>
                      <a:pt x="110" y="26"/>
                      <a:pt x="110" y="26"/>
                      <a:pt x="110" y="26"/>
                    </a:cubicBezTo>
                    <a:cubicBezTo>
                      <a:pt x="109" y="25"/>
                      <a:pt x="108" y="24"/>
                      <a:pt x="108" y="24"/>
                    </a:cubicBezTo>
                    <a:cubicBezTo>
                      <a:pt x="107" y="23"/>
                      <a:pt x="104" y="21"/>
                      <a:pt x="105" y="18"/>
                    </a:cubicBezTo>
                    <a:cubicBezTo>
                      <a:pt x="105" y="17"/>
                      <a:pt x="105" y="17"/>
                      <a:pt x="105" y="17"/>
                    </a:cubicBezTo>
                    <a:cubicBezTo>
                      <a:pt x="105" y="16"/>
                      <a:pt x="107" y="15"/>
                      <a:pt x="108" y="14"/>
                    </a:cubicBezTo>
                    <a:cubicBezTo>
                      <a:pt x="109" y="14"/>
                      <a:pt x="109" y="14"/>
                      <a:pt x="109" y="14"/>
                    </a:cubicBezTo>
                    <a:cubicBezTo>
                      <a:pt x="109" y="13"/>
                      <a:pt x="109" y="13"/>
                      <a:pt x="109" y="13"/>
                    </a:cubicBezTo>
                    <a:cubicBezTo>
                      <a:pt x="109" y="13"/>
                      <a:pt x="109" y="13"/>
                      <a:pt x="109" y="13"/>
                    </a:cubicBezTo>
                    <a:cubicBezTo>
                      <a:pt x="109" y="13"/>
                      <a:pt x="108" y="13"/>
                      <a:pt x="108" y="13"/>
                    </a:cubicBezTo>
                    <a:cubicBezTo>
                      <a:pt x="107" y="14"/>
                      <a:pt x="106" y="14"/>
                      <a:pt x="106" y="14"/>
                    </a:cubicBezTo>
                    <a:cubicBezTo>
                      <a:pt x="105" y="14"/>
                      <a:pt x="104" y="14"/>
                      <a:pt x="103" y="13"/>
                    </a:cubicBezTo>
                    <a:cubicBezTo>
                      <a:pt x="87" y="10"/>
                      <a:pt x="87" y="10"/>
                      <a:pt x="87" y="10"/>
                    </a:cubicBezTo>
                    <a:cubicBezTo>
                      <a:pt x="86" y="10"/>
                      <a:pt x="85" y="9"/>
                      <a:pt x="85" y="9"/>
                    </a:cubicBezTo>
                    <a:cubicBezTo>
                      <a:pt x="84" y="9"/>
                      <a:pt x="84" y="9"/>
                      <a:pt x="83" y="8"/>
                    </a:cubicBezTo>
                    <a:cubicBezTo>
                      <a:pt x="83" y="8"/>
                      <a:pt x="82" y="8"/>
                      <a:pt x="82" y="7"/>
                    </a:cubicBezTo>
                    <a:cubicBezTo>
                      <a:pt x="80" y="6"/>
                      <a:pt x="79" y="5"/>
                      <a:pt x="78" y="3"/>
                    </a:cubicBezTo>
                    <a:cubicBezTo>
                      <a:pt x="78" y="2"/>
                      <a:pt x="78" y="2"/>
                      <a:pt x="78" y="2"/>
                    </a:cubicBezTo>
                    <a:cubicBezTo>
                      <a:pt x="77" y="2"/>
                      <a:pt x="77" y="1"/>
                      <a:pt x="77" y="1"/>
                    </a:cubicBezTo>
                    <a:cubicBezTo>
                      <a:pt x="77" y="1"/>
                      <a:pt x="77" y="1"/>
                      <a:pt x="77" y="1"/>
                    </a:cubicBezTo>
                    <a:cubicBezTo>
                      <a:pt x="77" y="1"/>
                      <a:pt x="76" y="2"/>
                      <a:pt x="76" y="2"/>
                    </a:cubicBezTo>
                    <a:cubicBezTo>
                      <a:pt x="75" y="3"/>
                      <a:pt x="74" y="4"/>
                      <a:pt x="73" y="4"/>
                    </a:cubicBezTo>
                    <a:cubicBezTo>
                      <a:pt x="73" y="5"/>
                      <a:pt x="73" y="5"/>
                      <a:pt x="73" y="5"/>
                    </a:cubicBezTo>
                    <a:cubicBezTo>
                      <a:pt x="71" y="5"/>
                      <a:pt x="71" y="5"/>
                      <a:pt x="71" y="5"/>
                    </a:cubicBezTo>
                    <a:cubicBezTo>
                      <a:pt x="70" y="6"/>
                      <a:pt x="70" y="6"/>
                      <a:pt x="70" y="6"/>
                    </a:cubicBezTo>
                    <a:cubicBezTo>
                      <a:pt x="67" y="7"/>
                      <a:pt x="67" y="7"/>
                      <a:pt x="67" y="7"/>
                    </a:cubicBezTo>
                    <a:cubicBezTo>
                      <a:pt x="66" y="4"/>
                      <a:pt x="66" y="4"/>
                      <a:pt x="66" y="4"/>
                    </a:cubicBezTo>
                    <a:cubicBezTo>
                      <a:pt x="65" y="4"/>
                      <a:pt x="65" y="4"/>
                      <a:pt x="65" y="4"/>
                    </a:cubicBezTo>
                    <a:cubicBezTo>
                      <a:pt x="64" y="4"/>
                      <a:pt x="64" y="4"/>
                      <a:pt x="64" y="4"/>
                    </a:cubicBezTo>
                    <a:cubicBezTo>
                      <a:pt x="63" y="3"/>
                      <a:pt x="63" y="3"/>
                      <a:pt x="62" y="3"/>
                    </a:cubicBezTo>
                    <a:cubicBezTo>
                      <a:pt x="61" y="2"/>
                      <a:pt x="60" y="1"/>
                      <a:pt x="59" y="1"/>
                    </a:cubicBezTo>
                    <a:cubicBezTo>
                      <a:pt x="59" y="1"/>
                      <a:pt x="59" y="0"/>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276"/>
              <p:cNvSpPr/>
              <p:nvPr/>
            </p:nvSpPr>
            <p:spPr bwMode="auto">
              <a:xfrm>
                <a:off x="5984628" y="3998351"/>
                <a:ext cx="3685" cy="0"/>
              </a:xfrm>
              <a:custGeom>
                <a:gdLst>
                  <a:gd name="T0" fmla="*/ 0 w 1"/>
                  <a:gd name="T1" fmla="*/ 0 w 1"/>
                  <a:gd name="T2" fmla="*/ 1 w 1"/>
                  <a:gd name="T3" fmla="*/ 0 w 1"/>
                </a:gdLst>
                <a:cxnLst>
                  <a:cxn ang="0">
                    <a:pos x="T0" y="0"/>
                  </a:cxn>
                  <a:cxn ang="0">
                    <a:pos x="T1" y="0"/>
                  </a:cxn>
                  <a:cxn ang="0">
                    <a:pos x="T2" y="0"/>
                  </a:cxn>
                  <a:cxn ang="0">
                    <a:pos x="T3" y="0"/>
                  </a:cxn>
                </a:cxnLst>
                <a:rect l="0" t="0" r="r" b="b"/>
                <a:pathLst>
                  <a:path w="1">
                    <a:moveTo>
                      <a:pt x="0" y="0"/>
                    </a:moveTo>
                    <a:lnTo>
                      <a:pt x="0" y="0"/>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277"/>
              <p:cNvSpPr/>
              <p:nvPr/>
            </p:nvSpPr>
            <p:spPr bwMode="auto">
              <a:xfrm>
                <a:off x="5984628" y="3998351"/>
                <a:ext cx="3685" cy="0"/>
              </a:xfrm>
              <a:custGeom>
                <a:gdLst>
                  <a:gd name="T0" fmla="*/ 0 w 1"/>
                  <a:gd name="T1" fmla="*/ 0 w 1"/>
                  <a:gd name="T2" fmla="*/ 1 w 1"/>
                  <a:gd name="T3" fmla="*/ 0 w 1"/>
                </a:gdLst>
                <a:cxnLst>
                  <a:cxn ang="0">
                    <a:pos x="T0" y="0"/>
                  </a:cxn>
                  <a:cxn ang="0">
                    <a:pos x="T1" y="0"/>
                  </a:cxn>
                  <a:cxn ang="0">
                    <a:pos x="T2" y="0"/>
                  </a:cxn>
                  <a:cxn ang="0">
                    <a:pos x="T3" y="0"/>
                  </a:cxn>
                </a:cxnLst>
                <a:rect l="0" t="0" r="r" b="b"/>
                <a:pathLst>
                  <a:path w="1">
                    <a:moveTo>
                      <a:pt x="0" y="0"/>
                    </a:moveTo>
                    <a:lnTo>
                      <a:pt x="0" y="0"/>
                    </a:lnTo>
                    <a:lnTo>
                      <a:pt x="1"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278"/>
              <p:cNvSpPr/>
              <p:nvPr/>
            </p:nvSpPr>
            <p:spPr bwMode="auto">
              <a:xfrm>
                <a:off x="5229179" y="4289475"/>
                <a:ext cx="36851" cy="44221"/>
              </a:xfrm>
              <a:custGeom>
                <a:gdLst>
                  <a:gd name="T0" fmla="*/ 4 w 12"/>
                  <a:gd name="T1" fmla="*/ 0 h 14"/>
                  <a:gd name="T2" fmla="*/ 3 w 12"/>
                  <a:gd name="T3" fmla="*/ 0 h 14"/>
                  <a:gd name="T4" fmla="*/ 3 w 12"/>
                  <a:gd name="T5" fmla="*/ 1 h 14"/>
                  <a:gd name="T6" fmla="*/ 3 w 12"/>
                  <a:gd name="T7" fmla="*/ 2 h 14"/>
                  <a:gd name="T8" fmla="*/ 3 w 12"/>
                  <a:gd name="T9" fmla="*/ 3 h 14"/>
                  <a:gd name="T10" fmla="*/ 2 w 12"/>
                  <a:gd name="T11" fmla="*/ 4 h 14"/>
                  <a:gd name="T12" fmla="*/ 1 w 12"/>
                  <a:gd name="T13" fmla="*/ 5 h 14"/>
                  <a:gd name="T14" fmla="*/ 1 w 12"/>
                  <a:gd name="T15" fmla="*/ 5 h 14"/>
                  <a:gd name="T16" fmla="*/ 0 w 12"/>
                  <a:gd name="T17" fmla="*/ 7 h 14"/>
                  <a:gd name="T18" fmla="*/ 1 w 12"/>
                  <a:gd name="T19" fmla="*/ 7 h 14"/>
                  <a:gd name="T20" fmla="*/ 2 w 12"/>
                  <a:gd name="T21" fmla="*/ 9 h 14"/>
                  <a:gd name="T22" fmla="*/ 4 w 12"/>
                  <a:gd name="T23" fmla="*/ 6 h 14"/>
                  <a:gd name="T24" fmla="*/ 2 w 12"/>
                  <a:gd name="T25" fmla="*/ 12 h 14"/>
                  <a:gd name="T26" fmla="*/ 2 w 12"/>
                  <a:gd name="T27" fmla="*/ 12 h 14"/>
                  <a:gd name="T28" fmla="*/ 7 w 12"/>
                  <a:gd name="T29" fmla="*/ 14 h 14"/>
                  <a:gd name="T30" fmla="*/ 11 w 12"/>
                  <a:gd name="T31" fmla="*/ 5 h 14"/>
                  <a:gd name="T32" fmla="*/ 12 w 12"/>
                  <a:gd name="T33" fmla="*/ 4 h 14"/>
                  <a:gd name="T34" fmla="*/ 10 w 12"/>
                  <a:gd name="T35" fmla="*/ 2 h 14"/>
                  <a:gd name="T36" fmla="*/ 9 w 12"/>
                  <a:gd name="T37" fmla="*/ 2 h 14"/>
                  <a:gd name="T38" fmla="*/ 7 w 12"/>
                  <a:gd name="T39" fmla="*/ 0 h 14"/>
                  <a:gd name="T40" fmla="*/ 4 w 12"/>
                  <a:gd name="T41"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14">
                    <a:moveTo>
                      <a:pt x="4" y="0"/>
                    </a:moveTo>
                    <a:cubicBezTo>
                      <a:pt x="4" y="0"/>
                      <a:pt x="3" y="0"/>
                      <a:pt x="3" y="0"/>
                    </a:cubicBezTo>
                    <a:cubicBezTo>
                      <a:pt x="3" y="0"/>
                      <a:pt x="3" y="1"/>
                      <a:pt x="3" y="1"/>
                    </a:cubicBezTo>
                    <a:cubicBezTo>
                      <a:pt x="3" y="2"/>
                      <a:pt x="3" y="2"/>
                      <a:pt x="3" y="2"/>
                    </a:cubicBezTo>
                    <a:cubicBezTo>
                      <a:pt x="3" y="2"/>
                      <a:pt x="3" y="3"/>
                      <a:pt x="3" y="3"/>
                    </a:cubicBezTo>
                    <a:cubicBezTo>
                      <a:pt x="2" y="4"/>
                      <a:pt x="2" y="4"/>
                      <a:pt x="2" y="4"/>
                    </a:cubicBezTo>
                    <a:cubicBezTo>
                      <a:pt x="2" y="4"/>
                      <a:pt x="2" y="5"/>
                      <a:pt x="1" y="5"/>
                    </a:cubicBezTo>
                    <a:cubicBezTo>
                      <a:pt x="1" y="5"/>
                      <a:pt x="1" y="5"/>
                      <a:pt x="1" y="5"/>
                    </a:cubicBezTo>
                    <a:cubicBezTo>
                      <a:pt x="1" y="6"/>
                      <a:pt x="1" y="6"/>
                      <a:pt x="0" y="7"/>
                    </a:cubicBezTo>
                    <a:cubicBezTo>
                      <a:pt x="1" y="7"/>
                      <a:pt x="1" y="7"/>
                      <a:pt x="1" y="7"/>
                    </a:cubicBezTo>
                    <a:cubicBezTo>
                      <a:pt x="1" y="7"/>
                      <a:pt x="1" y="8"/>
                      <a:pt x="2" y="9"/>
                    </a:cubicBezTo>
                    <a:cubicBezTo>
                      <a:pt x="4" y="6"/>
                      <a:pt x="4" y="6"/>
                      <a:pt x="4" y="6"/>
                    </a:cubicBezTo>
                    <a:cubicBezTo>
                      <a:pt x="2" y="12"/>
                      <a:pt x="2" y="12"/>
                      <a:pt x="2" y="12"/>
                    </a:cubicBezTo>
                    <a:cubicBezTo>
                      <a:pt x="2" y="12"/>
                      <a:pt x="2" y="12"/>
                      <a:pt x="2" y="12"/>
                    </a:cubicBezTo>
                    <a:cubicBezTo>
                      <a:pt x="7" y="14"/>
                      <a:pt x="7" y="14"/>
                      <a:pt x="7" y="14"/>
                    </a:cubicBezTo>
                    <a:cubicBezTo>
                      <a:pt x="11" y="5"/>
                      <a:pt x="11" y="5"/>
                      <a:pt x="11" y="5"/>
                    </a:cubicBezTo>
                    <a:cubicBezTo>
                      <a:pt x="12" y="4"/>
                      <a:pt x="12" y="4"/>
                      <a:pt x="12" y="4"/>
                    </a:cubicBezTo>
                    <a:cubicBezTo>
                      <a:pt x="11" y="3"/>
                      <a:pt x="10" y="3"/>
                      <a:pt x="10" y="2"/>
                    </a:cubicBezTo>
                    <a:cubicBezTo>
                      <a:pt x="9" y="2"/>
                      <a:pt x="9" y="2"/>
                      <a:pt x="9" y="2"/>
                    </a:cubicBezTo>
                    <a:cubicBezTo>
                      <a:pt x="9" y="1"/>
                      <a:pt x="8" y="1"/>
                      <a:pt x="7" y="0"/>
                    </a:cubicBezTo>
                    <a:cubicBezTo>
                      <a:pt x="7"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279"/>
              <p:cNvSpPr/>
              <p:nvPr/>
            </p:nvSpPr>
            <p:spPr bwMode="auto">
              <a:xfrm>
                <a:off x="5251290" y="4123645"/>
                <a:ext cx="641210" cy="272699"/>
              </a:xfrm>
              <a:custGeom>
                <a:gdLst>
                  <a:gd name="T0" fmla="*/ 131 w 202"/>
                  <a:gd name="T1" fmla="*/ 14 h 86"/>
                  <a:gd name="T2" fmla="*/ 113 w 202"/>
                  <a:gd name="T3" fmla="*/ 9 h 86"/>
                  <a:gd name="T4" fmla="*/ 112 w 202"/>
                  <a:gd name="T5" fmla="*/ 14 h 86"/>
                  <a:gd name="T6" fmla="*/ 104 w 202"/>
                  <a:gd name="T7" fmla="*/ 15 h 86"/>
                  <a:gd name="T8" fmla="*/ 95 w 202"/>
                  <a:gd name="T9" fmla="*/ 24 h 86"/>
                  <a:gd name="T10" fmla="*/ 85 w 202"/>
                  <a:gd name="T11" fmla="*/ 29 h 86"/>
                  <a:gd name="T12" fmla="*/ 91 w 202"/>
                  <a:gd name="T13" fmla="*/ 40 h 86"/>
                  <a:gd name="T14" fmla="*/ 91 w 202"/>
                  <a:gd name="T15" fmla="*/ 53 h 86"/>
                  <a:gd name="T16" fmla="*/ 77 w 202"/>
                  <a:gd name="T17" fmla="*/ 48 h 86"/>
                  <a:gd name="T18" fmla="*/ 71 w 202"/>
                  <a:gd name="T19" fmla="*/ 48 h 86"/>
                  <a:gd name="T20" fmla="*/ 68 w 202"/>
                  <a:gd name="T21" fmla="*/ 47 h 86"/>
                  <a:gd name="T22" fmla="*/ 57 w 202"/>
                  <a:gd name="T23" fmla="*/ 50 h 86"/>
                  <a:gd name="T24" fmla="*/ 46 w 202"/>
                  <a:gd name="T25" fmla="*/ 52 h 86"/>
                  <a:gd name="T26" fmla="*/ 31 w 202"/>
                  <a:gd name="T27" fmla="*/ 57 h 86"/>
                  <a:gd name="T28" fmla="*/ 28 w 202"/>
                  <a:gd name="T29" fmla="*/ 56 h 86"/>
                  <a:gd name="T30" fmla="*/ 19 w 202"/>
                  <a:gd name="T31" fmla="*/ 51 h 86"/>
                  <a:gd name="T32" fmla="*/ 7 w 202"/>
                  <a:gd name="T33" fmla="*/ 69 h 86"/>
                  <a:gd name="T34" fmla="*/ 16 w 202"/>
                  <a:gd name="T35" fmla="*/ 67 h 86"/>
                  <a:gd name="T36" fmla="*/ 18 w 202"/>
                  <a:gd name="T37" fmla="*/ 69 h 86"/>
                  <a:gd name="T38" fmla="*/ 29 w 202"/>
                  <a:gd name="T39" fmla="*/ 72 h 86"/>
                  <a:gd name="T40" fmla="*/ 30 w 202"/>
                  <a:gd name="T41" fmla="*/ 72 h 86"/>
                  <a:gd name="T42" fmla="*/ 59 w 202"/>
                  <a:gd name="T43" fmla="*/ 62 h 86"/>
                  <a:gd name="T44" fmla="*/ 71 w 202"/>
                  <a:gd name="T45" fmla="*/ 63 h 86"/>
                  <a:gd name="T46" fmla="*/ 75 w 202"/>
                  <a:gd name="T47" fmla="*/ 76 h 86"/>
                  <a:gd name="T48" fmla="*/ 79 w 202"/>
                  <a:gd name="T49" fmla="*/ 77 h 86"/>
                  <a:gd name="T50" fmla="*/ 109 w 202"/>
                  <a:gd name="T51" fmla="*/ 81 h 86"/>
                  <a:gd name="T52" fmla="*/ 118 w 202"/>
                  <a:gd name="T53" fmla="*/ 83 h 86"/>
                  <a:gd name="T54" fmla="*/ 123 w 202"/>
                  <a:gd name="T55" fmla="*/ 85 h 86"/>
                  <a:gd name="T56" fmla="*/ 130 w 202"/>
                  <a:gd name="T57" fmla="*/ 85 h 86"/>
                  <a:gd name="T58" fmla="*/ 135 w 202"/>
                  <a:gd name="T59" fmla="*/ 84 h 86"/>
                  <a:gd name="T60" fmla="*/ 145 w 202"/>
                  <a:gd name="T61" fmla="*/ 77 h 86"/>
                  <a:gd name="T62" fmla="*/ 152 w 202"/>
                  <a:gd name="T63" fmla="*/ 77 h 86"/>
                  <a:gd name="T64" fmla="*/ 158 w 202"/>
                  <a:gd name="T65" fmla="*/ 78 h 86"/>
                  <a:gd name="T66" fmla="*/ 160 w 202"/>
                  <a:gd name="T67" fmla="*/ 77 h 86"/>
                  <a:gd name="T68" fmla="*/ 170 w 202"/>
                  <a:gd name="T69" fmla="*/ 76 h 86"/>
                  <a:gd name="T70" fmla="*/ 172 w 202"/>
                  <a:gd name="T71" fmla="*/ 72 h 86"/>
                  <a:gd name="T72" fmla="*/ 176 w 202"/>
                  <a:gd name="T73" fmla="*/ 69 h 86"/>
                  <a:gd name="T74" fmla="*/ 176 w 202"/>
                  <a:gd name="T75" fmla="*/ 69 h 86"/>
                  <a:gd name="T76" fmla="*/ 183 w 202"/>
                  <a:gd name="T77" fmla="*/ 64 h 86"/>
                  <a:gd name="T78" fmla="*/ 182 w 202"/>
                  <a:gd name="T79" fmla="*/ 58 h 86"/>
                  <a:gd name="T80" fmla="*/ 184 w 202"/>
                  <a:gd name="T81" fmla="*/ 48 h 86"/>
                  <a:gd name="T82" fmla="*/ 187 w 202"/>
                  <a:gd name="T83" fmla="*/ 38 h 86"/>
                  <a:gd name="T84" fmla="*/ 196 w 202"/>
                  <a:gd name="T85" fmla="*/ 40 h 86"/>
                  <a:gd name="T86" fmla="*/ 200 w 202"/>
                  <a:gd name="T87" fmla="*/ 39 h 86"/>
                  <a:gd name="T88" fmla="*/ 202 w 202"/>
                  <a:gd name="T89" fmla="*/ 32 h 86"/>
                  <a:gd name="T90" fmla="*/ 197 w 202"/>
                  <a:gd name="T91" fmla="*/ 24 h 86"/>
                  <a:gd name="T92" fmla="*/ 196 w 202"/>
                  <a:gd name="T93" fmla="*/ 12 h 86"/>
                  <a:gd name="T94" fmla="*/ 189 w 202"/>
                  <a:gd name="T95" fmla="*/ 6 h 86"/>
                  <a:gd name="T96" fmla="*/ 178 w 202"/>
                  <a:gd name="T97" fmla="*/ 8 h 86"/>
                  <a:gd name="T98" fmla="*/ 156 w 202"/>
                  <a:gd name="T99" fmla="*/ 2 h 86"/>
                  <a:gd name="T100" fmla="*/ 152 w 202"/>
                  <a:gd name="T101" fmla="*/ 2 h 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1" h="86">
                    <a:moveTo>
                      <a:pt x="147" y="0"/>
                    </a:moveTo>
                    <a:cubicBezTo>
                      <a:pt x="146" y="6"/>
                      <a:pt x="144" y="9"/>
                      <a:pt x="140" y="12"/>
                    </a:cubicBezTo>
                    <a:cubicBezTo>
                      <a:pt x="139" y="13"/>
                      <a:pt x="139" y="13"/>
                      <a:pt x="139" y="13"/>
                    </a:cubicBezTo>
                    <a:cubicBezTo>
                      <a:pt x="136" y="14"/>
                      <a:pt x="134" y="14"/>
                      <a:pt x="131" y="14"/>
                    </a:cubicBezTo>
                    <a:cubicBezTo>
                      <a:pt x="130" y="15"/>
                      <a:pt x="130" y="15"/>
                      <a:pt x="130" y="15"/>
                    </a:cubicBezTo>
                    <a:cubicBezTo>
                      <a:pt x="126" y="15"/>
                      <a:pt x="121" y="14"/>
                      <a:pt x="117" y="11"/>
                    </a:cubicBezTo>
                    <a:cubicBezTo>
                      <a:pt x="114" y="10"/>
                      <a:pt x="114" y="10"/>
                      <a:pt x="114" y="10"/>
                    </a:cubicBezTo>
                    <a:cubicBezTo>
                      <a:pt x="113" y="9"/>
                      <a:pt x="113" y="9"/>
                      <a:pt x="113" y="9"/>
                    </a:cubicBezTo>
                    <a:cubicBezTo>
                      <a:pt x="111" y="9"/>
                      <a:pt x="111" y="9"/>
                      <a:pt x="111" y="9"/>
                    </a:cubicBezTo>
                    <a:cubicBezTo>
                      <a:pt x="113" y="9"/>
                      <a:pt x="113" y="9"/>
                      <a:pt x="113" y="9"/>
                    </a:cubicBezTo>
                    <a:cubicBezTo>
                      <a:pt x="113" y="10"/>
                      <a:pt x="112" y="11"/>
                      <a:pt x="112" y="12"/>
                    </a:cubicBezTo>
                    <a:cubicBezTo>
                      <a:pt x="112" y="12"/>
                      <a:pt x="112" y="13"/>
                      <a:pt x="112" y="14"/>
                    </a:cubicBezTo>
                    <a:cubicBezTo>
                      <a:pt x="111" y="18"/>
                      <a:pt x="111" y="18"/>
                      <a:pt x="111" y="18"/>
                    </a:cubicBezTo>
                    <a:cubicBezTo>
                      <a:pt x="107" y="17"/>
                      <a:pt x="107" y="17"/>
                      <a:pt x="107" y="17"/>
                    </a:cubicBezTo>
                    <a:cubicBezTo>
                      <a:pt x="107" y="16"/>
                      <a:pt x="106" y="16"/>
                      <a:pt x="106" y="16"/>
                    </a:cubicBezTo>
                    <a:cubicBezTo>
                      <a:pt x="105" y="16"/>
                      <a:pt x="104" y="15"/>
                      <a:pt x="104" y="15"/>
                    </a:cubicBezTo>
                    <a:cubicBezTo>
                      <a:pt x="103" y="15"/>
                      <a:pt x="103" y="15"/>
                      <a:pt x="103" y="15"/>
                    </a:cubicBezTo>
                    <a:cubicBezTo>
                      <a:pt x="103" y="17"/>
                      <a:pt x="103" y="19"/>
                      <a:pt x="102" y="21"/>
                    </a:cubicBezTo>
                    <a:cubicBezTo>
                      <a:pt x="101" y="22"/>
                      <a:pt x="101" y="22"/>
                      <a:pt x="101" y="22"/>
                    </a:cubicBezTo>
                    <a:cubicBezTo>
                      <a:pt x="99" y="23"/>
                      <a:pt x="98" y="23"/>
                      <a:pt x="95" y="24"/>
                    </a:cubicBezTo>
                    <a:cubicBezTo>
                      <a:pt x="94" y="25"/>
                      <a:pt x="94" y="25"/>
                      <a:pt x="94" y="25"/>
                    </a:cubicBezTo>
                    <a:cubicBezTo>
                      <a:pt x="93" y="25"/>
                      <a:pt x="93" y="25"/>
                      <a:pt x="92" y="25"/>
                    </a:cubicBezTo>
                    <a:cubicBezTo>
                      <a:pt x="91" y="26"/>
                      <a:pt x="91" y="26"/>
                      <a:pt x="91" y="26"/>
                    </a:cubicBezTo>
                    <a:cubicBezTo>
                      <a:pt x="88" y="27"/>
                      <a:pt x="86" y="28"/>
                      <a:pt x="85" y="29"/>
                    </a:cubicBezTo>
                    <a:cubicBezTo>
                      <a:pt x="86" y="29"/>
                      <a:pt x="87" y="31"/>
                      <a:pt x="88" y="32"/>
                    </a:cubicBezTo>
                    <a:cubicBezTo>
                      <a:pt x="88" y="33"/>
                      <a:pt x="88" y="33"/>
                      <a:pt x="88" y="33"/>
                    </a:cubicBezTo>
                    <a:cubicBezTo>
                      <a:pt x="89" y="33"/>
                      <a:pt x="89" y="33"/>
                      <a:pt x="90" y="34"/>
                    </a:cubicBezTo>
                    <a:cubicBezTo>
                      <a:pt x="91" y="36"/>
                      <a:pt x="91" y="38"/>
                      <a:pt x="91" y="40"/>
                    </a:cubicBezTo>
                    <a:cubicBezTo>
                      <a:pt x="91" y="40"/>
                      <a:pt x="91" y="40"/>
                      <a:pt x="91" y="40"/>
                    </a:cubicBezTo>
                    <a:cubicBezTo>
                      <a:pt x="92" y="41"/>
                      <a:pt x="92" y="42"/>
                      <a:pt x="92" y="44"/>
                    </a:cubicBezTo>
                    <a:cubicBezTo>
                      <a:pt x="92" y="45"/>
                      <a:pt x="92" y="45"/>
                      <a:pt x="92" y="45"/>
                    </a:cubicBezTo>
                    <a:cubicBezTo>
                      <a:pt x="92" y="47"/>
                      <a:pt x="92" y="50"/>
                      <a:pt x="91" y="53"/>
                    </a:cubicBezTo>
                    <a:cubicBezTo>
                      <a:pt x="89" y="57"/>
                      <a:pt x="89" y="57"/>
                      <a:pt x="89" y="57"/>
                    </a:cubicBezTo>
                    <a:cubicBezTo>
                      <a:pt x="78" y="48"/>
                      <a:pt x="78" y="48"/>
                      <a:pt x="78" y="48"/>
                    </a:cubicBezTo>
                    <a:cubicBezTo>
                      <a:pt x="78" y="48"/>
                      <a:pt x="78" y="48"/>
                      <a:pt x="78" y="48"/>
                    </a:cubicBezTo>
                    <a:cubicBezTo>
                      <a:pt x="77" y="48"/>
                      <a:pt x="77" y="48"/>
                      <a:pt x="77" y="48"/>
                    </a:cubicBezTo>
                    <a:cubicBezTo>
                      <a:pt x="76" y="48"/>
                      <a:pt x="76" y="49"/>
                      <a:pt x="75" y="49"/>
                    </a:cubicBezTo>
                    <a:cubicBezTo>
                      <a:pt x="75" y="49"/>
                      <a:pt x="74" y="48"/>
                      <a:pt x="74" y="48"/>
                    </a:cubicBezTo>
                    <a:cubicBezTo>
                      <a:pt x="73" y="48"/>
                      <a:pt x="73" y="48"/>
                      <a:pt x="72" y="48"/>
                    </a:cubicBezTo>
                    <a:cubicBezTo>
                      <a:pt x="72" y="48"/>
                      <a:pt x="71" y="48"/>
                      <a:pt x="71" y="48"/>
                    </a:cubicBezTo>
                    <a:cubicBezTo>
                      <a:pt x="70" y="47"/>
                      <a:pt x="70" y="47"/>
                      <a:pt x="70" y="47"/>
                    </a:cubicBezTo>
                    <a:cubicBezTo>
                      <a:pt x="70" y="47"/>
                      <a:pt x="69" y="47"/>
                      <a:pt x="69" y="47"/>
                    </a:cubicBezTo>
                    <a:cubicBezTo>
                      <a:pt x="69" y="47"/>
                      <a:pt x="69" y="47"/>
                      <a:pt x="69" y="47"/>
                    </a:cubicBezTo>
                    <a:cubicBezTo>
                      <a:pt x="69" y="47"/>
                      <a:pt x="68" y="47"/>
                      <a:pt x="68" y="47"/>
                    </a:cubicBezTo>
                    <a:cubicBezTo>
                      <a:pt x="67" y="47"/>
                      <a:pt x="67" y="47"/>
                      <a:pt x="66" y="48"/>
                    </a:cubicBezTo>
                    <a:cubicBezTo>
                      <a:pt x="65" y="48"/>
                      <a:pt x="64" y="49"/>
                      <a:pt x="62" y="49"/>
                    </a:cubicBezTo>
                    <a:cubicBezTo>
                      <a:pt x="62" y="49"/>
                      <a:pt x="62" y="49"/>
                      <a:pt x="62" y="49"/>
                    </a:cubicBezTo>
                    <a:cubicBezTo>
                      <a:pt x="61" y="50"/>
                      <a:pt x="59" y="50"/>
                      <a:pt x="57" y="50"/>
                    </a:cubicBezTo>
                    <a:cubicBezTo>
                      <a:pt x="57" y="50"/>
                      <a:pt x="56" y="50"/>
                      <a:pt x="56" y="50"/>
                    </a:cubicBezTo>
                    <a:cubicBezTo>
                      <a:pt x="54" y="50"/>
                      <a:pt x="54" y="50"/>
                      <a:pt x="54" y="50"/>
                    </a:cubicBezTo>
                    <a:cubicBezTo>
                      <a:pt x="53" y="50"/>
                      <a:pt x="52" y="50"/>
                      <a:pt x="51" y="50"/>
                    </a:cubicBezTo>
                    <a:cubicBezTo>
                      <a:pt x="49" y="50"/>
                      <a:pt x="47" y="51"/>
                      <a:pt x="46" y="52"/>
                    </a:cubicBezTo>
                    <a:cubicBezTo>
                      <a:pt x="45" y="56"/>
                      <a:pt x="39" y="56"/>
                      <a:pt x="34" y="57"/>
                    </a:cubicBezTo>
                    <a:cubicBezTo>
                      <a:pt x="33" y="57"/>
                      <a:pt x="33" y="57"/>
                      <a:pt x="33" y="57"/>
                    </a:cubicBezTo>
                    <a:cubicBezTo>
                      <a:pt x="33" y="57"/>
                      <a:pt x="33" y="57"/>
                      <a:pt x="32" y="57"/>
                    </a:cubicBezTo>
                    <a:cubicBezTo>
                      <a:pt x="31" y="57"/>
                      <a:pt x="31" y="57"/>
                      <a:pt x="31" y="57"/>
                    </a:cubicBezTo>
                    <a:cubicBezTo>
                      <a:pt x="31" y="57"/>
                      <a:pt x="30" y="57"/>
                      <a:pt x="30" y="57"/>
                    </a:cubicBezTo>
                    <a:cubicBezTo>
                      <a:pt x="30" y="57"/>
                      <a:pt x="30" y="57"/>
                      <a:pt x="30" y="57"/>
                    </a:cubicBezTo>
                    <a:cubicBezTo>
                      <a:pt x="29" y="57"/>
                      <a:pt x="29" y="57"/>
                      <a:pt x="29" y="57"/>
                    </a:cubicBezTo>
                    <a:cubicBezTo>
                      <a:pt x="29" y="57"/>
                      <a:pt x="28" y="56"/>
                      <a:pt x="28" y="56"/>
                    </a:cubicBezTo>
                    <a:cubicBezTo>
                      <a:pt x="27" y="56"/>
                      <a:pt x="27" y="56"/>
                      <a:pt x="27" y="56"/>
                    </a:cubicBezTo>
                    <a:cubicBezTo>
                      <a:pt x="26" y="54"/>
                      <a:pt x="26" y="53"/>
                      <a:pt x="26" y="52"/>
                    </a:cubicBezTo>
                    <a:cubicBezTo>
                      <a:pt x="26" y="52"/>
                      <a:pt x="26" y="52"/>
                      <a:pt x="26" y="52"/>
                    </a:cubicBezTo>
                    <a:cubicBezTo>
                      <a:pt x="19" y="51"/>
                      <a:pt x="19" y="51"/>
                      <a:pt x="19" y="51"/>
                    </a:cubicBezTo>
                    <a:cubicBezTo>
                      <a:pt x="18" y="56"/>
                      <a:pt x="15" y="58"/>
                      <a:pt x="11" y="60"/>
                    </a:cubicBezTo>
                    <a:cubicBezTo>
                      <a:pt x="0" y="66"/>
                      <a:pt x="0" y="66"/>
                      <a:pt x="0" y="66"/>
                    </a:cubicBezTo>
                    <a:cubicBezTo>
                      <a:pt x="6" y="70"/>
                      <a:pt x="6" y="70"/>
                      <a:pt x="6" y="70"/>
                    </a:cubicBezTo>
                    <a:cubicBezTo>
                      <a:pt x="6" y="69"/>
                      <a:pt x="6" y="69"/>
                      <a:pt x="7" y="69"/>
                    </a:cubicBezTo>
                    <a:cubicBezTo>
                      <a:pt x="8" y="67"/>
                      <a:pt x="10" y="65"/>
                      <a:pt x="12" y="65"/>
                    </a:cubicBezTo>
                    <a:cubicBezTo>
                      <a:pt x="13" y="65"/>
                      <a:pt x="14" y="66"/>
                      <a:pt x="14" y="66"/>
                    </a:cubicBezTo>
                    <a:cubicBezTo>
                      <a:pt x="15" y="66"/>
                      <a:pt x="15" y="66"/>
                      <a:pt x="16" y="66"/>
                    </a:cubicBezTo>
                    <a:cubicBezTo>
                      <a:pt x="16" y="67"/>
                      <a:pt x="16" y="67"/>
                      <a:pt x="16" y="67"/>
                    </a:cubicBezTo>
                    <a:cubicBezTo>
                      <a:pt x="17" y="67"/>
                      <a:pt x="17" y="67"/>
                      <a:pt x="17" y="67"/>
                    </a:cubicBezTo>
                    <a:cubicBezTo>
                      <a:pt x="17" y="68"/>
                      <a:pt x="17" y="68"/>
                      <a:pt x="17" y="68"/>
                    </a:cubicBezTo>
                    <a:cubicBezTo>
                      <a:pt x="18" y="68"/>
                      <a:pt x="18" y="68"/>
                      <a:pt x="18" y="68"/>
                    </a:cubicBezTo>
                    <a:cubicBezTo>
                      <a:pt x="18" y="69"/>
                      <a:pt x="18" y="69"/>
                      <a:pt x="18" y="69"/>
                    </a:cubicBezTo>
                    <a:cubicBezTo>
                      <a:pt x="18" y="69"/>
                      <a:pt x="18" y="69"/>
                      <a:pt x="18" y="69"/>
                    </a:cubicBezTo>
                    <a:cubicBezTo>
                      <a:pt x="18" y="70"/>
                      <a:pt x="18" y="70"/>
                      <a:pt x="18" y="70"/>
                    </a:cubicBezTo>
                    <a:cubicBezTo>
                      <a:pt x="19" y="70"/>
                      <a:pt x="20" y="70"/>
                      <a:pt x="21" y="71"/>
                    </a:cubicBezTo>
                    <a:cubicBezTo>
                      <a:pt x="24" y="71"/>
                      <a:pt x="27" y="72"/>
                      <a:pt x="29" y="72"/>
                    </a:cubicBezTo>
                    <a:cubicBezTo>
                      <a:pt x="29" y="72"/>
                      <a:pt x="29" y="72"/>
                      <a:pt x="29" y="72"/>
                    </a:cubicBezTo>
                    <a:cubicBezTo>
                      <a:pt x="30" y="73"/>
                      <a:pt x="30" y="73"/>
                      <a:pt x="30" y="73"/>
                    </a:cubicBezTo>
                    <a:cubicBezTo>
                      <a:pt x="30" y="72"/>
                      <a:pt x="30" y="72"/>
                      <a:pt x="30" y="72"/>
                    </a:cubicBezTo>
                    <a:cubicBezTo>
                      <a:pt x="30" y="72"/>
                      <a:pt x="30" y="72"/>
                      <a:pt x="30" y="72"/>
                    </a:cubicBezTo>
                    <a:cubicBezTo>
                      <a:pt x="31" y="71"/>
                      <a:pt x="31" y="71"/>
                      <a:pt x="31" y="71"/>
                    </a:cubicBezTo>
                    <a:cubicBezTo>
                      <a:pt x="32" y="68"/>
                      <a:pt x="33" y="66"/>
                      <a:pt x="38" y="66"/>
                    </a:cubicBezTo>
                    <a:cubicBezTo>
                      <a:pt x="49" y="64"/>
                      <a:pt x="49" y="64"/>
                      <a:pt x="49" y="64"/>
                    </a:cubicBezTo>
                    <a:cubicBezTo>
                      <a:pt x="53" y="63"/>
                      <a:pt x="56" y="63"/>
                      <a:pt x="59" y="62"/>
                    </a:cubicBezTo>
                    <a:cubicBezTo>
                      <a:pt x="63" y="62"/>
                      <a:pt x="63" y="62"/>
                      <a:pt x="63" y="62"/>
                    </a:cubicBezTo>
                    <a:cubicBezTo>
                      <a:pt x="64" y="62"/>
                      <a:pt x="64" y="62"/>
                      <a:pt x="64" y="62"/>
                    </a:cubicBezTo>
                    <a:cubicBezTo>
                      <a:pt x="65" y="62"/>
                      <a:pt x="66" y="62"/>
                      <a:pt x="67" y="62"/>
                    </a:cubicBezTo>
                    <a:cubicBezTo>
                      <a:pt x="71" y="63"/>
                      <a:pt x="71" y="63"/>
                      <a:pt x="71" y="63"/>
                    </a:cubicBezTo>
                    <a:cubicBezTo>
                      <a:pt x="68" y="68"/>
                      <a:pt x="68" y="68"/>
                      <a:pt x="68" y="68"/>
                    </a:cubicBezTo>
                    <a:cubicBezTo>
                      <a:pt x="68" y="69"/>
                      <a:pt x="68" y="70"/>
                      <a:pt x="68" y="70"/>
                    </a:cubicBezTo>
                    <a:cubicBezTo>
                      <a:pt x="68" y="71"/>
                      <a:pt x="68" y="71"/>
                      <a:pt x="68" y="71"/>
                    </a:cubicBezTo>
                    <a:cubicBezTo>
                      <a:pt x="70" y="73"/>
                      <a:pt x="73" y="76"/>
                      <a:pt x="75" y="76"/>
                    </a:cubicBezTo>
                    <a:cubicBezTo>
                      <a:pt x="77" y="77"/>
                      <a:pt x="77" y="77"/>
                      <a:pt x="77" y="77"/>
                    </a:cubicBezTo>
                    <a:cubicBezTo>
                      <a:pt x="78" y="69"/>
                      <a:pt x="78" y="69"/>
                      <a:pt x="78" y="69"/>
                    </a:cubicBezTo>
                    <a:cubicBezTo>
                      <a:pt x="79" y="77"/>
                      <a:pt x="79" y="77"/>
                      <a:pt x="79" y="77"/>
                    </a:cubicBezTo>
                    <a:cubicBezTo>
                      <a:pt x="79" y="77"/>
                      <a:pt x="79" y="77"/>
                      <a:pt x="79" y="77"/>
                    </a:cubicBezTo>
                    <a:cubicBezTo>
                      <a:pt x="86" y="79"/>
                      <a:pt x="92" y="79"/>
                      <a:pt x="98" y="80"/>
                    </a:cubicBezTo>
                    <a:cubicBezTo>
                      <a:pt x="100" y="80"/>
                      <a:pt x="102" y="80"/>
                      <a:pt x="104" y="81"/>
                    </a:cubicBezTo>
                    <a:cubicBezTo>
                      <a:pt x="104" y="81"/>
                      <a:pt x="106" y="81"/>
                      <a:pt x="108" y="82"/>
                    </a:cubicBezTo>
                    <a:cubicBezTo>
                      <a:pt x="109" y="81"/>
                      <a:pt x="109" y="81"/>
                      <a:pt x="109" y="81"/>
                    </a:cubicBezTo>
                    <a:cubicBezTo>
                      <a:pt x="109" y="82"/>
                      <a:pt x="109" y="82"/>
                      <a:pt x="109" y="82"/>
                    </a:cubicBezTo>
                    <a:cubicBezTo>
                      <a:pt x="110" y="82"/>
                      <a:pt x="111" y="82"/>
                      <a:pt x="112" y="82"/>
                    </a:cubicBezTo>
                    <a:cubicBezTo>
                      <a:pt x="114" y="82"/>
                      <a:pt x="114" y="82"/>
                      <a:pt x="114" y="82"/>
                    </a:cubicBezTo>
                    <a:cubicBezTo>
                      <a:pt x="115" y="83"/>
                      <a:pt x="116" y="83"/>
                      <a:pt x="118" y="83"/>
                    </a:cubicBezTo>
                    <a:cubicBezTo>
                      <a:pt x="118" y="83"/>
                      <a:pt x="118" y="83"/>
                      <a:pt x="119" y="84"/>
                    </a:cubicBezTo>
                    <a:cubicBezTo>
                      <a:pt x="120" y="84"/>
                      <a:pt x="120" y="84"/>
                      <a:pt x="120" y="84"/>
                    </a:cubicBezTo>
                    <a:cubicBezTo>
                      <a:pt x="121" y="84"/>
                      <a:pt x="121" y="84"/>
                      <a:pt x="122" y="85"/>
                    </a:cubicBezTo>
                    <a:cubicBezTo>
                      <a:pt x="123" y="85"/>
                      <a:pt x="123" y="85"/>
                      <a:pt x="123" y="85"/>
                    </a:cubicBezTo>
                    <a:cubicBezTo>
                      <a:pt x="124" y="85"/>
                      <a:pt x="124" y="85"/>
                      <a:pt x="125" y="85"/>
                    </a:cubicBezTo>
                    <a:cubicBezTo>
                      <a:pt x="126" y="85"/>
                      <a:pt x="126" y="85"/>
                      <a:pt x="126" y="85"/>
                    </a:cubicBezTo>
                    <a:cubicBezTo>
                      <a:pt x="127" y="85"/>
                      <a:pt x="127" y="85"/>
                      <a:pt x="127" y="85"/>
                    </a:cubicBezTo>
                    <a:cubicBezTo>
                      <a:pt x="128" y="85"/>
                      <a:pt x="129" y="85"/>
                      <a:pt x="130" y="85"/>
                    </a:cubicBezTo>
                    <a:cubicBezTo>
                      <a:pt x="131" y="86"/>
                      <a:pt x="131" y="86"/>
                      <a:pt x="131" y="86"/>
                    </a:cubicBezTo>
                    <a:cubicBezTo>
                      <a:pt x="132" y="86"/>
                      <a:pt x="132" y="86"/>
                      <a:pt x="132" y="86"/>
                    </a:cubicBezTo>
                    <a:cubicBezTo>
                      <a:pt x="132" y="86"/>
                      <a:pt x="132" y="86"/>
                      <a:pt x="132" y="86"/>
                    </a:cubicBezTo>
                    <a:cubicBezTo>
                      <a:pt x="133" y="86"/>
                      <a:pt x="134" y="85"/>
                      <a:pt x="135" y="84"/>
                    </a:cubicBezTo>
                    <a:cubicBezTo>
                      <a:pt x="136" y="84"/>
                      <a:pt x="136" y="84"/>
                      <a:pt x="136" y="84"/>
                    </a:cubicBezTo>
                    <a:cubicBezTo>
                      <a:pt x="136" y="83"/>
                      <a:pt x="137" y="83"/>
                      <a:pt x="137" y="83"/>
                    </a:cubicBezTo>
                    <a:cubicBezTo>
                      <a:pt x="137" y="82"/>
                      <a:pt x="138" y="82"/>
                      <a:pt x="138" y="81"/>
                    </a:cubicBezTo>
                    <a:cubicBezTo>
                      <a:pt x="140" y="79"/>
                      <a:pt x="141" y="78"/>
                      <a:pt x="145" y="77"/>
                    </a:cubicBezTo>
                    <a:cubicBezTo>
                      <a:pt x="146" y="77"/>
                      <a:pt x="146" y="77"/>
                      <a:pt x="147" y="77"/>
                    </a:cubicBezTo>
                    <a:cubicBezTo>
                      <a:pt x="147" y="77"/>
                      <a:pt x="147" y="77"/>
                      <a:pt x="147" y="77"/>
                    </a:cubicBezTo>
                    <a:cubicBezTo>
                      <a:pt x="148" y="77"/>
                      <a:pt x="149" y="77"/>
                      <a:pt x="150" y="77"/>
                    </a:cubicBezTo>
                    <a:cubicBezTo>
                      <a:pt x="152" y="77"/>
                      <a:pt x="152" y="77"/>
                      <a:pt x="152" y="77"/>
                    </a:cubicBezTo>
                    <a:cubicBezTo>
                      <a:pt x="152" y="77"/>
                      <a:pt x="153" y="77"/>
                      <a:pt x="153" y="77"/>
                    </a:cubicBezTo>
                    <a:cubicBezTo>
                      <a:pt x="154" y="77"/>
                      <a:pt x="155" y="77"/>
                      <a:pt x="156" y="78"/>
                    </a:cubicBezTo>
                    <a:cubicBezTo>
                      <a:pt x="156" y="78"/>
                      <a:pt x="156" y="78"/>
                      <a:pt x="156" y="78"/>
                    </a:cubicBezTo>
                    <a:cubicBezTo>
                      <a:pt x="157" y="78"/>
                      <a:pt x="158" y="78"/>
                      <a:pt x="158" y="78"/>
                    </a:cubicBezTo>
                    <a:cubicBezTo>
                      <a:pt x="159" y="78"/>
                      <a:pt x="159" y="78"/>
                      <a:pt x="159" y="78"/>
                    </a:cubicBezTo>
                    <a:cubicBezTo>
                      <a:pt x="159" y="78"/>
                      <a:pt x="159" y="78"/>
                      <a:pt x="159" y="78"/>
                    </a:cubicBezTo>
                    <a:cubicBezTo>
                      <a:pt x="160" y="77"/>
                      <a:pt x="160" y="77"/>
                      <a:pt x="160" y="77"/>
                    </a:cubicBezTo>
                    <a:cubicBezTo>
                      <a:pt x="160" y="77"/>
                      <a:pt x="160" y="77"/>
                      <a:pt x="160" y="77"/>
                    </a:cubicBezTo>
                    <a:cubicBezTo>
                      <a:pt x="161" y="76"/>
                      <a:pt x="163" y="75"/>
                      <a:pt x="166" y="75"/>
                    </a:cubicBezTo>
                    <a:cubicBezTo>
                      <a:pt x="166" y="75"/>
                      <a:pt x="166" y="75"/>
                      <a:pt x="166" y="75"/>
                    </a:cubicBezTo>
                    <a:cubicBezTo>
                      <a:pt x="167" y="75"/>
                      <a:pt x="167" y="75"/>
                      <a:pt x="167" y="75"/>
                    </a:cubicBezTo>
                    <a:cubicBezTo>
                      <a:pt x="168" y="75"/>
                      <a:pt x="169" y="75"/>
                      <a:pt x="170" y="76"/>
                    </a:cubicBezTo>
                    <a:cubicBezTo>
                      <a:pt x="170" y="75"/>
                      <a:pt x="170" y="75"/>
                      <a:pt x="170" y="74"/>
                    </a:cubicBezTo>
                    <a:cubicBezTo>
                      <a:pt x="171" y="73"/>
                      <a:pt x="171" y="73"/>
                      <a:pt x="171" y="73"/>
                    </a:cubicBezTo>
                    <a:cubicBezTo>
                      <a:pt x="171" y="73"/>
                      <a:pt x="172" y="72"/>
                      <a:pt x="172" y="72"/>
                    </a:cubicBezTo>
                    <a:cubicBezTo>
                      <a:pt x="172" y="72"/>
                      <a:pt x="172" y="72"/>
                      <a:pt x="172" y="72"/>
                    </a:cubicBezTo>
                    <a:cubicBezTo>
                      <a:pt x="174" y="70"/>
                      <a:pt x="174" y="70"/>
                      <a:pt x="174" y="70"/>
                    </a:cubicBezTo>
                    <a:cubicBezTo>
                      <a:pt x="175" y="70"/>
                      <a:pt x="175" y="70"/>
                      <a:pt x="175" y="70"/>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7" y="67"/>
                      <a:pt x="178" y="66"/>
                      <a:pt x="179" y="65"/>
                    </a:cubicBezTo>
                    <a:cubicBezTo>
                      <a:pt x="180" y="64"/>
                      <a:pt x="181" y="64"/>
                      <a:pt x="182" y="64"/>
                    </a:cubicBezTo>
                    <a:cubicBezTo>
                      <a:pt x="183" y="64"/>
                      <a:pt x="183" y="64"/>
                      <a:pt x="183" y="64"/>
                    </a:cubicBezTo>
                    <a:cubicBezTo>
                      <a:pt x="183" y="64"/>
                      <a:pt x="183" y="64"/>
                      <a:pt x="183" y="64"/>
                    </a:cubicBezTo>
                    <a:cubicBezTo>
                      <a:pt x="183" y="64"/>
                      <a:pt x="183" y="64"/>
                      <a:pt x="183" y="64"/>
                    </a:cubicBezTo>
                    <a:cubicBezTo>
                      <a:pt x="183" y="64"/>
                      <a:pt x="183" y="64"/>
                      <a:pt x="183" y="64"/>
                    </a:cubicBezTo>
                    <a:cubicBezTo>
                      <a:pt x="183" y="63"/>
                      <a:pt x="183" y="63"/>
                      <a:pt x="183" y="63"/>
                    </a:cubicBezTo>
                    <a:cubicBezTo>
                      <a:pt x="183" y="62"/>
                      <a:pt x="182" y="60"/>
                      <a:pt x="182" y="58"/>
                    </a:cubicBezTo>
                    <a:cubicBezTo>
                      <a:pt x="182" y="53"/>
                      <a:pt x="186" y="51"/>
                      <a:pt x="187" y="51"/>
                    </a:cubicBezTo>
                    <a:cubicBezTo>
                      <a:pt x="188" y="50"/>
                      <a:pt x="188" y="50"/>
                      <a:pt x="188" y="50"/>
                    </a:cubicBezTo>
                    <a:cubicBezTo>
                      <a:pt x="188" y="49"/>
                      <a:pt x="187" y="49"/>
                      <a:pt x="186" y="48"/>
                    </a:cubicBezTo>
                    <a:cubicBezTo>
                      <a:pt x="185" y="48"/>
                      <a:pt x="185" y="48"/>
                      <a:pt x="184" y="48"/>
                    </a:cubicBezTo>
                    <a:cubicBezTo>
                      <a:pt x="177" y="46"/>
                      <a:pt x="177" y="46"/>
                      <a:pt x="177" y="46"/>
                    </a:cubicBezTo>
                    <a:cubicBezTo>
                      <a:pt x="185" y="40"/>
                      <a:pt x="185" y="40"/>
                      <a:pt x="185" y="40"/>
                    </a:cubicBezTo>
                    <a:cubicBezTo>
                      <a:pt x="186" y="39"/>
                      <a:pt x="186" y="39"/>
                      <a:pt x="187" y="39"/>
                    </a:cubicBezTo>
                    <a:cubicBezTo>
                      <a:pt x="187" y="38"/>
                      <a:pt x="187" y="38"/>
                      <a:pt x="187" y="38"/>
                    </a:cubicBezTo>
                    <a:cubicBezTo>
                      <a:pt x="189" y="38"/>
                      <a:pt x="190" y="38"/>
                      <a:pt x="191" y="38"/>
                    </a:cubicBezTo>
                    <a:cubicBezTo>
                      <a:pt x="192" y="38"/>
                      <a:pt x="193" y="38"/>
                      <a:pt x="195" y="39"/>
                    </a:cubicBezTo>
                    <a:cubicBezTo>
                      <a:pt x="196" y="39"/>
                      <a:pt x="196" y="39"/>
                      <a:pt x="196" y="39"/>
                    </a:cubicBezTo>
                    <a:cubicBezTo>
                      <a:pt x="196" y="40"/>
                      <a:pt x="196" y="40"/>
                      <a:pt x="196" y="40"/>
                    </a:cubicBezTo>
                    <a:cubicBezTo>
                      <a:pt x="196" y="40"/>
                      <a:pt x="196" y="40"/>
                      <a:pt x="196" y="40"/>
                    </a:cubicBezTo>
                    <a:cubicBezTo>
                      <a:pt x="197" y="40"/>
                      <a:pt x="197" y="40"/>
                      <a:pt x="197" y="40"/>
                    </a:cubicBezTo>
                    <a:cubicBezTo>
                      <a:pt x="198" y="40"/>
                      <a:pt x="199" y="40"/>
                      <a:pt x="200" y="40"/>
                    </a:cubicBezTo>
                    <a:cubicBezTo>
                      <a:pt x="200" y="39"/>
                      <a:pt x="200" y="39"/>
                      <a:pt x="200" y="39"/>
                    </a:cubicBezTo>
                    <a:cubicBezTo>
                      <a:pt x="200" y="38"/>
                      <a:pt x="200" y="38"/>
                      <a:pt x="200" y="38"/>
                    </a:cubicBezTo>
                    <a:cubicBezTo>
                      <a:pt x="201" y="37"/>
                      <a:pt x="201" y="36"/>
                      <a:pt x="201" y="35"/>
                    </a:cubicBezTo>
                    <a:cubicBezTo>
                      <a:pt x="202" y="34"/>
                      <a:pt x="202" y="33"/>
                      <a:pt x="202" y="32"/>
                    </a:cubicBezTo>
                    <a:cubicBezTo>
                      <a:pt x="202" y="32"/>
                      <a:pt x="202" y="32"/>
                      <a:pt x="202" y="32"/>
                    </a:cubicBezTo>
                    <a:cubicBezTo>
                      <a:pt x="202" y="32"/>
                      <a:pt x="201" y="31"/>
                      <a:pt x="201" y="30"/>
                    </a:cubicBezTo>
                    <a:cubicBezTo>
                      <a:pt x="200" y="29"/>
                      <a:pt x="199" y="29"/>
                      <a:pt x="198" y="28"/>
                    </a:cubicBezTo>
                    <a:cubicBezTo>
                      <a:pt x="197" y="27"/>
                      <a:pt x="197" y="25"/>
                      <a:pt x="197" y="24"/>
                    </a:cubicBezTo>
                    <a:cubicBezTo>
                      <a:pt x="197" y="24"/>
                      <a:pt x="197" y="24"/>
                      <a:pt x="197" y="24"/>
                    </a:cubicBezTo>
                    <a:cubicBezTo>
                      <a:pt x="196" y="23"/>
                      <a:pt x="196" y="23"/>
                      <a:pt x="195" y="22"/>
                    </a:cubicBezTo>
                    <a:cubicBezTo>
                      <a:pt x="194" y="21"/>
                      <a:pt x="194" y="20"/>
                      <a:pt x="194" y="17"/>
                    </a:cubicBezTo>
                    <a:cubicBezTo>
                      <a:pt x="194" y="15"/>
                      <a:pt x="195" y="13"/>
                      <a:pt x="196" y="12"/>
                    </a:cubicBezTo>
                    <a:cubicBezTo>
                      <a:pt x="196" y="12"/>
                      <a:pt x="196" y="12"/>
                      <a:pt x="196" y="12"/>
                    </a:cubicBezTo>
                    <a:cubicBezTo>
                      <a:pt x="196" y="11"/>
                      <a:pt x="196" y="11"/>
                      <a:pt x="196" y="11"/>
                    </a:cubicBezTo>
                    <a:cubicBezTo>
                      <a:pt x="196" y="11"/>
                      <a:pt x="196" y="11"/>
                      <a:pt x="196" y="11"/>
                    </a:cubicBezTo>
                    <a:cubicBezTo>
                      <a:pt x="196" y="11"/>
                      <a:pt x="196" y="11"/>
                      <a:pt x="196" y="11"/>
                    </a:cubicBezTo>
                    <a:cubicBezTo>
                      <a:pt x="195" y="9"/>
                      <a:pt x="190" y="6"/>
                      <a:pt x="189" y="6"/>
                    </a:cubicBezTo>
                    <a:cubicBezTo>
                      <a:pt x="187" y="6"/>
                      <a:pt x="187" y="6"/>
                      <a:pt x="187" y="6"/>
                    </a:cubicBezTo>
                    <a:cubicBezTo>
                      <a:pt x="187" y="7"/>
                      <a:pt x="186" y="7"/>
                      <a:pt x="185" y="7"/>
                    </a:cubicBezTo>
                    <a:cubicBezTo>
                      <a:pt x="184" y="8"/>
                      <a:pt x="182" y="8"/>
                      <a:pt x="180" y="8"/>
                    </a:cubicBezTo>
                    <a:cubicBezTo>
                      <a:pt x="179" y="8"/>
                      <a:pt x="178" y="8"/>
                      <a:pt x="178" y="8"/>
                    </a:cubicBezTo>
                    <a:cubicBezTo>
                      <a:pt x="165" y="4"/>
                      <a:pt x="165" y="4"/>
                      <a:pt x="165" y="4"/>
                    </a:cubicBezTo>
                    <a:cubicBezTo>
                      <a:pt x="164" y="4"/>
                      <a:pt x="164" y="4"/>
                      <a:pt x="163" y="4"/>
                    </a:cubicBezTo>
                    <a:cubicBezTo>
                      <a:pt x="162" y="3"/>
                      <a:pt x="160" y="2"/>
                      <a:pt x="159" y="2"/>
                    </a:cubicBezTo>
                    <a:cubicBezTo>
                      <a:pt x="158" y="2"/>
                      <a:pt x="157" y="2"/>
                      <a:pt x="156" y="2"/>
                    </a:cubicBezTo>
                    <a:cubicBezTo>
                      <a:pt x="154" y="2"/>
                      <a:pt x="154" y="2"/>
                      <a:pt x="154" y="2"/>
                    </a:cubicBezTo>
                    <a:cubicBezTo>
                      <a:pt x="154" y="2"/>
                      <a:pt x="154" y="2"/>
                      <a:pt x="154" y="2"/>
                    </a:cubicBezTo>
                    <a:cubicBezTo>
                      <a:pt x="153" y="2"/>
                      <a:pt x="153" y="2"/>
                      <a:pt x="152" y="2"/>
                    </a:cubicBezTo>
                    <a:cubicBezTo>
                      <a:pt x="152" y="2"/>
                      <a:pt x="152" y="2"/>
                      <a:pt x="152" y="2"/>
                    </a:cubicBezTo>
                    <a:cubicBezTo>
                      <a:pt x="150" y="1"/>
                      <a:pt x="148" y="1"/>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280"/>
              <p:cNvSpPr/>
              <p:nvPr/>
            </p:nvSpPr>
            <p:spPr bwMode="auto">
              <a:xfrm>
                <a:off x="5586636" y="4385288"/>
                <a:ext cx="224792" cy="117924"/>
              </a:xfrm>
              <a:custGeom>
                <a:gdLst>
                  <a:gd name="T0" fmla="*/ 58 w 71"/>
                  <a:gd name="T1" fmla="*/ 1 h 37"/>
                  <a:gd name="T2" fmla="*/ 54 w 71"/>
                  <a:gd name="T3" fmla="*/ 3 h 37"/>
                  <a:gd name="T4" fmla="*/ 52 w 71"/>
                  <a:gd name="T5" fmla="*/ 3 h 37"/>
                  <a:gd name="T6" fmla="*/ 47 w 71"/>
                  <a:gd name="T7" fmla="*/ 2 h 37"/>
                  <a:gd name="T8" fmla="*/ 44 w 71"/>
                  <a:gd name="T9" fmla="*/ 2 h 37"/>
                  <a:gd name="T10" fmla="*/ 40 w 71"/>
                  <a:gd name="T11" fmla="*/ 2 h 37"/>
                  <a:gd name="T12" fmla="*/ 37 w 71"/>
                  <a:gd name="T13" fmla="*/ 4 h 37"/>
                  <a:gd name="T14" fmla="*/ 33 w 71"/>
                  <a:gd name="T15" fmla="*/ 8 h 37"/>
                  <a:gd name="T16" fmla="*/ 26 w 71"/>
                  <a:gd name="T17" fmla="*/ 12 h 37"/>
                  <a:gd name="T18" fmla="*/ 22 w 71"/>
                  <a:gd name="T19" fmla="*/ 10 h 37"/>
                  <a:gd name="T20" fmla="*/ 20 w 71"/>
                  <a:gd name="T21" fmla="*/ 10 h 37"/>
                  <a:gd name="T22" fmla="*/ 18 w 71"/>
                  <a:gd name="T23" fmla="*/ 10 h 37"/>
                  <a:gd name="T24" fmla="*/ 15 w 71"/>
                  <a:gd name="T25" fmla="*/ 9 h 37"/>
                  <a:gd name="T26" fmla="*/ 11 w 71"/>
                  <a:gd name="T27" fmla="*/ 8 h 37"/>
                  <a:gd name="T28" fmla="*/ 7 w 71"/>
                  <a:gd name="T29" fmla="*/ 7 h 37"/>
                  <a:gd name="T30" fmla="*/ 4 w 71"/>
                  <a:gd name="T31" fmla="*/ 7 h 37"/>
                  <a:gd name="T32" fmla="*/ 2 w 71"/>
                  <a:gd name="T33" fmla="*/ 12 h 37"/>
                  <a:gd name="T34" fmla="*/ 3 w 71"/>
                  <a:gd name="T35" fmla="*/ 18 h 37"/>
                  <a:gd name="T36" fmla="*/ 2 w 71"/>
                  <a:gd name="T37" fmla="*/ 19 h 37"/>
                  <a:gd name="T38" fmla="*/ 2 w 71"/>
                  <a:gd name="T39" fmla="*/ 22 h 37"/>
                  <a:gd name="T40" fmla="*/ 2 w 71"/>
                  <a:gd name="T41" fmla="*/ 26 h 37"/>
                  <a:gd name="T42" fmla="*/ 5 w 71"/>
                  <a:gd name="T43" fmla="*/ 28 h 37"/>
                  <a:gd name="T44" fmla="*/ 9 w 71"/>
                  <a:gd name="T45" fmla="*/ 31 h 37"/>
                  <a:gd name="T46" fmla="*/ 11 w 71"/>
                  <a:gd name="T47" fmla="*/ 36 h 37"/>
                  <a:gd name="T48" fmla="*/ 13 w 71"/>
                  <a:gd name="T49" fmla="*/ 36 h 37"/>
                  <a:gd name="T50" fmla="*/ 23 w 71"/>
                  <a:gd name="T51" fmla="*/ 32 h 37"/>
                  <a:gd name="T52" fmla="*/ 29 w 71"/>
                  <a:gd name="T53" fmla="*/ 31 h 37"/>
                  <a:gd name="T54" fmla="*/ 31 w 71"/>
                  <a:gd name="T55" fmla="*/ 33 h 37"/>
                  <a:gd name="T56" fmla="*/ 36 w 71"/>
                  <a:gd name="T57" fmla="*/ 36 h 37"/>
                  <a:gd name="T58" fmla="*/ 37 w 71"/>
                  <a:gd name="T59" fmla="*/ 36 h 37"/>
                  <a:gd name="T60" fmla="*/ 40 w 71"/>
                  <a:gd name="T61" fmla="*/ 36 h 37"/>
                  <a:gd name="T62" fmla="*/ 43 w 71"/>
                  <a:gd name="T63" fmla="*/ 37 h 37"/>
                  <a:gd name="T64" fmla="*/ 44 w 71"/>
                  <a:gd name="T65" fmla="*/ 35 h 37"/>
                  <a:gd name="T66" fmla="*/ 44 w 71"/>
                  <a:gd name="T67" fmla="*/ 29 h 37"/>
                  <a:gd name="T68" fmla="*/ 54 w 71"/>
                  <a:gd name="T69" fmla="*/ 22 h 37"/>
                  <a:gd name="T70" fmla="*/ 53 w 71"/>
                  <a:gd name="T71" fmla="*/ 19 h 37"/>
                  <a:gd name="T72" fmla="*/ 55 w 71"/>
                  <a:gd name="T73" fmla="*/ 12 h 37"/>
                  <a:gd name="T74" fmla="*/ 57 w 71"/>
                  <a:gd name="T75" fmla="*/ 10 h 37"/>
                  <a:gd name="T76" fmla="*/ 61 w 71"/>
                  <a:gd name="T77" fmla="*/ 9 h 37"/>
                  <a:gd name="T78" fmla="*/ 64 w 71"/>
                  <a:gd name="T79" fmla="*/ 9 h 37"/>
                  <a:gd name="T80" fmla="*/ 65 w 71"/>
                  <a:gd name="T81" fmla="*/ 8 h 37"/>
                  <a:gd name="T82" fmla="*/ 68 w 71"/>
                  <a:gd name="T83" fmla="*/ 5 h 37"/>
                  <a:gd name="T84" fmla="*/ 71 w 71"/>
                  <a:gd name="T85" fmla="*/ 3 h 37"/>
                  <a:gd name="T86" fmla="*/ 64 w 71"/>
                  <a:gd name="T87" fmla="*/ 1 h 37"/>
                  <a:gd name="T88" fmla="*/ 61 w 71"/>
                  <a:gd name="T89"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 h="37">
                    <a:moveTo>
                      <a:pt x="60" y="0"/>
                    </a:moveTo>
                    <a:cubicBezTo>
                      <a:pt x="59" y="0"/>
                      <a:pt x="59" y="0"/>
                      <a:pt x="58" y="1"/>
                    </a:cubicBezTo>
                    <a:cubicBezTo>
                      <a:pt x="57" y="1"/>
                      <a:pt x="56" y="2"/>
                      <a:pt x="55" y="2"/>
                    </a:cubicBezTo>
                    <a:cubicBezTo>
                      <a:pt x="54" y="3"/>
                      <a:pt x="54" y="3"/>
                      <a:pt x="54" y="3"/>
                    </a:cubicBezTo>
                    <a:cubicBezTo>
                      <a:pt x="54" y="3"/>
                      <a:pt x="53" y="3"/>
                      <a:pt x="53" y="3"/>
                    </a:cubicBezTo>
                    <a:cubicBezTo>
                      <a:pt x="53" y="3"/>
                      <a:pt x="52" y="3"/>
                      <a:pt x="52" y="3"/>
                    </a:cubicBezTo>
                    <a:cubicBezTo>
                      <a:pt x="51" y="3"/>
                      <a:pt x="50" y="3"/>
                      <a:pt x="49" y="2"/>
                    </a:cubicBezTo>
                    <a:cubicBezTo>
                      <a:pt x="48" y="2"/>
                      <a:pt x="47" y="2"/>
                      <a:pt x="47" y="2"/>
                    </a:cubicBezTo>
                    <a:cubicBezTo>
                      <a:pt x="47" y="2"/>
                      <a:pt x="46" y="2"/>
                      <a:pt x="46" y="2"/>
                    </a:cubicBezTo>
                    <a:cubicBezTo>
                      <a:pt x="45" y="2"/>
                      <a:pt x="45" y="2"/>
                      <a:pt x="44" y="2"/>
                    </a:cubicBezTo>
                    <a:cubicBezTo>
                      <a:pt x="43" y="2"/>
                      <a:pt x="43" y="2"/>
                      <a:pt x="42" y="2"/>
                    </a:cubicBezTo>
                    <a:cubicBezTo>
                      <a:pt x="40" y="2"/>
                      <a:pt x="40" y="2"/>
                      <a:pt x="40" y="2"/>
                    </a:cubicBezTo>
                    <a:cubicBezTo>
                      <a:pt x="39" y="3"/>
                      <a:pt x="39" y="3"/>
                      <a:pt x="38" y="4"/>
                    </a:cubicBezTo>
                    <a:cubicBezTo>
                      <a:pt x="37" y="4"/>
                      <a:pt x="37" y="4"/>
                      <a:pt x="37" y="4"/>
                    </a:cubicBezTo>
                    <a:cubicBezTo>
                      <a:pt x="37" y="5"/>
                      <a:pt x="36" y="5"/>
                      <a:pt x="36" y="6"/>
                    </a:cubicBezTo>
                    <a:cubicBezTo>
                      <a:pt x="35" y="7"/>
                      <a:pt x="34" y="7"/>
                      <a:pt x="33" y="8"/>
                    </a:cubicBezTo>
                    <a:cubicBezTo>
                      <a:pt x="30" y="10"/>
                      <a:pt x="28" y="11"/>
                      <a:pt x="27" y="12"/>
                    </a:cubicBezTo>
                    <a:cubicBezTo>
                      <a:pt x="26" y="12"/>
                      <a:pt x="26" y="12"/>
                      <a:pt x="26" y="12"/>
                    </a:cubicBezTo>
                    <a:cubicBezTo>
                      <a:pt x="25" y="12"/>
                      <a:pt x="25" y="12"/>
                      <a:pt x="25" y="12"/>
                    </a:cubicBezTo>
                    <a:cubicBezTo>
                      <a:pt x="24" y="11"/>
                      <a:pt x="22" y="10"/>
                      <a:pt x="22" y="10"/>
                    </a:cubicBezTo>
                    <a:cubicBezTo>
                      <a:pt x="21" y="10"/>
                      <a:pt x="21" y="10"/>
                      <a:pt x="21" y="10"/>
                    </a:cubicBezTo>
                    <a:cubicBezTo>
                      <a:pt x="20" y="10"/>
                      <a:pt x="20" y="10"/>
                      <a:pt x="20" y="10"/>
                    </a:cubicBezTo>
                    <a:cubicBezTo>
                      <a:pt x="20" y="10"/>
                      <a:pt x="19" y="10"/>
                      <a:pt x="19" y="10"/>
                    </a:cubicBezTo>
                    <a:cubicBezTo>
                      <a:pt x="18" y="10"/>
                      <a:pt x="18" y="10"/>
                      <a:pt x="18" y="10"/>
                    </a:cubicBezTo>
                    <a:cubicBezTo>
                      <a:pt x="18" y="10"/>
                      <a:pt x="18" y="10"/>
                      <a:pt x="18" y="10"/>
                    </a:cubicBezTo>
                    <a:cubicBezTo>
                      <a:pt x="16" y="10"/>
                      <a:pt x="15" y="10"/>
                      <a:pt x="15" y="9"/>
                    </a:cubicBezTo>
                    <a:cubicBezTo>
                      <a:pt x="14" y="9"/>
                      <a:pt x="13" y="9"/>
                      <a:pt x="11" y="8"/>
                    </a:cubicBezTo>
                    <a:cubicBezTo>
                      <a:pt x="11" y="8"/>
                      <a:pt x="11" y="8"/>
                      <a:pt x="11" y="8"/>
                    </a:cubicBezTo>
                    <a:cubicBezTo>
                      <a:pt x="10" y="8"/>
                      <a:pt x="10" y="8"/>
                      <a:pt x="10" y="8"/>
                    </a:cubicBezTo>
                    <a:cubicBezTo>
                      <a:pt x="9" y="8"/>
                      <a:pt x="8" y="7"/>
                      <a:pt x="7" y="7"/>
                    </a:cubicBezTo>
                    <a:cubicBezTo>
                      <a:pt x="5" y="7"/>
                      <a:pt x="5" y="7"/>
                      <a:pt x="5" y="7"/>
                    </a:cubicBezTo>
                    <a:cubicBezTo>
                      <a:pt x="4" y="7"/>
                      <a:pt x="4" y="7"/>
                      <a:pt x="4" y="7"/>
                    </a:cubicBezTo>
                    <a:cubicBezTo>
                      <a:pt x="3" y="9"/>
                      <a:pt x="2" y="10"/>
                      <a:pt x="0" y="11"/>
                    </a:cubicBezTo>
                    <a:cubicBezTo>
                      <a:pt x="1" y="12"/>
                      <a:pt x="2" y="12"/>
                      <a:pt x="2" y="12"/>
                    </a:cubicBezTo>
                    <a:cubicBezTo>
                      <a:pt x="7" y="15"/>
                      <a:pt x="7" y="15"/>
                      <a:pt x="7" y="15"/>
                    </a:cubicBezTo>
                    <a:cubicBezTo>
                      <a:pt x="3" y="18"/>
                      <a:pt x="3" y="18"/>
                      <a:pt x="3" y="18"/>
                    </a:cubicBezTo>
                    <a:cubicBezTo>
                      <a:pt x="3" y="19"/>
                      <a:pt x="3" y="19"/>
                      <a:pt x="3" y="19"/>
                    </a:cubicBezTo>
                    <a:cubicBezTo>
                      <a:pt x="2" y="19"/>
                      <a:pt x="2" y="19"/>
                      <a:pt x="2" y="19"/>
                    </a:cubicBezTo>
                    <a:cubicBezTo>
                      <a:pt x="1" y="20"/>
                      <a:pt x="1" y="20"/>
                      <a:pt x="1" y="20"/>
                    </a:cubicBezTo>
                    <a:cubicBezTo>
                      <a:pt x="2" y="21"/>
                      <a:pt x="2" y="21"/>
                      <a:pt x="2" y="22"/>
                    </a:cubicBezTo>
                    <a:cubicBezTo>
                      <a:pt x="3" y="23"/>
                      <a:pt x="3" y="24"/>
                      <a:pt x="3" y="25"/>
                    </a:cubicBezTo>
                    <a:cubicBezTo>
                      <a:pt x="3" y="25"/>
                      <a:pt x="3" y="26"/>
                      <a:pt x="2" y="26"/>
                    </a:cubicBezTo>
                    <a:cubicBezTo>
                      <a:pt x="2" y="26"/>
                      <a:pt x="2" y="26"/>
                      <a:pt x="2" y="26"/>
                    </a:cubicBezTo>
                    <a:cubicBezTo>
                      <a:pt x="3" y="27"/>
                      <a:pt x="4" y="27"/>
                      <a:pt x="5" y="28"/>
                    </a:cubicBezTo>
                    <a:cubicBezTo>
                      <a:pt x="6" y="28"/>
                      <a:pt x="7" y="29"/>
                      <a:pt x="8" y="30"/>
                    </a:cubicBezTo>
                    <a:cubicBezTo>
                      <a:pt x="8" y="31"/>
                      <a:pt x="8" y="31"/>
                      <a:pt x="9" y="31"/>
                    </a:cubicBezTo>
                    <a:cubicBezTo>
                      <a:pt x="9" y="32"/>
                      <a:pt x="9" y="32"/>
                      <a:pt x="10" y="32"/>
                    </a:cubicBezTo>
                    <a:cubicBezTo>
                      <a:pt x="11" y="33"/>
                      <a:pt x="11" y="35"/>
                      <a:pt x="11" y="36"/>
                    </a:cubicBezTo>
                    <a:cubicBezTo>
                      <a:pt x="11" y="36"/>
                      <a:pt x="11" y="36"/>
                      <a:pt x="11" y="36"/>
                    </a:cubicBezTo>
                    <a:cubicBezTo>
                      <a:pt x="12" y="36"/>
                      <a:pt x="12" y="36"/>
                      <a:pt x="13" y="36"/>
                    </a:cubicBezTo>
                    <a:cubicBezTo>
                      <a:pt x="13" y="37"/>
                      <a:pt x="14" y="37"/>
                      <a:pt x="15" y="37"/>
                    </a:cubicBezTo>
                    <a:cubicBezTo>
                      <a:pt x="18" y="37"/>
                      <a:pt x="22" y="34"/>
                      <a:pt x="23" y="32"/>
                    </a:cubicBezTo>
                    <a:cubicBezTo>
                      <a:pt x="25" y="28"/>
                      <a:pt x="25" y="28"/>
                      <a:pt x="25" y="28"/>
                    </a:cubicBezTo>
                    <a:cubicBezTo>
                      <a:pt x="29" y="31"/>
                      <a:pt x="29" y="31"/>
                      <a:pt x="29" y="31"/>
                    </a:cubicBezTo>
                    <a:cubicBezTo>
                      <a:pt x="29" y="32"/>
                      <a:pt x="30" y="32"/>
                      <a:pt x="30" y="33"/>
                    </a:cubicBezTo>
                    <a:cubicBezTo>
                      <a:pt x="31" y="33"/>
                      <a:pt x="31" y="33"/>
                      <a:pt x="31" y="33"/>
                    </a:cubicBezTo>
                    <a:cubicBezTo>
                      <a:pt x="32" y="34"/>
                      <a:pt x="33" y="35"/>
                      <a:pt x="33" y="36"/>
                    </a:cubicBezTo>
                    <a:cubicBezTo>
                      <a:pt x="34" y="36"/>
                      <a:pt x="35" y="36"/>
                      <a:pt x="36" y="36"/>
                    </a:cubicBezTo>
                    <a:cubicBezTo>
                      <a:pt x="36" y="36"/>
                      <a:pt x="36" y="36"/>
                      <a:pt x="36" y="36"/>
                    </a:cubicBezTo>
                    <a:cubicBezTo>
                      <a:pt x="37" y="36"/>
                      <a:pt x="37" y="36"/>
                      <a:pt x="37" y="36"/>
                    </a:cubicBezTo>
                    <a:cubicBezTo>
                      <a:pt x="37" y="36"/>
                      <a:pt x="38" y="36"/>
                      <a:pt x="39" y="36"/>
                    </a:cubicBezTo>
                    <a:cubicBezTo>
                      <a:pt x="40" y="36"/>
                      <a:pt x="40" y="36"/>
                      <a:pt x="40" y="36"/>
                    </a:cubicBezTo>
                    <a:cubicBezTo>
                      <a:pt x="41" y="36"/>
                      <a:pt x="42" y="37"/>
                      <a:pt x="43" y="37"/>
                    </a:cubicBezTo>
                    <a:cubicBezTo>
                      <a:pt x="43" y="37"/>
                      <a:pt x="43" y="37"/>
                      <a:pt x="43" y="37"/>
                    </a:cubicBezTo>
                    <a:cubicBezTo>
                      <a:pt x="43" y="37"/>
                      <a:pt x="44" y="36"/>
                      <a:pt x="44" y="36"/>
                    </a:cubicBezTo>
                    <a:cubicBezTo>
                      <a:pt x="44" y="36"/>
                      <a:pt x="44" y="35"/>
                      <a:pt x="44" y="35"/>
                    </a:cubicBezTo>
                    <a:cubicBezTo>
                      <a:pt x="39" y="33"/>
                      <a:pt x="39" y="33"/>
                      <a:pt x="39" y="33"/>
                    </a:cubicBezTo>
                    <a:cubicBezTo>
                      <a:pt x="44" y="29"/>
                      <a:pt x="44" y="29"/>
                      <a:pt x="44" y="29"/>
                    </a:cubicBezTo>
                    <a:cubicBezTo>
                      <a:pt x="46" y="28"/>
                      <a:pt x="47" y="27"/>
                      <a:pt x="49" y="26"/>
                    </a:cubicBezTo>
                    <a:cubicBezTo>
                      <a:pt x="51" y="25"/>
                      <a:pt x="52" y="24"/>
                      <a:pt x="54" y="22"/>
                    </a:cubicBezTo>
                    <a:cubicBezTo>
                      <a:pt x="55" y="22"/>
                      <a:pt x="55" y="22"/>
                      <a:pt x="55" y="22"/>
                    </a:cubicBezTo>
                    <a:cubicBezTo>
                      <a:pt x="54" y="21"/>
                      <a:pt x="53" y="20"/>
                      <a:pt x="53" y="19"/>
                    </a:cubicBezTo>
                    <a:cubicBezTo>
                      <a:pt x="52" y="17"/>
                      <a:pt x="53" y="15"/>
                      <a:pt x="54" y="13"/>
                    </a:cubicBezTo>
                    <a:cubicBezTo>
                      <a:pt x="55" y="12"/>
                      <a:pt x="55" y="12"/>
                      <a:pt x="55" y="12"/>
                    </a:cubicBezTo>
                    <a:cubicBezTo>
                      <a:pt x="55" y="12"/>
                      <a:pt x="56" y="11"/>
                      <a:pt x="57" y="11"/>
                    </a:cubicBezTo>
                    <a:cubicBezTo>
                      <a:pt x="57" y="10"/>
                      <a:pt x="57" y="10"/>
                      <a:pt x="57" y="10"/>
                    </a:cubicBezTo>
                    <a:cubicBezTo>
                      <a:pt x="58" y="10"/>
                      <a:pt x="59" y="10"/>
                      <a:pt x="59" y="10"/>
                    </a:cubicBezTo>
                    <a:cubicBezTo>
                      <a:pt x="60" y="10"/>
                      <a:pt x="60" y="9"/>
                      <a:pt x="61" y="9"/>
                    </a:cubicBezTo>
                    <a:cubicBezTo>
                      <a:pt x="62" y="9"/>
                      <a:pt x="62" y="9"/>
                      <a:pt x="62" y="9"/>
                    </a:cubicBezTo>
                    <a:cubicBezTo>
                      <a:pt x="63" y="9"/>
                      <a:pt x="63" y="9"/>
                      <a:pt x="64" y="9"/>
                    </a:cubicBezTo>
                    <a:cubicBezTo>
                      <a:pt x="64" y="8"/>
                      <a:pt x="65" y="8"/>
                      <a:pt x="65" y="8"/>
                    </a:cubicBezTo>
                    <a:cubicBezTo>
                      <a:pt x="65" y="8"/>
                      <a:pt x="65" y="8"/>
                      <a:pt x="65" y="8"/>
                    </a:cubicBezTo>
                    <a:cubicBezTo>
                      <a:pt x="66" y="7"/>
                      <a:pt x="66" y="7"/>
                      <a:pt x="66" y="7"/>
                    </a:cubicBezTo>
                    <a:cubicBezTo>
                      <a:pt x="66" y="6"/>
                      <a:pt x="67" y="5"/>
                      <a:pt x="68" y="5"/>
                    </a:cubicBezTo>
                    <a:cubicBezTo>
                      <a:pt x="69" y="5"/>
                      <a:pt x="70" y="4"/>
                      <a:pt x="71" y="4"/>
                    </a:cubicBezTo>
                    <a:cubicBezTo>
                      <a:pt x="71" y="4"/>
                      <a:pt x="71" y="3"/>
                      <a:pt x="71" y="3"/>
                    </a:cubicBezTo>
                    <a:cubicBezTo>
                      <a:pt x="67" y="2"/>
                      <a:pt x="67" y="2"/>
                      <a:pt x="67" y="2"/>
                    </a:cubicBezTo>
                    <a:cubicBezTo>
                      <a:pt x="66" y="2"/>
                      <a:pt x="65" y="1"/>
                      <a:pt x="64" y="1"/>
                    </a:cubicBezTo>
                    <a:cubicBezTo>
                      <a:pt x="63" y="1"/>
                      <a:pt x="63" y="1"/>
                      <a:pt x="63" y="1"/>
                    </a:cubicBezTo>
                    <a:cubicBezTo>
                      <a:pt x="62" y="0"/>
                      <a:pt x="61" y="0"/>
                      <a:pt x="61" y="0"/>
                    </a:cubicBezTo>
                    <a:cubicBezTo>
                      <a:pt x="60" y="0"/>
                      <a:pt x="60" y="0"/>
                      <a:pt x="6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281"/>
              <p:cNvSpPr/>
              <p:nvPr/>
            </p:nvSpPr>
            <p:spPr bwMode="auto">
              <a:xfrm>
                <a:off x="5811428" y="4366863"/>
                <a:ext cx="14740" cy="22111"/>
              </a:xfrm>
              <a:custGeom>
                <a:gdLst>
                  <a:gd name="T0" fmla="*/ 2 w 4"/>
                  <a:gd name="T1" fmla="*/ 0 h 6"/>
                  <a:gd name="T2" fmla="*/ 1 w 4"/>
                  <a:gd name="T3" fmla="*/ 0 h 6"/>
                  <a:gd name="T4" fmla="*/ 0 w 4"/>
                  <a:gd name="T5" fmla="*/ 0 h 6"/>
                  <a:gd name="T6" fmla="*/ 0 w 4"/>
                  <a:gd name="T7" fmla="*/ 0 h 6"/>
                  <a:gd name="T8" fmla="*/ 0 w 4"/>
                  <a:gd name="T9" fmla="*/ 0 h 6"/>
                  <a:gd name="T10" fmla="*/ 0 w 4"/>
                  <a:gd name="T11" fmla="*/ 2 h 6"/>
                  <a:gd name="T12" fmla="*/ 2 w 4"/>
                  <a:gd name="T13" fmla="*/ 6 h 6"/>
                  <a:gd name="T14" fmla="*/ 3 w 4"/>
                  <a:gd name="T15" fmla="*/ 5 h 6"/>
                  <a:gd name="T16" fmla="*/ 4 w 4"/>
                  <a:gd name="T17" fmla="*/ 5 h 6"/>
                  <a:gd name="T18" fmla="*/ 3 w 4"/>
                  <a:gd name="T19" fmla="*/ 4 h 6"/>
                  <a:gd name="T20" fmla="*/ 2 w 4"/>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0"/>
                    </a:moveTo>
                    <a:cubicBezTo>
                      <a:pt x="1" y="0"/>
                      <a:pt x="1" y="0"/>
                      <a:pt x="1" y="0"/>
                    </a:cubicBezTo>
                    <a:cubicBezTo>
                      <a:pt x="0" y="0"/>
                      <a:pt x="0" y="0"/>
                      <a:pt x="0" y="0"/>
                    </a:cubicBezTo>
                    <a:cubicBezTo>
                      <a:pt x="0" y="0"/>
                      <a:pt x="0" y="0"/>
                      <a:pt x="0" y="0"/>
                    </a:cubicBezTo>
                    <a:cubicBezTo>
                      <a:pt x="0" y="0"/>
                      <a:pt x="0" y="0"/>
                      <a:pt x="0" y="0"/>
                    </a:cubicBezTo>
                    <a:cubicBezTo>
                      <a:pt x="0" y="0"/>
                      <a:pt x="0" y="1"/>
                      <a:pt x="0" y="2"/>
                    </a:cubicBezTo>
                    <a:cubicBezTo>
                      <a:pt x="2" y="6"/>
                      <a:pt x="2" y="6"/>
                      <a:pt x="2" y="6"/>
                    </a:cubicBezTo>
                    <a:cubicBezTo>
                      <a:pt x="2" y="5"/>
                      <a:pt x="2" y="5"/>
                      <a:pt x="3" y="5"/>
                    </a:cubicBezTo>
                    <a:cubicBezTo>
                      <a:pt x="4" y="5"/>
                      <a:pt x="4" y="5"/>
                      <a:pt x="4" y="5"/>
                    </a:cubicBezTo>
                    <a:cubicBezTo>
                      <a:pt x="3" y="4"/>
                      <a:pt x="3" y="4"/>
                      <a:pt x="3" y="4"/>
                    </a:cubicBezTo>
                    <a:cubicBezTo>
                      <a:pt x="3"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282"/>
              <p:cNvSpPr/>
              <p:nvPr/>
            </p:nvSpPr>
            <p:spPr bwMode="auto">
              <a:xfrm>
                <a:off x="6062016" y="4554804"/>
                <a:ext cx="3685" cy="14740"/>
              </a:xfrm>
              <a:custGeom>
                <a:gdLst>
                  <a:gd name="T0" fmla="*/ 1 w 1"/>
                  <a:gd name="T1" fmla="*/ 0 h 4"/>
                  <a:gd name="T2" fmla="*/ 0 w 1"/>
                  <a:gd name="T3" fmla="*/ 3 h 4"/>
                  <a:gd name="T4" fmla="*/ 1 w 1"/>
                  <a:gd name="T5" fmla="*/ 4 h 4"/>
                  <a:gd name="T6" fmla="*/ 1 w 1"/>
                  <a:gd name="T7" fmla="*/ 4 h 4"/>
                  <a:gd name="T8" fmla="*/ 1 w 1"/>
                  <a:gd name="T9" fmla="*/ 0 h 4"/>
                </a:gdLst>
                <a:cxnLst>
                  <a:cxn ang="0">
                    <a:pos x="T0" y="T1"/>
                  </a:cxn>
                  <a:cxn ang="0">
                    <a:pos x="T2" y="T3"/>
                  </a:cxn>
                  <a:cxn ang="0">
                    <a:pos x="T4" y="T5"/>
                  </a:cxn>
                  <a:cxn ang="0">
                    <a:pos x="T6" y="T7"/>
                  </a:cxn>
                  <a:cxn ang="0">
                    <a:pos x="T8" y="T9"/>
                  </a:cxn>
                </a:cxnLst>
                <a:rect l="0" t="0" r="r" b="b"/>
                <a:pathLst>
                  <a:path w="1" h="4">
                    <a:moveTo>
                      <a:pt x="1" y="0"/>
                    </a:moveTo>
                    <a:cubicBezTo>
                      <a:pt x="0" y="3"/>
                      <a:pt x="0" y="3"/>
                      <a:pt x="0" y="3"/>
                    </a:cubicBezTo>
                    <a:cubicBezTo>
                      <a:pt x="0" y="4"/>
                      <a:pt x="1" y="4"/>
                      <a:pt x="1" y="4"/>
                    </a:cubicBezTo>
                    <a:cubicBezTo>
                      <a:pt x="1" y="4"/>
                      <a:pt x="1" y="4"/>
                      <a:pt x="1" y="4"/>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Rectangle 283"/>
              <p:cNvSpPr>
                <a:spLocks noChangeArrowheads="1"/>
              </p:cNvSpPr>
              <p:nvPr/>
            </p:nvSpPr>
            <p:spPr bwMode="auto">
              <a:xfrm>
                <a:off x="6076756" y="45400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Rectangle 284"/>
              <p:cNvSpPr>
                <a:spLocks noChangeArrowheads="1"/>
              </p:cNvSpPr>
              <p:nvPr/>
            </p:nvSpPr>
            <p:spPr bwMode="auto">
              <a:xfrm>
                <a:off x="6076756" y="45400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285"/>
              <p:cNvSpPr/>
              <p:nvPr/>
            </p:nvSpPr>
            <p:spPr bwMode="auto">
              <a:xfrm>
                <a:off x="5575580" y="4407399"/>
                <a:ext cx="501176" cy="379567"/>
              </a:xfrm>
              <a:custGeom>
                <a:gdLst>
                  <a:gd name="T0" fmla="*/ 83 w 158"/>
                  <a:gd name="T1" fmla="*/ 5 h 120"/>
                  <a:gd name="T2" fmla="*/ 77 w 158"/>
                  <a:gd name="T3" fmla="*/ 5 h 120"/>
                  <a:gd name="T4" fmla="*/ 72 w 158"/>
                  <a:gd name="T5" fmla="*/ 8 h 120"/>
                  <a:gd name="T6" fmla="*/ 65 w 158"/>
                  <a:gd name="T7" fmla="*/ 9 h 120"/>
                  <a:gd name="T8" fmla="*/ 64 w 158"/>
                  <a:gd name="T9" fmla="*/ 10 h 120"/>
                  <a:gd name="T10" fmla="*/ 66 w 158"/>
                  <a:gd name="T11" fmla="*/ 15 h 120"/>
                  <a:gd name="T12" fmla="*/ 56 w 158"/>
                  <a:gd name="T13" fmla="*/ 25 h 120"/>
                  <a:gd name="T14" fmla="*/ 55 w 158"/>
                  <a:gd name="T15" fmla="*/ 32 h 120"/>
                  <a:gd name="T16" fmla="*/ 50 w 158"/>
                  <a:gd name="T17" fmla="*/ 37 h 120"/>
                  <a:gd name="T18" fmla="*/ 47 w 158"/>
                  <a:gd name="T19" fmla="*/ 37 h 120"/>
                  <a:gd name="T20" fmla="*/ 40 w 158"/>
                  <a:gd name="T21" fmla="*/ 36 h 120"/>
                  <a:gd name="T22" fmla="*/ 35 w 158"/>
                  <a:gd name="T23" fmla="*/ 35 h 120"/>
                  <a:gd name="T24" fmla="*/ 14 w 158"/>
                  <a:gd name="T25" fmla="*/ 36 h 120"/>
                  <a:gd name="T26" fmla="*/ 2 w 158"/>
                  <a:gd name="T27" fmla="*/ 37 h 120"/>
                  <a:gd name="T28" fmla="*/ 3 w 158"/>
                  <a:gd name="T29" fmla="*/ 42 h 120"/>
                  <a:gd name="T30" fmla="*/ 8 w 158"/>
                  <a:gd name="T31" fmla="*/ 55 h 120"/>
                  <a:gd name="T32" fmla="*/ 19 w 158"/>
                  <a:gd name="T33" fmla="*/ 50 h 120"/>
                  <a:gd name="T34" fmla="*/ 30 w 158"/>
                  <a:gd name="T35" fmla="*/ 42 h 120"/>
                  <a:gd name="T36" fmla="*/ 46 w 158"/>
                  <a:gd name="T37" fmla="*/ 68 h 120"/>
                  <a:gd name="T38" fmla="*/ 48 w 158"/>
                  <a:gd name="T39" fmla="*/ 76 h 120"/>
                  <a:gd name="T40" fmla="*/ 61 w 158"/>
                  <a:gd name="T41" fmla="*/ 91 h 120"/>
                  <a:gd name="T42" fmla="*/ 75 w 158"/>
                  <a:gd name="T43" fmla="*/ 102 h 120"/>
                  <a:gd name="T44" fmla="*/ 81 w 158"/>
                  <a:gd name="T45" fmla="*/ 101 h 120"/>
                  <a:gd name="T46" fmla="*/ 113 w 158"/>
                  <a:gd name="T47" fmla="*/ 120 h 120"/>
                  <a:gd name="T48" fmla="*/ 105 w 158"/>
                  <a:gd name="T49" fmla="*/ 107 h 120"/>
                  <a:gd name="T50" fmla="*/ 88 w 158"/>
                  <a:gd name="T51" fmla="*/ 92 h 120"/>
                  <a:gd name="T52" fmla="*/ 79 w 158"/>
                  <a:gd name="T53" fmla="*/ 84 h 120"/>
                  <a:gd name="T54" fmla="*/ 72 w 158"/>
                  <a:gd name="T55" fmla="*/ 73 h 120"/>
                  <a:gd name="T56" fmla="*/ 69 w 158"/>
                  <a:gd name="T57" fmla="*/ 65 h 120"/>
                  <a:gd name="T58" fmla="*/ 62 w 158"/>
                  <a:gd name="T59" fmla="*/ 60 h 120"/>
                  <a:gd name="T60" fmla="*/ 61 w 158"/>
                  <a:gd name="T61" fmla="*/ 50 h 120"/>
                  <a:gd name="T62" fmla="*/ 68 w 158"/>
                  <a:gd name="T63" fmla="*/ 39 h 120"/>
                  <a:gd name="T64" fmla="*/ 73 w 158"/>
                  <a:gd name="T65" fmla="*/ 40 h 120"/>
                  <a:gd name="T66" fmla="*/ 86 w 158"/>
                  <a:gd name="T67" fmla="*/ 39 h 120"/>
                  <a:gd name="T68" fmla="*/ 92 w 158"/>
                  <a:gd name="T69" fmla="*/ 39 h 120"/>
                  <a:gd name="T70" fmla="*/ 94 w 158"/>
                  <a:gd name="T71" fmla="*/ 39 h 120"/>
                  <a:gd name="T72" fmla="*/ 99 w 158"/>
                  <a:gd name="T73" fmla="*/ 38 h 120"/>
                  <a:gd name="T74" fmla="*/ 101 w 158"/>
                  <a:gd name="T75" fmla="*/ 39 h 120"/>
                  <a:gd name="T76" fmla="*/ 141 w 158"/>
                  <a:gd name="T77" fmla="*/ 44 h 120"/>
                  <a:gd name="T78" fmla="*/ 150 w 158"/>
                  <a:gd name="T79" fmla="*/ 47 h 120"/>
                  <a:gd name="T80" fmla="*/ 158 w 158"/>
                  <a:gd name="T81" fmla="*/ 41 h 120"/>
                  <a:gd name="T82" fmla="*/ 151 w 158"/>
                  <a:gd name="T83" fmla="*/ 33 h 120"/>
                  <a:gd name="T84" fmla="*/ 140 w 158"/>
                  <a:gd name="T85" fmla="*/ 33 h 120"/>
                  <a:gd name="T86" fmla="*/ 133 w 158"/>
                  <a:gd name="T87" fmla="*/ 27 h 120"/>
                  <a:gd name="T88" fmla="*/ 126 w 158"/>
                  <a:gd name="T89" fmla="*/ 26 h 120"/>
                  <a:gd name="T90" fmla="*/ 112 w 158"/>
                  <a:gd name="T91" fmla="*/ 21 h 120"/>
                  <a:gd name="T92" fmla="*/ 109 w 158"/>
                  <a:gd name="T93" fmla="*/ 19 h 120"/>
                  <a:gd name="T94" fmla="*/ 86 w 158"/>
                  <a:gd name="T95" fmla="*/ 1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 h="120">
                    <a:moveTo>
                      <a:pt x="82" y="0"/>
                    </a:moveTo>
                    <a:cubicBezTo>
                      <a:pt x="82" y="0"/>
                      <a:pt x="82" y="0"/>
                      <a:pt x="82" y="0"/>
                    </a:cubicBezTo>
                    <a:cubicBezTo>
                      <a:pt x="83" y="5"/>
                      <a:pt x="83" y="5"/>
                      <a:pt x="83" y="5"/>
                    </a:cubicBezTo>
                    <a:cubicBezTo>
                      <a:pt x="79" y="5"/>
                      <a:pt x="79" y="5"/>
                      <a:pt x="79" y="5"/>
                    </a:cubicBezTo>
                    <a:cubicBezTo>
                      <a:pt x="79" y="5"/>
                      <a:pt x="79" y="5"/>
                      <a:pt x="79" y="5"/>
                    </a:cubicBezTo>
                    <a:cubicBezTo>
                      <a:pt x="78" y="5"/>
                      <a:pt x="78" y="5"/>
                      <a:pt x="77" y="5"/>
                    </a:cubicBezTo>
                    <a:cubicBezTo>
                      <a:pt x="76" y="5"/>
                      <a:pt x="76" y="5"/>
                      <a:pt x="76" y="5"/>
                    </a:cubicBezTo>
                    <a:cubicBezTo>
                      <a:pt x="76" y="5"/>
                      <a:pt x="76" y="5"/>
                      <a:pt x="76" y="5"/>
                    </a:cubicBezTo>
                    <a:cubicBezTo>
                      <a:pt x="74" y="6"/>
                      <a:pt x="73" y="7"/>
                      <a:pt x="72" y="8"/>
                    </a:cubicBezTo>
                    <a:cubicBezTo>
                      <a:pt x="71" y="8"/>
                      <a:pt x="71" y="8"/>
                      <a:pt x="70" y="8"/>
                    </a:cubicBezTo>
                    <a:cubicBezTo>
                      <a:pt x="69" y="9"/>
                      <a:pt x="68" y="9"/>
                      <a:pt x="67" y="9"/>
                    </a:cubicBezTo>
                    <a:cubicBezTo>
                      <a:pt x="65" y="9"/>
                      <a:pt x="65" y="9"/>
                      <a:pt x="65" y="9"/>
                    </a:cubicBezTo>
                    <a:cubicBezTo>
                      <a:pt x="64" y="10"/>
                      <a:pt x="64" y="10"/>
                      <a:pt x="64" y="10"/>
                    </a:cubicBezTo>
                    <a:cubicBezTo>
                      <a:pt x="64" y="10"/>
                      <a:pt x="64" y="10"/>
                      <a:pt x="64" y="10"/>
                    </a:cubicBezTo>
                    <a:cubicBezTo>
                      <a:pt x="64" y="10"/>
                      <a:pt x="64" y="10"/>
                      <a:pt x="64" y="10"/>
                    </a:cubicBezTo>
                    <a:cubicBezTo>
                      <a:pt x="65" y="10"/>
                      <a:pt x="66" y="12"/>
                      <a:pt x="66" y="13"/>
                    </a:cubicBezTo>
                    <a:cubicBezTo>
                      <a:pt x="66" y="14"/>
                      <a:pt x="66" y="14"/>
                      <a:pt x="66" y="14"/>
                    </a:cubicBezTo>
                    <a:cubicBezTo>
                      <a:pt x="66" y="15"/>
                      <a:pt x="66" y="15"/>
                      <a:pt x="66" y="15"/>
                    </a:cubicBezTo>
                    <a:cubicBezTo>
                      <a:pt x="66" y="17"/>
                      <a:pt x="65" y="18"/>
                      <a:pt x="63" y="20"/>
                    </a:cubicBezTo>
                    <a:cubicBezTo>
                      <a:pt x="61" y="23"/>
                      <a:pt x="58" y="24"/>
                      <a:pt x="56" y="25"/>
                    </a:cubicBezTo>
                    <a:cubicBezTo>
                      <a:pt x="56" y="25"/>
                      <a:pt x="56" y="25"/>
                      <a:pt x="56" y="25"/>
                    </a:cubicBezTo>
                    <a:cubicBezTo>
                      <a:pt x="56" y="26"/>
                      <a:pt x="56" y="26"/>
                      <a:pt x="56" y="26"/>
                    </a:cubicBezTo>
                    <a:cubicBezTo>
                      <a:pt x="57" y="28"/>
                      <a:pt x="55" y="30"/>
                      <a:pt x="55" y="31"/>
                    </a:cubicBezTo>
                    <a:cubicBezTo>
                      <a:pt x="55" y="31"/>
                      <a:pt x="55" y="32"/>
                      <a:pt x="55" y="32"/>
                    </a:cubicBezTo>
                    <a:cubicBezTo>
                      <a:pt x="55" y="34"/>
                      <a:pt x="54" y="36"/>
                      <a:pt x="53" y="36"/>
                    </a:cubicBezTo>
                    <a:cubicBezTo>
                      <a:pt x="52" y="37"/>
                      <a:pt x="52" y="37"/>
                      <a:pt x="52" y="37"/>
                    </a:cubicBezTo>
                    <a:cubicBezTo>
                      <a:pt x="50" y="37"/>
                      <a:pt x="50" y="37"/>
                      <a:pt x="50" y="37"/>
                    </a:cubicBezTo>
                    <a:cubicBezTo>
                      <a:pt x="50" y="38"/>
                      <a:pt x="50" y="38"/>
                      <a:pt x="49" y="38"/>
                    </a:cubicBezTo>
                    <a:cubicBezTo>
                      <a:pt x="49" y="38"/>
                      <a:pt x="48" y="38"/>
                      <a:pt x="48" y="37"/>
                    </a:cubicBezTo>
                    <a:cubicBezTo>
                      <a:pt x="47" y="37"/>
                      <a:pt x="47" y="37"/>
                      <a:pt x="47" y="37"/>
                    </a:cubicBezTo>
                    <a:cubicBezTo>
                      <a:pt x="46" y="37"/>
                      <a:pt x="46" y="37"/>
                      <a:pt x="46" y="37"/>
                    </a:cubicBezTo>
                    <a:cubicBezTo>
                      <a:pt x="45" y="37"/>
                      <a:pt x="44" y="37"/>
                      <a:pt x="44" y="36"/>
                    </a:cubicBezTo>
                    <a:cubicBezTo>
                      <a:pt x="43" y="36"/>
                      <a:pt x="42" y="36"/>
                      <a:pt x="40" y="36"/>
                    </a:cubicBezTo>
                    <a:cubicBezTo>
                      <a:pt x="40" y="36"/>
                      <a:pt x="39" y="36"/>
                      <a:pt x="38" y="36"/>
                    </a:cubicBezTo>
                    <a:cubicBezTo>
                      <a:pt x="38" y="36"/>
                      <a:pt x="37" y="36"/>
                      <a:pt x="37" y="36"/>
                    </a:cubicBezTo>
                    <a:cubicBezTo>
                      <a:pt x="36" y="36"/>
                      <a:pt x="35" y="36"/>
                      <a:pt x="35" y="35"/>
                    </a:cubicBezTo>
                    <a:cubicBezTo>
                      <a:pt x="33" y="34"/>
                      <a:pt x="31" y="33"/>
                      <a:pt x="30" y="32"/>
                    </a:cubicBezTo>
                    <a:cubicBezTo>
                      <a:pt x="27" y="35"/>
                      <a:pt x="23" y="37"/>
                      <a:pt x="19" y="37"/>
                    </a:cubicBezTo>
                    <a:cubicBezTo>
                      <a:pt x="17" y="37"/>
                      <a:pt x="16" y="36"/>
                      <a:pt x="14" y="36"/>
                    </a:cubicBezTo>
                    <a:cubicBezTo>
                      <a:pt x="14" y="36"/>
                      <a:pt x="14" y="36"/>
                      <a:pt x="13" y="36"/>
                    </a:cubicBezTo>
                    <a:cubicBezTo>
                      <a:pt x="11" y="36"/>
                      <a:pt x="7" y="36"/>
                      <a:pt x="4" y="37"/>
                    </a:cubicBezTo>
                    <a:cubicBezTo>
                      <a:pt x="2" y="37"/>
                      <a:pt x="2" y="37"/>
                      <a:pt x="2" y="37"/>
                    </a:cubicBezTo>
                    <a:cubicBezTo>
                      <a:pt x="2" y="35"/>
                      <a:pt x="2" y="35"/>
                      <a:pt x="2" y="35"/>
                    </a:cubicBezTo>
                    <a:cubicBezTo>
                      <a:pt x="1" y="35"/>
                      <a:pt x="1" y="35"/>
                      <a:pt x="1" y="35"/>
                    </a:cubicBezTo>
                    <a:cubicBezTo>
                      <a:pt x="0" y="38"/>
                      <a:pt x="2" y="40"/>
                      <a:pt x="3" y="42"/>
                    </a:cubicBezTo>
                    <a:cubicBezTo>
                      <a:pt x="3" y="44"/>
                      <a:pt x="3" y="45"/>
                      <a:pt x="4" y="47"/>
                    </a:cubicBezTo>
                    <a:cubicBezTo>
                      <a:pt x="5" y="50"/>
                      <a:pt x="8" y="52"/>
                      <a:pt x="9" y="55"/>
                    </a:cubicBezTo>
                    <a:cubicBezTo>
                      <a:pt x="8" y="55"/>
                      <a:pt x="8" y="55"/>
                      <a:pt x="8" y="55"/>
                    </a:cubicBezTo>
                    <a:cubicBezTo>
                      <a:pt x="9" y="56"/>
                      <a:pt x="10" y="57"/>
                      <a:pt x="11" y="58"/>
                    </a:cubicBezTo>
                    <a:cubicBezTo>
                      <a:pt x="13" y="55"/>
                      <a:pt x="14" y="49"/>
                      <a:pt x="17" y="49"/>
                    </a:cubicBezTo>
                    <a:cubicBezTo>
                      <a:pt x="17" y="49"/>
                      <a:pt x="18" y="50"/>
                      <a:pt x="19" y="50"/>
                    </a:cubicBezTo>
                    <a:cubicBezTo>
                      <a:pt x="20" y="48"/>
                      <a:pt x="20" y="41"/>
                      <a:pt x="22" y="39"/>
                    </a:cubicBezTo>
                    <a:cubicBezTo>
                      <a:pt x="23" y="39"/>
                      <a:pt x="23" y="39"/>
                      <a:pt x="24" y="39"/>
                    </a:cubicBezTo>
                    <a:cubicBezTo>
                      <a:pt x="26" y="39"/>
                      <a:pt x="28" y="41"/>
                      <a:pt x="30" y="42"/>
                    </a:cubicBezTo>
                    <a:cubicBezTo>
                      <a:pt x="30" y="42"/>
                      <a:pt x="30" y="42"/>
                      <a:pt x="30" y="42"/>
                    </a:cubicBezTo>
                    <a:cubicBezTo>
                      <a:pt x="31" y="42"/>
                      <a:pt x="39" y="48"/>
                      <a:pt x="40" y="50"/>
                    </a:cubicBezTo>
                    <a:cubicBezTo>
                      <a:pt x="41" y="57"/>
                      <a:pt x="41" y="64"/>
                      <a:pt x="46" y="68"/>
                    </a:cubicBezTo>
                    <a:cubicBezTo>
                      <a:pt x="51" y="73"/>
                      <a:pt x="57" y="75"/>
                      <a:pt x="60" y="80"/>
                    </a:cubicBezTo>
                    <a:cubicBezTo>
                      <a:pt x="59" y="80"/>
                      <a:pt x="52" y="75"/>
                      <a:pt x="49" y="75"/>
                    </a:cubicBezTo>
                    <a:cubicBezTo>
                      <a:pt x="48" y="75"/>
                      <a:pt x="48" y="75"/>
                      <a:pt x="48" y="76"/>
                    </a:cubicBezTo>
                    <a:cubicBezTo>
                      <a:pt x="47" y="76"/>
                      <a:pt x="47" y="76"/>
                      <a:pt x="47" y="76"/>
                    </a:cubicBezTo>
                    <a:cubicBezTo>
                      <a:pt x="46" y="76"/>
                      <a:pt x="48" y="79"/>
                      <a:pt x="49" y="80"/>
                    </a:cubicBezTo>
                    <a:cubicBezTo>
                      <a:pt x="52" y="84"/>
                      <a:pt x="56" y="88"/>
                      <a:pt x="61" y="91"/>
                    </a:cubicBezTo>
                    <a:cubicBezTo>
                      <a:pt x="63" y="93"/>
                      <a:pt x="69" y="95"/>
                      <a:pt x="70" y="97"/>
                    </a:cubicBezTo>
                    <a:cubicBezTo>
                      <a:pt x="71" y="101"/>
                      <a:pt x="71" y="102"/>
                      <a:pt x="73" y="102"/>
                    </a:cubicBezTo>
                    <a:cubicBezTo>
                      <a:pt x="73" y="102"/>
                      <a:pt x="74" y="102"/>
                      <a:pt x="75" y="102"/>
                    </a:cubicBezTo>
                    <a:cubicBezTo>
                      <a:pt x="76" y="102"/>
                      <a:pt x="78" y="102"/>
                      <a:pt x="79" y="101"/>
                    </a:cubicBezTo>
                    <a:cubicBezTo>
                      <a:pt x="80" y="101"/>
                      <a:pt x="80" y="101"/>
                      <a:pt x="81" y="101"/>
                    </a:cubicBezTo>
                    <a:cubicBezTo>
                      <a:pt x="81" y="101"/>
                      <a:pt x="81" y="101"/>
                      <a:pt x="81" y="101"/>
                    </a:cubicBezTo>
                    <a:cubicBezTo>
                      <a:pt x="87" y="101"/>
                      <a:pt x="92" y="106"/>
                      <a:pt x="96" y="108"/>
                    </a:cubicBezTo>
                    <a:cubicBezTo>
                      <a:pt x="100" y="111"/>
                      <a:pt x="105" y="114"/>
                      <a:pt x="109" y="117"/>
                    </a:cubicBezTo>
                    <a:cubicBezTo>
                      <a:pt x="110" y="117"/>
                      <a:pt x="112" y="119"/>
                      <a:pt x="113" y="120"/>
                    </a:cubicBezTo>
                    <a:cubicBezTo>
                      <a:pt x="113" y="119"/>
                      <a:pt x="113" y="119"/>
                      <a:pt x="113" y="119"/>
                    </a:cubicBezTo>
                    <a:cubicBezTo>
                      <a:pt x="111" y="118"/>
                      <a:pt x="110" y="117"/>
                      <a:pt x="109" y="116"/>
                    </a:cubicBezTo>
                    <a:cubicBezTo>
                      <a:pt x="105" y="107"/>
                      <a:pt x="105" y="107"/>
                      <a:pt x="105" y="107"/>
                    </a:cubicBezTo>
                    <a:cubicBezTo>
                      <a:pt x="104" y="105"/>
                      <a:pt x="102" y="103"/>
                      <a:pt x="100" y="101"/>
                    </a:cubicBezTo>
                    <a:cubicBezTo>
                      <a:pt x="99" y="101"/>
                      <a:pt x="98" y="100"/>
                      <a:pt x="97" y="99"/>
                    </a:cubicBezTo>
                    <a:cubicBezTo>
                      <a:pt x="94" y="97"/>
                      <a:pt x="91" y="94"/>
                      <a:pt x="88" y="92"/>
                    </a:cubicBezTo>
                    <a:cubicBezTo>
                      <a:pt x="87" y="91"/>
                      <a:pt x="87" y="91"/>
                      <a:pt x="87" y="91"/>
                    </a:cubicBezTo>
                    <a:cubicBezTo>
                      <a:pt x="84" y="89"/>
                      <a:pt x="82" y="87"/>
                      <a:pt x="80" y="85"/>
                    </a:cubicBezTo>
                    <a:cubicBezTo>
                      <a:pt x="79" y="84"/>
                      <a:pt x="79" y="84"/>
                      <a:pt x="79" y="84"/>
                    </a:cubicBezTo>
                    <a:cubicBezTo>
                      <a:pt x="76" y="81"/>
                      <a:pt x="74" y="78"/>
                      <a:pt x="74" y="76"/>
                    </a:cubicBezTo>
                    <a:cubicBezTo>
                      <a:pt x="73" y="75"/>
                      <a:pt x="73" y="75"/>
                      <a:pt x="73" y="75"/>
                    </a:cubicBezTo>
                    <a:cubicBezTo>
                      <a:pt x="73" y="75"/>
                      <a:pt x="73" y="74"/>
                      <a:pt x="72" y="73"/>
                    </a:cubicBezTo>
                    <a:cubicBezTo>
                      <a:pt x="72" y="71"/>
                      <a:pt x="72" y="71"/>
                      <a:pt x="72" y="71"/>
                    </a:cubicBezTo>
                    <a:cubicBezTo>
                      <a:pt x="71" y="69"/>
                      <a:pt x="70" y="67"/>
                      <a:pt x="69" y="66"/>
                    </a:cubicBezTo>
                    <a:cubicBezTo>
                      <a:pt x="69" y="65"/>
                      <a:pt x="69" y="65"/>
                      <a:pt x="69" y="65"/>
                    </a:cubicBezTo>
                    <a:cubicBezTo>
                      <a:pt x="68" y="64"/>
                      <a:pt x="68" y="64"/>
                      <a:pt x="68" y="64"/>
                    </a:cubicBezTo>
                    <a:cubicBezTo>
                      <a:pt x="67" y="64"/>
                      <a:pt x="66" y="63"/>
                      <a:pt x="65" y="62"/>
                    </a:cubicBezTo>
                    <a:cubicBezTo>
                      <a:pt x="64" y="62"/>
                      <a:pt x="63" y="62"/>
                      <a:pt x="62" y="60"/>
                    </a:cubicBezTo>
                    <a:cubicBezTo>
                      <a:pt x="59" y="57"/>
                      <a:pt x="60" y="54"/>
                      <a:pt x="61" y="52"/>
                    </a:cubicBezTo>
                    <a:cubicBezTo>
                      <a:pt x="61" y="52"/>
                      <a:pt x="61" y="51"/>
                      <a:pt x="61" y="50"/>
                    </a:cubicBezTo>
                    <a:cubicBezTo>
                      <a:pt x="61" y="50"/>
                      <a:pt x="61" y="50"/>
                      <a:pt x="61" y="50"/>
                    </a:cubicBezTo>
                    <a:cubicBezTo>
                      <a:pt x="61" y="48"/>
                      <a:pt x="62" y="47"/>
                      <a:pt x="62" y="46"/>
                    </a:cubicBezTo>
                    <a:cubicBezTo>
                      <a:pt x="62" y="42"/>
                      <a:pt x="64" y="41"/>
                      <a:pt x="65" y="40"/>
                    </a:cubicBezTo>
                    <a:cubicBezTo>
                      <a:pt x="66" y="39"/>
                      <a:pt x="67" y="39"/>
                      <a:pt x="68" y="39"/>
                    </a:cubicBezTo>
                    <a:cubicBezTo>
                      <a:pt x="68" y="39"/>
                      <a:pt x="68" y="39"/>
                      <a:pt x="68" y="39"/>
                    </a:cubicBezTo>
                    <a:cubicBezTo>
                      <a:pt x="69" y="39"/>
                      <a:pt x="70" y="39"/>
                      <a:pt x="72" y="39"/>
                    </a:cubicBezTo>
                    <a:cubicBezTo>
                      <a:pt x="72" y="39"/>
                      <a:pt x="72" y="40"/>
                      <a:pt x="73" y="40"/>
                    </a:cubicBezTo>
                    <a:cubicBezTo>
                      <a:pt x="76" y="41"/>
                      <a:pt x="78" y="43"/>
                      <a:pt x="80" y="45"/>
                    </a:cubicBezTo>
                    <a:cubicBezTo>
                      <a:pt x="80" y="44"/>
                      <a:pt x="81" y="44"/>
                      <a:pt x="81" y="43"/>
                    </a:cubicBezTo>
                    <a:cubicBezTo>
                      <a:pt x="82" y="42"/>
                      <a:pt x="84" y="40"/>
                      <a:pt x="86" y="39"/>
                    </a:cubicBezTo>
                    <a:cubicBezTo>
                      <a:pt x="87" y="39"/>
                      <a:pt x="87" y="39"/>
                      <a:pt x="87" y="39"/>
                    </a:cubicBezTo>
                    <a:cubicBezTo>
                      <a:pt x="88" y="39"/>
                      <a:pt x="89" y="38"/>
                      <a:pt x="89" y="38"/>
                    </a:cubicBezTo>
                    <a:cubicBezTo>
                      <a:pt x="90" y="38"/>
                      <a:pt x="91" y="39"/>
                      <a:pt x="92" y="39"/>
                    </a:cubicBezTo>
                    <a:cubicBezTo>
                      <a:pt x="92" y="39"/>
                      <a:pt x="92" y="39"/>
                      <a:pt x="92" y="39"/>
                    </a:cubicBezTo>
                    <a:cubicBezTo>
                      <a:pt x="92" y="39"/>
                      <a:pt x="93" y="39"/>
                      <a:pt x="93" y="39"/>
                    </a:cubicBezTo>
                    <a:cubicBezTo>
                      <a:pt x="93" y="39"/>
                      <a:pt x="94" y="39"/>
                      <a:pt x="94" y="39"/>
                    </a:cubicBezTo>
                    <a:cubicBezTo>
                      <a:pt x="94" y="39"/>
                      <a:pt x="94" y="39"/>
                      <a:pt x="94" y="39"/>
                    </a:cubicBezTo>
                    <a:cubicBezTo>
                      <a:pt x="96" y="36"/>
                      <a:pt x="96" y="36"/>
                      <a:pt x="96" y="36"/>
                    </a:cubicBezTo>
                    <a:cubicBezTo>
                      <a:pt x="99" y="38"/>
                      <a:pt x="99" y="38"/>
                      <a:pt x="99" y="38"/>
                    </a:cubicBezTo>
                    <a:cubicBezTo>
                      <a:pt x="99" y="38"/>
                      <a:pt x="99" y="38"/>
                      <a:pt x="99" y="38"/>
                    </a:cubicBezTo>
                    <a:cubicBezTo>
                      <a:pt x="100" y="38"/>
                      <a:pt x="100" y="38"/>
                      <a:pt x="100" y="38"/>
                    </a:cubicBezTo>
                    <a:cubicBezTo>
                      <a:pt x="101" y="39"/>
                      <a:pt x="101" y="39"/>
                      <a:pt x="101" y="39"/>
                    </a:cubicBezTo>
                    <a:cubicBezTo>
                      <a:pt x="103" y="40"/>
                      <a:pt x="106" y="41"/>
                      <a:pt x="109" y="41"/>
                    </a:cubicBezTo>
                    <a:cubicBezTo>
                      <a:pt x="128" y="43"/>
                      <a:pt x="128" y="43"/>
                      <a:pt x="128" y="43"/>
                    </a:cubicBezTo>
                    <a:cubicBezTo>
                      <a:pt x="133" y="44"/>
                      <a:pt x="137" y="44"/>
                      <a:pt x="141" y="44"/>
                    </a:cubicBezTo>
                    <a:cubicBezTo>
                      <a:pt x="141" y="44"/>
                      <a:pt x="142" y="44"/>
                      <a:pt x="143" y="44"/>
                    </a:cubicBezTo>
                    <a:cubicBezTo>
                      <a:pt x="145" y="44"/>
                      <a:pt x="147" y="45"/>
                      <a:pt x="148" y="46"/>
                    </a:cubicBezTo>
                    <a:cubicBezTo>
                      <a:pt x="149" y="46"/>
                      <a:pt x="149" y="47"/>
                      <a:pt x="150" y="47"/>
                    </a:cubicBezTo>
                    <a:cubicBezTo>
                      <a:pt x="155" y="46"/>
                      <a:pt x="155" y="46"/>
                      <a:pt x="155" y="46"/>
                    </a:cubicBezTo>
                    <a:cubicBezTo>
                      <a:pt x="155" y="44"/>
                      <a:pt x="156" y="43"/>
                      <a:pt x="157" y="41"/>
                    </a:cubicBezTo>
                    <a:cubicBezTo>
                      <a:pt x="158" y="41"/>
                      <a:pt x="158" y="41"/>
                      <a:pt x="158" y="41"/>
                    </a:cubicBezTo>
                    <a:cubicBezTo>
                      <a:pt x="158" y="40"/>
                      <a:pt x="158" y="40"/>
                      <a:pt x="158" y="40"/>
                    </a:cubicBezTo>
                    <a:cubicBezTo>
                      <a:pt x="148" y="34"/>
                      <a:pt x="148" y="34"/>
                      <a:pt x="148" y="34"/>
                    </a:cubicBezTo>
                    <a:cubicBezTo>
                      <a:pt x="151" y="33"/>
                      <a:pt x="151" y="33"/>
                      <a:pt x="151" y="33"/>
                    </a:cubicBezTo>
                    <a:cubicBezTo>
                      <a:pt x="150" y="31"/>
                      <a:pt x="150" y="29"/>
                      <a:pt x="150" y="28"/>
                    </a:cubicBezTo>
                    <a:cubicBezTo>
                      <a:pt x="151" y="24"/>
                      <a:pt x="151" y="24"/>
                      <a:pt x="151" y="24"/>
                    </a:cubicBezTo>
                    <a:cubicBezTo>
                      <a:pt x="140" y="33"/>
                      <a:pt x="140" y="33"/>
                      <a:pt x="140" y="33"/>
                    </a:cubicBezTo>
                    <a:cubicBezTo>
                      <a:pt x="145" y="24"/>
                      <a:pt x="145" y="24"/>
                      <a:pt x="145" y="24"/>
                    </a:cubicBezTo>
                    <a:cubicBezTo>
                      <a:pt x="142" y="26"/>
                      <a:pt x="139" y="27"/>
                      <a:pt x="135" y="27"/>
                    </a:cubicBezTo>
                    <a:cubicBezTo>
                      <a:pt x="135" y="27"/>
                      <a:pt x="134" y="27"/>
                      <a:pt x="133" y="27"/>
                    </a:cubicBezTo>
                    <a:cubicBezTo>
                      <a:pt x="132" y="27"/>
                      <a:pt x="130" y="26"/>
                      <a:pt x="129" y="26"/>
                    </a:cubicBezTo>
                    <a:cubicBezTo>
                      <a:pt x="128" y="26"/>
                      <a:pt x="128" y="26"/>
                      <a:pt x="128" y="26"/>
                    </a:cubicBezTo>
                    <a:cubicBezTo>
                      <a:pt x="127" y="26"/>
                      <a:pt x="127" y="26"/>
                      <a:pt x="126" y="26"/>
                    </a:cubicBezTo>
                    <a:cubicBezTo>
                      <a:pt x="121" y="25"/>
                      <a:pt x="117" y="23"/>
                      <a:pt x="113" y="21"/>
                    </a:cubicBezTo>
                    <a:cubicBezTo>
                      <a:pt x="113" y="20"/>
                      <a:pt x="113" y="20"/>
                      <a:pt x="113" y="20"/>
                    </a:cubicBezTo>
                    <a:cubicBezTo>
                      <a:pt x="112" y="21"/>
                      <a:pt x="112" y="21"/>
                      <a:pt x="112" y="21"/>
                    </a:cubicBezTo>
                    <a:cubicBezTo>
                      <a:pt x="112" y="21"/>
                      <a:pt x="112" y="21"/>
                      <a:pt x="112" y="21"/>
                    </a:cubicBezTo>
                    <a:cubicBezTo>
                      <a:pt x="110" y="20"/>
                      <a:pt x="110" y="20"/>
                      <a:pt x="110" y="20"/>
                    </a:cubicBezTo>
                    <a:cubicBezTo>
                      <a:pt x="110" y="20"/>
                      <a:pt x="109" y="19"/>
                      <a:pt x="109" y="19"/>
                    </a:cubicBezTo>
                    <a:cubicBezTo>
                      <a:pt x="104" y="17"/>
                      <a:pt x="97" y="12"/>
                      <a:pt x="94" y="7"/>
                    </a:cubicBezTo>
                    <a:cubicBezTo>
                      <a:pt x="91" y="3"/>
                      <a:pt x="90" y="3"/>
                      <a:pt x="86" y="1"/>
                    </a:cubicBezTo>
                    <a:cubicBezTo>
                      <a:pt x="86" y="1"/>
                      <a:pt x="86" y="1"/>
                      <a:pt x="86" y="1"/>
                    </a:cubicBezTo>
                    <a:cubicBezTo>
                      <a:pt x="84" y="0"/>
                      <a:pt x="83" y="0"/>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286"/>
              <p:cNvSpPr/>
              <p:nvPr/>
            </p:nvSpPr>
            <p:spPr bwMode="auto">
              <a:xfrm flipH="1">
                <a:off x="6036220" y="4565859"/>
                <a:ext cx="0" cy="3685"/>
              </a:xfrm>
              <a:custGeom>
                <a:gdLst>
                  <a:gd name="T0" fmla="*/ 0 h 1"/>
                  <a:gd name="T1" fmla="*/ 0 h 1"/>
                  <a:gd name="T2" fmla="*/ 1 h 1"/>
                  <a:gd name="T3" fmla="*/ 0 h 1"/>
                </a:gd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287"/>
              <p:cNvSpPr/>
              <p:nvPr/>
            </p:nvSpPr>
            <p:spPr bwMode="auto">
              <a:xfrm flipH="1">
                <a:off x="6036220" y="4565859"/>
                <a:ext cx="0" cy="3685"/>
              </a:xfrm>
              <a:custGeom>
                <a:gdLst>
                  <a:gd name="T0" fmla="*/ 0 h 1"/>
                  <a:gd name="T1" fmla="*/ 0 h 1"/>
                  <a:gd name="T2" fmla="*/ 1 h 1"/>
                  <a:gd name="T3" fmla="*/ 0 h 1"/>
                </a:gdLst>
                <a:cxnLst>
                  <a:cxn ang="0">
                    <a:pos x="0" y="T0"/>
                  </a:cxn>
                  <a:cxn ang="0">
                    <a:pos x="0" y="T1"/>
                  </a:cxn>
                  <a:cxn ang="0">
                    <a:pos x="0" y="T2"/>
                  </a:cxn>
                  <a:cxn ang="0">
                    <a:pos x="0" y="T3"/>
                  </a:cxn>
                </a:cxnLst>
                <a:rect l="0" t="0" r="r" b="b"/>
                <a:pathLst>
                  <a:path h="1">
                    <a:moveTo>
                      <a:pt x="0" y="0"/>
                    </a:moveTo>
                    <a:lnTo>
                      <a:pt x="0" y="0"/>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288"/>
              <p:cNvSpPr/>
              <p:nvPr/>
            </p:nvSpPr>
            <p:spPr bwMode="auto">
              <a:xfrm>
                <a:off x="5785632" y="4551119"/>
                <a:ext cx="320605" cy="287439"/>
              </a:xfrm>
              <a:custGeom>
                <a:gdLst>
                  <a:gd name="T0" fmla="*/ 29 w 100"/>
                  <a:gd name="T1" fmla="*/ 0 h 91"/>
                  <a:gd name="T2" fmla="*/ 24 w 100"/>
                  <a:gd name="T3" fmla="*/ 1 h 91"/>
                  <a:gd name="T4" fmla="*/ 21 w 100"/>
                  <a:gd name="T5" fmla="*/ 1 h 91"/>
                  <a:gd name="T6" fmla="*/ 18 w 100"/>
                  <a:gd name="T7" fmla="*/ 5 h 91"/>
                  <a:gd name="T8" fmla="*/ 15 w 100"/>
                  <a:gd name="T9" fmla="*/ 10 h 91"/>
                  <a:gd name="T10" fmla="*/ 10 w 100"/>
                  <a:gd name="T11" fmla="*/ 6 h 91"/>
                  <a:gd name="T12" fmla="*/ 4 w 100"/>
                  <a:gd name="T13" fmla="*/ 1 h 91"/>
                  <a:gd name="T14" fmla="*/ 2 w 100"/>
                  <a:gd name="T15" fmla="*/ 1 h 91"/>
                  <a:gd name="T16" fmla="*/ 1 w 100"/>
                  <a:gd name="T17" fmla="*/ 6 h 91"/>
                  <a:gd name="T18" fmla="*/ 0 w 100"/>
                  <a:gd name="T19" fmla="*/ 11 h 91"/>
                  <a:gd name="T20" fmla="*/ 4 w 100"/>
                  <a:gd name="T21" fmla="*/ 12 h 91"/>
                  <a:gd name="T22" fmla="*/ 7 w 100"/>
                  <a:gd name="T23" fmla="*/ 16 h 91"/>
                  <a:gd name="T24" fmla="*/ 11 w 100"/>
                  <a:gd name="T25" fmla="*/ 24 h 91"/>
                  <a:gd name="T26" fmla="*/ 12 w 100"/>
                  <a:gd name="T27" fmla="*/ 27 h 91"/>
                  <a:gd name="T28" fmla="*/ 17 w 100"/>
                  <a:gd name="T29" fmla="*/ 34 h 91"/>
                  <a:gd name="T30" fmla="*/ 24 w 100"/>
                  <a:gd name="T31" fmla="*/ 40 h 91"/>
                  <a:gd name="T32" fmla="*/ 35 w 100"/>
                  <a:gd name="T33" fmla="*/ 49 h 91"/>
                  <a:gd name="T34" fmla="*/ 37 w 100"/>
                  <a:gd name="T35" fmla="*/ 51 h 91"/>
                  <a:gd name="T36" fmla="*/ 48 w 100"/>
                  <a:gd name="T37" fmla="*/ 68 h 91"/>
                  <a:gd name="T38" fmla="*/ 53 w 100"/>
                  <a:gd name="T39" fmla="*/ 71 h 91"/>
                  <a:gd name="T40" fmla="*/ 55 w 100"/>
                  <a:gd name="T41" fmla="*/ 75 h 91"/>
                  <a:gd name="T42" fmla="*/ 53 w 100"/>
                  <a:gd name="T43" fmla="*/ 80 h 91"/>
                  <a:gd name="T44" fmla="*/ 53 w 100"/>
                  <a:gd name="T45" fmla="*/ 80 h 91"/>
                  <a:gd name="T46" fmla="*/ 49 w 100"/>
                  <a:gd name="T47" fmla="*/ 80 h 91"/>
                  <a:gd name="T48" fmla="*/ 71 w 100"/>
                  <a:gd name="T49" fmla="*/ 91 h 91"/>
                  <a:gd name="T50" fmla="*/ 73 w 100"/>
                  <a:gd name="T51" fmla="*/ 86 h 91"/>
                  <a:gd name="T52" fmla="*/ 73 w 100"/>
                  <a:gd name="T53" fmla="*/ 84 h 91"/>
                  <a:gd name="T54" fmla="*/ 72 w 100"/>
                  <a:gd name="T55" fmla="*/ 77 h 91"/>
                  <a:gd name="T56" fmla="*/ 81 w 100"/>
                  <a:gd name="T57" fmla="*/ 62 h 91"/>
                  <a:gd name="T58" fmla="*/ 85 w 100"/>
                  <a:gd name="T59" fmla="*/ 59 h 91"/>
                  <a:gd name="T60" fmla="*/ 85 w 100"/>
                  <a:gd name="T61" fmla="*/ 55 h 91"/>
                  <a:gd name="T62" fmla="*/ 90 w 100"/>
                  <a:gd name="T63" fmla="*/ 52 h 91"/>
                  <a:gd name="T64" fmla="*/ 93 w 100"/>
                  <a:gd name="T65" fmla="*/ 53 h 91"/>
                  <a:gd name="T66" fmla="*/ 94 w 100"/>
                  <a:gd name="T67" fmla="*/ 53 h 91"/>
                  <a:gd name="T68" fmla="*/ 95 w 100"/>
                  <a:gd name="T69" fmla="*/ 53 h 91"/>
                  <a:gd name="T70" fmla="*/ 100 w 100"/>
                  <a:gd name="T71" fmla="*/ 50 h 91"/>
                  <a:gd name="T72" fmla="*/ 97 w 100"/>
                  <a:gd name="T73" fmla="*/ 47 h 91"/>
                  <a:gd name="T74" fmla="*/ 89 w 100"/>
                  <a:gd name="T75" fmla="*/ 34 h 91"/>
                  <a:gd name="T76" fmla="*/ 99 w 100"/>
                  <a:gd name="T77" fmla="*/ 37 h 91"/>
                  <a:gd name="T78" fmla="*/ 97 w 100"/>
                  <a:gd name="T79" fmla="*/ 34 h 91"/>
                  <a:gd name="T80" fmla="*/ 95 w 100"/>
                  <a:gd name="T81" fmla="*/ 34 h 91"/>
                  <a:gd name="T82" fmla="*/ 91 w 100"/>
                  <a:gd name="T83" fmla="*/ 32 h 91"/>
                  <a:gd name="T84" fmla="*/ 91 w 100"/>
                  <a:gd name="T85" fmla="*/ 19 h 91"/>
                  <a:gd name="T86" fmla="*/ 94 w 100"/>
                  <a:gd name="T87" fmla="*/ 13 h 91"/>
                  <a:gd name="T88" fmla="*/ 93 w 100"/>
                  <a:gd name="T89" fmla="*/ 13 h 91"/>
                  <a:gd name="T90" fmla="*/ 92 w 100"/>
                  <a:gd name="T91" fmla="*/ 13 h 91"/>
                  <a:gd name="T92" fmla="*/ 91 w 100"/>
                  <a:gd name="T93" fmla="*/ 13 h 91"/>
                  <a:gd name="T94" fmla="*/ 80 w 100"/>
                  <a:gd name="T95" fmla="*/ 8 h 91"/>
                  <a:gd name="T96" fmla="*/ 77 w 100"/>
                  <a:gd name="T97" fmla="*/ 7 h 91"/>
                  <a:gd name="T98" fmla="*/ 76 w 100"/>
                  <a:gd name="T99" fmla="*/ 6 h 91"/>
                  <a:gd name="T100" fmla="*/ 74 w 100"/>
                  <a:gd name="T101" fmla="*/ 6 h 91"/>
                  <a:gd name="T102" fmla="*/ 41 w 100"/>
                  <a:gd name="T103" fmla="*/ 3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0" h="91">
                    <a:moveTo>
                      <a:pt x="30" y="0"/>
                    </a:moveTo>
                    <a:cubicBezTo>
                      <a:pt x="30" y="0"/>
                      <a:pt x="29" y="0"/>
                      <a:pt x="29" y="0"/>
                    </a:cubicBezTo>
                    <a:cubicBezTo>
                      <a:pt x="28" y="1"/>
                      <a:pt x="27" y="1"/>
                      <a:pt x="26" y="1"/>
                    </a:cubicBezTo>
                    <a:cubicBezTo>
                      <a:pt x="25" y="1"/>
                      <a:pt x="25" y="1"/>
                      <a:pt x="24" y="1"/>
                    </a:cubicBezTo>
                    <a:cubicBezTo>
                      <a:pt x="23" y="1"/>
                      <a:pt x="23" y="0"/>
                      <a:pt x="22" y="0"/>
                    </a:cubicBezTo>
                    <a:cubicBezTo>
                      <a:pt x="22" y="0"/>
                      <a:pt x="22" y="0"/>
                      <a:pt x="21" y="1"/>
                    </a:cubicBezTo>
                    <a:cubicBezTo>
                      <a:pt x="21" y="1"/>
                      <a:pt x="20" y="1"/>
                      <a:pt x="20" y="2"/>
                    </a:cubicBezTo>
                    <a:cubicBezTo>
                      <a:pt x="19" y="3"/>
                      <a:pt x="19" y="4"/>
                      <a:pt x="18" y="5"/>
                    </a:cubicBezTo>
                    <a:cubicBezTo>
                      <a:pt x="18" y="6"/>
                      <a:pt x="17" y="6"/>
                      <a:pt x="17" y="7"/>
                    </a:cubicBezTo>
                    <a:cubicBezTo>
                      <a:pt x="15" y="10"/>
                      <a:pt x="15" y="10"/>
                      <a:pt x="15" y="10"/>
                    </a:cubicBezTo>
                    <a:cubicBezTo>
                      <a:pt x="12" y="8"/>
                      <a:pt x="12" y="8"/>
                      <a:pt x="12" y="8"/>
                    </a:cubicBezTo>
                    <a:cubicBezTo>
                      <a:pt x="11" y="7"/>
                      <a:pt x="10" y="7"/>
                      <a:pt x="10" y="6"/>
                    </a:cubicBezTo>
                    <a:cubicBezTo>
                      <a:pt x="9" y="6"/>
                      <a:pt x="9" y="6"/>
                      <a:pt x="9" y="6"/>
                    </a:cubicBezTo>
                    <a:cubicBezTo>
                      <a:pt x="7" y="4"/>
                      <a:pt x="6" y="2"/>
                      <a:pt x="4" y="1"/>
                    </a:cubicBezTo>
                    <a:cubicBezTo>
                      <a:pt x="4" y="1"/>
                      <a:pt x="3" y="1"/>
                      <a:pt x="3" y="1"/>
                    </a:cubicBezTo>
                    <a:cubicBezTo>
                      <a:pt x="2" y="1"/>
                      <a:pt x="2" y="1"/>
                      <a:pt x="2" y="1"/>
                    </a:cubicBezTo>
                    <a:cubicBezTo>
                      <a:pt x="2" y="1"/>
                      <a:pt x="2" y="1"/>
                      <a:pt x="2" y="1"/>
                    </a:cubicBezTo>
                    <a:cubicBezTo>
                      <a:pt x="2" y="3"/>
                      <a:pt x="1" y="4"/>
                      <a:pt x="1" y="6"/>
                    </a:cubicBezTo>
                    <a:cubicBezTo>
                      <a:pt x="1" y="7"/>
                      <a:pt x="1" y="8"/>
                      <a:pt x="1" y="9"/>
                    </a:cubicBezTo>
                    <a:cubicBezTo>
                      <a:pt x="0" y="10"/>
                      <a:pt x="0" y="11"/>
                      <a:pt x="0" y="11"/>
                    </a:cubicBezTo>
                    <a:cubicBezTo>
                      <a:pt x="0" y="11"/>
                      <a:pt x="1" y="11"/>
                      <a:pt x="1" y="11"/>
                    </a:cubicBezTo>
                    <a:cubicBezTo>
                      <a:pt x="2" y="12"/>
                      <a:pt x="3" y="12"/>
                      <a:pt x="4" y="12"/>
                    </a:cubicBezTo>
                    <a:cubicBezTo>
                      <a:pt x="5" y="13"/>
                      <a:pt x="6" y="14"/>
                      <a:pt x="6" y="14"/>
                    </a:cubicBezTo>
                    <a:cubicBezTo>
                      <a:pt x="7" y="15"/>
                      <a:pt x="7" y="15"/>
                      <a:pt x="7" y="16"/>
                    </a:cubicBezTo>
                    <a:cubicBezTo>
                      <a:pt x="8" y="16"/>
                      <a:pt x="8" y="17"/>
                      <a:pt x="9" y="17"/>
                    </a:cubicBezTo>
                    <a:cubicBezTo>
                      <a:pt x="10" y="19"/>
                      <a:pt x="10" y="21"/>
                      <a:pt x="11" y="24"/>
                    </a:cubicBezTo>
                    <a:cubicBezTo>
                      <a:pt x="11" y="25"/>
                      <a:pt x="12" y="25"/>
                      <a:pt x="12" y="26"/>
                    </a:cubicBezTo>
                    <a:cubicBezTo>
                      <a:pt x="12" y="26"/>
                      <a:pt x="12" y="27"/>
                      <a:pt x="12" y="27"/>
                    </a:cubicBezTo>
                    <a:cubicBezTo>
                      <a:pt x="13" y="28"/>
                      <a:pt x="13" y="28"/>
                      <a:pt x="13" y="28"/>
                    </a:cubicBezTo>
                    <a:cubicBezTo>
                      <a:pt x="14" y="30"/>
                      <a:pt x="15" y="32"/>
                      <a:pt x="17" y="34"/>
                    </a:cubicBezTo>
                    <a:cubicBezTo>
                      <a:pt x="18" y="35"/>
                      <a:pt x="18" y="35"/>
                      <a:pt x="18" y="35"/>
                    </a:cubicBezTo>
                    <a:cubicBezTo>
                      <a:pt x="19" y="37"/>
                      <a:pt x="21" y="38"/>
                      <a:pt x="24" y="40"/>
                    </a:cubicBezTo>
                    <a:cubicBezTo>
                      <a:pt x="25" y="41"/>
                      <a:pt x="25" y="41"/>
                      <a:pt x="25" y="41"/>
                    </a:cubicBezTo>
                    <a:cubicBezTo>
                      <a:pt x="28" y="44"/>
                      <a:pt x="31" y="46"/>
                      <a:pt x="35" y="49"/>
                    </a:cubicBezTo>
                    <a:cubicBezTo>
                      <a:pt x="35" y="50"/>
                      <a:pt x="36" y="50"/>
                      <a:pt x="36" y="51"/>
                    </a:cubicBezTo>
                    <a:cubicBezTo>
                      <a:pt x="37" y="51"/>
                      <a:pt x="37" y="51"/>
                      <a:pt x="37" y="51"/>
                    </a:cubicBezTo>
                    <a:cubicBezTo>
                      <a:pt x="40" y="53"/>
                      <a:pt x="43" y="55"/>
                      <a:pt x="44" y="59"/>
                    </a:cubicBezTo>
                    <a:cubicBezTo>
                      <a:pt x="48" y="68"/>
                      <a:pt x="48" y="68"/>
                      <a:pt x="48" y="68"/>
                    </a:cubicBezTo>
                    <a:cubicBezTo>
                      <a:pt x="50" y="68"/>
                      <a:pt x="50" y="68"/>
                      <a:pt x="50" y="68"/>
                    </a:cubicBezTo>
                    <a:cubicBezTo>
                      <a:pt x="51" y="69"/>
                      <a:pt x="52" y="69"/>
                      <a:pt x="53" y="71"/>
                    </a:cubicBezTo>
                    <a:cubicBezTo>
                      <a:pt x="54" y="72"/>
                      <a:pt x="54" y="72"/>
                      <a:pt x="55" y="73"/>
                    </a:cubicBezTo>
                    <a:cubicBezTo>
                      <a:pt x="55" y="74"/>
                      <a:pt x="55" y="75"/>
                      <a:pt x="55" y="75"/>
                    </a:cubicBezTo>
                    <a:cubicBezTo>
                      <a:pt x="55" y="77"/>
                      <a:pt x="54" y="78"/>
                      <a:pt x="52" y="79"/>
                    </a:cubicBezTo>
                    <a:cubicBezTo>
                      <a:pt x="53" y="80"/>
                      <a:pt x="53" y="80"/>
                      <a:pt x="53" y="80"/>
                    </a:cubicBezTo>
                    <a:cubicBezTo>
                      <a:pt x="53" y="80"/>
                      <a:pt x="53" y="80"/>
                      <a:pt x="53" y="80"/>
                    </a:cubicBezTo>
                    <a:cubicBezTo>
                      <a:pt x="53" y="80"/>
                      <a:pt x="53" y="80"/>
                      <a:pt x="53" y="80"/>
                    </a:cubicBezTo>
                    <a:cubicBezTo>
                      <a:pt x="52" y="80"/>
                      <a:pt x="52" y="79"/>
                      <a:pt x="51" y="79"/>
                    </a:cubicBezTo>
                    <a:cubicBezTo>
                      <a:pt x="51" y="80"/>
                      <a:pt x="50" y="80"/>
                      <a:pt x="49" y="80"/>
                    </a:cubicBezTo>
                    <a:cubicBezTo>
                      <a:pt x="48" y="80"/>
                      <a:pt x="48" y="80"/>
                      <a:pt x="48" y="80"/>
                    </a:cubicBezTo>
                    <a:cubicBezTo>
                      <a:pt x="56" y="84"/>
                      <a:pt x="63" y="88"/>
                      <a:pt x="71" y="91"/>
                    </a:cubicBezTo>
                    <a:cubicBezTo>
                      <a:pt x="70" y="88"/>
                      <a:pt x="70" y="88"/>
                      <a:pt x="70" y="88"/>
                    </a:cubicBezTo>
                    <a:cubicBezTo>
                      <a:pt x="73" y="86"/>
                      <a:pt x="73" y="86"/>
                      <a:pt x="73" y="86"/>
                    </a:cubicBezTo>
                    <a:cubicBezTo>
                      <a:pt x="73" y="86"/>
                      <a:pt x="73" y="86"/>
                      <a:pt x="73" y="86"/>
                    </a:cubicBezTo>
                    <a:cubicBezTo>
                      <a:pt x="73" y="85"/>
                      <a:pt x="73" y="85"/>
                      <a:pt x="73" y="84"/>
                    </a:cubicBezTo>
                    <a:cubicBezTo>
                      <a:pt x="73" y="83"/>
                      <a:pt x="73" y="82"/>
                      <a:pt x="72" y="81"/>
                    </a:cubicBezTo>
                    <a:cubicBezTo>
                      <a:pt x="72" y="80"/>
                      <a:pt x="72" y="79"/>
                      <a:pt x="72" y="77"/>
                    </a:cubicBezTo>
                    <a:cubicBezTo>
                      <a:pt x="71" y="73"/>
                      <a:pt x="73" y="69"/>
                      <a:pt x="77" y="65"/>
                    </a:cubicBezTo>
                    <a:cubicBezTo>
                      <a:pt x="78" y="64"/>
                      <a:pt x="80" y="62"/>
                      <a:pt x="81" y="62"/>
                    </a:cubicBezTo>
                    <a:cubicBezTo>
                      <a:pt x="81" y="61"/>
                      <a:pt x="81" y="61"/>
                      <a:pt x="81" y="61"/>
                    </a:cubicBezTo>
                    <a:cubicBezTo>
                      <a:pt x="82" y="61"/>
                      <a:pt x="83" y="60"/>
                      <a:pt x="85" y="59"/>
                    </a:cubicBezTo>
                    <a:cubicBezTo>
                      <a:pt x="83" y="57"/>
                      <a:pt x="83" y="57"/>
                      <a:pt x="83" y="57"/>
                    </a:cubicBezTo>
                    <a:cubicBezTo>
                      <a:pt x="85" y="55"/>
                      <a:pt x="85" y="55"/>
                      <a:pt x="85" y="55"/>
                    </a:cubicBezTo>
                    <a:cubicBezTo>
                      <a:pt x="86" y="53"/>
                      <a:pt x="87" y="53"/>
                      <a:pt x="88" y="53"/>
                    </a:cubicBezTo>
                    <a:cubicBezTo>
                      <a:pt x="89" y="53"/>
                      <a:pt x="89" y="52"/>
                      <a:pt x="90" y="52"/>
                    </a:cubicBezTo>
                    <a:cubicBezTo>
                      <a:pt x="91" y="52"/>
                      <a:pt x="91" y="53"/>
                      <a:pt x="92" y="53"/>
                    </a:cubicBezTo>
                    <a:cubicBezTo>
                      <a:pt x="92" y="53"/>
                      <a:pt x="93" y="53"/>
                      <a:pt x="93" y="53"/>
                    </a:cubicBezTo>
                    <a:cubicBezTo>
                      <a:pt x="93" y="53"/>
                      <a:pt x="93" y="53"/>
                      <a:pt x="93" y="53"/>
                    </a:cubicBezTo>
                    <a:cubicBezTo>
                      <a:pt x="94" y="53"/>
                      <a:pt x="94" y="53"/>
                      <a:pt x="94" y="53"/>
                    </a:cubicBezTo>
                    <a:cubicBezTo>
                      <a:pt x="94" y="53"/>
                      <a:pt x="94" y="53"/>
                      <a:pt x="94" y="53"/>
                    </a:cubicBezTo>
                    <a:cubicBezTo>
                      <a:pt x="95" y="53"/>
                      <a:pt x="95" y="53"/>
                      <a:pt x="95" y="53"/>
                    </a:cubicBezTo>
                    <a:cubicBezTo>
                      <a:pt x="97" y="52"/>
                      <a:pt x="99" y="51"/>
                      <a:pt x="100" y="50"/>
                    </a:cubicBezTo>
                    <a:cubicBezTo>
                      <a:pt x="100" y="50"/>
                      <a:pt x="100" y="50"/>
                      <a:pt x="100" y="50"/>
                    </a:cubicBezTo>
                    <a:cubicBezTo>
                      <a:pt x="100" y="50"/>
                      <a:pt x="100" y="50"/>
                      <a:pt x="100" y="50"/>
                    </a:cubicBezTo>
                    <a:cubicBezTo>
                      <a:pt x="99" y="49"/>
                      <a:pt x="98" y="48"/>
                      <a:pt x="97" y="47"/>
                    </a:cubicBezTo>
                    <a:cubicBezTo>
                      <a:pt x="96" y="45"/>
                      <a:pt x="94" y="43"/>
                      <a:pt x="93" y="41"/>
                    </a:cubicBezTo>
                    <a:cubicBezTo>
                      <a:pt x="89" y="34"/>
                      <a:pt x="89" y="34"/>
                      <a:pt x="89" y="34"/>
                    </a:cubicBezTo>
                    <a:cubicBezTo>
                      <a:pt x="97" y="36"/>
                      <a:pt x="97" y="36"/>
                      <a:pt x="97" y="36"/>
                    </a:cubicBezTo>
                    <a:cubicBezTo>
                      <a:pt x="98" y="37"/>
                      <a:pt x="98" y="37"/>
                      <a:pt x="99" y="37"/>
                    </a:cubicBezTo>
                    <a:cubicBezTo>
                      <a:pt x="99" y="37"/>
                      <a:pt x="98" y="36"/>
                      <a:pt x="98" y="36"/>
                    </a:cubicBezTo>
                    <a:cubicBezTo>
                      <a:pt x="98" y="35"/>
                      <a:pt x="97" y="35"/>
                      <a:pt x="97" y="34"/>
                    </a:cubicBezTo>
                    <a:cubicBezTo>
                      <a:pt x="96" y="34"/>
                      <a:pt x="96" y="34"/>
                      <a:pt x="96" y="34"/>
                    </a:cubicBezTo>
                    <a:cubicBezTo>
                      <a:pt x="95" y="34"/>
                      <a:pt x="95" y="34"/>
                      <a:pt x="95" y="34"/>
                    </a:cubicBezTo>
                    <a:cubicBezTo>
                      <a:pt x="94" y="34"/>
                      <a:pt x="94" y="34"/>
                      <a:pt x="94" y="34"/>
                    </a:cubicBezTo>
                    <a:cubicBezTo>
                      <a:pt x="93" y="33"/>
                      <a:pt x="92" y="32"/>
                      <a:pt x="91" y="32"/>
                    </a:cubicBezTo>
                    <a:cubicBezTo>
                      <a:pt x="89" y="29"/>
                      <a:pt x="89" y="25"/>
                      <a:pt x="89" y="22"/>
                    </a:cubicBezTo>
                    <a:cubicBezTo>
                      <a:pt x="89" y="21"/>
                      <a:pt x="90" y="20"/>
                      <a:pt x="91" y="19"/>
                    </a:cubicBezTo>
                    <a:cubicBezTo>
                      <a:pt x="92" y="18"/>
                      <a:pt x="92" y="18"/>
                      <a:pt x="92" y="18"/>
                    </a:cubicBezTo>
                    <a:cubicBezTo>
                      <a:pt x="92" y="17"/>
                      <a:pt x="93" y="15"/>
                      <a:pt x="94" y="13"/>
                    </a:cubicBezTo>
                    <a:cubicBezTo>
                      <a:pt x="94" y="13"/>
                      <a:pt x="94" y="13"/>
                      <a:pt x="94" y="13"/>
                    </a:cubicBezTo>
                    <a:cubicBezTo>
                      <a:pt x="94" y="13"/>
                      <a:pt x="93" y="13"/>
                      <a:pt x="93" y="13"/>
                    </a:cubicBezTo>
                    <a:cubicBezTo>
                      <a:pt x="92" y="13"/>
                      <a:pt x="92" y="13"/>
                      <a:pt x="92" y="13"/>
                    </a:cubicBezTo>
                    <a:cubicBezTo>
                      <a:pt x="92" y="13"/>
                      <a:pt x="92" y="13"/>
                      <a:pt x="92" y="13"/>
                    </a:cubicBezTo>
                    <a:cubicBezTo>
                      <a:pt x="91" y="13"/>
                      <a:pt x="91" y="13"/>
                      <a:pt x="91" y="13"/>
                    </a:cubicBezTo>
                    <a:cubicBezTo>
                      <a:pt x="91" y="13"/>
                      <a:pt x="91" y="13"/>
                      <a:pt x="91" y="13"/>
                    </a:cubicBezTo>
                    <a:cubicBezTo>
                      <a:pt x="89" y="13"/>
                      <a:pt x="88" y="13"/>
                      <a:pt x="87" y="13"/>
                    </a:cubicBezTo>
                    <a:cubicBezTo>
                      <a:pt x="84" y="12"/>
                      <a:pt x="81" y="11"/>
                      <a:pt x="80" y="8"/>
                    </a:cubicBezTo>
                    <a:cubicBezTo>
                      <a:pt x="79" y="8"/>
                      <a:pt x="79" y="8"/>
                      <a:pt x="79" y="8"/>
                    </a:cubicBezTo>
                    <a:cubicBezTo>
                      <a:pt x="79" y="7"/>
                      <a:pt x="78" y="7"/>
                      <a:pt x="77" y="7"/>
                    </a:cubicBezTo>
                    <a:cubicBezTo>
                      <a:pt x="77" y="6"/>
                      <a:pt x="77" y="6"/>
                      <a:pt x="77" y="6"/>
                    </a:cubicBezTo>
                    <a:cubicBezTo>
                      <a:pt x="76" y="6"/>
                      <a:pt x="76" y="6"/>
                      <a:pt x="76" y="6"/>
                    </a:cubicBezTo>
                    <a:cubicBezTo>
                      <a:pt x="75" y="6"/>
                      <a:pt x="75" y="6"/>
                      <a:pt x="75" y="6"/>
                    </a:cubicBezTo>
                    <a:cubicBezTo>
                      <a:pt x="74" y="6"/>
                      <a:pt x="74" y="6"/>
                      <a:pt x="74" y="6"/>
                    </a:cubicBezTo>
                    <a:cubicBezTo>
                      <a:pt x="70" y="6"/>
                      <a:pt x="65" y="6"/>
                      <a:pt x="61" y="5"/>
                    </a:cubicBezTo>
                    <a:cubicBezTo>
                      <a:pt x="41" y="3"/>
                      <a:pt x="41" y="3"/>
                      <a:pt x="41" y="3"/>
                    </a:cubicBezTo>
                    <a:cubicBezTo>
                      <a:pt x="37" y="2"/>
                      <a:pt x="33"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289"/>
              <p:cNvSpPr/>
              <p:nvPr/>
            </p:nvSpPr>
            <p:spPr bwMode="auto">
              <a:xfrm>
                <a:off x="5914611" y="4790651"/>
                <a:ext cx="25796" cy="11055"/>
              </a:xfrm>
              <a:custGeom>
                <a:gdLst>
                  <a:gd name="T0" fmla="*/ 0 w 8"/>
                  <a:gd name="T1" fmla="*/ 0 h 4"/>
                  <a:gd name="T2" fmla="*/ 8 w 8"/>
                  <a:gd name="T3" fmla="*/ 4 h 4"/>
                  <a:gd name="T4" fmla="*/ 7 w 8"/>
                  <a:gd name="T5" fmla="*/ 2 h 4"/>
                  <a:gd name="T6" fmla="*/ 0 w 8"/>
                  <a:gd name="T7" fmla="*/ 0 h 4"/>
                </a:gdLst>
                <a:cxnLst>
                  <a:cxn ang="0">
                    <a:pos x="T0" y="T1"/>
                  </a:cxn>
                  <a:cxn ang="0">
                    <a:pos x="T2" y="T3"/>
                  </a:cxn>
                  <a:cxn ang="0">
                    <a:pos x="T4" y="T5"/>
                  </a:cxn>
                  <a:cxn ang="0">
                    <a:pos x="T6" y="T7"/>
                  </a:cxn>
                </a:cxnLst>
                <a:rect l="0" t="0" r="r" b="b"/>
                <a:pathLst>
                  <a:path w="8" h="4">
                    <a:moveTo>
                      <a:pt x="0" y="0"/>
                    </a:moveTo>
                    <a:cubicBezTo>
                      <a:pt x="2" y="2"/>
                      <a:pt x="5" y="3"/>
                      <a:pt x="8" y="4"/>
                    </a:cubicBezTo>
                    <a:cubicBezTo>
                      <a:pt x="7" y="2"/>
                      <a:pt x="7" y="2"/>
                      <a:pt x="7" y="2"/>
                    </a:cubicBezTo>
                    <a:cubicBezTo>
                      <a:pt x="5"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Rectangle 290"/>
              <p:cNvSpPr>
                <a:spLocks noChangeArrowheads="1"/>
              </p:cNvSpPr>
              <p:nvPr/>
            </p:nvSpPr>
            <p:spPr bwMode="auto">
              <a:xfrm>
                <a:off x="6025164" y="484592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291"/>
              <p:cNvSpPr/>
              <p:nvPr/>
            </p:nvSpPr>
            <p:spPr bwMode="auto">
              <a:xfrm flipH="1">
                <a:off x="6025164" y="4845928"/>
                <a:ext cx="0" cy="3685"/>
              </a:xfrm>
              <a:custGeom>
                <a:gdLst>
                  <a:gd name="T0" fmla="*/ 0 h 1"/>
                  <a:gd name="T1" fmla="*/ 1 h 1"/>
                  <a:gd name="T2" fmla="*/ 1 h 1"/>
                  <a:gd name="T3" fmla="*/ 0 h 1"/>
                </a:gd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Rectangle 292"/>
              <p:cNvSpPr>
                <a:spLocks noChangeArrowheads="1"/>
              </p:cNvSpPr>
              <p:nvPr/>
            </p:nvSpPr>
            <p:spPr bwMode="auto">
              <a:xfrm>
                <a:off x="6165199" y="480539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293"/>
              <p:cNvSpPr/>
              <p:nvPr/>
            </p:nvSpPr>
            <p:spPr bwMode="auto">
              <a:xfrm flipH="1">
                <a:off x="6165199" y="480539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294"/>
              <p:cNvSpPr/>
              <p:nvPr/>
            </p:nvSpPr>
            <p:spPr bwMode="auto">
              <a:xfrm>
                <a:off x="6028849" y="4739059"/>
                <a:ext cx="140034" cy="162145"/>
              </a:xfrm>
              <a:custGeom>
                <a:gdLst>
                  <a:gd name="T0" fmla="*/ 18 w 44"/>
                  <a:gd name="T1" fmla="*/ 0 h 51"/>
                  <a:gd name="T2" fmla="*/ 17 w 44"/>
                  <a:gd name="T3" fmla="*/ 0 h 51"/>
                  <a:gd name="T4" fmla="*/ 18 w 44"/>
                  <a:gd name="T5" fmla="*/ 1 h 51"/>
                  <a:gd name="T6" fmla="*/ 21 w 44"/>
                  <a:gd name="T7" fmla="*/ 5 h 51"/>
                  <a:gd name="T8" fmla="*/ 17 w 44"/>
                  <a:gd name="T9" fmla="*/ 7 h 51"/>
                  <a:gd name="T10" fmla="*/ 14 w 44"/>
                  <a:gd name="T11" fmla="*/ 7 h 51"/>
                  <a:gd name="T12" fmla="*/ 12 w 44"/>
                  <a:gd name="T13" fmla="*/ 7 h 51"/>
                  <a:gd name="T14" fmla="*/ 11 w 44"/>
                  <a:gd name="T15" fmla="*/ 6 h 51"/>
                  <a:gd name="T16" fmla="*/ 10 w 44"/>
                  <a:gd name="T17" fmla="*/ 6 h 51"/>
                  <a:gd name="T18" fmla="*/ 10 w 44"/>
                  <a:gd name="T19" fmla="*/ 7 h 51"/>
                  <a:gd name="T20" fmla="*/ 9 w 44"/>
                  <a:gd name="T21" fmla="*/ 7 h 51"/>
                  <a:gd name="T22" fmla="*/ 6 w 44"/>
                  <a:gd name="T23" fmla="*/ 10 h 51"/>
                  <a:gd name="T24" fmla="*/ 2 w 44"/>
                  <a:gd name="T25" fmla="*/ 17 h 51"/>
                  <a:gd name="T26" fmla="*/ 3 w 44"/>
                  <a:gd name="T27" fmla="*/ 19 h 51"/>
                  <a:gd name="T28" fmla="*/ 4 w 44"/>
                  <a:gd name="T29" fmla="*/ 22 h 51"/>
                  <a:gd name="T30" fmla="*/ 4 w 44"/>
                  <a:gd name="T31" fmla="*/ 28 h 51"/>
                  <a:gd name="T32" fmla="*/ 0 w 44"/>
                  <a:gd name="T33" fmla="*/ 32 h 51"/>
                  <a:gd name="T34" fmla="*/ 0 w 44"/>
                  <a:gd name="T35" fmla="*/ 33 h 51"/>
                  <a:gd name="T36" fmla="*/ 1 w 44"/>
                  <a:gd name="T37" fmla="*/ 33 h 51"/>
                  <a:gd name="T38" fmla="*/ 4 w 44"/>
                  <a:gd name="T39" fmla="*/ 32 h 51"/>
                  <a:gd name="T40" fmla="*/ 4 w 44"/>
                  <a:gd name="T41" fmla="*/ 32 h 51"/>
                  <a:gd name="T42" fmla="*/ 4 w 44"/>
                  <a:gd name="T43" fmla="*/ 32 h 51"/>
                  <a:gd name="T44" fmla="*/ 5 w 44"/>
                  <a:gd name="T45" fmla="*/ 32 h 51"/>
                  <a:gd name="T46" fmla="*/ 6 w 44"/>
                  <a:gd name="T47" fmla="*/ 32 h 51"/>
                  <a:gd name="T48" fmla="*/ 4 w 44"/>
                  <a:gd name="T49" fmla="*/ 35 h 51"/>
                  <a:gd name="T50" fmla="*/ 3 w 44"/>
                  <a:gd name="T51" fmla="*/ 35 h 51"/>
                  <a:gd name="T52" fmla="*/ 1 w 44"/>
                  <a:gd name="T53" fmla="*/ 34 h 51"/>
                  <a:gd name="T54" fmla="*/ 0 w 44"/>
                  <a:gd name="T55" fmla="*/ 35 h 51"/>
                  <a:gd name="T56" fmla="*/ 20 w 44"/>
                  <a:gd name="T57" fmla="*/ 51 h 51"/>
                  <a:gd name="T58" fmla="*/ 20 w 44"/>
                  <a:gd name="T59" fmla="*/ 50 h 51"/>
                  <a:gd name="T60" fmla="*/ 20 w 44"/>
                  <a:gd name="T61" fmla="*/ 46 h 51"/>
                  <a:gd name="T62" fmla="*/ 18 w 44"/>
                  <a:gd name="T63" fmla="*/ 41 h 51"/>
                  <a:gd name="T64" fmla="*/ 21 w 44"/>
                  <a:gd name="T65" fmla="*/ 37 h 51"/>
                  <a:gd name="T66" fmla="*/ 22 w 44"/>
                  <a:gd name="T67" fmla="*/ 36 h 51"/>
                  <a:gd name="T68" fmla="*/ 24 w 44"/>
                  <a:gd name="T69" fmla="*/ 33 h 51"/>
                  <a:gd name="T70" fmla="*/ 24 w 44"/>
                  <a:gd name="T71" fmla="*/ 33 h 51"/>
                  <a:gd name="T72" fmla="*/ 29 w 44"/>
                  <a:gd name="T73" fmla="*/ 26 h 51"/>
                  <a:gd name="T74" fmla="*/ 31 w 44"/>
                  <a:gd name="T75" fmla="*/ 24 h 51"/>
                  <a:gd name="T76" fmla="*/ 35 w 44"/>
                  <a:gd name="T77" fmla="*/ 22 h 51"/>
                  <a:gd name="T78" fmla="*/ 36 w 44"/>
                  <a:gd name="T79" fmla="*/ 25 h 51"/>
                  <a:gd name="T80" fmla="*/ 37 w 44"/>
                  <a:gd name="T81" fmla="*/ 27 h 51"/>
                  <a:gd name="T82" fmla="*/ 38 w 44"/>
                  <a:gd name="T83" fmla="*/ 28 h 51"/>
                  <a:gd name="T84" fmla="*/ 38 w 44"/>
                  <a:gd name="T85" fmla="*/ 29 h 51"/>
                  <a:gd name="T86" fmla="*/ 40 w 44"/>
                  <a:gd name="T87" fmla="*/ 28 h 51"/>
                  <a:gd name="T88" fmla="*/ 40 w 44"/>
                  <a:gd name="T89" fmla="*/ 28 h 51"/>
                  <a:gd name="T90" fmla="*/ 40 w 44"/>
                  <a:gd name="T91" fmla="*/ 25 h 51"/>
                  <a:gd name="T92" fmla="*/ 41 w 44"/>
                  <a:gd name="T93" fmla="*/ 20 h 51"/>
                  <a:gd name="T94" fmla="*/ 42 w 44"/>
                  <a:gd name="T95" fmla="*/ 20 h 51"/>
                  <a:gd name="T96" fmla="*/ 43 w 44"/>
                  <a:gd name="T97" fmla="*/ 19 h 51"/>
                  <a:gd name="T98" fmla="*/ 44 w 44"/>
                  <a:gd name="T99" fmla="*/ 19 h 51"/>
                  <a:gd name="T100" fmla="*/ 44 w 44"/>
                  <a:gd name="T101" fmla="*/ 19 h 51"/>
                  <a:gd name="T102" fmla="*/ 19 w 44"/>
                  <a:gd name="T103" fmla="*/ 0 h 51"/>
                  <a:gd name="T104" fmla="*/ 18 w 44"/>
                  <a:gd name="T105" fmla="*/ 0 h 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51">
                    <a:moveTo>
                      <a:pt x="18" y="0"/>
                    </a:moveTo>
                    <a:cubicBezTo>
                      <a:pt x="17" y="0"/>
                      <a:pt x="17" y="0"/>
                      <a:pt x="17" y="0"/>
                    </a:cubicBezTo>
                    <a:cubicBezTo>
                      <a:pt x="18" y="1"/>
                      <a:pt x="18" y="1"/>
                      <a:pt x="18" y="1"/>
                    </a:cubicBezTo>
                    <a:cubicBezTo>
                      <a:pt x="21" y="5"/>
                      <a:pt x="21" y="5"/>
                      <a:pt x="21" y="5"/>
                    </a:cubicBezTo>
                    <a:cubicBezTo>
                      <a:pt x="17" y="7"/>
                      <a:pt x="17" y="7"/>
                      <a:pt x="17" y="7"/>
                    </a:cubicBezTo>
                    <a:cubicBezTo>
                      <a:pt x="16" y="7"/>
                      <a:pt x="15" y="7"/>
                      <a:pt x="14" y="7"/>
                    </a:cubicBezTo>
                    <a:cubicBezTo>
                      <a:pt x="13" y="7"/>
                      <a:pt x="13" y="7"/>
                      <a:pt x="12" y="7"/>
                    </a:cubicBezTo>
                    <a:cubicBezTo>
                      <a:pt x="12" y="7"/>
                      <a:pt x="11" y="7"/>
                      <a:pt x="11" y="6"/>
                    </a:cubicBezTo>
                    <a:cubicBezTo>
                      <a:pt x="10" y="6"/>
                      <a:pt x="10" y="6"/>
                      <a:pt x="10" y="6"/>
                    </a:cubicBezTo>
                    <a:cubicBezTo>
                      <a:pt x="10" y="7"/>
                      <a:pt x="10" y="7"/>
                      <a:pt x="10" y="7"/>
                    </a:cubicBezTo>
                    <a:cubicBezTo>
                      <a:pt x="9" y="7"/>
                      <a:pt x="9" y="7"/>
                      <a:pt x="9" y="7"/>
                    </a:cubicBezTo>
                    <a:cubicBezTo>
                      <a:pt x="8" y="8"/>
                      <a:pt x="7" y="9"/>
                      <a:pt x="6" y="10"/>
                    </a:cubicBezTo>
                    <a:cubicBezTo>
                      <a:pt x="4" y="12"/>
                      <a:pt x="2" y="15"/>
                      <a:pt x="2" y="17"/>
                    </a:cubicBezTo>
                    <a:cubicBezTo>
                      <a:pt x="3" y="17"/>
                      <a:pt x="3" y="18"/>
                      <a:pt x="3" y="19"/>
                    </a:cubicBezTo>
                    <a:cubicBezTo>
                      <a:pt x="3" y="20"/>
                      <a:pt x="4" y="21"/>
                      <a:pt x="4" y="22"/>
                    </a:cubicBezTo>
                    <a:cubicBezTo>
                      <a:pt x="4" y="24"/>
                      <a:pt x="5" y="26"/>
                      <a:pt x="4" y="28"/>
                    </a:cubicBezTo>
                    <a:cubicBezTo>
                      <a:pt x="3" y="30"/>
                      <a:pt x="2" y="32"/>
                      <a:pt x="0" y="32"/>
                    </a:cubicBezTo>
                    <a:cubicBezTo>
                      <a:pt x="0" y="33"/>
                      <a:pt x="0" y="33"/>
                      <a:pt x="0" y="33"/>
                    </a:cubicBezTo>
                    <a:cubicBezTo>
                      <a:pt x="0" y="33"/>
                      <a:pt x="0" y="33"/>
                      <a:pt x="1" y="33"/>
                    </a:cubicBezTo>
                    <a:cubicBezTo>
                      <a:pt x="2" y="33"/>
                      <a:pt x="3" y="33"/>
                      <a:pt x="4" y="32"/>
                    </a:cubicBezTo>
                    <a:cubicBezTo>
                      <a:pt x="4" y="32"/>
                      <a:pt x="4" y="32"/>
                      <a:pt x="4" y="32"/>
                    </a:cubicBezTo>
                    <a:cubicBezTo>
                      <a:pt x="4" y="32"/>
                      <a:pt x="4" y="32"/>
                      <a:pt x="4" y="32"/>
                    </a:cubicBezTo>
                    <a:cubicBezTo>
                      <a:pt x="4" y="32"/>
                      <a:pt x="5" y="32"/>
                      <a:pt x="5" y="32"/>
                    </a:cubicBezTo>
                    <a:cubicBezTo>
                      <a:pt x="5" y="32"/>
                      <a:pt x="6" y="32"/>
                      <a:pt x="6" y="32"/>
                    </a:cubicBezTo>
                    <a:cubicBezTo>
                      <a:pt x="5" y="34"/>
                      <a:pt x="5" y="35"/>
                      <a:pt x="4" y="35"/>
                    </a:cubicBezTo>
                    <a:cubicBezTo>
                      <a:pt x="4" y="35"/>
                      <a:pt x="4" y="35"/>
                      <a:pt x="3" y="35"/>
                    </a:cubicBezTo>
                    <a:cubicBezTo>
                      <a:pt x="3" y="35"/>
                      <a:pt x="2" y="34"/>
                      <a:pt x="1" y="34"/>
                    </a:cubicBezTo>
                    <a:cubicBezTo>
                      <a:pt x="1" y="34"/>
                      <a:pt x="1" y="34"/>
                      <a:pt x="0" y="35"/>
                    </a:cubicBezTo>
                    <a:cubicBezTo>
                      <a:pt x="7" y="40"/>
                      <a:pt x="14" y="46"/>
                      <a:pt x="20" y="51"/>
                    </a:cubicBezTo>
                    <a:cubicBezTo>
                      <a:pt x="20" y="51"/>
                      <a:pt x="20" y="50"/>
                      <a:pt x="20" y="50"/>
                    </a:cubicBezTo>
                    <a:cubicBezTo>
                      <a:pt x="20" y="49"/>
                      <a:pt x="20" y="47"/>
                      <a:pt x="20" y="46"/>
                    </a:cubicBezTo>
                    <a:cubicBezTo>
                      <a:pt x="18" y="45"/>
                      <a:pt x="18" y="43"/>
                      <a:pt x="18" y="41"/>
                    </a:cubicBezTo>
                    <a:cubicBezTo>
                      <a:pt x="19" y="39"/>
                      <a:pt x="20" y="38"/>
                      <a:pt x="21" y="37"/>
                    </a:cubicBezTo>
                    <a:cubicBezTo>
                      <a:pt x="22" y="36"/>
                      <a:pt x="22" y="36"/>
                      <a:pt x="22" y="36"/>
                    </a:cubicBezTo>
                    <a:cubicBezTo>
                      <a:pt x="23" y="35"/>
                      <a:pt x="23" y="34"/>
                      <a:pt x="24" y="33"/>
                    </a:cubicBezTo>
                    <a:cubicBezTo>
                      <a:pt x="24" y="33"/>
                      <a:pt x="24" y="33"/>
                      <a:pt x="24" y="33"/>
                    </a:cubicBezTo>
                    <a:cubicBezTo>
                      <a:pt x="25" y="30"/>
                      <a:pt x="27" y="28"/>
                      <a:pt x="29" y="26"/>
                    </a:cubicBezTo>
                    <a:cubicBezTo>
                      <a:pt x="29" y="25"/>
                      <a:pt x="30" y="24"/>
                      <a:pt x="31" y="24"/>
                    </a:cubicBezTo>
                    <a:cubicBezTo>
                      <a:pt x="35" y="22"/>
                      <a:pt x="35" y="22"/>
                      <a:pt x="35" y="22"/>
                    </a:cubicBezTo>
                    <a:cubicBezTo>
                      <a:pt x="36" y="25"/>
                      <a:pt x="36" y="25"/>
                      <a:pt x="36" y="25"/>
                    </a:cubicBezTo>
                    <a:cubicBezTo>
                      <a:pt x="37" y="26"/>
                      <a:pt x="37" y="27"/>
                      <a:pt x="37" y="27"/>
                    </a:cubicBezTo>
                    <a:cubicBezTo>
                      <a:pt x="38" y="28"/>
                      <a:pt x="38" y="28"/>
                      <a:pt x="38" y="28"/>
                    </a:cubicBezTo>
                    <a:cubicBezTo>
                      <a:pt x="38" y="29"/>
                      <a:pt x="38" y="29"/>
                      <a:pt x="38" y="29"/>
                    </a:cubicBezTo>
                    <a:cubicBezTo>
                      <a:pt x="39" y="29"/>
                      <a:pt x="39" y="28"/>
                      <a:pt x="40" y="28"/>
                    </a:cubicBezTo>
                    <a:cubicBezTo>
                      <a:pt x="40" y="28"/>
                      <a:pt x="40" y="28"/>
                      <a:pt x="40" y="28"/>
                    </a:cubicBezTo>
                    <a:cubicBezTo>
                      <a:pt x="40" y="27"/>
                      <a:pt x="40" y="26"/>
                      <a:pt x="40" y="25"/>
                    </a:cubicBezTo>
                    <a:cubicBezTo>
                      <a:pt x="39" y="23"/>
                      <a:pt x="40" y="21"/>
                      <a:pt x="41" y="20"/>
                    </a:cubicBezTo>
                    <a:cubicBezTo>
                      <a:pt x="42" y="20"/>
                      <a:pt x="42" y="20"/>
                      <a:pt x="42" y="20"/>
                    </a:cubicBezTo>
                    <a:cubicBezTo>
                      <a:pt x="43" y="19"/>
                      <a:pt x="43" y="19"/>
                      <a:pt x="43" y="19"/>
                    </a:cubicBezTo>
                    <a:cubicBezTo>
                      <a:pt x="44" y="19"/>
                      <a:pt x="44" y="19"/>
                      <a:pt x="44" y="19"/>
                    </a:cubicBezTo>
                    <a:cubicBezTo>
                      <a:pt x="44" y="19"/>
                      <a:pt x="44" y="19"/>
                      <a:pt x="44" y="19"/>
                    </a:cubicBezTo>
                    <a:cubicBezTo>
                      <a:pt x="19" y="0"/>
                      <a:pt x="19" y="0"/>
                      <a:pt x="19" y="0"/>
                    </a:cubicBezTo>
                    <a:cubicBezTo>
                      <a:pt x="19"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295"/>
              <p:cNvSpPr/>
              <p:nvPr/>
            </p:nvSpPr>
            <p:spPr bwMode="auto">
              <a:xfrm>
                <a:off x="6095182" y="4845928"/>
                <a:ext cx="147405" cy="287439"/>
              </a:xfrm>
              <a:custGeom>
                <a:gdLst>
                  <a:gd name="T0" fmla="*/ 9 w 46"/>
                  <a:gd name="T1" fmla="*/ 4 h 91"/>
                  <a:gd name="T2" fmla="*/ 7 w 46"/>
                  <a:gd name="T3" fmla="*/ 7 h 91"/>
                  <a:gd name="T4" fmla="*/ 5 w 46"/>
                  <a:gd name="T5" fmla="*/ 9 h 91"/>
                  <a:gd name="T6" fmla="*/ 6 w 46"/>
                  <a:gd name="T7" fmla="*/ 19 h 91"/>
                  <a:gd name="T8" fmla="*/ 6 w 46"/>
                  <a:gd name="T9" fmla="*/ 20 h 91"/>
                  <a:gd name="T10" fmla="*/ 8 w 46"/>
                  <a:gd name="T11" fmla="*/ 26 h 91"/>
                  <a:gd name="T12" fmla="*/ 7 w 46"/>
                  <a:gd name="T13" fmla="*/ 30 h 91"/>
                  <a:gd name="T14" fmla="*/ 4 w 46"/>
                  <a:gd name="T15" fmla="*/ 37 h 91"/>
                  <a:gd name="T16" fmla="*/ 6 w 46"/>
                  <a:gd name="T17" fmla="*/ 46 h 91"/>
                  <a:gd name="T18" fmla="*/ 1 w 46"/>
                  <a:gd name="T19" fmla="*/ 63 h 91"/>
                  <a:gd name="T20" fmla="*/ 1 w 46"/>
                  <a:gd name="T21" fmla="*/ 70 h 91"/>
                  <a:gd name="T22" fmla="*/ 11 w 46"/>
                  <a:gd name="T23" fmla="*/ 79 h 91"/>
                  <a:gd name="T24" fmla="*/ 20 w 46"/>
                  <a:gd name="T25" fmla="*/ 91 h 91"/>
                  <a:gd name="T26" fmla="*/ 24 w 46"/>
                  <a:gd name="T27" fmla="*/ 91 h 91"/>
                  <a:gd name="T28" fmla="*/ 26 w 46"/>
                  <a:gd name="T29" fmla="*/ 89 h 91"/>
                  <a:gd name="T30" fmla="*/ 27 w 46"/>
                  <a:gd name="T31" fmla="*/ 86 h 91"/>
                  <a:gd name="T32" fmla="*/ 28 w 46"/>
                  <a:gd name="T33" fmla="*/ 81 h 91"/>
                  <a:gd name="T34" fmla="*/ 32 w 46"/>
                  <a:gd name="T35" fmla="*/ 78 h 91"/>
                  <a:gd name="T36" fmla="*/ 36 w 46"/>
                  <a:gd name="T37" fmla="*/ 78 h 91"/>
                  <a:gd name="T38" fmla="*/ 37 w 46"/>
                  <a:gd name="T39" fmla="*/ 74 h 91"/>
                  <a:gd name="T40" fmla="*/ 40 w 46"/>
                  <a:gd name="T41" fmla="*/ 67 h 91"/>
                  <a:gd name="T42" fmla="*/ 46 w 46"/>
                  <a:gd name="T43" fmla="*/ 62 h 91"/>
                  <a:gd name="T44" fmla="*/ 46 w 46"/>
                  <a:gd name="T45" fmla="*/ 61 h 91"/>
                  <a:gd name="T46" fmla="*/ 45 w 46"/>
                  <a:gd name="T47" fmla="*/ 57 h 91"/>
                  <a:gd name="T48" fmla="*/ 43 w 46"/>
                  <a:gd name="T49" fmla="*/ 58 h 91"/>
                  <a:gd name="T50" fmla="*/ 37 w 46"/>
                  <a:gd name="T51" fmla="*/ 50 h 91"/>
                  <a:gd name="T52" fmla="*/ 36 w 46"/>
                  <a:gd name="T53" fmla="*/ 49 h 91"/>
                  <a:gd name="T54" fmla="*/ 32 w 46"/>
                  <a:gd name="T55" fmla="*/ 43 h 91"/>
                  <a:gd name="T56" fmla="*/ 33 w 46"/>
                  <a:gd name="T57" fmla="*/ 37 h 91"/>
                  <a:gd name="T58" fmla="*/ 30 w 46"/>
                  <a:gd name="T59" fmla="*/ 32 h 91"/>
                  <a:gd name="T60" fmla="*/ 33 w 46"/>
                  <a:gd name="T61" fmla="*/ 28 h 91"/>
                  <a:gd name="T62" fmla="*/ 33 w 46"/>
                  <a:gd name="T63" fmla="*/ 25 h 91"/>
                  <a:gd name="T64" fmla="*/ 33 w 46"/>
                  <a:gd name="T65" fmla="*/ 24 h 91"/>
                  <a:gd name="T66" fmla="*/ 34 w 46"/>
                  <a:gd name="T67" fmla="*/ 21 h 91"/>
                  <a:gd name="T68" fmla="*/ 33 w 46"/>
                  <a:gd name="T69" fmla="*/ 17 h 91"/>
                  <a:gd name="T70" fmla="*/ 32 w 46"/>
                  <a:gd name="T71" fmla="*/ 11 h 91"/>
                  <a:gd name="T72" fmla="*/ 31 w 46"/>
                  <a:gd name="T73" fmla="*/ 10 h 91"/>
                  <a:gd name="T74" fmla="*/ 28 w 46"/>
                  <a:gd name="T75" fmla="*/ 7 h 91"/>
                  <a:gd name="T76" fmla="*/ 27 w 46"/>
                  <a:gd name="T77" fmla="*/ 6 h 91"/>
                  <a:gd name="T78" fmla="*/ 25 w 46"/>
                  <a:gd name="T79" fmla="*/ 4 h 91"/>
                  <a:gd name="T80" fmla="*/ 22 w 46"/>
                  <a:gd name="T81" fmla="*/ 2 h 91"/>
                  <a:gd name="T82" fmla="*/ 16 w 46"/>
                  <a:gd name="T83" fmla="*/ 3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91">
                    <a:moveTo>
                      <a:pt x="11" y="0"/>
                    </a:moveTo>
                    <a:cubicBezTo>
                      <a:pt x="10" y="1"/>
                      <a:pt x="10" y="3"/>
                      <a:pt x="9" y="4"/>
                    </a:cubicBezTo>
                    <a:cubicBezTo>
                      <a:pt x="8" y="4"/>
                      <a:pt x="8" y="4"/>
                      <a:pt x="8" y="4"/>
                    </a:cubicBezTo>
                    <a:cubicBezTo>
                      <a:pt x="8" y="5"/>
                      <a:pt x="7" y="6"/>
                      <a:pt x="7" y="7"/>
                    </a:cubicBezTo>
                    <a:cubicBezTo>
                      <a:pt x="6" y="7"/>
                      <a:pt x="6" y="8"/>
                      <a:pt x="5" y="8"/>
                    </a:cubicBezTo>
                    <a:cubicBezTo>
                      <a:pt x="5" y="9"/>
                      <a:pt x="5" y="9"/>
                      <a:pt x="5" y="9"/>
                    </a:cubicBezTo>
                    <a:cubicBezTo>
                      <a:pt x="7" y="12"/>
                      <a:pt x="6" y="15"/>
                      <a:pt x="6" y="17"/>
                    </a:cubicBezTo>
                    <a:cubicBezTo>
                      <a:pt x="6" y="18"/>
                      <a:pt x="6" y="19"/>
                      <a:pt x="6" y="19"/>
                    </a:cubicBezTo>
                    <a:cubicBezTo>
                      <a:pt x="6" y="20"/>
                      <a:pt x="6" y="20"/>
                      <a:pt x="6" y="20"/>
                    </a:cubicBezTo>
                    <a:cubicBezTo>
                      <a:pt x="6" y="20"/>
                      <a:pt x="6" y="20"/>
                      <a:pt x="6" y="20"/>
                    </a:cubicBezTo>
                    <a:cubicBezTo>
                      <a:pt x="6" y="21"/>
                      <a:pt x="6" y="21"/>
                      <a:pt x="6" y="22"/>
                    </a:cubicBezTo>
                    <a:cubicBezTo>
                      <a:pt x="8" y="22"/>
                      <a:pt x="8" y="23"/>
                      <a:pt x="8" y="26"/>
                    </a:cubicBezTo>
                    <a:cubicBezTo>
                      <a:pt x="8" y="27"/>
                      <a:pt x="9" y="30"/>
                      <a:pt x="8" y="30"/>
                    </a:cubicBezTo>
                    <a:cubicBezTo>
                      <a:pt x="7" y="30"/>
                      <a:pt x="7" y="30"/>
                      <a:pt x="7" y="30"/>
                    </a:cubicBezTo>
                    <a:cubicBezTo>
                      <a:pt x="7" y="30"/>
                      <a:pt x="7" y="30"/>
                      <a:pt x="7" y="30"/>
                    </a:cubicBezTo>
                    <a:cubicBezTo>
                      <a:pt x="4" y="30"/>
                      <a:pt x="5" y="33"/>
                      <a:pt x="4" y="37"/>
                    </a:cubicBezTo>
                    <a:cubicBezTo>
                      <a:pt x="3" y="36"/>
                      <a:pt x="3" y="36"/>
                      <a:pt x="3" y="36"/>
                    </a:cubicBezTo>
                    <a:cubicBezTo>
                      <a:pt x="6" y="41"/>
                      <a:pt x="7" y="41"/>
                      <a:pt x="6" y="46"/>
                    </a:cubicBezTo>
                    <a:cubicBezTo>
                      <a:pt x="5" y="49"/>
                      <a:pt x="5" y="51"/>
                      <a:pt x="5" y="54"/>
                    </a:cubicBezTo>
                    <a:cubicBezTo>
                      <a:pt x="3" y="54"/>
                      <a:pt x="0" y="60"/>
                      <a:pt x="1" y="63"/>
                    </a:cubicBezTo>
                    <a:cubicBezTo>
                      <a:pt x="3" y="66"/>
                      <a:pt x="4" y="69"/>
                      <a:pt x="5" y="73"/>
                    </a:cubicBezTo>
                    <a:cubicBezTo>
                      <a:pt x="4" y="73"/>
                      <a:pt x="1" y="70"/>
                      <a:pt x="1" y="70"/>
                    </a:cubicBezTo>
                    <a:cubicBezTo>
                      <a:pt x="1" y="70"/>
                      <a:pt x="1" y="70"/>
                      <a:pt x="1" y="70"/>
                    </a:cubicBezTo>
                    <a:cubicBezTo>
                      <a:pt x="3" y="75"/>
                      <a:pt x="7" y="76"/>
                      <a:pt x="11" y="79"/>
                    </a:cubicBezTo>
                    <a:cubicBezTo>
                      <a:pt x="15" y="81"/>
                      <a:pt x="16" y="82"/>
                      <a:pt x="18" y="86"/>
                    </a:cubicBezTo>
                    <a:cubicBezTo>
                      <a:pt x="18" y="88"/>
                      <a:pt x="19" y="89"/>
                      <a:pt x="20" y="91"/>
                    </a:cubicBezTo>
                    <a:cubicBezTo>
                      <a:pt x="23" y="91"/>
                      <a:pt x="23" y="91"/>
                      <a:pt x="23" y="91"/>
                    </a:cubicBezTo>
                    <a:cubicBezTo>
                      <a:pt x="24" y="91"/>
                      <a:pt x="24" y="91"/>
                      <a:pt x="24" y="91"/>
                    </a:cubicBezTo>
                    <a:cubicBezTo>
                      <a:pt x="24" y="91"/>
                      <a:pt x="25" y="91"/>
                      <a:pt x="25" y="91"/>
                    </a:cubicBezTo>
                    <a:cubicBezTo>
                      <a:pt x="25" y="90"/>
                      <a:pt x="26" y="89"/>
                      <a:pt x="26" y="89"/>
                    </a:cubicBezTo>
                    <a:cubicBezTo>
                      <a:pt x="26" y="88"/>
                      <a:pt x="27" y="88"/>
                      <a:pt x="27" y="88"/>
                    </a:cubicBezTo>
                    <a:cubicBezTo>
                      <a:pt x="27" y="87"/>
                      <a:pt x="27" y="87"/>
                      <a:pt x="27" y="86"/>
                    </a:cubicBezTo>
                    <a:cubicBezTo>
                      <a:pt x="27" y="86"/>
                      <a:pt x="26" y="85"/>
                      <a:pt x="26" y="84"/>
                    </a:cubicBezTo>
                    <a:cubicBezTo>
                      <a:pt x="27" y="82"/>
                      <a:pt x="28" y="81"/>
                      <a:pt x="28" y="81"/>
                    </a:cubicBezTo>
                    <a:cubicBezTo>
                      <a:pt x="29" y="81"/>
                      <a:pt x="29" y="80"/>
                      <a:pt x="29" y="80"/>
                    </a:cubicBezTo>
                    <a:cubicBezTo>
                      <a:pt x="30" y="79"/>
                      <a:pt x="31" y="78"/>
                      <a:pt x="32" y="78"/>
                    </a:cubicBezTo>
                    <a:cubicBezTo>
                      <a:pt x="33" y="78"/>
                      <a:pt x="34" y="77"/>
                      <a:pt x="35" y="77"/>
                    </a:cubicBezTo>
                    <a:cubicBezTo>
                      <a:pt x="35" y="77"/>
                      <a:pt x="35" y="77"/>
                      <a:pt x="36" y="78"/>
                    </a:cubicBezTo>
                    <a:cubicBezTo>
                      <a:pt x="36" y="78"/>
                      <a:pt x="36" y="78"/>
                      <a:pt x="36" y="78"/>
                    </a:cubicBezTo>
                    <a:cubicBezTo>
                      <a:pt x="36" y="77"/>
                      <a:pt x="37" y="75"/>
                      <a:pt x="37" y="74"/>
                    </a:cubicBezTo>
                    <a:cubicBezTo>
                      <a:pt x="37" y="74"/>
                      <a:pt x="37" y="74"/>
                      <a:pt x="37" y="74"/>
                    </a:cubicBezTo>
                    <a:cubicBezTo>
                      <a:pt x="38" y="71"/>
                      <a:pt x="39" y="69"/>
                      <a:pt x="40" y="67"/>
                    </a:cubicBezTo>
                    <a:cubicBezTo>
                      <a:pt x="42" y="65"/>
                      <a:pt x="44" y="63"/>
                      <a:pt x="45" y="63"/>
                    </a:cubicBezTo>
                    <a:cubicBezTo>
                      <a:pt x="46" y="62"/>
                      <a:pt x="46" y="62"/>
                      <a:pt x="46" y="62"/>
                    </a:cubicBezTo>
                    <a:cubicBezTo>
                      <a:pt x="46" y="62"/>
                      <a:pt x="46" y="62"/>
                      <a:pt x="46" y="62"/>
                    </a:cubicBezTo>
                    <a:cubicBezTo>
                      <a:pt x="46" y="62"/>
                      <a:pt x="46" y="62"/>
                      <a:pt x="46" y="61"/>
                    </a:cubicBezTo>
                    <a:cubicBezTo>
                      <a:pt x="45" y="59"/>
                      <a:pt x="45" y="58"/>
                      <a:pt x="45" y="57"/>
                    </a:cubicBezTo>
                    <a:cubicBezTo>
                      <a:pt x="45" y="57"/>
                      <a:pt x="45" y="57"/>
                      <a:pt x="45" y="57"/>
                    </a:cubicBezTo>
                    <a:cubicBezTo>
                      <a:pt x="45" y="57"/>
                      <a:pt x="45" y="57"/>
                      <a:pt x="45" y="57"/>
                    </a:cubicBezTo>
                    <a:cubicBezTo>
                      <a:pt x="43" y="58"/>
                      <a:pt x="43" y="58"/>
                      <a:pt x="43" y="58"/>
                    </a:cubicBezTo>
                    <a:cubicBezTo>
                      <a:pt x="40" y="53"/>
                      <a:pt x="40" y="53"/>
                      <a:pt x="40" y="53"/>
                    </a:cubicBezTo>
                    <a:cubicBezTo>
                      <a:pt x="39" y="52"/>
                      <a:pt x="38" y="51"/>
                      <a:pt x="37" y="50"/>
                    </a:cubicBezTo>
                    <a:cubicBezTo>
                      <a:pt x="37" y="50"/>
                      <a:pt x="37" y="50"/>
                      <a:pt x="37" y="50"/>
                    </a:cubicBezTo>
                    <a:cubicBezTo>
                      <a:pt x="36" y="49"/>
                      <a:pt x="36" y="49"/>
                      <a:pt x="36" y="49"/>
                    </a:cubicBezTo>
                    <a:cubicBezTo>
                      <a:pt x="35" y="48"/>
                      <a:pt x="33" y="46"/>
                      <a:pt x="32" y="44"/>
                    </a:cubicBezTo>
                    <a:cubicBezTo>
                      <a:pt x="32" y="43"/>
                      <a:pt x="32" y="43"/>
                      <a:pt x="32" y="43"/>
                    </a:cubicBezTo>
                    <a:cubicBezTo>
                      <a:pt x="31" y="40"/>
                      <a:pt x="32" y="38"/>
                      <a:pt x="33" y="37"/>
                    </a:cubicBezTo>
                    <a:cubicBezTo>
                      <a:pt x="33" y="37"/>
                      <a:pt x="33" y="37"/>
                      <a:pt x="33" y="37"/>
                    </a:cubicBezTo>
                    <a:cubicBezTo>
                      <a:pt x="33" y="36"/>
                      <a:pt x="33" y="36"/>
                      <a:pt x="32" y="36"/>
                    </a:cubicBezTo>
                    <a:cubicBezTo>
                      <a:pt x="31" y="34"/>
                      <a:pt x="31" y="33"/>
                      <a:pt x="30" y="32"/>
                    </a:cubicBezTo>
                    <a:cubicBezTo>
                      <a:pt x="29" y="28"/>
                      <a:pt x="29" y="28"/>
                      <a:pt x="29" y="28"/>
                    </a:cubicBezTo>
                    <a:cubicBezTo>
                      <a:pt x="33" y="28"/>
                      <a:pt x="33" y="28"/>
                      <a:pt x="33" y="28"/>
                    </a:cubicBezTo>
                    <a:cubicBezTo>
                      <a:pt x="33" y="27"/>
                      <a:pt x="33" y="27"/>
                      <a:pt x="33" y="27"/>
                    </a:cubicBezTo>
                    <a:cubicBezTo>
                      <a:pt x="33" y="26"/>
                      <a:pt x="33" y="26"/>
                      <a:pt x="33" y="25"/>
                    </a:cubicBezTo>
                    <a:cubicBezTo>
                      <a:pt x="33" y="24"/>
                      <a:pt x="33" y="24"/>
                      <a:pt x="33" y="24"/>
                    </a:cubicBezTo>
                    <a:cubicBezTo>
                      <a:pt x="33" y="24"/>
                      <a:pt x="33" y="24"/>
                      <a:pt x="33" y="24"/>
                    </a:cubicBezTo>
                    <a:cubicBezTo>
                      <a:pt x="33" y="24"/>
                      <a:pt x="33" y="24"/>
                      <a:pt x="33" y="24"/>
                    </a:cubicBezTo>
                    <a:cubicBezTo>
                      <a:pt x="34" y="21"/>
                      <a:pt x="34" y="21"/>
                      <a:pt x="34" y="21"/>
                    </a:cubicBezTo>
                    <a:cubicBezTo>
                      <a:pt x="34" y="20"/>
                      <a:pt x="34" y="20"/>
                      <a:pt x="34" y="20"/>
                    </a:cubicBezTo>
                    <a:cubicBezTo>
                      <a:pt x="33" y="17"/>
                      <a:pt x="33" y="17"/>
                      <a:pt x="33" y="17"/>
                    </a:cubicBezTo>
                    <a:cubicBezTo>
                      <a:pt x="33" y="17"/>
                      <a:pt x="33" y="16"/>
                      <a:pt x="33" y="16"/>
                    </a:cubicBezTo>
                    <a:cubicBezTo>
                      <a:pt x="33" y="14"/>
                      <a:pt x="33" y="12"/>
                      <a:pt x="32" y="11"/>
                    </a:cubicBezTo>
                    <a:cubicBezTo>
                      <a:pt x="32" y="11"/>
                      <a:pt x="32" y="11"/>
                      <a:pt x="32" y="11"/>
                    </a:cubicBezTo>
                    <a:cubicBezTo>
                      <a:pt x="32" y="10"/>
                      <a:pt x="31" y="10"/>
                      <a:pt x="31" y="10"/>
                    </a:cubicBezTo>
                    <a:cubicBezTo>
                      <a:pt x="31" y="9"/>
                      <a:pt x="30" y="9"/>
                      <a:pt x="30" y="9"/>
                    </a:cubicBezTo>
                    <a:cubicBezTo>
                      <a:pt x="29" y="8"/>
                      <a:pt x="28" y="8"/>
                      <a:pt x="28" y="7"/>
                    </a:cubicBezTo>
                    <a:cubicBezTo>
                      <a:pt x="27" y="7"/>
                      <a:pt x="27" y="7"/>
                      <a:pt x="27" y="7"/>
                    </a:cubicBezTo>
                    <a:cubicBezTo>
                      <a:pt x="27" y="6"/>
                      <a:pt x="27" y="6"/>
                      <a:pt x="27" y="6"/>
                    </a:cubicBezTo>
                    <a:cubicBezTo>
                      <a:pt x="26" y="6"/>
                      <a:pt x="26" y="6"/>
                      <a:pt x="25" y="5"/>
                    </a:cubicBezTo>
                    <a:cubicBezTo>
                      <a:pt x="25" y="4"/>
                      <a:pt x="25" y="4"/>
                      <a:pt x="25" y="4"/>
                    </a:cubicBezTo>
                    <a:cubicBezTo>
                      <a:pt x="24" y="4"/>
                      <a:pt x="24" y="3"/>
                      <a:pt x="23" y="3"/>
                    </a:cubicBezTo>
                    <a:cubicBezTo>
                      <a:pt x="22" y="2"/>
                      <a:pt x="22" y="2"/>
                      <a:pt x="22" y="2"/>
                    </a:cubicBezTo>
                    <a:cubicBezTo>
                      <a:pt x="22" y="1"/>
                      <a:pt x="22" y="1"/>
                      <a:pt x="22" y="1"/>
                    </a:cubicBezTo>
                    <a:cubicBezTo>
                      <a:pt x="20" y="2"/>
                      <a:pt x="18" y="3"/>
                      <a:pt x="16" y="3"/>
                    </a:cubicBezTo>
                    <a:cubicBezTo>
                      <a:pt x="14" y="3"/>
                      <a:pt x="13"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296"/>
              <p:cNvSpPr/>
              <p:nvPr/>
            </p:nvSpPr>
            <p:spPr bwMode="auto">
              <a:xfrm>
                <a:off x="6176254" y="4768540"/>
                <a:ext cx="132664" cy="125294"/>
              </a:xfrm>
              <a:custGeom>
                <a:gdLst>
                  <a:gd name="T0" fmla="*/ 17 w 41"/>
                  <a:gd name="T1" fmla="*/ 0 h 40"/>
                  <a:gd name="T2" fmla="*/ 18 w 41"/>
                  <a:gd name="T3" fmla="*/ 5 h 40"/>
                  <a:gd name="T4" fmla="*/ 14 w 41"/>
                  <a:gd name="T5" fmla="*/ 9 h 40"/>
                  <a:gd name="T6" fmla="*/ 11 w 41"/>
                  <a:gd name="T7" fmla="*/ 9 h 40"/>
                  <a:gd name="T8" fmla="*/ 11 w 41"/>
                  <a:gd name="T9" fmla="*/ 10 h 40"/>
                  <a:gd name="T10" fmla="*/ 11 w 41"/>
                  <a:gd name="T11" fmla="*/ 10 h 40"/>
                  <a:gd name="T12" fmla="*/ 11 w 41"/>
                  <a:gd name="T13" fmla="*/ 11 h 40"/>
                  <a:gd name="T14" fmla="*/ 13 w 41"/>
                  <a:gd name="T15" fmla="*/ 13 h 40"/>
                  <a:gd name="T16" fmla="*/ 6 w 41"/>
                  <a:gd name="T17" fmla="*/ 15 h 40"/>
                  <a:gd name="T18" fmla="*/ 2 w 41"/>
                  <a:gd name="T19" fmla="*/ 16 h 40"/>
                  <a:gd name="T20" fmla="*/ 0 w 41"/>
                  <a:gd name="T21" fmla="*/ 16 h 40"/>
                  <a:gd name="T22" fmla="*/ 0 w 41"/>
                  <a:gd name="T23" fmla="*/ 19 h 40"/>
                  <a:gd name="T24" fmla="*/ 1 w 41"/>
                  <a:gd name="T25" fmla="*/ 20 h 40"/>
                  <a:gd name="T26" fmla="*/ 7 w 41"/>
                  <a:gd name="T27" fmla="*/ 27 h 40"/>
                  <a:gd name="T28" fmla="*/ 10 w 41"/>
                  <a:gd name="T29" fmla="*/ 29 h 40"/>
                  <a:gd name="T30" fmla="*/ 11 w 41"/>
                  <a:gd name="T31" fmla="*/ 30 h 40"/>
                  <a:gd name="T32" fmla="*/ 11 w 41"/>
                  <a:gd name="T33" fmla="*/ 30 h 40"/>
                  <a:gd name="T34" fmla="*/ 12 w 41"/>
                  <a:gd name="T35" fmla="*/ 31 h 40"/>
                  <a:gd name="T36" fmla="*/ 13 w 41"/>
                  <a:gd name="T37" fmla="*/ 33 h 40"/>
                  <a:gd name="T38" fmla="*/ 14 w 41"/>
                  <a:gd name="T39" fmla="*/ 39 h 40"/>
                  <a:gd name="T40" fmla="*/ 14 w 41"/>
                  <a:gd name="T41" fmla="*/ 40 h 40"/>
                  <a:gd name="T42" fmla="*/ 15 w 41"/>
                  <a:gd name="T43" fmla="*/ 38 h 40"/>
                  <a:gd name="T44" fmla="*/ 18 w 41"/>
                  <a:gd name="T45" fmla="*/ 35 h 40"/>
                  <a:gd name="T46" fmla="*/ 19 w 41"/>
                  <a:gd name="T47" fmla="*/ 34 h 40"/>
                  <a:gd name="T48" fmla="*/ 21 w 41"/>
                  <a:gd name="T49" fmla="*/ 32 h 40"/>
                  <a:gd name="T50" fmla="*/ 21 w 41"/>
                  <a:gd name="T51" fmla="*/ 32 h 40"/>
                  <a:gd name="T52" fmla="*/ 20 w 41"/>
                  <a:gd name="T53" fmla="*/ 24 h 40"/>
                  <a:gd name="T54" fmla="*/ 23 w 41"/>
                  <a:gd name="T55" fmla="*/ 31 h 40"/>
                  <a:gd name="T56" fmla="*/ 24 w 41"/>
                  <a:gd name="T57" fmla="*/ 31 h 40"/>
                  <a:gd name="T58" fmla="*/ 24 w 41"/>
                  <a:gd name="T59" fmla="*/ 31 h 40"/>
                  <a:gd name="T60" fmla="*/ 25 w 41"/>
                  <a:gd name="T61" fmla="*/ 31 h 40"/>
                  <a:gd name="T62" fmla="*/ 29 w 41"/>
                  <a:gd name="T63" fmla="*/ 33 h 40"/>
                  <a:gd name="T64" fmla="*/ 30 w 41"/>
                  <a:gd name="T65" fmla="*/ 33 h 40"/>
                  <a:gd name="T66" fmla="*/ 33 w 41"/>
                  <a:gd name="T67" fmla="*/ 29 h 40"/>
                  <a:gd name="T68" fmla="*/ 36 w 41"/>
                  <a:gd name="T69" fmla="*/ 28 h 40"/>
                  <a:gd name="T70" fmla="*/ 37 w 41"/>
                  <a:gd name="T71" fmla="*/ 28 h 40"/>
                  <a:gd name="T72" fmla="*/ 37 w 41"/>
                  <a:gd name="T73" fmla="*/ 27 h 40"/>
                  <a:gd name="T74" fmla="*/ 39 w 41"/>
                  <a:gd name="T75" fmla="*/ 25 h 40"/>
                  <a:gd name="T76" fmla="*/ 41 w 41"/>
                  <a:gd name="T77" fmla="*/ 20 h 40"/>
                  <a:gd name="T78" fmla="*/ 41 w 41"/>
                  <a:gd name="T79" fmla="*/ 20 h 40"/>
                  <a:gd name="T80" fmla="*/ 34 w 41"/>
                  <a:gd name="T81" fmla="*/ 16 h 40"/>
                  <a:gd name="T82" fmla="*/ 33 w 41"/>
                  <a:gd name="T83" fmla="*/ 12 h 40"/>
                  <a:gd name="T84" fmla="*/ 32 w 41"/>
                  <a:gd name="T85" fmla="*/ 12 h 40"/>
                  <a:gd name="T86" fmla="*/ 32 w 41"/>
                  <a:gd name="T87" fmla="*/ 10 h 40"/>
                  <a:gd name="T88" fmla="*/ 31 w 41"/>
                  <a:gd name="T89" fmla="*/ 10 h 40"/>
                  <a:gd name="T90" fmla="*/ 24 w 41"/>
                  <a:gd name="T91" fmla="*/ 1 h 40"/>
                  <a:gd name="T92" fmla="*/ 21 w 41"/>
                  <a:gd name="T93" fmla="*/ 0 h 40"/>
                  <a:gd name="T94" fmla="*/ 19 w 41"/>
                  <a:gd name="T95" fmla="*/ 0 h 40"/>
                  <a:gd name="T96" fmla="*/ 18 w 41"/>
                  <a:gd name="T97" fmla="*/ 0 h 40"/>
                  <a:gd name="T98" fmla="*/ 17 w 41"/>
                  <a:gd name="T99"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0">
                    <a:moveTo>
                      <a:pt x="17" y="0"/>
                    </a:moveTo>
                    <a:cubicBezTo>
                      <a:pt x="18" y="1"/>
                      <a:pt x="19" y="3"/>
                      <a:pt x="18" y="5"/>
                    </a:cubicBezTo>
                    <a:cubicBezTo>
                      <a:pt x="18" y="7"/>
                      <a:pt x="15" y="8"/>
                      <a:pt x="14" y="9"/>
                    </a:cubicBezTo>
                    <a:cubicBezTo>
                      <a:pt x="13" y="9"/>
                      <a:pt x="12" y="9"/>
                      <a:pt x="11" y="9"/>
                    </a:cubicBezTo>
                    <a:cubicBezTo>
                      <a:pt x="11" y="10"/>
                      <a:pt x="11" y="10"/>
                      <a:pt x="11" y="10"/>
                    </a:cubicBezTo>
                    <a:cubicBezTo>
                      <a:pt x="11" y="10"/>
                      <a:pt x="11" y="10"/>
                      <a:pt x="11" y="10"/>
                    </a:cubicBezTo>
                    <a:cubicBezTo>
                      <a:pt x="11" y="11"/>
                      <a:pt x="11" y="11"/>
                      <a:pt x="11" y="11"/>
                    </a:cubicBezTo>
                    <a:cubicBezTo>
                      <a:pt x="13" y="13"/>
                      <a:pt x="13" y="13"/>
                      <a:pt x="13" y="13"/>
                    </a:cubicBezTo>
                    <a:cubicBezTo>
                      <a:pt x="6" y="15"/>
                      <a:pt x="6" y="15"/>
                      <a:pt x="6" y="15"/>
                    </a:cubicBezTo>
                    <a:cubicBezTo>
                      <a:pt x="5" y="15"/>
                      <a:pt x="4" y="16"/>
                      <a:pt x="2" y="16"/>
                    </a:cubicBezTo>
                    <a:cubicBezTo>
                      <a:pt x="1" y="16"/>
                      <a:pt x="0" y="16"/>
                      <a:pt x="0" y="16"/>
                    </a:cubicBezTo>
                    <a:cubicBezTo>
                      <a:pt x="0" y="17"/>
                      <a:pt x="0" y="19"/>
                      <a:pt x="0" y="19"/>
                    </a:cubicBezTo>
                    <a:cubicBezTo>
                      <a:pt x="1" y="20"/>
                      <a:pt x="1" y="20"/>
                      <a:pt x="1" y="20"/>
                    </a:cubicBezTo>
                    <a:cubicBezTo>
                      <a:pt x="2" y="22"/>
                      <a:pt x="6" y="26"/>
                      <a:pt x="7" y="27"/>
                    </a:cubicBezTo>
                    <a:cubicBezTo>
                      <a:pt x="9" y="27"/>
                      <a:pt x="9" y="28"/>
                      <a:pt x="10" y="29"/>
                    </a:cubicBezTo>
                    <a:cubicBezTo>
                      <a:pt x="11" y="29"/>
                      <a:pt x="11" y="30"/>
                      <a:pt x="11" y="30"/>
                    </a:cubicBezTo>
                    <a:cubicBezTo>
                      <a:pt x="11" y="30"/>
                      <a:pt x="11" y="30"/>
                      <a:pt x="11" y="30"/>
                    </a:cubicBezTo>
                    <a:cubicBezTo>
                      <a:pt x="12" y="31"/>
                      <a:pt x="12" y="31"/>
                      <a:pt x="12" y="31"/>
                    </a:cubicBezTo>
                    <a:cubicBezTo>
                      <a:pt x="12" y="31"/>
                      <a:pt x="13" y="32"/>
                      <a:pt x="13" y="33"/>
                    </a:cubicBezTo>
                    <a:cubicBezTo>
                      <a:pt x="14" y="35"/>
                      <a:pt x="14" y="37"/>
                      <a:pt x="14" y="39"/>
                    </a:cubicBezTo>
                    <a:cubicBezTo>
                      <a:pt x="14" y="39"/>
                      <a:pt x="14" y="40"/>
                      <a:pt x="14" y="40"/>
                    </a:cubicBezTo>
                    <a:cubicBezTo>
                      <a:pt x="15" y="39"/>
                      <a:pt x="15" y="39"/>
                      <a:pt x="15" y="38"/>
                    </a:cubicBezTo>
                    <a:cubicBezTo>
                      <a:pt x="16" y="37"/>
                      <a:pt x="17" y="36"/>
                      <a:pt x="18" y="35"/>
                    </a:cubicBezTo>
                    <a:cubicBezTo>
                      <a:pt x="18" y="34"/>
                      <a:pt x="18" y="34"/>
                      <a:pt x="19" y="34"/>
                    </a:cubicBezTo>
                    <a:cubicBezTo>
                      <a:pt x="19" y="33"/>
                      <a:pt x="20" y="33"/>
                      <a:pt x="21" y="32"/>
                    </a:cubicBezTo>
                    <a:cubicBezTo>
                      <a:pt x="21" y="32"/>
                      <a:pt x="21" y="32"/>
                      <a:pt x="21" y="32"/>
                    </a:cubicBezTo>
                    <a:cubicBezTo>
                      <a:pt x="20" y="24"/>
                      <a:pt x="20" y="24"/>
                      <a:pt x="20" y="24"/>
                    </a:cubicBezTo>
                    <a:cubicBezTo>
                      <a:pt x="23" y="31"/>
                      <a:pt x="23" y="31"/>
                      <a:pt x="23" y="31"/>
                    </a:cubicBezTo>
                    <a:cubicBezTo>
                      <a:pt x="24" y="31"/>
                      <a:pt x="24" y="31"/>
                      <a:pt x="24" y="31"/>
                    </a:cubicBezTo>
                    <a:cubicBezTo>
                      <a:pt x="24" y="31"/>
                      <a:pt x="24" y="31"/>
                      <a:pt x="24" y="31"/>
                    </a:cubicBezTo>
                    <a:cubicBezTo>
                      <a:pt x="24" y="31"/>
                      <a:pt x="25" y="31"/>
                      <a:pt x="25" y="31"/>
                    </a:cubicBezTo>
                    <a:cubicBezTo>
                      <a:pt x="27" y="32"/>
                      <a:pt x="28" y="32"/>
                      <a:pt x="29" y="33"/>
                    </a:cubicBezTo>
                    <a:cubicBezTo>
                      <a:pt x="30" y="33"/>
                      <a:pt x="30" y="33"/>
                      <a:pt x="30" y="33"/>
                    </a:cubicBezTo>
                    <a:cubicBezTo>
                      <a:pt x="30" y="32"/>
                      <a:pt x="31" y="30"/>
                      <a:pt x="33" y="29"/>
                    </a:cubicBezTo>
                    <a:cubicBezTo>
                      <a:pt x="34" y="29"/>
                      <a:pt x="35" y="29"/>
                      <a:pt x="36" y="28"/>
                    </a:cubicBezTo>
                    <a:cubicBezTo>
                      <a:pt x="37" y="28"/>
                      <a:pt x="37" y="28"/>
                      <a:pt x="37" y="28"/>
                    </a:cubicBezTo>
                    <a:cubicBezTo>
                      <a:pt x="37" y="27"/>
                      <a:pt x="37" y="27"/>
                      <a:pt x="37" y="27"/>
                    </a:cubicBezTo>
                    <a:cubicBezTo>
                      <a:pt x="37" y="27"/>
                      <a:pt x="38" y="26"/>
                      <a:pt x="39" y="25"/>
                    </a:cubicBezTo>
                    <a:cubicBezTo>
                      <a:pt x="40" y="23"/>
                      <a:pt x="41" y="21"/>
                      <a:pt x="41" y="20"/>
                    </a:cubicBezTo>
                    <a:cubicBezTo>
                      <a:pt x="41" y="20"/>
                      <a:pt x="41" y="20"/>
                      <a:pt x="41" y="20"/>
                    </a:cubicBezTo>
                    <a:cubicBezTo>
                      <a:pt x="39" y="20"/>
                      <a:pt x="36" y="19"/>
                      <a:pt x="34" y="16"/>
                    </a:cubicBezTo>
                    <a:cubicBezTo>
                      <a:pt x="33" y="15"/>
                      <a:pt x="33" y="13"/>
                      <a:pt x="33" y="12"/>
                    </a:cubicBezTo>
                    <a:cubicBezTo>
                      <a:pt x="32" y="12"/>
                      <a:pt x="32" y="12"/>
                      <a:pt x="32" y="12"/>
                    </a:cubicBezTo>
                    <a:cubicBezTo>
                      <a:pt x="32" y="11"/>
                      <a:pt x="32" y="10"/>
                      <a:pt x="32" y="10"/>
                    </a:cubicBezTo>
                    <a:cubicBezTo>
                      <a:pt x="32" y="10"/>
                      <a:pt x="32" y="10"/>
                      <a:pt x="31" y="10"/>
                    </a:cubicBezTo>
                    <a:cubicBezTo>
                      <a:pt x="27" y="9"/>
                      <a:pt x="24" y="6"/>
                      <a:pt x="24" y="1"/>
                    </a:cubicBezTo>
                    <a:cubicBezTo>
                      <a:pt x="23" y="1"/>
                      <a:pt x="23" y="1"/>
                      <a:pt x="21" y="0"/>
                    </a:cubicBezTo>
                    <a:cubicBezTo>
                      <a:pt x="21" y="0"/>
                      <a:pt x="20" y="0"/>
                      <a:pt x="19" y="0"/>
                    </a:cubicBezTo>
                    <a:cubicBezTo>
                      <a:pt x="18" y="0"/>
                      <a:pt x="18" y="0"/>
                      <a:pt x="18" y="0"/>
                    </a:cubicBezTo>
                    <a:cubicBezTo>
                      <a:pt x="18"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297"/>
              <p:cNvSpPr/>
              <p:nvPr/>
            </p:nvSpPr>
            <p:spPr bwMode="auto">
              <a:xfrm>
                <a:off x="6220475" y="4871724"/>
                <a:ext cx="202681" cy="140034"/>
              </a:xfrm>
              <a:custGeom>
                <a:gdLst>
                  <a:gd name="T0" fmla="*/ 41 w 64"/>
                  <a:gd name="T1" fmla="*/ 1 h 43"/>
                  <a:gd name="T2" fmla="*/ 33 w 64"/>
                  <a:gd name="T3" fmla="*/ 2 h 43"/>
                  <a:gd name="T4" fmla="*/ 29 w 64"/>
                  <a:gd name="T5" fmla="*/ 2 h 43"/>
                  <a:gd name="T6" fmla="*/ 26 w 64"/>
                  <a:gd name="T7" fmla="*/ 2 h 43"/>
                  <a:gd name="T8" fmla="*/ 24 w 64"/>
                  <a:gd name="T9" fmla="*/ 3 h 43"/>
                  <a:gd name="T10" fmla="*/ 18 w 64"/>
                  <a:gd name="T11" fmla="*/ 7 h 43"/>
                  <a:gd name="T12" fmla="*/ 11 w 64"/>
                  <a:gd name="T13" fmla="*/ 5 h 43"/>
                  <a:gd name="T14" fmla="*/ 10 w 64"/>
                  <a:gd name="T15" fmla="*/ 6 h 43"/>
                  <a:gd name="T16" fmla="*/ 8 w 64"/>
                  <a:gd name="T17" fmla="*/ 9 h 43"/>
                  <a:gd name="T18" fmla="*/ 4 w 64"/>
                  <a:gd name="T19" fmla="*/ 15 h 43"/>
                  <a:gd name="T20" fmla="*/ 1 w 64"/>
                  <a:gd name="T21" fmla="*/ 17 h 43"/>
                  <a:gd name="T22" fmla="*/ 1 w 64"/>
                  <a:gd name="T23" fmla="*/ 21 h 43"/>
                  <a:gd name="T24" fmla="*/ 1 w 64"/>
                  <a:gd name="T25" fmla="*/ 27 h 43"/>
                  <a:gd name="T26" fmla="*/ 0 w 64"/>
                  <a:gd name="T27" fmla="*/ 32 h 43"/>
                  <a:gd name="T28" fmla="*/ 3 w 64"/>
                  <a:gd name="T29" fmla="*/ 36 h 43"/>
                  <a:gd name="T30" fmla="*/ 7 w 64"/>
                  <a:gd name="T31" fmla="*/ 40 h 43"/>
                  <a:gd name="T32" fmla="*/ 10 w 64"/>
                  <a:gd name="T33" fmla="*/ 42 h 43"/>
                  <a:gd name="T34" fmla="*/ 11 w 64"/>
                  <a:gd name="T35" fmla="*/ 42 h 43"/>
                  <a:gd name="T36" fmla="*/ 13 w 64"/>
                  <a:gd name="T37" fmla="*/ 42 h 43"/>
                  <a:gd name="T38" fmla="*/ 16 w 64"/>
                  <a:gd name="T39" fmla="*/ 42 h 43"/>
                  <a:gd name="T40" fmla="*/ 22 w 64"/>
                  <a:gd name="T41" fmla="*/ 41 h 43"/>
                  <a:gd name="T42" fmla="*/ 28 w 64"/>
                  <a:gd name="T43" fmla="*/ 40 h 43"/>
                  <a:gd name="T44" fmla="*/ 31 w 64"/>
                  <a:gd name="T45" fmla="*/ 39 h 43"/>
                  <a:gd name="T46" fmla="*/ 33 w 64"/>
                  <a:gd name="T47" fmla="*/ 36 h 43"/>
                  <a:gd name="T48" fmla="*/ 43 w 64"/>
                  <a:gd name="T49" fmla="*/ 32 h 43"/>
                  <a:gd name="T50" fmla="*/ 49 w 64"/>
                  <a:gd name="T51" fmla="*/ 33 h 43"/>
                  <a:gd name="T52" fmla="*/ 52 w 64"/>
                  <a:gd name="T53" fmla="*/ 33 h 43"/>
                  <a:gd name="T54" fmla="*/ 55 w 64"/>
                  <a:gd name="T55" fmla="*/ 32 h 43"/>
                  <a:gd name="T56" fmla="*/ 57 w 64"/>
                  <a:gd name="T57" fmla="*/ 29 h 43"/>
                  <a:gd name="T58" fmla="*/ 60 w 64"/>
                  <a:gd name="T59" fmla="*/ 26 h 43"/>
                  <a:gd name="T60" fmla="*/ 62 w 64"/>
                  <a:gd name="T61" fmla="*/ 25 h 43"/>
                  <a:gd name="T62" fmla="*/ 64 w 64"/>
                  <a:gd name="T63" fmla="*/ 17 h 43"/>
                  <a:gd name="T64" fmla="*/ 64 w 64"/>
                  <a:gd name="T65" fmla="*/ 17 h 43"/>
                  <a:gd name="T66" fmla="*/ 56 w 64"/>
                  <a:gd name="T67" fmla="*/ 9 h 43"/>
                  <a:gd name="T68" fmla="*/ 55 w 64"/>
                  <a:gd name="T69" fmla="*/ 7 h 43"/>
                  <a:gd name="T70" fmla="*/ 55 w 64"/>
                  <a:gd name="T71" fmla="*/ 7 h 43"/>
                  <a:gd name="T72" fmla="*/ 47 w 64"/>
                  <a:gd name="T73"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43">
                    <a:moveTo>
                      <a:pt x="47" y="0"/>
                    </a:moveTo>
                    <a:cubicBezTo>
                      <a:pt x="41" y="1"/>
                      <a:pt x="41" y="1"/>
                      <a:pt x="41" y="1"/>
                    </a:cubicBezTo>
                    <a:cubicBezTo>
                      <a:pt x="42" y="0"/>
                      <a:pt x="42" y="0"/>
                      <a:pt x="42" y="0"/>
                    </a:cubicBezTo>
                    <a:cubicBezTo>
                      <a:pt x="39" y="1"/>
                      <a:pt x="36" y="1"/>
                      <a:pt x="33" y="2"/>
                    </a:cubicBezTo>
                    <a:cubicBezTo>
                      <a:pt x="30" y="2"/>
                      <a:pt x="30" y="2"/>
                      <a:pt x="30" y="2"/>
                    </a:cubicBezTo>
                    <a:cubicBezTo>
                      <a:pt x="29" y="2"/>
                      <a:pt x="29" y="2"/>
                      <a:pt x="29" y="2"/>
                    </a:cubicBezTo>
                    <a:cubicBezTo>
                      <a:pt x="29" y="2"/>
                      <a:pt x="29" y="2"/>
                      <a:pt x="29" y="2"/>
                    </a:cubicBezTo>
                    <a:cubicBezTo>
                      <a:pt x="26" y="2"/>
                      <a:pt x="26" y="2"/>
                      <a:pt x="26" y="2"/>
                    </a:cubicBezTo>
                    <a:cubicBezTo>
                      <a:pt x="25" y="2"/>
                      <a:pt x="25" y="2"/>
                      <a:pt x="25" y="2"/>
                    </a:cubicBezTo>
                    <a:cubicBezTo>
                      <a:pt x="24" y="2"/>
                      <a:pt x="24" y="2"/>
                      <a:pt x="24" y="3"/>
                    </a:cubicBezTo>
                    <a:cubicBezTo>
                      <a:pt x="23" y="4"/>
                      <a:pt x="23" y="6"/>
                      <a:pt x="21" y="7"/>
                    </a:cubicBezTo>
                    <a:cubicBezTo>
                      <a:pt x="20" y="7"/>
                      <a:pt x="19" y="7"/>
                      <a:pt x="18" y="7"/>
                    </a:cubicBezTo>
                    <a:cubicBezTo>
                      <a:pt x="16" y="7"/>
                      <a:pt x="15" y="7"/>
                      <a:pt x="14" y="6"/>
                    </a:cubicBezTo>
                    <a:cubicBezTo>
                      <a:pt x="13" y="6"/>
                      <a:pt x="12" y="6"/>
                      <a:pt x="11" y="5"/>
                    </a:cubicBezTo>
                    <a:cubicBezTo>
                      <a:pt x="11" y="6"/>
                      <a:pt x="11" y="6"/>
                      <a:pt x="11" y="6"/>
                    </a:cubicBezTo>
                    <a:cubicBezTo>
                      <a:pt x="10" y="6"/>
                      <a:pt x="10" y="6"/>
                      <a:pt x="10" y="6"/>
                    </a:cubicBezTo>
                    <a:cubicBezTo>
                      <a:pt x="10" y="6"/>
                      <a:pt x="10" y="6"/>
                      <a:pt x="10" y="6"/>
                    </a:cubicBezTo>
                    <a:cubicBezTo>
                      <a:pt x="9" y="7"/>
                      <a:pt x="9" y="8"/>
                      <a:pt x="8" y="9"/>
                    </a:cubicBezTo>
                    <a:cubicBezTo>
                      <a:pt x="8" y="10"/>
                      <a:pt x="7" y="11"/>
                      <a:pt x="7" y="12"/>
                    </a:cubicBezTo>
                    <a:cubicBezTo>
                      <a:pt x="6" y="13"/>
                      <a:pt x="5" y="14"/>
                      <a:pt x="4" y="15"/>
                    </a:cubicBezTo>
                    <a:cubicBezTo>
                      <a:pt x="3" y="15"/>
                      <a:pt x="2" y="16"/>
                      <a:pt x="1" y="16"/>
                    </a:cubicBezTo>
                    <a:cubicBezTo>
                      <a:pt x="1" y="17"/>
                      <a:pt x="1" y="17"/>
                      <a:pt x="1" y="17"/>
                    </a:cubicBezTo>
                    <a:cubicBezTo>
                      <a:pt x="1" y="17"/>
                      <a:pt x="1" y="17"/>
                      <a:pt x="1" y="18"/>
                    </a:cubicBezTo>
                    <a:cubicBezTo>
                      <a:pt x="1" y="19"/>
                      <a:pt x="1" y="20"/>
                      <a:pt x="1" y="21"/>
                    </a:cubicBezTo>
                    <a:cubicBezTo>
                      <a:pt x="0" y="24"/>
                      <a:pt x="0" y="24"/>
                      <a:pt x="0" y="24"/>
                    </a:cubicBezTo>
                    <a:cubicBezTo>
                      <a:pt x="0" y="25"/>
                      <a:pt x="1" y="26"/>
                      <a:pt x="1" y="27"/>
                    </a:cubicBezTo>
                    <a:cubicBezTo>
                      <a:pt x="1" y="29"/>
                      <a:pt x="1" y="30"/>
                      <a:pt x="0" y="31"/>
                    </a:cubicBezTo>
                    <a:cubicBezTo>
                      <a:pt x="0" y="32"/>
                      <a:pt x="0" y="32"/>
                      <a:pt x="0" y="32"/>
                    </a:cubicBezTo>
                    <a:cubicBezTo>
                      <a:pt x="0" y="33"/>
                      <a:pt x="1" y="34"/>
                      <a:pt x="1" y="34"/>
                    </a:cubicBezTo>
                    <a:cubicBezTo>
                      <a:pt x="2" y="35"/>
                      <a:pt x="2" y="35"/>
                      <a:pt x="3" y="36"/>
                    </a:cubicBezTo>
                    <a:cubicBezTo>
                      <a:pt x="4" y="37"/>
                      <a:pt x="5" y="38"/>
                      <a:pt x="6" y="40"/>
                    </a:cubicBezTo>
                    <a:cubicBezTo>
                      <a:pt x="7" y="40"/>
                      <a:pt x="7" y="40"/>
                      <a:pt x="7" y="40"/>
                    </a:cubicBezTo>
                    <a:cubicBezTo>
                      <a:pt x="8" y="40"/>
                      <a:pt x="9" y="41"/>
                      <a:pt x="10" y="41"/>
                    </a:cubicBezTo>
                    <a:cubicBezTo>
                      <a:pt x="10" y="42"/>
                      <a:pt x="10" y="42"/>
                      <a:pt x="10" y="42"/>
                    </a:cubicBezTo>
                    <a:cubicBezTo>
                      <a:pt x="10" y="42"/>
                      <a:pt x="10" y="42"/>
                      <a:pt x="10" y="42"/>
                    </a:cubicBezTo>
                    <a:cubicBezTo>
                      <a:pt x="11" y="42"/>
                      <a:pt x="11" y="42"/>
                      <a:pt x="11" y="42"/>
                    </a:cubicBezTo>
                    <a:cubicBezTo>
                      <a:pt x="11" y="43"/>
                      <a:pt x="11" y="43"/>
                      <a:pt x="11" y="43"/>
                    </a:cubicBezTo>
                    <a:cubicBezTo>
                      <a:pt x="11" y="42"/>
                      <a:pt x="12" y="42"/>
                      <a:pt x="13" y="42"/>
                    </a:cubicBezTo>
                    <a:cubicBezTo>
                      <a:pt x="13" y="42"/>
                      <a:pt x="14" y="42"/>
                      <a:pt x="14" y="42"/>
                    </a:cubicBezTo>
                    <a:cubicBezTo>
                      <a:pt x="16" y="42"/>
                      <a:pt x="16" y="42"/>
                      <a:pt x="16" y="42"/>
                    </a:cubicBezTo>
                    <a:cubicBezTo>
                      <a:pt x="17" y="42"/>
                      <a:pt x="17" y="42"/>
                      <a:pt x="18" y="42"/>
                    </a:cubicBezTo>
                    <a:cubicBezTo>
                      <a:pt x="22" y="41"/>
                      <a:pt x="22" y="41"/>
                      <a:pt x="22" y="41"/>
                    </a:cubicBezTo>
                    <a:cubicBezTo>
                      <a:pt x="23" y="41"/>
                      <a:pt x="25" y="41"/>
                      <a:pt x="26" y="40"/>
                    </a:cubicBezTo>
                    <a:cubicBezTo>
                      <a:pt x="27" y="40"/>
                      <a:pt x="27" y="40"/>
                      <a:pt x="28" y="40"/>
                    </a:cubicBezTo>
                    <a:cubicBezTo>
                      <a:pt x="31" y="40"/>
                      <a:pt x="31" y="40"/>
                      <a:pt x="31" y="40"/>
                    </a:cubicBezTo>
                    <a:cubicBezTo>
                      <a:pt x="31" y="39"/>
                      <a:pt x="31" y="39"/>
                      <a:pt x="31" y="39"/>
                    </a:cubicBezTo>
                    <a:cubicBezTo>
                      <a:pt x="31" y="39"/>
                      <a:pt x="31" y="39"/>
                      <a:pt x="31" y="39"/>
                    </a:cubicBezTo>
                    <a:cubicBezTo>
                      <a:pt x="32" y="38"/>
                      <a:pt x="32" y="37"/>
                      <a:pt x="33" y="36"/>
                    </a:cubicBezTo>
                    <a:cubicBezTo>
                      <a:pt x="35" y="34"/>
                      <a:pt x="37" y="33"/>
                      <a:pt x="39" y="33"/>
                    </a:cubicBezTo>
                    <a:cubicBezTo>
                      <a:pt x="40" y="33"/>
                      <a:pt x="42" y="32"/>
                      <a:pt x="43" y="32"/>
                    </a:cubicBezTo>
                    <a:cubicBezTo>
                      <a:pt x="44" y="32"/>
                      <a:pt x="44" y="32"/>
                      <a:pt x="45" y="32"/>
                    </a:cubicBezTo>
                    <a:cubicBezTo>
                      <a:pt x="46" y="32"/>
                      <a:pt x="48" y="32"/>
                      <a:pt x="49" y="33"/>
                    </a:cubicBezTo>
                    <a:cubicBezTo>
                      <a:pt x="51" y="33"/>
                      <a:pt x="51" y="33"/>
                      <a:pt x="51" y="33"/>
                    </a:cubicBezTo>
                    <a:cubicBezTo>
                      <a:pt x="52" y="33"/>
                      <a:pt x="52" y="33"/>
                      <a:pt x="52" y="33"/>
                    </a:cubicBezTo>
                    <a:cubicBezTo>
                      <a:pt x="54" y="33"/>
                      <a:pt x="54" y="33"/>
                      <a:pt x="55" y="33"/>
                    </a:cubicBezTo>
                    <a:cubicBezTo>
                      <a:pt x="55" y="33"/>
                      <a:pt x="55" y="32"/>
                      <a:pt x="55" y="32"/>
                    </a:cubicBezTo>
                    <a:cubicBezTo>
                      <a:pt x="56" y="31"/>
                      <a:pt x="56" y="31"/>
                      <a:pt x="56" y="31"/>
                    </a:cubicBezTo>
                    <a:cubicBezTo>
                      <a:pt x="56" y="30"/>
                      <a:pt x="57" y="29"/>
                      <a:pt x="57" y="29"/>
                    </a:cubicBezTo>
                    <a:cubicBezTo>
                      <a:pt x="58" y="27"/>
                      <a:pt x="59" y="27"/>
                      <a:pt x="60" y="26"/>
                    </a:cubicBezTo>
                    <a:cubicBezTo>
                      <a:pt x="60" y="26"/>
                      <a:pt x="60" y="26"/>
                      <a:pt x="60" y="26"/>
                    </a:cubicBezTo>
                    <a:cubicBezTo>
                      <a:pt x="62" y="26"/>
                      <a:pt x="62" y="26"/>
                      <a:pt x="62" y="26"/>
                    </a:cubicBezTo>
                    <a:cubicBezTo>
                      <a:pt x="62" y="25"/>
                      <a:pt x="62" y="25"/>
                      <a:pt x="62" y="25"/>
                    </a:cubicBezTo>
                    <a:cubicBezTo>
                      <a:pt x="63" y="23"/>
                      <a:pt x="64" y="18"/>
                      <a:pt x="64" y="18"/>
                    </a:cubicBezTo>
                    <a:cubicBezTo>
                      <a:pt x="64" y="17"/>
                      <a:pt x="64" y="17"/>
                      <a:pt x="64" y="17"/>
                    </a:cubicBezTo>
                    <a:cubicBezTo>
                      <a:pt x="64" y="17"/>
                      <a:pt x="64" y="17"/>
                      <a:pt x="64" y="17"/>
                    </a:cubicBezTo>
                    <a:cubicBezTo>
                      <a:pt x="64" y="17"/>
                      <a:pt x="64" y="17"/>
                      <a:pt x="64" y="17"/>
                    </a:cubicBezTo>
                    <a:cubicBezTo>
                      <a:pt x="64" y="17"/>
                      <a:pt x="63" y="15"/>
                      <a:pt x="57" y="9"/>
                    </a:cubicBezTo>
                    <a:cubicBezTo>
                      <a:pt x="56" y="9"/>
                      <a:pt x="56" y="9"/>
                      <a:pt x="56" y="9"/>
                    </a:cubicBezTo>
                    <a:cubicBezTo>
                      <a:pt x="52" y="13"/>
                      <a:pt x="52" y="13"/>
                      <a:pt x="52" y="13"/>
                    </a:cubicBezTo>
                    <a:cubicBezTo>
                      <a:pt x="55" y="7"/>
                      <a:pt x="55" y="7"/>
                      <a:pt x="55" y="7"/>
                    </a:cubicBezTo>
                    <a:cubicBezTo>
                      <a:pt x="55" y="7"/>
                      <a:pt x="55" y="7"/>
                      <a:pt x="55" y="7"/>
                    </a:cubicBezTo>
                    <a:cubicBezTo>
                      <a:pt x="55" y="7"/>
                      <a:pt x="55" y="7"/>
                      <a:pt x="55" y="7"/>
                    </a:cubicBezTo>
                    <a:cubicBezTo>
                      <a:pt x="54" y="6"/>
                      <a:pt x="54" y="6"/>
                      <a:pt x="54" y="6"/>
                    </a:cubicBezTo>
                    <a:cubicBezTo>
                      <a:pt x="51" y="4"/>
                      <a:pt x="49" y="2"/>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298"/>
              <p:cNvSpPr/>
              <p:nvPr/>
            </p:nvSpPr>
            <p:spPr bwMode="auto">
              <a:xfrm>
                <a:off x="6172569" y="4938056"/>
                <a:ext cx="574878" cy="552767"/>
              </a:xfrm>
              <a:custGeom>
                <a:gdLst>
                  <a:gd name="T0" fmla="*/ 174 w 182"/>
                  <a:gd name="T1" fmla="*/ 10 h 174"/>
                  <a:gd name="T2" fmla="*/ 154 w 182"/>
                  <a:gd name="T3" fmla="*/ 15 h 174"/>
                  <a:gd name="T4" fmla="*/ 145 w 182"/>
                  <a:gd name="T5" fmla="*/ 15 h 174"/>
                  <a:gd name="T6" fmla="*/ 139 w 182"/>
                  <a:gd name="T7" fmla="*/ 14 h 174"/>
                  <a:gd name="T8" fmla="*/ 125 w 182"/>
                  <a:gd name="T9" fmla="*/ 5 h 174"/>
                  <a:gd name="T10" fmla="*/ 118 w 182"/>
                  <a:gd name="T11" fmla="*/ 6 h 174"/>
                  <a:gd name="T12" fmla="*/ 100 w 182"/>
                  <a:gd name="T13" fmla="*/ 12 h 174"/>
                  <a:gd name="T14" fmla="*/ 78 w 182"/>
                  <a:gd name="T15" fmla="*/ 13 h 174"/>
                  <a:gd name="T16" fmla="*/ 65 w 182"/>
                  <a:gd name="T17" fmla="*/ 20 h 174"/>
                  <a:gd name="T18" fmla="*/ 59 w 182"/>
                  <a:gd name="T19" fmla="*/ 19 h 174"/>
                  <a:gd name="T20" fmla="*/ 53 w 182"/>
                  <a:gd name="T21" fmla="*/ 22 h 174"/>
                  <a:gd name="T22" fmla="*/ 46 w 182"/>
                  <a:gd name="T23" fmla="*/ 27 h 174"/>
                  <a:gd name="T24" fmla="*/ 34 w 182"/>
                  <a:gd name="T25" fmla="*/ 28 h 174"/>
                  <a:gd name="T26" fmla="*/ 28 w 182"/>
                  <a:gd name="T27" fmla="*/ 29 h 174"/>
                  <a:gd name="T28" fmla="*/ 20 w 182"/>
                  <a:gd name="T29" fmla="*/ 48 h 174"/>
                  <a:gd name="T30" fmla="*/ 12 w 182"/>
                  <a:gd name="T31" fmla="*/ 56 h 174"/>
                  <a:gd name="T32" fmla="*/ 10 w 182"/>
                  <a:gd name="T33" fmla="*/ 56 h 174"/>
                  <a:gd name="T34" fmla="*/ 14 w 182"/>
                  <a:gd name="T35" fmla="*/ 67 h 174"/>
                  <a:gd name="T36" fmla="*/ 3 w 182"/>
                  <a:gd name="T37" fmla="*/ 70 h 174"/>
                  <a:gd name="T38" fmla="*/ 17 w 182"/>
                  <a:gd name="T39" fmla="*/ 86 h 174"/>
                  <a:gd name="T40" fmla="*/ 28 w 182"/>
                  <a:gd name="T41" fmla="*/ 89 h 174"/>
                  <a:gd name="T42" fmla="*/ 23 w 182"/>
                  <a:gd name="T43" fmla="*/ 90 h 174"/>
                  <a:gd name="T44" fmla="*/ 19 w 182"/>
                  <a:gd name="T45" fmla="*/ 93 h 174"/>
                  <a:gd name="T46" fmla="*/ 27 w 182"/>
                  <a:gd name="T47" fmla="*/ 107 h 174"/>
                  <a:gd name="T48" fmla="*/ 39 w 182"/>
                  <a:gd name="T49" fmla="*/ 111 h 174"/>
                  <a:gd name="T50" fmla="*/ 64 w 182"/>
                  <a:gd name="T51" fmla="*/ 109 h 174"/>
                  <a:gd name="T52" fmla="*/ 88 w 182"/>
                  <a:gd name="T53" fmla="*/ 116 h 174"/>
                  <a:gd name="T54" fmla="*/ 59 w 182"/>
                  <a:gd name="T55" fmla="*/ 114 h 174"/>
                  <a:gd name="T56" fmla="*/ 28 w 182"/>
                  <a:gd name="T57" fmla="*/ 124 h 174"/>
                  <a:gd name="T58" fmla="*/ 44 w 182"/>
                  <a:gd name="T59" fmla="*/ 156 h 174"/>
                  <a:gd name="T60" fmla="*/ 53 w 182"/>
                  <a:gd name="T61" fmla="*/ 154 h 174"/>
                  <a:gd name="T62" fmla="*/ 69 w 182"/>
                  <a:gd name="T63" fmla="*/ 164 h 174"/>
                  <a:gd name="T64" fmla="*/ 74 w 182"/>
                  <a:gd name="T65" fmla="*/ 137 h 174"/>
                  <a:gd name="T66" fmla="*/ 94 w 182"/>
                  <a:gd name="T67" fmla="*/ 136 h 174"/>
                  <a:gd name="T68" fmla="*/ 88 w 182"/>
                  <a:gd name="T69" fmla="*/ 135 h 174"/>
                  <a:gd name="T70" fmla="*/ 98 w 182"/>
                  <a:gd name="T71" fmla="*/ 120 h 174"/>
                  <a:gd name="T72" fmla="*/ 101 w 182"/>
                  <a:gd name="T73" fmla="*/ 123 h 174"/>
                  <a:gd name="T74" fmla="*/ 108 w 182"/>
                  <a:gd name="T75" fmla="*/ 130 h 174"/>
                  <a:gd name="T76" fmla="*/ 112 w 182"/>
                  <a:gd name="T77" fmla="*/ 117 h 174"/>
                  <a:gd name="T78" fmla="*/ 74 w 182"/>
                  <a:gd name="T79" fmla="*/ 94 h 174"/>
                  <a:gd name="T80" fmla="*/ 78 w 182"/>
                  <a:gd name="T81" fmla="*/ 83 h 174"/>
                  <a:gd name="T82" fmla="*/ 86 w 182"/>
                  <a:gd name="T83" fmla="*/ 84 h 174"/>
                  <a:gd name="T84" fmla="*/ 85 w 182"/>
                  <a:gd name="T85" fmla="*/ 85 h 174"/>
                  <a:gd name="T86" fmla="*/ 69 w 182"/>
                  <a:gd name="T87" fmla="*/ 49 h 174"/>
                  <a:gd name="T88" fmla="*/ 79 w 182"/>
                  <a:gd name="T89" fmla="*/ 33 h 174"/>
                  <a:gd name="T90" fmla="*/ 77 w 182"/>
                  <a:gd name="T91" fmla="*/ 38 h 174"/>
                  <a:gd name="T92" fmla="*/ 91 w 182"/>
                  <a:gd name="T93" fmla="*/ 51 h 174"/>
                  <a:gd name="T94" fmla="*/ 102 w 182"/>
                  <a:gd name="T95" fmla="*/ 57 h 174"/>
                  <a:gd name="T96" fmla="*/ 103 w 182"/>
                  <a:gd name="T97" fmla="*/ 50 h 174"/>
                  <a:gd name="T98" fmla="*/ 110 w 182"/>
                  <a:gd name="T99" fmla="*/ 56 h 174"/>
                  <a:gd name="T100" fmla="*/ 114 w 182"/>
                  <a:gd name="T101" fmla="*/ 45 h 174"/>
                  <a:gd name="T102" fmla="*/ 133 w 182"/>
                  <a:gd name="T103" fmla="*/ 25 h 174"/>
                  <a:gd name="T104" fmla="*/ 158 w 182"/>
                  <a:gd name="T105" fmla="*/ 26 h 174"/>
                  <a:gd name="T106" fmla="*/ 172 w 182"/>
                  <a:gd name="T107" fmla="*/ 21 h 174"/>
                  <a:gd name="T108" fmla="*/ 173 w 182"/>
                  <a:gd name="T109" fmla="*/ 17 h 174"/>
                  <a:gd name="T110" fmla="*/ 177 w 182"/>
                  <a:gd name="T111" fmla="*/ 8 h 174"/>
                  <a:gd name="T112" fmla="*/ 182 w 182"/>
                  <a:gd name="T113" fmla="*/ 4 h 174"/>
                  <a:gd name="T114" fmla="*/ 178 w 182"/>
                  <a:gd name="T115" fmla="*/ 1 h 174"/>
                  <a:gd name="T116" fmla="*/ 175 w 182"/>
                  <a:gd name="T117" fmla="*/ 0 h 1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174">
                    <a:moveTo>
                      <a:pt x="175" y="0"/>
                    </a:moveTo>
                    <a:cubicBezTo>
                      <a:pt x="175" y="3"/>
                      <a:pt x="175" y="5"/>
                      <a:pt x="175" y="7"/>
                    </a:cubicBezTo>
                    <a:cubicBezTo>
                      <a:pt x="174" y="8"/>
                      <a:pt x="174" y="8"/>
                      <a:pt x="174" y="8"/>
                    </a:cubicBezTo>
                    <a:cubicBezTo>
                      <a:pt x="174" y="10"/>
                      <a:pt x="174" y="10"/>
                      <a:pt x="174" y="10"/>
                    </a:cubicBezTo>
                    <a:cubicBezTo>
                      <a:pt x="172" y="12"/>
                      <a:pt x="168" y="13"/>
                      <a:pt x="165" y="14"/>
                    </a:cubicBezTo>
                    <a:cubicBezTo>
                      <a:pt x="163" y="14"/>
                      <a:pt x="161" y="15"/>
                      <a:pt x="158" y="15"/>
                    </a:cubicBezTo>
                    <a:cubicBezTo>
                      <a:pt x="156" y="15"/>
                      <a:pt x="156" y="15"/>
                      <a:pt x="156" y="15"/>
                    </a:cubicBezTo>
                    <a:cubicBezTo>
                      <a:pt x="155" y="15"/>
                      <a:pt x="155" y="15"/>
                      <a:pt x="154" y="15"/>
                    </a:cubicBezTo>
                    <a:cubicBezTo>
                      <a:pt x="149" y="15"/>
                      <a:pt x="149" y="15"/>
                      <a:pt x="149" y="15"/>
                    </a:cubicBezTo>
                    <a:cubicBezTo>
                      <a:pt x="149" y="16"/>
                      <a:pt x="148" y="16"/>
                      <a:pt x="148" y="16"/>
                    </a:cubicBezTo>
                    <a:cubicBezTo>
                      <a:pt x="147" y="15"/>
                      <a:pt x="147" y="15"/>
                      <a:pt x="147" y="15"/>
                    </a:cubicBezTo>
                    <a:cubicBezTo>
                      <a:pt x="146" y="15"/>
                      <a:pt x="145" y="15"/>
                      <a:pt x="145" y="15"/>
                    </a:cubicBezTo>
                    <a:cubicBezTo>
                      <a:pt x="143" y="15"/>
                      <a:pt x="143" y="15"/>
                      <a:pt x="143" y="15"/>
                    </a:cubicBezTo>
                    <a:cubicBezTo>
                      <a:pt x="143" y="14"/>
                      <a:pt x="143" y="14"/>
                      <a:pt x="143" y="14"/>
                    </a:cubicBezTo>
                    <a:cubicBezTo>
                      <a:pt x="142" y="14"/>
                      <a:pt x="141" y="14"/>
                      <a:pt x="140" y="14"/>
                    </a:cubicBezTo>
                    <a:cubicBezTo>
                      <a:pt x="139" y="14"/>
                      <a:pt x="139" y="14"/>
                      <a:pt x="139" y="14"/>
                    </a:cubicBezTo>
                    <a:cubicBezTo>
                      <a:pt x="138" y="13"/>
                      <a:pt x="138" y="13"/>
                      <a:pt x="137" y="13"/>
                    </a:cubicBezTo>
                    <a:cubicBezTo>
                      <a:pt x="134" y="13"/>
                      <a:pt x="132" y="12"/>
                      <a:pt x="129" y="10"/>
                    </a:cubicBezTo>
                    <a:cubicBezTo>
                      <a:pt x="128" y="8"/>
                      <a:pt x="128" y="8"/>
                      <a:pt x="128" y="8"/>
                    </a:cubicBezTo>
                    <a:cubicBezTo>
                      <a:pt x="127" y="7"/>
                      <a:pt x="125" y="6"/>
                      <a:pt x="125" y="5"/>
                    </a:cubicBezTo>
                    <a:cubicBezTo>
                      <a:pt x="124" y="5"/>
                      <a:pt x="124" y="5"/>
                      <a:pt x="124" y="5"/>
                    </a:cubicBezTo>
                    <a:cubicBezTo>
                      <a:pt x="124" y="5"/>
                      <a:pt x="124" y="5"/>
                      <a:pt x="123" y="5"/>
                    </a:cubicBezTo>
                    <a:cubicBezTo>
                      <a:pt x="122" y="5"/>
                      <a:pt x="121" y="5"/>
                      <a:pt x="120" y="6"/>
                    </a:cubicBezTo>
                    <a:cubicBezTo>
                      <a:pt x="118" y="6"/>
                      <a:pt x="118" y="6"/>
                      <a:pt x="118" y="6"/>
                    </a:cubicBezTo>
                    <a:cubicBezTo>
                      <a:pt x="115" y="6"/>
                      <a:pt x="113" y="7"/>
                      <a:pt x="110" y="8"/>
                    </a:cubicBezTo>
                    <a:cubicBezTo>
                      <a:pt x="106" y="10"/>
                      <a:pt x="106" y="10"/>
                      <a:pt x="106" y="10"/>
                    </a:cubicBezTo>
                    <a:cubicBezTo>
                      <a:pt x="104" y="10"/>
                      <a:pt x="103" y="11"/>
                      <a:pt x="101" y="11"/>
                    </a:cubicBezTo>
                    <a:cubicBezTo>
                      <a:pt x="100" y="12"/>
                      <a:pt x="100" y="12"/>
                      <a:pt x="100" y="12"/>
                    </a:cubicBezTo>
                    <a:cubicBezTo>
                      <a:pt x="96" y="12"/>
                      <a:pt x="91" y="13"/>
                      <a:pt x="87" y="13"/>
                    </a:cubicBezTo>
                    <a:cubicBezTo>
                      <a:pt x="85" y="13"/>
                      <a:pt x="85" y="13"/>
                      <a:pt x="85" y="13"/>
                    </a:cubicBezTo>
                    <a:cubicBezTo>
                      <a:pt x="84" y="13"/>
                      <a:pt x="82" y="13"/>
                      <a:pt x="80" y="13"/>
                    </a:cubicBezTo>
                    <a:cubicBezTo>
                      <a:pt x="78" y="13"/>
                      <a:pt x="78" y="13"/>
                      <a:pt x="78" y="13"/>
                    </a:cubicBezTo>
                    <a:cubicBezTo>
                      <a:pt x="77" y="14"/>
                      <a:pt x="77" y="14"/>
                      <a:pt x="77" y="15"/>
                    </a:cubicBezTo>
                    <a:cubicBezTo>
                      <a:pt x="76" y="16"/>
                      <a:pt x="75" y="17"/>
                      <a:pt x="75" y="17"/>
                    </a:cubicBezTo>
                    <a:cubicBezTo>
                      <a:pt x="73" y="19"/>
                      <a:pt x="71" y="20"/>
                      <a:pt x="67" y="20"/>
                    </a:cubicBezTo>
                    <a:cubicBezTo>
                      <a:pt x="67" y="20"/>
                      <a:pt x="66" y="20"/>
                      <a:pt x="65" y="20"/>
                    </a:cubicBezTo>
                    <a:cubicBezTo>
                      <a:pt x="62" y="19"/>
                      <a:pt x="62" y="19"/>
                      <a:pt x="62" y="19"/>
                    </a:cubicBezTo>
                    <a:cubicBezTo>
                      <a:pt x="62" y="19"/>
                      <a:pt x="60" y="19"/>
                      <a:pt x="60" y="19"/>
                    </a:cubicBezTo>
                    <a:cubicBezTo>
                      <a:pt x="60" y="19"/>
                      <a:pt x="60" y="19"/>
                      <a:pt x="59" y="19"/>
                    </a:cubicBezTo>
                    <a:cubicBezTo>
                      <a:pt x="59" y="19"/>
                      <a:pt x="59" y="19"/>
                      <a:pt x="59" y="19"/>
                    </a:cubicBezTo>
                    <a:cubicBezTo>
                      <a:pt x="58" y="19"/>
                      <a:pt x="57" y="19"/>
                      <a:pt x="56" y="20"/>
                    </a:cubicBezTo>
                    <a:cubicBezTo>
                      <a:pt x="54" y="20"/>
                      <a:pt x="54" y="20"/>
                      <a:pt x="54" y="20"/>
                    </a:cubicBezTo>
                    <a:cubicBezTo>
                      <a:pt x="53" y="21"/>
                      <a:pt x="53" y="21"/>
                      <a:pt x="53" y="21"/>
                    </a:cubicBezTo>
                    <a:cubicBezTo>
                      <a:pt x="53" y="21"/>
                      <a:pt x="53" y="22"/>
                      <a:pt x="53" y="22"/>
                    </a:cubicBezTo>
                    <a:cubicBezTo>
                      <a:pt x="52" y="23"/>
                      <a:pt x="52" y="23"/>
                      <a:pt x="52" y="24"/>
                    </a:cubicBezTo>
                    <a:cubicBezTo>
                      <a:pt x="51" y="25"/>
                      <a:pt x="51" y="25"/>
                      <a:pt x="51" y="25"/>
                    </a:cubicBezTo>
                    <a:cubicBezTo>
                      <a:pt x="50" y="26"/>
                      <a:pt x="49" y="27"/>
                      <a:pt x="48" y="27"/>
                    </a:cubicBezTo>
                    <a:cubicBezTo>
                      <a:pt x="47" y="27"/>
                      <a:pt x="46" y="27"/>
                      <a:pt x="46" y="27"/>
                    </a:cubicBezTo>
                    <a:cubicBezTo>
                      <a:pt x="43" y="27"/>
                      <a:pt x="43" y="27"/>
                      <a:pt x="43" y="27"/>
                    </a:cubicBezTo>
                    <a:cubicBezTo>
                      <a:pt x="42" y="27"/>
                      <a:pt x="42" y="27"/>
                      <a:pt x="42" y="27"/>
                    </a:cubicBezTo>
                    <a:cubicBezTo>
                      <a:pt x="40" y="27"/>
                      <a:pt x="39" y="28"/>
                      <a:pt x="38" y="28"/>
                    </a:cubicBezTo>
                    <a:cubicBezTo>
                      <a:pt x="34" y="28"/>
                      <a:pt x="34" y="28"/>
                      <a:pt x="34" y="28"/>
                    </a:cubicBezTo>
                    <a:cubicBezTo>
                      <a:pt x="34" y="28"/>
                      <a:pt x="33" y="29"/>
                      <a:pt x="32" y="29"/>
                    </a:cubicBezTo>
                    <a:cubicBezTo>
                      <a:pt x="32" y="29"/>
                      <a:pt x="31" y="29"/>
                      <a:pt x="31" y="29"/>
                    </a:cubicBezTo>
                    <a:cubicBezTo>
                      <a:pt x="30" y="29"/>
                      <a:pt x="29" y="29"/>
                      <a:pt x="28" y="29"/>
                    </a:cubicBezTo>
                    <a:cubicBezTo>
                      <a:pt x="28" y="29"/>
                      <a:pt x="28" y="29"/>
                      <a:pt x="28" y="29"/>
                    </a:cubicBezTo>
                    <a:cubicBezTo>
                      <a:pt x="28" y="30"/>
                      <a:pt x="28" y="30"/>
                      <a:pt x="28" y="30"/>
                    </a:cubicBezTo>
                    <a:cubicBezTo>
                      <a:pt x="31" y="35"/>
                      <a:pt x="28" y="38"/>
                      <a:pt x="25" y="40"/>
                    </a:cubicBezTo>
                    <a:cubicBezTo>
                      <a:pt x="24" y="40"/>
                      <a:pt x="23" y="41"/>
                      <a:pt x="22" y="42"/>
                    </a:cubicBezTo>
                    <a:cubicBezTo>
                      <a:pt x="21" y="43"/>
                      <a:pt x="20" y="46"/>
                      <a:pt x="20" y="48"/>
                    </a:cubicBezTo>
                    <a:cubicBezTo>
                      <a:pt x="19" y="48"/>
                      <a:pt x="19" y="48"/>
                      <a:pt x="19" y="48"/>
                    </a:cubicBezTo>
                    <a:cubicBezTo>
                      <a:pt x="19" y="50"/>
                      <a:pt x="18" y="51"/>
                      <a:pt x="18" y="52"/>
                    </a:cubicBezTo>
                    <a:cubicBezTo>
                      <a:pt x="18" y="53"/>
                      <a:pt x="18" y="53"/>
                      <a:pt x="18" y="53"/>
                    </a:cubicBezTo>
                    <a:cubicBezTo>
                      <a:pt x="16" y="55"/>
                      <a:pt x="14" y="56"/>
                      <a:pt x="12" y="56"/>
                    </a:cubicBezTo>
                    <a:cubicBezTo>
                      <a:pt x="12" y="56"/>
                      <a:pt x="12" y="56"/>
                      <a:pt x="11" y="56"/>
                    </a:cubicBezTo>
                    <a:cubicBezTo>
                      <a:pt x="11" y="55"/>
                      <a:pt x="11" y="55"/>
                      <a:pt x="11" y="55"/>
                    </a:cubicBezTo>
                    <a:cubicBezTo>
                      <a:pt x="11" y="55"/>
                      <a:pt x="11" y="55"/>
                      <a:pt x="11" y="55"/>
                    </a:cubicBezTo>
                    <a:cubicBezTo>
                      <a:pt x="11" y="55"/>
                      <a:pt x="11" y="56"/>
                      <a:pt x="10" y="56"/>
                    </a:cubicBezTo>
                    <a:cubicBezTo>
                      <a:pt x="10" y="56"/>
                      <a:pt x="10" y="56"/>
                      <a:pt x="10" y="56"/>
                    </a:cubicBezTo>
                    <a:cubicBezTo>
                      <a:pt x="10" y="57"/>
                      <a:pt x="11" y="58"/>
                      <a:pt x="11" y="59"/>
                    </a:cubicBezTo>
                    <a:cubicBezTo>
                      <a:pt x="11" y="59"/>
                      <a:pt x="11" y="59"/>
                      <a:pt x="11" y="60"/>
                    </a:cubicBezTo>
                    <a:cubicBezTo>
                      <a:pt x="14" y="67"/>
                      <a:pt x="14" y="67"/>
                      <a:pt x="14" y="67"/>
                    </a:cubicBezTo>
                    <a:cubicBezTo>
                      <a:pt x="8" y="65"/>
                      <a:pt x="8" y="65"/>
                      <a:pt x="8" y="65"/>
                    </a:cubicBezTo>
                    <a:cubicBezTo>
                      <a:pt x="8" y="65"/>
                      <a:pt x="8" y="65"/>
                      <a:pt x="8" y="65"/>
                    </a:cubicBezTo>
                    <a:cubicBezTo>
                      <a:pt x="7" y="67"/>
                      <a:pt x="7" y="68"/>
                      <a:pt x="5" y="69"/>
                    </a:cubicBezTo>
                    <a:cubicBezTo>
                      <a:pt x="5" y="69"/>
                      <a:pt x="4" y="69"/>
                      <a:pt x="3" y="70"/>
                    </a:cubicBezTo>
                    <a:cubicBezTo>
                      <a:pt x="2" y="70"/>
                      <a:pt x="2" y="70"/>
                      <a:pt x="2" y="70"/>
                    </a:cubicBezTo>
                    <a:cubicBezTo>
                      <a:pt x="1" y="70"/>
                      <a:pt x="1" y="69"/>
                      <a:pt x="0" y="69"/>
                    </a:cubicBezTo>
                    <a:cubicBezTo>
                      <a:pt x="2" y="72"/>
                      <a:pt x="3" y="75"/>
                      <a:pt x="6" y="78"/>
                    </a:cubicBezTo>
                    <a:cubicBezTo>
                      <a:pt x="9" y="81"/>
                      <a:pt x="14" y="83"/>
                      <a:pt x="17" y="86"/>
                    </a:cubicBezTo>
                    <a:cubicBezTo>
                      <a:pt x="17" y="87"/>
                      <a:pt x="17" y="89"/>
                      <a:pt x="17" y="90"/>
                    </a:cubicBezTo>
                    <a:cubicBezTo>
                      <a:pt x="18" y="88"/>
                      <a:pt x="19" y="84"/>
                      <a:pt x="21" y="84"/>
                    </a:cubicBezTo>
                    <a:cubicBezTo>
                      <a:pt x="21" y="84"/>
                      <a:pt x="21" y="84"/>
                      <a:pt x="21" y="85"/>
                    </a:cubicBezTo>
                    <a:cubicBezTo>
                      <a:pt x="24" y="85"/>
                      <a:pt x="28" y="85"/>
                      <a:pt x="28" y="89"/>
                    </a:cubicBezTo>
                    <a:cubicBezTo>
                      <a:pt x="28" y="90"/>
                      <a:pt x="28" y="91"/>
                      <a:pt x="27" y="92"/>
                    </a:cubicBezTo>
                    <a:cubicBezTo>
                      <a:pt x="26" y="92"/>
                      <a:pt x="25" y="90"/>
                      <a:pt x="23" y="90"/>
                    </a:cubicBezTo>
                    <a:cubicBezTo>
                      <a:pt x="23" y="90"/>
                      <a:pt x="23" y="90"/>
                      <a:pt x="23" y="90"/>
                    </a:cubicBezTo>
                    <a:cubicBezTo>
                      <a:pt x="23" y="90"/>
                      <a:pt x="23" y="90"/>
                      <a:pt x="23" y="90"/>
                    </a:cubicBezTo>
                    <a:cubicBezTo>
                      <a:pt x="22" y="90"/>
                      <a:pt x="22" y="91"/>
                      <a:pt x="22" y="91"/>
                    </a:cubicBezTo>
                    <a:cubicBezTo>
                      <a:pt x="22" y="91"/>
                      <a:pt x="22" y="91"/>
                      <a:pt x="22" y="91"/>
                    </a:cubicBezTo>
                    <a:cubicBezTo>
                      <a:pt x="21" y="91"/>
                      <a:pt x="20" y="90"/>
                      <a:pt x="19" y="90"/>
                    </a:cubicBezTo>
                    <a:cubicBezTo>
                      <a:pt x="18" y="90"/>
                      <a:pt x="17" y="91"/>
                      <a:pt x="19" y="93"/>
                    </a:cubicBezTo>
                    <a:cubicBezTo>
                      <a:pt x="16" y="93"/>
                      <a:pt x="18" y="95"/>
                      <a:pt x="19" y="96"/>
                    </a:cubicBezTo>
                    <a:cubicBezTo>
                      <a:pt x="21" y="99"/>
                      <a:pt x="24" y="101"/>
                      <a:pt x="26" y="103"/>
                    </a:cubicBezTo>
                    <a:cubicBezTo>
                      <a:pt x="26" y="105"/>
                      <a:pt x="27" y="106"/>
                      <a:pt x="28" y="107"/>
                    </a:cubicBezTo>
                    <a:cubicBezTo>
                      <a:pt x="27" y="107"/>
                      <a:pt x="27" y="107"/>
                      <a:pt x="27" y="107"/>
                    </a:cubicBezTo>
                    <a:cubicBezTo>
                      <a:pt x="28" y="108"/>
                      <a:pt x="28" y="109"/>
                      <a:pt x="28" y="110"/>
                    </a:cubicBezTo>
                    <a:cubicBezTo>
                      <a:pt x="30" y="109"/>
                      <a:pt x="32" y="107"/>
                      <a:pt x="35" y="106"/>
                    </a:cubicBezTo>
                    <a:cubicBezTo>
                      <a:pt x="34" y="106"/>
                      <a:pt x="34" y="105"/>
                      <a:pt x="34" y="105"/>
                    </a:cubicBezTo>
                    <a:cubicBezTo>
                      <a:pt x="35" y="106"/>
                      <a:pt x="39" y="110"/>
                      <a:pt x="39" y="111"/>
                    </a:cubicBezTo>
                    <a:cubicBezTo>
                      <a:pt x="42" y="111"/>
                      <a:pt x="46" y="110"/>
                      <a:pt x="49" y="109"/>
                    </a:cubicBezTo>
                    <a:cubicBezTo>
                      <a:pt x="50" y="109"/>
                      <a:pt x="52" y="109"/>
                      <a:pt x="53" y="109"/>
                    </a:cubicBezTo>
                    <a:cubicBezTo>
                      <a:pt x="56" y="109"/>
                      <a:pt x="60" y="109"/>
                      <a:pt x="62" y="109"/>
                    </a:cubicBezTo>
                    <a:cubicBezTo>
                      <a:pt x="63" y="109"/>
                      <a:pt x="64" y="109"/>
                      <a:pt x="64" y="109"/>
                    </a:cubicBezTo>
                    <a:cubicBezTo>
                      <a:pt x="64" y="109"/>
                      <a:pt x="65" y="109"/>
                      <a:pt x="65" y="109"/>
                    </a:cubicBezTo>
                    <a:cubicBezTo>
                      <a:pt x="65" y="109"/>
                      <a:pt x="66" y="109"/>
                      <a:pt x="66" y="109"/>
                    </a:cubicBezTo>
                    <a:cubicBezTo>
                      <a:pt x="69" y="109"/>
                      <a:pt x="71" y="109"/>
                      <a:pt x="74" y="110"/>
                    </a:cubicBezTo>
                    <a:cubicBezTo>
                      <a:pt x="78" y="112"/>
                      <a:pt x="83" y="114"/>
                      <a:pt x="88" y="116"/>
                    </a:cubicBezTo>
                    <a:cubicBezTo>
                      <a:pt x="87" y="118"/>
                      <a:pt x="82" y="123"/>
                      <a:pt x="80" y="123"/>
                    </a:cubicBezTo>
                    <a:cubicBezTo>
                      <a:pt x="80" y="123"/>
                      <a:pt x="79" y="123"/>
                      <a:pt x="79" y="123"/>
                    </a:cubicBezTo>
                    <a:cubicBezTo>
                      <a:pt x="77" y="123"/>
                      <a:pt x="75" y="122"/>
                      <a:pt x="74" y="121"/>
                    </a:cubicBezTo>
                    <a:cubicBezTo>
                      <a:pt x="69" y="118"/>
                      <a:pt x="64" y="116"/>
                      <a:pt x="59" y="114"/>
                    </a:cubicBezTo>
                    <a:cubicBezTo>
                      <a:pt x="56" y="113"/>
                      <a:pt x="54" y="110"/>
                      <a:pt x="51" y="110"/>
                    </a:cubicBezTo>
                    <a:cubicBezTo>
                      <a:pt x="45" y="110"/>
                      <a:pt x="37" y="115"/>
                      <a:pt x="34" y="120"/>
                    </a:cubicBezTo>
                    <a:cubicBezTo>
                      <a:pt x="33" y="120"/>
                      <a:pt x="33" y="121"/>
                      <a:pt x="33" y="122"/>
                    </a:cubicBezTo>
                    <a:cubicBezTo>
                      <a:pt x="31" y="123"/>
                      <a:pt x="29" y="123"/>
                      <a:pt x="28" y="124"/>
                    </a:cubicBezTo>
                    <a:cubicBezTo>
                      <a:pt x="27" y="127"/>
                      <a:pt x="33" y="130"/>
                      <a:pt x="34" y="132"/>
                    </a:cubicBezTo>
                    <a:cubicBezTo>
                      <a:pt x="39" y="136"/>
                      <a:pt x="46" y="139"/>
                      <a:pt x="43" y="146"/>
                    </a:cubicBezTo>
                    <a:cubicBezTo>
                      <a:pt x="42" y="148"/>
                      <a:pt x="41" y="148"/>
                      <a:pt x="42" y="151"/>
                    </a:cubicBezTo>
                    <a:cubicBezTo>
                      <a:pt x="42" y="153"/>
                      <a:pt x="43" y="155"/>
                      <a:pt x="44" y="156"/>
                    </a:cubicBezTo>
                    <a:cubicBezTo>
                      <a:pt x="45" y="157"/>
                      <a:pt x="44" y="159"/>
                      <a:pt x="45" y="160"/>
                    </a:cubicBezTo>
                    <a:cubicBezTo>
                      <a:pt x="45" y="160"/>
                      <a:pt x="46" y="160"/>
                      <a:pt x="46" y="160"/>
                    </a:cubicBezTo>
                    <a:cubicBezTo>
                      <a:pt x="49" y="160"/>
                      <a:pt x="51" y="156"/>
                      <a:pt x="52" y="155"/>
                    </a:cubicBezTo>
                    <a:cubicBezTo>
                      <a:pt x="52" y="155"/>
                      <a:pt x="52" y="154"/>
                      <a:pt x="53" y="154"/>
                    </a:cubicBezTo>
                    <a:cubicBezTo>
                      <a:pt x="54" y="153"/>
                      <a:pt x="54" y="153"/>
                      <a:pt x="55" y="153"/>
                    </a:cubicBezTo>
                    <a:cubicBezTo>
                      <a:pt x="61" y="153"/>
                      <a:pt x="66" y="171"/>
                      <a:pt x="67" y="174"/>
                    </a:cubicBezTo>
                    <a:cubicBezTo>
                      <a:pt x="68" y="172"/>
                      <a:pt x="67" y="170"/>
                      <a:pt x="67" y="167"/>
                    </a:cubicBezTo>
                    <a:cubicBezTo>
                      <a:pt x="67" y="166"/>
                      <a:pt x="68" y="165"/>
                      <a:pt x="69" y="164"/>
                    </a:cubicBezTo>
                    <a:cubicBezTo>
                      <a:pt x="69" y="164"/>
                      <a:pt x="69" y="162"/>
                      <a:pt x="70" y="161"/>
                    </a:cubicBezTo>
                    <a:cubicBezTo>
                      <a:pt x="70" y="161"/>
                      <a:pt x="71" y="161"/>
                      <a:pt x="71" y="161"/>
                    </a:cubicBezTo>
                    <a:cubicBezTo>
                      <a:pt x="76" y="161"/>
                      <a:pt x="84" y="170"/>
                      <a:pt x="87" y="172"/>
                    </a:cubicBezTo>
                    <a:cubicBezTo>
                      <a:pt x="84" y="160"/>
                      <a:pt x="80" y="149"/>
                      <a:pt x="74" y="137"/>
                    </a:cubicBezTo>
                    <a:cubicBezTo>
                      <a:pt x="77" y="138"/>
                      <a:pt x="84" y="141"/>
                      <a:pt x="85" y="143"/>
                    </a:cubicBezTo>
                    <a:cubicBezTo>
                      <a:pt x="86" y="144"/>
                      <a:pt x="86" y="144"/>
                      <a:pt x="87" y="144"/>
                    </a:cubicBezTo>
                    <a:cubicBezTo>
                      <a:pt x="88" y="144"/>
                      <a:pt x="89" y="143"/>
                      <a:pt x="90" y="143"/>
                    </a:cubicBezTo>
                    <a:cubicBezTo>
                      <a:pt x="95" y="141"/>
                      <a:pt x="96" y="140"/>
                      <a:pt x="94" y="136"/>
                    </a:cubicBezTo>
                    <a:cubicBezTo>
                      <a:pt x="94" y="134"/>
                      <a:pt x="94" y="134"/>
                      <a:pt x="94" y="134"/>
                    </a:cubicBezTo>
                    <a:cubicBezTo>
                      <a:pt x="93" y="133"/>
                      <a:pt x="93" y="133"/>
                      <a:pt x="92" y="133"/>
                    </a:cubicBezTo>
                    <a:cubicBezTo>
                      <a:pt x="91" y="133"/>
                      <a:pt x="89" y="134"/>
                      <a:pt x="88" y="135"/>
                    </a:cubicBezTo>
                    <a:cubicBezTo>
                      <a:pt x="88" y="135"/>
                      <a:pt x="88" y="135"/>
                      <a:pt x="88" y="135"/>
                    </a:cubicBezTo>
                    <a:cubicBezTo>
                      <a:pt x="88" y="135"/>
                      <a:pt x="85" y="128"/>
                      <a:pt x="84" y="127"/>
                    </a:cubicBezTo>
                    <a:cubicBezTo>
                      <a:pt x="84" y="126"/>
                      <a:pt x="82" y="126"/>
                      <a:pt x="82" y="125"/>
                    </a:cubicBezTo>
                    <a:cubicBezTo>
                      <a:pt x="82" y="122"/>
                      <a:pt x="91" y="123"/>
                      <a:pt x="94" y="122"/>
                    </a:cubicBezTo>
                    <a:cubicBezTo>
                      <a:pt x="95" y="122"/>
                      <a:pt x="96" y="120"/>
                      <a:pt x="98" y="120"/>
                    </a:cubicBezTo>
                    <a:cubicBezTo>
                      <a:pt x="98" y="120"/>
                      <a:pt x="98" y="120"/>
                      <a:pt x="98" y="120"/>
                    </a:cubicBezTo>
                    <a:cubicBezTo>
                      <a:pt x="100" y="120"/>
                      <a:pt x="97" y="123"/>
                      <a:pt x="100" y="123"/>
                    </a:cubicBezTo>
                    <a:cubicBezTo>
                      <a:pt x="100" y="123"/>
                      <a:pt x="100" y="123"/>
                      <a:pt x="100" y="123"/>
                    </a:cubicBezTo>
                    <a:cubicBezTo>
                      <a:pt x="100" y="123"/>
                      <a:pt x="101" y="123"/>
                      <a:pt x="101" y="123"/>
                    </a:cubicBezTo>
                    <a:cubicBezTo>
                      <a:pt x="101" y="123"/>
                      <a:pt x="101" y="123"/>
                      <a:pt x="102" y="123"/>
                    </a:cubicBezTo>
                    <a:cubicBezTo>
                      <a:pt x="103" y="124"/>
                      <a:pt x="103" y="127"/>
                      <a:pt x="104" y="128"/>
                    </a:cubicBezTo>
                    <a:cubicBezTo>
                      <a:pt x="105" y="128"/>
                      <a:pt x="106" y="127"/>
                      <a:pt x="107" y="128"/>
                    </a:cubicBezTo>
                    <a:cubicBezTo>
                      <a:pt x="108" y="129"/>
                      <a:pt x="108" y="130"/>
                      <a:pt x="108" y="130"/>
                    </a:cubicBezTo>
                    <a:cubicBezTo>
                      <a:pt x="109" y="131"/>
                      <a:pt x="108" y="132"/>
                      <a:pt x="110" y="132"/>
                    </a:cubicBezTo>
                    <a:cubicBezTo>
                      <a:pt x="110" y="132"/>
                      <a:pt x="110" y="132"/>
                      <a:pt x="110" y="132"/>
                    </a:cubicBezTo>
                    <a:cubicBezTo>
                      <a:pt x="112" y="132"/>
                      <a:pt x="113" y="129"/>
                      <a:pt x="112" y="127"/>
                    </a:cubicBezTo>
                    <a:cubicBezTo>
                      <a:pt x="112" y="125"/>
                      <a:pt x="109" y="117"/>
                      <a:pt x="112" y="117"/>
                    </a:cubicBezTo>
                    <a:cubicBezTo>
                      <a:pt x="112" y="117"/>
                      <a:pt x="112" y="117"/>
                      <a:pt x="112" y="117"/>
                    </a:cubicBezTo>
                    <a:cubicBezTo>
                      <a:pt x="114" y="113"/>
                      <a:pt x="91" y="105"/>
                      <a:pt x="88" y="102"/>
                    </a:cubicBezTo>
                    <a:cubicBezTo>
                      <a:pt x="85" y="100"/>
                      <a:pt x="83" y="97"/>
                      <a:pt x="79" y="96"/>
                    </a:cubicBezTo>
                    <a:cubicBezTo>
                      <a:pt x="78" y="95"/>
                      <a:pt x="76" y="95"/>
                      <a:pt x="74" y="94"/>
                    </a:cubicBezTo>
                    <a:cubicBezTo>
                      <a:pt x="73" y="94"/>
                      <a:pt x="70" y="94"/>
                      <a:pt x="69" y="93"/>
                    </a:cubicBezTo>
                    <a:cubicBezTo>
                      <a:pt x="73" y="91"/>
                      <a:pt x="78" y="90"/>
                      <a:pt x="82" y="89"/>
                    </a:cubicBezTo>
                    <a:cubicBezTo>
                      <a:pt x="81" y="86"/>
                      <a:pt x="80" y="84"/>
                      <a:pt x="78" y="82"/>
                    </a:cubicBezTo>
                    <a:cubicBezTo>
                      <a:pt x="78" y="83"/>
                      <a:pt x="78" y="83"/>
                      <a:pt x="78" y="83"/>
                    </a:cubicBezTo>
                    <a:cubicBezTo>
                      <a:pt x="75" y="80"/>
                      <a:pt x="79" y="77"/>
                      <a:pt x="82" y="77"/>
                    </a:cubicBezTo>
                    <a:cubicBezTo>
                      <a:pt x="83" y="77"/>
                      <a:pt x="84" y="77"/>
                      <a:pt x="85" y="78"/>
                    </a:cubicBezTo>
                    <a:cubicBezTo>
                      <a:pt x="86" y="79"/>
                      <a:pt x="87" y="79"/>
                      <a:pt x="87" y="81"/>
                    </a:cubicBezTo>
                    <a:cubicBezTo>
                      <a:pt x="88" y="82"/>
                      <a:pt x="88" y="82"/>
                      <a:pt x="86" y="84"/>
                    </a:cubicBezTo>
                    <a:cubicBezTo>
                      <a:pt x="86" y="84"/>
                      <a:pt x="85" y="84"/>
                      <a:pt x="85" y="84"/>
                    </a:cubicBezTo>
                    <a:cubicBezTo>
                      <a:pt x="85" y="84"/>
                      <a:pt x="84" y="84"/>
                      <a:pt x="84" y="84"/>
                    </a:cubicBezTo>
                    <a:cubicBezTo>
                      <a:pt x="83" y="85"/>
                      <a:pt x="83" y="85"/>
                      <a:pt x="83" y="85"/>
                    </a:cubicBezTo>
                    <a:cubicBezTo>
                      <a:pt x="84" y="85"/>
                      <a:pt x="85" y="85"/>
                      <a:pt x="85" y="85"/>
                    </a:cubicBezTo>
                    <a:cubicBezTo>
                      <a:pt x="87" y="85"/>
                      <a:pt x="88" y="84"/>
                      <a:pt x="89" y="84"/>
                    </a:cubicBezTo>
                    <a:cubicBezTo>
                      <a:pt x="91" y="82"/>
                      <a:pt x="93" y="83"/>
                      <a:pt x="90" y="79"/>
                    </a:cubicBezTo>
                    <a:cubicBezTo>
                      <a:pt x="82" y="71"/>
                      <a:pt x="77" y="63"/>
                      <a:pt x="72" y="54"/>
                    </a:cubicBezTo>
                    <a:cubicBezTo>
                      <a:pt x="70" y="52"/>
                      <a:pt x="69" y="51"/>
                      <a:pt x="69" y="49"/>
                    </a:cubicBezTo>
                    <a:cubicBezTo>
                      <a:pt x="69" y="46"/>
                      <a:pt x="71" y="38"/>
                      <a:pt x="74" y="37"/>
                    </a:cubicBezTo>
                    <a:cubicBezTo>
                      <a:pt x="75" y="36"/>
                      <a:pt x="76" y="36"/>
                      <a:pt x="78" y="35"/>
                    </a:cubicBezTo>
                    <a:cubicBezTo>
                      <a:pt x="78" y="35"/>
                      <a:pt x="78" y="33"/>
                      <a:pt x="78" y="33"/>
                    </a:cubicBezTo>
                    <a:cubicBezTo>
                      <a:pt x="78" y="33"/>
                      <a:pt x="79" y="33"/>
                      <a:pt x="79" y="33"/>
                    </a:cubicBezTo>
                    <a:cubicBezTo>
                      <a:pt x="81" y="33"/>
                      <a:pt x="78" y="36"/>
                      <a:pt x="78" y="38"/>
                    </a:cubicBezTo>
                    <a:cubicBezTo>
                      <a:pt x="78" y="38"/>
                      <a:pt x="78" y="38"/>
                      <a:pt x="78" y="38"/>
                    </a:cubicBezTo>
                    <a:cubicBezTo>
                      <a:pt x="78" y="38"/>
                      <a:pt x="78" y="38"/>
                      <a:pt x="77" y="38"/>
                    </a:cubicBezTo>
                    <a:cubicBezTo>
                      <a:pt x="77" y="38"/>
                      <a:pt x="77" y="38"/>
                      <a:pt x="77" y="38"/>
                    </a:cubicBezTo>
                    <a:cubicBezTo>
                      <a:pt x="77" y="38"/>
                      <a:pt x="77" y="38"/>
                      <a:pt x="77" y="38"/>
                    </a:cubicBezTo>
                    <a:cubicBezTo>
                      <a:pt x="77" y="40"/>
                      <a:pt x="81" y="43"/>
                      <a:pt x="83" y="44"/>
                    </a:cubicBezTo>
                    <a:cubicBezTo>
                      <a:pt x="84" y="45"/>
                      <a:pt x="88" y="45"/>
                      <a:pt x="89" y="46"/>
                    </a:cubicBezTo>
                    <a:cubicBezTo>
                      <a:pt x="92" y="48"/>
                      <a:pt x="90" y="49"/>
                      <a:pt x="91" y="51"/>
                    </a:cubicBezTo>
                    <a:cubicBezTo>
                      <a:pt x="91" y="53"/>
                      <a:pt x="93" y="54"/>
                      <a:pt x="92" y="56"/>
                    </a:cubicBezTo>
                    <a:cubicBezTo>
                      <a:pt x="93" y="56"/>
                      <a:pt x="93" y="56"/>
                      <a:pt x="93" y="56"/>
                    </a:cubicBezTo>
                    <a:cubicBezTo>
                      <a:pt x="95" y="56"/>
                      <a:pt x="96" y="56"/>
                      <a:pt x="98" y="57"/>
                    </a:cubicBezTo>
                    <a:cubicBezTo>
                      <a:pt x="99" y="57"/>
                      <a:pt x="100" y="57"/>
                      <a:pt x="102" y="57"/>
                    </a:cubicBezTo>
                    <a:cubicBezTo>
                      <a:pt x="102" y="57"/>
                      <a:pt x="102" y="57"/>
                      <a:pt x="103" y="57"/>
                    </a:cubicBezTo>
                    <a:cubicBezTo>
                      <a:pt x="99" y="54"/>
                      <a:pt x="93" y="53"/>
                      <a:pt x="91" y="48"/>
                    </a:cubicBezTo>
                    <a:cubicBezTo>
                      <a:pt x="93" y="47"/>
                      <a:pt x="95" y="47"/>
                      <a:pt x="97" y="47"/>
                    </a:cubicBezTo>
                    <a:cubicBezTo>
                      <a:pt x="100" y="47"/>
                      <a:pt x="102" y="48"/>
                      <a:pt x="103" y="50"/>
                    </a:cubicBezTo>
                    <a:cubicBezTo>
                      <a:pt x="104" y="52"/>
                      <a:pt x="104" y="53"/>
                      <a:pt x="105" y="54"/>
                    </a:cubicBezTo>
                    <a:cubicBezTo>
                      <a:pt x="105" y="54"/>
                      <a:pt x="108" y="55"/>
                      <a:pt x="108" y="56"/>
                    </a:cubicBezTo>
                    <a:cubicBezTo>
                      <a:pt x="109" y="56"/>
                      <a:pt x="108" y="56"/>
                      <a:pt x="109" y="56"/>
                    </a:cubicBezTo>
                    <a:cubicBezTo>
                      <a:pt x="109" y="56"/>
                      <a:pt x="109" y="56"/>
                      <a:pt x="110" y="56"/>
                    </a:cubicBezTo>
                    <a:cubicBezTo>
                      <a:pt x="109" y="54"/>
                      <a:pt x="96" y="42"/>
                      <a:pt x="106" y="42"/>
                    </a:cubicBezTo>
                    <a:cubicBezTo>
                      <a:pt x="107" y="42"/>
                      <a:pt x="107" y="42"/>
                      <a:pt x="107" y="42"/>
                    </a:cubicBezTo>
                    <a:cubicBezTo>
                      <a:pt x="109" y="42"/>
                      <a:pt x="111" y="45"/>
                      <a:pt x="113" y="45"/>
                    </a:cubicBezTo>
                    <a:cubicBezTo>
                      <a:pt x="114" y="45"/>
                      <a:pt x="114" y="45"/>
                      <a:pt x="114" y="45"/>
                    </a:cubicBezTo>
                    <a:cubicBezTo>
                      <a:pt x="106" y="41"/>
                      <a:pt x="105" y="38"/>
                      <a:pt x="103" y="29"/>
                    </a:cubicBezTo>
                    <a:cubicBezTo>
                      <a:pt x="109" y="28"/>
                      <a:pt x="117" y="23"/>
                      <a:pt x="124" y="23"/>
                    </a:cubicBezTo>
                    <a:cubicBezTo>
                      <a:pt x="125" y="23"/>
                      <a:pt x="126" y="23"/>
                      <a:pt x="127" y="23"/>
                    </a:cubicBezTo>
                    <a:cubicBezTo>
                      <a:pt x="130" y="24"/>
                      <a:pt x="131" y="25"/>
                      <a:pt x="133" y="25"/>
                    </a:cubicBezTo>
                    <a:cubicBezTo>
                      <a:pt x="134" y="25"/>
                      <a:pt x="135" y="25"/>
                      <a:pt x="136" y="25"/>
                    </a:cubicBezTo>
                    <a:cubicBezTo>
                      <a:pt x="137" y="24"/>
                      <a:pt x="141" y="21"/>
                      <a:pt x="143" y="21"/>
                    </a:cubicBezTo>
                    <a:cubicBezTo>
                      <a:pt x="143" y="21"/>
                      <a:pt x="143" y="21"/>
                      <a:pt x="143" y="21"/>
                    </a:cubicBezTo>
                    <a:cubicBezTo>
                      <a:pt x="148" y="23"/>
                      <a:pt x="153" y="24"/>
                      <a:pt x="158" y="26"/>
                    </a:cubicBezTo>
                    <a:cubicBezTo>
                      <a:pt x="161" y="27"/>
                      <a:pt x="163" y="28"/>
                      <a:pt x="165" y="29"/>
                    </a:cubicBezTo>
                    <a:cubicBezTo>
                      <a:pt x="166" y="28"/>
                      <a:pt x="166" y="28"/>
                      <a:pt x="166" y="28"/>
                    </a:cubicBezTo>
                    <a:cubicBezTo>
                      <a:pt x="167" y="27"/>
                      <a:pt x="170" y="24"/>
                      <a:pt x="170" y="23"/>
                    </a:cubicBezTo>
                    <a:cubicBezTo>
                      <a:pt x="172" y="21"/>
                      <a:pt x="172" y="21"/>
                      <a:pt x="172" y="21"/>
                    </a:cubicBezTo>
                    <a:cubicBezTo>
                      <a:pt x="172" y="21"/>
                      <a:pt x="173" y="20"/>
                      <a:pt x="173" y="19"/>
                    </a:cubicBezTo>
                    <a:cubicBezTo>
                      <a:pt x="173" y="19"/>
                      <a:pt x="173" y="19"/>
                      <a:pt x="173" y="19"/>
                    </a:cubicBezTo>
                    <a:cubicBezTo>
                      <a:pt x="173" y="19"/>
                      <a:pt x="173" y="19"/>
                      <a:pt x="173" y="18"/>
                    </a:cubicBezTo>
                    <a:cubicBezTo>
                      <a:pt x="173" y="17"/>
                      <a:pt x="173" y="17"/>
                      <a:pt x="173" y="17"/>
                    </a:cubicBezTo>
                    <a:cubicBezTo>
                      <a:pt x="173" y="17"/>
                      <a:pt x="173" y="17"/>
                      <a:pt x="173" y="17"/>
                    </a:cubicBezTo>
                    <a:cubicBezTo>
                      <a:pt x="173" y="16"/>
                      <a:pt x="173" y="16"/>
                      <a:pt x="173" y="16"/>
                    </a:cubicBezTo>
                    <a:cubicBezTo>
                      <a:pt x="173" y="15"/>
                      <a:pt x="173" y="13"/>
                      <a:pt x="173" y="12"/>
                    </a:cubicBezTo>
                    <a:cubicBezTo>
                      <a:pt x="174" y="10"/>
                      <a:pt x="175" y="9"/>
                      <a:pt x="177" y="8"/>
                    </a:cubicBezTo>
                    <a:cubicBezTo>
                      <a:pt x="179" y="7"/>
                      <a:pt x="179" y="7"/>
                      <a:pt x="179" y="7"/>
                    </a:cubicBezTo>
                    <a:cubicBezTo>
                      <a:pt x="180" y="6"/>
                      <a:pt x="181" y="6"/>
                      <a:pt x="181" y="5"/>
                    </a:cubicBezTo>
                    <a:cubicBezTo>
                      <a:pt x="182" y="4"/>
                      <a:pt x="182" y="4"/>
                      <a:pt x="182" y="4"/>
                    </a:cubicBezTo>
                    <a:cubicBezTo>
                      <a:pt x="182" y="4"/>
                      <a:pt x="182" y="4"/>
                      <a:pt x="182" y="4"/>
                    </a:cubicBezTo>
                    <a:cubicBezTo>
                      <a:pt x="181" y="3"/>
                      <a:pt x="181" y="3"/>
                      <a:pt x="181" y="3"/>
                    </a:cubicBezTo>
                    <a:cubicBezTo>
                      <a:pt x="180" y="2"/>
                      <a:pt x="180" y="2"/>
                      <a:pt x="180" y="2"/>
                    </a:cubicBezTo>
                    <a:cubicBezTo>
                      <a:pt x="179" y="2"/>
                      <a:pt x="179" y="2"/>
                      <a:pt x="179" y="2"/>
                    </a:cubicBezTo>
                    <a:cubicBezTo>
                      <a:pt x="178" y="1"/>
                      <a:pt x="178" y="1"/>
                      <a:pt x="178" y="1"/>
                    </a:cubicBezTo>
                    <a:cubicBezTo>
                      <a:pt x="178" y="1"/>
                      <a:pt x="178" y="1"/>
                      <a:pt x="178" y="1"/>
                    </a:cubicBezTo>
                    <a:cubicBezTo>
                      <a:pt x="177" y="0"/>
                      <a:pt x="177" y="0"/>
                      <a:pt x="177" y="0"/>
                    </a:cubicBezTo>
                    <a:cubicBezTo>
                      <a:pt x="177" y="0"/>
                      <a:pt x="177" y="0"/>
                      <a:pt x="177" y="0"/>
                    </a:cubicBezTo>
                    <a:cubicBezTo>
                      <a:pt x="175" y="0"/>
                      <a:pt x="175" y="0"/>
                      <a:pt x="1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299"/>
              <p:cNvSpPr/>
              <p:nvPr/>
            </p:nvSpPr>
            <p:spPr bwMode="auto">
              <a:xfrm>
                <a:off x="6386306" y="4665357"/>
                <a:ext cx="545397" cy="298494"/>
              </a:xfrm>
              <a:custGeom>
                <a:gdLst>
                  <a:gd name="T0" fmla="*/ 4 w 172"/>
                  <a:gd name="T1" fmla="*/ 4 h 94"/>
                  <a:gd name="T2" fmla="*/ 0 w 172"/>
                  <a:gd name="T3" fmla="*/ 11 h 94"/>
                  <a:gd name="T4" fmla="*/ 5 w 172"/>
                  <a:gd name="T5" fmla="*/ 21 h 94"/>
                  <a:gd name="T6" fmla="*/ 12 w 172"/>
                  <a:gd name="T7" fmla="*/ 25 h 94"/>
                  <a:gd name="T8" fmla="*/ 16 w 172"/>
                  <a:gd name="T9" fmla="*/ 34 h 94"/>
                  <a:gd name="T10" fmla="*/ 4 w 172"/>
                  <a:gd name="T11" fmla="*/ 44 h 94"/>
                  <a:gd name="T12" fmla="*/ 2 w 172"/>
                  <a:gd name="T13" fmla="*/ 46 h 94"/>
                  <a:gd name="T14" fmla="*/ 3 w 172"/>
                  <a:gd name="T15" fmla="*/ 50 h 94"/>
                  <a:gd name="T16" fmla="*/ 1 w 172"/>
                  <a:gd name="T17" fmla="*/ 61 h 94"/>
                  <a:gd name="T18" fmla="*/ 5 w 172"/>
                  <a:gd name="T19" fmla="*/ 66 h 94"/>
                  <a:gd name="T20" fmla="*/ 7 w 172"/>
                  <a:gd name="T21" fmla="*/ 67 h 94"/>
                  <a:gd name="T22" fmla="*/ 9 w 172"/>
                  <a:gd name="T23" fmla="*/ 69 h 94"/>
                  <a:gd name="T24" fmla="*/ 18 w 172"/>
                  <a:gd name="T25" fmla="*/ 91 h 94"/>
                  <a:gd name="T26" fmla="*/ 35 w 172"/>
                  <a:gd name="T27" fmla="*/ 88 h 94"/>
                  <a:gd name="T28" fmla="*/ 49 w 172"/>
                  <a:gd name="T29" fmla="*/ 84 h 94"/>
                  <a:gd name="T30" fmla="*/ 57 w 172"/>
                  <a:gd name="T31" fmla="*/ 83 h 94"/>
                  <a:gd name="T32" fmla="*/ 65 w 172"/>
                  <a:gd name="T33" fmla="*/ 89 h 94"/>
                  <a:gd name="T34" fmla="*/ 73 w 172"/>
                  <a:gd name="T35" fmla="*/ 92 h 94"/>
                  <a:gd name="T36" fmla="*/ 80 w 172"/>
                  <a:gd name="T37" fmla="*/ 94 h 94"/>
                  <a:gd name="T38" fmla="*/ 87 w 172"/>
                  <a:gd name="T39" fmla="*/ 93 h 94"/>
                  <a:gd name="T40" fmla="*/ 100 w 172"/>
                  <a:gd name="T41" fmla="*/ 91 h 94"/>
                  <a:gd name="T42" fmla="*/ 98 w 172"/>
                  <a:gd name="T43" fmla="*/ 83 h 94"/>
                  <a:gd name="T44" fmla="*/ 106 w 172"/>
                  <a:gd name="T45" fmla="*/ 78 h 94"/>
                  <a:gd name="T46" fmla="*/ 110 w 172"/>
                  <a:gd name="T47" fmla="*/ 76 h 94"/>
                  <a:gd name="T48" fmla="*/ 115 w 172"/>
                  <a:gd name="T49" fmla="*/ 72 h 94"/>
                  <a:gd name="T50" fmla="*/ 137 w 172"/>
                  <a:gd name="T51" fmla="*/ 65 h 94"/>
                  <a:gd name="T52" fmla="*/ 140 w 172"/>
                  <a:gd name="T53" fmla="*/ 68 h 94"/>
                  <a:gd name="T54" fmla="*/ 154 w 172"/>
                  <a:gd name="T55" fmla="*/ 69 h 94"/>
                  <a:gd name="T56" fmla="*/ 145 w 172"/>
                  <a:gd name="T57" fmla="*/ 56 h 94"/>
                  <a:gd name="T58" fmla="*/ 142 w 172"/>
                  <a:gd name="T59" fmla="*/ 57 h 94"/>
                  <a:gd name="T60" fmla="*/ 149 w 172"/>
                  <a:gd name="T61" fmla="*/ 50 h 94"/>
                  <a:gd name="T62" fmla="*/ 153 w 172"/>
                  <a:gd name="T63" fmla="*/ 31 h 94"/>
                  <a:gd name="T64" fmla="*/ 172 w 172"/>
                  <a:gd name="T65" fmla="*/ 15 h 94"/>
                  <a:gd name="T66" fmla="*/ 136 w 172"/>
                  <a:gd name="T67" fmla="*/ 3 h 94"/>
                  <a:gd name="T68" fmla="*/ 133 w 172"/>
                  <a:gd name="T69" fmla="*/ 2 h 94"/>
                  <a:gd name="T70" fmla="*/ 108 w 172"/>
                  <a:gd name="T71" fmla="*/ 7 h 94"/>
                  <a:gd name="T72" fmla="*/ 85 w 172"/>
                  <a:gd name="T73" fmla="*/ 19 h 94"/>
                  <a:gd name="T74" fmla="*/ 68 w 172"/>
                  <a:gd name="T75" fmla="*/ 17 h 94"/>
                  <a:gd name="T76" fmla="*/ 47 w 172"/>
                  <a:gd name="T77" fmla="*/ 17 h 94"/>
                  <a:gd name="T78" fmla="*/ 31 w 172"/>
                  <a:gd name="T79" fmla="*/ 13 h 94"/>
                  <a:gd name="T80" fmla="*/ 20 w 172"/>
                  <a:gd name="T81" fmla="*/ 13 h 94"/>
                  <a:gd name="T82" fmla="*/ 8 w 172"/>
                  <a:gd name="T83" fmla="*/ 11 h 94"/>
                  <a:gd name="T84" fmla="*/ 9 w 172"/>
                  <a:gd name="T85" fmla="*/ 1 h 94"/>
                  <a:gd name="T86" fmla="*/ 7 w 172"/>
                  <a:gd name="T87" fmla="*/ 0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94">
                    <a:moveTo>
                      <a:pt x="6" y="0"/>
                    </a:moveTo>
                    <a:cubicBezTo>
                      <a:pt x="6" y="0"/>
                      <a:pt x="6" y="1"/>
                      <a:pt x="6" y="1"/>
                    </a:cubicBezTo>
                    <a:cubicBezTo>
                      <a:pt x="4" y="4"/>
                      <a:pt x="4" y="4"/>
                      <a:pt x="4" y="4"/>
                    </a:cubicBezTo>
                    <a:cubicBezTo>
                      <a:pt x="1" y="9"/>
                      <a:pt x="1" y="9"/>
                      <a:pt x="1" y="9"/>
                    </a:cubicBezTo>
                    <a:cubicBezTo>
                      <a:pt x="1" y="9"/>
                      <a:pt x="1" y="9"/>
                      <a:pt x="1" y="9"/>
                    </a:cubicBezTo>
                    <a:cubicBezTo>
                      <a:pt x="0" y="11"/>
                      <a:pt x="0" y="11"/>
                      <a:pt x="0" y="11"/>
                    </a:cubicBezTo>
                    <a:cubicBezTo>
                      <a:pt x="1" y="12"/>
                      <a:pt x="1" y="12"/>
                      <a:pt x="1" y="13"/>
                    </a:cubicBezTo>
                    <a:cubicBezTo>
                      <a:pt x="2" y="15"/>
                      <a:pt x="2" y="17"/>
                      <a:pt x="3" y="18"/>
                    </a:cubicBezTo>
                    <a:cubicBezTo>
                      <a:pt x="4" y="19"/>
                      <a:pt x="5" y="20"/>
                      <a:pt x="5" y="21"/>
                    </a:cubicBezTo>
                    <a:cubicBezTo>
                      <a:pt x="6" y="22"/>
                      <a:pt x="7" y="22"/>
                      <a:pt x="8" y="23"/>
                    </a:cubicBezTo>
                    <a:cubicBezTo>
                      <a:pt x="9" y="24"/>
                      <a:pt x="10" y="24"/>
                      <a:pt x="11" y="25"/>
                    </a:cubicBezTo>
                    <a:cubicBezTo>
                      <a:pt x="12" y="25"/>
                      <a:pt x="12" y="25"/>
                      <a:pt x="12" y="25"/>
                    </a:cubicBezTo>
                    <a:cubicBezTo>
                      <a:pt x="13" y="26"/>
                      <a:pt x="15" y="27"/>
                      <a:pt x="16" y="28"/>
                    </a:cubicBezTo>
                    <a:cubicBezTo>
                      <a:pt x="20" y="31"/>
                      <a:pt x="20" y="31"/>
                      <a:pt x="20" y="31"/>
                    </a:cubicBezTo>
                    <a:cubicBezTo>
                      <a:pt x="16" y="34"/>
                      <a:pt x="16" y="34"/>
                      <a:pt x="16" y="34"/>
                    </a:cubicBezTo>
                    <a:cubicBezTo>
                      <a:pt x="15" y="35"/>
                      <a:pt x="14" y="36"/>
                      <a:pt x="13" y="37"/>
                    </a:cubicBezTo>
                    <a:cubicBezTo>
                      <a:pt x="12" y="38"/>
                      <a:pt x="12" y="38"/>
                      <a:pt x="12" y="38"/>
                    </a:cubicBezTo>
                    <a:cubicBezTo>
                      <a:pt x="10" y="40"/>
                      <a:pt x="7" y="42"/>
                      <a:pt x="4" y="44"/>
                    </a:cubicBezTo>
                    <a:cubicBezTo>
                      <a:pt x="4" y="44"/>
                      <a:pt x="3" y="45"/>
                      <a:pt x="3" y="45"/>
                    </a:cubicBezTo>
                    <a:cubicBezTo>
                      <a:pt x="2" y="45"/>
                      <a:pt x="2" y="45"/>
                      <a:pt x="2" y="46"/>
                    </a:cubicBezTo>
                    <a:cubicBezTo>
                      <a:pt x="2" y="46"/>
                      <a:pt x="2" y="46"/>
                      <a:pt x="2" y="46"/>
                    </a:cubicBezTo>
                    <a:cubicBezTo>
                      <a:pt x="1" y="46"/>
                      <a:pt x="1" y="47"/>
                      <a:pt x="1" y="48"/>
                    </a:cubicBezTo>
                    <a:cubicBezTo>
                      <a:pt x="1" y="48"/>
                      <a:pt x="2" y="49"/>
                      <a:pt x="2" y="49"/>
                    </a:cubicBezTo>
                    <a:cubicBezTo>
                      <a:pt x="3" y="50"/>
                      <a:pt x="3" y="50"/>
                      <a:pt x="3" y="50"/>
                    </a:cubicBezTo>
                    <a:cubicBezTo>
                      <a:pt x="3" y="51"/>
                      <a:pt x="3" y="51"/>
                      <a:pt x="3" y="51"/>
                    </a:cubicBezTo>
                    <a:cubicBezTo>
                      <a:pt x="4" y="52"/>
                      <a:pt x="5" y="53"/>
                      <a:pt x="5" y="55"/>
                    </a:cubicBezTo>
                    <a:cubicBezTo>
                      <a:pt x="5" y="58"/>
                      <a:pt x="3" y="60"/>
                      <a:pt x="1" y="61"/>
                    </a:cubicBezTo>
                    <a:cubicBezTo>
                      <a:pt x="2" y="62"/>
                      <a:pt x="2" y="62"/>
                      <a:pt x="2" y="62"/>
                    </a:cubicBezTo>
                    <a:cubicBezTo>
                      <a:pt x="2" y="63"/>
                      <a:pt x="2" y="63"/>
                      <a:pt x="2" y="63"/>
                    </a:cubicBezTo>
                    <a:cubicBezTo>
                      <a:pt x="3" y="64"/>
                      <a:pt x="4" y="65"/>
                      <a:pt x="5" y="66"/>
                    </a:cubicBezTo>
                    <a:cubicBezTo>
                      <a:pt x="6" y="66"/>
                      <a:pt x="6" y="66"/>
                      <a:pt x="6" y="66"/>
                    </a:cubicBezTo>
                    <a:cubicBezTo>
                      <a:pt x="11" y="60"/>
                      <a:pt x="11" y="60"/>
                      <a:pt x="11" y="60"/>
                    </a:cubicBezTo>
                    <a:cubicBezTo>
                      <a:pt x="7" y="67"/>
                      <a:pt x="7" y="67"/>
                      <a:pt x="7" y="67"/>
                    </a:cubicBezTo>
                    <a:cubicBezTo>
                      <a:pt x="8" y="68"/>
                      <a:pt x="8" y="68"/>
                      <a:pt x="8" y="68"/>
                    </a:cubicBezTo>
                    <a:cubicBezTo>
                      <a:pt x="8" y="68"/>
                      <a:pt x="8" y="68"/>
                      <a:pt x="8" y="68"/>
                    </a:cubicBezTo>
                    <a:cubicBezTo>
                      <a:pt x="9" y="69"/>
                      <a:pt x="9" y="69"/>
                      <a:pt x="9" y="69"/>
                    </a:cubicBezTo>
                    <a:cubicBezTo>
                      <a:pt x="14" y="73"/>
                      <a:pt x="19" y="78"/>
                      <a:pt x="18" y="83"/>
                    </a:cubicBezTo>
                    <a:cubicBezTo>
                      <a:pt x="18" y="84"/>
                      <a:pt x="17" y="87"/>
                      <a:pt x="16" y="91"/>
                    </a:cubicBezTo>
                    <a:cubicBezTo>
                      <a:pt x="17" y="91"/>
                      <a:pt x="18" y="91"/>
                      <a:pt x="18" y="91"/>
                    </a:cubicBezTo>
                    <a:cubicBezTo>
                      <a:pt x="19" y="91"/>
                      <a:pt x="19" y="91"/>
                      <a:pt x="19" y="91"/>
                    </a:cubicBezTo>
                    <a:cubicBezTo>
                      <a:pt x="23" y="91"/>
                      <a:pt x="27" y="90"/>
                      <a:pt x="31" y="90"/>
                    </a:cubicBezTo>
                    <a:cubicBezTo>
                      <a:pt x="32" y="89"/>
                      <a:pt x="33" y="89"/>
                      <a:pt x="35" y="88"/>
                    </a:cubicBezTo>
                    <a:cubicBezTo>
                      <a:pt x="35" y="88"/>
                      <a:pt x="35" y="88"/>
                      <a:pt x="35" y="88"/>
                    </a:cubicBezTo>
                    <a:cubicBezTo>
                      <a:pt x="37" y="88"/>
                      <a:pt x="38" y="87"/>
                      <a:pt x="40" y="87"/>
                    </a:cubicBezTo>
                    <a:cubicBezTo>
                      <a:pt x="42" y="85"/>
                      <a:pt x="46" y="84"/>
                      <a:pt x="49" y="84"/>
                    </a:cubicBezTo>
                    <a:cubicBezTo>
                      <a:pt x="49" y="84"/>
                      <a:pt x="50" y="84"/>
                      <a:pt x="51" y="84"/>
                    </a:cubicBezTo>
                    <a:cubicBezTo>
                      <a:pt x="52" y="84"/>
                      <a:pt x="54" y="83"/>
                      <a:pt x="55" y="83"/>
                    </a:cubicBezTo>
                    <a:cubicBezTo>
                      <a:pt x="56" y="83"/>
                      <a:pt x="56" y="83"/>
                      <a:pt x="57" y="83"/>
                    </a:cubicBezTo>
                    <a:cubicBezTo>
                      <a:pt x="58" y="83"/>
                      <a:pt x="58" y="84"/>
                      <a:pt x="59" y="84"/>
                    </a:cubicBezTo>
                    <a:cubicBezTo>
                      <a:pt x="59" y="84"/>
                      <a:pt x="59" y="84"/>
                      <a:pt x="59" y="84"/>
                    </a:cubicBezTo>
                    <a:cubicBezTo>
                      <a:pt x="62" y="85"/>
                      <a:pt x="63" y="87"/>
                      <a:pt x="65" y="89"/>
                    </a:cubicBezTo>
                    <a:cubicBezTo>
                      <a:pt x="66" y="89"/>
                      <a:pt x="66" y="89"/>
                      <a:pt x="66" y="89"/>
                    </a:cubicBezTo>
                    <a:cubicBezTo>
                      <a:pt x="67" y="90"/>
                      <a:pt x="68" y="91"/>
                      <a:pt x="71" y="91"/>
                    </a:cubicBezTo>
                    <a:cubicBezTo>
                      <a:pt x="71" y="91"/>
                      <a:pt x="72" y="92"/>
                      <a:pt x="73" y="92"/>
                    </a:cubicBezTo>
                    <a:cubicBezTo>
                      <a:pt x="74" y="92"/>
                      <a:pt x="76" y="92"/>
                      <a:pt x="77" y="92"/>
                    </a:cubicBezTo>
                    <a:cubicBezTo>
                      <a:pt x="78" y="93"/>
                      <a:pt x="79" y="93"/>
                      <a:pt x="79" y="94"/>
                    </a:cubicBezTo>
                    <a:cubicBezTo>
                      <a:pt x="79" y="94"/>
                      <a:pt x="80" y="94"/>
                      <a:pt x="80" y="94"/>
                    </a:cubicBezTo>
                    <a:cubicBezTo>
                      <a:pt x="80" y="94"/>
                      <a:pt x="80" y="94"/>
                      <a:pt x="80" y="94"/>
                    </a:cubicBezTo>
                    <a:cubicBezTo>
                      <a:pt x="86" y="93"/>
                      <a:pt x="86" y="93"/>
                      <a:pt x="86" y="93"/>
                    </a:cubicBezTo>
                    <a:cubicBezTo>
                      <a:pt x="86" y="93"/>
                      <a:pt x="87" y="93"/>
                      <a:pt x="87" y="93"/>
                    </a:cubicBezTo>
                    <a:cubicBezTo>
                      <a:pt x="90" y="93"/>
                      <a:pt x="90" y="93"/>
                      <a:pt x="90" y="93"/>
                    </a:cubicBezTo>
                    <a:cubicBezTo>
                      <a:pt x="92" y="93"/>
                      <a:pt x="94" y="92"/>
                      <a:pt x="96" y="92"/>
                    </a:cubicBezTo>
                    <a:cubicBezTo>
                      <a:pt x="96" y="92"/>
                      <a:pt x="99" y="91"/>
                      <a:pt x="100" y="91"/>
                    </a:cubicBezTo>
                    <a:cubicBezTo>
                      <a:pt x="100" y="90"/>
                      <a:pt x="100" y="88"/>
                      <a:pt x="100" y="87"/>
                    </a:cubicBezTo>
                    <a:cubicBezTo>
                      <a:pt x="100" y="87"/>
                      <a:pt x="99" y="87"/>
                      <a:pt x="99" y="86"/>
                    </a:cubicBezTo>
                    <a:cubicBezTo>
                      <a:pt x="98" y="86"/>
                      <a:pt x="98" y="84"/>
                      <a:pt x="98" y="83"/>
                    </a:cubicBezTo>
                    <a:cubicBezTo>
                      <a:pt x="98" y="82"/>
                      <a:pt x="98" y="79"/>
                      <a:pt x="101" y="79"/>
                    </a:cubicBezTo>
                    <a:cubicBezTo>
                      <a:pt x="102" y="78"/>
                      <a:pt x="103" y="78"/>
                      <a:pt x="104" y="78"/>
                    </a:cubicBezTo>
                    <a:cubicBezTo>
                      <a:pt x="105" y="78"/>
                      <a:pt x="105" y="78"/>
                      <a:pt x="106" y="78"/>
                    </a:cubicBezTo>
                    <a:cubicBezTo>
                      <a:pt x="108" y="78"/>
                      <a:pt x="108" y="78"/>
                      <a:pt x="108" y="78"/>
                    </a:cubicBezTo>
                    <a:cubicBezTo>
                      <a:pt x="109" y="78"/>
                      <a:pt x="109" y="77"/>
                      <a:pt x="110" y="77"/>
                    </a:cubicBezTo>
                    <a:cubicBezTo>
                      <a:pt x="110" y="76"/>
                      <a:pt x="110" y="76"/>
                      <a:pt x="110" y="76"/>
                    </a:cubicBezTo>
                    <a:cubicBezTo>
                      <a:pt x="111" y="76"/>
                      <a:pt x="111" y="76"/>
                      <a:pt x="112" y="75"/>
                    </a:cubicBezTo>
                    <a:cubicBezTo>
                      <a:pt x="112" y="75"/>
                      <a:pt x="112" y="75"/>
                      <a:pt x="112" y="75"/>
                    </a:cubicBezTo>
                    <a:cubicBezTo>
                      <a:pt x="112" y="74"/>
                      <a:pt x="113" y="73"/>
                      <a:pt x="115" y="72"/>
                    </a:cubicBezTo>
                    <a:cubicBezTo>
                      <a:pt x="123" y="70"/>
                      <a:pt x="123" y="70"/>
                      <a:pt x="123" y="70"/>
                    </a:cubicBezTo>
                    <a:cubicBezTo>
                      <a:pt x="125" y="69"/>
                      <a:pt x="128" y="68"/>
                      <a:pt x="131" y="67"/>
                    </a:cubicBezTo>
                    <a:cubicBezTo>
                      <a:pt x="137" y="65"/>
                      <a:pt x="137" y="65"/>
                      <a:pt x="137" y="65"/>
                    </a:cubicBezTo>
                    <a:cubicBezTo>
                      <a:pt x="139" y="67"/>
                      <a:pt x="139" y="67"/>
                      <a:pt x="139" y="67"/>
                    </a:cubicBezTo>
                    <a:cubicBezTo>
                      <a:pt x="139" y="67"/>
                      <a:pt x="140" y="67"/>
                      <a:pt x="140" y="68"/>
                    </a:cubicBezTo>
                    <a:cubicBezTo>
                      <a:pt x="140" y="68"/>
                      <a:pt x="140" y="68"/>
                      <a:pt x="140" y="68"/>
                    </a:cubicBezTo>
                    <a:cubicBezTo>
                      <a:pt x="141" y="68"/>
                      <a:pt x="141" y="69"/>
                      <a:pt x="142" y="70"/>
                    </a:cubicBezTo>
                    <a:cubicBezTo>
                      <a:pt x="143" y="71"/>
                      <a:pt x="144" y="71"/>
                      <a:pt x="144" y="71"/>
                    </a:cubicBezTo>
                    <a:cubicBezTo>
                      <a:pt x="154" y="69"/>
                      <a:pt x="154" y="69"/>
                      <a:pt x="154" y="69"/>
                    </a:cubicBezTo>
                    <a:cubicBezTo>
                      <a:pt x="151" y="66"/>
                      <a:pt x="148" y="62"/>
                      <a:pt x="147" y="57"/>
                    </a:cubicBezTo>
                    <a:cubicBezTo>
                      <a:pt x="147" y="58"/>
                      <a:pt x="146" y="58"/>
                      <a:pt x="146" y="58"/>
                    </a:cubicBezTo>
                    <a:cubicBezTo>
                      <a:pt x="146" y="58"/>
                      <a:pt x="146" y="57"/>
                      <a:pt x="145" y="56"/>
                    </a:cubicBezTo>
                    <a:cubicBezTo>
                      <a:pt x="145" y="56"/>
                      <a:pt x="145" y="56"/>
                      <a:pt x="145" y="56"/>
                    </a:cubicBezTo>
                    <a:cubicBezTo>
                      <a:pt x="145" y="56"/>
                      <a:pt x="144" y="57"/>
                      <a:pt x="144" y="57"/>
                    </a:cubicBezTo>
                    <a:cubicBezTo>
                      <a:pt x="143" y="57"/>
                      <a:pt x="143" y="57"/>
                      <a:pt x="142" y="57"/>
                    </a:cubicBezTo>
                    <a:cubicBezTo>
                      <a:pt x="142" y="57"/>
                      <a:pt x="142" y="57"/>
                      <a:pt x="141" y="56"/>
                    </a:cubicBezTo>
                    <a:cubicBezTo>
                      <a:pt x="141" y="57"/>
                      <a:pt x="141" y="57"/>
                      <a:pt x="141" y="57"/>
                    </a:cubicBezTo>
                    <a:cubicBezTo>
                      <a:pt x="140" y="55"/>
                      <a:pt x="147" y="51"/>
                      <a:pt x="149" y="50"/>
                    </a:cubicBezTo>
                    <a:cubicBezTo>
                      <a:pt x="153" y="48"/>
                      <a:pt x="153" y="48"/>
                      <a:pt x="153" y="44"/>
                    </a:cubicBezTo>
                    <a:cubicBezTo>
                      <a:pt x="152" y="42"/>
                      <a:pt x="153" y="39"/>
                      <a:pt x="153" y="37"/>
                    </a:cubicBezTo>
                    <a:cubicBezTo>
                      <a:pt x="153" y="35"/>
                      <a:pt x="156" y="33"/>
                      <a:pt x="153" y="31"/>
                    </a:cubicBezTo>
                    <a:cubicBezTo>
                      <a:pt x="157" y="29"/>
                      <a:pt x="162" y="24"/>
                      <a:pt x="166" y="24"/>
                    </a:cubicBezTo>
                    <a:cubicBezTo>
                      <a:pt x="167" y="24"/>
                      <a:pt x="168" y="24"/>
                      <a:pt x="169" y="25"/>
                    </a:cubicBezTo>
                    <a:cubicBezTo>
                      <a:pt x="170" y="23"/>
                      <a:pt x="172" y="19"/>
                      <a:pt x="172" y="15"/>
                    </a:cubicBezTo>
                    <a:cubicBezTo>
                      <a:pt x="147" y="7"/>
                      <a:pt x="147" y="7"/>
                      <a:pt x="147" y="7"/>
                    </a:cubicBezTo>
                    <a:cubicBezTo>
                      <a:pt x="144" y="6"/>
                      <a:pt x="142" y="5"/>
                      <a:pt x="140" y="4"/>
                    </a:cubicBezTo>
                    <a:cubicBezTo>
                      <a:pt x="136" y="3"/>
                      <a:pt x="136" y="3"/>
                      <a:pt x="136" y="3"/>
                    </a:cubicBezTo>
                    <a:cubicBezTo>
                      <a:pt x="135" y="3"/>
                      <a:pt x="135" y="3"/>
                      <a:pt x="135" y="3"/>
                    </a:cubicBezTo>
                    <a:cubicBezTo>
                      <a:pt x="134" y="2"/>
                      <a:pt x="134" y="2"/>
                      <a:pt x="134" y="2"/>
                    </a:cubicBezTo>
                    <a:cubicBezTo>
                      <a:pt x="134" y="2"/>
                      <a:pt x="134" y="2"/>
                      <a:pt x="133" y="2"/>
                    </a:cubicBezTo>
                    <a:cubicBezTo>
                      <a:pt x="133" y="2"/>
                      <a:pt x="132" y="2"/>
                      <a:pt x="132" y="2"/>
                    </a:cubicBezTo>
                    <a:cubicBezTo>
                      <a:pt x="113" y="5"/>
                      <a:pt x="113" y="5"/>
                      <a:pt x="113" y="5"/>
                    </a:cubicBezTo>
                    <a:cubicBezTo>
                      <a:pt x="112" y="5"/>
                      <a:pt x="110" y="6"/>
                      <a:pt x="108" y="7"/>
                    </a:cubicBezTo>
                    <a:cubicBezTo>
                      <a:pt x="108" y="8"/>
                      <a:pt x="107" y="8"/>
                      <a:pt x="106" y="9"/>
                    </a:cubicBezTo>
                    <a:cubicBezTo>
                      <a:pt x="105" y="9"/>
                      <a:pt x="104" y="10"/>
                      <a:pt x="103" y="11"/>
                    </a:cubicBezTo>
                    <a:cubicBezTo>
                      <a:pt x="98" y="14"/>
                      <a:pt x="91" y="19"/>
                      <a:pt x="85" y="19"/>
                    </a:cubicBezTo>
                    <a:cubicBezTo>
                      <a:pt x="84" y="19"/>
                      <a:pt x="83" y="19"/>
                      <a:pt x="82" y="19"/>
                    </a:cubicBezTo>
                    <a:cubicBezTo>
                      <a:pt x="78" y="19"/>
                      <a:pt x="75" y="18"/>
                      <a:pt x="72" y="18"/>
                    </a:cubicBezTo>
                    <a:cubicBezTo>
                      <a:pt x="70" y="17"/>
                      <a:pt x="69" y="17"/>
                      <a:pt x="68" y="17"/>
                    </a:cubicBezTo>
                    <a:cubicBezTo>
                      <a:pt x="67" y="17"/>
                      <a:pt x="66" y="16"/>
                      <a:pt x="64" y="16"/>
                    </a:cubicBezTo>
                    <a:cubicBezTo>
                      <a:pt x="63" y="16"/>
                      <a:pt x="59" y="15"/>
                      <a:pt x="59" y="15"/>
                    </a:cubicBezTo>
                    <a:cubicBezTo>
                      <a:pt x="55" y="16"/>
                      <a:pt x="52" y="17"/>
                      <a:pt x="47" y="17"/>
                    </a:cubicBezTo>
                    <a:cubicBezTo>
                      <a:pt x="46" y="17"/>
                      <a:pt x="46" y="17"/>
                      <a:pt x="46" y="17"/>
                    </a:cubicBezTo>
                    <a:cubicBezTo>
                      <a:pt x="42" y="17"/>
                      <a:pt x="37" y="16"/>
                      <a:pt x="33" y="14"/>
                    </a:cubicBezTo>
                    <a:cubicBezTo>
                      <a:pt x="31" y="13"/>
                      <a:pt x="31" y="13"/>
                      <a:pt x="31" y="13"/>
                    </a:cubicBezTo>
                    <a:cubicBezTo>
                      <a:pt x="28" y="13"/>
                      <a:pt x="26" y="12"/>
                      <a:pt x="23" y="12"/>
                    </a:cubicBezTo>
                    <a:cubicBezTo>
                      <a:pt x="23" y="12"/>
                      <a:pt x="22" y="12"/>
                      <a:pt x="22" y="12"/>
                    </a:cubicBezTo>
                    <a:cubicBezTo>
                      <a:pt x="20" y="13"/>
                      <a:pt x="20" y="13"/>
                      <a:pt x="20" y="13"/>
                    </a:cubicBezTo>
                    <a:cubicBezTo>
                      <a:pt x="18" y="13"/>
                      <a:pt x="17" y="13"/>
                      <a:pt x="16" y="13"/>
                    </a:cubicBezTo>
                    <a:cubicBezTo>
                      <a:pt x="15" y="13"/>
                      <a:pt x="13" y="13"/>
                      <a:pt x="12" y="13"/>
                    </a:cubicBezTo>
                    <a:cubicBezTo>
                      <a:pt x="11" y="13"/>
                      <a:pt x="9" y="12"/>
                      <a:pt x="8" y="11"/>
                    </a:cubicBezTo>
                    <a:cubicBezTo>
                      <a:pt x="7" y="9"/>
                      <a:pt x="7" y="6"/>
                      <a:pt x="8" y="6"/>
                    </a:cubicBezTo>
                    <a:cubicBezTo>
                      <a:pt x="8" y="4"/>
                      <a:pt x="9" y="3"/>
                      <a:pt x="9" y="1"/>
                    </a:cubicBezTo>
                    <a:cubicBezTo>
                      <a:pt x="9" y="1"/>
                      <a:pt x="9" y="1"/>
                      <a:pt x="9" y="1"/>
                    </a:cubicBezTo>
                    <a:cubicBezTo>
                      <a:pt x="9" y="1"/>
                      <a:pt x="9" y="1"/>
                      <a:pt x="9" y="1"/>
                    </a:cubicBezTo>
                    <a:cubicBezTo>
                      <a:pt x="9" y="1"/>
                      <a:pt x="9" y="1"/>
                      <a:pt x="9" y="1"/>
                    </a:cubicBezTo>
                    <a:cubicBezTo>
                      <a:pt x="7" y="0"/>
                      <a:pt x="7" y="0"/>
                      <a:pt x="7" y="0"/>
                    </a:cubicBezTo>
                    <a:cubicBezTo>
                      <a:pt x="7" y="0"/>
                      <a:pt x="7" y="0"/>
                      <a:pt x="7"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300"/>
              <p:cNvSpPr/>
              <p:nvPr/>
            </p:nvSpPr>
            <p:spPr bwMode="auto">
              <a:xfrm>
                <a:off x="6710596" y="4897519"/>
                <a:ext cx="269013" cy="206366"/>
              </a:xfrm>
              <a:custGeom>
                <a:gdLst>
                  <a:gd name="T0" fmla="*/ 34 w 85"/>
                  <a:gd name="T1" fmla="*/ 0 h 65"/>
                  <a:gd name="T2" fmla="*/ 32 w 85"/>
                  <a:gd name="T3" fmla="*/ 1 h 65"/>
                  <a:gd name="T4" fmla="*/ 23 w 85"/>
                  <a:gd name="T5" fmla="*/ 3 h 65"/>
                  <a:gd name="T6" fmla="*/ 16 w 85"/>
                  <a:gd name="T7" fmla="*/ 5 h 65"/>
                  <a:gd name="T8" fmla="*/ 16 w 85"/>
                  <a:gd name="T9" fmla="*/ 6 h 65"/>
                  <a:gd name="T10" fmla="*/ 14 w 85"/>
                  <a:gd name="T11" fmla="*/ 7 h 65"/>
                  <a:gd name="T12" fmla="*/ 14 w 85"/>
                  <a:gd name="T13" fmla="*/ 8 h 65"/>
                  <a:gd name="T14" fmla="*/ 16 w 85"/>
                  <a:gd name="T15" fmla="*/ 9 h 65"/>
                  <a:gd name="T16" fmla="*/ 15 w 85"/>
                  <a:gd name="T17" fmla="*/ 9 h 65"/>
                  <a:gd name="T18" fmla="*/ 17 w 85"/>
                  <a:gd name="T19" fmla="*/ 12 h 65"/>
                  <a:gd name="T20" fmla="*/ 18 w 85"/>
                  <a:gd name="T21" fmla="*/ 20 h 65"/>
                  <a:gd name="T22" fmla="*/ 12 w 85"/>
                  <a:gd name="T23" fmla="*/ 25 h 65"/>
                  <a:gd name="T24" fmla="*/ 11 w 85"/>
                  <a:gd name="T25" fmla="*/ 26 h 65"/>
                  <a:gd name="T26" fmla="*/ 10 w 85"/>
                  <a:gd name="T27" fmla="*/ 27 h 65"/>
                  <a:gd name="T28" fmla="*/ 10 w 85"/>
                  <a:gd name="T29" fmla="*/ 27 h 65"/>
                  <a:gd name="T30" fmla="*/ 10 w 85"/>
                  <a:gd name="T31" fmla="*/ 29 h 65"/>
                  <a:gd name="T32" fmla="*/ 9 w 85"/>
                  <a:gd name="T33" fmla="*/ 34 h 65"/>
                  <a:gd name="T34" fmla="*/ 9 w 85"/>
                  <a:gd name="T35" fmla="*/ 35 h 65"/>
                  <a:gd name="T36" fmla="*/ 7 w 85"/>
                  <a:gd name="T37" fmla="*/ 38 h 65"/>
                  <a:gd name="T38" fmla="*/ 6 w 85"/>
                  <a:gd name="T39" fmla="*/ 39 h 65"/>
                  <a:gd name="T40" fmla="*/ 0 w 85"/>
                  <a:gd name="T41" fmla="*/ 45 h 65"/>
                  <a:gd name="T42" fmla="*/ 0 w 85"/>
                  <a:gd name="T43" fmla="*/ 46 h 65"/>
                  <a:gd name="T44" fmla="*/ 4 w 85"/>
                  <a:gd name="T45" fmla="*/ 47 h 65"/>
                  <a:gd name="T46" fmla="*/ 12 w 85"/>
                  <a:gd name="T47" fmla="*/ 46 h 65"/>
                  <a:gd name="T48" fmla="*/ 17 w 85"/>
                  <a:gd name="T49" fmla="*/ 45 h 65"/>
                  <a:gd name="T50" fmla="*/ 19 w 85"/>
                  <a:gd name="T51" fmla="*/ 47 h 65"/>
                  <a:gd name="T52" fmla="*/ 14 w 85"/>
                  <a:gd name="T53" fmla="*/ 50 h 65"/>
                  <a:gd name="T54" fmla="*/ 4 w 85"/>
                  <a:gd name="T55" fmla="*/ 56 h 65"/>
                  <a:gd name="T56" fmla="*/ 2 w 85"/>
                  <a:gd name="T57" fmla="*/ 65 h 65"/>
                  <a:gd name="T58" fmla="*/ 33 w 85"/>
                  <a:gd name="T59" fmla="*/ 42 h 65"/>
                  <a:gd name="T60" fmla="*/ 46 w 85"/>
                  <a:gd name="T61" fmla="*/ 33 h 65"/>
                  <a:gd name="T62" fmla="*/ 62 w 85"/>
                  <a:gd name="T63" fmla="*/ 31 h 65"/>
                  <a:gd name="T64" fmla="*/ 66 w 85"/>
                  <a:gd name="T65" fmla="*/ 31 h 65"/>
                  <a:gd name="T66" fmla="*/ 74 w 85"/>
                  <a:gd name="T67" fmla="*/ 34 h 65"/>
                  <a:gd name="T68" fmla="*/ 74 w 85"/>
                  <a:gd name="T69" fmla="*/ 32 h 65"/>
                  <a:gd name="T70" fmla="*/ 81 w 85"/>
                  <a:gd name="T71" fmla="*/ 25 h 65"/>
                  <a:gd name="T72" fmla="*/ 85 w 85"/>
                  <a:gd name="T73" fmla="*/ 26 h 65"/>
                  <a:gd name="T74" fmla="*/ 85 w 85"/>
                  <a:gd name="T75" fmla="*/ 25 h 65"/>
                  <a:gd name="T76" fmla="*/ 78 w 85"/>
                  <a:gd name="T77" fmla="*/ 23 h 65"/>
                  <a:gd name="T78" fmla="*/ 60 w 85"/>
                  <a:gd name="T79" fmla="*/ 14 h 65"/>
                  <a:gd name="T80" fmla="*/ 55 w 85"/>
                  <a:gd name="T81" fmla="*/ 3 h 65"/>
                  <a:gd name="T82" fmla="*/ 43 w 85"/>
                  <a:gd name="T83" fmla="*/ 5 h 65"/>
                  <a:gd name="T84" fmla="*/ 42 w 85"/>
                  <a:gd name="T85" fmla="*/ 5 h 65"/>
                  <a:gd name="T86" fmla="*/ 35 w 85"/>
                  <a:gd name="T87" fmla="*/ 1 h 65"/>
                  <a:gd name="T88" fmla="*/ 34 w 85"/>
                  <a:gd name="T89" fmla="*/ 0 h 65"/>
                  <a:gd name="T90" fmla="*/ 34 w 85"/>
                  <a:gd name="T91" fmla="*/ 0 h 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 h="65">
                    <a:moveTo>
                      <a:pt x="34" y="0"/>
                    </a:moveTo>
                    <a:cubicBezTo>
                      <a:pt x="32" y="1"/>
                      <a:pt x="32" y="1"/>
                      <a:pt x="32" y="1"/>
                    </a:cubicBezTo>
                    <a:cubicBezTo>
                      <a:pt x="29" y="1"/>
                      <a:pt x="26" y="2"/>
                      <a:pt x="23" y="3"/>
                    </a:cubicBezTo>
                    <a:cubicBezTo>
                      <a:pt x="16" y="5"/>
                      <a:pt x="16" y="5"/>
                      <a:pt x="16" y="5"/>
                    </a:cubicBezTo>
                    <a:cubicBezTo>
                      <a:pt x="16" y="6"/>
                      <a:pt x="16" y="6"/>
                      <a:pt x="16" y="6"/>
                    </a:cubicBezTo>
                    <a:cubicBezTo>
                      <a:pt x="14" y="7"/>
                      <a:pt x="14" y="7"/>
                      <a:pt x="14" y="7"/>
                    </a:cubicBezTo>
                    <a:cubicBezTo>
                      <a:pt x="14" y="8"/>
                      <a:pt x="14" y="8"/>
                      <a:pt x="14" y="8"/>
                    </a:cubicBezTo>
                    <a:cubicBezTo>
                      <a:pt x="16" y="9"/>
                      <a:pt x="16" y="9"/>
                      <a:pt x="16" y="9"/>
                    </a:cubicBezTo>
                    <a:cubicBezTo>
                      <a:pt x="15" y="9"/>
                      <a:pt x="15" y="9"/>
                      <a:pt x="15" y="9"/>
                    </a:cubicBezTo>
                    <a:cubicBezTo>
                      <a:pt x="16" y="10"/>
                      <a:pt x="16" y="11"/>
                      <a:pt x="17" y="12"/>
                    </a:cubicBezTo>
                    <a:cubicBezTo>
                      <a:pt x="19" y="14"/>
                      <a:pt x="19" y="17"/>
                      <a:pt x="18" y="20"/>
                    </a:cubicBezTo>
                    <a:cubicBezTo>
                      <a:pt x="17" y="23"/>
                      <a:pt x="14" y="24"/>
                      <a:pt x="12" y="25"/>
                    </a:cubicBezTo>
                    <a:cubicBezTo>
                      <a:pt x="11" y="26"/>
                      <a:pt x="11" y="26"/>
                      <a:pt x="11" y="26"/>
                    </a:cubicBezTo>
                    <a:cubicBezTo>
                      <a:pt x="10" y="27"/>
                      <a:pt x="10" y="27"/>
                      <a:pt x="10" y="27"/>
                    </a:cubicBezTo>
                    <a:cubicBezTo>
                      <a:pt x="10" y="27"/>
                      <a:pt x="10" y="27"/>
                      <a:pt x="10" y="27"/>
                    </a:cubicBezTo>
                    <a:cubicBezTo>
                      <a:pt x="10" y="29"/>
                      <a:pt x="10" y="29"/>
                      <a:pt x="10" y="29"/>
                    </a:cubicBezTo>
                    <a:cubicBezTo>
                      <a:pt x="10" y="30"/>
                      <a:pt x="11" y="32"/>
                      <a:pt x="9" y="34"/>
                    </a:cubicBezTo>
                    <a:cubicBezTo>
                      <a:pt x="9" y="35"/>
                      <a:pt x="9" y="35"/>
                      <a:pt x="9" y="35"/>
                    </a:cubicBezTo>
                    <a:cubicBezTo>
                      <a:pt x="9" y="36"/>
                      <a:pt x="8" y="36"/>
                      <a:pt x="7" y="38"/>
                    </a:cubicBezTo>
                    <a:cubicBezTo>
                      <a:pt x="6" y="39"/>
                      <a:pt x="6" y="39"/>
                      <a:pt x="6" y="39"/>
                    </a:cubicBezTo>
                    <a:cubicBezTo>
                      <a:pt x="6" y="40"/>
                      <a:pt x="2" y="44"/>
                      <a:pt x="0" y="45"/>
                    </a:cubicBezTo>
                    <a:cubicBezTo>
                      <a:pt x="0" y="46"/>
                      <a:pt x="0" y="46"/>
                      <a:pt x="0" y="46"/>
                    </a:cubicBezTo>
                    <a:cubicBezTo>
                      <a:pt x="1" y="46"/>
                      <a:pt x="2" y="47"/>
                      <a:pt x="4" y="47"/>
                    </a:cubicBezTo>
                    <a:cubicBezTo>
                      <a:pt x="7" y="47"/>
                      <a:pt x="11" y="46"/>
                      <a:pt x="12" y="46"/>
                    </a:cubicBezTo>
                    <a:cubicBezTo>
                      <a:pt x="14" y="45"/>
                      <a:pt x="15" y="45"/>
                      <a:pt x="17" y="45"/>
                    </a:cubicBezTo>
                    <a:cubicBezTo>
                      <a:pt x="18" y="45"/>
                      <a:pt x="18" y="45"/>
                      <a:pt x="19" y="47"/>
                    </a:cubicBezTo>
                    <a:cubicBezTo>
                      <a:pt x="19" y="48"/>
                      <a:pt x="15" y="49"/>
                      <a:pt x="14" y="50"/>
                    </a:cubicBezTo>
                    <a:cubicBezTo>
                      <a:pt x="12" y="51"/>
                      <a:pt x="5" y="53"/>
                      <a:pt x="4" y="56"/>
                    </a:cubicBezTo>
                    <a:cubicBezTo>
                      <a:pt x="2" y="58"/>
                      <a:pt x="2" y="62"/>
                      <a:pt x="2" y="65"/>
                    </a:cubicBezTo>
                    <a:cubicBezTo>
                      <a:pt x="12" y="57"/>
                      <a:pt x="22" y="50"/>
                      <a:pt x="33" y="42"/>
                    </a:cubicBezTo>
                    <a:cubicBezTo>
                      <a:pt x="36" y="40"/>
                      <a:pt x="42" y="33"/>
                      <a:pt x="46" y="33"/>
                    </a:cubicBezTo>
                    <a:cubicBezTo>
                      <a:pt x="51" y="32"/>
                      <a:pt x="56" y="31"/>
                      <a:pt x="62" y="31"/>
                    </a:cubicBezTo>
                    <a:cubicBezTo>
                      <a:pt x="63" y="31"/>
                      <a:pt x="64" y="31"/>
                      <a:pt x="66" y="31"/>
                    </a:cubicBezTo>
                    <a:cubicBezTo>
                      <a:pt x="68" y="32"/>
                      <a:pt x="71" y="33"/>
                      <a:pt x="74" y="34"/>
                    </a:cubicBezTo>
                    <a:cubicBezTo>
                      <a:pt x="74" y="33"/>
                      <a:pt x="74" y="33"/>
                      <a:pt x="74" y="32"/>
                    </a:cubicBezTo>
                    <a:cubicBezTo>
                      <a:pt x="74" y="28"/>
                      <a:pt x="77" y="25"/>
                      <a:pt x="81" y="25"/>
                    </a:cubicBezTo>
                    <a:cubicBezTo>
                      <a:pt x="83" y="25"/>
                      <a:pt x="84" y="25"/>
                      <a:pt x="85" y="26"/>
                    </a:cubicBezTo>
                    <a:cubicBezTo>
                      <a:pt x="85" y="25"/>
                      <a:pt x="85" y="25"/>
                      <a:pt x="85" y="25"/>
                    </a:cubicBezTo>
                    <a:cubicBezTo>
                      <a:pt x="85" y="25"/>
                      <a:pt x="79" y="24"/>
                      <a:pt x="78" y="23"/>
                    </a:cubicBezTo>
                    <a:cubicBezTo>
                      <a:pt x="72" y="21"/>
                      <a:pt x="66" y="17"/>
                      <a:pt x="60" y="14"/>
                    </a:cubicBezTo>
                    <a:cubicBezTo>
                      <a:pt x="55" y="12"/>
                      <a:pt x="55" y="7"/>
                      <a:pt x="55" y="3"/>
                    </a:cubicBezTo>
                    <a:cubicBezTo>
                      <a:pt x="43" y="5"/>
                      <a:pt x="43" y="5"/>
                      <a:pt x="43" y="5"/>
                    </a:cubicBezTo>
                    <a:cubicBezTo>
                      <a:pt x="43" y="5"/>
                      <a:pt x="42" y="5"/>
                      <a:pt x="42" y="5"/>
                    </a:cubicBezTo>
                    <a:cubicBezTo>
                      <a:pt x="39" y="5"/>
                      <a:pt x="37" y="3"/>
                      <a:pt x="35" y="1"/>
                    </a:cubicBezTo>
                    <a:cubicBezTo>
                      <a:pt x="35" y="1"/>
                      <a:pt x="34" y="0"/>
                      <a:pt x="34" y="0"/>
                    </a:cubicBez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301"/>
              <p:cNvSpPr/>
              <p:nvPr/>
            </p:nvSpPr>
            <p:spPr bwMode="auto">
              <a:xfrm>
                <a:off x="6069386" y="4444250"/>
                <a:ext cx="342716" cy="412733"/>
              </a:xfrm>
              <a:custGeom>
                <a:gdLst>
                  <a:gd name="T0" fmla="*/ 21 w 108"/>
                  <a:gd name="T1" fmla="*/ 0 h 130"/>
                  <a:gd name="T2" fmla="*/ 2 w 108"/>
                  <a:gd name="T3" fmla="*/ 11 h 130"/>
                  <a:gd name="T4" fmla="*/ 2 w 108"/>
                  <a:gd name="T5" fmla="*/ 17 h 130"/>
                  <a:gd name="T6" fmla="*/ 6 w 108"/>
                  <a:gd name="T7" fmla="*/ 22 h 130"/>
                  <a:gd name="T8" fmla="*/ 10 w 108"/>
                  <a:gd name="T9" fmla="*/ 34 h 130"/>
                  <a:gd name="T10" fmla="*/ 6 w 108"/>
                  <a:gd name="T11" fmla="*/ 39 h 130"/>
                  <a:gd name="T12" fmla="*/ 13 w 108"/>
                  <a:gd name="T13" fmla="*/ 45 h 130"/>
                  <a:gd name="T14" fmla="*/ 11 w 108"/>
                  <a:gd name="T15" fmla="*/ 50 h 130"/>
                  <a:gd name="T16" fmla="*/ 7 w 108"/>
                  <a:gd name="T17" fmla="*/ 57 h 130"/>
                  <a:gd name="T18" fmla="*/ 9 w 108"/>
                  <a:gd name="T19" fmla="*/ 60 h 130"/>
                  <a:gd name="T20" fmla="*/ 15 w 108"/>
                  <a:gd name="T21" fmla="*/ 65 h 130"/>
                  <a:gd name="T22" fmla="*/ 17 w 108"/>
                  <a:gd name="T23" fmla="*/ 66 h 130"/>
                  <a:gd name="T24" fmla="*/ 20 w 108"/>
                  <a:gd name="T25" fmla="*/ 75 h 130"/>
                  <a:gd name="T26" fmla="*/ 17 w 108"/>
                  <a:gd name="T27" fmla="*/ 77 h 130"/>
                  <a:gd name="T28" fmla="*/ 15 w 108"/>
                  <a:gd name="T29" fmla="*/ 77 h 130"/>
                  <a:gd name="T30" fmla="*/ 18 w 108"/>
                  <a:gd name="T31" fmla="*/ 83 h 130"/>
                  <a:gd name="T32" fmla="*/ 17 w 108"/>
                  <a:gd name="T33" fmla="*/ 87 h 130"/>
                  <a:gd name="T34" fmla="*/ 13 w 108"/>
                  <a:gd name="T35" fmla="*/ 90 h 130"/>
                  <a:gd name="T36" fmla="*/ 44 w 108"/>
                  <a:gd name="T37" fmla="*/ 104 h 130"/>
                  <a:gd name="T38" fmla="*/ 46 w 108"/>
                  <a:gd name="T39" fmla="*/ 96 h 130"/>
                  <a:gd name="T40" fmla="*/ 49 w 108"/>
                  <a:gd name="T41" fmla="*/ 95 h 130"/>
                  <a:gd name="T42" fmla="*/ 54 w 108"/>
                  <a:gd name="T43" fmla="*/ 95 h 130"/>
                  <a:gd name="T44" fmla="*/ 66 w 108"/>
                  <a:gd name="T45" fmla="*/ 105 h 130"/>
                  <a:gd name="T46" fmla="*/ 77 w 108"/>
                  <a:gd name="T47" fmla="*/ 116 h 130"/>
                  <a:gd name="T48" fmla="*/ 79 w 108"/>
                  <a:gd name="T49" fmla="*/ 130 h 130"/>
                  <a:gd name="T50" fmla="*/ 93 w 108"/>
                  <a:gd name="T51" fmla="*/ 128 h 130"/>
                  <a:gd name="T52" fmla="*/ 95 w 108"/>
                  <a:gd name="T53" fmla="*/ 127 h 130"/>
                  <a:gd name="T54" fmla="*/ 95 w 108"/>
                  <a:gd name="T55" fmla="*/ 118 h 130"/>
                  <a:gd name="T56" fmla="*/ 99 w 108"/>
                  <a:gd name="T57" fmla="*/ 109 h 130"/>
                  <a:gd name="T58" fmla="*/ 108 w 108"/>
                  <a:gd name="T59" fmla="*/ 101 h 130"/>
                  <a:gd name="T60" fmla="*/ 104 w 108"/>
                  <a:gd name="T61" fmla="*/ 99 h 130"/>
                  <a:gd name="T62" fmla="*/ 94 w 108"/>
                  <a:gd name="T63" fmla="*/ 86 h 130"/>
                  <a:gd name="T64" fmla="*/ 93 w 108"/>
                  <a:gd name="T65" fmla="*/ 79 h 130"/>
                  <a:gd name="T66" fmla="*/ 100 w 108"/>
                  <a:gd name="T67" fmla="*/ 66 h 130"/>
                  <a:gd name="T68" fmla="*/ 98 w 108"/>
                  <a:gd name="T69" fmla="*/ 54 h 130"/>
                  <a:gd name="T70" fmla="*/ 94 w 108"/>
                  <a:gd name="T71" fmla="*/ 58 h 130"/>
                  <a:gd name="T72" fmla="*/ 93 w 108"/>
                  <a:gd name="T73" fmla="*/ 58 h 130"/>
                  <a:gd name="T74" fmla="*/ 90 w 108"/>
                  <a:gd name="T75" fmla="*/ 60 h 130"/>
                  <a:gd name="T76" fmla="*/ 88 w 108"/>
                  <a:gd name="T77" fmla="*/ 59 h 130"/>
                  <a:gd name="T78" fmla="*/ 59 w 108"/>
                  <a:gd name="T79" fmla="*/ 45 h 130"/>
                  <a:gd name="T80" fmla="*/ 69 w 108"/>
                  <a:gd name="T81" fmla="*/ 39 h 130"/>
                  <a:gd name="T82" fmla="*/ 59 w 108"/>
                  <a:gd name="T83" fmla="*/ 30 h 130"/>
                  <a:gd name="T84" fmla="*/ 54 w 108"/>
                  <a:gd name="T85" fmla="*/ 27 h 130"/>
                  <a:gd name="T86" fmla="*/ 51 w 108"/>
                  <a:gd name="T87" fmla="*/ 26 h 130"/>
                  <a:gd name="T88" fmla="*/ 49 w 108"/>
                  <a:gd name="T89" fmla="*/ 24 h 130"/>
                  <a:gd name="T90" fmla="*/ 47 w 108"/>
                  <a:gd name="T91" fmla="*/ 21 h 130"/>
                  <a:gd name="T92" fmla="*/ 46 w 108"/>
                  <a:gd name="T93" fmla="*/ 17 h 130"/>
                  <a:gd name="T94" fmla="*/ 30 w 108"/>
                  <a:gd name="T95" fmla="*/ 1 h 1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130">
                    <a:moveTo>
                      <a:pt x="27" y="0"/>
                    </a:moveTo>
                    <a:cubicBezTo>
                      <a:pt x="21" y="0"/>
                      <a:pt x="21" y="0"/>
                      <a:pt x="21" y="0"/>
                    </a:cubicBezTo>
                    <a:cubicBezTo>
                      <a:pt x="21" y="0"/>
                      <a:pt x="21" y="0"/>
                      <a:pt x="21" y="0"/>
                    </a:cubicBezTo>
                    <a:cubicBezTo>
                      <a:pt x="19" y="1"/>
                      <a:pt x="19" y="1"/>
                      <a:pt x="19" y="1"/>
                    </a:cubicBezTo>
                    <a:cubicBezTo>
                      <a:pt x="0" y="8"/>
                      <a:pt x="0" y="8"/>
                      <a:pt x="0" y="8"/>
                    </a:cubicBezTo>
                    <a:cubicBezTo>
                      <a:pt x="1" y="9"/>
                      <a:pt x="2" y="9"/>
                      <a:pt x="2" y="11"/>
                    </a:cubicBezTo>
                    <a:cubicBezTo>
                      <a:pt x="2" y="11"/>
                      <a:pt x="2" y="11"/>
                      <a:pt x="2" y="11"/>
                    </a:cubicBezTo>
                    <a:cubicBezTo>
                      <a:pt x="1" y="16"/>
                      <a:pt x="1" y="16"/>
                      <a:pt x="1" y="16"/>
                    </a:cubicBezTo>
                    <a:cubicBezTo>
                      <a:pt x="2" y="17"/>
                      <a:pt x="2" y="17"/>
                      <a:pt x="2" y="17"/>
                    </a:cubicBezTo>
                    <a:cubicBezTo>
                      <a:pt x="3" y="17"/>
                      <a:pt x="3" y="17"/>
                      <a:pt x="3" y="17"/>
                    </a:cubicBezTo>
                    <a:cubicBezTo>
                      <a:pt x="4" y="18"/>
                      <a:pt x="6" y="19"/>
                      <a:pt x="6" y="22"/>
                    </a:cubicBezTo>
                    <a:cubicBezTo>
                      <a:pt x="6" y="22"/>
                      <a:pt x="6" y="22"/>
                      <a:pt x="6" y="22"/>
                    </a:cubicBezTo>
                    <a:cubicBezTo>
                      <a:pt x="21" y="32"/>
                      <a:pt x="21" y="32"/>
                      <a:pt x="21" y="32"/>
                    </a:cubicBezTo>
                    <a:cubicBezTo>
                      <a:pt x="12" y="33"/>
                      <a:pt x="12" y="33"/>
                      <a:pt x="12" y="33"/>
                    </a:cubicBezTo>
                    <a:cubicBezTo>
                      <a:pt x="12" y="33"/>
                      <a:pt x="11" y="33"/>
                      <a:pt x="10" y="34"/>
                    </a:cubicBezTo>
                    <a:cubicBezTo>
                      <a:pt x="8" y="34"/>
                      <a:pt x="7" y="34"/>
                      <a:pt x="6" y="34"/>
                    </a:cubicBezTo>
                    <a:cubicBezTo>
                      <a:pt x="6" y="34"/>
                      <a:pt x="6" y="35"/>
                      <a:pt x="6" y="35"/>
                    </a:cubicBezTo>
                    <a:cubicBezTo>
                      <a:pt x="6" y="36"/>
                      <a:pt x="6" y="38"/>
                      <a:pt x="6" y="39"/>
                    </a:cubicBezTo>
                    <a:cubicBezTo>
                      <a:pt x="7" y="39"/>
                      <a:pt x="8" y="39"/>
                      <a:pt x="9" y="39"/>
                    </a:cubicBezTo>
                    <a:cubicBezTo>
                      <a:pt x="16" y="38"/>
                      <a:pt x="16" y="38"/>
                      <a:pt x="16" y="38"/>
                    </a:cubicBezTo>
                    <a:cubicBezTo>
                      <a:pt x="13" y="45"/>
                      <a:pt x="13" y="45"/>
                      <a:pt x="13" y="45"/>
                    </a:cubicBezTo>
                    <a:cubicBezTo>
                      <a:pt x="13" y="46"/>
                      <a:pt x="12" y="47"/>
                      <a:pt x="12" y="48"/>
                    </a:cubicBezTo>
                    <a:cubicBezTo>
                      <a:pt x="12" y="50"/>
                      <a:pt x="12" y="50"/>
                      <a:pt x="12" y="50"/>
                    </a:cubicBezTo>
                    <a:cubicBezTo>
                      <a:pt x="11" y="50"/>
                      <a:pt x="11" y="50"/>
                      <a:pt x="11" y="50"/>
                    </a:cubicBezTo>
                    <a:cubicBezTo>
                      <a:pt x="10" y="52"/>
                      <a:pt x="9" y="53"/>
                      <a:pt x="9" y="55"/>
                    </a:cubicBezTo>
                    <a:cubicBezTo>
                      <a:pt x="8" y="56"/>
                      <a:pt x="8" y="56"/>
                      <a:pt x="8" y="56"/>
                    </a:cubicBezTo>
                    <a:cubicBezTo>
                      <a:pt x="8" y="56"/>
                      <a:pt x="7" y="57"/>
                      <a:pt x="7" y="57"/>
                    </a:cubicBezTo>
                    <a:cubicBezTo>
                      <a:pt x="7" y="59"/>
                      <a:pt x="7" y="59"/>
                      <a:pt x="8" y="60"/>
                    </a:cubicBezTo>
                    <a:cubicBezTo>
                      <a:pt x="8" y="60"/>
                      <a:pt x="8" y="60"/>
                      <a:pt x="8" y="60"/>
                    </a:cubicBezTo>
                    <a:cubicBezTo>
                      <a:pt x="8" y="60"/>
                      <a:pt x="8" y="60"/>
                      <a:pt x="9" y="60"/>
                    </a:cubicBezTo>
                    <a:cubicBezTo>
                      <a:pt x="9" y="60"/>
                      <a:pt x="9" y="60"/>
                      <a:pt x="9" y="60"/>
                    </a:cubicBezTo>
                    <a:cubicBezTo>
                      <a:pt x="10" y="60"/>
                      <a:pt x="11" y="61"/>
                      <a:pt x="12" y="61"/>
                    </a:cubicBezTo>
                    <a:cubicBezTo>
                      <a:pt x="13" y="62"/>
                      <a:pt x="14" y="63"/>
                      <a:pt x="15" y="65"/>
                    </a:cubicBezTo>
                    <a:cubicBezTo>
                      <a:pt x="15" y="65"/>
                      <a:pt x="15" y="66"/>
                      <a:pt x="16" y="66"/>
                    </a:cubicBezTo>
                    <a:cubicBezTo>
                      <a:pt x="16" y="67"/>
                      <a:pt x="16" y="67"/>
                      <a:pt x="16" y="67"/>
                    </a:cubicBezTo>
                    <a:cubicBezTo>
                      <a:pt x="17" y="66"/>
                      <a:pt x="17" y="66"/>
                      <a:pt x="17" y="66"/>
                    </a:cubicBezTo>
                    <a:cubicBezTo>
                      <a:pt x="19" y="68"/>
                      <a:pt x="19" y="68"/>
                      <a:pt x="19" y="68"/>
                    </a:cubicBezTo>
                    <a:cubicBezTo>
                      <a:pt x="21" y="69"/>
                      <a:pt x="21" y="71"/>
                      <a:pt x="21" y="73"/>
                    </a:cubicBezTo>
                    <a:cubicBezTo>
                      <a:pt x="20" y="75"/>
                      <a:pt x="20" y="75"/>
                      <a:pt x="20" y="75"/>
                    </a:cubicBezTo>
                    <a:cubicBezTo>
                      <a:pt x="20" y="75"/>
                      <a:pt x="20" y="75"/>
                      <a:pt x="20" y="75"/>
                    </a:cubicBezTo>
                    <a:cubicBezTo>
                      <a:pt x="19" y="75"/>
                      <a:pt x="19" y="75"/>
                      <a:pt x="18" y="76"/>
                    </a:cubicBezTo>
                    <a:cubicBezTo>
                      <a:pt x="18" y="76"/>
                      <a:pt x="18" y="76"/>
                      <a:pt x="17" y="77"/>
                    </a:cubicBezTo>
                    <a:cubicBezTo>
                      <a:pt x="17" y="77"/>
                      <a:pt x="17" y="77"/>
                      <a:pt x="17" y="77"/>
                    </a:cubicBezTo>
                    <a:cubicBezTo>
                      <a:pt x="16" y="77"/>
                      <a:pt x="16" y="77"/>
                      <a:pt x="16" y="77"/>
                    </a:cubicBezTo>
                    <a:cubicBezTo>
                      <a:pt x="15" y="77"/>
                      <a:pt x="15" y="77"/>
                      <a:pt x="15" y="77"/>
                    </a:cubicBezTo>
                    <a:cubicBezTo>
                      <a:pt x="16" y="78"/>
                      <a:pt x="17" y="79"/>
                      <a:pt x="17" y="80"/>
                    </a:cubicBezTo>
                    <a:cubicBezTo>
                      <a:pt x="18" y="81"/>
                      <a:pt x="18" y="81"/>
                      <a:pt x="18" y="81"/>
                    </a:cubicBezTo>
                    <a:cubicBezTo>
                      <a:pt x="18" y="82"/>
                      <a:pt x="18" y="83"/>
                      <a:pt x="18" y="83"/>
                    </a:cubicBezTo>
                    <a:cubicBezTo>
                      <a:pt x="18" y="84"/>
                      <a:pt x="18" y="84"/>
                      <a:pt x="18" y="84"/>
                    </a:cubicBezTo>
                    <a:cubicBezTo>
                      <a:pt x="18" y="85"/>
                      <a:pt x="18" y="86"/>
                      <a:pt x="17" y="87"/>
                    </a:cubicBezTo>
                    <a:cubicBezTo>
                      <a:pt x="17" y="87"/>
                      <a:pt x="17" y="87"/>
                      <a:pt x="17" y="87"/>
                    </a:cubicBezTo>
                    <a:cubicBezTo>
                      <a:pt x="16" y="88"/>
                      <a:pt x="15" y="89"/>
                      <a:pt x="14" y="89"/>
                    </a:cubicBezTo>
                    <a:cubicBezTo>
                      <a:pt x="14" y="90"/>
                      <a:pt x="14" y="90"/>
                      <a:pt x="14" y="90"/>
                    </a:cubicBezTo>
                    <a:cubicBezTo>
                      <a:pt x="13" y="90"/>
                      <a:pt x="13" y="90"/>
                      <a:pt x="13" y="90"/>
                    </a:cubicBezTo>
                    <a:cubicBezTo>
                      <a:pt x="38" y="109"/>
                      <a:pt x="38" y="109"/>
                      <a:pt x="38" y="109"/>
                    </a:cubicBezTo>
                    <a:cubicBezTo>
                      <a:pt x="38" y="107"/>
                      <a:pt x="40" y="104"/>
                      <a:pt x="44" y="104"/>
                    </a:cubicBezTo>
                    <a:cubicBezTo>
                      <a:pt x="44" y="104"/>
                      <a:pt x="44" y="104"/>
                      <a:pt x="44" y="104"/>
                    </a:cubicBezTo>
                    <a:cubicBezTo>
                      <a:pt x="44" y="104"/>
                      <a:pt x="44" y="104"/>
                      <a:pt x="44" y="104"/>
                    </a:cubicBezTo>
                    <a:cubicBezTo>
                      <a:pt x="43" y="102"/>
                      <a:pt x="43" y="101"/>
                      <a:pt x="43" y="99"/>
                    </a:cubicBezTo>
                    <a:cubicBezTo>
                      <a:pt x="44" y="97"/>
                      <a:pt x="45" y="97"/>
                      <a:pt x="46" y="96"/>
                    </a:cubicBezTo>
                    <a:cubicBezTo>
                      <a:pt x="46" y="96"/>
                      <a:pt x="46" y="96"/>
                      <a:pt x="46" y="96"/>
                    </a:cubicBezTo>
                    <a:cubicBezTo>
                      <a:pt x="47" y="95"/>
                      <a:pt x="47" y="95"/>
                      <a:pt x="48" y="95"/>
                    </a:cubicBezTo>
                    <a:cubicBezTo>
                      <a:pt x="48" y="95"/>
                      <a:pt x="49" y="95"/>
                      <a:pt x="49" y="95"/>
                    </a:cubicBezTo>
                    <a:cubicBezTo>
                      <a:pt x="50" y="95"/>
                      <a:pt x="50" y="95"/>
                      <a:pt x="50" y="95"/>
                    </a:cubicBezTo>
                    <a:cubicBezTo>
                      <a:pt x="51" y="95"/>
                      <a:pt x="51" y="95"/>
                      <a:pt x="51" y="95"/>
                    </a:cubicBezTo>
                    <a:cubicBezTo>
                      <a:pt x="52" y="95"/>
                      <a:pt x="53" y="95"/>
                      <a:pt x="54" y="95"/>
                    </a:cubicBezTo>
                    <a:cubicBezTo>
                      <a:pt x="55" y="95"/>
                      <a:pt x="55" y="95"/>
                      <a:pt x="56" y="95"/>
                    </a:cubicBezTo>
                    <a:cubicBezTo>
                      <a:pt x="64" y="96"/>
                      <a:pt x="65" y="100"/>
                      <a:pt x="65" y="102"/>
                    </a:cubicBezTo>
                    <a:cubicBezTo>
                      <a:pt x="65" y="105"/>
                      <a:pt x="66" y="105"/>
                      <a:pt x="66" y="105"/>
                    </a:cubicBezTo>
                    <a:cubicBezTo>
                      <a:pt x="72" y="106"/>
                      <a:pt x="73" y="110"/>
                      <a:pt x="73" y="112"/>
                    </a:cubicBezTo>
                    <a:cubicBezTo>
                      <a:pt x="73" y="113"/>
                      <a:pt x="74" y="114"/>
                      <a:pt x="74" y="114"/>
                    </a:cubicBezTo>
                    <a:cubicBezTo>
                      <a:pt x="74" y="115"/>
                      <a:pt x="75" y="115"/>
                      <a:pt x="77" y="116"/>
                    </a:cubicBezTo>
                    <a:cubicBezTo>
                      <a:pt x="78" y="116"/>
                      <a:pt x="79" y="116"/>
                      <a:pt x="80" y="117"/>
                    </a:cubicBezTo>
                    <a:cubicBezTo>
                      <a:pt x="81" y="117"/>
                      <a:pt x="82" y="119"/>
                      <a:pt x="82" y="120"/>
                    </a:cubicBezTo>
                    <a:cubicBezTo>
                      <a:pt x="83" y="123"/>
                      <a:pt x="81" y="127"/>
                      <a:pt x="79" y="130"/>
                    </a:cubicBezTo>
                    <a:cubicBezTo>
                      <a:pt x="79" y="130"/>
                      <a:pt x="79" y="130"/>
                      <a:pt x="79" y="130"/>
                    </a:cubicBezTo>
                    <a:cubicBezTo>
                      <a:pt x="84" y="129"/>
                      <a:pt x="88" y="128"/>
                      <a:pt x="92" y="128"/>
                    </a:cubicBezTo>
                    <a:cubicBezTo>
                      <a:pt x="93" y="128"/>
                      <a:pt x="93" y="128"/>
                      <a:pt x="93" y="128"/>
                    </a:cubicBezTo>
                    <a:cubicBezTo>
                      <a:pt x="94" y="128"/>
                      <a:pt x="94" y="128"/>
                      <a:pt x="94" y="128"/>
                    </a:cubicBezTo>
                    <a:cubicBezTo>
                      <a:pt x="94" y="128"/>
                      <a:pt x="94" y="128"/>
                      <a:pt x="94" y="128"/>
                    </a:cubicBezTo>
                    <a:cubicBezTo>
                      <a:pt x="95" y="127"/>
                      <a:pt x="95" y="127"/>
                      <a:pt x="95" y="127"/>
                    </a:cubicBezTo>
                    <a:cubicBezTo>
                      <a:pt x="96" y="126"/>
                      <a:pt x="97" y="125"/>
                      <a:pt x="97" y="125"/>
                    </a:cubicBezTo>
                    <a:cubicBezTo>
                      <a:pt x="96" y="123"/>
                      <a:pt x="96" y="123"/>
                      <a:pt x="96" y="123"/>
                    </a:cubicBezTo>
                    <a:cubicBezTo>
                      <a:pt x="95" y="121"/>
                      <a:pt x="95" y="120"/>
                      <a:pt x="95" y="118"/>
                    </a:cubicBezTo>
                    <a:cubicBezTo>
                      <a:pt x="94" y="116"/>
                      <a:pt x="95" y="114"/>
                      <a:pt x="95" y="112"/>
                    </a:cubicBezTo>
                    <a:cubicBezTo>
                      <a:pt x="96" y="112"/>
                      <a:pt x="96" y="111"/>
                      <a:pt x="97" y="111"/>
                    </a:cubicBezTo>
                    <a:cubicBezTo>
                      <a:pt x="98" y="110"/>
                      <a:pt x="99" y="109"/>
                      <a:pt x="99" y="109"/>
                    </a:cubicBezTo>
                    <a:cubicBezTo>
                      <a:pt x="100" y="108"/>
                      <a:pt x="100" y="108"/>
                      <a:pt x="100" y="108"/>
                    </a:cubicBezTo>
                    <a:cubicBezTo>
                      <a:pt x="103" y="106"/>
                      <a:pt x="105" y="104"/>
                      <a:pt x="108" y="102"/>
                    </a:cubicBezTo>
                    <a:cubicBezTo>
                      <a:pt x="108" y="101"/>
                      <a:pt x="108" y="101"/>
                      <a:pt x="108" y="101"/>
                    </a:cubicBezTo>
                    <a:cubicBezTo>
                      <a:pt x="107" y="101"/>
                      <a:pt x="107" y="101"/>
                      <a:pt x="107" y="101"/>
                    </a:cubicBezTo>
                    <a:cubicBezTo>
                      <a:pt x="106" y="100"/>
                      <a:pt x="105" y="100"/>
                      <a:pt x="105" y="99"/>
                    </a:cubicBezTo>
                    <a:cubicBezTo>
                      <a:pt x="104" y="99"/>
                      <a:pt x="104" y="99"/>
                      <a:pt x="104" y="99"/>
                    </a:cubicBezTo>
                    <a:cubicBezTo>
                      <a:pt x="103" y="98"/>
                      <a:pt x="102" y="97"/>
                      <a:pt x="101" y="96"/>
                    </a:cubicBezTo>
                    <a:cubicBezTo>
                      <a:pt x="99" y="95"/>
                      <a:pt x="98" y="93"/>
                      <a:pt x="97" y="92"/>
                    </a:cubicBezTo>
                    <a:cubicBezTo>
                      <a:pt x="96" y="90"/>
                      <a:pt x="95" y="88"/>
                      <a:pt x="94" y="86"/>
                    </a:cubicBezTo>
                    <a:cubicBezTo>
                      <a:pt x="94" y="85"/>
                      <a:pt x="94" y="85"/>
                      <a:pt x="94" y="85"/>
                    </a:cubicBezTo>
                    <a:cubicBezTo>
                      <a:pt x="94" y="84"/>
                      <a:pt x="94" y="84"/>
                      <a:pt x="94" y="83"/>
                    </a:cubicBezTo>
                    <a:cubicBezTo>
                      <a:pt x="93" y="82"/>
                      <a:pt x="93" y="80"/>
                      <a:pt x="93" y="79"/>
                    </a:cubicBezTo>
                    <a:cubicBezTo>
                      <a:pt x="94" y="78"/>
                      <a:pt x="94" y="78"/>
                      <a:pt x="94" y="78"/>
                    </a:cubicBezTo>
                    <a:cubicBezTo>
                      <a:pt x="100" y="67"/>
                      <a:pt x="100" y="67"/>
                      <a:pt x="100" y="67"/>
                    </a:cubicBezTo>
                    <a:cubicBezTo>
                      <a:pt x="100" y="67"/>
                      <a:pt x="100" y="66"/>
                      <a:pt x="100" y="66"/>
                    </a:cubicBezTo>
                    <a:cubicBezTo>
                      <a:pt x="98" y="64"/>
                      <a:pt x="97" y="61"/>
                      <a:pt x="97" y="59"/>
                    </a:cubicBezTo>
                    <a:cubicBezTo>
                      <a:pt x="96" y="58"/>
                      <a:pt x="97" y="56"/>
                      <a:pt x="98" y="54"/>
                    </a:cubicBezTo>
                    <a:cubicBezTo>
                      <a:pt x="98" y="54"/>
                      <a:pt x="98" y="54"/>
                      <a:pt x="98" y="54"/>
                    </a:cubicBezTo>
                    <a:cubicBezTo>
                      <a:pt x="97" y="55"/>
                      <a:pt x="97" y="55"/>
                      <a:pt x="97" y="55"/>
                    </a:cubicBezTo>
                    <a:cubicBezTo>
                      <a:pt x="97" y="55"/>
                      <a:pt x="96" y="56"/>
                      <a:pt x="95" y="57"/>
                    </a:cubicBezTo>
                    <a:cubicBezTo>
                      <a:pt x="94" y="58"/>
                      <a:pt x="94" y="58"/>
                      <a:pt x="94" y="58"/>
                    </a:cubicBezTo>
                    <a:cubicBezTo>
                      <a:pt x="93" y="57"/>
                      <a:pt x="93" y="57"/>
                      <a:pt x="93" y="57"/>
                    </a:cubicBezTo>
                    <a:cubicBezTo>
                      <a:pt x="94" y="58"/>
                      <a:pt x="94" y="58"/>
                      <a:pt x="94" y="58"/>
                    </a:cubicBezTo>
                    <a:cubicBezTo>
                      <a:pt x="93" y="58"/>
                      <a:pt x="93" y="58"/>
                      <a:pt x="93" y="58"/>
                    </a:cubicBezTo>
                    <a:cubicBezTo>
                      <a:pt x="93" y="59"/>
                      <a:pt x="92" y="59"/>
                      <a:pt x="92" y="59"/>
                    </a:cubicBezTo>
                    <a:cubicBezTo>
                      <a:pt x="92" y="60"/>
                      <a:pt x="92" y="60"/>
                      <a:pt x="92" y="60"/>
                    </a:cubicBezTo>
                    <a:cubicBezTo>
                      <a:pt x="90" y="60"/>
                      <a:pt x="90" y="60"/>
                      <a:pt x="90" y="60"/>
                    </a:cubicBezTo>
                    <a:cubicBezTo>
                      <a:pt x="90" y="60"/>
                      <a:pt x="90" y="60"/>
                      <a:pt x="90" y="60"/>
                    </a:cubicBezTo>
                    <a:cubicBezTo>
                      <a:pt x="89" y="60"/>
                      <a:pt x="89" y="59"/>
                      <a:pt x="88" y="59"/>
                    </a:cubicBezTo>
                    <a:cubicBezTo>
                      <a:pt x="88" y="59"/>
                      <a:pt x="88" y="59"/>
                      <a:pt x="88" y="59"/>
                    </a:cubicBezTo>
                    <a:cubicBezTo>
                      <a:pt x="87" y="58"/>
                      <a:pt x="87" y="58"/>
                      <a:pt x="87" y="58"/>
                    </a:cubicBezTo>
                    <a:cubicBezTo>
                      <a:pt x="86" y="57"/>
                      <a:pt x="84" y="56"/>
                      <a:pt x="82" y="54"/>
                    </a:cubicBezTo>
                    <a:cubicBezTo>
                      <a:pt x="59" y="45"/>
                      <a:pt x="59" y="45"/>
                      <a:pt x="59" y="45"/>
                    </a:cubicBezTo>
                    <a:cubicBezTo>
                      <a:pt x="66" y="41"/>
                      <a:pt x="66" y="41"/>
                      <a:pt x="66" y="41"/>
                    </a:cubicBezTo>
                    <a:cubicBezTo>
                      <a:pt x="67" y="41"/>
                      <a:pt x="68" y="40"/>
                      <a:pt x="69" y="40"/>
                    </a:cubicBezTo>
                    <a:cubicBezTo>
                      <a:pt x="69" y="39"/>
                      <a:pt x="69" y="39"/>
                      <a:pt x="69" y="39"/>
                    </a:cubicBezTo>
                    <a:cubicBezTo>
                      <a:pt x="69" y="38"/>
                      <a:pt x="68" y="37"/>
                      <a:pt x="68" y="35"/>
                    </a:cubicBezTo>
                    <a:cubicBezTo>
                      <a:pt x="68" y="35"/>
                      <a:pt x="68" y="35"/>
                      <a:pt x="68" y="35"/>
                    </a:cubicBezTo>
                    <a:cubicBezTo>
                      <a:pt x="59" y="30"/>
                      <a:pt x="59" y="30"/>
                      <a:pt x="59" y="30"/>
                    </a:cubicBezTo>
                    <a:cubicBezTo>
                      <a:pt x="59" y="30"/>
                      <a:pt x="58" y="29"/>
                      <a:pt x="57" y="29"/>
                    </a:cubicBezTo>
                    <a:cubicBezTo>
                      <a:pt x="56" y="29"/>
                      <a:pt x="56" y="29"/>
                      <a:pt x="56" y="29"/>
                    </a:cubicBezTo>
                    <a:cubicBezTo>
                      <a:pt x="55" y="28"/>
                      <a:pt x="54" y="28"/>
                      <a:pt x="54" y="27"/>
                    </a:cubicBezTo>
                    <a:cubicBezTo>
                      <a:pt x="53" y="27"/>
                      <a:pt x="53" y="27"/>
                      <a:pt x="53" y="27"/>
                    </a:cubicBezTo>
                    <a:cubicBezTo>
                      <a:pt x="52" y="27"/>
                      <a:pt x="52" y="27"/>
                      <a:pt x="52" y="27"/>
                    </a:cubicBezTo>
                    <a:cubicBezTo>
                      <a:pt x="52" y="26"/>
                      <a:pt x="51" y="26"/>
                      <a:pt x="51" y="26"/>
                    </a:cubicBezTo>
                    <a:cubicBezTo>
                      <a:pt x="50" y="25"/>
                      <a:pt x="50" y="25"/>
                      <a:pt x="50" y="25"/>
                    </a:cubicBezTo>
                    <a:cubicBezTo>
                      <a:pt x="50" y="25"/>
                      <a:pt x="50" y="25"/>
                      <a:pt x="50" y="25"/>
                    </a:cubicBezTo>
                    <a:cubicBezTo>
                      <a:pt x="49" y="24"/>
                      <a:pt x="49" y="24"/>
                      <a:pt x="49" y="24"/>
                    </a:cubicBezTo>
                    <a:cubicBezTo>
                      <a:pt x="49" y="24"/>
                      <a:pt x="49" y="24"/>
                      <a:pt x="49" y="24"/>
                    </a:cubicBezTo>
                    <a:cubicBezTo>
                      <a:pt x="48" y="23"/>
                      <a:pt x="48" y="23"/>
                      <a:pt x="48" y="23"/>
                    </a:cubicBezTo>
                    <a:cubicBezTo>
                      <a:pt x="47" y="21"/>
                      <a:pt x="47" y="21"/>
                      <a:pt x="47" y="21"/>
                    </a:cubicBezTo>
                    <a:cubicBezTo>
                      <a:pt x="47" y="21"/>
                      <a:pt x="47" y="21"/>
                      <a:pt x="47" y="21"/>
                    </a:cubicBezTo>
                    <a:cubicBezTo>
                      <a:pt x="48" y="19"/>
                      <a:pt x="48" y="19"/>
                      <a:pt x="48" y="19"/>
                    </a:cubicBezTo>
                    <a:cubicBezTo>
                      <a:pt x="47" y="18"/>
                      <a:pt x="47" y="17"/>
                      <a:pt x="46" y="17"/>
                    </a:cubicBezTo>
                    <a:cubicBezTo>
                      <a:pt x="45" y="16"/>
                      <a:pt x="45" y="15"/>
                      <a:pt x="44" y="15"/>
                    </a:cubicBezTo>
                    <a:cubicBezTo>
                      <a:pt x="34" y="2"/>
                      <a:pt x="34" y="2"/>
                      <a:pt x="34" y="2"/>
                    </a:cubicBezTo>
                    <a:cubicBezTo>
                      <a:pt x="32" y="1"/>
                      <a:pt x="31" y="1"/>
                      <a:pt x="30" y="1"/>
                    </a:cubicBezTo>
                    <a:cubicBezTo>
                      <a:pt x="29" y="0"/>
                      <a:pt x="28"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Rectangle 302"/>
              <p:cNvSpPr>
                <a:spLocks noChangeArrowheads="1"/>
              </p:cNvSpPr>
              <p:nvPr/>
            </p:nvSpPr>
            <p:spPr bwMode="auto">
              <a:xfrm>
                <a:off x="6065701" y="4466361"/>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303"/>
              <p:cNvSpPr/>
              <p:nvPr/>
            </p:nvSpPr>
            <p:spPr bwMode="auto">
              <a:xfrm flipH="1">
                <a:off x="6065701" y="446636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304"/>
              <p:cNvSpPr/>
              <p:nvPr/>
            </p:nvSpPr>
            <p:spPr bwMode="auto">
              <a:xfrm>
                <a:off x="6205735" y="4208403"/>
                <a:ext cx="825466" cy="497491"/>
              </a:xfrm>
              <a:custGeom>
                <a:gdLst>
                  <a:gd name="T0" fmla="*/ 160 w 260"/>
                  <a:gd name="T1" fmla="*/ 9 h 156"/>
                  <a:gd name="T2" fmla="*/ 141 w 260"/>
                  <a:gd name="T3" fmla="*/ 11 h 156"/>
                  <a:gd name="T4" fmla="*/ 131 w 260"/>
                  <a:gd name="T5" fmla="*/ 17 h 156"/>
                  <a:gd name="T6" fmla="*/ 119 w 260"/>
                  <a:gd name="T7" fmla="*/ 15 h 156"/>
                  <a:gd name="T8" fmla="*/ 108 w 260"/>
                  <a:gd name="T9" fmla="*/ 10 h 156"/>
                  <a:gd name="T10" fmla="*/ 106 w 260"/>
                  <a:gd name="T11" fmla="*/ 10 h 156"/>
                  <a:gd name="T12" fmla="*/ 93 w 260"/>
                  <a:gd name="T13" fmla="*/ 9 h 156"/>
                  <a:gd name="T14" fmla="*/ 88 w 260"/>
                  <a:gd name="T15" fmla="*/ 8 h 156"/>
                  <a:gd name="T16" fmla="*/ 77 w 260"/>
                  <a:gd name="T17" fmla="*/ 5 h 156"/>
                  <a:gd name="T18" fmla="*/ 74 w 260"/>
                  <a:gd name="T19" fmla="*/ 7 h 156"/>
                  <a:gd name="T20" fmla="*/ 71 w 260"/>
                  <a:gd name="T21" fmla="*/ 9 h 156"/>
                  <a:gd name="T22" fmla="*/ 53 w 260"/>
                  <a:gd name="T23" fmla="*/ 20 h 156"/>
                  <a:gd name="T24" fmla="*/ 48 w 260"/>
                  <a:gd name="T25" fmla="*/ 23 h 156"/>
                  <a:gd name="T26" fmla="*/ 37 w 260"/>
                  <a:gd name="T27" fmla="*/ 40 h 156"/>
                  <a:gd name="T28" fmla="*/ 33 w 260"/>
                  <a:gd name="T29" fmla="*/ 49 h 156"/>
                  <a:gd name="T30" fmla="*/ 25 w 260"/>
                  <a:gd name="T31" fmla="*/ 64 h 156"/>
                  <a:gd name="T32" fmla="*/ 11 w 260"/>
                  <a:gd name="T33" fmla="*/ 70 h 156"/>
                  <a:gd name="T34" fmla="*/ 0 w 260"/>
                  <a:gd name="T35" fmla="*/ 75 h 156"/>
                  <a:gd name="T36" fmla="*/ 11 w 260"/>
                  <a:gd name="T37" fmla="*/ 90 h 156"/>
                  <a:gd name="T38" fmla="*/ 19 w 260"/>
                  <a:gd name="T39" fmla="*/ 97 h 156"/>
                  <a:gd name="T40" fmla="*/ 32 w 260"/>
                  <a:gd name="T41" fmla="*/ 109 h 156"/>
                  <a:gd name="T42" fmla="*/ 32 w 260"/>
                  <a:gd name="T43" fmla="*/ 118 h 156"/>
                  <a:gd name="T44" fmla="*/ 50 w 260"/>
                  <a:gd name="T45" fmla="*/ 124 h 156"/>
                  <a:gd name="T46" fmla="*/ 58 w 260"/>
                  <a:gd name="T47" fmla="*/ 120 h 156"/>
                  <a:gd name="T48" fmla="*/ 66 w 260"/>
                  <a:gd name="T49" fmla="*/ 125 h 156"/>
                  <a:gd name="T50" fmla="*/ 67 w 260"/>
                  <a:gd name="T51" fmla="*/ 129 h 156"/>
                  <a:gd name="T52" fmla="*/ 66 w 260"/>
                  <a:gd name="T53" fmla="*/ 132 h 156"/>
                  <a:gd name="T54" fmla="*/ 61 w 260"/>
                  <a:gd name="T55" fmla="*/ 132 h 156"/>
                  <a:gd name="T56" fmla="*/ 61 w 260"/>
                  <a:gd name="T57" fmla="*/ 133 h 156"/>
                  <a:gd name="T58" fmla="*/ 63 w 260"/>
                  <a:gd name="T59" fmla="*/ 136 h 156"/>
                  <a:gd name="T60" fmla="*/ 73 w 260"/>
                  <a:gd name="T61" fmla="*/ 147 h 156"/>
                  <a:gd name="T62" fmla="*/ 73 w 260"/>
                  <a:gd name="T63" fmla="*/ 150 h 156"/>
                  <a:gd name="T64" fmla="*/ 80 w 260"/>
                  <a:gd name="T65" fmla="*/ 149 h 156"/>
                  <a:gd name="T66" fmla="*/ 103 w 260"/>
                  <a:gd name="T67" fmla="*/ 154 h 156"/>
                  <a:gd name="T68" fmla="*/ 123 w 260"/>
                  <a:gd name="T69" fmla="*/ 153 h 156"/>
                  <a:gd name="T70" fmla="*/ 130 w 260"/>
                  <a:gd name="T71" fmla="*/ 156 h 156"/>
                  <a:gd name="T72" fmla="*/ 140 w 260"/>
                  <a:gd name="T73" fmla="*/ 156 h 156"/>
                  <a:gd name="T74" fmla="*/ 157 w 260"/>
                  <a:gd name="T75" fmla="*/ 149 h 156"/>
                  <a:gd name="T76" fmla="*/ 169 w 260"/>
                  <a:gd name="T77" fmla="*/ 142 h 156"/>
                  <a:gd name="T78" fmla="*/ 192 w 260"/>
                  <a:gd name="T79" fmla="*/ 139 h 156"/>
                  <a:gd name="T80" fmla="*/ 199 w 260"/>
                  <a:gd name="T81" fmla="*/ 142 h 156"/>
                  <a:gd name="T82" fmla="*/ 232 w 260"/>
                  <a:gd name="T83" fmla="*/ 135 h 156"/>
                  <a:gd name="T84" fmla="*/ 235 w 260"/>
                  <a:gd name="T85" fmla="*/ 125 h 156"/>
                  <a:gd name="T86" fmla="*/ 240 w 260"/>
                  <a:gd name="T87" fmla="*/ 123 h 156"/>
                  <a:gd name="T88" fmla="*/ 235 w 260"/>
                  <a:gd name="T89" fmla="*/ 123 h 156"/>
                  <a:gd name="T90" fmla="*/ 246 w 260"/>
                  <a:gd name="T91" fmla="*/ 117 h 156"/>
                  <a:gd name="T92" fmla="*/ 260 w 260"/>
                  <a:gd name="T93" fmla="*/ 113 h 156"/>
                  <a:gd name="T94" fmla="*/ 258 w 260"/>
                  <a:gd name="T95" fmla="*/ 105 h 156"/>
                  <a:gd name="T96" fmla="*/ 244 w 260"/>
                  <a:gd name="T97" fmla="*/ 104 h 156"/>
                  <a:gd name="T98" fmla="*/ 237 w 260"/>
                  <a:gd name="T99" fmla="*/ 107 h 156"/>
                  <a:gd name="T100" fmla="*/ 231 w 260"/>
                  <a:gd name="T101" fmla="*/ 107 h 156"/>
                  <a:gd name="T102" fmla="*/ 220 w 260"/>
                  <a:gd name="T103" fmla="*/ 101 h 156"/>
                  <a:gd name="T104" fmla="*/ 214 w 260"/>
                  <a:gd name="T105" fmla="*/ 96 h 156"/>
                  <a:gd name="T106" fmla="*/ 212 w 260"/>
                  <a:gd name="T107" fmla="*/ 94 h 156"/>
                  <a:gd name="T108" fmla="*/ 212 w 260"/>
                  <a:gd name="T109" fmla="*/ 80 h 156"/>
                  <a:gd name="T110" fmla="*/ 214 w 260"/>
                  <a:gd name="T111" fmla="*/ 50 h 156"/>
                  <a:gd name="T112" fmla="*/ 211 w 260"/>
                  <a:gd name="T113" fmla="*/ 43 h 156"/>
                  <a:gd name="T114" fmla="*/ 194 w 260"/>
                  <a:gd name="T115" fmla="*/ 23 h 156"/>
                  <a:gd name="T116" fmla="*/ 187 w 260"/>
                  <a:gd name="T117" fmla="*/ 10 h 156"/>
                  <a:gd name="T118" fmla="*/ 183 w 260"/>
                  <a:gd name="T119" fmla="*/ 4 h 156"/>
                  <a:gd name="T120" fmla="*/ 175 w 260"/>
                  <a:gd name="T121" fmla="*/ 0 h 1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56">
                    <a:moveTo>
                      <a:pt x="175" y="0"/>
                    </a:moveTo>
                    <a:cubicBezTo>
                      <a:pt x="162" y="8"/>
                      <a:pt x="162" y="8"/>
                      <a:pt x="162" y="8"/>
                    </a:cubicBezTo>
                    <a:cubicBezTo>
                      <a:pt x="161" y="8"/>
                      <a:pt x="160" y="9"/>
                      <a:pt x="160" y="9"/>
                    </a:cubicBezTo>
                    <a:cubicBezTo>
                      <a:pt x="155" y="10"/>
                      <a:pt x="151" y="11"/>
                      <a:pt x="147" y="11"/>
                    </a:cubicBezTo>
                    <a:cubicBezTo>
                      <a:pt x="145" y="11"/>
                      <a:pt x="143" y="11"/>
                      <a:pt x="142" y="11"/>
                    </a:cubicBezTo>
                    <a:cubicBezTo>
                      <a:pt x="141" y="11"/>
                      <a:pt x="141" y="11"/>
                      <a:pt x="141" y="11"/>
                    </a:cubicBezTo>
                    <a:cubicBezTo>
                      <a:pt x="140" y="11"/>
                      <a:pt x="139" y="11"/>
                      <a:pt x="139" y="12"/>
                    </a:cubicBezTo>
                    <a:cubicBezTo>
                      <a:pt x="138" y="12"/>
                      <a:pt x="136" y="13"/>
                      <a:pt x="135" y="14"/>
                    </a:cubicBezTo>
                    <a:cubicBezTo>
                      <a:pt x="131" y="17"/>
                      <a:pt x="131" y="17"/>
                      <a:pt x="131" y="17"/>
                    </a:cubicBezTo>
                    <a:cubicBezTo>
                      <a:pt x="129" y="18"/>
                      <a:pt x="127" y="18"/>
                      <a:pt x="126" y="18"/>
                    </a:cubicBezTo>
                    <a:cubicBezTo>
                      <a:pt x="125" y="18"/>
                      <a:pt x="125" y="18"/>
                      <a:pt x="124" y="18"/>
                    </a:cubicBezTo>
                    <a:cubicBezTo>
                      <a:pt x="122" y="17"/>
                      <a:pt x="121" y="16"/>
                      <a:pt x="119" y="15"/>
                    </a:cubicBezTo>
                    <a:cubicBezTo>
                      <a:pt x="118" y="14"/>
                      <a:pt x="118" y="14"/>
                      <a:pt x="118" y="14"/>
                    </a:cubicBezTo>
                    <a:cubicBezTo>
                      <a:pt x="117" y="12"/>
                      <a:pt x="116" y="11"/>
                      <a:pt x="114" y="10"/>
                    </a:cubicBezTo>
                    <a:cubicBezTo>
                      <a:pt x="113" y="10"/>
                      <a:pt x="111" y="10"/>
                      <a:pt x="108" y="10"/>
                    </a:cubicBezTo>
                    <a:cubicBezTo>
                      <a:pt x="108" y="10"/>
                      <a:pt x="108" y="10"/>
                      <a:pt x="108" y="10"/>
                    </a:cubicBezTo>
                    <a:cubicBezTo>
                      <a:pt x="107" y="10"/>
                      <a:pt x="107" y="10"/>
                      <a:pt x="107" y="10"/>
                    </a:cubicBezTo>
                    <a:cubicBezTo>
                      <a:pt x="107" y="10"/>
                      <a:pt x="106" y="10"/>
                      <a:pt x="106" y="10"/>
                    </a:cubicBezTo>
                    <a:cubicBezTo>
                      <a:pt x="105" y="10"/>
                      <a:pt x="104" y="10"/>
                      <a:pt x="103" y="9"/>
                    </a:cubicBezTo>
                    <a:cubicBezTo>
                      <a:pt x="95" y="9"/>
                      <a:pt x="95" y="9"/>
                      <a:pt x="95" y="9"/>
                    </a:cubicBezTo>
                    <a:cubicBezTo>
                      <a:pt x="95" y="9"/>
                      <a:pt x="94" y="9"/>
                      <a:pt x="93" y="9"/>
                    </a:cubicBezTo>
                    <a:cubicBezTo>
                      <a:pt x="92" y="8"/>
                      <a:pt x="92" y="8"/>
                      <a:pt x="92" y="8"/>
                    </a:cubicBezTo>
                    <a:cubicBezTo>
                      <a:pt x="92" y="8"/>
                      <a:pt x="89" y="8"/>
                      <a:pt x="88" y="8"/>
                    </a:cubicBezTo>
                    <a:cubicBezTo>
                      <a:pt x="88" y="8"/>
                      <a:pt x="88" y="8"/>
                      <a:pt x="88" y="8"/>
                    </a:cubicBezTo>
                    <a:cubicBezTo>
                      <a:pt x="87" y="9"/>
                      <a:pt x="86" y="9"/>
                      <a:pt x="85" y="9"/>
                    </a:cubicBezTo>
                    <a:cubicBezTo>
                      <a:pt x="82" y="9"/>
                      <a:pt x="80" y="7"/>
                      <a:pt x="79" y="7"/>
                    </a:cubicBezTo>
                    <a:cubicBezTo>
                      <a:pt x="78" y="6"/>
                      <a:pt x="78" y="6"/>
                      <a:pt x="77" y="5"/>
                    </a:cubicBezTo>
                    <a:cubicBezTo>
                      <a:pt x="76" y="5"/>
                      <a:pt x="76" y="5"/>
                      <a:pt x="76" y="5"/>
                    </a:cubicBezTo>
                    <a:cubicBezTo>
                      <a:pt x="76" y="5"/>
                      <a:pt x="76" y="5"/>
                      <a:pt x="76" y="5"/>
                    </a:cubicBezTo>
                    <a:cubicBezTo>
                      <a:pt x="75" y="6"/>
                      <a:pt x="74" y="6"/>
                      <a:pt x="74" y="7"/>
                    </a:cubicBezTo>
                    <a:cubicBezTo>
                      <a:pt x="73" y="7"/>
                      <a:pt x="73" y="7"/>
                      <a:pt x="73" y="7"/>
                    </a:cubicBezTo>
                    <a:cubicBezTo>
                      <a:pt x="75" y="8"/>
                      <a:pt x="75" y="8"/>
                      <a:pt x="75" y="8"/>
                    </a:cubicBezTo>
                    <a:cubicBezTo>
                      <a:pt x="71" y="9"/>
                      <a:pt x="71" y="9"/>
                      <a:pt x="71" y="9"/>
                    </a:cubicBezTo>
                    <a:cubicBezTo>
                      <a:pt x="70" y="9"/>
                      <a:pt x="70" y="9"/>
                      <a:pt x="70" y="9"/>
                    </a:cubicBezTo>
                    <a:cubicBezTo>
                      <a:pt x="69" y="10"/>
                      <a:pt x="69" y="10"/>
                      <a:pt x="68" y="11"/>
                    </a:cubicBezTo>
                    <a:cubicBezTo>
                      <a:pt x="53" y="20"/>
                      <a:pt x="53" y="20"/>
                      <a:pt x="53" y="20"/>
                    </a:cubicBezTo>
                    <a:cubicBezTo>
                      <a:pt x="53" y="20"/>
                      <a:pt x="53" y="21"/>
                      <a:pt x="52" y="21"/>
                    </a:cubicBezTo>
                    <a:cubicBezTo>
                      <a:pt x="51" y="21"/>
                      <a:pt x="51" y="21"/>
                      <a:pt x="51" y="21"/>
                    </a:cubicBezTo>
                    <a:cubicBezTo>
                      <a:pt x="50" y="22"/>
                      <a:pt x="49" y="23"/>
                      <a:pt x="48" y="23"/>
                    </a:cubicBezTo>
                    <a:cubicBezTo>
                      <a:pt x="47" y="24"/>
                      <a:pt x="45" y="27"/>
                      <a:pt x="44" y="28"/>
                    </a:cubicBezTo>
                    <a:cubicBezTo>
                      <a:pt x="44" y="29"/>
                      <a:pt x="44" y="29"/>
                      <a:pt x="44" y="29"/>
                    </a:cubicBezTo>
                    <a:cubicBezTo>
                      <a:pt x="42" y="33"/>
                      <a:pt x="39" y="36"/>
                      <a:pt x="37" y="40"/>
                    </a:cubicBezTo>
                    <a:cubicBezTo>
                      <a:pt x="36" y="41"/>
                      <a:pt x="36" y="41"/>
                      <a:pt x="36" y="41"/>
                    </a:cubicBezTo>
                    <a:cubicBezTo>
                      <a:pt x="36" y="42"/>
                      <a:pt x="36" y="42"/>
                      <a:pt x="36" y="42"/>
                    </a:cubicBezTo>
                    <a:cubicBezTo>
                      <a:pt x="35" y="44"/>
                      <a:pt x="34" y="46"/>
                      <a:pt x="33" y="49"/>
                    </a:cubicBezTo>
                    <a:cubicBezTo>
                      <a:pt x="32" y="50"/>
                      <a:pt x="32" y="50"/>
                      <a:pt x="32" y="50"/>
                    </a:cubicBezTo>
                    <a:cubicBezTo>
                      <a:pt x="32" y="52"/>
                      <a:pt x="31" y="54"/>
                      <a:pt x="30" y="55"/>
                    </a:cubicBezTo>
                    <a:cubicBezTo>
                      <a:pt x="28" y="59"/>
                      <a:pt x="27" y="62"/>
                      <a:pt x="25" y="64"/>
                    </a:cubicBezTo>
                    <a:cubicBezTo>
                      <a:pt x="23" y="66"/>
                      <a:pt x="21" y="70"/>
                      <a:pt x="16" y="70"/>
                    </a:cubicBezTo>
                    <a:cubicBezTo>
                      <a:pt x="15" y="70"/>
                      <a:pt x="14" y="70"/>
                      <a:pt x="12" y="70"/>
                    </a:cubicBezTo>
                    <a:cubicBezTo>
                      <a:pt x="11" y="70"/>
                      <a:pt x="11" y="70"/>
                      <a:pt x="11" y="70"/>
                    </a:cubicBezTo>
                    <a:cubicBezTo>
                      <a:pt x="10" y="71"/>
                      <a:pt x="10" y="71"/>
                      <a:pt x="10" y="71"/>
                    </a:cubicBezTo>
                    <a:cubicBezTo>
                      <a:pt x="9" y="73"/>
                      <a:pt x="7" y="74"/>
                      <a:pt x="5" y="75"/>
                    </a:cubicBezTo>
                    <a:cubicBezTo>
                      <a:pt x="3" y="75"/>
                      <a:pt x="1" y="75"/>
                      <a:pt x="0" y="75"/>
                    </a:cubicBezTo>
                    <a:cubicBezTo>
                      <a:pt x="7" y="84"/>
                      <a:pt x="7" y="84"/>
                      <a:pt x="7" y="84"/>
                    </a:cubicBezTo>
                    <a:cubicBezTo>
                      <a:pt x="7" y="85"/>
                      <a:pt x="7" y="85"/>
                      <a:pt x="8" y="86"/>
                    </a:cubicBezTo>
                    <a:cubicBezTo>
                      <a:pt x="9" y="87"/>
                      <a:pt x="10" y="88"/>
                      <a:pt x="11" y="90"/>
                    </a:cubicBezTo>
                    <a:cubicBezTo>
                      <a:pt x="11" y="90"/>
                      <a:pt x="11" y="91"/>
                      <a:pt x="12" y="91"/>
                    </a:cubicBezTo>
                    <a:cubicBezTo>
                      <a:pt x="12" y="92"/>
                      <a:pt x="12" y="93"/>
                      <a:pt x="12" y="94"/>
                    </a:cubicBezTo>
                    <a:cubicBezTo>
                      <a:pt x="13" y="95"/>
                      <a:pt x="16" y="96"/>
                      <a:pt x="19" y="97"/>
                    </a:cubicBezTo>
                    <a:cubicBezTo>
                      <a:pt x="20" y="98"/>
                      <a:pt x="20" y="98"/>
                      <a:pt x="20" y="98"/>
                    </a:cubicBezTo>
                    <a:cubicBezTo>
                      <a:pt x="30" y="104"/>
                      <a:pt x="30" y="104"/>
                      <a:pt x="30" y="104"/>
                    </a:cubicBezTo>
                    <a:cubicBezTo>
                      <a:pt x="31" y="105"/>
                      <a:pt x="32" y="107"/>
                      <a:pt x="32" y="109"/>
                    </a:cubicBezTo>
                    <a:cubicBezTo>
                      <a:pt x="32" y="110"/>
                      <a:pt x="32" y="111"/>
                      <a:pt x="32" y="111"/>
                    </a:cubicBezTo>
                    <a:cubicBezTo>
                      <a:pt x="33" y="112"/>
                      <a:pt x="33" y="112"/>
                      <a:pt x="33" y="112"/>
                    </a:cubicBezTo>
                    <a:cubicBezTo>
                      <a:pt x="33" y="114"/>
                      <a:pt x="33" y="116"/>
                      <a:pt x="32" y="118"/>
                    </a:cubicBezTo>
                    <a:cubicBezTo>
                      <a:pt x="42" y="122"/>
                      <a:pt x="42" y="122"/>
                      <a:pt x="42" y="122"/>
                    </a:cubicBezTo>
                    <a:cubicBezTo>
                      <a:pt x="44" y="123"/>
                      <a:pt x="46" y="124"/>
                      <a:pt x="47" y="126"/>
                    </a:cubicBezTo>
                    <a:cubicBezTo>
                      <a:pt x="48" y="125"/>
                      <a:pt x="49" y="124"/>
                      <a:pt x="50" y="124"/>
                    </a:cubicBezTo>
                    <a:cubicBezTo>
                      <a:pt x="52" y="122"/>
                      <a:pt x="54" y="120"/>
                      <a:pt x="57" y="120"/>
                    </a:cubicBezTo>
                    <a:cubicBezTo>
                      <a:pt x="57" y="120"/>
                      <a:pt x="57" y="120"/>
                      <a:pt x="57" y="120"/>
                    </a:cubicBezTo>
                    <a:cubicBezTo>
                      <a:pt x="58" y="120"/>
                      <a:pt x="58" y="120"/>
                      <a:pt x="58" y="120"/>
                    </a:cubicBezTo>
                    <a:cubicBezTo>
                      <a:pt x="60" y="120"/>
                      <a:pt x="63" y="122"/>
                      <a:pt x="65" y="123"/>
                    </a:cubicBezTo>
                    <a:cubicBezTo>
                      <a:pt x="65" y="124"/>
                      <a:pt x="66" y="124"/>
                      <a:pt x="66" y="124"/>
                    </a:cubicBezTo>
                    <a:cubicBezTo>
                      <a:pt x="66" y="125"/>
                      <a:pt x="66" y="125"/>
                      <a:pt x="66" y="125"/>
                    </a:cubicBezTo>
                    <a:cubicBezTo>
                      <a:pt x="67" y="126"/>
                      <a:pt x="67" y="126"/>
                      <a:pt x="67" y="126"/>
                    </a:cubicBezTo>
                    <a:cubicBezTo>
                      <a:pt x="67" y="127"/>
                      <a:pt x="67" y="127"/>
                      <a:pt x="67" y="128"/>
                    </a:cubicBezTo>
                    <a:cubicBezTo>
                      <a:pt x="67" y="128"/>
                      <a:pt x="67" y="129"/>
                      <a:pt x="67" y="129"/>
                    </a:cubicBezTo>
                    <a:cubicBezTo>
                      <a:pt x="67" y="130"/>
                      <a:pt x="67" y="130"/>
                      <a:pt x="67" y="130"/>
                    </a:cubicBezTo>
                    <a:cubicBezTo>
                      <a:pt x="67" y="130"/>
                      <a:pt x="67" y="130"/>
                      <a:pt x="67" y="130"/>
                    </a:cubicBezTo>
                    <a:cubicBezTo>
                      <a:pt x="66" y="132"/>
                      <a:pt x="66" y="132"/>
                      <a:pt x="66" y="132"/>
                    </a:cubicBezTo>
                    <a:cubicBezTo>
                      <a:pt x="63" y="132"/>
                      <a:pt x="63" y="132"/>
                      <a:pt x="63" y="132"/>
                    </a:cubicBezTo>
                    <a:cubicBezTo>
                      <a:pt x="63" y="132"/>
                      <a:pt x="63" y="132"/>
                      <a:pt x="63" y="132"/>
                    </a:cubicBezTo>
                    <a:cubicBezTo>
                      <a:pt x="62" y="132"/>
                      <a:pt x="62" y="132"/>
                      <a:pt x="61" y="132"/>
                    </a:cubicBezTo>
                    <a:cubicBezTo>
                      <a:pt x="61" y="132"/>
                      <a:pt x="61" y="132"/>
                      <a:pt x="61" y="132"/>
                    </a:cubicBezTo>
                    <a:cubicBezTo>
                      <a:pt x="61" y="132"/>
                      <a:pt x="61" y="132"/>
                      <a:pt x="61" y="132"/>
                    </a:cubicBezTo>
                    <a:cubicBezTo>
                      <a:pt x="61" y="132"/>
                      <a:pt x="61" y="133"/>
                      <a:pt x="61" y="133"/>
                    </a:cubicBezTo>
                    <a:cubicBezTo>
                      <a:pt x="61" y="133"/>
                      <a:pt x="61" y="134"/>
                      <a:pt x="62" y="135"/>
                    </a:cubicBezTo>
                    <a:cubicBezTo>
                      <a:pt x="63" y="136"/>
                      <a:pt x="63" y="136"/>
                      <a:pt x="63" y="136"/>
                    </a:cubicBezTo>
                    <a:cubicBezTo>
                      <a:pt x="63" y="136"/>
                      <a:pt x="63" y="136"/>
                      <a:pt x="63" y="136"/>
                    </a:cubicBezTo>
                    <a:cubicBezTo>
                      <a:pt x="65" y="137"/>
                      <a:pt x="65" y="137"/>
                      <a:pt x="65" y="137"/>
                    </a:cubicBezTo>
                    <a:cubicBezTo>
                      <a:pt x="72" y="140"/>
                      <a:pt x="76" y="142"/>
                      <a:pt x="74" y="145"/>
                    </a:cubicBezTo>
                    <a:cubicBezTo>
                      <a:pt x="74" y="146"/>
                      <a:pt x="74" y="146"/>
                      <a:pt x="73" y="147"/>
                    </a:cubicBezTo>
                    <a:cubicBezTo>
                      <a:pt x="73" y="148"/>
                      <a:pt x="73" y="148"/>
                      <a:pt x="73" y="148"/>
                    </a:cubicBezTo>
                    <a:cubicBezTo>
                      <a:pt x="73" y="149"/>
                      <a:pt x="72" y="150"/>
                      <a:pt x="72" y="150"/>
                    </a:cubicBezTo>
                    <a:cubicBezTo>
                      <a:pt x="72" y="150"/>
                      <a:pt x="73" y="150"/>
                      <a:pt x="73" y="150"/>
                    </a:cubicBezTo>
                    <a:cubicBezTo>
                      <a:pt x="73" y="150"/>
                      <a:pt x="74" y="150"/>
                      <a:pt x="74" y="150"/>
                    </a:cubicBezTo>
                    <a:cubicBezTo>
                      <a:pt x="78" y="149"/>
                      <a:pt x="78" y="149"/>
                      <a:pt x="78" y="149"/>
                    </a:cubicBezTo>
                    <a:cubicBezTo>
                      <a:pt x="79" y="149"/>
                      <a:pt x="79" y="149"/>
                      <a:pt x="80" y="149"/>
                    </a:cubicBezTo>
                    <a:cubicBezTo>
                      <a:pt x="83" y="149"/>
                      <a:pt x="87" y="150"/>
                      <a:pt x="90" y="151"/>
                    </a:cubicBezTo>
                    <a:cubicBezTo>
                      <a:pt x="93" y="152"/>
                      <a:pt x="93" y="152"/>
                      <a:pt x="93" y="152"/>
                    </a:cubicBezTo>
                    <a:cubicBezTo>
                      <a:pt x="96" y="153"/>
                      <a:pt x="100" y="154"/>
                      <a:pt x="103" y="154"/>
                    </a:cubicBezTo>
                    <a:cubicBezTo>
                      <a:pt x="107" y="154"/>
                      <a:pt x="110" y="154"/>
                      <a:pt x="114" y="152"/>
                    </a:cubicBezTo>
                    <a:cubicBezTo>
                      <a:pt x="115" y="152"/>
                      <a:pt x="115" y="152"/>
                      <a:pt x="116" y="152"/>
                    </a:cubicBezTo>
                    <a:cubicBezTo>
                      <a:pt x="118" y="152"/>
                      <a:pt x="120" y="153"/>
                      <a:pt x="123" y="153"/>
                    </a:cubicBezTo>
                    <a:cubicBezTo>
                      <a:pt x="124" y="154"/>
                      <a:pt x="125" y="154"/>
                      <a:pt x="125" y="154"/>
                    </a:cubicBezTo>
                    <a:cubicBezTo>
                      <a:pt x="127" y="154"/>
                      <a:pt x="128" y="155"/>
                      <a:pt x="130" y="155"/>
                    </a:cubicBezTo>
                    <a:cubicBezTo>
                      <a:pt x="130" y="156"/>
                      <a:pt x="130" y="156"/>
                      <a:pt x="130" y="156"/>
                    </a:cubicBezTo>
                    <a:cubicBezTo>
                      <a:pt x="131" y="155"/>
                      <a:pt x="131" y="155"/>
                      <a:pt x="131" y="155"/>
                    </a:cubicBezTo>
                    <a:cubicBezTo>
                      <a:pt x="133" y="156"/>
                      <a:pt x="137" y="156"/>
                      <a:pt x="139" y="156"/>
                    </a:cubicBezTo>
                    <a:cubicBezTo>
                      <a:pt x="139" y="156"/>
                      <a:pt x="140" y="156"/>
                      <a:pt x="140" y="156"/>
                    </a:cubicBezTo>
                    <a:cubicBezTo>
                      <a:pt x="141" y="156"/>
                      <a:pt x="141" y="156"/>
                      <a:pt x="141" y="156"/>
                    </a:cubicBezTo>
                    <a:cubicBezTo>
                      <a:pt x="146" y="156"/>
                      <a:pt x="151" y="152"/>
                      <a:pt x="156" y="149"/>
                    </a:cubicBezTo>
                    <a:cubicBezTo>
                      <a:pt x="157" y="149"/>
                      <a:pt x="157" y="149"/>
                      <a:pt x="157" y="149"/>
                    </a:cubicBezTo>
                    <a:cubicBezTo>
                      <a:pt x="158" y="148"/>
                      <a:pt x="159" y="147"/>
                      <a:pt x="160" y="147"/>
                    </a:cubicBezTo>
                    <a:cubicBezTo>
                      <a:pt x="160" y="146"/>
                      <a:pt x="161" y="146"/>
                      <a:pt x="161" y="146"/>
                    </a:cubicBezTo>
                    <a:cubicBezTo>
                      <a:pt x="164" y="144"/>
                      <a:pt x="166" y="142"/>
                      <a:pt x="169" y="142"/>
                    </a:cubicBezTo>
                    <a:cubicBezTo>
                      <a:pt x="188" y="140"/>
                      <a:pt x="188" y="140"/>
                      <a:pt x="188" y="140"/>
                    </a:cubicBezTo>
                    <a:cubicBezTo>
                      <a:pt x="189" y="139"/>
                      <a:pt x="189" y="139"/>
                      <a:pt x="190" y="139"/>
                    </a:cubicBezTo>
                    <a:cubicBezTo>
                      <a:pt x="191" y="139"/>
                      <a:pt x="191" y="139"/>
                      <a:pt x="192" y="139"/>
                    </a:cubicBezTo>
                    <a:cubicBezTo>
                      <a:pt x="192" y="139"/>
                      <a:pt x="192" y="140"/>
                      <a:pt x="193" y="140"/>
                    </a:cubicBezTo>
                    <a:cubicBezTo>
                      <a:pt x="194" y="140"/>
                      <a:pt x="195" y="140"/>
                      <a:pt x="196" y="140"/>
                    </a:cubicBezTo>
                    <a:cubicBezTo>
                      <a:pt x="199" y="142"/>
                      <a:pt x="199" y="142"/>
                      <a:pt x="199" y="142"/>
                    </a:cubicBezTo>
                    <a:cubicBezTo>
                      <a:pt x="201" y="143"/>
                      <a:pt x="204" y="143"/>
                      <a:pt x="206" y="144"/>
                    </a:cubicBezTo>
                    <a:cubicBezTo>
                      <a:pt x="230" y="152"/>
                      <a:pt x="230" y="152"/>
                      <a:pt x="230" y="152"/>
                    </a:cubicBezTo>
                    <a:cubicBezTo>
                      <a:pt x="230" y="146"/>
                      <a:pt x="230" y="139"/>
                      <a:pt x="232" y="135"/>
                    </a:cubicBezTo>
                    <a:cubicBezTo>
                      <a:pt x="233" y="133"/>
                      <a:pt x="237" y="129"/>
                      <a:pt x="238" y="127"/>
                    </a:cubicBezTo>
                    <a:cubicBezTo>
                      <a:pt x="238" y="128"/>
                      <a:pt x="237" y="128"/>
                      <a:pt x="236" y="128"/>
                    </a:cubicBezTo>
                    <a:cubicBezTo>
                      <a:pt x="234" y="128"/>
                      <a:pt x="233" y="127"/>
                      <a:pt x="235" y="125"/>
                    </a:cubicBezTo>
                    <a:cubicBezTo>
                      <a:pt x="235" y="126"/>
                      <a:pt x="235" y="126"/>
                      <a:pt x="235" y="126"/>
                    </a:cubicBezTo>
                    <a:cubicBezTo>
                      <a:pt x="237" y="125"/>
                      <a:pt x="239" y="124"/>
                      <a:pt x="241" y="123"/>
                    </a:cubicBezTo>
                    <a:cubicBezTo>
                      <a:pt x="241" y="123"/>
                      <a:pt x="240" y="123"/>
                      <a:pt x="240" y="123"/>
                    </a:cubicBezTo>
                    <a:cubicBezTo>
                      <a:pt x="239" y="123"/>
                      <a:pt x="239" y="123"/>
                      <a:pt x="239" y="123"/>
                    </a:cubicBezTo>
                    <a:cubicBezTo>
                      <a:pt x="238" y="123"/>
                      <a:pt x="238" y="123"/>
                      <a:pt x="237" y="123"/>
                    </a:cubicBezTo>
                    <a:cubicBezTo>
                      <a:pt x="237" y="123"/>
                      <a:pt x="236" y="123"/>
                      <a:pt x="235" y="123"/>
                    </a:cubicBezTo>
                    <a:cubicBezTo>
                      <a:pt x="235" y="123"/>
                      <a:pt x="240" y="112"/>
                      <a:pt x="243" y="112"/>
                    </a:cubicBezTo>
                    <a:cubicBezTo>
                      <a:pt x="244" y="112"/>
                      <a:pt x="244" y="112"/>
                      <a:pt x="244" y="113"/>
                    </a:cubicBezTo>
                    <a:cubicBezTo>
                      <a:pt x="245" y="115"/>
                      <a:pt x="239" y="116"/>
                      <a:pt x="246" y="117"/>
                    </a:cubicBezTo>
                    <a:cubicBezTo>
                      <a:pt x="248" y="117"/>
                      <a:pt x="251" y="118"/>
                      <a:pt x="253" y="118"/>
                    </a:cubicBezTo>
                    <a:cubicBezTo>
                      <a:pt x="256" y="118"/>
                      <a:pt x="258" y="117"/>
                      <a:pt x="259" y="116"/>
                    </a:cubicBezTo>
                    <a:cubicBezTo>
                      <a:pt x="259" y="115"/>
                      <a:pt x="260" y="114"/>
                      <a:pt x="260" y="113"/>
                    </a:cubicBezTo>
                    <a:cubicBezTo>
                      <a:pt x="260" y="111"/>
                      <a:pt x="260" y="108"/>
                      <a:pt x="260" y="106"/>
                    </a:cubicBezTo>
                    <a:cubicBezTo>
                      <a:pt x="259" y="106"/>
                      <a:pt x="259" y="106"/>
                      <a:pt x="259" y="106"/>
                    </a:cubicBezTo>
                    <a:cubicBezTo>
                      <a:pt x="258" y="105"/>
                      <a:pt x="258" y="105"/>
                      <a:pt x="258" y="105"/>
                    </a:cubicBezTo>
                    <a:cubicBezTo>
                      <a:pt x="258" y="104"/>
                      <a:pt x="257" y="102"/>
                      <a:pt x="257" y="102"/>
                    </a:cubicBezTo>
                    <a:cubicBezTo>
                      <a:pt x="256" y="101"/>
                      <a:pt x="254" y="101"/>
                      <a:pt x="253" y="100"/>
                    </a:cubicBezTo>
                    <a:cubicBezTo>
                      <a:pt x="251" y="100"/>
                      <a:pt x="246" y="103"/>
                      <a:pt x="244" y="104"/>
                    </a:cubicBezTo>
                    <a:cubicBezTo>
                      <a:pt x="243" y="104"/>
                      <a:pt x="243" y="104"/>
                      <a:pt x="243" y="104"/>
                    </a:cubicBezTo>
                    <a:cubicBezTo>
                      <a:pt x="242" y="105"/>
                      <a:pt x="241" y="105"/>
                      <a:pt x="240" y="105"/>
                    </a:cubicBezTo>
                    <a:cubicBezTo>
                      <a:pt x="237" y="107"/>
                      <a:pt x="237" y="107"/>
                      <a:pt x="237" y="107"/>
                    </a:cubicBezTo>
                    <a:cubicBezTo>
                      <a:pt x="236" y="107"/>
                      <a:pt x="235" y="108"/>
                      <a:pt x="234" y="108"/>
                    </a:cubicBezTo>
                    <a:cubicBezTo>
                      <a:pt x="234" y="108"/>
                      <a:pt x="234" y="108"/>
                      <a:pt x="234" y="108"/>
                    </a:cubicBezTo>
                    <a:cubicBezTo>
                      <a:pt x="233" y="108"/>
                      <a:pt x="232" y="107"/>
                      <a:pt x="231" y="107"/>
                    </a:cubicBezTo>
                    <a:cubicBezTo>
                      <a:pt x="229" y="107"/>
                      <a:pt x="227" y="106"/>
                      <a:pt x="225" y="105"/>
                    </a:cubicBezTo>
                    <a:cubicBezTo>
                      <a:pt x="223" y="104"/>
                      <a:pt x="222" y="103"/>
                      <a:pt x="221" y="102"/>
                    </a:cubicBezTo>
                    <a:cubicBezTo>
                      <a:pt x="220" y="101"/>
                      <a:pt x="220" y="101"/>
                      <a:pt x="220" y="101"/>
                    </a:cubicBezTo>
                    <a:cubicBezTo>
                      <a:pt x="219" y="100"/>
                      <a:pt x="218" y="100"/>
                      <a:pt x="217" y="99"/>
                    </a:cubicBezTo>
                    <a:cubicBezTo>
                      <a:pt x="213" y="97"/>
                      <a:pt x="213" y="97"/>
                      <a:pt x="213" y="97"/>
                    </a:cubicBezTo>
                    <a:cubicBezTo>
                      <a:pt x="214" y="96"/>
                      <a:pt x="214" y="96"/>
                      <a:pt x="214" y="96"/>
                    </a:cubicBezTo>
                    <a:cubicBezTo>
                      <a:pt x="214" y="96"/>
                      <a:pt x="214" y="96"/>
                      <a:pt x="214" y="96"/>
                    </a:cubicBezTo>
                    <a:cubicBezTo>
                      <a:pt x="213" y="96"/>
                      <a:pt x="213" y="96"/>
                      <a:pt x="213" y="96"/>
                    </a:cubicBezTo>
                    <a:cubicBezTo>
                      <a:pt x="213" y="95"/>
                      <a:pt x="213" y="94"/>
                      <a:pt x="212" y="94"/>
                    </a:cubicBezTo>
                    <a:cubicBezTo>
                      <a:pt x="212" y="92"/>
                      <a:pt x="212" y="91"/>
                      <a:pt x="212" y="90"/>
                    </a:cubicBezTo>
                    <a:cubicBezTo>
                      <a:pt x="211" y="88"/>
                      <a:pt x="212" y="85"/>
                      <a:pt x="212" y="83"/>
                    </a:cubicBezTo>
                    <a:cubicBezTo>
                      <a:pt x="212" y="82"/>
                      <a:pt x="212" y="81"/>
                      <a:pt x="212" y="80"/>
                    </a:cubicBezTo>
                    <a:cubicBezTo>
                      <a:pt x="212" y="73"/>
                      <a:pt x="214" y="69"/>
                      <a:pt x="216" y="63"/>
                    </a:cubicBezTo>
                    <a:cubicBezTo>
                      <a:pt x="217" y="60"/>
                      <a:pt x="217" y="58"/>
                      <a:pt x="216" y="55"/>
                    </a:cubicBezTo>
                    <a:cubicBezTo>
                      <a:pt x="216" y="54"/>
                      <a:pt x="215" y="52"/>
                      <a:pt x="214" y="50"/>
                    </a:cubicBezTo>
                    <a:cubicBezTo>
                      <a:pt x="213" y="49"/>
                      <a:pt x="213" y="48"/>
                      <a:pt x="213" y="47"/>
                    </a:cubicBezTo>
                    <a:cubicBezTo>
                      <a:pt x="213" y="46"/>
                      <a:pt x="213" y="46"/>
                      <a:pt x="213" y="46"/>
                    </a:cubicBezTo>
                    <a:cubicBezTo>
                      <a:pt x="212" y="45"/>
                      <a:pt x="212" y="44"/>
                      <a:pt x="211" y="43"/>
                    </a:cubicBezTo>
                    <a:cubicBezTo>
                      <a:pt x="209" y="40"/>
                      <a:pt x="207" y="38"/>
                      <a:pt x="205" y="36"/>
                    </a:cubicBezTo>
                    <a:cubicBezTo>
                      <a:pt x="203" y="35"/>
                      <a:pt x="203" y="35"/>
                      <a:pt x="203" y="35"/>
                    </a:cubicBezTo>
                    <a:cubicBezTo>
                      <a:pt x="199" y="31"/>
                      <a:pt x="197" y="27"/>
                      <a:pt x="194" y="23"/>
                    </a:cubicBezTo>
                    <a:cubicBezTo>
                      <a:pt x="192" y="20"/>
                      <a:pt x="190" y="17"/>
                      <a:pt x="189" y="14"/>
                    </a:cubicBezTo>
                    <a:cubicBezTo>
                      <a:pt x="188" y="11"/>
                      <a:pt x="188" y="11"/>
                      <a:pt x="188" y="11"/>
                    </a:cubicBezTo>
                    <a:cubicBezTo>
                      <a:pt x="187" y="10"/>
                      <a:pt x="187" y="10"/>
                      <a:pt x="187" y="10"/>
                    </a:cubicBezTo>
                    <a:cubicBezTo>
                      <a:pt x="187" y="9"/>
                      <a:pt x="186" y="8"/>
                      <a:pt x="186" y="7"/>
                    </a:cubicBezTo>
                    <a:cubicBezTo>
                      <a:pt x="185" y="7"/>
                      <a:pt x="185" y="7"/>
                      <a:pt x="185" y="7"/>
                    </a:cubicBezTo>
                    <a:cubicBezTo>
                      <a:pt x="185" y="6"/>
                      <a:pt x="184" y="4"/>
                      <a:pt x="183" y="4"/>
                    </a:cubicBezTo>
                    <a:cubicBezTo>
                      <a:pt x="183" y="3"/>
                      <a:pt x="183" y="3"/>
                      <a:pt x="183" y="3"/>
                    </a:cubicBezTo>
                    <a:cubicBezTo>
                      <a:pt x="180" y="2"/>
                      <a:pt x="177" y="1"/>
                      <a:pt x="175" y="0"/>
                    </a:cubicBezTo>
                    <a:cubicBezTo>
                      <a:pt x="175" y="0"/>
                      <a:pt x="175" y="0"/>
                      <a:pt x="1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305"/>
              <p:cNvSpPr/>
              <p:nvPr/>
            </p:nvSpPr>
            <p:spPr bwMode="auto">
              <a:xfrm>
                <a:off x="5833538" y="4171552"/>
                <a:ext cx="567508" cy="298494"/>
              </a:xfrm>
              <a:custGeom>
                <a:gdLst>
                  <a:gd name="T0" fmla="*/ 125 w 178"/>
                  <a:gd name="T1" fmla="*/ 0 h 94"/>
                  <a:gd name="T2" fmla="*/ 111 w 178"/>
                  <a:gd name="T3" fmla="*/ 9 h 94"/>
                  <a:gd name="T4" fmla="*/ 101 w 178"/>
                  <a:gd name="T5" fmla="*/ 15 h 94"/>
                  <a:gd name="T6" fmla="*/ 94 w 178"/>
                  <a:gd name="T7" fmla="*/ 14 h 94"/>
                  <a:gd name="T8" fmla="*/ 83 w 178"/>
                  <a:gd name="T9" fmla="*/ 15 h 94"/>
                  <a:gd name="T10" fmla="*/ 77 w 178"/>
                  <a:gd name="T11" fmla="*/ 17 h 94"/>
                  <a:gd name="T12" fmla="*/ 73 w 178"/>
                  <a:gd name="T13" fmla="*/ 22 h 94"/>
                  <a:gd name="T14" fmla="*/ 71 w 178"/>
                  <a:gd name="T15" fmla="*/ 27 h 94"/>
                  <a:gd name="T16" fmla="*/ 55 w 178"/>
                  <a:gd name="T17" fmla="*/ 29 h 94"/>
                  <a:gd name="T18" fmla="*/ 51 w 178"/>
                  <a:gd name="T19" fmla="*/ 30 h 94"/>
                  <a:gd name="T20" fmla="*/ 43 w 178"/>
                  <a:gd name="T21" fmla="*/ 30 h 94"/>
                  <a:gd name="T22" fmla="*/ 25 w 178"/>
                  <a:gd name="T23" fmla="*/ 20 h 94"/>
                  <a:gd name="T24" fmla="*/ 24 w 178"/>
                  <a:gd name="T25" fmla="*/ 23 h 94"/>
                  <a:gd name="T26" fmla="*/ 23 w 178"/>
                  <a:gd name="T27" fmla="*/ 26 h 94"/>
                  <a:gd name="T28" fmla="*/ 21 w 178"/>
                  <a:gd name="T29" fmla="*/ 31 h 94"/>
                  <a:gd name="T30" fmla="*/ 10 w 178"/>
                  <a:gd name="T31" fmla="*/ 32 h 94"/>
                  <a:gd name="T32" fmla="*/ 11 w 178"/>
                  <a:gd name="T33" fmla="*/ 36 h 94"/>
                  <a:gd name="T34" fmla="*/ 5 w 178"/>
                  <a:gd name="T35" fmla="*/ 43 h 94"/>
                  <a:gd name="T36" fmla="*/ 6 w 178"/>
                  <a:gd name="T37" fmla="*/ 47 h 94"/>
                  <a:gd name="T38" fmla="*/ 7 w 178"/>
                  <a:gd name="T39" fmla="*/ 56 h 94"/>
                  <a:gd name="T40" fmla="*/ 1 w 178"/>
                  <a:gd name="T41" fmla="*/ 56 h 94"/>
                  <a:gd name="T42" fmla="*/ 0 w 178"/>
                  <a:gd name="T43" fmla="*/ 56 h 94"/>
                  <a:gd name="T44" fmla="*/ 0 w 178"/>
                  <a:gd name="T45" fmla="*/ 57 h 94"/>
                  <a:gd name="T46" fmla="*/ 3 w 178"/>
                  <a:gd name="T47" fmla="*/ 63 h 94"/>
                  <a:gd name="T48" fmla="*/ 3 w 178"/>
                  <a:gd name="T49" fmla="*/ 65 h 94"/>
                  <a:gd name="T50" fmla="*/ 8 w 178"/>
                  <a:gd name="T51" fmla="*/ 69 h 94"/>
                  <a:gd name="T52" fmla="*/ 12 w 178"/>
                  <a:gd name="T53" fmla="*/ 72 h 94"/>
                  <a:gd name="T54" fmla="*/ 14 w 178"/>
                  <a:gd name="T55" fmla="*/ 73 h 94"/>
                  <a:gd name="T56" fmla="*/ 17 w 178"/>
                  <a:gd name="T57" fmla="*/ 77 h 94"/>
                  <a:gd name="T58" fmla="*/ 32 w 178"/>
                  <a:gd name="T59" fmla="*/ 88 h 94"/>
                  <a:gd name="T60" fmla="*/ 44 w 178"/>
                  <a:gd name="T61" fmla="*/ 93 h 94"/>
                  <a:gd name="T62" fmla="*/ 47 w 178"/>
                  <a:gd name="T63" fmla="*/ 93 h 94"/>
                  <a:gd name="T64" fmla="*/ 52 w 178"/>
                  <a:gd name="T65" fmla="*/ 94 h 94"/>
                  <a:gd name="T66" fmla="*/ 54 w 178"/>
                  <a:gd name="T67" fmla="*/ 94 h 94"/>
                  <a:gd name="T68" fmla="*/ 58 w 178"/>
                  <a:gd name="T69" fmla="*/ 93 h 94"/>
                  <a:gd name="T70" fmla="*/ 61 w 178"/>
                  <a:gd name="T71" fmla="*/ 92 h 94"/>
                  <a:gd name="T72" fmla="*/ 65 w 178"/>
                  <a:gd name="T73" fmla="*/ 90 h 94"/>
                  <a:gd name="T74" fmla="*/ 87 w 178"/>
                  <a:gd name="T75" fmla="*/ 75 h 94"/>
                  <a:gd name="T76" fmla="*/ 94 w 178"/>
                  <a:gd name="T77" fmla="*/ 79 h 94"/>
                  <a:gd name="T78" fmla="*/ 100 w 178"/>
                  <a:gd name="T79" fmla="*/ 79 h 94"/>
                  <a:gd name="T80" fmla="*/ 105 w 178"/>
                  <a:gd name="T81" fmla="*/ 80 h 94"/>
                  <a:gd name="T82" fmla="*/ 110 w 178"/>
                  <a:gd name="T83" fmla="*/ 81 h 94"/>
                  <a:gd name="T84" fmla="*/ 117 w 178"/>
                  <a:gd name="T85" fmla="*/ 80 h 94"/>
                  <a:gd name="T86" fmla="*/ 122 w 178"/>
                  <a:gd name="T87" fmla="*/ 79 h 94"/>
                  <a:gd name="T88" fmla="*/ 124 w 178"/>
                  <a:gd name="T89" fmla="*/ 76 h 94"/>
                  <a:gd name="T90" fmla="*/ 133 w 178"/>
                  <a:gd name="T91" fmla="*/ 75 h 94"/>
                  <a:gd name="T92" fmla="*/ 141 w 178"/>
                  <a:gd name="T93" fmla="*/ 64 h 94"/>
                  <a:gd name="T94" fmla="*/ 147 w 178"/>
                  <a:gd name="T95" fmla="*/ 51 h 94"/>
                  <a:gd name="T96" fmla="*/ 148 w 178"/>
                  <a:gd name="T97" fmla="*/ 49 h 94"/>
                  <a:gd name="T98" fmla="*/ 162 w 178"/>
                  <a:gd name="T99" fmla="*/ 29 h 94"/>
                  <a:gd name="T100" fmla="*/ 167 w 178"/>
                  <a:gd name="T101" fmla="*/ 26 h 94"/>
                  <a:gd name="T102" fmla="*/ 177 w 178"/>
                  <a:gd name="T103" fmla="*/ 18 h 94"/>
                  <a:gd name="T104" fmla="*/ 174 w 178"/>
                  <a:gd name="T105" fmla="*/ 15 h 94"/>
                  <a:gd name="T106" fmla="*/ 171 w 178"/>
                  <a:gd name="T107" fmla="*/ 12 h 94"/>
                  <a:gd name="T108" fmla="*/ 170 w 178"/>
                  <a:gd name="T109" fmla="*/ 9 h 94"/>
                  <a:gd name="T110" fmla="*/ 163 w 178"/>
                  <a:gd name="T111" fmla="*/ 6 h 94"/>
                  <a:gd name="T112" fmla="*/ 162 w 178"/>
                  <a:gd name="T113" fmla="*/ 6 h 94"/>
                  <a:gd name="T114" fmla="*/ 155 w 178"/>
                  <a:gd name="T115" fmla="*/ 8 h 94"/>
                  <a:gd name="T116" fmla="*/ 153 w 178"/>
                  <a:gd name="T117" fmla="*/ 8 h 94"/>
                  <a:gd name="T118" fmla="*/ 145 w 178"/>
                  <a:gd name="T119" fmla="*/ 2 h 94"/>
                  <a:gd name="T120" fmla="*/ 143 w 178"/>
                  <a:gd name="T121" fmla="*/ 0 h 94"/>
                  <a:gd name="T122" fmla="*/ 139 w 178"/>
                  <a:gd name="T123" fmla="*/ 0 h 94"/>
                  <a:gd name="T124" fmla="*/ 134 w 178"/>
                  <a:gd name="T125" fmla="*/ 0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94">
                    <a:moveTo>
                      <a:pt x="129" y="0"/>
                    </a:moveTo>
                    <a:cubicBezTo>
                      <a:pt x="127" y="0"/>
                      <a:pt x="126" y="0"/>
                      <a:pt x="125" y="0"/>
                    </a:cubicBezTo>
                    <a:cubicBezTo>
                      <a:pt x="120" y="2"/>
                      <a:pt x="117" y="5"/>
                      <a:pt x="113" y="8"/>
                    </a:cubicBezTo>
                    <a:cubicBezTo>
                      <a:pt x="111" y="9"/>
                      <a:pt x="111" y="9"/>
                      <a:pt x="111" y="9"/>
                    </a:cubicBezTo>
                    <a:cubicBezTo>
                      <a:pt x="109" y="11"/>
                      <a:pt x="107" y="13"/>
                      <a:pt x="105" y="13"/>
                    </a:cubicBezTo>
                    <a:cubicBezTo>
                      <a:pt x="104" y="14"/>
                      <a:pt x="102" y="14"/>
                      <a:pt x="101" y="15"/>
                    </a:cubicBezTo>
                    <a:cubicBezTo>
                      <a:pt x="100" y="15"/>
                      <a:pt x="100" y="15"/>
                      <a:pt x="99" y="15"/>
                    </a:cubicBezTo>
                    <a:cubicBezTo>
                      <a:pt x="97" y="15"/>
                      <a:pt x="95" y="14"/>
                      <a:pt x="94" y="14"/>
                    </a:cubicBezTo>
                    <a:cubicBezTo>
                      <a:pt x="93" y="14"/>
                      <a:pt x="92" y="14"/>
                      <a:pt x="91" y="14"/>
                    </a:cubicBezTo>
                    <a:cubicBezTo>
                      <a:pt x="89" y="14"/>
                      <a:pt x="86" y="14"/>
                      <a:pt x="83" y="15"/>
                    </a:cubicBezTo>
                    <a:cubicBezTo>
                      <a:pt x="82" y="16"/>
                      <a:pt x="82" y="16"/>
                      <a:pt x="82" y="16"/>
                    </a:cubicBezTo>
                    <a:cubicBezTo>
                      <a:pt x="77" y="17"/>
                      <a:pt x="77" y="17"/>
                      <a:pt x="77" y="17"/>
                    </a:cubicBezTo>
                    <a:cubicBezTo>
                      <a:pt x="75" y="18"/>
                      <a:pt x="74" y="19"/>
                      <a:pt x="72" y="20"/>
                    </a:cubicBezTo>
                    <a:cubicBezTo>
                      <a:pt x="72" y="21"/>
                      <a:pt x="73" y="21"/>
                      <a:pt x="73" y="22"/>
                    </a:cubicBezTo>
                    <a:cubicBezTo>
                      <a:pt x="75" y="26"/>
                      <a:pt x="75" y="26"/>
                      <a:pt x="75" y="26"/>
                    </a:cubicBezTo>
                    <a:cubicBezTo>
                      <a:pt x="71" y="27"/>
                      <a:pt x="71" y="27"/>
                      <a:pt x="71" y="27"/>
                    </a:cubicBezTo>
                    <a:cubicBezTo>
                      <a:pt x="69" y="28"/>
                      <a:pt x="67" y="28"/>
                      <a:pt x="65" y="28"/>
                    </a:cubicBezTo>
                    <a:cubicBezTo>
                      <a:pt x="62" y="29"/>
                      <a:pt x="58" y="29"/>
                      <a:pt x="55" y="29"/>
                    </a:cubicBezTo>
                    <a:cubicBezTo>
                      <a:pt x="54" y="29"/>
                      <a:pt x="53" y="30"/>
                      <a:pt x="53" y="30"/>
                    </a:cubicBezTo>
                    <a:cubicBezTo>
                      <a:pt x="51" y="30"/>
                      <a:pt x="51" y="30"/>
                      <a:pt x="51" y="30"/>
                    </a:cubicBezTo>
                    <a:cubicBezTo>
                      <a:pt x="49" y="30"/>
                      <a:pt x="47" y="30"/>
                      <a:pt x="45" y="30"/>
                    </a:cubicBezTo>
                    <a:cubicBezTo>
                      <a:pt x="44" y="30"/>
                      <a:pt x="43" y="30"/>
                      <a:pt x="43" y="30"/>
                    </a:cubicBezTo>
                    <a:cubicBezTo>
                      <a:pt x="36" y="30"/>
                      <a:pt x="31" y="26"/>
                      <a:pt x="27" y="22"/>
                    </a:cubicBezTo>
                    <a:cubicBezTo>
                      <a:pt x="26" y="21"/>
                      <a:pt x="25" y="21"/>
                      <a:pt x="25" y="20"/>
                    </a:cubicBezTo>
                    <a:cubicBezTo>
                      <a:pt x="24" y="21"/>
                      <a:pt x="24" y="22"/>
                      <a:pt x="24" y="22"/>
                    </a:cubicBezTo>
                    <a:cubicBezTo>
                      <a:pt x="24" y="23"/>
                      <a:pt x="24" y="23"/>
                      <a:pt x="24" y="23"/>
                    </a:cubicBezTo>
                    <a:cubicBezTo>
                      <a:pt x="24" y="23"/>
                      <a:pt x="23" y="24"/>
                      <a:pt x="23" y="25"/>
                    </a:cubicBezTo>
                    <a:cubicBezTo>
                      <a:pt x="23" y="26"/>
                      <a:pt x="23" y="26"/>
                      <a:pt x="23" y="26"/>
                    </a:cubicBezTo>
                    <a:cubicBezTo>
                      <a:pt x="26" y="29"/>
                      <a:pt x="26" y="29"/>
                      <a:pt x="26" y="29"/>
                    </a:cubicBezTo>
                    <a:cubicBezTo>
                      <a:pt x="21" y="31"/>
                      <a:pt x="21" y="31"/>
                      <a:pt x="21" y="31"/>
                    </a:cubicBezTo>
                    <a:cubicBezTo>
                      <a:pt x="18" y="31"/>
                      <a:pt x="15" y="32"/>
                      <a:pt x="12" y="32"/>
                    </a:cubicBezTo>
                    <a:cubicBezTo>
                      <a:pt x="12" y="32"/>
                      <a:pt x="11" y="32"/>
                      <a:pt x="10" y="32"/>
                    </a:cubicBezTo>
                    <a:cubicBezTo>
                      <a:pt x="11" y="33"/>
                      <a:pt x="11" y="34"/>
                      <a:pt x="11" y="35"/>
                    </a:cubicBezTo>
                    <a:cubicBezTo>
                      <a:pt x="11" y="36"/>
                      <a:pt x="11" y="36"/>
                      <a:pt x="11" y="36"/>
                    </a:cubicBezTo>
                    <a:cubicBezTo>
                      <a:pt x="11" y="40"/>
                      <a:pt x="8" y="41"/>
                      <a:pt x="6" y="42"/>
                    </a:cubicBezTo>
                    <a:cubicBezTo>
                      <a:pt x="6" y="42"/>
                      <a:pt x="5" y="42"/>
                      <a:pt x="5" y="43"/>
                    </a:cubicBezTo>
                    <a:cubicBezTo>
                      <a:pt x="5" y="44"/>
                      <a:pt x="6" y="45"/>
                      <a:pt x="6" y="47"/>
                    </a:cubicBezTo>
                    <a:cubicBezTo>
                      <a:pt x="6" y="47"/>
                      <a:pt x="6" y="47"/>
                      <a:pt x="6" y="47"/>
                    </a:cubicBezTo>
                    <a:cubicBezTo>
                      <a:pt x="6" y="49"/>
                      <a:pt x="7" y="51"/>
                      <a:pt x="7" y="53"/>
                    </a:cubicBezTo>
                    <a:cubicBezTo>
                      <a:pt x="7" y="56"/>
                      <a:pt x="7" y="56"/>
                      <a:pt x="7" y="56"/>
                    </a:cubicBezTo>
                    <a:cubicBezTo>
                      <a:pt x="4" y="56"/>
                      <a:pt x="4" y="56"/>
                      <a:pt x="4" y="56"/>
                    </a:cubicBezTo>
                    <a:cubicBezTo>
                      <a:pt x="2" y="56"/>
                      <a:pt x="2" y="56"/>
                      <a:pt x="1" y="56"/>
                    </a:cubicBezTo>
                    <a:cubicBezTo>
                      <a:pt x="0" y="56"/>
                      <a:pt x="0" y="56"/>
                      <a:pt x="0" y="56"/>
                    </a:cubicBezTo>
                    <a:cubicBezTo>
                      <a:pt x="0" y="56"/>
                      <a:pt x="0" y="56"/>
                      <a:pt x="0" y="56"/>
                    </a:cubicBezTo>
                    <a:cubicBezTo>
                      <a:pt x="0" y="56"/>
                      <a:pt x="0" y="56"/>
                      <a:pt x="0" y="56"/>
                    </a:cubicBezTo>
                    <a:cubicBezTo>
                      <a:pt x="0" y="57"/>
                      <a:pt x="0" y="57"/>
                      <a:pt x="0" y="57"/>
                    </a:cubicBezTo>
                    <a:cubicBezTo>
                      <a:pt x="1" y="57"/>
                      <a:pt x="1" y="58"/>
                      <a:pt x="1" y="59"/>
                    </a:cubicBezTo>
                    <a:cubicBezTo>
                      <a:pt x="2" y="61"/>
                      <a:pt x="2" y="62"/>
                      <a:pt x="3" y="63"/>
                    </a:cubicBezTo>
                    <a:cubicBezTo>
                      <a:pt x="3" y="64"/>
                      <a:pt x="3" y="64"/>
                      <a:pt x="3" y="64"/>
                    </a:cubicBezTo>
                    <a:cubicBezTo>
                      <a:pt x="3" y="65"/>
                      <a:pt x="3" y="65"/>
                      <a:pt x="3" y="65"/>
                    </a:cubicBezTo>
                    <a:cubicBezTo>
                      <a:pt x="4" y="65"/>
                      <a:pt x="4" y="65"/>
                      <a:pt x="4" y="66"/>
                    </a:cubicBezTo>
                    <a:cubicBezTo>
                      <a:pt x="4" y="66"/>
                      <a:pt x="5" y="67"/>
                      <a:pt x="8" y="69"/>
                    </a:cubicBezTo>
                    <a:cubicBezTo>
                      <a:pt x="9" y="69"/>
                      <a:pt x="9" y="69"/>
                      <a:pt x="9" y="69"/>
                    </a:cubicBezTo>
                    <a:cubicBezTo>
                      <a:pt x="10" y="70"/>
                      <a:pt x="11" y="71"/>
                      <a:pt x="12" y="72"/>
                    </a:cubicBezTo>
                    <a:cubicBezTo>
                      <a:pt x="13" y="72"/>
                      <a:pt x="13" y="72"/>
                      <a:pt x="13" y="72"/>
                    </a:cubicBezTo>
                    <a:cubicBezTo>
                      <a:pt x="13" y="72"/>
                      <a:pt x="14" y="73"/>
                      <a:pt x="14" y="73"/>
                    </a:cubicBezTo>
                    <a:cubicBezTo>
                      <a:pt x="15" y="74"/>
                      <a:pt x="15" y="74"/>
                      <a:pt x="15" y="74"/>
                    </a:cubicBezTo>
                    <a:cubicBezTo>
                      <a:pt x="16" y="75"/>
                      <a:pt x="16" y="75"/>
                      <a:pt x="17" y="77"/>
                    </a:cubicBezTo>
                    <a:cubicBezTo>
                      <a:pt x="20" y="80"/>
                      <a:pt x="25" y="85"/>
                      <a:pt x="29" y="87"/>
                    </a:cubicBezTo>
                    <a:cubicBezTo>
                      <a:pt x="30" y="87"/>
                      <a:pt x="31" y="88"/>
                      <a:pt x="32" y="88"/>
                    </a:cubicBezTo>
                    <a:cubicBezTo>
                      <a:pt x="34" y="89"/>
                      <a:pt x="34" y="89"/>
                      <a:pt x="34" y="89"/>
                    </a:cubicBezTo>
                    <a:cubicBezTo>
                      <a:pt x="37" y="91"/>
                      <a:pt x="41" y="92"/>
                      <a:pt x="44" y="93"/>
                    </a:cubicBezTo>
                    <a:cubicBezTo>
                      <a:pt x="45" y="93"/>
                      <a:pt x="45" y="93"/>
                      <a:pt x="45" y="93"/>
                    </a:cubicBezTo>
                    <a:cubicBezTo>
                      <a:pt x="46" y="93"/>
                      <a:pt x="46" y="93"/>
                      <a:pt x="47" y="93"/>
                    </a:cubicBezTo>
                    <a:cubicBezTo>
                      <a:pt x="48" y="93"/>
                      <a:pt x="48" y="93"/>
                      <a:pt x="48" y="93"/>
                    </a:cubicBezTo>
                    <a:cubicBezTo>
                      <a:pt x="49" y="93"/>
                      <a:pt x="50" y="94"/>
                      <a:pt x="52" y="94"/>
                    </a:cubicBezTo>
                    <a:cubicBezTo>
                      <a:pt x="52" y="94"/>
                      <a:pt x="52" y="94"/>
                      <a:pt x="53" y="94"/>
                    </a:cubicBezTo>
                    <a:cubicBezTo>
                      <a:pt x="53" y="94"/>
                      <a:pt x="54" y="94"/>
                      <a:pt x="54" y="94"/>
                    </a:cubicBezTo>
                    <a:cubicBezTo>
                      <a:pt x="56" y="93"/>
                      <a:pt x="57" y="93"/>
                      <a:pt x="57" y="93"/>
                    </a:cubicBezTo>
                    <a:cubicBezTo>
                      <a:pt x="58" y="93"/>
                      <a:pt x="58" y="93"/>
                      <a:pt x="58" y="93"/>
                    </a:cubicBezTo>
                    <a:cubicBezTo>
                      <a:pt x="58" y="93"/>
                      <a:pt x="58" y="93"/>
                      <a:pt x="58" y="93"/>
                    </a:cubicBezTo>
                    <a:cubicBezTo>
                      <a:pt x="59" y="92"/>
                      <a:pt x="60" y="92"/>
                      <a:pt x="61" y="92"/>
                    </a:cubicBezTo>
                    <a:cubicBezTo>
                      <a:pt x="62" y="91"/>
                      <a:pt x="63" y="91"/>
                      <a:pt x="64" y="90"/>
                    </a:cubicBezTo>
                    <a:cubicBezTo>
                      <a:pt x="65" y="90"/>
                      <a:pt x="65" y="90"/>
                      <a:pt x="65" y="90"/>
                    </a:cubicBezTo>
                    <a:cubicBezTo>
                      <a:pt x="67" y="89"/>
                      <a:pt x="68" y="88"/>
                      <a:pt x="70" y="88"/>
                    </a:cubicBezTo>
                    <a:cubicBezTo>
                      <a:pt x="87" y="75"/>
                      <a:pt x="87" y="75"/>
                      <a:pt x="87" y="75"/>
                    </a:cubicBezTo>
                    <a:cubicBezTo>
                      <a:pt x="80" y="84"/>
                      <a:pt x="80" y="84"/>
                      <a:pt x="80" y="84"/>
                    </a:cubicBezTo>
                    <a:cubicBezTo>
                      <a:pt x="94" y="79"/>
                      <a:pt x="94" y="79"/>
                      <a:pt x="94" y="79"/>
                    </a:cubicBezTo>
                    <a:cubicBezTo>
                      <a:pt x="95" y="79"/>
                      <a:pt x="95" y="79"/>
                      <a:pt x="95" y="79"/>
                    </a:cubicBezTo>
                    <a:cubicBezTo>
                      <a:pt x="100" y="79"/>
                      <a:pt x="100" y="79"/>
                      <a:pt x="100" y="79"/>
                    </a:cubicBezTo>
                    <a:cubicBezTo>
                      <a:pt x="102" y="79"/>
                      <a:pt x="102" y="79"/>
                      <a:pt x="102" y="79"/>
                    </a:cubicBezTo>
                    <a:cubicBezTo>
                      <a:pt x="103" y="79"/>
                      <a:pt x="104" y="80"/>
                      <a:pt x="105" y="80"/>
                    </a:cubicBezTo>
                    <a:cubicBezTo>
                      <a:pt x="106" y="80"/>
                      <a:pt x="106" y="80"/>
                      <a:pt x="106" y="80"/>
                    </a:cubicBezTo>
                    <a:cubicBezTo>
                      <a:pt x="107" y="80"/>
                      <a:pt x="108" y="81"/>
                      <a:pt x="110" y="81"/>
                    </a:cubicBezTo>
                    <a:cubicBezTo>
                      <a:pt x="111" y="81"/>
                      <a:pt x="111" y="81"/>
                      <a:pt x="111" y="81"/>
                    </a:cubicBezTo>
                    <a:cubicBezTo>
                      <a:pt x="117" y="80"/>
                      <a:pt x="117" y="80"/>
                      <a:pt x="117" y="80"/>
                    </a:cubicBezTo>
                    <a:cubicBezTo>
                      <a:pt x="118" y="80"/>
                      <a:pt x="119" y="80"/>
                      <a:pt x="120" y="80"/>
                    </a:cubicBezTo>
                    <a:cubicBezTo>
                      <a:pt x="120" y="80"/>
                      <a:pt x="121" y="80"/>
                      <a:pt x="122" y="79"/>
                    </a:cubicBezTo>
                    <a:cubicBezTo>
                      <a:pt x="122" y="78"/>
                      <a:pt x="122" y="77"/>
                      <a:pt x="123" y="76"/>
                    </a:cubicBezTo>
                    <a:cubicBezTo>
                      <a:pt x="124" y="76"/>
                      <a:pt x="124" y="76"/>
                      <a:pt x="124" y="76"/>
                    </a:cubicBezTo>
                    <a:cubicBezTo>
                      <a:pt x="126" y="75"/>
                      <a:pt x="127" y="75"/>
                      <a:pt x="129" y="75"/>
                    </a:cubicBezTo>
                    <a:cubicBezTo>
                      <a:pt x="130" y="75"/>
                      <a:pt x="132" y="75"/>
                      <a:pt x="133" y="75"/>
                    </a:cubicBezTo>
                    <a:cubicBezTo>
                      <a:pt x="134" y="75"/>
                      <a:pt x="135" y="74"/>
                      <a:pt x="137" y="72"/>
                    </a:cubicBezTo>
                    <a:cubicBezTo>
                      <a:pt x="138" y="70"/>
                      <a:pt x="139" y="67"/>
                      <a:pt x="141" y="64"/>
                    </a:cubicBezTo>
                    <a:cubicBezTo>
                      <a:pt x="142" y="63"/>
                      <a:pt x="142" y="61"/>
                      <a:pt x="143" y="59"/>
                    </a:cubicBezTo>
                    <a:cubicBezTo>
                      <a:pt x="144" y="56"/>
                      <a:pt x="145" y="53"/>
                      <a:pt x="147" y="51"/>
                    </a:cubicBezTo>
                    <a:cubicBezTo>
                      <a:pt x="147" y="50"/>
                      <a:pt x="147" y="50"/>
                      <a:pt x="147" y="49"/>
                    </a:cubicBezTo>
                    <a:cubicBezTo>
                      <a:pt x="148" y="49"/>
                      <a:pt x="148" y="49"/>
                      <a:pt x="148" y="49"/>
                    </a:cubicBezTo>
                    <a:cubicBezTo>
                      <a:pt x="150" y="45"/>
                      <a:pt x="153" y="41"/>
                      <a:pt x="155" y="37"/>
                    </a:cubicBezTo>
                    <a:cubicBezTo>
                      <a:pt x="157" y="34"/>
                      <a:pt x="159" y="31"/>
                      <a:pt x="162" y="29"/>
                    </a:cubicBezTo>
                    <a:cubicBezTo>
                      <a:pt x="162" y="29"/>
                      <a:pt x="163" y="28"/>
                      <a:pt x="165" y="27"/>
                    </a:cubicBezTo>
                    <a:cubicBezTo>
                      <a:pt x="166" y="27"/>
                      <a:pt x="166" y="27"/>
                      <a:pt x="167" y="26"/>
                    </a:cubicBezTo>
                    <a:cubicBezTo>
                      <a:pt x="178" y="19"/>
                      <a:pt x="178" y="19"/>
                      <a:pt x="178" y="19"/>
                    </a:cubicBezTo>
                    <a:cubicBezTo>
                      <a:pt x="178" y="18"/>
                      <a:pt x="177" y="18"/>
                      <a:pt x="177" y="18"/>
                    </a:cubicBezTo>
                    <a:cubicBezTo>
                      <a:pt x="177" y="17"/>
                      <a:pt x="176" y="17"/>
                      <a:pt x="176" y="17"/>
                    </a:cubicBezTo>
                    <a:cubicBezTo>
                      <a:pt x="175" y="16"/>
                      <a:pt x="175" y="15"/>
                      <a:pt x="174" y="15"/>
                    </a:cubicBezTo>
                    <a:cubicBezTo>
                      <a:pt x="173" y="14"/>
                      <a:pt x="173" y="14"/>
                      <a:pt x="173" y="14"/>
                    </a:cubicBezTo>
                    <a:cubicBezTo>
                      <a:pt x="172" y="13"/>
                      <a:pt x="172" y="13"/>
                      <a:pt x="171" y="12"/>
                    </a:cubicBezTo>
                    <a:cubicBezTo>
                      <a:pt x="171" y="12"/>
                      <a:pt x="170" y="11"/>
                      <a:pt x="169" y="11"/>
                    </a:cubicBezTo>
                    <a:cubicBezTo>
                      <a:pt x="170" y="9"/>
                      <a:pt x="170" y="9"/>
                      <a:pt x="170" y="9"/>
                    </a:cubicBezTo>
                    <a:cubicBezTo>
                      <a:pt x="169" y="11"/>
                      <a:pt x="169" y="11"/>
                      <a:pt x="169" y="11"/>
                    </a:cubicBezTo>
                    <a:cubicBezTo>
                      <a:pt x="167" y="9"/>
                      <a:pt x="165" y="8"/>
                      <a:pt x="163" y="6"/>
                    </a:cubicBezTo>
                    <a:cubicBezTo>
                      <a:pt x="162" y="6"/>
                      <a:pt x="162" y="6"/>
                      <a:pt x="162" y="6"/>
                    </a:cubicBezTo>
                    <a:cubicBezTo>
                      <a:pt x="162" y="6"/>
                      <a:pt x="162" y="6"/>
                      <a:pt x="162" y="6"/>
                    </a:cubicBezTo>
                    <a:cubicBezTo>
                      <a:pt x="160" y="7"/>
                      <a:pt x="158" y="8"/>
                      <a:pt x="155" y="8"/>
                    </a:cubicBezTo>
                    <a:cubicBezTo>
                      <a:pt x="155" y="8"/>
                      <a:pt x="155" y="8"/>
                      <a:pt x="155" y="8"/>
                    </a:cubicBezTo>
                    <a:cubicBezTo>
                      <a:pt x="155" y="8"/>
                      <a:pt x="154" y="8"/>
                      <a:pt x="154" y="8"/>
                    </a:cubicBezTo>
                    <a:cubicBezTo>
                      <a:pt x="153" y="8"/>
                      <a:pt x="153" y="8"/>
                      <a:pt x="153" y="8"/>
                    </a:cubicBezTo>
                    <a:cubicBezTo>
                      <a:pt x="152" y="8"/>
                      <a:pt x="151" y="8"/>
                      <a:pt x="150" y="7"/>
                    </a:cubicBezTo>
                    <a:cubicBezTo>
                      <a:pt x="148" y="6"/>
                      <a:pt x="147" y="4"/>
                      <a:pt x="145" y="2"/>
                    </a:cubicBezTo>
                    <a:cubicBezTo>
                      <a:pt x="144" y="1"/>
                      <a:pt x="144" y="1"/>
                      <a:pt x="144" y="1"/>
                    </a:cubicBezTo>
                    <a:cubicBezTo>
                      <a:pt x="144" y="1"/>
                      <a:pt x="143" y="1"/>
                      <a:pt x="143" y="0"/>
                    </a:cubicBezTo>
                    <a:cubicBezTo>
                      <a:pt x="142" y="0"/>
                      <a:pt x="142" y="0"/>
                      <a:pt x="142" y="0"/>
                    </a:cubicBezTo>
                    <a:cubicBezTo>
                      <a:pt x="141" y="0"/>
                      <a:pt x="140" y="0"/>
                      <a:pt x="139" y="0"/>
                    </a:cubicBezTo>
                    <a:cubicBezTo>
                      <a:pt x="137" y="0"/>
                      <a:pt x="137" y="0"/>
                      <a:pt x="137" y="0"/>
                    </a:cubicBezTo>
                    <a:cubicBezTo>
                      <a:pt x="134" y="0"/>
                      <a:pt x="134" y="0"/>
                      <a:pt x="134" y="0"/>
                    </a:cubicBezTo>
                    <a:cubicBezTo>
                      <a:pt x="132" y="0"/>
                      <a:pt x="131" y="0"/>
                      <a:pt x="1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306"/>
              <p:cNvSpPr/>
              <p:nvPr/>
            </p:nvSpPr>
            <p:spPr bwMode="auto">
              <a:xfrm>
                <a:off x="5888815" y="4060998"/>
                <a:ext cx="482750" cy="184256"/>
              </a:xfrm>
              <a:custGeom>
                <a:gdLst>
                  <a:gd name="T0" fmla="*/ 62 w 152"/>
                  <a:gd name="T1" fmla="*/ 4 h 58"/>
                  <a:gd name="T2" fmla="*/ 60 w 152"/>
                  <a:gd name="T3" fmla="*/ 4 h 58"/>
                  <a:gd name="T4" fmla="*/ 57 w 152"/>
                  <a:gd name="T5" fmla="*/ 3 h 58"/>
                  <a:gd name="T6" fmla="*/ 53 w 152"/>
                  <a:gd name="T7" fmla="*/ 1 h 58"/>
                  <a:gd name="T8" fmla="*/ 53 w 152"/>
                  <a:gd name="T9" fmla="*/ 1 h 58"/>
                  <a:gd name="T10" fmla="*/ 47 w 152"/>
                  <a:gd name="T11" fmla="*/ 3 h 58"/>
                  <a:gd name="T12" fmla="*/ 37 w 152"/>
                  <a:gd name="T13" fmla="*/ 9 h 58"/>
                  <a:gd name="T14" fmla="*/ 35 w 152"/>
                  <a:gd name="T15" fmla="*/ 12 h 58"/>
                  <a:gd name="T16" fmla="*/ 26 w 152"/>
                  <a:gd name="T17" fmla="*/ 22 h 58"/>
                  <a:gd name="T18" fmla="*/ 13 w 152"/>
                  <a:gd name="T19" fmla="*/ 25 h 58"/>
                  <a:gd name="T20" fmla="*/ 8 w 152"/>
                  <a:gd name="T21" fmla="*/ 24 h 58"/>
                  <a:gd name="T22" fmla="*/ 7 w 152"/>
                  <a:gd name="T23" fmla="*/ 24 h 58"/>
                  <a:gd name="T24" fmla="*/ 3 w 152"/>
                  <a:gd name="T25" fmla="*/ 30 h 58"/>
                  <a:gd name="T26" fmla="*/ 3 w 152"/>
                  <a:gd name="T27" fmla="*/ 39 h 58"/>
                  <a:gd name="T28" fmla="*/ 0 w 152"/>
                  <a:gd name="T29" fmla="*/ 38 h 58"/>
                  <a:gd name="T30" fmla="*/ 0 w 152"/>
                  <a:gd name="T31" fmla="*/ 38 h 58"/>
                  <a:gd name="T32" fmla="*/ 3 w 152"/>
                  <a:gd name="T33" fmla="*/ 43 h 58"/>
                  <a:gd name="T34" fmla="*/ 6 w 152"/>
                  <a:gd name="T35" fmla="*/ 47 h 58"/>
                  <a:gd name="T36" fmla="*/ 6 w 152"/>
                  <a:gd name="T37" fmla="*/ 48 h 58"/>
                  <a:gd name="T38" fmla="*/ 9 w 152"/>
                  <a:gd name="T39" fmla="*/ 48 h 58"/>
                  <a:gd name="T40" fmla="*/ 13 w 152"/>
                  <a:gd name="T41" fmla="*/ 51 h 58"/>
                  <a:gd name="T42" fmla="*/ 23 w 152"/>
                  <a:gd name="T43" fmla="*/ 57 h 58"/>
                  <a:gd name="T44" fmla="*/ 29 w 152"/>
                  <a:gd name="T45" fmla="*/ 58 h 58"/>
                  <a:gd name="T46" fmla="*/ 48 w 152"/>
                  <a:gd name="T47" fmla="*/ 56 h 58"/>
                  <a:gd name="T48" fmla="*/ 51 w 152"/>
                  <a:gd name="T49" fmla="*/ 50 h 58"/>
                  <a:gd name="T50" fmla="*/ 63 w 152"/>
                  <a:gd name="T51" fmla="*/ 44 h 58"/>
                  <a:gd name="T52" fmla="*/ 76 w 152"/>
                  <a:gd name="T53" fmla="*/ 42 h 58"/>
                  <a:gd name="T54" fmla="*/ 78 w 152"/>
                  <a:gd name="T55" fmla="*/ 42 h 58"/>
                  <a:gd name="T56" fmla="*/ 82 w 152"/>
                  <a:gd name="T57" fmla="*/ 43 h 58"/>
                  <a:gd name="T58" fmla="*/ 85 w 152"/>
                  <a:gd name="T59" fmla="*/ 42 h 58"/>
                  <a:gd name="T60" fmla="*/ 91 w 152"/>
                  <a:gd name="T61" fmla="*/ 38 h 58"/>
                  <a:gd name="T62" fmla="*/ 106 w 152"/>
                  <a:gd name="T63" fmla="*/ 29 h 58"/>
                  <a:gd name="T64" fmla="*/ 118 w 152"/>
                  <a:gd name="T65" fmla="*/ 28 h 58"/>
                  <a:gd name="T66" fmla="*/ 121 w 152"/>
                  <a:gd name="T67" fmla="*/ 28 h 58"/>
                  <a:gd name="T68" fmla="*/ 127 w 152"/>
                  <a:gd name="T69" fmla="*/ 29 h 58"/>
                  <a:gd name="T70" fmla="*/ 134 w 152"/>
                  <a:gd name="T71" fmla="*/ 33 h 58"/>
                  <a:gd name="T72" fmla="*/ 138 w 152"/>
                  <a:gd name="T73" fmla="*/ 36 h 58"/>
                  <a:gd name="T74" fmla="*/ 143 w 152"/>
                  <a:gd name="T75" fmla="*/ 34 h 58"/>
                  <a:gd name="T76" fmla="*/ 144 w 152"/>
                  <a:gd name="T77" fmla="*/ 30 h 58"/>
                  <a:gd name="T78" fmla="*/ 136 w 152"/>
                  <a:gd name="T79" fmla="*/ 35 h 58"/>
                  <a:gd name="T80" fmla="*/ 150 w 152"/>
                  <a:gd name="T81" fmla="*/ 14 h 58"/>
                  <a:gd name="T82" fmla="*/ 148 w 152"/>
                  <a:gd name="T83" fmla="*/ 14 h 58"/>
                  <a:gd name="T84" fmla="*/ 138 w 152"/>
                  <a:gd name="T85" fmla="*/ 8 h 58"/>
                  <a:gd name="T86" fmla="*/ 120 w 152"/>
                  <a:gd name="T87" fmla="*/ 6 h 58"/>
                  <a:gd name="T88" fmla="*/ 112 w 152"/>
                  <a:gd name="T89" fmla="*/ 8 h 58"/>
                  <a:gd name="T90" fmla="*/ 103 w 152"/>
                  <a:gd name="T91" fmla="*/ 6 h 58"/>
                  <a:gd name="T92" fmla="*/ 99 w 152"/>
                  <a:gd name="T93" fmla="*/ 5 h 58"/>
                  <a:gd name="T94" fmla="*/ 96 w 152"/>
                  <a:gd name="T95" fmla="*/ 6 h 58"/>
                  <a:gd name="T96" fmla="*/ 90 w 152"/>
                  <a:gd name="T97" fmla="*/ 8 h 58"/>
                  <a:gd name="T98" fmla="*/ 82 w 152"/>
                  <a:gd name="T99" fmla="*/ 12 h 58"/>
                  <a:gd name="T100" fmla="*/ 81 w 152"/>
                  <a:gd name="T101" fmla="*/ 12 h 58"/>
                  <a:gd name="T102" fmla="*/ 79 w 152"/>
                  <a:gd name="T103" fmla="*/ 12 h 58"/>
                  <a:gd name="T104" fmla="*/ 77 w 152"/>
                  <a:gd name="T105" fmla="*/ 11 h 58"/>
                  <a:gd name="T106" fmla="*/ 76 w 152"/>
                  <a:gd name="T107" fmla="*/ 9 h 58"/>
                  <a:gd name="T108" fmla="*/ 76 w 152"/>
                  <a:gd name="T109" fmla="*/ 4 h 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57">
                    <a:moveTo>
                      <a:pt x="71" y="0"/>
                    </a:moveTo>
                    <a:cubicBezTo>
                      <a:pt x="68" y="1"/>
                      <a:pt x="65" y="3"/>
                      <a:pt x="62" y="4"/>
                    </a:cubicBezTo>
                    <a:cubicBezTo>
                      <a:pt x="62" y="4"/>
                      <a:pt x="61" y="4"/>
                      <a:pt x="61" y="4"/>
                    </a:cubicBezTo>
                    <a:cubicBezTo>
                      <a:pt x="60" y="4"/>
                      <a:pt x="60" y="4"/>
                      <a:pt x="60" y="4"/>
                    </a:cubicBezTo>
                    <a:cubicBezTo>
                      <a:pt x="59" y="4"/>
                      <a:pt x="58" y="4"/>
                      <a:pt x="57" y="3"/>
                    </a:cubicBezTo>
                    <a:cubicBezTo>
                      <a:pt x="57" y="3"/>
                      <a:pt x="57" y="3"/>
                      <a:pt x="57" y="3"/>
                    </a:cubicBezTo>
                    <a:cubicBezTo>
                      <a:pt x="56" y="3"/>
                      <a:pt x="55" y="2"/>
                      <a:pt x="55" y="2"/>
                    </a:cubicBezTo>
                    <a:cubicBezTo>
                      <a:pt x="54" y="1"/>
                      <a:pt x="54" y="1"/>
                      <a:pt x="53" y="1"/>
                    </a:cubicBezTo>
                    <a:cubicBezTo>
                      <a:pt x="53" y="1"/>
                      <a:pt x="53" y="1"/>
                      <a:pt x="53" y="1"/>
                    </a:cubicBezTo>
                    <a:cubicBezTo>
                      <a:pt x="53" y="1"/>
                      <a:pt x="53" y="1"/>
                      <a:pt x="53" y="1"/>
                    </a:cubicBezTo>
                    <a:cubicBezTo>
                      <a:pt x="51" y="1"/>
                      <a:pt x="49" y="2"/>
                      <a:pt x="48" y="3"/>
                    </a:cubicBezTo>
                    <a:cubicBezTo>
                      <a:pt x="47" y="3"/>
                      <a:pt x="47" y="3"/>
                      <a:pt x="47" y="3"/>
                    </a:cubicBezTo>
                    <a:cubicBezTo>
                      <a:pt x="44" y="4"/>
                      <a:pt x="39" y="6"/>
                      <a:pt x="38" y="8"/>
                    </a:cubicBezTo>
                    <a:cubicBezTo>
                      <a:pt x="37" y="9"/>
                      <a:pt x="37" y="9"/>
                      <a:pt x="37" y="9"/>
                    </a:cubicBezTo>
                    <a:cubicBezTo>
                      <a:pt x="36" y="10"/>
                      <a:pt x="36" y="10"/>
                      <a:pt x="35" y="11"/>
                    </a:cubicBezTo>
                    <a:cubicBezTo>
                      <a:pt x="35" y="12"/>
                      <a:pt x="35" y="12"/>
                      <a:pt x="35" y="12"/>
                    </a:cubicBezTo>
                    <a:cubicBezTo>
                      <a:pt x="35" y="13"/>
                      <a:pt x="35" y="14"/>
                      <a:pt x="34" y="15"/>
                    </a:cubicBezTo>
                    <a:cubicBezTo>
                      <a:pt x="33" y="18"/>
                      <a:pt x="29" y="20"/>
                      <a:pt x="26" y="22"/>
                    </a:cubicBezTo>
                    <a:cubicBezTo>
                      <a:pt x="22" y="24"/>
                      <a:pt x="18" y="25"/>
                      <a:pt x="14" y="25"/>
                    </a:cubicBezTo>
                    <a:cubicBezTo>
                      <a:pt x="13" y="25"/>
                      <a:pt x="13" y="25"/>
                      <a:pt x="13" y="25"/>
                    </a:cubicBezTo>
                    <a:cubicBezTo>
                      <a:pt x="13" y="25"/>
                      <a:pt x="13" y="25"/>
                      <a:pt x="13" y="25"/>
                    </a:cubicBezTo>
                    <a:cubicBezTo>
                      <a:pt x="11" y="25"/>
                      <a:pt x="10" y="25"/>
                      <a:pt x="8" y="24"/>
                    </a:cubicBezTo>
                    <a:cubicBezTo>
                      <a:pt x="8" y="24"/>
                      <a:pt x="8" y="24"/>
                      <a:pt x="8" y="24"/>
                    </a:cubicBezTo>
                    <a:cubicBezTo>
                      <a:pt x="7" y="24"/>
                      <a:pt x="7" y="24"/>
                      <a:pt x="7" y="24"/>
                    </a:cubicBezTo>
                    <a:cubicBezTo>
                      <a:pt x="6" y="25"/>
                      <a:pt x="6" y="25"/>
                      <a:pt x="6" y="25"/>
                    </a:cubicBezTo>
                    <a:cubicBezTo>
                      <a:pt x="4" y="27"/>
                      <a:pt x="3" y="29"/>
                      <a:pt x="3" y="30"/>
                    </a:cubicBezTo>
                    <a:cubicBezTo>
                      <a:pt x="2" y="30"/>
                      <a:pt x="2" y="30"/>
                      <a:pt x="2" y="30"/>
                    </a:cubicBezTo>
                    <a:cubicBezTo>
                      <a:pt x="3" y="39"/>
                      <a:pt x="3" y="39"/>
                      <a:pt x="3" y="39"/>
                    </a:cubicBezTo>
                    <a:cubicBezTo>
                      <a:pt x="1" y="36"/>
                      <a:pt x="1" y="36"/>
                      <a:pt x="1" y="36"/>
                    </a:cubicBezTo>
                    <a:cubicBezTo>
                      <a:pt x="0" y="37"/>
                      <a:pt x="0" y="37"/>
                      <a:pt x="0" y="38"/>
                    </a:cubicBezTo>
                    <a:cubicBezTo>
                      <a:pt x="0" y="38"/>
                      <a:pt x="0" y="38"/>
                      <a:pt x="0" y="38"/>
                    </a:cubicBezTo>
                    <a:cubicBezTo>
                      <a:pt x="0" y="38"/>
                      <a:pt x="0" y="38"/>
                      <a:pt x="0" y="38"/>
                    </a:cubicBezTo>
                    <a:cubicBezTo>
                      <a:pt x="0" y="39"/>
                      <a:pt x="1" y="39"/>
                      <a:pt x="1" y="40"/>
                    </a:cubicBezTo>
                    <a:cubicBezTo>
                      <a:pt x="2" y="41"/>
                      <a:pt x="3" y="42"/>
                      <a:pt x="3" y="43"/>
                    </a:cubicBezTo>
                    <a:cubicBezTo>
                      <a:pt x="4" y="44"/>
                      <a:pt x="5" y="45"/>
                      <a:pt x="5" y="46"/>
                    </a:cubicBezTo>
                    <a:cubicBezTo>
                      <a:pt x="6" y="47"/>
                      <a:pt x="6" y="47"/>
                      <a:pt x="6" y="47"/>
                    </a:cubicBezTo>
                    <a:cubicBezTo>
                      <a:pt x="6" y="48"/>
                      <a:pt x="6" y="48"/>
                      <a:pt x="6" y="48"/>
                    </a:cubicBezTo>
                    <a:cubicBezTo>
                      <a:pt x="6" y="48"/>
                      <a:pt x="6" y="48"/>
                      <a:pt x="6" y="48"/>
                    </a:cubicBezTo>
                    <a:cubicBezTo>
                      <a:pt x="8" y="48"/>
                      <a:pt x="8" y="48"/>
                      <a:pt x="8" y="48"/>
                    </a:cubicBezTo>
                    <a:cubicBezTo>
                      <a:pt x="8" y="48"/>
                      <a:pt x="9" y="48"/>
                      <a:pt x="9" y="48"/>
                    </a:cubicBezTo>
                    <a:cubicBezTo>
                      <a:pt x="10" y="48"/>
                      <a:pt x="10" y="48"/>
                      <a:pt x="10" y="48"/>
                    </a:cubicBezTo>
                    <a:cubicBezTo>
                      <a:pt x="11" y="49"/>
                      <a:pt x="12" y="50"/>
                      <a:pt x="13" y="51"/>
                    </a:cubicBezTo>
                    <a:cubicBezTo>
                      <a:pt x="14" y="51"/>
                      <a:pt x="14" y="51"/>
                      <a:pt x="14" y="51"/>
                    </a:cubicBezTo>
                    <a:cubicBezTo>
                      <a:pt x="17" y="54"/>
                      <a:pt x="20" y="56"/>
                      <a:pt x="23" y="57"/>
                    </a:cubicBezTo>
                    <a:cubicBezTo>
                      <a:pt x="24" y="58"/>
                      <a:pt x="25" y="58"/>
                      <a:pt x="26" y="58"/>
                    </a:cubicBezTo>
                    <a:cubicBezTo>
                      <a:pt x="27" y="58"/>
                      <a:pt x="28" y="58"/>
                      <a:pt x="29" y="58"/>
                    </a:cubicBezTo>
                    <a:cubicBezTo>
                      <a:pt x="35" y="58"/>
                      <a:pt x="41" y="57"/>
                      <a:pt x="46" y="56"/>
                    </a:cubicBezTo>
                    <a:cubicBezTo>
                      <a:pt x="47" y="56"/>
                      <a:pt x="48" y="56"/>
                      <a:pt x="48" y="56"/>
                    </a:cubicBezTo>
                    <a:cubicBezTo>
                      <a:pt x="48" y="55"/>
                      <a:pt x="48" y="53"/>
                      <a:pt x="49" y="52"/>
                    </a:cubicBezTo>
                    <a:cubicBezTo>
                      <a:pt x="49" y="51"/>
                      <a:pt x="50" y="50"/>
                      <a:pt x="51" y="50"/>
                    </a:cubicBezTo>
                    <a:cubicBezTo>
                      <a:pt x="53" y="48"/>
                      <a:pt x="55" y="47"/>
                      <a:pt x="58" y="46"/>
                    </a:cubicBezTo>
                    <a:cubicBezTo>
                      <a:pt x="63" y="44"/>
                      <a:pt x="63" y="44"/>
                      <a:pt x="63" y="44"/>
                    </a:cubicBezTo>
                    <a:cubicBezTo>
                      <a:pt x="66" y="43"/>
                      <a:pt x="70" y="42"/>
                      <a:pt x="74" y="42"/>
                    </a:cubicBezTo>
                    <a:cubicBezTo>
                      <a:pt x="74" y="42"/>
                      <a:pt x="75" y="42"/>
                      <a:pt x="76" y="42"/>
                    </a:cubicBezTo>
                    <a:cubicBezTo>
                      <a:pt x="77" y="42"/>
                      <a:pt x="77" y="42"/>
                      <a:pt x="77" y="42"/>
                    </a:cubicBezTo>
                    <a:cubicBezTo>
                      <a:pt x="77" y="42"/>
                      <a:pt x="78" y="42"/>
                      <a:pt x="78" y="42"/>
                    </a:cubicBezTo>
                    <a:cubicBezTo>
                      <a:pt x="79" y="42"/>
                      <a:pt x="80" y="42"/>
                      <a:pt x="80" y="42"/>
                    </a:cubicBezTo>
                    <a:cubicBezTo>
                      <a:pt x="81" y="43"/>
                      <a:pt x="82" y="43"/>
                      <a:pt x="82" y="43"/>
                    </a:cubicBezTo>
                    <a:cubicBezTo>
                      <a:pt x="82" y="43"/>
                      <a:pt x="83" y="43"/>
                      <a:pt x="83" y="43"/>
                    </a:cubicBezTo>
                    <a:cubicBezTo>
                      <a:pt x="84" y="43"/>
                      <a:pt x="84" y="42"/>
                      <a:pt x="85" y="42"/>
                    </a:cubicBezTo>
                    <a:cubicBezTo>
                      <a:pt x="87" y="41"/>
                      <a:pt x="88" y="41"/>
                      <a:pt x="90" y="39"/>
                    </a:cubicBezTo>
                    <a:cubicBezTo>
                      <a:pt x="91" y="38"/>
                      <a:pt x="91" y="38"/>
                      <a:pt x="91" y="38"/>
                    </a:cubicBezTo>
                    <a:cubicBezTo>
                      <a:pt x="96" y="34"/>
                      <a:pt x="100" y="31"/>
                      <a:pt x="105" y="29"/>
                    </a:cubicBezTo>
                    <a:cubicBezTo>
                      <a:pt x="106" y="29"/>
                      <a:pt x="106" y="29"/>
                      <a:pt x="106" y="29"/>
                    </a:cubicBezTo>
                    <a:cubicBezTo>
                      <a:pt x="108" y="28"/>
                      <a:pt x="110" y="28"/>
                      <a:pt x="112" y="28"/>
                    </a:cubicBezTo>
                    <a:cubicBezTo>
                      <a:pt x="114" y="28"/>
                      <a:pt x="116" y="28"/>
                      <a:pt x="118" y="28"/>
                    </a:cubicBezTo>
                    <a:cubicBezTo>
                      <a:pt x="120" y="28"/>
                      <a:pt x="120" y="28"/>
                      <a:pt x="120" y="28"/>
                    </a:cubicBezTo>
                    <a:cubicBezTo>
                      <a:pt x="121" y="28"/>
                      <a:pt x="121" y="28"/>
                      <a:pt x="121" y="28"/>
                    </a:cubicBezTo>
                    <a:cubicBezTo>
                      <a:pt x="122" y="28"/>
                      <a:pt x="123" y="28"/>
                      <a:pt x="124" y="28"/>
                    </a:cubicBezTo>
                    <a:cubicBezTo>
                      <a:pt x="125" y="28"/>
                      <a:pt x="126" y="28"/>
                      <a:pt x="127" y="29"/>
                    </a:cubicBezTo>
                    <a:cubicBezTo>
                      <a:pt x="130" y="29"/>
                      <a:pt x="131" y="30"/>
                      <a:pt x="132" y="31"/>
                    </a:cubicBezTo>
                    <a:cubicBezTo>
                      <a:pt x="134" y="33"/>
                      <a:pt x="134" y="33"/>
                      <a:pt x="134" y="33"/>
                    </a:cubicBezTo>
                    <a:cubicBezTo>
                      <a:pt x="135" y="35"/>
                      <a:pt x="136" y="36"/>
                      <a:pt x="136" y="36"/>
                    </a:cubicBezTo>
                    <a:cubicBezTo>
                      <a:pt x="138" y="36"/>
                      <a:pt x="138" y="36"/>
                      <a:pt x="138" y="36"/>
                    </a:cubicBezTo>
                    <a:cubicBezTo>
                      <a:pt x="139" y="36"/>
                      <a:pt x="141" y="35"/>
                      <a:pt x="142" y="35"/>
                    </a:cubicBezTo>
                    <a:cubicBezTo>
                      <a:pt x="143" y="34"/>
                      <a:pt x="143" y="34"/>
                      <a:pt x="143" y="34"/>
                    </a:cubicBezTo>
                    <a:cubicBezTo>
                      <a:pt x="144" y="34"/>
                      <a:pt x="144" y="34"/>
                      <a:pt x="144" y="34"/>
                    </a:cubicBezTo>
                    <a:cubicBezTo>
                      <a:pt x="144" y="32"/>
                      <a:pt x="144" y="31"/>
                      <a:pt x="144" y="30"/>
                    </a:cubicBezTo>
                    <a:cubicBezTo>
                      <a:pt x="145" y="29"/>
                      <a:pt x="145" y="29"/>
                      <a:pt x="145" y="28"/>
                    </a:cubicBezTo>
                    <a:cubicBezTo>
                      <a:pt x="136" y="35"/>
                      <a:pt x="136" y="35"/>
                      <a:pt x="136" y="35"/>
                    </a:cubicBezTo>
                    <a:cubicBezTo>
                      <a:pt x="152" y="15"/>
                      <a:pt x="152" y="15"/>
                      <a:pt x="152" y="15"/>
                    </a:cubicBezTo>
                    <a:cubicBezTo>
                      <a:pt x="152" y="15"/>
                      <a:pt x="151" y="14"/>
                      <a:pt x="150" y="14"/>
                    </a:cubicBezTo>
                    <a:cubicBezTo>
                      <a:pt x="150" y="14"/>
                      <a:pt x="150" y="14"/>
                      <a:pt x="150" y="14"/>
                    </a:cubicBezTo>
                    <a:cubicBezTo>
                      <a:pt x="149" y="14"/>
                      <a:pt x="149" y="14"/>
                      <a:pt x="148" y="14"/>
                    </a:cubicBezTo>
                    <a:cubicBezTo>
                      <a:pt x="146" y="13"/>
                      <a:pt x="144" y="12"/>
                      <a:pt x="143" y="11"/>
                    </a:cubicBezTo>
                    <a:cubicBezTo>
                      <a:pt x="141" y="10"/>
                      <a:pt x="140" y="9"/>
                      <a:pt x="138" y="8"/>
                    </a:cubicBezTo>
                    <a:cubicBezTo>
                      <a:pt x="135" y="6"/>
                      <a:pt x="131" y="4"/>
                      <a:pt x="127" y="4"/>
                    </a:cubicBezTo>
                    <a:cubicBezTo>
                      <a:pt x="125" y="4"/>
                      <a:pt x="123" y="5"/>
                      <a:pt x="120" y="6"/>
                    </a:cubicBezTo>
                    <a:cubicBezTo>
                      <a:pt x="116" y="7"/>
                      <a:pt x="116" y="7"/>
                      <a:pt x="116" y="7"/>
                    </a:cubicBezTo>
                    <a:cubicBezTo>
                      <a:pt x="115" y="8"/>
                      <a:pt x="113" y="8"/>
                      <a:pt x="112" y="8"/>
                    </a:cubicBezTo>
                    <a:cubicBezTo>
                      <a:pt x="110" y="8"/>
                      <a:pt x="107" y="7"/>
                      <a:pt x="104" y="6"/>
                    </a:cubicBezTo>
                    <a:cubicBezTo>
                      <a:pt x="103" y="6"/>
                      <a:pt x="103" y="6"/>
                      <a:pt x="103" y="6"/>
                    </a:cubicBezTo>
                    <a:cubicBezTo>
                      <a:pt x="102" y="6"/>
                      <a:pt x="101" y="6"/>
                      <a:pt x="101" y="5"/>
                    </a:cubicBezTo>
                    <a:cubicBezTo>
                      <a:pt x="100" y="5"/>
                      <a:pt x="100" y="5"/>
                      <a:pt x="99" y="5"/>
                    </a:cubicBezTo>
                    <a:cubicBezTo>
                      <a:pt x="99" y="5"/>
                      <a:pt x="98" y="5"/>
                      <a:pt x="98" y="5"/>
                    </a:cubicBezTo>
                    <a:cubicBezTo>
                      <a:pt x="97" y="5"/>
                      <a:pt x="97" y="6"/>
                      <a:pt x="96" y="6"/>
                    </a:cubicBezTo>
                    <a:cubicBezTo>
                      <a:pt x="94" y="7"/>
                      <a:pt x="92" y="7"/>
                      <a:pt x="91" y="8"/>
                    </a:cubicBezTo>
                    <a:cubicBezTo>
                      <a:pt x="90" y="8"/>
                      <a:pt x="90" y="8"/>
                      <a:pt x="90" y="8"/>
                    </a:cubicBezTo>
                    <a:cubicBezTo>
                      <a:pt x="88" y="10"/>
                      <a:pt x="86" y="11"/>
                      <a:pt x="84" y="11"/>
                    </a:cubicBezTo>
                    <a:cubicBezTo>
                      <a:pt x="83" y="12"/>
                      <a:pt x="83" y="12"/>
                      <a:pt x="82" y="12"/>
                    </a:cubicBezTo>
                    <a:cubicBezTo>
                      <a:pt x="82" y="12"/>
                      <a:pt x="82" y="12"/>
                      <a:pt x="82" y="12"/>
                    </a:cubicBezTo>
                    <a:cubicBezTo>
                      <a:pt x="81" y="12"/>
                      <a:pt x="81" y="12"/>
                      <a:pt x="81" y="12"/>
                    </a:cubicBezTo>
                    <a:cubicBezTo>
                      <a:pt x="80" y="12"/>
                      <a:pt x="80" y="12"/>
                      <a:pt x="79" y="12"/>
                    </a:cubicBezTo>
                    <a:cubicBezTo>
                      <a:pt x="79" y="12"/>
                      <a:pt x="79" y="12"/>
                      <a:pt x="79" y="12"/>
                    </a:cubicBezTo>
                    <a:cubicBezTo>
                      <a:pt x="78" y="11"/>
                      <a:pt x="78" y="11"/>
                      <a:pt x="78" y="11"/>
                    </a:cubicBezTo>
                    <a:cubicBezTo>
                      <a:pt x="77" y="11"/>
                      <a:pt x="77" y="11"/>
                      <a:pt x="77" y="11"/>
                    </a:cubicBezTo>
                    <a:cubicBezTo>
                      <a:pt x="74" y="12"/>
                      <a:pt x="74" y="12"/>
                      <a:pt x="74" y="12"/>
                    </a:cubicBezTo>
                    <a:cubicBezTo>
                      <a:pt x="76" y="9"/>
                      <a:pt x="76" y="9"/>
                      <a:pt x="76" y="9"/>
                    </a:cubicBezTo>
                    <a:cubicBezTo>
                      <a:pt x="76" y="9"/>
                      <a:pt x="76" y="8"/>
                      <a:pt x="76" y="8"/>
                    </a:cubicBezTo>
                    <a:cubicBezTo>
                      <a:pt x="75" y="7"/>
                      <a:pt x="75" y="5"/>
                      <a:pt x="76" y="4"/>
                    </a:cubicBezTo>
                    <a:cubicBezTo>
                      <a:pt x="73" y="3"/>
                      <a:pt x="72" y="1"/>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307"/>
              <p:cNvSpPr/>
              <p:nvPr/>
            </p:nvSpPr>
            <p:spPr bwMode="auto">
              <a:xfrm>
                <a:off x="5601376" y="3405048"/>
                <a:ext cx="917594" cy="685432"/>
              </a:xfrm>
              <a:custGeom>
                <a:gdLst>
                  <a:gd name="T0" fmla="*/ 69 w 290"/>
                  <a:gd name="T1" fmla="*/ 22 h 215"/>
                  <a:gd name="T2" fmla="*/ 6 w 290"/>
                  <a:gd name="T3" fmla="*/ 31 h 215"/>
                  <a:gd name="T4" fmla="*/ 6 w 290"/>
                  <a:gd name="T5" fmla="*/ 39 h 215"/>
                  <a:gd name="T6" fmla="*/ 11 w 290"/>
                  <a:gd name="T7" fmla="*/ 38 h 215"/>
                  <a:gd name="T8" fmla="*/ 23 w 290"/>
                  <a:gd name="T9" fmla="*/ 48 h 215"/>
                  <a:gd name="T10" fmla="*/ 19 w 290"/>
                  <a:gd name="T11" fmla="*/ 51 h 215"/>
                  <a:gd name="T12" fmla="*/ 15 w 290"/>
                  <a:gd name="T13" fmla="*/ 74 h 215"/>
                  <a:gd name="T14" fmla="*/ 23 w 290"/>
                  <a:gd name="T15" fmla="*/ 82 h 215"/>
                  <a:gd name="T16" fmla="*/ 25 w 290"/>
                  <a:gd name="T17" fmla="*/ 95 h 215"/>
                  <a:gd name="T18" fmla="*/ 30 w 290"/>
                  <a:gd name="T19" fmla="*/ 103 h 215"/>
                  <a:gd name="T20" fmla="*/ 29 w 290"/>
                  <a:gd name="T21" fmla="*/ 121 h 215"/>
                  <a:gd name="T22" fmla="*/ 31 w 290"/>
                  <a:gd name="T23" fmla="*/ 126 h 215"/>
                  <a:gd name="T24" fmla="*/ 39 w 290"/>
                  <a:gd name="T25" fmla="*/ 138 h 215"/>
                  <a:gd name="T26" fmla="*/ 39 w 290"/>
                  <a:gd name="T27" fmla="*/ 144 h 215"/>
                  <a:gd name="T28" fmla="*/ 48 w 290"/>
                  <a:gd name="T29" fmla="*/ 152 h 215"/>
                  <a:gd name="T30" fmla="*/ 66 w 290"/>
                  <a:gd name="T31" fmla="*/ 157 h 215"/>
                  <a:gd name="T32" fmla="*/ 74 w 290"/>
                  <a:gd name="T33" fmla="*/ 157 h 215"/>
                  <a:gd name="T34" fmla="*/ 75 w 290"/>
                  <a:gd name="T35" fmla="*/ 170 h 215"/>
                  <a:gd name="T36" fmla="*/ 82 w 290"/>
                  <a:gd name="T37" fmla="*/ 176 h 215"/>
                  <a:gd name="T38" fmla="*/ 87 w 290"/>
                  <a:gd name="T39" fmla="*/ 173 h 215"/>
                  <a:gd name="T40" fmla="*/ 96 w 290"/>
                  <a:gd name="T41" fmla="*/ 167 h 215"/>
                  <a:gd name="T42" fmla="*/ 101 w 290"/>
                  <a:gd name="T43" fmla="*/ 168 h 215"/>
                  <a:gd name="T44" fmla="*/ 114 w 290"/>
                  <a:gd name="T45" fmla="*/ 161 h 215"/>
                  <a:gd name="T46" fmla="*/ 116 w 290"/>
                  <a:gd name="T47" fmla="*/ 182 h 215"/>
                  <a:gd name="T48" fmla="*/ 126 w 290"/>
                  <a:gd name="T49" fmla="*/ 181 h 215"/>
                  <a:gd name="T50" fmla="*/ 141 w 290"/>
                  <a:gd name="T51" fmla="*/ 192 h 215"/>
                  <a:gd name="T52" fmla="*/ 152 w 290"/>
                  <a:gd name="T53" fmla="*/ 202 h 215"/>
                  <a:gd name="T54" fmla="*/ 152 w 290"/>
                  <a:gd name="T55" fmla="*/ 203 h 215"/>
                  <a:gd name="T56" fmla="*/ 165 w 290"/>
                  <a:gd name="T57" fmla="*/ 196 h 215"/>
                  <a:gd name="T58" fmla="*/ 170 w 290"/>
                  <a:gd name="T59" fmla="*/ 203 h 215"/>
                  <a:gd name="T60" fmla="*/ 174 w 290"/>
                  <a:gd name="T61" fmla="*/ 210 h 215"/>
                  <a:gd name="T62" fmla="*/ 184 w 290"/>
                  <a:gd name="T63" fmla="*/ 205 h 215"/>
                  <a:gd name="T64" fmla="*/ 193 w 290"/>
                  <a:gd name="T65" fmla="*/ 205 h 215"/>
                  <a:gd name="T66" fmla="*/ 209 w 290"/>
                  <a:gd name="T67" fmla="*/ 205 h 215"/>
                  <a:gd name="T68" fmla="*/ 243 w 290"/>
                  <a:gd name="T69" fmla="*/ 214 h 215"/>
                  <a:gd name="T70" fmla="*/ 250 w 290"/>
                  <a:gd name="T71" fmla="*/ 213 h 215"/>
                  <a:gd name="T72" fmla="*/ 266 w 290"/>
                  <a:gd name="T73" fmla="*/ 182 h 215"/>
                  <a:gd name="T74" fmla="*/ 280 w 290"/>
                  <a:gd name="T75" fmla="*/ 171 h 215"/>
                  <a:gd name="T76" fmla="*/ 287 w 290"/>
                  <a:gd name="T77" fmla="*/ 158 h 215"/>
                  <a:gd name="T78" fmla="*/ 287 w 290"/>
                  <a:gd name="T79" fmla="*/ 151 h 215"/>
                  <a:gd name="T80" fmla="*/ 276 w 290"/>
                  <a:gd name="T81" fmla="*/ 128 h 215"/>
                  <a:gd name="T82" fmla="*/ 273 w 290"/>
                  <a:gd name="T83" fmla="*/ 126 h 215"/>
                  <a:gd name="T84" fmla="*/ 274 w 290"/>
                  <a:gd name="T85" fmla="*/ 118 h 215"/>
                  <a:gd name="T86" fmla="*/ 274 w 290"/>
                  <a:gd name="T87" fmla="*/ 106 h 215"/>
                  <a:gd name="T88" fmla="*/ 265 w 290"/>
                  <a:gd name="T89" fmla="*/ 102 h 215"/>
                  <a:gd name="T90" fmla="*/ 285 w 290"/>
                  <a:gd name="T91" fmla="*/ 79 h 215"/>
                  <a:gd name="T92" fmla="*/ 280 w 290"/>
                  <a:gd name="T93" fmla="*/ 55 h 215"/>
                  <a:gd name="T94" fmla="*/ 272 w 290"/>
                  <a:gd name="T95" fmla="*/ 34 h 215"/>
                  <a:gd name="T96" fmla="*/ 262 w 290"/>
                  <a:gd name="T97" fmla="*/ 23 h 215"/>
                  <a:gd name="T98" fmla="*/ 256 w 290"/>
                  <a:gd name="T99" fmla="*/ 22 h 215"/>
                  <a:gd name="T100" fmla="*/ 169 w 290"/>
                  <a:gd name="T101" fmla="*/ 19 h 215"/>
                  <a:gd name="T102" fmla="*/ 158 w 290"/>
                  <a:gd name="T103" fmla="*/ 23 h 215"/>
                  <a:gd name="T104" fmla="*/ 164 w 290"/>
                  <a:gd name="T105" fmla="*/ 15 h 215"/>
                  <a:gd name="T106" fmla="*/ 133 w 290"/>
                  <a:gd name="T107" fmla="*/ 7 h 215"/>
                  <a:gd name="T108" fmla="*/ 124 w 290"/>
                  <a:gd name="T109" fmla="*/ 0 h 2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 h="215">
                    <a:moveTo>
                      <a:pt x="124" y="0"/>
                    </a:moveTo>
                    <a:cubicBezTo>
                      <a:pt x="119" y="0"/>
                      <a:pt x="115" y="1"/>
                      <a:pt x="111" y="2"/>
                    </a:cubicBezTo>
                    <a:cubicBezTo>
                      <a:pt x="100" y="5"/>
                      <a:pt x="88" y="9"/>
                      <a:pt x="77" y="12"/>
                    </a:cubicBezTo>
                    <a:cubicBezTo>
                      <a:pt x="75" y="13"/>
                      <a:pt x="72" y="20"/>
                      <a:pt x="69" y="22"/>
                    </a:cubicBezTo>
                    <a:cubicBezTo>
                      <a:pt x="62" y="26"/>
                      <a:pt x="52" y="25"/>
                      <a:pt x="44" y="27"/>
                    </a:cubicBezTo>
                    <a:cubicBezTo>
                      <a:pt x="37" y="29"/>
                      <a:pt x="30" y="31"/>
                      <a:pt x="23" y="32"/>
                    </a:cubicBezTo>
                    <a:cubicBezTo>
                      <a:pt x="21" y="33"/>
                      <a:pt x="14" y="34"/>
                      <a:pt x="13" y="36"/>
                    </a:cubicBezTo>
                    <a:cubicBezTo>
                      <a:pt x="12" y="34"/>
                      <a:pt x="7" y="32"/>
                      <a:pt x="6" y="31"/>
                    </a:cubicBezTo>
                    <a:cubicBezTo>
                      <a:pt x="7" y="32"/>
                      <a:pt x="6" y="32"/>
                      <a:pt x="7" y="32"/>
                    </a:cubicBezTo>
                    <a:cubicBezTo>
                      <a:pt x="7" y="32"/>
                      <a:pt x="7" y="32"/>
                      <a:pt x="7" y="32"/>
                    </a:cubicBezTo>
                    <a:cubicBezTo>
                      <a:pt x="2" y="34"/>
                      <a:pt x="0" y="39"/>
                      <a:pt x="5" y="39"/>
                    </a:cubicBezTo>
                    <a:cubicBezTo>
                      <a:pt x="5" y="39"/>
                      <a:pt x="6" y="39"/>
                      <a:pt x="6" y="39"/>
                    </a:cubicBezTo>
                    <a:cubicBezTo>
                      <a:pt x="7" y="38"/>
                      <a:pt x="7" y="38"/>
                      <a:pt x="8" y="38"/>
                    </a:cubicBezTo>
                    <a:cubicBezTo>
                      <a:pt x="8" y="38"/>
                      <a:pt x="8" y="38"/>
                      <a:pt x="9" y="38"/>
                    </a:cubicBezTo>
                    <a:cubicBezTo>
                      <a:pt x="9" y="38"/>
                      <a:pt x="9" y="38"/>
                      <a:pt x="10" y="38"/>
                    </a:cubicBezTo>
                    <a:cubicBezTo>
                      <a:pt x="10" y="38"/>
                      <a:pt x="11" y="38"/>
                      <a:pt x="11" y="38"/>
                    </a:cubicBezTo>
                    <a:cubicBezTo>
                      <a:pt x="12" y="38"/>
                      <a:pt x="12" y="38"/>
                      <a:pt x="12" y="38"/>
                    </a:cubicBezTo>
                    <a:cubicBezTo>
                      <a:pt x="16" y="38"/>
                      <a:pt x="20" y="38"/>
                      <a:pt x="24" y="39"/>
                    </a:cubicBezTo>
                    <a:cubicBezTo>
                      <a:pt x="24" y="40"/>
                      <a:pt x="23" y="42"/>
                      <a:pt x="23" y="42"/>
                    </a:cubicBezTo>
                    <a:cubicBezTo>
                      <a:pt x="23" y="44"/>
                      <a:pt x="24" y="46"/>
                      <a:pt x="23" y="48"/>
                    </a:cubicBezTo>
                    <a:cubicBezTo>
                      <a:pt x="22" y="47"/>
                      <a:pt x="20" y="45"/>
                      <a:pt x="17" y="45"/>
                    </a:cubicBezTo>
                    <a:cubicBezTo>
                      <a:pt x="18" y="49"/>
                      <a:pt x="18" y="49"/>
                      <a:pt x="18" y="49"/>
                    </a:cubicBezTo>
                    <a:cubicBezTo>
                      <a:pt x="19" y="49"/>
                      <a:pt x="19" y="50"/>
                      <a:pt x="19" y="50"/>
                    </a:cubicBezTo>
                    <a:cubicBezTo>
                      <a:pt x="19" y="51"/>
                      <a:pt x="19" y="51"/>
                      <a:pt x="19" y="51"/>
                    </a:cubicBezTo>
                    <a:cubicBezTo>
                      <a:pt x="20" y="55"/>
                      <a:pt x="21" y="59"/>
                      <a:pt x="21" y="65"/>
                    </a:cubicBezTo>
                    <a:cubicBezTo>
                      <a:pt x="20" y="67"/>
                      <a:pt x="20" y="70"/>
                      <a:pt x="18" y="72"/>
                    </a:cubicBezTo>
                    <a:cubicBezTo>
                      <a:pt x="17" y="73"/>
                      <a:pt x="17" y="73"/>
                      <a:pt x="17" y="73"/>
                    </a:cubicBezTo>
                    <a:cubicBezTo>
                      <a:pt x="16" y="74"/>
                      <a:pt x="15" y="74"/>
                      <a:pt x="15" y="74"/>
                    </a:cubicBezTo>
                    <a:cubicBezTo>
                      <a:pt x="15" y="75"/>
                      <a:pt x="15" y="75"/>
                      <a:pt x="15" y="75"/>
                    </a:cubicBezTo>
                    <a:cubicBezTo>
                      <a:pt x="16" y="76"/>
                      <a:pt x="16" y="76"/>
                      <a:pt x="16" y="76"/>
                    </a:cubicBezTo>
                    <a:cubicBezTo>
                      <a:pt x="18" y="78"/>
                      <a:pt x="18" y="78"/>
                      <a:pt x="18" y="78"/>
                    </a:cubicBezTo>
                    <a:cubicBezTo>
                      <a:pt x="20" y="80"/>
                      <a:pt x="21" y="81"/>
                      <a:pt x="23" y="82"/>
                    </a:cubicBezTo>
                    <a:cubicBezTo>
                      <a:pt x="24" y="83"/>
                      <a:pt x="26" y="84"/>
                      <a:pt x="26" y="85"/>
                    </a:cubicBezTo>
                    <a:cubicBezTo>
                      <a:pt x="27" y="85"/>
                      <a:pt x="27" y="85"/>
                      <a:pt x="27" y="85"/>
                    </a:cubicBezTo>
                    <a:cubicBezTo>
                      <a:pt x="28" y="89"/>
                      <a:pt x="27" y="92"/>
                      <a:pt x="26" y="93"/>
                    </a:cubicBezTo>
                    <a:cubicBezTo>
                      <a:pt x="25" y="94"/>
                      <a:pt x="25" y="94"/>
                      <a:pt x="25" y="95"/>
                    </a:cubicBezTo>
                    <a:cubicBezTo>
                      <a:pt x="25" y="95"/>
                      <a:pt x="26" y="96"/>
                      <a:pt x="26" y="96"/>
                    </a:cubicBezTo>
                    <a:cubicBezTo>
                      <a:pt x="27" y="98"/>
                      <a:pt x="27" y="98"/>
                      <a:pt x="27" y="98"/>
                    </a:cubicBezTo>
                    <a:cubicBezTo>
                      <a:pt x="29" y="100"/>
                      <a:pt x="29" y="100"/>
                      <a:pt x="29" y="100"/>
                    </a:cubicBezTo>
                    <a:cubicBezTo>
                      <a:pt x="29" y="101"/>
                      <a:pt x="29" y="102"/>
                      <a:pt x="30" y="103"/>
                    </a:cubicBezTo>
                    <a:cubicBezTo>
                      <a:pt x="30" y="105"/>
                      <a:pt x="30" y="106"/>
                      <a:pt x="30" y="107"/>
                    </a:cubicBezTo>
                    <a:cubicBezTo>
                      <a:pt x="30" y="111"/>
                      <a:pt x="29" y="113"/>
                      <a:pt x="27" y="117"/>
                    </a:cubicBezTo>
                    <a:cubicBezTo>
                      <a:pt x="27" y="117"/>
                      <a:pt x="28" y="118"/>
                      <a:pt x="29" y="120"/>
                    </a:cubicBezTo>
                    <a:cubicBezTo>
                      <a:pt x="29" y="121"/>
                      <a:pt x="29" y="121"/>
                      <a:pt x="29" y="121"/>
                    </a:cubicBezTo>
                    <a:cubicBezTo>
                      <a:pt x="30" y="122"/>
                      <a:pt x="30" y="124"/>
                      <a:pt x="30" y="124"/>
                    </a:cubicBezTo>
                    <a:cubicBezTo>
                      <a:pt x="31" y="125"/>
                      <a:pt x="31" y="125"/>
                      <a:pt x="31" y="126"/>
                    </a:cubicBezTo>
                    <a:cubicBezTo>
                      <a:pt x="31" y="126"/>
                      <a:pt x="31" y="126"/>
                      <a:pt x="31" y="126"/>
                    </a:cubicBezTo>
                    <a:cubicBezTo>
                      <a:pt x="31" y="126"/>
                      <a:pt x="31" y="126"/>
                      <a:pt x="31" y="126"/>
                    </a:cubicBezTo>
                    <a:cubicBezTo>
                      <a:pt x="32" y="127"/>
                      <a:pt x="32" y="127"/>
                      <a:pt x="32" y="127"/>
                    </a:cubicBezTo>
                    <a:cubicBezTo>
                      <a:pt x="34" y="128"/>
                      <a:pt x="36" y="130"/>
                      <a:pt x="38" y="133"/>
                    </a:cubicBezTo>
                    <a:cubicBezTo>
                      <a:pt x="38" y="135"/>
                      <a:pt x="38" y="136"/>
                      <a:pt x="38" y="137"/>
                    </a:cubicBezTo>
                    <a:cubicBezTo>
                      <a:pt x="39" y="138"/>
                      <a:pt x="39" y="138"/>
                      <a:pt x="39" y="138"/>
                    </a:cubicBezTo>
                    <a:cubicBezTo>
                      <a:pt x="39" y="139"/>
                      <a:pt x="38" y="139"/>
                      <a:pt x="38" y="140"/>
                    </a:cubicBezTo>
                    <a:cubicBezTo>
                      <a:pt x="38" y="141"/>
                      <a:pt x="38" y="141"/>
                      <a:pt x="38" y="141"/>
                    </a:cubicBezTo>
                    <a:cubicBezTo>
                      <a:pt x="38" y="142"/>
                      <a:pt x="38" y="143"/>
                      <a:pt x="38" y="143"/>
                    </a:cubicBezTo>
                    <a:cubicBezTo>
                      <a:pt x="39" y="144"/>
                      <a:pt x="39" y="144"/>
                      <a:pt x="39" y="144"/>
                    </a:cubicBezTo>
                    <a:cubicBezTo>
                      <a:pt x="42" y="145"/>
                      <a:pt x="43" y="146"/>
                      <a:pt x="44" y="148"/>
                    </a:cubicBezTo>
                    <a:cubicBezTo>
                      <a:pt x="45" y="149"/>
                      <a:pt x="45" y="149"/>
                      <a:pt x="45" y="149"/>
                    </a:cubicBezTo>
                    <a:cubicBezTo>
                      <a:pt x="46" y="150"/>
                      <a:pt x="47" y="152"/>
                      <a:pt x="47" y="152"/>
                    </a:cubicBezTo>
                    <a:cubicBezTo>
                      <a:pt x="48" y="152"/>
                      <a:pt x="48" y="152"/>
                      <a:pt x="48" y="152"/>
                    </a:cubicBezTo>
                    <a:cubicBezTo>
                      <a:pt x="48" y="153"/>
                      <a:pt x="48" y="153"/>
                      <a:pt x="48" y="153"/>
                    </a:cubicBezTo>
                    <a:cubicBezTo>
                      <a:pt x="49" y="153"/>
                      <a:pt x="49" y="153"/>
                      <a:pt x="49" y="153"/>
                    </a:cubicBezTo>
                    <a:cubicBezTo>
                      <a:pt x="51" y="153"/>
                      <a:pt x="51" y="153"/>
                      <a:pt x="51" y="153"/>
                    </a:cubicBezTo>
                    <a:cubicBezTo>
                      <a:pt x="66" y="157"/>
                      <a:pt x="66" y="157"/>
                      <a:pt x="66" y="157"/>
                    </a:cubicBezTo>
                    <a:cubicBezTo>
                      <a:pt x="66" y="157"/>
                      <a:pt x="66" y="157"/>
                      <a:pt x="66" y="157"/>
                    </a:cubicBezTo>
                    <a:cubicBezTo>
                      <a:pt x="66" y="157"/>
                      <a:pt x="67" y="157"/>
                      <a:pt x="68" y="156"/>
                    </a:cubicBezTo>
                    <a:cubicBezTo>
                      <a:pt x="69" y="156"/>
                      <a:pt x="70" y="156"/>
                      <a:pt x="71" y="156"/>
                    </a:cubicBezTo>
                    <a:cubicBezTo>
                      <a:pt x="72" y="156"/>
                      <a:pt x="73" y="157"/>
                      <a:pt x="74" y="157"/>
                    </a:cubicBezTo>
                    <a:cubicBezTo>
                      <a:pt x="75" y="158"/>
                      <a:pt x="77" y="160"/>
                      <a:pt x="77" y="162"/>
                    </a:cubicBezTo>
                    <a:cubicBezTo>
                      <a:pt x="77" y="163"/>
                      <a:pt x="77" y="163"/>
                      <a:pt x="77" y="163"/>
                    </a:cubicBezTo>
                    <a:cubicBezTo>
                      <a:pt x="77" y="165"/>
                      <a:pt x="77" y="167"/>
                      <a:pt x="76" y="168"/>
                    </a:cubicBezTo>
                    <a:cubicBezTo>
                      <a:pt x="75" y="170"/>
                      <a:pt x="75" y="170"/>
                      <a:pt x="75" y="170"/>
                    </a:cubicBezTo>
                    <a:cubicBezTo>
                      <a:pt x="75" y="170"/>
                      <a:pt x="75" y="170"/>
                      <a:pt x="75" y="170"/>
                    </a:cubicBezTo>
                    <a:cubicBezTo>
                      <a:pt x="76" y="171"/>
                      <a:pt x="76" y="171"/>
                      <a:pt x="76" y="171"/>
                    </a:cubicBezTo>
                    <a:cubicBezTo>
                      <a:pt x="77" y="172"/>
                      <a:pt x="78" y="172"/>
                      <a:pt x="79" y="173"/>
                    </a:cubicBezTo>
                    <a:cubicBezTo>
                      <a:pt x="80" y="174"/>
                      <a:pt x="81" y="176"/>
                      <a:pt x="82" y="176"/>
                    </a:cubicBezTo>
                    <a:cubicBezTo>
                      <a:pt x="82" y="176"/>
                      <a:pt x="82" y="176"/>
                      <a:pt x="82" y="176"/>
                    </a:cubicBezTo>
                    <a:cubicBezTo>
                      <a:pt x="82" y="176"/>
                      <a:pt x="84" y="176"/>
                      <a:pt x="84" y="175"/>
                    </a:cubicBezTo>
                    <a:cubicBezTo>
                      <a:pt x="85" y="175"/>
                      <a:pt x="85" y="175"/>
                      <a:pt x="85" y="175"/>
                    </a:cubicBezTo>
                    <a:cubicBezTo>
                      <a:pt x="86" y="174"/>
                      <a:pt x="87" y="174"/>
                      <a:pt x="87" y="173"/>
                    </a:cubicBezTo>
                    <a:cubicBezTo>
                      <a:pt x="87" y="173"/>
                      <a:pt x="87" y="173"/>
                      <a:pt x="87" y="172"/>
                    </a:cubicBezTo>
                    <a:cubicBezTo>
                      <a:pt x="83" y="163"/>
                      <a:pt x="83" y="163"/>
                      <a:pt x="83" y="163"/>
                    </a:cubicBezTo>
                    <a:cubicBezTo>
                      <a:pt x="93" y="166"/>
                      <a:pt x="93" y="166"/>
                      <a:pt x="93" y="166"/>
                    </a:cubicBezTo>
                    <a:cubicBezTo>
                      <a:pt x="94" y="166"/>
                      <a:pt x="95" y="167"/>
                      <a:pt x="96" y="167"/>
                    </a:cubicBezTo>
                    <a:cubicBezTo>
                      <a:pt x="96" y="167"/>
                      <a:pt x="96" y="167"/>
                      <a:pt x="96" y="167"/>
                    </a:cubicBezTo>
                    <a:cubicBezTo>
                      <a:pt x="97" y="167"/>
                      <a:pt x="97" y="167"/>
                      <a:pt x="98" y="168"/>
                    </a:cubicBezTo>
                    <a:cubicBezTo>
                      <a:pt x="99" y="168"/>
                      <a:pt x="99" y="168"/>
                      <a:pt x="99" y="168"/>
                    </a:cubicBezTo>
                    <a:cubicBezTo>
                      <a:pt x="99" y="168"/>
                      <a:pt x="100" y="168"/>
                      <a:pt x="101" y="168"/>
                    </a:cubicBezTo>
                    <a:cubicBezTo>
                      <a:pt x="102" y="169"/>
                      <a:pt x="102" y="169"/>
                      <a:pt x="102" y="169"/>
                    </a:cubicBezTo>
                    <a:cubicBezTo>
                      <a:pt x="104" y="169"/>
                      <a:pt x="107" y="170"/>
                      <a:pt x="109" y="170"/>
                    </a:cubicBezTo>
                    <a:cubicBezTo>
                      <a:pt x="109" y="170"/>
                      <a:pt x="109" y="170"/>
                      <a:pt x="109" y="170"/>
                    </a:cubicBezTo>
                    <a:cubicBezTo>
                      <a:pt x="114" y="161"/>
                      <a:pt x="114" y="161"/>
                      <a:pt x="114" y="161"/>
                    </a:cubicBezTo>
                    <a:cubicBezTo>
                      <a:pt x="115" y="172"/>
                      <a:pt x="115" y="172"/>
                      <a:pt x="115" y="172"/>
                    </a:cubicBezTo>
                    <a:cubicBezTo>
                      <a:pt x="116" y="175"/>
                      <a:pt x="115" y="178"/>
                      <a:pt x="114" y="180"/>
                    </a:cubicBezTo>
                    <a:cubicBezTo>
                      <a:pt x="114" y="180"/>
                      <a:pt x="114" y="180"/>
                      <a:pt x="114" y="180"/>
                    </a:cubicBezTo>
                    <a:cubicBezTo>
                      <a:pt x="115" y="181"/>
                      <a:pt x="116" y="182"/>
                      <a:pt x="116" y="182"/>
                    </a:cubicBezTo>
                    <a:cubicBezTo>
                      <a:pt x="117" y="182"/>
                      <a:pt x="117" y="182"/>
                      <a:pt x="117" y="182"/>
                    </a:cubicBezTo>
                    <a:cubicBezTo>
                      <a:pt x="117" y="182"/>
                      <a:pt x="117" y="182"/>
                      <a:pt x="117" y="182"/>
                    </a:cubicBezTo>
                    <a:cubicBezTo>
                      <a:pt x="119" y="181"/>
                      <a:pt x="120" y="180"/>
                      <a:pt x="122" y="180"/>
                    </a:cubicBezTo>
                    <a:cubicBezTo>
                      <a:pt x="123" y="180"/>
                      <a:pt x="124" y="180"/>
                      <a:pt x="126" y="181"/>
                    </a:cubicBezTo>
                    <a:cubicBezTo>
                      <a:pt x="128" y="178"/>
                      <a:pt x="128" y="178"/>
                      <a:pt x="128" y="178"/>
                    </a:cubicBezTo>
                    <a:cubicBezTo>
                      <a:pt x="127" y="182"/>
                      <a:pt x="127" y="182"/>
                      <a:pt x="127" y="182"/>
                    </a:cubicBezTo>
                    <a:cubicBezTo>
                      <a:pt x="128" y="183"/>
                      <a:pt x="129" y="183"/>
                      <a:pt x="130" y="184"/>
                    </a:cubicBezTo>
                    <a:cubicBezTo>
                      <a:pt x="134" y="186"/>
                      <a:pt x="138" y="188"/>
                      <a:pt x="141" y="192"/>
                    </a:cubicBezTo>
                    <a:cubicBezTo>
                      <a:pt x="142" y="194"/>
                      <a:pt x="143" y="195"/>
                      <a:pt x="144" y="197"/>
                    </a:cubicBezTo>
                    <a:cubicBezTo>
                      <a:pt x="145" y="198"/>
                      <a:pt x="145" y="198"/>
                      <a:pt x="145" y="198"/>
                    </a:cubicBezTo>
                    <a:cubicBezTo>
                      <a:pt x="145" y="198"/>
                      <a:pt x="146" y="199"/>
                      <a:pt x="146" y="200"/>
                    </a:cubicBezTo>
                    <a:cubicBezTo>
                      <a:pt x="152" y="202"/>
                      <a:pt x="152" y="202"/>
                      <a:pt x="152" y="202"/>
                    </a:cubicBezTo>
                    <a:cubicBezTo>
                      <a:pt x="151" y="203"/>
                      <a:pt x="151" y="203"/>
                      <a:pt x="151" y="203"/>
                    </a:cubicBezTo>
                    <a:cubicBezTo>
                      <a:pt x="152" y="203"/>
                      <a:pt x="152" y="203"/>
                      <a:pt x="152" y="203"/>
                    </a:cubicBezTo>
                    <a:cubicBezTo>
                      <a:pt x="152" y="203"/>
                      <a:pt x="152" y="203"/>
                      <a:pt x="152" y="203"/>
                    </a:cubicBezTo>
                    <a:cubicBezTo>
                      <a:pt x="152" y="203"/>
                      <a:pt x="152" y="203"/>
                      <a:pt x="152" y="203"/>
                    </a:cubicBezTo>
                    <a:cubicBezTo>
                      <a:pt x="154" y="202"/>
                      <a:pt x="156" y="201"/>
                      <a:pt x="158" y="200"/>
                    </a:cubicBezTo>
                    <a:cubicBezTo>
                      <a:pt x="159" y="199"/>
                      <a:pt x="159" y="199"/>
                      <a:pt x="159" y="199"/>
                    </a:cubicBezTo>
                    <a:cubicBezTo>
                      <a:pt x="160" y="199"/>
                      <a:pt x="161" y="198"/>
                      <a:pt x="161" y="198"/>
                    </a:cubicBezTo>
                    <a:cubicBezTo>
                      <a:pt x="165" y="196"/>
                      <a:pt x="165" y="196"/>
                      <a:pt x="165" y="196"/>
                    </a:cubicBezTo>
                    <a:cubicBezTo>
                      <a:pt x="166" y="199"/>
                      <a:pt x="166" y="199"/>
                      <a:pt x="166" y="199"/>
                    </a:cubicBezTo>
                    <a:cubicBezTo>
                      <a:pt x="167" y="201"/>
                      <a:pt x="168" y="202"/>
                      <a:pt x="169" y="203"/>
                    </a:cubicBezTo>
                    <a:cubicBezTo>
                      <a:pt x="169" y="203"/>
                      <a:pt x="169" y="203"/>
                      <a:pt x="169" y="203"/>
                    </a:cubicBezTo>
                    <a:cubicBezTo>
                      <a:pt x="170" y="203"/>
                      <a:pt x="170" y="203"/>
                      <a:pt x="170" y="203"/>
                    </a:cubicBezTo>
                    <a:cubicBezTo>
                      <a:pt x="174" y="203"/>
                      <a:pt x="174" y="203"/>
                      <a:pt x="174" y="203"/>
                    </a:cubicBezTo>
                    <a:cubicBezTo>
                      <a:pt x="174" y="206"/>
                      <a:pt x="174" y="206"/>
                      <a:pt x="174" y="206"/>
                    </a:cubicBezTo>
                    <a:cubicBezTo>
                      <a:pt x="174" y="207"/>
                      <a:pt x="174" y="208"/>
                      <a:pt x="174" y="209"/>
                    </a:cubicBezTo>
                    <a:cubicBezTo>
                      <a:pt x="174" y="210"/>
                      <a:pt x="174" y="210"/>
                      <a:pt x="174" y="210"/>
                    </a:cubicBezTo>
                    <a:cubicBezTo>
                      <a:pt x="174" y="210"/>
                      <a:pt x="174" y="210"/>
                      <a:pt x="174" y="210"/>
                    </a:cubicBezTo>
                    <a:cubicBezTo>
                      <a:pt x="175" y="210"/>
                      <a:pt x="176" y="209"/>
                      <a:pt x="177" y="209"/>
                    </a:cubicBezTo>
                    <a:cubicBezTo>
                      <a:pt x="178" y="208"/>
                      <a:pt x="178" y="208"/>
                      <a:pt x="178" y="208"/>
                    </a:cubicBezTo>
                    <a:cubicBezTo>
                      <a:pt x="181" y="207"/>
                      <a:pt x="182" y="206"/>
                      <a:pt x="184" y="205"/>
                    </a:cubicBezTo>
                    <a:cubicBezTo>
                      <a:pt x="185" y="205"/>
                      <a:pt x="187" y="205"/>
                      <a:pt x="188" y="204"/>
                    </a:cubicBezTo>
                    <a:cubicBezTo>
                      <a:pt x="189" y="204"/>
                      <a:pt x="189" y="204"/>
                      <a:pt x="189" y="204"/>
                    </a:cubicBezTo>
                    <a:cubicBezTo>
                      <a:pt x="189" y="204"/>
                      <a:pt x="190" y="204"/>
                      <a:pt x="190" y="204"/>
                    </a:cubicBezTo>
                    <a:cubicBezTo>
                      <a:pt x="191" y="204"/>
                      <a:pt x="192" y="204"/>
                      <a:pt x="193" y="205"/>
                    </a:cubicBezTo>
                    <a:cubicBezTo>
                      <a:pt x="194" y="205"/>
                      <a:pt x="195" y="205"/>
                      <a:pt x="196" y="205"/>
                    </a:cubicBezTo>
                    <a:cubicBezTo>
                      <a:pt x="200" y="206"/>
                      <a:pt x="202" y="207"/>
                      <a:pt x="203" y="207"/>
                    </a:cubicBezTo>
                    <a:cubicBezTo>
                      <a:pt x="204" y="207"/>
                      <a:pt x="204" y="207"/>
                      <a:pt x="204" y="207"/>
                    </a:cubicBezTo>
                    <a:cubicBezTo>
                      <a:pt x="209" y="205"/>
                      <a:pt x="209" y="205"/>
                      <a:pt x="209" y="205"/>
                    </a:cubicBezTo>
                    <a:cubicBezTo>
                      <a:pt x="212" y="204"/>
                      <a:pt x="214" y="203"/>
                      <a:pt x="217" y="203"/>
                    </a:cubicBezTo>
                    <a:cubicBezTo>
                      <a:pt x="217" y="203"/>
                      <a:pt x="217" y="203"/>
                      <a:pt x="217" y="203"/>
                    </a:cubicBezTo>
                    <a:cubicBezTo>
                      <a:pt x="225" y="203"/>
                      <a:pt x="231" y="207"/>
                      <a:pt x="238" y="211"/>
                    </a:cubicBezTo>
                    <a:cubicBezTo>
                      <a:pt x="239" y="212"/>
                      <a:pt x="241" y="213"/>
                      <a:pt x="243" y="214"/>
                    </a:cubicBezTo>
                    <a:cubicBezTo>
                      <a:pt x="244" y="214"/>
                      <a:pt x="245" y="214"/>
                      <a:pt x="246" y="214"/>
                    </a:cubicBezTo>
                    <a:cubicBezTo>
                      <a:pt x="247" y="215"/>
                      <a:pt x="248" y="215"/>
                      <a:pt x="249" y="215"/>
                    </a:cubicBezTo>
                    <a:cubicBezTo>
                      <a:pt x="250" y="215"/>
                      <a:pt x="250" y="215"/>
                      <a:pt x="250" y="215"/>
                    </a:cubicBezTo>
                    <a:cubicBezTo>
                      <a:pt x="250" y="214"/>
                      <a:pt x="250" y="214"/>
                      <a:pt x="250" y="213"/>
                    </a:cubicBezTo>
                    <a:cubicBezTo>
                      <a:pt x="250" y="212"/>
                      <a:pt x="250" y="211"/>
                      <a:pt x="250" y="211"/>
                    </a:cubicBezTo>
                    <a:cubicBezTo>
                      <a:pt x="250" y="210"/>
                      <a:pt x="250" y="210"/>
                      <a:pt x="250" y="210"/>
                    </a:cubicBezTo>
                    <a:cubicBezTo>
                      <a:pt x="249" y="204"/>
                      <a:pt x="249" y="200"/>
                      <a:pt x="251" y="197"/>
                    </a:cubicBezTo>
                    <a:cubicBezTo>
                      <a:pt x="266" y="182"/>
                      <a:pt x="266" y="182"/>
                      <a:pt x="266" y="182"/>
                    </a:cubicBezTo>
                    <a:cubicBezTo>
                      <a:pt x="267" y="182"/>
                      <a:pt x="267" y="181"/>
                      <a:pt x="268" y="180"/>
                    </a:cubicBezTo>
                    <a:cubicBezTo>
                      <a:pt x="271" y="177"/>
                      <a:pt x="273" y="174"/>
                      <a:pt x="276" y="172"/>
                    </a:cubicBezTo>
                    <a:cubicBezTo>
                      <a:pt x="277" y="172"/>
                      <a:pt x="278" y="172"/>
                      <a:pt x="279" y="171"/>
                    </a:cubicBezTo>
                    <a:cubicBezTo>
                      <a:pt x="280" y="171"/>
                      <a:pt x="280" y="171"/>
                      <a:pt x="280" y="171"/>
                    </a:cubicBezTo>
                    <a:cubicBezTo>
                      <a:pt x="283" y="170"/>
                      <a:pt x="287" y="168"/>
                      <a:pt x="288" y="167"/>
                    </a:cubicBezTo>
                    <a:cubicBezTo>
                      <a:pt x="288" y="166"/>
                      <a:pt x="289" y="163"/>
                      <a:pt x="290" y="162"/>
                    </a:cubicBezTo>
                    <a:cubicBezTo>
                      <a:pt x="289" y="161"/>
                      <a:pt x="289" y="161"/>
                      <a:pt x="289" y="161"/>
                    </a:cubicBezTo>
                    <a:cubicBezTo>
                      <a:pt x="288" y="160"/>
                      <a:pt x="287" y="159"/>
                      <a:pt x="287" y="158"/>
                    </a:cubicBezTo>
                    <a:cubicBezTo>
                      <a:pt x="286" y="156"/>
                      <a:pt x="286" y="154"/>
                      <a:pt x="287" y="152"/>
                    </a:cubicBezTo>
                    <a:cubicBezTo>
                      <a:pt x="287" y="151"/>
                      <a:pt x="287" y="151"/>
                      <a:pt x="287" y="151"/>
                    </a:cubicBezTo>
                    <a:cubicBezTo>
                      <a:pt x="287" y="151"/>
                      <a:pt x="287" y="151"/>
                      <a:pt x="287" y="151"/>
                    </a:cubicBezTo>
                    <a:cubicBezTo>
                      <a:pt x="287" y="151"/>
                      <a:pt x="287" y="151"/>
                      <a:pt x="287" y="151"/>
                    </a:cubicBezTo>
                    <a:cubicBezTo>
                      <a:pt x="283" y="146"/>
                      <a:pt x="281" y="141"/>
                      <a:pt x="279" y="137"/>
                    </a:cubicBezTo>
                    <a:cubicBezTo>
                      <a:pt x="279" y="135"/>
                      <a:pt x="278" y="133"/>
                      <a:pt x="277" y="132"/>
                    </a:cubicBezTo>
                    <a:cubicBezTo>
                      <a:pt x="277" y="131"/>
                      <a:pt x="276" y="130"/>
                      <a:pt x="276" y="130"/>
                    </a:cubicBezTo>
                    <a:cubicBezTo>
                      <a:pt x="276" y="128"/>
                      <a:pt x="276" y="128"/>
                      <a:pt x="276" y="128"/>
                    </a:cubicBezTo>
                    <a:cubicBezTo>
                      <a:pt x="275" y="128"/>
                      <a:pt x="275" y="128"/>
                      <a:pt x="275" y="128"/>
                    </a:cubicBezTo>
                    <a:cubicBezTo>
                      <a:pt x="269" y="130"/>
                      <a:pt x="269" y="130"/>
                      <a:pt x="269" y="130"/>
                    </a:cubicBezTo>
                    <a:cubicBezTo>
                      <a:pt x="274" y="126"/>
                      <a:pt x="274" y="126"/>
                      <a:pt x="274" y="126"/>
                    </a:cubicBezTo>
                    <a:cubicBezTo>
                      <a:pt x="273" y="126"/>
                      <a:pt x="273" y="126"/>
                      <a:pt x="273" y="126"/>
                    </a:cubicBezTo>
                    <a:cubicBezTo>
                      <a:pt x="275" y="125"/>
                      <a:pt x="275" y="125"/>
                      <a:pt x="275" y="125"/>
                    </a:cubicBezTo>
                    <a:cubicBezTo>
                      <a:pt x="274" y="124"/>
                      <a:pt x="274" y="124"/>
                      <a:pt x="274" y="123"/>
                    </a:cubicBezTo>
                    <a:cubicBezTo>
                      <a:pt x="274" y="122"/>
                      <a:pt x="274" y="122"/>
                      <a:pt x="274" y="122"/>
                    </a:cubicBezTo>
                    <a:cubicBezTo>
                      <a:pt x="274" y="121"/>
                      <a:pt x="274" y="120"/>
                      <a:pt x="274" y="118"/>
                    </a:cubicBezTo>
                    <a:cubicBezTo>
                      <a:pt x="274" y="118"/>
                      <a:pt x="275" y="117"/>
                      <a:pt x="275" y="116"/>
                    </a:cubicBezTo>
                    <a:cubicBezTo>
                      <a:pt x="275" y="115"/>
                      <a:pt x="275" y="115"/>
                      <a:pt x="275" y="115"/>
                    </a:cubicBezTo>
                    <a:cubicBezTo>
                      <a:pt x="276" y="111"/>
                      <a:pt x="277" y="109"/>
                      <a:pt x="276" y="108"/>
                    </a:cubicBezTo>
                    <a:cubicBezTo>
                      <a:pt x="276" y="108"/>
                      <a:pt x="274" y="107"/>
                      <a:pt x="274" y="106"/>
                    </a:cubicBezTo>
                    <a:cubicBezTo>
                      <a:pt x="273" y="106"/>
                      <a:pt x="273" y="106"/>
                      <a:pt x="273" y="106"/>
                    </a:cubicBezTo>
                    <a:cubicBezTo>
                      <a:pt x="272" y="105"/>
                      <a:pt x="271" y="105"/>
                      <a:pt x="270" y="104"/>
                    </a:cubicBezTo>
                    <a:cubicBezTo>
                      <a:pt x="269" y="104"/>
                      <a:pt x="269" y="104"/>
                      <a:pt x="269" y="104"/>
                    </a:cubicBezTo>
                    <a:cubicBezTo>
                      <a:pt x="268" y="103"/>
                      <a:pt x="266" y="103"/>
                      <a:pt x="265" y="102"/>
                    </a:cubicBezTo>
                    <a:cubicBezTo>
                      <a:pt x="261" y="99"/>
                      <a:pt x="261" y="99"/>
                      <a:pt x="261" y="99"/>
                    </a:cubicBezTo>
                    <a:cubicBezTo>
                      <a:pt x="281" y="82"/>
                      <a:pt x="281" y="82"/>
                      <a:pt x="281" y="82"/>
                    </a:cubicBezTo>
                    <a:cubicBezTo>
                      <a:pt x="281" y="82"/>
                      <a:pt x="282" y="81"/>
                      <a:pt x="282" y="81"/>
                    </a:cubicBezTo>
                    <a:cubicBezTo>
                      <a:pt x="283" y="80"/>
                      <a:pt x="284" y="79"/>
                      <a:pt x="285" y="79"/>
                    </a:cubicBezTo>
                    <a:cubicBezTo>
                      <a:pt x="285" y="78"/>
                      <a:pt x="285" y="78"/>
                      <a:pt x="285" y="78"/>
                    </a:cubicBezTo>
                    <a:cubicBezTo>
                      <a:pt x="285" y="78"/>
                      <a:pt x="285" y="78"/>
                      <a:pt x="285" y="78"/>
                    </a:cubicBezTo>
                    <a:cubicBezTo>
                      <a:pt x="286" y="75"/>
                      <a:pt x="285" y="69"/>
                      <a:pt x="284" y="66"/>
                    </a:cubicBezTo>
                    <a:cubicBezTo>
                      <a:pt x="283" y="62"/>
                      <a:pt x="281" y="59"/>
                      <a:pt x="280" y="55"/>
                    </a:cubicBezTo>
                    <a:cubicBezTo>
                      <a:pt x="279" y="54"/>
                      <a:pt x="279" y="54"/>
                      <a:pt x="279" y="54"/>
                    </a:cubicBezTo>
                    <a:cubicBezTo>
                      <a:pt x="276" y="48"/>
                      <a:pt x="275" y="42"/>
                      <a:pt x="273" y="37"/>
                    </a:cubicBezTo>
                    <a:cubicBezTo>
                      <a:pt x="273" y="34"/>
                      <a:pt x="273" y="34"/>
                      <a:pt x="273" y="34"/>
                    </a:cubicBezTo>
                    <a:cubicBezTo>
                      <a:pt x="272" y="34"/>
                      <a:pt x="272" y="34"/>
                      <a:pt x="272" y="34"/>
                    </a:cubicBezTo>
                    <a:cubicBezTo>
                      <a:pt x="272" y="32"/>
                      <a:pt x="271" y="31"/>
                      <a:pt x="270" y="29"/>
                    </a:cubicBezTo>
                    <a:cubicBezTo>
                      <a:pt x="270" y="29"/>
                      <a:pt x="270" y="29"/>
                      <a:pt x="270" y="29"/>
                    </a:cubicBezTo>
                    <a:cubicBezTo>
                      <a:pt x="269" y="27"/>
                      <a:pt x="267" y="26"/>
                      <a:pt x="266" y="25"/>
                    </a:cubicBezTo>
                    <a:cubicBezTo>
                      <a:pt x="265" y="24"/>
                      <a:pt x="264" y="24"/>
                      <a:pt x="262" y="23"/>
                    </a:cubicBezTo>
                    <a:cubicBezTo>
                      <a:pt x="262" y="23"/>
                      <a:pt x="262" y="23"/>
                      <a:pt x="262" y="23"/>
                    </a:cubicBezTo>
                    <a:cubicBezTo>
                      <a:pt x="261" y="22"/>
                      <a:pt x="259" y="22"/>
                      <a:pt x="257" y="22"/>
                    </a:cubicBezTo>
                    <a:cubicBezTo>
                      <a:pt x="257" y="22"/>
                      <a:pt x="257" y="22"/>
                      <a:pt x="257" y="22"/>
                    </a:cubicBezTo>
                    <a:cubicBezTo>
                      <a:pt x="256" y="22"/>
                      <a:pt x="256" y="22"/>
                      <a:pt x="256" y="22"/>
                    </a:cubicBezTo>
                    <a:cubicBezTo>
                      <a:pt x="255" y="22"/>
                      <a:pt x="254" y="22"/>
                      <a:pt x="253" y="22"/>
                    </a:cubicBezTo>
                    <a:cubicBezTo>
                      <a:pt x="245" y="23"/>
                      <a:pt x="237" y="23"/>
                      <a:pt x="228" y="23"/>
                    </a:cubicBezTo>
                    <a:cubicBezTo>
                      <a:pt x="210" y="23"/>
                      <a:pt x="190" y="22"/>
                      <a:pt x="170" y="19"/>
                    </a:cubicBezTo>
                    <a:cubicBezTo>
                      <a:pt x="169" y="19"/>
                      <a:pt x="169" y="19"/>
                      <a:pt x="169" y="19"/>
                    </a:cubicBezTo>
                    <a:cubicBezTo>
                      <a:pt x="169" y="18"/>
                      <a:pt x="169" y="18"/>
                      <a:pt x="169" y="18"/>
                    </a:cubicBezTo>
                    <a:cubicBezTo>
                      <a:pt x="167" y="17"/>
                      <a:pt x="167" y="17"/>
                      <a:pt x="167" y="17"/>
                    </a:cubicBezTo>
                    <a:cubicBezTo>
                      <a:pt x="165" y="19"/>
                      <a:pt x="162" y="20"/>
                      <a:pt x="160" y="21"/>
                    </a:cubicBezTo>
                    <a:cubicBezTo>
                      <a:pt x="159" y="22"/>
                      <a:pt x="160" y="23"/>
                      <a:pt x="158" y="23"/>
                    </a:cubicBezTo>
                    <a:cubicBezTo>
                      <a:pt x="158" y="23"/>
                      <a:pt x="158" y="23"/>
                      <a:pt x="158" y="23"/>
                    </a:cubicBezTo>
                    <a:cubicBezTo>
                      <a:pt x="156" y="23"/>
                      <a:pt x="155" y="21"/>
                      <a:pt x="155" y="20"/>
                    </a:cubicBezTo>
                    <a:cubicBezTo>
                      <a:pt x="159" y="18"/>
                      <a:pt x="163" y="16"/>
                      <a:pt x="167" y="15"/>
                    </a:cubicBezTo>
                    <a:cubicBezTo>
                      <a:pt x="166" y="15"/>
                      <a:pt x="165" y="15"/>
                      <a:pt x="164" y="15"/>
                    </a:cubicBezTo>
                    <a:cubicBezTo>
                      <a:pt x="159" y="15"/>
                      <a:pt x="152" y="18"/>
                      <a:pt x="147" y="19"/>
                    </a:cubicBezTo>
                    <a:cubicBezTo>
                      <a:pt x="147" y="19"/>
                      <a:pt x="147" y="19"/>
                      <a:pt x="146" y="19"/>
                    </a:cubicBezTo>
                    <a:cubicBezTo>
                      <a:pt x="144" y="19"/>
                      <a:pt x="137" y="17"/>
                      <a:pt x="136" y="15"/>
                    </a:cubicBezTo>
                    <a:cubicBezTo>
                      <a:pt x="135" y="14"/>
                      <a:pt x="134" y="9"/>
                      <a:pt x="133" y="7"/>
                    </a:cubicBezTo>
                    <a:cubicBezTo>
                      <a:pt x="132" y="6"/>
                      <a:pt x="131" y="4"/>
                      <a:pt x="132" y="3"/>
                    </a:cubicBezTo>
                    <a:cubicBezTo>
                      <a:pt x="132" y="2"/>
                      <a:pt x="132" y="2"/>
                      <a:pt x="133" y="2"/>
                    </a:cubicBezTo>
                    <a:cubicBezTo>
                      <a:pt x="135" y="2"/>
                      <a:pt x="142" y="7"/>
                      <a:pt x="143" y="8"/>
                    </a:cubicBezTo>
                    <a:cubicBezTo>
                      <a:pt x="138" y="2"/>
                      <a:pt x="131" y="0"/>
                      <a:pt x="1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308"/>
              <p:cNvSpPr/>
              <p:nvPr/>
            </p:nvSpPr>
            <p:spPr bwMode="auto">
              <a:xfrm flipH="1">
                <a:off x="5693504" y="3810410"/>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309"/>
              <p:cNvSpPr/>
              <p:nvPr/>
            </p:nvSpPr>
            <p:spPr bwMode="auto">
              <a:xfrm flipH="1">
                <a:off x="5693504" y="3810410"/>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Rectangle 310"/>
              <p:cNvSpPr>
                <a:spLocks noChangeArrowheads="1"/>
              </p:cNvSpPr>
              <p:nvPr/>
            </p:nvSpPr>
            <p:spPr bwMode="auto">
              <a:xfrm>
                <a:off x="6194680" y="406099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311"/>
              <p:cNvSpPr/>
              <p:nvPr/>
            </p:nvSpPr>
            <p:spPr bwMode="auto">
              <a:xfrm flipH="1">
                <a:off x="6194680" y="406099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312"/>
              <p:cNvSpPr/>
              <p:nvPr/>
            </p:nvSpPr>
            <p:spPr bwMode="auto">
              <a:xfrm flipH="1">
                <a:off x="6994350" y="4403714"/>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313"/>
              <p:cNvSpPr/>
              <p:nvPr/>
            </p:nvSpPr>
            <p:spPr bwMode="auto">
              <a:xfrm flipH="1">
                <a:off x="6994350" y="4403714"/>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314"/>
              <p:cNvSpPr/>
              <p:nvPr/>
            </p:nvSpPr>
            <p:spPr bwMode="auto">
              <a:xfrm>
                <a:off x="6784298" y="4182607"/>
                <a:ext cx="261643" cy="320605"/>
              </a:xfrm>
              <a:custGeom>
                <a:gdLst>
                  <a:gd name="T0" fmla="*/ 7 w 83"/>
                  <a:gd name="T1" fmla="*/ 3 h 100"/>
                  <a:gd name="T2" fmla="*/ 5 w 83"/>
                  <a:gd name="T3" fmla="*/ 3 h 100"/>
                  <a:gd name="T4" fmla="*/ 0 w 83"/>
                  <a:gd name="T5" fmla="*/ 3 h 100"/>
                  <a:gd name="T6" fmla="*/ 1 w 83"/>
                  <a:gd name="T7" fmla="*/ 3 h 100"/>
                  <a:gd name="T8" fmla="*/ 7 w 83"/>
                  <a:gd name="T9" fmla="*/ 7 h 100"/>
                  <a:gd name="T10" fmla="*/ 11 w 83"/>
                  <a:gd name="T11" fmla="*/ 14 h 100"/>
                  <a:gd name="T12" fmla="*/ 13 w 83"/>
                  <a:gd name="T13" fmla="*/ 19 h 100"/>
                  <a:gd name="T14" fmla="*/ 26 w 83"/>
                  <a:gd name="T15" fmla="*/ 38 h 100"/>
                  <a:gd name="T16" fmla="*/ 35 w 83"/>
                  <a:gd name="T17" fmla="*/ 46 h 100"/>
                  <a:gd name="T18" fmla="*/ 38 w 83"/>
                  <a:gd name="T19" fmla="*/ 55 h 100"/>
                  <a:gd name="T20" fmla="*/ 41 w 83"/>
                  <a:gd name="T21" fmla="*/ 73 h 100"/>
                  <a:gd name="T22" fmla="*/ 37 w 83"/>
                  <a:gd name="T23" fmla="*/ 91 h 100"/>
                  <a:gd name="T24" fmla="*/ 36 w 83"/>
                  <a:gd name="T25" fmla="*/ 97 h 100"/>
                  <a:gd name="T26" fmla="*/ 37 w 83"/>
                  <a:gd name="T27" fmla="*/ 100 h 100"/>
                  <a:gd name="T28" fmla="*/ 40 w 83"/>
                  <a:gd name="T29" fmla="*/ 98 h 100"/>
                  <a:gd name="T30" fmla="*/ 43 w 83"/>
                  <a:gd name="T31" fmla="*/ 94 h 100"/>
                  <a:gd name="T32" fmla="*/ 47 w 83"/>
                  <a:gd name="T33" fmla="*/ 90 h 100"/>
                  <a:gd name="T34" fmla="*/ 49 w 83"/>
                  <a:gd name="T35" fmla="*/ 88 h 100"/>
                  <a:gd name="T36" fmla="*/ 50 w 83"/>
                  <a:gd name="T37" fmla="*/ 85 h 100"/>
                  <a:gd name="T38" fmla="*/ 54 w 83"/>
                  <a:gd name="T39" fmla="*/ 82 h 100"/>
                  <a:gd name="T40" fmla="*/ 54 w 83"/>
                  <a:gd name="T41" fmla="*/ 81 h 100"/>
                  <a:gd name="T42" fmla="*/ 56 w 83"/>
                  <a:gd name="T43" fmla="*/ 78 h 100"/>
                  <a:gd name="T44" fmla="*/ 55 w 83"/>
                  <a:gd name="T45" fmla="*/ 76 h 100"/>
                  <a:gd name="T46" fmla="*/ 56 w 83"/>
                  <a:gd name="T47" fmla="*/ 71 h 100"/>
                  <a:gd name="T48" fmla="*/ 61 w 83"/>
                  <a:gd name="T49" fmla="*/ 64 h 100"/>
                  <a:gd name="T50" fmla="*/ 65 w 83"/>
                  <a:gd name="T51" fmla="*/ 66 h 100"/>
                  <a:gd name="T52" fmla="*/ 66 w 83"/>
                  <a:gd name="T53" fmla="*/ 67 h 100"/>
                  <a:gd name="T54" fmla="*/ 69 w 83"/>
                  <a:gd name="T55" fmla="*/ 66 h 100"/>
                  <a:gd name="T56" fmla="*/ 73 w 83"/>
                  <a:gd name="T57" fmla="*/ 65 h 100"/>
                  <a:gd name="T58" fmla="*/ 75 w 83"/>
                  <a:gd name="T59" fmla="*/ 65 h 100"/>
                  <a:gd name="T60" fmla="*/ 77 w 83"/>
                  <a:gd name="T61" fmla="*/ 67 h 100"/>
                  <a:gd name="T62" fmla="*/ 79 w 83"/>
                  <a:gd name="T63" fmla="*/ 68 h 100"/>
                  <a:gd name="T64" fmla="*/ 80 w 83"/>
                  <a:gd name="T65" fmla="*/ 68 h 100"/>
                  <a:gd name="T66" fmla="*/ 83 w 83"/>
                  <a:gd name="T67" fmla="*/ 68 h 100"/>
                  <a:gd name="T68" fmla="*/ 83 w 83"/>
                  <a:gd name="T69" fmla="*/ 61 h 100"/>
                  <a:gd name="T70" fmla="*/ 83 w 83"/>
                  <a:gd name="T71" fmla="*/ 57 h 100"/>
                  <a:gd name="T72" fmla="*/ 77 w 83"/>
                  <a:gd name="T73" fmla="*/ 61 h 100"/>
                  <a:gd name="T74" fmla="*/ 79 w 83"/>
                  <a:gd name="T75" fmla="*/ 56 h 100"/>
                  <a:gd name="T76" fmla="*/ 67 w 83"/>
                  <a:gd name="T77" fmla="*/ 42 h 100"/>
                  <a:gd name="T78" fmla="*/ 71 w 83"/>
                  <a:gd name="T79" fmla="*/ 42 h 100"/>
                  <a:gd name="T80" fmla="*/ 70 w 83"/>
                  <a:gd name="T81" fmla="*/ 41 h 100"/>
                  <a:gd name="T82" fmla="*/ 60 w 83"/>
                  <a:gd name="T83" fmla="*/ 29 h 100"/>
                  <a:gd name="T84" fmla="*/ 61 w 83"/>
                  <a:gd name="T85" fmla="*/ 27 h 100"/>
                  <a:gd name="T86" fmla="*/ 62 w 83"/>
                  <a:gd name="T87" fmla="*/ 25 h 100"/>
                  <a:gd name="T88" fmla="*/ 63 w 83"/>
                  <a:gd name="T89" fmla="*/ 18 h 100"/>
                  <a:gd name="T90" fmla="*/ 61 w 83"/>
                  <a:gd name="T91" fmla="*/ 18 h 100"/>
                  <a:gd name="T92" fmla="*/ 51 w 83"/>
                  <a:gd name="T93" fmla="*/ 15 h 100"/>
                  <a:gd name="T94" fmla="*/ 41 w 83"/>
                  <a:gd name="T95" fmla="*/ 10 h 100"/>
                  <a:gd name="T96" fmla="*/ 22 w 83"/>
                  <a:gd name="T97" fmla="*/ 1 h 100"/>
                  <a:gd name="T98" fmla="*/ 18 w 83"/>
                  <a:gd name="T99" fmla="*/ 0 h 1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 h="100">
                    <a:moveTo>
                      <a:pt x="18" y="0"/>
                    </a:moveTo>
                    <a:cubicBezTo>
                      <a:pt x="14" y="2"/>
                      <a:pt x="11" y="3"/>
                      <a:pt x="7" y="3"/>
                    </a:cubicBezTo>
                    <a:cubicBezTo>
                      <a:pt x="6" y="3"/>
                      <a:pt x="6" y="3"/>
                      <a:pt x="5" y="3"/>
                    </a:cubicBezTo>
                    <a:cubicBezTo>
                      <a:pt x="5" y="3"/>
                      <a:pt x="5" y="3"/>
                      <a:pt x="5" y="3"/>
                    </a:cubicBezTo>
                    <a:cubicBezTo>
                      <a:pt x="4" y="3"/>
                      <a:pt x="3" y="3"/>
                      <a:pt x="2" y="3"/>
                    </a:cubicBezTo>
                    <a:cubicBezTo>
                      <a:pt x="1" y="3"/>
                      <a:pt x="1" y="3"/>
                      <a:pt x="0" y="3"/>
                    </a:cubicBezTo>
                    <a:cubicBezTo>
                      <a:pt x="0" y="3"/>
                      <a:pt x="0" y="3"/>
                      <a:pt x="0" y="3"/>
                    </a:cubicBezTo>
                    <a:cubicBezTo>
                      <a:pt x="1" y="3"/>
                      <a:pt x="1" y="3"/>
                      <a:pt x="1" y="3"/>
                    </a:cubicBezTo>
                    <a:cubicBezTo>
                      <a:pt x="2" y="4"/>
                      <a:pt x="3" y="4"/>
                      <a:pt x="4" y="5"/>
                    </a:cubicBezTo>
                    <a:cubicBezTo>
                      <a:pt x="5" y="5"/>
                      <a:pt x="6" y="6"/>
                      <a:pt x="7" y="7"/>
                    </a:cubicBezTo>
                    <a:cubicBezTo>
                      <a:pt x="8" y="9"/>
                      <a:pt x="9" y="11"/>
                      <a:pt x="10" y="12"/>
                    </a:cubicBezTo>
                    <a:cubicBezTo>
                      <a:pt x="10" y="13"/>
                      <a:pt x="11" y="14"/>
                      <a:pt x="11" y="14"/>
                    </a:cubicBezTo>
                    <a:cubicBezTo>
                      <a:pt x="11" y="15"/>
                      <a:pt x="12" y="15"/>
                      <a:pt x="12" y="16"/>
                    </a:cubicBezTo>
                    <a:cubicBezTo>
                      <a:pt x="13" y="19"/>
                      <a:pt x="13" y="19"/>
                      <a:pt x="13" y="19"/>
                    </a:cubicBezTo>
                    <a:cubicBezTo>
                      <a:pt x="14" y="21"/>
                      <a:pt x="16" y="24"/>
                      <a:pt x="17" y="26"/>
                    </a:cubicBezTo>
                    <a:cubicBezTo>
                      <a:pt x="20" y="31"/>
                      <a:pt x="23" y="34"/>
                      <a:pt x="26" y="38"/>
                    </a:cubicBezTo>
                    <a:cubicBezTo>
                      <a:pt x="27" y="39"/>
                      <a:pt x="27" y="39"/>
                      <a:pt x="27" y="39"/>
                    </a:cubicBezTo>
                    <a:cubicBezTo>
                      <a:pt x="30" y="41"/>
                      <a:pt x="33" y="43"/>
                      <a:pt x="35" y="46"/>
                    </a:cubicBezTo>
                    <a:cubicBezTo>
                      <a:pt x="36" y="48"/>
                      <a:pt x="37" y="51"/>
                      <a:pt x="37" y="52"/>
                    </a:cubicBezTo>
                    <a:cubicBezTo>
                      <a:pt x="38" y="54"/>
                      <a:pt x="38" y="55"/>
                      <a:pt x="38" y="55"/>
                    </a:cubicBezTo>
                    <a:cubicBezTo>
                      <a:pt x="39" y="58"/>
                      <a:pt x="40" y="60"/>
                      <a:pt x="41" y="62"/>
                    </a:cubicBezTo>
                    <a:cubicBezTo>
                      <a:pt x="42" y="66"/>
                      <a:pt x="42" y="69"/>
                      <a:pt x="41" y="73"/>
                    </a:cubicBezTo>
                    <a:cubicBezTo>
                      <a:pt x="38" y="79"/>
                      <a:pt x="37" y="83"/>
                      <a:pt x="37" y="88"/>
                    </a:cubicBezTo>
                    <a:cubicBezTo>
                      <a:pt x="37" y="89"/>
                      <a:pt x="37" y="90"/>
                      <a:pt x="37" y="91"/>
                    </a:cubicBezTo>
                    <a:cubicBezTo>
                      <a:pt x="37" y="92"/>
                      <a:pt x="37" y="92"/>
                      <a:pt x="37" y="92"/>
                    </a:cubicBezTo>
                    <a:cubicBezTo>
                      <a:pt x="37" y="94"/>
                      <a:pt x="36" y="96"/>
                      <a:pt x="36" y="97"/>
                    </a:cubicBezTo>
                    <a:cubicBezTo>
                      <a:pt x="37" y="98"/>
                      <a:pt x="37" y="99"/>
                      <a:pt x="37" y="99"/>
                    </a:cubicBezTo>
                    <a:cubicBezTo>
                      <a:pt x="37" y="99"/>
                      <a:pt x="37" y="99"/>
                      <a:pt x="37" y="100"/>
                    </a:cubicBezTo>
                    <a:cubicBezTo>
                      <a:pt x="38" y="99"/>
                      <a:pt x="39" y="99"/>
                      <a:pt x="39" y="98"/>
                    </a:cubicBezTo>
                    <a:cubicBezTo>
                      <a:pt x="40" y="98"/>
                      <a:pt x="40" y="98"/>
                      <a:pt x="40" y="98"/>
                    </a:cubicBezTo>
                    <a:cubicBezTo>
                      <a:pt x="40" y="98"/>
                      <a:pt x="41" y="97"/>
                      <a:pt x="42" y="97"/>
                    </a:cubicBezTo>
                    <a:cubicBezTo>
                      <a:pt x="42" y="96"/>
                      <a:pt x="42" y="95"/>
                      <a:pt x="43" y="94"/>
                    </a:cubicBezTo>
                    <a:cubicBezTo>
                      <a:pt x="44" y="92"/>
                      <a:pt x="45" y="91"/>
                      <a:pt x="46" y="90"/>
                    </a:cubicBezTo>
                    <a:cubicBezTo>
                      <a:pt x="47" y="90"/>
                      <a:pt x="47" y="90"/>
                      <a:pt x="47" y="90"/>
                    </a:cubicBezTo>
                    <a:cubicBezTo>
                      <a:pt x="47" y="90"/>
                      <a:pt x="48" y="89"/>
                      <a:pt x="48" y="89"/>
                    </a:cubicBezTo>
                    <a:cubicBezTo>
                      <a:pt x="49" y="88"/>
                      <a:pt x="49" y="88"/>
                      <a:pt x="49" y="88"/>
                    </a:cubicBezTo>
                    <a:cubicBezTo>
                      <a:pt x="49" y="88"/>
                      <a:pt x="49" y="88"/>
                      <a:pt x="49" y="88"/>
                    </a:cubicBezTo>
                    <a:cubicBezTo>
                      <a:pt x="50" y="87"/>
                      <a:pt x="50" y="86"/>
                      <a:pt x="50" y="85"/>
                    </a:cubicBezTo>
                    <a:cubicBezTo>
                      <a:pt x="51" y="84"/>
                      <a:pt x="52" y="83"/>
                      <a:pt x="54" y="82"/>
                    </a:cubicBezTo>
                    <a:cubicBezTo>
                      <a:pt x="54" y="82"/>
                      <a:pt x="54" y="82"/>
                      <a:pt x="54" y="82"/>
                    </a:cubicBezTo>
                    <a:cubicBezTo>
                      <a:pt x="54" y="82"/>
                      <a:pt x="54" y="82"/>
                      <a:pt x="54" y="82"/>
                    </a:cubicBezTo>
                    <a:cubicBezTo>
                      <a:pt x="54" y="81"/>
                      <a:pt x="54" y="81"/>
                      <a:pt x="54" y="81"/>
                    </a:cubicBezTo>
                    <a:cubicBezTo>
                      <a:pt x="55" y="79"/>
                      <a:pt x="55" y="79"/>
                      <a:pt x="55" y="79"/>
                    </a:cubicBezTo>
                    <a:cubicBezTo>
                      <a:pt x="55" y="79"/>
                      <a:pt x="55" y="78"/>
                      <a:pt x="56" y="78"/>
                    </a:cubicBezTo>
                    <a:cubicBezTo>
                      <a:pt x="55" y="77"/>
                      <a:pt x="55" y="77"/>
                      <a:pt x="55" y="77"/>
                    </a:cubicBezTo>
                    <a:cubicBezTo>
                      <a:pt x="55" y="76"/>
                      <a:pt x="55" y="76"/>
                      <a:pt x="55" y="76"/>
                    </a:cubicBezTo>
                    <a:cubicBezTo>
                      <a:pt x="55" y="74"/>
                      <a:pt x="55" y="73"/>
                      <a:pt x="56" y="71"/>
                    </a:cubicBezTo>
                    <a:cubicBezTo>
                      <a:pt x="56" y="71"/>
                      <a:pt x="56" y="71"/>
                      <a:pt x="56" y="71"/>
                    </a:cubicBezTo>
                    <a:cubicBezTo>
                      <a:pt x="56" y="69"/>
                      <a:pt x="56" y="65"/>
                      <a:pt x="60" y="64"/>
                    </a:cubicBezTo>
                    <a:cubicBezTo>
                      <a:pt x="61" y="64"/>
                      <a:pt x="61" y="64"/>
                      <a:pt x="61" y="64"/>
                    </a:cubicBezTo>
                    <a:cubicBezTo>
                      <a:pt x="61" y="64"/>
                      <a:pt x="61" y="64"/>
                      <a:pt x="61" y="64"/>
                    </a:cubicBezTo>
                    <a:cubicBezTo>
                      <a:pt x="63" y="64"/>
                      <a:pt x="64" y="65"/>
                      <a:pt x="65" y="66"/>
                    </a:cubicBezTo>
                    <a:cubicBezTo>
                      <a:pt x="65" y="66"/>
                      <a:pt x="66" y="66"/>
                      <a:pt x="66" y="67"/>
                    </a:cubicBezTo>
                    <a:cubicBezTo>
                      <a:pt x="66" y="67"/>
                      <a:pt x="66" y="67"/>
                      <a:pt x="66" y="67"/>
                    </a:cubicBezTo>
                    <a:cubicBezTo>
                      <a:pt x="67" y="67"/>
                      <a:pt x="67" y="67"/>
                      <a:pt x="67" y="67"/>
                    </a:cubicBezTo>
                    <a:cubicBezTo>
                      <a:pt x="67" y="67"/>
                      <a:pt x="68" y="66"/>
                      <a:pt x="69" y="66"/>
                    </a:cubicBezTo>
                    <a:cubicBezTo>
                      <a:pt x="70" y="65"/>
                      <a:pt x="71" y="65"/>
                      <a:pt x="72" y="65"/>
                    </a:cubicBezTo>
                    <a:cubicBezTo>
                      <a:pt x="73" y="65"/>
                      <a:pt x="73" y="65"/>
                      <a:pt x="73" y="65"/>
                    </a:cubicBezTo>
                    <a:cubicBezTo>
                      <a:pt x="74" y="65"/>
                      <a:pt x="74" y="65"/>
                      <a:pt x="74" y="65"/>
                    </a:cubicBezTo>
                    <a:cubicBezTo>
                      <a:pt x="75" y="65"/>
                      <a:pt x="75" y="65"/>
                      <a:pt x="75" y="65"/>
                    </a:cubicBezTo>
                    <a:cubicBezTo>
                      <a:pt x="75" y="66"/>
                      <a:pt x="76" y="66"/>
                      <a:pt x="76" y="66"/>
                    </a:cubicBezTo>
                    <a:cubicBezTo>
                      <a:pt x="77" y="67"/>
                      <a:pt x="77" y="67"/>
                      <a:pt x="77" y="67"/>
                    </a:cubicBezTo>
                    <a:cubicBezTo>
                      <a:pt x="78" y="68"/>
                      <a:pt x="78" y="68"/>
                      <a:pt x="78" y="68"/>
                    </a:cubicBezTo>
                    <a:cubicBezTo>
                      <a:pt x="79" y="68"/>
                      <a:pt x="79" y="68"/>
                      <a:pt x="79" y="68"/>
                    </a:cubicBezTo>
                    <a:cubicBezTo>
                      <a:pt x="79" y="68"/>
                      <a:pt x="79" y="68"/>
                      <a:pt x="79" y="68"/>
                    </a:cubicBezTo>
                    <a:cubicBezTo>
                      <a:pt x="79" y="68"/>
                      <a:pt x="80" y="68"/>
                      <a:pt x="80" y="68"/>
                    </a:cubicBezTo>
                    <a:cubicBezTo>
                      <a:pt x="81" y="68"/>
                      <a:pt x="81" y="68"/>
                      <a:pt x="81" y="68"/>
                    </a:cubicBezTo>
                    <a:cubicBezTo>
                      <a:pt x="81" y="68"/>
                      <a:pt x="82" y="68"/>
                      <a:pt x="83" y="68"/>
                    </a:cubicBezTo>
                    <a:cubicBezTo>
                      <a:pt x="83" y="68"/>
                      <a:pt x="83" y="68"/>
                      <a:pt x="83" y="68"/>
                    </a:cubicBezTo>
                    <a:cubicBezTo>
                      <a:pt x="82" y="65"/>
                      <a:pt x="82" y="63"/>
                      <a:pt x="83" y="61"/>
                    </a:cubicBezTo>
                    <a:cubicBezTo>
                      <a:pt x="83" y="60"/>
                      <a:pt x="83" y="59"/>
                      <a:pt x="83" y="58"/>
                    </a:cubicBezTo>
                    <a:cubicBezTo>
                      <a:pt x="83" y="57"/>
                      <a:pt x="83" y="57"/>
                      <a:pt x="83" y="57"/>
                    </a:cubicBezTo>
                    <a:cubicBezTo>
                      <a:pt x="82" y="57"/>
                      <a:pt x="81" y="57"/>
                      <a:pt x="81" y="57"/>
                    </a:cubicBezTo>
                    <a:cubicBezTo>
                      <a:pt x="77" y="61"/>
                      <a:pt x="77" y="61"/>
                      <a:pt x="77" y="61"/>
                    </a:cubicBezTo>
                    <a:cubicBezTo>
                      <a:pt x="79" y="56"/>
                      <a:pt x="79" y="56"/>
                      <a:pt x="79" y="56"/>
                    </a:cubicBezTo>
                    <a:cubicBezTo>
                      <a:pt x="79" y="56"/>
                      <a:pt x="79" y="56"/>
                      <a:pt x="79" y="56"/>
                    </a:cubicBezTo>
                    <a:cubicBezTo>
                      <a:pt x="76" y="53"/>
                      <a:pt x="73" y="50"/>
                      <a:pt x="71" y="47"/>
                    </a:cubicBezTo>
                    <a:cubicBezTo>
                      <a:pt x="67" y="42"/>
                      <a:pt x="67" y="42"/>
                      <a:pt x="67" y="42"/>
                    </a:cubicBezTo>
                    <a:cubicBezTo>
                      <a:pt x="72" y="42"/>
                      <a:pt x="72" y="42"/>
                      <a:pt x="72" y="42"/>
                    </a:cubicBezTo>
                    <a:cubicBezTo>
                      <a:pt x="71" y="42"/>
                      <a:pt x="71" y="42"/>
                      <a:pt x="71" y="42"/>
                    </a:cubicBezTo>
                    <a:cubicBezTo>
                      <a:pt x="71" y="41"/>
                      <a:pt x="71" y="41"/>
                      <a:pt x="71" y="41"/>
                    </a:cubicBezTo>
                    <a:cubicBezTo>
                      <a:pt x="70" y="41"/>
                      <a:pt x="70" y="41"/>
                      <a:pt x="70" y="41"/>
                    </a:cubicBezTo>
                    <a:cubicBezTo>
                      <a:pt x="68" y="40"/>
                      <a:pt x="66" y="38"/>
                      <a:pt x="64" y="37"/>
                    </a:cubicBezTo>
                    <a:cubicBezTo>
                      <a:pt x="61" y="33"/>
                      <a:pt x="60" y="31"/>
                      <a:pt x="60" y="29"/>
                    </a:cubicBezTo>
                    <a:cubicBezTo>
                      <a:pt x="60" y="28"/>
                      <a:pt x="60" y="28"/>
                      <a:pt x="60" y="28"/>
                    </a:cubicBezTo>
                    <a:cubicBezTo>
                      <a:pt x="61" y="27"/>
                      <a:pt x="61" y="27"/>
                      <a:pt x="61" y="27"/>
                    </a:cubicBezTo>
                    <a:cubicBezTo>
                      <a:pt x="61" y="26"/>
                      <a:pt x="61" y="26"/>
                      <a:pt x="62" y="26"/>
                    </a:cubicBezTo>
                    <a:cubicBezTo>
                      <a:pt x="62" y="25"/>
                      <a:pt x="62" y="25"/>
                      <a:pt x="62" y="25"/>
                    </a:cubicBezTo>
                    <a:cubicBezTo>
                      <a:pt x="63" y="23"/>
                      <a:pt x="63" y="20"/>
                      <a:pt x="63" y="18"/>
                    </a:cubicBezTo>
                    <a:cubicBezTo>
                      <a:pt x="63" y="18"/>
                      <a:pt x="63" y="18"/>
                      <a:pt x="63" y="18"/>
                    </a:cubicBezTo>
                    <a:cubicBezTo>
                      <a:pt x="61" y="18"/>
                      <a:pt x="61" y="18"/>
                      <a:pt x="61" y="18"/>
                    </a:cubicBezTo>
                    <a:cubicBezTo>
                      <a:pt x="61" y="18"/>
                      <a:pt x="61" y="18"/>
                      <a:pt x="61" y="18"/>
                    </a:cubicBezTo>
                    <a:cubicBezTo>
                      <a:pt x="59" y="18"/>
                      <a:pt x="56" y="17"/>
                      <a:pt x="52" y="15"/>
                    </a:cubicBezTo>
                    <a:cubicBezTo>
                      <a:pt x="51" y="15"/>
                      <a:pt x="51" y="15"/>
                      <a:pt x="51" y="15"/>
                    </a:cubicBezTo>
                    <a:cubicBezTo>
                      <a:pt x="50" y="14"/>
                      <a:pt x="49" y="14"/>
                      <a:pt x="48" y="13"/>
                    </a:cubicBezTo>
                    <a:cubicBezTo>
                      <a:pt x="46" y="12"/>
                      <a:pt x="43" y="11"/>
                      <a:pt x="41" y="10"/>
                    </a:cubicBezTo>
                    <a:cubicBezTo>
                      <a:pt x="39" y="9"/>
                      <a:pt x="38" y="9"/>
                      <a:pt x="37" y="8"/>
                    </a:cubicBezTo>
                    <a:cubicBezTo>
                      <a:pt x="32" y="5"/>
                      <a:pt x="27" y="3"/>
                      <a:pt x="22" y="1"/>
                    </a:cubicBezTo>
                    <a:cubicBezTo>
                      <a:pt x="21" y="1"/>
                      <a:pt x="20" y="1"/>
                      <a:pt x="19" y="1"/>
                    </a:cubicBezTo>
                    <a:cubicBezTo>
                      <a:pt x="18" y="0"/>
                      <a:pt x="18" y="0"/>
                      <a:pt x="18" y="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Rectangle 315"/>
              <p:cNvSpPr>
                <a:spLocks noChangeArrowheads="1"/>
              </p:cNvSpPr>
              <p:nvPr/>
            </p:nvSpPr>
            <p:spPr bwMode="auto">
              <a:xfrm>
                <a:off x="7171235" y="374039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Rectangle 316"/>
              <p:cNvSpPr>
                <a:spLocks noChangeArrowheads="1"/>
              </p:cNvSpPr>
              <p:nvPr/>
            </p:nvSpPr>
            <p:spPr bwMode="auto">
              <a:xfrm>
                <a:off x="7171235" y="374039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317"/>
              <p:cNvSpPr/>
              <p:nvPr/>
            </p:nvSpPr>
            <p:spPr bwMode="auto">
              <a:xfrm>
                <a:off x="6467378" y="3250273"/>
                <a:ext cx="829151" cy="567508"/>
              </a:xfrm>
              <a:custGeom>
                <a:gdLst>
                  <a:gd name="T0" fmla="*/ 132 w 262"/>
                  <a:gd name="T1" fmla="*/ 1 h 179"/>
                  <a:gd name="T2" fmla="*/ 120 w 262"/>
                  <a:gd name="T3" fmla="*/ 13 h 179"/>
                  <a:gd name="T4" fmla="*/ 109 w 262"/>
                  <a:gd name="T5" fmla="*/ 13 h 179"/>
                  <a:gd name="T6" fmla="*/ 99 w 262"/>
                  <a:gd name="T7" fmla="*/ 17 h 179"/>
                  <a:gd name="T8" fmla="*/ 95 w 262"/>
                  <a:gd name="T9" fmla="*/ 19 h 179"/>
                  <a:gd name="T10" fmla="*/ 92 w 262"/>
                  <a:gd name="T11" fmla="*/ 26 h 179"/>
                  <a:gd name="T12" fmla="*/ 95 w 262"/>
                  <a:gd name="T13" fmla="*/ 28 h 179"/>
                  <a:gd name="T14" fmla="*/ 91 w 262"/>
                  <a:gd name="T15" fmla="*/ 40 h 179"/>
                  <a:gd name="T16" fmla="*/ 70 w 262"/>
                  <a:gd name="T17" fmla="*/ 53 h 179"/>
                  <a:gd name="T18" fmla="*/ 67 w 262"/>
                  <a:gd name="T19" fmla="*/ 69 h 179"/>
                  <a:gd name="T20" fmla="*/ 65 w 262"/>
                  <a:gd name="T21" fmla="*/ 80 h 179"/>
                  <a:gd name="T22" fmla="*/ 57 w 262"/>
                  <a:gd name="T23" fmla="*/ 76 h 179"/>
                  <a:gd name="T24" fmla="*/ 48 w 262"/>
                  <a:gd name="T25" fmla="*/ 80 h 179"/>
                  <a:gd name="T26" fmla="*/ 42 w 262"/>
                  <a:gd name="T27" fmla="*/ 85 h 179"/>
                  <a:gd name="T28" fmla="*/ 29 w 262"/>
                  <a:gd name="T29" fmla="*/ 89 h 179"/>
                  <a:gd name="T30" fmla="*/ 24 w 262"/>
                  <a:gd name="T31" fmla="*/ 88 h 179"/>
                  <a:gd name="T32" fmla="*/ 8 w 262"/>
                  <a:gd name="T33" fmla="*/ 87 h 179"/>
                  <a:gd name="T34" fmla="*/ 13 w 262"/>
                  <a:gd name="T35" fmla="*/ 101 h 179"/>
                  <a:gd name="T36" fmla="*/ 14 w 262"/>
                  <a:gd name="T37" fmla="*/ 135 h 179"/>
                  <a:gd name="T38" fmla="*/ 8 w 262"/>
                  <a:gd name="T39" fmla="*/ 152 h 179"/>
                  <a:gd name="T40" fmla="*/ 8 w 262"/>
                  <a:gd name="T41" fmla="*/ 169 h 179"/>
                  <a:gd name="T42" fmla="*/ 16 w 262"/>
                  <a:gd name="T43" fmla="*/ 171 h 179"/>
                  <a:gd name="T44" fmla="*/ 34 w 262"/>
                  <a:gd name="T45" fmla="*/ 159 h 179"/>
                  <a:gd name="T46" fmla="*/ 45 w 262"/>
                  <a:gd name="T47" fmla="*/ 158 h 179"/>
                  <a:gd name="T48" fmla="*/ 75 w 262"/>
                  <a:gd name="T49" fmla="*/ 161 h 179"/>
                  <a:gd name="T50" fmla="*/ 133 w 262"/>
                  <a:gd name="T51" fmla="*/ 169 h 179"/>
                  <a:gd name="T52" fmla="*/ 140 w 262"/>
                  <a:gd name="T53" fmla="*/ 169 h 179"/>
                  <a:gd name="T54" fmla="*/ 155 w 262"/>
                  <a:gd name="T55" fmla="*/ 172 h 179"/>
                  <a:gd name="T56" fmla="*/ 160 w 262"/>
                  <a:gd name="T57" fmla="*/ 170 h 179"/>
                  <a:gd name="T58" fmla="*/ 170 w 262"/>
                  <a:gd name="T59" fmla="*/ 178 h 179"/>
                  <a:gd name="T60" fmla="*/ 181 w 262"/>
                  <a:gd name="T61" fmla="*/ 177 h 179"/>
                  <a:gd name="T62" fmla="*/ 192 w 262"/>
                  <a:gd name="T63" fmla="*/ 175 h 179"/>
                  <a:gd name="T64" fmla="*/ 201 w 262"/>
                  <a:gd name="T65" fmla="*/ 168 h 179"/>
                  <a:gd name="T66" fmla="*/ 215 w 262"/>
                  <a:gd name="T67" fmla="*/ 153 h 179"/>
                  <a:gd name="T68" fmla="*/ 223 w 262"/>
                  <a:gd name="T69" fmla="*/ 153 h 179"/>
                  <a:gd name="T70" fmla="*/ 229 w 262"/>
                  <a:gd name="T71" fmla="*/ 141 h 179"/>
                  <a:gd name="T72" fmla="*/ 221 w 262"/>
                  <a:gd name="T73" fmla="*/ 119 h 179"/>
                  <a:gd name="T74" fmla="*/ 224 w 262"/>
                  <a:gd name="T75" fmla="*/ 114 h 179"/>
                  <a:gd name="T76" fmla="*/ 233 w 262"/>
                  <a:gd name="T77" fmla="*/ 112 h 179"/>
                  <a:gd name="T78" fmla="*/ 262 w 262"/>
                  <a:gd name="T79" fmla="*/ 105 h 179"/>
                  <a:gd name="T80" fmla="*/ 233 w 262"/>
                  <a:gd name="T81" fmla="*/ 88 h 179"/>
                  <a:gd name="T82" fmla="*/ 209 w 262"/>
                  <a:gd name="T83" fmla="*/ 54 h 179"/>
                  <a:gd name="T84" fmla="*/ 208 w 262"/>
                  <a:gd name="T85" fmla="*/ 32 h 179"/>
                  <a:gd name="T86" fmla="*/ 195 w 262"/>
                  <a:gd name="T87" fmla="*/ 13 h 179"/>
                  <a:gd name="T88" fmla="*/ 180 w 262"/>
                  <a:gd name="T89" fmla="*/ 15 h 179"/>
                  <a:gd name="T90" fmla="*/ 172 w 262"/>
                  <a:gd name="T91" fmla="*/ 18 h 179"/>
                  <a:gd name="T92" fmla="*/ 168 w 262"/>
                  <a:gd name="T93" fmla="*/ 15 h 179"/>
                  <a:gd name="T94" fmla="*/ 167 w 262"/>
                  <a:gd name="T95" fmla="*/ 9 h 179"/>
                  <a:gd name="T96" fmla="*/ 160 w 262"/>
                  <a:gd name="T97" fmla="*/ 8 h 179"/>
                  <a:gd name="T98" fmla="*/ 148 w 262"/>
                  <a:gd name="T99" fmla="*/ 7 h 179"/>
                  <a:gd name="T100" fmla="*/ 145 w 262"/>
                  <a:gd name="T101" fmla="*/ 5 h 179"/>
                  <a:gd name="T102" fmla="*/ 139 w 262"/>
                  <a:gd name="T103" fmla="*/ 2 h 179"/>
                  <a:gd name="T104" fmla="*/ 136 w 262"/>
                  <a:gd name="T105" fmla="*/ 0 h 1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2" h="179">
                    <a:moveTo>
                      <a:pt x="136" y="0"/>
                    </a:moveTo>
                    <a:cubicBezTo>
                      <a:pt x="135" y="0"/>
                      <a:pt x="135" y="0"/>
                      <a:pt x="135" y="0"/>
                    </a:cubicBezTo>
                    <a:cubicBezTo>
                      <a:pt x="135" y="1"/>
                      <a:pt x="135" y="1"/>
                      <a:pt x="135" y="1"/>
                    </a:cubicBezTo>
                    <a:cubicBezTo>
                      <a:pt x="134" y="1"/>
                      <a:pt x="134" y="1"/>
                      <a:pt x="134" y="1"/>
                    </a:cubicBezTo>
                    <a:cubicBezTo>
                      <a:pt x="134" y="1"/>
                      <a:pt x="133" y="1"/>
                      <a:pt x="132" y="1"/>
                    </a:cubicBezTo>
                    <a:cubicBezTo>
                      <a:pt x="132" y="1"/>
                      <a:pt x="130" y="2"/>
                      <a:pt x="129" y="4"/>
                    </a:cubicBezTo>
                    <a:cubicBezTo>
                      <a:pt x="128" y="5"/>
                      <a:pt x="127" y="5"/>
                      <a:pt x="126" y="6"/>
                    </a:cubicBezTo>
                    <a:cubicBezTo>
                      <a:pt x="126" y="7"/>
                      <a:pt x="125" y="7"/>
                      <a:pt x="124" y="8"/>
                    </a:cubicBezTo>
                    <a:cubicBezTo>
                      <a:pt x="124" y="8"/>
                      <a:pt x="124" y="8"/>
                      <a:pt x="124" y="8"/>
                    </a:cubicBezTo>
                    <a:cubicBezTo>
                      <a:pt x="124" y="12"/>
                      <a:pt x="122" y="13"/>
                      <a:pt x="120" y="13"/>
                    </a:cubicBezTo>
                    <a:cubicBezTo>
                      <a:pt x="117" y="13"/>
                      <a:pt x="117" y="13"/>
                      <a:pt x="117" y="13"/>
                    </a:cubicBezTo>
                    <a:cubicBezTo>
                      <a:pt x="116" y="13"/>
                      <a:pt x="114" y="13"/>
                      <a:pt x="113" y="13"/>
                    </a:cubicBezTo>
                    <a:cubicBezTo>
                      <a:pt x="113" y="13"/>
                      <a:pt x="113" y="13"/>
                      <a:pt x="113" y="13"/>
                    </a:cubicBezTo>
                    <a:cubicBezTo>
                      <a:pt x="112" y="13"/>
                      <a:pt x="111" y="13"/>
                      <a:pt x="111" y="13"/>
                    </a:cubicBezTo>
                    <a:cubicBezTo>
                      <a:pt x="109" y="13"/>
                      <a:pt x="109" y="13"/>
                      <a:pt x="109" y="13"/>
                    </a:cubicBezTo>
                    <a:cubicBezTo>
                      <a:pt x="107" y="13"/>
                      <a:pt x="106" y="13"/>
                      <a:pt x="105" y="13"/>
                    </a:cubicBezTo>
                    <a:cubicBezTo>
                      <a:pt x="104" y="13"/>
                      <a:pt x="104" y="13"/>
                      <a:pt x="103" y="14"/>
                    </a:cubicBezTo>
                    <a:cubicBezTo>
                      <a:pt x="102" y="14"/>
                      <a:pt x="102" y="14"/>
                      <a:pt x="102" y="14"/>
                    </a:cubicBezTo>
                    <a:cubicBezTo>
                      <a:pt x="109" y="14"/>
                      <a:pt x="109" y="14"/>
                      <a:pt x="109" y="14"/>
                    </a:cubicBezTo>
                    <a:cubicBezTo>
                      <a:pt x="99" y="17"/>
                      <a:pt x="99" y="17"/>
                      <a:pt x="99" y="17"/>
                    </a:cubicBezTo>
                    <a:cubicBezTo>
                      <a:pt x="99" y="17"/>
                      <a:pt x="98" y="18"/>
                      <a:pt x="98" y="18"/>
                    </a:cubicBezTo>
                    <a:cubicBezTo>
                      <a:pt x="97" y="18"/>
                      <a:pt x="97" y="18"/>
                      <a:pt x="97" y="18"/>
                    </a:cubicBezTo>
                    <a:cubicBezTo>
                      <a:pt x="96" y="19"/>
                      <a:pt x="96" y="19"/>
                      <a:pt x="95" y="19"/>
                    </a:cubicBezTo>
                    <a:cubicBezTo>
                      <a:pt x="95" y="19"/>
                      <a:pt x="95" y="19"/>
                      <a:pt x="95" y="19"/>
                    </a:cubicBezTo>
                    <a:cubicBezTo>
                      <a:pt x="95" y="19"/>
                      <a:pt x="95" y="19"/>
                      <a:pt x="95" y="19"/>
                    </a:cubicBezTo>
                    <a:cubicBezTo>
                      <a:pt x="95" y="20"/>
                      <a:pt x="95" y="20"/>
                      <a:pt x="95" y="20"/>
                    </a:cubicBezTo>
                    <a:cubicBezTo>
                      <a:pt x="94" y="20"/>
                      <a:pt x="94" y="20"/>
                      <a:pt x="94" y="20"/>
                    </a:cubicBezTo>
                    <a:cubicBezTo>
                      <a:pt x="94" y="21"/>
                      <a:pt x="94" y="22"/>
                      <a:pt x="93" y="23"/>
                    </a:cubicBezTo>
                    <a:cubicBezTo>
                      <a:pt x="92" y="26"/>
                      <a:pt x="92" y="26"/>
                      <a:pt x="92" y="26"/>
                    </a:cubicBezTo>
                    <a:cubicBezTo>
                      <a:pt x="92" y="26"/>
                      <a:pt x="92" y="26"/>
                      <a:pt x="92" y="26"/>
                    </a:cubicBezTo>
                    <a:cubicBezTo>
                      <a:pt x="92" y="27"/>
                      <a:pt x="92" y="27"/>
                      <a:pt x="92" y="27"/>
                    </a:cubicBezTo>
                    <a:cubicBezTo>
                      <a:pt x="92" y="27"/>
                      <a:pt x="92" y="27"/>
                      <a:pt x="92" y="27"/>
                    </a:cubicBezTo>
                    <a:cubicBezTo>
                      <a:pt x="92" y="27"/>
                      <a:pt x="92" y="27"/>
                      <a:pt x="92" y="27"/>
                    </a:cubicBezTo>
                    <a:cubicBezTo>
                      <a:pt x="92" y="27"/>
                      <a:pt x="93" y="27"/>
                      <a:pt x="93" y="28"/>
                    </a:cubicBezTo>
                    <a:cubicBezTo>
                      <a:pt x="95" y="28"/>
                      <a:pt x="95" y="28"/>
                      <a:pt x="95" y="28"/>
                    </a:cubicBezTo>
                    <a:cubicBezTo>
                      <a:pt x="95" y="29"/>
                      <a:pt x="96" y="29"/>
                      <a:pt x="97" y="30"/>
                    </a:cubicBezTo>
                    <a:cubicBezTo>
                      <a:pt x="101" y="33"/>
                      <a:pt x="101" y="33"/>
                      <a:pt x="101" y="33"/>
                    </a:cubicBezTo>
                    <a:cubicBezTo>
                      <a:pt x="97" y="36"/>
                      <a:pt x="97" y="36"/>
                      <a:pt x="97" y="36"/>
                    </a:cubicBezTo>
                    <a:cubicBezTo>
                      <a:pt x="96" y="36"/>
                      <a:pt x="94" y="37"/>
                      <a:pt x="93" y="38"/>
                    </a:cubicBezTo>
                    <a:cubicBezTo>
                      <a:pt x="91" y="40"/>
                      <a:pt x="91" y="40"/>
                      <a:pt x="91" y="40"/>
                    </a:cubicBezTo>
                    <a:cubicBezTo>
                      <a:pt x="88" y="41"/>
                      <a:pt x="85" y="43"/>
                      <a:pt x="82" y="45"/>
                    </a:cubicBezTo>
                    <a:cubicBezTo>
                      <a:pt x="81" y="46"/>
                      <a:pt x="81" y="46"/>
                      <a:pt x="81" y="46"/>
                    </a:cubicBezTo>
                    <a:cubicBezTo>
                      <a:pt x="79" y="46"/>
                      <a:pt x="78" y="47"/>
                      <a:pt x="77" y="48"/>
                    </a:cubicBezTo>
                    <a:cubicBezTo>
                      <a:pt x="72" y="50"/>
                      <a:pt x="72" y="50"/>
                      <a:pt x="72" y="50"/>
                    </a:cubicBezTo>
                    <a:cubicBezTo>
                      <a:pt x="72" y="50"/>
                      <a:pt x="71" y="51"/>
                      <a:pt x="70" y="53"/>
                    </a:cubicBezTo>
                    <a:cubicBezTo>
                      <a:pt x="70" y="54"/>
                      <a:pt x="70" y="54"/>
                      <a:pt x="70" y="54"/>
                    </a:cubicBezTo>
                    <a:cubicBezTo>
                      <a:pt x="70" y="54"/>
                      <a:pt x="70" y="55"/>
                      <a:pt x="70" y="56"/>
                    </a:cubicBezTo>
                    <a:cubicBezTo>
                      <a:pt x="69" y="57"/>
                      <a:pt x="69" y="58"/>
                      <a:pt x="68" y="59"/>
                    </a:cubicBezTo>
                    <a:cubicBezTo>
                      <a:pt x="67" y="62"/>
                      <a:pt x="66" y="65"/>
                      <a:pt x="65" y="68"/>
                    </a:cubicBezTo>
                    <a:cubicBezTo>
                      <a:pt x="66" y="69"/>
                      <a:pt x="66" y="69"/>
                      <a:pt x="67" y="69"/>
                    </a:cubicBezTo>
                    <a:cubicBezTo>
                      <a:pt x="69" y="72"/>
                      <a:pt x="69" y="72"/>
                      <a:pt x="69" y="72"/>
                    </a:cubicBezTo>
                    <a:cubicBezTo>
                      <a:pt x="70" y="73"/>
                      <a:pt x="70" y="73"/>
                      <a:pt x="71" y="74"/>
                    </a:cubicBezTo>
                    <a:cubicBezTo>
                      <a:pt x="73" y="78"/>
                      <a:pt x="73" y="78"/>
                      <a:pt x="73" y="78"/>
                    </a:cubicBezTo>
                    <a:cubicBezTo>
                      <a:pt x="69" y="79"/>
                      <a:pt x="69" y="79"/>
                      <a:pt x="69" y="79"/>
                    </a:cubicBezTo>
                    <a:cubicBezTo>
                      <a:pt x="67" y="79"/>
                      <a:pt x="66" y="80"/>
                      <a:pt x="65" y="80"/>
                    </a:cubicBezTo>
                    <a:cubicBezTo>
                      <a:pt x="65" y="80"/>
                      <a:pt x="65" y="80"/>
                      <a:pt x="65" y="80"/>
                    </a:cubicBezTo>
                    <a:cubicBezTo>
                      <a:pt x="63" y="80"/>
                      <a:pt x="63" y="80"/>
                      <a:pt x="63" y="80"/>
                    </a:cubicBezTo>
                    <a:cubicBezTo>
                      <a:pt x="63" y="80"/>
                      <a:pt x="63" y="80"/>
                      <a:pt x="63" y="80"/>
                    </a:cubicBezTo>
                    <a:cubicBezTo>
                      <a:pt x="62" y="80"/>
                      <a:pt x="61" y="80"/>
                      <a:pt x="60" y="79"/>
                    </a:cubicBezTo>
                    <a:cubicBezTo>
                      <a:pt x="59" y="79"/>
                      <a:pt x="57" y="78"/>
                      <a:pt x="57" y="76"/>
                    </a:cubicBezTo>
                    <a:cubicBezTo>
                      <a:pt x="57" y="75"/>
                      <a:pt x="57" y="75"/>
                      <a:pt x="57" y="75"/>
                    </a:cubicBezTo>
                    <a:cubicBezTo>
                      <a:pt x="56" y="76"/>
                      <a:pt x="55" y="76"/>
                      <a:pt x="54" y="77"/>
                    </a:cubicBezTo>
                    <a:cubicBezTo>
                      <a:pt x="54" y="77"/>
                      <a:pt x="54" y="77"/>
                      <a:pt x="54" y="77"/>
                    </a:cubicBezTo>
                    <a:cubicBezTo>
                      <a:pt x="52" y="78"/>
                      <a:pt x="51" y="79"/>
                      <a:pt x="50" y="79"/>
                    </a:cubicBezTo>
                    <a:cubicBezTo>
                      <a:pt x="49" y="80"/>
                      <a:pt x="49" y="80"/>
                      <a:pt x="48" y="80"/>
                    </a:cubicBezTo>
                    <a:cubicBezTo>
                      <a:pt x="47" y="80"/>
                      <a:pt x="47" y="80"/>
                      <a:pt x="47" y="80"/>
                    </a:cubicBezTo>
                    <a:cubicBezTo>
                      <a:pt x="46" y="80"/>
                      <a:pt x="45" y="80"/>
                      <a:pt x="45" y="80"/>
                    </a:cubicBezTo>
                    <a:cubicBezTo>
                      <a:pt x="44" y="80"/>
                      <a:pt x="44" y="80"/>
                      <a:pt x="44" y="80"/>
                    </a:cubicBezTo>
                    <a:cubicBezTo>
                      <a:pt x="45" y="81"/>
                      <a:pt x="44" y="83"/>
                      <a:pt x="44" y="83"/>
                    </a:cubicBezTo>
                    <a:cubicBezTo>
                      <a:pt x="43" y="84"/>
                      <a:pt x="43" y="85"/>
                      <a:pt x="42" y="85"/>
                    </a:cubicBezTo>
                    <a:cubicBezTo>
                      <a:pt x="41" y="86"/>
                      <a:pt x="41" y="86"/>
                      <a:pt x="41" y="86"/>
                    </a:cubicBezTo>
                    <a:cubicBezTo>
                      <a:pt x="41" y="86"/>
                      <a:pt x="40" y="86"/>
                      <a:pt x="39" y="87"/>
                    </a:cubicBezTo>
                    <a:cubicBezTo>
                      <a:pt x="38" y="87"/>
                      <a:pt x="37" y="87"/>
                      <a:pt x="37" y="88"/>
                    </a:cubicBezTo>
                    <a:cubicBezTo>
                      <a:pt x="34" y="88"/>
                      <a:pt x="31" y="89"/>
                      <a:pt x="30" y="89"/>
                    </a:cubicBezTo>
                    <a:cubicBezTo>
                      <a:pt x="29" y="89"/>
                      <a:pt x="29" y="89"/>
                      <a:pt x="29" y="89"/>
                    </a:cubicBezTo>
                    <a:cubicBezTo>
                      <a:pt x="28" y="89"/>
                      <a:pt x="28" y="89"/>
                      <a:pt x="27" y="89"/>
                    </a:cubicBezTo>
                    <a:cubicBezTo>
                      <a:pt x="27" y="89"/>
                      <a:pt x="27" y="89"/>
                      <a:pt x="27" y="89"/>
                    </a:cubicBezTo>
                    <a:cubicBezTo>
                      <a:pt x="27" y="88"/>
                      <a:pt x="27" y="88"/>
                      <a:pt x="27" y="88"/>
                    </a:cubicBezTo>
                    <a:cubicBezTo>
                      <a:pt x="27" y="89"/>
                      <a:pt x="27" y="89"/>
                      <a:pt x="27" y="89"/>
                    </a:cubicBezTo>
                    <a:cubicBezTo>
                      <a:pt x="25" y="89"/>
                      <a:pt x="25" y="89"/>
                      <a:pt x="24" y="88"/>
                    </a:cubicBezTo>
                    <a:cubicBezTo>
                      <a:pt x="22" y="88"/>
                      <a:pt x="22" y="88"/>
                      <a:pt x="22" y="88"/>
                    </a:cubicBezTo>
                    <a:cubicBezTo>
                      <a:pt x="20" y="87"/>
                      <a:pt x="17" y="87"/>
                      <a:pt x="13" y="87"/>
                    </a:cubicBezTo>
                    <a:cubicBezTo>
                      <a:pt x="12" y="87"/>
                      <a:pt x="11" y="87"/>
                      <a:pt x="10" y="87"/>
                    </a:cubicBezTo>
                    <a:cubicBezTo>
                      <a:pt x="9" y="87"/>
                      <a:pt x="9" y="87"/>
                      <a:pt x="9" y="87"/>
                    </a:cubicBezTo>
                    <a:cubicBezTo>
                      <a:pt x="9" y="87"/>
                      <a:pt x="8" y="87"/>
                      <a:pt x="8" y="87"/>
                    </a:cubicBezTo>
                    <a:cubicBezTo>
                      <a:pt x="8" y="89"/>
                      <a:pt x="9" y="90"/>
                      <a:pt x="9" y="91"/>
                    </a:cubicBezTo>
                    <a:cubicBezTo>
                      <a:pt x="9" y="92"/>
                      <a:pt x="9" y="92"/>
                      <a:pt x="9" y="92"/>
                    </a:cubicBezTo>
                    <a:cubicBezTo>
                      <a:pt x="10" y="93"/>
                      <a:pt x="10" y="93"/>
                      <a:pt x="10" y="93"/>
                    </a:cubicBezTo>
                    <a:cubicBezTo>
                      <a:pt x="10" y="95"/>
                      <a:pt x="11" y="98"/>
                      <a:pt x="12" y="100"/>
                    </a:cubicBezTo>
                    <a:cubicBezTo>
                      <a:pt x="13" y="101"/>
                      <a:pt x="13" y="101"/>
                      <a:pt x="13" y="101"/>
                    </a:cubicBezTo>
                    <a:cubicBezTo>
                      <a:pt x="15" y="105"/>
                      <a:pt x="17" y="109"/>
                      <a:pt x="18" y="113"/>
                    </a:cubicBezTo>
                    <a:cubicBezTo>
                      <a:pt x="18" y="115"/>
                      <a:pt x="20" y="122"/>
                      <a:pt x="19" y="128"/>
                    </a:cubicBezTo>
                    <a:cubicBezTo>
                      <a:pt x="19" y="129"/>
                      <a:pt x="19" y="129"/>
                      <a:pt x="19" y="129"/>
                    </a:cubicBezTo>
                    <a:cubicBezTo>
                      <a:pt x="19" y="131"/>
                      <a:pt x="18" y="132"/>
                      <a:pt x="16" y="134"/>
                    </a:cubicBezTo>
                    <a:cubicBezTo>
                      <a:pt x="15" y="134"/>
                      <a:pt x="15" y="135"/>
                      <a:pt x="14" y="135"/>
                    </a:cubicBezTo>
                    <a:cubicBezTo>
                      <a:pt x="13" y="136"/>
                      <a:pt x="13" y="136"/>
                      <a:pt x="13" y="136"/>
                    </a:cubicBezTo>
                    <a:cubicBezTo>
                      <a:pt x="0" y="147"/>
                      <a:pt x="0" y="147"/>
                      <a:pt x="0" y="147"/>
                    </a:cubicBezTo>
                    <a:cubicBezTo>
                      <a:pt x="1" y="148"/>
                      <a:pt x="3" y="148"/>
                      <a:pt x="3" y="149"/>
                    </a:cubicBezTo>
                    <a:cubicBezTo>
                      <a:pt x="4" y="149"/>
                      <a:pt x="4" y="149"/>
                      <a:pt x="4" y="149"/>
                    </a:cubicBezTo>
                    <a:cubicBezTo>
                      <a:pt x="5" y="150"/>
                      <a:pt x="7" y="151"/>
                      <a:pt x="8" y="152"/>
                    </a:cubicBezTo>
                    <a:cubicBezTo>
                      <a:pt x="9" y="153"/>
                      <a:pt x="9" y="153"/>
                      <a:pt x="9" y="153"/>
                    </a:cubicBezTo>
                    <a:cubicBezTo>
                      <a:pt x="10" y="154"/>
                      <a:pt x="10" y="154"/>
                      <a:pt x="10" y="154"/>
                    </a:cubicBezTo>
                    <a:cubicBezTo>
                      <a:pt x="10" y="155"/>
                      <a:pt x="10" y="155"/>
                      <a:pt x="10" y="156"/>
                    </a:cubicBezTo>
                    <a:cubicBezTo>
                      <a:pt x="11" y="159"/>
                      <a:pt x="10" y="162"/>
                      <a:pt x="9" y="166"/>
                    </a:cubicBezTo>
                    <a:cubicBezTo>
                      <a:pt x="9" y="167"/>
                      <a:pt x="8" y="168"/>
                      <a:pt x="8" y="169"/>
                    </a:cubicBezTo>
                    <a:cubicBezTo>
                      <a:pt x="8" y="169"/>
                      <a:pt x="8" y="170"/>
                      <a:pt x="8" y="171"/>
                    </a:cubicBezTo>
                    <a:cubicBezTo>
                      <a:pt x="8" y="172"/>
                      <a:pt x="8" y="172"/>
                      <a:pt x="8" y="173"/>
                    </a:cubicBezTo>
                    <a:cubicBezTo>
                      <a:pt x="8" y="173"/>
                      <a:pt x="8" y="173"/>
                      <a:pt x="8" y="173"/>
                    </a:cubicBezTo>
                    <a:cubicBezTo>
                      <a:pt x="10" y="172"/>
                      <a:pt x="13" y="172"/>
                      <a:pt x="15" y="171"/>
                    </a:cubicBezTo>
                    <a:cubicBezTo>
                      <a:pt x="16" y="171"/>
                      <a:pt x="16" y="171"/>
                      <a:pt x="16" y="171"/>
                    </a:cubicBezTo>
                    <a:cubicBezTo>
                      <a:pt x="17" y="170"/>
                      <a:pt x="18" y="170"/>
                      <a:pt x="18" y="170"/>
                    </a:cubicBezTo>
                    <a:cubicBezTo>
                      <a:pt x="19" y="169"/>
                      <a:pt x="20" y="168"/>
                      <a:pt x="21" y="166"/>
                    </a:cubicBezTo>
                    <a:cubicBezTo>
                      <a:pt x="23" y="164"/>
                      <a:pt x="26" y="161"/>
                      <a:pt x="30" y="160"/>
                    </a:cubicBezTo>
                    <a:cubicBezTo>
                      <a:pt x="31" y="159"/>
                      <a:pt x="32" y="159"/>
                      <a:pt x="33" y="159"/>
                    </a:cubicBezTo>
                    <a:cubicBezTo>
                      <a:pt x="34" y="159"/>
                      <a:pt x="34" y="159"/>
                      <a:pt x="34" y="159"/>
                    </a:cubicBezTo>
                    <a:cubicBezTo>
                      <a:pt x="35" y="159"/>
                      <a:pt x="36" y="159"/>
                      <a:pt x="37" y="159"/>
                    </a:cubicBezTo>
                    <a:cubicBezTo>
                      <a:pt x="37" y="159"/>
                      <a:pt x="38" y="159"/>
                      <a:pt x="39" y="159"/>
                    </a:cubicBezTo>
                    <a:cubicBezTo>
                      <a:pt x="39" y="159"/>
                      <a:pt x="40" y="159"/>
                      <a:pt x="40" y="159"/>
                    </a:cubicBezTo>
                    <a:cubicBezTo>
                      <a:pt x="42" y="159"/>
                      <a:pt x="43" y="159"/>
                      <a:pt x="45" y="158"/>
                    </a:cubicBezTo>
                    <a:cubicBezTo>
                      <a:pt x="45" y="158"/>
                      <a:pt x="45" y="158"/>
                      <a:pt x="45" y="158"/>
                    </a:cubicBezTo>
                    <a:cubicBezTo>
                      <a:pt x="47" y="158"/>
                      <a:pt x="49" y="157"/>
                      <a:pt x="51" y="157"/>
                    </a:cubicBezTo>
                    <a:cubicBezTo>
                      <a:pt x="52" y="157"/>
                      <a:pt x="52" y="157"/>
                      <a:pt x="53" y="157"/>
                    </a:cubicBezTo>
                    <a:cubicBezTo>
                      <a:pt x="54" y="157"/>
                      <a:pt x="55" y="157"/>
                      <a:pt x="56" y="157"/>
                    </a:cubicBezTo>
                    <a:cubicBezTo>
                      <a:pt x="62" y="158"/>
                      <a:pt x="68" y="159"/>
                      <a:pt x="74" y="161"/>
                    </a:cubicBezTo>
                    <a:cubicBezTo>
                      <a:pt x="75" y="161"/>
                      <a:pt x="75" y="161"/>
                      <a:pt x="75" y="161"/>
                    </a:cubicBezTo>
                    <a:cubicBezTo>
                      <a:pt x="111" y="168"/>
                      <a:pt x="111" y="168"/>
                      <a:pt x="111" y="168"/>
                    </a:cubicBezTo>
                    <a:cubicBezTo>
                      <a:pt x="112" y="168"/>
                      <a:pt x="113" y="168"/>
                      <a:pt x="113" y="168"/>
                    </a:cubicBezTo>
                    <a:cubicBezTo>
                      <a:pt x="117" y="169"/>
                      <a:pt x="122" y="169"/>
                      <a:pt x="124" y="172"/>
                    </a:cubicBezTo>
                    <a:cubicBezTo>
                      <a:pt x="127" y="170"/>
                      <a:pt x="129" y="170"/>
                      <a:pt x="133" y="169"/>
                    </a:cubicBezTo>
                    <a:cubicBezTo>
                      <a:pt x="133" y="169"/>
                      <a:pt x="133" y="169"/>
                      <a:pt x="133" y="169"/>
                    </a:cubicBezTo>
                    <a:cubicBezTo>
                      <a:pt x="134" y="169"/>
                      <a:pt x="134" y="169"/>
                      <a:pt x="135" y="169"/>
                    </a:cubicBezTo>
                    <a:cubicBezTo>
                      <a:pt x="136" y="169"/>
                      <a:pt x="136" y="169"/>
                      <a:pt x="136" y="169"/>
                    </a:cubicBezTo>
                    <a:cubicBezTo>
                      <a:pt x="138" y="168"/>
                      <a:pt x="138" y="168"/>
                      <a:pt x="138" y="168"/>
                    </a:cubicBezTo>
                    <a:cubicBezTo>
                      <a:pt x="139" y="169"/>
                      <a:pt x="139" y="169"/>
                      <a:pt x="139" y="169"/>
                    </a:cubicBezTo>
                    <a:cubicBezTo>
                      <a:pt x="139" y="169"/>
                      <a:pt x="140" y="169"/>
                      <a:pt x="140" y="169"/>
                    </a:cubicBezTo>
                    <a:cubicBezTo>
                      <a:pt x="141" y="170"/>
                      <a:pt x="141" y="170"/>
                      <a:pt x="141" y="170"/>
                    </a:cubicBezTo>
                    <a:cubicBezTo>
                      <a:pt x="141" y="170"/>
                      <a:pt x="142" y="171"/>
                      <a:pt x="142" y="171"/>
                    </a:cubicBezTo>
                    <a:cubicBezTo>
                      <a:pt x="144" y="173"/>
                      <a:pt x="146" y="174"/>
                      <a:pt x="148" y="175"/>
                    </a:cubicBezTo>
                    <a:cubicBezTo>
                      <a:pt x="149" y="175"/>
                      <a:pt x="150" y="176"/>
                      <a:pt x="151" y="176"/>
                    </a:cubicBezTo>
                    <a:cubicBezTo>
                      <a:pt x="152" y="174"/>
                      <a:pt x="153" y="174"/>
                      <a:pt x="155" y="172"/>
                    </a:cubicBezTo>
                    <a:cubicBezTo>
                      <a:pt x="156" y="172"/>
                      <a:pt x="156" y="172"/>
                      <a:pt x="156" y="172"/>
                    </a:cubicBezTo>
                    <a:cubicBezTo>
                      <a:pt x="156" y="172"/>
                      <a:pt x="156" y="172"/>
                      <a:pt x="157" y="172"/>
                    </a:cubicBezTo>
                    <a:cubicBezTo>
                      <a:pt x="157" y="171"/>
                      <a:pt x="157" y="171"/>
                      <a:pt x="157" y="171"/>
                    </a:cubicBezTo>
                    <a:cubicBezTo>
                      <a:pt x="159" y="170"/>
                      <a:pt x="159" y="170"/>
                      <a:pt x="159" y="170"/>
                    </a:cubicBezTo>
                    <a:cubicBezTo>
                      <a:pt x="160" y="170"/>
                      <a:pt x="160" y="170"/>
                      <a:pt x="160" y="170"/>
                    </a:cubicBezTo>
                    <a:cubicBezTo>
                      <a:pt x="160" y="169"/>
                      <a:pt x="161" y="169"/>
                      <a:pt x="161" y="169"/>
                    </a:cubicBezTo>
                    <a:cubicBezTo>
                      <a:pt x="165" y="169"/>
                      <a:pt x="168" y="173"/>
                      <a:pt x="169" y="175"/>
                    </a:cubicBezTo>
                    <a:cubicBezTo>
                      <a:pt x="170" y="176"/>
                      <a:pt x="170" y="176"/>
                      <a:pt x="170" y="176"/>
                    </a:cubicBezTo>
                    <a:cubicBezTo>
                      <a:pt x="173" y="174"/>
                      <a:pt x="173" y="174"/>
                      <a:pt x="173" y="174"/>
                    </a:cubicBezTo>
                    <a:cubicBezTo>
                      <a:pt x="170" y="178"/>
                      <a:pt x="170" y="178"/>
                      <a:pt x="170" y="178"/>
                    </a:cubicBezTo>
                    <a:cubicBezTo>
                      <a:pt x="171" y="179"/>
                      <a:pt x="171" y="179"/>
                      <a:pt x="171" y="179"/>
                    </a:cubicBezTo>
                    <a:cubicBezTo>
                      <a:pt x="172" y="179"/>
                      <a:pt x="172" y="179"/>
                      <a:pt x="173" y="179"/>
                    </a:cubicBezTo>
                    <a:cubicBezTo>
                      <a:pt x="174" y="179"/>
                      <a:pt x="175" y="179"/>
                      <a:pt x="176" y="178"/>
                    </a:cubicBezTo>
                    <a:cubicBezTo>
                      <a:pt x="176" y="178"/>
                      <a:pt x="177" y="178"/>
                      <a:pt x="177" y="178"/>
                    </a:cubicBezTo>
                    <a:cubicBezTo>
                      <a:pt x="178" y="178"/>
                      <a:pt x="180" y="177"/>
                      <a:pt x="181" y="177"/>
                    </a:cubicBezTo>
                    <a:cubicBezTo>
                      <a:pt x="182" y="177"/>
                      <a:pt x="184" y="176"/>
                      <a:pt x="185" y="176"/>
                    </a:cubicBezTo>
                    <a:cubicBezTo>
                      <a:pt x="186" y="176"/>
                      <a:pt x="186" y="176"/>
                      <a:pt x="187" y="176"/>
                    </a:cubicBezTo>
                    <a:cubicBezTo>
                      <a:pt x="188" y="175"/>
                      <a:pt x="189" y="175"/>
                      <a:pt x="190" y="175"/>
                    </a:cubicBezTo>
                    <a:cubicBezTo>
                      <a:pt x="191" y="175"/>
                      <a:pt x="191" y="175"/>
                      <a:pt x="191" y="175"/>
                    </a:cubicBezTo>
                    <a:cubicBezTo>
                      <a:pt x="192" y="175"/>
                      <a:pt x="192" y="175"/>
                      <a:pt x="192" y="175"/>
                    </a:cubicBezTo>
                    <a:cubicBezTo>
                      <a:pt x="193" y="175"/>
                      <a:pt x="193" y="175"/>
                      <a:pt x="193" y="175"/>
                    </a:cubicBezTo>
                    <a:cubicBezTo>
                      <a:pt x="194" y="175"/>
                      <a:pt x="195" y="176"/>
                      <a:pt x="196" y="176"/>
                    </a:cubicBezTo>
                    <a:cubicBezTo>
                      <a:pt x="198" y="177"/>
                      <a:pt x="199" y="178"/>
                      <a:pt x="201" y="179"/>
                    </a:cubicBezTo>
                    <a:cubicBezTo>
                      <a:pt x="200" y="178"/>
                      <a:pt x="200" y="178"/>
                      <a:pt x="200" y="177"/>
                    </a:cubicBezTo>
                    <a:cubicBezTo>
                      <a:pt x="199" y="173"/>
                      <a:pt x="200" y="171"/>
                      <a:pt x="201" y="168"/>
                    </a:cubicBezTo>
                    <a:cubicBezTo>
                      <a:pt x="202" y="167"/>
                      <a:pt x="202" y="166"/>
                      <a:pt x="203" y="166"/>
                    </a:cubicBezTo>
                    <a:cubicBezTo>
                      <a:pt x="203" y="165"/>
                      <a:pt x="203" y="165"/>
                      <a:pt x="203" y="165"/>
                    </a:cubicBezTo>
                    <a:cubicBezTo>
                      <a:pt x="203" y="165"/>
                      <a:pt x="203" y="164"/>
                      <a:pt x="204" y="164"/>
                    </a:cubicBezTo>
                    <a:cubicBezTo>
                      <a:pt x="207" y="160"/>
                      <a:pt x="207" y="160"/>
                      <a:pt x="207" y="160"/>
                    </a:cubicBezTo>
                    <a:cubicBezTo>
                      <a:pt x="210" y="156"/>
                      <a:pt x="212" y="154"/>
                      <a:pt x="215" y="153"/>
                    </a:cubicBezTo>
                    <a:cubicBezTo>
                      <a:pt x="217" y="152"/>
                      <a:pt x="218" y="152"/>
                      <a:pt x="220" y="152"/>
                    </a:cubicBezTo>
                    <a:cubicBezTo>
                      <a:pt x="220" y="152"/>
                      <a:pt x="220" y="152"/>
                      <a:pt x="220" y="152"/>
                    </a:cubicBezTo>
                    <a:cubicBezTo>
                      <a:pt x="221" y="152"/>
                      <a:pt x="221" y="152"/>
                      <a:pt x="221" y="152"/>
                    </a:cubicBezTo>
                    <a:cubicBezTo>
                      <a:pt x="221" y="152"/>
                      <a:pt x="222" y="153"/>
                      <a:pt x="222" y="153"/>
                    </a:cubicBezTo>
                    <a:cubicBezTo>
                      <a:pt x="223" y="153"/>
                      <a:pt x="223" y="153"/>
                      <a:pt x="223" y="153"/>
                    </a:cubicBezTo>
                    <a:cubicBezTo>
                      <a:pt x="223" y="152"/>
                      <a:pt x="223" y="152"/>
                      <a:pt x="224" y="152"/>
                    </a:cubicBezTo>
                    <a:cubicBezTo>
                      <a:pt x="224" y="152"/>
                      <a:pt x="224" y="152"/>
                      <a:pt x="224" y="152"/>
                    </a:cubicBezTo>
                    <a:cubicBezTo>
                      <a:pt x="226" y="151"/>
                      <a:pt x="227" y="151"/>
                      <a:pt x="229" y="151"/>
                    </a:cubicBezTo>
                    <a:cubicBezTo>
                      <a:pt x="230" y="151"/>
                      <a:pt x="231" y="151"/>
                      <a:pt x="232" y="151"/>
                    </a:cubicBezTo>
                    <a:cubicBezTo>
                      <a:pt x="230" y="149"/>
                      <a:pt x="229" y="146"/>
                      <a:pt x="229" y="141"/>
                    </a:cubicBezTo>
                    <a:cubicBezTo>
                      <a:pt x="230" y="131"/>
                      <a:pt x="229" y="129"/>
                      <a:pt x="228" y="129"/>
                    </a:cubicBezTo>
                    <a:cubicBezTo>
                      <a:pt x="226" y="128"/>
                      <a:pt x="224" y="125"/>
                      <a:pt x="223" y="123"/>
                    </a:cubicBezTo>
                    <a:cubicBezTo>
                      <a:pt x="222" y="123"/>
                      <a:pt x="222" y="122"/>
                      <a:pt x="222" y="122"/>
                    </a:cubicBezTo>
                    <a:cubicBezTo>
                      <a:pt x="220" y="121"/>
                      <a:pt x="220" y="121"/>
                      <a:pt x="220" y="121"/>
                    </a:cubicBezTo>
                    <a:cubicBezTo>
                      <a:pt x="221" y="119"/>
                      <a:pt x="221" y="119"/>
                      <a:pt x="221" y="119"/>
                    </a:cubicBezTo>
                    <a:cubicBezTo>
                      <a:pt x="221" y="118"/>
                      <a:pt x="221" y="117"/>
                      <a:pt x="222" y="116"/>
                    </a:cubicBezTo>
                    <a:cubicBezTo>
                      <a:pt x="222" y="115"/>
                      <a:pt x="222" y="115"/>
                      <a:pt x="222" y="115"/>
                    </a:cubicBezTo>
                    <a:cubicBezTo>
                      <a:pt x="224" y="116"/>
                      <a:pt x="224" y="116"/>
                      <a:pt x="224" y="116"/>
                    </a:cubicBezTo>
                    <a:cubicBezTo>
                      <a:pt x="223" y="115"/>
                      <a:pt x="223" y="115"/>
                      <a:pt x="223" y="115"/>
                    </a:cubicBezTo>
                    <a:cubicBezTo>
                      <a:pt x="223" y="115"/>
                      <a:pt x="223" y="114"/>
                      <a:pt x="224" y="114"/>
                    </a:cubicBezTo>
                    <a:cubicBezTo>
                      <a:pt x="224" y="114"/>
                      <a:pt x="224" y="114"/>
                      <a:pt x="224" y="114"/>
                    </a:cubicBezTo>
                    <a:cubicBezTo>
                      <a:pt x="225" y="113"/>
                      <a:pt x="226" y="113"/>
                      <a:pt x="227" y="113"/>
                    </a:cubicBezTo>
                    <a:cubicBezTo>
                      <a:pt x="227" y="113"/>
                      <a:pt x="228" y="112"/>
                      <a:pt x="228" y="112"/>
                    </a:cubicBezTo>
                    <a:cubicBezTo>
                      <a:pt x="229" y="112"/>
                      <a:pt x="230" y="112"/>
                      <a:pt x="232" y="112"/>
                    </a:cubicBezTo>
                    <a:cubicBezTo>
                      <a:pt x="232" y="112"/>
                      <a:pt x="233" y="112"/>
                      <a:pt x="233" y="112"/>
                    </a:cubicBezTo>
                    <a:cubicBezTo>
                      <a:pt x="235" y="112"/>
                      <a:pt x="236" y="112"/>
                      <a:pt x="238" y="112"/>
                    </a:cubicBezTo>
                    <a:cubicBezTo>
                      <a:pt x="239" y="112"/>
                      <a:pt x="241" y="113"/>
                      <a:pt x="243" y="113"/>
                    </a:cubicBezTo>
                    <a:cubicBezTo>
                      <a:pt x="244" y="113"/>
                      <a:pt x="245" y="113"/>
                      <a:pt x="245" y="113"/>
                    </a:cubicBezTo>
                    <a:cubicBezTo>
                      <a:pt x="250" y="113"/>
                      <a:pt x="255" y="110"/>
                      <a:pt x="258" y="108"/>
                    </a:cubicBezTo>
                    <a:cubicBezTo>
                      <a:pt x="260" y="107"/>
                      <a:pt x="261" y="106"/>
                      <a:pt x="262" y="105"/>
                    </a:cubicBezTo>
                    <a:cubicBezTo>
                      <a:pt x="261" y="105"/>
                      <a:pt x="260" y="104"/>
                      <a:pt x="260" y="104"/>
                    </a:cubicBezTo>
                    <a:cubicBezTo>
                      <a:pt x="256" y="102"/>
                      <a:pt x="254" y="99"/>
                      <a:pt x="253" y="96"/>
                    </a:cubicBezTo>
                    <a:cubicBezTo>
                      <a:pt x="253" y="96"/>
                      <a:pt x="253" y="96"/>
                      <a:pt x="253" y="96"/>
                    </a:cubicBezTo>
                    <a:cubicBezTo>
                      <a:pt x="243" y="95"/>
                      <a:pt x="237" y="93"/>
                      <a:pt x="235" y="91"/>
                    </a:cubicBezTo>
                    <a:cubicBezTo>
                      <a:pt x="233" y="88"/>
                      <a:pt x="233" y="88"/>
                      <a:pt x="233" y="88"/>
                    </a:cubicBezTo>
                    <a:cubicBezTo>
                      <a:pt x="236" y="86"/>
                      <a:pt x="236" y="86"/>
                      <a:pt x="236" y="86"/>
                    </a:cubicBezTo>
                    <a:cubicBezTo>
                      <a:pt x="236" y="86"/>
                      <a:pt x="237" y="84"/>
                      <a:pt x="236" y="83"/>
                    </a:cubicBezTo>
                    <a:cubicBezTo>
                      <a:pt x="236" y="80"/>
                      <a:pt x="234" y="79"/>
                      <a:pt x="232" y="78"/>
                    </a:cubicBezTo>
                    <a:cubicBezTo>
                      <a:pt x="222" y="73"/>
                      <a:pt x="218" y="64"/>
                      <a:pt x="218" y="59"/>
                    </a:cubicBezTo>
                    <a:cubicBezTo>
                      <a:pt x="218" y="58"/>
                      <a:pt x="214" y="55"/>
                      <a:pt x="209" y="54"/>
                    </a:cubicBezTo>
                    <a:cubicBezTo>
                      <a:pt x="206" y="53"/>
                      <a:pt x="206" y="53"/>
                      <a:pt x="206" y="53"/>
                    </a:cubicBezTo>
                    <a:cubicBezTo>
                      <a:pt x="207" y="50"/>
                      <a:pt x="207" y="50"/>
                      <a:pt x="207" y="50"/>
                    </a:cubicBezTo>
                    <a:cubicBezTo>
                      <a:pt x="207" y="48"/>
                      <a:pt x="211" y="43"/>
                      <a:pt x="213" y="40"/>
                    </a:cubicBezTo>
                    <a:cubicBezTo>
                      <a:pt x="213" y="39"/>
                      <a:pt x="212" y="38"/>
                      <a:pt x="211" y="37"/>
                    </a:cubicBezTo>
                    <a:cubicBezTo>
                      <a:pt x="210" y="36"/>
                      <a:pt x="209" y="34"/>
                      <a:pt x="208" y="32"/>
                    </a:cubicBezTo>
                    <a:cubicBezTo>
                      <a:pt x="207" y="29"/>
                      <a:pt x="207" y="29"/>
                      <a:pt x="207" y="29"/>
                    </a:cubicBezTo>
                    <a:cubicBezTo>
                      <a:pt x="211" y="26"/>
                      <a:pt x="211" y="26"/>
                      <a:pt x="211" y="26"/>
                    </a:cubicBezTo>
                    <a:cubicBezTo>
                      <a:pt x="211" y="20"/>
                      <a:pt x="211" y="20"/>
                      <a:pt x="211" y="20"/>
                    </a:cubicBezTo>
                    <a:cubicBezTo>
                      <a:pt x="209" y="19"/>
                      <a:pt x="206" y="17"/>
                      <a:pt x="200" y="14"/>
                    </a:cubicBezTo>
                    <a:cubicBezTo>
                      <a:pt x="198" y="14"/>
                      <a:pt x="197" y="13"/>
                      <a:pt x="195" y="13"/>
                    </a:cubicBezTo>
                    <a:cubicBezTo>
                      <a:pt x="194" y="12"/>
                      <a:pt x="194" y="12"/>
                      <a:pt x="194" y="12"/>
                    </a:cubicBezTo>
                    <a:cubicBezTo>
                      <a:pt x="193" y="12"/>
                      <a:pt x="191" y="12"/>
                      <a:pt x="189" y="12"/>
                    </a:cubicBezTo>
                    <a:cubicBezTo>
                      <a:pt x="187" y="12"/>
                      <a:pt x="185" y="12"/>
                      <a:pt x="184" y="13"/>
                    </a:cubicBezTo>
                    <a:cubicBezTo>
                      <a:pt x="183" y="14"/>
                      <a:pt x="181" y="15"/>
                      <a:pt x="180" y="15"/>
                    </a:cubicBezTo>
                    <a:cubicBezTo>
                      <a:pt x="180" y="15"/>
                      <a:pt x="180" y="15"/>
                      <a:pt x="180" y="15"/>
                    </a:cubicBezTo>
                    <a:cubicBezTo>
                      <a:pt x="179" y="16"/>
                      <a:pt x="178" y="16"/>
                      <a:pt x="177" y="17"/>
                    </a:cubicBezTo>
                    <a:cubicBezTo>
                      <a:pt x="176" y="17"/>
                      <a:pt x="176" y="18"/>
                      <a:pt x="175" y="18"/>
                    </a:cubicBezTo>
                    <a:cubicBezTo>
                      <a:pt x="174" y="18"/>
                      <a:pt x="174" y="18"/>
                      <a:pt x="174" y="18"/>
                    </a:cubicBezTo>
                    <a:cubicBezTo>
                      <a:pt x="174" y="18"/>
                      <a:pt x="174" y="18"/>
                      <a:pt x="174" y="18"/>
                    </a:cubicBezTo>
                    <a:cubicBezTo>
                      <a:pt x="173" y="18"/>
                      <a:pt x="173" y="18"/>
                      <a:pt x="172" y="18"/>
                    </a:cubicBezTo>
                    <a:cubicBezTo>
                      <a:pt x="172" y="18"/>
                      <a:pt x="172" y="18"/>
                      <a:pt x="172" y="18"/>
                    </a:cubicBezTo>
                    <a:cubicBezTo>
                      <a:pt x="171" y="17"/>
                      <a:pt x="170" y="17"/>
                      <a:pt x="170" y="17"/>
                    </a:cubicBezTo>
                    <a:cubicBezTo>
                      <a:pt x="169" y="16"/>
                      <a:pt x="169" y="16"/>
                      <a:pt x="169" y="16"/>
                    </a:cubicBezTo>
                    <a:cubicBezTo>
                      <a:pt x="169" y="16"/>
                      <a:pt x="169" y="16"/>
                      <a:pt x="169" y="16"/>
                    </a:cubicBezTo>
                    <a:cubicBezTo>
                      <a:pt x="168" y="15"/>
                      <a:pt x="168" y="15"/>
                      <a:pt x="168" y="15"/>
                    </a:cubicBezTo>
                    <a:cubicBezTo>
                      <a:pt x="168" y="15"/>
                      <a:pt x="168" y="15"/>
                      <a:pt x="168" y="15"/>
                    </a:cubicBezTo>
                    <a:cubicBezTo>
                      <a:pt x="168" y="14"/>
                      <a:pt x="168" y="14"/>
                      <a:pt x="168" y="14"/>
                    </a:cubicBezTo>
                    <a:cubicBezTo>
                      <a:pt x="167" y="13"/>
                      <a:pt x="167" y="12"/>
                      <a:pt x="167" y="12"/>
                    </a:cubicBezTo>
                    <a:cubicBezTo>
                      <a:pt x="167" y="11"/>
                      <a:pt x="167" y="11"/>
                      <a:pt x="167" y="11"/>
                    </a:cubicBezTo>
                    <a:cubicBezTo>
                      <a:pt x="167" y="11"/>
                      <a:pt x="167" y="10"/>
                      <a:pt x="167" y="9"/>
                    </a:cubicBezTo>
                    <a:cubicBezTo>
                      <a:pt x="167" y="9"/>
                      <a:pt x="167" y="8"/>
                      <a:pt x="166" y="7"/>
                    </a:cubicBezTo>
                    <a:cubicBezTo>
                      <a:pt x="166" y="7"/>
                      <a:pt x="165" y="7"/>
                      <a:pt x="165" y="6"/>
                    </a:cubicBezTo>
                    <a:cubicBezTo>
                      <a:pt x="164" y="7"/>
                      <a:pt x="163" y="7"/>
                      <a:pt x="161" y="7"/>
                    </a:cubicBezTo>
                    <a:cubicBezTo>
                      <a:pt x="161" y="8"/>
                      <a:pt x="161" y="8"/>
                      <a:pt x="161" y="8"/>
                    </a:cubicBezTo>
                    <a:cubicBezTo>
                      <a:pt x="160" y="8"/>
                      <a:pt x="160" y="8"/>
                      <a:pt x="160" y="8"/>
                    </a:cubicBezTo>
                    <a:cubicBezTo>
                      <a:pt x="159" y="8"/>
                      <a:pt x="158" y="8"/>
                      <a:pt x="156" y="8"/>
                    </a:cubicBezTo>
                    <a:cubicBezTo>
                      <a:pt x="156" y="8"/>
                      <a:pt x="156" y="8"/>
                      <a:pt x="156" y="8"/>
                    </a:cubicBezTo>
                    <a:cubicBezTo>
                      <a:pt x="155" y="8"/>
                      <a:pt x="154" y="8"/>
                      <a:pt x="153" y="8"/>
                    </a:cubicBezTo>
                    <a:cubicBezTo>
                      <a:pt x="152" y="8"/>
                      <a:pt x="152" y="8"/>
                      <a:pt x="152" y="8"/>
                    </a:cubicBezTo>
                    <a:cubicBezTo>
                      <a:pt x="150" y="7"/>
                      <a:pt x="149" y="7"/>
                      <a:pt x="148" y="7"/>
                    </a:cubicBezTo>
                    <a:cubicBezTo>
                      <a:pt x="147" y="6"/>
                      <a:pt x="147" y="6"/>
                      <a:pt x="147" y="6"/>
                    </a:cubicBezTo>
                    <a:cubicBezTo>
                      <a:pt x="147" y="6"/>
                      <a:pt x="147" y="6"/>
                      <a:pt x="147" y="6"/>
                    </a:cubicBezTo>
                    <a:cubicBezTo>
                      <a:pt x="147" y="6"/>
                      <a:pt x="147" y="6"/>
                      <a:pt x="147" y="6"/>
                    </a:cubicBezTo>
                    <a:cubicBezTo>
                      <a:pt x="146" y="6"/>
                      <a:pt x="146" y="6"/>
                      <a:pt x="146" y="6"/>
                    </a:cubicBezTo>
                    <a:cubicBezTo>
                      <a:pt x="145" y="5"/>
                      <a:pt x="145" y="5"/>
                      <a:pt x="145" y="5"/>
                    </a:cubicBezTo>
                    <a:cubicBezTo>
                      <a:pt x="145" y="5"/>
                      <a:pt x="144" y="5"/>
                      <a:pt x="143" y="4"/>
                    </a:cubicBezTo>
                    <a:cubicBezTo>
                      <a:pt x="142" y="4"/>
                      <a:pt x="142" y="4"/>
                      <a:pt x="142" y="4"/>
                    </a:cubicBezTo>
                    <a:cubicBezTo>
                      <a:pt x="141" y="3"/>
                      <a:pt x="141" y="3"/>
                      <a:pt x="141" y="3"/>
                    </a:cubicBezTo>
                    <a:cubicBezTo>
                      <a:pt x="139" y="2"/>
                      <a:pt x="139" y="2"/>
                      <a:pt x="139" y="2"/>
                    </a:cubicBezTo>
                    <a:cubicBezTo>
                      <a:pt x="139" y="2"/>
                      <a:pt x="139" y="2"/>
                      <a:pt x="139" y="2"/>
                    </a:cubicBezTo>
                    <a:cubicBezTo>
                      <a:pt x="138" y="2"/>
                      <a:pt x="138" y="2"/>
                      <a:pt x="138" y="2"/>
                    </a:cubicBezTo>
                    <a:cubicBezTo>
                      <a:pt x="138" y="1"/>
                      <a:pt x="137" y="1"/>
                      <a:pt x="137" y="1"/>
                    </a:cubicBezTo>
                    <a:cubicBezTo>
                      <a:pt x="137" y="1"/>
                      <a:pt x="137" y="1"/>
                      <a:pt x="137" y="1"/>
                    </a:cubicBezTo>
                    <a:cubicBezTo>
                      <a:pt x="136" y="1"/>
                      <a:pt x="136" y="1"/>
                      <a:pt x="136" y="1"/>
                    </a:cubicBezTo>
                    <a:cubicBezTo>
                      <a:pt x="136" y="0"/>
                      <a:pt x="136" y="0"/>
                      <a:pt x="1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318"/>
              <p:cNvSpPr/>
              <p:nvPr/>
            </p:nvSpPr>
            <p:spPr bwMode="auto">
              <a:xfrm>
                <a:off x="6253642" y="3217107"/>
                <a:ext cx="493805" cy="294809"/>
              </a:xfrm>
              <a:custGeom>
                <a:gdLst>
                  <a:gd name="T0" fmla="*/ 105 w 155"/>
                  <a:gd name="T1" fmla="*/ 2 h 93"/>
                  <a:gd name="T2" fmla="*/ 101 w 155"/>
                  <a:gd name="T3" fmla="*/ 5 h 93"/>
                  <a:gd name="T4" fmla="*/ 96 w 155"/>
                  <a:gd name="T5" fmla="*/ 5 h 93"/>
                  <a:gd name="T6" fmla="*/ 90 w 155"/>
                  <a:gd name="T7" fmla="*/ 6 h 93"/>
                  <a:gd name="T8" fmla="*/ 80 w 155"/>
                  <a:gd name="T9" fmla="*/ 3 h 93"/>
                  <a:gd name="T10" fmla="*/ 78 w 155"/>
                  <a:gd name="T11" fmla="*/ 3 h 93"/>
                  <a:gd name="T12" fmla="*/ 71 w 155"/>
                  <a:gd name="T13" fmla="*/ 3 h 93"/>
                  <a:gd name="T14" fmla="*/ 62 w 155"/>
                  <a:gd name="T15" fmla="*/ 2 h 93"/>
                  <a:gd name="T16" fmla="*/ 58 w 155"/>
                  <a:gd name="T17" fmla="*/ 4 h 93"/>
                  <a:gd name="T18" fmla="*/ 53 w 155"/>
                  <a:gd name="T19" fmla="*/ 1 h 93"/>
                  <a:gd name="T20" fmla="*/ 45 w 155"/>
                  <a:gd name="T21" fmla="*/ 2 h 93"/>
                  <a:gd name="T22" fmla="*/ 36 w 155"/>
                  <a:gd name="T23" fmla="*/ 1 h 93"/>
                  <a:gd name="T24" fmla="*/ 15 w 155"/>
                  <a:gd name="T25" fmla="*/ 6 h 93"/>
                  <a:gd name="T26" fmla="*/ 8 w 155"/>
                  <a:gd name="T27" fmla="*/ 10 h 93"/>
                  <a:gd name="T28" fmla="*/ 1 w 155"/>
                  <a:gd name="T29" fmla="*/ 15 h 93"/>
                  <a:gd name="T30" fmla="*/ 5 w 155"/>
                  <a:gd name="T31" fmla="*/ 32 h 93"/>
                  <a:gd name="T32" fmla="*/ 9 w 155"/>
                  <a:gd name="T33" fmla="*/ 41 h 93"/>
                  <a:gd name="T34" fmla="*/ 30 w 155"/>
                  <a:gd name="T35" fmla="*/ 48 h 93"/>
                  <a:gd name="T36" fmla="*/ 31 w 155"/>
                  <a:gd name="T37" fmla="*/ 48 h 93"/>
                  <a:gd name="T38" fmla="*/ 40 w 155"/>
                  <a:gd name="T39" fmla="*/ 47 h 93"/>
                  <a:gd name="T40" fmla="*/ 46 w 155"/>
                  <a:gd name="T41" fmla="*/ 49 h 93"/>
                  <a:gd name="T42" fmla="*/ 55 w 155"/>
                  <a:gd name="T43" fmla="*/ 61 h 93"/>
                  <a:gd name="T44" fmla="*/ 53 w 155"/>
                  <a:gd name="T45" fmla="*/ 64 h 93"/>
                  <a:gd name="T46" fmla="*/ 52 w 155"/>
                  <a:gd name="T47" fmla="*/ 66 h 93"/>
                  <a:gd name="T48" fmla="*/ 57 w 155"/>
                  <a:gd name="T49" fmla="*/ 76 h 93"/>
                  <a:gd name="T50" fmla="*/ 61 w 155"/>
                  <a:gd name="T51" fmla="*/ 77 h 93"/>
                  <a:gd name="T52" fmla="*/ 65 w 155"/>
                  <a:gd name="T53" fmla="*/ 80 h 93"/>
                  <a:gd name="T54" fmla="*/ 70 w 155"/>
                  <a:gd name="T55" fmla="*/ 86 h 93"/>
                  <a:gd name="T56" fmla="*/ 72 w 155"/>
                  <a:gd name="T57" fmla="*/ 89 h 93"/>
                  <a:gd name="T58" fmla="*/ 73 w 155"/>
                  <a:gd name="T59" fmla="*/ 91 h 93"/>
                  <a:gd name="T60" fmla="*/ 80 w 155"/>
                  <a:gd name="T61" fmla="*/ 91 h 93"/>
                  <a:gd name="T62" fmla="*/ 92 w 155"/>
                  <a:gd name="T63" fmla="*/ 93 h 93"/>
                  <a:gd name="T64" fmla="*/ 102 w 155"/>
                  <a:gd name="T65" fmla="*/ 92 h 93"/>
                  <a:gd name="T66" fmla="*/ 105 w 155"/>
                  <a:gd name="T67" fmla="*/ 91 h 93"/>
                  <a:gd name="T68" fmla="*/ 105 w 155"/>
                  <a:gd name="T69" fmla="*/ 87 h 93"/>
                  <a:gd name="T70" fmla="*/ 108 w 155"/>
                  <a:gd name="T71" fmla="*/ 85 h 93"/>
                  <a:gd name="T72" fmla="*/ 109 w 155"/>
                  <a:gd name="T73" fmla="*/ 84 h 93"/>
                  <a:gd name="T74" fmla="*/ 113 w 155"/>
                  <a:gd name="T75" fmla="*/ 84 h 93"/>
                  <a:gd name="T76" fmla="*/ 117 w 155"/>
                  <a:gd name="T77" fmla="*/ 82 h 93"/>
                  <a:gd name="T78" fmla="*/ 124 w 155"/>
                  <a:gd name="T79" fmla="*/ 79 h 93"/>
                  <a:gd name="T80" fmla="*/ 131 w 155"/>
                  <a:gd name="T81" fmla="*/ 62 h 93"/>
                  <a:gd name="T82" fmla="*/ 141 w 155"/>
                  <a:gd name="T83" fmla="*/ 52 h 93"/>
                  <a:gd name="T84" fmla="*/ 145 w 155"/>
                  <a:gd name="T85" fmla="*/ 50 h 93"/>
                  <a:gd name="T86" fmla="*/ 152 w 155"/>
                  <a:gd name="T87" fmla="*/ 43 h 93"/>
                  <a:gd name="T88" fmla="*/ 155 w 155"/>
                  <a:gd name="T89" fmla="*/ 29 h 93"/>
                  <a:gd name="T90" fmla="*/ 148 w 155"/>
                  <a:gd name="T91" fmla="*/ 25 h 93"/>
                  <a:gd name="T92" fmla="*/ 138 w 155"/>
                  <a:gd name="T93" fmla="*/ 18 h 93"/>
                  <a:gd name="T94" fmla="*/ 129 w 155"/>
                  <a:gd name="T95" fmla="*/ 11 h 93"/>
                  <a:gd name="T96" fmla="*/ 125 w 155"/>
                  <a:gd name="T97" fmla="*/ 10 h 93"/>
                  <a:gd name="T98" fmla="*/ 111 w 155"/>
                  <a:gd name="T99" fmla="*/ 4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5" h="93">
                    <a:moveTo>
                      <a:pt x="108" y="0"/>
                    </a:moveTo>
                    <a:cubicBezTo>
                      <a:pt x="108" y="0"/>
                      <a:pt x="107" y="0"/>
                      <a:pt x="106" y="1"/>
                    </a:cubicBezTo>
                    <a:cubicBezTo>
                      <a:pt x="106" y="1"/>
                      <a:pt x="105" y="2"/>
                      <a:pt x="105" y="2"/>
                    </a:cubicBezTo>
                    <a:cubicBezTo>
                      <a:pt x="104" y="3"/>
                      <a:pt x="104" y="3"/>
                      <a:pt x="104" y="3"/>
                    </a:cubicBezTo>
                    <a:cubicBezTo>
                      <a:pt x="103" y="3"/>
                      <a:pt x="103" y="4"/>
                      <a:pt x="102" y="4"/>
                    </a:cubicBezTo>
                    <a:cubicBezTo>
                      <a:pt x="102" y="4"/>
                      <a:pt x="101" y="5"/>
                      <a:pt x="101" y="5"/>
                    </a:cubicBezTo>
                    <a:cubicBezTo>
                      <a:pt x="101" y="5"/>
                      <a:pt x="100" y="5"/>
                      <a:pt x="100" y="5"/>
                    </a:cubicBezTo>
                    <a:cubicBezTo>
                      <a:pt x="99" y="5"/>
                      <a:pt x="98" y="5"/>
                      <a:pt x="98" y="5"/>
                    </a:cubicBezTo>
                    <a:cubicBezTo>
                      <a:pt x="97" y="5"/>
                      <a:pt x="96" y="5"/>
                      <a:pt x="96" y="5"/>
                    </a:cubicBezTo>
                    <a:cubicBezTo>
                      <a:pt x="95" y="5"/>
                      <a:pt x="95" y="5"/>
                      <a:pt x="94" y="5"/>
                    </a:cubicBezTo>
                    <a:cubicBezTo>
                      <a:pt x="94" y="5"/>
                      <a:pt x="93" y="5"/>
                      <a:pt x="93" y="5"/>
                    </a:cubicBezTo>
                    <a:cubicBezTo>
                      <a:pt x="92" y="5"/>
                      <a:pt x="91" y="6"/>
                      <a:pt x="90" y="6"/>
                    </a:cubicBezTo>
                    <a:cubicBezTo>
                      <a:pt x="90" y="6"/>
                      <a:pt x="89" y="6"/>
                      <a:pt x="88" y="6"/>
                    </a:cubicBezTo>
                    <a:cubicBezTo>
                      <a:pt x="87" y="6"/>
                      <a:pt x="86" y="5"/>
                      <a:pt x="83" y="4"/>
                    </a:cubicBezTo>
                    <a:cubicBezTo>
                      <a:pt x="82" y="4"/>
                      <a:pt x="81" y="4"/>
                      <a:pt x="80" y="3"/>
                    </a:cubicBezTo>
                    <a:cubicBezTo>
                      <a:pt x="79" y="3"/>
                      <a:pt x="79" y="3"/>
                      <a:pt x="79" y="3"/>
                    </a:cubicBezTo>
                    <a:cubicBezTo>
                      <a:pt x="79" y="9"/>
                      <a:pt x="79" y="9"/>
                      <a:pt x="79" y="9"/>
                    </a:cubicBezTo>
                    <a:cubicBezTo>
                      <a:pt x="78" y="3"/>
                      <a:pt x="78" y="3"/>
                      <a:pt x="78" y="3"/>
                    </a:cubicBezTo>
                    <a:cubicBezTo>
                      <a:pt x="77" y="3"/>
                      <a:pt x="77" y="3"/>
                      <a:pt x="77" y="3"/>
                    </a:cubicBezTo>
                    <a:cubicBezTo>
                      <a:pt x="76" y="3"/>
                      <a:pt x="75" y="3"/>
                      <a:pt x="74" y="3"/>
                    </a:cubicBezTo>
                    <a:cubicBezTo>
                      <a:pt x="71" y="3"/>
                      <a:pt x="71" y="3"/>
                      <a:pt x="71" y="3"/>
                    </a:cubicBezTo>
                    <a:cubicBezTo>
                      <a:pt x="69" y="3"/>
                      <a:pt x="66" y="3"/>
                      <a:pt x="63" y="2"/>
                    </a:cubicBezTo>
                    <a:cubicBezTo>
                      <a:pt x="63" y="2"/>
                      <a:pt x="63" y="2"/>
                      <a:pt x="63" y="2"/>
                    </a:cubicBezTo>
                    <a:cubicBezTo>
                      <a:pt x="63" y="2"/>
                      <a:pt x="63" y="2"/>
                      <a:pt x="62" y="2"/>
                    </a:cubicBezTo>
                    <a:cubicBezTo>
                      <a:pt x="62" y="3"/>
                      <a:pt x="61" y="3"/>
                      <a:pt x="61" y="3"/>
                    </a:cubicBezTo>
                    <a:cubicBezTo>
                      <a:pt x="61" y="3"/>
                      <a:pt x="61" y="3"/>
                      <a:pt x="61" y="3"/>
                    </a:cubicBezTo>
                    <a:cubicBezTo>
                      <a:pt x="60" y="4"/>
                      <a:pt x="59" y="4"/>
                      <a:pt x="58" y="4"/>
                    </a:cubicBezTo>
                    <a:cubicBezTo>
                      <a:pt x="56" y="4"/>
                      <a:pt x="54" y="2"/>
                      <a:pt x="53" y="1"/>
                    </a:cubicBezTo>
                    <a:cubicBezTo>
                      <a:pt x="53" y="1"/>
                      <a:pt x="53" y="1"/>
                      <a:pt x="53" y="1"/>
                    </a:cubicBezTo>
                    <a:cubicBezTo>
                      <a:pt x="53" y="1"/>
                      <a:pt x="53" y="1"/>
                      <a:pt x="53" y="1"/>
                    </a:cubicBezTo>
                    <a:cubicBezTo>
                      <a:pt x="52" y="1"/>
                      <a:pt x="51" y="2"/>
                      <a:pt x="51" y="2"/>
                    </a:cubicBezTo>
                    <a:cubicBezTo>
                      <a:pt x="49" y="2"/>
                      <a:pt x="48" y="2"/>
                      <a:pt x="48" y="2"/>
                    </a:cubicBezTo>
                    <a:cubicBezTo>
                      <a:pt x="46" y="2"/>
                      <a:pt x="46" y="2"/>
                      <a:pt x="45" y="2"/>
                    </a:cubicBezTo>
                    <a:cubicBezTo>
                      <a:pt x="44" y="1"/>
                      <a:pt x="44" y="1"/>
                      <a:pt x="44" y="1"/>
                    </a:cubicBezTo>
                    <a:cubicBezTo>
                      <a:pt x="42" y="1"/>
                      <a:pt x="42" y="1"/>
                      <a:pt x="42" y="1"/>
                    </a:cubicBezTo>
                    <a:cubicBezTo>
                      <a:pt x="40" y="1"/>
                      <a:pt x="38" y="1"/>
                      <a:pt x="36" y="1"/>
                    </a:cubicBezTo>
                    <a:cubicBezTo>
                      <a:pt x="34" y="1"/>
                      <a:pt x="34" y="1"/>
                      <a:pt x="34" y="1"/>
                    </a:cubicBezTo>
                    <a:cubicBezTo>
                      <a:pt x="34" y="1"/>
                      <a:pt x="34" y="1"/>
                      <a:pt x="34" y="1"/>
                    </a:cubicBezTo>
                    <a:cubicBezTo>
                      <a:pt x="28" y="1"/>
                      <a:pt x="21" y="3"/>
                      <a:pt x="15" y="6"/>
                    </a:cubicBezTo>
                    <a:cubicBezTo>
                      <a:pt x="14" y="6"/>
                      <a:pt x="12" y="7"/>
                      <a:pt x="11" y="8"/>
                    </a:cubicBezTo>
                    <a:cubicBezTo>
                      <a:pt x="10" y="8"/>
                      <a:pt x="10" y="9"/>
                      <a:pt x="9" y="9"/>
                    </a:cubicBezTo>
                    <a:cubicBezTo>
                      <a:pt x="8" y="10"/>
                      <a:pt x="8" y="10"/>
                      <a:pt x="8" y="10"/>
                    </a:cubicBezTo>
                    <a:cubicBezTo>
                      <a:pt x="8" y="10"/>
                      <a:pt x="7" y="11"/>
                      <a:pt x="7" y="11"/>
                    </a:cubicBezTo>
                    <a:cubicBezTo>
                      <a:pt x="5" y="12"/>
                      <a:pt x="4" y="13"/>
                      <a:pt x="2" y="14"/>
                    </a:cubicBezTo>
                    <a:cubicBezTo>
                      <a:pt x="1" y="15"/>
                      <a:pt x="1" y="15"/>
                      <a:pt x="1" y="15"/>
                    </a:cubicBezTo>
                    <a:cubicBezTo>
                      <a:pt x="0" y="14"/>
                      <a:pt x="0" y="14"/>
                      <a:pt x="0" y="14"/>
                    </a:cubicBezTo>
                    <a:cubicBezTo>
                      <a:pt x="0" y="15"/>
                      <a:pt x="1" y="17"/>
                      <a:pt x="0" y="19"/>
                    </a:cubicBezTo>
                    <a:cubicBezTo>
                      <a:pt x="0" y="23"/>
                      <a:pt x="4" y="28"/>
                      <a:pt x="5" y="32"/>
                    </a:cubicBezTo>
                    <a:cubicBezTo>
                      <a:pt x="6" y="35"/>
                      <a:pt x="6" y="37"/>
                      <a:pt x="6" y="40"/>
                    </a:cubicBezTo>
                    <a:cubicBezTo>
                      <a:pt x="7" y="39"/>
                      <a:pt x="7" y="39"/>
                      <a:pt x="7" y="39"/>
                    </a:cubicBezTo>
                    <a:cubicBezTo>
                      <a:pt x="9" y="41"/>
                      <a:pt x="9" y="41"/>
                      <a:pt x="9" y="41"/>
                    </a:cubicBezTo>
                    <a:cubicBezTo>
                      <a:pt x="10" y="41"/>
                      <a:pt x="10" y="41"/>
                      <a:pt x="10" y="41"/>
                    </a:cubicBezTo>
                    <a:cubicBezTo>
                      <a:pt x="14" y="43"/>
                      <a:pt x="23" y="46"/>
                      <a:pt x="28" y="48"/>
                    </a:cubicBezTo>
                    <a:cubicBezTo>
                      <a:pt x="29" y="48"/>
                      <a:pt x="29" y="48"/>
                      <a:pt x="30" y="48"/>
                    </a:cubicBezTo>
                    <a:cubicBezTo>
                      <a:pt x="30" y="48"/>
                      <a:pt x="30" y="48"/>
                      <a:pt x="30" y="48"/>
                    </a:cubicBezTo>
                    <a:cubicBezTo>
                      <a:pt x="31" y="48"/>
                      <a:pt x="31" y="48"/>
                      <a:pt x="31" y="48"/>
                    </a:cubicBezTo>
                    <a:cubicBezTo>
                      <a:pt x="31" y="48"/>
                      <a:pt x="31" y="48"/>
                      <a:pt x="31" y="48"/>
                    </a:cubicBezTo>
                    <a:cubicBezTo>
                      <a:pt x="33" y="48"/>
                      <a:pt x="34" y="48"/>
                      <a:pt x="35" y="48"/>
                    </a:cubicBezTo>
                    <a:cubicBezTo>
                      <a:pt x="35" y="48"/>
                      <a:pt x="35" y="48"/>
                      <a:pt x="35" y="48"/>
                    </a:cubicBezTo>
                    <a:cubicBezTo>
                      <a:pt x="37" y="47"/>
                      <a:pt x="38" y="47"/>
                      <a:pt x="40" y="47"/>
                    </a:cubicBezTo>
                    <a:cubicBezTo>
                      <a:pt x="40" y="47"/>
                      <a:pt x="40" y="47"/>
                      <a:pt x="40" y="47"/>
                    </a:cubicBezTo>
                    <a:cubicBezTo>
                      <a:pt x="42" y="47"/>
                      <a:pt x="44" y="47"/>
                      <a:pt x="46" y="49"/>
                    </a:cubicBezTo>
                    <a:cubicBezTo>
                      <a:pt x="46" y="49"/>
                      <a:pt x="46" y="49"/>
                      <a:pt x="46" y="49"/>
                    </a:cubicBezTo>
                    <a:cubicBezTo>
                      <a:pt x="47" y="50"/>
                      <a:pt x="47" y="50"/>
                      <a:pt x="47" y="50"/>
                    </a:cubicBezTo>
                    <a:cubicBezTo>
                      <a:pt x="48" y="50"/>
                      <a:pt x="48" y="51"/>
                      <a:pt x="48" y="52"/>
                    </a:cubicBezTo>
                    <a:cubicBezTo>
                      <a:pt x="55" y="61"/>
                      <a:pt x="55" y="61"/>
                      <a:pt x="55" y="61"/>
                    </a:cubicBezTo>
                    <a:cubicBezTo>
                      <a:pt x="53" y="63"/>
                      <a:pt x="53" y="63"/>
                      <a:pt x="53" y="63"/>
                    </a:cubicBezTo>
                    <a:cubicBezTo>
                      <a:pt x="53" y="63"/>
                      <a:pt x="53" y="63"/>
                      <a:pt x="53" y="63"/>
                    </a:cubicBezTo>
                    <a:cubicBezTo>
                      <a:pt x="53" y="64"/>
                      <a:pt x="53" y="64"/>
                      <a:pt x="53" y="64"/>
                    </a:cubicBezTo>
                    <a:cubicBezTo>
                      <a:pt x="53" y="64"/>
                      <a:pt x="53" y="64"/>
                      <a:pt x="53" y="65"/>
                    </a:cubicBezTo>
                    <a:cubicBezTo>
                      <a:pt x="53" y="66"/>
                      <a:pt x="53" y="66"/>
                      <a:pt x="53" y="66"/>
                    </a:cubicBezTo>
                    <a:cubicBezTo>
                      <a:pt x="52" y="66"/>
                      <a:pt x="52" y="66"/>
                      <a:pt x="52" y="66"/>
                    </a:cubicBezTo>
                    <a:cubicBezTo>
                      <a:pt x="53" y="75"/>
                      <a:pt x="53" y="75"/>
                      <a:pt x="53" y="75"/>
                    </a:cubicBezTo>
                    <a:cubicBezTo>
                      <a:pt x="54" y="75"/>
                      <a:pt x="54" y="75"/>
                      <a:pt x="55" y="75"/>
                    </a:cubicBezTo>
                    <a:cubicBezTo>
                      <a:pt x="55" y="75"/>
                      <a:pt x="56" y="76"/>
                      <a:pt x="57" y="76"/>
                    </a:cubicBezTo>
                    <a:cubicBezTo>
                      <a:pt x="58" y="76"/>
                      <a:pt x="58" y="76"/>
                      <a:pt x="58" y="76"/>
                    </a:cubicBezTo>
                    <a:cubicBezTo>
                      <a:pt x="59" y="76"/>
                      <a:pt x="60" y="77"/>
                      <a:pt x="60" y="77"/>
                    </a:cubicBezTo>
                    <a:cubicBezTo>
                      <a:pt x="61" y="77"/>
                      <a:pt x="61" y="77"/>
                      <a:pt x="61" y="77"/>
                    </a:cubicBezTo>
                    <a:cubicBezTo>
                      <a:pt x="62" y="78"/>
                      <a:pt x="62" y="78"/>
                      <a:pt x="62" y="78"/>
                    </a:cubicBezTo>
                    <a:cubicBezTo>
                      <a:pt x="63" y="78"/>
                      <a:pt x="63" y="79"/>
                      <a:pt x="64" y="79"/>
                    </a:cubicBezTo>
                    <a:cubicBezTo>
                      <a:pt x="65" y="80"/>
                      <a:pt x="65" y="80"/>
                      <a:pt x="65" y="80"/>
                    </a:cubicBezTo>
                    <a:cubicBezTo>
                      <a:pt x="66" y="81"/>
                      <a:pt x="67" y="82"/>
                      <a:pt x="68" y="83"/>
                    </a:cubicBezTo>
                    <a:cubicBezTo>
                      <a:pt x="68" y="83"/>
                      <a:pt x="68" y="83"/>
                      <a:pt x="68" y="83"/>
                    </a:cubicBezTo>
                    <a:cubicBezTo>
                      <a:pt x="68" y="83"/>
                      <a:pt x="69" y="84"/>
                      <a:pt x="70" y="86"/>
                    </a:cubicBezTo>
                    <a:cubicBezTo>
                      <a:pt x="70" y="86"/>
                      <a:pt x="70" y="86"/>
                      <a:pt x="70" y="86"/>
                    </a:cubicBezTo>
                    <a:cubicBezTo>
                      <a:pt x="71" y="87"/>
                      <a:pt x="71" y="87"/>
                      <a:pt x="71" y="87"/>
                    </a:cubicBezTo>
                    <a:cubicBezTo>
                      <a:pt x="71" y="88"/>
                      <a:pt x="72" y="88"/>
                      <a:pt x="72" y="89"/>
                    </a:cubicBezTo>
                    <a:cubicBezTo>
                      <a:pt x="72" y="90"/>
                      <a:pt x="72" y="90"/>
                      <a:pt x="73" y="91"/>
                    </a:cubicBezTo>
                    <a:cubicBezTo>
                      <a:pt x="73" y="91"/>
                      <a:pt x="73" y="91"/>
                      <a:pt x="73" y="91"/>
                    </a:cubicBezTo>
                    <a:cubicBezTo>
                      <a:pt x="73" y="91"/>
                      <a:pt x="73" y="91"/>
                      <a:pt x="73" y="91"/>
                    </a:cubicBezTo>
                    <a:cubicBezTo>
                      <a:pt x="74" y="91"/>
                      <a:pt x="75" y="91"/>
                      <a:pt x="77" y="91"/>
                    </a:cubicBezTo>
                    <a:cubicBezTo>
                      <a:pt x="77" y="91"/>
                      <a:pt x="77" y="91"/>
                      <a:pt x="77" y="91"/>
                    </a:cubicBezTo>
                    <a:cubicBezTo>
                      <a:pt x="78" y="91"/>
                      <a:pt x="79" y="91"/>
                      <a:pt x="80" y="91"/>
                    </a:cubicBezTo>
                    <a:cubicBezTo>
                      <a:pt x="84" y="91"/>
                      <a:pt x="88" y="92"/>
                      <a:pt x="91" y="92"/>
                    </a:cubicBezTo>
                    <a:cubicBezTo>
                      <a:pt x="91" y="92"/>
                      <a:pt x="91" y="92"/>
                      <a:pt x="91" y="92"/>
                    </a:cubicBezTo>
                    <a:cubicBezTo>
                      <a:pt x="92" y="92"/>
                      <a:pt x="92" y="93"/>
                      <a:pt x="92" y="93"/>
                    </a:cubicBezTo>
                    <a:cubicBezTo>
                      <a:pt x="94" y="93"/>
                      <a:pt x="95" y="93"/>
                      <a:pt x="95" y="93"/>
                    </a:cubicBezTo>
                    <a:cubicBezTo>
                      <a:pt x="95" y="93"/>
                      <a:pt x="96" y="93"/>
                      <a:pt x="96" y="93"/>
                    </a:cubicBezTo>
                    <a:cubicBezTo>
                      <a:pt x="97" y="93"/>
                      <a:pt x="99" y="93"/>
                      <a:pt x="102" y="92"/>
                    </a:cubicBezTo>
                    <a:cubicBezTo>
                      <a:pt x="102" y="92"/>
                      <a:pt x="103" y="92"/>
                      <a:pt x="103" y="91"/>
                    </a:cubicBezTo>
                    <a:cubicBezTo>
                      <a:pt x="104" y="91"/>
                      <a:pt x="104" y="91"/>
                      <a:pt x="104" y="91"/>
                    </a:cubicBezTo>
                    <a:cubicBezTo>
                      <a:pt x="105" y="91"/>
                      <a:pt x="105" y="91"/>
                      <a:pt x="105" y="91"/>
                    </a:cubicBezTo>
                    <a:cubicBezTo>
                      <a:pt x="105" y="91"/>
                      <a:pt x="105" y="91"/>
                      <a:pt x="105" y="91"/>
                    </a:cubicBezTo>
                    <a:cubicBezTo>
                      <a:pt x="105" y="90"/>
                      <a:pt x="105" y="89"/>
                      <a:pt x="105" y="89"/>
                    </a:cubicBezTo>
                    <a:cubicBezTo>
                      <a:pt x="105" y="87"/>
                      <a:pt x="105" y="87"/>
                      <a:pt x="105" y="87"/>
                    </a:cubicBezTo>
                    <a:cubicBezTo>
                      <a:pt x="105" y="86"/>
                      <a:pt x="105" y="85"/>
                      <a:pt x="106" y="85"/>
                    </a:cubicBezTo>
                    <a:cubicBezTo>
                      <a:pt x="107" y="84"/>
                      <a:pt x="107" y="84"/>
                      <a:pt x="107" y="84"/>
                    </a:cubicBezTo>
                    <a:cubicBezTo>
                      <a:pt x="108" y="85"/>
                      <a:pt x="108" y="85"/>
                      <a:pt x="108" y="85"/>
                    </a:cubicBezTo>
                    <a:cubicBezTo>
                      <a:pt x="107" y="84"/>
                      <a:pt x="107" y="84"/>
                      <a:pt x="107" y="84"/>
                    </a:cubicBezTo>
                    <a:cubicBezTo>
                      <a:pt x="108" y="84"/>
                      <a:pt x="108" y="84"/>
                      <a:pt x="108" y="84"/>
                    </a:cubicBezTo>
                    <a:cubicBezTo>
                      <a:pt x="109" y="84"/>
                      <a:pt x="109" y="84"/>
                      <a:pt x="109" y="84"/>
                    </a:cubicBezTo>
                    <a:cubicBezTo>
                      <a:pt x="109" y="84"/>
                      <a:pt x="110" y="83"/>
                      <a:pt x="110" y="83"/>
                    </a:cubicBezTo>
                    <a:cubicBezTo>
                      <a:pt x="111" y="83"/>
                      <a:pt x="112" y="84"/>
                      <a:pt x="112" y="84"/>
                    </a:cubicBezTo>
                    <a:cubicBezTo>
                      <a:pt x="113" y="84"/>
                      <a:pt x="113" y="84"/>
                      <a:pt x="113" y="84"/>
                    </a:cubicBezTo>
                    <a:cubicBezTo>
                      <a:pt x="114" y="84"/>
                      <a:pt x="114" y="84"/>
                      <a:pt x="114" y="84"/>
                    </a:cubicBezTo>
                    <a:cubicBezTo>
                      <a:pt x="115" y="84"/>
                      <a:pt x="115" y="84"/>
                      <a:pt x="115" y="84"/>
                    </a:cubicBezTo>
                    <a:cubicBezTo>
                      <a:pt x="115" y="84"/>
                      <a:pt x="116" y="83"/>
                      <a:pt x="117" y="82"/>
                    </a:cubicBezTo>
                    <a:cubicBezTo>
                      <a:pt x="118" y="82"/>
                      <a:pt x="118" y="82"/>
                      <a:pt x="118" y="82"/>
                    </a:cubicBezTo>
                    <a:cubicBezTo>
                      <a:pt x="119" y="81"/>
                      <a:pt x="121" y="80"/>
                      <a:pt x="123" y="79"/>
                    </a:cubicBezTo>
                    <a:cubicBezTo>
                      <a:pt x="124" y="79"/>
                      <a:pt x="124" y="79"/>
                      <a:pt x="124" y="79"/>
                    </a:cubicBezTo>
                    <a:cubicBezTo>
                      <a:pt x="124" y="78"/>
                      <a:pt x="125" y="78"/>
                      <a:pt x="125" y="78"/>
                    </a:cubicBezTo>
                    <a:cubicBezTo>
                      <a:pt x="126" y="75"/>
                      <a:pt x="127" y="72"/>
                      <a:pt x="128" y="69"/>
                    </a:cubicBezTo>
                    <a:cubicBezTo>
                      <a:pt x="131" y="62"/>
                      <a:pt x="131" y="62"/>
                      <a:pt x="131" y="62"/>
                    </a:cubicBezTo>
                    <a:cubicBezTo>
                      <a:pt x="132" y="59"/>
                      <a:pt x="133" y="57"/>
                      <a:pt x="136" y="55"/>
                    </a:cubicBezTo>
                    <a:cubicBezTo>
                      <a:pt x="137" y="54"/>
                      <a:pt x="138" y="54"/>
                      <a:pt x="139" y="53"/>
                    </a:cubicBezTo>
                    <a:cubicBezTo>
                      <a:pt x="141" y="52"/>
                      <a:pt x="141" y="52"/>
                      <a:pt x="141" y="52"/>
                    </a:cubicBezTo>
                    <a:cubicBezTo>
                      <a:pt x="142" y="52"/>
                      <a:pt x="143" y="51"/>
                      <a:pt x="144" y="51"/>
                    </a:cubicBezTo>
                    <a:cubicBezTo>
                      <a:pt x="142" y="47"/>
                      <a:pt x="142" y="47"/>
                      <a:pt x="142" y="47"/>
                    </a:cubicBezTo>
                    <a:cubicBezTo>
                      <a:pt x="145" y="50"/>
                      <a:pt x="145" y="50"/>
                      <a:pt x="145" y="50"/>
                    </a:cubicBezTo>
                    <a:cubicBezTo>
                      <a:pt x="148" y="48"/>
                      <a:pt x="151" y="46"/>
                      <a:pt x="154" y="45"/>
                    </a:cubicBezTo>
                    <a:cubicBezTo>
                      <a:pt x="155" y="44"/>
                      <a:pt x="155" y="44"/>
                      <a:pt x="155" y="44"/>
                    </a:cubicBezTo>
                    <a:cubicBezTo>
                      <a:pt x="154" y="44"/>
                      <a:pt x="153" y="44"/>
                      <a:pt x="152" y="43"/>
                    </a:cubicBezTo>
                    <a:cubicBezTo>
                      <a:pt x="150" y="40"/>
                      <a:pt x="152" y="36"/>
                      <a:pt x="153" y="34"/>
                    </a:cubicBezTo>
                    <a:cubicBezTo>
                      <a:pt x="154" y="32"/>
                      <a:pt x="154" y="32"/>
                      <a:pt x="154" y="32"/>
                    </a:cubicBezTo>
                    <a:cubicBezTo>
                      <a:pt x="154" y="31"/>
                      <a:pt x="154" y="30"/>
                      <a:pt x="155" y="29"/>
                    </a:cubicBezTo>
                    <a:cubicBezTo>
                      <a:pt x="154" y="29"/>
                      <a:pt x="154" y="29"/>
                      <a:pt x="154" y="29"/>
                    </a:cubicBezTo>
                    <a:cubicBezTo>
                      <a:pt x="152" y="28"/>
                      <a:pt x="150" y="27"/>
                      <a:pt x="148" y="26"/>
                    </a:cubicBezTo>
                    <a:cubicBezTo>
                      <a:pt x="148" y="25"/>
                      <a:pt x="148" y="25"/>
                      <a:pt x="148" y="25"/>
                    </a:cubicBezTo>
                    <a:cubicBezTo>
                      <a:pt x="147" y="24"/>
                      <a:pt x="146" y="23"/>
                      <a:pt x="145" y="23"/>
                    </a:cubicBezTo>
                    <a:cubicBezTo>
                      <a:pt x="142" y="20"/>
                      <a:pt x="142" y="20"/>
                      <a:pt x="142" y="20"/>
                    </a:cubicBezTo>
                    <a:cubicBezTo>
                      <a:pt x="140" y="19"/>
                      <a:pt x="139" y="18"/>
                      <a:pt x="138" y="18"/>
                    </a:cubicBezTo>
                    <a:cubicBezTo>
                      <a:pt x="137" y="17"/>
                      <a:pt x="136" y="16"/>
                      <a:pt x="135" y="15"/>
                    </a:cubicBezTo>
                    <a:cubicBezTo>
                      <a:pt x="134" y="15"/>
                      <a:pt x="133" y="14"/>
                      <a:pt x="133" y="13"/>
                    </a:cubicBezTo>
                    <a:cubicBezTo>
                      <a:pt x="131" y="12"/>
                      <a:pt x="130" y="11"/>
                      <a:pt x="129" y="11"/>
                    </a:cubicBezTo>
                    <a:cubicBezTo>
                      <a:pt x="128" y="11"/>
                      <a:pt x="128" y="10"/>
                      <a:pt x="127" y="10"/>
                    </a:cubicBezTo>
                    <a:cubicBezTo>
                      <a:pt x="125" y="10"/>
                      <a:pt x="125" y="10"/>
                      <a:pt x="125" y="10"/>
                    </a:cubicBezTo>
                    <a:cubicBezTo>
                      <a:pt x="125" y="10"/>
                      <a:pt x="125" y="10"/>
                      <a:pt x="125" y="10"/>
                    </a:cubicBezTo>
                    <a:cubicBezTo>
                      <a:pt x="124" y="10"/>
                      <a:pt x="122" y="10"/>
                      <a:pt x="120" y="10"/>
                    </a:cubicBezTo>
                    <a:cubicBezTo>
                      <a:pt x="119" y="10"/>
                      <a:pt x="119" y="10"/>
                      <a:pt x="119" y="10"/>
                    </a:cubicBezTo>
                    <a:cubicBezTo>
                      <a:pt x="116" y="9"/>
                      <a:pt x="113" y="8"/>
                      <a:pt x="111" y="4"/>
                    </a:cubicBezTo>
                    <a:cubicBezTo>
                      <a:pt x="109" y="1"/>
                      <a:pt x="109" y="1"/>
                      <a:pt x="109" y="1"/>
                    </a:cubicBezTo>
                    <a:cubicBezTo>
                      <a:pt x="109" y="1"/>
                      <a:pt x="109" y="0"/>
                      <a:pt x="1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319"/>
              <p:cNvSpPr/>
              <p:nvPr/>
            </p:nvSpPr>
            <p:spPr bwMode="auto">
              <a:xfrm>
                <a:off x="6132033" y="3338716"/>
                <a:ext cx="269013" cy="117924"/>
              </a:xfrm>
              <a:custGeom>
                <a:gdLst>
                  <a:gd name="T0" fmla="*/ 37 w 85"/>
                  <a:gd name="T1" fmla="*/ 0 h 37"/>
                  <a:gd name="T2" fmla="*/ 35 w 85"/>
                  <a:gd name="T3" fmla="*/ 3 h 37"/>
                  <a:gd name="T4" fmla="*/ 11 w 85"/>
                  <a:gd name="T5" fmla="*/ 16 h 37"/>
                  <a:gd name="T6" fmla="*/ 7 w 85"/>
                  <a:gd name="T7" fmla="*/ 25 h 37"/>
                  <a:gd name="T8" fmla="*/ 0 w 85"/>
                  <a:gd name="T9" fmla="*/ 34 h 37"/>
                  <a:gd name="T10" fmla="*/ 1 w 85"/>
                  <a:gd name="T11" fmla="*/ 34 h 37"/>
                  <a:gd name="T12" fmla="*/ 8 w 85"/>
                  <a:gd name="T13" fmla="*/ 26 h 37"/>
                  <a:gd name="T14" fmla="*/ 9 w 85"/>
                  <a:gd name="T15" fmla="*/ 26 h 37"/>
                  <a:gd name="T16" fmla="*/ 10 w 85"/>
                  <a:gd name="T17" fmla="*/ 26 h 37"/>
                  <a:gd name="T18" fmla="*/ 10 w 85"/>
                  <a:gd name="T19" fmla="*/ 27 h 37"/>
                  <a:gd name="T20" fmla="*/ 10 w 85"/>
                  <a:gd name="T21" fmla="*/ 27 h 37"/>
                  <a:gd name="T22" fmla="*/ 13 w 85"/>
                  <a:gd name="T23" fmla="*/ 26 h 37"/>
                  <a:gd name="T24" fmla="*/ 14 w 85"/>
                  <a:gd name="T25" fmla="*/ 26 h 37"/>
                  <a:gd name="T26" fmla="*/ 20 w 85"/>
                  <a:gd name="T27" fmla="*/ 27 h 37"/>
                  <a:gd name="T28" fmla="*/ 8 w 85"/>
                  <a:gd name="T29" fmla="*/ 34 h 37"/>
                  <a:gd name="T30" fmla="*/ 61 w 85"/>
                  <a:gd name="T31" fmla="*/ 37 h 37"/>
                  <a:gd name="T32" fmla="*/ 84 w 85"/>
                  <a:gd name="T33" fmla="*/ 36 h 37"/>
                  <a:gd name="T34" fmla="*/ 83 w 85"/>
                  <a:gd name="T35" fmla="*/ 27 h 37"/>
                  <a:gd name="T36" fmla="*/ 85 w 85"/>
                  <a:gd name="T37" fmla="*/ 22 h 37"/>
                  <a:gd name="T38" fmla="*/ 83 w 85"/>
                  <a:gd name="T39" fmla="*/ 20 h 37"/>
                  <a:gd name="T40" fmla="*/ 82 w 85"/>
                  <a:gd name="T41" fmla="*/ 19 h 37"/>
                  <a:gd name="T42" fmla="*/ 82 w 85"/>
                  <a:gd name="T43" fmla="*/ 18 h 37"/>
                  <a:gd name="T44" fmla="*/ 81 w 85"/>
                  <a:gd name="T45" fmla="*/ 17 h 37"/>
                  <a:gd name="T46" fmla="*/ 80 w 85"/>
                  <a:gd name="T47" fmla="*/ 15 h 37"/>
                  <a:gd name="T48" fmla="*/ 79 w 85"/>
                  <a:gd name="T49" fmla="*/ 15 h 37"/>
                  <a:gd name="T50" fmla="*/ 78 w 85"/>
                  <a:gd name="T51" fmla="*/ 15 h 37"/>
                  <a:gd name="T52" fmla="*/ 74 w 85"/>
                  <a:gd name="T53" fmla="*/ 16 h 37"/>
                  <a:gd name="T54" fmla="*/ 72 w 85"/>
                  <a:gd name="T55" fmla="*/ 16 h 37"/>
                  <a:gd name="T56" fmla="*/ 73 w 85"/>
                  <a:gd name="T57" fmla="*/ 23 h 37"/>
                  <a:gd name="T58" fmla="*/ 70 w 85"/>
                  <a:gd name="T59" fmla="*/ 16 h 37"/>
                  <a:gd name="T60" fmla="*/ 68 w 85"/>
                  <a:gd name="T61" fmla="*/ 16 h 37"/>
                  <a:gd name="T62" fmla="*/ 64 w 85"/>
                  <a:gd name="T63" fmla="*/ 15 h 37"/>
                  <a:gd name="T64" fmla="*/ 45 w 85"/>
                  <a:gd name="T65" fmla="*/ 8 h 37"/>
                  <a:gd name="T66" fmla="*/ 44 w 85"/>
                  <a:gd name="T67" fmla="*/ 8 h 37"/>
                  <a:gd name="T68" fmla="*/ 43 w 85"/>
                  <a:gd name="T69" fmla="*/ 13 h 37"/>
                  <a:gd name="T70" fmla="*/ 36 w 85"/>
                  <a:gd name="T71" fmla="*/ 17 h 37"/>
                  <a:gd name="T72" fmla="*/ 32 w 85"/>
                  <a:gd name="T73" fmla="*/ 18 h 37"/>
                  <a:gd name="T74" fmla="*/ 24 w 85"/>
                  <a:gd name="T75" fmla="*/ 16 h 37"/>
                  <a:gd name="T76" fmla="*/ 37 w 85"/>
                  <a:gd name="T77" fmla="*/ 3 h 37"/>
                  <a:gd name="T78" fmla="*/ 37 w 85"/>
                  <a:gd name="T79"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37">
                    <a:moveTo>
                      <a:pt x="37" y="0"/>
                    </a:moveTo>
                    <a:cubicBezTo>
                      <a:pt x="37" y="1"/>
                      <a:pt x="36" y="2"/>
                      <a:pt x="35" y="3"/>
                    </a:cubicBezTo>
                    <a:cubicBezTo>
                      <a:pt x="28" y="8"/>
                      <a:pt x="20" y="16"/>
                      <a:pt x="11" y="16"/>
                    </a:cubicBezTo>
                    <a:cubicBezTo>
                      <a:pt x="4" y="17"/>
                      <a:pt x="8" y="21"/>
                      <a:pt x="7" y="25"/>
                    </a:cubicBezTo>
                    <a:cubicBezTo>
                      <a:pt x="6" y="28"/>
                      <a:pt x="2" y="31"/>
                      <a:pt x="0" y="34"/>
                    </a:cubicBezTo>
                    <a:cubicBezTo>
                      <a:pt x="1" y="34"/>
                      <a:pt x="1" y="34"/>
                      <a:pt x="1" y="34"/>
                    </a:cubicBezTo>
                    <a:cubicBezTo>
                      <a:pt x="4" y="31"/>
                      <a:pt x="6" y="27"/>
                      <a:pt x="8" y="26"/>
                    </a:cubicBezTo>
                    <a:cubicBezTo>
                      <a:pt x="8" y="26"/>
                      <a:pt x="9" y="26"/>
                      <a:pt x="9" y="26"/>
                    </a:cubicBezTo>
                    <a:cubicBezTo>
                      <a:pt x="9" y="26"/>
                      <a:pt x="9" y="26"/>
                      <a:pt x="10" y="26"/>
                    </a:cubicBezTo>
                    <a:cubicBezTo>
                      <a:pt x="10" y="27"/>
                      <a:pt x="10" y="27"/>
                      <a:pt x="10" y="27"/>
                    </a:cubicBezTo>
                    <a:cubicBezTo>
                      <a:pt x="10" y="27"/>
                      <a:pt x="10" y="27"/>
                      <a:pt x="10" y="27"/>
                    </a:cubicBezTo>
                    <a:cubicBezTo>
                      <a:pt x="11" y="27"/>
                      <a:pt x="12" y="26"/>
                      <a:pt x="13" y="26"/>
                    </a:cubicBezTo>
                    <a:cubicBezTo>
                      <a:pt x="14" y="26"/>
                      <a:pt x="14" y="26"/>
                      <a:pt x="14" y="26"/>
                    </a:cubicBezTo>
                    <a:cubicBezTo>
                      <a:pt x="16" y="27"/>
                      <a:pt x="18" y="27"/>
                      <a:pt x="20" y="27"/>
                    </a:cubicBezTo>
                    <a:cubicBezTo>
                      <a:pt x="16" y="29"/>
                      <a:pt x="12" y="32"/>
                      <a:pt x="8" y="34"/>
                    </a:cubicBezTo>
                    <a:cubicBezTo>
                      <a:pt x="26" y="36"/>
                      <a:pt x="44" y="37"/>
                      <a:pt x="61" y="37"/>
                    </a:cubicBezTo>
                    <a:cubicBezTo>
                      <a:pt x="69" y="37"/>
                      <a:pt x="77" y="37"/>
                      <a:pt x="84" y="36"/>
                    </a:cubicBezTo>
                    <a:cubicBezTo>
                      <a:pt x="83" y="27"/>
                      <a:pt x="83" y="27"/>
                      <a:pt x="83" y="27"/>
                    </a:cubicBezTo>
                    <a:cubicBezTo>
                      <a:pt x="83" y="25"/>
                      <a:pt x="84" y="24"/>
                      <a:pt x="85" y="22"/>
                    </a:cubicBezTo>
                    <a:cubicBezTo>
                      <a:pt x="83" y="20"/>
                      <a:pt x="83" y="20"/>
                      <a:pt x="83" y="20"/>
                    </a:cubicBezTo>
                    <a:cubicBezTo>
                      <a:pt x="82" y="19"/>
                      <a:pt x="82" y="19"/>
                      <a:pt x="82" y="19"/>
                    </a:cubicBezTo>
                    <a:cubicBezTo>
                      <a:pt x="82" y="18"/>
                      <a:pt x="82" y="18"/>
                      <a:pt x="82" y="18"/>
                    </a:cubicBezTo>
                    <a:cubicBezTo>
                      <a:pt x="81" y="17"/>
                      <a:pt x="81" y="17"/>
                      <a:pt x="81" y="17"/>
                    </a:cubicBezTo>
                    <a:cubicBezTo>
                      <a:pt x="80" y="16"/>
                      <a:pt x="80" y="16"/>
                      <a:pt x="80" y="15"/>
                    </a:cubicBezTo>
                    <a:cubicBezTo>
                      <a:pt x="79" y="15"/>
                      <a:pt x="79" y="15"/>
                      <a:pt x="79" y="15"/>
                    </a:cubicBezTo>
                    <a:cubicBezTo>
                      <a:pt x="78" y="15"/>
                      <a:pt x="78" y="15"/>
                      <a:pt x="78" y="15"/>
                    </a:cubicBezTo>
                    <a:cubicBezTo>
                      <a:pt x="77" y="15"/>
                      <a:pt x="75" y="15"/>
                      <a:pt x="74" y="16"/>
                    </a:cubicBezTo>
                    <a:cubicBezTo>
                      <a:pt x="73" y="16"/>
                      <a:pt x="72" y="16"/>
                      <a:pt x="72" y="16"/>
                    </a:cubicBezTo>
                    <a:cubicBezTo>
                      <a:pt x="73" y="23"/>
                      <a:pt x="73" y="23"/>
                      <a:pt x="73" y="23"/>
                    </a:cubicBezTo>
                    <a:cubicBezTo>
                      <a:pt x="70" y="16"/>
                      <a:pt x="70" y="16"/>
                      <a:pt x="70" y="16"/>
                    </a:cubicBezTo>
                    <a:cubicBezTo>
                      <a:pt x="69" y="16"/>
                      <a:pt x="69" y="16"/>
                      <a:pt x="68" y="16"/>
                    </a:cubicBezTo>
                    <a:cubicBezTo>
                      <a:pt x="66" y="16"/>
                      <a:pt x="65" y="16"/>
                      <a:pt x="64" y="15"/>
                    </a:cubicBezTo>
                    <a:cubicBezTo>
                      <a:pt x="59" y="14"/>
                      <a:pt x="50" y="11"/>
                      <a:pt x="45" y="8"/>
                    </a:cubicBezTo>
                    <a:cubicBezTo>
                      <a:pt x="45" y="8"/>
                      <a:pt x="45" y="8"/>
                      <a:pt x="44" y="8"/>
                    </a:cubicBezTo>
                    <a:cubicBezTo>
                      <a:pt x="44" y="10"/>
                      <a:pt x="43" y="11"/>
                      <a:pt x="43" y="13"/>
                    </a:cubicBezTo>
                    <a:cubicBezTo>
                      <a:pt x="43" y="14"/>
                      <a:pt x="38" y="16"/>
                      <a:pt x="36" y="17"/>
                    </a:cubicBezTo>
                    <a:cubicBezTo>
                      <a:pt x="35" y="18"/>
                      <a:pt x="34" y="18"/>
                      <a:pt x="32" y="18"/>
                    </a:cubicBezTo>
                    <a:cubicBezTo>
                      <a:pt x="30" y="18"/>
                      <a:pt x="27" y="17"/>
                      <a:pt x="24" y="16"/>
                    </a:cubicBezTo>
                    <a:cubicBezTo>
                      <a:pt x="27" y="11"/>
                      <a:pt x="33" y="7"/>
                      <a:pt x="37" y="3"/>
                    </a:cubicBezTo>
                    <a:cubicBezTo>
                      <a:pt x="37" y="2"/>
                      <a:pt x="37" y="1"/>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Rectangle 320"/>
              <p:cNvSpPr>
                <a:spLocks noChangeArrowheads="1"/>
              </p:cNvSpPr>
              <p:nvPr/>
            </p:nvSpPr>
            <p:spPr bwMode="auto">
              <a:xfrm>
                <a:off x="6401046" y="3456639"/>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321"/>
              <p:cNvSpPr/>
              <p:nvPr/>
            </p:nvSpPr>
            <p:spPr bwMode="auto">
              <a:xfrm flipH="1">
                <a:off x="6401046" y="345663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322"/>
              <p:cNvSpPr/>
              <p:nvPr/>
            </p:nvSpPr>
            <p:spPr bwMode="auto">
              <a:xfrm flipH="1">
                <a:off x="6128348" y="3449269"/>
                <a:ext cx="0" cy="3685"/>
              </a:xfrm>
              <a:custGeom>
                <a:gdLst>
                  <a:gd name="T0" fmla="*/ 1 w 1"/>
                  <a:gd name="T1" fmla="*/ 0 h 2"/>
                  <a:gd name="T2" fmla="*/ 0 w 1"/>
                  <a:gd name="T3" fmla="*/ 2 h 2"/>
                  <a:gd name="T4" fmla="*/ 1 w 1"/>
                  <a:gd name="T5" fmla="*/ 1 h 2"/>
                  <a:gd name="T6" fmla="*/ 1 w 1"/>
                  <a:gd name="T7" fmla="*/ 0 h 2"/>
                </a:gdLst>
                <a:cxnLst>
                  <a:cxn ang="0">
                    <a:pos x="T0" y="T1"/>
                  </a:cxn>
                  <a:cxn ang="0">
                    <a:pos x="T2" y="T3"/>
                  </a:cxn>
                  <a:cxn ang="0">
                    <a:pos x="T4" y="T5"/>
                  </a:cxn>
                  <a:cxn ang="0">
                    <a:pos x="T6" y="T7"/>
                  </a:cxn>
                </a:cxnLst>
                <a:rect l="0" t="0" r="r" b="b"/>
                <a:pathLst>
                  <a:path w="1" h="2">
                    <a:moveTo>
                      <a:pt x="1" y="0"/>
                    </a:moveTo>
                    <a:cubicBezTo>
                      <a:pt x="1" y="1"/>
                      <a:pt x="0" y="1"/>
                      <a:pt x="0" y="2"/>
                    </a:cubicBezTo>
                    <a:cubicBezTo>
                      <a:pt x="1"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323"/>
              <p:cNvSpPr/>
              <p:nvPr/>
            </p:nvSpPr>
            <p:spPr bwMode="auto">
              <a:xfrm>
                <a:off x="6242586" y="3007055"/>
                <a:ext cx="648580" cy="280069"/>
              </a:xfrm>
              <a:custGeom>
                <a:gdLst>
                  <a:gd name="T0" fmla="*/ 115 w 204"/>
                  <a:gd name="T1" fmla="*/ 1 h 89"/>
                  <a:gd name="T2" fmla="*/ 96 w 204"/>
                  <a:gd name="T3" fmla="*/ 7 h 89"/>
                  <a:gd name="T4" fmla="*/ 91 w 204"/>
                  <a:gd name="T5" fmla="*/ 35 h 89"/>
                  <a:gd name="T6" fmla="*/ 64 w 204"/>
                  <a:gd name="T7" fmla="*/ 27 h 89"/>
                  <a:gd name="T8" fmla="*/ 44 w 204"/>
                  <a:gd name="T9" fmla="*/ 11 h 89"/>
                  <a:gd name="T10" fmla="*/ 16 w 204"/>
                  <a:gd name="T11" fmla="*/ 24 h 89"/>
                  <a:gd name="T12" fmla="*/ 3 w 204"/>
                  <a:gd name="T13" fmla="*/ 64 h 89"/>
                  <a:gd name="T14" fmla="*/ 3 w 204"/>
                  <a:gd name="T15" fmla="*/ 73 h 89"/>
                  <a:gd name="T16" fmla="*/ 9 w 204"/>
                  <a:gd name="T17" fmla="*/ 69 h 89"/>
                  <a:gd name="T18" fmla="*/ 37 w 204"/>
                  <a:gd name="T19" fmla="*/ 60 h 89"/>
                  <a:gd name="T20" fmla="*/ 46 w 204"/>
                  <a:gd name="T21" fmla="*/ 60 h 89"/>
                  <a:gd name="T22" fmla="*/ 51 w 204"/>
                  <a:gd name="T23" fmla="*/ 61 h 89"/>
                  <a:gd name="T24" fmla="*/ 57 w 204"/>
                  <a:gd name="T25" fmla="*/ 60 h 89"/>
                  <a:gd name="T26" fmla="*/ 62 w 204"/>
                  <a:gd name="T27" fmla="*/ 62 h 89"/>
                  <a:gd name="T28" fmla="*/ 66 w 204"/>
                  <a:gd name="T29" fmla="*/ 61 h 89"/>
                  <a:gd name="T30" fmla="*/ 77 w 204"/>
                  <a:gd name="T31" fmla="*/ 62 h 89"/>
                  <a:gd name="T32" fmla="*/ 82 w 204"/>
                  <a:gd name="T33" fmla="*/ 62 h 89"/>
                  <a:gd name="T34" fmla="*/ 92 w 204"/>
                  <a:gd name="T35" fmla="*/ 65 h 89"/>
                  <a:gd name="T36" fmla="*/ 97 w 204"/>
                  <a:gd name="T37" fmla="*/ 64 h 89"/>
                  <a:gd name="T38" fmla="*/ 101 w 204"/>
                  <a:gd name="T39" fmla="*/ 64 h 89"/>
                  <a:gd name="T40" fmla="*/ 102 w 204"/>
                  <a:gd name="T41" fmla="*/ 64 h 89"/>
                  <a:gd name="T42" fmla="*/ 110 w 204"/>
                  <a:gd name="T43" fmla="*/ 59 h 89"/>
                  <a:gd name="T44" fmla="*/ 114 w 204"/>
                  <a:gd name="T45" fmla="*/ 57 h 89"/>
                  <a:gd name="T46" fmla="*/ 118 w 204"/>
                  <a:gd name="T47" fmla="*/ 64 h 89"/>
                  <a:gd name="T48" fmla="*/ 125 w 204"/>
                  <a:gd name="T49" fmla="*/ 69 h 89"/>
                  <a:gd name="T50" fmla="*/ 134 w 204"/>
                  <a:gd name="T51" fmla="*/ 70 h 89"/>
                  <a:gd name="T52" fmla="*/ 142 w 204"/>
                  <a:gd name="T53" fmla="*/ 76 h 89"/>
                  <a:gd name="T54" fmla="*/ 151 w 204"/>
                  <a:gd name="T55" fmla="*/ 82 h 89"/>
                  <a:gd name="T56" fmla="*/ 156 w 204"/>
                  <a:gd name="T57" fmla="*/ 86 h 89"/>
                  <a:gd name="T58" fmla="*/ 161 w 204"/>
                  <a:gd name="T59" fmla="*/ 89 h 89"/>
                  <a:gd name="T60" fmla="*/ 162 w 204"/>
                  <a:gd name="T61" fmla="*/ 89 h 89"/>
                  <a:gd name="T62" fmla="*/ 165 w 204"/>
                  <a:gd name="T63" fmla="*/ 89 h 89"/>
                  <a:gd name="T64" fmla="*/ 178 w 204"/>
                  <a:gd name="T65" fmla="*/ 83 h 89"/>
                  <a:gd name="T66" fmla="*/ 187 w 204"/>
                  <a:gd name="T67" fmla="*/ 83 h 89"/>
                  <a:gd name="T68" fmla="*/ 192 w 204"/>
                  <a:gd name="T69" fmla="*/ 78 h 89"/>
                  <a:gd name="T70" fmla="*/ 201 w 204"/>
                  <a:gd name="T71" fmla="*/ 71 h 89"/>
                  <a:gd name="T72" fmla="*/ 203 w 204"/>
                  <a:gd name="T73" fmla="*/ 68 h 89"/>
                  <a:gd name="T74" fmla="*/ 203 w 204"/>
                  <a:gd name="T75" fmla="*/ 66 h 89"/>
                  <a:gd name="T76" fmla="*/ 202 w 204"/>
                  <a:gd name="T77" fmla="*/ 63 h 89"/>
                  <a:gd name="T78" fmla="*/ 194 w 204"/>
                  <a:gd name="T79" fmla="*/ 48 h 89"/>
                  <a:gd name="T80" fmla="*/ 183 w 204"/>
                  <a:gd name="T81" fmla="*/ 55 h 89"/>
                  <a:gd name="T82" fmla="*/ 190 w 204"/>
                  <a:gd name="T83" fmla="*/ 38 h 89"/>
                  <a:gd name="T84" fmla="*/ 193 w 204"/>
                  <a:gd name="T85" fmla="*/ 28 h 89"/>
                  <a:gd name="T86" fmla="*/ 188 w 204"/>
                  <a:gd name="T87" fmla="*/ 26 h 89"/>
                  <a:gd name="T88" fmla="*/ 185 w 204"/>
                  <a:gd name="T89" fmla="*/ 24 h 89"/>
                  <a:gd name="T90" fmla="*/ 183 w 204"/>
                  <a:gd name="T91" fmla="*/ 22 h 89"/>
                  <a:gd name="T92" fmla="*/ 176 w 204"/>
                  <a:gd name="T93" fmla="*/ 20 h 89"/>
                  <a:gd name="T94" fmla="*/ 171 w 204"/>
                  <a:gd name="T95" fmla="*/ 18 h 89"/>
                  <a:gd name="T96" fmla="*/ 166 w 204"/>
                  <a:gd name="T97" fmla="*/ 19 h 89"/>
                  <a:gd name="T98" fmla="*/ 156 w 204"/>
                  <a:gd name="T99" fmla="*/ 20 h 89"/>
                  <a:gd name="T100" fmla="*/ 143 w 204"/>
                  <a:gd name="T101" fmla="*/ 9 h 89"/>
                  <a:gd name="T102" fmla="*/ 135 w 204"/>
                  <a:gd name="T103" fmla="*/ 5 h 89"/>
                  <a:gd name="T104" fmla="*/ 130 w 204"/>
                  <a:gd name="T105" fmla="*/ 3 h 89"/>
                  <a:gd name="T106" fmla="*/ 126 w 204"/>
                  <a:gd name="T107" fmla="*/ 1 h 89"/>
                  <a:gd name="T108" fmla="*/ 118 w 204"/>
                  <a:gd name="T109" fmla="*/ 0 h 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4" h="89">
                    <a:moveTo>
                      <a:pt x="118" y="0"/>
                    </a:moveTo>
                    <a:cubicBezTo>
                      <a:pt x="118" y="0"/>
                      <a:pt x="118" y="0"/>
                      <a:pt x="118" y="0"/>
                    </a:cubicBezTo>
                    <a:cubicBezTo>
                      <a:pt x="117" y="0"/>
                      <a:pt x="116" y="1"/>
                      <a:pt x="115" y="1"/>
                    </a:cubicBezTo>
                    <a:cubicBezTo>
                      <a:pt x="114" y="1"/>
                      <a:pt x="114" y="1"/>
                      <a:pt x="114" y="1"/>
                    </a:cubicBezTo>
                    <a:cubicBezTo>
                      <a:pt x="112" y="3"/>
                      <a:pt x="110" y="3"/>
                      <a:pt x="107" y="4"/>
                    </a:cubicBezTo>
                    <a:cubicBezTo>
                      <a:pt x="96" y="7"/>
                      <a:pt x="96" y="7"/>
                      <a:pt x="96" y="7"/>
                    </a:cubicBezTo>
                    <a:cubicBezTo>
                      <a:pt x="96" y="9"/>
                      <a:pt x="97" y="11"/>
                      <a:pt x="97" y="14"/>
                    </a:cubicBezTo>
                    <a:cubicBezTo>
                      <a:pt x="98" y="17"/>
                      <a:pt x="100" y="23"/>
                      <a:pt x="99" y="25"/>
                    </a:cubicBezTo>
                    <a:cubicBezTo>
                      <a:pt x="98" y="28"/>
                      <a:pt x="93" y="33"/>
                      <a:pt x="91" y="35"/>
                    </a:cubicBezTo>
                    <a:cubicBezTo>
                      <a:pt x="88" y="39"/>
                      <a:pt x="84" y="40"/>
                      <a:pt x="80" y="40"/>
                    </a:cubicBezTo>
                    <a:cubicBezTo>
                      <a:pt x="76" y="40"/>
                      <a:pt x="73" y="39"/>
                      <a:pt x="71" y="38"/>
                    </a:cubicBezTo>
                    <a:cubicBezTo>
                      <a:pt x="67" y="36"/>
                      <a:pt x="66" y="30"/>
                      <a:pt x="64" y="27"/>
                    </a:cubicBezTo>
                    <a:cubicBezTo>
                      <a:pt x="63" y="25"/>
                      <a:pt x="59" y="23"/>
                      <a:pt x="57" y="21"/>
                    </a:cubicBezTo>
                    <a:cubicBezTo>
                      <a:pt x="55" y="19"/>
                      <a:pt x="51" y="13"/>
                      <a:pt x="47" y="12"/>
                    </a:cubicBezTo>
                    <a:cubicBezTo>
                      <a:pt x="46" y="12"/>
                      <a:pt x="45" y="11"/>
                      <a:pt x="44" y="11"/>
                    </a:cubicBezTo>
                    <a:cubicBezTo>
                      <a:pt x="41" y="11"/>
                      <a:pt x="38" y="12"/>
                      <a:pt x="36" y="12"/>
                    </a:cubicBezTo>
                    <a:cubicBezTo>
                      <a:pt x="32" y="13"/>
                      <a:pt x="26" y="14"/>
                      <a:pt x="23" y="16"/>
                    </a:cubicBezTo>
                    <a:cubicBezTo>
                      <a:pt x="21" y="17"/>
                      <a:pt x="18" y="22"/>
                      <a:pt x="16" y="24"/>
                    </a:cubicBezTo>
                    <a:cubicBezTo>
                      <a:pt x="13" y="29"/>
                      <a:pt x="15" y="32"/>
                      <a:pt x="14" y="37"/>
                    </a:cubicBezTo>
                    <a:cubicBezTo>
                      <a:pt x="13" y="40"/>
                      <a:pt x="9" y="42"/>
                      <a:pt x="7" y="44"/>
                    </a:cubicBezTo>
                    <a:cubicBezTo>
                      <a:pt x="0" y="50"/>
                      <a:pt x="5" y="57"/>
                      <a:pt x="3" y="64"/>
                    </a:cubicBezTo>
                    <a:cubicBezTo>
                      <a:pt x="3" y="63"/>
                      <a:pt x="3" y="61"/>
                      <a:pt x="3" y="61"/>
                    </a:cubicBezTo>
                    <a:cubicBezTo>
                      <a:pt x="2" y="61"/>
                      <a:pt x="2" y="61"/>
                      <a:pt x="2" y="61"/>
                    </a:cubicBezTo>
                    <a:cubicBezTo>
                      <a:pt x="2" y="66"/>
                      <a:pt x="2" y="69"/>
                      <a:pt x="3" y="73"/>
                    </a:cubicBezTo>
                    <a:cubicBezTo>
                      <a:pt x="4" y="73"/>
                      <a:pt x="5" y="72"/>
                      <a:pt x="5" y="72"/>
                    </a:cubicBezTo>
                    <a:cubicBezTo>
                      <a:pt x="6" y="71"/>
                      <a:pt x="6" y="71"/>
                      <a:pt x="7" y="71"/>
                    </a:cubicBezTo>
                    <a:cubicBezTo>
                      <a:pt x="7" y="70"/>
                      <a:pt x="8" y="69"/>
                      <a:pt x="9" y="69"/>
                    </a:cubicBezTo>
                    <a:cubicBezTo>
                      <a:pt x="11" y="68"/>
                      <a:pt x="11" y="68"/>
                      <a:pt x="11" y="68"/>
                    </a:cubicBezTo>
                    <a:cubicBezTo>
                      <a:pt x="12" y="67"/>
                      <a:pt x="14" y="66"/>
                      <a:pt x="15" y="65"/>
                    </a:cubicBezTo>
                    <a:cubicBezTo>
                      <a:pt x="22" y="63"/>
                      <a:pt x="29" y="60"/>
                      <a:pt x="37" y="60"/>
                    </a:cubicBezTo>
                    <a:cubicBezTo>
                      <a:pt x="38" y="60"/>
                      <a:pt x="38" y="60"/>
                      <a:pt x="38" y="60"/>
                    </a:cubicBezTo>
                    <a:cubicBezTo>
                      <a:pt x="39" y="60"/>
                      <a:pt x="39" y="60"/>
                      <a:pt x="39" y="60"/>
                    </a:cubicBezTo>
                    <a:cubicBezTo>
                      <a:pt x="42" y="60"/>
                      <a:pt x="44" y="60"/>
                      <a:pt x="46" y="60"/>
                    </a:cubicBezTo>
                    <a:cubicBezTo>
                      <a:pt x="47" y="60"/>
                      <a:pt x="47" y="60"/>
                      <a:pt x="47" y="60"/>
                    </a:cubicBezTo>
                    <a:cubicBezTo>
                      <a:pt x="49" y="60"/>
                      <a:pt x="50" y="61"/>
                      <a:pt x="51" y="61"/>
                    </a:cubicBezTo>
                    <a:cubicBezTo>
                      <a:pt x="51" y="61"/>
                      <a:pt x="51" y="61"/>
                      <a:pt x="51" y="61"/>
                    </a:cubicBezTo>
                    <a:cubicBezTo>
                      <a:pt x="51" y="61"/>
                      <a:pt x="51" y="61"/>
                      <a:pt x="51" y="61"/>
                    </a:cubicBezTo>
                    <a:cubicBezTo>
                      <a:pt x="52" y="61"/>
                      <a:pt x="53" y="61"/>
                      <a:pt x="54" y="61"/>
                    </a:cubicBezTo>
                    <a:cubicBezTo>
                      <a:pt x="55" y="60"/>
                      <a:pt x="56" y="60"/>
                      <a:pt x="57" y="60"/>
                    </a:cubicBezTo>
                    <a:cubicBezTo>
                      <a:pt x="57" y="60"/>
                      <a:pt x="57" y="60"/>
                      <a:pt x="58" y="60"/>
                    </a:cubicBezTo>
                    <a:cubicBezTo>
                      <a:pt x="58" y="60"/>
                      <a:pt x="58" y="60"/>
                      <a:pt x="58" y="60"/>
                    </a:cubicBezTo>
                    <a:cubicBezTo>
                      <a:pt x="59" y="60"/>
                      <a:pt x="61" y="61"/>
                      <a:pt x="62" y="62"/>
                    </a:cubicBezTo>
                    <a:cubicBezTo>
                      <a:pt x="62" y="62"/>
                      <a:pt x="62" y="62"/>
                      <a:pt x="62" y="62"/>
                    </a:cubicBezTo>
                    <a:cubicBezTo>
                      <a:pt x="63" y="62"/>
                      <a:pt x="63" y="62"/>
                      <a:pt x="63" y="62"/>
                    </a:cubicBezTo>
                    <a:cubicBezTo>
                      <a:pt x="64" y="62"/>
                      <a:pt x="65" y="61"/>
                      <a:pt x="66" y="61"/>
                    </a:cubicBezTo>
                    <a:cubicBezTo>
                      <a:pt x="66" y="61"/>
                      <a:pt x="67" y="61"/>
                      <a:pt x="67" y="61"/>
                    </a:cubicBezTo>
                    <a:cubicBezTo>
                      <a:pt x="69" y="62"/>
                      <a:pt x="72" y="62"/>
                      <a:pt x="74" y="62"/>
                    </a:cubicBezTo>
                    <a:cubicBezTo>
                      <a:pt x="77" y="62"/>
                      <a:pt x="77" y="62"/>
                      <a:pt x="77" y="62"/>
                    </a:cubicBezTo>
                    <a:cubicBezTo>
                      <a:pt x="77" y="62"/>
                      <a:pt x="77" y="62"/>
                      <a:pt x="77" y="62"/>
                    </a:cubicBezTo>
                    <a:cubicBezTo>
                      <a:pt x="78" y="62"/>
                      <a:pt x="80" y="62"/>
                      <a:pt x="81" y="62"/>
                    </a:cubicBezTo>
                    <a:cubicBezTo>
                      <a:pt x="82" y="62"/>
                      <a:pt x="82" y="62"/>
                      <a:pt x="82" y="62"/>
                    </a:cubicBezTo>
                    <a:cubicBezTo>
                      <a:pt x="83" y="62"/>
                      <a:pt x="84" y="62"/>
                      <a:pt x="84" y="63"/>
                    </a:cubicBezTo>
                    <a:cubicBezTo>
                      <a:pt x="86" y="63"/>
                      <a:pt x="87" y="63"/>
                      <a:pt x="89" y="64"/>
                    </a:cubicBezTo>
                    <a:cubicBezTo>
                      <a:pt x="91" y="65"/>
                      <a:pt x="91" y="65"/>
                      <a:pt x="92" y="65"/>
                    </a:cubicBezTo>
                    <a:cubicBezTo>
                      <a:pt x="92" y="65"/>
                      <a:pt x="92" y="65"/>
                      <a:pt x="92" y="65"/>
                    </a:cubicBezTo>
                    <a:cubicBezTo>
                      <a:pt x="93" y="65"/>
                      <a:pt x="94" y="64"/>
                      <a:pt x="95" y="64"/>
                    </a:cubicBezTo>
                    <a:cubicBezTo>
                      <a:pt x="96" y="64"/>
                      <a:pt x="96" y="64"/>
                      <a:pt x="97" y="64"/>
                    </a:cubicBezTo>
                    <a:cubicBezTo>
                      <a:pt x="98" y="64"/>
                      <a:pt x="99" y="64"/>
                      <a:pt x="99" y="64"/>
                    </a:cubicBezTo>
                    <a:cubicBezTo>
                      <a:pt x="100" y="64"/>
                      <a:pt x="100" y="64"/>
                      <a:pt x="100" y="64"/>
                    </a:cubicBezTo>
                    <a:cubicBezTo>
                      <a:pt x="100" y="64"/>
                      <a:pt x="100" y="64"/>
                      <a:pt x="101" y="64"/>
                    </a:cubicBezTo>
                    <a:cubicBezTo>
                      <a:pt x="101" y="64"/>
                      <a:pt x="101" y="64"/>
                      <a:pt x="101" y="64"/>
                    </a:cubicBezTo>
                    <a:cubicBezTo>
                      <a:pt x="101" y="64"/>
                      <a:pt x="101" y="64"/>
                      <a:pt x="101" y="64"/>
                    </a:cubicBezTo>
                    <a:cubicBezTo>
                      <a:pt x="101" y="64"/>
                      <a:pt x="102" y="64"/>
                      <a:pt x="102" y="64"/>
                    </a:cubicBezTo>
                    <a:cubicBezTo>
                      <a:pt x="102" y="64"/>
                      <a:pt x="102" y="64"/>
                      <a:pt x="103" y="63"/>
                    </a:cubicBezTo>
                    <a:cubicBezTo>
                      <a:pt x="104" y="62"/>
                      <a:pt x="105" y="62"/>
                      <a:pt x="106" y="61"/>
                    </a:cubicBezTo>
                    <a:cubicBezTo>
                      <a:pt x="107" y="60"/>
                      <a:pt x="109" y="59"/>
                      <a:pt x="110" y="59"/>
                    </a:cubicBezTo>
                    <a:cubicBezTo>
                      <a:pt x="110" y="59"/>
                      <a:pt x="110" y="59"/>
                      <a:pt x="110" y="59"/>
                    </a:cubicBezTo>
                    <a:cubicBezTo>
                      <a:pt x="111" y="59"/>
                      <a:pt x="111" y="59"/>
                      <a:pt x="111" y="58"/>
                    </a:cubicBezTo>
                    <a:cubicBezTo>
                      <a:pt x="114" y="57"/>
                      <a:pt x="114" y="57"/>
                      <a:pt x="114" y="57"/>
                    </a:cubicBezTo>
                    <a:cubicBezTo>
                      <a:pt x="116" y="60"/>
                      <a:pt x="116" y="60"/>
                      <a:pt x="116" y="60"/>
                    </a:cubicBezTo>
                    <a:cubicBezTo>
                      <a:pt x="116" y="60"/>
                      <a:pt x="116" y="60"/>
                      <a:pt x="116" y="61"/>
                    </a:cubicBezTo>
                    <a:cubicBezTo>
                      <a:pt x="117" y="62"/>
                      <a:pt x="118" y="63"/>
                      <a:pt x="118" y="64"/>
                    </a:cubicBezTo>
                    <a:cubicBezTo>
                      <a:pt x="119" y="66"/>
                      <a:pt x="119" y="66"/>
                      <a:pt x="119" y="66"/>
                    </a:cubicBezTo>
                    <a:cubicBezTo>
                      <a:pt x="121" y="68"/>
                      <a:pt x="121" y="68"/>
                      <a:pt x="124" y="69"/>
                    </a:cubicBezTo>
                    <a:cubicBezTo>
                      <a:pt x="125" y="69"/>
                      <a:pt x="125" y="69"/>
                      <a:pt x="125" y="69"/>
                    </a:cubicBezTo>
                    <a:cubicBezTo>
                      <a:pt x="126" y="69"/>
                      <a:pt x="127" y="69"/>
                      <a:pt x="128" y="69"/>
                    </a:cubicBezTo>
                    <a:cubicBezTo>
                      <a:pt x="130" y="69"/>
                      <a:pt x="130" y="69"/>
                      <a:pt x="130" y="69"/>
                    </a:cubicBezTo>
                    <a:cubicBezTo>
                      <a:pt x="132" y="69"/>
                      <a:pt x="133" y="70"/>
                      <a:pt x="134" y="70"/>
                    </a:cubicBezTo>
                    <a:cubicBezTo>
                      <a:pt x="137" y="71"/>
                      <a:pt x="139" y="73"/>
                      <a:pt x="140" y="74"/>
                    </a:cubicBezTo>
                    <a:cubicBezTo>
                      <a:pt x="141" y="75"/>
                      <a:pt x="141" y="75"/>
                      <a:pt x="141" y="75"/>
                    </a:cubicBezTo>
                    <a:cubicBezTo>
                      <a:pt x="142" y="76"/>
                      <a:pt x="142" y="76"/>
                      <a:pt x="142" y="76"/>
                    </a:cubicBezTo>
                    <a:cubicBezTo>
                      <a:pt x="143" y="76"/>
                      <a:pt x="144" y="77"/>
                      <a:pt x="144" y="78"/>
                    </a:cubicBezTo>
                    <a:cubicBezTo>
                      <a:pt x="146" y="78"/>
                      <a:pt x="148" y="80"/>
                      <a:pt x="149" y="81"/>
                    </a:cubicBezTo>
                    <a:cubicBezTo>
                      <a:pt x="150" y="81"/>
                      <a:pt x="150" y="82"/>
                      <a:pt x="151" y="82"/>
                    </a:cubicBezTo>
                    <a:cubicBezTo>
                      <a:pt x="152" y="84"/>
                      <a:pt x="152" y="84"/>
                      <a:pt x="152" y="84"/>
                    </a:cubicBezTo>
                    <a:cubicBezTo>
                      <a:pt x="153" y="84"/>
                      <a:pt x="154" y="85"/>
                      <a:pt x="155" y="86"/>
                    </a:cubicBezTo>
                    <a:cubicBezTo>
                      <a:pt x="156" y="86"/>
                      <a:pt x="156" y="86"/>
                      <a:pt x="156" y="86"/>
                    </a:cubicBezTo>
                    <a:cubicBezTo>
                      <a:pt x="157" y="87"/>
                      <a:pt x="158" y="88"/>
                      <a:pt x="160" y="89"/>
                    </a:cubicBezTo>
                    <a:cubicBezTo>
                      <a:pt x="160" y="89"/>
                      <a:pt x="160" y="89"/>
                      <a:pt x="160" y="89"/>
                    </a:cubicBezTo>
                    <a:cubicBezTo>
                      <a:pt x="161" y="89"/>
                      <a:pt x="161" y="89"/>
                      <a:pt x="161" y="89"/>
                    </a:cubicBezTo>
                    <a:cubicBezTo>
                      <a:pt x="162" y="89"/>
                      <a:pt x="162" y="89"/>
                      <a:pt x="162" y="89"/>
                    </a:cubicBezTo>
                    <a:cubicBezTo>
                      <a:pt x="162" y="89"/>
                      <a:pt x="162" y="89"/>
                      <a:pt x="162" y="89"/>
                    </a:cubicBezTo>
                    <a:cubicBezTo>
                      <a:pt x="162" y="89"/>
                      <a:pt x="162" y="89"/>
                      <a:pt x="162" y="89"/>
                    </a:cubicBezTo>
                    <a:cubicBezTo>
                      <a:pt x="162" y="89"/>
                      <a:pt x="162" y="89"/>
                      <a:pt x="162" y="89"/>
                    </a:cubicBezTo>
                    <a:cubicBezTo>
                      <a:pt x="163" y="89"/>
                      <a:pt x="164" y="89"/>
                      <a:pt x="164" y="89"/>
                    </a:cubicBezTo>
                    <a:cubicBezTo>
                      <a:pt x="165" y="89"/>
                      <a:pt x="165" y="89"/>
                      <a:pt x="165" y="89"/>
                    </a:cubicBezTo>
                    <a:cubicBezTo>
                      <a:pt x="166" y="88"/>
                      <a:pt x="167" y="87"/>
                      <a:pt x="168" y="86"/>
                    </a:cubicBezTo>
                    <a:cubicBezTo>
                      <a:pt x="169" y="85"/>
                      <a:pt x="171" y="83"/>
                      <a:pt x="175" y="83"/>
                    </a:cubicBezTo>
                    <a:cubicBezTo>
                      <a:pt x="176" y="83"/>
                      <a:pt x="177" y="83"/>
                      <a:pt x="178" y="83"/>
                    </a:cubicBezTo>
                    <a:cubicBezTo>
                      <a:pt x="181" y="83"/>
                      <a:pt x="181" y="83"/>
                      <a:pt x="181" y="83"/>
                    </a:cubicBezTo>
                    <a:cubicBezTo>
                      <a:pt x="183" y="83"/>
                      <a:pt x="183" y="83"/>
                      <a:pt x="183" y="83"/>
                    </a:cubicBezTo>
                    <a:cubicBezTo>
                      <a:pt x="184" y="83"/>
                      <a:pt x="186" y="83"/>
                      <a:pt x="187" y="83"/>
                    </a:cubicBezTo>
                    <a:cubicBezTo>
                      <a:pt x="187" y="83"/>
                      <a:pt x="187" y="83"/>
                      <a:pt x="187" y="83"/>
                    </a:cubicBezTo>
                    <a:cubicBezTo>
                      <a:pt x="188" y="82"/>
                      <a:pt x="188" y="81"/>
                      <a:pt x="189" y="80"/>
                    </a:cubicBezTo>
                    <a:cubicBezTo>
                      <a:pt x="190" y="79"/>
                      <a:pt x="191" y="78"/>
                      <a:pt x="192" y="78"/>
                    </a:cubicBezTo>
                    <a:cubicBezTo>
                      <a:pt x="192" y="77"/>
                      <a:pt x="192" y="77"/>
                      <a:pt x="192" y="77"/>
                    </a:cubicBezTo>
                    <a:cubicBezTo>
                      <a:pt x="193" y="77"/>
                      <a:pt x="193" y="76"/>
                      <a:pt x="193" y="76"/>
                    </a:cubicBezTo>
                    <a:cubicBezTo>
                      <a:pt x="196" y="74"/>
                      <a:pt x="198" y="72"/>
                      <a:pt x="201" y="71"/>
                    </a:cubicBezTo>
                    <a:cubicBezTo>
                      <a:pt x="202" y="71"/>
                      <a:pt x="202" y="71"/>
                      <a:pt x="203" y="71"/>
                    </a:cubicBezTo>
                    <a:cubicBezTo>
                      <a:pt x="203" y="71"/>
                      <a:pt x="203" y="71"/>
                      <a:pt x="203" y="71"/>
                    </a:cubicBezTo>
                    <a:cubicBezTo>
                      <a:pt x="203" y="68"/>
                      <a:pt x="203" y="68"/>
                      <a:pt x="203" y="68"/>
                    </a:cubicBezTo>
                    <a:cubicBezTo>
                      <a:pt x="203" y="67"/>
                      <a:pt x="203" y="67"/>
                      <a:pt x="203" y="66"/>
                    </a:cubicBezTo>
                    <a:cubicBezTo>
                      <a:pt x="204" y="66"/>
                      <a:pt x="204" y="66"/>
                      <a:pt x="204" y="66"/>
                    </a:cubicBezTo>
                    <a:cubicBezTo>
                      <a:pt x="203" y="66"/>
                      <a:pt x="203" y="66"/>
                      <a:pt x="203" y="66"/>
                    </a:cubicBezTo>
                    <a:cubicBezTo>
                      <a:pt x="202" y="65"/>
                      <a:pt x="202" y="65"/>
                      <a:pt x="202" y="65"/>
                    </a:cubicBezTo>
                    <a:cubicBezTo>
                      <a:pt x="202" y="64"/>
                      <a:pt x="202" y="64"/>
                      <a:pt x="202" y="64"/>
                    </a:cubicBezTo>
                    <a:cubicBezTo>
                      <a:pt x="202" y="63"/>
                      <a:pt x="202" y="63"/>
                      <a:pt x="202" y="63"/>
                    </a:cubicBezTo>
                    <a:cubicBezTo>
                      <a:pt x="202" y="62"/>
                      <a:pt x="202" y="62"/>
                      <a:pt x="202" y="62"/>
                    </a:cubicBezTo>
                    <a:cubicBezTo>
                      <a:pt x="200" y="61"/>
                      <a:pt x="200" y="60"/>
                      <a:pt x="198" y="53"/>
                    </a:cubicBezTo>
                    <a:cubicBezTo>
                      <a:pt x="197" y="51"/>
                      <a:pt x="196" y="49"/>
                      <a:pt x="194" y="48"/>
                    </a:cubicBezTo>
                    <a:cubicBezTo>
                      <a:pt x="194" y="48"/>
                      <a:pt x="194" y="48"/>
                      <a:pt x="194" y="48"/>
                    </a:cubicBezTo>
                    <a:cubicBezTo>
                      <a:pt x="193" y="48"/>
                      <a:pt x="193" y="48"/>
                      <a:pt x="193" y="48"/>
                    </a:cubicBezTo>
                    <a:cubicBezTo>
                      <a:pt x="183" y="55"/>
                      <a:pt x="183" y="55"/>
                      <a:pt x="183" y="55"/>
                    </a:cubicBezTo>
                    <a:cubicBezTo>
                      <a:pt x="188" y="44"/>
                      <a:pt x="188" y="44"/>
                      <a:pt x="188" y="44"/>
                    </a:cubicBezTo>
                    <a:cubicBezTo>
                      <a:pt x="188" y="44"/>
                      <a:pt x="189" y="41"/>
                      <a:pt x="190" y="38"/>
                    </a:cubicBezTo>
                    <a:cubicBezTo>
                      <a:pt x="190" y="38"/>
                      <a:pt x="190" y="38"/>
                      <a:pt x="190" y="38"/>
                    </a:cubicBezTo>
                    <a:cubicBezTo>
                      <a:pt x="190" y="37"/>
                      <a:pt x="190" y="37"/>
                      <a:pt x="190" y="37"/>
                    </a:cubicBezTo>
                    <a:cubicBezTo>
                      <a:pt x="190" y="36"/>
                      <a:pt x="189" y="33"/>
                      <a:pt x="192" y="31"/>
                    </a:cubicBezTo>
                    <a:cubicBezTo>
                      <a:pt x="192" y="30"/>
                      <a:pt x="192" y="29"/>
                      <a:pt x="193" y="28"/>
                    </a:cubicBezTo>
                    <a:cubicBezTo>
                      <a:pt x="192" y="28"/>
                      <a:pt x="192" y="28"/>
                      <a:pt x="191" y="28"/>
                    </a:cubicBezTo>
                    <a:cubicBezTo>
                      <a:pt x="191" y="27"/>
                      <a:pt x="190" y="27"/>
                      <a:pt x="189" y="27"/>
                    </a:cubicBezTo>
                    <a:cubicBezTo>
                      <a:pt x="189" y="26"/>
                      <a:pt x="188" y="26"/>
                      <a:pt x="188" y="26"/>
                    </a:cubicBezTo>
                    <a:cubicBezTo>
                      <a:pt x="187" y="25"/>
                      <a:pt x="187" y="25"/>
                      <a:pt x="187" y="25"/>
                    </a:cubicBezTo>
                    <a:cubicBezTo>
                      <a:pt x="186" y="25"/>
                      <a:pt x="186" y="25"/>
                      <a:pt x="186" y="25"/>
                    </a:cubicBezTo>
                    <a:cubicBezTo>
                      <a:pt x="186" y="24"/>
                      <a:pt x="185" y="24"/>
                      <a:pt x="185" y="24"/>
                    </a:cubicBezTo>
                    <a:cubicBezTo>
                      <a:pt x="184" y="23"/>
                      <a:pt x="184" y="23"/>
                      <a:pt x="184" y="23"/>
                    </a:cubicBezTo>
                    <a:cubicBezTo>
                      <a:pt x="183" y="22"/>
                      <a:pt x="183" y="22"/>
                      <a:pt x="183" y="22"/>
                    </a:cubicBezTo>
                    <a:cubicBezTo>
                      <a:pt x="183" y="22"/>
                      <a:pt x="183" y="22"/>
                      <a:pt x="183" y="22"/>
                    </a:cubicBezTo>
                    <a:cubicBezTo>
                      <a:pt x="179" y="26"/>
                      <a:pt x="179" y="26"/>
                      <a:pt x="179" y="26"/>
                    </a:cubicBezTo>
                    <a:cubicBezTo>
                      <a:pt x="179" y="21"/>
                      <a:pt x="179" y="21"/>
                      <a:pt x="179" y="21"/>
                    </a:cubicBezTo>
                    <a:cubicBezTo>
                      <a:pt x="176" y="20"/>
                      <a:pt x="176" y="20"/>
                      <a:pt x="176" y="20"/>
                    </a:cubicBezTo>
                    <a:cubicBezTo>
                      <a:pt x="175" y="20"/>
                      <a:pt x="174" y="19"/>
                      <a:pt x="172" y="18"/>
                    </a:cubicBezTo>
                    <a:cubicBezTo>
                      <a:pt x="172" y="18"/>
                      <a:pt x="172" y="18"/>
                      <a:pt x="172" y="18"/>
                    </a:cubicBezTo>
                    <a:cubicBezTo>
                      <a:pt x="171" y="18"/>
                      <a:pt x="171" y="18"/>
                      <a:pt x="171" y="18"/>
                    </a:cubicBezTo>
                    <a:cubicBezTo>
                      <a:pt x="170" y="18"/>
                      <a:pt x="170" y="18"/>
                      <a:pt x="169" y="19"/>
                    </a:cubicBezTo>
                    <a:cubicBezTo>
                      <a:pt x="168" y="19"/>
                      <a:pt x="168" y="19"/>
                      <a:pt x="167" y="19"/>
                    </a:cubicBezTo>
                    <a:cubicBezTo>
                      <a:pt x="167" y="19"/>
                      <a:pt x="166" y="19"/>
                      <a:pt x="166" y="19"/>
                    </a:cubicBezTo>
                    <a:cubicBezTo>
                      <a:pt x="166" y="19"/>
                      <a:pt x="166" y="19"/>
                      <a:pt x="166" y="19"/>
                    </a:cubicBezTo>
                    <a:cubicBezTo>
                      <a:pt x="164" y="20"/>
                      <a:pt x="162" y="21"/>
                      <a:pt x="159" y="21"/>
                    </a:cubicBezTo>
                    <a:cubicBezTo>
                      <a:pt x="158" y="21"/>
                      <a:pt x="157" y="21"/>
                      <a:pt x="156" y="20"/>
                    </a:cubicBezTo>
                    <a:cubicBezTo>
                      <a:pt x="154" y="19"/>
                      <a:pt x="153" y="18"/>
                      <a:pt x="151" y="17"/>
                    </a:cubicBezTo>
                    <a:cubicBezTo>
                      <a:pt x="149" y="15"/>
                      <a:pt x="149" y="15"/>
                      <a:pt x="149" y="15"/>
                    </a:cubicBezTo>
                    <a:cubicBezTo>
                      <a:pt x="147" y="14"/>
                      <a:pt x="145" y="11"/>
                      <a:pt x="143" y="9"/>
                    </a:cubicBezTo>
                    <a:cubicBezTo>
                      <a:pt x="143" y="8"/>
                      <a:pt x="143" y="8"/>
                      <a:pt x="143" y="8"/>
                    </a:cubicBezTo>
                    <a:cubicBezTo>
                      <a:pt x="143" y="8"/>
                      <a:pt x="143" y="8"/>
                      <a:pt x="143" y="8"/>
                    </a:cubicBezTo>
                    <a:cubicBezTo>
                      <a:pt x="140" y="7"/>
                      <a:pt x="137" y="6"/>
                      <a:pt x="135" y="5"/>
                    </a:cubicBezTo>
                    <a:cubicBezTo>
                      <a:pt x="134" y="5"/>
                      <a:pt x="134" y="5"/>
                      <a:pt x="134" y="5"/>
                    </a:cubicBezTo>
                    <a:cubicBezTo>
                      <a:pt x="133" y="4"/>
                      <a:pt x="133" y="4"/>
                      <a:pt x="132" y="3"/>
                    </a:cubicBezTo>
                    <a:cubicBezTo>
                      <a:pt x="130" y="3"/>
                      <a:pt x="130" y="3"/>
                      <a:pt x="130" y="3"/>
                    </a:cubicBezTo>
                    <a:cubicBezTo>
                      <a:pt x="129" y="2"/>
                      <a:pt x="128" y="1"/>
                      <a:pt x="128" y="1"/>
                    </a:cubicBezTo>
                    <a:cubicBezTo>
                      <a:pt x="127" y="1"/>
                      <a:pt x="127" y="1"/>
                      <a:pt x="127" y="1"/>
                    </a:cubicBezTo>
                    <a:cubicBezTo>
                      <a:pt x="126" y="1"/>
                      <a:pt x="126" y="1"/>
                      <a:pt x="126" y="1"/>
                    </a:cubicBezTo>
                    <a:cubicBezTo>
                      <a:pt x="125" y="1"/>
                      <a:pt x="125" y="1"/>
                      <a:pt x="125" y="1"/>
                    </a:cubicBezTo>
                    <a:cubicBezTo>
                      <a:pt x="124" y="1"/>
                      <a:pt x="124" y="1"/>
                      <a:pt x="124" y="1"/>
                    </a:cubicBezTo>
                    <a:cubicBezTo>
                      <a:pt x="121" y="1"/>
                      <a:pt x="120" y="1"/>
                      <a:pt x="1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324"/>
              <p:cNvSpPr/>
              <p:nvPr/>
            </p:nvSpPr>
            <p:spPr bwMode="auto">
              <a:xfrm>
                <a:off x="6471063" y="2782263"/>
                <a:ext cx="405363" cy="269013"/>
              </a:xfrm>
              <a:custGeom>
                <a:gdLst>
                  <a:gd name="T0" fmla="*/ 60 w 128"/>
                  <a:gd name="T1" fmla="*/ 5 h 85"/>
                  <a:gd name="T2" fmla="*/ 26 w 128"/>
                  <a:gd name="T3" fmla="*/ 10 h 85"/>
                  <a:gd name="T4" fmla="*/ 19 w 128"/>
                  <a:gd name="T5" fmla="*/ 15 h 85"/>
                  <a:gd name="T6" fmla="*/ 0 w 128"/>
                  <a:gd name="T7" fmla="*/ 27 h 85"/>
                  <a:gd name="T8" fmla="*/ 4 w 128"/>
                  <a:gd name="T9" fmla="*/ 27 h 85"/>
                  <a:gd name="T10" fmla="*/ 3 w 128"/>
                  <a:gd name="T11" fmla="*/ 29 h 85"/>
                  <a:gd name="T12" fmla="*/ 6 w 128"/>
                  <a:gd name="T13" fmla="*/ 29 h 85"/>
                  <a:gd name="T14" fmla="*/ 0 w 128"/>
                  <a:gd name="T15" fmla="*/ 37 h 85"/>
                  <a:gd name="T16" fmla="*/ 6 w 128"/>
                  <a:gd name="T17" fmla="*/ 37 h 85"/>
                  <a:gd name="T18" fmla="*/ 13 w 128"/>
                  <a:gd name="T19" fmla="*/ 38 h 85"/>
                  <a:gd name="T20" fmla="*/ 2 w 128"/>
                  <a:gd name="T21" fmla="*/ 45 h 85"/>
                  <a:gd name="T22" fmla="*/ 18 w 128"/>
                  <a:gd name="T23" fmla="*/ 57 h 85"/>
                  <a:gd name="T24" fmla="*/ 27 w 128"/>
                  <a:gd name="T25" fmla="*/ 55 h 85"/>
                  <a:gd name="T26" fmla="*/ 31 w 128"/>
                  <a:gd name="T27" fmla="*/ 57 h 85"/>
                  <a:gd name="T28" fmla="*/ 35 w 128"/>
                  <a:gd name="T29" fmla="*/ 68 h 85"/>
                  <a:gd name="T30" fmla="*/ 40 w 128"/>
                  <a:gd name="T31" fmla="*/ 66 h 85"/>
                  <a:gd name="T32" fmla="*/ 45 w 128"/>
                  <a:gd name="T33" fmla="*/ 64 h 85"/>
                  <a:gd name="T34" fmla="*/ 48 w 128"/>
                  <a:gd name="T35" fmla="*/ 62 h 85"/>
                  <a:gd name="T36" fmla="*/ 53 w 128"/>
                  <a:gd name="T37" fmla="*/ 65 h 85"/>
                  <a:gd name="T38" fmla="*/ 54 w 128"/>
                  <a:gd name="T39" fmla="*/ 65 h 85"/>
                  <a:gd name="T40" fmla="*/ 57 w 128"/>
                  <a:gd name="T41" fmla="*/ 65 h 85"/>
                  <a:gd name="T42" fmla="*/ 62 w 128"/>
                  <a:gd name="T43" fmla="*/ 67 h 85"/>
                  <a:gd name="T44" fmla="*/ 66 w 128"/>
                  <a:gd name="T45" fmla="*/ 69 h 85"/>
                  <a:gd name="T46" fmla="*/ 75 w 128"/>
                  <a:gd name="T47" fmla="*/ 72 h 85"/>
                  <a:gd name="T48" fmla="*/ 78 w 128"/>
                  <a:gd name="T49" fmla="*/ 76 h 85"/>
                  <a:gd name="T50" fmla="*/ 84 w 128"/>
                  <a:gd name="T51" fmla="*/ 82 h 85"/>
                  <a:gd name="T52" fmla="*/ 88 w 128"/>
                  <a:gd name="T53" fmla="*/ 85 h 85"/>
                  <a:gd name="T54" fmla="*/ 92 w 128"/>
                  <a:gd name="T55" fmla="*/ 83 h 85"/>
                  <a:gd name="T56" fmla="*/ 95 w 128"/>
                  <a:gd name="T57" fmla="*/ 83 h 85"/>
                  <a:gd name="T58" fmla="*/ 98 w 128"/>
                  <a:gd name="T59" fmla="*/ 81 h 85"/>
                  <a:gd name="T60" fmla="*/ 104 w 128"/>
                  <a:gd name="T61" fmla="*/ 83 h 85"/>
                  <a:gd name="T62" fmla="*/ 109 w 128"/>
                  <a:gd name="T63" fmla="*/ 85 h 85"/>
                  <a:gd name="T64" fmla="*/ 110 w 128"/>
                  <a:gd name="T65" fmla="*/ 84 h 85"/>
                  <a:gd name="T66" fmla="*/ 111 w 128"/>
                  <a:gd name="T67" fmla="*/ 81 h 85"/>
                  <a:gd name="T68" fmla="*/ 112 w 128"/>
                  <a:gd name="T69" fmla="*/ 78 h 85"/>
                  <a:gd name="T70" fmla="*/ 115 w 128"/>
                  <a:gd name="T71" fmla="*/ 75 h 85"/>
                  <a:gd name="T72" fmla="*/ 116 w 128"/>
                  <a:gd name="T73" fmla="*/ 74 h 85"/>
                  <a:gd name="T74" fmla="*/ 120 w 128"/>
                  <a:gd name="T75" fmla="*/ 73 h 85"/>
                  <a:gd name="T76" fmla="*/ 117 w 128"/>
                  <a:gd name="T77" fmla="*/ 69 h 85"/>
                  <a:gd name="T78" fmla="*/ 111 w 128"/>
                  <a:gd name="T79" fmla="*/ 53 h 85"/>
                  <a:gd name="T80" fmla="*/ 111 w 128"/>
                  <a:gd name="T81" fmla="*/ 43 h 85"/>
                  <a:gd name="T82" fmla="*/ 121 w 128"/>
                  <a:gd name="T83" fmla="*/ 21 h 85"/>
                  <a:gd name="T84" fmla="*/ 124 w 128"/>
                  <a:gd name="T85" fmla="*/ 14 h 85"/>
                  <a:gd name="T86" fmla="*/ 127 w 128"/>
                  <a:gd name="T87" fmla="*/ 10 h 85"/>
                  <a:gd name="T88" fmla="*/ 112 w 128"/>
                  <a:gd name="T89" fmla="*/ 9 h 85"/>
                  <a:gd name="T90" fmla="*/ 101 w 128"/>
                  <a:gd name="T91" fmla="*/ 9 h 85"/>
                  <a:gd name="T92" fmla="*/ 70 w 128"/>
                  <a:gd name="T93" fmla="*/ 4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5">
                    <a:moveTo>
                      <a:pt x="59" y="0"/>
                    </a:moveTo>
                    <a:cubicBezTo>
                      <a:pt x="59" y="2"/>
                      <a:pt x="60" y="4"/>
                      <a:pt x="60" y="5"/>
                    </a:cubicBezTo>
                    <a:cubicBezTo>
                      <a:pt x="53" y="8"/>
                      <a:pt x="46" y="6"/>
                      <a:pt x="38" y="7"/>
                    </a:cubicBezTo>
                    <a:cubicBezTo>
                      <a:pt x="34" y="8"/>
                      <a:pt x="30" y="9"/>
                      <a:pt x="26" y="10"/>
                    </a:cubicBezTo>
                    <a:cubicBezTo>
                      <a:pt x="23" y="11"/>
                      <a:pt x="22" y="14"/>
                      <a:pt x="19" y="15"/>
                    </a:cubicBezTo>
                    <a:cubicBezTo>
                      <a:pt x="19" y="15"/>
                      <a:pt x="19" y="15"/>
                      <a:pt x="19" y="15"/>
                    </a:cubicBezTo>
                    <a:cubicBezTo>
                      <a:pt x="16" y="16"/>
                      <a:pt x="1" y="18"/>
                      <a:pt x="1" y="20"/>
                    </a:cubicBezTo>
                    <a:cubicBezTo>
                      <a:pt x="1" y="21"/>
                      <a:pt x="0" y="26"/>
                      <a:pt x="0" y="27"/>
                    </a:cubicBezTo>
                    <a:cubicBezTo>
                      <a:pt x="0" y="27"/>
                      <a:pt x="1" y="27"/>
                      <a:pt x="2" y="27"/>
                    </a:cubicBezTo>
                    <a:cubicBezTo>
                      <a:pt x="2" y="27"/>
                      <a:pt x="3" y="27"/>
                      <a:pt x="4" y="27"/>
                    </a:cubicBezTo>
                    <a:cubicBezTo>
                      <a:pt x="3" y="28"/>
                      <a:pt x="3" y="28"/>
                      <a:pt x="3" y="28"/>
                    </a:cubicBezTo>
                    <a:cubicBezTo>
                      <a:pt x="3" y="29"/>
                      <a:pt x="3" y="29"/>
                      <a:pt x="3" y="29"/>
                    </a:cubicBezTo>
                    <a:cubicBezTo>
                      <a:pt x="5" y="27"/>
                      <a:pt x="5" y="27"/>
                      <a:pt x="5" y="27"/>
                    </a:cubicBezTo>
                    <a:cubicBezTo>
                      <a:pt x="5" y="27"/>
                      <a:pt x="6" y="28"/>
                      <a:pt x="6" y="29"/>
                    </a:cubicBezTo>
                    <a:cubicBezTo>
                      <a:pt x="2" y="31"/>
                      <a:pt x="2" y="30"/>
                      <a:pt x="1" y="35"/>
                    </a:cubicBezTo>
                    <a:cubicBezTo>
                      <a:pt x="1" y="35"/>
                      <a:pt x="1" y="37"/>
                      <a:pt x="0" y="37"/>
                    </a:cubicBezTo>
                    <a:cubicBezTo>
                      <a:pt x="1" y="37"/>
                      <a:pt x="2" y="37"/>
                      <a:pt x="3" y="37"/>
                    </a:cubicBezTo>
                    <a:cubicBezTo>
                      <a:pt x="4" y="37"/>
                      <a:pt x="5" y="37"/>
                      <a:pt x="6" y="37"/>
                    </a:cubicBezTo>
                    <a:cubicBezTo>
                      <a:pt x="7" y="37"/>
                      <a:pt x="8" y="37"/>
                      <a:pt x="9" y="37"/>
                    </a:cubicBezTo>
                    <a:cubicBezTo>
                      <a:pt x="10" y="37"/>
                      <a:pt x="11" y="37"/>
                      <a:pt x="13" y="38"/>
                    </a:cubicBezTo>
                    <a:cubicBezTo>
                      <a:pt x="11" y="38"/>
                      <a:pt x="5" y="38"/>
                      <a:pt x="3" y="40"/>
                    </a:cubicBezTo>
                    <a:cubicBezTo>
                      <a:pt x="2" y="41"/>
                      <a:pt x="2" y="44"/>
                      <a:pt x="2" y="45"/>
                    </a:cubicBezTo>
                    <a:cubicBezTo>
                      <a:pt x="2" y="47"/>
                      <a:pt x="4" y="46"/>
                      <a:pt x="5" y="47"/>
                    </a:cubicBezTo>
                    <a:cubicBezTo>
                      <a:pt x="9" y="53"/>
                      <a:pt x="11" y="55"/>
                      <a:pt x="18" y="57"/>
                    </a:cubicBezTo>
                    <a:cubicBezTo>
                      <a:pt x="20" y="58"/>
                      <a:pt x="21" y="58"/>
                      <a:pt x="22" y="58"/>
                    </a:cubicBezTo>
                    <a:cubicBezTo>
                      <a:pt x="24" y="58"/>
                      <a:pt x="24" y="57"/>
                      <a:pt x="27" y="55"/>
                    </a:cubicBezTo>
                    <a:cubicBezTo>
                      <a:pt x="28" y="55"/>
                      <a:pt x="29" y="54"/>
                      <a:pt x="30" y="54"/>
                    </a:cubicBezTo>
                    <a:cubicBezTo>
                      <a:pt x="31" y="54"/>
                      <a:pt x="32" y="55"/>
                      <a:pt x="31" y="57"/>
                    </a:cubicBezTo>
                    <a:cubicBezTo>
                      <a:pt x="30" y="61"/>
                      <a:pt x="29" y="66"/>
                      <a:pt x="27" y="70"/>
                    </a:cubicBezTo>
                    <a:cubicBezTo>
                      <a:pt x="35" y="68"/>
                      <a:pt x="35" y="68"/>
                      <a:pt x="35" y="68"/>
                    </a:cubicBezTo>
                    <a:cubicBezTo>
                      <a:pt x="37" y="67"/>
                      <a:pt x="38" y="67"/>
                      <a:pt x="40" y="66"/>
                    </a:cubicBezTo>
                    <a:cubicBezTo>
                      <a:pt x="40" y="66"/>
                      <a:pt x="40" y="66"/>
                      <a:pt x="40" y="66"/>
                    </a:cubicBezTo>
                    <a:cubicBezTo>
                      <a:pt x="42" y="65"/>
                      <a:pt x="43" y="65"/>
                      <a:pt x="44" y="64"/>
                    </a:cubicBezTo>
                    <a:cubicBezTo>
                      <a:pt x="45" y="64"/>
                      <a:pt x="45" y="64"/>
                      <a:pt x="45" y="64"/>
                    </a:cubicBezTo>
                    <a:cubicBezTo>
                      <a:pt x="46" y="63"/>
                      <a:pt x="46" y="63"/>
                      <a:pt x="46" y="63"/>
                    </a:cubicBezTo>
                    <a:cubicBezTo>
                      <a:pt x="48" y="62"/>
                      <a:pt x="48" y="62"/>
                      <a:pt x="48" y="62"/>
                    </a:cubicBezTo>
                    <a:cubicBezTo>
                      <a:pt x="50" y="64"/>
                      <a:pt x="50" y="64"/>
                      <a:pt x="50" y="64"/>
                    </a:cubicBezTo>
                    <a:cubicBezTo>
                      <a:pt x="51" y="65"/>
                      <a:pt x="52" y="65"/>
                      <a:pt x="53" y="65"/>
                    </a:cubicBezTo>
                    <a:cubicBezTo>
                      <a:pt x="53" y="65"/>
                      <a:pt x="53" y="65"/>
                      <a:pt x="54" y="65"/>
                    </a:cubicBezTo>
                    <a:cubicBezTo>
                      <a:pt x="54" y="65"/>
                      <a:pt x="54" y="65"/>
                      <a:pt x="54" y="65"/>
                    </a:cubicBezTo>
                    <a:cubicBezTo>
                      <a:pt x="54" y="65"/>
                      <a:pt x="54" y="65"/>
                      <a:pt x="55" y="65"/>
                    </a:cubicBezTo>
                    <a:cubicBezTo>
                      <a:pt x="55" y="65"/>
                      <a:pt x="56" y="65"/>
                      <a:pt x="57" y="65"/>
                    </a:cubicBezTo>
                    <a:cubicBezTo>
                      <a:pt x="57" y="65"/>
                      <a:pt x="58" y="65"/>
                      <a:pt x="58" y="65"/>
                    </a:cubicBezTo>
                    <a:cubicBezTo>
                      <a:pt x="59" y="66"/>
                      <a:pt x="59" y="66"/>
                      <a:pt x="62" y="67"/>
                    </a:cubicBezTo>
                    <a:cubicBezTo>
                      <a:pt x="63" y="68"/>
                      <a:pt x="63" y="68"/>
                      <a:pt x="63" y="68"/>
                    </a:cubicBezTo>
                    <a:cubicBezTo>
                      <a:pt x="64" y="68"/>
                      <a:pt x="65" y="69"/>
                      <a:pt x="66" y="69"/>
                    </a:cubicBezTo>
                    <a:cubicBezTo>
                      <a:pt x="67" y="70"/>
                      <a:pt x="67" y="70"/>
                      <a:pt x="67" y="70"/>
                    </a:cubicBezTo>
                    <a:cubicBezTo>
                      <a:pt x="70" y="71"/>
                      <a:pt x="72" y="72"/>
                      <a:pt x="75" y="72"/>
                    </a:cubicBezTo>
                    <a:cubicBezTo>
                      <a:pt x="80" y="73"/>
                      <a:pt x="80" y="73"/>
                      <a:pt x="80" y="73"/>
                    </a:cubicBezTo>
                    <a:cubicBezTo>
                      <a:pt x="78" y="76"/>
                      <a:pt x="78" y="76"/>
                      <a:pt x="78" y="76"/>
                    </a:cubicBezTo>
                    <a:cubicBezTo>
                      <a:pt x="79" y="78"/>
                      <a:pt x="81" y="80"/>
                      <a:pt x="83" y="81"/>
                    </a:cubicBezTo>
                    <a:cubicBezTo>
                      <a:pt x="84" y="82"/>
                      <a:pt x="84" y="82"/>
                      <a:pt x="84" y="82"/>
                    </a:cubicBezTo>
                    <a:cubicBezTo>
                      <a:pt x="86" y="83"/>
                      <a:pt x="87" y="84"/>
                      <a:pt x="88" y="85"/>
                    </a:cubicBezTo>
                    <a:cubicBezTo>
                      <a:pt x="88" y="85"/>
                      <a:pt x="88" y="85"/>
                      <a:pt x="88" y="85"/>
                    </a:cubicBezTo>
                    <a:cubicBezTo>
                      <a:pt x="89" y="85"/>
                      <a:pt x="90" y="85"/>
                      <a:pt x="92" y="84"/>
                    </a:cubicBezTo>
                    <a:cubicBezTo>
                      <a:pt x="92" y="83"/>
                      <a:pt x="92" y="83"/>
                      <a:pt x="92" y="83"/>
                    </a:cubicBezTo>
                    <a:cubicBezTo>
                      <a:pt x="93" y="83"/>
                      <a:pt x="94" y="83"/>
                      <a:pt x="95" y="83"/>
                    </a:cubicBezTo>
                    <a:cubicBezTo>
                      <a:pt x="95" y="83"/>
                      <a:pt x="95" y="83"/>
                      <a:pt x="95" y="83"/>
                    </a:cubicBezTo>
                    <a:cubicBezTo>
                      <a:pt x="95" y="82"/>
                      <a:pt x="96" y="81"/>
                      <a:pt x="98" y="81"/>
                    </a:cubicBezTo>
                    <a:cubicBezTo>
                      <a:pt x="98" y="81"/>
                      <a:pt x="98" y="81"/>
                      <a:pt x="98" y="81"/>
                    </a:cubicBezTo>
                    <a:cubicBezTo>
                      <a:pt x="99" y="81"/>
                      <a:pt x="100" y="81"/>
                      <a:pt x="101" y="81"/>
                    </a:cubicBezTo>
                    <a:cubicBezTo>
                      <a:pt x="102" y="82"/>
                      <a:pt x="103" y="82"/>
                      <a:pt x="104" y="83"/>
                    </a:cubicBezTo>
                    <a:cubicBezTo>
                      <a:pt x="105" y="84"/>
                      <a:pt x="106" y="84"/>
                      <a:pt x="107" y="84"/>
                    </a:cubicBezTo>
                    <a:cubicBezTo>
                      <a:pt x="109" y="85"/>
                      <a:pt x="109" y="85"/>
                      <a:pt x="109" y="85"/>
                    </a:cubicBezTo>
                    <a:cubicBezTo>
                      <a:pt x="110" y="84"/>
                      <a:pt x="110" y="84"/>
                      <a:pt x="110" y="84"/>
                    </a:cubicBezTo>
                    <a:cubicBezTo>
                      <a:pt x="110" y="84"/>
                      <a:pt x="110" y="84"/>
                      <a:pt x="110" y="84"/>
                    </a:cubicBezTo>
                    <a:cubicBezTo>
                      <a:pt x="110" y="83"/>
                      <a:pt x="110" y="83"/>
                      <a:pt x="110" y="83"/>
                    </a:cubicBezTo>
                    <a:cubicBezTo>
                      <a:pt x="110" y="82"/>
                      <a:pt x="110" y="82"/>
                      <a:pt x="111" y="81"/>
                    </a:cubicBezTo>
                    <a:cubicBezTo>
                      <a:pt x="111" y="80"/>
                      <a:pt x="112" y="79"/>
                      <a:pt x="112" y="79"/>
                    </a:cubicBezTo>
                    <a:cubicBezTo>
                      <a:pt x="112" y="78"/>
                      <a:pt x="112" y="78"/>
                      <a:pt x="112" y="78"/>
                    </a:cubicBezTo>
                    <a:cubicBezTo>
                      <a:pt x="113" y="78"/>
                      <a:pt x="113" y="77"/>
                      <a:pt x="113" y="77"/>
                    </a:cubicBezTo>
                    <a:cubicBezTo>
                      <a:pt x="114" y="76"/>
                      <a:pt x="115" y="75"/>
                      <a:pt x="115" y="75"/>
                    </a:cubicBezTo>
                    <a:cubicBezTo>
                      <a:pt x="116" y="75"/>
                      <a:pt x="116" y="75"/>
                      <a:pt x="116" y="75"/>
                    </a:cubicBezTo>
                    <a:cubicBezTo>
                      <a:pt x="116" y="74"/>
                      <a:pt x="116" y="74"/>
                      <a:pt x="116" y="74"/>
                    </a:cubicBezTo>
                    <a:cubicBezTo>
                      <a:pt x="116" y="74"/>
                      <a:pt x="117" y="74"/>
                      <a:pt x="117" y="74"/>
                    </a:cubicBezTo>
                    <a:cubicBezTo>
                      <a:pt x="118" y="73"/>
                      <a:pt x="119" y="73"/>
                      <a:pt x="120" y="73"/>
                    </a:cubicBezTo>
                    <a:cubicBezTo>
                      <a:pt x="120" y="72"/>
                      <a:pt x="119" y="71"/>
                      <a:pt x="118" y="71"/>
                    </a:cubicBezTo>
                    <a:cubicBezTo>
                      <a:pt x="118" y="70"/>
                      <a:pt x="117" y="70"/>
                      <a:pt x="117" y="69"/>
                    </a:cubicBezTo>
                    <a:cubicBezTo>
                      <a:pt x="111" y="64"/>
                      <a:pt x="111" y="56"/>
                      <a:pt x="111" y="54"/>
                    </a:cubicBezTo>
                    <a:cubicBezTo>
                      <a:pt x="111" y="54"/>
                      <a:pt x="111" y="53"/>
                      <a:pt x="111" y="53"/>
                    </a:cubicBezTo>
                    <a:cubicBezTo>
                      <a:pt x="111" y="52"/>
                      <a:pt x="111" y="52"/>
                      <a:pt x="111" y="52"/>
                    </a:cubicBezTo>
                    <a:cubicBezTo>
                      <a:pt x="111" y="50"/>
                      <a:pt x="112" y="45"/>
                      <a:pt x="111" y="43"/>
                    </a:cubicBezTo>
                    <a:cubicBezTo>
                      <a:pt x="110" y="38"/>
                      <a:pt x="111" y="33"/>
                      <a:pt x="114" y="31"/>
                    </a:cubicBezTo>
                    <a:cubicBezTo>
                      <a:pt x="115" y="31"/>
                      <a:pt x="120" y="26"/>
                      <a:pt x="121" y="21"/>
                    </a:cubicBezTo>
                    <a:cubicBezTo>
                      <a:pt x="122" y="19"/>
                      <a:pt x="124" y="17"/>
                      <a:pt x="126" y="15"/>
                    </a:cubicBezTo>
                    <a:cubicBezTo>
                      <a:pt x="124" y="14"/>
                      <a:pt x="124" y="14"/>
                      <a:pt x="124" y="14"/>
                    </a:cubicBezTo>
                    <a:cubicBezTo>
                      <a:pt x="128" y="11"/>
                      <a:pt x="128" y="11"/>
                      <a:pt x="128" y="11"/>
                    </a:cubicBezTo>
                    <a:cubicBezTo>
                      <a:pt x="127" y="10"/>
                      <a:pt x="127" y="10"/>
                      <a:pt x="127" y="10"/>
                    </a:cubicBezTo>
                    <a:cubicBezTo>
                      <a:pt x="126" y="10"/>
                      <a:pt x="125" y="10"/>
                      <a:pt x="124" y="10"/>
                    </a:cubicBezTo>
                    <a:cubicBezTo>
                      <a:pt x="120" y="10"/>
                      <a:pt x="115" y="9"/>
                      <a:pt x="112" y="9"/>
                    </a:cubicBezTo>
                    <a:cubicBezTo>
                      <a:pt x="109" y="9"/>
                      <a:pt x="105" y="9"/>
                      <a:pt x="101" y="9"/>
                    </a:cubicBezTo>
                    <a:cubicBezTo>
                      <a:pt x="101" y="9"/>
                      <a:pt x="101" y="9"/>
                      <a:pt x="101" y="9"/>
                    </a:cubicBezTo>
                    <a:cubicBezTo>
                      <a:pt x="99" y="9"/>
                      <a:pt x="96" y="7"/>
                      <a:pt x="93" y="6"/>
                    </a:cubicBezTo>
                    <a:cubicBezTo>
                      <a:pt x="85" y="5"/>
                      <a:pt x="78" y="5"/>
                      <a:pt x="70" y="4"/>
                    </a:cubicBezTo>
                    <a:cubicBezTo>
                      <a:pt x="65" y="4"/>
                      <a:pt x="62" y="4"/>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Rectangle 325"/>
              <p:cNvSpPr>
                <a:spLocks noChangeArrowheads="1"/>
              </p:cNvSpPr>
              <p:nvPr/>
            </p:nvSpPr>
            <p:spPr bwMode="auto">
              <a:xfrm>
                <a:off x="12024532" y="401309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326"/>
              <p:cNvSpPr/>
              <p:nvPr/>
            </p:nvSpPr>
            <p:spPr bwMode="auto">
              <a:xfrm flipH="1">
                <a:off x="12024532" y="401309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Rectangle 327"/>
              <p:cNvSpPr>
                <a:spLocks noChangeArrowheads="1"/>
              </p:cNvSpPr>
              <p:nvPr/>
            </p:nvSpPr>
            <p:spPr bwMode="auto">
              <a:xfrm>
                <a:off x="10484154" y="3397677"/>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328"/>
              <p:cNvSpPr/>
              <p:nvPr/>
            </p:nvSpPr>
            <p:spPr bwMode="auto">
              <a:xfrm flipH="1">
                <a:off x="10484154" y="339767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329"/>
              <p:cNvSpPr/>
              <p:nvPr/>
            </p:nvSpPr>
            <p:spPr bwMode="auto">
              <a:xfrm>
                <a:off x="8564209" y="3353456"/>
                <a:ext cx="3615098" cy="1680413"/>
              </a:xfrm>
              <a:custGeom>
                <a:gdLst>
                  <a:gd name="T0" fmla="*/ 617 w 1138"/>
                  <a:gd name="T1" fmla="*/ 12 h 530"/>
                  <a:gd name="T2" fmla="*/ 573 w 1138"/>
                  <a:gd name="T3" fmla="*/ 24 h 530"/>
                  <a:gd name="T4" fmla="*/ 546 w 1138"/>
                  <a:gd name="T5" fmla="*/ 28 h 530"/>
                  <a:gd name="T6" fmla="*/ 510 w 1138"/>
                  <a:gd name="T7" fmla="*/ 38 h 530"/>
                  <a:gd name="T8" fmla="*/ 461 w 1138"/>
                  <a:gd name="T9" fmla="*/ 49 h 530"/>
                  <a:gd name="T10" fmla="*/ 441 w 1138"/>
                  <a:gd name="T11" fmla="*/ 52 h 530"/>
                  <a:gd name="T12" fmla="*/ 416 w 1138"/>
                  <a:gd name="T13" fmla="*/ 60 h 530"/>
                  <a:gd name="T14" fmla="*/ 423 w 1138"/>
                  <a:gd name="T15" fmla="*/ 75 h 530"/>
                  <a:gd name="T16" fmla="*/ 439 w 1138"/>
                  <a:gd name="T17" fmla="*/ 93 h 530"/>
                  <a:gd name="T18" fmla="*/ 423 w 1138"/>
                  <a:gd name="T19" fmla="*/ 93 h 530"/>
                  <a:gd name="T20" fmla="*/ 411 w 1138"/>
                  <a:gd name="T21" fmla="*/ 116 h 530"/>
                  <a:gd name="T22" fmla="*/ 390 w 1138"/>
                  <a:gd name="T23" fmla="*/ 132 h 530"/>
                  <a:gd name="T24" fmla="*/ 429 w 1138"/>
                  <a:gd name="T25" fmla="*/ 158 h 530"/>
                  <a:gd name="T26" fmla="*/ 380 w 1138"/>
                  <a:gd name="T27" fmla="*/ 178 h 530"/>
                  <a:gd name="T28" fmla="*/ 338 w 1138"/>
                  <a:gd name="T29" fmla="*/ 168 h 530"/>
                  <a:gd name="T30" fmla="*/ 281 w 1138"/>
                  <a:gd name="T31" fmla="*/ 166 h 530"/>
                  <a:gd name="T32" fmla="*/ 232 w 1138"/>
                  <a:gd name="T33" fmla="*/ 173 h 530"/>
                  <a:gd name="T34" fmla="*/ 169 w 1138"/>
                  <a:gd name="T35" fmla="*/ 151 h 530"/>
                  <a:gd name="T36" fmla="*/ 138 w 1138"/>
                  <a:gd name="T37" fmla="*/ 150 h 530"/>
                  <a:gd name="T38" fmla="*/ 101 w 1138"/>
                  <a:gd name="T39" fmla="*/ 158 h 530"/>
                  <a:gd name="T40" fmla="*/ 63 w 1138"/>
                  <a:gd name="T41" fmla="*/ 191 h 530"/>
                  <a:gd name="T42" fmla="*/ 28 w 1138"/>
                  <a:gd name="T43" fmla="*/ 191 h 530"/>
                  <a:gd name="T44" fmla="*/ 11 w 1138"/>
                  <a:gd name="T45" fmla="*/ 226 h 530"/>
                  <a:gd name="T46" fmla="*/ 39 w 1138"/>
                  <a:gd name="T47" fmla="*/ 280 h 530"/>
                  <a:gd name="T48" fmla="*/ 66 w 1138"/>
                  <a:gd name="T49" fmla="*/ 325 h 530"/>
                  <a:gd name="T50" fmla="*/ 93 w 1138"/>
                  <a:gd name="T51" fmla="*/ 326 h 530"/>
                  <a:gd name="T52" fmla="*/ 182 w 1138"/>
                  <a:gd name="T53" fmla="*/ 319 h 530"/>
                  <a:gd name="T54" fmla="*/ 203 w 1138"/>
                  <a:gd name="T55" fmla="*/ 384 h 530"/>
                  <a:gd name="T56" fmla="*/ 136 w 1138"/>
                  <a:gd name="T57" fmla="*/ 369 h 530"/>
                  <a:gd name="T58" fmla="*/ 130 w 1138"/>
                  <a:gd name="T59" fmla="*/ 400 h 530"/>
                  <a:gd name="T60" fmla="*/ 141 w 1138"/>
                  <a:gd name="T61" fmla="*/ 446 h 530"/>
                  <a:gd name="T62" fmla="*/ 169 w 1138"/>
                  <a:gd name="T63" fmla="*/ 462 h 530"/>
                  <a:gd name="T64" fmla="*/ 245 w 1138"/>
                  <a:gd name="T65" fmla="*/ 499 h 530"/>
                  <a:gd name="T66" fmla="*/ 342 w 1138"/>
                  <a:gd name="T67" fmla="*/ 354 h 530"/>
                  <a:gd name="T68" fmla="*/ 359 w 1138"/>
                  <a:gd name="T69" fmla="*/ 359 h 530"/>
                  <a:gd name="T70" fmla="*/ 374 w 1138"/>
                  <a:gd name="T71" fmla="*/ 344 h 530"/>
                  <a:gd name="T72" fmla="*/ 374 w 1138"/>
                  <a:gd name="T73" fmla="*/ 350 h 530"/>
                  <a:gd name="T74" fmla="*/ 434 w 1138"/>
                  <a:gd name="T75" fmla="*/ 428 h 530"/>
                  <a:gd name="T76" fmla="*/ 530 w 1138"/>
                  <a:gd name="T77" fmla="*/ 431 h 530"/>
                  <a:gd name="T78" fmla="*/ 555 w 1138"/>
                  <a:gd name="T79" fmla="*/ 482 h 530"/>
                  <a:gd name="T80" fmla="*/ 602 w 1138"/>
                  <a:gd name="T81" fmla="*/ 510 h 530"/>
                  <a:gd name="T82" fmla="*/ 632 w 1138"/>
                  <a:gd name="T83" fmla="*/ 511 h 530"/>
                  <a:gd name="T84" fmla="*/ 707 w 1138"/>
                  <a:gd name="T85" fmla="*/ 457 h 530"/>
                  <a:gd name="T86" fmla="*/ 799 w 1138"/>
                  <a:gd name="T87" fmla="*/ 448 h 530"/>
                  <a:gd name="T88" fmla="*/ 853 w 1138"/>
                  <a:gd name="T89" fmla="*/ 451 h 530"/>
                  <a:gd name="T90" fmla="*/ 924 w 1138"/>
                  <a:gd name="T91" fmla="*/ 455 h 530"/>
                  <a:gd name="T92" fmla="*/ 967 w 1138"/>
                  <a:gd name="T93" fmla="*/ 444 h 530"/>
                  <a:gd name="T94" fmla="*/ 952 w 1138"/>
                  <a:gd name="T95" fmla="*/ 378 h 530"/>
                  <a:gd name="T96" fmla="*/ 1017 w 1138"/>
                  <a:gd name="T97" fmla="*/ 368 h 530"/>
                  <a:gd name="T98" fmla="*/ 1112 w 1138"/>
                  <a:gd name="T99" fmla="*/ 257 h 530"/>
                  <a:gd name="T100" fmla="*/ 1120 w 1138"/>
                  <a:gd name="T101" fmla="*/ 224 h 530"/>
                  <a:gd name="T102" fmla="*/ 1086 w 1138"/>
                  <a:gd name="T103" fmla="*/ 207 h 530"/>
                  <a:gd name="T104" fmla="*/ 1038 w 1138"/>
                  <a:gd name="T105" fmla="*/ 168 h 530"/>
                  <a:gd name="T106" fmla="*/ 989 w 1138"/>
                  <a:gd name="T107" fmla="*/ 177 h 530"/>
                  <a:gd name="T108" fmla="*/ 965 w 1138"/>
                  <a:gd name="T109" fmla="*/ 166 h 530"/>
                  <a:gd name="T110" fmla="*/ 923 w 1138"/>
                  <a:gd name="T111" fmla="*/ 137 h 530"/>
                  <a:gd name="T112" fmla="*/ 783 w 1138"/>
                  <a:gd name="T113" fmla="*/ 71 h 530"/>
                  <a:gd name="T114" fmla="*/ 733 w 1138"/>
                  <a:gd name="T115" fmla="*/ 55 h 530"/>
                  <a:gd name="T116" fmla="*/ 693 w 1138"/>
                  <a:gd name="T117" fmla="*/ 46 h 530"/>
                  <a:gd name="T118" fmla="*/ 685 w 1138"/>
                  <a:gd name="T119" fmla="*/ 2 h 5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530">
                    <a:moveTo>
                      <a:pt x="644" y="0"/>
                    </a:moveTo>
                    <a:cubicBezTo>
                      <a:pt x="644" y="0"/>
                      <a:pt x="644" y="0"/>
                      <a:pt x="644" y="0"/>
                    </a:cubicBezTo>
                    <a:cubicBezTo>
                      <a:pt x="644" y="0"/>
                      <a:pt x="643" y="0"/>
                      <a:pt x="643" y="0"/>
                    </a:cubicBezTo>
                    <a:cubicBezTo>
                      <a:pt x="642" y="0"/>
                      <a:pt x="642" y="0"/>
                      <a:pt x="642" y="0"/>
                    </a:cubicBezTo>
                    <a:cubicBezTo>
                      <a:pt x="642" y="0"/>
                      <a:pt x="642" y="0"/>
                      <a:pt x="642" y="0"/>
                    </a:cubicBezTo>
                    <a:cubicBezTo>
                      <a:pt x="641" y="0"/>
                      <a:pt x="641" y="0"/>
                      <a:pt x="641" y="0"/>
                    </a:cubicBezTo>
                    <a:cubicBezTo>
                      <a:pt x="640" y="1"/>
                      <a:pt x="640" y="1"/>
                      <a:pt x="640" y="1"/>
                    </a:cubicBezTo>
                    <a:cubicBezTo>
                      <a:pt x="639" y="1"/>
                      <a:pt x="639" y="1"/>
                      <a:pt x="638" y="1"/>
                    </a:cubicBezTo>
                    <a:cubicBezTo>
                      <a:pt x="638" y="1"/>
                      <a:pt x="638" y="1"/>
                      <a:pt x="638" y="1"/>
                    </a:cubicBezTo>
                    <a:cubicBezTo>
                      <a:pt x="637" y="1"/>
                      <a:pt x="637" y="1"/>
                      <a:pt x="637" y="1"/>
                    </a:cubicBezTo>
                    <a:cubicBezTo>
                      <a:pt x="637" y="2"/>
                      <a:pt x="636" y="2"/>
                      <a:pt x="635" y="2"/>
                    </a:cubicBezTo>
                    <a:cubicBezTo>
                      <a:pt x="634" y="2"/>
                      <a:pt x="632" y="1"/>
                      <a:pt x="631" y="1"/>
                    </a:cubicBezTo>
                    <a:cubicBezTo>
                      <a:pt x="631" y="0"/>
                      <a:pt x="631" y="0"/>
                      <a:pt x="631" y="0"/>
                    </a:cubicBezTo>
                    <a:cubicBezTo>
                      <a:pt x="631" y="0"/>
                      <a:pt x="630" y="0"/>
                      <a:pt x="630" y="0"/>
                    </a:cubicBezTo>
                    <a:cubicBezTo>
                      <a:pt x="629" y="1"/>
                      <a:pt x="629" y="2"/>
                      <a:pt x="628" y="3"/>
                    </a:cubicBezTo>
                    <a:cubicBezTo>
                      <a:pt x="627" y="6"/>
                      <a:pt x="624" y="8"/>
                      <a:pt x="620" y="9"/>
                    </a:cubicBezTo>
                    <a:cubicBezTo>
                      <a:pt x="619" y="10"/>
                      <a:pt x="618" y="11"/>
                      <a:pt x="618" y="11"/>
                    </a:cubicBezTo>
                    <a:cubicBezTo>
                      <a:pt x="617" y="12"/>
                      <a:pt x="617" y="12"/>
                      <a:pt x="617" y="12"/>
                    </a:cubicBezTo>
                    <a:cubicBezTo>
                      <a:pt x="615" y="13"/>
                      <a:pt x="614" y="13"/>
                      <a:pt x="613" y="14"/>
                    </a:cubicBezTo>
                    <a:cubicBezTo>
                      <a:pt x="612" y="15"/>
                      <a:pt x="611" y="15"/>
                      <a:pt x="609" y="16"/>
                    </a:cubicBezTo>
                    <a:cubicBezTo>
                      <a:pt x="609" y="16"/>
                      <a:pt x="609" y="16"/>
                      <a:pt x="609" y="16"/>
                    </a:cubicBezTo>
                    <a:cubicBezTo>
                      <a:pt x="608" y="16"/>
                      <a:pt x="607" y="16"/>
                      <a:pt x="606" y="15"/>
                    </a:cubicBezTo>
                    <a:cubicBezTo>
                      <a:pt x="605" y="15"/>
                      <a:pt x="605" y="15"/>
                      <a:pt x="605" y="15"/>
                    </a:cubicBezTo>
                    <a:cubicBezTo>
                      <a:pt x="604" y="15"/>
                      <a:pt x="604" y="15"/>
                      <a:pt x="604" y="15"/>
                    </a:cubicBezTo>
                    <a:cubicBezTo>
                      <a:pt x="604" y="15"/>
                      <a:pt x="604" y="15"/>
                      <a:pt x="604" y="15"/>
                    </a:cubicBezTo>
                    <a:cubicBezTo>
                      <a:pt x="604" y="15"/>
                      <a:pt x="604" y="15"/>
                      <a:pt x="604" y="15"/>
                    </a:cubicBezTo>
                    <a:cubicBezTo>
                      <a:pt x="603" y="17"/>
                      <a:pt x="603" y="17"/>
                      <a:pt x="603" y="17"/>
                    </a:cubicBezTo>
                    <a:cubicBezTo>
                      <a:pt x="586" y="20"/>
                      <a:pt x="586" y="20"/>
                      <a:pt x="586" y="20"/>
                    </a:cubicBezTo>
                    <a:cubicBezTo>
                      <a:pt x="585" y="20"/>
                      <a:pt x="584" y="20"/>
                      <a:pt x="583" y="21"/>
                    </a:cubicBezTo>
                    <a:cubicBezTo>
                      <a:pt x="590" y="25"/>
                      <a:pt x="590" y="25"/>
                      <a:pt x="590" y="25"/>
                    </a:cubicBezTo>
                    <a:cubicBezTo>
                      <a:pt x="576" y="23"/>
                      <a:pt x="576" y="23"/>
                      <a:pt x="576" y="23"/>
                    </a:cubicBezTo>
                    <a:cubicBezTo>
                      <a:pt x="575" y="23"/>
                      <a:pt x="575" y="23"/>
                      <a:pt x="575" y="23"/>
                    </a:cubicBezTo>
                    <a:cubicBezTo>
                      <a:pt x="574" y="23"/>
                      <a:pt x="574" y="23"/>
                      <a:pt x="574" y="23"/>
                    </a:cubicBezTo>
                    <a:cubicBezTo>
                      <a:pt x="574" y="23"/>
                      <a:pt x="574" y="23"/>
                      <a:pt x="574" y="23"/>
                    </a:cubicBezTo>
                    <a:cubicBezTo>
                      <a:pt x="574" y="23"/>
                      <a:pt x="574" y="23"/>
                      <a:pt x="574" y="23"/>
                    </a:cubicBezTo>
                    <a:cubicBezTo>
                      <a:pt x="573" y="24"/>
                      <a:pt x="573" y="24"/>
                      <a:pt x="573" y="24"/>
                    </a:cubicBezTo>
                    <a:cubicBezTo>
                      <a:pt x="572" y="25"/>
                      <a:pt x="571" y="25"/>
                      <a:pt x="571" y="25"/>
                    </a:cubicBezTo>
                    <a:cubicBezTo>
                      <a:pt x="570" y="25"/>
                      <a:pt x="570" y="25"/>
                      <a:pt x="570" y="25"/>
                    </a:cubicBezTo>
                    <a:cubicBezTo>
                      <a:pt x="570" y="25"/>
                      <a:pt x="570" y="25"/>
                      <a:pt x="570" y="25"/>
                    </a:cubicBezTo>
                    <a:cubicBezTo>
                      <a:pt x="569" y="25"/>
                      <a:pt x="569" y="25"/>
                      <a:pt x="569" y="25"/>
                    </a:cubicBezTo>
                    <a:cubicBezTo>
                      <a:pt x="569" y="25"/>
                      <a:pt x="569" y="25"/>
                      <a:pt x="569" y="25"/>
                    </a:cubicBezTo>
                    <a:cubicBezTo>
                      <a:pt x="569" y="25"/>
                      <a:pt x="569" y="25"/>
                      <a:pt x="569" y="25"/>
                    </a:cubicBezTo>
                    <a:cubicBezTo>
                      <a:pt x="569" y="25"/>
                      <a:pt x="569" y="25"/>
                      <a:pt x="569" y="25"/>
                    </a:cubicBezTo>
                    <a:cubicBezTo>
                      <a:pt x="568" y="25"/>
                      <a:pt x="568" y="25"/>
                      <a:pt x="568" y="25"/>
                    </a:cubicBezTo>
                    <a:cubicBezTo>
                      <a:pt x="567" y="25"/>
                      <a:pt x="566" y="25"/>
                      <a:pt x="565" y="25"/>
                    </a:cubicBezTo>
                    <a:cubicBezTo>
                      <a:pt x="564" y="25"/>
                      <a:pt x="564" y="25"/>
                      <a:pt x="564" y="25"/>
                    </a:cubicBezTo>
                    <a:cubicBezTo>
                      <a:pt x="562" y="26"/>
                      <a:pt x="562" y="26"/>
                      <a:pt x="562" y="26"/>
                    </a:cubicBezTo>
                    <a:cubicBezTo>
                      <a:pt x="561" y="26"/>
                      <a:pt x="559" y="26"/>
                      <a:pt x="558" y="27"/>
                    </a:cubicBezTo>
                    <a:cubicBezTo>
                      <a:pt x="553" y="28"/>
                      <a:pt x="553" y="28"/>
                      <a:pt x="553" y="28"/>
                    </a:cubicBezTo>
                    <a:cubicBezTo>
                      <a:pt x="553" y="28"/>
                      <a:pt x="553" y="28"/>
                      <a:pt x="552" y="28"/>
                    </a:cubicBezTo>
                    <a:cubicBezTo>
                      <a:pt x="552" y="28"/>
                      <a:pt x="552" y="28"/>
                      <a:pt x="551" y="28"/>
                    </a:cubicBezTo>
                    <a:cubicBezTo>
                      <a:pt x="546" y="28"/>
                      <a:pt x="546" y="28"/>
                      <a:pt x="546" y="28"/>
                    </a:cubicBezTo>
                    <a:cubicBezTo>
                      <a:pt x="546" y="28"/>
                      <a:pt x="546" y="28"/>
                      <a:pt x="546" y="28"/>
                    </a:cubicBezTo>
                    <a:cubicBezTo>
                      <a:pt x="546" y="28"/>
                      <a:pt x="546" y="28"/>
                      <a:pt x="546" y="28"/>
                    </a:cubicBezTo>
                    <a:cubicBezTo>
                      <a:pt x="538" y="28"/>
                      <a:pt x="538" y="28"/>
                      <a:pt x="538" y="28"/>
                    </a:cubicBezTo>
                    <a:cubicBezTo>
                      <a:pt x="536" y="28"/>
                      <a:pt x="536" y="28"/>
                      <a:pt x="536" y="28"/>
                    </a:cubicBezTo>
                    <a:cubicBezTo>
                      <a:pt x="536" y="28"/>
                      <a:pt x="536" y="29"/>
                      <a:pt x="535" y="29"/>
                    </a:cubicBezTo>
                    <a:cubicBezTo>
                      <a:pt x="531" y="32"/>
                      <a:pt x="531" y="32"/>
                      <a:pt x="531" y="32"/>
                    </a:cubicBezTo>
                    <a:cubicBezTo>
                      <a:pt x="536" y="36"/>
                      <a:pt x="536" y="36"/>
                      <a:pt x="536" y="36"/>
                    </a:cubicBezTo>
                    <a:cubicBezTo>
                      <a:pt x="529" y="33"/>
                      <a:pt x="529" y="33"/>
                      <a:pt x="529" y="33"/>
                    </a:cubicBezTo>
                    <a:cubicBezTo>
                      <a:pt x="529" y="33"/>
                      <a:pt x="529" y="33"/>
                      <a:pt x="529" y="33"/>
                    </a:cubicBezTo>
                    <a:cubicBezTo>
                      <a:pt x="528" y="34"/>
                      <a:pt x="528" y="35"/>
                      <a:pt x="527" y="36"/>
                    </a:cubicBezTo>
                    <a:cubicBezTo>
                      <a:pt x="524" y="40"/>
                      <a:pt x="524" y="40"/>
                      <a:pt x="524" y="40"/>
                    </a:cubicBezTo>
                    <a:cubicBezTo>
                      <a:pt x="521" y="39"/>
                      <a:pt x="521" y="39"/>
                      <a:pt x="521" y="39"/>
                    </a:cubicBezTo>
                    <a:cubicBezTo>
                      <a:pt x="520" y="37"/>
                      <a:pt x="520" y="37"/>
                      <a:pt x="520" y="37"/>
                    </a:cubicBezTo>
                    <a:cubicBezTo>
                      <a:pt x="519" y="38"/>
                      <a:pt x="519" y="38"/>
                      <a:pt x="519" y="38"/>
                    </a:cubicBezTo>
                    <a:cubicBezTo>
                      <a:pt x="518" y="39"/>
                      <a:pt x="518" y="39"/>
                      <a:pt x="518" y="39"/>
                    </a:cubicBezTo>
                    <a:cubicBezTo>
                      <a:pt x="516" y="39"/>
                      <a:pt x="516" y="39"/>
                      <a:pt x="516" y="39"/>
                    </a:cubicBezTo>
                    <a:cubicBezTo>
                      <a:pt x="515" y="39"/>
                      <a:pt x="514" y="39"/>
                      <a:pt x="513" y="39"/>
                    </a:cubicBezTo>
                    <a:cubicBezTo>
                      <a:pt x="511" y="39"/>
                      <a:pt x="511" y="39"/>
                      <a:pt x="511" y="39"/>
                    </a:cubicBezTo>
                    <a:cubicBezTo>
                      <a:pt x="511" y="39"/>
                      <a:pt x="511" y="39"/>
                      <a:pt x="511" y="39"/>
                    </a:cubicBezTo>
                    <a:cubicBezTo>
                      <a:pt x="511" y="39"/>
                      <a:pt x="510" y="39"/>
                      <a:pt x="510" y="38"/>
                    </a:cubicBezTo>
                    <a:cubicBezTo>
                      <a:pt x="509" y="38"/>
                      <a:pt x="509" y="38"/>
                      <a:pt x="509" y="38"/>
                    </a:cubicBezTo>
                    <a:cubicBezTo>
                      <a:pt x="509" y="38"/>
                      <a:pt x="509" y="39"/>
                      <a:pt x="508" y="39"/>
                    </a:cubicBezTo>
                    <a:cubicBezTo>
                      <a:pt x="506" y="39"/>
                      <a:pt x="506" y="39"/>
                      <a:pt x="506" y="39"/>
                    </a:cubicBezTo>
                    <a:cubicBezTo>
                      <a:pt x="504" y="40"/>
                      <a:pt x="504" y="40"/>
                      <a:pt x="504" y="40"/>
                    </a:cubicBezTo>
                    <a:cubicBezTo>
                      <a:pt x="504" y="40"/>
                      <a:pt x="503" y="40"/>
                      <a:pt x="503" y="40"/>
                    </a:cubicBezTo>
                    <a:cubicBezTo>
                      <a:pt x="502" y="40"/>
                      <a:pt x="502" y="40"/>
                      <a:pt x="502" y="40"/>
                    </a:cubicBezTo>
                    <a:cubicBezTo>
                      <a:pt x="502" y="40"/>
                      <a:pt x="502" y="40"/>
                      <a:pt x="502" y="40"/>
                    </a:cubicBezTo>
                    <a:cubicBezTo>
                      <a:pt x="486" y="43"/>
                      <a:pt x="486" y="43"/>
                      <a:pt x="486" y="43"/>
                    </a:cubicBezTo>
                    <a:cubicBezTo>
                      <a:pt x="486" y="43"/>
                      <a:pt x="486" y="43"/>
                      <a:pt x="486" y="43"/>
                    </a:cubicBezTo>
                    <a:cubicBezTo>
                      <a:pt x="486" y="43"/>
                      <a:pt x="486" y="43"/>
                      <a:pt x="486" y="43"/>
                    </a:cubicBezTo>
                    <a:cubicBezTo>
                      <a:pt x="485" y="44"/>
                      <a:pt x="485" y="44"/>
                      <a:pt x="485" y="44"/>
                    </a:cubicBezTo>
                    <a:cubicBezTo>
                      <a:pt x="474" y="46"/>
                      <a:pt x="474" y="46"/>
                      <a:pt x="474" y="46"/>
                    </a:cubicBezTo>
                    <a:cubicBezTo>
                      <a:pt x="472" y="46"/>
                      <a:pt x="472" y="46"/>
                      <a:pt x="472" y="46"/>
                    </a:cubicBezTo>
                    <a:cubicBezTo>
                      <a:pt x="471" y="46"/>
                      <a:pt x="471" y="46"/>
                      <a:pt x="471" y="46"/>
                    </a:cubicBezTo>
                    <a:cubicBezTo>
                      <a:pt x="470" y="46"/>
                      <a:pt x="470" y="46"/>
                      <a:pt x="470" y="46"/>
                    </a:cubicBezTo>
                    <a:cubicBezTo>
                      <a:pt x="470" y="47"/>
                      <a:pt x="470" y="47"/>
                      <a:pt x="470" y="47"/>
                    </a:cubicBezTo>
                    <a:cubicBezTo>
                      <a:pt x="468" y="47"/>
                      <a:pt x="468" y="47"/>
                      <a:pt x="468" y="47"/>
                    </a:cubicBezTo>
                    <a:cubicBezTo>
                      <a:pt x="461" y="49"/>
                      <a:pt x="461" y="49"/>
                      <a:pt x="461" y="49"/>
                    </a:cubicBezTo>
                    <a:cubicBezTo>
                      <a:pt x="461" y="49"/>
                      <a:pt x="461" y="49"/>
                      <a:pt x="461" y="49"/>
                    </a:cubicBezTo>
                    <a:cubicBezTo>
                      <a:pt x="460" y="49"/>
                      <a:pt x="460" y="49"/>
                      <a:pt x="460" y="49"/>
                    </a:cubicBezTo>
                    <a:cubicBezTo>
                      <a:pt x="459" y="49"/>
                      <a:pt x="458" y="50"/>
                      <a:pt x="457" y="50"/>
                    </a:cubicBezTo>
                    <a:cubicBezTo>
                      <a:pt x="457" y="50"/>
                      <a:pt x="457" y="50"/>
                      <a:pt x="457" y="50"/>
                    </a:cubicBezTo>
                    <a:cubicBezTo>
                      <a:pt x="457" y="50"/>
                      <a:pt x="457" y="50"/>
                      <a:pt x="457" y="50"/>
                    </a:cubicBezTo>
                    <a:cubicBezTo>
                      <a:pt x="455" y="51"/>
                      <a:pt x="455" y="51"/>
                      <a:pt x="455" y="51"/>
                    </a:cubicBezTo>
                    <a:cubicBezTo>
                      <a:pt x="453" y="54"/>
                      <a:pt x="453" y="54"/>
                      <a:pt x="453" y="54"/>
                    </a:cubicBezTo>
                    <a:cubicBezTo>
                      <a:pt x="452" y="55"/>
                      <a:pt x="452" y="55"/>
                      <a:pt x="452" y="55"/>
                    </a:cubicBezTo>
                    <a:cubicBezTo>
                      <a:pt x="449" y="57"/>
                      <a:pt x="449" y="57"/>
                      <a:pt x="449" y="57"/>
                    </a:cubicBezTo>
                    <a:cubicBezTo>
                      <a:pt x="449" y="56"/>
                      <a:pt x="449" y="56"/>
                      <a:pt x="449" y="56"/>
                    </a:cubicBezTo>
                    <a:cubicBezTo>
                      <a:pt x="442" y="62"/>
                      <a:pt x="442" y="62"/>
                      <a:pt x="442" y="62"/>
                    </a:cubicBezTo>
                    <a:cubicBezTo>
                      <a:pt x="446" y="54"/>
                      <a:pt x="446" y="54"/>
                      <a:pt x="446" y="54"/>
                    </a:cubicBezTo>
                    <a:cubicBezTo>
                      <a:pt x="446" y="54"/>
                      <a:pt x="446" y="54"/>
                      <a:pt x="446" y="54"/>
                    </a:cubicBezTo>
                    <a:cubicBezTo>
                      <a:pt x="445" y="53"/>
                      <a:pt x="445" y="53"/>
                      <a:pt x="445" y="53"/>
                    </a:cubicBezTo>
                    <a:cubicBezTo>
                      <a:pt x="444" y="52"/>
                      <a:pt x="444" y="52"/>
                      <a:pt x="444" y="52"/>
                    </a:cubicBezTo>
                    <a:cubicBezTo>
                      <a:pt x="444" y="52"/>
                      <a:pt x="444" y="52"/>
                      <a:pt x="444" y="52"/>
                    </a:cubicBezTo>
                    <a:cubicBezTo>
                      <a:pt x="443" y="52"/>
                      <a:pt x="443" y="52"/>
                      <a:pt x="443" y="52"/>
                    </a:cubicBezTo>
                    <a:cubicBezTo>
                      <a:pt x="442" y="52"/>
                      <a:pt x="441" y="52"/>
                      <a:pt x="441" y="52"/>
                    </a:cubicBezTo>
                    <a:cubicBezTo>
                      <a:pt x="439" y="60"/>
                      <a:pt x="439" y="60"/>
                      <a:pt x="439" y="60"/>
                    </a:cubicBezTo>
                    <a:cubicBezTo>
                      <a:pt x="439" y="52"/>
                      <a:pt x="439" y="52"/>
                      <a:pt x="439" y="52"/>
                    </a:cubicBezTo>
                    <a:cubicBezTo>
                      <a:pt x="438" y="52"/>
                      <a:pt x="438" y="52"/>
                      <a:pt x="438" y="52"/>
                    </a:cubicBezTo>
                    <a:cubicBezTo>
                      <a:pt x="437" y="53"/>
                      <a:pt x="437" y="53"/>
                      <a:pt x="437" y="53"/>
                    </a:cubicBezTo>
                    <a:cubicBezTo>
                      <a:pt x="431" y="53"/>
                      <a:pt x="431" y="53"/>
                      <a:pt x="431" y="53"/>
                    </a:cubicBezTo>
                    <a:cubicBezTo>
                      <a:pt x="431" y="53"/>
                      <a:pt x="430" y="53"/>
                      <a:pt x="430" y="53"/>
                    </a:cubicBezTo>
                    <a:cubicBezTo>
                      <a:pt x="426" y="53"/>
                      <a:pt x="424" y="52"/>
                      <a:pt x="420" y="51"/>
                    </a:cubicBezTo>
                    <a:cubicBezTo>
                      <a:pt x="419" y="51"/>
                      <a:pt x="419" y="51"/>
                      <a:pt x="419" y="51"/>
                    </a:cubicBezTo>
                    <a:cubicBezTo>
                      <a:pt x="419" y="51"/>
                      <a:pt x="419" y="51"/>
                      <a:pt x="419" y="51"/>
                    </a:cubicBezTo>
                    <a:cubicBezTo>
                      <a:pt x="419" y="51"/>
                      <a:pt x="418" y="51"/>
                      <a:pt x="418" y="51"/>
                    </a:cubicBezTo>
                    <a:cubicBezTo>
                      <a:pt x="417" y="51"/>
                      <a:pt x="415" y="53"/>
                      <a:pt x="415" y="53"/>
                    </a:cubicBezTo>
                    <a:cubicBezTo>
                      <a:pt x="414" y="53"/>
                      <a:pt x="414" y="53"/>
                      <a:pt x="414" y="53"/>
                    </a:cubicBezTo>
                    <a:cubicBezTo>
                      <a:pt x="417" y="55"/>
                      <a:pt x="417" y="55"/>
                      <a:pt x="417" y="55"/>
                    </a:cubicBezTo>
                    <a:cubicBezTo>
                      <a:pt x="417" y="56"/>
                      <a:pt x="417" y="56"/>
                      <a:pt x="417" y="57"/>
                    </a:cubicBezTo>
                    <a:cubicBezTo>
                      <a:pt x="417" y="58"/>
                      <a:pt x="417" y="58"/>
                      <a:pt x="417" y="58"/>
                    </a:cubicBezTo>
                    <a:cubicBezTo>
                      <a:pt x="417" y="59"/>
                      <a:pt x="417" y="59"/>
                      <a:pt x="417" y="59"/>
                    </a:cubicBezTo>
                    <a:cubicBezTo>
                      <a:pt x="417" y="60"/>
                      <a:pt x="417" y="60"/>
                      <a:pt x="417" y="60"/>
                    </a:cubicBezTo>
                    <a:cubicBezTo>
                      <a:pt x="416" y="60"/>
                      <a:pt x="416" y="60"/>
                      <a:pt x="416" y="60"/>
                    </a:cubicBezTo>
                    <a:cubicBezTo>
                      <a:pt x="414" y="63"/>
                      <a:pt x="414" y="63"/>
                      <a:pt x="414" y="63"/>
                    </a:cubicBezTo>
                    <a:cubicBezTo>
                      <a:pt x="416" y="63"/>
                      <a:pt x="416" y="63"/>
                      <a:pt x="416" y="63"/>
                    </a:cubicBezTo>
                    <a:cubicBezTo>
                      <a:pt x="417" y="63"/>
                      <a:pt x="418" y="62"/>
                      <a:pt x="419" y="62"/>
                    </a:cubicBezTo>
                    <a:cubicBezTo>
                      <a:pt x="419" y="62"/>
                      <a:pt x="419" y="62"/>
                      <a:pt x="419" y="62"/>
                    </a:cubicBezTo>
                    <a:cubicBezTo>
                      <a:pt x="420" y="62"/>
                      <a:pt x="420" y="62"/>
                      <a:pt x="421" y="62"/>
                    </a:cubicBezTo>
                    <a:cubicBezTo>
                      <a:pt x="421" y="62"/>
                      <a:pt x="421" y="62"/>
                      <a:pt x="421" y="62"/>
                    </a:cubicBezTo>
                    <a:cubicBezTo>
                      <a:pt x="422" y="62"/>
                      <a:pt x="423" y="62"/>
                      <a:pt x="423" y="63"/>
                    </a:cubicBezTo>
                    <a:cubicBezTo>
                      <a:pt x="424" y="63"/>
                      <a:pt x="424" y="63"/>
                      <a:pt x="424" y="63"/>
                    </a:cubicBezTo>
                    <a:cubicBezTo>
                      <a:pt x="424" y="63"/>
                      <a:pt x="424" y="63"/>
                      <a:pt x="424" y="63"/>
                    </a:cubicBezTo>
                    <a:cubicBezTo>
                      <a:pt x="427" y="64"/>
                      <a:pt x="427" y="64"/>
                      <a:pt x="427" y="64"/>
                    </a:cubicBezTo>
                    <a:cubicBezTo>
                      <a:pt x="427" y="65"/>
                      <a:pt x="427" y="65"/>
                      <a:pt x="427" y="65"/>
                    </a:cubicBezTo>
                    <a:cubicBezTo>
                      <a:pt x="433" y="64"/>
                      <a:pt x="433" y="64"/>
                      <a:pt x="433" y="64"/>
                    </a:cubicBezTo>
                    <a:cubicBezTo>
                      <a:pt x="427" y="70"/>
                      <a:pt x="427" y="70"/>
                      <a:pt x="427" y="70"/>
                    </a:cubicBezTo>
                    <a:cubicBezTo>
                      <a:pt x="427" y="70"/>
                      <a:pt x="427" y="70"/>
                      <a:pt x="427" y="70"/>
                    </a:cubicBezTo>
                    <a:cubicBezTo>
                      <a:pt x="426" y="71"/>
                      <a:pt x="426" y="71"/>
                      <a:pt x="426" y="71"/>
                    </a:cubicBezTo>
                    <a:cubicBezTo>
                      <a:pt x="425" y="72"/>
                      <a:pt x="425" y="72"/>
                      <a:pt x="424" y="73"/>
                    </a:cubicBezTo>
                    <a:cubicBezTo>
                      <a:pt x="424" y="73"/>
                      <a:pt x="424" y="73"/>
                      <a:pt x="424" y="73"/>
                    </a:cubicBezTo>
                    <a:cubicBezTo>
                      <a:pt x="423" y="75"/>
                      <a:pt x="423" y="75"/>
                      <a:pt x="423" y="75"/>
                    </a:cubicBezTo>
                    <a:cubicBezTo>
                      <a:pt x="421" y="75"/>
                      <a:pt x="421" y="75"/>
                      <a:pt x="421" y="75"/>
                    </a:cubicBezTo>
                    <a:cubicBezTo>
                      <a:pt x="420" y="75"/>
                      <a:pt x="420" y="75"/>
                      <a:pt x="420" y="75"/>
                    </a:cubicBezTo>
                    <a:cubicBezTo>
                      <a:pt x="420" y="75"/>
                      <a:pt x="420" y="75"/>
                      <a:pt x="420" y="75"/>
                    </a:cubicBezTo>
                    <a:cubicBezTo>
                      <a:pt x="420" y="75"/>
                      <a:pt x="421" y="75"/>
                      <a:pt x="421" y="75"/>
                    </a:cubicBezTo>
                    <a:cubicBezTo>
                      <a:pt x="424" y="77"/>
                      <a:pt x="424" y="77"/>
                      <a:pt x="424" y="77"/>
                    </a:cubicBezTo>
                    <a:cubicBezTo>
                      <a:pt x="424" y="76"/>
                      <a:pt x="424" y="76"/>
                      <a:pt x="424" y="76"/>
                    </a:cubicBezTo>
                    <a:cubicBezTo>
                      <a:pt x="425" y="77"/>
                      <a:pt x="425" y="77"/>
                      <a:pt x="425" y="77"/>
                    </a:cubicBezTo>
                    <a:cubicBezTo>
                      <a:pt x="427" y="77"/>
                      <a:pt x="428" y="78"/>
                      <a:pt x="430" y="78"/>
                    </a:cubicBezTo>
                    <a:cubicBezTo>
                      <a:pt x="436" y="80"/>
                      <a:pt x="436" y="80"/>
                      <a:pt x="436" y="80"/>
                    </a:cubicBezTo>
                    <a:cubicBezTo>
                      <a:pt x="438" y="81"/>
                      <a:pt x="440" y="82"/>
                      <a:pt x="442" y="82"/>
                    </a:cubicBezTo>
                    <a:cubicBezTo>
                      <a:pt x="444" y="84"/>
                      <a:pt x="444" y="84"/>
                      <a:pt x="444" y="84"/>
                    </a:cubicBezTo>
                    <a:cubicBezTo>
                      <a:pt x="443" y="87"/>
                      <a:pt x="443" y="87"/>
                      <a:pt x="443" y="87"/>
                    </a:cubicBezTo>
                    <a:cubicBezTo>
                      <a:pt x="443" y="87"/>
                      <a:pt x="443" y="88"/>
                      <a:pt x="442" y="89"/>
                    </a:cubicBezTo>
                    <a:cubicBezTo>
                      <a:pt x="442" y="89"/>
                      <a:pt x="442" y="90"/>
                      <a:pt x="442" y="90"/>
                    </a:cubicBezTo>
                    <a:cubicBezTo>
                      <a:pt x="441" y="90"/>
                      <a:pt x="441" y="90"/>
                      <a:pt x="441" y="90"/>
                    </a:cubicBezTo>
                    <a:cubicBezTo>
                      <a:pt x="441" y="91"/>
                      <a:pt x="440" y="92"/>
                      <a:pt x="440" y="92"/>
                    </a:cubicBezTo>
                    <a:cubicBezTo>
                      <a:pt x="439" y="93"/>
                      <a:pt x="439" y="93"/>
                      <a:pt x="439" y="93"/>
                    </a:cubicBezTo>
                    <a:cubicBezTo>
                      <a:pt x="439" y="93"/>
                      <a:pt x="439" y="93"/>
                      <a:pt x="439" y="93"/>
                    </a:cubicBezTo>
                    <a:cubicBezTo>
                      <a:pt x="438" y="94"/>
                      <a:pt x="438" y="94"/>
                      <a:pt x="438" y="94"/>
                    </a:cubicBezTo>
                    <a:cubicBezTo>
                      <a:pt x="438" y="94"/>
                      <a:pt x="438" y="94"/>
                      <a:pt x="438" y="94"/>
                    </a:cubicBezTo>
                    <a:cubicBezTo>
                      <a:pt x="437" y="94"/>
                      <a:pt x="437" y="94"/>
                      <a:pt x="437" y="94"/>
                    </a:cubicBezTo>
                    <a:cubicBezTo>
                      <a:pt x="437" y="94"/>
                      <a:pt x="436" y="94"/>
                      <a:pt x="436" y="94"/>
                    </a:cubicBezTo>
                    <a:cubicBezTo>
                      <a:pt x="435" y="94"/>
                      <a:pt x="434" y="94"/>
                      <a:pt x="434" y="93"/>
                    </a:cubicBezTo>
                    <a:cubicBezTo>
                      <a:pt x="434" y="92"/>
                      <a:pt x="434" y="92"/>
                      <a:pt x="434" y="92"/>
                    </a:cubicBezTo>
                    <a:cubicBezTo>
                      <a:pt x="434" y="92"/>
                      <a:pt x="434" y="92"/>
                      <a:pt x="434" y="92"/>
                    </a:cubicBezTo>
                    <a:cubicBezTo>
                      <a:pt x="433" y="93"/>
                      <a:pt x="433" y="93"/>
                      <a:pt x="433" y="93"/>
                    </a:cubicBezTo>
                    <a:cubicBezTo>
                      <a:pt x="433" y="93"/>
                      <a:pt x="433" y="93"/>
                      <a:pt x="433" y="93"/>
                    </a:cubicBezTo>
                    <a:cubicBezTo>
                      <a:pt x="434" y="100"/>
                      <a:pt x="434" y="100"/>
                      <a:pt x="434" y="100"/>
                    </a:cubicBezTo>
                    <a:cubicBezTo>
                      <a:pt x="431" y="93"/>
                      <a:pt x="431" y="93"/>
                      <a:pt x="431" y="93"/>
                    </a:cubicBezTo>
                    <a:cubicBezTo>
                      <a:pt x="430" y="93"/>
                      <a:pt x="430" y="93"/>
                      <a:pt x="429" y="93"/>
                    </a:cubicBezTo>
                    <a:cubicBezTo>
                      <a:pt x="429" y="93"/>
                      <a:pt x="428" y="93"/>
                      <a:pt x="428" y="93"/>
                    </a:cubicBezTo>
                    <a:cubicBezTo>
                      <a:pt x="428" y="93"/>
                      <a:pt x="428" y="93"/>
                      <a:pt x="428" y="93"/>
                    </a:cubicBezTo>
                    <a:cubicBezTo>
                      <a:pt x="428" y="93"/>
                      <a:pt x="428" y="93"/>
                      <a:pt x="428" y="93"/>
                    </a:cubicBezTo>
                    <a:cubicBezTo>
                      <a:pt x="427" y="93"/>
                      <a:pt x="426" y="93"/>
                      <a:pt x="425" y="93"/>
                    </a:cubicBezTo>
                    <a:cubicBezTo>
                      <a:pt x="425" y="93"/>
                      <a:pt x="425" y="93"/>
                      <a:pt x="424" y="93"/>
                    </a:cubicBezTo>
                    <a:cubicBezTo>
                      <a:pt x="423" y="93"/>
                      <a:pt x="423" y="93"/>
                      <a:pt x="423" y="93"/>
                    </a:cubicBezTo>
                    <a:cubicBezTo>
                      <a:pt x="423" y="93"/>
                      <a:pt x="422" y="92"/>
                      <a:pt x="422" y="92"/>
                    </a:cubicBezTo>
                    <a:cubicBezTo>
                      <a:pt x="422" y="92"/>
                      <a:pt x="422" y="92"/>
                      <a:pt x="422" y="92"/>
                    </a:cubicBezTo>
                    <a:cubicBezTo>
                      <a:pt x="420" y="98"/>
                      <a:pt x="420" y="98"/>
                      <a:pt x="420" y="98"/>
                    </a:cubicBezTo>
                    <a:cubicBezTo>
                      <a:pt x="420" y="92"/>
                      <a:pt x="420" y="92"/>
                      <a:pt x="420" y="92"/>
                    </a:cubicBezTo>
                    <a:cubicBezTo>
                      <a:pt x="419" y="92"/>
                      <a:pt x="419" y="92"/>
                      <a:pt x="419" y="92"/>
                    </a:cubicBezTo>
                    <a:cubicBezTo>
                      <a:pt x="418" y="92"/>
                      <a:pt x="417" y="92"/>
                      <a:pt x="416" y="92"/>
                    </a:cubicBezTo>
                    <a:cubicBezTo>
                      <a:pt x="414" y="91"/>
                      <a:pt x="414" y="91"/>
                      <a:pt x="414" y="91"/>
                    </a:cubicBezTo>
                    <a:cubicBezTo>
                      <a:pt x="413" y="91"/>
                      <a:pt x="413" y="91"/>
                      <a:pt x="413" y="91"/>
                    </a:cubicBezTo>
                    <a:cubicBezTo>
                      <a:pt x="412" y="92"/>
                      <a:pt x="412" y="92"/>
                      <a:pt x="412" y="92"/>
                    </a:cubicBezTo>
                    <a:cubicBezTo>
                      <a:pt x="409" y="95"/>
                      <a:pt x="409" y="95"/>
                      <a:pt x="409" y="95"/>
                    </a:cubicBezTo>
                    <a:cubicBezTo>
                      <a:pt x="407" y="97"/>
                      <a:pt x="406" y="98"/>
                      <a:pt x="404" y="100"/>
                    </a:cubicBezTo>
                    <a:cubicBezTo>
                      <a:pt x="404" y="100"/>
                      <a:pt x="404" y="100"/>
                      <a:pt x="404" y="100"/>
                    </a:cubicBezTo>
                    <a:cubicBezTo>
                      <a:pt x="409" y="108"/>
                      <a:pt x="409" y="108"/>
                      <a:pt x="409" y="108"/>
                    </a:cubicBezTo>
                    <a:cubicBezTo>
                      <a:pt x="410" y="109"/>
                      <a:pt x="411" y="110"/>
                      <a:pt x="411" y="110"/>
                    </a:cubicBezTo>
                    <a:cubicBezTo>
                      <a:pt x="412" y="112"/>
                      <a:pt x="412" y="112"/>
                      <a:pt x="412" y="112"/>
                    </a:cubicBezTo>
                    <a:cubicBezTo>
                      <a:pt x="413" y="114"/>
                      <a:pt x="412" y="115"/>
                      <a:pt x="411" y="116"/>
                    </a:cubicBezTo>
                    <a:cubicBezTo>
                      <a:pt x="411" y="116"/>
                      <a:pt x="411" y="116"/>
                      <a:pt x="411" y="116"/>
                    </a:cubicBezTo>
                    <a:cubicBezTo>
                      <a:pt x="411" y="116"/>
                      <a:pt x="411" y="116"/>
                      <a:pt x="411" y="116"/>
                    </a:cubicBezTo>
                    <a:cubicBezTo>
                      <a:pt x="409" y="118"/>
                      <a:pt x="409" y="118"/>
                      <a:pt x="409" y="118"/>
                    </a:cubicBezTo>
                    <a:cubicBezTo>
                      <a:pt x="408" y="119"/>
                      <a:pt x="407" y="119"/>
                      <a:pt x="406" y="120"/>
                    </a:cubicBezTo>
                    <a:cubicBezTo>
                      <a:pt x="406" y="120"/>
                      <a:pt x="406" y="120"/>
                      <a:pt x="406" y="120"/>
                    </a:cubicBezTo>
                    <a:cubicBezTo>
                      <a:pt x="404" y="121"/>
                      <a:pt x="404" y="121"/>
                      <a:pt x="404" y="121"/>
                    </a:cubicBezTo>
                    <a:cubicBezTo>
                      <a:pt x="404" y="121"/>
                      <a:pt x="404" y="121"/>
                      <a:pt x="404" y="121"/>
                    </a:cubicBezTo>
                    <a:cubicBezTo>
                      <a:pt x="403" y="122"/>
                      <a:pt x="403" y="122"/>
                      <a:pt x="403" y="122"/>
                    </a:cubicBezTo>
                    <a:cubicBezTo>
                      <a:pt x="401" y="124"/>
                      <a:pt x="400" y="124"/>
                      <a:pt x="396" y="124"/>
                    </a:cubicBezTo>
                    <a:cubicBezTo>
                      <a:pt x="395" y="124"/>
                      <a:pt x="395" y="124"/>
                      <a:pt x="395" y="124"/>
                    </a:cubicBezTo>
                    <a:cubicBezTo>
                      <a:pt x="395" y="124"/>
                      <a:pt x="395" y="124"/>
                      <a:pt x="395" y="124"/>
                    </a:cubicBezTo>
                    <a:cubicBezTo>
                      <a:pt x="394" y="124"/>
                      <a:pt x="394" y="124"/>
                      <a:pt x="394" y="124"/>
                    </a:cubicBezTo>
                    <a:cubicBezTo>
                      <a:pt x="393" y="125"/>
                      <a:pt x="393" y="125"/>
                      <a:pt x="393" y="125"/>
                    </a:cubicBezTo>
                    <a:cubicBezTo>
                      <a:pt x="392" y="126"/>
                      <a:pt x="392" y="126"/>
                      <a:pt x="391" y="127"/>
                    </a:cubicBezTo>
                    <a:cubicBezTo>
                      <a:pt x="400" y="131"/>
                      <a:pt x="400" y="131"/>
                      <a:pt x="400" y="131"/>
                    </a:cubicBezTo>
                    <a:cubicBezTo>
                      <a:pt x="394" y="131"/>
                      <a:pt x="394" y="131"/>
                      <a:pt x="394" y="131"/>
                    </a:cubicBezTo>
                    <a:cubicBezTo>
                      <a:pt x="394" y="131"/>
                      <a:pt x="394" y="131"/>
                      <a:pt x="394" y="131"/>
                    </a:cubicBezTo>
                    <a:cubicBezTo>
                      <a:pt x="393" y="131"/>
                      <a:pt x="393" y="131"/>
                      <a:pt x="393" y="131"/>
                    </a:cubicBezTo>
                    <a:cubicBezTo>
                      <a:pt x="387" y="130"/>
                      <a:pt x="387" y="130"/>
                      <a:pt x="387" y="130"/>
                    </a:cubicBezTo>
                    <a:cubicBezTo>
                      <a:pt x="388" y="131"/>
                      <a:pt x="389" y="132"/>
                      <a:pt x="390" y="132"/>
                    </a:cubicBezTo>
                    <a:cubicBezTo>
                      <a:pt x="391" y="133"/>
                      <a:pt x="391" y="133"/>
                      <a:pt x="391" y="133"/>
                    </a:cubicBezTo>
                    <a:cubicBezTo>
                      <a:pt x="392" y="133"/>
                      <a:pt x="393" y="133"/>
                      <a:pt x="393" y="134"/>
                    </a:cubicBezTo>
                    <a:cubicBezTo>
                      <a:pt x="396" y="135"/>
                      <a:pt x="396" y="135"/>
                      <a:pt x="396" y="135"/>
                    </a:cubicBezTo>
                    <a:cubicBezTo>
                      <a:pt x="396" y="137"/>
                      <a:pt x="396" y="137"/>
                      <a:pt x="396" y="137"/>
                    </a:cubicBezTo>
                    <a:cubicBezTo>
                      <a:pt x="396" y="137"/>
                      <a:pt x="396" y="137"/>
                      <a:pt x="396" y="137"/>
                    </a:cubicBezTo>
                    <a:cubicBezTo>
                      <a:pt x="397" y="137"/>
                      <a:pt x="397" y="137"/>
                      <a:pt x="397" y="137"/>
                    </a:cubicBezTo>
                    <a:cubicBezTo>
                      <a:pt x="397" y="137"/>
                      <a:pt x="397" y="137"/>
                      <a:pt x="397" y="137"/>
                    </a:cubicBezTo>
                    <a:cubicBezTo>
                      <a:pt x="401" y="138"/>
                      <a:pt x="401" y="138"/>
                      <a:pt x="401" y="138"/>
                    </a:cubicBezTo>
                    <a:cubicBezTo>
                      <a:pt x="411" y="143"/>
                      <a:pt x="411" y="143"/>
                      <a:pt x="411" y="143"/>
                    </a:cubicBezTo>
                    <a:cubicBezTo>
                      <a:pt x="414" y="143"/>
                      <a:pt x="414" y="143"/>
                      <a:pt x="414" y="143"/>
                    </a:cubicBezTo>
                    <a:cubicBezTo>
                      <a:pt x="414" y="144"/>
                      <a:pt x="414" y="144"/>
                      <a:pt x="414" y="144"/>
                    </a:cubicBezTo>
                    <a:cubicBezTo>
                      <a:pt x="426" y="150"/>
                      <a:pt x="426" y="150"/>
                      <a:pt x="426" y="150"/>
                    </a:cubicBezTo>
                    <a:cubicBezTo>
                      <a:pt x="428" y="145"/>
                      <a:pt x="428" y="145"/>
                      <a:pt x="428" y="145"/>
                    </a:cubicBezTo>
                    <a:cubicBezTo>
                      <a:pt x="428" y="151"/>
                      <a:pt x="428" y="151"/>
                      <a:pt x="428" y="151"/>
                    </a:cubicBezTo>
                    <a:cubicBezTo>
                      <a:pt x="434" y="153"/>
                      <a:pt x="434" y="153"/>
                      <a:pt x="434" y="153"/>
                    </a:cubicBezTo>
                    <a:cubicBezTo>
                      <a:pt x="432" y="154"/>
                      <a:pt x="432" y="154"/>
                      <a:pt x="432" y="154"/>
                    </a:cubicBezTo>
                    <a:cubicBezTo>
                      <a:pt x="440" y="160"/>
                      <a:pt x="440" y="160"/>
                      <a:pt x="440" y="160"/>
                    </a:cubicBezTo>
                    <a:cubicBezTo>
                      <a:pt x="429" y="158"/>
                      <a:pt x="429" y="158"/>
                      <a:pt x="429" y="158"/>
                    </a:cubicBezTo>
                    <a:cubicBezTo>
                      <a:pt x="429" y="159"/>
                      <a:pt x="429" y="159"/>
                      <a:pt x="429" y="159"/>
                    </a:cubicBezTo>
                    <a:cubicBezTo>
                      <a:pt x="427" y="160"/>
                      <a:pt x="426" y="162"/>
                      <a:pt x="425" y="164"/>
                    </a:cubicBezTo>
                    <a:cubicBezTo>
                      <a:pt x="425" y="165"/>
                      <a:pt x="425" y="165"/>
                      <a:pt x="425" y="165"/>
                    </a:cubicBezTo>
                    <a:cubicBezTo>
                      <a:pt x="425" y="166"/>
                      <a:pt x="425" y="166"/>
                      <a:pt x="425" y="166"/>
                    </a:cubicBezTo>
                    <a:cubicBezTo>
                      <a:pt x="425" y="167"/>
                      <a:pt x="425" y="167"/>
                      <a:pt x="425" y="167"/>
                    </a:cubicBezTo>
                    <a:cubicBezTo>
                      <a:pt x="425" y="167"/>
                      <a:pt x="425" y="167"/>
                      <a:pt x="425" y="167"/>
                    </a:cubicBezTo>
                    <a:cubicBezTo>
                      <a:pt x="425" y="169"/>
                      <a:pt x="425" y="169"/>
                      <a:pt x="425" y="169"/>
                    </a:cubicBezTo>
                    <a:cubicBezTo>
                      <a:pt x="424" y="170"/>
                      <a:pt x="424" y="171"/>
                      <a:pt x="424" y="172"/>
                    </a:cubicBezTo>
                    <a:cubicBezTo>
                      <a:pt x="422" y="175"/>
                      <a:pt x="422" y="175"/>
                      <a:pt x="422" y="175"/>
                    </a:cubicBezTo>
                    <a:cubicBezTo>
                      <a:pt x="419" y="176"/>
                      <a:pt x="419" y="176"/>
                      <a:pt x="419" y="176"/>
                    </a:cubicBezTo>
                    <a:cubicBezTo>
                      <a:pt x="415" y="178"/>
                      <a:pt x="407" y="180"/>
                      <a:pt x="403" y="180"/>
                    </a:cubicBezTo>
                    <a:cubicBezTo>
                      <a:pt x="402" y="180"/>
                      <a:pt x="402" y="181"/>
                      <a:pt x="402" y="181"/>
                    </a:cubicBezTo>
                    <a:cubicBezTo>
                      <a:pt x="401" y="181"/>
                      <a:pt x="401" y="181"/>
                      <a:pt x="401" y="181"/>
                    </a:cubicBezTo>
                    <a:cubicBezTo>
                      <a:pt x="399" y="180"/>
                      <a:pt x="399" y="180"/>
                      <a:pt x="399" y="180"/>
                    </a:cubicBezTo>
                    <a:cubicBezTo>
                      <a:pt x="395" y="180"/>
                      <a:pt x="391" y="179"/>
                      <a:pt x="386" y="177"/>
                    </a:cubicBezTo>
                    <a:cubicBezTo>
                      <a:pt x="383" y="176"/>
                      <a:pt x="383" y="176"/>
                      <a:pt x="383" y="176"/>
                    </a:cubicBezTo>
                    <a:cubicBezTo>
                      <a:pt x="381" y="175"/>
                      <a:pt x="381" y="175"/>
                      <a:pt x="381" y="175"/>
                    </a:cubicBezTo>
                    <a:cubicBezTo>
                      <a:pt x="381" y="176"/>
                      <a:pt x="381" y="177"/>
                      <a:pt x="380" y="178"/>
                    </a:cubicBezTo>
                    <a:cubicBezTo>
                      <a:pt x="380" y="180"/>
                      <a:pt x="379" y="181"/>
                      <a:pt x="377" y="183"/>
                    </a:cubicBezTo>
                    <a:cubicBezTo>
                      <a:pt x="377" y="183"/>
                      <a:pt x="377" y="183"/>
                      <a:pt x="377" y="183"/>
                    </a:cubicBezTo>
                    <a:cubicBezTo>
                      <a:pt x="376" y="184"/>
                      <a:pt x="374" y="185"/>
                      <a:pt x="373" y="185"/>
                    </a:cubicBezTo>
                    <a:cubicBezTo>
                      <a:pt x="372" y="185"/>
                      <a:pt x="371" y="186"/>
                      <a:pt x="371" y="186"/>
                    </a:cubicBezTo>
                    <a:cubicBezTo>
                      <a:pt x="370" y="186"/>
                      <a:pt x="370" y="186"/>
                      <a:pt x="370" y="186"/>
                    </a:cubicBezTo>
                    <a:cubicBezTo>
                      <a:pt x="369" y="186"/>
                      <a:pt x="369" y="186"/>
                      <a:pt x="369" y="186"/>
                    </a:cubicBezTo>
                    <a:cubicBezTo>
                      <a:pt x="363" y="193"/>
                      <a:pt x="363" y="193"/>
                      <a:pt x="363" y="193"/>
                    </a:cubicBezTo>
                    <a:cubicBezTo>
                      <a:pt x="363" y="184"/>
                      <a:pt x="363" y="184"/>
                      <a:pt x="363" y="184"/>
                    </a:cubicBezTo>
                    <a:cubicBezTo>
                      <a:pt x="363" y="183"/>
                      <a:pt x="363" y="183"/>
                      <a:pt x="364" y="182"/>
                    </a:cubicBezTo>
                    <a:cubicBezTo>
                      <a:pt x="361" y="182"/>
                      <a:pt x="358" y="181"/>
                      <a:pt x="355" y="181"/>
                    </a:cubicBezTo>
                    <a:cubicBezTo>
                      <a:pt x="355" y="180"/>
                      <a:pt x="354" y="180"/>
                      <a:pt x="353" y="180"/>
                    </a:cubicBezTo>
                    <a:cubicBezTo>
                      <a:pt x="352" y="180"/>
                      <a:pt x="351" y="180"/>
                      <a:pt x="349" y="180"/>
                    </a:cubicBezTo>
                    <a:cubicBezTo>
                      <a:pt x="347" y="185"/>
                      <a:pt x="347" y="185"/>
                      <a:pt x="347" y="185"/>
                    </a:cubicBezTo>
                    <a:cubicBezTo>
                      <a:pt x="348" y="179"/>
                      <a:pt x="348" y="179"/>
                      <a:pt x="348" y="179"/>
                    </a:cubicBezTo>
                    <a:cubicBezTo>
                      <a:pt x="348" y="179"/>
                      <a:pt x="348" y="179"/>
                      <a:pt x="348" y="179"/>
                    </a:cubicBezTo>
                    <a:cubicBezTo>
                      <a:pt x="346" y="179"/>
                      <a:pt x="345" y="178"/>
                      <a:pt x="343" y="177"/>
                    </a:cubicBezTo>
                    <a:cubicBezTo>
                      <a:pt x="340" y="176"/>
                      <a:pt x="340" y="175"/>
                      <a:pt x="339" y="174"/>
                    </a:cubicBezTo>
                    <a:cubicBezTo>
                      <a:pt x="338" y="172"/>
                      <a:pt x="338" y="170"/>
                      <a:pt x="338" y="168"/>
                    </a:cubicBezTo>
                    <a:cubicBezTo>
                      <a:pt x="337" y="167"/>
                      <a:pt x="336" y="165"/>
                      <a:pt x="335" y="164"/>
                    </a:cubicBezTo>
                    <a:cubicBezTo>
                      <a:pt x="332" y="163"/>
                      <a:pt x="330" y="163"/>
                      <a:pt x="326" y="163"/>
                    </a:cubicBezTo>
                    <a:cubicBezTo>
                      <a:pt x="325" y="163"/>
                      <a:pt x="323" y="163"/>
                      <a:pt x="322" y="163"/>
                    </a:cubicBezTo>
                    <a:cubicBezTo>
                      <a:pt x="321" y="163"/>
                      <a:pt x="321" y="163"/>
                      <a:pt x="321" y="163"/>
                    </a:cubicBezTo>
                    <a:cubicBezTo>
                      <a:pt x="320" y="163"/>
                      <a:pt x="320" y="163"/>
                      <a:pt x="320" y="163"/>
                    </a:cubicBezTo>
                    <a:cubicBezTo>
                      <a:pt x="320" y="165"/>
                      <a:pt x="320" y="166"/>
                      <a:pt x="319" y="168"/>
                    </a:cubicBezTo>
                    <a:cubicBezTo>
                      <a:pt x="318" y="169"/>
                      <a:pt x="318" y="169"/>
                      <a:pt x="318" y="169"/>
                    </a:cubicBezTo>
                    <a:cubicBezTo>
                      <a:pt x="318" y="170"/>
                      <a:pt x="317" y="170"/>
                      <a:pt x="316" y="171"/>
                    </a:cubicBezTo>
                    <a:cubicBezTo>
                      <a:pt x="315" y="172"/>
                      <a:pt x="313" y="173"/>
                      <a:pt x="311" y="173"/>
                    </a:cubicBezTo>
                    <a:cubicBezTo>
                      <a:pt x="310" y="173"/>
                      <a:pt x="309" y="173"/>
                      <a:pt x="309" y="173"/>
                    </a:cubicBezTo>
                    <a:cubicBezTo>
                      <a:pt x="308" y="173"/>
                      <a:pt x="308" y="173"/>
                      <a:pt x="308" y="173"/>
                    </a:cubicBezTo>
                    <a:cubicBezTo>
                      <a:pt x="304" y="172"/>
                      <a:pt x="302" y="170"/>
                      <a:pt x="300" y="167"/>
                    </a:cubicBezTo>
                    <a:cubicBezTo>
                      <a:pt x="299" y="166"/>
                      <a:pt x="298" y="165"/>
                      <a:pt x="298" y="165"/>
                    </a:cubicBezTo>
                    <a:cubicBezTo>
                      <a:pt x="297" y="164"/>
                      <a:pt x="297" y="164"/>
                      <a:pt x="297" y="164"/>
                    </a:cubicBezTo>
                    <a:cubicBezTo>
                      <a:pt x="296" y="164"/>
                      <a:pt x="296" y="164"/>
                      <a:pt x="296" y="164"/>
                    </a:cubicBezTo>
                    <a:cubicBezTo>
                      <a:pt x="292" y="165"/>
                      <a:pt x="292" y="165"/>
                      <a:pt x="292" y="165"/>
                    </a:cubicBezTo>
                    <a:cubicBezTo>
                      <a:pt x="289" y="165"/>
                      <a:pt x="286" y="166"/>
                      <a:pt x="282" y="166"/>
                    </a:cubicBezTo>
                    <a:cubicBezTo>
                      <a:pt x="282" y="166"/>
                      <a:pt x="281" y="166"/>
                      <a:pt x="281" y="166"/>
                    </a:cubicBezTo>
                    <a:cubicBezTo>
                      <a:pt x="281" y="167"/>
                      <a:pt x="280" y="169"/>
                      <a:pt x="279" y="170"/>
                    </a:cubicBezTo>
                    <a:cubicBezTo>
                      <a:pt x="277" y="172"/>
                      <a:pt x="275" y="172"/>
                      <a:pt x="274" y="173"/>
                    </a:cubicBezTo>
                    <a:cubicBezTo>
                      <a:pt x="273" y="173"/>
                      <a:pt x="273" y="173"/>
                      <a:pt x="273" y="173"/>
                    </a:cubicBezTo>
                    <a:cubicBezTo>
                      <a:pt x="272" y="174"/>
                      <a:pt x="272" y="175"/>
                      <a:pt x="271" y="176"/>
                    </a:cubicBezTo>
                    <a:cubicBezTo>
                      <a:pt x="270" y="179"/>
                      <a:pt x="268" y="180"/>
                      <a:pt x="266" y="180"/>
                    </a:cubicBezTo>
                    <a:cubicBezTo>
                      <a:pt x="266" y="181"/>
                      <a:pt x="265" y="181"/>
                      <a:pt x="264" y="182"/>
                    </a:cubicBezTo>
                    <a:cubicBezTo>
                      <a:pt x="263" y="182"/>
                      <a:pt x="263" y="182"/>
                      <a:pt x="263" y="182"/>
                    </a:cubicBezTo>
                    <a:cubicBezTo>
                      <a:pt x="263" y="182"/>
                      <a:pt x="263" y="182"/>
                      <a:pt x="263" y="182"/>
                    </a:cubicBezTo>
                    <a:cubicBezTo>
                      <a:pt x="261" y="184"/>
                      <a:pt x="260" y="184"/>
                      <a:pt x="259" y="184"/>
                    </a:cubicBezTo>
                    <a:cubicBezTo>
                      <a:pt x="258" y="185"/>
                      <a:pt x="258" y="185"/>
                      <a:pt x="257" y="185"/>
                    </a:cubicBezTo>
                    <a:cubicBezTo>
                      <a:pt x="255" y="185"/>
                      <a:pt x="252" y="183"/>
                      <a:pt x="247" y="180"/>
                    </a:cubicBezTo>
                    <a:cubicBezTo>
                      <a:pt x="243" y="178"/>
                      <a:pt x="240" y="175"/>
                      <a:pt x="236" y="173"/>
                    </a:cubicBezTo>
                    <a:cubicBezTo>
                      <a:pt x="234" y="171"/>
                      <a:pt x="234" y="171"/>
                      <a:pt x="234" y="171"/>
                    </a:cubicBezTo>
                    <a:cubicBezTo>
                      <a:pt x="233" y="171"/>
                      <a:pt x="233" y="170"/>
                      <a:pt x="232" y="170"/>
                    </a:cubicBezTo>
                    <a:cubicBezTo>
                      <a:pt x="232" y="169"/>
                      <a:pt x="231" y="169"/>
                      <a:pt x="231" y="168"/>
                    </a:cubicBezTo>
                    <a:cubicBezTo>
                      <a:pt x="231" y="169"/>
                      <a:pt x="231" y="170"/>
                      <a:pt x="231" y="170"/>
                    </a:cubicBezTo>
                    <a:cubicBezTo>
                      <a:pt x="231" y="171"/>
                      <a:pt x="231" y="171"/>
                      <a:pt x="231" y="171"/>
                    </a:cubicBezTo>
                    <a:cubicBezTo>
                      <a:pt x="231" y="172"/>
                      <a:pt x="232" y="173"/>
                      <a:pt x="232" y="173"/>
                    </a:cubicBezTo>
                    <a:cubicBezTo>
                      <a:pt x="232" y="175"/>
                      <a:pt x="232" y="175"/>
                      <a:pt x="232" y="175"/>
                    </a:cubicBezTo>
                    <a:cubicBezTo>
                      <a:pt x="232" y="177"/>
                      <a:pt x="232" y="179"/>
                      <a:pt x="231" y="180"/>
                    </a:cubicBezTo>
                    <a:cubicBezTo>
                      <a:pt x="231" y="182"/>
                      <a:pt x="229" y="183"/>
                      <a:pt x="226" y="185"/>
                    </a:cubicBezTo>
                    <a:cubicBezTo>
                      <a:pt x="222" y="188"/>
                      <a:pt x="222" y="188"/>
                      <a:pt x="222" y="188"/>
                    </a:cubicBezTo>
                    <a:cubicBezTo>
                      <a:pt x="220" y="183"/>
                      <a:pt x="220" y="183"/>
                      <a:pt x="220" y="183"/>
                    </a:cubicBezTo>
                    <a:cubicBezTo>
                      <a:pt x="220" y="180"/>
                      <a:pt x="219" y="176"/>
                      <a:pt x="219" y="172"/>
                    </a:cubicBezTo>
                    <a:cubicBezTo>
                      <a:pt x="219" y="171"/>
                      <a:pt x="219" y="171"/>
                      <a:pt x="219" y="171"/>
                    </a:cubicBezTo>
                    <a:cubicBezTo>
                      <a:pt x="218" y="170"/>
                      <a:pt x="217" y="170"/>
                      <a:pt x="217" y="169"/>
                    </a:cubicBezTo>
                    <a:cubicBezTo>
                      <a:pt x="215" y="168"/>
                      <a:pt x="213" y="166"/>
                      <a:pt x="211" y="164"/>
                    </a:cubicBezTo>
                    <a:cubicBezTo>
                      <a:pt x="210" y="164"/>
                      <a:pt x="210" y="164"/>
                      <a:pt x="210" y="164"/>
                    </a:cubicBezTo>
                    <a:cubicBezTo>
                      <a:pt x="204" y="158"/>
                      <a:pt x="198" y="153"/>
                      <a:pt x="192" y="150"/>
                    </a:cubicBezTo>
                    <a:cubicBezTo>
                      <a:pt x="190" y="149"/>
                      <a:pt x="187" y="149"/>
                      <a:pt x="184" y="149"/>
                    </a:cubicBezTo>
                    <a:cubicBezTo>
                      <a:pt x="183" y="149"/>
                      <a:pt x="183" y="149"/>
                      <a:pt x="182" y="149"/>
                    </a:cubicBezTo>
                    <a:cubicBezTo>
                      <a:pt x="179" y="149"/>
                      <a:pt x="176" y="149"/>
                      <a:pt x="174" y="150"/>
                    </a:cubicBezTo>
                    <a:cubicBezTo>
                      <a:pt x="174" y="150"/>
                      <a:pt x="174" y="150"/>
                      <a:pt x="174" y="150"/>
                    </a:cubicBezTo>
                    <a:cubicBezTo>
                      <a:pt x="173" y="150"/>
                      <a:pt x="173" y="150"/>
                      <a:pt x="173" y="150"/>
                    </a:cubicBezTo>
                    <a:cubicBezTo>
                      <a:pt x="172" y="150"/>
                      <a:pt x="171" y="151"/>
                      <a:pt x="170" y="151"/>
                    </a:cubicBezTo>
                    <a:cubicBezTo>
                      <a:pt x="169" y="151"/>
                      <a:pt x="169" y="151"/>
                      <a:pt x="169" y="151"/>
                    </a:cubicBezTo>
                    <a:cubicBezTo>
                      <a:pt x="168" y="151"/>
                      <a:pt x="168" y="150"/>
                      <a:pt x="167" y="150"/>
                    </a:cubicBezTo>
                    <a:cubicBezTo>
                      <a:pt x="167" y="150"/>
                      <a:pt x="167" y="150"/>
                      <a:pt x="167" y="150"/>
                    </a:cubicBezTo>
                    <a:cubicBezTo>
                      <a:pt x="166" y="149"/>
                      <a:pt x="166" y="149"/>
                      <a:pt x="166" y="149"/>
                    </a:cubicBezTo>
                    <a:cubicBezTo>
                      <a:pt x="166" y="149"/>
                      <a:pt x="165" y="149"/>
                      <a:pt x="165" y="149"/>
                    </a:cubicBezTo>
                    <a:cubicBezTo>
                      <a:pt x="165" y="148"/>
                      <a:pt x="164" y="148"/>
                      <a:pt x="164" y="147"/>
                    </a:cubicBezTo>
                    <a:cubicBezTo>
                      <a:pt x="163" y="146"/>
                      <a:pt x="163" y="146"/>
                      <a:pt x="163" y="145"/>
                    </a:cubicBezTo>
                    <a:cubicBezTo>
                      <a:pt x="162" y="144"/>
                      <a:pt x="162" y="144"/>
                      <a:pt x="162" y="144"/>
                    </a:cubicBezTo>
                    <a:cubicBezTo>
                      <a:pt x="161" y="143"/>
                      <a:pt x="161" y="141"/>
                      <a:pt x="160" y="140"/>
                    </a:cubicBezTo>
                    <a:cubicBezTo>
                      <a:pt x="157" y="142"/>
                      <a:pt x="155" y="143"/>
                      <a:pt x="150" y="143"/>
                    </a:cubicBezTo>
                    <a:cubicBezTo>
                      <a:pt x="150" y="144"/>
                      <a:pt x="150" y="144"/>
                      <a:pt x="150" y="144"/>
                    </a:cubicBezTo>
                    <a:cubicBezTo>
                      <a:pt x="149" y="144"/>
                      <a:pt x="149" y="144"/>
                      <a:pt x="149" y="144"/>
                    </a:cubicBezTo>
                    <a:cubicBezTo>
                      <a:pt x="150" y="144"/>
                      <a:pt x="150" y="145"/>
                      <a:pt x="150" y="145"/>
                    </a:cubicBezTo>
                    <a:cubicBezTo>
                      <a:pt x="150" y="146"/>
                      <a:pt x="149" y="147"/>
                      <a:pt x="148" y="148"/>
                    </a:cubicBezTo>
                    <a:cubicBezTo>
                      <a:pt x="147" y="149"/>
                      <a:pt x="147" y="149"/>
                      <a:pt x="147" y="149"/>
                    </a:cubicBezTo>
                    <a:cubicBezTo>
                      <a:pt x="146" y="150"/>
                      <a:pt x="145" y="151"/>
                      <a:pt x="143" y="151"/>
                    </a:cubicBezTo>
                    <a:cubicBezTo>
                      <a:pt x="142" y="151"/>
                      <a:pt x="142" y="151"/>
                      <a:pt x="142" y="151"/>
                    </a:cubicBezTo>
                    <a:cubicBezTo>
                      <a:pt x="141" y="151"/>
                      <a:pt x="141" y="151"/>
                      <a:pt x="140" y="151"/>
                    </a:cubicBezTo>
                    <a:cubicBezTo>
                      <a:pt x="140" y="151"/>
                      <a:pt x="139" y="150"/>
                      <a:pt x="138" y="150"/>
                    </a:cubicBezTo>
                    <a:cubicBezTo>
                      <a:pt x="136" y="157"/>
                      <a:pt x="136" y="157"/>
                      <a:pt x="136" y="157"/>
                    </a:cubicBezTo>
                    <a:cubicBezTo>
                      <a:pt x="136" y="150"/>
                      <a:pt x="136" y="150"/>
                      <a:pt x="136" y="150"/>
                    </a:cubicBezTo>
                    <a:cubicBezTo>
                      <a:pt x="136" y="150"/>
                      <a:pt x="136" y="150"/>
                      <a:pt x="136" y="150"/>
                    </a:cubicBezTo>
                    <a:cubicBezTo>
                      <a:pt x="133" y="148"/>
                      <a:pt x="132" y="147"/>
                      <a:pt x="131" y="145"/>
                    </a:cubicBezTo>
                    <a:cubicBezTo>
                      <a:pt x="130" y="142"/>
                      <a:pt x="130" y="142"/>
                      <a:pt x="130" y="142"/>
                    </a:cubicBezTo>
                    <a:cubicBezTo>
                      <a:pt x="130" y="142"/>
                      <a:pt x="130" y="142"/>
                      <a:pt x="130" y="142"/>
                    </a:cubicBezTo>
                    <a:cubicBezTo>
                      <a:pt x="129" y="142"/>
                      <a:pt x="128" y="142"/>
                      <a:pt x="126" y="141"/>
                    </a:cubicBezTo>
                    <a:cubicBezTo>
                      <a:pt x="126" y="141"/>
                      <a:pt x="125" y="141"/>
                      <a:pt x="124" y="141"/>
                    </a:cubicBezTo>
                    <a:cubicBezTo>
                      <a:pt x="123" y="140"/>
                      <a:pt x="123" y="140"/>
                      <a:pt x="122" y="140"/>
                    </a:cubicBezTo>
                    <a:cubicBezTo>
                      <a:pt x="122" y="141"/>
                      <a:pt x="122" y="141"/>
                      <a:pt x="122" y="141"/>
                    </a:cubicBezTo>
                    <a:cubicBezTo>
                      <a:pt x="122" y="142"/>
                      <a:pt x="122" y="142"/>
                      <a:pt x="122" y="142"/>
                    </a:cubicBezTo>
                    <a:cubicBezTo>
                      <a:pt x="121" y="144"/>
                      <a:pt x="120" y="145"/>
                      <a:pt x="117" y="146"/>
                    </a:cubicBezTo>
                    <a:cubicBezTo>
                      <a:pt x="116" y="146"/>
                      <a:pt x="116" y="146"/>
                      <a:pt x="116" y="146"/>
                    </a:cubicBezTo>
                    <a:cubicBezTo>
                      <a:pt x="115" y="146"/>
                      <a:pt x="115" y="146"/>
                      <a:pt x="115" y="146"/>
                    </a:cubicBezTo>
                    <a:cubicBezTo>
                      <a:pt x="113" y="146"/>
                      <a:pt x="113" y="146"/>
                      <a:pt x="111" y="149"/>
                    </a:cubicBezTo>
                    <a:cubicBezTo>
                      <a:pt x="109" y="152"/>
                      <a:pt x="109" y="152"/>
                      <a:pt x="109" y="152"/>
                    </a:cubicBezTo>
                    <a:cubicBezTo>
                      <a:pt x="109" y="152"/>
                      <a:pt x="109" y="154"/>
                      <a:pt x="108" y="155"/>
                    </a:cubicBezTo>
                    <a:cubicBezTo>
                      <a:pt x="107" y="157"/>
                      <a:pt x="104" y="158"/>
                      <a:pt x="101" y="158"/>
                    </a:cubicBezTo>
                    <a:cubicBezTo>
                      <a:pt x="101" y="159"/>
                      <a:pt x="101" y="159"/>
                      <a:pt x="101" y="159"/>
                    </a:cubicBezTo>
                    <a:cubicBezTo>
                      <a:pt x="100" y="159"/>
                      <a:pt x="100" y="159"/>
                      <a:pt x="100" y="159"/>
                    </a:cubicBezTo>
                    <a:cubicBezTo>
                      <a:pt x="82" y="166"/>
                      <a:pt x="82" y="166"/>
                      <a:pt x="82" y="166"/>
                    </a:cubicBezTo>
                    <a:cubicBezTo>
                      <a:pt x="83" y="168"/>
                      <a:pt x="83" y="170"/>
                      <a:pt x="82" y="171"/>
                    </a:cubicBezTo>
                    <a:cubicBezTo>
                      <a:pt x="82" y="172"/>
                      <a:pt x="82" y="172"/>
                      <a:pt x="82" y="172"/>
                    </a:cubicBezTo>
                    <a:cubicBezTo>
                      <a:pt x="80" y="173"/>
                      <a:pt x="78" y="174"/>
                      <a:pt x="73" y="176"/>
                    </a:cubicBezTo>
                    <a:cubicBezTo>
                      <a:pt x="72" y="176"/>
                      <a:pt x="72" y="176"/>
                      <a:pt x="72" y="176"/>
                    </a:cubicBezTo>
                    <a:cubicBezTo>
                      <a:pt x="72" y="177"/>
                      <a:pt x="71" y="177"/>
                      <a:pt x="71" y="177"/>
                    </a:cubicBezTo>
                    <a:cubicBezTo>
                      <a:pt x="70" y="177"/>
                      <a:pt x="70" y="177"/>
                      <a:pt x="70" y="177"/>
                    </a:cubicBezTo>
                    <a:cubicBezTo>
                      <a:pt x="69" y="176"/>
                      <a:pt x="69" y="176"/>
                      <a:pt x="69" y="176"/>
                    </a:cubicBezTo>
                    <a:cubicBezTo>
                      <a:pt x="70" y="177"/>
                      <a:pt x="70" y="177"/>
                      <a:pt x="70" y="177"/>
                    </a:cubicBezTo>
                    <a:cubicBezTo>
                      <a:pt x="69" y="178"/>
                      <a:pt x="69" y="178"/>
                      <a:pt x="69" y="178"/>
                    </a:cubicBezTo>
                    <a:cubicBezTo>
                      <a:pt x="68" y="178"/>
                      <a:pt x="68" y="178"/>
                      <a:pt x="68" y="179"/>
                    </a:cubicBezTo>
                    <a:cubicBezTo>
                      <a:pt x="66" y="180"/>
                      <a:pt x="63" y="181"/>
                      <a:pt x="61" y="182"/>
                    </a:cubicBezTo>
                    <a:cubicBezTo>
                      <a:pt x="61" y="183"/>
                      <a:pt x="61" y="183"/>
                      <a:pt x="61" y="183"/>
                    </a:cubicBezTo>
                    <a:cubicBezTo>
                      <a:pt x="62" y="184"/>
                      <a:pt x="62" y="186"/>
                      <a:pt x="62" y="187"/>
                    </a:cubicBezTo>
                    <a:cubicBezTo>
                      <a:pt x="63" y="189"/>
                      <a:pt x="63" y="189"/>
                      <a:pt x="63" y="189"/>
                    </a:cubicBezTo>
                    <a:cubicBezTo>
                      <a:pt x="63" y="189"/>
                      <a:pt x="63" y="190"/>
                      <a:pt x="63" y="191"/>
                    </a:cubicBezTo>
                    <a:cubicBezTo>
                      <a:pt x="64" y="192"/>
                      <a:pt x="64" y="192"/>
                      <a:pt x="64" y="192"/>
                    </a:cubicBezTo>
                    <a:cubicBezTo>
                      <a:pt x="64" y="192"/>
                      <a:pt x="64" y="193"/>
                      <a:pt x="65" y="193"/>
                    </a:cubicBezTo>
                    <a:cubicBezTo>
                      <a:pt x="65" y="194"/>
                      <a:pt x="65" y="194"/>
                      <a:pt x="65" y="194"/>
                    </a:cubicBezTo>
                    <a:cubicBezTo>
                      <a:pt x="65" y="195"/>
                      <a:pt x="65" y="195"/>
                      <a:pt x="65" y="195"/>
                    </a:cubicBezTo>
                    <a:cubicBezTo>
                      <a:pt x="65" y="195"/>
                      <a:pt x="65" y="195"/>
                      <a:pt x="65" y="195"/>
                    </a:cubicBezTo>
                    <a:cubicBezTo>
                      <a:pt x="66" y="196"/>
                      <a:pt x="66" y="196"/>
                      <a:pt x="66" y="196"/>
                    </a:cubicBezTo>
                    <a:cubicBezTo>
                      <a:pt x="67" y="197"/>
                      <a:pt x="68" y="199"/>
                      <a:pt x="68" y="201"/>
                    </a:cubicBezTo>
                    <a:cubicBezTo>
                      <a:pt x="68" y="203"/>
                      <a:pt x="67" y="204"/>
                      <a:pt x="64" y="206"/>
                    </a:cubicBezTo>
                    <a:cubicBezTo>
                      <a:pt x="63" y="207"/>
                      <a:pt x="61" y="208"/>
                      <a:pt x="57" y="210"/>
                    </a:cubicBezTo>
                    <a:cubicBezTo>
                      <a:pt x="56" y="210"/>
                      <a:pt x="55" y="210"/>
                      <a:pt x="54" y="211"/>
                    </a:cubicBezTo>
                    <a:cubicBezTo>
                      <a:pt x="53" y="211"/>
                      <a:pt x="52" y="212"/>
                      <a:pt x="51" y="212"/>
                    </a:cubicBezTo>
                    <a:cubicBezTo>
                      <a:pt x="49" y="212"/>
                      <a:pt x="47" y="210"/>
                      <a:pt x="46" y="209"/>
                    </a:cubicBezTo>
                    <a:cubicBezTo>
                      <a:pt x="44" y="207"/>
                      <a:pt x="42" y="205"/>
                      <a:pt x="40" y="202"/>
                    </a:cubicBezTo>
                    <a:cubicBezTo>
                      <a:pt x="39" y="201"/>
                      <a:pt x="39" y="201"/>
                      <a:pt x="39" y="201"/>
                    </a:cubicBezTo>
                    <a:cubicBezTo>
                      <a:pt x="38" y="201"/>
                      <a:pt x="38" y="200"/>
                      <a:pt x="37" y="200"/>
                    </a:cubicBezTo>
                    <a:cubicBezTo>
                      <a:pt x="36" y="198"/>
                      <a:pt x="36" y="198"/>
                      <a:pt x="36" y="198"/>
                    </a:cubicBezTo>
                    <a:cubicBezTo>
                      <a:pt x="34" y="196"/>
                      <a:pt x="31" y="192"/>
                      <a:pt x="28" y="191"/>
                    </a:cubicBezTo>
                    <a:cubicBezTo>
                      <a:pt x="28" y="191"/>
                      <a:pt x="28" y="191"/>
                      <a:pt x="28" y="191"/>
                    </a:cubicBezTo>
                    <a:cubicBezTo>
                      <a:pt x="26" y="191"/>
                      <a:pt x="25" y="191"/>
                      <a:pt x="25" y="191"/>
                    </a:cubicBezTo>
                    <a:cubicBezTo>
                      <a:pt x="25" y="192"/>
                      <a:pt x="25" y="192"/>
                      <a:pt x="25" y="192"/>
                    </a:cubicBezTo>
                    <a:cubicBezTo>
                      <a:pt x="25" y="192"/>
                      <a:pt x="25" y="193"/>
                      <a:pt x="24" y="194"/>
                    </a:cubicBezTo>
                    <a:cubicBezTo>
                      <a:pt x="24" y="196"/>
                      <a:pt x="23" y="199"/>
                      <a:pt x="22" y="201"/>
                    </a:cubicBezTo>
                    <a:cubicBezTo>
                      <a:pt x="21" y="203"/>
                      <a:pt x="21" y="203"/>
                      <a:pt x="21" y="203"/>
                    </a:cubicBezTo>
                    <a:cubicBezTo>
                      <a:pt x="21" y="204"/>
                      <a:pt x="20" y="204"/>
                      <a:pt x="20" y="204"/>
                    </a:cubicBezTo>
                    <a:cubicBezTo>
                      <a:pt x="20" y="205"/>
                      <a:pt x="19" y="205"/>
                      <a:pt x="19" y="205"/>
                    </a:cubicBezTo>
                    <a:cubicBezTo>
                      <a:pt x="18" y="206"/>
                      <a:pt x="18" y="206"/>
                      <a:pt x="18" y="206"/>
                    </a:cubicBezTo>
                    <a:cubicBezTo>
                      <a:pt x="17" y="207"/>
                      <a:pt x="15" y="208"/>
                      <a:pt x="14" y="208"/>
                    </a:cubicBezTo>
                    <a:cubicBezTo>
                      <a:pt x="12" y="209"/>
                      <a:pt x="11" y="209"/>
                      <a:pt x="11" y="210"/>
                    </a:cubicBezTo>
                    <a:cubicBezTo>
                      <a:pt x="10" y="212"/>
                      <a:pt x="10" y="212"/>
                      <a:pt x="10" y="212"/>
                    </a:cubicBezTo>
                    <a:cubicBezTo>
                      <a:pt x="10" y="213"/>
                      <a:pt x="10" y="214"/>
                      <a:pt x="10" y="214"/>
                    </a:cubicBezTo>
                    <a:cubicBezTo>
                      <a:pt x="9" y="220"/>
                      <a:pt x="9" y="220"/>
                      <a:pt x="9" y="220"/>
                    </a:cubicBezTo>
                    <a:cubicBezTo>
                      <a:pt x="9" y="221"/>
                      <a:pt x="9" y="222"/>
                      <a:pt x="8" y="223"/>
                    </a:cubicBezTo>
                    <a:cubicBezTo>
                      <a:pt x="8" y="224"/>
                      <a:pt x="8" y="224"/>
                      <a:pt x="8" y="224"/>
                    </a:cubicBezTo>
                    <a:cubicBezTo>
                      <a:pt x="9" y="224"/>
                      <a:pt x="9" y="224"/>
                      <a:pt x="9" y="225"/>
                    </a:cubicBezTo>
                    <a:cubicBezTo>
                      <a:pt x="10" y="225"/>
                      <a:pt x="10" y="225"/>
                      <a:pt x="10" y="225"/>
                    </a:cubicBezTo>
                    <a:cubicBezTo>
                      <a:pt x="10" y="225"/>
                      <a:pt x="11" y="225"/>
                      <a:pt x="11" y="226"/>
                    </a:cubicBezTo>
                    <a:cubicBezTo>
                      <a:pt x="18" y="232"/>
                      <a:pt x="14" y="237"/>
                      <a:pt x="12" y="239"/>
                    </a:cubicBezTo>
                    <a:cubicBezTo>
                      <a:pt x="12" y="239"/>
                      <a:pt x="12" y="240"/>
                      <a:pt x="11" y="241"/>
                    </a:cubicBezTo>
                    <a:cubicBezTo>
                      <a:pt x="8" y="244"/>
                      <a:pt x="5" y="248"/>
                      <a:pt x="3" y="253"/>
                    </a:cubicBezTo>
                    <a:cubicBezTo>
                      <a:pt x="2" y="254"/>
                      <a:pt x="1" y="256"/>
                      <a:pt x="0" y="258"/>
                    </a:cubicBezTo>
                    <a:cubicBezTo>
                      <a:pt x="1" y="258"/>
                      <a:pt x="1" y="258"/>
                      <a:pt x="1" y="258"/>
                    </a:cubicBezTo>
                    <a:cubicBezTo>
                      <a:pt x="3" y="259"/>
                      <a:pt x="3" y="259"/>
                      <a:pt x="3" y="259"/>
                    </a:cubicBezTo>
                    <a:cubicBezTo>
                      <a:pt x="5" y="259"/>
                      <a:pt x="7" y="260"/>
                      <a:pt x="9" y="261"/>
                    </a:cubicBezTo>
                    <a:cubicBezTo>
                      <a:pt x="13" y="262"/>
                      <a:pt x="13" y="262"/>
                      <a:pt x="13" y="262"/>
                    </a:cubicBezTo>
                    <a:cubicBezTo>
                      <a:pt x="13" y="262"/>
                      <a:pt x="14" y="262"/>
                      <a:pt x="14" y="263"/>
                    </a:cubicBezTo>
                    <a:cubicBezTo>
                      <a:pt x="18" y="265"/>
                      <a:pt x="18" y="270"/>
                      <a:pt x="18" y="273"/>
                    </a:cubicBezTo>
                    <a:cubicBezTo>
                      <a:pt x="18" y="274"/>
                      <a:pt x="18" y="275"/>
                      <a:pt x="18" y="276"/>
                    </a:cubicBezTo>
                    <a:cubicBezTo>
                      <a:pt x="18" y="280"/>
                      <a:pt x="18" y="280"/>
                      <a:pt x="19" y="281"/>
                    </a:cubicBezTo>
                    <a:cubicBezTo>
                      <a:pt x="21" y="282"/>
                      <a:pt x="22" y="282"/>
                      <a:pt x="23" y="282"/>
                    </a:cubicBezTo>
                    <a:cubicBezTo>
                      <a:pt x="24" y="282"/>
                      <a:pt x="25" y="282"/>
                      <a:pt x="26" y="282"/>
                    </a:cubicBezTo>
                    <a:cubicBezTo>
                      <a:pt x="27" y="282"/>
                      <a:pt x="28" y="282"/>
                      <a:pt x="28" y="281"/>
                    </a:cubicBezTo>
                    <a:cubicBezTo>
                      <a:pt x="30" y="281"/>
                      <a:pt x="30" y="281"/>
                      <a:pt x="30" y="281"/>
                    </a:cubicBezTo>
                    <a:cubicBezTo>
                      <a:pt x="31" y="281"/>
                      <a:pt x="33" y="280"/>
                      <a:pt x="35" y="280"/>
                    </a:cubicBezTo>
                    <a:cubicBezTo>
                      <a:pt x="36" y="280"/>
                      <a:pt x="38" y="280"/>
                      <a:pt x="39" y="280"/>
                    </a:cubicBezTo>
                    <a:cubicBezTo>
                      <a:pt x="40" y="280"/>
                      <a:pt x="41" y="280"/>
                      <a:pt x="42" y="280"/>
                    </a:cubicBezTo>
                    <a:cubicBezTo>
                      <a:pt x="43" y="280"/>
                      <a:pt x="44" y="281"/>
                      <a:pt x="45" y="281"/>
                    </a:cubicBezTo>
                    <a:cubicBezTo>
                      <a:pt x="47" y="283"/>
                      <a:pt x="49" y="285"/>
                      <a:pt x="50" y="287"/>
                    </a:cubicBezTo>
                    <a:cubicBezTo>
                      <a:pt x="51" y="289"/>
                      <a:pt x="52" y="290"/>
                      <a:pt x="53" y="292"/>
                    </a:cubicBezTo>
                    <a:cubicBezTo>
                      <a:pt x="57" y="298"/>
                      <a:pt x="57" y="298"/>
                      <a:pt x="57" y="298"/>
                    </a:cubicBezTo>
                    <a:cubicBezTo>
                      <a:pt x="59" y="301"/>
                      <a:pt x="61" y="303"/>
                      <a:pt x="63" y="306"/>
                    </a:cubicBezTo>
                    <a:cubicBezTo>
                      <a:pt x="63" y="306"/>
                      <a:pt x="63" y="307"/>
                      <a:pt x="64" y="308"/>
                    </a:cubicBezTo>
                    <a:cubicBezTo>
                      <a:pt x="65" y="308"/>
                      <a:pt x="65" y="308"/>
                      <a:pt x="65" y="308"/>
                    </a:cubicBezTo>
                    <a:cubicBezTo>
                      <a:pt x="67" y="311"/>
                      <a:pt x="70" y="315"/>
                      <a:pt x="70" y="318"/>
                    </a:cubicBezTo>
                    <a:cubicBezTo>
                      <a:pt x="72" y="319"/>
                      <a:pt x="72" y="319"/>
                      <a:pt x="72" y="319"/>
                    </a:cubicBezTo>
                    <a:cubicBezTo>
                      <a:pt x="71" y="320"/>
                      <a:pt x="71" y="320"/>
                      <a:pt x="71" y="320"/>
                    </a:cubicBezTo>
                    <a:cubicBezTo>
                      <a:pt x="71" y="320"/>
                      <a:pt x="71" y="320"/>
                      <a:pt x="71" y="320"/>
                    </a:cubicBezTo>
                    <a:cubicBezTo>
                      <a:pt x="70" y="321"/>
                      <a:pt x="70" y="321"/>
                      <a:pt x="70" y="321"/>
                    </a:cubicBezTo>
                    <a:cubicBezTo>
                      <a:pt x="69" y="323"/>
                      <a:pt x="69" y="323"/>
                      <a:pt x="69" y="323"/>
                    </a:cubicBezTo>
                    <a:cubicBezTo>
                      <a:pt x="67" y="325"/>
                      <a:pt x="67" y="325"/>
                      <a:pt x="67" y="325"/>
                    </a:cubicBezTo>
                    <a:cubicBezTo>
                      <a:pt x="66" y="325"/>
                      <a:pt x="66" y="325"/>
                      <a:pt x="66" y="325"/>
                    </a:cubicBezTo>
                    <a:cubicBezTo>
                      <a:pt x="66" y="325"/>
                      <a:pt x="66" y="325"/>
                      <a:pt x="66" y="325"/>
                    </a:cubicBezTo>
                    <a:cubicBezTo>
                      <a:pt x="66" y="325"/>
                      <a:pt x="66" y="325"/>
                      <a:pt x="66" y="325"/>
                    </a:cubicBezTo>
                    <a:cubicBezTo>
                      <a:pt x="65" y="325"/>
                      <a:pt x="64" y="326"/>
                      <a:pt x="63" y="326"/>
                    </a:cubicBezTo>
                    <a:cubicBezTo>
                      <a:pt x="64" y="326"/>
                      <a:pt x="64" y="326"/>
                      <a:pt x="64" y="326"/>
                    </a:cubicBezTo>
                    <a:cubicBezTo>
                      <a:pt x="65" y="327"/>
                      <a:pt x="65" y="327"/>
                      <a:pt x="65" y="327"/>
                    </a:cubicBezTo>
                    <a:cubicBezTo>
                      <a:pt x="67" y="328"/>
                      <a:pt x="69" y="329"/>
                      <a:pt x="72" y="330"/>
                    </a:cubicBezTo>
                    <a:cubicBezTo>
                      <a:pt x="72" y="330"/>
                      <a:pt x="73" y="330"/>
                      <a:pt x="73" y="331"/>
                    </a:cubicBezTo>
                    <a:cubicBezTo>
                      <a:pt x="73" y="331"/>
                      <a:pt x="73" y="331"/>
                      <a:pt x="73" y="331"/>
                    </a:cubicBezTo>
                    <a:cubicBezTo>
                      <a:pt x="73" y="330"/>
                      <a:pt x="73" y="330"/>
                      <a:pt x="73" y="330"/>
                    </a:cubicBezTo>
                    <a:cubicBezTo>
                      <a:pt x="73" y="330"/>
                      <a:pt x="74" y="330"/>
                      <a:pt x="74" y="330"/>
                    </a:cubicBezTo>
                    <a:cubicBezTo>
                      <a:pt x="75" y="330"/>
                      <a:pt x="76" y="330"/>
                      <a:pt x="75" y="328"/>
                    </a:cubicBezTo>
                    <a:cubicBezTo>
                      <a:pt x="75" y="328"/>
                      <a:pt x="75" y="328"/>
                      <a:pt x="75" y="328"/>
                    </a:cubicBezTo>
                    <a:cubicBezTo>
                      <a:pt x="75" y="328"/>
                      <a:pt x="75" y="328"/>
                      <a:pt x="76" y="328"/>
                    </a:cubicBezTo>
                    <a:cubicBezTo>
                      <a:pt x="76" y="328"/>
                      <a:pt x="76" y="328"/>
                      <a:pt x="77" y="328"/>
                    </a:cubicBezTo>
                    <a:cubicBezTo>
                      <a:pt x="77" y="328"/>
                      <a:pt x="77" y="328"/>
                      <a:pt x="77" y="328"/>
                    </a:cubicBezTo>
                    <a:cubicBezTo>
                      <a:pt x="76" y="328"/>
                      <a:pt x="76" y="327"/>
                      <a:pt x="75" y="326"/>
                    </a:cubicBezTo>
                    <a:cubicBezTo>
                      <a:pt x="77" y="326"/>
                      <a:pt x="78" y="326"/>
                      <a:pt x="79" y="326"/>
                    </a:cubicBezTo>
                    <a:cubicBezTo>
                      <a:pt x="81" y="326"/>
                      <a:pt x="82" y="326"/>
                      <a:pt x="83" y="326"/>
                    </a:cubicBezTo>
                    <a:cubicBezTo>
                      <a:pt x="85" y="326"/>
                      <a:pt x="86" y="326"/>
                      <a:pt x="87" y="326"/>
                    </a:cubicBezTo>
                    <a:cubicBezTo>
                      <a:pt x="89" y="326"/>
                      <a:pt x="91" y="326"/>
                      <a:pt x="93" y="326"/>
                    </a:cubicBezTo>
                    <a:cubicBezTo>
                      <a:pt x="95" y="325"/>
                      <a:pt x="96" y="324"/>
                      <a:pt x="98" y="322"/>
                    </a:cubicBezTo>
                    <a:cubicBezTo>
                      <a:pt x="100" y="321"/>
                      <a:pt x="102" y="320"/>
                      <a:pt x="104" y="318"/>
                    </a:cubicBezTo>
                    <a:cubicBezTo>
                      <a:pt x="105" y="318"/>
                      <a:pt x="105" y="317"/>
                      <a:pt x="107" y="316"/>
                    </a:cubicBezTo>
                    <a:cubicBezTo>
                      <a:pt x="109" y="315"/>
                      <a:pt x="110" y="315"/>
                      <a:pt x="113" y="315"/>
                    </a:cubicBezTo>
                    <a:cubicBezTo>
                      <a:pt x="113" y="314"/>
                      <a:pt x="118" y="312"/>
                      <a:pt x="119" y="311"/>
                    </a:cubicBezTo>
                    <a:cubicBezTo>
                      <a:pt x="119" y="311"/>
                      <a:pt x="119" y="310"/>
                      <a:pt x="119" y="310"/>
                    </a:cubicBezTo>
                    <a:cubicBezTo>
                      <a:pt x="120" y="310"/>
                      <a:pt x="122" y="310"/>
                      <a:pt x="122" y="309"/>
                    </a:cubicBezTo>
                    <a:cubicBezTo>
                      <a:pt x="124" y="309"/>
                      <a:pt x="125" y="309"/>
                      <a:pt x="126" y="309"/>
                    </a:cubicBezTo>
                    <a:cubicBezTo>
                      <a:pt x="127" y="308"/>
                      <a:pt x="128" y="307"/>
                      <a:pt x="129" y="307"/>
                    </a:cubicBezTo>
                    <a:cubicBezTo>
                      <a:pt x="129" y="307"/>
                      <a:pt x="130" y="307"/>
                      <a:pt x="130" y="307"/>
                    </a:cubicBezTo>
                    <a:cubicBezTo>
                      <a:pt x="133" y="307"/>
                      <a:pt x="139" y="309"/>
                      <a:pt x="142" y="310"/>
                    </a:cubicBezTo>
                    <a:cubicBezTo>
                      <a:pt x="147" y="311"/>
                      <a:pt x="153" y="315"/>
                      <a:pt x="159" y="317"/>
                    </a:cubicBezTo>
                    <a:cubicBezTo>
                      <a:pt x="158" y="317"/>
                      <a:pt x="158" y="316"/>
                      <a:pt x="157" y="316"/>
                    </a:cubicBezTo>
                    <a:cubicBezTo>
                      <a:pt x="158" y="316"/>
                      <a:pt x="159" y="316"/>
                      <a:pt x="159" y="316"/>
                    </a:cubicBezTo>
                    <a:cubicBezTo>
                      <a:pt x="163" y="316"/>
                      <a:pt x="163" y="312"/>
                      <a:pt x="165" y="311"/>
                    </a:cubicBezTo>
                    <a:cubicBezTo>
                      <a:pt x="165" y="311"/>
                      <a:pt x="166" y="311"/>
                      <a:pt x="166" y="311"/>
                    </a:cubicBezTo>
                    <a:cubicBezTo>
                      <a:pt x="168" y="311"/>
                      <a:pt x="170" y="313"/>
                      <a:pt x="172" y="313"/>
                    </a:cubicBezTo>
                    <a:cubicBezTo>
                      <a:pt x="177" y="314"/>
                      <a:pt x="179" y="314"/>
                      <a:pt x="182" y="319"/>
                    </a:cubicBezTo>
                    <a:cubicBezTo>
                      <a:pt x="185" y="326"/>
                      <a:pt x="189" y="333"/>
                      <a:pt x="188" y="342"/>
                    </a:cubicBezTo>
                    <a:cubicBezTo>
                      <a:pt x="187" y="348"/>
                      <a:pt x="182" y="353"/>
                      <a:pt x="182" y="359"/>
                    </a:cubicBezTo>
                    <a:cubicBezTo>
                      <a:pt x="181" y="361"/>
                      <a:pt x="182" y="362"/>
                      <a:pt x="183" y="365"/>
                    </a:cubicBezTo>
                    <a:cubicBezTo>
                      <a:pt x="185" y="369"/>
                      <a:pt x="185" y="368"/>
                      <a:pt x="188" y="369"/>
                    </a:cubicBezTo>
                    <a:cubicBezTo>
                      <a:pt x="191" y="370"/>
                      <a:pt x="194" y="371"/>
                      <a:pt x="197" y="371"/>
                    </a:cubicBezTo>
                    <a:cubicBezTo>
                      <a:pt x="197" y="371"/>
                      <a:pt x="198" y="371"/>
                      <a:pt x="199" y="370"/>
                    </a:cubicBezTo>
                    <a:cubicBezTo>
                      <a:pt x="202" y="370"/>
                      <a:pt x="205" y="369"/>
                      <a:pt x="207" y="368"/>
                    </a:cubicBezTo>
                    <a:cubicBezTo>
                      <a:pt x="208" y="366"/>
                      <a:pt x="207" y="364"/>
                      <a:pt x="210" y="364"/>
                    </a:cubicBezTo>
                    <a:cubicBezTo>
                      <a:pt x="210" y="364"/>
                      <a:pt x="210" y="364"/>
                      <a:pt x="210" y="364"/>
                    </a:cubicBezTo>
                    <a:cubicBezTo>
                      <a:pt x="217" y="364"/>
                      <a:pt x="214" y="372"/>
                      <a:pt x="216" y="376"/>
                    </a:cubicBezTo>
                    <a:cubicBezTo>
                      <a:pt x="217" y="377"/>
                      <a:pt x="219" y="378"/>
                      <a:pt x="219" y="380"/>
                    </a:cubicBezTo>
                    <a:cubicBezTo>
                      <a:pt x="219" y="381"/>
                      <a:pt x="215" y="382"/>
                      <a:pt x="213" y="382"/>
                    </a:cubicBezTo>
                    <a:cubicBezTo>
                      <a:pt x="213" y="382"/>
                      <a:pt x="212" y="382"/>
                      <a:pt x="212" y="382"/>
                    </a:cubicBezTo>
                    <a:cubicBezTo>
                      <a:pt x="212" y="382"/>
                      <a:pt x="212" y="382"/>
                      <a:pt x="212" y="382"/>
                    </a:cubicBezTo>
                    <a:cubicBezTo>
                      <a:pt x="210" y="382"/>
                      <a:pt x="209" y="383"/>
                      <a:pt x="208" y="383"/>
                    </a:cubicBezTo>
                    <a:cubicBezTo>
                      <a:pt x="207" y="384"/>
                      <a:pt x="206" y="384"/>
                      <a:pt x="205" y="384"/>
                    </a:cubicBezTo>
                    <a:cubicBezTo>
                      <a:pt x="205" y="384"/>
                      <a:pt x="205" y="384"/>
                      <a:pt x="204" y="384"/>
                    </a:cubicBezTo>
                    <a:cubicBezTo>
                      <a:pt x="204" y="384"/>
                      <a:pt x="204" y="384"/>
                      <a:pt x="203" y="384"/>
                    </a:cubicBezTo>
                    <a:cubicBezTo>
                      <a:pt x="203" y="384"/>
                      <a:pt x="202" y="384"/>
                      <a:pt x="202" y="384"/>
                    </a:cubicBezTo>
                    <a:cubicBezTo>
                      <a:pt x="198" y="385"/>
                      <a:pt x="195" y="389"/>
                      <a:pt x="193" y="393"/>
                    </a:cubicBezTo>
                    <a:cubicBezTo>
                      <a:pt x="193" y="394"/>
                      <a:pt x="189" y="402"/>
                      <a:pt x="187" y="402"/>
                    </a:cubicBezTo>
                    <a:cubicBezTo>
                      <a:pt x="184" y="402"/>
                      <a:pt x="186" y="399"/>
                      <a:pt x="187" y="398"/>
                    </a:cubicBezTo>
                    <a:cubicBezTo>
                      <a:pt x="189" y="393"/>
                      <a:pt x="192" y="388"/>
                      <a:pt x="196" y="384"/>
                    </a:cubicBezTo>
                    <a:cubicBezTo>
                      <a:pt x="199" y="381"/>
                      <a:pt x="202" y="382"/>
                      <a:pt x="206" y="381"/>
                    </a:cubicBezTo>
                    <a:cubicBezTo>
                      <a:pt x="211" y="379"/>
                      <a:pt x="210" y="373"/>
                      <a:pt x="206" y="373"/>
                    </a:cubicBezTo>
                    <a:cubicBezTo>
                      <a:pt x="206" y="373"/>
                      <a:pt x="205" y="374"/>
                      <a:pt x="204" y="374"/>
                    </a:cubicBezTo>
                    <a:cubicBezTo>
                      <a:pt x="202" y="375"/>
                      <a:pt x="201" y="375"/>
                      <a:pt x="199" y="375"/>
                    </a:cubicBezTo>
                    <a:cubicBezTo>
                      <a:pt x="198" y="375"/>
                      <a:pt x="197" y="375"/>
                      <a:pt x="195" y="374"/>
                    </a:cubicBezTo>
                    <a:cubicBezTo>
                      <a:pt x="191" y="373"/>
                      <a:pt x="187" y="374"/>
                      <a:pt x="183" y="373"/>
                    </a:cubicBezTo>
                    <a:cubicBezTo>
                      <a:pt x="178" y="373"/>
                      <a:pt x="173" y="372"/>
                      <a:pt x="167" y="371"/>
                    </a:cubicBezTo>
                    <a:cubicBezTo>
                      <a:pt x="161" y="370"/>
                      <a:pt x="153" y="371"/>
                      <a:pt x="148" y="368"/>
                    </a:cubicBezTo>
                    <a:cubicBezTo>
                      <a:pt x="147" y="368"/>
                      <a:pt x="146" y="367"/>
                      <a:pt x="145" y="367"/>
                    </a:cubicBezTo>
                    <a:cubicBezTo>
                      <a:pt x="145" y="367"/>
                      <a:pt x="144" y="367"/>
                      <a:pt x="144" y="368"/>
                    </a:cubicBezTo>
                    <a:cubicBezTo>
                      <a:pt x="144" y="368"/>
                      <a:pt x="141" y="370"/>
                      <a:pt x="140" y="370"/>
                    </a:cubicBezTo>
                    <a:cubicBezTo>
                      <a:pt x="140" y="370"/>
                      <a:pt x="140" y="370"/>
                      <a:pt x="140" y="370"/>
                    </a:cubicBezTo>
                    <a:cubicBezTo>
                      <a:pt x="138" y="370"/>
                      <a:pt x="136" y="369"/>
                      <a:pt x="136" y="369"/>
                    </a:cubicBezTo>
                    <a:cubicBezTo>
                      <a:pt x="136" y="369"/>
                      <a:pt x="133" y="372"/>
                      <a:pt x="133" y="373"/>
                    </a:cubicBezTo>
                    <a:cubicBezTo>
                      <a:pt x="131" y="375"/>
                      <a:pt x="131" y="379"/>
                      <a:pt x="129" y="380"/>
                    </a:cubicBezTo>
                    <a:cubicBezTo>
                      <a:pt x="126" y="382"/>
                      <a:pt x="126" y="382"/>
                      <a:pt x="126" y="382"/>
                    </a:cubicBezTo>
                    <a:cubicBezTo>
                      <a:pt x="124" y="383"/>
                      <a:pt x="121" y="382"/>
                      <a:pt x="123" y="385"/>
                    </a:cubicBezTo>
                    <a:cubicBezTo>
                      <a:pt x="125" y="388"/>
                      <a:pt x="128" y="390"/>
                      <a:pt x="130" y="392"/>
                    </a:cubicBezTo>
                    <a:cubicBezTo>
                      <a:pt x="131" y="393"/>
                      <a:pt x="131" y="396"/>
                      <a:pt x="132" y="396"/>
                    </a:cubicBezTo>
                    <a:cubicBezTo>
                      <a:pt x="133" y="396"/>
                      <a:pt x="133" y="396"/>
                      <a:pt x="133" y="396"/>
                    </a:cubicBezTo>
                    <a:cubicBezTo>
                      <a:pt x="133" y="396"/>
                      <a:pt x="134" y="396"/>
                      <a:pt x="134" y="396"/>
                    </a:cubicBezTo>
                    <a:cubicBezTo>
                      <a:pt x="134" y="396"/>
                      <a:pt x="134" y="396"/>
                      <a:pt x="135" y="396"/>
                    </a:cubicBezTo>
                    <a:cubicBezTo>
                      <a:pt x="135" y="396"/>
                      <a:pt x="135" y="396"/>
                      <a:pt x="135" y="396"/>
                    </a:cubicBezTo>
                    <a:cubicBezTo>
                      <a:pt x="136" y="396"/>
                      <a:pt x="139" y="397"/>
                      <a:pt x="139" y="398"/>
                    </a:cubicBezTo>
                    <a:cubicBezTo>
                      <a:pt x="140" y="398"/>
                      <a:pt x="140" y="398"/>
                      <a:pt x="140" y="398"/>
                    </a:cubicBezTo>
                    <a:cubicBezTo>
                      <a:pt x="140" y="398"/>
                      <a:pt x="140" y="398"/>
                      <a:pt x="140" y="398"/>
                    </a:cubicBezTo>
                    <a:cubicBezTo>
                      <a:pt x="139" y="398"/>
                      <a:pt x="138" y="399"/>
                      <a:pt x="138" y="399"/>
                    </a:cubicBezTo>
                    <a:cubicBezTo>
                      <a:pt x="137" y="399"/>
                      <a:pt x="136" y="399"/>
                      <a:pt x="135" y="399"/>
                    </a:cubicBezTo>
                    <a:cubicBezTo>
                      <a:pt x="135" y="399"/>
                      <a:pt x="134" y="399"/>
                      <a:pt x="134" y="398"/>
                    </a:cubicBezTo>
                    <a:cubicBezTo>
                      <a:pt x="134" y="398"/>
                      <a:pt x="133" y="398"/>
                      <a:pt x="133" y="398"/>
                    </a:cubicBezTo>
                    <a:cubicBezTo>
                      <a:pt x="132" y="398"/>
                      <a:pt x="131" y="400"/>
                      <a:pt x="130" y="400"/>
                    </a:cubicBezTo>
                    <a:cubicBezTo>
                      <a:pt x="129" y="400"/>
                      <a:pt x="129" y="400"/>
                      <a:pt x="128" y="400"/>
                    </a:cubicBezTo>
                    <a:cubicBezTo>
                      <a:pt x="126" y="400"/>
                      <a:pt x="124" y="399"/>
                      <a:pt x="122" y="397"/>
                    </a:cubicBezTo>
                    <a:cubicBezTo>
                      <a:pt x="120" y="396"/>
                      <a:pt x="119" y="395"/>
                      <a:pt x="118" y="395"/>
                    </a:cubicBezTo>
                    <a:cubicBezTo>
                      <a:pt x="117" y="395"/>
                      <a:pt x="116" y="396"/>
                      <a:pt x="114" y="396"/>
                    </a:cubicBezTo>
                    <a:cubicBezTo>
                      <a:pt x="112" y="396"/>
                      <a:pt x="108" y="394"/>
                      <a:pt x="106" y="394"/>
                    </a:cubicBezTo>
                    <a:cubicBezTo>
                      <a:pt x="105" y="394"/>
                      <a:pt x="105" y="394"/>
                      <a:pt x="105" y="394"/>
                    </a:cubicBezTo>
                    <a:cubicBezTo>
                      <a:pt x="103" y="395"/>
                      <a:pt x="103" y="396"/>
                      <a:pt x="102" y="398"/>
                    </a:cubicBezTo>
                    <a:cubicBezTo>
                      <a:pt x="102" y="397"/>
                      <a:pt x="102" y="397"/>
                      <a:pt x="102" y="397"/>
                    </a:cubicBezTo>
                    <a:cubicBezTo>
                      <a:pt x="101" y="403"/>
                      <a:pt x="102" y="406"/>
                      <a:pt x="108" y="407"/>
                    </a:cubicBezTo>
                    <a:cubicBezTo>
                      <a:pt x="110" y="407"/>
                      <a:pt x="112" y="407"/>
                      <a:pt x="113" y="408"/>
                    </a:cubicBezTo>
                    <a:cubicBezTo>
                      <a:pt x="122" y="410"/>
                      <a:pt x="124" y="421"/>
                      <a:pt x="127" y="429"/>
                    </a:cubicBezTo>
                    <a:cubicBezTo>
                      <a:pt x="129" y="433"/>
                      <a:pt x="130" y="437"/>
                      <a:pt x="132" y="441"/>
                    </a:cubicBezTo>
                    <a:cubicBezTo>
                      <a:pt x="133" y="442"/>
                      <a:pt x="132" y="443"/>
                      <a:pt x="132" y="444"/>
                    </a:cubicBezTo>
                    <a:cubicBezTo>
                      <a:pt x="132" y="444"/>
                      <a:pt x="131" y="445"/>
                      <a:pt x="131" y="446"/>
                    </a:cubicBezTo>
                    <a:cubicBezTo>
                      <a:pt x="131" y="446"/>
                      <a:pt x="132" y="446"/>
                      <a:pt x="133" y="446"/>
                    </a:cubicBezTo>
                    <a:cubicBezTo>
                      <a:pt x="134" y="446"/>
                      <a:pt x="135" y="446"/>
                      <a:pt x="136" y="446"/>
                    </a:cubicBezTo>
                    <a:cubicBezTo>
                      <a:pt x="137" y="446"/>
                      <a:pt x="139" y="446"/>
                      <a:pt x="140" y="446"/>
                    </a:cubicBezTo>
                    <a:cubicBezTo>
                      <a:pt x="140" y="446"/>
                      <a:pt x="140" y="446"/>
                      <a:pt x="141" y="446"/>
                    </a:cubicBezTo>
                    <a:cubicBezTo>
                      <a:pt x="146" y="447"/>
                      <a:pt x="146" y="454"/>
                      <a:pt x="150" y="456"/>
                    </a:cubicBezTo>
                    <a:cubicBezTo>
                      <a:pt x="150" y="457"/>
                      <a:pt x="151" y="457"/>
                      <a:pt x="151" y="457"/>
                    </a:cubicBezTo>
                    <a:cubicBezTo>
                      <a:pt x="152" y="457"/>
                      <a:pt x="152" y="457"/>
                      <a:pt x="153" y="456"/>
                    </a:cubicBezTo>
                    <a:cubicBezTo>
                      <a:pt x="154" y="456"/>
                      <a:pt x="154" y="456"/>
                      <a:pt x="155" y="456"/>
                    </a:cubicBezTo>
                    <a:cubicBezTo>
                      <a:pt x="155" y="456"/>
                      <a:pt x="155" y="456"/>
                      <a:pt x="156" y="456"/>
                    </a:cubicBezTo>
                    <a:cubicBezTo>
                      <a:pt x="157" y="456"/>
                      <a:pt x="157" y="456"/>
                      <a:pt x="158" y="457"/>
                    </a:cubicBezTo>
                    <a:cubicBezTo>
                      <a:pt x="159" y="457"/>
                      <a:pt x="159" y="458"/>
                      <a:pt x="160" y="458"/>
                    </a:cubicBezTo>
                    <a:cubicBezTo>
                      <a:pt x="160" y="459"/>
                      <a:pt x="160" y="459"/>
                      <a:pt x="160" y="459"/>
                    </a:cubicBezTo>
                    <a:cubicBezTo>
                      <a:pt x="161" y="459"/>
                      <a:pt x="161" y="459"/>
                      <a:pt x="161" y="459"/>
                    </a:cubicBezTo>
                    <a:cubicBezTo>
                      <a:pt x="161" y="458"/>
                      <a:pt x="161" y="458"/>
                      <a:pt x="161" y="458"/>
                    </a:cubicBezTo>
                    <a:cubicBezTo>
                      <a:pt x="161" y="458"/>
                      <a:pt x="161" y="458"/>
                      <a:pt x="161" y="458"/>
                    </a:cubicBezTo>
                    <a:cubicBezTo>
                      <a:pt x="161" y="458"/>
                      <a:pt x="161" y="458"/>
                      <a:pt x="162" y="458"/>
                    </a:cubicBezTo>
                    <a:cubicBezTo>
                      <a:pt x="162" y="458"/>
                      <a:pt x="163" y="458"/>
                      <a:pt x="163" y="458"/>
                    </a:cubicBezTo>
                    <a:cubicBezTo>
                      <a:pt x="164" y="458"/>
                      <a:pt x="164" y="458"/>
                      <a:pt x="165" y="458"/>
                    </a:cubicBezTo>
                    <a:cubicBezTo>
                      <a:pt x="166" y="458"/>
                      <a:pt x="166" y="458"/>
                      <a:pt x="167" y="458"/>
                    </a:cubicBezTo>
                    <a:cubicBezTo>
                      <a:pt x="169" y="459"/>
                      <a:pt x="171" y="460"/>
                      <a:pt x="173" y="461"/>
                    </a:cubicBezTo>
                    <a:cubicBezTo>
                      <a:pt x="172" y="462"/>
                      <a:pt x="171" y="462"/>
                      <a:pt x="170" y="462"/>
                    </a:cubicBezTo>
                    <a:cubicBezTo>
                      <a:pt x="170" y="462"/>
                      <a:pt x="170" y="462"/>
                      <a:pt x="169" y="462"/>
                    </a:cubicBezTo>
                    <a:cubicBezTo>
                      <a:pt x="173" y="467"/>
                      <a:pt x="171" y="469"/>
                      <a:pt x="168" y="474"/>
                    </a:cubicBezTo>
                    <a:cubicBezTo>
                      <a:pt x="167" y="476"/>
                      <a:pt x="164" y="479"/>
                      <a:pt x="164" y="481"/>
                    </a:cubicBezTo>
                    <a:cubicBezTo>
                      <a:pt x="164" y="484"/>
                      <a:pt x="164" y="487"/>
                      <a:pt x="164" y="490"/>
                    </a:cubicBezTo>
                    <a:cubicBezTo>
                      <a:pt x="165" y="490"/>
                      <a:pt x="166" y="489"/>
                      <a:pt x="167" y="488"/>
                    </a:cubicBezTo>
                    <a:cubicBezTo>
                      <a:pt x="168" y="487"/>
                      <a:pt x="170" y="485"/>
                      <a:pt x="172" y="484"/>
                    </a:cubicBezTo>
                    <a:cubicBezTo>
                      <a:pt x="173" y="482"/>
                      <a:pt x="175" y="481"/>
                      <a:pt x="178" y="479"/>
                    </a:cubicBezTo>
                    <a:cubicBezTo>
                      <a:pt x="183" y="476"/>
                      <a:pt x="190" y="474"/>
                      <a:pt x="196" y="473"/>
                    </a:cubicBezTo>
                    <a:cubicBezTo>
                      <a:pt x="199" y="472"/>
                      <a:pt x="202" y="472"/>
                      <a:pt x="205" y="471"/>
                    </a:cubicBezTo>
                    <a:cubicBezTo>
                      <a:pt x="207" y="471"/>
                      <a:pt x="207" y="471"/>
                      <a:pt x="207" y="471"/>
                    </a:cubicBezTo>
                    <a:cubicBezTo>
                      <a:pt x="208" y="471"/>
                      <a:pt x="210" y="471"/>
                      <a:pt x="211" y="471"/>
                    </a:cubicBezTo>
                    <a:cubicBezTo>
                      <a:pt x="212" y="471"/>
                      <a:pt x="213" y="471"/>
                      <a:pt x="213" y="471"/>
                    </a:cubicBezTo>
                    <a:cubicBezTo>
                      <a:pt x="216" y="471"/>
                      <a:pt x="217" y="473"/>
                      <a:pt x="219" y="474"/>
                    </a:cubicBezTo>
                    <a:cubicBezTo>
                      <a:pt x="222" y="476"/>
                      <a:pt x="226" y="479"/>
                      <a:pt x="229" y="482"/>
                    </a:cubicBezTo>
                    <a:cubicBezTo>
                      <a:pt x="230" y="483"/>
                      <a:pt x="230" y="483"/>
                      <a:pt x="230" y="483"/>
                    </a:cubicBezTo>
                    <a:cubicBezTo>
                      <a:pt x="231" y="484"/>
                      <a:pt x="233" y="486"/>
                      <a:pt x="234" y="487"/>
                    </a:cubicBezTo>
                    <a:cubicBezTo>
                      <a:pt x="236" y="488"/>
                      <a:pt x="236" y="488"/>
                      <a:pt x="236" y="488"/>
                    </a:cubicBezTo>
                    <a:cubicBezTo>
                      <a:pt x="239" y="490"/>
                      <a:pt x="241" y="492"/>
                      <a:pt x="243" y="494"/>
                    </a:cubicBezTo>
                    <a:cubicBezTo>
                      <a:pt x="244" y="496"/>
                      <a:pt x="244" y="497"/>
                      <a:pt x="245" y="499"/>
                    </a:cubicBezTo>
                    <a:cubicBezTo>
                      <a:pt x="246" y="500"/>
                      <a:pt x="246" y="500"/>
                      <a:pt x="246" y="500"/>
                    </a:cubicBezTo>
                    <a:cubicBezTo>
                      <a:pt x="248" y="502"/>
                      <a:pt x="249" y="503"/>
                      <a:pt x="251" y="505"/>
                    </a:cubicBezTo>
                    <a:cubicBezTo>
                      <a:pt x="252" y="505"/>
                      <a:pt x="252" y="506"/>
                      <a:pt x="252" y="506"/>
                    </a:cubicBezTo>
                    <a:cubicBezTo>
                      <a:pt x="254" y="506"/>
                      <a:pt x="255" y="506"/>
                      <a:pt x="257" y="506"/>
                    </a:cubicBezTo>
                    <a:cubicBezTo>
                      <a:pt x="259" y="506"/>
                      <a:pt x="260" y="506"/>
                      <a:pt x="262" y="505"/>
                    </a:cubicBezTo>
                    <a:cubicBezTo>
                      <a:pt x="262" y="442"/>
                      <a:pt x="262" y="442"/>
                      <a:pt x="262" y="442"/>
                    </a:cubicBezTo>
                    <a:cubicBezTo>
                      <a:pt x="262" y="423"/>
                      <a:pt x="262" y="404"/>
                      <a:pt x="262" y="384"/>
                    </a:cubicBezTo>
                    <a:cubicBezTo>
                      <a:pt x="262" y="383"/>
                      <a:pt x="262" y="383"/>
                      <a:pt x="262" y="383"/>
                    </a:cubicBezTo>
                    <a:cubicBezTo>
                      <a:pt x="262" y="380"/>
                      <a:pt x="264" y="379"/>
                      <a:pt x="267" y="378"/>
                    </a:cubicBezTo>
                    <a:cubicBezTo>
                      <a:pt x="269" y="377"/>
                      <a:pt x="272" y="376"/>
                      <a:pt x="274" y="376"/>
                    </a:cubicBezTo>
                    <a:cubicBezTo>
                      <a:pt x="275" y="376"/>
                      <a:pt x="276" y="375"/>
                      <a:pt x="277" y="375"/>
                    </a:cubicBezTo>
                    <a:cubicBezTo>
                      <a:pt x="289" y="372"/>
                      <a:pt x="302" y="368"/>
                      <a:pt x="314" y="365"/>
                    </a:cubicBezTo>
                    <a:cubicBezTo>
                      <a:pt x="326" y="362"/>
                      <a:pt x="326" y="362"/>
                      <a:pt x="326" y="362"/>
                    </a:cubicBezTo>
                    <a:cubicBezTo>
                      <a:pt x="329" y="361"/>
                      <a:pt x="332" y="360"/>
                      <a:pt x="334" y="360"/>
                    </a:cubicBezTo>
                    <a:cubicBezTo>
                      <a:pt x="337" y="359"/>
                      <a:pt x="337" y="359"/>
                      <a:pt x="337" y="359"/>
                    </a:cubicBezTo>
                    <a:cubicBezTo>
                      <a:pt x="337" y="359"/>
                      <a:pt x="337" y="359"/>
                      <a:pt x="338" y="359"/>
                    </a:cubicBezTo>
                    <a:cubicBezTo>
                      <a:pt x="339" y="359"/>
                      <a:pt x="340" y="359"/>
                      <a:pt x="341" y="360"/>
                    </a:cubicBezTo>
                    <a:cubicBezTo>
                      <a:pt x="341" y="358"/>
                      <a:pt x="341" y="356"/>
                      <a:pt x="342" y="354"/>
                    </a:cubicBezTo>
                    <a:cubicBezTo>
                      <a:pt x="343" y="353"/>
                      <a:pt x="345" y="351"/>
                      <a:pt x="347" y="351"/>
                    </a:cubicBezTo>
                    <a:cubicBezTo>
                      <a:pt x="347" y="351"/>
                      <a:pt x="347" y="351"/>
                      <a:pt x="348" y="351"/>
                    </a:cubicBezTo>
                    <a:cubicBezTo>
                      <a:pt x="348" y="351"/>
                      <a:pt x="349" y="351"/>
                      <a:pt x="350" y="351"/>
                    </a:cubicBezTo>
                    <a:cubicBezTo>
                      <a:pt x="350" y="351"/>
                      <a:pt x="350" y="351"/>
                      <a:pt x="350" y="351"/>
                    </a:cubicBezTo>
                    <a:cubicBezTo>
                      <a:pt x="350" y="351"/>
                      <a:pt x="350" y="351"/>
                      <a:pt x="350" y="351"/>
                    </a:cubicBezTo>
                    <a:cubicBezTo>
                      <a:pt x="351" y="351"/>
                      <a:pt x="351" y="351"/>
                      <a:pt x="351" y="351"/>
                    </a:cubicBezTo>
                    <a:cubicBezTo>
                      <a:pt x="351" y="351"/>
                      <a:pt x="351" y="350"/>
                      <a:pt x="351" y="350"/>
                    </a:cubicBezTo>
                    <a:cubicBezTo>
                      <a:pt x="351" y="350"/>
                      <a:pt x="351" y="350"/>
                      <a:pt x="351" y="350"/>
                    </a:cubicBezTo>
                    <a:cubicBezTo>
                      <a:pt x="351" y="350"/>
                      <a:pt x="352" y="350"/>
                      <a:pt x="353" y="350"/>
                    </a:cubicBezTo>
                    <a:cubicBezTo>
                      <a:pt x="353" y="350"/>
                      <a:pt x="353" y="350"/>
                      <a:pt x="353" y="350"/>
                    </a:cubicBezTo>
                    <a:cubicBezTo>
                      <a:pt x="353" y="350"/>
                      <a:pt x="353" y="350"/>
                      <a:pt x="353" y="350"/>
                    </a:cubicBezTo>
                    <a:cubicBezTo>
                      <a:pt x="354" y="350"/>
                      <a:pt x="354" y="350"/>
                      <a:pt x="354" y="350"/>
                    </a:cubicBezTo>
                    <a:cubicBezTo>
                      <a:pt x="355" y="350"/>
                      <a:pt x="355" y="350"/>
                      <a:pt x="355" y="350"/>
                    </a:cubicBezTo>
                    <a:cubicBezTo>
                      <a:pt x="356" y="350"/>
                      <a:pt x="356" y="350"/>
                      <a:pt x="356" y="350"/>
                    </a:cubicBezTo>
                    <a:cubicBezTo>
                      <a:pt x="357" y="350"/>
                      <a:pt x="358" y="348"/>
                      <a:pt x="359" y="348"/>
                    </a:cubicBezTo>
                    <a:cubicBezTo>
                      <a:pt x="359" y="348"/>
                      <a:pt x="359" y="348"/>
                      <a:pt x="359" y="348"/>
                    </a:cubicBezTo>
                    <a:cubicBezTo>
                      <a:pt x="363" y="348"/>
                      <a:pt x="359" y="351"/>
                      <a:pt x="358" y="353"/>
                    </a:cubicBezTo>
                    <a:cubicBezTo>
                      <a:pt x="357" y="355"/>
                      <a:pt x="356" y="358"/>
                      <a:pt x="359" y="359"/>
                    </a:cubicBezTo>
                    <a:cubicBezTo>
                      <a:pt x="359" y="359"/>
                      <a:pt x="359" y="359"/>
                      <a:pt x="359" y="359"/>
                    </a:cubicBezTo>
                    <a:cubicBezTo>
                      <a:pt x="359" y="359"/>
                      <a:pt x="360" y="358"/>
                      <a:pt x="361" y="358"/>
                    </a:cubicBezTo>
                    <a:cubicBezTo>
                      <a:pt x="361" y="358"/>
                      <a:pt x="362" y="358"/>
                      <a:pt x="362" y="358"/>
                    </a:cubicBezTo>
                    <a:cubicBezTo>
                      <a:pt x="363" y="358"/>
                      <a:pt x="363" y="358"/>
                      <a:pt x="363" y="360"/>
                    </a:cubicBezTo>
                    <a:cubicBezTo>
                      <a:pt x="364" y="359"/>
                      <a:pt x="365" y="357"/>
                      <a:pt x="366" y="357"/>
                    </a:cubicBezTo>
                    <a:cubicBezTo>
                      <a:pt x="366" y="357"/>
                      <a:pt x="366" y="357"/>
                      <a:pt x="366" y="357"/>
                    </a:cubicBezTo>
                    <a:cubicBezTo>
                      <a:pt x="367" y="357"/>
                      <a:pt x="369" y="357"/>
                      <a:pt x="369" y="358"/>
                    </a:cubicBezTo>
                    <a:cubicBezTo>
                      <a:pt x="370" y="357"/>
                      <a:pt x="369" y="355"/>
                      <a:pt x="369" y="354"/>
                    </a:cubicBezTo>
                    <a:cubicBezTo>
                      <a:pt x="369" y="353"/>
                      <a:pt x="370" y="351"/>
                      <a:pt x="370" y="350"/>
                    </a:cubicBezTo>
                    <a:cubicBezTo>
                      <a:pt x="372" y="346"/>
                      <a:pt x="372" y="345"/>
                      <a:pt x="369" y="342"/>
                    </a:cubicBezTo>
                    <a:cubicBezTo>
                      <a:pt x="368" y="341"/>
                      <a:pt x="367" y="340"/>
                      <a:pt x="367" y="339"/>
                    </a:cubicBezTo>
                    <a:cubicBezTo>
                      <a:pt x="366" y="337"/>
                      <a:pt x="366" y="337"/>
                      <a:pt x="366" y="337"/>
                    </a:cubicBezTo>
                    <a:cubicBezTo>
                      <a:pt x="366" y="337"/>
                      <a:pt x="366" y="337"/>
                      <a:pt x="367" y="337"/>
                    </a:cubicBezTo>
                    <a:cubicBezTo>
                      <a:pt x="367" y="337"/>
                      <a:pt x="367" y="337"/>
                      <a:pt x="367" y="337"/>
                    </a:cubicBezTo>
                    <a:cubicBezTo>
                      <a:pt x="367" y="337"/>
                      <a:pt x="368" y="337"/>
                      <a:pt x="368" y="337"/>
                    </a:cubicBezTo>
                    <a:cubicBezTo>
                      <a:pt x="369" y="337"/>
                      <a:pt x="369" y="337"/>
                      <a:pt x="370" y="337"/>
                    </a:cubicBezTo>
                    <a:cubicBezTo>
                      <a:pt x="372" y="337"/>
                      <a:pt x="373" y="338"/>
                      <a:pt x="374" y="340"/>
                    </a:cubicBezTo>
                    <a:cubicBezTo>
                      <a:pt x="374" y="341"/>
                      <a:pt x="374" y="343"/>
                      <a:pt x="374" y="344"/>
                    </a:cubicBezTo>
                    <a:cubicBezTo>
                      <a:pt x="374" y="345"/>
                      <a:pt x="370" y="346"/>
                      <a:pt x="373" y="347"/>
                    </a:cubicBezTo>
                    <a:cubicBezTo>
                      <a:pt x="373" y="347"/>
                      <a:pt x="373" y="347"/>
                      <a:pt x="373" y="347"/>
                    </a:cubicBezTo>
                    <a:cubicBezTo>
                      <a:pt x="374" y="347"/>
                      <a:pt x="377" y="346"/>
                      <a:pt x="378" y="346"/>
                    </a:cubicBezTo>
                    <a:cubicBezTo>
                      <a:pt x="378" y="346"/>
                      <a:pt x="379" y="346"/>
                      <a:pt x="379" y="346"/>
                    </a:cubicBezTo>
                    <a:cubicBezTo>
                      <a:pt x="380" y="346"/>
                      <a:pt x="380" y="346"/>
                      <a:pt x="380" y="346"/>
                    </a:cubicBezTo>
                    <a:cubicBezTo>
                      <a:pt x="381" y="346"/>
                      <a:pt x="381" y="346"/>
                      <a:pt x="381" y="346"/>
                    </a:cubicBezTo>
                    <a:cubicBezTo>
                      <a:pt x="382" y="346"/>
                      <a:pt x="382" y="346"/>
                      <a:pt x="382" y="346"/>
                    </a:cubicBezTo>
                    <a:cubicBezTo>
                      <a:pt x="384" y="346"/>
                      <a:pt x="386" y="345"/>
                      <a:pt x="388" y="345"/>
                    </a:cubicBezTo>
                    <a:cubicBezTo>
                      <a:pt x="389" y="345"/>
                      <a:pt x="389" y="345"/>
                      <a:pt x="390" y="345"/>
                    </a:cubicBezTo>
                    <a:cubicBezTo>
                      <a:pt x="393" y="346"/>
                      <a:pt x="397" y="345"/>
                      <a:pt x="400" y="347"/>
                    </a:cubicBezTo>
                    <a:cubicBezTo>
                      <a:pt x="399" y="349"/>
                      <a:pt x="396" y="348"/>
                      <a:pt x="395" y="350"/>
                    </a:cubicBezTo>
                    <a:cubicBezTo>
                      <a:pt x="393" y="352"/>
                      <a:pt x="393" y="353"/>
                      <a:pt x="391" y="353"/>
                    </a:cubicBezTo>
                    <a:cubicBezTo>
                      <a:pt x="391" y="353"/>
                      <a:pt x="390" y="353"/>
                      <a:pt x="389" y="353"/>
                    </a:cubicBezTo>
                    <a:cubicBezTo>
                      <a:pt x="387" y="353"/>
                      <a:pt x="385" y="352"/>
                      <a:pt x="382" y="352"/>
                    </a:cubicBezTo>
                    <a:cubicBezTo>
                      <a:pt x="381" y="352"/>
                      <a:pt x="379" y="351"/>
                      <a:pt x="377" y="351"/>
                    </a:cubicBezTo>
                    <a:cubicBezTo>
                      <a:pt x="377" y="351"/>
                      <a:pt x="376" y="351"/>
                      <a:pt x="376" y="352"/>
                    </a:cubicBezTo>
                    <a:cubicBezTo>
                      <a:pt x="376" y="351"/>
                      <a:pt x="376" y="351"/>
                      <a:pt x="377" y="350"/>
                    </a:cubicBezTo>
                    <a:cubicBezTo>
                      <a:pt x="376" y="350"/>
                      <a:pt x="375" y="350"/>
                      <a:pt x="374" y="350"/>
                    </a:cubicBezTo>
                    <a:cubicBezTo>
                      <a:pt x="374" y="350"/>
                      <a:pt x="373" y="350"/>
                      <a:pt x="373" y="350"/>
                    </a:cubicBezTo>
                    <a:cubicBezTo>
                      <a:pt x="375" y="351"/>
                      <a:pt x="375" y="352"/>
                      <a:pt x="373" y="352"/>
                    </a:cubicBezTo>
                    <a:cubicBezTo>
                      <a:pt x="374" y="353"/>
                      <a:pt x="375" y="353"/>
                      <a:pt x="375" y="354"/>
                    </a:cubicBezTo>
                    <a:cubicBezTo>
                      <a:pt x="375" y="354"/>
                      <a:pt x="373" y="354"/>
                      <a:pt x="372" y="354"/>
                    </a:cubicBezTo>
                    <a:cubicBezTo>
                      <a:pt x="372" y="355"/>
                      <a:pt x="376" y="356"/>
                      <a:pt x="373" y="356"/>
                    </a:cubicBezTo>
                    <a:cubicBezTo>
                      <a:pt x="375" y="358"/>
                      <a:pt x="369" y="361"/>
                      <a:pt x="373" y="363"/>
                    </a:cubicBezTo>
                    <a:cubicBezTo>
                      <a:pt x="373" y="364"/>
                      <a:pt x="374" y="364"/>
                      <a:pt x="374" y="364"/>
                    </a:cubicBezTo>
                    <a:cubicBezTo>
                      <a:pt x="375" y="364"/>
                      <a:pt x="376" y="364"/>
                      <a:pt x="377" y="363"/>
                    </a:cubicBezTo>
                    <a:cubicBezTo>
                      <a:pt x="378" y="363"/>
                      <a:pt x="378" y="363"/>
                      <a:pt x="379" y="363"/>
                    </a:cubicBezTo>
                    <a:cubicBezTo>
                      <a:pt x="380" y="363"/>
                      <a:pt x="381" y="363"/>
                      <a:pt x="382" y="365"/>
                    </a:cubicBezTo>
                    <a:cubicBezTo>
                      <a:pt x="385" y="370"/>
                      <a:pt x="383" y="378"/>
                      <a:pt x="383" y="383"/>
                    </a:cubicBezTo>
                    <a:cubicBezTo>
                      <a:pt x="385" y="385"/>
                      <a:pt x="385" y="385"/>
                      <a:pt x="385" y="385"/>
                    </a:cubicBezTo>
                    <a:cubicBezTo>
                      <a:pt x="386" y="385"/>
                      <a:pt x="387" y="386"/>
                      <a:pt x="389" y="387"/>
                    </a:cubicBezTo>
                    <a:cubicBezTo>
                      <a:pt x="401" y="394"/>
                      <a:pt x="411" y="400"/>
                      <a:pt x="414" y="404"/>
                    </a:cubicBezTo>
                    <a:cubicBezTo>
                      <a:pt x="417" y="409"/>
                      <a:pt x="421" y="414"/>
                      <a:pt x="422" y="415"/>
                    </a:cubicBezTo>
                    <a:cubicBezTo>
                      <a:pt x="425" y="418"/>
                      <a:pt x="429" y="421"/>
                      <a:pt x="432" y="425"/>
                    </a:cubicBezTo>
                    <a:cubicBezTo>
                      <a:pt x="433" y="426"/>
                      <a:pt x="433" y="426"/>
                      <a:pt x="434" y="427"/>
                    </a:cubicBezTo>
                    <a:cubicBezTo>
                      <a:pt x="434" y="428"/>
                      <a:pt x="434" y="428"/>
                      <a:pt x="434" y="428"/>
                    </a:cubicBezTo>
                    <a:cubicBezTo>
                      <a:pt x="435" y="428"/>
                      <a:pt x="436" y="429"/>
                      <a:pt x="437" y="430"/>
                    </a:cubicBezTo>
                    <a:cubicBezTo>
                      <a:pt x="437" y="430"/>
                      <a:pt x="438" y="431"/>
                      <a:pt x="438" y="431"/>
                    </a:cubicBezTo>
                    <a:cubicBezTo>
                      <a:pt x="439" y="431"/>
                      <a:pt x="439" y="431"/>
                      <a:pt x="440" y="431"/>
                    </a:cubicBezTo>
                    <a:cubicBezTo>
                      <a:pt x="440" y="431"/>
                      <a:pt x="440" y="431"/>
                      <a:pt x="440" y="431"/>
                    </a:cubicBezTo>
                    <a:cubicBezTo>
                      <a:pt x="444" y="430"/>
                      <a:pt x="449" y="430"/>
                      <a:pt x="453" y="429"/>
                    </a:cubicBezTo>
                    <a:cubicBezTo>
                      <a:pt x="458" y="428"/>
                      <a:pt x="464" y="427"/>
                      <a:pt x="470" y="426"/>
                    </a:cubicBezTo>
                    <a:cubicBezTo>
                      <a:pt x="472" y="426"/>
                      <a:pt x="473" y="426"/>
                      <a:pt x="474" y="426"/>
                    </a:cubicBezTo>
                    <a:cubicBezTo>
                      <a:pt x="479" y="426"/>
                      <a:pt x="483" y="427"/>
                      <a:pt x="487" y="427"/>
                    </a:cubicBezTo>
                    <a:cubicBezTo>
                      <a:pt x="489" y="427"/>
                      <a:pt x="489" y="427"/>
                      <a:pt x="489" y="427"/>
                    </a:cubicBezTo>
                    <a:cubicBezTo>
                      <a:pt x="492" y="427"/>
                      <a:pt x="494" y="427"/>
                      <a:pt x="497" y="428"/>
                    </a:cubicBezTo>
                    <a:cubicBezTo>
                      <a:pt x="505" y="428"/>
                      <a:pt x="505" y="428"/>
                      <a:pt x="505" y="428"/>
                    </a:cubicBezTo>
                    <a:cubicBezTo>
                      <a:pt x="507" y="428"/>
                      <a:pt x="509" y="428"/>
                      <a:pt x="510" y="427"/>
                    </a:cubicBezTo>
                    <a:cubicBezTo>
                      <a:pt x="511" y="427"/>
                      <a:pt x="511" y="427"/>
                      <a:pt x="511" y="427"/>
                    </a:cubicBezTo>
                    <a:cubicBezTo>
                      <a:pt x="511" y="426"/>
                      <a:pt x="512" y="426"/>
                      <a:pt x="512" y="426"/>
                    </a:cubicBezTo>
                    <a:cubicBezTo>
                      <a:pt x="515" y="424"/>
                      <a:pt x="517" y="423"/>
                      <a:pt x="519" y="423"/>
                    </a:cubicBezTo>
                    <a:cubicBezTo>
                      <a:pt x="520" y="423"/>
                      <a:pt x="520" y="423"/>
                      <a:pt x="520" y="423"/>
                    </a:cubicBezTo>
                    <a:cubicBezTo>
                      <a:pt x="522" y="423"/>
                      <a:pt x="523" y="424"/>
                      <a:pt x="525" y="426"/>
                    </a:cubicBezTo>
                    <a:cubicBezTo>
                      <a:pt x="526" y="427"/>
                      <a:pt x="528" y="429"/>
                      <a:pt x="530" y="431"/>
                    </a:cubicBezTo>
                    <a:cubicBezTo>
                      <a:pt x="532" y="433"/>
                      <a:pt x="532" y="433"/>
                      <a:pt x="532" y="433"/>
                    </a:cubicBezTo>
                    <a:cubicBezTo>
                      <a:pt x="533" y="434"/>
                      <a:pt x="533" y="434"/>
                      <a:pt x="533" y="434"/>
                    </a:cubicBezTo>
                    <a:cubicBezTo>
                      <a:pt x="535" y="436"/>
                      <a:pt x="535" y="436"/>
                      <a:pt x="535" y="436"/>
                    </a:cubicBezTo>
                    <a:cubicBezTo>
                      <a:pt x="538" y="439"/>
                      <a:pt x="541" y="441"/>
                      <a:pt x="544" y="445"/>
                    </a:cubicBezTo>
                    <a:cubicBezTo>
                      <a:pt x="546" y="447"/>
                      <a:pt x="546" y="447"/>
                      <a:pt x="546" y="447"/>
                    </a:cubicBezTo>
                    <a:cubicBezTo>
                      <a:pt x="546" y="448"/>
                      <a:pt x="547" y="448"/>
                      <a:pt x="547" y="449"/>
                    </a:cubicBezTo>
                    <a:cubicBezTo>
                      <a:pt x="548" y="449"/>
                      <a:pt x="548" y="450"/>
                      <a:pt x="549" y="450"/>
                    </a:cubicBezTo>
                    <a:cubicBezTo>
                      <a:pt x="552" y="449"/>
                      <a:pt x="552" y="449"/>
                      <a:pt x="552" y="449"/>
                    </a:cubicBezTo>
                    <a:cubicBezTo>
                      <a:pt x="552" y="449"/>
                      <a:pt x="553" y="449"/>
                      <a:pt x="553" y="449"/>
                    </a:cubicBezTo>
                    <a:cubicBezTo>
                      <a:pt x="554" y="449"/>
                      <a:pt x="556" y="449"/>
                      <a:pt x="556" y="450"/>
                    </a:cubicBezTo>
                    <a:cubicBezTo>
                      <a:pt x="558" y="452"/>
                      <a:pt x="558" y="456"/>
                      <a:pt x="557" y="462"/>
                    </a:cubicBezTo>
                    <a:cubicBezTo>
                      <a:pt x="557" y="462"/>
                      <a:pt x="557" y="462"/>
                      <a:pt x="557" y="462"/>
                    </a:cubicBezTo>
                    <a:cubicBezTo>
                      <a:pt x="556" y="464"/>
                      <a:pt x="556" y="466"/>
                      <a:pt x="556" y="468"/>
                    </a:cubicBezTo>
                    <a:cubicBezTo>
                      <a:pt x="556" y="470"/>
                      <a:pt x="555" y="473"/>
                      <a:pt x="555" y="475"/>
                    </a:cubicBezTo>
                    <a:cubicBezTo>
                      <a:pt x="555" y="475"/>
                      <a:pt x="555" y="476"/>
                      <a:pt x="555" y="477"/>
                    </a:cubicBezTo>
                    <a:cubicBezTo>
                      <a:pt x="555" y="478"/>
                      <a:pt x="555" y="478"/>
                      <a:pt x="555" y="478"/>
                    </a:cubicBezTo>
                    <a:cubicBezTo>
                      <a:pt x="555" y="478"/>
                      <a:pt x="555" y="479"/>
                      <a:pt x="555" y="480"/>
                    </a:cubicBezTo>
                    <a:cubicBezTo>
                      <a:pt x="555" y="481"/>
                      <a:pt x="555" y="482"/>
                      <a:pt x="555" y="482"/>
                    </a:cubicBezTo>
                    <a:cubicBezTo>
                      <a:pt x="555" y="482"/>
                      <a:pt x="555" y="482"/>
                      <a:pt x="555" y="482"/>
                    </a:cubicBezTo>
                    <a:cubicBezTo>
                      <a:pt x="555" y="482"/>
                      <a:pt x="555" y="482"/>
                      <a:pt x="556" y="482"/>
                    </a:cubicBezTo>
                    <a:cubicBezTo>
                      <a:pt x="556" y="482"/>
                      <a:pt x="556" y="482"/>
                      <a:pt x="556" y="482"/>
                    </a:cubicBezTo>
                    <a:cubicBezTo>
                      <a:pt x="556" y="482"/>
                      <a:pt x="557" y="482"/>
                      <a:pt x="557" y="482"/>
                    </a:cubicBezTo>
                    <a:cubicBezTo>
                      <a:pt x="558" y="482"/>
                      <a:pt x="558" y="482"/>
                      <a:pt x="558" y="482"/>
                    </a:cubicBezTo>
                    <a:cubicBezTo>
                      <a:pt x="559" y="482"/>
                      <a:pt x="561" y="482"/>
                      <a:pt x="562" y="482"/>
                    </a:cubicBezTo>
                    <a:cubicBezTo>
                      <a:pt x="564" y="482"/>
                      <a:pt x="566" y="482"/>
                      <a:pt x="567" y="483"/>
                    </a:cubicBezTo>
                    <a:cubicBezTo>
                      <a:pt x="568" y="485"/>
                      <a:pt x="569" y="486"/>
                      <a:pt x="569" y="487"/>
                    </a:cubicBezTo>
                    <a:cubicBezTo>
                      <a:pt x="569" y="488"/>
                      <a:pt x="569" y="489"/>
                      <a:pt x="569" y="491"/>
                    </a:cubicBezTo>
                    <a:cubicBezTo>
                      <a:pt x="569" y="491"/>
                      <a:pt x="569" y="491"/>
                      <a:pt x="569" y="491"/>
                    </a:cubicBezTo>
                    <a:cubicBezTo>
                      <a:pt x="569" y="492"/>
                      <a:pt x="569" y="492"/>
                      <a:pt x="569" y="492"/>
                    </a:cubicBezTo>
                    <a:cubicBezTo>
                      <a:pt x="570" y="495"/>
                      <a:pt x="571" y="499"/>
                      <a:pt x="572" y="502"/>
                    </a:cubicBezTo>
                    <a:cubicBezTo>
                      <a:pt x="573" y="506"/>
                      <a:pt x="573" y="506"/>
                      <a:pt x="573" y="506"/>
                    </a:cubicBezTo>
                    <a:cubicBezTo>
                      <a:pt x="573" y="508"/>
                      <a:pt x="573" y="508"/>
                      <a:pt x="573" y="508"/>
                    </a:cubicBezTo>
                    <a:cubicBezTo>
                      <a:pt x="574" y="511"/>
                      <a:pt x="574" y="511"/>
                      <a:pt x="574" y="511"/>
                    </a:cubicBezTo>
                    <a:cubicBezTo>
                      <a:pt x="596" y="510"/>
                      <a:pt x="596" y="510"/>
                      <a:pt x="596" y="510"/>
                    </a:cubicBezTo>
                    <a:cubicBezTo>
                      <a:pt x="597" y="510"/>
                      <a:pt x="597" y="510"/>
                      <a:pt x="598" y="510"/>
                    </a:cubicBezTo>
                    <a:cubicBezTo>
                      <a:pt x="599" y="510"/>
                      <a:pt x="601" y="510"/>
                      <a:pt x="602" y="510"/>
                    </a:cubicBezTo>
                    <a:cubicBezTo>
                      <a:pt x="603" y="510"/>
                      <a:pt x="604" y="510"/>
                      <a:pt x="605" y="510"/>
                    </a:cubicBezTo>
                    <a:cubicBezTo>
                      <a:pt x="605" y="510"/>
                      <a:pt x="605" y="510"/>
                      <a:pt x="605" y="510"/>
                    </a:cubicBezTo>
                    <a:cubicBezTo>
                      <a:pt x="605" y="510"/>
                      <a:pt x="606" y="510"/>
                      <a:pt x="607" y="510"/>
                    </a:cubicBezTo>
                    <a:cubicBezTo>
                      <a:pt x="607" y="511"/>
                      <a:pt x="607" y="511"/>
                      <a:pt x="607" y="511"/>
                    </a:cubicBezTo>
                    <a:cubicBezTo>
                      <a:pt x="608" y="512"/>
                      <a:pt x="608" y="512"/>
                      <a:pt x="608" y="512"/>
                    </a:cubicBezTo>
                    <a:cubicBezTo>
                      <a:pt x="608" y="512"/>
                      <a:pt x="608" y="512"/>
                      <a:pt x="608" y="512"/>
                    </a:cubicBezTo>
                    <a:cubicBezTo>
                      <a:pt x="609" y="513"/>
                      <a:pt x="609" y="513"/>
                      <a:pt x="609" y="513"/>
                    </a:cubicBezTo>
                    <a:cubicBezTo>
                      <a:pt x="609" y="513"/>
                      <a:pt x="609" y="513"/>
                      <a:pt x="609" y="513"/>
                    </a:cubicBezTo>
                    <a:cubicBezTo>
                      <a:pt x="610" y="514"/>
                      <a:pt x="611" y="514"/>
                      <a:pt x="612" y="515"/>
                    </a:cubicBezTo>
                    <a:cubicBezTo>
                      <a:pt x="613" y="515"/>
                      <a:pt x="614" y="517"/>
                      <a:pt x="614" y="518"/>
                    </a:cubicBezTo>
                    <a:cubicBezTo>
                      <a:pt x="614" y="518"/>
                      <a:pt x="614" y="519"/>
                      <a:pt x="614" y="519"/>
                    </a:cubicBezTo>
                    <a:cubicBezTo>
                      <a:pt x="615" y="521"/>
                      <a:pt x="614" y="523"/>
                      <a:pt x="613" y="525"/>
                    </a:cubicBezTo>
                    <a:cubicBezTo>
                      <a:pt x="615" y="527"/>
                      <a:pt x="618" y="528"/>
                      <a:pt x="621" y="529"/>
                    </a:cubicBezTo>
                    <a:cubicBezTo>
                      <a:pt x="622" y="530"/>
                      <a:pt x="622" y="530"/>
                      <a:pt x="622" y="530"/>
                    </a:cubicBezTo>
                    <a:cubicBezTo>
                      <a:pt x="622" y="529"/>
                      <a:pt x="622" y="528"/>
                      <a:pt x="622" y="527"/>
                    </a:cubicBezTo>
                    <a:cubicBezTo>
                      <a:pt x="622" y="524"/>
                      <a:pt x="622" y="524"/>
                      <a:pt x="622" y="524"/>
                    </a:cubicBezTo>
                    <a:cubicBezTo>
                      <a:pt x="622" y="519"/>
                      <a:pt x="626" y="515"/>
                      <a:pt x="630" y="513"/>
                    </a:cubicBezTo>
                    <a:cubicBezTo>
                      <a:pt x="631" y="512"/>
                      <a:pt x="632" y="512"/>
                      <a:pt x="632" y="511"/>
                    </a:cubicBezTo>
                    <a:cubicBezTo>
                      <a:pt x="633" y="511"/>
                      <a:pt x="633" y="511"/>
                      <a:pt x="633" y="511"/>
                    </a:cubicBezTo>
                    <a:cubicBezTo>
                      <a:pt x="634" y="510"/>
                      <a:pt x="634" y="510"/>
                      <a:pt x="634" y="510"/>
                    </a:cubicBezTo>
                    <a:cubicBezTo>
                      <a:pt x="634" y="509"/>
                      <a:pt x="634" y="509"/>
                      <a:pt x="634" y="509"/>
                    </a:cubicBezTo>
                    <a:cubicBezTo>
                      <a:pt x="636" y="508"/>
                      <a:pt x="638" y="506"/>
                      <a:pt x="640" y="505"/>
                    </a:cubicBezTo>
                    <a:cubicBezTo>
                      <a:pt x="640" y="504"/>
                      <a:pt x="640" y="504"/>
                      <a:pt x="640" y="504"/>
                    </a:cubicBezTo>
                    <a:cubicBezTo>
                      <a:pt x="641" y="504"/>
                      <a:pt x="641" y="504"/>
                      <a:pt x="641" y="504"/>
                    </a:cubicBezTo>
                    <a:cubicBezTo>
                      <a:pt x="643" y="502"/>
                      <a:pt x="646" y="500"/>
                      <a:pt x="648" y="498"/>
                    </a:cubicBezTo>
                    <a:cubicBezTo>
                      <a:pt x="653" y="495"/>
                      <a:pt x="657" y="492"/>
                      <a:pt x="661" y="490"/>
                    </a:cubicBezTo>
                    <a:cubicBezTo>
                      <a:pt x="686" y="476"/>
                      <a:pt x="686" y="476"/>
                      <a:pt x="686" y="476"/>
                    </a:cubicBezTo>
                    <a:cubicBezTo>
                      <a:pt x="686" y="475"/>
                      <a:pt x="686" y="474"/>
                      <a:pt x="686" y="474"/>
                    </a:cubicBezTo>
                    <a:cubicBezTo>
                      <a:pt x="686" y="472"/>
                      <a:pt x="687" y="471"/>
                      <a:pt x="688" y="470"/>
                    </a:cubicBezTo>
                    <a:cubicBezTo>
                      <a:pt x="689" y="469"/>
                      <a:pt x="691" y="467"/>
                      <a:pt x="692" y="466"/>
                    </a:cubicBezTo>
                    <a:cubicBezTo>
                      <a:pt x="694" y="464"/>
                      <a:pt x="694" y="464"/>
                      <a:pt x="694" y="464"/>
                    </a:cubicBezTo>
                    <a:cubicBezTo>
                      <a:pt x="694" y="464"/>
                      <a:pt x="695" y="464"/>
                      <a:pt x="695" y="463"/>
                    </a:cubicBezTo>
                    <a:cubicBezTo>
                      <a:pt x="696" y="461"/>
                      <a:pt x="698" y="460"/>
                      <a:pt x="699" y="458"/>
                    </a:cubicBezTo>
                    <a:cubicBezTo>
                      <a:pt x="700" y="458"/>
                      <a:pt x="701" y="458"/>
                      <a:pt x="701" y="457"/>
                    </a:cubicBezTo>
                    <a:cubicBezTo>
                      <a:pt x="703" y="457"/>
                      <a:pt x="704" y="457"/>
                      <a:pt x="705" y="457"/>
                    </a:cubicBezTo>
                    <a:cubicBezTo>
                      <a:pt x="706" y="457"/>
                      <a:pt x="707" y="457"/>
                      <a:pt x="707" y="457"/>
                    </a:cubicBezTo>
                    <a:cubicBezTo>
                      <a:pt x="708" y="457"/>
                      <a:pt x="708" y="457"/>
                      <a:pt x="708" y="457"/>
                    </a:cubicBezTo>
                    <a:cubicBezTo>
                      <a:pt x="709" y="457"/>
                      <a:pt x="709" y="457"/>
                      <a:pt x="710" y="457"/>
                    </a:cubicBezTo>
                    <a:cubicBezTo>
                      <a:pt x="724" y="457"/>
                      <a:pt x="724" y="457"/>
                      <a:pt x="724" y="457"/>
                    </a:cubicBezTo>
                    <a:cubicBezTo>
                      <a:pt x="724" y="457"/>
                      <a:pt x="724" y="457"/>
                      <a:pt x="724" y="457"/>
                    </a:cubicBezTo>
                    <a:cubicBezTo>
                      <a:pt x="727" y="457"/>
                      <a:pt x="730" y="458"/>
                      <a:pt x="733" y="458"/>
                    </a:cubicBezTo>
                    <a:cubicBezTo>
                      <a:pt x="740" y="460"/>
                      <a:pt x="747" y="462"/>
                      <a:pt x="753" y="465"/>
                    </a:cubicBezTo>
                    <a:cubicBezTo>
                      <a:pt x="757" y="466"/>
                      <a:pt x="757" y="466"/>
                      <a:pt x="757" y="466"/>
                    </a:cubicBezTo>
                    <a:cubicBezTo>
                      <a:pt x="757" y="466"/>
                      <a:pt x="758" y="466"/>
                      <a:pt x="759" y="466"/>
                    </a:cubicBezTo>
                    <a:cubicBezTo>
                      <a:pt x="757" y="458"/>
                      <a:pt x="761" y="449"/>
                      <a:pt x="769" y="445"/>
                    </a:cubicBezTo>
                    <a:cubicBezTo>
                      <a:pt x="767" y="438"/>
                      <a:pt x="767" y="438"/>
                      <a:pt x="767" y="438"/>
                    </a:cubicBezTo>
                    <a:cubicBezTo>
                      <a:pt x="771" y="444"/>
                      <a:pt x="771" y="444"/>
                      <a:pt x="771" y="444"/>
                    </a:cubicBezTo>
                    <a:cubicBezTo>
                      <a:pt x="774" y="443"/>
                      <a:pt x="777" y="442"/>
                      <a:pt x="781" y="441"/>
                    </a:cubicBezTo>
                    <a:cubicBezTo>
                      <a:pt x="782" y="442"/>
                      <a:pt x="782" y="442"/>
                      <a:pt x="782" y="442"/>
                    </a:cubicBezTo>
                    <a:cubicBezTo>
                      <a:pt x="783" y="442"/>
                      <a:pt x="783" y="442"/>
                      <a:pt x="784" y="442"/>
                    </a:cubicBezTo>
                    <a:cubicBezTo>
                      <a:pt x="787" y="442"/>
                      <a:pt x="790" y="442"/>
                      <a:pt x="793" y="444"/>
                    </a:cubicBezTo>
                    <a:cubicBezTo>
                      <a:pt x="795" y="445"/>
                      <a:pt x="796" y="446"/>
                      <a:pt x="797" y="447"/>
                    </a:cubicBezTo>
                    <a:cubicBezTo>
                      <a:pt x="798" y="447"/>
                      <a:pt x="798" y="447"/>
                      <a:pt x="798" y="447"/>
                    </a:cubicBezTo>
                    <a:cubicBezTo>
                      <a:pt x="799" y="448"/>
                      <a:pt x="799" y="448"/>
                      <a:pt x="799" y="448"/>
                    </a:cubicBezTo>
                    <a:cubicBezTo>
                      <a:pt x="801" y="449"/>
                      <a:pt x="802" y="449"/>
                      <a:pt x="804" y="450"/>
                    </a:cubicBezTo>
                    <a:cubicBezTo>
                      <a:pt x="805" y="450"/>
                      <a:pt x="805" y="450"/>
                      <a:pt x="805" y="450"/>
                    </a:cubicBezTo>
                    <a:cubicBezTo>
                      <a:pt x="807" y="451"/>
                      <a:pt x="808" y="451"/>
                      <a:pt x="809" y="452"/>
                    </a:cubicBezTo>
                    <a:cubicBezTo>
                      <a:pt x="810" y="452"/>
                      <a:pt x="810" y="452"/>
                      <a:pt x="810" y="452"/>
                    </a:cubicBezTo>
                    <a:cubicBezTo>
                      <a:pt x="811" y="452"/>
                      <a:pt x="812" y="453"/>
                      <a:pt x="813" y="453"/>
                    </a:cubicBezTo>
                    <a:cubicBezTo>
                      <a:pt x="815" y="453"/>
                      <a:pt x="815" y="453"/>
                      <a:pt x="815" y="453"/>
                    </a:cubicBezTo>
                    <a:cubicBezTo>
                      <a:pt x="816" y="453"/>
                      <a:pt x="816" y="453"/>
                      <a:pt x="817" y="453"/>
                    </a:cubicBezTo>
                    <a:cubicBezTo>
                      <a:pt x="817" y="453"/>
                      <a:pt x="817" y="453"/>
                      <a:pt x="817" y="453"/>
                    </a:cubicBezTo>
                    <a:cubicBezTo>
                      <a:pt x="818" y="453"/>
                      <a:pt x="819" y="453"/>
                      <a:pt x="820" y="453"/>
                    </a:cubicBezTo>
                    <a:cubicBezTo>
                      <a:pt x="821" y="453"/>
                      <a:pt x="821" y="453"/>
                      <a:pt x="821" y="453"/>
                    </a:cubicBezTo>
                    <a:cubicBezTo>
                      <a:pt x="822" y="452"/>
                      <a:pt x="823" y="452"/>
                      <a:pt x="824" y="452"/>
                    </a:cubicBezTo>
                    <a:cubicBezTo>
                      <a:pt x="825" y="451"/>
                      <a:pt x="826" y="451"/>
                      <a:pt x="828" y="450"/>
                    </a:cubicBezTo>
                    <a:cubicBezTo>
                      <a:pt x="828" y="450"/>
                      <a:pt x="828" y="450"/>
                      <a:pt x="828" y="450"/>
                    </a:cubicBezTo>
                    <a:cubicBezTo>
                      <a:pt x="829" y="450"/>
                      <a:pt x="830" y="450"/>
                      <a:pt x="831" y="450"/>
                    </a:cubicBezTo>
                    <a:cubicBezTo>
                      <a:pt x="832" y="450"/>
                      <a:pt x="834" y="450"/>
                      <a:pt x="836" y="450"/>
                    </a:cubicBezTo>
                    <a:cubicBezTo>
                      <a:pt x="839" y="450"/>
                      <a:pt x="843" y="450"/>
                      <a:pt x="846" y="450"/>
                    </a:cubicBezTo>
                    <a:cubicBezTo>
                      <a:pt x="846" y="450"/>
                      <a:pt x="846" y="450"/>
                      <a:pt x="846" y="450"/>
                    </a:cubicBezTo>
                    <a:cubicBezTo>
                      <a:pt x="849" y="451"/>
                      <a:pt x="851" y="451"/>
                      <a:pt x="853" y="451"/>
                    </a:cubicBezTo>
                    <a:cubicBezTo>
                      <a:pt x="856" y="451"/>
                      <a:pt x="856" y="451"/>
                      <a:pt x="856" y="451"/>
                    </a:cubicBezTo>
                    <a:cubicBezTo>
                      <a:pt x="862" y="451"/>
                      <a:pt x="868" y="451"/>
                      <a:pt x="874" y="451"/>
                    </a:cubicBezTo>
                    <a:cubicBezTo>
                      <a:pt x="874" y="446"/>
                      <a:pt x="874" y="446"/>
                      <a:pt x="874" y="446"/>
                    </a:cubicBezTo>
                    <a:cubicBezTo>
                      <a:pt x="875" y="451"/>
                      <a:pt x="875" y="451"/>
                      <a:pt x="875" y="451"/>
                    </a:cubicBezTo>
                    <a:cubicBezTo>
                      <a:pt x="876" y="451"/>
                      <a:pt x="876" y="451"/>
                      <a:pt x="876" y="451"/>
                    </a:cubicBezTo>
                    <a:cubicBezTo>
                      <a:pt x="878" y="452"/>
                      <a:pt x="880" y="452"/>
                      <a:pt x="882" y="452"/>
                    </a:cubicBezTo>
                    <a:cubicBezTo>
                      <a:pt x="886" y="452"/>
                      <a:pt x="891" y="453"/>
                      <a:pt x="896" y="453"/>
                    </a:cubicBezTo>
                    <a:cubicBezTo>
                      <a:pt x="898" y="453"/>
                      <a:pt x="899" y="452"/>
                      <a:pt x="900" y="452"/>
                    </a:cubicBezTo>
                    <a:cubicBezTo>
                      <a:pt x="901" y="452"/>
                      <a:pt x="901" y="452"/>
                      <a:pt x="901" y="452"/>
                    </a:cubicBezTo>
                    <a:cubicBezTo>
                      <a:pt x="902" y="452"/>
                      <a:pt x="902" y="452"/>
                      <a:pt x="903" y="452"/>
                    </a:cubicBezTo>
                    <a:cubicBezTo>
                      <a:pt x="904" y="452"/>
                      <a:pt x="904" y="452"/>
                      <a:pt x="905" y="452"/>
                    </a:cubicBezTo>
                    <a:cubicBezTo>
                      <a:pt x="906" y="453"/>
                      <a:pt x="908" y="453"/>
                      <a:pt x="909" y="453"/>
                    </a:cubicBezTo>
                    <a:cubicBezTo>
                      <a:pt x="910" y="453"/>
                      <a:pt x="911" y="454"/>
                      <a:pt x="913" y="454"/>
                    </a:cubicBezTo>
                    <a:cubicBezTo>
                      <a:pt x="915" y="455"/>
                      <a:pt x="915" y="455"/>
                      <a:pt x="915" y="455"/>
                    </a:cubicBezTo>
                    <a:cubicBezTo>
                      <a:pt x="916" y="455"/>
                      <a:pt x="918" y="456"/>
                      <a:pt x="919" y="456"/>
                    </a:cubicBezTo>
                    <a:cubicBezTo>
                      <a:pt x="920" y="456"/>
                      <a:pt x="920" y="456"/>
                      <a:pt x="920" y="456"/>
                    </a:cubicBezTo>
                    <a:cubicBezTo>
                      <a:pt x="921" y="455"/>
                      <a:pt x="922" y="455"/>
                      <a:pt x="923" y="455"/>
                    </a:cubicBezTo>
                    <a:cubicBezTo>
                      <a:pt x="923" y="455"/>
                      <a:pt x="924" y="455"/>
                      <a:pt x="924" y="455"/>
                    </a:cubicBezTo>
                    <a:cubicBezTo>
                      <a:pt x="925" y="455"/>
                      <a:pt x="925" y="455"/>
                      <a:pt x="925" y="455"/>
                    </a:cubicBezTo>
                    <a:cubicBezTo>
                      <a:pt x="928" y="456"/>
                      <a:pt x="930" y="459"/>
                      <a:pt x="932" y="463"/>
                    </a:cubicBezTo>
                    <a:cubicBezTo>
                      <a:pt x="932" y="464"/>
                      <a:pt x="932" y="464"/>
                      <a:pt x="932" y="464"/>
                    </a:cubicBezTo>
                    <a:cubicBezTo>
                      <a:pt x="934" y="466"/>
                      <a:pt x="935" y="467"/>
                      <a:pt x="938" y="467"/>
                    </a:cubicBezTo>
                    <a:cubicBezTo>
                      <a:pt x="939" y="467"/>
                      <a:pt x="939" y="467"/>
                      <a:pt x="939" y="467"/>
                    </a:cubicBezTo>
                    <a:cubicBezTo>
                      <a:pt x="940" y="467"/>
                      <a:pt x="941" y="467"/>
                      <a:pt x="941" y="467"/>
                    </a:cubicBezTo>
                    <a:cubicBezTo>
                      <a:pt x="942" y="467"/>
                      <a:pt x="942" y="467"/>
                      <a:pt x="942" y="467"/>
                    </a:cubicBezTo>
                    <a:cubicBezTo>
                      <a:pt x="944" y="467"/>
                      <a:pt x="945" y="468"/>
                      <a:pt x="947" y="468"/>
                    </a:cubicBezTo>
                    <a:cubicBezTo>
                      <a:pt x="948" y="469"/>
                      <a:pt x="949" y="470"/>
                      <a:pt x="950" y="470"/>
                    </a:cubicBezTo>
                    <a:cubicBezTo>
                      <a:pt x="951" y="471"/>
                      <a:pt x="951" y="471"/>
                      <a:pt x="951" y="471"/>
                    </a:cubicBezTo>
                    <a:cubicBezTo>
                      <a:pt x="951" y="470"/>
                      <a:pt x="951" y="470"/>
                      <a:pt x="951" y="470"/>
                    </a:cubicBezTo>
                    <a:cubicBezTo>
                      <a:pt x="950" y="468"/>
                      <a:pt x="950" y="468"/>
                      <a:pt x="950" y="468"/>
                    </a:cubicBezTo>
                    <a:cubicBezTo>
                      <a:pt x="949" y="464"/>
                      <a:pt x="950" y="461"/>
                      <a:pt x="951" y="458"/>
                    </a:cubicBezTo>
                    <a:cubicBezTo>
                      <a:pt x="953" y="455"/>
                      <a:pt x="955" y="454"/>
                      <a:pt x="956" y="454"/>
                    </a:cubicBezTo>
                    <a:cubicBezTo>
                      <a:pt x="957" y="454"/>
                      <a:pt x="957" y="454"/>
                      <a:pt x="957" y="454"/>
                    </a:cubicBezTo>
                    <a:cubicBezTo>
                      <a:pt x="955" y="452"/>
                      <a:pt x="955" y="450"/>
                      <a:pt x="956" y="449"/>
                    </a:cubicBezTo>
                    <a:cubicBezTo>
                      <a:pt x="957" y="446"/>
                      <a:pt x="961" y="445"/>
                      <a:pt x="965" y="444"/>
                    </a:cubicBezTo>
                    <a:cubicBezTo>
                      <a:pt x="966" y="444"/>
                      <a:pt x="966" y="444"/>
                      <a:pt x="967" y="444"/>
                    </a:cubicBezTo>
                    <a:cubicBezTo>
                      <a:pt x="967" y="442"/>
                      <a:pt x="966" y="440"/>
                      <a:pt x="966" y="439"/>
                    </a:cubicBezTo>
                    <a:cubicBezTo>
                      <a:pt x="966" y="438"/>
                      <a:pt x="966" y="438"/>
                      <a:pt x="966" y="438"/>
                    </a:cubicBezTo>
                    <a:cubicBezTo>
                      <a:pt x="965" y="437"/>
                      <a:pt x="965" y="437"/>
                      <a:pt x="965" y="437"/>
                    </a:cubicBezTo>
                    <a:cubicBezTo>
                      <a:pt x="965" y="436"/>
                      <a:pt x="965" y="435"/>
                      <a:pt x="964" y="434"/>
                    </a:cubicBezTo>
                    <a:cubicBezTo>
                      <a:pt x="964" y="434"/>
                      <a:pt x="964" y="434"/>
                      <a:pt x="964" y="434"/>
                    </a:cubicBezTo>
                    <a:cubicBezTo>
                      <a:pt x="963" y="431"/>
                      <a:pt x="962" y="428"/>
                      <a:pt x="961" y="426"/>
                    </a:cubicBezTo>
                    <a:cubicBezTo>
                      <a:pt x="960" y="424"/>
                      <a:pt x="959" y="423"/>
                      <a:pt x="959" y="421"/>
                    </a:cubicBezTo>
                    <a:cubicBezTo>
                      <a:pt x="957" y="417"/>
                      <a:pt x="956" y="413"/>
                      <a:pt x="956" y="409"/>
                    </a:cubicBezTo>
                    <a:cubicBezTo>
                      <a:pt x="955" y="407"/>
                      <a:pt x="955" y="407"/>
                      <a:pt x="955" y="407"/>
                    </a:cubicBezTo>
                    <a:cubicBezTo>
                      <a:pt x="954" y="403"/>
                      <a:pt x="954" y="399"/>
                      <a:pt x="955" y="395"/>
                    </a:cubicBezTo>
                    <a:cubicBezTo>
                      <a:pt x="955" y="394"/>
                      <a:pt x="956" y="393"/>
                      <a:pt x="956" y="393"/>
                    </a:cubicBezTo>
                    <a:cubicBezTo>
                      <a:pt x="955" y="392"/>
                      <a:pt x="954" y="392"/>
                      <a:pt x="953" y="392"/>
                    </a:cubicBezTo>
                    <a:cubicBezTo>
                      <a:pt x="953" y="392"/>
                      <a:pt x="952" y="392"/>
                      <a:pt x="952" y="392"/>
                    </a:cubicBezTo>
                    <a:cubicBezTo>
                      <a:pt x="951" y="392"/>
                      <a:pt x="950" y="393"/>
                      <a:pt x="949" y="393"/>
                    </a:cubicBezTo>
                    <a:cubicBezTo>
                      <a:pt x="948" y="393"/>
                      <a:pt x="946" y="392"/>
                      <a:pt x="944" y="391"/>
                    </a:cubicBezTo>
                    <a:cubicBezTo>
                      <a:pt x="943" y="390"/>
                      <a:pt x="943" y="390"/>
                      <a:pt x="943" y="390"/>
                    </a:cubicBezTo>
                    <a:cubicBezTo>
                      <a:pt x="942" y="389"/>
                      <a:pt x="940" y="387"/>
                      <a:pt x="942" y="384"/>
                    </a:cubicBezTo>
                    <a:cubicBezTo>
                      <a:pt x="945" y="379"/>
                      <a:pt x="949" y="378"/>
                      <a:pt x="952" y="378"/>
                    </a:cubicBezTo>
                    <a:cubicBezTo>
                      <a:pt x="953" y="378"/>
                      <a:pt x="953" y="378"/>
                      <a:pt x="953" y="378"/>
                    </a:cubicBezTo>
                    <a:cubicBezTo>
                      <a:pt x="959" y="376"/>
                      <a:pt x="965" y="374"/>
                      <a:pt x="970" y="373"/>
                    </a:cubicBezTo>
                    <a:cubicBezTo>
                      <a:pt x="988" y="368"/>
                      <a:pt x="988" y="368"/>
                      <a:pt x="988" y="368"/>
                    </a:cubicBezTo>
                    <a:cubicBezTo>
                      <a:pt x="988" y="368"/>
                      <a:pt x="988" y="368"/>
                      <a:pt x="989" y="368"/>
                    </a:cubicBezTo>
                    <a:cubicBezTo>
                      <a:pt x="989" y="368"/>
                      <a:pt x="989" y="368"/>
                      <a:pt x="989" y="368"/>
                    </a:cubicBezTo>
                    <a:cubicBezTo>
                      <a:pt x="992" y="367"/>
                      <a:pt x="994" y="366"/>
                      <a:pt x="996" y="366"/>
                    </a:cubicBezTo>
                    <a:cubicBezTo>
                      <a:pt x="997" y="366"/>
                      <a:pt x="997" y="366"/>
                      <a:pt x="998" y="367"/>
                    </a:cubicBezTo>
                    <a:cubicBezTo>
                      <a:pt x="1002" y="368"/>
                      <a:pt x="1002" y="370"/>
                      <a:pt x="1002" y="372"/>
                    </a:cubicBezTo>
                    <a:cubicBezTo>
                      <a:pt x="1002" y="372"/>
                      <a:pt x="1002" y="372"/>
                      <a:pt x="1002" y="372"/>
                    </a:cubicBezTo>
                    <a:cubicBezTo>
                      <a:pt x="1003" y="372"/>
                      <a:pt x="1003" y="372"/>
                      <a:pt x="1004" y="372"/>
                    </a:cubicBezTo>
                    <a:cubicBezTo>
                      <a:pt x="1005" y="372"/>
                      <a:pt x="1007" y="372"/>
                      <a:pt x="1007" y="372"/>
                    </a:cubicBezTo>
                    <a:cubicBezTo>
                      <a:pt x="1009" y="372"/>
                      <a:pt x="1010" y="372"/>
                      <a:pt x="1011" y="372"/>
                    </a:cubicBezTo>
                    <a:cubicBezTo>
                      <a:pt x="1012" y="372"/>
                      <a:pt x="1012" y="372"/>
                      <a:pt x="1012" y="372"/>
                    </a:cubicBezTo>
                    <a:cubicBezTo>
                      <a:pt x="1013" y="372"/>
                      <a:pt x="1015" y="372"/>
                      <a:pt x="1016" y="372"/>
                    </a:cubicBezTo>
                    <a:cubicBezTo>
                      <a:pt x="1017" y="372"/>
                      <a:pt x="1018" y="372"/>
                      <a:pt x="1019" y="372"/>
                    </a:cubicBezTo>
                    <a:cubicBezTo>
                      <a:pt x="1019" y="370"/>
                      <a:pt x="1019" y="369"/>
                      <a:pt x="1019" y="369"/>
                    </a:cubicBezTo>
                    <a:cubicBezTo>
                      <a:pt x="1019" y="369"/>
                      <a:pt x="1019" y="368"/>
                      <a:pt x="1018" y="368"/>
                    </a:cubicBezTo>
                    <a:cubicBezTo>
                      <a:pt x="1017" y="368"/>
                      <a:pt x="1017" y="368"/>
                      <a:pt x="1017" y="368"/>
                    </a:cubicBezTo>
                    <a:cubicBezTo>
                      <a:pt x="1015" y="368"/>
                      <a:pt x="1012" y="367"/>
                      <a:pt x="1011" y="365"/>
                    </a:cubicBezTo>
                    <a:cubicBezTo>
                      <a:pt x="1010" y="364"/>
                      <a:pt x="1010" y="363"/>
                      <a:pt x="1010" y="361"/>
                    </a:cubicBezTo>
                    <a:cubicBezTo>
                      <a:pt x="1030" y="306"/>
                      <a:pt x="1030" y="306"/>
                      <a:pt x="1030" y="306"/>
                    </a:cubicBezTo>
                    <a:cubicBezTo>
                      <a:pt x="1031" y="303"/>
                      <a:pt x="1032" y="300"/>
                      <a:pt x="1037" y="300"/>
                    </a:cubicBezTo>
                    <a:cubicBezTo>
                      <a:pt x="1037" y="300"/>
                      <a:pt x="1038" y="300"/>
                      <a:pt x="1039" y="300"/>
                    </a:cubicBezTo>
                    <a:cubicBezTo>
                      <a:pt x="1041" y="300"/>
                      <a:pt x="1044" y="302"/>
                      <a:pt x="1047" y="304"/>
                    </a:cubicBezTo>
                    <a:cubicBezTo>
                      <a:pt x="1048" y="305"/>
                      <a:pt x="1048" y="305"/>
                      <a:pt x="1048" y="305"/>
                    </a:cubicBezTo>
                    <a:cubicBezTo>
                      <a:pt x="1053" y="307"/>
                      <a:pt x="1059" y="309"/>
                      <a:pt x="1062" y="309"/>
                    </a:cubicBezTo>
                    <a:cubicBezTo>
                      <a:pt x="1063" y="309"/>
                      <a:pt x="1064" y="309"/>
                      <a:pt x="1064" y="309"/>
                    </a:cubicBezTo>
                    <a:cubicBezTo>
                      <a:pt x="1066" y="308"/>
                      <a:pt x="1068" y="307"/>
                      <a:pt x="1071" y="307"/>
                    </a:cubicBezTo>
                    <a:cubicBezTo>
                      <a:pt x="1076" y="307"/>
                      <a:pt x="1082" y="309"/>
                      <a:pt x="1084" y="310"/>
                    </a:cubicBezTo>
                    <a:cubicBezTo>
                      <a:pt x="1086" y="310"/>
                      <a:pt x="1087" y="310"/>
                      <a:pt x="1088" y="310"/>
                    </a:cubicBezTo>
                    <a:cubicBezTo>
                      <a:pt x="1090" y="310"/>
                      <a:pt x="1092" y="310"/>
                      <a:pt x="1095" y="308"/>
                    </a:cubicBezTo>
                    <a:cubicBezTo>
                      <a:pt x="1097" y="307"/>
                      <a:pt x="1097" y="307"/>
                      <a:pt x="1097" y="307"/>
                    </a:cubicBezTo>
                    <a:cubicBezTo>
                      <a:pt x="1104" y="304"/>
                      <a:pt x="1107" y="302"/>
                      <a:pt x="1106" y="297"/>
                    </a:cubicBezTo>
                    <a:cubicBezTo>
                      <a:pt x="1106" y="294"/>
                      <a:pt x="1105" y="290"/>
                      <a:pt x="1104" y="286"/>
                    </a:cubicBezTo>
                    <a:cubicBezTo>
                      <a:pt x="1104" y="283"/>
                      <a:pt x="1103" y="279"/>
                      <a:pt x="1103" y="276"/>
                    </a:cubicBezTo>
                    <a:cubicBezTo>
                      <a:pt x="1102" y="272"/>
                      <a:pt x="1107" y="259"/>
                      <a:pt x="1112" y="257"/>
                    </a:cubicBezTo>
                    <a:cubicBezTo>
                      <a:pt x="1114" y="256"/>
                      <a:pt x="1116" y="256"/>
                      <a:pt x="1118" y="256"/>
                    </a:cubicBezTo>
                    <a:cubicBezTo>
                      <a:pt x="1119" y="256"/>
                      <a:pt x="1119" y="256"/>
                      <a:pt x="1120" y="256"/>
                    </a:cubicBezTo>
                    <a:cubicBezTo>
                      <a:pt x="1124" y="256"/>
                      <a:pt x="1128" y="254"/>
                      <a:pt x="1132" y="253"/>
                    </a:cubicBezTo>
                    <a:cubicBezTo>
                      <a:pt x="1134" y="252"/>
                      <a:pt x="1136" y="250"/>
                      <a:pt x="1137" y="247"/>
                    </a:cubicBezTo>
                    <a:cubicBezTo>
                      <a:pt x="1137" y="247"/>
                      <a:pt x="1137" y="247"/>
                      <a:pt x="1137" y="247"/>
                    </a:cubicBezTo>
                    <a:cubicBezTo>
                      <a:pt x="1137" y="247"/>
                      <a:pt x="1138" y="246"/>
                      <a:pt x="1138" y="246"/>
                    </a:cubicBezTo>
                    <a:cubicBezTo>
                      <a:pt x="1138" y="245"/>
                      <a:pt x="1138" y="245"/>
                      <a:pt x="1138" y="245"/>
                    </a:cubicBezTo>
                    <a:cubicBezTo>
                      <a:pt x="1137" y="244"/>
                      <a:pt x="1137" y="243"/>
                      <a:pt x="1137" y="242"/>
                    </a:cubicBezTo>
                    <a:cubicBezTo>
                      <a:pt x="1137" y="241"/>
                      <a:pt x="1137" y="240"/>
                      <a:pt x="1138" y="240"/>
                    </a:cubicBezTo>
                    <a:cubicBezTo>
                      <a:pt x="1138" y="239"/>
                      <a:pt x="1138" y="239"/>
                      <a:pt x="1138" y="239"/>
                    </a:cubicBezTo>
                    <a:cubicBezTo>
                      <a:pt x="1138" y="223"/>
                      <a:pt x="1138" y="223"/>
                      <a:pt x="1138" y="223"/>
                    </a:cubicBezTo>
                    <a:cubicBezTo>
                      <a:pt x="1137" y="223"/>
                      <a:pt x="1137" y="222"/>
                      <a:pt x="1136" y="222"/>
                    </a:cubicBezTo>
                    <a:cubicBezTo>
                      <a:pt x="1135" y="221"/>
                      <a:pt x="1135" y="221"/>
                      <a:pt x="1134" y="220"/>
                    </a:cubicBezTo>
                    <a:cubicBezTo>
                      <a:pt x="1133" y="219"/>
                      <a:pt x="1133" y="218"/>
                      <a:pt x="1132" y="218"/>
                    </a:cubicBezTo>
                    <a:cubicBezTo>
                      <a:pt x="1132" y="218"/>
                      <a:pt x="1131" y="219"/>
                      <a:pt x="1130" y="220"/>
                    </a:cubicBezTo>
                    <a:cubicBezTo>
                      <a:pt x="1123" y="226"/>
                      <a:pt x="1123" y="226"/>
                      <a:pt x="1123" y="226"/>
                    </a:cubicBezTo>
                    <a:cubicBezTo>
                      <a:pt x="1121" y="224"/>
                      <a:pt x="1121" y="224"/>
                      <a:pt x="1121" y="224"/>
                    </a:cubicBezTo>
                    <a:cubicBezTo>
                      <a:pt x="1120" y="224"/>
                      <a:pt x="1120" y="224"/>
                      <a:pt x="1120" y="224"/>
                    </a:cubicBezTo>
                    <a:cubicBezTo>
                      <a:pt x="1117" y="224"/>
                      <a:pt x="1117" y="224"/>
                      <a:pt x="1117" y="224"/>
                    </a:cubicBezTo>
                    <a:cubicBezTo>
                      <a:pt x="1116" y="224"/>
                      <a:pt x="1116" y="224"/>
                      <a:pt x="1116" y="224"/>
                    </a:cubicBezTo>
                    <a:cubicBezTo>
                      <a:pt x="1114" y="222"/>
                      <a:pt x="1114" y="222"/>
                      <a:pt x="1114" y="222"/>
                    </a:cubicBezTo>
                    <a:cubicBezTo>
                      <a:pt x="1114" y="222"/>
                      <a:pt x="1114" y="222"/>
                      <a:pt x="1114" y="222"/>
                    </a:cubicBezTo>
                    <a:cubicBezTo>
                      <a:pt x="1112" y="222"/>
                      <a:pt x="1112" y="222"/>
                      <a:pt x="1112" y="222"/>
                    </a:cubicBezTo>
                    <a:cubicBezTo>
                      <a:pt x="1112" y="222"/>
                      <a:pt x="1112" y="222"/>
                      <a:pt x="1112" y="222"/>
                    </a:cubicBezTo>
                    <a:cubicBezTo>
                      <a:pt x="1096" y="220"/>
                      <a:pt x="1096" y="220"/>
                      <a:pt x="1096" y="220"/>
                    </a:cubicBezTo>
                    <a:cubicBezTo>
                      <a:pt x="1093" y="217"/>
                      <a:pt x="1093" y="217"/>
                      <a:pt x="1093" y="217"/>
                    </a:cubicBezTo>
                    <a:cubicBezTo>
                      <a:pt x="1093" y="217"/>
                      <a:pt x="1093" y="217"/>
                      <a:pt x="1093" y="217"/>
                    </a:cubicBezTo>
                    <a:cubicBezTo>
                      <a:pt x="1093" y="216"/>
                      <a:pt x="1093" y="216"/>
                      <a:pt x="1093" y="216"/>
                    </a:cubicBezTo>
                    <a:cubicBezTo>
                      <a:pt x="1092" y="215"/>
                      <a:pt x="1092" y="215"/>
                      <a:pt x="1092" y="215"/>
                    </a:cubicBezTo>
                    <a:cubicBezTo>
                      <a:pt x="1092" y="214"/>
                      <a:pt x="1092" y="214"/>
                      <a:pt x="1092" y="214"/>
                    </a:cubicBezTo>
                    <a:cubicBezTo>
                      <a:pt x="1092" y="213"/>
                      <a:pt x="1092" y="213"/>
                      <a:pt x="1092" y="213"/>
                    </a:cubicBezTo>
                    <a:cubicBezTo>
                      <a:pt x="1091" y="213"/>
                      <a:pt x="1091" y="212"/>
                      <a:pt x="1090" y="211"/>
                    </a:cubicBezTo>
                    <a:cubicBezTo>
                      <a:pt x="1090" y="211"/>
                      <a:pt x="1089" y="210"/>
                      <a:pt x="1089" y="209"/>
                    </a:cubicBezTo>
                    <a:cubicBezTo>
                      <a:pt x="1089" y="209"/>
                      <a:pt x="1089" y="209"/>
                      <a:pt x="1089" y="209"/>
                    </a:cubicBezTo>
                    <a:cubicBezTo>
                      <a:pt x="1089" y="209"/>
                      <a:pt x="1088" y="208"/>
                      <a:pt x="1087" y="208"/>
                    </a:cubicBezTo>
                    <a:cubicBezTo>
                      <a:pt x="1086" y="207"/>
                      <a:pt x="1086" y="207"/>
                      <a:pt x="1086" y="207"/>
                    </a:cubicBezTo>
                    <a:cubicBezTo>
                      <a:pt x="1086" y="205"/>
                      <a:pt x="1086" y="205"/>
                      <a:pt x="1086" y="205"/>
                    </a:cubicBezTo>
                    <a:cubicBezTo>
                      <a:pt x="1086" y="202"/>
                      <a:pt x="1086" y="202"/>
                      <a:pt x="1086" y="202"/>
                    </a:cubicBezTo>
                    <a:cubicBezTo>
                      <a:pt x="1074" y="196"/>
                      <a:pt x="1074" y="196"/>
                      <a:pt x="1074" y="196"/>
                    </a:cubicBezTo>
                    <a:cubicBezTo>
                      <a:pt x="1072" y="195"/>
                      <a:pt x="1072" y="195"/>
                      <a:pt x="1072" y="195"/>
                    </a:cubicBezTo>
                    <a:cubicBezTo>
                      <a:pt x="1072" y="195"/>
                      <a:pt x="1072" y="195"/>
                      <a:pt x="1072" y="195"/>
                    </a:cubicBezTo>
                    <a:cubicBezTo>
                      <a:pt x="1071" y="195"/>
                      <a:pt x="1071" y="195"/>
                      <a:pt x="1071" y="195"/>
                    </a:cubicBezTo>
                    <a:cubicBezTo>
                      <a:pt x="1066" y="194"/>
                      <a:pt x="1066" y="194"/>
                      <a:pt x="1066" y="194"/>
                    </a:cubicBezTo>
                    <a:cubicBezTo>
                      <a:pt x="1066" y="192"/>
                      <a:pt x="1066" y="192"/>
                      <a:pt x="1066" y="192"/>
                    </a:cubicBezTo>
                    <a:cubicBezTo>
                      <a:pt x="1065" y="191"/>
                      <a:pt x="1065" y="190"/>
                      <a:pt x="1064" y="188"/>
                    </a:cubicBezTo>
                    <a:cubicBezTo>
                      <a:pt x="1064" y="187"/>
                      <a:pt x="1064" y="187"/>
                      <a:pt x="1064" y="187"/>
                    </a:cubicBezTo>
                    <a:cubicBezTo>
                      <a:pt x="1064" y="187"/>
                      <a:pt x="1064" y="186"/>
                      <a:pt x="1064" y="186"/>
                    </a:cubicBezTo>
                    <a:cubicBezTo>
                      <a:pt x="1063" y="184"/>
                      <a:pt x="1063" y="184"/>
                      <a:pt x="1063" y="184"/>
                    </a:cubicBezTo>
                    <a:cubicBezTo>
                      <a:pt x="1063" y="183"/>
                      <a:pt x="1062" y="180"/>
                      <a:pt x="1061" y="178"/>
                    </a:cubicBezTo>
                    <a:cubicBezTo>
                      <a:pt x="1058" y="174"/>
                      <a:pt x="1058" y="174"/>
                      <a:pt x="1058" y="174"/>
                    </a:cubicBezTo>
                    <a:cubicBezTo>
                      <a:pt x="1055" y="172"/>
                      <a:pt x="1055" y="172"/>
                      <a:pt x="1055" y="172"/>
                    </a:cubicBezTo>
                    <a:cubicBezTo>
                      <a:pt x="1055" y="172"/>
                      <a:pt x="1054" y="172"/>
                      <a:pt x="1054" y="172"/>
                    </a:cubicBezTo>
                    <a:cubicBezTo>
                      <a:pt x="1053" y="172"/>
                      <a:pt x="1052" y="171"/>
                      <a:pt x="1051" y="171"/>
                    </a:cubicBezTo>
                    <a:cubicBezTo>
                      <a:pt x="1038" y="168"/>
                      <a:pt x="1038" y="168"/>
                      <a:pt x="1038" y="168"/>
                    </a:cubicBezTo>
                    <a:cubicBezTo>
                      <a:pt x="1029" y="171"/>
                      <a:pt x="1029" y="171"/>
                      <a:pt x="1029" y="171"/>
                    </a:cubicBezTo>
                    <a:cubicBezTo>
                      <a:pt x="1029" y="171"/>
                      <a:pt x="1029" y="171"/>
                      <a:pt x="1029" y="171"/>
                    </a:cubicBezTo>
                    <a:cubicBezTo>
                      <a:pt x="1027" y="175"/>
                      <a:pt x="1027" y="175"/>
                      <a:pt x="1027" y="175"/>
                    </a:cubicBezTo>
                    <a:cubicBezTo>
                      <a:pt x="1026" y="175"/>
                      <a:pt x="1026" y="175"/>
                      <a:pt x="1026" y="175"/>
                    </a:cubicBezTo>
                    <a:cubicBezTo>
                      <a:pt x="1026" y="175"/>
                      <a:pt x="1025" y="176"/>
                      <a:pt x="1024" y="176"/>
                    </a:cubicBezTo>
                    <a:cubicBezTo>
                      <a:pt x="1024" y="176"/>
                      <a:pt x="1023" y="177"/>
                      <a:pt x="1022" y="177"/>
                    </a:cubicBezTo>
                    <a:cubicBezTo>
                      <a:pt x="1022" y="177"/>
                      <a:pt x="1022" y="177"/>
                      <a:pt x="1022" y="177"/>
                    </a:cubicBezTo>
                    <a:cubicBezTo>
                      <a:pt x="1020" y="178"/>
                      <a:pt x="1020" y="178"/>
                      <a:pt x="1020" y="178"/>
                    </a:cubicBezTo>
                    <a:cubicBezTo>
                      <a:pt x="1019" y="178"/>
                      <a:pt x="1019" y="178"/>
                      <a:pt x="1019" y="178"/>
                    </a:cubicBezTo>
                    <a:cubicBezTo>
                      <a:pt x="1015" y="178"/>
                      <a:pt x="1015" y="178"/>
                      <a:pt x="1015" y="178"/>
                    </a:cubicBezTo>
                    <a:cubicBezTo>
                      <a:pt x="1002" y="177"/>
                      <a:pt x="1002" y="177"/>
                      <a:pt x="1002" y="177"/>
                    </a:cubicBezTo>
                    <a:cubicBezTo>
                      <a:pt x="1002" y="177"/>
                      <a:pt x="1002" y="177"/>
                      <a:pt x="1001" y="177"/>
                    </a:cubicBezTo>
                    <a:cubicBezTo>
                      <a:pt x="1000" y="177"/>
                      <a:pt x="999" y="177"/>
                      <a:pt x="998" y="177"/>
                    </a:cubicBezTo>
                    <a:cubicBezTo>
                      <a:pt x="998" y="177"/>
                      <a:pt x="997" y="177"/>
                      <a:pt x="996" y="178"/>
                    </a:cubicBezTo>
                    <a:cubicBezTo>
                      <a:pt x="995" y="178"/>
                      <a:pt x="995" y="178"/>
                      <a:pt x="995" y="178"/>
                    </a:cubicBezTo>
                    <a:cubicBezTo>
                      <a:pt x="995" y="178"/>
                      <a:pt x="994" y="178"/>
                      <a:pt x="993" y="178"/>
                    </a:cubicBezTo>
                    <a:cubicBezTo>
                      <a:pt x="993" y="178"/>
                      <a:pt x="993" y="178"/>
                      <a:pt x="992" y="178"/>
                    </a:cubicBezTo>
                    <a:cubicBezTo>
                      <a:pt x="989" y="177"/>
                      <a:pt x="989" y="177"/>
                      <a:pt x="989" y="177"/>
                    </a:cubicBezTo>
                    <a:cubicBezTo>
                      <a:pt x="988" y="177"/>
                      <a:pt x="988" y="177"/>
                      <a:pt x="988" y="177"/>
                    </a:cubicBezTo>
                    <a:cubicBezTo>
                      <a:pt x="987" y="176"/>
                      <a:pt x="987" y="176"/>
                      <a:pt x="987" y="176"/>
                    </a:cubicBezTo>
                    <a:cubicBezTo>
                      <a:pt x="985" y="175"/>
                      <a:pt x="984" y="174"/>
                      <a:pt x="982" y="172"/>
                    </a:cubicBezTo>
                    <a:cubicBezTo>
                      <a:pt x="981" y="171"/>
                      <a:pt x="981" y="171"/>
                      <a:pt x="980" y="170"/>
                    </a:cubicBezTo>
                    <a:cubicBezTo>
                      <a:pt x="976" y="170"/>
                      <a:pt x="976" y="170"/>
                      <a:pt x="976" y="170"/>
                    </a:cubicBezTo>
                    <a:cubicBezTo>
                      <a:pt x="975" y="166"/>
                      <a:pt x="975" y="166"/>
                      <a:pt x="975" y="166"/>
                    </a:cubicBezTo>
                    <a:cubicBezTo>
                      <a:pt x="975" y="165"/>
                      <a:pt x="975" y="165"/>
                      <a:pt x="975" y="165"/>
                    </a:cubicBezTo>
                    <a:cubicBezTo>
                      <a:pt x="975" y="165"/>
                      <a:pt x="975" y="164"/>
                      <a:pt x="975" y="163"/>
                    </a:cubicBezTo>
                    <a:cubicBezTo>
                      <a:pt x="975" y="162"/>
                      <a:pt x="976" y="160"/>
                      <a:pt x="976" y="159"/>
                    </a:cubicBezTo>
                    <a:cubicBezTo>
                      <a:pt x="969" y="157"/>
                      <a:pt x="969" y="157"/>
                      <a:pt x="969" y="157"/>
                    </a:cubicBezTo>
                    <a:cubicBezTo>
                      <a:pt x="968" y="159"/>
                      <a:pt x="968" y="159"/>
                      <a:pt x="968" y="159"/>
                    </a:cubicBezTo>
                    <a:cubicBezTo>
                      <a:pt x="966" y="160"/>
                      <a:pt x="966" y="160"/>
                      <a:pt x="966" y="160"/>
                    </a:cubicBezTo>
                    <a:cubicBezTo>
                      <a:pt x="966" y="160"/>
                      <a:pt x="965" y="160"/>
                      <a:pt x="965" y="160"/>
                    </a:cubicBezTo>
                    <a:cubicBezTo>
                      <a:pt x="965" y="160"/>
                      <a:pt x="965" y="160"/>
                      <a:pt x="965" y="160"/>
                    </a:cubicBezTo>
                    <a:cubicBezTo>
                      <a:pt x="965" y="160"/>
                      <a:pt x="965" y="160"/>
                      <a:pt x="965" y="160"/>
                    </a:cubicBezTo>
                    <a:cubicBezTo>
                      <a:pt x="965" y="161"/>
                      <a:pt x="965" y="163"/>
                      <a:pt x="965" y="164"/>
                    </a:cubicBezTo>
                    <a:cubicBezTo>
                      <a:pt x="965" y="166"/>
                      <a:pt x="965" y="166"/>
                      <a:pt x="965" y="166"/>
                    </a:cubicBezTo>
                    <a:cubicBezTo>
                      <a:pt x="965" y="166"/>
                      <a:pt x="965" y="166"/>
                      <a:pt x="965" y="166"/>
                    </a:cubicBezTo>
                    <a:cubicBezTo>
                      <a:pt x="973" y="172"/>
                      <a:pt x="973" y="172"/>
                      <a:pt x="973" y="172"/>
                    </a:cubicBezTo>
                    <a:cubicBezTo>
                      <a:pt x="963" y="168"/>
                      <a:pt x="963" y="168"/>
                      <a:pt x="963" y="168"/>
                    </a:cubicBezTo>
                    <a:cubicBezTo>
                      <a:pt x="963" y="169"/>
                      <a:pt x="963" y="169"/>
                      <a:pt x="962" y="169"/>
                    </a:cubicBezTo>
                    <a:cubicBezTo>
                      <a:pt x="959" y="171"/>
                      <a:pt x="959" y="171"/>
                      <a:pt x="959" y="171"/>
                    </a:cubicBezTo>
                    <a:cubicBezTo>
                      <a:pt x="958" y="171"/>
                      <a:pt x="958" y="171"/>
                      <a:pt x="958" y="171"/>
                    </a:cubicBezTo>
                    <a:cubicBezTo>
                      <a:pt x="958" y="171"/>
                      <a:pt x="957" y="171"/>
                      <a:pt x="957" y="171"/>
                    </a:cubicBezTo>
                    <a:cubicBezTo>
                      <a:pt x="957" y="171"/>
                      <a:pt x="957" y="171"/>
                      <a:pt x="957" y="171"/>
                    </a:cubicBezTo>
                    <a:cubicBezTo>
                      <a:pt x="956" y="171"/>
                      <a:pt x="956" y="171"/>
                      <a:pt x="956" y="171"/>
                    </a:cubicBezTo>
                    <a:cubicBezTo>
                      <a:pt x="956" y="173"/>
                      <a:pt x="955" y="173"/>
                      <a:pt x="954" y="174"/>
                    </a:cubicBezTo>
                    <a:cubicBezTo>
                      <a:pt x="954" y="175"/>
                      <a:pt x="954" y="175"/>
                      <a:pt x="954" y="175"/>
                    </a:cubicBezTo>
                    <a:cubicBezTo>
                      <a:pt x="951" y="177"/>
                      <a:pt x="951" y="177"/>
                      <a:pt x="951" y="177"/>
                    </a:cubicBezTo>
                    <a:cubicBezTo>
                      <a:pt x="949" y="177"/>
                      <a:pt x="949" y="177"/>
                      <a:pt x="949" y="177"/>
                    </a:cubicBezTo>
                    <a:cubicBezTo>
                      <a:pt x="948" y="176"/>
                      <a:pt x="948" y="176"/>
                      <a:pt x="948" y="176"/>
                    </a:cubicBezTo>
                    <a:cubicBezTo>
                      <a:pt x="946" y="173"/>
                      <a:pt x="946" y="173"/>
                      <a:pt x="946" y="173"/>
                    </a:cubicBezTo>
                    <a:cubicBezTo>
                      <a:pt x="942" y="169"/>
                      <a:pt x="942" y="169"/>
                      <a:pt x="942" y="169"/>
                    </a:cubicBezTo>
                    <a:cubicBezTo>
                      <a:pt x="943" y="169"/>
                      <a:pt x="943" y="169"/>
                      <a:pt x="943" y="169"/>
                    </a:cubicBezTo>
                    <a:cubicBezTo>
                      <a:pt x="937" y="160"/>
                      <a:pt x="932" y="151"/>
                      <a:pt x="926" y="142"/>
                    </a:cubicBezTo>
                    <a:cubicBezTo>
                      <a:pt x="923" y="137"/>
                      <a:pt x="923" y="137"/>
                      <a:pt x="923" y="137"/>
                    </a:cubicBezTo>
                    <a:cubicBezTo>
                      <a:pt x="917" y="127"/>
                      <a:pt x="911" y="117"/>
                      <a:pt x="904" y="107"/>
                    </a:cubicBezTo>
                    <a:cubicBezTo>
                      <a:pt x="898" y="97"/>
                      <a:pt x="898" y="97"/>
                      <a:pt x="898" y="97"/>
                    </a:cubicBezTo>
                    <a:cubicBezTo>
                      <a:pt x="887" y="83"/>
                      <a:pt x="887" y="83"/>
                      <a:pt x="887" y="83"/>
                    </a:cubicBezTo>
                    <a:cubicBezTo>
                      <a:pt x="883" y="78"/>
                      <a:pt x="880" y="75"/>
                      <a:pt x="877" y="73"/>
                    </a:cubicBezTo>
                    <a:cubicBezTo>
                      <a:pt x="860" y="62"/>
                      <a:pt x="860" y="62"/>
                      <a:pt x="860" y="62"/>
                    </a:cubicBezTo>
                    <a:cubicBezTo>
                      <a:pt x="854" y="56"/>
                      <a:pt x="854" y="56"/>
                      <a:pt x="854" y="56"/>
                    </a:cubicBezTo>
                    <a:cubicBezTo>
                      <a:pt x="852" y="54"/>
                      <a:pt x="850" y="53"/>
                      <a:pt x="848" y="51"/>
                    </a:cubicBezTo>
                    <a:cubicBezTo>
                      <a:pt x="841" y="43"/>
                      <a:pt x="841" y="43"/>
                      <a:pt x="841" y="43"/>
                    </a:cubicBezTo>
                    <a:cubicBezTo>
                      <a:pt x="829" y="48"/>
                      <a:pt x="829" y="48"/>
                      <a:pt x="829" y="48"/>
                    </a:cubicBezTo>
                    <a:cubicBezTo>
                      <a:pt x="825" y="49"/>
                      <a:pt x="821" y="51"/>
                      <a:pt x="818" y="53"/>
                    </a:cubicBezTo>
                    <a:cubicBezTo>
                      <a:pt x="817" y="54"/>
                      <a:pt x="817" y="54"/>
                      <a:pt x="817" y="54"/>
                    </a:cubicBezTo>
                    <a:cubicBezTo>
                      <a:pt x="813" y="56"/>
                      <a:pt x="810" y="58"/>
                      <a:pt x="806" y="59"/>
                    </a:cubicBezTo>
                    <a:cubicBezTo>
                      <a:pt x="794" y="64"/>
                      <a:pt x="794" y="64"/>
                      <a:pt x="794" y="64"/>
                    </a:cubicBezTo>
                    <a:cubicBezTo>
                      <a:pt x="794" y="65"/>
                      <a:pt x="794" y="65"/>
                      <a:pt x="794" y="65"/>
                    </a:cubicBezTo>
                    <a:cubicBezTo>
                      <a:pt x="793" y="66"/>
                      <a:pt x="793" y="66"/>
                      <a:pt x="793" y="67"/>
                    </a:cubicBezTo>
                    <a:cubicBezTo>
                      <a:pt x="792" y="71"/>
                      <a:pt x="792" y="71"/>
                      <a:pt x="792" y="71"/>
                    </a:cubicBezTo>
                    <a:cubicBezTo>
                      <a:pt x="788" y="74"/>
                      <a:pt x="788" y="74"/>
                      <a:pt x="788" y="74"/>
                    </a:cubicBezTo>
                    <a:cubicBezTo>
                      <a:pt x="783" y="71"/>
                      <a:pt x="783" y="71"/>
                      <a:pt x="783" y="71"/>
                    </a:cubicBezTo>
                    <a:cubicBezTo>
                      <a:pt x="783" y="71"/>
                      <a:pt x="783" y="70"/>
                      <a:pt x="782" y="70"/>
                    </a:cubicBezTo>
                    <a:cubicBezTo>
                      <a:pt x="780" y="70"/>
                      <a:pt x="780" y="70"/>
                      <a:pt x="780" y="70"/>
                    </a:cubicBezTo>
                    <a:cubicBezTo>
                      <a:pt x="773" y="69"/>
                      <a:pt x="773" y="69"/>
                      <a:pt x="773" y="69"/>
                    </a:cubicBezTo>
                    <a:cubicBezTo>
                      <a:pt x="773" y="69"/>
                      <a:pt x="773" y="69"/>
                      <a:pt x="772" y="69"/>
                    </a:cubicBezTo>
                    <a:cubicBezTo>
                      <a:pt x="771" y="69"/>
                      <a:pt x="770" y="70"/>
                      <a:pt x="769" y="71"/>
                    </a:cubicBezTo>
                    <a:cubicBezTo>
                      <a:pt x="760" y="77"/>
                      <a:pt x="760" y="77"/>
                      <a:pt x="760" y="77"/>
                    </a:cubicBezTo>
                    <a:cubicBezTo>
                      <a:pt x="752" y="63"/>
                      <a:pt x="752" y="63"/>
                      <a:pt x="752" y="63"/>
                    </a:cubicBezTo>
                    <a:cubicBezTo>
                      <a:pt x="754" y="59"/>
                      <a:pt x="754" y="59"/>
                      <a:pt x="754" y="59"/>
                    </a:cubicBezTo>
                    <a:cubicBezTo>
                      <a:pt x="755" y="57"/>
                      <a:pt x="757" y="55"/>
                      <a:pt x="758" y="54"/>
                    </a:cubicBezTo>
                    <a:cubicBezTo>
                      <a:pt x="759" y="53"/>
                      <a:pt x="759" y="53"/>
                      <a:pt x="759" y="53"/>
                    </a:cubicBezTo>
                    <a:cubicBezTo>
                      <a:pt x="752" y="54"/>
                      <a:pt x="752" y="54"/>
                      <a:pt x="752" y="54"/>
                    </a:cubicBezTo>
                    <a:cubicBezTo>
                      <a:pt x="751" y="53"/>
                      <a:pt x="751" y="53"/>
                      <a:pt x="751" y="53"/>
                    </a:cubicBezTo>
                    <a:cubicBezTo>
                      <a:pt x="748" y="53"/>
                      <a:pt x="745" y="51"/>
                      <a:pt x="742" y="50"/>
                    </a:cubicBezTo>
                    <a:cubicBezTo>
                      <a:pt x="742" y="50"/>
                      <a:pt x="742" y="50"/>
                      <a:pt x="742" y="50"/>
                    </a:cubicBezTo>
                    <a:cubicBezTo>
                      <a:pt x="741" y="50"/>
                      <a:pt x="741" y="50"/>
                      <a:pt x="741" y="50"/>
                    </a:cubicBezTo>
                    <a:cubicBezTo>
                      <a:pt x="739" y="52"/>
                      <a:pt x="739" y="52"/>
                      <a:pt x="739" y="52"/>
                    </a:cubicBezTo>
                    <a:cubicBezTo>
                      <a:pt x="738" y="53"/>
                      <a:pt x="737" y="53"/>
                      <a:pt x="736" y="54"/>
                    </a:cubicBezTo>
                    <a:cubicBezTo>
                      <a:pt x="733" y="55"/>
                      <a:pt x="733" y="55"/>
                      <a:pt x="733" y="55"/>
                    </a:cubicBezTo>
                    <a:cubicBezTo>
                      <a:pt x="726" y="58"/>
                      <a:pt x="726" y="58"/>
                      <a:pt x="726" y="58"/>
                    </a:cubicBezTo>
                    <a:cubicBezTo>
                      <a:pt x="728" y="51"/>
                      <a:pt x="728" y="51"/>
                      <a:pt x="728" y="51"/>
                    </a:cubicBezTo>
                    <a:cubicBezTo>
                      <a:pt x="728" y="51"/>
                      <a:pt x="729" y="50"/>
                      <a:pt x="729" y="49"/>
                    </a:cubicBezTo>
                    <a:cubicBezTo>
                      <a:pt x="728" y="49"/>
                      <a:pt x="728" y="49"/>
                      <a:pt x="728" y="49"/>
                    </a:cubicBezTo>
                    <a:cubicBezTo>
                      <a:pt x="728" y="48"/>
                      <a:pt x="728" y="48"/>
                      <a:pt x="728" y="48"/>
                    </a:cubicBezTo>
                    <a:cubicBezTo>
                      <a:pt x="728" y="47"/>
                      <a:pt x="728" y="46"/>
                      <a:pt x="728" y="46"/>
                    </a:cubicBezTo>
                    <a:cubicBezTo>
                      <a:pt x="725" y="49"/>
                      <a:pt x="725" y="49"/>
                      <a:pt x="725" y="49"/>
                    </a:cubicBezTo>
                    <a:cubicBezTo>
                      <a:pt x="721" y="46"/>
                      <a:pt x="721" y="46"/>
                      <a:pt x="721" y="46"/>
                    </a:cubicBezTo>
                    <a:cubicBezTo>
                      <a:pt x="720" y="46"/>
                      <a:pt x="720" y="46"/>
                      <a:pt x="720" y="46"/>
                    </a:cubicBezTo>
                    <a:cubicBezTo>
                      <a:pt x="719" y="46"/>
                      <a:pt x="719" y="46"/>
                      <a:pt x="719" y="46"/>
                    </a:cubicBezTo>
                    <a:cubicBezTo>
                      <a:pt x="713" y="48"/>
                      <a:pt x="713" y="48"/>
                      <a:pt x="713" y="48"/>
                    </a:cubicBezTo>
                    <a:cubicBezTo>
                      <a:pt x="708" y="48"/>
                      <a:pt x="708" y="48"/>
                      <a:pt x="708" y="48"/>
                    </a:cubicBezTo>
                    <a:cubicBezTo>
                      <a:pt x="707" y="49"/>
                      <a:pt x="705" y="49"/>
                      <a:pt x="703" y="49"/>
                    </a:cubicBezTo>
                    <a:cubicBezTo>
                      <a:pt x="703" y="49"/>
                      <a:pt x="702" y="49"/>
                      <a:pt x="701" y="49"/>
                    </a:cubicBezTo>
                    <a:cubicBezTo>
                      <a:pt x="701" y="49"/>
                      <a:pt x="701" y="49"/>
                      <a:pt x="701" y="49"/>
                    </a:cubicBezTo>
                    <a:cubicBezTo>
                      <a:pt x="698" y="48"/>
                      <a:pt x="698" y="48"/>
                      <a:pt x="698" y="48"/>
                    </a:cubicBezTo>
                    <a:cubicBezTo>
                      <a:pt x="694" y="47"/>
                      <a:pt x="694" y="47"/>
                      <a:pt x="694" y="47"/>
                    </a:cubicBezTo>
                    <a:cubicBezTo>
                      <a:pt x="693" y="46"/>
                      <a:pt x="693" y="46"/>
                      <a:pt x="693" y="46"/>
                    </a:cubicBezTo>
                    <a:cubicBezTo>
                      <a:pt x="692" y="45"/>
                      <a:pt x="692" y="45"/>
                      <a:pt x="692" y="45"/>
                    </a:cubicBezTo>
                    <a:cubicBezTo>
                      <a:pt x="691" y="44"/>
                      <a:pt x="691" y="44"/>
                      <a:pt x="691" y="44"/>
                    </a:cubicBezTo>
                    <a:cubicBezTo>
                      <a:pt x="691" y="43"/>
                      <a:pt x="691" y="43"/>
                      <a:pt x="691" y="43"/>
                    </a:cubicBezTo>
                    <a:cubicBezTo>
                      <a:pt x="690" y="42"/>
                      <a:pt x="690" y="41"/>
                      <a:pt x="689" y="41"/>
                    </a:cubicBezTo>
                    <a:cubicBezTo>
                      <a:pt x="689" y="40"/>
                      <a:pt x="689" y="39"/>
                      <a:pt x="689" y="38"/>
                    </a:cubicBezTo>
                    <a:cubicBezTo>
                      <a:pt x="688" y="38"/>
                      <a:pt x="688" y="38"/>
                      <a:pt x="688" y="38"/>
                    </a:cubicBezTo>
                    <a:cubicBezTo>
                      <a:pt x="689" y="35"/>
                      <a:pt x="689" y="35"/>
                      <a:pt x="689" y="35"/>
                    </a:cubicBezTo>
                    <a:cubicBezTo>
                      <a:pt x="690" y="33"/>
                      <a:pt x="690" y="33"/>
                      <a:pt x="690" y="33"/>
                    </a:cubicBezTo>
                    <a:cubicBezTo>
                      <a:pt x="692" y="33"/>
                      <a:pt x="692" y="33"/>
                      <a:pt x="692" y="33"/>
                    </a:cubicBezTo>
                    <a:cubicBezTo>
                      <a:pt x="693" y="33"/>
                      <a:pt x="693" y="33"/>
                      <a:pt x="693" y="33"/>
                    </a:cubicBezTo>
                    <a:cubicBezTo>
                      <a:pt x="693" y="33"/>
                      <a:pt x="693" y="33"/>
                      <a:pt x="693" y="33"/>
                    </a:cubicBezTo>
                    <a:cubicBezTo>
                      <a:pt x="694" y="33"/>
                      <a:pt x="694" y="33"/>
                      <a:pt x="694" y="33"/>
                    </a:cubicBezTo>
                    <a:cubicBezTo>
                      <a:pt x="693" y="31"/>
                      <a:pt x="693" y="31"/>
                      <a:pt x="693" y="31"/>
                    </a:cubicBezTo>
                    <a:cubicBezTo>
                      <a:pt x="693" y="26"/>
                      <a:pt x="693" y="26"/>
                      <a:pt x="693" y="26"/>
                    </a:cubicBezTo>
                    <a:cubicBezTo>
                      <a:pt x="695" y="22"/>
                      <a:pt x="695" y="22"/>
                      <a:pt x="695" y="22"/>
                    </a:cubicBezTo>
                    <a:cubicBezTo>
                      <a:pt x="694" y="20"/>
                      <a:pt x="694" y="20"/>
                      <a:pt x="694" y="20"/>
                    </a:cubicBezTo>
                    <a:cubicBezTo>
                      <a:pt x="691" y="13"/>
                      <a:pt x="691" y="13"/>
                      <a:pt x="691" y="13"/>
                    </a:cubicBezTo>
                    <a:cubicBezTo>
                      <a:pt x="689" y="9"/>
                      <a:pt x="687" y="6"/>
                      <a:pt x="685" y="2"/>
                    </a:cubicBezTo>
                    <a:cubicBezTo>
                      <a:pt x="684" y="2"/>
                      <a:pt x="684" y="2"/>
                      <a:pt x="684" y="2"/>
                    </a:cubicBezTo>
                    <a:cubicBezTo>
                      <a:pt x="680" y="2"/>
                      <a:pt x="680" y="2"/>
                      <a:pt x="680" y="2"/>
                    </a:cubicBezTo>
                    <a:cubicBezTo>
                      <a:pt x="677" y="3"/>
                      <a:pt x="675" y="5"/>
                      <a:pt x="674" y="6"/>
                    </a:cubicBezTo>
                    <a:cubicBezTo>
                      <a:pt x="673" y="7"/>
                      <a:pt x="673" y="7"/>
                      <a:pt x="673" y="7"/>
                    </a:cubicBezTo>
                    <a:cubicBezTo>
                      <a:pt x="670" y="8"/>
                      <a:pt x="670" y="8"/>
                      <a:pt x="670" y="8"/>
                    </a:cubicBezTo>
                    <a:cubicBezTo>
                      <a:pt x="667" y="7"/>
                      <a:pt x="667" y="7"/>
                      <a:pt x="667" y="7"/>
                    </a:cubicBezTo>
                    <a:cubicBezTo>
                      <a:pt x="665" y="7"/>
                      <a:pt x="663" y="6"/>
                      <a:pt x="661" y="5"/>
                    </a:cubicBezTo>
                    <a:cubicBezTo>
                      <a:pt x="661" y="5"/>
                      <a:pt x="661" y="5"/>
                      <a:pt x="661" y="5"/>
                    </a:cubicBezTo>
                    <a:cubicBezTo>
                      <a:pt x="658" y="4"/>
                      <a:pt x="657" y="3"/>
                      <a:pt x="655" y="2"/>
                    </a:cubicBezTo>
                    <a:cubicBezTo>
                      <a:pt x="654" y="0"/>
                      <a:pt x="654" y="0"/>
                      <a:pt x="654" y="0"/>
                    </a:cubicBezTo>
                    <a:cubicBezTo>
                      <a:pt x="653" y="0"/>
                      <a:pt x="653" y="0"/>
                      <a:pt x="653" y="0"/>
                    </a:cubicBezTo>
                    <a:cubicBezTo>
                      <a:pt x="644" y="0"/>
                      <a:pt x="644" y="0"/>
                      <a:pt x="6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330"/>
              <p:cNvSpPr/>
              <p:nvPr/>
            </p:nvSpPr>
            <p:spPr bwMode="auto">
              <a:xfrm>
                <a:off x="11261713" y="3471380"/>
                <a:ext cx="11055" cy="11055"/>
              </a:xfrm>
              <a:custGeom>
                <a:gdLst>
                  <a:gd name="T0" fmla="*/ 4 w 4"/>
                  <a:gd name="T1" fmla="*/ 0 h 3"/>
                  <a:gd name="T2" fmla="*/ 0 w 4"/>
                  <a:gd name="T3" fmla="*/ 2 h 3"/>
                  <a:gd name="T4" fmla="*/ 3 w 4"/>
                  <a:gd name="T5" fmla="*/ 3 h 3"/>
                  <a:gd name="T6" fmla="*/ 4 w 4"/>
                  <a:gd name="T7" fmla="*/ 2 h 3"/>
                  <a:gd name="T8" fmla="*/ 4 w 4"/>
                  <a:gd name="T9" fmla="*/ 1 h 3"/>
                  <a:gd name="T10" fmla="*/ 4 w 4"/>
                  <a:gd name="T11" fmla="*/ 0 h 3"/>
                </a:gdLst>
                <a:cxnLst>
                  <a:cxn ang="0">
                    <a:pos x="T0" y="T1"/>
                  </a:cxn>
                  <a:cxn ang="0">
                    <a:pos x="T2" y="T3"/>
                  </a:cxn>
                  <a:cxn ang="0">
                    <a:pos x="T4" y="T5"/>
                  </a:cxn>
                  <a:cxn ang="0">
                    <a:pos x="T6" y="T7"/>
                  </a:cxn>
                  <a:cxn ang="0">
                    <a:pos x="T8" y="T9"/>
                  </a:cxn>
                  <a:cxn ang="0">
                    <a:pos x="T10" y="T11"/>
                  </a:cxn>
                </a:cxnLst>
                <a:rect l="0" t="0" r="r" b="b"/>
                <a:pathLst>
                  <a:path w="4" h="3">
                    <a:moveTo>
                      <a:pt x="4" y="0"/>
                    </a:moveTo>
                    <a:cubicBezTo>
                      <a:pt x="0" y="2"/>
                      <a:pt x="0" y="2"/>
                      <a:pt x="0" y="2"/>
                    </a:cubicBezTo>
                    <a:cubicBezTo>
                      <a:pt x="2" y="2"/>
                      <a:pt x="3" y="2"/>
                      <a:pt x="3" y="3"/>
                    </a:cubicBezTo>
                    <a:cubicBezTo>
                      <a:pt x="4" y="2"/>
                      <a:pt x="4" y="2"/>
                      <a:pt x="4" y="2"/>
                    </a:cubicBezTo>
                    <a:cubicBezTo>
                      <a:pt x="4" y="1"/>
                      <a:pt x="4" y="1"/>
                      <a:pt x="4" y="1"/>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Rectangle 331"/>
              <p:cNvSpPr>
                <a:spLocks noChangeArrowheads="1"/>
              </p:cNvSpPr>
              <p:nvPr/>
            </p:nvSpPr>
            <p:spPr bwMode="auto">
              <a:xfrm>
                <a:off x="8947461" y="3799355"/>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332"/>
              <p:cNvSpPr/>
              <p:nvPr/>
            </p:nvSpPr>
            <p:spPr bwMode="auto">
              <a:xfrm flipH="1">
                <a:off x="8947461" y="3799355"/>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333"/>
              <p:cNvSpPr>
                <a:spLocks noEditPoints="1"/>
              </p:cNvSpPr>
              <p:nvPr/>
            </p:nvSpPr>
            <p:spPr bwMode="auto">
              <a:xfrm>
                <a:off x="11011125" y="4171552"/>
                <a:ext cx="1168182" cy="2148422"/>
              </a:xfrm>
              <a:custGeom>
                <a:gdLst>
                  <a:gd name="T0" fmla="*/ 152 w 368"/>
                  <a:gd name="T1" fmla="*/ 491 h 677"/>
                  <a:gd name="T2" fmla="*/ 148 w 368"/>
                  <a:gd name="T3" fmla="*/ 491 h 677"/>
                  <a:gd name="T4" fmla="*/ 166 w 368"/>
                  <a:gd name="T5" fmla="*/ 484 h 677"/>
                  <a:gd name="T6" fmla="*/ 166 w 368"/>
                  <a:gd name="T7" fmla="*/ 478 h 677"/>
                  <a:gd name="T8" fmla="*/ 169 w 368"/>
                  <a:gd name="T9" fmla="*/ 478 h 677"/>
                  <a:gd name="T10" fmla="*/ 168 w 368"/>
                  <a:gd name="T11" fmla="*/ 478 h 677"/>
                  <a:gd name="T12" fmla="*/ 168 w 368"/>
                  <a:gd name="T13" fmla="*/ 478 h 677"/>
                  <a:gd name="T14" fmla="*/ 182 w 368"/>
                  <a:gd name="T15" fmla="*/ 462 h 677"/>
                  <a:gd name="T16" fmla="*/ 185 w 368"/>
                  <a:gd name="T17" fmla="*/ 455 h 677"/>
                  <a:gd name="T18" fmla="*/ 368 w 368"/>
                  <a:gd name="T19" fmla="*/ 0 h 677"/>
                  <a:gd name="T20" fmla="*/ 343 w 368"/>
                  <a:gd name="T21" fmla="*/ 39 h 677"/>
                  <a:gd name="T22" fmla="*/ 275 w 368"/>
                  <a:gd name="T23" fmla="*/ 53 h 677"/>
                  <a:gd name="T24" fmla="*/ 256 w 368"/>
                  <a:gd name="T25" fmla="*/ 115 h 677"/>
                  <a:gd name="T26" fmla="*/ 225 w 368"/>
                  <a:gd name="T27" fmla="*/ 115 h 677"/>
                  <a:gd name="T28" fmla="*/ 183 w 368"/>
                  <a:gd name="T29" fmla="*/ 127 h 677"/>
                  <a:gd name="T30" fmla="*/ 195 w 368"/>
                  <a:gd name="T31" fmla="*/ 160 h 677"/>
                  <a:gd name="T32" fmla="*/ 197 w 368"/>
                  <a:gd name="T33" fmla="*/ 193 h 677"/>
                  <a:gd name="T34" fmla="*/ 188 w 368"/>
                  <a:gd name="T35" fmla="*/ 221 h 677"/>
                  <a:gd name="T36" fmla="*/ 160 w 368"/>
                  <a:gd name="T37" fmla="*/ 239 h 677"/>
                  <a:gd name="T38" fmla="*/ 135 w 368"/>
                  <a:gd name="T39" fmla="*/ 254 h 677"/>
                  <a:gd name="T40" fmla="*/ 104 w 368"/>
                  <a:gd name="T41" fmla="*/ 262 h 677"/>
                  <a:gd name="T42" fmla="*/ 86 w 368"/>
                  <a:gd name="T43" fmla="*/ 273 h 677"/>
                  <a:gd name="T44" fmla="*/ 72 w 368"/>
                  <a:gd name="T45" fmla="*/ 286 h 677"/>
                  <a:gd name="T46" fmla="*/ 65 w 368"/>
                  <a:gd name="T47" fmla="*/ 286 h 677"/>
                  <a:gd name="T48" fmla="*/ 50 w 368"/>
                  <a:gd name="T49" fmla="*/ 280 h 677"/>
                  <a:gd name="T50" fmla="*/ 19 w 368"/>
                  <a:gd name="T51" fmla="*/ 293 h 677"/>
                  <a:gd name="T52" fmla="*/ 5 w 368"/>
                  <a:gd name="T53" fmla="*/ 314 h 677"/>
                  <a:gd name="T54" fmla="*/ 2 w 368"/>
                  <a:gd name="T55" fmla="*/ 323 h 677"/>
                  <a:gd name="T56" fmla="*/ 5 w 368"/>
                  <a:gd name="T57" fmla="*/ 334 h 677"/>
                  <a:gd name="T58" fmla="*/ 14 w 368"/>
                  <a:gd name="T59" fmla="*/ 336 h 677"/>
                  <a:gd name="T60" fmla="*/ 36 w 368"/>
                  <a:gd name="T61" fmla="*/ 352 h 677"/>
                  <a:gd name="T62" fmla="*/ 39 w 368"/>
                  <a:gd name="T63" fmla="*/ 387 h 677"/>
                  <a:gd name="T64" fmla="*/ 58 w 368"/>
                  <a:gd name="T65" fmla="*/ 400 h 677"/>
                  <a:gd name="T66" fmla="*/ 71 w 368"/>
                  <a:gd name="T67" fmla="*/ 429 h 677"/>
                  <a:gd name="T68" fmla="*/ 84 w 368"/>
                  <a:gd name="T69" fmla="*/ 432 h 677"/>
                  <a:gd name="T70" fmla="*/ 124 w 368"/>
                  <a:gd name="T71" fmla="*/ 437 h 677"/>
                  <a:gd name="T72" fmla="*/ 121 w 368"/>
                  <a:gd name="T73" fmla="*/ 443 h 677"/>
                  <a:gd name="T74" fmla="*/ 129 w 368"/>
                  <a:gd name="T75" fmla="*/ 468 h 677"/>
                  <a:gd name="T76" fmla="*/ 142 w 368"/>
                  <a:gd name="T77" fmla="*/ 492 h 677"/>
                  <a:gd name="T78" fmla="*/ 151 w 368"/>
                  <a:gd name="T79" fmla="*/ 508 h 677"/>
                  <a:gd name="T80" fmla="*/ 166 w 368"/>
                  <a:gd name="T81" fmla="*/ 527 h 677"/>
                  <a:gd name="T82" fmla="*/ 148 w 368"/>
                  <a:gd name="T83" fmla="*/ 547 h 677"/>
                  <a:gd name="T84" fmla="*/ 145 w 368"/>
                  <a:gd name="T85" fmla="*/ 561 h 677"/>
                  <a:gd name="T86" fmla="*/ 157 w 368"/>
                  <a:gd name="T87" fmla="*/ 572 h 677"/>
                  <a:gd name="T88" fmla="*/ 166 w 368"/>
                  <a:gd name="T89" fmla="*/ 583 h 677"/>
                  <a:gd name="T90" fmla="*/ 207 w 368"/>
                  <a:gd name="T91" fmla="*/ 607 h 677"/>
                  <a:gd name="T92" fmla="*/ 223 w 368"/>
                  <a:gd name="T93" fmla="*/ 601 h 677"/>
                  <a:gd name="T94" fmla="*/ 250 w 368"/>
                  <a:gd name="T95" fmla="*/ 616 h 677"/>
                  <a:gd name="T96" fmla="*/ 268 w 368"/>
                  <a:gd name="T97" fmla="*/ 626 h 677"/>
                  <a:gd name="T98" fmla="*/ 276 w 368"/>
                  <a:gd name="T99" fmla="*/ 631 h 677"/>
                  <a:gd name="T100" fmla="*/ 294 w 368"/>
                  <a:gd name="T101" fmla="*/ 638 h 677"/>
                  <a:gd name="T102" fmla="*/ 306 w 368"/>
                  <a:gd name="T103" fmla="*/ 653 h 677"/>
                  <a:gd name="T104" fmla="*/ 322 w 368"/>
                  <a:gd name="T105" fmla="*/ 659 h 677"/>
                  <a:gd name="T106" fmla="*/ 329 w 368"/>
                  <a:gd name="T107" fmla="*/ 667 h 677"/>
                  <a:gd name="T108" fmla="*/ 351 w 368"/>
                  <a:gd name="T109" fmla="*/ 673 h 677"/>
                  <a:gd name="T110" fmla="*/ 368 w 368"/>
                  <a:gd name="T111" fmla="*/ 674 h 6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8" h="677">
                    <a:moveTo>
                      <a:pt x="154" y="491"/>
                    </a:moveTo>
                    <a:cubicBezTo>
                      <a:pt x="155" y="491"/>
                      <a:pt x="155" y="491"/>
                      <a:pt x="155" y="491"/>
                    </a:cubicBezTo>
                    <a:cubicBezTo>
                      <a:pt x="154" y="491"/>
                      <a:pt x="154" y="491"/>
                      <a:pt x="154" y="491"/>
                    </a:cubicBezTo>
                    <a:moveTo>
                      <a:pt x="147" y="495"/>
                    </a:moveTo>
                    <a:cubicBezTo>
                      <a:pt x="147" y="494"/>
                      <a:pt x="147" y="493"/>
                      <a:pt x="147" y="493"/>
                    </a:cubicBezTo>
                    <a:cubicBezTo>
                      <a:pt x="148" y="492"/>
                      <a:pt x="148" y="492"/>
                      <a:pt x="148" y="492"/>
                    </a:cubicBezTo>
                    <a:cubicBezTo>
                      <a:pt x="152" y="491"/>
                      <a:pt x="152" y="491"/>
                      <a:pt x="152" y="491"/>
                    </a:cubicBezTo>
                    <a:cubicBezTo>
                      <a:pt x="152" y="491"/>
                      <a:pt x="152" y="491"/>
                      <a:pt x="152" y="491"/>
                    </a:cubicBezTo>
                    <a:cubicBezTo>
                      <a:pt x="152" y="491"/>
                      <a:pt x="152" y="491"/>
                      <a:pt x="153" y="491"/>
                    </a:cubicBezTo>
                    <a:cubicBezTo>
                      <a:pt x="147" y="494"/>
                      <a:pt x="147" y="494"/>
                      <a:pt x="147" y="494"/>
                    </a:cubicBezTo>
                    <a:cubicBezTo>
                      <a:pt x="147" y="495"/>
                      <a:pt x="147" y="495"/>
                      <a:pt x="147" y="495"/>
                    </a:cubicBezTo>
                    <a:moveTo>
                      <a:pt x="151" y="491"/>
                    </a:moveTo>
                    <a:cubicBezTo>
                      <a:pt x="151" y="491"/>
                      <a:pt x="151" y="491"/>
                      <a:pt x="151" y="491"/>
                    </a:cubicBezTo>
                    <a:cubicBezTo>
                      <a:pt x="151" y="491"/>
                      <a:pt x="151" y="491"/>
                      <a:pt x="151" y="491"/>
                    </a:cubicBezTo>
                    <a:moveTo>
                      <a:pt x="148" y="492"/>
                    </a:moveTo>
                    <a:cubicBezTo>
                      <a:pt x="148" y="491"/>
                      <a:pt x="148" y="491"/>
                      <a:pt x="148" y="491"/>
                    </a:cubicBezTo>
                    <a:cubicBezTo>
                      <a:pt x="149" y="491"/>
                      <a:pt x="149" y="491"/>
                      <a:pt x="150" y="491"/>
                    </a:cubicBezTo>
                    <a:cubicBezTo>
                      <a:pt x="150" y="491"/>
                      <a:pt x="150" y="491"/>
                      <a:pt x="150" y="491"/>
                    </a:cubicBezTo>
                    <a:cubicBezTo>
                      <a:pt x="150" y="491"/>
                      <a:pt x="150" y="491"/>
                      <a:pt x="150" y="491"/>
                    </a:cubicBezTo>
                    <a:cubicBezTo>
                      <a:pt x="150" y="491"/>
                      <a:pt x="150" y="491"/>
                      <a:pt x="150" y="491"/>
                    </a:cubicBezTo>
                    <a:cubicBezTo>
                      <a:pt x="149" y="491"/>
                      <a:pt x="149" y="491"/>
                      <a:pt x="148" y="491"/>
                    </a:cubicBezTo>
                    <a:cubicBezTo>
                      <a:pt x="148" y="492"/>
                      <a:pt x="148" y="492"/>
                      <a:pt x="148" y="492"/>
                    </a:cubicBezTo>
                    <a:moveTo>
                      <a:pt x="164" y="487"/>
                    </a:moveTo>
                    <a:cubicBezTo>
                      <a:pt x="165" y="486"/>
                      <a:pt x="165" y="485"/>
                      <a:pt x="166" y="484"/>
                    </a:cubicBezTo>
                    <a:cubicBezTo>
                      <a:pt x="165" y="485"/>
                      <a:pt x="165" y="486"/>
                      <a:pt x="164" y="487"/>
                    </a:cubicBezTo>
                    <a:moveTo>
                      <a:pt x="167" y="478"/>
                    </a:moveTo>
                    <a:cubicBezTo>
                      <a:pt x="167" y="478"/>
                      <a:pt x="167" y="478"/>
                      <a:pt x="167" y="478"/>
                    </a:cubicBezTo>
                    <a:cubicBezTo>
                      <a:pt x="167" y="478"/>
                      <a:pt x="167" y="478"/>
                      <a:pt x="167" y="478"/>
                    </a:cubicBezTo>
                    <a:cubicBezTo>
                      <a:pt x="167" y="478"/>
                      <a:pt x="167" y="478"/>
                      <a:pt x="167" y="478"/>
                    </a:cubicBezTo>
                    <a:cubicBezTo>
                      <a:pt x="167" y="478"/>
                      <a:pt x="167" y="478"/>
                      <a:pt x="167" y="478"/>
                    </a:cubicBezTo>
                    <a:moveTo>
                      <a:pt x="166" y="478"/>
                    </a:moveTo>
                    <a:cubicBezTo>
                      <a:pt x="166" y="478"/>
                      <a:pt x="166" y="478"/>
                      <a:pt x="166" y="478"/>
                    </a:cubicBezTo>
                    <a:cubicBezTo>
                      <a:pt x="166" y="478"/>
                      <a:pt x="166" y="478"/>
                      <a:pt x="166" y="478"/>
                    </a:cubicBezTo>
                    <a:moveTo>
                      <a:pt x="169" y="478"/>
                    </a:moveTo>
                    <a:cubicBezTo>
                      <a:pt x="169" y="478"/>
                      <a:pt x="169" y="478"/>
                      <a:pt x="169" y="478"/>
                    </a:cubicBezTo>
                    <a:cubicBezTo>
                      <a:pt x="169" y="478"/>
                      <a:pt x="169" y="478"/>
                      <a:pt x="169" y="478"/>
                    </a:cubicBezTo>
                    <a:moveTo>
                      <a:pt x="169" y="478"/>
                    </a:moveTo>
                    <a:cubicBezTo>
                      <a:pt x="169" y="478"/>
                      <a:pt x="169" y="478"/>
                      <a:pt x="169" y="478"/>
                    </a:cubicBezTo>
                    <a:cubicBezTo>
                      <a:pt x="169" y="478"/>
                      <a:pt x="169" y="478"/>
                      <a:pt x="169" y="478"/>
                    </a:cubicBezTo>
                    <a:cubicBezTo>
                      <a:pt x="169" y="478"/>
                      <a:pt x="169" y="478"/>
                      <a:pt x="169" y="478"/>
                    </a:cubicBezTo>
                    <a:moveTo>
                      <a:pt x="166" y="478"/>
                    </a:moveTo>
                    <a:cubicBezTo>
                      <a:pt x="166" y="478"/>
                      <a:pt x="166" y="478"/>
                      <a:pt x="166" y="478"/>
                    </a:cubicBezTo>
                    <a:cubicBezTo>
                      <a:pt x="166" y="478"/>
                      <a:pt x="166" y="478"/>
                      <a:pt x="166" y="478"/>
                    </a:cubicBezTo>
                    <a:cubicBezTo>
                      <a:pt x="166" y="478"/>
                      <a:pt x="166" y="478"/>
                      <a:pt x="166" y="478"/>
                    </a:cubicBezTo>
                    <a:moveTo>
                      <a:pt x="169" y="478"/>
                    </a:moveTo>
                    <a:cubicBezTo>
                      <a:pt x="169" y="478"/>
                      <a:pt x="168" y="478"/>
                      <a:pt x="168" y="478"/>
                    </a:cubicBezTo>
                    <a:cubicBezTo>
                      <a:pt x="168" y="478"/>
                      <a:pt x="168" y="478"/>
                      <a:pt x="168" y="478"/>
                    </a:cubicBezTo>
                    <a:cubicBezTo>
                      <a:pt x="168" y="478"/>
                      <a:pt x="168" y="478"/>
                      <a:pt x="168" y="478"/>
                    </a:cubicBezTo>
                    <a:cubicBezTo>
                      <a:pt x="168" y="478"/>
                      <a:pt x="169" y="478"/>
                      <a:pt x="169" y="478"/>
                    </a:cubicBezTo>
                    <a:moveTo>
                      <a:pt x="168" y="478"/>
                    </a:moveTo>
                    <a:cubicBezTo>
                      <a:pt x="168" y="478"/>
                      <a:pt x="168" y="478"/>
                      <a:pt x="168" y="478"/>
                    </a:cubicBezTo>
                    <a:cubicBezTo>
                      <a:pt x="168" y="478"/>
                      <a:pt x="168" y="478"/>
                      <a:pt x="168" y="478"/>
                    </a:cubicBezTo>
                    <a:moveTo>
                      <a:pt x="168" y="478"/>
                    </a:moveTo>
                    <a:cubicBezTo>
                      <a:pt x="168" y="478"/>
                      <a:pt x="168" y="478"/>
                      <a:pt x="168" y="478"/>
                    </a:cubicBezTo>
                    <a:cubicBezTo>
                      <a:pt x="168" y="478"/>
                      <a:pt x="168" y="478"/>
                      <a:pt x="168" y="478"/>
                    </a:cubicBezTo>
                    <a:cubicBezTo>
                      <a:pt x="168" y="478"/>
                      <a:pt x="168" y="478"/>
                      <a:pt x="168" y="478"/>
                    </a:cubicBezTo>
                    <a:moveTo>
                      <a:pt x="170" y="477"/>
                    </a:moveTo>
                    <a:cubicBezTo>
                      <a:pt x="170" y="477"/>
                      <a:pt x="170" y="477"/>
                      <a:pt x="170" y="477"/>
                    </a:cubicBezTo>
                    <a:cubicBezTo>
                      <a:pt x="172" y="476"/>
                      <a:pt x="173" y="474"/>
                      <a:pt x="174" y="472"/>
                    </a:cubicBezTo>
                    <a:cubicBezTo>
                      <a:pt x="177" y="469"/>
                      <a:pt x="179" y="466"/>
                      <a:pt x="182" y="462"/>
                    </a:cubicBezTo>
                    <a:cubicBezTo>
                      <a:pt x="182" y="461"/>
                      <a:pt x="183" y="460"/>
                      <a:pt x="184" y="459"/>
                    </a:cubicBezTo>
                    <a:cubicBezTo>
                      <a:pt x="184" y="458"/>
                      <a:pt x="185" y="457"/>
                      <a:pt x="185" y="455"/>
                    </a:cubicBezTo>
                    <a:cubicBezTo>
                      <a:pt x="185" y="457"/>
                      <a:pt x="184" y="458"/>
                      <a:pt x="184" y="459"/>
                    </a:cubicBezTo>
                    <a:cubicBezTo>
                      <a:pt x="183" y="460"/>
                      <a:pt x="182" y="461"/>
                      <a:pt x="182" y="462"/>
                    </a:cubicBezTo>
                    <a:cubicBezTo>
                      <a:pt x="179" y="466"/>
                      <a:pt x="177" y="469"/>
                      <a:pt x="174" y="472"/>
                    </a:cubicBezTo>
                    <a:cubicBezTo>
                      <a:pt x="173" y="474"/>
                      <a:pt x="172" y="476"/>
                      <a:pt x="170" y="477"/>
                    </a:cubicBezTo>
                    <a:cubicBezTo>
                      <a:pt x="170" y="477"/>
                      <a:pt x="170" y="477"/>
                      <a:pt x="170" y="477"/>
                    </a:cubicBezTo>
                    <a:moveTo>
                      <a:pt x="185" y="455"/>
                    </a:moveTo>
                    <a:cubicBezTo>
                      <a:pt x="186" y="452"/>
                      <a:pt x="187" y="450"/>
                      <a:pt x="188" y="447"/>
                    </a:cubicBezTo>
                    <a:cubicBezTo>
                      <a:pt x="188" y="447"/>
                      <a:pt x="188" y="446"/>
                      <a:pt x="188" y="445"/>
                    </a:cubicBezTo>
                    <a:cubicBezTo>
                      <a:pt x="188" y="446"/>
                      <a:pt x="188" y="447"/>
                      <a:pt x="188" y="447"/>
                    </a:cubicBezTo>
                    <a:cubicBezTo>
                      <a:pt x="187" y="450"/>
                      <a:pt x="186" y="452"/>
                      <a:pt x="185" y="455"/>
                    </a:cubicBezTo>
                    <a:moveTo>
                      <a:pt x="154" y="429"/>
                    </a:moveTo>
                    <a:cubicBezTo>
                      <a:pt x="154" y="429"/>
                      <a:pt x="154" y="429"/>
                      <a:pt x="154" y="429"/>
                    </a:cubicBezTo>
                    <a:cubicBezTo>
                      <a:pt x="154" y="429"/>
                      <a:pt x="154" y="429"/>
                      <a:pt x="154" y="429"/>
                    </a:cubicBezTo>
                    <a:cubicBezTo>
                      <a:pt x="154" y="429"/>
                      <a:pt x="154" y="429"/>
                      <a:pt x="154" y="429"/>
                    </a:cubicBezTo>
                    <a:moveTo>
                      <a:pt x="154" y="429"/>
                    </a:moveTo>
                    <a:cubicBezTo>
                      <a:pt x="153" y="429"/>
                      <a:pt x="153" y="429"/>
                      <a:pt x="153" y="429"/>
                    </a:cubicBezTo>
                    <a:cubicBezTo>
                      <a:pt x="153" y="429"/>
                      <a:pt x="153" y="429"/>
                      <a:pt x="154" y="429"/>
                    </a:cubicBezTo>
                    <a:moveTo>
                      <a:pt x="368" y="0"/>
                    </a:moveTo>
                    <a:cubicBezTo>
                      <a:pt x="367" y="0"/>
                      <a:pt x="366" y="1"/>
                      <a:pt x="365" y="1"/>
                    </a:cubicBezTo>
                    <a:cubicBezTo>
                      <a:pt x="360" y="3"/>
                      <a:pt x="355" y="4"/>
                      <a:pt x="350" y="5"/>
                    </a:cubicBezTo>
                    <a:cubicBezTo>
                      <a:pt x="350" y="5"/>
                      <a:pt x="349" y="5"/>
                      <a:pt x="348" y="5"/>
                    </a:cubicBezTo>
                    <a:cubicBezTo>
                      <a:pt x="348" y="5"/>
                      <a:pt x="346" y="5"/>
                      <a:pt x="345" y="5"/>
                    </a:cubicBezTo>
                    <a:cubicBezTo>
                      <a:pt x="344" y="6"/>
                      <a:pt x="339" y="15"/>
                      <a:pt x="340" y="17"/>
                    </a:cubicBezTo>
                    <a:cubicBezTo>
                      <a:pt x="340" y="20"/>
                      <a:pt x="341" y="24"/>
                      <a:pt x="341" y="27"/>
                    </a:cubicBezTo>
                    <a:cubicBezTo>
                      <a:pt x="341" y="27"/>
                      <a:pt x="341" y="27"/>
                      <a:pt x="341" y="27"/>
                    </a:cubicBezTo>
                    <a:cubicBezTo>
                      <a:pt x="342" y="31"/>
                      <a:pt x="343" y="35"/>
                      <a:pt x="343" y="39"/>
                    </a:cubicBezTo>
                    <a:cubicBezTo>
                      <a:pt x="344" y="48"/>
                      <a:pt x="336" y="52"/>
                      <a:pt x="331" y="55"/>
                    </a:cubicBezTo>
                    <a:cubicBezTo>
                      <a:pt x="329" y="56"/>
                      <a:pt x="329" y="56"/>
                      <a:pt x="329" y="56"/>
                    </a:cubicBezTo>
                    <a:cubicBezTo>
                      <a:pt x="325" y="58"/>
                      <a:pt x="322" y="60"/>
                      <a:pt x="318" y="60"/>
                    </a:cubicBezTo>
                    <a:cubicBezTo>
                      <a:pt x="316" y="60"/>
                      <a:pt x="314" y="59"/>
                      <a:pt x="311" y="58"/>
                    </a:cubicBezTo>
                    <a:cubicBezTo>
                      <a:pt x="309" y="57"/>
                      <a:pt x="304" y="56"/>
                      <a:pt x="301" y="56"/>
                    </a:cubicBezTo>
                    <a:cubicBezTo>
                      <a:pt x="299" y="56"/>
                      <a:pt x="298" y="56"/>
                      <a:pt x="297" y="57"/>
                    </a:cubicBezTo>
                    <a:cubicBezTo>
                      <a:pt x="296" y="58"/>
                      <a:pt x="294" y="58"/>
                      <a:pt x="292" y="58"/>
                    </a:cubicBezTo>
                    <a:cubicBezTo>
                      <a:pt x="285" y="58"/>
                      <a:pt x="275" y="53"/>
                      <a:pt x="275" y="53"/>
                    </a:cubicBezTo>
                    <a:cubicBezTo>
                      <a:pt x="274" y="52"/>
                      <a:pt x="274" y="52"/>
                      <a:pt x="274" y="52"/>
                    </a:cubicBezTo>
                    <a:cubicBezTo>
                      <a:pt x="272" y="51"/>
                      <a:pt x="269" y="49"/>
                      <a:pt x="267" y="49"/>
                    </a:cubicBezTo>
                    <a:cubicBezTo>
                      <a:pt x="267" y="49"/>
                      <a:pt x="267" y="49"/>
                      <a:pt x="267" y="49"/>
                    </a:cubicBezTo>
                    <a:cubicBezTo>
                      <a:pt x="267" y="49"/>
                      <a:pt x="267" y="49"/>
                      <a:pt x="266" y="50"/>
                    </a:cubicBezTo>
                    <a:cubicBezTo>
                      <a:pt x="248" y="103"/>
                      <a:pt x="248" y="103"/>
                      <a:pt x="248" y="103"/>
                    </a:cubicBezTo>
                    <a:cubicBezTo>
                      <a:pt x="249" y="103"/>
                      <a:pt x="249" y="103"/>
                      <a:pt x="249" y="103"/>
                    </a:cubicBezTo>
                    <a:cubicBezTo>
                      <a:pt x="252" y="104"/>
                      <a:pt x="253" y="104"/>
                      <a:pt x="255" y="106"/>
                    </a:cubicBezTo>
                    <a:cubicBezTo>
                      <a:pt x="257" y="108"/>
                      <a:pt x="256" y="112"/>
                      <a:pt x="256" y="115"/>
                    </a:cubicBezTo>
                    <a:cubicBezTo>
                      <a:pt x="256" y="116"/>
                      <a:pt x="256" y="116"/>
                      <a:pt x="256" y="117"/>
                    </a:cubicBezTo>
                    <a:cubicBezTo>
                      <a:pt x="256" y="120"/>
                      <a:pt x="253" y="121"/>
                      <a:pt x="246" y="121"/>
                    </a:cubicBezTo>
                    <a:cubicBezTo>
                      <a:pt x="245" y="121"/>
                      <a:pt x="244" y="121"/>
                      <a:pt x="242" y="121"/>
                    </a:cubicBezTo>
                    <a:cubicBezTo>
                      <a:pt x="241" y="121"/>
                      <a:pt x="241" y="121"/>
                      <a:pt x="241" y="121"/>
                    </a:cubicBezTo>
                    <a:cubicBezTo>
                      <a:pt x="240" y="121"/>
                      <a:pt x="239" y="121"/>
                      <a:pt x="238" y="121"/>
                    </a:cubicBezTo>
                    <a:cubicBezTo>
                      <a:pt x="237" y="121"/>
                      <a:pt x="236" y="121"/>
                      <a:pt x="234" y="121"/>
                    </a:cubicBezTo>
                    <a:cubicBezTo>
                      <a:pt x="231" y="121"/>
                      <a:pt x="228" y="120"/>
                      <a:pt x="227" y="118"/>
                    </a:cubicBezTo>
                    <a:cubicBezTo>
                      <a:pt x="226" y="117"/>
                      <a:pt x="226" y="116"/>
                      <a:pt x="225" y="115"/>
                    </a:cubicBezTo>
                    <a:cubicBezTo>
                      <a:pt x="225" y="115"/>
                      <a:pt x="224" y="116"/>
                      <a:pt x="222" y="116"/>
                    </a:cubicBezTo>
                    <a:cubicBezTo>
                      <a:pt x="221" y="117"/>
                      <a:pt x="220" y="117"/>
                      <a:pt x="219" y="117"/>
                    </a:cubicBezTo>
                    <a:cubicBezTo>
                      <a:pt x="202" y="122"/>
                      <a:pt x="202" y="122"/>
                      <a:pt x="202" y="122"/>
                    </a:cubicBezTo>
                    <a:cubicBezTo>
                      <a:pt x="196" y="123"/>
                      <a:pt x="191" y="125"/>
                      <a:pt x="185" y="126"/>
                    </a:cubicBezTo>
                    <a:cubicBezTo>
                      <a:pt x="183" y="127"/>
                      <a:pt x="183" y="127"/>
                      <a:pt x="183" y="127"/>
                    </a:cubicBezTo>
                    <a:cubicBezTo>
                      <a:pt x="182" y="127"/>
                      <a:pt x="181" y="127"/>
                      <a:pt x="180" y="128"/>
                    </a:cubicBezTo>
                    <a:cubicBezTo>
                      <a:pt x="180" y="128"/>
                      <a:pt x="180" y="128"/>
                      <a:pt x="180" y="128"/>
                    </a:cubicBezTo>
                    <a:cubicBezTo>
                      <a:pt x="181" y="127"/>
                      <a:pt x="182" y="127"/>
                      <a:pt x="183" y="127"/>
                    </a:cubicBezTo>
                    <a:cubicBezTo>
                      <a:pt x="187" y="127"/>
                      <a:pt x="191" y="129"/>
                      <a:pt x="194" y="130"/>
                    </a:cubicBezTo>
                    <a:cubicBezTo>
                      <a:pt x="198" y="133"/>
                      <a:pt x="198" y="133"/>
                      <a:pt x="198" y="133"/>
                    </a:cubicBezTo>
                    <a:cubicBezTo>
                      <a:pt x="195" y="136"/>
                      <a:pt x="195" y="136"/>
                      <a:pt x="195" y="136"/>
                    </a:cubicBezTo>
                    <a:cubicBezTo>
                      <a:pt x="194" y="137"/>
                      <a:pt x="193" y="137"/>
                      <a:pt x="193" y="138"/>
                    </a:cubicBezTo>
                    <a:cubicBezTo>
                      <a:pt x="192" y="138"/>
                      <a:pt x="192" y="138"/>
                      <a:pt x="192" y="139"/>
                    </a:cubicBezTo>
                    <a:cubicBezTo>
                      <a:pt x="191" y="141"/>
                      <a:pt x="192" y="145"/>
                      <a:pt x="192" y="147"/>
                    </a:cubicBezTo>
                    <a:cubicBezTo>
                      <a:pt x="192" y="150"/>
                      <a:pt x="192" y="150"/>
                      <a:pt x="192" y="150"/>
                    </a:cubicBezTo>
                    <a:cubicBezTo>
                      <a:pt x="193" y="154"/>
                      <a:pt x="194" y="157"/>
                      <a:pt x="195" y="160"/>
                    </a:cubicBezTo>
                    <a:cubicBezTo>
                      <a:pt x="196" y="162"/>
                      <a:pt x="196" y="163"/>
                      <a:pt x="197" y="165"/>
                    </a:cubicBezTo>
                    <a:cubicBezTo>
                      <a:pt x="197" y="166"/>
                      <a:pt x="197" y="166"/>
                      <a:pt x="197" y="166"/>
                    </a:cubicBezTo>
                    <a:cubicBezTo>
                      <a:pt x="198" y="168"/>
                      <a:pt x="199" y="170"/>
                      <a:pt x="200" y="172"/>
                    </a:cubicBezTo>
                    <a:cubicBezTo>
                      <a:pt x="201" y="174"/>
                      <a:pt x="202" y="175"/>
                      <a:pt x="202" y="177"/>
                    </a:cubicBezTo>
                    <a:cubicBezTo>
                      <a:pt x="202" y="178"/>
                      <a:pt x="202" y="178"/>
                      <a:pt x="202" y="178"/>
                    </a:cubicBezTo>
                    <a:cubicBezTo>
                      <a:pt x="202" y="178"/>
                      <a:pt x="203" y="178"/>
                      <a:pt x="203" y="179"/>
                    </a:cubicBezTo>
                    <a:cubicBezTo>
                      <a:pt x="205" y="188"/>
                      <a:pt x="205" y="189"/>
                      <a:pt x="204" y="190"/>
                    </a:cubicBezTo>
                    <a:cubicBezTo>
                      <a:pt x="203" y="192"/>
                      <a:pt x="200" y="192"/>
                      <a:pt x="197" y="193"/>
                    </a:cubicBezTo>
                    <a:cubicBezTo>
                      <a:pt x="196" y="193"/>
                      <a:pt x="195" y="193"/>
                      <a:pt x="195" y="193"/>
                    </a:cubicBezTo>
                    <a:cubicBezTo>
                      <a:pt x="196" y="194"/>
                      <a:pt x="197" y="196"/>
                      <a:pt x="197" y="198"/>
                    </a:cubicBezTo>
                    <a:cubicBezTo>
                      <a:pt x="197" y="201"/>
                      <a:pt x="194" y="202"/>
                      <a:pt x="190" y="203"/>
                    </a:cubicBezTo>
                    <a:cubicBezTo>
                      <a:pt x="189" y="203"/>
                      <a:pt x="188" y="203"/>
                      <a:pt x="188" y="203"/>
                    </a:cubicBezTo>
                    <a:cubicBezTo>
                      <a:pt x="187" y="205"/>
                      <a:pt x="187" y="206"/>
                      <a:pt x="187" y="208"/>
                    </a:cubicBezTo>
                    <a:cubicBezTo>
                      <a:pt x="188" y="210"/>
                      <a:pt x="188" y="210"/>
                      <a:pt x="188" y="210"/>
                    </a:cubicBezTo>
                    <a:cubicBezTo>
                      <a:pt x="188" y="213"/>
                      <a:pt x="189" y="217"/>
                      <a:pt x="188" y="220"/>
                    </a:cubicBezTo>
                    <a:cubicBezTo>
                      <a:pt x="188" y="221"/>
                      <a:pt x="188" y="221"/>
                      <a:pt x="188" y="221"/>
                    </a:cubicBezTo>
                    <a:cubicBezTo>
                      <a:pt x="188" y="222"/>
                      <a:pt x="188" y="222"/>
                      <a:pt x="188" y="222"/>
                    </a:cubicBezTo>
                    <a:cubicBezTo>
                      <a:pt x="189" y="224"/>
                      <a:pt x="189" y="224"/>
                      <a:pt x="189" y="224"/>
                    </a:cubicBezTo>
                    <a:cubicBezTo>
                      <a:pt x="189" y="225"/>
                      <a:pt x="189" y="227"/>
                      <a:pt x="187" y="228"/>
                    </a:cubicBezTo>
                    <a:cubicBezTo>
                      <a:pt x="187" y="232"/>
                      <a:pt x="187" y="232"/>
                      <a:pt x="187" y="232"/>
                    </a:cubicBezTo>
                    <a:cubicBezTo>
                      <a:pt x="186" y="230"/>
                      <a:pt x="186" y="230"/>
                      <a:pt x="186" y="230"/>
                    </a:cubicBezTo>
                    <a:cubicBezTo>
                      <a:pt x="184" y="231"/>
                      <a:pt x="183" y="231"/>
                      <a:pt x="182" y="231"/>
                    </a:cubicBezTo>
                    <a:cubicBezTo>
                      <a:pt x="178" y="233"/>
                      <a:pt x="178" y="233"/>
                      <a:pt x="178" y="233"/>
                    </a:cubicBezTo>
                    <a:cubicBezTo>
                      <a:pt x="172" y="235"/>
                      <a:pt x="166" y="237"/>
                      <a:pt x="160" y="239"/>
                    </a:cubicBezTo>
                    <a:cubicBezTo>
                      <a:pt x="159" y="240"/>
                      <a:pt x="157" y="240"/>
                      <a:pt x="155" y="241"/>
                    </a:cubicBezTo>
                    <a:cubicBezTo>
                      <a:pt x="155" y="241"/>
                      <a:pt x="155" y="241"/>
                      <a:pt x="155" y="241"/>
                    </a:cubicBezTo>
                    <a:cubicBezTo>
                      <a:pt x="151" y="243"/>
                      <a:pt x="147" y="244"/>
                      <a:pt x="144" y="246"/>
                    </a:cubicBezTo>
                    <a:cubicBezTo>
                      <a:pt x="143" y="247"/>
                      <a:pt x="143" y="247"/>
                      <a:pt x="143" y="247"/>
                    </a:cubicBezTo>
                    <a:cubicBezTo>
                      <a:pt x="141" y="247"/>
                      <a:pt x="139" y="249"/>
                      <a:pt x="138" y="251"/>
                    </a:cubicBezTo>
                    <a:cubicBezTo>
                      <a:pt x="137" y="251"/>
                      <a:pt x="137" y="251"/>
                      <a:pt x="137" y="251"/>
                    </a:cubicBezTo>
                    <a:cubicBezTo>
                      <a:pt x="137" y="252"/>
                      <a:pt x="136" y="253"/>
                      <a:pt x="136" y="253"/>
                    </a:cubicBezTo>
                    <a:cubicBezTo>
                      <a:pt x="136" y="253"/>
                      <a:pt x="135" y="254"/>
                      <a:pt x="135" y="254"/>
                    </a:cubicBezTo>
                    <a:cubicBezTo>
                      <a:pt x="134" y="256"/>
                      <a:pt x="134" y="256"/>
                      <a:pt x="134" y="256"/>
                    </a:cubicBezTo>
                    <a:cubicBezTo>
                      <a:pt x="133" y="256"/>
                      <a:pt x="132" y="257"/>
                      <a:pt x="132" y="258"/>
                    </a:cubicBezTo>
                    <a:cubicBezTo>
                      <a:pt x="131" y="258"/>
                      <a:pt x="130" y="259"/>
                      <a:pt x="129" y="259"/>
                    </a:cubicBezTo>
                    <a:cubicBezTo>
                      <a:pt x="128" y="260"/>
                      <a:pt x="128" y="260"/>
                      <a:pt x="127" y="260"/>
                    </a:cubicBezTo>
                    <a:cubicBezTo>
                      <a:pt x="120" y="261"/>
                      <a:pt x="120" y="261"/>
                      <a:pt x="120" y="261"/>
                    </a:cubicBezTo>
                    <a:cubicBezTo>
                      <a:pt x="117" y="261"/>
                      <a:pt x="114" y="262"/>
                      <a:pt x="111" y="262"/>
                    </a:cubicBezTo>
                    <a:cubicBezTo>
                      <a:pt x="109" y="262"/>
                      <a:pt x="109" y="262"/>
                      <a:pt x="109" y="262"/>
                    </a:cubicBezTo>
                    <a:cubicBezTo>
                      <a:pt x="108" y="262"/>
                      <a:pt x="106" y="262"/>
                      <a:pt x="104" y="262"/>
                    </a:cubicBezTo>
                    <a:cubicBezTo>
                      <a:pt x="100" y="262"/>
                      <a:pt x="97" y="263"/>
                      <a:pt x="95" y="264"/>
                    </a:cubicBezTo>
                    <a:cubicBezTo>
                      <a:pt x="93" y="264"/>
                      <a:pt x="92" y="266"/>
                      <a:pt x="90" y="268"/>
                    </a:cubicBezTo>
                    <a:cubicBezTo>
                      <a:pt x="90" y="268"/>
                      <a:pt x="90" y="268"/>
                      <a:pt x="90" y="268"/>
                    </a:cubicBezTo>
                    <a:cubicBezTo>
                      <a:pt x="89" y="269"/>
                      <a:pt x="89" y="269"/>
                      <a:pt x="88" y="270"/>
                    </a:cubicBezTo>
                    <a:cubicBezTo>
                      <a:pt x="87" y="271"/>
                      <a:pt x="87" y="271"/>
                      <a:pt x="87" y="271"/>
                    </a:cubicBezTo>
                    <a:cubicBezTo>
                      <a:pt x="86" y="271"/>
                      <a:pt x="86" y="272"/>
                      <a:pt x="86" y="272"/>
                    </a:cubicBezTo>
                    <a:cubicBezTo>
                      <a:pt x="86" y="272"/>
                      <a:pt x="86" y="272"/>
                      <a:pt x="86" y="272"/>
                    </a:cubicBezTo>
                    <a:cubicBezTo>
                      <a:pt x="86" y="273"/>
                      <a:pt x="86" y="273"/>
                      <a:pt x="86" y="273"/>
                    </a:cubicBezTo>
                    <a:cubicBezTo>
                      <a:pt x="86" y="274"/>
                      <a:pt x="86" y="275"/>
                      <a:pt x="86" y="276"/>
                    </a:cubicBezTo>
                    <a:cubicBezTo>
                      <a:pt x="85" y="277"/>
                      <a:pt x="84" y="279"/>
                      <a:pt x="83" y="281"/>
                    </a:cubicBezTo>
                    <a:cubicBezTo>
                      <a:pt x="82" y="282"/>
                      <a:pt x="81" y="283"/>
                      <a:pt x="80" y="284"/>
                    </a:cubicBezTo>
                    <a:cubicBezTo>
                      <a:pt x="79" y="285"/>
                      <a:pt x="78" y="286"/>
                      <a:pt x="77" y="286"/>
                    </a:cubicBezTo>
                    <a:cubicBezTo>
                      <a:pt x="76" y="287"/>
                      <a:pt x="76" y="287"/>
                      <a:pt x="76" y="287"/>
                    </a:cubicBezTo>
                    <a:cubicBezTo>
                      <a:pt x="75" y="287"/>
                      <a:pt x="75" y="287"/>
                      <a:pt x="75" y="287"/>
                    </a:cubicBezTo>
                    <a:cubicBezTo>
                      <a:pt x="75" y="287"/>
                      <a:pt x="75" y="287"/>
                      <a:pt x="75" y="287"/>
                    </a:cubicBezTo>
                    <a:cubicBezTo>
                      <a:pt x="74" y="287"/>
                      <a:pt x="73" y="286"/>
                      <a:pt x="72" y="286"/>
                    </a:cubicBezTo>
                    <a:cubicBezTo>
                      <a:pt x="71" y="286"/>
                      <a:pt x="71" y="286"/>
                      <a:pt x="70" y="286"/>
                    </a:cubicBezTo>
                    <a:cubicBezTo>
                      <a:pt x="70" y="286"/>
                      <a:pt x="70" y="286"/>
                      <a:pt x="70" y="286"/>
                    </a:cubicBezTo>
                    <a:cubicBezTo>
                      <a:pt x="69" y="286"/>
                      <a:pt x="69" y="286"/>
                      <a:pt x="68" y="286"/>
                    </a:cubicBezTo>
                    <a:cubicBezTo>
                      <a:pt x="67" y="286"/>
                      <a:pt x="67" y="286"/>
                      <a:pt x="67" y="286"/>
                    </a:cubicBezTo>
                    <a:cubicBezTo>
                      <a:pt x="67" y="286"/>
                      <a:pt x="66" y="286"/>
                      <a:pt x="66" y="287"/>
                    </a:cubicBezTo>
                    <a:cubicBezTo>
                      <a:pt x="65" y="286"/>
                      <a:pt x="65" y="286"/>
                      <a:pt x="65" y="286"/>
                    </a:cubicBezTo>
                    <a:cubicBezTo>
                      <a:pt x="65" y="286"/>
                      <a:pt x="65" y="286"/>
                      <a:pt x="65" y="286"/>
                    </a:cubicBezTo>
                    <a:cubicBezTo>
                      <a:pt x="65" y="286"/>
                      <a:pt x="65" y="286"/>
                      <a:pt x="65" y="286"/>
                    </a:cubicBezTo>
                    <a:cubicBezTo>
                      <a:pt x="66" y="287"/>
                      <a:pt x="66" y="287"/>
                      <a:pt x="66" y="287"/>
                    </a:cubicBezTo>
                    <a:cubicBezTo>
                      <a:pt x="64" y="288"/>
                      <a:pt x="64" y="288"/>
                      <a:pt x="64" y="288"/>
                    </a:cubicBezTo>
                    <a:cubicBezTo>
                      <a:pt x="64" y="288"/>
                      <a:pt x="63" y="289"/>
                      <a:pt x="62" y="289"/>
                    </a:cubicBezTo>
                    <a:cubicBezTo>
                      <a:pt x="61" y="289"/>
                      <a:pt x="60" y="289"/>
                      <a:pt x="60" y="289"/>
                    </a:cubicBezTo>
                    <a:cubicBezTo>
                      <a:pt x="56" y="289"/>
                      <a:pt x="54" y="287"/>
                      <a:pt x="52" y="284"/>
                    </a:cubicBezTo>
                    <a:cubicBezTo>
                      <a:pt x="52" y="283"/>
                      <a:pt x="52" y="282"/>
                      <a:pt x="51" y="282"/>
                    </a:cubicBezTo>
                    <a:cubicBezTo>
                      <a:pt x="51" y="281"/>
                      <a:pt x="51" y="280"/>
                      <a:pt x="51" y="279"/>
                    </a:cubicBezTo>
                    <a:cubicBezTo>
                      <a:pt x="50" y="280"/>
                      <a:pt x="50" y="280"/>
                      <a:pt x="50" y="280"/>
                    </a:cubicBezTo>
                    <a:cubicBezTo>
                      <a:pt x="49" y="280"/>
                      <a:pt x="49" y="280"/>
                      <a:pt x="48" y="281"/>
                    </a:cubicBezTo>
                    <a:cubicBezTo>
                      <a:pt x="45" y="283"/>
                      <a:pt x="43" y="283"/>
                      <a:pt x="40" y="283"/>
                    </a:cubicBezTo>
                    <a:cubicBezTo>
                      <a:pt x="38" y="283"/>
                      <a:pt x="37" y="283"/>
                      <a:pt x="36" y="283"/>
                    </a:cubicBezTo>
                    <a:cubicBezTo>
                      <a:pt x="36" y="284"/>
                      <a:pt x="36" y="285"/>
                      <a:pt x="35" y="286"/>
                    </a:cubicBezTo>
                    <a:cubicBezTo>
                      <a:pt x="35" y="287"/>
                      <a:pt x="34" y="288"/>
                      <a:pt x="34" y="288"/>
                    </a:cubicBezTo>
                    <a:cubicBezTo>
                      <a:pt x="31" y="290"/>
                      <a:pt x="26" y="291"/>
                      <a:pt x="21" y="293"/>
                    </a:cubicBezTo>
                    <a:cubicBezTo>
                      <a:pt x="20" y="293"/>
                      <a:pt x="20" y="293"/>
                      <a:pt x="20" y="293"/>
                    </a:cubicBezTo>
                    <a:cubicBezTo>
                      <a:pt x="20" y="293"/>
                      <a:pt x="19" y="293"/>
                      <a:pt x="19" y="293"/>
                    </a:cubicBezTo>
                    <a:cubicBezTo>
                      <a:pt x="11" y="296"/>
                      <a:pt x="11" y="296"/>
                      <a:pt x="11" y="296"/>
                    </a:cubicBezTo>
                    <a:cubicBezTo>
                      <a:pt x="11" y="296"/>
                      <a:pt x="11" y="297"/>
                      <a:pt x="11" y="298"/>
                    </a:cubicBezTo>
                    <a:cubicBezTo>
                      <a:pt x="11" y="299"/>
                      <a:pt x="10" y="300"/>
                      <a:pt x="10" y="300"/>
                    </a:cubicBezTo>
                    <a:cubicBezTo>
                      <a:pt x="10" y="302"/>
                      <a:pt x="10" y="302"/>
                      <a:pt x="10" y="302"/>
                    </a:cubicBezTo>
                    <a:cubicBezTo>
                      <a:pt x="10" y="302"/>
                      <a:pt x="10" y="302"/>
                      <a:pt x="10" y="302"/>
                    </a:cubicBezTo>
                    <a:cubicBezTo>
                      <a:pt x="9" y="308"/>
                      <a:pt x="9" y="308"/>
                      <a:pt x="9" y="308"/>
                    </a:cubicBezTo>
                    <a:cubicBezTo>
                      <a:pt x="9" y="310"/>
                      <a:pt x="8" y="311"/>
                      <a:pt x="7" y="312"/>
                    </a:cubicBezTo>
                    <a:cubicBezTo>
                      <a:pt x="6" y="313"/>
                      <a:pt x="6" y="313"/>
                      <a:pt x="5" y="314"/>
                    </a:cubicBezTo>
                    <a:cubicBezTo>
                      <a:pt x="4" y="315"/>
                      <a:pt x="4" y="315"/>
                      <a:pt x="4" y="315"/>
                    </a:cubicBezTo>
                    <a:cubicBezTo>
                      <a:pt x="3" y="315"/>
                      <a:pt x="3" y="315"/>
                      <a:pt x="2" y="315"/>
                    </a:cubicBezTo>
                    <a:cubicBezTo>
                      <a:pt x="1" y="316"/>
                      <a:pt x="1" y="316"/>
                      <a:pt x="1" y="316"/>
                    </a:cubicBezTo>
                    <a:cubicBezTo>
                      <a:pt x="1" y="316"/>
                      <a:pt x="1" y="316"/>
                      <a:pt x="1" y="316"/>
                    </a:cubicBezTo>
                    <a:cubicBezTo>
                      <a:pt x="0" y="321"/>
                      <a:pt x="0" y="321"/>
                      <a:pt x="0" y="321"/>
                    </a:cubicBezTo>
                    <a:cubicBezTo>
                      <a:pt x="1" y="322"/>
                      <a:pt x="1" y="322"/>
                      <a:pt x="1" y="322"/>
                    </a:cubicBezTo>
                    <a:cubicBezTo>
                      <a:pt x="1" y="322"/>
                      <a:pt x="1" y="322"/>
                      <a:pt x="1" y="322"/>
                    </a:cubicBezTo>
                    <a:cubicBezTo>
                      <a:pt x="2" y="323"/>
                      <a:pt x="2" y="323"/>
                      <a:pt x="2" y="323"/>
                    </a:cubicBezTo>
                    <a:cubicBezTo>
                      <a:pt x="3" y="324"/>
                      <a:pt x="3" y="324"/>
                      <a:pt x="3" y="324"/>
                    </a:cubicBezTo>
                    <a:cubicBezTo>
                      <a:pt x="2" y="324"/>
                      <a:pt x="2" y="324"/>
                      <a:pt x="2" y="324"/>
                    </a:cubicBezTo>
                    <a:cubicBezTo>
                      <a:pt x="3" y="325"/>
                      <a:pt x="3" y="325"/>
                      <a:pt x="3" y="325"/>
                    </a:cubicBezTo>
                    <a:cubicBezTo>
                      <a:pt x="4" y="325"/>
                      <a:pt x="4" y="325"/>
                      <a:pt x="4" y="325"/>
                    </a:cubicBezTo>
                    <a:cubicBezTo>
                      <a:pt x="4" y="326"/>
                      <a:pt x="5" y="327"/>
                      <a:pt x="5" y="327"/>
                    </a:cubicBezTo>
                    <a:cubicBezTo>
                      <a:pt x="6" y="328"/>
                      <a:pt x="6" y="328"/>
                      <a:pt x="6" y="328"/>
                    </a:cubicBezTo>
                    <a:cubicBezTo>
                      <a:pt x="6" y="329"/>
                      <a:pt x="6" y="331"/>
                      <a:pt x="5" y="333"/>
                    </a:cubicBezTo>
                    <a:cubicBezTo>
                      <a:pt x="5" y="334"/>
                      <a:pt x="5" y="334"/>
                      <a:pt x="5" y="334"/>
                    </a:cubicBezTo>
                    <a:cubicBezTo>
                      <a:pt x="3" y="334"/>
                      <a:pt x="3" y="334"/>
                      <a:pt x="3" y="334"/>
                    </a:cubicBezTo>
                    <a:cubicBezTo>
                      <a:pt x="3" y="335"/>
                      <a:pt x="3" y="335"/>
                      <a:pt x="3" y="335"/>
                    </a:cubicBezTo>
                    <a:cubicBezTo>
                      <a:pt x="4" y="335"/>
                      <a:pt x="4" y="335"/>
                      <a:pt x="4" y="335"/>
                    </a:cubicBezTo>
                    <a:cubicBezTo>
                      <a:pt x="4" y="337"/>
                      <a:pt x="4" y="338"/>
                      <a:pt x="4" y="338"/>
                    </a:cubicBezTo>
                    <a:cubicBezTo>
                      <a:pt x="5" y="338"/>
                      <a:pt x="5" y="338"/>
                      <a:pt x="6" y="338"/>
                    </a:cubicBezTo>
                    <a:cubicBezTo>
                      <a:pt x="7" y="337"/>
                      <a:pt x="7" y="337"/>
                      <a:pt x="7" y="337"/>
                    </a:cubicBezTo>
                    <a:cubicBezTo>
                      <a:pt x="9" y="337"/>
                      <a:pt x="11" y="337"/>
                      <a:pt x="13" y="336"/>
                    </a:cubicBezTo>
                    <a:cubicBezTo>
                      <a:pt x="14" y="336"/>
                      <a:pt x="14" y="336"/>
                      <a:pt x="14" y="336"/>
                    </a:cubicBezTo>
                    <a:cubicBezTo>
                      <a:pt x="14" y="336"/>
                      <a:pt x="14" y="336"/>
                      <a:pt x="14" y="336"/>
                    </a:cubicBezTo>
                    <a:cubicBezTo>
                      <a:pt x="15" y="336"/>
                      <a:pt x="16" y="336"/>
                      <a:pt x="17" y="337"/>
                    </a:cubicBezTo>
                    <a:cubicBezTo>
                      <a:pt x="19" y="337"/>
                      <a:pt x="21" y="338"/>
                      <a:pt x="22" y="338"/>
                    </a:cubicBezTo>
                    <a:cubicBezTo>
                      <a:pt x="24" y="339"/>
                      <a:pt x="25" y="340"/>
                      <a:pt x="26" y="341"/>
                    </a:cubicBezTo>
                    <a:cubicBezTo>
                      <a:pt x="27" y="341"/>
                      <a:pt x="27" y="341"/>
                      <a:pt x="27" y="341"/>
                    </a:cubicBezTo>
                    <a:cubicBezTo>
                      <a:pt x="27" y="342"/>
                      <a:pt x="28" y="342"/>
                      <a:pt x="28" y="343"/>
                    </a:cubicBezTo>
                    <a:cubicBezTo>
                      <a:pt x="30" y="344"/>
                      <a:pt x="30" y="344"/>
                      <a:pt x="30" y="344"/>
                    </a:cubicBezTo>
                    <a:cubicBezTo>
                      <a:pt x="33" y="346"/>
                      <a:pt x="35" y="347"/>
                      <a:pt x="36" y="352"/>
                    </a:cubicBezTo>
                    <a:cubicBezTo>
                      <a:pt x="36" y="357"/>
                      <a:pt x="37" y="362"/>
                      <a:pt x="38" y="366"/>
                    </a:cubicBezTo>
                    <a:cubicBezTo>
                      <a:pt x="38" y="368"/>
                      <a:pt x="38" y="368"/>
                      <a:pt x="38" y="368"/>
                    </a:cubicBezTo>
                    <a:cubicBezTo>
                      <a:pt x="38" y="370"/>
                      <a:pt x="39" y="371"/>
                      <a:pt x="39" y="372"/>
                    </a:cubicBezTo>
                    <a:cubicBezTo>
                      <a:pt x="39" y="375"/>
                      <a:pt x="39" y="375"/>
                      <a:pt x="39" y="375"/>
                    </a:cubicBezTo>
                    <a:cubicBezTo>
                      <a:pt x="39" y="375"/>
                      <a:pt x="41" y="377"/>
                      <a:pt x="43" y="378"/>
                    </a:cubicBezTo>
                    <a:cubicBezTo>
                      <a:pt x="46" y="381"/>
                      <a:pt x="46" y="381"/>
                      <a:pt x="46" y="381"/>
                    </a:cubicBezTo>
                    <a:cubicBezTo>
                      <a:pt x="43" y="384"/>
                      <a:pt x="43" y="384"/>
                      <a:pt x="43" y="384"/>
                    </a:cubicBezTo>
                    <a:cubicBezTo>
                      <a:pt x="42" y="385"/>
                      <a:pt x="41" y="386"/>
                      <a:pt x="39" y="387"/>
                    </a:cubicBezTo>
                    <a:cubicBezTo>
                      <a:pt x="52" y="385"/>
                      <a:pt x="52" y="385"/>
                      <a:pt x="52" y="385"/>
                    </a:cubicBezTo>
                    <a:cubicBezTo>
                      <a:pt x="36" y="392"/>
                      <a:pt x="36" y="392"/>
                      <a:pt x="36" y="392"/>
                    </a:cubicBezTo>
                    <a:cubicBezTo>
                      <a:pt x="37" y="392"/>
                      <a:pt x="37" y="392"/>
                      <a:pt x="37" y="392"/>
                    </a:cubicBezTo>
                    <a:cubicBezTo>
                      <a:pt x="40" y="392"/>
                      <a:pt x="42" y="392"/>
                      <a:pt x="46" y="394"/>
                    </a:cubicBezTo>
                    <a:cubicBezTo>
                      <a:pt x="48" y="395"/>
                      <a:pt x="50" y="396"/>
                      <a:pt x="52" y="397"/>
                    </a:cubicBezTo>
                    <a:cubicBezTo>
                      <a:pt x="53" y="398"/>
                      <a:pt x="54" y="399"/>
                      <a:pt x="55" y="399"/>
                    </a:cubicBezTo>
                    <a:cubicBezTo>
                      <a:pt x="56" y="400"/>
                      <a:pt x="56" y="400"/>
                      <a:pt x="57" y="400"/>
                    </a:cubicBezTo>
                    <a:cubicBezTo>
                      <a:pt x="58" y="400"/>
                      <a:pt x="58" y="400"/>
                      <a:pt x="58" y="400"/>
                    </a:cubicBezTo>
                    <a:cubicBezTo>
                      <a:pt x="61" y="402"/>
                      <a:pt x="64" y="405"/>
                      <a:pt x="66" y="409"/>
                    </a:cubicBezTo>
                    <a:cubicBezTo>
                      <a:pt x="67" y="411"/>
                      <a:pt x="68" y="412"/>
                      <a:pt x="68" y="414"/>
                    </a:cubicBezTo>
                    <a:cubicBezTo>
                      <a:pt x="68" y="416"/>
                      <a:pt x="69" y="417"/>
                      <a:pt x="68" y="419"/>
                    </a:cubicBezTo>
                    <a:cubicBezTo>
                      <a:pt x="68" y="421"/>
                      <a:pt x="68" y="422"/>
                      <a:pt x="67" y="423"/>
                    </a:cubicBezTo>
                    <a:cubicBezTo>
                      <a:pt x="66" y="424"/>
                      <a:pt x="66" y="424"/>
                      <a:pt x="66" y="424"/>
                    </a:cubicBezTo>
                    <a:cubicBezTo>
                      <a:pt x="67" y="425"/>
                      <a:pt x="67" y="425"/>
                      <a:pt x="67" y="425"/>
                    </a:cubicBezTo>
                    <a:cubicBezTo>
                      <a:pt x="69" y="426"/>
                      <a:pt x="69" y="427"/>
                      <a:pt x="70" y="428"/>
                    </a:cubicBezTo>
                    <a:cubicBezTo>
                      <a:pt x="70" y="429"/>
                      <a:pt x="71" y="429"/>
                      <a:pt x="71" y="429"/>
                    </a:cubicBezTo>
                    <a:cubicBezTo>
                      <a:pt x="71" y="429"/>
                      <a:pt x="71" y="429"/>
                      <a:pt x="71" y="429"/>
                    </a:cubicBezTo>
                    <a:cubicBezTo>
                      <a:pt x="71" y="430"/>
                      <a:pt x="71" y="430"/>
                      <a:pt x="71" y="430"/>
                    </a:cubicBezTo>
                    <a:cubicBezTo>
                      <a:pt x="72" y="430"/>
                      <a:pt x="72" y="430"/>
                      <a:pt x="72" y="430"/>
                    </a:cubicBezTo>
                    <a:cubicBezTo>
                      <a:pt x="75" y="429"/>
                      <a:pt x="77" y="429"/>
                      <a:pt x="77" y="428"/>
                    </a:cubicBezTo>
                    <a:cubicBezTo>
                      <a:pt x="81" y="423"/>
                      <a:pt x="81" y="423"/>
                      <a:pt x="81" y="423"/>
                    </a:cubicBezTo>
                    <a:cubicBezTo>
                      <a:pt x="83" y="430"/>
                      <a:pt x="83" y="430"/>
                      <a:pt x="83" y="430"/>
                    </a:cubicBezTo>
                    <a:cubicBezTo>
                      <a:pt x="83" y="430"/>
                      <a:pt x="84" y="431"/>
                      <a:pt x="84" y="431"/>
                    </a:cubicBezTo>
                    <a:cubicBezTo>
                      <a:pt x="84" y="432"/>
                      <a:pt x="84" y="432"/>
                      <a:pt x="84" y="432"/>
                    </a:cubicBezTo>
                    <a:cubicBezTo>
                      <a:pt x="84" y="432"/>
                      <a:pt x="84" y="432"/>
                      <a:pt x="84" y="432"/>
                    </a:cubicBezTo>
                    <a:cubicBezTo>
                      <a:pt x="84" y="433"/>
                      <a:pt x="84" y="433"/>
                      <a:pt x="84" y="433"/>
                    </a:cubicBezTo>
                    <a:cubicBezTo>
                      <a:pt x="85" y="434"/>
                      <a:pt x="86" y="435"/>
                      <a:pt x="88" y="436"/>
                    </a:cubicBezTo>
                    <a:cubicBezTo>
                      <a:pt x="93" y="439"/>
                      <a:pt x="100" y="439"/>
                      <a:pt x="107" y="439"/>
                    </a:cubicBezTo>
                    <a:cubicBezTo>
                      <a:pt x="110" y="440"/>
                      <a:pt x="113" y="440"/>
                      <a:pt x="115" y="440"/>
                    </a:cubicBezTo>
                    <a:cubicBezTo>
                      <a:pt x="116" y="440"/>
                      <a:pt x="116" y="440"/>
                      <a:pt x="116" y="440"/>
                    </a:cubicBezTo>
                    <a:cubicBezTo>
                      <a:pt x="117" y="440"/>
                      <a:pt x="117" y="440"/>
                      <a:pt x="117" y="440"/>
                    </a:cubicBezTo>
                    <a:cubicBezTo>
                      <a:pt x="119" y="439"/>
                      <a:pt x="121" y="438"/>
                      <a:pt x="124" y="437"/>
                    </a:cubicBezTo>
                    <a:cubicBezTo>
                      <a:pt x="125" y="436"/>
                      <a:pt x="125" y="436"/>
                      <a:pt x="125" y="436"/>
                    </a:cubicBezTo>
                    <a:cubicBezTo>
                      <a:pt x="126" y="440"/>
                      <a:pt x="126" y="440"/>
                      <a:pt x="126" y="440"/>
                    </a:cubicBezTo>
                    <a:cubicBezTo>
                      <a:pt x="125" y="440"/>
                      <a:pt x="125" y="440"/>
                      <a:pt x="125" y="440"/>
                    </a:cubicBezTo>
                    <a:cubicBezTo>
                      <a:pt x="123" y="441"/>
                      <a:pt x="121" y="442"/>
                      <a:pt x="118" y="443"/>
                    </a:cubicBezTo>
                    <a:cubicBezTo>
                      <a:pt x="118" y="443"/>
                      <a:pt x="117" y="443"/>
                      <a:pt x="117" y="443"/>
                    </a:cubicBezTo>
                    <a:cubicBezTo>
                      <a:pt x="116" y="444"/>
                      <a:pt x="116" y="444"/>
                      <a:pt x="116" y="444"/>
                    </a:cubicBezTo>
                    <a:cubicBezTo>
                      <a:pt x="116" y="444"/>
                      <a:pt x="116" y="444"/>
                      <a:pt x="116" y="444"/>
                    </a:cubicBezTo>
                    <a:cubicBezTo>
                      <a:pt x="116" y="444"/>
                      <a:pt x="119" y="443"/>
                      <a:pt x="121" y="443"/>
                    </a:cubicBezTo>
                    <a:cubicBezTo>
                      <a:pt x="121" y="443"/>
                      <a:pt x="122" y="443"/>
                      <a:pt x="122" y="443"/>
                    </a:cubicBezTo>
                    <a:cubicBezTo>
                      <a:pt x="122" y="443"/>
                      <a:pt x="123" y="444"/>
                      <a:pt x="123" y="444"/>
                    </a:cubicBezTo>
                    <a:cubicBezTo>
                      <a:pt x="123" y="444"/>
                      <a:pt x="123" y="445"/>
                      <a:pt x="123" y="445"/>
                    </a:cubicBezTo>
                    <a:cubicBezTo>
                      <a:pt x="123" y="447"/>
                      <a:pt x="122" y="449"/>
                      <a:pt x="122" y="450"/>
                    </a:cubicBezTo>
                    <a:cubicBezTo>
                      <a:pt x="122" y="451"/>
                      <a:pt x="122" y="453"/>
                      <a:pt x="123" y="454"/>
                    </a:cubicBezTo>
                    <a:cubicBezTo>
                      <a:pt x="124" y="456"/>
                      <a:pt x="125" y="457"/>
                      <a:pt x="126" y="459"/>
                    </a:cubicBezTo>
                    <a:cubicBezTo>
                      <a:pt x="126" y="460"/>
                      <a:pt x="126" y="460"/>
                      <a:pt x="126" y="461"/>
                    </a:cubicBezTo>
                    <a:cubicBezTo>
                      <a:pt x="127" y="463"/>
                      <a:pt x="128" y="466"/>
                      <a:pt x="129" y="468"/>
                    </a:cubicBezTo>
                    <a:cubicBezTo>
                      <a:pt x="129" y="469"/>
                      <a:pt x="129" y="469"/>
                      <a:pt x="129" y="469"/>
                    </a:cubicBezTo>
                    <a:cubicBezTo>
                      <a:pt x="130" y="471"/>
                      <a:pt x="132" y="473"/>
                      <a:pt x="135" y="475"/>
                    </a:cubicBezTo>
                    <a:cubicBezTo>
                      <a:pt x="137" y="476"/>
                      <a:pt x="140" y="477"/>
                      <a:pt x="142" y="478"/>
                    </a:cubicBezTo>
                    <a:cubicBezTo>
                      <a:pt x="145" y="479"/>
                      <a:pt x="147" y="480"/>
                      <a:pt x="149" y="481"/>
                    </a:cubicBezTo>
                    <a:cubicBezTo>
                      <a:pt x="149" y="482"/>
                      <a:pt x="148" y="483"/>
                      <a:pt x="148" y="484"/>
                    </a:cubicBezTo>
                    <a:cubicBezTo>
                      <a:pt x="143" y="488"/>
                      <a:pt x="143" y="488"/>
                      <a:pt x="143" y="488"/>
                    </a:cubicBezTo>
                    <a:cubicBezTo>
                      <a:pt x="143" y="489"/>
                      <a:pt x="143" y="489"/>
                      <a:pt x="143" y="489"/>
                    </a:cubicBezTo>
                    <a:cubicBezTo>
                      <a:pt x="142" y="490"/>
                      <a:pt x="142" y="491"/>
                      <a:pt x="142" y="492"/>
                    </a:cubicBezTo>
                    <a:cubicBezTo>
                      <a:pt x="142" y="493"/>
                      <a:pt x="143" y="494"/>
                      <a:pt x="143" y="495"/>
                    </a:cubicBezTo>
                    <a:cubicBezTo>
                      <a:pt x="143" y="496"/>
                      <a:pt x="143" y="496"/>
                      <a:pt x="143" y="496"/>
                    </a:cubicBezTo>
                    <a:cubicBezTo>
                      <a:pt x="144" y="497"/>
                      <a:pt x="144" y="498"/>
                      <a:pt x="144" y="499"/>
                    </a:cubicBezTo>
                    <a:cubicBezTo>
                      <a:pt x="147" y="496"/>
                      <a:pt x="147" y="496"/>
                      <a:pt x="147" y="496"/>
                    </a:cubicBezTo>
                    <a:cubicBezTo>
                      <a:pt x="148" y="501"/>
                      <a:pt x="148" y="501"/>
                      <a:pt x="148" y="501"/>
                    </a:cubicBezTo>
                    <a:cubicBezTo>
                      <a:pt x="148" y="501"/>
                      <a:pt x="148" y="501"/>
                      <a:pt x="148" y="501"/>
                    </a:cubicBezTo>
                    <a:cubicBezTo>
                      <a:pt x="150" y="506"/>
                      <a:pt x="150" y="506"/>
                      <a:pt x="150" y="506"/>
                    </a:cubicBezTo>
                    <a:cubicBezTo>
                      <a:pt x="151" y="508"/>
                      <a:pt x="151" y="508"/>
                      <a:pt x="151" y="508"/>
                    </a:cubicBezTo>
                    <a:cubicBezTo>
                      <a:pt x="151" y="509"/>
                      <a:pt x="151" y="509"/>
                      <a:pt x="151" y="509"/>
                    </a:cubicBezTo>
                    <a:cubicBezTo>
                      <a:pt x="152" y="510"/>
                      <a:pt x="152" y="510"/>
                      <a:pt x="152" y="510"/>
                    </a:cubicBezTo>
                    <a:cubicBezTo>
                      <a:pt x="154" y="511"/>
                      <a:pt x="156" y="513"/>
                      <a:pt x="158" y="514"/>
                    </a:cubicBezTo>
                    <a:cubicBezTo>
                      <a:pt x="159" y="514"/>
                      <a:pt x="159" y="514"/>
                      <a:pt x="159" y="514"/>
                    </a:cubicBezTo>
                    <a:cubicBezTo>
                      <a:pt x="160" y="514"/>
                      <a:pt x="163" y="515"/>
                      <a:pt x="164" y="518"/>
                    </a:cubicBezTo>
                    <a:cubicBezTo>
                      <a:pt x="164" y="518"/>
                      <a:pt x="165" y="519"/>
                      <a:pt x="165" y="521"/>
                    </a:cubicBezTo>
                    <a:cubicBezTo>
                      <a:pt x="165" y="524"/>
                      <a:pt x="165" y="524"/>
                      <a:pt x="165" y="524"/>
                    </a:cubicBezTo>
                    <a:cubicBezTo>
                      <a:pt x="165" y="525"/>
                      <a:pt x="165" y="526"/>
                      <a:pt x="166" y="527"/>
                    </a:cubicBezTo>
                    <a:cubicBezTo>
                      <a:pt x="166" y="528"/>
                      <a:pt x="166" y="528"/>
                      <a:pt x="166" y="528"/>
                    </a:cubicBezTo>
                    <a:cubicBezTo>
                      <a:pt x="166" y="528"/>
                      <a:pt x="166" y="528"/>
                      <a:pt x="166" y="528"/>
                    </a:cubicBezTo>
                    <a:cubicBezTo>
                      <a:pt x="166" y="528"/>
                      <a:pt x="166" y="528"/>
                      <a:pt x="166" y="528"/>
                    </a:cubicBezTo>
                    <a:cubicBezTo>
                      <a:pt x="170" y="530"/>
                      <a:pt x="170" y="530"/>
                      <a:pt x="170" y="530"/>
                    </a:cubicBezTo>
                    <a:cubicBezTo>
                      <a:pt x="167" y="533"/>
                      <a:pt x="167" y="533"/>
                      <a:pt x="167" y="533"/>
                    </a:cubicBezTo>
                    <a:cubicBezTo>
                      <a:pt x="162" y="540"/>
                      <a:pt x="156" y="547"/>
                      <a:pt x="150" y="547"/>
                    </a:cubicBezTo>
                    <a:cubicBezTo>
                      <a:pt x="149" y="547"/>
                      <a:pt x="149" y="547"/>
                      <a:pt x="149" y="547"/>
                    </a:cubicBezTo>
                    <a:cubicBezTo>
                      <a:pt x="148" y="547"/>
                      <a:pt x="148" y="547"/>
                      <a:pt x="148" y="547"/>
                    </a:cubicBezTo>
                    <a:cubicBezTo>
                      <a:pt x="144" y="546"/>
                      <a:pt x="141" y="542"/>
                      <a:pt x="140" y="540"/>
                    </a:cubicBezTo>
                    <a:cubicBezTo>
                      <a:pt x="140" y="540"/>
                      <a:pt x="140" y="540"/>
                      <a:pt x="140" y="540"/>
                    </a:cubicBezTo>
                    <a:cubicBezTo>
                      <a:pt x="138" y="540"/>
                      <a:pt x="138" y="540"/>
                      <a:pt x="138" y="540"/>
                    </a:cubicBezTo>
                    <a:cubicBezTo>
                      <a:pt x="138" y="540"/>
                      <a:pt x="137" y="541"/>
                      <a:pt x="136" y="541"/>
                    </a:cubicBezTo>
                    <a:cubicBezTo>
                      <a:pt x="137" y="544"/>
                      <a:pt x="138" y="546"/>
                      <a:pt x="140" y="549"/>
                    </a:cubicBezTo>
                    <a:cubicBezTo>
                      <a:pt x="141" y="550"/>
                      <a:pt x="143" y="553"/>
                      <a:pt x="144" y="554"/>
                    </a:cubicBezTo>
                    <a:cubicBezTo>
                      <a:pt x="145" y="556"/>
                      <a:pt x="146" y="557"/>
                      <a:pt x="146" y="559"/>
                    </a:cubicBezTo>
                    <a:cubicBezTo>
                      <a:pt x="146" y="559"/>
                      <a:pt x="146" y="560"/>
                      <a:pt x="145" y="561"/>
                    </a:cubicBezTo>
                    <a:cubicBezTo>
                      <a:pt x="146" y="563"/>
                      <a:pt x="145" y="566"/>
                      <a:pt x="145" y="569"/>
                    </a:cubicBezTo>
                    <a:cubicBezTo>
                      <a:pt x="145" y="570"/>
                      <a:pt x="145" y="570"/>
                      <a:pt x="145" y="570"/>
                    </a:cubicBezTo>
                    <a:cubicBezTo>
                      <a:pt x="145" y="570"/>
                      <a:pt x="145" y="570"/>
                      <a:pt x="145" y="570"/>
                    </a:cubicBezTo>
                    <a:cubicBezTo>
                      <a:pt x="145" y="570"/>
                      <a:pt x="146" y="571"/>
                      <a:pt x="146" y="573"/>
                    </a:cubicBezTo>
                    <a:cubicBezTo>
                      <a:pt x="146" y="573"/>
                      <a:pt x="146" y="573"/>
                      <a:pt x="146" y="573"/>
                    </a:cubicBezTo>
                    <a:cubicBezTo>
                      <a:pt x="148" y="571"/>
                      <a:pt x="150" y="570"/>
                      <a:pt x="152" y="570"/>
                    </a:cubicBezTo>
                    <a:cubicBezTo>
                      <a:pt x="153" y="570"/>
                      <a:pt x="153" y="570"/>
                      <a:pt x="154" y="570"/>
                    </a:cubicBezTo>
                    <a:cubicBezTo>
                      <a:pt x="155" y="570"/>
                      <a:pt x="156" y="571"/>
                      <a:pt x="157" y="572"/>
                    </a:cubicBezTo>
                    <a:cubicBezTo>
                      <a:pt x="157" y="573"/>
                      <a:pt x="158" y="573"/>
                      <a:pt x="158" y="574"/>
                    </a:cubicBezTo>
                    <a:cubicBezTo>
                      <a:pt x="164" y="571"/>
                      <a:pt x="164" y="571"/>
                      <a:pt x="164" y="571"/>
                    </a:cubicBezTo>
                    <a:cubicBezTo>
                      <a:pt x="159" y="575"/>
                      <a:pt x="159" y="575"/>
                      <a:pt x="159" y="575"/>
                    </a:cubicBezTo>
                    <a:cubicBezTo>
                      <a:pt x="160" y="576"/>
                      <a:pt x="161" y="578"/>
                      <a:pt x="162" y="579"/>
                    </a:cubicBezTo>
                    <a:cubicBezTo>
                      <a:pt x="162" y="579"/>
                      <a:pt x="162" y="579"/>
                      <a:pt x="162" y="579"/>
                    </a:cubicBezTo>
                    <a:cubicBezTo>
                      <a:pt x="162" y="580"/>
                      <a:pt x="163" y="581"/>
                      <a:pt x="163" y="581"/>
                    </a:cubicBezTo>
                    <a:cubicBezTo>
                      <a:pt x="164" y="581"/>
                      <a:pt x="164" y="582"/>
                      <a:pt x="164" y="583"/>
                    </a:cubicBezTo>
                    <a:cubicBezTo>
                      <a:pt x="165" y="583"/>
                      <a:pt x="165" y="583"/>
                      <a:pt x="166" y="583"/>
                    </a:cubicBezTo>
                    <a:cubicBezTo>
                      <a:pt x="167" y="584"/>
                      <a:pt x="168" y="584"/>
                      <a:pt x="169" y="584"/>
                    </a:cubicBezTo>
                    <a:cubicBezTo>
                      <a:pt x="173" y="585"/>
                      <a:pt x="179" y="587"/>
                      <a:pt x="183" y="589"/>
                    </a:cubicBezTo>
                    <a:cubicBezTo>
                      <a:pt x="185" y="590"/>
                      <a:pt x="186" y="591"/>
                      <a:pt x="187" y="592"/>
                    </a:cubicBezTo>
                    <a:cubicBezTo>
                      <a:pt x="188" y="591"/>
                      <a:pt x="188" y="591"/>
                      <a:pt x="188" y="591"/>
                    </a:cubicBezTo>
                    <a:cubicBezTo>
                      <a:pt x="187" y="592"/>
                      <a:pt x="187" y="592"/>
                      <a:pt x="187" y="592"/>
                    </a:cubicBezTo>
                    <a:cubicBezTo>
                      <a:pt x="188" y="593"/>
                      <a:pt x="188" y="593"/>
                      <a:pt x="188" y="594"/>
                    </a:cubicBezTo>
                    <a:cubicBezTo>
                      <a:pt x="189" y="595"/>
                      <a:pt x="189" y="596"/>
                      <a:pt x="188" y="598"/>
                    </a:cubicBezTo>
                    <a:cubicBezTo>
                      <a:pt x="207" y="607"/>
                      <a:pt x="207" y="607"/>
                      <a:pt x="207" y="607"/>
                    </a:cubicBezTo>
                    <a:cubicBezTo>
                      <a:pt x="207" y="607"/>
                      <a:pt x="207" y="607"/>
                      <a:pt x="207" y="607"/>
                    </a:cubicBezTo>
                    <a:cubicBezTo>
                      <a:pt x="212" y="612"/>
                      <a:pt x="212" y="612"/>
                      <a:pt x="212" y="612"/>
                    </a:cubicBezTo>
                    <a:cubicBezTo>
                      <a:pt x="213" y="610"/>
                      <a:pt x="214" y="608"/>
                      <a:pt x="215" y="607"/>
                    </a:cubicBezTo>
                    <a:cubicBezTo>
                      <a:pt x="215" y="606"/>
                      <a:pt x="215" y="606"/>
                      <a:pt x="215" y="606"/>
                    </a:cubicBezTo>
                    <a:cubicBezTo>
                      <a:pt x="215" y="606"/>
                      <a:pt x="216" y="605"/>
                      <a:pt x="216" y="605"/>
                    </a:cubicBezTo>
                    <a:cubicBezTo>
                      <a:pt x="216" y="604"/>
                      <a:pt x="217" y="604"/>
                      <a:pt x="217" y="603"/>
                    </a:cubicBezTo>
                    <a:cubicBezTo>
                      <a:pt x="218" y="603"/>
                      <a:pt x="218" y="603"/>
                      <a:pt x="218" y="603"/>
                    </a:cubicBezTo>
                    <a:cubicBezTo>
                      <a:pt x="219" y="602"/>
                      <a:pt x="221" y="601"/>
                      <a:pt x="223" y="601"/>
                    </a:cubicBezTo>
                    <a:cubicBezTo>
                      <a:pt x="224" y="601"/>
                      <a:pt x="225" y="602"/>
                      <a:pt x="226" y="602"/>
                    </a:cubicBezTo>
                    <a:cubicBezTo>
                      <a:pt x="230" y="602"/>
                      <a:pt x="235" y="603"/>
                      <a:pt x="238" y="604"/>
                    </a:cubicBezTo>
                    <a:cubicBezTo>
                      <a:pt x="240" y="606"/>
                      <a:pt x="241" y="609"/>
                      <a:pt x="241" y="610"/>
                    </a:cubicBezTo>
                    <a:cubicBezTo>
                      <a:pt x="242" y="611"/>
                      <a:pt x="242" y="612"/>
                      <a:pt x="242" y="612"/>
                    </a:cubicBezTo>
                    <a:cubicBezTo>
                      <a:pt x="243" y="613"/>
                      <a:pt x="244" y="614"/>
                      <a:pt x="245" y="614"/>
                    </a:cubicBezTo>
                    <a:cubicBezTo>
                      <a:pt x="246" y="614"/>
                      <a:pt x="246" y="614"/>
                      <a:pt x="246" y="614"/>
                    </a:cubicBezTo>
                    <a:cubicBezTo>
                      <a:pt x="247" y="615"/>
                      <a:pt x="248" y="615"/>
                      <a:pt x="248" y="616"/>
                    </a:cubicBezTo>
                    <a:cubicBezTo>
                      <a:pt x="250" y="616"/>
                      <a:pt x="250" y="616"/>
                      <a:pt x="250" y="616"/>
                    </a:cubicBezTo>
                    <a:cubicBezTo>
                      <a:pt x="252" y="617"/>
                      <a:pt x="253" y="618"/>
                      <a:pt x="255" y="619"/>
                    </a:cubicBezTo>
                    <a:cubicBezTo>
                      <a:pt x="256" y="620"/>
                      <a:pt x="257" y="621"/>
                      <a:pt x="258" y="622"/>
                    </a:cubicBezTo>
                    <a:cubicBezTo>
                      <a:pt x="260" y="624"/>
                      <a:pt x="260" y="624"/>
                      <a:pt x="260" y="624"/>
                    </a:cubicBezTo>
                    <a:cubicBezTo>
                      <a:pt x="261" y="625"/>
                      <a:pt x="262" y="625"/>
                      <a:pt x="264" y="625"/>
                    </a:cubicBezTo>
                    <a:cubicBezTo>
                      <a:pt x="265" y="626"/>
                      <a:pt x="266" y="626"/>
                      <a:pt x="266" y="626"/>
                    </a:cubicBezTo>
                    <a:cubicBezTo>
                      <a:pt x="266" y="626"/>
                      <a:pt x="266" y="626"/>
                      <a:pt x="266" y="626"/>
                    </a:cubicBezTo>
                    <a:cubicBezTo>
                      <a:pt x="266" y="626"/>
                      <a:pt x="267" y="626"/>
                      <a:pt x="267" y="626"/>
                    </a:cubicBezTo>
                    <a:cubicBezTo>
                      <a:pt x="268" y="626"/>
                      <a:pt x="268" y="626"/>
                      <a:pt x="268" y="626"/>
                    </a:cubicBezTo>
                    <a:cubicBezTo>
                      <a:pt x="268" y="626"/>
                      <a:pt x="269" y="626"/>
                      <a:pt x="270" y="627"/>
                    </a:cubicBezTo>
                    <a:cubicBezTo>
                      <a:pt x="270" y="627"/>
                      <a:pt x="271" y="627"/>
                      <a:pt x="271" y="627"/>
                    </a:cubicBezTo>
                    <a:cubicBezTo>
                      <a:pt x="271" y="628"/>
                      <a:pt x="271" y="628"/>
                      <a:pt x="271" y="628"/>
                    </a:cubicBezTo>
                    <a:cubicBezTo>
                      <a:pt x="272" y="628"/>
                      <a:pt x="272" y="628"/>
                      <a:pt x="273" y="629"/>
                    </a:cubicBezTo>
                    <a:cubicBezTo>
                      <a:pt x="273" y="629"/>
                      <a:pt x="274" y="629"/>
                      <a:pt x="274" y="630"/>
                    </a:cubicBezTo>
                    <a:cubicBezTo>
                      <a:pt x="278" y="627"/>
                      <a:pt x="278" y="627"/>
                      <a:pt x="278" y="627"/>
                    </a:cubicBezTo>
                    <a:cubicBezTo>
                      <a:pt x="275" y="631"/>
                      <a:pt x="275" y="631"/>
                      <a:pt x="275" y="631"/>
                    </a:cubicBezTo>
                    <a:cubicBezTo>
                      <a:pt x="276" y="631"/>
                      <a:pt x="276" y="631"/>
                      <a:pt x="276" y="631"/>
                    </a:cubicBezTo>
                    <a:cubicBezTo>
                      <a:pt x="277" y="633"/>
                      <a:pt x="278" y="635"/>
                      <a:pt x="280" y="636"/>
                    </a:cubicBezTo>
                    <a:cubicBezTo>
                      <a:pt x="280" y="637"/>
                      <a:pt x="281" y="637"/>
                      <a:pt x="281" y="638"/>
                    </a:cubicBezTo>
                    <a:cubicBezTo>
                      <a:pt x="281" y="638"/>
                      <a:pt x="281" y="638"/>
                      <a:pt x="281" y="638"/>
                    </a:cubicBezTo>
                    <a:cubicBezTo>
                      <a:pt x="282" y="639"/>
                      <a:pt x="283" y="640"/>
                      <a:pt x="283" y="640"/>
                    </a:cubicBezTo>
                    <a:cubicBezTo>
                      <a:pt x="283" y="640"/>
                      <a:pt x="283" y="640"/>
                      <a:pt x="283" y="640"/>
                    </a:cubicBezTo>
                    <a:cubicBezTo>
                      <a:pt x="284" y="640"/>
                      <a:pt x="284" y="640"/>
                      <a:pt x="284" y="640"/>
                    </a:cubicBezTo>
                    <a:cubicBezTo>
                      <a:pt x="287" y="639"/>
                      <a:pt x="290" y="638"/>
                      <a:pt x="292" y="638"/>
                    </a:cubicBezTo>
                    <a:cubicBezTo>
                      <a:pt x="293" y="638"/>
                      <a:pt x="293" y="638"/>
                      <a:pt x="294" y="638"/>
                    </a:cubicBezTo>
                    <a:cubicBezTo>
                      <a:pt x="295" y="638"/>
                      <a:pt x="297" y="638"/>
                      <a:pt x="298" y="639"/>
                    </a:cubicBezTo>
                    <a:cubicBezTo>
                      <a:pt x="300" y="641"/>
                      <a:pt x="300" y="643"/>
                      <a:pt x="300" y="644"/>
                    </a:cubicBezTo>
                    <a:cubicBezTo>
                      <a:pt x="300" y="644"/>
                      <a:pt x="300" y="644"/>
                      <a:pt x="300" y="644"/>
                    </a:cubicBezTo>
                    <a:cubicBezTo>
                      <a:pt x="301" y="645"/>
                      <a:pt x="301" y="645"/>
                      <a:pt x="301" y="645"/>
                    </a:cubicBezTo>
                    <a:cubicBezTo>
                      <a:pt x="302" y="646"/>
                      <a:pt x="302" y="648"/>
                      <a:pt x="302" y="650"/>
                    </a:cubicBezTo>
                    <a:cubicBezTo>
                      <a:pt x="302" y="650"/>
                      <a:pt x="303" y="651"/>
                      <a:pt x="304" y="652"/>
                    </a:cubicBezTo>
                    <a:cubicBezTo>
                      <a:pt x="304" y="652"/>
                      <a:pt x="304" y="652"/>
                      <a:pt x="304" y="652"/>
                    </a:cubicBezTo>
                    <a:cubicBezTo>
                      <a:pt x="305" y="653"/>
                      <a:pt x="306" y="653"/>
                      <a:pt x="306" y="653"/>
                    </a:cubicBezTo>
                    <a:cubicBezTo>
                      <a:pt x="308" y="654"/>
                      <a:pt x="308" y="654"/>
                      <a:pt x="308" y="654"/>
                    </a:cubicBezTo>
                    <a:cubicBezTo>
                      <a:pt x="308" y="655"/>
                      <a:pt x="309" y="655"/>
                      <a:pt x="309" y="655"/>
                    </a:cubicBezTo>
                    <a:cubicBezTo>
                      <a:pt x="311" y="656"/>
                      <a:pt x="311" y="656"/>
                      <a:pt x="311" y="656"/>
                    </a:cubicBezTo>
                    <a:cubicBezTo>
                      <a:pt x="312" y="657"/>
                      <a:pt x="313" y="657"/>
                      <a:pt x="314" y="658"/>
                    </a:cubicBezTo>
                    <a:cubicBezTo>
                      <a:pt x="315" y="658"/>
                      <a:pt x="316" y="659"/>
                      <a:pt x="317" y="659"/>
                    </a:cubicBezTo>
                    <a:cubicBezTo>
                      <a:pt x="317" y="659"/>
                      <a:pt x="318" y="659"/>
                      <a:pt x="318" y="659"/>
                    </a:cubicBezTo>
                    <a:cubicBezTo>
                      <a:pt x="319" y="659"/>
                      <a:pt x="319" y="659"/>
                      <a:pt x="320" y="659"/>
                    </a:cubicBezTo>
                    <a:cubicBezTo>
                      <a:pt x="322" y="659"/>
                      <a:pt x="322" y="659"/>
                      <a:pt x="322" y="659"/>
                    </a:cubicBezTo>
                    <a:cubicBezTo>
                      <a:pt x="322" y="658"/>
                      <a:pt x="323" y="658"/>
                      <a:pt x="324" y="658"/>
                    </a:cubicBezTo>
                    <a:cubicBezTo>
                      <a:pt x="325" y="658"/>
                      <a:pt x="325" y="658"/>
                      <a:pt x="326" y="658"/>
                    </a:cubicBezTo>
                    <a:cubicBezTo>
                      <a:pt x="331" y="659"/>
                      <a:pt x="331" y="659"/>
                      <a:pt x="331" y="659"/>
                    </a:cubicBezTo>
                    <a:cubicBezTo>
                      <a:pt x="328" y="665"/>
                      <a:pt x="328" y="665"/>
                      <a:pt x="328" y="665"/>
                    </a:cubicBezTo>
                    <a:cubicBezTo>
                      <a:pt x="328" y="665"/>
                      <a:pt x="327" y="666"/>
                      <a:pt x="327" y="667"/>
                    </a:cubicBezTo>
                    <a:cubicBezTo>
                      <a:pt x="327" y="667"/>
                      <a:pt x="327" y="667"/>
                      <a:pt x="327" y="667"/>
                    </a:cubicBezTo>
                    <a:cubicBezTo>
                      <a:pt x="328" y="667"/>
                      <a:pt x="328" y="667"/>
                      <a:pt x="328" y="667"/>
                    </a:cubicBezTo>
                    <a:cubicBezTo>
                      <a:pt x="329" y="667"/>
                      <a:pt x="329" y="667"/>
                      <a:pt x="329" y="667"/>
                    </a:cubicBezTo>
                    <a:cubicBezTo>
                      <a:pt x="330" y="667"/>
                      <a:pt x="330" y="666"/>
                      <a:pt x="331" y="666"/>
                    </a:cubicBezTo>
                    <a:cubicBezTo>
                      <a:pt x="333" y="666"/>
                      <a:pt x="334" y="666"/>
                      <a:pt x="336" y="666"/>
                    </a:cubicBezTo>
                    <a:cubicBezTo>
                      <a:pt x="336" y="666"/>
                      <a:pt x="336" y="666"/>
                      <a:pt x="337" y="666"/>
                    </a:cubicBezTo>
                    <a:cubicBezTo>
                      <a:pt x="339" y="666"/>
                      <a:pt x="341" y="667"/>
                      <a:pt x="343" y="668"/>
                    </a:cubicBezTo>
                    <a:cubicBezTo>
                      <a:pt x="344" y="669"/>
                      <a:pt x="344" y="670"/>
                      <a:pt x="345" y="670"/>
                    </a:cubicBezTo>
                    <a:cubicBezTo>
                      <a:pt x="346" y="672"/>
                      <a:pt x="346" y="672"/>
                      <a:pt x="346" y="672"/>
                    </a:cubicBezTo>
                    <a:cubicBezTo>
                      <a:pt x="347" y="673"/>
                      <a:pt x="348" y="675"/>
                      <a:pt x="349" y="676"/>
                    </a:cubicBezTo>
                    <a:cubicBezTo>
                      <a:pt x="350" y="675"/>
                      <a:pt x="350" y="674"/>
                      <a:pt x="351" y="673"/>
                    </a:cubicBezTo>
                    <a:cubicBezTo>
                      <a:pt x="358" y="665"/>
                      <a:pt x="358" y="665"/>
                      <a:pt x="358" y="665"/>
                    </a:cubicBezTo>
                    <a:cubicBezTo>
                      <a:pt x="357" y="675"/>
                      <a:pt x="357" y="675"/>
                      <a:pt x="357" y="675"/>
                    </a:cubicBezTo>
                    <a:cubicBezTo>
                      <a:pt x="357" y="676"/>
                      <a:pt x="357" y="676"/>
                      <a:pt x="357" y="676"/>
                    </a:cubicBezTo>
                    <a:cubicBezTo>
                      <a:pt x="358" y="676"/>
                      <a:pt x="359" y="676"/>
                      <a:pt x="360" y="677"/>
                    </a:cubicBezTo>
                    <a:cubicBezTo>
                      <a:pt x="362" y="677"/>
                      <a:pt x="362" y="677"/>
                      <a:pt x="362" y="677"/>
                    </a:cubicBezTo>
                    <a:cubicBezTo>
                      <a:pt x="362" y="677"/>
                      <a:pt x="362" y="677"/>
                      <a:pt x="362" y="677"/>
                    </a:cubicBezTo>
                    <a:cubicBezTo>
                      <a:pt x="363" y="676"/>
                      <a:pt x="364" y="675"/>
                      <a:pt x="366" y="674"/>
                    </a:cubicBezTo>
                    <a:cubicBezTo>
                      <a:pt x="367" y="674"/>
                      <a:pt x="367" y="674"/>
                      <a:pt x="368" y="674"/>
                    </a:cubicBezTo>
                    <a:cubicBezTo>
                      <a:pt x="368" y="0"/>
                      <a:pt x="368" y="0"/>
                      <a:pt x="3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334"/>
              <p:cNvSpPr/>
              <p:nvPr/>
            </p:nvSpPr>
            <p:spPr bwMode="auto">
              <a:xfrm>
                <a:off x="10506265" y="5590321"/>
                <a:ext cx="1673042" cy="1267680"/>
              </a:xfrm>
              <a:custGeom>
                <a:gdLst>
                  <a:gd name="T0" fmla="*/ 249 w 526"/>
                  <a:gd name="T1" fmla="*/ 17 h 399"/>
                  <a:gd name="T2" fmla="*/ 231 w 526"/>
                  <a:gd name="T3" fmla="*/ 26 h 399"/>
                  <a:gd name="T4" fmla="*/ 204 w 526"/>
                  <a:gd name="T5" fmla="*/ 30 h 399"/>
                  <a:gd name="T6" fmla="*/ 183 w 526"/>
                  <a:gd name="T7" fmla="*/ 25 h 399"/>
                  <a:gd name="T8" fmla="*/ 164 w 526"/>
                  <a:gd name="T9" fmla="*/ 32 h 399"/>
                  <a:gd name="T10" fmla="*/ 174 w 526"/>
                  <a:gd name="T11" fmla="*/ 51 h 399"/>
                  <a:gd name="T12" fmla="*/ 172 w 526"/>
                  <a:gd name="T13" fmla="*/ 56 h 399"/>
                  <a:gd name="T14" fmla="*/ 178 w 526"/>
                  <a:gd name="T15" fmla="*/ 81 h 399"/>
                  <a:gd name="T16" fmla="*/ 188 w 526"/>
                  <a:gd name="T17" fmla="*/ 87 h 399"/>
                  <a:gd name="T18" fmla="*/ 201 w 526"/>
                  <a:gd name="T19" fmla="*/ 93 h 399"/>
                  <a:gd name="T20" fmla="*/ 190 w 526"/>
                  <a:gd name="T21" fmla="*/ 112 h 399"/>
                  <a:gd name="T22" fmla="*/ 184 w 526"/>
                  <a:gd name="T23" fmla="*/ 120 h 399"/>
                  <a:gd name="T24" fmla="*/ 175 w 526"/>
                  <a:gd name="T25" fmla="*/ 150 h 399"/>
                  <a:gd name="T26" fmla="*/ 166 w 526"/>
                  <a:gd name="T27" fmla="*/ 161 h 399"/>
                  <a:gd name="T28" fmla="*/ 153 w 526"/>
                  <a:gd name="T29" fmla="*/ 174 h 399"/>
                  <a:gd name="T30" fmla="*/ 144 w 526"/>
                  <a:gd name="T31" fmla="*/ 194 h 399"/>
                  <a:gd name="T32" fmla="*/ 122 w 526"/>
                  <a:gd name="T33" fmla="*/ 214 h 399"/>
                  <a:gd name="T34" fmla="*/ 87 w 526"/>
                  <a:gd name="T35" fmla="*/ 242 h 399"/>
                  <a:gd name="T36" fmla="*/ 70 w 526"/>
                  <a:gd name="T37" fmla="*/ 242 h 399"/>
                  <a:gd name="T38" fmla="*/ 64 w 526"/>
                  <a:gd name="T39" fmla="*/ 236 h 399"/>
                  <a:gd name="T40" fmla="*/ 58 w 526"/>
                  <a:gd name="T41" fmla="*/ 242 h 399"/>
                  <a:gd name="T42" fmla="*/ 47 w 526"/>
                  <a:gd name="T43" fmla="*/ 272 h 399"/>
                  <a:gd name="T44" fmla="*/ 60 w 526"/>
                  <a:gd name="T45" fmla="*/ 293 h 399"/>
                  <a:gd name="T46" fmla="*/ 65 w 526"/>
                  <a:gd name="T47" fmla="*/ 300 h 399"/>
                  <a:gd name="T48" fmla="*/ 75 w 526"/>
                  <a:gd name="T49" fmla="*/ 307 h 399"/>
                  <a:gd name="T50" fmla="*/ 84 w 526"/>
                  <a:gd name="T51" fmla="*/ 337 h 399"/>
                  <a:gd name="T52" fmla="*/ 81 w 526"/>
                  <a:gd name="T53" fmla="*/ 347 h 399"/>
                  <a:gd name="T54" fmla="*/ 73 w 526"/>
                  <a:gd name="T55" fmla="*/ 350 h 399"/>
                  <a:gd name="T56" fmla="*/ 57 w 526"/>
                  <a:gd name="T57" fmla="*/ 349 h 399"/>
                  <a:gd name="T58" fmla="*/ 33 w 526"/>
                  <a:gd name="T59" fmla="*/ 350 h 399"/>
                  <a:gd name="T60" fmla="*/ 13 w 526"/>
                  <a:gd name="T61" fmla="*/ 359 h 399"/>
                  <a:gd name="T62" fmla="*/ 17 w 526"/>
                  <a:gd name="T63" fmla="*/ 359 h 399"/>
                  <a:gd name="T64" fmla="*/ 8 w 526"/>
                  <a:gd name="T65" fmla="*/ 368 h 399"/>
                  <a:gd name="T66" fmla="*/ 39 w 526"/>
                  <a:gd name="T67" fmla="*/ 392 h 399"/>
                  <a:gd name="T68" fmla="*/ 62 w 526"/>
                  <a:gd name="T69" fmla="*/ 386 h 399"/>
                  <a:gd name="T70" fmla="*/ 524 w 526"/>
                  <a:gd name="T71" fmla="*/ 283 h 399"/>
                  <a:gd name="T72" fmla="*/ 511 w 526"/>
                  <a:gd name="T73" fmla="*/ 279 h 399"/>
                  <a:gd name="T74" fmla="*/ 499 w 526"/>
                  <a:gd name="T75" fmla="*/ 277 h 399"/>
                  <a:gd name="T76" fmla="*/ 487 w 526"/>
                  <a:gd name="T77" fmla="*/ 274 h 399"/>
                  <a:gd name="T78" fmla="*/ 473 w 526"/>
                  <a:gd name="T79" fmla="*/ 267 h 399"/>
                  <a:gd name="T80" fmla="*/ 463 w 526"/>
                  <a:gd name="T81" fmla="*/ 255 h 399"/>
                  <a:gd name="T82" fmla="*/ 452 w 526"/>
                  <a:gd name="T83" fmla="*/ 259 h 399"/>
                  <a:gd name="T84" fmla="*/ 437 w 526"/>
                  <a:gd name="T85" fmla="*/ 253 h 399"/>
                  <a:gd name="T86" fmla="*/ 430 w 526"/>
                  <a:gd name="T87" fmla="*/ 256 h 399"/>
                  <a:gd name="T88" fmla="*/ 410 w 526"/>
                  <a:gd name="T89" fmla="*/ 246 h 399"/>
                  <a:gd name="T90" fmla="*/ 394 w 526"/>
                  <a:gd name="T91" fmla="*/ 239 h 399"/>
                  <a:gd name="T92" fmla="*/ 380 w 526"/>
                  <a:gd name="T93" fmla="*/ 236 h 399"/>
                  <a:gd name="T94" fmla="*/ 357 w 526"/>
                  <a:gd name="T95" fmla="*/ 219 h 399"/>
                  <a:gd name="T96" fmla="*/ 339 w 526"/>
                  <a:gd name="T97" fmla="*/ 195 h 399"/>
                  <a:gd name="T98" fmla="*/ 344 w 526"/>
                  <a:gd name="T99" fmla="*/ 182 h 399"/>
                  <a:gd name="T100" fmla="*/ 339 w 526"/>
                  <a:gd name="T101" fmla="*/ 150 h 399"/>
                  <a:gd name="T102" fmla="*/ 316 w 526"/>
                  <a:gd name="T103" fmla="*/ 139 h 399"/>
                  <a:gd name="T104" fmla="*/ 310 w 526"/>
                  <a:gd name="T105" fmla="*/ 131 h 399"/>
                  <a:gd name="T106" fmla="*/ 301 w 526"/>
                  <a:gd name="T107" fmla="*/ 133 h 399"/>
                  <a:gd name="T108" fmla="*/ 296 w 526"/>
                  <a:gd name="T109" fmla="*/ 114 h 399"/>
                  <a:gd name="T110" fmla="*/ 288 w 526"/>
                  <a:gd name="T111" fmla="*/ 89 h 399"/>
                  <a:gd name="T112" fmla="*/ 305 w 526"/>
                  <a:gd name="T113" fmla="*/ 90 h 399"/>
                  <a:gd name="T114" fmla="*/ 316 w 526"/>
                  <a:gd name="T115" fmla="*/ 78 h 399"/>
                  <a:gd name="T116" fmla="*/ 303 w 526"/>
                  <a:gd name="T117" fmla="*/ 65 h 399"/>
                  <a:gd name="T118" fmla="*/ 298 w 526"/>
                  <a:gd name="T119" fmla="*/ 49 h 399"/>
                  <a:gd name="T120" fmla="*/ 300 w 526"/>
                  <a:gd name="T121" fmla="*/ 35 h 399"/>
                  <a:gd name="T122" fmla="*/ 278 w 526"/>
                  <a:gd name="T123" fmla="*/ 8 h 3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6" h="399">
                    <a:moveTo>
                      <a:pt x="277" y="0"/>
                    </a:moveTo>
                    <a:cubicBezTo>
                      <a:pt x="276" y="0"/>
                      <a:pt x="275" y="0"/>
                      <a:pt x="275" y="0"/>
                    </a:cubicBezTo>
                    <a:cubicBezTo>
                      <a:pt x="273" y="1"/>
                      <a:pt x="271" y="2"/>
                      <a:pt x="270" y="3"/>
                    </a:cubicBezTo>
                    <a:cubicBezTo>
                      <a:pt x="268" y="4"/>
                      <a:pt x="266" y="5"/>
                      <a:pt x="264" y="6"/>
                    </a:cubicBezTo>
                    <a:cubicBezTo>
                      <a:pt x="262" y="7"/>
                      <a:pt x="261" y="8"/>
                      <a:pt x="260" y="9"/>
                    </a:cubicBezTo>
                    <a:cubicBezTo>
                      <a:pt x="254" y="13"/>
                      <a:pt x="254" y="13"/>
                      <a:pt x="254" y="13"/>
                    </a:cubicBezTo>
                    <a:cubicBezTo>
                      <a:pt x="252" y="13"/>
                      <a:pt x="251" y="15"/>
                      <a:pt x="249" y="17"/>
                    </a:cubicBezTo>
                    <a:cubicBezTo>
                      <a:pt x="248" y="19"/>
                      <a:pt x="248" y="19"/>
                      <a:pt x="248" y="19"/>
                    </a:cubicBezTo>
                    <a:cubicBezTo>
                      <a:pt x="246" y="22"/>
                      <a:pt x="244" y="24"/>
                      <a:pt x="240" y="25"/>
                    </a:cubicBezTo>
                    <a:cubicBezTo>
                      <a:pt x="238" y="25"/>
                      <a:pt x="238" y="25"/>
                      <a:pt x="238" y="25"/>
                    </a:cubicBezTo>
                    <a:cubicBezTo>
                      <a:pt x="237" y="25"/>
                      <a:pt x="237" y="25"/>
                      <a:pt x="236" y="25"/>
                    </a:cubicBezTo>
                    <a:cubicBezTo>
                      <a:pt x="235" y="25"/>
                      <a:pt x="235" y="25"/>
                      <a:pt x="235" y="25"/>
                    </a:cubicBezTo>
                    <a:cubicBezTo>
                      <a:pt x="234" y="25"/>
                      <a:pt x="233" y="25"/>
                      <a:pt x="233" y="26"/>
                    </a:cubicBezTo>
                    <a:cubicBezTo>
                      <a:pt x="232" y="26"/>
                      <a:pt x="231" y="26"/>
                      <a:pt x="231" y="26"/>
                    </a:cubicBezTo>
                    <a:cubicBezTo>
                      <a:pt x="230" y="26"/>
                      <a:pt x="230" y="27"/>
                      <a:pt x="229" y="27"/>
                    </a:cubicBezTo>
                    <a:cubicBezTo>
                      <a:pt x="229" y="27"/>
                      <a:pt x="229" y="27"/>
                      <a:pt x="229" y="27"/>
                    </a:cubicBezTo>
                    <a:cubicBezTo>
                      <a:pt x="228" y="28"/>
                      <a:pt x="227" y="28"/>
                      <a:pt x="226" y="28"/>
                    </a:cubicBezTo>
                    <a:cubicBezTo>
                      <a:pt x="221" y="30"/>
                      <a:pt x="217" y="32"/>
                      <a:pt x="213" y="32"/>
                    </a:cubicBezTo>
                    <a:cubicBezTo>
                      <a:pt x="212" y="32"/>
                      <a:pt x="211" y="32"/>
                      <a:pt x="211" y="31"/>
                    </a:cubicBezTo>
                    <a:cubicBezTo>
                      <a:pt x="208" y="31"/>
                      <a:pt x="208" y="31"/>
                      <a:pt x="208" y="31"/>
                    </a:cubicBezTo>
                    <a:cubicBezTo>
                      <a:pt x="207" y="31"/>
                      <a:pt x="205" y="30"/>
                      <a:pt x="204" y="30"/>
                    </a:cubicBezTo>
                    <a:cubicBezTo>
                      <a:pt x="203" y="29"/>
                      <a:pt x="203" y="29"/>
                      <a:pt x="202" y="29"/>
                    </a:cubicBezTo>
                    <a:cubicBezTo>
                      <a:pt x="202" y="29"/>
                      <a:pt x="202" y="29"/>
                      <a:pt x="202" y="29"/>
                    </a:cubicBezTo>
                    <a:cubicBezTo>
                      <a:pt x="201" y="28"/>
                      <a:pt x="200" y="28"/>
                      <a:pt x="199" y="27"/>
                    </a:cubicBezTo>
                    <a:cubicBezTo>
                      <a:pt x="195" y="27"/>
                      <a:pt x="195" y="27"/>
                      <a:pt x="195" y="27"/>
                    </a:cubicBezTo>
                    <a:cubicBezTo>
                      <a:pt x="194" y="27"/>
                      <a:pt x="192" y="26"/>
                      <a:pt x="191" y="26"/>
                    </a:cubicBezTo>
                    <a:cubicBezTo>
                      <a:pt x="189" y="26"/>
                      <a:pt x="186" y="25"/>
                      <a:pt x="184" y="25"/>
                    </a:cubicBezTo>
                    <a:cubicBezTo>
                      <a:pt x="183" y="25"/>
                      <a:pt x="183" y="25"/>
                      <a:pt x="183" y="25"/>
                    </a:cubicBezTo>
                    <a:cubicBezTo>
                      <a:pt x="181" y="25"/>
                      <a:pt x="180" y="26"/>
                      <a:pt x="178" y="26"/>
                    </a:cubicBezTo>
                    <a:cubicBezTo>
                      <a:pt x="177" y="26"/>
                      <a:pt x="177" y="26"/>
                      <a:pt x="177" y="26"/>
                    </a:cubicBezTo>
                    <a:cubicBezTo>
                      <a:pt x="174" y="26"/>
                      <a:pt x="170" y="26"/>
                      <a:pt x="168" y="27"/>
                    </a:cubicBezTo>
                    <a:cubicBezTo>
                      <a:pt x="167" y="27"/>
                      <a:pt x="167" y="27"/>
                      <a:pt x="166" y="27"/>
                    </a:cubicBezTo>
                    <a:cubicBezTo>
                      <a:pt x="166" y="28"/>
                      <a:pt x="166" y="28"/>
                      <a:pt x="166" y="28"/>
                    </a:cubicBezTo>
                    <a:cubicBezTo>
                      <a:pt x="165" y="29"/>
                      <a:pt x="164" y="30"/>
                      <a:pt x="164" y="31"/>
                    </a:cubicBezTo>
                    <a:cubicBezTo>
                      <a:pt x="164" y="32"/>
                      <a:pt x="164" y="32"/>
                      <a:pt x="164" y="32"/>
                    </a:cubicBezTo>
                    <a:cubicBezTo>
                      <a:pt x="164" y="32"/>
                      <a:pt x="164" y="32"/>
                      <a:pt x="164" y="32"/>
                    </a:cubicBezTo>
                    <a:cubicBezTo>
                      <a:pt x="165" y="32"/>
                      <a:pt x="165" y="32"/>
                      <a:pt x="165" y="32"/>
                    </a:cubicBezTo>
                    <a:cubicBezTo>
                      <a:pt x="166" y="32"/>
                      <a:pt x="166" y="32"/>
                      <a:pt x="166" y="32"/>
                    </a:cubicBezTo>
                    <a:cubicBezTo>
                      <a:pt x="168" y="34"/>
                      <a:pt x="168" y="34"/>
                      <a:pt x="168" y="34"/>
                    </a:cubicBezTo>
                    <a:cubicBezTo>
                      <a:pt x="169" y="36"/>
                      <a:pt x="168" y="38"/>
                      <a:pt x="168" y="40"/>
                    </a:cubicBezTo>
                    <a:cubicBezTo>
                      <a:pt x="172" y="41"/>
                      <a:pt x="175" y="42"/>
                      <a:pt x="176" y="45"/>
                    </a:cubicBezTo>
                    <a:cubicBezTo>
                      <a:pt x="177" y="46"/>
                      <a:pt x="177" y="49"/>
                      <a:pt x="174" y="51"/>
                    </a:cubicBezTo>
                    <a:cubicBezTo>
                      <a:pt x="174" y="51"/>
                      <a:pt x="174" y="52"/>
                      <a:pt x="174" y="52"/>
                    </a:cubicBezTo>
                    <a:cubicBezTo>
                      <a:pt x="173" y="52"/>
                      <a:pt x="173" y="52"/>
                      <a:pt x="173" y="52"/>
                    </a:cubicBezTo>
                    <a:cubicBezTo>
                      <a:pt x="172" y="53"/>
                      <a:pt x="171" y="53"/>
                      <a:pt x="171" y="53"/>
                    </a:cubicBezTo>
                    <a:cubicBezTo>
                      <a:pt x="170" y="53"/>
                      <a:pt x="170" y="53"/>
                      <a:pt x="170" y="53"/>
                    </a:cubicBezTo>
                    <a:cubicBezTo>
                      <a:pt x="170" y="53"/>
                      <a:pt x="170" y="53"/>
                      <a:pt x="170" y="53"/>
                    </a:cubicBezTo>
                    <a:cubicBezTo>
                      <a:pt x="170" y="54"/>
                      <a:pt x="170" y="54"/>
                      <a:pt x="171" y="55"/>
                    </a:cubicBezTo>
                    <a:cubicBezTo>
                      <a:pt x="172" y="56"/>
                      <a:pt x="172" y="56"/>
                      <a:pt x="172" y="56"/>
                    </a:cubicBezTo>
                    <a:cubicBezTo>
                      <a:pt x="175" y="60"/>
                      <a:pt x="173" y="65"/>
                      <a:pt x="171" y="68"/>
                    </a:cubicBezTo>
                    <a:cubicBezTo>
                      <a:pt x="171" y="68"/>
                      <a:pt x="171" y="69"/>
                      <a:pt x="170" y="70"/>
                    </a:cubicBezTo>
                    <a:cubicBezTo>
                      <a:pt x="170" y="71"/>
                      <a:pt x="170" y="71"/>
                      <a:pt x="170" y="71"/>
                    </a:cubicBezTo>
                    <a:cubicBezTo>
                      <a:pt x="171" y="72"/>
                      <a:pt x="173" y="74"/>
                      <a:pt x="173" y="75"/>
                    </a:cubicBezTo>
                    <a:cubicBezTo>
                      <a:pt x="177" y="79"/>
                      <a:pt x="177" y="79"/>
                      <a:pt x="177" y="79"/>
                    </a:cubicBezTo>
                    <a:cubicBezTo>
                      <a:pt x="177" y="80"/>
                      <a:pt x="177" y="80"/>
                      <a:pt x="177" y="80"/>
                    </a:cubicBezTo>
                    <a:cubicBezTo>
                      <a:pt x="178" y="81"/>
                      <a:pt x="178" y="81"/>
                      <a:pt x="178" y="81"/>
                    </a:cubicBezTo>
                    <a:cubicBezTo>
                      <a:pt x="179" y="81"/>
                      <a:pt x="179" y="81"/>
                      <a:pt x="181" y="80"/>
                    </a:cubicBezTo>
                    <a:cubicBezTo>
                      <a:pt x="182" y="79"/>
                      <a:pt x="184" y="79"/>
                      <a:pt x="185" y="79"/>
                    </a:cubicBezTo>
                    <a:cubicBezTo>
                      <a:pt x="191" y="78"/>
                      <a:pt x="191" y="78"/>
                      <a:pt x="191" y="78"/>
                    </a:cubicBezTo>
                    <a:cubicBezTo>
                      <a:pt x="188" y="85"/>
                      <a:pt x="188" y="85"/>
                      <a:pt x="188" y="85"/>
                    </a:cubicBezTo>
                    <a:cubicBezTo>
                      <a:pt x="188" y="85"/>
                      <a:pt x="188" y="85"/>
                      <a:pt x="188" y="85"/>
                    </a:cubicBezTo>
                    <a:cubicBezTo>
                      <a:pt x="188" y="87"/>
                      <a:pt x="188" y="87"/>
                      <a:pt x="188" y="87"/>
                    </a:cubicBezTo>
                    <a:cubicBezTo>
                      <a:pt x="188" y="87"/>
                      <a:pt x="188" y="87"/>
                      <a:pt x="188" y="87"/>
                    </a:cubicBezTo>
                    <a:cubicBezTo>
                      <a:pt x="188" y="88"/>
                      <a:pt x="188" y="89"/>
                      <a:pt x="188" y="90"/>
                    </a:cubicBezTo>
                    <a:cubicBezTo>
                      <a:pt x="189" y="90"/>
                      <a:pt x="189" y="90"/>
                      <a:pt x="189" y="90"/>
                    </a:cubicBezTo>
                    <a:cubicBezTo>
                      <a:pt x="189" y="90"/>
                      <a:pt x="189" y="90"/>
                      <a:pt x="191" y="90"/>
                    </a:cubicBezTo>
                    <a:cubicBezTo>
                      <a:pt x="194" y="91"/>
                      <a:pt x="194" y="91"/>
                      <a:pt x="194" y="91"/>
                    </a:cubicBezTo>
                    <a:cubicBezTo>
                      <a:pt x="196" y="91"/>
                      <a:pt x="197" y="91"/>
                      <a:pt x="198" y="92"/>
                    </a:cubicBezTo>
                    <a:cubicBezTo>
                      <a:pt x="199" y="92"/>
                      <a:pt x="200" y="92"/>
                      <a:pt x="200" y="92"/>
                    </a:cubicBezTo>
                    <a:cubicBezTo>
                      <a:pt x="201" y="92"/>
                      <a:pt x="201" y="93"/>
                      <a:pt x="201" y="93"/>
                    </a:cubicBezTo>
                    <a:cubicBezTo>
                      <a:pt x="202" y="93"/>
                      <a:pt x="203" y="94"/>
                      <a:pt x="204" y="94"/>
                    </a:cubicBezTo>
                    <a:cubicBezTo>
                      <a:pt x="206" y="96"/>
                      <a:pt x="207" y="100"/>
                      <a:pt x="206" y="104"/>
                    </a:cubicBezTo>
                    <a:cubicBezTo>
                      <a:pt x="204" y="107"/>
                      <a:pt x="201" y="109"/>
                      <a:pt x="198" y="110"/>
                    </a:cubicBezTo>
                    <a:cubicBezTo>
                      <a:pt x="196" y="110"/>
                      <a:pt x="196" y="110"/>
                      <a:pt x="196" y="110"/>
                    </a:cubicBezTo>
                    <a:cubicBezTo>
                      <a:pt x="195" y="111"/>
                      <a:pt x="195" y="111"/>
                      <a:pt x="194" y="111"/>
                    </a:cubicBezTo>
                    <a:cubicBezTo>
                      <a:pt x="192" y="112"/>
                      <a:pt x="192" y="112"/>
                      <a:pt x="192" y="112"/>
                    </a:cubicBezTo>
                    <a:cubicBezTo>
                      <a:pt x="192" y="112"/>
                      <a:pt x="191" y="112"/>
                      <a:pt x="190" y="112"/>
                    </a:cubicBezTo>
                    <a:cubicBezTo>
                      <a:pt x="190" y="113"/>
                      <a:pt x="189" y="113"/>
                      <a:pt x="189" y="113"/>
                    </a:cubicBezTo>
                    <a:cubicBezTo>
                      <a:pt x="188" y="113"/>
                      <a:pt x="188" y="113"/>
                      <a:pt x="188" y="113"/>
                    </a:cubicBezTo>
                    <a:cubicBezTo>
                      <a:pt x="188" y="114"/>
                      <a:pt x="187" y="114"/>
                      <a:pt x="187" y="114"/>
                    </a:cubicBezTo>
                    <a:cubicBezTo>
                      <a:pt x="186" y="114"/>
                      <a:pt x="186" y="114"/>
                      <a:pt x="186" y="114"/>
                    </a:cubicBezTo>
                    <a:cubicBezTo>
                      <a:pt x="185" y="115"/>
                      <a:pt x="184" y="116"/>
                      <a:pt x="184" y="117"/>
                    </a:cubicBezTo>
                    <a:cubicBezTo>
                      <a:pt x="184" y="117"/>
                      <a:pt x="184" y="117"/>
                      <a:pt x="184" y="117"/>
                    </a:cubicBezTo>
                    <a:cubicBezTo>
                      <a:pt x="184" y="120"/>
                      <a:pt x="184" y="120"/>
                      <a:pt x="184" y="120"/>
                    </a:cubicBezTo>
                    <a:cubicBezTo>
                      <a:pt x="184" y="122"/>
                      <a:pt x="184" y="125"/>
                      <a:pt x="185" y="127"/>
                    </a:cubicBezTo>
                    <a:cubicBezTo>
                      <a:pt x="185" y="128"/>
                      <a:pt x="185" y="128"/>
                      <a:pt x="185" y="128"/>
                    </a:cubicBezTo>
                    <a:cubicBezTo>
                      <a:pt x="185" y="128"/>
                      <a:pt x="185" y="129"/>
                      <a:pt x="185" y="130"/>
                    </a:cubicBezTo>
                    <a:cubicBezTo>
                      <a:pt x="186" y="133"/>
                      <a:pt x="186" y="133"/>
                      <a:pt x="186" y="133"/>
                    </a:cubicBezTo>
                    <a:cubicBezTo>
                      <a:pt x="186" y="135"/>
                      <a:pt x="186" y="136"/>
                      <a:pt x="186" y="137"/>
                    </a:cubicBezTo>
                    <a:cubicBezTo>
                      <a:pt x="187" y="140"/>
                      <a:pt x="185" y="143"/>
                      <a:pt x="182" y="145"/>
                    </a:cubicBezTo>
                    <a:cubicBezTo>
                      <a:pt x="180" y="147"/>
                      <a:pt x="177" y="149"/>
                      <a:pt x="175" y="150"/>
                    </a:cubicBezTo>
                    <a:cubicBezTo>
                      <a:pt x="174" y="151"/>
                      <a:pt x="174" y="151"/>
                      <a:pt x="174" y="151"/>
                    </a:cubicBezTo>
                    <a:cubicBezTo>
                      <a:pt x="173" y="151"/>
                      <a:pt x="171" y="153"/>
                      <a:pt x="171" y="153"/>
                    </a:cubicBezTo>
                    <a:cubicBezTo>
                      <a:pt x="171" y="154"/>
                      <a:pt x="171" y="154"/>
                      <a:pt x="171" y="154"/>
                    </a:cubicBezTo>
                    <a:cubicBezTo>
                      <a:pt x="169" y="155"/>
                      <a:pt x="168" y="156"/>
                      <a:pt x="167" y="158"/>
                    </a:cubicBezTo>
                    <a:cubicBezTo>
                      <a:pt x="167" y="158"/>
                      <a:pt x="167" y="158"/>
                      <a:pt x="167" y="158"/>
                    </a:cubicBezTo>
                    <a:cubicBezTo>
                      <a:pt x="166" y="159"/>
                      <a:pt x="166" y="159"/>
                      <a:pt x="165" y="160"/>
                    </a:cubicBezTo>
                    <a:cubicBezTo>
                      <a:pt x="166" y="161"/>
                      <a:pt x="166" y="161"/>
                      <a:pt x="166" y="161"/>
                    </a:cubicBezTo>
                    <a:cubicBezTo>
                      <a:pt x="167" y="162"/>
                      <a:pt x="167" y="162"/>
                      <a:pt x="167" y="162"/>
                    </a:cubicBezTo>
                    <a:cubicBezTo>
                      <a:pt x="167" y="163"/>
                      <a:pt x="167" y="163"/>
                      <a:pt x="167" y="163"/>
                    </a:cubicBezTo>
                    <a:cubicBezTo>
                      <a:pt x="169" y="166"/>
                      <a:pt x="169" y="166"/>
                      <a:pt x="169" y="166"/>
                    </a:cubicBezTo>
                    <a:cubicBezTo>
                      <a:pt x="166" y="168"/>
                      <a:pt x="166" y="168"/>
                      <a:pt x="166" y="168"/>
                    </a:cubicBezTo>
                    <a:cubicBezTo>
                      <a:pt x="164" y="169"/>
                      <a:pt x="163" y="170"/>
                      <a:pt x="161" y="170"/>
                    </a:cubicBezTo>
                    <a:cubicBezTo>
                      <a:pt x="160" y="171"/>
                      <a:pt x="160" y="171"/>
                      <a:pt x="160" y="171"/>
                    </a:cubicBezTo>
                    <a:cubicBezTo>
                      <a:pt x="157" y="172"/>
                      <a:pt x="155" y="173"/>
                      <a:pt x="153" y="174"/>
                    </a:cubicBezTo>
                    <a:cubicBezTo>
                      <a:pt x="152" y="175"/>
                      <a:pt x="151" y="175"/>
                      <a:pt x="151" y="176"/>
                    </a:cubicBezTo>
                    <a:cubicBezTo>
                      <a:pt x="150" y="177"/>
                      <a:pt x="149" y="179"/>
                      <a:pt x="149" y="181"/>
                    </a:cubicBezTo>
                    <a:cubicBezTo>
                      <a:pt x="149" y="182"/>
                      <a:pt x="149" y="182"/>
                      <a:pt x="149" y="183"/>
                    </a:cubicBezTo>
                    <a:cubicBezTo>
                      <a:pt x="148" y="185"/>
                      <a:pt x="148" y="185"/>
                      <a:pt x="148" y="185"/>
                    </a:cubicBezTo>
                    <a:cubicBezTo>
                      <a:pt x="148" y="186"/>
                      <a:pt x="147" y="187"/>
                      <a:pt x="147" y="187"/>
                    </a:cubicBezTo>
                    <a:cubicBezTo>
                      <a:pt x="146" y="189"/>
                      <a:pt x="145" y="191"/>
                      <a:pt x="144" y="193"/>
                    </a:cubicBezTo>
                    <a:cubicBezTo>
                      <a:pt x="144" y="194"/>
                      <a:pt x="144" y="194"/>
                      <a:pt x="144" y="194"/>
                    </a:cubicBezTo>
                    <a:cubicBezTo>
                      <a:pt x="143" y="195"/>
                      <a:pt x="142" y="197"/>
                      <a:pt x="141" y="198"/>
                    </a:cubicBezTo>
                    <a:cubicBezTo>
                      <a:pt x="138" y="203"/>
                      <a:pt x="136" y="204"/>
                      <a:pt x="131" y="207"/>
                    </a:cubicBezTo>
                    <a:cubicBezTo>
                      <a:pt x="131" y="207"/>
                      <a:pt x="131" y="207"/>
                      <a:pt x="131" y="207"/>
                    </a:cubicBezTo>
                    <a:cubicBezTo>
                      <a:pt x="130" y="208"/>
                      <a:pt x="129" y="208"/>
                      <a:pt x="128" y="209"/>
                    </a:cubicBezTo>
                    <a:cubicBezTo>
                      <a:pt x="126" y="210"/>
                      <a:pt x="124" y="211"/>
                      <a:pt x="123" y="213"/>
                    </a:cubicBezTo>
                    <a:cubicBezTo>
                      <a:pt x="126" y="215"/>
                      <a:pt x="126" y="215"/>
                      <a:pt x="126" y="215"/>
                    </a:cubicBezTo>
                    <a:cubicBezTo>
                      <a:pt x="122" y="214"/>
                      <a:pt x="122" y="214"/>
                      <a:pt x="122" y="214"/>
                    </a:cubicBezTo>
                    <a:cubicBezTo>
                      <a:pt x="104" y="238"/>
                      <a:pt x="104" y="238"/>
                      <a:pt x="104" y="238"/>
                    </a:cubicBezTo>
                    <a:cubicBezTo>
                      <a:pt x="102" y="239"/>
                      <a:pt x="101" y="239"/>
                      <a:pt x="100" y="240"/>
                    </a:cubicBezTo>
                    <a:cubicBezTo>
                      <a:pt x="98" y="240"/>
                      <a:pt x="96" y="240"/>
                      <a:pt x="93" y="241"/>
                    </a:cubicBezTo>
                    <a:cubicBezTo>
                      <a:pt x="92" y="241"/>
                      <a:pt x="92" y="241"/>
                      <a:pt x="92" y="241"/>
                    </a:cubicBezTo>
                    <a:cubicBezTo>
                      <a:pt x="91" y="241"/>
                      <a:pt x="91" y="241"/>
                      <a:pt x="91" y="241"/>
                    </a:cubicBezTo>
                    <a:cubicBezTo>
                      <a:pt x="90" y="241"/>
                      <a:pt x="89" y="241"/>
                      <a:pt x="89" y="241"/>
                    </a:cubicBezTo>
                    <a:cubicBezTo>
                      <a:pt x="87" y="242"/>
                      <a:pt x="87" y="242"/>
                      <a:pt x="87" y="242"/>
                    </a:cubicBezTo>
                    <a:cubicBezTo>
                      <a:pt x="87" y="242"/>
                      <a:pt x="87" y="242"/>
                      <a:pt x="87" y="242"/>
                    </a:cubicBezTo>
                    <a:cubicBezTo>
                      <a:pt x="85" y="242"/>
                      <a:pt x="83" y="243"/>
                      <a:pt x="81" y="244"/>
                    </a:cubicBezTo>
                    <a:cubicBezTo>
                      <a:pt x="80" y="244"/>
                      <a:pt x="80" y="244"/>
                      <a:pt x="80" y="244"/>
                    </a:cubicBezTo>
                    <a:cubicBezTo>
                      <a:pt x="79" y="245"/>
                      <a:pt x="77" y="245"/>
                      <a:pt x="76" y="245"/>
                    </a:cubicBezTo>
                    <a:cubicBezTo>
                      <a:pt x="75" y="245"/>
                      <a:pt x="73" y="244"/>
                      <a:pt x="72" y="243"/>
                    </a:cubicBezTo>
                    <a:cubicBezTo>
                      <a:pt x="72" y="243"/>
                      <a:pt x="72" y="243"/>
                      <a:pt x="72" y="243"/>
                    </a:cubicBezTo>
                    <a:cubicBezTo>
                      <a:pt x="71" y="243"/>
                      <a:pt x="71" y="242"/>
                      <a:pt x="70" y="242"/>
                    </a:cubicBezTo>
                    <a:cubicBezTo>
                      <a:pt x="70" y="241"/>
                      <a:pt x="69" y="240"/>
                      <a:pt x="68" y="239"/>
                    </a:cubicBezTo>
                    <a:cubicBezTo>
                      <a:pt x="68" y="238"/>
                      <a:pt x="67" y="237"/>
                      <a:pt x="67" y="236"/>
                    </a:cubicBezTo>
                    <a:cubicBezTo>
                      <a:pt x="67" y="236"/>
                      <a:pt x="67" y="236"/>
                      <a:pt x="67" y="236"/>
                    </a:cubicBezTo>
                    <a:cubicBezTo>
                      <a:pt x="66" y="236"/>
                      <a:pt x="66" y="236"/>
                      <a:pt x="66" y="236"/>
                    </a:cubicBezTo>
                    <a:cubicBezTo>
                      <a:pt x="66" y="235"/>
                      <a:pt x="66" y="235"/>
                      <a:pt x="66" y="235"/>
                    </a:cubicBezTo>
                    <a:cubicBezTo>
                      <a:pt x="65" y="235"/>
                      <a:pt x="65" y="235"/>
                      <a:pt x="65" y="235"/>
                    </a:cubicBezTo>
                    <a:cubicBezTo>
                      <a:pt x="64" y="236"/>
                      <a:pt x="64" y="236"/>
                      <a:pt x="64" y="236"/>
                    </a:cubicBezTo>
                    <a:cubicBezTo>
                      <a:pt x="64" y="236"/>
                      <a:pt x="64" y="236"/>
                      <a:pt x="63" y="236"/>
                    </a:cubicBezTo>
                    <a:cubicBezTo>
                      <a:pt x="62" y="237"/>
                      <a:pt x="62" y="237"/>
                      <a:pt x="62" y="237"/>
                    </a:cubicBezTo>
                    <a:cubicBezTo>
                      <a:pt x="62" y="238"/>
                      <a:pt x="62" y="238"/>
                      <a:pt x="62" y="238"/>
                    </a:cubicBezTo>
                    <a:cubicBezTo>
                      <a:pt x="61" y="238"/>
                      <a:pt x="61" y="238"/>
                      <a:pt x="61" y="238"/>
                    </a:cubicBezTo>
                    <a:cubicBezTo>
                      <a:pt x="59" y="241"/>
                      <a:pt x="59" y="241"/>
                      <a:pt x="59" y="241"/>
                    </a:cubicBezTo>
                    <a:cubicBezTo>
                      <a:pt x="58" y="241"/>
                      <a:pt x="58" y="241"/>
                      <a:pt x="58" y="241"/>
                    </a:cubicBezTo>
                    <a:cubicBezTo>
                      <a:pt x="58" y="242"/>
                      <a:pt x="58" y="242"/>
                      <a:pt x="58" y="242"/>
                    </a:cubicBezTo>
                    <a:cubicBezTo>
                      <a:pt x="57" y="243"/>
                      <a:pt x="56" y="244"/>
                      <a:pt x="56" y="244"/>
                    </a:cubicBezTo>
                    <a:cubicBezTo>
                      <a:pt x="55" y="246"/>
                      <a:pt x="53" y="248"/>
                      <a:pt x="51" y="249"/>
                    </a:cubicBezTo>
                    <a:cubicBezTo>
                      <a:pt x="49" y="253"/>
                      <a:pt x="45" y="256"/>
                      <a:pt x="43" y="260"/>
                    </a:cubicBezTo>
                    <a:cubicBezTo>
                      <a:pt x="41" y="264"/>
                      <a:pt x="40" y="267"/>
                      <a:pt x="40" y="268"/>
                    </a:cubicBezTo>
                    <a:cubicBezTo>
                      <a:pt x="40" y="269"/>
                      <a:pt x="41" y="269"/>
                      <a:pt x="41" y="269"/>
                    </a:cubicBezTo>
                    <a:cubicBezTo>
                      <a:pt x="42" y="270"/>
                      <a:pt x="43" y="271"/>
                      <a:pt x="46" y="272"/>
                    </a:cubicBezTo>
                    <a:cubicBezTo>
                      <a:pt x="47" y="272"/>
                      <a:pt x="47" y="272"/>
                      <a:pt x="47" y="272"/>
                    </a:cubicBezTo>
                    <a:cubicBezTo>
                      <a:pt x="48" y="272"/>
                      <a:pt x="50" y="272"/>
                      <a:pt x="52" y="272"/>
                    </a:cubicBezTo>
                    <a:cubicBezTo>
                      <a:pt x="52" y="272"/>
                      <a:pt x="53" y="272"/>
                      <a:pt x="53" y="273"/>
                    </a:cubicBezTo>
                    <a:cubicBezTo>
                      <a:pt x="55" y="273"/>
                      <a:pt x="56" y="273"/>
                      <a:pt x="57" y="274"/>
                    </a:cubicBezTo>
                    <a:cubicBezTo>
                      <a:pt x="59" y="275"/>
                      <a:pt x="60" y="277"/>
                      <a:pt x="60" y="279"/>
                    </a:cubicBezTo>
                    <a:cubicBezTo>
                      <a:pt x="60" y="281"/>
                      <a:pt x="60" y="283"/>
                      <a:pt x="60" y="285"/>
                    </a:cubicBezTo>
                    <a:cubicBezTo>
                      <a:pt x="59" y="288"/>
                      <a:pt x="59" y="290"/>
                      <a:pt x="59" y="291"/>
                    </a:cubicBezTo>
                    <a:cubicBezTo>
                      <a:pt x="60" y="292"/>
                      <a:pt x="60" y="292"/>
                      <a:pt x="60" y="293"/>
                    </a:cubicBezTo>
                    <a:cubicBezTo>
                      <a:pt x="60" y="294"/>
                      <a:pt x="60" y="294"/>
                      <a:pt x="60" y="294"/>
                    </a:cubicBezTo>
                    <a:cubicBezTo>
                      <a:pt x="61" y="296"/>
                      <a:pt x="61" y="298"/>
                      <a:pt x="62" y="299"/>
                    </a:cubicBezTo>
                    <a:cubicBezTo>
                      <a:pt x="63" y="300"/>
                      <a:pt x="63" y="300"/>
                      <a:pt x="63" y="300"/>
                    </a:cubicBezTo>
                    <a:cubicBezTo>
                      <a:pt x="64" y="300"/>
                      <a:pt x="64" y="300"/>
                      <a:pt x="64" y="300"/>
                    </a:cubicBezTo>
                    <a:cubicBezTo>
                      <a:pt x="64" y="300"/>
                      <a:pt x="65" y="300"/>
                      <a:pt x="65" y="300"/>
                    </a:cubicBezTo>
                    <a:cubicBezTo>
                      <a:pt x="65" y="300"/>
                      <a:pt x="65" y="300"/>
                      <a:pt x="65" y="300"/>
                    </a:cubicBezTo>
                    <a:cubicBezTo>
                      <a:pt x="65" y="300"/>
                      <a:pt x="65" y="300"/>
                      <a:pt x="65" y="300"/>
                    </a:cubicBezTo>
                    <a:cubicBezTo>
                      <a:pt x="66" y="300"/>
                      <a:pt x="66" y="300"/>
                      <a:pt x="66" y="300"/>
                    </a:cubicBezTo>
                    <a:cubicBezTo>
                      <a:pt x="66" y="300"/>
                      <a:pt x="66" y="300"/>
                      <a:pt x="66" y="300"/>
                    </a:cubicBezTo>
                    <a:cubicBezTo>
                      <a:pt x="67" y="300"/>
                      <a:pt x="67" y="299"/>
                      <a:pt x="67" y="299"/>
                    </a:cubicBezTo>
                    <a:cubicBezTo>
                      <a:pt x="68" y="299"/>
                      <a:pt x="68" y="299"/>
                      <a:pt x="69" y="299"/>
                    </a:cubicBezTo>
                    <a:cubicBezTo>
                      <a:pt x="69" y="299"/>
                      <a:pt x="70" y="299"/>
                      <a:pt x="70" y="299"/>
                    </a:cubicBezTo>
                    <a:cubicBezTo>
                      <a:pt x="72" y="300"/>
                      <a:pt x="74" y="302"/>
                      <a:pt x="74" y="304"/>
                    </a:cubicBezTo>
                    <a:cubicBezTo>
                      <a:pt x="75" y="305"/>
                      <a:pt x="75" y="306"/>
                      <a:pt x="75" y="307"/>
                    </a:cubicBezTo>
                    <a:cubicBezTo>
                      <a:pt x="75" y="309"/>
                      <a:pt x="76" y="310"/>
                      <a:pt x="76" y="312"/>
                    </a:cubicBezTo>
                    <a:cubicBezTo>
                      <a:pt x="77" y="313"/>
                      <a:pt x="77" y="314"/>
                      <a:pt x="77" y="315"/>
                    </a:cubicBezTo>
                    <a:cubicBezTo>
                      <a:pt x="78" y="315"/>
                      <a:pt x="78" y="315"/>
                      <a:pt x="78" y="315"/>
                    </a:cubicBezTo>
                    <a:cubicBezTo>
                      <a:pt x="78" y="315"/>
                      <a:pt x="78" y="315"/>
                      <a:pt x="78" y="315"/>
                    </a:cubicBezTo>
                    <a:cubicBezTo>
                      <a:pt x="84" y="329"/>
                      <a:pt x="84" y="329"/>
                      <a:pt x="84" y="329"/>
                    </a:cubicBezTo>
                    <a:cubicBezTo>
                      <a:pt x="85" y="331"/>
                      <a:pt x="85" y="332"/>
                      <a:pt x="85" y="333"/>
                    </a:cubicBezTo>
                    <a:cubicBezTo>
                      <a:pt x="85" y="335"/>
                      <a:pt x="84" y="336"/>
                      <a:pt x="84" y="337"/>
                    </a:cubicBezTo>
                    <a:cubicBezTo>
                      <a:pt x="83" y="338"/>
                      <a:pt x="83" y="338"/>
                      <a:pt x="83" y="338"/>
                    </a:cubicBezTo>
                    <a:cubicBezTo>
                      <a:pt x="84" y="338"/>
                      <a:pt x="84" y="338"/>
                      <a:pt x="84" y="338"/>
                    </a:cubicBezTo>
                    <a:cubicBezTo>
                      <a:pt x="85" y="339"/>
                      <a:pt x="85" y="339"/>
                      <a:pt x="85" y="339"/>
                    </a:cubicBezTo>
                    <a:cubicBezTo>
                      <a:pt x="86" y="340"/>
                      <a:pt x="86" y="340"/>
                      <a:pt x="86" y="340"/>
                    </a:cubicBezTo>
                    <a:cubicBezTo>
                      <a:pt x="86" y="341"/>
                      <a:pt x="86" y="341"/>
                      <a:pt x="86" y="341"/>
                    </a:cubicBezTo>
                    <a:cubicBezTo>
                      <a:pt x="86" y="343"/>
                      <a:pt x="84" y="345"/>
                      <a:pt x="84" y="345"/>
                    </a:cubicBezTo>
                    <a:cubicBezTo>
                      <a:pt x="83" y="346"/>
                      <a:pt x="82" y="347"/>
                      <a:pt x="81" y="347"/>
                    </a:cubicBezTo>
                    <a:cubicBezTo>
                      <a:pt x="80" y="347"/>
                      <a:pt x="80" y="347"/>
                      <a:pt x="80" y="347"/>
                    </a:cubicBezTo>
                    <a:cubicBezTo>
                      <a:pt x="80" y="347"/>
                      <a:pt x="80" y="347"/>
                      <a:pt x="80" y="347"/>
                    </a:cubicBezTo>
                    <a:cubicBezTo>
                      <a:pt x="79" y="348"/>
                      <a:pt x="79" y="348"/>
                      <a:pt x="79" y="348"/>
                    </a:cubicBezTo>
                    <a:cubicBezTo>
                      <a:pt x="79" y="349"/>
                      <a:pt x="79" y="349"/>
                      <a:pt x="79" y="349"/>
                    </a:cubicBezTo>
                    <a:cubicBezTo>
                      <a:pt x="78" y="349"/>
                      <a:pt x="78" y="349"/>
                      <a:pt x="78" y="349"/>
                    </a:cubicBezTo>
                    <a:cubicBezTo>
                      <a:pt x="76" y="350"/>
                      <a:pt x="75" y="350"/>
                      <a:pt x="74" y="350"/>
                    </a:cubicBezTo>
                    <a:cubicBezTo>
                      <a:pt x="74" y="350"/>
                      <a:pt x="73" y="350"/>
                      <a:pt x="73" y="350"/>
                    </a:cubicBezTo>
                    <a:cubicBezTo>
                      <a:pt x="71" y="350"/>
                      <a:pt x="69" y="349"/>
                      <a:pt x="67" y="348"/>
                    </a:cubicBezTo>
                    <a:cubicBezTo>
                      <a:pt x="67" y="347"/>
                      <a:pt x="66" y="347"/>
                      <a:pt x="66" y="347"/>
                    </a:cubicBezTo>
                    <a:cubicBezTo>
                      <a:pt x="66" y="346"/>
                      <a:pt x="66" y="346"/>
                      <a:pt x="66" y="346"/>
                    </a:cubicBezTo>
                    <a:cubicBezTo>
                      <a:pt x="65" y="346"/>
                      <a:pt x="65" y="346"/>
                      <a:pt x="65" y="346"/>
                    </a:cubicBezTo>
                    <a:cubicBezTo>
                      <a:pt x="63" y="346"/>
                      <a:pt x="63" y="346"/>
                      <a:pt x="63" y="346"/>
                    </a:cubicBezTo>
                    <a:cubicBezTo>
                      <a:pt x="61" y="347"/>
                      <a:pt x="59" y="348"/>
                      <a:pt x="57" y="348"/>
                    </a:cubicBezTo>
                    <a:cubicBezTo>
                      <a:pt x="57" y="349"/>
                      <a:pt x="57" y="349"/>
                      <a:pt x="57" y="349"/>
                    </a:cubicBezTo>
                    <a:cubicBezTo>
                      <a:pt x="56" y="351"/>
                      <a:pt x="56" y="351"/>
                      <a:pt x="56" y="351"/>
                    </a:cubicBezTo>
                    <a:cubicBezTo>
                      <a:pt x="55" y="352"/>
                      <a:pt x="55" y="352"/>
                      <a:pt x="55" y="352"/>
                    </a:cubicBezTo>
                    <a:cubicBezTo>
                      <a:pt x="53" y="352"/>
                      <a:pt x="52" y="353"/>
                      <a:pt x="50" y="353"/>
                    </a:cubicBezTo>
                    <a:cubicBezTo>
                      <a:pt x="50" y="353"/>
                      <a:pt x="49" y="353"/>
                      <a:pt x="48" y="352"/>
                    </a:cubicBezTo>
                    <a:cubicBezTo>
                      <a:pt x="47" y="352"/>
                      <a:pt x="46" y="352"/>
                      <a:pt x="44" y="352"/>
                    </a:cubicBezTo>
                    <a:cubicBezTo>
                      <a:pt x="44" y="352"/>
                      <a:pt x="43" y="352"/>
                      <a:pt x="42" y="351"/>
                    </a:cubicBezTo>
                    <a:cubicBezTo>
                      <a:pt x="33" y="350"/>
                      <a:pt x="33" y="350"/>
                      <a:pt x="33" y="350"/>
                    </a:cubicBezTo>
                    <a:cubicBezTo>
                      <a:pt x="29" y="350"/>
                      <a:pt x="24" y="349"/>
                      <a:pt x="20" y="349"/>
                    </a:cubicBezTo>
                    <a:cubicBezTo>
                      <a:pt x="20" y="350"/>
                      <a:pt x="20" y="352"/>
                      <a:pt x="19" y="353"/>
                    </a:cubicBezTo>
                    <a:cubicBezTo>
                      <a:pt x="19" y="354"/>
                      <a:pt x="19" y="354"/>
                      <a:pt x="19" y="354"/>
                    </a:cubicBezTo>
                    <a:cubicBezTo>
                      <a:pt x="19" y="355"/>
                      <a:pt x="19" y="355"/>
                      <a:pt x="19" y="356"/>
                    </a:cubicBezTo>
                    <a:cubicBezTo>
                      <a:pt x="18" y="357"/>
                      <a:pt x="18" y="357"/>
                      <a:pt x="18" y="357"/>
                    </a:cubicBezTo>
                    <a:cubicBezTo>
                      <a:pt x="18" y="358"/>
                      <a:pt x="17" y="358"/>
                      <a:pt x="16" y="358"/>
                    </a:cubicBezTo>
                    <a:cubicBezTo>
                      <a:pt x="15" y="359"/>
                      <a:pt x="14" y="359"/>
                      <a:pt x="13" y="359"/>
                    </a:cubicBezTo>
                    <a:cubicBezTo>
                      <a:pt x="13" y="359"/>
                      <a:pt x="13" y="359"/>
                      <a:pt x="13" y="359"/>
                    </a:cubicBezTo>
                    <a:cubicBezTo>
                      <a:pt x="12" y="359"/>
                      <a:pt x="12" y="359"/>
                      <a:pt x="11" y="359"/>
                    </a:cubicBezTo>
                    <a:cubicBezTo>
                      <a:pt x="10" y="359"/>
                      <a:pt x="10" y="359"/>
                      <a:pt x="10" y="359"/>
                    </a:cubicBezTo>
                    <a:cubicBezTo>
                      <a:pt x="0" y="367"/>
                      <a:pt x="0" y="367"/>
                      <a:pt x="0" y="367"/>
                    </a:cubicBezTo>
                    <a:cubicBezTo>
                      <a:pt x="1" y="367"/>
                      <a:pt x="1" y="367"/>
                      <a:pt x="1" y="367"/>
                    </a:cubicBezTo>
                    <a:cubicBezTo>
                      <a:pt x="3" y="367"/>
                      <a:pt x="4" y="366"/>
                      <a:pt x="5" y="365"/>
                    </a:cubicBezTo>
                    <a:cubicBezTo>
                      <a:pt x="9" y="363"/>
                      <a:pt x="13" y="361"/>
                      <a:pt x="17" y="359"/>
                    </a:cubicBezTo>
                    <a:cubicBezTo>
                      <a:pt x="17" y="359"/>
                      <a:pt x="17" y="359"/>
                      <a:pt x="17" y="359"/>
                    </a:cubicBezTo>
                    <a:cubicBezTo>
                      <a:pt x="17" y="359"/>
                      <a:pt x="17" y="359"/>
                      <a:pt x="17" y="359"/>
                    </a:cubicBezTo>
                    <a:cubicBezTo>
                      <a:pt x="15" y="360"/>
                      <a:pt x="13" y="361"/>
                      <a:pt x="12" y="362"/>
                    </a:cubicBezTo>
                    <a:cubicBezTo>
                      <a:pt x="10" y="363"/>
                      <a:pt x="9" y="366"/>
                      <a:pt x="8" y="366"/>
                    </a:cubicBezTo>
                    <a:cubicBezTo>
                      <a:pt x="8" y="366"/>
                      <a:pt x="7" y="366"/>
                      <a:pt x="7" y="365"/>
                    </a:cubicBezTo>
                    <a:cubicBezTo>
                      <a:pt x="7" y="366"/>
                      <a:pt x="7" y="366"/>
                      <a:pt x="7" y="366"/>
                    </a:cubicBezTo>
                    <a:cubicBezTo>
                      <a:pt x="8" y="367"/>
                      <a:pt x="8" y="367"/>
                      <a:pt x="8" y="368"/>
                    </a:cubicBezTo>
                    <a:cubicBezTo>
                      <a:pt x="9" y="370"/>
                      <a:pt x="10" y="373"/>
                      <a:pt x="11" y="375"/>
                    </a:cubicBezTo>
                    <a:cubicBezTo>
                      <a:pt x="13" y="378"/>
                      <a:pt x="14" y="380"/>
                      <a:pt x="16" y="381"/>
                    </a:cubicBezTo>
                    <a:cubicBezTo>
                      <a:pt x="17" y="382"/>
                      <a:pt x="18" y="383"/>
                      <a:pt x="19" y="383"/>
                    </a:cubicBezTo>
                    <a:cubicBezTo>
                      <a:pt x="20" y="384"/>
                      <a:pt x="22" y="385"/>
                      <a:pt x="23" y="386"/>
                    </a:cubicBezTo>
                    <a:cubicBezTo>
                      <a:pt x="25" y="387"/>
                      <a:pt x="28" y="388"/>
                      <a:pt x="31" y="389"/>
                    </a:cubicBezTo>
                    <a:cubicBezTo>
                      <a:pt x="31" y="389"/>
                      <a:pt x="32" y="390"/>
                      <a:pt x="33" y="390"/>
                    </a:cubicBezTo>
                    <a:cubicBezTo>
                      <a:pt x="34" y="390"/>
                      <a:pt x="37" y="391"/>
                      <a:pt x="39" y="392"/>
                    </a:cubicBezTo>
                    <a:cubicBezTo>
                      <a:pt x="40" y="392"/>
                      <a:pt x="41" y="392"/>
                      <a:pt x="42" y="392"/>
                    </a:cubicBezTo>
                    <a:cubicBezTo>
                      <a:pt x="43" y="392"/>
                      <a:pt x="43" y="392"/>
                      <a:pt x="43" y="392"/>
                    </a:cubicBezTo>
                    <a:cubicBezTo>
                      <a:pt x="45" y="391"/>
                      <a:pt x="47" y="389"/>
                      <a:pt x="49" y="388"/>
                    </a:cubicBezTo>
                    <a:cubicBezTo>
                      <a:pt x="51" y="388"/>
                      <a:pt x="56" y="387"/>
                      <a:pt x="55" y="386"/>
                    </a:cubicBezTo>
                    <a:cubicBezTo>
                      <a:pt x="56" y="386"/>
                      <a:pt x="56" y="386"/>
                      <a:pt x="56" y="386"/>
                    </a:cubicBezTo>
                    <a:cubicBezTo>
                      <a:pt x="57" y="386"/>
                      <a:pt x="59" y="387"/>
                      <a:pt x="61" y="387"/>
                    </a:cubicBezTo>
                    <a:cubicBezTo>
                      <a:pt x="62" y="387"/>
                      <a:pt x="62" y="387"/>
                      <a:pt x="62" y="386"/>
                    </a:cubicBezTo>
                    <a:cubicBezTo>
                      <a:pt x="64" y="386"/>
                      <a:pt x="64" y="382"/>
                      <a:pt x="66" y="381"/>
                    </a:cubicBezTo>
                    <a:cubicBezTo>
                      <a:pt x="64" y="384"/>
                      <a:pt x="62" y="389"/>
                      <a:pt x="60" y="393"/>
                    </a:cubicBezTo>
                    <a:cubicBezTo>
                      <a:pt x="59" y="395"/>
                      <a:pt x="57" y="397"/>
                      <a:pt x="56" y="398"/>
                    </a:cubicBezTo>
                    <a:cubicBezTo>
                      <a:pt x="55" y="398"/>
                      <a:pt x="54" y="399"/>
                      <a:pt x="54" y="399"/>
                    </a:cubicBezTo>
                    <a:cubicBezTo>
                      <a:pt x="526" y="399"/>
                      <a:pt x="526" y="399"/>
                      <a:pt x="526" y="399"/>
                    </a:cubicBezTo>
                    <a:cubicBezTo>
                      <a:pt x="526" y="284"/>
                      <a:pt x="526" y="284"/>
                      <a:pt x="526" y="284"/>
                    </a:cubicBezTo>
                    <a:cubicBezTo>
                      <a:pt x="525" y="284"/>
                      <a:pt x="525" y="283"/>
                      <a:pt x="524" y="283"/>
                    </a:cubicBezTo>
                    <a:cubicBezTo>
                      <a:pt x="524" y="283"/>
                      <a:pt x="524" y="283"/>
                      <a:pt x="524" y="283"/>
                    </a:cubicBezTo>
                    <a:cubicBezTo>
                      <a:pt x="524" y="283"/>
                      <a:pt x="523" y="283"/>
                      <a:pt x="523" y="283"/>
                    </a:cubicBezTo>
                    <a:cubicBezTo>
                      <a:pt x="519" y="281"/>
                      <a:pt x="519" y="281"/>
                      <a:pt x="519" y="281"/>
                    </a:cubicBezTo>
                    <a:cubicBezTo>
                      <a:pt x="519" y="281"/>
                      <a:pt x="518" y="280"/>
                      <a:pt x="517" y="280"/>
                    </a:cubicBezTo>
                    <a:cubicBezTo>
                      <a:pt x="516" y="280"/>
                      <a:pt x="515" y="279"/>
                      <a:pt x="514" y="279"/>
                    </a:cubicBezTo>
                    <a:cubicBezTo>
                      <a:pt x="513" y="279"/>
                      <a:pt x="513" y="279"/>
                      <a:pt x="513" y="279"/>
                    </a:cubicBezTo>
                    <a:cubicBezTo>
                      <a:pt x="512" y="279"/>
                      <a:pt x="512" y="279"/>
                      <a:pt x="511" y="279"/>
                    </a:cubicBezTo>
                    <a:cubicBezTo>
                      <a:pt x="511" y="279"/>
                      <a:pt x="511" y="279"/>
                      <a:pt x="511" y="279"/>
                    </a:cubicBezTo>
                    <a:cubicBezTo>
                      <a:pt x="510" y="279"/>
                      <a:pt x="510" y="279"/>
                      <a:pt x="509" y="279"/>
                    </a:cubicBezTo>
                    <a:cubicBezTo>
                      <a:pt x="508" y="280"/>
                      <a:pt x="508" y="280"/>
                      <a:pt x="508" y="280"/>
                    </a:cubicBezTo>
                    <a:cubicBezTo>
                      <a:pt x="507" y="280"/>
                      <a:pt x="506" y="280"/>
                      <a:pt x="505" y="280"/>
                    </a:cubicBezTo>
                    <a:cubicBezTo>
                      <a:pt x="504" y="280"/>
                      <a:pt x="504" y="280"/>
                      <a:pt x="503" y="280"/>
                    </a:cubicBezTo>
                    <a:cubicBezTo>
                      <a:pt x="502" y="279"/>
                      <a:pt x="501" y="279"/>
                      <a:pt x="501" y="279"/>
                    </a:cubicBezTo>
                    <a:cubicBezTo>
                      <a:pt x="500" y="278"/>
                      <a:pt x="499" y="278"/>
                      <a:pt x="499" y="277"/>
                    </a:cubicBezTo>
                    <a:cubicBezTo>
                      <a:pt x="498" y="276"/>
                      <a:pt x="497" y="275"/>
                      <a:pt x="497" y="274"/>
                    </a:cubicBezTo>
                    <a:cubicBezTo>
                      <a:pt x="497" y="274"/>
                      <a:pt x="496" y="273"/>
                      <a:pt x="496" y="272"/>
                    </a:cubicBezTo>
                    <a:cubicBezTo>
                      <a:pt x="495" y="272"/>
                      <a:pt x="495" y="272"/>
                      <a:pt x="495" y="272"/>
                    </a:cubicBezTo>
                    <a:cubicBezTo>
                      <a:pt x="495" y="272"/>
                      <a:pt x="494" y="273"/>
                      <a:pt x="493" y="273"/>
                    </a:cubicBezTo>
                    <a:cubicBezTo>
                      <a:pt x="491" y="274"/>
                      <a:pt x="491" y="274"/>
                      <a:pt x="491" y="274"/>
                    </a:cubicBezTo>
                    <a:cubicBezTo>
                      <a:pt x="490" y="274"/>
                      <a:pt x="489" y="274"/>
                      <a:pt x="488" y="274"/>
                    </a:cubicBezTo>
                    <a:cubicBezTo>
                      <a:pt x="487" y="274"/>
                      <a:pt x="487" y="274"/>
                      <a:pt x="487" y="274"/>
                    </a:cubicBezTo>
                    <a:cubicBezTo>
                      <a:pt x="486" y="274"/>
                      <a:pt x="485" y="274"/>
                      <a:pt x="484" y="273"/>
                    </a:cubicBezTo>
                    <a:cubicBezTo>
                      <a:pt x="483" y="273"/>
                      <a:pt x="483" y="272"/>
                      <a:pt x="483" y="272"/>
                    </a:cubicBezTo>
                    <a:cubicBezTo>
                      <a:pt x="482" y="272"/>
                      <a:pt x="482" y="272"/>
                      <a:pt x="482" y="272"/>
                    </a:cubicBezTo>
                    <a:cubicBezTo>
                      <a:pt x="482" y="271"/>
                      <a:pt x="481" y="271"/>
                      <a:pt x="481" y="271"/>
                    </a:cubicBezTo>
                    <a:cubicBezTo>
                      <a:pt x="480" y="270"/>
                      <a:pt x="480" y="270"/>
                      <a:pt x="480" y="270"/>
                    </a:cubicBezTo>
                    <a:cubicBezTo>
                      <a:pt x="478" y="269"/>
                      <a:pt x="476" y="268"/>
                      <a:pt x="474" y="268"/>
                    </a:cubicBezTo>
                    <a:cubicBezTo>
                      <a:pt x="473" y="267"/>
                      <a:pt x="473" y="267"/>
                      <a:pt x="473" y="267"/>
                    </a:cubicBezTo>
                    <a:cubicBezTo>
                      <a:pt x="472" y="267"/>
                      <a:pt x="471" y="267"/>
                      <a:pt x="470" y="266"/>
                    </a:cubicBezTo>
                    <a:cubicBezTo>
                      <a:pt x="467" y="265"/>
                      <a:pt x="466" y="264"/>
                      <a:pt x="465" y="262"/>
                    </a:cubicBezTo>
                    <a:cubicBezTo>
                      <a:pt x="465" y="261"/>
                      <a:pt x="464" y="260"/>
                      <a:pt x="464" y="259"/>
                    </a:cubicBezTo>
                    <a:cubicBezTo>
                      <a:pt x="464" y="258"/>
                      <a:pt x="464" y="258"/>
                      <a:pt x="464" y="257"/>
                    </a:cubicBezTo>
                    <a:cubicBezTo>
                      <a:pt x="464" y="256"/>
                      <a:pt x="464" y="256"/>
                      <a:pt x="464" y="256"/>
                    </a:cubicBezTo>
                    <a:cubicBezTo>
                      <a:pt x="464" y="256"/>
                      <a:pt x="464" y="256"/>
                      <a:pt x="464" y="255"/>
                    </a:cubicBezTo>
                    <a:cubicBezTo>
                      <a:pt x="463" y="255"/>
                      <a:pt x="463" y="255"/>
                      <a:pt x="463" y="255"/>
                    </a:cubicBezTo>
                    <a:cubicBezTo>
                      <a:pt x="462" y="254"/>
                      <a:pt x="459" y="253"/>
                      <a:pt x="457" y="253"/>
                    </a:cubicBezTo>
                    <a:cubicBezTo>
                      <a:pt x="456" y="252"/>
                      <a:pt x="456" y="252"/>
                      <a:pt x="456" y="252"/>
                    </a:cubicBezTo>
                    <a:cubicBezTo>
                      <a:pt x="456" y="252"/>
                      <a:pt x="455" y="252"/>
                      <a:pt x="455" y="252"/>
                    </a:cubicBezTo>
                    <a:cubicBezTo>
                      <a:pt x="454" y="252"/>
                      <a:pt x="454" y="251"/>
                      <a:pt x="454" y="251"/>
                    </a:cubicBezTo>
                    <a:cubicBezTo>
                      <a:pt x="453" y="251"/>
                      <a:pt x="453" y="251"/>
                      <a:pt x="453" y="251"/>
                    </a:cubicBezTo>
                    <a:cubicBezTo>
                      <a:pt x="453" y="252"/>
                      <a:pt x="452" y="252"/>
                      <a:pt x="451" y="252"/>
                    </a:cubicBezTo>
                    <a:cubicBezTo>
                      <a:pt x="452" y="259"/>
                      <a:pt x="452" y="259"/>
                      <a:pt x="452" y="259"/>
                    </a:cubicBezTo>
                    <a:cubicBezTo>
                      <a:pt x="450" y="253"/>
                      <a:pt x="450" y="253"/>
                      <a:pt x="450" y="253"/>
                    </a:cubicBezTo>
                    <a:cubicBezTo>
                      <a:pt x="448" y="254"/>
                      <a:pt x="448" y="254"/>
                      <a:pt x="448" y="254"/>
                    </a:cubicBezTo>
                    <a:cubicBezTo>
                      <a:pt x="447" y="255"/>
                      <a:pt x="447" y="255"/>
                      <a:pt x="447" y="255"/>
                    </a:cubicBezTo>
                    <a:cubicBezTo>
                      <a:pt x="446" y="254"/>
                      <a:pt x="446" y="254"/>
                      <a:pt x="446" y="254"/>
                    </a:cubicBezTo>
                    <a:cubicBezTo>
                      <a:pt x="445" y="256"/>
                      <a:pt x="445" y="256"/>
                      <a:pt x="445" y="256"/>
                    </a:cubicBezTo>
                    <a:cubicBezTo>
                      <a:pt x="444" y="256"/>
                      <a:pt x="444" y="256"/>
                      <a:pt x="444" y="256"/>
                    </a:cubicBezTo>
                    <a:cubicBezTo>
                      <a:pt x="437" y="253"/>
                      <a:pt x="437" y="253"/>
                      <a:pt x="437" y="253"/>
                    </a:cubicBezTo>
                    <a:cubicBezTo>
                      <a:pt x="436" y="253"/>
                      <a:pt x="436" y="253"/>
                      <a:pt x="436" y="254"/>
                    </a:cubicBezTo>
                    <a:cubicBezTo>
                      <a:pt x="434" y="255"/>
                      <a:pt x="434" y="255"/>
                      <a:pt x="434" y="255"/>
                    </a:cubicBezTo>
                    <a:cubicBezTo>
                      <a:pt x="434" y="255"/>
                      <a:pt x="434" y="255"/>
                      <a:pt x="434" y="255"/>
                    </a:cubicBezTo>
                    <a:cubicBezTo>
                      <a:pt x="434" y="255"/>
                      <a:pt x="433" y="256"/>
                      <a:pt x="432" y="256"/>
                    </a:cubicBezTo>
                    <a:cubicBezTo>
                      <a:pt x="432" y="256"/>
                      <a:pt x="432" y="256"/>
                      <a:pt x="432" y="256"/>
                    </a:cubicBezTo>
                    <a:cubicBezTo>
                      <a:pt x="432" y="256"/>
                      <a:pt x="431" y="256"/>
                      <a:pt x="431" y="256"/>
                    </a:cubicBezTo>
                    <a:cubicBezTo>
                      <a:pt x="430" y="256"/>
                      <a:pt x="430" y="256"/>
                      <a:pt x="430" y="256"/>
                    </a:cubicBezTo>
                    <a:cubicBezTo>
                      <a:pt x="430" y="256"/>
                      <a:pt x="429" y="256"/>
                      <a:pt x="429" y="256"/>
                    </a:cubicBezTo>
                    <a:cubicBezTo>
                      <a:pt x="428" y="256"/>
                      <a:pt x="428" y="256"/>
                      <a:pt x="427" y="255"/>
                    </a:cubicBezTo>
                    <a:cubicBezTo>
                      <a:pt x="426" y="254"/>
                      <a:pt x="425" y="254"/>
                      <a:pt x="423" y="253"/>
                    </a:cubicBezTo>
                    <a:cubicBezTo>
                      <a:pt x="421" y="253"/>
                      <a:pt x="420" y="253"/>
                      <a:pt x="419" y="252"/>
                    </a:cubicBezTo>
                    <a:cubicBezTo>
                      <a:pt x="416" y="252"/>
                      <a:pt x="416" y="252"/>
                      <a:pt x="416" y="252"/>
                    </a:cubicBezTo>
                    <a:cubicBezTo>
                      <a:pt x="414" y="252"/>
                      <a:pt x="413" y="251"/>
                      <a:pt x="412" y="250"/>
                    </a:cubicBezTo>
                    <a:cubicBezTo>
                      <a:pt x="411" y="249"/>
                      <a:pt x="410" y="247"/>
                      <a:pt x="410" y="246"/>
                    </a:cubicBezTo>
                    <a:cubicBezTo>
                      <a:pt x="410" y="245"/>
                      <a:pt x="410" y="245"/>
                      <a:pt x="410" y="245"/>
                    </a:cubicBezTo>
                    <a:cubicBezTo>
                      <a:pt x="410" y="245"/>
                      <a:pt x="410" y="245"/>
                      <a:pt x="410" y="245"/>
                    </a:cubicBezTo>
                    <a:cubicBezTo>
                      <a:pt x="402" y="242"/>
                      <a:pt x="402" y="242"/>
                      <a:pt x="402" y="242"/>
                    </a:cubicBezTo>
                    <a:cubicBezTo>
                      <a:pt x="400" y="248"/>
                      <a:pt x="400" y="248"/>
                      <a:pt x="400" y="248"/>
                    </a:cubicBezTo>
                    <a:cubicBezTo>
                      <a:pt x="400" y="242"/>
                      <a:pt x="400" y="242"/>
                      <a:pt x="400" y="242"/>
                    </a:cubicBezTo>
                    <a:cubicBezTo>
                      <a:pt x="400" y="242"/>
                      <a:pt x="400" y="242"/>
                      <a:pt x="400" y="242"/>
                    </a:cubicBezTo>
                    <a:cubicBezTo>
                      <a:pt x="398" y="241"/>
                      <a:pt x="396" y="240"/>
                      <a:pt x="394" y="239"/>
                    </a:cubicBezTo>
                    <a:cubicBezTo>
                      <a:pt x="393" y="239"/>
                      <a:pt x="393" y="239"/>
                      <a:pt x="393" y="239"/>
                    </a:cubicBezTo>
                    <a:cubicBezTo>
                      <a:pt x="392" y="240"/>
                      <a:pt x="391" y="240"/>
                      <a:pt x="391" y="240"/>
                    </a:cubicBezTo>
                    <a:cubicBezTo>
                      <a:pt x="390" y="241"/>
                      <a:pt x="390" y="241"/>
                      <a:pt x="390" y="241"/>
                    </a:cubicBezTo>
                    <a:cubicBezTo>
                      <a:pt x="390" y="241"/>
                      <a:pt x="390" y="241"/>
                      <a:pt x="389" y="241"/>
                    </a:cubicBezTo>
                    <a:cubicBezTo>
                      <a:pt x="389" y="241"/>
                      <a:pt x="389" y="241"/>
                      <a:pt x="389" y="241"/>
                    </a:cubicBezTo>
                    <a:cubicBezTo>
                      <a:pt x="387" y="240"/>
                      <a:pt x="385" y="239"/>
                      <a:pt x="382" y="237"/>
                    </a:cubicBezTo>
                    <a:cubicBezTo>
                      <a:pt x="380" y="236"/>
                      <a:pt x="380" y="236"/>
                      <a:pt x="380" y="236"/>
                    </a:cubicBezTo>
                    <a:cubicBezTo>
                      <a:pt x="379" y="235"/>
                      <a:pt x="379" y="235"/>
                      <a:pt x="378" y="235"/>
                    </a:cubicBezTo>
                    <a:cubicBezTo>
                      <a:pt x="377" y="234"/>
                      <a:pt x="377" y="233"/>
                      <a:pt x="376" y="233"/>
                    </a:cubicBezTo>
                    <a:cubicBezTo>
                      <a:pt x="375" y="232"/>
                      <a:pt x="375" y="232"/>
                      <a:pt x="375" y="232"/>
                    </a:cubicBezTo>
                    <a:cubicBezTo>
                      <a:pt x="373" y="231"/>
                      <a:pt x="371" y="229"/>
                      <a:pt x="369" y="227"/>
                    </a:cubicBezTo>
                    <a:cubicBezTo>
                      <a:pt x="369" y="226"/>
                      <a:pt x="369" y="226"/>
                      <a:pt x="369" y="226"/>
                    </a:cubicBezTo>
                    <a:cubicBezTo>
                      <a:pt x="367" y="225"/>
                      <a:pt x="365" y="223"/>
                      <a:pt x="364" y="223"/>
                    </a:cubicBezTo>
                    <a:cubicBezTo>
                      <a:pt x="361" y="221"/>
                      <a:pt x="359" y="220"/>
                      <a:pt x="357" y="219"/>
                    </a:cubicBezTo>
                    <a:cubicBezTo>
                      <a:pt x="353" y="217"/>
                      <a:pt x="353" y="217"/>
                      <a:pt x="353" y="217"/>
                    </a:cubicBezTo>
                    <a:cubicBezTo>
                      <a:pt x="352" y="220"/>
                      <a:pt x="352" y="220"/>
                      <a:pt x="352" y="220"/>
                    </a:cubicBezTo>
                    <a:cubicBezTo>
                      <a:pt x="349" y="218"/>
                      <a:pt x="349" y="218"/>
                      <a:pt x="349" y="218"/>
                    </a:cubicBezTo>
                    <a:cubicBezTo>
                      <a:pt x="346" y="217"/>
                      <a:pt x="342" y="215"/>
                      <a:pt x="340" y="214"/>
                    </a:cubicBezTo>
                    <a:cubicBezTo>
                      <a:pt x="336" y="211"/>
                      <a:pt x="334" y="207"/>
                      <a:pt x="335" y="204"/>
                    </a:cubicBezTo>
                    <a:cubicBezTo>
                      <a:pt x="335" y="203"/>
                      <a:pt x="336" y="201"/>
                      <a:pt x="336" y="200"/>
                    </a:cubicBezTo>
                    <a:cubicBezTo>
                      <a:pt x="337" y="198"/>
                      <a:pt x="338" y="197"/>
                      <a:pt x="339" y="195"/>
                    </a:cubicBezTo>
                    <a:cubicBezTo>
                      <a:pt x="340" y="193"/>
                      <a:pt x="340" y="193"/>
                      <a:pt x="340" y="193"/>
                    </a:cubicBezTo>
                    <a:cubicBezTo>
                      <a:pt x="340" y="193"/>
                      <a:pt x="341" y="192"/>
                      <a:pt x="341" y="192"/>
                    </a:cubicBezTo>
                    <a:cubicBezTo>
                      <a:pt x="340" y="191"/>
                      <a:pt x="340" y="191"/>
                      <a:pt x="340" y="190"/>
                    </a:cubicBezTo>
                    <a:cubicBezTo>
                      <a:pt x="340" y="189"/>
                      <a:pt x="340" y="188"/>
                      <a:pt x="340" y="187"/>
                    </a:cubicBezTo>
                    <a:cubicBezTo>
                      <a:pt x="340" y="186"/>
                      <a:pt x="341" y="185"/>
                      <a:pt x="342" y="184"/>
                    </a:cubicBezTo>
                    <a:cubicBezTo>
                      <a:pt x="344" y="182"/>
                      <a:pt x="344" y="182"/>
                      <a:pt x="344" y="182"/>
                    </a:cubicBezTo>
                    <a:cubicBezTo>
                      <a:pt x="344" y="182"/>
                      <a:pt x="344" y="182"/>
                      <a:pt x="344" y="182"/>
                    </a:cubicBezTo>
                    <a:cubicBezTo>
                      <a:pt x="344" y="181"/>
                      <a:pt x="344" y="181"/>
                      <a:pt x="344" y="181"/>
                    </a:cubicBezTo>
                    <a:cubicBezTo>
                      <a:pt x="345" y="180"/>
                      <a:pt x="345" y="180"/>
                      <a:pt x="345" y="180"/>
                    </a:cubicBezTo>
                    <a:cubicBezTo>
                      <a:pt x="359" y="166"/>
                      <a:pt x="359" y="166"/>
                      <a:pt x="359" y="166"/>
                    </a:cubicBezTo>
                    <a:cubicBezTo>
                      <a:pt x="341" y="156"/>
                      <a:pt x="341" y="156"/>
                      <a:pt x="341" y="156"/>
                    </a:cubicBezTo>
                    <a:cubicBezTo>
                      <a:pt x="339" y="156"/>
                      <a:pt x="339" y="154"/>
                      <a:pt x="338" y="154"/>
                    </a:cubicBezTo>
                    <a:cubicBezTo>
                      <a:pt x="338" y="153"/>
                      <a:pt x="338" y="153"/>
                      <a:pt x="338" y="153"/>
                    </a:cubicBezTo>
                    <a:cubicBezTo>
                      <a:pt x="339" y="150"/>
                      <a:pt x="339" y="150"/>
                      <a:pt x="339" y="150"/>
                    </a:cubicBezTo>
                    <a:cubicBezTo>
                      <a:pt x="339" y="150"/>
                      <a:pt x="339" y="150"/>
                      <a:pt x="339" y="149"/>
                    </a:cubicBezTo>
                    <a:cubicBezTo>
                      <a:pt x="339" y="149"/>
                      <a:pt x="338" y="149"/>
                      <a:pt x="337" y="148"/>
                    </a:cubicBezTo>
                    <a:cubicBezTo>
                      <a:pt x="334" y="147"/>
                      <a:pt x="329" y="145"/>
                      <a:pt x="325" y="144"/>
                    </a:cubicBezTo>
                    <a:cubicBezTo>
                      <a:pt x="324" y="144"/>
                      <a:pt x="324" y="144"/>
                      <a:pt x="324" y="144"/>
                    </a:cubicBezTo>
                    <a:cubicBezTo>
                      <a:pt x="323" y="144"/>
                      <a:pt x="323" y="143"/>
                      <a:pt x="322" y="143"/>
                    </a:cubicBezTo>
                    <a:cubicBezTo>
                      <a:pt x="320" y="143"/>
                      <a:pt x="319" y="142"/>
                      <a:pt x="317" y="140"/>
                    </a:cubicBezTo>
                    <a:cubicBezTo>
                      <a:pt x="316" y="139"/>
                      <a:pt x="316" y="139"/>
                      <a:pt x="316" y="139"/>
                    </a:cubicBezTo>
                    <a:cubicBezTo>
                      <a:pt x="315" y="138"/>
                      <a:pt x="315" y="137"/>
                      <a:pt x="314" y="136"/>
                    </a:cubicBezTo>
                    <a:cubicBezTo>
                      <a:pt x="313" y="135"/>
                      <a:pt x="313" y="135"/>
                      <a:pt x="313" y="135"/>
                    </a:cubicBezTo>
                    <a:cubicBezTo>
                      <a:pt x="313" y="134"/>
                      <a:pt x="312" y="133"/>
                      <a:pt x="312" y="132"/>
                    </a:cubicBezTo>
                    <a:cubicBezTo>
                      <a:pt x="311" y="132"/>
                      <a:pt x="311" y="132"/>
                      <a:pt x="311" y="132"/>
                    </a:cubicBezTo>
                    <a:cubicBezTo>
                      <a:pt x="311" y="132"/>
                      <a:pt x="311" y="132"/>
                      <a:pt x="311" y="132"/>
                    </a:cubicBezTo>
                    <a:cubicBezTo>
                      <a:pt x="310" y="131"/>
                      <a:pt x="310" y="131"/>
                      <a:pt x="310" y="131"/>
                    </a:cubicBezTo>
                    <a:cubicBezTo>
                      <a:pt x="310" y="131"/>
                      <a:pt x="310" y="131"/>
                      <a:pt x="310" y="131"/>
                    </a:cubicBezTo>
                    <a:cubicBezTo>
                      <a:pt x="310" y="130"/>
                      <a:pt x="310" y="130"/>
                      <a:pt x="310" y="130"/>
                    </a:cubicBezTo>
                    <a:cubicBezTo>
                      <a:pt x="310" y="130"/>
                      <a:pt x="310" y="130"/>
                      <a:pt x="310" y="130"/>
                    </a:cubicBezTo>
                    <a:cubicBezTo>
                      <a:pt x="309" y="131"/>
                      <a:pt x="308" y="131"/>
                      <a:pt x="308" y="132"/>
                    </a:cubicBezTo>
                    <a:cubicBezTo>
                      <a:pt x="307" y="133"/>
                      <a:pt x="307" y="133"/>
                      <a:pt x="307" y="133"/>
                    </a:cubicBezTo>
                    <a:cubicBezTo>
                      <a:pt x="306" y="133"/>
                      <a:pt x="306" y="133"/>
                      <a:pt x="306" y="133"/>
                    </a:cubicBezTo>
                    <a:cubicBezTo>
                      <a:pt x="303" y="136"/>
                      <a:pt x="303" y="136"/>
                      <a:pt x="303" y="136"/>
                    </a:cubicBezTo>
                    <a:cubicBezTo>
                      <a:pt x="301" y="133"/>
                      <a:pt x="301" y="133"/>
                      <a:pt x="301" y="133"/>
                    </a:cubicBezTo>
                    <a:cubicBezTo>
                      <a:pt x="301" y="132"/>
                      <a:pt x="300" y="132"/>
                      <a:pt x="300" y="131"/>
                    </a:cubicBezTo>
                    <a:cubicBezTo>
                      <a:pt x="299" y="131"/>
                      <a:pt x="299" y="130"/>
                      <a:pt x="299" y="129"/>
                    </a:cubicBezTo>
                    <a:cubicBezTo>
                      <a:pt x="298" y="128"/>
                      <a:pt x="297" y="127"/>
                      <a:pt x="297" y="126"/>
                    </a:cubicBezTo>
                    <a:cubicBezTo>
                      <a:pt x="296" y="125"/>
                      <a:pt x="296" y="125"/>
                      <a:pt x="296" y="125"/>
                    </a:cubicBezTo>
                    <a:cubicBezTo>
                      <a:pt x="296" y="124"/>
                      <a:pt x="296" y="124"/>
                      <a:pt x="296" y="122"/>
                    </a:cubicBezTo>
                    <a:cubicBezTo>
                      <a:pt x="296" y="121"/>
                      <a:pt x="296" y="121"/>
                      <a:pt x="296" y="121"/>
                    </a:cubicBezTo>
                    <a:cubicBezTo>
                      <a:pt x="296" y="118"/>
                      <a:pt x="297" y="116"/>
                      <a:pt x="296" y="114"/>
                    </a:cubicBezTo>
                    <a:cubicBezTo>
                      <a:pt x="297" y="113"/>
                      <a:pt x="297" y="113"/>
                      <a:pt x="297" y="113"/>
                    </a:cubicBezTo>
                    <a:cubicBezTo>
                      <a:pt x="297" y="112"/>
                      <a:pt x="297" y="112"/>
                      <a:pt x="297" y="112"/>
                    </a:cubicBezTo>
                    <a:cubicBezTo>
                      <a:pt x="296" y="111"/>
                      <a:pt x="296" y="111"/>
                      <a:pt x="296" y="111"/>
                    </a:cubicBezTo>
                    <a:cubicBezTo>
                      <a:pt x="295" y="110"/>
                      <a:pt x="294" y="108"/>
                      <a:pt x="293" y="106"/>
                    </a:cubicBezTo>
                    <a:cubicBezTo>
                      <a:pt x="292" y="106"/>
                      <a:pt x="292" y="106"/>
                      <a:pt x="292" y="106"/>
                    </a:cubicBezTo>
                    <a:cubicBezTo>
                      <a:pt x="290" y="102"/>
                      <a:pt x="289" y="99"/>
                      <a:pt x="287" y="94"/>
                    </a:cubicBezTo>
                    <a:cubicBezTo>
                      <a:pt x="287" y="93"/>
                      <a:pt x="287" y="91"/>
                      <a:pt x="288" y="89"/>
                    </a:cubicBezTo>
                    <a:cubicBezTo>
                      <a:pt x="289" y="88"/>
                      <a:pt x="291" y="87"/>
                      <a:pt x="293" y="87"/>
                    </a:cubicBezTo>
                    <a:cubicBezTo>
                      <a:pt x="293" y="87"/>
                      <a:pt x="294" y="87"/>
                      <a:pt x="294" y="87"/>
                    </a:cubicBezTo>
                    <a:cubicBezTo>
                      <a:pt x="295" y="86"/>
                      <a:pt x="295" y="86"/>
                      <a:pt x="295" y="86"/>
                    </a:cubicBezTo>
                    <a:cubicBezTo>
                      <a:pt x="295" y="86"/>
                      <a:pt x="296" y="86"/>
                      <a:pt x="297" y="86"/>
                    </a:cubicBezTo>
                    <a:cubicBezTo>
                      <a:pt x="307" y="84"/>
                      <a:pt x="307" y="84"/>
                      <a:pt x="307" y="84"/>
                    </a:cubicBezTo>
                    <a:cubicBezTo>
                      <a:pt x="304" y="89"/>
                      <a:pt x="304" y="89"/>
                      <a:pt x="304" y="89"/>
                    </a:cubicBezTo>
                    <a:cubicBezTo>
                      <a:pt x="305" y="90"/>
                      <a:pt x="305" y="90"/>
                      <a:pt x="305" y="90"/>
                    </a:cubicBezTo>
                    <a:cubicBezTo>
                      <a:pt x="304" y="90"/>
                      <a:pt x="304" y="90"/>
                      <a:pt x="304" y="90"/>
                    </a:cubicBezTo>
                    <a:cubicBezTo>
                      <a:pt x="306" y="92"/>
                      <a:pt x="307" y="93"/>
                      <a:pt x="308" y="93"/>
                    </a:cubicBezTo>
                    <a:cubicBezTo>
                      <a:pt x="308" y="93"/>
                      <a:pt x="308" y="93"/>
                      <a:pt x="308" y="93"/>
                    </a:cubicBezTo>
                    <a:cubicBezTo>
                      <a:pt x="309" y="93"/>
                      <a:pt x="313" y="90"/>
                      <a:pt x="318" y="84"/>
                    </a:cubicBezTo>
                    <a:cubicBezTo>
                      <a:pt x="318" y="84"/>
                      <a:pt x="317" y="83"/>
                      <a:pt x="317" y="83"/>
                    </a:cubicBezTo>
                    <a:cubicBezTo>
                      <a:pt x="317" y="82"/>
                      <a:pt x="317" y="82"/>
                      <a:pt x="317" y="81"/>
                    </a:cubicBezTo>
                    <a:cubicBezTo>
                      <a:pt x="316" y="80"/>
                      <a:pt x="316" y="79"/>
                      <a:pt x="316" y="78"/>
                    </a:cubicBezTo>
                    <a:cubicBezTo>
                      <a:pt x="316" y="75"/>
                      <a:pt x="316" y="75"/>
                      <a:pt x="316" y="75"/>
                    </a:cubicBezTo>
                    <a:cubicBezTo>
                      <a:pt x="316" y="74"/>
                      <a:pt x="316" y="74"/>
                      <a:pt x="316" y="74"/>
                    </a:cubicBezTo>
                    <a:cubicBezTo>
                      <a:pt x="315" y="74"/>
                      <a:pt x="315" y="74"/>
                      <a:pt x="315" y="74"/>
                    </a:cubicBezTo>
                    <a:cubicBezTo>
                      <a:pt x="314" y="74"/>
                      <a:pt x="314" y="74"/>
                      <a:pt x="314" y="74"/>
                    </a:cubicBezTo>
                    <a:cubicBezTo>
                      <a:pt x="310" y="72"/>
                      <a:pt x="308" y="70"/>
                      <a:pt x="306" y="68"/>
                    </a:cubicBezTo>
                    <a:cubicBezTo>
                      <a:pt x="304" y="67"/>
                      <a:pt x="304" y="67"/>
                      <a:pt x="304" y="67"/>
                    </a:cubicBezTo>
                    <a:cubicBezTo>
                      <a:pt x="303" y="67"/>
                      <a:pt x="303" y="66"/>
                      <a:pt x="303" y="65"/>
                    </a:cubicBezTo>
                    <a:cubicBezTo>
                      <a:pt x="302" y="64"/>
                      <a:pt x="302" y="64"/>
                      <a:pt x="302" y="64"/>
                    </a:cubicBezTo>
                    <a:cubicBezTo>
                      <a:pt x="302" y="62"/>
                      <a:pt x="302" y="62"/>
                      <a:pt x="302" y="62"/>
                    </a:cubicBezTo>
                    <a:cubicBezTo>
                      <a:pt x="301" y="61"/>
                      <a:pt x="301" y="61"/>
                      <a:pt x="301" y="61"/>
                    </a:cubicBezTo>
                    <a:cubicBezTo>
                      <a:pt x="300" y="57"/>
                      <a:pt x="300" y="57"/>
                      <a:pt x="300" y="57"/>
                    </a:cubicBezTo>
                    <a:cubicBezTo>
                      <a:pt x="293" y="59"/>
                      <a:pt x="293" y="59"/>
                      <a:pt x="293" y="59"/>
                    </a:cubicBezTo>
                    <a:cubicBezTo>
                      <a:pt x="299" y="55"/>
                      <a:pt x="299" y="55"/>
                      <a:pt x="299" y="55"/>
                    </a:cubicBezTo>
                    <a:cubicBezTo>
                      <a:pt x="298" y="49"/>
                      <a:pt x="298" y="49"/>
                      <a:pt x="298" y="49"/>
                    </a:cubicBezTo>
                    <a:cubicBezTo>
                      <a:pt x="297" y="48"/>
                      <a:pt x="297" y="48"/>
                      <a:pt x="297" y="48"/>
                    </a:cubicBezTo>
                    <a:cubicBezTo>
                      <a:pt x="297" y="48"/>
                      <a:pt x="297" y="48"/>
                      <a:pt x="297" y="48"/>
                    </a:cubicBezTo>
                    <a:cubicBezTo>
                      <a:pt x="297" y="47"/>
                      <a:pt x="297" y="47"/>
                      <a:pt x="297" y="46"/>
                    </a:cubicBezTo>
                    <a:cubicBezTo>
                      <a:pt x="296" y="43"/>
                      <a:pt x="297" y="41"/>
                      <a:pt x="298" y="40"/>
                    </a:cubicBezTo>
                    <a:cubicBezTo>
                      <a:pt x="299" y="39"/>
                      <a:pt x="299" y="39"/>
                      <a:pt x="299" y="39"/>
                    </a:cubicBezTo>
                    <a:cubicBezTo>
                      <a:pt x="302" y="35"/>
                      <a:pt x="302" y="35"/>
                      <a:pt x="302" y="35"/>
                    </a:cubicBezTo>
                    <a:cubicBezTo>
                      <a:pt x="301" y="35"/>
                      <a:pt x="301" y="35"/>
                      <a:pt x="300" y="35"/>
                    </a:cubicBezTo>
                    <a:cubicBezTo>
                      <a:pt x="299" y="34"/>
                      <a:pt x="299" y="34"/>
                      <a:pt x="299" y="34"/>
                    </a:cubicBezTo>
                    <a:cubicBezTo>
                      <a:pt x="297" y="33"/>
                      <a:pt x="294" y="32"/>
                      <a:pt x="291" y="31"/>
                    </a:cubicBezTo>
                    <a:cubicBezTo>
                      <a:pt x="288" y="29"/>
                      <a:pt x="285" y="26"/>
                      <a:pt x="284" y="24"/>
                    </a:cubicBezTo>
                    <a:cubicBezTo>
                      <a:pt x="284" y="23"/>
                      <a:pt x="284" y="23"/>
                      <a:pt x="284" y="22"/>
                    </a:cubicBezTo>
                    <a:cubicBezTo>
                      <a:pt x="280" y="13"/>
                      <a:pt x="280" y="13"/>
                      <a:pt x="280" y="13"/>
                    </a:cubicBezTo>
                    <a:cubicBezTo>
                      <a:pt x="280" y="12"/>
                      <a:pt x="279" y="11"/>
                      <a:pt x="279" y="10"/>
                    </a:cubicBezTo>
                    <a:cubicBezTo>
                      <a:pt x="278" y="9"/>
                      <a:pt x="278" y="9"/>
                      <a:pt x="278" y="8"/>
                    </a:cubicBezTo>
                    <a:cubicBezTo>
                      <a:pt x="277" y="7"/>
                      <a:pt x="276" y="5"/>
                      <a:pt x="276" y="3"/>
                    </a:cubicBezTo>
                    <a:cubicBezTo>
                      <a:pt x="276" y="2"/>
                      <a:pt x="276" y="1"/>
                      <a:pt x="2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Rectangle 335"/>
              <p:cNvSpPr>
                <a:spLocks noChangeArrowheads="1"/>
              </p:cNvSpPr>
              <p:nvPr/>
            </p:nvSpPr>
            <p:spPr bwMode="auto">
              <a:xfrm>
                <a:off x="10506265" y="675481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336"/>
              <p:cNvSpPr/>
              <p:nvPr/>
            </p:nvSpPr>
            <p:spPr bwMode="auto">
              <a:xfrm flipH="1">
                <a:off x="10506265" y="675481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337"/>
              <p:cNvSpPr/>
              <p:nvPr/>
            </p:nvSpPr>
            <p:spPr bwMode="auto">
              <a:xfrm flipH="1">
                <a:off x="10565226" y="5973573"/>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338"/>
              <p:cNvSpPr/>
              <p:nvPr/>
            </p:nvSpPr>
            <p:spPr bwMode="auto">
              <a:xfrm flipH="1">
                <a:off x="10565226" y="5973573"/>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339"/>
              <p:cNvSpPr>
                <a:spLocks noEditPoints="1"/>
              </p:cNvSpPr>
              <p:nvPr/>
            </p:nvSpPr>
            <p:spPr bwMode="auto">
              <a:xfrm>
                <a:off x="9876110" y="5431861"/>
                <a:ext cx="1455621" cy="1308216"/>
              </a:xfrm>
              <a:custGeom>
                <a:gdLst>
                  <a:gd name="T0" fmla="*/ 369 w 458"/>
                  <a:gd name="T1" fmla="*/ 6 h 412"/>
                  <a:gd name="T2" fmla="*/ 345 w 458"/>
                  <a:gd name="T3" fmla="*/ 6 h 412"/>
                  <a:gd name="T4" fmla="*/ 302 w 458"/>
                  <a:gd name="T5" fmla="*/ 20 h 412"/>
                  <a:gd name="T6" fmla="*/ 297 w 458"/>
                  <a:gd name="T7" fmla="*/ 40 h 412"/>
                  <a:gd name="T8" fmla="*/ 301 w 458"/>
                  <a:gd name="T9" fmla="*/ 57 h 412"/>
                  <a:gd name="T10" fmla="*/ 285 w 458"/>
                  <a:gd name="T11" fmla="*/ 76 h 412"/>
                  <a:gd name="T12" fmla="*/ 285 w 458"/>
                  <a:gd name="T13" fmla="*/ 90 h 412"/>
                  <a:gd name="T14" fmla="*/ 251 w 458"/>
                  <a:gd name="T15" fmla="*/ 97 h 412"/>
                  <a:gd name="T16" fmla="*/ 250 w 458"/>
                  <a:gd name="T17" fmla="*/ 127 h 412"/>
                  <a:gd name="T18" fmla="*/ 243 w 458"/>
                  <a:gd name="T19" fmla="*/ 128 h 412"/>
                  <a:gd name="T20" fmla="*/ 238 w 458"/>
                  <a:gd name="T21" fmla="*/ 139 h 412"/>
                  <a:gd name="T22" fmla="*/ 222 w 458"/>
                  <a:gd name="T23" fmla="*/ 172 h 412"/>
                  <a:gd name="T24" fmla="*/ 213 w 458"/>
                  <a:gd name="T25" fmla="*/ 170 h 412"/>
                  <a:gd name="T26" fmla="*/ 200 w 458"/>
                  <a:gd name="T27" fmla="*/ 169 h 412"/>
                  <a:gd name="T28" fmla="*/ 179 w 458"/>
                  <a:gd name="T29" fmla="*/ 186 h 412"/>
                  <a:gd name="T30" fmla="*/ 161 w 458"/>
                  <a:gd name="T31" fmla="*/ 186 h 412"/>
                  <a:gd name="T32" fmla="*/ 149 w 458"/>
                  <a:gd name="T33" fmla="*/ 207 h 412"/>
                  <a:gd name="T34" fmla="*/ 139 w 458"/>
                  <a:gd name="T35" fmla="*/ 231 h 412"/>
                  <a:gd name="T36" fmla="*/ 89 w 458"/>
                  <a:gd name="T37" fmla="*/ 241 h 412"/>
                  <a:gd name="T38" fmla="*/ 78 w 458"/>
                  <a:gd name="T39" fmla="*/ 242 h 412"/>
                  <a:gd name="T40" fmla="*/ 55 w 458"/>
                  <a:gd name="T41" fmla="*/ 242 h 412"/>
                  <a:gd name="T42" fmla="*/ 2 w 458"/>
                  <a:gd name="T43" fmla="*/ 235 h 412"/>
                  <a:gd name="T44" fmla="*/ 35 w 458"/>
                  <a:gd name="T45" fmla="*/ 268 h 412"/>
                  <a:gd name="T46" fmla="*/ 49 w 458"/>
                  <a:gd name="T47" fmla="*/ 287 h 412"/>
                  <a:gd name="T48" fmla="*/ 64 w 458"/>
                  <a:gd name="T49" fmla="*/ 304 h 412"/>
                  <a:gd name="T50" fmla="*/ 36 w 458"/>
                  <a:gd name="T51" fmla="*/ 331 h 412"/>
                  <a:gd name="T52" fmla="*/ 18 w 458"/>
                  <a:gd name="T53" fmla="*/ 361 h 412"/>
                  <a:gd name="T54" fmla="*/ 33 w 458"/>
                  <a:gd name="T55" fmla="*/ 371 h 412"/>
                  <a:gd name="T56" fmla="*/ 83 w 458"/>
                  <a:gd name="T57" fmla="*/ 360 h 412"/>
                  <a:gd name="T58" fmla="*/ 140 w 458"/>
                  <a:gd name="T59" fmla="*/ 362 h 412"/>
                  <a:gd name="T60" fmla="*/ 148 w 458"/>
                  <a:gd name="T61" fmla="*/ 358 h 412"/>
                  <a:gd name="T62" fmla="*/ 166 w 458"/>
                  <a:gd name="T63" fmla="*/ 377 h 412"/>
                  <a:gd name="T64" fmla="*/ 197 w 458"/>
                  <a:gd name="T65" fmla="*/ 411 h 412"/>
                  <a:gd name="T66" fmla="*/ 212 w 458"/>
                  <a:gd name="T67" fmla="*/ 402 h 412"/>
                  <a:gd name="T68" fmla="*/ 242 w 458"/>
                  <a:gd name="T69" fmla="*/ 395 h 412"/>
                  <a:gd name="T70" fmla="*/ 261 w 458"/>
                  <a:gd name="T71" fmla="*/ 389 h 412"/>
                  <a:gd name="T72" fmla="*/ 274 w 458"/>
                  <a:gd name="T73" fmla="*/ 392 h 412"/>
                  <a:gd name="T74" fmla="*/ 266 w 458"/>
                  <a:gd name="T75" fmla="*/ 371 h 412"/>
                  <a:gd name="T76" fmla="*/ 261 w 458"/>
                  <a:gd name="T77" fmla="*/ 357 h 412"/>
                  <a:gd name="T78" fmla="*/ 252 w 458"/>
                  <a:gd name="T79" fmla="*/ 343 h 412"/>
                  <a:gd name="T80" fmla="*/ 244 w 458"/>
                  <a:gd name="T81" fmla="*/ 334 h 412"/>
                  <a:gd name="T82" fmla="*/ 249 w 458"/>
                  <a:gd name="T83" fmla="*/ 290 h 412"/>
                  <a:gd name="T84" fmla="*/ 258 w 458"/>
                  <a:gd name="T85" fmla="*/ 281 h 412"/>
                  <a:gd name="T86" fmla="*/ 268 w 458"/>
                  <a:gd name="T87" fmla="*/ 279 h 412"/>
                  <a:gd name="T88" fmla="*/ 277 w 458"/>
                  <a:gd name="T89" fmla="*/ 287 h 412"/>
                  <a:gd name="T90" fmla="*/ 298 w 458"/>
                  <a:gd name="T91" fmla="*/ 283 h 412"/>
                  <a:gd name="T92" fmla="*/ 337 w 458"/>
                  <a:gd name="T93" fmla="*/ 240 h 412"/>
                  <a:gd name="T94" fmla="*/ 358 w 458"/>
                  <a:gd name="T95" fmla="*/ 213 h 412"/>
                  <a:gd name="T96" fmla="*/ 377 w 458"/>
                  <a:gd name="T97" fmla="*/ 190 h 412"/>
                  <a:gd name="T98" fmla="*/ 375 w 458"/>
                  <a:gd name="T99" fmla="*/ 167 h 412"/>
                  <a:gd name="T100" fmla="*/ 392 w 458"/>
                  <a:gd name="T101" fmla="*/ 154 h 412"/>
                  <a:gd name="T102" fmla="*/ 392 w 458"/>
                  <a:gd name="T103" fmla="*/ 148 h 412"/>
                  <a:gd name="T104" fmla="*/ 368 w 458"/>
                  <a:gd name="T105" fmla="*/ 131 h 412"/>
                  <a:gd name="T106" fmla="*/ 365 w 458"/>
                  <a:gd name="T107" fmla="*/ 110 h 412"/>
                  <a:gd name="T108" fmla="*/ 365 w 458"/>
                  <a:gd name="T109" fmla="*/ 97 h 412"/>
                  <a:gd name="T110" fmla="*/ 360 w 458"/>
                  <a:gd name="T111" fmla="*/ 88 h 412"/>
                  <a:gd name="T112" fmla="*/ 376 w 458"/>
                  <a:gd name="T113" fmla="*/ 69 h 412"/>
                  <a:gd name="T114" fmla="*/ 405 w 458"/>
                  <a:gd name="T115" fmla="*/ 73 h 412"/>
                  <a:gd name="T116" fmla="*/ 431 w 458"/>
                  <a:gd name="T117" fmla="*/ 69 h 412"/>
                  <a:gd name="T118" fmla="*/ 455 w 458"/>
                  <a:gd name="T119" fmla="*/ 53 h 412"/>
                  <a:gd name="T120" fmla="*/ 429 w 458"/>
                  <a:gd name="T121" fmla="*/ 39 h 412"/>
                  <a:gd name="T122" fmla="*/ 418 w 458"/>
                  <a:gd name="T123" fmla="*/ 23 h 412"/>
                  <a:gd name="T124" fmla="*/ 394 w 458"/>
                  <a:gd name="T125" fmla="*/ 2 h 4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8" h="412">
                    <a:moveTo>
                      <a:pt x="151" y="362"/>
                    </a:moveTo>
                    <a:cubicBezTo>
                      <a:pt x="151" y="362"/>
                      <a:pt x="151" y="362"/>
                      <a:pt x="151" y="362"/>
                    </a:cubicBezTo>
                    <a:cubicBezTo>
                      <a:pt x="151" y="362"/>
                      <a:pt x="151" y="362"/>
                      <a:pt x="151" y="362"/>
                    </a:cubicBezTo>
                    <a:moveTo>
                      <a:pt x="383" y="0"/>
                    </a:moveTo>
                    <a:cubicBezTo>
                      <a:pt x="382" y="0"/>
                      <a:pt x="382" y="0"/>
                      <a:pt x="381" y="0"/>
                    </a:cubicBezTo>
                    <a:cubicBezTo>
                      <a:pt x="380" y="1"/>
                      <a:pt x="379" y="2"/>
                      <a:pt x="377" y="2"/>
                    </a:cubicBezTo>
                    <a:cubicBezTo>
                      <a:pt x="377" y="3"/>
                      <a:pt x="377" y="3"/>
                      <a:pt x="377" y="3"/>
                    </a:cubicBezTo>
                    <a:cubicBezTo>
                      <a:pt x="374" y="4"/>
                      <a:pt x="372" y="6"/>
                      <a:pt x="369" y="6"/>
                    </a:cubicBezTo>
                    <a:cubicBezTo>
                      <a:pt x="369" y="7"/>
                      <a:pt x="368" y="7"/>
                      <a:pt x="368" y="7"/>
                    </a:cubicBezTo>
                    <a:cubicBezTo>
                      <a:pt x="367" y="7"/>
                      <a:pt x="366" y="7"/>
                      <a:pt x="365" y="7"/>
                    </a:cubicBezTo>
                    <a:cubicBezTo>
                      <a:pt x="363" y="7"/>
                      <a:pt x="361" y="6"/>
                      <a:pt x="359" y="6"/>
                    </a:cubicBezTo>
                    <a:cubicBezTo>
                      <a:pt x="359" y="6"/>
                      <a:pt x="359" y="6"/>
                      <a:pt x="359" y="6"/>
                    </a:cubicBezTo>
                    <a:cubicBezTo>
                      <a:pt x="358" y="5"/>
                      <a:pt x="358" y="5"/>
                      <a:pt x="357" y="5"/>
                    </a:cubicBezTo>
                    <a:cubicBezTo>
                      <a:pt x="357" y="5"/>
                      <a:pt x="356" y="5"/>
                      <a:pt x="355" y="5"/>
                    </a:cubicBezTo>
                    <a:cubicBezTo>
                      <a:pt x="353" y="5"/>
                      <a:pt x="351" y="5"/>
                      <a:pt x="349" y="5"/>
                    </a:cubicBezTo>
                    <a:cubicBezTo>
                      <a:pt x="345" y="6"/>
                      <a:pt x="345" y="6"/>
                      <a:pt x="345" y="6"/>
                    </a:cubicBezTo>
                    <a:cubicBezTo>
                      <a:pt x="342" y="6"/>
                      <a:pt x="339" y="6"/>
                      <a:pt x="336" y="6"/>
                    </a:cubicBezTo>
                    <a:cubicBezTo>
                      <a:pt x="330" y="7"/>
                      <a:pt x="330" y="7"/>
                      <a:pt x="330" y="7"/>
                    </a:cubicBezTo>
                    <a:cubicBezTo>
                      <a:pt x="328" y="7"/>
                      <a:pt x="325" y="8"/>
                      <a:pt x="323" y="9"/>
                    </a:cubicBezTo>
                    <a:cubicBezTo>
                      <a:pt x="320" y="10"/>
                      <a:pt x="317" y="12"/>
                      <a:pt x="314" y="14"/>
                    </a:cubicBezTo>
                    <a:cubicBezTo>
                      <a:pt x="312" y="15"/>
                      <a:pt x="312" y="15"/>
                      <a:pt x="312" y="15"/>
                    </a:cubicBezTo>
                    <a:cubicBezTo>
                      <a:pt x="310" y="16"/>
                      <a:pt x="308" y="18"/>
                      <a:pt x="306" y="19"/>
                    </a:cubicBezTo>
                    <a:cubicBezTo>
                      <a:pt x="305" y="20"/>
                      <a:pt x="304" y="20"/>
                      <a:pt x="303" y="20"/>
                    </a:cubicBezTo>
                    <a:cubicBezTo>
                      <a:pt x="302" y="20"/>
                      <a:pt x="302" y="20"/>
                      <a:pt x="302" y="20"/>
                    </a:cubicBezTo>
                    <a:cubicBezTo>
                      <a:pt x="301" y="20"/>
                      <a:pt x="300" y="20"/>
                      <a:pt x="299" y="19"/>
                    </a:cubicBezTo>
                    <a:cubicBezTo>
                      <a:pt x="298" y="19"/>
                      <a:pt x="298" y="19"/>
                      <a:pt x="298" y="19"/>
                    </a:cubicBezTo>
                    <a:cubicBezTo>
                      <a:pt x="295" y="23"/>
                      <a:pt x="292" y="26"/>
                      <a:pt x="289" y="29"/>
                    </a:cubicBezTo>
                    <a:cubicBezTo>
                      <a:pt x="291" y="31"/>
                      <a:pt x="292" y="33"/>
                      <a:pt x="293" y="35"/>
                    </a:cubicBezTo>
                    <a:cubicBezTo>
                      <a:pt x="294" y="35"/>
                      <a:pt x="294" y="36"/>
                      <a:pt x="294" y="36"/>
                    </a:cubicBezTo>
                    <a:cubicBezTo>
                      <a:pt x="294" y="37"/>
                      <a:pt x="295" y="37"/>
                      <a:pt x="295" y="38"/>
                    </a:cubicBezTo>
                    <a:cubicBezTo>
                      <a:pt x="296" y="38"/>
                      <a:pt x="296" y="39"/>
                      <a:pt x="297" y="40"/>
                    </a:cubicBezTo>
                    <a:cubicBezTo>
                      <a:pt x="297" y="40"/>
                      <a:pt x="297" y="40"/>
                      <a:pt x="297" y="40"/>
                    </a:cubicBezTo>
                    <a:cubicBezTo>
                      <a:pt x="301" y="38"/>
                      <a:pt x="301" y="38"/>
                      <a:pt x="301" y="38"/>
                    </a:cubicBezTo>
                    <a:cubicBezTo>
                      <a:pt x="298" y="42"/>
                      <a:pt x="298" y="42"/>
                      <a:pt x="298" y="42"/>
                    </a:cubicBezTo>
                    <a:cubicBezTo>
                      <a:pt x="299" y="44"/>
                      <a:pt x="299" y="44"/>
                      <a:pt x="299" y="44"/>
                    </a:cubicBezTo>
                    <a:cubicBezTo>
                      <a:pt x="300" y="46"/>
                      <a:pt x="299" y="48"/>
                      <a:pt x="299" y="50"/>
                    </a:cubicBezTo>
                    <a:cubicBezTo>
                      <a:pt x="299" y="51"/>
                      <a:pt x="299" y="52"/>
                      <a:pt x="299" y="52"/>
                    </a:cubicBezTo>
                    <a:cubicBezTo>
                      <a:pt x="299" y="53"/>
                      <a:pt x="299" y="53"/>
                      <a:pt x="299" y="53"/>
                    </a:cubicBezTo>
                    <a:cubicBezTo>
                      <a:pt x="300" y="54"/>
                      <a:pt x="300" y="54"/>
                      <a:pt x="300" y="54"/>
                    </a:cubicBezTo>
                    <a:cubicBezTo>
                      <a:pt x="301" y="55"/>
                      <a:pt x="301" y="56"/>
                      <a:pt x="301" y="57"/>
                    </a:cubicBezTo>
                    <a:cubicBezTo>
                      <a:pt x="300" y="57"/>
                      <a:pt x="300" y="57"/>
                      <a:pt x="300" y="57"/>
                    </a:cubicBezTo>
                    <a:cubicBezTo>
                      <a:pt x="300" y="58"/>
                      <a:pt x="300" y="59"/>
                      <a:pt x="299" y="59"/>
                    </a:cubicBezTo>
                    <a:cubicBezTo>
                      <a:pt x="298" y="61"/>
                      <a:pt x="298" y="61"/>
                      <a:pt x="298" y="61"/>
                    </a:cubicBezTo>
                    <a:cubicBezTo>
                      <a:pt x="297" y="62"/>
                      <a:pt x="297" y="62"/>
                      <a:pt x="297" y="62"/>
                    </a:cubicBezTo>
                    <a:cubicBezTo>
                      <a:pt x="297" y="66"/>
                      <a:pt x="294" y="67"/>
                      <a:pt x="292" y="68"/>
                    </a:cubicBezTo>
                    <a:cubicBezTo>
                      <a:pt x="291" y="68"/>
                      <a:pt x="291" y="69"/>
                      <a:pt x="290" y="69"/>
                    </a:cubicBezTo>
                    <a:cubicBezTo>
                      <a:pt x="290" y="70"/>
                      <a:pt x="289" y="70"/>
                      <a:pt x="289" y="71"/>
                    </a:cubicBezTo>
                    <a:cubicBezTo>
                      <a:pt x="288" y="72"/>
                      <a:pt x="287" y="74"/>
                      <a:pt x="285" y="76"/>
                    </a:cubicBezTo>
                    <a:cubicBezTo>
                      <a:pt x="284" y="76"/>
                      <a:pt x="284" y="77"/>
                      <a:pt x="283" y="77"/>
                    </a:cubicBezTo>
                    <a:cubicBezTo>
                      <a:pt x="282" y="78"/>
                      <a:pt x="282" y="78"/>
                      <a:pt x="283" y="79"/>
                    </a:cubicBezTo>
                    <a:cubicBezTo>
                      <a:pt x="283" y="80"/>
                      <a:pt x="284" y="80"/>
                      <a:pt x="284" y="81"/>
                    </a:cubicBezTo>
                    <a:cubicBezTo>
                      <a:pt x="284" y="81"/>
                      <a:pt x="284" y="81"/>
                      <a:pt x="284" y="81"/>
                    </a:cubicBezTo>
                    <a:cubicBezTo>
                      <a:pt x="285" y="82"/>
                      <a:pt x="285" y="82"/>
                      <a:pt x="286" y="83"/>
                    </a:cubicBezTo>
                    <a:cubicBezTo>
                      <a:pt x="286" y="85"/>
                      <a:pt x="286" y="85"/>
                      <a:pt x="286" y="86"/>
                    </a:cubicBezTo>
                    <a:cubicBezTo>
                      <a:pt x="286" y="87"/>
                      <a:pt x="286" y="88"/>
                      <a:pt x="286" y="89"/>
                    </a:cubicBezTo>
                    <a:cubicBezTo>
                      <a:pt x="286" y="90"/>
                      <a:pt x="286" y="90"/>
                      <a:pt x="285" y="90"/>
                    </a:cubicBezTo>
                    <a:cubicBezTo>
                      <a:pt x="285" y="91"/>
                      <a:pt x="285" y="91"/>
                      <a:pt x="285" y="91"/>
                    </a:cubicBezTo>
                    <a:cubicBezTo>
                      <a:pt x="285" y="91"/>
                      <a:pt x="285" y="92"/>
                      <a:pt x="284" y="92"/>
                    </a:cubicBezTo>
                    <a:cubicBezTo>
                      <a:pt x="283" y="94"/>
                      <a:pt x="282" y="95"/>
                      <a:pt x="280" y="96"/>
                    </a:cubicBezTo>
                    <a:cubicBezTo>
                      <a:pt x="276" y="99"/>
                      <a:pt x="272" y="100"/>
                      <a:pt x="267" y="100"/>
                    </a:cubicBezTo>
                    <a:cubicBezTo>
                      <a:pt x="266" y="100"/>
                      <a:pt x="265" y="100"/>
                      <a:pt x="263" y="100"/>
                    </a:cubicBezTo>
                    <a:cubicBezTo>
                      <a:pt x="263" y="100"/>
                      <a:pt x="263" y="100"/>
                      <a:pt x="262" y="100"/>
                    </a:cubicBezTo>
                    <a:cubicBezTo>
                      <a:pt x="261" y="100"/>
                      <a:pt x="260" y="99"/>
                      <a:pt x="259" y="99"/>
                    </a:cubicBezTo>
                    <a:cubicBezTo>
                      <a:pt x="256" y="98"/>
                      <a:pt x="253" y="97"/>
                      <a:pt x="251" y="97"/>
                    </a:cubicBezTo>
                    <a:cubicBezTo>
                      <a:pt x="253" y="100"/>
                      <a:pt x="253" y="100"/>
                      <a:pt x="253" y="100"/>
                    </a:cubicBezTo>
                    <a:cubicBezTo>
                      <a:pt x="254" y="100"/>
                      <a:pt x="255" y="101"/>
                      <a:pt x="255" y="102"/>
                    </a:cubicBezTo>
                    <a:cubicBezTo>
                      <a:pt x="258" y="106"/>
                      <a:pt x="258" y="106"/>
                      <a:pt x="258" y="106"/>
                    </a:cubicBezTo>
                    <a:cubicBezTo>
                      <a:pt x="263" y="113"/>
                      <a:pt x="265" y="117"/>
                      <a:pt x="262" y="119"/>
                    </a:cubicBezTo>
                    <a:cubicBezTo>
                      <a:pt x="261" y="120"/>
                      <a:pt x="261" y="120"/>
                      <a:pt x="261" y="120"/>
                    </a:cubicBezTo>
                    <a:cubicBezTo>
                      <a:pt x="261" y="120"/>
                      <a:pt x="261" y="120"/>
                      <a:pt x="261" y="120"/>
                    </a:cubicBezTo>
                    <a:cubicBezTo>
                      <a:pt x="260" y="121"/>
                      <a:pt x="260" y="121"/>
                      <a:pt x="260" y="121"/>
                    </a:cubicBezTo>
                    <a:cubicBezTo>
                      <a:pt x="258" y="122"/>
                      <a:pt x="254" y="125"/>
                      <a:pt x="250" y="127"/>
                    </a:cubicBezTo>
                    <a:cubicBezTo>
                      <a:pt x="252" y="132"/>
                      <a:pt x="252" y="132"/>
                      <a:pt x="252" y="132"/>
                    </a:cubicBezTo>
                    <a:cubicBezTo>
                      <a:pt x="249" y="127"/>
                      <a:pt x="249" y="127"/>
                      <a:pt x="249" y="127"/>
                    </a:cubicBezTo>
                    <a:cubicBezTo>
                      <a:pt x="248" y="127"/>
                      <a:pt x="248" y="127"/>
                      <a:pt x="248" y="127"/>
                    </a:cubicBezTo>
                    <a:cubicBezTo>
                      <a:pt x="247" y="127"/>
                      <a:pt x="246" y="127"/>
                      <a:pt x="246" y="128"/>
                    </a:cubicBezTo>
                    <a:cubicBezTo>
                      <a:pt x="245" y="128"/>
                      <a:pt x="245" y="128"/>
                      <a:pt x="245" y="128"/>
                    </a:cubicBezTo>
                    <a:cubicBezTo>
                      <a:pt x="244" y="128"/>
                      <a:pt x="244" y="128"/>
                      <a:pt x="244" y="128"/>
                    </a:cubicBezTo>
                    <a:cubicBezTo>
                      <a:pt x="243" y="128"/>
                      <a:pt x="243" y="128"/>
                      <a:pt x="243" y="128"/>
                    </a:cubicBezTo>
                    <a:cubicBezTo>
                      <a:pt x="243" y="128"/>
                      <a:pt x="243" y="128"/>
                      <a:pt x="243" y="128"/>
                    </a:cubicBezTo>
                    <a:cubicBezTo>
                      <a:pt x="243" y="128"/>
                      <a:pt x="242" y="128"/>
                      <a:pt x="242" y="128"/>
                    </a:cubicBezTo>
                    <a:cubicBezTo>
                      <a:pt x="241" y="126"/>
                      <a:pt x="241" y="126"/>
                      <a:pt x="241" y="126"/>
                    </a:cubicBezTo>
                    <a:cubicBezTo>
                      <a:pt x="241" y="128"/>
                      <a:pt x="241" y="128"/>
                      <a:pt x="241" y="128"/>
                    </a:cubicBezTo>
                    <a:cubicBezTo>
                      <a:pt x="240" y="128"/>
                      <a:pt x="240" y="128"/>
                      <a:pt x="240" y="128"/>
                    </a:cubicBezTo>
                    <a:cubicBezTo>
                      <a:pt x="240" y="129"/>
                      <a:pt x="239" y="131"/>
                      <a:pt x="239" y="133"/>
                    </a:cubicBezTo>
                    <a:cubicBezTo>
                      <a:pt x="239" y="134"/>
                      <a:pt x="238" y="136"/>
                      <a:pt x="238" y="137"/>
                    </a:cubicBezTo>
                    <a:cubicBezTo>
                      <a:pt x="238" y="137"/>
                      <a:pt x="238" y="137"/>
                      <a:pt x="238" y="137"/>
                    </a:cubicBezTo>
                    <a:cubicBezTo>
                      <a:pt x="238" y="138"/>
                      <a:pt x="238" y="139"/>
                      <a:pt x="238" y="139"/>
                    </a:cubicBezTo>
                    <a:cubicBezTo>
                      <a:pt x="237" y="141"/>
                      <a:pt x="235" y="142"/>
                      <a:pt x="234" y="144"/>
                    </a:cubicBezTo>
                    <a:cubicBezTo>
                      <a:pt x="233" y="144"/>
                      <a:pt x="233" y="144"/>
                      <a:pt x="233" y="144"/>
                    </a:cubicBezTo>
                    <a:cubicBezTo>
                      <a:pt x="234" y="153"/>
                      <a:pt x="234" y="153"/>
                      <a:pt x="234" y="153"/>
                    </a:cubicBezTo>
                    <a:cubicBezTo>
                      <a:pt x="234" y="153"/>
                      <a:pt x="234" y="153"/>
                      <a:pt x="234" y="153"/>
                    </a:cubicBezTo>
                    <a:cubicBezTo>
                      <a:pt x="235" y="158"/>
                      <a:pt x="235" y="158"/>
                      <a:pt x="235" y="158"/>
                    </a:cubicBezTo>
                    <a:cubicBezTo>
                      <a:pt x="235" y="161"/>
                      <a:pt x="234" y="163"/>
                      <a:pt x="232" y="164"/>
                    </a:cubicBezTo>
                    <a:cubicBezTo>
                      <a:pt x="229" y="167"/>
                      <a:pt x="226" y="169"/>
                      <a:pt x="223" y="172"/>
                    </a:cubicBezTo>
                    <a:cubicBezTo>
                      <a:pt x="222" y="172"/>
                      <a:pt x="222" y="172"/>
                      <a:pt x="222" y="172"/>
                    </a:cubicBezTo>
                    <a:cubicBezTo>
                      <a:pt x="221" y="173"/>
                      <a:pt x="220" y="173"/>
                      <a:pt x="220" y="173"/>
                    </a:cubicBezTo>
                    <a:cubicBezTo>
                      <a:pt x="219" y="173"/>
                      <a:pt x="219" y="173"/>
                      <a:pt x="219" y="173"/>
                    </a:cubicBezTo>
                    <a:cubicBezTo>
                      <a:pt x="219" y="173"/>
                      <a:pt x="219" y="173"/>
                      <a:pt x="219" y="173"/>
                    </a:cubicBezTo>
                    <a:cubicBezTo>
                      <a:pt x="219" y="173"/>
                      <a:pt x="218" y="173"/>
                      <a:pt x="217" y="173"/>
                    </a:cubicBezTo>
                    <a:cubicBezTo>
                      <a:pt x="217" y="173"/>
                      <a:pt x="217" y="173"/>
                      <a:pt x="217" y="173"/>
                    </a:cubicBezTo>
                    <a:cubicBezTo>
                      <a:pt x="216" y="172"/>
                      <a:pt x="216" y="172"/>
                      <a:pt x="216" y="172"/>
                    </a:cubicBezTo>
                    <a:cubicBezTo>
                      <a:pt x="215" y="172"/>
                      <a:pt x="214" y="171"/>
                      <a:pt x="213" y="171"/>
                    </a:cubicBezTo>
                    <a:cubicBezTo>
                      <a:pt x="213" y="170"/>
                      <a:pt x="213" y="170"/>
                      <a:pt x="213" y="170"/>
                    </a:cubicBezTo>
                    <a:cubicBezTo>
                      <a:pt x="212" y="169"/>
                      <a:pt x="211" y="169"/>
                      <a:pt x="210" y="168"/>
                    </a:cubicBezTo>
                    <a:cubicBezTo>
                      <a:pt x="209" y="168"/>
                      <a:pt x="209" y="168"/>
                      <a:pt x="209" y="168"/>
                    </a:cubicBezTo>
                    <a:cubicBezTo>
                      <a:pt x="209" y="168"/>
                      <a:pt x="208" y="167"/>
                      <a:pt x="208" y="167"/>
                    </a:cubicBezTo>
                    <a:cubicBezTo>
                      <a:pt x="208" y="167"/>
                      <a:pt x="207" y="167"/>
                      <a:pt x="207" y="168"/>
                    </a:cubicBezTo>
                    <a:cubicBezTo>
                      <a:pt x="206" y="168"/>
                      <a:pt x="205" y="168"/>
                      <a:pt x="204" y="168"/>
                    </a:cubicBezTo>
                    <a:cubicBezTo>
                      <a:pt x="204" y="168"/>
                      <a:pt x="204" y="168"/>
                      <a:pt x="204" y="168"/>
                    </a:cubicBezTo>
                    <a:cubicBezTo>
                      <a:pt x="203" y="168"/>
                      <a:pt x="202" y="169"/>
                      <a:pt x="202" y="169"/>
                    </a:cubicBezTo>
                    <a:cubicBezTo>
                      <a:pt x="201" y="169"/>
                      <a:pt x="201" y="169"/>
                      <a:pt x="200" y="169"/>
                    </a:cubicBezTo>
                    <a:cubicBezTo>
                      <a:pt x="199" y="169"/>
                      <a:pt x="199" y="169"/>
                      <a:pt x="199" y="170"/>
                    </a:cubicBezTo>
                    <a:cubicBezTo>
                      <a:pt x="198" y="170"/>
                      <a:pt x="197" y="170"/>
                      <a:pt x="196" y="171"/>
                    </a:cubicBezTo>
                    <a:cubicBezTo>
                      <a:pt x="195" y="172"/>
                      <a:pt x="195" y="172"/>
                      <a:pt x="195" y="172"/>
                    </a:cubicBezTo>
                    <a:cubicBezTo>
                      <a:pt x="193" y="173"/>
                      <a:pt x="191" y="174"/>
                      <a:pt x="190" y="175"/>
                    </a:cubicBezTo>
                    <a:cubicBezTo>
                      <a:pt x="195" y="179"/>
                      <a:pt x="195" y="179"/>
                      <a:pt x="195" y="179"/>
                    </a:cubicBezTo>
                    <a:cubicBezTo>
                      <a:pt x="189" y="181"/>
                      <a:pt x="189" y="181"/>
                      <a:pt x="189" y="181"/>
                    </a:cubicBezTo>
                    <a:cubicBezTo>
                      <a:pt x="188" y="182"/>
                      <a:pt x="187" y="182"/>
                      <a:pt x="186" y="183"/>
                    </a:cubicBezTo>
                    <a:cubicBezTo>
                      <a:pt x="184" y="184"/>
                      <a:pt x="182" y="185"/>
                      <a:pt x="179" y="186"/>
                    </a:cubicBezTo>
                    <a:cubicBezTo>
                      <a:pt x="178" y="186"/>
                      <a:pt x="178" y="186"/>
                      <a:pt x="178" y="186"/>
                    </a:cubicBezTo>
                    <a:cubicBezTo>
                      <a:pt x="177" y="186"/>
                      <a:pt x="177" y="186"/>
                      <a:pt x="176" y="186"/>
                    </a:cubicBezTo>
                    <a:cubicBezTo>
                      <a:pt x="173" y="186"/>
                      <a:pt x="170" y="185"/>
                      <a:pt x="167" y="184"/>
                    </a:cubicBezTo>
                    <a:cubicBezTo>
                      <a:pt x="166" y="184"/>
                      <a:pt x="166" y="184"/>
                      <a:pt x="166" y="184"/>
                    </a:cubicBezTo>
                    <a:cubicBezTo>
                      <a:pt x="166" y="184"/>
                      <a:pt x="166" y="184"/>
                      <a:pt x="166" y="184"/>
                    </a:cubicBezTo>
                    <a:cubicBezTo>
                      <a:pt x="165" y="184"/>
                      <a:pt x="164" y="184"/>
                      <a:pt x="164" y="184"/>
                    </a:cubicBezTo>
                    <a:cubicBezTo>
                      <a:pt x="163" y="184"/>
                      <a:pt x="163" y="184"/>
                      <a:pt x="162" y="185"/>
                    </a:cubicBezTo>
                    <a:cubicBezTo>
                      <a:pt x="162" y="185"/>
                      <a:pt x="161" y="185"/>
                      <a:pt x="161" y="186"/>
                    </a:cubicBezTo>
                    <a:cubicBezTo>
                      <a:pt x="160" y="186"/>
                      <a:pt x="160" y="186"/>
                      <a:pt x="160" y="186"/>
                    </a:cubicBezTo>
                    <a:cubicBezTo>
                      <a:pt x="159" y="187"/>
                      <a:pt x="158" y="188"/>
                      <a:pt x="157" y="189"/>
                    </a:cubicBezTo>
                    <a:cubicBezTo>
                      <a:pt x="155" y="190"/>
                      <a:pt x="154" y="192"/>
                      <a:pt x="153" y="193"/>
                    </a:cubicBezTo>
                    <a:cubicBezTo>
                      <a:pt x="152" y="193"/>
                      <a:pt x="152" y="193"/>
                      <a:pt x="152" y="193"/>
                    </a:cubicBezTo>
                    <a:cubicBezTo>
                      <a:pt x="152" y="194"/>
                      <a:pt x="152" y="194"/>
                      <a:pt x="151" y="195"/>
                    </a:cubicBezTo>
                    <a:cubicBezTo>
                      <a:pt x="151" y="196"/>
                      <a:pt x="151" y="196"/>
                      <a:pt x="151" y="196"/>
                    </a:cubicBezTo>
                    <a:cubicBezTo>
                      <a:pt x="151" y="198"/>
                      <a:pt x="151" y="198"/>
                      <a:pt x="151" y="198"/>
                    </a:cubicBezTo>
                    <a:cubicBezTo>
                      <a:pt x="150" y="201"/>
                      <a:pt x="149" y="205"/>
                      <a:pt x="149" y="207"/>
                    </a:cubicBezTo>
                    <a:cubicBezTo>
                      <a:pt x="149" y="209"/>
                      <a:pt x="149" y="210"/>
                      <a:pt x="149" y="211"/>
                    </a:cubicBezTo>
                    <a:cubicBezTo>
                      <a:pt x="149" y="213"/>
                      <a:pt x="149" y="214"/>
                      <a:pt x="148" y="216"/>
                    </a:cubicBezTo>
                    <a:cubicBezTo>
                      <a:pt x="148" y="217"/>
                      <a:pt x="148" y="217"/>
                      <a:pt x="148" y="217"/>
                    </a:cubicBezTo>
                    <a:cubicBezTo>
                      <a:pt x="148" y="217"/>
                      <a:pt x="148" y="217"/>
                      <a:pt x="148" y="217"/>
                    </a:cubicBezTo>
                    <a:cubicBezTo>
                      <a:pt x="149" y="218"/>
                      <a:pt x="149" y="219"/>
                      <a:pt x="149" y="221"/>
                    </a:cubicBezTo>
                    <a:cubicBezTo>
                      <a:pt x="149" y="222"/>
                      <a:pt x="149" y="225"/>
                      <a:pt x="148" y="227"/>
                    </a:cubicBezTo>
                    <a:cubicBezTo>
                      <a:pt x="147" y="229"/>
                      <a:pt x="144" y="229"/>
                      <a:pt x="142" y="230"/>
                    </a:cubicBezTo>
                    <a:cubicBezTo>
                      <a:pt x="139" y="231"/>
                      <a:pt x="139" y="231"/>
                      <a:pt x="139" y="231"/>
                    </a:cubicBezTo>
                    <a:cubicBezTo>
                      <a:pt x="137" y="231"/>
                      <a:pt x="134" y="232"/>
                      <a:pt x="132" y="233"/>
                    </a:cubicBezTo>
                    <a:cubicBezTo>
                      <a:pt x="129" y="234"/>
                      <a:pt x="125" y="235"/>
                      <a:pt x="122" y="235"/>
                    </a:cubicBezTo>
                    <a:cubicBezTo>
                      <a:pt x="114" y="235"/>
                      <a:pt x="114" y="235"/>
                      <a:pt x="114" y="235"/>
                    </a:cubicBezTo>
                    <a:cubicBezTo>
                      <a:pt x="111" y="236"/>
                      <a:pt x="109" y="236"/>
                      <a:pt x="106" y="236"/>
                    </a:cubicBezTo>
                    <a:cubicBezTo>
                      <a:pt x="103" y="236"/>
                      <a:pt x="99" y="237"/>
                      <a:pt x="95" y="237"/>
                    </a:cubicBezTo>
                    <a:cubicBezTo>
                      <a:pt x="95" y="238"/>
                      <a:pt x="94" y="238"/>
                      <a:pt x="93" y="238"/>
                    </a:cubicBezTo>
                    <a:cubicBezTo>
                      <a:pt x="92" y="239"/>
                      <a:pt x="91" y="239"/>
                      <a:pt x="91" y="240"/>
                    </a:cubicBezTo>
                    <a:cubicBezTo>
                      <a:pt x="89" y="241"/>
                      <a:pt x="89" y="241"/>
                      <a:pt x="89" y="241"/>
                    </a:cubicBezTo>
                    <a:cubicBezTo>
                      <a:pt x="88" y="241"/>
                      <a:pt x="88" y="241"/>
                      <a:pt x="88" y="241"/>
                    </a:cubicBezTo>
                    <a:cubicBezTo>
                      <a:pt x="87" y="242"/>
                      <a:pt x="87" y="242"/>
                      <a:pt x="86" y="242"/>
                    </a:cubicBezTo>
                    <a:cubicBezTo>
                      <a:pt x="86" y="242"/>
                      <a:pt x="86" y="242"/>
                      <a:pt x="85" y="242"/>
                    </a:cubicBezTo>
                    <a:cubicBezTo>
                      <a:pt x="85" y="242"/>
                      <a:pt x="84" y="243"/>
                      <a:pt x="84" y="243"/>
                    </a:cubicBezTo>
                    <a:cubicBezTo>
                      <a:pt x="83" y="243"/>
                      <a:pt x="83" y="243"/>
                      <a:pt x="82" y="243"/>
                    </a:cubicBezTo>
                    <a:cubicBezTo>
                      <a:pt x="82" y="243"/>
                      <a:pt x="82" y="243"/>
                      <a:pt x="82" y="243"/>
                    </a:cubicBezTo>
                    <a:cubicBezTo>
                      <a:pt x="81" y="243"/>
                      <a:pt x="80" y="243"/>
                      <a:pt x="80" y="243"/>
                    </a:cubicBezTo>
                    <a:cubicBezTo>
                      <a:pt x="79" y="242"/>
                      <a:pt x="79" y="242"/>
                      <a:pt x="78" y="242"/>
                    </a:cubicBezTo>
                    <a:cubicBezTo>
                      <a:pt x="75" y="242"/>
                      <a:pt x="75" y="242"/>
                      <a:pt x="75" y="242"/>
                    </a:cubicBezTo>
                    <a:cubicBezTo>
                      <a:pt x="74" y="241"/>
                      <a:pt x="73" y="241"/>
                      <a:pt x="71" y="241"/>
                    </a:cubicBezTo>
                    <a:cubicBezTo>
                      <a:pt x="71" y="241"/>
                      <a:pt x="71" y="241"/>
                      <a:pt x="71" y="241"/>
                    </a:cubicBezTo>
                    <a:cubicBezTo>
                      <a:pt x="70" y="241"/>
                      <a:pt x="69" y="241"/>
                      <a:pt x="68" y="241"/>
                    </a:cubicBezTo>
                    <a:cubicBezTo>
                      <a:pt x="68" y="241"/>
                      <a:pt x="68" y="241"/>
                      <a:pt x="68" y="241"/>
                    </a:cubicBezTo>
                    <a:cubicBezTo>
                      <a:pt x="56" y="241"/>
                      <a:pt x="56" y="241"/>
                      <a:pt x="56" y="241"/>
                    </a:cubicBezTo>
                    <a:cubicBezTo>
                      <a:pt x="57" y="247"/>
                      <a:pt x="57" y="247"/>
                      <a:pt x="57" y="247"/>
                    </a:cubicBezTo>
                    <a:cubicBezTo>
                      <a:pt x="55" y="242"/>
                      <a:pt x="55" y="242"/>
                      <a:pt x="55" y="242"/>
                    </a:cubicBezTo>
                    <a:cubicBezTo>
                      <a:pt x="50" y="242"/>
                      <a:pt x="50" y="242"/>
                      <a:pt x="50" y="242"/>
                    </a:cubicBezTo>
                    <a:cubicBezTo>
                      <a:pt x="49" y="242"/>
                      <a:pt x="48" y="242"/>
                      <a:pt x="47" y="242"/>
                    </a:cubicBezTo>
                    <a:cubicBezTo>
                      <a:pt x="47" y="242"/>
                      <a:pt x="47" y="242"/>
                      <a:pt x="47" y="242"/>
                    </a:cubicBezTo>
                    <a:cubicBezTo>
                      <a:pt x="46" y="242"/>
                      <a:pt x="45" y="243"/>
                      <a:pt x="44" y="243"/>
                    </a:cubicBezTo>
                    <a:cubicBezTo>
                      <a:pt x="43" y="243"/>
                      <a:pt x="43" y="243"/>
                      <a:pt x="43" y="243"/>
                    </a:cubicBezTo>
                    <a:cubicBezTo>
                      <a:pt x="41" y="243"/>
                      <a:pt x="40" y="243"/>
                      <a:pt x="39" y="242"/>
                    </a:cubicBezTo>
                    <a:cubicBezTo>
                      <a:pt x="0" y="231"/>
                      <a:pt x="0" y="231"/>
                      <a:pt x="0" y="231"/>
                    </a:cubicBezTo>
                    <a:cubicBezTo>
                      <a:pt x="0" y="232"/>
                      <a:pt x="1" y="234"/>
                      <a:pt x="2" y="235"/>
                    </a:cubicBezTo>
                    <a:cubicBezTo>
                      <a:pt x="3" y="235"/>
                      <a:pt x="3" y="236"/>
                      <a:pt x="3" y="237"/>
                    </a:cubicBezTo>
                    <a:cubicBezTo>
                      <a:pt x="4" y="237"/>
                      <a:pt x="4" y="238"/>
                      <a:pt x="5" y="239"/>
                    </a:cubicBezTo>
                    <a:cubicBezTo>
                      <a:pt x="8" y="242"/>
                      <a:pt x="10" y="246"/>
                      <a:pt x="13" y="250"/>
                    </a:cubicBezTo>
                    <a:cubicBezTo>
                      <a:pt x="16" y="254"/>
                      <a:pt x="19" y="258"/>
                      <a:pt x="22" y="262"/>
                    </a:cubicBezTo>
                    <a:cubicBezTo>
                      <a:pt x="24" y="264"/>
                      <a:pt x="26" y="265"/>
                      <a:pt x="28" y="266"/>
                    </a:cubicBezTo>
                    <a:cubicBezTo>
                      <a:pt x="29" y="266"/>
                      <a:pt x="30" y="267"/>
                      <a:pt x="31" y="267"/>
                    </a:cubicBezTo>
                    <a:cubicBezTo>
                      <a:pt x="32" y="267"/>
                      <a:pt x="32" y="267"/>
                      <a:pt x="32" y="267"/>
                    </a:cubicBezTo>
                    <a:cubicBezTo>
                      <a:pt x="33" y="268"/>
                      <a:pt x="34" y="268"/>
                      <a:pt x="35" y="268"/>
                    </a:cubicBezTo>
                    <a:cubicBezTo>
                      <a:pt x="35" y="268"/>
                      <a:pt x="35" y="268"/>
                      <a:pt x="35" y="268"/>
                    </a:cubicBezTo>
                    <a:cubicBezTo>
                      <a:pt x="36" y="269"/>
                      <a:pt x="37" y="269"/>
                      <a:pt x="38" y="270"/>
                    </a:cubicBezTo>
                    <a:cubicBezTo>
                      <a:pt x="40" y="270"/>
                      <a:pt x="41" y="271"/>
                      <a:pt x="43" y="271"/>
                    </a:cubicBezTo>
                    <a:cubicBezTo>
                      <a:pt x="46" y="273"/>
                      <a:pt x="48" y="274"/>
                      <a:pt x="48" y="275"/>
                    </a:cubicBezTo>
                    <a:cubicBezTo>
                      <a:pt x="50" y="277"/>
                      <a:pt x="50" y="280"/>
                      <a:pt x="49" y="284"/>
                    </a:cubicBezTo>
                    <a:cubicBezTo>
                      <a:pt x="49" y="285"/>
                      <a:pt x="49" y="285"/>
                      <a:pt x="49" y="285"/>
                    </a:cubicBezTo>
                    <a:cubicBezTo>
                      <a:pt x="55" y="285"/>
                      <a:pt x="55" y="285"/>
                      <a:pt x="55" y="285"/>
                    </a:cubicBezTo>
                    <a:cubicBezTo>
                      <a:pt x="49" y="287"/>
                      <a:pt x="49" y="287"/>
                      <a:pt x="49" y="287"/>
                    </a:cubicBezTo>
                    <a:cubicBezTo>
                      <a:pt x="49" y="297"/>
                      <a:pt x="49" y="297"/>
                      <a:pt x="49" y="297"/>
                    </a:cubicBezTo>
                    <a:cubicBezTo>
                      <a:pt x="49" y="297"/>
                      <a:pt x="49" y="298"/>
                      <a:pt x="49" y="299"/>
                    </a:cubicBezTo>
                    <a:cubicBezTo>
                      <a:pt x="49" y="300"/>
                      <a:pt x="48" y="302"/>
                      <a:pt x="49" y="303"/>
                    </a:cubicBezTo>
                    <a:cubicBezTo>
                      <a:pt x="49" y="303"/>
                      <a:pt x="49" y="303"/>
                      <a:pt x="49" y="303"/>
                    </a:cubicBezTo>
                    <a:cubicBezTo>
                      <a:pt x="49" y="303"/>
                      <a:pt x="50" y="303"/>
                      <a:pt x="50" y="303"/>
                    </a:cubicBezTo>
                    <a:cubicBezTo>
                      <a:pt x="54" y="303"/>
                      <a:pt x="54" y="303"/>
                      <a:pt x="54" y="303"/>
                    </a:cubicBezTo>
                    <a:cubicBezTo>
                      <a:pt x="56" y="303"/>
                      <a:pt x="58" y="303"/>
                      <a:pt x="61" y="304"/>
                    </a:cubicBezTo>
                    <a:cubicBezTo>
                      <a:pt x="64" y="304"/>
                      <a:pt x="64" y="304"/>
                      <a:pt x="64" y="304"/>
                    </a:cubicBezTo>
                    <a:cubicBezTo>
                      <a:pt x="63" y="308"/>
                      <a:pt x="63" y="308"/>
                      <a:pt x="63" y="308"/>
                    </a:cubicBezTo>
                    <a:cubicBezTo>
                      <a:pt x="62" y="312"/>
                      <a:pt x="61" y="317"/>
                      <a:pt x="60" y="321"/>
                    </a:cubicBezTo>
                    <a:cubicBezTo>
                      <a:pt x="59" y="324"/>
                      <a:pt x="59" y="324"/>
                      <a:pt x="59" y="324"/>
                    </a:cubicBezTo>
                    <a:cubicBezTo>
                      <a:pt x="59" y="325"/>
                      <a:pt x="59" y="326"/>
                      <a:pt x="57" y="327"/>
                    </a:cubicBezTo>
                    <a:cubicBezTo>
                      <a:pt x="55" y="329"/>
                      <a:pt x="52" y="329"/>
                      <a:pt x="50" y="329"/>
                    </a:cubicBezTo>
                    <a:cubicBezTo>
                      <a:pt x="49" y="329"/>
                      <a:pt x="49" y="329"/>
                      <a:pt x="49" y="329"/>
                    </a:cubicBezTo>
                    <a:cubicBezTo>
                      <a:pt x="49" y="329"/>
                      <a:pt x="48" y="329"/>
                      <a:pt x="47" y="329"/>
                    </a:cubicBezTo>
                    <a:cubicBezTo>
                      <a:pt x="36" y="331"/>
                      <a:pt x="36" y="331"/>
                      <a:pt x="36" y="331"/>
                    </a:cubicBezTo>
                    <a:cubicBezTo>
                      <a:pt x="34" y="331"/>
                      <a:pt x="33" y="332"/>
                      <a:pt x="32" y="333"/>
                    </a:cubicBezTo>
                    <a:cubicBezTo>
                      <a:pt x="31" y="333"/>
                      <a:pt x="30" y="334"/>
                      <a:pt x="29" y="335"/>
                    </a:cubicBezTo>
                    <a:cubicBezTo>
                      <a:pt x="29" y="335"/>
                      <a:pt x="29" y="335"/>
                      <a:pt x="29" y="335"/>
                    </a:cubicBezTo>
                    <a:cubicBezTo>
                      <a:pt x="27" y="337"/>
                      <a:pt x="26" y="337"/>
                      <a:pt x="25" y="338"/>
                    </a:cubicBezTo>
                    <a:cubicBezTo>
                      <a:pt x="24" y="339"/>
                      <a:pt x="24" y="339"/>
                      <a:pt x="24" y="339"/>
                    </a:cubicBezTo>
                    <a:cubicBezTo>
                      <a:pt x="22" y="340"/>
                      <a:pt x="22" y="340"/>
                      <a:pt x="22" y="343"/>
                    </a:cubicBezTo>
                    <a:cubicBezTo>
                      <a:pt x="20" y="349"/>
                      <a:pt x="19" y="354"/>
                      <a:pt x="18" y="359"/>
                    </a:cubicBezTo>
                    <a:cubicBezTo>
                      <a:pt x="18" y="361"/>
                      <a:pt x="18" y="361"/>
                      <a:pt x="18" y="361"/>
                    </a:cubicBezTo>
                    <a:cubicBezTo>
                      <a:pt x="18" y="361"/>
                      <a:pt x="17" y="362"/>
                      <a:pt x="17" y="363"/>
                    </a:cubicBezTo>
                    <a:cubicBezTo>
                      <a:pt x="17" y="364"/>
                      <a:pt x="17" y="366"/>
                      <a:pt x="16" y="368"/>
                    </a:cubicBezTo>
                    <a:cubicBezTo>
                      <a:pt x="16" y="369"/>
                      <a:pt x="16" y="369"/>
                      <a:pt x="16" y="369"/>
                    </a:cubicBezTo>
                    <a:cubicBezTo>
                      <a:pt x="17" y="369"/>
                      <a:pt x="16" y="370"/>
                      <a:pt x="17" y="373"/>
                    </a:cubicBezTo>
                    <a:cubicBezTo>
                      <a:pt x="17" y="373"/>
                      <a:pt x="17" y="373"/>
                      <a:pt x="17" y="373"/>
                    </a:cubicBezTo>
                    <a:cubicBezTo>
                      <a:pt x="19" y="373"/>
                      <a:pt x="21" y="371"/>
                      <a:pt x="24" y="371"/>
                    </a:cubicBezTo>
                    <a:cubicBezTo>
                      <a:pt x="27" y="371"/>
                      <a:pt x="29" y="368"/>
                      <a:pt x="31" y="368"/>
                    </a:cubicBezTo>
                    <a:cubicBezTo>
                      <a:pt x="31" y="368"/>
                      <a:pt x="32" y="369"/>
                      <a:pt x="33" y="371"/>
                    </a:cubicBezTo>
                    <a:cubicBezTo>
                      <a:pt x="37" y="368"/>
                      <a:pt x="40" y="367"/>
                      <a:pt x="44" y="367"/>
                    </a:cubicBezTo>
                    <a:cubicBezTo>
                      <a:pt x="45" y="367"/>
                      <a:pt x="46" y="367"/>
                      <a:pt x="47" y="367"/>
                    </a:cubicBezTo>
                    <a:cubicBezTo>
                      <a:pt x="51" y="367"/>
                      <a:pt x="56" y="368"/>
                      <a:pt x="60" y="368"/>
                    </a:cubicBezTo>
                    <a:cubicBezTo>
                      <a:pt x="61" y="368"/>
                      <a:pt x="63" y="368"/>
                      <a:pt x="64" y="368"/>
                    </a:cubicBezTo>
                    <a:cubicBezTo>
                      <a:pt x="66" y="368"/>
                      <a:pt x="67" y="368"/>
                      <a:pt x="66" y="367"/>
                    </a:cubicBezTo>
                    <a:cubicBezTo>
                      <a:pt x="70" y="364"/>
                      <a:pt x="75" y="364"/>
                      <a:pt x="80" y="364"/>
                    </a:cubicBezTo>
                    <a:cubicBezTo>
                      <a:pt x="81" y="364"/>
                      <a:pt x="81" y="364"/>
                      <a:pt x="82" y="364"/>
                    </a:cubicBezTo>
                    <a:cubicBezTo>
                      <a:pt x="81" y="362"/>
                      <a:pt x="82" y="360"/>
                      <a:pt x="83" y="360"/>
                    </a:cubicBezTo>
                    <a:cubicBezTo>
                      <a:pt x="84" y="360"/>
                      <a:pt x="84" y="361"/>
                      <a:pt x="84" y="361"/>
                    </a:cubicBezTo>
                    <a:cubicBezTo>
                      <a:pt x="82" y="361"/>
                      <a:pt x="82" y="362"/>
                      <a:pt x="83" y="363"/>
                    </a:cubicBezTo>
                    <a:cubicBezTo>
                      <a:pt x="84" y="365"/>
                      <a:pt x="86" y="365"/>
                      <a:pt x="88" y="365"/>
                    </a:cubicBezTo>
                    <a:cubicBezTo>
                      <a:pt x="90" y="366"/>
                      <a:pt x="92" y="365"/>
                      <a:pt x="94" y="366"/>
                    </a:cubicBezTo>
                    <a:cubicBezTo>
                      <a:pt x="96" y="367"/>
                      <a:pt x="98" y="369"/>
                      <a:pt x="99" y="369"/>
                    </a:cubicBezTo>
                    <a:cubicBezTo>
                      <a:pt x="100" y="369"/>
                      <a:pt x="100" y="369"/>
                      <a:pt x="100" y="369"/>
                    </a:cubicBezTo>
                    <a:cubicBezTo>
                      <a:pt x="99" y="368"/>
                      <a:pt x="99" y="368"/>
                      <a:pt x="99" y="368"/>
                    </a:cubicBezTo>
                    <a:cubicBezTo>
                      <a:pt x="113" y="363"/>
                      <a:pt x="125" y="363"/>
                      <a:pt x="140" y="362"/>
                    </a:cubicBezTo>
                    <a:cubicBezTo>
                      <a:pt x="140" y="362"/>
                      <a:pt x="140" y="362"/>
                      <a:pt x="140" y="362"/>
                    </a:cubicBezTo>
                    <a:cubicBezTo>
                      <a:pt x="140" y="362"/>
                      <a:pt x="141" y="362"/>
                      <a:pt x="143" y="363"/>
                    </a:cubicBezTo>
                    <a:cubicBezTo>
                      <a:pt x="144" y="363"/>
                      <a:pt x="145" y="363"/>
                      <a:pt x="146" y="363"/>
                    </a:cubicBezTo>
                    <a:cubicBezTo>
                      <a:pt x="149" y="363"/>
                      <a:pt x="151" y="362"/>
                      <a:pt x="151" y="362"/>
                    </a:cubicBezTo>
                    <a:cubicBezTo>
                      <a:pt x="151" y="362"/>
                      <a:pt x="151" y="362"/>
                      <a:pt x="151" y="362"/>
                    </a:cubicBezTo>
                    <a:cubicBezTo>
                      <a:pt x="151" y="362"/>
                      <a:pt x="151" y="360"/>
                      <a:pt x="151" y="360"/>
                    </a:cubicBezTo>
                    <a:cubicBezTo>
                      <a:pt x="150" y="360"/>
                      <a:pt x="150" y="360"/>
                      <a:pt x="150" y="360"/>
                    </a:cubicBezTo>
                    <a:cubicBezTo>
                      <a:pt x="149" y="360"/>
                      <a:pt x="148" y="359"/>
                      <a:pt x="148" y="358"/>
                    </a:cubicBezTo>
                    <a:cubicBezTo>
                      <a:pt x="148" y="357"/>
                      <a:pt x="148" y="357"/>
                      <a:pt x="149" y="357"/>
                    </a:cubicBezTo>
                    <a:cubicBezTo>
                      <a:pt x="150" y="357"/>
                      <a:pt x="150" y="357"/>
                      <a:pt x="150" y="357"/>
                    </a:cubicBezTo>
                    <a:cubicBezTo>
                      <a:pt x="150" y="357"/>
                      <a:pt x="152" y="359"/>
                      <a:pt x="152" y="360"/>
                    </a:cubicBezTo>
                    <a:cubicBezTo>
                      <a:pt x="154" y="363"/>
                      <a:pt x="152" y="362"/>
                      <a:pt x="154" y="365"/>
                    </a:cubicBezTo>
                    <a:cubicBezTo>
                      <a:pt x="156" y="368"/>
                      <a:pt x="157" y="367"/>
                      <a:pt x="157" y="371"/>
                    </a:cubicBezTo>
                    <a:cubicBezTo>
                      <a:pt x="157" y="372"/>
                      <a:pt x="156" y="377"/>
                      <a:pt x="157" y="378"/>
                    </a:cubicBezTo>
                    <a:cubicBezTo>
                      <a:pt x="158" y="378"/>
                      <a:pt x="158" y="378"/>
                      <a:pt x="159" y="378"/>
                    </a:cubicBezTo>
                    <a:cubicBezTo>
                      <a:pt x="166" y="377"/>
                      <a:pt x="166" y="377"/>
                      <a:pt x="166" y="377"/>
                    </a:cubicBezTo>
                    <a:cubicBezTo>
                      <a:pt x="168" y="382"/>
                      <a:pt x="168" y="382"/>
                      <a:pt x="168" y="382"/>
                    </a:cubicBezTo>
                    <a:cubicBezTo>
                      <a:pt x="171" y="384"/>
                      <a:pt x="171" y="384"/>
                      <a:pt x="171" y="384"/>
                    </a:cubicBezTo>
                    <a:cubicBezTo>
                      <a:pt x="172" y="387"/>
                      <a:pt x="172" y="390"/>
                      <a:pt x="173" y="392"/>
                    </a:cubicBezTo>
                    <a:cubicBezTo>
                      <a:pt x="174" y="398"/>
                      <a:pt x="174" y="403"/>
                      <a:pt x="179" y="403"/>
                    </a:cubicBezTo>
                    <a:cubicBezTo>
                      <a:pt x="180" y="403"/>
                      <a:pt x="181" y="402"/>
                      <a:pt x="182" y="402"/>
                    </a:cubicBezTo>
                    <a:cubicBezTo>
                      <a:pt x="183" y="402"/>
                      <a:pt x="184" y="402"/>
                      <a:pt x="186" y="402"/>
                    </a:cubicBezTo>
                    <a:cubicBezTo>
                      <a:pt x="192" y="402"/>
                      <a:pt x="198" y="405"/>
                      <a:pt x="195" y="412"/>
                    </a:cubicBezTo>
                    <a:cubicBezTo>
                      <a:pt x="196" y="412"/>
                      <a:pt x="196" y="411"/>
                      <a:pt x="197" y="411"/>
                    </a:cubicBezTo>
                    <a:cubicBezTo>
                      <a:pt x="196" y="410"/>
                      <a:pt x="196" y="410"/>
                      <a:pt x="196" y="410"/>
                    </a:cubicBezTo>
                    <a:cubicBezTo>
                      <a:pt x="198" y="409"/>
                      <a:pt x="198" y="409"/>
                      <a:pt x="198" y="409"/>
                    </a:cubicBezTo>
                    <a:cubicBezTo>
                      <a:pt x="198" y="408"/>
                      <a:pt x="198" y="408"/>
                      <a:pt x="198" y="408"/>
                    </a:cubicBezTo>
                    <a:cubicBezTo>
                      <a:pt x="198" y="408"/>
                      <a:pt x="198" y="408"/>
                      <a:pt x="198" y="408"/>
                    </a:cubicBezTo>
                    <a:cubicBezTo>
                      <a:pt x="207" y="402"/>
                      <a:pt x="207" y="402"/>
                      <a:pt x="207" y="402"/>
                    </a:cubicBezTo>
                    <a:cubicBezTo>
                      <a:pt x="208" y="402"/>
                      <a:pt x="208" y="402"/>
                      <a:pt x="208" y="402"/>
                    </a:cubicBezTo>
                    <a:cubicBezTo>
                      <a:pt x="209" y="402"/>
                      <a:pt x="210" y="402"/>
                      <a:pt x="210" y="402"/>
                    </a:cubicBezTo>
                    <a:cubicBezTo>
                      <a:pt x="212" y="402"/>
                      <a:pt x="212" y="402"/>
                      <a:pt x="212" y="402"/>
                    </a:cubicBezTo>
                    <a:cubicBezTo>
                      <a:pt x="212" y="401"/>
                      <a:pt x="212" y="400"/>
                      <a:pt x="212" y="398"/>
                    </a:cubicBezTo>
                    <a:cubicBezTo>
                      <a:pt x="212" y="396"/>
                      <a:pt x="212" y="395"/>
                      <a:pt x="212" y="394"/>
                    </a:cubicBezTo>
                    <a:cubicBezTo>
                      <a:pt x="212" y="391"/>
                      <a:pt x="212" y="391"/>
                      <a:pt x="212" y="391"/>
                    </a:cubicBezTo>
                    <a:cubicBezTo>
                      <a:pt x="216" y="391"/>
                      <a:pt x="216" y="391"/>
                      <a:pt x="216" y="391"/>
                    </a:cubicBezTo>
                    <a:cubicBezTo>
                      <a:pt x="221" y="392"/>
                      <a:pt x="227" y="392"/>
                      <a:pt x="232" y="393"/>
                    </a:cubicBezTo>
                    <a:cubicBezTo>
                      <a:pt x="233" y="388"/>
                      <a:pt x="233" y="388"/>
                      <a:pt x="233" y="388"/>
                    </a:cubicBezTo>
                    <a:cubicBezTo>
                      <a:pt x="234" y="393"/>
                      <a:pt x="234" y="393"/>
                      <a:pt x="234" y="393"/>
                    </a:cubicBezTo>
                    <a:cubicBezTo>
                      <a:pt x="242" y="395"/>
                      <a:pt x="242" y="395"/>
                      <a:pt x="242" y="395"/>
                    </a:cubicBezTo>
                    <a:cubicBezTo>
                      <a:pt x="243" y="395"/>
                      <a:pt x="244" y="395"/>
                      <a:pt x="245" y="395"/>
                    </a:cubicBezTo>
                    <a:cubicBezTo>
                      <a:pt x="246" y="395"/>
                      <a:pt x="247" y="395"/>
                      <a:pt x="248" y="396"/>
                    </a:cubicBezTo>
                    <a:cubicBezTo>
                      <a:pt x="248" y="396"/>
                      <a:pt x="249" y="396"/>
                      <a:pt x="249" y="396"/>
                    </a:cubicBezTo>
                    <a:cubicBezTo>
                      <a:pt x="249" y="396"/>
                      <a:pt x="250" y="396"/>
                      <a:pt x="250" y="396"/>
                    </a:cubicBezTo>
                    <a:cubicBezTo>
                      <a:pt x="250" y="395"/>
                      <a:pt x="250" y="395"/>
                      <a:pt x="250" y="395"/>
                    </a:cubicBezTo>
                    <a:cubicBezTo>
                      <a:pt x="250" y="395"/>
                      <a:pt x="251" y="394"/>
                      <a:pt x="251" y="393"/>
                    </a:cubicBezTo>
                    <a:cubicBezTo>
                      <a:pt x="254" y="391"/>
                      <a:pt x="257" y="390"/>
                      <a:pt x="261" y="390"/>
                    </a:cubicBezTo>
                    <a:cubicBezTo>
                      <a:pt x="261" y="389"/>
                      <a:pt x="261" y="389"/>
                      <a:pt x="261" y="389"/>
                    </a:cubicBezTo>
                    <a:cubicBezTo>
                      <a:pt x="262" y="389"/>
                      <a:pt x="262" y="389"/>
                      <a:pt x="263" y="389"/>
                    </a:cubicBezTo>
                    <a:cubicBezTo>
                      <a:pt x="264" y="389"/>
                      <a:pt x="264" y="389"/>
                      <a:pt x="264" y="389"/>
                    </a:cubicBezTo>
                    <a:cubicBezTo>
                      <a:pt x="265" y="388"/>
                      <a:pt x="266" y="388"/>
                      <a:pt x="267" y="388"/>
                    </a:cubicBezTo>
                    <a:cubicBezTo>
                      <a:pt x="268" y="388"/>
                      <a:pt x="269" y="388"/>
                      <a:pt x="270" y="390"/>
                    </a:cubicBezTo>
                    <a:cubicBezTo>
                      <a:pt x="271" y="390"/>
                      <a:pt x="271" y="391"/>
                      <a:pt x="271" y="392"/>
                    </a:cubicBezTo>
                    <a:cubicBezTo>
                      <a:pt x="271" y="392"/>
                      <a:pt x="272" y="393"/>
                      <a:pt x="272" y="393"/>
                    </a:cubicBezTo>
                    <a:cubicBezTo>
                      <a:pt x="273" y="392"/>
                      <a:pt x="273" y="392"/>
                      <a:pt x="273" y="392"/>
                    </a:cubicBezTo>
                    <a:cubicBezTo>
                      <a:pt x="274" y="392"/>
                      <a:pt x="274" y="392"/>
                      <a:pt x="274" y="392"/>
                    </a:cubicBezTo>
                    <a:cubicBezTo>
                      <a:pt x="274" y="391"/>
                      <a:pt x="275" y="391"/>
                      <a:pt x="276" y="391"/>
                    </a:cubicBezTo>
                    <a:cubicBezTo>
                      <a:pt x="275" y="390"/>
                      <a:pt x="275" y="389"/>
                      <a:pt x="275" y="387"/>
                    </a:cubicBezTo>
                    <a:cubicBezTo>
                      <a:pt x="275" y="387"/>
                      <a:pt x="276" y="386"/>
                      <a:pt x="276" y="386"/>
                    </a:cubicBezTo>
                    <a:cubicBezTo>
                      <a:pt x="276" y="385"/>
                      <a:pt x="277" y="384"/>
                      <a:pt x="277" y="383"/>
                    </a:cubicBezTo>
                    <a:cubicBezTo>
                      <a:pt x="277" y="383"/>
                      <a:pt x="277" y="382"/>
                      <a:pt x="277" y="382"/>
                    </a:cubicBezTo>
                    <a:cubicBezTo>
                      <a:pt x="272" y="372"/>
                      <a:pt x="272" y="372"/>
                      <a:pt x="272" y="372"/>
                    </a:cubicBezTo>
                    <a:cubicBezTo>
                      <a:pt x="272" y="371"/>
                      <a:pt x="271" y="370"/>
                      <a:pt x="271" y="369"/>
                    </a:cubicBezTo>
                    <a:cubicBezTo>
                      <a:pt x="266" y="371"/>
                      <a:pt x="266" y="371"/>
                      <a:pt x="266" y="371"/>
                    </a:cubicBezTo>
                    <a:cubicBezTo>
                      <a:pt x="270" y="368"/>
                      <a:pt x="270" y="368"/>
                      <a:pt x="270" y="368"/>
                    </a:cubicBezTo>
                    <a:cubicBezTo>
                      <a:pt x="270" y="367"/>
                      <a:pt x="270" y="367"/>
                      <a:pt x="270" y="367"/>
                    </a:cubicBezTo>
                    <a:cubicBezTo>
                      <a:pt x="269" y="366"/>
                      <a:pt x="269" y="365"/>
                      <a:pt x="269" y="365"/>
                    </a:cubicBezTo>
                    <a:cubicBezTo>
                      <a:pt x="268" y="362"/>
                      <a:pt x="268" y="360"/>
                      <a:pt x="267" y="358"/>
                    </a:cubicBezTo>
                    <a:cubicBezTo>
                      <a:pt x="267" y="358"/>
                      <a:pt x="267" y="357"/>
                      <a:pt x="267" y="357"/>
                    </a:cubicBezTo>
                    <a:cubicBezTo>
                      <a:pt x="266" y="357"/>
                      <a:pt x="266" y="357"/>
                      <a:pt x="265" y="357"/>
                    </a:cubicBezTo>
                    <a:cubicBezTo>
                      <a:pt x="264" y="357"/>
                      <a:pt x="264" y="357"/>
                      <a:pt x="264" y="357"/>
                    </a:cubicBezTo>
                    <a:cubicBezTo>
                      <a:pt x="263" y="357"/>
                      <a:pt x="262" y="357"/>
                      <a:pt x="261" y="357"/>
                    </a:cubicBezTo>
                    <a:cubicBezTo>
                      <a:pt x="261" y="357"/>
                      <a:pt x="261" y="357"/>
                      <a:pt x="261" y="357"/>
                    </a:cubicBezTo>
                    <a:cubicBezTo>
                      <a:pt x="260" y="357"/>
                      <a:pt x="260" y="356"/>
                      <a:pt x="259" y="356"/>
                    </a:cubicBezTo>
                    <a:cubicBezTo>
                      <a:pt x="259" y="356"/>
                      <a:pt x="259" y="356"/>
                      <a:pt x="259" y="356"/>
                    </a:cubicBezTo>
                    <a:cubicBezTo>
                      <a:pt x="258" y="356"/>
                      <a:pt x="258" y="356"/>
                      <a:pt x="258" y="356"/>
                    </a:cubicBezTo>
                    <a:cubicBezTo>
                      <a:pt x="258" y="355"/>
                      <a:pt x="258" y="355"/>
                      <a:pt x="258" y="355"/>
                    </a:cubicBezTo>
                    <a:cubicBezTo>
                      <a:pt x="257" y="355"/>
                      <a:pt x="257" y="355"/>
                      <a:pt x="256" y="354"/>
                    </a:cubicBezTo>
                    <a:cubicBezTo>
                      <a:pt x="254" y="352"/>
                      <a:pt x="253" y="349"/>
                      <a:pt x="252" y="346"/>
                    </a:cubicBezTo>
                    <a:cubicBezTo>
                      <a:pt x="252" y="345"/>
                      <a:pt x="252" y="344"/>
                      <a:pt x="252" y="343"/>
                    </a:cubicBezTo>
                    <a:cubicBezTo>
                      <a:pt x="251" y="340"/>
                      <a:pt x="251" y="337"/>
                      <a:pt x="252" y="334"/>
                    </a:cubicBezTo>
                    <a:cubicBezTo>
                      <a:pt x="252" y="334"/>
                      <a:pt x="252" y="334"/>
                      <a:pt x="252" y="334"/>
                    </a:cubicBezTo>
                    <a:cubicBezTo>
                      <a:pt x="252" y="332"/>
                      <a:pt x="252" y="331"/>
                      <a:pt x="252" y="330"/>
                    </a:cubicBezTo>
                    <a:cubicBezTo>
                      <a:pt x="252" y="330"/>
                      <a:pt x="252" y="330"/>
                      <a:pt x="252" y="330"/>
                    </a:cubicBezTo>
                    <a:cubicBezTo>
                      <a:pt x="252" y="330"/>
                      <a:pt x="252" y="330"/>
                      <a:pt x="251" y="330"/>
                    </a:cubicBezTo>
                    <a:cubicBezTo>
                      <a:pt x="251" y="329"/>
                      <a:pt x="251" y="329"/>
                      <a:pt x="251" y="329"/>
                    </a:cubicBezTo>
                    <a:cubicBezTo>
                      <a:pt x="249" y="329"/>
                      <a:pt x="247" y="329"/>
                      <a:pt x="245" y="329"/>
                    </a:cubicBezTo>
                    <a:cubicBezTo>
                      <a:pt x="244" y="334"/>
                      <a:pt x="244" y="334"/>
                      <a:pt x="244" y="334"/>
                    </a:cubicBezTo>
                    <a:cubicBezTo>
                      <a:pt x="244" y="328"/>
                      <a:pt x="244" y="328"/>
                      <a:pt x="244" y="328"/>
                    </a:cubicBezTo>
                    <a:cubicBezTo>
                      <a:pt x="243" y="328"/>
                      <a:pt x="243" y="328"/>
                      <a:pt x="243" y="328"/>
                    </a:cubicBezTo>
                    <a:cubicBezTo>
                      <a:pt x="239" y="327"/>
                      <a:pt x="236" y="326"/>
                      <a:pt x="234" y="324"/>
                    </a:cubicBezTo>
                    <a:cubicBezTo>
                      <a:pt x="234" y="322"/>
                      <a:pt x="233" y="321"/>
                      <a:pt x="233" y="320"/>
                    </a:cubicBezTo>
                    <a:cubicBezTo>
                      <a:pt x="232" y="316"/>
                      <a:pt x="233" y="312"/>
                      <a:pt x="236" y="306"/>
                    </a:cubicBezTo>
                    <a:cubicBezTo>
                      <a:pt x="239" y="302"/>
                      <a:pt x="242" y="298"/>
                      <a:pt x="245" y="295"/>
                    </a:cubicBezTo>
                    <a:cubicBezTo>
                      <a:pt x="246" y="294"/>
                      <a:pt x="246" y="294"/>
                      <a:pt x="246" y="294"/>
                    </a:cubicBezTo>
                    <a:cubicBezTo>
                      <a:pt x="247" y="292"/>
                      <a:pt x="248" y="291"/>
                      <a:pt x="249" y="290"/>
                    </a:cubicBezTo>
                    <a:cubicBezTo>
                      <a:pt x="250" y="290"/>
                      <a:pt x="250" y="289"/>
                      <a:pt x="251" y="288"/>
                    </a:cubicBezTo>
                    <a:cubicBezTo>
                      <a:pt x="251" y="287"/>
                      <a:pt x="251" y="287"/>
                      <a:pt x="251" y="287"/>
                    </a:cubicBezTo>
                    <a:cubicBezTo>
                      <a:pt x="252" y="287"/>
                      <a:pt x="252" y="286"/>
                      <a:pt x="253" y="286"/>
                    </a:cubicBezTo>
                    <a:cubicBezTo>
                      <a:pt x="255" y="283"/>
                      <a:pt x="255" y="283"/>
                      <a:pt x="255" y="283"/>
                    </a:cubicBezTo>
                    <a:cubicBezTo>
                      <a:pt x="255" y="283"/>
                      <a:pt x="256" y="283"/>
                      <a:pt x="256" y="282"/>
                    </a:cubicBezTo>
                    <a:cubicBezTo>
                      <a:pt x="256" y="282"/>
                      <a:pt x="256" y="282"/>
                      <a:pt x="256" y="282"/>
                    </a:cubicBezTo>
                    <a:cubicBezTo>
                      <a:pt x="253" y="278"/>
                      <a:pt x="253" y="278"/>
                      <a:pt x="253" y="278"/>
                    </a:cubicBezTo>
                    <a:cubicBezTo>
                      <a:pt x="258" y="281"/>
                      <a:pt x="258" y="281"/>
                      <a:pt x="258" y="281"/>
                    </a:cubicBezTo>
                    <a:cubicBezTo>
                      <a:pt x="258" y="281"/>
                      <a:pt x="258" y="281"/>
                      <a:pt x="258" y="281"/>
                    </a:cubicBezTo>
                    <a:cubicBezTo>
                      <a:pt x="259" y="280"/>
                      <a:pt x="260" y="280"/>
                      <a:pt x="260" y="279"/>
                    </a:cubicBezTo>
                    <a:cubicBezTo>
                      <a:pt x="261" y="279"/>
                      <a:pt x="261" y="279"/>
                      <a:pt x="261" y="279"/>
                    </a:cubicBezTo>
                    <a:cubicBezTo>
                      <a:pt x="262" y="279"/>
                      <a:pt x="263" y="278"/>
                      <a:pt x="264" y="278"/>
                    </a:cubicBezTo>
                    <a:cubicBezTo>
                      <a:pt x="264" y="275"/>
                      <a:pt x="264" y="275"/>
                      <a:pt x="264" y="275"/>
                    </a:cubicBezTo>
                    <a:cubicBezTo>
                      <a:pt x="265" y="278"/>
                      <a:pt x="265" y="278"/>
                      <a:pt x="265" y="278"/>
                    </a:cubicBezTo>
                    <a:cubicBezTo>
                      <a:pt x="265" y="278"/>
                      <a:pt x="266" y="278"/>
                      <a:pt x="266" y="279"/>
                    </a:cubicBezTo>
                    <a:cubicBezTo>
                      <a:pt x="267" y="279"/>
                      <a:pt x="267" y="279"/>
                      <a:pt x="268" y="279"/>
                    </a:cubicBezTo>
                    <a:cubicBezTo>
                      <a:pt x="268" y="279"/>
                      <a:pt x="269" y="280"/>
                      <a:pt x="269" y="280"/>
                    </a:cubicBezTo>
                    <a:cubicBezTo>
                      <a:pt x="270" y="281"/>
                      <a:pt x="270" y="281"/>
                      <a:pt x="271" y="281"/>
                    </a:cubicBezTo>
                    <a:cubicBezTo>
                      <a:pt x="272" y="283"/>
                      <a:pt x="273" y="284"/>
                      <a:pt x="273" y="285"/>
                    </a:cubicBezTo>
                    <a:cubicBezTo>
                      <a:pt x="273" y="285"/>
                      <a:pt x="273" y="285"/>
                      <a:pt x="273" y="285"/>
                    </a:cubicBezTo>
                    <a:cubicBezTo>
                      <a:pt x="274" y="286"/>
                      <a:pt x="274" y="287"/>
                      <a:pt x="275" y="287"/>
                    </a:cubicBezTo>
                    <a:cubicBezTo>
                      <a:pt x="275" y="288"/>
                      <a:pt x="275" y="288"/>
                      <a:pt x="276" y="288"/>
                    </a:cubicBezTo>
                    <a:cubicBezTo>
                      <a:pt x="276" y="288"/>
                      <a:pt x="276" y="288"/>
                      <a:pt x="277" y="288"/>
                    </a:cubicBezTo>
                    <a:cubicBezTo>
                      <a:pt x="277" y="287"/>
                      <a:pt x="277" y="287"/>
                      <a:pt x="277" y="287"/>
                    </a:cubicBezTo>
                    <a:cubicBezTo>
                      <a:pt x="280" y="286"/>
                      <a:pt x="282" y="285"/>
                      <a:pt x="285" y="285"/>
                    </a:cubicBezTo>
                    <a:cubicBezTo>
                      <a:pt x="285" y="285"/>
                      <a:pt x="285" y="285"/>
                      <a:pt x="285" y="285"/>
                    </a:cubicBezTo>
                    <a:cubicBezTo>
                      <a:pt x="285" y="279"/>
                      <a:pt x="285" y="279"/>
                      <a:pt x="285" y="279"/>
                    </a:cubicBezTo>
                    <a:cubicBezTo>
                      <a:pt x="287" y="284"/>
                      <a:pt x="287" y="284"/>
                      <a:pt x="287" y="284"/>
                    </a:cubicBezTo>
                    <a:cubicBezTo>
                      <a:pt x="288" y="284"/>
                      <a:pt x="288" y="284"/>
                      <a:pt x="288" y="284"/>
                    </a:cubicBezTo>
                    <a:cubicBezTo>
                      <a:pt x="289" y="284"/>
                      <a:pt x="289" y="284"/>
                      <a:pt x="290" y="284"/>
                    </a:cubicBezTo>
                    <a:cubicBezTo>
                      <a:pt x="291" y="284"/>
                      <a:pt x="291" y="284"/>
                      <a:pt x="291" y="284"/>
                    </a:cubicBezTo>
                    <a:cubicBezTo>
                      <a:pt x="293" y="284"/>
                      <a:pt x="296" y="283"/>
                      <a:pt x="298" y="283"/>
                    </a:cubicBezTo>
                    <a:cubicBezTo>
                      <a:pt x="298" y="283"/>
                      <a:pt x="298" y="283"/>
                      <a:pt x="298" y="283"/>
                    </a:cubicBezTo>
                    <a:cubicBezTo>
                      <a:pt x="315" y="260"/>
                      <a:pt x="315" y="260"/>
                      <a:pt x="315" y="260"/>
                    </a:cubicBezTo>
                    <a:cubicBezTo>
                      <a:pt x="316" y="259"/>
                      <a:pt x="316" y="259"/>
                      <a:pt x="316" y="259"/>
                    </a:cubicBezTo>
                    <a:cubicBezTo>
                      <a:pt x="318" y="256"/>
                      <a:pt x="320" y="254"/>
                      <a:pt x="323" y="252"/>
                    </a:cubicBezTo>
                    <a:cubicBezTo>
                      <a:pt x="324" y="252"/>
                      <a:pt x="325" y="251"/>
                      <a:pt x="327" y="251"/>
                    </a:cubicBezTo>
                    <a:cubicBezTo>
                      <a:pt x="331" y="249"/>
                      <a:pt x="332" y="248"/>
                      <a:pt x="334" y="244"/>
                    </a:cubicBezTo>
                    <a:cubicBezTo>
                      <a:pt x="335" y="243"/>
                      <a:pt x="336" y="242"/>
                      <a:pt x="336" y="240"/>
                    </a:cubicBezTo>
                    <a:cubicBezTo>
                      <a:pt x="337" y="240"/>
                      <a:pt x="337" y="240"/>
                      <a:pt x="337" y="240"/>
                    </a:cubicBezTo>
                    <a:cubicBezTo>
                      <a:pt x="338" y="238"/>
                      <a:pt x="339" y="236"/>
                      <a:pt x="340" y="235"/>
                    </a:cubicBezTo>
                    <a:cubicBezTo>
                      <a:pt x="340" y="234"/>
                      <a:pt x="340" y="233"/>
                      <a:pt x="340" y="232"/>
                    </a:cubicBezTo>
                    <a:cubicBezTo>
                      <a:pt x="340" y="232"/>
                      <a:pt x="340" y="232"/>
                      <a:pt x="340" y="232"/>
                    </a:cubicBezTo>
                    <a:cubicBezTo>
                      <a:pt x="341" y="231"/>
                      <a:pt x="341" y="231"/>
                      <a:pt x="341" y="230"/>
                    </a:cubicBezTo>
                    <a:cubicBezTo>
                      <a:pt x="342" y="227"/>
                      <a:pt x="343" y="224"/>
                      <a:pt x="344" y="221"/>
                    </a:cubicBezTo>
                    <a:cubicBezTo>
                      <a:pt x="346" y="220"/>
                      <a:pt x="347" y="219"/>
                      <a:pt x="348" y="218"/>
                    </a:cubicBezTo>
                    <a:cubicBezTo>
                      <a:pt x="350" y="217"/>
                      <a:pt x="353" y="216"/>
                      <a:pt x="356" y="215"/>
                    </a:cubicBezTo>
                    <a:cubicBezTo>
                      <a:pt x="357" y="214"/>
                      <a:pt x="358" y="214"/>
                      <a:pt x="358" y="213"/>
                    </a:cubicBezTo>
                    <a:cubicBezTo>
                      <a:pt x="358" y="213"/>
                      <a:pt x="358" y="213"/>
                      <a:pt x="358" y="213"/>
                    </a:cubicBezTo>
                    <a:cubicBezTo>
                      <a:pt x="356" y="210"/>
                      <a:pt x="357" y="208"/>
                      <a:pt x="358" y="207"/>
                    </a:cubicBezTo>
                    <a:cubicBezTo>
                      <a:pt x="358" y="206"/>
                      <a:pt x="358" y="206"/>
                      <a:pt x="358" y="206"/>
                    </a:cubicBezTo>
                    <a:cubicBezTo>
                      <a:pt x="359" y="205"/>
                      <a:pt x="360" y="204"/>
                      <a:pt x="360" y="204"/>
                    </a:cubicBezTo>
                    <a:cubicBezTo>
                      <a:pt x="362" y="202"/>
                      <a:pt x="363" y="200"/>
                      <a:pt x="365" y="198"/>
                    </a:cubicBezTo>
                    <a:cubicBezTo>
                      <a:pt x="366" y="198"/>
                      <a:pt x="367" y="196"/>
                      <a:pt x="370" y="195"/>
                    </a:cubicBezTo>
                    <a:cubicBezTo>
                      <a:pt x="371" y="194"/>
                      <a:pt x="371" y="194"/>
                      <a:pt x="371" y="194"/>
                    </a:cubicBezTo>
                    <a:cubicBezTo>
                      <a:pt x="373" y="193"/>
                      <a:pt x="375" y="191"/>
                      <a:pt x="377" y="190"/>
                    </a:cubicBezTo>
                    <a:cubicBezTo>
                      <a:pt x="378" y="189"/>
                      <a:pt x="378" y="188"/>
                      <a:pt x="378" y="188"/>
                    </a:cubicBezTo>
                    <a:cubicBezTo>
                      <a:pt x="378" y="187"/>
                      <a:pt x="378" y="186"/>
                      <a:pt x="378" y="185"/>
                    </a:cubicBezTo>
                    <a:cubicBezTo>
                      <a:pt x="377" y="178"/>
                      <a:pt x="377" y="178"/>
                      <a:pt x="377" y="178"/>
                    </a:cubicBezTo>
                    <a:cubicBezTo>
                      <a:pt x="377" y="177"/>
                      <a:pt x="376" y="175"/>
                      <a:pt x="376" y="173"/>
                    </a:cubicBezTo>
                    <a:cubicBezTo>
                      <a:pt x="376" y="170"/>
                      <a:pt x="376" y="170"/>
                      <a:pt x="376" y="170"/>
                    </a:cubicBezTo>
                    <a:cubicBezTo>
                      <a:pt x="372" y="171"/>
                      <a:pt x="372" y="171"/>
                      <a:pt x="372" y="171"/>
                    </a:cubicBezTo>
                    <a:cubicBezTo>
                      <a:pt x="376" y="168"/>
                      <a:pt x="376" y="168"/>
                      <a:pt x="376" y="168"/>
                    </a:cubicBezTo>
                    <a:cubicBezTo>
                      <a:pt x="375" y="167"/>
                      <a:pt x="375" y="167"/>
                      <a:pt x="375" y="167"/>
                    </a:cubicBezTo>
                    <a:cubicBezTo>
                      <a:pt x="375" y="167"/>
                      <a:pt x="376" y="166"/>
                      <a:pt x="376" y="165"/>
                    </a:cubicBezTo>
                    <a:cubicBezTo>
                      <a:pt x="376" y="163"/>
                      <a:pt x="378" y="161"/>
                      <a:pt x="381" y="159"/>
                    </a:cubicBezTo>
                    <a:cubicBezTo>
                      <a:pt x="382" y="158"/>
                      <a:pt x="383" y="157"/>
                      <a:pt x="384" y="157"/>
                    </a:cubicBezTo>
                    <a:cubicBezTo>
                      <a:pt x="384" y="157"/>
                      <a:pt x="384" y="157"/>
                      <a:pt x="384" y="157"/>
                    </a:cubicBezTo>
                    <a:cubicBezTo>
                      <a:pt x="385" y="157"/>
                      <a:pt x="385" y="157"/>
                      <a:pt x="386" y="157"/>
                    </a:cubicBezTo>
                    <a:cubicBezTo>
                      <a:pt x="386" y="156"/>
                      <a:pt x="386" y="156"/>
                      <a:pt x="387" y="156"/>
                    </a:cubicBezTo>
                    <a:cubicBezTo>
                      <a:pt x="388" y="156"/>
                      <a:pt x="389" y="155"/>
                      <a:pt x="390" y="155"/>
                    </a:cubicBezTo>
                    <a:cubicBezTo>
                      <a:pt x="391" y="155"/>
                      <a:pt x="392" y="154"/>
                      <a:pt x="392" y="154"/>
                    </a:cubicBezTo>
                    <a:cubicBezTo>
                      <a:pt x="394" y="153"/>
                      <a:pt x="394" y="153"/>
                      <a:pt x="394" y="153"/>
                    </a:cubicBezTo>
                    <a:cubicBezTo>
                      <a:pt x="396" y="153"/>
                      <a:pt x="398" y="152"/>
                      <a:pt x="398" y="151"/>
                    </a:cubicBezTo>
                    <a:cubicBezTo>
                      <a:pt x="399" y="150"/>
                      <a:pt x="398" y="149"/>
                      <a:pt x="398" y="149"/>
                    </a:cubicBezTo>
                    <a:cubicBezTo>
                      <a:pt x="397" y="149"/>
                      <a:pt x="397" y="149"/>
                      <a:pt x="397" y="149"/>
                    </a:cubicBezTo>
                    <a:cubicBezTo>
                      <a:pt x="397" y="149"/>
                      <a:pt x="397" y="149"/>
                      <a:pt x="397" y="149"/>
                    </a:cubicBezTo>
                    <a:cubicBezTo>
                      <a:pt x="396" y="149"/>
                      <a:pt x="396" y="149"/>
                      <a:pt x="396" y="148"/>
                    </a:cubicBezTo>
                    <a:cubicBezTo>
                      <a:pt x="395" y="148"/>
                      <a:pt x="394" y="148"/>
                      <a:pt x="392" y="148"/>
                    </a:cubicBezTo>
                    <a:cubicBezTo>
                      <a:pt x="392" y="148"/>
                      <a:pt x="392" y="148"/>
                      <a:pt x="392" y="148"/>
                    </a:cubicBezTo>
                    <a:cubicBezTo>
                      <a:pt x="391" y="148"/>
                      <a:pt x="390" y="148"/>
                      <a:pt x="390" y="147"/>
                    </a:cubicBezTo>
                    <a:cubicBezTo>
                      <a:pt x="386" y="147"/>
                      <a:pt x="384" y="146"/>
                      <a:pt x="382" y="144"/>
                    </a:cubicBezTo>
                    <a:cubicBezTo>
                      <a:pt x="382" y="144"/>
                      <a:pt x="381" y="143"/>
                      <a:pt x="381" y="143"/>
                    </a:cubicBezTo>
                    <a:cubicBezTo>
                      <a:pt x="380" y="141"/>
                      <a:pt x="380" y="140"/>
                      <a:pt x="380" y="137"/>
                    </a:cubicBezTo>
                    <a:cubicBezTo>
                      <a:pt x="379" y="138"/>
                      <a:pt x="378" y="138"/>
                      <a:pt x="377" y="138"/>
                    </a:cubicBezTo>
                    <a:cubicBezTo>
                      <a:pt x="375" y="138"/>
                      <a:pt x="372" y="137"/>
                      <a:pt x="371" y="134"/>
                    </a:cubicBezTo>
                    <a:cubicBezTo>
                      <a:pt x="370" y="133"/>
                      <a:pt x="370" y="133"/>
                      <a:pt x="370" y="133"/>
                    </a:cubicBezTo>
                    <a:cubicBezTo>
                      <a:pt x="369" y="132"/>
                      <a:pt x="369" y="132"/>
                      <a:pt x="368" y="131"/>
                    </a:cubicBezTo>
                    <a:cubicBezTo>
                      <a:pt x="367" y="129"/>
                      <a:pt x="367" y="129"/>
                      <a:pt x="367" y="129"/>
                    </a:cubicBezTo>
                    <a:cubicBezTo>
                      <a:pt x="365" y="127"/>
                      <a:pt x="364" y="125"/>
                      <a:pt x="363" y="123"/>
                    </a:cubicBezTo>
                    <a:cubicBezTo>
                      <a:pt x="355" y="125"/>
                      <a:pt x="355" y="125"/>
                      <a:pt x="355" y="125"/>
                    </a:cubicBezTo>
                    <a:cubicBezTo>
                      <a:pt x="362" y="121"/>
                      <a:pt x="362" y="121"/>
                      <a:pt x="362" y="121"/>
                    </a:cubicBezTo>
                    <a:cubicBezTo>
                      <a:pt x="362" y="121"/>
                      <a:pt x="362" y="121"/>
                      <a:pt x="362" y="121"/>
                    </a:cubicBezTo>
                    <a:cubicBezTo>
                      <a:pt x="362" y="120"/>
                      <a:pt x="362" y="119"/>
                      <a:pt x="363" y="118"/>
                    </a:cubicBezTo>
                    <a:cubicBezTo>
                      <a:pt x="363" y="117"/>
                      <a:pt x="364" y="116"/>
                      <a:pt x="364" y="115"/>
                    </a:cubicBezTo>
                    <a:cubicBezTo>
                      <a:pt x="366" y="112"/>
                      <a:pt x="366" y="111"/>
                      <a:pt x="365" y="110"/>
                    </a:cubicBezTo>
                    <a:cubicBezTo>
                      <a:pt x="365" y="110"/>
                      <a:pt x="365" y="110"/>
                      <a:pt x="365" y="110"/>
                    </a:cubicBezTo>
                    <a:cubicBezTo>
                      <a:pt x="364" y="108"/>
                      <a:pt x="363" y="108"/>
                      <a:pt x="362" y="107"/>
                    </a:cubicBezTo>
                    <a:cubicBezTo>
                      <a:pt x="362" y="106"/>
                      <a:pt x="361" y="105"/>
                      <a:pt x="361" y="104"/>
                    </a:cubicBezTo>
                    <a:cubicBezTo>
                      <a:pt x="361" y="103"/>
                      <a:pt x="361" y="103"/>
                      <a:pt x="361" y="103"/>
                    </a:cubicBezTo>
                    <a:cubicBezTo>
                      <a:pt x="361" y="103"/>
                      <a:pt x="361" y="103"/>
                      <a:pt x="361" y="103"/>
                    </a:cubicBezTo>
                    <a:cubicBezTo>
                      <a:pt x="361" y="102"/>
                      <a:pt x="362" y="102"/>
                      <a:pt x="362" y="101"/>
                    </a:cubicBezTo>
                    <a:cubicBezTo>
                      <a:pt x="362" y="101"/>
                      <a:pt x="362" y="101"/>
                      <a:pt x="362" y="101"/>
                    </a:cubicBezTo>
                    <a:cubicBezTo>
                      <a:pt x="362" y="100"/>
                      <a:pt x="364" y="98"/>
                      <a:pt x="365" y="97"/>
                    </a:cubicBezTo>
                    <a:cubicBezTo>
                      <a:pt x="365" y="97"/>
                      <a:pt x="365" y="97"/>
                      <a:pt x="365" y="97"/>
                    </a:cubicBezTo>
                    <a:cubicBezTo>
                      <a:pt x="364" y="97"/>
                      <a:pt x="364" y="97"/>
                      <a:pt x="364" y="97"/>
                    </a:cubicBezTo>
                    <a:cubicBezTo>
                      <a:pt x="363" y="97"/>
                      <a:pt x="362" y="97"/>
                      <a:pt x="361" y="96"/>
                    </a:cubicBezTo>
                    <a:cubicBezTo>
                      <a:pt x="358" y="96"/>
                      <a:pt x="358" y="96"/>
                      <a:pt x="358" y="96"/>
                    </a:cubicBezTo>
                    <a:cubicBezTo>
                      <a:pt x="359" y="92"/>
                      <a:pt x="359" y="92"/>
                      <a:pt x="359" y="92"/>
                    </a:cubicBezTo>
                    <a:cubicBezTo>
                      <a:pt x="359" y="92"/>
                      <a:pt x="359" y="91"/>
                      <a:pt x="359" y="91"/>
                    </a:cubicBezTo>
                    <a:cubicBezTo>
                      <a:pt x="359" y="90"/>
                      <a:pt x="359" y="90"/>
                      <a:pt x="359" y="90"/>
                    </a:cubicBezTo>
                    <a:cubicBezTo>
                      <a:pt x="360" y="89"/>
                      <a:pt x="360" y="89"/>
                      <a:pt x="360" y="88"/>
                    </a:cubicBezTo>
                    <a:cubicBezTo>
                      <a:pt x="359" y="88"/>
                      <a:pt x="359" y="88"/>
                      <a:pt x="358" y="88"/>
                    </a:cubicBezTo>
                    <a:cubicBezTo>
                      <a:pt x="358" y="87"/>
                      <a:pt x="358" y="87"/>
                      <a:pt x="358" y="87"/>
                    </a:cubicBezTo>
                    <a:cubicBezTo>
                      <a:pt x="356" y="86"/>
                      <a:pt x="355" y="85"/>
                      <a:pt x="355" y="83"/>
                    </a:cubicBezTo>
                    <a:cubicBezTo>
                      <a:pt x="355" y="82"/>
                      <a:pt x="356" y="80"/>
                      <a:pt x="356" y="79"/>
                    </a:cubicBezTo>
                    <a:cubicBezTo>
                      <a:pt x="357" y="77"/>
                      <a:pt x="358" y="75"/>
                      <a:pt x="359" y="74"/>
                    </a:cubicBezTo>
                    <a:cubicBezTo>
                      <a:pt x="359" y="73"/>
                      <a:pt x="359" y="73"/>
                      <a:pt x="360" y="72"/>
                    </a:cubicBezTo>
                    <a:cubicBezTo>
                      <a:pt x="362" y="71"/>
                      <a:pt x="363" y="70"/>
                      <a:pt x="365" y="70"/>
                    </a:cubicBezTo>
                    <a:cubicBezTo>
                      <a:pt x="368" y="69"/>
                      <a:pt x="372" y="69"/>
                      <a:pt x="376" y="69"/>
                    </a:cubicBezTo>
                    <a:cubicBezTo>
                      <a:pt x="377" y="69"/>
                      <a:pt x="377" y="69"/>
                      <a:pt x="377" y="69"/>
                    </a:cubicBezTo>
                    <a:cubicBezTo>
                      <a:pt x="378" y="69"/>
                      <a:pt x="380" y="69"/>
                      <a:pt x="381" y="68"/>
                    </a:cubicBezTo>
                    <a:cubicBezTo>
                      <a:pt x="381" y="68"/>
                      <a:pt x="382" y="68"/>
                      <a:pt x="383" y="68"/>
                    </a:cubicBezTo>
                    <a:cubicBezTo>
                      <a:pt x="386" y="68"/>
                      <a:pt x="388" y="69"/>
                      <a:pt x="391" y="69"/>
                    </a:cubicBezTo>
                    <a:cubicBezTo>
                      <a:pt x="392" y="70"/>
                      <a:pt x="392" y="70"/>
                      <a:pt x="392" y="70"/>
                    </a:cubicBezTo>
                    <a:cubicBezTo>
                      <a:pt x="393" y="70"/>
                      <a:pt x="394" y="70"/>
                      <a:pt x="395" y="70"/>
                    </a:cubicBezTo>
                    <a:cubicBezTo>
                      <a:pt x="399" y="71"/>
                      <a:pt x="399" y="71"/>
                      <a:pt x="399" y="71"/>
                    </a:cubicBezTo>
                    <a:cubicBezTo>
                      <a:pt x="401" y="71"/>
                      <a:pt x="403" y="72"/>
                      <a:pt x="405" y="73"/>
                    </a:cubicBezTo>
                    <a:cubicBezTo>
                      <a:pt x="405" y="73"/>
                      <a:pt x="406" y="73"/>
                      <a:pt x="406" y="73"/>
                    </a:cubicBezTo>
                    <a:cubicBezTo>
                      <a:pt x="407" y="74"/>
                      <a:pt x="407" y="74"/>
                      <a:pt x="408" y="74"/>
                    </a:cubicBezTo>
                    <a:cubicBezTo>
                      <a:pt x="410" y="74"/>
                      <a:pt x="410" y="74"/>
                      <a:pt x="410" y="74"/>
                    </a:cubicBezTo>
                    <a:cubicBezTo>
                      <a:pt x="411" y="75"/>
                      <a:pt x="412" y="75"/>
                      <a:pt x="413" y="75"/>
                    </a:cubicBezTo>
                    <a:cubicBezTo>
                      <a:pt x="415" y="75"/>
                      <a:pt x="418" y="74"/>
                      <a:pt x="422" y="72"/>
                    </a:cubicBezTo>
                    <a:cubicBezTo>
                      <a:pt x="423" y="71"/>
                      <a:pt x="424" y="71"/>
                      <a:pt x="425" y="71"/>
                    </a:cubicBezTo>
                    <a:cubicBezTo>
                      <a:pt x="425" y="70"/>
                      <a:pt x="426" y="70"/>
                      <a:pt x="427" y="70"/>
                    </a:cubicBezTo>
                    <a:cubicBezTo>
                      <a:pt x="428" y="69"/>
                      <a:pt x="429" y="69"/>
                      <a:pt x="431" y="69"/>
                    </a:cubicBezTo>
                    <a:cubicBezTo>
                      <a:pt x="432" y="69"/>
                      <a:pt x="433" y="68"/>
                      <a:pt x="434" y="68"/>
                    </a:cubicBezTo>
                    <a:cubicBezTo>
                      <a:pt x="434" y="68"/>
                      <a:pt x="434" y="68"/>
                      <a:pt x="434" y="68"/>
                    </a:cubicBezTo>
                    <a:cubicBezTo>
                      <a:pt x="435" y="68"/>
                      <a:pt x="435" y="68"/>
                      <a:pt x="436" y="68"/>
                    </a:cubicBezTo>
                    <a:cubicBezTo>
                      <a:pt x="437" y="68"/>
                      <a:pt x="437" y="68"/>
                      <a:pt x="437" y="68"/>
                    </a:cubicBezTo>
                    <a:cubicBezTo>
                      <a:pt x="439" y="67"/>
                      <a:pt x="440" y="66"/>
                      <a:pt x="442" y="64"/>
                    </a:cubicBezTo>
                    <a:cubicBezTo>
                      <a:pt x="443" y="63"/>
                      <a:pt x="443" y="63"/>
                      <a:pt x="443" y="63"/>
                    </a:cubicBezTo>
                    <a:cubicBezTo>
                      <a:pt x="445" y="61"/>
                      <a:pt x="446" y="58"/>
                      <a:pt x="449" y="57"/>
                    </a:cubicBezTo>
                    <a:cubicBezTo>
                      <a:pt x="455" y="53"/>
                      <a:pt x="455" y="53"/>
                      <a:pt x="455" y="53"/>
                    </a:cubicBezTo>
                    <a:cubicBezTo>
                      <a:pt x="456" y="52"/>
                      <a:pt x="457" y="52"/>
                      <a:pt x="458" y="51"/>
                    </a:cubicBezTo>
                    <a:cubicBezTo>
                      <a:pt x="449" y="52"/>
                      <a:pt x="449" y="52"/>
                      <a:pt x="449" y="52"/>
                    </a:cubicBezTo>
                    <a:cubicBezTo>
                      <a:pt x="457" y="49"/>
                      <a:pt x="457" y="49"/>
                      <a:pt x="457" y="49"/>
                    </a:cubicBezTo>
                    <a:cubicBezTo>
                      <a:pt x="452" y="48"/>
                      <a:pt x="446" y="47"/>
                      <a:pt x="442" y="45"/>
                    </a:cubicBezTo>
                    <a:cubicBezTo>
                      <a:pt x="440" y="43"/>
                      <a:pt x="438" y="42"/>
                      <a:pt x="436" y="41"/>
                    </a:cubicBezTo>
                    <a:cubicBezTo>
                      <a:pt x="436" y="40"/>
                      <a:pt x="435" y="40"/>
                      <a:pt x="435" y="39"/>
                    </a:cubicBezTo>
                    <a:cubicBezTo>
                      <a:pt x="433" y="39"/>
                      <a:pt x="431" y="39"/>
                      <a:pt x="429" y="39"/>
                    </a:cubicBezTo>
                    <a:cubicBezTo>
                      <a:pt x="429" y="39"/>
                      <a:pt x="429" y="39"/>
                      <a:pt x="429" y="39"/>
                    </a:cubicBezTo>
                    <a:cubicBezTo>
                      <a:pt x="428" y="39"/>
                      <a:pt x="428" y="39"/>
                      <a:pt x="428" y="39"/>
                    </a:cubicBezTo>
                    <a:cubicBezTo>
                      <a:pt x="426" y="39"/>
                      <a:pt x="425" y="39"/>
                      <a:pt x="424" y="38"/>
                    </a:cubicBezTo>
                    <a:cubicBezTo>
                      <a:pt x="423" y="38"/>
                      <a:pt x="422" y="37"/>
                      <a:pt x="422" y="36"/>
                    </a:cubicBezTo>
                    <a:cubicBezTo>
                      <a:pt x="422" y="36"/>
                      <a:pt x="422" y="36"/>
                      <a:pt x="422" y="36"/>
                    </a:cubicBezTo>
                    <a:cubicBezTo>
                      <a:pt x="422" y="35"/>
                      <a:pt x="422" y="35"/>
                      <a:pt x="422" y="35"/>
                    </a:cubicBezTo>
                    <a:cubicBezTo>
                      <a:pt x="421" y="34"/>
                      <a:pt x="420" y="34"/>
                      <a:pt x="419" y="33"/>
                    </a:cubicBezTo>
                    <a:cubicBezTo>
                      <a:pt x="417" y="31"/>
                      <a:pt x="417" y="31"/>
                      <a:pt x="417" y="31"/>
                    </a:cubicBezTo>
                    <a:cubicBezTo>
                      <a:pt x="414" y="28"/>
                      <a:pt x="417" y="25"/>
                      <a:pt x="418" y="23"/>
                    </a:cubicBezTo>
                    <a:cubicBezTo>
                      <a:pt x="418" y="22"/>
                      <a:pt x="418" y="22"/>
                      <a:pt x="418" y="21"/>
                    </a:cubicBezTo>
                    <a:cubicBezTo>
                      <a:pt x="419" y="21"/>
                      <a:pt x="418" y="20"/>
                      <a:pt x="418" y="18"/>
                    </a:cubicBezTo>
                    <a:cubicBezTo>
                      <a:pt x="418" y="18"/>
                      <a:pt x="418" y="16"/>
                      <a:pt x="417" y="15"/>
                    </a:cubicBezTo>
                    <a:cubicBezTo>
                      <a:pt x="415" y="12"/>
                      <a:pt x="413" y="11"/>
                      <a:pt x="412" y="10"/>
                    </a:cubicBezTo>
                    <a:cubicBezTo>
                      <a:pt x="411" y="9"/>
                      <a:pt x="410" y="9"/>
                      <a:pt x="409" y="9"/>
                    </a:cubicBezTo>
                    <a:cubicBezTo>
                      <a:pt x="407" y="8"/>
                      <a:pt x="406" y="7"/>
                      <a:pt x="405" y="6"/>
                    </a:cubicBezTo>
                    <a:cubicBezTo>
                      <a:pt x="403" y="5"/>
                      <a:pt x="402" y="4"/>
                      <a:pt x="400" y="3"/>
                    </a:cubicBezTo>
                    <a:cubicBezTo>
                      <a:pt x="398" y="2"/>
                      <a:pt x="396" y="2"/>
                      <a:pt x="394" y="2"/>
                    </a:cubicBezTo>
                    <a:cubicBezTo>
                      <a:pt x="393" y="2"/>
                      <a:pt x="393" y="2"/>
                      <a:pt x="393" y="2"/>
                    </a:cubicBezTo>
                    <a:cubicBezTo>
                      <a:pt x="392" y="2"/>
                      <a:pt x="391" y="2"/>
                      <a:pt x="390" y="2"/>
                    </a:cubicBezTo>
                    <a:cubicBezTo>
                      <a:pt x="390" y="2"/>
                      <a:pt x="390" y="2"/>
                      <a:pt x="389" y="2"/>
                    </a:cubicBezTo>
                    <a:cubicBezTo>
                      <a:pt x="387" y="2"/>
                      <a:pt x="386" y="1"/>
                      <a:pt x="385" y="0"/>
                    </a:cubicBezTo>
                    <a:cubicBezTo>
                      <a:pt x="384" y="0"/>
                      <a:pt x="384" y="0"/>
                      <a:pt x="384" y="0"/>
                    </a:cubicBezTo>
                    <a:cubicBezTo>
                      <a:pt x="384" y="0"/>
                      <a:pt x="384" y="0"/>
                      <a:pt x="384" y="0"/>
                    </a:cubicBezTo>
                    <a:cubicBezTo>
                      <a:pt x="384" y="0"/>
                      <a:pt x="383" y="0"/>
                      <a:pt x="3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340"/>
              <p:cNvSpPr/>
              <p:nvPr/>
            </p:nvSpPr>
            <p:spPr bwMode="auto">
              <a:xfrm>
                <a:off x="10918998" y="5387640"/>
                <a:ext cx="154775" cy="44221"/>
              </a:xfrm>
              <a:custGeom>
                <a:gdLst>
                  <a:gd name="T0" fmla="*/ 19 w 49"/>
                  <a:gd name="T1" fmla="*/ 0 h 14"/>
                  <a:gd name="T2" fmla="*/ 16 w 49"/>
                  <a:gd name="T3" fmla="*/ 1 h 14"/>
                  <a:gd name="T4" fmla="*/ 14 w 49"/>
                  <a:gd name="T5" fmla="*/ 2 h 14"/>
                  <a:gd name="T6" fmla="*/ 2 w 49"/>
                  <a:gd name="T7" fmla="*/ 12 h 14"/>
                  <a:gd name="T8" fmla="*/ 0 w 49"/>
                  <a:gd name="T9" fmla="*/ 14 h 14"/>
                  <a:gd name="T10" fmla="*/ 1 w 49"/>
                  <a:gd name="T11" fmla="*/ 14 h 14"/>
                  <a:gd name="T12" fmla="*/ 7 w 49"/>
                  <a:gd name="T13" fmla="*/ 13 h 14"/>
                  <a:gd name="T14" fmla="*/ 19 w 49"/>
                  <a:gd name="T15" fmla="*/ 12 h 14"/>
                  <a:gd name="T16" fmla="*/ 21 w 49"/>
                  <a:gd name="T17" fmla="*/ 12 h 14"/>
                  <a:gd name="T18" fmla="*/ 26 w 49"/>
                  <a:gd name="T19" fmla="*/ 12 h 14"/>
                  <a:gd name="T20" fmla="*/ 27 w 49"/>
                  <a:gd name="T21" fmla="*/ 12 h 14"/>
                  <a:gd name="T22" fmla="*/ 29 w 49"/>
                  <a:gd name="T23" fmla="*/ 12 h 14"/>
                  <a:gd name="T24" fmla="*/ 31 w 49"/>
                  <a:gd name="T25" fmla="*/ 13 h 14"/>
                  <a:gd name="T26" fmla="*/ 32 w 49"/>
                  <a:gd name="T27" fmla="*/ 13 h 14"/>
                  <a:gd name="T28" fmla="*/ 34 w 49"/>
                  <a:gd name="T29" fmla="*/ 13 h 14"/>
                  <a:gd name="T30" fmla="*/ 38 w 49"/>
                  <a:gd name="T31" fmla="*/ 14 h 14"/>
                  <a:gd name="T32" fmla="*/ 38 w 49"/>
                  <a:gd name="T33" fmla="*/ 14 h 14"/>
                  <a:gd name="T34" fmla="*/ 39 w 49"/>
                  <a:gd name="T35" fmla="*/ 14 h 14"/>
                  <a:gd name="T36" fmla="*/ 46 w 49"/>
                  <a:gd name="T37" fmla="*/ 10 h 14"/>
                  <a:gd name="T38" fmla="*/ 44 w 49"/>
                  <a:gd name="T39" fmla="*/ 7 h 14"/>
                  <a:gd name="T40" fmla="*/ 46 w 49"/>
                  <a:gd name="T41" fmla="*/ 3 h 14"/>
                  <a:gd name="T42" fmla="*/ 49 w 49"/>
                  <a:gd name="T43" fmla="*/ 2 h 14"/>
                  <a:gd name="T44" fmla="*/ 49 w 49"/>
                  <a:gd name="T45" fmla="*/ 2 h 14"/>
                  <a:gd name="T46" fmla="*/ 47 w 49"/>
                  <a:gd name="T47" fmla="*/ 2 h 14"/>
                  <a:gd name="T48" fmla="*/ 46 w 49"/>
                  <a:gd name="T49" fmla="*/ 2 h 14"/>
                  <a:gd name="T50" fmla="*/ 45 w 49"/>
                  <a:gd name="T51" fmla="*/ 2 h 14"/>
                  <a:gd name="T52" fmla="*/ 44 w 49"/>
                  <a:gd name="T53" fmla="*/ 4 h 14"/>
                  <a:gd name="T54" fmla="*/ 43 w 49"/>
                  <a:gd name="T55" fmla="*/ 4 h 14"/>
                  <a:gd name="T56" fmla="*/ 42 w 49"/>
                  <a:gd name="T57" fmla="*/ 4 h 14"/>
                  <a:gd name="T58" fmla="*/ 41 w 49"/>
                  <a:gd name="T59" fmla="*/ 4 h 14"/>
                  <a:gd name="T60" fmla="*/ 35 w 49"/>
                  <a:gd name="T61" fmla="*/ 6 h 14"/>
                  <a:gd name="T62" fmla="*/ 32 w 49"/>
                  <a:gd name="T63" fmla="*/ 7 h 14"/>
                  <a:gd name="T64" fmla="*/ 28 w 49"/>
                  <a:gd name="T65" fmla="*/ 8 h 14"/>
                  <a:gd name="T66" fmla="*/ 26 w 49"/>
                  <a:gd name="T67" fmla="*/ 8 h 14"/>
                  <a:gd name="T68" fmla="*/ 25 w 49"/>
                  <a:gd name="T69" fmla="*/ 7 h 14"/>
                  <a:gd name="T70" fmla="*/ 24 w 49"/>
                  <a:gd name="T71" fmla="*/ 7 h 14"/>
                  <a:gd name="T72" fmla="*/ 22 w 49"/>
                  <a:gd name="T73" fmla="*/ 3 h 14"/>
                  <a:gd name="T74" fmla="*/ 23 w 49"/>
                  <a:gd name="T75" fmla="*/ 1 h 14"/>
                  <a:gd name="T76" fmla="*/ 19 w 49"/>
                  <a:gd name="T7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 h="14">
                    <a:moveTo>
                      <a:pt x="19" y="0"/>
                    </a:moveTo>
                    <a:cubicBezTo>
                      <a:pt x="18" y="0"/>
                      <a:pt x="17" y="1"/>
                      <a:pt x="16" y="1"/>
                    </a:cubicBezTo>
                    <a:cubicBezTo>
                      <a:pt x="16" y="1"/>
                      <a:pt x="15" y="1"/>
                      <a:pt x="14" y="2"/>
                    </a:cubicBezTo>
                    <a:cubicBezTo>
                      <a:pt x="10" y="4"/>
                      <a:pt x="6" y="8"/>
                      <a:pt x="2" y="12"/>
                    </a:cubicBezTo>
                    <a:cubicBezTo>
                      <a:pt x="2" y="13"/>
                      <a:pt x="1" y="13"/>
                      <a:pt x="0" y="14"/>
                    </a:cubicBezTo>
                    <a:cubicBezTo>
                      <a:pt x="0" y="14"/>
                      <a:pt x="1" y="14"/>
                      <a:pt x="1" y="14"/>
                    </a:cubicBezTo>
                    <a:cubicBezTo>
                      <a:pt x="7" y="13"/>
                      <a:pt x="7" y="13"/>
                      <a:pt x="7" y="13"/>
                    </a:cubicBezTo>
                    <a:cubicBezTo>
                      <a:pt x="11" y="13"/>
                      <a:pt x="15" y="13"/>
                      <a:pt x="19" y="12"/>
                    </a:cubicBezTo>
                    <a:cubicBezTo>
                      <a:pt x="21" y="12"/>
                      <a:pt x="21" y="12"/>
                      <a:pt x="21" y="12"/>
                    </a:cubicBezTo>
                    <a:cubicBezTo>
                      <a:pt x="23" y="12"/>
                      <a:pt x="25" y="12"/>
                      <a:pt x="26" y="12"/>
                    </a:cubicBezTo>
                    <a:cubicBezTo>
                      <a:pt x="27" y="12"/>
                      <a:pt x="27" y="12"/>
                      <a:pt x="27" y="12"/>
                    </a:cubicBezTo>
                    <a:cubicBezTo>
                      <a:pt x="28" y="12"/>
                      <a:pt x="28" y="12"/>
                      <a:pt x="29" y="12"/>
                    </a:cubicBezTo>
                    <a:cubicBezTo>
                      <a:pt x="30" y="12"/>
                      <a:pt x="31" y="12"/>
                      <a:pt x="31" y="13"/>
                    </a:cubicBezTo>
                    <a:cubicBezTo>
                      <a:pt x="32" y="13"/>
                      <a:pt x="32" y="13"/>
                      <a:pt x="32" y="13"/>
                    </a:cubicBezTo>
                    <a:cubicBezTo>
                      <a:pt x="34" y="13"/>
                      <a:pt x="34" y="13"/>
                      <a:pt x="34" y="13"/>
                    </a:cubicBezTo>
                    <a:cubicBezTo>
                      <a:pt x="35" y="14"/>
                      <a:pt x="36" y="14"/>
                      <a:pt x="38" y="14"/>
                    </a:cubicBezTo>
                    <a:cubicBezTo>
                      <a:pt x="38" y="14"/>
                      <a:pt x="38" y="14"/>
                      <a:pt x="38" y="14"/>
                    </a:cubicBezTo>
                    <a:cubicBezTo>
                      <a:pt x="39" y="14"/>
                      <a:pt x="39" y="14"/>
                      <a:pt x="39" y="14"/>
                    </a:cubicBezTo>
                    <a:cubicBezTo>
                      <a:pt x="41" y="13"/>
                      <a:pt x="44" y="12"/>
                      <a:pt x="46" y="10"/>
                    </a:cubicBezTo>
                    <a:cubicBezTo>
                      <a:pt x="45" y="10"/>
                      <a:pt x="44" y="9"/>
                      <a:pt x="44" y="7"/>
                    </a:cubicBezTo>
                    <a:cubicBezTo>
                      <a:pt x="44" y="6"/>
                      <a:pt x="45" y="4"/>
                      <a:pt x="46" y="3"/>
                    </a:cubicBezTo>
                    <a:cubicBezTo>
                      <a:pt x="47" y="3"/>
                      <a:pt x="48" y="3"/>
                      <a:pt x="49" y="2"/>
                    </a:cubicBezTo>
                    <a:cubicBezTo>
                      <a:pt x="49" y="2"/>
                      <a:pt x="49" y="2"/>
                      <a:pt x="49" y="2"/>
                    </a:cubicBezTo>
                    <a:cubicBezTo>
                      <a:pt x="48" y="2"/>
                      <a:pt x="48" y="2"/>
                      <a:pt x="47" y="2"/>
                    </a:cubicBezTo>
                    <a:cubicBezTo>
                      <a:pt x="47" y="2"/>
                      <a:pt x="46" y="2"/>
                      <a:pt x="46" y="2"/>
                    </a:cubicBezTo>
                    <a:cubicBezTo>
                      <a:pt x="45" y="2"/>
                      <a:pt x="45" y="2"/>
                      <a:pt x="45" y="2"/>
                    </a:cubicBezTo>
                    <a:cubicBezTo>
                      <a:pt x="45" y="3"/>
                      <a:pt x="44" y="3"/>
                      <a:pt x="44" y="4"/>
                    </a:cubicBezTo>
                    <a:cubicBezTo>
                      <a:pt x="43" y="4"/>
                      <a:pt x="43" y="4"/>
                      <a:pt x="43" y="4"/>
                    </a:cubicBezTo>
                    <a:cubicBezTo>
                      <a:pt x="42" y="4"/>
                      <a:pt x="42" y="4"/>
                      <a:pt x="42" y="4"/>
                    </a:cubicBezTo>
                    <a:cubicBezTo>
                      <a:pt x="41" y="4"/>
                      <a:pt x="41" y="4"/>
                      <a:pt x="41" y="4"/>
                    </a:cubicBezTo>
                    <a:cubicBezTo>
                      <a:pt x="40" y="5"/>
                      <a:pt x="38" y="6"/>
                      <a:pt x="35" y="6"/>
                    </a:cubicBezTo>
                    <a:cubicBezTo>
                      <a:pt x="34" y="7"/>
                      <a:pt x="33" y="7"/>
                      <a:pt x="32" y="7"/>
                    </a:cubicBezTo>
                    <a:cubicBezTo>
                      <a:pt x="30" y="8"/>
                      <a:pt x="29" y="8"/>
                      <a:pt x="28" y="8"/>
                    </a:cubicBezTo>
                    <a:cubicBezTo>
                      <a:pt x="27" y="8"/>
                      <a:pt x="26" y="8"/>
                      <a:pt x="26" y="8"/>
                    </a:cubicBezTo>
                    <a:cubicBezTo>
                      <a:pt x="25" y="7"/>
                      <a:pt x="25" y="7"/>
                      <a:pt x="25" y="7"/>
                    </a:cubicBezTo>
                    <a:cubicBezTo>
                      <a:pt x="24" y="7"/>
                      <a:pt x="24" y="7"/>
                      <a:pt x="24" y="7"/>
                    </a:cubicBezTo>
                    <a:cubicBezTo>
                      <a:pt x="22" y="5"/>
                      <a:pt x="22" y="4"/>
                      <a:pt x="22" y="3"/>
                    </a:cubicBezTo>
                    <a:cubicBezTo>
                      <a:pt x="22" y="2"/>
                      <a:pt x="22" y="2"/>
                      <a:pt x="23" y="1"/>
                    </a:cubicBezTo>
                    <a:cubicBezTo>
                      <a:pt x="21" y="1"/>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341"/>
              <p:cNvSpPr/>
              <p:nvPr/>
            </p:nvSpPr>
            <p:spPr bwMode="auto">
              <a:xfrm>
                <a:off x="9824518" y="5284457"/>
                <a:ext cx="1050258" cy="899168"/>
              </a:xfrm>
              <a:custGeom>
                <a:gdLst>
                  <a:gd name="T0" fmla="*/ 279 w 331"/>
                  <a:gd name="T1" fmla="*/ 14 h 283"/>
                  <a:gd name="T2" fmla="*/ 276 w 331"/>
                  <a:gd name="T3" fmla="*/ 27 h 283"/>
                  <a:gd name="T4" fmla="*/ 269 w 331"/>
                  <a:gd name="T5" fmla="*/ 31 h 283"/>
                  <a:gd name="T6" fmla="*/ 255 w 331"/>
                  <a:gd name="T7" fmla="*/ 33 h 283"/>
                  <a:gd name="T8" fmla="*/ 251 w 331"/>
                  <a:gd name="T9" fmla="*/ 43 h 283"/>
                  <a:gd name="T10" fmla="*/ 236 w 331"/>
                  <a:gd name="T11" fmla="*/ 38 h 283"/>
                  <a:gd name="T12" fmla="*/ 223 w 331"/>
                  <a:gd name="T13" fmla="*/ 44 h 283"/>
                  <a:gd name="T14" fmla="*/ 211 w 331"/>
                  <a:gd name="T15" fmla="*/ 50 h 283"/>
                  <a:gd name="T16" fmla="*/ 200 w 331"/>
                  <a:gd name="T17" fmla="*/ 42 h 283"/>
                  <a:gd name="T18" fmla="*/ 190 w 331"/>
                  <a:gd name="T19" fmla="*/ 42 h 283"/>
                  <a:gd name="T20" fmla="*/ 172 w 331"/>
                  <a:gd name="T21" fmla="*/ 37 h 283"/>
                  <a:gd name="T22" fmla="*/ 166 w 331"/>
                  <a:gd name="T23" fmla="*/ 37 h 283"/>
                  <a:gd name="T24" fmla="*/ 152 w 331"/>
                  <a:gd name="T25" fmla="*/ 34 h 283"/>
                  <a:gd name="T26" fmla="*/ 134 w 331"/>
                  <a:gd name="T27" fmla="*/ 41 h 283"/>
                  <a:gd name="T28" fmla="*/ 112 w 331"/>
                  <a:gd name="T29" fmla="*/ 70 h 283"/>
                  <a:gd name="T30" fmla="*/ 77 w 331"/>
                  <a:gd name="T31" fmla="*/ 86 h 283"/>
                  <a:gd name="T32" fmla="*/ 66 w 331"/>
                  <a:gd name="T33" fmla="*/ 102 h 283"/>
                  <a:gd name="T34" fmla="*/ 49 w 331"/>
                  <a:gd name="T35" fmla="*/ 108 h 283"/>
                  <a:gd name="T36" fmla="*/ 39 w 331"/>
                  <a:gd name="T37" fmla="*/ 101 h 283"/>
                  <a:gd name="T38" fmla="*/ 25 w 331"/>
                  <a:gd name="T39" fmla="*/ 96 h 283"/>
                  <a:gd name="T40" fmla="*/ 16 w 331"/>
                  <a:gd name="T41" fmla="*/ 114 h 283"/>
                  <a:gd name="T42" fmla="*/ 12 w 331"/>
                  <a:gd name="T43" fmla="*/ 130 h 283"/>
                  <a:gd name="T44" fmla="*/ 3 w 331"/>
                  <a:gd name="T45" fmla="*/ 153 h 283"/>
                  <a:gd name="T46" fmla="*/ 12 w 331"/>
                  <a:gd name="T47" fmla="*/ 160 h 283"/>
                  <a:gd name="T48" fmla="*/ 9 w 331"/>
                  <a:gd name="T49" fmla="*/ 193 h 283"/>
                  <a:gd name="T50" fmla="*/ 9 w 331"/>
                  <a:gd name="T51" fmla="*/ 211 h 283"/>
                  <a:gd name="T52" fmla="*/ 11 w 331"/>
                  <a:gd name="T53" fmla="*/ 218 h 283"/>
                  <a:gd name="T54" fmla="*/ 35 w 331"/>
                  <a:gd name="T55" fmla="*/ 244 h 283"/>
                  <a:gd name="T56" fmla="*/ 57 w 331"/>
                  <a:gd name="T57" fmla="*/ 283 h 283"/>
                  <a:gd name="T58" fmla="*/ 71 w 331"/>
                  <a:gd name="T59" fmla="*/ 281 h 283"/>
                  <a:gd name="T60" fmla="*/ 88 w 331"/>
                  <a:gd name="T61" fmla="*/ 281 h 283"/>
                  <a:gd name="T62" fmla="*/ 98 w 331"/>
                  <a:gd name="T63" fmla="*/ 283 h 283"/>
                  <a:gd name="T64" fmla="*/ 136 w 331"/>
                  <a:gd name="T65" fmla="*/ 275 h 283"/>
                  <a:gd name="T66" fmla="*/ 158 w 331"/>
                  <a:gd name="T67" fmla="*/ 269 h 283"/>
                  <a:gd name="T68" fmla="*/ 160 w 331"/>
                  <a:gd name="T69" fmla="*/ 241 h 283"/>
                  <a:gd name="T70" fmla="*/ 173 w 331"/>
                  <a:gd name="T71" fmla="*/ 227 h 283"/>
                  <a:gd name="T72" fmla="*/ 181 w 331"/>
                  <a:gd name="T73" fmla="*/ 224 h 283"/>
                  <a:gd name="T74" fmla="*/ 191 w 331"/>
                  <a:gd name="T75" fmla="*/ 226 h 283"/>
                  <a:gd name="T76" fmla="*/ 207 w 331"/>
                  <a:gd name="T77" fmla="*/ 213 h 283"/>
                  <a:gd name="T78" fmla="*/ 218 w 331"/>
                  <a:gd name="T79" fmla="*/ 208 h 283"/>
                  <a:gd name="T80" fmla="*/ 229 w 331"/>
                  <a:gd name="T81" fmla="*/ 209 h 283"/>
                  <a:gd name="T82" fmla="*/ 237 w 331"/>
                  <a:gd name="T83" fmla="*/ 211 h 283"/>
                  <a:gd name="T84" fmla="*/ 243 w 331"/>
                  <a:gd name="T85" fmla="*/ 188 h 283"/>
                  <a:gd name="T86" fmla="*/ 248 w 331"/>
                  <a:gd name="T87" fmla="*/ 179 h 283"/>
                  <a:gd name="T88" fmla="*/ 259 w 331"/>
                  <a:gd name="T89" fmla="*/ 168 h 283"/>
                  <a:gd name="T90" fmla="*/ 265 w 331"/>
                  <a:gd name="T91" fmla="*/ 153 h 283"/>
                  <a:gd name="T92" fmla="*/ 262 w 331"/>
                  <a:gd name="T93" fmla="*/ 138 h 283"/>
                  <a:gd name="T94" fmla="*/ 283 w 331"/>
                  <a:gd name="T95" fmla="*/ 140 h 283"/>
                  <a:gd name="T96" fmla="*/ 295 w 331"/>
                  <a:gd name="T97" fmla="*/ 133 h 283"/>
                  <a:gd name="T98" fmla="*/ 302 w 331"/>
                  <a:gd name="T99" fmla="*/ 111 h 283"/>
                  <a:gd name="T100" fmla="*/ 308 w 331"/>
                  <a:gd name="T101" fmla="*/ 101 h 283"/>
                  <a:gd name="T102" fmla="*/ 306 w 331"/>
                  <a:gd name="T103" fmla="*/ 89 h 283"/>
                  <a:gd name="T104" fmla="*/ 299 w 331"/>
                  <a:gd name="T105" fmla="*/ 79 h 283"/>
                  <a:gd name="T106" fmla="*/ 314 w 331"/>
                  <a:gd name="T107" fmla="*/ 59 h 283"/>
                  <a:gd name="T108" fmla="*/ 331 w 331"/>
                  <a:gd name="T109" fmla="*/ 52 h 283"/>
                  <a:gd name="T110" fmla="*/ 312 w 331"/>
                  <a:gd name="T111" fmla="*/ 58 h 283"/>
                  <a:gd name="T112" fmla="*/ 305 w 331"/>
                  <a:gd name="T113" fmla="*/ 37 h 283"/>
                  <a:gd name="T114" fmla="*/ 302 w 331"/>
                  <a:gd name="T115" fmla="*/ 16 h 283"/>
                  <a:gd name="T116" fmla="*/ 299 w 331"/>
                  <a:gd name="T117" fmla="*/ 5 h 2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1" h="283">
                    <a:moveTo>
                      <a:pt x="294" y="0"/>
                    </a:moveTo>
                    <a:cubicBezTo>
                      <a:pt x="294" y="0"/>
                      <a:pt x="294" y="0"/>
                      <a:pt x="294" y="0"/>
                    </a:cubicBezTo>
                    <a:cubicBezTo>
                      <a:pt x="292" y="1"/>
                      <a:pt x="291" y="1"/>
                      <a:pt x="290" y="1"/>
                    </a:cubicBezTo>
                    <a:cubicBezTo>
                      <a:pt x="288" y="3"/>
                      <a:pt x="286" y="6"/>
                      <a:pt x="284" y="8"/>
                    </a:cubicBezTo>
                    <a:cubicBezTo>
                      <a:pt x="283" y="9"/>
                      <a:pt x="281" y="11"/>
                      <a:pt x="280" y="13"/>
                    </a:cubicBezTo>
                    <a:cubicBezTo>
                      <a:pt x="279" y="14"/>
                      <a:pt x="279" y="14"/>
                      <a:pt x="279" y="14"/>
                    </a:cubicBezTo>
                    <a:cubicBezTo>
                      <a:pt x="277" y="14"/>
                      <a:pt x="276" y="15"/>
                      <a:pt x="275" y="16"/>
                    </a:cubicBezTo>
                    <a:cubicBezTo>
                      <a:pt x="275" y="16"/>
                      <a:pt x="275" y="16"/>
                      <a:pt x="275" y="16"/>
                    </a:cubicBezTo>
                    <a:cubicBezTo>
                      <a:pt x="275" y="17"/>
                      <a:pt x="275" y="17"/>
                      <a:pt x="275" y="17"/>
                    </a:cubicBezTo>
                    <a:cubicBezTo>
                      <a:pt x="276" y="18"/>
                      <a:pt x="277" y="19"/>
                      <a:pt x="278" y="20"/>
                    </a:cubicBezTo>
                    <a:cubicBezTo>
                      <a:pt x="278" y="21"/>
                      <a:pt x="278" y="22"/>
                      <a:pt x="278" y="23"/>
                    </a:cubicBezTo>
                    <a:cubicBezTo>
                      <a:pt x="278" y="24"/>
                      <a:pt x="277" y="25"/>
                      <a:pt x="276" y="27"/>
                    </a:cubicBezTo>
                    <a:cubicBezTo>
                      <a:pt x="276" y="28"/>
                      <a:pt x="275" y="29"/>
                      <a:pt x="273" y="30"/>
                    </a:cubicBezTo>
                    <a:cubicBezTo>
                      <a:pt x="273" y="30"/>
                      <a:pt x="273" y="30"/>
                      <a:pt x="273" y="30"/>
                    </a:cubicBezTo>
                    <a:cubicBezTo>
                      <a:pt x="274" y="36"/>
                      <a:pt x="274" y="36"/>
                      <a:pt x="274" y="36"/>
                    </a:cubicBezTo>
                    <a:cubicBezTo>
                      <a:pt x="271" y="30"/>
                      <a:pt x="271" y="30"/>
                      <a:pt x="271" y="30"/>
                    </a:cubicBezTo>
                    <a:cubicBezTo>
                      <a:pt x="271" y="30"/>
                      <a:pt x="271" y="30"/>
                      <a:pt x="271" y="30"/>
                    </a:cubicBezTo>
                    <a:cubicBezTo>
                      <a:pt x="271" y="31"/>
                      <a:pt x="270" y="31"/>
                      <a:pt x="269" y="31"/>
                    </a:cubicBezTo>
                    <a:cubicBezTo>
                      <a:pt x="269" y="31"/>
                      <a:pt x="269" y="31"/>
                      <a:pt x="269" y="31"/>
                    </a:cubicBezTo>
                    <a:cubicBezTo>
                      <a:pt x="267" y="31"/>
                      <a:pt x="265" y="30"/>
                      <a:pt x="264" y="30"/>
                    </a:cubicBezTo>
                    <a:cubicBezTo>
                      <a:pt x="263" y="30"/>
                      <a:pt x="262" y="30"/>
                      <a:pt x="262" y="30"/>
                    </a:cubicBezTo>
                    <a:cubicBezTo>
                      <a:pt x="261" y="29"/>
                      <a:pt x="257" y="29"/>
                      <a:pt x="256" y="29"/>
                    </a:cubicBezTo>
                    <a:cubicBezTo>
                      <a:pt x="256" y="29"/>
                      <a:pt x="256" y="29"/>
                      <a:pt x="256" y="29"/>
                    </a:cubicBezTo>
                    <a:cubicBezTo>
                      <a:pt x="255" y="30"/>
                      <a:pt x="255" y="31"/>
                      <a:pt x="255" y="33"/>
                    </a:cubicBezTo>
                    <a:cubicBezTo>
                      <a:pt x="254" y="35"/>
                      <a:pt x="254" y="35"/>
                      <a:pt x="254" y="35"/>
                    </a:cubicBezTo>
                    <a:cubicBezTo>
                      <a:pt x="254" y="36"/>
                      <a:pt x="254" y="37"/>
                      <a:pt x="254" y="37"/>
                    </a:cubicBezTo>
                    <a:cubicBezTo>
                      <a:pt x="254" y="38"/>
                      <a:pt x="253" y="38"/>
                      <a:pt x="253" y="39"/>
                    </a:cubicBezTo>
                    <a:cubicBezTo>
                      <a:pt x="253" y="40"/>
                      <a:pt x="252" y="41"/>
                      <a:pt x="252" y="42"/>
                    </a:cubicBezTo>
                    <a:cubicBezTo>
                      <a:pt x="257" y="46"/>
                      <a:pt x="257" y="46"/>
                      <a:pt x="257" y="46"/>
                    </a:cubicBezTo>
                    <a:cubicBezTo>
                      <a:pt x="251" y="43"/>
                      <a:pt x="251" y="43"/>
                      <a:pt x="251" y="43"/>
                    </a:cubicBezTo>
                    <a:cubicBezTo>
                      <a:pt x="250" y="44"/>
                      <a:pt x="249" y="44"/>
                      <a:pt x="248" y="45"/>
                    </a:cubicBezTo>
                    <a:cubicBezTo>
                      <a:pt x="247" y="45"/>
                      <a:pt x="247" y="45"/>
                      <a:pt x="246" y="45"/>
                    </a:cubicBezTo>
                    <a:cubicBezTo>
                      <a:pt x="246" y="45"/>
                      <a:pt x="245" y="45"/>
                      <a:pt x="244" y="45"/>
                    </a:cubicBezTo>
                    <a:cubicBezTo>
                      <a:pt x="242" y="44"/>
                      <a:pt x="241" y="42"/>
                      <a:pt x="240" y="41"/>
                    </a:cubicBezTo>
                    <a:cubicBezTo>
                      <a:pt x="236" y="39"/>
                      <a:pt x="236" y="39"/>
                      <a:pt x="236" y="39"/>
                    </a:cubicBezTo>
                    <a:cubicBezTo>
                      <a:pt x="236" y="38"/>
                      <a:pt x="236" y="38"/>
                      <a:pt x="236" y="38"/>
                    </a:cubicBezTo>
                    <a:cubicBezTo>
                      <a:pt x="236" y="38"/>
                      <a:pt x="236" y="38"/>
                      <a:pt x="235" y="38"/>
                    </a:cubicBezTo>
                    <a:cubicBezTo>
                      <a:pt x="235" y="39"/>
                      <a:pt x="234" y="39"/>
                      <a:pt x="234" y="39"/>
                    </a:cubicBezTo>
                    <a:cubicBezTo>
                      <a:pt x="233" y="39"/>
                      <a:pt x="233" y="39"/>
                      <a:pt x="233" y="39"/>
                    </a:cubicBezTo>
                    <a:cubicBezTo>
                      <a:pt x="233" y="40"/>
                      <a:pt x="232" y="40"/>
                      <a:pt x="231" y="40"/>
                    </a:cubicBezTo>
                    <a:cubicBezTo>
                      <a:pt x="228" y="42"/>
                      <a:pt x="226" y="42"/>
                      <a:pt x="223" y="43"/>
                    </a:cubicBezTo>
                    <a:cubicBezTo>
                      <a:pt x="223" y="44"/>
                      <a:pt x="223" y="44"/>
                      <a:pt x="223" y="44"/>
                    </a:cubicBezTo>
                    <a:cubicBezTo>
                      <a:pt x="222" y="44"/>
                      <a:pt x="221" y="44"/>
                      <a:pt x="221" y="44"/>
                    </a:cubicBezTo>
                    <a:cubicBezTo>
                      <a:pt x="219" y="46"/>
                      <a:pt x="218" y="46"/>
                      <a:pt x="217" y="47"/>
                    </a:cubicBezTo>
                    <a:cubicBezTo>
                      <a:pt x="216" y="48"/>
                      <a:pt x="216" y="48"/>
                      <a:pt x="216" y="48"/>
                    </a:cubicBezTo>
                    <a:cubicBezTo>
                      <a:pt x="217" y="49"/>
                      <a:pt x="217" y="49"/>
                      <a:pt x="217" y="49"/>
                    </a:cubicBezTo>
                    <a:cubicBezTo>
                      <a:pt x="216" y="48"/>
                      <a:pt x="216" y="48"/>
                      <a:pt x="216" y="48"/>
                    </a:cubicBezTo>
                    <a:cubicBezTo>
                      <a:pt x="214" y="49"/>
                      <a:pt x="213" y="50"/>
                      <a:pt x="211" y="50"/>
                    </a:cubicBezTo>
                    <a:cubicBezTo>
                      <a:pt x="210" y="50"/>
                      <a:pt x="210" y="50"/>
                      <a:pt x="210" y="50"/>
                    </a:cubicBezTo>
                    <a:cubicBezTo>
                      <a:pt x="209" y="50"/>
                      <a:pt x="208" y="49"/>
                      <a:pt x="206" y="48"/>
                    </a:cubicBezTo>
                    <a:cubicBezTo>
                      <a:pt x="202" y="45"/>
                      <a:pt x="202" y="45"/>
                      <a:pt x="202" y="45"/>
                    </a:cubicBezTo>
                    <a:cubicBezTo>
                      <a:pt x="201" y="45"/>
                      <a:pt x="201" y="44"/>
                      <a:pt x="201" y="43"/>
                    </a:cubicBezTo>
                    <a:cubicBezTo>
                      <a:pt x="201" y="42"/>
                      <a:pt x="201" y="42"/>
                      <a:pt x="201" y="42"/>
                    </a:cubicBezTo>
                    <a:cubicBezTo>
                      <a:pt x="200" y="42"/>
                      <a:pt x="200" y="42"/>
                      <a:pt x="200" y="42"/>
                    </a:cubicBezTo>
                    <a:cubicBezTo>
                      <a:pt x="200" y="42"/>
                      <a:pt x="200" y="42"/>
                      <a:pt x="200" y="42"/>
                    </a:cubicBezTo>
                    <a:cubicBezTo>
                      <a:pt x="199" y="42"/>
                      <a:pt x="198" y="42"/>
                      <a:pt x="197" y="42"/>
                    </a:cubicBezTo>
                    <a:cubicBezTo>
                      <a:pt x="196" y="42"/>
                      <a:pt x="195" y="43"/>
                      <a:pt x="194" y="43"/>
                    </a:cubicBezTo>
                    <a:cubicBezTo>
                      <a:pt x="194" y="43"/>
                      <a:pt x="194" y="43"/>
                      <a:pt x="194" y="43"/>
                    </a:cubicBezTo>
                    <a:cubicBezTo>
                      <a:pt x="193" y="43"/>
                      <a:pt x="191" y="42"/>
                      <a:pt x="190" y="42"/>
                    </a:cubicBezTo>
                    <a:cubicBezTo>
                      <a:pt x="190" y="42"/>
                      <a:pt x="190" y="42"/>
                      <a:pt x="190" y="42"/>
                    </a:cubicBezTo>
                    <a:cubicBezTo>
                      <a:pt x="187" y="42"/>
                      <a:pt x="186" y="41"/>
                      <a:pt x="185" y="40"/>
                    </a:cubicBezTo>
                    <a:cubicBezTo>
                      <a:pt x="184" y="39"/>
                      <a:pt x="184" y="39"/>
                      <a:pt x="183" y="38"/>
                    </a:cubicBezTo>
                    <a:cubicBezTo>
                      <a:pt x="182" y="37"/>
                      <a:pt x="181" y="37"/>
                      <a:pt x="180" y="37"/>
                    </a:cubicBezTo>
                    <a:cubicBezTo>
                      <a:pt x="179" y="37"/>
                      <a:pt x="178" y="37"/>
                      <a:pt x="177" y="37"/>
                    </a:cubicBezTo>
                    <a:cubicBezTo>
                      <a:pt x="172" y="36"/>
                      <a:pt x="172" y="36"/>
                      <a:pt x="172" y="36"/>
                    </a:cubicBezTo>
                    <a:cubicBezTo>
                      <a:pt x="172" y="37"/>
                      <a:pt x="172" y="37"/>
                      <a:pt x="172" y="37"/>
                    </a:cubicBezTo>
                    <a:cubicBezTo>
                      <a:pt x="169" y="37"/>
                      <a:pt x="169" y="37"/>
                      <a:pt x="169" y="37"/>
                    </a:cubicBezTo>
                    <a:cubicBezTo>
                      <a:pt x="169" y="37"/>
                      <a:pt x="169" y="37"/>
                      <a:pt x="169" y="37"/>
                    </a:cubicBezTo>
                    <a:cubicBezTo>
                      <a:pt x="168" y="37"/>
                      <a:pt x="168" y="37"/>
                      <a:pt x="168" y="37"/>
                    </a:cubicBezTo>
                    <a:cubicBezTo>
                      <a:pt x="167" y="37"/>
                      <a:pt x="167" y="37"/>
                      <a:pt x="167" y="37"/>
                    </a:cubicBezTo>
                    <a:cubicBezTo>
                      <a:pt x="166" y="37"/>
                      <a:pt x="166" y="37"/>
                      <a:pt x="166" y="37"/>
                    </a:cubicBezTo>
                    <a:cubicBezTo>
                      <a:pt x="166" y="37"/>
                      <a:pt x="166" y="37"/>
                      <a:pt x="166" y="37"/>
                    </a:cubicBezTo>
                    <a:cubicBezTo>
                      <a:pt x="164" y="37"/>
                      <a:pt x="163" y="37"/>
                      <a:pt x="162" y="37"/>
                    </a:cubicBezTo>
                    <a:cubicBezTo>
                      <a:pt x="162" y="37"/>
                      <a:pt x="162" y="37"/>
                      <a:pt x="162" y="37"/>
                    </a:cubicBezTo>
                    <a:cubicBezTo>
                      <a:pt x="161" y="37"/>
                      <a:pt x="159" y="37"/>
                      <a:pt x="158" y="36"/>
                    </a:cubicBezTo>
                    <a:cubicBezTo>
                      <a:pt x="157" y="36"/>
                      <a:pt x="157" y="36"/>
                      <a:pt x="157" y="36"/>
                    </a:cubicBezTo>
                    <a:cubicBezTo>
                      <a:pt x="157" y="36"/>
                      <a:pt x="155" y="35"/>
                      <a:pt x="154" y="35"/>
                    </a:cubicBezTo>
                    <a:cubicBezTo>
                      <a:pt x="152" y="34"/>
                      <a:pt x="152" y="34"/>
                      <a:pt x="152" y="34"/>
                    </a:cubicBezTo>
                    <a:cubicBezTo>
                      <a:pt x="151" y="33"/>
                      <a:pt x="150" y="33"/>
                      <a:pt x="150" y="33"/>
                    </a:cubicBezTo>
                    <a:cubicBezTo>
                      <a:pt x="148" y="32"/>
                      <a:pt x="148" y="32"/>
                      <a:pt x="148" y="32"/>
                    </a:cubicBezTo>
                    <a:cubicBezTo>
                      <a:pt x="147" y="32"/>
                      <a:pt x="147" y="32"/>
                      <a:pt x="147" y="32"/>
                    </a:cubicBezTo>
                    <a:cubicBezTo>
                      <a:pt x="145" y="36"/>
                      <a:pt x="143" y="39"/>
                      <a:pt x="140" y="40"/>
                    </a:cubicBezTo>
                    <a:cubicBezTo>
                      <a:pt x="139" y="41"/>
                      <a:pt x="138" y="41"/>
                      <a:pt x="136" y="41"/>
                    </a:cubicBezTo>
                    <a:cubicBezTo>
                      <a:pt x="135" y="41"/>
                      <a:pt x="135" y="41"/>
                      <a:pt x="134" y="41"/>
                    </a:cubicBezTo>
                    <a:cubicBezTo>
                      <a:pt x="134" y="41"/>
                      <a:pt x="133" y="41"/>
                      <a:pt x="133" y="41"/>
                    </a:cubicBezTo>
                    <a:cubicBezTo>
                      <a:pt x="117" y="57"/>
                      <a:pt x="117" y="57"/>
                      <a:pt x="117" y="57"/>
                    </a:cubicBezTo>
                    <a:cubicBezTo>
                      <a:pt x="117" y="57"/>
                      <a:pt x="117" y="57"/>
                      <a:pt x="117" y="57"/>
                    </a:cubicBezTo>
                    <a:cubicBezTo>
                      <a:pt x="117" y="58"/>
                      <a:pt x="117" y="59"/>
                      <a:pt x="117" y="59"/>
                    </a:cubicBezTo>
                    <a:cubicBezTo>
                      <a:pt x="117" y="63"/>
                      <a:pt x="117" y="67"/>
                      <a:pt x="113" y="70"/>
                    </a:cubicBezTo>
                    <a:cubicBezTo>
                      <a:pt x="112" y="70"/>
                      <a:pt x="112" y="70"/>
                      <a:pt x="112" y="70"/>
                    </a:cubicBezTo>
                    <a:cubicBezTo>
                      <a:pt x="109" y="73"/>
                      <a:pt x="107" y="75"/>
                      <a:pt x="102" y="77"/>
                    </a:cubicBezTo>
                    <a:cubicBezTo>
                      <a:pt x="100" y="78"/>
                      <a:pt x="97" y="79"/>
                      <a:pt x="94" y="80"/>
                    </a:cubicBezTo>
                    <a:cubicBezTo>
                      <a:pt x="91" y="81"/>
                      <a:pt x="91" y="81"/>
                      <a:pt x="91" y="81"/>
                    </a:cubicBezTo>
                    <a:cubicBezTo>
                      <a:pt x="88" y="82"/>
                      <a:pt x="86" y="83"/>
                      <a:pt x="84" y="84"/>
                    </a:cubicBezTo>
                    <a:cubicBezTo>
                      <a:pt x="82" y="84"/>
                      <a:pt x="80" y="85"/>
                      <a:pt x="78" y="85"/>
                    </a:cubicBezTo>
                    <a:cubicBezTo>
                      <a:pt x="77" y="86"/>
                      <a:pt x="77" y="86"/>
                      <a:pt x="77" y="86"/>
                    </a:cubicBezTo>
                    <a:cubicBezTo>
                      <a:pt x="77" y="86"/>
                      <a:pt x="77" y="86"/>
                      <a:pt x="77" y="86"/>
                    </a:cubicBezTo>
                    <a:cubicBezTo>
                      <a:pt x="78" y="89"/>
                      <a:pt x="76" y="92"/>
                      <a:pt x="74" y="94"/>
                    </a:cubicBezTo>
                    <a:cubicBezTo>
                      <a:pt x="73" y="95"/>
                      <a:pt x="73" y="95"/>
                      <a:pt x="73" y="95"/>
                    </a:cubicBezTo>
                    <a:cubicBezTo>
                      <a:pt x="72" y="97"/>
                      <a:pt x="69" y="100"/>
                      <a:pt x="66" y="102"/>
                    </a:cubicBezTo>
                    <a:cubicBezTo>
                      <a:pt x="66" y="102"/>
                      <a:pt x="66" y="102"/>
                      <a:pt x="66" y="102"/>
                    </a:cubicBezTo>
                    <a:cubicBezTo>
                      <a:pt x="66" y="102"/>
                      <a:pt x="66" y="102"/>
                      <a:pt x="66" y="102"/>
                    </a:cubicBezTo>
                    <a:cubicBezTo>
                      <a:pt x="65" y="102"/>
                      <a:pt x="64" y="103"/>
                      <a:pt x="63" y="103"/>
                    </a:cubicBezTo>
                    <a:cubicBezTo>
                      <a:pt x="62" y="103"/>
                      <a:pt x="61" y="103"/>
                      <a:pt x="60" y="103"/>
                    </a:cubicBezTo>
                    <a:cubicBezTo>
                      <a:pt x="58" y="103"/>
                      <a:pt x="58" y="103"/>
                      <a:pt x="58" y="103"/>
                    </a:cubicBezTo>
                    <a:cubicBezTo>
                      <a:pt x="56" y="104"/>
                      <a:pt x="54" y="104"/>
                      <a:pt x="53" y="105"/>
                    </a:cubicBezTo>
                    <a:cubicBezTo>
                      <a:pt x="52" y="106"/>
                      <a:pt x="52" y="106"/>
                      <a:pt x="52" y="106"/>
                    </a:cubicBezTo>
                    <a:cubicBezTo>
                      <a:pt x="52" y="107"/>
                      <a:pt x="51" y="108"/>
                      <a:pt x="49" y="108"/>
                    </a:cubicBezTo>
                    <a:cubicBezTo>
                      <a:pt x="48" y="108"/>
                      <a:pt x="48" y="108"/>
                      <a:pt x="48" y="108"/>
                    </a:cubicBezTo>
                    <a:cubicBezTo>
                      <a:pt x="47" y="108"/>
                      <a:pt x="45" y="107"/>
                      <a:pt x="43" y="105"/>
                    </a:cubicBezTo>
                    <a:cubicBezTo>
                      <a:pt x="42" y="104"/>
                      <a:pt x="42" y="104"/>
                      <a:pt x="41" y="103"/>
                    </a:cubicBezTo>
                    <a:cubicBezTo>
                      <a:pt x="41" y="103"/>
                      <a:pt x="40" y="102"/>
                      <a:pt x="40" y="102"/>
                    </a:cubicBezTo>
                    <a:cubicBezTo>
                      <a:pt x="39" y="101"/>
                      <a:pt x="39" y="101"/>
                      <a:pt x="39" y="101"/>
                    </a:cubicBezTo>
                    <a:cubicBezTo>
                      <a:pt x="39" y="101"/>
                      <a:pt x="39" y="101"/>
                      <a:pt x="39" y="101"/>
                    </a:cubicBezTo>
                    <a:cubicBezTo>
                      <a:pt x="38" y="100"/>
                      <a:pt x="38" y="100"/>
                      <a:pt x="38" y="100"/>
                    </a:cubicBezTo>
                    <a:cubicBezTo>
                      <a:pt x="36" y="99"/>
                      <a:pt x="35" y="98"/>
                      <a:pt x="34" y="98"/>
                    </a:cubicBezTo>
                    <a:cubicBezTo>
                      <a:pt x="33" y="98"/>
                      <a:pt x="33" y="98"/>
                      <a:pt x="33" y="98"/>
                    </a:cubicBezTo>
                    <a:cubicBezTo>
                      <a:pt x="33" y="97"/>
                      <a:pt x="32" y="97"/>
                      <a:pt x="31" y="97"/>
                    </a:cubicBezTo>
                    <a:cubicBezTo>
                      <a:pt x="29" y="97"/>
                      <a:pt x="28" y="97"/>
                      <a:pt x="27" y="96"/>
                    </a:cubicBezTo>
                    <a:cubicBezTo>
                      <a:pt x="25" y="96"/>
                      <a:pt x="25" y="96"/>
                      <a:pt x="25" y="96"/>
                    </a:cubicBezTo>
                    <a:cubicBezTo>
                      <a:pt x="24" y="96"/>
                      <a:pt x="24" y="96"/>
                      <a:pt x="24" y="96"/>
                    </a:cubicBezTo>
                    <a:cubicBezTo>
                      <a:pt x="20" y="100"/>
                      <a:pt x="20" y="100"/>
                      <a:pt x="20" y="100"/>
                    </a:cubicBezTo>
                    <a:cubicBezTo>
                      <a:pt x="18" y="107"/>
                      <a:pt x="18" y="107"/>
                      <a:pt x="18" y="107"/>
                    </a:cubicBezTo>
                    <a:cubicBezTo>
                      <a:pt x="18" y="108"/>
                      <a:pt x="17" y="109"/>
                      <a:pt x="17" y="111"/>
                    </a:cubicBezTo>
                    <a:cubicBezTo>
                      <a:pt x="17" y="114"/>
                      <a:pt x="17" y="114"/>
                      <a:pt x="17" y="114"/>
                    </a:cubicBezTo>
                    <a:cubicBezTo>
                      <a:pt x="16" y="114"/>
                      <a:pt x="16" y="114"/>
                      <a:pt x="16" y="114"/>
                    </a:cubicBezTo>
                    <a:cubicBezTo>
                      <a:pt x="16" y="115"/>
                      <a:pt x="16" y="115"/>
                      <a:pt x="16" y="115"/>
                    </a:cubicBezTo>
                    <a:cubicBezTo>
                      <a:pt x="15" y="118"/>
                      <a:pt x="15" y="119"/>
                      <a:pt x="12" y="122"/>
                    </a:cubicBezTo>
                    <a:cubicBezTo>
                      <a:pt x="10" y="123"/>
                      <a:pt x="10" y="123"/>
                      <a:pt x="10" y="123"/>
                    </a:cubicBezTo>
                    <a:cubicBezTo>
                      <a:pt x="9" y="124"/>
                      <a:pt x="8" y="125"/>
                      <a:pt x="8" y="125"/>
                    </a:cubicBezTo>
                    <a:cubicBezTo>
                      <a:pt x="8" y="126"/>
                      <a:pt x="9" y="127"/>
                      <a:pt x="10" y="128"/>
                    </a:cubicBezTo>
                    <a:cubicBezTo>
                      <a:pt x="12" y="130"/>
                      <a:pt x="12" y="130"/>
                      <a:pt x="12" y="130"/>
                    </a:cubicBezTo>
                    <a:cubicBezTo>
                      <a:pt x="0" y="141"/>
                      <a:pt x="0" y="141"/>
                      <a:pt x="0" y="141"/>
                    </a:cubicBezTo>
                    <a:cubicBezTo>
                      <a:pt x="0" y="142"/>
                      <a:pt x="0" y="144"/>
                      <a:pt x="0" y="146"/>
                    </a:cubicBezTo>
                    <a:cubicBezTo>
                      <a:pt x="0" y="147"/>
                      <a:pt x="0" y="149"/>
                      <a:pt x="0" y="150"/>
                    </a:cubicBezTo>
                    <a:cubicBezTo>
                      <a:pt x="1" y="151"/>
                      <a:pt x="1" y="151"/>
                      <a:pt x="1" y="151"/>
                    </a:cubicBezTo>
                    <a:cubicBezTo>
                      <a:pt x="1" y="151"/>
                      <a:pt x="1" y="152"/>
                      <a:pt x="1" y="152"/>
                    </a:cubicBezTo>
                    <a:cubicBezTo>
                      <a:pt x="1" y="152"/>
                      <a:pt x="1" y="152"/>
                      <a:pt x="3" y="153"/>
                    </a:cubicBezTo>
                    <a:cubicBezTo>
                      <a:pt x="4" y="153"/>
                      <a:pt x="4" y="153"/>
                      <a:pt x="4" y="153"/>
                    </a:cubicBezTo>
                    <a:cubicBezTo>
                      <a:pt x="5" y="153"/>
                      <a:pt x="6" y="153"/>
                      <a:pt x="6" y="153"/>
                    </a:cubicBezTo>
                    <a:cubicBezTo>
                      <a:pt x="7" y="153"/>
                      <a:pt x="7" y="153"/>
                      <a:pt x="7" y="153"/>
                    </a:cubicBezTo>
                    <a:cubicBezTo>
                      <a:pt x="8" y="154"/>
                      <a:pt x="9" y="154"/>
                      <a:pt x="10" y="154"/>
                    </a:cubicBezTo>
                    <a:cubicBezTo>
                      <a:pt x="15" y="156"/>
                      <a:pt x="15" y="156"/>
                      <a:pt x="15" y="156"/>
                    </a:cubicBezTo>
                    <a:cubicBezTo>
                      <a:pt x="12" y="160"/>
                      <a:pt x="12" y="160"/>
                      <a:pt x="12" y="160"/>
                    </a:cubicBezTo>
                    <a:cubicBezTo>
                      <a:pt x="11" y="160"/>
                      <a:pt x="10" y="161"/>
                      <a:pt x="9" y="162"/>
                    </a:cubicBezTo>
                    <a:cubicBezTo>
                      <a:pt x="9" y="163"/>
                      <a:pt x="9" y="163"/>
                      <a:pt x="9" y="163"/>
                    </a:cubicBezTo>
                    <a:cubicBezTo>
                      <a:pt x="5" y="166"/>
                      <a:pt x="3" y="168"/>
                      <a:pt x="3" y="169"/>
                    </a:cubicBezTo>
                    <a:cubicBezTo>
                      <a:pt x="8" y="188"/>
                      <a:pt x="8" y="188"/>
                      <a:pt x="8" y="188"/>
                    </a:cubicBezTo>
                    <a:cubicBezTo>
                      <a:pt x="8" y="189"/>
                      <a:pt x="8" y="189"/>
                      <a:pt x="8" y="190"/>
                    </a:cubicBezTo>
                    <a:cubicBezTo>
                      <a:pt x="9" y="193"/>
                      <a:pt x="9" y="193"/>
                      <a:pt x="9" y="193"/>
                    </a:cubicBezTo>
                    <a:cubicBezTo>
                      <a:pt x="10" y="194"/>
                      <a:pt x="10" y="195"/>
                      <a:pt x="10" y="196"/>
                    </a:cubicBezTo>
                    <a:cubicBezTo>
                      <a:pt x="10" y="199"/>
                      <a:pt x="10" y="201"/>
                      <a:pt x="9" y="203"/>
                    </a:cubicBezTo>
                    <a:cubicBezTo>
                      <a:pt x="9" y="204"/>
                      <a:pt x="9" y="206"/>
                      <a:pt x="9" y="208"/>
                    </a:cubicBezTo>
                    <a:cubicBezTo>
                      <a:pt x="9" y="208"/>
                      <a:pt x="9" y="208"/>
                      <a:pt x="9" y="208"/>
                    </a:cubicBezTo>
                    <a:cubicBezTo>
                      <a:pt x="9" y="209"/>
                      <a:pt x="9" y="210"/>
                      <a:pt x="9" y="210"/>
                    </a:cubicBezTo>
                    <a:cubicBezTo>
                      <a:pt x="9" y="211"/>
                      <a:pt x="9" y="211"/>
                      <a:pt x="9" y="211"/>
                    </a:cubicBezTo>
                    <a:cubicBezTo>
                      <a:pt x="15" y="211"/>
                      <a:pt x="15" y="211"/>
                      <a:pt x="15" y="211"/>
                    </a:cubicBezTo>
                    <a:cubicBezTo>
                      <a:pt x="10" y="213"/>
                      <a:pt x="10" y="213"/>
                      <a:pt x="10" y="213"/>
                    </a:cubicBezTo>
                    <a:cubicBezTo>
                      <a:pt x="10" y="213"/>
                      <a:pt x="10" y="213"/>
                      <a:pt x="10" y="213"/>
                    </a:cubicBezTo>
                    <a:cubicBezTo>
                      <a:pt x="10" y="214"/>
                      <a:pt x="10" y="215"/>
                      <a:pt x="10" y="216"/>
                    </a:cubicBezTo>
                    <a:cubicBezTo>
                      <a:pt x="9" y="217"/>
                      <a:pt x="9" y="218"/>
                      <a:pt x="9" y="218"/>
                    </a:cubicBezTo>
                    <a:cubicBezTo>
                      <a:pt x="10" y="218"/>
                      <a:pt x="10" y="218"/>
                      <a:pt x="11" y="218"/>
                    </a:cubicBezTo>
                    <a:cubicBezTo>
                      <a:pt x="26" y="220"/>
                      <a:pt x="26" y="220"/>
                      <a:pt x="26" y="220"/>
                    </a:cubicBezTo>
                    <a:cubicBezTo>
                      <a:pt x="29" y="221"/>
                      <a:pt x="31" y="223"/>
                      <a:pt x="32" y="224"/>
                    </a:cubicBezTo>
                    <a:cubicBezTo>
                      <a:pt x="35" y="228"/>
                      <a:pt x="35" y="228"/>
                      <a:pt x="35" y="228"/>
                    </a:cubicBezTo>
                    <a:cubicBezTo>
                      <a:pt x="35" y="229"/>
                      <a:pt x="35" y="229"/>
                      <a:pt x="36" y="230"/>
                    </a:cubicBezTo>
                    <a:cubicBezTo>
                      <a:pt x="37" y="231"/>
                      <a:pt x="37" y="233"/>
                      <a:pt x="38" y="234"/>
                    </a:cubicBezTo>
                    <a:cubicBezTo>
                      <a:pt x="38" y="237"/>
                      <a:pt x="38" y="241"/>
                      <a:pt x="35" y="244"/>
                    </a:cubicBezTo>
                    <a:cubicBezTo>
                      <a:pt x="34" y="247"/>
                      <a:pt x="31" y="250"/>
                      <a:pt x="30" y="252"/>
                    </a:cubicBezTo>
                    <a:cubicBezTo>
                      <a:pt x="29" y="252"/>
                      <a:pt x="28" y="253"/>
                      <a:pt x="27" y="254"/>
                    </a:cubicBezTo>
                    <a:cubicBezTo>
                      <a:pt x="24" y="258"/>
                      <a:pt x="24" y="258"/>
                      <a:pt x="24" y="258"/>
                    </a:cubicBezTo>
                    <a:cubicBezTo>
                      <a:pt x="23" y="260"/>
                      <a:pt x="21" y="261"/>
                      <a:pt x="19" y="263"/>
                    </a:cubicBezTo>
                    <a:cubicBezTo>
                      <a:pt x="13" y="270"/>
                      <a:pt x="13" y="270"/>
                      <a:pt x="13" y="270"/>
                    </a:cubicBezTo>
                    <a:cubicBezTo>
                      <a:pt x="57" y="283"/>
                      <a:pt x="57" y="283"/>
                      <a:pt x="57" y="283"/>
                    </a:cubicBezTo>
                    <a:cubicBezTo>
                      <a:pt x="57" y="283"/>
                      <a:pt x="58" y="283"/>
                      <a:pt x="58" y="283"/>
                    </a:cubicBezTo>
                    <a:cubicBezTo>
                      <a:pt x="59" y="283"/>
                      <a:pt x="59" y="283"/>
                      <a:pt x="59" y="283"/>
                    </a:cubicBezTo>
                    <a:cubicBezTo>
                      <a:pt x="60" y="283"/>
                      <a:pt x="61" y="282"/>
                      <a:pt x="62" y="282"/>
                    </a:cubicBezTo>
                    <a:cubicBezTo>
                      <a:pt x="62" y="282"/>
                      <a:pt x="62" y="282"/>
                      <a:pt x="62" y="282"/>
                    </a:cubicBezTo>
                    <a:cubicBezTo>
                      <a:pt x="63" y="282"/>
                      <a:pt x="65" y="282"/>
                      <a:pt x="65" y="282"/>
                    </a:cubicBezTo>
                    <a:cubicBezTo>
                      <a:pt x="71" y="281"/>
                      <a:pt x="71" y="281"/>
                      <a:pt x="71" y="281"/>
                    </a:cubicBezTo>
                    <a:cubicBezTo>
                      <a:pt x="71" y="281"/>
                      <a:pt x="71" y="281"/>
                      <a:pt x="71" y="281"/>
                    </a:cubicBezTo>
                    <a:cubicBezTo>
                      <a:pt x="83" y="281"/>
                      <a:pt x="83" y="281"/>
                      <a:pt x="83" y="281"/>
                    </a:cubicBezTo>
                    <a:cubicBezTo>
                      <a:pt x="84" y="281"/>
                      <a:pt x="84" y="281"/>
                      <a:pt x="85" y="281"/>
                    </a:cubicBezTo>
                    <a:cubicBezTo>
                      <a:pt x="85" y="281"/>
                      <a:pt x="86" y="281"/>
                      <a:pt x="87" y="281"/>
                    </a:cubicBezTo>
                    <a:cubicBezTo>
                      <a:pt x="87" y="281"/>
                      <a:pt x="87" y="281"/>
                      <a:pt x="87" y="281"/>
                    </a:cubicBezTo>
                    <a:cubicBezTo>
                      <a:pt x="88" y="281"/>
                      <a:pt x="88" y="281"/>
                      <a:pt x="88" y="281"/>
                    </a:cubicBezTo>
                    <a:cubicBezTo>
                      <a:pt x="89" y="281"/>
                      <a:pt x="89" y="281"/>
                      <a:pt x="89" y="281"/>
                    </a:cubicBezTo>
                    <a:cubicBezTo>
                      <a:pt x="90" y="281"/>
                      <a:pt x="91" y="282"/>
                      <a:pt x="93" y="282"/>
                    </a:cubicBezTo>
                    <a:cubicBezTo>
                      <a:pt x="93" y="282"/>
                      <a:pt x="93" y="282"/>
                      <a:pt x="94" y="282"/>
                    </a:cubicBezTo>
                    <a:cubicBezTo>
                      <a:pt x="95" y="282"/>
                      <a:pt x="95" y="282"/>
                      <a:pt x="95" y="282"/>
                    </a:cubicBezTo>
                    <a:cubicBezTo>
                      <a:pt x="96" y="282"/>
                      <a:pt x="97" y="283"/>
                      <a:pt x="97" y="283"/>
                    </a:cubicBezTo>
                    <a:cubicBezTo>
                      <a:pt x="98" y="283"/>
                      <a:pt x="98" y="283"/>
                      <a:pt x="98" y="283"/>
                    </a:cubicBezTo>
                    <a:cubicBezTo>
                      <a:pt x="99" y="283"/>
                      <a:pt x="101" y="282"/>
                      <a:pt x="103" y="281"/>
                    </a:cubicBezTo>
                    <a:cubicBezTo>
                      <a:pt x="104" y="280"/>
                      <a:pt x="105" y="279"/>
                      <a:pt x="106" y="279"/>
                    </a:cubicBezTo>
                    <a:cubicBezTo>
                      <a:pt x="107" y="278"/>
                      <a:pt x="108" y="278"/>
                      <a:pt x="109" y="278"/>
                    </a:cubicBezTo>
                    <a:cubicBezTo>
                      <a:pt x="114" y="277"/>
                      <a:pt x="118" y="276"/>
                      <a:pt x="121" y="276"/>
                    </a:cubicBezTo>
                    <a:cubicBezTo>
                      <a:pt x="124" y="276"/>
                      <a:pt x="127" y="276"/>
                      <a:pt x="130" y="275"/>
                    </a:cubicBezTo>
                    <a:cubicBezTo>
                      <a:pt x="136" y="275"/>
                      <a:pt x="136" y="275"/>
                      <a:pt x="136" y="275"/>
                    </a:cubicBezTo>
                    <a:cubicBezTo>
                      <a:pt x="136" y="275"/>
                      <a:pt x="137" y="275"/>
                      <a:pt x="137" y="275"/>
                    </a:cubicBezTo>
                    <a:cubicBezTo>
                      <a:pt x="140" y="275"/>
                      <a:pt x="143" y="274"/>
                      <a:pt x="146" y="273"/>
                    </a:cubicBezTo>
                    <a:cubicBezTo>
                      <a:pt x="148" y="272"/>
                      <a:pt x="151" y="272"/>
                      <a:pt x="153" y="271"/>
                    </a:cubicBezTo>
                    <a:cubicBezTo>
                      <a:pt x="156" y="270"/>
                      <a:pt x="156" y="270"/>
                      <a:pt x="156" y="270"/>
                    </a:cubicBezTo>
                    <a:cubicBezTo>
                      <a:pt x="157" y="270"/>
                      <a:pt x="157" y="270"/>
                      <a:pt x="158" y="270"/>
                    </a:cubicBezTo>
                    <a:cubicBezTo>
                      <a:pt x="158" y="269"/>
                      <a:pt x="158" y="269"/>
                      <a:pt x="158" y="269"/>
                    </a:cubicBezTo>
                    <a:cubicBezTo>
                      <a:pt x="156" y="267"/>
                      <a:pt x="157" y="264"/>
                      <a:pt x="157" y="262"/>
                    </a:cubicBezTo>
                    <a:cubicBezTo>
                      <a:pt x="157" y="262"/>
                      <a:pt x="157" y="262"/>
                      <a:pt x="157" y="262"/>
                    </a:cubicBezTo>
                    <a:cubicBezTo>
                      <a:pt x="158" y="260"/>
                      <a:pt x="158" y="259"/>
                      <a:pt x="158" y="257"/>
                    </a:cubicBezTo>
                    <a:cubicBezTo>
                      <a:pt x="158" y="256"/>
                      <a:pt x="158" y="255"/>
                      <a:pt x="158" y="255"/>
                    </a:cubicBezTo>
                    <a:cubicBezTo>
                      <a:pt x="158" y="251"/>
                      <a:pt x="159" y="247"/>
                      <a:pt x="160" y="244"/>
                    </a:cubicBezTo>
                    <a:cubicBezTo>
                      <a:pt x="160" y="241"/>
                      <a:pt x="160" y="241"/>
                      <a:pt x="160" y="241"/>
                    </a:cubicBezTo>
                    <a:cubicBezTo>
                      <a:pt x="161" y="240"/>
                      <a:pt x="161" y="240"/>
                      <a:pt x="161" y="239"/>
                    </a:cubicBezTo>
                    <a:cubicBezTo>
                      <a:pt x="162" y="238"/>
                      <a:pt x="162" y="236"/>
                      <a:pt x="163" y="236"/>
                    </a:cubicBezTo>
                    <a:cubicBezTo>
                      <a:pt x="164" y="235"/>
                      <a:pt x="164" y="235"/>
                      <a:pt x="164" y="235"/>
                    </a:cubicBezTo>
                    <a:cubicBezTo>
                      <a:pt x="165" y="234"/>
                      <a:pt x="166" y="232"/>
                      <a:pt x="168" y="231"/>
                    </a:cubicBezTo>
                    <a:cubicBezTo>
                      <a:pt x="170" y="229"/>
                      <a:pt x="171" y="229"/>
                      <a:pt x="172" y="228"/>
                    </a:cubicBezTo>
                    <a:cubicBezTo>
                      <a:pt x="173" y="227"/>
                      <a:pt x="173" y="227"/>
                      <a:pt x="173" y="227"/>
                    </a:cubicBezTo>
                    <a:cubicBezTo>
                      <a:pt x="173" y="227"/>
                      <a:pt x="174" y="227"/>
                      <a:pt x="174" y="226"/>
                    </a:cubicBezTo>
                    <a:cubicBezTo>
                      <a:pt x="170" y="224"/>
                      <a:pt x="170" y="224"/>
                      <a:pt x="170" y="224"/>
                    </a:cubicBezTo>
                    <a:cubicBezTo>
                      <a:pt x="175" y="226"/>
                      <a:pt x="175" y="226"/>
                      <a:pt x="175" y="226"/>
                    </a:cubicBezTo>
                    <a:cubicBezTo>
                      <a:pt x="175" y="225"/>
                      <a:pt x="175" y="225"/>
                      <a:pt x="175" y="225"/>
                    </a:cubicBezTo>
                    <a:cubicBezTo>
                      <a:pt x="177" y="225"/>
                      <a:pt x="179" y="224"/>
                      <a:pt x="180" y="224"/>
                    </a:cubicBezTo>
                    <a:cubicBezTo>
                      <a:pt x="181" y="224"/>
                      <a:pt x="181" y="224"/>
                      <a:pt x="181" y="224"/>
                    </a:cubicBezTo>
                    <a:cubicBezTo>
                      <a:pt x="182" y="224"/>
                      <a:pt x="182" y="224"/>
                      <a:pt x="183" y="224"/>
                    </a:cubicBezTo>
                    <a:cubicBezTo>
                      <a:pt x="185" y="225"/>
                      <a:pt x="185" y="225"/>
                      <a:pt x="185" y="225"/>
                    </a:cubicBezTo>
                    <a:cubicBezTo>
                      <a:pt x="186" y="225"/>
                      <a:pt x="187" y="225"/>
                      <a:pt x="188" y="225"/>
                    </a:cubicBezTo>
                    <a:cubicBezTo>
                      <a:pt x="188" y="226"/>
                      <a:pt x="188" y="226"/>
                      <a:pt x="188" y="226"/>
                    </a:cubicBezTo>
                    <a:cubicBezTo>
                      <a:pt x="189" y="226"/>
                      <a:pt x="189" y="226"/>
                      <a:pt x="189" y="226"/>
                    </a:cubicBezTo>
                    <a:cubicBezTo>
                      <a:pt x="190" y="226"/>
                      <a:pt x="191" y="226"/>
                      <a:pt x="191" y="226"/>
                    </a:cubicBezTo>
                    <a:cubicBezTo>
                      <a:pt x="192" y="226"/>
                      <a:pt x="192" y="226"/>
                      <a:pt x="192" y="226"/>
                    </a:cubicBezTo>
                    <a:cubicBezTo>
                      <a:pt x="193" y="226"/>
                      <a:pt x="193" y="226"/>
                      <a:pt x="193" y="226"/>
                    </a:cubicBezTo>
                    <a:cubicBezTo>
                      <a:pt x="195" y="226"/>
                      <a:pt x="196" y="225"/>
                      <a:pt x="198" y="224"/>
                    </a:cubicBezTo>
                    <a:cubicBezTo>
                      <a:pt x="189" y="217"/>
                      <a:pt x="189" y="217"/>
                      <a:pt x="189" y="217"/>
                    </a:cubicBezTo>
                    <a:cubicBezTo>
                      <a:pt x="198" y="217"/>
                      <a:pt x="198" y="217"/>
                      <a:pt x="198" y="217"/>
                    </a:cubicBezTo>
                    <a:cubicBezTo>
                      <a:pt x="202" y="216"/>
                      <a:pt x="203" y="216"/>
                      <a:pt x="207" y="213"/>
                    </a:cubicBezTo>
                    <a:cubicBezTo>
                      <a:pt x="207" y="213"/>
                      <a:pt x="207" y="213"/>
                      <a:pt x="207" y="213"/>
                    </a:cubicBezTo>
                    <a:cubicBezTo>
                      <a:pt x="208" y="212"/>
                      <a:pt x="208" y="212"/>
                      <a:pt x="208" y="212"/>
                    </a:cubicBezTo>
                    <a:cubicBezTo>
                      <a:pt x="210" y="211"/>
                      <a:pt x="211" y="211"/>
                      <a:pt x="212" y="210"/>
                    </a:cubicBezTo>
                    <a:cubicBezTo>
                      <a:pt x="213" y="210"/>
                      <a:pt x="213" y="210"/>
                      <a:pt x="214" y="210"/>
                    </a:cubicBezTo>
                    <a:cubicBezTo>
                      <a:pt x="215" y="209"/>
                      <a:pt x="216" y="209"/>
                      <a:pt x="216" y="209"/>
                    </a:cubicBezTo>
                    <a:cubicBezTo>
                      <a:pt x="217" y="209"/>
                      <a:pt x="218" y="209"/>
                      <a:pt x="218" y="208"/>
                    </a:cubicBezTo>
                    <a:cubicBezTo>
                      <a:pt x="219" y="208"/>
                      <a:pt x="219" y="208"/>
                      <a:pt x="219" y="208"/>
                    </a:cubicBezTo>
                    <a:cubicBezTo>
                      <a:pt x="220" y="208"/>
                      <a:pt x="221" y="208"/>
                      <a:pt x="223" y="208"/>
                    </a:cubicBezTo>
                    <a:cubicBezTo>
                      <a:pt x="223" y="208"/>
                      <a:pt x="223" y="207"/>
                      <a:pt x="224" y="207"/>
                    </a:cubicBezTo>
                    <a:cubicBezTo>
                      <a:pt x="224" y="207"/>
                      <a:pt x="225" y="208"/>
                      <a:pt x="226" y="208"/>
                    </a:cubicBezTo>
                    <a:cubicBezTo>
                      <a:pt x="226" y="208"/>
                      <a:pt x="226" y="208"/>
                      <a:pt x="226" y="208"/>
                    </a:cubicBezTo>
                    <a:cubicBezTo>
                      <a:pt x="227" y="208"/>
                      <a:pt x="228" y="208"/>
                      <a:pt x="229" y="209"/>
                    </a:cubicBezTo>
                    <a:cubicBezTo>
                      <a:pt x="230" y="209"/>
                      <a:pt x="230" y="209"/>
                      <a:pt x="230" y="209"/>
                    </a:cubicBezTo>
                    <a:cubicBezTo>
                      <a:pt x="230" y="210"/>
                      <a:pt x="231" y="211"/>
                      <a:pt x="233" y="212"/>
                    </a:cubicBezTo>
                    <a:cubicBezTo>
                      <a:pt x="233" y="212"/>
                      <a:pt x="233" y="212"/>
                      <a:pt x="233" y="212"/>
                    </a:cubicBezTo>
                    <a:cubicBezTo>
                      <a:pt x="234" y="213"/>
                      <a:pt x="235" y="213"/>
                      <a:pt x="235" y="213"/>
                    </a:cubicBezTo>
                    <a:cubicBezTo>
                      <a:pt x="235" y="213"/>
                      <a:pt x="235" y="213"/>
                      <a:pt x="235" y="213"/>
                    </a:cubicBezTo>
                    <a:cubicBezTo>
                      <a:pt x="237" y="211"/>
                      <a:pt x="237" y="211"/>
                      <a:pt x="237" y="211"/>
                    </a:cubicBezTo>
                    <a:cubicBezTo>
                      <a:pt x="239" y="209"/>
                      <a:pt x="241" y="208"/>
                      <a:pt x="243" y="206"/>
                    </a:cubicBezTo>
                    <a:cubicBezTo>
                      <a:pt x="244" y="205"/>
                      <a:pt x="244" y="205"/>
                      <a:pt x="244" y="205"/>
                    </a:cubicBezTo>
                    <a:cubicBezTo>
                      <a:pt x="243" y="196"/>
                      <a:pt x="243" y="196"/>
                      <a:pt x="243" y="196"/>
                    </a:cubicBezTo>
                    <a:cubicBezTo>
                      <a:pt x="243" y="196"/>
                      <a:pt x="243" y="196"/>
                      <a:pt x="243" y="196"/>
                    </a:cubicBezTo>
                    <a:cubicBezTo>
                      <a:pt x="242" y="191"/>
                      <a:pt x="242" y="191"/>
                      <a:pt x="242" y="191"/>
                    </a:cubicBezTo>
                    <a:cubicBezTo>
                      <a:pt x="242" y="189"/>
                      <a:pt x="243" y="188"/>
                      <a:pt x="243" y="188"/>
                    </a:cubicBezTo>
                    <a:cubicBezTo>
                      <a:pt x="243" y="188"/>
                      <a:pt x="243" y="187"/>
                      <a:pt x="244" y="187"/>
                    </a:cubicBezTo>
                    <a:cubicBezTo>
                      <a:pt x="245" y="186"/>
                      <a:pt x="245" y="186"/>
                      <a:pt x="246" y="185"/>
                    </a:cubicBezTo>
                    <a:cubicBezTo>
                      <a:pt x="247" y="184"/>
                      <a:pt x="247" y="184"/>
                      <a:pt x="247" y="184"/>
                    </a:cubicBezTo>
                    <a:cubicBezTo>
                      <a:pt x="247" y="184"/>
                      <a:pt x="247" y="183"/>
                      <a:pt x="247" y="183"/>
                    </a:cubicBezTo>
                    <a:cubicBezTo>
                      <a:pt x="247" y="182"/>
                      <a:pt x="247" y="182"/>
                      <a:pt x="247" y="182"/>
                    </a:cubicBezTo>
                    <a:cubicBezTo>
                      <a:pt x="248" y="181"/>
                      <a:pt x="248" y="180"/>
                      <a:pt x="248" y="179"/>
                    </a:cubicBezTo>
                    <a:cubicBezTo>
                      <a:pt x="249" y="176"/>
                      <a:pt x="249" y="172"/>
                      <a:pt x="251" y="170"/>
                    </a:cubicBezTo>
                    <a:cubicBezTo>
                      <a:pt x="252" y="169"/>
                      <a:pt x="252" y="169"/>
                      <a:pt x="252" y="169"/>
                    </a:cubicBezTo>
                    <a:cubicBezTo>
                      <a:pt x="253" y="168"/>
                      <a:pt x="254" y="168"/>
                      <a:pt x="255" y="168"/>
                    </a:cubicBezTo>
                    <a:cubicBezTo>
                      <a:pt x="255" y="168"/>
                      <a:pt x="255" y="168"/>
                      <a:pt x="255" y="168"/>
                    </a:cubicBezTo>
                    <a:cubicBezTo>
                      <a:pt x="256" y="168"/>
                      <a:pt x="257" y="168"/>
                      <a:pt x="258" y="168"/>
                    </a:cubicBezTo>
                    <a:cubicBezTo>
                      <a:pt x="259" y="168"/>
                      <a:pt x="259" y="168"/>
                      <a:pt x="259" y="168"/>
                    </a:cubicBezTo>
                    <a:cubicBezTo>
                      <a:pt x="260" y="168"/>
                      <a:pt x="261" y="168"/>
                      <a:pt x="262" y="167"/>
                    </a:cubicBezTo>
                    <a:cubicBezTo>
                      <a:pt x="263" y="167"/>
                      <a:pt x="263" y="167"/>
                      <a:pt x="263" y="167"/>
                    </a:cubicBezTo>
                    <a:cubicBezTo>
                      <a:pt x="265" y="167"/>
                      <a:pt x="270" y="164"/>
                      <a:pt x="271" y="162"/>
                    </a:cubicBezTo>
                    <a:cubicBezTo>
                      <a:pt x="271" y="162"/>
                      <a:pt x="271" y="162"/>
                      <a:pt x="271" y="162"/>
                    </a:cubicBezTo>
                    <a:cubicBezTo>
                      <a:pt x="271" y="161"/>
                      <a:pt x="270" y="160"/>
                      <a:pt x="268" y="157"/>
                    </a:cubicBezTo>
                    <a:cubicBezTo>
                      <a:pt x="265" y="153"/>
                      <a:pt x="265" y="153"/>
                      <a:pt x="265" y="153"/>
                    </a:cubicBezTo>
                    <a:cubicBezTo>
                      <a:pt x="265" y="152"/>
                      <a:pt x="265" y="152"/>
                      <a:pt x="265" y="152"/>
                    </a:cubicBezTo>
                    <a:cubicBezTo>
                      <a:pt x="265" y="152"/>
                      <a:pt x="265" y="152"/>
                      <a:pt x="265" y="152"/>
                    </a:cubicBezTo>
                    <a:cubicBezTo>
                      <a:pt x="264" y="151"/>
                      <a:pt x="264" y="151"/>
                      <a:pt x="264" y="151"/>
                    </a:cubicBezTo>
                    <a:cubicBezTo>
                      <a:pt x="261" y="147"/>
                      <a:pt x="261" y="147"/>
                      <a:pt x="261" y="147"/>
                    </a:cubicBezTo>
                    <a:cubicBezTo>
                      <a:pt x="259" y="143"/>
                      <a:pt x="260" y="140"/>
                      <a:pt x="262" y="139"/>
                    </a:cubicBezTo>
                    <a:cubicBezTo>
                      <a:pt x="262" y="138"/>
                      <a:pt x="262" y="138"/>
                      <a:pt x="262" y="138"/>
                    </a:cubicBezTo>
                    <a:cubicBezTo>
                      <a:pt x="264" y="138"/>
                      <a:pt x="265" y="137"/>
                      <a:pt x="267" y="137"/>
                    </a:cubicBezTo>
                    <a:cubicBezTo>
                      <a:pt x="269" y="137"/>
                      <a:pt x="273" y="138"/>
                      <a:pt x="277" y="139"/>
                    </a:cubicBezTo>
                    <a:cubicBezTo>
                      <a:pt x="278" y="139"/>
                      <a:pt x="278" y="139"/>
                      <a:pt x="278" y="139"/>
                    </a:cubicBezTo>
                    <a:cubicBezTo>
                      <a:pt x="278" y="139"/>
                      <a:pt x="279" y="140"/>
                      <a:pt x="280" y="140"/>
                    </a:cubicBezTo>
                    <a:cubicBezTo>
                      <a:pt x="281" y="140"/>
                      <a:pt x="281" y="140"/>
                      <a:pt x="281" y="140"/>
                    </a:cubicBezTo>
                    <a:cubicBezTo>
                      <a:pt x="281" y="140"/>
                      <a:pt x="282" y="140"/>
                      <a:pt x="283" y="140"/>
                    </a:cubicBezTo>
                    <a:cubicBezTo>
                      <a:pt x="283" y="140"/>
                      <a:pt x="284" y="140"/>
                      <a:pt x="285" y="140"/>
                    </a:cubicBezTo>
                    <a:cubicBezTo>
                      <a:pt x="287" y="140"/>
                      <a:pt x="290" y="139"/>
                      <a:pt x="292" y="138"/>
                    </a:cubicBezTo>
                    <a:cubicBezTo>
                      <a:pt x="293" y="137"/>
                      <a:pt x="294" y="136"/>
                      <a:pt x="294" y="135"/>
                    </a:cubicBezTo>
                    <a:cubicBezTo>
                      <a:pt x="295" y="135"/>
                      <a:pt x="295" y="135"/>
                      <a:pt x="295" y="135"/>
                    </a:cubicBezTo>
                    <a:cubicBezTo>
                      <a:pt x="295" y="134"/>
                      <a:pt x="295" y="134"/>
                      <a:pt x="295" y="134"/>
                    </a:cubicBezTo>
                    <a:cubicBezTo>
                      <a:pt x="295" y="134"/>
                      <a:pt x="295" y="133"/>
                      <a:pt x="295" y="133"/>
                    </a:cubicBezTo>
                    <a:cubicBezTo>
                      <a:pt x="295" y="133"/>
                      <a:pt x="295" y="133"/>
                      <a:pt x="295" y="133"/>
                    </a:cubicBezTo>
                    <a:cubicBezTo>
                      <a:pt x="294" y="132"/>
                      <a:pt x="293" y="131"/>
                      <a:pt x="293" y="129"/>
                    </a:cubicBezTo>
                    <a:cubicBezTo>
                      <a:pt x="291" y="126"/>
                      <a:pt x="291" y="122"/>
                      <a:pt x="294" y="120"/>
                    </a:cubicBezTo>
                    <a:cubicBezTo>
                      <a:pt x="294" y="119"/>
                      <a:pt x="295" y="118"/>
                      <a:pt x="297" y="117"/>
                    </a:cubicBezTo>
                    <a:cubicBezTo>
                      <a:pt x="298" y="116"/>
                      <a:pt x="298" y="116"/>
                      <a:pt x="299" y="115"/>
                    </a:cubicBezTo>
                    <a:cubicBezTo>
                      <a:pt x="299" y="114"/>
                      <a:pt x="300" y="112"/>
                      <a:pt x="302" y="111"/>
                    </a:cubicBezTo>
                    <a:cubicBezTo>
                      <a:pt x="303" y="110"/>
                      <a:pt x="304" y="109"/>
                      <a:pt x="306" y="109"/>
                    </a:cubicBezTo>
                    <a:cubicBezTo>
                      <a:pt x="306" y="108"/>
                      <a:pt x="306" y="108"/>
                      <a:pt x="306" y="108"/>
                    </a:cubicBezTo>
                    <a:cubicBezTo>
                      <a:pt x="306" y="108"/>
                      <a:pt x="306" y="108"/>
                      <a:pt x="307" y="107"/>
                    </a:cubicBezTo>
                    <a:cubicBezTo>
                      <a:pt x="307" y="105"/>
                      <a:pt x="308" y="104"/>
                      <a:pt x="309" y="103"/>
                    </a:cubicBezTo>
                    <a:cubicBezTo>
                      <a:pt x="309" y="103"/>
                      <a:pt x="309" y="102"/>
                      <a:pt x="308" y="101"/>
                    </a:cubicBezTo>
                    <a:cubicBezTo>
                      <a:pt x="308" y="101"/>
                      <a:pt x="308" y="101"/>
                      <a:pt x="308" y="101"/>
                    </a:cubicBezTo>
                    <a:cubicBezTo>
                      <a:pt x="308" y="99"/>
                      <a:pt x="308" y="98"/>
                      <a:pt x="308" y="97"/>
                    </a:cubicBezTo>
                    <a:cubicBezTo>
                      <a:pt x="308" y="96"/>
                      <a:pt x="308" y="94"/>
                      <a:pt x="308" y="94"/>
                    </a:cubicBezTo>
                    <a:cubicBezTo>
                      <a:pt x="307" y="91"/>
                      <a:pt x="307" y="91"/>
                      <a:pt x="307" y="91"/>
                    </a:cubicBezTo>
                    <a:cubicBezTo>
                      <a:pt x="307" y="91"/>
                      <a:pt x="307" y="91"/>
                      <a:pt x="307" y="91"/>
                    </a:cubicBezTo>
                    <a:cubicBezTo>
                      <a:pt x="307" y="91"/>
                      <a:pt x="307" y="91"/>
                      <a:pt x="307" y="91"/>
                    </a:cubicBezTo>
                    <a:cubicBezTo>
                      <a:pt x="306" y="89"/>
                      <a:pt x="306" y="89"/>
                      <a:pt x="306" y="89"/>
                    </a:cubicBezTo>
                    <a:cubicBezTo>
                      <a:pt x="305" y="88"/>
                      <a:pt x="305" y="88"/>
                      <a:pt x="304" y="87"/>
                    </a:cubicBezTo>
                    <a:cubicBezTo>
                      <a:pt x="304" y="87"/>
                      <a:pt x="304" y="86"/>
                      <a:pt x="304" y="86"/>
                    </a:cubicBezTo>
                    <a:cubicBezTo>
                      <a:pt x="303" y="85"/>
                      <a:pt x="303" y="85"/>
                      <a:pt x="303" y="85"/>
                    </a:cubicBezTo>
                    <a:cubicBezTo>
                      <a:pt x="302" y="83"/>
                      <a:pt x="301" y="81"/>
                      <a:pt x="300" y="80"/>
                    </a:cubicBezTo>
                    <a:cubicBezTo>
                      <a:pt x="299" y="80"/>
                      <a:pt x="299" y="80"/>
                      <a:pt x="299" y="80"/>
                    </a:cubicBezTo>
                    <a:cubicBezTo>
                      <a:pt x="299" y="79"/>
                      <a:pt x="299" y="79"/>
                      <a:pt x="299" y="79"/>
                    </a:cubicBezTo>
                    <a:cubicBezTo>
                      <a:pt x="295" y="77"/>
                      <a:pt x="295" y="77"/>
                      <a:pt x="295" y="77"/>
                    </a:cubicBezTo>
                    <a:cubicBezTo>
                      <a:pt x="298" y="74"/>
                      <a:pt x="298" y="74"/>
                      <a:pt x="298" y="74"/>
                    </a:cubicBezTo>
                    <a:cubicBezTo>
                      <a:pt x="302" y="69"/>
                      <a:pt x="306" y="64"/>
                      <a:pt x="311" y="60"/>
                    </a:cubicBezTo>
                    <a:cubicBezTo>
                      <a:pt x="312" y="59"/>
                      <a:pt x="312" y="59"/>
                      <a:pt x="312" y="59"/>
                    </a:cubicBezTo>
                    <a:cubicBezTo>
                      <a:pt x="314" y="59"/>
                      <a:pt x="314" y="59"/>
                      <a:pt x="314" y="59"/>
                    </a:cubicBezTo>
                    <a:cubicBezTo>
                      <a:pt x="314" y="59"/>
                      <a:pt x="314" y="59"/>
                      <a:pt x="314" y="59"/>
                    </a:cubicBezTo>
                    <a:cubicBezTo>
                      <a:pt x="315" y="59"/>
                      <a:pt x="315" y="59"/>
                      <a:pt x="316" y="59"/>
                    </a:cubicBezTo>
                    <a:cubicBezTo>
                      <a:pt x="317" y="60"/>
                      <a:pt x="317" y="60"/>
                      <a:pt x="317" y="60"/>
                    </a:cubicBezTo>
                    <a:cubicBezTo>
                      <a:pt x="318" y="60"/>
                      <a:pt x="318" y="60"/>
                      <a:pt x="318" y="60"/>
                    </a:cubicBezTo>
                    <a:cubicBezTo>
                      <a:pt x="320" y="59"/>
                      <a:pt x="321" y="58"/>
                      <a:pt x="323" y="57"/>
                    </a:cubicBezTo>
                    <a:cubicBezTo>
                      <a:pt x="327" y="55"/>
                      <a:pt x="327" y="55"/>
                      <a:pt x="327" y="55"/>
                    </a:cubicBezTo>
                    <a:cubicBezTo>
                      <a:pt x="328" y="54"/>
                      <a:pt x="329" y="53"/>
                      <a:pt x="331" y="52"/>
                    </a:cubicBezTo>
                    <a:cubicBezTo>
                      <a:pt x="330" y="52"/>
                      <a:pt x="330" y="52"/>
                      <a:pt x="330" y="52"/>
                    </a:cubicBezTo>
                    <a:cubicBezTo>
                      <a:pt x="327" y="54"/>
                      <a:pt x="323" y="55"/>
                      <a:pt x="319" y="57"/>
                    </a:cubicBezTo>
                    <a:cubicBezTo>
                      <a:pt x="316" y="58"/>
                      <a:pt x="316" y="58"/>
                      <a:pt x="316" y="58"/>
                    </a:cubicBezTo>
                    <a:cubicBezTo>
                      <a:pt x="316" y="58"/>
                      <a:pt x="315" y="58"/>
                      <a:pt x="314" y="58"/>
                    </a:cubicBezTo>
                    <a:cubicBezTo>
                      <a:pt x="314" y="58"/>
                      <a:pt x="314" y="58"/>
                      <a:pt x="314" y="58"/>
                    </a:cubicBezTo>
                    <a:cubicBezTo>
                      <a:pt x="313" y="58"/>
                      <a:pt x="313" y="58"/>
                      <a:pt x="312" y="58"/>
                    </a:cubicBezTo>
                    <a:cubicBezTo>
                      <a:pt x="309" y="56"/>
                      <a:pt x="308" y="54"/>
                      <a:pt x="307" y="52"/>
                    </a:cubicBezTo>
                    <a:cubicBezTo>
                      <a:pt x="307" y="51"/>
                      <a:pt x="306" y="51"/>
                      <a:pt x="306" y="50"/>
                    </a:cubicBezTo>
                    <a:cubicBezTo>
                      <a:pt x="306" y="50"/>
                      <a:pt x="306" y="50"/>
                      <a:pt x="306" y="50"/>
                    </a:cubicBezTo>
                    <a:cubicBezTo>
                      <a:pt x="305" y="48"/>
                      <a:pt x="304" y="45"/>
                      <a:pt x="304" y="43"/>
                    </a:cubicBezTo>
                    <a:cubicBezTo>
                      <a:pt x="304" y="42"/>
                      <a:pt x="304" y="41"/>
                      <a:pt x="304" y="40"/>
                    </a:cubicBezTo>
                    <a:cubicBezTo>
                      <a:pt x="305" y="39"/>
                      <a:pt x="305" y="38"/>
                      <a:pt x="305" y="37"/>
                    </a:cubicBezTo>
                    <a:cubicBezTo>
                      <a:pt x="305" y="36"/>
                      <a:pt x="305" y="36"/>
                      <a:pt x="305" y="36"/>
                    </a:cubicBezTo>
                    <a:cubicBezTo>
                      <a:pt x="306" y="33"/>
                      <a:pt x="307" y="29"/>
                      <a:pt x="307" y="24"/>
                    </a:cubicBezTo>
                    <a:cubicBezTo>
                      <a:pt x="307" y="22"/>
                      <a:pt x="307" y="19"/>
                      <a:pt x="308" y="17"/>
                    </a:cubicBezTo>
                    <a:cubicBezTo>
                      <a:pt x="307" y="16"/>
                      <a:pt x="305" y="16"/>
                      <a:pt x="305" y="16"/>
                    </a:cubicBezTo>
                    <a:cubicBezTo>
                      <a:pt x="304" y="16"/>
                      <a:pt x="304" y="16"/>
                      <a:pt x="304" y="16"/>
                    </a:cubicBezTo>
                    <a:cubicBezTo>
                      <a:pt x="303" y="16"/>
                      <a:pt x="303" y="16"/>
                      <a:pt x="302" y="16"/>
                    </a:cubicBezTo>
                    <a:cubicBezTo>
                      <a:pt x="298" y="15"/>
                      <a:pt x="298" y="15"/>
                      <a:pt x="298" y="15"/>
                    </a:cubicBezTo>
                    <a:cubicBezTo>
                      <a:pt x="300" y="10"/>
                      <a:pt x="300" y="10"/>
                      <a:pt x="300" y="10"/>
                    </a:cubicBezTo>
                    <a:cubicBezTo>
                      <a:pt x="300" y="9"/>
                      <a:pt x="301" y="9"/>
                      <a:pt x="301" y="8"/>
                    </a:cubicBezTo>
                    <a:cubicBezTo>
                      <a:pt x="300" y="8"/>
                      <a:pt x="300" y="8"/>
                      <a:pt x="300" y="8"/>
                    </a:cubicBezTo>
                    <a:cubicBezTo>
                      <a:pt x="300" y="7"/>
                      <a:pt x="300" y="6"/>
                      <a:pt x="299" y="6"/>
                    </a:cubicBezTo>
                    <a:cubicBezTo>
                      <a:pt x="299" y="5"/>
                      <a:pt x="299" y="5"/>
                      <a:pt x="299" y="5"/>
                    </a:cubicBezTo>
                    <a:cubicBezTo>
                      <a:pt x="292" y="11"/>
                      <a:pt x="292" y="11"/>
                      <a:pt x="292" y="11"/>
                    </a:cubicBezTo>
                    <a:cubicBezTo>
                      <a:pt x="297" y="3"/>
                      <a:pt x="297" y="3"/>
                      <a:pt x="297" y="3"/>
                    </a:cubicBezTo>
                    <a:cubicBezTo>
                      <a:pt x="297" y="3"/>
                      <a:pt x="296" y="2"/>
                      <a:pt x="296" y="2"/>
                    </a:cubicBezTo>
                    <a:cubicBezTo>
                      <a:pt x="295" y="1"/>
                      <a:pt x="294" y="1"/>
                      <a:pt x="29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342"/>
              <p:cNvSpPr>
                <a:spLocks noEditPoints="1"/>
              </p:cNvSpPr>
              <p:nvPr/>
            </p:nvSpPr>
            <p:spPr bwMode="auto">
              <a:xfrm>
                <a:off x="8343102" y="5148107"/>
                <a:ext cx="1709894" cy="1459306"/>
              </a:xfrm>
              <a:custGeom>
                <a:gdLst>
                  <a:gd name="T0" fmla="*/ 136 w 539"/>
                  <a:gd name="T1" fmla="*/ 298 h 459"/>
                  <a:gd name="T2" fmla="*/ 8 w 539"/>
                  <a:gd name="T3" fmla="*/ 38 h 459"/>
                  <a:gd name="T4" fmla="*/ 15 w 539"/>
                  <a:gd name="T5" fmla="*/ 61 h 459"/>
                  <a:gd name="T6" fmla="*/ 21 w 539"/>
                  <a:gd name="T7" fmla="*/ 82 h 459"/>
                  <a:gd name="T8" fmla="*/ 26 w 539"/>
                  <a:gd name="T9" fmla="*/ 93 h 459"/>
                  <a:gd name="T10" fmla="*/ 33 w 539"/>
                  <a:gd name="T11" fmla="*/ 105 h 459"/>
                  <a:gd name="T12" fmla="*/ 47 w 539"/>
                  <a:gd name="T13" fmla="*/ 122 h 459"/>
                  <a:gd name="T14" fmla="*/ 63 w 539"/>
                  <a:gd name="T15" fmla="*/ 129 h 459"/>
                  <a:gd name="T16" fmla="*/ 60 w 539"/>
                  <a:gd name="T17" fmla="*/ 145 h 459"/>
                  <a:gd name="T18" fmla="*/ 47 w 539"/>
                  <a:gd name="T19" fmla="*/ 167 h 459"/>
                  <a:gd name="T20" fmla="*/ 39 w 539"/>
                  <a:gd name="T21" fmla="*/ 184 h 459"/>
                  <a:gd name="T22" fmla="*/ 48 w 539"/>
                  <a:gd name="T23" fmla="*/ 193 h 459"/>
                  <a:gd name="T24" fmla="*/ 58 w 539"/>
                  <a:gd name="T25" fmla="*/ 213 h 459"/>
                  <a:gd name="T26" fmla="*/ 94 w 539"/>
                  <a:gd name="T27" fmla="*/ 232 h 459"/>
                  <a:gd name="T28" fmla="*/ 107 w 539"/>
                  <a:gd name="T29" fmla="*/ 259 h 459"/>
                  <a:gd name="T30" fmla="*/ 112 w 539"/>
                  <a:gd name="T31" fmla="*/ 277 h 459"/>
                  <a:gd name="T32" fmla="*/ 123 w 539"/>
                  <a:gd name="T33" fmla="*/ 303 h 459"/>
                  <a:gd name="T34" fmla="*/ 143 w 539"/>
                  <a:gd name="T35" fmla="*/ 301 h 459"/>
                  <a:gd name="T36" fmla="*/ 166 w 539"/>
                  <a:gd name="T37" fmla="*/ 305 h 459"/>
                  <a:gd name="T38" fmla="*/ 192 w 539"/>
                  <a:gd name="T39" fmla="*/ 343 h 459"/>
                  <a:gd name="T40" fmla="*/ 216 w 539"/>
                  <a:gd name="T41" fmla="*/ 376 h 459"/>
                  <a:gd name="T42" fmla="*/ 242 w 539"/>
                  <a:gd name="T43" fmla="*/ 392 h 459"/>
                  <a:gd name="T44" fmla="*/ 277 w 539"/>
                  <a:gd name="T45" fmla="*/ 413 h 459"/>
                  <a:gd name="T46" fmla="*/ 334 w 539"/>
                  <a:gd name="T47" fmla="*/ 399 h 459"/>
                  <a:gd name="T48" fmla="*/ 368 w 539"/>
                  <a:gd name="T49" fmla="*/ 424 h 459"/>
                  <a:gd name="T50" fmla="*/ 414 w 539"/>
                  <a:gd name="T51" fmla="*/ 446 h 459"/>
                  <a:gd name="T52" fmla="*/ 449 w 539"/>
                  <a:gd name="T53" fmla="*/ 450 h 459"/>
                  <a:gd name="T54" fmla="*/ 485 w 539"/>
                  <a:gd name="T55" fmla="*/ 459 h 459"/>
                  <a:gd name="T56" fmla="*/ 498 w 539"/>
                  <a:gd name="T57" fmla="*/ 431 h 459"/>
                  <a:gd name="T58" fmla="*/ 536 w 539"/>
                  <a:gd name="T59" fmla="*/ 411 h 459"/>
                  <a:gd name="T60" fmla="*/ 525 w 539"/>
                  <a:gd name="T61" fmla="*/ 393 h 459"/>
                  <a:gd name="T62" fmla="*/ 515 w 539"/>
                  <a:gd name="T63" fmla="*/ 364 h 459"/>
                  <a:gd name="T64" fmla="*/ 466 w 539"/>
                  <a:gd name="T65" fmla="*/ 316 h 459"/>
                  <a:gd name="T66" fmla="*/ 491 w 539"/>
                  <a:gd name="T67" fmla="*/ 289 h 459"/>
                  <a:gd name="T68" fmla="*/ 470 w 539"/>
                  <a:gd name="T69" fmla="*/ 263 h 459"/>
                  <a:gd name="T70" fmla="*/ 469 w 539"/>
                  <a:gd name="T71" fmla="*/ 234 h 459"/>
                  <a:gd name="T72" fmla="*/ 461 w 539"/>
                  <a:gd name="T73" fmla="*/ 192 h 459"/>
                  <a:gd name="T74" fmla="*/ 472 w 539"/>
                  <a:gd name="T75" fmla="*/ 160 h 459"/>
                  <a:gd name="T76" fmla="*/ 484 w 539"/>
                  <a:gd name="T77" fmla="*/ 134 h 459"/>
                  <a:gd name="T78" fmla="*/ 479 w 539"/>
                  <a:gd name="T79" fmla="*/ 109 h 459"/>
                  <a:gd name="T80" fmla="*/ 463 w 539"/>
                  <a:gd name="T81" fmla="*/ 102 h 459"/>
                  <a:gd name="T82" fmla="*/ 448 w 539"/>
                  <a:gd name="T83" fmla="*/ 89 h 459"/>
                  <a:gd name="T84" fmla="*/ 430 w 539"/>
                  <a:gd name="T85" fmla="*/ 74 h 459"/>
                  <a:gd name="T86" fmla="*/ 403 w 539"/>
                  <a:gd name="T87" fmla="*/ 69 h 459"/>
                  <a:gd name="T88" fmla="*/ 377 w 539"/>
                  <a:gd name="T89" fmla="*/ 59 h 459"/>
                  <a:gd name="T90" fmla="*/ 359 w 539"/>
                  <a:gd name="T91" fmla="*/ 48 h 459"/>
                  <a:gd name="T92" fmla="*/ 339 w 539"/>
                  <a:gd name="T93" fmla="*/ 60 h 459"/>
                  <a:gd name="T94" fmla="*/ 268 w 539"/>
                  <a:gd name="T95" fmla="*/ 91 h 459"/>
                  <a:gd name="T96" fmla="*/ 215 w 539"/>
                  <a:gd name="T97" fmla="*/ 99 h 459"/>
                  <a:gd name="T98" fmla="*/ 171 w 539"/>
                  <a:gd name="T99" fmla="*/ 77 h 459"/>
                  <a:gd name="T100" fmla="*/ 134 w 539"/>
                  <a:gd name="T101" fmla="*/ 43 h 459"/>
                  <a:gd name="T102" fmla="*/ 125 w 539"/>
                  <a:gd name="T103" fmla="*/ 44 h 459"/>
                  <a:gd name="T104" fmla="*/ 103 w 539"/>
                  <a:gd name="T105" fmla="*/ 25 h 459"/>
                  <a:gd name="T106" fmla="*/ 101 w 539"/>
                  <a:gd name="T107" fmla="*/ 4 h 459"/>
                  <a:gd name="T108" fmla="*/ 69 w 539"/>
                  <a:gd name="T109" fmla="*/ 28 h 459"/>
                  <a:gd name="T110" fmla="*/ 60 w 539"/>
                  <a:gd name="T111" fmla="*/ 29 h 459"/>
                  <a:gd name="T112" fmla="*/ 16 w 539"/>
                  <a:gd name="T113" fmla="*/ 4 h 4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9" h="459">
                    <a:moveTo>
                      <a:pt x="136" y="298"/>
                    </a:moveTo>
                    <a:cubicBezTo>
                      <a:pt x="138" y="297"/>
                      <a:pt x="137" y="295"/>
                      <a:pt x="136" y="294"/>
                    </a:cubicBezTo>
                    <a:cubicBezTo>
                      <a:pt x="136" y="294"/>
                      <a:pt x="138" y="294"/>
                      <a:pt x="139" y="294"/>
                    </a:cubicBezTo>
                    <a:cubicBezTo>
                      <a:pt x="140" y="294"/>
                      <a:pt x="141" y="294"/>
                      <a:pt x="142" y="294"/>
                    </a:cubicBezTo>
                    <a:cubicBezTo>
                      <a:pt x="143" y="295"/>
                      <a:pt x="144" y="295"/>
                      <a:pt x="144" y="297"/>
                    </a:cubicBezTo>
                    <a:cubicBezTo>
                      <a:pt x="144" y="298"/>
                      <a:pt x="143" y="298"/>
                      <a:pt x="142" y="298"/>
                    </a:cubicBezTo>
                    <a:cubicBezTo>
                      <a:pt x="141" y="298"/>
                      <a:pt x="139" y="298"/>
                      <a:pt x="138" y="298"/>
                    </a:cubicBezTo>
                    <a:cubicBezTo>
                      <a:pt x="138" y="298"/>
                      <a:pt x="137" y="298"/>
                      <a:pt x="137" y="298"/>
                    </a:cubicBezTo>
                    <a:cubicBezTo>
                      <a:pt x="137" y="298"/>
                      <a:pt x="137" y="298"/>
                      <a:pt x="136" y="298"/>
                    </a:cubicBezTo>
                    <a:moveTo>
                      <a:pt x="12" y="0"/>
                    </a:moveTo>
                    <a:cubicBezTo>
                      <a:pt x="11" y="0"/>
                      <a:pt x="11" y="0"/>
                      <a:pt x="11" y="0"/>
                    </a:cubicBezTo>
                    <a:cubicBezTo>
                      <a:pt x="11" y="0"/>
                      <a:pt x="11" y="0"/>
                      <a:pt x="11" y="0"/>
                    </a:cubicBezTo>
                    <a:cubicBezTo>
                      <a:pt x="12" y="7"/>
                      <a:pt x="9" y="10"/>
                      <a:pt x="7" y="10"/>
                    </a:cubicBezTo>
                    <a:cubicBezTo>
                      <a:pt x="5" y="11"/>
                      <a:pt x="3" y="11"/>
                      <a:pt x="0" y="12"/>
                    </a:cubicBezTo>
                    <a:cubicBezTo>
                      <a:pt x="1" y="13"/>
                      <a:pt x="1" y="13"/>
                      <a:pt x="1" y="13"/>
                    </a:cubicBezTo>
                    <a:cubicBezTo>
                      <a:pt x="1" y="15"/>
                      <a:pt x="1" y="16"/>
                      <a:pt x="2" y="17"/>
                    </a:cubicBezTo>
                    <a:cubicBezTo>
                      <a:pt x="3" y="20"/>
                      <a:pt x="4" y="22"/>
                      <a:pt x="5" y="24"/>
                    </a:cubicBezTo>
                    <a:cubicBezTo>
                      <a:pt x="8" y="26"/>
                      <a:pt x="8" y="33"/>
                      <a:pt x="8" y="38"/>
                    </a:cubicBezTo>
                    <a:cubicBezTo>
                      <a:pt x="9" y="38"/>
                      <a:pt x="10" y="39"/>
                      <a:pt x="11" y="40"/>
                    </a:cubicBezTo>
                    <a:cubicBezTo>
                      <a:pt x="13" y="43"/>
                      <a:pt x="11" y="48"/>
                      <a:pt x="10" y="50"/>
                    </a:cubicBezTo>
                    <a:cubicBezTo>
                      <a:pt x="8" y="51"/>
                      <a:pt x="6" y="54"/>
                      <a:pt x="6" y="54"/>
                    </a:cubicBezTo>
                    <a:cubicBezTo>
                      <a:pt x="6" y="54"/>
                      <a:pt x="6" y="54"/>
                      <a:pt x="6" y="54"/>
                    </a:cubicBezTo>
                    <a:cubicBezTo>
                      <a:pt x="6" y="54"/>
                      <a:pt x="6" y="54"/>
                      <a:pt x="6" y="54"/>
                    </a:cubicBezTo>
                    <a:cubicBezTo>
                      <a:pt x="7" y="55"/>
                      <a:pt x="8" y="56"/>
                      <a:pt x="9" y="57"/>
                    </a:cubicBezTo>
                    <a:cubicBezTo>
                      <a:pt x="10" y="57"/>
                      <a:pt x="12" y="58"/>
                      <a:pt x="13" y="59"/>
                    </a:cubicBezTo>
                    <a:cubicBezTo>
                      <a:pt x="13" y="59"/>
                      <a:pt x="14" y="60"/>
                      <a:pt x="14" y="60"/>
                    </a:cubicBezTo>
                    <a:cubicBezTo>
                      <a:pt x="14" y="60"/>
                      <a:pt x="15" y="60"/>
                      <a:pt x="15" y="61"/>
                    </a:cubicBezTo>
                    <a:cubicBezTo>
                      <a:pt x="16" y="62"/>
                      <a:pt x="16" y="64"/>
                      <a:pt x="16" y="65"/>
                    </a:cubicBezTo>
                    <a:cubicBezTo>
                      <a:pt x="16" y="66"/>
                      <a:pt x="16" y="66"/>
                      <a:pt x="15" y="67"/>
                    </a:cubicBezTo>
                    <a:cubicBezTo>
                      <a:pt x="15" y="68"/>
                      <a:pt x="15" y="68"/>
                      <a:pt x="15" y="68"/>
                    </a:cubicBezTo>
                    <a:cubicBezTo>
                      <a:pt x="15" y="68"/>
                      <a:pt x="15" y="69"/>
                      <a:pt x="15" y="70"/>
                    </a:cubicBezTo>
                    <a:cubicBezTo>
                      <a:pt x="15" y="70"/>
                      <a:pt x="16" y="71"/>
                      <a:pt x="16" y="71"/>
                    </a:cubicBezTo>
                    <a:cubicBezTo>
                      <a:pt x="18" y="72"/>
                      <a:pt x="20" y="73"/>
                      <a:pt x="21" y="75"/>
                    </a:cubicBezTo>
                    <a:cubicBezTo>
                      <a:pt x="21" y="76"/>
                      <a:pt x="21" y="76"/>
                      <a:pt x="21" y="76"/>
                    </a:cubicBezTo>
                    <a:cubicBezTo>
                      <a:pt x="22" y="78"/>
                      <a:pt x="21" y="80"/>
                      <a:pt x="21" y="81"/>
                    </a:cubicBezTo>
                    <a:cubicBezTo>
                      <a:pt x="21" y="82"/>
                      <a:pt x="21" y="82"/>
                      <a:pt x="21" y="82"/>
                    </a:cubicBezTo>
                    <a:cubicBezTo>
                      <a:pt x="21" y="82"/>
                      <a:pt x="22" y="83"/>
                      <a:pt x="22" y="85"/>
                    </a:cubicBezTo>
                    <a:cubicBezTo>
                      <a:pt x="24" y="87"/>
                      <a:pt x="24" y="88"/>
                      <a:pt x="24" y="89"/>
                    </a:cubicBezTo>
                    <a:cubicBezTo>
                      <a:pt x="24" y="89"/>
                      <a:pt x="24" y="90"/>
                      <a:pt x="23" y="91"/>
                    </a:cubicBezTo>
                    <a:cubicBezTo>
                      <a:pt x="23" y="91"/>
                      <a:pt x="23" y="91"/>
                      <a:pt x="23" y="91"/>
                    </a:cubicBezTo>
                    <a:cubicBezTo>
                      <a:pt x="24" y="91"/>
                      <a:pt x="24" y="91"/>
                      <a:pt x="24" y="91"/>
                    </a:cubicBezTo>
                    <a:cubicBezTo>
                      <a:pt x="24" y="90"/>
                      <a:pt x="24" y="90"/>
                      <a:pt x="24" y="90"/>
                    </a:cubicBezTo>
                    <a:cubicBezTo>
                      <a:pt x="24" y="92"/>
                      <a:pt x="24" y="92"/>
                      <a:pt x="24" y="92"/>
                    </a:cubicBezTo>
                    <a:cubicBezTo>
                      <a:pt x="25" y="92"/>
                      <a:pt x="25" y="92"/>
                      <a:pt x="25" y="92"/>
                    </a:cubicBezTo>
                    <a:cubicBezTo>
                      <a:pt x="26" y="93"/>
                      <a:pt x="26" y="93"/>
                      <a:pt x="26" y="93"/>
                    </a:cubicBezTo>
                    <a:cubicBezTo>
                      <a:pt x="28" y="94"/>
                      <a:pt x="28" y="96"/>
                      <a:pt x="28" y="97"/>
                    </a:cubicBezTo>
                    <a:cubicBezTo>
                      <a:pt x="28" y="98"/>
                      <a:pt x="28" y="99"/>
                      <a:pt x="28" y="100"/>
                    </a:cubicBezTo>
                    <a:cubicBezTo>
                      <a:pt x="28" y="100"/>
                      <a:pt x="28" y="100"/>
                      <a:pt x="28" y="100"/>
                    </a:cubicBezTo>
                    <a:cubicBezTo>
                      <a:pt x="28" y="100"/>
                      <a:pt x="28" y="100"/>
                      <a:pt x="28" y="100"/>
                    </a:cubicBezTo>
                    <a:cubicBezTo>
                      <a:pt x="29" y="101"/>
                      <a:pt x="29" y="101"/>
                      <a:pt x="29" y="101"/>
                    </a:cubicBezTo>
                    <a:cubicBezTo>
                      <a:pt x="29" y="101"/>
                      <a:pt x="31" y="102"/>
                      <a:pt x="32" y="103"/>
                    </a:cubicBezTo>
                    <a:cubicBezTo>
                      <a:pt x="38" y="102"/>
                      <a:pt x="38" y="102"/>
                      <a:pt x="38" y="102"/>
                    </a:cubicBezTo>
                    <a:cubicBezTo>
                      <a:pt x="33" y="105"/>
                      <a:pt x="33" y="105"/>
                      <a:pt x="33" y="105"/>
                    </a:cubicBezTo>
                    <a:cubicBezTo>
                      <a:pt x="33" y="105"/>
                      <a:pt x="33" y="105"/>
                      <a:pt x="33" y="105"/>
                    </a:cubicBezTo>
                    <a:cubicBezTo>
                      <a:pt x="33" y="105"/>
                      <a:pt x="34" y="106"/>
                      <a:pt x="34" y="106"/>
                    </a:cubicBezTo>
                    <a:cubicBezTo>
                      <a:pt x="35" y="109"/>
                      <a:pt x="35" y="111"/>
                      <a:pt x="36" y="114"/>
                    </a:cubicBezTo>
                    <a:cubicBezTo>
                      <a:pt x="36" y="116"/>
                      <a:pt x="36" y="116"/>
                      <a:pt x="36" y="116"/>
                    </a:cubicBezTo>
                    <a:cubicBezTo>
                      <a:pt x="36" y="116"/>
                      <a:pt x="37" y="115"/>
                      <a:pt x="37" y="115"/>
                    </a:cubicBezTo>
                    <a:cubicBezTo>
                      <a:pt x="37" y="115"/>
                      <a:pt x="38" y="116"/>
                      <a:pt x="39" y="116"/>
                    </a:cubicBezTo>
                    <a:cubicBezTo>
                      <a:pt x="40" y="116"/>
                      <a:pt x="41" y="117"/>
                      <a:pt x="42" y="118"/>
                    </a:cubicBezTo>
                    <a:cubicBezTo>
                      <a:pt x="44" y="119"/>
                      <a:pt x="45" y="120"/>
                      <a:pt x="46" y="121"/>
                    </a:cubicBezTo>
                    <a:cubicBezTo>
                      <a:pt x="46" y="121"/>
                      <a:pt x="46" y="122"/>
                      <a:pt x="47" y="122"/>
                    </a:cubicBezTo>
                    <a:cubicBezTo>
                      <a:pt x="47" y="122"/>
                      <a:pt x="47" y="122"/>
                      <a:pt x="47" y="122"/>
                    </a:cubicBezTo>
                    <a:cubicBezTo>
                      <a:pt x="48" y="122"/>
                      <a:pt x="49" y="121"/>
                      <a:pt x="50" y="121"/>
                    </a:cubicBezTo>
                    <a:cubicBezTo>
                      <a:pt x="51" y="121"/>
                      <a:pt x="51" y="121"/>
                      <a:pt x="51" y="121"/>
                    </a:cubicBezTo>
                    <a:cubicBezTo>
                      <a:pt x="52" y="121"/>
                      <a:pt x="52" y="121"/>
                      <a:pt x="52" y="121"/>
                    </a:cubicBezTo>
                    <a:cubicBezTo>
                      <a:pt x="53" y="121"/>
                      <a:pt x="53" y="121"/>
                      <a:pt x="53" y="121"/>
                    </a:cubicBezTo>
                    <a:cubicBezTo>
                      <a:pt x="53" y="121"/>
                      <a:pt x="54" y="121"/>
                      <a:pt x="54" y="121"/>
                    </a:cubicBezTo>
                    <a:cubicBezTo>
                      <a:pt x="56" y="121"/>
                      <a:pt x="57" y="121"/>
                      <a:pt x="59" y="122"/>
                    </a:cubicBezTo>
                    <a:cubicBezTo>
                      <a:pt x="59" y="122"/>
                      <a:pt x="60" y="122"/>
                      <a:pt x="60" y="122"/>
                    </a:cubicBezTo>
                    <a:cubicBezTo>
                      <a:pt x="71" y="125"/>
                      <a:pt x="71" y="125"/>
                      <a:pt x="71" y="125"/>
                    </a:cubicBezTo>
                    <a:cubicBezTo>
                      <a:pt x="63" y="129"/>
                      <a:pt x="63" y="129"/>
                      <a:pt x="63" y="129"/>
                    </a:cubicBezTo>
                    <a:cubicBezTo>
                      <a:pt x="62" y="130"/>
                      <a:pt x="61" y="130"/>
                      <a:pt x="60" y="130"/>
                    </a:cubicBezTo>
                    <a:cubicBezTo>
                      <a:pt x="57" y="131"/>
                      <a:pt x="56" y="132"/>
                      <a:pt x="56" y="132"/>
                    </a:cubicBezTo>
                    <a:cubicBezTo>
                      <a:pt x="56" y="132"/>
                      <a:pt x="56" y="132"/>
                      <a:pt x="56" y="132"/>
                    </a:cubicBezTo>
                    <a:cubicBezTo>
                      <a:pt x="56" y="133"/>
                      <a:pt x="56" y="133"/>
                      <a:pt x="56" y="134"/>
                    </a:cubicBezTo>
                    <a:cubicBezTo>
                      <a:pt x="56" y="135"/>
                      <a:pt x="56" y="135"/>
                      <a:pt x="56" y="135"/>
                    </a:cubicBezTo>
                    <a:cubicBezTo>
                      <a:pt x="56" y="135"/>
                      <a:pt x="56" y="135"/>
                      <a:pt x="56" y="136"/>
                    </a:cubicBezTo>
                    <a:cubicBezTo>
                      <a:pt x="56" y="137"/>
                      <a:pt x="56" y="137"/>
                      <a:pt x="57" y="137"/>
                    </a:cubicBezTo>
                    <a:cubicBezTo>
                      <a:pt x="57" y="138"/>
                      <a:pt x="57" y="138"/>
                      <a:pt x="57" y="138"/>
                    </a:cubicBezTo>
                    <a:cubicBezTo>
                      <a:pt x="58" y="140"/>
                      <a:pt x="60" y="142"/>
                      <a:pt x="60" y="145"/>
                    </a:cubicBezTo>
                    <a:cubicBezTo>
                      <a:pt x="60" y="146"/>
                      <a:pt x="60" y="147"/>
                      <a:pt x="60" y="147"/>
                    </a:cubicBezTo>
                    <a:cubicBezTo>
                      <a:pt x="60" y="148"/>
                      <a:pt x="60" y="148"/>
                      <a:pt x="60" y="148"/>
                    </a:cubicBezTo>
                    <a:cubicBezTo>
                      <a:pt x="60" y="151"/>
                      <a:pt x="60" y="151"/>
                      <a:pt x="60" y="151"/>
                    </a:cubicBezTo>
                    <a:cubicBezTo>
                      <a:pt x="57" y="151"/>
                      <a:pt x="57" y="151"/>
                      <a:pt x="57" y="151"/>
                    </a:cubicBezTo>
                    <a:cubicBezTo>
                      <a:pt x="56" y="152"/>
                      <a:pt x="55" y="152"/>
                      <a:pt x="54" y="152"/>
                    </a:cubicBezTo>
                    <a:cubicBezTo>
                      <a:pt x="53" y="153"/>
                      <a:pt x="52" y="153"/>
                      <a:pt x="51" y="153"/>
                    </a:cubicBezTo>
                    <a:cubicBezTo>
                      <a:pt x="49" y="156"/>
                      <a:pt x="48" y="158"/>
                      <a:pt x="48" y="161"/>
                    </a:cubicBezTo>
                    <a:cubicBezTo>
                      <a:pt x="48" y="163"/>
                      <a:pt x="48" y="163"/>
                      <a:pt x="48" y="163"/>
                    </a:cubicBezTo>
                    <a:cubicBezTo>
                      <a:pt x="47" y="165"/>
                      <a:pt x="47" y="166"/>
                      <a:pt x="47" y="167"/>
                    </a:cubicBezTo>
                    <a:cubicBezTo>
                      <a:pt x="46" y="168"/>
                      <a:pt x="45" y="169"/>
                      <a:pt x="43" y="169"/>
                    </a:cubicBezTo>
                    <a:cubicBezTo>
                      <a:pt x="42" y="169"/>
                      <a:pt x="42" y="169"/>
                      <a:pt x="41" y="169"/>
                    </a:cubicBezTo>
                    <a:cubicBezTo>
                      <a:pt x="41" y="169"/>
                      <a:pt x="41" y="169"/>
                      <a:pt x="41" y="169"/>
                    </a:cubicBezTo>
                    <a:cubicBezTo>
                      <a:pt x="41" y="169"/>
                      <a:pt x="41" y="169"/>
                      <a:pt x="41" y="169"/>
                    </a:cubicBezTo>
                    <a:cubicBezTo>
                      <a:pt x="41" y="170"/>
                      <a:pt x="42" y="170"/>
                      <a:pt x="42" y="171"/>
                    </a:cubicBezTo>
                    <a:cubicBezTo>
                      <a:pt x="43" y="172"/>
                      <a:pt x="43" y="174"/>
                      <a:pt x="43" y="176"/>
                    </a:cubicBezTo>
                    <a:cubicBezTo>
                      <a:pt x="42" y="176"/>
                      <a:pt x="42" y="177"/>
                      <a:pt x="42" y="177"/>
                    </a:cubicBezTo>
                    <a:cubicBezTo>
                      <a:pt x="41" y="179"/>
                      <a:pt x="41" y="179"/>
                      <a:pt x="41" y="179"/>
                    </a:cubicBezTo>
                    <a:cubicBezTo>
                      <a:pt x="41" y="180"/>
                      <a:pt x="40" y="182"/>
                      <a:pt x="39" y="184"/>
                    </a:cubicBezTo>
                    <a:cubicBezTo>
                      <a:pt x="39" y="184"/>
                      <a:pt x="39" y="184"/>
                      <a:pt x="39" y="184"/>
                    </a:cubicBezTo>
                    <a:cubicBezTo>
                      <a:pt x="47" y="184"/>
                      <a:pt x="47" y="184"/>
                      <a:pt x="47" y="184"/>
                    </a:cubicBezTo>
                    <a:cubicBezTo>
                      <a:pt x="43" y="189"/>
                      <a:pt x="43" y="189"/>
                      <a:pt x="43" y="189"/>
                    </a:cubicBezTo>
                    <a:cubicBezTo>
                      <a:pt x="45" y="191"/>
                      <a:pt x="45" y="191"/>
                      <a:pt x="45" y="191"/>
                    </a:cubicBezTo>
                    <a:cubicBezTo>
                      <a:pt x="50" y="186"/>
                      <a:pt x="50" y="186"/>
                      <a:pt x="50" y="186"/>
                    </a:cubicBezTo>
                    <a:cubicBezTo>
                      <a:pt x="46" y="192"/>
                      <a:pt x="46" y="192"/>
                      <a:pt x="46" y="192"/>
                    </a:cubicBezTo>
                    <a:cubicBezTo>
                      <a:pt x="46" y="192"/>
                      <a:pt x="46" y="192"/>
                      <a:pt x="46" y="192"/>
                    </a:cubicBezTo>
                    <a:cubicBezTo>
                      <a:pt x="47" y="193"/>
                      <a:pt x="47" y="193"/>
                      <a:pt x="47" y="193"/>
                    </a:cubicBezTo>
                    <a:cubicBezTo>
                      <a:pt x="48" y="193"/>
                      <a:pt x="48" y="193"/>
                      <a:pt x="48" y="193"/>
                    </a:cubicBezTo>
                    <a:cubicBezTo>
                      <a:pt x="49" y="193"/>
                      <a:pt x="51" y="194"/>
                      <a:pt x="53" y="196"/>
                    </a:cubicBezTo>
                    <a:cubicBezTo>
                      <a:pt x="53" y="196"/>
                      <a:pt x="53" y="197"/>
                      <a:pt x="54" y="197"/>
                    </a:cubicBezTo>
                    <a:cubicBezTo>
                      <a:pt x="54" y="199"/>
                      <a:pt x="54" y="200"/>
                      <a:pt x="54" y="201"/>
                    </a:cubicBezTo>
                    <a:cubicBezTo>
                      <a:pt x="54" y="202"/>
                      <a:pt x="54" y="203"/>
                      <a:pt x="54" y="203"/>
                    </a:cubicBezTo>
                    <a:cubicBezTo>
                      <a:pt x="54" y="204"/>
                      <a:pt x="55" y="205"/>
                      <a:pt x="55" y="206"/>
                    </a:cubicBezTo>
                    <a:cubicBezTo>
                      <a:pt x="55" y="207"/>
                      <a:pt x="55" y="207"/>
                      <a:pt x="55" y="207"/>
                    </a:cubicBezTo>
                    <a:cubicBezTo>
                      <a:pt x="55" y="209"/>
                      <a:pt x="56" y="211"/>
                      <a:pt x="56" y="212"/>
                    </a:cubicBezTo>
                    <a:cubicBezTo>
                      <a:pt x="57" y="213"/>
                      <a:pt x="57" y="213"/>
                      <a:pt x="57" y="213"/>
                    </a:cubicBezTo>
                    <a:cubicBezTo>
                      <a:pt x="58" y="213"/>
                      <a:pt x="58" y="213"/>
                      <a:pt x="58" y="213"/>
                    </a:cubicBezTo>
                    <a:cubicBezTo>
                      <a:pt x="59" y="213"/>
                      <a:pt x="59" y="213"/>
                      <a:pt x="60" y="213"/>
                    </a:cubicBezTo>
                    <a:cubicBezTo>
                      <a:pt x="62" y="214"/>
                      <a:pt x="63" y="214"/>
                      <a:pt x="65" y="215"/>
                    </a:cubicBezTo>
                    <a:cubicBezTo>
                      <a:pt x="67" y="216"/>
                      <a:pt x="69" y="217"/>
                      <a:pt x="71" y="218"/>
                    </a:cubicBezTo>
                    <a:cubicBezTo>
                      <a:pt x="84" y="228"/>
                      <a:pt x="84" y="228"/>
                      <a:pt x="84" y="228"/>
                    </a:cubicBezTo>
                    <a:cubicBezTo>
                      <a:pt x="84" y="228"/>
                      <a:pt x="84" y="228"/>
                      <a:pt x="84" y="229"/>
                    </a:cubicBezTo>
                    <a:cubicBezTo>
                      <a:pt x="85" y="228"/>
                      <a:pt x="85" y="228"/>
                      <a:pt x="85" y="228"/>
                    </a:cubicBezTo>
                    <a:cubicBezTo>
                      <a:pt x="85" y="228"/>
                      <a:pt x="86" y="228"/>
                      <a:pt x="87" y="228"/>
                    </a:cubicBezTo>
                    <a:cubicBezTo>
                      <a:pt x="87" y="228"/>
                      <a:pt x="88" y="228"/>
                      <a:pt x="89" y="229"/>
                    </a:cubicBezTo>
                    <a:cubicBezTo>
                      <a:pt x="91" y="229"/>
                      <a:pt x="92" y="230"/>
                      <a:pt x="94" y="232"/>
                    </a:cubicBezTo>
                    <a:cubicBezTo>
                      <a:pt x="96" y="234"/>
                      <a:pt x="98" y="237"/>
                      <a:pt x="99" y="239"/>
                    </a:cubicBezTo>
                    <a:cubicBezTo>
                      <a:pt x="100" y="241"/>
                      <a:pt x="100" y="241"/>
                      <a:pt x="100" y="241"/>
                    </a:cubicBezTo>
                    <a:cubicBezTo>
                      <a:pt x="101" y="242"/>
                      <a:pt x="102" y="244"/>
                      <a:pt x="103" y="245"/>
                    </a:cubicBezTo>
                    <a:cubicBezTo>
                      <a:pt x="106" y="249"/>
                      <a:pt x="107" y="252"/>
                      <a:pt x="108" y="254"/>
                    </a:cubicBezTo>
                    <a:cubicBezTo>
                      <a:pt x="108" y="254"/>
                      <a:pt x="108" y="254"/>
                      <a:pt x="108" y="254"/>
                    </a:cubicBezTo>
                    <a:cubicBezTo>
                      <a:pt x="108" y="255"/>
                      <a:pt x="108" y="255"/>
                      <a:pt x="108" y="255"/>
                    </a:cubicBezTo>
                    <a:cubicBezTo>
                      <a:pt x="108" y="255"/>
                      <a:pt x="108" y="256"/>
                      <a:pt x="107" y="257"/>
                    </a:cubicBezTo>
                    <a:cubicBezTo>
                      <a:pt x="107" y="257"/>
                      <a:pt x="107" y="257"/>
                      <a:pt x="107" y="257"/>
                    </a:cubicBezTo>
                    <a:cubicBezTo>
                      <a:pt x="107" y="259"/>
                      <a:pt x="107" y="259"/>
                      <a:pt x="107" y="259"/>
                    </a:cubicBezTo>
                    <a:cubicBezTo>
                      <a:pt x="106" y="260"/>
                      <a:pt x="106" y="261"/>
                      <a:pt x="105" y="263"/>
                    </a:cubicBezTo>
                    <a:cubicBezTo>
                      <a:pt x="105" y="263"/>
                      <a:pt x="105" y="263"/>
                      <a:pt x="105" y="263"/>
                    </a:cubicBezTo>
                    <a:cubicBezTo>
                      <a:pt x="104" y="264"/>
                      <a:pt x="104" y="264"/>
                      <a:pt x="104" y="264"/>
                    </a:cubicBezTo>
                    <a:cubicBezTo>
                      <a:pt x="104" y="266"/>
                      <a:pt x="104" y="268"/>
                      <a:pt x="104" y="270"/>
                    </a:cubicBezTo>
                    <a:cubicBezTo>
                      <a:pt x="103" y="272"/>
                      <a:pt x="103" y="273"/>
                      <a:pt x="103" y="275"/>
                    </a:cubicBezTo>
                    <a:cubicBezTo>
                      <a:pt x="104" y="275"/>
                      <a:pt x="105" y="275"/>
                      <a:pt x="106" y="275"/>
                    </a:cubicBezTo>
                    <a:cubicBezTo>
                      <a:pt x="108" y="275"/>
                      <a:pt x="109" y="275"/>
                      <a:pt x="110" y="276"/>
                    </a:cubicBezTo>
                    <a:cubicBezTo>
                      <a:pt x="111" y="276"/>
                      <a:pt x="111" y="276"/>
                      <a:pt x="111" y="276"/>
                    </a:cubicBezTo>
                    <a:cubicBezTo>
                      <a:pt x="112" y="277"/>
                      <a:pt x="112" y="277"/>
                      <a:pt x="112" y="277"/>
                    </a:cubicBezTo>
                    <a:cubicBezTo>
                      <a:pt x="112" y="278"/>
                      <a:pt x="113" y="279"/>
                      <a:pt x="113" y="279"/>
                    </a:cubicBezTo>
                    <a:cubicBezTo>
                      <a:pt x="113" y="280"/>
                      <a:pt x="113" y="281"/>
                      <a:pt x="113" y="282"/>
                    </a:cubicBezTo>
                    <a:cubicBezTo>
                      <a:pt x="114" y="284"/>
                      <a:pt x="113" y="287"/>
                      <a:pt x="113" y="290"/>
                    </a:cubicBezTo>
                    <a:cubicBezTo>
                      <a:pt x="113" y="291"/>
                      <a:pt x="113" y="292"/>
                      <a:pt x="113" y="292"/>
                    </a:cubicBezTo>
                    <a:cubicBezTo>
                      <a:pt x="113" y="293"/>
                      <a:pt x="113" y="293"/>
                      <a:pt x="114" y="293"/>
                    </a:cubicBezTo>
                    <a:cubicBezTo>
                      <a:pt x="115" y="294"/>
                      <a:pt x="116" y="295"/>
                      <a:pt x="117" y="296"/>
                    </a:cubicBezTo>
                    <a:cubicBezTo>
                      <a:pt x="119" y="297"/>
                      <a:pt x="120" y="299"/>
                      <a:pt x="121" y="300"/>
                    </a:cubicBezTo>
                    <a:cubicBezTo>
                      <a:pt x="122" y="301"/>
                      <a:pt x="122" y="302"/>
                      <a:pt x="123" y="303"/>
                    </a:cubicBezTo>
                    <a:cubicBezTo>
                      <a:pt x="123" y="303"/>
                      <a:pt x="123" y="303"/>
                      <a:pt x="123" y="303"/>
                    </a:cubicBezTo>
                    <a:cubicBezTo>
                      <a:pt x="124" y="304"/>
                      <a:pt x="125" y="306"/>
                      <a:pt x="128" y="308"/>
                    </a:cubicBezTo>
                    <a:cubicBezTo>
                      <a:pt x="131" y="310"/>
                      <a:pt x="131" y="310"/>
                      <a:pt x="131" y="310"/>
                    </a:cubicBezTo>
                    <a:cubicBezTo>
                      <a:pt x="133" y="309"/>
                      <a:pt x="134" y="309"/>
                      <a:pt x="135" y="308"/>
                    </a:cubicBezTo>
                    <a:cubicBezTo>
                      <a:pt x="135" y="308"/>
                      <a:pt x="135" y="305"/>
                      <a:pt x="135" y="304"/>
                    </a:cubicBezTo>
                    <a:cubicBezTo>
                      <a:pt x="135" y="303"/>
                      <a:pt x="134" y="303"/>
                      <a:pt x="134" y="302"/>
                    </a:cubicBezTo>
                    <a:cubicBezTo>
                      <a:pt x="133" y="301"/>
                      <a:pt x="133" y="300"/>
                      <a:pt x="133" y="300"/>
                    </a:cubicBezTo>
                    <a:cubicBezTo>
                      <a:pt x="135" y="299"/>
                      <a:pt x="136" y="298"/>
                      <a:pt x="136" y="298"/>
                    </a:cubicBezTo>
                    <a:cubicBezTo>
                      <a:pt x="137" y="298"/>
                      <a:pt x="137" y="299"/>
                      <a:pt x="137" y="299"/>
                    </a:cubicBezTo>
                    <a:cubicBezTo>
                      <a:pt x="139" y="299"/>
                      <a:pt x="141" y="300"/>
                      <a:pt x="143" y="301"/>
                    </a:cubicBezTo>
                    <a:cubicBezTo>
                      <a:pt x="143" y="302"/>
                      <a:pt x="144" y="302"/>
                      <a:pt x="145" y="302"/>
                    </a:cubicBezTo>
                    <a:cubicBezTo>
                      <a:pt x="147" y="303"/>
                      <a:pt x="150" y="305"/>
                      <a:pt x="151" y="307"/>
                    </a:cubicBezTo>
                    <a:cubicBezTo>
                      <a:pt x="151" y="307"/>
                      <a:pt x="152" y="308"/>
                      <a:pt x="152" y="308"/>
                    </a:cubicBezTo>
                    <a:cubicBezTo>
                      <a:pt x="152" y="309"/>
                      <a:pt x="153" y="309"/>
                      <a:pt x="153" y="309"/>
                    </a:cubicBezTo>
                    <a:cubicBezTo>
                      <a:pt x="153" y="309"/>
                      <a:pt x="153" y="309"/>
                      <a:pt x="154" y="309"/>
                    </a:cubicBezTo>
                    <a:cubicBezTo>
                      <a:pt x="155" y="309"/>
                      <a:pt x="156" y="307"/>
                      <a:pt x="157" y="307"/>
                    </a:cubicBezTo>
                    <a:cubicBezTo>
                      <a:pt x="159" y="306"/>
                      <a:pt x="162" y="306"/>
                      <a:pt x="164" y="305"/>
                    </a:cubicBezTo>
                    <a:cubicBezTo>
                      <a:pt x="164" y="305"/>
                      <a:pt x="165" y="305"/>
                      <a:pt x="165" y="305"/>
                    </a:cubicBezTo>
                    <a:cubicBezTo>
                      <a:pt x="165" y="305"/>
                      <a:pt x="166" y="305"/>
                      <a:pt x="166" y="305"/>
                    </a:cubicBezTo>
                    <a:cubicBezTo>
                      <a:pt x="168" y="305"/>
                      <a:pt x="170" y="307"/>
                      <a:pt x="170" y="309"/>
                    </a:cubicBezTo>
                    <a:cubicBezTo>
                      <a:pt x="171" y="311"/>
                      <a:pt x="172" y="313"/>
                      <a:pt x="172" y="314"/>
                    </a:cubicBezTo>
                    <a:cubicBezTo>
                      <a:pt x="173" y="315"/>
                      <a:pt x="174" y="316"/>
                      <a:pt x="174" y="317"/>
                    </a:cubicBezTo>
                    <a:cubicBezTo>
                      <a:pt x="176" y="319"/>
                      <a:pt x="178" y="320"/>
                      <a:pt x="180" y="322"/>
                    </a:cubicBezTo>
                    <a:cubicBezTo>
                      <a:pt x="182" y="324"/>
                      <a:pt x="183" y="327"/>
                      <a:pt x="184" y="329"/>
                    </a:cubicBezTo>
                    <a:cubicBezTo>
                      <a:pt x="185" y="331"/>
                      <a:pt x="185" y="333"/>
                      <a:pt x="183" y="336"/>
                    </a:cubicBezTo>
                    <a:cubicBezTo>
                      <a:pt x="185" y="336"/>
                      <a:pt x="186" y="337"/>
                      <a:pt x="187" y="337"/>
                    </a:cubicBezTo>
                    <a:cubicBezTo>
                      <a:pt x="190" y="338"/>
                      <a:pt x="191" y="339"/>
                      <a:pt x="192" y="342"/>
                    </a:cubicBezTo>
                    <a:cubicBezTo>
                      <a:pt x="192" y="343"/>
                      <a:pt x="192" y="343"/>
                      <a:pt x="192" y="343"/>
                    </a:cubicBezTo>
                    <a:cubicBezTo>
                      <a:pt x="192" y="346"/>
                      <a:pt x="193" y="349"/>
                      <a:pt x="194" y="352"/>
                    </a:cubicBezTo>
                    <a:cubicBezTo>
                      <a:pt x="195" y="354"/>
                      <a:pt x="197" y="357"/>
                      <a:pt x="198" y="360"/>
                    </a:cubicBezTo>
                    <a:cubicBezTo>
                      <a:pt x="199" y="362"/>
                      <a:pt x="200" y="364"/>
                      <a:pt x="201" y="367"/>
                    </a:cubicBezTo>
                    <a:cubicBezTo>
                      <a:pt x="201" y="367"/>
                      <a:pt x="201" y="367"/>
                      <a:pt x="201" y="367"/>
                    </a:cubicBezTo>
                    <a:cubicBezTo>
                      <a:pt x="203" y="370"/>
                      <a:pt x="204" y="372"/>
                      <a:pt x="206" y="373"/>
                    </a:cubicBezTo>
                    <a:cubicBezTo>
                      <a:pt x="207" y="374"/>
                      <a:pt x="209" y="375"/>
                      <a:pt x="211" y="376"/>
                    </a:cubicBezTo>
                    <a:cubicBezTo>
                      <a:pt x="212" y="376"/>
                      <a:pt x="213" y="376"/>
                      <a:pt x="214" y="376"/>
                    </a:cubicBezTo>
                    <a:cubicBezTo>
                      <a:pt x="214" y="376"/>
                      <a:pt x="215" y="376"/>
                      <a:pt x="215" y="376"/>
                    </a:cubicBezTo>
                    <a:cubicBezTo>
                      <a:pt x="216" y="376"/>
                      <a:pt x="216" y="376"/>
                      <a:pt x="216" y="376"/>
                    </a:cubicBezTo>
                    <a:cubicBezTo>
                      <a:pt x="216" y="376"/>
                      <a:pt x="217" y="376"/>
                      <a:pt x="217" y="376"/>
                    </a:cubicBezTo>
                    <a:cubicBezTo>
                      <a:pt x="219" y="376"/>
                      <a:pt x="221" y="376"/>
                      <a:pt x="222" y="377"/>
                    </a:cubicBezTo>
                    <a:cubicBezTo>
                      <a:pt x="223" y="377"/>
                      <a:pt x="223" y="378"/>
                      <a:pt x="224" y="378"/>
                    </a:cubicBezTo>
                    <a:cubicBezTo>
                      <a:pt x="226" y="379"/>
                      <a:pt x="229" y="380"/>
                      <a:pt x="231" y="381"/>
                    </a:cubicBezTo>
                    <a:cubicBezTo>
                      <a:pt x="232" y="381"/>
                      <a:pt x="232" y="382"/>
                      <a:pt x="232" y="382"/>
                    </a:cubicBezTo>
                    <a:cubicBezTo>
                      <a:pt x="233" y="382"/>
                      <a:pt x="233" y="382"/>
                      <a:pt x="234" y="382"/>
                    </a:cubicBezTo>
                    <a:cubicBezTo>
                      <a:pt x="234" y="383"/>
                      <a:pt x="235" y="383"/>
                      <a:pt x="236" y="384"/>
                    </a:cubicBezTo>
                    <a:cubicBezTo>
                      <a:pt x="236" y="385"/>
                      <a:pt x="237" y="385"/>
                      <a:pt x="238" y="386"/>
                    </a:cubicBezTo>
                    <a:cubicBezTo>
                      <a:pt x="239" y="388"/>
                      <a:pt x="241" y="390"/>
                      <a:pt x="242" y="392"/>
                    </a:cubicBezTo>
                    <a:cubicBezTo>
                      <a:pt x="244" y="394"/>
                      <a:pt x="246" y="396"/>
                      <a:pt x="248" y="397"/>
                    </a:cubicBezTo>
                    <a:cubicBezTo>
                      <a:pt x="248" y="397"/>
                      <a:pt x="248" y="397"/>
                      <a:pt x="248" y="397"/>
                    </a:cubicBezTo>
                    <a:cubicBezTo>
                      <a:pt x="251" y="399"/>
                      <a:pt x="253" y="400"/>
                      <a:pt x="256" y="401"/>
                    </a:cubicBezTo>
                    <a:cubicBezTo>
                      <a:pt x="256" y="401"/>
                      <a:pt x="256" y="401"/>
                      <a:pt x="256" y="401"/>
                    </a:cubicBezTo>
                    <a:cubicBezTo>
                      <a:pt x="259" y="402"/>
                      <a:pt x="261" y="403"/>
                      <a:pt x="263" y="404"/>
                    </a:cubicBezTo>
                    <a:cubicBezTo>
                      <a:pt x="264" y="405"/>
                      <a:pt x="264" y="405"/>
                      <a:pt x="264" y="405"/>
                    </a:cubicBezTo>
                    <a:cubicBezTo>
                      <a:pt x="265" y="407"/>
                      <a:pt x="266" y="408"/>
                      <a:pt x="269" y="410"/>
                    </a:cubicBezTo>
                    <a:cubicBezTo>
                      <a:pt x="269" y="410"/>
                      <a:pt x="269" y="410"/>
                      <a:pt x="269" y="410"/>
                    </a:cubicBezTo>
                    <a:cubicBezTo>
                      <a:pt x="272" y="411"/>
                      <a:pt x="274" y="412"/>
                      <a:pt x="277" y="413"/>
                    </a:cubicBezTo>
                    <a:cubicBezTo>
                      <a:pt x="280" y="413"/>
                      <a:pt x="283" y="413"/>
                      <a:pt x="287" y="414"/>
                    </a:cubicBezTo>
                    <a:cubicBezTo>
                      <a:pt x="287" y="414"/>
                      <a:pt x="288" y="414"/>
                      <a:pt x="289" y="414"/>
                    </a:cubicBezTo>
                    <a:cubicBezTo>
                      <a:pt x="291" y="415"/>
                      <a:pt x="294" y="415"/>
                      <a:pt x="296" y="416"/>
                    </a:cubicBezTo>
                    <a:cubicBezTo>
                      <a:pt x="296" y="417"/>
                      <a:pt x="296" y="417"/>
                      <a:pt x="296" y="418"/>
                    </a:cubicBezTo>
                    <a:cubicBezTo>
                      <a:pt x="301" y="416"/>
                      <a:pt x="305" y="415"/>
                      <a:pt x="309" y="414"/>
                    </a:cubicBezTo>
                    <a:cubicBezTo>
                      <a:pt x="310" y="413"/>
                      <a:pt x="311" y="413"/>
                      <a:pt x="312" y="413"/>
                    </a:cubicBezTo>
                    <a:cubicBezTo>
                      <a:pt x="315" y="412"/>
                      <a:pt x="318" y="411"/>
                      <a:pt x="321" y="410"/>
                    </a:cubicBezTo>
                    <a:cubicBezTo>
                      <a:pt x="323" y="409"/>
                      <a:pt x="323" y="406"/>
                      <a:pt x="324" y="405"/>
                    </a:cubicBezTo>
                    <a:cubicBezTo>
                      <a:pt x="326" y="402"/>
                      <a:pt x="330" y="400"/>
                      <a:pt x="334" y="399"/>
                    </a:cubicBezTo>
                    <a:cubicBezTo>
                      <a:pt x="338" y="398"/>
                      <a:pt x="342" y="398"/>
                      <a:pt x="345" y="398"/>
                    </a:cubicBezTo>
                    <a:cubicBezTo>
                      <a:pt x="345" y="398"/>
                      <a:pt x="346" y="398"/>
                      <a:pt x="346" y="398"/>
                    </a:cubicBezTo>
                    <a:cubicBezTo>
                      <a:pt x="347" y="398"/>
                      <a:pt x="347" y="398"/>
                      <a:pt x="347" y="398"/>
                    </a:cubicBezTo>
                    <a:cubicBezTo>
                      <a:pt x="350" y="398"/>
                      <a:pt x="354" y="398"/>
                      <a:pt x="357" y="399"/>
                    </a:cubicBezTo>
                    <a:cubicBezTo>
                      <a:pt x="359" y="399"/>
                      <a:pt x="361" y="400"/>
                      <a:pt x="363" y="403"/>
                    </a:cubicBezTo>
                    <a:cubicBezTo>
                      <a:pt x="363" y="403"/>
                      <a:pt x="363" y="403"/>
                      <a:pt x="363" y="403"/>
                    </a:cubicBezTo>
                    <a:cubicBezTo>
                      <a:pt x="364" y="406"/>
                      <a:pt x="365" y="409"/>
                      <a:pt x="366" y="412"/>
                    </a:cubicBezTo>
                    <a:cubicBezTo>
                      <a:pt x="366" y="415"/>
                      <a:pt x="367" y="419"/>
                      <a:pt x="367" y="421"/>
                    </a:cubicBezTo>
                    <a:cubicBezTo>
                      <a:pt x="367" y="422"/>
                      <a:pt x="367" y="423"/>
                      <a:pt x="368" y="424"/>
                    </a:cubicBezTo>
                    <a:cubicBezTo>
                      <a:pt x="368" y="426"/>
                      <a:pt x="369" y="428"/>
                      <a:pt x="369" y="430"/>
                    </a:cubicBezTo>
                    <a:cubicBezTo>
                      <a:pt x="370" y="433"/>
                      <a:pt x="371" y="436"/>
                      <a:pt x="373" y="438"/>
                    </a:cubicBezTo>
                    <a:cubicBezTo>
                      <a:pt x="373" y="438"/>
                      <a:pt x="373" y="438"/>
                      <a:pt x="373" y="438"/>
                    </a:cubicBezTo>
                    <a:cubicBezTo>
                      <a:pt x="374" y="441"/>
                      <a:pt x="377" y="441"/>
                      <a:pt x="381" y="441"/>
                    </a:cubicBezTo>
                    <a:cubicBezTo>
                      <a:pt x="381" y="441"/>
                      <a:pt x="382" y="441"/>
                      <a:pt x="382" y="441"/>
                    </a:cubicBezTo>
                    <a:cubicBezTo>
                      <a:pt x="385" y="442"/>
                      <a:pt x="387" y="442"/>
                      <a:pt x="390" y="442"/>
                    </a:cubicBezTo>
                    <a:cubicBezTo>
                      <a:pt x="394" y="443"/>
                      <a:pt x="397" y="443"/>
                      <a:pt x="400" y="444"/>
                    </a:cubicBezTo>
                    <a:cubicBezTo>
                      <a:pt x="403" y="444"/>
                      <a:pt x="406" y="445"/>
                      <a:pt x="409" y="445"/>
                    </a:cubicBezTo>
                    <a:cubicBezTo>
                      <a:pt x="411" y="446"/>
                      <a:pt x="412" y="446"/>
                      <a:pt x="414" y="446"/>
                    </a:cubicBezTo>
                    <a:cubicBezTo>
                      <a:pt x="415" y="446"/>
                      <a:pt x="416" y="446"/>
                      <a:pt x="417" y="447"/>
                    </a:cubicBezTo>
                    <a:cubicBezTo>
                      <a:pt x="418" y="448"/>
                      <a:pt x="418" y="448"/>
                      <a:pt x="418" y="448"/>
                    </a:cubicBezTo>
                    <a:cubicBezTo>
                      <a:pt x="421" y="450"/>
                      <a:pt x="422" y="451"/>
                      <a:pt x="424" y="451"/>
                    </a:cubicBezTo>
                    <a:cubicBezTo>
                      <a:pt x="425" y="451"/>
                      <a:pt x="426" y="450"/>
                      <a:pt x="426" y="450"/>
                    </a:cubicBezTo>
                    <a:cubicBezTo>
                      <a:pt x="427" y="450"/>
                      <a:pt x="427" y="450"/>
                      <a:pt x="428" y="450"/>
                    </a:cubicBezTo>
                    <a:cubicBezTo>
                      <a:pt x="431" y="449"/>
                      <a:pt x="434" y="449"/>
                      <a:pt x="436" y="449"/>
                    </a:cubicBezTo>
                    <a:cubicBezTo>
                      <a:pt x="437" y="449"/>
                      <a:pt x="438" y="449"/>
                      <a:pt x="439" y="449"/>
                    </a:cubicBezTo>
                    <a:cubicBezTo>
                      <a:pt x="441" y="449"/>
                      <a:pt x="442" y="449"/>
                      <a:pt x="444" y="450"/>
                    </a:cubicBezTo>
                    <a:cubicBezTo>
                      <a:pt x="446" y="450"/>
                      <a:pt x="447" y="450"/>
                      <a:pt x="449" y="450"/>
                    </a:cubicBezTo>
                    <a:cubicBezTo>
                      <a:pt x="453" y="450"/>
                      <a:pt x="457" y="450"/>
                      <a:pt x="460" y="450"/>
                    </a:cubicBezTo>
                    <a:cubicBezTo>
                      <a:pt x="461" y="450"/>
                      <a:pt x="462" y="450"/>
                      <a:pt x="462" y="450"/>
                    </a:cubicBezTo>
                    <a:cubicBezTo>
                      <a:pt x="463" y="450"/>
                      <a:pt x="463" y="450"/>
                      <a:pt x="463" y="450"/>
                    </a:cubicBezTo>
                    <a:cubicBezTo>
                      <a:pt x="465" y="451"/>
                      <a:pt x="465" y="452"/>
                      <a:pt x="467" y="454"/>
                    </a:cubicBezTo>
                    <a:cubicBezTo>
                      <a:pt x="467" y="454"/>
                      <a:pt x="467" y="454"/>
                      <a:pt x="467" y="454"/>
                    </a:cubicBezTo>
                    <a:cubicBezTo>
                      <a:pt x="469" y="456"/>
                      <a:pt x="472" y="457"/>
                      <a:pt x="475" y="457"/>
                    </a:cubicBezTo>
                    <a:cubicBezTo>
                      <a:pt x="478" y="458"/>
                      <a:pt x="481" y="459"/>
                      <a:pt x="483" y="459"/>
                    </a:cubicBezTo>
                    <a:cubicBezTo>
                      <a:pt x="484" y="459"/>
                      <a:pt x="484" y="459"/>
                      <a:pt x="484" y="459"/>
                    </a:cubicBezTo>
                    <a:cubicBezTo>
                      <a:pt x="484" y="459"/>
                      <a:pt x="485" y="459"/>
                      <a:pt x="485" y="459"/>
                    </a:cubicBezTo>
                    <a:cubicBezTo>
                      <a:pt x="487" y="459"/>
                      <a:pt x="490" y="459"/>
                      <a:pt x="492" y="458"/>
                    </a:cubicBezTo>
                    <a:cubicBezTo>
                      <a:pt x="492" y="457"/>
                      <a:pt x="492" y="457"/>
                      <a:pt x="492" y="456"/>
                    </a:cubicBezTo>
                    <a:cubicBezTo>
                      <a:pt x="492" y="456"/>
                      <a:pt x="492" y="455"/>
                      <a:pt x="492" y="455"/>
                    </a:cubicBezTo>
                    <a:cubicBezTo>
                      <a:pt x="492" y="454"/>
                      <a:pt x="492" y="454"/>
                      <a:pt x="492" y="454"/>
                    </a:cubicBezTo>
                    <a:cubicBezTo>
                      <a:pt x="493" y="453"/>
                      <a:pt x="493" y="452"/>
                      <a:pt x="493" y="451"/>
                    </a:cubicBezTo>
                    <a:cubicBezTo>
                      <a:pt x="493" y="450"/>
                      <a:pt x="493" y="450"/>
                      <a:pt x="493" y="450"/>
                    </a:cubicBezTo>
                    <a:cubicBezTo>
                      <a:pt x="494" y="449"/>
                      <a:pt x="494" y="449"/>
                      <a:pt x="494" y="448"/>
                    </a:cubicBezTo>
                    <a:cubicBezTo>
                      <a:pt x="494" y="446"/>
                      <a:pt x="494" y="446"/>
                      <a:pt x="494" y="446"/>
                    </a:cubicBezTo>
                    <a:cubicBezTo>
                      <a:pt x="496" y="441"/>
                      <a:pt x="497" y="436"/>
                      <a:pt x="498" y="431"/>
                    </a:cubicBezTo>
                    <a:cubicBezTo>
                      <a:pt x="499" y="425"/>
                      <a:pt x="500" y="424"/>
                      <a:pt x="504" y="422"/>
                    </a:cubicBezTo>
                    <a:cubicBezTo>
                      <a:pt x="505" y="421"/>
                      <a:pt x="505" y="421"/>
                      <a:pt x="505" y="421"/>
                    </a:cubicBezTo>
                    <a:cubicBezTo>
                      <a:pt x="506" y="421"/>
                      <a:pt x="506" y="420"/>
                      <a:pt x="507" y="419"/>
                    </a:cubicBezTo>
                    <a:cubicBezTo>
                      <a:pt x="508" y="419"/>
                      <a:pt x="508" y="419"/>
                      <a:pt x="508" y="419"/>
                    </a:cubicBezTo>
                    <a:cubicBezTo>
                      <a:pt x="509" y="418"/>
                      <a:pt x="510" y="417"/>
                      <a:pt x="511" y="416"/>
                    </a:cubicBezTo>
                    <a:cubicBezTo>
                      <a:pt x="513" y="414"/>
                      <a:pt x="515" y="414"/>
                      <a:pt x="518" y="413"/>
                    </a:cubicBezTo>
                    <a:cubicBezTo>
                      <a:pt x="529" y="411"/>
                      <a:pt x="529" y="411"/>
                      <a:pt x="529" y="411"/>
                    </a:cubicBezTo>
                    <a:cubicBezTo>
                      <a:pt x="530" y="411"/>
                      <a:pt x="531" y="411"/>
                      <a:pt x="532" y="411"/>
                    </a:cubicBezTo>
                    <a:cubicBezTo>
                      <a:pt x="534" y="411"/>
                      <a:pt x="535" y="411"/>
                      <a:pt x="536" y="411"/>
                    </a:cubicBezTo>
                    <a:cubicBezTo>
                      <a:pt x="537" y="404"/>
                      <a:pt x="537" y="404"/>
                      <a:pt x="537" y="404"/>
                    </a:cubicBezTo>
                    <a:cubicBezTo>
                      <a:pt x="538" y="402"/>
                      <a:pt x="538" y="401"/>
                      <a:pt x="539" y="399"/>
                    </a:cubicBezTo>
                    <a:cubicBezTo>
                      <a:pt x="538" y="399"/>
                      <a:pt x="538" y="399"/>
                      <a:pt x="538" y="399"/>
                    </a:cubicBezTo>
                    <a:cubicBezTo>
                      <a:pt x="537" y="399"/>
                      <a:pt x="537" y="399"/>
                      <a:pt x="537" y="399"/>
                    </a:cubicBezTo>
                    <a:cubicBezTo>
                      <a:pt x="536" y="399"/>
                      <a:pt x="536" y="399"/>
                      <a:pt x="535" y="399"/>
                    </a:cubicBezTo>
                    <a:cubicBezTo>
                      <a:pt x="534" y="399"/>
                      <a:pt x="534" y="399"/>
                      <a:pt x="534" y="399"/>
                    </a:cubicBezTo>
                    <a:cubicBezTo>
                      <a:pt x="533" y="399"/>
                      <a:pt x="533" y="399"/>
                      <a:pt x="532" y="399"/>
                    </a:cubicBezTo>
                    <a:cubicBezTo>
                      <a:pt x="532" y="399"/>
                      <a:pt x="532" y="399"/>
                      <a:pt x="532" y="399"/>
                    </a:cubicBezTo>
                    <a:cubicBezTo>
                      <a:pt x="528" y="399"/>
                      <a:pt x="526" y="397"/>
                      <a:pt x="525" y="393"/>
                    </a:cubicBezTo>
                    <a:cubicBezTo>
                      <a:pt x="524" y="391"/>
                      <a:pt x="525" y="389"/>
                      <a:pt x="525" y="387"/>
                    </a:cubicBezTo>
                    <a:cubicBezTo>
                      <a:pt x="525" y="386"/>
                      <a:pt x="525" y="386"/>
                      <a:pt x="525" y="386"/>
                    </a:cubicBezTo>
                    <a:cubicBezTo>
                      <a:pt x="525" y="375"/>
                      <a:pt x="525" y="375"/>
                      <a:pt x="525" y="375"/>
                    </a:cubicBezTo>
                    <a:cubicBezTo>
                      <a:pt x="525" y="374"/>
                      <a:pt x="525" y="373"/>
                      <a:pt x="525" y="372"/>
                    </a:cubicBezTo>
                    <a:cubicBezTo>
                      <a:pt x="525" y="370"/>
                      <a:pt x="526" y="369"/>
                      <a:pt x="526" y="368"/>
                    </a:cubicBezTo>
                    <a:cubicBezTo>
                      <a:pt x="525" y="368"/>
                      <a:pt x="524" y="367"/>
                      <a:pt x="524" y="367"/>
                    </a:cubicBezTo>
                    <a:cubicBezTo>
                      <a:pt x="523" y="367"/>
                      <a:pt x="523" y="367"/>
                      <a:pt x="523" y="367"/>
                    </a:cubicBezTo>
                    <a:cubicBezTo>
                      <a:pt x="522" y="366"/>
                      <a:pt x="520" y="366"/>
                      <a:pt x="519" y="365"/>
                    </a:cubicBezTo>
                    <a:cubicBezTo>
                      <a:pt x="518" y="365"/>
                      <a:pt x="516" y="364"/>
                      <a:pt x="515" y="364"/>
                    </a:cubicBezTo>
                    <a:cubicBezTo>
                      <a:pt x="515" y="364"/>
                      <a:pt x="514" y="363"/>
                      <a:pt x="513" y="363"/>
                    </a:cubicBezTo>
                    <a:cubicBezTo>
                      <a:pt x="512" y="363"/>
                      <a:pt x="512" y="363"/>
                      <a:pt x="512" y="363"/>
                    </a:cubicBezTo>
                    <a:cubicBezTo>
                      <a:pt x="511" y="362"/>
                      <a:pt x="510" y="362"/>
                      <a:pt x="509" y="361"/>
                    </a:cubicBezTo>
                    <a:cubicBezTo>
                      <a:pt x="506" y="360"/>
                      <a:pt x="502" y="358"/>
                      <a:pt x="500" y="355"/>
                    </a:cubicBezTo>
                    <a:cubicBezTo>
                      <a:pt x="497" y="351"/>
                      <a:pt x="494" y="348"/>
                      <a:pt x="491" y="344"/>
                    </a:cubicBezTo>
                    <a:cubicBezTo>
                      <a:pt x="491" y="343"/>
                      <a:pt x="491" y="343"/>
                      <a:pt x="491" y="343"/>
                    </a:cubicBezTo>
                    <a:cubicBezTo>
                      <a:pt x="485" y="335"/>
                      <a:pt x="478" y="327"/>
                      <a:pt x="472" y="318"/>
                    </a:cubicBezTo>
                    <a:cubicBezTo>
                      <a:pt x="472" y="317"/>
                      <a:pt x="472" y="317"/>
                      <a:pt x="472" y="317"/>
                    </a:cubicBezTo>
                    <a:cubicBezTo>
                      <a:pt x="466" y="316"/>
                      <a:pt x="466" y="316"/>
                      <a:pt x="466" y="316"/>
                    </a:cubicBezTo>
                    <a:cubicBezTo>
                      <a:pt x="471" y="313"/>
                      <a:pt x="471" y="313"/>
                      <a:pt x="471" y="313"/>
                    </a:cubicBezTo>
                    <a:cubicBezTo>
                      <a:pt x="471" y="312"/>
                      <a:pt x="471" y="312"/>
                      <a:pt x="471" y="312"/>
                    </a:cubicBezTo>
                    <a:cubicBezTo>
                      <a:pt x="472" y="311"/>
                      <a:pt x="472" y="311"/>
                      <a:pt x="472" y="311"/>
                    </a:cubicBezTo>
                    <a:cubicBezTo>
                      <a:pt x="473" y="310"/>
                      <a:pt x="475" y="308"/>
                      <a:pt x="476" y="306"/>
                    </a:cubicBezTo>
                    <a:cubicBezTo>
                      <a:pt x="482" y="299"/>
                      <a:pt x="482" y="299"/>
                      <a:pt x="482" y="299"/>
                    </a:cubicBezTo>
                    <a:cubicBezTo>
                      <a:pt x="484" y="298"/>
                      <a:pt x="485" y="297"/>
                      <a:pt x="486" y="295"/>
                    </a:cubicBezTo>
                    <a:cubicBezTo>
                      <a:pt x="487" y="294"/>
                      <a:pt x="487" y="294"/>
                      <a:pt x="487" y="294"/>
                    </a:cubicBezTo>
                    <a:cubicBezTo>
                      <a:pt x="488" y="293"/>
                      <a:pt x="488" y="292"/>
                      <a:pt x="489" y="292"/>
                    </a:cubicBezTo>
                    <a:cubicBezTo>
                      <a:pt x="489" y="291"/>
                      <a:pt x="490" y="290"/>
                      <a:pt x="491" y="289"/>
                    </a:cubicBezTo>
                    <a:cubicBezTo>
                      <a:pt x="493" y="287"/>
                      <a:pt x="495" y="285"/>
                      <a:pt x="496" y="283"/>
                    </a:cubicBezTo>
                    <a:cubicBezTo>
                      <a:pt x="498" y="280"/>
                      <a:pt x="498" y="279"/>
                      <a:pt x="498" y="277"/>
                    </a:cubicBezTo>
                    <a:cubicBezTo>
                      <a:pt x="498" y="277"/>
                      <a:pt x="497" y="276"/>
                      <a:pt x="497" y="276"/>
                    </a:cubicBezTo>
                    <a:cubicBezTo>
                      <a:pt x="497" y="275"/>
                      <a:pt x="496" y="274"/>
                      <a:pt x="496" y="274"/>
                    </a:cubicBezTo>
                    <a:cubicBezTo>
                      <a:pt x="493" y="270"/>
                      <a:pt x="493" y="270"/>
                      <a:pt x="493" y="270"/>
                    </a:cubicBezTo>
                    <a:cubicBezTo>
                      <a:pt x="493" y="270"/>
                      <a:pt x="493" y="269"/>
                      <a:pt x="492" y="269"/>
                    </a:cubicBezTo>
                    <a:cubicBezTo>
                      <a:pt x="477" y="267"/>
                      <a:pt x="477" y="267"/>
                      <a:pt x="477" y="267"/>
                    </a:cubicBezTo>
                    <a:cubicBezTo>
                      <a:pt x="477" y="267"/>
                      <a:pt x="476" y="267"/>
                      <a:pt x="476" y="267"/>
                    </a:cubicBezTo>
                    <a:cubicBezTo>
                      <a:pt x="475" y="267"/>
                      <a:pt x="471" y="267"/>
                      <a:pt x="470" y="263"/>
                    </a:cubicBezTo>
                    <a:cubicBezTo>
                      <a:pt x="470" y="263"/>
                      <a:pt x="470" y="262"/>
                      <a:pt x="470" y="261"/>
                    </a:cubicBezTo>
                    <a:cubicBezTo>
                      <a:pt x="469" y="260"/>
                      <a:pt x="469" y="259"/>
                      <a:pt x="470" y="258"/>
                    </a:cubicBezTo>
                    <a:cubicBezTo>
                      <a:pt x="470" y="257"/>
                      <a:pt x="470" y="257"/>
                      <a:pt x="470" y="257"/>
                    </a:cubicBezTo>
                    <a:cubicBezTo>
                      <a:pt x="470" y="257"/>
                      <a:pt x="470" y="256"/>
                      <a:pt x="470" y="256"/>
                    </a:cubicBezTo>
                    <a:cubicBezTo>
                      <a:pt x="469" y="250"/>
                      <a:pt x="469" y="250"/>
                      <a:pt x="469" y="250"/>
                    </a:cubicBezTo>
                    <a:cubicBezTo>
                      <a:pt x="469" y="248"/>
                      <a:pt x="469" y="246"/>
                      <a:pt x="470" y="243"/>
                    </a:cubicBezTo>
                    <a:cubicBezTo>
                      <a:pt x="470" y="242"/>
                      <a:pt x="470" y="241"/>
                      <a:pt x="470" y="239"/>
                    </a:cubicBezTo>
                    <a:cubicBezTo>
                      <a:pt x="470" y="238"/>
                      <a:pt x="470" y="237"/>
                      <a:pt x="469" y="237"/>
                    </a:cubicBezTo>
                    <a:cubicBezTo>
                      <a:pt x="469" y="234"/>
                      <a:pt x="469" y="234"/>
                      <a:pt x="469" y="234"/>
                    </a:cubicBezTo>
                    <a:cubicBezTo>
                      <a:pt x="468" y="234"/>
                      <a:pt x="468" y="233"/>
                      <a:pt x="468" y="232"/>
                    </a:cubicBezTo>
                    <a:cubicBezTo>
                      <a:pt x="465" y="222"/>
                      <a:pt x="465" y="222"/>
                      <a:pt x="465" y="222"/>
                    </a:cubicBezTo>
                    <a:cubicBezTo>
                      <a:pt x="465" y="221"/>
                      <a:pt x="465" y="220"/>
                      <a:pt x="465" y="220"/>
                    </a:cubicBezTo>
                    <a:cubicBezTo>
                      <a:pt x="463" y="212"/>
                      <a:pt x="463" y="212"/>
                      <a:pt x="463" y="212"/>
                    </a:cubicBezTo>
                    <a:cubicBezTo>
                      <a:pt x="463" y="208"/>
                      <a:pt x="466" y="205"/>
                      <a:pt x="469" y="201"/>
                    </a:cubicBezTo>
                    <a:cubicBezTo>
                      <a:pt x="469" y="201"/>
                      <a:pt x="469" y="201"/>
                      <a:pt x="469" y="201"/>
                    </a:cubicBezTo>
                    <a:cubicBezTo>
                      <a:pt x="466" y="201"/>
                      <a:pt x="464" y="200"/>
                      <a:pt x="463" y="198"/>
                    </a:cubicBezTo>
                    <a:cubicBezTo>
                      <a:pt x="462" y="197"/>
                      <a:pt x="461" y="195"/>
                      <a:pt x="461" y="193"/>
                    </a:cubicBezTo>
                    <a:cubicBezTo>
                      <a:pt x="461" y="192"/>
                      <a:pt x="461" y="192"/>
                      <a:pt x="461" y="192"/>
                    </a:cubicBezTo>
                    <a:cubicBezTo>
                      <a:pt x="460" y="191"/>
                      <a:pt x="460" y="189"/>
                      <a:pt x="460" y="188"/>
                    </a:cubicBezTo>
                    <a:cubicBezTo>
                      <a:pt x="460" y="184"/>
                      <a:pt x="461" y="182"/>
                      <a:pt x="461" y="181"/>
                    </a:cubicBezTo>
                    <a:cubicBezTo>
                      <a:pt x="461" y="180"/>
                      <a:pt x="461" y="180"/>
                      <a:pt x="461" y="180"/>
                    </a:cubicBezTo>
                    <a:cubicBezTo>
                      <a:pt x="459" y="181"/>
                      <a:pt x="459" y="181"/>
                      <a:pt x="459" y="181"/>
                    </a:cubicBezTo>
                    <a:cubicBezTo>
                      <a:pt x="469" y="171"/>
                      <a:pt x="469" y="171"/>
                      <a:pt x="469" y="171"/>
                    </a:cubicBezTo>
                    <a:cubicBezTo>
                      <a:pt x="469" y="171"/>
                      <a:pt x="468" y="170"/>
                      <a:pt x="468" y="170"/>
                    </a:cubicBezTo>
                    <a:cubicBezTo>
                      <a:pt x="465" y="167"/>
                      <a:pt x="465" y="167"/>
                      <a:pt x="465" y="167"/>
                    </a:cubicBezTo>
                    <a:cubicBezTo>
                      <a:pt x="467" y="165"/>
                      <a:pt x="467" y="165"/>
                      <a:pt x="467" y="165"/>
                    </a:cubicBezTo>
                    <a:cubicBezTo>
                      <a:pt x="469" y="163"/>
                      <a:pt x="470" y="162"/>
                      <a:pt x="472" y="160"/>
                    </a:cubicBezTo>
                    <a:cubicBezTo>
                      <a:pt x="474" y="159"/>
                      <a:pt x="474" y="159"/>
                      <a:pt x="474" y="159"/>
                    </a:cubicBezTo>
                    <a:cubicBezTo>
                      <a:pt x="476" y="157"/>
                      <a:pt x="476" y="157"/>
                      <a:pt x="476" y="155"/>
                    </a:cubicBezTo>
                    <a:cubicBezTo>
                      <a:pt x="477" y="153"/>
                      <a:pt x="477" y="153"/>
                      <a:pt x="477" y="153"/>
                    </a:cubicBezTo>
                    <a:cubicBezTo>
                      <a:pt x="477" y="152"/>
                      <a:pt x="477" y="152"/>
                      <a:pt x="477" y="152"/>
                    </a:cubicBezTo>
                    <a:cubicBezTo>
                      <a:pt x="477" y="151"/>
                      <a:pt x="477" y="151"/>
                      <a:pt x="477" y="151"/>
                    </a:cubicBezTo>
                    <a:cubicBezTo>
                      <a:pt x="478" y="150"/>
                      <a:pt x="478" y="149"/>
                      <a:pt x="478" y="148"/>
                    </a:cubicBezTo>
                    <a:cubicBezTo>
                      <a:pt x="481" y="138"/>
                      <a:pt x="481" y="138"/>
                      <a:pt x="481" y="138"/>
                    </a:cubicBezTo>
                    <a:cubicBezTo>
                      <a:pt x="484" y="134"/>
                      <a:pt x="484" y="134"/>
                      <a:pt x="484" y="134"/>
                    </a:cubicBezTo>
                    <a:cubicBezTo>
                      <a:pt x="484" y="134"/>
                      <a:pt x="484" y="134"/>
                      <a:pt x="484" y="134"/>
                    </a:cubicBezTo>
                    <a:cubicBezTo>
                      <a:pt x="483" y="134"/>
                      <a:pt x="483" y="133"/>
                      <a:pt x="483" y="133"/>
                    </a:cubicBezTo>
                    <a:cubicBezTo>
                      <a:pt x="482" y="131"/>
                      <a:pt x="482" y="131"/>
                      <a:pt x="482" y="131"/>
                    </a:cubicBezTo>
                    <a:cubicBezTo>
                      <a:pt x="482" y="130"/>
                      <a:pt x="482" y="129"/>
                      <a:pt x="482" y="128"/>
                    </a:cubicBezTo>
                    <a:cubicBezTo>
                      <a:pt x="481" y="128"/>
                      <a:pt x="481" y="127"/>
                      <a:pt x="481" y="127"/>
                    </a:cubicBezTo>
                    <a:cubicBezTo>
                      <a:pt x="480" y="124"/>
                      <a:pt x="480" y="124"/>
                      <a:pt x="480" y="124"/>
                    </a:cubicBezTo>
                    <a:cubicBezTo>
                      <a:pt x="479" y="120"/>
                      <a:pt x="479" y="117"/>
                      <a:pt x="479" y="114"/>
                    </a:cubicBezTo>
                    <a:cubicBezTo>
                      <a:pt x="479" y="113"/>
                      <a:pt x="479" y="113"/>
                      <a:pt x="479" y="113"/>
                    </a:cubicBezTo>
                    <a:cubicBezTo>
                      <a:pt x="479" y="112"/>
                      <a:pt x="479" y="111"/>
                      <a:pt x="479" y="110"/>
                    </a:cubicBezTo>
                    <a:cubicBezTo>
                      <a:pt x="479" y="109"/>
                      <a:pt x="479" y="109"/>
                      <a:pt x="479" y="109"/>
                    </a:cubicBezTo>
                    <a:cubicBezTo>
                      <a:pt x="480" y="107"/>
                      <a:pt x="480" y="104"/>
                      <a:pt x="479" y="102"/>
                    </a:cubicBezTo>
                    <a:cubicBezTo>
                      <a:pt x="479" y="102"/>
                      <a:pt x="479" y="102"/>
                      <a:pt x="479" y="102"/>
                    </a:cubicBezTo>
                    <a:cubicBezTo>
                      <a:pt x="478" y="101"/>
                      <a:pt x="477" y="101"/>
                      <a:pt x="475" y="101"/>
                    </a:cubicBezTo>
                    <a:cubicBezTo>
                      <a:pt x="474" y="101"/>
                      <a:pt x="474" y="101"/>
                      <a:pt x="473" y="101"/>
                    </a:cubicBezTo>
                    <a:cubicBezTo>
                      <a:pt x="470" y="102"/>
                      <a:pt x="470" y="102"/>
                      <a:pt x="470" y="102"/>
                    </a:cubicBezTo>
                    <a:cubicBezTo>
                      <a:pt x="468" y="102"/>
                      <a:pt x="467" y="102"/>
                      <a:pt x="465" y="102"/>
                    </a:cubicBezTo>
                    <a:cubicBezTo>
                      <a:pt x="465" y="106"/>
                      <a:pt x="465" y="106"/>
                      <a:pt x="465" y="106"/>
                    </a:cubicBezTo>
                    <a:cubicBezTo>
                      <a:pt x="464" y="102"/>
                      <a:pt x="464" y="102"/>
                      <a:pt x="464" y="102"/>
                    </a:cubicBezTo>
                    <a:cubicBezTo>
                      <a:pt x="463" y="102"/>
                      <a:pt x="463" y="102"/>
                      <a:pt x="463" y="102"/>
                    </a:cubicBezTo>
                    <a:cubicBezTo>
                      <a:pt x="461" y="102"/>
                      <a:pt x="460" y="101"/>
                      <a:pt x="458" y="101"/>
                    </a:cubicBezTo>
                    <a:cubicBezTo>
                      <a:pt x="457" y="101"/>
                      <a:pt x="457" y="100"/>
                      <a:pt x="456" y="100"/>
                    </a:cubicBezTo>
                    <a:cubicBezTo>
                      <a:pt x="456" y="99"/>
                      <a:pt x="456" y="99"/>
                      <a:pt x="456" y="99"/>
                    </a:cubicBezTo>
                    <a:cubicBezTo>
                      <a:pt x="455" y="98"/>
                      <a:pt x="454" y="97"/>
                      <a:pt x="453" y="96"/>
                    </a:cubicBezTo>
                    <a:cubicBezTo>
                      <a:pt x="452" y="94"/>
                      <a:pt x="452" y="94"/>
                      <a:pt x="452" y="94"/>
                    </a:cubicBezTo>
                    <a:cubicBezTo>
                      <a:pt x="451" y="93"/>
                      <a:pt x="450" y="92"/>
                      <a:pt x="450" y="91"/>
                    </a:cubicBezTo>
                    <a:cubicBezTo>
                      <a:pt x="449" y="91"/>
                      <a:pt x="449" y="91"/>
                      <a:pt x="449" y="91"/>
                    </a:cubicBezTo>
                    <a:cubicBezTo>
                      <a:pt x="449" y="90"/>
                      <a:pt x="449" y="90"/>
                      <a:pt x="448" y="89"/>
                    </a:cubicBezTo>
                    <a:cubicBezTo>
                      <a:pt x="448" y="89"/>
                      <a:pt x="448" y="89"/>
                      <a:pt x="448" y="89"/>
                    </a:cubicBezTo>
                    <a:cubicBezTo>
                      <a:pt x="446" y="88"/>
                      <a:pt x="444" y="87"/>
                      <a:pt x="441" y="87"/>
                    </a:cubicBezTo>
                    <a:cubicBezTo>
                      <a:pt x="441" y="87"/>
                      <a:pt x="441" y="87"/>
                      <a:pt x="441" y="87"/>
                    </a:cubicBezTo>
                    <a:cubicBezTo>
                      <a:pt x="440" y="86"/>
                      <a:pt x="439" y="86"/>
                      <a:pt x="438" y="86"/>
                    </a:cubicBezTo>
                    <a:cubicBezTo>
                      <a:pt x="437" y="86"/>
                      <a:pt x="437" y="86"/>
                      <a:pt x="437" y="86"/>
                    </a:cubicBezTo>
                    <a:cubicBezTo>
                      <a:pt x="436" y="85"/>
                      <a:pt x="436" y="85"/>
                      <a:pt x="436" y="85"/>
                    </a:cubicBezTo>
                    <a:cubicBezTo>
                      <a:pt x="436" y="84"/>
                      <a:pt x="436" y="84"/>
                      <a:pt x="436" y="84"/>
                    </a:cubicBezTo>
                    <a:cubicBezTo>
                      <a:pt x="435" y="83"/>
                      <a:pt x="434" y="83"/>
                      <a:pt x="434" y="82"/>
                    </a:cubicBezTo>
                    <a:cubicBezTo>
                      <a:pt x="433" y="79"/>
                      <a:pt x="433" y="79"/>
                      <a:pt x="433" y="79"/>
                    </a:cubicBezTo>
                    <a:cubicBezTo>
                      <a:pt x="432" y="78"/>
                      <a:pt x="431" y="76"/>
                      <a:pt x="430" y="74"/>
                    </a:cubicBezTo>
                    <a:cubicBezTo>
                      <a:pt x="429" y="74"/>
                      <a:pt x="429" y="74"/>
                      <a:pt x="429" y="74"/>
                    </a:cubicBezTo>
                    <a:cubicBezTo>
                      <a:pt x="427" y="71"/>
                      <a:pt x="424" y="70"/>
                      <a:pt x="419" y="69"/>
                    </a:cubicBezTo>
                    <a:cubicBezTo>
                      <a:pt x="419" y="69"/>
                      <a:pt x="418" y="69"/>
                      <a:pt x="418" y="69"/>
                    </a:cubicBezTo>
                    <a:cubicBezTo>
                      <a:pt x="417" y="69"/>
                      <a:pt x="416" y="69"/>
                      <a:pt x="414" y="69"/>
                    </a:cubicBezTo>
                    <a:cubicBezTo>
                      <a:pt x="407" y="69"/>
                      <a:pt x="407" y="69"/>
                      <a:pt x="407" y="69"/>
                    </a:cubicBezTo>
                    <a:cubicBezTo>
                      <a:pt x="407" y="69"/>
                      <a:pt x="407" y="69"/>
                      <a:pt x="407" y="69"/>
                    </a:cubicBezTo>
                    <a:cubicBezTo>
                      <a:pt x="407" y="69"/>
                      <a:pt x="406" y="69"/>
                      <a:pt x="406" y="69"/>
                    </a:cubicBezTo>
                    <a:cubicBezTo>
                      <a:pt x="403" y="69"/>
                      <a:pt x="403" y="69"/>
                      <a:pt x="403" y="69"/>
                    </a:cubicBezTo>
                    <a:cubicBezTo>
                      <a:pt x="403" y="69"/>
                      <a:pt x="403" y="69"/>
                      <a:pt x="403" y="69"/>
                    </a:cubicBezTo>
                    <a:cubicBezTo>
                      <a:pt x="403" y="69"/>
                      <a:pt x="402" y="69"/>
                      <a:pt x="402" y="69"/>
                    </a:cubicBezTo>
                    <a:cubicBezTo>
                      <a:pt x="400" y="69"/>
                      <a:pt x="400" y="69"/>
                      <a:pt x="399" y="68"/>
                    </a:cubicBezTo>
                    <a:cubicBezTo>
                      <a:pt x="398" y="68"/>
                      <a:pt x="397" y="68"/>
                      <a:pt x="397" y="67"/>
                    </a:cubicBezTo>
                    <a:cubicBezTo>
                      <a:pt x="392" y="64"/>
                      <a:pt x="392" y="64"/>
                      <a:pt x="392" y="64"/>
                    </a:cubicBezTo>
                    <a:cubicBezTo>
                      <a:pt x="391" y="63"/>
                      <a:pt x="390" y="62"/>
                      <a:pt x="389" y="62"/>
                    </a:cubicBezTo>
                    <a:cubicBezTo>
                      <a:pt x="387" y="61"/>
                      <a:pt x="387" y="61"/>
                      <a:pt x="387" y="61"/>
                    </a:cubicBezTo>
                    <a:cubicBezTo>
                      <a:pt x="386" y="61"/>
                      <a:pt x="385" y="61"/>
                      <a:pt x="384" y="61"/>
                    </a:cubicBezTo>
                    <a:cubicBezTo>
                      <a:pt x="382" y="60"/>
                      <a:pt x="381" y="60"/>
                      <a:pt x="378" y="60"/>
                    </a:cubicBezTo>
                    <a:cubicBezTo>
                      <a:pt x="377" y="59"/>
                      <a:pt x="377" y="59"/>
                      <a:pt x="377" y="59"/>
                    </a:cubicBezTo>
                    <a:cubicBezTo>
                      <a:pt x="374" y="59"/>
                      <a:pt x="373" y="57"/>
                      <a:pt x="371" y="55"/>
                    </a:cubicBezTo>
                    <a:cubicBezTo>
                      <a:pt x="371" y="54"/>
                      <a:pt x="371" y="54"/>
                      <a:pt x="371" y="54"/>
                    </a:cubicBezTo>
                    <a:cubicBezTo>
                      <a:pt x="364" y="57"/>
                      <a:pt x="364" y="57"/>
                      <a:pt x="364" y="57"/>
                    </a:cubicBezTo>
                    <a:cubicBezTo>
                      <a:pt x="370" y="53"/>
                      <a:pt x="370" y="53"/>
                      <a:pt x="370" y="53"/>
                    </a:cubicBezTo>
                    <a:cubicBezTo>
                      <a:pt x="370" y="52"/>
                      <a:pt x="370" y="52"/>
                      <a:pt x="370" y="52"/>
                    </a:cubicBezTo>
                    <a:cubicBezTo>
                      <a:pt x="369" y="49"/>
                      <a:pt x="369" y="49"/>
                      <a:pt x="368" y="49"/>
                    </a:cubicBezTo>
                    <a:cubicBezTo>
                      <a:pt x="367" y="49"/>
                      <a:pt x="365" y="49"/>
                      <a:pt x="364" y="49"/>
                    </a:cubicBezTo>
                    <a:cubicBezTo>
                      <a:pt x="363" y="49"/>
                      <a:pt x="363" y="49"/>
                      <a:pt x="363" y="49"/>
                    </a:cubicBezTo>
                    <a:cubicBezTo>
                      <a:pt x="361" y="49"/>
                      <a:pt x="360" y="48"/>
                      <a:pt x="359" y="48"/>
                    </a:cubicBezTo>
                    <a:cubicBezTo>
                      <a:pt x="358" y="48"/>
                      <a:pt x="358" y="48"/>
                      <a:pt x="358" y="48"/>
                    </a:cubicBezTo>
                    <a:cubicBezTo>
                      <a:pt x="357" y="48"/>
                      <a:pt x="357" y="48"/>
                      <a:pt x="356" y="48"/>
                    </a:cubicBezTo>
                    <a:cubicBezTo>
                      <a:pt x="355" y="48"/>
                      <a:pt x="353" y="48"/>
                      <a:pt x="351" y="49"/>
                    </a:cubicBezTo>
                    <a:cubicBezTo>
                      <a:pt x="350" y="49"/>
                      <a:pt x="350" y="49"/>
                      <a:pt x="350" y="49"/>
                    </a:cubicBezTo>
                    <a:cubicBezTo>
                      <a:pt x="350" y="49"/>
                      <a:pt x="350" y="49"/>
                      <a:pt x="350" y="49"/>
                    </a:cubicBezTo>
                    <a:cubicBezTo>
                      <a:pt x="350" y="49"/>
                      <a:pt x="350" y="49"/>
                      <a:pt x="350" y="49"/>
                    </a:cubicBezTo>
                    <a:cubicBezTo>
                      <a:pt x="346" y="53"/>
                      <a:pt x="345" y="55"/>
                      <a:pt x="341" y="55"/>
                    </a:cubicBezTo>
                    <a:cubicBezTo>
                      <a:pt x="340" y="55"/>
                      <a:pt x="340" y="55"/>
                      <a:pt x="340" y="55"/>
                    </a:cubicBezTo>
                    <a:cubicBezTo>
                      <a:pt x="339" y="60"/>
                      <a:pt x="339" y="60"/>
                      <a:pt x="339" y="60"/>
                    </a:cubicBezTo>
                    <a:cubicBezTo>
                      <a:pt x="338" y="55"/>
                      <a:pt x="338" y="55"/>
                      <a:pt x="338" y="55"/>
                    </a:cubicBezTo>
                    <a:cubicBezTo>
                      <a:pt x="336" y="55"/>
                      <a:pt x="334" y="54"/>
                      <a:pt x="333" y="54"/>
                    </a:cubicBezTo>
                    <a:cubicBezTo>
                      <a:pt x="332" y="54"/>
                      <a:pt x="331" y="54"/>
                      <a:pt x="330" y="55"/>
                    </a:cubicBezTo>
                    <a:cubicBezTo>
                      <a:pt x="325" y="55"/>
                      <a:pt x="321" y="56"/>
                      <a:pt x="317" y="57"/>
                    </a:cubicBezTo>
                    <a:cubicBezTo>
                      <a:pt x="281" y="94"/>
                      <a:pt x="281" y="94"/>
                      <a:pt x="281" y="94"/>
                    </a:cubicBezTo>
                    <a:cubicBezTo>
                      <a:pt x="280" y="93"/>
                      <a:pt x="280" y="93"/>
                      <a:pt x="280" y="93"/>
                    </a:cubicBezTo>
                    <a:cubicBezTo>
                      <a:pt x="279" y="93"/>
                      <a:pt x="278" y="93"/>
                      <a:pt x="277" y="93"/>
                    </a:cubicBezTo>
                    <a:cubicBezTo>
                      <a:pt x="276" y="93"/>
                      <a:pt x="276" y="93"/>
                      <a:pt x="275" y="93"/>
                    </a:cubicBezTo>
                    <a:cubicBezTo>
                      <a:pt x="273" y="93"/>
                      <a:pt x="271" y="92"/>
                      <a:pt x="268" y="91"/>
                    </a:cubicBezTo>
                    <a:cubicBezTo>
                      <a:pt x="269" y="91"/>
                      <a:pt x="269" y="91"/>
                      <a:pt x="270" y="91"/>
                    </a:cubicBezTo>
                    <a:cubicBezTo>
                      <a:pt x="271" y="91"/>
                      <a:pt x="273" y="91"/>
                      <a:pt x="275" y="90"/>
                    </a:cubicBezTo>
                    <a:cubicBezTo>
                      <a:pt x="273" y="90"/>
                      <a:pt x="271" y="90"/>
                      <a:pt x="268" y="91"/>
                    </a:cubicBezTo>
                    <a:cubicBezTo>
                      <a:pt x="264" y="91"/>
                      <a:pt x="260" y="92"/>
                      <a:pt x="255" y="93"/>
                    </a:cubicBezTo>
                    <a:cubicBezTo>
                      <a:pt x="250" y="93"/>
                      <a:pt x="246" y="94"/>
                      <a:pt x="241" y="96"/>
                    </a:cubicBezTo>
                    <a:cubicBezTo>
                      <a:pt x="239" y="96"/>
                      <a:pt x="237" y="97"/>
                      <a:pt x="234" y="97"/>
                    </a:cubicBezTo>
                    <a:cubicBezTo>
                      <a:pt x="232" y="98"/>
                      <a:pt x="229" y="98"/>
                      <a:pt x="227" y="99"/>
                    </a:cubicBezTo>
                    <a:cubicBezTo>
                      <a:pt x="224" y="99"/>
                      <a:pt x="222" y="100"/>
                      <a:pt x="219" y="100"/>
                    </a:cubicBezTo>
                    <a:cubicBezTo>
                      <a:pt x="218" y="100"/>
                      <a:pt x="217" y="100"/>
                      <a:pt x="215" y="99"/>
                    </a:cubicBezTo>
                    <a:cubicBezTo>
                      <a:pt x="214" y="99"/>
                      <a:pt x="213" y="99"/>
                      <a:pt x="211" y="99"/>
                    </a:cubicBezTo>
                    <a:cubicBezTo>
                      <a:pt x="210" y="98"/>
                      <a:pt x="208" y="98"/>
                      <a:pt x="206" y="97"/>
                    </a:cubicBezTo>
                    <a:cubicBezTo>
                      <a:pt x="203" y="97"/>
                      <a:pt x="201" y="96"/>
                      <a:pt x="198" y="95"/>
                    </a:cubicBezTo>
                    <a:cubicBezTo>
                      <a:pt x="195" y="94"/>
                      <a:pt x="193" y="93"/>
                      <a:pt x="190" y="92"/>
                    </a:cubicBezTo>
                    <a:cubicBezTo>
                      <a:pt x="190" y="92"/>
                      <a:pt x="190" y="92"/>
                      <a:pt x="190" y="92"/>
                    </a:cubicBezTo>
                    <a:cubicBezTo>
                      <a:pt x="188" y="91"/>
                      <a:pt x="185" y="90"/>
                      <a:pt x="183" y="88"/>
                    </a:cubicBezTo>
                    <a:cubicBezTo>
                      <a:pt x="180" y="87"/>
                      <a:pt x="178" y="85"/>
                      <a:pt x="176" y="83"/>
                    </a:cubicBezTo>
                    <a:cubicBezTo>
                      <a:pt x="175" y="82"/>
                      <a:pt x="174" y="81"/>
                      <a:pt x="173" y="80"/>
                    </a:cubicBezTo>
                    <a:cubicBezTo>
                      <a:pt x="173" y="79"/>
                      <a:pt x="172" y="78"/>
                      <a:pt x="171" y="77"/>
                    </a:cubicBezTo>
                    <a:cubicBezTo>
                      <a:pt x="169" y="76"/>
                      <a:pt x="167" y="74"/>
                      <a:pt x="164" y="74"/>
                    </a:cubicBezTo>
                    <a:cubicBezTo>
                      <a:pt x="161" y="73"/>
                      <a:pt x="158" y="72"/>
                      <a:pt x="155" y="71"/>
                    </a:cubicBezTo>
                    <a:cubicBezTo>
                      <a:pt x="155" y="71"/>
                      <a:pt x="155" y="71"/>
                      <a:pt x="155" y="71"/>
                    </a:cubicBezTo>
                    <a:cubicBezTo>
                      <a:pt x="152" y="71"/>
                      <a:pt x="149" y="70"/>
                      <a:pt x="146" y="69"/>
                    </a:cubicBezTo>
                    <a:cubicBezTo>
                      <a:pt x="144" y="68"/>
                      <a:pt x="141" y="67"/>
                      <a:pt x="140" y="65"/>
                    </a:cubicBezTo>
                    <a:cubicBezTo>
                      <a:pt x="139" y="64"/>
                      <a:pt x="138" y="63"/>
                      <a:pt x="138" y="62"/>
                    </a:cubicBezTo>
                    <a:cubicBezTo>
                      <a:pt x="137" y="60"/>
                      <a:pt x="137" y="59"/>
                      <a:pt x="136" y="57"/>
                    </a:cubicBezTo>
                    <a:cubicBezTo>
                      <a:pt x="136" y="54"/>
                      <a:pt x="135" y="51"/>
                      <a:pt x="134" y="48"/>
                    </a:cubicBezTo>
                    <a:cubicBezTo>
                      <a:pt x="134" y="46"/>
                      <a:pt x="134" y="45"/>
                      <a:pt x="134" y="43"/>
                    </a:cubicBezTo>
                    <a:cubicBezTo>
                      <a:pt x="132" y="43"/>
                      <a:pt x="132" y="43"/>
                      <a:pt x="132" y="43"/>
                    </a:cubicBezTo>
                    <a:cubicBezTo>
                      <a:pt x="132" y="43"/>
                      <a:pt x="131" y="43"/>
                      <a:pt x="130" y="43"/>
                    </a:cubicBezTo>
                    <a:cubicBezTo>
                      <a:pt x="130" y="44"/>
                      <a:pt x="130" y="44"/>
                      <a:pt x="130" y="44"/>
                    </a:cubicBezTo>
                    <a:cubicBezTo>
                      <a:pt x="129" y="44"/>
                      <a:pt x="128" y="44"/>
                      <a:pt x="128" y="44"/>
                    </a:cubicBezTo>
                    <a:cubicBezTo>
                      <a:pt x="128" y="44"/>
                      <a:pt x="128" y="44"/>
                      <a:pt x="128" y="44"/>
                    </a:cubicBezTo>
                    <a:cubicBezTo>
                      <a:pt x="127" y="44"/>
                      <a:pt x="127" y="44"/>
                      <a:pt x="127" y="44"/>
                    </a:cubicBezTo>
                    <a:cubicBezTo>
                      <a:pt x="127" y="44"/>
                      <a:pt x="126" y="44"/>
                      <a:pt x="126" y="44"/>
                    </a:cubicBezTo>
                    <a:cubicBezTo>
                      <a:pt x="126" y="44"/>
                      <a:pt x="126" y="44"/>
                      <a:pt x="126" y="44"/>
                    </a:cubicBezTo>
                    <a:cubicBezTo>
                      <a:pt x="125" y="44"/>
                      <a:pt x="125" y="44"/>
                      <a:pt x="125" y="44"/>
                    </a:cubicBezTo>
                    <a:cubicBezTo>
                      <a:pt x="125" y="44"/>
                      <a:pt x="124" y="44"/>
                      <a:pt x="124" y="43"/>
                    </a:cubicBezTo>
                    <a:cubicBezTo>
                      <a:pt x="122" y="43"/>
                      <a:pt x="121" y="41"/>
                      <a:pt x="121" y="40"/>
                    </a:cubicBezTo>
                    <a:cubicBezTo>
                      <a:pt x="120" y="39"/>
                      <a:pt x="120" y="39"/>
                      <a:pt x="120" y="38"/>
                    </a:cubicBezTo>
                    <a:cubicBezTo>
                      <a:pt x="120" y="38"/>
                      <a:pt x="119" y="38"/>
                      <a:pt x="118" y="38"/>
                    </a:cubicBezTo>
                    <a:cubicBezTo>
                      <a:pt x="117" y="36"/>
                      <a:pt x="116" y="36"/>
                      <a:pt x="115" y="35"/>
                    </a:cubicBezTo>
                    <a:cubicBezTo>
                      <a:pt x="114" y="35"/>
                      <a:pt x="114" y="34"/>
                      <a:pt x="113" y="34"/>
                    </a:cubicBezTo>
                    <a:cubicBezTo>
                      <a:pt x="112" y="33"/>
                      <a:pt x="112" y="33"/>
                      <a:pt x="112" y="33"/>
                    </a:cubicBezTo>
                    <a:cubicBezTo>
                      <a:pt x="112" y="32"/>
                      <a:pt x="112" y="32"/>
                      <a:pt x="112" y="32"/>
                    </a:cubicBezTo>
                    <a:cubicBezTo>
                      <a:pt x="103" y="25"/>
                      <a:pt x="103" y="25"/>
                      <a:pt x="103" y="25"/>
                    </a:cubicBezTo>
                    <a:cubicBezTo>
                      <a:pt x="112" y="19"/>
                      <a:pt x="112" y="19"/>
                      <a:pt x="112" y="19"/>
                    </a:cubicBezTo>
                    <a:cubicBezTo>
                      <a:pt x="110" y="17"/>
                      <a:pt x="109" y="15"/>
                      <a:pt x="111" y="12"/>
                    </a:cubicBezTo>
                    <a:cubicBezTo>
                      <a:pt x="111" y="11"/>
                      <a:pt x="112" y="10"/>
                      <a:pt x="112" y="9"/>
                    </a:cubicBezTo>
                    <a:cubicBezTo>
                      <a:pt x="113" y="8"/>
                      <a:pt x="113" y="8"/>
                      <a:pt x="113" y="8"/>
                    </a:cubicBezTo>
                    <a:cubicBezTo>
                      <a:pt x="112" y="7"/>
                      <a:pt x="112" y="7"/>
                      <a:pt x="112" y="7"/>
                    </a:cubicBezTo>
                    <a:cubicBezTo>
                      <a:pt x="111" y="5"/>
                      <a:pt x="111" y="5"/>
                      <a:pt x="111" y="5"/>
                    </a:cubicBezTo>
                    <a:cubicBezTo>
                      <a:pt x="108" y="2"/>
                      <a:pt x="107" y="1"/>
                      <a:pt x="107" y="1"/>
                    </a:cubicBezTo>
                    <a:cubicBezTo>
                      <a:pt x="107" y="1"/>
                      <a:pt x="105" y="1"/>
                      <a:pt x="102" y="4"/>
                    </a:cubicBezTo>
                    <a:cubicBezTo>
                      <a:pt x="101" y="4"/>
                      <a:pt x="101" y="4"/>
                      <a:pt x="101" y="4"/>
                    </a:cubicBezTo>
                    <a:cubicBezTo>
                      <a:pt x="97" y="7"/>
                      <a:pt x="94" y="9"/>
                      <a:pt x="90" y="11"/>
                    </a:cubicBezTo>
                    <a:cubicBezTo>
                      <a:pt x="88" y="13"/>
                      <a:pt x="88" y="13"/>
                      <a:pt x="88" y="13"/>
                    </a:cubicBezTo>
                    <a:cubicBezTo>
                      <a:pt x="86" y="14"/>
                      <a:pt x="85" y="14"/>
                      <a:pt x="84" y="15"/>
                    </a:cubicBezTo>
                    <a:cubicBezTo>
                      <a:pt x="81" y="17"/>
                      <a:pt x="79" y="18"/>
                      <a:pt x="78" y="20"/>
                    </a:cubicBezTo>
                    <a:cubicBezTo>
                      <a:pt x="77" y="20"/>
                      <a:pt x="76" y="21"/>
                      <a:pt x="76" y="22"/>
                    </a:cubicBezTo>
                    <a:cubicBezTo>
                      <a:pt x="75" y="23"/>
                      <a:pt x="75" y="23"/>
                      <a:pt x="75" y="23"/>
                    </a:cubicBezTo>
                    <a:cubicBezTo>
                      <a:pt x="73" y="24"/>
                      <a:pt x="73" y="24"/>
                      <a:pt x="73" y="24"/>
                    </a:cubicBezTo>
                    <a:cubicBezTo>
                      <a:pt x="72" y="25"/>
                      <a:pt x="71" y="26"/>
                      <a:pt x="70" y="27"/>
                    </a:cubicBezTo>
                    <a:cubicBezTo>
                      <a:pt x="69" y="28"/>
                      <a:pt x="69" y="28"/>
                      <a:pt x="69" y="28"/>
                    </a:cubicBezTo>
                    <a:cubicBezTo>
                      <a:pt x="65" y="35"/>
                      <a:pt x="65" y="35"/>
                      <a:pt x="65" y="35"/>
                    </a:cubicBezTo>
                    <a:cubicBezTo>
                      <a:pt x="65" y="32"/>
                      <a:pt x="65" y="32"/>
                      <a:pt x="65" y="32"/>
                    </a:cubicBezTo>
                    <a:cubicBezTo>
                      <a:pt x="65" y="32"/>
                      <a:pt x="65" y="32"/>
                      <a:pt x="65" y="32"/>
                    </a:cubicBezTo>
                    <a:cubicBezTo>
                      <a:pt x="64" y="28"/>
                      <a:pt x="64" y="28"/>
                      <a:pt x="64" y="28"/>
                    </a:cubicBezTo>
                    <a:cubicBezTo>
                      <a:pt x="64" y="28"/>
                      <a:pt x="64" y="28"/>
                      <a:pt x="64" y="28"/>
                    </a:cubicBezTo>
                    <a:cubicBezTo>
                      <a:pt x="64" y="28"/>
                      <a:pt x="64" y="28"/>
                      <a:pt x="64" y="28"/>
                    </a:cubicBezTo>
                    <a:cubicBezTo>
                      <a:pt x="64" y="28"/>
                      <a:pt x="64" y="28"/>
                      <a:pt x="64" y="28"/>
                    </a:cubicBezTo>
                    <a:cubicBezTo>
                      <a:pt x="63" y="28"/>
                      <a:pt x="62" y="28"/>
                      <a:pt x="61" y="29"/>
                    </a:cubicBezTo>
                    <a:cubicBezTo>
                      <a:pt x="60" y="29"/>
                      <a:pt x="60" y="29"/>
                      <a:pt x="60" y="29"/>
                    </a:cubicBezTo>
                    <a:cubicBezTo>
                      <a:pt x="60" y="30"/>
                      <a:pt x="60" y="30"/>
                      <a:pt x="60" y="30"/>
                    </a:cubicBezTo>
                    <a:cubicBezTo>
                      <a:pt x="57" y="30"/>
                      <a:pt x="57" y="30"/>
                      <a:pt x="57" y="30"/>
                    </a:cubicBezTo>
                    <a:cubicBezTo>
                      <a:pt x="57" y="30"/>
                      <a:pt x="52" y="29"/>
                      <a:pt x="49" y="29"/>
                    </a:cubicBezTo>
                    <a:cubicBezTo>
                      <a:pt x="44" y="28"/>
                      <a:pt x="34" y="25"/>
                      <a:pt x="32" y="22"/>
                    </a:cubicBezTo>
                    <a:cubicBezTo>
                      <a:pt x="31" y="21"/>
                      <a:pt x="29" y="19"/>
                      <a:pt x="28" y="18"/>
                    </a:cubicBezTo>
                    <a:cubicBezTo>
                      <a:pt x="27" y="17"/>
                      <a:pt x="27" y="17"/>
                      <a:pt x="27" y="17"/>
                    </a:cubicBezTo>
                    <a:cubicBezTo>
                      <a:pt x="27" y="16"/>
                      <a:pt x="26" y="16"/>
                      <a:pt x="25" y="15"/>
                    </a:cubicBezTo>
                    <a:cubicBezTo>
                      <a:pt x="20" y="10"/>
                      <a:pt x="17" y="7"/>
                      <a:pt x="16" y="5"/>
                    </a:cubicBezTo>
                    <a:cubicBezTo>
                      <a:pt x="16" y="4"/>
                      <a:pt x="16" y="4"/>
                      <a:pt x="16" y="4"/>
                    </a:cubicBezTo>
                    <a:cubicBezTo>
                      <a:pt x="15" y="4"/>
                      <a:pt x="15" y="4"/>
                      <a:pt x="15" y="4"/>
                    </a:cubicBezTo>
                    <a:cubicBezTo>
                      <a:pt x="15" y="3"/>
                      <a:pt x="15" y="3"/>
                      <a:pt x="15" y="3"/>
                    </a:cubicBezTo>
                    <a:cubicBezTo>
                      <a:pt x="14" y="2"/>
                      <a:pt x="14" y="2"/>
                      <a:pt x="14" y="2"/>
                    </a:cubicBezTo>
                    <a:cubicBezTo>
                      <a:pt x="14" y="2"/>
                      <a:pt x="14" y="2"/>
                      <a:pt x="14" y="2"/>
                    </a:cubicBezTo>
                    <a:cubicBezTo>
                      <a:pt x="14" y="1"/>
                      <a:pt x="14" y="1"/>
                      <a:pt x="14" y="1"/>
                    </a:cubicBezTo>
                    <a:cubicBezTo>
                      <a:pt x="12" y="0"/>
                      <a:pt x="12"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343"/>
              <p:cNvSpPr/>
              <p:nvPr/>
            </p:nvSpPr>
            <p:spPr bwMode="auto">
              <a:xfrm>
                <a:off x="9091180" y="4893834"/>
                <a:ext cx="51592" cy="103183"/>
              </a:xfrm>
              <a:custGeom>
                <a:gdLst>
                  <a:gd name="T0" fmla="*/ 16 w 16"/>
                  <a:gd name="T1" fmla="*/ 0 h 33"/>
                  <a:gd name="T2" fmla="*/ 15 w 16"/>
                  <a:gd name="T3" fmla="*/ 0 h 33"/>
                  <a:gd name="T4" fmla="*/ 10 w 16"/>
                  <a:gd name="T5" fmla="*/ 4 h 33"/>
                  <a:gd name="T6" fmla="*/ 5 w 16"/>
                  <a:gd name="T7" fmla="*/ 8 h 33"/>
                  <a:gd name="T8" fmla="*/ 2 w 16"/>
                  <a:gd name="T9" fmla="*/ 12 h 33"/>
                  <a:gd name="T10" fmla="*/ 0 w 16"/>
                  <a:gd name="T11" fmla="*/ 13 h 33"/>
                  <a:gd name="T12" fmla="*/ 11 w 16"/>
                  <a:gd name="T13" fmla="*/ 33 h 33"/>
                  <a:gd name="T14" fmla="*/ 9 w 16"/>
                  <a:gd name="T15" fmla="*/ 23 h 33"/>
                  <a:gd name="T16" fmla="*/ 12 w 16"/>
                  <a:gd name="T17" fmla="*/ 15 h 33"/>
                  <a:gd name="T18" fmla="*/ 11 w 16"/>
                  <a:gd name="T19" fmla="*/ 12 h 33"/>
                  <a:gd name="T20" fmla="*/ 9 w 16"/>
                  <a:gd name="T21" fmla="*/ 12 h 33"/>
                  <a:gd name="T22" fmla="*/ 8 w 16"/>
                  <a:gd name="T23" fmla="*/ 12 h 33"/>
                  <a:gd name="T24" fmla="*/ 10 w 16"/>
                  <a:gd name="T25" fmla="*/ 8 h 33"/>
                  <a:gd name="T26" fmla="*/ 15 w 16"/>
                  <a:gd name="T27" fmla="*/ 1 h 33"/>
                  <a:gd name="T28" fmla="*/ 16 w 16"/>
                  <a:gd name="T29"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33">
                    <a:moveTo>
                      <a:pt x="16" y="0"/>
                    </a:moveTo>
                    <a:cubicBezTo>
                      <a:pt x="15" y="0"/>
                      <a:pt x="15" y="0"/>
                      <a:pt x="15" y="0"/>
                    </a:cubicBezTo>
                    <a:cubicBezTo>
                      <a:pt x="13" y="1"/>
                      <a:pt x="12" y="3"/>
                      <a:pt x="10" y="4"/>
                    </a:cubicBezTo>
                    <a:cubicBezTo>
                      <a:pt x="8" y="6"/>
                      <a:pt x="7" y="7"/>
                      <a:pt x="5" y="8"/>
                    </a:cubicBezTo>
                    <a:cubicBezTo>
                      <a:pt x="2" y="11"/>
                      <a:pt x="2" y="12"/>
                      <a:pt x="2" y="12"/>
                    </a:cubicBezTo>
                    <a:cubicBezTo>
                      <a:pt x="1" y="12"/>
                      <a:pt x="1" y="12"/>
                      <a:pt x="0" y="13"/>
                    </a:cubicBezTo>
                    <a:cubicBezTo>
                      <a:pt x="4" y="20"/>
                      <a:pt x="8" y="26"/>
                      <a:pt x="11" y="33"/>
                    </a:cubicBezTo>
                    <a:cubicBezTo>
                      <a:pt x="11" y="30"/>
                      <a:pt x="10" y="27"/>
                      <a:pt x="9" y="23"/>
                    </a:cubicBezTo>
                    <a:cubicBezTo>
                      <a:pt x="9" y="20"/>
                      <a:pt x="11" y="18"/>
                      <a:pt x="12" y="15"/>
                    </a:cubicBezTo>
                    <a:cubicBezTo>
                      <a:pt x="12" y="13"/>
                      <a:pt x="12" y="12"/>
                      <a:pt x="11" y="12"/>
                    </a:cubicBezTo>
                    <a:cubicBezTo>
                      <a:pt x="11" y="12"/>
                      <a:pt x="10" y="12"/>
                      <a:pt x="9" y="12"/>
                    </a:cubicBezTo>
                    <a:cubicBezTo>
                      <a:pt x="9" y="12"/>
                      <a:pt x="9" y="12"/>
                      <a:pt x="8" y="12"/>
                    </a:cubicBezTo>
                    <a:cubicBezTo>
                      <a:pt x="7" y="12"/>
                      <a:pt x="10" y="9"/>
                      <a:pt x="10" y="8"/>
                    </a:cubicBezTo>
                    <a:cubicBezTo>
                      <a:pt x="12" y="5"/>
                      <a:pt x="13" y="3"/>
                      <a:pt x="15" y="1"/>
                    </a:cubicBezTo>
                    <a:cubicBezTo>
                      <a:pt x="15"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344"/>
              <p:cNvSpPr/>
              <p:nvPr/>
            </p:nvSpPr>
            <p:spPr bwMode="auto">
              <a:xfrm>
                <a:off x="9109606" y="4827502"/>
                <a:ext cx="1249254" cy="773874"/>
              </a:xfrm>
              <a:custGeom>
                <a:gdLst>
                  <a:gd name="T0" fmla="*/ 163 w 393"/>
                  <a:gd name="T1" fmla="*/ 14 h 244"/>
                  <a:gd name="T2" fmla="*/ 153 w 393"/>
                  <a:gd name="T3" fmla="*/ 9 h 244"/>
                  <a:gd name="T4" fmla="*/ 130 w 393"/>
                  <a:gd name="T5" fmla="*/ 23 h 244"/>
                  <a:gd name="T6" fmla="*/ 126 w 393"/>
                  <a:gd name="T7" fmla="*/ 36 h 244"/>
                  <a:gd name="T8" fmla="*/ 107 w 393"/>
                  <a:gd name="T9" fmla="*/ 49 h 244"/>
                  <a:gd name="T10" fmla="*/ 86 w 393"/>
                  <a:gd name="T11" fmla="*/ 49 h 244"/>
                  <a:gd name="T12" fmla="*/ 74 w 393"/>
                  <a:gd name="T13" fmla="*/ 46 h 244"/>
                  <a:gd name="T14" fmla="*/ 53 w 393"/>
                  <a:gd name="T15" fmla="*/ 24 h 244"/>
                  <a:gd name="T16" fmla="*/ 36 w 393"/>
                  <a:gd name="T17" fmla="*/ 14 h 244"/>
                  <a:gd name="T18" fmla="*/ 30 w 393"/>
                  <a:gd name="T19" fmla="*/ 18 h 244"/>
                  <a:gd name="T20" fmla="*/ 53 w 393"/>
                  <a:gd name="T21" fmla="*/ 60 h 244"/>
                  <a:gd name="T22" fmla="*/ 47 w 393"/>
                  <a:gd name="T23" fmla="*/ 66 h 244"/>
                  <a:gd name="T24" fmla="*/ 31 w 393"/>
                  <a:gd name="T25" fmla="*/ 69 h 244"/>
                  <a:gd name="T26" fmla="*/ 21 w 393"/>
                  <a:gd name="T27" fmla="*/ 65 h 244"/>
                  <a:gd name="T28" fmla="*/ 7 w 393"/>
                  <a:gd name="T29" fmla="*/ 89 h 244"/>
                  <a:gd name="T30" fmla="*/ 17 w 393"/>
                  <a:gd name="T31" fmla="*/ 91 h 244"/>
                  <a:gd name="T32" fmla="*/ 20 w 393"/>
                  <a:gd name="T33" fmla="*/ 90 h 244"/>
                  <a:gd name="T34" fmla="*/ 17 w 393"/>
                  <a:gd name="T35" fmla="*/ 105 h 244"/>
                  <a:gd name="T36" fmla="*/ 14 w 393"/>
                  <a:gd name="T37" fmla="*/ 111 h 244"/>
                  <a:gd name="T38" fmla="*/ 35 w 393"/>
                  <a:gd name="T39" fmla="*/ 183 h 244"/>
                  <a:gd name="T40" fmla="*/ 97 w 393"/>
                  <a:gd name="T41" fmla="*/ 150 h 244"/>
                  <a:gd name="T42" fmla="*/ 104 w 393"/>
                  <a:gd name="T43" fmla="*/ 145 h 244"/>
                  <a:gd name="T44" fmla="*/ 116 w 393"/>
                  <a:gd name="T45" fmla="*/ 143 h 244"/>
                  <a:gd name="T46" fmla="*/ 137 w 393"/>
                  <a:gd name="T47" fmla="*/ 155 h 244"/>
                  <a:gd name="T48" fmla="*/ 156 w 393"/>
                  <a:gd name="T49" fmla="*/ 161 h 244"/>
                  <a:gd name="T50" fmla="*/ 163 w 393"/>
                  <a:gd name="T51" fmla="*/ 164 h 244"/>
                  <a:gd name="T52" fmla="*/ 186 w 393"/>
                  <a:gd name="T53" fmla="*/ 166 h 244"/>
                  <a:gd name="T54" fmla="*/ 197 w 393"/>
                  <a:gd name="T55" fmla="*/ 178 h 244"/>
                  <a:gd name="T56" fmla="*/ 213 w 393"/>
                  <a:gd name="T57" fmla="*/ 188 h 244"/>
                  <a:gd name="T58" fmla="*/ 222 w 393"/>
                  <a:gd name="T59" fmla="*/ 197 h 244"/>
                  <a:gd name="T60" fmla="*/ 239 w 393"/>
                  <a:gd name="T61" fmla="*/ 197 h 244"/>
                  <a:gd name="T62" fmla="*/ 244 w 393"/>
                  <a:gd name="T63" fmla="*/ 216 h 244"/>
                  <a:gd name="T64" fmla="*/ 251 w 393"/>
                  <a:gd name="T65" fmla="*/ 233 h 244"/>
                  <a:gd name="T66" fmla="*/ 269 w 393"/>
                  <a:gd name="T67" fmla="*/ 240 h 244"/>
                  <a:gd name="T68" fmla="*/ 285 w 393"/>
                  <a:gd name="T69" fmla="*/ 241 h 244"/>
                  <a:gd name="T70" fmla="*/ 294 w 393"/>
                  <a:gd name="T71" fmla="*/ 229 h 244"/>
                  <a:gd name="T72" fmla="*/ 325 w 393"/>
                  <a:gd name="T73" fmla="*/ 214 h 244"/>
                  <a:gd name="T74" fmla="*/ 336 w 393"/>
                  <a:gd name="T75" fmla="*/ 198 h 244"/>
                  <a:gd name="T76" fmla="*/ 362 w 393"/>
                  <a:gd name="T77" fmla="*/ 178 h 244"/>
                  <a:gd name="T78" fmla="*/ 371 w 393"/>
                  <a:gd name="T79" fmla="*/ 168 h 244"/>
                  <a:gd name="T80" fmla="*/ 383 w 393"/>
                  <a:gd name="T81" fmla="*/ 173 h 244"/>
                  <a:gd name="T82" fmla="*/ 390 w 393"/>
                  <a:gd name="T83" fmla="*/ 174 h 244"/>
                  <a:gd name="T84" fmla="*/ 393 w 393"/>
                  <a:gd name="T85" fmla="*/ 162 h 244"/>
                  <a:gd name="T86" fmla="*/ 376 w 393"/>
                  <a:gd name="T87" fmla="*/ 150 h 244"/>
                  <a:gd name="T88" fmla="*/ 357 w 393"/>
                  <a:gd name="T89" fmla="*/ 145 h 244"/>
                  <a:gd name="T90" fmla="*/ 313 w 393"/>
                  <a:gd name="T91" fmla="*/ 118 h 244"/>
                  <a:gd name="T92" fmla="*/ 283 w 393"/>
                  <a:gd name="T93" fmla="*/ 98 h 244"/>
                  <a:gd name="T94" fmla="*/ 273 w 393"/>
                  <a:gd name="T95" fmla="*/ 85 h 244"/>
                  <a:gd name="T96" fmla="*/ 255 w 393"/>
                  <a:gd name="T97" fmla="*/ 52 h 244"/>
                  <a:gd name="T98" fmla="*/ 227 w 393"/>
                  <a:gd name="T99" fmla="*/ 51 h 244"/>
                  <a:gd name="T100" fmla="*/ 212 w 393"/>
                  <a:gd name="T101" fmla="*/ 47 h 244"/>
                  <a:gd name="T102" fmla="*/ 207 w 393"/>
                  <a:gd name="T103" fmla="*/ 34 h 244"/>
                  <a:gd name="T104" fmla="*/ 204 w 393"/>
                  <a:gd name="T105" fmla="*/ 20 h 244"/>
                  <a:gd name="T106" fmla="*/ 189 w 393"/>
                  <a:gd name="T107" fmla="*/ 14 h 244"/>
                  <a:gd name="T108" fmla="*/ 181 w 393"/>
                  <a:gd name="T109" fmla="*/ 7 h 244"/>
                  <a:gd name="T110" fmla="*/ 174 w 393"/>
                  <a:gd name="T111" fmla="*/ 5 h 2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3" h="244">
                    <a:moveTo>
                      <a:pt x="168" y="0"/>
                    </a:moveTo>
                    <a:cubicBezTo>
                      <a:pt x="168" y="0"/>
                      <a:pt x="168" y="0"/>
                      <a:pt x="168" y="0"/>
                    </a:cubicBezTo>
                    <a:cubicBezTo>
                      <a:pt x="165" y="3"/>
                      <a:pt x="164" y="4"/>
                      <a:pt x="165" y="5"/>
                    </a:cubicBezTo>
                    <a:cubicBezTo>
                      <a:pt x="165" y="6"/>
                      <a:pt x="167" y="8"/>
                      <a:pt x="167" y="9"/>
                    </a:cubicBezTo>
                    <a:cubicBezTo>
                      <a:pt x="182" y="26"/>
                      <a:pt x="182" y="26"/>
                      <a:pt x="182" y="26"/>
                    </a:cubicBezTo>
                    <a:cubicBezTo>
                      <a:pt x="163" y="14"/>
                      <a:pt x="163" y="14"/>
                      <a:pt x="163" y="14"/>
                    </a:cubicBezTo>
                    <a:cubicBezTo>
                      <a:pt x="162" y="14"/>
                      <a:pt x="161" y="13"/>
                      <a:pt x="161" y="12"/>
                    </a:cubicBezTo>
                    <a:cubicBezTo>
                      <a:pt x="160" y="11"/>
                      <a:pt x="160" y="11"/>
                      <a:pt x="160" y="11"/>
                    </a:cubicBezTo>
                    <a:cubicBezTo>
                      <a:pt x="159" y="10"/>
                      <a:pt x="158" y="10"/>
                      <a:pt x="157" y="9"/>
                    </a:cubicBezTo>
                    <a:cubicBezTo>
                      <a:pt x="156" y="9"/>
                      <a:pt x="156" y="9"/>
                      <a:pt x="156" y="9"/>
                    </a:cubicBezTo>
                    <a:cubicBezTo>
                      <a:pt x="155" y="9"/>
                      <a:pt x="155" y="9"/>
                      <a:pt x="154" y="9"/>
                    </a:cubicBezTo>
                    <a:cubicBezTo>
                      <a:pt x="153" y="9"/>
                      <a:pt x="153" y="9"/>
                      <a:pt x="153" y="9"/>
                    </a:cubicBezTo>
                    <a:cubicBezTo>
                      <a:pt x="153" y="9"/>
                      <a:pt x="153" y="10"/>
                      <a:pt x="152" y="11"/>
                    </a:cubicBezTo>
                    <a:cubicBezTo>
                      <a:pt x="152" y="12"/>
                      <a:pt x="152" y="13"/>
                      <a:pt x="151" y="14"/>
                    </a:cubicBezTo>
                    <a:cubicBezTo>
                      <a:pt x="149" y="18"/>
                      <a:pt x="146" y="19"/>
                      <a:pt x="142" y="20"/>
                    </a:cubicBezTo>
                    <a:cubicBezTo>
                      <a:pt x="141" y="21"/>
                      <a:pt x="140" y="21"/>
                      <a:pt x="138" y="21"/>
                    </a:cubicBezTo>
                    <a:cubicBezTo>
                      <a:pt x="136" y="22"/>
                      <a:pt x="133" y="22"/>
                      <a:pt x="131" y="23"/>
                    </a:cubicBezTo>
                    <a:cubicBezTo>
                      <a:pt x="131" y="23"/>
                      <a:pt x="130" y="23"/>
                      <a:pt x="130" y="23"/>
                    </a:cubicBezTo>
                    <a:cubicBezTo>
                      <a:pt x="130" y="23"/>
                      <a:pt x="130" y="23"/>
                      <a:pt x="130" y="23"/>
                    </a:cubicBezTo>
                    <a:cubicBezTo>
                      <a:pt x="129" y="24"/>
                      <a:pt x="128" y="28"/>
                      <a:pt x="127" y="29"/>
                    </a:cubicBezTo>
                    <a:cubicBezTo>
                      <a:pt x="127" y="31"/>
                      <a:pt x="126" y="32"/>
                      <a:pt x="126" y="33"/>
                    </a:cubicBezTo>
                    <a:cubicBezTo>
                      <a:pt x="126" y="34"/>
                      <a:pt x="126" y="34"/>
                      <a:pt x="126" y="34"/>
                    </a:cubicBezTo>
                    <a:cubicBezTo>
                      <a:pt x="126" y="35"/>
                      <a:pt x="126" y="35"/>
                      <a:pt x="126" y="35"/>
                    </a:cubicBezTo>
                    <a:cubicBezTo>
                      <a:pt x="126" y="36"/>
                      <a:pt x="126" y="36"/>
                      <a:pt x="126" y="36"/>
                    </a:cubicBezTo>
                    <a:cubicBezTo>
                      <a:pt x="126" y="36"/>
                      <a:pt x="126" y="37"/>
                      <a:pt x="127" y="38"/>
                    </a:cubicBezTo>
                    <a:cubicBezTo>
                      <a:pt x="127" y="39"/>
                      <a:pt x="127" y="40"/>
                      <a:pt x="127" y="40"/>
                    </a:cubicBezTo>
                    <a:cubicBezTo>
                      <a:pt x="128" y="40"/>
                      <a:pt x="128" y="40"/>
                      <a:pt x="128" y="40"/>
                    </a:cubicBezTo>
                    <a:cubicBezTo>
                      <a:pt x="148" y="42"/>
                      <a:pt x="148" y="42"/>
                      <a:pt x="148" y="42"/>
                    </a:cubicBezTo>
                    <a:cubicBezTo>
                      <a:pt x="128" y="47"/>
                      <a:pt x="128" y="47"/>
                      <a:pt x="128" y="47"/>
                    </a:cubicBezTo>
                    <a:cubicBezTo>
                      <a:pt x="121" y="48"/>
                      <a:pt x="114" y="49"/>
                      <a:pt x="107" y="49"/>
                    </a:cubicBezTo>
                    <a:cubicBezTo>
                      <a:pt x="102" y="49"/>
                      <a:pt x="98" y="49"/>
                      <a:pt x="94" y="48"/>
                    </a:cubicBezTo>
                    <a:cubicBezTo>
                      <a:pt x="93" y="48"/>
                      <a:pt x="93" y="48"/>
                      <a:pt x="93" y="48"/>
                    </a:cubicBezTo>
                    <a:cubicBezTo>
                      <a:pt x="93" y="49"/>
                      <a:pt x="92" y="49"/>
                      <a:pt x="92" y="49"/>
                    </a:cubicBezTo>
                    <a:cubicBezTo>
                      <a:pt x="90" y="49"/>
                      <a:pt x="90" y="49"/>
                      <a:pt x="90" y="49"/>
                    </a:cubicBezTo>
                    <a:cubicBezTo>
                      <a:pt x="90" y="48"/>
                      <a:pt x="90" y="48"/>
                      <a:pt x="90" y="48"/>
                    </a:cubicBezTo>
                    <a:cubicBezTo>
                      <a:pt x="89" y="49"/>
                      <a:pt x="87" y="49"/>
                      <a:pt x="86" y="49"/>
                    </a:cubicBezTo>
                    <a:cubicBezTo>
                      <a:pt x="84" y="49"/>
                      <a:pt x="81" y="49"/>
                      <a:pt x="79" y="49"/>
                    </a:cubicBezTo>
                    <a:cubicBezTo>
                      <a:pt x="79" y="50"/>
                      <a:pt x="79" y="50"/>
                      <a:pt x="79" y="50"/>
                    </a:cubicBezTo>
                    <a:cubicBezTo>
                      <a:pt x="78" y="49"/>
                      <a:pt x="78" y="49"/>
                      <a:pt x="78" y="49"/>
                    </a:cubicBezTo>
                    <a:cubicBezTo>
                      <a:pt x="78" y="49"/>
                      <a:pt x="77" y="49"/>
                      <a:pt x="76" y="49"/>
                    </a:cubicBezTo>
                    <a:cubicBezTo>
                      <a:pt x="76" y="48"/>
                      <a:pt x="76" y="48"/>
                      <a:pt x="76" y="48"/>
                    </a:cubicBezTo>
                    <a:cubicBezTo>
                      <a:pt x="75" y="48"/>
                      <a:pt x="74" y="47"/>
                      <a:pt x="74" y="46"/>
                    </a:cubicBezTo>
                    <a:cubicBezTo>
                      <a:pt x="72" y="44"/>
                      <a:pt x="70" y="42"/>
                      <a:pt x="68" y="40"/>
                    </a:cubicBezTo>
                    <a:cubicBezTo>
                      <a:pt x="67" y="38"/>
                      <a:pt x="67" y="38"/>
                      <a:pt x="67" y="38"/>
                    </a:cubicBezTo>
                    <a:cubicBezTo>
                      <a:pt x="67" y="37"/>
                      <a:pt x="66" y="36"/>
                      <a:pt x="65" y="35"/>
                    </a:cubicBezTo>
                    <a:cubicBezTo>
                      <a:pt x="64" y="33"/>
                      <a:pt x="62" y="31"/>
                      <a:pt x="60" y="30"/>
                    </a:cubicBezTo>
                    <a:cubicBezTo>
                      <a:pt x="58" y="28"/>
                      <a:pt x="58" y="28"/>
                      <a:pt x="58" y="28"/>
                    </a:cubicBezTo>
                    <a:cubicBezTo>
                      <a:pt x="56" y="27"/>
                      <a:pt x="54" y="25"/>
                      <a:pt x="53" y="24"/>
                    </a:cubicBezTo>
                    <a:cubicBezTo>
                      <a:pt x="50" y="21"/>
                      <a:pt x="46" y="18"/>
                      <a:pt x="43" y="16"/>
                    </a:cubicBezTo>
                    <a:cubicBezTo>
                      <a:pt x="42" y="15"/>
                      <a:pt x="42" y="15"/>
                      <a:pt x="42" y="15"/>
                    </a:cubicBezTo>
                    <a:cubicBezTo>
                      <a:pt x="42" y="15"/>
                      <a:pt x="41" y="14"/>
                      <a:pt x="41" y="14"/>
                    </a:cubicBezTo>
                    <a:cubicBezTo>
                      <a:pt x="40" y="14"/>
                      <a:pt x="40" y="14"/>
                      <a:pt x="39" y="14"/>
                    </a:cubicBezTo>
                    <a:cubicBezTo>
                      <a:pt x="39" y="14"/>
                      <a:pt x="39" y="14"/>
                      <a:pt x="38" y="14"/>
                    </a:cubicBezTo>
                    <a:cubicBezTo>
                      <a:pt x="38" y="14"/>
                      <a:pt x="37" y="14"/>
                      <a:pt x="36" y="14"/>
                    </a:cubicBezTo>
                    <a:cubicBezTo>
                      <a:pt x="35" y="14"/>
                      <a:pt x="35" y="14"/>
                      <a:pt x="35" y="14"/>
                    </a:cubicBezTo>
                    <a:cubicBezTo>
                      <a:pt x="32" y="15"/>
                      <a:pt x="29" y="15"/>
                      <a:pt x="25" y="16"/>
                    </a:cubicBezTo>
                    <a:cubicBezTo>
                      <a:pt x="21" y="16"/>
                      <a:pt x="16" y="18"/>
                      <a:pt x="12" y="20"/>
                    </a:cubicBezTo>
                    <a:cubicBezTo>
                      <a:pt x="14" y="19"/>
                      <a:pt x="16" y="19"/>
                      <a:pt x="19" y="18"/>
                    </a:cubicBezTo>
                    <a:cubicBezTo>
                      <a:pt x="21" y="18"/>
                      <a:pt x="24" y="17"/>
                      <a:pt x="27" y="17"/>
                    </a:cubicBezTo>
                    <a:cubicBezTo>
                      <a:pt x="28" y="17"/>
                      <a:pt x="29" y="17"/>
                      <a:pt x="30" y="18"/>
                    </a:cubicBezTo>
                    <a:cubicBezTo>
                      <a:pt x="37" y="19"/>
                      <a:pt x="33" y="21"/>
                      <a:pt x="34" y="25"/>
                    </a:cubicBezTo>
                    <a:cubicBezTo>
                      <a:pt x="35" y="28"/>
                      <a:pt x="37" y="30"/>
                      <a:pt x="38" y="33"/>
                    </a:cubicBezTo>
                    <a:cubicBezTo>
                      <a:pt x="38" y="36"/>
                      <a:pt x="38" y="38"/>
                      <a:pt x="40" y="40"/>
                    </a:cubicBezTo>
                    <a:cubicBezTo>
                      <a:pt x="44" y="44"/>
                      <a:pt x="50" y="47"/>
                      <a:pt x="55" y="50"/>
                    </a:cubicBezTo>
                    <a:cubicBezTo>
                      <a:pt x="57" y="52"/>
                      <a:pt x="60" y="55"/>
                      <a:pt x="58" y="58"/>
                    </a:cubicBezTo>
                    <a:cubicBezTo>
                      <a:pt x="57" y="60"/>
                      <a:pt x="55" y="60"/>
                      <a:pt x="53" y="60"/>
                    </a:cubicBezTo>
                    <a:cubicBezTo>
                      <a:pt x="53" y="60"/>
                      <a:pt x="52" y="60"/>
                      <a:pt x="51" y="60"/>
                    </a:cubicBezTo>
                    <a:cubicBezTo>
                      <a:pt x="50" y="60"/>
                      <a:pt x="49" y="60"/>
                      <a:pt x="48" y="60"/>
                    </a:cubicBezTo>
                    <a:cubicBezTo>
                      <a:pt x="46" y="60"/>
                      <a:pt x="45" y="61"/>
                      <a:pt x="45" y="63"/>
                    </a:cubicBezTo>
                    <a:cubicBezTo>
                      <a:pt x="45" y="64"/>
                      <a:pt x="46" y="66"/>
                      <a:pt x="48" y="66"/>
                    </a:cubicBezTo>
                    <a:cubicBezTo>
                      <a:pt x="48" y="66"/>
                      <a:pt x="48" y="66"/>
                      <a:pt x="48" y="66"/>
                    </a:cubicBezTo>
                    <a:cubicBezTo>
                      <a:pt x="47" y="66"/>
                      <a:pt x="47" y="66"/>
                      <a:pt x="47" y="66"/>
                    </a:cubicBezTo>
                    <a:cubicBezTo>
                      <a:pt x="48" y="67"/>
                      <a:pt x="48" y="67"/>
                      <a:pt x="48" y="67"/>
                    </a:cubicBezTo>
                    <a:cubicBezTo>
                      <a:pt x="47" y="67"/>
                      <a:pt x="45" y="67"/>
                      <a:pt x="43" y="67"/>
                    </a:cubicBezTo>
                    <a:cubicBezTo>
                      <a:pt x="43" y="67"/>
                      <a:pt x="42" y="67"/>
                      <a:pt x="42" y="67"/>
                    </a:cubicBezTo>
                    <a:cubicBezTo>
                      <a:pt x="41" y="67"/>
                      <a:pt x="41" y="67"/>
                      <a:pt x="40" y="67"/>
                    </a:cubicBezTo>
                    <a:cubicBezTo>
                      <a:pt x="38" y="67"/>
                      <a:pt x="36" y="67"/>
                      <a:pt x="34" y="68"/>
                    </a:cubicBezTo>
                    <a:cubicBezTo>
                      <a:pt x="33" y="68"/>
                      <a:pt x="32" y="69"/>
                      <a:pt x="31" y="69"/>
                    </a:cubicBezTo>
                    <a:cubicBezTo>
                      <a:pt x="30" y="69"/>
                      <a:pt x="30" y="69"/>
                      <a:pt x="30" y="69"/>
                    </a:cubicBezTo>
                    <a:cubicBezTo>
                      <a:pt x="27" y="68"/>
                      <a:pt x="28" y="63"/>
                      <a:pt x="27" y="62"/>
                    </a:cubicBezTo>
                    <a:cubicBezTo>
                      <a:pt x="26" y="61"/>
                      <a:pt x="26" y="61"/>
                      <a:pt x="26" y="61"/>
                    </a:cubicBezTo>
                    <a:cubicBezTo>
                      <a:pt x="26" y="61"/>
                      <a:pt x="26" y="62"/>
                      <a:pt x="24" y="64"/>
                    </a:cubicBezTo>
                    <a:cubicBezTo>
                      <a:pt x="23" y="64"/>
                      <a:pt x="23" y="65"/>
                      <a:pt x="21" y="65"/>
                    </a:cubicBezTo>
                    <a:cubicBezTo>
                      <a:pt x="21" y="65"/>
                      <a:pt x="21" y="65"/>
                      <a:pt x="21" y="65"/>
                    </a:cubicBezTo>
                    <a:cubicBezTo>
                      <a:pt x="20" y="65"/>
                      <a:pt x="15" y="64"/>
                      <a:pt x="14" y="64"/>
                    </a:cubicBezTo>
                    <a:cubicBezTo>
                      <a:pt x="10" y="63"/>
                      <a:pt x="8" y="58"/>
                      <a:pt x="6" y="54"/>
                    </a:cubicBezTo>
                    <a:cubicBezTo>
                      <a:pt x="5" y="60"/>
                      <a:pt x="5" y="66"/>
                      <a:pt x="2" y="71"/>
                    </a:cubicBezTo>
                    <a:cubicBezTo>
                      <a:pt x="1" y="73"/>
                      <a:pt x="0" y="76"/>
                      <a:pt x="0" y="79"/>
                    </a:cubicBezTo>
                    <a:cubicBezTo>
                      <a:pt x="0" y="81"/>
                      <a:pt x="1" y="83"/>
                      <a:pt x="2" y="85"/>
                    </a:cubicBezTo>
                    <a:cubicBezTo>
                      <a:pt x="2" y="90"/>
                      <a:pt x="1" y="89"/>
                      <a:pt x="7" y="89"/>
                    </a:cubicBezTo>
                    <a:cubicBezTo>
                      <a:pt x="8" y="89"/>
                      <a:pt x="8" y="89"/>
                      <a:pt x="9" y="89"/>
                    </a:cubicBezTo>
                    <a:cubicBezTo>
                      <a:pt x="9" y="89"/>
                      <a:pt x="10" y="89"/>
                      <a:pt x="10" y="89"/>
                    </a:cubicBezTo>
                    <a:cubicBezTo>
                      <a:pt x="11" y="89"/>
                      <a:pt x="11" y="89"/>
                      <a:pt x="12" y="89"/>
                    </a:cubicBezTo>
                    <a:cubicBezTo>
                      <a:pt x="12" y="89"/>
                      <a:pt x="12" y="89"/>
                      <a:pt x="12" y="89"/>
                    </a:cubicBezTo>
                    <a:cubicBezTo>
                      <a:pt x="14" y="90"/>
                      <a:pt x="15" y="90"/>
                      <a:pt x="16" y="91"/>
                    </a:cubicBezTo>
                    <a:cubicBezTo>
                      <a:pt x="16" y="91"/>
                      <a:pt x="17" y="91"/>
                      <a:pt x="17" y="91"/>
                    </a:cubicBezTo>
                    <a:cubicBezTo>
                      <a:pt x="17" y="91"/>
                      <a:pt x="17" y="91"/>
                      <a:pt x="18" y="91"/>
                    </a:cubicBezTo>
                    <a:cubicBezTo>
                      <a:pt x="18" y="90"/>
                      <a:pt x="18" y="90"/>
                      <a:pt x="18" y="90"/>
                    </a:cubicBezTo>
                    <a:cubicBezTo>
                      <a:pt x="19" y="90"/>
                      <a:pt x="19" y="90"/>
                      <a:pt x="19" y="90"/>
                    </a:cubicBezTo>
                    <a:cubicBezTo>
                      <a:pt x="19" y="90"/>
                      <a:pt x="19" y="90"/>
                      <a:pt x="19" y="90"/>
                    </a:cubicBezTo>
                    <a:cubicBezTo>
                      <a:pt x="19" y="90"/>
                      <a:pt x="19" y="90"/>
                      <a:pt x="20" y="90"/>
                    </a:cubicBezTo>
                    <a:cubicBezTo>
                      <a:pt x="20" y="90"/>
                      <a:pt x="20" y="90"/>
                      <a:pt x="20" y="90"/>
                    </a:cubicBezTo>
                    <a:cubicBezTo>
                      <a:pt x="20" y="90"/>
                      <a:pt x="21" y="90"/>
                      <a:pt x="21" y="90"/>
                    </a:cubicBezTo>
                    <a:cubicBezTo>
                      <a:pt x="22" y="91"/>
                      <a:pt x="20" y="95"/>
                      <a:pt x="20" y="96"/>
                    </a:cubicBezTo>
                    <a:cubicBezTo>
                      <a:pt x="21" y="100"/>
                      <a:pt x="25" y="102"/>
                      <a:pt x="29" y="104"/>
                    </a:cubicBezTo>
                    <a:cubicBezTo>
                      <a:pt x="27" y="105"/>
                      <a:pt x="25" y="105"/>
                      <a:pt x="23" y="106"/>
                    </a:cubicBezTo>
                    <a:cubicBezTo>
                      <a:pt x="23" y="105"/>
                      <a:pt x="23" y="103"/>
                      <a:pt x="23" y="102"/>
                    </a:cubicBezTo>
                    <a:cubicBezTo>
                      <a:pt x="22" y="103"/>
                      <a:pt x="19" y="105"/>
                      <a:pt x="17" y="105"/>
                    </a:cubicBezTo>
                    <a:cubicBezTo>
                      <a:pt x="16" y="105"/>
                      <a:pt x="16" y="105"/>
                      <a:pt x="15" y="105"/>
                    </a:cubicBezTo>
                    <a:cubicBezTo>
                      <a:pt x="15" y="104"/>
                      <a:pt x="17" y="101"/>
                      <a:pt x="17" y="100"/>
                    </a:cubicBezTo>
                    <a:cubicBezTo>
                      <a:pt x="16" y="100"/>
                      <a:pt x="12" y="105"/>
                      <a:pt x="12" y="107"/>
                    </a:cubicBezTo>
                    <a:cubicBezTo>
                      <a:pt x="11" y="110"/>
                      <a:pt x="13" y="113"/>
                      <a:pt x="13" y="116"/>
                    </a:cubicBezTo>
                    <a:cubicBezTo>
                      <a:pt x="14" y="114"/>
                      <a:pt x="15" y="112"/>
                      <a:pt x="13" y="111"/>
                    </a:cubicBezTo>
                    <a:cubicBezTo>
                      <a:pt x="14" y="111"/>
                      <a:pt x="14" y="111"/>
                      <a:pt x="14" y="111"/>
                    </a:cubicBezTo>
                    <a:cubicBezTo>
                      <a:pt x="21" y="111"/>
                      <a:pt x="26" y="117"/>
                      <a:pt x="32" y="122"/>
                    </a:cubicBezTo>
                    <a:cubicBezTo>
                      <a:pt x="35" y="124"/>
                      <a:pt x="36" y="124"/>
                      <a:pt x="35" y="128"/>
                    </a:cubicBezTo>
                    <a:cubicBezTo>
                      <a:pt x="34" y="131"/>
                      <a:pt x="33" y="133"/>
                      <a:pt x="32" y="136"/>
                    </a:cubicBezTo>
                    <a:cubicBezTo>
                      <a:pt x="31" y="145"/>
                      <a:pt x="31" y="156"/>
                      <a:pt x="32" y="165"/>
                    </a:cubicBezTo>
                    <a:cubicBezTo>
                      <a:pt x="33" y="167"/>
                      <a:pt x="33" y="176"/>
                      <a:pt x="34" y="177"/>
                    </a:cubicBezTo>
                    <a:cubicBezTo>
                      <a:pt x="35" y="179"/>
                      <a:pt x="35" y="181"/>
                      <a:pt x="35" y="183"/>
                    </a:cubicBezTo>
                    <a:cubicBezTo>
                      <a:pt x="36" y="185"/>
                      <a:pt x="36" y="187"/>
                      <a:pt x="36" y="188"/>
                    </a:cubicBezTo>
                    <a:cubicBezTo>
                      <a:pt x="72" y="153"/>
                      <a:pt x="72" y="153"/>
                      <a:pt x="72" y="153"/>
                    </a:cubicBezTo>
                    <a:cubicBezTo>
                      <a:pt x="76" y="151"/>
                      <a:pt x="82" y="150"/>
                      <a:pt x="88" y="150"/>
                    </a:cubicBezTo>
                    <a:cubicBezTo>
                      <a:pt x="89" y="150"/>
                      <a:pt x="90" y="149"/>
                      <a:pt x="90" y="149"/>
                    </a:cubicBezTo>
                    <a:cubicBezTo>
                      <a:pt x="92" y="149"/>
                      <a:pt x="94" y="150"/>
                      <a:pt x="96" y="150"/>
                    </a:cubicBezTo>
                    <a:cubicBezTo>
                      <a:pt x="97" y="150"/>
                      <a:pt x="97" y="150"/>
                      <a:pt x="97" y="150"/>
                    </a:cubicBezTo>
                    <a:cubicBezTo>
                      <a:pt x="97" y="150"/>
                      <a:pt x="97" y="150"/>
                      <a:pt x="98" y="150"/>
                    </a:cubicBezTo>
                    <a:cubicBezTo>
                      <a:pt x="98" y="150"/>
                      <a:pt x="98" y="150"/>
                      <a:pt x="98" y="150"/>
                    </a:cubicBezTo>
                    <a:cubicBezTo>
                      <a:pt x="98" y="150"/>
                      <a:pt x="98" y="150"/>
                      <a:pt x="98" y="150"/>
                    </a:cubicBezTo>
                    <a:cubicBezTo>
                      <a:pt x="98" y="150"/>
                      <a:pt x="98" y="150"/>
                      <a:pt x="98" y="150"/>
                    </a:cubicBezTo>
                    <a:cubicBezTo>
                      <a:pt x="100" y="150"/>
                      <a:pt x="100" y="150"/>
                      <a:pt x="102" y="147"/>
                    </a:cubicBezTo>
                    <a:cubicBezTo>
                      <a:pt x="103" y="146"/>
                      <a:pt x="103" y="146"/>
                      <a:pt x="104" y="145"/>
                    </a:cubicBezTo>
                    <a:cubicBezTo>
                      <a:pt x="104" y="145"/>
                      <a:pt x="104" y="145"/>
                      <a:pt x="104" y="145"/>
                    </a:cubicBezTo>
                    <a:cubicBezTo>
                      <a:pt x="105" y="145"/>
                      <a:pt x="106" y="144"/>
                      <a:pt x="107" y="144"/>
                    </a:cubicBezTo>
                    <a:cubicBezTo>
                      <a:pt x="107" y="144"/>
                      <a:pt x="107" y="144"/>
                      <a:pt x="107" y="144"/>
                    </a:cubicBezTo>
                    <a:cubicBezTo>
                      <a:pt x="109" y="144"/>
                      <a:pt x="111" y="143"/>
                      <a:pt x="114" y="143"/>
                    </a:cubicBezTo>
                    <a:cubicBezTo>
                      <a:pt x="114" y="143"/>
                      <a:pt x="115" y="143"/>
                      <a:pt x="115" y="143"/>
                    </a:cubicBezTo>
                    <a:cubicBezTo>
                      <a:pt x="116" y="143"/>
                      <a:pt x="116" y="143"/>
                      <a:pt x="116" y="143"/>
                    </a:cubicBezTo>
                    <a:cubicBezTo>
                      <a:pt x="118" y="143"/>
                      <a:pt x="120" y="144"/>
                      <a:pt x="122" y="144"/>
                    </a:cubicBezTo>
                    <a:cubicBezTo>
                      <a:pt x="123" y="144"/>
                      <a:pt x="123" y="144"/>
                      <a:pt x="123" y="144"/>
                    </a:cubicBezTo>
                    <a:cubicBezTo>
                      <a:pt x="124" y="144"/>
                      <a:pt x="125" y="144"/>
                      <a:pt x="126" y="144"/>
                    </a:cubicBezTo>
                    <a:cubicBezTo>
                      <a:pt x="132" y="145"/>
                      <a:pt x="134" y="149"/>
                      <a:pt x="135" y="152"/>
                    </a:cubicBezTo>
                    <a:cubicBezTo>
                      <a:pt x="135" y="152"/>
                      <a:pt x="135" y="152"/>
                      <a:pt x="135" y="152"/>
                    </a:cubicBezTo>
                    <a:cubicBezTo>
                      <a:pt x="136" y="154"/>
                      <a:pt x="136" y="154"/>
                      <a:pt x="137" y="155"/>
                    </a:cubicBezTo>
                    <a:cubicBezTo>
                      <a:pt x="140" y="155"/>
                      <a:pt x="142" y="155"/>
                      <a:pt x="144" y="156"/>
                    </a:cubicBezTo>
                    <a:cubicBezTo>
                      <a:pt x="144" y="156"/>
                      <a:pt x="146" y="156"/>
                      <a:pt x="147" y="157"/>
                    </a:cubicBezTo>
                    <a:cubicBezTo>
                      <a:pt x="148" y="157"/>
                      <a:pt x="148" y="157"/>
                      <a:pt x="148" y="157"/>
                    </a:cubicBezTo>
                    <a:cubicBezTo>
                      <a:pt x="149" y="157"/>
                      <a:pt x="149" y="157"/>
                      <a:pt x="150" y="157"/>
                    </a:cubicBezTo>
                    <a:cubicBezTo>
                      <a:pt x="152" y="158"/>
                      <a:pt x="153" y="159"/>
                      <a:pt x="155" y="160"/>
                    </a:cubicBezTo>
                    <a:cubicBezTo>
                      <a:pt x="156" y="161"/>
                      <a:pt x="156" y="161"/>
                      <a:pt x="156" y="161"/>
                    </a:cubicBezTo>
                    <a:cubicBezTo>
                      <a:pt x="156" y="162"/>
                      <a:pt x="157" y="162"/>
                      <a:pt x="158" y="163"/>
                    </a:cubicBezTo>
                    <a:cubicBezTo>
                      <a:pt x="159" y="164"/>
                      <a:pt x="159" y="164"/>
                      <a:pt x="159" y="164"/>
                    </a:cubicBezTo>
                    <a:cubicBezTo>
                      <a:pt x="159" y="164"/>
                      <a:pt x="159" y="164"/>
                      <a:pt x="159" y="164"/>
                    </a:cubicBezTo>
                    <a:cubicBezTo>
                      <a:pt x="160" y="164"/>
                      <a:pt x="160" y="164"/>
                      <a:pt x="161" y="164"/>
                    </a:cubicBezTo>
                    <a:cubicBezTo>
                      <a:pt x="162" y="164"/>
                      <a:pt x="162" y="164"/>
                      <a:pt x="162" y="164"/>
                    </a:cubicBezTo>
                    <a:cubicBezTo>
                      <a:pt x="162" y="164"/>
                      <a:pt x="163" y="164"/>
                      <a:pt x="163" y="164"/>
                    </a:cubicBezTo>
                    <a:cubicBezTo>
                      <a:pt x="164" y="164"/>
                      <a:pt x="164" y="164"/>
                      <a:pt x="164" y="164"/>
                    </a:cubicBezTo>
                    <a:cubicBezTo>
                      <a:pt x="164" y="164"/>
                      <a:pt x="165" y="164"/>
                      <a:pt x="165" y="164"/>
                    </a:cubicBezTo>
                    <a:cubicBezTo>
                      <a:pt x="165" y="164"/>
                      <a:pt x="165" y="164"/>
                      <a:pt x="166" y="164"/>
                    </a:cubicBezTo>
                    <a:cubicBezTo>
                      <a:pt x="172" y="164"/>
                      <a:pt x="172" y="164"/>
                      <a:pt x="172" y="164"/>
                    </a:cubicBezTo>
                    <a:cubicBezTo>
                      <a:pt x="173" y="164"/>
                      <a:pt x="174" y="164"/>
                      <a:pt x="175" y="164"/>
                    </a:cubicBezTo>
                    <a:cubicBezTo>
                      <a:pt x="179" y="164"/>
                      <a:pt x="182" y="165"/>
                      <a:pt x="186" y="166"/>
                    </a:cubicBezTo>
                    <a:cubicBezTo>
                      <a:pt x="186" y="166"/>
                      <a:pt x="186" y="166"/>
                      <a:pt x="187" y="166"/>
                    </a:cubicBezTo>
                    <a:cubicBezTo>
                      <a:pt x="187" y="167"/>
                      <a:pt x="187" y="167"/>
                      <a:pt x="187" y="167"/>
                    </a:cubicBezTo>
                    <a:cubicBezTo>
                      <a:pt x="188" y="167"/>
                      <a:pt x="188" y="167"/>
                      <a:pt x="188" y="167"/>
                    </a:cubicBezTo>
                    <a:cubicBezTo>
                      <a:pt x="190" y="168"/>
                      <a:pt x="192" y="170"/>
                      <a:pt x="193" y="171"/>
                    </a:cubicBezTo>
                    <a:cubicBezTo>
                      <a:pt x="193" y="172"/>
                      <a:pt x="193" y="172"/>
                      <a:pt x="193" y="172"/>
                    </a:cubicBezTo>
                    <a:cubicBezTo>
                      <a:pt x="195" y="174"/>
                      <a:pt x="196" y="176"/>
                      <a:pt x="197" y="178"/>
                    </a:cubicBezTo>
                    <a:cubicBezTo>
                      <a:pt x="198" y="179"/>
                      <a:pt x="198" y="179"/>
                      <a:pt x="198" y="179"/>
                    </a:cubicBezTo>
                    <a:cubicBezTo>
                      <a:pt x="198" y="180"/>
                      <a:pt x="198" y="181"/>
                      <a:pt x="199" y="181"/>
                    </a:cubicBezTo>
                    <a:cubicBezTo>
                      <a:pt x="201" y="182"/>
                      <a:pt x="201" y="182"/>
                      <a:pt x="201" y="182"/>
                    </a:cubicBezTo>
                    <a:cubicBezTo>
                      <a:pt x="204" y="182"/>
                      <a:pt x="207" y="183"/>
                      <a:pt x="209" y="184"/>
                    </a:cubicBezTo>
                    <a:cubicBezTo>
                      <a:pt x="211" y="185"/>
                      <a:pt x="212" y="186"/>
                      <a:pt x="212" y="187"/>
                    </a:cubicBezTo>
                    <a:cubicBezTo>
                      <a:pt x="213" y="188"/>
                      <a:pt x="213" y="188"/>
                      <a:pt x="213" y="188"/>
                    </a:cubicBezTo>
                    <a:cubicBezTo>
                      <a:pt x="214" y="189"/>
                      <a:pt x="215" y="191"/>
                      <a:pt x="215" y="192"/>
                    </a:cubicBezTo>
                    <a:cubicBezTo>
                      <a:pt x="217" y="194"/>
                      <a:pt x="217" y="194"/>
                      <a:pt x="217" y="194"/>
                    </a:cubicBezTo>
                    <a:cubicBezTo>
                      <a:pt x="218" y="195"/>
                      <a:pt x="218" y="196"/>
                      <a:pt x="219" y="196"/>
                    </a:cubicBezTo>
                    <a:cubicBezTo>
                      <a:pt x="219" y="196"/>
                      <a:pt x="219" y="196"/>
                      <a:pt x="219" y="196"/>
                    </a:cubicBezTo>
                    <a:cubicBezTo>
                      <a:pt x="219" y="196"/>
                      <a:pt x="220" y="197"/>
                      <a:pt x="221" y="197"/>
                    </a:cubicBezTo>
                    <a:cubicBezTo>
                      <a:pt x="222" y="197"/>
                      <a:pt x="222" y="197"/>
                      <a:pt x="222" y="197"/>
                    </a:cubicBezTo>
                    <a:cubicBezTo>
                      <a:pt x="224" y="197"/>
                      <a:pt x="225" y="197"/>
                      <a:pt x="227" y="197"/>
                    </a:cubicBezTo>
                    <a:cubicBezTo>
                      <a:pt x="228" y="197"/>
                      <a:pt x="228" y="197"/>
                      <a:pt x="228" y="197"/>
                    </a:cubicBezTo>
                    <a:cubicBezTo>
                      <a:pt x="229" y="196"/>
                      <a:pt x="230" y="196"/>
                      <a:pt x="230" y="196"/>
                    </a:cubicBezTo>
                    <a:cubicBezTo>
                      <a:pt x="231" y="196"/>
                      <a:pt x="232" y="196"/>
                      <a:pt x="233" y="196"/>
                    </a:cubicBezTo>
                    <a:cubicBezTo>
                      <a:pt x="235" y="196"/>
                      <a:pt x="237" y="196"/>
                      <a:pt x="239" y="197"/>
                    </a:cubicBezTo>
                    <a:cubicBezTo>
                      <a:pt x="239" y="197"/>
                      <a:pt x="239" y="197"/>
                      <a:pt x="239" y="197"/>
                    </a:cubicBezTo>
                    <a:cubicBezTo>
                      <a:pt x="240" y="197"/>
                      <a:pt x="241" y="197"/>
                      <a:pt x="242" y="198"/>
                    </a:cubicBezTo>
                    <a:cubicBezTo>
                      <a:pt x="243" y="199"/>
                      <a:pt x="244" y="200"/>
                      <a:pt x="244" y="201"/>
                    </a:cubicBezTo>
                    <a:cubicBezTo>
                      <a:pt x="244" y="202"/>
                      <a:pt x="244" y="202"/>
                      <a:pt x="244" y="202"/>
                    </a:cubicBezTo>
                    <a:cubicBezTo>
                      <a:pt x="245" y="205"/>
                      <a:pt x="245" y="208"/>
                      <a:pt x="244" y="211"/>
                    </a:cubicBezTo>
                    <a:cubicBezTo>
                      <a:pt x="244" y="212"/>
                      <a:pt x="244" y="213"/>
                      <a:pt x="244" y="214"/>
                    </a:cubicBezTo>
                    <a:cubicBezTo>
                      <a:pt x="244" y="216"/>
                      <a:pt x="244" y="216"/>
                      <a:pt x="244" y="216"/>
                    </a:cubicBezTo>
                    <a:cubicBezTo>
                      <a:pt x="244" y="219"/>
                      <a:pt x="244" y="222"/>
                      <a:pt x="245" y="224"/>
                    </a:cubicBezTo>
                    <a:cubicBezTo>
                      <a:pt x="246" y="228"/>
                      <a:pt x="246" y="228"/>
                      <a:pt x="246" y="228"/>
                    </a:cubicBezTo>
                    <a:cubicBezTo>
                      <a:pt x="247" y="229"/>
                      <a:pt x="247" y="230"/>
                      <a:pt x="247" y="231"/>
                    </a:cubicBezTo>
                    <a:cubicBezTo>
                      <a:pt x="247" y="232"/>
                      <a:pt x="247" y="232"/>
                      <a:pt x="247" y="232"/>
                    </a:cubicBezTo>
                    <a:cubicBezTo>
                      <a:pt x="248" y="232"/>
                      <a:pt x="248" y="232"/>
                      <a:pt x="248" y="232"/>
                    </a:cubicBezTo>
                    <a:cubicBezTo>
                      <a:pt x="251" y="233"/>
                      <a:pt x="251" y="233"/>
                      <a:pt x="251" y="233"/>
                    </a:cubicBezTo>
                    <a:cubicBezTo>
                      <a:pt x="251" y="233"/>
                      <a:pt x="251" y="233"/>
                      <a:pt x="251" y="233"/>
                    </a:cubicBezTo>
                    <a:cubicBezTo>
                      <a:pt x="253" y="234"/>
                      <a:pt x="255" y="234"/>
                      <a:pt x="257" y="234"/>
                    </a:cubicBezTo>
                    <a:cubicBezTo>
                      <a:pt x="257" y="234"/>
                      <a:pt x="257" y="234"/>
                      <a:pt x="257" y="234"/>
                    </a:cubicBezTo>
                    <a:cubicBezTo>
                      <a:pt x="259" y="235"/>
                      <a:pt x="260" y="235"/>
                      <a:pt x="261" y="235"/>
                    </a:cubicBezTo>
                    <a:cubicBezTo>
                      <a:pt x="263" y="236"/>
                      <a:pt x="265" y="237"/>
                      <a:pt x="267" y="238"/>
                    </a:cubicBezTo>
                    <a:cubicBezTo>
                      <a:pt x="268" y="239"/>
                      <a:pt x="268" y="239"/>
                      <a:pt x="269" y="240"/>
                    </a:cubicBezTo>
                    <a:cubicBezTo>
                      <a:pt x="271" y="242"/>
                      <a:pt x="271" y="242"/>
                      <a:pt x="271" y="242"/>
                    </a:cubicBezTo>
                    <a:cubicBezTo>
                      <a:pt x="271" y="243"/>
                      <a:pt x="272" y="243"/>
                      <a:pt x="272" y="244"/>
                    </a:cubicBezTo>
                    <a:cubicBezTo>
                      <a:pt x="273" y="244"/>
                      <a:pt x="273" y="244"/>
                      <a:pt x="273" y="244"/>
                    </a:cubicBezTo>
                    <a:cubicBezTo>
                      <a:pt x="273" y="244"/>
                      <a:pt x="273" y="244"/>
                      <a:pt x="273" y="244"/>
                    </a:cubicBezTo>
                    <a:cubicBezTo>
                      <a:pt x="277" y="241"/>
                      <a:pt x="280" y="241"/>
                      <a:pt x="282" y="241"/>
                    </a:cubicBezTo>
                    <a:cubicBezTo>
                      <a:pt x="285" y="241"/>
                      <a:pt x="285" y="241"/>
                      <a:pt x="285" y="241"/>
                    </a:cubicBezTo>
                    <a:cubicBezTo>
                      <a:pt x="286" y="240"/>
                      <a:pt x="286" y="240"/>
                      <a:pt x="286" y="240"/>
                    </a:cubicBezTo>
                    <a:cubicBezTo>
                      <a:pt x="287" y="240"/>
                      <a:pt x="287" y="240"/>
                      <a:pt x="287" y="240"/>
                    </a:cubicBezTo>
                    <a:cubicBezTo>
                      <a:pt x="288" y="240"/>
                      <a:pt x="290" y="238"/>
                      <a:pt x="293" y="235"/>
                    </a:cubicBezTo>
                    <a:cubicBezTo>
                      <a:pt x="294" y="234"/>
                      <a:pt x="294" y="234"/>
                      <a:pt x="294" y="234"/>
                    </a:cubicBezTo>
                    <a:cubicBezTo>
                      <a:pt x="294" y="233"/>
                      <a:pt x="295" y="232"/>
                      <a:pt x="295" y="231"/>
                    </a:cubicBezTo>
                    <a:cubicBezTo>
                      <a:pt x="294" y="229"/>
                      <a:pt x="294" y="229"/>
                      <a:pt x="294" y="229"/>
                    </a:cubicBezTo>
                    <a:cubicBezTo>
                      <a:pt x="300" y="222"/>
                      <a:pt x="300" y="222"/>
                      <a:pt x="300" y="222"/>
                    </a:cubicBezTo>
                    <a:cubicBezTo>
                      <a:pt x="302" y="222"/>
                      <a:pt x="302" y="222"/>
                      <a:pt x="302" y="222"/>
                    </a:cubicBezTo>
                    <a:cubicBezTo>
                      <a:pt x="303" y="222"/>
                      <a:pt x="305" y="222"/>
                      <a:pt x="306" y="221"/>
                    </a:cubicBezTo>
                    <a:cubicBezTo>
                      <a:pt x="308" y="221"/>
                      <a:pt x="309" y="220"/>
                      <a:pt x="311" y="220"/>
                    </a:cubicBezTo>
                    <a:cubicBezTo>
                      <a:pt x="316" y="217"/>
                      <a:pt x="316" y="217"/>
                      <a:pt x="316" y="217"/>
                    </a:cubicBezTo>
                    <a:cubicBezTo>
                      <a:pt x="319" y="216"/>
                      <a:pt x="322" y="215"/>
                      <a:pt x="325" y="214"/>
                    </a:cubicBezTo>
                    <a:cubicBezTo>
                      <a:pt x="328" y="213"/>
                      <a:pt x="330" y="211"/>
                      <a:pt x="333" y="209"/>
                    </a:cubicBezTo>
                    <a:cubicBezTo>
                      <a:pt x="334" y="208"/>
                      <a:pt x="334" y="208"/>
                      <a:pt x="334" y="208"/>
                    </a:cubicBezTo>
                    <a:cubicBezTo>
                      <a:pt x="335" y="207"/>
                      <a:pt x="335" y="206"/>
                      <a:pt x="335" y="203"/>
                    </a:cubicBezTo>
                    <a:cubicBezTo>
                      <a:pt x="335" y="202"/>
                      <a:pt x="335" y="202"/>
                      <a:pt x="335" y="201"/>
                    </a:cubicBezTo>
                    <a:cubicBezTo>
                      <a:pt x="335" y="200"/>
                      <a:pt x="335" y="200"/>
                      <a:pt x="335" y="200"/>
                    </a:cubicBezTo>
                    <a:cubicBezTo>
                      <a:pt x="336" y="199"/>
                      <a:pt x="336" y="198"/>
                      <a:pt x="336" y="198"/>
                    </a:cubicBezTo>
                    <a:cubicBezTo>
                      <a:pt x="337" y="197"/>
                      <a:pt x="337" y="197"/>
                      <a:pt x="337" y="197"/>
                    </a:cubicBezTo>
                    <a:cubicBezTo>
                      <a:pt x="355" y="178"/>
                      <a:pt x="355" y="178"/>
                      <a:pt x="355" y="178"/>
                    </a:cubicBezTo>
                    <a:cubicBezTo>
                      <a:pt x="357" y="178"/>
                      <a:pt x="357" y="178"/>
                      <a:pt x="357" y="178"/>
                    </a:cubicBezTo>
                    <a:cubicBezTo>
                      <a:pt x="358" y="178"/>
                      <a:pt x="359" y="178"/>
                      <a:pt x="360" y="178"/>
                    </a:cubicBezTo>
                    <a:cubicBezTo>
                      <a:pt x="360" y="178"/>
                      <a:pt x="360" y="178"/>
                      <a:pt x="360" y="178"/>
                    </a:cubicBezTo>
                    <a:cubicBezTo>
                      <a:pt x="361" y="178"/>
                      <a:pt x="362" y="178"/>
                      <a:pt x="362" y="178"/>
                    </a:cubicBezTo>
                    <a:cubicBezTo>
                      <a:pt x="363" y="177"/>
                      <a:pt x="365" y="174"/>
                      <a:pt x="366" y="172"/>
                    </a:cubicBezTo>
                    <a:cubicBezTo>
                      <a:pt x="368" y="170"/>
                      <a:pt x="368" y="170"/>
                      <a:pt x="368" y="170"/>
                    </a:cubicBezTo>
                    <a:cubicBezTo>
                      <a:pt x="368" y="170"/>
                      <a:pt x="369" y="169"/>
                      <a:pt x="370" y="169"/>
                    </a:cubicBezTo>
                    <a:cubicBezTo>
                      <a:pt x="370" y="169"/>
                      <a:pt x="370" y="169"/>
                      <a:pt x="370" y="169"/>
                    </a:cubicBezTo>
                    <a:cubicBezTo>
                      <a:pt x="371" y="168"/>
                      <a:pt x="371" y="168"/>
                      <a:pt x="371" y="168"/>
                    </a:cubicBezTo>
                    <a:cubicBezTo>
                      <a:pt x="371" y="168"/>
                      <a:pt x="371" y="168"/>
                      <a:pt x="371" y="168"/>
                    </a:cubicBezTo>
                    <a:cubicBezTo>
                      <a:pt x="374" y="168"/>
                      <a:pt x="374" y="168"/>
                      <a:pt x="374" y="168"/>
                    </a:cubicBezTo>
                    <a:cubicBezTo>
                      <a:pt x="375" y="169"/>
                      <a:pt x="376" y="169"/>
                      <a:pt x="377" y="170"/>
                    </a:cubicBezTo>
                    <a:cubicBezTo>
                      <a:pt x="378" y="170"/>
                      <a:pt x="378" y="170"/>
                      <a:pt x="378" y="170"/>
                    </a:cubicBezTo>
                    <a:cubicBezTo>
                      <a:pt x="379" y="171"/>
                      <a:pt x="379" y="171"/>
                      <a:pt x="379" y="171"/>
                    </a:cubicBezTo>
                    <a:cubicBezTo>
                      <a:pt x="380" y="171"/>
                      <a:pt x="381" y="172"/>
                      <a:pt x="382" y="172"/>
                    </a:cubicBezTo>
                    <a:cubicBezTo>
                      <a:pt x="383" y="173"/>
                      <a:pt x="383" y="173"/>
                      <a:pt x="383" y="173"/>
                    </a:cubicBezTo>
                    <a:cubicBezTo>
                      <a:pt x="384" y="173"/>
                      <a:pt x="385" y="173"/>
                      <a:pt x="385" y="173"/>
                    </a:cubicBezTo>
                    <a:cubicBezTo>
                      <a:pt x="385" y="174"/>
                      <a:pt x="386" y="174"/>
                      <a:pt x="386" y="174"/>
                    </a:cubicBezTo>
                    <a:cubicBezTo>
                      <a:pt x="387" y="174"/>
                      <a:pt x="387" y="174"/>
                      <a:pt x="387" y="174"/>
                    </a:cubicBezTo>
                    <a:cubicBezTo>
                      <a:pt x="387" y="174"/>
                      <a:pt x="387" y="174"/>
                      <a:pt x="388" y="174"/>
                    </a:cubicBezTo>
                    <a:cubicBezTo>
                      <a:pt x="390" y="174"/>
                      <a:pt x="390" y="174"/>
                      <a:pt x="390" y="174"/>
                    </a:cubicBezTo>
                    <a:cubicBezTo>
                      <a:pt x="390" y="174"/>
                      <a:pt x="390" y="174"/>
                      <a:pt x="390" y="174"/>
                    </a:cubicBezTo>
                    <a:cubicBezTo>
                      <a:pt x="390" y="174"/>
                      <a:pt x="390" y="174"/>
                      <a:pt x="390" y="174"/>
                    </a:cubicBezTo>
                    <a:cubicBezTo>
                      <a:pt x="391" y="173"/>
                      <a:pt x="391" y="172"/>
                      <a:pt x="391" y="171"/>
                    </a:cubicBezTo>
                    <a:cubicBezTo>
                      <a:pt x="391" y="170"/>
                      <a:pt x="391" y="170"/>
                      <a:pt x="391" y="170"/>
                    </a:cubicBezTo>
                    <a:cubicBezTo>
                      <a:pt x="391" y="170"/>
                      <a:pt x="391" y="169"/>
                      <a:pt x="391" y="169"/>
                    </a:cubicBezTo>
                    <a:cubicBezTo>
                      <a:pt x="392" y="165"/>
                      <a:pt x="392" y="165"/>
                      <a:pt x="392" y="165"/>
                    </a:cubicBezTo>
                    <a:cubicBezTo>
                      <a:pt x="392" y="164"/>
                      <a:pt x="392" y="163"/>
                      <a:pt x="393" y="162"/>
                    </a:cubicBezTo>
                    <a:cubicBezTo>
                      <a:pt x="393" y="161"/>
                      <a:pt x="393" y="161"/>
                      <a:pt x="393" y="161"/>
                    </a:cubicBezTo>
                    <a:cubicBezTo>
                      <a:pt x="393" y="160"/>
                      <a:pt x="393" y="159"/>
                      <a:pt x="393" y="159"/>
                    </a:cubicBezTo>
                    <a:cubicBezTo>
                      <a:pt x="389" y="157"/>
                      <a:pt x="389" y="157"/>
                      <a:pt x="389" y="157"/>
                    </a:cubicBezTo>
                    <a:cubicBezTo>
                      <a:pt x="387" y="156"/>
                      <a:pt x="385" y="155"/>
                      <a:pt x="383" y="154"/>
                    </a:cubicBezTo>
                    <a:cubicBezTo>
                      <a:pt x="381" y="153"/>
                      <a:pt x="381" y="153"/>
                      <a:pt x="381" y="153"/>
                    </a:cubicBezTo>
                    <a:cubicBezTo>
                      <a:pt x="377" y="150"/>
                      <a:pt x="376" y="150"/>
                      <a:pt x="376" y="150"/>
                    </a:cubicBezTo>
                    <a:cubicBezTo>
                      <a:pt x="375" y="151"/>
                      <a:pt x="375" y="151"/>
                      <a:pt x="375" y="151"/>
                    </a:cubicBezTo>
                    <a:cubicBezTo>
                      <a:pt x="374" y="151"/>
                      <a:pt x="373" y="151"/>
                      <a:pt x="372" y="152"/>
                    </a:cubicBezTo>
                    <a:cubicBezTo>
                      <a:pt x="371" y="152"/>
                      <a:pt x="371" y="152"/>
                      <a:pt x="370" y="152"/>
                    </a:cubicBezTo>
                    <a:cubicBezTo>
                      <a:pt x="366" y="152"/>
                      <a:pt x="364" y="150"/>
                      <a:pt x="361" y="148"/>
                    </a:cubicBezTo>
                    <a:cubicBezTo>
                      <a:pt x="360" y="148"/>
                      <a:pt x="360" y="148"/>
                      <a:pt x="360" y="148"/>
                    </a:cubicBezTo>
                    <a:cubicBezTo>
                      <a:pt x="359" y="147"/>
                      <a:pt x="358" y="146"/>
                      <a:pt x="357" y="145"/>
                    </a:cubicBezTo>
                    <a:cubicBezTo>
                      <a:pt x="355" y="144"/>
                      <a:pt x="352" y="142"/>
                      <a:pt x="350" y="140"/>
                    </a:cubicBezTo>
                    <a:cubicBezTo>
                      <a:pt x="349" y="140"/>
                      <a:pt x="348" y="139"/>
                      <a:pt x="347" y="139"/>
                    </a:cubicBezTo>
                    <a:cubicBezTo>
                      <a:pt x="346" y="138"/>
                      <a:pt x="345" y="137"/>
                      <a:pt x="343" y="137"/>
                    </a:cubicBezTo>
                    <a:cubicBezTo>
                      <a:pt x="339" y="135"/>
                      <a:pt x="335" y="132"/>
                      <a:pt x="332" y="129"/>
                    </a:cubicBezTo>
                    <a:cubicBezTo>
                      <a:pt x="328" y="125"/>
                      <a:pt x="322" y="122"/>
                      <a:pt x="316" y="120"/>
                    </a:cubicBezTo>
                    <a:cubicBezTo>
                      <a:pt x="313" y="118"/>
                      <a:pt x="313" y="118"/>
                      <a:pt x="313" y="118"/>
                    </a:cubicBezTo>
                    <a:cubicBezTo>
                      <a:pt x="312" y="118"/>
                      <a:pt x="311" y="117"/>
                      <a:pt x="309" y="116"/>
                    </a:cubicBezTo>
                    <a:cubicBezTo>
                      <a:pt x="304" y="114"/>
                      <a:pt x="300" y="110"/>
                      <a:pt x="295" y="107"/>
                    </a:cubicBezTo>
                    <a:cubicBezTo>
                      <a:pt x="294" y="106"/>
                      <a:pt x="294" y="106"/>
                      <a:pt x="294" y="106"/>
                    </a:cubicBezTo>
                    <a:cubicBezTo>
                      <a:pt x="293" y="105"/>
                      <a:pt x="292" y="104"/>
                      <a:pt x="290" y="103"/>
                    </a:cubicBezTo>
                    <a:cubicBezTo>
                      <a:pt x="286" y="100"/>
                      <a:pt x="286" y="100"/>
                      <a:pt x="286" y="100"/>
                    </a:cubicBezTo>
                    <a:cubicBezTo>
                      <a:pt x="285" y="99"/>
                      <a:pt x="284" y="99"/>
                      <a:pt x="283" y="98"/>
                    </a:cubicBezTo>
                    <a:cubicBezTo>
                      <a:pt x="283" y="98"/>
                      <a:pt x="283" y="98"/>
                      <a:pt x="283" y="98"/>
                    </a:cubicBezTo>
                    <a:cubicBezTo>
                      <a:pt x="281" y="97"/>
                      <a:pt x="278" y="95"/>
                      <a:pt x="276" y="93"/>
                    </a:cubicBezTo>
                    <a:cubicBezTo>
                      <a:pt x="276" y="93"/>
                      <a:pt x="276" y="92"/>
                      <a:pt x="276" y="92"/>
                    </a:cubicBezTo>
                    <a:cubicBezTo>
                      <a:pt x="275" y="91"/>
                      <a:pt x="275" y="91"/>
                      <a:pt x="275" y="91"/>
                    </a:cubicBezTo>
                    <a:cubicBezTo>
                      <a:pt x="275" y="91"/>
                      <a:pt x="275" y="91"/>
                      <a:pt x="275" y="91"/>
                    </a:cubicBezTo>
                    <a:cubicBezTo>
                      <a:pt x="274" y="89"/>
                      <a:pt x="274" y="86"/>
                      <a:pt x="273" y="85"/>
                    </a:cubicBezTo>
                    <a:cubicBezTo>
                      <a:pt x="273" y="84"/>
                      <a:pt x="273" y="83"/>
                      <a:pt x="272" y="82"/>
                    </a:cubicBezTo>
                    <a:cubicBezTo>
                      <a:pt x="272" y="81"/>
                      <a:pt x="272" y="81"/>
                      <a:pt x="272" y="81"/>
                    </a:cubicBezTo>
                    <a:cubicBezTo>
                      <a:pt x="272" y="80"/>
                      <a:pt x="271" y="79"/>
                      <a:pt x="270" y="78"/>
                    </a:cubicBezTo>
                    <a:cubicBezTo>
                      <a:pt x="268" y="77"/>
                      <a:pt x="267" y="75"/>
                      <a:pt x="266" y="73"/>
                    </a:cubicBezTo>
                    <a:cubicBezTo>
                      <a:pt x="265" y="71"/>
                      <a:pt x="264" y="70"/>
                      <a:pt x="264" y="68"/>
                    </a:cubicBezTo>
                    <a:cubicBezTo>
                      <a:pt x="261" y="62"/>
                      <a:pt x="259" y="55"/>
                      <a:pt x="255" y="52"/>
                    </a:cubicBezTo>
                    <a:cubicBezTo>
                      <a:pt x="252" y="50"/>
                      <a:pt x="251" y="49"/>
                      <a:pt x="250" y="49"/>
                    </a:cubicBezTo>
                    <a:cubicBezTo>
                      <a:pt x="250" y="50"/>
                      <a:pt x="250" y="50"/>
                      <a:pt x="249" y="51"/>
                    </a:cubicBezTo>
                    <a:cubicBezTo>
                      <a:pt x="248" y="52"/>
                      <a:pt x="245" y="53"/>
                      <a:pt x="242" y="54"/>
                    </a:cubicBezTo>
                    <a:cubicBezTo>
                      <a:pt x="239" y="53"/>
                      <a:pt x="239" y="53"/>
                      <a:pt x="239" y="53"/>
                    </a:cubicBezTo>
                    <a:cubicBezTo>
                      <a:pt x="238" y="53"/>
                      <a:pt x="237" y="53"/>
                      <a:pt x="235" y="52"/>
                    </a:cubicBezTo>
                    <a:cubicBezTo>
                      <a:pt x="232" y="52"/>
                      <a:pt x="230" y="51"/>
                      <a:pt x="227" y="51"/>
                    </a:cubicBezTo>
                    <a:cubicBezTo>
                      <a:pt x="227" y="51"/>
                      <a:pt x="226" y="51"/>
                      <a:pt x="226" y="51"/>
                    </a:cubicBezTo>
                    <a:cubicBezTo>
                      <a:pt x="225" y="51"/>
                      <a:pt x="225" y="51"/>
                      <a:pt x="224" y="51"/>
                    </a:cubicBezTo>
                    <a:cubicBezTo>
                      <a:pt x="223" y="51"/>
                      <a:pt x="223" y="51"/>
                      <a:pt x="222" y="51"/>
                    </a:cubicBezTo>
                    <a:cubicBezTo>
                      <a:pt x="220" y="51"/>
                      <a:pt x="218" y="51"/>
                      <a:pt x="215" y="49"/>
                    </a:cubicBezTo>
                    <a:cubicBezTo>
                      <a:pt x="214" y="48"/>
                      <a:pt x="214" y="48"/>
                      <a:pt x="214" y="48"/>
                    </a:cubicBezTo>
                    <a:cubicBezTo>
                      <a:pt x="213" y="48"/>
                      <a:pt x="213" y="48"/>
                      <a:pt x="212" y="47"/>
                    </a:cubicBezTo>
                    <a:cubicBezTo>
                      <a:pt x="210" y="46"/>
                      <a:pt x="210" y="46"/>
                      <a:pt x="210" y="46"/>
                    </a:cubicBezTo>
                    <a:cubicBezTo>
                      <a:pt x="210" y="46"/>
                      <a:pt x="210" y="46"/>
                      <a:pt x="210" y="46"/>
                    </a:cubicBezTo>
                    <a:cubicBezTo>
                      <a:pt x="208" y="45"/>
                      <a:pt x="205" y="42"/>
                      <a:pt x="207" y="38"/>
                    </a:cubicBezTo>
                    <a:cubicBezTo>
                      <a:pt x="208" y="36"/>
                      <a:pt x="208" y="36"/>
                      <a:pt x="208" y="36"/>
                    </a:cubicBezTo>
                    <a:cubicBezTo>
                      <a:pt x="208" y="35"/>
                      <a:pt x="208" y="35"/>
                      <a:pt x="208" y="35"/>
                    </a:cubicBezTo>
                    <a:cubicBezTo>
                      <a:pt x="208" y="35"/>
                      <a:pt x="208" y="35"/>
                      <a:pt x="207" y="34"/>
                    </a:cubicBezTo>
                    <a:cubicBezTo>
                      <a:pt x="204" y="30"/>
                      <a:pt x="204" y="30"/>
                      <a:pt x="204" y="30"/>
                    </a:cubicBezTo>
                    <a:cubicBezTo>
                      <a:pt x="208" y="28"/>
                      <a:pt x="208" y="28"/>
                      <a:pt x="208" y="28"/>
                    </a:cubicBezTo>
                    <a:cubicBezTo>
                      <a:pt x="207" y="28"/>
                      <a:pt x="206" y="27"/>
                      <a:pt x="204" y="26"/>
                    </a:cubicBezTo>
                    <a:cubicBezTo>
                      <a:pt x="196" y="23"/>
                      <a:pt x="196" y="23"/>
                      <a:pt x="196" y="23"/>
                    </a:cubicBezTo>
                    <a:cubicBezTo>
                      <a:pt x="204" y="20"/>
                      <a:pt x="204" y="20"/>
                      <a:pt x="204" y="20"/>
                    </a:cubicBezTo>
                    <a:cubicBezTo>
                      <a:pt x="204" y="20"/>
                      <a:pt x="204" y="20"/>
                      <a:pt x="204" y="20"/>
                    </a:cubicBezTo>
                    <a:cubicBezTo>
                      <a:pt x="204" y="20"/>
                      <a:pt x="204" y="20"/>
                      <a:pt x="204" y="20"/>
                    </a:cubicBezTo>
                    <a:cubicBezTo>
                      <a:pt x="204" y="19"/>
                      <a:pt x="204" y="18"/>
                      <a:pt x="204" y="17"/>
                    </a:cubicBezTo>
                    <a:cubicBezTo>
                      <a:pt x="202" y="16"/>
                      <a:pt x="199" y="15"/>
                      <a:pt x="198" y="15"/>
                    </a:cubicBezTo>
                    <a:cubicBezTo>
                      <a:pt x="197" y="15"/>
                      <a:pt x="197" y="15"/>
                      <a:pt x="197" y="15"/>
                    </a:cubicBezTo>
                    <a:cubicBezTo>
                      <a:pt x="196" y="14"/>
                      <a:pt x="192" y="15"/>
                      <a:pt x="189" y="14"/>
                    </a:cubicBezTo>
                    <a:cubicBezTo>
                      <a:pt x="189" y="14"/>
                      <a:pt x="189" y="14"/>
                      <a:pt x="189" y="14"/>
                    </a:cubicBezTo>
                    <a:cubicBezTo>
                      <a:pt x="188" y="14"/>
                      <a:pt x="188" y="14"/>
                      <a:pt x="188" y="14"/>
                    </a:cubicBezTo>
                    <a:cubicBezTo>
                      <a:pt x="187" y="14"/>
                      <a:pt x="186" y="13"/>
                      <a:pt x="185" y="12"/>
                    </a:cubicBezTo>
                    <a:cubicBezTo>
                      <a:pt x="184" y="11"/>
                      <a:pt x="183" y="11"/>
                      <a:pt x="183" y="10"/>
                    </a:cubicBezTo>
                    <a:cubicBezTo>
                      <a:pt x="182" y="9"/>
                      <a:pt x="182" y="9"/>
                      <a:pt x="182" y="9"/>
                    </a:cubicBezTo>
                    <a:cubicBezTo>
                      <a:pt x="182" y="9"/>
                      <a:pt x="182" y="8"/>
                      <a:pt x="181" y="8"/>
                    </a:cubicBezTo>
                    <a:cubicBezTo>
                      <a:pt x="181" y="7"/>
                      <a:pt x="181" y="7"/>
                      <a:pt x="181" y="7"/>
                    </a:cubicBezTo>
                    <a:cubicBezTo>
                      <a:pt x="180" y="7"/>
                      <a:pt x="180" y="7"/>
                      <a:pt x="180" y="7"/>
                    </a:cubicBezTo>
                    <a:cubicBezTo>
                      <a:pt x="180" y="7"/>
                      <a:pt x="180" y="7"/>
                      <a:pt x="180" y="7"/>
                    </a:cubicBezTo>
                    <a:cubicBezTo>
                      <a:pt x="180" y="7"/>
                      <a:pt x="180" y="7"/>
                      <a:pt x="179" y="7"/>
                    </a:cubicBezTo>
                    <a:cubicBezTo>
                      <a:pt x="179" y="7"/>
                      <a:pt x="179" y="7"/>
                      <a:pt x="179" y="7"/>
                    </a:cubicBezTo>
                    <a:cubicBezTo>
                      <a:pt x="178" y="7"/>
                      <a:pt x="177" y="7"/>
                      <a:pt x="177" y="7"/>
                    </a:cubicBezTo>
                    <a:cubicBezTo>
                      <a:pt x="176" y="7"/>
                      <a:pt x="175" y="6"/>
                      <a:pt x="174" y="5"/>
                    </a:cubicBezTo>
                    <a:cubicBezTo>
                      <a:pt x="172" y="4"/>
                      <a:pt x="170" y="2"/>
                      <a:pt x="169" y="0"/>
                    </a:cubicBezTo>
                    <a:cubicBezTo>
                      <a:pt x="168" y="0"/>
                      <a:pt x="168" y="0"/>
                      <a:pt x="1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Rectangle 345"/>
              <p:cNvSpPr>
                <a:spLocks noChangeArrowheads="1"/>
              </p:cNvSpPr>
              <p:nvPr/>
            </p:nvSpPr>
            <p:spPr bwMode="auto">
              <a:xfrm>
                <a:off x="10616818" y="5100201"/>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346"/>
              <p:cNvSpPr/>
              <p:nvPr/>
            </p:nvSpPr>
            <p:spPr bwMode="auto">
              <a:xfrm flipH="1">
                <a:off x="10616818" y="510020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347"/>
              <p:cNvSpPr/>
              <p:nvPr/>
            </p:nvSpPr>
            <p:spPr bwMode="auto">
              <a:xfrm>
                <a:off x="10447303" y="5100201"/>
                <a:ext cx="674376" cy="346401"/>
              </a:xfrm>
              <a:custGeom>
                <a:gdLst>
                  <a:gd name="T0" fmla="*/ 44 w 212"/>
                  <a:gd name="T1" fmla="*/ 5 h 109"/>
                  <a:gd name="T2" fmla="*/ 41 w 212"/>
                  <a:gd name="T3" fmla="*/ 5 h 109"/>
                  <a:gd name="T4" fmla="*/ 40 w 212"/>
                  <a:gd name="T5" fmla="*/ 23 h 109"/>
                  <a:gd name="T6" fmla="*/ 35 w 212"/>
                  <a:gd name="T7" fmla="*/ 12 h 109"/>
                  <a:gd name="T8" fmla="*/ 27 w 212"/>
                  <a:gd name="T9" fmla="*/ 22 h 109"/>
                  <a:gd name="T10" fmla="*/ 19 w 212"/>
                  <a:gd name="T11" fmla="*/ 22 h 109"/>
                  <a:gd name="T12" fmla="*/ 6 w 212"/>
                  <a:gd name="T13" fmla="*/ 20 h 109"/>
                  <a:gd name="T14" fmla="*/ 4 w 212"/>
                  <a:gd name="T15" fmla="*/ 21 h 109"/>
                  <a:gd name="T16" fmla="*/ 0 w 212"/>
                  <a:gd name="T17" fmla="*/ 27 h 109"/>
                  <a:gd name="T18" fmla="*/ 4 w 212"/>
                  <a:gd name="T19" fmla="*/ 31 h 109"/>
                  <a:gd name="T20" fmla="*/ 22 w 212"/>
                  <a:gd name="T21" fmla="*/ 39 h 109"/>
                  <a:gd name="T22" fmla="*/ 21 w 212"/>
                  <a:gd name="T23" fmla="*/ 53 h 109"/>
                  <a:gd name="T24" fmla="*/ 24 w 212"/>
                  <a:gd name="T25" fmla="*/ 57 h 109"/>
                  <a:gd name="T26" fmla="*/ 17 w 212"/>
                  <a:gd name="T27" fmla="*/ 82 h 109"/>
                  <a:gd name="T28" fmla="*/ 13 w 212"/>
                  <a:gd name="T29" fmla="*/ 92 h 109"/>
                  <a:gd name="T30" fmla="*/ 15 w 212"/>
                  <a:gd name="T31" fmla="*/ 101 h 109"/>
                  <a:gd name="T32" fmla="*/ 21 w 212"/>
                  <a:gd name="T33" fmla="*/ 97 h 109"/>
                  <a:gd name="T34" fmla="*/ 34 w 212"/>
                  <a:gd name="T35" fmla="*/ 91 h 109"/>
                  <a:gd name="T36" fmla="*/ 36 w 212"/>
                  <a:gd name="T37" fmla="*/ 90 h 109"/>
                  <a:gd name="T38" fmla="*/ 46 w 212"/>
                  <a:gd name="T39" fmla="*/ 92 h 109"/>
                  <a:gd name="T40" fmla="*/ 51 w 212"/>
                  <a:gd name="T41" fmla="*/ 95 h 109"/>
                  <a:gd name="T42" fmla="*/ 51 w 212"/>
                  <a:gd name="T43" fmla="*/ 91 h 109"/>
                  <a:gd name="T44" fmla="*/ 54 w 212"/>
                  <a:gd name="T45" fmla="*/ 84 h 109"/>
                  <a:gd name="T46" fmla="*/ 69 w 212"/>
                  <a:gd name="T47" fmla="*/ 81 h 109"/>
                  <a:gd name="T48" fmla="*/ 74 w 212"/>
                  <a:gd name="T49" fmla="*/ 82 h 109"/>
                  <a:gd name="T50" fmla="*/ 74 w 212"/>
                  <a:gd name="T51" fmla="*/ 79 h 109"/>
                  <a:gd name="T52" fmla="*/ 74 w 212"/>
                  <a:gd name="T53" fmla="*/ 69 h 109"/>
                  <a:gd name="T54" fmla="*/ 84 w 212"/>
                  <a:gd name="T55" fmla="*/ 62 h 109"/>
                  <a:gd name="T56" fmla="*/ 97 w 212"/>
                  <a:gd name="T57" fmla="*/ 51 h 109"/>
                  <a:gd name="T58" fmla="*/ 104 w 212"/>
                  <a:gd name="T59" fmla="*/ 54 h 109"/>
                  <a:gd name="T60" fmla="*/ 110 w 212"/>
                  <a:gd name="T61" fmla="*/ 54 h 109"/>
                  <a:gd name="T62" fmla="*/ 109 w 212"/>
                  <a:gd name="T63" fmla="*/ 60 h 109"/>
                  <a:gd name="T64" fmla="*/ 116 w 212"/>
                  <a:gd name="T65" fmla="*/ 69 h 109"/>
                  <a:gd name="T66" fmla="*/ 116 w 212"/>
                  <a:gd name="T67" fmla="*/ 95 h 109"/>
                  <a:gd name="T68" fmla="*/ 116 w 212"/>
                  <a:gd name="T69" fmla="*/ 97 h 109"/>
                  <a:gd name="T70" fmla="*/ 116 w 212"/>
                  <a:gd name="T71" fmla="*/ 104 h 109"/>
                  <a:gd name="T72" fmla="*/ 119 w 212"/>
                  <a:gd name="T73" fmla="*/ 109 h 109"/>
                  <a:gd name="T74" fmla="*/ 136 w 212"/>
                  <a:gd name="T75" fmla="*/ 102 h 109"/>
                  <a:gd name="T76" fmla="*/ 162 w 212"/>
                  <a:gd name="T77" fmla="*/ 85 h 109"/>
                  <a:gd name="T78" fmla="*/ 179 w 212"/>
                  <a:gd name="T79" fmla="*/ 90 h 109"/>
                  <a:gd name="T80" fmla="*/ 188 w 212"/>
                  <a:gd name="T81" fmla="*/ 88 h 109"/>
                  <a:gd name="T82" fmla="*/ 194 w 212"/>
                  <a:gd name="T83" fmla="*/ 86 h 109"/>
                  <a:gd name="T84" fmla="*/ 210 w 212"/>
                  <a:gd name="T85" fmla="*/ 91 h 109"/>
                  <a:gd name="T86" fmla="*/ 209 w 212"/>
                  <a:gd name="T87" fmla="*/ 81 h 109"/>
                  <a:gd name="T88" fmla="*/ 206 w 212"/>
                  <a:gd name="T89" fmla="*/ 61 h 109"/>
                  <a:gd name="T90" fmla="*/ 199 w 212"/>
                  <a:gd name="T91" fmla="*/ 55 h 109"/>
                  <a:gd name="T92" fmla="*/ 193 w 212"/>
                  <a:gd name="T93" fmla="*/ 51 h 109"/>
                  <a:gd name="T94" fmla="*/ 186 w 212"/>
                  <a:gd name="T95" fmla="*/ 52 h 109"/>
                  <a:gd name="T96" fmla="*/ 180 w 212"/>
                  <a:gd name="T97" fmla="*/ 53 h 109"/>
                  <a:gd name="T98" fmla="*/ 173 w 212"/>
                  <a:gd name="T99" fmla="*/ 38 h 109"/>
                  <a:gd name="T100" fmla="*/ 167 w 212"/>
                  <a:gd name="T101" fmla="*/ 40 h 109"/>
                  <a:gd name="T102" fmla="*/ 170 w 212"/>
                  <a:gd name="T103" fmla="*/ 30 h 109"/>
                  <a:gd name="T104" fmla="*/ 164 w 212"/>
                  <a:gd name="T105" fmla="*/ 27 h 109"/>
                  <a:gd name="T106" fmla="*/ 144 w 212"/>
                  <a:gd name="T107" fmla="*/ 28 h 109"/>
                  <a:gd name="T108" fmla="*/ 132 w 212"/>
                  <a:gd name="T109" fmla="*/ 33 h 109"/>
                  <a:gd name="T110" fmla="*/ 120 w 212"/>
                  <a:gd name="T111" fmla="*/ 31 h 109"/>
                  <a:gd name="T112" fmla="*/ 117 w 212"/>
                  <a:gd name="T113" fmla="*/ 25 h 109"/>
                  <a:gd name="T114" fmla="*/ 114 w 212"/>
                  <a:gd name="T115" fmla="*/ 25 h 109"/>
                  <a:gd name="T116" fmla="*/ 101 w 212"/>
                  <a:gd name="T117" fmla="*/ 27 h 109"/>
                  <a:gd name="T118" fmla="*/ 99 w 212"/>
                  <a:gd name="T119" fmla="*/ 26 h 109"/>
                  <a:gd name="T120" fmla="*/ 83 w 212"/>
                  <a:gd name="T121" fmla="*/ 23 h 109"/>
                  <a:gd name="T122" fmla="*/ 47 w 212"/>
                  <a:gd name="T123" fmla="*/ 23 h 109"/>
                  <a:gd name="T124" fmla="*/ 48 w 212"/>
                  <a:gd name="T125" fmla="*/ 1 h 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 h="109">
                    <a:moveTo>
                      <a:pt x="46" y="0"/>
                    </a:moveTo>
                    <a:cubicBezTo>
                      <a:pt x="46" y="1"/>
                      <a:pt x="46" y="3"/>
                      <a:pt x="45" y="4"/>
                    </a:cubicBezTo>
                    <a:cubicBezTo>
                      <a:pt x="44" y="5"/>
                      <a:pt x="44" y="5"/>
                      <a:pt x="44" y="5"/>
                    </a:cubicBezTo>
                    <a:cubicBezTo>
                      <a:pt x="42" y="5"/>
                      <a:pt x="42" y="5"/>
                      <a:pt x="42" y="5"/>
                    </a:cubicBezTo>
                    <a:cubicBezTo>
                      <a:pt x="42" y="5"/>
                      <a:pt x="42" y="5"/>
                      <a:pt x="42" y="5"/>
                    </a:cubicBezTo>
                    <a:cubicBezTo>
                      <a:pt x="41" y="5"/>
                      <a:pt x="41" y="5"/>
                      <a:pt x="41" y="5"/>
                    </a:cubicBezTo>
                    <a:cubicBezTo>
                      <a:pt x="41" y="6"/>
                      <a:pt x="41" y="6"/>
                      <a:pt x="41" y="6"/>
                    </a:cubicBezTo>
                    <a:cubicBezTo>
                      <a:pt x="41" y="7"/>
                      <a:pt x="41" y="7"/>
                      <a:pt x="41" y="8"/>
                    </a:cubicBezTo>
                    <a:cubicBezTo>
                      <a:pt x="40" y="23"/>
                      <a:pt x="40" y="23"/>
                      <a:pt x="40" y="23"/>
                    </a:cubicBezTo>
                    <a:cubicBezTo>
                      <a:pt x="35" y="10"/>
                      <a:pt x="35" y="10"/>
                      <a:pt x="35" y="10"/>
                    </a:cubicBezTo>
                    <a:cubicBezTo>
                      <a:pt x="35" y="11"/>
                      <a:pt x="35" y="11"/>
                      <a:pt x="35" y="11"/>
                    </a:cubicBezTo>
                    <a:cubicBezTo>
                      <a:pt x="35" y="12"/>
                      <a:pt x="35" y="12"/>
                      <a:pt x="35" y="12"/>
                    </a:cubicBezTo>
                    <a:cubicBezTo>
                      <a:pt x="33" y="18"/>
                      <a:pt x="32" y="21"/>
                      <a:pt x="30" y="22"/>
                    </a:cubicBezTo>
                    <a:cubicBezTo>
                      <a:pt x="30" y="22"/>
                      <a:pt x="29" y="22"/>
                      <a:pt x="29" y="22"/>
                    </a:cubicBezTo>
                    <a:cubicBezTo>
                      <a:pt x="28" y="22"/>
                      <a:pt x="27" y="22"/>
                      <a:pt x="27" y="22"/>
                    </a:cubicBezTo>
                    <a:cubicBezTo>
                      <a:pt x="26" y="22"/>
                      <a:pt x="25" y="22"/>
                      <a:pt x="25" y="22"/>
                    </a:cubicBezTo>
                    <a:cubicBezTo>
                      <a:pt x="24" y="22"/>
                      <a:pt x="24" y="22"/>
                      <a:pt x="24" y="22"/>
                    </a:cubicBezTo>
                    <a:cubicBezTo>
                      <a:pt x="22" y="22"/>
                      <a:pt x="21" y="22"/>
                      <a:pt x="19" y="22"/>
                    </a:cubicBezTo>
                    <a:cubicBezTo>
                      <a:pt x="16" y="21"/>
                      <a:pt x="13" y="21"/>
                      <a:pt x="9" y="20"/>
                    </a:cubicBezTo>
                    <a:cubicBezTo>
                      <a:pt x="8" y="20"/>
                      <a:pt x="7" y="20"/>
                      <a:pt x="7" y="20"/>
                    </a:cubicBezTo>
                    <a:cubicBezTo>
                      <a:pt x="7" y="20"/>
                      <a:pt x="6" y="20"/>
                      <a:pt x="6" y="20"/>
                    </a:cubicBezTo>
                    <a:cubicBezTo>
                      <a:pt x="6" y="20"/>
                      <a:pt x="6" y="20"/>
                      <a:pt x="6" y="20"/>
                    </a:cubicBezTo>
                    <a:cubicBezTo>
                      <a:pt x="5" y="20"/>
                      <a:pt x="5" y="20"/>
                      <a:pt x="5" y="20"/>
                    </a:cubicBezTo>
                    <a:cubicBezTo>
                      <a:pt x="5" y="21"/>
                      <a:pt x="4" y="21"/>
                      <a:pt x="4" y="21"/>
                    </a:cubicBezTo>
                    <a:cubicBezTo>
                      <a:pt x="3" y="22"/>
                      <a:pt x="3" y="22"/>
                      <a:pt x="3" y="22"/>
                    </a:cubicBezTo>
                    <a:cubicBezTo>
                      <a:pt x="1" y="23"/>
                      <a:pt x="1" y="24"/>
                      <a:pt x="0" y="26"/>
                    </a:cubicBezTo>
                    <a:cubicBezTo>
                      <a:pt x="0" y="27"/>
                      <a:pt x="0" y="27"/>
                      <a:pt x="0" y="27"/>
                    </a:cubicBezTo>
                    <a:cubicBezTo>
                      <a:pt x="1" y="27"/>
                      <a:pt x="1" y="28"/>
                      <a:pt x="2" y="29"/>
                    </a:cubicBezTo>
                    <a:cubicBezTo>
                      <a:pt x="2" y="29"/>
                      <a:pt x="2" y="29"/>
                      <a:pt x="2" y="29"/>
                    </a:cubicBezTo>
                    <a:cubicBezTo>
                      <a:pt x="3" y="30"/>
                      <a:pt x="4" y="30"/>
                      <a:pt x="4" y="31"/>
                    </a:cubicBezTo>
                    <a:cubicBezTo>
                      <a:pt x="7" y="33"/>
                      <a:pt x="7" y="33"/>
                      <a:pt x="11" y="33"/>
                    </a:cubicBezTo>
                    <a:cubicBezTo>
                      <a:pt x="11" y="33"/>
                      <a:pt x="13" y="33"/>
                      <a:pt x="14" y="34"/>
                    </a:cubicBezTo>
                    <a:cubicBezTo>
                      <a:pt x="17" y="34"/>
                      <a:pt x="21" y="36"/>
                      <a:pt x="22" y="39"/>
                    </a:cubicBezTo>
                    <a:cubicBezTo>
                      <a:pt x="22" y="39"/>
                      <a:pt x="23" y="40"/>
                      <a:pt x="23" y="41"/>
                    </a:cubicBezTo>
                    <a:cubicBezTo>
                      <a:pt x="23" y="43"/>
                      <a:pt x="22" y="46"/>
                      <a:pt x="22" y="49"/>
                    </a:cubicBezTo>
                    <a:cubicBezTo>
                      <a:pt x="21" y="53"/>
                      <a:pt x="21" y="53"/>
                      <a:pt x="21" y="53"/>
                    </a:cubicBezTo>
                    <a:cubicBezTo>
                      <a:pt x="21" y="53"/>
                      <a:pt x="21" y="54"/>
                      <a:pt x="21" y="54"/>
                    </a:cubicBezTo>
                    <a:cubicBezTo>
                      <a:pt x="22" y="55"/>
                      <a:pt x="22" y="55"/>
                      <a:pt x="22" y="55"/>
                    </a:cubicBezTo>
                    <a:cubicBezTo>
                      <a:pt x="24" y="57"/>
                      <a:pt x="24" y="57"/>
                      <a:pt x="24" y="57"/>
                    </a:cubicBezTo>
                    <a:cubicBezTo>
                      <a:pt x="25" y="58"/>
                      <a:pt x="26" y="59"/>
                      <a:pt x="26" y="60"/>
                    </a:cubicBezTo>
                    <a:cubicBezTo>
                      <a:pt x="31" y="65"/>
                      <a:pt x="24" y="74"/>
                      <a:pt x="19" y="80"/>
                    </a:cubicBezTo>
                    <a:cubicBezTo>
                      <a:pt x="18" y="81"/>
                      <a:pt x="17" y="82"/>
                      <a:pt x="17" y="82"/>
                    </a:cubicBezTo>
                    <a:cubicBezTo>
                      <a:pt x="16" y="84"/>
                      <a:pt x="16" y="84"/>
                      <a:pt x="16" y="84"/>
                    </a:cubicBezTo>
                    <a:cubicBezTo>
                      <a:pt x="15" y="86"/>
                      <a:pt x="14" y="87"/>
                      <a:pt x="13" y="89"/>
                    </a:cubicBezTo>
                    <a:cubicBezTo>
                      <a:pt x="13" y="89"/>
                      <a:pt x="13" y="90"/>
                      <a:pt x="13" y="92"/>
                    </a:cubicBezTo>
                    <a:cubicBezTo>
                      <a:pt x="12" y="94"/>
                      <a:pt x="12" y="95"/>
                      <a:pt x="11" y="97"/>
                    </a:cubicBezTo>
                    <a:cubicBezTo>
                      <a:pt x="11" y="97"/>
                      <a:pt x="11" y="98"/>
                      <a:pt x="11" y="98"/>
                    </a:cubicBezTo>
                    <a:cubicBezTo>
                      <a:pt x="15" y="101"/>
                      <a:pt x="15" y="101"/>
                      <a:pt x="15" y="101"/>
                    </a:cubicBezTo>
                    <a:cubicBezTo>
                      <a:pt x="15" y="101"/>
                      <a:pt x="15" y="101"/>
                      <a:pt x="15" y="101"/>
                    </a:cubicBezTo>
                    <a:cubicBezTo>
                      <a:pt x="15" y="101"/>
                      <a:pt x="16" y="100"/>
                      <a:pt x="16" y="100"/>
                    </a:cubicBezTo>
                    <a:cubicBezTo>
                      <a:pt x="18" y="98"/>
                      <a:pt x="20" y="97"/>
                      <a:pt x="21" y="97"/>
                    </a:cubicBezTo>
                    <a:cubicBezTo>
                      <a:pt x="22" y="96"/>
                      <a:pt x="23" y="95"/>
                      <a:pt x="24" y="95"/>
                    </a:cubicBezTo>
                    <a:cubicBezTo>
                      <a:pt x="27" y="94"/>
                      <a:pt x="30" y="93"/>
                      <a:pt x="32" y="92"/>
                    </a:cubicBezTo>
                    <a:cubicBezTo>
                      <a:pt x="33" y="92"/>
                      <a:pt x="33" y="92"/>
                      <a:pt x="34" y="91"/>
                    </a:cubicBezTo>
                    <a:cubicBezTo>
                      <a:pt x="35" y="92"/>
                      <a:pt x="35" y="92"/>
                      <a:pt x="35" y="92"/>
                    </a:cubicBezTo>
                    <a:cubicBezTo>
                      <a:pt x="34" y="91"/>
                      <a:pt x="34" y="91"/>
                      <a:pt x="34" y="91"/>
                    </a:cubicBezTo>
                    <a:cubicBezTo>
                      <a:pt x="35" y="91"/>
                      <a:pt x="35" y="90"/>
                      <a:pt x="36" y="90"/>
                    </a:cubicBezTo>
                    <a:cubicBezTo>
                      <a:pt x="38" y="89"/>
                      <a:pt x="39" y="89"/>
                      <a:pt x="40" y="89"/>
                    </a:cubicBezTo>
                    <a:cubicBezTo>
                      <a:pt x="42" y="89"/>
                      <a:pt x="43" y="90"/>
                      <a:pt x="44" y="91"/>
                    </a:cubicBezTo>
                    <a:cubicBezTo>
                      <a:pt x="45" y="91"/>
                      <a:pt x="45" y="92"/>
                      <a:pt x="46" y="92"/>
                    </a:cubicBezTo>
                    <a:cubicBezTo>
                      <a:pt x="48" y="94"/>
                      <a:pt x="48" y="94"/>
                      <a:pt x="48" y="94"/>
                    </a:cubicBezTo>
                    <a:cubicBezTo>
                      <a:pt x="49" y="95"/>
                      <a:pt x="50" y="95"/>
                      <a:pt x="50" y="96"/>
                    </a:cubicBezTo>
                    <a:cubicBezTo>
                      <a:pt x="50" y="96"/>
                      <a:pt x="50" y="96"/>
                      <a:pt x="51" y="95"/>
                    </a:cubicBezTo>
                    <a:cubicBezTo>
                      <a:pt x="51" y="95"/>
                      <a:pt x="51" y="95"/>
                      <a:pt x="51" y="94"/>
                    </a:cubicBezTo>
                    <a:cubicBezTo>
                      <a:pt x="51" y="94"/>
                      <a:pt x="51" y="94"/>
                      <a:pt x="51" y="94"/>
                    </a:cubicBezTo>
                    <a:cubicBezTo>
                      <a:pt x="51" y="93"/>
                      <a:pt x="51" y="92"/>
                      <a:pt x="51" y="91"/>
                    </a:cubicBezTo>
                    <a:cubicBezTo>
                      <a:pt x="52" y="89"/>
                      <a:pt x="52" y="89"/>
                      <a:pt x="52" y="89"/>
                    </a:cubicBezTo>
                    <a:cubicBezTo>
                      <a:pt x="52" y="88"/>
                      <a:pt x="52" y="86"/>
                      <a:pt x="54" y="84"/>
                    </a:cubicBezTo>
                    <a:cubicBezTo>
                      <a:pt x="54" y="84"/>
                      <a:pt x="54" y="84"/>
                      <a:pt x="54" y="84"/>
                    </a:cubicBezTo>
                    <a:cubicBezTo>
                      <a:pt x="55" y="81"/>
                      <a:pt x="57" y="80"/>
                      <a:pt x="61" y="80"/>
                    </a:cubicBezTo>
                    <a:cubicBezTo>
                      <a:pt x="63" y="80"/>
                      <a:pt x="66" y="80"/>
                      <a:pt x="67" y="81"/>
                    </a:cubicBezTo>
                    <a:cubicBezTo>
                      <a:pt x="68" y="81"/>
                      <a:pt x="68" y="81"/>
                      <a:pt x="69" y="81"/>
                    </a:cubicBezTo>
                    <a:cubicBezTo>
                      <a:pt x="71" y="81"/>
                      <a:pt x="72" y="82"/>
                      <a:pt x="73" y="82"/>
                    </a:cubicBezTo>
                    <a:cubicBezTo>
                      <a:pt x="74" y="82"/>
                      <a:pt x="74" y="82"/>
                      <a:pt x="74" y="82"/>
                    </a:cubicBezTo>
                    <a:cubicBezTo>
                      <a:pt x="74" y="82"/>
                      <a:pt x="74" y="82"/>
                      <a:pt x="74" y="82"/>
                    </a:cubicBezTo>
                    <a:cubicBezTo>
                      <a:pt x="74" y="81"/>
                      <a:pt x="74" y="81"/>
                      <a:pt x="75" y="81"/>
                    </a:cubicBezTo>
                    <a:cubicBezTo>
                      <a:pt x="75" y="80"/>
                      <a:pt x="75" y="80"/>
                      <a:pt x="75" y="80"/>
                    </a:cubicBezTo>
                    <a:cubicBezTo>
                      <a:pt x="75" y="80"/>
                      <a:pt x="74" y="80"/>
                      <a:pt x="74" y="79"/>
                    </a:cubicBezTo>
                    <a:cubicBezTo>
                      <a:pt x="74" y="79"/>
                      <a:pt x="74" y="79"/>
                      <a:pt x="74" y="79"/>
                    </a:cubicBezTo>
                    <a:cubicBezTo>
                      <a:pt x="73" y="78"/>
                      <a:pt x="72" y="76"/>
                      <a:pt x="72" y="75"/>
                    </a:cubicBezTo>
                    <a:cubicBezTo>
                      <a:pt x="71" y="74"/>
                      <a:pt x="71" y="71"/>
                      <a:pt x="74" y="69"/>
                    </a:cubicBezTo>
                    <a:cubicBezTo>
                      <a:pt x="75" y="68"/>
                      <a:pt x="77" y="67"/>
                      <a:pt x="79" y="65"/>
                    </a:cubicBezTo>
                    <a:cubicBezTo>
                      <a:pt x="80" y="65"/>
                      <a:pt x="81" y="63"/>
                      <a:pt x="82" y="62"/>
                    </a:cubicBezTo>
                    <a:cubicBezTo>
                      <a:pt x="84" y="62"/>
                      <a:pt x="84" y="62"/>
                      <a:pt x="84" y="62"/>
                    </a:cubicBezTo>
                    <a:cubicBezTo>
                      <a:pt x="83" y="61"/>
                      <a:pt x="83" y="61"/>
                      <a:pt x="83" y="61"/>
                    </a:cubicBezTo>
                    <a:cubicBezTo>
                      <a:pt x="85" y="58"/>
                      <a:pt x="87" y="55"/>
                      <a:pt x="90" y="54"/>
                    </a:cubicBezTo>
                    <a:cubicBezTo>
                      <a:pt x="92" y="52"/>
                      <a:pt x="94" y="52"/>
                      <a:pt x="97" y="51"/>
                    </a:cubicBezTo>
                    <a:cubicBezTo>
                      <a:pt x="99" y="51"/>
                      <a:pt x="99" y="51"/>
                      <a:pt x="99" y="51"/>
                    </a:cubicBezTo>
                    <a:cubicBezTo>
                      <a:pt x="101" y="52"/>
                      <a:pt x="101" y="52"/>
                      <a:pt x="101" y="52"/>
                    </a:cubicBezTo>
                    <a:cubicBezTo>
                      <a:pt x="102" y="53"/>
                      <a:pt x="103" y="53"/>
                      <a:pt x="104" y="54"/>
                    </a:cubicBezTo>
                    <a:cubicBezTo>
                      <a:pt x="105" y="55"/>
                      <a:pt x="105" y="56"/>
                      <a:pt x="106" y="56"/>
                    </a:cubicBezTo>
                    <a:cubicBezTo>
                      <a:pt x="111" y="52"/>
                      <a:pt x="111" y="52"/>
                      <a:pt x="111" y="52"/>
                    </a:cubicBezTo>
                    <a:cubicBezTo>
                      <a:pt x="110" y="54"/>
                      <a:pt x="110" y="54"/>
                      <a:pt x="110" y="54"/>
                    </a:cubicBezTo>
                    <a:cubicBezTo>
                      <a:pt x="111" y="53"/>
                      <a:pt x="111" y="53"/>
                      <a:pt x="111" y="53"/>
                    </a:cubicBezTo>
                    <a:cubicBezTo>
                      <a:pt x="107" y="58"/>
                      <a:pt x="107" y="58"/>
                      <a:pt x="107" y="58"/>
                    </a:cubicBezTo>
                    <a:cubicBezTo>
                      <a:pt x="109" y="60"/>
                      <a:pt x="109" y="60"/>
                      <a:pt x="109" y="60"/>
                    </a:cubicBezTo>
                    <a:cubicBezTo>
                      <a:pt x="109" y="61"/>
                      <a:pt x="110" y="61"/>
                      <a:pt x="110" y="62"/>
                    </a:cubicBezTo>
                    <a:cubicBezTo>
                      <a:pt x="111" y="63"/>
                      <a:pt x="112" y="65"/>
                      <a:pt x="112" y="67"/>
                    </a:cubicBezTo>
                    <a:cubicBezTo>
                      <a:pt x="113" y="68"/>
                      <a:pt x="115" y="68"/>
                      <a:pt x="116" y="69"/>
                    </a:cubicBezTo>
                    <a:cubicBezTo>
                      <a:pt x="118" y="70"/>
                      <a:pt x="119" y="72"/>
                      <a:pt x="119" y="74"/>
                    </a:cubicBezTo>
                    <a:cubicBezTo>
                      <a:pt x="118" y="77"/>
                      <a:pt x="118" y="80"/>
                      <a:pt x="118" y="83"/>
                    </a:cubicBezTo>
                    <a:cubicBezTo>
                      <a:pt x="118" y="87"/>
                      <a:pt x="117" y="91"/>
                      <a:pt x="116" y="95"/>
                    </a:cubicBezTo>
                    <a:cubicBezTo>
                      <a:pt x="124" y="97"/>
                      <a:pt x="124" y="97"/>
                      <a:pt x="124" y="97"/>
                    </a:cubicBezTo>
                    <a:cubicBezTo>
                      <a:pt x="116" y="97"/>
                      <a:pt x="116" y="97"/>
                      <a:pt x="116" y="97"/>
                    </a:cubicBezTo>
                    <a:cubicBezTo>
                      <a:pt x="116" y="97"/>
                      <a:pt x="116" y="97"/>
                      <a:pt x="116" y="97"/>
                    </a:cubicBezTo>
                    <a:cubicBezTo>
                      <a:pt x="116" y="98"/>
                      <a:pt x="115" y="98"/>
                      <a:pt x="115" y="99"/>
                    </a:cubicBezTo>
                    <a:cubicBezTo>
                      <a:pt x="115" y="100"/>
                      <a:pt x="115" y="100"/>
                      <a:pt x="115" y="101"/>
                    </a:cubicBezTo>
                    <a:cubicBezTo>
                      <a:pt x="115" y="102"/>
                      <a:pt x="115" y="103"/>
                      <a:pt x="116" y="104"/>
                    </a:cubicBezTo>
                    <a:cubicBezTo>
                      <a:pt x="116" y="105"/>
                      <a:pt x="117" y="106"/>
                      <a:pt x="117" y="107"/>
                    </a:cubicBezTo>
                    <a:cubicBezTo>
                      <a:pt x="117" y="107"/>
                      <a:pt x="117" y="107"/>
                      <a:pt x="117" y="107"/>
                    </a:cubicBezTo>
                    <a:cubicBezTo>
                      <a:pt x="118" y="107"/>
                      <a:pt x="118" y="108"/>
                      <a:pt x="119" y="109"/>
                    </a:cubicBezTo>
                    <a:cubicBezTo>
                      <a:pt x="132" y="104"/>
                      <a:pt x="132" y="104"/>
                      <a:pt x="132" y="104"/>
                    </a:cubicBezTo>
                    <a:cubicBezTo>
                      <a:pt x="132" y="104"/>
                      <a:pt x="132" y="104"/>
                      <a:pt x="133" y="103"/>
                    </a:cubicBezTo>
                    <a:cubicBezTo>
                      <a:pt x="136" y="102"/>
                      <a:pt x="136" y="102"/>
                      <a:pt x="136" y="102"/>
                    </a:cubicBezTo>
                    <a:cubicBezTo>
                      <a:pt x="139" y="101"/>
                      <a:pt x="143" y="100"/>
                      <a:pt x="145" y="98"/>
                    </a:cubicBezTo>
                    <a:cubicBezTo>
                      <a:pt x="149" y="94"/>
                      <a:pt x="153" y="90"/>
                      <a:pt x="159" y="87"/>
                    </a:cubicBezTo>
                    <a:cubicBezTo>
                      <a:pt x="160" y="86"/>
                      <a:pt x="161" y="86"/>
                      <a:pt x="162" y="85"/>
                    </a:cubicBezTo>
                    <a:cubicBezTo>
                      <a:pt x="164" y="85"/>
                      <a:pt x="165" y="84"/>
                      <a:pt x="167" y="84"/>
                    </a:cubicBezTo>
                    <a:cubicBezTo>
                      <a:pt x="170" y="84"/>
                      <a:pt x="172" y="85"/>
                      <a:pt x="175" y="87"/>
                    </a:cubicBezTo>
                    <a:cubicBezTo>
                      <a:pt x="176" y="88"/>
                      <a:pt x="178" y="89"/>
                      <a:pt x="179" y="90"/>
                    </a:cubicBezTo>
                    <a:cubicBezTo>
                      <a:pt x="180" y="91"/>
                      <a:pt x="180" y="91"/>
                      <a:pt x="180" y="91"/>
                    </a:cubicBezTo>
                    <a:cubicBezTo>
                      <a:pt x="183" y="90"/>
                      <a:pt x="186" y="89"/>
                      <a:pt x="187" y="89"/>
                    </a:cubicBezTo>
                    <a:cubicBezTo>
                      <a:pt x="188" y="88"/>
                      <a:pt x="188" y="88"/>
                      <a:pt x="188" y="88"/>
                    </a:cubicBezTo>
                    <a:cubicBezTo>
                      <a:pt x="188" y="87"/>
                      <a:pt x="189" y="87"/>
                      <a:pt x="190" y="86"/>
                    </a:cubicBezTo>
                    <a:cubicBezTo>
                      <a:pt x="191" y="86"/>
                      <a:pt x="192" y="86"/>
                      <a:pt x="193" y="86"/>
                    </a:cubicBezTo>
                    <a:cubicBezTo>
                      <a:pt x="194" y="86"/>
                      <a:pt x="194" y="86"/>
                      <a:pt x="194" y="86"/>
                    </a:cubicBezTo>
                    <a:cubicBezTo>
                      <a:pt x="195" y="86"/>
                      <a:pt x="196" y="86"/>
                      <a:pt x="196" y="86"/>
                    </a:cubicBezTo>
                    <a:cubicBezTo>
                      <a:pt x="199" y="87"/>
                      <a:pt x="202" y="88"/>
                      <a:pt x="205" y="89"/>
                    </a:cubicBezTo>
                    <a:cubicBezTo>
                      <a:pt x="210" y="91"/>
                      <a:pt x="210" y="91"/>
                      <a:pt x="210" y="91"/>
                    </a:cubicBezTo>
                    <a:cubicBezTo>
                      <a:pt x="211" y="91"/>
                      <a:pt x="212" y="90"/>
                      <a:pt x="212" y="89"/>
                    </a:cubicBezTo>
                    <a:cubicBezTo>
                      <a:pt x="211" y="88"/>
                      <a:pt x="210" y="86"/>
                      <a:pt x="209" y="84"/>
                    </a:cubicBezTo>
                    <a:cubicBezTo>
                      <a:pt x="209" y="81"/>
                      <a:pt x="209" y="81"/>
                      <a:pt x="209" y="81"/>
                    </a:cubicBezTo>
                    <a:cubicBezTo>
                      <a:pt x="209" y="80"/>
                      <a:pt x="208" y="79"/>
                      <a:pt x="208" y="77"/>
                    </a:cubicBezTo>
                    <a:cubicBezTo>
                      <a:pt x="208" y="75"/>
                      <a:pt x="208" y="75"/>
                      <a:pt x="208" y="75"/>
                    </a:cubicBezTo>
                    <a:cubicBezTo>
                      <a:pt x="207" y="70"/>
                      <a:pt x="207" y="66"/>
                      <a:pt x="206" y="61"/>
                    </a:cubicBezTo>
                    <a:cubicBezTo>
                      <a:pt x="206" y="59"/>
                      <a:pt x="206" y="59"/>
                      <a:pt x="203" y="58"/>
                    </a:cubicBezTo>
                    <a:cubicBezTo>
                      <a:pt x="202" y="57"/>
                      <a:pt x="202" y="57"/>
                      <a:pt x="202" y="57"/>
                    </a:cubicBezTo>
                    <a:cubicBezTo>
                      <a:pt x="201" y="56"/>
                      <a:pt x="200" y="55"/>
                      <a:pt x="199" y="55"/>
                    </a:cubicBezTo>
                    <a:cubicBezTo>
                      <a:pt x="198" y="54"/>
                      <a:pt x="198" y="54"/>
                      <a:pt x="198" y="54"/>
                    </a:cubicBezTo>
                    <a:cubicBezTo>
                      <a:pt x="197" y="54"/>
                      <a:pt x="196" y="53"/>
                      <a:pt x="196" y="53"/>
                    </a:cubicBezTo>
                    <a:cubicBezTo>
                      <a:pt x="194" y="52"/>
                      <a:pt x="193" y="52"/>
                      <a:pt x="193" y="51"/>
                    </a:cubicBezTo>
                    <a:cubicBezTo>
                      <a:pt x="192" y="51"/>
                      <a:pt x="192" y="51"/>
                      <a:pt x="191" y="51"/>
                    </a:cubicBezTo>
                    <a:cubicBezTo>
                      <a:pt x="190" y="51"/>
                      <a:pt x="190" y="51"/>
                      <a:pt x="190" y="51"/>
                    </a:cubicBezTo>
                    <a:cubicBezTo>
                      <a:pt x="189" y="51"/>
                      <a:pt x="188" y="52"/>
                      <a:pt x="186" y="52"/>
                    </a:cubicBezTo>
                    <a:cubicBezTo>
                      <a:pt x="185" y="52"/>
                      <a:pt x="185" y="52"/>
                      <a:pt x="185" y="52"/>
                    </a:cubicBezTo>
                    <a:cubicBezTo>
                      <a:pt x="184" y="53"/>
                      <a:pt x="182" y="53"/>
                      <a:pt x="181" y="53"/>
                    </a:cubicBezTo>
                    <a:cubicBezTo>
                      <a:pt x="181" y="53"/>
                      <a:pt x="180" y="53"/>
                      <a:pt x="180" y="53"/>
                    </a:cubicBezTo>
                    <a:cubicBezTo>
                      <a:pt x="178" y="53"/>
                      <a:pt x="176" y="52"/>
                      <a:pt x="176" y="50"/>
                    </a:cubicBezTo>
                    <a:cubicBezTo>
                      <a:pt x="175" y="49"/>
                      <a:pt x="174" y="48"/>
                      <a:pt x="174" y="45"/>
                    </a:cubicBezTo>
                    <a:cubicBezTo>
                      <a:pt x="173" y="44"/>
                      <a:pt x="172" y="41"/>
                      <a:pt x="173" y="38"/>
                    </a:cubicBezTo>
                    <a:cubicBezTo>
                      <a:pt x="174" y="38"/>
                      <a:pt x="174" y="37"/>
                      <a:pt x="174" y="37"/>
                    </a:cubicBezTo>
                    <a:cubicBezTo>
                      <a:pt x="174" y="36"/>
                      <a:pt x="174" y="36"/>
                      <a:pt x="174" y="36"/>
                    </a:cubicBezTo>
                    <a:cubicBezTo>
                      <a:pt x="167" y="40"/>
                      <a:pt x="167" y="40"/>
                      <a:pt x="167" y="40"/>
                    </a:cubicBezTo>
                    <a:cubicBezTo>
                      <a:pt x="173" y="35"/>
                      <a:pt x="173" y="35"/>
                      <a:pt x="173" y="35"/>
                    </a:cubicBezTo>
                    <a:cubicBezTo>
                      <a:pt x="172" y="34"/>
                      <a:pt x="171" y="32"/>
                      <a:pt x="170" y="30"/>
                    </a:cubicBezTo>
                    <a:cubicBezTo>
                      <a:pt x="170" y="30"/>
                      <a:pt x="170" y="30"/>
                      <a:pt x="170" y="30"/>
                    </a:cubicBezTo>
                    <a:cubicBezTo>
                      <a:pt x="171" y="26"/>
                      <a:pt x="171" y="26"/>
                      <a:pt x="171" y="26"/>
                    </a:cubicBezTo>
                    <a:cubicBezTo>
                      <a:pt x="170" y="26"/>
                      <a:pt x="169" y="26"/>
                      <a:pt x="167" y="27"/>
                    </a:cubicBezTo>
                    <a:cubicBezTo>
                      <a:pt x="164" y="27"/>
                      <a:pt x="164" y="27"/>
                      <a:pt x="164" y="27"/>
                    </a:cubicBezTo>
                    <a:cubicBezTo>
                      <a:pt x="163" y="27"/>
                      <a:pt x="161" y="27"/>
                      <a:pt x="160" y="27"/>
                    </a:cubicBezTo>
                    <a:cubicBezTo>
                      <a:pt x="156" y="28"/>
                      <a:pt x="154" y="28"/>
                      <a:pt x="151" y="28"/>
                    </a:cubicBezTo>
                    <a:cubicBezTo>
                      <a:pt x="144" y="28"/>
                      <a:pt x="144" y="28"/>
                      <a:pt x="144" y="28"/>
                    </a:cubicBezTo>
                    <a:cubicBezTo>
                      <a:pt x="141" y="28"/>
                      <a:pt x="141" y="29"/>
                      <a:pt x="139" y="32"/>
                    </a:cubicBezTo>
                    <a:cubicBezTo>
                      <a:pt x="135" y="36"/>
                      <a:pt x="135" y="36"/>
                      <a:pt x="135" y="36"/>
                    </a:cubicBezTo>
                    <a:cubicBezTo>
                      <a:pt x="132" y="33"/>
                      <a:pt x="132" y="33"/>
                      <a:pt x="132" y="33"/>
                    </a:cubicBezTo>
                    <a:cubicBezTo>
                      <a:pt x="131" y="32"/>
                      <a:pt x="128" y="32"/>
                      <a:pt x="125" y="31"/>
                    </a:cubicBezTo>
                    <a:cubicBezTo>
                      <a:pt x="124" y="31"/>
                      <a:pt x="124" y="31"/>
                      <a:pt x="124" y="31"/>
                    </a:cubicBezTo>
                    <a:cubicBezTo>
                      <a:pt x="120" y="31"/>
                      <a:pt x="120" y="31"/>
                      <a:pt x="120" y="31"/>
                    </a:cubicBezTo>
                    <a:cubicBezTo>
                      <a:pt x="120" y="31"/>
                      <a:pt x="120" y="31"/>
                      <a:pt x="120" y="31"/>
                    </a:cubicBezTo>
                    <a:cubicBezTo>
                      <a:pt x="117" y="29"/>
                      <a:pt x="117" y="27"/>
                      <a:pt x="117" y="25"/>
                    </a:cubicBezTo>
                    <a:cubicBezTo>
                      <a:pt x="117" y="25"/>
                      <a:pt x="117" y="25"/>
                      <a:pt x="117" y="25"/>
                    </a:cubicBezTo>
                    <a:cubicBezTo>
                      <a:pt x="117" y="25"/>
                      <a:pt x="116" y="25"/>
                      <a:pt x="116" y="25"/>
                    </a:cubicBezTo>
                    <a:cubicBezTo>
                      <a:pt x="116" y="25"/>
                      <a:pt x="115" y="25"/>
                      <a:pt x="115" y="25"/>
                    </a:cubicBezTo>
                    <a:cubicBezTo>
                      <a:pt x="114" y="25"/>
                      <a:pt x="114" y="25"/>
                      <a:pt x="114" y="25"/>
                    </a:cubicBezTo>
                    <a:cubicBezTo>
                      <a:pt x="113" y="24"/>
                      <a:pt x="112" y="24"/>
                      <a:pt x="112" y="23"/>
                    </a:cubicBezTo>
                    <a:cubicBezTo>
                      <a:pt x="111" y="22"/>
                      <a:pt x="111" y="22"/>
                      <a:pt x="111" y="22"/>
                    </a:cubicBezTo>
                    <a:cubicBezTo>
                      <a:pt x="107" y="25"/>
                      <a:pt x="104" y="27"/>
                      <a:pt x="101" y="27"/>
                    </a:cubicBezTo>
                    <a:cubicBezTo>
                      <a:pt x="100" y="27"/>
                      <a:pt x="100" y="27"/>
                      <a:pt x="100" y="26"/>
                    </a:cubicBezTo>
                    <a:cubicBezTo>
                      <a:pt x="100" y="26"/>
                      <a:pt x="100" y="26"/>
                      <a:pt x="100" y="26"/>
                    </a:cubicBezTo>
                    <a:cubicBezTo>
                      <a:pt x="99" y="26"/>
                      <a:pt x="99" y="26"/>
                      <a:pt x="99" y="26"/>
                    </a:cubicBezTo>
                    <a:cubicBezTo>
                      <a:pt x="99" y="26"/>
                      <a:pt x="99" y="26"/>
                      <a:pt x="99" y="26"/>
                    </a:cubicBezTo>
                    <a:cubicBezTo>
                      <a:pt x="98" y="26"/>
                      <a:pt x="98" y="26"/>
                      <a:pt x="98" y="26"/>
                    </a:cubicBezTo>
                    <a:cubicBezTo>
                      <a:pt x="93" y="25"/>
                      <a:pt x="89" y="24"/>
                      <a:pt x="83" y="23"/>
                    </a:cubicBezTo>
                    <a:cubicBezTo>
                      <a:pt x="79" y="22"/>
                      <a:pt x="75" y="22"/>
                      <a:pt x="70" y="22"/>
                    </a:cubicBezTo>
                    <a:cubicBezTo>
                      <a:pt x="65" y="22"/>
                      <a:pt x="59" y="22"/>
                      <a:pt x="52" y="23"/>
                    </a:cubicBezTo>
                    <a:cubicBezTo>
                      <a:pt x="47" y="23"/>
                      <a:pt x="47" y="23"/>
                      <a:pt x="47" y="23"/>
                    </a:cubicBezTo>
                    <a:cubicBezTo>
                      <a:pt x="47" y="19"/>
                      <a:pt x="47" y="19"/>
                      <a:pt x="47" y="19"/>
                    </a:cubicBezTo>
                    <a:cubicBezTo>
                      <a:pt x="48" y="16"/>
                      <a:pt x="48" y="12"/>
                      <a:pt x="48" y="9"/>
                    </a:cubicBezTo>
                    <a:cubicBezTo>
                      <a:pt x="48" y="1"/>
                      <a:pt x="48" y="1"/>
                      <a:pt x="48" y="1"/>
                    </a:cubicBezTo>
                    <a:cubicBezTo>
                      <a:pt x="48" y="0"/>
                      <a:pt x="48" y="0"/>
                      <a:pt x="48" y="0"/>
                    </a:cubicBezTo>
                    <a:cubicBezTo>
                      <a:pt x="47" y="0"/>
                      <a:pt x="47"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348"/>
              <p:cNvSpPr/>
              <p:nvPr/>
            </p:nvSpPr>
            <p:spPr bwMode="auto">
              <a:xfrm>
                <a:off x="10613133" y="5011758"/>
                <a:ext cx="117924" cy="88443"/>
              </a:xfrm>
              <a:custGeom>
                <a:gdLst>
                  <a:gd name="T0" fmla="*/ 31 w 37"/>
                  <a:gd name="T1" fmla="*/ 0 h 27"/>
                  <a:gd name="T2" fmla="*/ 31 w 37"/>
                  <a:gd name="T3" fmla="*/ 0 h 27"/>
                  <a:gd name="T4" fmla="*/ 30 w 37"/>
                  <a:gd name="T5" fmla="*/ 1 h 27"/>
                  <a:gd name="T6" fmla="*/ 29 w 37"/>
                  <a:gd name="T7" fmla="*/ 2 h 27"/>
                  <a:gd name="T8" fmla="*/ 27 w 37"/>
                  <a:gd name="T9" fmla="*/ 3 h 27"/>
                  <a:gd name="T10" fmla="*/ 26 w 37"/>
                  <a:gd name="T11" fmla="*/ 4 h 27"/>
                  <a:gd name="T12" fmla="*/ 21 w 37"/>
                  <a:gd name="T13" fmla="*/ 8 h 27"/>
                  <a:gd name="T14" fmla="*/ 21 w 37"/>
                  <a:gd name="T15" fmla="*/ 8 h 27"/>
                  <a:gd name="T16" fmla="*/ 19 w 37"/>
                  <a:gd name="T17" fmla="*/ 9 h 27"/>
                  <a:gd name="T18" fmla="*/ 16 w 37"/>
                  <a:gd name="T19" fmla="*/ 10 h 27"/>
                  <a:gd name="T20" fmla="*/ 10 w 37"/>
                  <a:gd name="T21" fmla="*/ 12 h 27"/>
                  <a:gd name="T22" fmla="*/ 6 w 37"/>
                  <a:gd name="T23" fmla="*/ 11 h 27"/>
                  <a:gd name="T24" fmla="*/ 6 w 37"/>
                  <a:gd name="T25" fmla="*/ 11 h 27"/>
                  <a:gd name="T26" fmla="*/ 5 w 37"/>
                  <a:gd name="T27" fmla="*/ 11 h 27"/>
                  <a:gd name="T28" fmla="*/ 2 w 37"/>
                  <a:gd name="T29" fmla="*/ 9 h 27"/>
                  <a:gd name="T30" fmla="*/ 2 w 37"/>
                  <a:gd name="T31" fmla="*/ 9 h 27"/>
                  <a:gd name="T32" fmla="*/ 0 w 37"/>
                  <a:gd name="T33" fmla="*/ 12 h 27"/>
                  <a:gd name="T34" fmla="*/ 1 w 37"/>
                  <a:gd name="T35" fmla="*/ 20 h 27"/>
                  <a:gd name="T36" fmla="*/ 1 w 37"/>
                  <a:gd name="T37" fmla="*/ 20 h 27"/>
                  <a:gd name="T38" fmla="*/ 2 w 37"/>
                  <a:gd name="T39" fmla="*/ 23 h 27"/>
                  <a:gd name="T40" fmla="*/ 2 w 37"/>
                  <a:gd name="T41" fmla="*/ 25 h 27"/>
                  <a:gd name="T42" fmla="*/ 6 w 37"/>
                  <a:gd name="T43" fmla="*/ 23 h 27"/>
                  <a:gd name="T44" fmla="*/ 8 w 37"/>
                  <a:gd name="T45" fmla="*/ 22 h 27"/>
                  <a:gd name="T46" fmla="*/ 9 w 37"/>
                  <a:gd name="T47" fmla="*/ 22 h 27"/>
                  <a:gd name="T48" fmla="*/ 17 w 37"/>
                  <a:gd name="T49" fmla="*/ 20 h 27"/>
                  <a:gd name="T50" fmla="*/ 35 w 37"/>
                  <a:gd name="T51" fmla="*/ 27 h 27"/>
                  <a:gd name="T52" fmla="*/ 37 w 37"/>
                  <a:gd name="T53" fmla="*/ 25 h 27"/>
                  <a:gd name="T54" fmla="*/ 36 w 37"/>
                  <a:gd name="T55" fmla="*/ 25 h 27"/>
                  <a:gd name="T56" fmla="*/ 36 w 37"/>
                  <a:gd name="T57" fmla="*/ 25 h 27"/>
                  <a:gd name="T58" fmla="*/ 28 w 37"/>
                  <a:gd name="T59" fmla="*/ 20 h 27"/>
                  <a:gd name="T60" fmla="*/ 23 w 37"/>
                  <a:gd name="T61" fmla="*/ 17 h 27"/>
                  <a:gd name="T62" fmla="*/ 27 w 37"/>
                  <a:gd name="T63" fmla="*/ 14 h 27"/>
                  <a:gd name="T64" fmla="*/ 36 w 37"/>
                  <a:gd name="T65" fmla="*/ 6 h 27"/>
                  <a:gd name="T66" fmla="*/ 31 w 37"/>
                  <a:gd name="T67"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27">
                    <a:moveTo>
                      <a:pt x="31" y="0"/>
                    </a:moveTo>
                    <a:cubicBezTo>
                      <a:pt x="31" y="0"/>
                      <a:pt x="31" y="0"/>
                      <a:pt x="31" y="0"/>
                    </a:cubicBezTo>
                    <a:cubicBezTo>
                      <a:pt x="30" y="1"/>
                      <a:pt x="30" y="1"/>
                      <a:pt x="30" y="1"/>
                    </a:cubicBezTo>
                    <a:cubicBezTo>
                      <a:pt x="30" y="1"/>
                      <a:pt x="30" y="2"/>
                      <a:pt x="29" y="2"/>
                    </a:cubicBezTo>
                    <a:cubicBezTo>
                      <a:pt x="28" y="2"/>
                      <a:pt x="28" y="3"/>
                      <a:pt x="27" y="3"/>
                    </a:cubicBezTo>
                    <a:cubicBezTo>
                      <a:pt x="26" y="4"/>
                      <a:pt x="26" y="4"/>
                      <a:pt x="26" y="4"/>
                    </a:cubicBezTo>
                    <a:cubicBezTo>
                      <a:pt x="25" y="5"/>
                      <a:pt x="23" y="7"/>
                      <a:pt x="21" y="8"/>
                    </a:cubicBezTo>
                    <a:cubicBezTo>
                      <a:pt x="21" y="8"/>
                      <a:pt x="21" y="8"/>
                      <a:pt x="21" y="8"/>
                    </a:cubicBezTo>
                    <a:cubicBezTo>
                      <a:pt x="20" y="8"/>
                      <a:pt x="19" y="9"/>
                      <a:pt x="19" y="9"/>
                    </a:cubicBezTo>
                    <a:cubicBezTo>
                      <a:pt x="18" y="9"/>
                      <a:pt x="17" y="10"/>
                      <a:pt x="16" y="10"/>
                    </a:cubicBezTo>
                    <a:cubicBezTo>
                      <a:pt x="15" y="11"/>
                      <a:pt x="13" y="12"/>
                      <a:pt x="10" y="12"/>
                    </a:cubicBezTo>
                    <a:cubicBezTo>
                      <a:pt x="9" y="12"/>
                      <a:pt x="8" y="12"/>
                      <a:pt x="6" y="11"/>
                    </a:cubicBezTo>
                    <a:cubicBezTo>
                      <a:pt x="6" y="11"/>
                      <a:pt x="6" y="11"/>
                      <a:pt x="6" y="11"/>
                    </a:cubicBezTo>
                    <a:cubicBezTo>
                      <a:pt x="5" y="11"/>
                      <a:pt x="5" y="11"/>
                      <a:pt x="5" y="11"/>
                    </a:cubicBezTo>
                    <a:cubicBezTo>
                      <a:pt x="4" y="10"/>
                      <a:pt x="3" y="9"/>
                      <a:pt x="2" y="9"/>
                    </a:cubicBezTo>
                    <a:cubicBezTo>
                      <a:pt x="2" y="9"/>
                      <a:pt x="2" y="9"/>
                      <a:pt x="2" y="9"/>
                    </a:cubicBezTo>
                    <a:cubicBezTo>
                      <a:pt x="0" y="11"/>
                      <a:pt x="0" y="12"/>
                      <a:pt x="0" y="12"/>
                    </a:cubicBezTo>
                    <a:cubicBezTo>
                      <a:pt x="0" y="14"/>
                      <a:pt x="0" y="17"/>
                      <a:pt x="1" y="20"/>
                    </a:cubicBezTo>
                    <a:cubicBezTo>
                      <a:pt x="1" y="20"/>
                      <a:pt x="1" y="20"/>
                      <a:pt x="1" y="20"/>
                    </a:cubicBezTo>
                    <a:cubicBezTo>
                      <a:pt x="2" y="21"/>
                      <a:pt x="2" y="22"/>
                      <a:pt x="2" y="23"/>
                    </a:cubicBezTo>
                    <a:cubicBezTo>
                      <a:pt x="2" y="25"/>
                      <a:pt x="2" y="25"/>
                      <a:pt x="2" y="25"/>
                    </a:cubicBezTo>
                    <a:cubicBezTo>
                      <a:pt x="3" y="24"/>
                      <a:pt x="5" y="23"/>
                      <a:pt x="6" y="23"/>
                    </a:cubicBezTo>
                    <a:cubicBezTo>
                      <a:pt x="7" y="23"/>
                      <a:pt x="7" y="23"/>
                      <a:pt x="8" y="22"/>
                    </a:cubicBezTo>
                    <a:cubicBezTo>
                      <a:pt x="9" y="22"/>
                      <a:pt x="9" y="22"/>
                      <a:pt x="9" y="22"/>
                    </a:cubicBezTo>
                    <a:cubicBezTo>
                      <a:pt x="12" y="21"/>
                      <a:pt x="15" y="20"/>
                      <a:pt x="17" y="20"/>
                    </a:cubicBezTo>
                    <a:cubicBezTo>
                      <a:pt x="23" y="20"/>
                      <a:pt x="31" y="24"/>
                      <a:pt x="35" y="27"/>
                    </a:cubicBezTo>
                    <a:cubicBezTo>
                      <a:pt x="37" y="25"/>
                      <a:pt x="37" y="25"/>
                      <a:pt x="37" y="25"/>
                    </a:cubicBezTo>
                    <a:cubicBezTo>
                      <a:pt x="36" y="25"/>
                      <a:pt x="36" y="25"/>
                      <a:pt x="36" y="25"/>
                    </a:cubicBezTo>
                    <a:cubicBezTo>
                      <a:pt x="36" y="25"/>
                      <a:pt x="36" y="25"/>
                      <a:pt x="36" y="25"/>
                    </a:cubicBezTo>
                    <a:cubicBezTo>
                      <a:pt x="33" y="23"/>
                      <a:pt x="31" y="22"/>
                      <a:pt x="28" y="20"/>
                    </a:cubicBezTo>
                    <a:cubicBezTo>
                      <a:pt x="23" y="17"/>
                      <a:pt x="23" y="17"/>
                      <a:pt x="23" y="17"/>
                    </a:cubicBezTo>
                    <a:cubicBezTo>
                      <a:pt x="27" y="14"/>
                      <a:pt x="27" y="14"/>
                      <a:pt x="27" y="14"/>
                    </a:cubicBezTo>
                    <a:cubicBezTo>
                      <a:pt x="30" y="11"/>
                      <a:pt x="33" y="9"/>
                      <a:pt x="36" y="6"/>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349"/>
              <p:cNvSpPr/>
              <p:nvPr/>
            </p:nvSpPr>
            <p:spPr bwMode="auto">
              <a:xfrm>
                <a:off x="11593374" y="6102552"/>
                <a:ext cx="585933" cy="364826"/>
              </a:xfrm>
              <a:custGeom>
                <a:gdLst>
                  <a:gd name="T0" fmla="*/ 38 w 184"/>
                  <a:gd name="T1" fmla="*/ 1 h 115"/>
                  <a:gd name="T2" fmla="*/ 37 w 184"/>
                  <a:gd name="T3" fmla="*/ 2 h 115"/>
                  <a:gd name="T4" fmla="*/ 31 w 184"/>
                  <a:gd name="T5" fmla="*/ 11 h 115"/>
                  <a:gd name="T6" fmla="*/ 22 w 184"/>
                  <a:gd name="T7" fmla="*/ 10 h 115"/>
                  <a:gd name="T8" fmla="*/ 8 w 184"/>
                  <a:gd name="T9" fmla="*/ 25 h 115"/>
                  <a:gd name="T10" fmla="*/ 5 w 184"/>
                  <a:gd name="T11" fmla="*/ 28 h 115"/>
                  <a:gd name="T12" fmla="*/ 3 w 184"/>
                  <a:gd name="T13" fmla="*/ 37 h 115"/>
                  <a:gd name="T14" fmla="*/ 0 w 184"/>
                  <a:gd name="T15" fmla="*/ 44 h 115"/>
                  <a:gd name="T16" fmla="*/ 6 w 184"/>
                  <a:gd name="T17" fmla="*/ 43 h 115"/>
                  <a:gd name="T18" fmla="*/ 18 w 184"/>
                  <a:gd name="T19" fmla="*/ 52 h 115"/>
                  <a:gd name="T20" fmla="*/ 33 w 184"/>
                  <a:gd name="T21" fmla="*/ 56 h 115"/>
                  <a:gd name="T22" fmla="*/ 38 w 184"/>
                  <a:gd name="T23" fmla="*/ 66 h 115"/>
                  <a:gd name="T24" fmla="*/ 42 w 184"/>
                  <a:gd name="T25" fmla="*/ 69 h 115"/>
                  <a:gd name="T26" fmla="*/ 47 w 184"/>
                  <a:gd name="T27" fmla="*/ 72 h 115"/>
                  <a:gd name="T28" fmla="*/ 52 w 184"/>
                  <a:gd name="T29" fmla="*/ 71 h 115"/>
                  <a:gd name="T30" fmla="*/ 60 w 184"/>
                  <a:gd name="T31" fmla="*/ 74 h 115"/>
                  <a:gd name="T32" fmla="*/ 73 w 184"/>
                  <a:gd name="T33" fmla="*/ 79 h 115"/>
                  <a:gd name="T34" fmla="*/ 75 w 184"/>
                  <a:gd name="T35" fmla="*/ 84 h 115"/>
                  <a:gd name="T36" fmla="*/ 88 w 184"/>
                  <a:gd name="T37" fmla="*/ 88 h 115"/>
                  <a:gd name="T38" fmla="*/ 92 w 184"/>
                  <a:gd name="T39" fmla="*/ 85 h 115"/>
                  <a:gd name="T40" fmla="*/ 95 w 184"/>
                  <a:gd name="T41" fmla="*/ 85 h 115"/>
                  <a:gd name="T42" fmla="*/ 102 w 184"/>
                  <a:gd name="T43" fmla="*/ 87 h 115"/>
                  <a:gd name="T44" fmla="*/ 104 w 184"/>
                  <a:gd name="T45" fmla="*/ 79 h 115"/>
                  <a:gd name="T46" fmla="*/ 115 w 184"/>
                  <a:gd name="T47" fmla="*/ 84 h 115"/>
                  <a:gd name="T48" fmla="*/ 118 w 184"/>
                  <a:gd name="T49" fmla="*/ 85 h 115"/>
                  <a:gd name="T50" fmla="*/ 129 w 184"/>
                  <a:gd name="T51" fmla="*/ 95 h 115"/>
                  <a:gd name="T52" fmla="*/ 130 w 184"/>
                  <a:gd name="T53" fmla="*/ 99 h 115"/>
                  <a:gd name="T54" fmla="*/ 141 w 184"/>
                  <a:gd name="T55" fmla="*/ 103 h 115"/>
                  <a:gd name="T56" fmla="*/ 143 w 184"/>
                  <a:gd name="T57" fmla="*/ 104 h 115"/>
                  <a:gd name="T58" fmla="*/ 146 w 184"/>
                  <a:gd name="T59" fmla="*/ 106 h 115"/>
                  <a:gd name="T60" fmla="*/ 148 w 184"/>
                  <a:gd name="T61" fmla="*/ 106 h 115"/>
                  <a:gd name="T62" fmla="*/ 154 w 184"/>
                  <a:gd name="T63" fmla="*/ 104 h 115"/>
                  <a:gd name="T64" fmla="*/ 157 w 184"/>
                  <a:gd name="T65" fmla="*/ 105 h 115"/>
                  <a:gd name="T66" fmla="*/ 159 w 184"/>
                  <a:gd name="T67" fmla="*/ 107 h 115"/>
                  <a:gd name="T68" fmla="*/ 163 w 184"/>
                  <a:gd name="T69" fmla="*/ 112 h 115"/>
                  <a:gd name="T70" fmla="*/ 168 w 184"/>
                  <a:gd name="T71" fmla="*/ 111 h 115"/>
                  <a:gd name="T72" fmla="*/ 173 w 184"/>
                  <a:gd name="T73" fmla="*/ 111 h 115"/>
                  <a:gd name="T74" fmla="*/ 184 w 184"/>
                  <a:gd name="T75" fmla="*/ 115 h 115"/>
                  <a:gd name="T76" fmla="*/ 176 w 184"/>
                  <a:gd name="T77" fmla="*/ 76 h 115"/>
                  <a:gd name="T78" fmla="*/ 170 w 184"/>
                  <a:gd name="T79" fmla="*/ 74 h 115"/>
                  <a:gd name="T80" fmla="*/ 156 w 184"/>
                  <a:gd name="T81" fmla="*/ 68 h 115"/>
                  <a:gd name="T82" fmla="*/ 155 w 184"/>
                  <a:gd name="T83" fmla="*/ 66 h 115"/>
                  <a:gd name="T84" fmla="*/ 148 w 184"/>
                  <a:gd name="T85" fmla="*/ 65 h 115"/>
                  <a:gd name="T86" fmla="*/ 143 w 184"/>
                  <a:gd name="T87" fmla="*/ 66 h 115"/>
                  <a:gd name="T88" fmla="*/ 136 w 184"/>
                  <a:gd name="T89" fmla="*/ 58 h 115"/>
                  <a:gd name="T90" fmla="*/ 127 w 184"/>
                  <a:gd name="T91" fmla="*/ 56 h 115"/>
                  <a:gd name="T92" fmla="*/ 120 w 184"/>
                  <a:gd name="T93" fmla="*/ 52 h 115"/>
                  <a:gd name="T94" fmla="*/ 116 w 184"/>
                  <a:gd name="T95" fmla="*/ 49 h 115"/>
                  <a:gd name="T96" fmla="*/ 109 w 184"/>
                  <a:gd name="T97" fmla="*/ 37 h 115"/>
                  <a:gd name="T98" fmla="*/ 101 w 184"/>
                  <a:gd name="T99" fmla="*/ 39 h 115"/>
                  <a:gd name="T100" fmla="*/ 91 w 184"/>
                  <a:gd name="T101" fmla="*/ 34 h 115"/>
                  <a:gd name="T102" fmla="*/ 87 w 184"/>
                  <a:gd name="T103" fmla="*/ 28 h 115"/>
                  <a:gd name="T104" fmla="*/ 86 w 184"/>
                  <a:gd name="T105" fmla="*/ 27 h 115"/>
                  <a:gd name="T106" fmla="*/ 82 w 184"/>
                  <a:gd name="T107" fmla="*/ 32 h 115"/>
                  <a:gd name="T108" fmla="*/ 79 w 184"/>
                  <a:gd name="T109" fmla="*/ 24 h 115"/>
                  <a:gd name="T110" fmla="*/ 70 w 184"/>
                  <a:gd name="T111" fmla="*/ 20 h 115"/>
                  <a:gd name="T112" fmla="*/ 62 w 184"/>
                  <a:gd name="T113" fmla="*/ 14 h 115"/>
                  <a:gd name="T114" fmla="*/ 53 w 184"/>
                  <a:gd name="T115" fmla="*/ 9 h 115"/>
                  <a:gd name="T116" fmla="*/ 41 w 184"/>
                  <a:gd name="T117" fmla="*/ 1 h 1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 h="115">
                    <a:moveTo>
                      <a:pt x="39" y="0"/>
                    </a:moveTo>
                    <a:cubicBezTo>
                      <a:pt x="39" y="0"/>
                      <a:pt x="38" y="1"/>
                      <a:pt x="38" y="1"/>
                    </a:cubicBezTo>
                    <a:cubicBezTo>
                      <a:pt x="38" y="1"/>
                      <a:pt x="38" y="1"/>
                      <a:pt x="38" y="1"/>
                    </a:cubicBezTo>
                    <a:cubicBezTo>
                      <a:pt x="37" y="1"/>
                      <a:pt x="37" y="1"/>
                      <a:pt x="37" y="1"/>
                    </a:cubicBezTo>
                    <a:cubicBezTo>
                      <a:pt x="37" y="2"/>
                      <a:pt x="37" y="2"/>
                      <a:pt x="37" y="2"/>
                    </a:cubicBezTo>
                    <a:cubicBezTo>
                      <a:pt x="37" y="2"/>
                      <a:pt x="37" y="2"/>
                      <a:pt x="37" y="2"/>
                    </a:cubicBezTo>
                    <a:cubicBezTo>
                      <a:pt x="35" y="4"/>
                      <a:pt x="35" y="6"/>
                      <a:pt x="34" y="8"/>
                    </a:cubicBezTo>
                    <a:cubicBezTo>
                      <a:pt x="33" y="11"/>
                      <a:pt x="33" y="11"/>
                      <a:pt x="33" y="11"/>
                    </a:cubicBezTo>
                    <a:cubicBezTo>
                      <a:pt x="31" y="11"/>
                      <a:pt x="31" y="11"/>
                      <a:pt x="31" y="11"/>
                    </a:cubicBezTo>
                    <a:cubicBezTo>
                      <a:pt x="29" y="12"/>
                      <a:pt x="28" y="12"/>
                      <a:pt x="27" y="12"/>
                    </a:cubicBezTo>
                    <a:cubicBezTo>
                      <a:pt x="25" y="12"/>
                      <a:pt x="24" y="12"/>
                      <a:pt x="24" y="11"/>
                    </a:cubicBezTo>
                    <a:cubicBezTo>
                      <a:pt x="22" y="10"/>
                      <a:pt x="22" y="10"/>
                      <a:pt x="22" y="10"/>
                    </a:cubicBezTo>
                    <a:cubicBezTo>
                      <a:pt x="22" y="10"/>
                      <a:pt x="22" y="10"/>
                      <a:pt x="22" y="10"/>
                    </a:cubicBezTo>
                    <a:cubicBezTo>
                      <a:pt x="8" y="24"/>
                      <a:pt x="8" y="24"/>
                      <a:pt x="8" y="24"/>
                    </a:cubicBezTo>
                    <a:cubicBezTo>
                      <a:pt x="8" y="24"/>
                      <a:pt x="8" y="24"/>
                      <a:pt x="8" y="25"/>
                    </a:cubicBezTo>
                    <a:cubicBezTo>
                      <a:pt x="7" y="25"/>
                      <a:pt x="7" y="26"/>
                      <a:pt x="6" y="26"/>
                    </a:cubicBezTo>
                    <a:cubicBezTo>
                      <a:pt x="5" y="27"/>
                      <a:pt x="5" y="27"/>
                      <a:pt x="5" y="27"/>
                    </a:cubicBezTo>
                    <a:cubicBezTo>
                      <a:pt x="5" y="28"/>
                      <a:pt x="5" y="28"/>
                      <a:pt x="5" y="28"/>
                    </a:cubicBezTo>
                    <a:cubicBezTo>
                      <a:pt x="5" y="28"/>
                      <a:pt x="5" y="28"/>
                      <a:pt x="5" y="28"/>
                    </a:cubicBezTo>
                    <a:cubicBezTo>
                      <a:pt x="5" y="29"/>
                      <a:pt x="6" y="30"/>
                      <a:pt x="6" y="32"/>
                    </a:cubicBezTo>
                    <a:cubicBezTo>
                      <a:pt x="6" y="33"/>
                      <a:pt x="5" y="35"/>
                      <a:pt x="3" y="37"/>
                    </a:cubicBezTo>
                    <a:cubicBezTo>
                      <a:pt x="3" y="38"/>
                      <a:pt x="3" y="38"/>
                      <a:pt x="3" y="38"/>
                    </a:cubicBezTo>
                    <a:cubicBezTo>
                      <a:pt x="2" y="39"/>
                      <a:pt x="1" y="40"/>
                      <a:pt x="1" y="42"/>
                    </a:cubicBezTo>
                    <a:cubicBezTo>
                      <a:pt x="0" y="42"/>
                      <a:pt x="0" y="43"/>
                      <a:pt x="0" y="44"/>
                    </a:cubicBezTo>
                    <a:cubicBezTo>
                      <a:pt x="0" y="45"/>
                      <a:pt x="1" y="46"/>
                      <a:pt x="2" y="47"/>
                    </a:cubicBezTo>
                    <a:cubicBezTo>
                      <a:pt x="2" y="47"/>
                      <a:pt x="4" y="48"/>
                      <a:pt x="6" y="49"/>
                    </a:cubicBezTo>
                    <a:cubicBezTo>
                      <a:pt x="6" y="43"/>
                      <a:pt x="6" y="43"/>
                      <a:pt x="6" y="43"/>
                    </a:cubicBezTo>
                    <a:cubicBezTo>
                      <a:pt x="11" y="48"/>
                      <a:pt x="11" y="48"/>
                      <a:pt x="11" y="48"/>
                    </a:cubicBezTo>
                    <a:cubicBezTo>
                      <a:pt x="13" y="49"/>
                      <a:pt x="15" y="50"/>
                      <a:pt x="17" y="51"/>
                    </a:cubicBezTo>
                    <a:cubicBezTo>
                      <a:pt x="18" y="52"/>
                      <a:pt x="18" y="52"/>
                      <a:pt x="18" y="52"/>
                    </a:cubicBezTo>
                    <a:cubicBezTo>
                      <a:pt x="20" y="53"/>
                      <a:pt x="23" y="54"/>
                      <a:pt x="25" y="56"/>
                    </a:cubicBezTo>
                    <a:cubicBezTo>
                      <a:pt x="27" y="57"/>
                      <a:pt x="29" y="58"/>
                      <a:pt x="31" y="59"/>
                    </a:cubicBezTo>
                    <a:cubicBezTo>
                      <a:pt x="33" y="56"/>
                      <a:pt x="33" y="56"/>
                      <a:pt x="33" y="56"/>
                    </a:cubicBezTo>
                    <a:cubicBezTo>
                      <a:pt x="32" y="60"/>
                      <a:pt x="32" y="60"/>
                      <a:pt x="32" y="60"/>
                    </a:cubicBezTo>
                    <a:cubicBezTo>
                      <a:pt x="32" y="61"/>
                      <a:pt x="32" y="61"/>
                      <a:pt x="32" y="61"/>
                    </a:cubicBezTo>
                    <a:cubicBezTo>
                      <a:pt x="34" y="63"/>
                      <a:pt x="36" y="64"/>
                      <a:pt x="38" y="66"/>
                    </a:cubicBezTo>
                    <a:cubicBezTo>
                      <a:pt x="38" y="66"/>
                      <a:pt x="38" y="66"/>
                      <a:pt x="38" y="66"/>
                    </a:cubicBezTo>
                    <a:cubicBezTo>
                      <a:pt x="39" y="67"/>
                      <a:pt x="39" y="67"/>
                      <a:pt x="40" y="67"/>
                    </a:cubicBezTo>
                    <a:cubicBezTo>
                      <a:pt x="40" y="68"/>
                      <a:pt x="41" y="68"/>
                      <a:pt x="42" y="69"/>
                    </a:cubicBezTo>
                    <a:cubicBezTo>
                      <a:pt x="44" y="71"/>
                      <a:pt x="44" y="71"/>
                      <a:pt x="44" y="71"/>
                    </a:cubicBezTo>
                    <a:cubicBezTo>
                      <a:pt x="46" y="72"/>
                      <a:pt x="47" y="72"/>
                      <a:pt x="47" y="72"/>
                    </a:cubicBezTo>
                    <a:cubicBezTo>
                      <a:pt x="47" y="72"/>
                      <a:pt x="47" y="72"/>
                      <a:pt x="47" y="72"/>
                    </a:cubicBezTo>
                    <a:cubicBezTo>
                      <a:pt x="48" y="72"/>
                      <a:pt x="48" y="72"/>
                      <a:pt x="48" y="72"/>
                    </a:cubicBezTo>
                    <a:cubicBezTo>
                      <a:pt x="49" y="72"/>
                      <a:pt x="50" y="71"/>
                      <a:pt x="51" y="71"/>
                    </a:cubicBezTo>
                    <a:cubicBezTo>
                      <a:pt x="52" y="71"/>
                      <a:pt x="52" y="71"/>
                      <a:pt x="52" y="71"/>
                    </a:cubicBezTo>
                    <a:cubicBezTo>
                      <a:pt x="53" y="71"/>
                      <a:pt x="53" y="71"/>
                      <a:pt x="53" y="71"/>
                    </a:cubicBezTo>
                    <a:cubicBezTo>
                      <a:pt x="53" y="71"/>
                      <a:pt x="54" y="71"/>
                      <a:pt x="54" y="72"/>
                    </a:cubicBezTo>
                    <a:cubicBezTo>
                      <a:pt x="56" y="73"/>
                      <a:pt x="58" y="73"/>
                      <a:pt x="60" y="74"/>
                    </a:cubicBezTo>
                    <a:cubicBezTo>
                      <a:pt x="72" y="78"/>
                      <a:pt x="72" y="78"/>
                      <a:pt x="72" y="78"/>
                    </a:cubicBezTo>
                    <a:cubicBezTo>
                      <a:pt x="73" y="79"/>
                      <a:pt x="73" y="79"/>
                      <a:pt x="73" y="79"/>
                    </a:cubicBezTo>
                    <a:cubicBezTo>
                      <a:pt x="73" y="79"/>
                      <a:pt x="73" y="79"/>
                      <a:pt x="73" y="79"/>
                    </a:cubicBezTo>
                    <a:cubicBezTo>
                      <a:pt x="74" y="80"/>
                      <a:pt x="74" y="80"/>
                      <a:pt x="74" y="80"/>
                    </a:cubicBezTo>
                    <a:cubicBezTo>
                      <a:pt x="74" y="81"/>
                      <a:pt x="74" y="82"/>
                      <a:pt x="75" y="83"/>
                    </a:cubicBezTo>
                    <a:cubicBezTo>
                      <a:pt x="75" y="83"/>
                      <a:pt x="75" y="84"/>
                      <a:pt x="75" y="84"/>
                    </a:cubicBezTo>
                    <a:cubicBezTo>
                      <a:pt x="76" y="84"/>
                      <a:pt x="77" y="84"/>
                      <a:pt x="77" y="84"/>
                    </a:cubicBezTo>
                    <a:cubicBezTo>
                      <a:pt x="79" y="85"/>
                      <a:pt x="81" y="85"/>
                      <a:pt x="82" y="85"/>
                    </a:cubicBezTo>
                    <a:cubicBezTo>
                      <a:pt x="84" y="86"/>
                      <a:pt x="86" y="87"/>
                      <a:pt x="88" y="88"/>
                    </a:cubicBezTo>
                    <a:cubicBezTo>
                      <a:pt x="91" y="86"/>
                      <a:pt x="91" y="86"/>
                      <a:pt x="91" y="86"/>
                    </a:cubicBezTo>
                    <a:cubicBezTo>
                      <a:pt x="91" y="86"/>
                      <a:pt x="91" y="86"/>
                      <a:pt x="92" y="85"/>
                    </a:cubicBezTo>
                    <a:cubicBezTo>
                      <a:pt x="92" y="85"/>
                      <a:pt x="92" y="85"/>
                      <a:pt x="92" y="85"/>
                    </a:cubicBezTo>
                    <a:cubicBezTo>
                      <a:pt x="93" y="85"/>
                      <a:pt x="93" y="85"/>
                      <a:pt x="94" y="85"/>
                    </a:cubicBezTo>
                    <a:cubicBezTo>
                      <a:pt x="94" y="85"/>
                      <a:pt x="94" y="85"/>
                      <a:pt x="94" y="85"/>
                    </a:cubicBezTo>
                    <a:cubicBezTo>
                      <a:pt x="95" y="85"/>
                      <a:pt x="95" y="85"/>
                      <a:pt x="95" y="85"/>
                    </a:cubicBezTo>
                    <a:cubicBezTo>
                      <a:pt x="95" y="85"/>
                      <a:pt x="95" y="85"/>
                      <a:pt x="95" y="85"/>
                    </a:cubicBezTo>
                    <a:cubicBezTo>
                      <a:pt x="96" y="85"/>
                      <a:pt x="96" y="85"/>
                      <a:pt x="96" y="85"/>
                    </a:cubicBezTo>
                    <a:cubicBezTo>
                      <a:pt x="102" y="87"/>
                      <a:pt x="102" y="87"/>
                      <a:pt x="102" y="87"/>
                    </a:cubicBezTo>
                    <a:cubicBezTo>
                      <a:pt x="103" y="87"/>
                      <a:pt x="103" y="87"/>
                      <a:pt x="103" y="87"/>
                    </a:cubicBezTo>
                    <a:cubicBezTo>
                      <a:pt x="103" y="86"/>
                      <a:pt x="104" y="85"/>
                      <a:pt x="105" y="85"/>
                    </a:cubicBezTo>
                    <a:cubicBezTo>
                      <a:pt x="104" y="79"/>
                      <a:pt x="104" y="79"/>
                      <a:pt x="104" y="79"/>
                    </a:cubicBezTo>
                    <a:cubicBezTo>
                      <a:pt x="107" y="84"/>
                      <a:pt x="107" y="84"/>
                      <a:pt x="107" y="84"/>
                    </a:cubicBezTo>
                    <a:cubicBezTo>
                      <a:pt x="108" y="84"/>
                      <a:pt x="110" y="83"/>
                      <a:pt x="111" y="83"/>
                    </a:cubicBezTo>
                    <a:cubicBezTo>
                      <a:pt x="113" y="83"/>
                      <a:pt x="114" y="84"/>
                      <a:pt x="115" y="84"/>
                    </a:cubicBezTo>
                    <a:cubicBezTo>
                      <a:pt x="116" y="84"/>
                      <a:pt x="116" y="84"/>
                      <a:pt x="116" y="84"/>
                    </a:cubicBezTo>
                    <a:cubicBezTo>
                      <a:pt x="117" y="85"/>
                      <a:pt x="117" y="85"/>
                      <a:pt x="117" y="85"/>
                    </a:cubicBezTo>
                    <a:cubicBezTo>
                      <a:pt x="118" y="85"/>
                      <a:pt x="118" y="85"/>
                      <a:pt x="118" y="85"/>
                    </a:cubicBezTo>
                    <a:cubicBezTo>
                      <a:pt x="120" y="86"/>
                      <a:pt x="123" y="87"/>
                      <a:pt x="125" y="88"/>
                    </a:cubicBezTo>
                    <a:cubicBezTo>
                      <a:pt x="126" y="89"/>
                      <a:pt x="128" y="90"/>
                      <a:pt x="128" y="93"/>
                    </a:cubicBezTo>
                    <a:cubicBezTo>
                      <a:pt x="129" y="94"/>
                      <a:pt x="129" y="94"/>
                      <a:pt x="129" y="95"/>
                    </a:cubicBezTo>
                    <a:cubicBezTo>
                      <a:pt x="129" y="95"/>
                      <a:pt x="129" y="96"/>
                      <a:pt x="129" y="97"/>
                    </a:cubicBezTo>
                    <a:cubicBezTo>
                      <a:pt x="129" y="98"/>
                      <a:pt x="129" y="98"/>
                      <a:pt x="129" y="98"/>
                    </a:cubicBezTo>
                    <a:cubicBezTo>
                      <a:pt x="129" y="98"/>
                      <a:pt x="130" y="98"/>
                      <a:pt x="130" y="99"/>
                    </a:cubicBezTo>
                    <a:cubicBezTo>
                      <a:pt x="131" y="99"/>
                      <a:pt x="132" y="99"/>
                      <a:pt x="133" y="100"/>
                    </a:cubicBezTo>
                    <a:cubicBezTo>
                      <a:pt x="134" y="100"/>
                      <a:pt x="134" y="100"/>
                      <a:pt x="134" y="100"/>
                    </a:cubicBezTo>
                    <a:cubicBezTo>
                      <a:pt x="136" y="101"/>
                      <a:pt x="139" y="101"/>
                      <a:pt x="141" y="103"/>
                    </a:cubicBezTo>
                    <a:cubicBezTo>
                      <a:pt x="145" y="96"/>
                      <a:pt x="145" y="96"/>
                      <a:pt x="145" y="96"/>
                    </a:cubicBezTo>
                    <a:cubicBezTo>
                      <a:pt x="143" y="104"/>
                      <a:pt x="143" y="104"/>
                      <a:pt x="143" y="104"/>
                    </a:cubicBezTo>
                    <a:cubicBezTo>
                      <a:pt x="143" y="104"/>
                      <a:pt x="143" y="104"/>
                      <a:pt x="143" y="104"/>
                    </a:cubicBezTo>
                    <a:cubicBezTo>
                      <a:pt x="144" y="104"/>
                      <a:pt x="144" y="105"/>
                      <a:pt x="145" y="105"/>
                    </a:cubicBezTo>
                    <a:cubicBezTo>
                      <a:pt x="145" y="106"/>
                      <a:pt x="145" y="106"/>
                      <a:pt x="145" y="106"/>
                    </a:cubicBezTo>
                    <a:cubicBezTo>
                      <a:pt x="146" y="106"/>
                      <a:pt x="146" y="106"/>
                      <a:pt x="146" y="106"/>
                    </a:cubicBezTo>
                    <a:cubicBezTo>
                      <a:pt x="146" y="106"/>
                      <a:pt x="146" y="106"/>
                      <a:pt x="146" y="106"/>
                    </a:cubicBezTo>
                    <a:cubicBezTo>
                      <a:pt x="146" y="106"/>
                      <a:pt x="146" y="106"/>
                      <a:pt x="147" y="106"/>
                    </a:cubicBezTo>
                    <a:cubicBezTo>
                      <a:pt x="148" y="106"/>
                      <a:pt x="148" y="106"/>
                      <a:pt x="148" y="106"/>
                    </a:cubicBezTo>
                    <a:cubicBezTo>
                      <a:pt x="149" y="105"/>
                      <a:pt x="150" y="105"/>
                      <a:pt x="151" y="104"/>
                    </a:cubicBezTo>
                    <a:cubicBezTo>
                      <a:pt x="152" y="104"/>
                      <a:pt x="152" y="104"/>
                      <a:pt x="152" y="104"/>
                    </a:cubicBezTo>
                    <a:cubicBezTo>
                      <a:pt x="153" y="104"/>
                      <a:pt x="153" y="104"/>
                      <a:pt x="154" y="104"/>
                    </a:cubicBezTo>
                    <a:cubicBezTo>
                      <a:pt x="154" y="104"/>
                      <a:pt x="154" y="104"/>
                      <a:pt x="154" y="104"/>
                    </a:cubicBezTo>
                    <a:cubicBezTo>
                      <a:pt x="156" y="104"/>
                      <a:pt x="156" y="104"/>
                      <a:pt x="156" y="104"/>
                    </a:cubicBezTo>
                    <a:cubicBezTo>
                      <a:pt x="157" y="105"/>
                      <a:pt x="157" y="105"/>
                      <a:pt x="157" y="105"/>
                    </a:cubicBezTo>
                    <a:cubicBezTo>
                      <a:pt x="157" y="105"/>
                      <a:pt x="158" y="105"/>
                      <a:pt x="158" y="106"/>
                    </a:cubicBezTo>
                    <a:cubicBezTo>
                      <a:pt x="158" y="106"/>
                      <a:pt x="158" y="106"/>
                      <a:pt x="158" y="106"/>
                    </a:cubicBezTo>
                    <a:cubicBezTo>
                      <a:pt x="159" y="107"/>
                      <a:pt x="159" y="107"/>
                      <a:pt x="159" y="107"/>
                    </a:cubicBezTo>
                    <a:cubicBezTo>
                      <a:pt x="160" y="108"/>
                      <a:pt x="160" y="109"/>
                      <a:pt x="161" y="110"/>
                    </a:cubicBezTo>
                    <a:cubicBezTo>
                      <a:pt x="161" y="110"/>
                      <a:pt x="162" y="111"/>
                      <a:pt x="162" y="112"/>
                    </a:cubicBezTo>
                    <a:cubicBezTo>
                      <a:pt x="162" y="112"/>
                      <a:pt x="163" y="112"/>
                      <a:pt x="163" y="112"/>
                    </a:cubicBezTo>
                    <a:cubicBezTo>
                      <a:pt x="164" y="112"/>
                      <a:pt x="164" y="112"/>
                      <a:pt x="165" y="112"/>
                    </a:cubicBezTo>
                    <a:cubicBezTo>
                      <a:pt x="166" y="111"/>
                      <a:pt x="166" y="111"/>
                      <a:pt x="166" y="111"/>
                    </a:cubicBezTo>
                    <a:cubicBezTo>
                      <a:pt x="167" y="111"/>
                      <a:pt x="167" y="111"/>
                      <a:pt x="168" y="111"/>
                    </a:cubicBezTo>
                    <a:cubicBezTo>
                      <a:pt x="168" y="111"/>
                      <a:pt x="169" y="111"/>
                      <a:pt x="169" y="111"/>
                    </a:cubicBezTo>
                    <a:cubicBezTo>
                      <a:pt x="170" y="111"/>
                      <a:pt x="171" y="111"/>
                      <a:pt x="172" y="111"/>
                    </a:cubicBezTo>
                    <a:cubicBezTo>
                      <a:pt x="173" y="111"/>
                      <a:pt x="173" y="111"/>
                      <a:pt x="173" y="111"/>
                    </a:cubicBezTo>
                    <a:cubicBezTo>
                      <a:pt x="174" y="112"/>
                      <a:pt x="176" y="112"/>
                      <a:pt x="177" y="112"/>
                    </a:cubicBezTo>
                    <a:cubicBezTo>
                      <a:pt x="178" y="113"/>
                      <a:pt x="179" y="113"/>
                      <a:pt x="180" y="114"/>
                    </a:cubicBezTo>
                    <a:cubicBezTo>
                      <a:pt x="184" y="115"/>
                      <a:pt x="184" y="115"/>
                      <a:pt x="184" y="115"/>
                    </a:cubicBezTo>
                    <a:cubicBezTo>
                      <a:pt x="184" y="73"/>
                      <a:pt x="184" y="73"/>
                      <a:pt x="184" y="73"/>
                    </a:cubicBezTo>
                    <a:cubicBezTo>
                      <a:pt x="183" y="74"/>
                      <a:pt x="181" y="76"/>
                      <a:pt x="178" y="76"/>
                    </a:cubicBezTo>
                    <a:cubicBezTo>
                      <a:pt x="178" y="76"/>
                      <a:pt x="177" y="76"/>
                      <a:pt x="176" y="76"/>
                    </a:cubicBezTo>
                    <a:cubicBezTo>
                      <a:pt x="175" y="76"/>
                      <a:pt x="175" y="76"/>
                      <a:pt x="175" y="76"/>
                    </a:cubicBezTo>
                    <a:cubicBezTo>
                      <a:pt x="173" y="75"/>
                      <a:pt x="172" y="75"/>
                      <a:pt x="170" y="74"/>
                    </a:cubicBezTo>
                    <a:cubicBezTo>
                      <a:pt x="170" y="74"/>
                      <a:pt x="170" y="74"/>
                      <a:pt x="170" y="74"/>
                    </a:cubicBezTo>
                    <a:cubicBezTo>
                      <a:pt x="167" y="82"/>
                      <a:pt x="167" y="82"/>
                      <a:pt x="167" y="82"/>
                    </a:cubicBezTo>
                    <a:cubicBezTo>
                      <a:pt x="161" y="75"/>
                      <a:pt x="161" y="75"/>
                      <a:pt x="161" y="75"/>
                    </a:cubicBezTo>
                    <a:cubicBezTo>
                      <a:pt x="160" y="72"/>
                      <a:pt x="158" y="70"/>
                      <a:pt x="156" y="68"/>
                    </a:cubicBezTo>
                    <a:cubicBezTo>
                      <a:pt x="156" y="67"/>
                      <a:pt x="156" y="67"/>
                      <a:pt x="156" y="67"/>
                    </a:cubicBezTo>
                    <a:cubicBezTo>
                      <a:pt x="156" y="67"/>
                      <a:pt x="155" y="67"/>
                      <a:pt x="155" y="66"/>
                    </a:cubicBezTo>
                    <a:cubicBezTo>
                      <a:pt x="155" y="66"/>
                      <a:pt x="155" y="66"/>
                      <a:pt x="155" y="66"/>
                    </a:cubicBezTo>
                    <a:cubicBezTo>
                      <a:pt x="154" y="65"/>
                      <a:pt x="153" y="65"/>
                      <a:pt x="152" y="65"/>
                    </a:cubicBezTo>
                    <a:cubicBezTo>
                      <a:pt x="152" y="65"/>
                      <a:pt x="152" y="65"/>
                      <a:pt x="152" y="65"/>
                    </a:cubicBezTo>
                    <a:cubicBezTo>
                      <a:pt x="151" y="65"/>
                      <a:pt x="150" y="65"/>
                      <a:pt x="148" y="65"/>
                    </a:cubicBezTo>
                    <a:cubicBezTo>
                      <a:pt x="148" y="65"/>
                      <a:pt x="148" y="65"/>
                      <a:pt x="148" y="65"/>
                    </a:cubicBezTo>
                    <a:cubicBezTo>
                      <a:pt x="147" y="65"/>
                      <a:pt x="146" y="66"/>
                      <a:pt x="145" y="66"/>
                    </a:cubicBezTo>
                    <a:cubicBezTo>
                      <a:pt x="144" y="66"/>
                      <a:pt x="143" y="66"/>
                      <a:pt x="143" y="66"/>
                    </a:cubicBezTo>
                    <a:cubicBezTo>
                      <a:pt x="142" y="66"/>
                      <a:pt x="141" y="66"/>
                      <a:pt x="141" y="66"/>
                    </a:cubicBezTo>
                    <a:cubicBezTo>
                      <a:pt x="139" y="65"/>
                      <a:pt x="137" y="64"/>
                      <a:pt x="137" y="63"/>
                    </a:cubicBezTo>
                    <a:cubicBezTo>
                      <a:pt x="135" y="61"/>
                      <a:pt x="136" y="59"/>
                      <a:pt x="136" y="58"/>
                    </a:cubicBezTo>
                    <a:cubicBezTo>
                      <a:pt x="135" y="58"/>
                      <a:pt x="135" y="58"/>
                      <a:pt x="134" y="58"/>
                    </a:cubicBezTo>
                    <a:cubicBezTo>
                      <a:pt x="133" y="58"/>
                      <a:pt x="132" y="58"/>
                      <a:pt x="132" y="58"/>
                    </a:cubicBezTo>
                    <a:cubicBezTo>
                      <a:pt x="130" y="58"/>
                      <a:pt x="128" y="57"/>
                      <a:pt x="127" y="56"/>
                    </a:cubicBezTo>
                    <a:cubicBezTo>
                      <a:pt x="125" y="56"/>
                      <a:pt x="124" y="55"/>
                      <a:pt x="123" y="54"/>
                    </a:cubicBezTo>
                    <a:cubicBezTo>
                      <a:pt x="122" y="54"/>
                      <a:pt x="122" y="54"/>
                      <a:pt x="122" y="54"/>
                    </a:cubicBezTo>
                    <a:cubicBezTo>
                      <a:pt x="122" y="53"/>
                      <a:pt x="121" y="53"/>
                      <a:pt x="120" y="52"/>
                    </a:cubicBezTo>
                    <a:cubicBezTo>
                      <a:pt x="119" y="51"/>
                      <a:pt x="119" y="51"/>
                      <a:pt x="119" y="51"/>
                    </a:cubicBezTo>
                    <a:cubicBezTo>
                      <a:pt x="118" y="51"/>
                      <a:pt x="117" y="50"/>
                      <a:pt x="116" y="50"/>
                    </a:cubicBezTo>
                    <a:cubicBezTo>
                      <a:pt x="116" y="49"/>
                      <a:pt x="116" y="49"/>
                      <a:pt x="116" y="49"/>
                    </a:cubicBezTo>
                    <a:cubicBezTo>
                      <a:pt x="114" y="49"/>
                      <a:pt x="111" y="46"/>
                      <a:pt x="111" y="41"/>
                    </a:cubicBezTo>
                    <a:cubicBezTo>
                      <a:pt x="110" y="40"/>
                      <a:pt x="110" y="40"/>
                      <a:pt x="110" y="40"/>
                    </a:cubicBezTo>
                    <a:cubicBezTo>
                      <a:pt x="109" y="39"/>
                      <a:pt x="109" y="38"/>
                      <a:pt x="109" y="37"/>
                    </a:cubicBezTo>
                    <a:cubicBezTo>
                      <a:pt x="109" y="37"/>
                      <a:pt x="109" y="37"/>
                      <a:pt x="109" y="37"/>
                    </a:cubicBezTo>
                    <a:cubicBezTo>
                      <a:pt x="107" y="37"/>
                      <a:pt x="104" y="38"/>
                      <a:pt x="102" y="38"/>
                    </a:cubicBezTo>
                    <a:cubicBezTo>
                      <a:pt x="101" y="39"/>
                      <a:pt x="101" y="39"/>
                      <a:pt x="101" y="39"/>
                    </a:cubicBezTo>
                    <a:cubicBezTo>
                      <a:pt x="100" y="39"/>
                      <a:pt x="99" y="39"/>
                      <a:pt x="99" y="39"/>
                    </a:cubicBezTo>
                    <a:cubicBezTo>
                      <a:pt x="95" y="39"/>
                      <a:pt x="94" y="37"/>
                      <a:pt x="92" y="34"/>
                    </a:cubicBezTo>
                    <a:cubicBezTo>
                      <a:pt x="91" y="34"/>
                      <a:pt x="91" y="34"/>
                      <a:pt x="91" y="34"/>
                    </a:cubicBezTo>
                    <a:cubicBezTo>
                      <a:pt x="91" y="34"/>
                      <a:pt x="91" y="33"/>
                      <a:pt x="91" y="33"/>
                    </a:cubicBezTo>
                    <a:cubicBezTo>
                      <a:pt x="90" y="33"/>
                      <a:pt x="90" y="33"/>
                      <a:pt x="90" y="33"/>
                    </a:cubicBezTo>
                    <a:cubicBezTo>
                      <a:pt x="89" y="31"/>
                      <a:pt x="88" y="30"/>
                      <a:pt x="87" y="28"/>
                    </a:cubicBezTo>
                    <a:cubicBezTo>
                      <a:pt x="87" y="28"/>
                      <a:pt x="87" y="28"/>
                      <a:pt x="87" y="28"/>
                    </a:cubicBezTo>
                    <a:cubicBezTo>
                      <a:pt x="87" y="28"/>
                      <a:pt x="87" y="28"/>
                      <a:pt x="87" y="28"/>
                    </a:cubicBezTo>
                    <a:cubicBezTo>
                      <a:pt x="86" y="27"/>
                      <a:pt x="86" y="27"/>
                      <a:pt x="86" y="27"/>
                    </a:cubicBezTo>
                    <a:cubicBezTo>
                      <a:pt x="85" y="27"/>
                      <a:pt x="85" y="26"/>
                      <a:pt x="84" y="26"/>
                    </a:cubicBezTo>
                    <a:cubicBezTo>
                      <a:pt x="84" y="25"/>
                      <a:pt x="84" y="25"/>
                      <a:pt x="84" y="25"/>
                    </a:cubicBezTo>
                    <a:cubicBezTo>
                      <a:pt x="82" y="32"/>
                      <a:pt x="82" y="32"/>
                      <a:pt x="82" y="32"/>
                    </a:cubicBezTo>
                    <a:cubicBezTo>
                      <a:pt x="82" y="25"/>
                      <a:pt x="82" y="25"/>
                      <a:pt x="82" y="25"/>
                    </a:cubicBezTo>
                    <a:cubicBezTo>
                      <a:pt x="81" y="25"/>
                      <a:pt x="81" y="25"/>
                      <a:pt x="81" y="25"/>
                    </a:cubicBezTo>
                    <a:cubicBezTo>
                      <a:pt x="80" y="25"/>
                      <a:pt x="80" y="24"/>
                      <a:pt x="79" y="24"/>
                    </a:cubicBezTo>
                    <a:cubicBezTo>
                      <a:pt x="79" y="24"/>
                      <a:pt x="79" y="24"/>
                      <a:pt x="79" y="24"/>
                    </a:cubicBezTo>
                    <a:cubicBezTo>
                      <a:pt x="76" y="24"/>
                      <a:pt x="74" y="23"/>
                      <a:pt x="71" y="21"/>
                    </a:cubicBezTo>
                    <a:cubicBezTo>
                      <a:pt x="70" y="20"/>
                      <a:pt x="70" y="20"/>
                      <a:pt x="70" y="20"/>
                    </a:cubicBezTo>
                    <a:cubicBezTo>
                      <a:pt x="68" y="19"/>
                      <a:pt x="67" y="17"/>
                      <a:pt x="66" y="16"/>
                    </a:cubicBezTo>
                    <a:cubicBezTo>
                      <a:pt x="65" y="15"/>
                      <a:pt x="64" y="15"/>
                      <a:pt x="64" y="15"/>
                    </a:cubicBezTo>
                    <a:cubicBezTo>
                      <a:pt x="62" y="14"/>
                      <a:pt x="62" y="14"/>
                      <a:pt x="62" y="14"/>
                    </a:cubicBezTo>
                    <a:cubicBezTo>
                      <a:pt x="61" y="13"/>
                      <a:pt x="60" y="13"/>
                      <a:pt x="59" y="13"/>
                    </a:cubicBezTo>
                    <a:cubicBezTo>
                      <a:pt x="56" y="12"/>
                      <a:pt x="55" y="11"/>
                      <a:pt x="53" y="10"/>
                    </a:cubicBezTo>
                    <a:cubicBezTo>
                      <a:pt x="53" y="9"/>
                      <a:pt x="53" y="9"/>
                      <a:pt x="53" y="9"/>
                    </a:cubicBezTo>
                    <a:cubicBezTo>
                      <a:pt x="52" y="7"/>
                      <a:pt x="51" y="6"/>
                      <a:pt x="51" y="5"/>
                    </a:cubicBezTo>
                    <a:cubicBezTo>
                      <a:pt x="50" y="4"/>
                      <a:pt x="50" y="2"/>
                      <a:pt x="49" y="2"/>
                    </a:cubicBezTo>
                    <a:cubicBezTo>
                      <a:pt x="49" y="2"/>
                      <a:pt x="45" y="1"/>
                      <a:pt x="41" y="1"/>
                    </a:cubicBezTo>
                    <a:cubicBezTo>
                      <a:pt x="40" y="1"/>
                      <a:pt x="40" y="1"/>
                      <a:pt x="40" y="1"/>
                    </a:cubicBezTo>
                    <a:cubicBezTo>
                      <a:pt x="40"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Rectangle 350"/>
              <p:cNvSpPr>
                <a:spLocks noChangeArrowheads="1"/>
              </p:cNvSpPr>
              <p:nvPr/>
            </p:nvSpPr>
            <p:spPr bwMode="auto">
              <a:xfrm>
                <a:off x="11707612" y="610255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351"/>
              <p:cNvSpPr/>
              <p:nvPr/>
            </p:nvSpPr>
            <p:spPr bwMode="auto">
              <a:xfrm flipH="1">
                <a:off x="11707612" y="610255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352"/>
              <p:cNvSpPr/>
              <p:nvPr/>
            </p:nvSpPr>
            <p:spPr bwMode="auto">
              <a:xfrm>
                <a:off x="10620503" y="4775911"/>
                <a:ext cx="961815" cy="405363"/>
              </a:xfrm>
              <a:custGeom>
                <a:gdLst>
                  <a:gd name="T0" fmla="*/ 124 w 303"/>
                  <a:gd name="T1" fmla="*/ 4 h 128"/>
                  <a:gd name="T2" fmla="*/ 115 w 303"/>
                  <a:gd name="T3" fmla="*/ 27 h 128"/>
                  <a:gd name="T4" fmla="*/ 78 w 303"/>
                  <a:gd name="T5" fmla="*/ 16 h 128"/>
                  <a:gd name="T6" fmla="*/ 57 w 303"/>
                  <a:gd name="T7" fmla="*/ 16 h 128"/>
                  <a:gd name="T8" fmla="*/ 51 w 303"/>
                  <a:gd name="T9" fmla="*/ 19 h 128"/>
                  <a:gd name="T10" fmla="*/ 47 w 303"/>
                  <a:gd name="T11" fmla="*/ 26 h 128"/>
                  <a:gd name="T12" fmla="*/ 50 w 303"/>
                  <a:gd name="T13" fmla="*/ 37 h 128"/>
                  <a:gd name="T14" fmla="*/ 30 w 303"/>
                  <a:gd name="T15" fmla="*/ 54 h 128"/>
                  <a:gd name="T16" fmla="*/ 42 w 303"/>
                  <a:gd name="T17" fmla="*/ 61 h 128"/>
                  <a:gd name="T18" fmla="*/ 58 w 303"/>
                  <a:gd name="T19" fmla="*/ 51 h 128"/>
                  <a:gd name="T20" fmla="*/ 76 w 303"/>
                  <a:gd name="T21" fmla="*/ 61 h 128"/>
                  <a:gd name="T22" fmla="*/ 85 w 303"/>
                  <a:gd name="T23" fmla="*/ 68 h 128"/>
                  <a:gd name="T24" fmla="*/ 106 w 303"/>
                  <a:gd name="T25" fmla="*/ 74 h 128"/>
                  <a:gd name="T26" fmla="*/ 104 w 303"/>
                  <a:gd name="T27" fmla="*/ 84 h 128"/>
                  <a:gd name="T28" fmla="*/ 97 w 303"/>
                  <a:gd name="T29" fmla="*/ 87 h 128"/>
                  <a:gd name="T30" fmla="*/ 88 w 303"/>
                  <a:gd name="T31" fmla="*/ 92 h 128"/>
                  <a:gd name="T32" fmla="*/ 78 w 303"/>
                  <a:gd name="T33" fmla="*/ 95 h 128"/>
                  <a:gd name="T34" fmla="*/ 57 w 303"/>
                  <a:gd name="T35" fmla="*/ 100 h 128"/>
                  <a:gd name="T36" fmla="*/ 52 w 303"/>
                  <a:gd name="T37" fmla="*/ 99 h 128"/>
                  <a:gd name="T38" fmla="*/ 44 w 303"/>
                  <a:gd name="T39" fmla="*/ 101 h 128"/>
                  <a:gd name="T40" fmla="*/ 38 w 303"/>
                  <a:gd name="T41" fmla="*/ 106 h 128"/>
                  <a:gd name="T42" fmla="*/ 34 w 303"/>
                  <a:gd name="T43" fmla="*/ 109 h 128"/>
                  <a:gd name="T44" fmla="*/ 29 w 303"/>
                  <a:gd name="T45" fmla="*/ 111 h 128"/>
                  <a:gd name="T46" fmla="*/ 8 w 303"/>
                  <a:gd name="T47" fmla="*/ 104 h 128"/>
                  <a:gd name="T48" fmla="*/ 2 w 303"/>
                  <a:gd name="T49" fmla="*/ 110 h 128"/>
                  <a:gd name="T50" fmla="*/ 44 w 303"/>
                  <a:gd name="T51" fmla="*/ 121 h 128"/>
                  <a:gd name="T52" fmla="*/ 57 w 303"/>
                  <a:gd name="T53" fmla="*/ 116 h 128"/>
                  <a:gd name="T54" fmla="*/ 70 w 303"/>
                  <a:gd name="T55" fmla="*/ 126 h 128"/>
                  <a:gd name="T56" fmla="*/ 96 w 303"/>
                  <a:gd name="T57" fmla="*/ 123 h 128"/>
                  <a:gd name="T58" fmla="*/ 117 w 303"/>
                  <a:gd name="T59" fmla="*/ 120 h 128"/>
                  <a:gd name="T60" fmla="*/ 124 w 303"/>
                  <a:gd name="T61" fmla="*/ 117 h 128"/>
                  <a:gd name="T62" fmla="*/ 126 w 303"/>
                  <a:gd name="T63" fmla="*/ 107 h 128"/>
                  <a:gd name="T64" fmla="*/ 151 w 303"/>
                  <a:gd name="T65" fmla="*/ 93 h 128"/>
                  <a:gd name="T66" fmla="*/ 155 w 303"/>
                  <a:gd name="T67" fmla="*/ 85 h 128"/>
                  <a:gd name="T68" fmla="*/ 167 w 303"/>
                  <a:gd name="T69" fmla="*/ 84 h 128"/>
                  <a:gd name="T70" fmla="*/ 175 w 303"/>
                  <a:gd name="T71" fmla="*/ 81 h 128"/>
                  <a:gd name="T72" fmla="*/ 181 w 303"/>
                  <a:gd name="T73" fmla="*/ 92 h 128"/>
                  <a:gd name="T74" fmla="*/ 188 w 303"/>
                  <a:gd name="T75" fmla="*/ 89 h 128"/>
                  <a:gd name="T76" fmla="*/ 197 w 303"/>
                  <a:gd name="T77" fmla="*/ 89 h 128"/>
                  <a:gd name="T78" fmla="*/ 202 w 303"/>
                  <a:gd name="T79" fmla="*/ 78 h 128"/>
                  <a:gd name="T80" fmla="*/ 230 w 303"/>
                  <a:gd name="T81" fmla="*/ 65 h 128"/>
                  <a:gd name="T82" fmla="*/ 251 w 303"/>
                  <a:gd name="T83" fmla="*/ 61 h 128"/>
                  <a:gd name="T84" fmla="*/ 263 w 303"/>
                  <a:gd name="T85" fmla="*/ 50 h 128"/>
                  <a:gd name="T86" fmla="*/ 302 w 303"/>
                  <a:gd name="T87" fmla="*/ 35 h 128"/>
                  <a:gd name="T88" fmla="*/ 302 w 303"/>
                  <a:gd name="T89" fmla="*/ 32 h 128"/>
                  <a:gd name="T90" fmla="*/ 290 w 303"/>
                  <a:gd name="T91" fmla="*/ 26 h 128"/>
                  <a:gd name="T92" fmla="*/ 275 w 303"/>
                  <a:gd name="T93" fmla="*/ 14 h 128"/>
                  <a:gd name="T94" fmla="*/ 259 w 303"/>
                  <a:gd name="T95" fmla="*/ 12 h 128"/>
                  <a:gd name="T96" fmla="*/ 248 w 303"/>
                  <a:gd name="T97" fmla="*/ 12 h 128"/>
                  <a:gd name="T98" fmla="*/ 227 w 303"/>
                  <a:gd name="T99" fmla="*/ 10 h 128"/>
                  <a:gd name="T100" fmla="*/ 197 w 303"/>
                  <a:gd name="T101" fmla="*/ 9 h 128"/>
                  <a:gd name="T102" fmla="*/ 169 w 303"/>
                  <a:gd name="T103" fmla="*/ 12 h 128"/>
                  <a:gd name="T104" fmla="*/ 155 w 303"/>
                  <a:gd name="T105" fmla="*/ 9 h 128"/>
                  <a:gd name="T106" fmla="*/ 142 w 303"/>
                  <a:gd name="T107" fmla="*/ 2 h 1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3" h="128">
                    <a:moveTo>
                      <a:pt x="133" y="0"/>
                    </a:moveTo>
                    <a:cubicBezTo>
                      <a:pt x="131" y="1"/>
                      <a:pt x="128" y="1"/>
                      <a:pt x="126" y="3"/>
                    </a:cubicBezTo>
                    <a:cubicBezTo>
                      <a:pt x="126" y="3"/>
                      <a:pt x="126" y="3"/>
                      <a:pt x="126" y="3"/>
                    </a:cubicBezTo>
                    <a:cubicBezTo>
                      <a:pt x="124" y="4"/>
                      <a:pt x="124" y="4"/>
                      <a:pt x="124" y="4"/>
                    </a:cubicBezTo>
                    <a:cubicBezTo>
                      <a:pt x="124" y="4"/>
                      <a:pt x="124" y="4"/>
                      <a:pt x="124" y="4"/>
                    </a:cubicBezTo>
                    <a:cubicBezTo>
                      <a:pt x="118" y="6"/>
                      <a:pt x="117" y="13"/>
                      <a:pt x="118" y="18"/>
                    </a:cubicBezTo>
                    <a:cubicBezTo>
                      <a:pt x="118" y="18"/>
                      <a:pt x="118" y="19"/>
                      <a:pt x="118" y="19"/>
                    </a:cubicBezTo>
                    <a:cubicBezTo>
                      <a:pt x="118" y="20"/>
                      <a:pt x="119" y="21"/>
                      <a:pt x="119" y="22"/>
                    </a:cubicBezTo>
                    <a:cubicBezTo>
                      <a:pt x="124" y="30"/>
                      <a:pt x="124" y="30"/>
                      <a:pt x="124" y="30"/>
                    </a:cubicBezTo>
                    <a:cubicBezTo>
                      <a:pt x="115" y="27"/>
                      <a:pt x="115" y="27"/>
                      <a:pt x="115" y="27"/>
                    </a:cubicBezTo>
                    <a:cubicBezTo>
                      <a:pt x="111" y="26"/>
                      <a:pt x="107" y="24"/>
                      <a:pt x="103" y="23"/>
                    </a:cubicBezTo>
                    <a:cubicBezTo>
                      <a:pt x="96" y="21"/>
                      <a:pt x="90" y="19"/>
                      <a:pt x="83" y="17"/>
                    </a:cubicBezTo>
                    <a:cubicBezTo>
                      <a:pt x="82" y="17"/>
                      <a:pt x="81" y="16"/>
                      <a:pt x="80" y="16"/>
                    </a:cubicBezTo>
                    <a:cubicBezTo>
                      <a:pt x="79" y="16"/>
                      <a:pt x="79" y="16"/>
                      <a:pt x="79" y="16"/>
                    </a:cubicBezTo>
                    <a:cubicBezTo>
                      <a:pt x="78" y="16"/>
                      <a:pt x="78" y="16"/>
                      <a:pt x="78" y="16"/>
                    </a:cubicBezTo>
                    <a:cubicBezTo>
                      <a:pt x="77" y="16"/>
                      <a:pt x="77" y="16"/>
                      <a:pt x="76" y="16"/>
                    </a:cubicBezTo>
                    <a:cubicBezTo>
                      <a:pt x="62" y="16"/>
                      <a:pt x="62" y="16"/>
                      <a:pt x="62" y="16"/>
                    </a:cubicBezTo>
                    <a:cubicBezTo>
                      <a:pt x="62" y="16"/>
                      <a:pt x="62" y="16"/>
                      <a:pt x="62" y="16"/>
                    </a:cubicBezTo>
                    <a:cubicBezTo>
                      <a:pt x="61" y="16"/>
                      <a:pt x="61" y="16"/>
                      <a:pt x="60" y="16"/>
                    </a:cubicBezTo>
                    <a:cubicBezTo>
                      <a:pt x="59" y="16"/>
                      <a:pt x="58" y="16"/>
                      <a:pt x="57" y="16"/>
                    </a:cubicBezTo>
                    <a:cubicBezTo>
                      <a:pt x="56" y="16"/>
                      <a:pt x="56" y="16"/>
                      <a:pt x="56" y="16"/>
                    </a:cubicBezTo>
                    <a:cubicBezTo>
                      <a:pt x="56" y="16"/>
                      <a:pt x="56" y="16"/>
                      <a:pt x="56" y="16"/>
                    </a:cubicBezTo>
                    <a:cubicBezTo>
                      <a:pt x="56" y="16"/>
                      <a:pt x="56" y="16"/>
                      <a:pt x="56" y="16"/>
                    </a:cubicBezTo>
                    <a:cubicBezTo>
                      <a:pt x="55" y="17"/>
                      <a:pt x="53" y="18"/>
                      <a:pt x="53" y="19"/>
                    </a:cubicBezTo>
                    <a:cubicBezTo>
                      <a:pt x="51" y="19"/>
                      <a:pt x="51" y="19"/>
                      <a:pt x="51" y="19"/>
                    </a:cubicBezTo>
                    <a:cubicBezTo>
                      <a:pt x="52" y="19"/>
                      <a:pt x="52" y="19"/>
                      <a:pt x="52" y="19"/>
                    </a:cubicBezTo>
                    <a:cubicBezTo>
                      <a:pt x="52" y="20"/>
                      <a:pt x="51" y="21"/>
                      <a:pt x="51" y="21"/>
                    </a:cubicBezTo>
                    <a:cubicBezTo>
                      <a:pt x="49" y="23"/>
                      <a:pt x="49" y="23"/>
                      <a:pt x="49" y="23"/>
                    </a:cubicBezTo>
                    <a:cubicBezTo>
                      <a:pt x="48" y="24"/>
                      <a:pt x="47" y="25"/>
                      <a:pt x="46" y="26"/>
                    </a:cubicBezTo>
                    <a:cubicBezTo>
                      <a:pt x="47" y="26"/>
                      <a:pt x="47" y="26"/>
                      <a:pt x="47" y="26"/>
                    </a:cubicBezTo>
                    <a:cubicBezTo>
                      <a:pt x="47" y="26"/>
                      <a:pt x="47" y="26"/>
                      <a:pt x="47" y="26"/>
                    </a:cubicBezTo>
                    <a:cubicBezTo>
                      <a:pt x="47" y="26"/>
                      <a:pt x="48" y="27"/>
                      <a:pt x="50" y="27"/>
                    </a:cubicBezTo>
                    <a:cubicBezTo>
                      <a:pt x="51" y="27"/>
                      <a:pt x="52" y="27"/>
                      <a:pt x="53" y="28"/>
                    </a:cubicBezTo>
                    <a:cubicBezTo>
                      <a:pt x="61" y="29"/>
                      <a:pt x="61" y="29"/>
                      <a:pt x="61" y="29"/>
                    </a:cubicBezTo>
                    <a:cubicBezTo>
                      <a:pt x="50" y="37"/>
                      <a:pt x="50" y="37"/>
                      <a:pt x="50" y="37"/>
                    </a:cubicBezTo>
                    <a:cubicBezTo>
                      <a:pt x="45" y="39"/>
                      <a:pt x="33" y="47"/>
                      <a:pt x="27" y="52"/>
                    </a:cubicBezTo>
                    <a:cubicBezTo>
                      <a:pt x="27" y="52"/>
                      <a:pt x="27" y="52"/>
                      <a:pt x="27" y="52"/>
                    </a:cubicBezTo>
                    <a:cubicBezTo>
                      <a:pt x="27" y="52"/>
                      <a:pt x="28" y="52"/>
                      <a:pt x="28" y="52"/>
                    </a:cubicBezTo>
                    <a:cubicBezTo>
                      <a:pt x="29" y="53"/>
                      <a:pt x="29" y="53"/>
                      <a:pt x="29" y="53"/>
                    </a:cubicBezTo>
                    <a:cubicBezTo>
                      <a:pt x="29" y="53"/>
                      <a:pt x="30" y="53"/>
                      <a:pt x="30" y="54"/>
                    </a:cubicBezTo>
                    <a:cubicBezTo>
                      <a:pt x="38" y="51"/>
                      <a:pt x="38" y="51"/>
                      <a:pt x="38" y="51"/>
                    </a:cubicBezTo>
                    <a:cubicBezTo>
                      <a:pt x="39" y="55"/>
                      <a:pt x="39" y="55"/>
                      <a:pt x="39" y="55"/>
                    </a:cubicBezTo>
                    <a:cubicBezTo>
                      <a:pt x="39" y="56"/>
                      <a:pt x="39" y="56"/>
                      <a:pt x="39" y="57"/>
                    </a:cubicBezTo>
                    <a:cubicBezTo>
                      <a:pt x="40" y="59"/>
                      <a:pt x="40" y="60"/>
                      <a:pt x="41" y="60"/>
                    </a:cubicBezTo>
                    <a:cubicBezTo>
                      <a:pt x="41" y="60"/>
                      <a:pt x="41" y="61"/>
                      <a:pt x="42" y="61"/>
                    </a:cubicBezTo>
                    <a:cubicBezTo>
                      <a:pt x="45" y="62"/>
                      <a:pt x="49" y="63"/>
                      <a:pt x="53" y="63"/>
                    </a:cubicBezTo>
                    <a:cubicBezTo>
                      <a:pt x="53" y="62"/>
                      <a:pt x="53" y="61"/>
                      <a:pt x="54" y="59"/>
                    </a:cubicBezTo>
                    <a:cubicBezTo>
                      <a:pt x="55" y="55"/>
                      <a:pt x="55" y="55"/>
                      <a:pt x="55" y="55"/>
                    </a:cubicBezTo>
                    <a:cubicBezTo>
                      <a:pt x="58" y="57"/>
                      <a:pt x="58" y="57"/>
                      <a:pt x="58" y="57"/>
                    </a:cubicBezTo>
                    <a:cubicBezTo>
                      <a:pt x="58" y="51"/>
                      <a:pt x="58" y="51"/>
                      <a:pt x="58" y="51"/>
                    </a:cubicBezTo>
                    <a:cubicBezTo>
                      <a:pt x="63" y="52"/>
                      <a:pt x="63" y="52"/>
                      <a:pt x="63" y="52"/>
                    </a:cubicBezTo>
                    <a:cubicBezTo>
                      <a:pt x="69" y="54"/>
                      <a:pt x="71" y="57"/>
                      <a:pt x="73" y="61"/>
                    </a:cubicBezTo>
                    <a:cubicBezTo>
                      <a:pt x="74" y="62"/>
                      <a:pt x="74" y="62"/>
                      <a:pt x="74" y="62"/>
                    </a:cubicBezTo>
                    <a:cubicBezTo>
                      <a:pt x="74" y="62"/>
                      <a:pt x="74" y="62"/>
                      <a:pt x="74" y="62"/>
                    </a:cubicBezTo>
                    <a:cubicBezTo>
                      <a:pt x="74" y="62"/>
                      <a:pt x="75" y="61"/>
                      <a:pt x="76" y="61"/>
                    </a:cubicBezTo>
                    <a:cubicBezTo>
                      <a:pt x="77" y="61"/>
                      <a:pt x="78" y="62"/>
                      <a:pt x="80" y="62"/>
                    </a:cubicBezTo>
                    <a:cubicBezTo>
                      <a:pt x="81" y="64"/>
                      <a:pt x="81" y="65"/>
                      <a:pt x="81" y="68"/>
                    </a:cubicBezTo>
                    <a:cubicBezTo>
                      <a:pt x="82" y="68"/>
                      <a:pt x="82" y="68"/>
                      <a:pt x="83" y="68"/>
                    </a:cubicBezTo>
                    <a:cubicBezTo>
                      <a:pt x="85" y="61"/>
                      <a:pt x="85" y="61"/>
                      <a:pt x="85" y="61"/>
                    </a:cubicBezTo>
                    <a:cubicBezTo>
                      <a:pt x="85" y="68"/>
                      <a:pt x="85" y="68"/>
                      <a:pt x="85" y="68"/>
                    </a:cubicBezTo>
                    <a:cubicBezTo>
                      <a:pt x="87" y="69"/>
                      <a:pt x="87" y="69"/>
                      <a:pt x="87" y="69"/>
                    </a:cubicBezTo>
                    <a:cubicBezTo>
                      <a:pt x="88" y="69"/>
                      <a:pt x="89" y="70"/>
                      <a:pt x="90" y="70"/>
                    </a:cubicBezTo>
                    <a:cubicBezTo>
                      <a:pt x="91" y="71"/>
                      <a:pt x="92" y="72"/>
                      <a:pt x="92" y="73"/>
                    </a:cubicBezTo>
                    <a:cubicBezTo>
                      <a:pt x="94" y="73"/>
                      <a:pt x="98" y="73"/>
                      <a:pt x="101" y="73"/>
                    </a:cubicBezTo>
                    <a:cubicBezTo>
                      <a:pt x="103" y="73"/>
                      <a:pt x="104" y="74"/>
                      <a:pt x="106" y="74"/>
                    </a:cubicBezTo>
                    <a:cubicBezTo>
                      <a:pt x="110" y="74"/>
                      <a:pt x="110" y="74"/>
                      <a:pt x="110" y="74"/>
                    </a:cubicBezTo>
                    <a:cubicBezTo>
                      <a:pt x="109" y="78"/>
                      <a:pt x="109" y="78"/>
                      <a:pt x="109" y="78"/>
                    </a:cubicBezTo>
                    <a:cubicBezTo>
                      <a:pt x="108" y="80"/>
                      <a:pt x="107" y="81"/>
                      <a:pt x="106" y="82"/>
                    </a:cubicBezTo>
                    <a:cubicBezTo>
                      <a:pt x="105" y="82"/>
                      <a:pt x="105" y="82"/>
                      <a:pt x="105" y="82"/>
                    </a:cubicBezTo>
                    <a:cubicBezTo>
                      <a:pt x="105" y="83"/>
                      <a:pt x="104" y="83"/>
                      <a:pt x="104" y="84"/>
                    </a:cubicBezTo>
                    <a:cubicBezTo>
                      <a:pt x="102" y="84"/>
                      <a:pt x="101" y="85"/>
                      <a:pt x="100" y="85"/>
                    </a:cubicBezTo>
                    <a:cubicBezTo>
                      <a:pt x="99" y="85"/>
                      <a:pt x="99" y="85"/>
                      <a:pt x="99" y="85"/>
                    </a:cubicBezTo>
                    <a:cubicBezTo>
                      <a:pt x="98" y="86"/>
                      <a:pt x="98" y="86"/>
                      <a:pt x="98" y="86"/>
                    </a:cubicBezTo>
                    <a:cubicBezTo>
                      <a:pt x="98" y="86"/>
                      <a:pt x="98" y="86"/>
                      <a:pt x="98" y="86"/>
                    </a:cubicBezTo>
                    <a:cubicBezTo>
                      <a:pt x="98" y="86"/>
                      <a:pt x="97" y="87"/>
                      <a:pt x="97" y="87"/>
                    </a:cubicBezTo>
                    <a:cubicBezTo>
                      <a:pt x="96" y="89"/>
                      <a:pt x="95" y="91"/>
                      <a:pt x="92" y="92"/>
                    </a:cubicBezTo>
                    <a:cubicBezTo>
                      <a:pt x="92" y="92"/>
                      <a:pt x="92" y="92"/>
                      <a:pt x="92" y="92"/>
                    </a:cubicBezTo>
                    <a:cubicBezTo>
                      <a:pt x="91" y="92"/>
                      <a:pt x="91" y="92"/>
                      <a:pt x="90" y="92"/>
                    </a:cubicBezTo>
                    <a:cubicBezTo>
                      <a:pt x="89" y="92"/>
                      <a:pt x="88" y="91"/>
                      <a:pt x="88" y="91"/>
                    </a:cubicBezTo>
                    <a:cubicBezTo>
                      <a:pt x="88" y="92"/>
                      <a:pt x="88" y="92"/>
                      <a:pt x="88" y="92"/>
                    </a:cubicBezTo>
                    <a:cubicBezTo>
                      <a:pt x="89" y="98"/>
                      <a:pt x="89" y="98"/>
                      <a:pt x="89" y="98"/>
                    </a:cubicBezTo>
                    <a:cubicBezTo>
                      <a:pt x="82" y="96"/>
                      <a:pt x="82" y="96"/>
                      <a:pt x="82" y="96"/>
                    </a:cubicBezTo>
                    <a:cubicBezTo>
                      <a:pt x="81" y="95"/>
                      <a:pt x="79" y="94"/>
                      <a:pt x="78" y="94"/>
                    </a:cubicBezTo>
                    <a:cubicBezTo>
                      <a:pt x="78" y="95"/>
                      <a:pt x="78" y="95"/>
                      <a:pt x="78" y="95"/>
                    </a:cubicBezTo>
                    <a:cubicBezTo>
                      <a:pt x="78" y="95"/>
                      <a:pt x="78" y="95"/>
                      <a:pt x="78" y="95"/>
                    </a:cubicBezTo>
                    <a:cubicBezTo>
                      <a:pt x="77" y="98"/>
                      <a:pt x="76" y="99"/>
                      <a:pt x="74" y="101"/>
                    </a:cubicBezTo>
                    <a:cubicBezTo>
                      <a:pt x="72" y="101"/>
                      <a:pt x="72" y="101"/>
                      <a:pt x="72" y="101"/>
                    </a:cubicBezTo>
                    <a:cubicBezTo>
                      <a:pt x="70" y="102"/>
                      <a:pt x="68" y="103"/>
                      <a:pt x="65" y="103"/>
                    </a:cubicBezTo>
                    <a:cubicBezTo>
                      <a:pt x="63" y="103"/>
                      <a:pt x="62" y="103"/>
                      <a:pt x="59" y="102"/>
                    </a:cubicBezTo>
                    <a:cubicBezTo>
                      <a:pt x="59" y="101"/>
                      <a:pt x="58" y="101"/>
                      <a:pt x="57" y="100"/>
                    </a:cubicBezTo>
                    <a:cubicBezTo>
                      <a:pt x="56" y="100"/>
                      <a:pt x="56" y="100"/>
                      <a:pt x="56" y="100"/>
                    </a:cubicBezTo>
                    <a:cubicBezTo>
                      <a:pt x="55" y="100"/>
                      <a:pt x="54" y="99"/>
                      <a:pt x="54" y="99"/>
                    </a:cubicBezTo>
                    <a:cubicBezTo>
                      <a:pt x="54" y="99"/>
                      <a:pt x="54" y="99"/>
                      <a:pt x="54" y="99"/>
                    </a:cubicBezTo>
                    <a:cubicBezTo>
                      <a:pt x="54" y="99"/>
                      <a:pt x="53" y="99"/>
                      <a:pt x="53" y="99"/>
                    </a:cubicBezTo>
                    <a:cubicBezTo>
                      <a:pt x="53" y="99"/>
                      <a:pt x="52" y="99"/>
                      <a:pt x="52" y="99"/>
                    </a:cubicBezTo>
                    <a:cubicBezTo>
                      <a:pt x="51" y="99"/>
                      <a:pt x="51" y="99"/>
                      <a:pt x="50" y="99"/>
                    </a:cubicBezTo>
                    <a:cubicBezTo>
                      <a:pt x="49" y="99"/>
                      <a:pt x="48" y="99"/>
                      <a:pt x="48" y="100"/>
                    </a:cubicBezTo>
                    <a:cubicBezTo>
                      <a:pt x="47" y="100"/>
                      <a:pt x="47" y="100"/>
                      <a:pt x="47" y="100"/>
                    </a:cubicBezTo>
                    <a:cubicBezTo>
                      <a:pt x="46" y="100"/>
                      <a:pt x="46" y="100"/>
                      <a:pt x="46" y="100"/>
                    </a:cubicBezTo>
                    <a:cubicBezTo>
                      <a:pt x="44" y="101"/>
                      <a:pt x="44" y="101"/>
                      <a:pt x="44" y="101"/>
                    </a:cubicBezTo>
                    <a:cubicBezTo>
                      <a:pt x="42" y="103"/>
                      <a:pt x="42" y="103"/>
                      <a:pt x="42" y="103"/>
                    </a:cubicBezTo>
                    <a:cubicBezTo>
                      <a:pt x="41" y="104"/>
                      <a:pt x="41" y="104"/>
                      <a:pt x="41" y="104"/>
                    </a:cubicBezTo>
                    <a:cubicBezTo>
                      <a:pt x="40" y="104"/>
                      <a:pt x="40" y="104"/>
                      <a:pt x="40" y="104"/>
                    </a:cubicBezTo>
                    <a:cubicBezTo>
                      <a:pt x="40" y="105"/>
                      <a:pt x="39" y="105"/>
                      <a:pt x="38" y="106"/>
                    </a:cubicBezTo>
                    <a:cubicBezTo>
                      <a:pt x="38" y="106"/>
                      <a:pt x="38" y="106"/>
                      <a:pt x="38" y="106"/>
                    </a:cubicBezTo>
                    <a:cubicBezTo>
                      <a:pt x="38" y="106"/>
                      <a:pt x="38" y="106"/>
                      <a:pt x="38" y="106"/>
                    </a:cubicBezTo>
                    <a:cubicBezTo>
                      <a:pt x="37" y="107"/>
                      <a:pt x="37" y="107"/>
                      <a:pt x="36" y="107"/>
                    </a:cubicBezTo>
                    <a:cubicBezTo>
                      <a:pt x="35" y="108"/>
                      <a:pt x="35" y="108"/>
                      <a:pt x="35" y="108"/>
                    </a:cubicBezTo>
                    <a:cubicBezTo>
                      <a:pt x="35" y="109"/>
                      <a:pt x="34" y="109"/>
                      <a:pt x="34" y="109"/>
                    </a:cubicBezTo>
                    <a:cubicBezTo>
                      <a:pt x="34" y="109"/>
                      <a:pt x="34" y="109"/>
                      <a:pt x="34" y="109"/>
                    </a:cubicBezTo>
                    <a:cubicBezTo>
                      <a:pt x="33" y="110"/>
                      <a:pt x="33" y="110"/>
                      <a:pt x="33" y="110"/>
                    </a:cubicBezTo>
                    <a:cubicBezTo>
                      <a:pt x="33" y="110"/>
                      <a:pt x="33" y="110"/>
                      <a:pt x="33" y="110"/>
                    </a:cubicBezTo>
                    <a:cubicBezTo>
                      <a:pt x="33" y="110"/>
                      <a:pt x="33" y="110"/>
                      <a:pt x="33" y="110"/>
                    </a:cubicBezTo>
                    <a:cubicBezTo>
                      <a:pt x="32" y="111"/>
                      <a:pt x="32" y="111"/>
                      <a:pt x="32" y="111"/>
                    </a:cubicBezTo>
                    <a:cubicBezTo>
                      <a:pt x="30" y="111"/>
                      <a:pt x="30" y="111"/>
                      <a:pt x="29" y="111"/>
                    </a:cubicBezTo>
                    <a:cubicBezTo>
                      <a:pt x="26" y="111"/>
                      <a:pt x="26" y="111"/>
                      <a:pt x="26" y="111"/>
                    </a:cubicBezTo>
                    <a:cubicBezTo>
                      <a:pt x="25" y="108"/>
                      <a:pt x="25" y="108"/>
                      <a:pt x="25" y="108"/>
                    </a:cubicBezTo>
                    <a:cubicBezTo>
                      <a:pt x="25" y="107"/>
                      <a:pt x="26" y="107"/>
                      <a:pt x="26" y="106"/>
                    </a:cubicBezTo>
                    <a:cubicBezTo>
                      <a:pt x="22" y="104"/>
                      <a:pt x="17" y="102"/>
                      <a:pt x="14" y="102"/>
                    </a:cubicBezTo>
                    <a:cubicBezTo>
                      <a:pt x="13" y="102"/>
                      <a:pt x="11" y="103"/>
                      <a:pt x="8" y="104"/>
                    </a:cubicBezTo>
                    <a:cubicBezTo>
                      <a:pt x="8" y="104"/>
                      <a:pt x="8" y="104"/>
                      <a:pt x="8" y="104"/>
                    </a:cubicBezTo>
                    <a:cubicBezTo>
                      <a:pt x="7" y="104"/>
                      <a:pt x="6" y="105"/>
                      <a:pt x="5" y="105"/>
                    </a:cubicBezTo>
                    <a:cubicBezTo>
                      <a:pt x="5" y="105"/>
                      <a:pt x="5" y="105"/>
                      <a:pt x="5" y="105"/>
                    </a:cubicBezTo>
                    <a:cubicBezTo>
                      <a:pt x="5" y="105"/>
                      <a:pt x="4" y="105"/>
                      <a:pt x="3" y="108"/>
                    </a:cubicBezTo>
                    <a:cubicBezTo>
                      <a:pt x="2" y="109"/>
                      <a:pt x="2" y="109"/>
                      <a:pt x="2" y="110"/>
                    </a:cubicBezTo>
                    <a:cubicBezTo>
                      <a:pt x="0" y="112"/>
                      <a:pt x="0" y="112"/>
                      <a:pt x="0" y="112"/>
                    </a:cubicBezTo>
                    <a:cubicBezTo>
                      <a:pt x="0" y="118"/>
                      <a:pt x="0" y="118"/>
                      <a:pt x="0" y="118"/>
                    </a:cubicBezTo>
                    <a:cubicBezTo>
                      <a:pt x="5" y="117"/>
                      <a:pt x="10" y="117"/>
                      <a:pt x="15" y="117"/>
                    </a:cubicBezTo>
                    <a:cubicBezTo>
                      <a:pt x="20" y="117"/>
                      <a:pt x="25" y="117"/>
                      <a:pt x="29" y="118"/>
                    </a:cubicBezTo>
                    <a:cubicBezTo>
                      <a:pt x="35" y="119"/>
                      <a:pt x="39" y="120"/>
                      <a:pt x="44" y="121"/>
                    </a:cubicBezTo>
                    <a:cubicBezTo>
                      <a:pt x="45" y="116"/>
                      <a:pt x="45" y="116"/>
                      <a:pt x="45" y="116"/>
                    </a:cubicBezTo>
                    <a:cubicBezTo>
                      <a:pt x="46" y="122"/>
                      <a:pt x="46" y="122"/>
                      <a:pt x="46" y="122"/>
                    </a:cubicBezTo>
                    <a:cubicBezTo>
                      <a:pt x="47" y="121"/>
                      <a:pt x="51" y="119"/>
                      <a:pt x="53" y="118"/>
                    </a:cubicBezTo>
                    <a:cubicBezTo>
                      <a:pt x="54" y="118"/>
                      <a:pt x="54" y="118"/>
                      <a:pt x="54" y="118"/>
                    </a:cubicBezTo>
                    <a:cubicBezTo>
                      <a:pt x="56" y="117"/>
                      <a:pt x="57" y="116"/>
                      <a:pt x="57" y="116"/>
                    </a:cubicBezTo>
                    <a:cubicBezTo>
                      <a:pt x="62" y="114"/>
                      <a:pt x="62" y="114"/>
                      <a:pt x="62" y="114"/>
                    </a:cubicBezTo>
                    <a:cubicBezTo>
                      <a:pt x="62" y="120"/>
                      <a:pt x="62" y="120"/>
                      <a:pt x="62" y="120"/>
                    </a:cubicBezTo>
                    <a:cubicBezTo>
                      <a:pt x="62" y="120"/>
                      <a:pt x="62" y="120"/>
                      <a:pt x="62" y="120"/>
                    </a:cubicBezTo>
                    <a:cubicBezTo>
                      <a:pt x="68" y="120"/>
                      <a:pt x="69" y="125"/>
                      <a:pt x="69" y="126"/>
                    </a:cubicBezTo>
                    <a:cubicBezTo>
                      <a:pt x="70" y="126"/>
                      <a:pt x="70" y="126"/>
                      <a:pt x="70" y="126"/>
                    </a:cubicBezTo>
                    <a:cubicBezTo>
                      <a:pt x="71" y="126"/>
                      <a:pt x="71" y="126"/>
                      <a:pt x="71" y="126"/>
                    </a:cubicBezTo>
                    <a:cubicBezTo>
                      <a:pt x="74" y="127"/>
                      <a:pt x="77" y="127"/>
                      <a:pt x="79" y="128"/>
                    </a:cubicBezTo>
                    <a:cubicBezTo>
                      <a:pt x="81" y="125"/>
                      <a:pt x="84" y="123"/>
                      <a:pt x="89" y="123"/>
                    </a:cubicBezTo>
                    <a:cubicBezTo>
                      <a:pt x="90" y="123"/>
                      <a:pt x="90" y="123"/>
                      <a:pt x="90" y="123"/>
                    </a:cubicBezTo>
                    <a:cubicBezTo>
                      <a:pt x="96" y="123"/>
                      <a:pt x="96" y="123"/>
                      <a:pt x="96" y="123"/>
                    </a:cubicBezTo>
                    <a:cubicBezTo>
                      <a:pt x="98" y="123"/>
                      <a:pt x="101" y="123"/>
                      <a:pt x="104" y="123"/>
                    </a:cubicBezTo>
                    <a:cubicBezTo>
                      <a:pt x="105" y="122"/>
                      <a:pt x="106" y="122"/>
                      <a:pt x="108" y="122"/>
                    </a:cubicBezTo>
                    <a:cubicBezTo>
                      <a:pt x="111" y="122"/>
                      <a:pt x="111" y="122"/>
                      <a:pt x="111" y="122"/>
                    </a:cubicBezTo>
                    <a:cubicBezTo>
                      <a:pt x="113" y="121"/>
                      <a:pt x="115" y="121"/>
                      <a:pt x="117" y="121"/>
                    </a:cubicBezTo>
                    <a:cubicBezTo>
                      <a:pt x="117" y="120"/>
                      <a:pt x="117" y="120"/>
                      <a:pt x="117" y="120"/>
                    </a:cubicBezTo>
                    <a:cubicBezTo>
                      <a:pt x="119" y="120"/>
                      <a:pt x="119" y="120"/>
                      <a:pt x="119" y="120"/>
                    </a:cubicBezTo>
                    <a:cubicBezTo>
                      <a:pt x="121" y="119"/>
                      <a:pt x="121" y="119"/>
                      <a:pt x="121" y="119"/>
                    </a:cubicBezTo>
                    <a:cubicBezTo>
                      <a:pt x="121" y="119"/>
                      <a:pt x="122" y="119"/>
                      <a:pt x="122" y="118"/>
                    </a:cubicBezTo>
                    <a:cubicBezTo>
                      <a:pt x="124" y="118"/>
                      <a:pt x="124" y="118"/>
                      <a:pt x="124" y="118"/>
                    </a:cubicBezTo>
                    <a:cubicBezTo>
                      <a:pt x="124" y="117"/>
                      <a:pt x="124" y="117"/>
                      <a:pt x="124" y="117"/>
                    </a:cubicBezTo>
                    <a:cubicBezTo>
                      <a:pt x="124" y="116"/>
                      <a:pt x="124" y="115"/>
                      <a:pt x="124" y="114"/>
                    </a:cubicBezTo>
                    <a:cubicBezTo>
                      <a:pt x="125" y="112"/>
                      <a:pt x="125" y="112"/>
                      <a:pt x="125" y="112"/>
                    </a:cubicBezTo>
                    <a:cubicBezTo>
                      <a:pt x="125" y="111"/>
                      <a:pt x="125" y="110"/>
                      <a:pt x="125" y="110"/>
                    </a:cubicBezTo>
                    <a:cubicBezTo>
                      <a:pt x="125" y="109"/>
                      <a:pt x="125" y="109"/>
                      <a:pt x="125" y="109"/>
                    </a:cubicBezTo>
                    <a:cubicBezTo>
                      <a:pt x="126" y="108"/>
                      <a:pt x="126" y="108"/>
                      <a:pt x="126" y="107"/>
                    </a:cubicBezTo>
                    <a:cubicBezTo>
                      <a:pt x="126" y="105"/>
                      <a:pt x="127" y="101"/>
                      <a:pt x="130" y="100"/>
                    </a:cubicBezTo>
                    <a:cubicBezTo>
                      <a:pt x="139" y="97"/>
                      <a:pt x="139" y="97"/>
                      <a:pt x="139" y="97"/>
                    </a:cubicBezTo>
                    <a:cubicBezTo>
                      <a:pt x="139" y="97"/>
                      <a:pt x="140" y="96"/>
                      <a:pt x="140" y="96"/>
                    </a:cubicBezTo>
                    <a:cubicBezTo>
                      <a:pt x="141" y="96"/>
                      <a:pt x="141" y="96"/>
                      <a:pt x="141" y="96"/>
                    </a:cubicBezTo>
                    <a:cubicBezTo>
                      <a:pt x="144" y="95"/>
                      <a:pt x="148" y="94"/>
                      <a:pt x="151" y="93"/>
                    </a:cubicBezTo>
                    <a:cubicBezTo>
                      <a:pt x="151" y="93"/>
                      <a:pt x="151" y="93"/>
                      <a:pt x="151" y="93"/>
                    </a:cubicBezTo>
                    <a:cubicBezTo>
                      <a:pt x="151" y="92"/>
                      <a:pt x="151" y="92"/>
                      <a:pt x="151" y="92"/>
                    </a:cubicBezTo>
                    <a:cubicBezTo>
                      <a:pt x="150" y="90"/>
                      <a:pt x="150" y="89"/>
                      <a:pt x="150" y="89"/>
                    </a:cubicBezTo>
                    <a:cubicBezTo>
                      <a:pt x="150" y="85"/>
                      <a:pt x="150" y="85"/>
                      <a:pt x="150" y="85"/>
                    </a:cubicBezTo>
                    <a:cubicBezTo>
                      <a:pt x="155" y="85"/>
                      <a:pt x="155" y="85"/>
                      <a:pt x="155" y="85"/>
                    </a:cubicBezTo>
                    <a:cubicBezTo>
                      <a:pt x="155" y="86"/>
                      <a:pt x="156" y="86"/>
                      <a:pt x="157" y="86"/>
                    </a:cubicBezTo>
                    <a:cubicBezTo>
                      <a:pt x="157" y="86"/>
                      <a:pt x="158" y="86"/>
                      <a:pt x="159" y="86"/>
                    </a:cubicBezTo>
                    <a:cubicBezTo>
                      <a:pt x="160" y="86"/>
                      <a:pt x="161" y="87"/>
                      <a:pt x="162" y="87"/>
                    </a:cubicBezTo>
                    <a:cubicBezTo>
                      <a:pt x="163" y="87"/>
                      <a:pt x="164" y="86"/>
                      <a:pt x="167" y="85"/>
                    </a:cubicBezTo>
                    <a:cubicBezTo>
                      <a:pt x="167" y="84"/>
                      <a:pt x="167" y="84"/>
                      <a:pt x="167" y="84"/>
                    </a:cubicBezTo>
                    <a:cubicBezTo>
                      <a:pt x="168" y="84"/>
                      <a:pt x="168" y="84"/>
                      <a:pt x="168" y="84"/>
                    </a:cubicBezTo>
                    <a:cubicBezTo>
                      <a:pt x="169" y="83"/>
                      <a:pt x="171" y="81"/>
                      <a:pt x="173" y="81"/>
                    </a:cubicBezTo>
                    <a:cubicBezTo>
                      <a:pt x="174" y="81"/>
                      <a:pt x="174" y="81"/>
                      <a:pt x="174" y="81"/>
                    </a:cubicBezTo>
                    <a:cubicBezTo>
                      <a:pt x="174" y="81"/>
                      <a:pt x="174" y="81"/>
                      <a:pt x="174" y="81"/>
                    </a:cubicBezTo>
                    <a:cubicBezTo>
                      <a:pt x="175" y="81"/>
                      <a:pt x="175" y="81"/>
                      <a:pt x="175" y="81"/>
                    </a:cubicBezTo>
                    <a:cubicBezTo>
                      <a:pt x="176" y="81"/>
                      <a:pt x="176" y="81"/>
                      <a:pt x="176" y="81"/>
                    </a:cubicBezTo>
                    <a:cubicBezTo>
                      <a:pt x="177" y="82"/>
                      <a:pt x="177" y="82"/>
                      <a:pt x="177" y="82"/>
                    </a:cubicBezTo>
                    <a:cubicBezTo>
                      <a:pt x="179" y="83"/>
                      <a:pt x="179" y="85"/>
                      <a:pt x="179" y="86"/>
                    </a:cubicBezTo>
                    <a:cubicBezTo>
                      <a:pt x="180" y="87"/>
                      <a:pt x="180" y="89"/>
                      <a:pt x="180" y="90"/>
                    </a:cubicBezTo>
                    <a:cubicBezTo>
                      <a:pt x="180" y="91"/>
                      <a:pt x="181" y="91"/>
                      <a:pt x="181" y="92"/>
                    </a:cubicBezTo>
                    <a:cubicBezTo>
                      <a:pt x="181" y="92"/>
                      <a:pt x="181" y="92"/>
                      <a:pt x="181" y="92"/>
                    </a:cubicBezTo>
                    <a:cubicBezTo>
                      <a:pt x="182" y="92"/>
                      <a:pt x="182" y="92"/>
                      <a:pt x="182" y="92"/>
                    </a:cubicBezTo>
                    <a:cubicBezTo>
                      <a:pt x="183" y="92"/>
                      <a:pt x="183" y="92"/>
                      <a:pt x="183" y="92"/>
                    </a:cubicBezTo>
                    <a:cubicBezTo>
                      <a:pt x="183" y="91"/>
                      <a:pt x="184" y="91"/>
                      <a:pt x="185" y="90"/>
                    </a:cubicBezTo>
                    <a:cubicBezTo>
                      <a:pt x="186" y="90"/>
                      <a:pt x="187" y="89"/>
                      <a:pt x="188" y="89"/>
                    </a:cubicBezTo>
                    <a:cubicBezTo>
                      <a:pt x="189" y="89"/>
                      <a:pt x="191" y="89"/>
                      <a:pt x="192" y="89"/>
                    </a:cubicBezTo>
                    <a:cubicBezTo>
                      <a:pt x="192" y="89"/>
                      <a:pt x="192" y="89"/>
                      <a:pt x="193" y="89"/>
                    </a:cubicBezTo>
                    <a:cubicBezTo>
                      <a:pt x="194" y="89"/>
                      <a:pt x="195" y="89"/>
                      <a:pt x="196" y="89"/>
                    </a:cubicBezTo>
                    <a:cubicBezTo>
                      <a:pt x="196" y="90"/>
                      <a:pt x="196" y="90"/>
                      <a:pt x="196" y="90"/>
                    </a:cubicBezTo>
                    <a:cubicBezTo>
                      <a:pt x="197" y="89"/>
                      <a:pt x="197" y="89"/>
                      <a:pt x="197" y="89"/>
                    </a:cubicBezTo>
                    <a:cubicBezTo>
                      <a:pt x="197" y="89"/>
                      <a:pt x="198" y="88"/>
                      <a:pt x="199" y="87"/>
                    </a:cubicBezTo>
                    <a:cubicBezTo>
                      <a:pt x="200" y="86"/>
                      <a:pt x="201" y="84"/>
                      <a:pt x="201" y="84"/>
                    </a:cubicBezTo>
                    <a:cubicBezTo>
                      <a:pt x="201" y="83"/>
                      <a:pt x="201" y="83"/>
                      <a:pt x="201" y="83"/>
                    </a:cubicBezTo>
                    <a:cubicBezTo>
                      <a:pt x="201" y="82"/>
                      <a:pt x="201" y="81"/>
                      <a:pt x="201" y="80"/>
                    </a:cubicBezTo>
                    <a:cubicBezTo>
                      <a:pt x="202" y="78"/>
                      <a:pt x="202" y="78"/>
                      <a:pt x="202" y="78"/>
                    </a:cubicBezTo>
                    <a:cubicBezTo>
                      <a:pt x="203" y="77"/>
                      <a:pt x="204" y="76"/>
                      <a:pt x="205" y="75"/>
                    </a:cubicBezTo>
                    <a:cubicBezTo>
                      <a:pt x="206" y="75"/>
                      <a:pt x="206" y="74"/>
                      <a:pt x="207" y="73"/>
                    </a:cubicBezTo>
                    <a:cubicBezTo>
                      <a:pt x="209" y="71"/>
                      <a:pt x="211" y="68"/>
                      <a:pt x="214" y="67"/>
                    </a:cubicBezTo>
                    <a:cubicBezTo>
                      <a:pt x="217" y="66"/>
                      <a:pt x="222" y="66"/>
                      <a:pt x="225" y="65"/>
                    </a:cubicBezTo>
                    <a:cubicBezTo>
                      <a:pt x="227" y="65"/>
                      <a:pt x="228" y="65"/>
                      <a:pt x="230" y="65"/>
                    </a:cubicBezTo>
                    <a:cubicBezTo>
                      <a:pt x="232" y="65"/>
                      <a:pt x="232" y="65"/>
                      <a:pt x="232" y="65"/>
                    </a:cubicBezTo>
                    <a:cubicBezTo>
                      <a:pt x="235" y="65"/>
                      <a:pt x="238" y="64"/>
                      <a:pt x="241" y="64"/>
                    </a:cubicBezTo>
                    <a:cubicBezTo>
                      <a:pt x="248" y="63"/>
                      <a:pt x="248" y="63"/>
                      <a:pt x="248" y="63"/>
                    </a:cubicBezTo>
                    <a:cubicBezTo>
                      <a:pt x="249" y="63"/>
                      <a:pt x="249" y="63"/>
                      <a:pt x="249" y="63"/>
                    </a:cubicBezTo>
                    <a:cubicBezTo>
                      <a:pt x="249" y="62"/>
                      <a:pt x="250" y="61"/>
                      <a:pt x="251" y="61"/>
                    </a:cubicBezTo>
                    <a:cubicBezTo>
                      <a:pt x="252" y="60"/>
                      <a:pt x="252" y="60"/>
                      <a:pt x="252" y="60"/>
                    </a:cubicBezTo>
                    <a:cubicBezTo>
                      <a:pt x="252" y="59"/>
                      <a:pt x="252" y="59"/>
                      <a:pt x="253" y="58"/>
                    </a:cubicBezTo>
                    <a:cubicBezTo>
                      <a:pt x="253" y="58"/>
                      <a:pt x="254" y="57"/>
                      <a:pt x="255" y="56"/>
                    </a:cubicBezTo>
                    <a:cubicBezTo>
                      <a:pt x="257" y="54"/>
                      <a:pt x="259" y="51"/>
                      <a:pt x="262" y="50"/>
                    </a:cubicBezTo>
                    <a:cubicBezTo>
                      <a:pt x="263" y="50"/>
                      <a:pt x="263" y="50"/>
                      <a:pt x="263" y="50"/>
                    </a:cubicBezTo>
                    <a:cubicBezTo>
                      <a:pt x="266" y="48"/>
                      <a:pt x="270" y="46"/>
                      <a:pt x="274" y="45"/>
                    </a:cubicBezTo>
                    <a:cubicBezTo>
                      <a:pt x="275" y="44"/>
                      <a:pt x="275" y="44"/>
                      <a:pt x="275" y="44"/>
                    </a:cubicBezTo>
                    <a:cubicBezTo>
                      <a:pt x="277" y="44"/>
                      <a:pt x="278" y="43"/>
                      <a:pt x="280" y="43"/>
                    </a:cubicBezTo>
                    <a:cubicBezTo>
                      <a:pt x="285" y="40"/>
                      <a:pt x="291" y="38"/>
                      <a:pt x="297" y="36"/>
                    </a:cubicBezTo>
                    <a:cubicBezTo>
                      <a:pt x="302" y="35"/>
                      <a:pt x="302" y="35"/>
                      <a:pt x="302" y="35"/>
                    </a:cubicBezTo>
                    <a:cubicBezTo>
                      <a:pt x="303" y="34"/>
                      <a:pt x="303" y="34"/>
                      <a:pt x="303" y="34"/>
                    </a:cubicBezTo>
                    <a:cubicBezTo>
                      <a:pt x="303" y="33"/>
                      <a:pt x="303" y="33"/>
                      <a:pt x="303" y="33"/>
                    </a:cubicBezTo>
                    <a:cubicBezTo>
                      <a:pt x="303" y="33"/>
                      <a:pt x="303" y="33"/>
                      <a:pt x="303" y="33"/>
                    </a:cubicBezTo>
                    <a:cubicBezTo>
                      <a:pt x="303" y="33"/>
                      <a:pt x="303" y="33"/>
                      <a:pt x="303" y="33"/>
                    </a:cubicBezTo>
                    <a:cubicBezTo>
                      <a:pt x="302" y="32"/>
                      <a:pt x="302" y="32"/>
                      <a:pt x="302" y="32"/>
                    </a:cubicBezTo>
                    <a:cubicBezTo>
                      <a:pt x="302" y="32"/>
                      <a:pt x="301" y="31"/>
                      <a:pt x="301" y="30"/>
                    </a:cubicBezTo>
                    <a:cubicBezTo>
                      <a:pt x="300" y="29"/>
                      <a:pt x="299" y="29"/>
                      <a:pt x="298" y="28"/>
                    </a:cubicBezTo>
                    <a:cubicBezTo>
                      <a:pt x="297" y="27"/>
                      <a:pt x="297" y="27"/>
                      <a:pt x="296" y="27"/>
                    </a:cubicBezTo>
                    <a:cubicBezTo>
                      <a:pt x="295" y="26"/>
                      <a:pt x="294" y="26"/>
                      <a:pt x="293" y="26"/>
                    </a:cubicBezTo>
                    <a:cubicBezTo>
                      <a:pt x="292" y="26"/>
                      <a:pt x="291" y="26"/>
                      <a:pt x="290" y="26"/>
                    </a:cubicBezTo>
                    <a:cubicBezTo>
                      <a:pt x="285" y="26"/>
                      <a:pt x="282" y="25"/>
                      <a:pt x="278" y="20"/>
                    </a:cubicBezTo>
                    <a:cubicBezTo>
                      <a:pt x="278" y="19"/>
                      <a:pt x="278" y="19"/>
                      <a:pt x="278" y="19"/>
                    </a:cubicBezTo>
                    <a:cubicBezTo>
                      <a:pt x="278" y="18"/>
                      <a:pt x="277" y="16"/>
                      <a:pt x="276" y="15"/>
                    </a:cubicBezTo>
                    <a:cubicBezTo>
                      <a:pt x="275" y="14"/>
                      <a:pt x="275" y="14"/>
                      <a:pt x="275" y="14"/>
                    </a:cubicBezTo>
                    <a:cubicBezTo>
                      <a:pt x="275" y="14"/>
                      <a:pt x="275" y="14"/>
                      <a:pt x="275" y="14"/>
                    </a:cubicBezTo>
                    <a:cubicBezTo>
                      <a:pt x="274" y="14"/>
                      <a:pt x="274" y="14"/>
                      <a:pt x="273" y="14"/>
                    </a:cubicBezTo>
                    <a:cubicBezTo>
                      <a:pt x="273" y="15"/>
                      <a:pt x="272" y="15"/>
                      <a:pt x="271" y="15"/>
                    </a:cubicBezTo>
                    <a:cubicBezTo>
                      <a:pt x="269" y="15"/>
                      <a:pt x="267" y="14"/>
                      <a:pt x="265" y="14"/>
                    </a:cubicBezTo>
                    <a:cubicBezTo>
                      <a:pt x="262" y="13"/>
                      <a:pt x="262" y="13"/>
                      <a:pt x="262" y="13"/>
                    </a:cubicBezTo>
                    <a:cubicBezTo>
                      <a:pt x="261" y="12"/>
                      <a:pt x="260" y="12"/>
                      <a:pt x="259" y="12"/>
                    </a:cubicBezTo>
                    <a:cubicBezTo>
                      <a:pt x="258" y="12"/>
                      <a:pt x="257" y="11"/>
                      <a:pt x="256" y="11"/>
                    </a:cubicBezTo>
                    <a:cubicBezTo>
                      <a:pt x="256" y="11"/>
                      <a:pt x="256" y="11"/>
                      <a:pt x="255" y="11"/>
                    </a:cubicBezTo>
                    <a:cubicBezTo>
                      <a:pt x="255" y="11"/>
                      <a:pt x="254" y="11"/>
                      <a:pt x="254" y="11"/>
                    </a:cubicBezTo>
                    <a:cubicBezTo>
                      <a:pt x="253" y="11"/>
                      <a:pt x="253" y="11"/>
                      <a:pt x="253" y="11"/>
                    </a:cubicBezTo>
                    <a:cubicBezTo>
                      <a:pt x="251" y="11"/>
                      <a:pt x="250" y="12"/>
                      <a:pt x="248" y="12"/>
                    </a:cubicBezTo>
                    <a:cubicBezTo>
                      <a:pt x="243" y="12"/>
                      <a:pt x="238" y="11"/>
                      <a:pt x="233" y="11"/>
                    </a:cubicBezTo>
                    <a:cubicBezTo>
                      <a:pt x="232" y="11"/>
                      <a:pt x="232" y="11"/>
                      <a:pt x="232" y="11"/>
                    </a:cubicBezTo>
                    <a:cubicBezTo>
                      <a:pt x="231" y="11"/>
                      <a:pt x="230" y="11"/>
                      <a:pt x="229" y="11"/>
                    </a:cubicBezTo>
                    <a:cubicBezTo>
                      <a:pt x="228" y="16"/>
                      <a:pt x="228" y="16"/>
                      <a:pt x="228" y="16"/>
                    </a:cubicBezTo>
                    <a:cubicBezTo>
                      <a:pt x="227" y="10"/>
                      <a:pt x="227" y="10"/>
                      <a:pt x="227" y="10"/>
                    </a:cubicBezTo>
                    <a:cubicBezTo>
                      <a:pt x="226" y="10"/>
                      <a:pt x="226" y="10"/>
                      <a:pt x="226" y="10"/>
                    </a:cubicBezTo>
                    <a:cubicBezTo>
                      <a:pt x="220" y="10"/>
                      <a:pt x="213" y="10"/>
                      <a:pt x="206" y="10"/>
                    </a:cubicBezTo>
                    <a:cubicBezTo>
                      <a:pt x="205" y="10"/>
                      <a:pt x="205" y="10"/>
                      <a:pt x="205" y="10"/>
                    </a:cubicBezTo>
                    <a:cubicBezTo>
                      <a:pt x="203" y="10"/>
                      <a:pt x="200" y="10"/>
                      <a:pt x="198" y="9"/>
                    </a:cubicBezTo>
                    <a:cubicBezTo>
                      <a:pt x="197" y="9"/>
                      <a:pt x="197" y="9"/>
                      <a:pt x="197" y="9"/>
                    </a:cubicBezTo>
                    <a:cubicBezTo>
                      <a:pt x="194" y="9"/>
                      <a:pt x="191" y="9"/>
                      <a:pt x="188" y="9"/>
                    </a:cubicBezTo>
                    <a:cubicBezTo>
                      <a:pt x="186" y="9"/>
                      <a:pt x="184" y="9"/>
                      <a:pt x="182" y="9"/>
                    </a:cubicBezTo>
                    <a:cubicBezTo>
                      <a:pt x="181" y="9"/>
                      <a:pt x="181" y="9"/>
                      <a:pt x="181" y="9"/>
                    </a:cubicBezTo>
                    <a:cubicBezTo>
                      <a:pt x="180" y="10"/>
                      <a:pt x="179" y="10"/>
                      <a:pt x="178" y="10"/>
                    </a:cubicBezTo>
                    <a:cubicBezTo>
                      <a:pt x="175" y="11"/>
                      <a:pt x="172" y="12"/>
                      <a:pt x="169" y="12"/>
                    </a:cubicBezTo>
                    <a:cubicBezTo>
                      <a:pt x="168" y="12"/>
                      <a:pt x="167" y="12"/>
                      <a:pt x="166" y="12"/>
                    </a:cubicBezTo>
                    <a:cubicBezTo>
                      <a:pt x="164" y="12"/>
                      <a:pt x="164" y="12"/>
                      <a:pt x="164" y="12"/>
                    </a:cubicBezTo>
                    <a:cubicBezTo>
                      <a:pt x="163" y="11"/>
                      <a:pt x="162" y="11"/>
                      <a:pt x="162" y="11"/>
                    </a:cubicBezTo>
                    <a:cubicBezTo>
                      <a:pt x="159" y="10"/>
                      <a:pt x="159" y="10"/>
                      <a:pt x="159" y="10"/>
                    </a:cubicBezTo>
                    <a:cubicBezTo>
                      <a:pt x="158" y="10"/>
                      <a:pt x="157" y="10"/>
                      <a:pt x="155" y="9"/>
                    </a:cubicBezTo>
                    <a:cubicBezTo>
                      <a:pt x="153" y="9"/>
                      <a:pt x="153" y="9"/>
                      <a:pt x="153" y="9"/>
                    </a:cubicBezTo>
                    <a:cubicBezTo>
                      <a:pt x="152" y="8"/>
                      <a:pt x="150" y="7"/>
                      <a:pt x="148" y="6"/>
                    </a:cubicBezTo>
                    <a:cubicBezTo>
                      <a:pt x="147" y="6"/>
                      <a:pt x="147" y="6"/>
                      <a:pt x="147" y="6"/>
                    </a:cubicBezTo>
                    <a:cubicBezTo>
                      <a:pt x="147" y="5"/>
                      <a:pt x="146" y="5"/>
                      <a:pt x="146" y="5"/>
                    </a:cubicBezTo>
                    <a:cubicBezTo>
                      <a:pt x="145" y="4"/>
                      <a:pt x="143" y="3"/>
                      <a:pt x="142" y="2"/>
                    </a:cubicBezTo>
                    <a:cubicBezTo>
                      <a:pt x="140" y="1"/>
                      <a:pt x="138" y="1"/>
                      <a:pt x="135" y="1"/>
                    </a:cubicBezTo>
                    <a:cubicBezTo>
                      <a:pt x="134" y="1"/>
                      <a:pt x="133" y="1"/>
                      <a:pt x="1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353"/>
              <p:cNvSpPr/>
              <p:nvPr/>
            </p:nvSpPr>
            <p:spPr bwMode="auto">
              <a:xfrm>
                <a:off x="10797389" y="4820132"/>
                <a:ext cx="3685" cy="3685"/>
              </a:xfrm>
              <a:custGeom>
                <a:gdLst>
                  <a:gd name="T0" fmla="*/ 0 w 1"/>
                  <a:gd name="T1" fmla="*/ 0 h 1"/>
                  <a:gd name="T2" fmla="*/ 0 w 1"/>
                  <a:gd name="T3" fmla="*/ 0 h 1"/>
                  <a:gd name="T4" fmla="*/ 0 w 1"/>
                  <a:gd name="T5" fmla="*/ 1 h 1"/>
                  <a:gd name="T6" fmla="*/ 1 w 1"/>
                  <a:gd name="T7" fmla="*/ 1 h 1"/>
                  <a:gd name="T8" fmla="*/ 0 w 1"/>
                  <a:gd name="T9" fmla="*/ 0 h 1"/>
                </a:gdLst>
                <a:cxnLst>
                  <a:cxn ang="0">
                    <a:pos x="T0" y="T1"/>
                  </a:cxn>
                  <a:cxn ang="0">
                    <a:pos x="T2" y="T3"/>
                  </a:cxn>
                  <a:cxn ang="0">
                    <a:pos x="T4" y="T5"/>
                  </a:cxn>
                  <a:cxn ang="0">
                    <a:pos x="T6" y="T7"/>
                  </a:cxn>
                  <a:cxn ang="0">
                    <a:pos x="T8" y="T9"/>
                  </a:cxn>
                </a:cxnLst>
                <a:rect l="0" t="0" r="r" b="b"/>
                <a:pathLst>
                  <a:path w="1" h="1">
                    <a:moveTo>
                      <a:pt x="0" y="0"/>
                    </a:moveTo>
                    <a:lnTo>
                      <a:pt x="0" y="0"/>
                    </a:lnTo>
                    <a:lnTo>
                      <a:pt x="0" y="1"/>
                    </a:lnTo>
                    <a:lnTo>
                      <a:pt x="1"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354"/>
              <p:cNvSpPr/>
              <p:nvPr/>
            </p:nvSpPr>
            <p:spPr bwMode="auto">
              <a:xfrm>
                <a:off x="10797389" y="4820132"/>
                <a:ext cx="3685" cy="3685"/>
              </a:xfrm>
              <a:custGeom>
                <a:gdLst>
                  <a:gd name="T0" fmla="*/ 0 w 1"/>
                  <a:gd name="T1" fmla="*/ 0 h 1"/>
                  <a:gd name="T2" fmla="*/ 0 w 1"/>
                  <a:gd name="T3" fmla="*/ 0 h 1"/>
                  <a:gd name="T4" fmla="*/ 0 w 1"/>
                  <a:gd name="T5" fmla="*/ 1 h 1"/>
                  <a:gd name="T6" fmla="*/ 1 w 1"/>
                  <a:gd name="T7" fmla="*/ 1 h 1"/>
                  <a:gd name="T8" fmla="*/ 0 w 1"/>
                  <a:gd name="T9" fmla="*/ 0 h 1"/>
                </a:gdLst>
                <a:cxnLst>
                  <a:cxn ang="0">
                    <a:pos x="T0" y="T1"/>
                  </a:cxn>
                  <a:cxn ang="0">
                    <a:pos x="T2" y="T3"/>
                  </a:cxn>
                  <a:cxn ang="0">
                    <a:pos x="T4" y="T5"/>
                  </a:cxn>
                  <a:cxn ang="0">
                    <a:pos x="T6" y="T7"/>
                  </a:cxn>
                  <a:cxn ang="0">
                    <a:pos x="T8" y="T9"/>
                  </a:cxn>
                </a:cxnLst>
                <a:rect l="0" t="0" r="r" b="b"/>
                <a:pathLst>
                  <a:path w="1" h="1">
                    <a:moveTo>
                      <a:pt x="0" y="0"/>
                    </a:moveTo>
                    <a:lnTo>
                      <a:pt x="0" y="0"/>
                    </a:lnTo>
                    <a:lnTo>
                      <a:pt x="0" y="1"/>
                    </a:lnTo>
                    <a:lnTo>
                      <a:pt x="1"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355"/>
              <p:cNvSpPr>
                <a:spLocks noEditPoints="1"/>
              </p:cNvSpPr>
              <p:nvPr/>
            </p:nvSpPr>
            <p:spPr bwMode="auto">
              <a:xfrm>
                <a:off x="9419156" y="4477416"/>
                <a:ext cx="1499842" cy="921279"/>
              </a:xfrm>
              <a:custGeom>
                <a:gdLst>
                  <a:gd name="T0" fmla="*/ 91 w 473"/>
                  <a:gd name="T1" fmla="*/ 13 h 290"/>
                  <a:gd name="T2" fmla="*/ 82 w 473"/>
                  <a:gd name="T3" fmla="*/ 1 h 290"/>
                  <a:gd name="T4" fmla="*/ 75 w 473"/>
                  <a:gd name="T5" fmla="*/ 11 h 290"/>
                  <a:gd name="T6" fmla="*/ 73 w 473"/>
                  <a:gd name="T7" fmla="*/ 30 h 290"/>
                  <a:gd name="T8" fmla="*/ 74 w 473"/>
                  <a:gd name="T9" fmla="*/ 39 h 290"/>
                  <a:gd name="T10" fmla="*/ 63 w 473"/>
                  <a:gd name="T11" fmla="*/ 50 h 290"/>
                  <a:gd name="T12" fmla="*/ 70 w 473"/>
                  <a:gd name="T13" fmla="*/ 12 h 290"/>
                  <a:gd name="T14" fmla="*/ 1 w 473"/>
                  <a:gd name="T15" fmla="*/ 30 h 290"/>
                  <a:gd name="T16" fmla="*/ 11 w 473"/>
                  <a:gd name="T17" fmla="*/ 152 h 290"/>
                  <a:gd name="T18" fmla="*/ 23 w 473"/>
                  <a:gd name="T19" fmla="*/ 151 h 290"/>
                  <a:gd name="T20" fmla="*/ 41 w 473"/>
                  <a:gd name="T21" fmla="*/ 124 h 290"/>
                  <a:gd name="T22" fmla="*/ 61 w 473"/>
                  <a:gd name="T23" fmla="*/ 112 h 290"/>
                  <a:gd name="T24" fmla="*/ 82 w 473"/>
                  <a:gd name="T25" fmla="*/ 110 h 290"/>
                  <a:gd name="T26" fmla="*/ 101 w 473"/>
                  <a:gd name="T27" fmla="*/ 118 h 290"/>
                  <a:gd name="T28" fmla="*/ 120 w 473"/>
                  <a:gd name="T29" fmla="*/ 142 h 290"/>
                  <a:gd name="T30" fmla="*/ 120 w 473"/>
                  <a:gd name="T31" fmla="*/ 152 h 290"/>
                  <a:gd name="T32" fmla="*/ 146 w 473"/>
                  <a:gd name="T33" fmla="*/ 157 h 290"/>
                  <a:gd name="T34" fmla="*/ 175 w 473"/>
                  <a:gd name="T35" fmla="*/ 180 h 290"/>
                  <a:gd name="T36" fmla="*/ 190 w 473"/>
                  <a:gd name="T37" fmla="*/ 202 h 290"/>
                  <a:gd name="T38" fmla="*/ 250 w 473"/>
                  <a:gd name="T39" fmla="*/ 241 h 290"/>
                  <a:gd name="T40" fmla="*/ 274 w 473"/>
                  <a:gd name="T41" fmla="*/ 255 h 290"/>
                  <a:gd name="T42" fmla="*/ 303 w 473"/>
                  <a:gd name="T43" fmla="*/ 268 h 290"/>
                  <a:gd name="T44" fmla="*/ 309 w 473"/>
                  <a:gd name="T45" fmla="*/ 284 h 290"/>
                  <a:gd name="T46" fmla="*/ 324 w 473"/>
                  <a:gd name="T47" fmla="*/ 289 h 290"/>
                  <a:gd name="T48" fmla="*/ 330 w 473"/>
                  <a:gd name="T49" fmla="*/ 282 h 290"/>
                  <a:gd name="T50" fmla="*/ 343 w 473"/>
                  <a:gd name="T51" fmla="*/ 258 h 290"/>
                  <a:gd name="T52" fmla="*/ 334 w 473"/>
                  <a:gd name="T53" fmla="*/ 236 h 290"/>
                  <a:gd name="T54" fmla="*/ 324 w 473"/>
                  <a:gd name="T55" fmla="*/ 212 h 290"/>
                  <a:gd name="T56" fmla="*/ 350 w 473"/>
                  <a:gd name="T57" fmla="*/ 211 h 290"/>
                  <a:gd name="T58" fmla="*/ 366 w 473"/>
                  <a:gd name="T59" fmla="*/ 189 h 290"/>
                  <a:gd name="T60" fmla="*/ 376 w 473"/>
                  <a:gd name="T61" fmla="*/ 170 h 290"/>
                  <a:gd name="T62" fmla="*/ 385 w 473"/>
                  <a:gd name="T63" fmla="*/ 174 h 290"/>
                  <a:gd name="T64" fmla="*/ 398 w 473"/>
                  <a:gd name="T65" fmla="*/ 168 h 290"/>
                  <a:gd name="T66" fmla="*/ 419 w 473"/>
                  <a:gd name="T67" fmla="*/ 178 h 290"/>
                  <a:gd name="T68" fmla="*/ 425 w 473"/>
                  <a:gd name="T69" fmla="*/ 187 h 290"/>
                  <a:gd name="T70" fmla="*/ 448 w 473"/>
                  <a:gd name="T71" fmla="*/ 189 h 290"/>
                  <a:gd name="T72" fmla="*/ 456 w 473"/>
                  <a:gd name="T73" fmla="*/ 181 h 290"/>
                  <a:gd name="T74" fmla="*/ 461 w 473"/>
                  <a:gd name="T75" fmla="*/ 176 h 290"/>
                  <a:gd name="T76" fmla="*/ 470 w 473"/>
                  <a:gd name="T77" fmla="*/ 177 h 290"/>
                  <a:gd name="T78" fmla="*/ 464 w 473"/>
                  <a:gd name="T79" fmla="*/ 170 h 290"/>
                  <a:gd name="T80" fmla="*/ 454 w 473"/>
                  <a:gd name="T81" fmla="*/ 171 h 290"/>
                  <a:gd name="T82" fmla="*/ 446 w 473"/>
                  <a:gd name="T83" fmla="*/ 158 h 290"/>
                  <a:gd name="T84" fmla="*/ 439 w 473"/>
                  <a:gd name="T85" fmla="*/ 162 h 290"/>
                  <a:gd name="T86" fmla="*/ 412 w 473"/>
                  <a:gd name="T87" fmla="*/ 155 h 290"/>
                  <a:gd name="T88" fmla="*/ 402 w 473"/>
                  <a:gd name="T89" fmla="*/ 152 h 290"/>
                  <a:gd name="T90" fmla="*/ 383 w 473"/>
                  <a:gd name="T91" fmla="*/ 151 h 290"/>
                  <a:gd name="T92" fmla="*/ 360 w 473"/>
                  <a:gd name="T93" fmla="*/ 171 h 290"/>
                  <a:gd name="T94" fmla="*/ 353 w 473"/>
                  <a:gd name="T95" fmla="*/ 183 h 290"/>
                  <a:gd name="T96" fmla="*/ 333 w 473"/>
                  <a:gd name="T97" fmla="*/ 172 h 290"/>
                  <a:gd name="T98" fmla="*/ 333 w 473"/>
                  <a:gd name="T99" fmla="*/ 163 h 290"/>
                  <a:gd name="T100" fmla="*/ 297 w 473"/>
                  <a:gd name="T101" fmla="*/ 155 h 290"/>
                  <a:gd name="T102" fmla="*/ 290 w 473"/>
                  <a:gd name="T103" fmla="*/ 135 h 290"/>
                  <a:gd name="T104" fmla="*/ 279 w 473"/>
                  <a:gd name="T105" fmla="*/ 120 h 290"/>
                  <a:gd name="T106" fmla="*/ 272 w 473"/>
                  <a:gd name="T107" fmla="*/ 98 h 290"/>
                  <a:gd name="T108" fmla="*/ 250 w 473"/>
                  <a:gd name="T109" fmla="*/ 76 h 290"/>
                  <a:gd name="T110" fmla="*/ 228 w 473"/>
                  <a:gd name="T111" fmla="*/ 81 h 290"/>
                  <a:gd name="T112" fmla="*/ 167 w 473"/>
                  <a:gd name="T113" fmla="*/ 83 h 290"/>
                  <a:gd name="T114" fmla="*/ 117 w 473"/>
                  <a:gd name="T115" fmla="*/ 39 h 290"/>
                  <a:gd name="T116" fmla="*/ 104 w 473"/>
                  <a:gd name="T117" fmla="*/ 60 h 290"/>
                  <a:gd name="T118" fmla="*/ 95 w 473"/>
                  <a:gd name="T119" fmla="*/ 23 h 290"/>
                  <a:gd name="T120" fmla="*/ 95 w 473"/>
                  <a:gd name="T121" fmla="*/ 19 h 2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2" h="290">
                    <a:moveTo>
                      <a:pt x="91" y="13"/>
                    </a:moveTo>
                    <a:cubicBezTo>
                      <a:pt x="91" y="13"/>
                      <a:pt x="91" y="13"/>
                      <a:pt x="91" y="13"/>
                    </a:cubicBezTo>
                    <a:cubicBezTo>
                      <a:pt x="91" y="13"/>
                      <a:pt x="91" y="13"/>
                      <a:pt x="91" y="13"/>
                    </a:cubicBezTo>
                    <a:cubicBezTo>
                      <a:pt x="91" y="13"/>
                      <a:pt x="91" y="13"/>
                      <a:pt x="91" y="13"/>
                    </a:cubicBezTo>
                    <a:moveTo>
                      <a:pt x="91" y="16"/>
                    </a:moveTo>
                    <a:cubicBezTo>
                      <a:pt x="91" y="16"/>
                      <a:pt x="91" y="16"/>
                      <a:pt x="91" y="15"/>
                    </a:cubicBezTo>
                    <a:cubicBezTo>
                      <a:pt x="91" y="14"/>
                      <a:pt x="91" y="12"/>
                      <a:pt x="91" y="10"/>
                    </a:cubicBezTo>
                    <a:cubicBezTo>
                      <a:pt x="93" y="11"/>
                      <a:pt x="91" y="11"/>
                      <a:pt x="91" y="13"/>
                    </a:cubicBezTo>
                    <a:cubicBezTo>
                      <a:pt x="91" y="13"/>
                      <a:pt x="91" y="14"/>
                      <a:pt x="91" y="14"/>
                    </a:cubicBezTo>
                    <a:cubicBezTo>
                      <a:pt x="91" y="15"/>
                      <a:pt x="91" y="16"/>
                      <a:pt x="91" y="16"/>
                    </a:cubicBezTo>
                    <a:moveTo>
                      <a:pt x="85" y="0"/>
                    </a:moveTo>
                    <a:cubicBezTo>
                      <a:pt x="84" y="0"/>
                      <a:pt x="84" y="1"/>
                      <a:pt x="84" y="3"/>
                    </a:cubicBezTo>
                    <a:cubicBezTo>
                      <a:pt x="84" y="4"/>
                      <a:pt x="84" y="5"/>
                      <a:pt x="83" y="5"/>
                    </a:cubicBezTo>
                    <a:cubicBezTo>
                      <a:pt x="83" y="5"/>
                      <a:pt x="83" y="5"/>
                      <a:pt x="83" y="5"/>
                    </a:cubicBezTo>
                    <a:cubicBezTo>
                      <a:pt x="82" y="4"/>
                      <a:pt x="84" y="2"/>
                      <a:pt x="82" y="2"/>
                    </a:cubicBezTo>
                    <a:cubicBezTo>
                      <a:pt x="82" y="1"/>
                      <a:pt x="82" y="1"/>
                      <a:pt x="82" y="1"/>
                    </a:cubicBezTo>
                    <a:cubicBezTo>
                      <a:pt x="81" y="1"/>
                      <a:pt x="81" y="4"/>
                      <a:pt x="81" y="5"/>
                    </a:cubicBezTo>
                    <a:cubicBezTo>
                      <a:pt x="81" y="7"/>
                      <a:pt x="79" y="9"/>
                      <a:pt x="77" y="10"/>
                    </a:cubicBezTo>
                    <a:cubicBezTo>
                      <a:pt x="77" y="10"/>
                      <a:pt x="77" y="10"/>
                      <a:pt x="77" y="10"/>
                    </a:cubicBezTo>
                    <a:cubicBezTo>
                      <a:pt x="76" y="11"/>
                      <a:pt x="76" y="11"/>
                      <a:pt x="76" y="11"/>
                    </a:cubicBezTo>
                    <a:cubicBezTo>
                      <a:pt x="75" y="11"/>
                      <a:pt x="75" y="11"/>
                      <a:pt x="75" y="11"/>
                    </a:cubicBezTo>
                    <a:cubicBezTo>
                      <a:pt x="75" y="11"/>
                      <a:pt x="75" y="11"/>
                      <a:pt x="75" y="11"/>
                    </a:cubicBezTo>
                    <a:cubicBezTo>
                      <a:pt x="75" y="11"/>
                      <a:pt x="75" y="11"/>
                      <a:pt x="75" y="11"/>
                    </a:cubicBezTo>
                    <a:cubicBezTo>
                      <a:pt x="75" y="11"/>
                      <a:pt x="75" y="11"/>
                      <a:pt x="75" y="11"/>
                    </a:cubicBezTo>
                    <a:cubicBezTo>
                      <a:pt x="76" y="11"/>
                      <a:pt x="76" y="11"/>
                      <a:pt x="76" y="11"/>
                    </a:cubicBezTo>
                    <a:cubicBezTo>
                      <a:pt x="74" y="13"/>
                      <a:pt x="74" y="13"/>
                      <a:pt x="74" y="13"/>
                    </a:cubicBezTo>
                    <a:cubicBezTo>
                      <a:pt x="74" y="13"/>
                      <a:pt x="74" y="13"/>
                      <a:pt x="74" y="13"/>
                    </a:cubicBezTo>
                    <a:cubicBezTo>
                      <a:pt x="73" y="15"/>
                      <a:pt x="72" y="17"/>
                      <a:pt x="73" y="20"/>
                    </a:cubicBezTo>
                    <a:cubicBezTo>
                      <a:pt x="74" y="21"/>
                      <a:pt x="76" y="22"/>
                      <a:pt x="75" y="23"/>
                    </a:cubicBezTo>
                    <a:cubicBezTo>
                      <a:pt x="75" y="24"/>
                      <a:pt x="73" y="26"/>
                      <a:pt x="72" y="27"/>
                    </a:cubicBezTo>
                    <a:cubicBezTo>
                      <a:pt x="72" y="28"/>
                      <a:pt x="71" y="30"/>
                      <a:pt x="72" y="30"/>
                    </a:cubicBezTo>
                    <a:cubicBezTo>
                      <a:pt x="72" y="30"/>
                      <a:pt x="73" y="30"/>
                      <a:pt x="73" y="30"/>
                    </a:cubicBezTo>
                    <a:cubicBezTo>
                      <a:pt x="74" y="29"/>
                      <a:pt x="76" y="28"/>
                      <a:pt x="76" y="28"/>
                    </a:cubicBezTo>
                    <a:cubicBezTo>
                      <a:pt x="76" y="28"/>
                      <a:pt x="76" y="28"/>
                      <a:pt x="76" y="29"/>
                    </a:cubicBezTo>
                    <a:cubicBezTo>
                      <a:pt x="77" y="31"/>
                      <a:pt x="75" y="31"/>
                      <a:pt x="75" y="31"/>
                    </a:cubicBezTo>
                    <a:cubicBezTo>
                      <a:pt x="75" y="32"/>
                      <a:pt x="75" y="33"/>
                      <a:pt x="75" y="34"/>
                    </a:cubicBezTo>
                    <a:cubicBezTo>
                      <a:pt x="75" y="38"/>
                      <a:pt x="77" y="37"/>
                      <a:pt x="77" y="39"/>
                    </a:cubicBezTo>
                    <a:cubicBezTo>
                      <a:pt x="76" y="39"/>
                      <a:pt x="76" y="38"/>
                      <a:pt x="76" y="38"/>
                    </a:cubicBezTo>
                    <a:cubicBezTo>
                      <a:pt x="76" y="38"/>
                      <a:pt x="75" y="39"/>
                      <a:pt x="75" y="39"/>
                    </a:cubicBezTo>
                    <a:cubicBezTo>
                      <a:pt x="75" y="39"/>
                      <a:pt x="74" y="39"/>
                      <a:pt x="74" y="39"/>
                    </a:cubicBezTo>
                    <a:cubicBezTo>
                      <a:pt x="74" y="39"/>
                      <a:pt x="74" y="39"/>
                      <a:pt x="73" y="39"/>
                    </a:cubicBezTo>
                    <a:cubicBezTo>
                      <a:pt x="73" y="39"/>
                      <a:pt x="72" y="37"/>
                      <a:pt x="71" y="37"/>
                    </a:cubicBezTo>
                    <a:cubicBezTo>
                      <a:pt x="71" y="37"/>
                      <a:pt x="71" y="38"/>
                      <a:pt x="70" y="39"/>
                    </a:cubicBezTo>
                    <a:cubicBezTo>
                      <a:pt x="70" y="40"/>
                      <a:pt x="70" y="41"/>
                      <a:pt x="71" y="41"/>
                    </a:cubicBezTo>
                    <a:cubicBezTo>
                      <a:pt x="71" y="41"/>
                      <a:pt x="71" y="40"/>
                      <a:pt x="71" y="40"/>
                    </a:cubicBezTo>
                    <a:cubicBezTo>
                      <a:pt x="72" y="40"/>
                      <a:pt x="72" y="40"/>
                      <a:pt x="72" y="40"/>
                    </a:cubicBezTo>
                    <a:cubicBezTo>
                      <a:pt x="72" y="40"/>
                      <a:pt x="73" y="41"/>
                      <a:pt x="72" y="43"/>
                    </a:cubicBezTo>
                    <a:cubicBezTo>
                      <a:pt x="71" y="47"/>
                      <a:pt x="66" y="50"/>
                      <a:pt x="63" y="50"/>
                    </a:cubicBezTo>
                    <a:cubicBezTo>
                      <a:pt x="61" y="50"/>
                      <a:pt x="59" y="48"/>
                      <a:pt x="60" y="45"/>
                    </a:cubicBezTo>
                    <a:cubicBezTo>
                      <a:pt x="61" y="43"/>
                      <a:pt x="62" y="43"/>
                      <a:pt x="62" y="42"/>
                    </a:cubicBezTo>
                    <a:cubicBezTo>
                      <a:pt x="62" y="40"/>
                      <a:pt x="61" y="39"/>
                      <a:pt x="60" y="37"/>
                    </a:cubicBezTo>
                    <a:cubicBezTo>
                      <a:pt x="59" y="33"/>
                      <a:pt x="61" y="32"/>
                      <a:pt x="62" y="29"/>
                    </a:cubicBezTo>
                    <a:cubicBezTo>
                      <a:pt x="62" y="27"/>
                      <a:pt x="63" y="23"/>
                      <a:pt x="64" y="21"/>
                    </a:cubicBezTo>
                    <a:cubicBezTo>
                      <a:pt x="65" y="20"/>
                      <a:pt x="65" y="19"/>
                      <a:pt x="66" y="18"/>
                    </a:cubicBezTo>
                    <a:cubicBezTo>
                      <a:pt x="67" y="16"/>
                      <a:pt x="68" y="16"/>
                      <a:pt x="69" y="14"/>
                    </a:cubicBezTo>
                    <a:cubicBezTo>
                      <a:pt x="69" y="14"/>
                      <a:pt x="69" y="13"/>
                      <a:pt x="70" y="12"/>
                    </a:cubicBezTo>
                    <a:cubicBezTo>
                      <a:pt x="69" y="12"/>
                      <a:pt x="69" y="12"/>
                      <a:pt x="69" y="12"/>
                    </a:cubicBezTo>
                    <a:cubicBezTo>
                      <a:pt x="66" y="13"/>
                      <a:pt x="66" y="13"/>
                      <a:pt x="66" y="13"/>
                    </a:cubicBezTo>
                    <a:cubicBezTo>
                      <a:pt x="64" y="13"/>
                      <a:pt x="62" y="14"/>
                      <a:pt x="60" y="14"/>
                    </a:cubicBezTo>
                    <a:cubicBezTo>
                      <a:pt x="58" y="15"/>
                      <a:pt x="58" y="15"/>
                      <a:pt x="58" y="15"/>
                    </a:cubicBezTo>
                    <a:cubicBezTo>
                      <a:pt x="50" y="17"/>
                      <a:pt x="50" y="17"/>
                      <a:pt x="50" y="17"/>
                    </a:cubicBezTo>
                    <a:cubicBezTo>
                      <a:pt x="36" y="21"/>
                      <a:pt x="23" y="24"/>
                      <a:pt x="10" y="28"/>
                    </a:cubicBezTo>
                    <a:cubicBezTo>
                      <a:pt x="9" y="28"/>
                      <a:pt x="8" y="28"/>
                      <a:pt x="7" y="29"/>
                    </a:cubicBezTo>
                    <a:cubicBezTo>
                      <a:pt x="5" y="29"/>
                      <a:pt x="2" y="30"/>
                      <a:pt x="1" y="30"/>
                    </a:cubicBezTo>
                    <a:cubicBezTo>
                      <a:pt x="0" y="31"/>
                      <a:pt x="0" y="31"/>
                      <a:pt x="0" y="31"/>
                    </a:cubicBezTo>
                    <a:cubicBezTo>
                      <a:pt x="0" y="31"/>
                      <a:pt x="0" y="31"/>
                      <a:pt x="0" y="31"/>
                    </a:cubicBezTo>
                    <a:cubicBezTo>
                      <a:pt x="0" y="50"/>
                      <a:pt x="0" y="69"/>
                      <a:pt x="0" y="88"/>
                    </a:cubicBezTo>
                    <a:cubicBezTo>
                      <a:pt x="0" y="151"/>
                      <a:pt x="0" y="151"/>
                      <a:pt x="0" y="151"/>
                    </a:cubicBezTo>
                    <a:cubicBezTo>
                      <a:pt x="8" y="151"/>
                      <a:pt x="8" y="151"/>
                      <a:pt x="8" y="151"/>
                    </a:cubicBezTo>
                    <a:cubicBezTo>
                      <a:pt x="7" y="152"/>
                      <a:pt x="7" y="152"/>
                      <a:pt x="7" y="152"/>
                    </a:cubicBezTo>
                    <a:cubicBezTo>
                      <a:pt x="7" y="152"/>
                      <a:pt x="7" y="152"/>
                      <a:pt x="7" y="152"/>
                    </a:cubicBezTo>
                    <a:cubicBezTo>
                      <a:pt x="8" y="152"/>
                      <a:pt x="10" y="152"/>
                      <a:pt x="11" y="152"/>
                    </a:cubicBezTo>
                    <a:cubicBezTo>
                      <a:pt x="11" y="152"/>
                      <a:pt x="12" y="152"/>
                      <a:pt x="12" y="152"/>
                    </a:cubicBezTo>
                    <a:cubicBezTo>
                      <a:pt x="12" y="152"/>
                      <a:pt x="12" y="152"/>
                      <a:pt x="12" y="152"/>
                    </a:cubicBezTo>
                    <a:cubicBezTo>
                      <a:pt x="12" y="152"/>
                      <a:pt x="13" y="152"/>
                      <a:pt x="13" y="152"/>
                    </a:cubicBezTo>
                    <a:cubicBezTo>
                      <a:pt x="13" y="152"/>
                      <a:pt x="13" y="152"/>
                      <a:pt x="13" y="152"/>
                    </a:cubicBezTo>
                    <a:cubicBezTo>
                      <a:pt x="14" y="152"/>
                      <a:pt x="15" y="152"/>
                      <a:pt x="17" y="152"/>
                    </a:cubicBezTo>
                    <a:cubicBezTo>
                      <a:pt x="19" y="152"/>
                      <a:pt x="19" y="152"/>
                      <a:pt x="19" y="152"/>
                    </a:cubicBezTo>
                    <a:cubicBezTo>
                      <a:pt x="21" y="151"/>
                      <a:pt x="22" y="151"/>
                      <a:pt x="23" y="151"/>
                    </a:cubicBezTo>
                    <a:cubicBezTo>
                      <a:pt x="23" y="151"/>
                      <a:pt x="23" y="151"/>
                      <a:pt x="23" y="151"/>
                    </a:cubicBezTo>
                    <a:cubicBezTo>
                      <a:pt x="23" y="150"/>
                      <a:pt x="22" y="148"/>
                      <a:pt x="22" y="146"/>
                    </a:cubicBezTo>
                    <a:cubicBezTo>
                      <a:pt x="21" y="144"/>
                      <a:pt x="22" y="143"/>
                      <a:pt x="23" y="140"/>
                    </a:cubicBezTo>
                    <a:cubicBezTo>
                      <a:pt x="23" y="139"/>
                      <a:pt x="23" y="138"/>
                      <a:pt x="24" y="137"/>
                    </a:cubicBezTo>
                    <a:cubicBezTo>
                      <a:pt x="25" y="134"/>
                      <a:pt x="26" y="130"/>
                      <a:pt x="28" y="128"/>
                    </a:cubicBezTo>
                    <a:cubicBezTo>
                      <a:pt x="30" y="127"/>
                      <a:pt x="30" y="127"/>
                      <a:pt x="30" y="127"/>
                    </a:cubicBezTo>
                    <a:cubicBezTo>
                      <a:pt x="30" y="127"/>
                      <a:pt x="31" y="126"/>
                      <a:pt x="32" y="126"/>
                    </a:cubicBezTo>
                    <a:cubicBezTo>
                      <a:pt x="34" y="125"/>
                      <a:pt x="37" y="125"/>
                      <a:pt x="40" y="124"/>
                    </a:cubicBezTo>
                    <a:cubicBezTo>
                      <a:pt x="41" y="124"/>
                      <a:pt x="41" y="124"/>
                      <a:pt x="41" y="124"/>
                    </a:cubicBezTo>
                    <a:cubicBezTo>
                      <a:pt x="42" y="124"/>
                      <a:pt x="43" y="124"/>
                      <a:pt x="44" y="124"/>
                    </a:cubicBezTo>
                    <a:cubicBezTo>
                      <a:pt x="47" y="123"/>
                      <a:pt x="47" y="122"/>
                      <a:pt x="48" y="121"/>
                    </a:cubicBezTo>
                    <a:cubicBezTo>
                      <a:pt x="48" y="120"/>
                      <a:pt x="49" y="119"/>
                      <a:pt x="49" y="119"/>
                    </a:cubicBezTo>
                    <a:cubicBezTo>
                      <a:pt x="50" y="116"/>
                      <a:pt x="51" y="112"/>
                      <a:pt x="55" y="111"/>
                    </a:cubicBezTo>
                    <a:cubicBezTo>
                      <a:pt x="55" y="111"/>
                      <a:pt x="56" y="111"/>
                      <a:pt x="56" y="111"/>
                    </a:cubicBezTo>
                    <a:cubicBezTo>
                      <a:pt x="57" y="111"/>
                      <a:pt x="58" y="111"/>
                      <a:pt x="58" y="112"/>
                    </a:cubicBezTo>
                    <a:cubicBezTo>
                      <a:pt x="59" y="112"/>
                      <a:pt x="60" y="112"/>
                      <a:pt x="60" y="112"/>
                    </a:cubicBezTo>
                    <a:cubicBezTo>
                      <a:pt x="61" y="112"/>
                      <a:pt x="61" y="112"/>
                      <a:pt x="61" y="112"/>
                    </a:cubicBezTo>
                    <a:cubicBezTo>
                      <a:pt x="62" y="109"/>
                      <a:pt x="64" y="107"/>
                      <a:pt x="66" y="105"/>
                    </a:cubicBezTo>
                    <a:cubicBezTo>
                      <a:pt x="67" y="104"/>
                      <a:pt x="68" y="103"/>
                      <a:pt x="69" y="103"/>
                    </a:cubicBezTo>
                    <a:cubicBezTo>
                      <a:pt x="71" y="100"/>
                      <a:pt x="71" y="100"/>
                      <a:pt x="71" y="100"/>
                    </a:cubicBezTo>
                    <a:cubicBezTo>
                      <a:pt x="74" y="102"/>
                      <a:pt x="74" y="102"/>
                      <a:pt x="74" y="102"/>
                    </a:cubicBezTo>
                    <a:cubicBezTo>
                      <a:pt x="74" y="103"/>
                      <a:pt x="75" y="103"/>
                      <a:pt x="75" y="104"/>
                    </a:cubicBezTo>
                    <a:cubicBezTo>
                      <a:pt x="77" y="105"/>
                      <a:pt x="77" y="105"/>
                      <a:pt x="77" y="105"/>
                    </a:cubicBezTo>
                    <a:cubicBezTo>
                      <a:pt x="78" y="107"/>
                      <a:pt x="80" y="109"/>
                      <a:pt x="81" y="110"/>
                    </a:cubicBezTo>
                    <a:cubicBezTo>
                      <a:pt x="82" y="110"/>
                      <a:pt x="82" y="110"/>
                      <a:pt x="82" y="110"/>
                    </a:cubicBezTo>
                    <a:cubicBezTo>
                      <a:pt x="82" y="110"/>
                      <a:pt x="83" y="110"/>
                      <a:pt x="83" y="110"/>
                    </a:cubicBezTo>
                    <a:cubicBezTo>
                      <a:pt x="84" y="110"/>
                      <a:pt x="84" y="110"/>
                      <a:pt x="85" y="110"/>
                    </a:cubicBezTo>
                    <a:cubicBezTo>
                      <a:pt x="87" y="110"/>
                      <a:pt x="88" y="111"/>
                      <a:pt x="89" y="113"/>
                    </a:cubicBezTo>
                    <a:cubicBezTo>
                      <a:pt x="92" y="116"/>
                      <a:pt x="92" y="116"/>
                      <a:pt x="92" y="116"/>
                    </a:cubicBezTo>
                    <a:cubicBezTo>
                      <a:pt x="92" y="116"/>
                      <a:pt x="92" y="117"/>
                      <a:pt x="93" y="117"/>
                    </a:cubicBezTo>
                    <a:cubicBezTo>
                      <a:pt x="93" y="117"/>
                      <a:pt x="93" y="117"/>
                      <a:pt x="93" y="117"/>
                    </a:cubicBezTo>
                    <a:cubicBezTo>
                      <a:pt x="94" y="118"/>
                      <a:pt x="94" y="118"/>
                      <a:pt x="94" y="118"/>
                    </a:cubicBezTo>
                    <a:cubicBezTo>
                      <a:pt x="96" y="118"/>
                      <a:pt x="99" y="118"/>
                      <a:pt x="101" y="118"/>
                    </a:cubicBezTo>
                    <a:cubicBezTo>
                      <a:pt x="102" y="118"/>
                      <a:pt x="102" y="118"/>
                      <a:pt x="102" y="118"/>
                    </a:cubicBezTo>
                    <a:cubicBezTo>
                      <a:pt x="106" y="118"/>
                      <a:pt x="110" y="121"/>
                      <a:pt x="114" y="122"/>
                    </a:cubicBezTo>
                    <a:cubicBezTo>
                      <a:pt x="120" y="126"/>
                      <a:pt x="120" y="126"/>
                      <a:pt x="120" y="126"/>
                    </a:cubicBezTo>
                    <a:cubicBezTo>
                      <a:pt x="114" y="129"/>
                      <a:pt x="114" y="129"/>
                      <a:pt x="114" y="129"/>
                    </a:cubicBezTo>
                    <a:cubicBezTo>
                      <a:pt x="114" y="129"/>
                      <a:pt x="115" y="131"/>
                      <a:pt x="114" y="132"/>
                    </a:cubicBezTo>
                    <a:cubicBezTo>
                      <a:pt x="117" y="133"/>
                      <a:pt x="119" y="135"/>
                      <a:pt x="121" y="137"/>
                    </a:cubicBezTo>
                    <a:cubicBezTo>
                      <a:pt x="124" y="140"/>
                      <a:pt x="124" y="140"/>
                      <a:pt x="124" y="140"/>
                    </a:cubicBezTo>
                    <a:cubicBezTo>
                      <a:pt x="120" y="142"/>
                      <a:pt x="120" y="142"/>
                      <a:pt x="120" y="142"/>
                    </a:cubicBezTo>
                    <a:cubicBezTo>
                      <a:pt x="119" y="143"/>
                      <a:pt x="119" y="143"/>
                      <a:pt x="118" y="143"/>
                    </a:cubicBezTo>
                    <a:cubicBezTo>
                      <a:pt x="118" y="144"/>
                      <a:pt x="118" y="145"/>
                      <a:pt x="118" y="146"/>
                    </a:cubicBezTo>
                    <a:cubicBezTo>
                      <a:pt x="118" y="147"/>
                      <a:pt x="118" y="147"/>
                      <a:pt x="118" y="147"/>
                    </a:cubicBezTo>
                    <a:cubicBezTo>
                      <a:pt x="118" y="148"/>
                      <a:pt x="118" y="148"/>
                      <a:pt x="117" y="149"/>
                    </a:cubicBezTo>
                    <a:cubicBezTo>
                      <a:pt x="117" y="149"/>
                      <a:pt x="117" y="149"/>
                      <a:pt x="117" y="149"/>
                    </a:cubicBezTo>
                    <a:cubicBezTo>
                      <a:pt x="117" y="150"/>
                      <a:pt x="117" y="150"/>
                      <a:pt x="117" y="150"/>
                    </a:cubicBezTo>
                    <a:cubicBezTo>
                      <a:pt x="119" y="151"/>
                      <a:pt x="119" y="151"/>
                      <a:pt x="119" y="151"/>
                    </a:cubicBezTo>
                    <a:cubicBezTo>
                      <a:pt x="119" y="152"/>
                      <a:pt x="120" y="152"/>
                      <a:pt x="120" y="152"/>
                    </a:cubicBezTo>
                    <a:cubicBezTo>
                      <a:pt x="121" y="153"/>
                      <a:pt x="121" y="153"/>
                      <a:pt x="121" y="153"/>
                    </a:cubicBezTo>
                    <a:cubicBezTo>
                      <a:pt x="123" y="154"/>
                      <a:pt x="124" y="154"/>
                      <a:pt x="125" y="154"/>
                    </a:cubicBezTo>
                    <a:cubicBezTo>
                      <a:pt x="125" y="154"/>
                      <a:pt x="126" y="154"/>
                      <a:pt x="127" y="154"/>
                    </a:cubicBezTo>
                    <a:cubicBezTo>
                      <a:pt x="127" y="154"/>
                      <a:pt x="128" y="154"/>
                      <a:pt x="129" y="154"/>
                    </a:cubicBezTo>
                    <a:cubicBezTo>
                      <a:pt x="130" y="154"/>
                      <a:pt x="130" y="154"/>
                      <a:pt x="131" y="154"/>
                    </a:cubicBezTo>
                    <a:cubicBezTo>
                      <a:pt x="134" y="154"/>
                      <a:pt x="137" y="155"/>
                      <a:pt x="140" y="155"/>
                    </a:cubicBezTo>
                    <a:cubicBezTo>
                      <a:pt x="141" y="156"/>
                      <a:pt x="142" y="156"/>
                      <a:pt x="144" y="156"/>
                    </a:cubicBezTo>
                    <a:cubicBezTo>
                      <a:pt x="146" y="157"/>
                      <a:pt x="146" y="157"/>
                      <a:pt x="146" y="157"/>
                    </a:cubicBezTo>
                    <a:cubicBezTo>
                      <a:pt x="146" y="157"/>
                      <a:pt x="147" y="156"/>
                      <a:pt x="147" y="156"/>
                    </a:cubicBezTo>
                    <a:cubicBezTo>
                      <a:pt x="147" y="155"/>
                      <a:pt x="148" y="155"/>
                      <a:pt x="148" y="154"/>
                    </a:cubicBezTo>
                    <a:cubicBezTo>
                      <a:pt x="149" y="153"/>
                      <a:pt x="150" y="153"/>
                      <a:pt x="151" y="152"/>
                    </a:cubicBezTo>
                    <a:cubicBezTo>
                      <a:pt x="152" y="152"/>
                      <a:pt x="152" y="152"/>
                      <a:pt x="153" y="152"/>
                    </a:cubicBezTo>
                    <a:cubicBezTo>
                      <a:pt x="156" y="152"/>
                      <a:pt x="159" y="154"/>
                      <a:pt x="162" y="157"/>
                    </a:cubicBezTo>
                    <a:cubicBezTo>
                      <a:pt x="167" y="161"/>
                      <a:pt x="170" y="169"/>
                      <a:pt x="173" y="175"/>
                    </a:cubicBezTo>
                    <a:cubicBezTo>
                      <a:pt x="174" y="176"/>
                      <a:pt x="174" y="176"/>
                      <a:pt x="174" y="176"/>
                    </a:cubicBezTo>
                    <a:cubicBezTo>
                      <a:pt x="174" y="178"/>
                      <a:pt x="175" y="179"/>
                      <a:pt x="175" y="180"/>
                    </a:cubicBezTo>
                    <a:cubicBezTo>
                      <a:pt x="176" y="181"/>
                      <a:pt x="176" y="182"/>
                      <a:pt x="177" y="183"/>
                    </a:cubicBezTo>
                    <a:cubicBezTo>
                      <a:pt x="179" y="184"/>
                      <a:pt x="181" y="186"/>
                      <a:pt x="182" y="189"/>
                    </a:cubicBezTo>
                    <a:cubicBezTo>
                      <a:pt x="182" y="189"/>
                      <a:pt x="182" y="189"/>
                      <a:pt x="182" y="190"/>
                    </a:cubicBezTo>
                    <a:cubicBezTo>
                      <a:pt x="182" y="191"/>
                      <a:pt x="183" y="192"/>
                      <a:pt x="183" y="193"/>
                    </a:cubicBezTo>
                    <a:cubicBezTo>
                      <a:pt x="183" y="193"/>
                      <a:pt x="183" y="193"/>
                      <a:pt x="183" y="193"/>
                    </a:cubicBezTo>
                    <a:cubicBezTo>
                      <a:pt x="183" y="195"/>
                      <a:pt x="184" y="196"/>
                      <a:pt x="184" y="198"/>
                    </a:cubicBezTo>
                    <a:cubicBezTo>
                      <a:pt x="185" y="199"/>
                      <a:pt x="185" y="199"/>
                      <a:pt x="185" y="199"/>
                    </a:cubicBezTo>
                    <a:cubicBezTo>
                      <a:pt x="186" y="200"/>
                      <a:pt x="188" y="201"/>
                      <a:pt x="190" y="202"/>
                    </a:cubicBezTo>
                    <a:cubicBezTo>
                      <a:pt x="191" y="203"/>
                      <a:pt x="192" y="203"/>
                      <a:pt x="193" y="204"/>
                    </a:cubicBezTo>
                    <a:cubicBezTo>
                      <a:pt x="197" y="207"/>
                      <a:pt x="197" y="207"/>
                      <a:pt x="197" y="207"/>
                    </a:cubicBezTo>
                    <a:cubicBezTo>
                      <a:pt x="199" y="209"/>
                      <a:pt x="201" y="210"/>
                      <a:pt x="202" y="211"/>
                    </a:cubicBezTo>
                    <a:cubicBezTo>
                      <a:pt x="206" y="214"/>
                      <a:pt x="211" y="218"/>
                      <a:pt x="216" y="220"/>
                    </a:cubicBezTo>
                    <a:cubicBezTo>
                      <a:pt x="217" y="221"/>
                      <a:pt x="218" y="222"/>
                      <a:pt x="220" y="222"/>
                    </a:cubicBezTo>
                    <a:cubicBezTo>
                      <a:pt x="223" y="224"/>
                      <a:pt x="223" y="224"/>
                      <a:pt x="223" y="224"/>
                    </a:cubicBezTo>
                    <a:cubicBezTo>
                      <a:pt x="228" y="226"/>
                      <a:pt x="235" y="229"/>
                      <a:pt x="239" y="234"/>
                    </a:cubicBezTo>
                    <a:cubicBezTo>
                      <a:pt x="242" y="237"/>
                      <a:pt x="246" y="239"/>
                      <a:pt x="250" y="241"/>
                    </a:cubicBezTo>
                    <a:cubicBezTo>
                      <a:pt x="253" y="243"/>
                      <a:pt x="253" y="243"/>
                      <a:pt x="253" y="243"/>
                    </a:cubicBezTo>
                    <a:cubicBezTo>
                      <a:pt x="254" y="243"/>
                      <a:pt x="256" y="244"/>
                      <a:pt x="257" y="245"/>
                    </a:cubicBezTo>
                    <a:cubicBezTo>
                      <a:pt x="259" y="246"/>
                      <a:pt x="261" y="248"/>
                      <a:pt x="264" y="249"/>
                    </a:cubicBezTo>
                    <a:cubicBezTo>
                      <a:pt x="265" y="250"/>
                      <a:pt x="265" y="250"/>
                      <a:pt x="265" y="250"/>
                    </a:cubicBezTo>
                    <a:cubicBezTo>
                      <a:pt x="266" y="251"/>
                      <a:pt x="266" y="251"/>
                      <a:pt x="267" y="252"/>
                    </a:cubicBezTo>
                    <a:cubicBezTo>
                      <a:pt x="268" y="253"/>
                      <a:pt x="268" y="253"/>
                      <a:pt x="268" y="253"/>
                    </a:cubicBezTo>
                    <a:cubicBezTo>
                      <a:pt x="271" y="254"/>
                      <a:pt x="272" y="255"/>
                      <a:pt x="273" y="255"/>
                    </a:cubicBezTo>
                    <a:cubicBezTo>
                      <a:pt x="273" y="255"/>
                      <a:pt x="273" y="255"/>
                      <a:pt x="274" y="255"/>
                    </a:cubicBezTo>
                    <a:cubicBezTo>
                      <a:pt x="274" y="255"/>
                      <a:pt x="274" y="255"/>
                      <a:pt x="274" y="255"/>
                    </a:cubicBezTo>
                    <a:cubicBezTo>
                      <a:pt x="276" y="254"/>
                      <a:pt x="276" y="254"/>
                      <a:pt x="276" y="254"/>
                    </a:cubicBezTo>
                    <a:cubicBezTo>
                      <a:pt x="277" y="254"/>
                      <a:pt x="278" y="253"/>
                      <a:pt x="279" y="253"/>
                    </a:cubicBezTo>
                    <a:cubicBezTo>
                      <a:pt x="282" y="253"/>
                      <a:pt x="285" y="255"/>
                      <a:pt x="288" y="257"/>
                    </a:cubicBezTo>
                    <a:cubicBezTo>
                      <a:pt x="289" y="257"/>
                      <a:pt x="289" y="257"/>
                      <a:pt x="289" y="257"/>
                    </a:cubicBezTo>
                    <a:cubicBezTo>
                      <a:pt x="291" y="258"/>
                      <a:pt x="292" y="259"/>
                      <a:pt x="294" y="260"/>
                    </a:cubicBezTo>
                    <a:cubicBezTo>
                      <a:pt x="301" y="263"/>
                      <a:pt x="301" y="263"/>
                      <a:pt x="301" y="263"/>
                    </a:cubicBezTo>
                    <a:cubicBezTo>
                      <a:pt x="304" y="265"/>
                      <a:pt x="303" y="267"/>
                      <a:pt x="303" y="268"/>
                    </a:cubicBezTo>
                    <a:cubicBezTo>
                      <a:pt x="303" y="269"/>
                      <a:pt x="303" y="269"/>
                      <a:pt x="303" y="270"/>
                    </a:cubicBezTo>
                    <a:cubicBezTo>
                      <a:pt x="303" y="270"/>
                      <a:pt x="303" y="271"/>
                      <a:pt x="303" y="272"/>
                    </a:cubicBezTo>
                    <a:cubicBezTo>
                      <a:pt x="303" y="273"/>
                      <a:pt x="303" y="273"/>
                      <a:pt x="303" y="273"/>
                    </a:cubicBezTo>
                    <a:cubicBezTo>
                      <a:pt x="302" y="274"/>
                      <a:pt x="302" y="275"/>
                      <a:pt x="302" y="276"/>
                    </a:cubicBezTo>
                    <a:cubicBezTo>
                      <a:pt x="301" y="282"/>
                      <a:pt x="301" y="282"/>
                      <a:pt x="301" y="282"/>
                    </a:cubicBezTo>
                    <a:cubicBezTo>
                      <a:pt x="301" y="282"/>
                      <a:pt x="301" y="283"/>
                      <a:pt x="301" y="284"/>
                    </a:cubicBezTo>
                    <a:cubicBezTo>
                      <a:pt x="305" y="284"/>
                      <a:pt x="305" y="284"/>
                      <a:pt x="305" y="284"/>
                    </a:cubicBezTo>
                    <a:cubicBezTo>
                      <a:pt x="306" y="284"/>
                      <a:pt x="308" y="284"/>
                      <a:pt x="309" y="284"/>
                    </a:cubicBezTo>
                    <a:cubicBezTo>
                      <a:pt x="312" y="284"/>
                      <a:pt x="314" y="285"/>
                      <a:pt x="316" y="288"/>
                    </a:cubicBezTo>
                    <a:cubicBezTo>
                      <a:pt x="317" y="288"/>
                      <a:pt x="317" y="288"/>
                      <a:pt x="317" y="288"/>
                    </a:cubicBezTo>
                    <a:cubicBezTo>
                      <a:pt x="318" y="289"/>
                      <a:pt x="318" y="289"/>
                      <a:pt x="318" y="289"/>
                    </a:cubicBezTo>
                    <a:cubicBezTo>
                      <a:pt x="318" y="289"/>
                      <a:pt x="318" y="289"/>
                      <a:pt x="318" y="289"/>
                    </a:cubicBezTo>
                    <a:cubicBezTo>
                      <a:pt x="318" y="289"/>
                      <a:pt x="318" y="289"/>
                      <a:pt x="318" y="289"/>
                    </a:cubicBezTo>
                    <a:cubicBezTo>
                      <a:pt x="319" y="289"/>
                      <a:pt x="319" y="289"/>
                      <a:pt x="319" y="289"/>
                    </a:cubicBezTo>
                    <a:cubicBezTo>
                      <a:pt x="320" y="289"/>
                      <a:pt x="321" y="290"/>
                      <a:pt x="322" y="290"/>
                    </a:cubicBezTo>
                    <a:cubicBezTo>
                      <a:pt x="323" y="290"/>
                      <a:pt x="324" y="289"/>
                      <a:pt x="324" y="289"/>
                    </a:cubicBezTo>
                    <a:cubicBezTo>
                      <a:pt x="326" y="289"/>
                      <a:pt x="327" y="289"/>
                      <a:pt x="328" y="289"/>
                    </a:cubicBezTo>
                    <a:cubicBezTo>
                      <a:pt x="328" y="287"/>
                      <a:pt x="328" y="287"/>
                      <a:pt x="328" y="287"/>
                    </a:cubicBezTo>
                    <a:cubicBezTo>
                      <a:pt x="329" y="288"/>
                      <a:pt x="329" y="288"/>
                      <a:pt x="329" y="288"/>
                    </a:cubicBezTo>
                    <a:cubicBezTo>
                      <a:pt x="330" y="287"/>
                      <a:pt x="330" y="287"/>
                      <a:pt x="330" y="287"/>
                    </a:cubicBezTo>
                    <a:cubicBezTo>
                      <a:pt x="330" y="286"/>
                      <a:pt x="330" y="286"/>
                      <a:pt x="330" y="286"/>
                    </a:cubicBezTo>
                    <a:cubicBezTo>
                      <a:pt x="330" y="286"/>
                      <a:pt x="330" y="285"/>
                      <a:pt x="330" y="285"/>
                    </a:cubicBezTo>
                    <a:cubicBezTo>
                      <a:pt x="330" y="284"/>
                      <a:pt x="330" y="283"/>
                      <a:pt x="330" y="283"/>
                    </a:cubicBezTo>
                    <a:cubicBezTo>
                      <a:pt x="330" y="282"/>
                      <a:pt x="330" y="282"/>
                      <a:pt x="330" y="282"/>
                    </a:cubicBezTo>
                    <a:cubicBezTo>
                      <a:pt x="330" y="282"/>
                      <a:pt x="330" y="281"/>
                      <a:pt x="331" y="281"/>
                    </a:cubicBezTo>
                    <a:cubicBezTo>
                      <a:pt x="332" y="279"/>
                      <a:pt x="333" y="278"/>
                      <a:pt x="334" y="276"/>
                    </a:cubicBezTo>
                    <a:cubicBezTo>
                      <a:pt x="335" y="274"/>
                      <a:pt x="335" y="274"/>
                      <a:pt x="335" y="274"/>
                    </a:cubicBezTo>
                    <a:cubicBezTo>
                      <a:pt x="336" y="274"/>
                      <a:pt x="336" y="273"/>
                      <a:pt x="336" y="273"/>
                    </a:cubicBezTo>
                    <a:cubicBezTo>
                      <a:pt x="337" y="272"/>
                      <a:pt x="337" y="272"/>
                      <a:pt x="337" y="272"/>
                    </a:cubicBezTo>
                    <a:cubicBezTo>
                      <a:pt x="344" y="263"/>
                      <a:pt x="345" y="261"/>
                      <a:pt x="345" y="260"/>
                    </a:cubicBezTo>
                    <a:cubicBezTo>
                      <a:pt x="345" y="260"/>
                      <a:pt x="345" y="260"/>
                      <a:pt x="345" y="260"/>
                    </a:cubicBezTo>
                    <a:cubicBezTo>
                      <a:pt x="344" y="259"/>
                      <a:pt x="344" y="259"/>
                      <a:pt x="343" y="258"/>
                    </a:cubicBezTo>
                    <a:cubicBezTo>
                      <a:pt x="343" y="258"/>
                      <a:pt x="342" y="257"/>
                      <a:pt x="342" y="257"/>
                    </a:cubicBezTo>
                    <a:cubicBezTo>
                      <a:pt x="341" y="256"/>
                      <a:pt x="341" y="256"/>
                      <a:pt x="341" y="256"/>
                    </a:cubicBezTo>
                    <a:cubicBezTo>
                      <a:pt x="341" y="256"/>
                      <a:pt x="340" y="255"/>
                      <a:pt x="340" y="255"/>
                    </a:cubicBezTo>
                    <a:cubicBezTo>
                      <a:pt x="339" y="254"/>
                      <a:pt x="338" y="252"/>
                      <a:pt x="338" y="250"/>
                    </a:cubicBezTo>
                    <a:cubicBezTo>
                      <a:pt x="338" y="250"/>
                      <a:pt x="338" y="249"/>
                      <a:pt x="338" y="248"/>
                    </a:cubicBezTo>
                    <a:cubicBezTo>
                      <a:pt x="339" y="244"/>
                      <a:pt x="339" y="244"/>
                      <a:pt x="339" y="244"/>
                    </a:cubicBezTo>
                    <a:cubicBezTo>
                      <a:pt x="340" y="239"/>
                      <a:pt x="340" y="238"/>
                      <a:pt x="340" y="238"/>
                    </a:cubicBezTo>
                    <a:cubicBezTo>
                      <a:pt x="339" y="237"/>
                      <a:pt x="336" y="236"/>
                      <a:pt x="334" y="236"/>
                    </a:cubicBezTo>
                    <a:cubicBezTo>
                      <a:pt x="329" y="236"/>
                      <a:pt x="327" y="236"/>
                      <a:pt x="323" y="232"/>
                    </a:cubicBezTo>
                    <a:cubicBezTo>
                      <a:pt x="322" y="231"/>
                      <a:pt x="322" y="231"/>
                      <a:pt x="322" y="231"/>
                    </a:cubicBezTo>
                    <a:cubicBezTo>
                      <a:pt x="321" y="230"/>
                      <a:pt x="321" y="230"/>
                      <a:pt x="321" y="230"/>
                    </a:cubicBezTo>
                    <a:cubicBezTo>
                      <a:pt x="320" y="229"/>
                      <a:pt x="320" y="228"/>
                      <a:pt x="319" y="228"/>
                    </a:cubicBezTo>
                    <a:cubicBezTo>
                      <a:pt x="318" y="226"/>
                      <a:pt x="317" y="224"/>
                      <a:pt x="317" y="222"/>
                    </a:cubicBezTo>
                    <a:cubicBezTo>
                      <a:pt x="317" y="221"/>
                      <a:pt x="317" y="221"/>
                      <a:pt x="317" y="221"/>
                    </a:cubicBezTo>
                    <a:cubicBezTo>
                      <a:pt x="318" y="217"/>
                      <a:pt x="319" y="215"/>
                      <a:pt x="323" y="212"/>
                    </a:cubicBezTo>
                    <a:cubicBezTo>
                      <a:pt x="324" y="212"/>
                      <a:pt x="324" y="212"/>
                      <a:pt x="324" y="212"/>
                    </a:cubicBezTo>
                    <a:cubicBezTo>
                      <a:pt x="325" y="211"/>
                      <a:pt x="326" y="210"/>
                      <a:pt x="328" y="209"/>
                    </a:cubicBezTo>
                    <a:cubicBezTo>
                      <a:pt x="328" y="209"/>
                      <a:pt x="328" y="209"/>
                      <a:pt x="328" y="209"/>
                    </a:cubicBezTo>
                    <a:cubicBezTo>
                      <a:pt x="329" y="209"/>
                      <a:pt x="330" y="209"/>
                      <a:pt x="331" y="209"/>
                    </a:cubicBezTo>
                    <a:cubicBezTo>
                      <a:pt x="332" y="209"/>
                      <a:pt x="333" y="209"/>
                      <a:pt x="334" y="209"/>
                    </a:cubicBezTo>
                    <a:cubicBezTo>
                      <a:pt x="337" y="210"/>
                      <a:pt x="341" y="210"/>
                      <a:pt x="344" y="211"/>
                    </a:cubicBezTo>
                    <a:cubicBezTo>
                      <a:pt x="345" y="211"/>
                      <a:pt x="347" y="211"/>
                      <a:pt x="348" y="211"/>
                    </a:cubicBezTo>
                    <a:cubicBezTo>
                      <a:pt x="348" y="211"/>
                      <a:pt x="349" y="211"/>
                      <a:pt x="349" y="211"/>
                    </a:cubicBezTo>
                    <a:cubicBezTo>
                      <a:pt x="350" y="211"/>
                      <a:pt x="350" y="211"/>
                      <a:pt x="350" y="211"/>
                    </a:cubicBezTo>
                    <a:cubicBezTo>
                      <a:pt x="350" y="211"/>
                      <a:pt x="350" y="211"/>
                      <a:pt x="350" y="211"/>
                    </a:cubicBezTo>
                    <a:cubicBezTo>
                      <a:pt x="351" y="210"/>
                      <a:pt x="351" y="209"/>
                      <a:pt x="352" y="206"/>
                    </a:cubicBezTo>
                    <a:cubicBezTo>
                      <a:pt x="352" y="205"/>
                      <a:pt x="352" y="205"/>
                      <a:pt x="352" y="205"/>
                    </a:cubicBezTo>
                    <a:cubicBezTo>
                      <a:pt x="353" y="203"/>
                      <a:pt x="354" y="201"/>
                      <a:pt x="356" y="200"/>
                    </a:cubicBezTo>
                    <a:cubicBezTo>
                      <a:pt x="356" y="199"/>
                      <a:pt x="356" y="199"/>
                      <a:pt x="357" y="198"/>
                    </a:cubicBezTo>
                    <a:cubicBezTo>
                      <a:pt x="355" y="198"/>
                      <a:pt x="354" y="197"/>
                      <a:pt x="353" y="195"/>
                    </a:cubicBezTo>
                    <a:cubicBezTo>
                      <a:pt x="351" y="191"/>
                      <a:pt x="351" y="191"/>
                      <a:pt x="351" y="191"/>
                    </a:cubicBezTo>
                    <a:cubicBezTo>
                      <a:pt x="366" y="189"/>
                      <a:pt x="366" y="189"/>
                      <a:pt x="366" y="189"/>
                    </a:cubicBezTo>
                    <a:cubicBezTo>
                      <a:pt x="367" y="189"/>
                      <a:pt x="367" y="189"/>
                      <a:pt x="367" y="189"/>
                    </a:cubicBezTo>
                    <a:cubicBezTo>
                      <a:pt x="368" y="189"/>
                      <a:pt x="369" y="189"/>
                      <a:pt x="370" y="189"/>
                    </a:cubicBezTo>
                    <a:cubicBezTo>
                      <a:pt x="369" y="186"/>
                      <a:pt x="369" y="182"/>
                      <a:pt x="369" y="180"/>
                    </a:cubicBezTo>
                    <a:cubicBezTo>
                      <a:pt x="370" y="178"/>
                      <a:pt x="371" y="176"/>
                      <a:pt x="372" y="174"/>
                    </a:cubicBezTo>
                    <a:cubicBezTo>
                      <a:pt x="372" y="173"/>
                      <a:pt x="372" y="173"/>
                      <a:pt x="372" y="173"/>
                    </a:cubicBezTo>
                    <a:cubicBezTo>
                      <a:pt x="373" y="172"/>
                      <a:pt x="373" y="172"/>
                      <a:pt x="373" y="172"/>
                    </a:cubicBezTo>
                    <a:cubicBezTo>
                      <a:pt x="374" y="171"/>
                      <a:pt x="374" y="171"/>
                      <a:pt x="374" y="171"/>
                    </a:cubicBezTo>
                    <a:cubicBezTo>
                      <a:pt x="376" y="170"/>
                      <a:pt x="376" y="170"/>
                      <a:pt x="376" y="170"/>
                    </a:cubicBezTo>
                    <a:cubicBezTo>
                      <a:pt x="376" y="170"/>
                      <a:pt x="376" y="170"/>
                      <a:pt x="376" y="170"/>
                    </a:cubicBezTo>
                    <a:cubicBezTo>
                      <a:pt x="377" y="170"/>
                      <a:pt x="377" y="170"/>
                      <a:pt x="378" y="171"/>
                    </a:cubicBezTo>
                    <a:cubicBezTo>
                      <a:pt x="378" y="171"/>
                      <a:pt x="378" y="171"/>
                      <a:pt x="378" y="171"/>
                    </a:cubicBezTo>
                    <a:cubicBezTo>
                      <a:pt x="379" y="171"/>
                      <a:pt x="380" y="171"/>
                      <a:pt x="380" y="171"/>
                    </a:cubicBezTo>
                    <a:cubicBezTo>
                      <a:pt x="381" y="172"/>
                      <a:pt x="381" y="172"/>
                      <a:pt x="381" y="172"/>
                    </a:cubicBezTo>
                    <a:cubicBezTo>
                      <a:pt x="382" y="172"/>
                      <a:pt x="382" y="172"/>
                      <a:pt x="382" y="172"/>
                    </a:cubicBezTo>
                    <a:cubicBezTo>
                      <a:pt x="383" y="172"/>
                      <a:pt x="383" y="173"/>
                      <a:pt x="384" y="173"/>
                    </a:cubicBezTo>
                    <a:cubicBezTo>
                      <a:pt x="385" y="174"/>
                      <a:pt x="385" y="174"/>
                      <a:pt x="385" y="174"/>
                    </a:cubicBezTo>
                    <a:cubicBezTo>
                      <a:pt x="386" y="174"/>
                      <a:pt x="386" y="174"/>
                      <a:pt x="386" y="174"/>
                    </a:cubicBezTo>
                    <a:cubicBezTo>
                      <a:pt x="386" y="174"/>
                      <a:pt x="386" y="174"/>
                      <a:pt x="386" y="174"/>
                    </a:cubicBezTo>
                    <a:cubicBezTo>
                      <a:pt x="387" y="174"/>
                      <a:pt x="387" y="174"/>
                      <a:pt x="387" y="174"/>
                    </a:cubicBezTo>
                    <a:cubicBezTo>
                      <a:pt x="387" y="174"/>
                      <a:pt x="388" y="174"/>
                      <a:pt x="388" y="173"/>
                    </a:cubicBezTo>
                    <a:cubicBezTo>
                      <a:pt x="390" y="172"/>
                      <a:pt x="391" y="172"/>
                      <a:pt x="393" y="171"/>
                    </a:cubicBezTo>
                    <a:cubicBezTo>
                      <a:pt x="393" y="171"/>
                      <a:pt x="393" y="171"/>
                      <a:pt x="393" y="171"/>
                    </a:cubicBezTo>
                    <a:cubicBezTo>
                      <a:pt x="394" y="170"/>
                      <a:pt x="394" y="170"/>
                      <a:pt x="394" y="170"/>
                    </a:cubicBezTo>
                    <a:cubicBezTo>
                      <a:pt x="395" y="170"/>
                      <a:pt x="397" y="168"/>
                      <a:pt x="398" y="168"/>
                    </a:cubicBezTo>
                    <a:cubicBezTo>
                      <a:pt x="399" y="167"/>
                      <a:pt x="399" y="167"/>
                      <a:pt x="399" y="167"/>
                    </a:cubicBezTo>
                    <a:cubicBezTo>
                      <a:pt x="400" y="166"/>
                      <a:pt x="400" y="166"/>
                      <a:pt x="401" y="165"/>
                    </a:cubicBezTo>
                    <a:cubicBezTo>
                      <a:pt x="402" y="165"/>
                      <a:pt x="402" y="164"/>
                      <a:pt x="403" y="164"/>
                    </a:cubicBezTo>
                    <a:cubicBezTo>
                      <a:pt x="403" y="163"/>
                      <a:pt x="404" y="163"/>
                      <a:pt x="405" y="162"/>
                    </a:cubicBezTo>
                    <a:cubicBezTo>
                      <a:pt x="406" y="162"/>
                      <a:pt x="406" y="162"/>
                      <a:pt x="406" y="162"/>
                    </a:cubicBezTo>
                    <a:cubicBezTo>
                      <a:pt x="408" y="160"/>
                      <a:pt x="408" y="160"/>
                      <a:pt x="408" y="160"/>
                    </a:cubicBezTo>
                    <a:cubicBezTo>
                      <a:pt x="422" y="176"/>
                      <a:pt x="422" y="176"/>
                      <a:pt x="422" y="176"/>
                    </a:cubicBezTo>
                    <a:cubicBezTo>
                      <a:pt x="419" y="178"/>
                      <a:pt x="419" y="178"/>
                      <a:pt x="419" y="178"/>
                    </a:cubicBezTo>
                    <a:cubicBezTo>
                      <a:pt x="417" y="180"/>
                      <a:pt x="414" y="182"/>
                      <a:pt x="411" y="185"/>
                    </a:cubicBezTo>
                    <a:cubicBezTo>
                      <a:pt x="412" y="186"/>
                      <a:pt x="414" y="187"/>
                      <a:pt x="415" y="188"/>
                    </a:cubicBezTo>
                    <a:cubicBezTo>
                      <a:pt x="416" y="188"/>
                      <a:pt x="417" y="188"/>
                      <a:pt x="418" y="188"/>
                    </a:cubicBezTo>
                    <a:cubicBezTo>
                      <a:pt x="419" y="188"/>
                      <a:pt x="419" y="188"/>
                      <a:pt x="419" y="188"/>
                    </a:cubicBezTo>
                    <a:cubicBezTo>
                      <a:pt x="419" y="188"/>
                      <a:pt x="420" y="188"/>
                      <a:pt x="420" y="188"/>
                    </a:cubicBezTo>
                    <a:cubicBezTo>
                      <a:pt x="422" y="187"/>
                      <a:pt x="422" y="187"/>
                      <a:pt x="422" y="187"/>
                    </a:cubicBezTo>
                    <a:cubicBezTo>
                      <a:pt x="423" y="187"/>
                      <a:pt x="423" y="187"/>
                      <a:pt x="423" y="187"/>
                    </a:cubicBezTo>
                    <a:cubicBezTo>
                      <a:pt x="423" y="187"/>
                      <a:pt x="424" y="187"/>
                      <a:pt x="425" y="187"/>
                    </a:cubicBezTo>
                    <a:cubicBezTo>
                      <a:pt x="425" y="187"/>
                      <a:pt x="425" y="187"/>
                      <a:pt x="425" y="187"/>
                    </a:cubicBezTo>
                    <a:cubicBezTo>
                      <a:pt x="427" y="186"/>
                      <a:pt x="429" y="186"/>
                      <a:pt x="431" y="186"/>
                    </a:cubicBezTo>
                    <a:cubicBezTo>
                      <a:pt x="433" y="186"/>
                      <a:pt x="433" y="186"/>
                      <a:pt x="433" y="186"/>
                    </a:cubicBezTo>
                    <a:cubicBezTo>
                      <a:pt x="434" y="186"/>
                      <a:pt x="435" y="186"/>
                      <a:pt x="435" y="186"/>
                    </a:cubicBezTo>
                    <a:cubicBezTo>
                      <a:pt x="436" y="187"/>
                      <a:pt x="437" y="187"/>
                      <a:pt x="439" y="188"/>
                    </a:cubicBezTo>
                    <a:cubicBezTo>
                      <a:pt x="440" y="188"/>
                      <a:pt x="441" y="189"/>
                      <a:pt x="442" y="190"/>
                    </a:cubicBezTo>
                    <a:cubicBezTo>
                      <a:pt x="443" y="190"/>
                      <a:pt x="443" y="190"/>
                      <a:pt x="444" y="190"/>
                    </a:cubicBezTo>
                    <a:cubicBezTo>
                      <a:pt x="445" y="190"/>
                      <a:pt x="446" y="190"/>
                      <a:pt x="448" y="189"/>
                    </a:cubicBezTo>
                    <a:cubicBezTo>
                      <a:pt x="448" y="189"/>
                      <a:pt x="448" y="189"/>
                      <a:pt x="448" y="189"/>
                    </a:cubicBezTo>
                    <a:cubicBezTo>
                      <a:pt x="449" y="189"/>
                      <a:pt x="449" y="189"/>
                      <a:pt x="449" y="189"/>
                    </a:cubicBezTo>
                    <a:cubicBezTo>
                      <a:pt x="449" y="188"/>
                      <a:pt x="450" y="188"/>
                      <a:pt x="450" y="188"/>
                    </a:cubicBezTo>
                    <a:cubicBezTo>
                      <a:pt x="450" y="187"/>
                      <a:pt x="450" y="186"/>
                      <a:pt x="450" y="186"/>
                    </a:cubicBezTo>
                    <a:cubicBezTo>
                      <a:pt x="451" y="184"/>
                      <a:pt x="452" y="183"/>
                      <a:pt x="453" y="183"/>
                    </a:cubicBezTo>
                    <a:cubicBezTo>
                      <a:pt x="453" y="182"/>
                      <a:pt x="454" y="182"/>
                      <a:pt x="454" y="182"/>
                    </a:cubicBezTo>
                    <a:cubicBezTo>
                      <a:pt x="455" y="182"/>
                      <a:pt x="455" y="182"/>
                      <a:pt x="455" y="182"/>
                    </a:cubicBezTo>
                    <a:cubicBezTo>
                      <a:pt x="456" y="181"/>
                      <a:pt x="456" y="181"/>
                      <a:pt x="456" y="181"/>
                    </a:cubicBezTo>
                    <a:cubicBezTo>
                      <a:pt x="456" y="183"/>
                      <a:pt x="456" y="183"/>
                      <a:pt x="456" y="183"/>
                    </a:cubicBezTo>
                    <a:cubicBezTo>
                      <a:pt x="456" y="181"/>
                      <a:pt x="456" y="181"/>
                      <a:pt x="456" y="181"/>
                    </a:cubicBezTo>
                    <a:cubicBezTo>
                      <a:pt x="456" y="181"/>
                      <a:pt x="457" y="181"/>
                      <a:pt x="457" y="181"/>
                    </a:cubicBezTo>
                    <a:cubicBezTo>
                      <a:pt x="457" y="181"/>
                      <a:pt x="457" y="181"/>
                      <a:pt x="457" y="181"/>
                    </a:cubicBezTo>
                    <a:cubicBezTo>
                      <a:pt x="458" y="181"/>
                      <a:pt x="458" y="181"/>
                      <a:pt x="459" y="181"/>
                    </a:cubicBezTo>
                    <a:cubicBezTo>
                      <a:pt x="459" y="180"/>
                      <a:pt x="459" y="180"/>
                      <a:pt x="459" y="180"/>
                    </a:cubicBezTo>
                    <a:cubicBezTo>
                      <a:pt x="459" y="180"/>
                      <a:pt x="459" y="180"/>
                      <a:pt x="459" y="180"/>
                    </a:cubicBezTo>
                    <a:cubicBezTo>
                      <a:pt x="459" y="178"/>
                      <a:pt x="460" y="177"/>
                      <a:pt x="461" y="176"/>
                    </a:cubicBezTo>
                    <a:cubicBezTo>
                      <a:pt x="462" y="176"/>
                      <a:pt x="462" y="176"/>
                      <a:pt x="462" y="176"/>
                    </a:cubicBezTo>
                    <a:cubicBezTo>
                      <a:pt x="463" y="176"/>
                      <a:pt x="463" y="176"/>
                      <a:pt x="463" y="176"/>
                    </a:cubicBezTo>
                    <a:cubicBezTo>
                      <a:pt x="464" y="176"/>
                      <a:pt x="465" y="176"/>
                      <a:pt x="466" y="176"/>
                    </a:cubicBezTo>
                    <a:cubicBezTo>
                      <a:pt x="466" y="176"/>
                      <a:pt x="466" y="176"/>
                      <a:pt x="466" y="176"/>
                    </a:cubicBezTo>
                    <a:cubicBezTo>
                      <a:pt x="467" y="177"/>
                      <a:pt x="468" y="177"/>
                      <a:pt x="468" y="178"/>
                    </a:cubicBezTo>
                    <a:cubicBezTo>
                      <a:pt x="469" y="178"/>
                      <a:pt x="469" y="178"/>
                      <a:pt x="469" y="179"/>
                    </a:cubicBezTo>
                    <a:cubicBezTo>
                      <a:pt x="470" y="178"/>
                      <a:pt x="470" y="178"/>
                      <a:pt x="470" y="178"/>
                    </a:cubicBezTo>
                    <a:cubicBezTo>
                      <a:pt x="470" y="177"/>
                      <a:pt x="470" y="177"/>
                      <a:pt x="470" y="177"/>
                    </a:cubicBezTo>
                    <a:cubicBezTo>
                      <a:pt x="471" y="177"/>
                      <a:pt x="471" y="176"/>
                      <a:pt x="471" y="176"/>
                    </a:cubicBezTo>
                    <a:cubicBezTo>
                      <a:pt x="473" y="174"/>
                      <a:pt x="473" y="174"/>
                      <a:pt x="473" y="174"/>
                    </a:cubicBezTo>
                    <a:cubicBezTo>
                      <a:pt x="473" y="174"/>
                      <a:pt x="473" y="174"/>
                      <a:pt x="473" y="174"/>
                    </a:cubicBezTo>
                    <a:cubicBezTo>
                      <a:pt x="471" y="174"/>
                      <a:pt x="469" y="173"/>
                      <a:pt x="467" y="173"/>
                    </a:cubicBezTo>
                    <a:cubicBezTo>
                      <a:pt x="467" y="172"/>
                      <a:pt x="467" y="172"/>
                      <a:pt x="467" y="172"/>
                    </a:cubicBezTo>
                    <a:cubicBezTo>
                      <a:pt x="466" y="171"/>
                      <a:pt x="466" y="171"/>
                      <a:pt x="466" y="171"/>
                    </a:cubicBezTo>
                    <a:cubicBezTo>
                      <a:pt x="466" y="171"/>
                      <a:pt x="465" y="170"/>
                      <a:pt x="465" y="170"/>
                    </a:cubicBezTo>
                    <a:cubicBezTo>
                      <a:pt x="465" y="170"/>
                      <a:pt x="465" y="170"/>
                      <a:pt x="464" y="170"/>
                    </a:cubicBezTo>
                    <a:cubicBezTo>
                      <a:pt x="463" y="169"/>
                      <a:pt x="463" y="169"/>
                      <a:pt x="463" y="169"/>
                    </a:cubicBezTo>
                    <a:cubicBezTo>
                      <a:pt x="462" y="173"/>
                      <a:pt x="462" y="173"/>
                      <a:pt x="462" y="173"/>
                    </a:cubicBezTo>
                    <a:cubicBezTo>
                      <a:pt x="462" y="169"/>
                      <a:pt x="462" y="169"/>
                      <a:pt x="462" y="169"/>
                    </a:cubicBezTo>
                    <a:cubicBezTo>
                      <a:pt x="461" y="169"/>
                      <a:pt x="461" y="169"/>
                      <a:pt x="461" y="169"/>
                    </a:cubicBezTo>
                    <a:cubicBezTo>
                      <a:pt x="461" y="169"/>
                      <a:pt x="460" y="169"/>
                      <a:pt x="460" y="169"/>
                    </a:cubicBezTo>
                    <a:cubicBezTo>
                      <a:pt x="460" y="169"/>
                      <a:pt x="460" y="169"/>
                      <a:pt x="460" y="169"/>
                    </a:cubicBezTo>
                    <a:cubicBezTo>
                      <a:pt x="459" y="169"/>
                      <a:pt x="459" y="169"/>
                      <a:pt x="458" y="169"/>
                    </a:cubicBezTo>
                    <a:cubicBezTo>
                      <a:pt x="454" y="171"/>
                      <a:pt x="454" y="171"/>
                      <a:pt x="454" y="171"/>
                    </a:cubicBezTo>
                    <a:cubicBezTo>
                      <a:pt x="454" y="166"/>
                      <a:pt x="454" y="166"/>
                      <a:pt x="454" y="166"/>
                    </a:cubicBezTo>
                    <a:cubicBezTo>
                      <a:pt x="454" y="166"/>
                      <a:pt x="453" y="165"/>
                      <a:pt x="453" y="164"/>
                    </a:cubicBezTo>
                    <a:cubicBezTo>
                      <a:pt x="453" y="164"/>
                      <a:pt x="453" y="163"/>
                      <a:pt x="453" y="163"/>
                    </a:cubicBezTo>
                    <a:cubicBezTo>
                      <a:pt x="453" y="163"/>
                      <a:pt x="453" y="163"/>
                      <a:pt x="453" y="163"/>
                    </a:cubicBezTo>
                    <a:cubicBezTo>
                      <a:pt x="452" y="163"/>
                      <a:pt x="452" y="163"/>
                      <a:pt x="452" y="163"/>
                    </a:cubicBezTo>
                    <a:cubicBezTo>
                      <a:pt x="451" y="163"/>
                      <a:pt x="451" y="163"/>
                      <a:pt x="451" y="163"/>
                    </a:cubicBezTo>
                    <a:cubicBezTo>
                      <a:pt x="450" y="163"/>
                      <a:pt x="448" y="162"/>
                      <a:pt x="448" y="161"/>
                    </a:cubicBezTo>
                    <a:cubicBezTo>
                      <a:pt x="447" y="160"/>
                      <a:pt x="447" y="159"/>
                      <a:pt x="446" y="158"/>
                    </a:cubicBezTo>
                    <a:cubicBezTo>
                      <a:pt x="445" y="157"/>
                      <a:pt x="445" y="156"/>
                      <a:pt x="444" y="155"/>
                    </a:cubicBezTo>
                    <a:cubicBezTo>
                      <a:pt x="444" y="158"/>
                      <a:pt x="444" y="158"/>
                      <a:pt x="444" y="158"/>
                    </a:cubicBezTo>
                    <a:cubicBezTo>
                      <a:pt x="440" y="158"/>
                      <a:pt x="440" y="158"/>
                      <a:pt x="440" y="158"/>
                    </a:cubicBezTo>
                    <a:cubicBezTo>
                      <a:pt x="440" y="158"/>
                      <a:pt x="440" y="158"/>
                      <a:pt x="440" y="158"/>
                    </a:cubicBezTo>
                    <a:cubicBezTo>
                      <a:pt x="440" y="158"/>
                      <a:pt x="440" y="158"/>
                      <a:pt x="440" y="158"/>
                    </a:cubicBezTo>
                    <a:cubicBezTo>
                      <a:pt x="440" y="158"/>
                      <a:pt x="439" y="158"/>
                      <a:pt x="439" y="158"/>
                    </a:cubicBezTo>
                    <a:cubicBezTo>
                      <a:pt x="439" y="159"/>
                      <a:pt x="439" y="159"/>
                      <a:pt x="439" y="159"/>
                    </a:cubicBezTo>
                    <a:cubicBezTo>
                      <a:pt x="439" y="160"/>
                      <a:pt x="439" y="161"/>
                      <a:pt x="439" y="162"/>
                    </a:cubicBezTo>
                    <a:cubicBezTo>
                      <a:pt x="439" y="165"/>
                      <a:pt x="439" y="165"/>
                      <a:pt x="439" y="165"/>
                    </a:cubicBezTo>
                    <a:cubicBezTo>
                      <a:pt x="435" y="165"/>
                      <a:pt x="435" y="165"/>
                      <a:pt x="435" y="165"/>
                    </a:cubicBezTo>
                    <a:cubicBezTo>
                      <a:pt x="434" y="165"/>
                      <a:pt x="434" y="165"/>
                      <a:pt x="433" y="165"/>
                    </a:cubicBezTo>
                    <a:cubicBezTo>
                      <a:pt x="433" y="165"/>
                      <a:pt x="432" y="165"/>
                      <a:pt x="432" y="164"/>
                    </a:cubicBezTo>
                    <a:cubicBezTo>
                      <a:pt x="430" y="164"/>
                      <a:pt x="430" y="164"/>
                      <a:pt x="430" y="164"/>
                    </a:cubicBezTo>
                    <a:cubicBezTo>
                      <a:pt x="430" y="164"/>
                      <a:pt x="429" y="164"/>
                      <a:pt x="428" y="164"/>
                    </a:cubicBezTo>
                    <a:cubicBezTo>
                      <a:pt x="425" y="163"/>
                      <a:pt x="421" y="163"/>
                      <a:pt x="418" y="161"/>
                    </a:cubicBezTo>
                    <a:cubicBezTo>
                      <a:pt x="414" y="159"/>
                      <a:pt x="413" y="157"/>
                      <a:pt x="412" y="155"/>
                    </a:cubicBezTo>
                    <a:cubicBezTo>
                      <a:pt x="412" y="154"/>
                      <a:pt x="412" y="154"/>
                      <a:pt x="412" y="154"/>
                    </a:cubicBezTo>
                    <a:cubicBezTo>
                      <a:pt x="410" y="155"/>
                      <a:pt x="410" y="155"/>
                      <a:pt x="410" y="155"/>
                    </a:cubicBezTo>
                    <a:cubicBezTo>
                      <a:pt x="410" y="155"/>
                      <a:pt x="409" y="155"/>
                      <a:pt x="408" y="155"/>
                    </a:cubicBezTo>
                    <a:cubicBezTo>
                      <a:pt x="407" y="155"/>
                      <a:pt x="406" y="155"/>
                      <a:pt x="404" y="153"/>
                    </a:cubicBezTo>
                    <a:cubicBezTo>
                      <a:pt x="404" y="153"/>
                      <a:pt x="404" y="153"/>
                      <a:pt x="404" y="153"/>
                    </a:cubicBezTo>
                    <a:cubicBezTo>
                      <a:pt x="403" y="152"/>
                      <a:pt x="403" y="152"/>
                      <a:pt x="403" y="152"/>
                    </a:cubicBezTo>
                    <a:cubicBezTo>
                      <a:pt x="403" y="152"/>
                      <a:pt x="403" y="152"/>
                      <a:pt x="403" y="152"/>
                    </a:cubicBezTo>
                    <a:cubicBezTo>
                      <a:pt x="402" y="152"/>
                      <a:pt x="402" y="152"/>
                      <a:pt x="402" y="152"/>
                    </a:cubicBezTo>
                    <a:cubicBezTo>
                      <a:pt x="401" y="152"/>
                      <a:pt x="400" y="152"/>
                      <a:pt x="399" y="152"/>
                    </a:cubicBezTo>
                    <a:cubicBezTo>
                      <a:pt x="399" y="151"/>
                      <a:pt x="399" y="151"/>
                      <a:pt x="399" y="151"/>
                    </a:cubicBezTo>
                    <a:cubicBezTo>
                      <a:pt x="398" y="151"/>
                      <a:pt x="397" y="150"/>
                      <a:pt x="397" y="150"/>
                    </a:cubicBezTo>
                    <a:cubicBezTo>
                      <a:pt x="395" y="146"/>
                      <a:pt x="398" y="143"/>
                      <a:pt x="401" y="141"/>
                    </a:cubicBezTo>
                    <a:cubicBezTo>
                      <a:pt x="403" y="139"/>
                      <a:pt x="407" y="136"/>
                      <a:pt x="411" y="133"/>
                    </a:cubicBezTo>
                    <a:cubicBezTo>
                      <a:pt x="395" y="142"/>
                      <a:pt x="395" y="142"/>
                      <a:pt x="395" y="142"/>
                    </a:cubicBezTo>
                    <a:cubicBezTo>
                      <a:pt x="391" y="144"/>
                      <a:pt x="388" y="147"/>
                      <a:pt x="384" y="150"/>
                    </a:cubicBezTo>
                    <a:cubicBezTo>
                      <a:pt x="383" y="151"/>
                      <a:pt x="383" y="151"/>
                      <a:pt x="383" y="151"/>
                    </a:cubicBezTo>
                    <a:cubicBezTo>
                      <a:pt x="381" y="152"/>
                      <a:pt x="379" y="153"/>
                      <a:pt x="377" y="155"/>
                    </a:cubicBezTo>
                    <a:cubicBezTo>
                      <a:pt x="381" y="161"/>
                      <a:pt x="381" y="161"/>
                      <a:pt x="381" y="161"/>
                    </a:cubicBezTo>
                    <a:cubicBezTo>
                      <a:pt x="375" y="156"/>
                      <a:pt x="375" y="156"/>
                      <a:pt x="375" y="156"/>
                    </a:cubicBezTo>
                    <a:cubicBezTo>
                      <a:pt x="375" y="156"/>
                      <a:pt x="375" y="156"/>
                      <a:pt x="375" y="156"/>
                    </a:cubicBezTo>
                    <a:cubicBezTo>
                      <a:pt x="373" y="157"/>
                      <a:pt x="372" y="158"/>
                      <a:pt x="371" y="160"/>
                    </a:cubicBezTo>
                    <a:cubicBezTo>
                      <a:pt x="370" y="161"/>
                      <a:pt x="370" y="162"/>
                      <a:pt x="368" y="163"/>
                    </a:cubicBezTo>
                    <a:cubicBezTo>
                      <a:pt x="365" y="165"/>
                      <a:pt x="365" y="165"/>
                      <a:pt x="365" y="165"/>
                    </a:cubicBezTo>
                    <a:cubicBezTo>
                      <a:pt x="361" y="167"/>
                      <a:pt x="360" y="169"/>
                      <a:pt x="360" y="171"/>
                    </a:cubicBezTo>
                    <a:cubicBezTo>
                      <a:pt x="360" y="172"/>
                      <a:pt x="360" y="172"/>
                      <a:pt x="360" y="172"/>
                    </a:cubicBezTo>
                    <a:cubicBezTo>
                      <a:pt x="360" y="173"/>
                      <a:pt x="360" y="173"/>
                      <a:pt x="360" y="173"/>
                    </a:cubicBezTo>
                    <a:cubicBezTo>
                      <a:pt x="360" y="176"/>
                      <a:pt x="360" y="179"/>
                      <a:pt x="357" y="182"/>
                    </a:cubicBezTo>
                    <a:cubicBezTo>
                      <a:pt x="357" y="182"/>
                      <a:pt x="356" y="182"/>
                      <a:pt x="355" y="182"/>
                    </a:cubicBezTo>
                    <a:cubicBezTo>
                      <a:pt x="355" y="183"/>
                      <a:pt x="355" y="183"/>
                      <a:pt x="355" y="183"/>
                    </a:cubicBezTo>
                    <a:cubicBezTo>
                      <a:pt x="354" y="181"/>
                      <a:pt x="354" y="181"/>
                      <a:pt x="354" y="181"/>
                    </a:cubicBezTo>
                    <a:cubicBezTo>
                      <a:pt x="354" y="183"/>
                      <a:pt x="354" y="183"/>
                      <a:pt x="354" y="183"/>
                    </a:cubicBezTo>
                    <a:cubicBezTo>
                      <a:pt x="353" y="183"/>
                      <a:pt x="353" y="183"/>
                      <a:pt x="353" y="183"/>
                    </a:cubicBezTo>
                    <a:cubicBezTo>
                      <a:pt x="353" y="183"/>
                      <a:pt x="353" y="183"/>
                      <a:pt x="353" y="183"/>
                    </a:cubicBezTo>
                    <a:cubicBezTo>
                      <a:pt x="353" y="183"/>
                      <a:pt x="352" y="183"/>
                      <a:pt x="352" y="183"/>
                    </a:cubicBezTo>
                    <a:cubicBezTo>
                      <a:pt x="352" y="181"/>
                      <a:pt x="352" y="181"/>
                      <a:pt x="352" y="181"/>
                    </a:cubicBezTo>
                    <a:cubicBezTo>
                      <a:pt x="352" y="181"/>
                      <a:pt x="352" y="181"/>
                      <a:pt x="352" y="181"/>
                    </a:cubicBezTo>
                    <a:cubicBezTo>
                      <a:pt x="351" y="182"/>
                      <a:pt x="351" y="182"/>
                      <a:pt x="351" y="182"/>
                    </a:cubicBezTo>
                    <a:cubicBezTo>
                      <a:pt x="351" y="182"/>
                      <a:pt x="350" y="182"/>
                      <a:pt x="350" y="182"/>
                    </a:cubicBezTo>
                    <a:cubicBezTo>
                      <a:pt x="344" y="180"/>
                      <a:pt x="341" y="178"/>
                      <a:pt x="336" y="175"/>
                    </a:cubicBezTo>
                    <a:cubicBezTo>
                      <a:pt x="333" y="172"/>
                      <a:pt x="333" y="172"/>
                      <a:pt x="333" y="172"/>
                    </a:cubicBezTo>
                    <a:cubicBezTo>
                      <a:pt x="336" y="169"/>
                      <a:pt x="336" y="169"/>
                      <a:pt x="336" y="169"/>
                    </a:cubicBezTo>
                    <a:cubicBezTo>
                      <a:pt x="336" y="169"/>
                      <a:pt x="338" y="168"/>
                      <a:pt x="338" y="167"/>
                    </a:cubicBezTo>
                    <a:cubicBezTo>
                      <a:pt x="337" y="166"/>
                      <a:pt x="337" y="166"/>
                      <a:pt x="337" y="166"/>
                    </a:cubicBezTo>
                    <a:cubicBezTo>
                      <a:pt x="337" y="165"/>
                      <a:pt x="337" y="165"/>
                      <a:pt x="337" y="165"/>
                    </a:cubicBezTo>
                    <a:cubicBezTo>
                      <a:pt x="337" y="165"/>
                      <a:pt x="337" y="165"/>
                      <a:pt x="337" y="165"/>
                    </a:cubicBezTo>
                    <a:cubicBezTo>
                      <a:pt x="336" y="165"/>
                      <a:pt x="336" y="165"/>
                      <a:pt x="335" y="164"/>
                    </a:cubicBezTo>
                    <a:cubicBezTo>
                      <a:pt x="335" y="164"/>
                      <a:pt x="334" y="163"/>
                      <a:pt x="334" y="163"/>
                    </a:cubicBezTo>
                    <a:cubicBezTo>
                      <a:pt x="334" y="163"/>
                      <a:pt x="333" y="163"/>
                      <a:pt x="333" y="163"/>
                    </a:cubicBezTo>
                    <a:cubicBezTo>
                      <a:pt x="332" y="163"/>
                      <a:pt x="330" y="163"/>
                      <a:pt x="330" y="163"/>
                    </a:cubicBezTo>
                    <a:cubicBezTo>
                      <a:pt x="329" y="163"/>
                      <a:pt x="329" y="163"/>
                      <a:pt x="329" y="163"/>
                    </a:cubicBezTo>
                    <a:cubicBezTo>
                      <a:pt x="328" y="163"/>
                      <a:pt x="328" y="163"/>
                      <a:pt x="327" y="163"/>
                    </a:cubicBezTo>
                    <a:cubicBezTo>
                      <a:pt x="303" y="164"/>
                      <a:pt x="303" y="164"/>
                      <a:pt x="303" y="164"/>
                    </a:cubicBezTo>
                    <a:cubicBezTo>
                      <a:pt x="303" y="164"/>
                      <a:pt x="303" y="164"/>
                      <a:pt x="303" y="164"/>
                    </a:cubicBezTo>
                    <a:cubicBezTo>
                      <a:pt x="301" y="163"/>
                      <a:pt x="299" y="162"/>
                      <a:pt x="299" y="161"/>
                    </a:cubicBezTo>
                    <a:cubicBezTo>
                      <a:pt x="299" y="159"/>
                      <a:pt x="298" y="158"/>
                      <a:pt x="298" y="157"/>
                    </a:cubicBezTo>
                    <a:cubicBezTo>
                      <a:pt x="297" y="155"/>
                      <a:pt x="297" y="155"/>
                      <a:pt x="297" y="155"/>
                    </a:cubicBezTo>
                    <a:cubicBezTo>
                      <a:pt x="297" y="154"/>
                      <a:pt x="297" y="154"/>
                      <a:pt x="297" y="154"/>
                    </a:cubicBezTo>
                    <a:cubicBezTo>
                      <a:pt x="296" y="150"/>
                      <a:pt x="296" y="150"/>
                      <a:pt x="296" y="150"/>
                    </a:cubicBezTo>
                    <a:cubicBezTo>
                      <a:pt x="295" y="146"/>
                      <a:pt x="294" y="143"/>
                      <a:pt x="293" y="139"/>
                    </a:cubicBezTo>
                    <a:cubicBezTo>
                      <a:pt x="293" y="138"/>
                      <a:pt x="293" y="138"/>
                      <a:pt x="293" y="137"/>
                    </a:cubicBezTo>
                    <a:cubicBezTo>
                      <a:pt x="293" y="137"/>
                      <a:pt x="293" y="137"/>
                      <a:pt x="293" y="137"/>
                    </a:cubicBezTo>
                    <a:cubicBezTo>
                      <a:pt x="293" y="136"/>
                      <a:pt x="293" y="135"/>
                      <a:pt x="293" y="135"/>
                    </a:cubicBezTo>
                    <a:cubicBezTo>
                      <a:pt x="292" y="135"/>
                      <a:pt x="292" y="135"/>
                      <a:pt x="292" y="135"/>
                    </a:cubicBezTo>
                    <a:cubicBezTo>
                      <a:pt x="291" y="135"/>
                      <a:pt x="290" y="135"/>
                      <a:pt x="290" y="135"/>
                    </a:cubicBezTo>
                    <a:cubicBezTo>
                      <a:pt x="289" y="135"/>
                      <a:pt x="288" y="135"/>
                      <a:pt x="287" y="135"/>
                    </a:cubicBezTo>
                    <a:cubicBezTo>
                      <a:pt x="287" y="135"/>
                      <a:pt x="286" y="135"/>
                      <a:pt x="286" y="135"/>
                    </a:cubicBezTo>
                    <a:cubicBezTo>
                      <a:pt x="286" y="135"/>
                      <a:pt x="286" y="135"/>
                      <a:pt x="286" y="135"/>
                    </a:cubicBezTo>
                    <a:cubicBezTo>
                      <a:pt x="285" y="136"/>
                      <a:pt x="285" y="136"/>
                      <a:pt x="285" y="136"/>
                    </a:cubicBezTo>
                    <a:cubicBezTo>
                      <a:pt x="282" y="135"/>
                      <a:pt x="280" y="134"/>
                      <a:pt x="279" y="132"/>
                    </a:cubicBezTo>
                    <a:cubicBezTo>
                      <a:pt x="279" y="130"/>
                      <a:pt x="279" y="128"/>
                      <a:pt x="279" y="126"/>
                    </a:cubicBezTo>
                    <a:cubicBezTo>
                      <a:pt x="279" y="124"/>
                      <a:pt x="279" y="123"/>
                      <a:pt x="279" y="122"/>
                    </a:cubicBezTo>
                    <a:cubicBezTo>
                      <a:pt x="279" y="121"/>
                      <a:pt x="279" y="121"/>
                      <a:pt x="279" y="120"/>
                    </a:cubicBezTo>
                    <a:cubicBezTo>
                      <a:pt x="279" y="118"/>
                      <a:pt x="280" y="116"/>
                      <a:pt x="280" y="113"/>
                    </a:cubicBezTo>
                    <a:cubicBezTo>
                      <a:pt x="280" y="111"/>
                      <a:pt x="281" y="109"/>
                      <a:pt x="281" y="107"/>
                    </a:cubicBezTo>
                    <a:cubicBezTo>
                      <a:pt x="281" y="106"/>
                      <a:pt x="281" y="106"/>
                      <a:pt x="281" y="106"/>
                    </a:cubicBezTo>
                    <a:cubicBezTo>
                      <a:pt x="281" y="105"/>
                      <a:pt x="281" y="104"/>
                      <a:pt x="282" y="103"/>
                    </a:cubicBezTo>
                    <a:cubicBezTo>
                      <a:pt x="281" y="103"/>
                      <a:pt x="280" y="103"/>
                      <a:pt x="280" y="103"/>
                    </a:cubicBezTo>
                    <a:cubicBezTo>
                      <a:pt x="276" y="103"/>
                      <a:pt x="274" y="100"/>
                      <a:pt x="273" y="99"/>
                    </a:cubicBezTo>
                    <a:cubicBezTo>
                      <a:pt x="272" y="98"/>
                      <a:pt x="272" y="98"/>
                      <a:pt x="272" y="98"/>
                    </a:cubicBezTo>
                    <a:cubicBezTo>
                      <a:pt x="272" y="98"/>
                      <a:pt x="272" y="98"/>
                      <a:pt x="272" y="98"/>
                    </a:cubicBezTo>
                    <a:cubicBezTo>
                      <a:pt x="271" y="97"/>
                      <a:pt x="271" y="97"/>
                      <a:pt x="271" y="97"/>
                    </a:cubicBezTo>
                    <a:cubicBezTo>
                      <a:pt x="270" y="95"/>
                      <a:pt x="270" y="95"/>
                      <a:pt x="270" y="95"/>
                    </a:cubicBezTo>
                    <a:cubicBezTo>
                      <a:pt x="267" y="92"/>
                      <a:pt x="265" y="90"/>
                      <a:pt x="262" y="87"/>
                    </a:cubicBezTo>
                    <a:cubicBezTo>
                      <a:pt x="260" y="86"/>
                      <a:pt x="260" y="86"/>
                      <a:pt x="260" y="86"/>
                    </a:cubicBezTo>
                    <a:cubicBezTo>
                      <a:pt x="259" y="85"/>
                      <a:pt x="258" y="84"/>
                      <a:pt x="258" y="84"/>
                    </a:cubicBezTo>
                    <a:cubicBezTo>
                      <a:pt x="255" y="81"/>
                      <a:pt x="255" y="81"/>
                      <a:pt x="255" y="81"/>
                    </a:cubicBezTo>
                    <a:cubicBezTo>
                      <a:pt x="254" y="80"/>
                      <a:pt x="253" y="78"/>
                      <a:pt x="251" y="78"/>
                    </a:cubicBezTo>
                    <a:cubicBezTo>
                      <a:pt x="251" y="77"/>
                      <a:pt x="250" y="76"/>
                      <a:pt x="250" y="76"/>
                    </a:cubicBezTo>
                    <a:cubicBezTo>
                      <a:pt x="249" y="77"/>
                      <a:pt x="247" y="77"/>
                      <a:pt x="247" y="78"/>
                    </a:cubicBezTo>
                    <a:cubicBezTo>
                      <a:pt x="246" y="78"/>
                      <a:pt x="246" y="78"/>
                      <a:pt x="246" y="78"/>
                    </a:cubicBezTo>
                    <a:cubicBezTo>
                      <a:pt x="249" y="84"/>
                      <a:pt x="249" y="84"/>
                      <a:pt x="249" y="84"/>
                    </a:cubicBezTo>
                    <a:cubicBezTo>
                      <a:pt x="244" y="79"/>
                      <a:pt x="244" y="79"/>
                      <a:pt x="244" y="79"/>
                    </a:cubicBezTo>
                    <a:cubicBezTo>
                      <a:pt x="244" y="79"/>
                      <a:pt x="244" y="79"/>
                      <a:pt x="244" y="79"/>
                    </a:cubicBezTo>
                    <a:cubicBezTo>
                      <a:pt x="242" y="80"/>
                      <a:pt x="239" y="81"/>
                      <a:pt x="237" y="81"/>
                    </a:cubicBezTo>
                    <a:cubicBezTo>
                      <a:pt x="236" y="81"/>
                      <a:pt x="236" y="81"/>
                      <a:pt x="236" y="81"/>
                    </a:cubicBezTo>
                    <a:cubicBezTo>
                      <a:pt x="228" y="81"/>
                      <a:pt x="228" y="81"/>
                      <a:pt x="228" y="81"/>
                    </a:cubicBezTo>
                    <a:cubicBezTo>
                      <a:pt x="225" y="80"/>
                      <a:pt x="222" y="80"/>
                      <a:pt x="219" y="80"/>
                    </a:cubicBezTo>
                    <a:cubicBezTo>
                      <a:pt x="214" y="80"/>
                      <a:pt x="210" y="79"/>
                      <a:pt x="206" y="79"/>
                    </a:cubicBezTo>
                    <a:cubicBezTo>
                      <a:pt x="204" y="79"/>
                      <a:pt x="203" y="79"/>
                      <a:pt x="202" y="79"/>
                    </a:cubicBezTo>
                    <a:cubicBezTo>
                      <a:pt x="196" y="80"/>
                      <a:pt x="191" y="81"/>
                      <a:pt x="185" y="82"/>
                    </a:cubicBezTo>
                    <a:cubicBezTo>
                      <a:pt x="181" y="82"/>
                      <a:pt x="176" y="83"/>
                      <a:pt x="172" y="84"/>
                    </a:cubicBezTo>
                    <a:cubicBezTo>
                      <a:pt x="172" y="84"/>
                      <a:pt x="171" y="84"/>
                      <a:pt x="171" y="84"/>
                    </a:cubicBezTo>
                    <a:cubicBezTo>
                      <a:pt x="170" y="84"/>
                      <a:pt x="169" y="84"/>
                      <a:pt x="168" y="83"/>
                    </a:cubicBezTo>
                    <a:cubicBezTo>
                      <a:pt x="167" y="83"/>
                      <a:pt x="167" y="83"/>
                      <a:pt x="167" y="83"/>
                    </a:cubicBezTo>
                    <a:cubicBezTo>
                      <a:pt x="166" y="83"/>
                      <a:pt x="164" y="82"/>
                      <a:pt x="163" y="81"/>
                    </a:cubicBezTo>
                    <a:cubicBezTo>
                      <a:pt x="163" y="81"/>
                      <a:pt x="163" y="81"/>
                      <a:pt x="163" y="81"/>
                    </a:cubicBezTo>
                    <a:cubicBezTo>
                      <a:pt x="162" y="80"/>
                      <a:pt x="161" y="79"/>
                      <a:pt x="161" y="79"/>
                    </a:cubicBezTo>
                    <a:cubicBezTo>
                      <a:pt x="159" y="77"/>
                      <a:pt x="159" y="77"/>
                      <a:pt x="159" y="77"/>
                    </a:cubicBezTo>
                    <a:cubicBezTo>
                      <a:pt x="159" y="77"/>
                      <a:pt x="158" y="76"/>
                      <a:pt x="158" y="76"/>
                    </a:cubicBezTo>
                    <a:cubicBezTo>
                      <a:pt x="155" y="72"/>
                      <a:pt x="151" y="69"/>
                      <a:pt x="148" y="66"/>
                    </a:cubicBezTo>
                    <a:cubicBezTo>
                      <a:pt x="148" y="65"/>
                      <a:pt x="142" y="59"/>
                      <a:pt x="139" y="54"/>
                    </a:cubicBezTo>
                    <a:cubicBezTo>
                      <a:pt x="137" y="51"/>
                      <a:pt x="122" y="42"/>
                      <a:pt x="117" y="39"/>
                    </a:cubicBezTo>
                    <a:cubicBezTo>
                      <a:pt x="114" y="38"/>
                      <a:pt x="114" y="38"/>
                      <a:pt x="114" y="38"/>
                    </a:cubicBezTo>
                    <a:cubicBezTo>
                      <a:pt x="114" y="42"/>
                      <a:pt x="114" y="47"/>
                      <a:pt x="113" y="51"/>
                    </a:cubicBezTo>
                    <a:cubicBezTo>
                      <a:pt x="113" y="52"/>
                      <a:pt x="113" y="54"/>
                      <a:pt x="112" y="55"/>
                    </a:cubicBezTo>
                    <a:cubicBezTo>
                      <a:pt x="111" y="56"/>
                      <a:pt x="107" y="57"/>
                      <a:pt x="107" y="58"/>
                    </a:cubicBezTo>
                    <a:cubicBezTo>
                      <a:pt x="106" y="59"/>
                      <a:pt x="108" y="61"/>
                      <a:pt x="107" y="62"/>
                    </a:cubicBezTo>
                    <a:cubicBezTo>
                      <a:pt x="107" y="62"/>
                      <a:pt x="107" y="62"/>
                      <a:pt x="107" y="62"/>
                    </a:cubicBezTo>
                    <a:cubicBezTo>
                      <a:pt x="106" y="62"/>
                      <a:pt x="106" y="60"/>
                      <a:pt x="105" y="60"/>
                    </a:cubicBezTo>
                    <a:cubicBezTo>
                      <a:pt x="104" y="60"/>
                      <a:pt x="104" y="60"/>
                      <a:pt x="104" y="60"/>
                    </a:cubicBezTo>
                    <a:cubicBezTo>
                      <a:pt x="103" y="60"/>
                      <a:pt x="103" y="60"/>
                      <a:pt x="102" y="60"/>
                    </a:cubicBezTo>
                    <a:cubicBezTo>
                      <a:pt x="101" y="61"/>
                      <a:pt x="100" y="61"/>
                      <a:pt x="99" y="61"/>
                    </a:cubicBezTo>
                    <a:cubicBezTo>
                      <a:pt x="99" y="61"/>
                      <a:pt x="99" y="61"/>
                      <a:pt x="99" y="61"/>
                    </a:cubicBezTo>
                    <a:cubicBezTo>
                      <a:pt x="95" y="60"/>
                      <a:pt x="97" y="58"/>
                      <a:pt x="95" y="56"/>
                    </a:cubicBezTo>
                    <a:cubicBezTo>
                      <a:pt x="91" y="52"/>
                      <a:pt x="89" y="48"/>
                      <a:pt x="87" y="43"/>
                    </a:cubicBezTo>
                    <a:cubicBezTo>
                      <a:pt x="86" y="37"/>
                      <a:pt x="91" y="31"/>
                      <a:pt x="94" y="25"/>
                    </a:cubicBezTo>
                    <a:cubicBezTo>
                      <a:pt x="94" y="25"/>
                      <a:pt x="94" y="25"/>
                      <a:pt x="94" y="25"/>
                    </a:cubicBezTo>
                    <a:cubicBezTo>
                      <a:pt x="95" y="23"/>
                      <a:pt x="95" y="23"/>
                      <a:pt x="95" y="23"/>
                    </a:cubicBezTo>
                    <a:cubicBezTo>
                      <a:pt x="95" y="23"/>
                      <a:pt x="95" y="23"/>
                      <a:pt x="95" y="23"/>
                    </a:cubicBezTo>
                    <a:cubicBezTo>
                      <a:pt x="100" y="26"/>
                      <a:pt x="105" y="29"/>
                      <a:pt x="110" y="32"/>
                    </a:cubicBezTo>
                    <a:cubicBezTo>
                      <a:pt x="105" y="29"/>
                      <a:pt x="100" y="26"/>
                      <a:pt x="95" y="23"/>
                    </a:cubicBezTo>
                    <a:cubicBezTo>
                      <a:pt x="96" y="22"/>
                      <a:pt x="96" y="22"/>
                      <a:pt x="96" y="21"/>
                    </a:cubicBezTo>
                    <a:cubicBezTo>
                      <a:pt x="96" y="21"/>
                      <a:pt x="96" y="21"/>
                      <a:pt x="96" y="21"/>
                    </a:cubicBezTo>
                    <a:cubicBezTo>
                      <a:pt x="95" y="20"/>
                      <a:pt x="95" y="20"/>
                      <a:pt x="95" y="20"/>
                    </a:cubicBezTo>
                    <a:cubicBezTo>
                      <a:pt x="95" y="20"/>
                      <a:pt x="96" y="19"/>
                      <a:pt x="95" y="18"/>
                    </a:cubicBezTo>
                    <a:cubicBezTo>
                      <a:pt x="95" y="19"/>
                      <a:pt x="95" y="19"/>
                      <a:pt x="95" y="19"/>
                    </a:cubicBezTo>
                    <a:cubicBezTo>
                      <a:pt x="93" y="18"/>
                      <a:pt x="93" y="15"/>
                      <a:pt x="93" y="13"/>
                    </a:cubicBezTo>
                    <a:cubicBezTo>
                      <a:pt x="93" y="11"/>
                      <a:pt x="94" y="9"/>
                      <a:pt x="93" y="9"/>
                    </a:cubicBezTo>
                    <a:cubicBezTo>
                      <a:pt x="92" y="9"/>
                      <a:pt x="92" y="9"/>
                      <a:pt x="91" y="10"/>
                    </a:cubicBezTo>
                    <a:cubicBezTo>
                      <a:pt x="91" y="8"/>
                      <a:pt x="91" y="7"/>
                      <a:pt x="91" y="7"/>
                    </a:cubicBezTo>
                    <a:cubicBezTo>
                      <a:pt x="90" y="6"/>
                      <a:pt x="89" y="6"/>
                      <a:pt x="88" y="5"/>
                    </a:cubicBezTo>
                    <a:cubicBezTo>
                      <a:pt x="87" y="4"/>
                      <a:pt x="88" y="2"/>
                      <a:pt x="86" y="1"/>
                    </a:cubicBezTo>
                    <a:cubicBezTo>
                      <a:pt x="86"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356"/>
              <p:cNvSpPr/>
              <p:nvPr/>
            </p:nvSpPr>
            <p:spPr bwMode="auto">
              <a:xfrm>
                <a:off x="9349138" y="6636894"/>
                <a:ext cx="401678" cy="221107"/>
              </a:xfrm>
              <a:custGeom>
                <a:gdLst>
                  <a:gd name="T0" fmla="*/ 31 w 127"/>
                  <a:gd name="T1" fmla="*/ 0 h 70"/>
                  <a:gd name="T2" fmla="*/ 27 w 127"/>
                  <a:gd name="T3" fmla="*/ 3 h 70"/>
                  <a:gd name="T4" fmla="*/ 24 w 127"/>
                  <a:gd name="T5" fmla="*/ 5 h 70"/>
                  <a:gd name="T6" fmla="*/ 19 w 127"/>
                  <a:gd name="T7" fmla="*/ 9 h 70"/>
                  <a:gd name="T8" fmla="*/ 18 w 127"/>
                  <a:gd name="T9" fmla="*/ 6 h 70"/>
                  <a:gd name="T10" fmla="*/ 18 w 127"/>
                  <a:gd name="T11" fmla="*/ 6 h 70"/>
                  <a:gd name="T12" fmla="*/ 16 w 127"/>
                  <a:gd name="T13" fmla="*/ 16 h 70"/>
                  <a:gd name="T14" fmla="*/ 17 w 127"/>
                  <a:gd name="T15" fmla="*/ 17 h 70"/>
                  <a:gd name="T16" fmla="*/ 17 w 127"/>
                  <a:gd name="T17" fmla="*/ 17 h 70"/>
                  <a:gd name="T18" fmla="*/ 22 w 127"/>
                  <a:gd name="T19" fmla="*/ 21 h 70"/>
                  <a:gd name="T20" fmla="*/ 25 w 127"/>
                  <a:gd name="T21" fmla="*/ 26 h 70"/>
                  <a:gd name="T22" fmla="*/ 18 w 127"/>
                  <a:gd name="T23" fmla="*/ 27 h 70"/>
                  <a:gd name="T24" fmla="*/ 12 w 127"/>
                  <a:gd name="T25" fmla="*/ 28 h 70"/>
                  <a:gd name="T26" fmla="*/ 11 w 127"/>
                  <a:gd name="T27" fmla="*/ 28 h 70"/>
                  <a:gd name="T28" fmla="*/ 12 w 127"/>
                  <a:gd name="T29" fmla="*/ 34 h 70"/>
                  <a:gd name="T30" fmla="*/ 9 w 127"/>
                  <a:gd name="T31" fmla="*/ 28 h 70"/>
                  <a:gd name="T32" fmla="*/ 9 w 127"/>
                  <a:gd name="T33" fmla="*/ 28 h 70"/>
                  <a:gd name="T34" fmla="*/ 6 w 127"/>
                  <a:gd name="T35" fmla="*/ 33 h 70"/>
                  <a:gd name="T36" fmla="*/ 6 w 127"/>
                  <a:gd name="T37" fmla="*/ 34 h 70"/>
                  <a:gd name="T38" fmla="*/ 5 w 127"/>
                  <a:gd name="T39" fmla="*/ 38 h 70"/>
                  <a:gd name="T40" fmla="*/ 3 w 127"/>
                  <a:gd name="T41" fmla="*/ 49 h 70"/>
                  <a:gd name="T42" fmla="*/ 1 w 127"/>
                  <a:gd name="T43" fmla="*/ 57 h 70"/>
                  <a:gd name="T44" fmla="*/ 1 w 127"/>
                  <a:gd name="T45" fmla="*/ 59 h 70"/>
                  <a:gd name="T46" fmla="*/ 1 w 127"/>
                  <a:gd name="T47" fmla="*/ 60 h 70"/>
                  <a:gd name="T48" fmla="*/ 0 w 127"/>
                  <a:gd name="T49" fmla="*/ 63 h 70"/>
                  <a:gd name="T50" fmla="*/ 2 w 127"/>
                  <a:gd name="T51" fmla="*/ 68 h 70"/>
                  <a:gd name="T52" fmla="*/ 3 w 127"/>
                  <a:gd name="T53" fmla="*/ 68 h 70"/>
                  <a:gd name="T54" fmla="*/ 4 w 127"/>
                  <a:gd name="T55" fmla="*/ 70 h 70"/>
                  <a:gd name="T56" fmla="*/ 127 w 127"/>
                  <a:gd name="T57" fmla="*/ 70 h 70"/>
                  <a:gd name="T58" fmla="*/ 123 w 127"/>
                  <a:gd name="T59" fmla="*/ 69 h 70"/>
                  <a:gd name="T60" fmla="*/ 116 w 127"/>
                  <a:gd name="T61" fmla="*/ 66 h 70"/>
                  <a:gd name="T62" fmla="*/ 112 w 127"/>
                  <a:gd name="T63" fmla="*/ 60 h 70"/>
                  <a:gd name="T64" fmla="*/ 106 w 127"/>
                  <a:gd name="T65" fmla="*/ 53 h 70"/>
                  <a:gd name="T66" fmla="*/ 98 w 127"/>
                  <a:gd name="T67" fmla="*/ 43 h 70"/>
                  <a:gd name="T68" fmla="*/ 92 w 127"/>
                  <a:gd name="T69" fmla="*/ 36 h 70"/>
                  <a:gd name="T70" fmla="*/ 91 w 127"/>
                  <a:gd name="T71" fmla="*/ 36 h 70"/>
                  <a:gd name="T72" fmla="*/ 88 w 127"/>
                  <a:gd name="T73" fmla="*/ 37 h 70"/>
                  <a:gd name="T74" fmla="*/ 87 w 127"/>
                  <a:gd name="T75" fmla="*/ 37 h 70"/>
                  <a:gd name="T76" fmla="*/ 81 w 127"/>
                  <a:gd name="T77" fmla="*/ 35 h 70"/>
                  <a:gd name="T78" fmla="*/ 70 w 127"/>
                  <a:gd name="T79" fmla="*/ 32 h 70"/>
                  <a:gd name="T80" fmla="*/ 48 w 127"/>
                  <a:gd name="T81" fmla="*/ 24 h 70"/>
                  <a:gd name="T82" fmla="*/ 42 w 127"/>
                  <a:gd name="T83" fmla="*/ 17 h 70"/>
                  <a:gd name="T84" fmla="*/ 36 w 127"/>
                  <a:gd name="T85" fmla="*/ 10 h 70"/>
                  <a:gd name="T86" fmla="*/ 33 w 127"/>
                  <a:gd name="T87" fmla="*/ 5 h 70"/>
                  <a:gd name="T88" fmla="*/ 32 w 127"/>
                  <a:gd name="T89" fmla="*/ 1 h 70"/>
                  <a:gd name="T90" fmla="*/ 31 w 127"/>
                  <a:gd name="T91" fmla="*/ 0 h 7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70">
                    <a:moveTo>
                      <a:pt x="31" y="0"/>
                    </a:moveTo>
                    <a:cubicBezTo>
                      <a:pt x="30" y="2"/>
                      <a:pt x="28" y="3"/>
                      <a:pt x="27" y="3"/>
                    </a:cubicBezTo>
                    <a:cubicBezTo>
                      <a:pt x="26" y="4"/>
                      <a:pt x="25" y="4"/>
                      <a:pt x="24" y="5"/>
                    </a:cubicBezTo>
                    <a:cubicBezTo>
                      <a:pt x="19" y="9"/>
                      <a:pt x="19" y="9"/>
                      <a:pt x="19" y="9"/>
                    </a:cubicBezTo>
                    <a:cubicBezTo>
                      <a:pt x="18" y="6"/>
                      <a:pt x="18" y="6"/>
                      <a:pt x="18" y="6"/>
                    </a:cubicBezTo>
                    <a:cubicBezTo>
                      <a:pt x="18" y="6"/>
                      <a:pt x="18" y="6"/>
                      <a:pt x="18" y="6"/>
                    </a:cubicBezTo>
                    <a:cubicBezTo>
                      <a:pt x="17" y="9"/>
                      <a:pt x="16" y="12"/>
                      <a:pt x="16" y="16"/>
                    </a:cubicBezTo>
                    <a:cubicBezTo>
                      <a:pt x="17" y="17"/>
                      <a:pt x="17" y="17"/>
                      <a:pt x="17" y="17"/>
                    </a:cubicBezTo>
                    <a:cubicBezTo>
                      <a:pt x="17" y="17"/>
                      <a:pt x="17" y="17"/>
                      <a:pt x="17" y="17"/>
                    </a:cubicBezTo>
                    <a:cubicBezTo>
                      <a:pt x="20" y="19"/>
                      <a:pt x="21" y="20"/>
                      <a:pt x="22" y="21"/>
                    </a:cubicBezTo>
                    <a:cubicBezTo>
                      <a:pt x="25" y="26"/>
                      <a:pt x="25" y="26"/>
                      <a:pt x="25" y="26"/>
                    </a:cubicBezTo>
                    <a:cubicBezTo>
                      <a:pt x="18" y="27"/>
                      <a:pt x="18" y="27"/>
                      <a:pt x="18" y="27"/>
                    </a:cubicBezTo>
                    <a:cubicBezTo>
                      <a:pt x="16" y="28"/>
                      <a:pt x="14" y="28"/>
                      <a:pt x="12" y="28"/>
                    </a:cubicBezTo>
                    <a:cubicBezTo>
                      <a:pt x="11" y="28"/>
                      <a:pt x="11" y="28"/>
                      <a:pt x="11" y="28"/>
                    </a:cubicBezTo>
                    <a:cubicBezTo>
                      <a:pt x="12" y="34"/>
                      <a:pt x="12" y="34"/>
                      <a:pt x="12" y="34"/>
                    </a:cubicBezTo>
                    <a:cubicBezTo>
                      <a:pt x="9" y="28"/>
                      <a:pt x="9" y="28"/>
                      <a:pt x="9" y="28"/>
                    </a:cubicBezTo>
                    <a:cubicBezTo>
                      <a:pt x="9" y="28"/>
                      <a:pt x="9" y="28"/>
                      <a:pt x="9" y="28"/>
                    </a:cubicBezTo>
                    <a:cubicBezTo>
                      <a:pt x="7" y="29"/>
                      <a:pt x="7" y="30"/>
                      <a:pt x="6" y="33"/>
                    </a:cubicBezTo>
                    <a:cubicBezTo>
                      <a:pt x="6" y="34"/>
                      <a:pt x="6" y="34"/>
                      <a:pt x="6" y="34"/>
                    </a:cubicBezTo>
                    <a:cubicBezTo>
                      <a:pt x="6" y="36"/>
                      <a:pt x="6" y="37"/>
                      <a:pt x="5" y="38"/>
                    </a:cubicBezTo>
                    <a:cubicBezTo>
                      <a:pt x="5" y="41"/>
                      <a:pt x="4" y="45"/>
                      <a:pt x="3" y="49"/>
                    </a:cubicBezTo>
                    <a:cubicBezTo>
                      <a:pt x="1" y="57"/>
                      <a:pt x="1" y="57"/>
                      <a:pt x="1" y="57"/>
                    </a:cubicBezTo>
                    <a:cubicBezTo>
                      <a:pt x="1" y="58"/>
                      <a:pt x="1" y="59"/>
                      <a:pt x="1" y="59"/>
                    </a:cubicBezTo>
                    <a:cubicBezTo>
                      <a:pt x="1" y="60"/>
                      <a:pt x="1" y="60"/>
                      <a:pt x="1" y="60"/>
                    </a:cubicBezTo>
                    <a:cubicBezTo>
                      <a:pt x="0" y="61"/>
                      <a:pt x="0" y="63"/>
                      <a:pt x="0" y="63"/>
                    </a:cubicBezTo>
                    <a:cubicBezTo>
                      <a:pt x="1" y="65"/>
                      <a:pt x="2" y="66"/>
                      <a:pt x="2" y="68"/>
                    </a:cubicBezTo>
                    <a:cubicBezTo>
                      <a:pt x="3" y="68"/>
                      <a:pt x="3" y="68"/>
                      <a:pt x="3" y="68"/>
                    </a:cubicBezTo>
                    <a:cubicBezTo>
                      <a:pt x="3" y="69"/>
                      <a:pt x="3" y="70"/>
                      <a:pt x="4" y="70"/>
                    </a:cubicBezTo>
                    <a:cubicBezTo>
                      <a:pt x="127" y="70"/>
                      <a:pt x="127" y="70"/>
                      <a:pt x="127" y="70"/>
                    </a:cubicBezTo>
                    <a:cubicBezTo>
                      <a:pt x="126" y="69"/>
                      <a:pt x="125" y="69"/>
                      <a:pt x="123" y="69"/>
                    </a:cubicBezTo>
                    <a:cubicBezTo>
                      <a:pt x="119" y="69"/>
                      <a:pt x="118" y="68"/>
                      <a:pt x="116" y="66"/>
                    </a:cubicBezTo>
                    <a:cubicBezTo>
                      <a:pt x="115" y="64"/>
                      <a:pt x="113" y="62"/>
                      <a:pt x="112" y="60"/>
                    </a:cubicBezTo>
                    <a:cubicBezTo>
                      <a:pt x="110" y="58"/>
                      <a:pt x="108" y="56"/>
                      <a:pt x="106" y="53"/>
                    </a:cubicBezTo>
                    <a:cubicBezTo>
                      <a:pt x="103" y="50"/>
                      <a:pt x="101" y="47"/>
                      <a:pt x="98" y="43"/>
                    </a:cubicBezTo>
                    <a:cubicBezTo>
                      <a:pt x="97" y="41"/>
                      <a:pt x="94" y="37"/>
                      <a:pt x="92" y="36"/>
                    </a:cubicBezTo>
                    <a:cubicBezTo>
                      <a:pt x="92" y="36"/>
                      <a:pt x="91" y="36"/>
                      <a:pt x="91" y="36"/>
                    </a:cubicBezTo>
                    <a:cubicBezTo>
                      <a:pt x="90" y="36"/>
                      <a:pt x="90" y="37"/>
                      <a:pt x="88" y="37"/>
                    </a:cubicBezTo>
                    <a:cubicBezTo>
                      <a:pt x="88" y="37"/>
                      <a:pt x="88" y="37"/>
                      <a:pt x="87" y="37"/>
                    </a:cubicBezTo>
                    <a:cubicBezTo>
                      <a:pt x="85" y="37"/>
                      <a:pt x="84" y="36"/>
                      <a:pt x="81" y="35"/>
                    </a:cubicBezTo>
                    <a:cubicBezTo>
                      <a:pt x="77" y="33"/>
                      <a:pt x="74" y="34"/>
                      <a:pt x="70" y="32"/>
                    </a:cubicBezTo>
                    <a:cubicBezTo>
                      <a:pt x="63" y="29"/>
                      <a:pt x="54" y="29"/>
                      <a:pt x="48" y="24"/>
                    </a:cubicBezTo>
                    <a:cubicBezTo>
                      <a:pt x="45" y="22"/>
                      <a:pt x="44" y="20"/>
                      <a:pt x="42" y="17"/>
                    </a:cubicBezTo>
                    <a:cubicBezTo>
                      <a:pt x="40" y="15"/>
                      <a:pt x="38" y="13"/>
                      <a:pt x="36" y="10"/>
                    </a:cubicBezTo>
                    <a:cubicBezTo>
                      <a:pt x="35" y="8"/>
                      <a:pt x="34" y="7"/>
                      <a:pt x="33" y="5"/>
                    </a:cubicBezTo>
                    <a:cubicBezTo>
                      <a:pt x="32" y="3"/>
                      <a:pt x="32" y="2"/>
                      <a:pt x="32" y="1"/>
                    </a:cubicBezTo>
                    <a:cubicBezTo>
                      <a:pt x="31" y="1"/>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357"/>
              <p:cNvSpPr/>
              <p:nvPr/>
            </p:nvSpPr>
            <p:spPr bwMode="auto">
              <a:xfrm>
                <a:off x="9032218" y="6526341"/>
                <a:ext cx="412733" cy="298494"/>
              </a:xfrm>
              <a:custGeom>
                <a:gdLst>
                  <a:gd name="T0" fmla="*/ 118 w 130"/>
                  <a:gd name="T1" fmla="*/ 0 h 94"/>
                  <a:gd name="T2" fmla="*/ 112 w 130"/>
                  <a:gd name="T3" fmla="*/ 9 h 94"/>
                  <a:gd name="T4" fmla="*/ 104 w 130"/>
                  <a:gd name="T5" fmla="*/ 16 h 94"/>
                  <a:gd name="T6" fmla="*/ 85 w 130"/>
                  <a:gd name="T7" fmla="*/ 34 h 94"/>
                  <a:gd name="T8" fmla="*/ 79 w 130"/>
                  <a:gd name="T9" fmla="*/ 42 h 94"/>
                  <a:gd name="T10" fmla="*/ 73 w 130"/>
                  <a:gd name="T11" fmla="*/ 52 h 94"/>
                  <a:gd name="T12" fmla="*/ 70 w 130"/>
                  <a:gd name="T13" fmla="*/ 53 h 94"/>
                  <a:gd name="T14" fmla="*/ 64 w 130"/>
                  <a:gd name="T15" fmla="*/ 51 h 94"/>
                  <a:gd name="T16" fmla="*/ 55 w 130"/>
                  <a:gd name="T17" fmla="*/ 58 h 94"/>
                  <a:gd name="T18" fmla="*/ 54 w 130"/>
                  <a:gd name="T19" fmla="*/ 58 h 94"/>
                  <a:gd name="T20" fmla="*/ 48 w 130"/>
                  <a:gd name="T21" fmla="*/ 57 h 94"/>
                  <a:gd name="T22" fmla="*/ 37 w 130"/>
                  <a:gd name="T23" fmla="*/ 56 h 94"/>
                  <a:gd name="T24" fmla="*/ 26 w 130"/>
                  <a:gd name="T25" fmla="*/ 57 h 94"/>
                  <a:gd name="T26" fmla="*/ 6 w 130"/>
                  <a:gd name="T27" fmla="*/ 61 h 94"/>
                  <a:gd name="T28" fmla="*/ 0 w 130"/>
                  <a:gd name="T29" fmla="*/ 60 h 94"/>
                  <a:gd name="T30" fmla="*/ 4 w 130"/>
                  <a:gd name="T31" fmla="*/ 63 h 94"/>
                  <a:gd name="T32" fmla="*/ 5 w 130"/>
                  <a:gd name="T33" fmla="*/ 65 h 94"/>
                  <a:gd name="T34" fmla="*/ 9 w 130"/>
                  <a:gd name="T35" fmla="*/ 70 h 94"/>
                  <a:gd name="T36" fmla="*/ 13 w 130"/>
                  <a:gd name="T37" fmla="*/ 75 h 94"/>
                  <a:gd name="T38" fmla="*/ 23 w 130"/>
                  <a:gd name="T39" fmla="*/ 88 h 94"/>
                  <a:gd name="T40" fmla="*/ 93 w 130"/>
                  <a:gd name="T41" fmla="*/ 94 h 94"/>
                  <a:gd name="T42" fmla="*/ 94 w 130"/>
                  <a:gd name="T43" fmla="*/ 91 h 94"/>
                  <a:gd name="T44" fmla="*/ 94 w 130"/>
                  <a:gd name="T45" fmla="*/ 90 h 94"/>
                  <a:gd name="T46" fmla="*/ 96 w 130"/>
                  <a:gd name="T47" fmla="*/ 83 h 94"/>
                  <a:gd name="T48" fmla="*/ 98 w 130"/>
                  <a:gd name="T49" fmla="*/ 70 h 94"/>
                  <a:gd name="T50" fmla="*/ 99 w 130"/>
                  <a:gd name="T51" fmla="*/ 68 h 94"/>
                  <a:gd name="T52" fmla="*/ 99 w 130"/>
                  <a:gd name="T53" fmla="*/ 67 h 94"/>
                  <a:gd name="T54" fmla="*/ 99 w 130"/>
                  <a:gd name="T55" fmla="*/ 65 h 94"/>
                  <a:gd name="T56" fmla="*/ 106 w 130"/>
                  <a:gd name="T57" fmla="*/ 56 h 94"/>
                  <a:gd name="T58" fmla="*/ 108 w 130"/>
                  <a:gd name="T59" fmla="*/ 55 h 94"/>
                  <a:gd name="T60" fmla="*/ 109 w 130"/>
                  <a:gd name="T61" fmla="*/ 55 h 94"/>
                  <a:gd name="T62" fmla="*/ 110 w 130"/>
                  <a:gd name="T63" fmla="*/ 55 h 94"/>
                  <a:gd name="T64" fmla="*/ 110 w 130"/>
                  <a:gd name="T65" fmla="*/ 55 h 94"/>
                  <a:gd name="T66" fmla="*/ 111 w 130"/>
                  <a:gd name="T67" fmla="*/ 55 h 94"/>
                  <a:gd name="T68" fmla="*/ 109 w 130"/>
                  <a:gd name="T69" fmla="*/ 52 h 94"/>
                  <a:gd name="T70" fmla="*/ 112 w 130"/>
                  <a:gd name="T71" fmla="*/ 35 h 94"/>
                  <a:gd name="T72" fmla="*/ 113 w 130"/>
                  <a:gd name="T73" fmla="*/ 33 h 94"/>
                  <a:gd name="T74" fmla="*/ 121 w 130"/>
                  <a:gd name="T75" fmla="*/ 33 h 94"/>
                  <a:gd name="T76" fmla="*/ 125 w 130"/>
                  <a:gd name="T77" fmla="*/ 31 h 94"/>
                  <a:gd name="T78" fmla="*/ 126 w 130"/>
                  <a:gd name="T79" fmla="*/ 27 h 94"/>
                  <a:gd name="T80" fmla="*/ 127 w 130"/>
                  <a:gd name="T81" fmla="*/ 26 h 94"/>
                  <a:gd name="T82" fmla="*/ 128 w 130"/>
                  <a:gd name="T83" fmla="*/ 27 h 94"/>
                  <a:gd name="T84" fmla="*/ 128 w 130"/>
                  <a:gd name="T85" fmla="*/ 25 h 94"/>
                  <a:gd name="T86" fmla="*/ 129 w 130"/>
                  <a:gd name="T87" fmla="*/ 25 h 94"/>
                  <a:gd name="T88" fmla="*/ 130 w 130"/>
                  <a:gd name="T89" fmla="*/ 19 h 94"/>
                  <a:gd name="T90" fmla="*/ 128 w 130"/>
                  <a:gd name="T91" fmla="*/ 13 h 94"/>
                  <a:gd name="T92" fmla="*/ 125 w 130"/>
                  <a:gd name="T93" fmla="*/ 14 h 94"/>
                  <a:gd name="T94" fmla="*/ 122 w 130"/>
                  <a:gd name="T95" fmla="*/ 13 h 94"/>
                  <a:gd name="T96" fmla="*/ 118 w 130"/>
                  <a:gd name="T97" fmla="*/ 1 h 94"/>
                  <a:gd name="T98" fmla="*/ 118 w 130"/>
                  <a:gd name="T99" fmla="*/ 0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0" h="94">
                    <a:moveTo>
                      <a:pt x="118" y="0"/>
                    </a:moveTo>
                    <a:cubicBezTo>
                      <a:pt x="116" y="3"/>
                      <a:pt x="114" y="6"/>
                      <a:pt x="112" y="9"/>
                    </a:cubicBezTo>
                    <a:cubicBezTo>
                      <a:pt x="110" y="11"/>
                      <a:pt x="106" y="13"/>
                      <a:pt x="104" y="16"/>
                    </a:cubicBezTo>
                    <a:cubicBezTo>
                      <a:pt x="98" y="22"/>
                      <a:pt x="92" y="29"/>
                      <a:pt x="85" y="34"/>
                    </a:cubicBezTo>
                    <a:cubicBezTo>
                      <a:pt x="81" y="37"/>
                      <a:pt x="80" y="38"/>
                      <a:pt x="79" y="42"/>
                    </a:cubicBezTo>
                    <a:cubicBezTo>
                      <a:pt x="77" y="44"/>
                      <a:pt x="76" y="50"/>
                      <a:pt x="73" y="52"/>
                    </a:cubicBezTo>
                    <a:cubicBezTo>
                      <a:pt x="72" y="52"/>
                      <a:pt x="71" y="53"/>
                      <a:pt x="70" y="53"/>
                    </a:cubicBezTo>
                    <a:cubicBezTo>
                      <a:pt x="68" y="53"/>
                      <a:pt x="66" y="51"/>
                      <a:pt x="64" y="51"/>
                    </a:cubicBezTo>
                    <a:cubicBezTo>
                      <a:pt x="68" y="54"/>
                      <a:pt x="58" y="57"/>
                      <a:pt x="55" y="58"/>
                    </a:cubicBezTo>
                    <a:cubicBezTo>
                      <a:pt x="55" y="58"/>
                      <a:pt x="54" y="58"/>
                      <a:pt x="54" y="58"/>
                    </a:cubicBezTo>
                    <a:cubicBezTo>
                      <a:pt x="52" y="58"/>
                      <a:pt x="50" y="57"/>
                      <a:pt x="48" y="57"/>
                    </a:cubicBezTo>
                    <a:cubicBezTo>
                      <a:pt x="45" y="56"/>
                      <a:pt x="41" y="56"/>
                      <a:pt x="37" y="56"/>
                    </a:cubicBezTo>
                    <a:cubicBezTo>
                      <a:pt x="34" y="56"/>
                      <a:pt x="30" y="56"/>
                      <a:pt x="26" y="57"/>
                    </a:cubicBezTo>
                    <a:cubicBezTo>
                      <a:pt x="23" y="58"/>
                      <a:pt x="13" y="61"/>
                      <a:pt x="6" y="61"/>
                    </a:cubicBezTo>
                    <a:cubicBezTo>
                      <a:pt x="4" y="61"/>
                      <a:pt x="2" y="61"/>
                      <a:pt x="0" y="60"/>
                    </a:cubicBezTo>
                    <a:cubicBezTo>
                      <a:pt x="1" y="61"/>
                      <a:pt x="3" y="62"/>
                      <a:pt x="4" y="63"/>
                    </a:cubicBezTo>
                    <a:cubicBezTo>
                      <a:pt x="5" y="65"/>
                      <a:pt x="5" y="65"/>
                      <a:pt x="5" y="65"/>
                    </a:cubicBezTo>
                    <a:cubicBezTo>
                      <a:pt x="6" y="66"/>
                      <a:pt x="9" y="70"/>
                      <a:pt x="9" y="70"/>
                    </a:cubicBezTo>
                    <a:cubicBezTo>
                      <a:pt x="13" y="75"/>
                      <a:pt x="13" y="75"/>
                      <a:pt x="13" y="75"/>
                    </a:cubicBezTo>
                    <a:cubicBezTo>
                      <a:pt x="17" y="79"/>
                      <a:pt x="20" y="84"/>
                      <a:pt x="23" y="88"/>
                    </a:cubicBezTo>
                    <a:cubicBezTo>
                      <a:pt x="93" y="94"/>
                      <a:pt x="93" y="94"/>
                      <a:pt x="93" y="94"/>
                    </a:cubicBezTo>
                    <a:cubicBezTo>
                      <a:pt x="93" y="93"/>
                      <a:pt x="94" y="92"/>
                      <a:pt x="94" y="91"/>
                    </a:cubicBezTo>
                    <a:cubicBezTo>
                      <a:pt x="94" y="91"/>
                      <a:pt x="94" y="90"/>
                      <a:pt x="94" y="90"/>
                    </a:cubicBezTo>
                    <a:cubicBezTo>
                      <a:pt x="96" y="83"/>
                      <a:pt x="96" y="83"/>
                      <a:pt x="96" y="83"/>
                    </a:cubicBezTo>
                    <a:cubicBezTo>
                      <a:pt x="97" y="79"/>
                      <a:pt x="98" y="74"/>
                      <a:pt x="98" y="70"/>
                    </a:cubicBezTo>
                    <a:cubicBezTo>
                      <a:pt x="99" y="70"/>
                      <a:pt x="99" y="69"/>
                      <a:pt x="99" y="68"/>
                    </a:cubicBezTo>
                    <a:cubicBezTo>
                      <a:pt x="99" y="67"/>
                      <a:pt x="99" y="67"/>
                      <a:pt x="99" y="67"/>
                    </a:cubicBezTo>
                    <a:cubicBezTo>
                      <a:pt x="99" y="66"/>
                      <a:pt x="99" y="66"/>
                      <a:pt x="99" y="65"/>
                    </a:cubicBezTo>
                    <a:cubicBezTo>
                      <a:pt x="100" y="62"/>
                      <a:pt x="101" y="58"/>
                      <a:pt x="106" y="56"/>
                    </a:cubicBezTo>
                    <a:cubicBezTo>
                      <a:pt x="107" y="55"/>
                      <a:pt x="108" y="55"/>
                      <a:pt x="108" y="55"/>
                    </a:cubicBezTo>
                    <a:cubicBezTo>
                      <a:pt x="109" y="55"/>
                      <a:pt x="109" y="55"/>
                      <a:pt x="109" y="55"/>
                    </a:cubicBezTo>
                    <a:cubicBezTo>
                      <a:pt x="110" y="55"/>
                      <a:pt x="110" y="55"/>
                      <a:pt x="110" y="55"/>
                    </a:cubicBezTo>
                    <a:cubicBezTo>
                      <a:pt x="110" y="55"/>
                      <a:pt x="110" y="55"/>
                      <a:pt x="110" y="55"/>
                    </a:cubicBezTo>
                    <a:cubicBezTo>
                      <a:pt x="111" y="55"/>
                      <a:pt x="111" y="55"/>
                      <a:pt x="111" y="55"/>
                    </a:cubicBezTo>
                    <a:cubicBezTo>
                      <a:pt x="110" y="54"/>
                      <a:pt x="109" y="53"/>
                      <a:pt x="109" y="52"/>
                    </a:cubicBezTo>
                    <a:cubicBezTo>
                      <a:pt x="109" y="46"/>
                      <a:pt x="110" y="41"/>
                      <a:pt x="112" y="35"/>
                    </a:cubicBezTo>
                    <a:cubicBezTo>
                      <a:pt x="113" y="33"/>
                      <a:pt x="113" y="33"/>
                      <a:pt x="113" y="33"/>
                    </a:cubicBezTo>
                    <a:cubicBezTo>
                      <a:pt x="121" y="33"/>
                      <a:pt x="121" y="33"/>
                      <a:pt x="121" y="33"/>
                    </a:cubicBezTo>
                    <a:cubicBezTo>
                      <a:pt x="122" y="32"/>
                      <a:pt x="124" y="31"/>
                      <a:pt x="125" y="31"/>
                    </a:cubicBezTo>
                    <a:cubicBezTo>
                      <a:pt x="125" y="30"/>
                      <a:pt x="126" y="29"/>
                      <a:pt x="126" y="27"/>
                    </a:cubicBezTo>
                    <a:cubicBezTo>
                      <a:pt x="127" y="26"/>
                      <a:pt x="127" y="26"/>
                      <a:pt x="127" y="26"/>
                    </a:cubicBezTo>
                    <a:cubicBezTo>
                      <a:pt x="128" y="27"/>
                      <a:pt x="128" y="27"/>
                      <a:pt x="128" y="27"/>
                    </a:cubicBezTo>
                    <a:cubicBezTo>
                      <a:pt x="128" y="25"/>
                      <a:pt x="128" y="25"/>
                      <a:pt x="128" y="25"/>
                    </a:cubicBezTo>
                    <a:cubicBezTo>
                      <a:pt x="129" y="25"/>
                      <a:pt x="129" y="25"/>
                      <a:pt x="129" y="25"/>
                    </a:cubicBezTo>
                    <a:cubicBezTo>
                      <a:pt x="130" y="23"/>
                      <a:pt x="130" y="20"/>
                      <a:pt x="130" y="19"/>
                    </a:cubicBezTo>
                    <a:cubicBezTo>
                      <a:pt x="129" y="17"/>
                      <a:pt x="128" y="15"/>
                      <a:pt x="128" y="13"/>
                    </a:cubicBezTo>
                    <a:cubicBezTo>
                      <a:pt x="127" y="13"/>
                      <a:pt x="126" y="14"/>
                      <a:pt x="125" y="14"/>
                    </a:cubicBezTo>
                    <a:cubicBezTo>
                      <a:pt x="124" y="14"/>
                      <a:pt x="123" y="13"/>
                      <a:pt x="122" y="13"/>
                    </a:cubicBezTo>
                    <a:cubicBezTo>
                      <a:pt x="119" y="11"/>
                      <a:pt x="119" y="6"/>
                      <a:pt x="118" y="1"/>
                    </a:cubicBezTo>
                    <a:cubicBezTo>
                      <a:pt x="118" y="0"/>
                      <a:pt x="118" y="0"/>
                      <a:pt x="1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358"/>
              <p:cNvSpPr/>
              <p:nvPr/>
            </p:nvSpPr>
            <p:spPr bwMode="auto">
              <a:xfrm>
                <a:off x="7469730" y="5933037"/>
                <a:ext cx="1868353" cy="924964"/>
              </a:xfrm>
              <a:custGeom>
                <a:gdLst>
                  <a:gd name="T0" fmla="*/ 117 w 588"/>
                  <a:gd name="T1" fmla="*/ 6 h 291"/>
                  <a:gd name="T2" fmla="*/ 80 w 588"/>
                  <a:gd name="T3" fmla="*/ 17 h 291"/>
                  <a:gd name="T4" fmla="*/ 97 w 588"/>
                  <a:gd name="T5" fmla="*/ 39 h 291"/>
                  <a:gd name="T6" fmla="*/ 100 w 588"/>
                  <a:gd name="T7" fmla="*/ 43 h 291"/>
                  <a:gd name="T8" fmla="*/ 87 w 588"/>
                  <a:gd name="T9" fmla="*/ 66 h 291"/>
                  <a:gd name="T10" fmla="*/ 74 w 588"/>
                  <a:gd name="T11" fmla="*/ 69 h 291"/>
                  <a:gd name="T12" fmla="*/ 67 w 588"/>
                  <a:gd name="T13" fmla="*/ 70 h 291"/>
                  <a:gd name="T14" fmla="*/ 53 w 588"/>
                  <a:gd name="T15" fmla="*/ 84 h 291"/>
                  <a:gd name="T16" fmla="*/ 36 w 588"/>
                  <a:gd name="T17" fmla="*/ 90 h 291"/>
                  <a:gd name="T18" fmla="*/ 16 w 588"/>
                  <a:gd name="T19" fmla="*/ 87 h 291"/>
                  <a:gd name="T20" fmla="*/ 13 w 588"/>
                  <a:gd name="T21" fmla="*/ 88 h 291"/>
                  <a:gd name="T22" fmla="*/ 3 w 588"/>
                  <a:gd name="T23" fmla="*/ 124 h 291"/>
                  <a:gd name="T24" fmla="*/ 5 w 588"/>
                  <a:gd name="T25" fmla="*/ 121 h 291"/>
                  <a:gd name="T26" fmla="*/ 9 w 588"/>
                  <a:gd name="T27" fmla="*/ 122 h 291"/>
                  <a:gd name="T28" fmla="*/ 14 w 588"/>
                  <a:gd name="T29" fmla="*/ 121 h 291"/>
                  <a:gd name="T30" fmla="*/ 39 w 588"/>
                  <a:gd name="T31" fmla="*/ 155 h 291"/>
                  <a:gd name="T32" fmla="*/ 67 w 588"/>
                  <a:gd name="T33" fmla="*/ 198 h 291"/>
                  <a:gd name="T34" fmla="*/ 86 w 588"/>
                  <a:gd name="T35" fmla="*/ 236 h 291"/>
                  <a:gd name="T36" fmla="*/ 113 w 588"/>
                  <a:gd name="T37" fmla="*/ 255 h 291"/>
                  <a:gd name="T38" fmla="*/ 130 w 588"/>
                  <a:gd name="T39" fmla="*/ 291 h 291"/>
                  <a:gd name="T40" fmla="*/ 585 w 588"/>
                  <a:gd name="T41" fmla="*/ 288 h 291"/>
                  <a:gd name="T42" fmla="*/ 499 w 588"/>
                  <a:gd name="T43" fmla="*/ 266 h 291"/>
                  <a:gd name="T44" fmla="*/ 482 w 588"/>
                  <a:gd name="T45" fmla="*/ 242 h 291"/>
                  <a:gd name="T46" fmla="*/ 478 w 588"/>
                  <a:gd name="T47" fmla="*/ 234 h 291"/>
                  <a:gd name="T48" fmla="*/ 482 w 588"/>
                  <a:gd name="T49" fmla="*/ 227 h 291"/>
                  <a:gd name="T50" fmla="*/ 478 w 588"/>
                  <a:gd name="T51" fmla="*/ 228 h 291"/>
                  <a:gd name="T52" fmla="*/ 472 w 588"/>
                  <a:gd name="T53" fmla="*/ 228 h 291"/>
                  <a:gd name="T54" fmla="*/ 469 w 588"/>
                  <a:gd name="T55" fmla="*/ 229 h 291"/>
                  <a:gd name="T56" fmla="*/ 468 w 588"/>
                  <a:gd name="T57" fmla="*/ 228 h 291"/>
                  <a:gd name="T58" fmla="*/ 463 w 588"/>
                  <a:gd name="T59" fmla="*/ 222 h 291"/>
                  <a:gd name="T60" fmla="*/ 440 w 588"/>
                  <a:gd name="T61" fmla="*/ 181 h 291"/>
                  <a:gd name="T62" fmla="*/ 446 w 588"/>
                  <a:gd name="T63" fmla="*/ 174 h 291"/>
                  <a:gd name="T64" fmla="*/ 445 w 588"/>
                  <a:gd name="T65" fmla="*/ 166 h 291"/>
                  <a:gd name="T66" fmla="*/ 426 w 588"/>
                  <a:gd name="T67" fmla="*/ 150 h 291"/>
                  <a:gd name="T68" fmla="*/ 415 w 588"/>
                  <a:gd name="T69" fmla="*/ 142 h 291"/>
                  <a:gd name="T70" fmla="*/ 417 w 588"/>
                  <a:gd name="T71" fmla="*/ 139 h 291"/>
                  <a:gd name="T72" fmla="*/ 412 w 588"/>
                  <a:gd name="T73" fmla="*/ 137 h 291"/>
                  <a:gd name="T74" fmla="*/ 397 w 588"/>
                  <a:gd name="T75" fmla="*/ 111 h 291"/>
                  <a:gd name="T76" fmla="*/ 394 w 588"/>
                  <a:gd name="T77" fmla="*/ 111 h 291"/>
                  <a:gd name="T78" fmla="*/ 389 w 588"/>
                  <a:gd name="T79" fmla="*/ 112 h 291"/>
                  <a:gd name="T80" fmla="*/ 369 w 588"/>
                  <a:gd name="T81" fmla="*/ 106 h 291"/>
                  <a:gd name="T82" fmla="*/ 368 w 588"/>
                  <a:gd name="T83" fmla="*/ 104 h 291"/>
                  <a:gd name="T84" fmla="*/ 368 w 588"/>
                  <a:gd name="T85" fmla="*/ 101 h 291"/>
                  <a:gd name="T86" fmla="*/ 367 w 588"/>
                  <a:gd name="T87" fmla="*/ 100 h 291"/>
                  <a:gd name="T88" fmla="*/ 342 w 588"/>
                  <a:gd name="T89" fmla="*/ 94 h 291"/>
                  <a:gd name="T90" fmla="*/ 338 w 588"/>
                  <a:gd name="T91" fmla="*/ 96 h 291"/>
                  <a:gd name="T92" fmla="*/ 333 w 588"/>
                  <a:gd name="T93" fmla="*/ 95 h 291"/>
                  <a:gd name="T94" fmla="*/ 274 w 588"/>
                  <a:gd name="T95" fmla="*/ 79 h 291"/>
                  <a:gd name="T96" fmla="*/ 232 w 588"/>
                  <a:gd name="T97" fmla="*/ 47 h 291"/>
                  <a:gd name="T98" fmla="*/ 199 w 588"/>
                  <a:gd name="T99" fmla="*/ 24 h 291"/>
                  <a:gd name="T100" fmla="*/ 167 w 588"/>
                  <a:gd name="T101" fmla="*/ 5 h 2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8" h="291">
                    <a:moveTo>
                      <a:pt x="133" y="0"/>
                    </a:moveTo>
                    <a:cubicBezTo>
                      <a:pt x="131" y="0"/>
                      <a:pt x="131" y="0"/>
                      <a:pt x="131" y="0"/>
                    </a:cubicBezTo>
                    <a:cubicBezTo>
                      <a:pt x="127" y="3"/>
                      <a:pt x="122" y="4"/>
                      <a:pt x="117" y="6"/>
                    </a:cubicBezTo>
                    <a:cubicBezTo>
                      <a:pt x="115" y="6"/>
                      <a:pt x="115" y="6"/>
                      <a:pt x="115" y="6"/>
                    </a:cubicBezTo>
                    <a:cubicBezTo>
                      <a:pt x="113" y="7"/>
                      <a:pt x="111" y="7"/>
                      <a:pt x="109" y="8"/>
                    </a:cubicBezTo>
                    <a:cubicBezTo>
                      <a:pt x="100" y="11"/>
                      <a:pt x="90" y="14"/>
                      <a:pt x="80" y="17"/>
                    </a:cubicBezTo>
                    <a:cubicBezTo>
                      <a:pt x="77" y="18"/>
                      <a:pt x="77" y="18"/>
                      <a:pt x="77" y="18"/>
                    </a:cubicBezTo>
                    <a:cubicBezTo>
                      <a:pt x="83" y="24"/>
                      <a:pt x="89" y="30"/>
                      <a:pt x="95" y="37"/>
                    </a:cubicBezTo>
                    <a:cubicBezTo>
                      <a:pt x="95" y="38"/>
                      <a:pt x="96" y="38"/>
                      <a:pt x="97" y="39"/>
                    </a:cubicBezTo>
                    <a:cubicBezTo>
                      <a:pt x="97" y="39"/>
                      <a:pt x="97" y="39"/>
                      <a:pt x="97" y="39"/>
                    </a:cubicBezTo>
                    <a:cubicBezTo>
                      <a:pt x="98" y="40"/>
                      <a:pt x="98" y="41"/>
                      <a:pt x="99" y="41"/>
                    </a:cubicBezTo>
                    <a:cubicBezTo>
                      <a:pt x="99" y="42"/>
                      <a:pt x="100" y="42"/>
                      <a:pt x="100" y="43"/>
                    </a:cubicBezTo>
                    <a:cubicBezTo>
                      <a:pt x="102" y="44"/>
                      <a:pt x="102" y="45"/>
                      <a:pt x="102" y="47"/>
                    </a:cubicBezTo>
                    <a:cubicBezTo>
                      <a:pt x="103" y="48"/>
                      <a:pt x="103" y="51"/>
                      <a:pt x="89" y="63"/>
                    </a:cubicBezTo>
                    <a:cubicBezTo>
                      <a:pt x="88" y="64"/>
                      <a:pt x="88" y="65"/>
                      <a:pt x="87" y="66"/>
                    </a:cubicBezTo>
                    <a:cubicBezTo>
                      <a:pt x="84" y="67"/>
                      <a:pt x="81" y="68"/>
                      <a:pt x="78" y="68"/>
                    </a:cubicBezTo>
                    <a:cubicBezTo>
                      <a:pt x="77" y="68"/>
                      <a:pt x="77" y="68"/>
                      <a:pt x="77" y="68"/>
                    </a:cubicBezTo>
                    <a:cubicBezTo>
                      <a:pt x="76" y="68"/>
                      <a:pt x="75" y="68"/>
                      <a:pt x="74" y="69"/>
                    </a:cubicBezTo>
                    <a:cubicBezTo>
                      <a:pt x="73" y="69"/>
                      <a:pt x="73" y="69"/>
                      <a:pt x="72" y="69"/>
                    </a:cubicBezTo>
                    <a:cubicBezTo>
                      <a:pt x="70" y="69"/>
                      <a:pt x="70" y="69"/>
                      <a:pt x="70" y="69"/>
                    </a:cubicBezTo>
                    <a:cubicBezTo>
                      <a:pt x="69" y="69"/>
                      <a:pt x="68" y="70"/>
                      <a:pt x="67" y="70"/>
                    </a:cubicBezTo>
                    <a:cubicBezTo>
                      <a:pt x="64" y="71"/>
                      <a:pt x="62" y="74"/>
                      <a:pt x="59" y="77"/>
                    </a:cubicBezTo>
                    <a:cubicBezTo>
                      <a:pt x="59" y="78"/>
                      <a:pt x="58" y="79"/>
                      <a:pt x="57" y="80"/>
                    </a:cubicBezTo>
                    <a:cubicBezTo>
                      <a:pt x="53" y="84"/>
                      <a:pt x="53" y="84"/>
                      <a:pt x="53" y="84"/>
                    </a:cubicBezTo>
                    <a:cubicBezTo>
                      <a:pt x="50" y="88"/>
                      <a:pt x="48" y="90"/>
                      <a:pt x="46" y="91"/>
                    </a:cubicBezTo>
                    <a:cubicBezTo>
                      <a:pt x="46" y="91"/>
                      <a:pt x="45" y="92"/>
                      <a:pt x="44" y="92"/>
                    </a:cubicBezTo>
                    <a:cubicBezTo>
                      <a:pt x="42" y="92"/>
                      <a:pt x="39" y="91"/>
                      <a:pt x="36" y="90"/>
                    </a:cubicBezTo>
                    <a:cubicBezTo>
                      <a:pt x="35" y="90"/>
                      <a:pt x="35" y="90"/>
                      <a:pt x="35" y="90"/>
                    </a:cubicBezTo>
                    <a:cubicBezTo>
                      <a:pt x="35" y="90"/>
                      <a:pt x="34" y="90"/>
                      <a:pt x="34" y="90"/>
                    </a:cubicBezTo>
                    <a:cubicBezTo>
                      <a:pt x="16" y="87"/>
                      <a:pt x="16" y="87"/>
                      <a:pt x="16" y="87"/>
                    </a:cubicBezTo>
                    <a:cubicBezTo>
                      <a:pt x="16" y="87"/>
                      <a:pt x="15" y="87"/>
                      <a:pt x="15" y="87"/>
                    </a:cubicBezTo>
                    <a:cubicBezTo>
                      <a:pt x="15" y="87"/>
                      <a:pt x="14" y="87"/>
                      <a:pt x="14" y="87"/>
                    </a:cubicBezTo>
                    <a:cubicBezTo>
                      <a:pt x="13" y="88"/>
                      <a:pt x="13" y="88"/>
                      <a:pt x="13" y="88"/>
                    </a:cubicBezTo>
                    <a:cubicBezTo>
                      <a:pt x="12" y="88"/>
                      <a:pt x="12" y="88"/>
                      <a:pt x="12" y="88"/>
                    </a:cubicBezTo>
                    <a:cubicBezTo>
                      <a:pt x="10" y="96"/>
                      <a:pt x="8" y="103"/>
                      <a:pt x="5" y="111"/>
                    </a:cubicBezTo>
                    <a:cubicBezTo>
                      <a:pt x="5" y="113"/>
                      <a:pt x="0" y="124"/>
                      <a:pt x="3" y="124"/>
                    </a:cubicBezTo>
                    <a:cubicBezTo>
                      <a:pt x="3" y="124"/>
                      <a:pt x="3" y="124"/>
                      <a:pt x="3" y="124"/>
                    </a:cubicBezTo>
                    <a:cubicBezTo>
                      <a:pt x="4" y="124"/>
                      <a:pt x="4" y="122"/>
                      <a:pt x="4" y="122"/>
                    </a:cubicBezTo>
                    <a:cubicBezTo>
                      <a:pt x="5" y="121"/>
                      <a:pt x="5" y="121"/>
                      <a:pt x="5" y="121"/>
                    </a:cubicBezTo>
                    <a:cubicBezTo>
                      <a:pt x="6" y="121"/>
                      <a:pt x="6" y="122"/>
                      <a:pt x="7" y="122"/>
                    </a:cubicBezTo>
                    <a:cubicBezTo>
                      <a:pt x="7" y="122"/>
                      <a:pt x="8" y="122"/>
                      <a:pt x="8" y="122"/>
                    </a:cubicBezTo>
                    <a:cubicBezTo>
                      <a:pt x="8" y="122"/>
                      <a:pt x="9" y="122"/>
                      <a:pt x="9" y="122"/>
                    </a:cubicBezTo>
                    <a:cubicBezTo>
                      <a:pt x="9" y="122"/>
                      <a:pt x="10" y="122"/>
                      <a:pt x="10" y="122"/>
                    </a:cubicBezTo>
                    <a:cubicBezTo>
                      <a:pt x="11" y="122"/>
                      <a:pt x="11" y="122"/>
                      <a:pt x="12" y="122"/>
                    </a:cubicBezTo>
                    <a:cubicBezTo>
                      <a:pt x="12" y="122"/>
                      <a:pt x="13" y="121"/>
                      <a:pt x="14" y="121"/>
                    </a:cubicBezTo>
                    <a:cubicBezTo>
                      <a:pt x="14" y="121"/>
                      <a:pt x="14" y="121"/>
                      <a:pt x="14" y="121"/>
                    </a:cubicBezTo>
                    <a:cubicBezTo>
                      <a:pt x="16" y="121"/>
                      <a:pt x="18" y="123"/>
                      <a:pt x="20" y="125"/>
                    </a:cubicBezTo>
                    <a:cubicBezTo>
                      <a:pt x="27" y="135"/>
                      <a:pt x="32" y="146"/>
                      <a:pt x="39" y="155"/>
                    </a:cubicBezTo>
                    <a:cubicBezTo>
                      <a:pt x="47" y="165"/>
                      <a:pt x="51" y="179"/>
                      <a:pt x="61" y="185"/>
                    </a:cubicBezTo>
                    <a:cubicBezTo>
                      <a:pt x="63" y="186"/>
                      <a:pt x="62" y="187"/>
                      <a:pt x="62" y="189"/>
                    </a:cubicBezTo>
                    <a:cubicBezTo>
                      <a:pt x="62" y="193"/>
                      <a:pt x="64" y="195"/>
                      <a:pt x="67" y="198"/>
                    </a:cubicBezTo>
                    <a:cubicBezTo>
                      <a:pt x="71" y="202"/>
                      <a:pt x="76" y="208"/>
                      <a:pt x="78" y="213"/>
                    </a:cubicBezTo>
                    <a:cubicBezTo>
                      <a:pt x="79" y="216"/>
                      <a:pt x="79" y="221"/>
                      <a:pt x="80" y="224"/>
                    </a:cubicBezTo>
                    <a:cubicBezTo>
                      <a:pt x="81" y="229"/>
                      <a:pt x="83" y="232"/>
                      <a:pt x="86" y="236"/>
                    </a:cubicBezTo>
                    <a:cubicBezTo>
                      <a:pt x="88" y="240"/>
                      <a:pt x="91" y="239"/>
                      <a:pt x="95" y="240"/>
                    </a:cubicBezTo>
                    <a:cubicBezTo>
                      <a:pt x="100" y="240"/>
                      <a:pt x="105" y="247"/>
                      <a:pt x="109" y="250"/>
                    </a:cubicBezTo>
                    <a:cubicBezTo>
                      <a:pt x="111" y="252"/>
                      <a:pt x="111" y="253"/>
                      <a:pt x="113" y="255"/>
                    </a:cubicBezTo>
                    <a:cubicBezTo>
                      <a:pt x="116" y="261"/>
                      <a:pt x="120" y="266"/>
                      <a:pt x="122" y="273"/>
                    </a:cubicBezTo>
                    <a:cubicBezTo>
                      <a:pt x="125" y="279"/>
                      <a:pt x="127" y="284"/>
                      <a:pt x="130" y="290"/>
                    </a:cubicBezTo>
                    <a:cubicBezTo>
                      <a:pt x="130" y="290"/>
                      <a:pt x="130" y="291"/>
                      <a:pt x="130" y="291"/>
                    </a:cubicBezTo>
                    <a:cubicBezTo>
                      <a:pt x="588" y="291"/>
                      <a:pt x="588" y="291"/>
                      <a:pt x="588" y="291"/>
                    </a:cubicBezTo>
                    <a:cubicBezTo>
                      <a:pt x="587" y="290"/>
                      <a:pt x="587" y="289"/>
                      <a:pt x="586" y="289"/>
                    </a:cubicBezTo>
                    <a:cubicBezTo>
                      <a:pt x="585" y="288"/>
                      <a:pt x="585" y="288"/>
                      <a:pt x="585" y="288"/>
                    </a:cubicBezTo>
                    <a:cubicBezTo>
                      <a:pt x="513" y="281"/>
                      <a:pt x="513" y="281"/>
                      <a:pt x="513" y="281"/>
                    </a:cubicBezTo>
                    <a:cubicBezTo>
                      <a:pt x="512" y="281"/>
                      <a:pt x="511" y="280"/>
                      <a:pt x="510" y="280"/>
                    </a:cubicBezTo>
                    <a:cubicBezTo>
                      <a:pt x="506" y="275"/>
                      <a:pt x="503" y="270"/>
                      <a:pt x="499" y="266"/>
                    </a:cubicBezTo>
                    <a:cubicBezTo>
                      <a:pt x="492" y="257"/>
                      <a:pt x="492" y="257"/>
                      <a:pt x="492" y="257"/>
                    </a:cubicBezTo>
                    <a:cubicBezTo>
                      <a:pt x="491" y="255"/>
                      <a:pt x="491" y="255"/>
                      <a:pt x="491" y="255"/>
                    </a:cubicBezTo>
                    <a:cubicBezTo>
                      <a:pt x="487" y="251"/>
                      <a:pt x="483" y="247"/>
                      <a:pt x="482" y="242"/>
                    </a:cubicBezTo>
                    <a:cubicBezTo>
                      <a:pt x="481" y="238"/>
                      <a:pt x="481" y="238"/>
                      <a:pt x="481" y="238"/>
                    </a:cubicBezTo>
                    <a:cubicBezTo>
                      <a:pt x="480" y="238"/>
                      <a:pt x="478" y="238"/>
                      <a:pt x="477" y="237"/>
                    </a:cubicBezTo>
                    <a:cubicBezTo>
                      <a:pt x="476" y="237"/>
                      <a:pt x="477" y="234"/>
                      <a:pt x="478" y="234"/>
                    </a:cubicBezTo>
                    <a:cubicBezTo>
                      <a:pt x="479" y="232"/>
                      <a:pt x="481" y="231"/>
                      <a:pt x="481" y="230"/>
                    </a:cubicBezTo>
                    <a:cubicBezTo>
                      <a:pt x="482" y="230"/>
                      <a:pt x="482" y="230"/>
                      <a:pt x="482" y="230"/>
                    </a:cubicBezTo>
                    <a:cubicBezTo>
                      <a:pt x="482" y="227"/>
                      <a:pt x="482" y="227"/>
                      <a:pt x="482" y="227"/>
                    </a:cubicBezTo>
                    <a:cubicBezTo>
                      <a:pt x="482" y="227"/>
                      <a:pt x="482" y="227"/>
                      <a:pt x="482" y="227"/>
                    </a:cubicBezTo>
                    <a:cubicBezTo>
                      <a:pt x="480" y="228"/>
                      <a:pt x="479" y="228"/>
                      <a:pt x="479" y="228"/>
                    </a:cubicBezTo>
                    <a:cubicBezTo>
                      <a:pt x="479" y="228"/>
                      <a:pt x="478" y="228"/>
                      <a:pt x="478" y="228"/>
                    </a:cubicBezTo>
                    <a:cubicBezTo>
                      <a:pt x="478" y="228"/>
                      <a:pt x="477" y="228"/>
                      <a:pt x="476" y="228"/>
                    </a:cubicBezTo>
                    <a:cubicBezTo>
                      <a:pt x="476" y="228"/>
                      <a:pt x="476" y="228"/>
                      <a:pt x="476" y="228"/>
                    </a:cubicBezTo>
                    <a:cubicBezTo>
                      <a:pt x="475" y="228"/>
                      <a:pt x="473" y="228"/>
                      <a:pt x="472" y="228"/>
                    </a:cubicBezTo>
                    <a:cubicBezTo>
                      <a:pt x="471" y="228"/>
                      <a:pt x="471" y="228"/>
                      <a:pt x="470" y="229"/>
                    </a:cubicBezTo>
                    <a:cubicBezTo>
                      <a:pt x="469" y="229"/>
                      <a:pt x="469" y="229"/>
                      <a:pt x="469" y="229"/>
                    </a:cubicBezTo>
                    <a:cubicBezTo>
                      <a:pt x="469" y="229"/>
                      <a:pt x="469" y="229"/>
                      <a:pt x="469" y="229"/>
                    </a:cubicBezTo>
                    <a:cubicBezTo>
                      <a:pt x="469" y="229"/>
                      <a:pt x="469" y="229"/>
                      <a:pt x="469" y="229"/>
                    </a:cubicBezTo>
                    <a:cubicBezTo>
                      <a:pt x="468" y="229"/>
                      <a:pt x="468" y="229"/>
                      <a:pt x="468" y="229"/>
                    </a:cubicBezTo>
                    <a:cubicBezTo>
                      <a:pt x="468" y="228"/>
                      <a:pt x="468" y="228"/>
                      <a:pt x="468" y="228"/>
                    </a:cubicBezTo>
                    <a:cubicBezTo>
                      <a:pt x="466" y="228"/>
                      <a:pt x="465" y="226"/>
                      <a:pt x="464" y="224"/>
                    </a:cubicBezTo>
                    <a:cubicBezTo>
                      <a:pt x="463" y="222"/>
                      <a:pt x="463" y="222"/>
                      <a:pt x="463" y="222"/>
                    </a:cubicBezTo>
                    <a:cubicBezTo>
                      <a:pt x="463" y="222"/>
                      <a:pt x="463" y="222"/>
                      <a:pt x="463" y="222"/>
                    </a:cubicBezTo>
                    <a:cubicBezTo>
                      <a:pt x="459" y="216"/>
                      <a:pt x="455" y="210"/>
                      <a:pt x="451" y="204"/>
                    </a:cubicBezTo>
                    <a:cubicBezTo>
                      <a:pt x="448" y="198"/>
                      <a:pt x="442" y="192"/>
                      <a:pt x="440" y="186"/>
                    </a:cubicBezTo>
                    <a:cubicBezTo>
                      <a:pt x="440" y="185"/>
                      <a:pt x="439" y="182"/>
                      <a:pt x="440" y="181"/>
                    </a:cubicBezTo>
                    <a:cubicBezTo>
                      <a:pt x="441" y="181"/>
                      <a:pt x="441" y="180"/>
                      <a:pt x="441" y="180"/>
                    </a:cubicBezTo>
                    <a:cubicBezTo>
                      <a:pt x="442" y="180"/>
                      <a:pt x="443" y="183"/>
                      <a:pt x="444" y="185"/>
                    </a:cubicBezTo>
                    <a:cubicBezTo>
                      <a:pt x="445" y="182"/>
                      <a:pt x="447" y="176"/>
                      <a:pt x="446" y="174"/>
                    </a:cubicBezTo>
                    <a:cubicBezTo>
                      <a:pt x="444" y="170"/>
                      <a:pt x="438" y="169"/>
                      <a:pt x="440" y="164"/>
                    </a:cubicBezTo>
                    <a:cubicBezTo>
                      <a:pt x="441" y="165"/>
                      <a:pt x="442" y="166"/>
                      <a:pt x="444" y="166"/>
                    </a:cubicBezTo>
                    <a:cubicBezTo>
                      <a:pt x="444" y="166"/>
                      <a:pt x="444" y="166"/>
                      <a:pt x="445" y="166"/>
                    </a:cubicBezTo>
                    <a:cubicBezTo>
                      <a:pt x="442" y="164"/>
                      <a:pt x="441" y="161"/>
                      <a:pt x="438" y="160"/>
                    </a:cubicBezTo>
                    <a:cubicBezTo>
                      <a:pt x="437" y="159"/>
                      <a:pt x="435" y="159"/>
                      <a:pt x="434" y="158"/>
                    </a:cubicBezTo>
                    <a:cubicBezTo>
                      <a:pt x="431" y="156"/>
                      <a:pt x="430" y="150"/>
                      <a:pt x="426" y="150"/>
                    </a:cubicBezTo>
                    <a:cubicBezTo>
                      <a:pt x="426" y="150"/>
                      <a:pt x="426" y="150"/>
                      <a:pt x="426" y="150"/>
                    </a:cubicBezTo>
                    <a:cubicBezTo>
                      <a:pt x="426" y="150"/>
                      <a:pt x="426" y="151"/>
                      <a:pt x="426" y="151"/>
                    </a:cubicBezTo>
                    <a:cubicBezTo>
                      <a:pt x="422" y="151"/>
                      <a:pt x="420" y="144"/>
                      <a:pt x="415" y="142"/>
                    </a:cubicBezTo>
                    <a:cubicBezTo>
                      <a:pt x="417" y="142"/>
                      <a:pt x="418" y="141"/>
                      <a:pt x="420" y="140"/>
                    </a:cubicBezTo>
                    <a:cubicBezTo>
                      <a:pt x="419" y="139"/>
                      <a:pt x="418" y="139"/>
                      <a:pt x="417" y="139"/>
                    </a:cubicBezTo>
                    <a:cubicBezTo>
                      <a:pt x="417" y="139"/>
                      <a:pt x="417" y="139"/>
                      <a:pt x="417" y="139"/>
                    </a:cubicBezTo>
                    <a:cubicBezTo>
                      <a:pt x="416" y="139"/>
                      <a:pt x="416" y="139"/>
                      <a:pt x="416" y="139"/>
                    </a:cubicBezTo>
                    <a:cubicBezTo>
                      <a:pt x="415" y="139"/>
                      <a:pt x="415" y="139"/>
                      <a:pt x="414" y="139"/>
                    </a:cubicBezTo>
                    <a:cubicBezTo>
                      <a:pt x="413" y="138"/>
                      <a:pt x="412" y="137"/>
                      <a:pt x="412" y="137"/>
                    </a:cubicBezTo>
                    <a:cubicBezTo>
                      <a:pt x="409" y="136"/>
                      <a:pt x="408" y="137"/>
                      <a:pt x="406" y="134"/>
                    </a:cubicBezTo>
                    <a:cubicBezTo>
                      <a:pt x="404" y="132"/>
                      <a:pt x="404" y="127"/>
                      <a:pt x="402" y="124"/>
                    </a:cubicBezTo>
                    <a:cubicBezTo>
                      <a:pt x="401" y="120"/>
                      <a:pt x="399" y="116"/>
                      <a:pt x="397" y="111"/>
                    </a:cubicBezTo>
                    <a:cubicBezTo>
                      <a:pt x="396" y="112"/>
                      <a:pt x="396" y="112"/>
                      <a:pt x="396" y="112"/>
                    </a:cubicBezTo>
                    <a:cubicBezTo>
                      <a:pt x="395" y="112"/>
                      <a:pt x="395" y="112"/>
                      <a:pt x="395" y="112"/>
                    </a:cubicBezTo>
                    <a:cubicBezTo>
                      <a:pt x="394" y="111"/>
                      <a:pt x="394" y="111"/>
                      <a:pt x="394" y="111"/>
                    </a:cubicBezTo>
                    <a:cubicBezTo>
                      <a:pt x="393" y="112"/>
                      <a:pt x="393" y="112"/>
                      <a:pt x="393" y="112"/>
                    </a:cubicBezTo>
                    <a:cubicBezTo>
                      <a:pt x="392" y="112"/>
                      <a:pt x="391" y="112"/>
                      <a:pt x="390" y="112"/>
                    </a:cubicBezTo>
                    <a:cubicBezTo>
                      <a:pt x="389" y="112"/>
                      <a:pt x="389" y="112"/>
                      <a:pt x="389" y="112"/>
                    </a:cubicBezTo>
                    <a:cubicBezTo>
                      <a:pt x="387" y="112"/>
                      <a:pt x="385" y="112"/>
                      <a:pt x="383" y="112"/>
                    </a:cubicBezTo>
                    <a:cubicBezTo>
                      <a:pt x="379" y="112"/>
                      <a:pt x="376" y="112"/>
                      <a:pt x="374" y="111"/>
                    </a:cubicBezTo>
                    <a:cubicBezTo>
                      <a:pt x="372" y="110"/>
                      <a:pt x="370" y="108"/>
                      <a:pt x="369" y="106"/>
                    </a:cubicBezTo>
                    <a:cubicBezTo>
                      <a:pt x="368" y="105"/>
                      <a:pt x="368" y="105"/>
                      <a:pt x="368" y="104"/>
                    </a:cubicBezTo>
                    <a:cubicBezTo>
                      <a:pt x="368" y="104"/>
                      <a:pt x="368" y="104"/>
                      <a:pt x="368" y="104"/>
                    </a:cubicBezTo>
                    <a:cubicBezTo>
                      <a:pt x="368" y="104"/>
                      <a:pt x="368" y="104"/>
                      <a:pt x="368" y="104"/>
                    </a:cubicBezTo>
                    <a:cubicBezTo>
                      <a:pt x="368" y="103"/>
                      <a:pt x="368" y="103"/>
                      <a:pt x="368" y="103"/>
                    </a:cubicBezTo>
                    <a:cubicBezTo>
                      <a:pt x="368" y="103"/>
                      <a:pt x="368" y="103"/>
                      <a:pt x="368" y="103"/>
                    </a:cubicBezTo>
                    <a:cubicBezTo>
                      <a:pt x="368" y="102"/>
                      <a:pt x="368" y="102"/>
                      <a:pt x="368" y="101"/>
                    </a:cubicBezTo>
                    <a:cubicBezTo>
                      <a:pt x="367" y="101"/>
                      <a:pt x="367" y="101"/>
                      <a:pt x="367" y="101"/>
                    </a:cubicBezTo>
                    <a:cubicBezTo>
                      <a:pt x="367" y="101"/>
                      <a:pt x="367" y="100"/>
                      <a:pt x="367" y="100"/>
                    </a:cubicBezTo>
                    <a:cubicBezTo>
                      <a:pt x="367" y="100"/>
                      <a:pt x="367" y="100"/>
                      <a:pt x="367" y="100"/>
                    </a:cubicBezTo>
                    <a:cubicBezTo>
                      <a:pt x="343" y="94"/>
                      <a:pt x="343" y="94"/>
                      <a:pt x="343" y="94"/>
                    </a:cubicBezTo>
                    <a:cubicBezTo>
                      <a:pt x="343" y="94"/>
                      <a:pt x="343" y="94"/>
                      <a:pt x="343" y="94"/>
                    </a:cubicBezTo>
                    <a:cubicBezTo>
                      <a:pt x="342" y="94"/>
                      <a:pt x="342" y="94"/>
                      <a:pt x="342" y="94"/>
                    </a:cubicBezTo>
                    <a:cubicBezTo>
                      <a:pt x="341" y="95"/>
                      <a:pt x="341" y="95"/>
                      <a:pt x="341" y="95"/>
                    </a:cubicBezTo>
                    <a:cubicBezTo>
                      <a:pt x="341" y="95"/>
                      <a:pt x="340" y="95"/>
                      <a:pt x="339" y="95"/>
                    </a:cubicBezTo>
                    <a:cubicBezTo>
                      <a:pt x="338" y="96"/>
                      <a:pt x="338" y="96"/>
                      <a:pt x="338" y="96"/>
                    </a:cubicBezTo>
                    <a:cubicBezTo>
                      <a:pt x="337" y="96"/>
                      <a:pt x="336" y="95"/>
                      <a:pt x="335" y="95"/>
                    </a:cubicBezTo>
                    <a:cubicBezTo>
                      <a:pt x="334" y="95"/>
                      <a:pt x="334" y="95"/>
                      <a:pt x="334" y="95"/>
                    </a:cubicBezTo>
                    <a:cubicBezTo>
                      <a:pt x="333" y="95"/>
                      <a:pt x="333" y="95"/>
                      <a:pt x="333" y="95"/>
                    </a:cubicBezTo>
                    <a:cubicBezTo>
                      <a:pt x="294" y="91"/>
                      <a:pt x="294" y="91"/>
                      <a:pt x="294" y="91"/>
                    </a:cubicBezTo>
                    <a:cubicBezTo>
                      <a:pt x="292" y="91"/>
                      <a:pt x="289" y="91"/>
                      <a:pt x="287" y="89"/>
                    </a:cubicBezTo>
                    <a:cubicBezTo>
                      <a:pt x="282" y="86"/>
                      <a:pt x="278" y="83"/>
                      <a:pt x="274" y="79"/>
                    </a:cubicBezTo>
                    <a:cubicBezTo>
                      <a:pt x="270" y="76"/>
                      <a:pt x="266" y="74"/>
                      <a:pt x="263" y="71"/>
                    </a:cubicBezTo>
                    <a:cubicBezTo>
                      <a:pt x="244" y="56"/>
                      <a:pt x="244" y="56"/>
                      <a:pt x="244" y="56"/>
                    </a:cubicBezTo>
                    <a:cubicBezTo>
                      <a:pt x="240" y="53"/>
                      <a:pt x="236" y="50"/>
                      <a:pt x="232" y="47"/>
                    </a:cubicBezTo>
                    <a:cubicBezTo>
                      <a:pt x="226" y="42"/>
                      <a:pt x="220" y="36"/>
                      <a:pt x="213" y="32"/>
                    </a:cubicBezTo>
                    <a:cubicBezTo>
                      <a:pt x="207" y="28"/>
                      <a:pt x="207" y="28"/>
                      <a:pt x="207" y="28"/>
                    </a:cubicBezTo>
                    <a:cubicBezTo>
                      <a:pt x="204" y="27"/>
                      <a:pt x="202" y="26"/>
                      <a:pt x="199" y="24"/>
                    </a:cubicBezTo>
                    <a:cubicBezTo>
                      <a:pt x="192" y="21"/>
                      <a:pt x="183" y="16"/>
                      <a:pt x="175" y="11"/>
                    </a:cubicBezTo>
                    <a:cubicBezTo>
                      <a:pt x="174" y="10"/>
                      <a:pt x="174" y="10"/>
                      <a:pt x="173" y="9"/>
                    </a:cubicBezTo>
                    <a:cubicBezTo>
                      <a:pt x="171" y="8"/>
                      <a:pt x="168" y="6"/>
                      <a:pt x="167" y="5"/>
                    </a:cubicBezTo>
                    <a:cubicBezTo>
                      <a:pt x="133" y="0"/>
                      <a:pt x="133" y="0"/>
                      <a:pt x="1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359"/>
              <p:cNvSpPr/>
              <p:nvPr/>
            </p:nvSpPr>
            <p:spPr bwMode="auto">
              <a:xfrm>
                <a:off x="3637210" y="3357141"/>
                <a:ext cx="228477" cy="151090"/>
              </a:xfrm>
              <a:custGeom>
                <a:gdLst>
                  <a:gd name="T0" fmla="*/ 47 w 72"/>
                  <a:gd name="T1" fmla="*/ 0 h 47"/>
                  <a:gd name="T2" fmla="*/ 44 w 72"/>
                  <a:gd name="T3" fmla="*/ 0 h 47"/>
                  <a:gd name="T4" fmla="*/ 42 w 72"/>
                  <a:gd name="T5" fmla="*/ 0 h 47"/>
                  <a:gd name="T6" fmla="*/ 40 w 72"/>
                  <a:gd name="T7" fmla="*/ 0 h 47"/>
                  <a:gd name="T8" fmla="*/ 25 w 72"/>
                  <a:gd name="T9" fmla="*/ 6 h 47"/>
                  <a:gd name="T10" fmla="*/ 23 w 72"/>
                  <a:gd name="T11" fmla="*/ 6 h 47"/>
                  <a:gd name="T12" fmla="*/ 22 w 72"/>
                  <a:gd name="T13" fmla="*/ 6 h 47"/>
                  <a:gd name="T14" fmla="*/ 23 w 72"/>
                  <a:gd name="T15" fmla="*/ 7 h 47"/>
                  <a:gd name="T16" fmla="*/ 22 w 72"/>
                  <a:gd name="T17" fmla="*/ 8 h 47"/>
                  <a:gd name="T18" fmla="*/ 22 w 72"/>
                  <a:gd name="T19" fmla="*/ 9 h 47"/>
                  <a:gd name="T20" fmla="*/ 21 w 72"/>
                  <a:gd name="T21" fmla="*/ 10 h 47"/>
                  <a:gd name="T22" fmla="*/ 20 w 72"/>
                  <a:gd name="T23" fmla="*/ 11 h 47"/>
                  <a:gd name="T24" fmla="*/ 16 w 72"/>
                  <a:gd name="T25" fmla="*/ 18 h 47"/>
                  <a:gd name="T26" fmla="*/ 11 w 72"/>
                  <a:gd name="T27" fmla="*/ 22 h 47"/>
                  <a:gd name="T28" fmla="*/ 14 w 72"/>
                  <a:gd name="T29" fmla="*/ 25 h 47"/>
                  <a:gd name="T30" fmla="*/ 0 w 72"/>
                  <a:gd name="T31" fmla="*/ 31 h 47"/>
                  <a:gd name="T32" fmla="*/ 5 w 72"/>
                  <a:gd name="T33" fmla="*/ 34 h 47"/>
                  <a:gd name="T34" fmla="*/ 16 w 72"/>
                  <a:gd name="T35" fmla="*/ 39 h 47"/>
                  <a:gd name="T36" fmla="*/ 19 w 72"/>
                  <a:gd name="T37" fmla="*/ 34 h 47"/>
                  <a:gd name="T38" fmla="*/ 23 w 72"/>
                  <a:gd name="T39" fmla="*/ 31 h 47"/>
                  <a:gd name="T40" fmla="*/ 25 w 72"/>
                  <a:gd name="T41" fmla="*/ 31 h 47"/>
                  <a:gd name="T42" fmla="*/ 26 w 72"/>
                  <a:gd name="T43" fmla="*/ 31 h 47"/>
                  <a:gd name="T44" fmla="*/ 29 w 72"/>
                  <a:gd name="T45" fmla="*/ 32 h 47"/>
                  <a:gd name="T46" fmla="*/ 40 w 72"/>
                  <a:gd name="T47" fmla="*/ 39 h 47"/>
                  <a:gd name="T48" fmla="*/ 40 w 72"/>
                  <a:gd name="T49" fmla="*/ 39 h 47"/>
                  <a:gd name="T50" fmla="*/ 41 w 72"/>
                  <a:gd name="T51" fmla="*/ 42 h 47"/>
                  <a:gd name="T52" fmla="*/ 42 w 72"/>
                  <a:gd name="T53" fmla="*/ 42 h 47"/>
                  <a:gd name="T54" fmla="*/ 47 w 72"/>
                  <a:gd name="T55" fmla="*/ 41 h 47"/>
                  <a:gd name="T56" fmla="*/ 50 w 72"/>
                  <a:gd name="T57" fmla="*/ 41 h 47"/>
                  <a:gd name="T58" fmla="*/ 49 w 72"/>
                  <a:gd name="T59" fmla="*/ 45 h 47"/>
                  <a:gd name="T60" fmla="*/ 53 w 72"/>
                  <a:gd name="T61" fmla="*/ 47 h 47"/>
                  <a:gd name="T62" fmla="*/ 54 w 72"/>
                  <a:gd name="T63" fmla="*/ 46 h 47"/>
                  <a:gd name="T64" fmla="*/ 63 w 72"/>
                  <a:gd name="T65" fmla="*/ 39 h 47"/>
                  <a:gd name="T66" fmla="*/ 65 w 72"/>
                  <a:gd name="T67" fmla="*/ 39 h 47"/>
                  <a:gd name="T68" fmla="*/ 65 w 72"/>
                  <a:gd name="T69" fmla="*/ 39 h 47"/>
                  <a:gd name="T70" fmla="*/ 65 w 72"/>
                  <a:gd name="T71" fmla="*/ 39 h 47"/>
                  <a:gd name="T72" fmla="*/ 66 w 72"/>
                  <a:gd name="T73" fmla="*/ 38 h 47"/>
                  <a:gd name="T74" fmla="*/ 64 w 72"/>
                  <a:gd name="T75" fmla="*/ 34 h 47"/>
                  <a:gd name="T76" fmla="*/ 66 w 72"/>
                  <a:gd name="T77" fmla="*/ 30 h 47"/>
                  <a:gd name="T78" fmla="*/ 70 w 72"/>
                  <a:gd name="T79" fmla="*/ 34 h 47"/>
                  <a:gd name="T80" fmla="*/ 70 w 72"/>
                  <a:gd name="T81" fmla="*/ 34 h 47"/>
                  <a:gd name="T82" fmla="*/ 69 w 72"/>
                  <a:gd name="T83" fmla="*/ 25 h 47"/>
                  <a:gd name="T84" fmla="*/ 67 w 72"/>
                  <a:gd name="T85" fmla="*/ 22 h 47"/>
                  <a:gd name="T86" fmla="*/ 66 w 72"/>
                  <a:gd name="T87" fmla="*/ 22 h 47"/>
                  <a:gd name="T88" fmla="*/ 60 w 72"/>
                  <a:gd name="T89" fmla="*/ 23 h 47"/>
                  <a:gd name="T90" fmla="*/ 59 w 72"/>
                  <a:gd name="T91" fmla="*/ 23 h 47"/>
                  <a:gd name="T92" fmla="*/ 64 w 72"/>
                  <a:gd name="T93" fmla="*/ 16 h 47"/>
                  <a:gd name="T94" fmla="*/ 56 w 72"/>
                  <a:gd name="T95" fmla="*/ 5 h 47"/>
                  <a:gd name="T96" fmla="*/ 47 w 72"/>
                  <a:gd name="T97"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47">
                    <a:moveTo>
                      <a:pt x="47" y="0"/>
                    </a:moveTo>
                    <a:cubicBezTo>
                      <a:pt x="46" y="0"/>
                      <a:pt x="45" y="0"/>
                      <a:pt x="44" y="0"/>
                    </a:cubicBezTo>
                    <a:cubicBezTo>
                      <a:pt x="44" y="0"/>
                      <a:pt x="43" y="0"/>
                      <a:pt x="42" y="0"/>
                    </a:cubicBezTo>
                    <a:cubicBezTo>
                      <a:pt x="41" y="0"/>
                      <a:pt x="41" y="0"/>
                      <a:pt x="40" y="0"/>
                    </a:cubicBezTo>
                    <a:cubicBezTo>
                      <a:pt x="34" y="1"/>
                      <a:pt x="30" y="3"/>
                      <a:pt x="25" y="6"/>
                    </a:cubicBezTo>
                    <a:cubicBezTo>
                      <a:pt x="24" y="6"/>
                      <a:pt x="24" y="6"/>
                      <a:pt x="23" y="6"/>
                    </a:cubicBezTo>
                    <a:cubicBezTo>
                      <a:pt x="23" y="6"/>
                      <a:pt x="22" y="6"/>
                      <a:pt x="22" y="6"/>
                    </a:cubicBezTo>
                    <a:cubicBezTo>
                      <a:pt x="23" y="7"/>
                      <a:pt x="23" y="7"/>
                      <a:pt x="23" y="7"/>
                    </a:cubicBezTo>
                    <a:cubicBezTo>
                      <a:pt x="22" y="8"/>
                      <a:pt x="22" y="8"/>
                      <a:pt x="22" y="8"/>
                    </a:cubicBezTo>
                    <a:cubicBezTo>
                      <a:pt x="22" y="9"/>
                      <a:pt x="22" y="9"/>
                      <a:pt x="22" y="9"/>
                    </a:cubicBezTo>
                    <a:cubicBezTo>
                      <a:pt x="21" y="10"/>
                      <a:pt x="21" y="10"/>
                      <a:pt x="21" y="10"/>
                    </a:cubicBezTo>
                    <a:cubicBezTo>
                      <a:pt x="20" y="10"/>
                      <a:pt x="20" y="11"/>
                      <a:pt x="20" y="11"/>
                    </a:cubicBezTo>
                    <a:cubicBezTo>
                      <a:pt x="19" y="13"/>
                      <a:pt x="17" y="15"/>
                      <a:pt x="16" y="18"/>
                    </a:cubicBezTo>
                    <a:cubicBezTo>
                      <a:pt x="15" y="21"/>
                      <a:pt x="12" y="22"/>
                      <a:pt x="11" y="22"/>
                    </a:cubicBezTo>
                    <a:cubicBezTo>
                      <a:pt x="14" y="25"/>
                      <a:pt x="14" y="25"/>
                      <a:pt x="14" y="25"/>
                    </a:cubicBezTo>
                    <a:cubicBezTo>
                      <a:pt x="0" y="31"/>
                      <a:pt x="0" y="31"/>
                      <a:pt x="0" y="31"/>
                    </a:cubicBezTo>
                    <a:cubicBezTo>
                      <a:pt x="1" y="32"/>
                      <a:pt x="3" y="33"/>
                      <a:pt x="5" y="34"/>
                    </a:cubicBezTo>
                    <a:cubicBezTo>
                      <a:pt x="16" y="39"/>
                      <a:pt x="16" y="39"/>
                      <a:pt x="16" y="39"/>
                    </a:cubicBezTo>
                    <a:cubicBezTo>
                      <a:pt x="17" y="37"/>
                      <a:pt x="17" y="35"/>
                      <a:pt x="19" y="34"/>
                    </a:cubicBezTo>
                    <a:cubicBezTo>
                      <a:pt x="20" y="32"/>
                      <a:pt x="22" y="31"/>
                      <a:pt x="23" y="31"/>
                    </a:cubicBezTo>
                    <a:cubicBezTo>
                      <a:pt x="24" y="31"/>
                      <a:pt x="24" y="31"/>
                      <a:pt x="25" y="31"/>
                    </a:cubicBezTo>
                    <a:cubicBezTo>
                      <a:pt x="26" y="31"/>
                      <a:pt x="26" y="31"/>
                      <a:pt x="26" y="31"/>
                    </a:cubicBezTo>
                    <a:cubicBezTo>
                      <a:pt x="27" y="31"/>
                      <a:pt x="28" y="31"/>
                      <a:pt x="29" y="32"/>
                    </a:cubicBezTo>
                    <a:cubicBezTo>
                      <a:pt x="34" y="32"/>
                      <a:pt x="38" y="35"/>
                      <a:pt x="40" y="39"/>
                    </a:cubicBezTo>
                    <a:cubicBezTo>
                      <a:pt x="40" y="39"/>
                      <a:pt x="40" y="39"/>
                      <a:pt x="40" y="39"/>
                    </a:cubicBezTo>
                    <a:cubicBezTo>
                      <a:pt x="41" y="40"/>
                      <a:pt x="41" y="41"/>
                      <a:pt x="41" y="42"/>
                    </a:cubicBezTo>
                    <a:cubicBezTo>
                      <a:pt x="42" y="42"/>
                      <a:pt x="42" y="42"/>
                      <a:pt x="42" y="42"/>
                    </a:cubicBezTo>
                    <a:cubicBezTo>
                      <a:pt x="47" y="41"/>
                      <a:pt x="47" y="41"/>
                      <a:pt x="47" y="41"/>
                    </a:cubicBezTo>
                    <a:cubicBezTo>
                      <a:pt x="50" y="41"/>
                      <a:pt x="50" y="41"/>
                      <a:pt x="50" y="41"/>
                    </a:cubicBezTo>
                    <a:cubicBezTo>
                      <a:pt x="49" y="45"/>
                      <a:pt x="49" y="45"/>
                      <a:pt x="49" y="45"/>
                    </a:cubicBezTo>
                    <a:cubicBezTo>
                      <a:pt x="51" y="45"/>
                      <a:pt x="52" y="47"/>
                      <a:pt x="53" y="47"/>
                    </a:cubicBezTo>
                    <a:cubicBezTo>
                      <a:pt x="54" y="47"/>
                      <a:pt x="54" y="46"/>
                      <a:pt x="54" y="46"/>
                    </a:cubicBezTo>
                    <a:cubicBezTo>
                      <a:pt x="58" y="44"/>
                      <a:pt x="59" y="41"/>
                      <a:pt x="63" y="39"/>
                    </a:cubicBezTo>
                    <a:cubicBezTo>
                      <a:pt x="64" y="39"/>
                      <a:pt x="64" y="39"/>
                      <a:pt x="65" y="39"/>
                    </a:cubicBezTo>
                    <a:cubicBezTo>
                      <a:pt x="65" y="39"/>
                      <a:pt x="65" y="39"/>
                      <a:pt x="65" y="39"/>
                    </a:cubicBezTo>
                    <a:cubicBezTo>
                      <a:pt x="65" y="39"/>
                      <a:pt x="65" y="39"/>
                      <a:pt x="65" y="39"/>
                    </a:cubicBezTo>
                    <a:cubicBezTo>
                      <a:pt x="65" y="39"/>
                      <a:pt x="66" y="39"/>
                      <a:pt x="66" y="38"/>
                    </a:cubicBezTo>
                    <a:cubicBezTo>
                      <a:pt x="69" y="36"/>
                      <a:pt x="68" y="34"/>
                      <a:pt x="64" y="34"/>
                    </a:cubicBezTo>
                    <a:cubicBezTo>
                      <a:pt x="65" y="33"/>
                      <a:pt x="65" y="31"/>
                      <a:pt x="66" y="30"/>
                    </a:cubicBezTo>
                    <a:cubicBezTo>
                      <a:pt x="67" y="31"/>
                      <a:pt x="69" y="34"/>
                      <a:pt x="70" y="34"/>
                    </a:cubicBezTo>
                    <a:cubicBezTo>
                      <a:pt x="70" y="34"/>
                      <a:pt x="70" y="34"/>
                      <a:pt x="70" y="34"/>
                    </a:cubicBezTo>
                    <a:cubicBezTo>
                      <a:pt x="72" y="33"/>
                      <a:pt x="69" y="26"/>
                      <a:pt x="69" y="25"/>
                    </a:cubicBezTo>
                    <a:cubicBezTo>
                      <a:pt x="68" y="23"/>
                      <a:pt x="69" y="22"/>
                      <a:pt x="67" y="22"/>
                    </a:cubicBezTo>
                    <a:cubicBezTo>
                      <a:pt x="67" y="22"/>
                      <a:pt x="67" y="22"/>
                      <a:pt x="66" y="22"/>
                    </a:cubicBezTo>
                    <a:cubicBezTo>
                      <a:pt x="65" y="22"/>
                      <a:pt x="61" y="23"/>
                      <a:pt x="60" y="23"/>
                    </a:cubicBezTo>
                    <a:cubicBezTo>
                      <a:pt x="60" y="23"/>
                      <a:pt x="60" y="23"/>
                      <a:pt x="59" y="23"/>
                    </a:cubicBezTo>
                    <a:cubicBezTo>
                      <a:pt x="55" y="20"/>
                      <a:pt x="67" y="19"/>
                      <a:pt x="64" y="16"/>
                    </a:cubicBezTo>
                    <a:cubicBezTo>
                      <a:pt x="62" y="12"/>
                      <a:pt x="57" y="9"/>
                      <a:pt x="56" y="5"/>
                    </a:cubicBezTo>
                    <a:cubicBezTo>
                      <a:pt x="54" y="0"/>
                      <a:pt x="51" y="0"/>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360"/>
              <p:cNvSpPr/>
              <p:nvPr/>
            </p:nvSpPr>
            <p:spPr bwMode="auto">
              <a:xfrm>
                <a:off x="3559822" y="3338716"/>
                <a:ext cx="169515" cy="103183"/>
              </a:xfrm>
              <a:custGeom>
                <a:gdLst>
                  <a:gd name="T0" fmla="*/ 41 w 53"/>
                  <a:gd name="T1" fmla="*/ 0 h 32"/>
                  <a:gd name="T2" fmla="*/ 44 w 53"/>
                  <a:gd name="T3" fmla="*/ 3 h 32"/>
                  <a:gd name="T4" fmla="*/ 42 w 53"/>
                  <a:gd name="T5" fmla="*/ 3 h 32"/>
                  <a:gd name="T6" fmla="*/ 37 w 53"/>
                  <a:gd name="T7" fmla="*/ 3 h 32"/>
                  <a:gd name="T8" fmla="*/ 38 w 53"/>
                  <a:gd name="T9" fmla="*/ 12 h 32"/>
                  <a:gd name="T10" fmla="*/ 35 w 53"/>
                  <a:gd name="T11" fmla="*/ 13 h 32"/>
                  <a:gd name="T12" fmla="*/ 34 w 53"/>
                  <a:gd name="T13" fmla="*/ 12 h 32"/>
                  <a:gd name="T14" fmla="*/ 35 w 53"/>
                  <a:gd name="T15" fmla="*/ 9 h 32"/>
                  <a:gd name="T16" fmla="*/ 34 w 53"/>
                  <a:gd name="T17" fmla="*/ 5 h 32"/>
                  <a:gd name="T18" fmla="*/ 32 w 53"/>
                  <a:gd name="T19" fmla="*/ 4 h 32"/>
                  <a:gd name="T20" fmla="*/ 30 w 53"/>
                  <a:gd name="T21" fmla="*/ 4 h 32"/>
                  <a:gd name="T22" fmla="*/ 32 w 53"/>
                  <a:gd name="T23" fmla="*/ 10 h 32"/>
                  <a:gd name="T24" fmla="*/ 29 w 53"/>
                  <a:gd name="T25" fmla="*/ 5 h 32"/>
                  <a:gd name="T26" fmla="*/ 23 w 53"/>
                  <a:gd name="T27" fmla="*/ 8 h 32"/>
                  <a:gd name="T28" fmla="*/ 24 w 53"/>
                  <a:gd name="T29" fmla="*/ 6 h 32"/>
                  <a:gd name="T30" fmla="*/ 18 w 53"/>
                  <a:gd name="T31" fmla="*/ 9 h 32"/>
                  <a:gd name="T32" fmla="*/ 19 w 53"/>
                  <a:gd name="T33" fmla="*/ 8 h 32"/>
                  <a:gd name="T34" fmla="*/ 16 w 53"/>
                  <a:gd name="T35" fmla="*/ 9 h 32"/>
                  <a:gd name="T36" fmla="*/ 16 w 53"/>
                  <a:gd name="T37" fmla="*/ 9 h 32"/>
                  <a:gd name="T38" fmla="*/ 13 w 53"/>
                  <a:gd name="T39" fmla="*/ 11 h 32"/>
                  <a:gd name="T40" fmla="*/ 9 w 53"/>
                  <a:gd name="T41" fmla="*/ 20 h 32"/>
                  <a:gd name="T42" fmla="*/ 0 w 53"/>
                  <a:gd name="T43" fmla="*/ 26 h 32"/>
                  <a:gd name="T44" fmla="*/ 14 w 53"/>
                  <a:gd name="T45" fmla="*/ 29 h 32"/>
                  <a:gd name="T46" fmla="*/ 19 w 53"/>
                  <a:gd name="T47" fmla="*/ 28 h 32"/>
                  <a:gd name="T48" fmla="*/ 17 w 53"/>
                  <a:gd name="T49" fmla="*/ 32 h 32"/>
                  <a:gd name="T50" fmla="*/ 23 w 53"/>
                  <a:gd name="T51" fmla="*/ 30 h 32"/>
                  <a:gd name="T52" fmla="*/ 22 w 53"/>
                  <a:gd name="T53" fmla="*/ 28 h 32"/>
                  <a:gd name="T54" fmla="*/ 20 w 53"/>
                  <a:gd name="T55" fmla="*/ 24 h 32"/>
                  <a:gd name="T56" fmla="*/ 24 w 53"/>
                  <a:gd name="T57" fmla="*/ 23 h 32"/>
                  <a:gd name="T58" fmla="*/ 29 w 53"/>
                  <a:gd name="T59" fmla="*/ 22 h 32"/>
                  <a:gd name="T60" fmla="*/ 32 w 53"/>
                  <a:gd name="T61" fmla="*/ 22 h 32"/>
                  <a:gd name="T62" fmla="*/ 34 w 53"/>
                  <a:gd name="T63" fmla="*/ 21 h 32"/>
                  <a:gd name="T64" fmla="*/ 38 w 53"/>
                  <a:gd name="T65" fmla="*/ 13 h 32"/>
                  <a:gd name="T66" fmla="*/ 40 w 53"/>
                  <a:gd name="T67" fmla="*/ 11 h 32"/>
                  <a:gd name="T68" fmla="*/ 41 w 53"/>
                  <a:gd name="T69" fmla="*/ 9 h 32"/>
                  <a:gd name="T70" fmla="*/ 42 w 53"/>
                  <a:gd name="T71" fmla="*/ 8 h 32"/>
                  <a:gd name="T72" fmla="*/ 45 w 53"/>
                  <a:gd name="T73" fmla="*/ 11 h 32"/>
                  <a:gd name="T74" fmla="*/ 48 w 53"/>
                  <a:gd name="T75" fmla="*/ 8 h 32"/>
                  <a:gd name="T76" fmla="*/ 52 w 53"/>
                  <a:gd name="T77" fmla="*/ 6 h 32"/>
                  <a:gd name="T78" fmla="*/ 52 w 53"/>
                  <a:gd name="T79" fmla="*/ 5 h 32"/>
                  <a:gd name="T80" fmla="*/ 41 w 53"/>
                  <a:gd name="T81"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32">
                    <a:moveTo>
                      <a:pt x="41" y="0"/>
                    </a:moveTo>
                    <a:cubicBezTo>
                      <a:pt x="41" y="1"/>
                      <a:pt x="43" y="2"/>
                      <a:pt x="44" y="3"/>
                    </a:cubicBezTo>
                    <a:cubicBezTo>
                      <a:pt x="43" y="3"/>
                      <a:pt x="42" y="3"/>
                      <a:pt x="42" y="3"/>
                    </a:cubicBezTo>
                    <a:cubicBezTo>
                      <a:pt x="40" y="3"/>
                      <a:pt x="39" y="3"/>
                      <a:pt x="37" y="3"/>
                    </a:cubicBezTo>
                    <a:cubicBezTo>
                      <a:pt x="37" y="5"/>
                      <a:pt x="39" y="11"/>
                      <a:pt x="38" y="12"/>
                    </a:cubicBezTo>
                    <a:cubicBezTo>
                      <a:pt x="38" y="12"/>
                      <a:pt x="36" y="13"/>
                      <a:pt x="35" y="13"/>
                    </a:cubicBezTo>
                    <a:cubicBezTo>
                      <a:pt x="34" y="13"/>
                      <a:pt x="34" y="13"/>
                      <a:pt x="34" y="12"/>
                    </a:cubicBezTo>
                    <a:cubicBezTo>
                      <a:pt x="34" y="10"/>
                      <a:pt x="36" y="10"/>
                      <a:pt x="35" y="9"/>
                    </a:cubicBezTo>
                    <a:cubicBezTo>
                      <a:pt x="34" y="5"/>
                      <a:pt x="34" y="5"/>
                      <a:pt x="34" y="5"/>
                    </a:cubicBezTo>
                    <a:cubicBezTo>
                      <a:pt x="33" y="4"/>
                      <a:pt x="33" y="4"/>
                      <a:pt x="32" y="4"/>
                    </a:cubicBezTo>
                    <a:cubicBezTo>
                      <a:pt x="32" y="4"/>
                      <a:pt x="31" y="4"/>
                      <a:pt x="30" y="4"/>
                    </a:cubicBezTo>
                    <a:cubicBezTo>
                      <a:pt x="31" y="6"/>
                      <a:pt x="33" y="8"/>
                      <a:pt x="32" y="10"/>
                    </a:cubicBezTo>
                    <a:cubicBezTo>
                      <a:pt x="30" y="8"/>
                      <a:pt x="27" y="7"/>
                      <a:pt x="29" y="5"/>
                    </a:cubicBezTo>
                    <a:cubicBezTo>
                      <a:pt x="26" y="6"/>
                      <a:pt x="25" y="8"/>
                      <a:pt x="23" y="8"/>
                    </a:cubicBezTo>
                    <a:cubicBezTo>
                      <a:pt x="23" y="7"/>
                      <a:pt x="23" y="6"/>
                      <a:pt x="24" y="6"/>
                    </a:cubicBezTo>
                    <a:cubicBezTo>
                      <a:pt x="22" y="6"/>
                      <a:pt x="20" y="8"/>
                      <a:pt x="18" y="9"/>
                    </a:cubicBezTo>
                    <a:cubicBezTo>
                      <a:pt x="19" y="8"/>
                      <a:pt x="19" y="8"/>
                      <a:pt x="19" y="8"/>
                    </a:cubicBezTo>
                    <a:cubicBezTo>
                      <a:pt x="17" y="9"/>
                      <a:pt x="17" y="9"/>
                      <a:pt x="16" y="9"/>
                    </a:cubicBezTo>
                    <a:cubicBezTo>
                      <a:pt x="16" y="9"/>
                      <a:pt x="16" y="9"/>
                      <a:pt x="16" y="9"/>
                    </a:cubicBezTo>
                    <a:cubicBezTo>
                      <a:pt x="15" y="9"/>
                      <a:pt x="14" y="9"/>
                      <a:pt x="13" y="11"/>
                    </a:cubicBezTo>
                    <a:cubicBezTo>
                      <a:pt x="11" y="15"/>
                      <a:pt x="10" y="15"/>
                      <a:pt x="9" y="20"/>
                    </a:cubicBezTo>
                    <a:cubicBezTo>
                      <a:pt x="8" y="24"/>
                      <a:pt x="4" y="24"/>
                      <a:pt x="0" y="26"/>
                    </a:cubicBezTo>
                    <a:cubicBezTo>
                      <a:pt x="4" y="27"/>
                      <a:pt x="10" y="29"/>
                      <a:pt x="14" y="29"/>
                    </a:cubicBezTo>
                    <a:cubicBezTo>
                      <a:pt x="16" y="29"/>
                      <a:pt x="18" y="29"/>
                      <a:pt x="19" y="28"/>
                    </a:cubicBezTo>
                    <a:cubicBezTo>
                      <a:pt x="18" y="30"/>
                      <a:pt x="17" y="31"/>
                      <a:pt x="17" y="32"/>
                    </a:cubicBezTo>
                    <a:cubicBezTo>
                      <a:pt x="23" y="30"/>
                      <a:pt x="23" y="30"/>
                      <a:pt x="23" y="30"/>
                    </a:cubicBezTo>
                    <a:cubicBezTo>
                      <a:pt x="22" y="29"/>
                      <a:pt x="22" y="29"/>
                      <a:pt x="22" y="28"/>
                    </a:cubicBezTo>
                    <a:cubicBezTo>
                      <a:pt x="20" y="24"/>
                      <a:pt x="20" y="24"/>
                      <a:pt x="20" y="24"/>
                    </a:cubicBezTo>
                    <a:cubicBezTo>
                      <a:pt x="24" y="23"/>
                      <a:pt x="24" y="23"/>
                      <a:pt x="24" y="23"/>
                    </a:cubicBezTo>
                    <a:cubicBezTo>
                      <a:pt x="25" y="23"/>
                      <a:pt x="27" y="23"/>
                      <a:pt x="29" y="22"/>
                    </a:cubicBezTo>
                    <a:cubicBezTo>
                      <a:pt x="32" y="22"/>
                      <a:pt x="32" y="22"/>
                      <a:pt x="32" y="22"/>
                    </a:cubicBezTo>
                    <a:cubicBezTo>
                      <a:pt x="32" y="22"/>
                      <a:pt x="34" y="21"/>
                      <a:pt x="34" y="21"/>
                    </a:cubicBezTo>
                    <a:cubicBezTo>
                      <a:pt x="35" y="18"/>
                      <a:pt x="37" y="15"/>
                      <a:pt x="38" y="13"/>
                    </a:cubicBezTo>
                    <a:cubicBezTo>
                      <a:pt x="39" y="12"/>
                      <a:pt x="39" y="11"/>
                      <a:pt x="40" y="11"/>
                    </a:cubicBezTo>
                    <a:cubicBezTo>
                      <a:pt x="40" y="10"/>
                      <a:pt x="41" y="10"/>
                      <a:pt x="41" y="9"/>
                    </a:cubicBezTo>
                    <a:cubicBezTo>
                      <a:pt x="42" y="8"/>
                      <a:pt x="42" y="8"/>
                      <a:pt x="42" y="8"/>
                    </a:cubicBezTo>
                    <a:cubicBezTo>
                      <a:pt x="45" y="11"/>
                      <a:pt x="45" y="11"/>
                      <a:pt x="45" y="11"/>
                    </a:cubicBezTo>
                    <a:cubicBezTo>
                      <a:pt x="46" y="10"/>
                      <a:pt x="47" y="9"/>
                      <a:pt x="48" y="8"/>
                    </a:cubicBezTo>
                    <a:cubicBezTo>
                      <a:pt x="49" y="8"/>
                      <a:pt x="51" y="7"/>
                      <a:pt x="52" y="6"/>
                    </a:cubicBezTo>
                    <a:cubicBezTo>
                      <a:pt x="53" y="5"/>
                      <a:pt x="53" y="7"/>
                      <a:pt x="52" y="5"/>
                    </a:cubicBezTo>
                    <a:cubicBezTo>
                      <a:pt x="50" y="2"/>
                      <a:pt x="44" y="1"/>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361"/>
              <p:cNvSpPr/>
              <p:nvPr/>
            </p:nvSpPr>
            <p:spPr bwMode="auto">
              <a:xfrm>
                <a:off x="3412418" y="3449269"/>
                <a:ext cx="397992" cy="372197"/>
              </a:xfrm>
              <a:custGeom>
                <a:gdLst>
                  <a:gd name="T0" fmla="*/ 57 w 126"/>
                  <a:gd name="T1" fmla="*/ 4 h 117"/>
                  <a:gd name="T2" fmla="*/ 55 w 126"/>
                  <a:gd name="T3" fmla="*/ 10 h 117"/>
                  <a:gd name="T4" fmla="*/ 38 w 126"/>
                  <a:gd name="T5" fmla="*/ 12 h 117"/>
                  <a:gd name="T6" fmla="*/ 18 w 126"/>
                  <a:gd name="T7" fmla="*/ 6 h 117"/>
                  <a:gd name="T8" fmla="*/ 14 w 126"/>
                  <a:gd name="T9" fmla="*/ 8 h 117"/>
                  <a:gd name="T10" fmla="*/ 17 w 126"/>
                  <a:gd name="T11" fmla="*/ 14 h 117"/>
                  <a:gd name="T12" fmla="*/ 25 w 126"/>
                  <a:gd name="T13" fmla="*/ 23 h 117"/>
                  <a:gd name="T14" fmla="*/ 17 w 126"/>
                  <a:gd name="T15" fmla="*/ 34 h 117"/>
                  <a:gd name="T16" fmla="*/ 7 w 126"/>
                  <a:gd name="T17" fmla="*/ 36 h 117"/>
                  <a:gd name="T18" fmla="*/ 8 w 126"/>
                  <a:gd name="T19" fmla="*/ 41 h 117"/>
                  <a:gd name="T20" fmla="*/ 25 w 126"/>
                  <a:gd name="T21" fmla="*/ 48 h 117"/>
                  <a:gd name="T22" fmla="*/ 43 w 126"/>
                  <a:gd name="T23" fmla="*/ 47 h 117"/>
                  <a:gd name="T24" fmla="*/ 39 w 126"/>
                  <a:gd name="T25" fmla="*/ 52 h 117"/>
                  <a:gd name="T26" fmla="*/ 38 w 126"/>
                  <a:gd name="T27" fmla="*/ 53 h 117"/>
                  <a:gd name="T28" fmla="*/ 35 w 126"/>
                  <a:gd name="T29" fmla="*/ 52 h 117"/>
                  <a:gd name="T30" fmla="*/ 33 w 126"/>
                  <a:gd name="T31" fmla="*/ 54 h 117"/>
                  <a:gd name="T32" fmla="*/ 24 w 126"/>
                  <a:gd name="T33" fmla="*/ 68 h 117"/>
                  <a:gd name="T34" fmla="*/ 39 w 126"/>
                  <a:gd name="T35" fmla="*/ 68 h 117"/>
                  <a:gd name="T36" fmla="*/ 27 w 126"/>
                  <a:gd name="T37" fmla="*/ 74 h 117"/>
                  <a:gd name="T38" fmla="*/ 24 w 126"/>
                  <a:gd name="T39" fmla="*/ 74 h 117"/>
                  <a:gd name="T40" fmla="*/ 15 w 126"/>
                  <a:gd name="T41" fmla="*/ 80 h 117"/>
                  <a:gd name="T42" fmla="*/ 13 w 126"/>
                  <a:gd name="T43" fmla="*/ 84 h 117"/>
                  <a:gd name="T44" fmla="*/ 8 w 126"/>
                  <a:gd name="T45" fmla="*/ 85 h 117"/>
                  <a:gd name="T46" fmla="*/ 1 w 126"/>
                  <a:gd name="T47" fmla="*/ 89 h 117"/>
                  <a:gd name="T48" fmla="*/ 10 w 126"/>
                  <a:gd name="T49" fmla="*/ 91 h 117"/>
                  <a:gd name="T50" fmla="*/ 17 w 126"/>
                  <a:gd name="T51" fmla="*/ 90 h 117"/>
                  <a:gd name="T52" fmla="*/ 16 w 126"/>
                  <a:gd name="T53" fmla="*/ 91 h 117"/>
                  <a:gd name="T54" fmla="*/ 8 w 126"/>
                  <a:gd name="T55" fmla="*/ 95 h 117"/>
                  <a:gd name="T56" fmla="*/ 17 w 126"/>
                  <a:gd name="T57" fmla="*/ 102 h 117"/>
                  <a:gd name="T58" fmla="*/ 9 w 126"/>
                  <a:gd name="T59" fmla="*/ 111 h 117"/>
                  <a:gd name="T60" fmla="*/ 17 w 126"/>
                  <a:gd name="T61" fmla="*/ 113 h 117"/>
                  <a:gd name="T62" fmla="*/ 23 w 126"/>
                  <a:gd name="T63" fmla="*/ 113 h 117"/>
                  <a:gd name="T64" fmla="*/ 21 w 126"/>
                  <a:gd name="T65" fmla="*/ 117 h 117"/>
                  <a:gd name="T66" fmla="*/ 49 w 126"/>
                  <a:gd name="T67" fmla="*/ 112 h 117"/>
                  <a:gd name="T68" fmla="*/ 65 w 126"/>
                  <a:gd name="T69" fmla="*/ 103 h 117"/>
                  <a:gd name="T70" fmla="*/ 98 w 126"/>
                  <a:gd name="T71" fmla="*/ 85 h 117"/>
                  <a:gd name="T72" fmla="*/ 116 w 126"/>
                  <a:gd name="T73" fmla="*/ 89 h 117"/>
                  <a:gd name="T74" fmla="*/ 119 w 126"/>
                  <a:gd name="T75" fmla="*/ 76 h 117"/>
                  <a:gd name="T76" fmla="*/ 124 w 126"/>
                  <a:gd name="T77" fmla="*/ 50 h 117"/>
                  <a:gd name="T78" fmla="*/ 120 w 126"/>
                  <a:gd name="T79" fmla="*/ 29 h 117"/>
                  <a:gd name="T80" fmla="*/ 120 w 126"/>
                  <a:gd name="T81" fmla="*/ 16 h 117"/>
                  <a:gd name="T82" fmla="*/ 115 w 126"/>
                  <a:gd name="T83" fmla="*/ 19 h 117"/>
                  <a:gd name="T84" fmla="*/ 106 w 126"/>
                  <a:gd name="T85" fmla="*/ 16 h 117"/>
                  <a:gd name="T86" fmla="*/ 99 w 126"/>
                  <a:gd name="T87" fmla="*/ 10 h 117"/>
                  <a:gd name="T88" fmla="*/ 95 w 126"/>
                  <a:gd name="T89" fmla="*/ 9 h 117"/>
                  <a:gd name="T90" fmla="*/ 93 w 126"/>
                  <a:gd name="T91" fmla="*/ 16 h 117"/>
                  <a:gd name="T92" fmla="*/ 64 w 126"/>
                  <a:gd name="T93" fmla="*/ 5 h 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117">
                    <a:moveTo>
                      <a:pt x="59" y="0"/>
                    </a:moveTo>
                    <a:cubicBezTo>
                      <a:pt x="59" y="0"/>
                      <a:pt x="59" y="0"/>
                      <a:pt x="59" y="0"/>
                    </a:cubicBezTo>
                    <a:cubicBezTo>
                      <a:pt x="58" y="1"/>
                      <a:pt x="58" y="3"/>
                      <a:pt x="57" y="4"/>
                    </a:cubicBezTo>
                    <a:cubicBezTo>
                      <a:pt x="56" y="5"/>
                      <a:pt x="54" y="7"/>
                      <a:pt x="56" y="8"/>
                    </a:cubicBezTo>
                    <a:cubicBezTo>
                      <a:pt x="55" y="8"/>
                      <a:pt x="55" y="9"/>
                      <a:pt x="54" y="10"/>
                    </a:cubicBezTo>
                    <a:cubicBezTo>
                      <a:pt x="54" y="10"/>
                      <a:pt x="55" y="10"/>
                      <a:pt x="55" y="10"/>
                    </a:cubicBezTo>
                    <a:cubicBezTo>
                      <a:pt x="52" y="10"/>
                      <a:pt x="47" y="8"/>
                      <a:pt x="44" y="8"/>
                    </a:cubicBezTo>
                    <a:cubicBezTo>
                      <a:pt x="43" y="8"/>
                      <a:pt x="43" y="8"/>
                      <a:pt x="43" y="8"/>
                    </a:cubicBezTo>
                    <a:cubicBezTo>
                      <a:pt x="40" y="8"/>
                      <a:pt x="39" y="9"/>
                      <a:pt x="38" y="12"/>
                    </a:cubicBezTo>
                    <a:cubicBezTo>
                      <a:pt x="36" y="11"/>
                      <a:pt x="36" y="10"/>
                      <a:pt x="35" y="9"/>
                    </a:cubicBezTo>
                    <a:cubicBezTo>
                      <a:pt x="33" y="6"/>
                      <a:pt x="26" y="6"/>
                      <a:pt x="21" y="6"/>
                    </a:cubicBezTo>
                    <a:cubicBezTo>
                      <a:pt x="20" y="6"/>
                      <a:pt x="19" y="6"/>
                      <a:pt x="18" y="6"/>
                    </a:cubicBezTo>
                    <a:cubicBezTo>
                      <a:pt x="18" y="6"/>
                      <a:pt x="17" y="6"/>
                      <a:pt x="17" y="8"/>
                    </a:cubicBezTo>
                    <a:cubicBezTo>
                      <a:pt x="15" y="10"/>
                      <a:pt x="15" y="11"/>
                      <a:pt x="15" y="11"/>
                    </a:cubicBezTo>
                    <a:cubicBezTo>
                      <a:pt x="14" y="11"/>
                      <a:pt x="14" y="8"/>
                      <a:pt x="14" y="8"/>
                    </a:cubicBezTo>
                    <a:cubicBezTo>
                      <a:pt x="13" y="8"/>
                      <a:pt x="13" y="7"/>
                      <a:pt x="13" y="7"/>
                    </a:cubicBezTo>
                    <a:cubicBezTo>
                      <a:pt x="12" y="7"/>
                      <a:pt x="11" y="8"/>
                      <a:pt x="11" y="9"/>
                    </a:cubicBezTo>
                    <a:cubicBezTo>
                      <a:pt x="17" y="14"/>
                      <a:pt x="17" y="14"/>
                      <a:pt x="17" y="14"/>
                    </a:cubicBezTo>
                    <a:cubicBezTo>
                      <a:pt x="17" y="18"/>
                      <a:pt x="15" y="20"/>
                      <a:pt x="15" y="24"/>
                    </a:cubicBezTo>
                    <a:cubicBezTo>
                      <a:pt x="15" y="24"/>
                      <a:pt x="16" y="24"/>
                      <a:pt x="17" y="24"/>
                    </a:cubicBezTo>
                    <a:cubicBezTo>
                      <a:pt x="19" y="24"/>
                      <a:pt x="22" y="23"/>
                      <a:pt x="25" y="23"/>
                    </a:cubicBezTo>
                    <a:cubicBezTo>
                      <a:pt x="22" y="27"/>
                      <a:pt x="20" y="27"/>
                      <a:pt x="16" y="28"/>
                    </a:cubicBezTo>
                    <a:cubicBezTo>
                      <a:pt x="18" y="30"/>
                      <a:pt x="20" y="32"/>
                      <a:pt x="22" y="34"/>
                    </a:cubicBezTo>
                    <a:cubicBezTo>
                      <a:pt x="21" y="34"/>
                      <a:pt x="19" y="34"/>
                      <a:pt x="17" y="34"/>
                    </a:cubicBezTo>
                    <a:cubicBezTo>
                      <a:pt x="14" y="34"/>
                      <a:pt x="11" y="34"/>
                      <a:pt x="13" y="36"/>
                    </a:cubicBezTo>
                    <a:cubicBezTo>
                      <a:pt x="12" y="36"/>
                      <a:pt x="12" y="36"/>
                      <a:pt x="11" y="36"/>
                    </a:cubicBezTo>
                    <a:cubicBezTo>
                      <a:pt x="10" y="36"/>
                      <a:pt x="9" y="36"/>
                      <a:pt x="7" y="36"/>
                    </a:cubicBezTo>
                    <a:cubicBezTo>
                      <a:pt x="9" y="38"/>
                      <a:pt x="10" y="39"/>
                      <a:pt x="11" y="40"/>
                    </a:cubicBezTo>
                    <a:cubicBezTo>
                      <a:pt x="11" y="40"/>
                      <a:pt x="10" y="40"/>
                      <a:pt x="10" y="40"/>
                    </a:cubicBezTo>
                    <a:cubicBezTo>
                      <a:pt x="9" y="40"/>
                      <a:pt x="8" y="41"/>
                      <a:pt x="8" y="41"/>
                    </a:cubicBezTo>
                    <a:cubicBezTo>
                      <a:pt x="11" y="42"/>
                      <a:pt x="24" y="41"/>
                      <a:pt x="25" y="43"/>
                    </a:cubicBezTo>
                    <a:cubicBezTo>
                      <a:pt x="26" y="44"/>
                      <a:pt x="24" y="47"/>
                      <a:pt x="24" y="48"/>
                    </a:cubicBezTo>
                    <a:cubicBezTo>
                      <a:pt x="24" y="48"/>
                      <a:pt x="24" y="48"/>
                      <a:pt x="25" y="48"/>
                    </a:cubicBezTo>
                    <a:cubicBezTo>
                      <a:pt x="27" y="48"/>
                      <a:pt x="30" y="48"/>
                      <a:pt x="32" y="48"/>
                    </a:cubicBezTo>
                    <a:cubicBezTo>
                      <a:pt x="35" y="47"/>
                      <a:pt x="37" y="47"/>
                      <a:pt x="40" y="47"/>
                    </a:cubicBezTo>
                    <a:cubicBezTo>
                      <a:pt x="41" y="47"/>
                      <a:pt x="42" y="47"/>
                      <a:pt x="43" y="47"/>
                    </a:cubicBezTo>
                    <a:cubicBezTo>
                      <a:pt x="43" y="50"/>
                      <a:pt x="42" y="52"/>
                      <a:pt x="40" y="52"/>
                    </a:cubicBezTo>
                    <a:cubicBezTo>
                      <a:pt x="40" y="52"/>
                      <a:pt x="39" y="52"/>
                      <a:pt x="39" y="52"/>
                    </a:cubicBezTo>
                    <a:cubicBezTo>
                      <a:pt x="39" y="52"/>
                      <a:pt x="39" y="52"/>
                      <a:pt x="39" y="52"/>
                    </a:cubicBezTo>
                    <a:cubicBezTo>
                      <a:pt x="38" y="52"/>
                      <a:pt x="38" y="52"/>
                      <a:pt x="38" y="52"/>
                    </a:cubicBezTo>
                    <a:cubicBezTo>
                      <a:pt x="38" y="53"/>
                      <a:pt x="38" y="53"/>
                      <a:pt x="38" y="53"/>
                    </a:cubicBezTo>
                    <a:cubicBezTo>
                      <a:pt x="38" y="53"/>
                      <a:pt x="38" y="53"/>
                      <a:pt x="38" y="53"/>
                    </a:cubicBezTo>
                    <a:cubicBezTo>
                      <a:pt x="36" y="53"/>
                      <a:pt x="36" y="53"/>
                      <a:pt x="36" y="53"/>
                    </a:cubicBezTo>
                    <a:cubicBezTo>
                      <a:pt x="36" y="53"/>
                      <a:pt x="36" y="53"/>
                      <a:pt x="36" y="53"/>
                    </a:cubicBezTo>
                    <a:cubicBezTo>
                      <a:pt x="36" y="53"/>
                      <a:pt x="35" y="52"/>
                      <a:pt x="35" y="52"/>
                    </a:cubicBezTo>
                    <a:cubicBezTo>
                      <a:pt x="35" y="52"/>
                      <a:pt x="34" y="52"/>
                      <a:pt x="34" y="52"/>
                    </a:cubicBezTo>
                    <a:cubicBezTo>
                      <a:pt x="34" y="52"/>
                      <a:pt x="34" y="52"/>
                      <a:pt x="34" y="52"/>
                    </a:cubicBezTo>
                    <a:cubicBezTo>
                      <a:pt x="33" y="52"/>
                      <a:pt x="33" y="53"/>
                      <a:pt x="33" y="54"/>
                    </a:cubicBezTo>
                    <a:cubicBezTo>
                      <a:pt x="31" y="55"/>
                      <a:pt x="30" y="57"/>
                      <a:pt x="29" y="59"/>
                    </a:cubicBezTo>
                    <a:cubicBezTo>
                      <a:pt x="28" y="61"/>
                      <a:pt x="29" y="65"/>
                      <a:pt x="27" y="67"/>
                    </a:cubicBezTo>
                    <a:cubicBezTo>
                      <a:pt x="26" y="68"/>
                      <a:pt x="25" y="68"/>
                      <a:pt x="24" y="68"/>
                    </a:cubicBezTo>
                    <a:cubicBezTo>
                      <a:pt x="23" y="69"/>
                      <a:pt x="22" y="70"/>
                      <a:pt x="21" y="71"/>
                    </a:cubicBezTo>
                    <a:cubicBezTo>
                      <a:pt x="19" y="72"/>
                      <a:pt x="17" y="73"/>
                      <a:pt x="15" y="74"/>
                    </a:cubicBezTo>
                    <a:cubicBezTo>
                      <a:pt x="23" y="72"/>
                      <a:pt x="31" y="70"/>
                      <a:pt x="39" y="68"/>
                    </a:cubicBezTo>
                    <a:cubicBezTo>
                      <a:pt x="41" y="67"/>
                      <a:pt x="42" y="67"/>
                      <a:pt x="43" y="67"/>
                    </a:cubicBezTo>
                    <a:cubicBezTo>
                      <a:pt x="44" y="67"/>
                      <a:pt x="45" y="68"/>
                      <a:pt x="49" y="70"/>
                    </a:cubicBezTo>
                    <a:cubicBezTo>
                      <a:pt x="42" y="72"/>
                      <a:pt x="34" y="74"/>
                      <a:pt x="27" y="74"/>
                    </a:cubicBezTo>
                    <a:cubicBezTo>
                      <a:pt x="27" y="74"/>
                      <a:pt x="27" y="74"/>
                      <a:pt x="27" y="74"/>
                    </a:cubicBezTo>
                    <a:cubicBezTo>
                      <a:pt x="26" y="74"/>
                      <a:pt x="26" y="74"/>
                      <a:pt x="26" y="74"/>
                    </a:cubicBezTo>
                    <a:cubicBezTo>
                      <a:pt x="25" y="74"/>
                      <a:pt x="25" y="74"/>
                      <a:pt x="24" y="74"/>
                    </a:cubicBezTo>
                    <a:cubicBezTo>
                      <a:pt x="24" y="74"/>
                      <a:pt x="23" y="74"/>
                      <a:pt x="23" y="74"/>
                    </a:cubicBezTo>
                    <a:cubicBezTo>
                      <a:pt x="21" y="75"/>
                      <a:pt x="21" y="78"/>
                      <a:pt x="19" y="79"/>
                    </a:cubicBezTo>
                    <a:cubicBezTo>
                      <a:pt x="17" y="80"/>
                      <a:pt x="16" y="79"/>
                      <a:pt x="15" y="80"/>
                    </a:cubicBezTo>
                    <a:cubicBezTo>
                      <a:pt x="19" y="81"/>
                      <a:pt x="17" y="85"/>
                      <a:pt x="20" y="86"/>
                    </a:cubicBezTo>
                    <a:cubicBezTo>
                      <a:pt x="19" y="86"/>
                      <a:pt x="17" y="87"/>
                      <a:pt x="15" y="87"/>
                    </a:cubicBezTo>
                    <a:cubicBezTo>
                      <a:pt x="13" y="87"/>
                      <a:pt x="12" y="86"/>
                      <a:pt x="13" y="84"/>
                    </a:cubicBezTo>
                    <a:cubicBezTo>
                      <a:pt x="11" y="84"/>
                      <a:pt x="11" y="86"/>
                      <a:pt x="9" y="87"/>
                    </a:cubicBezTo>
                    <a:cubicBezTo>
                      <a:pt x="9" y="87"/>
                      <a:pt x="9" y="87"/>
                      <a:pt x="9" y="87"/>
                    </a:cubicBezTo>
                    <a:cubicBezTo>
                      <a:pt x="8" y="87"/>
                      <a:pt x="9" y="85"/>
                      <a:pt x="8" y="85"/>
                    </a:cubicBezTo>
                    <a:cubicBezTo>
                      <a:pt x="8" y="85"/>
                      <a:pt x="8" y="85"/>
                      <a:pt x="8" y="85"/>
                    </a:cubicBezTo>
                    <a:cubicBezTo>
                      <a:pt x="6" y="85"/>
                      <a:pt x="2" y="87"/>
                      <a:pt x="1" y="89"/>
                    </a:cubicBezTo>
                    <a:cubicBezTo>
                      <a:pt x="1" y="89"/>
                      <a:pt x="1" y="89"/>
                      <a:pt x="1" y="89"/>
                    </a:cubicBezTo>
                    <a:cubicBezTo>
                      <a:pt x="1" y="89"/>
                      <a:pt x="1" y="89"/>
                      <a:pt x="0" y="89"/>
                    </a:cubicBezTo>
                    <a:cubicBezTo>
                      <a:pt x="3" y="90"/>
                      <a:pt x="6" y="91"/>
                      <a:pt x="10" y="91"/>
                    </a:cubicBezTo>
                    <a:cubicBezTo>
                      <a:pt x="10" y="91"/>
                      <a:pt x="10" y="91"/>
                      <a:pt x="10" y="91"/>
                    </a:cubicBezTo>
                    <a:cubicBezTo>
                      <a:pt x="11" y="91"/>
                      <a:pt x="12" y="91"/>
                      <a:pt x="13" y="91"/>
                    </a:cubicBezTo>
                    <a:cubicBezTo>
                      <a:pt x="13" y="91"/>
                      <a:pt x="14" y="91"/>
                      <a:pt x="15" y="91"/>
                    </a:cubicBezTo>
                    <a:cubicBezTo>
                      <a:pt x="14" y="90"/>
                      <a:pt x="16" y="90"/>
                      <a:pt x="17" y="90"/>
                    </a:cubicBezTo>
                    <a:cubicBezTo>
                      <a:pt x="18" y="90"/>
                      <a:pt x="19" y="90"/>
                      <a:pt x="20" y="90"/>
                    </a:cubicBezTo>
                    <a:cubicBezTo>
                      <a:pt x="19" y="91"/>
                      <a:pt x="18" y="91"/>
                      <a:pt x="17" y="91"/>
                    </a:cubicBezTo>
                    <a:cubicBezTo>
                      <a:pt x="16" y="91"/>
                      <a:pt x="16" y="91"/>
                      <a:pt x="16" y="91"/>
                    </a:cubicBezTo>
                    <a:cubicBezTo>
                      <a:pt x="15" y="92"/>
                      <a:pt x="15" y="93"/>
                      <a:pt x="14" y="93"/>
                    </a:cubicBezTo>
                    <a:cubicBezTo>
                      <a:pt x="14" y="92"/>
                      <a:pt x="14" y="92"/>
                      <a:pt x="14" y="92"/>
                    </a:cubicBezTo>
                    <a:cubicBezTo>
                      <a:pt x="13" y="95"/>
                      <a:pt x="10" y="94"/>
                      <a:pt x="8" y="95"/>
                    </a:cubicBezTo>
                    <a:cubicBezTo>
                      <a:pt x="7" y="96"/>
                      <a:pt x="6" y="96"/>
                      <a:pt x="5" y="96"/>
                    </a:cubicBezTo>
                    <a:cubicBezTo>
                      <a:pt x="4" y="98"/>
                      <a:pt x="4" y="100"/>
                      <a:pt x="2" y="100"/>
                    </a:cubicBezTo>
                    <a:cubicBezTo>
                      <a:pt x="7" y="101"/>
                      <a:pt x="12" y="102"/>
                      <a:pt x="17" y="102"/>
                    </a:cubicBezTo>
                    <a:cubicBezTo>
                      <a:pt x="18" y="102"/>
                      <a:pt x="19" y="102"/>
                      <a:pt x="21" y="101"/>
                    </a:cubicBezTo>
                    <a:cubicBezTo>
                      <a:pt x="22" y="101"/>
                      <a:pt x="23" y="101"/>
                      <a:pt x="25" y="100"/>
                    </a:cubicBezTo>
                    <a:cubicBezTo>
                      <a:pt x="20" y="104"/>
                      <a:pt x="13" y="107"/>
                      <a:pt x="9" y="111"/>
                    </a:cubicBezTo>
                    <a:cubicBezTo>
                      <a:pt x="9" y="111"/>
                      <a:pt x="9" y="111"/>
                      <a:pt x="9" y="111"/>
                    </a:cubicBezTo>
                    <a:cubicBezTo>
                      <a:pt x="14" y="111"/>
                      <a:pt x="19" y="110"/>
                      <a:pt x="24" y="109"/>
                    </a:cubicBezTo>
                    <a:cubicBezTo>
                      <a:pt x="21" y="110"/>
                      <a:pt x="20" y="112"/>
                      <a:pt x="17" y="113"/>
                    </a:cubicBezTo>
                    <a:cubicBezTo>
                      <a:pt x="18" y="113"/>
                      <a:pt x="18" y="113"/>
                      <a:pt x="18" y="113"/>
                    </a:cubicBezTo>
                    <a:cubicBezTo>
                      <a:pt x="19" y="113"/>
                      <a:pt x="20" y="113"/>
                      <a:pt x="21" y="113"/>
                    </a:cubicBezTo>
                    <a:cubicBezTo>
                      <a:pt x="21" y="113"/>
                      <a:pt x="22" y="113"/>
                      <a:pt x="23" y="113"/>
                    </a:cubicBezTo>
                    <a:cubicBezTo>
                      <a:pt x="23" y="113"/>
                      <a:pt x="23" y="113"/>
                      <a:pt x="23" y="113"/>
                    </a:cubicBezTo>
                    <a:cubicBezTo>
                      <a:pt x="21" y="114"/>
                      <a:pt x="19" y="114"/>
                      <a:pt x="18" y="115"/>
                    </a:cubicBezTo>
                    <a:cubicBezTo>
                      <a:pt x="18" y="116"/>
                      <a:pt x="19" y="117"/>
                      <a:pt x="21" y="117"/>
                    </a:cubicBezTo>
                    <a:cubicBezTo>
                      <a:pt x="24" y="117"/>
                      <a:pt x="29" y="115"/>
                      <a:pt x="31" y="115"/>
                    </a:cubicBezTo>
                    <a:cubicBezTo>
                      <a:pt x="31" y="116"/>
                      <a:pt x="31" y="116"/>
                      <a:pt x="31" y="116"/>
                    </a:cubicBezTo>
                    <a:cubicBezTo>
                      <a:pt x="37" y="116"/>
                      <a:pt x="43" y="113"/>
                      <a:pt x="49" y="112"/>
                    </a:cubicBezTo>
                    <a:cubicBezTo>
                      <a:pt x="55" y="110"/>
                      <a:pt x="57" y="107"/>
                      <a:pt x="60" y="102"/>
                    </a:cubicBezTo>
                    <a:cubicBezTo>
                      <a:pt x="61" y="102"/>
                      <a:pt x="63" y="103"/>
                      <a:pt x="64" y="103"/>
                    </a:cubicBezTo>
                    <a:cubicBezTo>
                      <a:pt x="65" y="103"/>
                      <a:pt x="65" y="103"/>
                      <a:pt x="65" y="103"/>
                    </a:cubicBezTo>
                    <a:cubicBezTo>
                      <a:pt x="70" y="100"/>
                      <a:pt x="74" y="96"/>
                      <a:pt x="80" y="94"/>
                    </a:cubicBezTo>
                    <a:cubicBezTo>
                      <a:pt x="85" y="91"/>
                      <a:pt x="91" y="93"/>
                      <a:pt x="96" y="91"/>
                    </a:cubicBezTo>
                    <a:cubicBezTo>
                      <a:pt x="99" y="89"/>
                      <a:pt x="98" y="89"/>
                      <a:pt x="98" y="85"/>
                    </a:cubicBezTo>
                    <a:cubicBezTo>
                      <a:pt x="99" y="87"/>
                      <a:pt x="100" y="88"/>
                      <a:pt x="101" y="90"/>
                    </a:cubicBezTo>
                    <a:cubicBezTo>
                      <a:pt x="102" y="87"/>
                      <a:pt x="104" y="86"/>
                      <a:pt x="106" y="86"/>
                    </a:cubicBezTo>
                    <a:cubicBezTo>
                      <a:pt x="109" y="86"/>
                      <a:pt x="113" y="88"/>
                      <a:pt x="116" y="89"/>
                    </a:cubicBezTo>
                    <a:cubicBezTo>
                      <a:pt x="115" y="87"/>
                      <a:pt x="115" y="84"/>
                      <a:pt x="113" y="82"/>
                    </a:cubicBezTo>
                    <a:cubicBezTo>
                      <a:pt x="113" y="82"/>
                      <a:pt x="114" y="83"/>
                      <a:pt x="114" y="83"/>
                    </a:cubicBezTo>
                    <a:cubicBezTo>
                      <a:pt x="117" y="83"/>
                      <a:pt x="118" y="79"/>
                      <a:pt x="119" y="76"/>
                    </a:cubicBezTo>
                    <a:cubicBezTo>
                      <a:pt x="121" y="71"/>
                      <a:pt x="124" y="66"/>
                      <a:pt x="125" y="61"/>
                    </a:cubicBezTo>
                    <a:cubicBezTo>
                      <a:pt x="126" y="59"/>
                      <a:pt x="126" y="59"/>
                      <a:pt x="126" y="57"/>
                    </a:cubicBezTo>
                    <a:cubicBezTo>
                      <a:pt x="126" y="55"/>
                      <a:pt x="125" y="52"/>
                      <a:pt x="124" y="50"/>
                    </a:cubicBezTo>
                    <a:cubicBezTo>
                      <a:pt x="124" y="47"/>
                      <a:pt x="124" y="45"/>
                      <a:pt x="124" y="43"/>
                    </a:cubicBezTo>
                    <a:cubicBezTo>
                      <a:pt x="124" y="41"/>
                      <a:pt x="125" y="36"/>
                      <a:pt x="124" y="35"/>
                    </a:cubicBezTo>
                    <a:cubicBezTo>
                      <a:pt x="121" y="33"/>
                      <a:pt x="121" y="32"/>
                      <a:pt x="120" y="29"/>
                    </a:cubicBezTo>
                    <a:cubicBezTo>
                      <a:pt x="119" y="28"/>
                      <a:pt x="116" y="24"/>
                      <a:pt x="116" y="22"/>
                    </a:cubicBezTo>
                    <a:cubicBezTo>
                      <a:pt x="117" y="19"/>
                      <a:pt x="122" y="20"/>
                      <a:pt x="124" y="19"/>
                    </a:cubicBezTo>
                    <a:cubicBezTo>
                      <a:pt x="122" y="17"/>
                      <a:pt x="121" y="17"/>
                      <a:pt x="120" y="16"/>
                    </a:cubicBezTo>
                    <a:cubicBezTo>
                      <a:pt x="120" y="19"/>
                      <a:pt x="120" y="19"/>
                      <a:pt x="120" y="19"/>
                    </a:cubicBezTo>
                    <a:cubicBezTo>
                      <a:pt x="118" y="19"/>
                      <a:pt x="118" y="19"/>
                      <a:pt x="118" y="19"/>
                    </a:cubicBezTo>
                    <a:cubicBezTo>
                      <a:pt x="115" y="19"/>
                      <a:pt x="115" y="19"/>
                      <a:pt x="115" y="19"/>
                    </a:cubicBezTo>
                    <a:cubicBezTo>
                      <a:pt x="113" y="20"/>
                      <a:pt x="112" y="20"/>
                      <a:pt x="111" y="20"/>
                    </a:cubicBezTo>
                    <a:cubicBezTo>
                      <a:pt x="110" y="20"/>
                      <a:pt x="109" y="20"/>
                      <a:pt x="108" y="19"/>
                    </a:cubicBezTo>
                    <a:cubicBezTo>
                      <a:pt x="106" y="18"/>
                      <a:pt x="106" y="17"/>
                      <a:pt x="106" y="16"/>
                    </a:cubicBezTo>
                    <a:cubicBezTo>
                      <a:pt x="106" y="15"/>
                      <a:pt x="106" y="15"/>
                      <a:pt x="105" y="14"/>
                    </a:cubicBezTo>
                    <a:cubicBezTo>
                      <a:pt x="105" y="13"/>
                      <a:pt x="105" y="13"/>
                      <a:pt x="105" y="13"/>
                    </a:cubicBezTo>
                    <a:cubicBezTo>
                      <a:pt x="104" y="11"/>
                      <a:pt x="102" y="10"/>
                      <a:pt x="99" y="10"/>
                    </a:cubicBezTo>
                    <a:cubicBezTo>
                      <a:pt x="98" y="9"/>
                      <a:pt x="97" y="9"/>
                      <a:pt x="97" y="9"/>
                    </a:cubicBezTo>
                    <a:cubicBezTo>
                      <a:pt x="95" y="9"/>
                      <a:pt x="95" y="9"/>
                      <a:pt x="95" y="9"/>
                    </a:cubicBezTo>
                    <a:cubicBezTo>
                      <a:pt x="95" y="9"/>
                      <a:pt x="95" y="9"/>
                      <a:pt x="95" y="9"/>
                    </a:cubicBezTo>
                    <a:cubicBezTo>
                      <a:pt x="95" y="9"/>
                      <a:pt x="95" y="9"/>
                      <a:pt x="95" y="9"/>
                    </a:cubicBezTo>
                    <a:cubicBezTo>
                      <a:pt x="94" y="10"/>
                      <a:pt x="94" y="12"/>
                      <a:pt x="94" y="13"/>
                    </a:cubicBezTo>
                    <a:cubicBezTo>
                      <a:pt x="93" y="14"/>
                      <a:pt x="93" y="15"/>
                      <a:pt x="93" y="16"/>
                    </a:cubicBezTo>
                    <a:cubicBezTo>
                      <a:pt x="91" y="19"/>
                      <a:pt x="91" y="19"/>
                      <a:pt x="91" y="19"/>
                    </a:cubicBezTo>
                    <a:cubicBezTo>
                      <a:pt x="73" y="12"/>
                      <a:pt x="73" y="12"/>
                      <a:pt x="73" y="12"/>
                    </a:cubicBezTo>
                    <a:cubicBezTo>
                      <a:pt x="69" y="10"/>
                      <a:pt x="67" y="7"/>
                      <a:pt x="64" y="5"/>
                    </a:cubicBezTo>
                    <a:cubicBezTo>
                      <a:pt x="59"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362"/>
              <p:cNvSpPr/>
              <p:nvPr/>
            </p:nvSpPr>
            <p:spPr bwMode="auto">
              <a:xfrm>
                <a:off x="5103886" y="3379252"/>
                <a:ext cx="29481" cy="36851"/>
              </a:xfrm>
              <a:custGeom>
                <a:gdLst>
                  <a:gd name="T0" fmla="*/ 4 w 9"/>
                  <a:gd name="T1" fmla="*/ 0 h 11"/>
                  <a:gd name="T2" fmla="*/ 0 w 9"/>
                  <a:gd name="T3" fmla="*/ 11 h 11"/>
                  <a:gd name="T4" fmla="*/ 1 w 9"/>
                  <a:gd name="T5" fmla="*/ 7 h 11"/>
                  <a:gd name="T6" fmla="*/ 1 w 9"/>
                  <a:gd name="T7" fmla="*/ 6 h 11"/>
                  <a:gd name="T8" fmla="*/ 2 w 9"/>
                  <a:gd name="T9" fmla="*/ 7 h 11"/>
                  <a:gd name="T10" fmla="*/ 3 w 9"/>
                  <a:gd name="T11" fmla="*/ 7 h 11"/>
                  <a:gd name="T12" fmla="*/ 3 w 9"/>
                  <a:gd name="T13" fmla="*/ 7 h 11"/>
                  <a:gd name="T14" fmla="*/ 8 w 9"/>
                  <a:gd name="T15" fmla="*/ 6 h 11"/>
                  <a:gd name="T16" fmla="*/ 9 w 9"/>
                  <a:gd name="T17" fmla="*/ 6 h 11"/>
                  <a:gd name="T18" fmla="*/ 9 w 9"/>
                  <a:gd name="T19" fmla="*/ 6 h 11"/>
                  <a:gd name="T20" fmla="*/ 7 w 9"/>
                  <a:gd name="T21" fmla="*/ 6 h 11"/>
                  <a:gd name="T22" fmla="*/ 5 w 9"/>
                  <a:gd name="T23" fmla="*/ 6 h 11"/>
                  <a:gd name="T24" fmla="*/ 4 w 9"/>
                  <a:gd name="T25" fmla="*/ 6 h 11"/>
                  <a:gd name="T26" fmla="*/ 4 w 9"/>
                  <a:gd name="T2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4" y="0"/>
                    </a:moveTo>
                    <a:cubicBezTo>
                      <a:pt x="0" y="1"/>
                      <a:pt x="0" y="8"/>
                      <a:pt x="0" y="11"/>
                    </a:cubicBezTo>
                    <a:cubicBezTo>
                      <a:pt x="0" y="10"/>
                      <a:pt x="0" y="7"/>
                      <a:pt x="1" y="7"/>
                    </a:cubicBezTo>
                    <a:cubicBezTo>
                      <a:pt x="1" y="6"/>
                      <a:pt x="1" y="6"/>
                      <a:pt x="1" y="6"/>
                    </a:cubicBezTo>
                    <a:cubicBezTo>
                      <a:pt x="2" y="6"/>
                      <a:pt x="2" y="7"/>
                      <a:pt x="2" y="7"/>
                    </a:cubicBezTo>
                    <a:cubicBezTo>
                      <a:pt x="2" y="7"/>
                      <a:pt x="3" y="7"/>
                      <a:pt x="3" y="7"/>
                    </a:cubicBezTo>
                    <a:cubicBezTo>
                      <a:pt x="3" y="7"/>
                      <a:pt x="3" y="7"/>
                      <a:pt x="3" y="7"/>
                    </a:cubicBezTo>
                    <a:cubicBezTo>
                      <a:pt x="5" y="7"/>
                      <a:pt x="6" y="6"/>
                      <a:pt x="8" y="6"/>
                    </a:cubicBezTo>
                    <a:cubicBezTo>
                      <a:pt x="8" y="6"/>
                      <a:pt x="9" y="6"/>
                      <a:pt x="9" y="6"/>
                    </a:cubicBezTo>
                    <a:cubicBezTo>
                      <a:pt x="9" y="6"/>
                      <a:pt x="9" y="6"/>
                      <a:pt x="9" y="6"/>
                    </a:cubicBezTo>
                    <a:cubicBezTo>
                      <a:pt x="8" y="6"/>
                      <a:pt x="8" y="6"/>
                      <a:pt x="7" y="6"/>
                    </a:cubicBezTo>
                    <a:cubicBezTo>
                      <a:pt x="7" y="6"/>
                      <a:pt x="6" y="6"/>
                      <a:pt x="5" y="6"/>
                    </a:cubicBezTo>
                    <a:cubicBezTo>
                      <a:pt x="5" y="6"/>
                      <a:pt x="5" y="6"/>
                      <a:pt x="4" y="6"/>
                    </a:cubicBezTo>
                    <a:cubicBezTo>
                      <a:pt x="0" y="5"/>
                      <a:pt x="3"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363"/>
              <p:cNvSpPr/>
              <p:nvPr/>
            </p:nvSpPr>
            <p:spPr bwMode="auto">
              <a:xfrm>
                <a:off x="4904889" y="3405048"/>
                <a:ext cx="795985" cy="884428"/>
              </a:xfrm>
              <a:custGeom>
                <a:gdLst>
                  <a:gd name="T0" fmla="*/ 83 w 251"/>
                  <a:gd name="T1" fmla="*/ 2 h 278"/>
                  <a:gd name="T2" fmla="*/ 74 w 251"/>
                  <a:gd name="T3" fmla="*/ 17 h 278"/>
                  <a:gd name="T4" fmla="*/ 89 w 251"/>
                  <a:gd name="T5" fmla="*/ 38 h 278"/>
                  <a:gd name="T6" fmla="*/ 70 w 251"/>
                  <a:gd name="T7" fmla="*/ 40 h 278"/>
                  <a:gd name="T8" fmla="*/ 63 w 251"/>
                  <a:gd name="T9" fmla="*/ 48 h 278"/>
                  <a:gd name="T10" fmla="*/ 49 w 251"/>
                  <a:gd name="T11" fmla="*/ 44 h 278"/>
                  <a:gd name="T12" fmla="*/ 34 w 251"/>
                  <a:gd name="T13" fmla="*/ 59 h 278"/>
                  <a:gd name="T14" fmla="*/ 34 w 251"/>
                  <a:gd name="T15" fmla="*/ 75 h 278"/>
                  <a:gd name="T16" fmla="*/ 24 w 251"/>
                  <a:gd name="T17" fmla="*/ 89 h 278"/>
                  <a:gd name="T18" fmla="*/ 26 w 251"/>
                  <a:gd name="T19" fmla="*/ 110 h 278"/>
                  <a:gd name="T20" fmla="*/ 14 w 251"/>
                  <a:gd name="T21" fmla="*/ 118 h 278"/>
                  <a:gd name="T22" fmla="*/ 3 w 251"/>
                  <a:gd name="T23" fmla="*/ 117 h 278"/>
                  <a:gd name="T24" fmla="*/ 5 w 251"/>
                  <a:gd name="T25" fmla="*/ 137 h 278"/>
                  <a:gd name="T26" fmla="*/ 1 w 251"/>
                  <a:gd name="T27" fmla="*/ 147 h 278"/>
                  <a:gd name="T28" fmla="*/ 2 w 251"/>
                  <a:gd name="T29" fmla="*/ 155 h 278"/>
                  <a:gd name="T30" fmla="*/ 9 w 251"/>
                  <a:gd name="T31" fmla="*/ 178 h 278"/>
                  <a:gd name="T32" fmla="*/ 6 w 251"/>
                  <a:gd name="T33" fmla="*/ 184 h 278"/>
                  <a:gd name="T34" fmla="*/ 12 w 251"/>
                  <a:gd name="T35" fmla="*/ 201 h 278"/>
                  <a:gd name="T36" fmla="*/ 26 w 251"/>
                  <a:gd name="T37" fmla="*/ 212 h 278"/>
                  <a:gd name="T38" fmla="*/ 44 w 251"/>
                  <a:gd name="T39" fmla="*/ 215 h 278"/>
                  <a:gd name="T40" fmla="*/ 50 w 251"/>
                  <a:gd name="T41" fmla="*/ 216 h 278"/>
                  <a:gd name="T42" fmla="*/ 64 w 251"/>
                  <a:gd name="T43" fmla="*/ 225 h 278"/>
                  <a:gd name="T44" fmla="*/ 45 w 251"/>
                  <a:gd name="T45" fmla="*/ 259 h 278"/>
                  <a:gd name="T46" fmla="*/ 46 w 251"/>
                  <a:gd name="T47" fmla="*/ 271 h 278"/>
                  <a:gd name="T48" fmla="*/ 51 w 251"/>
                  <a:gd name="T49" fmla="*/ 270 h 278"/>
                  <a:gd name="T50" fmla="*/ 63 w 251"/>
                  <a:gd name="T51" fmla="*/ 270 h 278"/>
                  <a:gd name="T52" fmla="*/ 74 w 251"/>
                  <a:gd name="T53" fmla="*/ 261 h 278"/>
                  <a:gd name="T54" fmla="*/ 82 w 251"/>
                  <a:gd name="T55" fmla="*/ 267 h 278"/>
                  <a:gd name="T56" fmla="*/ 101 w 251"/>
                  <a:gd name="T57" fmla="*/ 271 h 278"/>
                  <a:gd name="T58" fmla="*/ 110 w 251"/>
                  <a:gd name="T59" fmla="*/ 271 h 278"/>
                  <a:gd name="T60" fmla="*/ 120 w 251"/>
                  <a:gd name="T61" fmla="*/ 278 h 278"/>
                  <a:gd name="T62" fmla="*/ 143 w 251"/>
                  <a:gd name="T63" fmla="*/ 276 h 278"/>
                  <a:gd name="T64" fmla="*/ 166 w 251"/>
                  <a:gd name="T65" fmla="*/ 269 h 278"/>
                  <a:gd name="T66" fmla="*/ 181 w 251"/>
                  <a:gd name="T67" fmla="*/ 266 h 278"/>
                  <a:gd name="T68" fmla="*/ 188 w 251"/>
                  <a:gd name="T69" fmla="*/ 266 h 278"/>
                  <a:gd name="T70" fmla="*/ 193 w 251"/>
                  <a:gd name="T71" fmla="*/ 264 h 278"/>
                  <a:gd name="T72" fmla="*/ 201 w 251"/>
                  <a:gd name="T73" fmla="*/ 244 h 278"/>
                  <a:gd name="T74" fmla="*/ 211 w 251"/>
                  <a:gd name="T75" fmla="*/ 233 h 278"/>
                  <a:gd name="T76" fmla="*/ 215 w 251"/>
                  <a:gd name="T77" fmla="*/ 233 h 278"/>
                  <a:gd name="T78" fmla="*/ 211 w 251"/>
                  <a:gd name="T79" fmla="*/ 226 h 278"/>
                  <a:gd name="T80" fmla="*/ 189 w 251"/>
                  <a:gd name="T81" fmla="*/ 210 h 278"/>
                  <a:gd name="T82" fmla="*/ 178 w 251"/>
                  <a:gd name="T83" fmla="*/ 189 h 278"/>
                  <a:gd name="T84" fmla="*/ 168 w 251"/>
                  <a:gd name="T85" fmla="*/ 174 h 278"/>
                  <a:gd name="T86" fmla="*/ 176 w 251"/>
                  <a:gd name="T87" fmla="*/ 173 h 278"/>
                  <a:gd name="T88" fmla="*/ 192 w 251"/>
                  <a:gd name="T89" fmla="*/ 166 h 278"/>
                  <a:gd name="T90" fmla="*/ 221 w 251"/>
                  <a:gd name="T91" fmla="*/ 152 h 278"/>
                  <a:gd name="T92" fmla="*/ 235 w 251"/>
                  <a:gd name="T93" fmla="*/ 143 h 278"/>
                  <a:gd name="T94" fmla="*/ 250 w 251"/>
                  <a:gd name="T95" fmla="*/ 136 h 278"/>
                  <a:gd name="T96" fmla="*/ 242 w 251"/>
                  <a:gd name="T97" fmla="*/ 124 h 278"/>
                  <a:gd name="T98" fmla="*/ 237 w 251"/>
                  <a:gd name="T99" fmla="*/ 95 h 278"/>
                  <a:gd name="T100" fmla="*/ 229 w 251"/>
                  <a:gd name="T101" fmla="*/ 80 h 278"/>
                  <a:gd name="T102" fmla="*/ 231 w 251"/>
                  <a:gd name="T103" fmla="*/ 51 h 278"/>
                  <a:gd name="T104" fmla="*/ 214 w 251"/>
                  <a:gd name="T105" fmla="*/ 27 h 278"/>
                  <a:gd name="T106" fmla="*/ 180 w 251"/>
                  <a:gd name="T107" fmla="*/ 19 h 278"/>
                  <a:gd name="T108" fmla="*/ 171 w 251"/>
                  <a:gd name="T109" fmla="*/ 28 h 278"/>
                  <a:gd name="T110" fmla="*/ 136 w 251"/>
                  <a:gd name="T111" fmla="*/ 31 h 278"/>
                  <a:gd name="T112" fmla="*/ 121 w 251"/>
                  <a:gd name="T113" fmla="*/ 16 h 278"/>
                  <a:gd name="T114" fmla="*/ 97 w 251"/>
                  <a:gd name="T115" fmla="*/ 0 h 2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1" h="278">
                    <a:moveTo>
                      <a:pt x="97" y="0"/>
                    </a:moveTo>
                    <a:cubicBezTo>
                      <a:pt x="98" y="4"/>
                      <a:pt x="98" y="4"/>
                      <a:pt x="98" y="4"/>
                    </a:cubicBezTo>
                    <a:cubicBezTo>
                      <a:pt x="96" y="4"/>
                      <a:pt x="96" y="4"/>
                      <a:pt x="96" y="4"/>
                    </a:cubicBezTo>
                    <a:cubicBezTo>
                      <a:pt x="96" y="4"/>
                      <a:pt x="95" y="4"/>
                      <a:pt x="95" y="4"/>
                    </a:cubicBezTo>
                    <a:cubicBezTo>
                      <a:pt x="91" y="4"/>
                      <a:pt x="87" y="3"/>
                      <a:pt x="84" y="2"/>
                    </a:cubicBezTo>
                    <a:cubicBezTo>
                      <a:pt x="83" y="2"/>
                      <a:pt x="83" y="2"/>
                      <a:pt x="83" y="2"/>
                    </a:cubicBezTo>
                    <a:cubicBezTo>
                      <a:pt x="80" y="2"/>
                      <a:pt x="78" y="1"/>
                      <a:pt x="75" y="1"/>
                    </a:cubicBezTo>
                    <a:cubicBezTo>
                      <a:pt x="75" y="1"/>
                      <a:pt x="75" y="1"/>
                      <a:pt x="75" y="1"/>
                    </a:cubicBezTo>
                    <a:cubicBezTo>
                      <a:pt x="77" y="3"/>
                      <a:pt x="79" y="7"/>
                      <a:pt x="80" y="9"/>
                    </a:cubicBezTo>
                    <a:cubicBezTo>
                      <a:pt x="80" y="10"/>
                      <a:pt x="82" y="11"/>
                      <a:pt x="82" y="12"/>
                    </a:cubicBezTo>
                    <a:cubicBezTo>
                      <a:pt x="83" y="14"/>
                      <a:pt x="84" y="14"/>
                      <a:pt x="81" y="16"/>
                    </a:cubicBezTo>
                    <a:cubicBezTo>
                      <a:pt x="78" y="17"/>
                      <a:pt x="76" y="16"/>
                      <a:pt x="74" y="17"/>
                    </a:cubicBezTo>
                    <a:cubicBezTo>
                      <a:pt x="73" y="18"/>
                      <a:pt x="72" y="18"/>
                      <a:pt x="72" y="19"/>
                    </a:cubicBezTo>
                    <a:cubicBezTo>
                      <a:pt x="72" y="21"/>
                      <a:pt x="79" y="21"/>
                      <a:pt x="82" y="21"/>
                    </a:cubicBezTo>
                    <a:cubicBezTo>
                      <a:pt x="80" y="22"/>
                      <a:pt x="78" y="23"/>
                      <a:pt x="78" y="25"/>
                    </a:cubicBezTo>
                    <a:cubicBezTo>
                      <a:pt x="77" y="27"/>
                      <a:pt x="81" y="30"/>
                      <a:pt x="78" y="31"/>
                    </a:cubicBezTo>
                    <a:cubicBezTo>
                      <a:pt x="82" y="34"/>
                      <a:pt x="87" y="35"/>
                      <a:pt x="90" y="38"/>
                    </a:cubicBezTo>
                    <a:cubicBezTo>
                      <a:pt x="90" y="38"/>
                      <a:pt x="89" y="38"/>
                      <a:pt x="89" y="38"/>
                    </a:cubicBezTo>
                    <a:cubicBezTo>
                      <a:pt x="88" y="38"/>
                      <a:pt x="87" y="38"/>
                      <a:pt x="86" y="38"/>
                    </a:cubicBezTo>
                    <a:cubicBezTo>
                      <a:pt x="86" y="38"/>
                      <a:pt x="85" y="38"/>
                      <a:pt x="85" y="38"/>
                    </a:cubicBezTo>
                    <a:cubicBezTo>
                      <a:pt x="83" y="38"/>
                      <a:pt x="82" y="38"/>
                      <a:pt x="80" y="38"/>
                    </a:cubicBezTo>
                    <a:cubicBezTo>
                      <a:pt x="78" y="38"/>
                      <a:pt x="77" y="37"/>
                      <a:pt x="75" y="37"/>
                    </a:cubicBezTo>
                    <a:cubicBezTo>
                      <a:pt x="75" y="37"/>
                      <a:pt x="74" y="38"/>
                      <a:pt x="73" y="38"/>
                    </a:cubicBezTo>
                    <a:cubicBezTo>
                      <a:pt x="71" y="38"/>
                      <a:pt x="72" y="38"/>
                      <a:pt x="70" y="40"/>
                    </a:cubicBezTo>
                    <a:cubicBezTo>
                      <a:pt x="70" y="40"/>
                      <a:pt x="70" y="42"/>
                      <a:pt x="69" y="42"/>
                    </a:cubicBezTo>
                    <a:cubicBezTo>
                      <a:pt x="69" y="44"/>
                      <a:pt x="69" y="45"/>
                      <a:pt x="69" y="47"/>
                    </a:cubicBezTo>
                    <a:cubicBezTo>
                      <a:pt x="69" y="49"/>
                      <a:pt x="71" y="50"/>
                      <a:pt x="70" y="52"/>
                    </a:cubicBezTo>
                    <a:cubicBezTo>
                      <a:pt x="70" y="54"/>
                      <a:pt x="69" y="56"/>
                      <a:pt x="69" y="58"/>
                    </a:cubicBezTo>
                    <a:cubicBezTo>
                      <a:pt x="70" y="52"/>
                      <a:pt x="71" y="52"/>
                      <a:pt x="67" y="49"/>
                    </a:cubicBezTo>
                    <a:cubicBezTo>
                      <a:pt x="66" y="49"/>
                      <a:pt x="65" y="48"/>
                      <a:pt x="63" y="48"/>
                    </a:cubicBezTo>
                    <a:cubicBezTo>
                      <a:pt x="63" y="48"/>
                      <a:pt x="62" y="48"/>
                      <a:pt x="62" y="48"/>
                    </a:cubicBezTo>
                    <a:cubicBezTo>
                      <a:pt x="60" y="51"/>
                      <a:pt x="64" y="50"/>
                      <a:pt x="64" y="51"/>
                    </a:cubicBezTo>
                    <a:cubicBezTo>
                      <a:pt x="64" y="52"/>
                      <a:pt x="64" y="52"/>
                      <a:pt x="63" y="52"/>
                    </a:cubicBezTo>
                    <a:cubicBezTo>
                      <a:pt x="62" y="54"/>
                      <a:pt x="61" y="55"/>
                      <a:pt x="60" y="55"/>
                    </a:cubicBezTo>
                    <a:cubicBezTo>
                      <a:pt x="59" y="55"/>
                      <a:pt x="58" y="54"/>
                      <a:pt x="56" y="52"/>
                    </a:cubicBezTo>
                    <a:cubicBezTo>
                      <a:pt x="64" y="51"/>
                      <a:pt x="52" y="44"/>
                      <a:pt x="49" y="44"/>
                    </a:cubicBezTo>
                    <a:cubicBezTo>
                      <a:pt x="49" y="44"/>
                      <a:pt x="48" y="44"/>
                      <a:pt x="48" y="44"/>
                    </a:cubicBezTo>
                    <a:cubicBezTo>
                      <a:pt x="43" y="45"/>
                      <a:pt x="33" y="45"/>
                      <a:pt x="29" y="49"/>
                    </a:cubicBezTo>
                    <a:cubicBezTo>
                      <a:pt x="29" y="49"/>
                      <a:pt x="29" y="49"/>
                      <a:pt x="29" y="49"/>
                    </a:cubicBezTo>
                    <a:cubicBezTo>
                      <a:pt x="29" y="49"/>
                      <a:pt x="28" y="52"/>
                      <a:pt x="27" y="52"/>
                    </a:cubicBezTo>
                    <a:cubicBezTo>
                      <a:pt x="27" y="53"/>
                      <a:pt x="27" y="53"/>
                      <a:pt x="27" y="54"/>
                    </a:cubicBezTo>
                    <a:cubicBezTo>
                      <a:pt x="26" y="59"/>
                      <a:pt x="30" y="58"/>
                      <a:pt x="34" y="59"/>
                    </a:cubicBezTo>
                    <a:cubicBezTo>
                      <a:pt x="33" y="60"/>
                      <a:pt x="33" y="60"/>
                      <a:pt x="33" y="60"/>
                    </a:cubicBezTo>
                    <a:cubicBezTo>
                      <a:pt x="35" y="59"/>
                      <a:pt x="35" y="59"/>
                      <a:pt x="35" y="59"/>
                    </a:cubicBezTo>
                    <a:cubicBezTo>
                      <a:pt x="35" y="61"/>
                      <a:pt x="35" y="61"/>
                      <a:pt x="35" y="61"/>
                    </a:cubicBezTo>
                    <a:cubicBezTo>
                      <a:pt x="35" y="62"/>
                      <a:pt x="36" y="65"/>
                      <a:pt x="35" y="68"/>
                    </a:cubicBezTo>
                    <a:cubicBezTo>
                      <a:pt x="35" y="69"/>
                      <a:pt x="35" y="71"/>
                      <a:pt x="35" y="72"/>
                    </a:cubicBezTo>
                    <a:cubicBezTo>
                      <a:pt x="34" y="73"/>
                      <a:pt x="34" y="74"/>
                      <a:pt x="34" y="75"/>
                    </a:cubicBezTo>
                    <a:cubicBezTo>
                      <a:pt x="33" y="77"/>
                      <a:pt x="32" y="79"/>
                      <a:pt x="32" y="81"/>
                    </a:cubicBezTo>
                    <a:cubicBezTo>
                      <a:pt x="32" y="81"/>
                      <a:pt x="32" y="81"/>
                      <a:pt x="32" y="81"/>
                    </a:cubicBezTo>
                    <a:cubicBezTo>
                      <a:pt x="32" y="83"/>
                      <a:pt x="31" y="86"/>
                      <a:pt x="28" y="88"/>
                    </a:cubicBezTo>
                    <a:cubicBezTo>
                      <a:pt x="26" y="89"/>
                      <a:pt x="24" y="89"/>
                      <a:pt x="23" y="89"/>
                    </a:cubicBezTo>
                    <a:cubicBezTo>
                      <a:pt x="23" y="89"/>
                      <a:pt x="23" y="89"/>
                      <a:pt x="23" y="89"/>
                    </a:cubicBezTo>
                    <a:cubicBezTo>
                      <a:pt x="24" y="89"/>
                      <a:pt x="24" y="89"/>
                      <a:pt x="24" y="89"/>
                    </a:cubicBezTo>
                    <a:cubicBezTo>
                      <a:pt x="26" y="90"/>
                      <a:pt x="32" y="92"/>
                      <a:pt x="31" y="99"/>
                    </a:cubicBezTo>
                    <a:cubicBezTo>
                      <a:pt x="31" y="103"/>
                      <a:pt x="27" y="105"/>
                      <a:pt x="24" y="107"/>
                    </a:cubicBezTo>
                    <a:cubicBezTo>
                      <a:pt x="23" y="108"/>
                      <a:pt x="23" y="108"/>
                      <a:pt x="23" y="108"/>
                    </a:cubicBezTo>
                    <a:cubicBezTo>
                      <a:pt x="23" y="108"/>
                      <a:pt x="23" y="108"/>
                      <a:pt x="23" y="108"/>
                    </a:cubicBezTo>
                    <a:cubicBezTo>
                      <a:pt x="24" y="108"/>
                      <a:pt x="24" y="108"/>
                      <a:pt x="24" y="108"/>
                    </a:cubicBezTo>
                    <a:cubicBezTo>
                      <a:pt x="26" y="110"/>
                      <a:pt x="26" y="110"/>
                      <a:pt x="26" y="110"/>
                    </a:cubicBezTo>
                    <a:cubicBezTo>
                      <a:pt x="24" y="113"/>
                      <a:pt x="24" y="113"/>
                      <a:pt x="24" y="113"/>
                    </a:cubicBezTo>
                    <a:cubicBezTo>
                      <a:pt x="24" y="114"/>
                      <a:pt x="23" y="115"/>
                      <a:pt x="22" y="115"/>
                    </a:cubicBezTo>
                    <a:cubicBezTo>
                      <a:pt x="21" y="116"/>
                      <a:pt x="21" y="116"/>
                      <a:pt x="21" y="116"/>
                    </a:cubicBezTo>
                    <a:cubicBezTo>
                      <a:pt x="22" y="121"/>
                      <a:pt x="22" y="121"/>
                      <a:pt x="22" y="121"/>
                    </a:cubicBezTo>
                    <a:cubicBezTo>
                      <a:pt x="19" y="117"/>
                      <a:pt x="19" y="117"/>
                      <a:pt x="19" y="117"/>
                    </a:cubicBezTo>
                    <a:cubicBezTo>
                      <a:pt x="18" y="117"/>
                      <a:pt x="16" y="118"/>
                      <a:pt x="14" y="118"/>
                    </a:cubicBezTo>
                    <a:cubicBezTo>
                      <a:pt x="13" y="118"/>
                      <a:pt x="12" y="119"/>
                      <a:pt x="12" y="119"/>
                    </a:cubicBezTo>
                    <a:cubicBezTo>
                      <a:pt x="11" y="119"/>
                      <a:pt x="11" y="119"/>
                      <a:pt x="11" y="119"/>
                    </a:cubicBezTo>
                    <a:cubicBezTo>
                      <a:pt x="10" y="119"/>
                      <a:pt x="10" y="119"/>
                      <a:pt x="10" y="119"/>
                    </a:cubicBezTo>
                    <a:cubicBezTo>
                      <a:pt x="10" y="119"/>
                      <a:pt x="10" y="119"/>
                      <a:pt x="10" y="119"/>
                    </a:cubicBezTo>
                    <a:cubicBezTo>
                      <a:pt x="8" y="119"/>
                      <a:pt x="6" y="118"/>
                      <a:pt x="4" y="117"/>
                    </a:cubicBezTo>
                    <a:cubicBezTo>
                      <a:pt x="3" y="117"/>
                      <a:pt x="3" y="117"/>
                      <a:pt x="3" y="117"/>
                    </a:cubicBezTo>
                    <a:cubicBezTo>
                      <a:pt x="3" y="117"/>
                      <a:pt x="3" y="117"/>
                      <a:pt x="3" y="117"/>
                    </a:cubicBezTo>
                    <a:cubicBezTo>
                      <a:pt x="2" y="117"/>
                      <a:pt x="2" y="117"/>
                      <a:pt x="2" y="117"/>
                    </a:cubicBezTo>
                    <a:cubicBezTo>
                      <a:pt x="1" y="117"/>
                      <a:pt x="1" y="117"/>
                      <a:pt x="1" y="117"/>
                    </a:cubicBezTo>
                    <a:cubicBezTo>
                      <a:pt x="1" y="118"/>
                      <a:pt x="0" y="118"/>
                      <a:pt x="0" y="118"/>
                    </a:cubicBezTo>
                    <a:cubicBezTo>
                      <a:pt x="2" y="121"/>
                      <a:pt x="4" y="123"/>
                      <a:pt x="6" y="126"/>
                    </a:cubicBezTo>
                    <a:cubicBezTo>
                      <a:pt x="8" y="129"/>
                      <a:pt x="8" y="133"/>
                      <a:pt x="5" y="137"/>
                    </a:cubicBezTo>
                    <a:cubicBezTo>
                      <a:pt x="5" y="138"/>
                      <a:pt x="5" y="138"/>
                      <a:pt x="5" y="138"/>
                    </a:cubicBezTo>
                    <a:cubicBezTo>
                      <a:pt x="17" y="139"/>
                      <a:pt x="17" y="139"/>
                      <a:pt x="17" y="139"/>
                    </a:cubicBezTo>
                    <a:cubicBezTo>
                      <a:pt x="4" y="145"/>
                      <a:pt x="4" y="145"/>
                      <a:pt x="4" y="145"/>
                    </a:cubicBezTo>
                    <a:cubicBezTo>
                      <a:pt x="3" y="145"/>
                      <a:pt x="3" y="145"/>
                      <a:pt x="2" y="146"/>
                    </a:cubicBezTo>
                    <a:cubicBezTo>
                      <a:pt x="2" y="146"/>
                      <a:pt x="2" y="146"/>
                      <a:pt x="2" y="146"/>
                    </a:cubicBezTo>
                    <a:cubicBezTo>
                      <a:pt x="1" y="146"/>
                      <a:pt x="1" y="146"/>
                      <a:pt x="1" y="147"/>
                    </a:cubicBezTo>
                    <a:cubicBezTo>
                      <a:pt x="1" y="147"/>
                      <a:pt x="1" y="147"/>
                      <a:pt x="1" y="147"/>
                    </a:cubicBezTo>
                    <a:cubicBezTo>
                      <a:pt x="2" y="148"/>
                      <a:pt x="2" y="148"/>
                      <a:pt x="3" y="149"/>
                    </a:cubicBezTo>
                    <a:cubicBezTo>
                      <a:pt x="3" y="150"/>
                      <a:pt x="3" y="150"/>
                      <a:pt x="3" y="150"/>
                    </a:cubicBezTo>
                    <a:cubicBezTo>
                      <a:pt x="3" y="151"/>
                      <a:pt x="3" y="151"/>
                      <a:pt x="3" y="151"/>
                    </a:cubicBezTo>
                    <a:cubicBezTo>
                      <a:pt x="3" y="152"/>
                      <a:pt x="3" y="153"/>
                      <a:pt x="2" y="154"/>
                    </a:cubicBezTo>
                    <a:cubicBezTo>
                      <a:pt x="2" y="155"/>
                      <a:pt x="2" y="155"/>
                      <a:pt x="2" y="155"/>
                    </a:cubicBezTo>
                    <a:cubicBezTo>
                      <a:pt x="2" y="155"/>
                      <a:pt x="2" y="155"/>
                      <a:pt x="2" y="155"/>
                    </a:cubicBezTo>
                    <a:cubicBezTo>
                      <a:pt x="2" y="155"/>
                      <a:pt x="2" y="155"/>
                      <a:pt x="2" y="155"/>
                    </a:cubicBezTo>
                    <a:cubicBezTo>
                      <a:pt x="4" y="159"/>
                      <a:pt x="4" y="159"/>
                      <a:pt x="4" y="159"/>
                    </a:cubicBezTo>
                    <a:cubicBezTo>
                      <a:pt x="7" y="162"/>
                      <a:pt x="9" y="165"/>
                      <a:pt x="11" y="168"/>
                    </a:cubicBezTo>
                    <a:cubicBezTo>
                      <a:pt x="13" y="174"/>
                      <a:pt x="11" y="176"/>
                      <a:pt x="9" y="178"/>
                    </a:cubicBezTo>
                    <a:cubicBezTo>
                      <a:pt x="9" y="178"/>
                      <a:pt x="9" y="178"/>
                      <a:pt x="9" y="178"/>
                    </a:cubicBezTo>
                    <a:cubicBezTo>
                      <a:pt x="8" y="178"/>
                      <a:pt x="8" y="179"/>
                      <a:pt x="8" y="179"/>
                    </a:cubicBezTo>
                    <a:cubicBezTo>
                      <a:pt x="7" y="180"/>
                      <a:pt x="6" y="180"/>
                      <a:pt x="6" y="180"/>
                    </a:cubicBezTo>
                    <a:cubicBezTo>
                      <a:pt x="6" y="181"/>
                      <a:pt x="6" y="181"/>
                      <a:pt x="6" y="181"/>
                    </a:cubicBezTo>
                    <a:cubicBezTo>
                      <a:pt x="9" y="185"/>
                      <a:pt x="9" y="185"/>
                      <a:pt x="9" y="185"/>
                    </a:cubicBezTo>
                    <a:cubicBezTo>
                      <a:pt x="6" y="184"/>
                      <a:pt x="6" y="184"/>
                      <a:pt x="6" y="184"/>
                    </a:cubicBezTo>
                    <a:cubicBezTo>
                      <a:pt x="6" y="184"/>
                      <a:pt x="6" y="184"/>
                      <a:pt x="6" y="184"/>
                    </a:cubicBezTo>
                    <a:cubicBezTo>
                      <a:pt x="6" y="185"/>
                      <a:pt x="6" y="185"/>
                      <a:pt x="6" y="185"/>
                    </a:cubicBezTo>
                    <a:cubicBezTo>
                      <a:pt x="6" y="185"/>
                      <a:pt x="6" y="186"/>
                      <a:pt x="8" y="187"/>
                    </a:cubicBezTo>
                    <a:cubicBezTo>
                      <a:pt x="9" y="187"/>
                      <a:pt x="9" y="188"/>
                      <a:pt x="10" y="188"/>
                    </a:cubicBezTo>
                    <a:cubicBezTo>
                      <a:pt x="11" y="188"/>
                      <a:pt x="12" y="189"/>
                      <a:pt x="12" y="189"/>
                    </a:cubicBezTo>
                    <a:cubicBezTo>
                      <a:pt x="13" y="190"/>
                      <a:pt x="13" y="190"/>
                      <a:pt x="13" y="191"/>
                    </a:cubicBezTo>
                    <a:cubicBezTo>
                      <a:pt x="16" y="194"/>
                      <a:pt x="14" y="198"/>
                      <a:pt x="12" y="201"/>
                    </a:cubicBezTo>
                    <a:cubicBezTo>
                      <a:pt x="12" y="201"/>
                      <a:pt x="12" y="201"/>
                      <a:pt x="12" y="201"/>
                    </a:cubicBezTo>
                    <a:cubicBezTo>
                      <a:pt x="12" y="201"/>
                      <a:pt x="12" y="202"/>
                      <a:pt x="11" y="202"/>
                    </a:cubicBezTo>
                    <a:cubicBezTo>
                      <a:pt x="15" y="204"/>
                      <a:pt x="17" y="206"/>
                      <a:pt x="19" y="209"/>
                    </a:cubicBezTo>
                    <a:cubicBezTo>
                      <a:pt x="20" y="210"/>
                      <a:pt x="20" y="210"/>
                      <a:pt x="20" y="210"/>
                    </a:cubicBezTo>
                    <a:cubicBezTo>
                      <a:pt x="21" y="211"/>
                      <a:pt x="22" y="211"/>
                      <a:pt x="24" y="212"/>
                    </a:cubicBezTo>
                    <a:cubicBezTo>
                      <a:pt x="25" y="212"/>
                      <a:pt x="26" y="212"/>
                      <a:pt x="26" y="212"/>
                    </a:cubicBezTo>
                    <a:cubicBezTo>
                      <a:pt x="28" y="212"/>
                      <a:pt x="29" y="213"/>
                      <a:pt x="30" y="213"/>
                    </a:cubicBezTo>
                    <a:cubicBezTo>
                      <a:pt x="31" y="213"/>
                      <a:pt x="31" y="213"/>
                      <a:pt x="31" y="213"/>
                    </a:cubicBezTo>
                    <a:cubicBezTo>
                      <a:pt x="31" y="212"/>
                      <a:pt x="32" y="212"/>
                      <a:pt x="32" y="212"/>
                    </a:cubicBezTo>
                    <a:cubicBezTo>
                      <a:pt x="35" y="212"/>
                      <a:pt x="35" y="212"/>
                      <a:pt x="35" y="212"/>
                    </a:cubicBezTo>
                    <a:cubicBezTo>
                      <a:pt x="35" y="212"/>
                      <a:pt x="36" y="212"/>
                      <a:pt x="36" y="212"/>
                    </a:cubicBezTo>
                    <a:cubicBezTo>
                      <a:pt x="39" y="212"/>
                      <a:pt x="42" y="214"/>
                      <a:pt x="44" y="215"/>
                    </a:cubicBezTo>
                    <a:cubicBezTo>
                      <a:pt x="44" y="216"/>
                      <a:pt x="44" y="216"/>
                      <a:pt x="44" y="216"/>
                    </a:cubicBezTo>
                    <a:cubicBezTo>
                      <a:pt x="45" y="216"/>
                      <a:pt x="45" y="216"/>
                      <a:pt x="45" y="216"/>
                    </a:cubicBezTo>
                    <a:cubicBezTo>
                      <a:pt x="46" y="216"/>
                      <a:pt x="46" y="216"/>
                      <a:pt x="46" y="216"/>
                    </a:cubicBezTo>
                    <a:cubicBezTo>
                      <a:pt x="46" y="217"/>
                      <a:pt x="47" y="217"/>
                      <a:pt x="47" y="217"/>
                    </a:cubicBezTo>
                    <a:cubicBezTo>
                      <a:pt x="48" y="217"/>
                      <a:pt x="48" y="217"/>
                      <a:pt x="48" y="217"/>
                    </a:cubicBezTo>
                    <a:cubicBezTo>
                      <a:pt x="49" y="217"/>
                      <a:pt x="49" y="216"/>
                      <a:pt x="50" y="216"/>
                    </a:cubicBezTo>
                    <a:cubicBezTo>
                      <a:pt x="51" y="216"/>
                      <a:pt x="52" y="217"/>
                      <a:pt x="53" y="217"/>
                    </a:cubicBezTo>
                    <a:cubicBezTo>
                      <a:pt x="54" y="217"/>
                      <a:pt x="54" y="217"/>
                      <a:pt x="55" y="218"/>
                    </a:cubicBezTo>
                    <a:cubicBezTo>
                      <a:pt x="58" y="218"/>
                      <a:pt x="58" y="218"/>
                      <a:pt x="58" y="218"/>
                    </a:cubicBezTo>
                    <a:cubicBezTo>
                      <a:pt x="59" y="219"/>
                      <a:pt x="60" y="219"/>
                      <a:pt x="61" y="219"/>
                    </a:cubicBezTo>
                    <a:cubicBezTo>
                      <a:pt x="67" y="221"/>
                      <a:pt x="67" y="221"/>
                      <a:pt x="67" y="221"/>
                    </a:cubicBezTo>
                    <a:cubicBezTo>
                      <a:pt x="64" y="225"/>
                      <a:pt x="64" y="225"/>
                      <a:pt x="64" y="225"/>
                    </a:cubicBezTo>
                    <a:cubicBezTo>
                      <a:pt x="58" y="232"/>
                      <a:pt x="54" y="238"/>
                      <a:pt x="51" y="246"/>
                    </a:cubicBezTo>
                    <a:cubicBezTo>
                      <a:pt x="51" y="247"/>
                      <a:pt x="50" y="247"/>
                      <a:pt x="50" y="248"/>
                    </a:cubicBezTo>
                    <a:cubicBezTo>
                      <a:pt x="48" y="251"/>
                      <a:pt x="47" y="253"/>
                      <a:pt x="46" y="255"/>
                    </a:cubicBezTo>
                    <a:cubicBezTo>
                      <a:pt x="46" y="256"/>
                      <a:pt x="46" y="256"/>
                      <a:pt x="46" y="256"/>
                    </a:cubicBezTo>
                    <a:cubicBezTo>
                      <a:pt x="46" y="256"/>
                      <a:pt x="45" y="257"/>
                      <a:pt x="45" y="257"/>
                    </a:cubicBezTo>
                    <a:cubicBezTo>
                      <a:pt x="45" y="259"/>
                      <a:pt x="45" y="259"/>
                      <a:pt x="45" y="259"/>
                    </a:cubicBezTo>
                    <a:cubicBezTo>
                      <a:pt x="45" y="260"/>
                      <a:pt x="45" y="260"/>
                      <a:pt x="45" y="261"/>
                    </a:cubicBezTo>
                    <a:cubicBezTo>
                      <a:pt x="45" y="261"/>
                      <a:pt x="45" y="261"/>
                      <a:pt x="45" y="261"/>
                    </a:cubicBezTo>
                    <a:cubicBezTo>
                      <a:pt x="45" y="263"/>
                      <a:pt x="45" y="264"/>
                      <a:pt x="45" y="265"/>
                    </a:cubicBezTo>
                    <a:cubicBezTo>
                      <a:pt x="45" y="265"/>
                      <a:pt x="45" y="267"/>
                      <a:pt x="45" y="268"/>
                    </a:cubicBezTo>
                    <a:cubicBezTo>
                      <a:pt x="45" y="268"/>
                      <a:pt x="45" y="269"/>
                      <a:pt x="46" y="270"/>
                    </a:cubicBezTo>
                    <a:cubicBezTo>
                      <a:pt x="46" y="271"/>
                      <a:pt x="46" y="271"/>
                      <a:pt x="46" y="271"/>
                    </a:cubicBezTo>
                    <a:cubicBezTo>
                      <a:pt x="47" y="271"/>
                      <a:pt x="47" y="271"/>
                      <a:pt x="47" y="271"/>
                    </a:cubicBezTo>
                    <a:cubicBezTo>
                      <a:pt x="47" y="270"/>
                      <a:pt x="48" y="270"/>
                      <a:pt x="48" y="270"/>
                    </a:cubicBezTo>
                    <a:cubicBezTo>
                      <a:pt x="49" y="270"/>
                      <a:pt x="49" y="270"/>
                      <a:pt x="49" y="270"/>
                    </a:cubicBezTo>
                    <a:cubicBezTo>
                      <a:pt x="49" y="270"/>
                      <a:pt x="50" y="270"/>
                      <a:pt x="50" y="270"/>
                    </a:cubicBezTo>
                    <a:cubicBezTo>
                      <a:pt x="51" y="270"/>
                      <a:pt x="51" y="270"/>
                      <a:pt x="51" y="270"/>
                    </a:cubicBezTo>
                    <a:cubicBezTo>
                      <a:pt x="51" y="270"/>
                      <a:pt x="51" y="270"/>
                      <a:pt x="51" y="270"/>
                    </a:cubicBezTo>
                    <a:cubicBezTo>
                      <a:pt x="52" y="270"/>
                      <a:pt x="52" y="270"/>
                      <a:pt x="53" y="270"/>
                    </a:cubicBezTo>
                    <a:cubicBezTo>
                      <a:pt x="53" y="270"/>
                      <a:pt x="54" y="270"/>
                      <a:pt x="54" y="270"/>
                    </a:cubicBezTo>
                    <a:cubicBezTo>
                      <a:pt x="55" y="270"/>
                      <a:pt x="55" y="270"/>
                      <a:pt x="55" y="270"/>
                    </a:cubicBezTo>
                    <a:cubicBezTo>
                      <a:pt x="57" y="270"/>
                      <a:pt x="59" y="270"/>
                      <a:pt x="61" y="270"/>
                    </a:cubicBezTo>
                    <a:cubicBezTo>
                      <a:pt x="61" y="270"/>
                      <a:pt x="62" y="270"/>
                      <a:pt x="63" y="270"/>
                    </a:cubicBezTo>
                    <a:cubicBezTo>
                      <a:pt x="63" y="270"/>
                      <a:pt x="63" y="270"/>
                      <a:pt x="63" y="270"/>
                    </a:cubicBezTo>
                    <a:cubicBezTo>
                      <a:pt x="63" y="270"/>
                      <a:pt x="63" y="270"/>
                      <a:pt x="64" y="270"/>
                    </a:cubicBezTo>
                    <a:cubicBezTo>
                      <a:pt x="64" y="270"/>
                      <a:pt x="64" y="270"/>
                      <a:pt x="65" y="270"/>
                    </a:cubicBezTo>
                    <a:cubicBezTo>
                      <a:pt x="65" y="270"/>
                      <a:pt x="65" y="270"/>
                      <a:pt x="65" y="270"/>
                    </a:cubicBezTo>
                    <a:cubicBezTo>
                      <a:pt x="64" y="268"/>
                      <a:pt x="64" y="267"/>
                      <a:pt x="65" y="266"/>
                    </a:cubicBezTo>
                    <a:cubicBezTo>
                      <a:pt x="66" y="264"/>
                      <a:pt x="68" y="263"/>
                      <a:pt x="70" y="262"/>
                    </a:cubicBezTo>
                    <a:cubicBezTo>
                      <a:pt x="74" y="261"/>
                      <a:pt x="74" y="261"/>
                      <a:pt x="74" y="261"/>
                    </a:cubicBezTo>
                    <a:cubicBezTo>
                      <a:pt x="75" y="264"/>
                      <a:pt x="75" y="264"/>
                      <a:pt x="75" y="264"/>
                    </a:cubicBezTo>
                    <a:cubicBezTo>
                      <a:pt x="75" y="264"/>
                      <a:pt x="75" y="264"/>
                      <a:pt x="75" y="264"/>
                    </a:cubicBezTo>
                    <a:cubicBezTo>
                      <a:pt x="76" y="265"/>
                      <a:pt x="76" y="265"/>
                      <a:pt x="76" y="265"/>
                    </a:cubicBezTo>
                    <a:cubicBezTo>
                      <a:pt x="77" y="266"/>
                      <a:pt x="77" y="266"/>
                      <a:pt x="77" y="266"/>
                    </a:cubicBezTo>
                    <a:cubicBezTo>
                      <a:pt x="78" y="266"/>
                      <a:pt x="79" y="267"/>
                      <a:pt x="80" y="267"/>
                    </a:cubicBezTo>
                    <a:cubicBezTo>
                      <a:pt x="81" y="267"/>
                      <a:pt x="82" y="267"/>
                      <a:pt x="82" y="267"/>
                    </a:cubicBezTo>
                    <a:cubicBezTo>
                      <a:pt x="83" y="267"/>
                      <a:pt x="83" y="267"/>
                      <a:pt x="83" y="267"/>
                    </a:cubicBezTo>
                    <a:cubicBezTo>
                      <a:pt x="84" y="267"/>
                      <a:pt x="84" y="267"/>
                      <a:pt x="85" y="267"/>
                    </a:cubicBezTo>
                    <a:cubicBezTo>
                      <a:pt x="85" y="267"/>
                      <a:pt x="86" y="267"/>
                      <a:pt x="87" y="267"/>
                    </a:cubicBezTo>
                    <a:cubicBezTo>
                      <a:pt x="88" y="267"/>
                      <a:pt x="89" y="267"/>
                      <a:pt x="90" y="267"/>
                    </a:cubicBezTo>
                    <a:cubicBezTo>
                      <a:pt x="93" y="268"/>
                      <a:pt x="97" y="269"/>
                      <a:pt x="100" y="271"/>
                    </a:cubicBezTo>
                    <a:cubicBezTo>
                      <a:pt x="100" y="271"/>
                      <a:pt x="101" y="271"/>
                      <a:pt x="101" y="271"/>
                    </a:cubicBezTo>
                    <a:cubicBezTo>
                      <a:pt x="102" y="271"/>
                      <a:pt x="102" y="271"/>
                      <a:pt x="102" y="271"/>
                    </a:cubicBezTo>
                    <a:cubicBezTo>
                      <a:pt x="102" y="271"/>
                      <a:pt x="102" y="271"/>
                      <a:pt x="102" y="271"/>
                    </a:cubicBezTo>
                    <a:cubicBezTo>
                      <a:pt x="106" y="271"/>
                      <a:pt x="106" y="271"/>
                      <a:pt x="106" y="271"/>
                    </a:cubicBezTo>
                    <a:cubicBezTo>
                      <a:pt x="107" y="271"/>
                      <a:pt x="108" y="271"/>
                      <a:pt x="108" y="271"/>
                    </a:cubicBezTo>
                    <a:cubicBezTo>
                      <a:pt x="109" y="271"/>
                      <a:pt x="109" y="271"/>
                      <a:pt x="109" y="271"/>
                    </a:cubicBezTo>
                    <a:cubicBezTo>
                      <a:pt x="109" y="271"/>
                      <a:pt x="110" y="271"/>
                      <a:pt x="110" y="271"/>
                    </a:cubicBezTo>
                    <a:cubicBezTo>
                      <a:pt x="111" y="271"/>
                      <a:pt x="111" y="272"/>
                      <a:pt x="111" y="272"/>
                    </a:cubicBezTo>
                    <a:cubicBezTo>
                      <a:pt x="112" y="272"/>
                      <a:pt x="112" y="272"/>
                      <a:pt x="113" y="273"/>
                    </a:cubicBezTo>
                    <a:cubicBezTo>
                      <a:pt x="114" y="273"/>
                      <a:pt x="115" y="274"/>
                      <a:pt x="115" y="274"/>
                    </a:cubicBezTo>
                    <a:cubicBezTo>
                      <a:pt x="115" y="274"/>
                      <a:pt x="115" y="274"/>
                      <a:pt x="115" y="274"/>
                    </a:cubicBezTo>
                    <a:cubicBezTo>
                      <a:pt x="117" y="275"/>
                      <a:pt x="118" y="276"/>
                      <a:pt x="119" y="277"/>
                    </a:cubicBezTo>
                    <a:cubicBezTo>
                      <a:pt x="120" y="278"/>
                      <a:pt x="120" y="278"/>
                      <a:pt x="120" y="278"/>
                    </a:cubicBezTo>
                    <a:cubicBezTo>
                      <a:pt x="121" y="277"/>
                      <a:pt x="121" y="276"/>
                      <a:pt x="121" y="273"/>
                    </a:cubicBezTo>
                    <a:cubicBezTo>
                      <a:pt x="121" y="269"/>
                      <a:pt x="121" y="269"/>
                      <a:pt x="121" y="269"/>
                    </a:cubicBezTo>
                    <a:cubicBezTo>
                      <a:pt x="137" y="271"/>
                      <a:pt x="137" y="271"/>
                      <a:pt x="137" y="271"/>
                    </a:cubicBezTo>
                    <a:cubicBezTo>
                      <a:pt x="140" y="272"/>
                      <a:pt x="141" y="275"/>
                      <a:pt x="141" y="276"/>
                    </a:cubicBezTo>
                    <a:cubicBezTo>
                      <a:pt x="141" y="276"/>
                      <a:pt x="141" y="276"/>
                      <a:pt x="141" y="276"/>
                    </a:cubicBezTo>
                    <a:cubicBezTo>
                      <a:pt x="142" y="276"/>
                      <a:pt x="142" y="276"/>
                      <a:pt x="143" y="276"/>
                    </a:cubicBezTo>
                    <a:cubicBezTo>
                      <a:pt x="146" y="276"/>
                      <a:pt x="148" y="275"/>
                      <a:pt x="149" y="275"/>
                    </a:cubicBezTo>
                    <a:cubicBezTo>
                      <a:pt x="149" y="274"/>
                      <a:pt x="149" y="274"/>
                      <a:pt x="149" y="274"/>
                    </a:cubicBezTo>
                    <a:cubicBezTo>
                      <a:pt x="151" y="270"/>
                      <a:pt x="158" y="269"/>
                      <a:pt x="160" y="269"/>
                    </a:cubicBezTo>
                    <a:cubicBezTo>
                      <a:pt x="161" y="269"/>
                      <a:pt x="161" y="269"/>
                      <a:pt x="161" y="269"/>
                    </a:cubicBezTo>
                    <a:cubicBezTo>
                      <a:pt x="162" y="269"/>
                      <a:pt x="164" y="269"/>
                      <a:pt x="165" y="269"/>
                    </a:cubicBezTo>
                    <a:cubicBezTo>
                      <a:pt x="166" y="269"/>
                      <a:pt x="166" y="269"/>
                      <a:pt x="166" y="269"/>
                    </a:cubicBezTo>
                    <a:cubicBezTo>
                      <a:pt x="167" y="269"/>
                      <a:pt x="169" y="269"/>
                      <a:pt x="169" y="269"/>
                    </a:cubicBezTo>
                    <a:cubicBezTo>
                      <a:pt x="170" y="268"/>
                      <a:pt x="171" y="268"/>
                      <a:pt x="171" y="268"/>
                    </a:cubicBezTo>
                    <a:cubicBezTo>
                      <a:pt x="172" y="268"/>
                      <a:pt x="172" y="268"/>
                      <a:pt x="172" y="268"/>
                    </a:cubicBezTo>
                    <a:cubicBezTo>
                      <a:pt x="173" y="267"/>
                      <a:pt x="176" y="266"/>
                      <a:pt x="178" y="266"/>
                    </a:cubicBezTo>
                    <a:cubicBezTo>
                      <a:pt x="179" y="266"/>
                      <a:pt x="179" y="266"/>
                      <a:pt x="180" y="266"/>
                    </a:cubicBezTo>
                    <a:cubicBezTo>
                      <a:pt x="181" y="266"/>
                      <a:pt x="181" y="266"/>
                      <a:pt x="181" y="266"/>
                    </a:cubicBezTo>
                    <a:cubicBezTo>
                      <a:pt x="182" y="267"/>
                      <a:pt x="182" y="267"/>
                      <a:pt x="182" y="267"/>
                    </a:cubicBezTo>
                    <a:cubicBezTo>
                      <a:pt x="182" y="267"/>
                      <a:pt x="183" y="267"/>
                      <a:pt x="183" y="267"/>
                    </a:cubicBezTo>
                    <a:cubicBezTo>
                      <a:pt x="184" y="267"/>
                      <a:pt x="184" y="267"/>
                      <a:pt x="184" y="267"/>
                    </a:cubicBezTo>
                    <a:cubicBezTo>
                      <a:pt x="184" y="267"/>
                      <a:pt x="184" y="267"/>
                      <a:pt x="184" y="267"/>
                    </a:cubicBezTo>
                    <a:cubicBezTo>
                      <a:pt x="185" y="267"/>
                      <a:pt x="185" y="267"/>
                      <a:pt x="186" y="267"/>
                    </a:cubicBezTo>
                    <a:cubicBezTo>
                      <a:pt x="186" y="266"/>
                      <a:pt x="187" y="266"/>
                      <a:pt x="188" y="266"/>
                    </a:cubicBezTo>
                    <a:cubicBezTo>
                      <a:pt x="188" y="266"/>
                      <a:pt x="188" y="266"/>
                      <a:pt x="188" y="266"/>
                    </a:cubicBezTo>
                    <a:cubicBezTo>
                      <a:pt x="189" y="266"/>
                      <a:pt x="189" y="266"/>
                      <a:pt x="189" y="266"/>
                    </a:cubicBezTo>
                    <a:cubicBezTo>
                      <a:pt x="191" y="267"/>
                      <a:pt x="191" y="267"/>
                      <a:pt x="191" y="267"/>
                    </a:cubicBezTo>
                    <a:cubicBezTo>
                      <a:pt x="191" y="266"/>
                      <a:pt x="191" y="266"/>
                      <a:pt x="191" y="266"/>
                    </a:cubicBezTo>
                    <a:cubicBezTo>
                      <a:pt x="191" y="266"/>
                      <a:pt x="192" y="265"/>
                      <a:pt x="192" y="264"/>
                    </a:cubicBezTo>
                    <a:cubicBezTo>
                      <a:pt x="193" y="264"/>
                      <a:pt x="193" y="264"/>
                      <a:pt x="193" y="264"/>
                    </a:cubicBezTo>
                    <a:cubicBezTo>
                      <a:pt x="192" y="263"/>
                      <a:pt x="192" y="263"/>
                      <a:pt x="192" y="263"/>
                    </a:cubicBezTo>
                    <a:cubicBezTo>
                      <a:pt x="192" y="263"/>
                      <a:pt x="192" y="263"/>
                      <a:pt x="192" y="263"/>
                    </a:cubicBezTo>
                    <a:cubicBezTo>
                      <a:pt x="188" y="259"/>
                      <a:pt x="186" y="256"/>
                      <a:pt x="186" y="253"/>
                    </a:cubicBezTo>
                    <a:cubicBezTo>
                      <a:pt x="187" y="250"/>
                      <a:pt x="190" y="248"/>
                      <a:pt x="197" y="245"/>
                    </a:cubicBezTo>
                    <a:cubicBezTo>
                      <a:pt x="198" y="245"/>
                      <a:pt x="198" y="245"/>
                      <a:pt x="198" y="245"/>
                    </a:cubicBezTo>
                    <a:cubicBezTo>
                      <a:pt x="199" y="245"/>
                      <a:pt x="200" y="244"/>
                      <a:pt x="201" y="244"/>
                    </a:cubicBezTo>
                    <a:cubicBezTo>
                      <a:pt x="202" y="244"/>
                      <a:pt x="202" y="244"/>
                      <a:pt x="202" y="244"/>
                    </a:cubicBezTo>
                    <a:cubicBezTo>
                      <a:pt x="203" y="243"/>
                      <a:pt x="205" y="243"/>
                      <a:pt x="205" y="242"/>
                    </a:cubicBezTo>
                    <a:cubicBezTo>
                      <a:pt x="205" y="242"/>
                      <a:pt x="205" y="241"/>
                      <a:pt x="205" y="241"/>
                    </a:cubicBezTo>
                    <a:cubicBezTo>
                      <a:pt x="205" y="240"/>
                      <a:pt x="205" y="240"/>
                      <a:pt x="206" y="239"/>
                    </a:cubicBezTo>
                    <a:cubicBezTo>
                      <a:pt x="206" y="235"/>
                      <a:pt x="209" y="234"/>
                      <a:pt x="210" y="234"/>
                    </a:cubicBezTo>
                    <a:cubicBezTo>
                      <a:pt x="211" y="233"/>
                      <a:pt x="211" y="233"/>
                      <a:pt x="211" y="233"/>
                    </a:cubicBezTo>
                    <a:cubicBezTo>
                      <a:pt x="211" y="233"/>
                      <a:pt x="211" y="233"/>
                      <a:pt x="211" y="233"/>
                    </a:cubicBezTo>
                    <a:cubicBezTo>
                      <a:pt x="212" y="233"/>
                      <a:pt x="212" y="234"/>
                      <a:pt x="212" y="234"/>
                    </a:cubicBezTo>
                    <a:cubicBezTo>
                      <a:pt x="213" y="234"/>
                      <a:pt x="213" y="234"/>
                      <a:pt x="213" y="234"/>
                    </a:cubicBezTo>
                    <a:cubicBezTo>
                      <a:pt x="213" y="234"/>
                      <a:pt x="213" y="234"/>
                      <a:pt x="214" y="234"/>
                    </a:cubicBezTo>
                    <a:cubicBezTo>
                      <a:pt x="214" y="234"/>
                      <a:pt x="214" y="234"/>
                      <a:pt x="215" y="234"/>
                    </a:cubicBezTo>
                    <a:cubicBezTo>
                      <a:pt x="215" y="234"/>
                      <a:pt x="215" y="233"/>
                      <a:pt x="215" y="233"/>
                    </a:cubicBezTo>
                    <a:cubicBezTo>
                      <a:pt x="215" y="232"/>
                      <a:pt x="215" y="232"/>
                      <a:pt x="215" y="232"/>
                    </a:cubicBezTo>
                    <a:cubicBezTo>
                      <a:pt x="215" y="232"/>
                      <a:pt x="215" y="232"/>
                      <a:pt x="215" y="232"/>
                    </a:cubicBezTo>
                    <a:cubicBezTo>
                      <a:pt x="216" y="232"/>
                      <a:pt x="216" y="232"/>
                      <a:pt x="216" y="232"/>
                    </a:cubicBezTo>
                    <a:cubicBezTo>
                      <a:pt x="216" y="231"/>
                      <a:pt x="216" y="231"/>
                      <a:pt x="216" y="231"/>
                    </a:cubicBezTo>
                    <a:cubicBezTo>
                      <a:pt x="215" y="230"/>
                      <a:pt x="214" y="229"/>
                      <a:pt x="213" y="228"/>
                    </a:cubicBezTo>
                    <a:cubicBezTo>
                      <a:pt x="211" y="226"/>
                      <a:pt x="211" y="226"/>
                      <a:pt x="211" y="226"/>
                    </a:cubicBezTo>
                    <a:cubicBezTo>
                      <a:pt x="209" y="226"/>
                      <a:pt x="208" y="226"/>
                      <a:pt x="207" y="225"/>
                    </a:cubicBezTo>
                    <a:cubicBezTo>
                      <a:pt x="205" y="224"/>
                      <a:pt x="203" y="222"/>
                      <a:pt x="202" y="221"/>
                    </a:cubicBezTo>
                    <a:cubicBezTo>
                      <a:pt x="201" y="220"/>
                      <a:pt x="201" y="220"/>
                      <a:pt x="201" y="220"/>
                    </a:cubicBezTo>
                    <a:cubicBezTo>
                      <a:pt x="199" y="218"/>
                      <a:pt x="196" y="216"/>
                      <a:pt x="193" y="214"/>
                    </a:cubicBezTo>
                    <a:cubicBezTo>
                      <a:pt x="193" y="213"/>
                      <a:pt x="193" y="213"/>
                      <a:pt x="193" y="213"/>
                    </a:cubicBezTo>
                    <a:cubicBezTo>
                      <a:pt x="192" y="213"/>
                      <a:pt x="190" y="212"/>
                      <a:pt x="189" y="210"/>
                    </a:cubicBezTo>
                    <a:cubicBezTo>
                      <a:pt x="188" y="210"/>
                      <a:pt x="188" y="210"/>
                      <a:pt x="188" y="210"/>
                    </a:cubicBezTo>
                    <a:cubicBezTo>
                      <a:pt x="188" y="210"/>
                      <a:pt x="187" y="209"/>
                      <a:pt x="187" y="209"/>
                    </a:cubicBezTo>
                    <a:cubicBezTo>
                      <a:pt x="186" y="208"/>
                      <a:pt x="186" y="208"/>
                      <a:pt x="186" y="208"/>
                    </a:cubicBezTo>
                    <a:cubicBezTo>
                      <a:pt x="184" y="207"/>
                      <a:pt x="183" y="206"/>
                      <a:pt x="182" y="205"/>
                    </a:cubicBezTo>
                    <a:cubicBezTo>
                      <a:pt x="179" y="201"/>
                      <a:pt x="177" y="198"/>
                      <a:pt x="177" y="196"/>
                    </a:cubicBezTo>
                    <a:cubicBezTo>
                      <a:pt x="175" y="193"/>
                      <a:pt x="177" y="191"/>
                      <a:pt x="178" y="189"/>
                    </a:cubicBezTo>
                    <a:cubicBezTo>
                      <a:pt x="178" y="189"/>
                      <a:pt x="179" y="189"/>
                      <a:pt x="179" y="188"/>
                    </a:cubicBezTo>
                    <a:cubicBezTo>
                      <a:pt x="179" y="188"/>
                      <a:pt x="179" y="188"/>
                      <a:pt x="179" y="188"/>
                    </a:cubicBezTo>
                    <a:cubicBezTo>
                      <a:pt x="178" y="188"/>
                      <a:pt x="178" y="188"/>
                      <a:pt x="178" y="187"/>
                    </a:cubicBezTo>
                    <a:cubicBezTo>
                      <a:pt x="173" y="185"/>
                      <a:pt x="171" y="181"/>
                      <a:pt x="169" y="177"/>
                    </a:cubicBezTo>
                    <a:cubicBezTo>
                      <a:pt x="169" y="176"/>
                      <a:pt x="169" y="176"/>
                      <a:pt x="169" y="176"/>
                    </a:cubicBezTo>
                    <a:cubicBezTo>
                      <a:pt x="168" y="176"/>
                      <a:pt x="168" y="175"/>
                      <a:pt x="168" y="174"/>
                    </a:cubicBezTo>
                    <a:cubicBezTo>
                      <a:pt x="160" y="158"/>
                      <a:pt x="160" y="158"/>
                      <a:pt x="160" y="158"/>
                    </a:cubicBezTo>
                    <a:cubicBezTo>
                      <a:pt x="173" y="170"/>
                      <a:pt x="173" y="170"/>
                      <a:pt x="173" y="170"/>
                    </a:cubicBezTo>
                    <a:cubicBezTo>
                      <a:pt x="174" y="170"/>
                      <a:pt x="174" y="171"/>
                      <a:pt x="175" y="172"/>
                    </a:cubicBezTo>
                    <a:cubicBezTo>
                      <a:pt x="175" y="172"/>
                      <a:pt x="175" y="172"/>
                      <a:pt x="175" y="172"/>
                    </a:cubicBezTo>
                    <a:cubicBezTo>
                      <a:pt x="175" y="172"/>
                      <a:pt x="176" y="173"/>
                      <a:pt x="176" y="173"/>
                    </a:cubicBezTo>
                    <a:cubicBezTo>
                      <a:pt x="176" y="173"/>
                      <a:pt x="176" y="173"/>
                      <a:pt x="176" y="173"/>
                    </a:cubicBezTo>
                    <a:cubicBezTo>
                      <a:pt x="179" y="169"/>
                      <a:pt x="182" y="167"/>
                      <a:pt x="185" y="166"/>
                    </a:cubicBezTo>
                    <a:cubicBezTo>
                      <a:pt x="185" y="166"/>
                      <a:pt x="185" y="166"/>
                      <a:pt x="185" y="166"/>
                    </a:cubicBezTo>
                    <a:cubicBezTo>
                      <a:pt x="186" y="166"/>
                      <a:pt x="186" y="166"/>
                      <a:pt x="186" y="166"/>
                    </a:cubicBezTo>
                    <a:cubicBezTo>
                      <a:pt x="186" y="166"/>
                      <a:pt x="187" y="166"/>
                      <a:pt x="188" y="166"/>
                    </a:cubicBezTo>
                    <a:cubicBezTo>
                      <a:pt x="189" y="166"/>
                      <a:pt x="190" y="166"/>
                      <a:pt x="191" y="166"/>
                    </a:cubicBezTo>
                    <a:cubicBezTo>
                      <a:pt x="191" y="166"/>
                      <a:pt x="192" y="166"/>
                      <a:pt x="192" y="166"/>
                    </a:cubicBezTo>
                    <a:cubicBezTo>
                      <a:pt x="193" y="166"/>
                      <a:pt x="193" y="166"/>
                      <a:pt x="193" y="166"/>
                    </a:cubicBezTo>
                    <a:cubicBezTo>
                      <a:pt x="194" y="166"/>
                      <a:pt x="194" y="166"/>
                      <a:pt x="194" y="166"/>
                    </a:cubicBezTo>
                    <a:cubicBezTo>
                      <a:pt x="198" y="164"/>
                      <a:pt x="202" y="162"/>
                      <a:pt x="205" y="159"/>
                    </a:cubicBezTo>
                    <a:cubicBezTo>
                      <a:pt x="208" y="157"/>
                      <a:pt x="211" y="157"/>
                      <a:pt x="213" y="156"/>
                    </a:cubicBezTo>
                    <a:cubicBezTo>
                      <a:pt x="214" y="155"/>
                      <a:pt x="215" y="155"/>
                      <a:pt x="216" y="155"/>
                    </a:cubicBezTo>
                    <a:cubicBezTo>
                      <a:pt x="218" y="154"/>
                      <a:pt x="219" y="153"/>
                      <a:pt x="221" y="152"/>
                    </a:cubicBezTo>
                    <a:cubicBezTo>
                      <a:pt x="220" y="149"/>
                      <a:pt x="220" y="149"/>
                      <a:pt x="220" y="149"/>
                    </a:cubicBezTo>
                    <a:cubicBezTo>
                      <a:pt x="223" y="152"/>
                      <a:pt x="223" y="152"/>
                      <a:pt x="223" y="152"/>
                    </a:cubicBezTo>
                    <a:cubicBezTo>
                      <a:pt x="231" y="149"/>
                      <a:pt x="231" y="149"/>
                      <a:pt x="231" y="149"/>
                    </a:cubicBezTo>
                    <a:cubicBezTo>
                      <a:pt x="231" y="149"/>
                      <a:pt x="231" y="148"/>
                      <a:pt x="231" y="148"/>
                    </a:cubicBezTo>
                    <a:cubicBezTo>
                      <a:pt x="229" y="139"/>
                      <a:pt x="229" y="139"/>
                      <a:pt x="229" y="139"/>
                    </a:cubicBezTo>
                    <a:cubicBezTo>
                      <a:pt x="235" y="143"/>
                      <a:pt x="235" y="143"/>
                      <a:pt x="235" y="143"/>
                    </a:cubicBezTo>
                    <a:cubicBezTo>
                      <a:pt x="236" y="143"/>
                      <a:pt x="237" y="143"/>
                      <a:pt x="238" y="143"/>
                    </a:cubicBezTo>
                    <a:cubicBezTo>
                      <a:pt x="240" y="143"/>
                      <a:pt x="242" y="144"/>
                      <a:pt x="244" y="145"/>
                    </a:cubicBezTo>
                    <a:cubicBezTo>
                      <a:pt x="244" y="146"/>
                      <a:pt x="245" y="146"/>
                      <a:pt x="245" y="146"/>
                    </a:cubicBezTo>
                    <a:cubicBezTo>
                      <a:pt x="246" y="147"/>
                      <a:pt x="247" y="147"/>
                      <a:pt x="247" y="148"/>
                    </a:cubicBezTo>
                    <a:cubicBezTo>
                      <a:pt x="248" y="146"/>
                      <a:pt x="248" y="146"/>
                      <a:pt x="248" y="146"/>
                    </a:cubicBezTo>
                    <a:cubicBezTo>
                      <a:pt x="250" y="142"/>
                      <a:pt x="251" y="138"/>
                      <a:pt x="250" y="136"/>
                    </a:cubicBezTo>
                    <a:cubicBezTo>
                      <a:pt x="250" y="135"/>
                      <a:pt x="248" y="134"/>
                      <a:pt x="246" y="132"/>
                    </a:cubicBezTo>
                    <a:cubicBezTo>
                      <a:pt x="245" y="131"/>
                      <a:pt x="245" y="131"/>
                      <a:pt x="245" y="131"/>
                    </a:cubicBezTo>
                    <a:cubicBezTo>
                      <a:pt x="245" y="131"/>
                      <a:pt x="243" y="129"/>
                      <a:pt x="243" y="127"/>
                    </a:cubicBezTo>
                    <a:cubicBezTo>
                      <a:pt x="243" y="127"/>
                      <a:pt x="243" y="126"/>
                      <a:pt x="243" y="126"/>
                    </a:cubicBezTo>
                    <a:cubicBezTo>
                      <a:pt x="242" y="125"/>
                      <a:pt x="242" y="125"/>
                      <a:pt x="242" y="124"/>
                    </a:cubicBezTo>
                    <a:cubicBezTo>
                      <a:pt x="242" y="124"/>
                      <a:pt x="242" y="124"/>
                      <a:pt x="242" y="124"/>
                    </a:cubicBezTo>
                    <a:cubicBezTo>
                      <a:pt x="240" y="121"/>
                      <a:pt x="238" y="118"/>
                      <a:pt x="240" y="114"/>
                    </a:cubicBezTo>
                    <a:cubicBezTo>
                      <a:pt x="242" y="109"/>
                      <a:pt x="242" y="108"/>
                      <a:pt x="242" y="104"/>
                    </a:cubicBezTo>
                    <a:cubicBezTo>
                      <a:pt x="241" y="103"/>
                      <a:pt x="241" y="103"/>
                      <a:pt x="241" y="103"/>
                    </a:cubicBezTo>
                    <a:cubicBezTo>
                      <a:pt x="241" y="103"/>
                      <a:pt x="241" y="102"/>
                      <a:pt x="240" y="102"/>
                    </a:cubicBezTo>
                    <a:cubicBezTo>
                      <a:pt x="240" y="101"/>
                      <a:pt x="240" y="101"/>
                      <a:pt x="240" y="101"/>
                    </a:cubicBezTo>
                    <a:cubicBezTo>
                      <a:pt x="238" y="99"/>
                      <a:pt x="237" y="97"/>
                      <a:pt x="237" y="95"/>
                    </a:cubicBezTo>
                    <a:cubicBezTo>
                      <a:pt x="237" y="93"/>
                      <a:pt x="238" y="91"/>
                      <a:pt x="239" y="89"/>
                    </a:cubicBezTo>
                    <a:cubicBezTo>
                      <a:pt x="239" y="89"/>
                      <a:pt x="239" y="89"/>
                      <a:pt x="239" y="89"/>
                    </a:cubicBezTo>
                    <a:cubicBezTo>
                      <a:pt x="238" y="88"/>
                      <a:pt x="238" y="88"/>
                      <a:pt x="238" y="88"/>
                    </a:cubicBezTo>
                    <a:cubicBezTo>
                      <a:pt x="236" y="87"/>
                      <a:pt x="234" y="85"/>
                      <a:pt x="232" y="83"/>
                    </a:cubicBezTo>
                    <a:cubicBezTo>
                      <a:pt x="231" y="81"/>
                      <a:pt x="231" y="81"/>
                      <a:pt x="231" y="81"/>
                    </a:cubicBezTo>
                    <a:cubicBezTo>
                      <a:pt x="230" y="81"/>
                      <a:pt x="230" y="80"/>
                      <a:pt x="229" y="80"/>
                    </a:cubicBezTo>
                    <a:cubicBezTo>
                      <a:pt x="228" y="78"/>
                      <a:pt x="226" y="76"/>
                      <a:pt x="226" y="73"/>
                    </a:cubicBezTo>
                    <a:cubicBezTo>
                      <a:pt x="227" y="71"/>
                      <a:pt x="228" y="69"/>
                      <a:pt x="230" y="68"/>
                    </a:cubicBezTo>
                    <a:cubicBezTo>
                      <a:pt x="231" y="68"/>
                      <a:pt x="231" y="68"/>
                      <a:pt x="231" y="68"/>
                    </a:cubicBezTo>
                    <a:cubicBezTo>
                      <a:pt x="232" y="67"/>
                      <a:pt x="232" y="66"/>
                      <a:pt x="233" y="64"/>
                    </a:cubicBezTo>
                    <a:cubicBezTo>
                      <a:pt x="233" y="60"/>
                      <a:pt x="233" y="57"/>
                      <a:pt x="232" y="53"/>
                    </a:cubicBezTo>
                    <a:cubicBezTo>
                      <a:pt x="231" y="52"/>
                      <a:pt x="231" y="51"/>
                      <a:pt x="231" y="51"/>
                    </a:cubicBezTo>
                    <a:cubicBezTo>
                      <a:pt x="229" y="43"/>
                      <a:pt x="229" y="43"/>
                      <a:pt x="229" y="43"/>
                    </a:cubicBezTo>
                    <a:cubicBezTo>
                      <a:pt x="229" y="43"/>
                      <a:pt x="229" y="43"/>
                      <a:pt x="229" y="43"/>
                    </a:cubicBezTo>
                    <a:cubicBezTo>
                      <a:pt x="228" y="43"/>
                      <a:pt x="228" y="43"/>
                      <a:pt x="227" y="42"/>
                    </a:cubicBezTo>
                    <a:cubicBezTo>
                      <a:pt x="224" y="42"/>
                      <a:pt x="223" y="39"/>
                      <a:pt x="220" y="38"/>
                    </a:cubicBezTo>
                    <a:cubicBezTo>
                      <a:pt x="221" y="36"/>
                      <a:pt x="220" y="34"/>
                      <a:pt x="219" y="32"/>
                    </a:cubicBezTo>
                    <a:cubicBezTo>
                      <a:pt x="218" y="28"/>
                      <a:pt x="218" y="27"/>
                      <a:pt x="214" y="27"/>
                    </a:cubicBezTo>
                    <a:cubicBezTo>
                      <a:pt x="210" y="26"/>
                      <a:pt x="207" y="27"/>
                      <a:pt x="204" y="24"/>
                    </a:cubicBezTo>
                    <a:cubicBezTo>
                      <a:pt x="202" y="22"/>
                      <a:pt x="200" y="20"/>
                      <a:pt x="199" y="17"/>
                    </a:cubicBezTo>
                    <a:cubicBezTo>
                      <a:pt x="198" y="16"/>
                      <a:pt x="197" y="16"/>
                      <a:pt x="197" y="16"/>
                    </a:cubicBezTo>
                    <a:cubicBezTo>
                      <a:pt x="196" y="16"/>
                      <a:pt x="196" y="16"/>
                      <a:pt x="195" y="16"/>
                    </a:cubicBezTo>
                    <a:cubicBezTo>
                      <a:pt x="192" y="19"/>
                      <a:pt x="189" y="20"/>
                      <a:pt x="185" y="20"/>
                    </a:cubicBezTo>
                    <a:cubicBezTo>
                      <a:pt x="183" y="20"/>
                      <a:pt x="182" y="19"/>
                      <a:pt x="180" y="19"/>
                    </a:cubicBezTo>
                    <a:cubicBezTo>
                      <a:pt x="181" y="17"/>
                      <a:pt x="183" y="17"/>
                      <a:pt x="185" y="17"/>
                    </a:cubicBezTo>
                    <a:cubicBezTo>
                      <a:pt x="188" y="16"/>
                      <a:pt x="190" y="16"/>
                      <a:pt x="194" y="15"/>
                    </a:cubicBezTo>
                    <a:cubicBezTo>
                      <a:pt x="191" y="15"/>
                      <a:pt x="188" y="14"/>
                      <a:pt x="186" y="14"/>
                    </a:cubicBezTo>
                    <a:cubicBezTo>
                      <a:pt x="184" y="14"/>
                      <a:pt x="183" y="14"/>
                      <a:pt x="182" y="15"/>
                    </a:cubicBezTo>
                    <a:cubicBezTo>
                      <a:pt x="179" y="18"/>
                      <a:pt x="174" y="28"/>
                      <a:pt x="171" y="28"/>
                    </a:cubicBezTo>
                    <a:cubicBezTo>
                      <a:pt x="171" y="28"/>
                      <a:pt x="171" y="28"/>
                      <a:pt x="171" y="28"/>
                    </a:cubicBezTo>
                    <a:cubicBezTo>
                      <a:pt x="169" y="28"/>
                      <a:pt x="169" y="26"/>
                      <a:pt x="167" y="26"/>
                    </a:cubicBezTo>
                    <a:cubicBezTo>
                      <a:pt x="167" y="26"/>
                      <a:pt x="166" y="27"/>
                      <a:pt x="166" y="27"/>
                    </a:cubicBezTo>
                    <a:cubicBezTo>
                      <a:pt x="163" y="28"/>
                      <a:pt x="160" y="30"/>
                      <a:pt x="157" y="31"/>
                    </a:cubicBezTo>
                    <a:cubicBezTo>
                      <a:pt x="153" y="33"/>
                      <a:pt x="150" y="35"/>
                      <a:pt x="146" y="35"/>
                    </a:cubicBezTo>
                    <a:cubicBezTo>
                      <a:pt x="146" y="35"/>
                      <a:pt x="146" y="35"/>
                      <a:pt x="146" y="35"/>
                    </a:cubicBezTo>
                    <a:cubicBezTo>
                      <a:pt x="142" y="35"/>
                      <a:pt x="134" y="36"/>
                      <a:pt x="136" y="31"/>
                    </a:cubicBezTo>
                    <a:cubicBezTo>
                      <a:pt x="139" y="26"/>
                      <a:pt x="141" y="22"/>
                      <a:pt x="143" y="17"/>
                    </a:cubicBezTo>
                    <a:cubicBezTo>
                      <a:pt x="142" y="18"/>
                      <a:pt x="139" y="18"/>
                      <a:pt x="137" y="18"/>
                    </a:cubicBezTo>
                    <a:cubicBezTo>
                      <a:pt x="136" y="19"/>
                      <a:pt x="135" y="21"/>
                      <a:pt x="132" y="21"/>
                    </a:cubicBezTo>
                    <a:cubicBezTo>
                      <a:pt x="132" y="21"/>
                      <a:pt x="132" y="21"/>
                      <a:pt x="132" y="21"/>
                    </a:cubicBezTo>
                    <a:cubicBezTo>
                      <a:pt x="129" y="21"/>
                      <a:pt x="124" y="17"/>
                      <a:pt x="121" y="16"/>
                    </a:cubicBezTo>
                    <a:cubicBezTo>
                      <a:pt x="121" y="16"/>
                      <a:pt x="121" y="16"/>
                      <a:pt x="121" y="16"/>
                    </a:cubicBezTo>
                    <a:cubicBezTo>
                      <a:pt x="119" y="16"/>
                      <a:pt x="117" y="19"/>
                      <a:pt x="116" y="20"/>
                    </a:cubicBezTo>
                    <a:cubicBezTo>
                      <a:pt x="117" y="18"/>
                      <a:pt x="117" y="16"/>
                      <a:pt x="117" y="15"/>
                    </a:cubicBezTo>
                    <a:cubicBezTo>
                      <a:pt x="114" y="15"/>
                      <a:pt x="110" y="15"/>
                      <a:pt x="107" y="14"/>
                    </a:cubicBezTo>
                    <a:cubicBezTo>
                      <a:pt x="108" y="14"/>
                      <a:pt x="110" y="13"/>
                      <a:pt x="111" y="12"/>
                    </a:cubicBezTo>
                    <a:cubicBezTo>
                      <a:pt x="114" y="9"/>
                      <a:pt x="111" y="2"/>
                      <a:pt x="107" y="2"/>
                    </a:cubicBezTo>
                    <a:cubicBezTo>
                      <a:pt x="104" y="1"/>
                      <a:pt x="100" y="1"/>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364"/>
              <p:cNvSpPr/>
              <p:nvPr/>
            </p:nvSpPr>
            <p:spPr bwMode="auto">
              <a:xfrm>
                <a:off x="5085460" y="3124979"/>
                <a:ext cx="257958" cy="276384"/>
              </a:xfrm>
              <a:custGeom>
                <a:gdLst>
                  <a:gd name="T0" fmla="*/ 45 w 81"/>
                  <a:gd name="T1" fmla="*/ 1 h 87"/>
                  <a:gd name="T2" fmla="*/ 42 w 81"/>
                  <a:gd name="T3" fmla="*/ 1 h 87"/>
                  <a:gd name="T4" fmla="*/ 37 w 81"/>
                  <a:gd name="T5" fmla="*/ 1 h 87"/>
                  <a:gd name="T6" fmla="*/ 31 w 81"/>
                  <a:gd name="T7" fmla="*/ 14 h 87"/>
                  <a:gd name="T8" fmla="*/ 27 w 81"/>
                  <a:gd name="T9" fmla="*/ 17 h 87"/>
                  <a:gd name="T10" fmla="*/ 24 w 81"/>
                  <a:gd name="T11" fmla="*/ 10 h 87"/>
                  <a:gd name="T12" fmla="*/ 18 w 81"/>
                  <a:gd name="T13" fmla="*/ 16 h 87"/>
                  <a:gd name="T14" fmla="*/ 4 w 81"/>
                  <a:gd name="T15" fmla="*/ 14 h 87"/>
                  <a:gd name="T16" fmla="*/ 1 w 81"/>
                  <a:gd name="T17" fmla="*/ 31 h 87"/>
                  <a:gd name="T18" fmla="*/ 4 w 81"/>
                  <a:gd name="T19" fmla="*/ 38 h 87"/>
                  <a:gd name="T20" fmla="*/ 8 w 81"/>
                  <a:gd name="T21" fmla="*/ 45 h 87"/>
                  <a:gd name="T22" fmla="*/ 6 w 81"/>
                  <a:gd name="T23" fmla="*/ 45 h 87"/>
                  <a:gd name="T24" fmla="*/ 1 w 81"/>
                  <a:gd name="T25" fmla="*/ 57 h 87"/>
                  <a:gd name="T26" fmla="*/ 5 w 81"/>
                  <a:gd name="T27" fmla="*/ 59 h 87"/>
                  <a:gd name="T28" fmla="*/ 14 w 81"/>
                  <a:gd name="T29" fmla="*/ 75 h 87"/>
                  <a:gd name="T30" fmla="*/ 13 w 81"/>
                  <a:gd name="T31" fmla="*/ 74 h 87"/>
                  <a:gd name="T32" fmla="*/ 11 w 81"/>
                  <a:gd name="T33" fmla="*/ 75 h 87"/>
                  <a:gd name="T34" fmla="*/ 17 w 81"/>
                  <a:gd name="T35" fmla="*/ 76 h 87"/>
                  <a:gd name="T36" fmla="*/ 17 w 81"/>
                  <a:gd name="T37" fmla="*/ 84 h 87"/>
                  <a:gd name="T38" fmla="*/ 19 w 81"/>
                  <a:gd name="T39" fmla="*/ 82 h 87"/>
                  <a:gd name="T40" fmla="*/ 38 w 81"/>
                  <a:gd name="T41" fmla="*/ 85 h 87"/>
                  <a:gd name="T42" fmla="*/ 40 w 81"/>
                  <a:gd name="T43" fmla="*/ 85 h 87"/>
                  <a:gd name="T44" fmla="*/ 44 w 81"/>
                  <a:gd name="T45" fmla="*/ 85 h 87"/>
                  <a:gd name="T46" fmla="*/ 44 w 81"/>
                  <a:gd name="T47" fmla="*/ 81 h 87"/>
                  <a:gd name="T48" fmla="*/ 42 w 81"/>
                  <a:gd name="T49" fmla="*/ 80 h 87"/>
                  <a:gd name="T50" fmla="*/ 40 w 81"/>
                  <a:gd name="T51" fmla="*/ 79 h 87"/>
                  <a:gd name="T52" fmla="*/ 43 w 81"/>
                  <a:gd name="T53" fmla="*/ 67 h 87"/>
                  <a:gd name="T54" fmla="*/ 43 w 81"/>
                  <a:gd name="T55" fmla="*/ 54 h 87"/>
                  <a:gd name="T56" fmla="*/ 50 w 81"/>
                  <a:gd name="T57" fmla="*/ 54 h 87"/>
                  <a:gd name="T58" fmla="*/ 54 w 81"/>
                  <a:gd name="T59" fmla="*/ 54 h 87"/>
                  <a:gd name="T60" fmla="*/ 56 w 81"/>
                  <a:gd name="T61" fmla="*/ 47 h 87"/>
                  <a:gd name="T62" fmla="*/ 60 w 81"/>
                  <a:gd name="T63" fmla="*/ 47 h 87"/>
                  <a:gd name="T64" fmla="*/ 69 w 81"/>
                  <a:gd name="T65" fmla="*/ 31 h 87"/>
                  <a:gd name="T66" fmla="*/ 69 w 81"/>
                  <a:gd name="T67" fmla="*/ 37 h 87"/>
                  <a:gd name="T68" fmla="*/ 81 w 81"/>
                  <a:gd name="T69" fmla="*/ 23 h 87"/>
                  <a:gd name="T70" fmla="*/ 65 w 81"/>
                  <a:gd name="T71" fmla="*/ 19 h 87"/>
                  <a:gd name="T72" fmla="*/ 64 w 81"/>
                  <a:gd name="T73" fmla="*/ 18 h 87"/>
                  <a:gd name="T74" fmla="*/ 65 w 81"/>
                  <a:gd name="T75" fmla="*/ 15 h 87"/>
                  <a:gd name="T76" fmla="*/ 62 w 81"/>
                  <a:gd name="T77" fmla="*/ 13 h 87"/>
                  <a:gd name="T78" fmla="*/ 63 w 81"/>
                  <a:gd name="T79" fmla="*/ 8 h 87"/>
                  <a:gd name="T80" fmla="*/ 57 w 81"/>
                  <a:gd name="T81" fmla="*/ 0 h 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87">
                    <a:moveTo>
                      <a:pt x="57" y="0"/>
                    </a:moveTo>
                    <a:cubicBezTo>
                      <a:pt x="53" y="0"/>
                      <a:pt x="49" y="1"/>
                      <a:pt x="45" y="1"/>
                    </a:cubicBezTo>
                    <a:cubicBezTo>
                      <a:pt x="45" y="1"/>
                      <a:pt x="45" y="1"/>
                      <a:pt x="45" y="1"/>
                    </a:cubicBezTo>
                    <a:cubicBezTo>
                      <a:pt x="44" y="1"/>
                      <a:pt x="43" y="1"/>
                      <a:pt x="42" y="1"/>
                    </a:cubicBezTo>
                    <a:cubicBezTo>
                      <a:pt x="41" y="1"/>
                      <a:pt x="39" y="1"/>
                      <a:pt x="38" y="1"/>
                    </a:cubicBezTo>
                    <a:cubicBezTo>
                      <a:pt x="38" y="1"/>
                      <a:pt x="37" y="1"/>
                      <a:pt x="37" y="1"/>
                    </a:cubicBezTo>
                    <a:cubicBezTo>
                      <a:pt x="35" y="4"/>
                      <a:pt x="32" y="6"/>
                      <a:pt x="32" y="10"/>
                    </a:cubicBezTo>
                    <a:cubicBezTo>
                      <a:pt x="31" y="11"/>
                      <a:pt x="31" y="13"/>
                      <a:pt x="31" y="14"/>
                    </a:cubicBezTo>
                    <a:cubicBezTo>
                      <a:pt x="36" y="14"/>
                      <a:pt x="35" y="14"/>
                      <a:pt x="36" y="20"/>
                    </a:cubicBezTo>
                    <a:cubicBezTo>
                      <a:pt x="33" y="18"/>
                      <a:pt x="31" y="18"/>
                      <a:pt x="27" y="17"/>
                    </a:cubicBezTo>
                    <a:cubicBezTo>
                      <a:pt x="29" y="16"/>
                      <a:pt x="29" y="14"/>
                      <a:pt x="31" y="13"/>
                    </a:cubicBezTo>
                    <a:cubicBezTo>
                      <a:pt x="29" y="12"/>
                      <a:pt x="27" y="11"/>
                      <a:pt x="24" y="10"/>
                    </a:cubicBezTo>
                    <a:cubicBezTo>
                      <a:pt x="24" y="11"/>
                      <a:pt x="23" y="13"/>
                      <a:pt x="22" y="14"/>
                    </a:cubicBezTo>
                    <a:cubicBezTo>
                      <a:pt x="21" y="15"/>
                      <a:pt x="18" y="15"/>
                      <a:pt x="18" y="16"/>
                    </a:cubicBezTo>
                    <a:cubicBezTo>
                      <a:pt x="17" y="19"/>
                      <a:pt x="20" y="19"/>
                      <a:pt x="18" y="22"/>
                    </a:cubicBezTo>
                    <a:cubicBezTo>
                      <a:pt x="15" y="21"/>
                      <a:pt x="3" y="18"/>
                      <a:pt x="4" y="14"/>
                    </a:cubicBezTo>
                    <a:cubicBezTo>
                      <a:pt x="3" y="16"/>
                      <a:pt x="1" y="19"/>
                      <a:pt x="1" y="21"/>
                    </a:cubicBezTo>
                    <a:cubicBezTo>
                      <a:pt x="1" y="25"/>
                      <a:pt x="2" y="28"/>
                      <a:pt x="1" y="31"/>
                    </a:cubicBezTo>
                    <a:cubicBezTo>
                      <a:pt x="1" y="35"/>
                      <a:pt x="0" y="38"/>
                      <a:pt x="1" y="41"/>
                    </a:cubicBezTo>
                    <a:cubicBezTo>
                      <a:pt x="2" y="40"/>
                      <a:pt x="3" y="39"/>
                      <a:pt x="4" y="38"/>
                    </a:cubicBezTo>
                    <a:cubicBezTo>
                      <a:pt x="6" y="40"/>
                      <a:pt x="7" y="42"/>
                      <a:pt x="9" y="45"/>
                    </a:cubicBezTo>
                    <a:cubicBezTo>
                      <a:pt x="8" y="45"/>
                      <a:pt x="8" y="45"/>
                      <a:pt x="8" y="45"/>
                    </a:cubicBezTo>
                    <a:cubicBezTo>
                      <a:pt x="8" y="45"/>
                      <a:pt x="7" y="45"/>
                      <a:pt x="7" y="45"/>
                    </a:cubicBezTo>
                    <a:cubicBezTo>
                      <a:pt x="6" y="45"/>
                      <a:pt x="6" y="45"/>
                      <a:pt x="6" y="45"/>
                    </a:cubicBezTo>
                    <a:cubicBezTo>
                      <a:pt x="4" y="45"/>
                      <a:pt x="2" y="45"/>
                      <a:pt x="1" y="42"/>
                    </a:cubicBezTo>
                    <a:cubicBezTo>
                      <a:pt x="2" y="48"/>
                      <a:pt x="4" y="52"/>
                      <a:pt x="1" y="57"/>
                    </a:cubicBezTo>
                    <a:cubicBezTo>
                      <a:pt x="0" y="61"/>
                      <a:pt x="3" y="62"/>
                      <a:pt x="6" y="63"/>
                    </a:cubicBezTo>
                    <a:cubicBezTo>
                      <a:pt x="6" y="61"/>
                      <a:pt x="5" y="60"/>
                      <a:pt x="5" y="59"/>
                    </a:cubicBezTo>
                    <a:cubicBezTo>
                      <a:pt x="5" y="59"/>
                      <a:pt x="6" y="59"/>
                      <a:pt x="6" y="59"/>
                    </a:cubicBezTo>
                    <a:cubicBezTo>
                      <a:pt x="13" y="59"/>
                      <a:pt x="21" y="73"/>
                      <a:pt x="14" y="75"/>
                    </a:cubicBezTo>
                    <a:cubicBezTo>
                      <a:pt x="14" y="75"/>
                      <a:pt x="14" y="75"/>
                      <a:pt x="14" y="75"/>
                    </a:cubicBezTo>
                    <a:cubicBezTo>
                      <a:pt x="13" y="75"/>
                      <a:pt x="13" y="75"/>
                      <a:pt x="13" y="74"/>
                    </a:cubicBezTo>
                    <a:cubicBezTo>
                      <a:pt x="12" y="74"/>
                      <a:pt x="12" y="74"/>
                      <a:pt x="12" y="74"/>
                    </a:cubicBezTo>
                    <a:cubicBezTo>
                      <a:pt x="12" y="74"/>
                      <a:pt x="11" y="74"/>
                      <a:pt x="11" y="75"/>
                    </a:cubicBezTo>
                    <a:cubicBezTo>
                      <a:pt x="10" y="76"/>
                      <a:pt x="12" y="77"/>
                      <a:pt x="13" y="77"/>
                    </a:cubicBezTo>
                    <a:cubicBezTo>
                      <a:pt x="15" y="77"/>
                      <a:pt x="16" y="76"/>
                      <a:pt x="17" y="76"/>
                    </a:cubicBezTo>
                    <a:cubicBezTo>
                      <a:pt x="16" y="79"/>
                      <a:pt x="15" y="82"/>
                      <a:pt x="16" y="84"/>
                    </a:cubicBezTo>
                    <a:cubicBezTo>
                      <a:pt x="17" y="84"/>
                      <a:pt x="17" y="84"/>
                      <a:pt x="17" y="84"/>
                    </a:cubicBezTo>
                    <a:cubicBezTo>
                      <a:pt x="17" y="82"/>
                      <a:pt x="17" y="82"/>
                      <a:pt x="17" y="82"/>
                    </a:cubicBezTo>
                    <a:cubicBezTo>
                      <a:pt x="19" y="82"/>
                      <a:pt x="19" y="82"/>
                      <a:pt x="19" y="82"/>
                    </a:cubicBezTo>
                    <a:cubicBezTo>
                      <a:pt x="22" y="82"/>
                      <a:pt x="25" y="83"/>
                      <a:pt x="28" y="83"/>
                    </a:cubicBezTo>
                    <a:cubicBezTo>
                      <a:pt x="32" y="84"/>
                      <a:pt x="35" y="85"/>
                      <a:pt x="38" y="85"/>
                    </a:cubicBezTo>
                    <a:cubicBezTo>
                      <a:pt x="38" y="85"/>
                      <a:pt x="38" y="85"/>
                      <a:pt x="39" y="85"/>
                    </a:cubicBezTo>
                    <a:cubicBezTo>
                      <a:pt x="40" y="85"/>
                      <a:pt x="40" y="85"/>
                      <a:pt x="40" y="85"/>
                    </a:cubicBezTo>
                    <a:cubicBezTo>
                      <a:pt x="40" y="87"/>
                      <a:pt x="40" y="87"/>
                      <a:pt x="40" y="87"/>
                    </a:cubicBezTo>
                    <a:cubicBezTo>
                      <a:pt x="42" y="86"/>
                      <a:pt x="42" y="85"/>
                      <a:pt x="44" y="85"/>
                    </a:cubicBezTo>
                    <a:cubicBezTo>
                      <a:pt x="44" y="85"/>
                      <a:pt x="45" y="85"/>
                      <a:pt x="46" y="86"/>
                    </a:cubicBezTo>
                    <a:cubicBezTo>
                      <a:pt x="48" y="83"/>
                      <a:pt x="46" y="82"/>
                      <a:pt x="44" y="81"/>
                    </a:cubicBezTo>
                    <a:cubicBezTo>
                      <a:pt x="43" y="80"/>
                      <a:pt x="43" y="80"/>
                      <a:pt x="42" y="80"/>
                    </a:cubicBezTo>
                    <a:cubicBezTo>
                      <a:pt x="42" y="80"/>
                      <a:pt x="42" y="80"/>
                      <a:pt x="42" y="80"/>
                    </a:cubicBezTo>
                    <a:cubicBezTo>
                      <a:pt x="41" y="80"/>
                      <a:pt x="41" y="80"/>
                      <a:pt x="41" y="80"/>
                    </a:cubicBezTo>
                    <a:cubicBezTo>
                      <a:pt x="40" y="80"/>
                      <a:pt x="40" y="80"/>
                      <a:pt x="40" y="79"/>
                    </a:cubicBezTo>
                    <a:cubicBezTo>
                      <a:pt x="39" y="74"/>
                      <a:pt x="43" y="77"/>
                      <a:pt x="45" y="74"/>
                    </a:cubicBezTo>
                    <a:cubicBezTo>
                      <a:pt x="46" y="72"/>
                      <a:pt x="44" y="69"/>
                      <a:pt x="43" y="67"/>
                    </a:cubicBezTo>
                    <a:cubicBezTo>
                      <a:pt x="42" y="61"/>
                      <a:pt x="43" y="60"/>
                      <a:pt x="47" y="57"/>
                    </a:cubicBezTo>
                    <a:cubicBezTo>
                      <a:pt x="46" y="56"/>
                      <a:pt x="44" y="55"/>
                      <a:pt x="43" y="54"/>
                    </a:cubicBezTo>
                    <a:cubicBezTo>
                      <a:pt x="44" y="53"/>
                      <a:pt x="46" y="53"/>
                      <a:pt x="47" y="53"/>
                    </a:cubicBezTo>
                    <a:cubicBezTo>
                      <a:pt x="48" y="53"/>
                      <a:pt x="49" y="53"/>
                      <a:pt x="50" y="54"/>
                    </a:cubicBezTo>
                    <a:cubicBezTo>
                      <a:pt x="51" y="54"/>
                      <a:pt x="52" y="54"/>
                      <a:pt x="53" y="54"/>
                    </a:cubicBezTo>
                    <a:cubicBezTo>
                      <a:pt x="54" y="54"/>
                      <a:pt x="54" y="54"/>
                      <a:pt x="54" y="54"/>
                    </a:cubicBezTo>
                    <a:cubicBezTo>
                      <a:pt x="54" y="52"/>
                      <a:pt x="52" y="47"/>
                      <a:pt x="54" y="47"/>
                    </a:cubicBezTo>
                    <a:cubicBezTo>
                      <a:pt x="55" y="47"/>
                      <a:pt x="55" y="47"/>
                      <a:pt x="56" y="47"/>
                    </a:cubicBezTo>
                    <a:cubicBezTo>
                      <a:pt x="57" y="48"/>
                      <a:pt x="58" y="48"/>
                      <a:pt x="59" y="48"/>
                    </a:cubicBezTo>
                    <a:cubicBezTo>
                      <a:pt x="59" y="48"/>
                      <a:pt x="59" y="48"/>
                      <a:pt x="60" y="47"/>
                    </a:cubicBezTo>
                    <a:cubicBezTo>
                      <a:pt x="62" y="45"/>
                      <a:pt x="62" y="30"/>
                      <a:pt x="67" y="30"/>
                    </a:cubicBezTo>
                    <a:cubicBezTo>
                      <a:pt x="67" y="30"/>
                      <a:pt x="68" y="30"/>
                      <a:pt x="69" y="31"/>
                    </a:cubicBezTo>
                    <a:cubicBezTo>
                      <a:pt x="66" y="34"/>
                      <a:pt x="64" y="36"/>
                      <a:pt x="69" y="36"/>
                    </a:cubicBezTo>
                    <a:cubicBezTo>
                      <a:pt x="69" y="37"/>
                      <a:pt x="69" y="37"/>
                      <a:pt x="69" y="37"/>
                    </a:cubicBezTo>
                    <a:cubicBezTo>
                      <a:pt x="70" y="37"/>
                      <a:pt x="70" y="37"/>
                      <a:pt x="71" y="37"/>
                    </a:cubicBezTo>
                    <a:cubicBezTo>
                      <a:pt x="77" y="33"/>
                      <a:pt x="79" y="30"/>
                      <a:pt x="81" y="23"/>
                    </a:cubicBezTo>
                    <a:cubicBezTo>
                      <a:pt x="78" y="23"/>
                      <a:pt x="75" y="22"/>
                      <a:pt x="72" y="21"/>
                    </a:cubicBezTo>
                    <a:cubicBezTo>
                      <a:pt x="69" y="21"/>
                      <a:pt x="68" y="19"/>
                      <a:pt x="65" y="19"/>
                    </a:cubicBezTo>
                    <a:cubicBezTo>
                      <a:pt x="65" y="18"/>
                      <a:pt x="64" y="18"/>
                      <a:pt x="64" y="18"/>
                    </a:cubicBezTo>
                    <a:cubicBezTo>
                      <a:pt x="64" y="18"/>
                      <a:pt x="64" y="18"/>
                      <a:pt x="64" y="18"/>
                    </a:cubicBezTo>
                    <a:cubicBezTo>
                      <a:pt x="62" y="20"/>
                      <a:pt x="62" y="23"/>
                      <a:pt x="60" y="23"/>
                    </a:cubicBezTo>
                    <a:cubicBezTo>
                      <a:pt x="61" y="20"/>
                      <a:pt x="63" y="18"/>
                      <a:pt x="65" y="15"/>
                    </a:cubicBezTo>
                    <a:cubicBezTo>
                      <a:pt x="62" y="15"/>
                      <a:pt x="60" y="14"/>
                      <a:pt x="58" y="14"/>
                    </a:cubicBezTo>
                    <a:cubicBezTo>
                      <a:pt x="59" y="13"/>
                      <a:pt x="61" y="13"/>
                      <a:pt x="62" y="13"/>
                    </a:cubicBezTo>
                    <a:cubicBezTo>
                      <a:pt x="63" y="13"/>
                      <a:pt x="63" y="13"/>
                      <a:pt x="64" y="13"/>
                    </a:cubicBezTo>
                    <a:cubicBezTo>
                      <a:pt x="64" y="12"/>
                      <a:pt x="63" y="10"/>
                      <a:pt x="63" y="8"/>
                    </a:cubicBezTo>
                    <a:cubicBezTo>
                      <a:pt x="62" y="7"/>
                      <a:pt x="64" y="4"/>
                      <a:pt x="63" y="3"/>
                    </a:cubicBezTo>
                    <a:cubicBezTo>
                      <a:pt x="62" y="1"/>
                      <a:pt x="59" y="0"/>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365"/>
              <p:cNvSpPr/>
              <p:nvPr/>
            </p:nvSpPr>
            <p:spPr bwMode="auto">
              <a:xfrm>
                <a:off x="9422841" y="6489489"/>
                <a:ext cx="33166" cy="62647"/>
              </a:xfrm>
              <a:custGeom>
                <a:gdLst>
                  <a:gd name="T0" fmla="*/ 7 w 11"/>
                  <a:gd name="T1" fmla="*/ 0 h 20"/>
                  <a:gd name="T2" fmla="*/ 0 w 11"/>
                  <a:gd name="T3" fmla="*/ 6 h 20"/>
                  <a:gd name="T4" fmla="*/ 2 w 11"/>
                  <a:gd name="T5" fmla="*/ 6 h 20"/>
                  <a:gd name="T6" fmla="*/ 2 w 11"/>
                  <a:gd name="T7" fmla="*/ 7 h 20"/>
                  <a:gd name="T8" fmla="*/ 2 w 11"/>
                  <a:gd name="T9" fmla="*/ 10 h 20"/>
                  <a:gd name="T10" fmla="*/ 2 w 11"/>
                  <a:gd name="T11" fmla="*/ 12 h 20"/>
                  <a:gd name="T12" fmla="*/ 3 w 11"/>
                  <a:gd name="T13" fmla="*/ 18 h 20"/>
                  <a:gd name="T14" fmla="*/ 3 w 11"/>
                  <a:gd name="T15" fmla="*/ 18 h 20"/>
                  <a:gd name="T16" fmla="*/ 5 w 11"/>
                  <a:gd name="T17" fmla="*/ 20 h 20"/>
                  <a:gd name="T18" fmla="*/ 9 w 11"/>
                  <a:gd name="T19" fmla="*/ 8 h 20"/>
                  <a:gd name="T20" fmla="*/ 5 w 11"/>
                  <a:gd name="T21" fmla="*/ 6 h 20"/>
                  <a:gd name="T22" fmla="*/ 11 w 11"/>
                  <a:gd name="T23" fmla="*/ 1 h 20"/>
                  <a:gd name="T24" fmla="*/ 7 w 11"/>
                  <a:gd name="T25"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0">
                    <a:moveTo>
                      <a:pt x="7" y="0"/>
                    </a:moveTo>
                    <a:cubicBezTo>
                      <a:pt x="4" y="0"/>
                      <a:pt x="2" y="3"/>
                      <a:pt x="0" y="6"/>
                    </a:cubicBezTo>
                    <a:cubicBezTo>
                      <a:pt x="2" y="6"/>
                      <a:pt x="2" y="6"/>
                      <a:pt x="2" y="6"/>
                    </a:cubicBezTo>
                    <a:cubicBezTo>
                      <a:pt x="2" y="7"/>
                      <a:pt x="2" y="7"/>
                      <a:pt x="2" y="7"/>
                    </a:cubicBezTo>
                    <a:cubicBezTo>
                      <a:pt x="2" y="8"/>
                      <a:pt x="2" y="9"/>
                      <a:pt x="2" y="10"/>
                    </a:cubicBezTo>
                    <a:cubicBezTo>
                      <a:pt x="2" y="12"/>
                      <a:pt x="2" y="12"/>
                      <a:pt x="2" y="12"/>
                    </a:cubicBezTo>
                    <a:cubicBezTo>
                      <a:pt x="2" y="15"/>
                      <a:pt x="3" y="17"/>
                      <a:pt x="3" y="18"/>
                    </a:cubicBezTo>
                    <a:cubicBezTo>
                      <a:pt x="3" y="18"/>
                      <a:pt x="3" y="18"/>
                      <a:pt x="3" y="18"/>
                    </a:cubicBezTo>
                    <a:cubicBezTo>
                      <a:pt x="5" y="20"/>
                      <a:pt x="5" y="20"/>
                      <a:pt x="5" y="20"/>
                    </a:cubicBezTo>
                    <a:cubicBezTo>
                      <a:pt x="7" y="17"/>
                      <a:pt x="8" y="10"/>
                      <a:pt x="9" y="8"/>
                    </a:cubicBezTo>
                    <a:cubicBezTo>
                      <a:pt x="7" y="8"/>
                      <a:pt x="6" y="7"/>
                      <a:pt x="5" y="6"/>
                    </a:cubicBezTo>
                    <a:cubicBezTo>
                      <a:pt x="7" y="4"/>
                      <a:pt x="9" y="3"/>
                      <a:pt x="11" y="1"/>
                    </a:cubicBezTo>
                    <a:cubicBezTo>
                      <a:pt x="9"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366"/>
              <p:cNvSpPr/>
              <p:nvPr/>
            </p:nvSpPr>
            <p:spPr bwMode="auto">
              <a:xfrm>
                <a:off x="6253642" y="1263995"/>
                <a:ext cx="936019" cy="1485102"/>
              </a:xfrm>
              <a:custGeom>
                <a:gdLst>
                  <a:gd name="T0" fmla="*/ 179 w 295"/>
                  <a:gd name="T1" fmla="*/ 5 h 468"/>
                  <a:gd name="T2" fmla="*/ 166 w 295"/>
                  <a:gd name="T3" fmla="*/ 6 h 468"/>
                  <a:gd name="T4" fmla="*/ 145 w 295"/>
                  <a:gd name="T5" fmla="*/ 19 h 468"/>
                  <a:gd name="T6" fmla="*/ 138 w 295"/>
                  <a:gd name="T7" fmla="*/ 50 h 468"/>
                  <a:gd name="T8" fmla="*/ 127 w 295"/>
                  <a:gd name="T9" fmla="*/ 60 h 468"/>
                  <a:gd name="T10" fmla="*/ 109 w 295"/>
                  <a:gd name="T11" fmla="*/ 75 h 468"/>
                  <a:gd name="T12" fmla="*/ 81 w 295"/>
                  <a:gd name="T13" fmla="*/ 65 h 468"/>
                  <a:gd name="T14" fmla="*/ 35 w 295"/>
                  <a:gd name="T15" fmla="*/ 62 h 468"/>
                  <a:gd name="T16" fmla="*/ 9 w 295"/>
                  <a:gd name="T17" fmla="*/ 40 h 468"/>
                  <a:gd name="T18" fmla="*/ 2 w 295"/>
                  <a:gd name="T19" fmla="*/ 50 h 468"/>
                  <a:gd name="T20" fmla="*/ 75 w 295"/>
                  <a:gd name="T21" fmla="*/ 98 h 468"/>
                  <a:gd name="T22" fmla="*/ 75 w 295"/>
                  <a:gd name="T23" fmla="*/ 108 h 468"/>
                  <a:gd name="T24" fmla="*/ 74 w 295"/>
                  <a:gd name="T25" fmla="*/ 123 h 468"/>
                  <a:gd name="T26" fmla="*/ 80 w 295"/>
                  <a:gd name="T27" fmla="*/ 137 h 468"/>
                  <a:gd name="T28" fmla="*/ 85 w 295"/>
                  <a:gd name="T29" fmla="*/ 152 h 468"/>
                  <a:gd name="T30" fmla="*/ 85 w 295"/>
                  <a:gd name="T31" fmla="*/ 164 h 468"/>
                  <a:gd name="T32" fmla="*/ 79 w 295"/>
                  <a:gd name="T33" fmla="*/ 182 h 468"/>
                  <a:gd name="T34" fmla="*/ 91 w 295"/>
                  <a:gd name="T35" fmla="*/ 206 h 468"/>
                  <a:gd name="T36" fmla="*/ 120 w 295"/>
                  <a:gd name="T37" fmla="*/ 237 h 468"/>
                  <a:gd name="T38" fmla="*/ 120 w 295"/>
                  <a:gd name="T39" fmla="*/ 250 h 468"/>
                  <a:gd name="T40" fmla="*/ 94 w 295"/>
                  <a:gd name="T41" fmla="*/ 265 h 468"/>
                  <a:gd name="T42" fmla="*/ 68 w 295"/>
                  <a:gd name="T43" fmla="*/ 286 h 468"/>
                  <a:gd name="T44" fmla="*/ 36 w 295"/>
                  <a:gd name="T45" fmla="*/ 314 h 468"/>
                  <a:gd name="T46" fmla="*/ 15 w 295"/>
                  <a:gd name="T47" fmla="*/ 326 h 468"/>
                  <a:gd name="T48" fmla="*/ 6 w 295"/>
                  <a:gd name="T49" fmla="*/ 361 h 468"/>
                  <a:gd name="T50" fmla="*/ 14 w 295"/>
                  <a:gd name="T51" fmla="*/ 396 h 468"/>
                  <a:gd name="T52" fmla="*/ 10 w 295"/>
                  <a:gd name="T53" fmla="*/ 421 h 468"/>
                  <a:gd name="T54" fmla="*/ 19 w 295"/>
                  <a:gd name="T55" fmla="*/ 438 h 468"/>
                  <a:gd name="T56" fmla="*/ 58 w 295"/>
                  <a:gd name="T57" fmla="*/ 448 h 468"/>
                  <a:gd name="T58" fmla="*/ 41 w 295"/>
                  <a:gd name="T59" fmla="*/ 456 h 468"/>
                  <a:gd name="T60" fmla="*/ 39 w 295"/>
                  <a:gd name="T61" fmla="*/ 464 h 468"/>
                  <a:gd name="T62" fmla="*/ 61 w 295"/>
                  <a:gd name="T63" fmla="*/ 468 h 468"/>
                  <a:gd name="T64" fmla="*/ 78 w 295"/>
                  <a:gd name="T65" fmla="*/ 464 h 468"/>
                  <a:gd name="T66" fmla="*/ 99 w 295"/>
                  <a:gd name="T67" fmla="*/ 463 h 468"/>
                  <a:gd name="T68" fmla="*/ 140 w 295"/>
                  <a:gd name="T69" fmla="*/ 453 h 468"/>
                  <a:gd name="T70" fmla="*/ 142 w 295"/>
                  <a:gd name="T71" fmla="*/ 444 h 468"/>
                  <a:gd name="T72" fmla="*/ 179 w 295"/>
                  <a:gd name="T73" fmla="*/ 442 h 468"/>
                  <a:gd name="T74" fmla="*/ 227 w 295"/>
                  <a:gd name="T75" fmla="*/ 409 h 468"/>
                  <a:gd name="T76" fmla="*/ 288 w 295"/>
                  <a:gd name="T77" fmla="*/ 352 h 468"/>
                  <a:gd name="T78" fmla="*/ 292 w 295"/>
                  <a:gd name="T79" fmla="*/ 333 h 468"/>
                  <a:gd name="T80" fmla="*/ 253 w 295"/>
                  <a:gd name="T81" fmla="*/ 297 h 468"/>
                  <a:gd name="T82" fmla="*/ 259 w 295"/>
                  <a:gd name="T83" fmla="*/ 276 h 468"/>
                  <a:gd name="T84" fmla="*/ 253 w 295"/>
                  <a:gd name="T85" fmla="*/ 258 h 468"/>
                  <a:gd name="T86" fmla="*/ 241 w 295"/>
                  <a:gd name="T87" fmla="*/ 245 h 468"/>
                  <a:gd name="T88" fmla="*/ 242 w 295"/>
                  <a:gd name="T89" fmla="*/ 225 h 468"/>
                  <a:gd name="T90" fmla="*/ 241 w 295"/>
                  <a:gd name="T91" fmla="*/ 211 h 468"/>
                  <a:gd name="T92" fmla="*/ 231 w 295"/>
                  <a:gd name="T93" fmla="*/ 163 h 468"/>
                  <a:gd name="T94" fmla="*/ 226 w 295"/>
                  <a:gd name="T95" fmla="*/ 148 h 468"/>
                  <a:gd name="T96" fmla="*/ 231 w 295"/>
                  <a:gd name="T97" fmla="*/ 98 h 468"/>
                  <a:gd name="T98" fmla="*/ 211 w 295"/>
                  <a:gd name="T99" fmla="*/ 84 h 468"/>
                  <a:gd name="T100" fmla="*/ 212 w 295"/>
                  <a:gd name="T101" fmla="*/ 67 h 468"/>
                  <a:gd name="T102" fmla="*/ 203 w 295"/>
                  <a:gd name="T103" fmla="*/ 56 h 468"/>
                  <a:gd name="T104" fmla="*/ 222 w 295"/>
                  <a:gd name="T105" fmla="*/ 48 h 468"/>
                  <a:gd name="T106" fmla="*/ 222 w 295"/>
                  <a:gd name="T107" fmla="*/ 46 h 468"/>
                  <a:gd name="T108" fmla="*/ 228 w 295"/>
                  <a:gd name="T109" fmla="*/ 31 h 468"/>
                  <a:gd name="T110" fmla="*/ 216 w 295"/>
                  <a:gd name="T111" fmla="*/ 15 h 468"/>
                  <a:gd name="T112" fmla="*/ 200 w 295"/>
                  <a:gd name="T113" fmla="*/ 5 h 4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5" h="468">
                    <a:moveTo>
                      <a:pt x="191" y="0"/>
                    </a:moveTo>
                    <a:cubicBezTo>
                      <a:pt x="190" y="0"/>
                      <a:pt x="189" y="0"/>
                      <a:pt x="188" y="1"/>
                    </a:cubicBezTo>
                    <a:cubicBezTo>
                      <a:pt x="188" y="1"/>
                      <a:pt x="188" y="1"/>
                      <a:pt x="187" y="2"/>
                    </a:cubicBezTo>
                    <a:cubicBezTo>
                      <a:pt x="186" y="2"/>
                      <a:pt x="185" y="3"/>
                      <a:pt x="183" y="4"/>
                    </a:cubicBezTo>
                    <a:cubicBezTo>
                      <a:pt x="182" y="4"/>
                      <a:pt x="181" y="5"/>
                      <a:pt x="179" y="5"/>
                    </a:cubicBezTo>
                    <a:cubicBezTo>
                      <a:pt x="178" y="5"/>
                      <a:pt x="177" y="6"/>
                      <a:pt x="176" y="6"/>
                    </a:cubicBezTo>
                    <a:cubicBezTo>
                      <a:pt x="175" y="6"/>
                      <a:pt x="175" y="6"/>
                      <a:pt x="175" y="6"/>
                    </a:cubicBezTo>
                    <a:cubicBezTo>
                      <a:pt x="174" y="6"/>
                      <a:pt x="173" y="6"/>
                      <a:pt x="172" y="6"/>
                    </a:cubicBezTo>
                    <a:cubicBezTo>
                      <a:pt x="168" y="6"/>
                      <a:pt x="168" y="6"/>
                      <a:pt x="168" y="6"/>
                    </a:cubicBezTo>
                    <a:cubicBezTo>
                      <a:pt x="168" y="6"/>
                      <a:pt x="167" y="6"/>
                      <a:pt x="166" y="6"/>
                    </a:cubicBezTo>
                    <a:cubicBezTo>
                      <a:pt x="160" y="7"/>
                      <a:pt x="158" y="7"/>
                      <a:pt x="155" y="12"/>
                    </a:cubicBezTo>
                    <a:cubicBezTo>
                      <a:pt x="154" y="12"/>
                      <a:pt x="154" y="12"/>
                      <a:pt x="154" y="12"/>
                    </a:cubicBezTo>
                    <a:cubicBezTo>
                      <a:pt x="153" y="14"/>
                      <a:pt x="151" y="15"/>
                      <a:pt x="149" y="16"/>
                    </a:cubicBezTo>
                    <a:cubicBezTo>
                      <a:pt x="149" y="16"/>
                      <a:pt x="149" y="16"/>
                      <a:pt x="149" y="16"/>
                    </a:cubicBezTo>
                    <a:cubicBezTo>
                      <a:pt x="147" y="17"/>
                      <a:pt x="146" y="18"/>
                      <a:pt x="145" y="19"/>
                    </a:cubicBezTo>
                    <a:cubicBezTo>
                      <a:pt x="144" y="19"/>
                      <a:pt x="144" y="19"/>
                      <a:pt x="144" y="19"/>
                    </a:cubicBezTo>
                    <a:cubicBezTo>
                      <a:pt x="143" y="21"/>
                      <a:pt x="143" y="22"/>
                      <a:pt x="142" y="25"/>
                    </a:cubicBezTo>
                    <a:cubicBezTo>
                      <a:pt x="141" y="30"/>
                      <a:pt x="141" y="30"/>
                      <a:pt x="141" y="30"/>
                    </a:cubicBezTo>
                    <a:cubicBezTo>
                      <a:pt x="140" y="33"/>
                      <a:pt x="140" y="36"/>
                      <a:pt x="140" y="39"/>
                    </a:cubicBezTo>
                    <a:cubicBezTo>
                      <a:pt x="139" y="43"/>
                      <a:pt x="139" y="47"/>
                      <a:pt x="138" y="50"/>
                    </a:cubicBezTo>
                    <a:cubicBezTo>
                      <a:pt x="137" y="52"/>
                      <a:pt x="137" y="54"/>
                      <a:pt x="136" y="56"/>
                    </a:cubicBezTo>
                    <a:cubicBezTo>
                      <a:pt x="135" y="57"/>
                      <a:pt x="135" y="57"/>
                      <a:pt x="135" y="57"/>
                    </a:cubicBezTo>
                    <a:cubicBezTo>
                      <a:pt x="134" y="59"/>
                      <a:pt x="132" y="60"/>
                      <a:pt x="130" y="60"/>
                    </a:cubicBezTo>
                    <a:cubicBezTo>
                      <a:pt x="129" y="60"/>
                      <a:pt x="128" y="60"/>
                      <a:pt x="128" y="60"/>
                    </a:cubicBezTo>
                    <a:cubicBezTo>
                      <a:pt x="127" y="60"/>
                      <a:pt x="127" y="60"/>
                      <a:pt x="127" y="60"/>
                    </a:cubicBezTo>
                    <a:cubicBezTo>
                      <a:pt x="119" y="69"/>
                      <a:pt x="119" y="69"/>
                      <a:pt x="119" y="69"/>
                    </a:cubicBezTo>
                    <a:cubicBezTo>
                      <a:pt x="119" y="69"/>
                      <a:pt x="119" y="69"/>
                      <a:pt x="119" y="69"/>
                    </a:cubicBezTo>
                    <a:cubicBezTo>
                      <a:pt x="118" y="70"/>
                      <a:pt x="118" y="70"/>
                      <a:pt x="118" y="70"/>
                    </a:cubicBezTo>
                    <a:cubicBezTo>
                      <a:pt x="116" y="72"/>
                      <a:pt x="114" y="75"/>
                      <a:pt x="111" y="75"/>
                    </a:cubicBezTo>
                    <a:cubicBezTo>
                      <a:pt x="110" y="75"/>
                      <a:pt x="110" y="75"/>
                      <a:pt x="109" y="75"/>
                    </a:cubicBezTo>
                    <a:cubicBezTo>
                      <a:pt x="94" y="68"/>
                      <a:pt x="94" y="68"/>
                      <a:pt x="94" y="68"/>
                    </a:cubicBezTo>
                    <a:cubicBezTo>
                      <a:pt x="93" y="68"/>
                      <a:pt x="92" y="67"/>
                      <a:pt x="90" y="66"/>
                    </a:cubicBezTo>
                    <a:cubicBezTo>
                      <a:pt x="88" y="65"/>
                      <a:pt x="84" y="63"/>
                      <a:pt x="82" y="63"/>
                    </a:cubicBezTo>
                    <a:cubicBezTo>
                      <a:pt x="82" y="63"/>
                      <a:pt x="82" y="63"/>
                      <a:pt x="81" y="63"/>
                    </a:cubicBezTo>
                    <a:cubicBezTo>
                      <a:pt x="81" y="64"/>
                      <a:pt x="81" y="65"/>
                      <a:pt x="81" y="65"/>
                    </a:cubicBezTo>
                    <a:cubicBezTo>
                      <a:pt x="80" y="66"/>
                      <a:pt x="79" y="67"/>
                      <a:pt x="77" y="67"/>
                    </a:cubicBezTo>
                    <a:cubicBezTo>
                      <a:pt x="43" y="68"/>
                      <a:pt x="43" y="68"/>
                      <a:pt x="43" y="68"/>
                    </a:cubicBezTo>
                    <a:cubicBezTo>
                      <a:pt x="43" y="68"/>
                      <a:pt x="42" y="68"/>
                      <a:pt x="42" y="68"/>
                    </a:cubicBezTo>
                    <a:cubicBezTo>
                      <a:pt x="41" y="68"/>
                      <a:pt x="40" y="68"/>
                      <a:pt x="39" y="67"/>
                    </a:cubicBezTo>
                    <a:cubicBezTo>
                      <a:pt x="36" y="67"/>
                      <a:pt x="36" y="65"/>
                      <a:pt x="35" y="62"/>
                    </a:cubicBezTo>
                    <a:cubicBezTo>
                      <a:pt x="35" y="62"/>
                      <a:pt x="35" y="62"/>
                      <a:pt x="35" y="62"/>
                    </a:cubicBezTo>
                    <a:cubicBezTo>
                      <a:pt x="35" y="60"/>
                      <a:pt x="30" y="55"/>
                      <a:pt x="24" y="50"/>
                    </a:cubicBezTo>
                    <a:cubicBezTo>
                      <a:pt x="12" y="42"/>
                      <a:pt x="12" y="42"/>
                      <a:pt x="12" y="42"/>
                    </a:cubicBezTo>
                    <a:cubicBezTo>
                      <a:pt x="11" y="41"/>
                      <a:pt x="10" y="40"/>
                      <a:pt x="9" y="40"/>
                    </a:cubicBezTo>
                    <a:cubicBezTo>
                      <a:pt x="9" y="40"/>
                      <a:pt x="9" y="40"/>
                      <a:pt x="9" y="40"/>
                    </a:cubicBezTo>
                    <a:cubicBezTo>
                      <a:pt x="9" y="40"/>
                      <a:pt x="8" y="40"/>
                      <a:pt x="7" y="40"/>
                    </a:cubicBezTo>
                    <a:cubicBezTo>
                      <a:pt x="6" y="41"/>
                      <a:pt x="6" y="41"/>
                      <a:pt x="5" y="41"/>
                    </a:cubicBezTo>
                    <a:cubicBezTo>
                      <a:pt x="5" y="41"/>
                      <a:pt x="5" y="42"/>
                      <a:pt x="5" y="42"/>
                    </a:cubicBezTo>
                    <a:cubicBezTo>
                      <a:pt x="5" y="43"/>
                      <a:pt x="5" y="44"/>
                      <a:pt x="5" y="46"/>
                    </a:cubicBezTo>
                    <a:cubicBezTo>
                      <a:pt x="5" y="46"/>
                      <a:pt x="5" y="48"/>
                      <a:pt x="2" y="50"/>
                    </a:cubicBezTo>
                    <a:cubicBezTo>
                      <a:pt x="1" y="51"/>
                      <a:pt x="1" y="51"/>
                      <a:pt x="1" y="51"/>
                    </a:cubicBezTo>
                    <a:cubicBezTo>
                      <a:pt x="0" y="51"/>
                      <a:pt x="0" y="51"/>
                      <a:pt x="0" y="51"/>
                    </a:cubicBezTo>
                    <a:cubicBezTo>
                      <a:pt x="63" y="87"/>
                      <a:pt x="63" y="87"/>
                      <a:pt x="63" y="87"/>
                    </a:cubicBezTo>
                    <a:cubicBezTo>
                      <a:pt x="67" y="90"/>
                      <a:pt x="69" y="92"/>
                      <a:pt x="73" y="95"/>
                    </a:cubicBezTo>
                    <a:cubicBezTo>
                      <a:pt x="75" y="98"/>
                      <a:pt x="75" y="98"/>
                      <a:pt x="75" y="98"/>
                    </a:cubicBezTo>
                    <a:cubicBezTo>
                      <a:pt x="76" y="99"/>
                      <a:pt x="76" y="99"/>
                      <a:pt x="77" y="100"/>
                    </a:cubicBezTo>
                    <a:cubicBezTo>
                      <a:pt x="78" y="101"/>
                      <a:pt x="78" y="102"/>
                      <a:pt x="78" y="103"/>
                    </a:cubicBezTo>
                    <a:cubicBezTo>
                      <a:pt x="78" y="104"/>
                      <a:pt x="78" y="104"/>
                      <a:pt x="78" y="104"/>
                    </a:cubicBezTo>
                    <a:cubicBezTo>
                      <a:pt x="78" y="104"/>
                      <a:pt x="78" y="104"/>
                      <a:pt x="78" y="104"/>
                    </a:cubicBezTo>
                    <a:cubicBezTo>
                      <a:pt x="78" y="107"/>
                      <a:pt x="76" y="107"/>
                      <a:pt x="75" y="108"/>
                    </a:cubicBezTo>
                    <a:cubicBezTo>
                      <a:pt x="74" y="109"/>
                      <a:pt x="75" y="111"/>
                      <a:pt x="75" y="113"/>
                    </a:cubicBezTo>
                    <a:cubicBezTo>
                      <a:pt x="75" y="114"/>
                      <a:pt x="75" y="116"/>
                      <a:pt x="75" y="117"/>
                    </a:cubicBezTo>
                    <a:cubicBezTo>
                      <a:pt x="75" y="119"/>
                      <a:pt x="75" y="121"/>
                      <a:pt x="74" y="123"/>
                    </a:cubicBezTo>
                    <a:cubicBezTo>
                      <a:pt x="74" y="123"/>
                      <a:pt x="74" y="123"/>
                      <a:pt x="74" y="123"/>
                    </a:cubicBezTo>
                    <a:cubicBezTo>
                      <a:pt x="74" y="123"/>
                      <a:pt x="74" y="123"/>
                      <a:pt x="74" y="123"/>
                    </a:cubicBezTo>
                    <a:cubicBezTo>
                      <a:pt x="74" y="124"/>
                      <a:pt x="75" y="124"/>
                      <a:pt x="75" y="124"/>
                    </a:cubicBezTo>
                    <a:cubicBezTo>
                      <a:pt x="78" y="125"/>
                      <a:pt x="81" y="128"/>
                      <a:pt x="82" y="130"/>
                    </a:cubicBezTo>
                    <a:cubicBezTo>
                      <a:pt x="82" y="131"/>
                      <a:pt x="82" y="131"/>
                      <a:pt x="82" y="131"/>
                    </a:cubicBezTo>
                    <a:cubicBezTo>
                      <a:pt x="83" y="133"/>
                      <a:pt x="82" y="134"/>
                      <a:pt x="81" y="136"/>
                    </a:cubicBezTo>
                    <a:cubicBezTo>
                      <a:pt x="80" y="137"/>
                      <a:pt x="80" y="137"/>
                      <a:pt x="80" y="137"/>
                    </a:cubicBezTo>
                    <a:cubicBezTo>
                      <a:pt x="79" y="137"/>
                      <a:pt x="78" y="138"/>
                      <a:pt x="78" y="139"/>
                    </a:cubicBezTo>
                    <a:cubicBezTo>
                      <a:pt x="77" y="139"/>
                      <a:pt x="77" y="140"/>
                      <a:pt x="77" y="140"/>
                    </a:cubicBezTo>
                    <a:cubicBezTo>
                      <a:pt x="77" y="142"/>
                      <a:pt x="80" y="145"/>
                      <a:pt x="82" y="148"/>
                    </a:cubicBezTo>
                    <a:cubicBezTo>
                      <a:pt x="83" y="149"/>
                      <a:pt x="84" y="150"/>
                      <a:pt x="85" y="151"/>
                    </a:cubicBezTo>
                    <a:cubicBezTo>
                      <a:pt x="85" y="152"/>
                      <a:pt x="85" y="152"/>
                      <a:pt x="85" y="152"/>
                    </a:cubicBezTo>
                    <a:cubicBezTo>
                      <a:pt x="86" y="153"/>
                      <a:pt x="87" y="154"/>
                      <a:pt x="88" y="156"/>
                    </a:cubicBezTo>
                    <a:cubicBezTo>
                      <a:pt x="88" y="157"/>
                      <a:pt x="88" y="158"/>
                      <a:pt x="88" y="159"/>
                    </a:cubicBezTo>
                    <a:cubicBezTo>
                      <a:pt x="87" y="165"/>
                      <a:pt x="87" y="165"/>
                      <a:pt x="87" y="165"/>
                    </a:cubicBezTo>
                    <a:cubicBezTo>
                      <a:pt x="85" y="163"/>
                      <a:pt x="85" y="163"/>
                      <a:pt x="85" y="163"/>
                    </a:cubicBezTo>
                    <a:cubicBezTo>
                      <a:pt x="85" y="164"/>
                      <a:pt x="85" y="164"/>
                      <a:pt x="85" y="164"/>
                    </a:cubicBezTo>
                    <a:cubicBezTo>
                      <a:pt x="85" y="165"/>
                      <a:pt x="85" y="165"/>
                      <a:pt x="85" y="165"/>
                    </a:cubicBezTo>
                    <a:cubicBezTo>
                      <a:pt x="84" y="167"/>
                      <a:pt x="83" y="169"/>
                      <a:pt x="82" y="171"/>
                    </a:cubicBezTo>
                    <a:cubicBezTo>
                      <a:pt x="81" y="174"/>
                      <a:pt x="79" y="178"/>
                      <a:pt x="79" y="180"/>
                    </a:cubicBezTo>
                    <a:cubicBezTo>
                      <a:pt x="79" y="181"/>
                      <a:pt x="79" y="181"/>
                      <a:pt x="79" y="182"/>
                    </a:cubicBezTo>
                    <a:cubicBezTo>
                      <a:pt x="79" y="182"/>
                      <a:pt x="79" y="182"/>
                      <a:pt x="79" y="182"/>
                    </a:cubicBezTo>
                    <a:cubicBezTo>
                      <a:pt x="80" y="183"/>
                      <a:pt x="80" y="183"/>
                      <a:pt x="80" y="183"/>
                    </a:cubicBezTo>
                    <a:cubicBezTo>
                      <a:pt x="80" y="183"/>
                      <a:pt x="81" y="184"/>
                      <a:pt x="82" y="185"/>
                    </a:cubicBezTo>
                    <a:cubicBezTo>
                      <a:pt x="83" y="186"/>
                      <a:pt x="85" y="187"/>
                      <a:pt x="86" y="190"/>
                    </a:cubicBezTo>
                    <a:cubicBezTo>
                      <a:pt x="92" y="205"/>
                      <a:pt x="92" y="205"/>
                      <a:pt x="92" y="205"/>
                    </a:cubicBezTo>
                    <a:cubicBezTo>
                      <a:pt x="91" y="206"/>
                      <a:pt x="91" y="206"/>
                      <a:pt x="91" y="206"/>
                    </a:cubicBezTo>
                    <a:cubicBezTo>
                      <a:pt x="93" y="206"/>
                      <a:pt x="98" y="207"/>
                      <a:pt x="99" y="208"/>
                    </a:cubicBezTo>
                    <a:cubicBezTo>
                      <a:pt x="103" y="211"/>
                      <a:pt x="105" y="212"/>
                      <a:pt x="109" y="214"/>
                    </a:cubicBezTo>
                    <a:cubicBezTo>
                      <a:pt x="112" y="215"/>
                      <a:pt x="119" y="216"/>
                      <a:pt x="121" y="219"/>
                    </a:cubicBezTo>
                    <a:cubicBezTo>
                      <a:pt x="122" y="221"/>
                      <a:pt x="122" y="228"/>
                      <a:pt x="122" y="231"/>
                    </a:cubicBezTo>
                    <a:cubicBezTo>
                      <a:pt x="121" y="234"/>
                      <a:pt x="118" y="235"/>
                      <a:pt x="120" y="237"/>
                    </a:cubicBezTo>
                    <a:cubicBezTo>
                      <a:pt x="121" y="238"/>
                      <a:pt x="123" y="238"/>
                      <a:pt x="124" y="239"/>
                    </a:cubicBezTo>
                    <a:cubicBezTo>
                      <a:pt x="125" y="241"/>
                      <a:pt x="126" y="243"/>
                      <a:pt x="127" y="245"/>
                    </a:cubicBezTo>
                    <a:cubicBezTo>
                      <a:pt x="124" y="244"/>
                      <a:pt x="122" y="243"/>
                      <a:pt x="121" y="243"/>
                    </a:cubicBezTo>
                    <a:cubicBezTo>
                      <a:pt x="120" y="243"/>
                      <a:pt x="120" y="245"/>
                      <a:pt x="124" y="248"/>
                    </a:cubicBezTo>
                    <a:cubicBezTo>
                      <a:pt x="123" y="250"/>
                      <a:pt x="121" y="250"/>
                      <a:pt x="120" y="250"/>
                    </a:cubicBezTo>
                    <a:cubicBezTo>
                      <a:pt x="119" y="250"/>
                      <a:pt x="117" y="249"/>
                      <a:pt x="115" y="248"/>
                    </a:cubicBezTo>
                    <a:cubicBezTo>
                      <a:pt x="114" y="248"/>
                      <a:pt x="114" y="248"/>
                      <a:pt x="113" y="248"/>
                    </a:cubicBezTo>
                    <a:cubicBezTo>
                      <a:pt x="111" y="248"/>
                      <a:pt x="108" y="250"/>
                      <a:pt x="106" y="251"/>
                    </a:cubicBezTo>
                    <a:cubicBezTo>
                      <a:pt x="102" y="252"/>
                      <a:pt x="101" y="253"/>
                      <a:pt x="99" y="256"/>
                    </a:cubicBezTo>
                    <a:cubicBezTo>
                      <a:pt x="97" y="259"/>
                      <a:pt x="96" y="263"/>
                      <a:pt x="94" y="265"/>
                    </a:cubicBezTo>
                    <a:cubicBezTo>
                      <a:pt x="88" y="269"/>
                      <a:pt x="83" y="274"/>
                      <a:pt x="78" y="280"/>
                    </a:cubicBezTo>
                    <a:cubicBezTo>
                      <a:pt x="77" y="281"/>
                      <a:pt x="75" y="286"/>
                      <a:pt x="74" y="286"/>
                    </a:cubicBezTo>
                    <a:cubicBezTo>
                      <a:pt x="74" y="286"/>
                      <a:pt x="74" y="286"/>
                      <a:pt x="74" y="286"/>
                    </a:cubicBezTo>
                    <a:cubicBezTo>
                      <a:pt x="73" y="286"/>
                      <a:pt x="70" y="285"/>
                      <a:pt x="69" y="285"/>
                    </a:cubicBezTo>
                    <a:cubicBezTo>
                      <a:pt x="68" y="285"/>
                      <a:pt x="68" y="285"/>
                      <a:pt x="68" y="286"/>
                    </a:cubicBezTo>
                    <a:cubicBezTo>
                      <a:pt x="67" y="288"/>
                      <a:pt x="69" y="291"/>
                      <a:pt x="67" y="292"/>
                    </a:cubicBezTo>
                    <a:cubicBezTo>
                      <a:pt x="62" y="293"/>
                      <a:pt x="61" y="295"/>
                      <a:pt x="58" y="298"/>
                    </a:cubicBezTo>
                    <a:cubicBezTo>
                      <a:pt x="56" y="300"/>
                      <a:pt x="54" y="302"/>
                      <a:pt x="51" y="303"/>
                    </a:cubicBezTo>
                    <a:cubicBezTo>
                      <a:pt x="48" y="304"/>
                      <a:pt x="44" y="305"/>
                      <a:pt x="41" y="307"/>
                    </a:cubicBezTo>
                    <a:cubicBezTo>
                      <a:pt x="39" y="308"/>
                      <a:pt x="33" y="311"/>
                      <a:pt x="36" y="314"/>
                    </a:cubicBezTo>
                    <a:cubicBezTo>
                      <a:pt x="39" y="318"/>
                      <a:pt x="40" y="319"/>
                      <a:pt x="35" y="322"/>
                    </a:cubicBezTo>
                    <a:cubicBezTo>
                      <a:pt x="33" y="323"/>
                      <a:pt x="30" y="323"/>
                      <a:pt x="29" y="326"/>
                    </a:cubicBezTo>
                    <a:cubicBezTo>
                      <a:pt x="28" y="323"/>
                      <a:pt x="28" y="321"/>
                      <a:pt x="25" y="321"/>
                    </a:cubicBezTo>
                    <a:cubicBezTo>
                      <a:pt x="25" y="321"/>
                      <a:pt x="24" y="321"/>
                      <a:pt x="24" y="321"/>
                    </a:cubicBezTo>
                    <a:cubicBezTo>
                      <a:pt x="19" y="322"/>
                      <a:pt x="18" y="322"/>
                      <a:pt x="15" y="326"/>
                    </a:cubicBezTo>
                    <a:cubicBezTo>
                      <a:pt x="15" y="326"/>
                      <a:pt x="19" y="330"/>
                      <a:pt x="19" y="330"/>
                    </a:cubicBezTo>
                    <a:cubicBezTo>
                      <a:pt x="20" y="333"/>
                      <a:pt x="16" y="333"/>
                      <a:pt x="14" y="334"/>
                    </a:cubicBezTo>
                    <a:cubicBezTo>
                      <a:pt x="10" y="335"/>
                      <a:pt x="7" y="339"/>
                      <a:pt x="5" y="343"/>
                    </a:cubicBezTo>
                    <a:cubicBezTo>
                      <a:pt x="2" y="348"/>
                      <a:pt x="3" y="350"/>
                      <a:pt x="4" y="356"/>
                    </a:cubicBezTo>
                    <a:cubicBezTo>
                      <a:pt x="4" y="358"/>
                      <a:pt x="5" y="360"/>
                      <a:pt x="6" y="361"/>
                    </a:cubicBezTo>
                    <a:cubicBezTo>
                      <a:pt x="7" y="363"/>
                      <a:pt x="9" y="362"/>
                      <a:pt x="10" y="364"/>
                    </a:cubicBezTo>
                    <a:cubicBezTo>
                      <a:pt x="12" y="369"/>
                      <a:pt x="11" y="371"/>
                      <a:pt x="9" y="376"/>
                    </a:cubicBezTo>
                    <a:cubicBezTo>
                      <a:pt x="8" y="381"/>
                      <a:pt x="12" y="384"/>
                      <a:pt x="15" y="388"/>
                    </a:cubicBezTo>
                    <a:cubicBezTo>
                      <a:pt x="17" y="391"/>
                      <a:pt x="18" y="394"/>
                      <a:pt x="20" y="397"/>
                    </a:cubicBezTo>
                    <a:cubicBezTo>
                      <a:pt x="18" y="397"/>
                      <a:pt x="16" y="396"/>
                      <a:pt x="14" y="396"/>
                    </a:cubicBezTo>
                    <a:cubicBezTo>
                      <a:pt x="14" y="396"/>
                      <a:pt x="13" y="396"/>
                      <a:pt x="13" y="397"/>
                    </a:cubicBezTo>
                    <a:cubicBezTo>
                      <a:pt x="14" y="398"/>
                      <a:pt x="13" y="400"/>
                      <a:pt x="13" y="402"/>
                    </a:cubicBezTo>
                    <a:cubicBezTo>
                      <a:pt x="13" y="404"/>
                      <a:pt x="16" y="406"/>
                      <a:pt x="15" y="408"/>
                    </a:cubicBezTo>
                    <a:cubicBezTo>
                      <a:pt x="15" y="412"/>
                      <a:pt x="15" y="413"/>
                      <a:pt x="12" y="415"/>
                    </a:cubicBezTo>
                    <a:cubicBezTo>
                      <a:pt x="8" y="418"/>
                      <a:pt x="8" y="417"/>
                      <a:pt x="10" y="421"/>
                    </a:cubicBezTo>
                    <a:cubicBezTo>
                      <a:pt x="11" y="424"/>
                      <a:pt x="12" y="426"/>
                      <a:pt x="12" y="429"/>
                    </a:cubicBezTo>
                    <a:cubicBezTo>
                      <a:pt x="12" y="431"/>
                      <a:pt x="11" y="435"/>
                      <a:pt x="12" y="437"/>
                    </a:cubicBezTo>
                    <a:cubicBezTo>
                      <a:pt x="13" y="439"/>
                      <a:pt x="15" y="442"/>
                      <a:pt x="17" y="442"/>
                    </a:cubicBezTo>
                    <a:cubicBezTo>
                      <a:pt x="17" y="442"/>
                      <a:pt x="17" y="442"/>
                      <a:pt x="17" y="442"/>
                    </a:cubicBezTo>
                    <a:cubicBezTo>
                      <a:pt x="19" y="442"/>
                      <a:pt x="20" y="439"/>
                      <a:pt x="19" y="438"/>
                    </a:cubicBezTo>
                    <a:cubicBezTo>
                      <a:pt x="24" y="438"/>
                      <a:pt x="27" y="442"/>
                      <a:pt x="31" y="444"/>
                    </a:cubicBezTo>
                    <a:cubicBezTo>
                      <a:pt x="33" y="445"/>
                      <a:pt x="45" y="448"/>
                      <a:pt x="45" y="449"/>
                    </a:cubicBezTo>
                    <a:cubicBezTo>
                      <a:pt x="44" y="452"/>
                      <a:pt x="43" y="454"/>
                      <a:pt x="45" y="454"/>
                    </a:cubicBezTo>
                    <a:cubicBezTo>
                      <a:pt x="45" y="454"/>
                      <a:pt x="46" y="454"/>
                      <a:pt x="47" y="454"/>
                    </a:cubicBezTo>
                    <a:cubicBezTo>
                      <a:pt x="51" y="453"/>
                      <a:pt x="55" y="450"/>
                      <a:pt x="58" y="448"/>
                    </a:cubicBezTo>
                    <a:cubicBezTo>
                      <a:pt x="58" y="450"/>
                      <a:pt x="56" y="452"/>
                      <a:pt x="54" y="454"/>
                    </a:cubicBezTo>
                    <a:cubicBezTo>
                      <a:pt x="55" y="453"/>
                      <a:pt x="55" y="452"/>
                      <a:pt x="55" y="451"/>
                    </a:cubicBezTo>
                    <a:cubicBezTo>
                      <a:pt x="53" y="451"/>
                      <a:pt x="53" y="453"/>
                      <a:pt x="51" y="454"/>
                    </a:cubicBezTo>
                    <a:cubicBezTo>
                      <a:pt x="50" y="454"/>
                      <a:pt x="47" y="454"/>
                      <a:pt x="45" y="455"/>
                    </a:cubicBezTo>
                    <a:cubicBezTo>
                      <a:pt x="45" y="455"/>
                      <a:pt x="41" y="455"/>
                      <a:pt x="41" y="456"/>
                    </a:cubicBezTo>
                    <a:cubicBezTo>
                      <a:pt x="39" y="458"/>
                      <a:pt x="44" y="457"/>
                      <a:pt x="45" y="458"/>
                    </a:cubicBezTo>
                    <a:cubicBezTo>
                      <a:pt x="45" y="458"/>
                      <a:pt x="44" y="458"/>
                      <a:pt x="44" y="458"/>
                    </a:cubicBezTo>
                    <a:cubicBezTo>
                      <a:pt x="42" y="458"/>
                      <a:pt x="41" y="458"/>
                      <a:pt x="42" y="460"/>
                    </a:cubicBezTo>
                    <a:cubicBezTo>
                      <a:pt x="41" y="460"/>
                      <a:pt x="41" y="460"/>
                      <a:pt x="41" y="460"/>
                    </a:cubicBezTo>
                    <a:cubicBezTo>
                      <a:pt x="39" y="460"/>
                      <a:pt x="40" y="462"/>
                      <a:pt x="39" y="464"/>
                    </a:cubicBezTo>
                    <a:cubicBezTo>
                      <a:pt x="45" y="464"/>
                      <a:pt x="49" y="465"/>
                      <a:pt x="51" y="460"/>
                    </a:cubicBezTo>
                    <a:cubicBezTo>
                      <a:pt x="52" y="459"/>
                      <a:pt x="53" y="458"/>
                      <a:pt x="53" y="457"/>
                    </a:cubicBezTo>
                    <a:cubicBezTo>
                      <a:pt x="53" y="457"/>
                      <a:pt x="53" y="457"/>
                      <a:pt x="53" y="457"/>
                    </a:cubicBezTo>
                    <a:cubicBezTo>
                      <a:pt x="54" y="460"/>
                      <a:pt x="61" y="461"/>
                      <a:pt x="63" y="462"/>
                    </a:cubicBezTo>
                    <a:cubicBezTo>
                      <a:pt x="63" y="463"/>
                      <a:pt x="61" y="466"/>
                      <a:pt x="61" y="468"/>
                    </a:cubicBezTo>
                    <a:cubicBezTo>
                      <a:pt x="62" y="467"/>
                      <a:pt x="63" y="465"/>
                      <a:pt x="65" y="464"/>
                    </a:cubicBezTo>
                    <a:cubicBezTo>
                      <a:pt x="64" y="466"/>
                      <a:pt x="63" y="467"/>
                      <a:pt x="61" y="468"/>
                    </a:cubicBezTo>
                    <a:cubicBezTo>
                      <a:pt x="67" y="465"/>
                      <a:pt x="70" y="464"/>
                      <a:pt x="75" y="464"/>
                    </a:cubicBezTo>
                    <a:cubicBezTo>
                      <a:pt x="76" y="464"/>
                      <a:pt x="77" y="464"/>
                      <a:pt x="78" y="464"/>
                    </a:cubicBezTo>
                    <a:cubicBezTo>
                      <a:pt x="78" y="464"/>
                      <a:pt x="78" y="464"/>
                      <a:pt x="78" y="464"/>
                    </a:cubicBezTo>
                    <a:cubicBezTo>
                      <a:pt x="82" y="464"/>
                      <a:pt x="90" y="463"/>
                      <a:pt x="92" y="461"/>
                    </a:cubicBezTo>
                    <a:cubicBezTo>
                      <a:pt x="93" y="461"/>
                      <a:pt x="93" y="461"/>
                      <a:pt x="94" y="461"/>
                    </a:cubicBezTo>
                    <a:cubicBezTo>
                      <a:pt x="95" y="461"/>
                      <a:pt x="95" y="462"/>
                      <a:pt x="96" y="462"/>
                    </a:cubicBezTo>
                    <a:cubicBezTo>
                      <a:pt x="97" y="463"/>
                      <a:pt x="97" y="464"/>
                      <a:pt x="98" y="464"/>
                    </a:cubicBezTo>
                    <a:cubicBezTo>
                      <a:pt x="98" y="464"/>
                      <a:pt x="99" y="464"/>
                      <a:pt x="99" y="463"/>
                    </a:cubicBezTo>
                    <a:cubicBezTo>
                      <a:pt x="101" y="462"/>
                      <a:pt x="101" y="459"/>
                      <a:pt x="100" y="457"/>
                    </a:cubicBezTo>
                    <a:cubicBezTo>
                      <a:pt x="106" y="455"/>
                      <a:pt x="113" y="456"/>
                      <a:pt x="119" y="455"/>
                    </a:cubicBezTo>
                    <a:cubicBezTo>
                      <a:pt x="121" y="454"/>
                      <a:pt x="126" y="454"/>
                      <a:pt x="128" y="452"/>
                    </a:cubicBezTo>
                    <a:cubicBezTo>
                      <a:pt x="130" y="451"/>
                      <a:pt x="131" y="449"/>
                      <a:pt x="133" y="448"/>
                    </a:cubicBezTo>
                    <a:cubicBezTo>
                      <a:pt x="134" y="450"/>
                      <a:pt x="138" y="452"/>
                      <a:pt x="140" y="453"/>
                    </a:cubicBezTo>
                    <a:cubicBezTo>
                      <a:pt x="139" y="451"/>
                      <a:pt x="140" y="450"/>
                      <a:pt x="140" y="448"/>
                    </a:cubicBezTo>
                    <a:cubicBezTo>
                      <a:pt x="141" y="449"/>
                      <a:pt x="142" y="449"/>
                      <a:pt x="144" y="449"/>
                    </a:cubicBezTo>
                    <a:cubicBezTo>
                      <a:pt x="144" y="449"/>
                      <a:pt x="144" y="449"/>
                      <a:pt x="145" y="449"/>
                    </a:cubicBezTo>
                    <a:cubicBezTo>
                      <a:pt x="143" y="449"/>
                      <a:pt x="143" y="447"/>
                      <a:pt x="142" y="446"/>
                    </a:cubicBezTo>
                    <a:cubicBezTo>
                      <a:pt x="142" y="445"/>
                      <a:pt x="142" y="444"/>
                      <a:pt x="142" y="444"/>
                    </a:cubicBezTo>
                    <a:cubicBezTo>
                      <a:pt x="143" y="444"/>
                      <a:pt x="144" y="445"/>
                      <a:pt x="145" y="445"/>
                    </a:cubicBezTo>
                    <a:cubicBezTo>
                      <a:pt x="146" y="446"/>
                      <a:pt x="148" y="446"/>
                      <a:pt x="149" y="446"/>
                    </a:cubicBezTo>
                    <a:cubicBezTo>
                      <a:pt x="149" y="446"/>
                      <a:pt x="150" y="446"/>
                      <a:pt x="150" y="446"/>
                    </a:cubicBezTo>
                    <a:cubicBezTo>
                      <a:pt x="156" y="443"/>
                      <a:pt x="162" y="442"/>
                      <a:pt x="169" y="442"/>
                    </a:cubicBezTo>
                    <a:cubicBezTo>
                      <a:pt x="172" y="442"/>
                      <a:pt x="176" y="442"/>
                      <a:pt x="179" y="442"/>
                    </a:cubicBezTo>
                    <a:cubicBezTo>
                      <a:pt x="180" y="440"/>
                      <a:pt x="180" y="440"/>
                      <a:pt x="180" y="440"/>
                    </a:cubicBezTo>
                    <a:cubicBezTo>
                      <a:pt x="181" y="440"/>
                      <a:pt x="181" y="440"/>
                      <a:pt x="181" y="440"/>
                    </a:cubicBezTo>
                    <a:cubicBezTo>
                      <a:pt x="181" y="440"/>
                      <a:pt x="182" y="440"/>
                      <a:pt x="182" y="440"/>
                    </a:cubicBezTo>
                    <a:cubicBezTo>
                      <a:pt x="185" y="440"/>
                      <a:pt x="189" y="438"/>
                      <a:pt x="193" y="436"/>
                    </a:cubicBezTo>
                    <a:cubicBezTo>
                      <a:pt x="203" y="426"/>
                      <a:pt x="215" y="417"/>
                      <a:pt x="227" y="409"/>
                    </a:cubicBezTo>
                    <a:cubicBezTo>
                      <a:pt x="236" y="403"/>
                      <a:pt x="244" y="395"/>
                      <a:pt x="252" y="387"/>
                    </a:cubicBezTo>
                    <a:cubicBezTo>
                      <a:pt x="255" y="383"/>
                      <a:pt x="258" y="380"/>
                      <a:pt x="261" y="377"/>
                    </a:cubicBezTo>
                    <a:cubicBezTo>
                      <a:pt x="266" y="372"/>
                      <a:pt x="272" y="367"/>
                      <a:pt x="278" y="362"/>
                    </a:cubicBezTo>
                    <a:cubicBezTo>
                      <a:pt x="279" y="361"/>
                      <a:pt x="280" y="360"/>
                      <a:pt x="281" y="359"/>
                    </a:cubicBezTo>
                    <a:cubicBezTo>
                      <a:pt x="284" y="357"/>
                      <a:pt x="287" y="354"/>
                      <a:pt x="288" y="352"/>
                    </a:cubicBezTo>
                    <a:cubicBezTo>
                      <a:pt x="289" y="350"/>
                      <a:pt x="290" y="348"/>
                      <a:pt x="291" y="346"/>
                    </a:cubicBezTo>
                    <a:cubicBezTo>
                      <a:pt x="291" y="346"/>
                      <a:pt x="291" y="346"/>
                      <a:pt x="291" y="346"/>
                    </a:cubicBezTo>
                    <a:cubicBezTo>
                      <a:pt x="292" y="344"/>
                      <a:pt x="293" y="341"/>
                      <a:pt x="294" y="339"/>
                    </a:cubicBezTo>
                    <a:cubicBezTo>
                      <a:pt x="295" y="337"/>
                      <a:pt x="295" y="337"/>
                      <a:pt x="294" y="335"/>
                    </a:cubicBezTo>
                    <a:cubicBezTo>
                      <a:pt x="293" y="335"/>
                      <a:pt x="293" y="334"/>
                      <a:pt x="292" y="333"/>
                    </a:cubicBezTo>
                    <a:cubicBezTo>
                      <a:pt x="285" y="323"/>
                      <a:pt x="274" y="317"/>
                      <a:pt x="264" y="310"/>
                    </a:cubicBezTo>
                    <a:cubicBezTo>
                      <a:pt x="263" y="310"/>
                      <a:pt x="263" y="310"/>
                      <a:pt x="263" y="310"/>
                    </a:cubicBezTo>
                    <a:cubicBezTo>
                      <a:pt x="259" y="307"/>
                      <a:pt x="256" y="305"/>
                      <a:pt x="253" y="303"/>
                    </a:cubicBezTo>
                    <a:cubicBezTo>
                      <a:pt x="248" y="299"/>
                      <a:pt x="248" y="299"/>
                      <a:pt x="248" y="299"/>
                    </a:cubicBezTo>
                    <a:cubicBezTo>
                      <a:pt x="253" y="297"/>
                      <a:pt x="253" y="297"/>
                      <a:pt x="253" y="297"/>
                    </a:cubicBezTo>
                    <a:cubicBezTo>
                      <a:pt x="258" y="294"/>
                      <a:pt x="261" y="292"/>
                      <a:pt x="265" y="288"/>
                    </a:cubicBezTo>
                    <a:cubicBezTo>
                      <a:pt x="267" y="286"/>
                      <a:pt x="267" y="286"/>
                      <a:pt x="267" y="286"/>
                    </a:cubicBezTo>
                    <a:cubicBezTo>
                      <a:pt x="268" y="285"/>
                      <a:pt x="270" y="282"/>
                      <a:pt x="268" y="280"/>
                    </a:cubicBezTo>
                    <a:cubicBezTo>
                      <a:pt x="268" y="279"/>
                      <a:pt x="264" y="278"/>
                      <a:pt x="262" y="277"/>
                    </a:cubicBezTo>
                    <a:cubicBezTo>
                      <a:pt x="261" y="277"/>
                      <a:pt x="260" y="276"/>
                      <a:pt x="259" y="276"/>
                    </a:cubicBezTo>
                    <a:cubicBezTo>
                      <a:pt x="256" y="274"/>
                      <a:pt x="254" y="269"/>
                      <a:pt x="252" y="266"/>
                    </a:cubicBezTo>
                    <a:cubicBezTo>
                      <a:pt x="252" y="265"/>
                      <a:pt x="252" y="265"/>
                      <a:pt x="252" y="265"/>
                    </a:cubicBezTo>
                    <a:cubicBezTo>
                      <a:pt x="252" y="264"/>
                      <a:pt x="252" y="263"/>
                      <a:pt x="251" y="263"/>
                    </a:cubicBezTo>
                    <a:cubicBezTo>
                      <a:pt x="250" y="260"/>
                      <a:pt x="250" y="260"/>
                      <a:pt x="250" y="260"/>
                    </a:cubicBezTo>
                    <a:cubicBezTo>
                      <a:pt x="253" y="258"/>
                      <a:pt x="253" y="258"/>
                      <a:pt x="253" y="258"/>
                    </a:cubicBezTo>
                    <a:cubicBezTo>
                      <a:pt x="254" y="258"/>
                      <a:pt x="254" y="258"/>
                      <a:pt x="255" y="258"/>
                    </a:cubicBezTo>
                    <a:cubicBezTo>
                      <a:pt x="256" y="257"/>
                      <a:pt x="256" y="257"/>
                      <a:pt x="256" y="257"/>
                    </a:cubicBezTo>
                    <a:cubicBezTo>
                      <a:pt x="256" y="257"/>
                      <a:pt x="256" y="257"/>
                      <a:pt x="256" y="257"/>
                    </a:cubicBezTo>
                    <a:cubicBezTo>
                      <a:pt x="254" y="256"/>
                      <a:pt x="254" y="256"/>
                      <a:pt x="251" y="256"/>
                    </a:cubicBezTo>
                    <a:cubicBezTo>
                      <a:pt x="246" y="255"/>
                      <a:pt x="242" y="250"/>
                      <a:pt x="241" y="245"/>
                    </a:cubicBezTo>
                    <a:cubicBezTo>
                      <a:pt x="240" y="240"/>
                      <a:pt x="244" y="237"/>
                      <a:pt x="246" y="236"/>
                    </a:cubicBezTo>
                    <a:cubicBezTo>
                      <a:pt x="245" y="236"/>
                      <a:pt x="245" y="236"/>
                      <a:pt x="245" y="236"/>
                    </a:cubicBezTo>
                    <a:cubicBezTo>
                      <a:pt x="245" y="235"/>
                      <a:pt x="244" y="235"/>
                      <a:pt x="244" y="235"/>
                    </a:cubicBezTo>
                    <a:cubicBezTo>
                      <a:pt x="239" y="233"/>
                      <a:pt x="241" y="229"/>
                      <a:pt x="241" y="226"/>
                    </a:cubicBezTo>
                    <a:cubicBezTo>
                      <a:pt x="242" y="225"/>
                      <a:pt x="242" y="225"/>
                      <a:pt x="242" y="225"/>
                    </a:cubicBezTo>
                    <a:cubicBezTo>
                      <a:pt x="242" y="224"/>
                      <a:pt x="242" y="224"/>
                      <a:pt x="242" y="224"/>
                    </a:cubicBezTo>
                    <a:cubicBezTo>
                      <a:pt x="242" y="224"/>
                      <a:pt x="242" y="224"/>
                      <a:pt x="242" y="224"/>
                    </a:cubicBezTo>
                    <a:cubicBezTo>
                      <a:pt x="243" y="221"/>
                      <a:pt x="245" y="218"/>
                      <a:pt x="245" y="216"/>
                    </a:cubicBezTo>
                    <a:cubicBezTo>
                      <a:pt x="245" y="216"/>
                      <a:pt x="245" y="215"/>
                      <a:pt x="244" y="215"/>
                    </a:cubicBezTo>
                    <a:cubicBezTo>
                      <a:pt x="241" y="211"/>
                      <a:pt x="241" y="211"/>
                      <a:pt x="241" y="211"/>
                    </a:cubicBezTo>
                    <a:cubicBezTo>
                      <a:pt x="246" y="210"/>
                      <a:pt x="246" y="210"/>
                      <a:pt x="246" y="210"/>
                    </a:cubicBezTo>
                    <a:cubicBezTo>
                      <a:pt x="248" y="209"/>
                      <a:pt x="251" y="209"/>
                      <a:pt x="253" y="209"/>
                    </a:cubicBezTo>
                    <a:cubicBezTo>
                      <a:pt x="239" y="176"/>
                      <a:pt x="239" y="176"/>
                      <a:pt x="239" y="176"/>
                    </a:cubicBezTo>
                    <a:cubicBezTo>
                      <a:pt x="238" y="172"/>
                      <a:pt x="235" y="169"/>
                      <a:pt x="233" y="166"/>
                    </a:cubicBezTo>
                    <a:cubicBezTo>
                      <a:pt x="233" y="165"/>
                      <a:pt x="232" y="164"/>
                      <a:pt x="231" y="163"/>
                    </a:cubicBezTo>
                    <a:cubicBezTo>
                      <a:pt x="231" y="163"/>
                      <a:pt x="231" y="162"/>
                      <a:pt x="230" y="162"/>
                    </a:cubicBezTo>
                    <a:cubicBezTo>
                      <a:pt x="230" y="162"/>
                      <a:pt x="230" y="162"/>
                      <a:pt x="230" y="162"/>
                    </a:cubicBezTo>
                    <a:cubicBezTo>
                      <a:pt x="229" y="161"/>
                      <a:pt x="227" y="159"/>
                      <a:pt x="226" y="157"/>
                    </a:cubicBezTo>
                    <a:cubicBezTo>
                      <a:pt x="225" y="156"/>
                      <a:pt x="225" y="154"/>
                      <a:pt x="225" y="153"/>
                    </a:cubicBezTo>
                    <a:cubicBezTo>
                      <a:pt x="225" y="151"/>
                      <a:pt x="225" y="149"/>
                      <a:pt x="226" y="148"/>
                    </a:cubicBezTo>
                    <a:cubicBezTo>
                      <a:pt x="250" y="116"/>
                      <a:pt x="250" y="116"/>
                      <a:pt x="250" y="116"/>
                    </a:cubicBezTo>
                    <a:cubicBezTo>
                      <a:pt x="249" y="115"/>
                      <a:pt x="247" y="114"/>
                      <a:pt x="246" y="114"/>
                    </a:cubicBezTo>
                    <a:cubicBezTo>
                      <a:pt x="246" y="113"/>
                      <a:pt x="245" y="113"/>
                      <a:pt x="245" y="113"/>
                    </a:cubicBezTo>
                    <a:cubicBezTo>
                      <a:pt x="242" y="110"/>
                      <a:pt x="240" y="107"/>
                      <a:pt x="239" y="105"/>
                    </a:cubicBezTo>
                    <a:cubicBezTo>
                      <a:pt x="237" y="102"/>
                      <a:pt x="235" y="99"/>
                      <a:pt x="231" y="98"/>
                    </a:cubicBezTo>
                    <a:cubicBezTo>
                      <a:pt x="231" y="98"/>
                      <a:pt x="230" y="98"/>
                      <a:pt x="230" y="98"/>
                    </a:cubicBezTo>
                    <a:cubicBezTo>
                      <a:pt x="230" y="98"/>
                      <a:pt x="229" y="98"/>
                      <a:pt x="228" y="98"/>
                    </a:cubicBezTo>
                    <a:cubicBezTo>
                      <a:pt x="228" y="97"/>
                      <a:pt x="228" y="97"/>
                      <a:pt x="228" y="97"/>
                    </a:cubicBezTo>
                    <a:cubicBezTo>
                      <a:pt x="223" y="97"/>
                      <a:pt x="218" y="96"/>
                      <a:pt x="216" y="93"/>
                    </a:cubicBezTo>
                    <a:cubicBezTo>
                      <a:pt x="213" y="91"/>
                      <a:pt x="212" y="87"/>
                      <a:pt x="211" y="84"/>
                    </a:cubicBezTo>
                    <a:cubicBezTo>
                      <a:pt x="211" y="83"/>
                      <a:pt x="211" y="83"/>
                      <a:pt x="211" y="83"/>
                    </a:cubicBezTo>
                    <a:cubicBezTo>
                      <a:pt x="210" y="82"/>
                      <a:pt x="210" y="81"/>
                      <a:pt x="210" y="80"/>
                    </a:cubicBezTo>
                    <a:cubicBezTo>
                      <a:pt x="208" y="76"/>
                      <a:pt x="210" y="72"/>
                      <a:pt x="211" y="69"/>
                    </a:cubicBezTo>
                    <a:cubicBezTo>
                      <a:pt x="212" y="68"/>
                      <a:pt x="212" y="68"/>
                      <a:pt x="212" y="68"/>
                    </a:cubicBezTo>
                    <a:cubicBezTo>
                      <a:pt x="212" y="68"/>
                      <a:pt x="212" y="67"/>
                      <a:pt x="212" y="67"/>
                    </a:cubicBezTo>
                    <a:cubicBezTo>
                      <a:pt x="213" y="65"/>
                      <a:pt x="213" y="65"/>
                      <a:pt x="213" y="65"/>
                    </a:cubicBezTo>
                    <a:cubicBezTo>
                      <a:pt x="213" y="63"/>
                      <a:pt x="214" y="62"/>
                      <a:pt x="214" y="61"/>
                    </a:cubicBezTo>
                    <a:cubicBezTo>
                      <a:pt x="214" y="61"/>
                      <a:pt x="214" y="61"/>
                      <a:pt x="214" y="61"/>
                    </a:cubicBezTo>
                    <a:cubicBezTo>
                      <a:pt x="212" y="61"/>
                      <a:pt x="210" y="61"/>
                      <a:pt x="209" y="60"/>
                    </a:cubicBezTo>
                    <a:cubicBezTo>
                      <a:pt x="203" y="56"/>
                      <a:pt x="203" y="56"/>
                      <a:pt x="203" y="56"/>
                    </a:cubicBezTo>
                    <a:cubicBezTo>
                      <a:pt x="209" y="53"/>
                      <a:pt x="209" y="53"/>
                      <a:pt x="209" y="53"/>
                    </a:cubicBezTo>
                    <a:cubicBezTo>
                      <a:pt x="211" y="52"/>
                      <a:pt x="213" y="52"/>
                      <a:pt x="215" y="51"/>
                    </a:cubicBezTo>
                    <a:cubicBezTo>
                      <a:pt x="220" y="49"/>
                      <a:pt x="220" y="49"/>
                      <a:pt x="220" y="49"/>
                    </a:cubicBezTo>
                    <a:cubicBezTo>
                      <a:pt x="220" y="49"/>
                      <a:pt x="221" y="49"/>
                      <a:pt x="222" y="49"/>
                    </a:cubicBezTo>
                    <a:cubicBezTo>
                      <a:pt x="222" y="48"/>
                      <a:pt x="222" y="48"/>
                      <a:pt x="222" y="48"/>
                    </a:cubicBezTo>
                    <a:cubicBezTo>
                      <a:pt x="223" y="48"/>
                      <a:pt x="223" y="48"/>
                      <a:pt x="223" y="48"/>
                    </a:cubicBezTo>
                    <a:cubicBezTo>
                      <a:pt x="222" y="47"/>
                      <a:pt x="222" y="47"/>
                      <a:pt x="222" y="47"/>
                    </a:cubicBezTo>
                    <a:cubicBezTo>
                      <a:pt x="222" y="47"/>
                      <a:pt x="222" y="47"/>
                      <a:pt x="222" y="47"/>
                    </a:cubicBezTo>
                    <a:cubicBezTo>
                      <a:pt x="222" y="47"/>
                      <a:pt x="222" y="47"/>
                      <a:pt x="222" y="47"/>
                    </a:cubicBezTo>
                    <a:cubicBezTo>
                      <a:pt x="222" y="46"/>
                      <a:pt x="222" y="46"/>
                      <a:pt x="222" y="46"/>
                    </a:cubicBezTo>
                    <a:cubicBezTo>
                      <a:pt x="222" y="45"/>
                      <a:pt x="222" y="44"/>
                      <a:pt x="222" y="43"/>
                    </a:cubicBezTo>
                    <a:cubicBezTo>
                      <a:pt x="221" y="42"/>
                      <a:pt x="222" y="41"/>
                      <a:pt x="222" y="41"/>
                    </a:cubicBezTo>
                    <a:cubicBezTo>
                      <a:pt x="222" y="39"/>
                      <a:pt x="222" y="38"/>
                      <a:pt x="223" y="37"/>
                    </a:cubicBezTo>
                    <a:cubicBezTo>
                      <a:pt x="225" y="34"/>
                      <a:pt x="225" y="34"/>
                      <a:pt x="225" y="34"/>
                    </a:cubicBezTo>
                    <a:cubicBezTo>
                      <a:pt x="226" y="33"/>
                      <a:pt x="227" y="32"/>
                      <a:pt x="228" y="31"/>
                    </a:cubicBezTo>
                    <a:cubicBezTo>
                      <a:pt x="229" y="30"/>
                      <a:pt x="230" y="28"/>
                      <a:pt x="231" y="27"/>
                    </a:cubicBezTo>
                    <a:cubicBezTo>
                      <a:pt x="231" y="27"/>
                      <a:pt x="231" y="27"/>
                      <a:pt x="231" y="27"/>
                    </a:cubicBezTo>
                    <a:cubicBezTo>
                      <a:pt x="232" y="26"/>
                      <a:pt x="232" y="26"/>
                      <a:pt x="232" y="25"/>
                    </a:cubicBezTo>
                    <a:cubicBezTo>
                      <a:pt x="231" y="23"/>
                      <a:pt x="227" y="20"/>
                      <a:pt x="222" y="17"/>
                    </a:cubicBezTo>
                    <a:cubicBezTo>
                      <a:pt x="220" y="16"/>
                      <a:pt x="218" y="15"/>
                      <a:pt x="216" y="15"/>
                    </a:cubicBezTo>
                    <a:cubicBezTo>
                      <a:pt x="211" y="12"/>
                      <a:pt x="211" y="12"/>
                      <a:pt x="211" y="12"/>
                    </a:cubicBezTo>
                    <a:cubicBezTo>
                      <a:pt x="207" y="11"/>
                      <a:pt x="205" y="9"/>
                      <a:pt x="204" y="8"/>
                    </a:cubicBezTo>
                    <a:cubicBezTo>
                      <a:pt x="203" y="8"/>
                      <a:pt x="202" y="7"/>
                      <a:pt x="201" y="6"/>
                    </a:cubicBezTo>
                    <a:cubicBezTo>
                      <a:pt x="201" y="6"/>
                      <a:pt x="201" y="6"/>
                      <a:pt x="201" y="6"/>
                    </a:cubicBezTo>
                    <a:cubicBezTo>
                      <a:pt x="200" y="5"/>
                      <a:pt x="200" y="5"/>
                      <a:pt x="200" y="5"/>
                    </a:cubicBezTo>
                    <a:cubicBezTo>
                      <a:pt x="196" y="2"/>
                      <a:pt x="194" y="0"/>
                      <a:pt x="1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367"/>
              <p:cNvSpPr/>
              <p:nvPr/>
            </p:nvSpPr>
            <p:spPr bwMode="auto">
              <a:xfrm>
                <a:off x="7974590" y="4735374"/>
                <a:ext cx="582248" cy="246903"/>
              </a:xfrm>
              <a:custGeom>
                <a:gdLst>
                  <a:gd name="T0" fmla="*/ 0 w 183"/>
                  <a:gd name="T1" fmla="*/ 5 h 78"/>
                  <a:gd name="T2" fmla="*/ 13 w 183"/>
                  <a:gd name="T3" fmla="*/ 12 h 78"/>
                  <a:gd name="T4" fmla="*/ 40 w 183"/>
                  <a:gd name="T5" fmla="*/ 32 h 78"/>
                  <a:gd name="T6" fmla="*/ 47 w 183"/>
                  <a:gd name="T7" fmla="*/ 56 h 78"/>
                  <a:gd name="T8" fmla="*/ 43 w 183"/>
                  <a:gd name="T9" fmla="*/ 64 h 78"/>
                  <a:gd name="T10" fmla="*/ 49 w 183"/>
                  <a:gd name="T11" fmla="*/ 65 h 78"/>
                  <a:gd name="T12" fmla="*/ 56 w 183"/>
                  <a:gd name="T13" fmla="*/ 65 h 78"/>
                  <a:gd name="T14" fmla="*/ 66 w 183"/>
                  <a:gd name="T15" fmla="*/ 66 h 78"/>
                  <a:gd name="T16" fmla="*/ 74 w 183"/>
                  <a:gd name="T17" fmla="*/ 62 h 78"/>
                  <a:gd name="T18" fmla="*/ 82 w 183"/>
                  <a:gd name="T19" fmla="*/ 68 h 78"/>
                  <a:gd name="T20" fmla="*/ 84 w 183"/>
                  <a:gd name="T21" fmla="*/ 67 h 78"/>
                  <a:gd name="T22" fmla="*/ 86 w 183"/>
                  <a:gd name="T23" fmla="*/ 69 h 78"/>
                  <a:gd name="T24" fmla="*/ 92 w 183"/>
                  <a:gd name="T25" fmla="*/ 73 h 78"/>
                  <a:gd name="T26" fmla="*/ 96 w 183"/>
                  <a:gd name="T27" fmla="*/ 76 h 78"/>
                  <a:gd name="T28" fmla="*/ 97 w 183"/>
                  <a:gd name="T29" fmla="*/ 77 h 78"/>
                  <a:gd name="T30" fmla="*/ 101 w 183"/>
                  <a:gd name="T31" fmla="*/ 77 h 78"/>
                  <a:gd name="T32" fmla="*/ 124 w 183"/>
                  <a:gd name="T33" fmla="*/ 74 h 78"/>
                  <a:gd name="T34" fmla="*/ 128 w 183"/>
                  <a:gd name="T35" fmla="*/ 74 h 78"/>
                  <a:gd name="T36" fmla="*/ 132 w 183"/>
                  <a:gd name="T37" fmla="*/ 74 h 78"/>
                  <a:gd name="T38" fmla="*/ 132 w 183"/>
                  <a:gd name="T39" fmla="*/ 73 h 78"/>
                  <a:gd name="T40" fmla="*/ 142 w 183"/>
                  <a:gd name="T41" fmla="*/ 69 h 78"/>
                  <a:gd name="T42" fmla="*/ 149 w 183"/>
                  <a:gd name="T43" fmla="*/ 66 h 78"/>
                  <a:gd name="T44" fmla="*/ 158 w 183"/>
                  <a:gd name="T45" fmla="*/ 71 h 78"/>
                  <a:gd name="T46" fmla="*/ 162 w 183"/>
                  <a:gd name="T47" fmla="*/ 73 h 78"/>
                  <a:gd name="T48" fmla="*/ 179 w 183"/>
                  <a:gd name="T49" fmla="*/ 77 h 78"/>
                  <a:gd name="T50" fmla="*/ 182 w 183"/>
                  <a:gd name="T51" fmla="*/ 75 h 78"/>
                  <a:gd name="T52" fmla="*/ 172 w 183"/>
                  <a:gd name="T53" fmla="*/ 67 h 78"/>
                  <a:gd name="T54" fmla="*/ 175 w 183"/>
                  <a:gd name="T55" fmla="*/ 56 h 78"/>
                  <a:gd name="T56" fmla="*/ 157 w 183"/>
                  <a:gd name="T57" fmla="*/ 48 h 78"/>
                  <a:gd name="T58" fmla="*/ 155 w 183"/>
                  <a:gd name="T59" fmla="*/ 37 h 78"/>
                  <a:gd name="T60" fmla="*/ 138 w 183"/>
                  <a:gd name="T61" fmla="*/ 29 h 78"/>
                  <a:gd name="T62" fmla="*/ 135 w 183"/>
                  <a:gd name="T63" fmla="*/ 40 h 78"/>
                  <a:gd name="T64" fmla="*/ 127 w 183"/>
                  <a:gd name="T65" fmla="*/ 29 h 78"/>
                  <a:gd name="T66" fmla="*/ 120 w 183"/>
                  <a:gd name="T67" fmla="*/ 31 h 78"/>
                  <a:gd name="T68" fmla="*/ 107 w 183"/>
                  <a:gd name="T69" fmla="*/ 34 h 78"/>
                  <a:gd name="T70" fmla="*/ 100 w 183"/>
                  <a:gd name="T71" fmla="*/ 29 h 78"/>
                  <a:gd name="T72" fmla="*/ 100 w 183"/>
                  <a:gd name="T73" fmla="*/ 27 h 78"/>
                  <a:gd name="T74" fmla="*/ 67 w 183"/>
                  <a:gd name="T75" fmla="*/ 12 h 78"/>
                  <a:gd name="T76" fmla="*/ 56 w 183"/>
                  <a:gd name="T77" fmla="*/ 13 h 78"/>
                  <a:gd name="T78" fmla="*/ 15 w 183"/>
                  <a:gd name="T79" fmla="*/ 2 h 78"/>
                  <a:gd name="T80" fmla="*/ 11 w 183"/>
                  <a:gd name="T81" fmla="*/ 2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3" h="78">
                    <a:moveTo>
                      <a:pt x="2" y="0"/>
                    </a:moveTo>
                    <a:cubicBezTo>
                      <a:pt x="2" y="1"/>
                      <a:pt x="1" y="3"/>
                      <a:pt x="0" y="5"/>
                    </a:cubicBezTo>
                    <a:cubicBezTo>
                      <a:pt x="0" y="6"/>
                      <a:pt x="0" y="6"/>
                      <a:pt x="0" y="6"/>
                    </a:cubicBezTo>
                    <a:cubicBezTo>
                      <a:pt x="4" y="9"/>
                      <a:pt x="8" y="11"/>
                      <a:pt x="13" y="12"/>
                    </a:cubicBezTo>
                    <a:cubicBezTo>
                      <a:pt x="19" y="14"/>
                      <a:pt x="25" y="15"/>
                      <a:pt x="28" y="21"/>
                    </a:cubicBezTo>
                    <a:cubicBezTo>
                      <a:pt x="31" y="27"/>
                      <a:pt x="39" y="26"/>
                      <a:pt x="40" y="32"/>
                    </a:cubicBezTo>
                    <a:cubicBezTo>
                      <a:pt x="41" y="36"/>
                      <a:pt x="42" y="46"/>
                      <a:pt x="47" y="46"/>
                    </a:cubicBezTo>
                    <a:cubicBezTo>
                      <a:pt x="44" y="50"/>
                      <a:pt x="48" y="52"/>
                      <a:pt x="47" y="56"/>
                    </a:cubicBezTo>
                    <a:cubicBezTo>
                      <a:pt x="46" y="60"/>
                      <a:pt x="45" y="62"/>
                      <a:pt x="43" y="64"/>
                    </a:cubicBezTo>
                    <a:cubicBezTo>
                      <a:pt x="43" y="64"/>
                      <a:pt x="43" y="64"/>
                      <a:pt x="43" y="64"/>
                    </a:cubicBezTo>
                    <a:cubicBezTo>
                      <a:pt x="44" y="65"/>
                      <a:pt x="45" y="65"/>
                      <a:pt x="46" y="65"/>
                    </a:cubicBezTo>
                    <a:cubicBezTo>
                      <a:pt x="47" y="65"/>
                      <a:pt x="48" y="65"/>
                      <a:pt x="49" y="65"/>
                    </a:cubicBezTo>
                    <a:cubicBezTo>
                      <a:pt x="51" y="65"/>
                      <a:pt x="52" y="65"/>
                      <a:pt x="53" y="65"/>
                    </a:cubicBezTo>
                    <a:cubicBezTo>
                      <a:pt x="54" y="65"/>
                      <a:pt x="55" y="65"/>
                      <a:pt x="56" y="65"/>
                    </a:cubicBezTo>
                    <a:cubicBezTo>
                      <a:pt x="58" y="65"/>
                      <a:pt x="58" y="65"/>
                      <a:pt x="58" y="65"/>
                    </a:cubicBezTo>
                    <a:cubicBezTo>
                      <a:pt x="61" y="65"/>
                      <a:pt x="63" y="66"/>
                      <a:pt x="66" y="66"/>
                    </a:cubicBezTo>
                    <a:cubicBezTo>
                      <a:pt x="67" y="64"/>
                      <a:pt x="69" y="62"/>
                      <a:pt x="71" y="62"/>
                    </a:cubicBezTo>
                    <a:cubicBezTo>
                      <a:pt x="72" y="62"/>
                      <a:pt x="73" y="62"/>
                      <a:pt x="74" y="62"/>
                    </a:cubicBezTo>
                    <a:cubicBezTo>
                      <a:pt x="77" y="62"/>
                      <a:pt x="80" y="63"/>
                      <a:pt x="83" y="66"/>
                    </a:cubicBezTo>
                    <a:cubicBezTo>
                      <a:pt x="82" y="68"/>
                      <a:pt x="82" y="68"/>
                      <a:pt x="82" y="68"/>
                    </a:cubicBezTo>
                    <a:cubicBezTo>
                      <a:pt x="83" y="67"/>
                      <a:pt x="83" y="67"/>
                      <a:pt x="83" y="67"/>
                    </a:cubicBezTo>
                    <a:cubicBezTo>
                      <a:pt x="84" y="67"/>
                      <a:pt x="84" y="67"/>
                      <a:pt x="84" y="67"/>
                    </a:cubicBezTo>
                    <a:cubicBezTo>
                      <a:pt x="84" y="68"/>
                      <a:pt x="85" y="68"/>
                      <a:pt x="85" y="68"/>
                    </a:cubicBezTo>
                    <a:cubicBezTo>
                      <a:pt x="85" y="69"/>
                      <a:pt x="86" y="69"/>
                      <a:pt x="86" y="69"/>
                    </a:cubicBezTo>
                    <a:cubicBezTo>
                      <a:pt x="87" y="70"/>
                      <a:pt x="87" y="70"/>
                      <a:pt x="87" y="70"/>
                    </a:cubicBezTo>
                    <a:cubicBezTo>
                      <a:pt x="89" y="71"/>
                      <a:pt x="90" y="72"/>
                      <a:pt x="92" y="73"/>
                    </a:cubicBezTo>
                    <a:cubicBezTo>
                      <a:pt x="93" y="74"/>
                      <a:pt x="93" y="74"/>
                      <a:pt x="93" y="74"/>
                    </a:cubicBezTo>
                    <a:cubicBezTo>
                      <a:pt x="94" y="75"/>
                      <a:pt x="95" y="76"/>
                      <a:pt x="96" y="76"/>
                    </a:cubicBezTo>
                    <a:cubicBezTo>
                      <a:pt x="97" y="77"/>
                      <a:pt x="97" y="77"/>
                      <a:pt x="97" y="77"/>
                    </a:cubicBezTo>
                    <a:cubicBezTo>
                      <a:pt x="97" y="77"/>
                      <a:pt x="97" y="77"/>
                      <a:pt x="97" y="77"/>
                    </a:cubicBezTo>
                    <a:cubicBezTo>
                      <a:pt x="98" y="77"/>
                      <a:pt x="98" y="77"/>
                      <a:pt x="98" y="77"/>
                    </a:cubicBezTo>
                    <a:cubicBezTo>
                      <a:pt x="101" y="77"/>
                      <a:pt x="101" y="77"/>
                      <a:pt x="101" y="77"/>
                    </a:cubicBezTo>
                    <a:cubicBezTo>
                      <a:pt x="106" y="76"/>
                      <a:pt x="112" y="76"/>
                      <a:pt x="118" y="75"/>
                    </a:cubicBezTo>
                    <a:cubicBezTo>
                      <a:pt x="120" y="74"/>
                      <a:pt x="122" y="74"/>
                      <a:pt x="124" y="74"/>
                    </a:cubicBezTo>
                    <a:cubicBezTo>
                      <a:pt x="125" y="74"/>
                      <a:pt x="126" y="74"/>
                      <a:pt x="127" y="74"/>
                    </a:cubicBezTo>
                    <a:cubicBezTo>
                      <a:pt x="128" y="74"/>
                      <a:pt x="128" y="74"/>
                      <a:pt x="128" y="74"/>
                    </a:cubicBezTo>
                    <a:cubicBezTo>
                      <a:pt x="129" y="74"/>
                      <a:pt x="130" y="74"/>
                      <a:pt x="131" y="74"/>
                    </a:cubicBezTo>
                    <a:cubicBezTo>
                      <a:pt x="132" y="74"/>
                      <a:pt x="132" y="74"/>
                      <a:pt x="132" y="74"/>
                    </a:cubicBezTo>
                    <a:cubicBezTo>
                      <a:pt x="132" y="74"/>
                      <a:pt x="133" y="74"/>
                      <a:pt x="133" y="74"/>
                    </a:cubicBezTo>
                    <a:cubicBezTo>
                      <a:pt x="132" y="73"/>
                      <a:pt x="132" y="73"/>
                      <a:pt x="132" y="73"/>
                    </a:cubicBezTo>
                    <a:cubicBezTo>
                      <a:pt x="138" y="72"/>
                      <a:pt x="138" y="72"/>
                      <a:pt x="138" y="72"/>
                    </a:cubicBezTo>
                    <a:cubicBezTo>
                      <a:pt x="139" y="71"/>
                      <a:pt x="141" y="70"/>
                      <a:pt x="142" y="69"/>
                    </a:cubicBezTo>
                    <a:cubicBezTo>
                      <a:pt x="144" y="68"/>
                      <a:pt x="144" y="68"/>
                      <a:pt x="144" y="68"/>
                    </a:cubicBezTo>
                    <a:cubicBezTo>
                      <a:pt x="146" y="67"/>
                      <a:pt x="147" y="66"/>
                      <a:pt x="149" y="66"/>
                    </a:cubicBezTo>
                    <a:cubicBezTo>
                      <a:pt x="149" y="66"/>
                      <a:pt x="150" y="66"/>
                      <a:pt x="150" y="66"/>
                    </a:cubicBezTo>
                    <a:cubicBezTo>
                      <a:pt x="154" y="68"/>
                      <a:pt x="156" y="69"/>
                      <a:pt x="158" y="71"/>
                    </a:cubicBezTo>
                    <a:cubicBezTo>
                      <a:pt x="159" y="71"/>
                      <a:pt x="159" y="71"/>
                      <a:pt x="159" y="71"/>
                    </a:cubicBezTo>
                    <a:cubicBezTo>
                      <a:pt x="160" y="72"/>
                      <a:pt x="161" y="73"/>
                      <a:pt x="162" y="73"/>
                    </a:cubicBezTo>
                    <a:cubicBezTo>
                      <a:pt x="163" y="74"/>
                      <a:pt x="164" y="74"/>
                      <a:pt x="165" y="74"/>
                    </a:cubicBezTo>
                    <a:cubicBezTo>
                      <a:pt x="169" y="76"/>
                      <a:pt x="174" y="76"/>
                      <a:pt x="179" y="77"/>
                    </a:cubicBezTo>
                    <a:cubicBezTo>
                      <a:pt x="180" y="77"/>
                      <a:pt x="181" y="77"/>
                      <a:pt x="182" y="78"/>
                    </a:cubicBezTo>
                    <a:cubicBezTo>
                      <a:pt x="183" y="75"/>
                      <a:pt x="183" y="75"/>
                      <a:pt x="182" y="75"/>
                    </a:cubicBezTo>
                    <a:cubicBezTo>
                      <a:pt x="180" y="73"/>
                      <a:pt x="178" y="72"/>
                      <a:pt x="177" y="70"/>
                    </a:cubicBezTo>
                    <a:cubicBezTo>
                      <a:pt x="175" y="69"/>
                      <a:pt x="174" y="68"/>
                      <a:pt x="172" y="67"/>
                    </a:cubicBezTo>
                    <a:cubicBezTo>
                      <a:pt x="168" y="65"/>
                      <a:pt x="168" y="65"/>
                      <a:pt x="168" y="65"/>
                    </a:cubicBezTo>
                    <a:cubicBezTo>
                      <a:pt x="175" y="56"/>
                      <a:pt x="175" y="56"/>
                      <a:pt x="175" y="56"/>
                    </a:cubicBezTo>
                    <a:cubicBezTo>
                      <a:pt x="174" y="55"/>
                      <a:pt x="174" y="55"/>
                      <a:pt x="173" y="55"/>
                    </a:cubicBezTo>
                    <a:cubicBezTo>
                      <a:pt x="168" y="54"/>
                      <a:pt x="157" y="48"/>
                      <a:pt x="157" y="48"/>
                    </a:cubicBezTo>
                    <a:cubicBezTo>
                      <a:pt x="156" y="47"/>
                      <a:pt x="155" y="46"/>
                      <a:pt x="155" y="44"/>
                    </a:cubicBezTo>
                    <a:cubicBezTo>
                      <a:pt x="154" y="42"/>
                      <a:pt x="154" y="40"/>
                      <a:pt x="155" y="37"/>
                    </a:cubicBezTo>
                    <a:cubicBezTo>
                      <a:pt x="150" y="36"/>
                      <a:pt x="142" y="32"/>
                      <a:pt x="138" y="30"/>
                    </a:cubicBezTo>
                    <a:cubicBezTo>
                      <a:pt x="138" y="29"/>
                      <a:pt x="138" y="29"/>
                      <a:pt x="138" y="29"/>
                    </a:cubicBezTo>
                    <a:cubicBezTo>
                      <a:pt x="137" y="30"/>
                      <a:pt x="137" y="30"/>
                      <a:pt x="137" y="31"/>
                    </a:cubicBezTo>
                    <a:cubicBezTo>
                      <a:pt x="135" y="40"/>
                      <a:pt x="135" y="40"/>
                      <a:pt x="135" y="40"/>
                    </a:cubicBezTo>
                    <a:cubicBezTo>
                      <a:pt x="131" y="32"/>
                      <a:pt x="131" y="32"/>
                      <a:pt x="131" y="32"/>
                    </a:cubicBezTo>
                    <a:cubicBezTo>
                      <a:pt x="130" y="30"/>
                      <a:pt x="129" y="30"/>
                      <a:pt x="127" y="29"/>
                    </a:cubicBezTo>
                    <a:cubicBezTo>
                      <a:pt x="127" y="29"/>
                      <a:pt x="127" y="29"/>
                      <a:pt x="127" y="29"/>
                    </a:cubicBezTo>
                    <a:cubicBezTo>
                      <a:pt x="125" y="29"/>
                      <a:pt x="123" y="30"/>
                      <a:pt x="120" y="31"/>
                    </a:cubicBezTo>
                    <a:cubicBezTo>
                      <a:pt x="116" y="34"/>
                      <a:pt x="113" y="35"/>
                      <a:pt x="111" y="35"/>
                    </a:cubicBezTo>
                    <a:cubicBezTo>
                      <a:pt x="109" y="35"/>
                      <a:pt x="108" y="35"/>
                      <a:pt x="107" y="34"/>
                    </a:cubicBezTo>
                    <a:cubicBezTo>
                      <a:pt x="107" y="34"/>
                      <a:pt x="102" y="33"/>
                      <a:pt x="100" y="30"/>
                    </a:cubicBezTo>
                    <a:cubicBezTo>
                      <a:pt x="100" y="29"/>
                      <a:pt x="100" y="29"/>
                      <a:pt x="100" y="29"/>
                    </a:cubicBezTo>
                    <a:cubicBezTo>
                      <a:pt x="100" y="27"/>
                      <a:pt x="100" y="27"/>
                      <a:pt x="100" y="27"/>
                    </a:cubicBezTo>
                    <a:cubicBezTo>
                      <a:pt x="100" y="27"/>
                      <a:pt x="100" y="27"/>
                      <a:pt x="100" y="27"/>
                    </a:cubicBezTo>
                    <a:cubicBezTo>
                      <a:pt x="94" y="26"/>
                      <a:pt x="81" y="19"/>
                      <a:pt x="79" y="16"/>
                    </a:cubicBezTo>
                    <a:cubicBezTo>
                      <a:pt x="77" y="15"/>
                      <a:pt x="72" y="12"/>
                      <a:pt x="67" y="12"/>
                    </a:cubicBezTo>
                    <a:cubicBezTo>
                      <a:pt x="65" y="12"/>
                      <a:pt x="63" y="12"/>
                      <a:pt x="62" y="13"/>
                    </a:cubicBezTo>
                    <a:cubicBezTo>
                      <a:pt x="60" y="13"/>
                      <a:pt x="58" y="13"/>
                      <a:pt x="56" y="13"/>
                    </a:cubicBezTo>
                    <a:cubicBezTo>
                      <a:pt x="44" y="13"/>
                      <a:pt x="25" y="7"/>
                      <a:pt x="22" y="5"/>
                    </a:cubicBezTo>
                    <a:cubicBezTo>
                      <a:pt x="19" y="3"/>
                      <a:pt x="16" y="2"/>
                      <a:pt x="15" y="2"/>
                    </a:cubicBezTo>
                    <a:cubicBezTo>
                      <a:pt x="14" y="2"/>
                      <a:pt x="14" y="2"/>
                      <a:pt x="14" y="2"/>
                    </a:cubicBezTo>
                    <a:cubicBezTo>
                      <a:pt x="13" y="2"/>
                      <a:pt x="12" y="2"/>
                      <a:pt x="11" y="2"/>
                    </a:cubicBezTo>
                    <a:cubicBezTo>
                      <a:pt x="9" y="2"/>
                      <a:pt x="5"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368"/>
              <p:cNvSpPr/>
              <p:nvPr/>
            </p:nvSpPr>
            <p:spPr bwMode="auto">
              <a:xfrm>
                <a:off x="9912961" y="3618784"/>
                <a:ext cx="18426" cy="7370"/>
              </a:xfrm>
              <a:custGeom>
                <a:gdLst>
                  <a:gd name="T0" fmla="*/ 0 w 5"/>
                  <a:gd name="T1" fmla="*/ 0 h 2"/>
                  <a:gd name="T2" fmla="*/ 0 w 5"/>
                  <a:gd name="T3" fmla="*/ 1 h 2"/>
                  <a:gd name="T4" fmla="*/ 1 w 5"/>
                  <a:gd name="T5" fmla="*/ 2 h 2"/>
                  <a:gd name="T6" fmla="*/ 2 w 5"/>
                  <a:gd name="T7" fmla="*/ 2 h 2"/>
                  <a:gd name="T8" fmla="*/ 3 w 5"/>
                  <a:gd name="T9" fmla="*/ 2 h 2"/>
                  <a:gd name="T10" fmla="*/ 4 w 5"/>
                  <a:gd name="T11" fmla="*/ 2 h 2"/>
                  <a:gd name="T12" fmla="*/ 5 w 5"/>
                  <a:gd name="T13" fmla="*/ 2 h 2"/>
                  <a:gd name="T14" fmla="*/ 5 w 5"/>
                  <a:gd name="T15" fmla="*/ 2 h 2"/>
                  <a:gd name="T16" fmla="*/ 3 w 5"/>
                  <a:gd name="T17" fmla="*/ 1 h 2"/>
                  <a:gd name="T18" fmla="*/ 0 w 5"/>
                  <a:gd name="T19"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cubicBezTo>
                      <a:pt x="0" y="1"/>
                      <a:pt x="0" y="1"/>
                      <a:pt x="0" y="1"/>
                    </a:cubicBezTo>
                    <a:cubicBezTo>
                      <a:pt x="1" y="2"/>
                      <a:pt x="1" y="2"/>
                      <a:pt x="1" y="2"/>
                    </a:cubicBezTo>
                    <a:cubicBezTo>
                      <a:pt x="1" y="2"/>
                      <a:pt x="1" y="2"/>
                      <a:pt x="2" y="2"/>
                    </a:cubicBezTo>
                    <a:cubicBezTo>
                      <a:pt x="2" y="2"/>
                      <a:pt x="2" y="2"/>
                      <a:pt x="3" y="2"/>
                    </a:cubicBezTo>
                    <a:cubicBezTo>
                      <a:pt x="3" y="2"/>
                      <a:pt x="4" y="2"/>
                      <a:pt x="4" y="2"/>
                    </a:cubicBezTo>
                    <a:cubicBezTo>
                      <a:pt x="5" y="2"/>
                      <a:pt x="5" y="2"/>
                      <a:pt x="5" y="2"/>
                    </a:cubicBezTo>
                    <a:cubicBezTo>
                      <a:pt x="5" y="2"/>
                      <a:pt x="5" y="2"/>
                      <a:pt x="5" y="2"/>
                    </a:cubicBezTo>
                    <a:cubicBezTo>
                      <a:pt x="3"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Rectangle 369"/>
              <p:cNvSpPr>
                <a:spLocks noChangeArrowheads="1"/>
              </p:cNvSpPr>
              <p:nvPr/>
            </p:nvSpPr>
            <p:spPr bwMode="auto">
              <a:xfrm>
                <a:off x="10288843" y="342347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Rectangle 370"/>
              <p:cNvSpPr>
                <a:spLocks noChangeArrowheads="1"/>
              </p:cNvSpPr>
              <p:nvPr/>
            </p:nvSpPr>
            <p:spPr bwMode="auto">
              <a:xfrm>
                <a:off x="10288843" y="342347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371"/>
              <p:cNvSpPr/>
              <p:nvPr/>
            </p:nvSpPr>
            <p:spPr bwMode="auto">
              <a:xfrm>
                <a:off x="8800056" y="4422140"/>
                <a:ext cx="3685" cy="3685"/>
              </a:xfrm>
              <a:custGeom>
                <a:gdLst>
                  <a:gd name="T0" fmla="*/ 0 w 1"/>
                  <a:gd name="T1" fmla="*/ 0 h 1"/>
                  <a:gd name="T2" fmla="*/ 0 w 1"/>
                  <a:gd name="T3" fmla="*/ 0 h 1"/>
                  <a:gd name="T4" fmla="*/ 1 w 1"/>
                  <a:gd name="T5" fmla="*/ 1 h 1"/>
                  <a:gd name="T6" fmla="*/ 0 w 1"/>
                  <a:gd name="T7" fmla="*/ 0 h 1"/>
                </a:gd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0"/>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Rectangle 372"/>
              <p:cNvSpPr>
                <a:spLocks noChangeArrowheads="1"/>
              </p:cNvSpPr>
              <p:nvPr/>
            </p:nvSpPr>
            <p:spPr bwMode="auto">
              <a:xfrm>
                <a:off x="876689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373"/>
              <p:cNvSpPr/>
              <p:nvPr/>
            </p:nvSpPr>
            <p:spPr bwMode="auto">
              <a:xfrm flipH="1">
                <a:off x="8766890" y="436686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374"/>
              <p:cNvSpPr>
                <a:spLocks noEditPoints="1"/>
              </p:cNvSpPr>
              <p:nvPr/>
            </p:nvSpPr>
            <p:spPr bwMode="auto">
              <a:xfrm>
                <a:off x="12090864" y="445900"/>
                <a:ext cx="88443" cy="103183"/>
              </a:xfrm>
              <a:custGeom>
                <a:gdLst>
                  <a:gd name="T0" fmla="*/ 9 w 28"/>
                  <a:gd name="T1" fmla="*/ 22 h 32"/>
                  <a:gd name="T2" fmla="*/ 10 w 28"/>
                  <a:gd name="T3" fmla="*/ 23 h 32"/>
                  <a:gd name="T4" fmla="*/ 7 w 28"/>
                  <a:gd name="T5" fmla="*/ 25 h 32"/>
                  <a:gd name="T6" fmla="*/ 5 w 28"/>
                  <a:gd name="T7" fmla="*/ 26 h 32"/>
                  <a:gd name="T8" fmla="*/ 5 w 28"/>
                  <a:gd name="T9" fmla="*/ 27 h 32"/>
                  <a:gd name="T10" fmla="*/ 6 w 28"/>
                  <a:gd name="T11" fmla="*/ 27 h 32"/>
                  <a:gd name="T12" fmla="*/ 6 w 28"/>
                  <a:gd name="T13" fmla="*/ 28 h 32"/>
                  <a:gd name="T14" fmla="*/ 6 w 28"/>
                  <a:gd name="T15" fmla="*/ 28 h 32"/>
                  <a:gd name="T16" fmla="*/ 6 w 28"/>
                  <a:gd name="T17" fmla="*/ 29 h 32"/>
                  <a:gd name="T18" fmla="*/ 6 w 28"/>
                  <a:gd name="T19" fmla="*/ 30 h 32"/>
                  <a:gd name="T20" fmla="*/ 12 w 28"/>
                  <a:gd name="T21" fmla="*/ 31 h 32"/>
                  <a:gd name="T22" fmla="*/ 17 w 28"/>
                  <a:gd name="T23" fmla="*/ 31 h 32"/>
                  <a:gd name="T24" fmla="*/ 18 w 28"/>
                  <a:gd name="T25" fmla="*/ 31 h 32"/>
                  <a:gd name="T26" fmla="*/ 22 w 28"/>
                  <a:gd name="T27" fmla="*/ 31 h 32"/>
                  <a:gd name="T28" fmla="*/ 22 w 28"/>
                  <a:gd name="T29" fmla="*/ 31 h 32"/>
                  <a:gd name="T30" fmla="*/ 27 w 28"/>
                  <a:gd name="T31" fmla="*/ 24 h 32"/>
                  <a:gd name="T32" fmla="*/ 22 w 28"/>
                  <a:gd name="T33" fmla="*/ 23 h 32"/>
                  <a:gd name="T34" fmla="*/ 11 w 28"/>
                  <a:gd name="T35" fmla="*/ 22 h 32"/>
                  <a:gd name="T36" fmla="*/ 26 w 28"/>
                  <a:gd name="T37" fmla="*/ 15 h 32"/>
                  <a:gd name="T38" fmla="*/ 24 w 28"/>
                  <a:gd name="T39" fmla="*/ 16 h 32"/>
                  <a:gd name="T40" fmla="*/ 23 w 28"/>
                  <a:gd name="T41" fmla="*/ 16 h 32"/>
                  <a:gd name="T42" fmla="*/ 23 w 28"/>
                  <a:gd name="T43" fmla="*/ 17 h 32"/>
                  <a:gd name="T44" fmla="*/ 24 w 28"/>
                  <a:gd name="T45" fmla="*/ 17 h 32"/>
                  <a:gd name="T46" fmla="*/ 25 w 28"/>
                  <a:gd name="T47" fmla="*/ 18 h 32"/>
                  <a:gd name="T48" fmla="*/ 26 w 28"/>
                  <a:gd name="T49" fmla="*/ 18 h 32"/>
                  <a:gd name="T50" fmla="*/ 27 w 28"/>
                  <a:gd name="T51" fmla="*/ 15 h 32"/>
                  <a:gd name="T52" fmla="*/ 9 w 28"/>
                  <a:gd name="T53" fmla="*/ 0 h 32"/>
                  <a:gd name="T54" fmla="*/ 10 w 28"/>
                  <a:gd name="T55" fmla="*/ 1 h 32"/>
                  <a:gd name="T56" fmla="*/ 10 w 28"/>
                  <a:gd name="T57" fmla="*/ 1 h 32"/>
                  <a:gd name="T58" fmla="*/ 10 w 28"/>
                  <a:gd name="T59" fmla="*/ 2 h 32"/>
                  <a:gd name="T60" fmla="*/ 6 w 28"/>
                  <a:gd name="T61" fmla="*/ 4 h 32"/>
                  <a:gd name="T62" fmla="*/ 4 w 28"/>
                  <a:gd name="T63" fmla="*/ 5 h 32"/>
                  <a:gd name="T64" fmla="*/ 3 w 28"/>
                  <a:gd name="T65" fmla="*/ 6 h 32"/>
                  <a:gd name="T66" fmla="*/ 3 w 28"/>
                  <a:gd name="T67" fmla="*/ 7 h 32"/>
                  <a:gd name="T68" fmla="*/ 3 w 28"/>
                  <a:gd name="T69" fmla="*/ 8 h 32"/>
                  <a:gd name="T70" fmla="*/ 3 w 28"/>
                  <a:gd name="T71" fmla="*/ 8 h 32"/>
                  <a:gd name="T72" fmla="*/ 1 w 28"/>
                  <a:gd name="T73" fmla="*/ 9 h 32"/>
                  <a:gd name="T74" fmla="*/ 1 w 28"/>
                  <a:gd name="T75" fmla="*/ 9 h 32"/>
                  <a:gd name="T76" fmla="*/ 0 w 28"/>
                  <a:gd name="T77" fmla="*/ 10 h 32"/>
                  <a:gd name="T78" fmla="*/ 1 w 28"/>
                  <a:gd name="T79" fmla="*/ 10 h 32"/>
                  <a:gd name="T80" fmla="*/ 2 w 28"/>
                  <a:gd name="T81" fmla="*/ 10 h 32"/>
                  <a:gd name="T82" fmla="*/ 5 w 28"/>
                  <a:gd name="T83" fmla="*/ 11 h 32"/>
                  <a:gd name="T84" fmla="*/ 7 w 28"/>
                  <a:gd name="T85" fmla="*/ 11 h 32"/>
                  <a:gd name="T86" fmla="*/ 10 w 28"/>
                  <a:gd name="T87" fmla="*/ 11 h 32"/>
                  <a:gd name="T88" fmla="*/ 10 w 28"/>
                  <a:gd name="T89" fmla="*/ 11 h 32"/>
                  <a:gd name="T90" fmla="*/ 13 w 28"/>
                  <a:gd name="T91" fmla="*/ 11 h 32"/>
                  <a:gd name="T92" fmla="*/ 15 w 28"/>
                  <a:gd name="T93" fmla="*/ 11 h 32"/>
                  <a:gd name="T94" fmla="*/ 19 w 28"/>
                  <a:gd name="T95" fmla="*/ 13 h 32"/>
                  <a:gd name="T96" fmla="*/ 20 w 28"/>
                  <a:gd name="T97" fmla="*/ 13 h 32"/>
                  <a:gd name="T98" fmla="*/ 26 w 28"/>
                  <a:gd name="T99" fmla="*/ 14 h 32"/>
                  <a:gd name="T100" fmla="*/ 27 w 28"/>
                  <a:gd name="T101" fmla="*/ 14 h 32"/>
                  <a:gd name="T102" fmla="*/ 27 w 28"/>
                  <a:gd name="T103" fmla="*/ 10 h 32"/>
                  <a:gd name="T104" fmla="*/ 26 w 28"/>
                  <a:gd name="T105" fmla="*/ 9 h 32"/>
                  <a:gd name="T106" fmla="*/ 25 w 28"/>
                  <a:gd name="T107" fmla="*/ 9 h 32"/>
                  <a:gd name="T108" fmla="*/ 23 w 28"/>
                  <a:gd name="T109" fmla="*/ 6 h 32"/>
                  <a:gd name="T110" fmla="*/ 18 w 28"/>
                  <a:gd name="T111" fmla="*/ 6 h 32"/>
                  <a:gd name="T112" fmla="*/ 9 w 28"/>
                  <a:gd name="T113"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32">
                    <a:moveTo>
                      <a:pt x="11" y="22"/>
                    </a:moveTo>
                    <a:cubicBezTo>
                      <a:pt x="9" y="22"/>
                      <a:pt x="9" y="22"/>
                      <a:pt x="9" y="22"/>
                    </a:cubicBezTo>
                    <a:cubicBezTo>
                      <a:pt x="10" y="23"/>
                      <a:pt x="10" y="23"/>
                      <a:pt x="10" y="23"/>
                    </a:cubicBezTo>
                    <a:cubicBezTo>
                      <a:pt x="10" y="23"/>
                      <a:pt x="10" y="23"/>
                      <a:pt x="10" y="23"/>
                    </a:cubicBezTo>
                    <a:cubicBezTo>
                      <a:pt x="9" y="23"/>
                      <a:pt x="9" y="23"/>
                      <a:pt x="9" y="23"/>
                    </a:cubicBezTo>
                    <a:cubicBezTo>
                      <a:pt x="7" y="25"/>
                      <a:pt x="7" y="25"/>
                      <a:pt x="7" y="25"/>
                    </a:cubicBezTo>
                    <a:cubicBezTo>
                      <a:pt x="5" y="25"/>
                      <a:pt x="5" y="25"/>
                      <a:pt x="5" y="25"/>
                    </a:cubicBezTo>
                    <a:cubicBezTo>
                      <a:pt x="5" y="26"/>
                      <a:pt x="5" y="26"/>
                      <a:pt x="5" y="26"/>
                    </a:cubicBezTo>
                    <a:cubicBezTo>
                      <a:pt x="5" y="26"/>
                      <a:pt x="5" y="26"/>
                      <a:pt x="5" y="26"/>
                    </a:cubicBezTo>
                    <a:cubicBezTo>
                      <a:pt x="5" y="27"/>
                      <a:pt x="5" y="27"/>
                      <a:pt x="5" y="27"/>
                    </a:cubicBezTo>
                    <a:cubicBezTo>
                      <a:pt x="5" y="27"/>
                      <a:pt x="5" y="27"/>
                      <a:pt x="5" y="27"/>
                    </a:cubicBezTo>
                    <a:cubicBezTo>
                      <a:pt x="6" y="27"/>
                      <a:pt x="6" y="27"/>
                      <a:pt x="6" y="27"/>
                    </a:cubicBezTo>
                    <a:cubicBezTo>
                      <a:pt x="6" y="27"/>
                      <a:pt x="6" y="27"/>
                      <a:pt x="6" y="27"/>
                    </a:cubicBezTo>
                    <a:cubicBezTo>
                      <a:pt x="6" y="28"/>
                      <a:pt x="6" y="28"/>
                      <a:pt x="6" y="28"/>
                    </a:cubicBezTo>
                    <a:cubicBezTo>
                      <a:pt x="6" y="28"/>
                      <a:pt x="6" y="28"/>
                      <a:pt x="6" y="28"/>
                    </a:cubicBezTo>
                    <a:cubicBezTo>
                      <a:pt x="6" y="28"/>
                      <a:pt x="6" y="28"/>
                      <a:pt x="6" y="28"/>
                    </a:cubicBezTo>
                    <a:cubicBezTo>
                      <a:pt x="6" y="29"/>
                      <a:pt x="6" y="29"/>
                      <a:pt x="6" y="29"/>
                    </a:cubicBezTo>
                    <a:cubicBezTo>
                      <a:pt x="6" y="29"/>
                      <a:pt x="6" y="29"/>
                      <a:pt x="6" y="29"/>
                    </a:cubicBezTo>
                    <a:cubicBezTo>
                      <a:pt x="6" y="30"/>
                      <a:pt x="6" y="30"/>
                      <a:pt x="6" y="30"/>
                    </a:cubicBezTo>
                    <a:cubicBezTo>
                      <a:pt x="6" y="30"/>
                      <a:pt x="6" y="30"/>
                      <a:pt x="6" y="30"/>
                    </a:cubicBezTo>
                    <a:cubicBezTo>
                      <a:pt x="7" y="30"/>
                      <a:pt x="7" y="30"/>
                      <a:pt x="7" y="30"/>
                    </a:cubicBezTo>
                    <a:cubicBezTo>
                      <a:pt x="8" y="31"/>
                      <a:pt x="10" y="31"/>
                      <a:pt x="12" y="31"/>
                    </a:cubicBezTo>
                    <a:cubicBezTo>
                      <a:pt x="14" y="31"/>
                      <a:pt x="15" y="31"/>
                      <a:pt x="16" y="31"/>
                    </a:cubicBezTo>
                    <a:cubicBezTo>
                      <a:pt x="17" y="31"/>
                      <a:pt x="17" y="31"/>
                      <a:pt x="17" y="31"/>
                    </a:cubicBezTo>
                    <a:cubicBezTo>
                      <a:pt x="17" y="31"/>
                      <a:pt x="17" y="31"/>
                      <a:pt x="17" y="31"/>
                    </a:cubicBezTo>
                    <a:cubicBezTo>
                      <a:pt x="18" y="31"/>
                      <a:pt x="18" y="31"/>
                      <a:pt x="18" y="31"/>
                    </a:cubicBezTo>
                    <a:cubicBezTo>
                      <a:pt x="19" y="31"/>
                      <a:pt x="19" y="31"/>
                      <a:pt x="19" y="31"/>
                    </a:cubicBezTo>
                    <a:cubicBezTo>
                      <a:pt x="20" y="31"/>
                      <a:pt x="21" y="31"/>
                      <a:pt x="22" y="31"/>
                    </a:cubicBezTo>
                    <a:cubicBezTo>
                      <a:pt x="22" y="31"/>
                      <a:pt x="22" y="31"/>
                      <a:pt x="22" y="31"/>
                    </a:cubicBezTo>
                    <a:cubicBezTo>
                      <a:pt x="22" y="31"/>
                      <a:pt x="22" y="31"/>
                      <a:pt x="22" y="31"/>
                    </a:cubicBezTo>
                    <a:cubicBezTo>
                      <a:pt x="23" y="31"/>
                      <a:pt x="24" y="31"/>
                      <a:pt x="27" y="32"/>
                    </a:cubicBezTo>
                    <a:cubicBezTo>
                      <a:pt x="27" y="24"/>
                      <a:pt x="27" y="24"/>
                      <a:pt x="27" y="24"/>
                    </a:cubicBezTo>
                    <a:cubicBezTo>
                      <a:pt x="25" y="23"/>
                      <a:pt x="25" y="23"/>
                      <a:pt x="25" y="23"/>
                    </a:cubicBezTo>
                    <a:cubicBezTo>
                      <a:pt x="22" y="23"/>
                      <a:pt x="22" y="23"/>
                      <a:pt x="22" y="23"/>
                    </a:cubicBezTo>
                    <a:cubicBezTo>
                      <a:pt x="14" y="22"/>
                      <a:pt x="14" y="22"/>
                      <a:pt x="14" y="22"/>
                    </a:cubicBezTo>
                    <a:cubicBezTo>
                      <a:pt x="11" y="22"/>
                      <a:pt x="11" y="22"/>
                      <a:pt x="11" y="22"/>
                    </a:cubicBezTo>
                    <a:moveTo>
                      <a:pt x="27" y="15"/>
                    </a:moveTo>
                    <a:cubicBezTo>
                      <a:pt x="26" y="15"/>
                      <a:pt x="26" y="15"/>
                      <a:pt x="26" y="15"/>
                    </a:cubicBezTo>
                    <a:cubicBezTo>
                      <a:pt x="25" y="16"/>
                      <a:pt x="25" y="16"/>
                      <a:pt x="25" y="16"/>
                    </a:cubicBezTo>
                    <a:cubicBezTo>
                      <a:pt x="24" y="16"/>
                      <a:pt x="24" y="16"/>
                      <a:pt x="24" y="16"/>
                    </a:cubicBezTo>
                    <a:cubicBezTo>
                      <a:pt x="23" y="16"/>
                      <a:pt x="23" y="16"/>
                      <a:pt x="23" y="16"/>
                    </a:cubicBezTo>
                    <a:cubicBezTo>
                      <a:pt x="23" y="16"/>
                      <a:pt x="23" y="16"/>
                      <a:pt x="23" y="16"/>
                    </a:cubicBezTo>
                    <a:cubicBezTo>
                      <a:pt x="23" y="17"/>
                      <a:pt x="23" y="17"/>
                      <a:pt x="23" y="17"/>
                    </a:cubicBezTo>
                    <a:cubicBezTo>
                      <a:pt x="23" y="17"/>
                      <a:pt x="23" y="17"/>
                      <a:pt x="23" y="17"/>
                    </a:cubicBezTo>
                    <a:cubicBezTo>
                      <a:pt x="24" y="17"/>
                      <a:pt x="24" y="17"/>
                      <a:pt x="24" y="17"/>
                    </a:cubicBezTo>
                    <a:cubicBezTo>
                      <a:pt x="24" y="17"/>
                      <a:pt x="24" y="17"/>
                      <a:pt x="24" y="17"/>
                    </a:cubicBezTo>
                    <a:cubicBezTo>
                      <a:pt x="25" y="18"/>
                      <a:pt x="25" y="18"/>
                      <a:pt x="25" y="18"/>
                    </a:cubicBezTo>
                    <a:cubicBezTo>
                      <a:pt x="25" y="18"/>
                      <a:pt x="25" y="18"/>
                      <a:pt x="25" y="18"/>
                    </a:cubicBezTo>
                    <a:cubicBezTo>
                      <a:pt x="25" y="18"/>
                      <a:pt x="25" y="18"/>
                      <a:pt x="25" y="18"/>
                    </a:cubicBezTo>
                    <a:cubicBezTo>
                      <a:pt x="26" y="18"/>
                      <a:pt x="26" y="18"/>
                      <a:pt x="26" y="18"/>
                    </a:cubicBezTo>
                    <a:cubicBezTo>
                      <a:pt x="27" y="19"/>
                      <a:pt x="27" y="19"/>
                      <a:pt x="27" y="19"/>
                    </a:cubicBezTo>
                    <a:cubicBezTo>
                      <a:pt x="27" y="15"/>
                      <a:pt x="27" y="15"/>
                      <a:pt x="27" y="15"/>
                    </a:cubicBezTo>
                    <a:moveTo>
                      <a:pt x="9" y="0"/>
                    </a:moveTo>
                    <a:cubicBezTo>
                      <a:pt x="9" y="0"/>
                      <a:pt x="9" y="0"/>
                      <a:pt x="9" y="0"/>
                    </a:cubicBezTo>
                    <a:cubicBezTo>
                      <a:pt x="9" y="1"/>
                      <a:pt x="9" y="1"/>
                      <a:pt x="9" y="1"/>
                    </a:cubicBezTo>
                    <a:cubicBezTo>
                      <a:pt x="10" y="1"/>
                      <a:pt x="10" y="1"/>
                      <a:pt x="10" y="1"/>
                    </a:cubicBezTo>
                    <a:cubicBezTo>
                      <a:pt x="10" y="1"/>
                      <a:pt x="10" y="1"/>
                      <a:pt x="10" y="1"/>
                    </a:cubicBezTo>
                    <a:cubicBezTo>
                      <a:pt x="10" y="1"/>
                      <a:pt x="10" y="1"/>
                      <a:pt x="10" y="1"/>
                    </a:cubicBezTo>
                    <a:cubicBezTo>
                      <a:pt x="11" y="2"/>
                      <a:pt x="11" y="2"/>
                      <a:pt x="11" y="2"/>
                    </a:cubicBezTo>
                    <a:cubicBezTo>
                      <a:pt x="10" y="2"/>
                      <a:pt x="10" y="2"/>
                      <a:pt x="10" y="2"/>
                    </a:cubicBezTo>
                    <a:cubicBezTo>
                      <a:pt x="9" y="3"/>
                      <a:pt x="9" y="3"/>
                      <a:pt x="9" y="3"/>
                    </a:cubicBezTo>
                    <a:cubicBezTo>
                      <a:pt x="6" y="4"/>
                      <a:pt x="6" y="4"/>
                      <a:pt x="6" y="4"/>
                    </a:cubicBezTo>
                    <a:cubicBezTo>
                      <a:pt x="5" y="5"/>
                      <a:pt x="5" y="5"/>
                      <a:pt x="5" y="5"/>
                    </a:cubicBezTo>
                    <a:cubicBezTo>
                      <a:pt x="4" y="5"/>
                      <a:pt x="4" y="5"/>
                      <a:pt x="4" y="5"/>
                    </a:cubicBezTo>
                    <a:cubicBezTo>
                      <a:pt x="3" y="6"/>
                      <a:pt x="3" y="6"/>
                      <a:pt x="3" y="6"/>
                    </a:cubicBezTo>
                    <a:cubicBezTo>
                      <a:pt x="3" y="6"/>
                      <a:pt x="3" y="6"/>
                      <a:pt x="3" y="6"/>
                    </a:cubicBezTo>
                    <a:cubicBezTo>
                      <a:pt x="3" y="6"/>
                      <a:pt x="3" y="6"/>
                      <a:pt x="3" y="6"/>
                    </a:cubicBezTo>
                    <a:cubicBezTo>
                      <a:pt x="3" y="7"/>
                      <a:pt x="3" y="7"/>
                      <a:pt x="3" y="7"/>
                    </a:cubicBezTo>
                    <a:cubicBezTo>
                      <a:pt x="3" y="7"/>
                      <a:pt x="3" y="7"/>
                      <a:pt x="3" y="7"/>
                    </a:cubicBezTo>
                    <a:cubicBezTo>
                      <a:pt x="3" y="8"/>
                      <a:pt x="3" y="8"/>
                      <a:pt x="3" y="8"/>
                    </a:cubicBezTo>
                    <a:cubicBezTo>
                      <a:pt x="3" y="8"/>
                      <a:pt x="3" y="8"/>
                      <a:pt x="3" y="8"/>
                    </a:cubicBezTo>
                    <a:cubicBezTo>
                      <a:pt x="3" y="8"/>
                      <a:pt x="3" y="8"/>
                      <a:pt x="3" y="8"/>
                    </a:cubicBezTo>
                    <a:cubicBezTo>
                      <a:pt x="2" y="8"/>
                      <a:pt x="2" y="8"/>
                      <a:pt x="2" y="8"/>
                    </a:cubicBezTo>
                    <a:cubicBezTo>
                      <a:pt x="1" y="9"/>
                      <a:pt x="1" y="9"/>
                      <a:pt x="1" y="9"/>
                    </a:cubicBezTo>
                    <a:cubicBezTo>
                      <a:pt x="1" y="9"/>
                      <a:pt x="1" y="9"/>
                      <a:pt x="1" y="9"/>
                    </a:cubicBezTo>
                    <a:cubicBezTo>
                      <a:pt x="1" y="9"/>
                      <a:pt x="1" y="9"/>
                      <a:pt x="1" y="9"/>
                    </a:cubicBezTo>
                    <a:cubicBezTo>
                      <a:pt x="0" y="9"/>
                      <a:pt x="0" y="9"/>
                      <a:pt x="0" y="9"/>
                    </a:cubicBezTo>
                    <a:cubicBezTo>
                      <a:pt x="0" y="10"/>
                      <a:pt x="0" y="10"/>
                      <a:pt x="0" y="10"/>
                    </a:cubicBezTo>
                    <a:cubicBezTo>
                      <a:pt x="1" y="10"/>
                      <a:pt x="1" y="10"/>
                      <a:pt x="1" y="10"/>
                    </a:cubicBezTo>
                    <a:cubicBezTo>
                      <a:pt x="1" y="10"/>
                      <a:pt x="1" y="10"/>
                      <a:pt x="1" y="10"/>
                    </a:cubicBezTo>
                    <a:cubicBezTo>
                      <a:pt x="2" y="10"/>
                      <a:pt x="2" y="10"/>
                      <a:pt x="2" y="10"/>
                    </a:cubicBezTo>
                    <a:cubicBezTo>
                      <a:pt x="2" y="10"/>
                      <a:pt x="2" y="10"/>
                      <a:pt x="2" y="10"/>
                    </a:cubicBezTo>
                    <a:cubicBezTo>
                      <a:pt x="3" y="10"/>
                      <a:pt x="3" y="10"/>
                      <a:pt x="4" y="10"/>
                    </a:cubicBezTo>
                    <a:cubicBezTo>
                      <a:pt x="4" y="11"/>
                      <a:pt x="5" y="11"/>
                      <a:pt x="5" y="11"/>
                    </a:cubicBezTo>
                    <a:cubicBezTo>
                      <a:pt x="6" y="11"/>
                      <a:pt x="6" y="11"/>
                      <a:pt x="7" y="11"/>
                    </a:cubicBezTo>
                    <a:cubicBezTo>
                      <a:pt x="7" y="11"/>
                      <a:pt x="7" y="11"/>
                      <a:pt x="7" y="11"/>
                    </a:cubicBezTo>
                    <a:cubicBezTo>
                      <a:pt x="8" y="10"/>
                      <a:pt x="8" y="10"/>
                      <a:pt x="8" y="10"/>
                    </a:cubicBezTo>
                    <a:cubicBezTo>
                      <a:pt x="9" y="11"/>
                      <a:pt x="9" y="11"/>
                      <a:pt x="10" y="11"/>
                    </a:cubicBezTo>
                    <a:cubicBezTo>
                      <a:pt x="10" y="11"/>
                      <a:pt x="10" y="11"/>
                      <a:pt x="10" y="11"/>
                    </a:cubicBezTo>
                    <a:cubicBezTo>
                      <a:pt x="10" y="11"/>
                      <a:pt x="10" y="11"/>
                      <a:pt x="10" y="11"/>
                    </a:cubicBezTo>
                    <a:cubicBezTo>
                      <a:pt x="11" y="11"/>
                      <a:pt x="12" y="11"/>
                      <a:pt x="13" y="11"/>
                    </a:cubicBezTo>
                    <a:cubicBezTo>
                      <a:pt x="13" y="11"/>
                      <a:pt x="13" y="11"/>
                      <a:pt x="13" y="11"/>
                    </a:cubicBezTo>
                    <a:cubicBezTo>
                      <a:pt x="14" y="11"/>
                      <a:pt x="14" y="11"/>
                      <a:pt x="14" y="11"/>
                    </a:cubicBezTo>
                    <a:cubicBezTo>
                      <a:pt x="15" y="11"/>
                      <a:pt x="15" y="11"/>
                      <a:pt x="15" y="11"/>
                    </a:cubicBezTo>
                    <a:cubicBezTo>
                      <a:pt x="16" y="11"/>
                      <a:pt x="16" y="11"/>
                      <a:pt x="16" y="11"/>
                    </a:cubicBezTo>
                    <a:cubicBezTo>
                      <a:pt x="18" y="12"/>
                      <a:pt x="17" y="13"/>
                      <a:pt x="19" y="13"/>
                    </a:cubicBezTo>
                    <a:cubicBezTo>
                      <a:pt x="20" y="13"/>
                      <a:pt x="20" y="13"/>
                      <a:pt x="20" y="13"/>
                    </a:cubicBezTo>
                    <a:cubicBezTo>
                      <a:pt x="20" y="13"/>
                      <a:pt x="20" y="13"/>
                      <a:pt x="20" y="13"/>
                    </a:cubicBezTo>
                    <a:cubicBezTo>
                      <a:pt x="21" y="14"/>
                      <a:pt x="22" y="14"/>
                      <a:pt x="23" y="14"/>
                    </a:cubicBezTo>
                    <a:cubicBezTo>
                      <a:pt x="24" y="14"/>
                      <a:pt x="25" y="14"/>
                      <a:pt x="26" y="14"/>
                    </a:cubicBezTo>
                    <a:cubicBezTo>
                      <a:pt x="27" y="14"/>
                      <a:pt x="27" y="14"/>
                      <a:pt x="27" y="14"/>
                    </a:cubicBezTo>
                    <a:cubicBezTo>
                      <a:pt x="27" y="14"/>
                      <a:pt x="27" y="14"/>
                      <a:pt x="27" y="14"/>
                    </a:cubicBezTo>
                    <a:cubicBezTo>
                      <a:pt x="27" y="10"/>
                      <a:pt x="27" y="10"/>
                      <a:pt x="27" y="10"/>
                    </a:cubicBezTo>
                    <a:cubicBezTo>
                      <a:pt x="27" y="10"/>
                      <a:pt x="27" y="10"/>
                      <a:pt x="27" y="10"/>
                    </a:cubicBezTo>
                    <a:cubicBezTo>
                      <a:pt x="26" y="10"/>
                      <a:pt x="26" y="10"/>
                      <a:pt x="26" y="10"/>
                    </a:cubicBezTo>
                    <a:cubicBezTo>
                      <a:pt x="26" y="9"/>
                      <a:pt x="26" y="9"/>
                      <a:pt x="26" y="9"/>
                    </a:cubicBezTo>
                    <a:cubicBezTo>
                      <a:pt x="26" y="9"/>
                      <a:pt x="26" y="9"/>
                      <a:pt x="26" y="9"/>
                    </a:cubicBezTo>
                    <a:cubicBezTo>
                      <a:pt x="25" y="9"/>
                      <a:pt x="25" y="9"/>
                      <a:pt x="25" y="9"/>
                    </a:cubicBezTo>
                    <a:cubicBezTo>
                      <a:pt x="23" y="8"/>
                      <a:pt x="28" y="6"/>
                      <a:pt x="24" y="6"/>
                    </a:cubicBezTo>
                    <a:cubicBezTo>
                      <a:pt x="23" y="6"/>
                      <a:pt x="23" y="6"/>
                      <a:pt x="23" y="6"/>
                    </a:cubicBezTo>
                    <a:cubicBezTo>
                      <a:pt x="22" y="6"/>
                      <a:pt x="22" y="6"/>
                      <a:pt x="22" y="6"/>
                    </a:cubicBezTo>
                    <a:cubicBezTo>
                      <a:pt x="20" y="6"/>
                      <a:pt x="19" y="6"/>
                      <a:pt x="18" y="6"/>
                    </a:cubicBezTo>
                    <a:cubicBezTo>
                      <a:pt x="15" y="6"/>
                      <a:pt x="17" y="5"/>
                      <a:pt x="10" y="1"/>
                    </a:cubicBezTo>
                    <a:cubicBezTo>
                      <a:pt x="9" y="0"/>
                      <a:pt x="9"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375"/>
              <p:cNvSpPr>
                <a:spLocks noEditPoints="1"/>
              </p:cNvSpPr>
              <p:nvPr/>
            </p:nvSpPr>
            <p:spPr bwMode="auto">
              <a:xfrm>
                <a:off x="6839575" y="615415"/>
                <a:ext cx="5339732" cy="4326326"/>
              </a:xfrm>
              <a:custGeom>
                <a:gdLst>
                  <a:gd name="T0" fmla="*/ 235 w 1682"/>
                  <a:gd name="T1" fmla="*/ 574 h 1362"/>
                  <a:gd name="T2" fmla="*/ 211 w 1682"/>
                  <a:gd name="T3" fmla="*/ 553 h 1362"/>
                  <a:gd name="T4" fmla="*/ 88 w 1682"/>
                  <a:gd name="T5" fmla="*/ 495 h 1362"/>
                  <a:gd name="T6" fmla="*/ 8 w 1682"/>
                  <a:gd name="T7" fmla="*/ 761 h 1362"/>
                  <a:gd name="T8" fmla="*/ 39 w 1682"/>
                  <a:gd name="T9" fmla="*/ 831 h 1362"/>
                  <a:gd name="T10" fmla="*/ 1149 w 1682"/>
                  <a:gd name="T11" fmla="*/ 870 h 1362"/>
                  <a:gd name="T12" fmla="*/ 1245 w 1682"/>
                  <a:gd name="T13" fmla="*/ 904 h 1362"/>
                  <a:gd name="T14" fmla="*/ 943 w 1682"/>
                  <a:gd name="T15" fmla="*/ 250 h 1362"/>
                  <a:gd name="T16" fmla="*/ 748 w 1682"/>
                  <a:gd name="T17" fmla="*/ 284 h 1362"/>
                  <a:gd name="T18" fmla="*/ 569 w 1682"/>
                  <a:gd name="T19" fmla="*/ 359 h 1362"/>
                  <a:gd name="T20" fmla="*/ 1119 w 1682"/>
                  <a:gd name="T21" fmla="*/ 205 h 1362"/>
                  <a:gd name="T22" fmla="*/ 1116 w 1682"/>
                  <a:gd name="T23" fmla="*/ 150 h 1362"/>
                  <a:gd name="T24" fmla="*/ 142 w 1682"/>
                  <a:gd name="T25" fmla="*/ 946 h 1362"/>
                  <a:gd name="T26" fmla="*/ 229 w 1682"/>
                  <a:gd name="T27" fmla="*/ 1024 h 1362"/>
                  <a:gd name="T28" fmla="*/ 312 w 1682"/>
                  <a:gd name="T29" fmla="*/ 1168 h 1362"/>
                  <a:gd name="T30" fmla="*/ 357 w 1682"/>
                  <a:gd name="T31" fmla="*/ 1291 h 1362"/>
                  <a:gd name="T32" fmla="*/ 552 w 1682"/>
                  <a:gd name="T33" fmla="*/ 1130 h 1362"/>
                  <a:gd name="T34" fmla="*/ 1346 w 1682"/>
                  <a:gd name="T35" fmla="*/ 915 h 1362"/>
                  <a:gd name="T36" fmla="*/ 1562 w 1682"/>
                  <a:gd name="T37" fmla="*/ 1033 h 1362"/>
                  <a:gd name="T38" fmla="*/ 1675 w 1682"/>
                  <a:gd name="T39" fmla="*/ 1072 h 1362"/>
                  <a:gd name="T40" fmla="*/ 1039 w 1682"/>
                  <a:gd name="T41" fmla="*/ 895 h 1362"/>
                  <a:gd name="T42" fmla="*/ 259 w 1682"/>
                  <a:gd name="T43" fmla="*/ 457 h 1362"/>
                  <a:gd name="T44" fmla="*/ 367 w 1682"/>
                  <a:gd name="T45" fmla="*/ 457 h 1362"/>
                  <a:gd name="T46" fmla="*/ 56 w 1682"/>
                  <a:gd name="T47" fmla="*/ 240 h 1362"/>
                  <a:gd name="T48" fmla="*/ 194 w 1682"/>
                  <a:gd name="T49" fmla="*/ 428 h 1362"/>
                  <a:gd name="T50" fmla="*/ 213 w 1682"/>
                  <a:gd name="T51" fmla="*/ 374 h 1362"/>
                  <a:gd name="T52" fmla="*/ 134 w 1682"/>
                  <a:gd name="T53" fmla="*/ 233 h 1362"/>
                  <a:gd name="T54" fmla="*/ 1501 w 1682"/>
                  <a:gd name="T55" fmla="*/ 31 h 1362"/>
                  <a:gd name="T56" fmla="*/ 1510 w 1682"/>
                  <a:gd name="T57" fmla="*/ 63 h 1362"/>
                  <a:gd name="T58" fmla="*/ 1516 w 1682"/>
                  <a:gd name="T59" fmla="*/ 97 h 1362"/>
                  <a:gd name="T60" fmla="*/ 1378 w 1682"/>
                  <a:gd name="T61" fmla="*/ 106 h 1362"/>
                  <a:gd name="T62" fmla="*/ 1431 w 1682"/>
                  <a:gd name="T63" fmla="*/ 136 h 1362"/>
                  <a:gd name="T64" fmla="*/ 1457 w 1682"/>
                  <a:gd name="T65" fmla="*/ 157 h 1362"/>
                  <a:gd name="T66" fmla="*/ 1432 w 1682"/>
                  <a:gd name="T67" fmla="*/ 152 h 1362"/>
                  <a:gd name="T68" fmla="*/ 1386 w 1682"/>
                  <a:gd name="T69" fmla="*/ 142 h 1362"/>
                  <a:gd name="T70" fmla="*/ 1364 w 1682"/>
                  <a:gd name="T71" fmla="*/ 120 h 1362"/>
                  <a:gd name="T72" fmla="*/ 1365 w 1682"/>
                  <a:gd name="T73" fmla="*/ 96 h 1362"/>
                  <a:gd name="T74" fmla="*/ 1366 w 1682"/>
                  <a:gd name="T75" fmla="*/ 74 h 1362"/>
                  <a:gd name="T76" fmla="*/ 1313 w 1682"/>
                  <a:gd name="T77" fmla="*/ 108 h 1362"/>
                  <a:gd name="T78" fmla="*/ 1315 w 1682"/>
                  <a:gd name="T79" fmla="*/ 195 h 1362"/>
                  <a:gd name="T80" fmla="*/ 1317 w 1682"/>
                  <a:gd name="T81" fmla="*/ 249 h 1362"/>
                  <a:gd name="T82" fmla="*/ 1399 w 1682"/>
                  <a:gd name="T83" fmla="*/ 248 h 1362"/>
                  <a:gd name="T84" fmla="*/ 1421 w 1682"/>
                  <a:gd name="T85" fmla="*/ 306 h 1362"/>
                  <a:gd name="T86" fmla="*/ 1445 w 1682"/>
                  <a:gd name="T87" fmla="*/ 321 h 1362"/>
                  <a:gd name="T88" fmla="*/ 1463 w 1682"/>
                  <a:gd name="T89" fmla="*/ 326 h 1362"/>
                  <a:gd name="T90" fmla="*/ 1414 w 1682"/>
                  <a:gd name="T91" fmla="*/ 277 h 1362"/>
                  <a:gd name="T92" fmla="*/ 1331 w 1682"/>
                  <a:gd name="T93" fmla="*/ 286 h 1362"/>
                  <a:gd name="T94" fmla="*/ 1316 w 1682"/>
                  <a:gd name="T95" fmla="*/ 354 h 1362"/>
                  <a:gd name="T96" fmla="*/ 1270 w 1682"/>
                  <a:gd name="T97" fmla="*/ 387 h 1362"/>
                  <a:gd name="T98" fmla="*/ 1204 w 1682"/>
                  <a:gd name="T99" fmla="*/ 359 h 1362"/>
                  <a:gd name="T100" fmla="*/ 1271 w 1682"/>
                  <a:gd name="T101" fmla="*/ 344 h 1362"/>
                  <a:gd name="T102" fmla="*/ 1298 w 1682"/>
                  <a:gd name="T103" fmla="*/ 303 h 1362"/>
                  <a:gd name="T104" fmla="*/ 1281 w 1682"/>
                  <a:gd name="T105" fmla="*/ 226 h 1362"/>
                  <a:gd name="T106" fmla="*/ 1285 w 1682"/>
                  <a:gd name="T107" fmla="*/ 176 h 1362"/>
                  <a:gd name="T108" fmla="*/ 1274 w 1682"/>
                  <a:gd name="T109" fmla="*/ 108 h 1362"/>
                  <a:gd name="T110" fmla="*/ 1260 w 1682"/>
                  <a:gd name="T111" fmla="*/ 57 h 1362"/>
                  <a:gd name="T112" fmla="*/ 1188 w 1682"/>
                  <a:gd name="T113" fmla="*/ 52 h 1362"/>
                  <a:gd name="T114" fmla="*/ 1174 w 1682"/>
                  <a:gd name="T115" fmla="*/ 82 h 1362"/>
                  <a:gd name="T116" fmla="*/ 1143 w 1682"/>
                  <a:gd name="T117" fmla="*/ 129 h 1362"/>
                  <a:gd name="T118" fmla="*/ 1125 w 1682"/>
                  <a:gd name="T119" fmla="*/ 194 h 1362"/>
                  <a:gd name="T120" fmla="*/ 1144 w 1682"/>
                  <a:gd name="T121" fmla="*/ 229 h 1362"/>
                  <a:gd name="T122" fmla="*/ 1163 w 1682"/>
                  <a:gd name="T123" fmla="*/ 255 h 1362"/>
                  <a:gd name="T124" fmla="*/ 1180 w 1682"/>
                  <a:gd name="T125" fmla="*/ 265 h 13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2" h="1362">
                    <a:moveTo>
                      <a:pt x="86" y="603"/>
                    </a:moveTo>
                    <a:cubicBezTo>
                      <a:pt x="86" y="603"/>
                      <a:pt x="87" y="603"/>
                      <a:pt x="87" y="602"/>
                    </a:cubicBezTo>
                    <a:cubicBezTo>
                      <a:pt x="89" y="602"/>
                      <a:pt x="93" y="594"/>
                      <a:pt x="94" y="593"/>
                    </a:cubicBezTo>
                    <a:cubicBezTo>
                      <a:pt x="94" y="592"/>
                      <a:pt x="94" y="592"/>
                      <a:pt x="95" y="592"/>
                    </a:cubicBezTo>
                    <a:cubicBezTo>
                      <a:pt x="96" y="592"/>
                      <a:pt x="98" y="594"/>
                      <a:pt x="99" y="595"/>
                    </a:cubicBezTo>
                    <a:cubicBezTo>
                      <a:pt x="109" y="601"/>
                      <a:pt x="119" y="607"/>
                      <a:pt x="128" y="613"/>
                    </a:cubicBezTo>
                    <a:cubicBezTo>
                      <a:pt x="135" y="617"/>
                      <a:pt x="138" y="620"/>
                      <a:pt x="143" y="626"/>
                    </a:cubicBezTo>
                    <a:cubicBezTo>
                      <a:pt x="146" y="630"/>
                      <a:pt x="149" y="634"/>
                      <a:pt x="152" y="638"/>
                    </a:cubicBezTo>
                    <a:cubicBezTo>
                      <a:pt x="154" y="640"/>
                      <a:pt x="151" y="646"/>
                      <a:pt x="150" y="648"/>
                    </a:cubicBezTo>
                    <a:cubicBezTo>
                      <a:pt x="149" y="647"/>
                      <a:pt x="147" y="646"/>
                      <a:pt x="147" y="646"/>
                    </a:cubicBezTo>
                    <a:cubicBezTo>
                      <a:pt x="146" y="646"/>
                      <a:pt x="146" y="647"/>
                      <a:pt x="146" y="649"/>
                    </a:cubicBezTo>
                    <a:cubicBezTo>
                      <a:pt x="147" y="651"/>
                      <a:pt x="146" y="651"/>
                      <a:pt x="146" y="653"/>
                    </a:cubicBezTo>
                    <a:cubicBezTo>
                      <a:pt x="146" y="654"/>
                      <a:pt x="145" y="655"/>
                      <a:pt x="145" y="656"/>
                    </a:cubicBezTo>
                    <a:cubicBezTo>
                      <a:pt x="145" y="656"/>
                      <a:pt x="146" y="657"/>
                      <a:pt x="145" y="658"/>
                    </a:cubicBezTo>
                    <a:cubicBezTo>
                      <a:pt x="145" y="660"/>
                      <a:pt x="144" y="661"/>
                      <a:pt x="142" y="661"/>
                    </a:cubicBezTo>
                    <a:cubicBezTo>
                      <a:pt x="142" y="661"/>
                      <a:pt x="141" y="661"/>
                      <a:pt x="141" y="661"/>
                    </a:cubicBezTo>
                    <a:cubicBezTo>
                      <a:pt x="136" y="660"/>
                      <a:pt x="131" y="659"/>
                      <a:pt x="126" y="659"/>
                    </a:cubicBezTo>
                    <a:cubicBezTo>
                      <a:pt x="125" y="658"/>
                      <a:pt x="122" y="658"/>
                      <a:pt x="121" y="658"/>
                    </a:cubicBezTo>
                    <a:cubicBezTo>
                      <a:pt x="121" y="658"/>
                      <a:pt x="121" y="658"/>
                      <a:pt x="121" y="658"/>
                    </a:cubicBezTo>
                    <a:cubicBezTo>
                      <a:pt x="118" y="659"/>
                      <a:pt x="116" y="666"/>
                      <a:pt x="115" y="669"/>
                    </a:cubicBezTo>
                    <a:cubicBezTo>
                      <a:pt x="116" y="669"/>
                      <a:pt x="116" y="669"/>
                      <a:pt x="116" y="669"/>
                    </a:cubicBezTo>
                    <a:cubicBezTo>
                      <a:pt x="115" y="669"/>
                      <a:pt x="114" y="672"/>
                      <a:pt x="113" y="672"/>
                    </a:cubicBezTo>
                    <a:cubicBezTo>
                      <a:pt x="112" y="673"/>
                      <a:pt x="111" y="673"/>
                      <a:pt x="110" y="673"/>
                    </a:cubicBezTo>
                    <a:cubicBezTo>
                      <a:pt x="107" y="673"/>
                      <a:pt x="104" y="671"/>
                      <a:pt x="101" y="671"/>
                    </a:cubicBezTo>
                    <a:cubicBezTo>
                      <a:pt x="102" y="670"/>
                      <a:pt x="102" y="669"/>
                      <a:pt x="103" y="669"/>
                    </a:cubicBezTo>
                    <a:cubicBezTo>
                      <a:pt x="99" y="661"/>
                      <a:pt x="95" y="653"/>
                      <a:pt x="91" y="645"/>
                    </a:cubicBezTo>
                    <a:cubicBezTo>
                      <a:pt x="89" y="640"/>
                      <a:pt x="87" y="635"/>
                      <a:pt x="84" y="630"/>
                    </a:cubicBezTo>
                    <a:cubicBezTo>
                      <a:pt x="81" y="626"/>
                      <a:pt x="67" y="620"/>
                      <a:pt x="67" y="617"/>
                    </a:cubicBezTo>
                    <a:cubicBezTo>
                      <a:pt x="68" y="615"/>
                      <a:pt x="68" y="614"/>
                      <a:pt x="69" y="614"/>
                    </a:cubicBezTo>
                    <a:cubicBezTo>
                      <a:pt x="69" y="614"/>
                      <a:pt x="69" y="614"/>
                      <a:pt x="70" y="615"/>
                    </a:cubicBezTo>
                    <a:cubicBezTo>
                      <a:pt x="70" y="615"/>
                      <a:pt x="71" y="616"/>
                      <a:pt x="72" y="616"/>
                    </a:cubicBezTo>
                    <a:cubicBezTo>
                      <a:pt x="72" y="616"/>
                      <a:pt x="72" y="616"/>
                      <a:pt x="72" y="616"/>
                    </a:cubicBezTo>
                    <a:cubicBezTo>
                      <a:pt x="74" y="615"/>
                      <a:pt x="77" y="608"/>
                      <a:pt x="77" y="607"/>
                    </a:cubicBezTo>
                    <a:cubicBezTo>
                      <a:pt x="78" y="606"/>
                      <a:pt x="77" y="604"/>
                      <a:pt x="77" y="604"/>
                    </a:cubicBezTo>
                    <a:cubicBezTo>
                      <a:pt x="77" y="604"/>
                      <a:pt x="77" y="604"/>
                      <a:pt x="77" y="604"/>
                    </a:cubicBezTo>
                    <a:cubicBezTo>
                      <a:pt x="78" y="603"/>
                      <a:pt x="81" y="603"/>
                      <a:pt x="84" y="603"/>
                    </a:cubicBezTo>
                    <a:cubicBezTo>
                      <a:pt x="84" y="603"/>
                      <a:pt x="85" y="603"/>
                      <a:pt x="85" y="603"/>
                    </a:cubicBezTo>
                    <a:cubicBezTo>
                      <a:pt x="85" y="603"/>
                      <a:pt x="85" y="603"/>
                      <a:pt x="86" y="603"/>
                    </a:cubicBezTo>
                    <a:moveTo>
                      <a:pt x="213" y="562"/>
                    </a:moveTo>
                    <a:cubicBezTo>
                      <a:pt x="213" y="561"/>
                      <a:pt x="212" y="560"/>
                      <a:pt x="211" y="558"/>
                    </a:cubicBezTo>
                    <a:cubicBezTo>
                      <a:pt x="211" y="558"/>
                      <a:pt x="211" y="558"/>
                      <a:pt x="211" y="558"/>
                    </a:cubicBezTo>
                    <a:cubicBezTo>
                      <a:pt x="212" y="559"/>
                      <a:pt x="213" y="561"/>
                      <a:pt x="213" y="562"/>
                    </a:cubicBezTo>
                    <a:moveTo>
                      <a:pt x="211" y="558"/>
                    </a:moveTo>
                    <a:cubicBezTo>
                      <a:pt x="210" y="557"/>
                      <a:pt x="209" y="557"/>
                      <a:pt x="208" y="556"/>
                    </a:cubicBezTo>
                    <a:cubicBezTo>
                      <a:pt x="206" y="554"/>
                      <a:pt x="205" y="553"/>
                      <a:pt x="203" y="551"/>
                    </a:cubicBezTo>
                    <a:cubicBezTo>
                      <a:pt x="201" y="549"/>
                      <a:pt x="201" y="547"/>
                      <a:pt x="199" y="544"/>
                    </a:cubicBezTo>
                    <a:cubicBezTo>
                      <a:pt x="199" y="544"/>
                      <a:pt x="196" y="544"/>
                      <a:pt x="198" y="542"/>
                    </a:cubicBezTo>
                    <a:cubicBezTo>
                      <a:pt x="198" y="542"/>
                      <a:pt x="198" y="542"/>
                      <a:pt x="198" y="542"/>
                    </a:cubicBezTo>
                    <a:cubicBezTo>
                      <a:pt x="200" y="542"/>
                      <a:pt x="203" y="544"/>
                      <a:pt x="204" y="545"/>
                    </a:cubicBezTo>
                    <a:cubicBezTo>
                      <a:pt x="214" y="549"/>
                      <a:pt x="223" y="554"/>
                      <a:pt x="233" y="559"/>
                    </a:cubicBezTo>
                    <a:cubicBezTo>
                      <a:pt x="236" y="561"/>
                      <a:pt x="236" y="571"/>
                      <a:pt x="235" y="574"/>
                    </a:cubicBezTo>
                    <a:cubicBezTo>
                      <a:pt x="234" y="576"/>
                      <a:pt x="230" y="578"/>
                      <a:pt x="232" y="581"/>
                    </a:cubicBezTo>
                    <a:cubicBezTo>
                      <a:pt x="239" y="589"/>
                      <a:pt x="245" y="597"/>
                      <a:pt x="252" y="606"/>
                    </a:cubicBezTo>
                    <a:cubicBezTo>
                      <a:pt x="255" y="610"/>
                      <a:pt x="251" y="610"/>
                      <a:pt x="252" y="615"/>
                    </a:cubicBezTo>
                    <a:cubicBezTo>
                      <a:pt x="252" y="616"/>
                      <a:pt x="253" y="617"/>
                      <a:pt x="254" y="618"/>
                    </a:cubicBezTo>
                    <a:cubicBezTo>
                      <a:pt x="249" y="622"/>
                      <a:pt x="243" y="625"/>
                      <a:pt x="238" y="629"/>
                    </a:cubicBezTo>
                    <a:cubicBezTo>
                      <a:pt x="240" y="630"/>
                      <a:pt x="240" y="630"/>
                      <a:pt x="238" y="630"/>
                    </a:cubicBezTo>
                    <a:cubicBezTo>
                      <a:pt x="238" y="630"/>
                      <a:pt x="238" y="630"/>
                      <a:pt x="237" y="630"/>
                    </a:cubicBezTo>
                    <a:cubicBezTo>
                      <a:pt x="235" y="630"/>
                      <a:pt x="228" y="629"/>
                      <a:pt x="228" y="628"/>
                    </a:cubicBezTo>
                    <a:cubicBezTo>
                      <a:pt x="228" y="626"/>
                      <a:pt x="227" y="626"/>
                      <a:pt x="227" y="625"/>
                    </a:cubicBezTo>
                    <a:cubicBezTo>
                      <a:pt x="227" y="625"/>
                      <a:pt x="227" y="625"/>
                      <a:pt x="227" y="625"/>
                    </a:cubicBezTo>
                    <a:cubicBezTo>
                      <a:pt x="228" y="625"/>
                      <a:pt x="229" y="625"/>
                      <a:pt x="230" y="623"/>
                    </a:cubicBezTo>
                    <a:cubicBezTo>
                      <a:pt x="232" y="621"/>
                      <a:pt x="232" y="619"/>
                      <a:pt x="229" y="617"/>
                    </a:cubicBezTo>
                    <a:cubicBezTo>
                      <a:pt x="225" y="613"/>
                      <a:pt x="221" y="610"/>
                      <a:pt x="216" y="606"/>
                    </a:cubicBezTo>
                    <a:cubicBezTo>
                      <a:pt x="213" y="603"/>
                      <a:pt x="209" y="603"/>
                      <a:pt x="206" y="601"/>
                    </a:cubicBezTo>
                    <a:cubicBezTo>
                      <a:pt x="201" y="598"/>
                      <a:pt x="199" y="593"/>
                      <a:pt x="195" y="590"/>
                    </a:cubicBezTo>
                    <a:cubicBezTo>
                      <a:pt x="195" y="590"/>
                      <a:pt x="196" y="590"/>
                      <a:pt x="197" y="590"/>
                    </a:cubicBezTo>
                    <a:cubicBezTo>
                      <a:pt x="198" y="590"/>
                      <a:pt x="199" y="591"/>
                      <a:pt x="200" y="592"/>
                    </a:cubicBezTo>
                    <a:cubicBezTo>
                      <a:pt x="201" y="588"/>
                      <a:pt x="199" y="585"/>
                      <a:pt x="199" y="581"/>
                    </a:cubicBezTo>
                    <a:cubicBezTo>
                      <a:pt x="198" y="579"/>
                      <a:pt x="195" y="579"/>
                      <a:pt x="194" y="578"/>
                    </a:cubicBezTo>
                    <a:cubicBezTo>
                      <a:pt x="191" y="575"/>
                      <a:pt x="193" y="573"/>
                      <a:pt x="192" y="570"/>
                    </a:cubicBezTo>
                    <a:cubicBezTo>
                      <a:pt x="192" y="570"/>
                      <a:pt x="187" y="564"/>
                      <a:pt x="187" y="564"/>
                    </a:cubicBezTo>
                    <a:cubicBezTo>
                      <a:pt x="187" y="564"/>
                      <a:pt x="186" y="564"/>
                      <a:pt x="186" y="564"/>
                    </a:cubicBezTo>
                    <a:cubicBezTo>
                      <a:pt x="186" y="564"/>
                      <a:pt x="185" y="564"/>
                      <a:pt x="185" y="564"/>
                    </a:cubicBezTo>
                    <a:cubicBezTo>
                      <a:pt x="185" y="565"/>
                      <a:pt x="185" y="565"/>
                      <a:pt x="184" y="565"/>
                    </a:cubicBezTo>
                    <a:cubicBezTo>
                      <a:pt x="184" y="565"/>
                      <a:pt x="184" y="565"/>
                      <a:pt x="184" y="565"/>
                    </a:cubicBezTo>
                    <a:cubicBezTo>
                      <a:pt x="183" y="564"/>
                      <a:pt x="183" y="562"/>
                      <a:pt x="182" y="561"/>
                    </a:cubicBezTo>
                    <a:cubicBezTo>
                      <a:pt x="183" y="561"/>
                      <a:pt x="183" y="560"/>
                      <a:pt x="183" y="560"/>
                    </a:cubicBezTo>
                    <a:cubicBezTo>
                      <a:pt x="186" y="562"/>
                      <a:pt x="189" y="566"/>
                      <a:pt x="192" y="568"/>
                    </a:cubicBezTo>
                    <a:cubicBezTo>
                      <a:pt x="193" y="569"/>
                      <a:pt x="195" y="570"/>
                      <a:pt x="195" y="570"/>
                    </a:cubicBezTo>
                    <a:cubicBezTo>
                      <a:pt x="195" y="572"/>
                      <a:pt x="193" y="571"/>
                      <a:pt x="193" y="572"/>
                    </a:cubicBezTo>
                    <a:cubicBezTo>
                      <a:pt x="194" y="577"/>
                      <a:pt x="201" y="578"/>
                      <a:pt x="204" y="581"/>
                    </a:cubicBezTo>
                    <a:cubicBezTo>
                      <a:pt x="204" y="578"/>
                      <a:pt x="203" y="575"/>
                      <a:pt x="201" y="573"/>
                    </a:cubicBezTo>
                    <a:cubicBezTo>
                      <a:pt x="202" y="573"/>
                      <a:pt x="204" y="574"/>
                      <a:pt x="205" y="575"/>
                    </a:cubicBezTo>
                    <a:cubicBezTo>
                      <a:pt x="204" y="572"/>
                      <a:pt x="201" y="565"/>
                      <a:pt x="198" y="563"/>
                    </a:cubicBezTo>
                    <a:cubicBezTo>
                      <a:pt x="201" y="565"/>
                      <a:pt x="203" y="569"/>
                      <a:pt x="207" y="570"/>
                    </a:cubicBezTo>
                    <a:cubicBezTo>
                      <a:pt x="205" y="565"/>
                      <a:pt x="199" y="562"/>
                      <a:pt x="198" y="557"/>
                    </a:cubicBezTo>
                    <a:cubicBezTo>
                      <a:pt x="203" y="559"/>
                      <a:pt x="207" y="564"/>
                      <a:pt x="208" y="569"/>
                    </a:cubicBezTo>
                    <a:cubicBezTo>
                      <a:pt x="209" y="571"/>
                      <a:pt x="209" y="573"/>
                      <a:pt x="211" y="576"/>
                    </a:cubicBezTo>
                    <a:cubicBezTo>
                      <a:pt x="212" y="577"/>
                      <a:pt x="215" y="581"/>
                      <a:pt x="216" y="581"/>
                    </a:cubicBezTo>
                    <a:cubicBezTo>
                      <a:pt x="217" y="581"/>
                      <a:pt x="217" y="581"/>
                      <a:pt x="217" y="580"/>
                    </a:cubicBezTo>
                    <a:cubicBezTo>
                      <a:pt x="220" y="578"/>
                      <a:pt x="213" y="574"/>
                      <a:pt x="214" y="571"/>
                    </a:cubicBezTo>
                    <a:cubicBezTo>
                      <a:pt x="216" y="572"/>
                      <a:pt x="217" y="574"/>
                      <a:pt x="219" y="574"/>
                    </a:cubicBezTo>
                    <a:cubicBezTo>
                      <a:pt x="221" y="574"/>
                      <a:pt x="222" y="575"/>
                      <a:pt x="223" y="577"/>
                    </a:cubicBezTo>
                    <a:cubicBezTo>
                      <a:pt x="225" y="572"/>
                      <a:pt x="228" y="566"/>
                      <a:pt x="225" y="561"/>
                    </a:cubicBezTo>
                    <a:cubicBezTo>
                      <a:pt x="225" y="560"/>
                      <a:pt x="224" y="559"/>
                      <a:pt x="223" y="559"/>
                    </a:cubicBezTo>
                    <a:cubicBezTo>
                      <a:pt x="223" y="558"/>
                      <a:pt x="223" y="557"/>
                      <a:pt x="222" y="557"/>
                    </a:cubicBezTo>
                    <a:cubicBezTo>
                      <a:pt x="222" y="557"/>
                      <a:pt x="222" y="557"/>
                      <a:pt x="222" y="557"/>
                    </a:cubicBezTo>
                    <a:cubicBezTo>
                      <a:pt x="221" y="557"/>
                      <a:pt x="220" y="558"/>
                      <a:pt x="219" y="558"/>
                    </a:cubicBezTo>
                    <a:cubicBezTo>
                      <a:pt x="219" y="558"/>
                      <a:pt x="219" y="558"/>
                      <a:pt x="219" y="558"/>
                    </a:cubicBezTo>
                    <a:cubicBezTo>
                      <a:pt x="217" y="558"/>
                      <a:pt x="216" y="557"/>
                      <a:pt x="215" y="556"/>
                    </a:cubicBezTo>
                    <a:cubicBezTo>
                      <a:pt x="214" y="554"/>
                      <a:pt x="213" y="553"/>
                      <a:pt x="211" y="553"/>
                    </a:cubicBezTo>
                    <a:cubicBezTo>
                      <a:pt x="211" y="553"/>
                      <a:pt x="211" y="553"/>
                      <a:pt x="211" y="553"/>
                    </a:cubicBezTo>
                    <a:cubicBezTo>
                      <a:pt x="209" y="553"/>
                      <a:pt x="210" y="556"/>
                      <a:pt x="211" y="558"/>
                    </a:cubicBezTo>
                    <a:moveTo>
                      <a:pt x="560" y="457"/>
                    </a:moveTo>
                    <a:cubicBezTo>
                      <a:pt x="367" y="457"/>
                      <a:pt x="367" y="457"/>
                      <a:pt x="367" y="457"/>
                    </a:cubicBezTo>
                    <a:cubicBezTo>
                      <a:pt x="367" y="457"/>
                      <a:pt x="368" y="457"/>
                      <a:pt x="368" y="457"/>
                    </a:cubicBezTo>
                    <a:cubicBezTo>
                      <a:pt x="368" y="458"/>
                      <a:pt x="371" y="468"/>
                      <a:pt x="370" y="468"/>
                    </a:cubicBezTo>
                    <a:cubicBezTo>
                      <a:pt x="370" y="468"/>
                      <a:pt x="370" y="468"/>
                      <a:pt x="370" y="468"/>
                    </a:cubicBezTo>
                    <a:cubicBezTo>
                      <a:pt x="367" y="467"/>
                      <a:pt x="365" y="467"/>
                      <a:pt x="362" y="467"/>
                    </a:cubicBezTo>
                    <a:cubicBezTo>
                      <a:pt x="343" y="464"/>
                      <a:pt x="324" y="462"/>
                      <a:pt x="305" y="459"/>
                    </a:cubicBezTo>
                    <a:cubicBezTo>
                      <a:pt x="305" y="459"/>
                      <a:pt x="305" y="459"/>
                      <a:pt x="304" y="459"/>
                    </a:cubicBezTo>
                    <a:cubicBezTo>
                      <a:pt x="303" y="459"/>
                      <a:pt x="304" y="461"/>
                      <a:pt x="302" y="462"/>
                    </a:cubicBezTo>
                    <a:cubicBezTo>
                      <a:pt x="302" y="462"/>
                      <a:pt x="301" y="462"/>
                      <a:pt x="301" y="462"/>
                    </a:cubicBezTo>
                    <a:cubicBezTo>
                      <a:pt x="299" y="462"/>
                      <a:pt x="298" y="461"/>
                      <a:pt x="299" y="458"/>
                    </a:cubicBezTo>
                    <a:cubicBezTo>
                      <a:pt x="300" y="458"/>
                      <a:pt x="300" y="457"/>
                      <a:pt x="301" y="457"/>
                    </a:cubicBezTo>
                    <a:cubicBezTo>
                      <a:pt x="259" y="457"/>
                      <a:pt x="259" y="457"/>
                      <a:pt x="259" y="457"/>
                    </a:cubicBezTo>
                    <a:cubicBezTo>
                      <a:pt x="263" y="462"/>
                      <a:pt x="268" y="467"/>
                      <a:pt x="272" y="471"/>
                    </a:cubicBezTo>
                    <a:cubicBezTo>
                      <a:pt x="274" y="473"/>
                      <a:pt x="276" y="476"/>
                      <a:pt x="280" y="476"/>
                    </a:cubicBezTo>
                    <a:cubicBezTo>
                      <a:pt x="280" y="476"/>
                      <a:pt x="280" y="476"/>
                      <a:pt x="280" y="476"/>
                    </a:cubicBezTo>
                    <a:cubicBezTo>
                      <a:pt x="281" y="476"/>
                      <a:pt x="282" y="475"/>
                      <a:pt x="284" y="475"/>
                    </a:cubicBezTo>
                    <a:cubicBezTo>
                      <a:pt x="284" y="475"/>
                      <a:pt x="284" y="475"/>
                      <a:pt x="284" y="475"/>
                    </a:cubicBezTo>
                    <a:cubicBezTo>
                      <a:pt x="285" y="475"/>
                      <a:pt x="285" y="475"/>
                      <a:pt x="286" y="475"/>
                    </a:cubicBezTo>
                    <a:cubicBezTo>
                      <a:pt x="286" y="475"/>
                      <a:pt x="287" y="475"/>
                      <a:pt x="287" y="475"/>
                    </a:cubicBezTo>
                    <a:cubicBezTo>
                      <a:pt x="288" y="475"/>
                      <a:pt x="288" y="475"/>
                      <a:pt x="288" y="475"/>
                    </a:cubicBezTo>
                    <a:cubicBezTo>
                      <a:pt x="290" y="474"/>
                      <a:pt x="289" y="472"/>
                      <a:pt x="291" y="472"/>
                    </a:cubicBezTo>
                    <a:cubicBezTo>
                      <a:pt x="291" y="472"/>
                      <a:pt x="291" y="472"/>
                      <a:pt x="291" y="472"/>
                    </a:cubicBezTo>
                    <a:cubicBezTo>
                      <a:pt x="293" y="472"/>
                      <a:pt x="293" y="474"/>
                      <a:pt x="294" y="475"/>
                    </a:cubicBezTo>
                    <a:cubicBezTo>
                      <a:pt x="295" y="477"/>
                      <a:pt x="296" y="476"/>
                      <a:pt x="298" y="478"/>
                    </a:cubicBezTo>
                    <a:cubicBezTo>
                      <a:pt x="299" y="480"/>
                      <a:pt x="298" y="481"/>
                      <a:pt x="298" y="484"/>
                    </a:cubicBezTo>
                    <a:cubicBezTo>
                      <a:pt x="299" y="486"/>
                      <a:pt x="301" y="488"/>
                      <a:pt x="300" y="491"/>
                    </a:cubicBezTo>
                    <a:cubicBezTo>
                      <a:pt x="299" y="493"/>
                      <a:pt x="295" y="496"/>
                      <a:pt x="293" y="496"/>
                    </a:cubicBezTo>
                    <a:cubicBezTo>
                      <a:pt x="291" y="497"/>
                      <a:pt x="290" y="497"/>
                      <a:pt x="288" y="497"/>
                    </a:cubicBezTo>
                    <a:cubicBezTo>
                      <a:pt x="286" y="497"/>
                      <a:pt x="287" y="498"/>
                      <a:pt x="286" y="499"/>
                    </a:cubicBezTo>
                    <a:cubicBezTo>
                      <a:pt x="285" y="500"/>
                      <a:pt x="284" y="501"/>
                      <a:pt x="282" y="501"/>
                    </a:cubicBezTo>
                    <a:cubicBezTo>
                      <a:pt x="281" y="501"/>
                      <a:pt x="281" y="501"/>
                      <a:pt x="280" y="501"/>
                    </a:cubicBezTo>
                    <a:cubicBezTo>
                      <a:pt x="274" y="499"/>
                      <a:pt x="269" y="498"/>
                      <a:pt x="264" y="496"/>
                    </a:cubicBezTo>
                    <a:cubicBezTo>
                      <a:pt x="257" y="494"/>
                      <a:pt x="255" y="493"/>
                      <a:pt x="250" y="487"/>
                    </a:cubicBezTo>
                    <a:cubicBezTo>
                      <a:pt x="248" y="485"/>
                      <a:pt x="246" y="483"/>
                      <a:pt x="244" y="481"/>
                    </a:cubicBezTo>
                    <a:cubicBezTo>
                      <a:pt x="235" y="474"/>
                      <a:pt x="223" y="477"/>
                      <a:pt x="213" y="472"/>
                    </a:cubicBezTo>
                    <a:cubicBezTo>
                      <a:pt x="212" y="472"/>
                      <a:pt x="208" y="469"/>
                      <a:pt x="207" y="468"/>
                    </a:cubicBezTo>
                    <a:cubicBezTo>
                      <a:pt x="206" y="466"/>
                      <a:pt x="207" y="466"/>
                      <a:pt x="207" y="464"/>
                    </a:cubicBezTo>
                    <a:cubicBezTo>
                      <a:pt x="208" y="462"/>
                      <a:pt x="207" y="460"/>
                      <a:pt x="209" y="459"/>
                    </a:cubicBezTo>
                    <a:cubicBezTo>
                      <a:pt x="210" y="458"/>
                      <a:pt x="212" y="458"/>
                      <a:pt x="213" y="457"/>
                    </a:cubicBezTo>
                    <a:cubicBezTo>
                      <a:pt x="77" y="457"/>
                      <a:pt x="77" y="457"/>
                      <a:pt x="77" y="457"/>
                    </a:cubicBezTo>
                    <a:cubicBezTo>
                      <a:pt x="78" y="457"/>
                      <a:pt x="78" y="458"/>
                      <a:pt x="78" y="458"/>
                    </a:cubicBezTo>
                    <a:cubicBezTo>
                      <a:pt x="80" y="461"/>
                      <a:pt x="80" y="463"/>
                      <a:pt x="80" y="464"/>
                    </a:cubicBezTo>
                    <a:cubicBezTo>
                      <a:pt x="79" y="466"/>
                      <a:pt x="77" y="467"/>
                      <a:pt x="75" y="468"/>
                    </a:cubicBezTo>
                    <a:cubicBezTo>
                      <a:pt x="77" y="471"/>
                      <a:pt x="77" y="473"/>
                      <a:pt x="78" y="474"/>
                    </a:cubicBezTo>
                    <a:cubicBezTo>
                      <a:pt x="79" y="474"/>
                      <a:pt x="79" y="474"/>
                      <a:pt x="80" y="474"/>
                    </a:cubicBezTo>
                    <a:cubicBezTo>
                      <a:pt x="80" y="474"/>
                      <a:pt x="80" y="474"/>
                      <a:pt x="80" y="474"/>
                    </a:cubicBezTo>
                    <a:cubicBezTo>
                      <a:pt x="84" y="476"/>
                      <a:pt x="88" y="477"/>
                      <a:pt x="90" y="480"/>
                    </a:cubicBezTo>
                    <a:cubicBezTo>
                      <a:pt x="94" y="486"/>
                      <a:pt x="91" y="492"/>
                      <a:pt x="88" y="495"/>
                    </a:cubicBezTo>
                    <a:cubicBezTo>
                      <a:pt x="86" y="497"/>
                      <a:pt x="86" y="497"/>
                      <a:pt x="86" y="497"/>
                    </a:cubicBezTo>
                    <a:cubicBezTo>
                      <a:pt x="83" y="500"/>
                      <a:pt x="81" y="502"/>
                      <a:pt x="77" y="504"/>
                    </a:cubicBezTo>
                    <a:cubicBezTo>
                      <a:pt x="79" y="506"/>
                      <a:pt x="81" y="507"/>
                      <a:pt x="83" y="508"/>
                    </a:cubicBezTo>
                    <a:cubicBezTo>
                      <a:pt x="94" y="515"/>
                      <a:pt x="106" y="522"/>
                      <a:pt x="114" y="533"/>
                    </a:cubicBezTo>
                    <a:cubicBezTo>
                      <a:pt x="114" y="533"/>
                      <a:pt x="115" y="534"/>
                      <a:pt x="115" y="535"/>
                    </a:cubicBezTo>
                    <a:cubicBezTo>
                      <a:pt x="115" y="535"/>
                      <a:pt x="115" y="535"/>
                      <a:pt x="115" y="535"/>
                    </a:cubicBezTo>
                    <a:cubicBezTo>
                      <a:pt x="118" y="538"/>
                      <a:pt x="120" y="541"/>
                      <a:pt x="116" y="547"/>
                    </a:cubicBezTo>
                    <a:cubicBezTo>
                      <a:pt x="115" y="548"/>
                      <a:pt x="114" y="550"/>
                      <a:pt x="114" y="552"/>
                    </a:cubicBezTo>
                    <a:cubicBezTo>
                      <a:pt x="113" y="555"/>
                      <a:pt x="112" y="557"/>
                      <a:pt x="110" y="560"/>
                    </a:cubicBezTo>
                    <a:cubicBezTo>
                      <a:pt x="108" y="563"/>
                      <a:pt x="105" y="566"/>
                      <a:pt x="101" y="568"/>
                    </a:cubicBezTo>
                    <a:cubicBezTo>
                      <a:pt x="100" y="569"/>
                      <a:pt x="99" y="570"/>
                      <a:pt x="98" y="571"/>
                    </a:cubicBezTo>
                    <a:cubicBezTo>
                      <a:pt x="92" y="576"/>
                      <a:pt x="87" y="581"/>
                      <a:pt x="82" y="586"/>
                    </a:cubicBezTo>
                    <a:cubicBezTo>
                      <a:pt x="79" y="589"/>
                      <a:pt x="76" y="592"/>
                      <a:pt x="73" y="595"/>
                    </a:cubicBezTo>
                    <a:cubicBezTo>
                      <a:pt x="65" y="604"/>
                      <a:pt x="57" y="612"/>
                      <a:pt x="47" y="619"/>
                    </a:cubicBezTo>
                    <a:cubicBezTo>
                      <a:pt x="36" y="626"/>
                      <a:pt x="24" y="634"/>
                      <a:pt x="15" y="644"/>
                    </a:cubicBezTo>
                    <a:cubicBezTo>
                      <a:pt x="18" y="643"/>
                      <a:pt x="21" y="643"/>
                      <a:pt x="24" y="642"/>
                    </a:cubicBezTo>
                    <a:cubicBezTo>
                      <a:pt x="24" y="639"/>
                      <a:pt x="30" y="640"/>
                      <a:pt x="33" y="636"/>
                    </a:cubicBezTo>
                    <a:cubicBezTo>
                      <a:pt x="36" y="644"/>
                      <a:pt x="26" y="638"/>
                      <a:pt x="32" y="645"/>
                    </a:cubicBezTo>
                    <a:cubicBezTo>
                      <a:pt x="34" y="647"/>
                      <a:pt x="34" y="648"/>
                      <a:pt x="34" y="648"/>
                    </a:cubicBezTo>
                    <a:cubicBezTo>
                      <a:pt x="33" y="648"/>
                      <a:pt x="28" y="645"/>
                      <a:pt x="27" y="644"/>
                    </a:cubicBezTo>
                    <a:cubicBezTo>
                      <a:pt x="31" y="654"/>
                      <a:pt x="44" y="656"/>
                      <a:pt x="53" y="660"/>
                    </a:cubicBezTo>
                    <a:cubicBezTo>
                      <a:pt x="57" y="661"/>
                      <a:pt x="60" y="662"/>
                      <a:pt x="63" y="663"/>
                    </a:cubicBezTo>
                    <a:cubicBezTo>
                      <a:pt x="66" y="664"/>
                      <a:pt x="69" y="666"/>
                      <a:pt x="73" y="667"/>
                    </a:cubicBezTo>
                    <a:cubicBezTo>
                      <a:pt x="75" y="672"/>
                      <a:pt x="75" y="672"/>
                      <a:pt x="75" y="672"/>
                    </a:cubicBezTo>
                    <a:cubicBezTo>
                      <a:pt x="71" y="672"/>
                      <a:pt x="71" y="672"/>
                      <a:pt x="71" y="672"/>
                    </a:cubicBezTo>
                    <a:cubicBezTo>
                      <a:pt x="68" y="672"/>
                      <a:pt x="65" y="671"/>
                      <a:pt x="62" y="670"/>
                    </a:cubicBezTo>
                    <a:cubicBezTo>
                      <a:pt x="59" y="669"/>
                      <a:pt x="54" y="668"/>
                      <a:pt x="51" y="668"/>
                    </a:cubicBezTo>
                    <a:cubicBezTo>
                      <a:pt x="49" y="668"/>
                      <a:pt x="48" y="668"/>
                      <a:pt x="47" y="668"/>
                    </a:cubicBezTo>
                    <a:cubicBezTo>
                      <a:pt x="44" y="670"/>
                      <a:pt x="40" y="674"/>
                      <a:pt x="38" y="677"/>
                    </a:cubicBezTo>
                    <a:cubicBezTo>
                      <a:pt x="37" y="677"/>
                      <a:pt x="37" y="677"/>
                      <a:pt x="37" y="677"/>
                    </a:cubicBezTo>
                    <a:cubicBezTo>
                      <a:pt x="35" y="677"/>
                      <a:pt x="32" y="675"/>
                      <a:pt x="30" y="675"/>
                    </a:cubicBezTo>
                    <a:cubicBezTo>
                      <a:pt x="30" y="675"/>
                      <a:pt x="30" y="675"/>
                      <a:pt x="29" y="675"/>
                    </a:cubicBezTo>
                    <a:cubicBezTo>
                      <a:pt x="28" y="675"/>
                      <a:pt x="26" y="675"/>
                      <a:pt x="25" y="676"/>
                    </a:cubicBezTo>
                    <a:cubicBezTo>
                      <a:pt x="23" y="677"/>
                      <a:pt x="21" y="678"/>
                      <a:pt x="20" y="678"/>
                    </a:cubicBezTo>
                    <a:cubicBezTo>
                      <a:pt x="19" y="678"/>
                      <a:pt x="18" y="677"/>
                      <a:pt x="17" y="676"/>
                    </a:cubicBezTo>
                    <a:cubicBezTo>
                      <a:pt x="15" y="679"/>
                      <a:pt x="15" y="683"/>
                      <a:pt x="15" y="686"/>
                    </a:cubicBezTo>
                    <a:cubicBezTo>
                      <a:pt x="22" y="691"/>
                      <a:pt x="22" y="691"/>
                      <a:pt x="22" y="691"/>
                    </a:cubicBezTo>
                    <a:cubicBezTo>
                      <a:pt x="21" y="694"/>
                      <a:pt x="21" y="694"/>
                      <a:pt x="21" y="694"/>
                    </a:cubicBezTo>
                    <a:cubicBezTo>
                      <a:pt x="21" y="694"/>
                      <a:pt x="20" y="695"/>
                      <a:pt x="20" y="695"/>
                    </a:cubicBezTo>
                    <a:cubicBezTo>
                      <a:pt x="25" y="698"/>
                      <a:pt x="25" y="698"/>
                      <a:pt x="25" y="698"/>
                    </a:cubicBezTo>
                    <a:cubicBezTo>
                      <a:pt x="18" y="700"/>
                      <a:pt x="18" y="700"/>
                      <a:pt x="18" y="700"/>
                    </a:cubicBezTo>
                    <a:cubicBezTo>
                      <a:pt x="17" y="701"/>
                      <a:pt x="13" y="702"/>
                      <a:pt x="12" y="706"/>
                    </a:cubicBezTo>
                    <a:cubicBezTo>
                      <a:pt x="10" y="712"/>
                      <a:pt x="5" y="718"/>
                      <a:pt x="2" y="719"/>
                    </a:cubicBezTo>
                    <a:cubicBezTo>
                      <a:pt x="2" y="719"/>
                      <a:pt x="1" y="721"/>
                      <a:pt x="2" y="723"/>
                    </a:cubicBezTo>
                    <a:cubicBezTo>
                      <a:pt x="3" y="727"/>
                      <a:pt x="2" y="732"/>
                      <a:pt x="2" y="735"/>
                    </a:cubicBezTo>
                    <a:cubicBezTo>
                      <a:pt x="2" y="736"/>
                      <a:pt x="2" y="736"/>
                      <a:pt x="2" y="737"/>
                    </a:cubicBezTo>
                    <a:cubicBezTo>
                      <a:pt x="2" y="737"/>
                      <a:pt x="2" y="743"/>
                      <a:pt x="5" y="746"/>
                    </a:cubicBezTo>
                    <a:cubicBezTo>
                      <a:pt x="10" y="749"/>
                      <a:pt x="11" y="754"/>
                      <a:pt x="12" y="756"/>
                    </a:cubicBezTo>
                    <a:cubicBezTo>
                      <a:pt x="12" y="758"/>
                      <a:pt x="11" y="759"/>
                      <a:pt x="10" y="760"/>
                    </a:cubicBezTo>
                    <a:cubicBezTo>
                      <a:pt x="9" y="761"/>
                      <a:pt x="9" y="761"/>
                      <a:pt x="9" y="761"/>
                    </a:cubicBezTo>
                    <a:cubicBezTo>
                      <a:pt x="8" y="761"/>
                      <a:pt x="8" y="761"/>
                      <a:pt x="8" y="761"/>
                    </a:cubicBezTo>
                    <a:cubicBezTo>
                      <a:pt x="7" y="761"/>
                      <a:pt x="7" y="761"/>
                      <a:pt x="7" y="761"/>
                    </a:cubicBezTo>
                    <a:cubicBezTo>
                      <a:pt x="7" y="761"/>
                      <a:pt x="7" y="761"/>
                      <a:pt x="6" y="761"/>
                    </a:cubicBezTo>
                    <a:cubicBezTo>
                      <a:pt x="6" y="761"/>
                      <a:pt x="6" y="761"/>
                      <a:pt x="6" y="761"/>
                    </a:cubicBezTo>
                    <a:cubicBezTo>
                      <a:pt x="5" y="762"/>
                      <a:pt x="5" y="762"/>
                      <a:pt x="5" y="762"/>
                    </a:cubicBezTo>
                    <a:cubicBezTo>
                      <a:pt x="4" y="762"/>
                      <a:pt x="4" y="762"/>
                      <a:pt x="4" y="762"/>
                    </a:cubicBezTo>
                    <a:cubicBezTo>
                      <a:pt x="4" y="762"/>
                      <a:pt x="4" y="762"/>
                      <a:pt x="4" y="762"/>
                    </a:cubicBezTo>
                    <a:cubicBezTo>
                      <a:pt x="3" y="763"/>
                      <a:pt x="3" y="763"/>
                      <a:pt x="3" y="763"/>
                    </a:cubicBezTo>
                    <a:cubicBezTo>
                      <a:pt x="3" y="763"/>
                      <a:pt x="3" y="763"/>
                      <a:pt x="3" y="763"/>
                    </a:cubicBezTo>
                    <a:cubicBezTo>
                      <a:pt x="2" y="764"/>
                      <a:pt x="2" y="764"/>
                      <a:pt x="2" y="764"/>
                    </a:cubicBezTo>
                    <a:cubicBezTo>
                      <a:pt x="2" y="764"/>
                      <a:pt x="2" y="765"/>
                      <a:pt x="1" y="765"/>
                    </a:cubicBezTo>
                    <a:cubicBezTo>
                      <a:pt x="1" y="765"/>
                      <a:pt x="1" y="765"/>
                      <a:pt x="1" y="765"/>
                    </a:cubicBezTo>
                    <a:cubicBezTo>
                      <a:pt x="1" y="766"/>
                      <a:pt x="1" y="766"/>
                      <a:pt x="1" y="766"/>
                    </a:cubicBezTo>
                    <a:cubicBezTo>
                      <a:pt x="1" y="766"/>
                      <a:pt x="1" y="766"/>
                      <a:pt x="1" y="766"/>
                    </a:cubicBezTo>
                    <a:cubicBezTo>
                      <a:pt x="1" y="766"/>
                      <a:pt x="1" y="767"/>
                      <a:pt x="1" y="767"/>
                    </a:cubicBezTo>
                    <a:cubicBezTo>
                      <a:pt x="0" y="768"/>
                      <a:pt x="0" y="768"/>
                      <a:pt x="0" y="768"/>
                    </a:cubicBezTo>
                    <a:cubicBezTo>
                      <a:pt x="0" y="768"/>
                      <a:pt x="0" y="768"/>
                      <a:pt x="0" y="768"/>
                    </a:cubicBezTo>
                    <a:cubicBezTo>
                      <a:pt x="0" y="769"/>
                      <a:pt x="0" y="769"/>
                      <a:pt x="0" y="769"/>
                    </a:cubicBezTo>
                    <a:cubicBezTo>
                      <a:pt x="1" y="770"/>
                      <a:pt x="1" y="770"/>
                      <a:pt x="1" y="770"/>
                    </a:cubicBezTo>
                    <a:cubicBezTo>
                      <a:pt x="1" y="771"/>
                      <a:pt x="1" y="771"/>
                      <a:pt x="1" y="771"/>
                    </a:cubicBezTo>
                    <a:cubicBezTo>
                      <a:pt x="1" y="771"/>
                      <a:pt x="1" y="771"/>
                      <a:pt x="1" y="771"/>
                    </a:cubicBezTo>
                    <a:cubicBezTo>
                      <a:pt x="2" y="771"/>
                      <a:pt x="2" y="771"/>
                      <a:pt x="2" y="771"/>
                    </a:cubicBezTo>
                    <a:cubicBezTo>
                      <a:pt x="2" y="771"/>
                      <a:pt x="2" y="771"/>
                      <a:pt x="2" y="771"/>
                    </a:cubicBezTo>
                    <a:cubicBezTo>
                      <a:pt x="5" y="773"/>
                      <a:pt x="9" y="775"/>
                      <a:pt x="9" y="775"/>
                    </a:cubicBezTo>
                    <a:cubicBezTo>
                      <a:pt x="11" y="776"/>
                      <a:pt x="12" y="777"/>
                      <a:pt x="13" y="778"/>
                    </a:cubicBezTo>
                    <a:cubicBezTo>
                      <a:pt x="14" y="781"/>
                      <a:pt x="12" y="786"/>
                      <a:pt x="10" y="788"/>
                    </a:cubicBezTo>
                    <a:cubicBezTo>
                      <a:pt x="10" y="789"/>
                      <a:pt x="10" y="789"/>
                      <a:pt x="10" y="789"/>
                    </a:cubicBezTo>
                    <a:cubicBezTo>
                      <a:pt x="10" y="790"/>
                      <a:pt x="11" y="792"/>
                      <a:pt x="10" y="794"/>
                    </a:cubicBezTo>
                    <a:cubicBezTo>
                      <a:pt x="9" y="794"/>
                      <a:pt x="9" y="794"/>
                      <a:pt x="9" y="794"/>
                    </a:cubicBezTo>
                    <a:cubicBezTo>
                      <a:pt x="10" y="795"/>
                      <a:pt x="10" y="795"/>
                      <a:pt x="10" y="795"/>
                    </a:cubicBezTo>
                    <a:cubicBezTo>
                      <a:pt x="14" y="796"/>
                      <a:pt x="16" y="799"/>
                      <a:pt x="18" y="805"/>
                    </a:cubicBezTo>
                    <a:cubicBezTo>
                      <a:pt x="20" y="810"/>
                      <a:pt x="20" y="811"/>
                      <a:pt x="20" y="812"/>
                    </a:cubicBezTo>
                    <a:cubicBezTo>
                      <a:pt x="21" y="813"/>
                      <a:pt x="21" y="813"/>
                      <a:pt x="21" y="813"/>
                    </a:cubicBezTo>
                    <a:cubicBezTo>
                      <a:pt x="21" y="813"/>
                      <a:pt x="21" y="813"/>
                      <a:pt x="22" y="814"/>
                    </a:cubicBezTo>
                    <a:cubicBezTo>
                      <a:pt x="22" y="814"/>
                      <a:pt x="22" y="814"/>
                      <a:pt x="22" y="814"/>
                    </a:cubicBezTo>
                    <a:cubicBezTo>
                      <a:pt x="22" y="815"/>
                      <a:pt x="22" y="815"/>
                      <a:pt x="22" y="815"/>
                    </a:cubicBezTo>
                    <a:cubicBezTo>
                      <a:pt x="22" y="816"/>
                      <a:pt x="22" y="816"/>
                      <a:pt x="22" y="816"/>
                    </a:cubicBezTo>
                    <a:cubicBezTo>
                      <a:pt x="22" y="818"/>
                      <a:pt x="22" y="818"/>
                      <a:pt x="22" y="818"/>
                    </a:cubicBezTo>
                    <a:cubicBezTo>
                      <a:pt x="23" y="819"/>
                      <a:pt x="23" y="819"/>
                      <a:pt x="23" y="819"/>
                    </a:cubicBezTo>
                    <a:cubicBezTo>
                      <a:pt x="23" y="824"/>
                      <a:pt x="23" y="824"/>
                      <a:pt x="23" y="824"/>
                    </a:cubicBezTo>
                    <a:cubicBezTo>
                      <a:pt x="23" y="825"/>
                      <a:pt x="23" y="825"/>
                      <a:pt x="23" y="825"/>
                    </a:cubicBezTo>
                    <a:cubicBezTo>
                      <a:pt x="24" y="825"/>
                      <a:pt x="24" y="825"/>
                      <a:pt x="24" y="825"/>
                    </a:cubicBezTo>
                    <a:cubicBezTo>
                      <a:pt x="24" y="825"/>
                      <a:pt x="25" y="826"/>
                      <a:pt x="25" y="826"/>
                    </a:cubicBezTo>
                    <a:cubicBezTo>
                      <a:pt x="26" y="827"/>
                      <a:pt x="26" y="827"/>
                      <a:pt x="26" y="827"/>
                    </a:cubicBezTo>
                    <a:cubicBezTo>
                      <a:pt x="27" y="827"/>
                      <a:pt x="28" y="827"/>
                      <a:pt x="29" y="828"/>
                    </a:cubicBezTo>
                    <a:cubicBezTo>
                      <a:pt x="29" y="828"/>
                      <a:pt x="29" y="828"/>
                      <a:pt x="29" y="828"/>
                    </a:cubicBezTo>
                    <a:cubicBezTo>
                      <a:pt x="34" y="830"/>
                      <a:pt x="34" y="830"/>
                      <a:pt x="34" y="830"/>
                    </a:cubicBezTo>
                    <a:cubicBezTo>
                      <a:pt x="35" y="830"/>
                      <a:pt x="35" y="830"/>
                      <a:pt x="35" y="831"/>
                    </a:cubicBezTo>
                    <a:cubicBezTo>
                      <a:pt x="36" y="831"/>
                      <a:pt x="36" y="831"/>
                      <a:pt x="37" y="831"/>
                    </a:cubicBezTo>
                    <a:cubicBezTo>
                      <a:pt x="37" y="831"/>
                      <a:pt x="37" y="831"/>
                      <a:pt x="37" y="831"/>
                    </a:cubicBezTo>
                    <a:cubicBezTo>
                      <a:pt x="38" y="831"/>
                      <a:pt x="38" y="831"/>
                      <a:pt x="39" y="831"/>
                    </a:cubicBezTo>
                    <a:cubicBezTo>
                      <a:pt x="39" y="831"/>
                      <a:pt x="39" y="831"/>
                      <a:pt x="39" y="831"/>
                    </a:cubicBezTo>
                    <a:cubicBezTo>
                      <a:pt x="40" y="831"/>
                      <a:pt x="41" y="831"/>
                      <a:pt x="42" y="831"/>
                    </a:cubicBezTo>
                    <a:cubicBezTo>
                      <a:pt x="43" y="831"/>
                      <a:pt x="43" y="831"/>
                      <a:pt x="43" y="831"/>
                    </a:cubicBezTo>
                    <a:cubicBezTo>
                      <a:pt x="44" y="830"/>
                      <a:pt x="45" y="830"/>
                      <a:pt x="47" y="830"/>
                    </a:cubicBezTo>
                    <a:cubicBezTo>
                      <a:pt x="47" y="829"/>
                      <a:pt x="48" y="829"/>
                      <a:pt x="48" y="829"/>
                    </a:cubicBezTo>
                    <a:cubicBezTo>
                      <a:pt x="48" y="829"/>
                      <a:pt x="49" y="829"/>
                      <a:pt x="49" y="830"/>
                    </a:cubicBezTo>
                    <a:cubicBezTo>
                      <a:pt x="50" y="830"/>
                      <a:pt x="50" y="830"/>
                      <a:pt x="50" y="830"/>
                    </a:cubicBezTo>
                    <a:cubicBezTo>
                      <a:pt x="51" y="830"/>
                      <a:pt x="53" y="831"/>
                      <a:pt x="54" y="833"/>
                    </a:cubicBezTo>
                    <a:cubicBezTo>
                      <a:pt x="54" y="834"/>
                      <a:pt x="54" y="834"/>
                      <a:pt x="54" y="834"/>
                    </a:cubicBezTo>
                    <a:cubicBezTo>
                      <a:pt x="55" y="833"/>
                      <a:pt x="55" y="833"/>
                      <a:pt x="55" y="833"/>
                    </a:cubicBezTo>
                    <a:cubicBezTo>
                      <a:pt x="56" y="835"/>
                      <a:pt x="57" y="837"/>
                      <a:pt x="57" y="838"/>
                    </a:cubicBezTo>
                    <a:cubicBezTo>
                      <a:pt x="57" y="839"/>
                      <a:pt x="57" y="839"/>
                      <a:pt x="57" y="839"/>
                    </a:cubicBezTo>
                    <a:cubicBezTo>
                      <a:pt x="57" y="840"/>
                      <a:pt x="57" y="840"/>
                      <a:pt x="57" y="841"/>
                    </a:cubicBezTo>
                    <a:cubicBezTo>
                      <a:pt x="58" y="840"/>
                      <a:pt x="59" y="840"/>
                      <a:pt x="60" y="839"/>
                    </a:cubicBezTo>
                    <a:cubicBezTo>
                      <a:pt x="61" y="839"/>
                      <a:pt x="62" y="838"/>
                      <a:pt x="63" y="837"/>
                    </a:cubicBezTo>
                    <a:cubicBezTo>
                      <a:pt x="63" y="837"/>
                      <a:pt x="64" y="837"/>
                      <a:pt x="65" y="836"/>
                    </a:cubicBezTo>
                    <a:cubicBezTo>
                      <a:pt x="66" y="836"/>
                      <a:pt x="66" y="836"/>
                      <a:pt x="66" y="836"/>
                    </a:cubicBezTo>
                    <a:cubicBezTo>
                      <a:pt x="66" y="836"/>
                      <a:pt x="66" y="836"/>
                      <a:pt x="67" y="836"/>
                    </a:cubicBezTo>
                    <a:cubicBezTo>
                      <a:pt x="67" y="836"/>
                      <a:pt x="68" y="835"/>
                      <a:pt x="68" y="835"/>
                    </a:cubicBezTo>
                    <a:cubicBezTo>
                      <a:pt x="69" y="835"/>
                      <a:pt x="69" y="835"/>
                      <a:pt x="69" y="835"/>
                    </a:cubicBezTo>
                    <a:cubicBezTo>
                      <a:pt x="70" y="835"/>
                      <a:pt x="71" y="835"/>
                      <a:pt x="72" y="835"/>
                    </a:cubicBezTo>
                    <a:cubicBezTo>
                      <a:pt x="73" y="835"/>
                      <a:pt x="73" y="835"/>
                      <a:pt x="73" y="835"/>
                    </a:cubicBezTo>
                    <a:cubicBezTo>
                      <a:pt x="75" y="835"/>
                      <a:pt x="77" y="835"/>
                      <a:pt x="79" y="836"/>
                    </a:cubicBezTo>
                    <a:cubicBezTo>
                      <a:pt x="79" y="836"/>
                      <a:pt x="79" y="836"/>
                      <a:pt x="79" y="836"/>
                    </a:cubicBezTo>
                    <a:cubicBezTo>
                      <a:pt x="82" y="836"/>
                      <a:pt x="84" y="837"/>
                      <a:pt x="86" y="838"/>
                    </a:cubicBezTo>
                    <a:cubicBezTo>
                      <a:pt x="96" y="842"/>
                      <a:pt x="99" y="845"/>
                      <a:pt x="99" y="846"/>
                    </a:cubicBezTo>
                    <a:cubicBezTo>
                      <a:pt x="100" y="847"/>
                      <a:pt x="100" y="847"/>
                      <a:pt x="100" y="847"/>
                    </a:cubicBezTo>
                    <a:cubicBezTo>
                      <a:pt x="101" y="858"/>
                      <a:pt x="101" y="858"/>
                      <a:pt x="101" y="858"/>
                    </a:cubicBezTo>
                    <a:cubicBezTo>
                      <a:pt x="98" y="861"/>
                      <a:pt x="98" y="861"/>
                      <a:pt x="98" y="861"/>
                    </a:cubicBezTo>
                    <a:cubicBezTo>
                      <a:pt x="99" y="862"/>
                      <a:pt x="99" y="862"/>
                      <a:pt x="99" y="862"/>
                    </a:cubicBezTo>
                    <a:cubicBezTo>
                      <a:pt x="100" y="863"/>
                      <a:pt x="105" y="869"/>
                      <a:pt x="103" y="873"/>
                    </a:cubicBezTo>
                    <a:cubicBezTo>
                      <a:pt x="102" y="874"/>
                      <a:pt x="102" y="874"/>
                      <a:pt x="102" y="874"/>
                    </a:cubicBezTo>
                    <a:cubicBezTo>
                      <a:pt x="101" y="874"/>
                      <a:pt x="100" y="876"/>
                      <a:pt x="98" y="879"/>
                    </a:cubicBezTo>
                    <a:cubicBezTo>
                      <a:pt x="103" y="881"/>
                      <a:pt x="108" y="884"/>
                      <a:pt x="108" y="889"/>
                    </a:cubicBezTo>
                    <a:cubicBezTo>
                      <a:pt x="108" y="891"/>
                      <a:pt x="110" y="898"/>
                      <a:pt x="118" y="902"/>
                    </a:cubicBezTo>
                    <a:cubicBezTo>
                      <a:pt x="124" y="904"/>
                      <a:pt x="126" y="909"/>
                      <a:pt x="126" y="911"/>
                    </a:cubicBezTo>
                    <a:cubicBezTo>
                      <a:pt x="127" y="913"/>
                      <a:pt x="127" y="914"/>
                      <a:pt x="126" y="915"/>
                    </a:cubicBezTo>
                    <a:cubicBezTo>
                      <a:pt x="560" y="915"/>
                      <a:pt x="560" y="915"/>
                      <a:pt x="560" y="915"/>
                    </a:cubicBezTo>
                    <a:cubicBezTo>
                      <a:pt x="560" y="457"/>
                      <a:pt x="560" y="457"/>
                      <a:pt x="560" y="457"/>
                    </a:cubicBezTo>
                    <a:moveTo>
                      <a:pt x="1682" y="457"/>
                    </a:moveTo>
                    <a:cubicBezTo>
                      <a:pt x="1122" y="457"/>
                      <a:pt x="1122" y="457"/>
                      <a:pt x="1122" y="457"/>
                    </a:cubicBezTo>
                    <a:cubicBezTo>
                      <a:pt x="1122" y="877"/>
                      <a:pt x="1122" y="877"/>
                      <a:pt x="1122" y="877"/>
                    </a:cubicBezTo>
                    <a:cubicBezTo>
                      <a:pt x="1122" y="877"/>
                      <a:pt x="1122" y="877"/>
                      <a:pt x="1122" y="877"/>
                    </a:cubicBezTo>
                    <a:cubicBezTo>
                      <a:pt x="1124" y="877"/>
                      <a:pt x="1125" y="876"/>
                      <a:pt x="1127" y="875"/>
                    </a:cubicBezTo>
                    <a:cubicBezTo>
                      <a:pt x="1129" y="875"/>
                      <a:pt x="1129" y="875"/>
                      <a:pt x="1129" y="875"/>
                    </a:cubicBezTo>
                    <a:cubicBezTo>
                      <a:pt x="1131" y="874"/>
                      <a:pt x="1131" y="874"/>
                      <a:pt x="1131" y="874"/>
                    </a:cubicBezTo>
                    <a:cubicBezTo>
                      <a:pt x="1132" y="874"/>
                      <a:pt x="1132" y="874"/>
                      <a:pt x="1132" y="874"/>
                    </a:cubicBezTo>
                    <a:cubicBezTo>
                      <a:pt x="1143" y="872"/>
                      <a:pt x="1143" y="872"/>
                      <a:pt x="1143" y="872"/>
                    </a:cubicBezTo>
                    <a:cubicBezTo>
                      <a:pt x="1143" y="872"/>
                      <a:pt x="1143" y="872"/>
                      <a:pt x="1143" y="872"/>
                    </a:cubicBezTo>
                    <a:cubicBezTo>
                      <a:pt x="1144" y="871"/>
                      <a:pt x="1144" y="871"/>
                      <a:pt x="1144" y="871"/>
                    </a:cubicBezTo>
                    <a:cubicBezTo>
                      <a:pt x="1145" y="870"/>
                      <a:pt x="1146" y="870"/>
                      <a:pt x="1147" y="870"/>
                    </a:cubicBezTo>
                    <a:cubicBezTo>
                      <a:pt x="1148" y="870"/>
                      <a:pt x="1148" y="870"/>
                      <a:pt x="1149" y="870"/>
                    </a:cubicBezTo>
                    <a:cubicBezTo>
                      <a:pt x="1150" y="870"/>
                      <a:pt x="1150" y="870"/>
                      <a:pt x="1151" y="870"/>
                    </a:cubicBezTo>
                    <a:cubicBezTo>
                      <a:pt x="1152" y="871"/>
                      <a:pt x="1152" y="871"/>
                      <a:pt x="1152" y="871"/>
                    </a:cubicBezTo>
                    <a:cubicBezTo>
                      <a:pt x="1152" y="871"/>
                      <a:pt x="1152" y="871"/>
                      <a:pt x="1152" y="871"/>
                    </a:cubicBezTo>
                    <a:cubicBezTo>
                      <a:pt x="1153" y="871"/>
                      <a:pt x="1153" y="870"/>
                      <a:pt x="1154" y="870"/>
                    </a:cubicBezTo>
                    <a:cubicBezTo>
                      <a:pt x="1156" y="868"/>
                      <a:pt x="1156" y="868"/>
                      <a:pt x="1156" y="868"/>
                    </a:cubicBezTo>
                    <a:cubicBezTo>
                      <a:pt x="1157" y="868"/>
                      <a:pt x="1157" y="868"/>
                      <a:pt x="1157" y="868"/>
                    </a:cubicBezTo>
                    <a:cubicBezTo>
                      <a:pt x="1158" y="867"/>
                      <a:pt x="1158" y="867"/>
                      <a:pt x="1158" y="867"/>
                    </a:cubicBezTo>
                    <a:cubicBezTo>
                      <a:pt x="1159" y="867"/>
                      <a:pt x="1160" y="866"/>
                      <a:pt x="1161" y="865"/>
                    </a:cubicBezTo>
                    <a:cubicBezTo>
                      <a:pt x="1162" y="865"/>
                      <a:pt x="1165" y="863"/>
                      <a:pt x="1166" y="862"/>
                    </a:cubicBezTo>
                    <a:cubicBezTo>
                      <a:pt x="1167" y="861"/>
                      <a:pt x="1167" y="860"/>
                      <a:pt x="1167" y="859"/>
                    </a:cubicBezTo>
                    <a:cubicBezTo>
                      <a:pt x="1168" y="857"/>
                      <a:pt x="1168" y="857"/>
                      <a:pt x="1168" y="857"/>
                    </a:cubicBezTo>
                    <a:cubicBezTo>
                      <a:pt x="1169" y="856"/>
                      <a:pt x="1171" y="855"/>
                      <a:pt x="1173" y="855"/>
                    </a:cubicBezTo>
                    <a:cubicBezTo>
                      <a:pt x="1173" y="855"/>
                      <a:pt x="1173" y="855"/>
                      <a:pt x="1173" y="855"/>
                    </a:cubicBezTo>
                    <a:cubicBezTo>
                      <a:pt x="1174" y="855"/>
                      <a:pt x="1174" y="855"/>
                      <a:pt x="1174" y="855"/>
                    </a:cubicBezTo>
                    <a:cubicBezTo>
                      <a:pt x="1174" y="855"/>
                      <a:pt x="1174" y="855"/>
                      <a:pt x="1174" y="855"/>
                    </a:cubicBezTo>
                    <a:cubicBezTo>
                      <a:pt x="1181" y="855"/>
                      <a:pt x="1181" y="855"/>
                      <a:pt x="1181" y="855"/>
                    </a:cubicBezTo>
                    <a:cubicBezTo>
                      <a:pt x="1182" y="855"/>
                      <a:pt x="1182" y="855"/>
                      <a:pt x="1182" y="855"/>
                    </a:cubicBezTo>
                    <a:cubicBezTo>
                      <a:pt x="1182" y="855"/>
                      <a:pt x="1182" y="855"/>
                      <a:pt x="1182" y="855"/>
                    </a:cubicBezTo>
                    <a:cubicBezTo>
                      <a:pt x="1186" y="855"/>
                      <a:pt x="1186" y="855"/>
                      <a:pt x="1186" y="855"/>
                    </a:cubicBezTo>
                    <a:cubicBezTo>
                      <a:pt x="1186" y="855"/>
                      <a:pt x="1186" y="855"/>
                      <a:pt x="1186" y="855"/>
                    </a:cubicBezTo>
                    <a:cubicBezTo>
                      <a:pt x="1187" y="855"/>
                      <a:pt x="1187" y="855"/>
                      <a:pt x="1187" y="855"/>
                    </a:cubicBezTo>
                    <a:cubicBezTo>
                      <a:pt x="1187" y="855"/>
                      <a:pt x="1187" y="855"/>
                      <a:pt x="1187" y="855"/>
                    </a:cubicBezTo>
                    <a:cubicBezTo>
                      <a:pt x="1198" y="855"/>
                      <a:pt x="1198" y="855"/>
                      <a:pt x="1198" y="855"/>
                    </a:cubicBezTo>
                    <a:cubicBezTo>
                      <a:pt x="1200" y="855"/>
                      <a:pt x="1201" y="856"/>
                      <a:pt x="1202" y="857"/>
                    </a:cubicBezTo>
                    <a:cubicBezTo>
                      <a:pt x="1204" y="858"/>
                      <a:pt x="1204" y="858"/>
                      <a:pt x="1204" y="858"/>
                    </a:cubicBezTo>
                    <a:cubicBezTo>
                      <a:pt x="1205" y="859"/>
                      <a:pt x="1206" y="860"/>
                      <a:pt x="1207" y="861"/>
                    </a:cubicBezTo>
                    <a:cubicBezTo>
                      <a:pt x="1208" y="861"/>
                      <a:pt x="1208" y="861"/>
                      <a:pt x="1208" y="861"/>
                    </a:cubicBezTo>
                    <a:cubicBezTo>
                      <a:pt x="1209" y="861"/>
                      <a:pt x="1209" y="861"/>
                      <a:pt x="1209" y="861"/>
                    </a:cubicBezTo>
                    <a:cubicBezTo>
                      <a:pt x="1210" y="862"/>
                      <a:pt x="1211" y="862"/>
                      <a:pt x="1213" y="863"/>
                    </a:cubicBezTo>
                    <a:cubicBezTo>
                      <a:pt x="1214" y="863"/>
                      <a:pt x="1214" y="863"/>
                      <a:pt x="1214" y="863"/>
                    </a:cubicBezTo>
                    <a:cubicBezTo>
                      <a:pt x="1215" y="861"/>
                      <a:pt x="1219" y="859"/>
                      <a:pt x="1222" y="857"/>
                    </a:cubicBezTo>
                    <a:cubicBezTo>
                      <a:pt x="1223" y="857"/>
                      <a:pt x="1223" y="857"/>
                      <a:pt x="1223" y="857"/>
                    </a:cubicBezTo>
                    <a:cubicBezTo>
                      <a:pt x="1229" y="856"/>
                      <a:pt x="1229" y="856"/>
                      <a:pt x="1229" y="856"/>
                    </a:cubicBezTo>
                    <a:cubicBezTo>
                      <a:pt x="1230" y="857"/>
                      <a:pt x="1230" y="857"/>
                      <a:pt x="1230" y="857"/>
                    </a:cubicBezTo>
                    <a:cubicBezTo>
                      <a:pt x="1232" y="857"/>
                      <a:pt x="1234" y="859"/>
                      <a:pt x="1235" y="860"/>
                    </a:cubicBezTo>
                    <a:cubicBezTo>
                      <a:pt x="1237" y="864"/>
                      <a:pt x="1239" y="868"/>
                      <a:pt x="1241" y="872"/>
                    </a:cubicBezTo>
                    <a:cubicBezTo>
                      <a:pt x="1247" y="883"/>
                      <a:pt x="1247" y="883"/>
                      <a:pt x="1247" y="883"/>
                    </a:cubicBezTo>
                    <a:cubicBezTo>
                      <a:pt x="1247" y="885"/>
                      <a:pt x="1247" y="886"/>
                      <a:pt x="1246" y="887"/>
                    </a:cubicBezTo>
                    <a:cubicBezTo>
                      <a:pt x="1246" y="888"/>
                      <a:pt x="1246" y="888"/>
                      <a:pt x="1246" y="888"/>
                    </a:cubicBezTo>
                    <a:cubicBezTo>
                      <a:pt x="1244" y="890"/>
                      <a:pt x="1244" y="890"/>
                      <a:pt x="1244" y="890"/>
                    </a:cubicBezTo>
                    <a:cubicBezTo>
                      <a:pt x="1244" y="892"/>
                      <a:pt x="1244" y="892"/>
                      <a:pt x="1244" y="892"/>
                    </a:cubicBezTo>
                    <a:cubicBezTo>
                      <a:pt x="1245" y="892"/>
                      <a:pt x="1245" y="892"/>
                      <a:pt x="1245" y="892"/>
                    </a:cubicBezTo>
                    <a:cubicBezTo>
                      <a:pt x="1245" y="893"/>
                      <a:pt x="1245" y="893"/>
                      <a:pt x="1245" y="893"/>
                    </a:cubicBezTo>
                    <a:cubicBezTo>
                      <a:pt x="1245" y="894"/>
                      <a:pt x="1245" y="894"/>
                      <a:pt x="1245" y="894"/>
                    </a:cubicBezTo>
                    <a:cubicBezTo>
                      <a:pt x="1245" y="894"/>
                      <a:pt x="1245" y="894"/>
                      <a:pt x="1245" y="894"/>
                    </a:cubicBezTo>
                    <a:cubicBezTo>
                      <a:pt x="1246" y="896"/>
                      <a:pt x="1246" y="896"/>
                      <a:pt x="1246" y="896"/>
                    </a:cubicBezTo>
                    <a:cubicBezTo>
                      <a:pt x="1246" y="899"/>
                      <a:pt x="1245" y="900"/>
                      <a:pt x="1243" y="901"/>
                    </a:cubicBezTo>
                    <a:cubicBezTo>
                      <a:pt x="1243" y="902"/>
                      <a:pt x="1242" y="902"/>
                      <a:pt x="1242" y="902"/>
                    </a:cubicBezTo>
                    <a:cubicBezTo>
                      <a:pt x="1243" y="903"/>
                      <a:pt x="1243" y="903"/>
                      <a:pt x="1243" y="903"/>
                    </a:cubicBezTo>
                    <a:cubicBezTo>
                      <a:pt x="1245" y="904"/>
                      <a:pt x="1245" y="904"/>
                      <a:pt x="1245" y="904"/>
                    </a:cubicBezTo>
                    <a:cubicBezTo>
                      <a:pt x="1245" y="904"/>
                      <a:pt x="1245" y="904"/>
                      <a:pt x="1245" y="904"/>
                    </a:cubicBezTo>
                    <a:cubicBezTo>
                      <a:pt x="1246" y="904"/>
                      <a:pt x="1246" y="904"/>
                      <a:pt x="1247" y="904"/>
                    </a:cubicBezTo>
                    <a:cubicBezTo>
                      <a:pt x="1248" y="904"/>
                      <a:pt x="1250" y="904"/>
                      <a:pt x="1251" y="903"/>
                    </a:cubicBezTo>
                    <a:cubicBezTo>
                      <a:pt x="1256" y="903"/>
                      <a:pt x="1256" y="903"/>
                      <a:pt x="1256" y="903"/>
                    </a:cubicBezTo>
                    <a:cubicBezTo>
                      <a:pt x="1263" y="901"/>
                      <a:pt x="1263" y="901"/>
                      <a:pt x="1263" y="901"/>
                    </a:cubicBezTo>
                    <a:cubicBezTo>
                      <a:pt x="1264" y="901"/>
                      <a:pt x="1264" y="901"/>
                      <a:pt x="1264" y="901"/>
                    </a:cubicBezTo>
                    <a:cubicBezTo>
                      <a:pt x="1263" y="900"/>
                      <a:pt x="1263" y="899"/>
                      <a:pt x="1263" y="898"/>
                    </a:cubicBezTo>
                    <a:cubicBezTo>
                      <a:pt x="1262" y="895"/>
                      <a:pt x="1262" y="895"/>
                      <a:pt x="1262" y="895"/>
                    </a:cubicBezTo>
                    <a:cubicBezTo>
                      <a:pt x="1269" y="893"/>
                      <a:pt x="1269" y="893"/>
                      <a:pt x="1269" y="893"/>
                    </a:cubicBezTo>
                    <a:cubicBezTo>
                      <a:pt x="1271" y="894"/>
                      <a:pt x="1271" y="894"/>
                      <a:pt x="1271" y="894"/>
                    </a:cubicBezTo>
                    <a:cubicBezTo>
                      <a:pt x="1272" y="895"/>
                      <a:pt x="1272" y="895"/>
                      <a:pt x="1272" y="895"/>
                    </a:cubicBezTo>
                    <a:cubicBezTo>
                      <a:pt x="1277" y="900"/>
                      <a:pt x="1277" y="900"/>
                      <a:pt x="1277" y="900"/>
                    </a:cubicBezTo>
                    <a:cubicBezTo>
                      <a:pt x="1278" y="901"/>
                      <a:pt x="1278" y="903"/>
                      <a:pt x="1279" y="904"/>
                    </a:cubicBezTo>
                    <a:cubicBezTo>
                      <a:pt x="1279" y="904"/>
                      <a:pt x="1279" y="904"/>
                      <a:pt x="1279" y="904"/>
                    </a:cubicBezTo>
                    <a:cubicBezTo>
                      <a:pt x="1280" y="903"/>
                      <a:pt x="1280" y="903"/>
                      <a:pt x="1280" y="903"/>
                    </a:cubicBezTo>
                    <a:cubicBezTo>
                      <a:pt x="1280" y="903"/>
                      <a:pt x="1281" y="903"/>
                      <a:pt x="1282" y="903"/>
                    </a:cubicBezTo>
                    <a:cubicBezTo>
                      <a:pt x="1283" y="903"/>
                      <a:pt x="1283" y="903"/>
                      <a:pt x="1284" y="903"/>
                    </a:cubicBezTo>
                    <a:cubicBezTo>
                      <a:pt x="1285" y="903"/>
                      <a:pt x="1285" y="904"/>
                      <a:pt x="1285" y="904"/>
                    </a:cubicBezTo>
                    <a:cubicBezTo>
                      <a:pt x="1286" y="904"/>
                      <a:pt x="1286" y="904"/>
                      <a:pt x="1286" y="904"/>
                    </a:cubicBezTo>
                    <a:cubicBezTo>
                      <a:pt x="1287" y="904"/>
                      <a:pt x="1288" y="905"/>
                      <a:pt x="1289" y="905"/>
                    </a:cubicBezTo>
                    <a:cubicBezTo>
                      <a:pt x="1289" y="906"/>
                      <a:pt x="1289" y="906"/>
                      <a:pt x="1289" y="906"/>
                    </a:cubicBezTo>
                    <a:cubicBezTo>
                      <a:pt x="1292" y="907"/>
                      <a:pt x="1295" y="908"/>
                      <a:pt x="1296" y="909"/>
                    </a:cubicBezTo>
                    <a:cubicBezTo>
                      <a:pt x="1297" y="909"/>
                      <a:pt x="1297" y="909"/>
                      <a:pt x="1297" y="909"/>
                    </a:cubicBezTo>
                    <a:cubicBezTo>
                      <a:pt x="1321" y="904"/>
                      <a:pt x="1321" y="904"/>
                      <a:pt x="1321" y="904"/>
                    </a:cubicBezTo>
                    <a:cubicBezTo>
                      <a:pt x="1318" y="911"/>
                      <a:pt x="1318" y="911"/>
                      <a:pt x="1318" y="911"/>
                    </a:cubicBezTo>
                    <a:cubicBezTo>
                      <a:pt x="1317" y="911"/>
                      <a:pt x="1317" y="912"/>
                      <a:pt x="1316" y="913"/>
                    </a:cubicBezTo>
                    <a:cubicBezTo>
                      <a:pt x="1314" y="915"/>
                      <a:pt x="1314" y="915"/>
                      <a:pt x="1314" y="915"/>
                    </a:cubicBezTo>
                    <a:cubicBezTo>
                      <a:pt x="1346" y="915"/>
                      <a:pt x="1346" y="915"/>
                      <a:pt x="1346" y="915"/>
                    </a:cubicBezTo>
                    <a:cubicBezTo>
                      <a:pt x="1347" y="915"/>
                      <a:pt x="1347" y="915"/>
                      <a:pt x="1347" y="915"/>
                    </a:cubicBezTo>
                    <a:cubicBezTo>
                      <a:pt x="1351" y="913"/>
                      <a:pt x="1355" y="911"/>
                      <a:pt x="1359" y="909"/>
                    </a:cubicBezTo>
                    <a:cubicBezTo>
                      <a:pt x="1362" y="907"/>
                      <a:pt x="1366" y="905"/>
                      <a:pt x="1371" y="903"/>
                    </a:cubicBezTo>
                    <a:cubicBezTo>
                      <a:pt x="1424" y="881"/>
                      <a:pt x="1424" y="881"/>
                      <a:pt x="1424" y="881"/>
                    </a:cubicBezTo>
                    <a:cubicBezTo>
                      <a:pt x="1404" y="898"/>
                      <a:pt x="1404" y="898"/>
                      <a:pt x="1404" y="898"/>
                    </a:cubicBezTo>
                    <a:cubicBezTo>
                      <a:pt x="1404" y="901"/>
                      <a:pt x="1404" y="901"/>
                      <a:pt x="1404" y="901"/>
                    </a:cubicBezTo>
                    <a:cubicBezTo>
                      <a:pt x="1404" y="903"/>
                      <a:pt x="1404" y="904"/>
                      <a:pt x="1403" y="906"/>
                    </a:cubicBezTo>
                    <a:cubicBezTo>
                      <a:pt x="1403" y="907"/>
                      <a:pt x="1403" y="907"/>
                      <a:pt x="1403" y="907"/>
                    </a:cubicBezTo>
                    <a:cubicBezTo>
                      <a:pt x="1402" y="907"/>
                      <a:pt x="1402" y="907"/>
                      <a:pt x="1402" y="907"/>
                    </a:cubicBezTo>
                    <a:cubicBezTo>
                      <a:pt x="1402" y="907"/>
                      <a:pt x="1402" y="907"/>
                      <a:pt x="1402" y="907"/>
                    </a:cubicBezTo>
                    <a:cubicBezTo>
                      <a:pt x="1401" y="908"/>
                      <a:pt x="1401" y="908"/>
                      <a:pt x="1401" y="908"/>
                    </a:cubicBezTo>
                    <a:cubicBezTo>
                      <a:pt x="1401" y="908"/>
                      <a:pt x="1400" y="909"/>
                      <a:pt x="1400" y="909"/>
                    </a:cubicBezTo>
                    <a:cubicBezTo>
                      <a:pt x="1399" y="909"/>
                      <a:pt x="1399" y="909"/>
                      <a:pt x="1399" y="909"/>
                    </a:cubicBezTo>
                    <a:cubicBezTo>
                      <a:pt x="1400" y="911"/>
                      <a:pt x="1402" y="912"/>
                      <a:pt x="1403" y="913"/>
                    </a:cubicBezTo>
                    <a:cubicBezTo>
                      <a:pt x="1405" y="915"/>
                      <a:pt x="1405" y="915"/>
                      <a:pt x="1405" y="915"/>
                    </a:cubicBezTo>
                    <a:cubicBezTo>
                      <a:pt x="1682" y="915"/>
                      <a:pt x="1682" y="915"/>
                      <a:pt x="1682" y="915"/>
                    </a:cubicBezTo>
                    <a:cubicBezTo>
                      <a:pt x="1682" y="457"/>
                      <a:pt x="1682" y="457"/>
                      <a:pt x="1682" y="457"/>
                    </a:cubicBezTo>
                    <a:moveTo>
                      <a:pt x="955" y="212"/>
                    </a:moveTo>
                    <a:cubicBezTo>
                      <a:pt x="955" y="212"/>
                      <a:pt x="955" y="212"/>
                      <a:pt x="955" y="212"/>
                    </a:cubicBezTo>
                    <a:cubicBezTo>
                      <a:pt x="948" y="214"/>
                      <a:pt x="942" y="220"/>
                      <a:pt x="936" y="221"/>
                    </a:cubicBezTo>
                    <a:cubicBezTo>
                      <a:pt x="933" y="222"/>
                      <a:pt x="927" y="220"/>
                      <a:pt x="929" y="225"/>
                    </a:cubicBezTo>
                    <a:cubicBezTo>
                      <a:pt x="931" y="230"/>
                      <a:pt x="932" y="232"/>
                      <a:pt x="935" y="235"/>
                    </a:cubicBezTo>
                    <a:cubicBezTo>
                      <a:pt x="937" y="237"/>
                      <a:pt x="940" y="240"/>
                      <a:pt x="940" y="243"/>
                    </a:cubicBezTo>
                    <a:cubicBezTo>
                      <a:pt x="940" y="243"/>
                      <a:pt x="941" y="250"/>
                      <a:pt x="943" y="250"/>
                    </a:cubicBezTo>
                    <a:cubicBezTo>
                      <a:pt x="943" y="250"/>
                      <a:pt x="944" y="250"/>
                      <a:pt x="945" y="249"/>
                    </a:cubicBezTo>
                    <a:cubicBezTo>
                      <a:pt x="945" y="248"/>
                      <a:pt x="946" y="247"/>
                      <a:pt x="947" y="247"/>
                    </a:cubicBezTo>
                    <a:cubicBezTo>
                      <a:pt x="948" y="247"/>
                      <a:pt x="949" y="250"/>
                      <a:pt x="950" y="252"/>
                    </a:cubicBezTo>
                    <a:cubicBezTo>
                      <a:pt x="951" y="256"/>
                      <a:pt x="951" y="258"/>
                      <a:pt x="948" y="260"/>
                    </a:cubicBezTo>
                    <a:cubicBezTo>
                      <a:pt x="941" y="265"/>
                      <a:pt x="931" y="267"/>
                      <a:pt x="924" y="270"/>
                    </a:cubicBezTo>
                    <a:cubicBezTo>
                      <a:pt x="923" y="270"/>
                      <a:pt x="923" y="270"/>
                      <a:pt x="923" y="270"/>
                    </a:cubicBezTo>
                    <a:cubicBezTo>
                      <a:pt x="923" y="270"/>
                      <a:pt x="923" y="270"/>
                      <a:pt x="923" y="270"/>
                    </a:cubicBezTo>
                    <a:cubicBezTo>
                      <a:pt x="922" y="272"/>
                      <a:pt x="920" y="274"/>
                      <a:pt x="920" y="276"/>
                    </a:cubicBezTo>
                    <a:cubicBezTo>
                      <a:pt x="920" y="277"/>
                      <a:pt x="922" y="278"/>
                      <a:pt x="922" y="279"/>
                    </a:cubicBezTo>
                    <a:cubicBezTo>
                      <a:pt x="922" y="282"/>
                      <a:pt x="921" y="285"/>
                      <a:pt x="919" y="286"/>
                    </a:cubicBezTo>
                    <a:cubicBezTo>
                      <a:pt x="917" y="287"/>
                      <a:pt x="916" y="287"/>
                      <a:pt x="914" y="287"/>
                    </a:cubicBezTo>
                    <a:cubicBezTo>
                      <a:pt x="910" y="287"/>
                      <a:pt x="905" y="285"/>
                      <a:pt x="902" y="285"/>
                    </a:cubicBezTo>
                    <a:cubicBezTo>
                      <a:pt x="895" y="283"/>
                      <a:pt x="899" y="282"/>
                      <a:pt x="898" y="278"/>
                    </a:cubicBezTo>
                    <a:cubicBezTo>
                      <a:pt x="898" y="277"/>
                      <a:pt x="897" y="276"/>
                      <a:pt x="897" y="274"/>
                    </a:cubicBezTo>
                    <a:cubicBezTo>
                      <a:pt x="897" y="274"/>
                      <a:pt x="899" y="271"/>
                      <a:pt x="899" y="271"/>
                    </a:cubicBezTo>
                    <a:cubicBezTo>
                      <a:pt x="902" y="269"/>
                      <a:pt x="908" y="270"/>
                      <a:pt x="907" y="266"/>
                    </a:cubicBezTo>
                    <a:cubicBezTo>
                      <a:pt x="906" y="265"/>
                      <a:pt x="901" y="262"/>
                      <a:pt x="900" y="261"/>
                    </a:cubicBezTo>
                    <a:cubicBezTo>
                      <a:pt x="897" y="259"/>
                      <a:pt x="895" y="259"/>
                      <a:pt x="892" y="258"/>
                    </a:cubicBezTo>
                    <a:cubicBezTo>
                      <a:pt x="895" y="256"/>
                      <a:pt x="898" y="256"/>
                      <a:pt x="901" y="255"/>
                    </a:cubicBezTo>
                    <a:cubicBezTo>
                      <a:pt x="900" y="255"/>
                      <a:pt x="899" y="255"/>
                      <a:pt x="898" y="255"/>
                    </a:cubicBezTo>
                    <a:cubicBezTo>
                      <a:pt x="890" y="255"/>
                      <a:pt x="882" y="259"/>
                      <a:pt x="875" y="265"/>
                    </a:cubicBezTo>
                    <a:cubicBezTo>
                      <a:pt x="877" y="266"/>
                      <a:pt x="879" y="266"/>
                      <a:pt x="879" y="268"/>
                    </a:cubicBezTo>
                    <a:cubicBezTo>
                      <a:pt x="877" y="267"/>
                      <a:pt x="874" y="265"/>
                      <a:pt x="872" y="263"/>
                    </a:cubicBezTo>
                    <a:cubicBezTo>
                      <a:pt x="872" y="262"/>
                      <a:pt x="874" y="261"/>
                      <a:pt x="873" y="261"/>
                    </a:cubicBezTo>
                    <a:cubicBezTo>
                      <a:pt x="873" y="261"/>
                      <a:pt x="872" y="261"/>
                      <a:pt x="870" y="262"/>
                    </a:cubicBezTo>
                    <a:cubicBezTo>
                      <a:pt x="864" y="265"/>
                      <a:pt x="855" y="268"/>
                      <a:pt x="851" y="273"/>
                    </a:cubicBezTo>
                    <a:cubicBezTo>
                      <a:pt x="849" y="275"/>
                      <a:pt x="851" y="276"/>
                      <a:pt x="847" y="276"/>
                    </a:cubicBezTo>
                    <a:cubicBezTo>
                      <a:pt x="846" y="276"/>
                      <a:pt x="846" y="276"/>
                      <a:pt x="845" y="276"/>
                    </a:cubicBezTo>
                    <a:cubicBezTo>
                      <a:pt x="842" y="276"/>
                      <a:pt x="838" y="275"/>
                      <a:pt x="835" y="275"/>
                    </a:cubicBezTo>
                    <a:cubicBezTo>
                      <a:pt x="831" y="274"/>
                      <a:pt x="828" y="273"/>
                      <a:pt x="825" y="273"/>
                    </a:cubicBezTo>
                    <a:cubicBezTo>
                      <a:pt x="824" y="273"/>
                      <a:pt x="822" y="273"/>
                      <a:pt x="821" y="274"/>
                    </a:cubicBezTo>
                    <a:cubicBezTo>
                      <a:pt x="820" y="274"/>
                      <a:pt x="819" y="274"/>
                      <a:pt x="818" y="274"/>
                    </a:cubicBezTo>
                    <a:cubicBezTo>
                      <a:pt x="816" y="274"/>
                      <a:pt x="814" y="273"/>
                      <a:pt x="811" y="272"/>
                    </a:cubicBezTo>
                    <a:cubicBezTo>
                      <a:pt x="810" y="272"/>
                      <a:pt x="810" y="272"/>
                      <a:pt x="810" y="272"/>
                    </a:cubicBezTo>
                    <a:cubicBezTo>
                      <a:pt x="805" y="272"/>
                      <a:pt x="797" y="279"/>
                      <a:pt x="793" y="281"/>
                    </a:cubicBezTo>
                    <a:cubicBezTo>
                      <a:pt x="789" y="284"/>
                      <a:pt x="785" y="287"/>
                      <a:pt x="781" y="289"/>
                    </a:cubicBezTo>
                    <a:cubicBezTo>
                      <a:pt x="779" y="291"/>
                      <a:pt x="780" y="292"/>
                      <a:pt x="779" y="293"/>
                    </a:cubicBezTo>
                    <a:cubicBezTo>
                      <a:pt x="778" y="294"/>
                      <a:pt x="777" y="295"/>
                      <a:pt x="776" y="295"/>
                    </a:cubicBezTo>
                    <a:cubicBezTo>
                      <a:pt x="776" y="295"/>
                      <a:pt x="775" y="294"/>
                      <a:pt x="773" y="293"/>
                    </a:cubicBezTo>
                    <a:cubicBezTo>
                      <a:pt x="771" y="292"/>
                      <a:pt x="770" y="290"/>
                      <a:pt x="767" y="290"/>
                    </a:cubicBezTo>
                    <a:cubicBezTo>
                      <a:pt x="767" y="290"/>
                      <a:pt x="766" y="290"/>
                      <a:pt x="765" y="291"/>
                    </a:cubicBezTo>
                    <a:cubicBezTo>
                      <a:pt x="762" y="292"/>
                      <a:pt x="761" y="294"/>
                      <a:pt x="760" y="294"/>
                    </a:cubicBezTo>
                    <a:cubicBezTo>
                      <a:pt x="759" y="294"/>
                      <a:pt x="758" y="293"/>
                      <a:pt x="758" y="290"/>
                    </a:cubicBezTo>
                    <a:cubicBezTo>
                      <a:pt x="755" y="291"/>
                      <a:pt x="754" y="293"/>
                      <a:pt x="752" y="293"/>
                    </a:cubicBezTo>
                    <a:cubicBezTo>
                      <a:pt x="751" y="293"/>
                      <a:pt x="750" y="293"/>
                      <a:pt x="749" y="292"/>
                    </a:cubicBezTo>
                    <a:cubicBezTo>
                      <a:pt x="744" y="291"/>
                      <a:pt x="739" y="290"/>
                      <a:pt x="735" y="287"/>
                    </a:cubicBezTo>
                    <a:cubicBezTo>
                      <a:pt x="738" y="286"/>
                      <a:pt x="740" y="287"/>
                      <a:pt x="743" y="286"/>
                    </a:cubicBezTo>
                    <a:cubicBezTo>
                      <a:pt x="742" y="286"/>
                      <a:pt x="742" y="285"/>
                      <a:pt x="741" y="285"/>
                    </a:cubicBezTo>
                    <a:cubicBezTo>
                      <a:pt x="742" y="284"/>
                      <a:pt x="743" y="284"/>
                      <a:pt x="744" y="284"/>
                    </a:cubicBezTo>
                    <a:cubicBezTo>
                      <a:pt x="745" y="284"/>
                      <a:pt x="746" y="284"/>
                      <a:pt x="746" y="284"/>
                    </a:cubicBezTo>
                    <a:cubicBezTo>
                      <a:pt x="747" y="284"/>
                      <a:pt x="748" y="284"/>
                      <a:pt x="748" y="284"/>
                    </a:cubicBezTo>
                    <a:cubicBezTo>
                      <a:pt x="749" y="284"/>
                      <a:pt x="750" y="284"/>
                      <a:pt x="751" y="284"/>
                    </a:cubicBezTo>
                    <a:cubicBezTo>
                      <a:pt x="750" y="280"/>
                      <a:pt x="750" y="279"/>
                      <a:pt x="748" y="276"/>
                    </a:cubicBezTo>
                    <a:cubicBezTo>
                      <a:pt x="744" y="272"/>
                      <a:pt x="746" y="272"/>
                      <a:pt x="748" y="268"/>
                    </a:cubicBezTo>
                    <a:cubicBezTo>
                      <a:pt x="749" y="266"/>
                      <a:pt x="749" y="266"/>
                      <a:pt x="751" y="264"/>
                    </a:cubicBezTo>
                    <a:cubicBezTo>
                      <a:pt x="753" y="263"/>
                      <a:pt x="755" y="263"/>
                      <a:pt x="752" y="261"/>
                    </a:cubicBezTo>
                    <a:cubicBezTo>
                      <a:pt x="749" y="260"/>
                      <a:pt x="744" y="261"/>
                      <a:pt x="742" y="259"/>
                    </a:cubicBezTo>
                    <a:cubicBezTo>
                      <a:pt x="743" y="259"/>
                      <a:pt x="744" y="259"/>
                      <a:pt x="745" y="259"/>
                    </a:cubicBezTo>
                    <a:cubicBezTo>
                      <a:pt x="736" y="261"/>
                      <a:pt x="728" y="263"/>
                      <a:pt x="719" y="267"/>
                    </a:cubicBezTo>
                    <a:cubicBezTo>
                      <a:pt x="716" y="268"/>
                      <a:pt x="713" y="270"/>
                      <a:pt x="710" y="271"/>
                    </a:cubicBezTo>
                    <a:cubicBezTo>
                      <a:pt x="707" y="272"/>
                      <a:pt x="702" y="274"/>
                      <a:pt x="706" y="275"/>
                    </a:cubicBezTo>
                    <a:cubicBezTo>
                      <a:pt x="707" y="276"/>
                      <a:pt x="708" y="276"/>
                      <a:pt x="708" y="276"/>
                    </a:cubicBezTo>
                    <a:cubicBezTo>
                      <a:pt x="708" y="276"/>
                      <a:pt x="709" y="276"/>
                      <a:pt x="709" y="276"/>
                    </a:cubicBezTo>
                    <a:cubicBezTo>
                      <a:pt x="709" y="276"/>
                      <a:pt x="709" y="276"/>
                      <a:pt x="709" y="276"/>
                    </a:cubicBezTo>
                    <a:cubicBezTo>
                      <a:pt x="710" y="276"/>
                      <a:pt x="710" y="276"/>
                      <a:pt x="711" y="276"/>
                    </a:cubicBezTo>
                    <a:cubicBezTo>
                      <a:pt x="712" y="276"/>
                      <a:pt x="713" y="278"/>
                      <a:pt x="714" y="279"/>
                    </a:cubicBezTo>
                    <a:cubicBezTo>
                      <a:pt x="716" y="281"/>
                      <a:pt x="718" y="281"/>
                      <a:pt x="714" y="284"/>
                    </a:cubicBezTo>
                    <a:cubicBezTo>
                      <a:pt x="713" y="285"/>
                      <a:pt x="708" y="288"/>
                      <a:pt x="706" y="288"/>
                    </a:cubicBezTo>
                    <a:cubicBezTo>
                      <a:pt x="706" y="288"/>
                      <a:pt x="706" y="288"/>
                      <a:pt x="706" y="288"/>
                    </a:cubicBezTo>
                    <a:cubicBezTo>
                      <a:pt x="703" y="288"/>
                      <a:pt x="704" y="288"/>
                      <a:pt x="704" y="284"/>
                    </a:cubicBezTo>
                    <a:cubicBezTo>
                      <a:pt x="705" y="283"/>
                      <a:pt x="704" y="281"/>
                      <a:pt x="706" y="281"/>
                    </a:cubicBezTo>
                    <a:cubicBezTo>
                      <a:pt x="705" y="279"/>
                      <a:pt x="701" y="279"/>
                      <a:pt x="699" y="279"/>
                    </a:cubicBezTo>
                    <a:cubicBezTo>
                      <a:pt x="700" y="279"/>
                      <a:pt x="701" y="278"/>
                      <a:pt x="702" y="276"/>
                    </a:cubicBezTo>
                    <a:cubicBezTo>
                      <a:pt x="697" y="277"/>
                      <a:pt x="687" y="278"/>
                      <a:pt x="683" y="281"/>
                    </a:cubicBezTo>
                    <a:cubicBezTo>
                      <a:pt x="682" y="282"/>
                      <a:pt x="685" y="282"/>
                      <a:pt x="684" y="283"/>
                    </a:cubicBezTo>
                    <a:cubicBezTo>
                      <a:pt x="683" y="284"/>
                      <a:pt x="682" y="283"/>
                      <a:pt x="681" y="284"/>
                    </a:cubicBezTo>
                    <a:cubicBezTo>
                      <a:pt x="680" y="284"/>
                      <a:pt x="677" y="285"/>
                      <a:pt x="675" y="285"/>
                    </a:cubicBezTo>
                    <a:cubicBezTo>
                      <a:pt x="672" y="286"/>
                      <a:pt x="669" y="287"/>
                      <a:pt x="665" y="287"/>
                    </a:cubicBezTo>
                    <a:cubicBezTo>
                      <a:pt x="660" y="288"/>
                      <a:pt x="658" y="289"/>
                      <a:pt x="654" y="292"/>
                    </a:cubicBezTo>
                    <a:cubicBezTo>
                      <a:pt x="651" y="294"/>
                      <a:pt x="647" y="295"/>
                      <a:pt x="644" y="297"/>
                    </a:cubicBezTo>
                    <a:cubicBezTo>
                      <a:pt x="641" y="298"/>
                      <a:pt x="640" y="301"/>
                      <a:pt x="637" y="303"/>
                    </a:cubicBezTo>
                    <a:cubicBezTo>
                      <a:pt x="634" y="304"/>
                      <a:pt x="631" y="305"/>
                      <a:pt x="628" y="306"/>
                    </a:cubicBezTo>
                    <a:cubicBezTo>
                      <a:pt x="625" y="307"/>
                      <a:pt x="622" y="309"/>
                      <a:pt x="618" y="310"/>
                    </a:cubicBezTo>
                    <a:cubicBezTo>
                      <a:pt x="616" y="311"/>
                      <a:pt x="614" y="311"/>
                      <a:pt x="611" y="311"/>
                    </a:cubicBezTo>
                    <a:cubicBezTo>
                      <a:pt x="610" y="312"/>
                      <a:pt x="609" y="312"/>
                      <a:pt x="608" y="312"/>
                    </a:cubicBezTo>
                    <a:cubicBezTo>
                      <a:pt x="605" y="312"/>
                      <a:pt x="606" y="312"/>
                      <a:pt x="605" y="314"/>
                    </a:cubicBezTo>
                    <a:cubicBezTo>
                      <a:pt x="604" y="318"/>
                      <a:pt x="605" y="317"/>
                      <a:pt x="608" y="318"/>
                    </a:cubicBezTo>
                    <a:cubicBezTo>
                      <a:pt x="611" y="319"/>
                      <a:pt x="612" y="321"/>
                      <a:pt x="614" y="322"/>
                    </a:cubicBezTo>
                    <a:cubicBezTo>
                      <a:pt x="613" y="322"/>
                      <a:pt x="612" y="322"/>
                      <a:pt x="612" y="322"/>
                    </a:cubicBezTo>
                    <a:cubicBezTo>
                      <a:pt x="609" y="322"/>
                      <a:pt x="606" y="322"/>
                      <a:pt x="603" y="321"/>
                    </a:cubicBezTo>
                    <a:cubicBezTo>
                      <a:pt x="600" y="321"/>
                      <a:pt x="597" y="321"/>
                      <a:pt x="594" y="321"/>
                    </a:cubicBezTo>
                    <a:cubicBezTo>
                      <a:pt x="593" y="321"/>
                      <a:pt x="592" y="321"/>
                      <a:pt x="591" y="321"/>
                    </a:cubicBezTo>
                    <a:cubicBezTo>
                      <a:pt x="588" y="321"/>
                      <a:pt x="588" y="322"/>
                      <a:pt x="586" y="323"/>
                    </a:cubicBezTo>
                    <a:cubicBezTo>
                      <a:pt x="584" y="324"/>
                      <a:pt x="578" y="323"/>
                      <a:pt x="577" y="324"/>
                    </a:cubicBezTo>
                    <a:cubicBezTo>
                      <a:pt x="576" y="326"/>
                      <a:pt x="581" y="328"/>
                      <a:pt x="581" y="330"/>
                    </a:cubicBezTo>
                    <a:cubicBezTo>
                      <a:pt x="581" y="333"/>
                      <a:pt x="577" y="335"/>
                      <a:pt x="576" y="338"/>
                    </a:cubicBezTo>
                    <a:cubicBezTo>
                      <a:pt x="576" y="339"/>
                      <a:pt x="576" y="340"/>
                      <a:pt x="576" y="342"/>
                    </a:cubicBezTo>
                    <a:cubicBezTo>
                      <a:pt x="575" y="342"/>
                      <a:pt x="574" y="342"/>
                      <a:pt x="574" y="343"/>
                    </a:cubicBezTo>
                    <a:cubicBezTo>
                      <a:pt x="573" y="344"/>
                      <a:pt x="574" y="344"/>
                      <a:pt x="574" y="345"/>
                    </a:cubicBezTo>
                    <a:cubicBezTo>
                      <a:pt x="575" y="348"/>
                      <a:pt x="576" y="350"/>
                      <a:pt x="574" y="353"/>
                    </a:cubicBezTo>
                    <a:cubicBezTo>
                      <a:pt x="573" y="354"/>
                      <a:pt x="572" y="355"/>
                      <a:pt x="571" y="356"/>
                    </a:cubicBezTo>
                    <a:cubicBezTo>
                      <a:pt x="570" y="357"/>
                      <a:pt x="571" y="359"/>
                      <a:pt x="569" y="359"/>
                    </a:cubicBezTo>
                    <a:cubicBezTo>
                      <a:pt x="569" y="359"/>
                      <a:pt x="568" y="359"/>
                      <a:pt x="567" y="359"/>
                    </a:cubicBezTo>
                    <a:cubicBezTo>
                      <a:pt x="566" y="358"/>
                      <a:pt x="564" y="358"/>
                      <a:pt x="563" y="358"/>
                    </a:cubicBezTo>
                    <a:cubicBezTo>
                      <a:pt x="562" y="358"/>
                      <a:pt x="561" y="358"/>
                      <a:pt x="560" y="358"/>
                    </a:cubicBezTo>
                    <a:cubicBezTo>
                      <a:pt x="560" y="457"/>
                      <a:pt x="560" y="457"/>
                      <a:pt x="560" y="457"/>
                    </a:cubicBezTo>
                    <a:cubicBezTo>
                      <a:pt x="1122" y="457"/>
                      <a:pt x="1122" y="457"/>
                      <a:pt x="1122" y="457"/>
                    </a:cubicBezTo>
                    <a:cubicBezTo>
                      <a:pt x="1122" y="261"/>
                      <a:pt x="1122" y="261"/>
                      <a:pt x="1122" y="261"/>
                    </a:cubicBezTo>
                    <a:cubicBezTo>
                      <a:pt x="1120" y="261"/>
                      <a:pt x="1119" y="261"/>
                      <a:pt x="1118" y="260"/>
                    </a:cubicBezTo>
                    <a:cubicBezTo>
                      <a:pt x="1117" y="260"/>
                      <a:pt x="1117" y="260"/>
                      <a:pt x="1117" y="260"/>
                    </a:cubicBezTo>
                    <a:cubicBezTo>
                      <a:pt x="1117" y="260"/>
                      <a:pt x="1117" y="260"/>
                      <a:pt x="1117" y="260"/>
                    </a:cubicBezTo>
                    <a:cubicBezTo>
                      <a:pt x="1117" y="260"/>
                      <a:pt x="1116" y="260"/>
                      <a:pt x="1116" y="260"/>
                    </a:cubicBezTo>
                    <a:cubicBezTo>
                      <a:pt x="1111" y="260"/>
                      <a:pt x="1108" y="258"/>
                      <a:pt x="1103" y="257"/>
                    </a:cubicBezTo>
                    <a:cubicBezTo>
                      <a:pt x="1092" y="253"/>
                      <a:pt x="1092" y="253"/>
                      <a:pt x="1092" y="253"/>
                    </a:cubicBezTo>
                    <a:cubicBezTo>
                      <a:pt x="1089" y="251"/>
                      <a:pt x="1089" y="251"/>
                      <a:pt x="1089" y="251"/>
                    </a:cubicBezTo>
                    <a:cubicBezTo>
                      <a:pt x="1089" y="249"/>
                      <a:pt x="1089" y="249"/>
                      <a:pt x="1089" y="249"/>
                    </a:cubicBezTo>
                    <a:cubicBezTo>
                      <a:pt x="1089" y="249"/>
                      <a:pt x="1089" y="249"/>
                      <a:pt x="1089" y="249"/>
                    </a:cubicBezTo>
                    <a:cubicBezTo>
                      <a:pt x="1087" y="248"/>
                      <a:pt x="1087" y="248"/>
                      <a:pt x="1087" y="248"/>
                    </a:cubicBezTo>
                    <a:cubicBezTo>
                      <a:pt x="1085" y="247"/>
                      <a:pt x="1085" y="247"/>
                      <a:pt x="1085" y="247"/>
                    </a:cubicBezTo>
                    <a:cubicBezTo>
                      <a:pt x="1067" y="241"/>
                      <a:pt x="1067" y="241"/>
                      <a:pt x="1067" y="241"/>
                    </a:cubicBezTo>
                    <a:cubicBezTo>
                      <a:pt x="1066" y="242"/>
                      <a:pt x="1066" y="242"/>
                      <a:pt x="1066" y="242"/>
                    </a:cubicBezTo>
                    <a:cubicBezTo>
                      <a:pt x="1066" y="243"/>
                      <a:pt x="1066" y="243"/>
                      <a:pt x="1066" y="243"/>
                    </a:cubicBezTo>
                    <a:cubicBezTo>
                      <a:pt x="1066" y="243"/>
                      <a:pt x="1066" y="243"/>
                      <a:pt x="1066" y="243"/>
                    </a:cubicBezTo>
                    <a:cubicBezTo>
                      <a:pt x="1066" y="242"/>
                      <a:pt x="1066" y="242"/>
                      <a:pt x="1066" y="242"/>
                    </a:cubicBezTo>
                    <a:cubicBezTo>
                      <a:pt x="1065" y="243"/>
                      <a:pt x="1063" y="245"/>
                      <a:pt x="1063" y="245"/>
                    </a:cubicBezTo>
                    <a:cubicBezTo>
                      <a:pt x="1063" y="245"/>
                      <a:pt x="1063" y="245"/>
                      <a:pt x="1063" y="245"/>
                    </a:cubicBezTo>
                    <a:cubicBezTo>
                      <a:pt x="1063" y="246"/>
                      <a:pt x="1063" y="246"/>
                      <a:pt x="1063" y="246"/>
                    </a:cubicBezTo>
                    <a:cubicBezTo>
                      <a:pt x="1061" y="247"/>
                      <a:pt x="1061" y="247"/>
                      <a:pt x="1061" y="247"/>
                    </a:cubicBezTo>
                    <a:cubicBezTo>
                      <a:pt x="1061" y="247"/>
                      <a:pt x="1059" y="242"/>
                      <a:pt x="1061" y="241"/>
                    </a:cubicBezTo>
                    <a:cubicBezTo>
                      <a:pt x="1061" y="240"/>
                      <a:pt x="1061" y="240"/>
                      <a:pt x="1062" y="240"/>
                    </a:cubicBezTo>
                    <a:cubicBezTo>
                      <a:pt x="1062" y="240"/>
                      <a:pt x="1063" y="240"/>
                      <a:pt x="1063" y="241"/>
                    </a:cubicBezTo>
                    <a:cubicBezTo>
                      <a:pt x="1064" y="241"/>
                      <a:pt x="1064" y="241"/>
                      <a:pt x="1065" y="241"/>
                    </a:cubicBezTo>
                    <a:cubicBezTo>
                      <a:pt x="1065" y="241"/>
                      <a:pt x="1066" y="241"/>
                      <a:pt x="1066" y="240"/>
                    </a:cubicBezTo>
                    <a:cubicBezTo>
                      <a:pt x="1066" y="239"/>
                      <a:pt x="1060" y="237"/>
                      <a:pt x="1059" y="236"/>
                    </a:cubicBezTo>
                    <a:cubicBezTo>
                      <a:pt x="1054" y="234"/>
                      <a:pt x="1050" y="231"/>
                      <a:pt x="1044" y="229"/>
                    </a:cubicBezTo>
                    <a:cubicBezTo>
                      <a:pt x="1029" y="223"/>
                      <a:pt x="1013" y="220"/>
                      <a:pt x="997" y="218"/>
                    </a:cubicBezTo>
                    <a:cubicBezTo>
                      <a:pt x="986" y="217"/>
                      <a:pt x="975" y="216"/>
                      <a:pt x="964" y="214"/>
                    </a:cubicBezTo>
                    <a:cubicBezTo>
                      <a:pt x="962" y="214"/>
                      <a:pt x="957" y="212"/>
                      <a:pt x="955" y="212"/>
                    </a:cubicBezTo>
                    <a:moveTo>
                      <a:pt x="1121" y="202"/>
                    </a:moveTo>
                    <a:cubicBezTo>
                      <a:pt x="1121" y="202"/>
                      <a:pt x="1121" y="202"/>
                      <a:pt x="1121" y="202"/>
                    </a:cubicBezTo>
                    <a:cubicBezTo>
                      <a:pt x="1121" y="202"/>
                      <a:pt x="1121" y="202"/>
                      <a:pt x="1121" y="202"/>
                    </a:cubicBezTo>
                    <a:cubicBezTo>
                      <a:pt x="1120" y="203"/>
                      <a:pt x="1120" y="203"/>
                      <a:pt x="1120" y="203"/>
                    </a:cubicBezTo>
                    <a:cubicBezTo>
                      <a:pt x="1120" y="203"/>
                      <a:pt x="1120" y="203"/>
                      <a:pt x="1120" y="203"/>
                    </a:cubicBezTo>
                    <a:cubicBezTo>
                      <a:pt x="1120" y="203"/>
                      <a:pt x="1120" y="203"/>
                      <a:pt x="1120" y="203"/>
                    </a:cubicBezTo>
                    <a:cubicBezTo>
                      <a:pt x="1119" y="204"/>
                      <a:pt x="1119" y="204"/>
                      <a:pt x="1119" y="204"/>
                    </a:cubicBezTo>
                    <a:cubicBezTo>
                      <a:pt x="1119" y="204"/>
                      <a:pt x="1119" y="204"/>
                      <a:pt x="1119" y="204"/>
                    </a:cubicBezTo>
                    <a:cubicBezTo>
                      <a:pt x="1119" y="204"/>
                      <a:pt x="1119" y="204"/>
                      <a:pt x="1119" y="204"/>
                    </a:cubicBezTo>
                    <a:cubicBezTo>
                      <a:pt x="1119" y="204"/>
                      <a:pt x="1119" y="204"/>
                      <a:pt x="1119" y="204"/>
                    </a:cubicBezTo>
                    <a:cubicBezTo>
                      <a:pt x="1119" y="204"/>
                      <a:pt x="1119" y="204"/>
                      <a:pt x="1119" y="204"/>
                    </a:cubicBezTo>
                    <a:cubicBezTo>
                      <a:pt x="1119" y="205"/>
                      <a:pt x="1119" y="205"/>
                      <a:pt x="1119" y="205"/>
                    </a:cubicBezTo>
                    <a:cubicBezTo>
                      <a:pt x="1119" y="205"/>
                      <a:pt x="1119" y="205"/>
                      <a:pt x="1119" y="205"/>
                    </a:cubicBezTo>
                    <a:cubicBezTo>
                      <a:pt x="1119" y="205"/>
                      <a:pt x="1119" y="205"/>
                      <a:pt x="1119" y="205"/>
                    </a:cubicBezTo>
                    <a:cubicBezTo>
                      <a:pt x="1119" y="205"/>
                      <a:pt x="1119" y="205"/>
                      <a:pt x="1119" y="205"/>
                    </a:cubicBezTo>
                    <a:cubicBezTo>
                      <a:pt x="1118" y="213"/>
                      <a:pt x="1115" y="214"/>
                      <a:pt x="1116" y="225"/>
                    </a:cubicBezTo>
                    <a:cubicBezTo>
                      <a:pt x="1117" y="226"/>
                      <a:pt x="1117" y="226"/>
                      <a:pt x="1117" y="226"/>
                    </a:cubicBezTo>
                    <a:cubicBezTo>
                      <a:pt x="1117" y="226"/>
                      <a:pt x="1117" y="226"/>
                      <a:pt x="1117" y="226"/>
                    </a:cubicBezTo>
                    <a:cubicBezTo>
                      <a:pt x="1117" y="226"/>
                      <a:pt x="1117" y="226"/>
                      <a:pt x="1117" y="226"/>
                    </a:cubicBezTo>
                    <a:cubicBezTo>
                      <a:pt x="1117" y="227"/>
                      <a:pt x="1117" y="227"/>
                      <a:pt x="1117" y="227"/>
                    </a:cubicBezTo>
                    <a:cubicBezTo>
                      <a:pt x="1118" y="226"/>
                      <a:pt x="1118" y="226"/>
                      <a:pt x="1118" y="226"/>
                    </a:cubicBezTo>
                    <a:cubicBezTo>
                      <a:pt x="1118" y="226"/>
                      <a:pt x="1118" y="226"/>
                      <a:pt x="1118" y="226"/>
                    </a:cubicBezTo>
                    <a:cubicBezTo>
                      <a:pt x="1118" y="224"/>
                      <a:pt x="1118" y="224"/>
                      <a:pt x="1118" y="224"/>
                    </a:cubicBezTo>
                    <a:cubicBezTo>
                      <a:pt x="1118" y="223"/>
                      <a:pt x="1118" y="223"/>
                      <a:pt x="1118" y="223"/>
                    </a:cubicBezTo>
                    <a:cubicBezTo>
                      <a:pt x="1119" y="223"/>
                      <a:pt x="1119" y="223"/>
                      <a:pt x="1119" y="223"/>
                    </a:cubicBezTo>
                    <a:cubicBezTo>
                      <a:pt x="1119" y="223"/>
                      <a:pt x="1119" y="223"/>
                      <a:pt x="1119" y="223"/>
                    </a:cubicBezTo>
                    <a:cubicBezTo>
                      <a:pt x="1119" y="223"/>
                      <a:pt x="1119" y="223"/>
                      <a:pt x="1119" y="223"/>
                    </a:cubicBezTo>
                    <a:cubicBezTo>
                      <a:pt x="1120" y="223"/>
                      <a:pt x="1120" y="223"/>
                      <a:pt x="1120" y="223"/>
                    </a:cubicBezTo>
                    <a:cubicBezTo>
                      <a:pt x="1120" y="223"/>
                      <a:pt x="1120" y="223"/>
                      <a:pt x="1120" y="223"/>
                    </a:cubicBezTo>
                    <a:cubicBezTo>
                      <a:pt x="1120" y="223"/>
                      <a:pt x="1120" y="223"/>
                      <a:pt x="1120" y="223"/>
                    </a:cubicBezTo>
                    <a:cubicBezTo>
                      <a:pt x="1121" y="223"/>
                      <a:pt x="1121" y="223"/>
                      <a:pt x="1121" y="223"/>
                    </a:cubicBezTo>
                    <a:cubicBezTo>
                      <a:pt x="1121" y="222"/>
                      <a:pt x="1121" y="222"/>
                      <a:pt x="1121" y="222"/>
                    </a:cubicBezTo>
                    <a:cubicBezTo>
                      <a:pt x="1122" y="221"/>
                      <a:pt x="1122" y="221"/>
                      <a:pt x="1122" y="221"/>
                    </a:cubicBezTo>
                    <a:cubicBezTo>
                      <a:pt x="1122" y="220"/>
                      <a:pt x="1122" y="220"/>
                      <a:pt x="1122" y="220"/>
                    </a:cubicBezTo>
                    <a:cubicBezTo>
                      <a:pt x="1122" y="202"/>
                      <a:pt x="1122" y="202"/>
                      <a:pt x="1122" y="202"/>
                    </a:cubicBezTo>
                    <a:cubicBezTo>
                      <a:pt x="1122" y="202"/>
                      <a:pt x="1122" y="202"/>
                      <a:pt x="1121" y="202"/>
                    </a:cubicBezTo>
                    <a:moveTo>
                      <a:pt x="1121" y="138"/>
                    </a:moveTo>
                    <a:cubicBezTo>
                      <a:pt x="1119" y="138"/>
                      <a:pt x="1119" y="140"/>
                      <a:pt x="1118" y="142"/>
                    </a:cubicBezTo>
                    <a:cubicBezTo>
                      <a:pt x="1118" y="142"/>
                      <a:pt x="1118" y="142"/>
                      <a:pt x="1118" y="142"/>
                    </a:cubicBezTo>
                    <a:cubicBezTo>
                      <a:pt x="1118" y="143"/>
                      <a:pt x="1118" y="143"/>
                      <a:pt x="1118" y="143"/>
                    </a:cubicBezTo>
                    <a:cubicBezTo>
                      <a:pt x="1118" y="143"/>
                      <a:pt x="1118" y="143"/>
                      <a:pt x="1118" y="143"/>
                    </a:cubicBezTo>
                    <a:cubicBezTo>
                      <a:pt x="1118" y="143"/>
                      <a:pt x="1118" y="143"/>
                      <a:pt x="1118" y="143"/>
                    </a:cubicBezTo>
                    <a:cubicBezTo>
                      <a:pt x="1117" y="144"/>
                      <a:pt x="1117" y="144"/>
                      <a:pt x="1117" y="144"/>
                    </a:cubicBezTo>
                    <a:cubicBezTo>
                      <a:pt x="1117" y="144"/>
                      <a:pt x="1117" y="144"/>
                      <a:pt x="1117" y="144"/>
                    </a:cubicBezTo>
                    <a:cubicBezTo>
                      <a:pt x="1117" y="144"/>
                      <a:pt x="1117" y="144"/>
                      <a:pt x="1117" y="144"/>
                    </a:cubicBezTo>
                    <a:cubicBezTo>
                      <a:pt x="1117" y="145"/>
                      <a:pt x="1117" y="145"/>
                      <a:pt x="1117" y="145"/>
                    </a:cubicBezTo>
                    <a:cubicBezTo>
                      <a:pt x="1117" y="145"/>
                      <a:pt x="1117" y="145"/>
                      <a:pt x="1117" y="145"/>
                    </a:cubicBezTo>
                    <a:cubicBezTo>
                      <a:pt x="1116" y="145"/>
                      <a:pt x="1116" y="145"/>
                      <a:pt x="1116" y="145"/>
                    </a:cubicBezTo>
                    <a:cubicBezTo>
                      <a:pt x="1116" y="146"/>
                      <a:pt x="1116" y="146"/>
                      <a:pt x="1116" y="146"/>
                    </a:cubicBezTo>
                    <a:cubicBezTo>
                      <a:pt x="1116" y="146"/>
                      <a:pt x="1116" y="146"/>
                      <a:pt x="1116" y="146"/>
                    </a:cubicBezTo>
                    <a:cubicBezTo>
                      <a:pt x="1115" y="147"/>
                      <a:pt x="1114" y="147"/>
                      <a:pt x="1113" y="149"/>
                    </a:cubicBezTo>
                    <a:cubicBezTo>
                      <a:pt x="1112" y="151"/>
                      <a:pt x="1112" y="151"/>
                      <a:pt x="1112" y="151"/>
                    </a:cubicBezTo>
                    <a:cubicBezTo>
                      <a:pt x="1112" y="152"/>
                      <a:pt x="1112" y="152"/>
                      <a:pt x="1112" y="152"/>
                    </a:cubicBezTo>
                    <a:cubicBezTo>
                      <a:pt x="1112" y="152"/>
                      <a:pt x="1112" y="152"/>
                      <a:pt x="1112" y="152"/>
                    </a:cubicBezTo>
                    <a:cubicBezTo>
                      <a:pt x="1112" y="153"/>
                      <a:pt x="1112" y="153"/>
                      <a:pt x="1112" y="153"/>
                    </a:cubicBezTo>
                    <a:cubicBezTo>
                      <a:pt x="1113" y="153"/>
                      <a:pt x="1113" y="153"/>
                      <a:pt x="1114" y="153"/>
                    </a:cubicBezTo>
                    <a:cubicBezTo>
                      <a:pt x="1114" y="153"/>
                      <a:pt x="1114" y="153"/>
                      <a:pt x="1114" y="153"/>
                    </a:cubicBezTo>
                    <a:cubicBezTo>
                      <a:pt x="1114" y="153"/>
                      <a:pt x="1114" y="153"/>
                      <a:pt x="1114" y="153"/>
                    </a:cubicBezTo>
                    <a:cubicBezTo>
                      <a:pt x="1114" y="153"/>
                      <a:pt x="1114" y="153"/>
                      <a:pt x="1114" y="153"/>
                    </a:cubicBezTo>
                    <a:cubicBezTo>
                      <a:pt x="1115" y="153"/>
                      <a:pt x="1115" y="153"/>
                      <a:pt x="1115" y="153"/>
                    </a:cubicBezTo>
                    <a:cubicBezTo>
                      <a:pt x="1115" y="153"/>
                      <a:pt x="1115" y="153"/>
                      <a:pt x="1115" y="153"/>
                    </a:cubicBezTo>
                    <a:cubicBezTo>
                      <a:pt x="1115" y="153"/>
                      <a:pt x="1115" y="153"/>
                      <a:pt x="1115" y="153"/>
                    </a:cubicBezTo>
                    <a:cubicBezTo>
                      <a:pt x="1115" y="152"/>
                      <a:pt x="1115" y="152"/>
                      <a:pt x="1115" y="152"/>
                    </a:cubicBezTo>
                    <a:cubicBezTo>
                      <a:pt x="1115" y="151"/>
                      <a:pt x="1115" y="151"/>
                      <a:pt x="1115" y="151"/>
                    </a:cubicBezTo>
                    <a:cubicBezTo>
                      <a:pt x="1115" y="151"/>
                      <a:pt x="1115" y="151"/>
                      <a:pt x="1115" y="151"/>
                    </a:cubicBezTo>
                    <a:cubicBezTo>
                      <a:pt x="1116" y="150"/>
                      <a:pt x="1116" y="150"/>
                      <a:pt x="1116" y="150"/>
                    </a:cubicBezTo>
                    <a:cubicBezTo>
                      <a:pt x="1117" y="150"/>
                      <a:pt x="1117" y="150"/>
                      <a:pt x="1117" y="150"/>
                    </a:cubicBezTo>
                    <a:cubicBezTo>
                      <a:pt x="1118" y="149"/>
                      <a:pt x="1118" y="149"/>
                      <a:pt x="1118" y="149"/>
                    </a:cubicBezTo>
                    <a:cubicBezTo>
                      <a:pt x="1119" y="150"/>
                      <a:pt x="1119" y="150"/>
                      <a:pt x="1119" y="150"/>
                    </a:cubicBezTo>
                    <a:cubicBezTo>
                      <a:pt x="1119" y="150"/>
                      <a:pt x="1119" y="150"/>
                      <a:pt x="1119" y="150"/>
                    </a:cubicBezTo>
                    <a:cubicBezTo>
                      <a:pt x="1118" y="150"/>
                      <a:pt x="1118" y="150"/>
                      <a:pt x="1118" y="150"/>
                    </a:cubicBezTo>
                    <a:cubicBezTo>
                      <a:pt x="1118" y="150"/>
                      <a:pt x="1118" y="150"/>
                      <a:pt x="1118" y="150"/>
                    </a:cubicBezTo>
                    <a:cubicBezTo>
                      <a:pt x="1118" y="151"/>
                      <a:pt x="1118" y="151"/>
                      <a:pt x="1118" y="151"/>
                    </a:cubicBezTo>
                    <a:cubicBezTo>
                      <a:pt x="1118" y="151"/>
                      <a:pt x="1118" y="151"/>
                      <a:pt x="1118" y="151"/>
                    </a:cubicBezTo>
                    <a:cubicBezTo>
                      <a:pt x="1118" y="152"/>
                      <a:pt x="1118" y="153"/>
                      <a:pt x="1117" y="153"/>
                    </a:cubicBezTo>
                    <a:cubicBezTo>
                      <a:pt x="1117" y="154"/>
                      <a:pt x="1117" y="154"/>
                      <a:pt x="1117" y="154"/>
                    </a:cubicBezTo>
                    <a:cubicBezTo>
                      <a:pt x="1117" y="154"/>
                      <a:pt x="1117" y="154"/>
                      <a:pt x="1117" y="154"/>
                    </a:cubicBezTo>
                    <a:cubicBezTo>
                      <a:pt x="1115" y="157"/>
                      <a:pt x="1115" y="157"/>
                      <a:pt x="1112" y="159"/>
                    </a:cubicBezTo>
                    <a:cubicBezTo>
                      <a:pt x="1112" y="160"/>
                      <a:pt x="1112" y="160"/>
                      <a:pt x="1112" y="160"/>
                    </a:cubicBezTo>
                    <a:cubicBezTo>
                      <a:pt x="1112" y="161"/>
                      <a:pt x="1112" y="161"/>
                      <a:pt x="1112" y="161"/>
                    </a:cubicBezTo>
                    <a:cubicBezTo>
                      <a:pt x="1112" y="161"/>
                      <a:pt x="1112" y="161"/>
                      <a:pt x="1112" y="161"/>
                    </a:cubicBezTo>
                    <a:cubicBezTo>
                      <a:pt x="1112" y="161"/>
                      <a:pt x="1112" y="161"/>
                      <a:pt x="1112" y="161"/>
                    </a:cubicBezTo>
                    <a:cubicBezTo>
                      <a:pt x="1112" y="162"/>
                      <a:pt x="1112" y="162"/>
                      <a:pt x="1112" y="162"/>
                    </a:cubicBezTo>
                    <a:cubicBezTo>
                      <a:pt x="1113" y="162"/>
                      <a:pt x="1113" y="162"/>
                      <a:pt x="1113" y="162"/>
                    </a:cubicBezTo>
                    <a:cubicBezTo>
                      <a:pt x="1113" y="162"/>
                      <a:pt x="1113" y="162"/>
                      <a:pt x="1113" y="162"/>
                    </a:cubicBezTo>
                    <a:cubicBezTo>
                      <a:pt x="1113" y="163"/>
                      <a:pt x="1113" y="163"/>
                      <a:pt x="1113" y="163"/>
                    </a:cubicBezTo>
                    <a:cubicBezTo>
                      <a:pt x="1113" y="164"/>
                      <a:pt x="1113" y="164"/>
                      <a:pt x="1113" y="164"/>
                    </a:cubicBezTo>
                    <a:cubicBezTo>
                      <a:pt x="1113" y="165"/>
                      <a:pt x="1113" y="165"/>
                      <a:pt x="1113" y="165"/>
                    </a:cubicBezTo>
                    <a:cubicBezTo>
                      <a:pt x="1113" y="165"/>
                      <a:pt x="1113" y="165"/>
                      <a:pt x="1113" y="165"/>
                    </a:cubicBezTo>
                    <a:cubicBezTo>
                      <a:pt x="1114" y="165"/>
                      <a:pt x="1114" y="165"/>
                      <a:pt x="1114" y="165"/>
                    </a:cubicBezTo>
                    <a:cubicBezTo>
                      <a:pt x="1114" y="165"/>
                      <a:pt x="1114" y="165"/>
                      <a:pt x="1114" y="165"/>
                    </a:cubicBezTo>
                    <a:cubicBezTo>
                      <a:pt x="1114" y="165"/>
                      <a:pt x="1114" y="165"/>
                      <a:pt x="1114" y="165"/>
                    </a:cubicBezTo>
                    <a:cubicBezTo>
                      <a:pt x="1115" y="165"/>
                      <a:pt x="1115" y="165"/>
                      <a:pt x="1115" y="165"/>
                    </a:cubicBezTo>
                    <a:cubicBezTo>
                      <a:pt x="1116" y="164"/>
                      <a:pt x="1118" y="164"/>
                      <a:pt x="1120" y="164"/>
                    </a:cubicBezTo>
                    <a:cubicBezTo>
                      <a:pt x="1121" y="164"/>
                      <a:pt x="1121" y="164"/>
                      <a:pt x="1121" y="164"/>
                    </a:cubicBezTo>
                    <a:cubicBezTo>
                      <a:pt x="1121" y="164"/>
                      <a:pt x="1121" y="164"/>
                      <a:pt x="1121" y="164"/>
                    </a:cubicBezTo>
                    <a:cubicBezTo>
                      <a:pt x="1122" y="164"/>
                      <a:pt x="1122" y="164"/>
                      <a:pt x="1122" y="164"/>
                    </a:cubicBezTo>
                    <a:cubicBezTo>
                      <a:pt x="1122" y="163"/>
                      <a:pt x="1122" y="163"/>
                      <a:pt x="1122" y="163"/>
                    </a:cubicBezTo>
                    <a:cubicBezTo>
                      <a:pt x="1122" y="138"/>
                      <a:pt x="1122" y="138"/>
                      <a:pt x="1122" y="138"/>
                    </a:cubicBezTo>
                    <a:cubicBezTo>
                      <a:pt x="1122" y="138"/>
                      <a:pt x="1122" y="138"/>
                      <a:pt x="1122" y="138"/>
                    </a:cubicBezTo>
                    <a:cubicBezTo>
                      <a:pt x="1121" y="138"/>
                      <a:pt x="1121" y="138"/>
                      <a:pt x="1121" y="138"/>
                    </a:cubicBezTo>
                    <a:moveTo>
                      <a:pt x="560" y="915"/>
                    </a:moveTo>
                    <a:cubicBezTo>
                      <a:pt x="126" y="915"/>
                      <a:pt x="126" y="915"/>
                      <a:pt x="126" y="915"/>
                    </a:cubicBezTo>
                    <a:cubicBezTo>
                      <a:pt x="126" y="916"/>
                      <a:pt x="126" y="916"/>
                      <a:pt x="126" y="917"/>
                    </a:cubicBezTo>
                    <a:cubicBezTo>
                      <a:pt x="128" y="918"/>
                      <a:pt x="133" y="919"/>
                      <a:pt x="142" y="920"/>
                    </a:cubicBezTo>
                    <a:cubicBezTo>
                      <a:pt x="150" y="920"/>
                      <a:pt x="150" y="920"/>
                      <a:pt x="150" y="920"/>
                    </a:cubicBezTo>
                    <a:cubicBezTo>
                      <a:pt x="144" y="926"/>
                      <a:pt x="144" y="926"/>
                      <a:pt x="144" y="926"/>
                    </a:cubicBezTo>
                    <a:cubicBezTo>
                      <a:pt x="143" y="926"/>
                      <a:pt x="143" y="926"/>
                      <a:pt x="143" y="926"/>
                    </a:cubicBezTo>
                    <a:cubicBezTo>
                      <a:pt x="144" y="926"/>
                      <a:pt x="144" y="927"/>
                      <a:pt x="146" y="928"/>
                    </a:cubicBezTo>
                    <a:cubicBezTo>
                      <a:pt x="147" y="928"/>
                      <a:pt x="148" y="929"/>
                      <a:pt x="149" y="930"/>
                    </a:cubicBezTo>
                    <a:cubicBezTo>
                      <a:pt x="151" y="931"/>
                      <a:pt x="153" y="933"/>
                      <a:pt x="153" y="936"/>
                    </a:cubicBezTo>
                    <a:cubicBezTo>
                      <a:pt x="153" y="937"/>
                      <a:pt x="152" y="938"/>
                      <a:pt x="151" y="940"/>
                    </a:cubicBezTo>
                    <a:cubicBezTo>
                      <a:pt x="151" y="940"/>
                      <a:pt x="150" y="941"/>
                      <a:pt x="149" y="941"/>
                    </a:cubicBezTo>
                    <a:cubicBezTo>
                      <a:pt x="148" y="941"/>
                      <a:pt x="147" y="942"/>
                      <a:pt x="145" y="943"/>
                    </a:cubicBezTo>
                    <a:cubicBezTo>
                      <a:pt x="145" y="944"/>
                      <a:pt x="144" y="944"/>
                      <a:pt x="144" y="945"/>
                    </a:cubicBezTo>
                    <a:cubicBezTo>
                      <a:pt x="143" y="945"/>
                      <a:pt x="143" y="945"/>
                      <a:pt x="143" y="945"/>
                    </a:cubicBezTo>
                    <a:cubicBezTo>
                      <a:pt x="142" y="946"/>
                      <a:pt x="142" y="946"/>
                      <a:pt x="142" y="946"/>
                    </a:cubicBezTo>
                    <a:cubicBezTo>
                      <a:pt x="141" y="946"/>
                      <a:pt x="141" y="946"/>
                      <a:pt x="141" y="946"/>
                    </a:cubicBezTo>
                    <a:cubicBezTo>
                      <a:pt x="138" y="948"/>
                      <a:pt x="138" y="948"/>
                      <a:pt x="138" y="948"/>
                    </a:cubicBezTo>
                    <a:cubicBezTo>
                      <a:pt x="137" y="948"/>
                      <a:pt x="137" y="948"/>
                      <a:pt x="137" y="948"/>
                    </a:cubicBezTo>
                    <a:cubicBezTo>
                      <a:pt x="136" y="948"/>
                      <a:pt x="136" y="949"/>
                      <a:pt x="136" y="949"/>
                    </a:cubicBezTo>
                    <a:cubicBezTo>
                      <a:pt x="135" y="949"/>
                      <a:pt x="135" y="949"/>
                      <a:pt x="134" y="949"/>
                    </a:cubicBezTo>
                    <a:cubicBezTo>
                      <a:pt x="134" y="949"/>
                      <a:pt x="134" y="949"/>
                      <a:pt x="134" y="949"/>
                    </a:cubicBezTo>
                    <a:cubicBezTo>
                      <a:pt x="132" y="950"/>
                      <a:pt x="130" y="950"/>
                      <a:pt x="128" y="950"/>
                    </a:cubicBezTo>
                    <a:cubicBezTo>
                      <a:pt x="127" y="950"/>
                      <a:pt x="126" y="950"/>
                      <a:pt x="125" y="950"/>
                    </a:cubicBezTo>
                    <a:cubicBezTo>
                      <a:pt x="123" y="950"/>
                      <a:pt x="121" y="949"/>
                      <a:pt x="119" y="949"/>
                    </a:cubicBezTo>
                    <a:cubicBezTo>
                      <a:pt x="119" y="949"/>
                      <a:pt x="119" y="949"/>
                      <a:pt x="119" y="949"/>
                    </a:cubicBezTo>
                    <a:cubicBezTo>
                      <a:pt x="117" y="949"/>
                      <a:pt x="116" y="949"/>
                      <a:pt x="115" y="949"/>
                    </a:cubicBezTo>
                    <a:cubicBezTo>
                      <a:pt x="114" y="949"/>
                      <a:pt x="114" y="949"/>
                      <a:pt x="114" y="949"/>
                    </a:cubicBezTo>
                    <a:cubicBezTo>
                      <a:pt x="113" y="949"/>
                      <a:pt x="113" y="949"/>
                      <a:pt x="112" y="949"/>
                    </a:cubicBezTo>
                    <a:cubicBezTo>
                      <a:pt x="112" y="949"/>
                      <a:pt x="112" y="949"/>
                      <a:pt x="112" y="949"/>
                    </a:cubicBezTo>
                    <a:cubicBezTo>
                      <a:pt x="112" y="949"/>
                      <a:pt x="112" y="949"/>
                      <a:pt x="112" y="949"/>
                    </a:cubicBezTo>
                    <a:cubicBezTo>
                      <a:pt x="113" y="951"/>
                      <a:pt x="114" y="953"/>
                      <a:pt x="115" y="953"/>
                    </a:cubicBezTo>
                    <a:cubicBezTo>
                      <a:pt x="118" y="955"/>
                      <a:pt x="121" y="959"/>
                      <a:pt x="119" y="972"/>
                    </a:cubicBezTo>
                    <a:cubicBezTo>
                      <a:pt x="119" y="975"/>
                      <a:pt x="120" y="976"/>
                      <a:pt x="121" y="977"/>
                    </a:cubicBezTo>
                    <a:cubicBezTo>
                      <a:pt x="122" y="978"/>
                      <a:pt x="122" y="978"/>
                      <a:pt x="122" y="978"/>
                    </a:cubicBezTo>
                    <a:cubicBezTo>
                      <a:pt x="123" y="979"/>
                      <a:pt x="123" y="979"/>
                      <a:pt x="123" y="979"/>
                    </a:cubicBezTo>
                    <a:cubicBezTo>
                      <a:pt x="123" y="979"/>
                      <a:pt x="123" y="979"/>
                      <a:pt x="123" y="979"/>
                    </a:cubicBezTo>
                    <a:cubicBezTo>
                      <a:pt x="123" y="980"/>
                      <a:pt x="123" y="980"/>
                      <a:pt x="123" y="980"/>
                    </a:cubicBezTo>
                    <a:cubicBezTo>
                      <a:pt x="125" y="983"/>
                      <a:pt x="125" y="983"/>
                      <a:pt x="125" y="983"/>
                    </a:cubicBezTo>
                    <a:cubicBezTo>
                      <a:pt x="126" y="983"/>
                      <a:pt x="128" y="983"/>
                      <a:pt x="129" y="983"/>
                    </a:cubicBezTo>
                    <a:cubicBezTo>
                      <a:pt x="131" y="983"/>
                      <a:pt x="132" y="983"/>
                      <a:pt x="133" y="982"/>
                    </a:cubicBezTo>
                    <a:cubicBezTo>
                      <a:pt x="133" y="982"/>
                      <a:pt x="133" y="982"/>
                      <a:pt x="133" y="982"/>
                    </a:cubicBezTo>
                    <a:cubicBezTo>
                      <a:pt x="136" y="978"/>
                      <a:pt x="139" y="973"/>
                      <a:pt x="145" y="973"/>
                    </a:cubicBezTo>
                    <a:cubicBezTo>
                      <a:pt x="146" y="973"/>
                      <a:pt x="147" y="973"/>
                      <a:pt x="147" y="973"/>
                    </a:cubicBezTo>
                    <a:cubicBezTo>
                      <a:pt x="149" y="974"/>
                      <a:pt x="151" y="974"/>
                      <a:pt x="154" y="974"/>
                    </a:cubicBezTo>
                    <a:cubicBezTo>
                      <a:pt x="157" y="974"/>
                      <a:pt x="161" y="973"/>
                      <a:pt x="165" y="972"/>
                    </a:cubicBezTo>
                    <a:cubicBezTo>
                      <a:pt x="168" y="971"/>
                      <a:pt x="172" y="971"/>
                      <a:pt x="175" y="971"/>
                    </a:cubicBezTo>
                    <a:cubicBezTo>
                      <a:pt x="177" y="971"/>
                      <a:pt x="180" y="971"/>
                      <a:pt x="181" y="973"/>
                    </a:cubicBezTo>
                    <a:cubicBezTo>
                      <a:pt x="182" y="973"/>
                      <a:pt x="182" y="973"/>
                      <a:pt x="182" y="973"/>
                    </a:cubicBezTo>
                    <a:cubicBezTo>
                      <a:pt x="189" y="979"/>
                      <a:pt x="192" y="983"/>
                      <a:pt x="191" y="986"/>
                    </a:cubicBezTo>
                    <a:cubicBezTo>
                      <a:pt x="191" y="987"/>
                      <a:pt x="191" y="987"/>
                      <a:pt x="191" y="987"/>
                    </a:cubicBezTo>
                    <a:cubicBezTo>
                      <a:pt x="191" y="988"/>
                      <a:pt x="191" y="989"/>
                      <a:pt x="192" y="989"/>
                    </a:cubicBezTo>
                    <a:cubicBezTo>
                      <a:pt x="194" y="990"/>
                      <a:pt x="197" y="992"/>
                      <a:pt x="199" y="994"/>
                    </a:cubicBezTo>
                    <a:cubicBezTo>
                      <a:pt x="200" y="996"/>
                      <a:pt x="200" y="996"/>
                      <a:pt x="200" y="997"/>
                    </a:cubicBezTo>
                    <a:cubicBezTo>
                      <a:pt x="201" y="1000"/>
                      <a:pt x="201" y="1000"/>
                      <a:pt x="201" y="1000"/>
                    </a:cubicBezTo>
                    <a:cubicBezTo>
                      <a:pt x="198" y="1001"/>
                      <a:pt x="198" y="1001"/>
                      <a:pt x="198" y="1001"/>
                    </a:cubicBezTo>
                    <a:cubicBezTo>
                      <a:pt x="195" y="1001"/>
                      <a:pt x="194" y="1002"/>
                      <a:pt x="192" y="1002"/>
                    </a:cubicBezTo>
                    <a:cubicBezTo>
                      <a:pt x="194" y="1005"/>
                      <a:pt x="195" y="1009"/>
                      <a:pt x="194" y="1012"/>
                    </a:cubicBezTo>
                    <a:cubicBezTo>
                      <a:pt x="194" y="1013"/>
                      <a:pt x="194" y="1013"/>
                      <a:pt x="194" y="1014"/>
                    </a:cubicBezTo>
                    <a:cubicBezTo>
                      <a:pt x="195" y="1014"/>
                      <a:pt x="196" y="1014"/>
                      <a:pt x="197" y="1014"/>
                    </a:cubicBezTo>
                    <a:cubicBezTo>
                      <a:pt x="199" y="1014"/>
                      <a:pt x="201" y="1014"/>
                      <a:pt x="203" y="1016"/>
                    </a:cubicBezTo>
                    <a:cubicBezTo>
                      <a:pt x="204" y="1016"/>
                      <a:pt x="205" y="1016"/>
                      <a:pt x="206" y="1016"/>
                    </a:cubicBezTo>
                    <a:cubicBezTo>
                      <a:pt x="207" y="1016"/>
                      <a:pt x="207" y="1016"/>
                      <a:pt x="208" y="1016"/>
                    </a:cubicBezTo>
                    <a:cubicBezTo>
                      <a:pt x="209" y="1016"/>
                      <a:pt x="210" y="1015"/>
                      <a:pt x="211" y="1015"/>
                    </a:cubicBezTo>
                    <a:cubicBezTo>
                      <a:pt x="213" y="1015"/>
                      <a:pt x="216" y="1016"/>
                      <a:pt x="219" y="1018"/>
                    </a:cubicBezTo>
                    <a:cubicBezTo>
                      <a:pt x="222" y="1021"/>
                      <a:pt x="225" y="1022"/>
                      <a:pt x="225" y="1022"/>
                    </a:cubicBezTo>
                    <a:cubicBezTo>
                      <a:pt x="229" y="1024"/>
                      <a:pt x="229" y="1024"/>
                      <a:pt x="229" y="1024"/>
                    </a:cubicBezTo>
                    <a:cubicBezTo>
                      <a:pt x="226" y="1028"/>
                      <a:pt x="226" y="1028"/>
                      <a:pt x="226" y="1028"/>
                    </a:cubicBezTo>
                    <a:cubicBezTo>
                      <a:pt x="226" y="1028"/>
                      <a:pt x="225" y="1029"/>
                      <a:pt x="226" y="1030"/>
                    </a:cubicBezTo>
                    <a:cubicBezTo>
                      <a:pt x="228" y="1035"/>
                      <a:pt x="230" y="1040"/>
                      <a:pt x="229" y="1043"/>
                    </a:cubicBezTo>
                    <a:cubicBezTo>
                      <a:pt x="229" y="1044"/>
                      <a:pt x="230" y="1045"/>
                      <a:pt x="231" y="1046"/>
                    </a:cubicBezTo>
                    <a:cubicBezTo>
                      <a:pt x="232" y="1046"/>
                      <a:pt x="233" y="1047"/>
                      <a:pt x="234" y="1047"/>
                    </a:cubicBezTo>
                    <a:cubicBezTo>
                      <a:pt x="235" y="1047"/>
                      <a:pt x="235" y="1047"/>
                      <a:pt x="236" y="1046"/>
                    </a:cubicBezTo>
                    <a:cubicBezTo>
                      <a:pt x="238" y="1045"/>
                      <a:pt x="240" y="1045"/>
                      <a:pt x="243" y="1045"/>
                    </a:cubicBezTo>
                    <a:cubicBezTo>
                      <a:pt x="246" y="1045"/>
                      <a:pt x="249" y="1046"/>
                      <a:pt x="252" y="1048"/>
                    </a:cubicBezTo>
                    <a:cubicBezTo>
                      <a:pt x="254" y="1049"/>
                      <a:pt x="257" y="1050"/>
                      <a:pt x="260" y="1050"/>
                    </a:cubicBezTo>
                    <a:cubicBezTo>
                      <a:pt x="263" y="1050"/>
                      <a:pt x="265" y="1049"/>
                      <a:pt x="267" y="1049"/>
                    </a:cubicBezTo>
                    <a:cubicBezTo>
                      <a:pt x="273" y="1046"/>
                      <a:pt x="281" y="1044"/>
                      <a:pt x="281" y="1044"/>
                    </a:cubicBezTo>
                    <a:cubicBezTo>
                      <a:pt x="282" y="1044"/>
                      <a:pt x="282" y="1044"/>
                      <a:pt x="282" y="1044"/>
                    </a:cubicBezTo>
                    <a:cubicBezTo>
                      <a:pt x="283" y="1044"/>
                      <a:pt x="286" y="1045"/>
                      <a:pt x="291" y="1050"/>
                    </a:cubicBezTo>
                    <a:cubicBezTo>
                      <a:pt x="293" y="1053"/>
                      <a:pt x="297" y="1059"/>
                      <a:pt x="299" y="1062"/>
                    </a:cubicBezTo>
                    <a:cubicBezTo>
                      <a:pt x="302" y="1059"/>
                      <a:pt x="304" y="1058"/>
                      <a:pt x="306" y="1058"/>
                    </a:cubicBezTo>
                    <a:cubicBezTo>
                      <a:pt x="306" y="1058"/>
                      <a:pt x="306" y="1058"/>
                      <a:pt x="307" y="1058"/>
                    </a:cubicBezTo>
                    <a:cubicBezTo>
                      <a:pt x="308" y="1058"/>
                      <a:pt x="310" y="1058"/>
                      <a:pt x="311" y="1059"/>
                    </a:cubicBezTo>
                    <a:cubicBezTo>
                      <a:pt x="312" y="1059"/>
                      <a:pt x="313" y="1059"/>
                      <a:pt x="314" y="1059"/>
                    </a:cubicBezTo>
                    <a:cubicBezTo>
                      <a:pt x="319" y="1060"/>
                      <a:pt x="323" y="1064"/>
                      <a:pt x="324" y="1066"/>
                    </a:cubicBezTo>
                    <a:cubicBezTo>
                      <a:pt x="325" y="1067"/>
                      <a:pt x="325" y="1067"/>
                      <a:pt x="325" y="1067"/>
                    </a:cubicBezTo>
                    <a:cubicBezTo>
                      <a:pt x="326" y="1067"/>
                      <a:pt x="326" y="1067"/>
                      <a:pt x="326" y="1067"/>
                    </a:cubicBezTo>
                    <a:cubicBezTo>
                      <a:pt x="327" y="1066"/>
                      <a:pt x="329" y="1065"/>
                      <a:pt x="332" y="1065"/>
                    </a:cubicBezTo>
                    <a:cubicBezTo>
                      <a:pt x="334" y="1065"/>
                      <a:pt x="338" y="1066"/>
                      <a:pt x="341" y="1070"/>
                    </a:cubicBezTo>
                    <a:cubicBezTo>
                      <a:pt x="342" y="1070"/>
                      <a:pt x="343" y="1071"/>
                      <a:pt x="343" y="1072"/>
                    </a:cubicBezTo>
                    <a:cubicBezTo>
                      <a:pt x="346" y="1075"/>
                      <a:pt x="348" y="1077"/>
                      <a:pt x="352" y="1077"/>
                    </a:cubicBezTo>
                    <a:cubicBezTo>
                      <a:pt x="353" y="1077"/>
                      <a:pt x="355" y="1077"/>
                      <a:pt x="357" y="1075"/>
                    </a:cubicBezTo>
                    <a:cubicBezTo>
                      <a:pt x="361" y="1074"/>
                      <a:pt x="361" y="1074"/>
                      <a:pt x="361" y="1074"/>
                    </a:cubicBezTo>
                    <a:cubicBezTo>
                      <a:pt x="362" y="1078"/>
                      <a:pt x="362" y="1078"/>
                      <a:pt x="362" y="1078"/>
                    </a:cubicBezTo>
                    <a:cubicBezTo>
                      <a:pt x="364" y="1085"/>
                      <a:pt x="363" y="1089"/>
                      <a:pt x="362" y="1092"/>
                    </a:cubicBezTo>
                    <a:cubicBezTo>
                      <a:pt x="362" y="1092"/>
                      <a:pt x="362" y="1092"/>
                      <a:pt x="362" y="1092"/>
                    </a:cubicBezTo>
                    <a:cubicBezTo>
                      <a:pt x="361" y="1095"/>
                      <a:pt x="356" y="1099"/>
                      <a:pt x="352" y="1102"/>
                    </a:cubicBezTo>
                    <a:cubicBezTo>
                      <a:pt x="354" y="1102"/>
                      <a:pt x="357" y="1103"/>
                      <a:pt x="357" y="1103"/>
                    </a:cubicBezTo>
                    <a:cubicBezTo>
                      <a:pt x="378" y="1107"/>
                      <a:pt x="378" y="1107"/>
                      <a:pt x="378" y="1107"/>
                    </a:cubicBezTo>
                    <a:cubicBezTo>
                      <a:pt x="357" y="1110"/>
                      <a:pt x="357" y="1110"/>
                      <a:pt x="357" y="1110"/>
                    </a:cubicBezTo>
                    <a:cubicBezTo>
                      <a:pt x="354" y="1110"/>
                      <a:pt x="351" y="1112"/>
                      <a:pt x="349" y="1113"/>
                    </a:cubicBezTo>
                    <a:cubicBezTo>
                      <a:pt x="353" y="1114"/>
                      <a:pt x="354" y="1117"/>
                      <a:pt x="355" y="1119"/>
                    </a:cubicBezTo>
                    <a:cubicBezTo>
                      <a:pt x="356" y="1121"/>
                      <a:pt x="358" y="1125"/>
                      <a:pt x="357" y="1128"/>
                    </a:cubicBezTo>
                    <a:cubicBezTo>
                      <a:pt x="357" y="1129"/>
                      <a:pt x="357" y="1130"/>
                      <a:pt x="356" y="1131"/>
                    </a:cubicBezTo>
                    <a:cubicBezTo>
                      <a:pt x="355" y="1132"/>
                      <a:pt x="353" y="1138"/>
                      <a:pt x="352" y="1141"/>
                    </a:cubicBezTo>
                    <a:cubicBezTo>
                      <a:pt x="352" y="1142"/>
                      <a:pt x="351" y="1144"/>
                      <a:pt x="350" y="1145"/>
                    </a:cubicBezTo>
                    <a:cubicBezTo>
                      <a:pt x="349" y="1146"/>
                      <a:pt x="346" y="1147"/>
                      <a:pt x="344" y="1147"/>
                    </a:cubicBezTo>
                    <a:cubicBezTo>
                      <a:pt x="343" y="1147"/>
                      <a:pt x="342" y="1147"/>
                      <a:pt x="341" y="1146"/>
                    </a:cubicBezTo>
                    <a:cubicBezTo>
                      <a:pt x="338" y="1146"/>
                      <a:pt x="333" y="1145"/>
                      <a:pt x="330" y="1145"/>
                    </a:cubicBezTo>
                    <a:cubicBezTo>
                      <a:pt x="329" y="1145"/>
                      <a:pt x="328" y="1145"/>
                      <a:pt x="328" y="1146"/>
                    </a:cubicBezTo>
                    <a:cubicBezTo>
                      <a:pt x="326" y="1148"/>
                      <a:pt x="321" y="1151"/>
                      <a:pt x="316" y="1152"/>
                    </a:cubicBezTo>
                    <a:cubicBezTo>
                      <a:pt x="313" y="1152"/>
                      <a:pt x="309" y="1154"/>
                      <a:pt x="309" y="1159"/>
                    </a:cubicBezTo>
                    <a:cubicBezTo>
                      <a:pt x="309" y="1160"/>
                      <a:pt x="309" y="1161"/>
                      <a:pt x="309" y="1162"/>
                    </a:cubicBezTo>
                    <a:cubicBezTo>
                      <a:pt x="309" y="1165"/>
                      <a:pt x="309" y="1165"/>
                      <a:pt x="309" y="1165"/>
                    </a:cubicBezTo>
                    <a:cubicBezTo>
                      <a:pt x="309" y="1166"/>
                      <a:pt x="309" y="1167"/>
                      <a:pt x="308" y="1168"/>
                    </a:cubicBezTo>
                    <a:cubicBezTo>
                      <a:pt x="310" y="1167"/>
                      <a:pt x="312" y="1167"/>
                      <a:pt x="314" y="1166"/>
                    </a:cubicBezTo>
                    <a:cubicBezTo>
                      <a:pt x="313" y="1167"/>
                      <a:pt x="312" y="1167"/>
                      <a:pt x="312" y="1168"/>
                    </a:cubicBezTo>
                    <a:cubicBezTo>
                      <a:pt x="315" y="1168"/>
                      <a:pt x="320" y="1168"/>
                      <a:pt x="323" y="1167"/>
                    </a:cubicBezTo>
                    <a:cubicBezTo>
                      <a:pt x="324" y="1166"/>
                      <a:pt x="324" y="1164"/>
                      <a:pt x="326" y="1164"/>
                    </a:cubicBezTo>
                    <a:cubicBezTo>
                      <a:pt x="326" y="1164"/>
                      <a:pt x="326" y="1164"/>
                      <a:pt x="326" y="1164"/>
                    </a:cubicBezTo>
                    <a:cubicBezTo>
                      <a:pt x="329" y="1165"/>
                      <a:pt x="332" y="1165"/>
                      <a:pt x="334" y="1165"/>
                    </a:cubicBezTo>
                    <a:cubicBezTo>
                      <a:pt x="334" y="1167"/>
                      <a:pt x="333" y="1170"/>
                      <a:pt x="335" y="1170"/>
                    </a:cubicBezTo>
                    <a:cubicBezTo>
                      <a:pt x="336" y="1170"/>
                      <a:pt x="336" y="1169"/>
                      <a:pt x="337" y="1169"/>
                    </a:cubicBezTo>
                    <a:cubicBezTo>
                      <a:pt x="332" y="1172"/>
                      <a:pt x="322" y="1178"/>
                      <a:pt x="316" y="1178"/>
                    </a:cubicBezTo>
                    <a:cubicBezTo>
                      <a:pt x="315" y="1178"/>
                      <a:pt x="315" y="1178"/>
                      <a:pt x="315" y="1178"/>
                    </a:cubicBezTo>
                    <a:cubicBezTo>
                      <a:pt x="314" y="1178"/>
                      <a:pt x="314" y="1178"/>
                      <a:pt x="314" y="1178"/>
                    </a:cubicBezTo>
                    <a:cubicBezTo>
                      <a:pt x="313" y="1178"/>
                      <a:pt x="313" y="1178"/>
                      <a:pt x="313" y="1178"/>
                    </a:cubicBezTo>
                    <a:cubicBezTo>
                      <a:pt x="312" y="1178"/>
                      <a:pt x="311" y="1178"/>
                      <a:pt x="310" y="1179"/>
                    </a:cubicBezTo>
                    <a:cubicBezTo>
                      <a:pt x="311" y="1180"/>
                      <a:pt x="315" y="1184"/>
                      <a:pt x="315" y="1184"/>
                    </a:cubicBezTo>
                    <a:cubicBezTo>
                      <a:pt x="314" y="1186"/>
                      <a:pt x="300" y="1186"/>
                      <a:pt x="298" y="1187"/>
                    </a:cubicBezTo>
                    <a:cubicBezTo>
                      <a:pt x="298" y="1187"/>
                      <a:pt x="298" y="1187"/>
                      <a:pt x="298" y="1187"/>
                    </a:cubicBezTo>
                    <a:cubicBezTo>
                      <a:pt x="297" y="1187"/>
                      <a:pt x="295" y="1186"/>
                      <a:pt x="294" y="1186"/>
                    </a:cubicBezTo>
                    <a:cubicBezTo>
                      <a:pt x="293" y="1186"/>
                      <a:pt x="292" y="1185"/>
                      <a:pt x="292" y="1185"/>
                    </a:cubicBezTo>
                    <a:cubicBezTo>
                      <a:pt x="292" y="1185"/>
                      <a:pt x="292" y="1185"/>
                      <a:pt x="291" y="1185"/>
                    </a:cubicBezTo>
                    <a:cubicBezTo>
                      <a:pt x="291" y="1186"/>
                      <a:pt x="292" y="1188"/>
                      <a:pt x="293" y="1190"/>
                    </a:cubicBezTo>
                    <a:cubicBezTo>
                      <a:pt x="294" y="1192"/>
                      <a:pt x="295" y="1193"/>
                      <a:pt x="297" y="1194"/>
                    </a:cubicBezTo>
                    <a:cubicBezTo>
                      <a:pt x="301" y="1197"/>
                      <a:pt x="315" y="1202"/>
                      <a:pt x="314" y="1208"/>
                    </a:cubicBezTo>
                    <a:cubicBezTo>
                      <a:pt x="312" y="1207"/>
                      <a:pt x="310" y="1207"/>
                      <a:pt x="308" y="1206"/>
                    </a:cubicBezTo>
                    <a:cubicBezTo>
                      <a:pt x="307" y="1206"/>
                      <a:pt x="306" y="1205"/>
                      <a:pt x="306" y="1204"/>
                    </a:cubicBezTo>
                    <a:cubicBezTo>
                      <a:pt x="306" y="1204"/>
                      <a:pt x="306" y="1204"/>
                      <a:pt x="306" y="1204"/>
                    </a:cubicBezTo>
                    <a:cubicBezTo>
                      <a:pt x="302" y="1204"/>
                      <a:pt x="300" y="1212"/>
                      <a:pt x="300" y="1215"/>
                    </a:cubicBezTo>
                    <a:cubicBezTo>
                      <a:pt x="300" y="1213"/>
                      <a:pt x="300" y="1208"/>
                      <a:pt x="299" y="1208"/>
                    </a:cubicBezTo>
                    <a:cubicBezTo>
                      <a:pt x="300" y="1208"/>
                      <a:pt x="300" y="1207"/>
                      <a:pt x="301" y="1207"/>
                    </a:cubicBezTo>
                    <a:cubicBezTo>
                      <a:pt x="300" y="1207"/>
                      <a:pt x="300" y="1207"/>
                      <a:pt x="300" y="1207"/>
                    </a:cubicBezTo>
                    <a:cubicBezTo>
                      <a:pt x="299" y="1207"/>
                      <a:pt x="298" y="1208"/>
                      <a:pt x="297" y="1209"/>
                    </a:cubicBezTo>
                    <a:cubicBezTo>
                      <a:pt x="296" y="1209"/>
                      <a:pt x="290" y="1222"/>
                      <a:pt x="288" y="1222"/>
                    </a:cubicBezTo>
                    <a:cubicBezTo>
                      <a:pt x="288" y="1222"/>
                      <a:pt x="287" y="1221"/>
                      <a:pt x="287" y="1221"/>
                    </a:cubicBezTo>
                    <a:cubicBezTo>
                      <a:pt x="286" y="1223"/>
                      <a:pt x="296" y="1233"/>
                      <a:pt x="287" y="1233"/>
                    </a:cubicBezTo>
                    <a:cubicBezTo>
                      <a:pt x="287" y="1233"/>
                      <a:pt x="287" y="1233"/>
                      <a:pt x="287" y="1233"/>
                    </a:cubicBezTo>
                    <a:cubicBezTo>
                      <a:pt x="281" y="1233"/>
                      <a:pt x="277" y="1232"/>
                      <a:pt x="271" y="1230"/>
                    </a:cubicBezTo>
                    <a:cubicBezTo>
                      <a:pt x="269" y="1230"/>
                      <a:pt x="267" y="1230"/>
                      <a:pt x="266" y="1230"/>
                    </a:cubicBezTo>
                    <a:cubicBezTo>
                      <a:pt x="264" y="1230"/>
                      <a:pt x="263" y="1230"/>
                      <a:pt x="261" y="1232"/>
                    </a:cubicBezTo>
                    <a:cubicBezTo>
                      <a:pt x="262" y="1231"/>
                      <a:pt x="262" y="1231"/>
                      <a:pt x="263" y="1231"/>
                    </a:cubicBezTo>
                    <a:cubicBezTo>
                      <a:pt x="264" y="1231"/>
                      <a:pt x="265" y="1232"/>
                      <a:pt x="265" y="1232"/>
                    </a:cubicBezTo>
                    <a:cubicBezTo>
                      <a:pt x="266" y="1233"/>
                      <a:pt x="267" y="1233"/>
                      <a:pt x="268" y="1233"/>
                    </a:cubicBezTo>
                    <a:cubicBezTo>
                      <a:pt x="268" y="1233"/>
                      <a:pt x="268" y="1233"/>
                      <a:pt x="269" y="1233"/>
                    </a:cubicBezTo>
                    <a:cubicBezTo>
                      <a:pt x="265" y="1237"/>
                      <a:pt x="262" y="1237"/>
                      <a:pt x="258" y="1237"/>
                    </a:cubicBezTo>
                    <a:cubicBezTo>
                      <a:pt x="262" y="1240"/>
                      <a:pt x="266" y="1241"/>
                      <a:pt x="270" y="1243"/>
                    </a:cubicBezTo>
                    <a:cubicBezTo>
                      <a:pt x="275" y="1244"/>
                      <a:pt x="279" y="1252"/>
                      <a:pt x="283" y="1255"/>
                    </a:cubicBezTo>
                    <a:cubicBezTo>
                      <a:pt x="283" y="1255"/>
                      <a:pt x="284" y="1255"/>
                      <a:pt x="285" y="1255"/>
                    </a:cubicBezTo>
                    <a:cubicBezTo>
                      <a:pt x="287" y="1255"/>
                      <a:pt x="290" y="1255"/>
                      <a:pt x="291" y="1255"/>
                    </a:cubicBezTo>
                    <a:cubicBezTo>
                      <a:pt x="291" y="1255"/>
                      <a:pt x="292" y="1255"/>
                      <a:pt x="292" y="1255"/>
                    </a:cubicBezTo>
                    <a:cubicBezTo>
                      <a:pt x="295" y="1255"/>
                      <a:pt x="295" y="1256"/>
                      <a:pt x="298" y="1258"/>
                    </a:cubicBezTo>
                    <a:cubicBezTo>
                      <a:pt x="299" y="1260"/>
                      <a:pt x="301" y="1264"/>
                      <a:pt x="303" y="1265"/>
                    </a:cubicBezTo>
                    <a:cubicBezTo>
                      <a:pt x="306" y="1267"/>
                      <a:pt x="311" y="1267"/>
                      <a:pt x="314" y="1268"/>
                    </a:cubicBezTo>
                    <a:cubicBezTo>
                      <a:pt x="320" y="1269"/>
                      <a:pt x="325" y="1275"/>
                      <a:pt x="329" y="1278"/>
                    </a:cubicBezTo>
                    <a:cubicBezTo>
                      <a:pt x="337" y="1284"/>
                      <a:pt x="345" y="1291"/>
                      <a:pt x="352" y="1298"/>
                    </a:cubicBezTo>
                    <a:cubicBezTo>
                      <a:pt x="354" y="1293"/>
                      <a:pt x="356" y="1292"/>
                      <a:pt x="357" y="1291"/>
                    </a:cubicBezTo>
                    <a:cubicBezTo>
                      <a:pt x="358" y="1290"/>
                      <a:pt x="358" y="1290"/>
                      <a:pt x="359" y="1290"/>
                    </a:cubicBezTo>
                    <a:cubicBezTo>
                      <a:pt x="360" y="1290"/>
                      <a:pt x="360" y="1290"/>
                      <a:pt x="361" y="1290"/>
                    </a:cubicBezTo>
                    <a:cubicBezTo>
                      <a:pt x="361" y="1291"/>
                      <a:pt x="361" y="1291"/>
                      <a:pt x="361" y="1291"/>
                    </a:cubicBezTo>
                    <a:cubicBezTo>
                      <a:pt x="365" y="1292"/>
                      <a:pt x="368" y="1292"/>
                      <a:pt x="369" y="1292"/>
                    </a:cubicBezTo>
                    <a:cubicBezTo>
                      <a:pt x="370" y="1292"/>
                      <a:pt x="370" y="1292"/>
                      <a:pt x="370" y="1292"/>
                    </a:cubicBezTo>
                    <a:cubicBezTo>
                      <a:pt x="371" y="1292"/>
                      <a:pt x="372" y="1292"/>
                      <a:pt x="373" y="1292"/>
                    </a:cubicBezTo>
                    <a:cubicBezTo>
                      <a:pt x="377" y="1292"/>
                      <a:pt x="381" y="1294"/>
                      <a:pt x="384" y="1296"/>
                    </a:cubicBezTo>
                    <a:cubicBezTo>
                      <a:pt x="384" y="1296"/>
                      <a:pt x="385" y="1296"/>
                      <a:pt x="387" y="1297"/>
                    </a:cubicBezTo>
                    <a:cubicBezTo>
                      <a:pt x="394" y="1300"/>
                      <a:pt x="407" y="1304"/>
                      <a:pt x="414" y="1304"/>
                    </a:cubicBezTo>
                    <a:cubicBezTo>
                      <a:pt x="415" y="1304"/>
                      <a:pt x="417" y="1303"/>
                      <a:pt x="418" y="1303"/>
                    </a:cubicBezTo>
                    <a:cubicBezTo>
                      <a:pt x="420" y="1302"/>
                      <a:pt x="422" y="1302"/>
                      <a:pt x="425" y="1302"/>
                    </a:cubicBezTo>
                    <a:cubicBezTo>
                      <a:pt x="432" y="1302"/>
                      <a:pt x="439" y="1306"/>
                      <a:pt x="442" y="1308"/>
                    </a:cubicBezTo>
                    <a:cubicBezTo>
                      <a:pt x="444" y="1311"/>
                      <a:pt x="457" y="1317"/>
                      <a:pt x="459" y="1317"/>
                    </a:cubicBezTo>
                    <a:cubicBezTo>
                      <a:pt x="462" y="1317"/>
                      <a:pt x="463" y="1318"/>
                      <a:pt x="464" y="1319"/>
                    </a:cubicBezTo>
                    <a:cubicBezTo>
                      <a:pt x="465" y="1321"/>
                      <a:pt x="465" y="1323"/>
                      <a:pt x="465" y="1324"/>
                    </a:cubicBezTo>
                    <a:cubicBezTo>
                      <a:pt x="466" y="1324"/>
                      <a:pt x="466" y="1324"/>
                      <a:pt x="467" y="1325"/>
                    </a:cubicBezTo>
                    <a:cubicBezTo>
                      <a:pt x="468" y="1325"/>
                      <a:pt x="468" y="1325"/>
                      <a:pt x="469" y="1325"/>
                    </a:cubicBezTo>
                    <a:cubicBezTo>
                      <a:pt x="470" y="1325"/>
                      <a:pt x="472" y="1324"/>
                      <a:pt x="474" y="1323"/>
                    </a:cubicBezTo>
                    <a:cubicBezTo>
                      <a:pt x="478" y="1320"/>
                      <a:pt x="481" y="1319"/>
                      <a:pt x="484" y="1319"/>
                    </a:cubicBezTo>
                    <a:cubicBezTo>
                      <a:pt x="485" y="1319"/>
                      <a:pt x="486" y="1319"/>
                      <a:pt x="487" y="1319"/>
                    </a:cubicBezTo>
                    <a:cubicBezTo>
                      <a:pt x="489" y="1320"/>
                      <a:pt x="490" y="1320"/>
                      <a:pt x="491" y="1321"/>
                    </a:cubicBezTo>
                    <a:cubicBezTo>
                      <a:pt x="492" y="1320"/>
                      <a:pt x="492" y="1320"/>
                      <a:pt x="493" y="1320"/>
                    </a:cubicBezTo>
                    <a:cubicBezTo>
                      <a:pt x="494" y="1319"/>
                      <a:pt x="494" y="1319"/>
                      <a:pt x="495" y="1319"/>
                    </a:cubicBezTo>
                    <a:cubicBezTo>
                      <a:pt x="497" y="1319"/>
                      <a:pt x="499" y="1320"/>
                      <a:pt x="501" y="1321"/>
                    </a:cubicBezTo>
                    <a:cubicBezTo>
                      <a:pt x="504" y="1324"/>
                      <a:pt x="516" y="1328"/>
                      <a:pt x="518" y="1328"/>
                    </a:cubicBezTo>
                    <a:cubicBezTo>
                      <a:pt x="525" y="1328"/>
                      <a:pt x="525" y="1328"/>
                      <a:pt x="525" y="1328"/>
                    </a:cubicBezTo>
                    <a:cubicBezTo>
                      <a:pt x="521" y="1334"/>
                      <a:pt x="521" y="1334"/>
                      <a:pt x="521" y="1334"/>
                    </a:cubicBezTo>
                    <a:cubicBezTo>
                      <a:pt x="520" y="1336"/>
                      <a:pt x="519" y="1339"/>
                      <a:pt x="519" y="1339"/>
                    </a:cubicBezTo>
                    <a:cubicBezTo>
                      <a:pt x="523" y="1341"/>
                      <a:pt x="530" y="1345"/>
                      <a:pt x="532" y="1345"/>
                    </a:cubicBezTo>
                    <a:cubicBezTo>
                      <a:pt x="533" y="1344"/>
                      <a:pt x="533" y="1344"/>
                      <a:pt x="533" y="1344"/>
                    </a:cubicBezTo>
                    <a:cubicBezTo>
                      <a:pt x="534" y="1345"/>
                      <a:pt x="534" y="1345"/>
                      <a:pt x="534" y="1345"/>
                    </a:cubicBezTo>
                    <a:cubicBezTo>
                      <a:pt x="535" y="1346"/>
                      <a:pt x="536" y="1347"/>
                      <a:pt x="537" y="1348"/>
                    </a:cubicBezTo>
                    <a:cubicBezTo>
                      <a:pt x="537" y="1348"/>
                      <a:pt x="537" y="1348"/>
                      <a:pt x="537" y="1348"/>
                    </a:cubicBezTo>
                    <a:cubicBezTo>
                      <a:pt x="539" y="1348"/>
                      <a:pt x="539" y="1348"/>
                      <a:pt x="539" y="1348"/>
                    </a:cubicBezTo>
                    <a:cubicBezTo>
                      <a:pt x="541" y="1348"/>
                      <a:pt x="542" y="1348"/>
                      <a:pt x="543" y="1348"/>
                    </a:cubicBezTo>
                    <a:cubicBezTo>
                      <a:pt x="543" y="1348"/>
                      <a:pt x="544" y="1348"/>
                      <a:pt x="544" y="1348"/>
                    </a:cubicBezTo>
                    <a:cubicBezTo>
                      <a:pt x="549" y="1349"/>
                      <a:pt x="553" y="1353"/>
                      <a:pt x="555" y="1357"/>
                    </a:cubicBezTo>
                    <a:cubicBezTo>
                      <a:pt x="556" y="1359"/>
                      <a:pt x="558" y="1361"/>
                      <a:pt x="558" y="1361"/>
                    </a:cubicBezTo>
                    <a:cubicBezTo>
                      <a:pt x="559" y="1361"/>
                      <a:pt x="559" y="1361"/>
                      <a:pt x="560" y="1362"/>
                    </a:cubicBezTo>
                    <a:cubicBezTo>
                      <a:pt x="560" y="1272"/>
                      <a:pt x="560" y="1272"/>
                      <a:pt x="560" y="1272"/>
                    </a:cubicBezTo>
                    <a:cubicBezTo>
                      <a:pt x="559" y="1271"/>
                      <a:pt x="557" y="1269"/>
                      <a:pt x="555" y="1268"/>
                    </a:cubicBezTo>
                    <a:cubicBezTo>
                      <a:pt x="552" y="1266"/>
                      <a:pt x="549" y="1266"/>
                      <a:pt x="547" y="1265"/>
                    </a:cubicBezTo>
                    <a:cubicBezTo>
                      <a:pt x="542" y="1262"/>
                      <a:pt x="549" y="1255"/>
                      <a:pt x="552" y="1252"/>
                    </a:cubicBezTo>
                    <a:cubicBezTo>
                      <a:pt x="556" y="1248"/>
                      <a:pt x="558" y="1246"/>
                      <a:pt x="560" y="1243"/>
                    </a:cubicBezTo>
                    <a:cubicBezTo>
                      <a:pt x="560" y="1149"/>
                      <a:pt x="560" y="1149"/>
                      <a:pt x="560" y="1149"/>
                    </a:cubicBezTo>
                    <a:cubicBezTo>
                      <a:pt x="560" y="1149"/>
                      <a:pt x="560" y="1149"/>
                      <a:pt x="559" y="1149"/>
                    </a:cubicBezTo>
                    <a:cubicBezTo>
                      <a:pt x="555" y="1146"/>
                      <a:pt x="555" y="1143"/>
                      <a:pt x="555" y="1138"/>
                    </a:cubicBezTo>
                    <a:cubicBezTo>
                      <a:pt x="555" y="1137"/>
                      <a:pt x="555" y="1136"/>
                      <a:pt x="555" y="1135"/>
                    </a:cubicBezTo>
                    <a:cubicBezTo>
                      <a:pt x="555" y="1133"/>
                      <a:pt x="555" y="1132"/>
                      <a:pt x="555" y="1131"/>
                    </a:cubicBezTo>
                    <a:cubicBezTo>
                      <a:pt x="554" y="1130"/>
                      <a:pt x="554" y="1130"/>
                      <a:pt x="554" y="1130"/>
                    </a:cubicBezTo>
                    <a:cubicBezTo>
                      <a:pt x="554" y="1130"/>
                      <a:pt x="553" y="1130"/>
                      <a:pt x="552" y="1130"/>
                    </a:cubicBezTo>
                    <a:cubicBezTo>
                      <a:pt x="551" y="1129"/>
                      <a:pt x="551" y="1129"/>
                      <a:pt x="551" y="1129"/>
                    </a:cubicBezTo>
                    <a:cubicBezTo>
                      <a:pt x="549" y="1128"/>
                      <a:pt x="547" y="1128"/>
                      <a:pt x="545" y="1127"/>
                    </a:cubicBezTo>
                    <a:cubicBezTo>
                      <a:pt x="543" y="1126"/>
                      <a:pt x="543" y="1126"/>
                      <a:pt x="543" y="1126"/>
                    </a:cubicBezTo>
                    <a:cubicBezTo>
                      <a:pt x="542" y="1126"/>
                      <a:pt x="542" y="1126"/>
                      <a:pt x="542" y="1126"/>
                    </a:cubicBezTo>
                    <a:cubicBezTo>
                      <a:pt x="541" y="1126"/>
                      <a:pt x="541" y="1126"/>
                      <a:pt x="541" y="1126"/>
                    </a:cubicBezTo>
                    <a:cubicBezTo>
                      <a:pt x="539" y="1125"/>
                      <a:pt x="537" y="1123"/>
                      <a:pt x="537" y="1121"/>
                    </a:cubicBezTo>
                    <a:cubicBezTo>
                      <a:pt x="537" y="1120"/>
                      <a:pt x="537" y="1120"/>
                      <a:pt x="537" y="1120"/>
                    </a:cubicBezTo>
                    <a:cubicBezTo>
                      <a:pt x="537" y="1120"/>
                      <a:pt x="537" y="1120"/>
                      <a:pt x="537" y="1120"/>
                    </a:cubicBezTo>
                    <a:cubicBezTo>
                      <a:pt x="538" y="1117"/>
                      <a:pt x="539" y="1113"/>
                      <a:pt x="541" y="1111"/>
                    </a:cubicBezTo>
                    <a:cubicBezTo>
                      <a:pt x="541" y="1110"/>
                      <a:pt x="541" y="1110"/>
                      <a:pt x="541" y="1110"/>
                    </a:cubicBezTo>
                    <a:cubicBezTo>
                      <a:pt x="544" y="1106"/>
                      <a:pt x="547" y="1102"/>
                      <a:pt x="550" y="1098"/>
                    </a:cubicBezTo>
                    <a:cubicBezTo>
                      <a:pt x="550" y="1098"/>
                      <a:pt x="550" y="1098"/>
                      <a:pt x="550" y="1098"/>
                    </a:cubicBezTo>
                    <a:cubicBezTo>
                      <a:pt x="551" y="1097"/>
                      <a:pt x="551" y="1097"/>
                      <a:pt x="551" y="1097"/>
                    </a:cubicBezTo>
                    <a:cubicBezTo>
                      <a:pt x="552" y="1095"/>
                      <a:pt x="552" y="1095"/>
                      <a:pt x="550" y="1093"/>
                    </a:cubicBezTo>
                    <a:cubicBezTo>
                      <a:pt x="550" y="1093"/>
                      <a:pt x="550" y="1093"/>
                      <a:pt x="550" y="1093"/>
                    </a:cubicBezTo>
                    <a:cubicBezTo>
                      <a:pt x="548" y="1091"/>
                      <a:pt x="548" y="1091"/>
                      <a:pt x="548" y="1091"/>
                    </a:cubicBezTo>
                    <a:cubicBezTo>
                      <a:pt x="547" y="1091"/>
                      <a:pt x="546" y="1090"/>
                      <a:pt x="546" y="1090"/>
                    </a:cubicBezTo>
                    <a:cubicBezTo>
                      <a:pt x="545" y="1088"/>
                      <a:pt x="545" y="1087"/>
                      <a:pt x="545" y="1086"/>
                    </a:cubicBezTo>
                    <a:cubicBezTo>
                      <a:pt x="545" y="1085"/>
                      <a:pt x="545" y="1084"/>
                      <a:pt x="546" y="1084"/>
                    </a:cubicBezTo>
                    <a:cubicBezTo>
                      <a:pt x="546" y="1083"/>
                      <a:pt x="546" y="1081"/>
                      <a:pt x="546" y="1080"/>
                    </a:cubicBezTo>
                    <a:cubicBezTo>
                      <a:pt x="547" y="1075"/>
                      <a:pt x="547" y="1075"/>
                      <a:pt x="547" y="1075"/>
                    </a:cubicBezTo>
                    <a:cubicBezTo>
                      <a:pt x="547" y="1074"/>
                      <a:pt x="547" y="1074"/>
                      <a:pt x="548" y="1073"/>
                    </a:cubicBezTo>
                    <a:cubicBezTo>
                      <a:pt x="548" y="1071"/>
                      <a:pt x="548" y="1071"/>
                      <a:pt x="548" y="1071"/>
                    </a:cubicBezTo>
                    <a:cubicBezTo>
                      <a:pt x="548" y="1070"/>
                      <a:pt x="548" y="1070"/>
                      <a:pt x="548" y="1069"/>
                    </a:cubicBezTo>
                    <a:cubicBezTo>
                      <a:pt x="550" y="1066"/>
                      <a:pt x="553" y="1065"/>
                      <a:pt x="555" y="1064"/>
                    </a:cubicBezTo>
                    <a:cubicBezTo>
                      <a:pt x="556" y="1063"/>
                      <a:pt x="557" y="1063"/>
                      <a:pt x="558" y="1063"/>
                    </a:cubicBezTo>
                    <a:cubicBezTo>
                      <a:pt x="558" y="1062"/>
                      <a:pt x="558" y="1062"/>
                      <a:pt x="558" y="1062"/>
                    </a:cubicBezTo>
                    <a:cubicBezTo>
                      <a:pt x="559" y="1062"/>
                      <a:pt x="559" y="1062"/>
                      <a:pt x="559" y="1062"/>
                    </a:cubicBezTo>
                    <a:cubicBezTo>
                      <a:pt x="560" y="1060"/>
                      <a:pt x="560" y="1060"/>
                      <a:pt x="560" y="1060"/>
                    </a:cubicBezTo>
                    <a:cubicBezTo>
                      <a:pt x="560" y="1060"/>
                      <a:pt x="560" y="1060"/>
                      <a:pt x="560" y="1059"/>
                    </a:cubicBezTo>
                    <a:cubicBezTo>
                      <a:pt x="560" y="915"/>
                      <a:pt x="560" y="915"/>
                      <a:pt x="560" y="915"/>
                    </a:cubicBezTo>
                    <a:moveTo>
                      <a:pt x="1346" y="915"/>
                    </a:moveTo>
                    <a:cubicBezTo>
                      <a:pt x="1314" y="915"/>
                      <a:pt x="1314" y="915"/>
                      <a:pt x="1314" y="915"/>
                    </a:cubicBezTo>
                    <a:cubicBezTo>
                      <a:pt x="1314" y="915"/>
                      <a:pt x="1314" y="915"/>
                      <a:pt x="1314" y="915"/>
                    </a:cubicBezTo>
                    <a:cubicBezTo>
                      <a:pt x="1312" y="917"/>
                      <a:pt x="1311" y="918"/>
                      <a:pt x="1310" y="919"/>
                    </a:cubicBezTo>
                    <a:cubicBezTo>
                      <a:pt x="1308" y="920"/>
                      <a:pt x="1308" y="920"/>
                      <a:pt x="1308" y="920"/>
                    </a:cubicBezTo>
                    <a:cubicBezTo>
                      <a:pt x="1307" y="921"/>
                      <a:pt x="1307" y="921"/>
                      <a:pt x="1307" y="921"/>
                    </a:cubicBezTo>
                    <a:cubicBezTo>
                      <a:pt x="1306" y="922"/>
                      <a:pt x="1305" y="923"/>
                      <a:pt x="1304" y="924"/>
                    </a:cubicBezTo>
                    <a:cubicBezTo>
                      <a:pt x="1304" y="925"/>
                      <a:pt x="1304" y="925"/>
                      <a:pt x="1304" y="925"/>
                    </a:cubicBezTo>
                    <a:cubicBezTo>
                      <a:pt x="1306" y="929"/>
                      <a:pt x="1306" y="929"/>
                      <a:pt x="1306" y="929"/>
                    </a:cubicBezTo>
                    <a:cubicBezTo>
                      <a:pt x="1309" y="927"/>
                      <a:pt x="1309" y="927"/>
                      <a:pt x="1309" y="927"/>
                    </a:cubicBezTo>
                    <a:cubicBezTo>
                      <a:pt x="1312" y="925"/>
                      <a:pt x="1314" y="924"/>
                      <a:pt x="1316" y="924"/>
                    </a:cubicBezTo>
                    <a:cubicBezTo>
                      <a:pt x="1317" y="924"/>
                      <a:pt x="1317" y="924"/>
                      <a:pt x="1317" y="924"/>
                    </a:cubicBezTo>
                    <a:cubicBezTo>
                      <a:pt x="1325" y="925"/>
                      <a:pt x="1325" y="925"/>
                      <a:pt x="1325" y="925"/>
                    </a:cubicBezTo>
                    <a:cubicBezTo>
                      <a:pt x="1328" y="925"/>
                      <a:pt x="1328" y="925"/>
                      <a:pt x="1328" y="925"/>
                    </a:cubicBezTo>
                    <a:cubicBezTo>
                      <a:pt x="1329" y="926"/>
                      <a:pt x="1330" y="926"/>
                      <a:pt x="1330" y="926"/>
                    </a:cubicBezTo>
                    <a:cubicBezTo>
                      <a:pt x="1331" y="926"/>
                      <a:pt x="1331" y="926"/>
                      <a:pt x="1331" y="926"/>
                    </a:cubicBezTo>
                    <a:cubicBezTo>
                      <a:pt x="1331" y="924"/>
                      <a:pt x="1331" y="924"/>
                      <a:pt x="1331" y="924"/>
                    </a:cubicBezTo>
                    <a:cubicBezTo>
                      <a:pt x="1331" y="923"/>
                      <a:pt x="1332" y="922"/>
                      <a:pt x="1333" y="921"/>
                    </a:cubicBezTo>
                    <a:cubicBezTo>
                      <a:pt x="1334" y="920"/>
                      <a:pt x="1334" y="920"/>
                      <a:pt x="1334" y="920"/>
                    </a:cubicBezTo>
                    <a:cubicBezTo>
                      <a:pt x="1346" y="915"/>
                      <a:pt x="1346" y="915"/>
                      <a:pt x="1346" y="915"/>
                    </a:cubicBezTo>
                    <a:moveTo>
                      <a:pt x="1682" y="915"/>
                    </a:moveTo>
                    <a:cubicBezTo>
                      <a:pt x="1405" y="915"/>
                      <a:pt x="1405" y="915"/>
                      <a:pt x="1405" y="915"/>
                    </a:cubicBezTo>
                    <a:cubicBezTo>
                      <a:pt x="1409" y="918"/>
                      <a:pt x="1409" y="918"/>
                      <a:pt x="1409" y="918"/>
                    </a:cubicBezTo>
                    <a:cubicBezTo>
                      <a:pt x="1425" y="930"/>
                      <a:pt x="1425" y="930"/>
                      <a:pt x="1425" y="930"/>
                    </a:cubicBezTo>
                    <a:cubicBezTo>
                      <a:pt x="1429" y="933"/>
                      <a:pt x="1433" y="937"/>
                      <a:pt x="1436" y="940"/>
                    </a:cubicBezTo>
                    <a:cubicBezTo>
                      <a:pt x="1449" y="958"/>
                      <a:pt x="1449" y="958"/>
                      <a:pt x="1449" y="958"/>
                    </a:cubicBezTo>
                    <a:cubicBezTo>
                      <a:pt x="1454" y="965"/>
                      <a:pt x="1454" y="965"/>
                      <a:pt x="1454" y="965"/>
                    </a:cubicBezTo>
                    <a:cubicBezTo>
                      <a:pt x="1461" y="976"/>
                      <a:pt x="1468" y="988"/>
                      <a:pt x="1475" y="998"/>
                    </a:cubicBezTo>
                    <a:cubicBezTo>
                      <a:pt x="1481" y="1008"/>
                      <a:pt x="1487" y="1018"/>
                      <a:pt x="1493" y="1027"/>
                    </a:cubicBezTo>
                    <a:cubicBezTo>
                      <a:pt x="1495" y="1029"/>
                      <a:pt x="1495" y="1029"/>
                      <a:pt x="1495" y="1029"/>
                    </a:cubicBezTo>
                    <a:cubicBezTo>
                      <a:pt x="1495" y="1029"/>
                      <a:pt x="1496" y="1028"/>
                      <a:pt x="1497" y="1027"/>
                    </a:cubicBezTo>
                    <a:cubicBezTo>
                      <a:pt x="1497" y="1027"/>
                      <a:pt x="1497" y="1027"/>
                      <a:pt x="1497" y="1027"/>
                    </a:cubicBezTo>
                    <a:cubicBezTo>
                      <a:pt x="1499" y="1027"/>
                      <a:pt x="1500" y="1026"/>
                      <a:pt x="1501" y="1026"/>
                    </a:cubicBezTo>
                    <a:cubicBezTo>
                      <a:pt x="1502" y="1026"/>
                      <a:pt x="1502" y="1026"/>
                      <a:pt x="1502" y="1026"/>
                    </a:cubicBezTo>
                    <a:cubicBezTo>
                      <a:pt x="1502" y="1025"/>
                      <a:pt x="1502" y="1025"/>
                      <a:pt x="1502" y="1025"/>
                    </a:cubicBezTo>
                    <a:cubicBezTo>
                      <a:pt x="1502" y="1025"/>
                      <a:pt x="1502" y="1025"/>
                      <a:pt x="1502" y="1025"/>
                    </a:cubicBezTo>
                    <a:cubicBezTo>
                      <a:pt x="1501" y="1024"/>
                      <a:pt x="1501" y="1024"/>
                      <a:pt x="1501" y="1024"/>
                    </a:cubicBezTo>
                    <a:cubicBezTo>
                      <a:pt x="1501" y="1023"/>
                      <a:pt x="1501" y="1023"/>
                      <a:pt x="1501" y="1022"/>
                    </a:cubicBezTo>
                    <a:cubicBezTo>
                      <a:pt x="1501" y="1021"/>
                      <a:pt x="1501" y="1021"/>
                      <a:pt x="1501" y="1021"/>
                    </a:cubicBezTo>
                    <a:cubicBezTo>
                      <a:pt x="1501" y="1021"/>
                      <a:pt x="1501" y="1021"/>
                      <a:pt x="1501" y="1021"/>
                    </a:cubicBezTo>
                    <a:cubicBezTo>
                      <a:pt x="1501" y="1020"/>
                      <a:pt x="1501" y="1020"/>
                      <a:pt x="1501" y="1020"/>
                    </a:cubicBezTo>
                    <a:cubicBezTo>
                      <a:pt x="1501" y="1019"/>
                      <a:pt x="1501" y="1019"/>
                      <a:pt x="1501" y="1019"/>
                    </a:cubicBezTo>
                    <a:cubicBezTo>
                      <a:pt x="1501" y="1018"/>
                      <a:pt x="1501" y="1018"/>
                      <a:pt x="1501" y="1018"/>
                    </a:cubicBezTo>
                    <a:cubicBezTo>
                      <a:pt x="1502" y="1017"/>
                      <a:pt x="1502" y="1016"/>
                      <a:pt x="1503" y="1016"/>
                    </a:cubicBezTo>
                    <a:cubicBezTo>
                      <a:pt x="1504" y="1015"/>
                      <a:pt x="1505" y="1015"/>
                      <a:pt x="1506" y="1015"/>
                    </a:cubicBezTo>
                    <a:cubicBezTo>
                      <a:pt x="1506" y="1015"/>
                      <a:pt x="1506" y="1015"/>
                      <a:pt x="1506" y="1015"/>
                    </a:cubicBezTo>
                    <a:cubicBezTo>
                      <a:pt x="1506" y="1015"/>
                      <a:pt x="1506" y="1015"/>
                      <a:pt x="1506" y="1015"/>
                    </a:cubicBezTo>
                    <a:cubicBezTo>
                      <a:pt x="1507" y="1015"/>
                      <a:pt x="1507" y="1015"/>
                      <a:pt x="1507" y="1015"/>
                    </a:cubicBezTo>
                    <a:cubicBezTo>
                      <a:pt x="1508" y="1015"/>
                      <a:pt x="1508" y="1015"/>
                      <a:pt x="1508" y="1015"/>
                    </a:cubicBezTo>
                    <a:cubicBezTo>
                      <a:pt x="1508" y="1014"/>
                      <a:pt x="1509" y="1011"/>
                      <a:pt x="1512" y="1011"/>
                    </a:cubicBezTo>
                    <a:cubicBezTo>
                      <a:pt x="1512" y="1011"/>
                      <a:pt x="1513" y="1011"/>
                      <a:pt x="1513" y="1012"/>
                    </a:cubicBezTo>
                    <a:cubicBezTo>
                      <a:pt x="1523" y="1015"/>
                      <a:pt x="1523" y="1015"/>
                      <a:pt x="1523" y="1015"/>
                    </a:cubicBezTo>
                    <a:cubicBezTo>
                      <a:pt x="1527" y="1016"/>
                      <a:pt x="1528" y="1019"/>
                      <a:pt x="1528" y="1020"/>
                    </a:cubicBezTo>
                    <a:cubicBezTo>
                      <a:pt x="1527" y="1022"/>
                      <a:pt x="1527" y="1022"/>
                      <a:pt x="1527" y="1022"/>
                    </a:cubicBezTo>
                    <a:cubicBezTo>
                      <a:pt x="1527" y="1023"/>
                      <a:pt x="1527" y="1023"/>
                      <a:pt x="1527" y="1024"/>
                    </a:cubicBezTo>
                    <a:cubicBezTo>
                      <a:pt x="1527" y="1024"/>
                      <a:pt x="1526" y="1025"/>
                      <a:pt x="1526" y="1025"/>
                    </a:cubicBezTo>
                    <a:cubicBezTo>
                      <a:pt x="1526" y="1025"/>
                      <a:pt x="1526" y="1025"/>
                      <a:pt x="1526" y="1025"/>
                    </a:cubicBezTo>
                    <a:cubicBezTo>
                      <a:pt x="1527" y="1026"/>
                      <a:pt x="1527" y="1026"/>
                      <a:pt x="1527" y="1026"/>
                    </a:cubicBezTo>
                    <a:cubicBezTo>
                      <a:pt x="1528" y="1027"/>
                      <a:pt x="1529" y="1028"/>
                      <a:pt x="1531" y="1029"/>
                    </a:cubicBezTo>
                    <a:cubicBezTo>
                      <a:pt x="1531" y="1029"/>
                      <a:pt x="1531" y="1029"/>
                      <a:pt x="1531" y="1029"/>
                    </a:cubicBezTo>
                    <a:cubicBezTo>
                      <a:pt x="1532" y="1030"/>
                      <a:pt x="1533" y="1032"/>
                      <a:pt x="1535" y="1032"/>
                    </a:cubicBezTo>
                    <a:cubicBezTo>
                      <a:pt x="1535" y="1033"/>
                      <a:pt x="1535" y="1033"/>
                      <a:pt x="1535" y="1033"/>
                    </a:cubicBezTo>
                    <a:cubicBezTo>
                      <a:pt x="1536" y="1033"/>
                      <a:pt x="1536" y="1033"/>
                      <a:pt x="1536" y="1033"/>
                    </a:cubicBezTo>
                    <a:cubicBezTo>
                      <a:pt x="1537" y="1033"/>
                      <a:pt x="1537" y="1033"/>
                      <a:pt x="1537" y="1033"/>
                    </a:cubicBezTo>
                    <a:cubicBezTo>
                      <a:pt x="1537" y="1033"/>
                      <a:pt x="1538" y="1033"/>
                      <a:pt x="1538" y="1033"/>
                    </a:cubicBezTo>
                    <a:cubicBezTo>
                      <a:pt x="1539" y="1033"/>
                      <a:pt x="1539" y="1033"/>
                      <a:pt x="1539" y="1033"/>
                    </a:cubicBezTo>
                    <a:cubicBezTo>
                      <a:pt x="1539" y="1033"/>
                      <a:pt x="1540" y="1032"/>
                      <a:pt x="1540" y="1032"/>
                    </a:cubicBezTo>
                    <a:cubicBezTo>
                      <a:pt x="1541" y="1032"/>
                      <a:pt x="1541" y="1032"/>
                      <a:pt x="1541" y="1032"/>
                    </a:cubicBezTo>
                    <a:cubicBezTo>
                      <a:pt x="1542" y="1032"/>
                      <a:pt x="1543" y="1032"/>
                      <a:pt x="1545" y="1032"/>
                    </a:cubicBezTo>
                    <a:cubicBezTo>
                      <a:pt x="1546" y="1032"/>
                      <a:pt x="1546" y="1032"/>
                      <a:pt x="1547" y="1032"/>
                    </a:cubicBezTo>
                    <a:cubicBezTo>
                      <a:pt x="1562" y="1033"/>
                      <a:pt x="1562" y="1033"/>
                      <a:pt x="1562" y="1033"/>
                    </a:cubicBezTo>
                    <a:cubicBezTo>
                      <a:pt x="1563" y="1033"/>
                      <a:pt x="1563" y="1033"/>
                      <a:pt x="1563" y="1033"/>
                    </a:cubicBezTo>
                    <a:cubicBezTo>
                      <a:pt x="1564" y="1033"/>
                      <a:pt x="1564" y="1032"/>
                      <a:pt x="1565" y="1032"/>
                    </a:cubicBezTo>
                    <a:cubicBezTo>
                      <a:pt x="1566" y="1031"/>
                      <a:pt x="1566" y="1031"/>
                      <a:pt x="1566" y="1031"/>
                    </a:cubicBezTo>
                    <a:cubicBezTo>
                      <a:pt x="1566" y="1031"/>
                      <a:pt x="1566" y="1031"/>
                      <a:pt x="1566" y="1031"/>
                    </a:cubicBezTo>
                    <a:cubicBezTo>
                      <a:pt x="1567" y="1030"/>
                      <a:pt x="1567" y="1030"/>
                      <a:pt x="1567" y="1030"/>
                    </a:cubicBezTo>
                    <a:cubicBezTo>
                      <a:pt x="1567" y="1029"/>
                      <a:pt x="1568" y="1027"/>
                      <a:pt x="1570" y="1026"/>
                    </a:cubicBezTo>
                    <a:cubicBezTo>
                      <a:pt x="1571" y="1026"/>
                      <a:pt x="1571" y="1026"/>
                      <a:pt x="1571" y="1026"/>
                    </a:cubicBezTo>
                    <a:cubicBezTo>
                      <a:pt x="1580" y="1023"/>
                      <a:pt x="1580" y="1023"/>
                      <a:pt x="1580" y="1023"/>
                    </a:cubicBezTo>
                    <a:cubicBezTo>
                      <a:pt x="1581" y="1023"/>
                      <a:pt x="1581" y="1023"/>
                      <a:pt x="1582" y="1023"/>
                    </a:cubicBezTo>
                    <a:cubicBezTo>
                      <a:pt x="1582" y="1023"/>
                      <a:pt x="1582" y="1023"/>
                      <a:pt x="1582" y="1023"/>
                    </a:cubicBezTo>
                    <a:cubicBezTo>
                      <a:pt x="1583" y="1023"/>
                      <a:pt x="1583" y="1023"/>
                      <a:pt x="1583" y="1023"/>
                    </a:cubicBezTo>
                    <a:cubicBezTo>
                      <a:pt x="1596" y="1026"/>
                      <a:pt x="1596" y="1026"/>
                      <a:pt x="1596" y="1026"/>
                    </a:cubicBezTo>
                    <a:cubicBezTo>
                      <a:pt x="1597" y="1026"/>
                      <a:pt x="1598" y="1027"/>
                      <a:pt x="1600" y="1027"/>
                    </a:cubicBezTo>
                    <a:cubicBezTo>
                      <a:pt x="1601" y="1027"/>
                      <a:pt x="1602" y="1028"/>
                      <a:pt x="1603" y="1029"/>
                    </a:cubicBezTo>
                    <a:cubicBezTo>
                      <a:pt x="1604" y="1029"/>
                      <a:pt x="1604" y="1029"/>
                      <a:pt x="1604" y="1029"/>
                    </a:cubicBezTo>
                    <a:cubicBezTo>
                      <a:pt x="1605" y="1030"/>
                      <a:pt x="1605" y="1030"/>
                      <a:pt x="1605" y="1030"/>
                    </a:cubicBezTo>
                    <a:cubicBezTo>
                      <a:pt x="1607" y="1032"/>
                      <a:pt x="1607" y="1032"/>
                      <a:pt x="1607" y="1032"/>
                    </a:cubicBezTo>
                    <a:cubicBezTo>
                      <a:pt x="1611" y="1037"/>
                      <a:pt x="1611" y="1037"/>
                      <a:pt x="1611" y="1037"/>
                    </a:cubicBezTo>
                    <a:cubicBezTo>
                      <a:pt x="1612" y="1039"/>
                      <a:pt x="1613" y="1042"/>
                      <a:pt x="1614" y="1044"/>
                    </a:cubicBezTo>
                    <a:cubicBezTo>
                      <a:pt x="1614" y="1045"/>
                      <a:pt x="1614" y="1045"/>
                      <a:pt x="1614" y="1045"/>
                    </a:cubicBezTo>
                    <a:cubicBezTo>
                      <a:pt x="1615" y="1046"/>
                      <a:pt x="1615" y="1047"/>
                      <a:pt x="1615" y="1048"/>
                    </a:cubicBezTo>
                    <a:cubicBezTo>
                      <a:pt x="1615" y="1049"/>
                      <a:pt x="1615" y="1049"/>
                      <a:pt x="1615" y="1049"/>
                    </a:cubicBezTo>
                    <a:cubicBezTo>
                      <a:pt x="1616" y="1050"/>
                      <a:pt x="1616" y="1050"/>
                      <a:pt x="1616" y="1050"/>
                    </a:cubicBezTo>
                    <a:cubicBezTo>
                      <a:pt x="1616" y="1050"/>
                      <a:pt x="1616" y="1050"/>
                      <a:pt x="1616" y="1050"/>
                    </a:cubicBezTo>
                    <a:cubicBezTo>
                      <a:pt x="1619" y="1051"/>
                      <a:pt x="1619" y="1051"/>
                      <a:pt x="1619" y="1051"/>
                    </a:cubicBezTo>
                    <a:cubicBezTo>
                      <a:pt x="1620" y="1051"/>
                      <a:pt x="1620" y="1051"/>
                      <a:pt x="1621" y="1051"/>
                    </a:cubicBezTo>
                    <a:cubicBezTo>
                      <a:pt x="1638" y="1061"/>
                      <a:pt x="1638" y="1061"/>
                      <a:pt x="1638" y="1061"/>
                    </a:cubicBezTo>
                    <a:cubicBezTo>
                      <a:pt x="1639" y="1062"/>
                      <a:pt x="1639" y="1062"/>
                      <a:pt x="1639" y="1062"/>
                    </a:cubicBezTo>
                    <a:cubicBezTo>
                      <a:pt x="1639" y="1062"/>
                      <a:pt x="1639" y="1063"/>
                      <a:pt x="1639" y="1063"/>
                    </a:cubicBezTo>
                    <a:cubicBezTo>
                      <a:pt x="1644" y="1063"/>
                      <a:pt x="1644" y="1063"/>
                      <a:pt x="1644" y="1063"/>
                    </a:cubicBezTo>
                    <a:cubicBezTo>
                      <a:pt x="1639" y="1065"/>
                      <a:pt x="1639" y="1065"/>
                      <a:pt x="1639" y="1065"/>
                    </a:cubicBezTo>
                    <a:cubicBezTo>
                      <a:pt x="1638" y="1065"/>
                      <a:pt x="1638" y="1065"/>
                      <a:pt x="1638" y="1065"/>
                    </a:cubicBezTo>
                    <a:cubicBezTo>
                      <a:pt x="1638" y="1066"/>
                      <a:pt x="1638" y="1066"/>
                      <a:pt x="1638" y="1066"/>
                    </a:cubicBezTo>
                    <a:cubicBezTo>
                      <a:pt x="1638" y="1066"/>
                      <a:pt x="1639" y="1066"/>
                      <a:pt x="1639" y="1067"/>
                    </a:cubicBezTo>
                    <a:cubicBezTo>
                      <a:pt x="1640" y="1068"/>
                      <a:pt x="1640" y="1068"/>
                      <a:pt x="1640" y="1068"/>
                    </a:cubicBezTo>
                    <a:cubicBezTo>
                      <a:pt x="1640" y="1069"/>
                      <a:pt x="1640" y="1069"/>
                      <a:pt x="1640" y="1069"/>
                    </a:cubicBezTo>
                    <a:cubicBezTo>
                      <a:pt x="1641" y="1070"/>
                      <a:pt x="1641" y="1070"/>
                      <a:pt x="1641" y="1070"/>
                    </a:cubicBezTo>
                    <a:cubicBezTo>
                      <a:pt x="1641" y="1070"/>
                      <a:pt x="1641" y="1070"/>
                      <a:pt x="1641" y="1070"/>
                    </a:cubicBezTo>
                    <a:cubicBezTo>
                      <a:pt x="1641" y="1071"/>
                      <a:pt x="1641" y="1071"/>
                      <a:pt x="1641" y="1071"/>
                    </a:cubicBezTo>
                    <a:cubicBezTo>
                      <a:pt x="1642" y="1071"/>
                      <a:pt x="1643" y="1072"/>
                      <a:pt x="1643" y="1074"/>
                    </a:cubicBezTo>
                    <a:cubicBezTo>
                      <a:pt x="1643" y="1075"/>
                      <a:pt x="1643" y="1075"/>
                      <a:pt x="1643" y="1075"/>
                    </a:cubicBezTo>
                    <a:cubicBezTo>
                      <a:pt x="1644" y="1075"/>
                      <a:pt x="1644" y="1075"/>
                      <a:pt x="1644" y="1075"/>
                    </a:cubicBezTo>
                    <a:cubicBezTo>
                      <a:pt x="1648" y="1073"/>
                      <a:pt x="1648" y="1073"/>
                      <a:pt x="1648" y="1073"/>
                    </a:cubicBezTo>
                    <a:cubicBezTo>
                      <a:pt x="1645" y="1076"/>
                      <a:pt x="1645" y="1076"/>
                      <a:pt x="1645" y="1076"/>
                    </a:cubicBezTo>
                    <a:cubicBezTo>
                      <a:pt x="1658" y="1077"/>
                      <a:pt x="1658" y="1077"/>
                      <a:pt x="1658" y="1077"/>
                    </a:cubicBezTo>
                    <a:cubicBezTo>
                      <a:pt x="1660" y="1077"/>
                      <a:pt x="1660" y="1077"/>
                      <a:pt x="1660" y="1077"/>
                    </a:cubicBezTo>
                    <a:cubicBezTo>
                      <a:pt x="1666" y="1077"/>
                      <a:pt x="1666" y="1077"/>
                      <a:pt x="1666" y="1077"/>
                    </a:cubicBezTo>
                    <a:cubicBezTo>
                      <a:pt x="1666" y="1079"/>
                      <a:pt x="1666" y="1079"/>
                      <a:pt x="1666" y="1079"/>
                    </a:cubicBezTo>
                    <a:cubicBezTo>
                      <a:pt x="1666" y="1079"/>
                      <a:pt x="1666" y="1079"/>
                      <a:pt x="1667" y="1079"/>
                    </a:cubicBezTo>
                    <a:cubicBezTo>
                      <a:pt x="1670" y="1077"/>
                      <a:pt x="1670" y="1077"/>
                      <a:pt x="1670" y="1077"/>
                    </a:cubicBezTo>
                    <a:cubicBezTo>
                      <a:pt x="1671" y="1075"/>
                      <a:pt x="1673" y="1073"/>
                      <a:pt x="1675" y="1072"/>
                    </a:cubicBezTo>
                    <a:cubicBezTo>
                      <a:pt x="1682" y="1065"/>
                      <a:pt x="1682" y="1065"/>
                      <a:pt x="1682" y="1065"/>
                    </a:cubicBezTo>
                    <a:cubicBezTo>
                      <a:pt x="1682" y="915"/>
                      <a:pt x="1682" y="915"/>
                      <a:pt x="1682" y="915"/>
                    </a:cubicBezTo>
                    <a:moveTo>
                      <a:pt x="1122" y="457"/>
                    </a:moveTo>
                    <a:cubicBezTo>
                      <a:pt x="560" y="457"/>
                      <a:pt x="560" y="457"/>
                      <a:pt x="560" y="457"/>
                    </a:cubicBezTo>
                    <a:cubicBezTo>
                      <a:pt x="560" y="915"/>
                      <a:pt x="560" y="915"/>
                      <a:pt x="560" y="915"/>
                    </a:cubicBezTo>
                    <a:cubicBezTo>
                      <a:pt x="946" y="915"/>
                      <a:pt x="946" y="915"/>
                      <a:pt x="946" y="915"/>
                    </a:cubicBezTo>
                    <a:cubicBezTo>
                      <a:pt x="944" y="914"/>
                      <a:pt x="944" y="914"/>
                      <a:pt x="944" y="914"/>
                    </a:cubicBezTo>
                    <a:cubicBezTo>
                      <a:pt x="950" y="912"/>
                      <a:pt x="950" y="912"/>
                      <a:pt x="950" y="912"/>
                    </a:cubicBezTo>
                    <a:cubicBezTo>
                      <a:pt x="951" y="910"/>
                      <a:pt x="951" y="910"/>
                      <a:pt x="951" y="910"/>
                    </a:cubicBezTo>
                    <a:cubicBezTo>
                      <a:pt x="951" y="910"/>
                      <a:pt x="952" y="910"/>
                      <a:pt x="954" y="910"/>
                    </a:cubicBezTo>
                    <a:cubicBezTo>
                      <a:pt x="954" y="910"/>
                      <a:pt x="954" y="910"/>
                      <a:pt x="954" y="910"/>
                    </a:cubicBezTo>
                    <a:cubicBezTo>
                      <a:pt x="956" y="908"/>
                      <a:pt x="958" y="906"/>
                      <a:pt x="961" y="906"/>
                    </a:cubicBezTo>
                    <a:cubicBezTo>
                      <a:pt x="961" y="906"/>
                      <a:pt x="962" y="906"/>
                      <a:pt x="962" y="906"/>
                    </a:cubicBezTo>
                    <a:cubicBezTo>
                      <a:pt x="963" y="906"/>
                      <a:pt x="963" y="906"/>
                      <a:pt x="963" y="906"/>
                    </a:cubicBezTo>
                    <a:cubicBezTo>
                      <a:pt x="964" y="906"/>
                      <a:pt x="964" y="906"/>
                      <a:pt x="964" y="906"/>
                    </a:cubicBezTo>
                    <a:cubicBezTo>
                      <a:pt x="964" y="905"/>
                      <a:pt x="964" y="905"/>
                      <a:pt x="964" y="905"/>
                    </a:cubicBezTo>
                    <a:cubicBezTo>
                      <a:pt x="966" y="906"/>
                      <a:pt x="966" y="906"/>
                      <a:pt x="966" y="906"/>
                    </a:cubicBezTo>
                    <a:cubicBezTo>
                      <a:pt x="969" y="907"/>
                      <a:pt x="971" y="908"/>
                      <a:pt x="974" y="908"/>
                    </a:cubicBezTo>
                    <a:cubicBezTo>
                      <a:pt x="974" y="908"/>
                      <a:pt x="974" y="908"/>
                      <a:pt x="975" y="908"/>
                    </a:cubicBezTo>
                    <a:cubicBezTo>
                      <a:pt x="975" y="908"/>
                      <a:pt x="975" y="908"/>
                      <a:pt x="975" y="908"/>
                    </a:cubicBezTo>
                    <a:cubicBezTo>
                      <a:pt x="976" y="908"/>
                      <a:pt x="976" y="908"/>
                      <a:pt x="976" y="908"/>
                    </a:cubicBezTo>
                    <a:cubicBezTo>
                      <a:pt x="983" y="907"/>
                      <a:pt x="983" y="907"/>
                      <a:pt x="983" y="907"/>
                    </a:cubicBezTo>
                    <a:cubicBezTo>
                      <a:pt x="984" y="903"/>
                      <a:pt x="984" y="903"/>
                      <a:pt x="984" y="903"/>
                    </a:cubicBezTo>
                    <a:cubicBezTo>
                      <a:pt x="985" y="907"/>
                      <a:pt x="985" y="907"/>
                      <a:pt x="985" y="907"/>
                    </a:cubicBezTo>
                    <a:cubicBezTo>
                      <a:pt x="985" y="907"/>
                      <a:pt x="985" y="907"/>
                      <a:pt x="985" y="907"/>
                    </a:cubicBezTo>
                    <a:cubicBezTo>
                      <a:pt x="986" y="907"/>
                      <a:pt x="987" y="907"/>
                      <a:pt x="988" y="907"/>
                    </a:cubicBezTo>
                    <a:cubicBezTo>
                      <a:pt x="989" y="907"/>
                      <a:pt x="989" y="907"/>
                      <a:pt x="989" y="907"/>
                    </a:cubicBezTo>
                    <a:cubicBezTo>
                      <a:pt x="989" y="907"/>
                      <a:pt x="989" y="907"/>
                      <a:pt x="989" y="907"/>
                    </a:cubicBezTo>
                    <a:cubicBezTo>
                      <a:pt x="990" y="907"/>
                      <a:pt x="991" y="907"/>
                      <a:pt x="992" y="907"/>
                    </a:cubicBezTo>
                    <a:cubicBezTo>
                      <a:pt x="993" y="907"/>
                      <a:pt x="993" y="907"/>
                      <a:pt x="993" y="907"/>
                    </a:cubicBezTo>
                    <a:cubicBezTo>
                      <a:pt x="994" y="907"/>
                      <a:pt x="994" y="907"/>
                      <a:pt x="994" y="907"/>
                    </a:cubicBezTo>
                    <a:cubicBezTo>
                      <a:pt x="995" y="905"/>
                      <a:pt x="995" y="905"/>
                      <a:pt x="995" y="905"/>
                    </a:cubicBezTo>
                    <a:cubicBezTo>
                      <a:pt x="997" y="906"/>
                      <a:pt x="997" y="906"/>
                      <a:pt x="997" y="906"/>
                    </a:cubicBezTo>
                    <a:cubicBezTo>
                      <a:pt x="997" y="906"/>
                      <a:pt x="997" y="906"/>
                      <a:pt x="997" y="906"/>
                    </a:cubicBezTo>
                    <a:cubicBezTo>
                      <a:pt x="998" y="905"/>
                      <a:pt x="999" y="905"/>
                      <a:pt x="1000" y="905"/>
                    </a:cubicBezTo>
                    <a:cubicBezTo>
                      <a:pt x="1000" y="905"/>
                      <a:pt x="1000" y="905"/>
                      <a:pt x="1000" y="905"/>
                    </a:cubicBezTo>
                    <a:cubicBezTo>
                      <a:pt x="1001" y="905"/>
                      <a:pt x="1001" y="905"/>
                      <a:pt x="1001" y="905"/>
                    </a:cubicBezTo>
                    <a:cubicBezTo>
                      <a:pt x="1001" y="905"/>
                      <a:pt x="1002" y="904"/>
                      <a:pt x="1002" y="904"/>
                    </a:cubicBezTo>
                    <a:cubicBezTo>
                      <a:pt x="1003" y="904"/>
                      <a:pt x="1003" y="904"/>
                      <a:pt x="1003" y="904"/>
                    </a:cubicBezTo>
                    <a:cubicBezTo>
                      <a:pt x="997" y="904"/>
                      <a:pt x="997" y="904"/>
                      <a:pt x="997" y="904"/>
                    </a:cubicBezTo>
                    <a:cubicBezTo>
                      <a:pt x="1013" y="901"/>
                      <a:pt x="1013" y="901"/>
                      <a:pt x="1013" y="901"/>
                    </a:cubicBezTo>
                    <a:cubicBezTo>
                      <a:pt x="1013" y="894"/>
                      <a:pt x="1013" y="894"/>
                      <a:pt x="1013" y="894"/>
                    </a:cubicBezTo>
                    <a:cubicBezTo>
                      <a:pt x="1014" y="901"/>
                      <a:pt x="1014" y="901"/>
                      <a:pt x="1014" y="901"/>
                    </a:cubicBezTo>
                    <a:cubicBezTo>
                      <a:pt x="1028" y="898"/>
                      <a:pt x="1028" y="898"/>
                      <a:pt x="1028" y="898"/>
                    </a:cubicBezTo>
                    <a:cubicBezTo>
                      <a:pt x="1028" y="898"/>
                      <a:pt x="1028" y="898"/>
                      <a:pt x="1029" y="898"/>
                    </a:cubicBezTo>
                    <a:cubicBezTo>
                      <a:pt x="1031" y="897"/>
                      <a:pt x="1031" y="897"/>
                      <a:pt x="1031" y="897"/>
                    </a:cubicBezTo>
                    <a:cubicBezTo>
                      <a:pt x="1031" y="898"/>
                      <a:pt x="1031" y="898"/>
                      <a:pt x="1031" y="898"/>
                    </a:cubicBezTo>
                    <a:cubicBezTo>
                      <a:pt x="1035" y="897"/>
                      <a:pt x="1035" y="897"/>
                      <a:pt x="1035" y="897"/>
                    </a:cubicBezTo>
                    <a:cubicBezTo>
                      <a:pt x="1036" y="896"/>
                      <a:pt x="1036" y="896"/>
                      <a:pt x="1036" y="896"/>
                    </a:cubicBezTo>
                    <a:cubicBezTo>
                      <a:pt x="1037" y="896"/>
                      <a:pt x="1037" y="896"/>
                      <a:pt x="1037" y="896"/>
                    </a:cubicBezTo>
                    <a:cubicBezTo>
                      <a:pt x="1039" y="895"/>
                      <a:pt x="1039" y="895"/>
                      <a:pt x="1039" y="895"/>
                    </a:cubicBezTo>
                    <a:cubicBezTo>
                      <a:pt x="1039" y="896"/>
                      <a:pt x="1039" y="896"/>
                      <a:pt x="1039" y="896"/>
                    </a:cubicBezTo>
                    <a:cubicBezTo>
                      <a:pt x="1042" y="895"/>
                      <a:pt x="1042" y="895"/>
                      <a:pt x="1042" y="895"/>
                    </a:cubicBezTo>
                    <a:cubicBezTo>
                      <a:pt x="1042" y="895"/>
                      <a:pt x="1042" y="895"/>
                      <a:pt x="1042" y="895"/>
                    </a:cubicBezTo>
                    <a:cubicBezTo>
                      <a:pt x="1046" y="895"/>
                      <a:pt x="1046" y="895"/>
                      <a:pt x="1046" y="895"/>
                    </a:cubicBezTo>
                    <a:cubicBezTo>
                      <a:pt x="1046" y="895"/>
                      <a:pt x="1046" y="895"/>
                      <a:pt x="1046" y="895"/>
                    </a:cubicBezTo>
                    <a:cubicBezTo>
                      <a:pt x="1047" y="895"/>
                      <a:pt x="1047" y="895"/>
                      <a:pt x="1048" y="895"/>
                    </a:cubicBezTo>
                    <a:cubicBezTo>
                      <a:pt x="1048" y="895"/>
                      <a:pt x="1048" y="895"/>
                      <a:pt x="1048" y="895"/>
                    </a:cubicBezTo>
                    <a:cubicBezTo>
                      <a:pt x="1049" y="894"/>
                      <a:pt x="1050" y="894"/>
                      <a:pt x="1051" y="894"/>
                    </a:cubicBezTo>
                    <a:cubicBezTo>
                      <a:pt x="1051" y="894"/>
                      <a:pt x="1051" y="894"/>
                      <a:pt x="1051" y="894"/>
                    </a:cubicBezTo>
                    <a:cubicBezTo>
                      <a:pt x="1051" y="894"/>
                      <a:pt x="1052" y="894"/>
                      <a:pt x="1052" y="894"/>
                    </a:cubicBezTo>
                    <a:cubicBezTo>
                      <a:pt x="1053" y="893"/>
                      <a:pt x="1053" y="893"/>
                      <a:pt x="1054" y="893"/>
                    </a:cubicBezTo>
                    <a:cubicBezTo>
                      <a:pt x="1054" y="893"/>
                      <a:pt x="1054" y="893"/>
                      <a:pt x="1054" y="893"/>
                    </a:cubicBezTo>
                    <a:cubicBezTo>
                      <a:pt x="1054" y="893"/>
                      <a:pt x="1055" y="893"/>
                      <a:pt x="1055" y="893"/>
                    </a:cubicBezTo>
                    <a:cubicBezTo>
                      <a:pt x="1056" y="893"/>
                      <a:pt x="1056" y="893"/>
                      <a:pt x="1056" y="894"/>
                    </a:cubicBezTo>
                    <a:cubicBezTo>
                      <a:pt x="1057" y="894"/>
                      <a:pt x="1057" y="894"/>
                      <a:pt x="1057" y="894"/>
                    </a:cubicBezTo>
                    <a:cubicBezTo>
                      <a:pt x="1058" y="894"/>
                      <a:pt x="1058" y="894"/>
                      <a:pt x="1058" y="894"/>
                    </a:cubicBezTo>
                    <a:cubicBezTo>
                      <a:pt x="1060" y="894"/>
                      <a:pt x="1060" y="894"/>
                      <a:pt x="1060" y="894"/>
                    </a:cubicBezTo>
                    <a:cubicBezTo>
                      <a:pt x="1060" y="893"/>
                      <a:pt x="1062" y="892"/>
                      <a:pt x="1064" y="892"/>
                    </a:cubicBezTo>
                    <a:cubicBezTo>
                      <a:pt x="1065" y="892"/>
                      <a:pt x="1065" y="892"/>
                      <a:pt x="1066" y="893"/>
                    </a:cubicBezTo>
                    <a:cubicBezTo>
                      <a:pt x="1067" y="892"/>
                      <a:pt x="1067" y="892"/>
                      <a:pt x="1067" y="891"/>
                    </a:cubicBezTo>
                    <a:cubicBezTo>
                      <a:pt x="1067" y="891"/>
                      <a:pt x="1067" y="891"/>
                      <a:pt x="1067" y="891"/>
                    </a:cubicBezTo>
                    <a:cubicBezTo>
                      <a:pt x="1069" y="890"/>
                      <a:pt x="1069" y="890"/>
                      <a:pt x="1069" y="890"/>
                    </a:cubicBezTo>
                    <a:cubicBezTo>
                      <a:pt x="1069" y="890"/>
                      <a:pt x="1069" y="890"/>
                      <a:pt x="1069" y="890"/>
                    </a:cubicBezTo>
                    <a:cubicBezTo>
                      <a:pt x="1070" y="888"/>
                      <a:pt x="1070" y="888"/>
                      <a:pt x="1070" y="888"/>
                    </a:cubicBezTo>
                    <a:cubicBezTo>
                      <a:pt x="1060" y="886"/>
                      <a:pt x="1060" y="886"/>
                      <a:pt x="1060" y="886"/>
                    </a:cubicBezTo>
                    <a:cubicBezTo>
                      <a:pt x="1080" y="883"/>
                      <a:pt x="1080" y="883"/>
                      <a:pt x="1080" y="883"/>
                    </a:cubicBezTo>
                    <a:cubicBezTo>
                      <a:pt x="1082" y="883"/>
                      <a:pt x="1082" y="883"/>
                      <a:pt x="1082" y="883"/>
                    </a:cubicBezTo>
                    <a:cubicBezTo>
                      <a:pt x="1087" y="883"/>
                      <a:pt x="1087" y="883"/>
                      <a:pt x="1087" y="883"/>
                    </a:cubicBezTo>
                    <a:cubicBezTo>
                      <a:pt x="1089" y="881"/>
                      <a:pt x="1089" y="881"/>
                      <a:pt x="1089" y="881"/>
                    </a:cubicBezTo>
                    <a:cubicBezTo>
                      <a:pt x="1090" y="881"/>
                      <a:pt x="1091" y="881"/>
                      <a:pt x="1092" y="881"/>
                    </a:cubicBezTo>
                    <a:cubicBezTo>
                      <a:pt x="1092" y="880"/>
                      <a:pt x="1092" y="880"/>
                      <a:pt x="1093" y="880"/>
                    </a:cubicBezTo>
                    <a:cubicBezTo>
                      <a:pt x="1093" y="880"/>
                      <a:pt x="1093" y="880"/>
                      <a:pt x="1093" y="880"/>
                    </a:cubicBezTo>
                    <a:cubicBezTo>
                      <a:pt x="1094" y="880"/>
                      <a:pt x="1094" y="881"/>
                      <a:pt x="1095" y="881"/>
                    </a:cubicBezTo>
                    <a:cubicBezTo>
                      <a:pt x="1096" y="881"/>
                      <a:pt x="1096" y="882"/>
                      <a:pt x="1096" y="883"/>
                    </a:cubicBezTo>
                    <a:cubicBezTo>
                      <a:pt x="1100" y="882"/>
                      <a:pt x="1100" y="882"/>
                      <a:pt x="1100" y="882"/>
                    </a:cubicBezTo>
                    <a:cubicBezTo>
                      <a:pt x="1101" y="882"/>
                      <a:pt x="1103" y="881"/>
                      <a:pt x="1104" y="881"/>
                    </a:cubicBezTo>
                    <a:cubicBezTo>
                      <a:pt x="1106" y="880"/>
                      <a:pt x="1106" y="880"/>
                      <a:pt x="1106" y="880"/>
                    </a:cubicBezTo>
                    <a:cubicBezTo>
                      <a:pt x="1108" y="880"/>
                      <a:pt x="1110" y="880"/>
                      <a:pt x="1111" y="880"/>
                    </a:cubicBezTo>
                    <a:cubicBezTo>
                      <a:pt x="1109" y="878"/>
                      <a:pt x="1109" y="878"/>
                      <a:pt x="1109" y="878"/>
                    </a:cubicBezTo>
                    <a:cubicBezTo>
                      <a:pt x="1120" y="878"/>
                      <a:pt x="1120" y="878"/>
                      <a:pt x="1120" y="878"/>
                    </a:cubicBezTo>
                    <a:cubicBezTo>
                      <a:pt x="1122" y="877"/>
                      <a:pt x="1122" y="877"/>
                      <a:pt x="1122" y="877"/>
                    </a:cubicBezTo>
                    <a:cubicBezTo>
                      <a:pt x="1122" y="457"/>
                      <a:pt x="1122" y="457"/>
                      <a:pt x="1122" y="457"/>
                    </a:cubicBezTo>
                    <a:moveTo>
                      <a:pt x="271" y="437"/>
                    </a:moveTo>
                    <a:cubicBezTo>
                      <a:pt x="271" y="437"/>
                      <a:pt x="271" y="437"/>
                      <a:pt x="271" y="437"/>
                    </a:cubicBezTo>
                    <a:cubicBezTo>
                      <a:pt x="265" y="438"/>
                      <a:pt x="265" y="440"/>
                      <a:pt x="265" y="445"/>
                    </a:cubicBezTo>
                    <a:cubicBezTo>
                      <a:pt x="265" y="447"/>
                      <a:pt x="261" y="450"/>
                      <a:pt x="260" y="450"/>
                    </a:cubicBezTo>
                    <a:cubicBezTo>
                      <a:pt x="260" y="450"/>
                      <a:pt x="259" y="450"/>
                      <a:pt x="259" y="450"/>
                    </a:cubicBezTo>
                    <a:cubicBezTo>
                      <a:pt x="258" y="450"/>
                      <a:pt x="258" y="450"/>
                      <a:pt x="257" y="450"/>
                    </a:cubicBezTo>
                    <a:cubicBezTo>
                      <a:pt x="256" y="449"/>
                      <a:pt x="256" y="449"/>
                      <a:pt x="255" y="449"/>
                    </a:cubicBezTo>
                    <a:cubicBezTo>
                      <a:pt x="255" y="449"/>
                      <a:pt x="254" y="449"/>
                      <a:pt x="254" y="449"/>
                    </a:cubicBezTo>
                    <a:cubicBezTo>
                      <a:pt x="255" y="452"/>
                      <a:pt x="257" y="455"/>
                      <a:pt x="259" y="457"/>
                    </a:cubicBezTo>
                    <a:cubicBezTo>
                      <a:pt x="301" y="457"/>
                      <a:pt x="301" y="457"/>
                      <a:pt x="301" y="457"/>
                    </a:cubicBezTo>
                    <a:cubicBezTo>
                      <a:pt x="302" y="456"/>
                      <a:pt x="305" y="456"/>
                      <a:pt x="307" y="456"/>
                    </a:cubicBezTo>
                    <a:cubicBezTo>
                      <a:pt x="308" y="456"/>
                      <a:pt x="309" y="456"/>
                      <a:pt x="309" y="456"/>
                    </a:cubicBezTo>
                    <a:cubicBezTo>
                      <a:pt x="309" y="455"/>
                      <a:pt x="309" y="455"/>
                      <a:pt x="310" y="454"/>
                    </a:cubicBezTo>
                    <a:cubicBezTo>
                      <a:pt x="303" y="450"/>
                      <a:pt x="296" y="447"/>
                      <a:pt x="289" y="444"/>
                    </a:cubicBezTo>
                    <a:cubicBezTo>
                      <a:pt x="285" y="442"/>
                      <a:pt x="281" y="440"/>
                      <a:pt x="276" y="439"/>
                    </a:cubicBezTo>
                    <a:cubicBezTo>
                      <a:pt x="275" y="438"/>
                      <a:pt x="273" y="437"/>
                      <a:pt x="271" y="437"/>
                    </a:cubicBezTo>
                    <a:moveTo>
                      <a:pt x="448" y="271"/>
                    </a:moveTo>
                    <a:cubicBezTo>
                      <a:pt x="453" y="277"/>
                      <a:pt x="458" y="281"/>
                      <a:pt x="466" y="283"/>
                    </a:cubicBezTo>
                    <a:cubicBezTo>
                      <a:pt x="468" y="284"/>
                      <a:pt x="472" y="286"/>
                      <a:pt x="474" y="289"/>
                    </a:cubicBezTo>
                    <a:cubicBezTo>
                      <a:pt x="476" y="290"/>
                      <a:pt x="476" y="292"/>
                      <a:pt x="477" y="295"/>
                    </a:cubicBezTo>
                    <a:cubicBezTo>
                      <a:pt x="477" y="295"/>
                      <a:pt x="479" y="299"/>
                      <a:pt x="479" y="300"/>
                    </a:cubicBezTo>
                    <a:cubicBezTo>
                      <a:pt x="479" y="302"/>
                      <a:pt x="479" y="301"/>
                      <a:pt x="477" y="302"/>
                    </a:cubicBezTo>
                    <a:cubicBezTo>
                      <a:pt x="476" y="303"/>
                      <a:pt x="473" y="303"/>
                      <a:pt x="473" y="304"/>
                    </a:cubicBezTo>
                    <a:cubicBezTo>
                      <a:pt x="471" y="307"/>
                      <a:pt x="475" y="307"/>
                      <a:pt x="475" y="307"/>
                    </a:cubicBezTo>
                    <a:cubicBezTo>
                      <a:pt x="475" y="309"/>
                      <a:pt x="473" y="309"/>
                      <a:pt x="471" y="310"/>
                    </a:cubicBezTo>
                    <a:cubicBezTo>
                      <a:pt x="470" y="313"/>
                      <a:pt x="471" y="318"/>
                      <a:pt x="470" y="320"/>
                    </a:cubicBezTo>
                    <a:cubicBezTo>
                      <a:pt x="468" y="325"/>
                      <a:pt x="461" y="332"/>
                      <a:pt x="462" y="337"/>
                    </a:cubicBezTo>
                    <a:cubicBezTo>
                      <a:pt x="462" y="342"/>
                      <a:pt x="468" y="343"/>
                      <a:pt x="471" y="344"/>
                    </a:cubicBezTo>
                    <a:cubicBezTo>
                      <a:pt x="473" y="345"/>
                      <a:pt x="474" y="347"/>
                      <a:pt x="477" y="348"/>
                    </a:cubicBezTo>
                    <a:cubicBezTo>
                      <a:pt x="477" y="348"/>
                      <a:pt x="477" y="349"/>
                      <a:pt x="478" y="349"/>
                    </a:cubicBezTo>
                    <a:cubicBezTo>
                      <a:pt x="478" y="349"/>
                      <a:pt x="478" y="348"/>
                      <a:pt x="478" y="348"/>
                    </a:cubicBezTo>
                    <a:cubicBezTo>
                      <a:pt x="478" y="348"/>
                      <a:pt x="479" y="348"/>
                      <a:pt x="479" y="348"/>
                    </a:cubicBezTo>
                    <a:cubicBezTo>
                      <a:pt x="479" y="348"/>
                      <a:pt x="480" y="349"/>
                      <a:pt x="480" y="350"/>
                    </a:cubicBezTo>
                    <a:cubicBezTo>
                      <a:pt x="481" y="352"/>
                      <a:pt x="482" y="354"/>
                      <a:pt x="483" y="356"/>
                    </a:cubicBezTo>
                    <a:cubicBezTo>
                      <a:pt x="484" y="360"/>
                      <a:pt x="485" y="367"/>
                      <a:pt x="483" y="371"/>
                    </a:cubicBezTo>
                    <a:cubicBezTo>
                      <a:pt x="478" y="377"/>
                      <a:pt x="469" y="385"/>
                      <a:pt x="471" y="394"/>
                    </a:cubicBezTo>
                    <a:cubicBezTo>
                      <a:pt x="472" y="395"/>
                      <a:pt x="473" y="395"/>
                      <a:pt x="473" y="397"/>
                    </a:cubicBezTo>
                    <a:cubicBezTo>
                      <a:pt x="473" y="398"/>
                      <a:pt x="472" y="399"/>
                      <a:pt x="472" y="400"/>
                    </a:cubicBezTo>
                    <a:cubicBezTo>
                      <a:pt x="472" y="402"/>
                      <a:pt x="474" y="403"/>
                      <a:pt x="474" y="406"/>
                    </a:cubicBezTo>
                    <a:cubicBezTo>
                      <a:pt x="473" y="405"/>
                      <a:pt x="470" y="402"/>
                      <a:pt x="470" y="400"/>
                    </a:cubicBezTo>
                    <a:cubicBezTo>
                      <a:pt x="469" y="398"/>
                      <a:pt x="470" y="398"/>
                      <a:pt x="469" y="396"/>
                    </a:cubicBezTo>
                    <a:cubicBezTo>
                      <a:pt x="468" y="393"/>
                      <a:pt x="466" y="392"/>
                      <a:pt x="464" y="392"/>
                    </a:cubicBezTo>
                    <a:cubicBezTo>
                      <a:pt x="460" y="392"/>
                      <a:pt x="456" y="395"/>
                      <a:pt x="454" y="397"/>
                    </a:cubicBezTo>
                    <a:cubicBezTo>
                      <a:pt x="455" y="398"/>
                      <a:pt x="456" y="399"/>
                      <a:pt x="455" y="401"/>
                    </a:cubicBezTo>
                    <a:cubicBezTo>
                      <a:pt x="454" y="400"/>
                      <a:pt x="449" y="397"/>
                      <a:pt x="449" y="396"/>
                    </a:cubicBezTo>
                    <a:cubicBezTo>
                      <a:pt x="449" y="396"/>
                      <a:pt x="452" y="394"/>
                      <a:pt x="452" y="394"/>
                    </a:cubicBezTo>
                    <a:cubicBezTo>
                      <a:pt x="454" y="393"/>
                      <a:pt x="460" y="390"/>
                      <a:pt x="460" y="389"/>
                    </a:cubicBezTo>
                    <a:cubicBezTo>
                      <a:pt x="461" y="386"/>
                      <a:pt x="455" y="385"/>
                      <a:pt x="453" y="384"/>
                    </a:cubicBezTo>
                    <a:cubicBezTo>
                      <a:pt x="452" y="384"/>
                      <a:pt x="451" y="384"/>
                      <a:pt x="451" y="383"/>
                    </a:cubicBezTo>
                    <a:cubicBezTo>
                      <a:pt x="450" y="383"/>
                      <a:pt x="450" y="382"/>
                      <a:pt x="450" y="381"/>
                    </a:cubicBezTo>
                    <a:cubicBezTo>
                      <a:pt x="448" y="380"/>
                      <a:pt x="446" y="380"/>
                      <a:pt x="443" y="380"/>
                    </a:cubicBezTo>
                    <a:cubicBezTo>
                      <a:pt x="436" y="380"/>
                      <a:pt x="432" y="379"/>
                      <a:pt x="426" y="377"/>
                    </a:cubicBezTo>
                    <a:cubicBezTo>
                      <a:pt x="424" y="377"/>
                      <a:pt x="422" y="375"/>
                      <a:pt x="420" y="375"/>
                    </a:cubicBezTo>
                    <a:cubicBezTo>
                      <a:pt x="419" y="375"/>
                      <a:pt x="419" y="375"/>
                      <a:pt x="418" y="376"/>
                    </a:cubicBezTo>
                    <a:cubicBezTo>
                      <a:pt x="413" y="379"/>
                      <a:pt x="409" y="385"/>
                      <a:pt x="404" y="389"/>
                    </a:cubicBezTo>
                    <a:cubicBezTo>
                      <a:pt x="400" y="393"/>
                      <a:pt x="396" y="394"/>
                      <a:pt x="390" y="396"/>
                    </a:cubicBezTo>
                    <a:cubicBezTo>
                      <a:pt x="383" y="399"/>
                      <a:pt x="375" y="401"/>
                      <a:pt x="369" y="406"/>
                    </a:cubicBezTo>
                    <a:cubicBezTo>
                      <a:pt x="363" y="410"/>
                      <a:pt x="356" y="414"/>
                      <a:pt x="350" y="419"/>
                    </a:cubicBezTo>
                    <a:cubicBezTo>
                      <a:pt x="341" y="426"/>
                      <a:pt x="354" y="437"/>
                      <a:pt x="360" y="443"/>
                    </a:cubicBezTo>
                    <a:cubicBezTo>
                      <a:pt x="364" y="448"/>
                      <a:pt x="366" y="451"/>
                      <a:pt x="367" y="457"/>
                    </a:cubicBezTo>
                    <a:cubicBezTo>
                      <a:pt x="560" y="457"/>
                      <a:pt x="560" y="457"/>
                      <a:pt x="560" y="457"/>
                    </a:cubicBezTo>
                    <a:cubicBezTo>
                      <a:pt x="560" y="358"/>
                      <a:pt x="560" y="358"/>
                      <a:pt x="560" y="358"/>
                    </a:cubicBezTo>
                    <a:cubicBezTo>
                      <a:pt x="558" y="359"/>
                      <a:pt x="555" y="359"/>
                      <a:pt x="552" y="360"/>
                    </a:cubicBezTo>
                    <a:cubicBezTo>
                      <a:pt x="550" y="360"/>
                      <a:pt x="547" y="360"/>
                      <a:pt x="544" y="361"/>
                    </a:cubicBezTo>
                    <a:cubicBezTo>
                      <a:pt x="541" y="362"/>
                      <a:pt x="540" y="364"/>
                      <a:pt x="537" y="365"/>
                    </a:cubicBezTo>
                    <a:cubicBezTo>
                      <a:pt x="540" y="362"/>
                      <a:pt x="545" y="359"/>
                      <a:pt x="540" y="359"/>
                    </a:cubicBezTo>
                    <a:cubicBezTo>
                      <a:pt x="539" y="359"/>
                      <a:pt x="539" y="359"/>
                      <a:pt x="538" y="360"/>
                    </a:cubicBezTo>
                    <a:cubicBezTo>
                      <a:pt x="535" y="360"/>
                      <a:pt x="532" y="361"/>
                      <a:pt x="529" y="361"/>
                    </a:cubicBezTo>
                    <a:cubicBezTo>
                      <a:pt x="528" y="361"/>
                      <a:pt x="527" y="361"/>
                      <a:pt x="527" y="361"/>
                    </a:cubicBezTo>
                    <a:cubicBezTo>
                      <a:pt x="522" y="360"/>
                      <a:pt x="519" y="355"/>
                      <a:pt x="517" y="352"/>
                    </a:cubicBezTo>
                    <a:cubicBezTo>
                      <a:pt x="513" y="346"/>
                      <a:pt x="508" y="342"/>
                      <a:pt x="502" y="339"/>
                    </a:cubicBezTo>
                    <a:cubicBezTo>
                      <a:pt x="497" y="338"/>
                      <a:pt x="494" y="335"/>
                      <a:pt x="496" y="330"/>
                    </a:cubicBezTo>
                    <a:cubicBezTo>
                      <a:pt x="497" y="327"/>
                      <a:pt x="500" y="325"/>
                      <a:pt x="503" y="324"/>
                    </a:cubicBezTo>
                    <a:cubicBezTo>
                      <a:pt x="506" y="323"/>
                      <a:pt x="508" y="323"/>
                      <a:pt x="507" y="319"/>
                    </a:cubicBezTo>
                    <a:cubicBezTo>
                      <a:pt x="506" y="316"/>
                      <a:pt x="515" y="315"/>
                      <a:pt x="516" y="315"/>
                    </a:cubicBezTo>
                    <a:cubicBezTo>
                      <a:pt x="521" y="315"/>
                      <a:pt x="527" y="315"/>
                      <a:pt x="532" y="313"/>
                    </a:cubicBezTo>
                    <a:cubicBezTo>
                      <a:pt x="534" y="313"/>
                      <a:pt x="535" y="313"/>
                      <a:pt x="537" y="313"/>
                    </a:cubicBezTo>
                    <a:cubicBezTo>
                      <a:pt x="537" y="313"/>
                      <a:pt x="538" y="313"/>
                      <a:pt x="539" y="313"/>
                    </a:cubicBezTo>
                    <a:cubicBezTo>
                      <a:pt x="540" y="313"/>
                      <a:pt x="542" y="314"/>
                      <a:pt x="544" y="314"/>
                    </a:cubicBezTo>
                    <a:cubicBezTo>
                      <a:pt x="544" y="314"/>
                      <a:pt x="545" y="313"/>
                      <a:pt x="546" y="313"/>
                    </a:cubicBezTo>
                    <a:cubicBezTo>
                      <a:pt x="548" y="310"/>
                      <a:pt x="543" y="306"/>
                      <a:pt x="542" y="304"/>
                    </a:cubicBezTo>
                    <a:cubicBezTo>
                      <a:pt x="540" y="300"/>
                      <a:pt x="541" y="298"/>
                      <a:pt x="537" y="295"/>
                    </a:cubicBezTo>
                    <a:cubicBezTo>
                      <a:pt x="533" y="292"/>
                      <a:pt x="528" y="290"/>
                      <a:pt x="526" y="286"/>
                    </a:cubicBezTo>
                    <a:cubicBezTo>
                      <a:pt x="524" y="284"/>
                      <a:pt x="523" y="282"/>
                      <a:pt x="526" y="282"/>
                    </a:cubicBezTo>
                    <a:cubicBezTo>
                      <a:pt x="500" y="278"/>
                      <a:pt x="474" y="275"/>
                      <a:pt x="448" y="271"/>
                    </a:cubicBezTo>
                    <a:moveTo>
                      <a:pt x="128" y="206"/>
                    </a:moveTo>
                    <a:cubicBezTo>
                      <a:pt x="128" y="206"/>
                      <a:pt x="127" y="206"/>
                      <a:pt x="127" y="206"/>
                    </a:cubicBezTo>
                    <a:cubicBezTo>
                      <a:pt x="123" y="207"/>
                      <a:pt x="127" y="210"/>
                      <a:pt x="129" y="212"/>
                    </a:cubicBezTo>
                    <a:cubicBezTo>
                      <a:pt x="129" y="213"/>
                      <a:pt x="131" y="214"/>
                      <a:pt x="130" y="215"/>
                    </a:cubicBezTo>
                    <a:cubicBezTo>
                      <a:pt x="130" y="216"/>
                      <a:pt x="130" y="216"/>
                      <a:pt x="130" y="216"/>
                    </a:cubicBezTo>
                    <a:cubicBezTo>
                      <a:pt x="129" y="216"/>
                      <a:pt x="128" y="215"/>
                      <a:pt x="128" y="215"/>
                    </a:cubicBezTo>
                    <a:cubicBezTo>
                      <a:pt x="126" y="214"/>
                      <a:pt x="124" y="212"/>
                      <a:pt x="122" y="212"/>
                    </a:cubicBezTo>
                    <a:cubicBezTo>
                      <a:pt x="122" y="212"/>
                      <a:pt x="122" y="212"/>
                      <a:pt x="122" y="212"/>
                    </a:cubicBezTo>
                    <a:cubicBezTo>
                      <a:pt x="118" y="213"/>
                      <a:pt x="121" y="215"/>
                      <a:pt x="120" y="216"/>
                    </a:cubicBezTo>
                    <a:cubicBezTo>
                      <a:pt x="119" y="218"/>
                      <a:pt x="117" y="218"/>
                      <a:pt x="114" y="218"/>
                    </a:cubicBezTo>
                    <a:cubicBezTo>
                      <a:pt x="109" y="218"/>
                      <a:pt x="102" y="217"/>
                      <a:pt x="98" y="216"/>
                    </a:cubicBezTo>
                    <a:cubicBezTo>
                      <a:pt x="98" y="217"/>
                      <a:pt x="98" y="217"/>
                      <a:pt x="98" y="217"/>
                    </a:cubicBezTo>
                    <a:cubicBezTo>
                      <a:pt x="99" y="220"/>
                      <a:pt x="100" y="224"/>
                      <a:pt x="98" y="226"/>
                    </a:cubicBezTo>
                    <a:cubicBezTo>
                      <a:pt x="96" y="228"/>
                      <a:pt x="95" y="229"/>
                      <a:pt x="92" y="229"/>
                    </a:cubicBezTo>
                    <a:cubicBezTo>
                      <a:pt x="92" y="229"/>
                      <a:pt x="92" y="229"/>
                      <a:pt x="92" y="229"/>
                    </a:cubicBezTo>
                    <a:cubicBezTo>
                      <a:pt x="91" y="229"/>
                      <a:pt x="91" y="229"/>
                      <a:pt x="91" y="229"/>
                    </a:cubicBezTo>
                    <a:cubicBezTo>
                      <a:pt x="90" y="229"/>
                      <a:pt x="90" y="229"/>
                      <a:pt x="89" y="229"/>
                    </a:cubicBezTo>
                    <a:cubicBezTo>
                      <a:pt x="89" y="229"/>
                      <a:pt x="89" y="229"/>
                      <a:pt x="89" y="229"/>
                    </a:cubicBezTo>
                    <a:cubicBezTo>
                      <a:pt x="88" y="229"/>
                      <a:pt x="88" y="229"/>
                      <a:pt x="88" y="229"/>
                    </a:cubicBezTo>
                    <a:cubicBezTo>
                      <a:pt x="85" y="228"/>
                      <a:pt x="82" y="227"/>
                      <a:pt x="80" y="226"/>
                    </a:cubicBezTo>
                    <a:cubicBezTo>
                      <a:pt x="78" y="225"/>
                      <a:pt x="78" y="225"/>
                      <a:pt x="78" y="225"/>
                    </a:cubicBezTo>
                    <a:cubicBezTo>
                      <a:pt x="78" y="225"/>
                      <a:pt x="78" y="225"/>
                      <a:pt x="78" y="225"/>
                    </a:cubicBezTo>
                    <a:cubicBezTo>
                      <a:pt x="77" y="227"/>
                      <a:pt x="77" y="228"/>
                      <a:pt x="76" y="229"/>
                    </a:cubicBezTo>
                    <a:cubicBezTo>
                      <a:pt x="73" y="234"/>
                      <a:pt x="71" y="237"/>
                      <a:pt x="64" y="238"/>
                    </a:cubicBezTo>
                    <a:cubicBezTo>
                      <a:pt x="62" y="239"/>
                      <a:pt x="62" y="239"/>
                      <a:pt x="62" y="239"/>
                    </a:cubicBezTo>
                    <a:cubicBezTo>
                      <a:pt x="60" y="239"/>
                      <a:pt x="58" y="239"/>
                      <a:pt x="56" y="240"/>
                    </a:cubicBezTo>
                    <a:cubicBezTo>
                      <a:pt x="55" y="240"/>
                      <a:pt x="55" y="240"/>
                      <a:pt x="55" y="240"/>
                    </a:cubicBezTo>
                    <a:cubicBezTo>
                      <a:pt x="55" y="241"/>
                      <a:pt x="55" y="241"/>
                      <a:pt x="55" y="241"/>
                    </a:cubicBezTo>
                    <a:cubicBezTo>
                      <a:pt x="53" y="241"/>
                      <a:pt x="49" y="246"/>
                      <a:pt x="48" y="250"/>
                    </a:cubicBezTo>
                    <a:cubicBezTo>
                      <a:pt x="46" y="252"/>
                      <a:pt x="46" y="252"/>
                      <a:pt x="46" y="252"/>
                    </a:cubicBezTo>
                    <a:cubicBezTo>
                      <a:pt x="46" y="257"/>
                      <a:pt x="42" y="258"/>
                      <a:pt x="40" y="259"/>
                    </a:cubicBezTo>
                    <a:cubicBezTo>
                      <a:pt x="40" y="259"/>
                      <a:pt x="39" y="259"/>
                      <a:pt x="38" y="260"/>
                    </a:cubicBezTo>
                    <a:cubicBezTo>
                      <a:pt x="38" y="261"/>
                      <a:pt x="38" y="261"/>
                      <a:pt x="38" y="261"/>
                    </a:cubicBezTo>
                    <a:cubicBezTo>
                      <a:pt x="38" y="265"/>
                      <a:pt x="36" y="268"/>
                      <a:pt x="35" y="271"/>
                    </a:cubicBezTo>
                    <a:cubicBezTo>
                      <a:pt x="35" y="273"/>
                      <a:pt x="35" y="273"/>
                      <a:pt x="35" y="273"/>
                    </a:cubicBezTo>
                    <a:cubicBezTo>
                      <a:pt x="35" y="274"/>
                      <a:pt x="34" y="275"/>
                      <a:pt x="34" y="276"/>
                    </a:cubicBezTo>
                    <a:cubicBezTo>
                      <a:pt x="33" y="277"/>
                      <a:pt x="32" y="280"/>
                      <a:pt x="32" y="281"/>
                    </a:cubicBezTo>
                    <a:cubicBezTo>
                      <a:pt x="33" y="282"/>
                      <a:pt x="33" y="284"/>
                      <a:pt x="34" y="285"/>
                    </a:cubicBezTo>
                    <a:cubicBezTo>
                      <a:pt x="34" y="288"/>
                      <a:pt x="35" y="291"/>
                      <a:pt x="37" y="292"/>
                    </a:cubicBezTo>
                    <a:cubicBezTo>
                      <a:pt x="38" y="293"/>
                      <a:pt x="43" y="294"/>
                      <a:pt x="45" y="295"/>
                    </a:cubicBezTo>
                    <a:cubicBezTo>
                      <a:pt x="46" y="295"/>
                      <a:pt x="47" y="295"/>
                      <a:pt x="47" y="295"/>
                    </a:cubicBezTo>
                    <a:cubicBezTo>
                      <a:pt x="48" y="295"/>
                      <a:pt x="49" y="295"/>
                      <a:pt x="49" y="295"/>
                    </a:cubicBezTo>
                    <a:cubicBezTo>
                      <a:pt x="55" y="297"/>
                      <a:pt x="58" y="301"/>
                      <a:pt x="60" y="305"/>
                    </a:cubicBezTo>
                    <a:cubicBezTo>
                      <a:pt x="62" y="308"/>
                      <a:pt x="63" y="310"/>
                      <a:pt x="65" y="311"/>
                    </a:cubicBezTo>
                    <a:cubicBezTo>
                      <a:pt x="66" y="312"/>
                      <a:pt x="66" y="312"/>
                      <a:pt x="66" y="312"/>
                    </a:cubicBezTo>
                    <a:cubicBezTo>
                      <a:pt x="71" y="316"/>
                      <a:pt x="73" y="317"/>
                      <a:pt x="74" y="320"/>
                    </a:cubicBezTo>
                    <a:cubicBezTo>
                      <a:pt x="74" y="321"/>
                      <a:pt x="74" y="321"/>
                      <a:pt x="74" y="321"/>
                    </a:cubicBezTo>
                    <a:cubicBezTo>
                      <a:pt x="73" y="323"/>
                      <a:pt x="73" y="323"/>
                      <a:pt x="73" y="323"/>
                    </a:cubicBezTo>
                    <a:cubicBezTo>
                      <a:pt x="48" y="356"/>
                      <a:pt x="48" y="356"/>
                      <a:pt x="48" y="356"/>
                    </a:cubicBezTo>
                    <a:cubicBezTo>
                      <a:pt x="48" y="356"/>
                      <a:pt x="48" y="356"/>
                      <a:pt x="48" y="356"/>
                    </a:cubicBezTo>
                    <a:cubicBezTo>
                      <a:pt x="48" y="357"/>
                      <a:pt x="48" y="358"/>
                      <a:pt x="48" y="358"/>
                    </a:cubicBezTo>
                    <a:cubicBezTo>
                      <a:pt x="49" y="359"/>
                      <a:pt x="49" y="360"/>
                      <a:pt x="50" y="360"/>
                    </a:cubicBezTo>
                    <a:cubicBezTo>
                      <a:pt x="51" y="361"/>
                      <a:pt x="52" y="362"/>
                      <a:pt x="52" y="362"/>
                    </a:cubicBezTo>
                    <a:cubicBezTo>
                      <a:pt x="53" y="363"/>
                      <a:pt x="54" y="364"/>
                      <a:pt x="55" y="366"/>
                    </a:cubicBezTo>
                    <a:cubicBezTo>
                      <a:pt x="57" y="369"/>
                      <a:pt x="60" y="373"/>
                      <a:pt x="62" y="377"/>
                    </a:cubicBezTo>
                    <a:cubicBezTo>
                      <a:pt x="79" y="419"/>
                      <a:pt x="79" y="419"/>
                      <a:pt x="79" y="419"/>
                    </a:cubicBezTo>
                    <a:cubicBezTo>
                      <a:pt x="75" y="419"/>
                      <a:pt x="75" y="419"/>
                      <a:pt x="75" y="419"/>
                    </a:cubicBezTo>
                    <a:cubicBezTo>
                      <a:pt x="74" y="419"/>
                      <a:pt x="73" y="419"/>
                      <a:pt x="71" y="419"/>
                    </a:cubicBezTo>
                    <a:cubicBezTo>
                      <a:pt x="71" y="419"/>
                      <a:pt x="71" y="419"/>
                      <a:pt x="71" y="419"/>
                    </a:cubicBezTo>
                    <a:cubicBezTo>
                      <a:pt x="70" y="419"/>
                      <a:pt x="69" y="420"/>
                      <a:pt x="68" y="420"/>
                    </a:cubicBezTo>
                    <a:cubicBezTo>
                      <a:pt x="68" y="420"/>
                      <a:pt x="68" y="420"/>
                      <a:pt x="68" y="420"/>
                    </a:cubicBezTo>
                    <a:cubicBezTo>
                      <a:pt x="68" y="424"/>
                      <a:pt x="66" y="428"/>
                      <a:pt x="65" y="431"/>
                    </a:cubicBezTo>
                    <a:cubicBezTo>
                      <a:pt x="64" y="432"/>
                      <a:pt x="64" y="432"/>
                      <a:pt x="64" y="432"/>
                    </a:cubicBezTo>
                    <a:cubicBezTo>
                      <a:pt x="64" y="433"/>
                      <a:pt x="64" y="433"/>
                      <a:pt x="64" y="433"/>
                    </a:cubicBezTo>
                    <a:cubicBezTo>
                      <a:pt x="64" y="433"/>
                      <a:pt x="65" y="434"/>
                      <a:pt x="66" y="434"/>
                    </a:cubicBezTo>
                    <a:cubicBezTo>
                      <a:pt x="67" y="436"/>
                      <a:pt x="70" y="438"/>
                      <a:pt x="69" y="441"/>
                    </a:cubicBezTo>
                    <a:cubicBezTo>
                      <a:pt x="69" y="444"/>
                      <a:pt x="67" y="445"/>
                      <a:pt x="66" y="446"/>
                    </a:cubicBezTo>
                    <a:cubicBezTo>
                      <a:pt x="64" y="447"/>
                      <a:pt x="64" y="447"/>
                      <a:pt x="64" y="448"/>
                    </a:cubicBezTo>
                    <a:cubicBezTo>
                      <a:pt x="64" y="450"/>
                      <a:pt x="66" y="452"/>
                      <a:pt x="68" y="453"/>
                    </a:cubicBezTo>
                    <a:cubicBezTo>
                      <a:pt x="72" y="453"/>
                      <a:pt x="74" y="454"/>
                      <a:pt x="77" y="457"/>
                    </a:cubicBezTo>
                    <a:cubicBezTo>
                      <a:pt x="213" y="457"/>
                      <a:pt x="213" y="457"/>
                      <a:pt x="213" y="457"/>
                    </a:cubicBezTo>
                    <a:cubicBezTo>
                      <a:pt x="213" y="457"/>
                      <a:pt x="213" y="457"/>
                      <a:pt x="213" y="457"/>
                    </a:cubicBezTo>
                    <a:cubicBezTo>
                      <a:pt x="212" y="457"/>
                      <a:pt x="211" y="456"/>
                      <a:pt x="210" y="456"/>
                    </a:cubicBezTo>
                    <a:cubicBezTo>
                      <a:pt x="209" y="456"/>
                      <a:pt x="208" y="457"/>
                      <a:pt x="207" y="457"/>
                    </a:cubicBezTo>
                    <a:cubicBezTo>
                      <a:pt x="208" y="456"/>
                      <a:pt x="210" y="455"/>
                      <a:pt x="211" y="454"/>
                    </a:cubicBezTo>
                    <a:cubicBezTo>
                      <a:pt x="207" y="449"/>
                      <a:pt x="205" y="446"/>
                      <a:pt x="203" y="439"/>
                    </a:cubicBezTo>
                    <a:cubicBezTo>
                      <a:pt x="202" y="434"/>
                      <a:pt x="197" y="432"/>
                      <a:pt x="194" y="428"/>
                    </a:cubicBezTo>
                    <a:cubicBezTo>
                      <a:pt x="195" y="428"/>
                      <a:pt x="195" y="428"/>
                      <a:pt x="196" y="427"/>
                    </a:cubicBezTo>
                    <a:cubicBezTo>
                      <a:pt x="197" y="427"/>
                      <a:pt x="198" y="426"/>
                      <a:pt x="199" y="426"/>
                    </a:cubicBezTo>
                    <a:cubicBezTo>
                      <a:pt x="199" y="426"/>
                      <a:pt x="199" y="426"/>
                      <a:pt x="199" y="426"/>
                    </a:cubicBezTo>
                    <a:cubicBezTo>
                      <a:pt x="200" y="426"/>
                      <a:pt x="200" y="426"/>
                      <a:pt x="200" y="426"/>
                    </a:cubicBezTo>
                    <a:cubicBezTo>
                      <a:pt x="201" y="426"/>
                      <a:pt x="201" y="426"/>
                      <a:pt x="201" y="426"/>
                    </a:cubicBezTo>
                    <a:cubicBezTo>
                      <a:pt x="201" y="426"/>
                      <a:pt x="202" y="426"/>
                      <a:pt x="202" y="426"/>
                    </a:cubicBezTo>
                    <a:cubicBezTo>
                      <a:pt x="203" y="425"/>
                      <a:pt x="203" y="420"/>
                      <a:pt x="203" y="419"/>
                    </a:cubicBezTo>
                    <a:cubicBezTo>
                      <a:pt x="203" y="416"/>
                      <a:pt x="204" y="413"/>
                      <a:pt x="204" y="410"/>
                    </a:cubicBezTo>
                    <a:cubicBezTo>
                      <a:pt x="204" y="410"/>
                      <a:pt x="204" y="409"/>
                      <a:pt x="204" y="409"/>
                    </a:cubicBezTo>
                    <a:cubicBezTo>
                      <a:pt x="205" y="409"/>
                      <a:pt x="206" y="410"/>
                      <a:pt x="206" y="411"/>
                    </a:cubicBezTo>
                    <a:cubicBezTo>
                      <a:pt x="207" y="411"/>
                      <a:pt x="209" y="413"/>
                      <a:pt x="211" y="413"/>
                    </a:cubicBezTo>
                    <a:cubicBezTo>
                      <a:pt x="211" y="413"/>
                      <a:pt x="211" y="412"/>
                      <a:pt x="211" y="411"/>
                    </a:cubicBezTo>
                    <a:cubicBezTo>
                      <a:pt x="209" y="405"/>
                      <a:pt x="205" y="401"/>
                      <a:pt x="201" y="396"/>
                    </a:cubicBezTo>
                    <a:cubicBezTo>
                      <a:pt x="198" y="393"/>
                      <a:pt x="187" y="392"/>
                      <a:pt x="183" y="391"/>
                    </a:cubicBezTo>
                    <a:cubicBezTo>
                      <a:pt x="177" y="389"/>
                      <a:pt x="171" y="387"/>
                      <a:pt x="165" y="385"/>
                    </a:cubicBezTo>
                    <a:cubicBezTo>
                      <a:pt x="167" y="384"/>
                      <a:pt x="178" y="383"/>
                      <a:pt x="176" y="379"/>
                    </a:cubicBezTo>
                    <a:cubicBezTo>
                      <a:pt x="173" y="375"/>
                      <a:pt x="160" y="376"/>
                      <a:pt x="156" y="375"/>
                    </a:cubicBezTo>
                    <a:cubicBezTo>
                      <a:pt x="158" y="374"/>
                      <a:pt x="159" y="374"/>
                      <a:pt x="161" y="374"/>
                    </a:cubicBezTo>
                    <a:cubicBezTo>
                      <a:pt x="158" y="373"/>
                      <a:pt x="155" y="373"/>
                      <a:pt x="152" y="372"/>
                    </a:cubicBezTo>
                    <a:cubicBezTo>
                      <a:pt x="156" y="371"/>
                      <a:pt x="161" y="371"/>
                      <a:pt x="164" y="369"/>
                    </a:cubicBezTo>
                    <a:cubicBezTo>
                      <a:pt x="163" y="368"/>
                      <a:pt x="161" y="368"/>
                      <a:pt x="160" y="368"/>
                    </a:cubicBezTo>
                    <a:cubicBezTo>
                      <a:pt x="159" y="368"/>
                      <a:pt x="159" y="368"/>
                      <a:pt x="159" y="368"/>
                    </a:cubicBezTo>
                    <a:cubicBezTo>
                      <a:pt x="158" y="368"/>
                      <a:pt x="158" y="368"/>
                      <a:pt x="158" y="368"/>
                    </a:cubicBezTo>
                    <a:cubicBezTo>
                      <a:pt x="157" y="368"/>
                      <a:pt x="156" y="368"/>
                      <a:pt x="155" y="367"/>
                    </a:cubicBezTo>
                    <a:cubicBezTo>
                      <a:pt x="154" y="367"/>
                      <a:pt x="153" y="366"/>
                      <a:pt x="151" y="366"/>
                    </a:cubicBezTo>
                    <a:cubicBezTo>
                      <a:pt x="149" y="365"/>
                      <a:pt x="153" y="364"/>
                      <a:pt x="152" y="364"/>
                    </a:cubicBezTo>
                    <a:cubicBezTo>
                      <a:pt x="151" y="362"/>
                      <a:pt x="149" y="362"/>
                      <a:pt x="146" y="361"/>
                    </a:cubicBezTo>
                    <a:cubicBezTo>
                      <a:pt x="145" y="361"/>
                      <a:pt x="138" y="358"/>
                      <a:pt x="139" y="355"/>
                    </a:cubicBezTo>
                    <a:cubicBezTo>
                      <a:pt x="142" y="351"/>
                      <a:pt x="142" y="352"/>
                      <a:pt x="139" y="350"/>
                    </a:cubicBezTo>
                    <a:cubicBezTo>
                      <a:pt x="134" y="346"/>
                      <a:pt x="130" y="348"/>
                      <a:pt x="124" y="345"/>
                    </a:cubicBezTo>
                    <a:cubicBezTo>
                      <a:pt x="124" y="345"/>
                      <a:pt x="125" y="345"/>
                      <a:pt x="125" y="345"/>
                    </a:cubicBezTo>
                    <a:cubicBezTo>
                      <a:pt x="127" y="345"/>
                      <a:pt x="128" y="346"/>
                      <a:pt x="130" y="346"/>
                    </a:cubicBezTo>
                    <a:cubicBezTo>
                      <a:pt x="131" y="346"/>
                      <a:pt x="131" y="346"/>
                      <a:pt x="131" y="346"/>
                    </a:cubicBezTo>
                    <a:cubicBezTo>
                      <a:pt x="132" y="346"/>
                      <a:pt x="133" y="346"/>
                      <a:pt x="134" y="346"/>
                    </a:cubicBezTo>
                    <a:cubicBezTo>
                      <a:pt x="135" y="345"/>
                      <a:pt x="137" y="345"/>
                      <a:pt x="138" y="345"/>
                    </a:cubicBezTo>
                    <a:cubicBezTo>
                      <a:pt x="138" y="345"/>
                      <a:pt x="138" y="345"/>
                      <a:pt x="139" y="345"/>
                    </a:cubicBezTo>
                    <a:cubicBezTo>
                      <a:pt x="141" y="345"/>
                      <a:pt x="144" y="346"/>
                      <a:pt x="146" y="347"/>
                    </a:cubicBezTo>
                    <a:cubicBezTo>
                      <a:pt x="149" y="347"/>
                      <a:pt x="153" y="348"/>
                      <a:pt x="155" y="349"/>
                    </a:cubicBezTo>
                    <a:cubicBezTo>
                      <a:pt x="150" y="350"/>
                      <a:pt x="150" y="351"/>
                      <a:pt x="152" y="354"/>
                    </a:cubicBezTo>
                    <a:cubicBezTo>
                      <a:pt x="154" y="356"/>
                      <a:pt x="157" y="358"/>
                      <a:pt x="159" y="359"/>
                    </a:cubicBezTo>
                    <a:cubicBezTo>
                      <a:pt x="162" y="361"/>
                      <a:pt x="167" y="365"/>
                      <a:pt x="171" y="366"/>
                    </a:cubicBezTo>
                    <a:cubicBezTo>
                      <a:pt x="174" y="367"/>
                      <a:pt x="178" y="367"/>
                      <a:pt x="181" y="367"/>
                    </a:cubicBezTo>
                    <a:cubicBezTo>
                      <a:pt x="181" y="367"/>
                      <a:pt x="182" y="367"/>
                      <a:pt x="182" y="367"/>
                    </a:cubicBezTo>
                    <a:cubicBezTo>
                      <a:pt x="185" y="367"/>
                      <a:pt x="184" y="366"/>
                      <a:pt x="188" y="365"/>
                    </a:cubicBezTo>
                    <a:cubicBezTo>
                      <a:pt x="188" y="365"/>
                      <a:pt x="188" y="364"/>
                      <a:pt x="189" y="364"/>
                    </a:cubicBezTo>
                    <a:cubicBezTo>
                      <a:pt x="191" y="364"/>
                      <a:pt x="194" y="367"/>
                      <a:pt x="196" y="368"/>
                    </a:cubicBezTo>
                    <a:cubicBezTo>
                      <a:pt x="200" y="369"/>
                      <a:pt x="198" y="369"/>
                      <a:pt x="198" y="371"/>
                    </a:cubicBezTo>
                    <a:cubicBezTo>
                      <a:pt x="199" y="374"/>
                      <a:pt x="198" y="375"/>
                      <a:pt x="200" y="375"/>
                    </a:cubicBezTo>
                    <a:cubicBezTo>
                      <a:pt x="200" y="375"/>
                      <a:pt x="201" y="375"/>
                      <a:pt x="202" y="375"/>
                    </a:cubicBezTo>
                    <a:cubicBezTo>
                      <a:pt x="204" y="374"/>
                      <a:pt x="208" y="374"/>
                      <a:pt x="211" y="374"/>
                    </a:cubicBezTo>
                    <a:cubicBezTo>
                      <a:pt x="211" y="374"/>
                      <a:pt x="212" y="374"/>
                      <a:pt x="213" y="374"/>
                    </a:cubicBezTo>
                    <a:cubicBezTo>
                      <a:pt x="219" y="375"/>
                      <a:pt x="225" y="377"/>
                      <a:pt x="231" y="378"/>
                    </a:cubicBezTo>
                    <a:cubicBezTo>
                      <a:pt x="253" y="383"/>
                      <a:pt x="276" y="389"/>
                      <a:pt x="299" y="394"/>
                    </a:cubicBezTo>
                    <a:cubicBezTo>
                      <a:pt x="305" y="396"/>
                      <a:pt x="309" y="397"/>
                      <a:pt x="314" y="397"/>
                    </a:cubicBezTo>
                    <a:cubicBezTo>
                      <a:pt x="317" y="397"/>
                      <a:pt x="320" y="396"/>
                      <a:pt x="323" y="396"/>
                    </a:cubicBezTo>
                    <a:cubicBezTo>
                      <a:pt x="327" y="395"/>
                      <a:pt x="330" y="395"/>
                      <a:pt x="334" y="394"/>
                    </a:cubicBezTo>
                    <a:cubicBezTo>
                      <a:pt x="337" y="394"/>
                      <a:pt x="339" y="392"/>
                      <a:pt x="343" y="391"/>
                    </a:cubicBezTo>
                    <a:cubicBezTo>
                      <a:pt x="351" y="389"/>
                      <a:pt x="360" y="387"/>
                      <a:pt x="366" y="381"/>
                    </a:cubicBezTo>
                    <a:cubicBezTo>
                      <a:pt x="373" y="376"/>
                      <a:pt x="379" y="368"/>
                      <a:pt x="385" y="361"/>
                    </a:cubicBezTo>
                    <a:cubicBezTo>
                      <a:pt x="389" y="357"/>
                      <a:pt x="395" y="353"/>
                      <a:pt x="394" y="347"/>
                    </a:cubicBezTo>
                    <a:cubicBezTo>
                      <a:pt x="394" y="343"/>
                      <a:pt x="393" y="343"/>
                      <a:pt x="391" y="342"/>
                    </a:cubicBezTo>
                    <a:cubicBezTo>
                      <a:pt x="388" y="341"/>
                      <a:pt x="387" y="342"/>
                      <a:pt x="387" y="337"/>
                    </a:cubicBezTo>
                    <a:cubicBezTo>
                      <a:pt x="388" y="335"/>
                      <a:pt x="388" y="333"/>
                      <a:pt x="386" y="331"/>
                    </a:cubicBezTo>
                    <a:cubicBezTo>
                      <a:pt x="386" y="330"/>
                      <a:pt x="385" y="330"/>
                      <a:pt x="385" y="330"/>
                    </a:cubicBezTo>
                    <a:cubicBezTo>
                      <a:pt x="385" y="330"/>
                      <a:pt x="384" y="330"/>
                      <a:pt x="384" y="330"/>
                    </a:cubicBezTo>
                    <a:cubicBezTo>
                      <a:pt x="384" y="330"/>
                      <a:pt x="384" y="330"/>
                      <a:pt x="384" y="330"/>
                    </a:cubicBezTo>
                    <a:cubicBezTo>
                      <a:pt x="384" y="330"/>
                      <a:pt x="384" y="329"/>
                      <a:pt x="384" y="326"/>
                    </a:cubicBezTo>
                    <a:cubicBezTo>
                      <a:pt x="383" y="325"/>
                      <a:pt x="384" y="318"/>
                      <a:pt x="383" y="318"/>
                    </a:cubicBezTo>
                    <a:cubicBezTo>
                      <a:pt x="379" y="318"/>
                      <a:pt x="376" y="317"/>
                      <a:pt x="372" y="317"/>
                    </a:cubicBezTo>
                    <a:cubicBezTo>
                      <a:pt x="368" y="316"/>
                      <a:pt x="367" y="315"/>
                      <a:pt x="364" y="312"/>
                    </a:cubicBezTo>
                    <a:cubicBezTo>
                      <a:pt x="360" y="308"/>
                      <a:pt x="356" y="304"/>
                      <a:pt x="352" y="300"/>
                    </a:cubicBezTo>
                    <a:cubicBezTo>
                      <a:pt x="352" y="299"/>
                      <a:pt x="348" y="296"/>
                      <a:pt x="347" y="296"/>
                    </a:cubicBezTo>
                    <a:cubicBezTo>
                      <a:pt x="347" y="296"/>
                      <a:pt x="347" y="296"/>
                      <a:pt x="347" y="297"/>
                    </a:cubicBezTo>
                    <a:cubicBezTo>
                      <a:pt x="347" y="297"/>
                      <a:pt x="349" y="298"/>
                      <a:pt x="349" y="299"/>
                    </a:cubicBezTo>
                    <a:cubicBezTo>
                      <a:pt x="341" y="297"/>
                      <a:pt x="332" y="294"/>
                      <a:pt x="323" y="292"/>
                    </a:cubicBezTo>
                    <a:cubicBezTo>
                      <a:pt x="319" y="290"/>
                      <a:pt x="315" y="289"/>
                      <a:pt x="311" y="288"/>
                    </a:cubicBezTo>
                    <a:cubicBezTo>
                      <a:pt x="308" y="287"/>
                      <a:pt x="307" y="285"/>
                      <a:pt x="305" y="283"/>
                    </a:cubicBezTo>
                    <a:cubicBezTo>
                      <a:pt x="300" y="278"/>
                      <a:pt x="297" y="275"/>
                      <a:pt x="291" y="273"/>
                    </a:cubicBezTo>
                    <a:cubicBezTo>
                      <a:pt x="281" y="268"/>
                      <a:pt x="271" y="264"/>
                      <a:pt x="261" y="259"/>
                    </a:cubicBezTo>
                    <a:cubicBezTo>
                      <a:pt x="251" y="254"/>
                      <a:pt x="241" y="250"/>
                      <a:pt x="230" y="245"/>
                    </a:cubicBezTo>
                    <a:cubicBezTo>
                      <a:pt x="226" y="243"/>
                      <a:pt x="223" y="241"/>
                      <a:pt x="218" y="241"/>
                    </a:cubicBezTo>
                    <a:cubicBezTo>
                      <a:pt x="218" y="241"/>
                      <a:pt x="218" y="241"/>
                      <a:pt x="218" y="241"/>
                    </a:cubicBezTo>
                    <a:cubicBezTo>
                      <a:pt x="217" y="241"/>
                      <a:pt x="217" y="241"/>
                      <a:pt x="217" y="241"/>
                    </a:cubicBezTo>
                    <a:cubicBezTo>
                      <a:pt x="211" y="241"/>
                      <a:pt x="205" y="241"/>
                      <a:pt x="199" y="240"/>
                    </a:cubicBezTo>
                    <a:cubicBezTo>
                      <a:pt x="194" y="239"/>
                      <a:pt x="188" y="238"/>
                      <a:pt x="182" y="238"/>
                    </a:cubicBezTo>
                    <a:cubicBezTo>
                      <a:pt x="181" y="238"/>
                      <a:pt x="181" y="238"/>
                      <a:pt x="180" y="238"/>
                    </a:cubicBezTo>
                    <a:cubicBezTo>
                      <a:pt x="180" y="238"/>
                      <a:pt x="180" y="238"/>
                      <a:pt x="179" y="238"/>
                    </a:cubicBezTo>
                    <a:cubicBezTo>
                      <a:pt x="179" y="238"/>
                      <a:pt x="179" y="238"/>
                      <a:pt x="179" y="238"/>
                    </a:cubicBezTo>
                    <a:cubicBezTo>
                      <a:pt x="178" y="238"/>
                      <a:pt x="178" y="238"/>
                      <a:pt x="178" y="238"/>
                    </a:cubicBezTo>
                    <a:cubicBezTo>
                      <a:pt x="175" y="238"/>
                      <a:pt x="173" y="239"/>
                      <a:pt x="172" y="241"/>
                    </a:cubicBezTo>
                    <a:cubicBezTo>
                      <a:pt x="171" y="245"/>
                      <a:pt x="173" y="245"/>
                      <a:pt x="169" y="248"/>
                    </a:cubicBezTo>
                    <a:cubicBezTo>
                      <a:pt x="168" y="249"/>
                      <a:pt x="168" y="249"/>
                      <a:pt x="167" y="250"/>
                    </a:cubicBezTo>
                    <a:cubicBezTo>
                      <a:pt x="166" y="250"/>
                      <a:pt x="163" y="251"/>
                      <a:pt x="162" y="251"/>
                    </a:cubicBezTo>
                    <a:cubicBezTo>
                      <a:pt x="158" y="252"/>
                      <a:pt x="159" y="253"/>
                      <a:pt x="156" y="257"/>
                    </a:cubicBezTo>
                    <a:cubicBezTo>
                      <a:pt x="156" y="253"/>
                      <a:pt x="157" y="251"/>
                      <a:pt x="161" y="250"/>
                    </a:cubicBezTo>
                    <a:cubicBezTo>
                      <a:pt x="165" y="249"/>
                      <a:pt x="167" y="247"/>
                      <a:pt x="170" y="246"/>
                    </a:cubicBezTo>
                    <a:cubicBezTo>
                      <a:pt x="169" y="245"/>
                      <a:pt x="163" y="243"/>
                      <a:pt x="164" y="241"/>
                    </a:cubicBezTo>
                    <a:cubicBezTo>
                      <a:pt x="164" y="240"/>
                      <a:pt x="166" y="240"/>
                      <a:pt x="167" y="239"/>
                    </a:cubicBezTo>
                    <a:cubicBezTo>
                      <a:pt x="168" y="238"/>
                      <a:pt x="167" y="235"/>
                      <a:pt x="167" y="233"/>
                    </a:cubicBezTo>
                    <a:cubicBezTo>
                      <a:pt x="162" y="235"/>
                      <a:pt x="156" y="238"/>
                      <a:pt x="151" y="239"/>
                    </a:cubicBezTo>
                    <a:cubicBezTo>
                      <a:pt x="153" y="237"/>
                      <a:pt x="149" y="236"/>
                      <a:pt x="147" y="236"/>
                    </a:cubicBezTo>
                    <a:cubicBezTo>
                      <a:pt x="142" y="235"/>
                      <a:pt x="138" y="235"/>
                      <a:pt x="134" y="233"/>
                    </a:cubicBezTo>
                    <a:cubicBezTo>
                      <a:pt x="135" y="231"/>
                      <a:pt x="129" y="229"/>
                      <a:pt x="128" y="227"/>
                    </a:cubicBezTo>
                    <a:cubicBezTo>
                      <a:pt x="127" y="225"/>
                      <a:pt x="130" y="219"/>
                      <a:pt x="132" y="217"/>
                    </a:cubicBezTo>
                    <a:cubicBezTo>
                      <a:pt x="133" y="218"/>
                      <a:pt x="132" y="220"/>
                      <a:pt x="133" y="221"/>
                    </a:cubicBezTo>
                    <a:cubicBezTo>
                      <a:pt x="135" y="223"/>
                      <a:pt x="143" y="223"/>
                      <a:pt x="146" y="224"/>
                    </a:cubicBezTo>
                    <a:cubicBezTo>
                      <a:pt x="147" y="224"/>
                      <a:pt x="150" y="225"/>
                      <a:pt x="153" y="225"/>
                    </a:cubicBezTo>
                    <a:cubicBezTo>
                      <a:pt x="153" y="225"/>
                      <a:pt x="154" y="225"/>
                      <a:pt x="154" y="225"/>
                    </a:cubicBezTo>
                    <a:cubicBezTo>
                      <a:pt x="156" y="224"/>
                      <a:pt x="160" y="219"/>
                      <a:pt x="159" y="218"/>
                    </a:cubicBezTo>
                    <a:cubicBezTo>
                      <a:pt x="159" y="217"/>
                      <a:pt x="152" y="216"/>
                      <a:pt x="151" y="215"/>
                    </a:cubicBezTo>
                    <a:cubicBezTo>
                      <a:pt x="150" y="215"/>
                      <a:pt x="150" y="215"/>
                      <a:pt x="150" y="215"/>
                    </a:cubicBezTo>
                    <a:cubicBezTo>
                      <a:pt x="149" y="215"/>
                      <a:pt x="149" y="215"/>
                      <a:pt x="148" y="216"/>
                    </a:cubicBezTo>
                    <a:cubicBezTo>
                      <a:pt x="147" y="216"/>
                      <a:pt x="147" y="216"/>
                      <a:pt x="146" y="216"/>
                    </a:cubicBezTo>
                    <a:cubicBezTo>
                      <a:pt x="145" y="216"/>
                      <a:pt x="144" y="215"/>
                      <a:pt x="143" y="215"/>
                    </a:cubicBezTo>
                    <a:cubicBezTo>
                      <a:pt x="142" y="214"/>
                      <a:pt x="142" y="213"/>
                      <a:pt x="141" y="212"/>
                    </a:cubicBezTo>
                    <a:cubicBezTo>
                      <a:pt x="139" y="211"/>
                      <a:pt x="138" y="211"/>
                      <a:pt x="137" y="211"/>
                    </a:cubicBezTo>
                    <a:cubicBezTo>
                      <a:pt x="137" y="211"/>
                      <a:pt x="136" y="211"/>
                      <a:pt x="136" y="211"/>
                    </a:cubicBezTo>
                    <a:cubicBezTo>
                      <a:pt x="136" y="211"/>
                      <a:pt x="136" y="211"/>
                      <a:pt x="136" y="211"/>
                    </a:cubicBezTo>
                    <a:cubicBezTo>
                      <a:pt x="134" y="211"/>
                      <a:pt x="133" y="210"/>
                      <a:pt x="132" y="208"/>
                    </a:cubicBezTo>
                    <a:cubicBezTo>
                      <a:pt x="131" y="207"/>
                      <a:pt x="129" y="206"/>
                      <a:pt x="128" y="206"/>
                    </a:cubicBezTo>
                    <a:moveTo>
                      <a:pt x="1682" y="0"/>
                    </a:moveTo>
                    <a:cubicBezTo>
                      <a:pt x="1506" y="16"/>
                      <a:pt x="1506" y="16"/>
                      <a:pt x="1506" y="16"/>
                    </a:cubicBezTo>
                    <a:cubicBezTo>
                      <a:pt x="1506" y="16"/>
                      <a:pt x="1506" y="16"/>
                      <a:pt x="1506" y="16"/>
                    </a:cubicBezTo>
                    <a:cubicBezTo>
                      <a:pt x="1507" y="17"/>
                      <a:pt x="1507" y="17"/>
                      <a:pt x="1507" y="17"/>
                    </a:cubicBezTo>
                    <a:cubicBezTo>
                      <a:pt x="1507" y="18"/>
                      <a:pt x="1507" y="18"/>
                      <a:pt x="1506" y="19"/>
                    </a:cubicBezTo>
                    <a:cubicBezTo>
                      <a:pt x="1506" y="19"/>
                      <a:pt x="1506" y="19"/>
                      <a:pt x="1506" y="19"/>
                    </a:cubicBezTo>
                    <a:cubicBezTo>
                      <a:pt x="1506" y="20"/>
                      <a:pt x="1506" y="20"/>
                      <a:pt x="1506" y="20"/>
                    </a:cubicBezTo>
                    <a:cubicBezTo>
                      <a:pt x="1506" y="20"/>
                      <a:pt x="1506" y="20"/>
                      <a:pt x="1506" y="20"/>
                    </a:cubicBezTo>
                    <a:cubicBezTo>
                      <a:pt x="1507" y="20"/>
                      <a:pt x="1507" y="20"/>
                      <a:pt x="1507" y="20"/>
                    </a:cubicBezTo>
                    <a:cubicBezTo>
                      <a:pt x="1508" y="20"/>
                      <a:pt x="1508" y="20"/>
                      <a:pt x="1508" y="20"/>
                    </a:cubicBezTo>
                    <a:cubicBezTo>
                      <a:pt x="1508" y="20"/>
                      <a:pt x="1508" y="20"/>
                      <a:pt x="1508" y="20"/>
                    </a:cubicBezTo>
                    <a:cubicBezTo>
                      <a:pt x="1509" y="19"/>
                      <a:pt x="1509" y="19"/>
                      <a:pt x="1509" y="19"/>
                    </a:cubicBezTo>
                    <a:cubicBezTo>
                      <a:pt x="1510" y="19"/>
                      <a:pt x="1510" y="19"/>
                      <a:pt x="1510" y="19"/>
                    </a:cubicBezTo>
                    <a:cubicBezTo>
                      <a:pt x="1510" y="19"/>
                      <a:pt x="1510" y="19"/>
                      <a:pt x="1510" y="19"/>
                    </a:cubicBezTo>
                    <a:cubicBezTo>
                      <a:pt x="1511" y="20"/>
                      <a:pt x="1511" y="20"/>
                      <a:pt x="1511" y="20"/>
                    </a:cubicBezTo>
                    <a:cubicBezTo>
                      <a:pt x="1511" y="20"/>
                      <a:pt x="1511" y="20"/>
                      <a:pt x="1511" y="20"/>
                    </a:cubicBezTo>
                    <a:cubicBezTo>
                      <a:pt x="1510" y="20"/>
                      <a:pt x="1510" y="20"/>
                      <a:pt x="1510" y="20"/>
                    </a:cubicBezTo>
                    <a:cubicBezTo>
                      <a:pt x="1510" y="21"/>
                      <a:pt x="1510" y="21"/>
                      <a:pt x="1510" y="21"/>
                    </a:cubicBezTo>
                    <a:cubicBezTo>
                      <a:pt x="1509" y="23"/>
                      <a:pt x="1508" y="23"/>
                      <a:pt x="1506" y="24"/>
                    </a:cubicBezTo>
                    <a:cubicBezTo>
                      <a:pt x="1505" y="25"/>
                      <a:pt x="1505" y="25"/>
                      <a:pt x="1505" y="25"/>
                    </a:cubicBezTo>
                    <a:cubicBezTo>
                      <a:pt x="1503" y="26"/>
                      <a:pt x="1503" y="26"/>
                      <a:pt x="1503" y="26"/>
                    </a:cubicBezTo>
                    <a:cubicBezTo>
                      <a:pt x="1501" y="27"/>
                      <a:pt x="1502" y="27"/>
                      <a:pt x="1500" y="28"/>
                    </a:cubicBezTo>
                    <a:cubicBezTo>
                      <a:pt x="1500" y="28"/>
                      <a:pt x="1500" y="28"/>
                      <a:pt x="1500" y="28"/>
                    </a:cubicBezTo>
                    <a:cubicBezTo>
                      <a:pt x="1500" y="29"/>
                      <a:pt x="1500" y="29"/>
                      <a:pt x="1500" y="29"/>
                    </a:cubicBezTo>
                    <a:cubicBezTo>
                      <a:pt x="1499" y="29"/>
                      <a:pt x="1499" y="29"/>
                      <a:pt x="1499" y="29"/>
                    </a:cubicBezTo>
                    <a:cubicBezTo>
                      <a:pt x="1499" y="29"/>
                      <a:pt x="1499" y="29"/>
                      <a:pt x="1499" y="29"/>
                    </a:cubicBezTo>
                    <a:cubicBezTo>
                      <a:pt x="1499" y="30"/>
                      <a:pt x="1499" y="30"/>
                      <a:pt x="1499" y="30"/>
                    </a:cubicBezTo>
                    <a:cubicBezTo>
                      <a:pt x="1499" y="30"/>
                      <a:pt x="1499" y="30"/>
                      <a:pt x="1499" y="30"/>
                    </a:cubicBezTo>
                    <a:cubicBezTo>
                      <a:pt x="1499" y="30"/>
                      <a:pt x="1499" y="30"/>
                      <a:pt x="1499" y="30"/>
                    </a:cubicBezTo>
                    <a:cubicBezTo>
                      <a:pt x="1500" y="30"/>
                      <a:pt x="1500" y="30"/>
                      <a:pt x="1500" y="30"/>
                    </a:cubicBezTo>
                    <a:cubicBezTo>
                      <a:pt x="1500" y="31"/>
                      <a:pt x="1500" y="31"/>
                      <a:pt x="1500" y="31"/>
                    </a:cubicBezTo>
                    <a:cubicBezTo>
                      <a:pt x="1501" y="31"/>
                      <a:pt x="1501" y="31"/>
                      <a:pt x="1501" y="31"/>
                    </a:cubicBezTo>
                    <a:cubicBezTo>
                      <a:pt x="1501" y="31"/>
                      <a:pt x="1501" y="31"/>
                      <a:pt x="1501" y="31"/>
                    </a:cubicBezTo>
                    <a:cubicBezTo>
                      <a:pt x="1502" y="31"/>
                      <a:pt x="1502" y="31"/>
                      <a:pt x="1502" y="31"/>
                    </a:cubicBezTo>
                    <a:cubicBezTo>
                      <a:pt x="1502" y="31"/>
                      <a:pt x="1502" y="31"/>
                      <a:pt x="1502" y="31"/>
                    </a:cubicBezTo>
                    <a:cubicBezTo>
                      <a:pt x="1503" y="31"/>
                      <a:pt x="1503" y="31"/>
                      <a:pt x="1503" y="31"/>
                    </a:cubicBezTo>
                    <a:cubicBezTo>
                      <a:pt x="1503" y="31"/>
                      <a:pt x="1504" y="31"/>
                      <a:pt x="1504" y="31"/>
                    </a:cubicBezTo>
                    <a:cubicBezTo>
                      <a:pt x="1504" y="31"/>
                      <a:pt x="1505" y="31"/>
                      <a:pt x="1505" y="32"/>
                    </a:cubicBezTo>
                    <a:cubicBezTo>
                      <a:pt x="1506" y="32"/>
                      <a:pt x="1506" y="32"/>
                      <a:pt x="1506" y="32"/>
                    </a:cubicBezTo>
                    <a:cubicBezTo>
                      <a:pt x="1506" y="32"/>
                      <a:pt x="1506" y="32"/>
                      <a:pt x="1506" y="32"/>
                    </a:cubicBezTo>
                    <a:cubicBezTo>
                      <a:pt x="1507" y="32"/>
                      <a:pt x="1507" y="32"/>
                      <a:pt x="1507" y="32"/>
                    </a:cubicBezTo>
                    <a:cubicBezTo>
                      <a:pt x="1506" y="33"/>
                      <a:pt x="1506" y="33"/>
                      <a:pt x="1506" y="33"/>
                    </a:cubicBezTo>
                    <a:cubicBezTo>
                      <a:pt x="1505" y="34"/>
                      <a:pt x="1505" y="34"/>
                      <a:pt x="1505" y="34"/>
                    </a:cubicBezTo>
                    <a:cubicBezTo>
                      <a:pt x="1501" y="36"/>
                      <a:pt x="1501" y="36"/>
                      <a:pt x="1501" y="36"/>
                    </a:cubicBezTo>
                    <a:cubicBezTo>
                      <a:pt x="1500" y="37"/>
                      <a:pt x="1500" y="37"/>
                      <a:pt x="1500" y="37"/>
                    </a:cubicBezTo>
                    <a:cubicBezTo>
                      <a:pt x="1499" y="37"/>
                      <a:pt x="1499" y="37"/>
                      <a:pt x="1499" y="37"/>
                    </a:cubicBezTo>
                    <a:cubicBezTo>
                      <a:pt x="1499" y="37"/>
                      <a:pt x="1499" y="37"/>
                      <a:pt x="1499" y="37"/>
                    </a:cubicBezTo>
                    <a:cubicBezTo>
                      <a:pt x="1500" y="37"/>
                      <a:pt x="1500" y="37"/>
                      <a:pt x="1500" y="37"/>
                    </a:cubicBezTo>
                    <a:cubicBezTo>
                      <a:pt x="1500" y="37"/>
                      <a:pt x="1500" y="37"/>
                      <a:pt x="1500" y="37"/>
                    </a:cubicBezTo>
                    <a:cubicBezTo>
                      <a:pt x="1501" y="38"/>
                      <a:pt x="1501" y="38"/>
                      <a:pt x="1501" y="38"/>
                    </a:cubicBezTo>
                    <a:cubicBezTo>
                      <a:pt x="1501" y="38"/>
                      <a:pt x="1501" y="38"/>
                      <a:pt x="1501" y="38"/>
                    </a:cubicBezTo>
                    <a:cubicBezTo>
                      <a:pt x="1502" y="38"/>
                      <a:pt x="1502" y="38"/>
                      <a:pt x="1502" y="38"/>
                    </a:cubicBezTo>
                    <a:cubicBezTo>
                      <a:pt x="1502" y="38"/>
                      <a:pt x="1502" y="38"/>
                      <a:pt x="1502" y="38"/>
                    </a:cubicBezTo>
                    <a:cubicBezTo>
                      <a:pt x="1503" y="38"/>
                      <a:pt x="1503" y="38"/>
                      <a:pt x="1503" y="38"/>
                    </a:cubicBezTo>
                    <a:cubicBezTo>
                      <a:pt x="1504" y="38"/>
                      <a:pt x="1504" y="38"/>
                      <a:pt x="1504" y="38"/>
                    </a:cubicBezTo>
                    <a:cubicBezTo>
                      <a:pt x="1504" y="38"/>
                      <a:pt x="1504" y="38"/>
                      <a:pt x="1504" y="38"/>
                    </a:cubicBezTo>
                    <a:cubicBezTo>
                      <a:pt x="1505" y="39"/>
                      <a:pt x="1505" y="39"/>
                      <a:pt x="1505" y="39"/>
                    </a:cubicBezTo>
                    <a:cubicBezTo>
                      <a:pt x="1505" y="39"/>
                      <a:pt x="1505" y="39"/>
                      <a:pt x="1505" y="39"/>
                    </a:cubicBezTo>
                    <a:cubicBezTo>
                      <a:pt x="1506" y="39"/>
                      <a:pt x="1506" y="39"/>
                      <a:pt x="1506" y="39"/>
                    </a:cubicBezTo>
                    <a:cubicBezTo>
                      <a:pt x="1507" y="39"/>
                      <a:pt x="1507" y="39"/>
                      <a:pt x="1507" y="39"/>
                    </a:cubicBezTo>
                    <a:cubicBezTo>
                      <a:pt x="1507" y="39"/>
                      <a:pt x="1507" y="39"/>
                      <a:pt x="1507" y="39"/>
                    </a:cubicBezTo>
                    <a:cubicBezTo>
                      <a:pt x="1507" y="40"/>
                      <a:pt x="1507" y="40"/>
                      <a:pt x="1507" y="40"/>
                    </a:cubicBezTo>
                    <a:cubicBezTo>
                      <a:pt x="1507" y="40"/>
                      <a:pt x="1507" y="40"/>
                      <a:pt x="1507" y="40"/>
                    </a:cubicBezTo>
                    <a:cubicBezTo>
                      <a:pt x="1505" y="41"/>
                      <a:pt x="1505" y="41"/>
                      <a:pt x="1505" y="41"/>
                    </a:cubicBezTo>
                    <a:cubicBezTo>
                      <a:pt x="1505" y="42"/>
                      <a:pt x="1505" y="42"/>
                      <a:pt x="1505" y="42"/>
                    </a:cubicBezTo>
                    <a:cubicBezTo>
                      <a:pt x="1505" y="42"/>
                      <a:pt x="1505" y="42"/>
                      <a:pt x="1505" y="42"/>
                    </a:cubicBezTo>
                    <a:cubicBezTo>
                      <a:pt x="1505" y="42"/>
                      <a:pt x="1505" y="42"/>
                      <a:pt x="1505" y="42"/>
                    </a:cubicBezTo>
                    <a:cubicBezTo>
                      <a:pt x="1506" y="43"/>
                      <a:pt x="1506" y="43"/>
                      <a:pt x="1506" y="43"/>
                    </a:cubicBezTo>
                    <a:cubicBezTo>
                      <a:pt x="1506" y="43"/>
                      <a:pt x="1506" y="43"/>
                      <a:pt x="1506" y="43"/>
                    </a:cubicBezTo>
                    <a:cubicBezTo>
                      <a:pt x="1507" y="43"/>
                      <a:pt x="1507" y="43"/>
                      <a:pt x="1507" y="43"/>
                    </a:cubicBezTo>
                    <a:cubicBezTo>
                      <a:pt x="1508" y="44"/>
                      <a:pt x="1511" y="43"/>
                      <a:pt x="1512" y="44"/>
                    </a:cubicBezTo>
                    <a:cubicBezTo>
                      <a:pt x="1512" y="44"/>
                      <a:pt x="1512" y="44"/>
                      <a:pt x="1512" y="44"/>
                    </a:cubicBezTo>
                    <a:cubicBezTo>
                      <a:pt x="1512" y="45"/>
                      <a:pt x="1512" y="45"/>
                      <a:pt x="1512" y="45"/>
                    </a:cubicBezTo>
                    <a:cubicBezTo>
                      <a:pt x="1514" y="46"/>
                      <a:pt x="1513" y="46"/>
                      <a:pt x="1514" y="47"/>
                    </a:cubicBezTo>
                    <a:cubicBezTo>
                      <a:pt x="1514" y="48"/>
                      <a:pt x="1514" y="48"/>
                      <a:pt x="1514" y="48"/>
                    </a:cubicBezTo>
                    <a:cubicBezTo>
                      <a:pt x="1515" y="48"/>
                      <a:pt x="1515" y="48"/>
                      <a:pt x="1515" y="48"/>
                    </a:cubicBezTo>
                    <a:cubicBezTo>
                      <a:pt x="1515" y="49"/>
                      <a:pt x="1515" y="49"/>
                      <a:pt x="1515" y="49"/>
                    </a:cubicBezTo>
                    <a:cubicBezTo>
                      <a:pt x="1516" y="53"/>
                      <a:pt x="1515" y="54"/>
                      <a:pt x="1513" y="58"/>
                    </a:cubicBezTo>
                    <a:cubicBezTo>
                      <a:pt x="1513" y="58"/>
                      <a:pt x="1513" y="58"/>
                      <a:pt x="1513" y="58"/>
                    </a:cubicBezTo>
                    <a:cubicBezTo>
                      <a:pt x="1513" y="59"/>
                      <a:pt x="1513" y="59"/>
                      <a:pt x="1513" y="59"/>
                    </a:cubicBezTo>
                    <a:cubicBezTo>
                      <a:pt x="1513" y="59"/>
                      <a:pt x="1513" y="59"/>
                      <a:pt x="1513" y="59"/>
                    </a:cubicBezTo>
                    <a:cubicBezTo>
                      <a:pt x="1513" y="59"/>
                      <a:pt x="1513" y="59"/>
                      <a:pt x="1513" y="59"/>
                    </a:cubicBezTo>
                    <a:cubicBezTo>
                      <a:pt x="1512" y="60"/>
                      <a:pt x="1512" y="60"/>
                      <a:pt x="1512" y="60"/>
                    </a:cubicBezTo>
                    <a:cubicBezTo>
                      <a:pt x="1511" y="61"/>
                      <a:pt x="1509" y="61"/>
                      <a:pt x="1510" y="63"/>
                    </a:cubicBezTo>
                    <a:cubicBezTo>
                      <a:pt x="1510" y="63"/>
                      <a:pt x="1510" y="63"/>
                      <a:pt x="1510" y="63"/>
                    </a:cubicBezTo>
                    <a:cubicBezTo>
                      <a:pt x="1510" y="63"/>
                      <a:pt x="1510" y="63"/>
                      <a:pt x="1510" y="63"/>
                    </a:cubicBezTo>
                    <a:cubicBezTo>
                      <a:pt x="1511" y="65"/>
                      <a:pt x="1510" y="66"/>
                      <a:pt x="1513" y="67"/>
                    </a:cubicBezTo>
                    <a:cubicBezTo>
                      <a:pt x="1513" y="67"/>
                      <a:pt x="1513" y="67"/>
                      <a:pt x="1513" y="67"/>
                    </a:cubicBezTo>
                    <a:cubicBezTo>
                      <a:pt x="1514" y="67"/>
                      <a:pt x="1514" y="67"/>
                      <a:pt x="1514" y="67"/>
                    </a:cubicBezTo>
                    <a:cubicBezTo>
                      <a:pt x="1514" y="67"/>
                      <a:pt x="1514" y="67"/>
                      <a:pt x="1514" y="67"/>
                    </a:cubicBezTo>
                    <a:cubicBezTo>
                      <a:pt x="1515" y="67"/>
                      <a:pt x="1515" y="67"/>
                      <a:pt x="1515" y="67"/>
                    </a:cubicBezTo>
                    <a:cubicBezTo>
                      <a:pt x="1515" y="67"/>
                      <a:pt x="1515" y="67"/>
                      <a:pt x="1515" y="67"/>
                    </a:cubicBezTo>
                    <a:cubicBezTo>
                      <a:pt x="1515" y="68"/>
                      <a:pt x="1515" y="68"/>
                      <a:pt x="1515" y="68"/>
                    </a:cubicBezTo>
                    <a:cubicBezTo>
                      <a:pt x="1515" y="68"/>
                      <a:pt x="1515" y="68"/>
                      <a:pt x="1515" y="68"/>
                    </a:cubicBezTo>
                    <a:cubicBezTo>
                      <a:pt x="1515" y="68"/>
                      <a:pt x="1515" y="68"/>
                      <a:pt x="1515" y="68"/>
                    </a:cubicBezTo>
                    <a:cubicBezTo>
                      <a:pt x="1515" y="69"/>
                      <a:pt x="1515" y="69"/>
                      <a:pt x="1515" y="69"/>
                    </a:cubicBezTo>
                    <a:cubicBezTo>
                      <a:pt x="1514" y="69"/>
                      <a:pt x="1514" y="69"/>
                      <a:pt x="1514" y="69"/>
                    </a:cubicBezTo>
                    <a:cubicBezTo>
                      <a:pt x="1514" y="69"/>
                      <a:pt x="1514" y="69"/>
                      <a:pt x="1514" y="69"/>
                    </a:cubicBezTo>
                    <a:cubicBezTo>
                      <a:pt x="1514" y="70"/>
                      <a:pt x="1514" y="70"/>
                      <a:pt x="1514" y="70"/>
                    </a:cubicBezTo>
                    <a:cubicBezTo>
                      <a:pt x="1513" y="70"/>
                      <a:pt x="1513" y="70"/>
                      <a:pt x="1513" y="70"/>
                    </a:cubicBezTo>
                    <a:cubicBezTo>
                      <a:pt x="1513" y="71"/>
                      <a:pt x="1513" y="71"/>
                      <a:pt x="1513" y="71"/>
                    </a:cubicBezTo>
                    <a:cubicBezTo>
                      <a:pt x="1512" y="71"/>
                      <a:pt x="1512" y="71"/>
                      <a:pt x="1512" y="71"/>
                    </a:cubicBezTo>
                    <a:cubicBezTo>
                      <a:pt x="1512" y="72"/>
                      <a:pt x="1512" y="72"/>
                      <a:pt x="1512" y="72"/>
                    </a:cubicBezTo>
                    <a:cubicBezTo>
                      <a:pt x="1512" y="73"/>
                      <a:pt x="1514" y="74"/>
                      <a:pt x="1515" y="74"/>
                    </a:cubicBezTo>
                    <a:cubicBezTo>
                      <a:pt x="1516" y="75"/>
                      <a:pt x="1516" y="75"/>
                      <a:pt x="1516" y="75"/>
                    </a:cubicBezTo>
                    <a:cubicBezTo>
                      <a:pt x="1516" y="76"/>
                      <a:pt x="1516" y="76"/>
                      <a:pt x="1516" y="76"/>
                    </a:cubicBezTo>
                    <a:cubicBezTo>
                      <a:pt x="1520" y="79"/>
                      <a:pt x="1520" y="79"/>
                      <a:pt x="1520" y="79"/>
                    </a:cubicBezTo>
                    <a:cubicBezTo>
                      <a:pt x="1554" y="86"/>
                      <a:pt x="1554" y="86"/>
                      <a:pt x="1554" y="86"/>
                    </a:cubicBezTo>
                    <a:cubicBezTo>
                      <a:pt x="1555" y="94"/>
                      <a:pt x="1555" y="94"/>
                      <a:pt x="1555" y="94"/>
                    </a:cubicBezTo>
                    <a:cubicBezTo>
                      <a:pt x="1554" y="94"/>
                      <a:pt x="1554" y="94"/>
                      <a:pt x="1554" y="94"/>
                    </a:cubicBezTo>
                    <a:cubicBezTo>
                      <a:pt x="1556" y="97"/>
                      <a:pt x="1556" y="97"/>
                      <a:pt x="1556" y="97"/>
                    </a:cubicBezTo>
                    <a:cubicBezTo>
                      <a:pt x="1556" y="98"/>
                      <a:pt x="1556" y="98"/>
                      <a:pt x="1556" y="98"/>
                    </a:cubicBezTo>
                    <a:cubicBezTo>
                      <a:pt x="1568" y="107"/>
                      <a:pt x="1568" y="107"/>
                      <a:pt x="1568" y="107"/>
                    </a:cubicBezTo>
                    <a:cubicBezTo>
                      <a:pt x="1568" y="113"/>
                      <a:pt x="1568" y="113"/>
                      <a:pt x="1568" y="113"/>
                    </a:cubicBezTo>
                    <a:cubicBezTo>
                      <a:pt x="1559" y="115"/>
                      <a:pt x="1559" y="115"/>
                      <a:pt x="1559" y="115"/>
                    </a:cubicBezTo>
                    <a:cubicBezTo>
                      <a:pt x="1558" y="115"/>
                      <a:pt x="1558" y="115"/>
                      <a:pt x="1558" y="115"/>
                    </a:cubicBezTo>
                    <a:cubicBezTo>
                      <a:pt x="1555" y="116"/>
                      <a:pt x="1553" y="117"/>
                      <a:pt x="1550" y="117"/>
                    </a:cubicBezTo>
                    <a:cubicBezTo>
                      <a:pt x="1550" y="117"/>
                      <a:pt x="1549" y="117"/>
                      <a:pt x="1549" y="117"/>
                    </a:cubicBezTo>
                    <a:cubicBezTo>
                      <a:pt x="1549" y="117"/>
                      <a:pt x="1549" y="117"/>
                      <a:pt x="1549" y="117"/>
                    </a:cubicBezTo>
                    <a:cubicBezTo>
                      <a:pt x="1548" y="117"/>
                      <a:pt x="1548" y="117"/>
                      <a:pt x="1548" y="117"/>
                    </a:cubicBezTo>
                    <a:cubicBezTo>
                      <a:pt x="1548" y="116"/>
                      <a:pt x="1548" y="116"/>
                      <a:pt x="1548" y="116"/>
                    </a:cubicBezTo>
                    <a:cubicBezTo>
                      <a:pt x="1547" y="116"/>
                      <a:pt x="1546" y="116"/>
                      <a:pt x="1545" y="116"/>
                    </a:cubicBezTo>
                    <a:cubicBezTo>
                      <a:pt x="1545" y="116"/>
                      <a:pt x="1544" y="116"/>
                      <a:pt x="1544" y="116"/>
                    </a:cubicBezTo>
                    <a:cubicBezTo>
                      <a:pt x="1544" y="116"/>
                      <a:pt x="1544" y="116"/>
                      <a:pt x="1544" y="116"/>
                    </a:cubicBezTo>
                    <a:cubicBezTo>
                      <a:pt x="1543" y="116"/>
                      <a:pt x="1543" y="116"/>
                      <a:pt x="1543" y="116"/>
                    </a:cubicBezTo>
                    <a:cubicBezTo>
                      <a:pt x="1543" y="117"/>
                      <a:pt x="1543" y="117"/>
                      <a:pt x="1543" y="117"/>
                    </a:cubicBezTo>
                    <a:cubicBezTo>
                      <a:pt x="1542" y="117"/>
                      <a:pt x="1542" y="117"/>
                      <a:pt x="1542" y="117"/>
                    </a:cubicBezTo>
                    <a:cubicBezTo>
                      <a:pt x="1541" y="117"/>
                      <a:pt x="1541" y="117"/>
                      <a:pt x="1541" y="117"/>
                    </a:cubicBezTo>
                    <a:cubicBezTo>
                      <a:pt x="1541" y="117"/>
                      <a:pt x="1541" y="117"/>
                      <a:pt x="1541" y="117"/>
                    </a:cubicBezTo>
                    <a:cubicBezTo>
                      <a:pt x="1538" y="115"/>
                      <a:pt x="1538" y="115"/>
                      <a:pt x="1538" y="115"/>
                    </a:cubicBezTo>
                    <a:cubicBezTo>
                      <a:pt x="1533" y="111"/>
                      <a:pt x="1533" y="111"/>
                      <a:pt x="1533" y="111"/>
                    </a:cubicBezTo>
                    <a:cubicBezTo>
                      <a:pt x="1521" y="102"/>
                      <a:pt x="1521" y="102"/>
                      <a:pt x="1521" y="102"/>
                    </a:cubicBezTo>
                    <a:cubicBezTo>
                      <a:pt x="1517" y="99"/>
                      <a:pt x="1517" y="99"/>
                      <a:pt x="1517" y="99"/>
                    </a:cubicBezTo>
                    <a:cubicBezTo>
                      <a:pt x="1516" y="97"/>
                      <a:pt x="1516" y="97"/>
                      <a:pt x="1516" y="97"/>
                    </a:cubicBezTo>
                    <a:cubicBezTo>
                      <a:pt x="1516" y="97"/>
                      <a:pt x="1516" y="97"/>
                      <a:pt x="1516" y="97"/>
                    </a:cubicBezTo>
                    <a:cubicBezTo>
                      <a:pt x="1514" y="96"/>
                      <a:pt x="1514" y="96"/>
                      <a:pt x="1514" y="96"/>
                    </a:cubicBezTo>
                    <a:cubicBezTo>
                      <a:pt x="1512" y="95"/>
                      <a:pt x="1512" y="95"/>
                      <a:pt x="1512" y="95"/>
                    </a:cubicBezTo>
                    <a:cubicBezTo>
                      <a:pt x="1492" y="89"/>
                      <a:pt x="1492" y="89"/>
                      <a:pt x="1492" y="89"/>
                    </a:cubicBezTo>
                    <a:cubicBezTo>
                      <a:pt x="1449" y="81"/>
                      <a:pt x="1449" y="81"/>
                      <a:pt x="1449" y="81"/>
                    </a:cubicBezTo>
                    <a:cubicBezTo>
                      <a:pt x="1449" y="81"/>
                      <a:pt x="1449" y="81"/>
                      <a:pt x="1449" y="81"/>
                    </a:cubicBezTo>
                    <a:cubicBezTo>
                      <a:pt x="1419" y="90"/>
                      <a:pt x="1419" y="90"/>
                      <a:pt x="1419" y="90"/>
                    </a:cubicBezTo>
                    <a:cubicBezTo>
                      <a:pt x="1419" y="91"/>
                      <a:pt x="1419" y="91"/>
                      <a:pt x="1419" y="91"/>
                    </a:cubicBezTo>
                    <a:cubicBezTo>
                      <a:pt x="1418" y="94"/>
                      <a:pt x="1418" y="94"/>
                      <a:pt x="1418" y="94"/>
                    </a:cubicBezTo>
                    <a:cubicBezTo>
                      <a:pt x="1417" y="95"/>
                      <a:pt x="1417" y="95"/>
                      <a:pt x="1417" y="95"/>
                    </a:cubicBezTo>
                    <a:cubicBezTo>
                      <a:pt x="1417" y="95"/>
                      <a:pt x="1417" y="95"/>
                      <a:pt x="1417" y="95"/>
                    </a:cubicBezTo>
                    <a:cubicBezTo>
                      <a:pt x="1417" y="96"/>
                      <a:pt x="1417" y="96"/>
                      <a:pt x="1417" y="96"/>
                    </a:cubicBezTo>
                    <a:cubicBezTo>
                      <a:pt x="1417" y="96"/>
                      <a:pt x="1417" y="96"/>
                      <a:pt x="1417" y="96"/>
                    </a:cubicBezTo>
                    <a:cubicBezTo>
                      <a:pt x="1418" y="96"/>
                      <a:pt x="1418" y="96"/>
                      <a:pt x="1418" y="96"/>
                    </a:cubicBezTo>
                    <a:cubicBezTo>
                      <a:pt x="1418" y="97"/>
                      <a:pt x="1418" y="97"/>
                      <a:pt x="1418" y="97"/>
                    </a:cubicBezTo>
                    <a:cubicBezTo>
                      <a:pt x="1419" y="97"/>
                      <a:pt x="1419" y="97"/>
                      <a:pt x="1419" y="97"/>
                    </a:cubicBezTo>
                    <a:cubicBezTo>
                      <a:pt x="1419" y="97"/>
                      <a:pt x="1419" y="97"/>
                      <a:pt x="1419" y="97"/>
                    </a:cubicBezTo>
                    <a:cubicBezTo>
                      <a:pt x="1420" y="97"/>
                      <a:pt x="1420" y="97"/>
                      <a:pt x="1420" y="97"/>
                    </a:cubicBezTo>
                    <a:cubicBezTo>
                      <a:pt x="1420" y="97"/>
                      <a:pt x="1420" y="97"/>
                      <a:pt x="1420" y="97"/>
                    </a:cubicBezTo>
                    <a:cubicBezTo>
                      <a:pt x="1421" y="97"/>
                      <a:pt x="1421" y="97"/>
                      <a:pt x="1421" y="97"/>
                    </a:cubicBezTo>
                    <a:cubicBezTo>
                      <a:pt x="1422" y="97"/>
                      <a:pt x="1422" y="97"/>
                      <a:pt x="1422" y="97"/>
                    </a:cubicBezTo>
                    <a:cubicBezTo>
                      <a:pt x="1424" y="97"/>
                      <a:pt x="1424" y="96"/>
                      <a:pt x="1426" y="95"/>
                    </a:cubicBezTo>
                    <a:cubicBezTo>
                      <a:pt x="1427" y="95"/>
                      <a:pt x="1427" y="95"/>
                      <a:pt x="1427" y="95"/>
                    </a:cubicBezTo>
                    <a:cubicBezTo>
                      <a:pt x="1427" y="95"/>
                      <a:pt x="1427" y="95"/>
                      <a:pt x="1427" y="95"/>
                    </a:cubicBezTo>
                    <a:cubicBezTo>
                      <a:pt x="1428" y="95"/>
                      <a:pt x="1428" y="95"/>
                      <a:pt x="1428" y="95"/>
                    </a:cubicBezTo>
                    <a:cubicBezTo>
                      <a:pt x="1429" y="95"/>
                      <a:pt x="1429" y="95"/>
                      <a:pt x="1429" y="95"/>
                    </a:cubicBezTo>
                    <a:cubicBezTo>
                      <a:pt x="1429" y="95"/>
                      <a:pt x="1431" y="94"/>
                      <a:pt x="1432" y="94"/>
                    </a:cubicBezTo>
                    <a:cubicBezTo>
                      <a:pt x="1432" y="94"/>
                      <a:pt x="1433" y="95"/>
                      <a:pt x="1434" y="95"/>
                    </a:cubicBezTo>
                    <a:cubicBezTo>
                      <a:pt x="1434" y="95"/>
                      <a:pt x="1434" y="95"/>
                      <a:pt x="1434" y="95"/>
                    </a:cubicBezTo>
                    <a:cubicBezTo>
                      <a:pt x="1435" y="95"/>
                      <a:pt x="1435" y="95"/>
                      <a:pt x="1435" y="95"/>
                    </a:cubicBezTo>
                    <a:cubicBezTo>
                      <a:pt x="1436" y="96"/>
                      <a:pt x="1437" y="97"/>
                      <a:pt x="1438" y="98"/>
                    </a:cubicBezTo>
                    <a:cubicBezTo>
                      <a:pt x="1438" y="99"/>
                      <a:pt x="1438" y="99"/>
                      <a:pt x="1438" y="99"/>
                    </a:cubicBezTo>
                    <a:cubicBezTo>
                      <a:pt x="1438" y="100"/>
                      <a:pt x="1438" y="100"/>
                      <a:pt x="1438" y="100"/>
                    </a:cubicBezTo>
                    <a:cubicBezTo>
                      <a:pt x="1438" y="105"/>
                      <a:pt x="1438" y="105"/>
                      <a:pt x="1438" y="105"/>
                    </a:cubicBezTo>
                    <a:cubicBezTo>
                      <a:pt x="1438" y="106"/>
                      <a:pt x="1438" y="106"/>
                      <a:pt x="1438" y="106"/>
                    </a:cubicBezTo>
                    <a:cubicBezTo>
                      <a:pt x="1437" y="107"/>
                      <a:pt x="1437" y="107"/>
                      <a:pt x="1437" y="107"/>
                    </a:cubicBezTo>
                    <a:cubicBezTo>
                      <a:pt x="1434" y="108"/>
                      <a:pt x="1429" y="110"/>
                      <a:pt x="1426" y="110"/>
                    </a:cubicBezTo>
                    <a:cubicBezTo>
                      <a:pt x="1426" y="110"/>
                      <a:pt x="1426" y="110"/>
                      <a:pt x="1426" y="110"/>
                    </a:cubicBezTo>
                    <a:cubicBezTo>
                      <a:pt x="1425" y="110"/>
                      <a:pt x="1425" y="110"/>
                      <a:pt x="1425" y="110"/>
                    </a:cubicBezTo>
                    <a:cubicBezTo>
                      <a:pt x="1425" y="110"/>
                      <a:pt x="1425" y="110"/>
                      <a:pt x="1425" y="110"/>
                    </a:cubicBezTo>
                    <a:cubicBezTo>
                      <a:pt x="1424" y="110"/>
                      <a:pt x="1424" y="110"/>
                      <a:pt x="1424" y="110"/>
                    </a:cubicBezTo>
                    <a:cubicBezTo>
                      <a:pt x="1423" y="110"/>
                      <a:pt x="1421" y="109"/>
                      <a:pt x="1419" y="108"/>
                    </a:cubicBezTo>
                    <a:cubicBezTo>
                      <a:pt x="1419" y="108"/>
                      <a:pt x="1419" y="108"/>
                      <a:pt x="1419" y="108"/>
                    </a:cubicBezTo>
                    <a:cubicBezTo>
                      <a:pt x="1419" y="107"/>
                      <a:pt x="1419" y="107"/>
                      <a:pt x="1419" y="107"/>
                    </a:cubicBezTo>
                    <a:cubicBezTo>
                      <a:pt x="1417" y="105"/>
                      <a:pt x="1418" y="106"/>
                      <a:pt x="1415" y="104"/>
                    </a:cubicBezTo>
                    <a:cubicBezTo>
                      <a:pt x="1414" y="104"/>
                      <a:pt x="1414" y="104"/>
                      <a:pt x="1414" y="104"/>
                    </a:cubicBezTo>
                    <a:cubicBezTo>
                      <a:pt x="1413" y="103"/>
                      <a:pt x="1413" y="103"/>
                      <a:pt x="1413" y="103"/>
                    </a:cubicBezTo>
                    <a:cubicBezTo>
                      <a:pt x="1409" y="101"/>
                      <a:pt x="1409" y="101"/>
                      <a:pt x="1409" y="101"/>
                    </a:cubicBezTo>
                    <a:cubicBezTo>
                      <a:pt x="1378" y="105"/>
                      <a:pt x="1378" y="105"/>
                      <a:pt x="1378" y="105"/>
                    </a:cubicBezTo>
                    <a:cubicBezTo>
                      <a:pt x="1378" y="105"/>
                      <a:pt x="1378" y="105"/>
                      <a:pt x="1378" y="105"/>
                    </a:cubicBezTo>
                    <a:cubicBezTo>
                      <a:pt x="1378" y="106"/>
                      <a:pt x="1378" y="106"/>
                      <a:pt x="1378" y="106"/>
                    </a:cubicBezTo>
                    <a:cubicBezTo>
                      <a:pt x="1378" y="106"/>
                      <a:pt x="1378" y="106"/>
                      <a:pt x="1378" y="106"/>
                    </a:cubicBezTo>
                    <a:cubicBezTo>
                      <a:pt x="1378" y="106"/>
                      <a:pt x="1378" y="106"/>
                      <a:pt x="1378" y="106"/>
                    </a:cubicBezTo>
                    <a:cubicBezTo>
                      <a:pt x="1379" y="106"/>
                      <a:pt x="1379" y="106"/>
                      <a:pt x="1379" y="106"/>
                    </a:cubicBezTo>
                    <a:cubicBezTo>
                      <a:pt x="1379" y="107"/>
                      <a:pt x="1379" y="107"/>
                      <a:pt x="1379" y="107"/>
                    </a:cubicBezTo>
                    <a:cubicBezTo>
                      <a:pt x="1379" y="107"/>
                      <a:pt x="1379" y="107"/>
                      <a:pt x="1379" y="107"/>
                    </a:cubicBezTo>
                    <a:cubicBezTo>
                      <a:pt x="1380" y="107"/>
                      <a:pt x="1380" y="107"/>
                      <a:pt x="1380" y="107"/>
                    </a:cubicBezTo>
                    <a:cubicBezTo>
                      <a:pt x="1380" y="107"/>
                      <a:pt x="1380" y="107"/>
                      <a:pt x="1380" y="107"/>
                    </a:cubicBezTo>
                    <a:cubicBezTo>
                      <a:pt x="1381" y="108"/>
                      <a:pt x="1381" y="108"/>
                      <a:pt x="1381" y="108"/>
                    </a:cubicBezTo>
                    <a:cubicBezTo>
                      <a:pt x="1381" y="109"/>
                      <a:pt x="1381" y="110"/>
                      <a:pt x="1382" y="111"/>
                    </a:cubicBezTo>
                    <a:cubicBezTo>
                      <a:pt x="1382" y="112"/>
                      <a:pt x="1382" y="112"/>
                      <a:pt x="1382" y="112"/>
                    </a:cubicBezTo>
                    <a:cubicBezTo>
                      <a:pt x="1382" y="112"/>
                      <a:pt x="1382" y="112"/>
                      <a:pt x="1382" y="112"/>
                    </a:cubicBezTo>
                    <a:cubicBezTo>
                      <a:pt x="1382" y="112"/>
                      <a:pt x="1382" y="112"/>
                      <a:pt x="1382" y="112"/>
                    </a:cubicBezTo>
                    <a:cubicBezTo>
                      <a:pt x="1382" y="113"/>
                      <a:pt x="1382" y="113"/>
                      <a:pt x="1382" y="113"/>
                    </a:cubicBezTo>
                    <a:cubicBezTo>
                      <a:pt x="1382" y="113"/>
                      <a:pt x="1383" y="114"/>
                      <a:pt x="1383" y="115"/>
                    </a:cubicBezTo>
                    <a:cubicBezTo>
                      <a:pt x="1383" y="116"/>
                      <a:pt x="1383" y="116"/>
                      <a:pt x="1383" y="116"/>
                    </a:cubicBezTo>
                    <a:cubicBezTo>
                      <a:pt x="1383" y="116"/>
                      <a:pt x="1383" y="116"/>
                      <a:pt x="1383" y="116"/>
                    </a:cubicBezTo>
                    <a:cubicBezTo>
                      <a:pt x="1385" y="118"/>
                      <a:pt x="1384" y="122"/>
                      <a:pt x="1386" y="124"/>
                    </a:cubicBezTo>
                    <a:cubicBezTo>
                      <a:pt x="1387" y="124"/>
                      <a:pt x="1387" y="124"/>
                      <a:pt x="1387" y="124"/>
                    </a:cubicBezTo>
                    <a:cubicBezTo>
                      <a:pt x="1388" y="124"/>
                      <a:pt x="1388" y="124"/>
                      <a:pt x="1388" y="124"/>
                    </a:cubicBezTo>
                    <a:cubicBezTo>
                      <a:pt x="1388" y="124"/>
                      <a:pt x="1388" y="124"/>
                      <a:pt x="1388" y="124"/>
                    </a:cubicBezTo>
                    <a:cubicBezTo>
                      <a:pt x="1389" y="124"/>
                      <a:pt x="1389" y="124"/>
                      <a:pt x="1389" y="124"/>
                    </a:cubicBezTo>
                    <a:cubicBezTo>
                      <a:pt x="1389" y="124"/>
                      <a:pt x="1389" y="124"/>
                      <a:pt x="1389" y="124"/>
                    </a:cubicBezTo>
                    <a:cubicBezTo>
                      <a:pt x="1397" y="125"/>
                      <a:pt x="1395" y="129"/>
                      <a:pt x="1403" y="130"/>
                    </a:cubicBezTo>
                    <a:cubicBezTo>
                      <a:pt x="1404" y="131"/>
                      <a:pt x="1404" y="131"/>
                      <a:pt x="1404" y="131"/>
                    </a:cubicBezTo>
                    <a:cubicBezTo>
                      <a:pt x="1405" y="131"/>
                      <a:pt x="1405" y="131"/>
                      <a:pt x="1405" y="131"/>
                    </a:cubicBezTo>
                    <a:cubicBezTo>
                      <a:pt x="1405" y="131"/>
                      <a:pt x="1406" y="131"/>
                      <a:pt x="1406" y="131"/>
                    </a:cubicBezTo>
                    <a:cubicBezTo>
                      <a:pt x="1407" y="131"/>
                      <a:pt x="1407" y="131"/>
                      <a:pt x="1407" y="131"/>
                    </a:cubicBezTo>
                    <a:cubicBezTo>
                      <a:pt x="1407" y="131"/>
                      <a:pt x="1407" y="131"/>
                      <a:pt x="1407" y="131"/>
                    </a:cubicBezTo>
                    <a:cubicBezTo>
                      <a:pt x="1408" y="131"/>
                      <a:pt x="1408" y="131"/>
                      <a:pt x="1409" y="132"/>
                    </a:cubicBezTo>
                    <a:cubicBezTo>
                      <a:pt x="1411" y="133"/>
                      <a:pt x="1411" y="133"/>
                      <a:pt x="1411" y="133"/>
                    </a:cubicBezTo>
                    <a:cubicBezTo>
                      <a:pt x="1412" y="134"/>
                      <a:pt x="1412" y="134"/>
                      <a:pt x="1412" y="134"/>
                    </a:cubicBezTo>
                    <a:cubicBezTo>
                      <a:pt x="1414" y="135"/>
                      <a:pt x="1415" y="136"/>
                      <a:pt x="1417" y="136"/>
                    </a:cubicBezTo>
                    <a:cubicBezTo>
                      <a:pt x="1418" y="137"/>
                      <a:pt x="1418" y="137"/>
                      <a:pt x="1418" y="137"/>
                    </a:cubicBezTo>
                    <a:cubicBezTo>
                      <a:pt x="1418" y="137"/>
                      <a:pt x="1418" y="137"/>
                      <a:pt x="1418" y="137"/>
                    </a:cubicBezTo>
                    <a:cubicBezTo>
                      <a:pt x="1419" y="137"/>
                      <a:pt x="1419" y="137"/>
                      <a:pt x="1419" y="137"/>
                    </a:cubicBezTo>
                    <a:cubicBezTo>
                      <a:pt x="1419" y="137"/>
                      <a:pt x="1419" y="137"/>
                      <a:pt x="1419" y="137"/>
                    </a:cubicBezTo>
                    <a:cubicBezTo>
                      <a:pt x="1419" y="137"/>
                      <a:pt x="1419" y="137"/>
                      <a:pt x="1419" y="137"/>
                    </a:cubicBezTo>
                    <a:cubicBezTo>
                      <a:pt x="1419" y="136"/>
                      <a:pt x="1419" y="136"/>
                      <a:pt x="1419" y="136"/>
                    </a:cubicBezTo>
                    <a:cubicBezTo>
                      <a:pt x="1419" y="136"/>
                      <a:pt x="1419" y="136"/>
                      <a:pt x="1419" y="136"/>
                    </a:cubicBezTo>
                    <a:cubicBezTo>
                      <a:pt x="1420" y="136"/>
                      <a:pt x="1420" y="136"/>
                      <a:pt x="1420" y="136"/>
                    </a:cubicBezTo>
                    <a:cubicBezTo>
                      <a:pt x="1421" y="136"/>
                      <a:pt x="1422" y="137"/>
                      <a:pt x="1423" y="137"/>
                    </a:cubicBezTo>
                    <a:cubicBezTo>
                      <a:pt x="1424" y="138"/>
                      <a:pt x="1425" y="139"/>
                      <a:pt x="1427" y="139"/>
                    </a:cubicBezTo>
                    <a:cubicBezTo>
                      <a:pt x="1427" y="139"/>
                      <a:pt x="1427" y="138"/>
                      <a:pt x="1427" y="138"/>
                    </a:cubicBezTo>
                    <a:cubicBezTo>
                      <a:pt x="1428" y="138"/>
                      <a:pt x="1428" y="138"/>
                      <a:pt x="1428" y="138"/>
                    </a:cubicBezTo>
                    <a:cubicBezTo>
                      <a:pt x="1428" y="138"/>
                      <a:pt x="1428" y="138"/>
                      <a:pt x="1428" y="138"/>
                    </a:cubicBezTo>
                    <a:cubicBezTo>
                      <a:pt x="1428" y="138"/>
                      <a:pt x="1428" y="138"/>
                      <a:pt x="1428" y="138"/>
                    </a:cubicBezTo>
                    <a:cubicBezTo>
                      <a:pt x="1427" y="137"/>
                      <a:pt x="1428" y="136"/>
                      <a:pt x="1429" y="136"/>
                    </a:cubicBezTo>
                    <a:cubicBezTo>
                      <a:pt x="1429" y="136"/>
                      <a:pt x="1429" y="136"/>
                      <a:pt x="1429" y="136"/>
                    </a:cubicBezTo>
                    <a:cubicBezTo>
                      <a:pt x="1430" y="136"/>
                      <a:pt x="1430" y="136"/>
                      <a:pt x="1430" y="136"/>
                    </a:cubicBezTo>
                    <a:cubicBezTo>
                      <a:pt x="1430" y="136"/>
                      <a:pt x="1430" y="136"/>
                      <a:pt x="1430" y="136"/>
                    </a:cubicBezTo>
                    <a:cubicBezTo>
                      <a:pt x="1431" y="136"/>
                      <a:pt x="1431" y="136"/>
                      <a:pt x="1431" y="136"/>
                    </a:cubicBezTo>
                    <a:cubicBezTo>
                      <a:pt x="1431" y="136"/>
                      <a:pt x="1431" y="136"/>
                      <a:pt x="1431" y="136"/>
                    </a:cubicBezTo>
                    <a:cubicBezTo>
                      <a:pt x="1432" y="135"/>
                      <a:pt x="1432" y="135"/>
                      <a:pt x="1432" y="135"/>
                    </a:cubicBezTo>
                    <a:cubicBezTo>
                      <a:pt x="1432" y="135"/>
                      <a:pt x="1432" y="135"/>
                      <a:pt x="1432" y="135"/>
                    </a:cubicBezTo>
                    <a:cubicBezTo>
                      <a:pt x="1434" y="135"/>
                      <a:pt x="1434" y="135"/>
                      <a:pt x="1434" y="135"/>
                    </a:cubicBezTo>
                    <a:cubicBezTo>
                      <a:pt x="1435" y="135"/>
                      <a:pt x="1435" y="135"/>
                      <a:pt x="1435" y="135"/>
                    </a:cubicBezTo>
                    <a:cubicBezTo>
                      <a:pt x="1435" y="135"/>
                      <a:pt x="1435" y="135"/>
                      <a:pt x="1435" y="135"/>
                    </a:cubicBezTo>
                    <a:cubicBezTo>
                      <a:pt x="1435" y="135"/>
                      <a:pt x="1435" y="135"/>
                      <a:pt x="1435" y="135"/>
                    </a:cubicBezTo>
                    <a:cubicBezTo>
                      <a:pt x="1435" y="136"/>
                      <a:pt x="1435" y="136"/>
                      <a:pt x="1435" y="136"/>
                    </a:cubicBezTo>
                    <a:cubicBezTo>
                      <a:pt x="1434" y="137"/>
                      <a:pt x="1434" y="137"/>
                      <a:pt x="1434" y="137"/>
                    </a:cubicBezTo>
                    <a:cubicBezTo>
                      <a:pt x="1434" y="139"/>
                      <a:pt x="1434" y="139"/>
                      <a:pt x="1434" y="139"/>
                    </a:cubicBezTo>
                    <a:cubicBezTo>
                      <a:pt x="1434" y="140"/>
                      <a:pt x="1434" y="140"/>
                      <a:pt x="1434" y="140"/>
                    </a:cubicBezTo>
                    <a:cubicBezTo>
                      <a:pt x="1434" y="140"/>
                      <a:pt x="1434" y="140"/>
                      <a:pt x="1434" y="140"/>
                    </a:cubicBezTo>
                    <a:cubicBezTo>
                      <a:pt x="1434" y="140"/>
                      <a:pt x="1434" y="140"/>
                      <a:pt x="1434" y="140"/>
                    </a:cubicBezTo>
                    <a:cubicBezTo>
                      <a:pt x="1434" y="139"/>
                      <a:pt x="1434" y="139"/>
                      <a:pt x="1434" y="139"/>
                    </a:cubicBezTo>
                    <a:cubicBezTo>
                      <a:pt x="1435" y="139"/>
                      <a:pt x="1435" y="139"/>
                      <a:pt x="1435" y="139"/>
                    </a:cubicBezTo>
                    <a:cubicBezTo>
                      <a:pt x="1435" y="139"/>
                      <a:pt x="1435" y="139"/>
                      <a:pt x="1435" y="139"/>
                    </a:cubicBezTo>
                    <a:cubicBezTo>
                      <a:pt x="1435" y="139"/>
                      <a:pt x="1435" y="139"/>
                      <a:pt x="1435" y="139"/>
                    </a:cubicBezTo>
                    <a:cubicBezTo>
                      <a:pt x="1436" y="139"/>
                      <a:pt x="1436" y="139"/>
                      <a:pt x="1436" y="139"/>
                    </a:cubicBezTo>
                    <a:cubicBezTo>
                      <a:pt x="1437" y="139"/>
                      <a:pt x="1437" y="139"/>
                      <a:pt x="1437" y="139"/>
                    </a:cubicBezTo>
                    <a:cubicBezTo>
                      <a:pt x="1438" y="139"/>
                      <a:pt x="1438" y="139"/>
                      <a:pt x="1438" y="139"/>
                    </a:cubicBezTo>
                    <a:cubicBezTo>
                      <a:pt x="1442" y="140"/>
                      <a:pt x="1442" y="140"/>
                      <a:pt x="1442" y="140"/>
                    </a:cubicBezTo>
                    <a:cubicBezTo>
                      <a:pt x="1443" y="141"/>
                      <a:pt x="1443" y="141"/>
                      <a:pt x="1443" y="141"/>
                    </a:cubicBezTo>
                    <a:cubicBezTo>
                      <a:pt x="1444" y="141"/>
                      <a:pt x="1444" y="141"/>
                      <a:pt x="1444" y="141"/>
                    </a:cubicBezTo>
                    <a:cubicBezTo>
                      <a:pt x="1444" y="141"/>
                      <a:pt x="1444" y="141"/>
                      <a:pt x="1444" y="141"/>
                    </a:cubicBezTo>
                    <a:cubicBezTo>
                      <a:pt x="1444" y="142"/>
                      <a:pt x="1444" y="142"/>
                      <a:pt x="1444" y="142"/>
                    </a:cubicBezTo>
                    <a:cubicBezTo>
                      <a:pt x="1444" y="143"/>
                      <a:pt x="1444" y="143"/>
                      <a:pt x="1444" y="143"/>
                    </a:cubicBezTo>
                    <a:cubicBezTo>
                      <a:pt x="1442" y="149"/>
                      <a:pt x="1442" y="147"/>
                      <a:pt x="1446" y="151"/>
                    </a:cubicBezTo>
                    <a:cubicBezTo>
                      <a:pt x="1446" y="151"/>
                      <a:pt x="1446" y="151"/>
                      <a:pt x="1446" y="151"/>
                    </a:cubicBezTo>
                    <a:cubicBezTo>
                      <a:pt x="1447" y="150"/>
                      <a:pt x="1447" y="150"/>
                      <a:pt x="1447" y="150"/>
                    </a:cubicBezTo>
                    <a:cubicBezTo>
                      <a:pt x="1447" y="149"/>
                      <a:pt x="1447" y="149"/>
                      <a:pt x="1447" y="149"/>
                    </a:cubicBezTo>
                    <a:cubicBezTo>
                      <a:pt x="1449" y="149"/>
                      <a:pt x="1449" y="149"/>
                      <a:pt x="1449" y="149"/>
                    </a:cubicBezTo>
                    <a:cubicBezTo>
                      <a:pt x="1449" y="149"/>
                      <a:pt x="1449" y="149"/>
                      <a:pt x="1449" y="149"/>
                    </a:cubicBezTo>
                    <a:cubicBezTo>
                      <a:pt x="1450" y="149"/>
                      <a:pt x="1450" y="149"/>
                      <a:pt x="1450" y="149"/>
                    </a:cubicBezTo>
                    <a:cubicBezTo>
                      <a:pt x="1450" y="150"/>
                      <a:pt x="1450" y="150"/>
                      <a:pt x="1450" y="150"/>
                    </a:cubicBezTo>
                    <a:cubicBezTo>
                      <a:pt x="1451" y="151"/>
                      <a:pt x="1451" y="151"/>
                      <a:pt x="1451" y="151"/>
                    </a:cubicBezTo>
                    <a:cubicBezTo>
                      <a:pt x="1450" y="151"/>
                      <a:pt x="1450" y="151"/>
                      <a:pt x="1450" y="151"/>
                    </a:cubicBezTo>
                    <a:cubicBezTo>
                      <a:pt x="1450" y="151"/>
                      <a:pt x="1450" y="151"/>
                      <a:pt x="1450" y="151"/>
                    </a:cubicBezTo>
                    <a:cubicBezTo>
                      <a:pt x="1450" y="151"/>
                      <a:pt x="1450" y="151"/>
                      <a:pt x="1450" y="151"/>
                    </a:cubicBezTo>
                    <a:cubicBezTo>
                      <a:pt x="1449" y="152"/>
                      <a:pt x="1449" y="152"/>
                      <a:pt x="1449" y="152"/>
                    </a:cubicBezTo>
                    <a:cubicBezTo>
                      <a:pt x="1449" y="152"/>
                      <a:pt x="1449" y="152"/>
                      <a:pt x="1449" y="152"/>
                    </a:cubicBezTo>
                    <a:cubicBezTo>
                      <a:pt x="1449" y="153"/>
                      <a:pt x="1449" y="153"/>
                      <a:pt x="1449" y="153"/>
                    </a:cubicBezTo>
                    <a:cubicBezTo>
                      <a:pt x="1448" y="154"/>
                      <a:pt x="1448" y="154"/>
                      <a:pt x="1448" y="154"/>
                    </a:cubicBezTo>
                    <a:cubicBezTo>
                      <a:pt x="1448" y="156"/>
                      <a:pt x="1448" y="156"/>
                      <a:pt x="1448" y="156"/>
                    </a:cubicBezTo>
                    <a:cubicBezTo>
                      <a:pt x="1448" y="157"/>
                      <a:pt x="1448" y="157"/>
                      <a:pt x="1448" y="157"/>
                    </a:cubicBezTo>
                    <a:cubicBezTo>
                      <a:pt x="1448" y="157"/>
                      <a:pt x="1448" y="157"/>
                      <a:pt x="1448" y="157"/>
                    </a:cubicBezTo>
                    <a:cubicBezTo>
                      <a:pt x="1449" y="157"/>
                      <a:pt x="1449" y="157"/>
                      <a:pt x="1449" y="157"/>
                    </a:cubicBezTo>
                    <a:cubicBezTo>
                      <a:pt x="1449" y="157"/>
                      <a:pt x="1449" y="157"/>
                      <a:pt x="1449" y="157"/>
                    </a:cubicBezTo>
                    <a:cubicBezTo>
                      <a:pt x="1450" y="156"/>
                      <a:pt x="1451" y="155"/>
                      <a:pt x="1452" y="155"/>
                    </a:cubicBezTo>
                    <a:cubicBezTo>
                      <a:pt x="1452" y="155"/>
                      <a:pt x="1453" y="156"/>
                      <a:pt x="1454" y="156"/>
                    </a:cubicBezTo>
                    <a:cubicBezTo>
                      <a:pt x="1454" y="156"/>
                      <a:pt x="1455" y="157"/>
                      <a:pt x="1456" y="157"/>
                    </a:cubicBezTo>
                    <a:cubicBezTo>
                      <a:pt x="1456" y="157"/>
                      <a:pt x="1456" y="157"/>
                      <a:pt x="1456" y="157"/>
                    </a:cubicBezTo>
                    <a:cubicBezTo>
                      <a:pt x="1457" y="157"/>
                      <a:pt x="1457" y="157"/>
                      <a:pt x="1457" y="157"/>
                    </a:cubicBezTo>
                    <a:cubicBezTo>
                      <a:pt x="1457" y="156"/>
                      <a:pt x="1457" y="156"/>
                      <a:pt x="1457" y="156"/>
                    </a:cubicBezTo>
                    <a:cubicBezTo>
                      <a:pt x="1458" y="156"/>
                      <a:pt x="1458" y="156"/>
                      <a:pt x="1458" y="156"/>
                    </a:cubicBezTo>
                    <a:cubicBezTo>
                      <a:pt x="1458" y="156"/>
                      <a:pt x="1458" y="156"/>
                      <a:pt x="1458" y="156"/>
                    </a:cubicBezTo>
                    <a:cubicBezTo>
                      <a:pt x="1458" y="155"/>
                      <a:pt x="1458" y="155"/>
                      <a:pt x="1458" y="155"/>
                    </a:cubicBezTo>
                    <a:cubicBezTo>
                      <a:pt x="1458" y="154"/>
                      <a:pt x="1458" y="154"/>
                      <a:pt x="1458" y="154"/>
                    </a:cubicBezTo>
                    <a:cubicBezTo>
                      <a:pt x="1458" y="154"/>
                      <a:pt x="1458" y="154"/>
                      <a:pt x="1458" y="154"/>
                    </a:cubicBezTo>
                    <a:cubicBezTo>
                      <a:pt x="1458" y="153"/>
                      <a:pt x="1458" y="153"/>
                      <a:pt x="1458" y="153"/>
                    </a:cubicBezTo>
                    <a:cubicBezTo>
                      <a:pt x="1458" y="153"/>
                      <a:pt x="1458" y="153"/>
                      <a:pt x="1458" y="153"/>
                    </a:cubicBezTo>
                    <a:cubicBezTo>
                      <a:pt x="1459" y="153"/>
                      <a:pt x="1459" y="153"/>
                      <a:pt x="1459" y="153"/>
                    </a:cubicBezTo>
                    <a:cubicBezTo>
                      <a:pt x="1459" y="153"/>
                      <a:pt x="1459" y="153"/>
                      <a:pt x="1459" y="153"/>
                    </a:cubicBezTo>
                    <a:cubicBezTo>
                      <a:pt x="1460" y="153"/>
                      <a:pt x="1460" y="153"/>
                      <a:pt x="1460" y="153"/>
                    </a:cubicBezTo>
                    <a:cubicBezTo>
                      <a:pt x="1460" y="153"/>
                      <a:pt x="1460" y="153"/>
                      <a:pt x="1460" y="153"/>
                    </a:cubicBezTo>
                    <a:cubicBezTo>
                      <a:pt x="1461" y="153"/>
                      <a:pt x="1461" y="153"/>
                      <a:pt x="1461" y="153"/>
                    </a:cubicBezTo>
                    <a:cubicBezTo>
                      <a:pt x="1462" y="153"/>
                      <a:pt x="1462" y="153"/>
                      <a:pt x="1462" y="153"/>
                    </a:cubicBezTo>
                    <a:cubicBezTo>
                      <a:pt x="1465" y="153"/>
                      <a:pt x="1465" y="153"/>
                      <a:pt x="1465" y="153"/>
                    </a:cubicBezTo>
                    <a:cubicBezTo>
                      <a:pt x="1466" y="153"/>
                      <a:pt x="1466" y="153"/>
                      <a:pt x="1466" y="153"/>
                    </a:cubicBezTo>
                    <a:cubicBezTo>
                      <a:pt x="1467" y="153"/>
                      <a:pt x="1467" y="153"/>
                      <a:pt x="1467" y="153"/>
                    </a:cubicBezTo>
                    <a:cubicBezTo>
                      <a:pt x="1466" y="153"/>
                      <a:pt x="1466" y="153"/>
                      <a:pt x="1466" y="153"/>
                    </a:cubicBezTo>
                    <a:cubicBezTo>
                      <a:pt x="1466" y="153"/>
                      <a:pt x="1466" y="153"/>
                      <a:pt x="1466" y="153"/>
                    </a:cubicBezTo>
                    <a:cubicBezTo>
                      <a:pt x="1466" y="154"/>
                      <a:pt x="1466" y="154"/>
                      <a:pt x="1466" y="154"/>
                    </a:cubicBezTo>
                    <a:cubicBezTo>
                      <a:pt x="1466" y="154"/>
                      <a:pt x="1466" y="154"/>
                      <a:pt x="1466" y="154"/>
                    </a:cubicBezTo>
                    <a:cubicBezTo>
                      <a:pt x="1463" y="157"/>
                      <a:pt x="1459" y="158"/>
                      <a:pt x="1456" y="158"/>
                    </a:cubicBezTo>
                    <a:cubicBezTo>
                      <a:pt x="1455" y="158"/>
                      <a:pt x="1455" y="158"/>
                      <a:pt x="1455" y="158"/>
                    </a:cubicBezTo>
                    <a:cubicBezTo>
                      <a:pt x="1454" y="158"/>
                      <a:pt x="1454" y="158"/>
                      <a:pt x="1454" y="158"/>
                    </a:cubicBezTo>
                    <a:cubicBezTo>
                      <a:pt x="1454" y="158"/>
                      <a:pt x="1454" y="158"/>
                      <a:pt x="1453" y="158"/>
                    </a:cubicBezTo>
                    <a:cubicBezTo>
                      <a:pt x="1452" y="158"/>
                      <a:pt x="1451" y="158"/>
                      <a:pt x="1450" y="158"/>
                    </a:cubicBezTo>
                    <a:cubicBezTo>
                      <a:pt x="1449" y="159"/>
                      <a:pt x="1448" y="159"/>
                      <a:pt x="1447" y="159"/>
                    </a:cubicBezTo>
                    <a:cubicBezTo>
                      <a:pt x="1447" y="159"/>
                      <a:pt x="1446" y="159"/>
                      <a:pt x="1445" y="158"/>
                    </a:cubicBezTo>
                    <a:cubicBezTo>
                      <a:pt x="1445" y="158"/>
                      <a:pt x="1445" y="158"/>
                      <a:pt x="1445" y="158"/>
                    </a:cubicBezTo>
                    <a:cubicBezTo>
                      <a:pt x="1444" y="157"/>
                      <a:pt x="1444" y="157"/>
                      <a:pt x="1444" y="157"/>
                    </a:cubicBezTo>
                    <a:cubicBezTo>
                      <a:pt x="1444" y="157"/>
                      <a:pt x="1444" y="157"/>
                      <a:pt x="1444" y="157"/>
                    </a:cubicBezTo>
                    <a:cubicBezTo>
                      <a:pt x="1443" y="157"/>
                      <a:pt x="1443" y="157"/>
                      <a:pt x="1443" y="157"/>
                    </a:cubicBezTo>
                    <a:cubicBezTo>
                      <a:pt x="1443" y="157"/>
                      <a:pt x="1443" y="157"/>
                      <a:pt x="1443" y="157"/>
                    </a:cubicBezTo>
                    <a:cubicBezTo>
                      <a:pt x="1442" y="156"/>
                      <a:pt x="1442" y="156"/>
                      <a:pt x="1442" y="156"/>
                    </a:cubicBezTo>
                    <a:cubicBezTo>
                      <a:pt x="1442" y="156"/>
                      <a:pt x="1442" y="156"/>
                      <a:pt x="1442" y="156"/>
                    </a:cubicBezTo>
                    <a:cubicBezTo>
                      <a:pt x="1441" y="156"/>
                      <a:pt x="1441" y="156"/>
                      <a:pt x="1441" y="156"/>
                    </a:cubicBezTo>
                    <a:cubicBezTo>
                      <a:pt x="1441" y="156"/>
                      <a:pt x="1441" y="156"/>
                      <a:pt x="1441" y="156"/>
                    </a:cubicBezTo>
                    <a:cubicBezTo>
                      <a:pt x="1440" y="156"/>
                      <a:pt x="1440" y="156"/>
                      <a:pt x="1440" y="156"/>
                    </a:cubicBezTo>
                    <a:cubicBezTo>
                      <a:pt x="1440" y="156"/>
                      <a:pt x="1440" y="156"/>
                      <a:pt x="1440" y="156"/>
                    </a:cubicBezTo>
                    <a:cubicBezTo>
                      <a:pt x="1439" y="156"/>
                      <a:pt x="1439" y="156"/>
                      <a:pt x="1439" y="156"/>
                    </a:cubicBezTo>
                    <a:cubicBezTo>
                      <a:pt x="1438" y="156"/>
                      <a:pt x="1438" y="156"/>
                      <a:pt x="1438" y="156"/>
                    </a:cubicBezTo>
                    <a:cubicBezTo>
                      <a:pt x="1438" y="156"/>
                      <a:pt x="1438" y="156"/>
                      <a:pt x="1438" y="156"/>
                    </a:cubicBezTo>
                    <a:cubicBezTo>
                      <a:pt x="1437" y="156"/>
                      <a:pt x="1437" y="156"/>
                      <a:pt x="1437" y="156"/>
                    </a:cubicBezTo>
                    <a:cubicBezTo>
                      <a:pt x="1437" y="156"/>
                      <a:pt x="1437" y="156"/>
                      <a:pt x="1437" y="156"/>
                    </a:cubicBezTo>
                    <a:cubicBezTo>
                      <a:pt x="1437" y="156"/>
                      <a:pt x="1437" y="156"/>
                      <a:pt x="1437" y="156"/>
                    </a:cubicBezTo>
                    <a:cubicBezTo>
                      <a:pt x="1435" y="156"/>
                      <a:pt x="1433" y="155"/>
                      <a:pt x="1432" y="153"/>
                    </a:cubicBezTo>
                    <a:cubicBezTo>
                      <a:pt x="1432" y="153"/>
                      <a:pt x="1432" y="153"/>
                      <a:pt x="1432" y="153"/>
                    </a:cubicBezTo>
                    <a:cubicBezTo>
                      <a:pt x="1432" y="153"/>
                      <a:pt x="1432" y="153"/>
                      <a:pt x="1432" y="153"/>
                    </a:cubicBezTo>
                    <a:cubicBezTo>
                      <a:pt x="1432" y="153"/>
                      <a:pt x="1432" y="153"/>
                      <a:pt x="1432" y="153"/>
                    </a:cubicBezTo>
                    <a:cubicBezTo>
                      <a:pt x="1432" y="152"/>
                      <a:pt x="1432" y="152"/>
                      <a:pt x="1432" y="152"/>
                    </a:cubicBezTo>
                    <a:cubicBezTo>
                      <a:pt x="1432" y="152"/>
                      <a:pt x="1432" y="152"/>
                      <a:pt x="1432" y="152"/>
                    </a:cubicBezTo>
                    <a:cubicBezTo>
                      <a:pt x="1432" y="152"/>
                      <a:pt x="1432" y="152"/>
                      <a:pt x="1432" y="152"/>
                    </a:cubicBezTo>
                    <a:cubicBezTo>
                      <a:pt x="1432" y="151"/>
                      <a:pt x="1432" y="151"/>
                      <a:pt x="1432" y="151"/>
                    </a:cubicBezTo>
                    <a:cubicBezTo>
                      <a:pt x="1432" y="151"/>
                      <a:pt x="1432" y="151"/>
                      <a:pt x="1432" y="151"/>
                    </a:cubicBezTo>
                    <a:cubicBezTo>
                      <a:pt x="1432" y="149"/>
                      <a:pt x="1432" y="149"/>
                      <a:pt x="1432" y="149"/>
                    </a:cubicBezTo>
                    <a:cubicBezTo>
                      <a:pt x="1432" y="149"/>
                      <a:pt x="1432" y="149"/>
                      <a:pt x="1432" y="149"/>
                    </a:cubicBezTo>
                    <a:cubicBezTo>
                      <a:pt x="1432" y="149"/>
                      <a:pt x="1432" y="149"/>
                      <a:pt x="1432" y="149"/>
                    </a:cubicBezTo>
                    <a:cubicBezTo>
                      <a:pt x="1432" y="149"/>
                      <a:pt x="1432" y="149"/>
                      <a:pt x="1432" y="149"/>
                    </a:cubicBezTo>
                    <a:cubicBezTo>
                      <a:pt x="1432" y="148"/>
                      <a:pt x="1432" y="148"/>
                      <a:pt x="1432" y="148"/>
                    </a:cubicBezTo>
                    <a:cubicBezTo>
                      <a:pt x="1431" y="148"/>
                      <a:pt x="1431" y="148"/>
                      <a:pt x="1431" y="148"/>
                    </a:cubicBezTo>
                    <a:cubicBezTo>
                      <a:pt x="1431" y="148"/>
                      <a:pt x="1431" y="148"/>
                      <a:pt x="1431" y="148"/>
                    </a:cubicBezTo>
                    <a:cubicBezTo>
                      <a:pt x="1430" y="146"/>
                      <a:pt x="1427" y="145"/>
                      <a:pt x="1425" y="145"/>
                    </a:cubicBezTo>
                    <a:cubicBezTo>
                      <a:pt x="1424" y="145"/>
                      <a:pt x="1424" y="145"/>
                      <a:pt x="1424" y="145"/>
                    </a:cubicBezTo>
                    <a:cubicBezTo>
                      <a:pt x="1424" y="145"/>
                      <a:pt x="1424" y="145"/>
                      <a:pt x="1424" y="145"/>
                    </a:cubicBezTo>
                    <a:cubicBezTo>
                      <a:pt x="1423" y="145"/>
                      <a:pt x="1423" y="145"/>
                      <a:pt x="1423" y="145"/>
                    </a:cubicBezTo>
                    <a:cubicBezTo>
                      <a:pt x="1422" y="145"/>
                      <a:pt x="1422" y="145"/>
                      <a:pt x="1422" y="145"/>
                    </a:cubicBezTo>
                    <a:cubicBezTo>
                      <a:pt x="1422" y="145"/>
                      <a:pt x="1422" y="145"/>
                      <a:pt x="1422" y="145"/>
                    </a:cubicBezTo>
                    <a:cubicBezTo>
                      <a:pt x="1421" y="145"/>
                      <a:pt x="1420" y="145"/>
                      <a:pt x="1419" y="145"/>
                    </a:cubicBezTo>
                    <a:cubicBezTo>
                      <a:pt x="1418" y="145"/>
                      <a:pt x="1417" y="145"/>
                      <a:pt x="1417" y="145"/>
                    </a:cubicBezTo>
                    <a:cubicBezTo>
                      <a:pt x="1416" y="145"/>
                      <a:pt x="1416" y="145"/>
                      <a:pt x="1416" y="145"/>
                    </a:cubicBezTo>
                    <a:cubicBezTo>
                      <a:pt x="1416" y="144"/>
                      <a:pt x="1416" y="144"/>
                      <a:pt x="1416" y="144"/>
                    </a:cubicBezTo>
                    <a:cubicBezTo>
                      <a:pt x="1415" y="144"/>
                      <a:pt x="1415" y="144"/>
                      <a:pt x="1415" y="144"/>
                    </a:cubicBezTo>
                    <a:cubicBezTo>
                      <a:pt x="1415" y="144"/>
                      <a:pt x="1415" y="144"/>
                      <a:pt x="1415" y="144"/>
                    </a:cubicBezTo>
                    <a:cubicBezTo>
                      <a:pt x="1414" y="144"/>
                      <a:pt x="1414" y="144"/>
                      <a:pt x="1414" y="144"/>
                    </a:cubicBezTo>
                    <a:cubicBezTo>
                      <a:pt x="1414" y="144"/>
                      <a:pt x="1414" y="144"/>
                      <a:pt x="1414" y="144"/>
                    </a:cubicBezTo>
                    <a:cubicBezTo>
                      <a:pt x="1413" y="144"/>
                      <a:pt x="1413" y="144"/>
                      <a:pt x="1413" y="144"/>
                    </a:cubicBezTo>
                    <a:cubicBezTo>
                      <a:pt x="1413" y="144"/>
                      <a:pt x="1413" y="144"/>
                      <a:pt x="1413" y="144"/>
                    </a:cubicBezTo>
                    <a:cubicBezTo>
                      <a:pt x="1412" y="144"/>
                      <a:pt x="1412" y="144"/>
                      <a:pt x="1412" y="144"/>
                    </a:cubicBezTo>
                    <a:cubicBezTo>
                      <a:pt x="1411" y="144"/>
                      <a:pt x="1411" y="144"/>
                      <a:pt x="1411" y="144"/>
                    </a:cubicBezTo>
                    <a:cubicBezTo>
                      <a:pt x="1411" y="144"/>
                      <a:pt x="1411" y="144"/>
                      <a:pt x="1411" y="144"/>
                    </a:cubicBezTo>
                    <a:cubicBezTo>
                      <a:pt x="1410" y="144"/>
                      <a:pt x="1410" y="144"/>
                      <a:pt x="1410" y="144"/>
                    </a:cubicBezTo>
                    <a:cubicBezTo>
                      <a:pt x="1410" y="144"/>
                      <a:pt x="1410" y="144"/>
                      <a:pt x="1410" y="144"/>
                    </a:cubicBezTo>
                    <a:cubicBezTo>
                      <a:pt x="1409" y="144"/>
                      <a:pt x="1409" y="144"/>
                      <a:pt x="1409" y="144"/>
                    </a:cubicBezTo>
                    <a:cubicBezTo>
                      <a:pt x="1408" y="144"/>
                      <a:pt x="1408" y="144"/>
                      <a:pt x="1408" y="144"/>
                    </a:cubicBezTo>
                    <a:cubicBezTo>
                      <a:pt x="1407" y="145"/>
                      <a:pt x="1407" y="145"/>
                      <a:pt x="1407" y="145"/>
                    </a:cubicBezTo>
                    <a:cubicBezTo>
                      <a:pt x="1405" y="148"/>
                      <a:pt x="1405" y="148"/>
                      <a:pt x="1405" y="148"/>
                    </a:cubicBezTo>
                    <a:cubicBezTo>
                      <a:pt x="1405" y="149"/>
                      <a:pt x="1405" y="149"/>
                      <a:pt x="1405" y="149"/>
                    </a:cubicBezTo>
                    <a:cubicBezTo>
                      <a:pt x="1404" y="149"/>
                      <a:pt x="1404" y="149"/>
                      <a:pt x="1404" y="149"/>
                    </a:cubicBezTo>
                    <a:cubicBezTo>
                      <a:pt x="1404" y="149"/>
                      <a:pt x="1404" y="149"/>
                      <a:pt x="1404" y="149"/>
                    </a:cubicBezTo>
                    <a:cubicBezTo>
                      <a:pt x="1405" y="147"/>
                      <a:pt x="1402" y="147"/>
                      <a:pt x="1404" y="144"/>
                    </a:cubicBezTo>
                    <a:cubicBezTo>
                      <a:pt x="1404" y="144"/>
                      <a:pt x="1404" y="144"/>
                      <a:pt x="1404" y="144"/>
                    </a:cubicBezTo>
                    <a:cubicBezTo>
                      <a:pt x="1404" y="144"/>
                      <a:pt x="1404" y="144"/>
                      <a:pt x="1404" y="144"/>
                    </a:cubicBezTo>
                    <a:cubicBezTo>
                      <a:pt x="1403" y="143"/>
                      <a:pt x="1403" y="143"/>
                      <a:pt x="1403" y="143"/>
                    </a:cubicBezTo>
                    <a:cubicBezTo>
                      <a:pt x="1403" y="143"/>
                      <a:pt x="1403" y="143"/>
                      <a:pt x="1403" y="143"/>
                    </a:cubicBezTo>
                    <a:cubicBezTo>
                      <a:pt x="1399" y="143"/>
                      <a:pt x="1397" y="142"/>
                      <a:pt x="1396" y="142"/>
                    </a:cubicBezTo>
                    <a:cubicBezTo>
                      <a:pt x="1395" y="142"/>
                      <a:pt x="1394" y="142"/>
                      <a:pt x="1394" y="142"/>
                    </a:cubicBezTo>
                    <a:cubicBezTo>
                      <a:pt x="1393" y="142"/>
                      <a:pt x="1392" y="143"/>
                      <a:pt x="1391" y="143"/>
                    </a:cubicBezTo>
                    <a:cubicBezTo>
                      <a:pt x="1390" y="143"/>
                      <a:pt x="1389" y="142"/>
                      <a:pt x="1388" y="142"/>
                    </a:cubicBezTo>
                    <a:cubicBezTo>
                      <a:pt x="1387" y="142"/>
                      <a:pt x="1387" y="142"/>
                      <a:pt x="1387" y="142"/>
                    </a:cubicBezTo>
                    <a:cubicBezTo>
                      <a:pt x="1387" y="142"/>
                      <a:pt x="1387" y="142"/>
                      <a:pt x="1387" y="142"/>
                    </a:cubicBezTo>
                    <a:cubicBezTo>
                      <a:pt x="1386" y="142"/>
                      <a:pt x="1386" y="142"/>
                      <a:pt x="1386" y="142"/>
                    </a:cubicBezTo>
                    <a:cubicBezTo>
                      <a:pt x="1386" y="142"/>
                      <a:pt x="1386" y="142"/>
                      <a:pt x="1386" y="142"/>
                    </a:cubicBezTo>
                    <a:cubicBezTo>
                      <a:pt x="1385" y="142"/>
                      <a:pt x="1385" y="142"/>
                      <a:pt x="1385" y="142"/>
                    </a:cubicBezTo>
                    <a:cubicBezTo>
                      <a:pt x="1384" y="142"/>
                      <a:pt x="1384" y="142"/>
                      <a:pt x="1384" y="142"/>
                    </a:cubicBezTo>
                    <a:cubicBezTo>
                      <a:pt x="1382" y="143"/>
                      <a:pt x="1382" y="143"/>
                      <a:pt x="1382" y="143"/>
                    </a:cubicBezTo>
                    <a:cubicBezTo>
                      <a:pt x="1381" y="143"/>
                      <a:pt x="1381" y="143"/>
                      <a:pt x="1381" y="143"/>
                    </a:cubicBezTo>
                    <a:cubicBezTo>
                      <a:pt x="1381" y="143"/>
                      <a:pt x="1381" y="143"/>
                      <a:pt x="1381" y="143"/>
                    </a:cubicBezTo>
                    <a:cubicBezTo>
                      <a:pt x="1381" y="142"/>
                      <a:pt x="1381" y="142"/>
                      <a:pt x="1381" y="142"/>
                    </a:cubicBezTo>
                    <a:cubicBezTo>
                      <a:pt x="1380" y="142"/>
                      <a:pt x="1380" y="142"/>
                      <a:pt x="1380" y="142"/>
                    </a:cubicBezTo>
                    <a:cubicBezTo>
                      <a:pt x="1380" y="142"/>
                      <a:pt x="1380" y="142"/>
                      <a:pt x="1380" y="142"/>
                    </a:cubicBezTo>
                    <a:cubicBezTo>
                      <a:pt x="1380" y="141"/>
                      <a:pt x="1380" y="141"/>
                      <a:pt x="1380" y="141"/>
                    </a:cubicBezTo>
                    <a:cubicBezTo>
                      <a:pt x="1379" y="141"/>
                      <a:pt x="1379" y="141"/>
                      <a:pt x="1379" y="141"/>
                    </a:cubicBezTo>
                    <a:cubicBezTo>
                      <a:pt x="1379" y="141"/>
                      <a:pt x="1379" y="141"/>
                      <a:pt x="1379" y="141"/>
                    </a:cubicBezTo>
                    <a:cubicBezTo>
                      <a:pt x="1378" y="141"/>
                      <a:pt x="1378" y="141"/>
                      <a:pt x="1378" y="141"/>
                    </a:cubicBezTo>
                    <a:cubicBezTo>
                      <a:pt x="1376" y="140"/>
                      <a:pt x="1374" y="140"/>
                      <a:pt x="1372" y="140"/>
                    </a:cubicBezTo>
                    <a:cubicBezTo>
                      <a:pt x="1371" y="139"/>
                      <a:pt x="1371" y="139"/>
                      <a:pt x="1371" y="139"/>
                    </a:cubicBezTo>
                    <a:cubicBezTo>
                      <a:pt x="1370" y="139"/>
                      <a:pt x="1370" y="139"/>
                      <a:pt x="1370" y="139"/>
                    </a:cubicBezTo>
                    <a:cubicBezTo>
                      <a:pt x="1370" y="139"/>
                      <a:pt x="1370" y="139"/>
                      <a:pt x="1370" y="139"/>
                    </a:cubicBezTo>
                    <a:cubicBezTo>
                      <a:pt x="1369" y="139"/>
                      <a:pt x="1369" y="139"/>
                      <a:pt x="1369" y="139"/>
                    </a:cubicBezTo>
                    <a:cubicBezTo>
                      <a:pt x="1369" y="139"/>
                      <a:pt x="1369" y="139"/>
                      <a:pt x="1369" y="139"/>
                    </a:cubicBezTo>
                    <a:cubicBezTo>
                      <a:pt x="1368" y="138"/>
                      <a:pt x="1368" y="138"/>
                      <a:pt x="1368" y="138"/>
                    </a:cubicBezTo>
                    <a:cubicBezTo>
                      <a:pt x="1364" y="137"/>
                      <a:pt x="1364" y="138"/>
                      <a:pt x="1359" y="135"/>
                    </a:cubicBezTo>
                    <a:cubicBezTo>
                      <a:pt x="1358" y="134"/>
                      <a:pt x="1358" y="134"/>
                      <a:pt x="1358" y="134"/>
                    </a:cubicBezTo>
                    <a:cubicBezTo>
                      <a:pt x="1357" y="134"/>
                      <a:pt x="1357" y="134"/>
                      <a:pt x="1357" y="134"/>
                    </a:cubicBezTo>
                    <a:cubicBezTo>
                      <a:pt x="1356" y="133"/>
                      <a:pt x="1357" y="132"/>
                      <a:pt x="1356" y="130"/>
                    </a:cubicBezTo>
                    <a:cubicBezTo>
                      <a:pt x="1357" y="130"/>
                      <a:pt x="1357" y="130"/>
                      <a:pt x="1357" y="130"/>
                    </a:cubicBezTo>
                    <a:cubicBezTo>
                      <a:pt x="1357" y="129"/>
                      <a:pt x="1357" y="129"/>
                      <a:pt x="1357" y="129"/>
                    </a:cubicBezTo>
                    <a:cubicBezTo>
                      <a:pt x="1358" y="129"/>
                      <a:pt x="1358" y="129"/>
                      <a:pt x="1358" y="129"/>
                    </a:cubicBezTo>
                    <a:cubicBezTo>
                      <a:pt x="1358" y="129"/>
                      <a:pt x="1358" y="129"/>
                      <a:pt x="1358" y="129"/>
                    </a:cubicBezTo>
                    <a:cubicBezTo>
                      <a:pt x="1359" y="129"/>
                      <a:pt x="1359" y="129"/>
                      <a:pt x="1359" y="129"/>
                    </a:cubicBezTo>
                    <a:cubicBezTo>
                      <a:pt x="1359" y="129"/>
                      <a:pt x="1359" y="129"/>
                      <a:pt x="1359" y="129"/>
                    </a:cubicBezTo>
                    <a:cubicBezTo>
                      <a:pt x="1360" y="129"/>
                      <a:pt x="1360" y="129"/>
                      <a:pt x="1360" y="129"/>
                    </a:cubicBezTo>
                    <a:cubicBezTo>
                      <a:pt x="1360" y="129"/>
                      <a:pt x="1360" y="129"/>
                      <a:pt x="1360" y="129"/>
                    </a:cubicBezTo>
                    <a:cubicBezTo>
                      <a:pt x="1361" y="130"/>
                      <a:pt x="1361" y="130"/>
                      <a:pt x="1361" y="130"/>
                    </a:cubicBezTo>
                    <a:cubicBezTo>
                      <a:pt x="1361" y="130"/>
                      <a:pt x="1361" y="130"/>
                      <a:pt x="1361" y="130"/>
                    </a:cubicBezTo>
                    <a:cubicBezTo>
                      <a:pt x="1362" y="129"/>
                      <a:pt x="1362" y="129"/>
                      <a:pt x="1362" y="129"/>
                    </a:cubicBezTo>
                    <a:cubicBezTo>
                      <a:pt x="1362" y="129"/>
                      <a:pt x="1362" y="129"/>
                      <a:pt x="1362" y="129"/>
                    </a:cubicBezTo>
                    <a:cubicBezTo>
                      <a:pt x="1362" y="129"/>
                      <a:pt x="1362" y="129"/>
                      <a:pt x="1362" y="129"/>
                    </a:cubicBezTo>
                    <a:cubicBezTo>
                      <a:pt x="1362" y="129"/>
                      <a:pt x="1362" y="129"/>
                      <a:pt x="1362" y="129"/>
                    </a:cubicBezTo>
                    <a:cubicBezTo>
                      <a:pt x="1362" y="128"/>
                      <a:pt x="1362" y="128"/>
                      <a:pt x="1362" y="128"/>
                    </a:cubicBezTo>
                    <a:cubicBezTo>
                      <a:pt x="1362" y="128"/>
                      <a:pt x="1362" y="128"/>
                      <a:pt x="1362" y="128"/>
                    </a:cubicBezTo>
                    <a:cubicBezTo>
                      <a:pt x="1362" y="128"/>
                      <a:pt x="1362" y="128"/>
                      <a:pt x="1362" y="128"/>
                    </a:cubicBezTo>
                    <a:cubicBezTo>
                      <a:pt x="1362" y="126"/>
                      <a:pt x="1367" y="126"/>
                      <a:pt x="1363" y="124"/>
                    </a:cubicBezTo>
                    <a:cubicBezTo>
                      <a:pt x="1361" y="122"/>
                      <a:pt x="1361" y="122"/>
                      <a:pt x="1361" y="122"/>
                    </a:cubicBezTo>
                    <a:cubicBezTo>
                      <a:pt x="1361" y="121"/>
                      <a:pt x="1361" y="121"/>
                      <a:pt x="1361" y="121"/>
                    </a:cubicBezTo>
                    <a:cubicBezTo>
                      <a:pt x="1361" y="121"/>
                      <a:pt x="1361" y="121"/>
                      <a:pt x="1361" y="121"/>
                    </a:cubicBezTo>
                    <a:cubicBezTo>
                      <a:pt x="1361" y="121"/>
                      <a:pt x="1361" y="121"/>
                      <a:pt x="1361" y="121"/>
                    </a:cubicBezTo>
                    <a:cubicBezTo>
                      <a:pt x="1362" y="121"/>
                      <a:pt x="1362" y="121"/>
                      <a:pt x="1362" y="121"/>
                    </a:cubicBezTo>
                    <a:cubicBezTo>
                      <a:pt x="1362" y="121"/>
                      <a:pt x="1362" y="121"/>
                      <a:pt x="1362" y="121"/>
                    </a:cubicBezTo>
                    <a:cubicBezTo>
                      <a:pt x="1363" y="120"/>
                      <a:pt x="1363" y="120"/>
                      <a:pt x="1363" y="120"/>
                    </a:cubicBezTo>
                    <a:cubicBezTo>
                      <a:pt x="1363" y="120"/>
                      <a:pt x="1363" y="120"/>
                      <a:pt x="1363" y="120"/>
                    </a:cubicBezTo>
                    <a:cubicBezTo>
                      <a:pt x="1364" y="120"/>
                      <a:pt x="1364" y="120"/>
                      <a:pt x="1364" y="120"/>
                    </a:cubicBezTo>
                    <a:cubicBezTo>
                      <a:pt x="1364" y="120"/>
                      <a:pt x="1364" y="120"/>
                      <a:pt x="1364" y="120"/>
                    </a:cubicBezTo>
                    <a:cubicBezTo>
                      <a:pt x="1363" y="119"/>
                      <a:pt x="1363" y="119"/>
                      <a:pt x="1363" y="119"/>
                    </a:cubicBezTo>
                    <a:cubicBezTo>
                      <a:pt x="1362" y="118"/>
                      <a:pt x="1362" y="118"/>
                      <a:pt x="1362" y="118"/>
                    </a:cubicBezTo>
                    <a:cubicBezTo>
                      <a:pt x="1359" y="116"/>
                      <a:pt x="1359" y="116"/>
                      <a:pt x="1359" y="116"/>
                    </a:cubicBezTo>
                    <a:cubicBezTo>
                      <a:pt x="1358" y="115"/>
                      <a:pt x="1358" y="115"/>
                      <a:pt x="1358" y="115"/>
                    </a:cubicBezTo>
                    <a:cubicBezTo>
                      <a:pt x="1357" y="114"/>
                      <a:pt x="1357" y="114"/>
                      <a:pt x="1357" y="114"/>
                    </a:cubicBezTo>
                    <a:cubicBezTo>
                      <a:pt x="1357" y="114"/>
                      <a:pt x="1357" y="114"/>
                      <a:pt x="1357" y="114"/>
                    </a:cubicBezTo>
                    <a:cubicBezTo>
                      <a:pt x="1357" y="114"/>
                      <a:pt x="1357" y="114"/>
                      <a:pt x="1357" y="114"/>
                    </a:cubicBezTo>
                    <a:cubicBezTo>
                      <a:pt x="1357" y="113"/>
                      <a:pt x="1357" y="113"/>
                      <a:pt x="1357" y="113"/>
                    </a:cubicBezTo>
                    <a:cubicBezTo>
                      <a:pt x="1357" y="113"/>
                      <a:pt x="1357" y="113"/>
                      <a:pt x="1357" y="113"/>
                    </a:cubicBezTo>
                    <a:cubicBezTo>
                      <a:pt x="1357" y="113"/>
                      <a:pt x="1357" y="113"/>
                      <a:pt x="1357" y="113"/>
                    </a:cubicBezTo>
                    <a:cubicBezTo>
                      <a:pt x="1356" y="113"/>
                      <a:pt x="1356" y="113"/>
                      <a:pt x="1356" y="113"/>
                    </a:cubicBezTo>
                    <a:cubicBezTo>
                      <a:pt x="1356" y="112"/>
                      <a:pt x="1356" y="112"/>
                      <a:pt x="1356" y="112"/>
                    </a:cubicBezTo>
                    <a:cubicBezTo>
                      <a:pt x="1356" y="112"/>
                      <a:pt x="1356" y="112"/>
                      <a:pt x="1356" y="112"/>
                    </a:cubicBezTo>
                    <a:cubicBezTo>
                      <a:pt x="1356" y="112"/>
                      <a:pt x="1356" y="112"/>
                      <a:pt x="1356" y="112"/>
                    </a:cubicBezTo>
                    <a:cubicBezTo>
                      <a:pt x="1356" y="111"/>
                      <a:pt x="1356" y="111"/>
                      <a:pt x="1356" y="111"/>
                    </a:cubicBezTo>
                    <a:cubicBezTo>
                      <a:pt x="1356" y="111"/>
                      <a:pt x="1356" y="111"/>
                      <a:pt x="1356" y="111"/>
                    </a:cubicBezTo>
                    <a:cubicBezTo>
                      <a:pt x="1356" y="111"/>
                      <a:pt x="1356" y="111"/>
                      <a:pt x="1356" y="111"/>
                    </a:cubicBezTo>
                    <a:cubicBezTo>
                      <a:pt x="1356" y="110"/>
                      <a:pt x="1356" y="110"/>
                      <a:pt x="1356" y="110"/>
                    </a:cubicBezTo>
                    <a:cubicBezTo>
                      <a:pt x="1356" y="110"/>
                      <a:pt x="1356" y="110"/>
                      <a:pt x="1356" y="110"/>
                    </a:cubicBezTo>
                    <a:cubicBezTo>
                      <a:pt x="1356" y="108"/>
                      <a:pt x="1358" y="107"/>
                      <a:pt x="1358" y="106"/>
                    </a:cubicBezTo>
                    <a:cubicBezTo>
                      <a:pt x="1357" y="105"/>
                      <a:pt x="1357" y="105"/>
                      <a:pt x="1357" y="105"/>
                    </a:cubicBezTo>
                    <a:cubicBezTo>
                      <a:pt x="1357" y="105"/>
                      <a:pt x="1357" y="105"/>
                      <a:pt x="1357" y="105"/>
                    </a:cubicBezTo>
                    <a:cubicBezTo>
                      <a:pt x="1357" y="104"/>
                      <a:pt x="1357" y="104"/>
                      <a:pt x="1357" y="104"/>
                    </a:cubicBezTo>
                    <a:cubicBezTo>
                      <a:pt x="1357" y="104"/>
                      <a:pt x="1357" y="104"/>
                      <a:pt x="1357" y="104"/>
                    </a:cubicBezTo>
                    <a:cubicBezTo>
                      <a:pt x="1357" y="104"/>
                      <a:pt x="1357" y="104"/>
                      <a:pt x="1357" y="104"/>
                    </a:cubicBezTo>
                    <a:cubicBezTo>
                      <a:pt x="1357" y="103"/>
                      <a:pt x="1357" y="103"/>
                      <a:pt x="1357" y="103"/>
                    </a:cubicBezTo>
                    <a:cubicBezTo>
                      <a:pt x="1358" y="103"/>
                      <a:pt x="1358" y="103"/>
                      <a:pt x="1358" y="103"/>
                    </a:cubicBezTo>
                    <a:cubicBezTo>
                      <a:pt x="1358" y="103"/>
                      <a:pt x="1358" y="103"/>
                      <a:pt x="1358" y="103"/>
                    </a:cubicBezTo>
                    <a:cubicBezTo>
                      <a:pt x="1359" y="103"/>
                      <a:pt x="1359" y="103"/>
                      <a:pt x="1359" y="103"/>
                    </a:cubicBezTo>
                    <a:cubicBezTo>
                      <a:pt x="1359" y="103"/>
                      <a:pt x="1359" y="103"/>
                      <a:pt x="1359" y="103"/>
                    </a:cubicBezTo>
                    <a:cubicBezTo>
                      <a:pt x="1360" y="103"/>
                      <a:pt x="1360" y="103"/>
                      <a:pt x="1360" y="103"/>
                    </a:cubicBezTo>
                    <a:cubicBezTo>
                      <a:pt x="1361" y="103"/>
                      <a:pt x="1361" y="103"/>
                      <a:pt x="1361" y="103"/>
                    </a:cubicBezTo>
                    <a:cubicBezTo>
                      <a:pt x="1361" y="103"/>
                      <a:pt x="1361" y="103"/>
                      <a:pt x="1361" y="103"/>
                    </a:cubicBezTo>
                    <a:cubicBezTo>
                      <a:pt x="1362" y="102"/>
                      <a:pt x="1362" y="102"/>
                      <a:pt x="1362" y="102"/>
                    </a:cubicBezTo>
                    <a:cubicBezTo>
                      <a:pt x="1362" y="102"/>
                      <a:pt x="1362" y="102"/>
                      <a:pt x="1362" y="102"/>
                    </a:cubicBezTo>
                    <a:cubicBezTo>
                      <a:pt x="1362" y="102"/>
                      <a:pt x="1362" y="102"/>
                      <a:pt x="1362" y="102"/>
                    </a:cubicBezTo>
                    <a:cubicBezTo>
                      <a:pt x="1362" y="101"/>
                      <a:pt x="1362" y="101"/>
                      <a:pt x="1362" y="101"/>
                    </a:cubicBezTo>
                    <a:cubicBezTo>
                      <a:pt x="1362" y="101"/>
                      <a:pt x="1362" y="101"/>
                      <a:pt x="1362" y="101"/>
                    </a:cubicBezTo>
                    <a:cubicBezTo>
                      <a:pt x="1362" y="101"/>
                      <a:pt x="1362" y="101"/>
                      <a:pt x="1362" y="101"/>
                    </a:cubicBezTo>
                    <a:cubicBezTo>
                      <a:pt x="1362" y="101"/>
                      <a:pt x="1362" y="101"/>
                      <a:pt x="1362" y="101"/>
                    </a:cubicBezTo>
                    <a:cubicBezTo>
                      <a:pt x="1362" y="101"/>
                      <a:pt x="1362" y="101"/>
                      <a:pt x="1362" y="101"/>
                    </a:cubicBezTo>
                    <a:cubicBezTo>
                      <a:pt x="1362" y="100"/>
                      <a:pt x="1362" y="100"/>
                      <a:pt x="1362" y="100"/>
                    </a:cubicBezTo>
                    <a:cubicBezTo>
                      <a:pt x="1362" y="100"/>
                      <a:pt x="1362" y="100"/>
                      <a:pt x="1362" y="100"/>
                    </a:cubicBezTo>
                    <a:cubicBezTo>
                      <a:pt x="1362" y="100"/>
                      <a:pt x="1362" y="100"/>
                      <a:pt x="1362" y="100"/>
                    </a:cubicBezTo>
                    <a:cubicBezTo>
                      <a:pt x="1362" y="99"/>
                      <a:pt x="1362" y="99"/>
                      <a:pt x="1362" y="99"/>
                    </a:cubicBezTo>
                    <a:cubicBezTo>
                      <a:pt x="1362" y="99"/>
                      <a:pt x="1362" y="99"/>
                      <a:pt x="1362" y="99"/>
                    </a:cubicBezTo>
                    <a:cubicBezTo>
                      <a:pt x="1362" y="98"/>
                      <a:pt x="1363" y="98"/>
                      <a:pt x="1364" y="97"/>
                    </a:cubicBezTo>
                    <a:cubicBezTo>
                      <a:pt x="1364" y="97"/>
                      <a:pt x="1364" y="97"/>
                      <a:pt x="1364" y="97"/>
                    </a:cubicBezTo>
                    <a:cubicBezTo>
                      <a:pt x="1364" y="97"/>
                      <a:pt x="1364" y="97"/>
                      <a:pt x="1364" y="97"/>
                    </a:cubicBezTo>
                    <a:cubicBezTo>
                      <a:pt x="1365" y="96"/>
                      <a:pt x="1365" y="96"/>
                      <a:pt x="1365" y="96"/>
                    </a:cubicBezTo>
                    <a:cubicBezTo>
                      <a:pt x="1365" y="96"/>
                      <a:pt x="1365" y="96"/>
                      <a:pt x="1365" y="96"/>
                    </a:cubicBezTo>
                    <a:cubicBezTo>
                      <a:pt x="1365" y="95"/>
                      <a:pt x="1365" y="95"/>
                      <a:pt x="1365" y="95"/>
                    </a:cubicBezTo>
                    <a:cubicBezTo>
                      <a:pt x="1364" y="95"/>
                      <a:pt x="1364" y="95"/>
                      <a:pt x="1364" y="95"/>
                    </a:cubicBezTo>
                    <a:cubicBezTo>
                      <a:pt x="1364" y="95"/>
                      <a:pt x="1364" y="95"/>
                      <a:pt x="1364" y="95"/>
                    </a:cubicBezTo>
                    <a:cubicBezTo>
                      <a:pt x="1364" y="94"/>
                      <a:pt x="1364" y="94"/>
                      <a:pt x="1364" y="94"/>
                    </a:cubicBezTo>
                    <a:cubicBezTo>
                      <a:pt x="1364" y="94"/>
                      <a:pt x="1364" y="94"/>
                      <a:pt x="1364" y="94"/>
                    </a:cubicBezTo>
                    <a:cubicBezTo>
                      <a:pt x="1364" y="93"/>
                      <a:pt x="1364" y="93"/>
                      <a:pt x="1364" y="93"/>
                    </a:cubicBezTo>
                    <a:cubicBezTo>
                      <a:pt x="1364" y="93"/>
                      <a:pt x="1364" y="93"/>
                      <a:pt x="1364" y="93"/>
                    </a:cubicBezTo>
                    <a:cubicBezTo>
                      <a:pt x="1365" y="93"/>
                      <a:pt x="1365" y="93"/>
                      <a:pt x="1365" y="93"/>
                    </a:cubicBezTo>
                    <a:cubicBezTo>
                      <a:pt x="1365" y="92"/>
                      <a:pt x="1365" y="92"/>
                      <a:pt x="1366" y="91"/>
                    </a:cubicBezTo>
                    <a:cubicBezTo>
                      <a:pt x="1366" y="90"/>
                      <a:pt x="1366" y="90"/>
                      <a:pt x="1366" y="90"/>
                    </a:cubicBezTo>
                    <a:cubicBezTo>
                      <a:pt x="1366" y="90"/>
                      <a:pt x="1366" y="90"/>
                      <a:pt x="1366" y="90"/>
                    </a:cubicBezTo>
                    <a:cubicBezTo>
                      <a:pt x="1367" y="90"/>
                      <a:pt x="1367" y="90"/>
                      <a:pt x="1367" y="90"/>
                    </a:cubicBezTo>
                    <a:cubicBezTo>
                      <a:pt x="1367" y="89"/>
                      <a:pt x="1368" y="88"/>
                      <a:pt x="1369" y="88"/>
                    </a:cubicBezTo>
                    <a:cubicBezTo>
                      <a:pt x="1369" y="88"/>
                      <a:pt x="1369" y="88"/>
                      <a:pt x="1369" y="88"/>
                    </a:cubicBezTo>
                    <a:cubicBezTo>
                      <a:pt x="1370" y="88"/>
                      <a:pt x="1370" y="88"/>
                      <a:pt x="1370" y="88"/>
                    </a:cubicBezTo>
                    <a:cubicBezTo>
                      <a:pt x="1370" y="87"/>
                      <a:pt x="1370" y="87"/>
                      <a:pt x="1370" y="87"/>
                    </a:cubicBezTo>
                    <a:cubicBezTo>
                      <a:pt x="1370" y="87"/>
                      <a:pt x="1370" y="87"/>
                      <a:pt x="1370" y="87"/>
                    </a:cubicBezTo>
                    <a:cubicBezTo>
                      <a:pt x="1371" y="87"/>
                      <a:pt x="1371" y="87"/>
                      <a:pt x="1371" y="87"/>
                    </a:cubicBezTo>
                    <a:cubicBezTo>
                      <a:pt x="1371" y="86"/>
                      <a:pt x="1371" y="86"/>
                      <a:pt x="1371" y="86"/>
                    </a:cubicBezTo>
                    <a:cubicBezTo>
                      <a:pt x="1371" y="86"/>
                      <a:pt x="1371" y="86"/>
                      <a:pt x="1371" y="86"/>
                    </a:cubicBezTo>
                    <a:cubicBezTo>
                      <a:pt x="1370" y="85"/>
                      <a:pt x="1370" y="85"/>
                      <a:pt x="1370" y="85"/>
                    </a:cubicBezTo>
                    <a:cubicBezTo>
                      <a:pt x="1369" y="84"/>
                      <a:pt x="1369" y="84"/>
                      <a:pt x="1369" y="84"/>
                    </a:cubicBezTo>
                    <a:cubicBezTo>
                      <a:pt x="1369" y="84"/>
                      <a:pt x="1369" y="84"/>
                      <a:pt x="1369" y="84"/>
                    </a:cubicBezTo>
                    <a:cubicBezTo>
                      <a:pt x="1369" y="83"/>
                      <a:pt x="1369" y="83"/>
                      <a:pt x="1369" y="83"/>
                    </a:cubicBezTo>
                    <a:cubicBezTo>
                      <a:pt x="1369" y="83"/>
                      <a:pt x="1369" y="83"/>
                      <a:pt x="1369" y="83"/>
                    </a:cubicBezTo>
                    <a:cubicBezTo>
                      <a:pt x="1369" y="83"/>
                      <a:pt x="1369" y="83"/>
                      <a:pt x="1369" y="83"/>
                    </a:cubicBezTo>
                    <a:cubicBezTo>
                      <a:pt x="1369" y="82"/>
                      <a:pt x="1369" y="82"/>
                      <a:pt x="1369" y="82"/>
                    </a:cubicBezTo>
                    <a:cubicBezTo>
                      <a:pt x="1368" y="82"/>
                      <a:pt x="1368" y="82"/>
                      <a:pt x="1368" y="82"/>
                    </a:cubicBezTo>
                    <a:cubicBezTo>
                      <a:pt x="1368" y="81"/>
                      <a:pt x="1368" y="81"/>
                      <a:pt x="1368" y="81"/>
                    </a:cubicBezTo>
                    <a:cubicBezTo>
                      <a:pt x="1368" y="81"/>
                      <a:pt x="1368" y="81"/>
                      <a:pt x="1368" y="81"/>
                    </a:cubicBezTo>
                    <a:cubicBezTo>
                      <a:pt x="1368" y="81"/>
                      <a:pt x="1368" y="81"/>
                      <a:pt x="1368" y="81"/>
                    </a:cubicBezTo>
                    <a:cubicBezTo>
                      <a:pt x="1368" y="80"/>
                      <a:pt x="1368" y="80"/>
                      <a:pt x="1368" y="80"/>
                    </a:cubicBezTo>
                    <a:cubicBezTo>
                      <a:pt x="1368" y="80"/>
                      <a:pt x="1368" y="80"/>
                      <a:pt x="1368" y="80"/>
                    </a:cubicBezTo>
                    <a:cubicBezTo>
                      <a:pt x="1368" y="79"/>
                      <a:pt x="1368" y="79"/>
                      <a:pt x="1368" y="79"/>
                    </a:cubicBezTo>
                    <a:cubicBezTo>
                      <a:pt x="1368" y="79"/>
                      <a:pt x="1368" y="79"/>
                      <a:pt x="1368" y="79"/>
                    </a:cubicBezTo>
                    <a:cubicBezTo>
                      <a:pt x="1367" y="79"/>
                      <a:pt x="1367" y="79"/>
                      <a:pt x="1367" y="79"/>
                    </a:cubicBezTo>
                    <a:cubicBezTo>
                      <a:pt x="1367" y="78"/>
                      <a:pt x="1367" y="78"/>
                      <a:pt x="1367" y="78"/>
                    </a:cubicBezTo>
                    <a:cubicBezTo>
                      <a:pt x="1367" y="78"/>
                      <a:pt x="1367" y="78"/>
                      <a:pt x="1367" y="78"/>
                    </a:cubicBezTo>
                    <a:cubicBezTo>
                      <a:pt x="1367" y="78"/>
                      <a:pt x="1367" y="78"/>
                      <a:pt x="1367" y="78"/>
                    </a:cubicBezTo>
                    <a:cubicBezTo>
                      <a:pt x="1367" y="78"/>
                      <a:pt x="1367" y="78"/>
                      <a:pt x="1367" y="78"/>
                    </a:cubicBezTo>
                    <a:cubicBezTo>
                      <a:pt x="1367" y="77"/>
                      <a:pt x="1367" y="77"/>
                      <a:pt x="1367" y="77"/>
                    </a:cubicBezTo>
                    <a:cubicBezTo>
                      <a:pt x="1366" y="77"/>
                      <a:pt x="1366" y="77"/>
                      <a:pt x="1366" y="77"/>
                    </a:cubicBezTo>
                    <a:cubicBezTo>
                      <a:pt x="1366" y="77"/>
                      <a:pt x="1366" y="77"/>
                      <a:pt x="1366" y="77"/>
                    </a:cubicBezTo>
                    <a:cubicBezTo>
                      <a:pt x="1366" y="76"/>
                      <a:pt x="1366" y="76"/>
                      <a:pt x="1366" y="76"/>
                    </a:cubicBezTo>
                    <a:cubicBezTo>
                      <a:pt x="1366" y="76"/>
                      <a:pt x="1366" y="76"/>
                      <a:pt x="1366" y="76"/>
                    </a:cubicBezTo>
                    <a:cubicBezTo>
                      <a:pt x="1366" y="76"/>
                      <a:pt x="1366" y="76"/>
                      <a:pt x="1366" y="76"/>
                    </a:cubicBezTo>
                    <a:cubicBezTo>
                      <a:pt x="1366" y="75"/>
                      <a:pt x="1366" y="75"/>
                      <a:pt x="1366" y="75"/>
                    </a:cubicBezTo>
                    <a:cubicBezTo>
                      <a:pt x="1365" y="75"/>
                      <a:pt x="1365" y="75"/>
                      <a:pt x="1365" y="75"/>
                    </a:cubicBezTo>
                    <a:cubicBezTo>
                      <a:pt x="1365" y="75"/>
                      <a:pt x="1365" y="75"/>
                      <a:pt x="1365" y="75"/>
                    </a:cubicBezTo>
                    <a:cubicBezTo>
                      <a:pt x="1366" y="74"/>
                      <a:pt x="1366" y="74"/>
                      <a:pt x="1366" y="74"/>
                    </a:cubicBezTo>
                    <a:cubicBezTo>
                      <a:pt x="1366" y="74"/>
                      <a:pt x="1366" y="74"/>
                      <a:pt x="1366" y="74"/>
                    </a:cubicBezTo>
                    <a:cubicBezTo>
                      <a:pt x="1366" y="74"/>
                      <a:pt x="1366" y="74"/>
                      <a:pt x="1366" y="74"/>
                    </a:cubicBezTo>
                    <a:cubicBezTo>
                      <a:pt x="1364" y="71"/>
                      <a:pt x="1364" y="71"/>
                      <a:pt x="1364" y="71"/>
                    </a:cubicBezTo>
                    <a:cubicBezTo>
                      <a:pt x="1361" y="68"/>
                      <a:pt x="1361" y="68"/>
                      <a:pt x="1361" y="68"/>
                    </a:cubicBezTo>
                    <a:cubicBezTo>
                      <a:pt x="1353" y="59"/>
                      <a:pt x="1353" y="59"/>
                      <a:pt x="1353" y="59"/>
                    </a:cubicBezTo>
                    <a:cubicBezTo>
                      <a:pt x="1350" y="56"/>
                      <a:pt x="1350" y="56"/>
                      <a:pt x="1350" y="56"/>
                    </a:cubicBezTo>
                    <a:cubicBezTo>
                      <a:pt x="1348" y="54"/>
                      <a:pt x="1348" y="54"/>
                      <a:pt x="1348" y="54"/>
                    </a:cubicBezTo>
                    <a:cubicBezTo>
                      <a:pt x="1348" y="55"/>
                      <a:pt x="1348" y="55"/>
                      <a:pt x="1348" y="55"/>
                    </a:cubicBezTo>
                    <a:cubicBezTo>
                      <a:pt x="1347" y="55"/>
                      <a:pt x="1347" y="55"/>
                      <a:pt x="1347" y="55"/>
                    </a:cubicBezTo>
                    <a:cubicBezTo>
                      <a:pt x="1347" y="55"/>
                      <a:pt x="1347" y="55"/>
                      <a:pt x="1347" y="55"/>
                    </a:cubicBezTo>
                    <a:cubicBezTo>
                      <a:pt x="1346" y="55"/>
                      <a:pt x="1346" y="55"/>
                      <a:pt x="1346" y="55"/>
                    </a:cubicBezTo>
                    <a:cubicBezTo>
                      <a:pt x="1345" y="56"/>
                      <a:pt x="1345" y="56"/>
                      <a:pt x="1345" y="56"/>
                    </a:cubicBezTo>
                    <a:cubicBezTo>
                      <a:pt x="1344" y="57"/>
                      <a:pt x="1341" y="57"/>
                      <a:pt x="1344" y="59"/>
                    </a:cubicBezTo>
                    <a:cubicBezTo>
                      <a:pt x="1344" y="59"/>
                      <a:pt x="1344" y="59"/>
                      <a:pt x="1344" y="59"/>
                    </a:cubicBezTo>
                    <a:cubicBezTo>
                      <a:pt x="1344" y="59"/>
                      <a:pt x="1344" y="59"/>
                      <a:pt x="1344" y="59"/>
                    </a:cubicBezTo>
                    <a:cubicBezTo>
                      <a:pt x="1346" y="60"/>
                      <a:pt x="1346" y="61"/>
                      <a:pt x="1347" y="62"/>
                    </a:cubicBezTo>
                    <a:cubicBezTo>
                      <a:pt x="1348" y="63"/>
                      <a:pt x="1348" y="63"/>
                      <a:pt x="1348" y="63"/>
                    </a:cubicBezTo>
                    <a:cubicBezTo>
                      <a:pt x="1348" y="63"/>
                      <a:pt x="1348" y="63"/>
                      <a:pt x="1348" y="63"/>
                    </a:cubicBezTo>
                    <a:cubicBezTo>
                      <a:pt x="1348" y="63"/>
                      <a:pt x="1348" y="63"/>
                      <a:pt x="1348" y="63"/>
                    </a:cubicBezTo>
                    <a:cubicBezTo>
                      <a:pt x="1349" y="64"/>
                      <a:pt x="1349" y="64"/>
                      <a:pt x="1349" y="64"/>
                    </a:cubicBezTo>
                    <a:cubicBezTo>
                      <a:pt x="1349" y="65"/>
                      <a:pt x="1350" y="66"/>
                      <a:pt x="1351" y="67"/>
                    </a:cubicBezTo>
                    <a:cubicBezTo>
                      <a:pt x="1351" y="67"/>
                      <a:pt x="1351" y="67"/>
                      <a:pt x="1351" y="67"/>
                    </a:cubicBezTo>
                    <a:cubicBezTo>
                      <a:pt x="1351" y="67"/>
                      <a:pt x="1351" y="67"/>
                      <a:pt x="1351" y="67"/>
                    </a:cubicBezTo>
                    <a:cubicBezTo>
                      <a:pt x="1351" y="69"/>
                      <a:pt x="1352" y="69"/>
                      <a:pt x="1351" y="71"/>
                    </a:cubicBezTo>
                    <a:cubicBezTo>
                      <a:pt x="1351" y="72"/>
                      <a:pt x="1351" y="72"/>
                      <a:pt x="1351" y="72"/>
                    </a:cubicBezTo>
                    <a:cubicBezTo>
                      <a:pt x="1351" y="72"/>
                      <a:pt x="1351" y="72"/>
                      <a:pt x="1351" y="72"/>
                    </a:cubicBezTo>
                    <a:cubicBezTo>
                      <a:pt x="1352" y="75"/>
                      <a:pt x="1353" y="77"/>
                      <a:pt x="1353" y="80"/>
                    </a:cubicBezTo>
                    <a:cubicBezTo>
                      <a:pt x="1353" y="81"/>
                      <a:pt x="1353" y="81"/>
                      <a:pt x="1353" y="81"/>
                    </a:cubicBezTo>
                    <a:cubicBezTo>
                      <a:pt x="1353" y="81"/>
                      <a:pt x="1353" y="81"/>
                      <a:pt x="1353" y="81"/>
                    </a:cubicBezTo>
                    <a:cubicBezTo>
                      <a:pt x="1353" y="82"/>
                      <a:pt x="1353" y="83"/>
                      <a:pt x="1353" y="84"/>
                    </a:cubicBezTo>
                    <a:cubicBezTo>
                      <a:pt x="1353" y="85"/>
                      <a:pt x="1353" y="85"/>
                      <a:pt x="1353" y="85"/>
                    </a:cubicBezTo>
                    <a:cubicBezTo>
                      <a:pt x="1353" y="85"/>
                      <a:pt x="1353" y="85"/>
                      <a:pt x="1353" y="85"/>
                    </a:cubicBezTo>
                    <a:cubicBezTo>
                      <a:pt x="1352" y="86"/>
                      <a:pt x="1352" y="87"/>
                      <a:pt x="1352" y="88"/>
                    </a:cubicBezTo>
                    <a:cubicBezTo>
                      <a:pt x="1352" y="89"/>
                      <a:pt x="1352" y="89"/>
                      <a:pt x="1352" y="89"/>
                    </a:cubicBezTo>
                    <a:cubicBezTo>
                      <a:pt x="1352" y="90"/>
                      <a:pt x="1352" y="90"/>
                      <a:pt x="1352" y="90"/>
                    </a:cubicBezTo>
                    <a:cubicBezTo>
                      <a:pt x="1351" y="90"/>
                      <a:pt x="1351" y="90"/>
                      <a:pt x="1351" y="90"/>
                    </a:cubicBezTo>
                    <a:cubicBezTo>
                      <a:pt x="1351" y="90"/>
                      <a:pt x="1351" y="90"/>
                      <a:pt x="1351" y="90"/>
                    </a:cubicBezTo>
                    <a:cubicBezTo>
                      <a:pt x="1351" y="91"/>
                      <a:pt x="1351" y="91"/>
                      <a:pt x="1351" y="91"/>
                    </a:cubicBezTo>
                    <a:cubicBezTo>
                      <a:pt x="1348" y="96"/>
                      <a:pt x="1349" y="95"/>
                      <a:pt x="1343" y="98"/>
                    </a:cubicBezTo>
                    <a:cubicBezTo>
                      <a:pt x="1342" y="98"/>
                      <a:pt x="1342" y="98"/>
                      <a:pt x="1342" y="98"/>
                    </a:cubicBezTo>
                    <a:cubicBezTo>
                      <a:pt x="1342" y="98"/>
                      <a:pt x="1342" y="98"/>
                      <a:pt x="1342" y="98"/>
                    </a:cubicBezTo>
                    <a:cubicBezTo>
                      <a:pt x="1341" y="98"/>
                      <a:pt x="1341" y="98"/>
                      <a:pt x="1341" y="98"/>
                    </a:cubicBezTo>
                    <a:cubicBezTo>
                      <a:pt x="1339" y="99"/>
                      <a:pt x="1338" y="100"/>
                      <a:pt x="1336" y="101"/>
                    </a:cubicBezTo>
                    <a:cubicBezTo>
                      <a:pt x="1335" y="101"/>
                      <a:pt x="1335" y="101"/>
                      <a:pt x="1335" y="101"/>
                    </a:cubicBezTo>
                    <a:cubicBezTo>
                      <a:pt x="1334" y="101"/>
                      <a:pt x="1334" y="101"/>
                      <a:pt x="1334" y="101"/>
                    </a:cubicBezTo>
                    <a:cubicBezTo>
                      <a:pt x="1328" y="103"/>
                      <a:pt x="1322" y="105"/>
                      <a:pt x="1316" y="107"/>
                    </a:cubicBezTo>
                    <a:cubicBezTo>
                      <a:pt x="1316" y="107"/>
                      <a:pt x="1316" y="107"/>
                      <a:pt x="1316" y="107"/>
                    </a:cubicBezTo>
                    <a:cubicBezTo>
                      <a:pt x="1315" y="107"/>
                      <a:pt x="1315" y="107"/>
                      <a:pt x="1315" y="107"/>
                    </a:cubicBezTo>
                    <a:cubicBezTo>
                      <a:pt x="1315" y="107"/>
                      <a:pt x="1315" y="107"/>
                      <a:pt x="1315" y="107"/>
                    </a:cubicBezTo>
                    <a:cubicBezTo>
                      <a:pt x="1314" y="107"/>
                      <a:pt x="1314" y="107"/>
                      <a:pt x="1314" y="107"/>
                    </a:cubicBezTo>
                    <a:cubicBezTo>
                      <a:pt x="1314" y="108"/>
                      <a:pt x="1314" y="108"/>
                      <a:pt x="1314" y="108"/>
                    </a:cubicBezTo>
                    <a:cubicBezTo>
                      <a:pt x="1313" y="108"/>
                      <a:pt x="1313" y="108"/>
                      <a:pt x="1313" y="108"/>
                    </a:cubicBezTo>
                    <a:cubicBezTo>
                      <a:pt x="1312" y="109"/>
                      <a:pt x="1309" y="109"/>
                      <a:pt x="1308" y="110"/>
                    </a:cubicBezTo>
                    <a:cubicBezTo>
                      <a:pt x="1308" y="111"/>
                      <a:pt x="1308" y="111"/>
                      <a:pt x="1308" y="111"/>
                    </a:cubicBezTo>
                    <a:cubicBezTo>
                      <a:pt x="1307" y="111"/>
                      <a:pt x="1307" y="111"/>
                      <a:pt x="1307" y="111"/>
                    </a:cubicBezTo>
                    <a:cubicBezTo>
                      <a:pt x="1306" y="112"/>
                      <a:pt x="1306" y="113"/>
                      <a:pt x="1307" y="114"/>
                    </a:cubicBezTo>
                    <a:cubicBezTo>
                      <a:pt x="1307" y="115"/>
                      <a:pt x="1307" y="115"/>
                      <a:pt x="1307" y="115"/>
                    </a:cubicBezTo>
                    <a:cubicBezTo>
                      <a:pt x="1308" y="115"/>
                      <a:pt x="1308" y="115"/>
                      <a:pt x="1308" y="115"/>
                    </a:cubicBezTo>
                    <a:cubicBezTo>
                      <a:pt x="1308" y="116"/>
                      <a:pt x="1308" y="116"/>
                      <a:pt x="1308" y="116"/>
                    </a:cubicBezTo>
                    <a:cubicBezTo>
                      <a:pt x="1308" y="116"/>
                      <a:pt x="1308" y="118"/>
                      <a:pt x="1307" y="119"/>
                    </a:cubicBezTo>
                    <a:cubicBezTo>
                      <a:pt x="1307" y="119"/>
                      <a:pt x="1307" y="119"/>
                      <a:pt x="1307" y="119"/>
                    </a:cubicBezTo>
                    <a:cubicBezTo>
                      <a:pt x="1306" y="120"/>
                      <a:pt x="1306" y="120"/>
                      <a:pt x="1306" y="120"/>
                    </a:cubicBezTo>
                    <a:cubicBezTo>
                      <a:pt x="1304" y="121"/>
                      <a:pt x="1304" y="122"/>
                      <a:pt x="1303" y="123"/>
                    </a:cubicBezTo>
                    <a:cubicBezTo>
                      <a:pt x="1302" y="124"/>
                      <a:pt x="1302" y="124"/>
                      <a:pt x="1302" y="124"/>
                    </a:cubicBezTo>
                    <a:cubicBezTo>
                      <a:pt x="1300" y="126"/>
                      <a:pt x="1300" y="126"/>
                      <a:pt x="1300" y="126"/>
                    </a:cubicBezTo>
                    <a:cubicBezTo>
                      <a:pt x="1296" y="130"/>
                      <a:pt x="1296" y="130"/>
                      <a:pt x="1296" y="130"/>
                    </a:cubicBezTo>
                    <a:cubicBezTo>
                      <a:pt x="1294" y="131"/>
                      <a:pt x="1294" y="131"/>
                      <a:pt x="1294" y="131"/>
                    </a:cubicBezTo>
                    <a:cubicBezTo>
                      <a:pt x="1294" y="132"/>
                      <a:pt x="1294" y="132"/>
                      <a:pt x="1294" y="132"/>
                    </a:cubicBezTo>
                    <a:cubicBezTo>
                      <a:pt x="1294" y="132"/>
                      <a:pt x="1294" y="132"/>
                      <a:pt x="1294" y="132"/>
                    </a:cubicBezTo>
                    <a:cubicBezTo>
                      <a:pt x="1295" y="133"/>
                      <a:pt x="1295" y="133"/>
                      <a:pt x="1295" y="133"/>
                    </a:cubicBezTo>
                    <a:cubicBezTo>
                      <a:pt x="1295" y="133"/>
                      <a:pt x="1295" y="133"/>
                      <a:pt x="1295" y="133"/>
                    </a:cubicBezTo>
                    <a:cubicBezTo>
                      <a:pt x="1296" y="133"/>
                      <a:pt x="1296" y="133"/>
                      <a:pt x="1296" y="133"/>
                    </a:cubicBezTo>
                    <a:cubicBezTo>
                      <a:pt x="1307" y="138"/>
                      <a:pt x="1309" y="138"/>
                      <a:pt x="1313" y="150"/>
                    </a:cubicBezTo>
                    <a:cubicBezTo>
                      <a:pt x="1313" y="150"/>
                      <a:pt x="1313" y="150"/>
                      <a:pt x="1313" y="150"/>
                    </a:cubicBezTo>
                    <a:cubicBezTo>
                      <a:pt x="1313" y="150"/>
                      <a:pt x="1313" y="150"/>
                      <a:pt x="1313" y="150"/>
                    </a:cubicBezTo>
                    <a:cubicBezTo>
                      <a:pt x="1313" y="150"/>
                      <a:pt x="1313" y="150"/>
                      <a:pt x="1313" y="150"/>
                    </a:cubicBezTo>
                    <a:cubicBezTo>
                      <a:pt x="1316" y="154"/>
                      <a:pt x="1319" y="153"/>
                      <a:pt x="1319" y="158"/>
                    </a:cubicBezTo>
                    <a:cubicBezTo>
                      <a:pt x="1319" y="159"/>
                      <a:pt x="1319" y="159"/>
                      <a:pt x="1319" y="159"/>
                    </a:cubicBezTo>
                    <a:cubicBezTo>
                      <a:pt x="1319" y="160"/>
                      <a:pt x="1319" y="161"/>
                      <a:pt x="1320" y="162"/>
                    </a:cubicBezTo>
                    <a:cubicBezTo>
                      <a:pt x="1321" y="163"/>
                      <a:pt x="1321" y="163"/>
                      <a:pt x="1321" y="163"/>
                    </a:cubicBezTo>
                    <a:cubicBezTo>
                      <a:pt x="1321" y="163"/>
                      <a:pt x="1321" y="163"/>
                      <a:pt x="1321" y="163"/>
                    </a:cubicBezTo>
                    <a:cubicBezTo>
                      <a:pt x="1323" y="164"/>
                      <a:pt x="1324" y="165"/>
                      <a:pt x="1325" y="166"/>
                    </a:cubicBezTo>
                    <a:cubicBezTo>
                      <a:pt x="1326" y="166"/>
                      <a:pt x="1326" y="166"/>
                      <a:pt x="1326" y="166"/>
                    </a:cubicBezTo>
                    <a:cubicBezTo>
                      <a:pt x="1326" y="166"/>
                      <a:pt x="1326" y="166"/>
                      <a:pt x="1326" y="166"/>
                    </a:cubicBezTo>
                    <a:cubicBezTo>
                      <a:pt x="1327" y="167"/>
                      <a:pt x="1327" y="167"/>
                      <a:pt x="1327" y="167"/>
                    </a:cubicBezTo>
                    <a:cubicBezTo>
                      <a:pt x="1327" y="167"/>
                      <a:pt x="1327" y="167"/>
                      <a:pt x="1327" y="167"/>
                    </a:cubicBezTo>
                    <a:cubicBezTo>
                      <a:pt x="1328" y="167"/>
                      <a:pt x="1328" y="167"/>
                      <a:pt x="1328" y="167"/>
                    </a:cubicBezTo>
                    <a:cubicBezTo>
                      <a:pt x="1328" y="168"/>
                      <a:pt x="1328" y="168"/>
                      <a:pt x="1328" y="168"/>
                    </a:cubicBezTo>
                    <a:cubicBezTo>
                      <a:pt x="1328" y="168"/>
                      <a:pt x="1328" y="168"/>
                      <a:pt x="1328" y="168"/>
                    </a:cubicBezTo>
                    <a:cubicBezTo>
                      <a:pt x="1329" y="168"/>
                      <a:pt x="1329" y="168"/>
                      <a:pt x="1329" y="168"/>
                    </a:cubicBezTo>
                    <a:cubicBezTo>
                      <a:pt x="1330" y="170"/>
                      <a:pt x="1330" y="170"/>
                      <a:pt x="1330" y="172"/>
                    </a:cubicBezTo>
                    <a:cubicBezTo>
                      <a:pt x="1330" y="173"/>
                      <a:pt x="1330" y="173"/>
                      <a:pt x="1330" y="173"/>
                    </a:cubicBezTo>
                    <a:cubicBezTo>
                      <a:pt x="1331" y="173"/>
                      <a:pt x="1331" y="173"/>
                      <a:pt x="1331" y="173"/>
                    </a:cubicBezTo>
                    <a:cubicBezTo>
                      <a:pt x="1331" y="173"/>
                      <a:pt x="1331" y="173"/>
                      <a:pt x="1331" y="173"/>
                    </a:cubicBezTo>
                    <a:cubicBezTo>
                      <a:pt x="1331" y="174"/>
                      <a:pt x="1331" y="174"/>
                      <a:pt x="1331" y="174"/>
                    </a:cubicBezTo>
                    <a:cubicBezTo>
                      <a:pt x="1331" y="174"/>
                      <a:pt x="1331" y="174"/>
                      <a:pt x="1331" y="174"/>
                    </a:cubicBezTo>
                    <a:cubicBezTo>
                      <a:pt x="1331" y="174"/>
                      <a:pt x="1331" y="174"/>
                      <a:pt x="1331" y="174"/>
                    </a:cubicBezTo>
                    <a:cubicBezTo>
                      <a:pt x="1331" y="175"/>
                      <a:pt x="1331" y="175"/>
                      <a:pt x="1331" y="175"/>
                    </a:cubicBezTo>
                    <a:cubicBezTo>
                      <a:pt x="1331" y="175"/>
                      <a:pt x="1331" y="175"/>
                      <a:pt x="1331" y="175"/>
                    </a:cubicBezTo>
                    <a:cubicBezTo>
                      <a:pt x="1329" y="178"/>
                      <a:pt x="1329" y="178"/>
                      <a:pt x="1329" y="178"/>
                    </a:cubicBezTo>
                    <a:cubicBezTo>
                      <a:pt x="1326" y="181"/>
                      <a:pt x="1326" y="181"/>
                      <a:pt x="1326" y="181"/>
                    </a:cubicBezTo>
                    <a:cubicBezTo>
                      <a:pt x="1318" y="191"/>
                      <a:pt x="1318" y="191"/>
                      <a:pt x="1318" y="191"/>
                    </a:cubicBezTo>
                    <a:cubicBezTo>
                      <a:pt x="1315" y="195"/>
                      <a:pt x="1315" y="195"/>
                      <a:pt x="1315" y="195"/>
                    </a:cubicBezTo>
                    <a:cubicBezTo>
                      <a:pt x="1313" y="197"/>
                      <a:pt x="1313" y="197"/>
                      <a:pt x="1313" y="197"/>
                    </a:cubicBezTo>
                    <a:cubicBezTo>
                      <a:pt x="1311" y="199"/>
                      <a:pt x="1315" y="198"/>
                      <a:pt x="1315" y="200"/>
                    </a:cubicBezTo>
                    <a:cubicBezTo>
                      <a:pt x="1315" y="200"/>
                      <a:pt x="1315" y="200"/>
                      <a:pt x="1315" y="200"/>
                    </a:cubicBezTo>
                    <a:cubicBezTo>
                      <a:pt x="1315" y="201"/>
                      <a:pt x="1315" y="201"/>
                      <a:pt x="1315" y="201"/>
                    </a:cubicBezTo>
                    <a:cubicBezTo>
                      <a:pt x="1314" y="202"/>
                      <a:pt x="1313" y="203"/>
                      <a:pt x="1313" y="204"/>
                    </a:cubicBezTo>
                    <a:cubicBezTo>
                      <a:pt x="1313" y="205"/>
                      <a:pt x="1313" y="205"/>
                      <a:pt x="1313" y="205"/>
                    </a:cubicBezTo>
                    <a:cubicBezTo>
                      <a:pt x="1313" y="205"/>
                      <a:pt x="1313" y="205"/>
                      <a:pt x="1313" y="205"/>
                    </a:cubicBezTo>
                    <a:cubicBezTo>
                      <a:pt x="1312" y="206"/>
                      <a:pt x="1312" y="206"/>
                      <a:pt x="1312" y="206"/>
                    </a:cubicBezTo>
                    <a:cubicBezTo>
                      <a:pt x="1312" y="209"/>
                      <a:pt x="1312" y="209"/>
                      <a:pt x="1312" y="209"/>
                    </a:cubicBezTo>
                    <a:cubicBezTo>
                      <a:pt x="1309" y="215"/>
                      <a:pt x="1309" y="215"/>
                      <a:pt x="1309" y="215"/>
                    </a:cubicBezTo>
                    <a:cubicBezTo>
                      <a:pt x="1308" y="217"/>
                      <a:pt x="1308" y="217"/>
                      <a:pt x="1308" y="217"/>
                    </a:cubicBezTo>
                    <a:cubicBezTo>
                      <a:pt x="1308" y="219"/>
                      <a:pt x="1308" y="219"/>
                      <a:pt x="1308" y="219"/>
                    </a:cubicBezTo>
                    <a:cubicBezTo>
                      <a:pt x="1308" y="219"/>
                      <a:pt x="1308" y="219"/>
                      <a:pt x="1308" y="219"/>
                    </a:cubicBezTo>
                    <a:cubicBezTo>
                      <a:pt x="1308" y="219"/>
                      <a:pt x="1308" y="219"/>
                      <a:pt x="1308" y="219"/>
                    </a:cubicBezTo>
                    <a:cubicBezTo>
                      <a:pt x="1308" y="220"/>
                      <a:pt x="1308" y="220"/>
                      <a:pt x="1308" y="220"/>
                    </a:cubicBezTo>
                    <a:cubicBezTo>
                      <a:pt x="1309" y="220"/>
                      <a:pt x="1309" y="220"/>
                      <a:pt x="1309" y="220"/>
                    </a:cubicBezTo>
                    <a:cubicBezTo>
                      <a:pt x="1309" y="220"/>
                      <a:pt x="1309" y="220"/>
                      <a:pt x="1309" y="220"/>
                    </a:cubicBezTo>
                    <a:cubicBezTo>
                      <a:pt x="1309" y="221"/>
                      <a:pt x="1309" y="221"/>
                      <a:pt x="1309" y="221"/>
                    </a:cubicBezTo>
                    <a:cubicBezTo>
                      <a:pt x="1309" y="221"/>
                      <a:pt x="1309" y="221"/>
                      <a:pt x="1309" y="221"/>
                    </a:cubicBezTo>
                    <a:cubicBezTo>
                      <a:pt x="1309" y="221"/>
                      <a:pt x="1309" y="221"/>
                      <a:pt x="1309" y="221"/>
                    </a:cubicBezTo>
                    <a:cubicBezTo>
                      <a:pt x="1310" y="222"/>
                      <a:pt x="1310" y="222"/>
                      <a:pt x="1310" y="222"/>
                    </a:cubicBezTo>
                    <a:cubicBezTo>
                      <a:pt x="1310" y="222"/>
                      <a:pt x="1310" y="222"/>
                      <a:pt x="1310" y="222"/>
                    </a:cubicBezTo>
                    <a:cubicBezTo>
                      <a:pt x="1310" y="222"/>
                      <a:pt x="1310" y="222"/>
                      <a:pt x="1310" y="222"/>
                    </a:cubicBezTo>
                    <a:cubicBezTo>
                      <a:pt x="1311" y="224"/>
                      <a:pt x="1311" y="224"/>
                      <a:pt x="1313" y="225"/>
                    </a:cubicBezTo>
                    <a:cubicBezTo>
                      <a:pt x="1314" y="226"/>
                      <a:pt x="1314" y="226"/>
                      <a:pt x="1314" y="226"/>
                    </a:cubicBezTo>
                    <a:cubicBezTo>
                      <a:pt x="1314" y="226"/>
                      <a:pt x="1314" y="226"/>
                      <a:pt x="1314" y="226"/>
                    </a:cubicBezTo>
                    <a:cubicBezTo>
                      <a:pt x="1314" y="226"/>
                      <a:pt x="1314" y="226"/>
                      <a:pt x="1314" y="226"/>
                    </a:cubicBezTo>
                    <a:cubicBezTo>
                      <a:pt x="1314" y="227"/>
                      <a:pt x="1314" y="227"/>
                      <a:pt x="1314" y="227"/>
                    </a:cubicBezTo>
                    <a:cubicBezTo>
                      <a:pt x="1315" y="228"/>
                      <a:pt x="1316" y="229"/>
                      <a:pt x="1317" y="230"/>
                    </a:cubicBezTo>
                    <a:cubicBezTo>
                      <a:pt x="1317" y="230"/>
                      <a:pt x="1317" y="230"/>
                      <a:pt x="1317" y="230"/>
                    </a:cubicBezTo>
                    <a:cubicBezTo>
                      <a:pt x="1317" y="230"/>
                      <a:pt x="1317" y="230"/>
                      <a:pt x="1317" y="230"/>
                    </a:cubicBezTo>
                    <a:cubicBezTo>
                      <a:pt x="1317" y="231"/>
                      <a:pt x="1317" y="231"/>
                      <a:pt x="1317" y="231"/>
                    </a:cubicBezTo>
                    <a:cubicBezTo>
                      <a:pt x="1317" y="231"/>
                      <a:pt x="1317" y="231"/>
                      <a:pt x="1317" y="231"/>
                    </a:cubicBezTo>
                    <a:cubicBezTo>
                      <a:pt x="1317" y="231"/>
                      <a:pt x="1317" y="231"/>
                      <a:pt x="1317" y="231"/>
                    </a:cubicBezTo>
                    <a:cubicBezTo>
                      <a:pt x="1318" y="232"/>
                      <a:pt x="1318" y="232"/>
                      <a:pt x="1318" y="232"/>
                    </a:cubicBezTo>
                    <a:cubicBezTo>
                      <a:pt x="1318" y="232"/>
                      <a:pt x="1318" y="232"/>
                      <a:pt x="1318" y="232"/>
                    </a:cubicBezTo>
                    <a:cubicBezTo>
                      <a:pt x="1318" y="232"/>
                      <a:pt x="1318" y="232"/>
                      <a:pt x="1318" y="232"/>
                    </a:cubicBezTo>
                    <a:cubicBezTo>
                      <a:pt x="1318" y="233"/>
                      <a:pt x="1318" y="233"/>
                      <a:pt x="1318" y="233"/>
                    </a:cubicBezTo>
                    <a:cubicBezTo>
                      <a:pt x="1318" y="234"/>
                      <a:pt x="1318" y="234"/>
                      <a:pt x="1318" y="234"/>
                    </a:cubicBezTo>
                    <a:cubicBezTo>
                      <a:pt x="1317" y="237"/>
                      <a:pt x="1317" y="237"/>
                      <a:pt x="1317" y="237"/>
                    </a:cubicBezTo>
                    <a:cubicBezTo>
                      <a:pt x="1315" y="243"/>
                      <a:pt x="1315" y="243"/>
                      <a:pt x="1315" y="243"/>
                    </a:cubicBezTo>
                    <a:cubicBezTo>
                      <a:pt x="1315" y="245"/>
                      <a:pt x="1315" y="245"/>
                      <a:pt x="1315" y="245"/>
                    </a:cubicBezTo>
                    <a:cubicBezTo>
                      <a:pt x="1314" y="247"/>
                      <a:pt x="1314" y="247"/>
                      <a:pt x="1314" y="247"/>
                    </a:cubicBezTo>
                    <a:cubicBezTo>
                      <a:pt x="1315" y="247"/>
                      <a:pt x="1315" y="247"/>
                      <a:pt x="1315" y="247"/>
                    </a:cubicBezTo>
                    <a:cubicBezTo>
                      <a:pt x="1315" y="247"/>
                      <a:pt x="1315" y="247"/>
                      <a:pt x="1315" y="247"/>
                    </a:cubicBezTo>
                    <a:cubicBezTo>
                      <a:pt x="1315" y="248"/>
                      <a:pt x="1315" y="248"/>
                      <a:pt x="1315" y="248"/>
                    </a:cubicBezTo>
                    <a:cubicBezTo>
                      <a:pt x="1315" y="248"/>
                      <a:pt x="1315" y="248"/>
                      <a:pt x="1315" y="248"/>
                    </a:cubicBezTo>
                    <a:cubicBezTo>
                      <a:pt x="1316" y="248"/>
                      <a:pt x="1316" y="248"/>
                      <a:pt x="1316" y="248"/>
                    </a:cubicBezTo>
                    <a:cubicBezTo>
                      <a:pt x="1316" y="249"/>
                      <a:pt x="1316" y="249"/>
                      <a:pt x="1316" y="249"/>
                    </a:cubicBezTo>
                    <a:cubicBezTo>
                      <a:pt x="1316" y="249"/>
                      <a:pt x="1316" y="249"/>
                      <a:pt x="1316" y="249"/>
                    </a:cubicBezTo>
                    <a:cubicBezTo>
                      <a:pt x="1317" y="249"/>
                      <a:pt x="1317" y="249"/>
                      <a:pt x="1317" y="249"/>
                    </a:cubicBezTo>
                    <a:cubicBezTo>
                      <a:pt x="1317" y="249"/>
                      <a:pt x="1317" y="249"/>
                      <a:pt x="1317" y="249"/>
                    </a:cubicBezTo>
                    <a:cubicBezTo>
                      <a:pt x="1318" y="250"/>
                      <a:pt x="1319" y="251"/>
                      <a:pt x="1320" y="251"/>
                    </a:cubicBezTo>
                    <a:cubicBezTo>
                      <a:pt x="1320" y="251"/>
                      <a:pt x="1321" y="251"/>
                      <a:pt x="1322" y="251"/>
                    </a:cubicBezTo>
                    <a:cubicBezTo>
                      <a:pt x="1322" y="250"/>
                      <a:pt x="1322" y="250"/>
                      <a:pt x="1322" y="250"/>
                    </a:cubicBezTo>
                    <a:cubicBezTo>
                      <a:pt x="1323" y="250"/>
                      <a:pt x="1323" y="250"/>
                      <a:pt x="1323" y="250"/>
                    </a:cubicBezTo>
                    <a:cubicBezTo>
                      <a:pt x="1325" y="250"/>
                      <a:pt x="1326" y="248"/>
                      <a:pt x="1328" y="248"/>
                    </a:cubicBezTo>
                    <a:cubicBezTo>
                      <a:pt x="1328" y="248"/>
                      <a:pt x="1328" y="248"/>
                      <a:pt x="1328" y="248"/>
                    </a:cubicBezTo>
                    <a:cubicBezTo>
                      <a:pt x="1328" y="248"/>
                      <a:pt x="1328" y="248"/>
                      <a:pt x="1328" y="248"/>
                    </a:cubicBezTo>
                    <a:cubicBezTo>
                      <a:pt x="1329" y="248"/>
                      <a:pt x="1329" y="248"/>
                      <a:pt x="1329" y="248"/>
                    </a:cubicBezTo>
                    <a:cubicBezTo>
                      <a:pt x="1329" y="248"/>
                      <a:pt x="1329" y="248"/>
                      <a:pt x="1329" y="248"/>
                    </a:cubicBezTo>
                    <a:cubicBezTo>
                      <a:pt x="1330" y="248"/>
                      <a:pt x="1330" y="248"/>
                      <a:pt x="1331" y="248"/>
                    </a:cubicBezTo>
                    <a:cubicBezTo>
                      <a:pt x="1335" y="248"/>
                      <a:pt x="1338" y="249"/>
                      <a:pt x="1342" y="251"/>
                    </a:cubicBezTo>
                    <a:cubicBezTo>
                      <a:pt x="1343" y="251"/>
                      <a:pt x="1343" y="251"/>
                      <a:pt x="1343" y="251"/>
                    </a:cubicBezTo>
                    <a:cubicBezTo>
                      <a:pt x="1343" y="251"/>
                      <a:pt x="1343" y="251"/>
                      <a:pt x="1343" y="251"/>
                    </a:cubicBezTo>
                    <a:cubicBezTo>
                      <a:pt x="1344" y="251"/>
                      <a:pt x="1344" y="251"/>
                      <a:pt x="1344" y="251"/>
                    </a:cubicBezTo>
                    <a:cubicBezTo>
                      <a:pt x="1344" y="251"/>
                      <a:pt x="1344" y="251"/>
                      <a:pt x="1344" y="251"/>
                    </a:cubicBezTo>
                    <a:cubicBezTo>
                      <a:pt x="1345" y="251"/>
                      <a:pt x="1345" y="251"/>
                      <a:pt x="1345" y="251"/>
                    </a:cubicBezTo>
                    <a:cubicBezTo>
                      <a:pt x="1347" y="250"/>
                      <a:pt x="1347" y="250"/>
                      <a:pt x="1350" y="250"/>
                    </a:cubicBezTo>
                    <a:cubicBezTo>
                      <a:pt x="1350" y="250"/>
                      <a:pt x="1350" y="250"/>
                      <a:pt x="1350" y="250"/>
                    </a:cubicBezTo>
                    <a:cubicBezTo>
                      <a:pt x="1351" y="250"/>
                      <a:pt x="1351" y="250"/>
                      <a:pt x="1351" y="250"/>
                    </a:cubicBezTo>
                    <a:cubicBezTo>
                      <a:pt x="1354" y="250"/>
                      <a:pt x="1350" y="248"/>
                      <a:pt x="1355" y="246"/>
                    </a:cubicBezTo>
                    <a:cubicBezTo>
                      <a:pt x="1355" y="246"/>
                      <a:pt x="1355" y="246"/>
                      <a:pt x="1355" y="246"/>
                    </a:cubicBezTo>
                    <a:cubicBezTo>
                      <a:pt x="1356" y="246"/>
                      <a:pt x="1356" y="246"/>
                      <a:pt x="1356" y="246"/>
                    </a:cubicBezTo>
                    <a:cubicBezTo>
                      <a:pt x="1356" y="246"/>
                      <a:pt x="1356" y="246"/>
                      <a:pt x="1356" y="246"/>
                    </a:cubicBezTo>
                    <a:cubicBezTo>
                      <a:pt x="1357" y="246"/>
                      <a:pt x="1357" y="246"/>
                      <a:pt x="1357" y="246"/>
                    </a:cubicBezTo>
                    <a:cubicBezTo>
                      <a:pt x="1359" y="245"/>
                      <a:pt x="1359" y="244"/>
                      <a:pt x="1362" y="243"/>
                    </a:cubicBezTo>
                    <a:cubicBezTo>
                      <a:pt x="1362" y="243"/>
                      <a:pt x="1362" y="243"/>
                      <a:pt x="1362" y="243"/>
                    </a:cubicBezTo>
                    <a:cubicBezTo>
                      <a:pt x="1363" y="243"/>
                      <a:pt x="1363" y="243"/>
                      <a:pt x="1363" y="243"/>
                    </a:cubicBezTo>
                    <a:cubicBezTo>
                      <a:pt x="1363" y="242"/>
                      <a:pt x="1364" y="242"/>
                      <a:pt x="1366" y="242"/>
                    </a:cubicBezTo>
                    <a:cubicBezTo>
                      <a:pt x="1366" y="242"/>
                      <a:pt x="1367" y="242"/>
                      <a:pt x="1368" y="242"/>
                    </a:cubicBezTo>
                    <a:cubicBezTo>
                      <a:pt x="1369" y="243"/>
                      <a:pt x="1369" y="243"/>
                      <a:pt x="1369" y="243"/>
                    </a:cubicBezTo>
                    <a:cubicBezTo>
                      <a:pt x="1370" y="243"/>
                      <a:pt x="1370" y="243"/>
                      <a:pt x="1370" y="243"/>
                    </a:cubicBezTo>
                    <a:cubicBezTo>
                      <a:pt x="1370" y="243"/>
                      <a:pt x="1370" y="243"/>
                      <a:pt x="1370" y="243"/>
                    </a:cubicBezTo>
                    <a:cubicBezTo>
                      <a:pt x="1371" y="243"/>
                      <a:pt x="1371" y="243"/>
                      <a:pt x="1371" y="243"/>
                    </a:cubicBezTo>
                    <a:cubicBezTo>
                      <a:pt x="1371" y="243"/>
                      <a:pt x="1371" y="243"/>
                      <a:pt x="1371" y="243"/>
                    </a:cubicBezTo>
                    <a:cubicBezTo>
                      <a:pt x="1372" y="243"/>
                      <a:pt x="1372" y="243"/>
                      <a:pt x="1372" y="243"/>
                    </a:cubicBezTo>
                    <a:cubicBezTo>
                      <a:pt x="1372" y="243"/>
                      <a:pt x="1373" y="243"/>
                      <a:pt x="1373" y="243"/>
                    </a:cubicBezTo>
                    <a:cubicBezTo>
                      <a:pt x="1375" y="243"/>
                      <a:pt x="1376" y="243"/>
                      <a:pt x="1376" y="243"/>
                    </a:cubicBezTo>
                    <a:cubicBezTo>
                      <a:pt x="1377" y="243"/>
                      <a:pt x="1378" y="243"/>
                      <a:pt x="1378" y="243"/>
                    </a:cubicBezTo>
                    <a:cubicBezTo>
                      <a:pt x="1379" y="243"/>
                      <a:pt x="1380" y="243"/>
                      <a:pt x="1384" y="246"/>
                    </a:cubicBezTo>
                    <a:cubicBezTo>
                      <a:pt x="1385" y="246"/>
                      <a:pt x="1385" y="246"/>
                      <a:pt x="1385" y="246"/>
                    </a:cubicBezTo>
                    <a:cubicBezTo>
                      <a:pt x="1385" y="246"/>
                      <a:pt x="1385" y="246"/>
                      <a:pt x="1385" y="246"/>
                    </a:cubicBezTo>
                    <a:cubicBezTo>
                      <a:pt x="1386" y="246"/>
                      <a:pt x="1386" y="246"/>
                      <a:pt x="1386" y="246"/>
                    </a:cubicBezTo>
                    <a:cubicBezTo>
                      <a:pt x="1388" y="247"/>
                      <a:pt x="1388" y="248"/>
                      <a:pt x="1391" y="248"/>
                    </a:cubicBezTo>
                    <a:cubicBezTo>
                      <a:pt x="1392" y="248"/>
                      <a:pt x="1392" y="248"/>
                      <a:pt x="1392" y="248"/>
                    </a:cubicBezTo>
                    <a:cubicBezTo>
                      <a:pt x="1393" y="248"/>
                      <a:pt x="1393" y="248"/>
                      <a:pt x="1393" y="248"/>
                    </a:cubicBezTo>
                    <a:cubicBezTo>
                      <a:pt x="1394" y="248"/>
                      <a:pt x="1394" y="248"/>
                      <a:pt x="1395" y="248"/>
                    </a:cubicBezTo>
                    <a:cubicBezTo>
                      <a:pt x="1395" y="248"/>
                      <a:pt x="1395" y="248"/>
                      <a:pt x="1396" y="248"/>
                    </a:cubicBezTo>
                    <a:cubicBezTo>
                      <a:pt x="1396" y="248"/>
                      <a:pt x="1397" y="248"/>
                      <a:pt x="1398" y="248"/>
                    </a:cubicBezTo>
                    <a:cubicBezTo>
                      <a:pt x="1398" y="248"/>
                      <a:pt x="1398" y="248"/>
                      <a:pt x="1398" y="248"/>
                    </a:cubicBezTo>
                    <a:cubicBezTo>
                      <a:pt x="1399" y="248"/>
                      <a:pt x="1399" y="248"/>
                      <a:pt x="1399" y="248"/>
                    </a:cubicBezTo>
                    <a:cubicBezTo>
                      <a:pt x="1399" y="249"/>
                      <a:pt x="1399" y="249"/>
                      <a:pt x="1399" y="249"/>
                    </a:cubicBezTo>
                    <a:cubicBezTo>
                      <a:pt x="1400" y="249"/>
                      <a:pt x="1400" y="249"/>
                      <a:pt x="1400" y="249"/>
                    </a:cubicBezTo>
                    <a:cubicBezTo>
                      <a:pt x="1400" y="249"/>
                      <a:pt x="1400" y="249"/>
                      <a:pt x="1400" y="249"/>
                    </a:cubicBezTo>
                    <a:cubicBezTo>
                      <a:pt x="1400" y="249"/>
                      <a:pt x="1400" y="249"/>
                      <a:pt x="1400" y="249"/>
                    </a:cubicBezTo>
                    <a:cubicBezTo>
                      <a:pt x="1402" y="250"/>
                      <a:pt x="1401" y="252"/>
                      <a:pt x="1403" y="253"/>
                    </a:cubicBezTo>
                    <a:cubicBezTo>
                      <a:pt x="1403" y="253"/>
                      <a:pt x="1403" y="253"/>
                      <a:pt x="1403" y="253"/>
                    </a:cubicBezTo>
                    <a:cubicBezTo>
                      <a:pt x="1403" y="254"/>
                      <a:pt x="1403" y="254"/>
                      <a:pt x="1403" y="254"/>
                    </a:cubicBezTo>
                    <a:cubicBezTo>
                      <a:pt x="1404" y="255"/>
                      <a:pt x="1406" y="254"/>
                      <a:pt x="1407" y="255"/>
                    </a:cubicBezTo>
                    <a:cubicBezTo>
                      <a:pt x="1407" y="255"/>
                      <a:pt x="1407" y="255"/>
                      <a:pt x="1407" y="255"/>
                    </a:cubicBezTo>
                    <a:cubicBezTo>
                      <a:pt x="1408" y="255"/>
                      <a:pt x="1408" y="255"/>
                      <a:pt x="1408" y="255"/>
                    </a:cubicBezTo>
                    <a:cubicBezTo>
                      <a:pt x="1408" y="255"/>
                      <a:pt x="1408" y="255"/>
                      <a:pt x="1408" y="255"/>
                    </a:cubicBezTo>
                    <a:cubicBezTo>
                      <a:pt x="1417" y="255"/>
                      <a:pt x="1415" y="259"/>
                      <a:pt x="1421" y="259"/>
                    </a:cubicBezTo>
                    <a:cubicBezTo>
                      <a:pt x="1421" y="259"/>
                      <a:pt x="1421" y="259"/>
                      <a:pt x="1421" y="259"/>
                    </a:cubicBezTo>
                    <a:cubicBezTo>
                      <a:pt x="1422" y="259"/>
                      <a:pt x="1422" y="259"/>
                      <a:pt x="1422" y="259"/>
                    </a:cubicBezTo>
                    <a:cubicBezTo>
                      <a:pt x="1422" y="259"/>
                      <a:pt x="1422" y="259"/>
                      <a:pt x="1422" y="259"/>
                    </a:cubicBezTo>
                    <a:cubicBezTo>
                      <a:pt x="1423" y="259"/>
                      <a:pt x="1423" y="259"/>
                      <a:pt x="1423" y="259"/>
                    </a:cubicBezTo>
                    <a:cubicBezTo>
                      <a:pt x="1423" y="259"/>
                      <a:pt x="1423" y="259"/>
                      <a:pt x="1423" y="259"/>
                    </a:cubicBezTo>
                    <a:cubicBezTo>
                      <a:pt x="1424" y="260"/>
                      <a:pt x="1424" y="260"/>
                      <a:pt x="1424" y="260"/>
                    </a:cubicBezTo>
                    <a:cubicBezTo>
                      <a:pt x="1425" y="263"/>
                      <a:pt x="1425" y="263"/>
                      <a:pt x="1425" y="263"/>
                    </a:cubicBezTo>
                    <a:cubicBezTo>
                      <a:pt x="1426" y="270"/>
                      <a:pt x="1426" y="270"/>
                      <a:pt x="1426" y="270"/>
                    </a:cubicBezTo>
                    <a:cubicBezTo>
                      <a:pt x="1427" y="273"/>
                      <a:pt x="1427" y="273"/>
                      <a:pt x="1427" y="273"/>
                    </a:cubicBezTo>
                    <a:cubicBezTo>
                      <a:pt x="1427" y="275"/>
                      <a:pt x="1427" y="275"/>
                      <a:pt x="1427" y="275"/>
                    </a:cubicBezTo>
                    <a:cubicBezTo>
                      <a:pt x="1427" y="275"/>
                      <a:pt x="1427" y="275"/>
                      <a:pt x="1427" y="275"/>
                    </a:cubicBezTo>
                    <a:cubicBezTo>
                      <a:pt x="1428" y="275"/>
                      <a:pt x="1428" y="275"/>
                      <a:pt x="1428" y="275"/>
                    </a:cubicBezTo>
                    <a:cubicBezTo>
                      <a:pt x="1428" y="276"/>
                      <a:pt x="1428" y="276"/>
                      <a:pt x="1428" y="276"/>
                    </a:cubicBezTo>
                    <a:cubicBezTo>
                      <a:pt x="1428" y="278"/>
                      <a:pt x="1428" y="278"/>
                      <a:pt x="1428" y="278"/>
                    </a:cubicBezTo>
                    <a:cubicBezTo>
                      <a:pt x="1429" y="279"/>
                      <a:pt x="1429" y="279"/>
                      <a:pt x="1429" y="279"/>
                    </a:cubicBezTo>
                    <a:cubicBezTo>
                      <a:pt x="1429" y="279"/>
                      <a:pt x="1429" y="279"/>
                      <a:pt x="1429" y="279"/>
                    </a:cubicBezTo>
                    <a:cubicBezTo>
                      <a:pt x="1430" y="279"/>
                      <a:pt x="1430" y="279"/>
                      <a:pt x="1430" y="279"/>
                    </a:cubicBezTo>
                    <a:cubicBezTo>
                      <a:pt x="1430" y="279"/>
                      <a:pt x="1430" y="279"/>
                      <a:pt x="1430" y="279"/>
                    </a:cubicBezTo>
                    <a:cubicBezTo>
                      <a:pt x="1431" y="279"/>
                      <a:pt x="1431" y="279"/>
                      <a:pt x="1431" y="279"/>
                    </a:cubicBezTo>
                    <a:cubicBezTo>
                      <a:pt x="1431" y="279"/>
                      <a:pt x="1431" y="279"/>
                      <a:pt x="1431" y="279"/>
                    </a:cubicBezTo>
                    <a:cubicBezTo>
                      <a:pt x="1432" y="281"/>
                      <a:pt x="1432" y="281"/>
                      <a:pt x="1432" y="281"/>
                    </a:cubicBezTo>
                    <a:cubicBezTo>
                      <a:pt x="1432" y="282"/>
                      <a:pt x="1432" y="282"/>
                      <a:pt x="1432" y="282"/>
                    </a:cubicBezTo>
                    <a:cubicBezTo>
                      <a:pt x="1433" y="282"/>
                      <a:pt x="1433" y="282"/>
                      <a:pt x="1433" y="282"/>
                    </a:cubicBezTo>
                    <a:cubicBezTo>
                      <a:pt x="1433" y="283"/>
                      <a:pt x="1433" y="283"/>
                      <a:pt x="1433" y="283"/>
                    </a:cubicBezTo>
                    <a:cubicBezTo>
                      <a:pt x="1433" y="284"/>
                      <a:pt x="1433" y="284"/>
                      <a:pt x="1433" y="284"/>
                    </a:cubicBezTo>
                    <a:cubicBezTo>
                      <a:pt x="1434" y="285"/>
                      <a:pt x="1434" y="285"/>
                      <a:pt x="1434" y="285"/>
                    </a:cubicBezTo>
                    <a:cubicBezTo>
                      <a:pt x="1434" y="285"/>
                      <a:pt x="1434" y="285"/>
                      <a:pt x="1434" y="285"/>
                    </a:cubicBezTo>
                    <a:cubicBezTo>
                      <a:pt x="1434" y="285"/>
                      <a:pt x="1434" y="285"/>
                      <a:pt x="1434" y="285"/>
                    </a:cubicBezTo>
                    <a:cubicBezTo>
                      <a:pt x="1435" y="286"/>
                      <a:pt x="1436" y="286"/>
                      <a:pt x="1437" y="287"/>
                    </a:cubicBezTo>
                    <a:cubicBezTo>
                      <a:pt x="1439" y="290"/>
                      <a:pt x="1439" y="290"/>
                      <a:pt x="1439" y="290"/>
                    </a:cubicBezTo>
                    <a:cubicBezTo>
                      <a:pt x="1439" y="291"/>
                      <a:pt x="1439" y="291"/>
                      <a:pt x="1439" y="291"/>
                    </a:cubicBezTo>
                    <a:cubicBezTo>
                      <a:pt x="1439" y="292"/>
                      <a:pt x="1439" y="292"/>
                      <a:pt x="1439" y="292"/>
                    </a:cubicBezTo>
                    <a:cubicBezTo>
                      <a:pt x="1439" y="292"/>
                      <a:pt x="1439" y="292"/>
                      <a:pt x="1439" y="292"/>
                    </a:cubicBezTo>
                    <a:cubicBezTo>
                      <a:pt x="1438" y="292"/>
                      <a:pt x="1438" y="292"/>
                      <a:pt x="1438" y="292"/>
                    </a:cubicBezTo>
                    <a:cubicBezTo>
                      <a:pt x="1436" y="292"/>
                      <a:pt x="1433" y="293"/>
                      <a:pt x="1430" y="293"/>
                    </a:cubicBezTo>
                    <a:cubicBezTo>
                      <a:pt x="1430" y="293"/>
                      <a:pt x="1430" y="293"/>
                      <a:pt x="1430" y="293"/>
                    </a:cubicBezTo>
                    <a:cubicBezTo>
                      <a:pt x="1429" y="293"/>
                      <a:pt x="1429" y="293"/>
                      <a:pt x="1429" y="293"/>
                    </a:cubicBezTo>
                    <a:cubicBezTo>
                      <a:pt x="1423" y="294"/>
                      <a:pt x="1420" y="300"/>
                      <a:pt x="1420" y="305"/>
                    </a:cubicBezTo>
                    <a:cubicBezTo>
                      <a:pt x="1421" y="306"/>
                      <a:pt x="1421" y="306"/>
                      <a:pt x="1421" y="306"/>
                    </a:cubicBezTo>
                    <a:cubicBezTo>
                      <a:pt x="1422" y="307"/>
                      <a:pt x="1422" y="307"/>
                      <a:pt x="1422" y="307"/>
                    </a:cubicBezTo>
                    <a:cubicBezTo>
                      <a:pt x="1422" y="308"/>
                      <a:pt x="1422" y="308"/>
                      <a:pt x="1422" y="308"/>
                    </a:cubicBezTo>
                    <a:cubicBezTo>
                      <a:pt x="1422" y="310"/>
                      <a:pt x="1422" y="310"/>
                      <a:pt x="1422" y="310"/>
                    </a:cubicBezTo>
                    <a:cubicBezTo>
                      <a:pt x="1420" y="313"/>
                      <a:pt x="1420" y="313"/>
                      <a:pt x="1420" y="313"/>
                    </a:cubicBezTo>
                    <a:cubicBezTo>
                      <a:pt x="1420" y="315"/>
                      <a:pt x="1420" y="315"/>
                      <a:pt x="1420" y="315"/>
                    </a:cubicBezTo>
                    <a:cubicBezTo>
                      <a:pt x="1420" y="316"/>
                      <a:pt x="1420" y="316"/>
                      <a:pt x="1420" y="316"/>
                    </a:cubicBezTo>
                    <a:cubicBezTo>
                      <a:pt x="1420" y="316"/>
                      <a:pt x="1420" y="316"/>
                      <a:pt x="1420" y="316"/>
                    </a:cubicBezTo>
                    <a:cubicBezTo>
                      <a:pt x="1420" y="316"/>
                      <a:pt x="1420" y="316"/>
                      <a:pt x="1420" y="316"/>
                    </a:cubicBezTo>
                    <a:cubicBezTo>
                      <a:pt x="1421" y="317"/>
                      <a:pt x="1421" y="317"/>
                      <a:pt x="1421" y="317"/>
                    </a:cubicBezTo>
                    <a:cubicBezTo>
                      <a:pt x="1421" y="317"/>
                      <a:pt x="1421" y="317"/>
                      <a:pt x="1421" y="317"/>
                    </a:cubicBezTo>
                    <a:cubicBezTo>
                      <a:pt x="1422" y="317"/>
                      <a:pt x="1422" y="317"/>
                      <a:pt x="1422" y="317"/>
                    </a:cubicBezTo>
                    <a:cubicBezTo>
                      <a:pt x="1422" y="317"/>
                      <a:pt x="1422" y="317"/>
                      <a:pt x="1422" y="317"/>
                    </a:cubicBezTo>
                    <a:cubicBezTo>
                      <a:pt x="1423" y="317"/>
                      <a:pt x="1423" y="317"/>
                      <a:pt x="1423" y="317"/>
                    </a:cubicBezTo>
                    <a:cubicBezTo>
                      <a:pt x="1423" y="317"/>
                      <a:pt x="1423" y="317"/>
                      <a:pt x="1423" y="317"/>
                    </a:cubicBezTo>
                    <a:cubicBezTo>
                      <a:pt x="1424" y="317"/>
                      <a:pt x="1424" y="317"/>
                      <a:pt x="1424" y="317"/>
                    </a:cubicBezTo>
                    <a:cubicBezTo>
                      <a:pt x="1424" y="318"/>
                      <a:pt x="1424" y="318"/>
                      <a:pt x="1424" y="318"/>
                    </a:cubicBezTo>
                    <a:cubicBezTo>
                      <a:pt x="1425" y="318"/>
                      <a:pt x="1425" y="318"/>
                      <a:pt x="1425" y="318"/>
                    </a:cubicBezTo>
                    <a:cubicBezTo>
                      <a:pt x="1425" y="318"/>
                      <a:pt x="1425" y="318"/>
                      <a:pt x="1425" y="318"/>
                    </a:cubicBezTo>
                    <a:cubicBezTo>
                      <a:pt x="1426" y="318"/>
                      <a:pt x="1426" y="318"/>
                      <a:pt x="1426" y="318"/>
                    </a:cubicBezTo>
                    <a:cubicBezTo>
                      <a:pt x="1426" y="317"/>
                      <a:pt x="1426" y="317"/>
                      <a:pt x="1426" y="317"/>
                    </a:cubicBezTo>
                    <a:cubicBezTo>
                      <a:pt x="1427" y="317"/>
                      <a:pt x="1427" y="317"/>
                      <a:pt x="1427" y="317"/>
                    </a:cubicBezTo>
                    <a:cubicBezTo>
                      <a:pt x="1427" y="317"/>
                      <a:pt x="1427" y="317"/>
                      <a:pt x="1427" y="317"/>
                    </a:cubicBezTo>
                    <a:cubicBezTo>
                      <a:pt x="1427" y="317"/>
                      <a:pt x="1427" y="317"/>
                      <a:pt x="1427" y="317"/>
                    </a:cubicBezTo>
                    <a:cubicBezTo>
                      <a:pt x="1428" y="317"/>
                      <a:pt x="1428" y="317"/>
                      <a:pt x="1428" y="317"/>
                    </a:cubicBezTo>
                    <a:cubicBezTo>
                      <a:pt x="1428" y="316"/>
                      <a:pt x="1428" y="316"/>
                      <a:pt x="1428" y="316"/>
                    </a:cubicBezTo>
                    <a:cubicBezTo>
                      <a:pt x="1428" y="316"/>
                      <a:pt x="1428" y="316"/>
                      <a:pt x="1428" y="316"/>
                    </a:cubicBezTo>
                    <a:cubicBezTo>
                      <a:pt x="1428" y="315"/>
                      <a:pt x="1428" y="315"/>
                      <a:pt x="1428" y="315"/>
                    </a:cubicBezTo>
                    <a:cubicBezTo>
                      <a:pt x="1428" y="315"/>
                      <a:pt x="1428" y="315"/>
                      <a:pt x="1428" y="315"/>
                    </a:cubicBezTo>
                    <a:cubicBezTo>
                      <a:pt x="1429" y="315"/>
                      <a:pt x="1429" y="315"/>
                      <a:pt x="1429" y="315"/>
                    </a:cubicBezTo>
                    <a:cubicBezTo>
                      <a:pt x="1429" y="316"/>
                      <a:pt x="1429" y="316"/>
                      <a:pt x="1429" y="316"/>
                    </a:cubicBezTo>
                    <a:cubicBezTo>
                      <a:pt x="1429" y="316"/>
                      <a:pt x="1429" y="316"/>
                      <a:pt x="1429" y="316"/>
                    </a:cubicBezTo>
                    <a:cubicBezTo>
                      <a:pt x="1431" y="319"/>
                      <a:pt x="1431" y="320"/>
                      <a:pt x="1432" y="320"/>
                    </a:cubicBezTo>
                    <a:cubicBezTo>
                      <a:pt x="1432" y="320"/>
                      <a:pt x="1433" y="319"/>
                      <a:pt x="1434" y="319"/>
                    </a:cubicBezTo>
                    <a:cubicBezTo>
                      <a:pt x="1435" y="319"/>
                      <a:pt x="1435" y="319"/>
                      <a:pt x="1435" y="319"/>
                    </a:cubicBezTo>
                    <a:cubicBezTo>
                      <a:pt x="1435" y="319"/>
                      <a:pt x="1435" y="319"/>
                      <a:pt x="1435" y="319"/>
                    </a:cubicBezTo>
                    <a:cubicBezTo>
                      <a:pt x="1435" y="319"/>
                      <a:pt x="1435" y="319"/>
                      <a:pt x="1435" y="319"/>
                    </a:cubicBezTo>
                    <a:cubicBezTo>
                      <a:pt x="1436" y="320"/>
                      <a:pt x="1436" y="320"/>
                      <a:pt x="1437" y="320"/>
                    </a:cubicBezTo>
                    <a:cubicBezTo>
                      <a:pt x="1437" y="321"/>
                      <a:pt x="1437" y="321"/>
                      <a:pt x="1437" y="321"/>
                    </a:cubicBezTo>
                    <a:cubicBezTo>
                      <a:pt x="1438" y="321"/>
                      <a:pt x="1438" y="321"/>
                      <a:pt x="1438" y="321"/>
                    </a:cubicBezTo>
                    <a:cubicBezTo>
                      <a:pt x="1438" y="321"/>
                      <a:pt x="1439" y="321"/>
                      <a:pt x="1439" y="321"/>
                    </a:cubicBezTo>
                    <a:cubicBezTo>
                      <a:pt x="1439" y="321"/>
                      <a:pt x="1440" y="321"/>
                      <a:pt x="1440" y="320"/>
                    </a:cubicBezTo>
                    <a:cubicBezTo>
                      <a:pt x="1440" y="320"/>
                      <a:pt x="1440" y="320"/>
                      <a:pt x="1440" y="320"/>
                    </a:cubicBezTo>
                    <a:cubicBezTo>
                      <a:pt x="1441" y="320"/>
                      <a:pt x="1441" y="320"/>
                      <a:pt x="1441" y="320"/>
                    </a:cubicBezTo>
                    <a:cubicBezTo>
                      <a:pt x="1441" y="321"/>
                      <a:pt x="1441" y="321"/>
                      <a:pt x="1441" y="321"/>
                    </a:cubicBezTo>
                    <a:cubicBezTo>
                      <a:pt x="1442" y="321"/>
                      <a:pt x="1442" y="321"/>
                      <a:pt x="1442" y="321"/>
                    </a:cubicBezTo>
                    <a:cubicBezTo>
                      <a:pt x="1442" y="321"/>
                      <a:pt x="1442" y="321"/>
                      <a:pt x="1442" y="321"/>
                    </a:cubicBezTo>
                    <a:cubicBezTo>
                      <a:pt x="1443" y="321"/>
                      <a:pt x="1443" y="321"/>
                      <a:pt x="1443" y="321"/>
                    </a:cubicBezTo>
                    <a:cubicBezTo>
                      <a:pt x="1443" y="320"/>
                      <a:pt x="1443" y="320"/>
                      <a:pt x="1444" y="320"/>
                    </a:cubicBezTo>
                    <a:cubicBezTo>
                      <a:pt x="1444" y="320"/>
                      <a:pt x="1444" y="320"/>
                      <a:pt x="1445" y="320"/>
                    </a:cubicBezTo>
                    <a:cubicBezTo>
                      <a:pt x="1445" y="321"/>
                      <a:pt x="1445" y="321"/>
                      <a:pt x="1445" y="321"/>
                    </a:cubicBezTo>
                    <a:cubicBezTo>
                      <a:pt x="1445" y="321"/>
                      <a:pt x="1445" y="321"/>
                      <a:pt x="1445" y="321"/>
                    </a:cubicBezTo>
                    <a:cubicBezTo>
                      <a:pt x="1445" y="321"/>
                      <a:pt x="1445" y="321"/>
                      <a:pt x="1445" y="321"/>
                    </a:cubicBezTo>
                    <a:cubicBezTo>
                      <a:pt x="1446" y="322"/>
                      <a:pt x="1446" y="322"/>
                      <a:pt x="1446" y="322"/>
                    </a:cubicBezTo>
                    <a:cubicBezTo>
                      <a:pt x="1446" y="322"/>
                      <a:pt x="1446" y="322"/>
                      <a:pt x="1446" y="322"/>
                    </a:cubicBezTo>
                    <a:cubicBezTo>
                      <a:pt x="1446" y="322"/>
                      <a:pt x="1446" y="322"/>
                      <a:pt x="1446" y="322"/>
                    </a:cubicBezTo>
                    <a:cubicBezTo>
                      <a:pt x="1447" y="321"/>
                      <a:pt x="1447" y="321"/>
                      <a:pt x="1447" y="321"/>
                    </a:cubicBezTo>
                    <a:cubicBezTo>
                      <a:pt x="1447" y="321"/>
                      <a:pt x="1447" y="321"/>
                      <a:pt x="1447" y="321"/>
                    </a:cubicBezTo>
                    <a:cubicBezTo>
                      <a:pt x="1447" y="320"/>
                      <a:pt x="1447" y="320"/>
                      <a:pt x="1447" y="320"/>
                    </a:cubicBezTo>
                    <a:cubicBezTo>
                      <a:pt x="1447" y="320"/>
                      <a:pt x="1447" y="320"/>
                      <a:pt x="1447" y="320"/>
                    </a:cubicBezTo>
                    <a:cubicBezTo>
                      <a:pt x="1447" y="320"/>
                      <a:pt x="1447" y="320"/>
                      <a:pt x="1447" y="320"/>
                    </a:cubicBezTo>
                    <a:cubicBezTo>
                      <a:pt x="1447" y="319"/>
                      <a:pt x="1447" y="319"/>
                      <a:pt x="1447" y="319"/>
                    </a:cubicBezTo>
                    <a:cubicBezTo>
                      <a:pt x="1447" y="319"/>
                      <a:pt x="1447" y="319"/>
                      <a:pt x="1447" y="319"/>
                    </a:cubicBezTo>
                    <a:cubicBezTo>
                      <a:pt x="1447" y="319"/>
                      <a:pt x="1447" y="319"/>
                      <a:pt x="1447" y="319"/>
                    </a:cubicBezTo>
                    <a:cubicBezTo>
                      <a:pt x="1447" y="319"/>
                      <a:pt x="1447" y="319"/>
                      <a:pt x="1447" y="319"/>
                    </a:cubicBezTo>
                    <a:cubicBezTo>
                      <a:pt x="1448" y="319"/>
                      <a:pt x="1448" y="319"/>
                      <a:pt x="1448" y="319"/>
                    </a:cubicBezTo>
                    <a:cubicBezTo>
                      <a:pt x="1448" y="319"/>
                      <a:pt x="1448" y="319"/>
                      <a:pt x="1448" y="319"/>
                    </a:cubicBezTo>
                    <a:cubicBezTo>
                      <a:pt x="1448" y="319"/>
                      <a:pt x="1448" y="319"/>
                      <a:pt x="1448" y="319"/>
                    </a:cubicBezTo>
                    <a:cubicBezTo>
                      <a:pt x="1448" y="320"/>
                      <a:pt x="1448" y="320"/>
                      <a:pt x="1448" y="320"/>
                    </a:cubicBezTo>
                    <a:cubicBezTo>
                      <a:pt x="1448" y="320"/>
                      <a:pt x="1448" y="320"/>
                      <a:pt x="1448" y="320"/>
                    </a:cubicBezTo>
                    <a:cubicBezTo>
                      <a:pt x="1448" y="320"/>
                      <a:pt x="1448" y="320"/>
                      <a:pt x="1448" y="320"/>
                    </a:cubicBezTo>
                    <a:cubicBezTo>
                      <a:pt x="1449" y="321"/>
                      <a:pt x="1449" y="321"/>
                      <a:pt x="1449" y="321"/>
                    </a:cubicBezTo>
                    <a:cubicBezTo>
                      <a:pt x="1450" y="321"/>
                      <a:pt x="1450" y="321"/>
                      <a:pt x="1450" y="321"/>
                    </a:cubicBezTo>
                    <a:cubicBezTo>
                      <a:pt x="1452" y="321"/>
                      <a:pt x="1452" y="321"/>
                      <a:pt x="1452" y="321"/>
                    </a:cubicBezTo>
                    <a:cubicBezTo>
                      <a:pt x="1452" y="322"/>
                      <a:pt x="1452" y="322"/>
                      <a:pt x="1452" y="322"/>
                    </a:cubicBezTo>
                    <a:cubicBezTo>
                      <a:pt x="1452" y="322"/>
                      <a:pt x="1452" y="322"/>
                      <a:pt x="1452" y="322"/>
                    </a:cubicBezTo>
                    <a:cubicBezTo>
                      <a:pt x="1451" y="322"/>
                      <a:pt x="1451" y="322"/>
                      <a:pt x="1451" y="322"/>
                    </a:cubicBezTo>
                    <a:cubicBezTo>
                      <a:pt x="1451" y="322"/>
                      <a:pt x="1451" y="322"/>
                      <a:pt x="1451" y="322"/>
                    </a:cubicBezTo>
                    <a:cubicBezTo>
                      <a:pt x="1449" y="322"/>
                      <a:pt x="1449" y="322"/>
                      <a:pt x="1449" y="322"/>
                    </a:cubicBezTo>
                    <a:cubicBezTo>
                      <a:pt x="1449" y="322"/>
                      <a:pt x="1449" y="322"/>
                      <a:pt x="1449" y="322"/>
                    </a:cubicBezTo>
                    <a:cubicBezTo>
                      <a:pt x="1449" y="323"/>
                      <a:pt x="1449" y="323"/>
                      <a:pt x="1449" y="323"/>
                    </a:cubicBezTo>
                    <a:cubicBezTo>
                      <a:pt x="1449" y="323"/>
                      <a:pt x="1449" y="323"/>
                      <a:pt x="1449" y="323"/>
                    </a:cubicBezTo>
                    <a:cubicBezTo>
                      <a:pt x="1450" y="323"/>
                      <a:pt x="1451" y="323"/>
                      <a:pt x="1452" y="323"/>
                    </a:cubicBezTo>
                    <a:cubicBezTo>
                      <a:pt x="1453" y="323"/>
                      <a:pt x="1454" y="323"/>
                      <a:pt x="1455" y="322"/>
                    </a:cubicBezTo>
                    <a:cubicBezTo>
                      <a:pt x="1455" y="322"/>
                      <a:pt x="1455" y="322"/>
                      <a:pt x="1455" y="322"/>
                    </a:cubicBezTo>
                    <a:cubicBezTo>
                      <a:pt x="1455" y="322"/>
                      <a:pt x="1455" y="322"/>
                      <a:pt x="1455" y="322"/>
                    </a:cubicBezTo>
                    <a:cubicBezTo>
                      <a:pt x="1455" y="321"/>
                      <a:pt x="1455" y="321"/>
                      <a:pt x="1455" y="321"/>
                    </a:cubicBezTo>
                    <a:cubicBezTo>
                      <a:pt x="1456" y="321"/>
                      <a:pt x="1456" y="321"/>
                      <a:pt x="1456" y="321"/>
                    </a:cubicBezTo>
                    <a:cubicBezTo>
                      <a:pt x="1456" y="321"/>
                      <a:pt x="1456" y="321"/>
                      <a:pt x="1456" y="321"/>
                    </a:cubicBezTo>
                    <a:cubicBezTo>
                      <a:pt x="1457" y="321"/>
                      <a:pt x="1457" y="321"/>
                      <a:pt x="1457" y="321"/>
                    </a:cubicBezTo>
                    <a:cubicBezTo>
                      <a:pt x="1457" y="321"/>
                      <a:pt x="1457" y="321"/>
                      <a:pt x="1457" y="321"/>
                    </a:cubicBezTo>
                    <a:cubicBezTo>
                      <a:pt x="1458" y="322"/>
                      <a:pt x="1458" y="322"/>
                      <a:pt x="1458" y="322"/>
                    </a:cubicBezTo>
                    <a:cubicBezTo>
                      <a:pt x="1458" y="323"/>
                      <a:pt x="1458" y="323"/>
                      <a:pt x="1458" y="323"/>
                    </a:cubicBezTo>
                    <a:cubicBezTo>
                      <a:pt x="1459" y="323"/>
                      <a:pt x="1459" y="323"/>
                      <a:pt x="1459" y="323"/>
                    </a:cubicBezTo>
                    <a:cubicBezTo>
                      <a:pt x="1459" y="323"/>
                      <a:pt x="1459" y="323"/>
                      <a:pt x="1459" y="323"/>
                    </a:cubicBezTo>
                    <a:cubicBezTo>
                      <a:pt x="1460" y="323"/>
                      <a:pt x="1460" y="323"/>
                      <a:pt x="1460" y="323"/>
                    </a:cubicBezTo>
                    <a:cubicBezTo>
                      <a:pt x="1461" y="323"/>
                      <a:pt x="1461" y="323"/>
                      <a:pt x="1461" y="323"/>
                    </a:cubicBezTo>
                    <a:cubicBezTo>
                      <a:pt x="1462" y="324"/>
                      <a:pt x="1462" y="324"/>
                      <a:pt x="1462" y="324"/>
                    </a:cubicBezTo>
                    <a:cubicBezTo>
                      <a:pt x="1463" y="325"/>
                      <a:pt x="1463" y="325"/>
                      <a:pt x="1463" y="325"/>
                    </a:cubicBezTo>
                    <a:cubicBezTo>
                      <a:pt x="1464" y="325"/>
                      <a:pt x="1464" y="325"/>
                      <a:pt x="1464" y="325"/>
                    </a:cubicBezTo>
                    <a:cubicBezTo>
                      <a:pt x="1464" y="325"/>
                      <a:pt x="1464" y="325"/>
                      <a:pt x="1464" y="325"/>
                    </a:cubicBezTo>
                    <a:cubicBezTo>
                      <a:pt x="1463" y="325"/>
                      <a:pt x="1463" y="325"/>
                      <a:pt x="1463" y="325"/>
                    </a:cubicBezTo>
                    <a:cubicBezTo>
                      <a:pt x="1463" y="326"/>
                      <a:pt x="1463" y="326"/>
                      <a:pt x="1463" y="326"/>
                    </a:cubicBezTo>
                    <a:cubicBezTo>
                      <a:pt x="1463" y="326"/>
                      <a:pt x="1462" y="326"/>
                      <a:pt x="1462" y="326"/>
                    </a:cubicBezTo>
                    <a:cubicBezTo>
                      <a:pt x="1461" y="326"/>
                      <a:pt x="1460" y="325"/>
                      <a:pt x="1459" y="325"/>
                    </a:cubicBezTo>
                    <a:cubicBezTo>
                      <a:pt x="1458" y="324"/>
                      <a:pt x="1457" y="324"/>
                      <a:pt x="1456" y="324"/>
                    </a:cubicBezTo>
                    <a:cubicBezTo>
                      <a:pt x="1456" y="324"/>
                      <a:pt x="1455" y="324"/>
                      <a:pt x="1455" y="324"/>
                    </a:cubicBezTo>
                    <a:cubicBezTo>
                      <a:pt x="1455" y="324"/>
                      <a:pt x="1455" y="324"/>
                      <a:pt x="1455" y="324"/>
                    </a:cubicBezTo>
                    <a:cubicBezTo>
                      <a:pt x="1454" y="324"/>
                      <a:pt x="1454" y="324"/>
                      <a:pt x="1454" y="324"/>
                    </a:cubicBezTo>
                    <a:cubicBezTo>
                      <a:pt x="1454" y="325"/>
                      <a:pt x="1454" y="325"/>
                      <a:pt x="1454" y="325"/>
                    </a:cubicBezTo>
                    <a:cubicBezTo>
                      <a:pt x="1454" y="325"/>
                      <a:pt x="1453" y="324"/>
                      <a:pt x="1453" y="324"/>
                    </a:cubicBezTo>
                    <a:cubicBezTo>
                      <a:pt x="1452" y="324"/>
                      <a:pt x="1452" y="325"/>
                      <a:pt x="1451" y="325"/>
                    </a:cubicBezTo>
                    <a:cubicBezTo>
                      <a:pt x="1451" y="325"/>
                      <a:pt x="1451" y="325"/>
                      <a:pt x="1451" y="325"/>
                    </a:cubicBezTo>
                    <a:cubicBezTo>
                      <a:pt x="1451" y="325"/>
                      <a:pt x="1451" y="325"/>
                      <a:pt x="1451" y="325"/>
                    </a:cubicBezTo>
                    <a:cubicBezTo>
                      <a:pt x="1450" y="326"/>
                      <a:pt x="1449" y="326"/>
                      <a:pt x="1449" y="326"/>
                    </a:cubicBezTo>
                    <a:cubicBezTo>
                      <a:pt x="1448" y="326"/>
                      <a:pt x="1448" y="326"/>
                      <a:pt x="1447" y="326"/>
                    </a:cubicBezTo>
                    <a:cubicBezTo>
                      <a:pt x="1447" y="326"/>
                      <a:pt x="1447" y="326"/>
                      <a:pt x="1447" y="326"/>
                    </a:cubicBezTo>
                    <a:cubicBezTo>
                      <a:pt x="1444" y="325"/>
                      <a:pt x="1444" y="325"/>
                      <a:pt x="1444" y="325"/>
                    </a:cubicBezTo>
                    <a:cubicBezTo>
                      <a:pt x="1426" y="326"/>
                      <a:pt x="1426" y="326"/>
                      <a:pt x="1426" y="326"/>
                    </a:cubicBezTo>
                    <a:cubicBezTo>
                      <a:pt x="1417" y="319"/>
                      <a:pt x="1417" y="319"/>
                      <a:pt x="1417" y="319"/>
                    </a:cubicBezTo>
                    <a:cubicBezTo>
                      <a:pt x="1410" y="315"/>
                      <a:pt x="1410" y="315"/>
                      <a:pt x="1410" y="315"/>
                    </a:cubicBezTo>
                    <a:cubicBezTo>
                      <a:pt x="1409" y="314"/>
                      <a:pt x="1409" y="314"/>
                      <a:pt x="1409" y="314"/>
                    </a:cubicBezTo>
                    <a:cubicBezTo>
                      <a:pt x="1409" y="313"/>
                      <a:pt x="1409" y="313"/>
                      <a:pt x="1409" y="313"/>
                    </a:cubicBezTo>
                    <a:cubicBezTo>
                      <a:pt x="1409" y="313"/>
                      <a:pt x="1409" y="313"/>
                      <a:pt x="1409" y="313"/>
                    </a:cubicBezTo>
                    <a:cubicBezTo>
                      <a:pt x="1409" y="313"/>
                      <a:pt x="1409" y="313"/>
                      <a:pt x="1409" y="313"/>
                    </a:cubicBezTo>
                    <a:cubicBezTo>
                      <a:pt x="1409" y="312"/>
                      <a:pt x="1409" y="312"/>
                      <a:pt x="1409" y="312"/>
                    </a:cubicBezTo>
                    <a:cubicBezTo>
                      <a:pt x="1409" y="312"/>
                      <a:pt x="1409" y="312"/>
                      <a:pt x="1409" y="312"/>
                    </a:cubicBezTo>
                    <a:cubicBezTo>
                      <a:pt x="1410" y="312"/>
                      <a:pt x="1410" y="312"/>
                      <a:pt x="1410" y="312"/>
                    </a:cubicBezTo>
                    <a:cubicBezTo>
                      <a:pt x="1410" y="312"/>
                      <a:pt x="1410" y="312"/>
                      <a:pt x="1410" y="312"/>
                    </a:cubicBezTo>
                    <a:cubicBezTo>
                      <a:pt x="1411" y="312"/>
                      <a:pt x="1411" y="312"/>
                      <a:pt x="1411" y="312"/>
                    </a:cubicBezTo>
                    <a:cubicBezTo>
                      <a:pt x="1411" y="312"/>
                      <a:pt x="1411" y="312"/>
                      <a:pt x="1411" y="312"/>
                    </a:cubicBezTo>
                    <a:cubicBezTo>
                      <a:pt x="1411" y="312"/>
                      <a:pt x="1411" y="312"/>
                      <a:pt x="1411" y="312"/>
                    </a:cubicBezTo>
                    <a:cubicBezTo>
                      <a:pt x="1412" y="312"/>
                      <a:pt x="1412" y="312"/>
                      <a:pt x="1412" y="312"/>
                    </a:cubicBezTo>
                    <a:cubicBezTo>
                      <a:pt x="1412" y="312"/>
                      <a:pt x="1412" y="312"/>
                      <a:pt x="1412" y="312"/>
                    </a:cubicBezTo>
                    <a:cubicBezTo>
                      <a:pt x="1414" y="310"/>
                      <a:pt x="1414" y="310"/>
                      <a:pt x="1414" y="310"/>
                    </a:cubicBezTo>
                    <a:cubicBezTo>
                      <a:pt x="1413" y="301"/>
                      <a:pt x="1413" y="301"/>
                      <a:pt x="1413" y="301"/>
                    </a:cubicBezTo>
                    <a:cubicBezTo>
                      <a:pt x="1413" y="300"/>
                      <a:pt x="1413" y="300"/>
                      <a:pt x="1413" y="300"/>
                    </a:cubicBezTo>
                    <a:cubicBezTo>
                      <a:pt x="1414" y="297"/>
                      <a:pt x="1414" y="297"/>
                      <a:pt x="1414" y="297"/>
                    </a:cubicBezTo>
                    <a:cubicBezTo>
                      <a:pt x="1416" y="294"/>
                      <a:pt x="1416" y="294"/>
                      <a:pt x="1416" y="294"/>
                    </a:cubicBezTo>
                    <a:cubicBezTo>
                      <a:pt x="1416" y="293"/>
                      <a:pt x="1416" y="293"/>
                      <a:pt x="1416" y="293"/>
                    </a:cubicBezTo>
                    <a:cubicBezTo>
                      <a:pt x="1416" y="292"/>
                      <a:pt x="1416" y="292"/>
                      <a:pt x="1416" y="292"/>
                    </a:cubicBezTo>
                    <a:cubicBezTo>
                      <a:pt x="1415" y="292"/>
                      <a:pt x="1415" y="292"/>
                      <a:pt x="1415" y="292"/>
                    </a:cubicBezTo>
                    <a:cubicBezTo>
                      <a:pt x="1414" y="292"/>
                      <a:pt x="1414" y="292"/>
                      <a:pt x="1414" y="292"/>
                    </a:cubicBezTo>
                    <a:cubicBezTo>
                      <a:pt x="1412" y="290"/>
                      <a:pt x="1412" y="290"/>
                      <a:pt x="1412" y="290"/>
                    </a:cubicBezTo>
                    <a:cubicBezTo>
                      <a:pt x="1412" y="290"/>
                      <a:pt x="1412" y="290"/>
                      <a:pt x="1412" y="290"/>
                    </a:cubicBezTo>
                    <a:cubicBezTo>
                      <a:pt x="1411" y="289"/>
                      <a:pt x="1411" y="289"/>
                      <a:pt x="1411" y="289"/>
                    </a:cubicBezTo>
                    <a:cubicBezTo>
                      <a:pt x="1412" y="289"/>
                      <a:pt x="1412" y="289"/>
                      <a:pt x="1412" y="289"/>
                    </a:cubicBezTo>
                    <a:cubicBezTo>
                      <a:pt x="1412" y="288"/>
                      <a:pt x="1412" y="288"/>
                      <a:pt x="1412" y="288"/>
                    </a:cubicBezTo>
                    <a:cubicBezTo>
                      <a:pt x="1413" y="286"/>
                      <a:pt x="1413" y="286"/>
                      <a:pt x="1413" y="286"/>
                    </a:cubicBezTo>
                    <a:cubicBezTo>
                      <a:pt x="1414" y="281"/>
                      <a:pt x="1414" y="281"/>
                      <a:pt x="1414" y="281"/>
                    </a:cubicBezTo>
                    <a:cubicBezTo>
                      <a:pt x="1415" y="279"/>
                      <a:pt x="1415" y="279"/>
                      <a:pt x="1415" y="279"/>
                    </a:cubicBezTo>
                    <a:cubicBezTo>
                      <a:pt x="1415" y="278"/>
                      <a:pt x="1415" y="278"/>
                      <a:pt x="1415" y="278"/>
                    </a:cubicBezTo>
                    <a:cubicBezTo>
                      <a:pt x="1415" y="278"/>
                      <a:pt x="1415" y="278"/>
                      <a:pt x="1415" y="278"/>
                    </a:cubicBezTo>
                    <a:cubicBezTo>
                      <a:pt x="1414" y="277"/>
                      <a:pt x="1414" y="277"/>
                      <a:pt x="1414" y="277"/>
                    </a:cubicBezTo>
                    <a:cubicBezTo>
                      <a:pt x="1414" y="277"/>
                      <a:pt x="1414" y="277"/>
                      <a:pt x="1414" y="277"/>
                    </a:cubicBezTo>
                    <a:cubicBezTo>
                      <a:pt x="1414" y="277"/>
                      <a:pt x="1414" y="277"/>
                      <a:pt x="1414" y="277"/>
                    </a:cubicBezTo>
                    <a:cubicBezTo>
                      <a:pt x="1413" y="276"/>
                      <a:pt x="1412" y="275"/>
                      <a:pt x="1411" y="275"/>
                    </a:cubicBezTo>
                    <a:cubicBezTo>
                      <a:pt x="1411" y="275"/>
                      <a:pt x="1411" y="275"/>
                      <a:pt x="1411" y="275"/>
                    </a:cubicBezTo>
                    <a:cubicBezTo>
                      <a:pt x="1411" y="275"/>
                      <a:pt x="1411" y="275"/>
                      <a:pt x="1411" y="275"/>
                    </a:cubicBezTo>
                    <a:cubicBezTo>
                      <a:pt x="1411" y="276"/>
                      <a:pt x="1411" y="276"/>
                      <a:pt x="1411" y="276"/>
                    </a:cubicBezTo>
                    <a:cubicBezTo>
                      <a:pt x="1410" y="276"/>
                      <a:pt x="1410" y="276"/>
                      <a:pt x="1410" y="276"/>
                    </a:cubicBezTo>
                    <a:cubicBezTo>
                      <a:pt x="1410" y="276"/>
                      <a:pt x="1410" y="276"/>
                      <a:pt x="1410" y="276"/>
                    </a:cubicBezTo>
                    <a:cubicBezTo>
                      <a:pt x="1410" y="276"/>
                      <a:pt x="1410" y="276"/>
                      <a:pt x="1410" y="276"/>
                    </a:cubicBezTo>
                    <a:cubicBezTo>
                      <a:pt x="1409" y="276"/>
                      <a:pt x="1409" y="276"/>
                      <a:pt x="1409" y="276"/>
                    </a:cubicBezTo>
                    <a:cubicBezTo>
                      <a:pt x="1409" y="275"/>
                      <a:pt x="1409" y="275"/>
                      <a:pt x="1409" y="275"/>
                    </a:cubicBezTo>
                    <a:cubicBezTo>
                      <a:pt x="1408" y="274"/>
                      <a:pt x="1408" y="274"/>
                      <a:pt x="1408" y="274"/>
                    </a:cubicBezTo>
                    <a:cubicBezTo>
                      <a:pt x="1408" y="274"/>
                      <a:pt x="1408" y="274"/>
                      <a:pt x="1408" y="274"/>
                    </a:cubicBezTo>
                    <a:cubicBezTo>
                      <a:pt x="1408" y="273"/>
                      <a:pt x="1406" y="272"/>
                      <a:pt x="1405" y="272"/>
                    </a:cubicBezTo>
                    <a:cubicBezTo>
                      <a:pt x="1405" y="271"/>
                      <a:pt x="1405" y="271"/>
                      <a:pt x="1405" y="271"/>
                    </a:cubicBezTo>
                    <a:cubicBezTo>
                      <a:pt x="1404" y="270"/>
                      <a:pt x="1404" y="270"/>
                      <a:pt x="1404" y="270"/>
                    </a:cubicBezTo>
                    <a:cubicBezTo>
                      <a:pt x="1402" y="267"/>
                      <a:pt x="1402" y="267"/>
                      <a:pt x="1402" y="267"/>
                    </a:cubicBezTo>
                    <a:cubicBezTo>
                      <a:pt x="1398" y="260"/>
                      <a:pt x="1398" y="260"/>
                      <a:pt x="1398" y="260"/>
                    </a:cubicBezTo>
                    <a:cubicBezTo>
                      <a:pt x="1396" y="258"/>
                      <a:pt x="1396" y="258"/>
                      <a:pt x="1396" y="258"/>
                    </a:cubicBezTo>
                    <a:cubicBezTo>
                      <a:pt x="1394" y="256"/>
                      <a:pt x="1394" y="256"/>
                      <a:pt x="1394" y="256"/>
                    </a:cubicBezTo>
                    <a:cubicBezTo>
                      <a:pt x="1394" y="256"/>
                      <a:pt x="1394" y="256"/>
                      <a:pt x="1394" y="256"/>
                    </a:cubicBezTo>
                    <a:cubicBezTo>
                      <a:pt x="1393" y="256"/>
                      <a:pt x="1393" y="256"/>
                      <a:pt x="1393" y="256"/>
                    </a:cubicBezTo>
                    <a:cubicBezTo>
                      <a:pt x="1393" y="256"/>
                      <a:pt x="1393" y="256"/>
                      <a:pt x="1393" y="256"/>
                    </a:cubicBezTo>
                    <a:cubicBezTo>
                      <a:pt x="1392" y="256"/>
                      <a:pt x="1392" y="256"/>
                      <a:pt x="1392" y="256"/>
                    </a:cubicBezTo>
                    <a:cubicBezTo>
                      <a:pt x="1392" y="256"/>
                      <a:pt x="1392" y="256"/>
                      <a:pt x="1392" y="256"/>
                    </a:cubicBezTo>
                    <a:cubicBezTo>
                      <a:pt x="1391" y="256"/>
                      <a:pt x="1391" y="256"/>
                      <a:pt x="1391" y="256"/>
                    </a:cubicBezTo>
                    <a:cubicBezTo>
                      <a:pt x="1391" y="256"/>
                      <a:pt x="1391" y="256"/>
                      <a:pt x="1391" y="256"/>
                    </a:cubicBezTo>
                    <a:cubicBezTo>
                      <a:pt x="1390" y="256"/>
                      <a:pt x="1390" y="256"/>
                      <a:pt x="1390" y="256"/>
                    </a:cubicBezTo>
                    <a:cubicBezTo>
                      <a:pt x="1389" y="256"/>
                      <a:pt x="1388" y="256"/>
                      <a:pt x="1387" y="256"/>
                    </a:cubicBezTo>
                    <a:cubicBezTo>
                      <a:pt x="1384" y="256"/>
                      <a:pt x="1382" y="256"/>
                      <a:pt x="1380" y="257"/>
                    </a:cubicBezTo>
                    <a:cubicBezTo>
                      <a:pt x="1379" y="257"/>
                      <a:pt x="1379" y="257"/>
                      <a:pt x="1379" y="257"/>
                    </a:cubicBezTo>
                    <a:cubicBezTo>
                      <a:pt x="1379" y="257"/>
                      <a:pt x="1379" y="257"/>
                      <a:pt x="1379" y="257"/>
                    </a:cubicBezTo>
                    <a:cubicBezTo>
                      <a:pt x="1378" y="257"/>
                      <a:pt x="1378" y="257"/>
                      <a:pt x="1378" y="257"/>
                    </a:cubicBezTo>
                    <a:cubicBezTo>
                      <a:pt x="1378" y="257"/>
                      <a:pt x="1378" y="257"/>
                      <a:pt x="1378" y="257"/>
                    </a:cubicBezTo>
                    <a:cubicBezTo>
                      <a:pt x="1378" y="257"/>
                      <a:pt x="1378" y="257"/>
                      <a:pt x="1378" y="257"/>
                    </a:cubicBezTo>
                    <a:cubicBezTo>
                      <a:pt x="1377" y="257"/>
                      <a:pt x="1377" y="257"/>
                      <a:pt x="1377" y="257"/>
                    </a:cubicBezTo>
                    <a:cubicBezTo>
                      <a:pt x="1376" y="257"/>
                      <a:pt x="1376" y="257"/>
                      <a:pt x="1376" y="257"/>
                    </a:cubicBezTo>
                    <a:cubicBezTo>
                      <a:pt x="1372" y="258"/>
                      <a:pt x="1372" y="258"/>
                      <a:pt x="1372" y="258"/>
                    </a:cubicBezTo>
                    <a:cubicBezTo>
                      <a:pt x="1335" y="270"/>
                      <a:pt x="1335" y="270"/>
                      <a:pt x="1335" y="270"/>
                    </a:cubicBezTo>
                    <a:cubicBezTo>
                      <a:pt x="1334" y="270"/>
                      <a:pt x="1334" y="270"/>
                      <a:pt x="1334" y="270"/>
                    </a:cubicBezTo>
                    <a:cubicBezTo>
                      <a:pt x="1334" y="270"/>
                      <a:pt x="1334" y="270"/>
                      <a:pt x="1334" y="270"/>
                    </a:cubicBezTo>
                    <a:cubicBezTo>
                      <a:pt x="1334" y="271"/>
                      <a:pt x="1334" y="271"/>
                      <a:pt x="1334" y="271"/>
                    </a:cubicBezTo>
                    <a:cubicBezTo>
                      <a:pt x="1334" y="271"/>
                      <a:pt x="1334" y="271"/>
                      <a:pt x="1334" y="271"/>
                    </a:cubicBezTo>
                    <a:cubicBezTo>
                      <a:pt x="1334" y="271"/>
                      <a:pt x="1334" y="271"/>
                      <a:pt x="1334" y="271"/>
                    </a:cubicBezTo>
                    <a:cubicBezTo>
                      <a:pt x="1334" y="272"/>
                      <a:pt x="1334" y="272"/>
                      <a:pt x="1334" y="272"/>
                    </a:cubicBezTo>
                    <a:cubicBezTo>
                      <a:pt x="1334" y="273"/>
                      <a:pt x="1333" y="274"/>
                      <a:pt x="1333" y="275"/>
                    </a:cubicBezTo>
                    <a:cubicBezTo>
                      <a:pt x="1333" y="275"/>
                      <a:pt x="1333" y="275"/>
                      <a:pt x="1333" y="275"/>
                    </a:cubicBezTo>
                    <a:cubicBezTo>
                      <a:pt x="1334" y="276"/>
                      <a:pt x="1334" y="276"/>
                      <a:pt x="1334" y="276"/>
                    </a:cubicBezTo>
                    <a:cubicBezTo>
                      <a:pt x="1334" y="276"/>
                      <a:pt x="1334" y="276"/>
                      <a:pt x="1334" y="276"/>
                    </a:cubicBezTo>
                    <a:cubicBezTo>
                      <a:pt x="1337" y="280"/>
                      <a:pt x="1330" y="284"/>
                      <a:pt x="1331" y="286"/>
                    </a:cubicBezTo>
                    <a:cubicBezTo>
                      <a:pt x="1331" y="286"/>
                      <a:pt x="1331" y="286"/>
                      <a:pt x="1331" y="286"/>
                    </a:cubicBezTo>
                    <a:cubicBezTo>
                      <a:pt x="1331" y="286"/>
                      <a:pt x="1331" y="286"/>
                      <a:pt x="1331" y="286"/>
                    </a:cubicBezTo>
                    <a:cubicBezTo>
                      <a:pt x="1332" y="287"/>
                      <a:pt x="1332" y="287"/>
                      <a:pt x="1332" y="287"/>
                    </a:cubicBezTo>
                    <a:cubicBezTo>
                      <a:pt x="1332" y="287"/>
                      <a:pt x="1332" y="287"/>
                      <a:pt x="1332" y="287"/>
                    </a:cubicBezTo>
                    <a:cubicBezTo>
                      <a:pt x="1332" y="287"/>
                      <a:pt x="1332" y="287"/>
                      <a:pt x="1332" y="287"/>
                    </a:cubicBezTo>
                    <a:cubicBezTo>
                      <a:pt x="1333" y="287"/>
                      <a:pt x="1333" y="287"/>
                      <a:pt x="1333" y="287"/>
                    </a:cubicBezTo>
                    <a:cubicBezTo>
                      <a:pt x="1335" y="290"/>
                      <a:pt x="1338" y="291"/>
                      <a:pt x="1340" y="294"/>
                    </a:cubicBezTo>
                    <a:cubicBezTo>
                      <a:pt x="1340" y="294"/>
                      <a:pt x="1340" y="294"/>
                      <a:pt x="1340" y="294"/>
                    </a:cubicBezTo>
                    <a:cubicBezTo>
                      <a:pt x="1340" y="294"/>
                      <a:pt x="1340" y="294"/>
                      <a:pt x="1340" y="294"/>
                    </a:cubicBezTo>
                    <a:cubicBezTo>
                      <a:pt x="1343" y="298"/>
                      <a:pt x="1342" y="297"/>
                      <a:pt x="1343" y="301"/>
                    </a:cubicBezTo>
                    <a:cubicBezTo>
                      <a:pt x="1343" y="301"/>
                      <a:pt x="1343" y="301"/>
                      <a:pt x="1343" y="301"/>
                    </a:cubicBezTo>
                    <a:cubicBezTo>
                      <a:pt x="1343" y="302"/>
                      <a:pt x="1343" y="302"/>
                      <a:pt x="1343" y="302"/>
                    </a:cubicBezTo>
                    <a:cubicBezTo>
                      <a:pt x="1343" y="302"/>
                      <a:pt x="1343" y="302"/>
                      <a:pt x="1343" y="302"/>
                    </a:cubicBezTo>
                    <a:cubicBezTo>
                      <a:pt x="1343" y="302"/>
                      <a:pt x="1343" y="302"/>
                      <a:pt x="1343" y="302"/>
                    </a:cubicBezTo>
                    <a:cubicBezTo>
                      <a:pt x="1343" y="303"/>
                      <a:pt x="1343" y="303"/>
                      <a:pt x="1343" y="303"/>
                    </a:cubicBezTo>
                    <a:cubicBezTo>
                      <a:pt x="1343" y="303"/>
                      <a:pt x="1343" y="303"/>
                      <a:pt x="1343" y="303"/>
                    </a:cubicBezTo>
                    <a:cubicBezTo>
                      <a:pt x="1344" y="303"/>
                      <a:pt x="1344" y="303"/>
                      <a:pt x="1344" y="303"/>
                    </a:cubicBezTo>
                    <a:cubicBezTo>
                      <a:pt x="1344" y="304"/>
                      <a:pt x="1344" y="304"/>
                      <a:pt x="1344" y="304"/>
                    </a:cubicBezTo>
                    <a:cubicBezTo>
                      <a:pt x="1344" y="304"/>
                      <a:pt x="1344" y="304"/>
                      <a:pt x="1344" y="304"/>
                    </a:cubicBezTo>
                    <a:cubicBezTo>
                      <a:pt x="1344" y="304"/>
                      <a:pt x="1344" y="304"/>
                      <a:pt x="1344" y="304"/>
                    </a:cubicBezTo>
                    <a:cubicBezTo>
                      <a:pt x="1344" y="304"/>
                      <a:pt x="1344" y="304"/>
                      <a:pt x="1344" y="304"/>
                    </a:cubicBezTo>
                    <a:cubicBezTo>
                      <a:pt x="1344" y="304"/>
                      <a:pt x="1344" y="304"/>
                      <a:pt x="1344" y="304"/>
                    </a:cubicBezTo>
                    <a:cubicBezTo>
                      <a:pt x="1344" y="305"/>
                      <a:pt x="1344" y="305"/>
                      <a:pt x="1344" y="305"/>
                    </a:cubicBezTo>
                    <a:cubicBezTo>
                      <a:pt x="1344" y="305"/>
                      <a:pt x="1344" y="305"/>
                      <a:pt x="1344" y="305"/>
                    </a:cubicBezTo>
                    <a:cubicBezTo>
                      <a:pt x="1344" y="305"/>
                      <a:pt x="1344" y="305"/>
                      <a:pt x="1344" y="305"/>
                    </a:cubicBezTo>
                    <a:cubicBezTo>
                      <a:pt x="1344" y="305"/>
                      <a:pt x="1344" y="305"/>
                      <a:pt x="1344" y="305"/>
                    </a:cubicBezTo>
                    <a:cubicBezTo>
                      <a:pt x="1344" y="306"/>
                      <a:pt x="1344" y="306"/>
                      <a:pt x="1344" y="306"/>
                    </a:cubicBezTo>
                    <a:cubicBezTo>
                      <a:pt x="1344" y="306"/>
                      <a:pt x="1344" y="306"/>
                      <a:pt x="1344" y="306"/>
                    </a:cubicBezTo>
                    <a:cubicBezTo>
                      <a:pt x="1345" y="306"/>
                      <a:pt x="1345" y="306"/>
                      <a:pt x="1345" y="306"/>
                    </a:cubicBezTo>
                    <a:cubicBezTo>
                      <a:pt x="1344" y="308"/>
                      <a:pt x="1344" y="308"/>
                      <a:pt x="1344" y="308"/>
                    </a:cubicBezTo>
                    <a:cubicBezTo>
                      <a:pt x="1344" y="310"/>
                      <a:pt x="1344" y="310"/>
                      <a:pt x="1344" y="310"/>
                    </a:cubicBezTo>
                    <a:cubicBezTo>
                      <a:pt x="1343" y="316"/>
                      <a:pt x="1343" y="316"/>
                      <a:pt x="1343" y="316"/>
                    </a:cubicBezTo>
                    <a:cubicBezTo>
                      <a:pt x="1342" y="318"/>
                      <a:pt x="1342" y="318"/>
                      <a:pt x="1342" y="318"/>
                    </a:cubicBezTo>
                    <a:cubicBezTo>
                      <a:pt x="1342" y="320"/>
                      <a:pt x="1342" y="320"/>
                      <a:pt x="1342" y="320"/>
                    </a:cubicBezTo>
                    <a:cubicBezTo>
                      <a:pt x="1341" y="320"/>
                      <a:pt x="1341" y="320"/>
                      <a:pt x="1341" y="320"/>
                    </a:cubicBezTo>
                    <a:cubicBezTo>
                      <a:pt x="1341" y="320"/>
                      <a:pt x="1341" y="320"/>
                      <a:pt x="1341" y="320"/>
                    </a:cubicBezTo>
                    <a:cubicBezTo>
                      <a:pt x="1340" y="321"/>
                      <a:pt x="1340" y="321"/>
                      <a:pt x="1340" y="321"/>
                    </a:cubicBezTo>
                    <a:cubicBezTo>
                      <a:pt x="1337" y="324"/>
                      <a:pt x="1333" y="326"/>
                      <a:pt x="1330" y="328"/>
                    </a:cubicBezTo>
                    <a:cubicBezTo>
                      <a:pt x="1327" y="331"/>
                      <a:pt x="1327" y="331"/>
                      <a:pt x="1327" y="331"/>
                    </a:cubicBezTo>
                    <a:cubicBezTo>
                      <a:pt x="1322" y="336"/>
                      <a:pt x="1322" y="336"/>
                      <a:pt x="1322" y="336"/>
                    </a:cubicBezTo>
                    <a:cubicBezTo>
                      <a:pt x="1320" y="338"/>
                      <a:pt x="1320" y="338"/>
                      <a:pt x="1320" y="338"/>
                    </a:cubicBezTo>
                    <a:cubicBezTo>
                      <a:pt x="1319" y="339"/>
                      <a:pt x="1319" y="339"/>
                      <a:pt x="1319" y="339"/>
                    </a:cubicBezTo>
                    <a:cubicBezTo>
                      <a:pt x="1319" y="339"/>
                      <a:pt x="1319" y="339"/>
                      <a:pt x="1319" y="339"/>
                    </a:cubicBezTo>
                    <a:cubicBezTo>
                      <a:pt x="1319" y="340"/>
                      <a:pt x="1319" y="340"/>
                      <a:pt x="1319" y="340"/>
                    </a:cubicBezTo>
                    <a:cubicBezTo>
                      <a:pt x="1319" y="340"/>
                      <a:pt x="1319" y="340"/>
                      <a:pt x="1319" y="340"/>
                    </a:cubicBezTo>
                    <a:cubicBezTo>
                      <a:pt x="1319" y="340"/>
                      <a:pt x="1319" y="340"/>
                      <a:pt x="1319" y="340"/>
                    </a:cubicBezTo>
                    <a:cubicBezTo>
                      <a:pt x="1320" y="342"/>
                      <a:pt x="1319" y="343"/>
                      <a:pt x="1319" y="345"/>
                    </a:cubicBezTo>
                    <a:cubicBezTo>
                      <a:pt x="1318" y="350"/>
                      <a:pt x="1318" y="350"/>
                      <a:pt x="1318" y="350"/>
                    </a:cubicBezTo>
                    <a:cubicBezTo>
                      <a:pt x="1317" y="352"/>
                      <a:pt x="1317" y="352"/>
                      <a:pt x="1317" y="352"/>
                    </a:cubicBezTo>
                    <a:cubicBezTo>
                      <a:pt x="1317" y="354"/>
                      <a:pt x="1317" y="354"/>
                      <a:pt x="1317" y="354"/>
                    </a:cubicBezTo>
                    <a:cubicBezTo>
                      <a:pt x="1316" y="354"/>
                      <a:pt x="1316" y="354"/>
                      <a:pt x="1316" y="354"/>
                    </a:cubicBezTo>
                    <a:cubicBezTo>
                      <a:pt x="1316" y="354"/>
                      <a:pt x="1316" y="354"/>
                      <a:pt x="1316" y="354"/>
                    </a:cubicBezTo>
                    <a:cubicBezTo>
                      <a:pt x="1315" y="354"/>
                      <a:pt x="1315" y="354"/>
                      <a:pt x="1315" y="354"/>
                    </a:cubicBezTo>
                    <a:cubicBezTo>
                      <a:pt x="1315" y="355"/>
                      <a:pt x="1315" y="355"/>
                      <a:pt x="1315" y="355"/>
                    </a:cubicBezTo>
                    <a:cubicBezTo>
                      <a:pt x="1314" y="355"/>
                      <a:pt x="1314" y="355"/>
                      <a:pt x="1314" y="355"/>
                    </a:cubicBezTo>
                    <a:cubicBezTo>
                      <a:pt x="1314" y="355"/>
                      <a:pt x="1314" y="355"/>
                      <a:pt x="1314" y="355"/>
                    </a:cubicBezTo>
                    <a:cubicBezTo>
                      <a:pt x="1314" y="355"/>
                      <a:pt x="1314" y="355"/>
                      <a:pt x="1314" y="355"/>
                    </a:cubicBezTo>
                    <a:cubicBezTo>
                      <a:pt x="1313" y="355"/>
                      <a:pt x="1313" y="355"/>
                      <a:pt x="1313" y="355"/>
                    </a:cubicBezTo>
                    <a:cubicBezTo>
                      <a:pt x="1313" y="355"/>
                      <a:pt x="1313" y="355"/>
                      <a:pt x="1313" y="355"/>
                    </a:cubicBezTo>
                    <a:cubicBezTo>
                      <a:pt x="1310" y="357"/>
                      <a:pt x="1309" y="360"/>
                      <a:pt x="1307" y="361"/>
                    </a:cubicBezTo>
                    <a:cubicBezTo>
                      <a:pt x="1306" y="361"/>
                      <a:pt x="1306" y="361"/>
                      <a:pt x="1306" y="361"/>
                    </a:cubicBezTo>
                    <a:cubicBezTo>
                      <a:pt x="1306" y="361"/>
                      <a:pt x="1306" y="361"/>
                      <a:pt x="1306" y="361"/>
                    </a:cubicBezTo>
                    <a:cubicBezTo>
                      <a:pt x="1305" y="361"/>
                      <a:pt x="1304" y="361"/>
                      <a:pt x="1303" y="362"/>
                    </a:cubicBezTo>
                    <a:cubicBezTo>
                      <a:pt x="1303" y="362"/>
                      <a:pt x="1303" y="362"/>
                      <a:pt x="1303" y="362"/>
                    </a:cubicBezTo>
                    <a:cubicBezTo>
                      <a:pt x="1302" y="362"/>
                      <a:pt x="1302" y="362"/>
                      <a:pt x="1302" y="362"/>
                    </a:cubicBezTo>
                    <a:cubicBezTo>
                      <a:pt x="1302" y="362"/>
                      <a:pt x="1302" y="362"/>
                      <a:pt x="1302" y="362"/>
                    </a:cubicBezTo>
                    <a:cubicBezTo>
                      <a:pt x="1301" y="362"/>
                      <a:pt x="1301" y="362"/>
                      <a:pt x="1301" y="362"/>
                    </a:cubicBezTo>
                    <a:cubicBezTo>
                      <a:pt x="1301" y="362"/>
                      <a:pt x="1301" y="362"/>
                      <a:pt x="1301" y="362"/>
                    </a:cubicBezTo>
                    <a:cubicBezTo>
                      <a:pt x="1297" y="363"/>
                      <a:pt x="1294" y="366"/>
                      <a:pt x="1292" y="369"/>
                    </a:cubicBezTo>
                    <a:cubicBezTo>
                      <a:pt x="1291" y="369"/>
                      <a:pt x="1291" y="369"/>
                      <a:pt x="1291" y="369"/>
                    </a:cubicBezTo>
                    <a:cubicBezTo>
                      <a:pt x="1290" y="369"/>
                      <a:pt x="1290" y="369"/>
                      <a:pt x="1290" y="369"/>
                    </a:cubicBezTo>
                    <a:cubicBezTo>
                      <a:pt x="1290" y="369"/>
                      <a:pt x="1290" y="369"/>
                      <a:pt x="1290" y="369"/>
                    </a:cubicBezTo>
                    <a:cubicBezTo>
                      <a:pt x="1290" y="369"/>
                      <a:pt x="1290" y="369"/>
                      <a:pt x="1289" y="369"/>
                    </a:cubicBezTo>
                    <a:cubicBezTo>
                      <a:pt x="1289" y="369"/>
                      <a:pt x="1288" y="369"/>
                      <a:pt x="1287" y="370"/>
                    </a:cubicBezTo>
                    <a:cubicBezTo>
                      <a:pt x="1287" y="370"/>
                      <a:pt x="1287" y="370"/>
                      <a:pt x="1287" y="370"/>
                    </a:cubicBezTo>
                    <a:cubicBezTo>
                      <a:pt x="1286" y="370"/>
                      <a:pt x="1286" y="370"/>
                      <a:pt x="1286" y="370"/>
                    </a:cubicBezTo>
                    <a:cubicBezTo>
                      <a:pt x="1286" y="370"/>
                      <a:pt x="1286" y="370"/>
                      <a:pt x="1286" y="370"/>
                    </a:cubicBezTo>
                    <a:cubicBezTo>
                      <a:pt x="1286" y="370"/>
                      <a:pt x="1286" y="370"/>
                      <a:pt x="1286" y="370"/>
                    </a:cubicBezTo>
                    <a:cubicBezTo>
                      <a:pt x="1285" y="370"/>
                      <a:pt x="1285" y="370"/>
                      <a:pt x="1285" y="370"/>
                    </a:cubicBezTo>
                    <a:cubicBezTo>
                      <a:pt x="1285" y="370"/>
                      <a:pt x="1285" y="370"/>
                      <a:pt x="1285" y="370"/>
                    </a:cubicBezTo>
                    <a:cubicBezTo>
                      <a:pt x="1284" y="370"/>
                      <a:pt x="1284" y="370"/>
                      <a:pt x="1284" y="370"/>
                    </a:cubicBezTo>
                    <a:cubicBezTo>
                      <a:pt x="1283" y="371"/>
                      <a:pt x="1283" y="371"/>
                      <a:pt x="1283" y="371"/>
                    </a:cubicBezTo>
                    <a:cubicBezTo>
                      <a:pt x="1281" y="372"/>
                      <a:pt x="1281" y="372"/>
                      <a:pt x="1281" y="372"/>
                    </a:cubicBezTo>
                    <a:cubicBezTo>
                      <a:pt x="1276" y="375"/>
                      <a:pt x="1276" y="375"/>
                      <a:pt x="1276" y="375"/>
                    </a:cubicBezTo>
                    <a:cubicBezTo>
                      <a:pt x="1274" y="376"/>
                      <a:pt x="1274" y="376"/>
                      <a:pt x="1274" y="376"/>
                    </a:cubicBezTo>
                    <a:cubicBezTo>
                      <a:pt x="1273" y="376"/>
                      <a:pt x="1273" y="376"/>
                      <a:pt x="1273" y="376"/>
                    </a:cubicBezTo>
                    <a:cubicBezTo>
                      <a:pt x="1274" y="376"/>
                      <a:pt x="1274" y="376"/>
                      <a:pt x="1274" y="376"/>
                    </a:cubicBezTo>
                    <a:cubicBezTo>
                      <a:pt x="1274" y="376"/>
                      <a:pt x="1274" y="376"/>
                      <a:pt x="1274" y="376"/>
                    </a:cubicBezTo>
                    <a:cubicBezTo>
                      <a:pt x="1274" y="376"/>
                      <a:pt x="1274" y="376"/>
                      <a:pt x="1274" y="376"/>
                    </a:cubicBezTo>
                    <a:cubicBezTo>
                      <a:pt x="1275" y="376"/>
                      <a:pt x="1275" y="376"/>
                      <a:pt x="1275" y="376"/>
                    </a:cubicBezTo>
                    <a:cubicBezTo>
                      <a:pt x="1275" y="376"/>
                      <a:pt x="1275" y="376"/>
                      <a:pt x="1275" y="376"/>
                    </a:cubicBezTo>
                    <a:cubicBezTo>
                      <a:pt x="1275" y="376"/>
                      <a:pt x="1275" y="376"/>
                      <a:pt x="1275" y="376"/>
                    </a:cubicBezTo>
                    <a:cubicBezTo>
                      <a:pt x="1275" y="377"/>
                      <a:pt x="1275" y="377"/>
                      <a:pt x="1275" y="377"/>
                    </a:cubicBezTo>
                    <a:cubicBezTo>
                      <a:pt x="1275" y="378"/>
                      <a:pt x="1275" y="378"/>
                      <a:pt x="1275" y="378"/>
                    </a:cubicBezTo>
                    <a:cubicBezTo>
                      <a:pt x="1275" y="378"/>
                      <a:pt x="1275" y="378"/>
                      <a:pt x="1275" y="378"/>
                    </a:cubicBezTo>
                    <a:cubicBezTo>
                      <a:pt x="1275" y="379"/>
                      <a:pt x="1275" y="379"/>
                      <a:pt x="1275" y="379"/>
                    </a:cubicBezTo>
                    <a:cubicBezTo>
                      <a:pt x="1275" y="381"/>
                      <a:pt x="1275" y="381"/>
                      <a:pt x="1275" y="381"/>
                    </a:cubicBezTo>
                    <a:cubicBezTo>
                      <a:pt x="1274" y="384"/>
                      <a:pt x="1274" y="384"/>
                      <a:pt x="1274" y="384"/>
                    </a:cubicBezTo>
                    <a:cubicBezTo>
                      <a:pt x="1274" y="386"/>
                      <a:pt x="1274" y="386"/>
                      <a:pt x="1274" y="386"/>
                    </a:cubicBezTo>
                    <a:cubicBezTo>
                      <a:pt x="1273" y="386"/>
                      <a:pt x="1273" y="386"/>
                      <a:pt x="1273" y="386"/>
                    </a:cubicBezTo>
                    <a:cubicBezTo>
                      <a:pt x="1272" y="387"/>
                      <a:pt x="1272" y="387"/>
                      <a:pt x="1272" y="387"/>
                    </a:cubicBezTo>
                    <a:cubicBezTo>
                      <a:pt x="1272" y="387"/>
                      <a:pt x="1272" y="387"/>
                      <a:pt x="1272" y="387"/>
                    </a:cubicBezTo>
                    <a:cubicBezTo>
                      <a:pt x="1270" y="387"/>
                      <a:pt x="1270" y="387"/>
                      <a:pt x="1270" y="387"/>
                    </a:cubicBezTo>
                    <a:cubicBezTo>
                      <a:pt x="1269" y="388"/>
                      <a:pt x="1269" y="388"/>
                      <a:pt x="1269" y="388"/>
                    </a:cubicBezTo>
                    <a:cubicBezTo>
                      <a:pt x="1268" y="388"/>
                      <a:pt x="1268" y="388"/>
                      <a:pt x="1268" y="388"/>
                    </a:cubicBezTo>
                    <a:cubicBezTo>
                      <a:pt x="1267" y="389"/>
                      <a:pt x="1267" y="389"/>
                      <a:pt x="1267" y="389"/>
                    </a:cubicBezTo>
                    <a:cubicBezTo>
                      <a:pt x="1266" y="389"/>
                      <a:pt x="1266" y="389"/>
                      <a:pt x="1266" y="389"/>
                    </a:cubicBezTo>
                    <a:cubicBezTo>
                      <a:pt x="1265" y="389"/>
                      <a:pt x="1265" y="389"/>
                      <a:pt x="1265" y="389"/>
                    </a:cubicBezTo>
                    <a:cubicBezTo>
                      <a:pt x="1264" y="389"/>
                      <a:pt x="1264" y="389"/>
                      <a:pt x="1264" y="389"/>
                    </a:cubicBezTo>
                    <a:cubicBezTo>
                      <a:pt x="1264" y="389"/>
                      <a:pt x="1264" y="389"/>
                      <a:pt x="1264" y="389"/>
                    </a:cubicBezTo>
                    <a:cubicBezTo>
                      <a:pt x="1264" y="389"/>
                      <a:pt x="1264" y="389"/>
                      <a:pt x="1264" y="389"/>
                    </a:cubicBezTo>
                    <a:cubicBezTo>
                      <a:pt x="1264" y="389"/>
                      <a:pt x="1264" y="389"/>
                      <a:pt x="1264" y="389"/>
                    </a:cubicBezTo>
                    <a:cubicBezTo>
                      <a:pt x="1263" y="389"/>
                      <a:pt x="1263" y="389"/>
                      <a:pt x="1263" y="389"/>
                    </a:cubicBezTo>
                    <a:cubicBezTo>
                      <a:pt x="1263" y="388"/>
                      <a:pt x="1263" y="388"/>
                      <a:pt x="1263" y="388"/>
                    </a:cubicBezTo>
                    <a:cubicBezTo>
                      <a:pt x="1263" y="388"/>
                      <a:pt x="1263" y="388"/>
                      <a:pt x="1263" y="388"/>
                    </a:cubicBezTo>
                    <a:cubicBezTo>
                      <a:pt x="1262" y="388"/>
                      <a:pt x="1262" y="389"/>
                      <a:pt x="1261" y="389"/>
                    </a:cubicBezTo>
                    <a:cubicBezTo>
                      <a:pt x="1261" y="389"/>
                      <a:pt x="1261" y="389"/>
                      <a:pt x="1260" y="389"/>
                    </a:cubicBezTo>
                    <a:cubicBezTo>
                      <a:pt x="1260" y="389"/>
                      <a:pt x="1260" y="389"/>
                      <a:pt x="1259" y="389"/>
                    </a:cubicBezTo>
                    <a:cubicBezTo>
                      <a:pt x="1259" y="389"/>
                      <a:pt x="1259" y="389"/>
                      <a:pt x="1259" y="389"/>
                    </a:cubicBezTo>
                    <a:cubicBezTo>
                      <a:pt x="1259" y="388"/>
                      <a:pt x="1259" y="388"/>
                      <a:pt x="1259" y="388"/>
                    </a:cubicBezTo>
                    <a:cubicBezTo>
                      <a:pt x="1258" y="387"/>
                      <a:pt x="1258" y="386"/>
                      <a:pt x="1257" y="386"/>
                    </a:cubicBezTo>
                    <a:cubicBezTo>
                      <a:pt x="1256" y="385"/>
                      <a:pt x="1256" y="385"/>
                      <a:pt x="1256" y="385"/>
                    </a:cubicBezTo>
                    <a:cubicBezTo>
                      <a:pt x="1256" y="385"/>
                      <a:pt x="1256" y="385"/>
                      <a:pt x="1256" y="385"/>
                    </a:cubicBezTo>
                    <a:cubicBezTo>
                      <a:pt x="1255" y="385"/>
                      <a:pt x="1255" y="385"/>
                      <a:pt x="1255" y="385"/>
                    </a:cubicBezTo>
                    <a:cubicBezTo>
                      <a:pt x="1255" y="385"/>
                      <a:pt x="1255" y="385"/>
                      <a:pt x="1255" y="385"/>
                    </a:cubicBezTo>
                    <a:cubicBezTo>
                      <a:pt x="1254" y="385"/>
                      <a:pt x="1254" y="385"/>
                      <a:pt x="1254" y="385"/>
                    </a:cubicBezTo>
                    <a:cubicBezTo>
                      <a:pt x="1250" y="384"/>
                      <a:pt x="1248" y="383"/>
                      <a:pt x="1244" y="383"/>
                    </a:cubicBezTo>
                    <a:cubicBezTo>
                      <a:pt x="1244" y="383"/>
                      <a:pt x="1244" y="383"/>
                      <a:pt x="1244" y="383"/>
                    </a:cubicBezTo>
                    <a:cubicBezTo>
                      <a:pt x="1243" y="383"/>
                      <a:pt x="1243" y="383"/>
                      <a:pt x="1243" y="383"/>
                    </a:cubicBezTo>
                    <a:cubicBezTo>
                      <a:pt x="1243" y="383"/>
                      <a:pt x="1242" y="383"/>
                      <a:pt x="1242" y="383"/>
                    </a:cubicBezTo>
                    <a:cubicBezTo>
                      <a:pt x="1241" y="383"/>
                      <a:pt x="1240" y="383"/>
                      <a:pt x="1239" y="383"/>
                    </a:cubicBezTo>
                    <a:cubicBezTo>
                      <a:pt x="1238" y="383"/>
                      <a:pt x="1237" y="383"/>
                      <a:pt x="1236" y="383"/>
                    </a:cubicBezTo>
                    <a:cubicBezTo>
                      <a:pt x="1235" y="383"/>
                      <a:pt x="1234" y="383"/>
                      <a:pt x="1234" y="383"/>
                    </a:cubicBezTo>
                    <a:cubicBezTo>
                      <a:pt x="1233" y="383"/>
                      <a:pt x="1233" y="383"/>
                      <a:pt x="1233" y="383"/>
                    </a:cubicBezTo>
                    <a:cubicBezTo>
                      <a:pt x="1233" y="383"/>
                      <a:pt x="1233" y="383"/>
                      <a:pt x="1233" y="383"/>
                    </a:cubicBezTo>
                    <a:cubicBezTo>
                      <a:pt x="1232" y="383"/>
                      <a:pt x="1232" y="383"/>
                      <a:pt x="1232" y="383"/>
                    </a:cubicBezTo>
                    <a:cubicBezTo>
                      <a:pt x="1232" y="383"/>
                      <a:pt x="1232" y="383"/>
                      <a:pt x="1232" y="383"/>
                    </a:cubicBezTo>
                    <a:cubicBezTo>
                      <a:pt x="1231" y="383"/>
                      <a:pt x="1231" y="383"/>
                      <a:pt x="1231" y="383"/>
                    </a:cubicBezTo>
                    <a:cubicBezTo>
                      <a:pt x="1226" y="384"/>
                      <a:pt x="1223" y="384"/>
                      <a:pt x="1221" y="384"/>
                    </a:cubicBezTo>
                    <a:cubicBezTo>
                      <a:pt x="1218" y="384"/>
                      <a:pt x="1216" y="384"/>
                      <a:pt x="1209" y="381"/>
                    </a:cubicBezTo>
                    <a:cubicBezTo>
                      <a:pt x="1209" y="381"/>
                      <a:pt x="1209" y="381"/>
                      <a:pt x="1209" y="381"/>
                    </a:cubicBezTo>
                    <a:cubicBezTo>
                      <a:pt x="1208" y="381"/>
                      <a:pt x="1208" y="381"/>
                      <a:pt x="1208" y="381"/>
                    </a:cubicBezTo>
                    <a:cubicBezTo>
                      <a:pt x="1208" y="381"/>
                      <a:pt x="1208" y="381"/>
                      <a:pt x="1208" y="381"/>
                    </a:cubicBezTo>
                    <a:cubicBezTo>
                      <a:pt x="1202" y="380"/>
                      <a:pt x="1204" y="378"/>
                      <a:pt x="1199" y="377"/>
                    </a:cubicBezTo>
                    <a:cubicBezTo>
                      <a:pt x="1198" y="377"/>
                      <a:pt x="1198" y="377"/>
                      <a:pt x="1198" y="377"/>
                    </a:cubicBezTo>
                    <a:cubicBezTo>
                      <a:pt x="1198" y="377"/>
                      <a:pt x="1198" y="377"/>
                      <a:pt x="1198" y="377"/>
                    </a:cubicBezTo>
                    <a:cubicBezTo>
                      <a:pt x="1193" y="376"/>
                      <a:pt x="1191" y="377"/>
                      <a:pt x="1187" y="374"/>
                    </a:cubicBezTo>
                    <a:cubicBezTo>
                      <a:pt x="1186" y="374"/>
                      <a:pt x="1186" y="374"/>
                      <a:pt x="1186" y="374"/>
                    </a:cubicBezTo>
                    <a:cubicBezTo>
                      <a:pt x="1183" y="371"/>
                      <a:pt x="1183" y="371"/>
                      <a:pt x="1183" y="371"/>
                    </a:cubicBezTo>
                    <a:cubicBezTo>
                      <a:pt x="1179" y="363"/>
                      <a:pt x="1179" y="363"/>
                      <a:pt x="1179" y="363"/>
                    </a:cubicBezTo>
                    <a:cubicBezTo>
                      <a:pt x="1178" y="362"/>
                      <a:pt x="1178" y="362"/>
                      <a:pt x="1178" y="362"/>
                    </a:cubicBezTo>
                    <a:cubicBezTo>
                      <a:pt x="1187" y="361"/>
                      <a:pt x="1187" y="361"/>
                      <a:pt x="1187" y="361"/>
                    </a:cubicBezTo>
                    <a:cubicBezTo>
                      <a:pt x="1202" y="359"/>
                      <a:pt x="1202" y="359"/>
                      <a:pt x="1202" y="359"/>
                    </a:cubicBezTo>
                    <a:cubicBezTo>
                      <a:pt x="1204" y="359"/>
                      <a:pt x="1204" y="359"/>
                      <a:pt x="1204" y="359"/>
                    </a:cubicBezTo>
                    <a:cubicBezTo>
                      <a:pt x="1206" y="359"/>
                      <a:pt x="1206" y="359"/>
                      <a:pt x="1206" y="359"/>
                    </a:cubicBezTo>
                    <a:cubicBezTo>
                      <a:pt x="1206" y="360"/>
                      <a:pt x="1206" y="360"/>
                      <a:pt x="1206" y="360"/>
                    </a:cubicBezTo>
                    <a:cubicBezTo>
                      <a:pt x="1206" y="360"/>
                      <a:pt x="1206" y="360"/>
                      <a:pt x="1206" y="360"/>
                    </a:cubicBezTo>
                    <a:cubicBezTo>
                      <a:pt x="1207" y="360"/>
                      <a:pt x="1207" y="360"/>
                      <a:pt x="1207" y="360"/>
                    </a:cubicBezTo>
                    <a:cubicBezTo>
                      <a:pt x="1208" y="361"/>
                      <a:pt x="1208" y="361"/>
                      <a:pt x="1208" y="361"/>
                    </a:cubicBezTo>
                    <a:cubicBezTo>
                      <a:pt x="1209" y="363"/>
                      <a:pt x="1209" y="363"/>
                      <a:pt x="1209" y="363"/>
                    </a:cubicBezTo>
                    <a:cubicBezTo>
                      <a:pt x="1215" y="366"/>
                      <a:pt x="1215" y="366"/>
                      <a:pt x="1215" y="366"/>
                    </a:cubicBezTo>
                    <a:cubicBezTo>
                      <a:pt x="1217" y="367"/>
                      <a:pt x="1217" y="367"/>
                      <a:pt x="1217" y="367"/>
                    </a:cubicBezTo>
                    <a:cubicBezTo>
                      <a:pt x="1218" y="368"/>
                      <a:pt x="1218" y="368"/>
                      <a:pt x="1218" y="368"/>
                    </a:cubicBezTo>
                    <a:cubicBezTo>
                      <a:pt x="1219" y="368"/>
                      <a:pt x="1219" y="368"/>
                      <a:pt x="1219" y="368"/>
                    </a:cubicBezTo>
                    <a:cubicBezTo>
                      <a:pt x="1219" y="367"/>
                      <a:pt x="1219" y="367"/>
                      <a:pt x="1219" y="367"/>
                    </a:cubicBezTo>
                    <a:cubicBezTo>
                      <a:pt x="1220" y="367"/>
                      <a:pt x="1220" y="367"/>
                      <a:pt x="1220" y="367"/>
                    </a:cubicBezTo>
                    <a:cubicBezTo>
                      <a:pt x="1222" y="367"/>
                      <a:pt x="1222" y="367"/>
                      <a:pt x="1222" y="367"/>
                    </a:cubicBezTo>
                    <a:cubicBezTo>
                      <a:pt x="1222" y="367"/>
                      <a:pt x="1222" y="367"/>
                      <a:pt x="1222" y="367"/>
                    </a:cubicBezTo>
                    <a:cubicBezTo>
                      <a:pt x="1223" y="367"/>
                      <a:pt x="1223" y="367"/>
                      <a:pt x="1223" y="367"/>
                    </a:cubicBezTo>
                    <a:cubicBezTo>
                      <a:pt x="1223" y="367"/>
                      <a:pt x="1223" y="367"/>
                      <a:pt x="1223" y="367"/>
                    </a:cubicBezTo>
                    <a:cubicBezTo>
                      <a:pt x="1223" y="367"/>
                      <a:pt x="1223" y="367"/>
                      <a:pt x="1223" y="367"/>
                    </a:cubicBezTo>
                    <a:cubicBezTo>
                      <a:pt x="1222" y="366"/>
                      <a:pt x="1222" y="366"/>
                      <a:pt x="1222" y="366"/>
                    </a:cubicBezTo>
                    <a:cubicBezTo>
                      <a:pt x="1222" y="366"/>
                      <a:pt x="1222" y="366"/>
                      <a:pt x="1222" y="366"/>
                    </a:cubicBezTo>
                    <a:cubicBezTo>
                      <a:pt x="1221" y="366"/>
                      <a:pt x="1221" y="366"/>
                      <a:pt x="1221" y="366"/>
                    </a:cubicBezTo>
                    <a:cubicBezTo>
                      <a:pt x="1221" y="366"/>
                      <a:pt x="1221" y="366"/>
                      <a:pt x="1221" y="366"/>
                    </a:cubicBezTo>
                    <a:cubicBezTo>
                      <a:pt x="1221" y="366"/>
                      <a:pt x="1221" y="366"/>
                      <a:pt x="1221" y="366"/>
                    </a:cubicBezTo>
                    <a:cubicBezTo>
                      <a:pt x="1223" y="366"/>
                      <a:pt x="1223" y="366"/>
                      <a:pt x="1225" y="365"/>
                    </a:cubicBezTo>
                    <a:cubicBezTo>
                      <a:pt x="1225" y="365"/>
                      <a:pt x="1225" y="365"/>
                      <a:pt x="1225" y="365"/>
                    </a:cubicBezTo>
                    <a:cubicBezTo>
                      <a:pt x="1224" y="365"/>
                      <a:pt x="1224" y="365"/>
                      <a:pt x="1224" y="365"/>
                    </a:cubicBezTo>
                    <a:cubicBezTo>
                      <a:pt x="1224" y="365"/>
                      <a:pt x="1224" y="365"/>
                      <a:pt x="1224" y="365"/>
                    </a:cubicBezTo>
                    <a:cubicBezTo>
                      <a:pt x="1223" y="365"/>
                      <a:pt x="1223" y="365"/>
                      <a:pt x="1223" y="365"/>
                    </a:cubicBezTo>
                    <a:cubicBezTo>
                      <a:pt x="1223" y="365"/>
                      <a:pt x="1223" y="365"/>
                      <a:pt x="1223" y="365"/>
                    </a:cubicBezTo>
                    <a:cubicBezTo>
                      <a:pt x="1224" y="365"/>
                      <a:pt x="1224" y="365"/>
                      <a:pt x="1224" y="365"/>
                    </a:cubicBezTo>
                    <a:cubicBezTo>
                      <a:pt x="1224" y="364"/>
                      <a:pt x="1224" y="364"/>
                      <a:pt x="1224" y="364"/>
                    </a:cubicBezTo>
                    <a:cubicBezTo>
                      <a:pt x="1225" y="364"/>
                      <a:pt x="1225" y="364"/>
                      <a:pt x="1225" y="364"/>
                    </a:cubicBezTo>
                    <a:cubicBezTo>
                      <a:pt x="1226" y="364"/>
                      <a:pt x="1226" y="364"/>
                      <a:pt x="1226" y="364"/>
                    </a:cubicBezTo>
                    <a:cubicBezTo>
                      <a:pt x="1227" y="364"/>
                      <a:pt x="1227" y="364"/>
                      <a:pt x="1227" y="364"/>
                    </a:cubicBezTo>
                    <a:cubicBezTo>
                      <a:pt x="1228" y="364"/>
                      <a:pt x="1228" y="364"/>
                      <a:pt x="1228" y="364"/>
                    </a:cubicBezTo>
                    <a:cubicBezTo>
                      <a:pt x="1228" y="364"/>
                      <a:pt x="1228" y="364"/>
                      <a:pt x="1228" y="364"/>
                    </a:cubicBezTo>
                    <a:cubicBezTo>
                      <a:pt x="1229" y="364"/>
                      <a:pt x="1229" y="364"/>
                      <a:pt x="1229" y="364"/>
                    </a:cubicBezTo>
                    <a:cubicBezTo>
                      <a:pt x="1229" y="363"/>
                      <a:pt x="1229" y="363"/>
                      <a:pt x="1229" y="363"/>
                    </a:cubicBezTo>
                    <a:cubicBezTo>
                      <a:pt x="1258" y="357"/>
                      <a:pt x="1258" y="357"/>
                      <a:pt x="1258" y="357"/>
                    </a:cubicBezTo>
                    <a:cubicBezTo>
                      <a:pt x="1258" y="356"/>
                      <a:pt x="1258" y="356"/>
                      <a:pt x="1258" y="356"/>
                    </a:cubicBezTo>
                    <a:cubicBezTo>
                      <a:pt x="1258" y="356"/>
                      <a:pt x="1258" y="356"/>
                      <a:pt x="1258" y="356"/>
                    </a:cubicBezTo>
                    <a:cubicBezTo>
                      <a:pt x="1258" y="355"/>
                      <a:pt x="1260" y="354"/>
                      <a:pt x="1261" y="353"/>
                    </a:cubicBezTo>
                    <a:cubicBezTo>
                      <a:pt x="1261" y="352"/>
                      <a:pt x="1261" y="352"/>
                      <a:pt x="1261" y="352"/>
                    </a:cubicBezTo>
                    <a:cubicBezTo>
                      <a:pt x="1261" y="352"/>
                      <a:pt x="1261" y="352"/>
                      <a:pt x="1261" y="352"/>
                    </a:cubicBezTo>
                    <a:cubicBezTo>
                      <a:pt x="1261" y="352"/>
                      <a:pt x="1261" y="352"/>
                      <a:pt x="1261" y="352"/>
                    </a:cubicBezTo>
                    <a:cubicBezTo>
                      <a:pt x="1262" y="352"/>
                      <a:pt x="1262" y="352"/>
                      <a:pt x="1262" y="352"/>
                    </a:cubicBezTo>
                    <a:cubicBezTo>
                      <a:pt x="1263" y="351"/>
                      <a:pt x="1265" y="349"/>
                      <a:pt x="1266" y="348"/>
                    </a:cubicBezTo>
                    <a:cubicBezTo>
                      <a:pt x="1269" y="346"/>
                      <a:pt x="1269" y="346"/>
                      <a:pt x="1269" y="346"/>
                    </a:cubicBezTo>
                    <a:cubicBezTo>
                      <a:pt x="1270" y="345"/>
                      <a:pt x="1270" y="345"/>
                      <a:pt x="1270" y="345"/>
                    </a:cubicBezTo>
                    <a:cubicBezTo>
                      <a:pt x="1271" y="344"/>
                      <a:pt x="1271" y="344"/>
                      <a:pt x="1271" y="344"/>
                    </a:cubicBezTo>
                    <a:cubicBezTo>
                      <a:pt x="1271" y="344"/>
                      <a:pt x="1271" y="344"/>
                      <a:pt x="1271" y="344"/>
                    </a:cubicBezTo>
                    <a:cubicBezTo>
                      <a:pt x="1271" y="344"/>
                      <a:pt x="1271" y="344"/>
                      <a:pt x="1271" y="344"/>
                    </a:cubicBezTo>
                    <a:cubicBezTo>
                      <a:pt x="1271" y="343"/>
                      <a:pt x="1271" y="343"/>
                      <a:pt x="1271" y="343"/>
                    </a:cubicBezTo>
                    <a:cubicBezTo>
                      <a:pt x="1271" y="343"/>
                      <a:pt x="1271" y="343"/>
                      <a:pt x="1271" y="343"/>
                    </a:cubicBezTo>
                    <a:cubicBezTo>
                      <a:pt x="1271" y="342"/>
                      <a:pt x="1271" y="342"/>
                      <a:pt x="1271" y="342"/>
                    </a:cubicBezTo>
                    <a:cubicBezTo>
                      <a:pt x="1271" y="342"/>
                      <a:pt x="1271" y="342"/>
                      <a:pt x="1271" y="342"/>
                    </a:cubicBezTo>
                    <a:cubicBezTo>
                      <a:pt x="1270" y="342"/>
                      <a:pt x="1270" y="342"/>
                      <a:pt x="1270" y="342"/>
                    </a:cubicBezTo>
                    <a:cubicBezTo>
                      <a:pt x="1271" y="341"/>
                      <a:pt x="1271" y="341"/>
                      <a:pt x="1271" y="341"/>
                    </a:cubicBezTo>
                    <a:cubicBezTo>
                      <a:pt x="1272" y="340"/>
                      <a:pt x="1272" y="340"/>
                      <a:pt x="1272" y="340"/>
                    </a:cubicBezTo>
                    <a:cubicBezTo>
                      <a:pt x="1274" y="338"/>
                      <a:pt x="1274" y="338"/>
                      <a:pt x="1274" y="338"/>
                    </a:cubicBezTo>
                    <a:cubicBezTo>
                      <a:pt x="1275" y="337"/>
                      <a:pt x="1275" y="337"/>
                      <a:pt x="1275" y="337"/>
                    </a:cubicBezTo>
                    <a:cubicBezTo>
                      <a:pt x="1276" y="337"/>
                      <a:pt x="1276" y="337"/>
                      <a:pt x="1276" y="337"/>
                    </a:cubicBezTo>
                    <a:cubicBezTo>
                      <a:pt x="1276" y="336"/>
                      <a:pt x="1276" y="336"/>
                      <a:pt x="1276" y="336"/>
                    </a:cubicBezTo>
                    <a:cubicBezTo>
                      <a:pt x="1276" y="336"/>
                      <a:pt x="1276" y="336"/>
                      <a:pt x="1276" y="336"/>
                    </a:cubicBezTo>
                    <a:cubicBezTo>
                      <a:pt x="1277" y="336"/>
                      <a:pt x="1277" y="336"/>
                      <a:pt x="1277" y="336"/>
                    </a:cubicBezTo>
                    <a:cubicBezTo>
                      <a:pt x="1277" y="335"/>
                      <a:pt x="1277" y="335"/>
                      <a:pt x="1277" y="335"/>
                    </a:cubicBezTo>
                    <a:cubicBezTo>
                      <a:pt x="1277" y="335"/>
                      <a:pt x="1277" y="335"/>
                      <a:pt x="1277" y="335"/>
                    </a:cubicBezTo>
                    <a:cubicBezTo>
                      <a:pt x="1277" y="334"/>
                      <a:pt x="1277" y="334"/>
                      <a:pt x="1277" y="333"/>
                    </a:cubicBezTo>
                    <a:cubicBezTo>
                      <a:pt x="1277" y="333"/>
                      <a:pt x="1277" y="333"/>
                      <a:pt x="1277" y="333"/>
                    </a:cubicBezTo>
                    <a:cubicBezTo>
                      <a:pt x="1279" y="331"/>
                      <a:pt x="1279" y="331"/>
                      <a:pt x="1279" y="331"/>
                    </a:cubicBezTo>
                    <a:cubicBezTo>
                      <a:pt x="1282" y="329"/>
                      <a:pt x="1282" y="329"/>
                      <a:pt x="1282" y="329"/>
                    </a:cubicBezTo>
                    <a:cubicBezTo>
                      <a:pt x="1291" y="323"/>
                      <a:pt x="1291" y="323"/>
                      <a:pt x="1291" y="323"/>
                    </a:cubicBezTo>
                    <a:cubicBezTo>
                      <a:pt x="1295" y="320"/>
                      <a:pt x="1295" y="320"/>
                      <a:pt x="1295" y="320"/>
                    </a:cubicBezTo>
                    <a:cubicBezTo>
                      <a:pt x="1297" y="319"/>
                      <a:pt x="1297" y="319"/>
                      <a:pt x="1297" y="319"/>
                    </a:cubicBezTo>
                    <a:cubicBezTo>
                      <a:pt x="1297" y="318"/>
                      <a:pt x="1297" y="318"/>
                      <a:pt x="1297" y="318"/>
                    </a:cubicBezTo>
                    <a:cubicBezTo>
                      <a:pt x="1297" y="318"/>
                      <a:pt x="1297" y="317"/>
                      <a:pt x="1297" y="317"/>
                    </a:cubicBezTo>
                    <a:cubicBezTo>
                      <a:pt x="1297" y="316"/>
                      <a:pt x="1297" y="316"/>
                      <a:pt x="1297" y="316"/>
                    </a:cubicBezTo>
                    <a:cubicBezTo>
                      <a:pt x="1297" y="316"/>
                      <a:pt x="1297" y="316"/>
                      <a:pt x="1297" y="316"/>
                    </a:cubicBezTo>
                    <a:cubicBezTo>
                      <a:pt x="1296" y="316"/>
                      <a:pt x="1296" y="316"/>
                      <a:pt x="1295" y="315"/>
                    </a:cubicBezTo>
                    <a:cubicBezTo>
                      <a:pt x="1295" y="314"/>
                      <a:pt x="1295" y="314"/>
                      <a:pt x="1295" y="314"/>
                    </a:cubicBezTo>
                    <a:cubicBezTo>
                      <a:pt x="1296" y="314"/>
                      <a:pt x="1296" y="314"/>
                      <a:pt x="1296" y="314"/>
                    </a:cubicBezTo>
                    <a:cubicBezTo>
                      <a:pt x="1297" y="312"/>
                      <a:pt x="1297" y="312"/>
                      <a:pt x="1297" y="312"/>
                    </a:cubicBezTo>
                    <a:cubicBezTo>
                      <a:pt x="1298" y="312"/>
                      <a:pt x="1298" y="312"/>
                      <a:pt x="1298" y="312"/>
                    </a:cubicBezTo>
                    <a:cubicBezTo>
                      <a:pt x="1299" y="311"/>
                      <a:pt x="1299" y="311"/>
                      <a:pt x="1299" y="310"/>
                    </a:cubicBezTo>
                    <a:cubicBezTo>
                      <a:pt x="1299" y="310"/>
                      <a:pt x="1299" y="310"/>
                      <a:pt x="1299" y="310"/>
                    </a:cubicBezTo>
                    <a:cubicBezTo>
                      <a:pt x="1299" y="309"/>
                      <a:pt x="1299" y="309"/>
                      <a:pt x="1299" y="309"/>
                    </a:cubicBezTo>
                    <a:cubicBezTo>
                      <a:pt x="1299" y="309"/>
                      <a:pt x="1298" y="309"/>
                      <a:pt x="1299" y="308"/>
                    </a:cubicBezTo>
                    <a:cubicBezTo>
                      <a:pt x="1299" y="308"/>
                      <a:pt x="1299" y="308"/>
                      <a:pt x="1299" y="308"/>
                    </a:cubicBezTo>
                    <a:cubicBezTo>
                      <a:pt x="1299" y="307"/>
                      <a:pt x="1299" y="307"/>
                      <a:pt x="1299" y="307"/>
                    </a:cubicBezTo>
                    <a:cubicBezTo>
                      <a:pt x="1299" y="307"/>
                      <a:pt x="1299" y="307"/>
                      <a:pt x="1299" y="307"/>
                    </a:cubicBezTo>
                    <a:cubicBezTo>
                      <a:pt x="1299" y="306"/>
                      <a:pt x="1299" y="306"/>
                      <a:pt x="1299" y="306"/>
                    </a:cubicBezTo>
                    <a:cubicBezTo>
                      <a:pt x="1299" y="306"/>
                      <a:pt x="1299" y="306"/>
                      <a:pt x="1299" y="306"/>
                    </a:cubicBezTo>
                    <a:cubicBezTo>
                      <a:pt x="1299" y="305"/>
                      <a:pt x="1299" y="305"/>
                      <a:pt x="1299" y="305"/>
                    </a:cubicBezTo>
                    <a:cubicBezTo>
                      <a:pt x="1298" y="305"/>
                      <a:pt x="1298" y="305"/>
                      <a:pt x="1298" y="305"/>
                    </a:cubicBezTo>
                    <a:cubicBezTo>
                      <a:pt x="1298" y="305"/>
                      <a:pt x="1298" y="305"/>
                      <a:pt x="1298" y="305"/>
                    </a:cubicBezTo>
                    <a:cubicBezTo>
                      <a:pt x="1298" y="305"/>
                      <a:pt x="1298" y="305"/>
                      <a:pt x="1298" y="305"/>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3"/>
                      <a:pt x="1298" y="303"/>
                      <a:pt x="1298" y="303"/>
                    </a:cubicBezTo>
                    <a:cubicBezTo>
                      <a:pt x="1297" y="303"/>
                      <a:pt x="1297" y="303"/>
                      <a:pt x="1297" y="303"/>
                    </a:cubicBezTo>
                    <a:cubicBezTo>
                      <a:pt x="1297" y="303"/>
                      <a:pt x="1297" y="303"/>
                      <a:pt x="1297" y="303"/>
                    </a:cubicBezTo>
                    <a:cubicBezTo>
                      <a:pt x="1297" y="302"/>
                      <a:pt x="1297" y="302"/>
                      <a:pt x="1297" y="302"/>
                    </a:cubicBezTo>
                    <a:cubicBezTo>
                      <a:pt x="1296" y="301"/>
                      <a:pt x="1294" y="300"/>
                      <a:pt x="1296" y="298"/>
                    </a:cubicBezTo>
                    <a:cubicBezTo>
                      <a:pt x="1296" y="298"/>
                      <a:pt x="1296" y="298"/>
                      <a:pt x="1296" y="298"/>
                    </a:cubicBezTo>
                    <a:cubicBezTo>
                      <a:pt x="1298" y="296"/>
                      <a:pt x="1298" y="296"/>
                      <a:pt x="1298" y="296"/>
                    </a:cubicBezTo>
                    <a:cubicBezTo>
                      <a:pt x="1300" y="293"/>
                      <a:pt x="1300" y="293"/>
                      <a:pt x="1300" y="293"/>
                    </a:cubicBezTo>
                    <a:cubicBezTo>
                      <a:pt x="1307" y="286"/>
                      <a:pt x="1307" y="286"/>
                      <a:pt x="1307" y="286"/>
                    </a:cubicBezTo>
                    <a:cubicBezTo>
                      <a:pt x="1310" y="283"/>
                      <a:pt x="1310" y="283"/>
                      <a:pt x="1310" y="283"/>
                    </a:cubicBezTo>
                    <a:cubicBezTo>
                      <a:pt x="1311" y="281"/>
                      <a:pt x="1311" y="281"/>
                      <a:pt x="1311" y="281"/>
                    </a:cubicBezTo>
                    <a:cubicBezTo>
                      <a:pt x="1312" y="280"/>
                      <a:pt x="1311" y="278"/>
                      <a:pt x="1310" y="277"/>
                    </a:cubicBezTo>
                    <a:cubicBezTo>
                      <a:pt x="1309" y="277"/>
                      <a:pt x="1309" y="277"/>
                      <a:pt x="1309" y="277"/>
                    </a:cubicBezTo>
                    <a:cubicBezTo>
                      <a:pt x="1309" y="277"/>
                      <a:pt x="1309" y="277"/>
                      <a:pt x="1309" y="277"/>
                    </a:cubicBezTo>
                    <a:cubicBezTo>
                      <a:pt x="1306" y="274"/>
                      <a:pt x="1305" y="275"/>
                      <a:pt x="1303" y="273"/>
                    </a:cubicBezTo>
                    <a:cubicBezTo>
                      <a:pt x="1302" y="273"/>
                      <a:pt x="1302" y="273"/>
                      <a:pt x="1302" y="273"/>
                    </a:cubicBezTo>
                    <a:cubicBezTo>
                      <a:pt x="1302" y="272"/>
                      <a:pt x="1302" y="272"/>
                      <a:pt x="1302" y="272"/>
                    </a:cubicBezTo>
                    <a:cubicBezTo>
                      <a:pt x="1301" y="272"/>
                      <a:pt x="1301" y="272"/>
                      <a:pt x="1301" y="272"/>
                    </a:cubicBezTo>
                    <a:cubicBezTo>
                      <a:pt x="1294" y="266"/>
                      <a:pt x="1293" y="268"/>
                      <a:pt x="1287" y="264"/>
                    </a:cubicBezTo>
                    <a:cubicBezTo>
                      <a:pt x="1286" y="263"/>
                      <a:pt x="1286" y="263"/>
                      <a:pt x="1286" y="263"/>
                    </a:cubicBezTo>
                    <a:cubicBezTo>
                      <a:pt x="1286" y="263"/>
                      <a:pt x="1286" y="263"/>
                      <a:pt x="1286" y="263"/>
                    </a:cubicBezTo>
                    <a:cubicBezTo>
                      <a:pt x="1285" y="263"/>
                      <a:pt x="1285" y="263"/>
                      <a:pt x="1285" y="263"/>
                    </a:cubicBezTo>
                    <a:cubicBezTo>
                      <a:pt x="1285" y="263"/>
                      <a:pt x="1285" y="263"/>
                      <a:pt x="1285" y="263"/>
                    </a:cubicBezTo>
                    <a:cubicBezTo>
                      <a:pt x="1285" y="262"/>
                      <a:pt x="1285" y="262"/>
                      <a:pt x="1285" y="262"/>
                    </a:cubicBezTo>
                    <a:cubicBezTo>
                      <a:pt x="1284" y="262"/>
                      <a:pt x="1284" y="262"/>
                      <a:pt x="1284" y="262"/>
                    </a:cubicBezTo>
                    <a:cubicBezTo>
                      <a:pt x="1284" y="262"/>
                      <a:pt x="1284" y="262"/>
                      <a:pt x="1284" y="262"/>
                    </a:cubicBezTo>
                    <a:cubicBezTo>
                      <a:pt x="1283" y="261"/>
                      <a:pt x="1281" y="258"/>
                      <a:pt x="1281" y="258"/>
                    </a:cubicBezTo>
                    <a:cubicBezTo>
                      <a:pt x="1281" y="257"/>
                      <a:pt x="1281" y="257"/>
                      <a:pt x="1281" y="257"/>
                    </a:cubicBezTo>
                    <a:cubicBezTo>
                      <a:pt x="1281" y="257"/>
                      <a:pt x="1281" y="257"/>
                      <a:pt x="1281" y="257"/>
                    </a:cubicBezTo>
                    <a:cubicBezTo>
                      <a:pt x="1280" y="256"/>
                      <a:pt x="1280" y="255"/>
                      <a:pt x="1280" y="253"/>
                    </a:cubicBezTo>
                    <a:cubicBezTo>
                      <a:pt x="1280" y="253"/>
                      <a:pt x="1280" y="253"/>
                      <a:pt x="1280" y="253"/>
                    </a:cubicBezTo>
                    <a:cubicBezTo>
                      <a:pt x="1280" y="253"/>
                      <a:pt x="1280" y="253"/>
                      <a:pt x="1280" y="253"/>
                    </a:cubicBezTo>
                    <a:cubicBezTo>
                      <a:pt x="1280" y="253"/>
                      <a:pt x="1280" y="253"/>
                      <a:pt x="1280" y="253"/>
                    </a:cubicBezTo>
                    <a:cubicBezTo>
                      <a:pt x="1280" y="252"/>
                      <a:pt x="1280" y="252"/>
                      <a:pt x="1280" y="252"/>
                    </a:cubicBezTo>
                    <a:cubicBezTo>
                      <a:pt x="1280" y="252"/>
                      <a:pt x="1280" y="252"/>
                      <a:pt x="1280" y="252"/>
                    </a:cubicBezTo>
                    <a:cubicBezTo>
                      <a:pt x="1280" y="248"/>
                      <a:pt x="1282" y="244"/>
                      <a:pt x="1283" y="240"/>
                    </a:cubicBezTo>
                    <a:cubicBezTo>
                      <a:pt x="1283" y="240"/>
                      <a:pt x="1283" y="240"/>
                      <a:pt x="1283" y="240"/>
                    </a:cubicBezTo>
                    <a:cubicBezTo>
                      <a:pt x="1282" y="239"/>
                      <a:pt x="1282" y="239"/>
                      <a:pt x="1282" y="239"/>
                    </a:cubicBezTo>
                    <a:cubicBezTo>
                      <a:pt x="1282" y="239"/>
                      <a:pt x="1282" y="238"/>
                      <a:pt x="1282" y="238"/>
                    </a:cubicBezTo>
                    <a:cubicBezTo>
                      <a:pt x="1282" y="237"/>
                      <a:pt x="1282" y="237"/>
                      <a:pt x="1282" y="237"/>
                    </a:cubicBezTo>
                    <a:cubicBezTo>
                      <a:pt x="1282" y="237"/>
                      <a:pt x="1282" y="237"/>
                      <a:pt x="1282" y="237"/>
                    </a:cubicBezTo>
                    <a:cubicBezTo>
                      <a:pt x="1282" y="236"/>
                      <a:pt x="1282" y="236"/>
                      <a:pt x="1282" y="236"/>
                    </a:cubicBezTo>
                    <a:cubicBezTo>
                      <a:pt x="1282" y="234"/>
                      <a:pt x="1283" y="231"/>
                      <a:pt x="1282" y="229"/>
                    </a:cubicBezTo>
                    <a:cubicBezTo>
                      <a:pt x="1282" y="228"/>
                      <a:pt x="1282" y="228"/>
                      <a:pt x="1282" y="228"/>
                    </a:cubicBezTo>
                    <a:cubicBezTo>
                      <a:pt x="1282" y="228"/>
                      <a:pt x="1282" y="228"/>
                      <a:pt x="1282" y="228"/>
                    </a:cubicBezTo>
                    <a:cubicBezTo>
                      <a:pt x="1282" y="228"/>
                      <a:pt x="1282" y="228"/>
                      <a:pt x="1282" y="228"/>
                    </a:cubicBezTo>
                    <a:cubicBezTo>
                      <a:pt x="1282" y="227"/>
                      <a:pt x="1282" y="227"/>
                      <a:pt x="1282" y="227"/>
                    </a:cubicBezTo>
                    <a:cubicBezTo>
                      <a:pt x="1281" y="227"/>
                      <a:pt x="1281" y="227"/>
                      <a:pt x="1281" y="227"/>
                    </a:cubicBezTo>
                    <a:cubicBezTo>
                      <a:pt x="1281" y="227"/>
                      <a:pt x="1281" y="227"/>
                      <a:pt x="1281" y="227"/>
                    </a:cubicBezTo>
                    <a:cubicBezTo>
                      <a:pt x="1281" y="226"/>
                      <a:pt x="1281" y="226"/>
                      <a:pt x="1281" y="226"/>
                    </a:cubicBezTo>
                    <a:cubicBezTo>
                      <a:pt x="1281" y="226"/>
                      <a:pt x="1281" y="226"/>
                      <a:pt x="1281" y="226"/>
                    </a:cubicBezTo>
                    <a:cubicBezTo>
                      <a:pt x="1281" y="226"/>
                      <a:pt x="1281" y="226"/>
                      <a:pt x="1281" y="226"/>
                    </a:cubicBezTo>
                    <a:cubicBezTo>
                      <a:pt x="1281" y="225"/>
                      <a:pt x="1281" y="225"/>
                      <a:pt x="1281" y="225"/>
                    </a:cubicBezTo>
                    <a:cubicBezTo>
                      <a:pt x="1281" y="223"/>
                      <a:pt x="1281" y="223"/>
                      <a:pt x="1281" y="223"/>
                    </a:cubicBezTo>
                    <a:cubicBezTo>
                      <a:pt x="1283" y="219"/>
                      <a:pt x="1283" y="219"/>
                      <a:pt x="1283" y="219"/>
                    </a:cubicBezTo>
                    <a:cubicBezTo>
                      <a:pt x="1283" y="217"/>
                      <a:pt x="1283" y="217"/>
                      <a:pt x="1283" y="217"/>
                    </a:cubicBezTo>
                    <a:cubicBezTo>
                      <a:pt x="1284" y="216"/>
                      <a:pt x="1284" y="216"/>
                      <a:pt x="1284" y="216"/>
                    </a:cubicBezTo>
                    <a:cubicBezTo>
                      <a:pt x="1284" y="215"/>
                      <a:pt x="1284" y="214"/>
                      <a:pt x="1284" y="214"/>
                    </a:cubicBezTo>
                    <a:cubicBezTo>
                      <a:pt x="1284" y="213"/>
                      <a:pt x="1284" y="213"/>
                      <a:pt x="1284" y="213"/>
                    </a:cubicBezTo>
                    <a:cubicBezTo>
                      <a:pt x="1284" y="213"/>
                      <a:pt x="1284" y="213"/>
                      <a:pt x="1284" y="213"/>
                    </a:cubicBezTo>
                    <a:cubicBezTo>
                      <a:pt x="1284" y="213"/>
                      <a:pt x="1284" y="213"/>
                      <a:pt x="1284" y="213"/>
                    </a:cubicBezTo>
                    <a:cubicBezTo>
                      <a:pt x="1284" y="211"/>
                      <a:pt x="1283" y="210"/>
                      <a:pt x="1282" y="208"/>
                    </a:cubicBezTo>
                    <a:cubicBezTo>
                      <a:pt x="1282" y="208"/>
                      <a:pt x="1282" y="208"/>
                      <a:pt x="1282" y="208"/>
                    </a:cubicBezTo>
                    <a:cubicBezTo>
                      <a:pt x="1282" y="208"/>
                      <a:pt x="1282" y="208"/>
                      <a:pt x="1282" y="208"/>
                    </a:cubicBezTo>
                    <a:cubicBezTo>
                      <a:pt x="1281" y="208"/>
                      <a:pt x="1281" y="208"/>
                      <a:pt x="1281" y="208"/>
                    </a:cubicBezTo>
                    <a:cubicBezTo>
                      <a:pt x="1281" y="207"/>
                      <a:pt x="1281" y="207"/>
                      <a:pt x="1281" y="207"/>
                    </a:cubicBezTo>
                    <a:cubicBezTo>
                      <a:pt x="1281" y="207"/>
                      <a:pt x="1281" y="207"/>
                      <a:pt x="1281" y="207"/>
                    </a:cubicBezTo>
                    <a:cubicBezTo>
                      <a:pt x="1280" y="207"/>
                      <a:pt x="1280" y="207"/>
                      <a:pt x="1280" y="207"/>
                    </a:cubicBezTo>
                    <a:cubicBezTo>
                      <a:pt x="1280" y="206"/>
                      <a:pt x="1280" y="206"/>
                      <a:pt x="1280" y="206"/>
                    </a:cubicBezTo>
                    <a:cubicBezTo>
                      <a:pt x="1280" y="206"/>
                      <a:pt x="1280" y="206"/>
                      <a:pt x="1280" y="206"/>
                    </a:cubicBezTo>
                    <a:cubicBezTo>
                      <a:pt x="1280" y="206"/>
                      <a:pt x="1280" y="206"/>
                      <a:pt x="1280" y="206"/>
                    </a:cubicBezTo>
                    <a:cubicBezTo>
                      <a:pt x="1280" y="205"/>
                      <a:pt x="1280" y="205"/>
                      <a:pt x="1280" y="205"/>
                    </a:cubicBezTo>
                    <a:cubicBezTo>
                      <a:pt x="1280" y="203"/>
                      <a:pt x="1280" y="203"/>
                      <a:pt x="1280" y="203"/>
                    </a:cubicBezTo>
                    <a:cubicBezTo>
                      <a:pt x="1281" y="199"/>
                      <a:pt x="1281" y="199"/>
                      <a:pt x="1281" y="199"/>
                    </a:cubicBezTo>
                    <a:cubicBezTo>
                      <a:pt x="1282" y="198"/>
                      <a:pt x="1282" y="197"/>
                      <a:pt x="1282" y="195"/>
                    </a:cubicBezTo>
                    <a:cubicBezTo>
                      <a:pt x="1282" y="195"/>
                      <a:pt x="1282" y="195"/>
                      <a:pt x="1282" y="195"/>
                    </a:cubicBezTo>
                    <a:cubicBezTo>
                      <a:pt x="1281" y="195"/>
                      <a:pt x="1281" y="195"/>
                      <a:pt x="1281" y="195"/>
                    </a:cubicBezTo>
                    <a:cubicBezTo>
                      <a:pt x="1281" y="195"/>
                      <a:pt x="1281" y="195"/>
                      <a:pt x="1281" y="195"/>
                    </a:cubicBezTo>
                    <a:cubicBezTo>
                      <a:pt x="1281" y="194"/>
                      <a:pt x="1281" y="194"/>
                      <a:pt x="1281" y="194"/>
                    </a:cubicBezTo>
                    <a:cubicBezTo>
                      <a:pt x="1280" y="194"/>
                      <a:pt x="1280" y="194"/>
                      <a:pt x="1280" y="194"/>
                    </a:cubicBezTo>
                    <a:cubicBezTo>
                      <a:pt x="1280" y="193"/>
                      <a:pt x="1280" y="193"/>
                      <a:pt x="1280" y="193"/>
                    </a:cubicBezTo>
                    <a:cubicBezTo>
                      <a:pt x="1279" y="193"/>
                      <a:pt x="1279" y="193"/>
                      <a:pt x="1279" y="193"/>
                    </a:cubicBezTo>
                    <a:cubicBezTo>
                      <a:pt x="1278" y="191"/>
                      <a:pt x="1278" y="191"/>
                      <a:pt x="1278" y="191"/>
                    </a:cubicBezTo>
                    <a:cubicBezTo>
                      <a:pt x="1277" y="190"/>
                      <a:pt x="1277" y="190"/>
                      <a:pt x="1277" y="190"/>
                    </a:cubicBezTo>
                    <a:cubicBezTo>
                      <a:pt x="1277" y="189"/>
                      <a:pt x="1277" y="189"/>
                      <a:pt x="1277" y="189"/>
                    </a:cubicBezTo>
                    <a:cubicBezTo>
                      <a:pt x="1278" y="189"/>
                      <a:pt x="1278" y="189"/>
                      <a:pt x="1278" y="189"/>
                    </a:cubicBezTo>
                    <a:cubicBezTo>
                      <a:pt x="1278" y="188"/>
                      <a:pt x="1279" y="187"/>
                      <a:pt x="1280" y="187"/>
                    </a:cubicBezTo>
                    <a:cubicBezTo>
                      <a:pt x="1280" y="186"/>
                      <a:pt x="1280" y="186"/>
                      <a:pt x="1280" y="186"/>
                    </a:cubicBezTo>
                    <a:cubicBezTo>
                      <a:pt x="1281" y="186"/>
                      <a:pt x="1281" y="186"/>
                      <a:pt x="1281" y="186"/>
                    </a:cubicBezTo>
                    <a:cubicBezTo>
                      <a:pt x="1282" y="185"/>
                      <a:pt x="1282" y="185"/>
                      <a:pt x="1282" y="185"/>
                    </a:cubicBezTo>
                    <a:cubicBezTo>
                      <a:pt x="1285" y="184"/>
                      <a:pt x="1285" y="184"/>
                      <a:pt x="1285" y="184"/>
                    </a:cubicBezTo>
                    <a:cubicBezTo>
                      <a:pt x="1286" y="183"/>
                      <a:pt x="1286" y="183"/>
                      <a:pt x="1286" y="183"/>
                    </a:cubicBezTo>
                    <a:cubicBezTo>
                      <a:pt x="1287" y="183"/>
                      <a:pt x="1287" y="183"/>
                      <a:pt x="1287" y="183"/>
                    </a:cubicBezTo>
                    <a:cubicBezTo>
                      <a:pt x="1286" y="182"/>
                      <a:pt x="1286" y="182"/>
                      <a:pt x="1286" y="182"/>
                    </a:cubicBezTo>
                    <a:cubicBezTo>
                      <a:pt x="1286" y="182"/>
                      <a:pt x="1286" y="182"/>
                      <a:pt x="1286" y="182"/>
                    </a:cubicBezTo>
                    <a:cubicBezTo>
                      <a:pt x="1286" y="182"/>
                      <a:pt x="1286" y="182"/>
                      <a:pt x="1286" y="182"/>
                    </a:cubicBezTo>
                    <a:cubicBezTo>
                      <a:pt x="1286" y="181"/>
                      <a:pt x="1286" y="181"/>
                      <a:pt x="1286" y="181"/>
                    </a:cubicBezTo>
                    <a:cubicBezTo>
                      <a:pt x="1286" y="181"/>
                      <a:pt x="1286" y="181"/>
                      <a:pt x="1286" y="181"/>
                    </a:cubicBezTo>
                    <a:cubicBezTo>
                      <a:pt x="1286" y="180"/>
                      <a:pt x="1287" y="178"/>
                      <a:pt x="1286" y="177"/>
                    </a:cubicBezTo>
                    <a:cubicBezTo>
                      <a:pt x="1286" y="176"/>
                      <a:pt x="1286" y="176"/>
                      <a:pt x="1286" y="176"/>
                    </a:cubicBezTo>
                    <a:cubicBezTo>
                      <a:pt x="1286" y="176"/>
                      <a:pt x="1286" y="176"/>
                      <a:pt x="1286" y="176"/>
                    </a:cubicBezTo>
                    <a:cubicBezTo>
                      <a:pt x="1286" y="176"/>
                      <a:pt x="1286" y="176"/>
                      <a:pt x="1286" y="176"/>
                    </a:cubicBezTo>
                    <a:cubicBezTo>
                      <a:pt x="1285" y="176"/>
                      <a:pt x="1285" y="176"/>
                      <a:pt x="1285" y="176"/>
                    </a:cubicBezTo>
                    <a:cubicBezTo>
                      <a:pt x="1285" y="175"/>
                      <a:pt x="1285" y="175"/>
                      <a:pt x="1285" y="175"/>
                    </a:cubicBezTo>
                    <a:cubicBezTo>
                      <a:pt x="1285" y="173"/>
                      <a:pt x="1285" y="173"/>
                      <a:pt x="1285" y="173"/>
                    </a:cubicBezTo>
                    <a:cubicBezTo>
                      <a:pt x="1286" y="171"/>
                      <a:pt x="1286" y="171"/>
                      <a:pt x="1286" y="171"/>
                    </a:cubicBezTo>
                    <a:cubicBezTo>
                      <a:pt x="1286" y="169"/>
                      <a:pt x="1286" y="169"/>
                      <a:pt x="1286" y="169"/>
                    </a:cubicBezTo>
                    <a:cubicBezTo>
                      <a:pt x="1287" y="168"/>
                      <a:pt x="1287" y="168"/>
                      <a:pt x="1287" y="168"/>
                    </a:cubicBezTo>
                    <a:cubicBezTo>
                      <a:pt x="1287" y="167"/>
                      <a:pt x="1287" y="167"/>
                      <a:pt x="1287" y="167"/>
                    </a:cubicBezTo>
                    <a:cubicBezTo>
                      <a:pt x="1287" y="167"/>
                      <a:pt x="1287" y="167"/>
                      <a:pt x="1287" y="167"/>
                    </a:cubicBezTo>
                    <a:cubicBezTo>
                      <a:pt x="1287" y="166"/>
                      <a:pt x="1287" y="166"/>
                      <a:pt x="1287" y="166"/>
                    </a:cubicBezTo>
                    <a:cubicBezTo>
                      <a:pt x="1287" y="165"/>
                      <a:pt x="1287" y="165"/>
                      <a:pt x="1287" y="165"/>
                    </a:cubicBezTo>
                    <a:cubicBezTo>
                      <a:pt x="1288" y="164"/>
                      <a:pt x="1288" y="164"/>
                      <a:pt x="1288" y="164"/>
                    </a:cubicBezTo>
                    <a:cubicBezTo>
                      <a:pt x="1288" y="163"/>
                      <a:pt x="1288" y="163"/>
                      <a:pt x="1288" y="163"/>
                    </a:cubicBezTo>
                    <a:cubicBezTo>
                      <a:pt x="1288" y="161"/>
                      <a:pt x="1289" y="160"/>
                      <a:pt x="1288" y="159"/>
                    </a:cubicBezTo>
                    <a:cubicBezTo>
                      <a:pt x="1287" y="158"/>
                      <a:pt x="1287" y="158"/>
                      <a:pt x="1287" y="158"/>
                    </a:cubicBezTo>
                    <a:cubicBezTo>
                      <a:pt x="1287" y="158"/>
                      <a:pt x="1287" y="158"/>
                      <a:pt x="1287" y="158"/>
                    </a:cubicBezTo>
                    <a:cubicBezTo>
                      <a:pt x="1285" y="156"/>
                      <a:pt x="1285" y="157"/>
                      <a:pt x="1284" y="155"/>
                    </a:cubicBezTo>
                    <a:cubicBezTo>
                      <a:pt x="1284" y="154"/>
                      <a:pt x="1284" y="154"/>
                      <a:pt x="1284" y="154"/>
                    </a:cubicBezTo>
                    <a:cubicBezTo>
                      <a:pt x="1284" y="154"/>
                      <a:pt x="1284" y="154"/>
                      <a:pt x="1284" y="154"/>
                    </a:cubicBezTo>
                    <a:cubicBezTo>
                      <a:pt x="1284" y="154"/>
                      <a:pt x="1284" y="154"/>
                      <a:pt x="1284" y="154"/>
                    </a:cubicBezTo>
                    <a:cubicBezTo>
                      <a:pt x="1283" y="153"/>
                      <a:pt x="1283" y="153"/>
                      <a:pt x="1283" y="153"/>
                    </a:cubicBezTo>
                    <a:cubicBezTo>
                      <a:pt x="1283" y="153"/>
                      <a:pt x="1283" y="153"/>
                      <a:pt x="1283" y="153"/>
                    </a:cubicBezTo>
                    <a:cubicBezTo>
                      <a:pt x="1283" y="153"/>
                      <a:pt x="1283" y="153"/>
                      <a:pt x="1283" y="153"/>
                    </a:cubicBezTo>
                    <a:cubicBezTo>
                      <a:pt x="1282" y="149"/>
                      <a:pt x="1285" y="149"/>
                      <a:pt x="1282" y="146"/>
                    </a:cubicBezTo>
                    <a:cubicBezTo>
                      <a:pt x="1282" y="146"/>
                      <a:pt x="1282" y="146"/>
                      <a:pt x="1282" y="146"/>
                    </a:cubicBezTo>
                    <a:cubicBezTo>
                      <a:pt x="1282" y="145"/>
                      <a:pt x="1282" y="145"/>
                      <a:pt x="1282" y="145"/>
                    </a:cubicBezTo>
                    <a:cubicBezTo>
                      <a:pt x="1280" y="144"/>
                      <a:pt x="1278" y="145"/>
                      <a:pt x="1275" y="143"/>
                    </a:cubicBezTo>
                    <a:cubicBezTo>
                      <a:pt x="1275" y="143"/>
                      <a:pt x="1275" y="143"/>
                      <a:pt x="1275" y="143"/>
                    </a:cubicBezTo>
                    <a:cubicBezTo>
                      <a:pt x="1274" y="142"/>
                      <a:pt x="1274" y="142"/>
                      <a:pt x="1274" y="142"/>
                    </a:cubicBezTo>
                    <a:cubicBezTo>
                      <a:pt x="1274" y="142"/>
                      <a:pt x="1274" y="142"/>
                      <a:pt x="1274" y="142"/>
                    </a:cubicBezTo>
                    <a:cubicBezTo>
                      <a:pt x="1269" y="139"/>
                      <a:pt x="1267" y="139"/>
                      <a:pt x="1264" y="135"/>
                    </a:cubicBezTo>
                    <a:cubicBezTo>
                      <a:pt x="1263" y="134"/>
                      <a:pt x="1263" y="134"/>
                      <a:pt x="1263" y="134"/>
                    </a:cubicBezTo>
                    <a:cubicBezTo>
                      <a:pt x="1263" y="134"/>
                      <a:pt x="1263" y="134"/>
                      <a:pt x="1263" y="134"/>
                    </a:cubicBezTo>
                    <a:cubicBezTo>
                      <a:pt x="1263" y="134"/>
                      <a:pt x="1263" y="134"/>
                      <a:pt x="1263" y="134"/>
                    </a:cubicBezTo>
                    <a:cubicBezTo>
                      <a:pt x="1262" y="133"/>
                      <a:pt x="1262" y="133"/>
                      <a:pt x="1262" y="133"/>
                    </a:cubicBezTo>
                    <a:cubicBezTo>
                      <a:pt x="1262" y="133"/>
                      <a:pt x="1262" y="133"/>
                      <a:pt x="1262" y="133"/>
                    </a:cubicBezTo>
                    <a:cubicBezTo>
                      <a:pt x="1262" y="133"/>
                      <a:pt x="1262" y="133"/>
                      <a:pt x="1262" y="133"/>
                    </a:cubicBezTo>
                    <a:cubicBezTo>
                      <a:pt x="1262" y="133"/>
                      <a:pt x="1262" y="133"/>
                      <a:pt x="1262" y="133"/>
                    </a:cubicBezTo>
                    <a:cubicBezTo>
                      <a:pt x="1260" y="128"/>
                      <a:pt x="1258" y="126"/>
                      <a:pt x="1262" y="125"/>
                    </a:cubicBezTo>
                    <a:cubicBezTo>
                      <a:pt x="1262" y="124"/>
                      <a:pt x="1262" y="124"/>
                      <a:pt x="1262" y="124"/>
                    </a:cubicBezTo>
                    <a:cubicBezTo>
                      <a:pt x="1263" y="124"/>
                      <a:pt x="1263" y="124"/>
                      <a:pt x="1263" y="124"/>
                    </a:cubicBezTo>
                    <a:cubicBezTo>
                      <a:pt x="1263" y="124"/>
                      <a:pt x="1263" y="123"/>
                      <a:pt x="1264" y="123"/>
                    </a:cubicBezTo>
                    <a:cubicBezTo>
                      <a:pt x="1264" y="123"/>
                      <a:pt x="1264" y="123"/>
                      <a:pt x="1264" y="123"/>
                    </a:cubicBezTo>
                    <a:cubicBezTo>
                      <a:pt x="1264" y="124"/>
                      <a:pt x="1264" y="124"/>
                      <a:pt x="1265" y="124"/>
                    </a:cubicBezTo>
                    <a:cubicBezTo>
                      <a:pt x="1265" y="124"/>
                      <a:pt x="1266" y="123"/>
                      <a:pt x="1268" y="122"/>
                    </a:cubicBezTo>
                    <a:cubicBezTo>
                      <a:pt x="1269" y="122"/>
                      <a:pt x="1269" y="122"/>
                      <a:pt x="1269" y="122"/>
                    </a:cubicBezTo>
                    <a:cubicBezTo>
                      <a:pt x="1270" y="120"/>
                      <a:pt x="1270" y="120"/>
                      <a:pt x="1270" y="120"/>
                    </a:cubicBezTo>
                    <a:cubicBezTo>
                      <a:pt x="1273" y="116"/>
                      <a:pt x="1273" y="116"/>
                      <a:pt x="1273" y="116"/>
                    </a:cubicBezTo>
                    <a:cubicBezTo>
                      <a:pt x="1273" y="112"/>
                      <a:pt x="1273" y="112"/>
                      <a:pt x="1273" y="112"/>
                    </a:cubicBezTo>
                    <a:cubicBezTo>
                      <a:pt x="1274" y="110"/>
                      <a:pt x="1274" y="110"/>
                      <a:pt x="1274" y="110"/>
                    </a:cubicBezTo>
                    <a:cubicBezTo>
                      <a:pt x="1274" y="109"/>
                      <a:pt x="1274" y="109"/>
                      <a:pt x="1274" y="109"/>
                    </a:cubicBezTo>
                    <a:cubicBezTo>
                      <a:pt x="1274" y="108"/>
                      <a:pt x="1274" y="108"/>
                      <a:pt x="1274" y="108"/>
                    </a:cubicBezTo>
                    <a:cubicBezTo>
                      <a:pt x="1274" y="108"/>
                      <a:pt x="1274" y="108"/>
                      <a:pt x="1274" y="108"/>
                    </a:cubicBezTo>
                    <a:cubicBezTo>
                      <a:pt x="1275" y="108"/>
                      <a:pt x="1275" y="108"/>
                      <a:pt x="1275" y="108"/>
                    </a:cubicBezTo>
                    <a:cubicBezTo>
                      <a:pt x="1275" y="108"/>
                      <a:pt x="1275" y="108"/>
                      <a:pt x="1275" y="108"/>
                    </a:cubicBezTo>
                    <a:cubicBezTo>
                      <a:pt x="1276" y="107"/>
                      <a:pt x="1276" y="107"/>
                      <a:pt x="1276" y="107"/>
                    </a:cubicBezTo>
                    <a:cubicBezTo>
                      <a:pt x="1276" y="107"/>
                      <a:pt x="1276" y="107"/>
                      <a:pt x="1276" y="107"/>
                    </a:cubicBezTo>
                    <a:cubicBezTo>
                      <a:pt x="1277" y="107"/>
                      <a:pt x="1277" y="107"/>
                      <a:pt x="1277" y="107"/>
                    </a:cubicBezTo>
                    <a:cubicBezTo>
                      <a:pt x="1277" y="106"/>
                      <a:pt x="1277" y="106"/>
                      <a:pt x="1277" y="106"/>
                    </a:cubicBezTo>
                    <a:cubicBezTo>
                      <a:pt x="1278" y="105"/>
                      <a:pt x="1278" y="105"/>
                      <a:pt x="1278" y="105"/>
                    </a:cubicBezTo>
                    <a:cubicBezTo>
                      <a:pt x="1280" y="101"/>
                      <a:pt x="1280" y="101"/>
                      <a:pt x="1280" y="101"/>
                    </a:cubicBezTo>
                    <a:cubicBezTo>
                      <a:pt x="1281" y="99"/>
                      <a:pt x="1281" y="99"/>
                      <a:pt x="1281" y="99"/>
                    </a:cubicBezTo>
                    <a:cubicBezTo>
                      <a:pt x="1281" y="98"/>
                      <a:pt x="1281" y="98"/>
                      <a:pt x="1281" y="98"/>
                    </a:cubicBezTo>
                    <a:cubicBezTo>
                      <a:pt x="1282" y="96"/>
                      <a:pt x="1282" y="96"/>
                      <a:pt x="1282" y="96"/>
                    </a:cubicBezTo>
                    <a:cubicBezTo>
                      <a:pt x="1284" y="94"/>
                      <a:pt x="1284" y="94"/>
                      <a:pt x="1284" y="94"/>
                    </a:cubicBezTo>
                    <a:cubicBezTo>
                      <a:pt x="1288" y="89"/>
                      <a:pt x="1288" y="89"/>
                      <a:pt x="1288" y="89"/>
                    </a:cubicBezTo>
                    <a:cubicBezTo>
                      <a:pt x="1289" y="86"/>
                      <a:pt x="1289" y="86"/>
                      <a:pt x="1289" y="86"/>
                    </a:cubicBezTo>
                    <a:cubicBezTo>
                      <a:pt x="1290" y="85"/>
                      <a:pt x="1290" y="85"/>
                      <a:pt x="1290" y="85"/>
                    </a:cubicBezTo>
                    <a:cubicBezTo>
                      <a:pt x="1289" y="85"/>
                      <a:pt x="1289" y="85"/>
                      <a:pt x="1289" y="85"/>
                    </a:cubicBezTo>
                    <a:cubicBezTo>
                      <a:pt x="1289" y="84"/>
                      <a:pt x="1289" y="84"/>
                      <a:pt x="1289" y="84"/>
                    </a:cubicBezTo>
                    <a:cubicBezTo>
                      <a:pt x="1289" y="84"/>
                      <a:pt x="1289" y="84"/>
                      <a:pt x="1289" y="84"/>
                    </a:cubicBezTo>
                    <a:cubicBezTo>
                      <a:pt x="1289" y="84"/>
                      <a:pt x="1289" y="84"/>
                      <a:pt x="1289" y="84"/>
                    </a:cubicBezTo>
                    <a:cubicBezTo>
                      <a:pt x="1289" y="83"/>
                      <a:pt x="1289" y="83"/>
                      <a:pt x="1289" y="83"/>
                    </a:cubicBezTo>
                    <a:cubicBezTo>
                      <a:pt x="1288" y="83"/>
                      <a:pt x="1288" y="83"/>
                      <a:pt x="1288" y="83"/>
                    </a:cubicBezTo>
                    <a:cubicBezTo>
                      <a:pt x="1288" y="83"/>
                      <a:pt x="1288" y="83"/>
                      <a:pt x="1288" y="83"/>
                    </a:cubicBezTo>
                    <a:cubicBezTo>
                      <a:pt x="1288" y="82"/>
                      <a:pt x="1288" y="82"/>
                      <a:pt x="1288" y="82"/>
                    </a:cubicBezTo>
                    <a:cubicBezTo>
                      <a:pt x="1288" y="82"/>
                      <a:pt x="1288" y="82"/>
                      <a:pt x="1288" y="82"/>
                    </a:cubicBezTo>
                    <a:cubicBezTo>
                      <a:pt x="1288" y="81"/>
                      <a:pt x="1288" y="81"/>
                      <a:pt x="1288" y="81"/>
                    </a:cubicBezTo>
                    <a:cubicBezTo>
                      <a:pt x="1288" y="81"/>
                      <a:pt x="1288" y="81"/>
                      <a:pt x="1288" y="81"/>
                    </a:cubicBezTo>
                    <a:cubicBezTo>
                      <a:pt x="1287" y="80"/>
                      <a:pt x="1287" y="80"/>
                      <a:pt x="1287" y="80"/>
                    </a:cubicBezTo>
                    <a:cubicBezTo>
                      <a:pt x="1287" y="80"/>
                      <a:pt x="1287" y="80"/>
                      <a:pt x="1287" y="80"/>
                    </a:cubicBezTo>
                    <a:cubicBezTo>
                      <a:pt x="1287" y="80"/>
                      <a:pt x="1287" y="80"/>
                      <a:pt x="1287" y="80"/>
                    </a:cubicBezTo>
                    <a:cubicBezTo>
                      <a:pt x="1287" y="79"/>
                      <a:pt x="1287" y="79"/>
                      <a:pt x="1287" y="79"/>
                    </a:cubicBezTo>
                    <a:cubicBezTo>
                      <a:pt x="1288" y="78"/>
                      <a:pt x="1288" y="78"/>
                      <a:pt x="1288" y="78"/>
                    </a:cubicBezTo>
                    <a:cubicBezTo>
                      <a:pt x="1288" y="74"/>
                      <a:pt x="1288" y="74"/>
                      <a:pt x="1288" y="74"/>
                    </a:cubicBezTo>
                    <a:cubicBezTo>
                      <a:pt x="1288" y="71"/>
                      <a:pt x="1288" y="71"/>
                      <a:pt x="1288" y="71"/>
                    </a:cubicBezTo>
                    <a:cubicBezTo>
                      <a:pt x="1288" y="65"/>
                      <a:pt x="1288" y="65"/>
                      <a:pt x="1288" y="65"/>
                    </a:cubicBezTo>
                    <a:cubicBezTo>
                      <a:pt x="1288" y="63"/>
                      <a:pt x="1288" y="63"/>
                      <a:pt x="1288" y="63"/>
                    </a:cubicBezTo>
                    <a:cubicBezTo>
                      <a:pt x="1287" y="62"/>
                      <a:pt x="1287" y="62"/>
                      <a:pt x="1287" y="62"/>
                    </a:cubicBezTo>
                    <a:cubicBezTo>
                      <a:pt x="1284" y="62"/>
                      <a:pt x="1282" y="61"/>
                      <a:pt x="1280" y="60"/>
                    </a:cubicBezTo>
                    <a:cubicBezTo>
                      <a:pt x="1279" y="60"/>
                      <a:pt x="1279" y="60"/>
                      <a:pt x="1279" y="60"/>
                    </a:cubicBezTo>
                    <a:cubicBezTo>
                      <a:pt x="1279" y="60"/>
                      <a:pt x="1279" y="60"/>
                      <a:pt x="1279" y="60"/>
                    </a:cubicBezTo>
                    <a:cubicBezTo>
                      <a:pt x="1278" y="59"/>
                      <a:pt x="1278" y="59"/>
                      <a:pt x="1278" y="59"/>
                    </a:cubicBezTo>
                    <a:cubicBezTo>
                      <a:pt x="1277" y="59"/>
                      <a:pt x="1277" y="59"/>
                      <a:pt x="1277" y="59"/>
                    </a:cubicBezTo>
                    <a:cubicBezTo>
                      <a:pt x="1275" y="59"/>
                      <a:pt x="1273" y="58"/>
                      <a:pt x="1271" y="57"/>
                    </a:cubicBezTo>
                    <a:cubicBezTo>
                      <a:pt x="1270" y="57"/>
                      <a:pt x="1270" y="57"/>
                      <a:pt x="1270" y="57"/>
                    </a:cubicBezTo>
                    <a:cubicBezTo>
                      <a:pt x="1269" y="57"/>
                      <a:pt x="1269" y="57"/>
                      <a:pt x="1269" y="57"/>
                    </a:cubicBezTo>
                    <a:cubicBezTo>
                      <a:pt x="1268" y="56"/>
                      <a:pt x="1268" y="56"/>
                      <a:pt x="1267" y="56"/>
                    </a:cubicBezTo>
                    <a:cubicBezTo>
                      <a:pt x="1266" y="56"/>
                      <a:pt x="1266" y="57"/>
                      <a:pt x="1264" y="58"/>
                    </a:cubicBezTo>
                    <a:cubicBezTo>
                      <a:pt x="1263" y="58"/>
                      <a:pt x="1263" y="58"/>
                      <a:pt x="1263" y="58"/>
                    </a:cubicBezTo>
                    <a:cubicBezTo>
                      <a:pt x="1263" y="58"/>
                      <a:pt x="1263" y="58"/>
                      <a:pt x="1263" y="58"/>
                    </a:cubicBezTo>
                    <a:cubicBezTo>
                      <a:pt x="1262" y="58"/>
                      <a:pt x="1262" y="58"/>
                      <a:pt x="1262" y="58"/>
                    </a:cubicBezTo>
                    <a:cubicBezTo>
                      <a:pt x="1260" y="57"/>
                      <a:pt x="1260" y="57"/>
                      <a:pt x="1260" y="57"/>
                    </a:cubicBezTo>
                    <a:cubicBezTo>
                      <a:pt x="1260" y="57"/>
                      <a:pt x="1260" y="57"/>
                      <a:pt x="1260" y="57"/>
                    </a:cubicBezTo>
                    <a:cubicBezTo>
                      <a:pt x="1261" y="57"/>
                      <a:pt x="1261" y="57"/>
                      <a:pt x="1261" y="57"/>
                    </a:cubicBezTo>
                    <a:cubicBezTo>
                      <a:pt x="1262" y="57"/>
                      <a:pt x="1262" y="57"/>
                      <a:pt x="1262" y="57"/>
                    </a:cubicBezTo>
                    <a:cubicBezTo>
                      <a:pt x="1263" y="56"/>
                      <a:pt x="1263" y="56"/>
                      <a:pt x="1263" y="56"/>
                    </a:cubicBezTo>
                    <a:cubicBezTo>
                      <a:pt x="1264" y="56"/>
                      <a:pt x="1264" y="56"/>
                      <a:pt x="1264" y="56"/>
                    </a:cubicBezTo>
                    <a:cubicBezTo>
                      <a:pt x="1264" y="56"/>
                      <a:pt x="1264" y="56"/>
                      <a:pt x="1264" y="56"/>
                    </a:cubicBezTo>
                    <a:cubicBezTo>
                      <a:pt x="1263" y="55"/>
                      <a:pt x="1263" y="55"/>
                      <a:pt x="1263" y="55"/>
                    </a:cubicBezTo>
                    <a:cubicBezTo>
                      <a:pt x="1263" y="55"/>
                      <a:pt x="1263" y="55"/>
                      <a:pt x="1263" y="55"/>
                    </a:cubicBezTo>
                    <a:cubicBezTo>
                      <a:pt x="1262" y="55"/>
                      <a:pt x="1262" y="55"/>
                      <a:pt x="1262" y="55"/>
                    </a:cubicBezTo>
                    <a:cubicBezTo>
                      <a:pt x="1255" y="55"/>
                      <a:pt x="1255" y="52"/>
                      <a:pt x="1250" y="52"/>
                    </a:cubicBezTo>
                    <a:cubicBezTo>
                      <a:pt x="1249" y="52"/>
                      <a:pt x="1248" y="52"/>
                      <a:pt x="1247" y="52"/>
                    </a:cubicBezTo>
                    <a:cubicBezTo>
                      <a:pt x="1246" y="52"/>
                      <a:pt x="1246" y="52"/>
                      <a:pt x="1246" y="52"/>
                    </a:cubicBezTo>
                    <a:cubicBezTo>
                      <a:pt x="1246" y="52"/>
                      <a:pt x="1246" y="52"/>
                      <a:pt x="1246" y="52"/>
                    </a:cubicBezTo>
                    <a:cubicBezTo>
                      <a:pt x="1245" y="53"/>
                      <a:pt x="1245" y="53"/>
                      <a:pt x="1245" y="53"/>
                    </a:cubicBezTo>
                    <a:cubicBezTo>
                      <a:pt x="1244" y="53"/>
                      <a:pt x="1244" y="53"/>
                      <a:pt x="1243" y="53"/>
                    </a:cubicBezTo>
                    <a:cubicBezTo>
                      <a:pt x="1242" y="53"/>
                      <a:pt x="1242" y="53"/>
                      <a:pt x="1241" y="53"/>
                    </a:cubicBezTo>
                    <a:cubicBezTo>
                      <a:pt x="1241" y="52"/>
                      <a:pt x="1240" y="52"/>
                      <a:pt x="1240" y="52"/>
                    </a:cubicBezTo>
                    <a:cubicBezTo>
                      <a:pt x="1239" y="52"/>
                      <a:pt x="1239" y="52"/>
                      <a:pt x="1239" y="52"/>
                    </a:cubicBezTo>
                    <a:cubicBezTo>
                      <a:pt x="1238" y="52"/>
                      <a:pt x="1238" y="52"/>
                      <a:pt x="1238" y="52"/>
                    </a:cubicBezTo>
                    <a:cubicBezTo>
                      <a:pt x="1237" y="52"/>
                      <a:pt x="1237" y="52"/>
                      <a:pt x="1237" y="52"/>
                    </a:cubicBezTo>
                    <a:cubicBezTo>
                      <a:pt x="1237" y="52"/>
                      <a:pt x="1236" y="52"/>
                      <a:pt x="1235" y="52"/>
                    </a:cubicBezTo>
                    <a:cubicBezTo>
                      <a:pt x="1234" y="52"/>
                      <a:pt x="1233" y="53"/>
                      <a:pt x="1231" y="53"/>
                    </a:cubicBezTo>
                    <a:cubicBezTo>
                      <a:pt x="1231" y="53"/>
                      <a:pt x="1231" y="53"/>
                      <a:pt x="1231" y="53"/>
                    </a:cubicBezTo>
                    <a:cubicBezTo>
                      <a:pt x="1230" y="53"/>
                      <a:pt x="1230" y="53"/>
                      <a:pt x="1230" y="53"/>
                    </a:cubicBezTo>
                    <a:cubicBezTo>
                      <a:pt x="1230" y="53"/>
                      <a:pt x="1230" y="53"/>
                      <a:pt x="1230" y="53"/>
                    </a:cubicBezTo>
                    <a:cubicBezTo>
                      <a:pt x="1229" y="53"/>
                      <a:pt x="1229" y="53"/>
                      <a:pt x="1229" y="53"/>
                    </a:cubicBezTo>
                    <a:cubicBezTo>
                      <a:pt x="1229" y="53"/>
                      <a:pt x="1229" y="53"/>
                      <a:pt x="1229" y="53"/>
                    </a:cubicBezTo>
                    <a:cubicBezTo>
                      <a:pt x="1224" y="53"/>
                      <a:pt x="1220" y="52"/>
                      <a:pt x="1216" y="52"/>
                    </a:cubicBezTo>
                    <a:cubicBezTo>
                      <a:pt x="1215" y="52"/>
                      <a:pt x="1214" y="53"/>
                      <a:pt x="1213" y="53"/>
                    </a:cubicBezTo>
                    <a:cubicBezTo>
                      <a:pt x="1212" y="53"/>
                      <a:pt x="1212" y="53"/>
                      <a:pt x="1212" y="53"/>
                    </a:cubicBezTo>
                    <a:cubicBezTo>
                      <a:pt x="1212" y="53"/>
                      <a:pt x="1212" y="53"/>
                      <a:pt x="1212" y="53"/>
                    </a:cubicBezTo>
                    <a:cubicBezTo>
                      <a:pt x="1211" y="53"/>
                      <a:pt x="1211" y="53"/>
                      <a:pt x="1211" y="53"/>
                    </a:cubicBezTo>
                    <a:cubicBezTo>
                      <a:pt x="1210" y="53"/>
                      <a:pt x="1209" y="53"/>
                      <a:pt x="1207" y="53"/>
                    </a:cubicBezTo>
                    <a:cubicBezTo>
                      <a:pt x="1207" y="53"/>
                      <a:pt x="1206" y="53"/>
                      <a:pt x="1206" y="53"/>
                    </a:cubicBezTo>
                    <a:cubicBezTo>
                      <a:pt x="1205" y="53"/>
                      <a:pt x="1205" y="53"/>
                      <a:pt x="1205" y="53"/>
                    </a:cubicBezTo>
                    <a:cubicBezTo>
                      <a:pt x="1203" y="53"/>
                      <a:pt x="1201" y="54"/>
                      <a:pt x="1199" y="54"/>
                    </a:cubicBezTo>
                    <a:cubicBezTo>
                      <a:pt x="1199" y="54"/>
                      <a:pt x="1198" y="54"/>
                      <a:pt x="1198" y="54"/>
                    </a:cubicBezTo>
                    <a:cubicBezTo>
                      <a:pt x="1197" y="54"/>
                      <a:pt x="1197" y="54"/>
                      <a:pt x="1197" y="54"/>
                    </a:cubicBezTo>
                    <a:cubicBezTo>
                      <a:pt x="1196" y="53"/>
                      <a:pt x="1196" y="53"/>
                      <a:pt x="1196" y="53"/>
                    </a:cubicBezTo>
                    <a:cubicBezTo>
                      <a:pt x="1195" y="52"/>
                      <a:pt x="1195" y="52"/>
                      <a:pt x="1195" y="52"/>
                    </a:cubicBezTo>
                    <a:cubicBezTo>
                      <a:pt x="1195" y="52"/>
                      <a:pt x="1195" y="52"/>
                      <a:pt x="1195" y="52"/>
                    </a:cubicBezTo>
                    <a:cubicBezTo>
                      <a:pt x="1195" y="52"/>
                      <a:pt x="1195" y="52"/>
                      <a:pt x="1195" y="52"/>
                    </a:cubicBezTo>
                    <a:cubicBezTo>
                      <a:pt x="1198" y="51"/>
                      <a:pt x="1199" y="51"/>
                      <a:pt x="1201" y="50"/>
                    </a:cubicBezTo>
                    <a:cubicBezTo>
                      <a:pt x="1201" y="49"/>
                      <a:pt x="1201" y="49"/>
                      <a:pt x="1201" y="49"/>
                    </a:cubicBezTo>
                    <a:cubicBezTo>
                      <a:pt x="1201" y="49"/>
                      <a:pt x="1201" y="49"/>
                      <a:pt x="1201" y="49"/>
                    </a:cubicBezTo>
                    <a:cubicBezTo>
                      <a:pt x="1200" y="49"/>
                      <a:pt x="1200" y="49"/>
                      <a:pt x="1200" y="49"/>
                    </a:cubicBezTo>
                    <a:cubicBezTo>
                      <a:pt x="1200" y="49"/>
                      <a:pt x="1200" y="49"/>
                      <a:pt x="1200" y="49"/>
                    </a:cubicBezTo>
                    <a:cubicBezTo>
                      <a:pt x="1199" y="49"/>
                      <a:pt x="1199" y="49"/>
                      <a:pt x="1199" y="49"/>
                    </a:cubicBezTo>
                    <a:cubicBezTo>
                      <a:pt x="1198" y="49"/>
                      <a:pt x="1197" y="49"/>
                      <a:pt x="1195" y="49"/>
                    </a:cubicBezTo>
                    <a:cubicBezTo>
                      <a:pt x="1192" y="49"/>
                      <a:pt x="1188" y="49"/>
                      <a:pt x="1188" y="52"/>
                    </a:cubicBezTo>
                    <a:cubicBezTo>
                      <a:pt x="1188" y="52"/>
                      <a:pt x="1188" y="52"/>
                      <a:pt x="1188" y="52"/>
                    </a:cubicBezTo>
                    <a:cubicBezTo>
                      <a:pt x="1188" y="52"/>
                      <a:pt x="1188" y="52"/>
                      <a:pt x="1188" y="52"/>
                    </a:cubicBezTo>
                    <a:cubicBezTo>
                      <a:pt x="1188" y="53"/>
                      <a:pt x="1188" y="53"/>
                      <a:pt x="1188" y="53"/>
                    </a:cubicBezTo>
                    <a:cubicBezTo>
                      <a:pt x="1188" y="54"/>
                      <a:pt x="1188" y="55"/>
                      <a:pt x="1187" y="56"/>
                    </a:cubicBezTo>
                    <a:cubicBezTo>
                      <a:pt x="1187" y="56"/>
                      <a:pt x="1187" y="56"/>
                      <a:pt x="1187" y="56"/>
                    </a:cubicBezTo>
                    <a:cubicBezTo>
                      <a:pt x="1187" y="56"/>
                      <a:pt x="1187" y="56"/>
                      <a:pt x="1187" y="56"/>
                    </a:cubicBezTo>
                    <a:cubicBezTo>
                      <a:pt x="1186" y="58"/>
                      <a:pt x="1185" y="59"/>
                      <a:pt x="1184" y="60"/>
                    </a:cubicBezTo>
                    <a:cubicBezTo>
                      <a:pt x="1184" y="60"/>
                      <a:pt x="1184" y="60"/>
                      <a:pt x="1184" y="60"/>
                    </a:cubicBezTo>
                    <a:cubicBezTo>
                      <a:pt x="1183" y="60"/>
                      <a:pt x="1183" y="60"/>
                      <a:pt x="1183" y="60"/>
                    </a:cubicBezTo>
                    <a:cubicBezTo>
                      <a:pt x="1183" y="61"/>
                      <a:pt x="1183" y="61"/>
                      <a:pt x="1183" y="61"/>
                    </a:cubicBezTo>
                    <a:cubicBezTo>
                      <a:pt x="1181" y="61"/>
                      <a:pt x="1181" y="61"/>
                      <a:pt x="1181" y="61"/>
                    </a:cubicBezTo>
                    <a:cubicBezTo>
                      <a:pt x="1181" y="61"/>
                      <a:pt x="1181" y="61"/>
                      <a:pt x="1181" y="61"/>
                    </a:cubicBezTo>
                    <a:cubicBezTo>
                      <a:pt x="1181" y="62"/>
                      <a:pt x="1181" y="62"/>
                      <a:pt x="1181" y="62"/>
                    </a:cubicBezTo>
                    <a:cubicBezTo>
                      <a:pt x="1180" y="63"/>
                      <a:pt x="1180" y="63"/>
                      <a:pt x="1180" y="63"/>
                    </a:cubicBezTo>
                    <a:cubicBezTo>
                      <a:pt x="1180" y="65"/>
                      <a:pt x="1180" y="65"/>
                      <a:pt x="1180" y="65"/>
                    </a:cubicBezTo>
                    <a:cubicBezTo>
                      <a:pt x="1180" y="65"/>
                      <a:pt x="1180" y="65"/>
                      <a:pt x="1180" y="65"/>
                    </a:cubicBezTo>
                    <a:cubicBezTo>
                      <a:pt x="1180" y="66"/>
                      <a:pt x="1180" y="66"/>
                      <a:pt x="1180" y="66"/>
                    </a:cubicBezTo>
                    <a:cubicBezTo>
                      <a:pt x="1179" y="66"/>
                      <a:pt x="1179" y="66"/>
                      <a:pt x="1179" y="66"/>
                    </a:cubicBezTo>
                    <a:cubicBezTo>
                      <a:pt x="1179" y="66"/>
                      <a:pt x="1179" y="66"/>
                      <a:pt x="1179" y="66"/>
                    </a:cubicBezTo>
                    <a:cubicBezTo>
                      <a:pt x="1179" y="66"/>
                      <a:pt x="1179" y="66"/>
                      <a:pt x="1179" y="66"/>
                    </a:cubicBezTo>
                    <a:cubicBezTo>
                      <a:pt x="1179" y="66"/>
                      <a:pt x="1179" y="66"/>
                      <a:pt x="1179" y="66"/>
                    </a:cubicBezTo>
                    <a:cubicBezTo>
                      <a:pt x="1178" y="66"/>
                      <a:pt x="1178" y="66"/>
                      <a:pt x="1178" y="66"/>
                    </a:cubicBezTo>
                    <a:cubicBezTo>
                      <a:pt x="1178" y="67"/>
                      <a:pt x="1178" y="67"/>
                      <a:pt x="1178" y="67"/>
                    </a:cubicBezTo>
                    <a:cubicBezTo>
                      <a:pt x="1178" y="68"/>
                      <a:pt x="1178" y="69"/>
                      <a:pt x="1177" y="70"/>
                    </a:cubicBezTo>
                    <a:cubicBezTo>
                      <a:pt x="1177" y="70"/>
                      <a:pt x="1177" y="70"/>
                      <a:pt x="1177" y="70"/>
                    </a:cubicBezTo>
                    <a:cubicBezTo>
                      <a:pt x="1177" y="70"/>
                      <a:pt x="1177" y="70"/>
                      <a:pt x="1177" y="70"/>
                    </a:cubicBezTo>
                    <a:cubicBezTo>
                      <a:pt x="1177" y="71"/>
                      <a:pt x="1177" y="71"/>
                      <a:pt x="1177" y="71"/>
                    </a:cubicBezTo>
                    <a:cubicBezTo>
                      <a:pt x="1177" y="71"/>
                      <a:pt x="1177" y="71"/>
                      <a:pt x="1177" y="71"/>
                    </a:cubicBezTo>
                    <a:cubicBezTo>
                      <a:pt x="1176" y="72"/>
                      <a:pt x="1176" y="72"/>
                      <a:pt x="1176" y="72"/>
                    </a:cubicBezTo>
                    <a:cubicBezTo>
                      <a:pt x="1176" y="72"/>
                      <a:pt x="1176" y="72"/>
                      <a:pt x="1176" y="72"/>
                    </a:cubicBezTo>
                    <a:cubicBezTo>
                      <a:pt x="1177" y="74"/>
                      <a:pt x="1177" y="74"/>
                      <a:pt x="1177" y="74"/>
                    </a:cubicBezTo>
                    <a:cubicBezTo>
                      <a:pt x="1177" y="75"/>
                      <a:pt x="1177" y="75"/>
                      <a:pt x="1177" y="75"/>
                    </a:cubicBezTo>
                    <a:cubicBezTo>
                      <a:pt x="1176" y="75"/>
                      <a:pt x="1176" y="75"/>
                      <a:pt x="1176" y="75"/>
                    </a:cubicBezTo>
                    <a:cubicBezTo>
                      <a:pt x="1176" y="75"/>
                      <a:pt x="1176" y="75"/>
                      <a:pt x="1176" y="75"/>
                    </a:cubicBezTo>
                    <a:cubicBezTo>
                      <a:pt x="1176" y="76"/>
                      <a:pt x="1176" y="76"/>
                      <a:pt x="1176" y="76"/>
                    </a:cubicBezTo>
                    <a:cubicBezTo>
                      <a:pt x="1175" y="76"/>
                      <a:pt x="1175" y="76"/>
                      <a:pt x="1175" y="76"/>
                    </a:cubicBezTo>
                    <a:cubicBezTo>
                      <a:pt x="1175" y="76"/>
                      <a:pt x="1175" y="76"/>
                      <a:pt x="1175" y="76"/>
                    </a:cubicBezTo>
                    <a:cubicBezTo>
                      <a:pt x="1175" y="77"/>
                      <a:pt x="1175" y="77"/>
                      <a:pt x="1175" y="77"/>
                    </a:cubicBezTo>
                    <a:cubicBezTo>
                      <a:pt x="1175" y="77"/>
                      <a:pt x="1175" y="77"/>
                      <a:pt x="1175" y="77"/>
                    </a:cubicBezTo>
                    <a:cubicBezTo>
                      <a:pt x="1175" y="77"/>
                      <a:pt x="1175" y="77"/>
                      <a:pt x="1175" y="77"/>
                    </a:cubicBezTo>
                    <a:cubicBezTo>
                      <a:pt x="1175" y="78"/>
                      <a:pt x="1175" y="78"/>
                      <a:pt x="1175" y="78"/>
                    </a:cubicBezTo>
                    <a:cubicBezTo>
                      <a:pt x="1175" y="78"/>
                      <a:pt x="1175" y="78"/>
                      <a:pt x="1175" y="78"/>
                    </a:cubicBezTo>
                    <a:cubicBezTo>
                      <a:pt x="1175" y="78"/>
                      <a:pt x="1175" y="78"/>
                      <a:pt x="1175" y="78"/>
                    </a:cubicBezTo>
                    <a:cubicBezTo>
                      <a:pt x="1175" y="79"/>
                      <a:pt x="1175" y="79"/>
                      <a:pt x="1175" y="79"/>
                    </a:cubicBezTo>
                    <a:cubicBezTo>
                      <a:pt x="1174" y="79"/>
                      <a:pt x="1174" y="79"/>
                      <a:pt x="1174" y="79"/>
                    </a:cubicBezTo>
                    <a:cubicBezTo>
                      <a:pt x="1174" y="79"/>
                      <a:pt x="1174" y="79"/>
                      <a:pt x="1174" y="79"/>
                    </a:cubicBezTo>
                    <a:cubicBezTo>
                      <a:pt x="1174" y="80"/>
                      <a:pt x="1174" y="80"/>
                      <a:pt x="1174" y="80"/>
                    </a:cubicBezTo>
                    <a:cubicBezTo>
                      <a:pt x="1174" y="80"/>
                      <a:pt x="1174" y="80"/>
                      <a:pt x="1174" y="80"/>
                    </a:cubicBezTo>
                    <a:cubicBezTo>
                      <a:pt x="1174" y="80"/>
                      <a:pt x="1174" y="80"/>
                      <a:pt x="1174" y="80"/>
                    </a:cubicBezTo>
                    <a:cubicBezTo>
                      <a:pt x="1174" y="81"/>
                      <a:pt x="1174" y="81"/>
                      <a:pt x="1174" y="81"/>
                    </a:cubicBezTo>
                    <a:cubicBezTo>
                      <a:pt x="1174" y="81"/>
                      <a:pt x="1174" y="81"/>
                      <a:pt x="1174" y="81"/>
                    </a:cubicBezTo>
                    <a:cubicBezTo>
                      <a:pt x="1174" y="81"/>
                      <a:pt x="1174" y="81"/>
                      <a:pt x="1174" y="81"/>
                    </a:cubicBezTo>
                    <a:cubicBezTo>
                      <a:pt x="1174" y="82"/>
                      <a:pt x="1174" y="82"/>
                      <a:pt x="1174" y="82"/>
                    </a:cubicBezTo>
                    <a:cubicBezTo>
                      <a:pt x="1174" y="82"/>
                      <a:pt x="1174" y="82"/>
                      <a:pt x="1174" y="82"/>
                    </a:cubicBezTo>
                    <a:cubicBezTo>
                      <a:pt x="1174" y="83"/>
                      <a:pt x="1174" y="83"/>
                      <a:pt x="1174" y="83"/>
                    </a:cubicBezTo>
                    <a:cubicBezTo>
                      <a:pt x="1174" y="83"/>
                      <a:pt x="1174" y="83"/>
                      <a:pt x="1174" y="83"/>
                    </a:cubicBezTo>
                    <a:cubicBezTo>
                      <a:pt x="1174" y="84"/>
                      <a:pt x="1173" y="83"/>
                      <a:pt x="1173" y="86"/>
                    </a:cubicBezTo>
                    <a:cubicBezTo>
                      <a:pt x="1173" y="86"/>
                      <a:pt x="1173" y="86"/>
                      <a:pt x="1173" y="86"/>
                    </a:cubicBezTo>
                    <a:cubicBezTo>
                      <a:pt x="1173" y="86"/>
                      <a:pt x="1173" y="86"/>
                      <a:pt x="1173" y="86"/>
                    </a:cubicBezTo>
                    <a:cubicBezTo>
                      <a:pt x="1172" y="88"/>
                      <a:pt x="1172" y="88"/>
                      <a:pt x="1172" y="89"/>
                    </a:cubicBezTo>
                    <a:cubicBezTo>
                      <a:pt x="1172" y="90"/>
                      <a:pt x="1172" y="90"/>
                      <a:pt x="1172" y="90"/>
                    </a:cubicBezTo>
                    <a:cubicBezTo>
                      <a:pt x="1171" y="90"/>
                      <a:pt x="1171" y="90"/>
                      <a:pt x="1171" y="90"/>
                    </a:cubicBezTo>
                    <a:cubicBezTo>
                      <a:pt x="1171" y="90"/>
                      <a:pt x="1171" y="90"/>
                      <a:pt x="1171" y="90"/>
                    </a:cubicBezTo>
                    <a:cubicBezTo>
                      <a:pt x="1171" y="91"/>
                      <a:pt x="1171" y="91"/>
                      <a:pt x="1171" y="91"/>
                    </a:cubicBezTo>
                    <a:cubicBezTo>
                      <a:pt x="1171" y="92"/>
                      <a:pt x="1170" y="93"/>
                      <a:pt x="1170" y="94"/>
                    </a:cubicBezTo>
                    <a:cubicBezTo>
                      <a:pt x="1170" y="94"/>
                      <a:pt x="1170" y="94"/>
                      <a:pt x="1170" y="94"/>
                    </a:cubicBezTo>
                    <a:cubicBezTo>
                      <a:pt x="1169" y="96"/>
                      <a:pt x="1169" y="96"/>
                      <a:pt x="1169" y="98"/>
                    </a:cubicBezTo>
                    <a:cubicBezTo>
                      <a:pt x="1169" y="98"/>
                      <a:pt x="1169" y="98"/>
                      <a:pt x="1169" y="98"/>
                    </a:cubicBezTo>
                    <a:cubicBezTo>
                      <a:pt x="1169" y="98"/>
                      <a:pt x="1169" y="98"/>
                      <a:pt x="1169" y="98"/>
                    </a:cubicBezTo>
                    <a:cubicBezTo>
                      <a:pt x="1169" y="99"/>
                      <a:pt x="1169" y="99"/>
                      <a:pt x="1169" y="99"/>
                    </a:cubicBezTo>
                    <a:cubicBezTo>
                      <a:pt x="1169" y="99"/>
                      <a:pt x="1169" y="99"/>
                      <a:pt x="1169" y="99"/>
                    </a:cubicBezTo>
                    <a:cubicBezTo>
                      <a:pt x="1168" y="100"/>
                      <a:pt x="1168" y="100"/>
                      <a:pt x="1168" y="100"/>
                    </a:cubicBezTo>
                    <a:cubicBezTo>
                      <a:pt x="1168" y="100"/>
                      <a:pt x="1167" y="101"/>
                      <a:pt x="1167" y="102"/>
                    </a:cubicBezTo>
                    <a:cubicBezTo>
                      <a:pt x="1167" y="102"/>
                      <a:pt x="1167" y="102"/>
                      <a:pt x="1167" y="102"/>
                    </a:cubicBezTo>
                    <a:cubicBezTo>
                      <a:pt x="1167" y="103"/>
                      <a:pt x="1167" y="103"/>
                      <a:pt x="1167" y="103"/>
                    </a:cubicBezTo>
                    <a:cubicBezTo>
                      <a:pt x="1167" y="104"/>
                      <a:pt x="1167" y="104"/>
                      <a:pt x="1166" y="106"/>
                    </a:cubicBezTo>
                    <a:cubicBezTo>
                      <a:pt x="1165" y="106"/>
                      <a:pt x="1165" y="106"/>
                      <a:pt x="1165" y="106"/>
                    </a:cubicBezTo>
                    <a:cubicBezTo>
                      <a:pt x="1165" y="107"/>
                      <a:pt x="1165" y="107"/>
                      <a:pt x="1165" y="107"/>
                    </a:cubicBezTo>
                    <a:cubicBezTo>
                      <a:pt x="1165" y="107"/>
                      <a:pt x="1165" y="107"/>
                      <a:pt x="1165" y="107"/>
                    </a:cubicBezTo>
                    <a:cubicBezTo>
                      <a:pt x="1164" y="112"/>
                      <a:pt x="1164" y="110"/>
                      <a:pt x="1161" y="115"/>
                    </a:cubicBezTo>
                    <a:cubicBezTo>
                      <a:pt x="1160" y="115"/>
                      <a:pt x="1160" y="115"/>
                      <a:pt x="1160" y="115"/>
                    </a:cubicBezTo>
                    <a:cubicBezTo>
                      <a:pt x="1160" y="116"/>
                      <a:pt x="1160" y="116"/>
                      <a:pt x="1160" y="116"/>
                    </a:cubicBezTo>
                    <a:cubicBezTo>
                      <a:pt x="1160" y="117"/>
                      <a:pt x="1160" y="117"/>
                      <a:pt x="1160" y="117"/>
                    </a:cubicBezTo>
                    <a:cubicBezTo>
                      <a:pt x="1160" y="118"/>
                      <a:pt x="1160" y="118"/>
                      <a:pt x="1160" y="118"/>
                    </a:cubicBezTo>
                    <a:cubicBezTo>
                      <a:pt x="1160" y="118"/>
                      <a:pt x="1160" y="118"/>
                      <a:pt x="1160" y="118"/>
                    </a:cubicBezTo>
                    <a:cubicBezTo>
                      <a:pt x="1160" y="117"/>
                      <a:pt x="1160" y="117"/>
                      <a:pt x="1160" y="117"/>
                    </a:cubicBezTo>
                    <a:cubicBezTo>
                      <a:pt x="1160" y="117"/>
                      <a:pt x="1160" y="117"/>
                      <a:pt x="1160" y="117"/>
                    </a:cubicBezTo>
                    <a:cubicBezTo>
                      <a:pt x="1159" y="117"/>
                      <a:pt x="1159" y="117"/>
                      <a:pt x="1159" y="117"/>
                    </a:cubicBezTo>
                    <a:cubicBezTo>
                      <a:pt x="1158" y="117"/>
                      <a:pt x="1158" y="117"/>
                      <a:pt x="1158" y="117"/>
                    </a:cubicBezTo>
                    <a:cubicBezTo>
                      <a:pt x="1157" y="118"/>
                      <a:pt x="1155" y="121"/>
                      <a:pt x="1153" y="122"/>
                    </a:cubicBezTo>
                    <a:cubicBezTo>
                      <a:pt x="1153" y="123"/>
                      <a:pt x="1153" y="123"/>
                      <a:pt x="1153" y="123"/>
                    </a:cubicBezTo>
                    <a:cubicBezTo>
                      <a:pt x="1152" y="123"/>
                      <a:pt x="1152" y="123"/>
                      <a:pt x="1152" y="123"/>
                    </a:cubicBezTo>
                    <a:cubicBezTo>
                      <a:pt x="1152" y="123"/>
                      <a:pt x="1152" y="123"/>
                      <a:pt x="1152" y="123"/>
                    </a:cubicBezTo>
                    <a:cubicBezTo>
                      <a:pt x="1151" y="124"/>
                      <a:pt x="1151" y="124"/>
                      <a:pt x="1150" y="124"/>
                    </a:cubicBezTo>
                    <a:cubicBezTo>
                      <a:pt x="1150" y="125"/>
                      <a:pt x="1150" y="125"/>
                      <a:pt x="1150" y="125"/>
                    </a:cubicBezTo>
                    <a:cubicBezTo>
                      <a:pt x="1150" y="125"/>
                      <a:pt x="1150" y="125"/>
                      <a:pt x="1150" y="125"/>
                    </a:cubicBezTo>
                    <a:cubicBezTo>
                      <a:pt x="1149" y="126"/>
                      <a:pt x="1149" y="126"/>
                      <a:pt x="1148" y="126"/>
                    </a:cubicBezTo>
                    <a:cubicBezTo>
                      <a:pt x="1147" y="126"/>
                      <a:pt x="1147" y="126"/>
                      <a:pt x="1147" y="126"/>
                    </a:cubicBezTo>
                    <a:cubicBezTo>
                      <a:pt x="1147" y="127"/>
                      <a:pt x="1147" y="127"/>
                      <a:pt x="1147" y="127"/>
                    </a:cubicBezTo>
                    <a:cubicBezTo>
                      <a:pt x="1146" y="127"/>
                      <a:pt x="1146" y="127"/>
                      <a:pt x="1146" y="127"/>
                    </a:cubicBezTo>
                    <a:cubicBezTo>
                      <a:pt x="1146" y="127"/>
                      <a:pt x="1146" y="127"/>
                      <a:pt x="1146" y="127"/>
                    </a:cubicBezTo>
                    <a:cubicBezTo>
                      <a:pt x="1145" y="127"/>
                      <a:pt x="1145" y="127"/>
                      <a:pt x="1145" y="127"/>
                    </a:cubicBezTo>
                    <a:cubicBezTo>
                      <a:pt x="1145" y="128"/>
                      <a:pt x="1145" y="128"/>
                      <a:pt x="1145" y="128"/>
                    </a:cubicBezTo>
                    <a:cubicBezTo>
                      <a:pt x="1144" y="128"/>
                      <a:pt x="1144" y="129"/>
                      <a:pt x="1143" y="129"/>
                    </a:cubicBezTo>
                    <a:cubicBezTo>
                      <a:pt x="1142" y="129"/>
                      <a:pt x="1142" y="129"/>
                      <a:pt x="1142" y="129"/>
                    </a:cubicBezTo>
                    <a:cubicBezTo>
                      <a:pt x="1142" y="130"/>
                      <a:pt x="1142" y="130"/>
                      <a:pt x="1142" y="130"/>
                    </a:cubicBezTo>
                    <a:cubicBezTo>
                      <a:pt x="1141" y="130"/>
                      <a:pt x="1140" y="130"/>
                      <a:pt x="1139" y="131"/>
                    </a:cubicBezTo>
                    <a:cubicBezTo>
                      <a:pt x="1139" y="131"/>
                      <a:pt x="1139" y="131"/>
                      <a:pt x="1139" y="131"/>
                    </a:cubicBezTo>
                    <a:cubicBezTo>
                      <a:pt x="1139" y="131"/>
                      <a:pt x="1139" y="131"/>
                      <a:pt x="1139" y="131"/>
                    </a:cubicBezTo>
                    <a:cubicBezTo>
                      <a:pt x="1139" y="132"/>
                      <a:pt x="1139" y="132"/>
                      <a:pt x="1139" y="132"/>
                    </a:cubicBezTo>
                    <a:cubicBezTo>
                      <a:pt x="1139" y="132"/>
                      <a:pt x="1139" y="132"/>
                      <a:pt x="1139" y="132"/>
                    </a:cubicBezTo>
                    <a:cubicBezTo>
                      <a:pt x="1138" y="132"/>
                      <a:pt x="1137" y="132"/>
                      <a:pt x="1136" y="133"/>
                    </a:cubicBezTo>
                    <a:cubicBezTo>
                      <a:pt x="1136" y="133"/>
                      <a:pt x="1136" y="133"/>
                      <a:pt x="1136" y="133"/>
                    </a:cubicBezTo>
                    <a:cubicBezTo>
                      <a:pt x="1135" y="133"/>
                      <a:pt x="1135" y="133"/>
                      <a:pt x="1135" y="133"/>
                    </a:cubicBezTo>
                    <a:cubicBezTo>
                      <a:pt x="1134" y="134"/>
                      <a:pt x="1133" y="134"/>
                      <a:pt x="1132" y="135"/>
                    </a:cubicBezTo>
                    <a:cubicBezTo>
                      <a:pt x="1132" y="135"/>
                      <a:pt x="1132" y="135"/>
                      <a:pt x="1132" y="135"/>
                    </a:cubicBezTo>
                    <a:cubicBezTo>
                      <a:pt x="1131" y="135"/>
                      <a:pt x="1131" y="135"/>
                      <a:pt x="1131" y="135"/>
                    </a:cubicBezTo>
                    <a:cubicBezTo>
                      <a:pt x="1131" y="135"/>
                      <a:pt x="1131" y="135"/>
                      <a:pt x="1131" y="135"/>
                    </a:cubicBezTo>
                    <a:cubicBezTo>
                      <a:pt x="1130" y="135"/>
                      <a:pt x="1130" y="135"/>
                      <a:pt x="1130" y="135"/>
                    </a:cubicBezTo>
                    <a:cubicBezTo>
                      <a:pt x="1130" y="135"/>
                      <a:pt x="1130" y="135"/>
                      <a:pt x="1130" y="135"/>
                    </a:cubicBezTo>
                    <a:cubicBezTo>
                      <a:pt x="1129" y="136"/>
                      <a:pt x="1129" y="136"/>
                      <a:pt x="1129" y="136"/>
                    </a:cubicBezTo>
                    <a:cubicBezTo>
                      <a:pt x="1129" y="136"/>
                      <a:pt x="1129" y="136"/>
                      <a:pt x="1129" y="136"/>
                    </a:cubicBezTo>
                    <a:cubicBezTo>
                      <a:pt x="1126" y="137"/>
                      <a:pt x="1125" y="137"/>
                      <a:pt x="1122" y="138"/>
                    </a:cubicBezTo>
                    <a:cubicBezTo>
                      <a:pt x="1122" y="138"/>
                      <a:pt x="1122" y="138"/>
                      <a:pt x="1122" y="138"/>
                    </a:cubicBezTo>
                    <a:cubicBezTo>
                      <a:pt x="1122" y="138"/>
                      <a:pt x="1122" y="138"/>
                      <a:pt x="1122" y="138"/>
                    </a:cubicBezTo>
                    <a:cubicBezTo>
                      <a:pt x="1122" y="163"/>
                      <a:pt x="1122" y="163"/>
                      <a:pt x="1122" y="163"/>
                    </a:cubicBezTo>
                    <a:cubicBezTo>
                      <a:pt x="1122" y="163"/>
                      <a:pt x="1122" y="163"/>
                      <a:pt x="1122" y="163"/>
                    </a:cubicBezTo>
                    <a:cubicBezTo>
                      <a:pt x="1122" y="163"/>
                      <a:pt x="1122" y="163"/>
                      <a:pt x="1122" y="163"/>
                    </a:cubicBezTo>
                    <a:cubicBezTo>
                      <a:pt x="1122" y="163"/>
                      <a:pt x="1122" y="163"/>
                      <a:pt x="1122" y="163"/>
                    </a:cubicBezTo>
                    <a:cubicBezTo>
                      <a:pt x="1124" y="163"/>
                      <a:pt x="1125" y="162"/>
                      <a:pt x="1126" y="162"/>
                    </a:cubicBezTo>
                    <a:cubicBezTo>
                      <a:pt x="1126" y="162"/>
                      <a:pt x="1126" y="162"/>
                      <a:pt x="1127" y="162"/>
                    </a:cubicBezTo>
                    <a:cubicBezTo>
                      <a:pt x="1127" y="162"/>
                      <a:pt x="1127" y="162"/>
                      <a:pt x="1127" y="162"/>
                    </a:cubicBezTo>
                    <a:cubicBezTo>
                      <a:pt x="1129" y="163"/>
                      <a:pt x="1129" y="163"/>
                      <a:pt x="1129" y="163"/>
                    </a:cubicBezTo>
                    <a:cubicBezTo>
                      <a:pt x="1131" y="164"/>
                      <a:pt x="1133" y="165"/>
                      <a:pt x="1132" y="168"/>
                    </a:cubicBezTo>
                    <a:cubicBezTo>
                      <a:pt x="1131" y="168"/>
                      <a:pt x="1131" y="168"/>
                      <a:pt x="1131" y="168"/>
                    </a:cubicBezTo>
                    <a:cubicBezTo>
                      <a:pt x="1131" y="169"/>
                      <a:pt x="1131" y="169"/>
                      <a:pt x="1131" y="169"/>
                    </a:cubicBezTo>
                    <a:cubicBezTo>
                      <a:pt x="1131" y="169"/>
                      <a:pt x="1131" y="169"/>
                      <a:pt x="1131" y="169"/>
                    </a:cubicBezTo>
                    <a:cubicBezTo>
                      <a:pt x="1131" y="169"/>
                      <a:pt x="1131" y="169"/>
                      <a:pt x="1131" y="169"/>
                    </a:cubicBezTo>
                    <a:cubicBezTo>
                      <a:pt x="1130" y="171"/>
                      <a:pt x="1130" y="171"/>
                      <a:pt x="1130" y="173"/>
                    </a:cubicBezTo>
                    <a:cubicBezTo>
                      <a:pt x="1130" y="173"/>
                      <a:pt x="1130" y="173"/>
                      <a:pt x="1130" y="173"/>
                    </a:cubicBezTo>
                    <a:cubicBezTo>
                      <a:pt x="1130" y="173"/>
                      <a:pt x="1130" y="173"/>
                      <a:pt x="1130" y="173"/>
                    </a:cubicBezTo>
                    <a:cubicBezTo>
                      <a:pt x="1129" y="175"/>
                      <a:pt x="1129" y="175"/>
                      <a:pt x="1129" y="177"/>
                    </a:cubicBezTo>
                    <a:cubicBezTo>
                      <a:pt x="1130" y="179"/>
                      <a:pt x="1130" y="179"/>
                      <a:pt x="1130" y="179"/>
                    </a:cubicBezTo>
                    <a:cubicBezTo>
                      <a:pt x="1130" y="180"/>
                      <a:pt x="1130" y="180"/>
                      <a:pt x="1130" y="180"/>
                    </a:cubicBezTo>
                    <a:cubicBezTo>
                      <a:pt x="1130" y="181"/>
                      <a:pt x="1130" y="181"/>
                      <a:pt x="1130" y="181"/>
                    </a:cubicBezTo>
                    <a:cubicBezTo>
                      <a:pt x="1130" y="181"/>
                      <a:pt x="1130" y="181"/>
                      <a:pt x="1130" y="181"/>
                    </a:cubicBezTo>
                    <a:cubicBezTo>
                      <a:pt x="1130" y="181"/>
                      <a:pt x="1130" y="181"/>
                      <a:pt x="1130" y="181"/>
                    </a:cubicBezTo>
                    <a:cubicBezTo>
                      <a:pt x="1130" y="182"/>
                      <a:pt x="1130" y="182"/>
                      <a:pt x="1130" y="182"/>
                    </a:cubicBezTo>
                    <a:cubicBezTo>
                      <a:pt x="1130" y="182"/>
                      <a:pt x="1130" y="182"/>
                      <a:pt x="1130" y="182"/>
                    </a:cubicBezTo>
                    <a:cubicBezTo>
                      <a:pt x="1130" y="184"/>
                      <a:pt x="1129" y="183"/>
                      <a:pt x="1128" y="185"/>
                    </a:cubicBezTo>
                    <a:cubicBezTo>
                      <a:pt x="1128" y="186"/>
                      <a:pt x="1128" y="186"/>
                      <a:pt x="1128" y="186"/>
                    </a:cubicBezTo>
                    <a:cubicBezTo>
                      <a:pt x="1128" y="186"/>
                      <a:pt x="1128" y="186"/>
                      <a:pt x="1128" y="186"/>
                    </a:cubicBezTo>
                    <a:cubicBezTo>
                      <a:pt x="1127" y="188"/>
                      <a:pt x="1127" y="189"/>
                      <a:pt x="1126" y="190"/>
                    </a:cubicBezTo>
                    <a:cubicBezTo>
                      <a:pt x="1126" y="193"/>
                      <a:pt x="1126" y="193"/>
                      <a:pt x="1126" y="193"/>
                    </a:cubicBezTo>
                    <a:cubicBezTo>
                      <a:pt x="1125" y="194"/>
                      <a:pt x="1125" y="194"/>
                      <a:pt x="1125" y="194"/>
                    </a:cubicBezTo>
                    <a:cubicBezTo>
                      <a:pt x="1125" y="194"/>
                      <a:pt x="1125" y="194"/>
                      <a:pt x="1125" y="194"/>
                    </a:cubicBezTo>
                    <a:cubicBezTo>
                      <a:pt x="1126" y="195"/>
                      <a:pt x="1126" y="195"/>
                      <a:pt x="1126" y="195"/>
                    </a:cubicBezTo>
                    <a:cubicBezTo>
                      <a:pt x="1126" y="195"/>
                      <a:pt x="1126" y="195"/>
                      <a:pt x="1126" y="195"/>
                    </a:cubicBezTo>
                    <a:cubicBezTo>
                      <a:pt x="1127" y="195"/>
                      <a:pt x="1127" y="195"/>
                      <a:pt x="1127" y="195"/>
                    </a:cubicBezTo>
                    <a:cubicBezTo>
                      <a:pt x="1128" y="196"/>
                      <a:pt x="1128" y="196"/>
                      <a:pt x="1128" y="196"/>
                    </a:cubicBezTo>
                    <a:cubicBezTo>
                      <a:pt x="1130" y="196"/>
                      <a:pt x="1130" y="196"/>
                      <a:pt x="1130" y="196"/>
                    </a:cubicBezTo>
                    <a:cubicBezTo>
                      <a:pt x="1131" y="197"/>
                      <a:pt x="1131" y="197"/>
                      <a:pt x="1131" y="197"/>
                    </a:cubicBezTo>
                    <a:cubicBezTo>
                      <a:pt x="1131" y="199"/>
                      <a:pt x="1131" y="199"/>
                      <a:pt x="1131" y="199"/>
                    </a:cubicBezTo>
                    <a:cubicBezTo>
                      <a:pt x="1131" y="199"/>
                      <a:pt x="1131" y="199"/>
                      <a:pt x="1131" y="199"/>
                    </a:cubicBezTo>
                    <a:cubicBezTo>
                      <a:pt x="1131" y="200"/>
                      <a:pt x="1131" y="200"/>
                      <a:pt x="1131" y="200"/>
                    </a:cubicBezTo>
                    <a:cubicBezTo>
                      <a:pt x="1131" y="200"/>
                      <a:pt x="1131" y="200"/>
                      <a:pt x="1131" y="200"/>
                    </a:cubicBezTo>
                    <a:cubicBezTo>
                      <a:pt x="1131" y="201"/>
                      <a:pt x="1131" y="201"/>
                      <a:pt x="1131" y="201"/>
                    </a:cubicBezTo>
                    <a:cubicBezTo>
                      <a:pt x="1131" y="201"/>
                      <a:pt x="1131" y="201"/>
                      <a:pt x="1131" y="201"/>
                    </a:cubicBezTo>
                    <a:cubicBezTo>
                      <a:pt x="1130" y="202"/>
                      <a:pt x="1130" y="203"/>
                      <a:pt x="1129" y="204"/>
                    </a:cubicBezTo>
                    <a:cubicBezTo>
                      <a:pt x="1129" y="204"/>
                      <a:pt x="1129" y="204"/>
                      <a:pt x="1129" y="204"/>
                    </a:cubicBezTo>
                    <a:cubicBezTo>
                      <a:pt x="1129" y="205"/>
                      <a:pt x="1129" y="205"/>
                      <a:pt x="1129" y="205"/>
                    </a:cubicBezTo>
                    <a:cubicBezTo>
                      <a:pt x="1128" y="205"/>
                      <a:pt x="1128" y="205"/>
                      <a:pt x="1128" y="205"/>
                    </a:cubicBezTo>
                    <a:cubicBezTo>
                      <a:pt x="1128" y="205"/>
                      <a:pt x="1128" y="205"/>
                      <a:pt x="1128" y="205"/>
                    </a:cubicBezTo>
                    <a:cubicBezTo>
                      <a:pt x="1128" y="205"/>
                      <a:pt x="1128" y="205"/>
                      <a:pt x="1128" y="205"/>
                    </a:cubicBezTo>
                    <a:cubicBezTo>
                      <a:pt x="1127" y="205"/>
                      <a:pt x="1127" y="205"/>
                      <a:pt x="1127" y="205"/>
                    </a:cubicBezTo>
                    <a:cubicBezTo>
                      <a:pt x="1127" y="205"/>
                      <a:pt x="1126" y="206"/>
                      <a:pt x="1126" y="206"/>
                    </a:cubicBezTo>
                    <a:cubicBezTo>
                      <a:pt x="1124" y="206"/>
                      <a:pt x="1123" y="203"/>
                      <a:pt x="1122" y="202"/>
                    </a:cubicBezTo>
                    <a:cubicBezTo>
                      <a:pt x="1122" y="220"/>
                      <a:pt x="1122" y="220"/>
                      <a:pt x="1122" y="220"/>
                    </a:cubicBezTo>
                    <a:cubicBezTo>
                      <a:pt x="1122" y="220"/>
                      <a:pt x="1122" y="220"/>
                      <a:pt x="1122" y="220"/>
                    </a:cubicBezTo>
                    <a:cubicBezTo>
                      <a:pt x="1122" y="220"/>
                      <a:pt x="1122" y="220"/>
                      <a:pt x="1122" y="220"/>
                    </a:cubicBezTo>
                    <a:cubicBezTo>
                      <a:pt x="1123" y="220"/>
                      <a:pt x="1123" y="220"/>
                      <a:pt x="1123" y="220"/>
                    </a:cubicBezTo>
                    <a:cubicBezTo>
                      <a:pt x="1123" y="220"/>
                      <a:pt x="1123" y="220"/>
                      <a:pt x="1123" y="220"/>
                    </a:cubicBezTo>
                    <a:cubicBezTo>
                      <a:pt x="1124" y="220"/>
                      <a:pt x="1124" y="220"/>
                      <a:pt x="1124" y="220"/>
                    </a:cubicBezTo>
                    <a:cubicBezTo>
                      <a:pt x="1124" y="220"/>
                      <a:pt x="1124" y="220"/>
                      <a:pt x="1124" y="220"/>
                    </a:cubicBezTo>
                    <a:cubicBezTo>
                      <a:pt x="1126" y="221"/>
                      <a:pt x="1127" y="221"/>
                      <a:pt x="1128" y="222"/>
                    </a:cubicBezTo>
                    <a:cubicBezTo>
                      <a:pt x="1129" y="222"/>
                      <a:pt x="1129" y="222"/>
                      <a:pt x="1129" y="222"/>
                    </a:cubicBezTo>
                    <a:cubicBezTo>
                      <a:pt x="1130" y="223"/>
                      <a:pt x="1130" y="223"/>
                      <a:pt x="1130" y="223"/>
                    </a:cubicBezTo>
                    <a:cubicBezTo>
                      <a:pt x="1130" y="223"/>
                      <a:pt x="1130" y="223"/>
                      <a:pt x="1130" y="223"/>
                    </a:cubicBezTo>
                    <a:cubicBezTo>
                      <a:pt x="1131" y="223"/>
                      <a:pt x="1131" y="223"/>
                      <a:pt x="1131" y="223"/>
                    </a:cubicBezTo>
                    <a:cubicBezTo>
                      <a:pt x="1132" y="224"/>
                      <a:pt x="1133" y="224"/>
                      <a:pt x="1133" y="224"/>
                    </a:cubicBezTo>
                    <a:cubicBezTo>
                      <a:pt x="1134" y="224"/>
                      <a:pt x="1134" y="224"/>
                      <a:pt x="1135" y="224"/>
                    </a:cubicBezTo>
                    <a:cubicBezTo>
                      <a:pt x="1135" y="224"/>
                      <a:pt x="1135" y="224"/>
                      <a:pt x="1135" y="224"/>
                    </a:cubicBezTo>
                    <a:cubicBezTo>
                      <a:pt x="1136" y="224"/>
                      <a:pt x="1136" y="224"/>
                      <a:pt x="1136" y="224"/>
                    </a:cubicBezTo>
                    <a:cubicBezTo>
                      <a:pt x="1138" y="225"/>
                      <a:pt x="1138" y="225"/>
                      <a:pt x="1140" y="225"/>
                    </a:cubicBezTo>
                    <a:cubicBezTo>
                      <a:pt x="1141" y="226"/>
                      <a:pt x="1141" y="226"/>
                      <a:pt x="1141" y="226"/>
                    </a:cubicBezTo>
                    <a:cubicBezTo>
                      <a:pt x="1141" y="226"/>
                      <a:pt x="1141" y="226"/>
                      <a:pt x="1141" y="226"/>
                    </a:cubicBezTo>
                    <a:cubicBezTo>
                      <a:pt x="1141" y="226"/>
                      <a:pt x="1141" y="226"/>
                      <a:pt x="1141" y="226"/>
                    </a:cubicBezTo>
                    <a:cubicBezTo>
                      <a:pt x="1141" y="227"/>
                      <a:pt x="1141" y="227"/>
                      <a:pt x="1141" y="227"/>
                    </a:cubicBezTo>
                    <a:cubicBezTo>
                      <a:pt x="1142" y="227"/>
                      <a:pt x="1142" y="227"/>
                      <a:pt x="1142" y="227"/>
                    </a:cubicBezTo>
                    <a:cubicBezTo>
                      <a:pt x="1142" y="227"/>
                      <a:pt x="1142" y="227"/>
                      <a:pt x="1142" y="227"/>
                    </a:cubicBezTo>
                    <a:cubicBezTo>
                      <a:pt x="1142" y="227"/>
                      <a:pt x="1142" y="227"/>
                      <a:pt x="1142" y="227"/>
                    </a:cubicBezTo>
                    <a:cubicBezTo>
                      <a:pt x="1143" y="228"/>
                      <a:pt x="1143" y="228"/>
                      <a:pt x="1143" y="228"/>
                    </a:cubicBezTo>
                    <a:cubicBezTo>
                      <a:pt x="1143" y="228"/>
                      <a:pt x="1143" y="228"/>
                      <a:pt x="1143" y="228"/>
                    </a:cubicBezTo>
                    <a:cubicBezTo>
                      <a:pt x="1144" y="228"/>
                      <a:pt x="1144" y="228"/>
                      <a:pt x="1144" y="228"/>
                    </a:cubicBezTo>
                    <a:cubicBezTo>
                      <a:pt x="1144" y="228"/>
                      <a:pt x="1144" y="228"/>
                      <a:pt x="1144" y="228"/>
                    </a:cubicBezTo>
                    <a:cubicBezTo>
                      <a:pt x="1144" y="229"/>
                      <a:pt x="1144" y="229"/>
                      <a:pt x="1144" y="229"/>
                    </a:cubicBezTo>
                    <a:cubicBezTo>
                      <a:pt x="1145" y="229"/>
                      <a:pt x="1145" y="229"/>
                      <a:pt x="1145" y="229"/>
                    </a:cubicBezTo>
                    <a:cubicBezTo>
                      <a:pt x="1145" y="229"/>
                      <a:pt x="1145" y="229"/>
                      <a:pt x="1145" y="229"/>
                    </a:cubicBezTo>
                    <a:cubicBezTo>
                      <a:pt x="1146" y="229"/>
                      <a:pt x="1146" y="229"/>
                      <a:pt x="1146" y="229"/>
                    </a:cubicBezTo>
                    <a:cubicBezTo>
                      <a:pt x="1146" y="230"/>
                      <a:pt x="1146" y="230"/>
                      <a:pt x="1146" y="230"/>
                    </a:cubicBezTo>
                    <a:cubicBezTo>
                      <a:pt x="1147" y="230"/>
                      <a:pt x="1147" y="230"/>
                      <a:pt x="1147" y="230"/>
                    </a:cubicBezTo>
                    <a:cubicBezTo>
                      <a:pt x="1148" y="230"/>
                      <a:pt x="1148" y="230"/>
                      <a:pt x="1148" y="230"/>
                    </a:cubicBezTo>
                    <a:cubicBezTo>
                      <a:pt x="1148" y="230"/>
                      <a:pt x="1148" y="230"/>
                      <a:pt x="1148" y="230"/>
                    </a:cubicBezTo>
                    <a:cubicBezTo>
                      <a:pt x="1149" y="230"/>
                      <a:pt x="1149" y="230"/>
                      <a:pt x="1149" y="230"/>
                    </a:cubicBezTo>
                    <a:cubicBezTo>
                      <a:pt x="1149" y="230"/>
                      <a:pt x="1149" y="230"/>
                      <a:pt x="1149" y="230"/>
                    </a:cubicBezTo>
                    <a:cubicBezTo>
                      <a:pt x="1150" y="231"/>
                      <a:pt x="1150" y="231"/>
                      <a:pt x="1150" y="231"/>
                    </a:cubicBezTo>
                    <a:cubicBezTo>
                      <a:pt x="1150" y="231"/>
                      <a:pt x="1150" y="231"/>
                      <a:pt x="1150" y="231"/>
                    </a:cubicBezTo>
                    <a:cubicBezTo>
                      <a:pt x="1151" y="231"/>
                      <a:pt x="1151" y="231"/>
                      <a:pt x="1151" y="231"/>
                    </a:cubicBezTo>
                    <a:cubicBezTo>
                      <a:pt x="1151" y="230"/>
                      <a:pt x="1151" y="230"/>
                      <a:pt x="1151" y="230"/>
                    </a:cubicBezTo>
                    <a:cubicBezTo>
                      <a:pt x="1151" y="229"/>
                      <a:pt x="1151" y="229"/>
                      <a:pt x="1151" y="229"/>
                    </a:cubicBezTo>
                    <a:cubicBezTo>
                      <a:pt x="1152" y="229"/>
                      <a:pt x="1152" y="229"/>
                      <a:pt x="1152" y="229"/>
                    </a:cubicBezTo>
                    <a:cubicBezTo>
                      <a:pt x="1153" y="228"/>
                      <a:pt x="1153" y="228"/>
                      <a:pt x="1153" y="228"/>
                    </a:cubicBezTo>
                    <a:cubicBezTo>
                      <a:pt x="1153" y="228"/>
                      <a:pt x="1153" y="228"/>
                      <a:pt x="1153" y="228"/>
                    </a:cubicBezTo>
                    <a:cubicBezTo>
                      <a:pt x="1154" y="229"/>
                      <a:pt x="1154" y="229"/>
                      <a:pt x="1154" y="229"/>
                    </a:cubicBezTo>
                    <a:cubicBezTo>
                      <a:pt x="1154" y="229"/>
                      <a:pt x="1154" y="229"/>
                      <a:pt x="1154" y="229"/>
                    </a:cubicBezTo>
                    <a:cubicBezTo>
                      <a:pt x="1154" y="230"/>
                      <a:pt x="1154" y="230"/>
                      <a:pt x="1154" y="230"/>
                    </a:cubicBezTo>
                    <a:cubicBezTo>
                      <a:pt x="1154" y="231"/>
                      <a:pt x="1154" y="231"/>
                      <a:pt x="1154" y="231"/>
                    </a:cubicBezTo>
                    <a:cubicBezTo>
                      <a:pt x="1154" y="231"/>
                      <a:pt x="1154" y="231"/>
                      <a:pt x="1154" y="231"/>
                    </a:cubicBezTo>
                    <a:cubicBezTo>
                      <a:pt x="1154" y="232"/>
                      <a:pt x="1154" y="232"/>
                      <a:pt x="1154" y="232"/>
                    </a:cubicBezTo>
                    <a:cubicBezTo>
                      <a:pt x="1153" y="232"/>
                      <a:pt x="1153" y="232"/>
                      <a:pt x="1153" y="232"/>
                    </a:cubicBezTo>
                    <a:cubicBezTo>
                      <a:pt x="1153" y="232"/>
                      <a:pt x="1153" y="232"/>
                      <a:pt x="1153" y="232"/>
                    </a:cubicBezTo>
                    <a:cubicBezTo>
                      <a:pt x="1153" y="233"/>
                      <a:pt x="1153" y="233"/>
                      <a:pt x="1153" y="233"/>
                    </a:cubicBezTo>
                    <a:cubicBezTo>
                      <a:pt x="1153" y="233"/>
                      <a:pt x="1153" y="233"/>
                      <a:pt x="1153" y="233"/>
                    </a:cubicBezTo>
                    <a:cubicBezTo>
                      <a:pt x="1154" y="234"/>
                      <a:pt x="1154" y="234"/>
                      <a:pt x="1154" y="234"/>
                    </a:cubicBezTo>
                    <a:cubicBezTo>
                      <a:pt x="1154" y="235"/>
                      <a:pt x="1154" y="235"/>
                      <a:pt x="1154" y="235"/>
                    </a:cubicBezTo>
                    <a:cubicBezTo>
                      <a:pt x="1153" y="236"/>
                      <a:pt x="1153" y="236"/>
                      <a:pt x="1153" y="236"/>
                    </a:cubicBezTo>
                    <a:cubicBezTo>
                      <a:pt x="1152" y="238"/>
                      <a:pt x="1152" y="238"/>
                      <a:pt x="1152" y="238"/>
                    </a:cubicBezTo>
                    <a:cubicBezTo>
                      <a:pt x="1152" y="238"/>
                      <a:pt x="1152" y="238"/>
                      <a:pt x="1152" y="238"/>
                    </a:cubicBezTo>
                    <a:cubicBezTo>
                      <a:pt x="1152" y="239"/>
                      <a:pt x="1152" y="239"/>
                      <a:pt x="1152" y="239"/>
                    </a:cubicBezTo>
                    <a:cubicBezTo>
                      <a:pt x="1152" y="239"/>
                      <a:pt x="1152" y="239"/>
                      <a:pt x="1152" y="239"/>
                    </a:cubicBezTo>
                    <a:cubicBezTo>
                      <a:pt x="1152" y="240"/>
                      <a:pt x="1152" y="240"/>
                      <a:pt x="1152" y="240"/>
                    </a:cubicBezTo>
                    <a:cubicBezTo>
                      <a:pt x="1152" y="240"/>
                      <a:pt x="1152" y="240"/>
                      <a:pt x="1152" y="240"/>
                    </a:cubicBezTo>
                    <a:cubicBezTo>
                      <a:pt x="1152" y="240"/>
                      <a:pt x="1152" y="240"/>
                      <a:pt x="1152" y="240"/>
                    </a:cubicBezTo>
                    <a:cubicBezTo>
                      <a:pt x="1152" y="241"/>
                      <a:pt x="1152" y="241"/>
                      <a:pt x="1152" y="241"/>
                    </a:cubicBezTo>
                    <a:cubicBezTo>
                      <a:pt x="1152" y="241"/>
                      <a:pt x="1152" y="241"/>
                      <a:pt x="1152" y="241"/>
                    </a:cubicBezTo>
                    <a:cubicBezTo>
                      <a:pt x="1152" y="241"/>
                      <a:pt x="1152" y="241"/>
                      <a:pt x="1152" y="241"/>
                    </a:cubicBezTo>
                    <a:cubicBezTo>
                      <a:pt x="1154" y="243"/>
                      <a:pt x="1156" y="245"/>
                      <a:pt x="1157" y="247"/>
                    </a:cubicBezTo>
                    <a:cubicBezTo>
                      <a:pt x="1157" y="247"/>
                      <a:pt x="1157" y="247"/>
                      <a:pt x="1157" y="247"/>
                    </a:cubicBezTo>
                    <a:cubicBezTo>
                      <a:pt x="1158" y="248"/>
                      <a:pt x="1158" y="248"/>
                      <a:pt x="1158" y="248"/>
                    </a:cubicBezTo>
                    <a:cubicBezTo>
                      <a:pt x="1160" y="250"/>
                      <a:pt x="1161" y="250"/>
                      <a:pt x="1163" y="254"/>
                    </a:cubicBezTo>
                    <a:cubicBezTo>
                      <a:pt x="1163" y="254"/>
                      <a:pt x="1163" y="254"/>
                      <a:pt x="1163" y="254"/>
                    </a:cubicBezTo>
                    <a:cubicBezTo>
                      <a:pt x="1163" y="254"/>
                      <a:pt x="1163" y="254"/>
                      <a:pt x="1163" y="254"/>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4" y="256"/>
                      <a:pt x="1164" y="256"/>
                      <a:pt x="1164" y="256"/>
                    </a:cubicBezTo>
                    <a:cubicBezTo>
                      <a:pt x="1164" y="256"/>
                      <a:pt x="1164" y="256"/>
                      <a:pt x="1164" y="256"/>
                    </a:cubicBezTo>
                    <a:cubicBezTo>
                      <a:pt x="1164" y="256"/>
                      <a:pt x="1164" y="256"/>
                      <a:pt x="1164" y="256"/>
                    </a:cubicBezTo>
                    <a:cubicBezTo>
                      <a:pt x="1165" y="256"/>
                      <a:pt x="1165" y="256"/>
                      <a:pt x="1165" y="256"/>
                    </a:cubicBezTo>
                    <a:cubicBezTo>
                      <a:pt x="1165" y="257"/>
                      <a:pt x="1165" y="257"/>
                      <a:pt x="1165" y="257"/>
                    </a:cubicBezTo>
                    <a:cubicBezTo>
                      <a:pt x="1166" y="257"/>
                      <a:pt x="1166" y="257"/>
                      <a:pt x="1166" y="257"/>
                    </a:cubicBezTo>
                    <a:cubicBezTo>
                      <a:pt x="1166" y="257"/>
                      <a:pt x="1166" y="257"/>
                      <a:pt x="1166" y="257"/>
                    </a:cubicBezTo>
                    <a:cubicBezTo>
                      <a:pt x="1168" y="258"/>
                      <a:pt x="1169" y="259"/>
                      <a:pt x="1171" y="259"/>
                    </a:cubicBezTo>
                    <a:cubicBezTo>
                      <a:pt x="1172" y="259"/>
                      <a:pt x="1172" y="259"/>
                      <a:pt x="1172" y="259"/>
                    </a:cubicBezTo>
                    <a:cubicBezTo>
                      <a:pt x="1172" y="259"/>
                      <a:pt x="1172" y="259"/>
                      <a:pt x="1172" y="259"/>
                    </a:cubicBezTo>
                    <a:cubicBezTo>
                      <a:pt x="1173" y="259"/>
                      <a:pt x="1173" y="259"/>
                      <a:pt x="1173" y="259"/>
                    </a:cubicBezTo>
                    <a:cubicBezTo>
                      <a:pt x="1173" y="259"/>
                      <a:pt x="1173" y="259"/>
                      <a:pt x="1173" y="259"/>
                    </a:cubicBezTo>
                    <a:cubicBezTo>
                      <a:pt x="1173" y="259"/>
                      <a:pt x="1173" y="259"/>
                      <a:pt x="1173" y="259"/>
                    </a:cubicBezTo>
                    <a:cubicBezTo>
                      <a:pt x="1175" y="259"/>
                      <a:pt x="1175" y="258"/>
                      <a:pt x="1177" y="258"/>
                    </a:cubicBezTo>
                    <a:cubicBezTo>
                      <a:pt x="1177" y="257"/>
                      <a:pt x="1177" y="257"/>
                      <a:pt x="1177" y="257"/>
                    </a:cubicBezTo>
                    <a:cubicBezTo>
                      <a:pt x="1178" y="257"/>
                      <a:pt x="1178" y="257"/>
                      <a:pt x="1178" y="257"/>
                    </a:cubicBezTo>
                    <a:cubicBezTo>
                      <a:pt x="1178" y="257"/>
                      <a:pt x="1178" y="257"/>
                      <a:pt x="1178" y="257"/>
                    </a:cubicBezTo>
                    <a:cubicBezTo>
                      <a:pt x="1178" y="257"/>
                      <a:pt x="1178" y="257"/>
                      <a:pt x="1178" y="257"/>
                    </a:cubicBezTo>
                    <a:cubicBezTo>
                      <a:pt x="1179" y="257"/>
                      <a:pt x="1179" y="257"/>
                      <a:pt x="1179" y="257"/>
                    </a:cubicBezTo>
                    <a:cubicBezTo>
                      <a:pt x="1179" y="257"/>
                      <a:pt x="1179" y="257"/>
                      <a:pt x="1179" y="257"/>
                    </a:cubicBezTo>
                    <a:cubicBezTo>
                      <a:pt x="1179" y="257"/>
                      <a:pt x="1179" y="257"/>
                      <a:pt x="1179" y="257"/>
                    </a:cubicBezTo>
                    <a:cubicBezTo>
                      <a:pt x="1180" y="257"/>
                      <a:pt x="1180" y="257"/>
                      <a:pt x="1180" y="257"/>
                    </a:cubicBezTo>
                    <a:cubicBezTo>
                      <a:pt x="1180" y="258"/>
                      <a:pt x="1180" y="258"/>
                      <a:pt x="1180" y="258"/>
                    </a:cubicBezTo>
                    <a:cubicBezTo>
                      <a:pt x="1181" y="258"/>
                      <a:pt x="1181" y="258"/>
                      <a:pt x="1181" y="258"/>
                    </a:cubicBezTo>
                    <a:cubicBezTo>
                      <a:pt x="1181" y="258"/>
                      <a:pt x="1181" y="258"/>
                      <a:pt x="1181" y="258"/>
                    </a:cubicBezTo>
                    <a:cubicBezTo>
                      <a:pt x="1182" y="257"/>
                      <a:pt x="1182" y="257"/>
                      <a:pt x="1182" y="257"/>
                    </a:cubicBezTo>
                    <a:cubicBezTo>
                      <a:pt x="1182" y="257"/>
                      <a:pt x="1182" y="257"/>
                      <a:pt x="1182" y="257"/>
                    </a:cubicBezTo>
                    <a:cubicBezTo>
                      <a:pt x="1183" y="257"/>
                      <a:pt x="1183" y="257"/>
                      <a:pt x="1183" y="257"/>
                    </a:cubicBezTo>
                    <a:cubicBezTo>
                      <a:pt x="1185" y="257"/>
                      <a:pt x="1185" y="257"/>
                      <a:pt x="1185" y="257"/>
                    </a:cubicBezTo>
                    <a:cubicBezTo>
                      <a:pt x="1185" y="257"/>
                      <a:pt x="1185" y="257"/>
                      <a:pt x="1185" y="257"/>
                    </a:cubicBezTo>
                    <a:cubicBezTo>
                      <a:pt x="1185" y="257"/>
                      <a:pt x="1185" y="257"/>
                      <a:pt x="1185" y="257"/>
                    </a:cubicBezTo>
                    <a:cubicBezTo>
                      <a:pt x="1181" y="259"/>
                      <a:pt x="1186" y="258"/>
                      <a:pt x="1179" y="260"/>
                    </a:cubicBezTo>
                    <a:cubicBezTo>
                      <a:pt x="1178" y="260"/>
                      <a:pt x="1178" y="260"/>
                      <a:pt x="1178" y="260"/>
                    </a:cubicBezTo>
                    <a:cubicBezTo>
                      <a:pt x="1178" y="261"/>
                      <a:pt x="1178" y="261"/>
                      <a:pt x="1178" y="261"/>
                    </a:cubicBezTo>
                    <a:cubicBezTo>
                      <a:pt x="1179" y="261"/>
                      <a:pt x="1179" y="261"/>
                      <a:pt x="1179" y="261"/>
                    </a:cubicBezTo>
                    <a:cubicBezTo>
                      <a:pt x="1179" y="261"/>
                      <a:pt x="1179" y="261"/>
                      <a:pt x="1179" y="261"/>
                    </a:cubicBezTo>
                    <a:cubicBezTo>
                      <a:pt x="1180" y="261"/>
                      <a:pt x="1180" y="261"/>
                      <a:pt x="1180" y="261"/>
                    </a:cubicBezTo>
                    <a:cubicBezTo>
                      <a:pt x="1181" y="261"/>
                      <a:pt x="1181" y="261"/>
                      <a:pt x="1181" y="261"/>
                    </a:cubicBezTo>
                    <a:cubicBezTo>
                      <a:pt x="1182" y="262"/>
                      <a:pt x="1182" y="262"/>
                      <a:pt x="1182" y="262"/>
                    </a:cubicBezTo>
                    <a:cubicBezTo>
                      <a:pt x="1182" y="262"/>
                      <a:pt x="1182" y="262"/>
                      <a:pt x="1182" y="262"/>
                    </a:cubicBezTo>
                    <a:cubicBezTo>
                      <a:pt x="1182" y="262"/>
                      <a:pt x="1182" y="262"/>
                      <a:pt x="1182" y="262"/>
                    </a:cubicBezTo>
                    <a:cubicBezTo>
                      <a:pt x="1182" y="263"/>
                      <a:pt x="1182" y="263"/>
                      <a:pt x="1182" y="263"/>
                    </a:cubicBezTo>
                    <a:cubicBezTo>
                      <a:pt x="1182" y="263"/>
                      <a:pt x="1182" y="263"/>
                      <a:pt x="1182" y="263"/>
                    </a:cubicBezTo>
                    <a:cubicBezTo>
                      <a:pt x="1182" y="263"/>
                      <a:pt x="1182" y="263"/>
                      <a:pt x="1182" y="263"/>
                    </a:cubicBezTo>
                    <a:cubicBezTo>
                      <a:pt x="1181" y="264"/>
                      <a:pt x="1181" y="264"/>
                      <a:pt x="1181" y="264"/>
                    </a:cubicBezTo>
                    <a:cubicBezTo>
                      <a:pt x="1181" y="264"/>
                      <a:pt x="1181" y="264"/>
                      <a:pt x="1181" y="264"/>
                    </a:cubicBezTo>
                    <a:cubicBezTo>
                      <a:pt x="1180" y="264"/>
                      <a:pt x="1180" y="264"/>
                      <a:pt x="1180" y="264"/>
                    </a:cubicBezTo>
                    <a:cubicBezTo>
                      <a:pt x="1180" y="264"/>
                      <a:pt x="1180" y="264"/>
                      <a:pt x="1180" y="264"/>
                    </a:cubicBezTo>
                    <a:cubicBezTo>
                      <a:pt x="1180" y="264"/>
                      <a:pt x="1180" y="264"/>
                      <a:pt x="1180" y="264"/>
                    </a:cubicBezTo>
                    <a:cubicBezTo>
                      <a:pt x="1180" y="265"/>
                      <a:pt x="1180" y="265"/>
                      <a:pt x="1180" y="265"/>
                    </a:cubicBezTo>
                    <a:cubicBezTo>
                      <a:pt x="1179" y="265"/>
                      <a:pt x="1179" y="265"/>
                      <a:pt x="1179" y="265"/>
                    </a:cubicBezTo>
                    <a:cubicBezTo>
                      <a:pt x="1179" y="265"/>
                      <a:pt x="1179" y="265"/>
                      <a:pt x="1179" y="265"/>
                    </a:cubicBezTo>
                    <a:cubicBezTo>
                      <a:pt x="1179" y="267"/>
                      <a:pt x="1180" y="266"/>
                      <a:pt x="1179" y="267"/>
                    </a:cubicBezTo>
                    <a:cubicBezTo>
                      <a:pt x="1179" y="268"/>
                      <a:pt x="1179" y="268"/>
                      <a:pt x="1179" y="268"/>
                    </a:cubicBezTo>
                    <a:cubicBezTo>
                      <a:pt x="1179" y="268"/>
                      <a:pt x="1179" y="268"/>
                      <a:pt x="1179" y="268"/>
                    </a:cubicBezTo>
                    <a:cubicBezTo>
                      <a:pt x="1179" y="268"/>
                      <a:pt x="1179" y="268"/>
                      <a:pt x="1179" y="268"/>
                    </a:cubicBezTo>
                    <a:cubicBezTo>
                      <a:pt x="1178" y="270"/>
                      <a:pt x="1177" y="273"/>
                      <a:pt x="1176" y="275"/>
                    </a:cubicBezTo>
                    <a:cubicBezTo>
                      <a:pt x="1176" y="275"/>
                      <a:pt x="1176" y="275"/>
                      <a:pt x="1176" y="275"/>
                    </a:cubicBezTo>
                    <a:cubicBezTo>
                      <a:pt x="1176" y="275"/>
                      <a:pt x="1176" y="275"/>
                      <a:pt x="1176" y="275"/>
                    </a:cubicBezTo>
                    <a:cubicBezTo>
                      <a:pt x="1175" y="276"/>
                      <a:pt x="1175" y="276"/>
                      <a:pt x="1175" y="276"/>
                    </a:cubicBezTo>
                    <a:cubicBezTo>
                      <a:pt x="1175" y="276"/>
                      <a:pt x="1175" y="276"/>
                      <a:pt x="1175" y="276"/>
                    </a:cubicBezTo>
                    <a:cubicBezTo>
                      <a:pt x="1173" y="279"/>
                      <a:pt x="1172" y="280"/>
                      <a:pt x="1170" y="282"/>
                    </a:cubicBezTo>
                    <a:cubicBezTo>
                      <a:pt x="1170" y="283"/>
                      <a:pt x="1170" y="283"/>
                      <a:pt x="1170" y="283"/>
                    </a:cubicBezTo>
                    <a:cubicBezTo>
                      <a:pt x="1169" y="283"/>
                      <a:pt x="1169" y="283"/>
                      <a:pt x="1169" y="283"/>
                    </a:cubicBezTo>
                    <a:cubicBezTo>
                      <a:pt x="1169" y="283"/>
                      <a:pt x="1169" y="283"/>
                      <a:pt x="1169" y="283"/>
                    </a:cubicBezTo>
                    <a:cubicBezTo>
                      <a:pt x="1169" y="284"/>
                      <a:pt x="1169" y="284"/>
                      <a:pt x="1169" y="284"/>
                    </a:cubicBezTo>
                    <a:cubicBezTo>
                      <a:pt x="1169" y="284"/>
                      <a:pt x="1169" y="284"/>
                      <a:pt x="1169" y="284"/>
                    </a:cubicBezTo>
                    <a:cubicBezTo>
                      <a:pt x="1168" y="285"/>
                      <a:pt x="1168" y="285"/>
                      <a:pt x="1168" y="285"/>
                    </a:cubicBezTo>
                    <a:cubicBezTo>
                      <a:pt x="1168" y="286"/>
                      <a:pt x="1168" y="286"/>
                      <a:pt x="1168" y="286"/>
                    </a:cubicBezTo>
                    <a:cubicBezTo>
                      <a:pt x="1169" y="288"/>
                      <a:pt x="1169" y="288"/>
                      <a:pt x="1169" y="288"/>
                    </a:cubicBezTo>
                    <a:cubicBezTo>
                      <a:pt x="1169" y="288"/>
                      <a:pt x="1169" y="288"/>
                      <a:pt x="1169" y="288"/>
                    </a:cubicBezTo>
                    <a:cubicBezTo>
                      <a:pt x="1168" y="289"/>
                      <a:pt x="1168" y="289"/>
                      <a:pt x="1168" y="289"/>
                    </a:cubicBezTo>
                    <a:cubicBezTo>
                      <a:pt x="1168" y="289"/>
                      <a:pt x="1168" y="289"/>
                      <a:pt x="1168" y="289"/>
                    </a:cubicBezTo>
                    <a:cubicBezTo>
                      <a:pt x="1167" y="289"/>
                      <a:pt x="1167" y="289"/>
                      <a:pt x="1167" y="289"/>
                    </a:cubicBezTo>
                    <a:cubicBezTo>
                      <a:pt x="1166" y="289"/>
                      <a:pt x="1166" y="290"/>
                      <a:pt x="1165" y="291"/>
                    </a:cubicBezTo>
                    <a:cubicBezTo>
                      <a:pt x="1165" y="291"/>
                      <a:pt x="1165" y="291"/>
                      <a:pt x="1165" y="291"/>
                    </a:cubicBezTo>
                    <a:cubicBezTo>
                      <a:pt x="1164" y="292"/>
                      <a:pt x="1164" y="292"/>
                      <a:pt x="1164" y="292"/>
                    </a:cubicBezTo>
                    <a:cubicBezTo>
                      <a:pt x="1164" y="292"/>
                      <a:pt x="1164" y="292"/>
                      <a:pt x="1164" y="292"/>
                    </a:cubicBezTo>
                    <a:cubicBezTo>
                      <a:pt x="1161" y="293"/>
                      <a:pt x="1161" y="293"/>
                      <a:pt x="1161" y="293"/>
                    </a:cubicBezTo>
                    <a:cubicBezTo>
                      <a:pt x="1126" y="263"/>
                      <a:pt x="1126" y="263"/>
                      <a:pt x="1126" y="263"/>
                    </a:cubicBezTo>
                    <a:cubicBezTo>
                      <a:pt x="1125" y="262"/>
                      <a:pt x="1125" y="262"/>
                      <a:pt x="1125" y="262"/>
                    </a:cubicBezTo>
                    <a:cubicBezTo>
                      <a:pt x="1124" y="262"/>
                      <a:pt x="1123" y="262"/>
                      <a:pt x="1122" y="261"/>
                    </a:cubicBezTo>
                    <a:cubicBezTo>
                      <a:pt x="1122" y="457"/>
                      <a:pt x="1122" y="457"/>
                      <a:pt x="1122" y="457"/>
                    </a:cubicBezTo>
                    <a:cubicBezTo>
                      <a:pt x="1682" y="457"/>
                      <a:pt x="1682" y="457"/>
                      <a:pt x="1682" y="457"/>
                    </a:cubicBezTo>
                    <a:cubicBezTo>
                      <a:pt x="1682" y="0"/>
                      <a:pt x="1682" y="0"/>
                      <a:pt x="16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376"/>
              <p:cNvSpPr>
                <a:spLocks noEditPoints="1"/>
              </p:cNvSpPr>
              <p:nvPr/>
            </p:nvSpPr>
            <p:spPr bwMode="auto">
              <a:xfrm>
                <a:off x="8615800" y="3519286"/>
                <a:ext cx="1293475" cy="1448250"/>
              </a:xfrm>
              <a:custGeom>
                <a:gdLst>
                  <a:gd name="T0" fmla="*/ 19 w 408"/>
                  <a:gd name="T1" fmla="*/ 454 h 456"/>
                  <a:gd name="T2" fmla="*/ 36 w 408"/>
                  <a:gd name="T3" fmla="*/ 435 h 456"/>
                  <a:gd name="T4" fmla="*/ 13 w 408"/>
                  <a:gd name="T5" fmla="*/ 369 h 456"/>
                  <a:gd name="T6" fmla="*/ 0 w 408"/>
                  <a:gd name="T7" fmla="*/ 357 h 456"/>
                  <a:gd name="T8" fmla="*/ 0 w 408"/>
                  <a:gd name="T9" fmla="*/ 234 h 456"/>
                  <a:gd name="T10" fmla="*/ 7 w 408"/>
                  <a:gd name="T11" fmla="*/ 308 h 456"/>
                  <a:gd name="T12" fmla="*/ 25 w 408"/>
                  <a:gd name="T13" fmla="*/ 304 h 456"/>
                  <a:gd name="T14" fmla="*/ 43 w 408"/>
                  <a:gd name="T15" fmla="*/ 291 h 456"/>
                  <a:gd name="T16" fmla="*/ 52 w 408"/>
                  <a:gd name="T17" fmla="*/ 283 h 456"/>
                  <a:gd name="T18" fmla="*/ 40 w 408"/>
                  <a:gd name="T19" fmla="*/ 277 h 456"/>
                  <a:gd name="T20" fmla="*/ 34 w 408"/>
                  <a:gd name="T21" fmla="*/ 273 h 456"/>
                  <a:gd name="T22" fmla="*/ 44 w 408"/>
                  <a:gd name="T23" fmla="*/ 265 h 456"/>
                  <a:gd name="T24" fmla="*/ 47 w 408"/>
                  <a:gd name="T25" fmla="*/ 264 h 456"/>
                  <a:gd name="T26" fmla="*/ 41 w 408"/>
                  <a:gd name="T27" fmla="*/ 257 h 456"/>
                  <a:gd name="T28" fmla="*/ 24 w 408"/>
                  <a:gd name="T29" fmla="*/ 234 h 456"/>
                  <a:gd name="T30" fmla="*/ 2 w 408"/>
                  <a:gd name="T31" fmla="*/ 138 h 456"/>
                  <a:gd name="T32" fmla="*/ 14 w 408"/>
                  <a:gd name="T33" fmla="*/ 131 h 456"/>
                  <a:gd name="T34" fmla="*/ 35 w 408"/>
                  <a:gd name="T35" fmla="*/ 151 h 456"/>
                  <a:gd name="T36" fmla="*/ 43 w 408"/>
                  <a:gd name="T37" fmla="*/ 147 h 456"/>
                  <a:gd name="T38" fmla="*/ 40 w 408"/>
                  <a:gd name="T39" fmla="*/ 136 h 456"/>
                  <a:gd name="T40" fmla="*/ 41 w 408"/>
                  <a:gd name="T41" fmla="*/ 121 h 456"/>
                  <a:gd name="T42" fmla="*/ 55 w 408"/>
                  <a:gd name="T43" fmla="*/ 116 h 456"/>
                  <a:gd name="T44" fmla="*/ 83 w 408"/>
                  <a:gd name="T45" fmla="*/ 99 h 456"/>
                  <a:gd name="T46" fmla="*/ 89 w 408"/>
                  <a:gd name="T47" fmla="*/ 93 h 456"/>
                  <a:gd name="T48" fmla="*/ 104 w 408"/>
                  <a:gd name="T49" fmla="*/ 79 h 456"/>
                  <a:gd name="T50" fmla="*/ 123 w 408"/>
                  <a:gd name="T51" fmla="*/ 90 h 456"/>
                  <a:gd name="T52" fmla="*/ 127 w 408"/>
                  <a:gd name="T53" fmla="*/ 89 h 456"/>
                  <a:gd name="T54" fmla="*/ 151 w 408"/>
                  <a:gd name="T55" fmla="*/ 84 h 456"/>
                  <a:gd name="T56" fmla="*/ 154 w 408"/>
                  <a:gd name="T57" fmla="*/ 91 h 456"/>
                  <a:gd name="T58" fmla="*/ 166 w 408"/>
                  <a:gd name="T59" fmla="*/ 89 h 456"/>
                  <a:gd name="T60" fmla="*/ 206 w 408"/>
                  <a:gd name="T61" fmla="*/ 111 h 456"/>
                  <a:gd name="T62" fmla="*/ 214 w 408"/>
                  <a:gd name="T63" fmla="*/ 107 h 456"/>
                  <a:gd name="T64" fmla="*/ 241 w 408"/>
                  <a:gd name="T65" fmla="*/ 125 h 456"/>
                  <a:gd name="T66" fmla="*/ 250 w 408"/>
                  <a:gd name="T67" fmla="*/ 120 h 456"/>
                  <a:gd name="T68" fmla="*/ 259 w 408"/>
                  <a:gd name="T69" fmla="*/ 111 h 456"/>
                  <a:gd name="T70" fmla="*/ 289 w 408"/>
                  <a:gd name="T71" fmla="*/ 110 h 456"/>
                  <a:gd name="T72" fmla="*/ 297 w 408"/>
                  <a:gd name="T73" fmla="*/ 110 h 456"/>
                  <a:gd name="T74" fmla="*/ 329 w 408"/>
                  <a:gd name="T75" fmla="*/ 117 h 456"/>
                  <a:gd name="T76" fmla="*/ 338 w 408"/>
                  <a:gd name="T77" fmla="*/ 120 h 456"/>
                  <a:gd name="T78" fmla="*/ 355 w 408"/>
                  <a:gd name="T79" fmla="*/ 126 h 456"/>
                  <a:gd name="T80" fmla="*/ 360 w 408"/>
                  <a:gd name="T81" fmla="*/ 115 h 456"/>
                  <a:gd name="T82" fmla="*/ 386 w 408"/>
                  <a:gd name="T83" fmla="*/ 120 h 456"/>
                  <a:gd name="T84" fmla="*/ 402 w 408"/>
                  <a:gd name="T85" fmla="*/ 113 h 456"/>
                  <a:gd name="T86" fmla="*/ 377 w 408"/>
                  <a:gd name="T87" fmla="*/ 90 h 456"/>
                  <a:gd name="T88" fmla="*/ 364 w 408"/>
                  <a:gd name="T89" fmla="*/ 81 h 456"/>
                  <a:gd name="T90" fmla="*/ 364 w 408"/>
                  <a:gd name="T91" fmla="*/ 70 h 456"/>
                  <a:gd name="T92" fmla="*/ 378 w 408"/>
                  <a:gd name="T93" fmla="*/ 64 h 456"/>
                  <a:gd name="T94" fmla="*/ 388 w 408"/>
                  <a:gd name="T95" fmla="*/ 59 h 456"/>
                  <a:gd name="T96" fmla="*/ 384 w 408"/>
                  <a:gd name="T97" fmla="*/ 42 h 456"/>
                  <a:gd name="T98" fmla="*/ 395 w 408"/>
                  <a:gd name="T99" fmla="*/ 32 h 456"/>
                  <a:gd name="T100" fmla="*/ 405 w 408"/>
                  <a:gd name="T101" fmla="*/ 31 h 456"/>
                  <a:gd name="T102" fmla="*/ 402 w 408"/>
                  <a:gd name="T103" fmla="*/ 29 h 456"/>
                  <a:gd name="T104" fmla="*/ 388 w 408"/>
                  <a:gd name="T105" fmla="*/ 30 h 456"/>
                  <a:gd name="T106" fmla="*/ 395 w 408"/>
                  <a:gd name="T107" fmla="*/ 17 h 456"/>
                  <a:gd name="T108" fmla="*/ 386 w 408"/>
                  <a:gd name="T109" fmla="*/ 13 h 456"/>
                  <a:gd name="T110" fmla="*/ 391 w 408"/>
                  <a:gd name="T111" fmla="*/ 6 h 4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8" h="456">
                    <a:moveTo>
                      <a:pt x="0" y="357"/>
                    </a:moveTo>
                    <a:cubicBezTo>
                      <a:pt x="0" y="447"/>
                      <a:pt x="0" y="447"/>
                      <a:pt x="0" y="447"/>
                    </a:cubicBezTo>
                    <a:cubicBezTo>
                      <a:pt x="2" y="448"/>
                      <a:pt x="4" y="451"/>
                      <a:pt x="4" y="451"/>
                    </a:cubicBezTo>
                    <a:cubicBezTo>
                      <a:pt x="5" y="453"/>
                      <a:pt x="6" y="455"/>
                      <a:pt x="11" y="456"/>
                    </a:cubicBezTo>
                    <a:cubicBezTo>
                      <a:pt x="13" y="456"/>
                      <a:pt x="15" y="456"/>
                      <a:pt x="16" y="456"/>
                    </a:cubicBezTo>
                    <a:cubicBezTo>
                      <a:pt x="18" y="456"/>
                      <a:pt x="18" y="456"/>
                      <a:pt x="19" y="454"/>
                    </a:cubicBezTo>
                    <a:cubicBezTo>
                      <a:pt x="21" y="449"/>
                      <a:pt x="23" y="448"/>
                      <a:pt x="25" y="447"/>
                    </a:cubicBezTo>
                    <a:cubicBezTo>
                      <a:pt x="25" y="447"/>
                      <a:pt x="26" y="447"/>
                      <a:pt x="26" y="446"/>
                    </a:cubicBezTo>
                    <a:cubicBezTo>
                      <a:pt x="26" y="446"/>
                      <a:pt x="27" y="445"/>
                      <a:pt x="28" y="444"/>
                    </a:cubicBezTo>
                    <a:cubicBezTo>
                      <a:pt x="31" y="443"/>
                      <a:pt x="35" y="439"/>
                      <a:pt x="36" y="437"/>
                    </a:cubicBezTo>
                    <a:cubicBezTo>
                      <a:pt x="36" y="435"/>
                      <a:pt x="36" y="435"/>
                      <a:pt x="36" y="435"/>
                    </a:cubicBezTo>
                    <a:cubicBezTo>
                      <a:pt x="36" y="435"/>
                      <a:pt x="36" y="435"/>
                      <a:pt x="36" y="435"/>
                    </a:cubicBezTo>
                    <a:cubicBezTo>
                      <a:pt x="29" y="431"/>
                      <a:pt x="27" y="423"/>
                      <a:pt x="22" y="417"/>
                    </a:cubicBezTo>
                    <a:cubicBezTo>
                      <a:pt x="19" y="414"/>
                      <a:pt x="17" y="412"/>
                      <a:pt x="15" y="408"/>
                    </a:cubicBezTo>
                    <a:cubicBezTo>
                      <a:pt x="14" y="406"/>
                      <a:pt x="14" y="404"/>
                      <a:pt x="13" y="403"/>
                    </a:cubicBezTo>
                    <a:cubicBezTo>
                      <a:pt x="12" y="402"/>
                      <a:pt x="9" y="401"/>
                      <a:pt x="9" y="400"/>
                    </a:cubicBezTo>
                    <a:cubicBezTo>
                      <a:pt x="10" y="391"/>
                      <a:pt x="11" y="383"/>
                      <a:pt x="12" y="374"/>
                    </a:cubicBezTo>
                    <a:cubicBezTo>
                      <a:pt x="12" y="372"/>
                      <a:pt x="12" y="370"/>
                      <a:pt x="13" y="369"/>
                    </a:cubicBezTo>
                    <a:cubicBezTo>
                      <a:pt x="13" y="369"/>
                      <a:pt x="12" y="369"/>
                      <a:pt x="12" y="369"/>
                    </a:cubicBezTo>
                    <a:cubicBezTo>
                      <a:pt x="8" y="369"/>
                      <a:pt x="8" y="376"/>
                      <a:pt x="7" y="380"/>
                    </a:cubicBezTo>
                    <a:cubicBezTo>
                      <a:pt x="6" y="380"/>
                      <a:pt x="5" y="379"/>
                      <a:pt x="4" y="378"/>
                    </a:cubicBezTo>
                    <a:cubicBezTo>
                      <a:pt x="5" y="377"/>
                      <a:pt x="8" y="373"/>
                      <a:pt x="8" y="373"/>
                    </a:cubicBezTo>
                    <a:cubicBezTo>
                      <a:pt x="8" y="371"/>
                      <a:pt x="7" y="369"/>
                      <a:pt x="6" y="366"/>
                    </a:cubicBezTo>
                    <a:cubicBezTo>
                      <a:pt x="4" y="362"/>
                      <a:pt x="2" y="359"/>
                      <a:pt x="0" y="357"/>
                    </a:cubicBezTo>
                    <a:moveTo>
                      <a:pt x="23" y="234"/>
                    </a:moveTo>
                    <a:cubicBezTo>
                      <a:pt x="22" y="234"/>
                      <a:pt x="21" y="234"/>
                      <a:pt x="20" y="234"/>
                    </a:cubicBezTo>
                    <a:cubicBezTo>
                      <a:pt x="18" y="234"/>
                      <a:pt x="17" y="235"/>
                      <a:pt x="15" y="235"/>
                    </a:cubicBezTo>
                    <a:cubicBezTo>
                      <a:pt x="14" y="235"/>
                      <a:pt x="12" y="236"/>
                      <a:pt x="11" y="236"/>
                    </a:cubicBezTo>
                    <a:cubicBezTo>
                      <a:pt x="10" y="236"/>
                      <a:pt x="9" y="236"/>
                      <a:pt x="7" y="236"/>
                    </a:cubicBezTo>
                    <a:cubicBezTo>
                      <a:pt x="5" y="236"/>
                      <a:pt x="3" y="236"/>
                      <a:pt x="0" y="234"/>
                    </a:cubicBezTo>
                    <a:cubicBezTo>
                      <a:pt x="0" y="328"/>
                      <a:pt x="0" y="328"/>
                      <a:pt x="0" y="328"/>
                    </a:cubicBezTo>
                    <a:cubicBezTo>
                      <a:pt x="1" y="326"/>
                      <a:pt x="2" y="324"/>
                      <a:pt x="3" y="322"/>
                    </a:cubicBezTo>
                    <a:cubicBezTo>
                      <a:pt x="4" y="318"/>
                      <a:pt x="6" y="314"/>
                      <a:pt x="7" y="310"/>
                    </a:cubicBezTo>
                    <a:cubicBezTo>
                      <a:pt x="8" y="309"/>
                      <a:pt x="8" y="309"/>
                      <a:pt x="7" y="308"/>
                    </a:cubicBezTo>
                    <a:cubicBezTo>
                      <a:pt x="8" y="309"/>
                      <a:pt x="8" y="309"/>
                      <a:pt x="8" y="309"/>
                    </a:cubicBezTo>
                    <a:cubicBezTo>
                      <a:pt x="7" y="308"/>
                      <a:pt x="7" y="308"/>
                      <a:pt x="7" y="308"/>
                    </a:cubicBezTo>
                    <a:cubicBezTo>
                      <a:pt x="8" y="306"/>
                      <a:pt x="8" y="306"/>
                      <a:pt x="8" y="306"/>
                    </a:cubicBezTo>
                    <a:cubicBezTo>
                      <a:pt x="10" y="307"/>
                      <a:pt x="12" y="309"/>
                      <a:pt x="12" y="309"/>
                    </a:cubicBezTo>
                    <a:cubicBezTo>
                      <a:pt x="13" y="307"/>
                      <a:pt x="12" y="305"/>
                      <a:pt x="11" y="302"/>
                    </a:cubicBezTo>
                    <a:cubicBezTo>
                      <a:pt x="13" y="304"/>
                      <a:pt x="15" y="306"/>
                      <a:pt x="18" y="308"/>
                    </a:cubicBezTo>
                    <a:cubicBezTo>
                      <a:pt x="19" y="304"/>
                      <a:pt x="20" y="304"/>
                      <a:pt x="22" y="304"/>
                    </a:cubicBezTo>
                    <a:cubicBezTo>
                      <a:pt x="23" y="304"/>
                      <a:pt x="24" y="304"/>
                      <a:pt x="25" y="304"/>
                    </a:cubicBezTo>
                    <a:cubicBezTo>
                      <a:pt x="26" y="304"/>
                      <a:pt x="26" y="304"/>
                      <a:pt x="27" y="304"/>
                    </a:cubicBezTo>
                    <a:cubicBezTo>
                      <a:pt x="28" y="304"/>
                      <a:pt x="29" y="304"/>
                      <a:pt x="30" y="302"/>
                    </a:cubicBezTo>
                    <a:cubicBezTo>
                      <a:pt x="33" y="300"/>
                      <a:pt x="36" y="298"/>
                      <a:pt x="39" y="295"/>
                    </a:cubicBezTo>
                    <a:cubicBezTo>
                      <a:pt x="39" y="295"/>
                      <a:pt x="39" y="295"/>
                      <a:pt x="39" y="295"/>
                    </a:cubicBezTo>
                    <a:cubicBezTo>
                      <a:pt x="40" y="295"/>
                      <a:pt x="44" y="299"/>
                      <a:pt x="45" y="299"/>
                    </a:cubicBezTo>
                    <a:cubicBezTo>
                      <a:pt x="43" y="298"/>
                      <a:pt x="43" y="294"/>
                      <a:pt x="43" y="291"/>
                    </a:cubicBezTo>
                    <a:cubicBezTo>
                      <a:pt x="43" y="289"/>
                      <a:pt x="44" y="289"/>
                      <a:pt x="46" y="289"/>
                    </a:cubicBezTo>
                    <a:cubicBezTo>
                      <a:pt x="47" y="289"/>
                      <a:pt x="47" y="289"/>
                      <a:pt x="48" y="289"/>
                    </a:cubicBezTo>
                    <a:cubicBezTo>
                      <a:pt x="49" y="289"/>
                      <a:pt x="50" y="289"/>
                      <a:pt x="50" y="289"/>
                    </a:cubicBezTo>
                    <a:cubicBezTo>
                      <a:pt x="51" y="289"/>
                      <a:pt x="53" y="289"/>
                      <a:pt x="53" y="289"/>
                    </a:cubicBezTo>
                    <a:cubicBezTo>
                      <a:pt x="54" y="288"/>
                      <a:pt x="54" y="286"/>
                      <a:pt x="55" y="284"/>
                    </a:cubicBezTo>
                    <a:cubicBezTo>
                      <a:pt x="54" y="284"/>
                      <a:pt x="53" y="283"/>
                      <a:pt x="52" y="283"/>
                    </a:cubicBezTo>
                    <a:cubicBezTo>
                      <a:pt x="51" y="282"/>
                      <a:pt x="49" y="281"/>
                      <a:pt x="47" y="281"/>
                    </a:cubicBezTo>
                    <a:cubicBezTo>
                      <a:pt x="45" y="285"/>
                      <a:pt x="45" y="285"/>
                      <a:pt x="45" y="285"/>
                    </a:cubicBezTo>
                    <a:cubicBezTo>
                      <a:pt x="46" y="280"/>
                      <a:pt x="46" y="280"/>
                      <a:pt x="46" y="280"/>
                    </a:cubicBezTo>
                    <a:cubicBezTo>
                      <a:pt x="45" y="280"/>
                      <a:pt x="45" y="280"/>
                      <a:pt x="45" y="280"/>
                    </a:cubicBezTo>
                    <a:cubicBezTo>
                      <a:pt x="44" y="279"/>
                      <a:pt x="42" y="278"/>
                      <a:pt x="41" y="278"/>
                    </a:cubicBezTo>
                    <a:cubicBezTo>
                      <a:pt x="40" y="277"/>
                      <a:pt x="40" y="277"/>
                      <a:pt x="40" y="277"/>
                    </a:cubicBezTo>
                    <a:cubicBezTo>
                      <a:pt x="40" y="277"/>
                      <a:pt x="40" y="277"/>
                      <a:pt x="40" y="277"/>
                    </a:cubicBezTo>
                    <a:cubicBezTo>
                      <a:pt x="40" y="277"/>
                      <a:pt x="40" y="277"/>
                      <a:pt x="40" y="277"/>
                    </a:cubicBezTo>
                    <a:cubicBezTo>
                      <a:pt x="39" y="277"/>
                      <a:pt x="39" y="277"/>
                      <a:pt x="39" y="277"/>
                    </a:cubicBezTo>
                    <a:cubicBezTo>
                      <a:pt x="37" y="277"/>
                      <a:pt x="37" y="277"/>
                      <a:pt x="37" y="277"/>
                    </a:cubicBezTo>
                    <a:cubicBezTo>
                      <a:pt x="36" y="276"/>
                      <a:pt x="35" y="275"/>
                      <a:pt x="35" y="274"/>
                    </a:cubicBezTo>
                    <a:cubicBezTo>
                      <a:pt x="34" y="273"/>
                      <a:pt x="34" y="273"/>
                      <a:pt x="34" y="273"/>
                    </a:cubicBezTo>
                    <a:cubicBezTo>
                      <a:pt x="32" y="271"/>
                      <a:pt x="32" y="271"/>
                      <a:pt x="32" y="271"/>
                    </a:cubicBezTo>
                    <a:cubicBezTo>
                      <a:pt x="33" y="269"/>
                      <a:pt x="33" y="269"/>
                      <a:pt x="33" y="269"/>
                    </a:cubicBezTo>
                    <a:cubicBezTo>
                      <a:pt x="33" y="268"/>
                      <a:pt x="34" y="267"/>
                      <a:pt x="35" y="266"/>
                    </a:cubicBezTo>
                    <a:cubicBezTo>
                      <a:pt x="35" y="265"/>
                      <a:pt x="36" y="264"/>
                      <a:pt x="37" y="264"/>
                    </a:cubicBezTo>
                    <a:cubicBezTo>
                      <a:pt x="38" y="263"/>
                      <a:pt x="39" y="263"/>
                      <a:pt x="40" y="263"/>
                    </a:cubicBezTo>
                    <a:cubicBezTo>
                      <a:pt x="42" y="263"/>
                      <a:pt x="43" y="264"/>
                      <a:pt x="44" y="265"/>
                    </a:cubicBezTo>
                    <a:cubicBezTo>
                      <a:pt x="45" y="265"/>
                      <a:pt x="45" y="265"/>
                      <a:pt x="46" y="265"/>
                    </a:cubicBezTo>
                    <a:cubicBezTo>
                      <a:pt x="46" y="266"/>
                      <a:pt x="47" y="266"/>
                      <a:pt x="47" y="266"/>
                    </a:cubicBezTo>
                    <a:cubicBezTo>
                      <a:pt x="47" y="266"/>
                      <a:pt x="47" y="266"/>
                      <a:pt x="47" y="266"/>
                    </a:cubicBezTo>
                    <a:cubicBezTo>
                      <a:pt x="47" y="265"/>
                      <a:pt x="47" y="265"/>
                      <a:pt x="47" y="265"/>
                    </a:cubicBezTo>
                    <a:cubicBezTo>
                      <a:pt x="47" y="265"/>
                      <a:pt x="47" y="265"/>
                      <a:pt x="47" y="265"/>
                    </a:cubicBezTo>
                    <a:cubicBezTo>
                      <a:pt x="47" y="264"/>
                      <a:pt x="47" y="264"/>
                      <a:pt x="47" y="264"/>
                    </a:cubicBezTo>
                    <a:cubicBezTo>
                      <a:pt x="46" y="264"/>
                      <a:pt x="46" y="264"/>
                      <a:pt x="46" y="264"/>
                    </a:cubicBezTo>
                    <a:cubicBezTo>
                      <a:pt x="46" y="263"/>
                      <a:pt x="46" y="263"/>
                      <a:pt x="46" y="263"/>
                    </a:cubicBezTo>
                    <a:cubicBezTo>
                      <a:pt x="46" y="263"/>
                      <a:pt x="45" y="262"/>
                      <a:pt x="45" y="262"/>
                    </a:cubicBezTo>
                    <a:cubicBezTo>
                      <a:pt x="45" y="262"/>
                      <a:pt x="45" y="262"/>
                      <a:pt x="45" y="262"/>
                    </a:cubicBezTo>
                    <a:cubicBezTo>
                      <a:pt x="44" y="261"/>
                      <a:pt x="44" y="260"/>
                      <a:pt x="43" y="260"/>
                    </a:cubicBezTo>
                    <a:cubicBezTo>
                      <a:pt x="42" y="259"/>
                      <a:pt x="41" y="258"/>
                      <a:pt x="41" y="257"/>
                    </a:cubicBezTo>
                    <a:cubicBezTo>
                      <a:pt x="39" y="254"/>
                      <a:pt x="37" y="252"/>
                      <a:pt x="36" y="249"/>
                    </a:cubicBezTo>
                    <a:cubicBezTo>
                      <a:pt x="31" y="243"/>
                      <a:pt x="31" y="243"/>
                      <a:pt x="31" y="243"/>
                    </a:cubicBezTo>
                    <a:cubicBezTo>
                      <a:pt x="30" y="241"/>
                      <a:pt x="29" y="240"/>
                      <a:pt x="28" y="238"/>
                    </a:cubicBezTo>
                    <a:cubicBezTo>
                      <a:pt x="27" y="237"/>
                      <a:pt x="26" y="235"/>
                      <a:pt x="25" y="234"/>
                    </a:cubicBezTo>
                    <a:cubicBezTo>
                      <a:pt x="24" y="234"/>
                      <a:pt x="24" y="234"/>
                      <a:pt x="24" y="234"/>
                    </a:cubicBezTo>
                    <a:cubicBezTo>
                      <a:pt x="24" y="234"/>
                      <a:pt x="24" y="234"/>
                      <a:pt x="24" y="234"/>
                    </a:cubicBezTo>
                    <a:cubicBezTo>
                      <a:pt x="24" y="234"/>
                      <a:pt x="23" y="234"/>
                      <a:pt x="23" y="234"/>
                    </a:cubicBezTo>
                    <a:moveTo>
                      <a:pt x="386" y="0"/>
                    </a:moveTo>
                    <a:cubicBezTo>
                      <a:pt x="0" y="0"/>
                      <a:pt x="0" y="0"/>
                      <a:pt x="0" y="0"/>
                    </a:cubicBezTo>
                    <a:cubicBezTo>
                      <a:pt x="0" y="144"/>
                      <a:pt x="0" y="144"/>
                      <a:pt x="0" y="144"/>
                    </a:cubicBezTo>
                    <a:cubicBezTo>
                      <a:pt x="1" y="143"/>
                      <a:pt x="1" y="141"/>
                      <a:pt x="2" y="139"/>
                    </a:cubicBezTo>
                    <a:cubicBezTo>
                      <a:pt x="2" y="138"/>
                      <a:pt x="2" y="138"/>
                      <a:pt x="2" y="138"/>
                    </a:cubicBezTo>
                    <a:cubicBezTo>
                      <a:pt x="2" y="138"/>
                      <a:pt x="2" y="137"/>
                      <a:pt x="2" y="136"/>
                    </a:cubicBezTo>
                    <a:cubicBezTo>
                      <a:pt x="3" y="136"/>
                      <a:pt x="3" y="135"/>
                      <a:pt x="3" y="135"/>
                    </a:cubicBezTo>
                    <a:cubicBezTo>
                      <a:pt x="5" y="132"/>
                      <a:pt x="8" y="131"/>
                      <a:pt x="11" y="131"/>
                    </a:cubicBezTo>
                    <a:cubicBezTo>
                      <a:pt x="12" y="131"/>
                      <a:pt x="12" y="131"/>
                      <a:pt x="12" y="131"/>
                    </a:cubicBezTo>
                    <a:cubicBezTo>
                      <a:pt x="12" y="131"/>
                      <a:pt x="13" y="131"/>
                      <a:pt x="13" y="131"/>
                    </a:cubicBezTo>
                    <a:cubicBezTo>
                      <a:pt x="14" y="131"/>
                      <a:pt x="14" y="131"/>
                      <a:pt x="14" y="131"/>
                    </a:cubicBezTo>
                    <a:cubicBezTo>
                      <a:pt x="19" y="133"/>
                      <a:pt x="23" y="138"/>
                      <a:pt x="25" y="140"/>
                    </a:cubicBezTo>
                    <a:cubicBezTo>
                      <a:pt x="26" y="142"/>
                      <a:pt x="26" y="142"/>
                      <a:pt x="26" y="142"/>
                    </a:cubicBezTo>
                    <a:cubicBezTo>
                      <a:pt x="27" y="142"/>
                      <a:pt x="28" y="143"/>
                      <a:pt x="28" y="144"/>
                    </a:cubicBezTo>
                    <a:cubicBezTo>
                      <a:pt x="29" y="145"/>
                      <a:pt x="29" y="145"/>
                      <a:pt x="29" y="145"/>
                    </a:cubicBezTo>
                    <a:cubicBezTo>
                      <a:pt x="31" y="147"/>
                      <a:pt x="33" y="149"/>
                      <a:pt x="34" y="150"/>
                    </a:cubicBezTo>
                    <a:cubicBezTo>
                      <a:pt x="35" y="151"/>
                      <a:pt x="35" y="151"/>
                      <a:pt x="35" y="151"/>
                    </a:cubicBezTo>
                    <a:cubicBezTo>
                      <a:pt x="36" y="151"/>
                      <a:pt x="36" y="151"/>
                      <a:pt x="36" y="151"/>
                    </a:cubicBezTo>
                    <a:cubicBezTo>
                      <a:pt x="36" y="151"/>
                      <a:pt x="37" y="150"/>
                      <a:pt x="38" y="150"/>
                    </a:cubicBezTo>
                    <a:cubicBezTo>
                      <a:pt x="38" y="150"/>
                      <a:pt x="38" y="150"/>
                      <a:pt x="38" y="150"/>
                    </a:cubicBezTo>
                    <a:cubicBezTo>
                      <a:pt x="40" y="150"/>
                      <a:pt x="42" y="149"/>
                      <a:pt x="44" y="148"/>
                    </a:cubicBezTo>
                    <a:cubicBezTo>
                      <a:pt x="43" y="147"/>
                      <a:pt x="43" y="147"/>
                      <a:pt x="43" y="147"/>
                    </a:cubicBezTo>
                    <a:cubicBezTo>
                      <a:pt x="43" y="147"/>
                      <a:pt x="43" y="147"/>
                      <a:pt x="43" y="147"/>
                    </a:cubicBezTo>
                    <a:cubicBezTo>
                      <a:pt x="42" y="146"/>
                      <a:pt x="42" y="146"/>
                      <a:pt x="42" y="146"/>
                    </a:cubicBezTo>
                    <a:cubicBezTo>
                      <a:pt x="42" y="145"/>
                      <a:pt x="42" y="143"/>
                      <a:pt x="42" y="143"/>
                    </a:cubicBezTo>
                    <a:cubicBezTo>
                      <a:pt x="42" y="143"/>
                      <a:pt x="42" y="143"/>
                      <a:pt x="42" y="143"/>
                    </a:cubicBezTo>
                    <a:cubicBezTo>
                      <a:pt x="42" y="142"/>
                      <a:pt x="42" y="142"/>
                      <a:pt x="42" y="142"/>
                    </a:cubicBezTo>
                    <a:cubicBezTo>
                      <a:pt x="41" y="141"/>
                      <a:pt x="41" y="141"/>
                      <a:pt x="41" y="140"/>
                    </a:cubicBezTo>
                    <a:cubicBezTo>
                      <a:pt x="40" y="138"/>
                      <a:pt x="40" y="137"/>
                      <a:pt x="40" y="136"/>
                    </a:cubicBezTo>
                    <a:cubicBezTo>
                      <a:pt x="39" y="135"/>
                      <a:pt x="39" y="133"/>
                      <a:pt x="39" y="132"/>
                    </a:cubicBezTo>
                    <a:cubicBezTo>
                      <a:pt x="38" y="131"/>
                      <a:pt x="38" y="131"/>
                      <a:pt x="38" y="131"/>
                    </a:cubicBezTo>
                    <a:cubicBezTo>
                      <a:pt x="37" y="129"/>
                      <a:pt x="36" y="127"/>
                      <a:pt x="36" y="124"/>
                    </a:cubicBezTo>
                    <a:cubicBezTo>
                      <a:pt x="36" y="120"/>
                      <a:pt x="36" y="120"/>
                      <a:pt x="36" y="120"/>
                    </a:cubicBezTo>
                    <a:cubicBezTo>
                      <a:pt x="38" y="120"/>
                      <a:pt x="38" y="120"/>
                      <a:pt x="38" y="120"/>
                    </a:cubicBezTo>
                    <a:cubicBezTo>
                      <a:pt x="41" y="121"/>
                      <a:pt x="41" y="121"/>
                      <a:pt x="41" y="121"/>
                    </a:cubicBezTo>
                    <a:cubicBezTo>
                      <a:pt x="42" y="122"/>
                      <a:pt x="43" y="122"/>
                      <a:pt x="43" y="122"/>
                    </a:cubicBezTo>
                    <a:cubicBezTo>
                      <a:pt x="44" y="122"/>
                      <a:pt x="46" y="121"/>
                      <a:pt x="48" y="120"/>
                    </a:cubicBezTo>
                    <a:cubicBezTo>
                      <a:pt x="49" y="119"/>
                      <a:pt x="50" y="119"/>
                      <a:pt x="50" y="118"/>
                    </a:cubicBezTo>
                    <a:cubicBezTo>
                      <a:pt x="51" y="118"/>
                      <a:pt x="51" y="118"/>
                      <a:pt x="52" y="118"/>
                    </a:cubicBezTo>
                    <a:cubicBezTo>
                      <a:pt x="52" y="117"/>
                      <a:pt x="52" y="117"/>
                      <a:pt x="52" y="117"/>
                    </a:cubicBezTo>
                    <a:cubicBezTo>
                      <a:pt x="53" y="117"/>
                      <a:pt x="54" y="117"/>
                      <a:pt x="55" y="116"/>
                    </a:cubicBezTo>
                    <a:cubicBezTo>
                      <a:pt x="55" y="116"/>
                      <a:pt x="55" y="116"/>
                      <a:pt x="55" y="116"/>
                    </a:cubicBezTo>
                    <a:cubicBezTo>
                      <a:pt x="56" y="116"/>
                      <a:pt x="58" y="115"/>
                      <a:pt x="59" y="115"/>
                    </a:cubicBezTo>
                    <a:cubicBezTo>
                      <a:pt x="59" y="114"/>
                      <a:pt x="59" y="114"/>
                      <a:pt x="59" y="114"/>
                    </a:cubicBezTo>
                    <a:cubicBezTo>
                      <a:pt x="56" y="110"/>
                      <a:pt x="56" y="110"/>
                      <a:pt x="56" y="110"/>
                    </a:cubicBezTo>
                    <a:cubicBezTo>
                      <a:pt x="81" y="99"/>
                      <a:pt x="81" y="99"/>
                      <a:pt x="81" y="99"/>
                    </a:cubicBezTo>
                    <a:cubicBezTo>
                      <a:pt x="81" y="99"/>
                      <a:pt x="82" y="99"/>
                      <a:pt x="83" y="99"/>
                    </a:cubicBezTo>
                    <a:cubicBezTo>
                      <a:pt x="83" y="99"/>
                      <a:pt x="83" y="99"/>
                      <a:pt x="83" y="99"/>
                    </a:cubicBezTo>
                    <a:cubicBezTo>
                      <a:pt x="85" y="98"/>
                      <a:pt x="86" y="98"/>
                      <a:pt x="86" y="98"/>
                    </a:cubicBezTo>
                    <a:cubicBezTo>
                      <a:pt x="86" y="97"/>
                      <a:pt x="86" y="97"/>
                      <a:pt x="86" y="97"/>
                    </a:cubicBezTo>
                    <a:cubicBezTo>
                      <a:pt x="87" y="95"/>
                      <a:pt x="87" y="95"/>
                      <a:pt x="87" y="95"/>
                    </a:cubicBezTo>
                    <a:cubicBezTo>
                      <a:pt x="88" y="94"/>
                      <a:pt x="88" y="94"/>
                      <a:pt x="88" y="94"/>
                    </a:cubicBezTo>
                    <a:cubicBezTo>
                      <a:pt x="89" y="93"/>
                      <a:pt x="89" y="93"/>
                      <a:pt x="89" y="93"/>
                    </a:cubicBezTo>
                    <a:cubicBezTo>
                      <a:pt x="92" y="88"/>
                      <a:pt x="93" y="86"/>
                      <a:pt x="98" y="86"/>
                    </a:cubicBezTo>
                    <a:cubicBezTo>
                      <a:pt x="99" y="86"/>
                      <a:pt x="99" y="86"/>
                      <a:pt x="99" y="86"/>
                    </a:cubicBezTo>
                    <a:cubicBezTo>
                      <a:pt x="99" y="86"/>
                      <a:pt x="99" y="86"/>
                      <a:pt x="99" y="86"/>
                    </a:cubicBezTo>
                    <a:cubicBezTo>
                      <a:pt x="99" y="85"/>
                      <a:pt x="99" y="85"/>
                      <a:pt x="99" y="84"/>
                    </a:cubicBezTo>
                    <a:cubicBezTo>
                      <a:pt x="96" y="78"/>
                      <a:pt x="96" y="78"/>
                      <a:pt x="96" y="78"/>
                    </a:cubicBezTo>
                    <a:cubicBezTo>
                      <a:pt x="104" y="79"/>
                      <a:pt x="104" y="79"/>
                      <a:pt x="104" y="79"/>
                    </a:cubicBezTo>
                    <a:cubicBezTo>
                      <a:pt x="105" y="80"/>
                      <a:pt x="107" y="80"/>
                      <a:pt x="110" y="81"/>
                    </a:cubicBezTo>
                    <a:cubicBezTo>
                      <a:pt x="111" y="81"/>
                      <a:pt x="111" y="81"/>
                      <a:pt x="112" y="82"/>
                    </a:cubicBezTo>
                    <a:cubicBezTo>
                      <a:pt x="114" y="82"/>
                      <a:pt x="116" y="83"/>
                      <a:pt x="117" y="83"/>
                    </a:cubicBezTo>
                    <a:cubicBezTo>
                      <a:pt x="118" y="84"/>
                      <a:pt x="121" y="85"/>
                      <a:pt x="122" y="88"/>
                    </a:cubicBezTo>
                    <a:cubicBezTo>
                      <a:pt x="123" y="84"/>
                      <a:pt x="123" y="84"/>
                      <a:pt x="123" y="84"/>
                    </a:cubicBezTo>
                    <a:cubicBezTo>
                      <a:pt x="123" y="90"/>
                      <a:pt x="123" y="90"/>
                      <a:pt x="123" y="90"/>
                    </a:cubicBezTo>
                    <a:cubicBezTo>
                      <a:pt x="123" y="90"/>
                      <a:pt x="123" y="90"/>
                      <a:pt x="123" y="90"/>
                    </a:cubicBezTo>
                    <a:cubicBezTo>
                      <a:pt x="124" y="91"/>
                      <a:pt x="125" y="91"/>
                      <a:pt x="125" y="91"/>
                    </a:cubicBezTo>
                    <a:cubicBezTo>
                      <a:pt x="126" y="91"/>
                      <a:pt x="126" y="91"/>
                      <a:pt x="126" y="91"/>
                    </a:cubicBezTo>
                    <a:cubicBezTo>
                      <a:pt x="126" y="91"/>
                      <a:pt x="126" y="91"/>
                      <a:pt x="126" y="91"/>
                    </a:cubicBezTo>
                    <a:cubicBezTo>
                      <a:pt x="126" y="91"/>
                      <a:pt x="126" y="91"/>
                      <a:pt x="126" y="91"/>
                    </a:cubicBezTo>
                    <a:cubicBezTo>
                      <a:pt x="126" y="90"/>
                      <a:pt x="126" y="90"/>
                      <a:pt x="127" y="89"/>
                    </a:cubicBezTo>
                    <a:cubicBezTo>
                      <a:pt x="127" y="88"/>
                      <a:pt x="127" y="88"/>
                      <a:pt x="127" y="88"/>
                    </a:cubicBezTo>
                    <a:cubicBezTo>
                      <a:pt x="127" y="87"/>
                      <a:pt x="128" y="84"/>
                      <a:pt x="133" y="83"/>
                    </a:cubicBezTo>
                    <a:cubicBezTo>
                      <a:pt x="138" y="83"/>
                      <a:pt x="139" y="82"/>
                      <a:pt x="144" y="79"/>
                    </a:cubicBezTo>
                    <a:cubicBezTo>
                      <a:pt x="147" y="77"/>
                      <a:pt x="147" y="77"/>
                      <a:pt x="147" y="77"/>
                    </a:cubicBezTo>
                    <a:cubicBezTo>
                      <a:pt x="149" y="81"/>
                      <a:pt x="149" y="81"/>
                      <a:pt x="149" y="81"/>
                    </a:cubicBezTo>
                    <a:cubicBezTo>
                      <a:pt x="150" y="81"/>
                      <a:pt x="150" y="82"/>
                      <a:pt x="151" y="84"/>
                    </a:cubicBezTo>
                    <a:cubicBezTo>
                      <a:pt x="151" y="85"/>
                      <a:pt x="152" y="87"/>
                      <a:pt x="152" y="88"/>
                    </a:cubicBezTo>
                    <a:cubicBezTo>
                      <a:pt x="153" y="89"/>
                      <a:pt x="153" y="89"/>
                      <a:pt x="153" y="89"/>
                    </a:cubicBezTo>
                    <a:cubicBezTo>
                      <a:pt x="153" y="89"/>
                      <a:pt x="153" y="90"/>
                      <a:pt x="153" y="90"/>
                    </a:cubicBezTo>
                    <a:cubicBezTo>
                      <a:pt x="154" y="90"/>
                      <a:pt x="154" y="90"/>
                      <a:pt x="154" y="90"/>
                    </a:cubicBezTo>
                    <a:cubicBezTo>
                      <a:pt x="154" y="91"/>
                      <a:pt x="154" y="91"/>
                      <a:pt x="154" y="91"/>
                    </a:cubicBezTo>
                    <a:cubicBezTo>
                      <a:pt x="154" y="91"/>
                      <a:pt x="154" y="91"/>
                      <a:pt x="154" y="91"/>
                    </a:cubicBezTo>
                    <a:cubicBezTo>
                      <a:pt x="154" y="91"/>
                      <a:pt x="154" y="91"/>
                      <a:pt x="154" y="91"/>
                    </a:cubicBezTo>
                    <a:cubicBezTo>
                      <a:pt x="155" y="90"/>
                      <a:pt x="155" y="90"/>
                      <a:pt x="155" y="90"/>
                    </a:cubicBezTo>
                    <a:cubicBezTo>
                      <a:pt x="153" y="83"/>
                      <a:pt x="153" y="83"/>
                      <a:pt x="153" y="83"/>
                    </a:cubicBezTo>
                    <a:cubicBezTo>
                      <a:pt x="157" y="90"/>
                      <a:pt x="157" y="90"/>
                      <a:pt x="157" y="90"/>
                    </a:cubicBezTo>
                    <a:cubicBezTo>
                      <a:pt x="157" y="90"/>
                      <a:pt x="157" y="90"/>
                      <a:pt x="157" y="90"/>
                    </a:cubicBezTo>
                    <a:cubicBezTo>
                      <a:pt x="160" y="89"/>
                      <a:pt x="163" y="89"/>
                      <a:pt x="166" y="89"/>
                    </a:cubicBezTo>
                    <a:cubicBezTo>
                      <a:pt x="166" y="89"/>
                      <a:pt x="167" y="89"/>
                      <a:pt x="167" y="89"/>
                    </a:cubicBezTo>
                    <a:cubicBezTo>
                      <a:pt x="171" y="89"/>
                      <a:pt x="176" y="89"/>
                      <a:pt x="179" y="91"/>
                    </a:cubicBezTo>
                    <a:cubicBezTo>
                      <a:pt x="186" y="94"/>
                      <a:pt x="193" y="100"/>
                      <a:pt x="199" y="105"/>
                    </a:cubicBezTo>
                    <a:cubicBezTo>
                      <a:pt x="200" y="106"/>
                      <a:pt x="200" y="106"/>
                      <a:pt x="200" y="106"/>
                    </a:cubicBezTo>
                    <a:cubicBezTo>
                      <a:pt x="202" y="108"/>
                      <a:pt x="203" y="109"/>
                      <a:pt x="205" y="111"/>
                    </a:cubicBezTo>
                    <a:cubicBezTo>
                      <a:pt x="206" y="111"/>
                      <a:pt x="206" y="111"/>
                      <a:pt x="206" y="111"/>
                    </a:cubicBezTo>
                    <a:cubicBezTo>
                      <a:pt x="205" y="109"/>
                      <a:pt x="205" y="109"/>
                      <a:pt x="205" y="109"/>
                    </a:cubicBezTo>
                    <a:cubicBezTo>
                      <a:pt x="208" y="108"/>
                      <a:pt x="208" y="108"/>
                      <a:pt x="208" y="108"/>
                    </a:cubicBezTo>
                    <a:cubicBezTo>
                      <a:pt x="209" y="107"/>
                      <a:pt x="210" y="107"/>
                      <a:pt x="211" y="107"/>
                    </a:cubicBezTo>
                    <a:cubicBezTo>
                      <a:pt x="211" y="107"/>
                      <a:pt x="211" y="107"/>
                      <a:pt x="211" y="107"/>
                    </a:cubicBezTo>
                    <a:cubicBezTo>
                      <a:pt x="212" y="107"/>
                      <a:pt x="213" y="107"/>
                      <a:pt x="213" y="107"/>
                    </a:cubicBezTo>
                    <a:cubicBezTo>
                      <a:pt x="214" y="107"/>
                      <a:pt x="214" y="107"/>
                      <a:pt x="214" y="107"/>
                    </a:cubicBezTo>
                    <a:cubicBezTo>
                      <a:pt x="215" y="107"/>
                      <a:pt x="215" y="107"/>
                      <a:pt x="215" y="107"/>
                    </a:cubicBezTo>
                    <a:cubicBezTo>
                      <a:pt x="215" y="108"/>
                      <a:pt x="215" y="108"/>
                      <a:pt x="215" y="108"/>
                    </a:cubicBezTo>
                    <a:cubicBezTo>
                      <a:pt x="217" y="108"/>
                      <a:pt x="219" y="110"/>
                      <a:pt x="220" y="111"/>
                    </a:cubicBezTo>
                    <a:cubicBezTo>
                      <a:pt x="224" y="114"/>
                      <a:pt x="224" y="114"/>
                      <a:pt x="224" y="114"/>
                    </a:cubicBezTo>
                    <a:cubicBezTo>
                      <a:pt x="228" y="116"/>
                      <a:pt x="231" y="119"/>
                      <a:pt x="235" y="121"/>
                    </a:cubicBezTo>
                    <a:cubicBezTo>
                      <a:pt x="239" y="124"/>
                      <a:pt x="241" y="125"/>
                      <a:pt x="241" y="125"/>
                    </a:cubicBezTo>
                    <a:cubicBezTo>
                      <a:pt x="242" y="124"/>
                      <a:pt x="242" y="124"/>
                      <a:pt x="242" y="124"/>
                    </a:cubicBezTo>
                    <a:cubicBezTo>
                      <a:pt x="243" y="124"/>
                      <a:pt x="243" y="124"/>
                      <a:pt x="243" y="124"/>
                    </a:cubicBezTo>
                    <a:cubicBezTo>
                      <a:pt x="244" y="123"/>
                      <a:pt x="245" y="123"/>
                      <a:pt x="245" y="122"/>
                    </a:cubicBezTo>
                    <a:cubicBezTo>
                      <a:pt x="246" y="122"/>
                      <a:pt x="246" y="122"/>
                      <a:pt x="247" y="121"/>
                    </a:cubicBezTo>
                    <a:cubicBezTo>
                      <a:pt x="248" y="121"/>
                      <a:pt x="248" y="120"/>
                      <a:pt x="249" y="120"/>
                    </a:cubicBezTo>
                    <a:cubicBezTo>
                      <a:pt x="250" y="120"/>
                      <a:pt x="250" y="120"/>
                      <a:pt x="250" y="120"/>
                    </a:cubicBezTo>
                    <a:cubicBezTo>
                      <a:pt x="250" y="119"/>
                      <a:pt x="250" y="119"/>
                      <a:pt x="250" y="119"/>
                    </a:cubicBezTo>
                    <a:cubicBezTo>
                      <a:pt x="250" y="118"/>
                      <a:pt x="250" y="118"/>
                      <a:pt x="250" y="118"/>
                    </a:cubicBezTo>
                    <a:cubicBezTo>
                      <a:pt x="250" y="117"/>
                      <a:pt x="250" y="117"/>
                      <a:pt x="251" y="117"/>
                    </a:cubicBezTo>
                    <a:cubicBezTo>
                      <a:pt x="252" y="114"/>
                      <a:pt x="255" y="113"/>
                      <a:pt x="256" y="113"/>
                    </a:cubicBezTo>
                    <a:cubicBezTo>
                      <a:pt x="257" y="113"/>
                      <a:pt x="257" y="113"/>
                      <a:pt x="258" y="112"/>
                    </a:cubicBezTo>
                    <a:cubicBezTo>
                      <a:pt x="258" y="112"/>
                      <a:pt x="259" y="111"/>
                      <a:pt x="259" y="111"/>
                    </a:cubicBezTo>
                    <a:cubicBezTo>
                      <a:pt x="260" y="108"/>
                      <a:pt x="262" y="107"/>
                      <a:pt x="265" y="106"/>
                    </a:cubicBezTo>
                    <a:cubicBezTo>
                      <a:pt x="270" y="106"/>
                      <a:pt x="274" y="105"/>
                      <a:pt x="279" y="104"/>
                    </a:cubicBezTo>
                    <a:cubicBezTo>
                      <a:pt x="280" y="104"/>
                      <a:pt x="281" y="104"/>
                      <a:pt x="281" y="104"/>
                    </a:cubicBezTo>
                    <a:cubicBezTo>
                      <a:pt x="284" y="104"/>
                      <a:pt x="286" y="105"/>
                      <a:pt x="287" y="107"/>
                    </a:cubicBezTo>
                    <a:cubicBezTo>
                      <a:pt x="288" y="108"/>
                      <a:pt x="288" y="109"/>
                      <a:pt x="289" y="109"/>
                    </a:cubicBezTo>
                    <a:cubicBezTo>
                      <a:pt x="289" y="110"/>
                      <a:pt x="289" y="110"/>
                      <a:pt x="289" y="110"/>
                    </a:cubicBezTo>
                    <a:cubicBezTo>
                      <a:pt x="290" y="111"/>
                      <a:pt x="292" y="113"/>
                      <a:pt x="293" y="113"/>
                    </a:cubicBezTo>
                    <a:cubicBezTo>
                      <a:pt x="293" y="113"/>
                      <a:pt x="293" y="113"/>
                      <a:pt x="294" y="113"/>
                    </a:cubicBezTo>
                    <a:cubicBezTo>
                      <a:pt x="295" y="113"/>
                      <a:pt x="296" y="113"/>
                      <a:pt x="296" y="112"/>
                    </a:cubicBezTo>
                    <a:cubicBezTo>
                      <a:pt x="297" y="112"/>
                      <a:pt x="297" y="112"/>
                      <a:pt x="297" y="112"/>
                    </a:cubicBezTo>
                    <a:cubicBezTo>
                      <a:pt x="297" y="111"/>
                      <a:pt x="297" y="111"/>
                      <a:pt x="297" y="111"/>
                    </a:cubicBezTo>
                    <a:cubicBezTo>
                      <a:pt x="297" y="110"/>
                      <a:pt x="297" y="110"/>
                      <a:pt x="297" y="110"/>
                    </a:cubicBezTo>
                    <a:cubicBezTo>
                      <a:pt x="297" y="106"/>
                      <a:pt x="299" y="104"/>
                      <a:pt x="305" y="103"/>
                    </a:cubicBezTo>
                    <a:cubicBezTo>
                      <a:pt x="306" y="103"/>
                      <a:pt x="306" y="103"/>
                      <a:pt x="306" y="103"/>
                    </a:cubicBezTo>
                    <a:cubicBezTo>
                      <a:pt x="307" y="103"/>
                      <a:pt x="309" y="103"/>
                      <a:pt x="310" y="103"/>
                    </a:cubicBezTo>
                    <a:cubicBezTo>
                      <a:pt x="317" y="103"/>
                      <a:pt x="327" y="104"/>
                      <a:pt x="328" y="114"/>
                    </a:cubicBezTo>
                    <a:cubicBezTo>
                      <a:pt x="329" y="115"/>
                      <a:pt x="329" y="115"/>
                      <a:pt x="329" y="115"/>
                    </a:cubicBezTo>
                    <a:cubicBezTo>
                      <a:pt x="329" y="115"/>
                      <a:pt x="329" y="117"/>
                      <a:pt x="329" y="117"/>
                    </a:cubicBezTo>
                    <a:cubicBezTo>
                      <a:pt x="329" y="117"/>
                      <a:pt x="329" y="117"/>
                      <a:pt x="331" y="118"/>
                    </a:cubicBezTo>
                    <a:cubicBezTo>
                      <a:pt x="332" y="119"/>
                      <a:pt x="333" y="119"/>
                      <a:pt x="334" y="120"/>
                    </a:cubicBezTo>
                    <a:cubicBezTo>
                      <a:pt x="334" y="120"/>
                      <a:pt x="334" y="120"/>
                      <a:pt x="334" y="120"/>
                    </a:cubicBezTo>
                    <a:cubicBezTo>
                      <a:pt x="334" y="120"/>
                      <a:pt x="334" y="120"/>
                      <a:pt x="334" y="120"/>
                    </a:cubicBezTo>
                    <a:cubicBezTo>
                      <a:pt x="335" y="120"/>
                      <a:pt x="335" y="120"/>
                      <a:pt x="335" y="120"/>
                    </a:cubicBezTo>
                    <a:cubicBezTo>
                      <a:pt x="336" y="120"/>
                      <a:pt x="337" y="120"/>
                      <a:pt x="338" y="120"/>
                    </a:cubicBezTo>
                    <a:cubicBezTo>
                      <a:pt x="338" y="120"/>
                      <a:pt x="338" y="120"/>
                      <a:pt x="338" y="120"/>
                    </a:cubicBezTo>
                    <a:cubicBezTo>
                      <a:pt x="339" y="120"/>
                      <a:pt x="340" y="121"/>
                      <a:pt x="341" y="121"/>
                    </a:cubicBezTo>
                    <a:cubicBezTo>
                      <a:pt x="345" y="121"/>
                      <a:pt x="348" y="122"/>
                      <a:pt x="351" y="123"/>
                    </a:cubicBezTo>
                    <a:cubicBezTo>
                      <a:pt x="352" y="123"/>
                      <a:pt x="353" y="124"/>
                      <a:pt x="354" y="126"/>
                    </a:cubicBezTo>
                    <a:cubicBezTo>
                      <a:pt x="354" y="126"/>
                      <a:pt x="354" y="126"/>
                      <a:pt x="354" y="126"/>
                    </a:cubicBezTo>
                    <a:cubicBezTo>
                      <a:pt x="355" y="126"/>
                      <a:pt x="355" y="126"/>
                      <a:pt x="355" y="126"/>
                    </a:cubicBezTo>
                    <a:cubicBezTo>
                      <a:pt x="355" y="125"/>
                      <a:pt x="356" y="125"/>
                      <a:pt x="356" y="125"/>
                    </a:cubicBezTo>
                    <a:cubicBezTo>
                      <a:pt x="357" y="124"/>
                      <a:pt x="357" y="124"/>
                      <a:pt x="357" y="124"/>
                    </a:cubicBezTo>
                    <a:cubicBezTo>
                      <a:pt x="357" y="124"/>
                      <a:pt x="358" y="123"/>
                      <a:pt x="358" y="122"/>
                    </a:cubicBezTo>
                    <a:cubicBezTo>
                      <a:pt x="359" y="120"/>
                      <a:pt x="359" y="119"/>
                      <a:pt x="360" y="117"/>
                    </a:cubicBezTo>
                    <a:cubicBezTo>
                      <a:pt x="360" y="116"/>
                      <a:pt x="360" y="116"/>
                      <a:pt x="360" y="116"/>
                    </a:cubicBezTo>
                    <a:cubicBezTo>
                      <a:pt x="360" y="115"/>
                      <a:pt x="360" y="115"/>
                      <a:pt x="360" y="115"/>
                    </a:cubicBezTo>
                    <a:cubicBezTo>
                      <a:pt x="362" y="112"/>
                      <a:pt x="362" y="112"/>
                      <a:pt x="362" y="112"/>
                    </a:cubicBezTo>
                    <a:cubicBezTo>
                      <a:pt x="370" y="117"/>
                      <a:pt x="370" y="117"/>
                      <a:pt x="370" y="117"/>
                    </a:cubicBezTo>
                    <a:cubicBezTo>
                      <a:pt x="372" y="118"/>
                      <a:pt x="372" y="118"/>
                      <a:pt x="372" y="118"/>
                    </a:cubicBezTo>
                    <a:cubicBezTo>
                      <a:pt x="376" y="119"/>
                      <a:pt x="380" y="120"/>
                      <a:pt x="383" y="120"/>
                    </a:cubicBezTo>
                    <a:cubicBezTo>
                      <a:pt x="385" y="121"/>
                      <a:pt x="385" y="121"/>
                      <a:pt x="385" y="121"/>
                    </a:cubicBezTo>
                    <a:cubicBezTo>
                      <a:pt x="386" y="120"/>
                      <a:pt x="386" y="120"/>
                      <a:pt x="386" y="120"/>
                    </a:cubicBezTo>
                    <a:cubicBezTo>
                      <a:pt x="387" y="120"/>
                      <a:pt x="388" y="120"/>
                      <a:pt x="389" y="120"/>
                    </a:cubicBezTo>
                    <a:cubicBezTo>
                      <a:pt x="393" y="119"/>
                      <a:pt x="398" y="118"/>
                      <a:pt x="400" y="117"/>
                    </a:cubicBezTo>
                    <a:cubicBezTo>
                      <a:pt x="401" y="116"/>
                      <a:pt x="401" y="116"/>
                      <a:pt x="401" y="116"/>
                    </a:cubicBezTo>
                    <a:cubicBezTo>
                      <a:pt x="401" y="116"/>
                      <a:pt x="401" y="116"/>
                      <a:pt x="401" y="116"/>
                    </a:cubicBezTo>
                    <a:cubicBezTo>
                      <a:pt x="401" y="116"/>
                      <a:pt x="402" y="115"/>
                      <a:pt x="402" y="115"/>
                    </a:cubicBezTo>
                    <a:cubicBezTo>
                      <a:pt x="402" y="113"/>
                      <a:pt x="402" y="113"/>
                      <a:pt x="402" y="113"/>
                    </a:cubicBezTo>
                    <a:cubicBezTo>
                      <a:pt x="402" y="112"/>
                      <a:pt x="402" y="112"/>
                      <a:pt x="402" y="111"/>
                    </a:cubicBezTo>
                    <a:cubicBezTo>
                      <a:pt x="403" y="110"/>
                      <a:pt x="403" y="110"/>
                      <a:pt x="403" y="110"/>
                    </a:cubicBezTo>
                    <a:cubicBezTo>
                      <a:pt x="403" y="107"/>
                      <a:pt x="405" y="105"/>
                      <a:pt x="406" y="103"/>
                    </a:cubicBezTo>
                    <a:cubicBezTo>
                      <a:pt x="391" y="96"/>
                      <a:pt x="391" y="96"/>
                      <a:pt x="391" y="96"/>
                    </a:cubicBezTo>
                    <a:cubicBezTo>
                      <a:pt x="382" y="91"/>
                      <a:pt x="382" y="91"/>
                      <a:pt x="382" y="91"/>
                    </a:cubicBezTo>
                    <a:cubicBezTo>
                      <a:pt x="377" y="90"/>
                      <a:pt x="377" y="90"/>
                      <a:pt x="377" y="90"/>
                    </a:cubicBezTo>
                    <a:cubicBezTo>
                      <a:pt x="377" y="90"/>
                      <a:pt x="376" y="90"/>
                      <a:pt x="375" y="90"/>
                    </a:cubicBezTo>
                    <a:cubicBezTo>
                      <a:pt x="372" y="88"/>
                      <a:pt x="372" y="88"/>
                      <a:pt x="372" y="88"/>
                    </a:cubicBezTo>
                    <a:cubicBezTo>
                      <a:pt x="369" y="86"/>
                      <a:pt x="369" y="86"/>
                      <a:pt x="369" y="86"/>
                    </a:cubicBezTo>
                    <a:cubicBezTo>
                      <a:pt x="370" y="85"/>
                      <a:pt x="370" y="85"/>
                      <a:pt x="370" y="85"/>
                    </a:cubicBezTo>
                    <a:cubicBezTo>
                      <a:pt x="368" y="84"/>
                      <a:pt x="367" y="83"/>
                      <a:pt x="365" y="82"/>
                    </a:cubicBezTo>
                    <a:cubicBezTo>
                      <a:pt x="364" y="81"/>
                      <a:pt x="364" y="81"/>
                      <a:pt x="364" y="81"/>
                    </a:cubicBezTo>
                    <a:cubicBezTo>
                      <a:pt x="363" y="79"/>
                      <a:pt x="363" y="79"/>
                      <a:pt x="363" y="79"/>
                    </a:cubicBezTo>
                    <a:cubicBezTo>
                      <a:pt x="362" y="78"/>
                      <a:pt x="362" y="78"/>
                      <a:pt x="361" y="78"/>
                    </a:cubicBezTo>
                    <a:cubicBezTo>
                      <a:pt x="360" y="76"/>
                      <a:pt x="360" y="76"/>
                      <a:pt x="360" y="76"/>
                    </a:cubicBezTo>
                    <a:cubicBezTo>
                      <a:pt x="361" y="72"/>
                      <a:pt x="361" y="72"/>
                      <a:pt x="361" y="72"/>
                    </a:cubicBezTo>
                    <a:cubicBezTo>
                      <a:pt x="361" y="70"/>
                      <a:pt x="361" y="70"/>
                      <a:pt x="361" y="70"/>
                    </a:cubicBezTo>
                    <a:cubicBezTo>
                      <a:pt x="364" y="70"/>
                      <a:pt x="364" y="70"/>
                      <a:pt x="364" y="70"/>
                    </a:cubicBezTo>
                    <a:cubicBezTo>
                      <a:pt x="368" y="70"/>
                      <a:pt x="368" y="70"/>
                      <a:pt x="368" y="70"/>
                    </a:cubicBezTo>
                    <a:cubicBezTo>
                      <a:pt x="369" y="70"/>
                      <a:pt x="369" y="70"/>
                      <a:pt x="369" y="70"/>
                    </a:cubicBezTo>
                    <a:cubicBezTo>
                      <a:pt x="370" y="69"/>
                      <a:pt x="370" y="69"/>
                      <a:pt x="370" y="69"/>
                    </a:cubicBezTo>
                    <a:cubicBezTo>
                      <a:pt x="371" y="68"/>
                      <a:pt x="372" y="67"/>
                      <a:pt x="373" y="67"/>
                    </a:cubicBezTo>
                    <a:cubicBezTo>
                      <a:pt x="375" y="65"/>
                      <a:pt x="375" y="65"/>
                      <a:pt x="375" y="65"/>
                    </a:cubicBezTo>
                    <a:cubicBezTo>
                      <a:pt x="377" y="64"/>
                      <a:pt x="377" y="64"/>
                      <a:pt x="378" y="64"/>
                    </a:cubicBezTo>
                    <a:cubicBezTo>
                      <a:pt x="379" y="64"/>
                      <a:pt x="379" y="64"/>
                      <a:pt x="380" y="64"/>
                    </a:cubicBezTo>
                    <a:cubicBezTo>
                      <a:pt x="382" y="64"/>
                      <a:pt x="382" y="64"/>
                      <a:pt x="383" y="63"/>
                    </a:cubicBezTo>
                    <a:cubicBezTo>
                      <a:pt x="383" y="63"/>
                      <a:pt x="383" y="63"/>
                      <a:pt x="384" y="62"/>
                    </a:cubicBezTo>
                    <a:cubicBezTo>
                      <a:pt x="384" y="62"/>
                      <a:pt x="385" y="62"/>
                      <a:pt x="385" y="62"/>
                    </a:cubicBezTo>
                    <a:cubicBezTo>
                      <a:pt x="386" y="61"/>
                      <a:pt x="387" y="60"/>
                      <a:pt x="388" y="60"/>
                    </a:cubicBezTo>
                    <a:cubicBezTo>
                      <a:pt x="388" y="59"/>
                      <a:pt x="388" y="59"/>
                      <a:pt x="388" y="59"/>
                    </a:cubicBezTo>
                    <a:cubicBezTo>
                      <a:pt x="381" y="50"/>
                      <a:pt x="381" y="50"/>
                      <a:pt x="381" y="50"/>
                    </a:cubicBezTo>
                    <a:cubicBezTo>
                      <a:pt x="357" y="46"/>
                      <a:pt x="357" y="46"/>
                      <a:pt x="357" y="46"/>
                    </a:cubicBezTo>
                    <a:cubicBezTo>
                      <a:pt x="381" y="44"/>
                      <a:pt x="381" y="44"/>
                      <a:pt x="381" y="44"/>
                    </a:cubicBezTo>
                    <a:cubicBezTo>
                      <a:pt x="381" y="43"/>
                      <a:pt x="381" y="43"/>
                      <a:pt x="381" y="43"/>
                    </a:cubicBezTo>
                    <a:cubicBezTo>
                      <a:pt x="381" y="43"/>
                      <a:pt x="381" y="43"/>
                      <a:pt x="381" y="43"/>
                    </a:cubicBezTo>
                    <a:cubicBezTo>
                      <a:pt x="384" y="42"/>
                      <a:pt x="384" y="42"/>
                      <a:pt x="384" y="42"/>
                    </a:cubicBezTo>
                    <a:cubicBezTo>
                      <a:pt x="385" y="40"/>
                      <a:pt x="386" y="39"/>
                      <a:pt x="388" y="37"/>
                    </a:cubicBezTo>
                    <a:cubicBezTo>
                      <a:pt x="389" y="36"/>
                      <a:pt x="389" y="36"/>
                      <a:pt x="389" y="36"/>
                    </a:cubicBezTo>
                    <a:cubicBezTo>
                      <a:pt x="389" y="35"/>
                      <a:pt x="389" y="35"/>
                      <a:pt x="389" y="35"/>
                    </a:cubicBezTo>
                    <a:cubicBezTo>
                      <a:pt x="391" y="33"/>
                      <a:pt x="391" y="33"/>
                      <a:pt x="391" y="33"/>
                    </a:cubicBezTo>
                    <a:cubicBezTo>
                      <a:pt x="392" y="33"/>
                      <a:pt x="392" y="33"/>
                      <a:pt x="392" y="33"/>
                    </a:cubicBezTo>
                    <a:cubicBezTo>
                      <a:pt x="393" y="32"/>
                      <a:pt x="394" y="32"/>
                      <a:pt x="395" y="32"/>
                    </a:cubicBezTo>
                    <a:cubicBezTo>
                      <a:pt x="396" y="31"/>
                      <a:pt x="396" y="31"/>
                      <a:pt x="396" y="31"/>
                    </a:cubicBezTo>
                    <a:cubicBezTo>
                      <a:pt x="396" y="31"/>
                      <a:pt x="397" y="31"/>
                      <a:pt x="398" y="31"/>
                    </a:cubicBezTo>
                    <a:cubicBezTo>
                      <a:pt x="399" y="31"/>
                      <a:pt x="400" y="31"/>
                      <a:pt x="400" y="32"/>
                    </a:cubicBezTo>
                    <a:cubicBezTo>
                      <a:pt x="401" y="32"/>
                      <a:pt x="401" y="32"/>
                      <a:pt x="402" y="32"/>
                    </a:cubicBezTo>
                    <a:cubicBezTo>
                      <a:pt x="403" y="31"/>
                      <a:pt x="403" y="31"/>
                      <a:pt x="405" y="31"/>
                    </a:cubicBezTo>
                    <a:cubicBezTo>
                      <a:pt x="405" y="31"/>
                      <a:pt x="405" y="31"/>
                      <a:pt x="405" y="31"/>
                    </a:cubicBezTo>
                    <a:cubicBezTo>
                      <a:pt x="407" y="31"/>
                      <a:pt x="407" y="31"/>
                      <a:pt x="407" y="31"/>
                    </a:cubicBezTo>
                    <a:cubicBezTo>
                      <a:pt x="408" y="32"/>
                      <a:pt x="408" y="32"/>
                      <a:pt x="408" y="32"/>
                    </a:cubicBezTo>
                    <a:cubicBezTo>
                      <a:pt x="407" y="31"/>
                      <a:pt x="407" y="31"/>
                      <a:pt x="407" y="31"/>
                    </a:cubicBezTo>
                    <a:cubicBezTo>
                      <a:pt x="407" y="31"/>
                      <a:pt x="407" y="31"/>
                      <a:pt x="407" y="31"/>
                    </a:cubicBezTo>
                    <a:cubicBezTo>
                      <a:pt x="406" y="30"/>
                      <a:pt x="405" y="30"/>
                      <a:pt x="405" y="30"/>
                    </a:cubicBezTo>
                    <a:cubicBezTo>
                      <a:pt x="402" y="29"/>
                      <a:pt x="402" y="29"/>
                      <a:pt x="402" y="29"/>
                    </a:cubicBezTo>
                    <a:cubicBezTo>
                      <a:pt x="402" y="29"/>
                      <a:pt x="401" y="28"/>
                      <a:pt x="400" y="28"/>
                    </a:cubicBezTo>
                    <a:cubicBezTo>
                      <a:pt x="400" y="28"/>
                      <a:pt x="399" y="28"/>
                      <a:pt x="399" y="28"/>
                    </a:cubicBezTo>
                    <a:cubicBezTo>
                      <a:pt x="398" y="28"/>
                      <a:pt x="398" y="28"/>
                      <a:pt x="398" y="28"/>
                    </a:cubicBezTo>
                    <a:cubicBezTo>
                      <a:pt x="396" y="27"/>
                      <a:pt x="396" y="27"/>
                      <a:pt x="396" y="27"/>
                    </a:cubicBezTo>
                    <a:cubicBezTo>
                      <a:pt x="395" y="26"/>
                      <a:pt x="395" y="26"/>
                      <a:pt x="395" y="26"/>
                    </a:cubicBezTo>
                    <a:cubicBezTo>
                      <a:pt x="388" y="30"/>
                      <a:pt x="388" y="30"/>
                      <a:pt x="388" y="30"/>
                    </a:cubicBezTo>
                    <a:cubicBezTo>
                      <a:pt x="392" y="26"/>
                      <a:pt x="392" y="26"/>
                      <a:pt x="392" y="26"/>
                    </a:cubicBezTo>
                    <a:cubicBezTo>
                      <a:pt x="386" y="28"/>
                      <a:pt x="386" y="28"/>
                      <a:pt x="386" y="28"/>
                    </a:cubicBezTo>
                    <a:cubicBezTo>
                      <a:pt x="393" y="23"/>
                      <a:pt x="393" y="23"/>
                      <a:pt x="393" y="23"/>
                    </a:cubicBezTo>
                    <a:cubicBezTo>
                      <a:pt x="392" y="22"/>
                      <a:pt x="392" y="22"/>
                      <a:pt x="392" y="22"/>
                    </a:cubicBezTo>
                    <a:cubicBezTo>
                      <a:pt x="394" y="18"/>
                      <a:pt x="394" y="18"/>
                      <a:pt x="394" y="18"/>
                    </a:cubicBezTo>
                    <a:cubicBezTo>
                      <a:pt x="395" y="17"/>
                      <a:pt x="395" y="17"/>
                      <a:pt x="395" y="17"/>
                    </a:cubicBezTo>
                    <a:cubicBezTo>
                      <a:pt x="395" y="16"/>
                      <a:pt x="395" y="16"/>
                      <a:pt x="395" y="16"/>
                    </a:cubicBezTo>
                    <a:cubicBezTo>
                      <a:pt x="395" y="16"/>
                      <a:pt x="395" y="16"/>
                      <a:pt x="395" y="16"/>
                    </a:cubicBezTo>
                    <a:cubicBezTo>
                      <a:pt x="393" y="16"/>
                      <a:pt x="393" y="16"/>
                      <a:pt x="393" y="16"/>
                    </a:cubicBezTo>
                    <a:cubicBezTo>
                      <a:pt x="392" y="15"/>
                      <a:pt x="392" y="15"/>
                      <a:pt x="390" y="15"/>
                    </a:cubicBezTo>
                    <a:cubicBezTo>
                      <a:pt x="387" y="14"/>
                      <a:pt x="387" y="14"/>
                      <a:pt x="387" y="14"/>
                    </a:cubicBezTo>
                    <a:cubicBezTo>
                      <a:pt x="386" y="13"/>
                      <a:pt x="386" y="13"/>
                      <a:pt x="386" y="13"/>
                    </a:cubicBezTo>
                    <a:cubicBezTo>
                      <a:pt x="385" y="10"/>
                      <a:pt x="385" y="10"/>
                      <a:pt x="385" y="10"/>
                    </a:cubicBezTo>
                    <a:cubicBezTo>
                      <a:pt x="387" y="7"/>
                      <a:pt x="387" y="7"/>
                      <a:pt x="387" y="7"/>
                    </a:cubicBezTo>
                    <a:cubicBezTo>
                      <a:pt x="388" y="7"/>
                      <a:pt x="388" y="7"/>
                      <a:pt x="388" y="7"/>
                    </a:cubicBezTo>
                    <a:cubicBezTo>
                      <a:pt x="389" y="6"/>
                      <a:pt x="390" y="6"/>
                      <a:pt x="390" y="6"/>
                    </a:cubicBezTo>
                    <a:cubicBezTo>
                      <a:pt x="391" y="6"/>
                      <a:pt x="391" y="6"/>
                      <a:pt x="391" y="6"/>
                    </a:cubicBezTo>
                    <a:cubicBezTo>
                      <a:pt x="391" y="6"/>
                      <a:pt x="391" y="6"/>
                      <a:pt x="391" y="6"/>
                    </a:cubicBezTo>
                    <a:cubicBezTo>
                      <a:pt x="393" y="5"/>
                      <a:pt x="393" y="5"/>
                      <a:pt x="393" y="5"/>
                    </a:cubicBezTo>
                    <a:cubicBezTo>
                      <a:pt x="386" y="0"/>
                      <a:pt x="386" y="0"/>
                      <a:pt x="3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377"/>
              <p:cNvSpPr/>
              <p:nvPr/>
            </p:nvSpPr>
            <p:spPr bwMode="auto">
              <a:xfrm flipH="1">
                <a:off x="7665041" y="4529008"/>
                <a:ext cx="0" cy="0"/>
              </a:xfrm>
              <a:custGeom>
                <a:gdLst>
                  <a:gd name="T0" fmla="*/ 1 w 1"/>
                  <a:gd name="T1" fmla="*/ 0 w 1"/>
                  <a:gd name="T2" fmla="*/ 1 w 1"/>
                </a:gdLst>
                <a:cxnLst>
                  <a:cxn ang="0">
                    <a:pos x="T0" y="0"/>
                  </a:cxn>
                  <a:cxn ang="0">
                    <a:pos x="T1" y="0"/>
                  </a:cxn>
                  <a:cxn ang="0">
                    <a:pos x="T2" y="0"/>
                  </a:cxn>
                </a:cxnLst>
                <a:rect l="0" t="0" r="r" b="b"/>
                <a:pathLst>
                  <a:path w="1">
                    <a:moveTo>
                      <a:pt x="1" y="0"/>
                    </a:move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378"/>
              <p:cNvSpPr/>
              <p:nvPr/>
            </p:nvSpPr>
            <p:spPr bwMode="auto">
              <a:xfrm>
                <a:off x="7034886" y="4536378"/>
                <a:ext cx="7370" cy="3685"/>
              </a:xfrm>
              <a:custGeom>
                <a:gdLst>
                  <a:gd name="T0" fmla="*/ 2 w 2"/>
                  <a:gd name="T1" fmla="*/ 0 h 1"/>
                  <a:gd name="T2" fmla="*/ 0 w 2"/>
                  <a:gd name="T3" fmla="*/ 0 h 1"/>
                  <a:gd name="T4" fmla="*/ 1 w 2"/>
                  <a:gd name="T5" fmla="*/ 1 h 1"/>
                  <a:gd name="T6" fmla="*/ 2 w 2"/>
                  <a:gd name="T7" fmla="*/ 0 h 1"/>
                  <a:gd name="T8" fmla="*/ 2 w 2"/>
                  <a:gd name="T9" fmla="*/ 0 h 1"/>
                </a:gdLst>
                <a:cxnLst>
                  <a:cxn ang="0">
                    <a:pos x="T0" y="T1"/>
                  </a:cxn>
                  <a:cxn ang="0">
                    <a:pos x="T2" y="T3"/>
                  </a:cxn>
                  <a:cxn ang="0">
                    <a:pos x="T4" y="T5"/>
                  </a:cxn>
                  <a:cxn ang="0">
                    <a:pos x="T6" y="T7"/>
                  </a:cxn>
                  <a:cxn ang="0">
                    <a:pos x="T8" y="T9"/>
                  </a:cxn>
                </a:cxnLst>
                <a:rect l="0" t="0" r="r" b="b"/>
                <a:pathLst>
                  <a:path w="2" h="1">
                    <a:moveTo>
                      <a:pt x="2" y="0"/>
                    </a:moveTo>
                    <a:lnTo>
                      <a:pt x="0" y="0"/>
                    </a:lnTo>
                    <a:lnTo>
                      <a:pt x="1" y="1"/>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379"/>
              <p:cNvSpPr/>
              <p:nvPr/>
            </p:nvSpPr>
            <p:spPr bwMode="auto">
              <a:xfrm>
                <a:off x="7034886" y="4536378"/>
                <a:ext cx="7370" cy="3685"/>
              </a:xfrm>
              <a:custGeom>
                <a:gdLst>
                  <a:gd name="T0" fmla="*/ 2 w 2"/>
                  <a:gd name="T1" fmla="*/ 0 h 1"/>
                  <a:gd name="T2" fmla="*/ 0 w 2"/>
                  <a:gd name="T3" fmla="*/ 0 h 1"/>
                  <a:gd name="T4" fmla="*/ 1 w 2"/>
                  <a:gd name="T5" fmla="*/ 1 h 1"/>
                  <a:gd name="T6" fmla="*/ 2 w 2"/>
                  <a:gd name="T7" fmla="*/ 0 h 1"/>
                  <a:gd name="T8" fmla="*/ 2 w 2"/>
                  <a:gd name="T9" fmla="*/ 0 h 1"/>
                </a:gdLst>
                <a:cxnLst>
                  <a:cxn ang="0">
                    <a:pos x="T0" y="T1"/>
                  </a:cxn>
                  <a:cxn ang="0">
                    <a:pos x="T2" y="T3"/>
                  </a:cxn>
                  <a:cxn ang="0">
                    <a:pos x="T4" y="T5"/>
                  </a:cxn>
                  <a:cxn ang="0">
                    <a:pos x="T6" y="T7"/>
                  </a:cxn>
                  <a:cxn ang="0">
                    <a:pos x="T8" y="T9"/>
                  </a:cxn>
                </a:cxnLst>
                <a:rect l="0" t="0" r="r" b="b"/>
                <a:pathLst>
                  <a:path w="2" h="1">
                    <a:moveTo>
                      <a:pt x="2" y="0"/>
                    </a:moveTo>
                    <a:lnTo>
                      <a:pt x="0" y="0"/>
                    </a:lnTo>
                    <a:lnTo>
                      <a:pt x="1" y="1"/>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380"/>
              <p:cNvSpPr>
                <a:spLocks noEditPoints="1"/>
              </p:cNvSpPr>
              <p:nvPr/>
            </p:nvSpPr>
            <p:spPr bwMode="auto">
              <a:xfrm>
                <a:off x="6360510" y="3714597"/>
                <a:ext cx="1614081" cy="917594"/>
              </a:xfrm>
              <a:custGeom>
                <a:gdLst>
                  <a:gd name="T0" fmla="*/ 317 w 508"/>
                  <a:gd name="T1" fmla="*/ 1 h 289"/>
                  <a:gd name="T2" fmla="*/ 269 w 508"/>
                  <a:gd name="T3" fmla="*/ 10 h 289"/>
                  <a:gd name="T4" fmla="*/ 256 w 508"/>
                  <a:gd name="T5" fmla="*/ 12 h 289"/>
                  <a:gd name="T6" fmla="*/ 239 w 508"/>
                  <a:gd name="T7" fmla="*/ 29 h 289"/>
                  <a:gd name="T8" fmla="*/ 206 w 508"/>
                  <a:gd name="T9" fmla="*/ 38 h 289"/>
                  <a:gd name="T10" fmla="*/ 196 w 508"/>
                  <a:gd name="T11" fmla="*/ 30 h 289"/>
                  <a:gd name="T12" fmla="*/ 184 w 508"/>
                  <a:gd name="T13" fmla="*/ 36 h 289"/>
                  <a:gd name="T14" fmla="*/ 154 w 508"/>
                  <a:gd name="T15" fmla="*/ 30 h 289"/>
                  <a:gd name="T16" fmla="*/ 72 w 508"/>
                  <a:gd name="T17" fmla="*/ 18 h 289"/>
                  <a:gd name="T18" fmla="*/ 46 w 508"/>
                  <a:gd name="T19" fmla="*/ 31 h 289"/>
                  <a:gd name="T20" fmla="*/ 55 w 508"/>
                  <a:gd name="T21" fmla="*/ 57 h 289"/>
                  <a:gd name="T22" fmla="*/ 39 w 508"/>
                  <a:gd name="T23" fmla="*/ 80 h 289"/>
                  <a:gd name="T24" fmla="*/ 17 w 508"/>
                  <a:gd name="T25" fmla="*/ 118 h 289"/>
                  <a:gd name="T26" fmla="*/ 1 w 508"/>
                  <a:gd name="T27" fmla="*/ 140 h 289"/>
                  <a:gd name="T28" fmla="*/ 6 w 508"/>
                  <a:gd name="T29" fmla="*/ 150 h 289"/>
                  <a:gd name="T30" fmla="*/ 28 w 508"/>
                  <a:gd name="T31" fmla="*/ 155 h 289"/>
                  <a:gd name="T32" fmla="*/ 47 w 508"/>
                  <a:gd name="T33" fmla="*/ 159 h 289"/>
                  <a:gd name="T34" fmla="*/ 83 w 508"/>
                  <a:gd name="T35" fmla="*/ 165 h 289"/>
                  <a:gd name="T36" fmla="*/ 132 w 508"/>
                  <a:gd name="T37" fmla="*/ 145 h 289"/>
                  <a:gd name="T38" fmla="*/ 157 w 508"/>
                  <a:gd name="T39" fmla="*/ 144 h 289"/>
                  <a:gd name="T40" fmla="*/ 197 w 508"/>
                  <a:gd name="T41" fmla="*/ 159 h 289"/>
                  <a:gd name="T42" fmla="*/ 207 w 508"/>
                  <a:gd name="T43" fmla="*/ 182 h 289"/>
                  <a:gd name="T44" fmla="*/ 218 w 508"/>
                  <a:gd name="T45" fmla="*/ 200 h 289"/>
                  <a:gd name="T46" fmla="*/ 226 w 508"/>
                  <a:gd name="T47" fmla="*/ 218 h 289"/>
                  <a:gd name="T48" fmla="*/ 215 w 508"/>
                  <a:gd name="T49" fmla="*/ 221 h 289"/>
                  <a:gd name="T50" fmla="*/ 201 w 508"/>
                  <a:gd name="T51" fmla="*/ 221 h 289"/>
                  <a:gd name="T52" fmla="*/ 194 w 508"/>
                  <a:gd name="T53" fmla="*/ 220 h 289"/>
                  <a:gd name="T54" fmla="*/ 187 w 508"/>
                  <a:gd name="T55" fmla="*/ 239 h 289"/>
                  <a:gd name="T56" fmla="*/ 174 w 508"/>
                  <a:gd name="T57" fmla="*/ 252 h 289"/>
                  <a:gd name="T58" fmla="*/ 212 w 508"/>
                  <a:gd name="T59" fmla="*/ 254 h 289"/>
                  <a:gd name="T60" fmla="*/ 226 w 508"/>
                  <a:gd name="T61" fmla="*/ 238 h 289"/>
                  <a:gd name="T62" fmla="*/ 228 w 508"/>
                  <a:gd name="T63" fmla="*/ 221 h 289"/>
                  <a:gd name="T64" fmla="*/ 239 w 508"/>
                  <a:gd name="T65" fmla="*/ 218 h 289"/>
                  <a:gd name="T66" fmla="*/ 267 w 508"/>
                  <a:gd name="T67" fmla="*/ 204 h 289"/>
                  <a:gd name="T68" fmla="*/ 276 w 508"/>
                  <a:gd name="T69" fmla="*/ 200 h 289"/>
                  <a:gd name="T70" fmla="*/ 274 w 508"/>
                  <a:gd name="T71" fmla="*/ 198 h 289"/>
                  <a:gd name="T72" fmla="*/ 274 w 508"/>
                  <a:gd name="T73" fmla="*/ 196 h 289"/>
                  <a:gd name="T74" fmla="*/ 278 w 508"/>
                  <a:gd name="T75" fmla="*/ 201 h 289"/>
                  <a:gd name="T76" fmla="*/ 274 w 508"/>
                  <a:gd name="T77" fmla="*/ 214 h 289"/>
                  <a:gd name="T78" fmla="*/ 276 w 508"/>
                  <a:gd name="T79" fmla="*/ 221 h 289"/>
                  <a:gd name="T80" fmla="*/ 290 w 508"/>
                  <a:gd name="T81" fmla="*/ 229 h 289"/>
                  <a:gd name="T82" fmla="*/ 318 w 508"/>
                  <a:gd name="T83" fmla="*/ 231 h 289"/>
                  <a:gd name="T84" fmla="*/ 313 w 508"/>
                  <a:gd name="T85" fmla="*/ 242 h 289"/>
                  <a:gd name="T86" fmla="*/ 309 w 508"/>
                  <a:gd name="T87" fmla="*/ 261 h 289"/>
                  <a:gd name="T88" fmla="*/ 318 w 508"/>
                  <a:gd name="T89" fmla="*/ 285 h 289"/>
                  <a:gd name="T90" fmla="*/ 388 w 508"/>
                  <a:gd name="T91" fmla="*/ 268 h 289"/>
                  <a:gd name="T92" fmla="*/ 400 w 508"/>
                  <a:gd name="T93" fmla="*/ 267 h 289"/>
                  <a:gd name="T94" fmla="*/ 393 w 508"/>
                  <a:gd name="T95" fmla="*/ 256 h 289"/>
                  <a:gd name="T96" fmla="*/ 360 w 508"/>
                  <a:gd name="T97" fmla="*/ 236 h 289"/>
                  <a:gd name="T98" fmla="*/ 363 w 508"/>
                  <a:gd name="T99" fmla="*/ 229 h 289"/>
                  <a:gd name="T100" fmla="*/ 406 w 508"/>
                  <a:gd name="T101" fmla="*/ 206 h 289"/>
                  <a:gd name="T102" fmla="*/ 431 w 508"/>
                  <a:gd name="T103" fmla="*/ 199 h 289"/>
                  <a:gd name="T104" fmla="*/ 455 w 508"/>
                  <a:gd name="T105" fmla="*/ 193 h 289"/>
                  <a:gd name="T106" fmla="*/ 494 w 508"/>
                  <a:gd name="T107" fmla="*/ 165 h 289"/>
                  <a:gd name="T108" fmla="*/ 493 w 508"/>
                  <a:gd name="T109" fmla="*/ 136 h 289"/>
                  <a:gd name="T110" fmla="*/ 501 w 508"/>
                  <a:gd name="T111" fmla="*/ 106 h 289"/>
                  <a:gd name="T112" fmla="*/ 469 w 508"/>
                  <a:gd name="T113" fmla="*/ 93 h 289"/>
                  <a:gd name="T114" fmla="*/ 432 w 508"/>
                  <a:gd name="T115" fmla="*/ 73 h 289"/>
                  <a:gd name="T116" fmla="*/ 371 w 508"/>
                  <a:gd name="T117" fmla="*/ 57 h 289"/>
                  <a:gd name="T118" fmla="*/ 342 w 508"/>
                  <a:gd name="T119" fmla="*/ 43 h 289"/>
                  <a:gd name="T120" fmla="*/ 328 w 508"/>
                  <a:gd name="T121" fmla="*/ 1 h 2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289">
                    <a:moveTo>
                      <a:pt x="275" y="197"/>
                    </a:moveTo>
                    <a:cubicBezTo>
                      <a:pt x="275" y="197"/>
                      <a:pt x="275" y="197"/>
                      <a:pt x="275" y="197"/>
                    </a:cubicBezTo>
                    <a:cubicBezTo>
                      <a:pt x="275" y="197"/>
                      <a:pt x="275" y="197"/>
                      <a:pt x="275" y="197"/>
                    </a:cubicBezTo>
                    <a:cubicBezTo>
                      <a:pt x="275" y="197"/>
                      <a:pt x="275" y="197"/>
                      <a:pt x="275" y="197"/>
                    </a:cubicBezTo>
                    <a:moveTo>
                      <a:pt x="77" y="168"/>
                    </a:moveTo>
                    <a:cubicBezTo>
                      <a:pt x="77" y="168"/>
                      <a:pt x="77" y="168"/>
                      <a:pt x="77" y="168"/>
                    </a:cubicBezTo>
                    <a:cubicBezTo>
                      <a:pt x="77" y="168"/>
                      <a:pt x="77" y="168"/>
                      <a:pt x="77" y="168"/>
                    </a:cubicBezTo>
                    <a:moveTo>
                      <a:pt x="325" y="0"/>
                    </a:moveTo>
                    <a:cubicBezTo>
                      <a:pt x="323" y="0"/>
                      <a:pt x="320" y="0"/>
                      <a:pt x="317" y="1"/>
                    </a:cubicBezTo>
                    <a:cubicBezTo>
                      <a:pt x="312" y="2"/>
                      <a:pt x="308" y="3"/>
                      <a:pt x="304" y="3"/>
                    </a:cubicBezTo>
                    <a:cubicBezTo>
                      <a:pt x="301" y="3"/>
                      <a:pt x="299" y="3"/>
                      <a:pt x="296" y="2"/>
                    </a:cubicBezTo>
                    <a:cubicBezTo>
                      <a:pt x="296" y="2"/>
                      <a:pt x="296" y="2"/>
                      <a:pt x="295" y="2"/>
                    </a:cubicBezTo>
                    <a:cubicBezTo>
                      <a:pt x="292" y="2"/>
                      <a:pt x="290" y="5"/>
                      <a:pt x="288" y="8"/>
                    </a:cubicBezTo>
                    <a:cubicBezTo>
                      <a:pt x="287" y="9"/>
                      <a:pt x="287" y="9"/>
                      <a:pt x="287" y="9"/>
                    </a:cubicBezTo>
                    <a:cubicBezTo>
                      <a:pt x="286" y="12"/>
                      <a:pt x="283" y="12"/>
                      <a:pt x="279" y="12"/>
                    </a:cubicBezTo>
                    <a:cubicBezTo>
                      <a:pt x="276" y="12"/>
                      <a:pt x="273" y="12"/>
                      <a:pt x="271" y="11"/>
                    </a:cubicBezTo>
                    <a:cubicBezTo>
                      <a:pt x="269" y="10"/>
                      <a:pt x="269" y="10"/>
                      <a:pt x="269" y="10"/>
                    </a:cubicBezTo>
                    <a:cubicBezTo>
                      <a:pt x="269" y="10"/>
                      <a:pt x="269" y="10"/>
                      <a:pt x="269" y="10"/>
                    </a:cubicBezTo>
                    <a:cubicBezTo>
                      <a:pt x="267" y="10"/>
                      <a:pt x="267" y="10"/>
                      <a:pt x="267" y="10"/>
                    </a:cubicBezTo>
                    <a:cubicBezTo>
                      <a:pt x="267" y="10"/>
                      <a:pt x="267" y="10"/>
                      <a:pt x="267" y="10"/>
                    </a:cubicBezTo>
                    <a:cubicBezTo>
                      <a:pt x="266" y="10"/>
                      <a:pt x="266" y="10"/>
                      <a:pt x="265" y="10"/>
                    </a:cubicBezTo>
                    <a:cubicBezTo>
                      <a:pt x="264" y="10"/>
                      <a:pt x="263" y="10"/>
                      <a:pt x="263" y="10"/>
                    </a:cubicBezTo>
                    <a:cubicBezTo>
                      <a:pt x="263" y="10"/>
                      <a:pt x="262" y="10"/>
                      <a:pt x="262" y="10"/>
                    </a:cubicBezTo>
                    <a:cubicBezTo>
                      <a:pt x="261" y="10"/>
                      <a:pt x="260" y="10"/>
                      <a:pt x="260" y="10"/>
                    </a:cubicBezTo>
                    <a:cubicBezTo>
                      <a:pt x="259" y="11"/>
                      <a:pt x="259" y="11"/>
                      <a:pt x="259" y="11"/>
                    </a:cubicBezTo>
                    <a:cubicBezTo>
                      <a:pt x="258" y="11"/>
                      <a:pt x="257" y="12"/>
                      <a:pt x="256" y="12"/>
                    </a:cubicBezTo>
                    <a:cubicBezTo>
                      <a:pt x="256" y="12"/>
                      <a:pt x="256" y="12"/>
                      <a:pt x="256" y="12"/>
                    </a:cubicBezTo>
                    <a:cubicBezTo>
                      <a:pt x="255" y="12"/>
                      <a:pt x="254" y="12"/>
                      <a:pt x="253" y="12"/>
                    </a:cubicBezTo>
                    <a:cubicBezTo>
                      <a:pt x="252" y="11"/>
                      <a:pt x="252" y="11"/>
                      <a:pt x="252" y="11"/>
                    </a:cubicBezTo>
                    <a:cubicBezTo>
                      <a:pt x="249" y="11"/>
                      <a:pt x="248" y="13"/>
                      <a:pt x="245" y="17"/>
                    </a:cubicBezTo>
                    <a:cubicBezTo>
                      <a:pt x="243" y="19"/>
                      <a:pt x="243" y="19"/>
                      <a:pt x="243" y="19"/>
                    </a:cubicBezTo>
                    <a:cubicBezTo>
                      <a:pt x="242" y="20"/>
                      <a:pt x="242" y="20"/>
                      <a:pt x="241" y="21"/>
                    </a:cubicBezTo>
                    <a:cubicBezTo>
                      <a:pt x="241" y="21"/>
                      <a:pt x="241" y="21"/>
                      <a:pt x="241" y="22"/>
                    </a:cubicBezTo>
                    <a:cubicBezTo>
                      <a:pt x="241" y="22"/>
                      <a:pt x="241" y="22"/>
                      <a:pt x="241" y="22"/>
                    </a:cubicBezTo>
                    <a:cubicBezTo>
                      <a:pt x="240" y="23"/>
                      <a:pt x="240" y="23"/>
                      <a:pt x="239" y="24"/>
                    </a:cubicBezTo>
                    <a:cubicBezTo>
                      <a:pt x="239" y="26"/>
                      <a:pt x="238" y="27"/>
                      <a:pt x="239" y="29"/>
                    </a:cubicBezTo>
                    <a:cubicBezTo>
                      <a:pt x="239" y="30"/>
                      <a:pt x="239" y="31"/>
                      <a:pt x="239" y="32"/>
                    </a:cubicBezTo>
                    <a:cubicBezTo>
                      <a:pt x="240" y="35"/>
                      <a:pt x="240" y="37"/>
                      <a:pt x="239" y="41"/>
                    </a:cubicBezTo>
                    <a:cubicBezTo>
                      <a:pt x="237" y="44"/>
                      <a:pt x="237" y="44"/>
                      <a:pt x="237" y="44"/>
                    </a:cubicBezTo>
                    <a:cubicBezTo>
                      <a:pt x="235" y="42"/>
                      <a:pt x="235" y="42"/>
                      <a:pt x="235" y="42"/>
                    </a:cubicBezTo>
                    <a:cubicBezTo>
                      <a:pt x="234" y="41"/>
                      <a:pt x="233" y="40"/>
                      <a:pt x="232" y="39"/>
                    </a:cubicBezTo>
                    <a:cubicBezTo>
                      <a:pt x="230" y="37"/>
                      <a:pt x="229" y="36"/>
                      <a:pt x="227" y="35"/>
                    </a:cubicBezTo>
                    <a:cubicBezTo>
                      <a:pt x="226" y="34"/>
                      <a:pt x="226" y="34"/>
                      <a:pt x="225" y="34"/>
                    </a:cubicBezTo>
                    <a:cubicBezTo>
                      <a:pt x="222" y="34"/>
                      <a:pt x="219" y="35"/>
                      <a:pt x="215" y="36"/>
                    </a:cubicBezTo>
                    <a:cubicBezTo>
                      <a:pt x="212" y="37"/>
                      <a:pt x="208" y="38"/>
                      <a:pt x="206" y="38"/>
                    </a:cubicBezTo>
                    <a:cubicBezTo>
                      <a:pt x="205" y="38"/>
                      <a:pt x="204" y="38"/>
                      <a:pt x="203" y="38"/>
                    </a:cubicBezTo>
                    <a:cubicBezTo>
                      <a:pt x="202" y="38"/>
                      <a:pt x="201" y="37"/>
                      <a:pt x="200" y="36"/>
                    </a:cubicBezTo>
                    <a:cubicBezTo>
                      <a:pt x="200" y="36"/>
                      <a:pt x="200" y="36"/>
                      <a:pt x="200" y="36"/>
                    </a:cubicBezTo>
                    <a:cubicBezTo>
                      <a:pt x="199" y="35"/>
                      <a:pt x="199" y="35"/>
                      <a:pt x="199" y="35"/>
                    </a:cubicBezTo>
                    <a:cubicBezTo>
                      <a:pt x="200" y="33"/>
                      <a:pt x="200" y="33"/>
                      <a:pt x="200" y="33"/>
                    </a:cubicBezTo>
                    <a:cubicBezTo>
                      <a:pt x="200" y="33"/>
                      <a:pt x="200" y="33"/>
                      <a:pt x="200" y="33"/>
                    </a:cubicBezTo>
                    <a:cubicBezTo>
                      <a:pt x="199" y="34"/>
                      <a:pt x="199" y="34"/>
                      <a:pt x="199" y="34"/>
                    </a:cubicBezTo>
                    <a:cubicBezTo>
                      <a:pt x="198" y="34"/>
                      <a:pt x="198" y="33"/>
                      <a:pt x="197" y="32"/>
                    </a:cubicBezTo>
                    <a:cubicBezTo>
                      <a:pt x="197" y="31"/>
                      <a:pt x="196" y="30"/>
                      <a:pt x="196" y="30"/>
                    </a:cubicBezTo>
                    <a:cubicBezTo>
                      <a:pt x="195" y="29"/>
                      <a:pt x="195" y="29"/>
                      <a:pt x="195" y="29"/>
                    </a:cubicBezTo>
                    <a:cubicBezTo>
                      <a:pt x="194" y="29"/>
                      <a:pt x="194" y="29"/>
                      <a:pt x="194" y="29"/>
                    </a:cubicBezTo>
                    <a:cubicBezTo>
                      <a:pt x="194" y="29"/>
                      <a:pt x="194" y="29"/>
                      <a:pt x="194" y="29"/>
                    </a:cubicBezTo>
                    <a:cubicBezTo>
                      <a:pt x="194" y="29"/>
                      <a:pt x="194" y="29"/>
                      <a:pt x="194" y="29"/>
                    </a:cubicBezTo>
                    <a:cubicBezTo>
                      <a:pt x="194" y="29"/>
                      <a:pt x="193" y="30"/>
                      <a:pt x="192" y="30"/>
                    </a:cubicBezTo>
                    <a:cubicBezTo>
                      <a:pt x="192" y="31"/>
                      <a:pt x="191" y="31"/>
                      <a:pt x="190" y="31"/>
                    </a:cubicBezTo>
                    <a:cubicBezTo>
                      <a:pt x="189" y="32"/>
                      <a:pt x="189" y="32"/>
                      <a:pt x="187" y="35"/>
                    </a:cubicBezTo>
                    <a:cubicBezTo>
                      <a:pt x="186" y="37"/>
                      <a:pt x="186" y="37"/>
                      <a:pt x="186" y="37"/>
                    </a:cubicBezTo>
                    <a:cubicBezTo>
                      <a:pt x="184" y="36"/>
                      <a:pt x="184" y="36"/>
                      <a:pt x="184" y="36"/>
                    </a:cubicBezTo>
                    <a:cubicBezTo>
                      <a:pt x="182" y="35"/>
                      <a:pt x="181" y="35"/>
                      <a:pt x="179" y="34"/>
                    </a:cubicBezTo>
                    <a:cubicBezTo>
                      <a:pt x="176" y="32"/>
                      <a:pt x="173" y="31"/>
                      <a:pt x="171" y="28"/>
                    </a:cubicBezTo>
                    <a:cubicBezTo>
                      <a:pt x="171" y="28"/>
                      <a:pt x="171" y="28"/>
                      <a:pt x="171" y="28"/>
                    </a:cubicBezTo>
                    <a:cubicBezTo>
                      <a:pt x="170" y="28"/>
                      <a:pt x="170" y="28"/>
                      <a:pt x="169" y="28"/>
                    </a:cubicBezTo>
                    <a:cubicBezTo>
                      <a:pt x="168" y="28"/>
                      <a:pt x="167" y="29"/>
                      <a:pt x="166" y="29"/>
                    </a:cubicBezTo>
                    <a:cubicBezTo>
                      <a:pt x="161" y="29"/>
                      <a:pt x="161" y="29"/>
                      <a:pt x="156" y="33"/>
                    </a:cubicBezTo>
                    <a:cubicBezTo>
                      <a:pt x="144" y="45"/>
                      <a:pt x="144" y="45"/>
                      <a:pt x="144" y="45"/>
                    </a:cubicBezTo>
                    <a:cubicBezTo>
                      <a:pt x="153" y="30"/>
                      <a:pt x="153" y="30"/>
                      <a:pt x="153" y="30"/>
                    </a:cubicBezTo>
                    <a:cubicBezTo>
                      <a:pt x="154" y="30"/>
                      <a:pt x="154" y="30"/>
                      <a:pt x="154" y="30"/>
                    </a:cubicBezTo>
                    <a:cubicBezTo>
                      <a:pt x="153" y="29"/>
                      <a:pt x="151" y="28"/>
                      <a:pt x="146" y="27"/>
                    </a:cubicBezTo>
                    <a:cubicBezTo>
                      <a:pt x="145" y="27"/>
                      <a:pt x="144" y="27"/>
                      <a:pt x="143" y="27"/>
                    </a:cubicBezTo>
                    <a:cubicBezTo>
                      <a:pt x="107" y="20"/>
                      <a:pt x="107" y="20"/>
                      <a:pt x="107" y="20"/>
                    </a:cubicBezTo>
                    <a:cubicBezTo>
                      <a:pt x="100" y="19"/>
                      <a:pt x="94" y="17"/>
                      <a:pt x="88" y="17"/>
                    </a:cubicBezTo>
                    <a:cubicBezTo>
                      <a:pt x="87" y="16"/>
                      <a:pt x="87" y="16"/>
                      <a:pt x="86" y="16"/>
                    </a:cubicBezTo>
                    <a:cubicBezTo>
                      <a:pt x="85" y="16"/>
                      <a:pt x="85" y="16"/>
                      <a:pt x="85" y="16"/>
                    </a:cubicBezTo>
                    <a:cubicBezTo>
                      <a:pt x="83" y="17"/>
                      <a:pt x="81" y="17"/>
                      <a:pt x="79" y="17"/>
                    </a:cubicBezTo>
                    <a:cubicBezTo>
                      <a:pt x="78" y="18"/>
                      <a:pt x="76" y="18"/>
                      <a:pt x="74" y="18"/>
                    </a:cubicBezTo>
                    <a:cubicBezTo>
                      <a:pt x="73" y="18"/>
                      <a:pt x="72" y="18"/>
                      <a:pt x="72" y="18"/>
                    </a:cubicBezTo>
                    <a:cubicBezTo>
                      <a:pt x="71" y="18"/>
                      <a:pt x="70" y="18"/>
                      <a:pt x="70" y="18"/>
                    </a:cubicBezTo>
                    <a:cubicBezTo>
                      <a:pt x="69" y="18"/>
                      <a:pt x="68" y="18"/>
                      <a:pt x="68" y="18"/>
                    </a:cubicBezTo>
                    <a:cubicBezTo>
                      <a:pt x="66" y="18"/>
                      <a:pt x="65" y="18"/>
                      <a:pt x="64" y="19"/>
                    </a:cubicBezTo>
                    <a:cubicBezTo>
                      <a:pt x="62" y="19"/>
                      <a:pt x="60" y="21"/>
                      <a:pt x="59" y="23"/>
                    </a:cubicBezTo>
                    <a:cubicBezTo>
                      <a:pt x="57" y="25"/>
                      <a:pt x="56" y="27"/>
                      <a:pt x="54" y="28"/>
                    </a:cubicBezTo>
                    <a:cubicBezTo>
                      <a:pt x="53" y="28"/>
                      <a:pt x="52" y="29"/>
                      <a:pt x="51" y="29"/>
                    </a:cubicBezTo>
                    <a:cubicBezTo>
                      <a:pt x="50" y="30"/>
                      <a:pt x="50" y="30"/>
                      <a:pt x="50" y="30"/>
                    </a:cubicBezTo>
                    <a:cubicBezTo>
                      <a:pt x="49" y="30"/>
                      <a:pt x="48" y="31"/>
                      <a:pt x="47" y="31"/>
                    </a:cubicBezTo>
                    <a:cubicBezTo>
                      <a:pt x="46" y="31"/>
                      <a:pt x="46" y="31"/>
                      <a:pt x="46" y="31"/>
                    </a:cubicBezTo>
                    <a:cubicBezTo>
                      <a:pt x="45" y="31"/>
                      <a:pt x="44" y="32"/>
                      <a:pt x="43" y="32"/>
                    </a:cubicBezTo>
                    <a:cubicBezTo>
                      <a:pt x="42" y="32"/>
                      <a:pt x="42" y="32"/>
                      <a:pt x="42" y="32"/>
                    </a:cubicBezTo>
                    <a:cubicBezTo>
                      <a:pt x="43" y="34"/>
                      <a:pt x="44" y="35"/>
                      <a:pt x="44" y="37"/>
                    </a:cubicBezTo>
                    <a:cubicBezTo>
                      <a:pt x="46" y="42"/>
                      <a:pt x="48" y="46"/>
                      <a:pt x="51" y="50"/>
                    </a:cubicBezTo>
                    <a:cubicBezTo>
                      <a:pt x="51" y="50"/>
                      <a:pt x="51" y="50"/>
                      <a:pt x="51" y="50"/>
                    </a:cubicBezTo>
                    <a:cubicBezTo>
                      <a:pt x="52" y="51"/>
                      <a:pt x="52" y="51"/>
                      <a:pt x="53" y="52"/>
                    </a:cubicBezTo>
                    <a:cubicBezTo>
                      <a:pt x="54" y="52"/>
                      <a:pt x="54" y="53"/>
                      <a:pt x="55" y="53"/>
                    </a:cubicBezTo>
                    <a:cubicBezTo>
                      <a:pt x="59" y="55"/>
                      <a:pt x="59" y="55"/>
                      <a:pt x="59" y="55"/>
                    </a:cubicBezTo>
                    <a:cubicBezTo>
                      <a:pt x="55" y="57"/>
                      <a:pt x="55" y="57"/>
                      <a:pt x="55" y="57"/>
                    </a:cubicBezTo>
                    <a:cubicBezTo>
                      <a:pt x="55" y="57"/>
                      <a:pt x="54" y="57"/>
                      <a:pt x="54" y="58"/>
                    </a:cubicBezTo>
                    <a:cubicBezTo>
                      <a:pt x="53" y="58"/>
                      <a:pt x="53" y="58"/>
                      <a:pt x="53" y="58"/>
                    </a:cubicBezTo>
                    <a:cubicBezTo>
                      <a:pt x="52" y="58"/>
                      <a:pt x="52" y="58"/>
                      <a:pt x="52" y="58"/>
                    </a:cubicBezTo>
                    <a:cubicBezTo>
                      <a:pt x="52" y="58"/>
                      <a:pt x="52" y="58"/>
                      <a:pt x="52" y="58"/>
                    </a:cubicBezTo>
                    <a:cubicBezTo>
                      <a:pt x="52" y="58"/>
                      <a:pt x="53" y="59"/>
                      <a:pt x="53" y="60"/>
                    </a:cubicBezTo>
                    <a:cubicBezTo>
                      <a:pt x="54" y="61"/>
                      <a:pt x="55" y="62"/>
                      <a:pt x="56" y="64"/>
                    </a:cubicBezTo>
                    <a:cubicBezTo>
                      <a:pt x="56" y="66"/>
                      <a:pt x="54" y="72"/>
                      <a:pt x="52" y="73"/>
                    </a:cubicBezTo>
                    <a:cubicBezTo>
                      <a:pt x="50" y="76"/>
                      <a:pt x="46" y="77"/>
                      <a:pt x="42" y="79"/>
                    </a:cubicBezTo>
                    <a:cubicBezTo>
                      <a:pt x="41" y="79"/>
                      <a:pt x="40" y="80"/>
                      <a:pt x="39" y="80"/>
                    </a:cubicBezTo>
                    <a:cubicBezTo>
                      <a:pt x="37" y="81"/>
                      <a:pt x="34" y="84"/>
                      <a:pt x="33" y="86"/>
                    </a:cubicBezTo>
                    <a:cubicBezTo>
                      <a:pt x="32" y="87"/>
                      <a:pt x="31" y="88"/>
                      <a:pt x="30" y="89"/>
                    </a:cubicBezTo>
                    <a:cubicBezTo>
                      <a:pt x="15" y="104"/>
                      <a:pt x="15" y="104"/>
                      <a:pt x="15" y="104"/>
                    </a:cubicBezTo>
                    <a:cubicBezTo>
                      <a:pt x="14" y="105"/>
                      <a:pt x="15" y="110"/>
                      <a:pt x="15" y="112"/>
                    </a:cubicBezTo>
                    <a:cubicBezTo>
                      <a:pt x="16" y="113"/>
                      <a:pt x="16" y="115"/>
                      <a:pt x="16" y="115"/>
                    </a:cubicBezTo>
                    <a:cubicBezTo>
                      <a:pt x="16" y="116"/>
                      <a:pt x="16" y="116"/>
                      <a:pt x="16" y="116"/>
                    </a:cubicBezTo>
                    <a:cubicBezTo>
                      <a:pt x="16" y="117"/>
                      <a:pt x="16" y="117"/>
                      <a:pt x="16" y="117"/>
                    </a:cubicBezTo>
                    <a:cubicBezTo>
                      <a:pt x="18" y="116"/>
                      <a:pt x="18" y="116"/>
                      <a:pt x="18" y="116"/>
                    </a:cubicBezTo>
                    <a:cubicBezTo>
                      <a:pt x="17" y="118"/>
                      <a:pt x="17" y="118"/>
                      <a:pt x="17" y="118"/>
                    </a:cubicBezTo>
                    <a:cubicBezTo>
                      <a:pt x="17" y="119"/>
                      <a:pt x="18" y="120"/>
                      <a:pt x="19" y="122"/>
                    </a:cubicBezTo>
                    <a:cubicBezTo>
                      <a:pt x="25" y="128"/>
                      <a:pt x="25" y="128"/>
                      <a:pt x="25" y="128"/>
                    </a:cubicBezTo>
                    <a:cubicBezTo>
                      <a:pt x="18" y="126"/>
                      <a:pt x="18" y="126"/>
                      <a:pt x="18" y="126"/>
                    </a:cubicBezTo>
                    <a:cubicBezTo>
                      <a:pt x="16" y="125"/>
                      <a:pt x="14" y="125"/>
                      <a:pt x="12" y="124"/>
                    </a:cubicBezTo>
                    <a:cubicBezTo>
                      <a:pt x="10" y="124"/>
                      <a:pt x="10" y="124"/>
                      <a:pt x="10" y="124"/>
                    </a:cubicBezTo>
                    <a:cubicBezTo>
                      <a:pt x="9" y="125"/>
                      <a:pt x="8" y="128"/>
                      <a:pt x="7" y="129"/>
                    </a:cubicBezTo>
                    <a:cubicBezTo>
                      <a:pt x="7" y="129"/>
                      <a:pt x="7" y="130"/>
                      <a:pt x="7" y="130"/>
                    </a:cubicBezTo>
                    <a:cubicBezTo>
                      <a:pt x="6" y="131"/>
                      <a:pt x="6" y="131"/>
                      <a:pt x="5" y="132"/>
                    </a:cubicBezTo>
                    <a:cubicBezTo>
                      <a:pt x="3" y="135"/>
                      <a:pt x="2" y="137"/>
                      <a:pt x="1" y="140"/>
                    </a:cubicBezTo>
                    <a:cubicBezTo>
                      <a:pt x="0" y="141"/>
                      <a:pt x="0" y="141"/>
                      <a:pt x="0" y="141"/>
                    </a:cubicBezTo>
                    <a:cubicBezTo>
                      <a:pt x="0" y="141"/>
                      <a:pt x="0" y="142"/>
                      <a:pt x="0" y="143"/>
                    </a:cubicBezTo>
                    <a:cubicBezTo>
                      <a:pt x="0" y="144"/>
                      <a:pt x="0" y="144"/>
                      <a:pt x="0" y="144"/>
                    </a:cubicBezTo>
                    <a:cubicBezTo>
                      <a:pt x="0" y="144"/>
                      <a:pt x="0" y="144"/>
                      <a:pt x="0" y="144"/>
                    </a:cubicBezTo>
                    <a:cubicBezTo>
                      <a:pt x="0" y="144"/>
                      <a:pt x="0" y="144"/>
                      <a:pt x="0" y="144"/>
                    </a:cubicBezTo>
                    <a:cubicBezTo>
                      <a:pt x="1" y="144"/>
                      <a:pt x="1" y="144"/>
                      <a:pt x="1" y="144"/>
                    </a:cubicBezTo>
                    <a:cubicBezTo>
                      <a:pt x="0" y="145"/>
                      <a:pt x="0" y="145"/>
                      <a:pt x="0" y="145"/>
                    </a:cubicBezTo>
                    <a:cubicBezTo>
                      <a:pt x="1" y="145"/>
                      <a:pt x="1" y="145"/>
                      <a:pt x="1" y="145"/>
                    </a:cubicBezTo>
                    <a:cubicBezTo>
                      <a:pt x="2" y="147"/>
                      <a:pt x="4" y="148"/>
                      <a:pt x="6" y="150"/>
                    </a:cubicBezTo>
                    <a:cubicBezTo>
                      <a:pt x="7" y="150"/>
                      <a:pt x="8" y="151"/>
                      <a:pt x="9" y="152"/>
                    </a:cubicBezTo>
                    <a:cubicBezTo>
                      <a:pt x="10" y="152"/>
                      <a:pt x="11" y="153"/>
                      <a:pt x="12" y="154"/>
                    </a:cubicBezTo>
                    <a:cubicBezTo>
                      <a:pt x="14" y="156"/>
                      <a:pt x="16" y="159"/>
                      <a:pt x="18" y="159"/>
                    </a:cubicBezTo>
                    <a:cubicBezTo>
                      <a:pt x="19" y="159"/>
                      <a:pt x="19" y="159"/>
                      <a:pt x="19" y="159"/>
                    </a:cubicBezTo>
                    <a:cubicBezTo>
                      <a:pt x="19" y="159"/>
                      <a:pt x="19" y="159"/>
                      <a:pt x="19" y="159"/>
                    </a:cubicBezTo>
                    <a:cubicBezTo>
                      <a:pt x="21" y="158"/>
                      <a:pt x="23" y="157"/>
                      <a:pt x="24" y="156"/>
                    </a:cubicBezTo>
                    <a:cubicBezTo>
                      <a:pt x="25" y="156"/>
                      <a:pt x="26" y="155"/>
                      <a:pt x="27" y="155"/>
                    </a:cubicBezTo>
                    <a:cubicBezTo>
                      <a:pt x="27" y="155"/>
                      <a:pt x="27" y="155"/>
                      <a:pt x="27" y="155"/>
                    </a:cubicBezTo>
                    <a:cubicBezTo>
                      <a:pt x="28" y="155"/>
                      <a:pt x="28" y="155"/>
                      <a:pt x="28" y="155"/>
                    </a:cubicBezTo>
                    <a:cubicBezTo>
                      <a:pt x="28" y="155"/>
                      <a:pt x="28" y="155"/>
                      <a:pt x="29" y="155"/>
                    </a:cubicBezTo>
                    <a:cubicBezTo>
                      <a:pt x="29" y="155"/>
                      <a:pt x="30" y="156"/>
                      <a:pt x="30" y="156"/>
                    </a:cubicBezTo>
                    <a:cubicBezTo>
                      <a:pt x="30" y="156"/>
                      <a:pt x="30" y="156"/>
                      <a:pt x="30" y="156"/>
                    </a:cubicBezTo>
                    <a:cubicBezTo>
                      <a:pt x="32" y="156"/>
                      <a:pt x="33" y="157"/>
                      <a:pt x="34" y="158"/>
                    </a:cubicBezTo>
                    <a:cubicBezTo>
                      <a:pt x="35" y="159"/>
                      <a:pt x="35" y="159"/>
                      <a:pt x="35" y="159"/>
                    </a:cubicBezTo>
                    <a:cubicBezTo>
                      <a:pt x="36" y="159"/>
                      <a:pt x="36" y="159"/>
                      <a:pt x="36" y="159"/>
                    </a:cubicBezTo>
                    <a:cubicBezTo>
                      <a:pt x="37" y="158"/>
                      <a:pt x="38" y="158"/>
                      <a:pt x="39" y="158"/>
                    </a:cubicBezTo>
                    <a:cubicBezTo>
                      <a:pt x="41" y="158"/>
                      <a:pt x="43" y="158"/>
                      <a:pt x="45" y="159"/>
                    </a:cubicBezTo>
                    <a:cubicBezTo>
                      <a:pt x="46" y="159"/>
                      <a:pt x="46" y="159"/>
                      <a:pt x="47" y="159"/>
                    </a:cubicBezTo>
                    <a:cubicBezTo>
                      <a:pt x="54" y="160"/>
                      <a:pt x="54" y="160"/>
                      <a:pt x="54" y="160"/>
                    </a:cubicBezTo>
                    <a:cubicBezTo>
                      <a:pt x="55" y="160"/>
                      <a:pt x="56" y="160"/>
                      <a:pt x="57" y="160"/>
                    </a:cubicBezTo>
                    <a:cubicBezTo>
                      <a:pt x="57" y="160"/>
                      <a:pt x="58" y="160"/>
                      <a:pt x="58" y="160"/>
                    </a:cubicBezTo>
                    <a:cubicBezTo>
                      <a:pt x="59" y="160"/>
                      <a:pt x="59" y="160"/>
                      <a:pt x="59" y="160"/>
                    </a:cubicBezTo>
                    <a:cubicBezTo>
                      <a:pt x="62" y="160"/>
                      <a:pt x="65" y="160"/>
                      <a:pt x="67" y="161"/>
                    </a:cubicBezTo>
                    <a:cubicBezTo>
                      <a:pt x="70" y="162"/>
                      <a:pt x="72" y="164"/>
                      <a:pt x="73" y="165"/>
                    </a:cubicBezTo>
                    <a:cubicBezTo>
                      <a:pt x="75" y="167"/>
                      <a:pt x="76" y="168"/>
                      <a:pt x="77" y="168"/>
                    </a:cubicBezTo>
                    <a:cubicBezTo>
                      <a:pt x="77" y="168"/>
                      <a:pt x="78" y="168"/>
                      <a:pt x="79" y="167"/>
                    </a:cubicBezTo>
                    <a:cubicBezTo>
                      <a:pt x="83" y="165"/>
                      <a:pt x="83" y="165"/>
                      <a:pt x="83" y="165"/>
                    </a:cubicBezTo>
                    <a:cubicBezTo>
                      <a:pt x="84" y="163"/>
                      <a:pt x="87" y="162"/>
                      <a:pt x="89" y="162"/>
                    </a:cubicBezTo>
                    <a:cubicBezTo>
                      <a:pt x="90" y="161"/>
                      <a:pt x="91" y="161"/>
                      <a:pt x="92" y="161"/>
                    </a:cubicBezTo>
                    <a:cubicBezTo>
                      <a:pt x="92" y="161"/>
                      <a:pt x="92" y="161"/>
                      <a:pt x="92" y="161"/>
                    </a:cubicBezTo>
                    <a:cubicBezTo>
                      <a:pt x="94" y="161"/>
                      <a:pt x="96" y="161"/>
                      <a:pt x="98" y="161"/>
                    </a:cubicBezTo>
                    <a:cubicBezTo>
                      <a:pt x="102" y="161"/>
                      <a:pt x="106" y="161"/>
                      <a:pt x="109" y="160"/>
                    </a:cubicBezTo>
                    <a:cubicBezTo>
                      <a:pt x="109" y="159"/>
                      <a:pt x="110" y="159"/>
                      <a:pt x="110" y="159"/>
                    </a:cubicBezTo>
                    <a:cubicBezTo>
                      <a:pt x="123" y="150"/>
                      <a:pt x="123" y="150"/>
                      <a:pt x="123" y="150"/>
                    </a:cubicBezTo>
                    <a:cubicBezTo>
                      <a:pt x="126" y="149"/>
                      <a:pt x="126" y="149"/>
                      <a:pt x="126" y="149"/>
                    </a:cubicBezTo>
                    <a:cubicBezTo>
                      <a:pt x="127" y="147"/>
                      <a:pt x="130" y="145"/>
                      <a:pt x="132" y="145"/>
                    </a:cubicBezTo>
                    <a:cubicBezTo>
                      <a:pt x="133" y="145"/>
                      <a:pt x="134" y="145"/>
                      <a:pt x="135" y="145"/>
                    </a:cubicBezTo>
                    <a:cubicBezTo>
                      <a:pt x="136" y="145"/>
                      <a:pt x="137" y="145"/>
                      <a:pt x="138" y="145"/>
                    </a:cubicBezTo>
                    <a:cubicBezTo>
                      <a:pt x="139" y="145"/>
                      <a:pt x="139" y="145"/>
                      <a:pt x="140" y="145"/>
                    </a:cubicBezTo>
                    <a:cubicBezTo>
                      <a:pt x="143" y="145"/>
                      <a:pt x="145" y="144"/>
                      <a:pt x="150" y="142"/>
                    </a:cubicBezTo>
                    <a:cubicBezTo>
                      <a:pt x="150" y="142"/>
                      <a:pt x="150" y="142"/>
                      <a:pt x="150" y="142"/>
                    </a:cubicBezTo>
                    <a:cubicBezTo>
                      <a:pt x="151" y="142"/>
                      <a:pt x="151" y="142"/>
                      <a:pt x="151" y="142"/>
                    </a:cubicBezTo>
                    <a:cubicBezTo>
                      <a:pt x="152" y="142"/>
                      <a:pt x="152" y="142"/>
                      <a:pt x="153" y="142"/>
                    </a:cubicBezTo>
                    <a:cubicBezTo>
                      <a:pt x="154" y="143"/>
                      <a:pt x="154" y="143"/>
                      <a:pt x="154" y="143"/>
                    </a:cubicBezTo>
                    <a:cubicBezTo>
                      <a:pt x="154" y="143"/>
                      <a:pt x="155" y="143"/>
                      <a:pt x="157" y="144"/>
                    </a:cubicBezTo>
                    <a:cubicBezTo>
                      <a:pt x="162" y="145"/>
                      <a:pt x="167" y="148"/>
                      <a:pt x="172" y="151"/>
                    </a:cubicBezTo>
                    <a:cubicBezTo>
                      <a:pt x="174" y="151"/>
                      <a:pt x="175" y="152"/>
                      <a:pt x="176" y="153"/>
                    </a:cubicBezTo>
                    <a:cubicBezTo>
                      <a:pt x="179" y="154"/>
                      <a:pt x="181" y="155"/>
                      <a:pt x="183" y="156"/>
                    </a:cubicBezTo>
                    <a:cubicBezTo>
                      <a:pt x="184" y="156"/>
                      <a:pt x="185" y="157"/>
                      <a:pt x="187" y="158"/>
                    </a:cubicBezTo>
                    <a:cubicBezTo>
                      <a:pt x="188" y="158"/>
                      <a:pt x="188" y="158"/>
                      <a:pt x="188" y="158"/>
                    </a:cubicBezTo>
                    <a:cubicBezTo>
                      <a:pt x="190" y="159"/>
                      <a:pt x="192" y="160"/>
                      <a:pt x="194" y="160"/>
                    </a:cubicBezTo>
                    <a:cubicBezTo>
                      <a:pt x="194" y="160"/>
                      <a:pt x="194" y="160"/>
                      <a:pt x="194" y="160"/>
                    </a:cubicBezTo>
                    <a:cubicBezTo>
                      <a:pt x="194" y="159"/>
                      <a:pt x="195" y="159"/>
                      <a:pt x="196" y="159"/>
                    </a:cubicBezTo>
                    <a:cubicBezTo>
                      <a:pt x="196" y="159"/>
                      <a:pt x="197" y="159"/>
                      <a:pt x="197" y="159"/>
                    </a:cubicBezTo>
                    <a:cubicBezTo>
                      <a:pt x="199" y="160"/>
                      <a:pt x="200" y="162"/>
                      <a:pt x="200" y="162"/>
                    </a:cubicBezTo>
                    <a:cubicBezTo>
                      <a:pt x="201" y="163"/>
                      <a:pt x="201" y="164"/>
                      <a:pt x="201" y="164"/>
                    </a:cubicBezTo>
                    <a:cubicBezTo>
                      <a:pt x="202" y="168"/>
                      <a:pt x="201" y="174"/>
                      <a:pt x="200" y="175"/>
                    </a:cubicBezTo>
                    <a:cubicBezTo>
                      <a:pt x="200" y="176"/>
                      <a:pt x="199" y="177"/>
                      <a:pt x="199" y="177"/>
                    </a:cubicBezTo>
                    <a:cubicBezTo>
                      <a:pt x="199" y="178"/>
                      <a:pt x="200" y="179"/>
                      <a:pt x="201" y="180"/>
                    </a:cubicBezTo>
                    <a:cubicBezTo>
                      <a:pt x="202" y="181"/>
                      <a:pt x="204" y="183"/>
                      <a:pt x="205" y="183"/>
                    </a:cubicBezTo>
                    <a:cubicBezTo>
                      <a:pt x="205" y="183"/>
                      <a:pt x="205" y="183"/>
                      <a:pt x="206" y="183"/>
                    </a:cubicBezTo>
                    <a:cubicBezTo>
                      <a:pt x="206" y="182"/>
                      <a:pt x="207" y="182"/>
                      <a:pt x="207" y="182"/>
                    </a:cubicBezTo>
                    <a:cubicBezTo>
                      <a:pt x="207" y="182"/>
                      <a:pt x="207" y="182"/>
                      <a:pt x="207" y="182"/>
                    </a:cubicBezTo>
                    <a:cubicBezTo>
                      <a:pt x="208" y="182"/>
                      <a:pt x="208" y="182"/>
                      <a:pt x="209" y="183"/>
                    </a:cubicBezTo>
                    <a:cubicBezTo>
                      <a:pt x="211" y="183"/>
                      <a:pt x="211" y="185"/>
                      <a:pt x="211" y="188"/>
                    </a:cubicBezTo>
                    <a:cubicBezTo>
                      <a:pt x="211" y="189"/>
                      <a:pt x="211" y="191"/>
                      <a:pt x="210" y="193"/>
                    </a:cubicBezTo>
                    <a:cubicBezTo>
                      <a:pt x="210" y="193"/>
                      <a:pt x="210" y="193"/>
                      <a:pt x="210" y="193"/>
                    </a:cubicBezTo>
                    <a:cubicBezTo>
                      <a:pt x="212" y="195"/>
                      <a:pt x="214" y="197"/>
                      <a:pt x="216" y="199"/>
                    </a:cubicBezTo>
                    <a:cubicBezTo>
                      <a:pt x="215" y="201"/>
                      <a:pt x="215" y="201"/>
                      <a:pt x="215" y="201"/>
                    </a:cubicBezTo>
                    <a:cubicBezTo>
                      <a:pt x="216" y="200"/>
                      <a:pt x="216" y="200"/>
                      <a:pt x="216" y="200"/>
                    </a:cubicBezTo>
                    <a:cubicBezTo>
                      <a:pt x="216" y="200"/>
                      <a:pt x="217" y="200"/>
                      <a:pt x="217" y="200"/>
                    </a:cubicBezTo>
                    <a:cubicBezTo>
                      <a:pt x="217" y="200"/>
                      <a:pt x="218" y="200"/>
                      <a:pt x="218" y="200"/>
                    </a:cubicBezTo>
                    <a:cubicBezTo>
                      <a:pt x="218" y="200"/>
                      <a:pt x="218" y="200"/>
                      <a:pt x="218" y="200"/>
                    </a:cubicBezTo>
                    <a:cubicBezTo>
                      <a:pt x="219" y="201"/>
                      <a:pt x="219" y="201"/>
                      <a:pt x="219" y="201"/>
                    </a:cubicBezTo>
                    <a:cubicBezTo>
                      <a:pt x="220" y="202"/>
                      <a:pt x="221" y="202"/>
                      <a:pt x="221" y="204"/>
                    </a:cubicBezTo>
                    <a:cubicBezTo>
                      <a:pt x="222" y="207"/>
                      <a:pt x="221" y="209"/>
                      <a:pt x="221" y="210"/>
                    </a:cubicBezTo>
                    <a:cubicBezTo>
                      <a:pt x="220" y="212"/>
                      <a:pt x="220" y="212"/>
                      <a:pt x="222" y="214"/>
                    </a:cubicBezTo>
                    <a:cubicBezTo>
                      <a:pt x="223" y="214"/>
                      <a:pt x="223" y="214"/>
                      <a:pt x="223" y="214"/>
                    </a:cubicBezTo>
                    <a:cubicBezTo>
                      <a:pt x="224" y="215"/>
                      <a:pt x="225" y="216"/>
                      <a:pt x="226" y="216"/>
                    </a:cubicBezTo>
                    <a:cubicBezTo>
                      <a:pt x="226" y="217"/>
                      <a:pt x="226" y="217"/>
                      <a:pt x="226" y="217"/>
                    </a:cubicBezTo>
                    <a:cubicBezTo>
                      <a:pt x="226" y="218"/>
                      <a:pt x="226" y="218"/>
                      <a:pt x="226" y="218"/>
                    </a:cubicBezTo>
                    <a:cubicBezTo>
                      <a:pt x="226" y="220"/>
                      <a:pt x="225" y="220"/>
                      <a:pt x="223" y="221"/>
                    </a:cubicBezTo>
                    <a:cubicBezTo>
                      <a:pt x="223" y="221"/>
                      <a:pt x="223" y="221"/>
                      <a:pt x="223" y="221"/>
                    </a:cubicBezTo>
                    <a:cubicBezTo>
                      <a:pt x="222" y="221"/>
                      <a:pt x="220" y="222"/>
                      <a:pt x="219" y="222"/>
                    </a:cubicBezTo>
                    <a:cubicBezTo>
                      <a:pt x="218" y="222"/>
                      <a:pt x="218" y="222"/>
                      <a:pt x="218" y="222"/>
                    </a:cubicBezTo>
                    <a:cubicBezTo>
                      <a:pt x="217" y="222"/>
                      <a:pt x="217" y="222"/>
                      <a:pt x="217" y="222"/>
                    </a:cubicBezTo>
                    <a:cubicBezTo>
                      <a:pt x="217" y="222"/>
                      <a:pt x="217" y="222"/>
                      <a:pt x="217" y="222"/>
                    </a:cubicBezTo>
                    <a:cubicBezTo>
                      <a:pt x="216" y="222"/>
                      <a:pt x="215" y="222"/>
                      <a:pt x="215" y="221"/>
                    </a:cubicBezTo>
                    <a:cubicBezTo>
                      <a:pt x="215" y="221"/>
                      <a:pt x="215" y="221"/>
                      <a:pt x="215" y="221"/>
                    </a:cubicBezTo>
                    <a:cubicBezTo>
                      <a:pt x="215" y="221"/>
                      <a:pt x="215" y="221"/>
                      <a:pt x="215" y="221"/>
                    </a:cubicBezTo>
                    <a:cubicBezTo>
                      <a:pt x="215" y="221"/>
                      <a:pt x="215" y="221"/>
                      <a:pt x="215" y="221"/>
                    </a:cubicBezTo>
                    <a:cubicBezTo>
                      <a:pt x="214" y="221"/>
                      <a:pt x="214" y="221"/>
                      <a:pt x="214" y="221"/>
                    </a:cubicBezTo>
                    <a:cubicBezTo>
                      <a:pt x="213" y="221"/>
                      <a:pt x="212" y="221"/>
                      <a:pt x="212" y="221"/>
                    </a:cubicBezTo>
                    <a:cubicBezTo>
                      <a:pt x="211" y="221"/>
                      <a:pt x="209" y="221"/>
                      <a:pt x="208" y="220"/>
                    </a:cubicBezTo>
                    <a:cubicBezTo>
                      <a:pt x="207" y="220"/>
                      <a:pt x="207" y="219"/>
                      <a:pt x="206" y="219"/>
                    </a:cubicBezTo>
                    <a:cubicBezTo>
                      <a:pt x="206" y="218"/>
                      <a:pt x="206" y="218"/>
                      <a:pt x="206" y="218"/>
                    </a:cubicBezTo>
                    <a:cubicBezTo>
                      <a:pt x="205" y="218"/>
                      <a:pt x="205" y="218"/>
                      <a:pt x="205" y="218"/>
                    </a:cubicBezTo>
                    <a:cubicBezTo>
                      <a:pt x="204" y="219"/>
                      <a:pt x="203" y="220"/>
                      <a:pt x="202" y="220"/>
                    </a:cubicBezTo>
                    <a:cubicBezTo>
                      <a:pt x="201" y="220"/>
                      <a:pt x="201" y="221"/>
                      <a:pt x="201" y="221"/>
                    </a:cubicBezTo>
                    <a:cubicBezTo>
                      <a:pt x="200" y="221"/>
                      <a:pt x="200" y="221"/>
                      <a:pt x="199" y="221"/>
                    </a:cubicBezTo>
                    <a:cubicBezTo>
                      <a:pt x="199" y="221"/>
                      <a:pt x="199" y="221"/>
                      <a:pt x="199" y="221"/>
                    </a:cubicBezTo>
                    <a:cubicBezTo>
                      <a:pt x="198" y="221"/>
                      <a:pt x="197" y="221"/>
                      <a:pt x="197" y="220"/>
                    </a:cubicBezTo>
                    <a:cubicBezTo>
                      <a:pt x="196" y="220"/>
                      <a:pt x="196" y="220"/>
                      <a:pt x="196" y="220"/>
                    </a:cubicBezTo>
                    <a:cubicBezTo>
                      <a:pt x="196" y="219"/>
                      <a:pt x="195" y="219"/>
                      <a:pt x="195" y="218"/>
                    </a:cubicBezTo>
                    <a:cubicBezTo>
                      <a:pt x="195" y="218"/>
                      <a:pt x="195" y="218"/>
                      <a:pt x="195" y="218"/>
                    </a:cubicBezTo>
                    <a:cubicBezTo>
                      <a:pt x="194" y="217"/>
                      <a:pt x="194" y="217"/>
                      <a:pt x="194" y="217"/>
                    </a:cubicBezTo>
                    <a:cubicBezTo>
                      <a:pt x="194" y="218"/>
                      <a:pt x="194" y="218"/>
                      <a:pt x="194" y="219"/>
                    </a:cubicBezTo>
                    <a:cubicBezTo>
                      <a:pt x="194" y="219"/>
                      <a:pt x="194" y="219"/>
                      <a:pt x="194" y="220"/>
                    </a:cubicBezTo>
                    <a:cubicBezTo>
                      <a:pt x="194" y="221"/>
                      <a:pt x="194" y="222"/>
                      <a:pt x="194" y="223"/>
                    </a:cubicBezTo>
                    <a:cubicBezTo>
                      <a:pt x="194" y="224"/>
                      <a:pt x="195" y="225"/>
                      <a:pt x="194" y="226"/>
                    </a:cubicBezTo>
                    <a:cubicBezTo>
                      <a:pt x="194" y="227"/>
                      <a:pt x="194" y="228"/>
                      <a:pt x="193" y="229"/>
                    </a:cubicBezTo>
                    <a:cubicBezTo>
                      <a:pt x="193" y="230"/>
                      <a:pt x="193" y="230"/>
                      <a:pt x="193" y="230"/>
                    </a:cubicBezTo>
                    <a:cubicBezTo>
                      <a:pt x="193" y="230"/>
                      <a:pt x="193" y="231"/>
                      <a:pt x="193" y="231"/>
                    </a:cubicBezTo>
                    <a:cubicBezTo>
                      <a:pt x="192" y="232"/>
                      <a:pt x="192" y="232"/>
                      <a:pt x="192" y="232"/>
                    </a:cubicBezTo>
                    <a:cubicBezTo>
                      <a:pt x="192" y="234"/>
                      <a:pt x="190" y="234"/>
                      <a:pt x="190" y="235"/>
                    </a:cubicBezTo>
                    <a:cubicBezTo>
                      <a:pt x="189" y="235"/>
                      <a:pt x="189" y="235"/>
                      <a:pt x="189" y="235"/>
                    </a:cubicBezTo>
                    <a:cubicBezTo>
                      <a:pt x="188" y="236"/>
                      <a:pt x="188" y="237"/>
                      <a:pt x="187" y="239"/>
                    </a:cubicBezTo>
                    <a:cubicBezTo>
                      <a:pt x="186" y="239"/>
                      <a:pt x="186" y="239"/>
                      <a:pt x="186" y="239"/>
                    </a:cubicBezTo>
                    <a:cubicBezTo>
                      <a:pt x="186" y="240"/>
                      <a:pt x="186" y="240"/>
                      <a:pt x="186" y="240"/>
                    </a:cubicBezTo>
                    <a:cubicBezTo>
                      <a:pt x="185" y="240"/>
                      <a:pt x="185" y="240"/>
                      <a:pt x="185" y="240"/>
                    </a:cubicBezTo>
                    <a:cubicBezTo>
                      <a:pt x="185" y="241"/>
                      <a:pt x="184" y="241"/>
                      <a:pt x="183" y="242"/>
                    </a:cubicBezTo>
                    <a:cubicBezTo>
                      <a:pt x="182" y="243"/>
                      <a:pt x="181" y="244"/>
                      <a:pt x="181" y="244"/>
                    </a:cubicBezTo>
                    <a:cubicBezTo>
                      <a:pt x="180" y="245"/>
                      <a:pt x="180" y="245"/>
                      <a:pt x="181" y="245"/>
                    </a:cubicBezTo>
                    <a:cubicBezTo>
                      <a:pt x="184" y="248"/>
                      <a:pt x="184" y="248"/>
                      <a:pt x="184" y="248"/>
                    </a:cubicBezTo>
                    <a:cubicBezTo>
                      <a:pt x="180" y="249"/>
                      <a:pt x="180" y="249"/>
                      <a:pt x="180" y="249"/>
                    </a:cubicBezTo>
                    <a:cubicBezTo>
                      <a:pt x="177" y="250"/>
                      <a:pt x="175" y="251"/>
                      <a:pt x="174" y="252"/>
                    </a:cubicBezTo>
                    <a:cubicBezTo>
                      <a:pt x="174" y="252"/>
                      <a:pt x="174" y="252"/>
                      <a:pt x="174" y="252"/>
                    </a:cubicBezTo>
                    <a:cubicBezTo>
                      <a:pt x="176" y="253"/>
                      <a:pt x="177" y="254"/>
                      <a:pt x="179" y="255"/>
                    </a:cubicBezTo>
                    <a:cubicBezTo>
                      <a:pt x="180" y="256"/>
                      <a:pt x="181" y="256"/>
                      <a:pt x="182" y="257"/>
                    </a:cubicBezTo>
                    <a:cubicBezTo>
                      <a:pt x="185" y="256"/>
                      <a:pt x="185" y="256"/>
                      <a:pt x="185" y="256"/>
                    </a:cubicBezTo>
                    <a:cubicBezTo>
                      <a:pt x="189" y="256"/>
                      <a:pt x="189" y="255"/>
                      <a:pt x="191" y="255"/>
                    </a:cubicBezTo>
                    <a:cubicBezTo>
                      <a:pt x="193" y="254"/>
                      <a:pt x="193" y="254"/>
                      <a:pt x="193" y="254"/>
                    </a:cubicBezTo>
                    <a:cubicBezTo>
                      <a:pt x="196" y="253"/>
                      <a:pt x="201" y="250"/>
                      <a:pt x="204" y="250"/>
                    </a:cubicBezTo>
                    <a:cubicBezTo>
                      <a:pt x="204" y="250"/>
                      <a:pt x="205" y="250"/>
                      <a:pt x="205" y="251"/>
                    </a:cubicBezTo>
                    <a:cubicBezTo>
                      <a:pt x="207" y="251"/>
                      <a:pt x="211" y="252"/>
                      <a:pt x="212" y="254"/>
                    </a:cubicBezTo>
                    <a:cubicBezTo>
                      <a:pt x="213" y="255"/>
                      <a:pt x="213" y="255"/>
                      <a:pt x="213" y="255"/>
                    </a:cubicBezTo>
                    <a:cubicBezTo>
                      <a:pt x="213" y="250"/>
                      <a:pt x="211" y="245"/>
                      <a:pt x="210" y="239"/>
                    </a:cubicBezTo>
                    <a:cubicBezTo>
                      <a:pt x="213" y="241"/>
                      <a:pt x="211" y="244"/>
                      <a:pt x="212" y="244"/>
                    </a:cubicBezTo>
                    <a:cubicBezTo>
                      <a:pt x="213" y="244"/>
                      <a:pt x="214" y="244"/>
                      <a:pt x="215" y="242"/>
                    </a:cubicBezTo>
                    <a:cubicBezTo>
                      <a:pt x="217" y="241"/>
                      <a:pt x="219" y="239"/>
                      <a:pt x="220" y="239"/>
                    </a:cubicBezTo>
                    <a:cubicBezTo>
                      <a:pt x="221" y="238"/>
                      <a:pt x="221" y="238"/>
                      <a:pt x="222" y="238"/>
                    </a:cubicBezTo>
                    <a:cubicBezTo>
                      <a:pt x="222" y="238"/>
                      <a:pt x="222" y="238"/>
                      <a:pt x="223" y="238"/>
                    </a:cubicBezTo>
                    <a:cubicBezTo>
                      <a:pt x="223" y="239"/>
                      <a:pt x="223" y="239"/>
                      <a:pt x="224" y="239"/>
                    </a:cubicBezTo>
                    <a:cubicBezTo>
                      <a:pt x="224" y="239"/>
                      <a:pt x="225" y="238"/>
                      <a:pt x="226" y="238"/>
                    </a:cubicBezTo>
                    <a:cubicBezTo>
                      <a:pt x="227" y="237"/>
                      <a:pt x="233" y="232"/>
                      <a:pt x="232" y="232"/>
                    </a:cubicBezTo>
                    <a:cubicBezTo>
                      <a:pt x="231" y="229"/>
                      <a:pt x="229" y="226"/>
                      <a:pt x="227" y="223"/>
                    </a:cubicBezTo>
                    <a:cubicBezTo>
                      <a:pt x="226" y="222"/>
                      <a:pt x="225" y="221"/>
                      <a:pt x="225" y="220"/>
                    </a:cubicBezTo>
                    <a:cubicBezTo>
                      <a:pt x="226" y="220"/>
                      <a:pt x="226" y="220"/>
                      <a:pt x="226" y="219"/>
                    </a:cubicBezTo>
                    <a:cubicBezTo>
                      <a:pt x="226" y="219"/>
                      <a:pt x="227" y="219"/>
                      <a:pt x="227" y="219"/>
                    </a:cubicBezTo>
                    <a:cubicBezTo>
                      <a:pt x="227" y="219"/>
                      <a:pt x="227" y="219"/>
                      <a:pt x="227" y="219"/>
                    </a:cubicBezTo>
                    <a:cubicBezTo>
                      <a:pt x="228" y="220"/>
                      <a:pt x="228" y="220"/>
                      <a:pt x="228" y="220"/>
                    </a:cubicBezTo>
                    <a:cubicBezTo>
                      <a:pt x="228" y="221"/>
                      <a:pt x="228" y="221"/>
                      <a:pt x="228" y="221"/>
                    </a:cubicBezTo>
                    <a:cubicBezTo>
                      <a:pt x="228" y="221"/>
                      <a:pt x="228" y="221"/>
                      <a:pt x="228" y="221"/>
                    </a:cubicBezTo>
                    <a:cubicBezTo>
                      <a:pt x="228" y="221"/>
                      <a:pt x="228" y="221"/>
                      <a:pt x="228" y="221"/>
                    </a:cubicBezTo>
                    <a:cubicBezTo>
                      <a:pt x="229" y="221"/>
                      <a:pt x="229" y="221"/>
                      <a:pt x="229" y="221"/>
                    </a:cubicBezTo>
                    <a:cubicBezTo>
                      <a:pt x="229" y="221"/>
                      <a:pt x="229" y="220"/>
                      <a:pt x="230" y="220"/>
                    </a:cubicBezTo>
                    <a:cubicBezTo>
                      <a:pt x="230" y="221"/>
                      <a:pt x="230" y="221"/>
                      <a:pt x="230" y="222"/>
                    </a:cubicBezTo>
                    <a:cubicBezTo>
                      <a:pt x="231" y="222"/>
                      <a:pt x="232" y="223"/>
                      <a:pt x="232" y="224"/>
                    </a:cubicBezTo>
                    <a:cubicBezTo>
                      <a:pt x="233" y="224"/>
                      <a:pt x="233" y="225"/>
                      <a:pt x="233" y="225"/>
                    </a:cubicBezTo>
                    <a:cubicBezTo>
                      <a:pt x="233" y="225"/>
                      <a:pt x="233" y="225"/>
                      <a:pt x="233" y="225"/>
                    </a:cubicBezTo>
                    <a:cubicBezTo>
                      <a:pt x="234" y="224"/>
                      <a:pt x="235" y="223"/>
                      <a:pt x="236" y="222"/>
                    </a:cubicBezTo>
                    <a:cubicBezTo>
                      <a:pt x="237" y="220"/>
                      <a:pt x="238" y="219"/>
                      <a:pt x="239" y="218"/>
                    </a:cubicBezTo>
                    <a:cubicBezTo>
                      <a:pt x="241" y="215"/>
                      <a:pt x="244" y="213"/>
                      <a:pt x="247" y="212"/>
                    </a:cubicBezTo>
                    <a:cubicBezTo>
                      <a:pt x="248" y="212"/>
                      <a:pt x="248" y="212"/>
                      <a:pt x="249" y="212"/>
                    </a:cubicBezTo>
                    <a:cubicBezTo>
                      <a:pt x="250" y="212"/>
                      <a:pt x="251" y="211"/>
                      <a:pt x="251" y="211"/>
                    </a:cubicBezTo>
                    <a:cubicBezTo>
                      <a:pt x="252" y="211"/>
                      <a:pt x="253" y="211"/>
                      <a:pt x="253" y="211"/>
                    </a:cubicBezTo>
                    <a:cubicBezTo>
                      <a:pt x="254" y="211"/>
                      <a:pt x="255" y="211"/>
                      <a:pt x="256" y="211"/>
                    </a:cubicBezTo>
                    <a:cubicBezTo>
                      <a:pt x="257" y="211"/>
                      <a:pt x="257" y="211"/>
                      <a:pt x="257" y="211"/>
                    </a:cubicBezTo>
                    <a:cubicBezTo>
                      <a:pt x="258" y="211"/>
                      <a:pt x="258" y="211"/>
                      <a:pt x="259" y="210"/>
                    </a:cubicBezTo>
                    <a:cubicBezTo>
                      <a:pt x="260" y="210"/>
                      <a:pt x="260" y="210"/>
                      <a:pt x="260" y="210"/>
                    </a:cubicBezTo>
                    <a:cubicBezTo>
                      <a:pt x="262" y="208"/>
                      <a:pt x="264" y="205"/>
                      <a:pt x="267" y="204"/>
                    </a:cubicBezTo>
                    <a:cubicBezTo>
                      <a:pt x="267" y="204"/>
                      <a:pt x="267" y="204"/>
                      <a:pt x="267" y="204"/>
                    </a:cubicBezTo>
                    <a:cubicBezTo>
                      <a:pt x="267" y="204"/>
                      <a:pt x="266" y="204"/>
                      <a:pt x="266" y="205"/>
                    </a:cubicBezTo>
                    <a:cubicBezTo>
                      <a:pt x="266" y="205"/>
                      <a:pt x="265" y="206"/>
                      <a:pt x="265" y="206"/>
                    </a:cubicBezTo>
                    <a:cubicBezTo>
                      <a:pt x="265" y="206"/>
                      <a:pt x="265" y="206"/>
                      <a:pt x="265" y="206"/>
                    </a:cubicBezTo>
                    <a:cubicBezTo>
                      <a:pt x="266" y="207"/>
                      <a:pt x="264" y="207"/>
                      <a:pt x="267" y="207"/>
                    </a:cubicBezTo>
                    <a:cubicBezTo>
                      <a:pt x="270" y="208"/>
                      <a:pt x="272" y="209"/>
                      <a:pt x="275" y="209"/>
                    </a:cubicBezTo>
                    <a:cubicBezTo>
                      <a:pt x="275" y="206"/>
                      <a:pt x="275" y="205"/>
                      <a:pt x="276" y="202"/>
                    </a:cubicBezTo>
                    <a:cubicBezTo>
                      <a:pt x="277" y="201"/>
                      <a:pt x="277" y="200"/>
                      <a:pt x="276" y="200"/>
                    </a:cubicBezTo>
                    <a:cubicBezTo>
                      <a:pt x="276" y="200"/>
                      <a:pt x="276" y="200"/>
                      <a:pt x="276" y="200"/>
                    </a:cubicBezTo>
                    <a:cubicBezTo>
                      <a:pt x="276" y="200"/>
                      <a:pt x="276" y="200"/>
                      <a:pt x="276" y="200"/>
                    </a:cubicBezTo>
                    <a:cubicBezTo>
                      <a:pt x="276" y="200"/>
                      <a:pt x="276" y="200"/>
                      <a:pt x="276" y="200"/>
                    </a:cubicBezTo>
                    <a:cubicBezTo>
                      <a:pt x="276" y="200"/>
                      <a:pt x="275" y="199"/>
                      <a:pt x="275" y="199"/>
                    </a:cubicBezTo>
                    <a:cubicBezTo>
                      <a:pt x="275" y="199"/>
                      <a:pt x="275" y="199"/>
                      <a:pt x="275" y="199"/>
                    </a:cubicBezTo>
                    <a:cubicBezTo>
                      <a:pt x="275" y="199"/>
                      <a:pt x="275" y="199"/>
                      <a:pt x="276" y="198"/>
                    </a:cubicBezTo>
                    <a:cubicBezTo>
                      <a:pt x="276" y="198"/>
                      <a:pt x="276" y="197"/>
                      <a:pt x="276" y="197"/>
                    </a:cubicBezTo>
                    <a:cubicBezTo>
                      <a:pt x="276" y="197"/>
                      <a:pt x="276" y="197"/>
                      <a:pt x="276" y="197"/>
                    </a:cubicBezTo>
                    <a:cubicBezTo>
                      <a:pt x="275" y="197"/>
                      <a:pt x="275" y="198"/>
                      <a:pt x="274" y="198"/>
                    </a:cubicBezTo>
                    <a:cubicBezTo>
                      <a:pt x="274" y="198"/>
                      <a:pt x="274" y="198"/>
                      <a:pt x="274" y="198"/>
                    </a:cubicBezTo>
                    <a:cubicBezTo>
                      <a:pt x="273" y="197"/>
                      <a:pt x="274" y="195"/>
                      <a:pt x="274" y="194"/>
                    </a:cubicBezTo>
                    <a:cubicBezTo>
                      <a:pt x="274" y="193"/>
                      <a:pt x="272" y="193"/>
                      <a:pt x="272" y="193"/>
                    </a:cubicBezTo>
                    <a:cubicBezTo>
                      <a:pt x="272" y="192"/>
                      <a:pt x="272" y="192"/>
                      <a:pt x="272" y="191"/>
                    </a:cubicBezTo>
                    <a:cubicBezTo>
                      <a:pt x="272" y="191"/>
                      <a:pt x="272" y="191"/>
                      <a:pt x="272" y="190"/>
                    </a:cubicBezTo>
                    <a:cubicBezTo>
                      <a:pt x="272" y="190"/>
                      <a:pt x="272" y="190"/>
                      <a:pt x="272" y="190"/>
                    </a:cubicBezTo>
                    <a:cubicBezTo>
                      <a:pt x="273" y="190"/>
                      <a:pt x="273" y="190"/>
                      <a:pt x="273" y="191"/>
                    </a:cubicBezTo>
                    <a:cubicBezTo>
                      <a:pt x="274" y="192"/>
                      <a:pt x="274" y="195"/>
                      <a:pt x="274" y="195"/>
                    </a:cubicBezTo>
                    <a:cubicBezTo>
                      <a:pt x="274" y="195"/>
                      <a:pt x="274" y="195"/>
                      <a:pt x="274" y="195"/>
                    </a:cubicBezTo>
                    <a:cubicBezTo>
                      <a:pt x="274" y="195"/>
                      <a:pt x="274" y="196"/>
                      <a:pt x="274" y="196"/>
                    </a:cubicBezTo>
                    <a:cubicBezTo>
                      <a:pt x="275" y="196"/>
                      <a:pt x="275" y="197"/>
                      <a:pt x="275" y="197"/>
                    </a:cubicBezTo>
                    <a:cubicBezTo>
                      <a:pt x="275" y="197"/>
                      <a:pt x="275" y="197"/>
                      <a:pt x="275" y="197"/>
                    </a:cubicBezTo>
                    <a:cubicBezTo>
                      <a:pt x="275" y="197"/>
                      <a:pt x="275" y="197"/>
                      <a:pt x="275" y="197"/>
                    </a:cubicBezTo>
                    <a:cubicBezTo>
                      <a:pt x="276" y="197"/>
                      <a:pt x="276" y="197"/>
                      <a:pt x="276" y="197"/>
                    </a:cubicBezTo>
                    <a:cubicBezTo>
                      <a:pt x="277" y="197"/>
                      <a:pt x="277" y="197"/>
                      <a:pt x="277" y="197"/>
                    </a:cubicBezTo>
                    <a:cubicBezTo>
                      <a:pt x="277" y="197"/>
                      <a:pt x="277" y="197"/>
                      <a:pt x="277" y="197"/>
                    </a:cubicBezTo>
                    <a:cubicBezTo>
                      <a:pt x="277" y="198"/>
                      <a:pt x="276" y="198"/>
                      <a:pt x="276" y="199"/>
                    </a:cubicBezTo>
                    <a:cubicBezTo>
                      <a:pt x="276" y="200"/>
                      <a:pt x="276" y="200"/>
                      <a:pt x="277" y="200"/>
                    </a:cubicBezTo>
                    <a:cubicBezTo>
                      <a:pt x="277" y="200"/>
                      <a:pt x="278" y="200"/>
                      <a:pt x="278" y="201"/>
                    </a:cubicBezTo>
                    <a:cubicBezTo>
                      <a:pt x="278" y="201"/>
                      <a:pt x="278" y="201"/>
                      <a:pt x="278" y="201"/>
                    </a:cubicBezTo>
                    <a:cubicBezTo>
                      <a:pt x="278" y="204"/>
                      <a:pt x="275" y="205"/>
                      <a:pt x="278" y="208"/>
                    </a:cubicBezTo>
                    <a:cubicBezTo>
                      <a:pt x="280" y="211"/>
                      <a:pt x="281" y="213"/>
                      <a:pt x="284" y="213"/>
                    </a:cubicBezTo>
                    <a:cubicBezTo>
                      <a:pt x="285" y="213"/>
                      <a:pt x="285" y="213"/>
                      <a:pt x="286" y="213"/>
                    </a:cubicBezTo>
                    <a:cubicBezTo>
                      <a:pt x="286" y="213"/>
                      <a:pt x="287" y="213"/>
                      <a:pt x="288" y="213"/>
                    </a:cubicBezTo>
                    <a:cubicBezTo>
                      <a:pt x="291" y="213"/>
                      <a:pt x="293" y="210"/>
                      <a:pt x="296" y="210"/>
                    </a:cubicBezTo>
                    <a:cubicBezTo>
                      <a:pt x="292" y="213"/>
                      <a:pt x="290" y="216"/>
                      <a:pt x="286" y="216"/>
                    </a:cubicBezTo>
                    <a:cubicBezTo>
                      <a:pt x="285" y="216"/>
                      <a:pt x="285" y="216"/>
                      <a:pt x="285" y="216"/>
                    </a:cubicBezTo>
                    <a:cubicBezTo>
                      <a:pt x="281" y="216"/>
                      <a:pt x="278" y="215"/>
                      <a:pt x="274" y="214"/>
                    </a:cubicBezTo>
                    <a:cubicBezTo>
                      <a:pt x="271" y="214"/>
                      <a:pt x="267" y="213"/>
                      <a:pt x="264" y="212"/>
                    </a:cubicBezTo>
                    <a:cubicBezTo>
                      <a:pt x="265" y="213"/>
                      <a:pt x="266" y="215"/>
                      <a:pt x="266" y="215"/>
                    </a:cubicBezTo>
                    <a:cubicBezTo>
                      <a:pt x="267" y="215"/>
                      <a:pt x="267" y="216"/>
                      <a:pt x="268" y="216"/>
                    </a:cubicBezTo>
                    <a:cubicBezTo>
                      <a:pt x="268" y="216"/>
                      <a:pt x="269" y="216"/>
                      <a:pt x="269" y="216"/>
                    </a:cubicBezTo>
                    <a:cubicBezTo>
                      <a:pt x="269" y="216"/>
                      <a:pt x="270" y="216"/>
                      <a:pt x="270" y="216"/>
                    </a:cubicBezTo>
                    <a:cubicBezTo>
                      <a:pt x="271" y="216"/>
                      <a:pt x="271" y="216"/>
                      <a:pt x="272" y="216"/>
                    </a:cubicBezTo>
                    <a:cubicBezTo>
                      <a:pt x="272" y="216"/>
                      <a:pt x="273" y="216"/>
                      <a:pt x="273" y="217"/>
                    </a:cubicBezTo>
                    <a:cubicBezTo>
                      <a:pt x="275" y="218"/>
                      <a:pt x="276" y="219"/>
                      <a:pt x="277" y="221"/>
                    </a:cubicBezTo>
                    <a:cubicBezTo>
                      <a:pt x="276" y="221"/>
                      <a:pt x="276" y="221"/>
                      <a:pt x="276" y="221"/>
                    </a:cubicBezTo>
                    <a:cubicBezTo>
                      <a:pt x="276" y="221"/>
                      <a:pt x="275" y="221"/>
                      <a:pt x="275" y="221"/>
                    </a:cubicBezTo>
                    <a:cubicBezTo>
                      <a:pt x="275" y="221"/>
                      <a:pt x="275" y="221"/>
                      <a:pt x="275" y="221"/>
                    </a:cubicBezTo>
                    <a:cubicBezTo>
                      <a:pt x="273" y="221"/>
                      <a:pt x="271" y="221"/>
                      <a:pt x="271" y="222"/>
                    </a:cubicBezTo>
                    <a:cubicBezTo>
                      <a:pt x="271" y="223"/>
                      <a:pt x="273" y="224"/>
                      <a:pt x="276" y="224"/>
                    </a:cubicBezTo>
                    <a:cubicBezTo>
                      <a:pt x="280" y="225"/>
                      <a:pt x="283" y="226"/>
                      <a:pt x="284" y="227"/>
                    </a:cubicBezTo>
                    <a:cubicBezTo>
                      <a:pt x="285" y="227"/>
                      <a:pt x="285" y="228"/>
                      <a:pt x="286" y="228"/>
                    </a:cubicBezTo>
                    <a:cubicBezTo>
                      <a:pt x="286" y="228"/>
                      <a:pt x="286" y="229"/>
                      <a:pt x="287" y="229"/>
                    </a:cubicBezTo>
                    <a:cubicBezTo>
                      <a:pt x="288" y="229"/>
                      <a:pt x="289" y="229"/>
                      <a:pt x="290" y="229"/>
                    </a:cubicBezTo>
                    <a:cubicBezTo>
                      <a:pt x="290" y="229"/>
                      <a:pt x="290" y="229"/>
                      <a:pt x="290" y="229"/>
                    </a:cubicBezTo>
                    <a:cubicBezTo>
                      <a:pt x="291" y="229"/>
                      <a:pt x="292" y="229"/>
                      <a:pt x="293" y="229"/>
                    </a:cubicBezTo>
                    <a:cubicBezTo>
                      <a:pt x="296" y="229"/>
                      <a:pt x="298" y="228"/>
                      <a:pt x="299" y="228"/>
                    </a:cubicBezTo>
                    <a:cubicBezTo>
                      <a:pt x="300" y="228"/>
                      <a:pt x="300" y="228"/>
                      <a:pt x="300" y="228"/>
                    </a:cubicBezTo>
                    <a:cubicBezTo>
                      <a:pt x="303" y="227"/>
                      <a:pt x="307" y="226"/>
                      <a:pt x="310" y="226"/>
                    </a:cubicBezTo>
                    <a:cubicBezTo>
                      <a:pt x="310" y="226"/>
                      <a:pt x="311" y="226"/>
                      <a:pt x="311" y="226"/>
                    </a:cubicBezTo>
                    <a:cubicBezTo>
                      <a:pt x="313" y="226"/>
                      <a:pt x="313" y="227"/>
                      <a:pt x="313" y="227"/>
                    </a:cubicBezTo>
                    <a:cubicBezTo>
                      <a:pt x="313" y="228"/>
                      <a:pt x="314" y="229"/>
                      <a:pt x="314" y="230"/>
                    </a:cubicBezTo>
                    <a:cubicBezTo>
                      <a:pt x="315" y="230"/>
                      <a:pt x="316" y="231"/>
                      <a:pt x="317" y="231"/>
                    </a:cubicBezTo>
                    <a:cubicBezTo>
                      <a:pt x="317" y="231"/>
                      <a:pt x="317" y="231"/>
                      <a:pt x="318" y="231"/>
                    </a:cubicBezTo>
                    <a:cubicBezTo>
                      <a:pt x="319" y="231"/>
                      <a:pt x="320" y="230"/>
                      <a:pt x="321" y="230"/>
                    </a:cubicBezTo>
                    <a:cubicBezTo>
                      <a:pt x="322" y="229"/>
                      <a:pt x="323" y="229"/>
                      <a:pt x="324" y="228"/>
                    </a:cubicBezTo>
                    <a:cubicBezTo>
                      <a:pt x="324" y="229"/>
                      <a:pt x="324" y="230"/>
                      <a:pt x="324" y="231"/>
                    </a:cubicBezTo>
                    <a:cubicBezTo>
                      <a:pt x="324" y="233"/>
                      <a:pt x="324" y="236"/>
                      <a:pt x="326" y="236"/>
                    </a:cubicBezTo>
                    <a:cubicBezTo>
                      <a:pt x="326" y="238"/>
                      <a:pt x="323" y="238"/>
                      <a:pt x="321" y="238"/>
                    </a:cubicBezTo>
                    <a:cubicBezTo>
                      <a:pt x="320" y="238"/>
                      <a:pt x="319" y="239"/>
                      <a:pt x="318" y="239"/>
                    </a:cubicBezTo>
                    <a:cubicBezTo>
                      <a:pt x="317" y="239"/>
                      <a:pt x="316" y="240"/>
                      <a:pt x="315" y="241"/>
                    </a:cubicBezTo>
                    <a:cubicBezTo>
                      <a:pt x="314" y="241"/>
                      <a:pt x="314" y="242"/>
                      <a:pt x="313" y="242"/>
                    </a:cubicBezTo>
                    <a:cubicBezTo>
                      <a:pt x="313" y="242"/>
                      <a:pt x="313" y="242"/>
                      <a:pt x="313" y="242"/>
                    </a:cubicBezTo>
                    <a:cubicBezTo>
                      <a:pt x="312" y="242"/>
                      <a:pt x="312" y="242"/>
                      <a:pt x="311" y="242"/>
                    </a:cubicBezTo>
                    <a:cubicBezTo>
                      <a:pt x="311" y="243"/>
                      <a:pt x="306" y="244"/>
                      <a:pt x="304" y="245"/>
                    </a:cubicBezTo>
                    <a:cubicBezTo>
                      <a:pt x="303" y="245"/>
                      <a:pt x="303" y="246"/>
                      <a:pt x="302" y="247"/>
                    </a:cubicBezTo>
                    <a:cubicBezTo>
                      <a:pt x="301" y="248"/>
                      <a:pt x="301" y="248"/>
                      <a:pt x="300" y="249"/>
                    </a:cubicBezTo>
                    <a:cubicBezTo>
                      <a:pt x="300" y="249"/>
                      <a:pt x="298" y="249"/>
                      <a:pt x="297" y="250"/>
                    </a:cubicBezTo>
                    <a:cubicBezTo>
                      <a:pt x="296" y="250"/>
                      <a:pt x="295" y="250"/>
                      <a:pt x="295" y="251"/>
                    </a:cubicBezTo>
                    <a:cubicBezTo>
                      <a:pt x="293" y="252"/>
                      <a:pt x="292" y="252"/>
                      <a:pt x="292" y="253"/>
                    </a:cubicBezTo>
                    <a:cubicBezTo>
                      <a:pt x="292" y="254"/>
                      <a:pt x="292" y="254"/>
                      <a:pt x="292" y="254"/>
                    </a:cubicBezTo>
                    <a:cubicBezTo>
                      <a:pt x="292" y="258"/>
                      <a:pt x="302" y="260"/>
                      <a:pt x="309" y="261"/>
                    </a:cubicBezTo>
                    <a:cubicBezTo>
                      <a:pt x="310" y="261"/>
                      <a:pt x="312" y="262"/>
                      <a:pt x="313" y="262"/>
                    </a:cubicBezTo>
                    <a:cubicBezTo>
                      <a:pt x="316" y="263"/>
                      <a:pt x="321" y="263"/>
                      <a:pt x="323" y="266"/>
                    </a:cubicBezTo>
                    <a:cubicBezTo>
                      <a:pt x="323" y="267"/>
                      <a:pt x="324" y="269"/>
                      <a:pt x="324" y="270"/>
                    </a:cubicBezTo>
                    <a:cubicBezTo>
                      <a:pt x="324" y="273"/>
                      <a:pt x="322" y="273"/>
                      <a:pt x="322" y="274"/>
                    </a:cubicBezTo>
                    <a:cubicBezTo>
                      <a:pt x="321" y="275"/>
                      <a:pt x="321" y="275"/>
                      <a:pt x="321" y="276"/>
                    </a:cubicBezTo>
                    <a:cubicBezTo>
                      <a:pt x="321" y="277"/>
                      <a:pt x="321" y="278"/>
                      <a:pt x="321" y="279"/>
                    </a:cubicBezTo>
                    <a:cubicBezTo>
                      <a:pt x="321" y="281"/>
                      <a:pt x="322" y="282"/>
                      <a:pt x="322" y="282"/>
                    </a:cubicBezTo>
                    <a:cubicBezTo>
                      <a:pt x="320" y="282"/>
                      <a:pt x="318" y="282"/>
                      <a:pt x="317" y="283"/>
                    </a:cubicBezTo>
                    <a:cubicBezTo>
                      <a:pt x="317" y="284"/>
                      <a:pt x="318" y="284"/>
                      <a:pt x="318" y="285"/>
                    </a:cubicBezTo>
                    <a:cubicBezTo>
                      <a:pt x="319" y="285"/>
                      <a:pt x="320" y="285"/>
                      <a:pt x="321" y="286"/>
                    </a:cubicBezTo>
                    <a:cubicBezTo>
                      <a:pt x="323" y="287"/>
                      <a:pt x="324" y="289"/>
                      <a:pt x="326" y="289"/>
                    </a:cubicBezTo>
                    <a:cubicBezTo>
                      <a:pt x="327" y="289"/>
                      <a:pt x="327" y="289"/>
                      <a:pt x="327" y="289"/>
                    </a:cubicBezTo>
                    <a:cubicBezTo>
                      <a:pt x="328" y="289"/>
                      <a:pt x="329" y="288"/>
                      <a:pt x="330" y="288"/>
                    </a:cubicBezTo>
                    <a:cubicBezTo>
                      <a:pt x="337" y="284"/>
                      <a:pt x="345" y="280"/>
                      <a:pt x="353" y="277"/>
                    </a:cubicBezTo>
                    <a:cubicBezTo>
                      <a:pt x="360" y="273"/>
                      <a:pt x="367" y="269"/>
                      <a:pt x="375" y="266"/>
                    </a:cubicBezTo>
                    <a:cubicBezTo>
                      <a:pt x="376" y="265"/>
                      <a:pt x="377" y="265"/>
                      <a:pt x="379" y="265"/>
                    </a:cubicBezTo>
                    <a:cubicBezTo>
                      <a:pt x="381" y="265"/>
                      <a:pt x="383" y="266"/>
                      <a:pt x="386" y="267"/>
                    </a:cubicBezTo>
                    <a:cubicBezTo>
                      <a:pt x="387" y="268"/>
                      <a:pt x="387" y="268"/>
                      <a:pt x="388" y="268"/>
                    </a:cubicBezTo>
                    <a:cubicBezTo>
                      <a:pt x="388" y="268"/>
                      <a:pt x="388" y="268"/>
                      <a:pt x="388" y="268"/>
                    </a:cubicBezTo>
                    <a:cubicBezTo>
                      <a:pt x="389" y="268"/>
                      <a:pt x="389" y="269"/>
                      <a:pt x="389" y="269"/>
                    </a:cubicBezTo>
                    <a:cubicBezTo>
                      <a:pt x="391" y="269"/>
                      <a:pt x="393" y="268"/>
                      <a:pt x="395" y="267"/>
                    </a:cubicBezTo>
                    <a:cubicBezTo>
                      <a:pt x="395" y="267"/>
                      <a:pt x="395" y="267"/>
                      <a:pt x="395" y="267"/>
                    </a:cubicBezTo>
                    <a:cubicBezTo>
                      <a:pt x="396" y="267"/>
                      <a:pt x="396" y="267"/>
                      <a:pt x="396" y="267"/>
                    </a:cubicBezTo>
                    <a:cubicBezTo>
                      <a:pt x="397" y="268"/>
                      <a:pt x="397" y="268"/>
                      <a:pt x="398" y="268"/>
                    </a:cubicBezTo>
                    <a:cubicBezTo>
                      <a:pt x="398" y="268"/>
                      <a:pt x="398" y="268"/>
                      <a:pt x="398" y="268"/>
                    </a:cubicBezTo>
                    <a:cubicBezTo>
                      <a:pt x="398" y="268"/>
                      <a:pt x="399" y="268"/>
                      <a:pt x="399" y="268"/>
                    </a:cubicBezTo>
                    <a:cubicBezTo>
                      <a:pt x="399" y="268"/>
                      <a:pt x="400" y="267"/>
                      <a:pt x="400" y="267"/>
                    </a:cubicBezTo>
                    <a:cubicBezTo>
                      <a:pt x="403" y="266"/>
                      <a:pt x="402" y="264"/>
                      <a:pt x="403" y="261"/>
                    </a:cubicBezTo>
                    <a:cubicBezTo>
                      <a:pt x="404" y="259"/>
                      <a:pt x="405" y="258"/>
                      <a:pt x="405" y="258"/>
                    </a:cubicBezTo>
                    <a:cubicBezTo>
                      <a:pt x="406" y="257"/>
                      <a:pt x="407" y="257"/>
                      <a:pt x="407" y="257"/>
                    </a:cubicBezTo>
                    <a:cubicBezTo>
                      <a:pt x="408" y="257"/>
                      <a:pt x="409" y="256"/>
                      <a:pt x="409" y="256"/>
                    </a:cubicBezTo>
                    <a:cubicBezTo>
                      <a:pt x="408" y="256"/>
                      <a:pt x="407" y="256"/>
                      <a:pt x="406" y="256"/>
                    </a:cubicBezTo>
                    <a:cubicBezTo>
                      <a:pt x="405" y="256"/>
                      <a:pt x="405" y="256"/>
                      <a:pt x="405" y="256"/>
                    </a:cubicBezTo>
                    <a:cubicBezTo>
                      <a:pt x="404" y="256"/>
                      <a:pt x="402" y="256"/>
                      <a:pt x="400" y="256"/>
                    </a:cubicBezTo>
                    <a:cubicBezTo>
                      <a:pt x="399" y="256"/>
                      <a:pt x="399" y="256"/>
                      <a:pt x="398" y="256"/>
                    </a:cubicBezTo>
                    <a:cubicBezTo>
                      <a:pt x="397" y="256"/>
                      <a:pt x="395" y="256"/>
                      <a:pt x="393" y="256"/>
                    </a:cubicBezTo>
                    <a:cubicBezTo>
                      <a:pt x="393" y="256"/>
                      <a:pt x="392" y="256"/>
                      <a:pt x="391" y="256"/>
                    </a:cubicBezTo>
                    <a:cubicBezTo>
                      <a:pt x="390" y="256"/>
                      <a:pt x="389" y="255"/>
                      <a:pt x="388" y="255"/>
                    </a:cubicBezTo>
                    <a:cubicBezTo>
                      <a:pt x="387" y="255"/>
                      <a:pt x="387" y="255"/>
                      <a:pt x="386" y="255"/>
                    </a:cubicBezTo>
                    <a:cubicBezTo>
                      <a:pt x="386" y="255"/>
                      <a:pt x="386" y="255"/>
                      <a:pt x="386" y="255"/>
                    </a:cubicBezTo>
                    <a:cubicBezTo>
                      <a:pt x="385" y="255"/>
                      <a:pt x="385" y="255"/>
                      <a:pt x="384" y="255"/>
                    </a:cubicBezTo>
                    <a:cubicBezTo>
                      <a:pt x="383" y="255"/>
                      <a:pt x="381" y="258"/>
                      <a:pt x="379" y="258"/>
                    </a:cubicBezTo>
                    <a:cubicBezTo>
                      <a:pt x="379" y="258"/>
                      <a:pt x="379" y="258"/>
                      <a:pt x="379" y="258"/>
                    </a:cubicBezTo>
                    <a:cubicBezTo>
                      <a:pt x="375" y="258"/>
                      <a:pt x="374" y="254"/>
                      <a:pt x="371" y="252"/>
                    </a:cubicBezTo>
                    <a:cubicBezTo>
                      <a:pt x="366" y="246"/>
                      <a:pt x="363" y="242"/>
                      <a:pt x="360" y="236"/>
                    </a:cubicBezTo>
                    <a:cubicBezTo>
                      <a:pt x="360" y="234"/>
                      <a:pt x="359" y="232"/>
                      <a:pt x="358" y="229"/>
                    </a:cubicBezTo>
                    <a:cubicBezTo>
                      <a:pt x="358" y="228"/>
                      <a:pt x="358" y="227"/>
                      <a:pt x="358" y="226"/>
                    </a:cubicBezTo>
                    <a:cubicBezTo>
                      <a:pt x="358" y="226"/>
                      <a:pt x="359" y="225"/>
                      <a:pt x="360" y="225"/>
                    </a:cubicBezTo>
                    <a:cubicBezTo>
                      <a:pt x="360" y="224"/>
                      <a:pt x="361" y="224"/>
                      <a:pt x="362" y="224"/>
                    </a:cubicBezTo>
                    <a:cubicBezTo>
                      <a:pt x="363" y="224"/>
                      <a:pt x="364" y="223"/>
                      <a:pt x="366" y="223"/>
                    </a:cubicBezTo>
                    <a:cubicBezTo>
                      <a:pt x="367" y="222"/>
                      <a:pt x="368" y="217"/>
                      <a:pt x="368" y="215"/>
                    </a:cubicBezTo>
                    <a:cubicBezTo>
                      <a:pt x="369" y="216"/>
                      <a:pt x="370" y="217"/>
                      <a:pt x="371" y="218"/>
                    </a:cubicBezTo>
                    <a:cubicBezTo>
                      <a:pt x="370" y="219"/>
                      <a:pt x="370" y="219"/>
                      <a:pt x="372" y="220"/>
                    </a:cubicBezTo>
                    <a:cubicBezTo>
                      <a:pt x="375" y="221"/>
                      <a:pt x="364" y="229"/>
                      <a:pt x="363" y="229"/>
                    </a:cubicBezTo>
                    <a:cubicBezTo>
                      <a:pt x="367" y="226"/>
                      <a:pt x="372" y="223"/>
                      <a:pt x="376" y="220"/>
                    </a:cubicBezTo>
                    <a:cubicBezTo>
                      <a:pt x="376" y="219"/>
                      <a:pt x="377" y="218"/>
                      <a:pt x="378" y="217"/>
                    </a:cubicBezTo>
                    <a:cubicBezTo>
                      <a:pt x="379" y="216"/>
                      <a:pt x="380" y="215"/>
                      <a:pt x="381" y="215"/>
                    </a:cubicBezTo>
                    <a:cubicBezTo>
                      <a:pt x="383" y="213"/>
                      <a:pt x="384" y="212"/>
                      <a:pt x="386" y="211"/>
                    </a:cubicBezTo>
                    <a:cubicBezTo>
                      <a:pt x="387" y="211"/>
                      <a:pt x="387" y="210"/>
                      <a:pt x="387" y="210"/>
                    </a:cubicBezTo>
                    <a:cubicBezTo>
                      <a:pt x="389" y="210"/>
                      <a:pt x="390" y="210"/>
                      <a:pt x="391" y="210"/>
                    </a:cubicBezTo>
                    <a:cubicBezTo>
                      <a:pt x="392" y="209"/>
                      <a:pt x="393" y="210"/>
                      <a:pt x="394" y="209"/>
                    </a:cubicBezTo>
                    <a:cubicBezTo>
                      <a:pt x="397" y="209"/>
                      <a:pt x="399" y="208"/>
                      <a:pt x="402" y="207"/>
                    </a:cubicBezTo>
                    <a:cubicBezTo>
                      <a:pt x="404" y="206"/>
                      <a:pt x="405" y="206"/>
                      <a:pt x="406" y="206"/>
                    </a:cubicBezTo>
                    <a:cubicBezTo>
                      <a:pt x="407" y="205"/>
                      <a:pt x="408" y="205"/>
                      <a:pt x="409" y="205"/>
                    </a:cubicBezTo>
                    <a:cubicBezTo>
                      <a:pt x="409" y="205"/>
                      <a:pt x="410" y="205"/>
                      <a:pt x="410" y="205"/>
                    </a:cubicBezTo>
                    <a:cubicBezTo>
                      <a:pt x="411" y="206"/>
                      <a:pt x="412" y="206"/>
                      <a:pt x="412" y="206"/>
                    </a:cubicBezTo>
                    <a:cubicBezTo>
                      <a:pt x="413" y="206"/>
                      <a:pt x="413" y="206"/>
                      <a:pt x="413" y="207"/>
                    </a:cubicBezTo>
                    <a:cubicBezTo>
                      <a:pt x="414" y="207"/>
                      <a:pt x="413" y="208"/>
                      <a:pt x="414" y="210"/>
                    </a:cubicBezTo>
                    <a:cubicBezTo>
                      <a:pt x="415" y="208"/>
                      <a:pt x="417" y="206"/>
                      <a:pt x="419" y="203"/>
                    </a:cubicBezTo>
                    <a:cubicBezTo>
                      <a:pt x="420" y="203"/>
                      <a:pt x="421" y="202"/>
                      <a:pt x="422" y="202"/>
                    </a:cubicBezTo>
                    <a:cubicBezTo>
                      <a:pt x="424" y="201"/>
                      <a:pt x="426" y="202"/>
                      <a:pt x="428" y="201"/>
                    </a:cubicBezTo>
                    <a:cubicBezTo>
                      <a:pt x="429" y="201"/>
                      <a:pt x="430" y="200"/>
                      <a:pt x="431" y="199"/>
                    </a:cubicBezTo>
                    <a:cubicBezTo>
                      <a:pt x="434" y="196"/>
                      <a:pt x="435" y="195"/>
                      <a:pt x="438" y="194"/>
                    </a:cubicBezTo>
                    <a:cubicBezTo>
                      <a:pt x="440" y="194"/>
                      <a:pt x="442" y="193"/>
                      <a:pt x="445" y="193"/>
                    </a:cubicBezTo>
                    <a:cubicBezTo>
                      <a:pt x="445" y="193"/>
                      <a:pt x="445" y="193"/>
                      <a:pt x="445" y="193"/>
                    </a:cubicBezTo>
                    <a:cubicBezTo>
                      <a:pt x="446" y="193"/>
                      <a:pt x="446" y="193"/>
                      <a:pt x="447" y="193"/>
                    </a:cubicBezTo>
                    <a:cubicBezTo>
                      <a:pt x="447" y="193"/>
                      <a:pt x="447" y="193"/>
                      <a:pt x="448" y="193"/>
                    </a:cubicBezTo>
                    <a:cubicBezTo>
                      <a:pt x="449" y="193"/>
                      <a:pt x="450" y="193"/>
                      <a:pt x="451" y="193"/>
                    </a:cubicBezTo>
                    <a:cubicBezTo>
                      <a:pt x="451" y="193"/>
                      <a:pt x="451" y="193"/>
                      <a:pt x="451" y="193"/>
                    </a:cubicBezTo>
                    <a:cubicBezTo>
                      <a:pt x="452" y="193"/>
                      <a:pt x="453" y="193"/>
                      <a:pt x="454" y="193"/>
                    </a:cubicBezTo>
                    <a:cubicBezTo>
                      <a:pt x="455" y="193"/>
                      <a:pt x="455" y="193"/>
                      <a:pt x="455" y="193"/>
                    </a:cubicBezTo>
                    <a:cubicBezTo>
                      <a:pt x="455" y="193"/>
                      <a:pt x="455" y="193"/>
                      <a:pt x="455" y="193"/>
                    </a:cubicBezTo>
                    <a:cubicBezTo>
                      <a:pt x="453" y="192"/>
                      <a:pt x="453" y="192"/>
                      <a:pt x="453" y="192"/>
                    </a:cubicBezTo>
                    <a:cubicBezTo>
                      <a:pt x="453" y="192"/>
                      <a:pt x="453" y="190"/>
                      <a:pt x="453" y="188"/>
                    </a:cubicBezTo>
                    <a:cubicBezTo>
                      <a:pt x="453" y="187"/>
                      <a:pt x="453" y="185"/>
                      <a:pt x="453" y="182"/>
                    </a:cubicBezTo>
                    <a:cubicBezTo>
                      <a:pt x="454" y="176"/>
                      <a:pt x="458" y="171"/>
                      <a:pt x="465" y="170"/>
                    </a:cubicBezTo>
                    <a:cubicBezTo>
                      <a:pt x="469" y="169"/>
                      <a:pt x="472" y="167"/>
                      <a:pt x="474" y="165"/>
                    </a:cubicBezTo>
                    <a:cubicBezTo>
                      <a:pt x="476" y="164"/>
                      <a:pt x="478" y="163"/>
                      <a:pt x="481" y="163"/>
                    </a:cubicBezTo>
                    <a:cubicBezTo>
                      <a:pt x="484" y="163"/>
                      <a:pt x="487" y="164"/>
                      <a:pt x="492" y="165"/>
                    </a:cubicBezTo>
                    <a:cubicBezTo>
                      <a:pt x="493" y="165"/>
                      <a:pt x="493" y="165"/>
                      <a:pt x="494" y="165"/>
                    </a:cubicBezTo>
                    <a:cubicBezTo>
                      <a:pt x="496" y="165"/>
                      <a:pt x="496" y="164"/>
                      <a:pt x="496" y="164"/>
                    </a:cubicBezTo>
                    <a:cubicBezTo>
                      <a:pt x="496" y="164"/>
                      <a:pt x="496" y="164"/>
                      <a:pt x="496" y="164"/>
                    </a:cubicBezTo>
                    <a:cubicBezTo>
                      <a:pt x="496" y="163"/>
                      <a:pt x="496" y="163"/>
                      <a:pt x="496" y="163"/>
                    </a:cubicBezTo>
                    <a:cubicBezTo>
                      <a:pt x="497" y="162"/>
                      <a:pt x="500" y="154"/>
                      <a:pt x="502" y="152"/>
                    </a:cubicBezTo>
                    <a:cubicBezTo>
                      <a:pt x="502" y="151"/>
                      <a:pt x="503" y="150"/>
                      <a:pt x="500" y="145"/>
                    </a:cubicBezTo>
                    <a:cubicBezTo>
                      <a:pt x="499" y="143"/>
                      <a:pt x="498" y="142"/>
                      <a:pt x="496" y="142"/>
                    </a:cubicBezTo>
                    <a:cubicBezTo>
                      <a:pt x="495" y="142"/>
                      <a:pt x="495" y="142"/>
                      <a:pt x="495" y="142"/>
                    </a:cubicBezTo>
                    <a:cubicBezTo>
                      <a:pt x="494" y="141"/>
                      <a:pt x="494" y="141"/>
                      <a:pt x="494" y="141"/>
                    </a:cubicBezTo>
                    <a:cubicBezTo>
                      <a:pt x="493" y="140"/>
                      <a:pt x="493" y="138"/>
                      <a:pt x="493" y="136"/>
                    </a:cubicBezTo>
                    <a:cubicBezTo>
                      <a:pt x="494" y="134"/>
                      <a:pt x="496" y="132"/>
                      <a:pt x="499" y="130"/>
                    </a:cubicBezTo>
                    <a:cubicBezTo>
                      <a:pt x="497" y="130"/>
                      <a:pt x="497" y="129"/>
                      <a:pt x="496" y="128"/>
                    </a:cubicBezTo>
                    <a:cubicBezTo>
                      <a:pt x="495" y="127"/>
                      <a:pt x="495" y="127"/>
                      <a:pt x="495" y="127"/>
                    </a:cubicBezTo>
                    <a:cubicBezTo>
                      <a:pt x="492" y="125"/>
                      <a:pt x="492" y="125"/>
                      <a:pt x="492" y="125"/>
                    </a:cubicBezTo>
                    <a:cubicBezTo>
                      <a:pt x="495" y="123"/>
                      <a:pt x="495" y="123"/>
                      <a:pt x="495" y="123"/>
                    </a:cubicBezTo>
                    <a:cubicBezTo>
                      <a:pt x="500" y="120"/>
                      <a:pt x="506" y="115"/>
                      <a:pt x="506" y="114"/>
                    </a:cubicBezTo>
                    <a:cubicBezTo>
                      <a:pt x="506" y="114"/>
                      <a:pt x="506" y="114"/>
                      <a:pt x="506" y="114"/>
                    </a:cubicBezTo>
                    <a:cubicBezTo>
                      <a:pt x="507" y="112"/>
                      <a:pt x="508" y="109"/>
                      <a:pt x="507" y="105"/>
                    </a:cubicBezTo>
                    <a:cubicBezTo>
                      <a:pt x="505" y="106"/>
                      <a:pt x="503" y="106"/>
                      <a:pt x="501" y="106"/>
                    </a:cubicBezTo>
                    <a:cubicBezTo>
                      <a:pt x="496" y="106"/>
                      <a:pt x="492" y="102"/>
                      <a:pt x="489" y="99"/>
                    </a:cubicBezTo>
                    <a:cubicBezTo>
                      <a:pt x="489" y="99"/>
                      <a:pt x="488" y="98"/>
                      <a:pt x="487" y="97"/>
                    </a:cubicBezTo>
                    <a:cubicBezTo>
                      <a:pt x="485" y="95"/>
                      <a:pt x="483" y="94"/>
                      <a:pt x="482" y="94"/>
                    </a:cubicBezTo>
                    <a:cubicBezTo>
                      <a:pt x="481" y="94"/>
                      <a:pt x="480" y="95"/>
                      <a:pt x="479" y="95"/>
                    </a:cubicBezTo>
                    <a:cubicBezTo>
                      <a:pt x="478" y="96"/>
                      <a:pt x="477" y="96"/>
                      <a:pt x="476" y="96"/>
                    </a:cubicBezTo>
                    <a:cubicBezTo>
                      <a:pt x="476" y="96"/>
                      <a:pt x="476" y="96"/>
                      <a:pt x="476" y="96"/>
                    </a:cubicBezTo>
                    <a:cubicBezTo>
                      <a:pt x="475" y="96"/>
                      <a:pt x="475" y="96"/>
                      <a:pt x="475" y="96"/>
                    </a:cubicBezTo>
                    <a:cubicBezTo>
                      <a:pt x="474" y="96"/>
                      <a:pt x="474" y="96"/>
                      <a:pt x="474" y="96"/>
                    </a:cubicBezTo>
                    <a:cubicBezTo>
                      <a:pt x="472" y="96"/>
                      <a:pt x="470" y="94"/>
                      <a:pt x="469" y="93"/>
                    </a:cubicBezTo>
                    <a:cubicBezTo>
                      <a:pt x="469" y="92"/>
                      <a:pt x="467" y="89"/>
                      <a:pt x="464" y="89"/>
                    </a:cubicBezTo>
                    <a:cubicBezTo>
                      <a:pt x="462" y="89"/>
                      <a:pt x="460" y="88"/>
                      <a:pt x="459" y="87"/>
                    </a:cubicBezTo>
                    <a:cubicBezTo>
                      <a:pt x="458" y="87"/>
                      <a:pt x="457" y="87"/>
                      <a:pt x="457" y="87"/>
                    </a:cubicBezTo>
                    <a:cubicBezTo>
                      <a:pt x="457" y="87"/>
                      <a:pt x="457" y="87"/>
                      <a:pt x="457" y="87"/>
                    </a:cubicBezTo>
                    <a:cubicBezTo>
                      <a:pt x="456" y="87"/>
                      <a:pt x="453" y="90"/>
                      <a:pt x="450" y="92"/>
                    </a:cubicBezTo>
                    <a:cubicBezTo>
                      <a:pt x="449" y="94"/>
                      <a:pt x="449" y="94"/>
                      <a:pt x="449" y="94"/>
                    </a:cubicBezTo>
                    <a:cubicBezTo>
                      <a:pt x="447" y="92"/>
                      <a:pt x="447" y="92"/>
                      <a:pt x="447" y="92"/>
                    </a:cubicBezTo>
                    <a:cubicBezTo>
                      <a:pt x="447" y="92"/>
                      <a:pt x="440" y="81"/>
                      <a:pt x="436" y="77"/>
                    </a:cubicBezTo>
                    <a:cubicBezTo>
                      <a:pt x="434" y="74"/>
                      <a:pt x="433" y="74"/>
                      <a:pt x="432" y="73"/>
                    </a:cubicBezTo>
                    <a:cubicBezTo>
                      <a:pt x="430" y="74"/>
                      <a:pt x="424" y="76"/>
                      <a:pt x="419" y="78"/>
                    </a:cubicBezTo>
                    <a:cubicBezTo>
                      <a:pt x="416" y="79"/>
                      <a:pt x="413" y="79"/>
                      <a:pt x="410" y="79"/>
                    </a:cubicBezTo>
                    <a:cubicBezTo>
                      <a:pt x="406" y="79"/>
                      <a:pt x="401" y="78"/>
                      <a:pt x="399" y="76"/>
                    </a:cubicBezTo>
                    <a:cubicBezTo>
                      <a:pt x="397" y="75"/>
                      <a:pt x="395" y="74"/>
                      <a:pt x="393" y="74"/>
                    </a:cubicBezTo>
                    <a:cubicBezTo>
                      <a:pt x="391" y="74"/>
                      <a:pt x="390" y="74"/>
                      <a:pt x="389" y="75"/>
                    </a:cubicBezTo>
                    <a:cubicBezTo>
                      <a:pt x="387" y="76"/>
                      <a:pt x="386" y="76"/>
                      <a:pt x="384" y="76"/>
                    </a:cubicBezTo>
                    <a:cubicBezTo>
                      <a:pt x="382" y="76"/>
                      <a:pt x="380" y="75"/>
                      <a:pt x="378" y="74"/>
                    </a:cubicBezTo>
                    <a:cubicBezTo>
                      <a:pt x="376" y="72"/>
                      <a:pt x="373" y="69"/>
                      <a:pt x="374" y="66"/>
                    </a:cubicBezTo>
                    <a:cubicBezTo>
                      <a:pt x="374" y="65"/>
                      <a:pt x="373" y="61"/>
                      <a:pt x="371" y="57"/>
                    </a:cubicBezTo>
                    <a:cubicBezTo>
                      <a:pt x="369" y="54"/>
                      <a:pt x="370" y="52"/>
                      <a:pt x="370" y="50"/>
                    </a:cubicBezTo>
                    <a:cubicBezTo>
                      <a:pt x="369" y="49"/>
                      <a:pt x="368" y="48"/>
                      <a:pt x="366" y="47"/>
                    </a:cubicBezTo>
                    <a:cubicBezTo>
                      <a:pt x="363" y="45"/>
                      <a:pt x="362" y="45"/>
                      <a:pt x="361" y="45"/>
                    </a:cubicBezTo>
                    <a:cubicBezTo>
                      <a:pt x="361" y="45"/>
                      <a:pt x="361" y="45"/>
                      <a:pt x="360" y="45"/>
                    </a:cubicBezTo>
                    <a:cubicBezTo>
                      <a:pt x="359" y="45"/>
                      <a:pt x="358" y="46"/>
                      <a:pt x="356" y="46"/>
                    </a:cubicBezTo>
                    <a:cubicBezTo>
                      <a:pt x="354" y="46"/>
                      <a:pt x="352" y="45"/>
                      <a:pt x="350" y="44"/>
                    </a:cubicBezTo>
                    <a:cubicBezTo>
                      <a:pt x="349" y="43"/>
                      <a:pt x="348" y="43"/>
                      <a:pt x="347" y="43"/>
                    </a:cubicBezTo>
                    <a:cubicBezTo>
                      <a:pt x="346" y="43"/>
                      <a:pt x="345" y="43"/>
                      <a:pt x="343" y="43"/>
                    </a:cubicBezTo>
                    <a:cubicBezTo>
                      <a:pt x="343" y="43"/>
                      <a:pt x="343" y="43"/>
                      <a:pt x="342" y="43"/>
                    </a:cubicBezTo>
                    <a:cubicBezTo>
                      <a:pt x="341" y="43"/>
                      <a:pt x="340" y="43"/>
                      <a:pt x="340" y="42"/>
                    </a:cubicBezTo>
                    <a:cubicBezTo>
                      <a:pt x="338" y="41"/>
                      <a:pt x="338" y="38"/>
                      <a:pt x="339" y="34"/>
                    </a:cubicBezTo>
                    <a:cubicBezTo>
                      <a:pt x="339" y="32"/>
                      <a:pt x="338" y="28"/>
                      <a:pt x="336" y="27"/>
                    </a:cubicBezTo>
                    <a:cubicBezTo>
                      <a:pt x="334" y="26"/>
                      <a:pt x="334" y="26"/>
                      <a:pt x="334" y="26"/>
                    </a:cubicBezTo>
                    <a:cubicBezTo>
                      <a:pt x="335" y="24"/>
                      <a:pt x="335" y="24"/>
                      <a:pt x="335" y="24"/>
                    </a:cubicBezTo>
                    <a:cubicBezTo>
                      <a:pt x="336" y="24"/>
                      <a:pt x="336" y="22"/>
                      <a:pt x="343" y="20"/>
                    </a:cubicBezTo>
                    <a:cubicBezTo>
                      <a:pt x="342" y="19"/>
                      <a:pt x="341" y="18"/>
                      <a:pt x="340" y="18"/>
                    </a:cubicBezTo>
                    <a:cubicBezTo>
                      <a:pt x="336" y="16"/>
                      <a:pt x="334" y="12"/>
                      <a:pt x="335" y="8"/>
                    </a:cubicBezTo>
                    <a:cubicBezTo>
                      <a:pt x="335" y="8"/>
                      <a:pt x="335" y="6"/>
                      <a:pt x="328" y="1"/>
                    </a:cubicBezTo>
                    <a:cubicBezTo>
                      <a:pt x="328" y="0"/>
                      <a:pt x="328" y="0"/>
                      <a:pt x="328" y="0"/>
                    </a:cubicBezTo>
                    <a:cubicBezTo>
                      <a:pt x="328" y="0"/>
                      <a:pt x="327" y="0"/>
                      <a:pt x="3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9" name="Group 723"/>
            <p:cNvGrpSpPr>
              <a:grpSpLocks noChangeAspect="1"/>
            </p:cNvGrpSpPr>
            <p:nvPr/>
          </p:nvGrpSpPr>
          <p:grpSpPr>
            <a:xfrm>
              <a:off x="5156200" y="-232098"/>
              <a:ext cx="2459038" cy="1411288"/>
              <a:chOff x="3248" y="-337"/>
              <a:chExt cx="1549" cy="889"/>
            </a:xfrm>
            <a:grpFill/>
          </p:grpSpPr>
          <p:sp>
            <p:nvSpPr>
              <p:cNvPr id="380" name="Freeform 724"/>
              <p:cNvSpPr/>
              <p:nvPr/>
            </p:nvSpPr>
            <p:spPr bwMode="auto">
              <a:xfrm>
                <a:off x="4297" y="-82"/>
                <a:ext cx="54" cy="31"/>
              </a:xfrm>
              <a:custGeom>
                <a:gdLst>
                  <a:gd name="T0" fmla="*/ 10 w 23"/>
                  <a:gd name="T1" fmla="*/ 2 h 13"/>
                  <a:gd name="T2" fmla="*/ 15 w 23"/>
                  <a:gd name="T3" fmla="*/ 13 h 13"/>
                  <a:gd name="T4" fmla="*/ 21 w 23"/>
                  <a:gd name="T5" fmla="*/ 12 h 13"/>
                  <a:gd name="T6" fmla="*/ 23 w 23"/>
                  <a:gd name="T7" fmla="*/ 9 h 13"/>
                  <a:gd name="T8" fmla="*/ 14 w 23"/>
                  <a:gd name="T9" fmla="*/ 5 h 13"/>
                  <a:gd name="T10" fmla="*/ 10 w 23"/>
                  <a:gd name="T11" fmla="*/ 2 h 13"/>
                </a:gdLst>
                <a:cxnLst>
                  <a:cxn ang="0">
                    <a:pos x="T0" y="T1"/>
                  </a:cxn>
                  <a:cxn ang="0">
                    <a:pos x="T2" y="T3"/>
                  </a:cxn>
                  <a:cxn ang="0">
                    <a:pos x="T4" y="T5"/>
                  </a:cxn>
                  <a:cxn ang="0">
                    <a:pos x="T6" y="T7"/>
                  </a:cxn>
                  <a:cxn ang="0">
                    <a:pos x="T8" y="T9"/>
                  </a:cxn>
                  <a:cxn ang="0">
                    <a:pos x="T10" y="T11"/>
                  </a:cxn>
                </a:cxnLst>
                <a:rect l="0" t="0" r="r" b="b"/>
                <a:pathLst>
                  <a:path w="23" h="13">
                    <a:moveTo>
                      <a:pt x="10" y="2"/>
                    </a:moveTo>
                    <a:cubicBezTo>
                      <a:pt x="0" y="0"/>
                      <a:pt x="13" y="12"/>
                      <a:pt x="15" y="13"/>
                    </a:cubicBezTo>
                    <a:cubicBezTo>
                      <a:pt x="17" y="13"/>
                      <a:pt x="19" y="13"/>
                      <a:pt x="21" y="12"/>
                    </a:cubicBezTo>
                    <a:cubicBezTo>
                      <a:pt x="22" y="11"/>
                      <a:pt x="21" y="10"/>
                      <a:pt x="23" y="9"/>
                    </a:cubicBezTo>
                    <a:cubicBezTo>
                      <a:pt x="20" y="8"/>
                      <a:pt x="17" y="7"/>
                      <a:pt x="14" y="5"/>
                    </a:cubicBezTo>
                    <a:cubicBezTo>
                      <a:pt x="13" y="4"/>
                      <a:pt x="12"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725"/>
              <p:cNvSpPr/>
              <p:nvPr/>
            </p:nvSpPr>
            <p:spPr bwMode="auto">
              <a:xfrm>
                <a:off x="3789" y="530"/>
                <a:ext cx="38" cy="22"/>
              </a:xfrm>
              <a:custGeom>
                <a:gdLst>
                  <a:gd name="T0" fmla="*/ 10 w 16"/>
                  <a:gd name="T1" fmla="*/ 9 h 9"/>
                  <a:gd name="T2" fmla="*/ 16 w 16"/>
                  <a:gd name="T3" fmla="*/ 4 h 9"/>
                  <a:gd name="T4" fmla="*/ 10 w 16"/>
                  <a:gd name="T5" fmla="*/ 0 h 9"/>
                  <a:gd name="T6" fmla="*/ 4 w 16"/>
                  <a:gd name="T7" fmla="*/ 0 h 9"/>
                  <a:gd name="T8" fmla="*/ 10 w 16"/>
                  <a:gd name="T9" fmla="*/ 9 h 9"/>
                </a:gdLst>
                <a:cxnLst>
                  <a:cxn ang="0">
                    <a:pos x="T0" y="T1"/>
                  </a:cxn>
                  <a:cxn ang="0">
                    <a:pos x="T2" y="T3"/>
                  </a:cxn>
                  <a:cxn ang="0">
                    <a:pos x="T4" y="T5"/>
                  </a:cxn>
                  <a:cxn ang="0">
                    <a:pos x="T6" y="T7"/>
                  </a:cxn>
                  <a:cxn ang="0">
                    <a:pos x="T8" y="T9"/>
                  </a:cxn>
                </a:cxnLst>
                <a:rect l="0" t="0" r="r" b="b"/>
                <a:pathLst>
                  <a:path w="16" h="9">
                    <a:moveTo>
                      <a:pt x="10" y="9"/>
                    </a:moveTo>
                    <a:cubicBezTo>
                      <a:pt x="12" y="9"/>
                      <a:pt x="16" y="6"/>
                      <a:pt x="16" y="4"/>
                    </a:cubicBezTo>
                    <a:cubicBezTo>
                      <a:pt x="16" y="0"/>
                      <a:pt x="12" y="0"/>
                      <a:pt x="10" y="0"/>
                    </a:cubicBezTo>
                    <a:cubicBezTo>
                      <a:pt x="8" y="0"/>
                      <a:pt x="6" y="0"/>
                      <a:pt x="4" y="0"/>
                    </a:cubicBezTo>
                    <a:cubicBezTo>
                      <a:pt x="0" y="1"/>
                      <a:pt x="9" y="8"/>
                      <a:pt x="1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726"/>
              <p:cNvSpPr/>
              <p:nvPr/>
            </p:nvSpPr>
            <p:spPr bwMode="auto">
              <a:xfrm>
                <a:off x="3248" y="-263"/>
                <a:ext cx="733" cy="512"/>
              </a:xfrm>
              <a:custGeom>
                <a:gdLst>
                  <a:gd name="T0" fmla="*/ 27 w 309"/>
                  <a:gd name="T1" fmla="*/ 47 h 215"/>
                  <a:gd name="T2" fmla="*/ 34 w 309"/>
                  <a:gd name="T3" fmla="*/ 57 h 215"/>
                  <a:gd name="T4" fmla="*/ 32 w 309"/>
                  <a:gd name="T5" fmla="*/ 69 h 215"/>
                  <a:gd name="T6" fmla="*/ 22 w 309"/>
                  <a:gd name="T7" fmla="*/ 82 h 215"/>
                  <a:gd name="T8" fmla="*/ 65 w 309"/>
                  <a:gd name="T9" fmla="*/ 95 h 215"/>
                  <a:gd name="T10" fmla="*/ 83 w 309"/>
                  <a:gd name="T11" fmla="*/ 116 h 215"/>
                  <a:gd name="T12" fmla="*/ 98 w 309"/>
                  <a:gd name="T13" fmla="*/ 110 h 215"/>
                  <a:gd name="T14" fmla="*/ 103 w 309"/>
                  <a:gd name="T15" fmla="*/ 99 h 215"/>
                  <a:gd name="T16" fmla="*/ 118 w 309"/>
                  <a:gd name="T17" fmla="*/ 91 h 215"/>
                  <a:gd name="T18" fmla="*/ 130 w 309"/>
                  <a:gd name="T19" fmla="*/ 76 h 215"/>
                  <a:gd name="T20" fmla="*/ 150 w 309"/>
                  <a:gd name="T21" fmla="*/ 98 h 215"/>
                  <a:gd name="T22" fmla="*/ 162 w 309"/>
                  <a:gd name="T23" fmla="*/ 87 h 215"/>
                  <a:gd name="T24" fmla="*/ 166 w 309"/>
                  <a:gd name="T25" fmla="*/ 102 h 215"/>
                  <a:gd name="T26" fmla="*/ 138 w 309"/>
                  <a:gd name="T27" fmla="*/ 115 h 215"/>
                  <a:gd name="T28" fmla="*/ 83 w 309"/>
                  <a:gd name="T29" fmla="*/ 124 h 215"/>
                  <a:gd name="T30" fmla="*/ 93 w 309"/>
                  <a:gd name="T31" fmla="*/ 143 h 215"/>
                  <a:gd name="T32" fmla="*/ 128 w 309"/>
                  <a:gd name="T33" fmla="*/ 138 h 215"/>
                  <a:gd name="T34" fmla="*/ 167 w 309"/>
                  <a:gd name="T35" fmla="*/ 137 h 215"/>
                  <a:gd name="T36" fmla="*/ 181 w 309"/>
                  <a:gd name="T37" fmla="*/ 141 h 215"/>
                  <a:gd name="T38" fmla="*/ 129 w 309"/>
                  <a:gd name="T39" fmla="*/ 145 h 215"/>
                  <a:gd name="T40" fmla="*/ 157 w 309"/>
                  <a:gd name="T41" fmla="*/ 160 h 215"/>
                  <a:gd name="T42" fmla="*/ 128 w 309"/>
                  <a:gd name="T43" fmla="*/ 156 h 215"/>
                  <a:gd name="T44" fmla="*/ 106 w 309"/>
                  <a:gd name="T45" fmla="*/ 157 h 215"/>
                  <a:gd name="T46" fmla="*/ 111 w 309"/>
                  <a:gd name="T47" fmla="*/ 179 h 215"/>
                  <a:gd name="T48" fmla="*/ 145 w 309"/>
                  <a:gd name="T49" fmla="*/ 185 h 215"/>
                  <a:gd name="T50" fmla="*/ 158 w 309"/>
                  <a:gd name="T51" fmla="*/ 190 h 215"/>
                  <a:gd name="T52" fmla="*/ 150 w 309"/>
                  <a:gd name="T53" fmla="*/ 203 h 215"/>
                  <a:gd name="T54" fmla="*/ 179 w 309"/>
                  <a:gd name="T55" fmla="*/ 212 h 215"/>
                  <a:gd name="T56" fmla="*/ 180 w 309"/>
                  <a:gd name="T57" fmla="*/ 197 h 215"/>
                  <a:gd name="T58" fmla="*/ 192 w 309"/>
                  <a:gd name="T59" fmla="*/ 175 h 215"/>
                  <a:gd name="T60" fmla="*/ 214 w 309"/>
                  <a:gd name="T61" fmla="*/ 159 h 215"/>
                  <a:gd name="T62" fmla="*/ 238 w 309"/>
                  <a:gd name="T63" fmla="*/ 118 h 215"/>
                  <a:gd name="T64" fmla="*/ 248 w 309"/>
                  <a:gd name="T65" fmla="*/ 97 h 215"/>
                  <a:gd name="T66" fmla="*/ 268 w 309"/>
                  <a:gd name="T67" fmla="*/ 89 h 215"/>
                  <a:gd name="T68" fmla="*/ 288 w 309"/>
                  <a:gd name="T69" fmla="*/ 86 h 215"/>
                  <a:gd name="T70" fmla="*/ 305 w 309"/>
                  <a:gd name="T71" fmla="*/ 84 h 215"/>
                  <a:gd name="T72" fmla="*/ 263 w 309"/>
                  <a:gd name="T73" fmla="*/ 65 h 215"/>
                  <a:gd name="T74" fmla="*/ 236 w 309"/>
                  <a:gd name="T75" fmla="*/ 56 h 215"/>
                  <a:gd name="T76" fmla="*/ 221 w 309"/>
                  <a:gd name="T77" fmla="*/ 31 h 215"/>
                  <a:gd name="T78" fmla="*/ 200 w 309"/>
                  <a:gd name="T79" fmla="*/ 38 h 215"/>
                  <a:gd name="T80" fmla="*/ 180 w 309"/>
                  <a:gd name="T81" fmla="*/ 12 h 215"/>
                  <a:gd name="T82" fmla="*/ 158 w 309"/>
                  <a:gd name="T83" fmla="*/ 3 h 215"/>
                  <a:gd name="T84" fmla="*/ 148 w 309"/>
                  <a:gd name="T85" fmla="*/ 22 h 215"/>
                  <a:gd name="T86" fmla="*/ 161 w 309"/>
                  <a:gd name="T87" fmla="*/ 51 h 215"/>
                  <a:gd name="T88" fmla="*/ 161 w 309"/>
                  <a:gd name="T89" fmla="*/ 66 h 215"/>
                  <a:gd name="T90" fmla="*/ 148 w 309"/>
                  <a:gd name="T91" fmla="*/ 54 h 215"/>
                  <a:gd name="T92" fmla="*/ 138 w 309"/>
                  <a:gd name="T93" fmla="*/ 36 h 215"/>
                  <a:gd name="T94" fmla="*/ 117 w 309"/>
                  <a:gd name="T95" fmla="*/ 15 h 215"/>
                  <a:gd name="T96" fmla="*/ 100 w 309"/>
                  <a:gd name="T97" fmla="*/ 41 h 215"/>
                  <a:gd name="T98" fmla="*/ 86 w 309"/>
                  <a:gd name="T99" fmla="*/ 35 h 215"/>
                  <a:gd name="T100" fmla="*/ 52 w 309"/>
                  <a:gd name="T101" fmla="*/ 30 h 215"/>
                  <a:gd name="T102" fmla="*/ 96 w 309"/>
                  <a:gd name="T103" fmla="*/ 17 h 215"/>
                  <a:gd name="T104" fmla="*/ 53 w 309"/>
                  <a:gd name="T105" fmla="*/ 18 h 215"/>
                  <a:gd name="T106" fmla="*/ 41 w 309"/>
                  <a:gd name="T107" fmla="*/ 23 h 215"/>
                  <a:gd name="T108" fmla="*/ 16 w 309"/>
                  <a:gd name="T109" fmla="*/ 17 h 215"/>
                  <a:gd name="T110" fmla="*/ 12 w 309"/>
                  <a:gd name="T111" fmla="*/ 30 h 2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9" h="215">
                    <a:moveTo>
                      <a:pt x="15" y="53"/>
                    </a:moveTo>
                    <a:cubicBezTo>
                      <a:pt x="16" y="56"/>
                      <a:pt x="14" y="58"/>
                      <a:pt x="18" y="59"/>
                    </a:cubicBezTo>
                    <a:cubicBezTo>
                      <a:pt x="21" y="60"/>
                      <a:pt x="31" y="57"/>
                      <a:pt x="30" y="53"/>
                    </a:cubicBezTo>
                    <a:cubicBezTo>
                      <a:pt x="30" y="51"/>
                      <a:pt x="26" y="49"/>
                      <a:pt x="27" y="47"/>
                    </a:cubicBezTo>
                    <a:cubicBezTo>
                      <a:pt x="28" y="43"/>
                      <a:pt x="34" y="49"/>
                      <a:pt x="36" y="50"/>
                    </a:cubicBezTo>
                    <a:cubicBezTo>
                      <a:pt x="33" y="47"/>
                      <a:pt x="34" y="48"/>
                      <a:pt x="37" y="48"/>
                    </a:cubicBezTo>
                    <a:cubicBezTo>
                      <a:pt x="40" y="47"/>
                      <a:pt x="42" y="47"/>
                      <a:pt x="39" y="51"/>
                    </a:cubicBezTo>
                    <a:cubicBezTo>
                      <a:pt x="38" y="53"/>
                      <a:pt x="36" y="54"/>
                      <a:pt x="34" y="57"/>
                    </a:cubicBezTo>
                    <a:cubicBezTo>
                      <a:pt x="33" y="58"/>
                      <a:pt x="32" y="61"/>
                      <a:pt x="30" y="61"/>
                    </a:cubicBezTo>
                    <a:cubicBezTo>
                      <a:pt x="33" y="63"/>
                      <a:pt x="37" y="65"/>
                      <a:pt x="40" y="66"/>
                    </a:cubicBezTo>
                    <a:cubicBezTo>
                      <a:pt x="43" y="66"/>
                      <a:pt x="50" y="66"/>
                      <a:pt x="47" y="70"/>
                    </a:cubicBezTo>
                    <a:cubicBezTo>
                      <a:pt x="44" y="74"/>
                      <a:pt x="36" y="71"/>
                      <a:pt x="32" y="69"/>
                    </a:cubicBezTo>
                    <a:cubicBezTo>
                      <a:pt x="27" y="68"/>
                      <a:pt x="21" y="65"/>
                      <a:pt x="16" y="66"/>
                    </a:cubicBezTo>
                    <a:cubicBezTo>
                      <a:pt x="12" y="67"/>
                      <a:pt x="12" y="67"/>
                      <a:pt x="15" y="70"/>
                    </a:cubicBezTo>
                    <a:cubicBezTo>
                      <a:pt x="17" y="73"/>
                      <a:pt x="20" y="75"/>
                      <a:pt x="22" y="78"/>
                    </a:cubicBezTo>
                    <a:cubicBezTo>
                      <a:pt x="23" y="79"/>
                      <a:pt x="20" y="81"/>
                      <a:pt x="22" y="82"/>
                    </a:cubicBezTo>
                    <a:cubicBezTo>
                      <a:pt x="25" y="83"/>
                      <a:pt x="29" y="84"/>
                      <a:pt x="32" y="86"/>
                    </a:cubicBezTo>
                    <a:cubicBezTo>
                      <a:pt x="38" y="88"/>
                      <a:pt x="44" y="91"/>
                      <a:pt x="49" y="93"/>
                    </a:cubicBezTo>
                    <a:cubicBezTo>
                      <a:pt x="51" y="94"/>
                      <a:pt x="55" y="96"/>
                      <a:pt x="57" y="96"/>
                    </a:cubicBezTo>
                    <a:cubicBezTo>
                      <a:pt x="59" y="95"/>
                      <a:pt x="63" y="94"/>
                      <a:pt x="65" y="95"/>
                    </a:cubicBezTo>
                    <a:cubicBezTo>
                      <a:pt x="59" y="100"/>
                      <a:pt x="50" y="97"/>
                      <a:pt x="42" y="98"/>
                    </a:cubicBezTo>
                    <a:cubicBezTo>
                      <a:pt x="45" y="104"/>
                      <a:pt x="51" y="107"/>
                      <a:pt x="55" y="111"/>
                    </a:cubicBezTo>
                    <a:cubicBezTo>
                      <a:pt x="59" y="115"/>
                      <a:pt x="60" y="116"/>
                      <a:pt x="66" y="116"/>
                    </a:cubicBezTo>
                    <a:cubicBezTo>
                      <a:pt x="71" y="116"/>
                      <a:pt x="79" y="118"/>
                      <a:pt x="83" y="116"/>
                    </a:cubicBezTo>
                    <a:cubicBezTo>
                      <a:pt x="87" y="115"/>
                      <a:pt x="85" y="115"/>
                      <a:pt x="83" y="112"/>
                    </a:cubicBezTo>
                    <a:cubicBezTo>
                      <a:pt x="85" y="112"/>
                      <a:pt x="86" y="113"/>
                      <a:pt x="88" y="113"/>
                    </a:cubicBezTo>
                    <a:cubicBezTo>
                      <a:pt x="89" y="113"/>
                      <a:pt x="89" y="111"/>
                      <a:pt x="90" y="111"/>
                    </a:cubicBezTo>
                    <a:cubicBezTo>
                      <a:pt x="93" y="110"/>
                      <a:pt x="95" y="112"/>
                      <a:pt x="98" y="110"/>
                    </a:cubicBezTo>
                    <a:cubicBezTo>
                      <a:pt x="101" y="108"/>
                      <a:pt x="96" y="107"/>
                      <a:pt x="98" y="105"/>
                    </a:cubicBezTo>
                    <a:cubicBezTo>
                      <a:pt x="99" y="104"/>
                      <a:pt x="104" y="105"/>
                      <a:pt x="106" y="105"/>
                    </a:cubicBezTo>
                    <a:cubicBezTo>
                      <a:pt x="108" y="105"/>
                      <a:pt x="112" y="106"/>
                      <a:pt x="111" y="103"/>
                    </a:cubicBezTo>
                    <a:cubicBezTo>
                      <a:pt x="110" y="99"/>
                      <a:pt x="105" y="101"/>
                      <a:pt x="103" y="99"/>
                    </a:cubicBezTo>
                    <a:cubicBezTo>
                      <a:pt x="99" y="96"/>
                      <a:pt x="108" y="96"/>
                      <a:pt x="107" y="94"/>
                    </a:cubicBezTo>
                    <a:cubicBezTo>
                      <a:pt x="107" y="92"/>
                      <a:pt x="107" y="88"/>
                      <a:pt x="105" y="87"/>
                    </a:cubicBezTo>
                    <a:cubicBezTo>
                      <a:pt x="107" y="86"/>
                      <a:pt x="109" y="83"/>
                      <a:pt x="111" y="83"/>
                    </a:cubicBezTo>
                    <a:cubicBezTo>
                      <a:pt x="116" y="83"/>
                      <a:pt x="114" y="90"/>
                      <a:pt x="118" y="91"/>
                    </a:cubicBezTo>
                    <a:cubicBezTo>
                      <a:pt x="121" y="92"/>
                      <a:pt x="120" y="89"/>
                      <a:pt x="123" y="88"/>
                    </a:cubicBezTo>
                    <a:cubicBezTo>
                      <a:pt x="124" y="88"/>
                      <a:pt x="125" y="88"/>
                      <a:pt x="126" y="88"/>
                    </a:cubicBezTo>
                    <a:cubicBezTo>
                      <a:pt x="128" y="87"/>
                      <a:pt x="126" y="86"/>
                      <a:pt x="126" y="85"/>
                    </a:cubicBezTo>
                    <a:cubicBezTo>
                      <a:pt x="127" y="83"/>
                      <a:pt x="126" y="78"/>
                      <a:pt x="130" y="76"/>
                    </a:cubicBezTo>
                    <a:cubicBezTo>
                      <a:pt x="135" y="75"/>
                      <a:pt x="134" y="85"/>
                      <a:pt x="133" y="88"/>
                    </a:cubicBezTo>
                    <a:cubicBezTo>
                      <a:pt x="131" y="93"/>
                      <a:pt x="125" y="97"/>
                      <a:pt x="132" y="100"/>
                    </a:cubicBezTo>
                    <a:cubicBezTo>
                      <a:pt x="135" y="101"/>
                      <a:pt x="137" y="100"/>
                      <a:pt x="140" y="100"/>
                    </a:cubicBezTo>
                    <a:cubicBezTo>
                      <a:pt x="143" y="99"/>
                      <a:pt x="147" y="100"/>
                      <a:pt x="150" y="98"/>
                    </a:cubicBezTo>
                    <a:cubicBezTo>
                      <a:pt x="151" y="98"/>
                      <a:pt x="152" y="96"/>
                      <a:pt x="154" y="95"/>
                    </a:cubicBezTo>
                    <a:cubicBezTo>
                      <a:pt x="155" y="94"/>
                      <a:pt x="156" y="94"/>
                      <a:pt x="157" y="94"/>
                    </a:cubicBezTo>
                    <a:cubicBezTo>
                      <a:pt x="159" y="93"/>
                      <a:pt x="159" y="91"/>
                      <a:pt x="160" y="89"/>
                    </a:cubicBezTo>
                    <a:cubicBezTo>
                      <a:pt x="161" y="88"/>
                      <a:pt x="161" y="88"/>
                      <a:pt x="162" y="87"/>
                    </a:cubicBezTo>
                    <a:cubicBezTo>
                      <a:pt x="163" y="85"/>
                      <a:pt x="163" y="83"/>
                      <a:pt x="166" y="84"/>
                    </a:cubicBezTo>
                    <a:cubicBezTo>
                      <a:pt x="168" y="85"/>
                      <a:pt x="170" y="87"/>
                      <a:pt x="172" y="86"/>
                    </a:cubicBezTo>
                    <a:cubicBezTo>
                      <a:pt x="169" y="92"/>
                      <a:pt x="164" y="96"/>
                      <a:pt x="161" y="101"/>
                    </a:cubicBezTo>
                    <a:cubicBezTo>
                      <a:pt x="163" y="102"/>
                      <a:pt x="164" y="102"/>
                      <a:pt x="166" y="102"/>
                    </a:cubicBezTo>
                    <a:cubicBezTo>
                      <a:pt x="168" y="103"/>
                      <a:pt x="170" y="104"/>
                      <a:pt x="172" y="104"/>
                    </a:cubicBezTo>
                    <a:cubicBezTo>
                      <a:pt x="166" y="105"/>
                      <a:pt x="159" y="106"/>
                      <a:pt x="152" y="107"/>
                    </a:cubicBezTo>
                    <a:cubicBezTo>
                      <a:pt x="149" y="107"/>
                      <a:pt x="144" y="107"/>
                      <a:pt x="142" y="109"/>
                    </a:cubicBezTo>
                    <a:cubicBezTo>
                      <a:pt x="139" y="112"/>
                      <a:pt x="143" y="114"/>
                      <a:pt x="138" y="115"/>
                    </a:cubicBezTo>
                    <a:cubicBezTo>
                      <a:pt x="134" y="117"/>
                      <a:pt x="129" y="118"/>
                      <a:pt x="124" y="120"/>
                    </a:cubicBezTo>
                    <a:cubicBezTo>
                      <a:pt x="115" y="122"/>
                      <a:pt x="107" y="125"/>
                      <a:pt x="98" y="128"/>
                    </a:cubicBezTo>
                    <a:cubicBezTo>
                      <a:pt x="96" y="129"/>
                      <a:pt x="90" y="124"/>
                      <a:pt x="87" y="123"/>
                    </a:cubicBezTo>
                    <a:cubicBezTo>
                      <a:pt x="86" y="122"/>
                      <a:pt x="85" y="123"/>
                      <a:pt x="83" y="124"/>
                    </a:cubicBezTo>
                    <a:cubicBezTo>
                      <a:pt x="78" y="125"/>
                      <a:pt x="79" y="125"/>
                      <a:pt x="80" y="130"/>
                    </a:cubicBezTo>
                    <a:cubicBezTo>
                      <a:pt x="80" y="133"/>
                      <a:pt x="80" y="136"/>
                      <a:pt x="81" y="139"/>
                    </a:cubicBezTo>
                    <a:cubicBezTo>
                      <a:pt x="82" y="142"/>
                      <a:pt x="83" y="144"/>
                      <a:pt x="86" y="144"/>
                    </a:cubicBezTo>
                    <a:cubicBezTo>
                      <a:pt x="90" y="145"/>
                      <a:pt x="90" y="144"/>
                      <a:pt x="93" y="143"/>
                    </a:cubicBezTo>
                    <a:cubicBezTo>
                      <a:pt x="95" y="142"/>
                      <a:pt x="109" y="144"/>
                      <a:pt x="108" y="142"/>
                    </a:cubicBezTo>
                    <a:cubicBezTo>
                      <a:pt x="108" y="142"/>
                      <a:pt x="110" y="143"/>
                      <a:pt x="111" y="142"/>
                    </a:cubicBezTo>
                    <a:cubicBezTo>
                      <a:pt x="114" y="142"/>
                      <a:pt x="117" y="142"/>
                      <a:pt x="120" y="141"/>
                    </a:cubicBezTo>
                    <a:cubicBezTo>
                      <a:pt x="124" y="141"/>
                      <a:pt x="125" y="139"/>
                      <a:pt x="128" y="138"/>
                    </a:cubicBezTo>
                    <a:cubicBezTo>
                      <a:pt x="130" y="137"/>
                      <a:pt x="135" y="135"/>
                      <a:pt x="137" y="135"/>
                    </a:cubicBezTo>
                    <a:cubicBezTo>
                      <a:pt x="139" y="136"/>
                      <a:pt x="141" y="138"/>
                      <a:pt x="144" y="139"/>
                    </a:cubicBezTo>
                    <a:cubicBezTo>
                      <a:pt x="150" y="139"/>
                      <a:pt x="156" y="138"/>
                      <a:pt x="162" y="137"/>
                    </a:cubicBezTo>
                    <a:cubicBezTo>
                      <a:pt x="164" y="137"/>
                      <a:pt x="165" y="137"/>
                      <a:pt x="167" y="137"/>
                    </a:cubicBezTo>
                    <a:cubicBezTo>
                      <a:pt x="170" y="137"/>
                      <a:pt x="169" y="136"/>
                      <a:pt x="170" y="134"/>
                    </a:cubicBezTo>
                    <a:cubicBezTo>
                      <a:pt x="172" y="133"/>
                      <a:pt x="176" y="132"/>
                      <a:pt x="178" y="132"/>
                    </a:cubicBezTo>
                    <a:cubicBezTo>
                      <a:pt x="177" y="134"/>
                      <a:pt x="175" y="135"/>
                      <a:pt x="173" y="135"/>
                    </a:cubicBezTo>
                    <a:cubicBezTo>
                      <a:pt x="173" y="140"/>
                      <a:pt x="178" y="140"/>
                      <a:pt x="181" y="141"/>
                    </a:cubicBezTo>
                    <a:cubicBezTo>
                      <a:pt x="178" y="141"/>
                      <a:pt x="175" y="140"/>
                      <a:pt x="172" y="140"/>
                    </a:cubicBezTo>
                    <a:cubicBezTo>
                      <a:pt x="169" y="140"/>
                      <a:pt x="166" y="141"/>
                      <a:pt x="163" y="141"/>
                    </a:cubicBezTo>
                    <a:cubicBezTo>
                      <a:pt x="158" y="141"/>
                      <a:pt x="152" y="143"/>
                      <a:pt x="146" y="143"/>
                    </a:cubicBezTo>
                    <a:cubicBezTo>
                      <a:pt x="141" y="143"/>
                      <a:pt x="135" y="145"/>
                      <a:pt x="129" y="145"/>
                    </a:cubicBezTo>
                    <a:cubicBezTo>
                      <a:pt x="124" y="146"/>
                      <a:pt x="118" y="147"/>
                      <a:pt x="113" y="149"/>
                    </a:cubicBezTo>
                    <a:cubicBezTo>
                      <a:pt x="118" y="153"/>
                      <a:pt x="131" y="152"/>
                      <a:pt x="137" y="154"/>
                    </a:cubicBezTo>
                    <a:cubicBezTo>
                      <a:pt x="142" y="154"/>
                      <a:pt x="145" y="154"/>
                      <a:pt x="148" y="157"/>
                    </a:cubicBezTo>
                    <a:cubicBezTo>
                      <a:pt x="151" y="159"/>
                      <a:pt x="154" y="159"/>
                      <a:pt x="157" y="160"/>
                    </a:cubicBezTo>
                    <a:cubicBezTo>
                      <a:pt x="156" y="160"/>
                      <a:pt x="155" y="162"/>
                      <a:pt x="154" y="162"/>
                    </a:cubicBezTo>
                    <a:cubicBezTo>
                      <a:pt x="151" y="162"/>
                      <a:pt x="149" y="159"/>
                      <a:pt x="146" y="158"/>
                    </a:cubicBezTo>
                    <a:cubicBezTo>
                      <a:pt x="143" y="157"/>
                      <a:pt x="140" y="156"/>
                      <a:pt x="137" y="157"/>
                    </a:cubicBezTo>
                    <a:cubicBezTo>
                      <a:pt x="134" y="157"/>
                      <a:pt x="131" y="157"/>
                      <a:pt x="128" y="156"/>
                    </a:cubicBezTo>
                    <a:cubicBezTo>
                      <a:pt x="125" y="156"/>
                      <a:pt x="122" y="155"/>
                      <a:pt x="120" y="155"/>
                    </a:cubicBezTo>
                    <a:cubicBezTo>
                      <a:pt x="118" y="155"/>
                      <a:pt x="117" y="156"/>
                      <a:pt x="115" y="156"/>
                    </a:cubicBezTo>
                    <a:cubicBezTo>
                      <a:pt x="113" y="156"/>
                      <a:pt x="113" y="157"/>
                      <a:pt x="112" y="159"/>
                    </a:cubicBezTo>
                    <a:cubicBezTo>
                      <a:pt x="111" y="161"/>
                      <a:pt x="106" y="160"/>
                      <a:pt x="106" y="157"/>
                    </a:cubicBezTo>
                    <a:cubicBezTo>
                      <a:pt x="107" y="152"/>
                      <a:pt x="94" y="154"/>
                      <a:pt x="91" y="156"/>
                    </a:cubicBezTo>
                    <a:cubicBezTo>
                      <a:pt x="88" y="157"/>
                      <a:pt x="88" y="157"/>
                      <a:pt x="90" y="160"/>
                    </a:cubicBezTo>
                    <a:cubicBezTo>
                      <a:pt x="91" y="163"/>
                      <a:pt x="93" y="167"/>
                      <a:pt x="94" y="170"/>
                    </a:cubicBezTo>
                    <a:cubicBezTo>
                      <a:pt x="98" y="176"/>
                      <a:pt x="105" y="177"/>
                      <a:pt x="111" y="179"/>
                    </a:cubicBezTo>
                    <a:cubicBezTo>
                      <a:pt x="115" y="180"/>
                      <a:pt x="119" y="180"/>
                      <a:pt x="123" y="182"/>
                    </a:cubicBezTo>
                    <a:cubicBezTo>
                      <a:pt x="128" y="185"/>
                      <a:pt x="132" y="188"/>
                      <a:pt x="138" y="189"/>
                    </a:cubicBezTo>
                    <a:cubicBezTo>
                      <a:pt x="140" y="189"/>
                      <a:pt x="142" y="188"/>
                      <a:pt x="144" y="188"/>
                    </a:cubicBezTo>
                    <a:cubicBezTo>
                      <a:pt x="148" y="188"/>
                      <a:pt x="144" y="186"/>
                      <a:pt x="145" y="185"/>
                    </a:cubicBezTo>
                    <a:cubicBezTo>
                      <a:pt x="145" y="186"/>
                      <a:pt x="149" y="184"/>
                      <a:pt x="148" y="184"/>
                    </a:cubicBezTo>
                    <a:cubicBezTo>
                      <a:pt x="152" y="184"/>
                      <a:pt x="154" y="189"/>
                      <a:pt x="157" y="189"/>
                    </a:cubicBezTo>
                    <a:cubicBezTo>
                      <a:pt x="159" y="190"/>
                      <a:pt x="162" y="189"/>
                      <a:pt x="164" y="189"/>
                    </a:cubicBezTo>
                    <a:cubicBezTo>
                      <a:pt x="162" y="190"/>
                      <a:pt x="160" y="189"/>
                      <a:pt x="158" y="190"/>
                    </a:cubicBezTo>
                    <a:cubicBezTo>
                      <a:pt x="158" y="191"/>
                      <a:pt x="156" y="194"/>
                      <a:pt x="156" y="192"/>
                    </a:cubicBezTo>
                    <a:cubicBezTo>
                      <a:pt x="155" y="189"/>
                      <a:pt x="151" y="190"/>
                      <a:pt x="149" y="190"/>
                    </a:cubicBezTo>
                    <a:cubicBezTo>
                      <a:pt x="146" y="191"/>
                      <a:pt x="137" y="192"/>
                      <a:pt x="135" y="195"/>
                    </a:cubicBezTo>
                    <a:cubicBezTo>
                      <a:pt x="140" y="199"/>
                      <a:pt x="145" y="201"/>
                      <a:pt x="150" y="203"/>
                    </a:cubicBezTo>
                    <a:cubicBezTo>
                      <a:pt x="152" y="204"/>
                      <a:pt x="156" y="206"/>
                      <a:pt x="157" y="207"/>
                    </a:cubicBezTo>
                    <a:cubicBezTo>
                      <a:pt x="158" y="209"/>
                      <a:pt x="158" y="212"/>
                      <a:pt x="158" y="214"/>
                    </a:cubicBezTo>
                    <a:cubicBezTo>
                      <a:pt x="164" y="209"/>
                      <a:pt x="166" y="215"/>
                      <a:pt x="173" y="214"/>
                    </a:cubicBezTo>
                    <a:cubicBezTo>
                      <a:pt x="175" y="214"/>
                      <a:pt x="177" y="213"/>
                      <a:pt x="179" y="212"/>
                    </a:cubicBezTo>
                    <a:cubicBezTo>
                      <a:pt x="179" y="211"/>
                      <a:pt x="183" y="208"/>
                      <a:pt x="183" y="207"/>
                    </a:cubicBezTo>
                    <a:cubicBezTo>
                      <a:pt x="184" y="204"/>
                      <a:pt x="180" y="204"/>
                      <a:pt x="178" y="202"/>
                    </a:cubicBezTo>
                    <a:cubicBezTo>
                      <a:pt x="177" y="201"/>
                      <a:pt x="175" y="202"/>
                      <a:pt x="178" y="200"/>
                    </a:cubicBezTo>
                    <a:cubicBezTo>
                      <a:pt x="180" y="199"/>
                      <a:pt x="179" y="198"/>
                      <a:pt x="180" y="197"/>
                    </a:cubicBezTo>
                    <a:cubicBezTo>
                      <a:pt x="182" y="195"/>
                      <a:pt x="186" y="194"/>
                      <a:pt x="186" y="192"/>
                    </a:cubicBezTo>
                    <a:cubicBezTo>
                      <a:pt x="188" y="189"/>
                      <a:pt x="184" y="188"/>
                      <a:pt x="182" y="186"/>
                    </a:cubicBezTo>
                    <a:cubicBezTo>
                      <a:pt x="187" y="185"/>
                      <a:pt x="187" y="187"/>
                      <a:pt x="189" y="182"/>
                    </a:cubicBezTo>
                    <a:cubicBezTo>
                      <a:pt x="190" y="180"/>
                      <a:pt x="191" y="178"/>
                      <a:pt x="192" y="175"/>
                    </a:cubicBezTo>
                    <a:cubicBezTo>
                      <a:pt x="192" y="174"/>
                      <a:pt x="193" y="170"/>
                      <a:pt x="194" y="169"/>
                    </a:cubicBezTo>
                    <a:cubicBezTo>
                      <a:pt x="195" y="166"/>
                      <a:pt x="197" y="162"/>
                      <a:pt x="199" y="161"/>
                    </a:cubicBezTo>
                    <a:cubicBezTo>
                      <a:pt x="201" y="159"/>
                      <a:pt x="203" y="158"/>
                      <a:pt x="206" y="158"/>
                    </a:cubicBezTo>
                    <a:cubicBezTo>
                      <a:pt x="208" y="158"/>
                      <a:pt x="211" y="159"/>
                      <a:pt x="214" y="159"/>
                    </a:cubicBezTo>
                    <a:cubicBezTo>
                      <a:pt x="216" y="159"/>
                      <a:pt x="217" y="153"/>
                      <a:pt x="217" y="150"/>
                    </a:cubicBezTo>
                    <a:cubicBezTo>
                      <a:pt x="219" y="146"/>
                      <a:pt x="220" y="142"/>
                      <a:pt x="220" y="138"/>
                    </a:cubicBezTo>
                    <a:cubicBezTo>
                      <a:pt x="220" y="135"/>
                      <a:pt x="221" y="124"/>
                      <a:pt x="224" y="125"/>
                    </a:cubicBezTo>
                    <a:cubicBezTo>
                      <a:pt x="230" y="126"/>
                      <a:pt x="240" y="127"/>
                      <a:pt x="238" y="118"/>
                    </a:cubicBezTo>
                    <a:cubicBezTo>
                      <a:pt x="237" y="115"/>
                      <a:pt x="235" y="111"/>
                      <a:pt x="236" y="108"/>
                    </a:cubicBezTo>
                    <a:cubicBezTo>
                      <a:pt x="236" y="107"/>
                      <a:pt x="238" y="107"/>
                      <a:pt x="238" y="105"/>
                    </a:cubicBezTo>
                    <a:cubicBezTo>
                      <a:pt x="238" y="100"/>
                      <a:pt x="234" y="100"/>
                      <a:pt x="240" y="99"/>
                    </a:cubicBezTo>
                    <a:cubicBezTo>
                      <a:pt x="243" y="99"/>
                      <a:pt x="246" y="98"/>
                      <a:pt x="248" y="97"/>
                    </a:cubicBezTo>
                    <a:cubicBezTo>
                      <a:pt x="250" y="97"/>
                      <a:pt x="252" y="97"/>
                      <a:pt x="253" y="97"/>
                    </a:cubicBezTo>
                    <a:cubicBezTo>
                      <a:pt x="256" y="97"/>
                      <a:pt x="256" y="93"/>
                      <a:pt x="257" y="91"/>
                    </a:cubicBezTo>
                    <a:cubicBezTo>
                      <a:pt x="259" y="88"/>
                      <a:pt x="262" y="91"/>
                      <a:pt x="265" y="91"/>
                    </a:cubicBezTo>
                    <a:cubicBezTo>
                      <a:pt x="266" y="91"/>
                      <a:pt x="267" y="89"/>
                      <a:pt x="268" y="89"/>
                    </a:cubicBezTo>
                    <a:cubicBezTo>
                      <a:pt x="269" y="88"/>
                      <a:pt x="272" y="88"/>
                      <a:pt x="273" y="88"/>
                    </a:cubicBezTo>
                    <a:cubicBezTo>
                      <a:pt x="276" y="88"/>
                      <a:pt x="279" y="90"/>
                      <a:pt x="282" y="89"/>
                    </a:cubicBezTo>
                    <a:cubicBezTo>
                      <a:pt x="283" y="89"/>
                      <a:pt x="283" y="87"/>
                      <a:pt x="284" y="86"/>
                    </a:cubicBezTo>
                    <a:cubicBezTo>
                      <a:pt x="285" y="85"/>
                      <a:pt x="286" y="86"/>
                      <a:pt x="288" y="86"/>
                    </a:cubicBezTo>
                    <a:cubicBezTo>
                      <a:pt x="290" y="86"/>
                      <a:pt x="293" y="89"/>
                      <a:pt x="296" y="88"/>
                    </a:cubicBezTo>
                    <a:cubicBezTo>
                      <a:pt x="297" y="88"/>
                      <a:pt x="298" y="87"/>
                      <a:pt x="299" y="87"/>
                    </a:cubicBezTo>
                    <a:cubicBezTo>
                      <a:pt x="300" y="86"/>
                      <a:pt x="302" y="88"/>
                      <a:pt x="303" y="87"/>
                    </a:cubicBezTo>
                    <a:cubicBezTo>
                      <a:pt x="305" y="87"/>
                      <a:pt x="304" y="86"/>
                      <a:pt x="305" y="84"/>
                    </a:cubicBezTo>
                    <a:cubicBezTo>
                      <a:pt x="306" y="83"/>
                      <a:pt x="309" y="82"/>
                      <a:pt x="309" y="81"/>
                    </a:cubicBezTo>
                    <a:cubicBezTo>
                      <a:pt x="309" y="78"/>
                      <a:pt x="288" y="73"/>
                      <a:pt x="285" y="72"/>
                    </a:cubicBezTo>
                    <a:cubicBezTo>
                      <a:pt x="280" y="70"/>
                      <a:pt x="276" y="68"/>
                      <a:pt x="271" y="66"/>
                    </a:cubicBezTo>
                    <a:cubicBezTo>
                      <a:pt x="269" y="66"/>
                      <a:pt x="264" y="66"/>
                      <a:pt x="263" y="65"/>
                    </a:cubicBezTo>
                    <a:cubicBezTo>
                      <a:pt x="260" y="62"/>
                      <a:pt x="260" y="58"/>
                      <a:pt x="256" y="57"/>
                    </a:cubicBezTo>
                    <a:cubicBezTo>
                      <a:pt x="252" y="56"/>
                      <a:pt x="248" y="54"/>
                      <a:pt x="244" y="55"/>
                    </a:cubicBezTo>
                    <a:cubicBezTo>
                      <a:pt x="242" y="55"/>
                      <a:pt x="242" y="57"/>
                      <a:pt x="240" y="57"/>
                    </a:cubicBezTo>
                    <a:cubicBezTo>
                      <a:pt x="239" y="57"/>
                      <a:pt x="237" y="57"/>
                      <a:pt x="236" y="56"/>
                    </a:cubicBezTo>
                    <a:cubicBezTo>
                      <a:pt x="233" y="54"/>
                      <a:pt x="231" y="47"/>
                      <a:pt x="231" y="43"/>
                    </a:cubicBezTo>
                    <a:cubicBezTo>
                      <a:pt x="232" y="41"/>
                      <a:pt x="233" y="42"/>
                      <a:pt x="232" y="39"/>
                    </a:cubicBezTo>
                    <a:cubicBezTo>
                      <a:pt x="232" y="37"/>
                      <a:pt x="231" y="36"/>
                      <a:pt x="229" y="34"/>
                    </a:cubicBezTo>
                    <a:cubicBezTo>
                      <a:pt x="227" y="32"/>
                      <a:pt x="225" y="32"/>
                      <a:pt x="221" y="31"/>
                    </a:cubicBezTo>
                    <a:cubicBezTo>
                      <a:pt x="219" y="31"/>
                      <a:pt x="211" y="29"/>
                      <a:pt x="209" y="30"/>
                    </a:cubicBezTo>
                    <a:cubicBezTo>
                      <a:pt x="207" y="32"/>
                      <a:pt x="208" y="36"/>
                      <a:pt x="206" y="38"/>
                    </a:cubicBezTo>
                    <a:cubicBezTo>
                      <a:pt x="206" y="39"/>
                      <a:pt x="199" y="44"/>
                      <a:pt x="198" y="42"/>
                    </a:cubicBezTo>
                    <a:cubicBezTo>
                      <a:pt x="197" y="42"/>
                      <a:pt x="201" y="40"/>
                      <a:pt x="200" y="38"/>
                    </a:cubicBezTo>
                    <a:cubicBezTo>
                      <a:pt x="200" y="37"/>
                      <a:pt x="200" y="34"/>
                      <a:pt x="200" y="33"/>
                    </a:cubicBezTo>
                    <a:cubicBezTo>
                      <a:pt x="200" y="29"/>
                      <a:pt x="200" y="26"/>
                      <a:pt x="204" y="24"/>
                    </a:cubicBezTo>
                    <a:cubicBezTo>
                      <a:pt x="204" y="24"/>
                      <a:pt x="212" y="20"/>
                      <a:pt x="210" y="20"/>
                    </a:cubicBezTo>
                    <a:cubicBezTo>
                      <a:pt x="200" y="17"/>
                      <a:pt x="190" y="15"/>
                      <a:pt x="180" y="12"/>
                    </a:cubicBezTo>
                    <a:cubicBezTo>
                      <a:pt x="179" y="12"/>
                      <a:pt x="174" y="11"/>
                      <a:pt x="173" y="10"/>
                    </a:cubicBezTo>
                    <a:cubicBezTo>
                      <a:pt x="170" y="7"/>
                      <a:pt x="168" y="3"/>
                      <a:pt x="166" y="0"/>
                    </a:cubicBezTo>
                    <a:cubicBezTo>
                      <a:pt x="160" y="1"/>
                      <a:pt x="155" y="1"/>
                      <a:pt x="150" y="2"/>
                    </a:cubicBezTo>
                    <a:cubicBezTo>
                      <a:pt x="152" y="2"/>
                      <a:pt x="157" y="0"/>
                      <a:pt x="158" y="3"/>
                    </a:cubicBezTo>
                    <a:cubicBezTo>
                      <a:pt x="158" y="5"/>
                      <a:pt x="159" y="8"/>
                      <a:pt x="160" y="9"/>
                    </a:cubicBezTo>
                    <a:cubicBezTo>
                      <a:pt x="160" y="10"/>
                      <a:pt x="160" y="10"/>
                      <a:pt x="160" y="10"/>
                    </a:cubicBezTo>
                    <a:cubicBezTo>
                      <a:pt x="158" y="12"/>
                      <a:pt x="151" y="8"/>
                      <a:pt x="148" y="10"/>
                    </a:cubicBezTo>
                    <a:cubicBezTo>
                      <a:pt x="145" y="12"/>
                      <a:pt x="147" y="19"/>
                      <a:pt x="148" y="22"/>
                    </a:cubicBezTo>
                    <a:cubicBezTo>
                      <a:pt x="149" y="24"/>
                      <a:pt x="152" y="27"/>
                      <a:pt x="153" y="30"/>
                    </a:cubicBezTo>
                    <a:cubicBezTo>
                      <a:pt x="153" y="32"/>
                      <a:pt x="154" y="36"/>
                      <a:pt x="155" y="39"/>
                    </a:cubicBezTo>
                    <a:cubicBezTo>
                      <a:pt x="155" y="43"/>
                      <a:pt x="156" y="45"/>
                      <a:pt x="158" y="47"/>
                    </a:cubicBezTo>
                    <a:cubicBezTo>
                      <a:pt x="159" y="49"/>
                      <a:pt x="160" y="49"/>
                      <a:pt x="161" y="51"/>
                    </a:cubicBezTo>
                    <a:cubicBezTo>
                      <a:pt x="162" y="52"/>
                      <a:pt x="161" y="54"/>
                      <a:pt x="162" y="56"/>
                    </a:cubicBezTo>
                    <a:cubicBezTo>
                      <a:pt x="163" y="59"/>
                      <a:pt x="166" y="61"/>
                      <a:pt x="167" y="64"/>
                    </a:cubicBezTo>
                    <a:cubicBezTo>
                      <a:pt x="168" y="66"/>
                      <a:pt x="170" y="68"/>
                      <a:pt x="171" y="70"/>
                    </a:cubicBezTo>
                    <a:cubicBezTo>
                      <a:pt x="168" y="70"/>
                      <a:pt x="162" y="69"/>
                      <a:pt x="161" y="66"/>
                    </a:cubicBezTo>
                    <a:cubicBezTo>
                      <a:pt x="160" y="65"/>
                      <a:pt x="161" y="64"/>
                      <a:pt x="161" y="63"/>
                    </a:cubicBezTo>
                    <a:cubicBezTo>
                      <a:pt x="160" y="61"/>
                      <a:pt x="159" y="61"/>
                      <a:pt x="158" y="60"/>
                    </a:cubicBezTo>
                    <a:cubicBezTo>
                      <a:pt x="156" y="58"/>
                      <a:pt x="155" y="55"/>
                      <a:pt x="152" y="55"/>
                    </a:cubicBezTo>
                    <a:cubicBezTo>
                      <a:pt x="149" y="55"/>
                      <a:pt x="145" y="60"/>
                      <a:pt x="148" y="54"/>
                    </a:cubicBezTo>
                    <a:cubicBezTo>
                      <a:pt x="150" y="51"/>
                      <a:pt x="151" y="52"/>
                      <a:pt x="149" y="50"/>
                    </a:cubicBezTo>
                    <a:cubicBezTo>
                      <a:pt x="149" y="49"/>
                      <a:pt x="146" y="47"/>
                      <a:pt x="146" y="47"/>
                    </a:cubicBezTo>
                    <a:cubicBezTo>
                      <a:pt x="143" y="45"/>
                      <a:pt x="142" y="44"/>
                      <a:pt x="140" y="41"/>
                    </a:cubicBezTo>
                    <a:cubicBezTo>
                      <a:pt x="140" y="39"/>
                      <a:pt x="139" y="38"/>
                      <a:pt x="138" y="36"/>
                    </a:cubicBezTo>
                    <a:cubicBezTo>
                      <a:pt x="138" y="35"/>
                      <a:pt x="137" y="33"/>
                      <a:pt x="136" y="32"/>
                    </a:cubicBezTo>
                    <a:cubicBezTo>
                      <a:pt x="136" y="31"/>
                      <a:pt x="136" y="28"/>
                      <a:pt x="136" y="27"/>
                    </a:cubicBezTo>
                    <a:cubicBezTo>
                      <a:pt x="135" y="26"/>
                      <a:pt x="133" y="26"/>
                      <a:pt x="132" y="25"/>
                    </a:cubicBezTo>
                    <a:cubicBezTo>
                      <a:pt x="127" y="22"/>
                      <a:pt x="124" y="16"/>
                      <a:pt x="117" y="15"/>
                    </a:cubicBezTo>
                    <a:cubicBezTo>
                      <a:pt x="112" y="14"/>
                      <a:pt x="111" y="18"/>
                      <a:pt x="107" y="21"/>
                    </a:cubicBezTo>
                    <a:cubicBezTo>
                      <a:pt x="106" y="23"/>
                      <a:pt x="100" y="25"/>
                      <a:pt x="105" y="27"/>
                    </a:cubicBezTo>
                    <a:cubicBezTo>
                      <a:pt x="102" y="27"/>
                      <a:pt x="98" y="27"/>
                      <a:pt x="96" y="30"/>
                    </a:cubicBezTo>
                    <a:cubicBezTo>
                      <a:pt x="94" y="32"/>
                      <a:pt x="99" y="38"/>
                      <a:pt x="100" y="41"/>
                    </a:cubicBezTo>
                    <a:cubicBezTo>
                      <a:pt x="101" y="44"/>
                      <a:pt x="102" y="44"/>
                      <a:pt x="100" y="47"/>
                    </a:cubicBezTo>
                    <a:cubicBezTo>
                      <a:pt x="99" y="49"/>
                      <a:pt x="98" y="48"/>
                      <a:pt x="96" y="48"/>
                    </a:cubicBezTo>
                    <a:cubicBezTo>
                      <a:pt x="93" y="48"/>
                      <a:pt x="95" y="42"/>
                      <a:pt x="92" y="40"/>
                    </a:cubicBezTo>
                    <a:cubicBezTo>
                      <a:pt x="90" y="39"/>
                      <a:pt x="88" y="36"/>
                      <a:pt x="86" y="35"/>
                    </a:cubicBezTo>
                    <a:cubicBezTo>
                      <a:pt x="83" y="34"/>
                      <a:pt x="78" y="39"/>
                      <a:pt x="76" y="36"/>
                    </a:cubicBezTo>
                    <a:cubicBezTo>
                      <a:pt x="73" y="32"/>
                      <a:pt x="84" y="33"/>
                      <a:pt x="82" y="29"/>
                    </a:cubicBezTo>
                    <a:cubicBezTo>
                      <a:pt x="80" y="27"/>
                      <a:pt x="73" y="28"/>
                      <a:pt x="70" y="28"/>
                    </a:cubicBezTo>
                    <a:cubicBezTo>
                      <a:pt x="66" y="29"/>
                      <a:pt x="55" y="33"/>
                      <a:pt x="52" y="30"/>
                    </a:cubicBezTo>
                    <a:cubicBezTo>
                      <a:pt x="55" y="28"/>
                      <a:pt x="58" y="28"/>
                      <a:pt x="62" y="26"/>
                    </a:cubicBezTo>
                    <a:cubicBezTo>
                      <a:pt x="64" y="25"/>
                      <a:pt x="67" y="23"/>
                      <a:pt x="69" y="22"/>
                    </a:cubicBezTo>
                    <a:cubicBezTo>
                      <a:pt x="71" y="21"/>
                      <a:pt x="75" y="22"/>
                      <a:pt x="78" y="21"/>
                    </a:cubicBezTo>
                    <a:cubicBezTo>
                      <a:pt x="83" y="21"/>
                      <a:pt x="93" y="23"/>
                      <a:pt x="96" y="17"/>
                    </a:cubicBezTo>
                    <a:cubicBezTo>
                      <a:pt x="101" y="8"/>
                      <a:pt x="83" y="11"/>
                      <a:pt x="79" y="11"/>
                    </a:cubicBezTo>
                    <a:cubicBezTo>
                      <a:pt x="76" y="12"/>
                      <a:pt x="74" y="13"/>
                      <a:pt x="70" y="13"/>
                    </a:cubicBezTo>
                    <a:cubicBezTo>
                      <a:pt x="67" y="13"/>
                      <a:pt x="65" y="16"/>
                      <a:pt x="62" y="16"/>
                    </a:cubicBezTo>
                    <a:cubicBezTo>
                      <a:pt x="61" y="17"/>
                      <a:pt x="54" y="18"/>
                      <a:pt x="53" y="18"/>
                    </a:cubicBezTo>
                    <a:cubicBezTo>
                      <a:pt x="52" y="16"/>
                      <a:pt x="53" y="15"/>
                      <a:pt x="51" y="14"/>
                    </a:cubicBezTo>
                    <a:cubicBezTo>
                      <a:pt x="50" y="13"/>
                      <a:pt x="49" y="13"/>
                      <a:pt x="47" y="13"/>
                    </a:cubicBezTo>
                    <a:cubicBezTo>
                      <a:pt x="45" y="13"/>
                      <a:pt x="44" y="13"/>
                      <a:pt x="43" y="15"/>
                    </a:cubicBezTo>
                    <a:cubicBezTo>
                      <a:pt x="42" y="16"/>
                      <a:pt x="42" y="24"/>
                      <a:pt x="41" y="23"/>
                    </a:cubicBezTo>
                    <a:cubicBezTo>
                      <a:pt x="40" y="22"/>
                      <a:pt x="37" y="16"/>
                      <a:pt x="37" y="16"/>
                    </a:cubicBezTo>
                    <a:cubicBezTo>
                      <a:pt x="37" y="13"/>
                      <a:pt x="31" y="12"/>
                      <a:pt x="29" y="13"/>
                    </a:cubicBezTo>
                    <a:cubicBezTo>
                      <a:pt x="26" y="14"/>
                      <a:pt x="24" y="16"/>
                      <a:pt x="21" y="16"/>
                    </a:cubicBezTo>
                    <a:cubicBezTo>
                      <a:pt x="20" y="16"/>
                      <a:pt x="17" y="15"/>
                      <a:pt x="16" y="17"/>
                    </a:cubicBezTo>
                    <a:cubicBezTo>
                      <a:pt x="15" y="19"/>
                      <a:pt x="17" y="24"/>
                      <a:pt x="14" y="25"/>
                    </a:cubicBezTo>
                    <a:cubicBezTo>
                      <a:pt x="13" y="26"/>
                      <a:pt x="11" y="25"/>
                      <a:pt x="10" y="25"/>
                    </a:cubicBezTo>
                    <a:cubicBezTo>
                      <a:pt x="9" y="25"/>
                      <a:pt x="7" y="26"/>
                      <a:pt x="6" y="27"/>
                    </a:cubicBezTo>
                    <a:cubicBezTo>
                      <a:pt x="8" y="29"/>
                      <a:pt x="11" y="29"/>
                      <a:pt x="12" y="30"/>
                    </a:cubicBezTo>
                    <a:cubicBezTo>
                      <a:pt x="11" y="30"/>
                      <a:pt x="3" y="29"/>
                      <a:pt x="2" y="30"/>
                    </a:cubicBezTo>
                    <a:cubicBezTo>
                      <a:pt x="0" y="32"/>
                      <a:pt x="5" y="42"/>
                      <a:pt x="6" y="44"/>
                    </a:cubicBezTo>
                    <a:cubicBezTo>
                      <a:pt x="8" y="47"/>
                      <a:pt x="13" y="50"/>
                      <a:pt x="15"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727"/>
              <p:cNvSpPr/>
              <p:nvPr/>
            </p:nvSpPr>
            <p:spPr bwMode="auto">
              <a:xfrm>
                <a:off x="3922" y="4"/>
                <a:ext cx="287" cy="145"/>
              </a:xfrm>
              <a:custGeom>
                <a:gdLst>
                  <a:gd name="T0" fmla="*/ 121 w 121"/>
                  <a:gd name="T1" fmla="*/ 31 h 61"/>
                  <a:gd name="T2" fmla="*/ 105 w 121"/>
                  <a:gd name="T3" fmla="*/ 24 h 61"/>
                  <a:gd name="T4" fmla="*/ 103 w 121"/>
                  <a:gd name="T5" fmla="*/ 22 h 61"/>
                  <a:gd name="T6" fmla="*/ 102 w 121"/>
                  <a:gd name="T7" fmla="*/ 23 h 61"/>
                  <a:gd name="T8" fmla="*/ 97 w 121"/>
                  <a:gd name="T9" fmla="*/ 23 h 61"/>
                  <a:gd name="T10" fmla="*/ 90 w 121"/>
                  <a:gd name="T11" fmla="*/ 25 h 61"/>
                  <a:gd name="T12" fmla="*/ 81 w 121"/>
                  <a:gd name="T13" fmla="*/ 22 h 61"/>
                  <a:gd name="T14" fmla="*/ 74 w 121"/>
                  <a:gd name="T15" fmla="*/ 18 h 61"/>
                  <a:gd name="T16" fmla="*/ 78 w 121"/>
                  <a:gd name="T17" fmla="*/ 10 h 61"/>
                  <a:gd name="T18" fmla="*/ 77 w 121"/>
                  <a:gd name="T19" fmla="*/ 5 h 61"/>
                  <a:gd name="T20" fmla="*/ 69 w 121"/>
                  <a:gd name="T21" fmla="*/ 2 h 61"/>
                  <a:gd name="T22" fmla="*/ 52 w 121"/>
                  <a:gd name="T23" fmla="*/ 2 h 61"/>
                  <a:gd name="T24" fmla="*/ 48 w 121"/>
                  <a:gd name="T25" fmla="*/ 4 h 61"/>
                  <a:gd name="T26" fmla="*/ 43 w 121"/>
                  <a:gd name="T27" fmla="*/ 4 h 61"/>
                  <a:gd name="T28" fmla="*/ 34 w 121"/>
                  <a:gd name="T29" fmla="*/ 3 h 61"/>
                  <a:gd name="T30" fmla="*/ 18 w 121"/>
                  <a:gd name="T31" fmla="*/ 6 h 61"/>
                  <a:gd name="T32" fmla="*/ 9 w 121"/>
                  <a:gd name="T33" fmla="*/ 13 h 61"/>
                  <a:gd name="T34" fmla="*/ 17 w 121"/>
                  <a:gd name="T35" fmla="*/ 17 h 61"/>
                  <a:gd name="T36" fmla="*/ 28 w 121"/>
                  <a:gd name="T37" fmla="*/ 21 h 61"/>
                  <a:gd name="T38" fmla="*/ 26 w 121"/>
                  <a:gd name="T39" fmla="*/ 24 h 61"/>
                  <a:gd name="T40" fmla="*/ 22 w 121"/>
                  <a:gd name="T41" fmla="*/ 28 h 61"/>
                  <a:gd name="T42" fmla="*/ 17 w 121"/>
                  <a:gd name="T43" fmla="*/ 36 h 61"/>
                  <a:gd name="T44" fmla="*/ 12 w 121"/>
                  <a:gd name="T45" fmla="*/ 41 h 61"/>
                  <a:gd name="T46" fmla="*/ 5 w 121"/>
                  <a:gd name="T47" fmla="*/ 49 h 61"/>
                  <a:gd name="T48" fmla="*/ 28 w 121"/>
                  <a:gd name="T49" fmla="*/ 46 h 61"/>
                  <a:gd name="T50" fmla="*/ 59 w 121"/>
                  <a:gd name="T51" fmla="*/ 43 h 61"/>
                  <a:gd name="T52" fmla="*/ 55 w 121"/>
                  <a:gd name="T53" fmla="*/ 48 h 61"/>
                  <a:gd name="T54" fmla="*/ 53 w 121"/>
                  <a:gd name="T55" fmla="*/ 56 h 61"/>
                  <a:gd name="T56" fmla="*/ 61 w 121"/>
                  <a:gd name="T57" fmla="*/ 60 h 61"/>
                  <a:gd name="T58" fmla="*/ 64 w 121"/>
                  <a:gd name="T59" fmla="*/ 57 h 61"/>
                  <a:gd name="T60" fmla="*/ 75 w 121"/>
                  <a:gd name="T61" fmla="*/ 55 h 61"/>
                  <a:gd name="T62" fmla="*/ 81 w 121"/>
                  <a:gd name="T63" fmla="*/ 52 h 61"/>
                  <a:gd name="T64" fmla="*/ 89 w 121"/>
                  <a:gd name="T65" fmla="*/ 49 h 61"/>
                  <a:gd name="T66" fmla="*/ 98 w 121"/>
                  <a:gd name="T67" fmla="*/ 40 h 61"/>
                  <a:gd name="T68" fmla="*/ 121 w 121"/>
                  <a:gd name="T69" fmla="*/ 31 h 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61">
                    <a:moveTo>
                      <a:pt x="121" y="31"/>
                    </a:moveTo>
                    <a:cubicBezTo>
                      <a:pt x="115" y="28"/>
                      <a:pt x="111" y="25"/>
                      <a:pt x="105" y="24"/>
                    </a:cubicBezTo>
                    <a:cubicBezTo>
                      <a:pt x="104" y="23"/>
                      <a:pt x="104" y="22"/>
                      <a:pt x="103" y="22"/>
                    </a:cubicBezTo>
                    <a:cubicBezTo>
                      <a:pt x="103" y="22"/>
                      <a:pt x="102" y="23"/>
                      <a:pt x="102" y="23"/>
                    </a:cubicBezTo>
                    <a:cubicBezTo>
                      <a:pt x="100" y="23"/>
                      <a:pt x="98" y="23"/>
                      <a:pt x="97" y="23"/>
                    </a:cubicBezTo>
                    <a:cubicBezTo>
                      <a:pt x="94" y="24"/>
                      <a:pt x="93" y="25"/>
                      <a:pt x="90" y="25"/>
                    </a:cubicBezTo>
                    <a:cubicBezTo>
                      <a:pt x="86" y="25"/>
                      <a:pt x="84" y="23"/>
                      <a:pt x="81" y="22"/>
                    </a:cubicBezTo>
                    <a:cubicBezTo>
                      <a:pt x="81" y="22"/>
                      <a:pt x="74" y="19"/>
                      <a:pt x="74" y="18"/>
                    </a:cubicBezTo>
                    <a:cubicBezTo>
                      <a:pt x="73" y="16"/>
                      <a:pt x="77" y="12"/>
                      <a:pt x="78" y="10"/>
                    </a:cubicBezTo>
                    <a:cubicBezTo>
                      <a:pt x="79" y="7"/>
                      <a:pt x="79" y="7"/>
                      <a:pt x="77" y="5"/>
                    </a:cubicBezTo>
                    <a:cubicBezTo>
                      <a:pt x="75" y="3"/>
                      <a:pt x="72" y="2"/>
                      <a:pt x="69" y="2"/>
                    </a:cubicBezTo>
                    <a:cubicBezTo>
                      <a:pt x="63" y="1"/>
                      <a:pt x="58" y="0"/>
                      <a:pt x="52" y="2"/>
                    </a:cubicBezTo>
                    <a:cubicBezTo>
                      <a:pt x="51" y="3"/>
                      <a:pt x="51" y="4"/>
                      <a:pt x="48" y="4"/>
                    </a:cubicBezTo>
                    <a:cubicBezTo>
                      <a:pt x="47" y="4"/>
                      <a:pt x="45" y="4"/>
                      <a:pt x="43" y="4"/>
                    </a:cubicBezTo>
                    <a:cubicBezTo>
                      <a:pt x="40" y="4"/>
                      <a:pt x="37" y="3"/>
                      <a:pt x="34" y="3"/>
                    </a:cubicBezTo>
                    <a:cubicBezTo>
                      <a:pt x="29" y="3"/>
                      <a:pt x="23" y="4"/>
                      <a:pt x="18" y="6"/>
                    </a:cubicBezTo>
                    <a:cubicBezTo>
                      <a:pt x="14" y="7"/>
                      <a:pt x="0" y="9"/>
                      <a:pt x="9" y="13"/>
                    </a:cubicBezTo>
                    <a:cubicBezTo>
                      <a:pt x="12" y="14"/>
                      <a:pt x="14" y="15"/>
                      <a:pt x="17" y="17"/>
                    </a:cubicBezTo>
                    <a:cubicBezTo>
                      <a:pt x="20" y="18"/>
                      <a:pt x="26" y="19"/>
                      <a:pt x="28" y="21"/>
                    </a:cubicBezTo>
                    <a:cubicBezTo>
                      <a:pt x="25" y="22"/>
                      <a:pt x="26" y="23"/>
                      <a:pt x="26" y="24"/>
                    </a:cubicBezTo>
                    <a:cubicBezTo>
                      <a:pt x="24" y="25"/>
                      <a:pt x="23" y="26"/>
                      <a:pt x="22" y="28"/>
                    </a:cubicBezTo>
                    <a:cubicBezTo>
                      <a:pt x="19" y="30"/>
                      <a:pt x="17" y="32"/>
                      <a:pt x="17" y="36"/>
                    </a:cubicBezTo>
                    <a:cubicBezTo>
                      <a:pt x="16" y="39"/>
                      <a:pt x="16" y="41"/>
                      <a:pt x="12" y="41"/>
                    </a:cubicBezTo>
                    <a:cubicBezTo>
                      <a:pt x="6" y="42"/>
                      <a:pt x="6" y="43"/>
                      <a:pt x="5" y="49"/>
                    </a:cubicBezTo>
                    <a:cubicBezTo>
                      <a:pt x="13" y="48"/>
                      <a:pt x="21" y="47"/>
                      <a:pt x="28" y="46"/>
                    </a:cubicBezTo>
                    <a:cubicBezTo>
                      <a:pt x="38" y="45"/>
                      <a:pt x="48" y="44"/>
                      <a:pt x="59" y="43"/>
                    </a:cubicBezTo>
                    <a:cubicBezTo>
                      <a:pt x="63" y="43"/>
                      <a:pt x="56" y="47"/>
                      <a:pt x="55" y="48"/>
                    </a:cubicBezTo>
                    <a:cubicBezTo>
                      <a:pt x="50" y="51"/>
                      <a:pt x="49" y="51"/>
                      <a:pt x="53" y="56"/>
                    </a:cubicBezTo>
                    <a:cubicBezTo>
                      <a:pt x="55" y="58"/>
                      <a:pt x="58" y="61"/>
                      <a:pt x="61" y="60"/>
                    </a:cubicBezTo>
                    <a:cubicBezTo>
                      <a:pt x="64" y="59"/>
                      <a:pt x="63" y="58"/>
                      <a:pt x="64" y="57"/>
                    </a:cubicBezTo>
                    <a:cubicBezTo>
                      <a:pt x="66" y="55"/>
                      <a:pt x="72" y="55"/>
                      <a:pt x="75" y="55"/>
                    </a:cubicBezTo>
                    <a:cubicBezTo>
                      <a:pt x="77" y="54"/>
                      <a:pt x="79" y="53"/>
                      <a:pt x="81" y="52"/>
                    </a:cubicBezTo>
                    <a:cubicBezTo>
                      <a:pt x="84" y="50"/>
                      <a:pt x="86" y="50"/>
                      <a:pt x="89" y="49"/>
                    </a:cubicBezTo>
                    <a:cubicBezTo>
                      <a:pt x="93" y="46"/>
                      <a:pt x="94" y="42"/>
                      <a:pt x="98" y="40"/>
                    </a:cubicBezTo>
                    <a:cubicBezTo>
                      <a:pt x="106" y="37"/>
                      <a:pt x="114" y="35"/>
                      <a:pt x="121"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728"/>
              <p:cNvSpPr/>
              <p:nvPr/>
            </p:nvSpPr>
            <p:spPr bwMode="auto">
              <a:xfrm>
                <a:off x="3725" y="-337"/>
                <a:ext cx="643" cy="212"/>
              </a:xfrm>
              <a:custGeom>
                <a:gdLst>
                  <a:gd name="T0" fmla="*/ 30 w 271"/>
                  <a:gd name="T1" fmla="*/ 32 h 89"/>
                  <a:gd name="T2" fmla="*/ 27 w 271"/>
                  <a:gd name="T3" fmla="*/ 33 h 89"/>
                  <a:gd name="T4" fmla="*/ 23 w 271"/>
                  <a:gd name="T5" fmla="*/ 36 h 89"/>
                  <a:gd name="T6" fmla="*/ 25 w 271"/>
                  <a:gd name="T7" fmla="*/ 44 h 89"/>
                  <a:gd name="T8" fmla="*/ 35 w 271"/>
                  <a:gd name="T9" fmla="*/ 51 h 89"/>
                  <a:gd name="T10" fmla="*/ 71 w 271"/>
                  <a:gd name="T11" fmla="*/ 47 h 89"/>
                  <a:gd name="T12" fmla="*/ 129 w 271"/>
                  <a:gd name="T13" fmla="*/ 46 h 89"/>
                  <a:gd name="T14" fmla="*/ 117 w 271"/>
                  <a:gd name="T15" fmla="*/ 50 h 89"/>
                  <a:gd name="T16" fmla="*/ 114 w 271"/>
                  <a:gd name="T17" fmla="*/ 52 h 89"/>
                  <a:gd name="T18" fmla="*/ 86 w 271"/>
                  <a:gd name="T19" fmla="*/ 52 h 89"/>
                  <a:gd name="T20" fmla="*/ 83 w 271"/>
                  <a:gd name="T21" fmla="*/ 60 h 89"/>
                  <a:gd name="T22" fmla="*/ 90 w 271"/>
                  <a:gd name="T23" fmla="*/ 74 h 89"/>
                  <a:gd name="T24" fmla="*/ 115 w 271"/>
                  <a:gd name="T25" fmla="*/ 73 h 89"/>
                  <a:gd name="T26" fmla="*/ 147 w 271"/>
                  <a:gd name="T27" fmla="*/ 74 h 89"/>
                  <a:gd name="T28" fmla="*/ 186 w 271"/>
                  <a:gd name="T29" fmla="*/ 80 h 89"/>
                  <a:gd name="T30" fmla="*/ 193 w 271"/>
                  <a:gd name="T31" fmla="*/ 76 h 89"/>
                  <a:gd name="T32" fmla="*/ 220 w 271"/>
                  <a:gd name="T33" fmla="*/ 73 h 89"/>
                  <a:gd name="T34" fmla="*/ 233 w 271"/>
                  <a:gd name="T35" fmla="*/ 66 h 89"/>
                  <a:gd name="T36" fmla="*/ 236 w 271"/>
                  <a:gd name="T37" fmla="*/ 56 h 89"/>
                  <a:gd name="T38" fmla="*/ 264 w 271"/>
                  <a:gd name="T39" fmla="*/ 43 h 89"/>
                  <a:gd name="T40" fmla="*/ 267 w 271"/>
                  <a:gd name="T41" fmla="*/ 35 h 89"/>
                  <a:gd name="T42" fmla="*/ 210 w 271"/>
                  <a:gd name="T43" fmla="*/ 14 h 89"/>
                  <a:gd name="T44" fmla="*/ 183 w 271"/>
                  <a:gd name="T45" fmla="*/ 10 h 89"/>
                  <a:gd name="T46" fmla="*/ 174 w 271"/>
                  <a:gd name="T47" fmla="*/ 13 h 89"/>
                  <a:gd name="T48" fmla="*/ 152 w 271"/>
                  <a:gd name="T49" fmla="*/ 25 h 89"/>
                  <a:gd name="T50" fmla="*/ 157 w 271"/>
                  <a:gd name="T51" fmla="*/ 15 h 89"/>
                  <a:gd name="T52" fmla="*/ 152 w 271"/>
                  <a:gd name="T53" fmla="*/ 6 h 89"/>
                  <a:gd name="T54" fmla="*/ 132 w 271"/>
                  <a:gd name="T55" fmla="*/ 5 h 89"/>
                  <a:gd name="T56" fmla="*/ 136 w 271"/>
                  <a:gd name="T57" fmla="*/ 12 h 89"/>
                  <a:gd name="T58" fmla="*/ 134 w 271"/>
                  <a:gd name="T59" fmla="*/ 19 h 89"/>
                  <a:gd name="T60" fmla="*/ 127 w 271"/>
                  <a:gd name="T61" fmla="*/ 34 h 89"/>
                  <a:gd name="T62" fmla="*/ 110 w 271"/>
                  <a:gd name="T63" fmla="*/ 25 h 89"/>
                  <a:gd name="T64" fmla="*/ 91 w 271"/>
                  <a:gd name="T65" fmla="*/ 19 h 89"/>
                  <a:gd name="T66" fmla="*/ 71 w 271"/>
                  <a:gd name="T67" fmla="*/ 8 h 89"/>
                  <a:gd name="T68" fmla="*/ 49 w 271"/>
                  <a:gd name="T69" fmla="*/ 6 h 89"/>
                  <a:gd name="T70" fmla="*/ 58 w 271"/>
                  <a:gd name="T71" fmla="*/ 10 h 89"/>
                  <a:gd name="T72" fmla="*/ 53 w 271"/>
                  <a:gd name="T73" fmla="*/ 18 h 89"/>
                  <a:gd name="T74" fmla="*/ 35 w 271"/>
                  <a:gd name="T75" fmla="*/ 11 h 89"/>
                  <a:gd name="T76" fmla="*/ 40 w 271"/>
                  <a:gd name="T77" fmla="*/ 18 h 89"/>
                  <a:gd name="T78" fmla="*/ 33 w 271"/>
                  <a:gd name="T79" fmla="*/ 30 h 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89">
                    <a:moveTo>
                      <a:pt x="33" y="30"/>
                    </a:moveTo>
                    <a:cubicBezTo>
                      <a:pt x="32" y="31"/>
                      <a:pt x="32" y="32"/>
                      <a:pt x="30" y="32"/>
                    </a:cubicBezTo>
                    <a:cubicBezTo>
                      <a:pt x="28" y="32"/>
                      <a:pt x="30" y="33"/>
                      <a:pt x="29" y="34"/>
                    </a:cubicBezTo>
                    <a:cubicBezTo>
                      <a:pt x="28" y="34"/>
                      <a:pt x="29" y="35"/>
                      <a:pt x="27" y="33"/>
                    </a:cubicBezTo>
                    <a:cubicBezTo>
                      <a:pt x="26" y="32"/>
                      <a:pt x="24" y="32"/>
                      <a:pt x="25" y="34"/>
                    </a:cubicBezTo>
                    <a:cubicBezTo>
                      <a:pt x="27" y="36"/>
                      <a:pt x="23" y="35"/>
                      <a:pt x="23" y="36"/>
                    </a:cubicBezTo>
                    <a:cubicBezTo>
                      <a:pt x="22" y="37"/>
                      <a:pt x="22" y="37"/>
                      <a:pt x="22" y="39"/>
                    </a:cubicBezTo>
                    <a:cubicBezTo>
                      <a:pt x="23" y="41"/>
                      <a:pt x="24" y="42"/>
                      <a:pt x="25" y="44"/>
                    </a:cubicBezTo>
                    <a:cubicBezTo>
                      <a:pt x="25" y="45"/>
                      <a:pt x="28" y="51"/>
                      <a:pt x="30" y="51"/>
                    </a:cubicBezTo>
                    <a:cubicBezTo>
                      <a:pt x="32" y="50"/>
                      <a:pt x="33" y="50"/>
                      <a:pt x="35" y="51"/>
                    </a:cubicBezTo>
                    <a:cubicBezTo>
                      <a:pt x="43" y="51"/>
                      <a:pt x="50" y="52"/>
                      <a:pt x="57" y="50"/>
                    </a:cubicBezTo>
                    <a:cubicBezTo>
                      <a:pt x="62" y="49"/>
                      <a:pt x="67" y="48"/>
                      <a:pt x="71" y="47"/>
                    </a:cubicBezTo>
                    <a:cubicBezTo>
                      <a:pt x="80" y="45"/>
                      <a:pt x="89" y="46"/>
                      <a:pt x="97" y="46"/>
                    </a:cubicBezTo>
                    <a:cubicBezTo>
                      <a:pt x="108" y="46"/>
                      <a:pt x="118" y="46"/>
                      <a:pt x="129" y="46"/>
                    </a:cubicBezTo>
                    <a:cubicBezTo>
                      <a:pt x="133" y="46"/>
                      <a:pt x="126" y="48"/>
                      <a:pt x="125" y="48"/>
                    </a:cubicBezTo>
                    <a:cubicBezTo>
                      <a:pt x="122" y="49"/>
                      <a:pt x="119" y="49"/>
                      <a:pt x="117" y="50"/>
                    </a:cubicBezTo>
                    <a:cubicBezTo>
                      <a:pt x="117" y="50"/>
                      <a:pt x="117" y="52"/>
                      <a:pt x="116" y="52"/>
                    </a:cubicBezTo>
                    <a:cubicBezTo>
                      <a:pt x="116" y="52"/>
                      <a:pt x="114" y="52"/>
                      <a:pt x="114" y="52"/>
                    </a:cubicBezTo>
                    <a:cubicBezTo>
                      <a:pt x="112" y="52"/>
                      <a:pt x="110" y="52"/>
                      <a:pt x="108" y="52"/>
                    </a:cubicBezTo>
                    <a:cubicBezTo>
                      <a:pt x="100" y="51"/>
                      <a:pt x="93" y="52"/>
                      <a:pt x="86" y="52"/>
                    </a:cubicBezTo>
                    <a:cubicBezTo>
                      <a:pt x="88" y="56"/>
                      <a:pt x="93" y="58"/>
                      <a:pt x="97" y="61"/>
                    </a:cubicBezTo>
                    <a:cubicBezTo>
                      <a:pt x="94" y="62"/>
                      <a:pt x="86" y="60"/>
                      <a:pt x="83" y="60"/>
                    </a:cubicBezTo>
                    <a:cubicBezTo>
                      <a:pt x="76" y="59"/>
                      <a:pt x="71" y="55"/>
                      <a:pt x="64" y="56"/>
                    </a:cubicBezTo>
                    <a:cubicBezTo>
                      <a:pt x="68" y="67"/>
                      <a:pt x="79" y="73"/>
                      <a:pt x="90" y="74"/>
                    </a:cubicBezTo>
                    <a:cubicBezTo>
                      <a:pt x="95" y="74"/>
                      <a:pt x="99" y="72"/>
                      <a:pt x="104" y="72"/>
                    </a:cubicBezTo>
                    <a:cubicBezTo>
                      <a:pt x="107" y="72"/>
                      <a:pt x="111" y="74"/>
                      <a:pt x="115" y="73"/>
                    </a:cubicBezTo>
                    <a:cubicBezTo>
                      <a:pt x="117" y="73"/>
                      <a:pt x="119" y="72"/>
                      <a:pt x="121" y="72"/>
                    </a:cubicBezTo>
                    <a:cubicBezTo>
                      <a:pt x="130" y="70"/>
                      <a:pt x="139" y="73"/>
                      <a:pt x="147" y="74"/>
                    </a:cubicBezTo>
                    <a:cubicBezTo>
                      <a:pt x="159" y="76"/>
                      <a:pt x="168" y="89"/>
                      <a:pt x="181" y="85"/>
                    </a:cubicBezTo>
                    <a:cubicBezTo>
                      <a:pt x="184" y="84"/>
                      <a:pt x="184" y="82"/>
                      <a:pt x="186" y="80"/>
                    </a:cubicBezTo>
                    <a:cubicBezTo>
                      <a:pt x="187" y="78"/>
                      <a:pt x="186" y="77"/>
                      <a:pt x="189" y="77"/>
                    </a:cubicBezTo>
                    <a:cubicBezTo>
                      <a:pt x="190" y="77"/>
                      <a:pt x="192" y="77"/>
                      <a:pt x="193" y="76"/>
                    </a:cubicBezTo>
                    <a:cubicBezTo>
                      <a:pt x="199" y="75"/>
                      <a:pt x="206" y="77"/>
                      <a:pt x="213" y="76"/>
                    </a:cubicBezTo>
                    <a:cubicBezTo>
                      <a:pt x="215" y="75"/>
                      <a:pt x="217" y="74"/>
                      <a:pt x="220" y="73"/>
                    </a:cubicBezTo>
                    <a:cubicBezTo>
                      <a:pt x="222" y="72"/>
                      <a:pt x="225" y="72"/>
                      <a:pt x="227" y="71"/>
                    </a:cubicBezTo>
                    <a:cubicBezTo>
                      <a:pt x="230" y="69"/>
                      <a:pt x="230" y="67"/>
                      <a:pt x="233" y="66"/>
                    </a:cubicBezTo>
                    <a:cubicBezTo>
                      <a:pt x="237" y="63"/>
                      <a:pt x="231" y="61"/>
                      <a:pt x="230" y="59"/>
                    </a:cubicBezTo>
                    <a:cubicBezTo>
                      <a:pt x="230" y="57"/>
                      <a:pt x="233" y="56"/>
                      <a:pt x="236" y="56"/>
                    </a:cubicBezTo>
                    <a:cubicBezTo>
                      <a:pt x="241" y="54"/>
                      <a:pt x="246" y="53"/>
                      <a:pt x="250" y="50"/>
                    </a:cubicBezTo>
                    <a:cubicBezTo>
                      <a:pt x="254" y="48"/>
                      <a:pt x="258" y="44"/>
                      <a:pt x="264" y="43"/>
                    </a:cubicBezTo>
                    <a:cubicBezTo>
                      <a:pt x="266" y="43"/>
                      <a:pt x="271" y="41"/>
                      <a:pt x="270" y="38"/>
                    </a:cubicBezTo>
                    <a:cubicBezTo>
                      <a:pt x="270" y="37"/>
                      <a:pt x="267" y="37"/>
                      <a:pt x="267" y="35"/>
                    </a:cubicBezTo>
                    <a:cubicBezTo>
                      <a:pt x="267" y="33"/>
                      <a:pt x="270" y="28"/>
                      <a:pt x="270" y="27"/>
                    </a:cubicBezTo>
                    <a:cubicBezTo>
                      <a:pt x="250" y="22"/>
                      <a:pt x="230" y="18"/>
                      <a:pt x="210" y="14"/>
                    </a:cubicBezTo>
                    <a:cubicBezTo>
                      <a:pt x="202" y="12"/>
                      <a:pt x="195" y="10"/>
                      <a:pt x="187" y="9"/>
                    </a:cubicBezTo>
                    <a:cubicBezTo>
                      <a:pt x="186" y="9"/>
                      <a:pt x="182" y="9"/>
                      <a:pt x="183" y="10"/>
                    </a:cubicBezTo>
                    <a:cubicBezTo>
                      <a:pt x="183" y="12"/>
                      <a:pt x="188" y="12"/>
                      <a:pt x="189" y="12"/>
                    </a:cubicBezTo>
                    <a:cubicBezTo>
                      <a:pt x="184" y="13"/>
                      <a:pt x="179" y="13"/>
                      <a:pt x="174" y="13"/>
                    </a:cubicBezTo>
                    <a:cubicBezTo>
                      <a:pt x="171" y="13"/>
                      <a:pt x="169" y="16"/>
                      <a:pt x="172" y="17"/>
                    </a:cubicBezTo>
                    <a:cubicBezTo>
                      <a:pt x="168" y="20"/>
                      <a:pt x="158" y="26"/>
                      <a:pt x="152" y="25"/>
                    </a:cubicBezTo>
                    <a:cubicBezTo>
                      <a:pt x="149" y="24"/>
                      <a:pt x="149" y="17"/>
                      <a:pt x="152" y="16"/>
                    </a:cubicBezTo>
                    <a:cubicBezTo>
                      <a:pt x="154" y="16"/>
                      <a:pt x="156" y="16"/>
                      <a:pt x="157" y="15"/>
                    </a:cubicBezTo>
                    <a:cubicBezTo>
                      <a:pt x="158" y="15"/>
                      <a:pt x="159" y="12"/>
                      <a:pt x="159" y="11"/>
                    </a:cubicBezTo>
                    <a:cubicBezTo>
                      <a:pt x="158" y="10"/>
                      <a:pt x="153" y="7"/>
                      <a:pt x="152" y="6"/>
                    </a:cubicBezTo>
                    <a:cubicBezTo>
                      <a:pt x="149" y="4"/>
                      <a:pt x="146" y="1"/>
                      <a:pt x="143" y="0"/>
                    </a:cubicBezTo>
                    <a:cubicBezTo>
                      <a:pt x="146" y="7"/>
                      <a:pt x="136" y="2"/>
                      <a:pt x="132" y="5"/>
                    </a:cubicBezTo>
                    <a:cubicBezTo>
                      <a:pt x="130" y="7"/>
                      <a:pt x="130" y="9"/>
                      <a:pt x="132" y="11"/>
                    </a:cubicBezTo>
                    <a:cubicBezTo>
                      <a:pt x="133" y="12"/>
                      <a:pt x="135" y="11"/>
                      <a:pt x="136" y="12"/>
                    </a:cubicBezTo>
                    <a:cubicBezTo>
                      <a:pt x="139" y="15"/>
                      <a:pt x="135" y="14"/>
                      <a:pt x="134" y="16"/>
                    </a:cubicBezTo>
                    <a:cubicBezTo>
                      <a:pt x="134" y="17"/>
                      <a:pt x="135" y="18"/>
                      <a:pt x="134" y="19"/>
                    </a:cubicBezTo>
                    <a:cubicBezTo>
                      <a:pt x="134" y="20"/>
                      <a:pt x="133" y="21"/>
                      <a:pt x="133" y="21"/>
                    </a:cubicBezTo>
                    <a:cubicBezTo>
                      <a:pt x="132" y="26"/>
                      <a:pt x="133" y="31"/>
                      <a:pt x="127" y="34"/>
                    </a:cubicBezTo>
                    <a:cubicBezTo>
                      <a:pt x="126" y="31"/>
                      <a:pt x="127" y="31"/>
                      <a:pt x="125" y="29"/>
                    </a:cubicBezTo>
                    <a:cubicBezTo>
                      <a:pt x="122" y="25"/>
                      <a:pt x="115" y="27"/>
                      <a:pt x="110" y="25"/>
                    </a:cubicBezTo>
                    <a:cubicBezTo>
                      <a:pt x="110" y="25"/>
                      <a:pt x="111" y="23"/>
                      <a:pt x="112" y="23"/>
                    </a:cubicBezTo>
                    <a:cubicBezTo>
                      <a:pt x="105" y="21"/>
                      <a:pt x="98" y="21"/>
                      <a:pt x="91" y="19"/>
                    </a:cubicBezTo>
                    <a:cubicBezTo>
                      <a:pt x="87" y="19"/>
                      <a:pt x="86" y="16"/>
                      <a:pt x="83" y="14"/>
                    </a:cubicBezTo>
                    <a:cubicBezTo>
                      <a:pt x="79" y="12"/>
                      <a:pt x="76" y="10"/>
                      <a:pt x="71" y="8"/>
                    </a:cubicBezTo>
                    <a:cubicBezTo>
                      <a:pt x="65" y="6"/>
                      <a:pt x="59" y="3"/>
                      <a:pt x="53" y="1"/>
                    </a:cubicBezTo>
                    <a:cubicBezTo>
                      <a:pt x="53" y="1"/>
                      <a:pt x="45" y="4"/>
                      <a:pt x="49" y="6"/>
                    </a:cubicBezTo>
                    <a:cubicBezTo>
                      <a:pt x="52" y="8"/>
                      <a:pt x="57" y="7"/>
                      <a:pt x="61" y="8"/>
                    </a:cubicBezTo>
                    <a:cubicBezTo>
                      <a:pt x="60" y="9"/>
                      <a:pt x="59" y="10"/>
                      <a:pt x="58" y="10"/>
                    </a:cubicBezTo>
                    <a:cubicBezTo>
                      <a:pt x="58" y="11"/>
                      <a:pt x="59" y="11"/>
                      <a:pt x="59" y="11"/>
                    </a:cubicBezTo>
                    <a:cubicBezTo>
                      <a:pt x="56" y="12"/>
                      <a:pt x="56" y="17"/>
                      <a:pt x="53" y="18"/>
                    </a:cubicBezTo>
                    <a:cubicBezTo>
                      <a:pt x="51" y="19"/>
                      <a:pt x="42" y="13"/>
                      <a:pt x="40" y="12"/>
                    </a:cubicBezTo>
                    <a:cubicBezTo>
                      <a:pt x="40" y="12"/>
                      <a:pt x="35" y="10"/>
                      <a:pt x="35" y="11"/>
                    </a:cubicBezTo>
                    <a:cubicBezTo>
                      <a:pt x="35" y="12"/>
                      <a:pt x="37" y="12"/>
                      <a:pt x="37" y="13"/>
                    </a:cubicBezTo>
                    <a:cubicBezTo>
                      <a:pt x="38" y="15"/>
                      <a:pt x="38" y="17"/>
                      <a:pt x="40" y="18"/>
                    </a:cubicBezTo>
                    <a:cubicBezTo>
                      <a:pt x="27" y="20"/>
                      <a:pt x="13" y="23"/>
                      <a:pt x="0" y="25"/>
                    </a:cubicBezTo>
                    <a:cubicBezTo>
                      <a:pt x="11" y="26"/>
                      <a:pt x="22" y="28"/>
                      <a:pt x="33"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729"/>
              <p:cNvSpPr/>
              <p:nvPr/>
            </p:nvSpPr>
            <p:spPr bwMode="auto">
              <a:xfrm>
                <a:off x="4669" y="-291"/>
                <a:ext cx="128" cy="21"/>
              </a:xfrm>
              <a:custGeom>
                <a:gdLst>
                  <a:gd name="T0" fmla="*/ 41 w 54"/>
                  <a:gd name="T1" fmla="*/ 3 h 9"/>
                  <a:gd name="T2" fmla="*/ 54 w 54"/>
                  <a:gd name="T3" fmla="*/ 0 h 9"/>
                  <a:gd name="T4" fmla="*/ 0 w 54"/>
                  <a:gd name="T5" fmla="*/ 9 h 9"/>
                  <a:gd name="T6" fmla="*/ 28 w 54"/>
                  <a:gd name="T7" fmla="*/ 6 h 9"/>
                  <a:gd name="T8" fmla="*/ 41 w 54"/>
                  <a:gd name="T9" fmla="*/ 3 h 9"/>
                </a:gdLst>
                <a:cxnLst>
                  <a:cxn ang="0">
                    <a:pos x="T0" y="T1"/>
                  </a:cxn>
                  <a:cxn ang="0">
                    <a:pos x="T2" y="T3"/>
                  </a:cxn>
                  <a:cxn ang="0">
                    <a:pos x="T4" y="T5"/>
                  </a:cxn>
                  <a:cxn ang="0">
                    <a:pos x="T6" y="T7"/>
                  </a:cxn>
                  <a:cxn ang="0">
                    <a:pos x="T8" y="T9"/>
                  </a:cxn>
                </a:cxnLst>
                <a:rect l="0" t="0" r="r" b="b"/>
                <a:pathLst>
                  <a:path w="54" h="9">
                    <a:moveTo>
                      <a:pt x="41" y="3"/>
                    </a:moveTo>
                    <a:cubicBezTo>
                      <a:pt x="45" y="2"/>
                      <a:pt x="51" y="2"/>
                      <a:pt x="54" y="0"/>
                    </a:cubicBezTo>
                    <a:cubicBezTo>
                      <a:pt x="36" y="3"/>
                      <a:pt x="18" y="6"/>
                      <a:pt x="0" y="9"/>
                    </a:cubicBezTo>
                    <a:cubicBezTo>
                      <a:pt x="9" y="8"/>
                      <a:pt x="19" y="7"/>
                      <a:pt x="28" y="6"/>
                    </a:cubicBezTo>
                    <a:cubicBezTo>
                      <a:pt x="33" y="5"/>
                      <a:pt x="37" y="4"/>
                      <a:pt x="4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730"/>
              <p:cNvSpPr/>
              <p:nvPr/>
            </p:nvSpPr>
            <p:spPr bwMode="auto">
              <a:xfrm>
                <a:off x="4408" y="-101"/>
                <a:ext cx="121" cy="24"/>
              </a:xfrm>
              <a:custGeom>
                <a:gdLst>
                  <a:gd name="T0" fmla="*/ 18 w 51"/>
                  <a:gd name="T1" fmla="*/ 5 h 10"/>
                  <a:gd name="T2" fmla="*/ 29 w 51"/>
                  <a:gd name="T3" fmla="*/ 4 h 10"/>
                  <a:gd name="T4" fmla="*/ 41 w 51"/>
                  <a:gd name="T5" fmla="*/ 7 h 10"/>
                  <a:gd name="T6" fmla="*/ 51 w 51"/>
                  <a:gd name="T7" fmla="*/ 5 h 10"/>
                  <a:gd name="T8" fmla="*/ 24 w 51"/>
                  <a:gd name="T9" fmla="*/ 0 h 10"/>
                  <a:gd name="T10" fmla="*/ 0 w 51"/>
                  <a:gd name="T11" fmla="*/ 7 h 10"/>
                  <a:gd name="T12" fmla="*/ 7 w 51"/>
                  <a:gd name="T13" fmla="*/ 10 h 10"/>
                  <a:gd name="T14" fmla="*/ 18 w 51"/>
                  <a:gd name="T15" fmla="*/ 5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0">
                    <a:moveTo>
                      <a:pt x="18" y="5"/>
                    </a:moveTo>
                    <a:cubicBezTo>
                      <a:pt x="22" y="5"/>
                      <a:pt x="26" y="3"/>
                      <a:pt x="29" y="4"/>
                    </a:cubicBezTo>
                    <a:cubicBezTo>
                      <a:pt x="33" y="5"/>
                      <a:pt x="36" y="8"/>
                      <a:pt x="41" y="7"/>
                    </a:cubicBezTo>
                    <a:cubicBezTo>
                      <a:pt x="44" y="7"/>
                      <a:pt x="48" y="5"/>
                      <a:pt x="51" y="5"/>
                    </a:cubicBezTo>
                    <a:cubicBezTo>
                      <a:pt x="43" y="2"/>
                      <a:pt x="33" y="1"/>
                      <a:pt x="24" y="0"/>
                    </a:cubicBezTo>
                    <a:cubicBezTo>
                      <a:pt x="15" y="0"/>
                      <a:pt x="9" y="5"/>
                      <a:pt x="0" y="7"/>
                    </a:cubicBezTo>
                    <a:cubicBezTo>
                      <a:pt x="2" y="9"/>
                      <a:pt x="5" y="9"/>
                      <a:pt x="7" y="10"/>
                    </a:cubicBezTo>
                    <a:cubicBezTo>
                      <a:pt x="9" y="8"/>
                      <a:pt x="15" y="5"/>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731"/>
              <p:cNvSpPr/>
              <p:nvPr/>
            </p:nvSpPr>
            <p:spPr bwMode="auto">
              <a:xfrm>
                <a:off x="4213" y="242"/>
                <a:ext cx="27" cy="24"/>
              </a:xfrm>
              <a:custGeom>
                <a:gdLst>
                  <a:gd name="T0" fmla="*/ 0 w 11"/>
                  <a:gd name="T1" fmla="*/ 10 h 10"/>
                  <a:gd name="T2" fmla="*/ 11 w 11"/>
                  <a:gd name="T3" fmla="*/ 0 h 10"/>
                  <a:gd name="T4" fmla="*/ 0 w 11"/>
                  <a:gd name="T5" fmla="*/ 10 h 10"/>
                </a:gdLst>
                <a:cxnLst>
                  <a:cxn ang="0">
                    <a:pos x="T0" y="T1"/>
                  </a:cxn>
                  <a:cxn ang="0">
                    <a:pos x="T2" y="T3"/>
                  </a:cxn>
                  <a:cxn ang="0">
                    <a:pos x="T4" y="T5"/>
                  </a:cxn>
                </a:cxnLst>
                <a:rect l="0" t="0" r="r" b="b"/>
                <a:pathLst>
                  <a:path w="11" h="10">
                    <a:moveTo>
                      <a:pt x="0" y="10"/>
                    </a:moveTo>
                    <a:cubicBezTo>
                      <a:pt x="4" y="7"/>
                      <a:pt x="8" y="3"/>
                      <a:pt x="11" y="0"/>
                    </a:cubicBezTo>
                    <a:cubicBezTo>
                      <a:pt x="7" y="2"/>
                      <a:pt x="3" y="6"/>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732"/>
              <p:cNvSpPr/>
              <p:nvPr/>
            </p:nvSpPr>
            <p:spPr bwMode="auto">
              <a:xfrm>
                <a:off x="3886" y="-49"/>
                <a:ext cx="142" cy="62"/>
              </a:xfrm>
              <a:custGeom>
                <a:gdLst>
                  <a:gd name="T0" fmla="*/ 29 w 60"/>
                  <a:gd name="T1" fmla="*/ 25 h 26"/>
                  <a:gd name="T2" fmla="*/ 36 w 60"/>
                  <a:gd name="T3" fmla="*/ 24 h 26"/>
                  <a:gd name="T4" fmla="*/ 54 w 60"/>
                  <a:gd name="T5" fmla="*/ 22 h 26"/>
                  <a:gd name="T6" fmla="*/ 60 w 60"/>
                  <a:gd name="T7" fmla="*/ 18 h 26"/>
                  <a:gd name="T8" fmla="*/ 60 w 60"/>
                  <a:gd name="T9" fmla="*/ 13 h 26"/>
                  <a:gd name="T10" fmla="*/ 60 w 60"/>
                  <a:gd name="T11" fmla="*/ 8 h 26"/>
                  <a:gd name="T12" fmla="*/ 57 w 60"/>
                  <a:gd name="T13" fmla="*/ 6 h 26"/>
                  <a:gd name="T14" fmla="*/ 56 w 60"/>
                  <a:gd name="T15" fmla="*/ 2 h 26"/>
                  <a:gd name="T16" fmla="*/ 52 w 60"/>
                  <a:gd name="T17" fmla="*/ 3 h 26"/>
                  <a:gd name="T18" fmla="*/ 48 w 60"/>
                  <a:gd name="T19" fmla="*/ 2 h 26"/>
                  <a:gd name="T20" fmla="*/ 44 w 60"/>
                  <a:gd name="T21" fmla="*/ 1 h 26"/>
                  <a:gd name="T22" fmla="*/ 40 w 60"/>
                  <a:gd name="T23" fmla="*/ 3 h 26"/>
                  <a:gd name="T24" fmla="*/ 33 w 60"/>
                  <a:gd name="T25" fmla="*/ 0 h 26"/>
                  <a:gd name="T26" fmla="*/ 27 w 60"/>
                  <a:gd name="T27" fmla="*/ 4 h 26"/>
                  <a:gd name="T28" fmla="*/ 18 w 60"/>
                  <a:gd name="T29" fmla="*/ 5 h 26"/>
                  <a:gd name="T30" fmla="*/ 0 w 60"/>
                  <a:gd name="T31" fmla="*/ 9 h 26"/>
                  <a:gd name="T32" fmla="*/ 15 w 60"/>
                  <a:gd name="T33" fmla="*/ 16 h 26"/>
                  <a:gd name="T34" fmla="*/ 18 w 60"/>
                  <a:gd name="T35" fmla="*/ 21 h 26"/>
                  <a:gd name="T36" fmla="*/ 16 w 60"/>
                  <a:gd name="T37" fmla="*/ 26 h 26"/>
                  <a:gd name="T38" fmla="*/ 29 w 60"/>
                  <a:gd name="T39" fmla="*/ 25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26">
                    <a:moveTo>
                      <a:pt x="29" y="25"/>
                    </a:moveTo>
                    <a:cubicBezTo>
                      <a:pt x="31" y="25"/>
                      <a:pt x="33" y="24"/>
                      <a:pt x="36" y="24"/>
                    </a:cubicBezTo>
                    <a:cubicBezTo>
                      <a:pt x="42" y="23"/>
                      <a:pt x="48" y="23"/>
                      <a:pt x="54" y="22"/>
                    </a:cubicBezTo>
                    <a:cubicBezTo>
                      <a:pt x="57" y="22"/>
                      <a:pt x="60" y="21"/>
                      <a:pt x="60" y="18"/>
                    </a:cubicBezTo>
                    <a:cubicBezTo>
                      <a:pt x="60" y="16"/>
                      <a:pt x="59" y="15"/>
                      <a:pt x="60" y="13"/>
                    </a:cubicBezTo>
                    <a:cubicBezTo>
                      <a:pt x="60" y="11"/>
                      <a:pt x="60" y="9"/>
                      <a:pt x="60" y="8"/>
                    </a:cubicBezTo>
                    <a:cubicBezTo>
                      <a:pt x="59" y="7"/>
                      <a:pt x="58" y="7"/>
                      <a:pt x="57" y="6"/>
                    </a:cubicBezTo>
                    <a:cubicBezTo>
                      <a:pt x="57" y="6"/>
                      <a:pt x="56" y="2"/>
                      <a:pt x="56" y="2"/>
                    </a:cubicBezTo>
                    <a:cubicBezTo>
                      <a:pt x="54" y="1"/>
                      <a:pt x="53" y="3"/>
                      <a:pt x="52" y="3"/>
                    </a:cubicBezTo>
                    <a:cubicBezTo>
                      <a:pt x="51" y="3"/>
                      <a:pt x="48" y="2"/>
                      <a:pt x="48" y="2"/>
                    </a:cubicBezTo>
                    <a:cubicBezTo>
                      <a:pt x="46" y="2"/>
                      <a:pt x="46" y="1"/>
                      <a:pt x="44" y="1"/>
                    </a:cubicBezTo>
                    <a:cubicBezTo>
                      <a:pt x="42" y="1"/>
                      <a:pt x="41" y="3"/>
                      <a:pt x="40" y="3"/>
                    </a:cubicBezTo>
                    <a:cubicBezTo>
                      <a:pt x="37" y="3"/>
                      <a:pt x="36" y="0"/>
                      <a:pt x="33" y="0"/>
                    </a:cubicBezTo>
                    <a:cubicBezTo>
                      <a:pt x="28" y="0"/>
                      <a:pt x="30" y="2"/>
                      <a:pt x="27" y="4"/>
                    </a:cubicBezTo>
                    <a:cubicBezTo>
                      <a:pt x="24" y="5"/>
                      <a:pt x="21" y="4"/>
                      <a:pt x="18" y="5"/>
                    </a:cubicBezTo>
                    <a:cubicBezTo>
                      <a:pt x="12" y="6"/>
                      <a:pt x="5" y="6"/>
                      <a:pt x="0" y="9"/>
                    </a:cubicBezTo>
                    <a:cubicBezTo>
                      <a:pt x="4" y="11"/>
                      <a:pt x="14" y="12"/>
                      <a:pt x="15" y="16"/>
                    </a:cubicBezTo>
                    <a:cubicBezTo>
                      <a:pt x="16" y="18"/>
                      <a:pt x="18" y="20"/>
                      <a:pt x="18" y="21"/>
                    </a:cubicBezTo>
                    <a:cubicBezTo>
                      <a:pt x="18" y="23"/>
                      <a:pt x="16" y="25"/>
                      <a:pt x="16" y="26"/>
                    </a:cubicBezTo>
                    <a:cubicBezTo>
                      <a:pt x="18" y="23"/>
                      <a:pt x="25" y="26"/>
                      <a:pt x="29"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708482329"/>
      </p:ext>
    </p:extLst>
  </p:cSld>
  <p:clrMapOvr>
    <a:masterClrMapping/>
  </p:clrMapOvr>
  <p:transition/>
  <p:timing/>
</p:sldLayout>
</file>

<file path=ppt/slideLayouts/slideLayout9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si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grpSp>
        <p:nvGrpSpPr>
          <p:cNvPr id="365" name="Group 364"/>
          <p:cNvGrpSpPr/>
          <p:nvPr userDrawn="1"/>
        </p:nvGrpSpPr>
        <p:grpSpPr>
          <a:xfrm>
            <a:off x="2" y="939451"/>
            <a:ext cx="8898516" cy="5921261"/>
            <a:chOff x="1" y="2713"/>
            <a:chExt cx="10306255" cy="6858000"/>
          </a:xfrm>
          <a:gradFill>
            <a:gsLst>
              <a:gs pos="100000">
                <a:schemeClr val="accent5"/>
              </a:gs>
              <a:gs pos="0">
                <a:schemeClr val="accent1"/>
              </a:gs>
            </a:gsLst>
            <a:lin ang="0" scaled="1"/>
          </a:gradFill>
        </p:grpSpPr>
        <p:grpSp>
          <p:nvGrpSpPr>
            <p:cNvPr id="366" name="Group 205"/>
            <p:cNvGrpSpPr/>
            <p:nvPr/>
          </p:nvGrpSpPr>
          <p:grpSpPr>
            <a:xfrm>
              <a:off x="1" y="236540"/>
              <a:ext cx="10306255" cy="6624172"/>
              <a:chOff x="3665" y="-1441"/>
              <a:chExt cx="7493" cy="4816"/>
            </a:xfrm>
            <a:grpFill/>
          </p:grpSpPr>
          <p:sp>
            <p:nvSpPr>
              <p:cNvPr id="998" name="Rectangle 5"/>
              <p:cNvSpPr>
                <a:spLocks noChangeArrowheads="1"/>
              </p:cNvSpPr>
              <p:nvPr/>
            </p:nvSpPr>
            <p:spPr bwMode="auto">
              <a:xfrm>
                <a:off x="4719" y="103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9" name="Rectangle 6"/>
              <p:cNvSpPr>
                <a:spLocks noChangeArrowheads="1"/>
              </p:cNvSpPr>
              <p:nvPr/>
            </p:nvSpPr>
            <p:spPr bwMode="auto">
              <a:xfrm>
                <a:off x="4719" y="103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Freeform 7"/>
              <p:cNvSpPr/>
              <p:nvPr/>
            </p:nvSpPr>
            <p:spPr bwMode="auto">
              <a:xfrm>
                <a:off x="6931" y="2817"/>
                <a:ext cx="7" cy="12"/>
              </a:xfrm>
              <a:custGeom>
                <a:gdLst>
                  <a:gd name="T0" fmla="*/ 1 w 3"/>
                  <a:gd name="T1" fmla="*/ 0 h 5"/>
                  <a:gd name="T2" fmla="*/ 0 w 3"/>
                  <a:gd name="T3" fmla="*/ 1 h 5"/>
                  <a:gd name="T4" fmla="*/ 3 w 3"/>
                  <a:gd name="T5" fmla="*/ 5 h 5"/>
                  <a:gd name="T6" fmla="*/ 2 w 3"/>
                  <a:gd name="T7" fmla="*/ 0 h 5"/>
                  <a:gd name="T8" fmla="*/ 1 w 3"/>
                  <a:gd name="T9" fmla="*/ 0 h 5"/>
                  <a:gd name="T10" fmla="*/ 1 w 3"/>
                  <a:gd name="T11" fmla="*/ 0 h 5"/>
                  <a:gd name="T12" fmla="*/ 1 w 3"/>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3" h="5">
                    <a:moveTo>
                      <a:pt x="1" y="0"/>
                    </a:moveTo>
                    <a:cubicBezTo>
                      <a:pt x="0" y="0"/>
                      <a:pt x="0" y="0"/>
                      <a:pt x="0" y="1"/>
                    </a:cubicBezTo>
                    <a:cubicBezTo>
                      <a:pt x="0" y="2"/>
                      <a:pt x="3" y="4"/>
                      <a:pt x="3" y="5"/>
                    </a:cubicBezTo>
                    <a:cubicBezTo>
                      <a:pt x="3" y="4"/>
                      <a:pt x="2" y="1"/>
                      <a:pt x="2"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1" name="Freeform 8"/>
              <p:cNvSpPr/>
              <p:nvPr/>
            </p:nvSpPr>
            <p:spPr bwMode="auto">
              <a:xfrm>
                <a:off x="5733" y="2746"/>
                <a:ext cx="12" cy="15"/>
              </a:xfrm>
              <a:custGeom>
                <a:gdLst>
                  <a:gd name="T0" fmla="*/ 5 w 5"/>
                  <a:gd name="T1" fmla="*/ 0 h 6"/>
                  <a:gd name="T2" fmla="*/ 0 w 5"/>
                  <a:gd name="T3" fmla="*/ 0 h 6"/>
                  <a:gd name="T4" fmla="*/ 0 w 5"/>
                  <a:gd name="T5" fmla="*/ 6 h 6"/>
                  <a:gd name="T6" fmla="*/ 5 w 5"/>
                  <a:gd name="T7" fmla="*/ 0 h 6"/>
                </a:gdLst>
                <a:cxnLst>
                  <a:cxn ang="0">
                    <a:pos x="T0" y="T1"/>
                  </a:cxn>
                  <a:cxn ang="0">
                    <a:pos x="T2" y="T3"/>
                  </a:cxn>
                  <a:cxn ang="0">
                    <a:pos x="T4" y="T5"/>
                  </a:cxn>
                  <a:cxn ang="0">
                    <a:pos x="T6" y="T7"/>
                  </a:cxn>
                </a:cxnLst>
                <a:rect l="0" t="0" r="r" b="b"/>
                <a:pathLst>
                  <a:path w="5" h="6">
                    <a:moveTo>
                      <a:pt x="5" y="0"/>
                    </a:moveTo>
                    <a:cubicBezTo>
                      <a:pt x="3" y="0"/>
                      <a:pt x="2" y="0"/>
                      <a:pt x="0" y="0"/>
                    </a:cubicBezTo>
                    <a:cubicBezTo>
                      <a:pt x="0" y="2"/>
                      <a:pt x="0" y="4"/>
                      <a:pt x="0" y="6"/>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Freeform 9"/>
              <p:cNvSpPr/>
              <p:nvPr/>
            </p:nvSpPr>
            <p:spPr bwMode="auto">
              <a:xfrm>
                <a:off x="6697" y="2396"/>
                <a:ext cx="5" cy="12"/>
              </a:xfrm>
              <a:custGeom>
                <a:gdLst>
                  <a:gd name="T0" fmla="*/ 0 w 2"/>
                  <a:gd name="T1" fmla="*/ 0 h 5"/>
                  <a:gd name="T2" fmla="*/ 1 w 2"/>
                  <a:gd name="T3" fmla="*/ 3 h 5"/>
                  <a:gd name="T4" fmla="*/ 2 w 2"/>
                  <a:gd name="T5" fmla="*/ 5 h 5"/>
                  <a:gd name="T6" fmla="*/ 1 w 2"/>
                  <a:gd name="T7" fmla="*/ 2 h 5"/>
                  <a:gd name="T8" fmla="*/ 0 w 2"/>
                  <a:gd name="T9" fmla="*/ 0 h 5"/>
                </a:gdLst>
                <a:cxnLst>
                  <a:cxn ang="0">
                    <a:pos x="T0" y="T1"/>
                  </a:cxn>
                  <a:cxn ang="0">
                    <a:pos x="T2" y="T3"/>
                  </a:cxn>
                  <a:cxn ang="0">
                    <a:pos x="T4" y="T5"/>
                  </a:cxn>
                  <a:cxn ang="0">
                    <a:pos x="T6" y="T7"/>
                  </a:cxn>
                  <a:cxn ang="0">
                    <a:pos x="T8" y="T9"/>
                  </a:cxn>
                </a:cxnLst>
                <a:rect l="0" t="0" r="r" b="b"/>
                <a:pathLst>
                  <a:path w="2" h="5">
                    <a:moveTo>
                      <a:pt x="0" y="0"/>
                    </a:moveTo>
                    <a:cubicBezTo>
                      <a:pt x="0" y="1"/>
                      <a:pt x="1" y="2"/>
                      <a:pt x="1" y="3"/>
                    </a:cubicBezTo>
                    <a:cubicBezTo>
                      <a:pt x="1" y="4"/>
                      <a:pt x="2" y="4"/>
                      <a:pt x="2" y="5"/>
                    </a:cubicBezTo>
                    <a:cubicBezTo>
                      <a:pt x="2" y="4"/>
                      <a:pt x="2" y="3"/>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3" name="Rectangle 10"/>
              <p:cNvSpPr>
                <a:spLocks noChangeArrowheads="1"/>
              </p:cNvSpPr>
              <p:nvPr/>
            </p:nvSpPr>
            <p:spPr bwMode="auto">
              <a:xfrm>
                <a:off x="6099" y="284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Freeform 11"/>
              <p:cNvSpPr/>
              <p:nvPr/>
            </p:nvSpPr>
            <p:spPr bwMode="auto">
              <a:xfrm flipH="1">
                <a:off x="6099" y="284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5" name="Oval 12"/>
              <p:cNvSpPr>
                <a:spLocks noChangeArrowheads="1"/>
              </p:cNvSpPr>
              <p:nvPr/>
            </p:nvSpPr>
            <p:spPr bwMode="auto">
              <a:xfrm>
                <a:off x="9336" y="2978"/>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Freeform 13"/>
              <p:cNvSpPr/>
              <p:nvPr/>
            </p:nvSpPr>
            <p:spPr bwMode="auto">
              <a:xfrm>
                <a:off x="9348" y="2990"/>
                <a:ext cx="3" cy="0"/>
              </a:xfrm>
              <a:custGeom>
                <a:gdLst>
                  <a:gd name="T0" fmla="*/ 1 w 1"/>
                  <a:gd name="T1" fmla="*/ 0 w 1"/>
                  <a:gd name="T2" fmla="*/ 0 w 1"/>
                  <a:gd name="T3" fmla="*/ 1 w 1"/>
                  <a:gd name="T4" fmla="*/ 1 w 1"/>
                </a:gdLst>
                <a:cxnLst>
                  <a:cxn ang="0">
                    <a:pos x="T0" y="0"/>
                  </a:cxn>
                  <a:cxn ang="0">
                    <a:pos x="T1" y="0"/>
                  </a:cxn>
                  <a:cxn ang="0">
                    <a:pos x="T2" y="0"/>
                  </a:cxn>
                  <a:cxn ang="0">
                    <a:pos x="T3" y="0"/>
                  </a:cxn>
                  <a:cxn ang="0">
                    <a:pos x="T4" y="0"/>
                  </a:cxn>
                </a:cxnLst>
                <a:rect l="0" t="0" r="r" b="b"/>
                <a:pathLst>
                  <a:path w="1">
                    <a:moveTo>
                      <a:pt x="1" y="0"/>
                    </a:moveTo>
                    <a:cubicBezTo>
                      <a:pt x="1" y="0"/>
                      <a:pt x="1" y="0"/>
                      <a:pt x="0" y="0"/>
                    </a:cubicBezTo>
                    <a:cubicBezTo>
                      <a:pt x="0" y="0"/>
                      <a:pt x="0" y="0"/>
                      <a:pt x="0" y="0"/>
                    </a:cubicBezTo>
                    <a:cubicBezTo>
                      <a:pt x="0"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7" name="Freeform 14"/>
              <p:cNvSpPr/>
              <p:nvPr/>
            </p:nvSpPr>
            <p:spPr bwMode="auto">
              <a:xfrm>
                <a:off x="11078" y="446"/>
                <a:ext cx="12" cy="5"/>
              </a:xfrm>
              <a:custGeom>
                <a:gdLst>
                  <a:gd name="T0" fmla="*/ 0 w 5"/>
                  <a:gd name="T1" fmla="*/ 0 h 2"/>
                  <a:gd name="T2" fmla="*/ 4 w 5"/>
                  <a:gd name="T3" fmla="*/ 2 h 2"/>
                  <a:gd name="T4" fmla="*/ 5 w 5"/>
                  <a:gd name="T5" fmla="*/ 1 h 2"/>
                  <a:gd name="T6" fmla="*/ 0 w 5"/>
                  <a:gd name="T7" fmla="*/ 0 h 2"/>
                </a:gdLst>
                <a:cxnLst>
                  <a:cxn ang="0">
                    <a:pos x="T0" y="T1"/>
                  </a:cxn>
                  <a:cxn ang="0">
                    <a:pos x="T2" y="T3"/>
                  </a:cxn>
                  <a:cxn ang="0">
                    <a:pos x="T4" y="T5"/>
                  </a:cxn>
                  <a:cxn ang="0">
                    <a:pos x="T6" y="T7"/>
                  </a:cxn>
                </a:cxnLst>
                <a:rect l="0" t="0" r="r" b="b"/>
                <a:pathLst>
                  <a:path w="5" h="2">
                    <a:moveTo>
                      <a:pt x="0" y="0"/>
                    </a:moveTo>
                    <a:cubicBezTo>
                      <a:pt x="1" y="1"/>
                      <a:pt x="2" y="2"/>
                      <a:pt x="4" y="2"/>
                    </a:cubicBezTo>
                    <a:cubicBezTo>
                      <a:pt x="4" y="2"/>
                      <a:pt x="5" y="1"/>
                      <a:pt x="5" y="1"/>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8" name="Freeform 15"/>
              <p:cNvSpPr>
                <a:spLocks noEditPoints="1"/>
              </p:cNvSpPr>
              <p:nvPr/>
            </p:nvSpPr>
            <p:spPr bwMode="auto">
              <a:xfrm>
                <a:off x="10984" y="-39"/>
                <a:ext cx="144" cy="59"/>
              </a:xfrm>
              <a:custGeom>
                <a:gdLst>
                  <a:gd name="T0" fmla="*/ 37 w 61"/>
                  <a:gd name="T1" fmla="*/ 20 h 25"/>
                  <a:gd name="T2" fmla="*/ 38 w 61"/>
                  <a:gd name="T3" fmla="*/ 20 h 25"/>
                  <a:gd name="T4" fmla="*/ 37 w 61"/>
                  <a:gd name="T5" fmla="*/ 20 h 25"/>
                  <a:gd name="T6" fmla="*/ 3 w 61"/>
                  <a:gd name="T7" fmla="*/ 0 h 25"/>
                  <a:gd name="T8" fmla="*/ 1 w 61"/>
                  <a:gd name="T9" fmla="*/ 4 h 25"/>
                  <a:gd name="T10" fmla="*/ 1 w 61"/>
                  <a:gd name="T11" fmla="*/ 6 h 25"/>
                  <a:gd name="T12" fmla="*/ 1 w 61"/>
                  <a:gd name="T13" fmla="*/ 11 h 25"/>
                  <a:gd name="T14" fmla="*/ 6 w 61"/>
                  <a:gd name="T15" fmla="*/ 13 h 25"/>
                  <a:gd name="T16" fmla="*/ 11 w 61"/>
                  <a:gd name="T17" fmla="*/ 12 h 25"/>
                  <a:gd name="T18" fmla="*/ 15 w 61"/>
                  <a:gd name="T19" fmla="*/ 11 h 25"/>
                  <a:gd name="T20" fmla="*/ 28 w 61"/>
                  <a:gd name="T21" fmla="*/ 15 h 25"/>
                  <a:gd name="T22" fmla="*/ 15 w 61"/>
                  <a:gd name="T23" fmla="*/ 11 h 25"/>
                  <a:gd name="T24" fmla="*/ 19 w 61"/>
                  <a:gd name="T25" fmla="*/ 10 h 25"/>
                  <a:gd name="T26" fmla="*/ 19 w 61"/>
                  <a:gd name="T27" fmla="*/ 10 h 25"/>
                  <a:gd name="T28" fmla="*/ 28 w 61"/>
                  <a:gd name="T29" fmla="*/ 14 h 25"/>
                  <a:gd name="T30" fmla="*/ 31 w 61"/>
                  <a:gd name="T31" fmla="*/ 18 h 25"/>
                  <a:gd name="T32" fmla="*/ 37 w 61"/>
                  <a:gd name="T33" fmla="*/ 20 h 25"/>
                  <a:gd name="T34" fmla="*/ 36 w 61"/>
                  <a:gd name="T35" fmla="*/ 19 h 25"/>
                  <a:gd name="T36" fmla="*/ 41 w 61"/>
                  <a:gd name="T37" fmla="*/ 23 h 25"/>
                  <a:gd name="T38" fmla="*/ 41 w 61"/>
                  <a:gd name="T39" fmla="*/ 23 h 25"/>
                  <a:gd name="T40" fmla="*/ 40 w 61"/>
                  <a:gd name="T41" fmla="*/ 24 h 25"/>
                  <a:gd name="T42" fmla="*/ 41 w 61"/>
                  <a:gd name="T43" fmla="*/ 25 h 25"/>
                  <a:gd name="T44" fmla="*/ 43 w 61"/>
                  <a:gd name="T45" fmla="*/ 24 h 25"/>
                  <a:gd name="T46" fmla="*/ 50 w 61"/>
                  <a:gd name="T47" fmla="*/ 18 h 25"/>
                  <a:gd name="T48" fmla="*/ 52 w 61"/>
                  <a:gd name="T49" fmla="*/ 19 h 25"/>
                  <a:gd name="T50" fmla="*/ 55 w 61"/>
                  <a:gd name="T51" fmla="*/ 19 h 25"/>
                  <a:gd name="T52" fmla="*/ 61 w 61"/>
                  <a:gd name="T53" fmla="*/ 15 h 25"/>
                  <a:gd name="T54" fmla="*/ 38 w 61"/>
                  <a:gd name="T55" fmla="*/ 7 h 25"/>
                  <a:gd name="T56" fmla="*/ 28 w 61"/>
                  <a:gd name="T57" fmla="*/ 3 h 25"/>
                  <a:gd name="T58" fmla="*/ 27 w 61"/>
                  <a:gd name="T59" fmla="*/ 4 h 25"/>
                  <a:gd name="T60" fmla="*/ 17 w 61"/>
                  <a:gd name="T61" fmla="*/ 7 h 25"/>
                  <a:gd name="T62" fmla="*/ 17 w 61"/>
                  <a:gd name="T63" fmla="*/ 7 h 25"/>
                  <a:gd name="T64" fmla="*/ 8 w 61"/>
                  <a:gd name="T65" fmla="*/ 6 h 25"/>
                  <a:gd name="T66" fmla="*/ 3 w 61"/>
                  <a:gd name="T67"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25">
                    <a:moveTo>
                      <a:pt x="37" y="20"/>
                    </a:moveTo>
                    <a:cubicBezTo>
                      <a:pt x="37" y="20"/>
                      <a:pt x="38" y="20"/>
                      <a:pt x="38" y="20"/>
                    </a:cubicBezTo>
                    <a:cubicBezTo>
                      <a:pt x="38" y="20"/>
                      <a:pt x="37" y="20"/>
                      <a:pt x="37" y="20"/>
                    </a:cubicBezTo>
                    <a:moveTo>
                      <a:pt x="3" y="0"/>
                    </a:moveTo>
                    <a:cubicBezTo>
                      <a:pt x="2" y="2"/>
                      <a:pt x="2" y="3"/>
                      <a:pt x="1" y="4"/>
                    </a:cubicBezTo>
                    <a:cubicBezTo>
                      <a:pt x="1" y="5"/>
                      <a:pt x="1" y="6"/>
                      <a:pt x="1" y="6"/>
                    </a:cubicBezTo>
                    <a:cubicBezTo>
                      <a:pt x="0" y="8"/>
                      <a:pt x="0" y="10"/>
                      <a:pt x="1" y="11"/>
                    </a:cubicBezTo>
                    <a:cubicBezTo>
                      <a:pt x="2" y="13"/>
                      <a:pt x="4" y="13"/>
                      <a:pt x="6" y="13"/>
                    </a:cubicBezTo>
                    <a:cubicBezTo>
                      <a:pt x="7" y="13"/>
                      <a:pt x="9" y="13"/>
                      <a:pt x="11" y="12"/>
                    </a:cubicBezTo>
                    <a:cubicBezTo>
                      <a:pt x="12" y="12"/>
                      <a:pt x="14" y="11"/>
                      <a:pt x="15" y="11"/>
                    </a:cubicBezTo>
                    <a:cubicBezTo>
                      <a:pt x="19" y="11"/>
                      <a:pt x="24" y="13"/>
                      <a:pt x="28" y="15"/>
                    </a:cubicBezTo>
                    <a:cubicBezTo>
                      <a:pt x="25" y="12"/>
                      <a:pt x="20" y="11"/>
                      <a:pt x="15" y="11"/>
                    </a:cubicBezTo>
                    <a:cubicBezTo>
                      <a:pt x="16" y="11"/>
                      <a:pt x="18" y="10"/>
                      <a:pt x="19" y="10"/>
                    </a:cubicBezTo>
                    <a:cubicBezTo>
                      <a:pt x="19" y="10"/>
                      <a:pt x="19" y="10"/>
                      <a:pt x="19" y="10"/>
                    </a:cubicBezTo>
                    <a:cubicBezTo>
                      <a:pt x="22" y="10"/>
                      <a:pt x="25" y="13"/>
                      <a:pt x="28" y="14"/>
                    </a:cubicBezTo>
                    <a:cubicBezTo>
                      <a:pt x="29" y="14"/>
                      <a:pt x="34" y="16"/>
                      <a:pt x="31" y="18"/>
                    </a:cubicBezTo>
                    <a:cubicBezTo>
                      <a:pt x="33" y="19"/>
                      <a:pt x="35" y="18"/>
                      <a:pt x="37" y="20"/>
                    </a:cubicBezTo>
                    <a:cubicBezTo>
                      <a:pt x="37" y="20"/>
                      <a:pt x="37" y="19"/>
                      <a:pt x="36" y="19"/>
                    </a:cubicBezTo>
                    <a:cubicBezTo>
                      <a:pt x="39" y="20"/>
                      <a:pt x="40" y="21"/>
                      <a:pt x="41" y="23"/>
                    </a:cubicBezTo>
                    <a:cubicBezTo>
                      <a:pt x="41" y="23"/>
                      <a:pt x="41" y="23"/>
                      <a:pt x="41" y="23"/>
                    </a:cubicBezTo>
                    <a:cubicBezTo>
                      <a:pt x="41" y="23"/>
                      <a:pt x="40" y="24"/>
                      <a:pt x="40" y="24"/>
                    </a:cubicBezTo>
                    <a:cubicBezTo>
                      <a:pt x="41" y="25"/>
                      <a:pt x="41" y="25"/>
                      <a:pt x="41" y="25"/>
                    </a:cubicBezTo>
                    <a:cubicBezTo>
                      <a:pt x="42" y="25"/>
                      <a:pt x="42" y="24"/>
                      <a:pt x="43" y="24"/>
                    </a:cubicBezTo>
                    <a:cubicBezTo>
                      <a:pt x="46" y="21"/>
                      <a:pt x="47" y="18"/>
                      <a:pt x="50" y="18"/>
                    </a:cubicBezTo>
                    <a:cubicBezTo>
                      <a:pt x="51" y="18"/>
                      <a:pt x="51" y="18"/>
                      <a:pt x="52" y="19"/>
                    </a:cubicBezTo>
                    <a:cubicBezTo>
                      <a:pt x="53" y="19"/>
                      <a:pt x="54" y="19"/>
                      <a:pt x="55" y="19"/>
                    </a:cubicBezTo>
                    <a:cubicBezTo>
                      <a:pt x="57" y="19"/>
                      <a:pt x="58" y="18"/>
                      <a:pt x="61" y="15"/>
                    </a:cubicBezTo>
                    <a:cubicBezTo>
                      <a:pt x="53" y="12"/>
                      <a:pt x="45" y="9"/>
                      <a:pt x="38" y="7"/>
                    </a:cubicBezTo>
                    <a:cubicBezTo>
                      <a:pt x="35" y="5"/>
                      <a:pt x="32" y="3"/>
                      <a:pt x="28" y="3"/>
                    </a:cubicBezTo>
                    <a:cubicBezTo>
                      <a:pt x="28" y="3"/>
                      <a:pt x="27" y="3"/>
                      <a:pt x="27" y="4"/>
                    </a:cubicBezTo>
                    <a:cubicBezTo>
                      <a:pt x="24" y="4"/>
                      <a:pt x="20" y="7"/>
                      <a:pt x="17" y="7"/>
                    </a:cubicBezTo>
                    <a:cubicBezTo>
                      <a:pt x="17" y="7"/>
                      <a:pt x="17" y="7"/>
                      <a:pt x="17" y="7"/>
                    </a:cubicBezTo>
                    <a:cubicBezTo>
                      <a:pt x="14" y="6"/>
                      <a:pt x="11" y="6"/>
                      <a:pt x="8" y="6"/>
                    </a:cubicBezTo>
                    <a:cubicBezTo>
                      <a:pt x="6" y="6"/>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9" name="Freeform 16"/>
              <p:cNvSpPr/>
              <p:nvPr/>
            </p:nvSpPr>
            <p:spPr bwMode="auto">
              <a:xfrm>
                <a:off x="11066" y="680"/>
                <a:ext cx="17" cy="7"/>
              </a:xfrm>
              <a:custGeom>
                <a:gdLst>
                  <a:gd name="T0" fmla="*/ 4 w 7"/>
                  <a:gd name="T1" fmla="*/ 0 h 3"/>
                  <a:gd name="T2" fmla="*/ 0 w 7"/>
                  <a:gd name="T3" fmla="*/ 1 h 3"/>
                  <a:gd name="T4" fmla="*/ 6 w 7"/>
                  <a:gd name="T5" fmla="*/ 3 h 3"/>
                  <a:gd name="T6" fmla="*/ 4 w 7"/>
                  <a:gd name="T7" fmla="*/ 0 h 3"/>
                </a:gdLst>
                <a:cxnLst>
                  <a:cxn ang="0">
                    <a:pos x="T0" y="T1"/>
                  </a:cxn>
                  <a:cxn ang="0">
                    <a:pos x="T2" y="T3"/>
                  </a:cxn>
                  <a:cxn ang="0">
                    <a:pos x="T4" y="T5"/>
                  </a:cxn>
                  <a:cxn ang="0">
                    <a:pos x="T6" y="T7"/>
                  </a:cxn>
                </a:cxnLst>
                <a:rect l="0" t="0" r="r" b="b"/>
                <a:pathLst>
                  <a:path w="7" h="3">
                    <a:moveTo>
                      <a:pt x="4" y="0"/>
                    </a:moveTo>
                    <a:cubicBezTo>
                      <a:pt x="3" y="0"/>
                      <a:pt x="1" y="0"/>
                      <a:pt x="0" y="1"/>
                    </a:cubicBezTo>
                    <a:cubicBezTo>
                      <a:pt x="2" y="2"/>
                      <a:pt x="4" y="2"/>
                      <a:pt x="6" y="3"/>
                    </a:cubicBezTo>
                    <a:cubicBezTo>
                      <a:pt x="7" y="0"/>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0" name="Freeform 17"/>
              <p:cNvSpPr/>
              <p:nvPr/>
            </p:nvSpPr>
            <p:spPr bwMode="auto">
              <a:xfrm>
                <a:off x="10794" y="739"/>
                <a:ext cx="5" cy="2"/>
              </a:xfrm>
              <a:custGeom>
                <a:gdLst>
                  <a:gd name="T0" fmla="*/ 0 w 2"/>
                  <a:gd name="T1" fmla="*/ 0 h 1"/>
                  <a:gd name="T2" fmla="*/ 0 w 2"/>
                  <a:gd name="T3" fmla="*/ 0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0"/>
                      <a:pt x="0" y="0"/>
                      <a:pt x="0" y="0"/>
                    </a:cubicBezTo>
                    <a:cubicBezTo>
                      <a:pt x="0" y="1"/>
                      <a:pt x="1" y="1"/>
                      <a:pt x="2"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1" name="Freeform 18"/>
              <p:cNvSpPr/>
              <p:nvPr/>
            </p:nvSpPr>
            <p:spPr bwMode="auto">
              <a:xfrm>
                <a:off x="10887" y="725"/>
                <a:ext cx="47" cy="7"/>
              </a:xfrm>
              <a:custGeom>
                <a:gdLst>
                  <a:gd name="T0" fmla="*/ 8 w 20"/>
                  <a:gd name="T1" fmla="*/ 0 h 3"/>
                  <a:gd name="T2" fmla="*/ 6 w 20"/>
                  <a:gd name="T3" fmla="*/ 0 h 3"/>
                  <a:gd name="T4" fmla="*/ 4 w 20"/>
                  <a:gd name="T5" fmla="*/ 1 h 3"/>
                  <a:gd name="T6" fmla="*/ 3 w 20"/>
                  <a:gd name="T7" fmla="*/ 0 h 3"/>
                  <a:gd name="T8" fmla="*/ 0 w 20"/>
                  <a:gd name="T9" fmla="*/ 0 h 3"/>
                  <a:gd name="T10" fmla="*/ 10 w 20"/>
                  <a:gd name="T11" fmla="*/ 3 h 3"/>
                  <a:gd name="T12" fmla="*/ 11 w 20"/>
                  <a:gd name="T13" fmla="*/ 3 h 3"/>
                  <a:gd name="T14" fmla="*/ 14 w 20"/>
                  <a:gd name="T15" fmla="*/ 2 h 3"/>
                  <a:gd name="T16" fmla="*/ 20 w 20"/>
                  <a:gd name="T17" fmla="*/ 1 h 3"/>
                  <a:gd name="T18" fmla="*/ 9 w 20"/>
                  <a:gd name="T19" fmla="*/ 0 h 3"/>
                  <a:gd name="T20" fmla="*/ 8 w 20"/>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
                    <a:moveTo>
                      <a:pt x="8" y="0"/>
                    </a:moveTo>
                    <a:cubicBezTo>
                      <a:pt x="8" y="0"/>
                      <a:pt x="7" y="0"/>
                      <a:pt x="6" y="0"/>
                    </a:cubicBezTo>
                    <a:cubicBezTo>
                      <a:pt x="5" y="0"/>
                      <a:pt x="4" y="1"/>
                      <a:pt x="4" y="1"/>
                    </a:cubicBezTo>
                    <a:cubicBezTo>
                      <a:pt x="3" y="1"/>
                      <a:pt x="3" y="0"/>
                      <a:pt x="3" y="0"/>
                    </a:cubicBezTo>
                    <a:cubicBezTo>
                      <a:pt x="2" y="0"/>
                      <a:pt x="1" y="0"/>
                      <a:pt x="0" y="0"/>
                    </a:cubicBezTo>
                    <a:cubicBezTo>
                      <a:pt x="3" y="1"/>
                      <a:pt x="7" y="3"/>
                      <a:pt x="10" y="3"/>
                    </a:cubicBezTo>
                    <a:cubicBezTo>
                      <a:pt x="10" y="3"/>
                      <a:pt x="11" y="3"/>
                      <a:pt x="11" y="3"/>
                    </a:cubicBezTo>
                    <a:cubicBezTo>
                      <a:pt x="12" y="2"/>
                      <a:pt x="13" y="2"/>
                      <a:pt x="14" y="2"/>
                    </a:cubicBezTo>
                    <a:cubicBezTo>
                      <a:pt x="16" y="1"/>
                      <a:pt x="18" y="2"/>
                      <a:pt x="20" y="1"/>
                    </a:cubicBezTo>
                    <a:cubicBezTo>
                      <a:pt x="16" y="1"/>
                      <a:pt x="13"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2" name="Freeform 19"/>
              <p:cNvSpPr/>
              <p:nvPr/>
            </p:nvSpPr>
            <p:spPr bwMode="auto">
              <a:xfrm>
                <a:off x="10830" y="708"/>
                <a:ext cx="59" cy="24"/>
              </a:xfrm>
              <a:custGeom>
                <a:gdLst>
                  <a:gd name="T0" fmla="*/ 21 w 25"/>
                  <a:gd name="T1" fmla="*/ 0 h 10"/>
                  <a:gd name="T2" fmla="*/ 19 w 25"/>
                  <a:gd name="T3" fmla="*/ 4 h 10"/>
                  <a:gd name="T4" fmla="*/ 14 w 25"/>
                  <a:gd name="T5" fmla="*/ 7 h 10"/>
                  <a:gd name="T6" fmla="*/ 11 w 25"/>
                  <a:gd name="T7" fmla="*/ 8 h 10"/>
                  <a:gd name="T8" fmla="*/ 10 w 25"/>
                  <a:gd name="T9" fmla="*/ 8 h 10"/>
                  <a:gd name="T10" fmla="*/ 10 w 25"/>
                  <a:gd name="T11" fmla="*/ 8 h 10"/>
                  <a:gd name="T12" fmla="*/ 9 w 25"/>
                  <a:gd name="T13" fmla="*/ 8 h 10"/>
                  <a:gd name="T14" fmla="*/ 8 w 25"/>
                  <a:gd name="T15" fmla="*/ 8 h 10"/>
                  <a:gd name="T16" fmla="*/ 7 w 25"/>
                  <a:gd name="T17" fmla="*/ 8 h 10"/>
                  <a:gd name="T18" fmla="*/ 7 w 25"/>
                  <a:gd name="T19" fmla="*/ 8 h 10"/>
                  <a:gd name="T20" fmla="*/ 5 w 25"/>
                  <a:gd name="T21" fmla="*/ 10 h 10"/>
                  <a:gd name="T22" fmla="*/ 4 w 25"/>
                  <a:gd name="T23" fmla="*/ 10 h 10"/>
                  <a:gd name="T24" fmla="*/ 3 w 25"/>
                  <a:gd name="T25" fmla="*/ 10 h 10"/>
                  <a:gd name="T26" fmla="*/ 2 w 25"/>
                  <a:gd name="T27" fmla="*/ 10 h 10"/>
                  <a:gd name="T28" fmla="*/ 0 w 25"/>
                  <a:gd name="T29" fmla="*/ 10 h 10"/>
                  <a:gd name="T30" fmla="*/ 6 w 25"/>
                  <a:gd name="T31" fmla="*/ 10 h 10"/>
                  <a:gd name="T32" fmla="*/ 13 w 25"/>
                  <a:gd name="T33" fmla="*/ 10 h 10"/>
                  <a:gd name="T34" fmla="*/ 19 w 25"/>
                  <a:gd name="T35" fmla="*/ 7 h 10"/>
                  <a:gd name="T36" fmla="*/ 19 w 25"/>
                  <a:gd name="T37" fmla="*/ 7 h 10"/>
                  <a:gd name="T38" fmla="*/ 20 w 25"/>
                  <a:gd name="T39" fmla="*/ 7 h 10"/>
                  <a:gd name="T40" fmla="*/ 20 w 25"/>
                  <a:gd name="T41" fmla="*/ 7 h 10"/>
                  <a:gd name="T42" fmla="*/ 21 w 25"/>
                  <a:gd name="T43" fmla="*/ 7 h 10"/>
                  <a:gd name="T44" fmla="*/ 22 w 25"/>
                  <a:gd name="T45" fmla="*/ 7 h 10"/>
                  <a:gd name="T46" fmla="*/ 22 w 25"/>
                  <a:gd name="T47" fmla="*/ 7 h 10"/>
                  <a:gd name="T48" fmla="*/ 22 w 25"/>
                  <a:gd name="T49" fmla="*/ 8 h 10"/>
                  <a:gd name="T50" fmla="*/ 23 w 25"/>
                  <a:gd name="T51" fmla="*/ 7 h 10"/>
                  <a:gd name="T52" fmla="*/ 21 w 25"/>
                  <a:gd name="T53" fmla="*/ 5 h 10"/>
                  <a:gd name="T54" fmla="*/ 21 w 25"/>
                  <a:gd name="T55" fmla="*/ 5 h 10"/>
                  <a:gd name="T56" fmla="*/ 25 w 25"/>
                  <a:gd name="T57" fmla="*/ 3 h 10"/>
                  <a:gd name="T58" fmla="*/ 21 w 25"/>
                  <a:gd name="T5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10">
                    <a:moveTo>
                      <a:pt x="21" y="0"/>
                    </a:moveTo>
                    <a:cubicBezTo>
                      <a:pt x="21" y="1"/>
                      <a:pt x="20" y="3"/>
                      <a:pt x="19" y="4"/>
                    </a:cubicBezTo>
                    <a:cubicBezTo>
                      <a:pt x="18" y="6"/>
                      <a:pt x="16" y="6"/>
                      <a:pt x="14" y="7"/>
                    </a:cubicBezTo>
                    <a:cubicBezTo>
                      <a:pt x="13" y="8"/>
                      <a:pt x="12" y="7"/>
                      <a:pt x="11" y="8"/>
                    </a:cubicBezTo>
                    <a:cubicBezTo>
                      <a:pt x="10" y="8"/>
                      <a:pt x="10" y="8"/>
                      <a:pt x="10" y="8"/>
                    </a:cubicBezTo>
                    <a:cubicBezTo>
                      <a:pt x="10" y="8"/>
                      <a:pt x="10" y="8"/>
                      <a:pt x="10" y="8"/>
                    </a:cubicBezTo>
                    <a:cubicBezTo>
                      <a:pt x="9" y="8"/>
                      <a:pt x="9" y="8"/>
                      <a:pt x="9" y="8"/>
                    </a:cubicBezTo>
                    <a:cubicBezTo>
                      <a:pt x="9" y="8"/>
                      <a:pt x="9" y="8"/>
                      <a:pt x="8" y="8"/>
                    </a:cubicBezTo>
                    <a:cubicBezTo>
                      <a:pt x="8" y="8"/>
                      <a:pt x="8" y="8"/>
                      <a:pt x="7" y="8"/>
                    </a:cubicBezTo>
                    <a:cubicBezTo>
                      <a:pt x="7" y="8"/>
                      <a:pt x="7" y="8"/>
                      <a:pt x="7" y="8"/>
                    </a:cubicBezTo>
                    <a:cubicBezTo>
                      <a:pt x="6" y="9"/>
                      <a:pt x="5" y="8"/>
                      <a:pt x="5" y="10"/>
                    </a:cubicBezTo>
                    <a:cubicBezTo>
                      <a:pt x="5" y="10"/>
                      <a:pt x="4" y="10"/>
                      <a:pt x="4" y="10"/>
                    </a:cubicBezTo>
                    <a:cubicBezTo>
                      <a:pt x="4" y="10"/>
                      <a:pt x="3" y="10"/>
                      <a:pt x="3" y="10"/>
                    </a:cubicBezTo>
                    <a:cubicBezTo>
                      <a:pt x="3" y="10"/>
                      <a:pt x="2" y="10"/>
                      <a:pt x="2" y="10"/>
                    </a:cubicBezTo>
                    <a:cubicBezTo>
                      <a:pt x="1" y="10"/>
                      <a:pt x="1" y="10"/>
                      <a:pt x="0" y="10"/>
                    </a:cubicBezTo>
                    <a:cubicBezTo>
                      <a:pt x="2" y="10"/>
                      <a:pt x="4" y="10"/>
                      <a:pt x="6" y="10"/>
                    </a:cubicBezTo>
                    <a:cubicBezTo>
                      <a:pt x="8" y="10"/>
                      <a:pt x="11" y="10"/>
                      <a:pt x="13" y="10"/>
                    </a:cubicBezTo>
                    <a:cubicBezTo>
                      <a:pt x="15" y="9"/>
                      <a:pt x="17" y="8"/>
                      <a:pt x="19" y="7"/>
                    </a:cubicBezTo>
                    <a:cubicBezTo>
                      <a:pt x="19" y="7"/>
                      <a:pt x="19" y="7"/>
                      <a:pt x="19" y="7"/>
                    </a:cubicBezTo>
                    <a:cubicBezTo>
                      <a:pt x="20" y="7"/>
                      <a:pt x="20" y="7"/>
                      <a:pt x="20" y="7"/>
                    </a:cubicBezTo>
                    <a:cubicBezTo>
                      <a:pt x="20" y="7"/>
                      <a:pt x="20" y="7"/>
                      <a:pt x="20" y="7"/>
                    </a:cubicBezTo>
                    <a:cubicBezTo>
                      <a:pt x="21" y="7"/>
                      <a:pt x="21" y="7"/>
                      <a:pt x="21" y="7"/>
                    </a:cubicBezTo>
                    <a:cubicBezTo>
                      <a:pt x="21" y="7"/>
                      <a:pt x="22" y="7"/>
                      <a:pt x="22" y="7"/>
                    </a:cubicBezTo>
                    <a:cubicBezTo>
                      <a:pt x="22" y="7"/>
                      <a:pt x="22" y="7"/>
                      <a:pt x="22" y="7"/>
                    </a:cubicBezTo>
                    <a:cubicBezTo>
                      <a:pt x="22" y="7"/>
                      <a:pt x="22" y="8"/>
                      <a:pt x="22" y="8"/>
                    </a:cubicBezTo>
                    <a:cubicBezTo>
                      <a:pt x="23" y="8"/>
                      <a:pt x="23" y="7"/>
                      <a:pt x="23" y="7"/>
                    </a:cubicBezTo>
                    <a:cubicBezTo>
                      <a:pt x="23" y="7"/>
                      <a:pt x="21" y="5"/>
                      <a:pt x="21" y="5"/>
                    </a:cubicBezTo>
                    <a:cubicBezTo>
                      <a:pt x="21" y="5"/>
                      <a:pt x="21" y="5"/>
                      <a:pt x="21" y="5"/>
                    </a:cubicBezTo>
                    <a:cubicBezTo>
                      <a:pt x="23" y="5"/>
                      <a:pt x="25" y="4"/>
                      <a:pt x="25" y="3"/>
                    </a:cubicBezTo>
                    <a:cubicBezTo>
                      <a:pt x="25" y="1"/>
                      <a:pt x="23"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3" name="Freeform 20"/>
              <p:cNvSpPr/>
              <p:nvPr/>
            </p:nvSpPr>
            <p:spPr bwMode="auto">
              <a:xfrm>
                <a:off x="10790" y="739"/>
                <a:ext cx="7" cy="7"/>
              </a:xfrm>
              <a:custGeom>
                <a:gdLst>
                  <a:gd name="T0" fmla="*/ 0 w 3"/>
                  <a:gd name="T1" fmla="*/ 0 h 3"/>
                  <a:gd name="T2" fmla="*/ 1 w 3"/>
                  <a:gd name="T3" fmla="*/ 3 h 3"/>
                  <a:gd name="T4" fmla="*/ 3 w 3"/>
                  <a:gd name="T5" fmla="*/ 2 h 3"/>
                  <a:gd name="T6" fmla="*/ 0 w 3"/>
                  <a:gd name="T7" fmla="*/ 0 h 3"/>
                </a:gdLst>
                <a:cxnLst>
                  <a:cxn ang="0">
                    <a:pos x="T0" y="T1"/>
                  </a:cxn>
                  <a:cxn ang="0">
                    <a:pos x="T2" y="T3"/>
                  </a:cxn>
                  <a:cxn ang="0">
                    <a:pos x="T4" y="T5"/>
                  </a:cxn>
                  <a:cxn ang="0">
                    <a:pos x="T6" y="T7"/>
                  </a:cxn>
                </a:cxnLst>
                <a:rect l="0" t="0" r="r" b="b"/>
                <a:pathLst>
                  <a:path w="3" h="3">
                    <a:moveTo>
                      <a:pt x="0" y="0"/>
                    </a:moveTo>
                    <a:cubicBezTo>
                      <a:pt x="0" y="1"/>
                      <a:pt x="0" y="2"/>
                      <a:pt x="1" y="3"/>
                    </a:cubicBezTo>
                    <a:cubicBezTo>
                      <a:pt x="1" y="3"/>
                      <a:pt x="2"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Freeform 21"/>
              <p:cNvSpPr/>
              <p:nvPr/>
            </p:nvSpPr>
            <p:spPr bwMode="auto">
              <a:xfrm>
                <a:off x="11050" y="406"/>
                <a:ext cx="12" cy="9"/>
              </a:xfrm>
              <a:custGeom>
                <a:gdLst>
                  <a:gd name="T0" fmla="*/ 5 w 5"/>
                  <a:gd name="T1" fmla="*/ 0 h 4"/>
                  <a:gd name="T2" fmla="*/ 0 w 5"/>
                  <a:gd name="T3" fmla="*/ 1 h 4"/>
                  <a:gd name="T4" fmla="*/ 2 w 5"/>
                  <a:gd name="T5" fmla="*/ 4 h 4"/>
                  <a:gd name="T6" fmla="*/ 5 w 5"/>
                  <a:gd name="T7" fmla="*/ 0 h 4"/>
                </a:gdLst>
                <a:cxnLst>
                  <a:cxn ang="0">
                    <a:pos x="T0" y="T1"/>
                  </a:cxn>
                  <a:cxn ang="0">
                    <a:pos x="T2" y="T3"/>
                  </a:cxn>
                  <a:cxn ang="0">
                    <a:pos x="T4" y="T5"/>
                  </a:cxn>
                  <a:cxn ang="0">
                    <a:pos x="T6" y="T7"/>
                  </a:cxn>
                </a:cxnLst>
                <a:rect l="0" t="0" r="r" b="b"/>
                <a:pathLst>
                  <a:path w="5" h="4">
                    <a:moveTo>
                      <a:pt x="5" y="0"/>
                    </a:moveTo>
                    <a:cubicBezTo>
                      <a:pt x="4" y="0"/>
                      <a:pt x="2" y="1"/>
                      <a:pt x="0" y="1"/>
                    </a:cubicBezTo>
                    <a:cubicBezTo>
                      <a:pt x="1" y="2"/>
                      <a:pt x="1" y="3"/>
                      <a:pt x="2" y="4"/>
                    </a:cubicBezTo>
                    <a:cubicBezTo>
                      <a:pt x="4" y="2"/>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5" name="Freeform 22"/>
              <p:cNvSpPr/>
              <p:nvPr/>
            </p:nvSpPr>
            <p:spPr bwMode="auto">
              <a:xfrm>
                <a:off x="10778" y="741"/>
                <a:ext cx="9" cy="8"/>
              </a:xfrm>
              <a:custGeom>
                <a:gdLst>
                  <a:gd name="T0" fmla="*/ 2 w 4"/>
                  <a:gd name="T1" fmla="*/ 0 h 3"/>
                  <a:gd name="T2" fmla="*/ 2 w 4"/>
                  <a:gd name="T3" fmla="*/ 3 h 3"/>
                  <a:gd name="T4" fmla="*/ 2 w 4"/>
                  <a:gd name="T5" fmla="*/ 1 h 3"/>
                  <a:gd name="T6" fmla="*/ 3 w 4"/>
                  <a:gd name="T7" fmla="*/ 0 h 3"/>
                  <a:gd name="T8" fmla="*/ 2 w 4"/>
                  <a:gd name="T9" fmla="*/ 0 h 3"/>
                </a:gdLst>
                <a:cxnLst>
                  <a:cxn ang="0">
                    <a:pos x="T0" y="T1"/>
                  </a:cxn>
                  <a:cxn ang="0">
                    <a:pos x="T2" y="T3"/>
                  </a:cxn>
                  <a:cxn ang="0">
                    <a:pos x="T4" y="T5"/>
                  </a:cxn>
                  <a:cxn ang="0">
                    <a:pos x="T6" y="T7"/>
                  </a:cxn>
                  <a:cxn ang="0">
                    <a:pos x="T8" y="T9"/>
                  </a:cxn>
                </a:cxnLst>
                <a:rect l="0" t="0" r="r" b="b"/>
                <a:pathLst>
                  <a:path w="4" h="3">
                    <a:moveTo>
                      <a:pt x="2" y="0"/>
                    </a:moveTo>
                    <a:cubicBezTo>
                      <a:pt x="0" y="0"/>
                      <a:pt x="1" y="2"/>
                      <a:pt x="2" y="3"/>
                    </a:cubicBezTo>
                    <a:cubicBezTo>
                      <a:pt x="3" y="2"/>
                      <a:pt x="4" y="1"/>
                      <a:pt x="2" y="1"/>
                    </a:cubicBezTo>
                    <a:cubicBezTo>
                      <a:pt x="3" y="0"/>
                      <a:pt x="3"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6" name="Freeform 23"/>
              <p:cNvSpPr/>
              <p:nvPr/>
            </p:nvSpPr>
            <p:spPr bwMode="auto">
              <a:xfrm>
                <a:off x="10754" y="734"/>
                <a:ext cx="29" cy="24"/>
              </a:xfrm>
              <a:custGeom>
                <a:gdLst>
                  <a:gd name="T0" fmla="*/ 7 w 12"/>
                  <a:gd name="T1" fmla="*/ 0 h 10"/>
                  <a:gd name="T2" fmla="*/ 4 w 12"/>
                  <a:gd name="T3" fmla="*/ 1 h 10"/>
                  <a:gd name="T4" fmla="*/ 5 w 12"/>
                  <a:gd name="T5" fmla="*/ 5 h 10"/>
                  <a:gd name="T6" fmla="*/ 5 w 12"/>
                  <a:gd name="T7" fmla="*/ 5 h 10"/>
                  <a:gd name="T8" fmla="*/ 3 w 12"/>
                  <a:gd name="T9" fmla="*/ 4 h 10"/>
                  <a:gd name="T10" fmla="*/ 2 w 12"/>
                  <a:gd name="T11" fmla="*/ 4 h 10"/>
                  <a:gd name="T12" fmla="*/ 2 w 12"/>
                  <a:gd name="T13" fmla="*/ 4 h 10"/>
                  <a:gd name="T14" fmla="*/ 0 w 12"/>
                  <a:gd name="T15" fmla="*/ 10 h 10"/>
                  <a:gd name="T16" fmla="*/ 2 w 12"/>
                  <a:gd name="T17" fmla="*/ 7 h 10"/>
                  <a:gd name="T18" fmla="*/ 4 w 12"/>
                  <a:gd name="T19" fmla="*/ 9 h 10"/>
                  <a:gd name="T20" fmla="*/ 4 w 12"/>
                  <a:gd name="T21" fmla="*/ 9 h 10"/>
                  <a:gd name="T22" fmla="*/ 5 w 12"/>
                  <a:gd name="T23" fmla="*/ 7 h 10"/>
                  <a:gd name="T24" fmla="*/ 8 w 12"/>
                  <a:gd name="T25" fmla="*/ 7 h 10"/>
                  <a:gd name="T26" fmla="*/ 9 w 12"/>
                  <a:gd name="T27" fmla="*/ 6 h 10"/>
                  <a:gd name="T28" fmla="*/ 9 w 12"/>
                  <a:gd name="T29" fmla="*/ 6 h 10"/>
                  <a:gd name="T30" fmla="*/ 9 w 12"/>
                  <a:gd name="T31" fmla="*/ 6 h 10"/>
                  <a:gd name="T32" fmla="*/ 10 w 12"/>
                  <a:gd name="T33" fmla="*/ 6 h 10"/>
                  <a:gd name="T34" fmla="*/ 10 w 12"/>
                  <a:gd name="T35" fmla="*/ 6 h 10"/>
                  <a:gd name="T36" fmla="*/ 6 w 12"/>
                  <a:gd name="T37" fmla="*/ 3 h 10"/>
                  <a:gd name="T38" fmla="*/ 7 w 12"/>
                  <a:gd name="T3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0">
                    <a:moveTo>
                      <a:pt x="7" y="0"/>
                    </a:moveTo>
                    <a:cubicBezTo>
                      <a:pt x="4" y="1"/>
                      <a:pt x="4" y="1"/>
                      <a:pt x="4" y="1"/>
                    </a:cubicBezTo>
                    <a:cubicBezTo>
                      <a:pt x="4" y="1"/>
                      <a:pt x="5" y="4"/>
                      <a:pt x="5" y="5"/>
                    </a:cubicBezTo>
                    <a:cubicBezTo>
                      <a:pt x="5" y="5"/>
                      <a:pt x="5" y="5"/>
                      <a:pt x="5" y="5"/>
                    </a:cubicBezTo>
                    <a:cubicBezTo>
                      <a:pt x="4" y="5"/>
                      <a:pt x="4" y="5"/>
                      <a:pt x="3" y="4"/>
                    </a:cubicBezTo>
                    <a:cubicBezTo>
                      <a:pt x="3" y="4"/>
                      <a:pt x="2" y="4"/>
                      <a:pt x="2" y="4"/>
                    </a:cubicBezTo>
                    <a:cubicBezTo>
                      <a:pt x="2" y="4"/>
                      <a:pt x="2" y="4"/>
                      <a:pt x="2" y="4"/>
                    </a:cubicBezTo>
                    <a:cubicBezTo>
                      <a:pt x="0" y="5"/>
                      <a:pt x="1" y="9"/>
                      <a:pt x="0" y="10"/>
                    </a:cubicBezTo>
                    <a:cubicBezTo>
                      <a:pt x="1" y="9"/>
                      <a:pt x="2" y="8"/>
                      <a:pt x="2" y="7"/>
                    </a:cubicBezTo>
                    <a:cubicBezTo>
                      <a:pt x="3" y="8"/>
                      <a:pt x="3" y="9"/>
                      <a:pt x="4" y="9"/>
                    </a:cubicBezTo>
                    <a:cubicBezTo>
                      <a:pt x="4" y="9"/>
                      <a:pt x="4" y="9"/>
                      <a:pt x="4" y="9"/>
                    </a:cubicBezTo>
                    <a:cubicBezTo>
                      <a:pt x="5" y="9"/>
                      <a:pt x="4" y="8"/>
                      <a:pt x="5" y="7"/>
                    </a:cubicBezTo>
                    <a:cubicBezTo>
                      <a:pt x="6" y="7"/>
                      <a:pt x="7" y="7"/>
                      <a:pt x="8" y="7"/>
                    </a:cubicBezTo>
                    <a:cubicBezTo>
                      <a:pt x="8" y="7"/>
                      <a:pt x="8" y="6"/>
                      <a:pt x="9" y="6"/>
                    </a:cubicBezTo>
                    <a:cubicBezTo>
                      <a:pt x="9" y="6"/>
                      <a:pt x="9" y="6"/>
                      <a:pt x="9" y="6"/>
                    </a:cubicBezTo>
                    <a:cubicBezTo>
                      <a:pt x="9" y="6"/>
                      <a:pt x="9" y="6"/>
                      <a:pt x="9" y="6"/>
                    </a:cubicBezTo>
                    <a:cubicBezTo>
                      <a:pt x="9" y="6"/>
                      <a:pt x="9" y="6"/>
                      <a:pt x="10" y="6"/>
                    </a:cubicBezTo>
                    <a:cubicBezTo>
                      <a:pt x="10" y="6"/>
                      <a:pt x="10" y="6"/>
                      <a:pt x="10" y="6"/>
                    </a:cubicBezTo>
                    <a:cubicBezTo>
                      <a:pt x="12" y="4"/>
                      <a:pt x="8" y="3"/>
                      <a:pt x="6" y="3"/>
                    </a:cubicBezTo>
                    <a:cubicBezTo>
                      <a:pt x="7" y="1"/>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7" name="Freeform 24"/>
              <p:cNvSpPr/>
              <p:nvPr/>
            </p:nvSpPr>
            <p:spPr bwMode="auto">
              <a:xfrm>
                <a:off x="11113" y="637"/>
                <a:ext cx="45" cy="43"/>
              </a:xfrm>
              <a:custGeom>
                <a:gdLst>
                  <a:gd name="T0" fmla="*/ 19 w 19"/>
                  <a:gd name="T1" fmla="*/ 0 h 18"/>
                  <a:gd name="T2" fmla="*/ 11 w 19"/>
                  <a:gd name="T3" fmla="*/ 8 h 18"/>
                  <a:gd name="T4" fmla="*/ 7 w 19"/>
                  <a:gd name="T5" fmla="*/ 8 h 18"/>
                  <a:gd name="T6" fmla="*/ 7 w 19"/>
                  <a:gd name="T7" fmla="*/ 8 h 18"/>
                  <a:gd name="T8" fmla="*/ 4 w 19"/>
                  <a:gd name="T9" fmla="*/ 11 h 18"/>
                  <a:gd name="T10" fmla="*/ 4 w 19"/>
                  <a:gd name="T11" fmla="*/ 13 h 18"/>
                  <a:gd name="T12" fmla="*/ 2 w 19"/>
                  <a:gd name="T13" fmla="*/ 15 h 18"/>
                  <a:gd name="T14" fmla="*/ 2 w 19"/>
                  <a:gd name="T15" fmla="*/ 16 h 18"/>
                  <a:gd name="T16" fmla="*/ 1 w 19"/>
                  <a:gd name="T17" fmla="*/ 17 h 18"/>
                  <a:gd name="T18" fmla="*/ 1 w 19"/>
                  <a:gd name="T19" fmla="*/ 17 h 18"/>
                  <a:gd name="T20" fmla="*/ 1 w 19"/>
                  <a:gd name="T21" fmla="*/ 17 h 18"/>
                  <a:gd name="T22" fmla="*/ 0 w 19"/>
                  <a:gd name="T23" fmla="*/ 18 h 18"/>
                  <a:gd name="T24" fmla="*/ 19 w 19"/>
                  <a:gd name="T25" fmla="*/ 5 h 18"/>
                  <a:gd name="T26" fmla="*/ 19 w 19"/>
                  <a:gd name="T27"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19" y="0"/>
                    </a:moveTo>
                    <a:cubicBezTo>
                      <a:pt x="14" y="0"/>
                      <a:pt x="10" y="3"/>
                      <a:pt x="11" y="8"/>
                    </a:cubicBezTo>
                    <a:cubicBezTo>
                      <a:pt x="10" y="8"/>
                      <a:pt x="9" y="8"/>
                      <a:pt x="7" y="8"/>
                    </a:cubicBezTo>
                    <a:cubicBezTo>
                      <a:pt x="7" y="8"/>
                      <a:pt x="7" y="8"/>
                      <a:pt x="7" y="8"/>
                    </a:cubicBezTo>
                    <a:cubicBezTo>
                      <a:pt x="6" y="8"/>
                      <a:pt x="4" y="10"/>
                      <a:pt x="4" y="11"/>
                    </a:cubicBezTo>
                    <a:cubicBezTo>
                      <a:pt x="4" y="12"/>
                      <a:pt x="4" y="12"/>
                      <a:pt x="4" y="13"/>
                    </a:cubicBezTo>
                    <a:cubicBezTo>
                      <a:pt x="3" y="14"/>
                      <a:pt x="3" y="14"/>
                      <a:pt x="2" y="15"/>
                    </a:cubicBezTo>
                    <a:cubicBezTo>
                      <a:pt x="2" y="16"/>
                      <a:pt x="2" y="16"/>
                      <a:pt x="2" y="16"/>
                    </a:cubicBezTo>
                    <a:cubicBezTo>
                      <a:pt x="1" y="17"/>
                      <a:pt x="1" y="17"/>
                      <a:pt x="1" y="17"/>
                    </a:cubicBezTo>
                    <a:cubicBezTo>
                      <a:pt x="1" y="17"/>
                      <a:pt x="1" y="17"/>
                      <a:pt x="1" y="17"/>
                    </a:cubicBezTo>
                    <a:cubicBezTo>
                      <a:pt x="1" y="17"/>
                      <a:pt x="1" y="17"/>
                      <a:pt x="1" y="17"/>
                    </a:cubicBezTo>
                    <a:cubicBezTo>
                      <a:pt x="0" y="17"/>
                      <a:pt x="0" y="17"/>
                      <a:pt x="0" y="18"/>
                    </a:cubicBezTo>
                    <a:cubicBezTo>
                      <a:pt x="6" y="13"/>
                      <a:pt x="13" y="9"/>
                      <a:pt x="19" y="5"/>
                    </a:cubicBezTo>
                    <a:cubicBezTo>
                      <a:pt x="19" y="3"/>
                      <a:pt x="19" y="2"/>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8" name="Freeform 25"/>
              <p:cNvSpPr/>
              <p:nvPr/>
            </p:nvSpPr>
            <p:spPr bwMode="auto">
              <a:xfrm>
                <a:off x="11151" y="-181"/>
                <a:ext cx="7" cy="10"/>
              </a:xfrm>
              <a:custGeom>
                <a:gdLst>
                  <a:gd name="T0" fmla="*/ 3 w 3"/>
                  <a:gd name="T1" fmla="*/ 0 h 4"/>
                  <a:gd name="T2" fmla="*/ 3 w 3"/>
                  <a:gd name="T3" fmla="*/ 4 h 4"/>
                  <a:gd name="T4" fmla="*/ 3 w 3"/>
                  <a:gd name="T5" fmla="*/ 3 h 4"/>
                  <a:gd name="T6" fmla="*/ 2 w 3"/>
                  <a:gd name="T7" fmla="*/ 3 h 4"/>
                  <a:gd name="T8" fmla="*/ 3 w 3"/>
                  <a:gd name="T9" fmla="*/ 0 h 4"/>
                </a:gdLst>
                <a:cxnLst>
                  <a:cxn ang="0">
                    <a:pos x="T0" y="T1"/>
                  </a:cxn>
                  <a:cxn ang="0">
                    <a:pos x="T2" y="T3"/>
                  </a:cxn>
                  <a:cxn ang="0">
                    <a:pos x="T4" y="T5"/>
                  </a:cxn>
                  <a:cxn ang="0">
                    <a:pos x="T6" y="T7"/>
                  </a:cxn>
                  <a:cxn ang="0">
                    <a:pos x="T8" y="T9"/>
                  </a:cxn>
                </a:cxnLst>
                <a:rect l="0" t="0" r="r" b="b"/>
                <a:pathLst>
                  <a:path w="3" h="4">
                    <a:moveTo>
                      <a:pt x="3" y="0"/>
                    </a:moveTo>
                    <a:cubicBezTo>
                      <a:pt x="0" y="1"/>
                      <a:pt x="0" y="2"/>
                      <a:pt x="3" y="4"/>
                    </a:cubicBezTo>
                    <a:cubicBezTo>
                      <a:pt x="3" y="3"/>
                      <a:pt x="3" y="3"/>
                      <a:pt x="3" y="3"/>
                    </a:cubicBezTo>
                    <a:cubicBezTo>
                      <a:pt x="3" y="3"/>
                      <a:pt x="2" y="3"/>
                      <a:pt x="2" y="3"/>
                    </a:cubicBezTo>
                    <a:cubicBezTo>
                      <a:pt x="1"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9" name="Freeform 26"/>
              <p:cNvSpPr/>
              <p:nvPr/>
            </p:nvSpPr>
            <p:spPr bwMode="auto">
              <a:xfrm>
                <a:off x="10279" y="673"/>
                <a:ext cx="43" cy="14"/>
              </a:xfrm>
              <a:custGeom>
                <a:gdLst>
                  <a:gd name="T0" fmla="*/ 5 w 18"/>
                  <a:gd name="T1" fmla="*/ 0 h 6"/>
                  <a:gd name="T2" fmla="*/ 0 w 18"/>
                  <a:gd name="T3" fmla="*/ 2 h 6"/>
                  <a:gd name="T4" fmla="*/ 8 w 18"/>
                  <a:gd name="T5" fmla="*/ 6 h 6"/>
                  <a:gd name="T6" fmla="*/ 11 w 18"/>
                  <a:gd name="T7" fmla="*/ 4 h 6"/>
                  <a:gd name="T8" fmla="*/ 11 w 18"/>
                  <a:gd name="T9" fmla="*/ 4 h 6"/>
                  <a:gd name="T10" fmla="*/ 12 w 18"/>
                  <a:gd name="T11" fmla="*/ 5 h 6"/>
                  <a:gd name="T12" fmla="*/ 12 w 18"/>
                  <a:gd name="T13" fmla="*/ 5 h 6"/>
                  <a:gd name="T14" fmla="*/ 13 w 18"/>
                  <a:gd name="T15" fmla="*/ 5 h 6"/>
                  <a:gd name="T16" fmla="*/ 15 w 18"/>
                  <a:gd name="T17" fmla="*/ 4 h 6"/>
                  <a:gd name="T18" fmla="*/ 15 w 18"/>
                  <a:gd name="T19" fmla="*/ 4 h 6"/>
                  <a:gd name="T20" fmla="*/ 16 w 18"/>
                  <a:gd name="T21" fmla="*/ 4 h 6"/>
                  <a:gd name="T22" fmla="*/ 17 w 18"/>
                  <a:gd name="T23" fmla="*/ 4 h 6"/>
                  <a:gd name="T24" fmla="*/ 18 w 18"/>
                  <a:gd name="T25" fmla="*/ 4 h 6"/>
                  <a:gd name="T26" fmla="*/ 13 w 18"/>
                  <a:gd name="T27" fmla="*/ 1 h 6"/>
                  <a:gd name="T28" fmla="*/ 13 w 18"/>
                  <a:gd name="T29" fmla="*/ 1 h 6"/>
                  <a:gd name="T30" fmla="*/ 7 w 18"/>
                  <a:gd name="T31" fmla="*/ 0 h 6"/>
                  <a:gd name="T32" fmla="*/ 5 w 18"/>
                  <a:gd name="T3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6">
                    <a:moveTo>
                      <a:pt x="5" y="0"/>
                    </a:moveTo>
                    <a:cubicBezTo>
                      <a:pt x="3" y="0"/>
                      <a:pt x="2" y="0"/>
                      <a:pt x="0" y="2"/>
                    </a:cubicBezTo>
                    <a:cubicBezTo>
                      <a:pt x="3" y="3"/>
                      <a:pt x="5" y="5"/>
                      <a:pt x="8" y="6"/>
                    </a:cubicBezTo>
                    <a:cubicBezTo>
                      <a:pt x="9" y="6"/>
                      <a:pt x="10" y="4"/>
                      <a:pt x="11" y="4"/>
                    </a:cubicBezTo>
                    <a:cubicBezTo>
                      <a:pt x="11" y="4"/>
                      <a:pt x="11" y="4"/>
                      <a:pt x="11" y="4"/>
                    </a:cubicBezTo>
                    <a:cubicBezTo>
                      <a:pt x="11" y="4"/>
                      <a:pt x="12" y="4"/>
                      <a:pt x="12" y="5"/>
                    </a:cubicBezTo>
                    <a:cubicBezTo>
                      <a:pt x="12" y="5"/>
                      <a:pt x="12" y="5"/>
                      <a:pt x="12" y="5"/>
                    </a:cubicBezTo>
                    <a:cubicBezTo>
                      <a:pt x="12" y="5"/>
                      <a:pt x="12" y="5"/>
                      <a:pt x="13" y="5"/>
                    </a:cubicBezTo>
                    <a:cubicBezTo>
                      <a:pt x="14" y="5"/>
                      <a:pt x="14" y="4"/>
                      <a:pt x="15" y="4"/>
                    </a:cubicBezTo>
                    <a:cubicBezTo>
                      <a:pt x="15" y="4"/>
                      <a:pt x="15" y="4"/>
                      <a:pt x="15" y="4"/>
                    </a:cubicBezTo>
                    <a:cubicBezTo>
                      <a:pt x="15" y="4"/>
                      <a:pt x="15" y="4"/>
                      <a:pt x="16" y="4"/>
                    </a:cubicBezTo>
                    <a:cubicBezTo>
                      <a:pt x="16" y="4"/>
                      <a:pt x="17" y="4"/>
                      <a:pt x="17" y="4"/>
                    </a:cubicBezTo>
                    <a:cubicBezTo>
                      <a:pt x="18" y="4"/>
                      <a:pt x="18" y="4"/>
                      <a:pt x="18" y="4"/>
                    </a:cubicBezTo>
                    <a:cubicBezTo>
                      <a:pt x="18" y="2"/>
                      <a:pt x="15" y="1"/>
                      <a:pt x="13" y="1"/>
                    </a:cubicBezTo>
                    <a:cubicBezTo>
                      <a:pt x="13" y="1"/>
                      <a:pt x="13" y="1"/>
                      <a:pt x="13" y="1"/>
                    </a:cubicBezTo>
                    <a:cubicBezTo>
                      <a:pt x="15" y="0"/>
                      <a:pt x="8" y="0"/>
                      <a:pt x="7" y="0"/>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0" name="Freeform 27"/>
              <p:cNvSpPr/>
              <p:nvPr/>
            </p:nvSpPr>
            <p:spPr bwMode="auto">
              <a:xfrm>
                <a:off x="10487" y="727"/>
                <a:ext cx="26" cy="17"/>
              </a:xfrm>
              <a:custGeom>
                <a:gdLst>
                  <a:gd name="T0" fmla="*/ 11 w 11"/>
                  <a:gd name="T1" fmla="*/ 0 h 7"/>
                  <a:gd name="T2" fmla="*/ 4 w 11"/>
                  <a:gd name="T3" fmla="*/ 7 h 7"/>
                  <a:gd name="T4" fmla="*/ 6 w 11"/>
                  <a:gd name="T5" fmla="*/ 4 h 7"/>
                  <a:gd name="T6" fmla="*/ 7 w 11"/>
                  <a:gd name="T7" fmla="*/ 5 h 7"/>
                  <a:gd name="T8" fmla="*/ 8 w 11"/>
                  <a:gd name="T9" fmla="*/ 5 h 7"/>
                  <a:gd name="T10" fmla="*/ 9 w 11"/>
                  <a:gd name="T11" fmla="*/ 4 h 7"/>
                  <a:gd name="T12" fmla="*/ 10 w 11"/>
                  <a:gd name="T13" fmla="*/ 2 h 7"/>
                  <a:gd name="T14" fmla="*/ 11 w 11"/>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11" y="0"/>
                    </a:moveTo>
                    <a:cubicBezTo>
                      <a:pt x="9" y="1"/>
                      <a:pt x="0" y="5"/>
                      <a:pt x="4" y="7"/>
                    </a:cubicBezTo>
                    <a:cubicBezTo>
                      <a:pt x="5" y="5"/>
                      <a:pt x="5" y="4"/>
                      <a:pt x="6" y="4"/>
                    </a:cubicBezTo>
                    <a:cubicBezTo>
                      <a:pt x="6" y="4"/>
                      <a:pt x="7" y="5"/>
                      <a:pt x="7" y="5"/>
                    </a:cubicBezTo>
                    <a:cubicBezTo>
                      <a:pt x="7" y="5"/>
                      <a:pt x="7" y="5"/>
                      <a:pt x="8" y="5"/>
                    </a:cubicBezTo>
                    <a:cubicBezTo>
                      <a:pt x="8" y="5"/>
                      <a:pt x="9" y="5"/>
                      <a:pt x="9" y="4"/>
                    </a:cubicBezTo>
                    <a:cubicBezTo>
                      <a:pt x="10" y="4"/>
                      <a:pt x="9" y="3"/>
                      <a:pt x="10" y="2"/>
                    </a:cubicBezTo>
                    <a:cubicBezTo>
                      <a:pt x="10" y="1"/>
                      <a:pt x="11"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1" name="Freeform 28"/>
              <p:cNvSpPr/>
              <p:nvPr/>
            </p:nvSpPr>
            <p:spPr bwMode="auto">
              <a:xfrm>
                <a:off x="10319" y="704"/>
                <a:ext cx="19" cy="7"/>
              </a:xfrm>
              <a:custGeom>
                <a:gdLst>
                  <a:gd name="T0" fmla="*/ 6 w 8"/>
                  <a:gd name="T1" fmla="*/ 0 h 3"/>
                  <a:gd name="T2" fmla="*/ 3 w 8"/>
                  <a:gd name="T3" fmla="*/ 1 h 3"/>
                  <a:gd name="T4" fmla="*/ 2 w 8"/>
                  <a:gd name="T5" fmla="*/ 1 h 3"/>
                  <a:gd name="T6" fmla="*/ 2 w 8"/>
                  <a:gd name="T7" fmla="*/ 1 h 3"/>
                  <a:gd name="T8" fmla="*/ 1 w 8"/>
                  <a:gd name="T9" fmla="*/ 1 h 3"/>
                  <a:gd name="T10" fmla="*/ 0 w 8"/>
                  <a:gd name="T11" fmla="*/ 2 h 3"/>
                  <a:gd name="T12" fmla="*/ 5 w 8"/>
                  <a:gd name="T13" fmla="*/ 3 h 3"/>
                  <a:gd name="T14" fmla="*/ 8 w 8"/>
                  <a:gd name="T15" fmla="*/ 0 h 3"/>
                  <a:gd name="T16" fmla="*/ 6 w 8"/>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3">
                    <a:moveTo>
                      <a:pt x="6" y="0"/>
                    </a:moveTo>
                    <a:cubicBezTo>
                      <a:pt x="5" y="0"/>
                      <a:pt x="5" y="0"/>
                      <a:pt x="3" y="1"/>
                    </a:cubicBezTo>
                    <a:cubicBezTo>
                      <a:pt x="3" y="1"/>
                      <a:pt x="2" y="1"/>
                      <a:pt x="2" y="1"/>
                    </a:cubicBezTo>
                    <a:cubicBezTo>
                      <a:pt x="2" y="1"/>
                      <a:pt x="2" y="1"/>
                      <a:pt x="2" y="1"/>
                    </a:cubicBezTo>
                    <a:cubicBezTo>
                      <a:pt x="2" y="1"/>
                      <a:pt x="1" y="1"/>
                      <a:pt x="1" y="1"/>
                    </a:cubicBezTo>
                    <a:cubicBezTo>
                      <a:pt x="1" y="1"/>
                      <a:pt x="0" y="1"/>
                      <a:pt x="0" y="2"/>
                    </a:cubicBezTo>
                    <a:cubicBezTo>
                      <a:pt x="2" y="3"/>
                      <a:pt x="4" y="3"/>
                      <a:pt x="5" y="3"/>
                    </a:cubicBezTo>
                    <a:cubicBezTo>
                      <a:pt x="6" y="2"/>
                      <a:pt x="6" y="0"/>
                      <a:pt x="8"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Freeform 29"/>
              <p:cNvSpPr/>
              <p:nvPr/>
            </p:nvSpPr>
            <p:spPr bwMode="auto">
              <a:xfrm>
                <a:off x="10792" y="727"/>
                <a:ext cx="10" cy="7"/>
              </a:xfrm>
              <a:custGeom>
                <a:gdLst>
                  <a:gd name="T0" fmla="*/ 0 w 4"/>
                  <a:gd name="T1" fmla="*/ 0 h 3"/>
                  <a:gd name="T2" fmla="*/ 0 w 4"/>
                  <a:gd name="T3" fmla="*/ 0 h 3"/>
                  <a:gd name="T4" fmla="*/ 1 w 4"/>
                  <a:gd name="T5" fmla="*/ 3 h 3"/>
                  <a:gd name="T6" fmla="*/ 0 w 4"/>
                  <a:gd name="T7" fmla="*/ 0 h 3"/>
                </a:gdLst>
                <a:cxnLst>
                  <a:cxn ang="0">
                    <a:pos x="T0" y="T1"/>
                  </a:cxn>
                  <a:cxn ang="0">
                    <a:pos x="T2" y="T3"/>
                  </a:cxn>
                  <a:cxn ang="0">
                    <a:pos x="T4" y="T5"/>
                  </a:cxn>
                  <a:cxn ang="0">
                    <a:pos x="T6" y="T7"/>
                  </a:cxn>
                </a:cxnLst>
                <a:rect l="0" t="0" r="r" b="b"/>
                <a:pathLst>
                  <a:path w="4" h="3">
                    <a:moveTo>
                      <a:pt x="0" y="0"/>
                    </a:moveTo>
                    <a:cubicBezTo>
                      <a:pt x="0" y="0"/>
                      <a:pt x="0" y="0"/>
                      <a:pt x="0" y="0"/>
                    </a:cubicBezTo>
                    <a:cubicBezTo>
                      <a:pt x="0" y="1"/>
                      <a:pt x="1" y="2"/>
                      <a:pt x="1"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3" name="Freeform 30"/>
              <p:cNvSpPr/>
              <p:nvPr/>
            </p:nvSpPr>
            <p:spPr bwMode="auto">
              <a:xfrm>
                <a:off x="11036" y="694"/>
                <a:ext cx="7" cy="3"/>
              </a:xfrm>
              <a:custGeom>
                <a:gdLst>
                  <a:gd name="T0" fmla="*/ 3 w 3"/>
                  <a:gd name="T1" fmla="*/ 0 h 1"/>
                  <a:gd name="T2" fmla="*/ 0 w 3"/>
                  <a:gd name="T3" fmla="*/ 1 h 1"/>
                  <a:gd name="T4" fmla="*/ 1 w 3"/>
                  <a:gd name="T5" fmla="*/ 1 h 1"/>
                  <a:gd name="T6" fmla="*/ 3 w 3"/>
                  <a:gd name="T7" fmla="*/ 0 h 1"/>
                </a:gdLst>
                <a:cxnLst>
                  <a:cxn ang="0">
                    <a:pos x="T0" y="T1"/>
                  </a:cxn>
                  <a:cxn ang="0">
                    <a:pos x="T2" y="T3"/>
                  </a:cxn>
                  <a:cxn ang="0">
                    <a:pos x="T4" y="T5"/>
                  </a:cxn>
                  <a:cxn ang="0">
                    <a:pos x="T6" y="T7"/>
                  </a:cxn>
                </a:cxnLst>
                <a:rect l="0" t="0" r="r" b="b"/>
                <a:pathLst>
                  <a:path w="3" h="1">
                    <a:moveTo>
                      <a:pt x="3" y="0"/>
                    </a:moveTo>
                    <a:cubicBezTo>
                      <a:pt x="2" y="0"/>
                      <a:pt x="1" y="1"/>
                      <a:pt x="0" y="1"/>
                    </a:cubicBezTo>
                    <a:cubicBezTo>
                      <a:pt x="0" y="1"/>
                      <a:pt x="1" y="1"/>
                      <a:pt x="1" y="1"/>
                    </a:cubicBezTo>
                    <a:cubicBezTo>
                      <a:pt x="2"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Freeform 31"/>
              <p:cNvSpPr/>
              <p:nvPr/>
            </p:nvSpPr>
            <p:spPr bwMode="auto">
              <a:xfrm>
                <a:off x="10596" y="732"/>
                <a:ext cx="12" cy="9"/>
              </a:xfrm>
              <a:custGeom>
                <a:gdLst>
                  <a:gd name="T0" fmla="*/ 2 w 5"/>
                  <a:gd name="T1" fmla="*/ 0 h 4"/>
                  <a:gd name="T2" fmla="*/ 0 w 5"/>
                  <a:gd name="T3" fmla="*/ 1 h 4"/>
                  <a:gd name="T4" fmla="*/ 2 w 5"/>
                  <a:gd name="T5" fmla="*/ 4 h 4"/>
                  <a:gd name="T6" fmla="*/ 3 w 5"/>
                  <a:gd name="T7" fmla="*/ 0 h 4"/>
                  <a:gd name="T8" fmla="*/ 2 w 5"/>
                  <a:gd name="T9" fmla="*/ 0 h 4"/>
                </a:gdLst>
                <a:cxnLst>
                  <a:cxn ang="0">
                    <a:pos x="T0" y="T1"/>
                  </a:cxn>
                  <a:cxn ang="0">
                    <a:pos x="T2" y="T3"/>
                  </a:cxn>
                  <a:cxn ang="0">
                    <a:pos x="T4" y="T5"/>
                  </a:cxn>
                  <a:cxn ang="0">
                    <a:pos x="T6" y="T7"/>
                  </a:cxn>
                  <a:cxn ang="0">
                    <a:pos x="T8" y="T9"/>
                  </a:cxn>
                </a:cxnLst>
                <a:rect l="0" t="0" r="r" b="b"/>
                <a:pathLst>
                  <a:path w="5" h="4">
                    <a:moveTo>
                      <a:pt x="2" y="0"/>
                    </a:moveTo>
                    <a:cubicBezTo>
                      <a:pt x="1" y="0"/>
                      <a:pt x="1" y="1"/>
                      <a:pt x="0" y="1"/>
                    </a:cubicBezTo>
                    <a:cubicBezTo>
                      <a:pt x="0" y="2"/>
                      <a:pt x="1" y="3"/>
                      <a:pt x="2" y="4"/>
                    </a:cubicBezTo>
                    <a:cubicBezTo>
                      <a:pt x="4" y="3"/>
                      <a:pt x="5"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Freeform 32"/>
              <p:cNvSpPr/>
              <p:nvPr/>
            </p:nvSpPr>
            <p:spPr bwMode="auto">
              <a:xfrm>
                <a:off x="10953" y="711"/>
                <a:ext cx="12" cy="7"/>
              </a:xfrm>
              <a:custGeom>
                <a:gdLst>
                  <a:gd name="T0" fmla="*/ 2 w 5"/>
                  <a:gd name="T1" fmla="*/ 0 h 3"/>
                  <a:gd name="T2" fmla="*/ 1 w 5"/>
                  <a:gd name="T3" fmla="*/ 3 h 3"/>
                  <a:gd name="T4" fmla="*/ 5 w 5"/>
                  <a:gd name="T5" fmla="*/ 1 h 3"/>
                  <a:gd name="T6" fmla="*/ 2 w 5"/>
                  <a:gd name="T7" fmla="*/ 0 h 3"/>
                </a:gdLst>
                <a:cxnLst>
                  <a:cxn ang="0">
                    <a:pos x="T0" y="T1"/>
                  </a:cxn>
                  <a:cxn ang="0">
                    <a:pos x="T2" y="T3"/>
                  </a:cxn>
                  <a:cxn ang="0">
                    <a:pos x="T4" y="T5"/>
                  </a:cxn>
                  <a:cxn ang="0">
                    <a:pos x="T6" y="T7"/>
                  </a:cxn>
                </a:cxnLst>
                <a:rect l="0" t="0" r="r" b="b"/>
                <a:pathLst>
                  <a:path w="5" h="3">
                    <a:moveTo>
                      <a:pt x="2" y="0"/>
                    </a:moveTo>
                    <a:cubicBezTo>
                      <a:pt x="1" y="0"/>
                      <a:pt x="0" y="1"/>
                      <a:pt x="1" y="3"/>
                    </a:cubicBezTo>
                    <a:cubicBezTo>
                      <a:pt x="1" y="3"/>
                      <a:pt x="5" y="1"/>
                      <a:pt x="5"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Freeform 33"/>
              <p:cNvSpPr/>
              <p:nvPr/>
            </p:nvSpPr>
            <p:spPr bwMode="auto">
              <a:xfrm>
                <a:off x="10953" y="195"/>
                <a:ext cx="12" cy="10"/>
              </a:xfrm>
              <a:custGeom>
                <a:gdLst>
                  <a:gd name="T0" fmla="*/ 0 w 5"/>
                  <a:gd name="T1" fmla="*/ 1 h 4"/>
                  <a:gd name="T2" fmla="*/ 5 w 5"/>
                  <a:gd name="T3" fmla="*/ 4 h 4"/>
                  <a:gd name="T4" fmla="*/ 0 w 5"/>
                  <a:gd name="T5" fmla="*/ 1 h 4"/>
                </a:gdLst>
                <a:cxnLst>
                  <a:cxn ang="0">
                    <a:pos x="T0" y="T1"/>
                  </a:cxn>
                  <a:cxn ang="0">
                    <a:pos x="T2" y="T3"/>
                  </a:cxn>
                  <a:cxn ang="0">
                    <a:pos x="T4" y="T5"/>
                  </a:cxn>
                </a:cxnLst>
                <a:rect l="0" t="0" r="r" b="b"/>
                <a:pathLst>
                  <a:path w="5" h="4">
                    <a:moveTo>
                      <a:pt x="0" y="1"/>
                    </a:moveTo>
                    <a:cubicBezTo>
                      <a:pt x="1" y="2"/>
                      <a:pt x="3" y="3"/>
                      <a:pt x="5" y="4"/>
                    </a:cubicBezTo>
                    <a:cubicBezTo>
                      <a:pt x="3" y="0"/>
                      <a:pt x="3" y="2"/>
                      <a:pt x="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Freeform 34"/>
              <p:cNvSpPr>
                <a:spLocks noEditPoints="1"/>
              </p:cNvSpPr>
              <p:nvPr/>
            </p:nvSpPr>
            <p:spPr bwMode="auto">
              <a:xfrm>
                <a:off x="10932" y="183"/>
                <a:ext cx="11" cy="10"/>
              </a:xfrm>
              <a:custGeom>
                <a:gdLst>
                  <a:gd name="T0" fmla="*/ 5 w 5"/>
                  <a:gd name="T1" fmla="*/ 4 h 4"/>
                  <a:gd name="T2" fmla="*/ 5 w 5"/>
                  <a:gd name="T3" fmla="*/ 4 h 4"/>
                  <a:gd name="T4" fmla="*/ 5 w 5"/>
                  <a:gd name="T5" fmla="*/ 4 h 4"/>
                  <a:gd name="T6" fmla="*/ 2 w 5"/>
                  <a:gd name="T7" fmla="*/ 0 h 4"/>
                  <a:gd name="T8" fmla="*/ 1 w 5"/>
                  <a:gd name="T9" fmla="*/ 0 h 4"/>
                  <a:gd name="T10" fmla="*/ 0 w 5"/>
                  <a:gd name="T11" fmla="*/ 1 h 4"/>
                  <a:gd name="T12" fmla="*/ 5 w 5"/>
                  <a:gd name="T13" fmla="*/ 4 h 4"/>
                  <a:gd name="T14" fmla="*/ 2 w 5"/>
                  <a:gd name="T15" fmla="*/ 2 h 4"/>
                  <a:gd name="T16" fmla="*/ 2 w 5"/>
                  <a:gd name="T1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5" y="4"/>
                    </a:moveTo>
                    <a:cubicBezTo>
                      <a:pt x="5" y="4"/>
                      <a:pt x="5" y="4"/>
                      <a:pt x="5" y="4"/>
                    </a:cubicBezTo>
                    <a:cubicBezTo>
                      <a:pt x="5" y="4"/>
                      <a:pt x="5" y="4"/>
                      <a:pt x="5" y="4"/>
                    </a:cubicBezTo>
                    <a:moveTo>
                      <a:pt x="2" y="0"/>
                    </a:moveTo>
                    <a:cubicBezTo>
                      <a:pt x="1" y="0"/>
                      <a:pt x="1" y="0"/>
                      <a:pt x="1" y="0"/>
                    </a:cubicBezTo>
                    <a:cubicBezTo>
                      <a:pt x="0" y="1"/>
                      <a:pt x="0" y="1"/>
                      <a:pt x="0" y="1"/>
                    </a:cubicBezTo>
                    <a:cubicBezTo>
                      <a:pt x="2" y="2"/>
                      <a:pt x="3" y="3"/>
                      <a:pt x="5" y="4"/>
                    </a:cubicBezTo>
                    <a:cubicBezTo>
                      <a:pt x="3" y="3"/>
                      <a:pt x="3" y="3"/>
                      <a:pt x="2" y="2"/>
                    </a:cubicBezTo>
                    <a:cubicBezTo>
                      <a:pt x="1"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35"/>
              <p:cNvSpPr/>
              <p:nvPr/>
            </p:nvSpPr>
            <p:spPr bwMode="auto">
              <a:xfrm>
                <a:off x="10728" y="739"/>
                <a:ext cx="22" cy="12"/>
              </a:xfrm>
              <a:custGeom>
                <a:gdLst>
                  <a:gd name="T0" fmla="*/ 9 w 9"/>
                  <a:gd name="T1" fmla="*/ 0 h 5"/>
                  <a:gd name="T2" fmla="*/ 0 w 9"/>
                  <a:gd name="T3" fmla="*/ 5 h 5"/>
                  <a:gd name="T4" fmla="*/ 3 w 9"/>
                  <a:gd name="T5" fmla="*/ 4 h 5"/>
                  <a:gd name="T6" fmla="*/ 3 w 9"/>
                  <a:gd name="T7" fmla="*/ 4 h 5"/>
                  <a:gd name="T8" fmla="*/ 5 w 9"/>
                  <a:gd name="T9" fmla="*/ 5 h 5"/>
                  <a:gd name="T10" fmla="*/ 6 w 9"/>
                  <a:gd name="T11" fmla="*/ 5 h 5"/>
                  <a:gd name="T12" fmla="*/ 8 w 9"/>
                  <a:gd name="T13" fmla="*/ 3 h 5"/>
                  <a:gd name="T14" fmla="*/ 9 w 9"/>
                  <a:gd name="T15" fmla="*/ 0 h 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9" y="0"/>
                    </a:moveTo>
                    <a:cubicBezTo>
                      <a:pt x="6" y="2"/>
                      <a:pt x="3" y="3"/>
                      <a:pt x="0" y="5"/>
                    </a:cubicBezTo>
                    <a:cubicBezTo>
                      <a:pt x="1" y="5"/>
                      <a:pt x="2" y="4"/>
                      <a:pt x="3" y="4"/>
                    </a:cubicBezTo>
                    <a:cubicBezTo>
                      <a:pt x="3" y="4"/>
                      <a:pt x="3" y="4"/>
                      <a:pt x="3" y="4"/>
                    </a:cubicBezTo>
                    <a:cubicBezTo>
                      <a:pt x="5" y="5"/>
                      <a:pt x="4" y="5"/>
                      <a:pt x="5" y="5"/>
                    </a:cubicBezTo>
                    <a:cubicBezTo>
                      <a:pt x="5" y="5"/>
                      <a:pt x="6" y="5"/>
                      <a:pt x="6" y="5"/>
                    </a:cubicBezTo>
                    <a:cubicBezTo>
                      <a:pt x="8" y="5"/>
                      <a:pt x="7" y="5"/>
                      <a:pt x="8" y="3"/>
                    </a:cubicBezTo>
                    <a:cubicBezTo>
                      <a:pt x="9" y="2"/>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Freeform 36"/>
              <p:cNvSpPr/>
              <p:nvPr/>
            </p:nvSpPr>
            <p:spPr bwMode="auto">
              <a:xfrm>
                <a:off x="10698" y="737"/>
                <a:ext cx="26" cy="21"/>
              </a:xfrm>
              <a:custGeom>
                <a:gdLst>
                  <a:gd name="T0" fmla="*/ 4 w 11"/>
                  <a:gd name="T1" fmla="*/ 0 h 9"/>
                  <a:gd name="T2" fmla="*/ 1 w 11"/>
                  <a:gd name="T3" fmla="*/ 1 h 9"/>
                  <a:gd name="T4" fmla="*/ 6 w 11"/>
                  <a:gd name="T5" fmla="*/ 9 h 9"/>
                  <a:gd name="T6" fmla="*/ 8 w 11"/>
                  <a:gd name="T7" fmla="*/ 6 h 9"/>
                  <a:gd name="T8" fmla="*/ 8 w 11"/>
                  <a:gd name="T9" fmla="*/ 4 h 9"/>
                  <a:gd name="T10" fmla="*/ 11 w 11"/>
                  <a:gd name="T11" fmla="*/ 2 h 9"/>
                  <a:gd name="T12" fmla="*/ 10 w 11"/>
                  <a:gd name="T13" fmla="*/ 2 h 9"/>
                  <a:gd name="T14" fmla="*/ 9 w 11"/>
                  <a:gd name="T15" fmla="*/ 2 h 9"/>
                  <a:gd name="T16" fmla="*/ 8 w 11"/>
                  <a:gd name="T17" fmla="*/ 2 h 9"/>
                  <a:gd name="T18" fmla="*/ 7 w 11"/>
                  <a:gd name="T19" fmla="*/ 2 h 9"/>
                  <a:gd name="T20" fmla="*/ 5 w 11"/>
                  <a:gd name="T21" fmla="*/ 0 h 9"/>
                  <a:gd name="T22" fmla="*/ 4 w 11"/>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4" y="0"/>
                    </a:moveTo>
                    <a:cubicBezTo>
                      <a:pt x="3" y="0"/>
                      <a:pt x="1" y="0"/>
                      <a:pt x="1" y="1"/>
                    </a:cubicBezTo>
                    <a:cubicBezTo>
                      <a:pt x="0" y="2"/>
                      <a:pt x="5" y="7"/>
                      <a:pt x="6" y="9"/>
                    </a:cubicBezTo>
                    <a:cubicBezTo>
                      <a:pt x="7" y="8"/>
                      <a:pt x="7" y="7"/>
                      <a:pt x="8" y="6"/>
                    </a:cubicBezTo>
                    <a:cubicBezTo>
                      <a:pt x="8" y="5"/>
                      <a:pt x="8" y="4"/>
                      <a:pt x="8" y="4"/>
                    </a:cubicBezTo>
                    <a:cubicBezTo>
                      <a:pt x="9" y="3"/>
                      <a:pt x="11" y="4"/>
                      <a:pt x="11" y="2"/>
                    </a:cubicBezTo>
                    <a:cubicBezTo>
                      <a:pt x="11" y="2"/>
                      <a:pt x="11" y="2"/>
                      <a:pt x="10" y="2"/>
                    </a:cubicBezTo>
                    <a:cubicBezTo>
                      <a:pt x="10" y="2"/>
                      <a:pt x="10" y="2"/>
                      <a:pt x="9" y="2"/>
                    </a:cubicBezTo>
                    <a:cubicBezTo>
                      <a:pt x="9" y="2"/>
                      <a:pt x="9" y="2"/>
                      <a:pt x="8" y="2"/>
                    </a:cubicBezTo>
                    <a:cubicBezTo>
                      <a:pt x="8" y="2"/>
                      <a:pt x="7" y="2"/>
                      <a:pt x="7" y="2"/>
                    </a:cubicBezTo>
                    <a:cubicBezTo>
                      <a:pt x="6" y="2"/>
                      <a:pt x="6"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37"/>
              <p:cNvSpPr/>
              <p:nvPr/>
            </p:nvSpPr>
            <p:spPr bwMode="auto">
              <a:xfrm>
                <a:off x="10556" y="753"/>
                <a:ext cx="38" cy="19"/>
              </a:xfrm>
              <a:custGeom>
                <a:gdLst>
                  <a:gd name="T0" fmla="*/ 1 w 16"/>
                  <a:gd name="T1" fmla="*/ 0 h 8"/>
                  <a:gd name="T2" fmla="*/ 0 w 16"/>
                  <a:gd name="T3" fmla="*/ 0 h 8"/>
                  <a:gd name="T4" fmla="*/ 12 w 16"/>
                  <a:gd name="T5" fmla="*/ 8 h 8"/>
                  <a:gd name="T6" fmla="*/ 15 w 16"/>
                  <a:gd name="T7" fmla="*/ 7 h 8"/>
                  <a:gd name="T8" fmla="*/ 16 w 16"/>
                  <a:gd name="T9" fmla="*/ 7 h 8"/>
                  <a:gd name="T10" fmla="*/ 9 w 16"/>
                  <a:gd name="T11" fmla="*/ 4 h 8"/>
                  <a:gd name="T12" fmla="*/ 6 w 16"/>
                  <a:gd name="T13" fmla="*/ 2 h 8"/>
                  <a:gd name="T14" fmla="*/ 1 w 16"/>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8">
                    <a:moveTo>
                      <a:pt x="1" y="0"/>
                    </a:moveTo>
                    <a:cubicBezTo>
                      <a:pt x="1" y="0"/>
                      <a:pt x="1" y="0"/>
                      <a:pt x="0" y="0"/>
                    </a:cubicBezTo>
                    <a:cubicBezTo>
                      <a:pt x="4" y="3"/>
                      <a:pt x="8" y="5"/>
                      <a:pt x="12" y="8"/>
                    </a:cubicBezTo>
                    <a:cubicBezTo>
                      <a:pt x="13" y="8"/>
                      <a:pt x="14" y="7"/>
                      <a:pt x="15" y="7"/>
                    </a:cubicBezTo>
                    <a:cubicBezTo>
                      <a:pt x="15" y="7"/>
                      <a:pt x="16" y="7"/>
                      <a:pt x="16" y="7"/>
                    </a:cubicBezTo>
                    <a:cubicBezTo>
                      <a:pt x="14" y="6"/>
                      <a:pt x="11" y="6"/>
                      <a:pt x="9" y="4"/>
                    </a:cubicBezTo>
                    <a:cubicBezTo>
                      <a:pt x="8" y="3"/>
                      <a:pt x="7" y="3"/>
                      <a:pt x="6" y="2"/>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Freeform 38"/>
              <p:cNvSpPr/>
              <p:nvPr/>
            </p:nvSpPr>
            <p:spPr bwMode="auto">
              <a:xfrm>
                <a:off x="3932" y="1061"/>
                <a:ext cx="26" cy="11"/>
              </a:xfrm>
              <a:custGeom>
                <a:gdLst>
                  <a:gd name="T0" fmla="*/ 0 w 11"/>
                  <a:gd name="T1" fmla="*/ 0 h 5"/>
                  <a:gd name="T2" fmla="*/ 11 w 11"/>
                  <a:gd name="T3" fmla="*/ 5 h 5"/>
                  <a:gd name="T4" fmla="*/ 0 w 11"/>
                  <a:gd name="T5" fmla="*/ 0 h 5"/>
                </a:gdLst>
                <a:cxnLst>
                  <a:cxn ang="0">
                    <a:pos x="T0" y="T1"/>
                  </a:cxn>
                  <a:cxn ang="0">
                    <a:pos x="T2" y="T3"/>
                  </a:cxn>
                  <a:cxn ang="0">
                    <a:pos x="T4" y="T5"/>
                  </a:cxn>
                </a:cxnLst>
                <a:rect l="0" t="0" r="r" b="b"/>
                <a:pathLst>
                  <a:path w="11" h="5">
                    <a:moveTo>
                      <a:pt x="0" y="0"/>
                    </a:moveTo>
                    <a:cubicBezTo>
                      <a:pt x="1" y="4"/>
                      <a:pt x="7" y="4"/>
                      <a:pt x="11" y="5"/>
                    </a:cubicBezTo>
                    <a:cubicBezTo>
                      <a:pt x="7" y="3"/>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39"/>
              <p:cNvSpPr/>
              <p:nvPr/>
            </p:nvSpPr>
            <p:spPr bwMode="auto">
              <a:xfrm>
                <a:off x="4901" y="1458"/>
                <a:ext cx="2" cy="16"/>
              </a:xfrm>
              <a:custGeom>
                <a:gdLst>
                  <a:gd name="T0" fmla="*/ 1 w 1"/>
                  <a:gd name="T1" fmla="*/ 0 h 7"/>
                  <a:gd name="T2" fmla="*/ 1 w 1"/>
                  <a:gd name="T3" fmla="*/ 7 h 7"/>
                  <a:gd name="T4" fmla="*/ 1 w 1"/>
                  <a:gd name="T5" fmla="*/ 0 h 7"/>
                </a:gdLst>
                <a:cxnLst>
                  <a:cxn ang="0">
                    <a:pos x="T0" y="T1"/>
                  </a:cxn>
                  <a:cxn ang="0">
                    <a:pos x="T2" y="T3"/>
                  </a:cxn>
                  <a:cxn ang="0">
                    <a:pos x="T4" y="T5"/>
                  </a:cxn>
                </a:cxnLst>
                <a:rect l="0" t="0" r="r" b="b"/>
                <a:pathLst>
                  <a:path w="1" h="7">
                    <a:moveTo>
                      <a:pt x="1" y="0"/>
                    </a:moveTo>
                    <a:cubicBezTo>
                      <a:pt x="0" y="2"/>
                      <a:pt x="1" y="6"/>
                      <a:pt x="1" y="7"/>
                    </a:cubicBezTo>
                    <a:cubicBezTo>
                      <a:pt x="1" y="5"/>
                      <a:pt x="1"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Freeform 40"/>
              <p:cNvSpPr/>
              <p:nvPr/>
            </p:nvSpPr>
            <p:spPr bwMode="auto">
              <a:xfrm>
                <a:off x="3670" y="1401"/>
                <a:ext cx="14" cy="2"/>
              </a:xfrm>
              <a:custGeom>
                <a:gdLst>
                  <a:gd name="T0" fmla="*/ 6 w 6"/>
                  <a:gd name="T1" fmla="*/ 0 h 1"/>
                  <a:gd name="T2" fmla="*/ 0 w 6"/>
                  <a:gd name="T3" fmla="*/ 1 h 1"/>
                  <a:gd name="T4" fmla="*/ 2 w 6"/>
                  <a:gd name="T5" fmla="*/ 1 h 1"/>
                  <a:gd name="T6" fmla="*/ 6 w 6"/>
                  <a:gd name="T7" fmla="*/ 0 h 1"/>
                  <a:gd name="T8" fmla="*/ 6 w 6"/>
                  <a:gd name="T9" fmla="*/ 0 h 1"/>
                </a:gdLst>
                <a:cxnLst>
                  <a:cxn ang="0">
                    <a:pos x="T0" y="T1"/>
                  </a:cxn>
                  <a:cxn ang="0">
                    <a:pos x="T2" y="T3"/>
                  </a:cxn>
                  <a:cxn ang="0">
                    <a:pos x="T4" y="T5"/>
                  </a:cxn>
                  <a:cxn ang="0">
                    <a:pos x="T6" y="T7"/>
                  </a:cxn>
                  <a:cxn ang="0">
                    <a:pos x="T8" y="T9"/>
                  </a:cxn>
                </a:cxnLst>
                <a:rect l="0" t="0" r="r" b="b"/>
                <a:pathLst>
                  <a:path w="6" h="1">
                    <a:moveTo>
                      <a:pt x="6" y="0"/>
                    </a:moveTo>
                    <a:cubicBezTo>
                      <a:pt x="4" y="0"/>
                      <a:pt x="2" y="1"/>
                      <a:pt x="0" y="1"/>
                    </a:cubicBezTo>
                    <a:cubicBezTo>
                      <a:pt x="0" y="1"/>
                      <a:pt x="1" y="1"/>
                      <a:pt x="2" y="1"/>
                    </a:cubicBezTo>
                    <a:cubicBezTo>
                      <a:pt x="4" y="1"/>
                      <a:pt x="5"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41"/>
              <p:cNvSpPr/>
              <p:nvPr/>
            </p:nvSpPr>
            <p:spPr bwMode="auto">
              <a:xfrm>
                <a:off x="3696" y="-1297"/>
                <a:ext cx="33" cy="19"/>
              </a:xfrm>
              <a:custGeom>
                <a:gdLst>
                  <a:gd name="T0" fmla="*/ 5 w 14"/>
                  <a:gd name="T1" fmla="*/ 0 h 8"/>
                  <a:gd name="T2" fmla="*/ 9 w 14"/>
                  <a:gd name="T3" fmla="*/ 8 h 8"/>
                  <a:gd name="T4" fmla="*/ 13 w 14"/>
                  <a:gd name="T5" fmla="*/ 7 h 8"/>
                  <a:gd name="T6" fmla="*/ 14 w 14"/>
                  <a:gd name="T7" fmla="*/ 5 h 8"/>
                  <a:gd name="T8" fmla="*/ 8 w 14"/>
                  <a:gd name="T9" fmla="*/ 2 h 8"/>
                  <a:gd name="T10" fmla="*/ 6 w 14"/>
                  <a:gd name="T11" fmla="*/ 0 h 8"/>
                  <a:gd name="T12" fmla="*/ 5 w 14"/>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14" h="8">
                    <a:moveTo>
                      <a:pt x="5" y="0"/>
                    </a:moveTo>
                    <a:cubicBezTo>
                      <a:pt x="0" y="0"/>
                      <a:pt x="8" y="7"/>
                      <a:pt x="9" y="8"/>
                    </a:cubicBezTo>
                    <a:cubicBezTo>
                      <a:pt x="10" y="8"/>
                      <a:pt x="12" y="8"/>
                      <a:pt x="13" y="7"/>
                    </a:cubicBezTo>
                    <a:cubicBezTo>
                      <a:pt x="13" y="7"/>
                      <a:pt x="13" y="6"/>
                      <a:pt x="14" y="5"/>
                    </a:cubicBezTo>
                    <a:cubicBezTo>
                      <a:pt x="12" y="4"/>
                      <a:pt x="10" y="4"/>
                      <a:pt x="8" y="2"/>
                    </a:cubicBezTo>
                    <a:cubicBezTo>
                      <a:pt x="7" y="2"/>
                      <a:pt x="7" y="0"/>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5" name="Freeform 42"/>
              <p:cNvSpPr/>
              <p:nvPr/>
            </p:nvSpPr>
            <p:spPr bwMode="auto">
              <a:xfrm>
                <a:off x="3665" y="-1441"/>
                <a:ext cx="76" cy="88"/>
              </a:xfrm>
              <a:custGeom>
                <a:gdLst>
                  <a:gd name="T0" fmla="*/ 0 w 32"/>
                  <a:gd name="T1" fmla="*/ 0 h 37"/>
                  <a:gd name="T2" fmla="*/ 0 w 32"/>
                  <a:gd name="T3" fmla="*/ 37 h 37"/>
                  <a:gd name="T4" fmla="*/ 3 w 32"/>
                  <a:gd name="T5" fmla="*/ 36 h 37"/>
                  <a:gd name="T6" fmla="*/ 6 w 32"/>
                  <a:gd name="T7" fmla="*/ 32 h 37"/>
                  <a:gd name="T8" fmla="*/ 5 w 32"/>
                  <a:gd name="T9" fmla="*/ 28 h 37"/>
                  <a:gd name="T10" fmla="*/ 8 w 32"/>
                  <a:gd name="T11" fmla="*/ 26 h 37"/>
                  <a:gd name="T12" fmla="*/ 18 w 32"/>
                  <a:gd name="T13" fmla="*/ 22 h 37"/>
                  <a:gd name="T14" fmla="*/ 27 w 32"/>
                  <a:gd name="T15" fmla="*/ 17 h 37"/>
                  <a:gd name="T16" fmla="*/ 31 w 32"/>
                  <a:gd name="T17" fmla="*/ 14 h 37"/>
                  <a:gd name="T18" fmla="*/ 29 w 32"/>
                  <a:gd name="T19" fmla="*/ 12 h 37"/>
                  <a:gd name="T20" fmla="*/ 31 w 32"/>
                  <a:gd name="T21" fmla="*/ 6 h 37"/>
                  <a:gd name="T22" fmla="*/ 0 w 32"/>
                  <a:gd name="T23"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7">
                    <a:moveTo>
                      <a:pt x="0" y="0"/>
                    </a:moveTo>
                    <a:cubicBezTo>
                      <a:pt x="0" y="37"/>
                      <a:pt x="0" y="37"/>
                      <a:pt x="0" y="37"/>
                    </a:cubicBezTo>
                    <a:cubicBezTo>
                      <a:pt x="1" y="37"/>
                      <a:pt x="2" y="36"/>
                      <a:pt x="3" y="36"/>
                    </a:cubicBezTo>
                    <a:cubicBezTo>
                      <a:pt x="5" y="35"/>
                      <a:pt x="4" y="33"/>
                      <a:pt x="6" y="32"/>
                    </a:cubicBezTo>
                    <a:cubicBezTo>
                      <a:pt x="9" y="31"/>
                      <a:pt x="5" y="29"/>
                      <a:pt x="5" y="28"/>
                    </a:cubicBezTo>
                    <a:cubicBezTo>
                      <a:pt x="4" y="26"/>
                      <a:pt x="7" y="26"/>
                      <a:pt x="8" y="26"/>
                    </a:cubicBezTo>
                    <a:cubicBezTo>
                      <a:pt x="12" y="25"/>
                      <a:pt x="15" y="24"/>
                      <a:pt x="18" y="22"/>
                    </a:cubicBezTo>
                    <a:cubicBezTo>
                      <a:pt x="21" y="20"/>
                      <a:pt x="23" y="18"/>
                      <a:pt x="27" y="17"/>
                    </a:cubicBezTo>
                    <a:cubicBezTo>
                      <a:pt x="29" y="17"/>
                      <a:pt x="32" y="16"/>
                      <a:pt x="31" y="14"/>
                    </a:cubicBezTo>
                    <a:cubicBezTo>
                      <a:pt x="31" y="13"/>
                      <a:pt x="29" y="13"/>
                      <a:pt x="29" y="12"/>
                    </a:cubicBezTo>
                    <a:cubicBezTo>
                      <a:pt x="29" y="10"/>
                      <a:pt x="31" y="7"/>
                      <a:pt x="31" y="6"/>
                    </a:cubicBezTo>
                    <a:cubicBezTo>
                      <a:pt x="21" y="4"/>
                      <a:pt x="1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Freeform 43"/>
              <p:cNvSpPr/>
              <p:nvPr/>
            </p:nvSpPr>
            <p:spPr bwMode="auto">
              <a:xfrm>
                <a:off x="3941" y="-1438"/>
                <a:ext cx="86" cy="14"/>
              </a:xfrm>
              <a:custGeom>
                <a:gdLst>
                  <a:gd name="T0" fmla="*/ 36 w 36"/>
                  <a:gd name="T1" fmla="*/ 0 h 6"/>
                  <a:gd name="T2" fmla="*/ 0 w 36"/>
                  <a:gd name="T3" fmla="*/ 6 h 6"/>
                  <a:gd name="T4" fmla="*/ 19 w 36"/>
                  <a:gd name="T5" fmla="*/ 4 h 6"/>
                  <a:gd name="T6" fmla="*/ 28 w 36"/>
                  <a:gd name="T7" fmla="*/ 2 h 6"/>
                  <a:gd name="T8" fmla="*/ 36 w 36"/>
                  <a:gd name="T9" fmla="*/ 0 h 6"/>
                </a:gdLst>
                <a:cxnLst>
                  <a:cxn ang="0">
                    <a:pos x="T0" y="T1"/>
                  </a:cxn>
                  <a:cxn ang="0">
                    <a:pos x="T2" y="T3"/>
                  </a:cxn>
                  <a:cxn ang="0">
                    <a:pos x="T4" y="T5"/>
                  </a:cxn>
                  <a:cxn ang="0">
                    <a:pos x="T6" y="T7"/>
                  </a:cxn>
                  <a:cxn ang="0">
                    <a:pos x="T8" y="T9"/>
                  </a:cxn>
                </a:cxnLst>
                <a:rect l="0" t="0" r="r" b="b"/>
                <a:pathLst>
                  <a:path w="36" h="6">
                    <a:moveTo>
                      <a:pt x="36" y="0"/>
                    </a:moveTo>
                    <a:cubicBezTo>
                      <a:pt x="24" y="2"/>
                      <a:pt x="12" y="4"/>
                      <a:pt x="0" y="6"/>
                    </a:cubicBezTo>
                    <a:cubicBezTo>
                      <a:pt x="6" y="6"/>
                      <a:pt x="13" y="5"/>
                      <a:pt x="19" y="4"/>
                    </a:cubicBezTo>
                    <a:cubicBezTo>
                      <a:pt x="22" y="3"/>
                      <a:pt x="25" y="3"/>
                      <a:pt x="28" y="2"/>
                    </a:cubicBezTo>
                    <a:cubicBezTo>
                      <a:pt x="30" y="2"/>
                      <a:pt x="34" y="2"/>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Freeform 44"/>
              <p:cNvSpPr/>
              <p:nvPr/>
            </p:nvSpPr>
            <p:spPr bwMode="auto">
              <a:xfrm>
                <a:off x="3769" y="-1311"/>
                <a:ext cx="80" cy="14"/>
              </a:xfrm>
              <a:custGeom>
                <a:gdLst>
                  <a:gd name="T0" fmla="*/ 14 w 34"/>
                  <a:gd name="T1" fmla="*/ 0 h 6"/>
                  <a:gd name="T2" fmla="*/ 0 w 34"/>
                  <a:gd name="T3" fmla="*/ 5 h 6"/>
                  <a:gd name="T4" fmla="*/ 4 w 34"/>
                  <a:gd name="T5" fmla="*/ 6 h 6"/>
                  <a:gd name="T6" fmla="*/ 11 w 34"/>
                  <a:gd name="T7" fmla="*/ 3 h 6"/>
                  <a:gd name="T8" fmla="*/ 12 w 34"/>
                  <a:gd name="T9" fmla="*/ 3 h 6"/>
                  <a:gd name="T10" fmla="*/ 12 w 34"/>
                  <a:gd name="T11" fmla="*/ 3 h 6"/>
                  <a:gd name="T12" fmla="*/ 15 w 34"/>
                  <a:gd name="T13" fmla="*/ 3 h 6"/>
                  <a:gd name="T14" fmla="*/ 18 w 34"/>
                  <a:gd name="T15" fmla="*/ 2 h 6"/>
                  <a:gd name="T16" fmla="*/ 19 w 34"/>
                  <a:gd name="T17" fmla="*/ 2 h 6"/>
                  <a:gd name="T18" fmla="*/ 26 w 34"/>
                  <a:gd name="T19" fmla="*/ 5 h 6"/>
                  <a:gd name="T20" fmla="*/ 27 w 34"/>
                  <a:gd name="T21" fmla="*/ 5 h 6"/>
                  <a:gd name="T22" fmla="*/ 34 w 34"/>
                  <a:gd name="T23" fmla="*/ 3 h 6"/>
                  <a:gd name="T24" fmla="*/ 15 w 34"/>
                  <a:gd name="T25" fmla="*/ 0 h 6"/>
                  <a:gd name="T26" fmla="*/ 14 w 34"/>
                  <a:gd name="T2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6">
                    <a:moveTo>
                      <a:pt x="14" y="0"/>
                    </a:moveTo>
                    <a:cubicBezTo>
                      <a:pt x="9" y="0"/>
                      <a:pt x="5" y="3"/>
                      <a:pt x="0" y="5"/>
                    </a:cubicBezTo>
                    <a:cubicBezTo>
                      <a:pt x="1" y="6"/>
                      <a:pt x="3" y="6"/>
                      <a:pt x="4" y="6"/>
                    </a:cubicBezTo>
                    <a:cubicBezTo>
                      <a:pt x="6" y="5"/>
                      <a:pt x="9" y="3"/>
                      <a:pt x="11" y="3"/>
                    </a:cubicBezTo>
                    <a:cubicBezTo>
                      <a:pt x="11" y="3"/>
                      <a:pt x="12" y="3"/>
                      <a:pt x="12" y="3"/>
                    </a:cubicBezTo>
                    <a:cubicBezTo>
                      <a:pt x="12" y="3"/>
                      <a:pt x="12" y="3"/>
                      <a:pt x="12" y="3"/>
                    </a:cubicBezTo>
                    <a:cubicBezTo>
                      <a:pt x="13" y="3"/>
                      <a:pt x="14" y="3"/>
                      <a:pt x="15" y="3"/>
                    </a:cubicBezTo>
                    <a:cubicBezTo>
                      <a:pt x="16" y="3"/>
                      <a:pt x="17" y="2"/>
                      <a:pt x="18" y="2"/>
                    </a:cubicBezTo>
                    <a:cubicBezTo>
                      <a:pt x="18" y="2"/>
                      <a:pt x="19" y="2"/>
                      <a:pt x="19" y="2"/>
                    </a:cubicBezTo>
                    <a:cubicBezTo>
                      <a:pt x="21" y="3"/>
                      <a:pt x="24" y="5"/>
                      <a:pt x="26" y="5"/>
                    </a:cubicBezTo>
                    <a:cubicBezTo>
                      <a:pt x="26" y="5"/>
                      <a:pt x="26" y="5"/>
                      <a:pt x="27" y="5"/>
                    </a:cubicBezTo>
                    <a:cubicBezTo>
                      <a:pt x="29" y="5"/>
                      <a:pt x="31" y="3"/>
                      <a:pt x="34" y="3"/>
                    </a:cubicBezTo>
                    <a:cubicBezTo>
                      <a:pt x="28" y="1"/>
                      <a:pt x="21" y="1"/>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Freeform 45"/>
              <p:cNvSpPr/>
              <p:nvPr/>
            </p:nvSpPr>
            <p:spPr bwMode="auto">
              <a:xfrm>
                <a:off x="4523" y="2917"/>
                <a:ext cx="23" cy="7"/>
              </a:xfrm>
              <a:custGeom>
                <a:gdLst>
                  <a:gd name="T0" fmla="*/ 0 w 10"/>
                  <a:gd name="T1" fmla="*/ 0 h 3"/>
                  <a:gd name="T2" fmla="*/ 10 w 10"/>
                  <a:gd name="T3" fmla="*/ 3 h 3"/>
                  <a:gd name="T4" fmla="*/ 0 w 10"/>
                  <a:gd name="T5" fmla="*/ 0 h 3"/>
                  <a:gd name="T6" fmla="*/ 0 w 10"/>
                  <a:gd name="T7" fmla="*/ 0 h 3"/>
                </a:gdLst>
                <a:cxnLst>
                  <a:cxn ang="0">
                    <a:pos x="T0" y="T1"/>
                  </a:cxn>
                  <a:cxn ang="0">
                    <a:pos x="T2" y="T3"/>
                  </a:cxn>
                  <a:cxn ang="0">
                    <a:pos x="T4" y="T5"/>
                  </a:cxn>
                  <a:cxn ang="0">
                    <a:pos x="T6" y="T7"/>
                  </a:cxn>
                </a:cxnLst>
                <a:rect l="0" t="0" r="r" b="b"/>
                <a:pathLst>
                  <a:path w="10" h="3">
                    <a:moveTo>
                      <a:pt x="0" y="0"/>
                    </a:moveTo>
                    <a:cubicBezTo>
                      <a:pt x="3" y="1"/>
                      <a:pt x="7" y="2"/>
                      <a:pt x="10" y="3"/>
                    </a:cubicBezTo>
                    <a:cubicBezTo>
                      <a:pt x="7" y="2"/>
                      <a:pt x="4"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Freeform 46"/>
              <p:cNvSpPr/>
              <p:nvPr/>
            </p:nvSpPr>
            <p:spPr bwMode="auto">
              <a:xfrm>
                <a:off x="7179" y="3250"/>
                <a:ext cx="14" cy="2"/>
              </a:xfrm>
              <a:custGeom>
                <a:gdLst>
                  <a:gd name="T0" fmla="*/ 5 w 6"/>
                  <a:gd name="T1" fmla="*/ 0 h 1"/>
                  <a:gd name="T2" fmla="*/ 0 w 6"/>
                  <a:gd name="T3" fmla="*/ 1 h 1"/>
                  <a:gd name="T4" fmla="*/ 6 w 6"/>
                  <a:gd name="T5" fmla="*/ 0 h 1"/>
                  <a:gd name="T6" fmla="*/ 5 w 6"/>
                  <a:gd name="T7" fmla="*/ 0 h 1"/>
                </a:gdLst>
                <a:cxnLst>
                  <a:cxn ang="0">
                    <a:pos x="T0" y="T1"/>
                  </a:cxn>
                  <a:cxn ang="0">
                    <a:pos x="T2" y="T3"/>
                  </a:cxn>
                  <a:cxn ang="0">
                    <a:pos x="T4" y="T5"/>
                  </a:cxn>
                  <a:cxn ang="0">
                    <a:pos x="T6" y="T7"/>
                  </a:cxn>
                </a:cxnLst>
                <a:rect l="0" t="0" r="r" b="b"/>
                <a:pathLst>
                  <a:path w="6" h="1">
                    <a:moveTo>
                      <a:pt x="5" y="0"/>
                    </a:moveTo>
                    <a:cubicBezTo>
                      <a:pt x="3" y="0"/>
                      <a:pt x="1" y="0"/>
                      <a:pt x="0" y="1"/>
                    </a:cubicBezTo>
                    <a:cubicBezTo>
                      <a:pt x="2" y="1"/>
                      <a:pt x="4"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Freeform 47"/>
              <p:cNvSpPr>
                <a:spLocks noEditPoints="1"/>
              </p:cNvSpPr>
              <p:nvPr/>
            </p:nvSpPr>
            <p:spPr bwMode="auto">
              <a:xfrm>
                <a:off x="4395" y="2541"/>
                <a:ext cx="7" cy="12"/>
              </a:xfrm>
              <a:custGeom>
                <a:gdLst>
                  <a:gd name="T0" fmla="*/ 2 w 3"/>
                  <a:gd name="T1" fmla="*/ 0 h 5"/>
                  <a:gd name="T2" fmla="*/ 1 w 3"/>
                  <a:gd name="T3" fmla="*/ 3 h 5"/>
                  <a:gd name="T4" fmla="*/ 3 w 3"/>
                  <a:gd name="T5" fmla="*/ 5 h 5"/>
                  <a:gd name="T6" fmla="*/ 2 w 3"/>
                  <a:gd name="T7" fmla="*/ 0 h 5"/>
                  <a:gd name="T8" fmla="*/ 1 w 3"/>
                  <a:gd name="T9" fmla="*/ 0 h 5"/>
                  <a:gd name="T10" fmla="*/ 2 w 3"/>
                  <a:gd name="T11" fmla="*/ 0 h 5"/>
                  <a:gd name="T12" fmla="*/ 1 w 3"/>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2" y="2"/>
                      <a:pt x="0" y="1"/>
                      <a:pt x="1" y="3"/>
                    </a:cubicBezTo>
                    <a:cubicBezTo>
                      <a:pt x="1" y="4"/>
                      <a:pt x="3" y="4"/>
                      <a:pt x="3" y="5"/>
                    </a:cubicBezTo>
                    <a:cubicBezTo>
                      <a:pt x="3" y="3"/>
                      <a:pt x="2" y="2"/>
                      <a:pt x="2" y="0"/>
                    </a:cubicBezTo>
                    <a:moveTo>
                      <a:pt x="1" y="0"/>
                    </a:moveTo>
                    <a:cubicBezTo>
                      <a:pt x="1" y="0"/>
                      <a:pt x="1"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Freeform 48"/>
              <p:cNvSpPr/>
              <p:nvPr/>
            </p:nvSpPr>
            <p:spPr bwMode="auto">
              <a:xfrm>
                <a:off x="4402" y="2550"/>
                <a:ext cx="10" cy="10"/>
              </a:xfrm>
              <a:custGeom>
                <a:gdLst>
                  <a:gd name="T0" fmla="*/ 2 w 4"/>
                  <a:gd name="T1" fmla="*/ 0 h 4"/>
                  <a:gd name="T2" fmla="*/ 0 w 4"/>
                  <a:gd name="T3" fmla="*/ 1 h 4"/>
                  <a:gd name="T4" fmla="*/ 4 w 4"/>
                  <a:gd name="T5" fmla="*/ 4 h 4"/>
                  <a:gd name="T6" fmla="*/ 2 w 4"/>
                  <a:gd name="T7" fmla="*/ 0 h 4"/>
                </a:gdLst>
                <a:cxnLst>
                  <a:cxn ang="0">
                    <a:pos x="T0" y="T1"/>
                  </a:cxn>
                  <a:cxn ang="0">
                    <a:pos x="T2" y="T3"/>
                  </a:cxn>
                  <a:cxn ang="0">
                    <a:pos x="T4" y="T5"/>
                  </a:cxn>
                  <a:cxn ang="0">
                    <a:pos x="T6" y="T7"/>
                  </a:cxn>
                </a:cxnLst>
                <a:rect l="0" t="0" r="r" b="b"/>
                <a:pathLst>
                  <a:path w="4" h="4">
                    <a:moveTo>
                      <a:pt x="2" y="0"/>
                    </a:moveTo>
                    <a:cubicBezTo>
                      <a:pt x="2" y="0"/>
                      <a:pt x="1" y="0"/>
                      <a:pt x="0" y="1"/>
                    </a:cubicBezTo>
                    <a:cubicBezTo>
                      <a:pt x="2" y="2"/>
                      <a:pt x="3" y="3"/>
                      <a:pt x="4" y="4"/>
                    </a:cubicBezTo>
                    <a:cubicBezTo>
                      <a:pt x="4" y="3"/>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49"/>
              <p:cNvSpPr/>
              <p:nvPr/>
            </p:nvSpPr>
            <p:spPr bwMode="auto">
              <a:xfrm>
                <a:off x="4393" y="2545"/>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2" y="1"/>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50"/>
              <p:cNvSpPr/>
              <p:nvPr/>
            </p:nvSpPr>
            <p:spPr bwMode="auto">
              <a:xfrm>
                <a:off x="4398" y="2550"/>
                <a:ext cx="4" cy="3"/>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1"/>
                      <a:pt x="1" y="1"/>
                      <a:pt x="2" y="1"/>
                    </a:cubicBezTo>
                    <a:cubicBezTo>
                      <a:pt x="2" y="1"/>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51"/>
              <p:cNvSpPr>
                <a:spLocks noEditPoints="1"/>
              </p:cNvSpPr>
              <p:nvPr/>
            </p:nvSpPr>
            <p:spPr bwMode="auto">
              <a:xfrm>
                <a:off x="8084" y="2853"/>
                <a:ext cx="40" cy="28"/>
              </a:xfrm>
              <a:custGeom>
                <a:gdLst>
                  <a:gd name="T0" fmla="*/ 1 w 17"/>
                  <a:gd name="T1" fmla="*/ 8 h 12"/>
                  <a:gd name="T2" fmla="*/ 1 w 17"/>
                  <a:gd name="T3" fmla="*/ 8 h 12"/>
                  <a:gd name="T4" fmla="*/ 1 w 17"/>
                  <a:gd name="T5" fmla="*/ 8 h 12"/>
                  <a:gd name="T6" fmla="*/ 10 w 17"/>
                  <a:gd name="T7" fmla="*/ 0 h 12"/>
                  <a:gd name="T8" fmla="*/ 6 w 17"/>
                  <a:gd name="T9" fmla="*/ 3 h 12"/>
                  <a:gd name="T10" fmla="*/ 1 w 17"/>
                  <a:gd name="T11" fmla="*/ 8 h 12"/>
                  <a:gd name="T12" fmla="*/ 1 w 17"/>
                  <a:gd name="T13" fmla="*/ 8 h 12"/>
                  <a:gd name="T14" fmla="*/ 2 w 17"/>
                  <a:gd name="T15" fmla="*/ 9 h 12"/>
                  <a:gd name="T16" fmla="*/ 2 w 17"/>
                  <a:gd name="T17" fmla="*/ 10 h 12"/>
                  <a:gd name="T18" fmla="*/ 2 w 17"/>
                  <a:gd name="T19" fmla="*/ 10 h 12"/>
                  <a:gd name="T20" fmla="*/ 6 w 17"/>
                  <a:gd name="T21" fmla="*/ 12 h 12"/>
                  <a:gd name="T22" fmla="*/ 15 w 17"/>
                  <a:gd name="T23" fmla="*/ 9 h 12"/>
                  <a:gd name="T24" fmla="*/ 16 w 17"/>
                  <a:gd name="T25" fmla="*/ 7 h 12"/>
                  <a:gd name="T26" fmla="*/ 15 w 17"/>
                  <a:gd name="T27" fmla="*/ 7 h 12"/>
                  <a:gd name="T28" fmla="*/ 16 w 17"/>
                  <a:gd name="T29" fmla="*/ 6 h 12"/>
                  <a:gd name="T30" fmla="*/ 15 w 17"/>
                  <a:gd name="T31" fmla="*/ 3 h 12"/>
                  <a:gd name="T32" fmla="*/ 11 w 17"/>
                  <a:gd name="T33" fmla="*/ 0 h 12"/>
                  <a:gd name="T34" fmla="*/ 10 w 17"/>
                  <a:gd name="T35"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2">
                    <a:moveTo>
                      <a:pt x="1" y="8"/>
                    </a:moveTo>
                    <a:cubicBezTo>
                      <a:pt x="1" y="8"/>
                      <a:pt x="1" y="8"/>
                      <a:pt x="1" y="8"/>
                    </a:cubicBezTo>
                    <a:cubicBezTo>
                      <a:pt x="1" y="8"/>
                      <a:pt x="1" y="8"/>
                      <a:pt x="1" y="8"/>
                    </a:cubicBezTo>
                    <a:moveTo>
                      <a:pt x="10" y="0"/>
                    </a:moveTo>
                    <a:cubicBezTo>
                      <a:pt x="8" y="0"/>
                      <a:pt x="7" y="2"/>
                      <a:pt x="6" y="3"/>
                    </a:cubicBezTo>
                    <a:cubicBezTo>
                      <a:pt x="4" y="5"/>
                      <a:pt x="0" y="5"/>
                      <a:pt x="1" y="8"/>
                    </a:cubicBezTo>
                    <a:cubicBezTo>
                      <a:pt x="1" y="8"/>
                      <a:pt x="1" y="8"/>
                      <a:pt x="1" y="8"/>
                    </a:cubicBezTo>
                    <a:cubicBezTo>
                      <a:pt x="1" y="8"/>
                      <a:pt x="1" y="9"/>
                      <a:pt x="2" y="9"/>
                    </a:cubicBezTo>
                    <a:cubicBezTo>
                      <a:pt x="2" y="10"/>
                      <a:pt x="2" y="10"/>
                      <a:pt x="2" y="10"/>
                    </a:cubicBezTo>
                    <a:cubicBezTo>
                      <a:pt x="2" y="10"/>
                      <a:pt x="2" y="10"/>
                      <a:pt x="2" y="10"/>
                    </a:cubicBezTo>
                    <a:cubicBezTo>
                      <a:pt x="3" y="11"/>
                      <a:pt x="4" y="11"/>
                      <a:pt x="6" y="12"/>
                    </a:cubicBezTo>
                    <a:cubicBezTo>
                      <a:pt x="9" y="11"/>
                      <a:pt x="13" y="10"/>
                      <a:pt x="15" y="9"/>
                    </a:cubicBezTo>
                    <a:cubicBezTo>
                      <a:pt x="17" y="8"/>
                      <a:pt x="16" y="8"/>
                      <a:pt x="16" y="7"/>
                    </a:cubicBezTo>
                    <a:cubicBezTo>
                      <a:pt x="15" y="7"/>
                      <a:pt x="15" y="7"/>
                      <a:pt x="15" y="7"/>
                    </a:cubicBezTo>
                    <a:cubicBezTo>
                      <a:pt x="16" y="6"/>
                      <a:pt x="16" y="6"/>
                      <a:pt x="16" y="6"/>
                    </a:cubicBezTo>
                    <a:cubicBezTo>
                      <a:pt x="16" y="5"/>
                      <a:pt x="16" y="4"/>
                      <a:pt x="15" y="3"/>
                    </a:cubicBezTo>
                    <a:cubicBezTo>
                      <a:pt x="15" y="2"/>
                      <a:pt x="12" y="1"/>
                      <a:pt x="11"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52"/>
              <p:cNvSpPr/>
              <p:nvPr/>
            </p:nvSpPr>
            <p:spPr bwMode="auto">
              <a:xfrm>
                <a:off x="8108" y="2744"/>
                <a:ext cx="63" cy="69"/>
              </a:xfrm>
              <a:custGeom>
                <a:gdLst>
                  <a:gd name="T0" fmla="*/ 15 w 27"/>
                  <a:gd name="T1" fmla="*/ 0 h 29"/>
                  <a:gd name="T2" fmla="*/ 11 w 27"/>
                  <a:gd name="T3" fmla="*/ 0 h 29"/>
                  <a:gd name="T4" fmla="*/ 0 w 27"/>
                  <a:gd name="T5" fmla="*/ 0 h 29"/>
                  <a:gd name="T6" fmla="*/ 7 w 27"/>
                  <a:gd name="T7" fmla="*/ 9 h 29"/>
                  <a:gd name="T8" fmla="*/ 15 w 27"/>
                  <a:gd name="T9" fmla="*/ 16 h 29"/>
                  <a:gd name="T10" fmla="*/ 14 w 27"/>
                  <a:gd name="T11" fmla="*/ 18 h 29"/>
                  <a:gd name="T12" fmla="*/ 15 w 27"/>
                  <a:gd name="T13" fmla="*/ 24 h 29"/>
                  <a:gd name="T14" fmla="*/ 18 w 27"/>
                  <a:gd name="T15" fmla="*/ 28 h 29"/>
                  <a:gd name="T16" fmla="*/ 19 w 27"/>
                  <a:gd name="T17" fmla="*/ 29 h 29"/>
                  <a:gd name="T18" fmla="*/ 20 w 27"/>
                  <a:gd name="T19" fmla="*/ 28 h 29"/>
                  <a:gd name="T20" fmla="*/ 20 w 27"/>
                  <a:gd name="T21" fmla="*/ 28 h 29"/>
                  <a:gd name="T22" fmla="*/ 21 w 27"/>
                  <a:gd name="T23" fmla="*/ 28 h 29"/>
                  <a:gd name="T24" fmla="*/ 24 w 27"/>
                  <a:gd name="T25" fmla="*/ 29 h 29"/>
                  <a:gd name="T26" fmla="*/ 24 w 27"/>
                  <a:gd name="T27" fmla="*/ 28 h 29"/>
                  <a:gd name="T28" fmla="*/ 25 w 27"/>
                  <a:gd name="T29" fmla="*/ 28 h 29"/>
                  <a:gd name="T30" fmla="*/ 26 w 27"/>
                  <a:gd name="T31" fmla="*/ 28 h 29"/>
                  <a:gd name="T32" fmla="*/ 27 w 27"/>
                  <a:gd name="T33" fmla="*/ 28 h 29"/>
                  <a:gd name="T34" fmla="*/ 24 w 27"/>
                  <a:gd name="T35" fmla="*/ 27 h 29"/>
                  <a:gd name="T36" fmla="*/ 26 w 27"/>
                  <a:gd name="T37" fmla="*/ 24 h 29"/>
                  <a:gd name="T38" fmla="*/ 25 w 27"/>
                  <a:gd name="T39" fmla="*/ 15 h 29"/>
                  <a:gd name="T40" fmla="*/ 24 w 27"/>
                  <a:gd name="T41" fmla="*/ 8 h 29"/>
                  <a:gd name="T42" fmla="*/ 24 w 27"/>
                  <a:gd name="T43" fmla="*/ 7 h 29"/>
                  <a:gd name="T44" fmla="*/ 22 w 27"/>
                  <a:gd name="T45" fmla="*/ 6 h 29"/>
                  <a:gd name="T46" fmla="*/ 20 w 27"/>
                  <a:gd name="T47" fmla="*/ 4 h 29"/>
                  <a:gd name="T48" fmla="*/ 21 w 27"/>
                  <a:gd name="T49" fmla="*/ 3 h 29"/>
                  <a:gd name="T50" fmla="*/ 18 w 27"/>
                  <a:gd name="T51" fmla="*/ 0 h 29"/>
                  <a:gd name="T52" fmla="*/ 15 w 27"/>
                  <a:gd name="T53"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8">
                    <a:moveTo>
                      <a:pt x="15" y="0"/>
                    </a:moveTo>
                    <a:cubicBezTo>
                      <a:pt x="14" y="0"/>
                      <a:pt x="12" y="0"/>
                      <a:pt x="11" y="0"/>
                    </a:cubicBezTo>
                    <a:cubicBezTo>
                      <a:pt x="8" y="0"/>
                      <a:pt x="4" y="0"/>
                      <a:pt x="0" y="0"/>
                    </a:cubicBezTo>
                    <a:cubicBezTo>
                      <a:pt x="2" y="5"/>
                      <a:pt x="3" y="6"/>
                      <a:pt x="7" y="9"/>
                    </a:cubicBezTo>
                    <a:cubicBezTo>
                      <a:pt x="9" y="11"/>
                      <a:pt x="13" y="14"/>
                      <a:pt x="15" y="16"/>
                    </a:cubicBezTo>
                    <a:cubicBezTo>
                      <a:pt x="14" y="17"/>
                      <a:pt x="14" y="17"/>
                      <a:pt x="14" y="18"/>
                    </a:cubicBezTo>
                    <a:cubicBezTo>
                      <a:pt x="14" y="20"/>
                      <a:pt x="14" y="22"/>
                      <a:pt x="15" y="24"/>
                    </a:cubicBezTo>
                    <a:cubicBezTo>
                      <a:pt x="16" y="25"/>
                      <a:pt x="17" y="27"/>
                      <a:pt x="18" y="28"/>
                    </a:cubicBezTo>
                    <a:cubicBezTo>
                      <a:pt x="19" y="29"/>
                      <a:pt x="19" y="29"/>
                      <a:pt x="19" y="29"/>
                    </a:cubicBezTo>
                    <a:cubicBezTo>
                      <a:pt x="19" y="29"/>
                      <a:pt x="19" y="29"/>
                      <a:pt x="20" y="28"/>
                    </a:cubicBezTo>
                    <a:cubicBezTo>
                      <a:pt x="20" y="28"/>
                      <a:pt x="20" y="28"/>
                      <a:pt x="20" y="28"/>
                    </a:cubicBezTo>
                    <a:cubicBezTo>
                      <a:pt x="21" y="28"/>
                      <a:pt x="21" y="28"/>
                      <a:pt x="21" y="28"/>
                    </a:cubicBezTo>
                    <a:cubicBezTo>
                      <a:pt x="22" y="28"/>
                      <a:pt x="23" y="28"/>
                      <a:pt x="24" y="29"/>
                    </a:cubicBezTo>
                    <a:cubicBezTo>
                      <a:pt x="24" y="28"/>
                      <a:pt x="24" y="28"/>
                      <a:pt x="24" y="28"/>
                    </a:cubicBezTo>
                    <a:cubicBezTo>
                      <a:pt x="25" y="28"/>
                      <a:pt x="25" y="28"/>
                      <a:pt x="25" y="28"/>
                    </a:cubicBezTo>
                    <a:cubicBezTo>
                      <a:pt x="25" y="28"/>
                      <a:pt x="25" y="28"/>
                      <a:pt x="26" y="28"/>
                    </a:cubicBezTo>
                    <a:cubicBezTo>
                      <a:pt x="26" y="28"/>
                      <a:pt x="26" y="28"/>
                      <a:pt x="27" y="28"/>
                    </a:cubicBezTo>
                    <a:cubicBezTo>
                      <a:pt x="26" y="27"/>
                      <a:pt x="25" y="27"/>
                      <a:pt x="24" y="27"/>
                    </a:cubicBezTo>
                    <a:cubicBezTo>
                      <a:pt x="25" y="26"/>
                      <a:pt x="26" y="25"/>
                      <a:pt x="26" y="24"/>
                    </a:cubicBezTo>
                    <a:cubicBezTo>
                      <a:pt x="27" y="22"/>
                      <a:pt x="25" y="17"/>
                      <a:pt x="25" y="15"/>
                    </a:cubicBezTo>
                    <a:cubicBezTo>
                      <a:pt x="24" y="14"/>
                      <a:pt x="23" y="8"/>
                      <a:pt x="24" y="8"/>
                    </a:cubicBezTo>
                    <a:cubicBezTo>
                      <a:pt x="24" y="7"/>
                      <a:pt x="24" y="7"/>
                      <a:pt x="24" y="7"/>
                    </a:cubicBezTo>
                    <a:cubicBezTo>
                      <a:pt x="23" y="7"/>
                      <a:pt x="23" y="7"/>
                      <a:pt x="22" y="6"/>
                    </a:cubicBezTo>
                    <a:cubicBezTo>
                      <a:pt x="19" y="5"/>
                      <a:pt x="21" y="6"/>
                      <a:pt x="20" y="4"/>
                    </a:cubicBezTo>
                    <a:cubicBezTo>
                      <a:pt x="20" y="3"/>
                      <a:pt x="20" y="3"/>
                      <a:pt x="21" y="3"/>
                    </a:cubicBezTo>
                    <a:cubicBezTo>
                      <a:pt x="20" y="2"/>
                      <a:pt x="19" y="1"/>
                      <a:pt x="18" y="0"/>
                    </a:cubicBezTo>
                    <a:cubicBezTo>
                      <a:pt x="17"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53"/>
              <p:cNvSpPr/>
              <p:nvPr/>
            </p:nvSpPr>
            <p:spPr bwMode="auto">
              <a:xfrm>
                <a:off x="8110" y="2791"/>
                <a:ext cx="43" cy="69"/>
              </a:xfrm>
              <a:custGeom>
                <a:gdLst>
                  <a:gd name="T0" fmla="*/ 0 w 18"/>
                  <a:gd name="T1" fmla="*/ 0 h 29"/>
                  <a:gd name="T2" fmla="*/ 1 w 18"/>
                  <a:gd name="T3" fmla="*/ 5 h 29"/>
                  <a:gd name="T4" fmla="*/ 1 w 18"/>
                  <a:gd name="T5" fmla="*/ 9 h 29"/>
                  <a:gd name="T6" fmla="*/ 2 w 18"/>
                  <a:gd name="T7" fmla="*/ 12 h 29"/>
                  <a:gd name="T8" fmla="*/ 2 w 18"/>
                  <a:gd name="T9" fmla="*/ 11 h 29"/>
                  <a:gd name="T10" fmla="*/ 3 w 18"/>
                  <a:gd name="T11" fmla="*/ 13 h 29"/>
                  <a:gd name="T12" fmla="*/ 4 w 18"/>
                  <a:gd name="T13" fmla="*/ 12 h 29"/>
                  <a:gd name="T14" fmla="*/ 6 w 18"/>
                  <a:gd name="T15" fmla="*/ 10 h 29"/>
                  <a:gd name="T16" fmla="*/ 6 w 18"/>
                  <a:gd name="T17" fmla="*/ 10 h 29"/>
                  <a:gd name="T18" fmla="*/ 9 w 18"/>
                  <a:gd name="T19" fmla="*/ 26 h 29"/>
                  <a:gd name="T20" fmla="*/ 14 w 18"/>
                  <a:gd name="T21" fmla="*/ 29 h 29"/>
                  <a:gd name="T22" fmla="*/ 13 w 18"/>
                  <a:gd name="T23" fmla="*/ 22 h 29"/>
                  <a:gd name="T24" fmla="*/ 16 w 18"/>
                  <a:gd name="T25" fmla="*/ 26 h 29"/>
                  <a:gd name="T26" fmla="*/ 18 w 18"/>
                  <a:gd name="T27" fmla="*/ 23 h 29"/>
                  <a:gd name="T28" fmla="*/ 16 w 18"/>
                  <a:gd name="T29" fmla="*/ 17 h 29"/>
                  <a:gd name="T30" fmla="*/ 13 w 18"/>
                  <a:gd name="T31" fmla="*/ 3 h 29"/>
                  <a:gd name="T32" fmla="*/ 7 w 18"/>
                  <a:gd name="T33" fmla="*/ 4 h 29"/>
                  <a:gd name="T34" fmla="*/ 5 w 18"/>
                  <a:gd name="T35" fmla="*/ 4 h 29"/>
                  <a:gd name="T36" fmla="*/ 0 w 18"/>
                  <a:gd name="T37"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0"/>
                    </a:moveTo>
                    <a:cubicBezTo>
                      <a:pt x="0" y="2"/>
                      <a:pt x="1" y="4"/>
                      <a:pt x="1" y="5"/>
                    </a:cubicBezTo>
                    <a:cubicBezTo>
                      <a:pt x="2" y="6"/>
                      <a:pt x="1" y="8"/>
                      <a:pt x="1" y="9"/>
                    </a:cubicBezTo>
                    <a:cubicBezTo>
                      <a:pt x="1" y="10"/>
                      <a:pt x="1" y="12"/>
                      <a:pt x="2" y="12"/>
                    </a:cubicBezTo>
                    <a:cubicBezTo>
                      <a:pt x="2" y="12"/>
                      <a:pt x="2" y="12"/>
                      <a:pt x="2" y="11"/>
                    </a:cubicBezTo>
                    <a:cubicBezTo>
                      <a:pt x="2" y="12"/>
                      <a:pt x="3" y="13"/>
                      <a:pt x="3" y="13"/>
                    </a:cubicBezTo>
                    <a:cubicBezTo>
                      <a:pt x="3" y="13"/>
                      <a:pt x="4" y="12"/>
                      <a:pt x="4" y="12"/>
                    </a:cubicBezTo>
                    <a:cubicBezTo>
                      <a:pt x="5" y="11"/>
                      <a:pt x="5" y="10"/>
                      <a:pt x="6" y="10"/>
                    </a:cubicBezTo>
                    <a:cubicBezTo>
                      <a:pt x="6" y="10"/>
                      <a:pt x="6" y="10"/>
                      <a:pt x="6" y="10"/>
                    </a:cubicBezTo>
                    <a:cubicBezTo>
                      <a:pt x="11" y="11"/>
                      <a:pt x="9" y="24"/>
                      <a:pt x="9" y="26"/>
                    </a:cubicBezTo>
                    <a:cubicBezTo>
                      <a:pt x="10" y="27"/>
                      <a:pt x="12" y="28"/>
                      <a:pt x="14" y="29"/>
                    </a:cubicBezTo>
                    <a:cubicBezTo>
                      <a:pt x="14" y="26"/>
                      <a:pt x="12" y="25"/>
                      <a:pt x="13" y="22"/>
                    </a:cubicBezTo>
                    <a:cubicBezTo>
                      <a:pt x="14" y="24"/>
                      <a:pt x="15" y="25"/>
                      <a:pt x="16" y="26"/>
                    </a:cubicBezTo>
                    <a:cubicBezTo>
                      <a:pt x="17" y="25"/>
                      <a:pt x="18" y="24"/>
                      <a:pt x="18" y="23"/>
                    </a:cubicBezTo>
                    <a:cubicBezTo>
                      <a:pt x="18" y="21"/>
                      <a:pt x="17" y="18"/>
                      <a:pt x="16" y="17"/>
                    </a:cubicBezTo>
                    <a:cubicBezTo>
                      <a:pt x="12" y="14"/>
                      <a:pt x="13" y="8"/>
                      <a:pt x="13" y="3"/>
                    </a:cubicBezTo>
                    <a:cubicBezTo>
                      <a:pt x="11" y="3"/>
                      <a:pt x="9" y="4"/>
                      <a:pt x="7" y="4"/>
                    </a:cubicBezTo>
                    <a:cubicBezTo>
                      <a:pt x="6" y="4"/>
                      <a:pt x="5" y="4"/>
                      <a:pt x="5" y="4"/>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54"/>
              <p:cNvSpPr/>
              <p:nvPr/>
            </p:nvSpPr>
            <p:spPr bwMode="auto">
              <a:xfrm>
                <a:off x="7897" y="2465"/>
                <a:ext cx="208" cy="279"/>
              </a:xfrm>
              <a:custGeom>
                <a:gdLst>
                  <a:gd name="T0" fmla="*/ 23 w 88"/>
                  <a:gd name="T1" fmla="*/ 2 h 118"/>
                  <a:gd name="T2" fmla="*/ 21 w 88"/>
                  <a:gd name="T3" fmla="*/ 1 h 118"/>
                  <a:gd name="T4" fmla="*/ 20 w 88"/>
                  <a:gd name="T5" fmla="*/ 1 h 118"/>
                  <a:gd name="T6" fmla="*/ 18 w 88"/>
                  <a:gd name="T7" fmla="*/ 7 h 118"/>
                  <a:gd name="T8" fmla="*/ 16 w 88"/>
                  <a:gd name="T9" fmla="*/ 32 h 118"/>
                  <a:gd name="T10" fmla="*/ 15 w 88"/>
                  <a:gd name="T11" fmla="*/ 49 h 118"/>
                  <a:gd name="T12" fmla="*/ 12 w 88"/>
                  <a:gd name="T13" fmla="*/ 51 h 118"/>
                  <a:gd name="T14" fmla="*/ 6 w 88"/>
                  <a:gd name="T15" fmla="*/ 44 h 118"/>
                  <a:gd name="T16" fmla="*/ 6 w 88"/>
                  <a:gd name="T17" fmla="*/ 58 h 118"/>
                  <a:gd name="T18" fmla="*/ 10 w 88"/>
                  <a:gd name="T19" fmla="*/ 75 h 118"/>
                  <a:gd name="T20" fmla="*/ 15 w 88"/>
                  <a:gd name="T21" fmla="*/ 79 h 118"/>
                  <a:gd name="T22" fmla="*/ 16 w 88"/>
                  <a:gd name="T23" fmla="*/ 82 h 118"/>
                  <a:gd name="T24" fmla="*/ 18 w 88"/>
                  <a:gd name="T25" fmla="*/ 74 h 118"/>
                  <a:gd name="T26" fmla="*/ 27 w 88"/>
                  <a:gd name="T27" fmla="*/ 74 h 118"/>
                  <a:gd name="T28" fmla="*/ 27 w 88"/>
                  <a:gd name="T29" fmla="*/ 84 h 118"/>
                  <a:gd name="T30" fmla="*/ 19 w 88"/>
                  <a:gd name="T31" fmla="*/ 87 h 118"/>
                  <a:gd name="T32" fmla="*/ 22 w 88"/>
                  <a:gd name="T33" fmla="*/ 92 h 118"/>
                  <a:gd name="T34" fmla="*/ 25 w 88"/>
                  <a:gd name="T35" fmla="*/ 96 h 118"/>
                  <a:gd name="T36" fmla="*/ 32 w 88"/>
                  <a:gd name="T37" fmla="*/ 98 h 118"/>
                  <a:gd name="T38" fmla="*/ 36 w 88"/>
                  <a:gd name="T39" fmla="*/ 93 h 118"/>
                  <a:gd name="T40" fmla="*/ 45 w 88"/>
                  <a:gd name="T41" fmla="*/ 93 h 118"/>
                  <a:gd name="T42" fmla="*/ 52 w 88"/>
                  <a:gd name="T43" fmla="*/ 98 h 118"/>
                  <a:gd name="T44" fmla="*/ 52 w 88"/>
                  <a:gd name="T45" fmla="*/ 98 h 118"/>
                  <a:gd name="T46" fmla="*/ 56 w 88"/>
                  <a:gd name="T47" fmla="*/ 96 h 118"/>
                  <a:gd name="T48" fmla="*/ 56 w 88"/>
                  <a:gd name="T49" fmla="*/ 91 h 118"/>
                  <a:gd name="T50" fmla="*/ 69 w 88"/>
                  <a:gd name="T51" fmla="*/ 103 h 118"/>
                  <a:gd name="T52" fmla="*/ 75 w 88"/>
                  <a:gd name="T53" fmla="*/ 110 h 118"/>
                  <a:gd name="T54" fmla="*/ 82 w 88"/>
                  <a:gd name="T55" fmla="*/ 111 h 118"/>
                  <a:gd name="T56" fmla="*/ 83 w 88"/>
                  <a:gd name="T57" fmla="*/ 110 h 118"/>
                  <a:gd name="T58" fmla="*/ 84 w 88"/>
                  <a:gd name="T59" fmla="*/ 110 h 118"/>
                  <a:gd name="T60" fmla="*/ 83 w 88"/>
                  <a:gd name="T61" fmla="*/ 113 h 118"/>
                  <a:gd name="T62" fmla="*/ 82 w 88"/>
                  <a:gd name="T63" fmla="*/ 113 h 118"/>
                  <a:gd name="T64" fmla="*/ 81 w 88"/>
                  <a:gd name="T65" fmla="*/ 113 h 118"/>
                  <a:gd name="T66" fmla="*/ 88 w 88"/>
                  <a:gd name="T67" fmla="*/ 109 h 118"/>
                  <a:gd name="T68" fmla="*/ 83 w 88"/>
                  <a:gd name="T69" fmla="*/ 107 h 118"/>
                  <a:gd name="T70" fmla="*/ 82 w 88"/>
                  <a:gd name="T71" fmla="*/ 105 h 118"/>
                  <a:gd name="T72" fmla="*/ 76 w 88"/>
                  <a:gd name="T73" fmla="*/ 96 h 118"/>
                  <a:gd name="T74" fmla="*/ 79 w 88"/>
                  <a:gd name="T75" fmla="*/ 96 h 118"/>
                  <a:gd name="T76" fmla="*/ 81 w 88"/>
                  <a:gd name="T77" fmla="*/ 96 h 118"/>
                  <a:gd name="T78" fmla="*/ 84 w 88"/>
                  <a:gd name="T79" fmla="*/ 96 h 118"/>
                  <a:gd name="T80" fmla="*/ 72 w 88"/>
                  <a:gd name="T81" fmla="*/ 88 h 118"/>
                  <a:gd name="T82" fmla="*/ 71 w 88"/>
                  <a:gd name="T83" fmla="*/ 93 h 118"/>
                  <a:gd name="T84" fmla="*/ 66 w 88"/>
                  <a:gd name="T85" fmla="*/ 89 h 118"/>
                  <a:gd name="T86" fmla="*/ 57 w 88"/>
                  <a:gd name="T87" fmla="*/ 83 h 118"/>
                  <a:gd name="T88" fmla="*/ 51 w 88"/>
                  <a:gd name="T89" fmla="*/ 91 h 118"/>
                  <a:gd name="T90" fmla="*/ 50 w 88"/>
                  <a:gd name="T91" fmla="*/ 92 h 118"/>
                  <a:gd name="T92" fmla="*/ 41 w 88"/>
                  <a:gd name="T93" fmla="*/ 84 h 118"/>
                  <a:gd name="T94" fmla="*/ 38 w 88"/>
                  <a:gd name="T95" fmla="*/ 71 h 118"/>
                  <a:gd name="T96" fmla="*/ 39 w 88"/>
                  <a:gd name="T97" fmla="*/ 56 h 118"/>
                  <a:gd name="T98" fmla="*/ 38 w 88"/>
                  <a:gd name="T99" fmla="*/ 56 h 118"/>
                  <a:gd name="T100" fmla="*/ 38 w 88"/>
                  <a:gd name="T101" fmla="*/ 56 h 118"/>
                  <a:gd name="T102" fmla="*/ 47 w 88"/>
                  <a:gd name="T103" fmla="*/ 50 h 118"/>
                  <a:gd name="T104" fmla="*/ 55 w 88"/>
                  <a:gd name="T105" fmla="*/ 31 h 118"/>
                  <a:gd name="T106" fmla="*/ 50 w 88"/>
                  <a:gd name="T107" fmla="*/ 21 h 118"/>
                  <a:gd name="T108" fmla="*/ 51 w 88"/>
                  <a:gd name="T109" fmla="*/ 2 h 118"/>
                  <a:gd name="T110" fmla="*/ 45 w 88"/>
                  <a:gd name="T111" fmla="*/ 7 h 118"/>
                  <a:gd name="T112" fmla="*/ 42 w 88"/>
                  <a:gd name="T113" fmla="*/ 7 h 118"/>
                  <a:gd name="T114" fmla="*/ 27 w 88"/>
                  <a:gd name="T115" fmla="*/ 0 h 1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 h="118">
                    <a:moveTo>
                      <a:pt x="27" y="0"/>
                    </a:moveTo>
                    <a:cubicBezTo>
                      <a:pt x="25" y="1"/>
                      <a:pt x="24" y="1"/>
                      <a:pt x="23" y="2"/>
                    </a:cubicBezTo>
                    <a:cubicBezTo>
                      <a:pt x="22" y="2"/>
                      <a:pt x="22" y="2"/>
                      <a:pt x="22" y="2"/>
                    </a:cubicBezTo>
                    <a:cubicBezTo>
                      <a:pt x="22" y="2"/>
                      <a:pt x="22" y="2"/>
                      <a:pt x="21" y="1"/>
                    </a:cubicBezTo>
                    <a:cubicBezTo>
                      <a:pt x="21" y="1"/>
                      <a:pt x="21" y="1"/>
                      <a:pt x="20" y="1"/>
                    </a:cubicBezTo>
                    <a:cubicBezTo>
                      <a:pt x="20" y="1"/>
                      <a:pt x="20" y="1"/>
                      <a:pt x="20" y="1"/>
                    </a:cubicBezTo>
                    <a:cubicBezTo>
                      <a:pt x="19" y="2"/>
                      <a:pt x="19" y="2"/>
                      <a:pt x="19" y="2"/>
                    </a:cubicBezTo>
                    <a:cubicBezTo>
                      <a:pt x="18" y="3"/>
                      <a:pt x="18" y="6"/>
                      <a:pt x="18" y="7"/>
                    </a:cubicBezTo>
                    <a:cubicBezTo>
                      <a:pt x="17" y="9"/>
                      <a:pt x="16" y="12"/>
                      <a:pt x="16" y="14"/>
                    </a:cubicBezTo>
                    <a:cubicBezTo>
                      <a:pt x="16" y="20"/>
                      <a:pt x="16" y="26"/>
                      <a:pt x="16" y="32"/>
                    </a:cubicBezTo>
                    <a:cubicBezTo>
                      <a:pt x="16" y="34"/>
                      <a:pt x="15" y="39"/>
                      <a:pt x="13" y="39"/>
                    </a:cubicBezTo>
                    <a:cubicBezTo>
                      <a:pt x="14" y="42"/>
                      <a:pt x="17" y="47"/>
                      <a:pt x="15" y="49"/>
                    </a:cubicBezTo>
                    <a:cubicBezTo>
                      <a:pt x="15" y="50"/>
                      <a:pt x="13" y="51"/>
                      <a:pt x="12" y="51"/>
                    </a:cubicBezTo>
                    <a:cubicBezTo>
                      <a:pt x="12" y="51"/>
                      <a:pt x="12" y="51"/>
                      <a:pt x="12" y="51"/>
                    </a:cubicBezTo>
                    <a:cubicBezTo>
                      <a:pt x="10" y="50"/>
                      <a:pt x="6" y="47"/>
                      <a:pt x="6" y="45"/>
                    </a:cubicBezTo>
                    <a:cubicBezTo>
                      <a:pt x="7" y="44"/>
                      <a:pt x="7" y="44"/>
                      <a:pt x="6" y="44"/>
                    </a:cubicBezTo>
                    <a:cubicBezTo>
                      <a:pt x="6" y="44"/>
                      <a:pt x="6" y="44"/>
                      <a:pt x="5" y="44"/>
                    </a:cubicBezTo>
                    <a:cubicBezTo>
                      <a:pt x="0" y="44"/>
                      <a:pt x="6" y="56"/>
                      <a:pt x="6" y="58"/>
                    </a:cubicBezTo>
                    <a:cubicBezTo>
                      <a:pt x="8" y="63"/>
                      <a:pt x="9" y="69"/>
                      <a:pt x="10" y="75"/>
                    </a:cubicBezTo>
                    <a:cubicBezTo>
                      <a:pt x="10" y="75"/>
                      <a:pt x="10" y="75"/>
                      <a:pt x="10" y="75"/>
                    </a:cubicBezTo>
                    <a:cubicBezTo>
                      <a:pt x="11" y="75"/>
                      <a:pt x="13" y="75"/>
                      <a:pt x="14" y="75"/>
                    </a:cubicBezTo>
                    <a:cubicBezTo>
                      <a:pt x="11" y="78"/>
                      <a:pt x="14" y="77"/>
                      <a:pt x="15" y="79"/>
                    </a:cubicBezTo>
                    <a:cubicBezTo>
                      <a:pt x="16" y="79"/>
                      <a:pt x="15" y="80"/>
                      <a:pt x="15" y="80"/>
                    </a:cubicBezTo>
                    <a:cubicBezTo>
                      <a:pt x="16" y="81"/>
                      <a:pt x="15" y="81"/>
                      <a:pt x="16" y="82"/>
                    </a:cubicBezTo>
                    <a:cubicBezTo>
                      <a:pt x="17" y="82"/>
                      <a:pt x="17" y="82"/>
                      <a:pt x="17" y="82"/>
                    </a:cubicBezTo>
                    <a:cubicBezTo>
                      <a:pt x="20" y="82"/>
                      <a:pt x="19" y="76"/>
                      <a:pt x="18" y="74"/>
                    </a:cubicBezTo>
                    <a:cubicBezTo>
                      <a:pt x="20" y="75"/>
                      <a:pt x="21" y="76"/>
                      <a:pt x="23" y="76"/>
                    </a:cubicBezTo>
                    <a:cubicBezTo>
                      <a:pt x="24" y="75"/>
                      <a:pt x="25" y="74"/>
                      <a:pt x="27" y="74"/>
                    </a:cubicBezTo>
                    <a:cubicBezTo>
                      <a:pt x="30" y="74"/>
                      <a:pt x="32" y="76"/>
                      <a:pt x="32" y="79"/>
                    </a:cubicBezTo>
                    <a:cubicBezTo>
                      <a:pt x="32" y="82"/>
                      <a:pt x="30" y="84"/>
                      <a:pt x="27" y="84"/>
                    </a:cubicBezTo>
                    <a:cubicBezTo>
                      <a:pt x="26" y="84"/>
                      <a:pt x="25" y="84"/>
                      <a:pt x="24" y="83"/>
                    </a:cubicBezTo>
                    <a:cubicBezTo>
                      <a:pt x="22" y="84"/>
                      <a:pt x="19" y="85"/>
                      <a:pt x="19" y="87"/>
                    </a:cubicBezTo>
                    <a:cubicBezTo>
                      <a:pt x="20" y="89"/>
                      <a:pt x="20" y="92"/>
                      <a:pt x="20" y="95"/>
                    </a:cubicBezTo>
                    <a:cubicBezTo>
                      <a:pt x="22" y="93"/>
                      <a:pt x="22" y="92"/>
                      <a:pt x="22" y="92"/>
                    </a:cubicBezTo>
                    <a:cubicBezTo>
                      <a:pt x="23" y="92"/>
                      <a:pt x="23" y="93"/>
                      <a:pt x="25" y="94"/>
                    </a:cubicBezTo>
                    <a:cubicBezTo>
                      <a:pt x="26" y="95"/>
                      <a:pt x="24" y="95"/>
                      <a:pt x="25" y="96"/>
                    </a:cubicBezTo>
                    <a:cubicBezTo>
                      <a:pt x="25" y="97"/>
                      <a:pt x="28" y="98"/>
                      <a:pt x="29" y="98"/>
                    </a:cubicBezTo>
                    <a:cubicBezTo>
                      <a:pt x="30" y="98"/>
                      <a:pt x="31" y="98"/>
                      <a:pt x="32" y="98"/>
                    </a:cubicBezTo>
                    <a:cubicBezTo>
                      <a:pt x="32" y="98"/>
                      <a:pt x="32" y="98"/>
                      <a:pt x="32" y="98"/>
                    </a:cubicBezTo>
                    <a:cubicBezTo>
                      <a:pt x="34" y="97"/>
                      <a:pt x="35" y="94"/>
                      <a:pt x="36" y="93"/>
                    </a:cubicBezTo>
                    <a:cubicBezTo>
                      <a:pt x="39" y="92"/>
                      <a:pt x="40" y="92"/>
                      <a:pt x="41" y="92"/>
                    </a:cubicBezTo>
                    <a:cubicBezTo>
                      <a:pt x="42" y="92"/>
                      <a:pt x="43" y="92"/>
                      <a:pt x="45" y="93"/>
                    </a:cubicBezTo>
                    <a:cubicBezTo>
                      <a:pt x="46" y="94"/>
                      <a:pt x="47" y="94"/>
                      <a:pt x="48" y="95"/>
                    </a:cubicBezTo>
                    <a:cubicBezTo>
                      <a:pt x="50" y="96"/>
                      <a:pt x="50" y="98"/>
                      <a:pt x="52" y="98"/>
                    </a:cubicBezTo>
                    <a:cubicBezTo>
                      <a:pt x="52" y="98"/>
                      <a:pt x="52" y="98"/>
                      <a:pt x="52" y="98"/>
                    </a:cubicBezTo>
                    <a:cubicBezTo>
                      <a:pt x="52" y="98"/>
                      <a:pt x="52" y="98"/>
                      <a:pt x="52" y="98"/>
                    </a:cubicBezTo>
                    <a:cubicBezTo>
                      <a:pt x="55" y="98"/>
                      <a:pt x="55" y="105"/>
                      <a:pt x="57" y="106"/>
                    </a:cubicBezTo>
                    <a:cubicBezTo>
                      <a:pt x="57" y="103"/>
                      <a:pt x="56" y="100"/>
                      <a:pt x="56" y="96"/>
                    </a:cubicBezTo>
                    <a:cubicBezTo>
                      <a:pt x="55" y="95"/>
                      <a:pt x="55" y="93"/>
                      <a:pt x="54" y="92"/>
                    </a:cubicBezTo>
                    <a:cubicBezTo>
                      <a:pt x="55" y="92"/>
                      <a:pt x="55" y="91"/>
                      <a:pt x="56" y="91"/>
                    </a:cubicBezTo>
                    <a:cubicBezTo>
                      <a:pt x="57" y="91"/>
                      <a:pt x="58" y="93"/>
                      <a:pt x="59" y="94"/>
                    </a:cubicBezTo>
                    <a:cubicBezTo>
                      <a:pt x="62" y="97"/>
                      <a:pt x="66" y="100"/>
                      <a:pt x="69" y="103"/>
                    </a:cubicBezTo>
                    <a:cubicBezTo>
                      <a:pt x="71" y="105"/>
                      <a:pt x="71" y="105"/>
                      <a:pt x="71" y="108"/>
                    </a:cubicBezTo>
                    <a:cubicBezTo>
                      <a:pt x="71" y="109"/>
                      <a:pt x="74" y="110"/>
                      <a:pt x="75" y="110"/>
                    </a:cubicBezTo>
                    <a:cubicBezTo>
                      <a:pt x="77" y="111"/>
                      <a:pt x="79" y="111"/>
                      <a:pt x="80" y="111"/>
                    </a:cubicBezTo>
                    <a:cubicBezTo>
                      <a:pt x="81" y="111"/>
                      <a:pt x="81" y="111"/>
                      <a:pt x="82" y="111"/>
                    </a:cubicBezTo>
                    <a:cubicBezTo>
                      <a:pt x="82" y="111"/>
                      <a:pt x="82" y="110"/>
                      <a:pt x="82" y="110"/>
                    </a:cubicBezTo>
                    <a:cubicBezTo>
                      <a:pt x="82" y="110"/>
                      <a:pt x="83" y="110"/>
                      <a:pt x="83" y="110"/>
                    </a:cubicBezTo>
                    <a:cubicBezTo>
                      <a:pt x="83" y="110"/>
                      <a:pt x="83" y="110"/>
                      <a:pt x="83" y="110"/>
                    </a:cubicBezTo>
                    <a:cubicBezTo>
                      <a:pt x="84" y="110"/>
                      <a:pt x="84" y="110"/>
                      <a:pt x="84" y="110"/>
                    </a:cubicBezTo>
                    <a:cubicBezTo>
                      <a:pt x="84" y="110"/>
                      <a:pt x="84" y="110"/>
                      <a:pt x="84" y="110"/>
                    </a:cubicBezTo>
                    <a:cubicBezTo>
                      <a:pt x="84" y="111"/>
                      <a:pt x="83" y="112"/>
                      <a:pt x="83" y="113"/>
                    </a:cubicBezTo>
                    <a:cubicBezTo>
                      <a:pt x="83" y="113"/>
                      <a:pt x="83" y="113"/>
                      <a:pt x="83" y="113"/>
                    </a:cubicBezTo>
                    <a:cubicBezTo>
                      <a:pt x="82" y="113"/>
                      <a:pt x="82" y="113"/>
                      <a:pt x="82" y="113"/>
                    </a:cubicBezTo>
                    <a:cubicBezTo>
                      <a:pt x="82" y="112"/>
                      <a:pt x="82" y="112"/>
                      <a:pt x="82" y="112"/>
                    </a:cubicBezTo>
                    <a:cubicBezTo>
                      <a:pt x="82" y="112"/>
                      <a:pt x="81" y="112"/>
                      <a:pt x="81" y="113"/>
                    </a:cubicBezTo>
                    <a:cubicBezTo>
                      <a:pt x="80" y="115"/>
                      <a:pt x="85" y="117"/>
                      <a:pt x="86" y="118"/>
                    </a:cubicBezTo>
                    <a:cubicBezTo>
                      <a:pt x="86" y="117"/>
                      <a:pt x="88" y="109"/>
                      <a:pt x="88" y="109"/>
                    </a:cubicBezTo>
                    <a:cubicBezTo>
                      <a:pt x="87" y="108"/>
                      <a:pt x="85" y="107"/>
                      <a:pt x="83" y="107"/>
                    </a:cubicBezTo>
                    <a:cubicBezTo>
                      <a:pt x="83" y="107"/>
                      <a:pt x="83" y="107"/>
                      <a:pt x="83" y="107"/>
                    </a:cubicBezTo>
                    <a:cubicBezTo>
                      <a:pt x="80" y="109"/>
                      <a:pt x="80" y="109"/>
                      <a:pt x="80" y="109"/>
                    </a:cubicBezTo>
                    <a:cubicBezTo>
                      <a:pt x="79" y="108"/>
                      <a:pt x="80" y="105"/>
                      <a:pt x="82" y="105"/>
                    </a:cubicBezTo>
                    <a:cubicBezTo>
                      <a:pt x="82" y="105"/>
                      <a:pt x="82" y="105"/>
                      <a:pt x="82" y="105"/>
                    </a:cubicBezTo>
                    <a:cubicBezTo>
                      <a:pt x="80" y="104"/>
                      <a:pt x="74" y="98"/>
                      <a:pt x="76" y="96"/>
                    </a:cubicBezTo>
                    <a:cubicBezTo>
                      <a:pt x="76" y="96"/>
                      <a:pt x="77" y="96"/>
                      <a:pt x="77" y="96"/>
                    </a:cubicBezTo>
                    <a:cubicBezTo>
                      <a:pt x="77" y="96"/>
                      <a:pt x="78" y="96"/>
                      <a:pt x="79" y="96"/>
                    </a:cubicBezTo>
                    <a:cubicBezTo>
                      <a:pt x="79" y="96"/>
                      <a:pt x="79" y="96"/>
                      <a:pt x="79" y="96"/>
                    </a:cubicBezTo>
                    <a:cubicBezTo>
                      <a:pt x="80" y="96"/>
                      <a:pt x="81" y="96"/>
                      <a:pt x="81" y="96"/>
                    </a:cubicBezTo>
                    <a:cubicBezTo>
                      <a:pt x="82" y="96"/>
                      <a:pt x="82" y="96"/>
                      <a:pt x="83" y="96"/>
                    </a:cubicBezTo>
                    <a:cubicBezTo>
                      <a:pt x="83" y="96"/>
                      <a:pt x="83" y="96"/>
                      <a:pt x="84" y="96"/>
                    </a:cubicBezTo>
                    <a:cubicBezTo>
                      <a:pt x="83" y="91"/>
                      <a:pt x="74" y="91"/>
                      <a:pt x="72" y="90"/>
                    </a:cubicBezTo>
                    <a:cubicBezTo>
                      <a:pt x="72" y="89"/>
                      <a:pt x="72" y="89"/>
                      <a:pt x="72" y="88"/>
                    </a:cubicBezTo>
                    <a:cubicBezTo>
                      <a:pt x="71" y="89"/>
                      <a:pt x="71" y="91"/>
                      <a:pt x="71" y="92"/>
                    </a:cubicBezTo>
                    <a:cubicBezTo>
                      <a:pt x="71" y="93"/>
                      <a:pt x="71" y="93"/>
                      <a:pt x="71" y="93"/>
                    </a:cubicBezTo>
                    <a:cubicBezTo>
                      <a:pt x="70" y="95"/>
                      <a:pt x="68" y="95"/>
                      <a:pt x="67" y="97"/>
                    </a:cubicBezTo>
                    <a:cubicBezTo>
                      <a:pt x="65" y="94"/>
                      <a:pt x="67" y="92"/>
                      <a:pt x="66" y="89"/>
                    </a:cubicBezTo>
                    <a:cubicBezTo>
                      <a:pt x="65" y="89"/>
                      <a:pt x="64" y="86"/>
                      <a:pt x="63" y="86"/>
                    </a:cubicBezTo>
                    <a:cubicBezTo>
                      <a:pt x="62" y="85"/>
                      <a:pt x="59" y="83"/>
                      <a:pt x="57" y="83"/>
                    </a:cubicBezTo>
                    <a:cubicBezTo>
                      <a:pt x="56" y="83"/>
                      <a:pt x="56" y="84"/>
                      <a:pt x="55" y="84"/>
                    </a:cubicBezTo>
                    <a:cubicBezTo>
                      <a:pt x="53" y="85"/>
                      <a:pt x="53" y="91"/>
                      <a:pt x="51" y="91"/>
                    </a:cubicBezTo>
                    <a:cubicBezTo>
                      <a:pt x="50" y="91"/>
                      <a:pt x="50" y="91"/>
                      <a:pt x="50" y="90"/>
                    </a:cubicBezTo>
                    <a:cubicBezTo>
                      <a:pt x="50" y="91"/>
                      <a:pt x="50" y="92"/>
                      <a:pt x="50" y="92"/>
                    </a:cubicBezTo>
                    <a:cubicBezTo>
                      <a:pt x="48" y="92"/>
                      <a:pt x="46" y="91"/>
                      <a:pt x="44" y="90"/>
                    </a:cubicBezTo>
                    <a:cubicBezTo>
                      <a:pt x="42" y="88"/>
                      <a:pt x="41" y="87"/>
                      <a:pt x="41" y="84"/>
                    </a:cubicBezTo>
                    <a:cubicBezTo>
                      <a:pt x="41" y="82"/>
                      <a:pt x="41" y="79"/>
                      <a:pt x="41" y="77"/>
                    </a:cubicBezTo>
                    <a:cubicBezTo>
                      <a:pt x="40" y="75"/>
                      <a:pt x="39" y="73"/>
                      <a:pt x="38" y="71"/>
                    </a:cubicBezTo>
                    <a:cubicBezTo>
                      <a:pt x="35" y="67"/>
                      <a:pt x="33" y="65"/>
                      <a:pt x="36" y="61"/>
                    </a:cubicBezTo>
                    <a:cubicBezTo>
                      <a:pt x="37" y="60"/>
                      <a:pt x="39" y="58"/>
                      <a:pt x="39" y="56"/>
                    </a:cubicBezTo>
                    <a:cubicBezTo>
                      <a:pt x="39" y="56"/>
                      <a:pt x="39" y="56"/>
                      <a:pt x="39" y="56"/>
                    </a:cubicBezTo>
                    <a:cubicBezTo>
                      <a:pt x="39" y="56"/>
                      <a:pt x="39" y="56"/>
                      <a:pt x="38" y="56"/>
                    </a:cubicBezTo>
                    <a:cubicBezTo>
                      <a:pt x="38" y="56"/>
                      <a:pt x="38" y="56"/>
                      <a:pt x="38" y="56"/>
                    </a:cubicBezTo>
                    <a:cubicBezTo>
                      <a:pt x="38" y="56"/>
                      <a:pt x="38" y="56"/>
                      <a:pt x="38" y="56"/>
                    </a:cubicBezTo>
                    <a:cubicBezTo>
                      <a:pt x="37" y="50"/>
                      <a:pt x="46" y="51"/>
                      <a:pt x="48" y="46"/>
                    </a:cubicBezTo>
                    <a:cubicBezTo>
                      <a:pt x="48" y="48"/>
                      <a:pt x="47" y="49"/>
                      <a:pt x="47" y="50"/>
                    </a:cubicBezTo>
                    <a:cubicBezTo>
                      <a:pt x="49" y="45"/>
                      <a:pt x="52" y="41"/>
                      <a:pt x="54" y="36"/>
                    </a:cubicBezTo>
                    <a:cubicBezTo>
                      <a:pt x="55" y="35"/>
                      <a:pt x="55" y="33"/>
                      <a:pt x="55" y="31"/>
                    </a:cubicBezTo>
                    <a:cubicBezTo>
                      <a:pt x="55" y="31"/>
                      <a:pt x="56" y="31"/>
                      <a:pt x="56" y="30"/>
                    </a:cubicBezTo>
                    <a:cubicBezTo>
                      <a:pt x="54" y="27"/>
                      <a:pt x="52" y="24"/>
                      <a:pt x="50" y="21"/>
                    </a:cubicBezTo>
                    <a:cubicBezTo>
                      <a:pt x="49" y="20"/>
                      <a:pt x="51" y="12"/>
                      <a:pt x="52" y="10"/>
                    </a:cubicBezTo>
                    <a:cubicBezTo>
                      <a:pt x="52" y="7"/>
                      <a:pt x="52" y="5"/>
                      <a:pt x="51" y="2"/>
                    </a:cubicBezTo>
                    <a:cubicBezTo>
                      <a:pt x="49" y="3"/>
                      <a:pt x="48" y="6"/>
                      <a:pt x="46" y="6"/>
                    </a:cubicBezTo>
                    <a:cubicBezTo>
                      <a:pt x="46" y="7"/>
                      <a:pt x="45" y="7"/>
                      <a:pt x="45" y="7"/>
                    </a:cubicBezTo>
                    <a:cubicBezTo>
                      <a:pt x="44" y="7"/>
                      <a:pt x="44" y="7"/>
                      <a:pt x="43" y="7"/>
                    </a:cubicBezTo>
                    <a:cubicBezTo>
                      <a:pt x="43" y="7"/>
                      <a:pt x="43" y="7"/>
                      <a:pt x="42" y="7"/>
                    </a:cubicBezTo>
                    <a:cubicBezTo>
                      <a:pt x="41" y="7"/>
                      <a:pt x="40" y="7"/>
                      <a:pt x="40" y="8"/>
                    </a:cubicBezTo>
                    <a:cubicBezTo>
                      <a:pt x="40" y="3"/>
                      <a:pt x="30" y="2"/>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55"/>
              <p:cNvSpPr/>
              <p:nvPr/>
            </p:nvSpPr>
            <p:spPr bwMode="auto">
              <a:xfrm>
                <a:off x="7789" y="2796"/>
                <a:ext cx="113" cy="142"/>
              </a:xfrm>
              <a:custGeom>
                <a:gdLst>
                  <a:gd name="T0" fmla="*/ 44 w 48"/>
                  <a:gd name="T1" fmla="*/ 0 h 60"/>
                  <a:gd name="T2" fmla="*/ 41 w 48"/>
                  <a:gd name="T3" fmla="*/ 9 h 60"/>
                  <a:gd name="T4" fmla="*/ 43 w 48"/>
                  <a:gd name="T5" fmla="*/ 14 h 60"/>
                  <a:gd name="T6" fmla="*/ 43 w 48"/>
                  <a:gd name="T7" fmla="*/ 14 h 60"/>
                  <a:gd name="T8" fmla="*/ 41 w 48"/>
                  <a:gd name="T9" fmla="*/ 11 h 60"/>
                  <a:gd name="T10" fmla="*/ 39 w 48"/>
                  <a:gd name="T11" fmla="*/ 10 h 60"/>
                  <a:gd name="T12" fmla="*/ 39 w 48"/>
                  <a:gd name="T13" fmla="*/ 11 h 60"/>
                  <a:gd name="T14" fmla="*/ 40 w 48"/>
                  <a:gd name="T15" fmla="*/ 17 h 60"/>
                  <a:gd name="T16" fmla="*/ 37 w 48"/>
                  <a:gd name="T17" fmla="*/ 20 h 60"/>
                  <a:gd name="T18" fmla="*/ 37 w 48"/>
                  <a:gd name="T19" fmla="*/ 19 h 60"/>
                  <a:gd name="T20" fmla="*/ 32 w 48"/>
                  <a:gd name="T21" fmla="*/ 26 h 60"/>
                  <a:gd name="T22" fmla="*/ 31 w 48"/>
                  <a:gd name="T23" fmla="*/ 27 h 60"/>
                  <a:gd name="T24" fmla="*/ 30 w 48"/>
                  <a:gd name="T25" fmla="*/ 26 h 60"/>
                  <a:gd name="T26" fmla="*/ 21 w 48"/>
                  <a:gd name="T27" fmla="*/ 36 h 60"/>
                  <a:gd name="T28" fmla="*/ 16 w 48"/>
                  <a:gd name="T29" fmla="*/ 42 h 60"/>
                  <a:gd name="T30" fmla="*/ 15 w 48"/>
                  <a:gd name="T31" fmla="*/ 41 h 60"/>
                  <a:gd name="T32" fmla="*/ 8 w 48"/>
                  <a:gd name="T33" fmla="*/ 48 h 60"/>
                  <a:gd name="T34" fmla="*/ 2 w 48"/>
                  <a:gd name="T35" fmla="*/ 54 h 60"/>
                  <a:gd name="T36" fmla="*/ 0 w 48"/>
                  <a:gd name="T37" fmla="*/ 60 h 60"/>
                  <a:gd name="T38" fmla="*/ 13 w 48"/>
                  <a:gd name="T39" fmla="*/ 50 h 60"/>
                  <a:gd name="T40" fmla="*/ 25 w 48"/>
                  <a:gd name="T41" fmla="*/ 41 h 60"/>
                  <a:gd name="T42" fmla="*/ 28 w 48"/>
                  <a:gd name="T43" fmla="*/ 37 h 60"/>
                  <a:gd name="T44" fmla="*/ 30 w 48"/>
                  <a:gd name="T45" fmla="*/ 34 h 60"/>
                  <a:gd name="T46" fmla="*/ 33 w 48"/>
                  <a:gd name="T47" fmla="*/ 28 h 60"/>
                  <a:gd name="T48" fmla="*/ 36 w 48"/>
                  <a:gd name="T49" fmla="*/ 27 h 60"/>
                  <a:gd name="T50" fmla="*/ 42 w 48"/>
                  <a:gd name="T51" fmla="*/ 21 h 60"/>
                  <a:gd name="T52" fmla="*/ 48 w 48"/>
                  <a:gd name="T53" fmla="*/ 17 h 60"/>
                  <a:gd name="T54" fmla="*/ 48 w 48"/>
                  <a:gd name="T55" fmla="*/ 17 h 60"/>
                  <a:gd name="T56" fmla="*/ 47 w 48"/>
                  <a:gd name="T57" fmla="*/ 15 h 60"/>
                  <a:gd name="T58" fmla="*/ 46 w 48"/>
                  <a:gd name="T59" fmla="*/ 15 h 60"/>
                  <a:gd name="T60" fmla="*/ 46 w 48"/>
                  <a:gd name="T61" fmla="*/ 13 h 60"/>
                  <a:gd name="T62" fmla="*/ 45 w 48"/>
                  <a:gd name="T63" fmla="*/ 12 h 60"/>
                  <a:gd name="T64" fmla="*/ 45 w 48"/>
                  <a:gd name="T65" fmla="*/ 12 h 60"/>
                  <a:gd name="T66" fmla="*/ 45 w 48"/>
                  <a:gd name="T67" fmla="*/ 12 h 60"/>
                  <a:gd name="T68" fmla="*/ 45 w 48"/>
                  <a:gd name="T69" fmla="*/ 12 h 60"/>
                  <a:gd name="T70" fmla="*/ 44 w 48"/>
                  <a:gd name="T71" fmla="*/ 11 h 60"/>
                  <a:gd name="T72" fmla="*/ 45 w 48"/>
                  <a:gd name="T73" fmla="*/ 7 h 60"/>
                  <a:gd name="T74" fmla="*/ 45 w 48"/>
                  <a:gd name="T75" fmla="*/ 7 h 60"/>
                  <a:gd name="T76" fmla="*/ 45 w 48"/>
                  <a:gd name="T77" fmla="*/ 4 h 60"/>
                  <a:gd name="T78" fmla="*/ 44 w 48"/>
                  <a:gd name="T79" fmla="*/ 0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 h="60">
                    <a:moveTo>
                      <a:pt x="44" y="0"/>
                    </a:moveTo>
                    <a:cubicBezTo>
                      <a:pt x="43" y="3"/>
                      <a:pt x="40" y="7"/>
                      <a:pt x="41" y="9"/>
                    </a:cubicBezTo>
                    <a:cubicBezTo>
                      <a:pt x="41" y="11"/>
                      <a:pt x="43" y="12"/>
                      <a:pt x="43" y="14"/>
                    </a:cubicBezTo>
                    <a:cubicBezTo>
                      <a:pt x="43" y="14"/>
                      <a:pt x="43" y="14"/>
                      <a:pt x="43" y="14"/>
                    </a:cubicBezTo>
                    <a:cubicBezTo>
                      <a:pt x="43" y="13"/>
                      <a:pt x="41" y="11"/>
                      <a:pt x="41" y="11"/>
                    </a:cubicBezTo>
                    <a:cubicBezTo>
                      <a:pt x="40" y="10"/>
                      <a:pt x="39" y="10"/>
                      <a:pt x="39" y="10"/>
                    </a:cubicBezTo>
                    <a:cubicBezTo>
                      <a:pt x="39" y="10"/>
                      <a:pt x="39" y="10"/>
                      <a:pt x="39" y="11"/>
                    </a:cubicBezTo>
                    <a:cubicBezTo>
                      <a:pt x="39" y="12"/>
                      <a:pt x="39" y="15"/>
                      <a:pt x="40" y="17"/>
                    </a:cubicBezTo>
                    <a:cubicBezTo>
                      <a:pt x="40" y="18"/>
                      <a:pt x="38" y="20"/>
                      <a:pt x="37" y="20"/>
                    </a:cubicBezTo>
                    <a:cubicBezTo>
                      <a:pt x="37" y="20"/>
                      <a:pt x="37" y="20"/>
                      <a:pt x="37" y="19"/>
                    </a:cubicBezTo>
                    <a:cubicBezTo>
                      <a:pt x="35" y="21"/>
                      <a:pt x="34" y="25"/>
                      <a:pt x="32" y="26"/>
                    </a:cubicBezTo>
                    <a:cubicBezTo>
                      <a:pt x="31" y="27"/>
                      <a:pt x="31" y="27"/>
                      <a:pt x="31" y="27"/>
                    </a:cubicBezTo>
                    <a:cubicBezTo>
                      <a:pt x="30" y="27"/>
                      <a:pt x="30" y="27"/>
                      <a:pt x="30" y="26"/>
                    </a:cubicBezTo>
                    <a:cubicBezTo>
                      <a:pt x="27" y="30"/>
                      <a:pt x="24" y="33"/>
                      <a:pt x="21" y="36"/>
                    </a:cubicBezTo>
                    <a:cubicBezTo>
                      <a:pt x="21" y="37"/>
                      <a:pt x="17" y="42"/>
                      <a:pt x="16" y="42"/>
                    </a:cubicBezTo>
                    <a:cubicBezTo>
                      <a:pt x="16" y="42"/>
                      <a:pt x="16" y="42"/>
                      <a:pt x="15" y="41"/>
                    </a:cubicBezTo>
                    <a:cubicBezTo>
                      <a:pt x="13" y="42"/>
                      <a:pt x="11" y="46"/>
                      <a:pt x="8" y="48"/>
                    </a:cubicBezTo>
                    <a:cubicBezTo>
                      <a:pt x="7" y="50"/>
                      <a:pt x="4" y="51"/>
                      <a:pt x="2" y="54"/>
                    </a:cubicBezTo>
                    <a:cubicBezTo>
                      <a:pt x="1" y="55"/>
                      <a:pt x="1" y="57"/>
                      <a:pt x="0" y="60"/>
                    </a:cubicBezTo>
                    <a:cubicBezTo>
                      <a:pt x="5" y="56"/>
                      <a:pt x="9" y="53"/>
                      <a:pt x="13" y="50"/>
                    </a:cubicBezTo>
                    <a:cubicBezTo>
                      <a:pt x="17" y="47"/>
                      <a:pt x="23" y="44"/>
                      <a:pt x="25" y="41"/>
                    </a:cubicBezTo>
                    <a:cubicBezTo>
                      <a:pt x="26" y="39"/>
                      <a:pt x="27" y="38"/>
                      <a:pt x="28" y="37"/>
                    </a:cubicBezTo>
                    <a:cubicBezTo>
                      <a:pt x="29" y="36"/>
                      <a:pt x="31" y="34"/>
                      <a:pt x="30" y="34"/>
                    </a:cubicBezTo>
                    <a:cubicBezTo>
                      <a:pt x="32" y="31"/>
                      <a:pt x="29" y="29"/>
                      <a:pt x="33" y="28"/>
                    </a:cubicBezTo>
                    <a:cubicBezTo>
                      <a:pt x="34" y="28"/>
                      <a:pt x="35" y="28"/>
                      <a:pt x="36" y="27"/>
                    </a:cubicBezTo>
                    <a:cubicBezTo>
                      <a:pt x="40" y="26"/>
                      <a:pt x="39" y="22"/>
                      <a:pt x="42" y="21"/>
                    </a:cubicBezTo>
                    <a:cubicBezTo>
                      <a:pt x="44" y="20"/>
                      <a:pt x="48" y="19"/>
                      <a:pt x="48" y="17"/>
                    </a:cubicBezTo>
                    <a:cubicBezTo>
                      <a:pt x="48" y="17"/>
                      <a:pt x="48" y="17"/>
                      <a:pt x="48" y="17"/>
                    </a:cubicBezTo>
                    <a:cubicBezTo>
                      <a:pt x="48" y="16"/>
                      <a:pt x="48" y="15"/>
                      <a:pt x="47" y="15"/>
                    </a:cubicBezTo>
                    <a:cubicBezTo>
                      <a:pt x="47" y="15"/>
                      <a:pt x="46" y="15"/>
                      <a:pt x="46" y="15"/>
                    </a:cubicBezTo>
                    <a:cubicBezTo>
                      <a:pt x="46" y="14"/>
                      <a:pt x="46" y="13"/>
                      <a:pt x="46" y="13"/>
                    </a:cubicBezTo>
                    <a:cubicBezTo>
                      <a:pt x="46" y="12"/>
                      <a:pt x="46" y="12"/>
                      <a:pt x="45" y="12"/>
                    </a:cubicBezTo>
                    <a:cubicBezTo>
                      <a:pt x="45" y="12"/>
                      <a:pt x="45" y="12"/>
                      <a:pt x="45" y="12"/>
                    </a:cubicBezTo>
                    <a:cubicBezTo>
                      <a:pt x="45" y="12"/>
                      <a:pt x="45" y="12"/>
                      <a:pt x="45" y="12"/>
                    </a:cubicBezTo>
                    <a:cubicBezTo>
                      <a:pt x="45" y="12"/>
                      <a:pt x="45" y="12"/>
                      <a:pt x="45" y="12"/>
                    </a:cubicBezTo>
                    <a:cubicBezTo>
                      <a:pt x="45" y="12"/>
                      <a:pt x="44" y="11"/>
                      <a:pt x="44" y="11"/>
                    </a:cubicBezTo>
                    <a:cubicBezTo>
                      <a:pt x="44" y="9"/>
                      <a:pt x="46" y="9"/>
                      <a:pt x="45" y="7"/>
                    </a:cubicBezTo>
                    <a:cubicBezTo>
                      <a:pt x="45" y="7"/>
                      <a:pt x="45" y="7"/>
                      <a:pt x="45" y="7"/>
                    </a:cubicBezTo>
                    <a:cubicBezTo>
                      <a:pt x="44" y="7"/>
                      <a:pt x="45" y="5"/>
                      <a:pt x="45" y="4"/>
                    </a:cubicBezTo>
                    <a:cubicBezTo>
                      <a:pt x="46" y="1"/>
                      <a:pt x="44" y="3"/>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56"/>
              <p:cNvSpPr/>
              <p:nvPr/>
            </p:nvSpPr>
            <p:spPr bwMode="auto">
              <a:xfrm>
                <a:off x="8063" y="2803"/>
                <a:ext cx="35" cy="85"/>
              </a:xfrm>
              <a:custGeom>
                <a:gdLst>
                  <a:gd name="T0" fmla="*/ 15 w 15"/>
                  <a:gd name="T1" fmla="*/ 0 h 36"/>
                  <a:gd name="T2" fmla="*/ 13 w 15"/>
                  <a:gd name="T3" fmla="*/ 5 h 36"/>
                  <a:gd name="T4" fmla="*/ 10 w 15"/>
                  <a:gd name="T5" fmla="*/ 11 h 36"/>
                  <a:gd name="T6" fmla="*/ 5 w 15"/>
                  <a:gd name="T7" fmla="*/ 21 h 36"/>
                  <a:gd name="T8" fmla="*/ 2 w 15"/>
                  <a:gd name="T9" fmla="*/ 27 h 36"/>
                  <a:gd name="T10" fmla="*/ 1 w 15"/>
                  <a:gd name="T11" fmla="*/ 36 h 36"/>
                  <a:gd name="T12" fmla="*/ 9 w 15"/>
                  <a:gd name="T13" fmla="*/ 21 h 36"/>
                  <a:gd name="T14" fmla="*/ 15 w 15"/>
                  <a:gd name="T15" fmla="*/ 15 h 36"/>
                  <a:gd name="T16" fmla="*/ 14 w 15"/>
                  <a:gd name="T17" fmla="*/ 11 h 36"/>
                  <a:gd name="T18" fmla="*/ 15 w 15"/>
                  <a:gd name="T19"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36">
                    <a:moveTo>
                      <a:pt x="15" y="0"/>
                    </a:moveTo>
                    <a:cubicBezTo>
                      <a:pt x="13" y="0"/>
                      <a:pt x="13" y="4"/>
                      <a:pt x="13" y="5"/>
                    </a:cubicBezTo>
                    <a:cubicBezTo>
                      <a:pt x="12" y="7"/>
                      <a:pt x="11" y="9"/>
                      <a:pt x="10" y="11"/>
                    </a:cubicBezTo>
                    <a:cubicBezTo>
                      <a:pt x="8" y="14"/>
                      <a:pt x="7" y="18"/>
                      <a:pt x="5" y="21"/>
                    </a:cubicBezTo>
                    <a:cubicBezTo>
                      <a:pt x="3" y="24"/>
                      <a:pt x="3" y="25"/>
                      <a:pt x="2" y="27"/>
                    </a:cubicBezTo>
                    <a:cubicBezTo>
                      <a:pt x="2" y="30"/>
                      <a:pt x="0" y="33"/>
                      <a:pt x="1" y="36"/>
                    </a:cubicBezTo>
                    <a:cubicBezTo>
                      <a:pt x="4" y="31"/>
                      <a:pt x="5" y="25"/>
                      <a:pt x="9" y="21"/>
                    </a:cubicBezTo>
                    <a:cubicBezTo>
                      <a:pt x="11" y="19"/>
                      <a:pt x="14" y="19"/>
                      <a:pt x="15" y="15"/>
                    </a:cubicBezTo>
                    <a:cubicBezTo>
                      <a:pt x="15" y="14"/>
                      <a:pt x="14" y="13"/>
                      <a:pt x="14" y="11"/>
                    </a:cubicBezTo>
                    <a:cubicBezTo>
                      <a:pt x="15" y="7"/>
                      <a:pt x="15" y="4"/>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57"/>
              <p:cNvSpPr/>
              <p:nvPr/>
            </p:nvSpPr>
            <p:spPr bwMode="auto">
              <a:xfrm>
                <a:off x="8056" y="2742"/>
                <a:ext cx="42" cy="40"/>
              </a:xfrm>
              <a:custGeom>
                <a:gdLst>
                  <a:gd name="T0" fmla="*/ 3 w 18"/>
                  <a:gd name="T1" fmla="*/ 0 h 17"/>
                  <a:gd name="T2" fmla="*/ 3 w 18"/>
                  <a:gd name="T3" fmla="*/ 5 h 17"/>
                  <a:gd name="T4" fmla="*/ 2 w 18"/>
                  <a:gd name="T5" fmla="*/ 7 h 17"/>
                  <a:gd name="T6" fmla="*/ 3 w 18"/>
                  <a:gd name="T7" fmla="*/ 8 h 17"/>
                  <a:gd name="T8" fmla="*/ 3 w 18"/>
                  <a:gd name="T9" fmla="*/ 8 h 17"/>
                  <a:gd name="T10" fmla="*/ 3 w 18"/>
                  <a:gd name="T11" fmla="*/ 8 h 17"/>
                  <a:gd name="T12" fmla="*/ 3 w 18"/>
                  <a:gd name="T13" fmla="*/ 8 h 17"/>
                  <a:gd name="T14" fmla="*/ 3 w 18"/>
                  <a:gd name="T15" fmla="*/ 8 h 17"/>
                  <a:gd name="T16" fmla="*/ 3 w 18"/>
                  <a:gd name="T17" fmla="*/ 8 h 17"/>
                  <a:gd name="T18" fmla="*/ 3 w 18"/>
                  <a:gd name="T19" fmla="*/ 9 h 17"/>
                  <a:gd name="T20" fmla="*/ 1 w 18"/>
                  <a:gd name="T21" fmla="*/ 13 h 17"/>
                  <a:gd name="T22" fmla="*/ 3 w 18"/>
                  <a:gd name="T23" fmla="*/ 13 h 17"/>
                  <a:gd name="T24" fmla="*/ 7 w 18"/>
                  <a:gd name="T25" fmla="*/ 8 h 17"/>
                  <a:gd name="T26" fmla="*/ 9 w 18"/>
                  <a:gd name="T27" fmla="*/ 9 h 17"/>
                  <a:gd name="T28" fmla="*/ 10 w 18"/>
                  <a:gd name="T29" fmla="*/ 11 h 17"/>
                  <a:gd name="T30" fmla="*/ 12 w 18"/>
                  <a:gd name="T31" fmla="*/ 13 h 17"/>
                  <a:gd name="T32" fmla="*/ 14 w 18"/>
                  <a:gd name="T33" fmla="*/ 14 h 17"/>
                  <a:gd name="T34" fmla="*/ 18 w 18"/>
                  <a:gd name="T35" fmla="*/ 17 h 17"/>
                  <a:gd name="T36" fmla="*/ 15 w 18"/>
                  <a:gd name="T37" fmla="*/ 8 h 17"/>
                  <a:gd name="T38" fmla="*/ 12 w 18"/>
                  <a:gd name="T39" fmla="*/ 6 h 17"/>
                  <a:gd name="T40" fmla="*/ 3 w 18"/>
                  <a:gd name="T41"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7">
                    <a:moveTo>
                      <a:pt x="3" y="0"/>
                    </a:moveTo>
                    <a:cubicBezTo>
                      <a:pt x="3" y="2"/>
                      <a:pt x="3" y="3"/>
                      <a:pt x="3" y="5"/>
                    </a:cubicBezTo>
                    <a:cubicBezTo>
                      <a:pt x="3" y="6"/>
                      <a:pt x="2" y="7"/>
                      <a:pt x="2" y="7"/>
                    </a:cubicBezTo>
                    <a:cubicBezTo>
                      <a:pt x="2"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9"/>
                      <a:pt x="3" y="9"/>
                      <a:pt x="3" y="9"/>
                    </a:cubicBezTo>
                    <a:cubicBezTo>
                      <a:pt x="3" y="10"/>
                      <a:pt x="0" y="13"/>
                      <a:pt x="1" y="13"/>
                    </a:cubicBezTo>
                    <a:cubicBezTo>
                      <a:pt x="1" y="13"/>
                      <a:pt x="2" y="13"/>
                      <a:pt x="3" y="13"/>
                    </a:cubicBezTo>
                    <a:cubicBezTo>
                      <a:pt x="4" y="12"/>
                      <a:pt x="6" y="8"/>
                      <a:pt x="7" y="8"/>
                    </a:cubicBezTo>
                    <a:cubicBezTo>
                      <a:pt x="8" y="8"/>
                      <a:pt x="8" y="8"/>
                      <a:pt x="9" y="9"/>
                    </a:cubicBezTo>
                    <a:cubicBezTo>
                      <a:pt x="9" y="9"/>
                      <a:pt x="10" y="11"/>
                      <a:pt x="10" y="11"/>
                    </a:cubicBezTo>
                    <a:cubicBezTo>
                      <a:pt x="11" y="11"/>
                      <a:pt x="12" y="13"/>
                      <a:pt x="12" y="13"/>
                    </a:cubicBezTo>
                    <a:cubicBezTo>
                      <a:pt x="12" y="14"/>
                      <a:pt x="14" y="14"/>
                      <a:pt x="14" y="14"/>
                    </a:cubicBezTo>
                    <a:cubicBezTo>
                      <a:pt x="16" y="15"/>
                      <a:pt x="17" y="16"/>
                      <a:pt x="18" y="17"/>
                    </a:cubicBezTo>
                    <a:cubicBezTo>
                      <a:pt x="18" y="15"/>
                      <a:pt x="17" y="10"/>
                      <a:pt x="15" y="8"/>
                    </a:cubicBezTo>
                    <a:cubicBezTo>
                      <a:pt x="15" y="8"/>
                      <a:pt x="13" y="7"/>
                      <a:pt x="12" y="6"/>
                    </a:cubicBezTo>
                    <a:cubicBezTo>
                      <a:pt x="9" y="4"/>
                      <a:pt x="7"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1" name="Freeform 58"/>
              <p:cNvSpPr/>
              <p:nvPr/>
            </p:nvSpPr>
            <p:spPr bwMode="auto">
              <a:xfrm>
                <a:off x="7911" y="2770"/>
                <a:ext cx="8" cy="17"/>
              </a:xfrm>
              <a:custGeom>
                <a:gdLst>
                  <a:gd name="T0" fmla="*/ 0 w 3"/>
                  <a:gd name="T1" fmla="*/ 0 h 7"/>
                  <a:gd name="T2" fmla="*/ 1 w 3"/>
                  <a:gd name="T3" fmla="*/ 7 h 7"/>
                  <a:gd name="T4" fmla="*/ 3 w 3"/>
                  <a:gd name="T5" fmla="*/ 3 h 7"/>
                  <a:gd name="T6" fmla="*/ 3 w 3"/>
                  <a:gd name="T7" fmla="*/ 3 h 7"/>
                  <a:gd name="T8" fmla="*/ 2 w 3"/>
                  <a:gd name="T9" fmla="*/ 2 h 7"/>
                  <a:gd name="T10" fmla="*/ 2 w 3"/>
                  <a:gd name="T11" fmla="*/ 2 h 7"/>
                  <a:gd name="T12" fmla="*/ 0 w 3"/>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3" h="7">
                    <a:moveTo>
                      <a:pt x="0" y="0"/>
                    </a:moveTo>
                    <a:cubicBezTo>
                      <a:pt x="0" y="2"/>
                      <a:pt x="1" y="5"/>
                      <a:pt x="1" y="7"/>
                    </a:cubicBezTo>
                    <a:cubicBezTo>
                      <a:pt x="3" y="6"/>
                      <a:pt x="3" y="4"/>
                      <a:pt x="3" y="3"/>
                    </a:cubicBezTo>
                    <a:cubicBezTo>
                      <a:pt x="3" y="3"/>
                      <a:pt x="3" y="3"/>
                      <a:pt x="3" y="3"/>
                    </a:cubicBezTo>
                    <a:cubicBezTo>
                      <a:pt x="3" y="2"/>
                      <a:pt x="2" y="2"/>
                      <a:pt x="2" y="2"/>
                    </a:cubicBezTo>
                    <a:cubicBezTo>
                      <a:pt x="2" y="2"/>
                      <a:pt x="2" y="2"/>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59"/>
              <p:cNvSpPr/>
              <p:nvPr/>
            </p:nvSpPr>
            <p:spPr bwMode="auto">
              <a:xfrm>
                <a:off x="8127" y="2895"/>
                <a:ext cx="4" cy="7"/>
              </a:xfrm>
              <a:custGeom>
                <a:gdLst>
                  <a:gd name="T0" fmla="*/ 1 w 2"/>
                  <a:gd name="T1" fmla="*/ 0 h 3"/>
                  <a:gd name="T2" fmla="*/ 2 w 2"/>
                  <a:gd name="T3" fmla="*/ 3 h 3"/>
                  <a:gd name="T4" fmla="*/ 1 w 2"/>
                  <a:gd name="T5" fmla="*/ 0 h 3"/>
                </a:gdLst>
                <a:cxnLst>
                  <a:cxn ang="0">
                    <a:pos x="T0" y="T1"/>
                  </a:cxn>
                  <a:cxn ang="0">
                    <a:pos x="T2" y="T3"/>
                  </a:cxn>
                  <a:cxn ang="0">
                    <a:pos x="T4" y="T5"/>
                  </a:cxn>
                </a:cxnLst>
                <a:rect l="0" t="0" r="r" b="b"/>
                <a:pathLst>
                  <a:path w="2" h="3">
                    <a:moveTo>
                      <a:pt x="1" y="0"/>
                    </a:moveTo>
                    <a:cubicBezTo>
                      <a:pt x="0" y="1"/>
                      <a:pt x="1" y="2"/>
                      <a:pt x="2" y="3"/>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3" name="Freeform 60"/>
              <p:cNvSpPr/>
              <p:nvPr/>
            </p:nvSpPr>
            <p:spPr bwMode="auto">
              <a:xfrm>
                <a:off x="8020" y="2817"/>
                <a:ext cx="57" cy="88"/>
              </a:xfrm>
              <a:custGeom>
                <a:gdLst>
                  <a:gd name="T0" fmla="*/ 17 w 24"/>
                  <a:gd name="T1" fmla="*/ 0 h 37"/>
                  <a:gd name="T2" fmla="*/ 16 w 24"/>
                  <a:gd name="T3" fmla="*/ 0 h 37"/>
                  <a:gd name="T4" fmla="*/ 7 w 24"/>
                  <a:gd name="T5" fmla="*/ 15 h 37"/>
                  <a:gd name="T6" fmla="*/ 5 w 24"/>
                  <a:gd name="T7" fmla="*/ 19 h 37"/>
                  <a:gd name="T8" fmla="*/ 4 w 24"/>
                  <a:gd name="T9" fmla="*/ 19 h 37"/>
                  <a:gd name="T10" fmla="*/ 3 w 24"/>
                  <a:gd name="T11" fmla="*/ 19 h 37"/>
                  <a:gd name="T12" fmla="*/ 5 w 24"/>
                  <a:gd name="T13" fmla="*/ 29 h 37"/>
                  <a:gd name="T14" fmla="*/ 9 w 24"/>
                  <a:gd name="T15" fmla="*/ 31 h 37"/>
                  <a:gd name="T16" fmla="*/ 11 w 24"/>
                  <a:gd name="T17" fmla="*/ 33 h 37"/>
                  <a:gd name="T18" fmla="*/ 14 w 24"/>
                  <a:gd name="T19" fmla="*/ 37 h 37"/>
                  <a:gd name="T20" fmla="*/ 14 w 24"/>
                  <a:gd name="T21" fmla="*/ 37 h 37"/>
                  <a:gd name="T22" fmla="*/ 15 w 24"/>
                  <a:gd name="T23" fmla="*/ 27 h 37"/>
                  <a:gd name="T24" fmla="*/ 18 w 24"/>
                  <a:gd name="T25" fmla="*/ 15 h 37"/>
                  <a:gd name="T26" fmla="*/ 24 w 24"/>
                  <a:gd name="T27" fmla="*/ 2 h 37"/>
                  <a:gd name="T28" fmla="*/ 23 w 24"/>
                  <a:gd name="T29" fmla="*/ 1 h 37"/>
                  <a:gd name="T30" fmla="*/ 21 w 24"/>
                  <a:gd name="T31" fmla="*/ 0 h 37"/>
                  <a:gd name="T32" fmla="*/ 17 w 24"/>
                  <a:gd name="T33"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7">
                    <a:moveTo>
                      <a:pt x="17" y="0"/>
                    </a:moveTo>
                    <a:cubicBezTo>
                      <a:pt x="17" y="0"/>
                      <a:pt x="16" y="0"/>
                      <a:pt x="16" y="0"/>
                    </a:cubicBezTo>
                    <a:cubicBezTo>
                      <a:pt x="10" y="1"/>
                      <a:pt x="9" y="10"/>
                      <a:pt x="7" y="15"/>
                    </a:cubicBezTo>
                    <a:cubicBezTo>
                      <a:pt x="7" y="16"/>
                      <a:pt x="6" y="19"/>
                      <a:pt x="5" y="19"/>
                    </a:cubicBezTo>
                    <a:cubicBezTo>
                      <a:pt x="4" y="19"/>
                      <a:pt x="4" y="19"/>
                      <a:pt x="4" y="19"/>
                    </a:cubicBezTo>
                    <a:cubicBezTo>
                      <a:pt x="4" y="19"/>
                      <a:pt x="3" y="19"/>
                      <a:pt x="3" y="19"/>
                    </a:cubicBezTo>
                    <a:cubicBezTo>
                      <a:pt x="0" y="22"/>
                      <a:pt x="4" y="27"/>
                      <a:pt x="5" y="29"/>
                    </a:cubicBezTo>
                    <a:cubicBezTo>
                      <a:pt x="7" y="31"/>
                      <a:pt x="8" y="30"/>
                      <a:pt x="9" y="31"/>
                    </a:cubicBezTo>
                    <a:cubicBezTo>
                      <a:pt x="11" y="32"/>
                      <a:pt x="10" y="32"/>
                      <a:pt x="11" y="33"/>
                    </a:cubicBezTo>
                    <a:cubicBezTo>
                      <a:pt x="12" y="35"/>
                      <a:pt x="12" y="37"/>
                      <a:pt x="14" y="37"/>
                    </a:cubicBezTo>
                    <a:cubicBezTo>
                      <a:pt x="14" y="37"/>
                      <a:pt x="14" y="37"/>
                      <a:pt x="14" y="37"/>
                    </a:cubicBezTo>
                    <a:cubicBezTo>
                      <a:pt x="19" y="37"/>
                      <a:pt x="16" y="30"/>
                      <a:pt x="15" y="27"/>
                    </a:cubicBezTo>
                    <a:cubicBezTo>
                      <a:pt x="15" y="23"/>
                      <a:pt x="17" y="18"/>
                      <a:pt x="18" y="15"/>
                    </a:cubicBezTo>
                    <a:cubicBezTo>
                      <a:pt x="20" y="10"/>
                      <a:pt x="22" y="6"/>
                      <a:pt x="24" y="2"/>
                    </a:cubicBezTo>
                    <a:cubicBezTo>
                      <a:pt x="23" y="2"/>
                      <a:pt x="23" y="2"/>
                      <a:pt x="23" y="1"/>
                    </a:cubicBezTo>
                    <a:cubicBezTo>
                      <a:pt x="22" y="1"/>
                      <a:pt x="22" y="1"/>
                      <a:pt x="21" y="0"/>
                    </a:cubicBezTo>
                    <a:cubicBezTo>
                      <a:pt x="19" y="0"/>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61"/>
              <p:cNvSpPr/>
              <p:nvPr/>
            </p:nvSpPr>
            <p:spPr bwMode="auto">
              <a:xfrm>
                <a:off x="7997" y="2869"/>
                <a:ext cx="217" cy="192"/>
              </a:xfrm>
              <a:custGeom>
                <a:gdLst>
                  <a:gd name="T0" fmla="*/ 71 w 92"/>
                  <a:gd name="T1" fmla="*/ 12 h 81"/>
                  <a:gd name="T2" fmla="*/ 65 w 92"/>
                  <a:gd name="T3" fmla="*/ 14 h 81"/>
                  <a:gd name="T4" fmla="*/ 61 w 92"/>
                  <a:gd name="T5" fmla="*/ 17 h 81"/>
                  <a:gd name="T6" fmla="*/ 59 w 92"/>
                  <a:gd name="T7" fmla="*/ 16 h 81"/>
                  <a:gd name="T8" fmla="*/ 51 w 92"/>
                  <a:gd name="T9" fmla="*/ 23 h 81"/>
                  <a:gd name="T10" fmla="*/ 45 w 92"/>
                  <a:gd name="T11" fmla="*/ 30 h 81"/>
                  <a:gd name="T12" fmla="*/ 36 w 92"/>
                  <a:gd name="T13" fmla="*/ 35 h 81"/>
                  <a:gd name="T14" fmla="*/ 38 w 92"/>
                  <a:gd name="T15" fmla="*/ 24 h 81"/>
                  <a:gd name="T16" fmla="*/ 30 w 92"/>
                  <a:gd name="T17" fmla="*/ 21 h 81"/>
                  <a:gd name="T18" fmla="*/ 23 w 92"/>
                  <a:gd name="T19" fmla="*/ 28 h 81"/>
                  <a:gd name="T20" fmla="*/ 19 w 92"/>
                  <a:gd name="T21" fmla="*/ 33 h 81"/>
                  <a:gd name="T22" fmla="*/ 6 w 92"/>
                  <a:gd name="T23" fmla="*/ 43 h 81"/>
                  <a:gd name="T24" fmla="*/ 4 w 92"/>
                  <a:gd name="T25" fmla="*/ 55 h 81"/>
                  <a:gd name="T26" fmla="*/ 8 w 92"/>
                  <a:gd name="T27" fmla="*/ 54 h 81"/>
                  <a:gd name="T28" fmla="*/ 12 w 92"/>
                  <a:gd name="T29" fmla="*/ 47 h 81"/>
                  <a:gd name="T30" fmla="*/ 12 w 92"/>
                  <a:gd name="T31" fmla="*/ 43 h 81"/>
                  <a:gd name="T32" fmla="*/ 19 w 92"/>
                  <a:gd name="T33" fmla="*/ 42 h 81"/>
                  <a:gd name="T34" fmla="*/ 25 w 92"/>
                  <a:gd name="T35" fmla="*/ 41 h 81"/>
                  <a:gd name="T36" fmla="*/ 27 w 92"/>
                  <a:gd name="T37" fmla="*/ 43 h 81"/>
                  <a:gd name="T38" fmla="*/ 27 w 92"/>
                  <a:gd name="T39" fmla="*/ 45 h 81"/>
                  <a:gd name="T40" fmla="*/ 31 w 92"/>
                  <a:gd name="T41" fmla="*/ 47 h 81"/>
                  <a:gd name="T42" fmla="*/ 34 w 92"/>
                  <a:gd name="T43" fmla="*/ 38 h 81"/>
                  <a:gd name="T44" fmla="*/ 45 w 92"/>
                  <a:gd name="T45" fmla="*/ 49 h 81"/>
                  <a:gd name="T46" fmla="*/ 43 w 92"/>
                  <a:gd name="T47" fmla="*/ 62 h 81"/>
                  <a:gd name="T48" fmla="*/ 57 w 92"/>
                  <a:gd name="T49" fmla="*/ 74 h 81"/>
                  <a:gd name="T50" fmla="*/ 63 w 92"/>
                  <a:gd name="T51" fmla="*/ 75 h 81"/>
                  <a:gd name="T52" fmla="*/ 66 w 92"/>
                  <a:gd name="T53" fmla="*/ 71 h 81"/>
                  <a:gd name="T54" fmla="*/ 68 w 92"/>
                  <a:gd name="T55" fmla="*/ 81 h 81"/>
                  <a:gd name="T56" fmla="*/ 74 w 92"/>
                  <a:gd name="T57" fmla="*/ 75 h 81"/>
                  <a:gd name="T58" fmla="*/ 69 w 92"/>
                  <a:gd name="T59" fmla="*/ 61 h 81"/>
                  <a:gd name="T60" fmla="*/ 69 w 92"/>
                  <a:gd name="T61" fmla="*/ 58 h 81"/>
                  <a:gd name="T62" fmla="*/ 76 w 92"/>
                  <a:gd name="T63" fmla="*/ 48 h 81"/>
                  <a:gd name="T64" fmla="*/ 82 w 92"/>
                  <a:gd name="T65" fmla="*/ 57 h 81"/>
                  <a:gd name="T66" fmla="*/ 84 w 92"/>
                  <a:gd name="T67" fmla="*/ 68 h 81"/>
                  <a:gd name="T68" fmla="*/ 84 w 92"/>
                  <a:gd name="T69" fmla="*/ 56 h 81"/>
                  <a:gd name="T70" fmla="*/ 86 w 92"/>
                  <a:gd name="T71" fmla="*/ 57 h 81"/>
                  <a:gd name="T72" fmla="*/ 87 w 92"/>
                  <a:gd name="T73" fmla="*/ 56 h 81"/>
                  <a:gd name="T74" fmla="*/ 91 w 92"/>
                  <a:gd name="T75" fmla="*/ 50 h 81"/>
                  <a:gd name="T76" fmla="*/ 87 w 92"/>
                  <a:gd name="T77" fmla="*/ 37 h 81"/>
                  <a:gd name="T78" fmla="*/ 87 w 92"/>
                  <a:gd name="T79" fmla="*/ 31 h 81"/>
                  <a:gd name="T80" fmla="*/ 86 w 92"/>
                  <a:gd name="T81" fmla="*/ 25 h 81"/>
                  <a:gd name="T82" fmla="*/ 84 w 92"/>
                  <a:gd name="T83" fmla="*/ 25 h 81"/>
                  <a:gd name="T84" fmla="*/ 86 w 92"/>
                  <a:gd name="T85" fmla="*/ 20 h 81"/>
                  <a:gd name="T86" fmla="*/ 82 w 92"/>
                  <a:gd name="T87" fmla="*/ 11 h 81"/>
                  <a:gd name="T88" fmla="*/ 70 w 92"/>
                  <a:gd name="T89"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2" h="81">
                    <a:moveTo>
                      <a:pt x="70" y="0"/>
                    </a:moveTo>
                    <a:cubicBezTo>
                      <a:pt x="70" y="4"/>
                      <a:pt x="70" y="8"/>
                      <a:pt x="71" y="12"/>
                    </a:cubicBezTo>
                    <a:cubicBezTo>
                      <a:pt x="71" y="13"/>
                      <a:pt x="71" y="15"/>
                      <a:pt x="71" y="16"/>
                    </a:cubicBezTo>
                    <a:cubicBezTo>
                      <a:pt x="69" y="15"/>
                      <a:pt x="67" y="15"/>
                      <a:pt x="65" y="14"/>
                    </a:cubicBezTo>
                    <a:cubicBezTo>
                      <a:pt x="65" y="17"/>
                      <a:pt x="65" y="18"/>
                      <a:pt x="64" y="18"/>
                    </a:cubicBezTo>
                    <a:cubicBezTo>
                      <a:pt x="63" y="18"/>
                      <a:pt x="62" y="18"/>
                      <a:pt x="61" y="17"/>
                    </a:cubicBezTo>
                    <a:cubicBezTo>
                      <a:pt x="61" y="17"/>
                      <a:pt x="59" y="16"/>
                      <a:pt x="59" y="16"/>
                    </a:cubicBezTo>
                    <a:cubicBezTo>
                      <a:pt x="59" y="16"/>
                      <a:pt x="59" y="16"/>
                      <a:pt x="59" y="16"/>
                    </a:cubicBezTo>
                    <a:cubicBezTo>
                      <a:pt x="56" y="16"/>
                      <a:pt x="57" y="23"/>
                      <a:pt x="56" y="25"/>
                    </a:cubicBezTo>
                    <a:cubicBezTo>
                      <a:pt x="55" y="25"/>
                      <a:pt x="51" y="23"/>
                      <a:pt x="51" y="23"/>
                    </a:cubicBezTo>
                    <a:cubicBezTo>
                      <a:pt x="51" y="23"/>
                      <a:pt x="51" y="23"/>
                      <a:pt x="51" y="23"/>
                    </a:cubicBezTo>
                    <a:cubicBezTo>
                      <a:pt x="49" y="26"/>
                      <a:pt x="48" y="28"/>
                      <a:pt x="45" y="30"/>
                    </a:cubicBezTo>
                    <a:cubicBezTo>
                      <a:pt x="44" y="31"/>
                      <a:pt x="38" y="35"/>
                      <a:pt x="36" y="35"/>
                    </a:cubicBezTo>
                    <a:cubicBezTo>
                      <a:pt x="36" y="35"/>
                      <a:pt x="36" y="35"/>
                      <a:pt x="36" y="35"/>
                    </a:cubicBezTo>
                    <a:cubicBezTo>
                      <a:pt x="37" y="34"/>
                      <a:pt x="39" y="33"/>
                      <a:pt x="40" y="31"/>
                    </a:cubicBezTo>
                    <a:cubicBezTo>
                      <a:pt x="40" y="29"/>
                      <a:pt x="39" y="25"/>
                      <a:pt x="38" y="24"/>
                    </a:cubicBezTo>
                    <a:cubicBezTo>
                      <a:pt x="37" y="23"/>
                      <a:pt x="37" y="23"/>
                      <a:pt x="36" y="23"/>
                    </a:cubicBezTo>
                    <a:cubicBezTo>
                      <a:pt x="33" y="23"/>
                      <a:pt x="32" y="22"/>
                      <a:pt x="30" y="21"/>
                    </a:cubicBezTo>
                    <a:cubicBezTo>
                      <a:pt x="31" y="22"/>
                      <a:pt x="31" y="22"/>
                      <a:pt x="31" y="22"/>
                    </a:cubicBezTo>
                    <a:cubicBezTo>
                      <a:pt x="27" y="24"/>
                      <a:pt x="24" y="24"/>
                      <a:pt x="23" y="28"/>
                    </a:cubicBezTo>
                    <a:cubicBezTo>
                      <a:pt x="22" y="29"/>
                      <a:pt x="22" y="31"/>
                      <a:pt x="21" y="32"/>
                    </a:cubicBezTo>
                    <a:cubicBezTo>
                      <a:pt x="21" y="33"/>
                      <a:pt x="19" y="33"/>
                      <a:pt x="19" y="33"/>
                    </a:cubicBezTo>
                    <a:cubicBezTo>
                      <a:pt x="14" y="34"/>
                      <a:pt x="9" y="34"/>
                      <a:pt x="7" y="38"/>
                    </a:cubicBezTo>
                    <a:cubicBezTo>
                      <a:pt x="6" y="40"/>
                      <a:pt x="6" y="42"/>
                      <a:pt x="6" y="43"/>
                    </a:cubicBezTo>
                    <a:cubicBezTo>
                      <a:pt x="6" y="44"/>
                      <a:pt x="6" y="44"/>
                      <a:pt x="6" y="44"/>
                    </a:cubicBezTo>
                    <a:cubicBezTo>
                      <a:pt x="4" y="46"/>
                      <a:pt x="0" y="54"/>
                      <a:pt x="4" y="55"/>
                    </a:cubicBezTo>
                    <a:cubicBezTo>
                      <a:pt x="5" y="56"/>
                      <a:pt x="5" y="56"/>
                      <a:pt x="6" y="56"/>
                    </a:cubicBezTo>
                    <a:cubicBezTo>
                      <a:pt x="6" y="56"/>
                      <a:pt x="7" y="55"/>
                      <a:pt x="8" y="54"/>
                    </a:cubicBezTo>
                    <a:cubicBezTo>
                      <a:pt x="8" y="53"/>
                      <a:pt x="9" y="52"/>
                      <a:pt x="9" y="52"/>
                    </a:cubicBezTo>
                    <a:cubicBezTo>
                      <a:pt x="10" y="50"/>
                      <a:pt x="9" y="48"/>
                      <a:pt x="12" y="47"/>
                    </a:cubicBezTo>
                    <a:cubicBezTo>
                      <a:pt x="9" y="46"/>
                      <a:pt x="13" y="44"/>
                      <a:pt x="14" y="43"/>
                    </a:cubicBezTo>
                    <a:cubicBezTo>
                      <a:pt x="12" y="43"/>
                      <a:pt x="12" y="43"/>
                      <a:pt x="12" y="43"/>
                    </a:cubicBezTo>
                    <a:cubicBezTo>
                      <a:pt x="13" y="42"/>
                      <a:pt x="15" y="40"/>
                      <a:pt x="16" y="40"/>
                    </a:cubicBezTo>
                    <a:cubicBezTo>
                      <a:pt x="17" y="40"/>
                      <a:pt x="18" y="41"/>
                      <a:pt x="19" y="42"/>
                    </a:cubicBezTo>
                    <a:cubicBezTo>
                      <a:pt x="20" y="43"/>
                      <a:pt x="19" y="45"/>
                      <a:pt x="19" y="46"/>
                    </a:cubicBezTo>
                    <a:cubicBezTo>
                      <a:pt x="22" y="45"/>
                      <a:pt x="23" y="42"/>
                      <a:pt x="25" y="41"/>
                    </a:cubicBezTo>
                    <a:cubicBezTo>
                      <a:pt x="25" y="41"/>
                      <a:pt x="25" y="41"/>
                      <a:pt x="25" y="41"/>
                    </a:cubicBezTo>
                    <a:cubicBezTo>
                      <a:pt x="26" y="41"/>
                      <a:pt x="27" y="42"/>
                      <a:pt x="27" y="43"/>
                    </a:cubicBezTo>
                    <a:cubicBezTo>
                      <a:pt x="27" y="44"/>
                      <a:pt x="25" y="43"/>
                      <a:pt x="25" y="44"/>
                    </a:cubicBezTo>
                    <a:cubicBezTo>
                      <a:pt x="26" y="45"/>
                      <a:pt x="26" y="45"/>
                      <a:pt x="27" y="45"/>
                    </a:cubicBezTo>
                    <a:cubicBezTo>
                      <a:pt x="27" y="45"/>
                      <a:pt x="28" y="45"/>
                      <a:pt x="29" y="45"/>
                    </a:cubicBezTo>
                    <a:cubicBezTo>
                      <a:pt x="28" y="46"/>
                      <a:pt x="30" y="46"/>
                      <a:pt x="31" y="47"/>
                    </a:cubicBezTo>
                    <a:cubicBezTo>
                      <a:pt x="31" y="44"/>
                      <a:pt x="28" y="42"/>
                      <a:pt x="31" y="39"/>
                    </a:cubicBezTo>
                    <a:cubicBezTo>
                      <a:pt x="32" y="38"/>
                      <a:pt x="33" y="38"/>
                      <a:pt x="34" y="38"/>
                    </a:cubicBezTo>
                    <a:cubicBezTo>
                      <a:pt x="38" y="38"/>
                      <a:pt x="42" y="43"/>
                      <a:pt x="44" y="45"/>
                    </a:cubicBezTo>
                    <a:cubicBezTo>
                      <a:pt x="46" y="47"/>
                      <a:pt x="48" y="47"/>
                      <a:pt x="45" y="49"/>
                    </a:cubicBezTo>
                    <a:cubicBezTo>
                      <a:pt x="45" y="50"/>
                      <a:pt x="44" y="51"/>
                      <a:pt x="43" y="52"/>
                    </a:cubicBezTo>
                    <a:cubicBezTo>
                      <a:pt x="41" y="55"/>
                      <a:pt x="43" y="59"/>
                      <a:pt x="43" y="62"/>
                    </a:cubicBezTo>
                    <a:cubicBezTo>
                      <a:pt x="43" y="63"/>
                      <a:pt x="42" y="65"/>
                      <a:pt x="43" y="66"/>
                    </a:cubicBezTo>
                    <a:cubicBezTo>
                      <a:pt x="48" y="70"/>
                      <a:pt x="52" y="72"/>
                      <a:pt x="57" y="74"/>
                    </a:cubicBezTo>
                    <a:cubicBezTo>
                      <a:pt x="59" y="75"/>
                      <a:pt x="60" y="76"/>
                      <a:pt x="61" y="76"/>
                    </a:cubicBezTo>
                    <a:cubicBezTo>
                      <a:pt x="62" y="76"/>
                      <a:pt x="63" y="75"/>
                      <a:pt x="63" y="75"/>
                    </a:cubicBezTo>
                    <a:cubicBezTo>
                      <a:pt x="64" y="73"/>
                      <a:pt x="64" y="71"/>
                      <a:pt x="65" y="71"/>
                    </a:cubicBezTo>
                    <a:cubicBezTo>
                      <a:pt x="65" y="71"/>
                      <a:pt x="66" y="71"/>
                      <a:pt x="66" y="71"/>
                    </a:cubicBezTo>
                    <a:cubicBezTo>
                      <a:pt x="66" y="75"/>
                      <a:pt x="64" y="76"/>
                      <a:pt x="66" y="80"/>
                    </a:cubicBezTo>
                    <a:cubicBezTo>
                      <a:pt x="67" y="81"/>
                      <a:pt x="67" y="81"/>
                      <a:pt x="68" y="81"/>
                    </a:cubicBezTo>
                    <a:cubicBezTo>
                      <a:pt x="69" y="81"/>
                      <a:pt x="69" y="80"/>
                      <a:pt x="70" y="79"/>
                    </a:cubicBezTo>
                    <a:cubicBezTo>
                      <a:pt x="71" y="78"/>
                      <a:pt x="73" y="76"/>
                      <a:pt x="74" y="75"/>
                    </a:cubicBezTo>
                    <a:cubicBezTo>
                      <a:pt x="75" y="72"/>
                      <a:pt x="73" y="65"/>
                      <a:pt x="71" y="63"/>
                    </a:cubicBezTo>
                    <a:cubicBezTo>
                      <a:pt x="71" y="63"/>
                      <a:pt x="70" y="62"/>
                      <a:pt x="69" y="61"/>
                    </a:cubicBezTo>
                    <a:cubicBezTo>
                      <a:pt x="69" y="62"/>
                      <a:pt x="69" y="62"/>
                      <a:pt x="69" y="62"/>
                    </a:cubicBezTo>
                    <a:cubicBezTo>
                      <a:pt x="69" y="62"/>
                      <a:pt x="69" y="59"/>
                      <a:pt x="69" y="58"/>
                    </a:cubicBezTo>
                    <a:cubicBezTo>
                      <a:pt x="70" y="56"/>
                      <a:pt x="73" y="48"/>
                      <a:pt x="76" y="48"/>
                    </a:cubicBezTo>
                    <a:cubicBezTo>
                      <a:pt x="76" y="48"/>
                      <a:pt x="76" y="48"/>
                      <a:pt x="76" y="48"/>
                    </a:cubicBezTo>
                    <a:cubicBezTo>
                      <a:pt x="78" y="48"/>
                      <a:pt x="79" y="52"/>
                      <a:pt x="79" y="54"/>
                    </a:cubicBezTo>
                    <a:cubicBezTo>
                      <a:pt x="80" y="56"/>
                      <a:pt x="81" y="56"/>
                      <a:pt x="82" y="57"/>
                    </a:cubicBezTo>
                    <a:cubicBezTo>
                      <a:pt x="83" y="59"/>
                      <a:pt x="81" y="61"/>
                      <a:pt x="82" y="63"/>
                    </a:cubicBezTo>
                    <a:cubicBezTo>
                      <a:pt x="82" y="65"/>
                      <a:pt x="84" y="66"/>
                      <a:pt x="84" y="68"/>
                    </a:cubicBezTo>
                    <a:cubicBezTo>
                      <a:pt x="84" y="65"/>
                      <a:pt x="84" y="62"/>
                      <a:pt x="83" y="59"/>
                    </a:cubicBezTo>
                    <a:cubicBezTo>
                      <a:pt x="83" y="58"/>
                      <a:pt x="83" y="56"/>
                      <a:pt x="84" y="56"/>
                    </a:cubicBezTo>
                    <a:cubicBezTo>
                      <a:pt x="84" y="56"/>
                      <a:pt x="85" y="56"/>
                      <a:pt x="85" y="56"/>
                    </a:cubicBezTo>
                    <a:cubicBezTo>
                      <a:pt x="86" y="56"/>
                      <a:pt x="85" y="56"/>
                      <a:pt x="86" y="57"/>
                    </a:cubicBezTo>
                    <a:cubicBezTo>
                      <a:pt x="86" y="57"/>
                      <a:pt x="86" y="58"/>
                      <a:pt x="87" y="58"/>
                    </a:cubicBezTo>
                    <a:cubicBezTo>
                      <a:pt x="87" y="58"/>
                      <a:pt x="87" y="57"/>
                      <a:pt x="87" y="56"/>
                    </a:cubicBezTo>
                    <a:cubicBezTo>
                      <a:pt x="88" y="54"/>
                      <a:pt x="89" y="54"/>
                      <a:pt x="89" y="54"/>
                    </a:cubicBezTo>
                    <a:cubicBezTo>
                      <a:pt x="90" y="53"/>
                      <a:pt x="91" y="51"/>
                      <a:pt x="91" y="50"/>
                    </a:cubicBezTo>
                    <a:cubicBezTo>
                      <a:pt x="92" y="47"/>
                      <a:pt x="91" y="44"/>
                      <a:pt x="91" y="42"/>
                    </a:cubicBezTo>
                    <a:cubicBezTo>
                      <a:pt x="91" y="39"/>
                      <a:pt x="89" y="38"/>
                      <a:pt x="87" y="37"/>
                    </a:cubicBezTo>
                    <a:cubicBezTo>
                      <a:pt x="90" y="35"/>
                      <a:pt x="88" y="33"/>
                      <a:pt x="89" y="31"/>
                    </a:cubicBezTo>
                    <a:cubicBezTo>
                      <a:pt x="88" y="31"/>
                      <a:pt x="88" y="31"/>
                      <a:pt x="87" y="31"/>
                    </a:cubicBezTo>
                    <a:cubicBezTo>
                      <a:pt x="85" y="31"/>
                      <a:pt x="88" y="28"/>
                      <a:pt x="87" y="26"/>
                    </a:cubicBezTo>
                    <a:cubicBezTo>
                      <a:pt x="87" y="25"/>
                      <a:pt x="86" y="25"/>
                      <a:pt x="86" y="25"/>
                    </a:cubicBezTo>
                    <a:cubicBezTo>
                      <a:pt x="85" y="25"/>
                      <a:pt x="85" y="25"/>
                      <a:pt x="85" y="25"/>
                    </a:cubicBezTo>
                    <a:cubicBezTo>
                      <a:pt x="84" y="25"/>
                      <a:pt x="84" y="25"/>
                      <a:pt x="84" y="25"/>
                    </a:cubicBezTo>
                    <a:cubicBezTo>
                      <a:pt x="83" y="25"/>
                      <a:pt x="83" y="25"/>
                      <a:pt x="83" y="25"/>
                    </a:cubicBezTo>
                    <a:cubicBezTo>
                      <a:pt x="81" y="23"/>
                      <a:pt x="85" y="21"/>
                      <a:pt x="86" y="20"/>
                    </a:cubicBezTo>
                    <a:cubicBezTo>
                      <a:pt x="87" y="17"/>
                      <a:pt x="84" y="14"/>
                      <a:pt x="84" y="10"/>
                    </a:cubicBezTo>
                    <a:cubicBezTo>
                      <a:pt x="83" y="11"/>
                      <a:pt x="82" y="11"/>
                      <a:pt x="82" y="11"/>
                    </a:cubicBezTo>
                    <a:cubicBezTo>
                      <a:pt x="81" y="11"/>
                      <a:pt x="80" y="10"/>
                      <a:pt x="79" y="7"/>
                    </a:cubicBezTo>
                    <a:cubicBezTo>
                      <a:pt x="78" y="4"/>
                      <a:pt x="72" y="2"/>
                      <a:pt x="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Freeform 62"/>
              <p:cNvSpPr/>
              <p:nvPr/>
            </p:nvSpPr>
            <p:spPr bwMode="auto">
              <a:xfrm>
                <a:off x="8025" y="2746"/>
                <a:ext cx="12" cy="12"/>
              </a:xfrm>
              <a:custGeom>
                <a:gdLst>
                  <a:gd name="T0" fmla="*/ 3 w 5"/>
                  <a:gd name="T1" fmla="*/ 0 h 5"/>
                  <a:gd name="T2" fmla="*/ 0 w 5"/>
                  <a:gd name="T3" fmla="*/ 1 h 5"/>
                  <a:gd name="T4" fmla="*/ 4 w 5"/>
                  <a:gd name="T5" fmla="*/ 5 h 5"/>
                  <a:gd name="T6" fmla="*/ 4 w 5"/>
                  <a:gd name="T7" fmla="*/ 0 h 5"/>
                  <a:gd name="T8" fmla="*/ 3 w 5"/>
                  <a:gd name="T9" fmla="*/ 0 h 5"/>
                </a:gdLst>
                <a:cxnLst>
                  <a:cxn ang="0">
                    <a:pos x="T0" y="T1"/>
                  </a:cxn>
                  <a:cxn ang="0">
                    <a:pos x="T2" y="T3"/>
                  </a:cxn>
                  <a:cxn ang="0">
                    <a:pos x="T4" y="T5"/>
                  </a:cxn>
                  <a:cxn ang="0">
                    <a:pos x="T6" y="T7"/>
                  </a:cxn>
                  <a:cxn ang="0">
                    <a:pos x="T8" y="T9"/>
                  </a:cxn>
                </a:cxnLst>
                <a:rect l="0" t="0" r="r" b="b"/>
                <a:pathLst>
                  <a:path w="5" h="5">
                    <a:moveTo>
                      <a:pt x="3" y="0"/>
                    </a:moveTo>
                    <a:cubicBezTo>
                      <a:pt x="2" y="0"/>
                      <a:pt x="0" y="1"/>
                      <a:pt x="0" y="1"/>
                    </a:cubicBezTo>
                    <a:cubicBezTo>
                      <a:pt x="0" y="2"/>
                      <a:pt x="4" y="5"/>
                      <a:pt x="4" y="5"/>
                    </a:cubicBezTo>
                    <a:cubicBezTo>
                      <a:pt x="4" y="3"/>
                      <a:pt x="5"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63"/>
              <p:cNvSpPr/>
              <p:nvPr/>
            </p:nvSpPr>
            <p:spPr bwMode="auto">
              <a:xfrm>
                <a:off x="7992" y="2631"/>
                <a:ext cx="19" cy="18"/>
              </a:xfrm>
              <a:custGeom>
                <a:gdLst>
                  <a:gd name="T0" fmla="*/ 5 w 8"/>
                  <a:gd name="T1" fmla="*/ 0 h 8"/>
                  <a:gd name="T2" fmla="*/ 5 w 8"/>
                  <a:gd name="T3" fmla="*/ 0 h 8"/>
                  <a:gd name="T4" fmla="*/ 5 w 8"/>
                  <a:gd name="T5" fmla="*/ 8 h 8"/>
                  <a:gd name="T6" fmla="*/ 6 w 8"/>
                  <a:gd name="T7" fmla="*/ 3 h 8"/>
                  <a:gd name="T8" fmla="*/ 6 w 8"/>
                  <a:gd name="T9" fmla="*/ 1 h 8"/>
                  <a:gd name="T10" fmla="*/ 5 w 8"/>
                  <a:gd name="T11" fmla="*/ 0 h 8"/>
                </a:gdLst>
                <a:cxnLst>
                  <a:cxn ang="0">
                    <a:pos x="T0" y="T1"/>
                  </a:cxn>
                  <a:cxn ang="0">
                    <a:pos x="T2" y="T3"/>
                  </a:cxn>
                  <a:cxn ang="0">
                    <a:pos x="T4" y="T5"/>
                  </a:cxn>
                  <a:cxn ang="0">
                    <a:pos x="T6" y="T7"/>
                  </a:cxn>
                  <a:cxn ang="0">
                    <a:pos x="T8" y="T9"/>
                  </a:cxn>
                  <a:cxn ang="0">
                    <a:pos x="T10" y="T11"/>
                  </a:cxn>
                </a:cxnLst>
                <a:rect l="0" t="0" r="r" b="b"/>
                <a:pathLst>
                  <a:path w="8" h="8">
                    <a:moveTo>
                      <a:pt x="5" y="0"/>
                    </a:moveTo>
                    <a:cubicBezTo>
                      <a:pt x="5" y="0"/>
                      <a:pt x="5" y="0"/>
                      <a:pt x="5" y="0"/>
                    </a:cubicBezTo>
                    <a:cubicBezTo>
                      <a:pt x="0" y="0"/>
                      <a:pt x="4" y="6"/>
                      <a:pt x="5" y="8"/>
                    </a:cubicBezTo>
                    <a:cubicBezTo>
                      <a:pt x="8" y="6"/>
                      <a:pt x="6" y="6"/>
                      <a:pt x="6" y="3"/>
                    </a:cubicBezTo>
                    <a:cubicBezTo>
                      <a:pt x="6" y="3"/>
                      <a:pt x="6" y="2"/>
                      <a:pt x="6" y="1"/>
                    </a:cubicBezTo>
                    <a:cubicBezTo>
                      <a:pt x="6"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7" name="Freeform 64"/>
              <p:cNvSpPr/>
              <p:nvPr/>
            </p:nvSpPr>
            <p:spPr bwMode="auto">
              <a:xfrm>
                <a:off x="8027" y="2827"/>
                <a:ext cx="10" cy="16"/>
              </a:xfrm>
              <a:custGeom>
                <a:gdLst>
                  <a:gd name="T0" fmla="*/ 4 w 4"/>
                  <a:gd name="T1" fmla="*/ 0 h 7"/>
                  <a:gd name="T2" fmla="*/ 1 w 4"/>
                  <a:gd name="T3" fmla="*/ 4 h 7"/>
                  <a:gd name="T4" fmla="*/ 1 w 4"/>
                  <a:gd name="T5" fmla="*/ 7 h 7"/>
                  <a:gd name="T6" fmla="*/ 4 w 4"/>
                  <a:gd name="T7" fmla="*/ 0 h 7"/>
                </a:gdLst>
                <a:cxnLst>
                  <a:cxn ang="0">
                    <a:pos x="T0" y="T1"/>
                  </a:cxn>
                  <a:cxn ang="0">
                    <a:pos x="T2" y="T3"/>
                  </a:cxn>
                  <a:cxn ang="0">
                    <a:pos x="T4" y="T5"/>
                  </a:cxn>
                  <a:cxn ang="0">
                    <a:pos x="T6" y="T7"/>
                  </a:cxn>
                </a:cxnLst>
                <a:rect l="0" t="0" r="r" b="b"/>
                <a:pathLst>
                  <a:path w="4" h="7">
                    <a:moveTo>
                      <a:pt x="4" y="0"/>
                    </a:moveTo>
                    <a:cubicBezTo>
                      <a:pt x="3" y="1"/>
                      <a:pt x="0" y="3"/>
                      <a:pt x="1" y="4"/>
                    </a:cubicBezTo>
                    <a:cubicBezTo>
                      <a:pt x="0" y="5"/>
                      <a:pt x="0" y="6"/>
                      <a:pt x="1" y="7"/>
                    </a:cubicBezTo>
                    <a:cubicBezTo>
                      <a:pt x="3" y="4"/>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65"/>
              <p:cNvSpPr/>
              <p:nvPr/>
            </p:nvSpPr>
            <p:spPr bwMode="auto">
              <a:xfrm>
                <a:off x="8181" y="2860"/>
                <a:ext cx="12" cy="14"/>
              </a:xfrm>
              <a:custGeom>
                <a:gdLst>
                  <a:gd name="T0" fmla="*/ 3 w 5"/>
                  <a:gd name="T1" fmla="*/ 0 h 6"/>
                  <a:gd name="T2" fmla="*/ 3 w 5"/>
                  <a:gd name="T3" fmla="*/ 6 h 6"/>
                  <a:gd name="T4" fmla="*/ 5 w 5"/>
                  <a:gd name="T5" fmla="*/ 4 h 6"/>
                  <a:gd name="T6" fmla="*/ 3 w 5"/>
                  <a:gd name="T7" fmla="*/ 0 h 6"/>
                </a:gdLst>
                <a:cxnLst>
                  <a:cxn ang="0">
                    <a:pos x="T0" y="T1"/>
                  </a:cxn>
                  <a:cxn ang="0">
                    <a:pos x="T2" y="T3"/>
                  </a:cxn>
                  <a:cxn ang="0">
                    <a:pos x="T4" y="T5"/>
                  </a:cxn>
                  <a:cxn ang="0">
                    <a:pos x="T6" y="T7"/>
                  </a:cxn>
                </a:cxnLst>
                <a:rect l="0" t="0" r="r" b="b"/>
                <a:pathLst>
                  <a:path w="5" h="6">
                    <a:moveTo>
                      <a:pt x="3" y="0"/>
                    </a:moveTo>
                    <a:cubicBezTo>
                      <a:pt x="2" y="2"/>
                      <a:pt x="0" y="3"/>
                      <a:pt x="3" y="6"/>
                    </a:cubicBezTo>
                    <a:cubicBezTo>
                      <a:pt x="4" y="5"/>
                      <a:pt x="5" y="5"/>
                      <a:pt x="5" y="4"/>
                    </a:cubicBezTo>
                    <a:cubicBezTo>
                      <a:pt x="4" y="3"/>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9" name="Freeform 66"/>
              <p:cNvSpPr/>
              <p:nvPr/>
            </p:nvSpPr>
            <p:spPr bwMode="auto">
              <a:xfrm>
                <a:off x="8072" y="2893"/>
                <a:ext cx="12" cy="9"/>
              </a:xfrm>
              <a:custGeom>
                <a:gdLst>
                  <a:gd name="T0" fmla="*/ 3 w 5"/>
                  <a:gd name="T1" fmla="*/ 0 h 4"/>
                  <a:gd name="T2" fmla="*/ 0 w 5"/>
                  <a:gd name="T3" fmla="*/ 2 h 4"/>
                  <a:gd name="T4" fmla="*/ 2 w 5"/>
                  <a:gd name="T5" fmla="*/ 4 h 4"/>
                  <a:gd name="T6" fmla="*/ 3 w 5"/>
                  <a:gd name="T7" fmla="*/ 0 h 4"/>
                </a:gdLst>
                <a:cxnLst>
                  <a:cxn ang="0">
                    <a:pos x="T0" y="T1"/>
                  </a:cxn>
                  <a:cxn ang="0">
                    <a:pos x="T2" y="T3"/>
                  </a:cxn>
                  <a:cxn ang="0">
                    <a:pos x="T4" y="T5"/>
                  </a:cxn>
                  <a:cxn ang="0">
                    <a:pos x="T6" y="T7"/>
                  </a:cxn>
                </a:cxnLst>
                <a:rect l="0" t="0" r="r" b="b"/>
                <a:pathLst>
                  <a:path w="5" h="4">
                    <a:moveTo>
                      <a:pt x="3" y="0"/>
                    </a:moveTo>
                    <a:cubicBezTo>
                      <a:pt x="2" y="1"/>
                      <a:pt x="0" y="1"/>
                      <a:pt x="0" y="2"/>
                    </a:cubicBezTo>
                    <a:cubicBezTo>
                      <a:pt x="0" y="3"/>
                      <a:pt x="2" y="4"/>
                      <a:pt x="2" y="4"/>
                    </a:cubicBezTo>
                    <a:cubicBezTo>
                      <a:pt x="5"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67"/>
              <p:cNvSpPr/>
              <p:nvPr/>
            </p:nvSpPr>
            <p:spPr bwMode="auto">
              <a:xfrm>
                <a:off x="7779" y="2947"/>
                <a:ext cx="7" cy="15"/>
              </a:xfrm>
              <a:custGeom>
                <a:gdLst>
                  <a:gd name="T0" fmla="*/ 1 w 3"/>
                  <a:gd name="T1" fmla="*/ 0 h 6"/>
                  <a:gd name="T2" fmla="*/ 1 w 3"/>
                  <a:gd name="T3" fmla="*/ 6 h 6"/>
                  <a:gd name="T4" fmla="*/ 2 w 3"/>
                  <a:gd name="T5" fmla="*/ 2 h 6"/>
                  <a:gd name="T6" fmla="*/ 2 w 3"/>
                  <a:gd name="T7" fmla="*/ 1 h 6"/>
                  <a:gd name="T8" fmla="*/ 1 w 3"/>
                  <a:gd name="T9" fmla="*/ 0 h 6"/>
                </a:gdLst>
                <a:cxnLst>
                  <a:cxn ang="0">
                    <a:pos x="T0" y="T1"/>
                  </a:cxn>
                  <a:cxn ang="0">
                    <a:pos x="T2" y="T3"/>
                  </a:cxn>
                  <a:cxn ang="0">
                    <a:pos x="T4" y="T5"/>
                  </a:cxn>
                  <a:cxn ang="0">
                    <a:pos x="T6" y="T7"/>
                  </a:cxn>
                  <a:cxn ang="0">
                    <a:pos x="T8" y="T9"/>
                  </a:cxn>
                </a:cxnLst>
                <a:rect l="0" t="0" r="r" b="b"/>
                <a:pathLst>
                  <a:path w="3" h="6">
                    <a:moveTo>
                      <a:pt x="1" y="0"/>
                    </a:moveTo>
                    <a:cubicBezTo>
                      <a:pt x="0" y="0"/>
                      <a:pt x="1" y="5"/>
                      <a:pt x="1" y="6"/>
                    </a:cubicBezTo>
                    <a:cubicBezTo>
                      <a:pt x="2" y="4"/>
                      <a:pt x="3" y="3"/>
                      <a:pt x="2" y="2"/>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1" name="Freeform 68"/>
              <p:cNvSpPr/>
              <p:nvPr/>
            </p:nvSpPr>
            <p:spPr bwMode="auto">
              <a:xfrm>
                <a:off x="7999" y="3009"/>
                <a:ext cx="24" cy="14"/>
              </a:xfrm>
              <a:custGeom>
                <a:gdLst>
                  <a:gd name="T0" fmla="*/ 4 w 10"/>
                  <a:gd name="T1" fmla="*/ 0 h 6"/>
                  <a:gd name="T2" fmla="*/ 2 w 10"/>
                  <a:gd name="T3" fmla="*/ 1 h 6"/>
                  <a:gd name="T4" fmla="*/ 1 w 10"/>
                  <a:gd name="T5" fmla="*/ 2 h 6"/>
                  <a:gd name="T6" fmla="*/ 0 w 10"/>
                  <a:gd name="T7" fmla="*/ 1 h 6"/>
                  <a:gd name="T8" fmla="*/ 3 w 10"/>
                  <a:gd name="T9" fmla="*/ 6 h 6"/>
                  <a:gd name="T10" fmla="*/ 6 w 10"/>
                  <a:gd name="T11" fmla="*/ 5 h 6"/>
                  <a:gd name="T12" fmla="*/ 7 w 10"/>
                  <a:gd name="T13" fmla="*/ 4 h 6"/>
                  <a:gd name="T14" fmla="*/ 7 w 10"/>
                  <a:gd name="T15" fmla="*/ 2 h 6"/>
                  <a:gd name="T16" fmla="*/ 5 w 10"/>
                  <a:gd name="T17" fmla="*/ 0 h 6"/>
                  <a:gd name="T18" fmla="*/ 4 w 10"/>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6">
                    <a:moveTo>
                      <a:pt x="4" y="0"/>
                    </a:moveTo>
                    <a:cubicBezTo>
                      <a:pt x="3" y="0"/>
                      <a:pt x="3" y="0"/>
                      <a:pt x="2" y="1"/>
                    </a:cubicBezTo>
                    <a:cubicBezTo>
                      <a:pt x="2" y="1"/>
                      <a:pt x="1" y="2"/>
                      <a:pt x="1" y="2"/>
                    </a:cubicBezTo>
                    <a:cubicBezTo>
                      <a:pt x="0" y="2"/>
                      <a:pt x="0" y="1"/>
                      <a:pt x="0" y="1"/>
                    </a:cubicBezTo>
                    <a:cubicBezTo>
                      <a:pt x="0" y="3"/>
                      <a:pt x="2" y="5"/>
                      <a:pt x="3" y="6"/>
                    </a:cubicBezTo>
                    <a:cubicBezTo>
                      <a:pt x="3" y="6"/>
                      <a:pt x="6" y="6"/>
                      <a:pt x="6" y="5"/>
                    </a:cubicBezTo>
                    <a:cubicBezTo>
                      <a:pt x="7" y="5"/>
                      <a:pt x="7" y="4"/>
                      <a:pt x="7" y="4"/>
                    </a:cubicBezTo>
                    <a:cubicBezTo>
                      <a:pt x="8" y="3"/>
                      <a:pt x="10" y="2"/>
                      <a:pt x="7" y="2"/>
                    </a:cubicBezTo>
                    <a:cubicBezTo>
                      <a:pt x="6" y="1"/>
                      <a:pt x="6" y="0"/>
                      <a:pt x="5"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69"/>
              <p:cNvSpPr/>
              <p:nvPr/>
            </p:nvSpPr>
            <p:spPr bwMode="auto">
              <a:xfrm>
                <a:off x="8171" y="2990"/>
                <a:ext cx="5" cy="12"/>
              </a:xfrm>
              <a:custGeom>
                <a:gdLst>
                  <a:gd name="T0" fmla="*/ 0 w 2"/>
                  <a:gd name="T1" fmla="*/ 0 h 5"/>
                  <a:gd name="T2" fmla="*/ 2 w 2"/>
                  <a:gd name="T3" fmla="*/ 5 h 5"/>
                  <a:gd name="T4" fmla="*/ 0 w 2"/>
                  <a:gd name="T5" fmla="*/ 0 h 5"/>
                </a:gdLst>
                <a:cxnLst>
                  <a:cxn ang="0">
                    <a:pos x="T0" y="T1"/>
                  </a:cxn>
                  <a:cxn ang="0">
                    <a:pos x="T2" y="T3"/>
                  </a:cxn>
                  <a:cxn ang="0">
                    <a:pos x="T4" y="T5"/>
                  </a:cxn>
                </a:cxnLst>
                <a:rect l="0" t="0" r="r" b="b"/>
                <a:pathLst>
                  <a:path w="2" h="5">
                    <a:moveTo>
                      <a:pt x="0" y="0"/>
                    </a:moveTo>
                    <a:cubicBezTo>
                      <a:pt x="0" y="1"/>
                      <a:pt x="1" y="3"/>
                      <a:pt x="2" y="5"/>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3" name="Freeform 70"/>
              <p:cNvSpPr/>
              <p:nvPr/>
            </p:nvSpPr>
            <p:spPr bwMode="auto">
              <a:xfrm>
                <a:off x="7997" y="2361"/>
                <a:ext cx="2"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1" y="1"/>
                      <a:pt x="1"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71"/>
              <p:cNvSpPr/>
              <p:nvPr/>
            </p:nvSpPr>
            <p:spPr bwMode="auto">
              <a:xfrm>
                <a:off x="8075" y="2739"/>
                <a:ext cx="11" cy="14"/>
              </a:xfrm>
              <a:custGeom>
                <a:gdLst>
                  <a:gd name="T0" fmla="*/ 2 w 5"/>
                  <a:gd name="T1" fmla="*/ 0 h 6"/>
                  <a:gd name="T2" fmla="*/ 5 w 5"/>
                  <a:gd name="T3" fmla="*/ 6 h 6"/>
                  <a:gd name="T4" fmla="*/ 2 w 5"/>
                  <a:gd name="T5" fmla="*/ 0 h 6"/>
                </a:gdLst>
                <a:cxnLst>
                  <a:cxn ang="0">
                    <a:pos x="T0" y="T1"/>
                  </a:cxn>
                  <a:cxn ang="0">
                    <a:pos x="T2" y="T3"/>
                  </a:cxn>
                  <a:cxn ang="0">
                    <a:pos x="T4" y="T5"/>
                  </a:cxn>
                </a:cxnLst>
                <a:rect l="0" t="0" r="r" b="b"/>
                <a:pathLst>
                  <a:path w="5" h="6">
                    <a:moveTo>
                      <a:pt x="2" y="0"/>
                    </a:moveTo>
                    <a:cubicBezTo>
                      <a:pt x="0" y="1"/>
                      <a:pt x="4" y="5"/>
                      <a:pt x="5" y="6"/>
                    </a:cubicBezTo>
                    <a:cubicBezTo>
                      <a:pt x="4"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Freeform 72"/>
              <p:cNvSpPr/>
              <p:nvPr/>
            </p:nvSpPr>
            <p:spPr bwMode="auto">
              <a:xfrm>
                <a:off x="7999" y="2446"/>
                <a:ext cx="5" cy="10"/>
              </a:xfrm>
              <a:custGeom>
                <a:gdLst>
                  <a:gd name="T0" fmla="*/ 2 w 2"/>
                  <a:gd name="T1" fmla="*/ 0 h 4"/>
                  <a:gd name="T2" fmla="*/ 0 w 2"/>
                  <a:gd name="T3" fmla="*/ 4 h 4"/>
                  <a:gd name="T4" fmla="*/ 2 w 2"/>
                  <a:gd name="T5" fmla="*/ 0 h 4"/>
                </a:gdLst>
                <a:cxnLst>
                  <a:cxn ang="0">
                    <a:pos x="T0" y="T1"/>
                  </a:cxn>
                  <a:cxn ang="0">
                    <a:pos x="T2" y="T3"/>
                  </a:cxn>
                  <a:cxn ang="0">
                    <a:pos x="T4" y="T5"/>
                  </a:cxn>
                </a:cxnLst>
                <a:rect l="0" t="0" r="r" b="b"/>
                <a:pathLst>
                  <a:path w="2" h="4">
                    <a:moveTo>
                      <a:pt x="2" y="0"/>
                    </a:moveTo>
                    <a:cubicBezTo>
                      <a:pt x="0" y="0"/>
                      <a:pt x="0" y="3"/>
                      <a:pt x="0"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Freeform 73"/>
              <p:cNvSpPr/>
              <p:nvPr/>
            </p:nvSpPr>
            <p:spPr bwMode="auto">
              <a:xfrm>
                <a:off x="7999" y="2772"/>
                <a:ext cx="59" cy="69"/>
              </a:xfrm>
              <a:custGeom>
                <a:gdLst>
                  <a:gd name="T0" fmla="*/ 2 w 25"/>
                  <a:gd name="T1" fmla="*/ 0 h 29"/>
                  <a:gd name="T2" fmla="*/ 0 w 25"/>
                  <a:gd name="T3" fmla="*/ 3 h 29"/>
                  <a:gd name="T4" fmla="*/ 1 w 25"/>
                  <a:gd name="T5" fmla="*/ 4 h 29"/>
                  <a:gd name="T6" fmla="*/ 5 w 25"/>
                  <a:gd name="T7" fmla="*/ 9 h 29"/>
                  <a:gd name="T8" fmla="*/ 4 w 25"/>
                  <a:gd name="T9" fmla="*/ 15 h 29"/>
                  <a:gd name="T10" fmla="*/ 3 w 25"/>
                  <a:gd name="T11" fmla="*/ 21 h 29"/>
                  <a:gd name="T12" fmla="*/ 2 w 25"/>
                  <a:gd name="T13" fmla="*/ 29 h 29"/>
                  <a:gd name="T14" fmla="*/ 4 w 25"/>
                  <a:gd name="T15" fmla="*/ 28 h 29"/>
                  <a:gd name="T16" fmla="*/ 19 w 25"/>
                  <a:gd name="T17" fmla="*/ 21 h 29"/>
                  <a:gd name="T18" fmla="*/ 24 w 25"/>
                  <a:gd name="T19" fmla="*/ 15 h 29"/>
                  <a:gd name="T20" fmla="*/ 24 w 25"/>
                  <a:gd name="T21" fmla="*/ 14 h 29"/>
                  <a:gd name="T22" fmla="*/ 25 w 25"/>
                  <a:gd name="T23" fmla="*/ 10 h 29"/>
                  <a:gd name="T24" fmla="*/ 24 w 25"/>
                  <a:gd name="T25" fmla="*/ 8 h 29"/>
                  <a:gd name="T26" fmla="*/ 20 w 25"/>
                  <a:gd name="T27" fmla="*/ 10 h 29"/>
                  <a:gd name="T28" fmla="*/ 13 w 25"/>
                  <a:gd name="T29" fmla="*/ 7 h 29"/>
                  <a:gd name="T30" fmla="*/ 2 w 25"/>
                  <a:gd name="T31"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8">
                    <a:moveTo>
                      <a:pt x="2" y="0"/>
                    </a:moveTo>
                    <a:cubicBezTo>
                      <a:pt x="1" y="1"/>
                      <a:pt x="1" y="2"/>
                      <a:pt x="0" y="3"/>
                    </a:cubicBezTo>
                    <a:cubicBezTo>
                      <a:pt x="1" y="3"/>
                      <a:pt x="1" y="4"/>
                      <a:pt x="1" y="4"/>
                    </a:cubicBezTo>
                    <a:cubicBezTo>
                      <a:pt x="5" y="5"/>
                      <a:pt x="5" y="5"/>
                      <a:pt x="5" y="9"/>
                    </a:cubicBezTo>
                    <a:cubicBezTo>
                      <a:pt x="4" y="11"/>
                      <a:pt x="4" y="13"/>
                      <a:pt x="4" y="15"/>
                    </a:cubicBezTo>
                    <a:cubicBezTo>
                      <a:pt x="4" y="17"/>
                      <a:pt x="3" y="18"/>
                      <a:pt x="3" y="21"/>
                    </a:cubicBezTo>
                    <a:cubicBezTo>
                      <a:pt x="2" y="23"/>
                      <a:pt x="0" y="29"/>
                      <a:pt x="2" y="29"/>
                    </a:cubicBezTo>
                    <a:cubicBezTo>
                      <a:pt x="3" y="29"/>
                      <a:pt x="3" y="29"/>
                      <a:pt x="4" y="28"/>
                    </a:cubicBezTo>
                    <a:cubicBezTo>
                      <a:pt x="9" y="26"/>
                      <a:pt x="15" y="24"/>
                      <a:pt x="19" y="21"/>
                    </a:cubicBezTo>
                    <a:cubicBezTo>
                      <a:pt x="20" y="19"/>
                      <a:pt x="24" y="17"/>
                      <a:pt x="24" y="15"/>
                    </a:cubicBezTo>
                    <a:cubicBezTo>
                      <a:pt x="25" y="14"/>
                      <a:pt x="24" y="14"/>
                      <a:pt x="24" y="14"/>
                    </a:cubicBezTo>
                    <a:cubicBezTo>
                      <a:pt x="24" y="12"/>
                      <a:pt x="25" y="11"/>
                      <a:pt x="25" y="10"/>
                    </a:cubicBezTo>
                    <a:cubicBezTo>
                      <a:pt x="25" y="9"/>
                      <a:pt x="24" y="8"/>
                      <a:pt x="24" y="8"/>
                    </a:cubicBezTo>
                    <a:cubicBezTo>
                      <a:pt x="23" y="8"/>
                      <a:pt x="21" y="9"/>
                      <a:pt x="20" y="10"/>
                    </a:cubicBezTo>
                    <a:cubicBezTo>
                      <a:pt x="18" y="8"/>
                      <a:pt x="15" y="8"/>
                      <a:pt x="13" y="7"/>
                    </a:cubicBezTo>
                    <a:cubicBezTo>
                      <a:pt x="9" y="5"/>
                      <a:pt x="6"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Freeform 74"/>
              <p:cNvSpPr/>
              <p:nvPr/>
            </p:nvSpPr>
            <p:spPr bwMode="auto">
              <a:xfrm>
                <a:off x="8049" y="2720"/>
                <a:ext cx="4"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0" y="1"/>
                      <a:pt x="1" y="2"/>
                      <a:pt x="2" y="2"/>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Freeform 75"/>
              <p:cNvSpPr/>
              <p:nvPr/>
            </p:nvSpPr>
            <p:spPr bwMode="auto">
              <a:xfrm>
                <a:off x="7909" y="3075"/>
                <a:ext cx="19" cy="9"/>
              </a:xfrm>
              <a:custGeom>
                <a:gdLst>
                  <a:gd name="T0" fmla="*/ 7 w 8"/>
                  <a:gd name="T1" fmla="*/ 0 h 4"/>
                  <a:gd name="T2" fmla="*/ 0 w 8"/>
                  <a:gd name="T3" fmla="*/ 4 h 4"/>
                  <a:gd name="T4" fmla="*/ 3 w 8"/>
                  <a:gd name="T5" fmla="*/ 3 h 4"/>
                  <a:gd name="T6" fmla="*/ 3 w 8"/>
                  <a:gd name="T7" fmla="*/ 2 h 4"/>
                  <a:gd name="T8" fmla="*/ 4 w 8"/>
                  <a:gd name="T9" fmla="*/ 2 h 4"/>
                  <a:gd name="T10" fmla="*/ 4 w 8"/>
                  <a:gd name="T11" fmla="*/ 2 h 4"/>
                  <a:gd name="T12" fmla="*/ 5 w 8"/>
                  <a:gd name="T13" fmla="*/ 2 h 4"/>
                  <a:gd name="T14" fmla="*/ 5 w 8"/>
                  <a:gd name="T15" fmla="*/ 1 h 4"/>
                  <a:gd name="T16" fmla="*/ 6 w 8"/>
                  <a:gd name="T17" fmla="*/ 2 h 4"/>
                  <a:gd name="T18" fmla="*/ 7 w 8"/>
                  <a:gd name="T19" fmla="*/ 3 h 4"/>
                  <a:gd name="T20" fmla="*/ 8 w 8"/>
                  <a:gd name="T21" fmla="*/ 1 h 4"/>
                  <a:gd name="T22" fmla="*/ 7 w 8"/>
                  <a:gd name="T23"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4">
                    <a:moveTo>
                      <a:pt x="7" y="0"/>
                    </a:moveTo>
                    <a:cubicBezTo>
                      <a:pt x="5" y="0"/>
                      <a:pt x="1" y="3"/>
                      <a:pt x="0" y="4"/>
                    </a:cubicBezTo>
                    <a:cubicBezTo>
                      <a:pt x="1" y="4"/>
                      <a:pt x="2" y="3"/>
                      <a:pt x="3" y="3"/>
                    </a:cubicBezTo>
                    <a:cubicBezTo>
                      <a:pt x="3" y="2"/>
                      <a:pt x="3" y="2"/>
                      <a:pt x="3" y="2"/>
                    </a:cubicBezTo>
                    <a:cubicBezTo>
                      <a:pt x="4" y="2"/>
                      <a:pt x="4" y="2"/>
                      <a:pt x="4" y="2"/>
                    </a:cubicBezTo>
                    <a:cubicBezTo>
                      <a:pt x="4" y="2"/>
                      <a:pt x="4" y="2"/>
                      <a:pt x="4" y="2"/>
                    </a:cubicBezTo>
                    <a:cubicBezTo>
                      <a:pt x="5" y="2"/>
                      <a:pt x="5" y="2"/>
                      <a:pt x="5" y="2"/>
                    </a:cubicBezTo>
                    <a:cubicBezTo>
                      <a:pt x="5" y="2"/>
                      <a:pt x="5" y="2"/>
                      <a:pt x="5" y="1"/>
                    </a:cubicBezTo>
                    <a:cubicBezTo>
                      <a:pt x="6" y="2"/>
                      <a:pt x="6" y="2"/>
                      <a:pt x="6" y="2"/>
                    </a:cubicBezTo>
                    <a:cubicBezTo>
                      <a:pt x="6" y="2"/>
                      <a:pt x="7" y="2"/>
                      <a:pt x="7" y="3"/>
                    </a:cubicBezTo>
                    <a:cubicBezTo>
                      <a:pt x="7" y="2"/>
                      <a:pt x="8" y="1"/>
                      <a:pt x="8"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76"/>
              <p:cNvSpPr/>
              <p:nvPr/>
            </p:nvSpPr>
            <p:spPr bwMode="auto">
              <a:xfrm>
                <a:off x="7978" y="2430"/>
                <a:ext cx="7" cy="4"/>
              </a:xfrm>
              <a:custGeom>
                <a:gdLst>
                  <a:gd name="T0" fmla="*/ 3 w 3"/>
                  <a:gd name="T1" fmla="*/ 0 h 2"/>
                  <a:gd name="T2" fmla="*/ 0 w 3"/>
                  <a:gd name="T3" fmla="*/ 0 h 2"/>
                  <a:gd name="T4" fmla="*/ 3 w 3"/>
                  <a:gd name="T5" fmla="*/ 2 h 2"/>
                  <a:gd name="T6" fmla="*/ 3 w 3"/>
                  <a:gd name="T7" fmla="*/ 0 h 2"/>
                </a:gdLst>
                <a:cxnLst>
                  <a:cxn ang="0">
                    <a:pos x="T0" y="T1"/>
                  </a:cxn>
                  <a:cxn ang="0">
                    <a:pos x="T2" y="T3"/>
                  </a:cxn>
                  <a:cxn ang="0">
                    <a:pos x="T4" y="T5"/>
                  </a:cxn>
                  <a:cxn ang="0">
                    <a:pos x="T6" y="T7"/>
                  </a:cxn>
                </a:cxnLst>
                <a:rect l="0" t="0" r="r" b="b"/>
                <a:pathLst>
                  <a:path w="3" h="2">
                    <a:moveTo>
                      <a:pt x="3" y="0"/>
                    </a:moveTo>
                    <a:cubicBezTo>
                      <a:pt x="2" y="0"/>
                      <a:pt x="1" y="0"/>
                      <a:pt x="0" y="0"/>
                    </a:cubicBezTo>
                    <a:cubicBezTo>
                      <a:pt x="0" y="1"/>
                      <a:pt x="1" y="2"/>
                      <a:pt x="3" y="2"/>
                    </a:cubicBezTo>
                    <a:cubicBezTo>
                      <a:pt x="3"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77"/>
              <p:cNvSpPr/>
              <p:nvPr/>
            </p:nvSpPr>
            <p:spPr bwMode="auto">
              <a:xfrm>
                <a:off x="8112" y="2784"/>
                <a:ext cx="15" cy="10"/>
              </a:xfrm>
              <a:custGeom>
                <a:gdLst>
                  <a:gd name="T0" fmla="*/ 1 w 6"/>
                  <a:gd name="T1" fmla="*/ 0 h 4"/>
                  <a:gd name="T2" fmla="*/ 0 w 6"/>
                  <a:gd name="T3" fmla="*/ 0 h 4"/>
                  <a:gd name="T4" fmla="*/ 2 w 6"/>
                  <a:gd name="T5" fmla="*/ 4 h 4"/>
                  <a:gd name="T6" fmla="*/ 1 w 6"/>
                  <a:gd name="T7" fmla="*/ 0 h 4"/>
                </a:gdLst>
                <a:cxnLst>
                  <a:cxn ang="0">
                    <a:pos x="T0" y="T1"/>
                  </a:cxn>
                  <a:cxn ang="0">
                    <a:pos x="T2" y="T3"/>
                  </a:cxn>
                  <a:cxn ang="0">
                    <a:pos x="T4" y="T5"/>
                  </a:cxn>
                  <a:cxn ang="0">
                    <a:pos x="T6" y="T7"/>
                  </a:cxn>
                </a:cxnLst>
                <a:rect l="0" t="0" r="r" b="b"/>
                <a:pathLst>
                  <a:path w="6" h="4">
                    <a:moveTo>
                      <a:pt x="1" y="0"/>
                    </a:moveTo>
                    <a:cubicBezTo>
                      <a:pt x="0" y="0"/>
                      <a:pt x="0" y="0"/>
                      <a:pt x="0" y="0"/>
                    </a:cubicBezTo>
                    <a:cubicBezTo>
                      <a:pt x="1" y="1"/>
                      <a:pt x="1" y="3"/>
                      <a:pt x="2" y="4"/>
                    </a:cubicBezTo>
                    <a:cubicBezTo>
                      <a:pt x="6" y="3"/>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78"/>
              <p:cNvSpPr/>
              <p:nvPr/>
            </p:nvSpPr>
            <p:spPr bwMode="auto">
              <a:xfrm>
                <a:off x="7999" y="2699"/>
                <a:ext cx="14" cy="17"/>
              </a:xfrm>
              <a:custGeom>
                <a:gdLst>
                  <a:gd name="T0" fmla="*/ 0 w 6"/>
                  <a:gd name="T1" fmla="*/ 0 h 7"/>
                  <a:gd name="T2" fmla="*/ 0 w 6"/>
                  <a:gd name="T3" fmla="*/ 3 h 7"/>
                  <a:gd name="T4" fmla="*/ 4 w 6"/>
                  <a:gd name="T5" fmla="*/ 7 h 7"/>
                  <a:gd name="T6" fmla="*/ 4 w 6"/>
                  <a:gd name="T7" fmla="*/ 0 h 7"/>
                  <a:gd name="T8" fmla="*/ 0 w 6"/>
                  <a:gd name="T9" fmla="*/ 0 h 7"/>
                </a:gdLst>
                <a:cxnLst>
                  <a:cxn ang="0">
                    <a:pos x="T0" y="T1"/>
                  </a:cxn>
                  <a:cxn ang="0">
                    <a:pos x="T2" y="T3"/>
                  </a:cxn>
                  <a:cxn ang="0">
                    <a:pos x="T4" y="T5"/>
                  </a:cxn>
                  <a:cxn ang="0">
                    <a:pos x="T6" y="T7"/>
                  </a:cxn>
                  <a:cxn ang="0">
                    <a:pos x="T8" y="T9"/>
                  </a:cxn>
                </a:cxnLst>
                <a:rect l="0" t="0" r="r" b="b"/>
                <a:pathLst>
                  <a:path w="6" h="7">
                    <a:moveTo>
                      <a:pt x="0" y="0"/>
                    </a:moveTo>
                    <a:cubicBezTo>
                      <a:pt x="1" y="1"/>
                      <a:pt x="0" y="2"/>
                      <a:pt x="0" y="3"/>
                    </a:cubicBezTo>
                    <a:cubicBezTo>
                      <a:pt x="0" y="5"/>
                      <a:pt x="2" y="6"/>
                      <a:pt x="4" y="7"/>
                    </a:cubicBezTo>
                    <a:cubicBezTo>
                      <a:pt x="5" y="4"/>
                      <a:pt x="6" y="2"/>
                      <a:pt x="4" y="0"/>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Freeform 79"/>
              <p:cNvSpPr/>
              <p:nvPr/>
            </p:nvSpPr>
            <p:spPr bwMode="auto">
              <a:xfrm>
                <a:off x="7909" y="2756"/>
                <a:ext cx="21" cy="16"/>
              </a:xfrm>
              <a:custGeom>
                <a:gdLst>
                  <a:gd name="T0" fmla="*/ 1 w 9"/>
                  <a:gd name="T1" fmla="*/ 0 h 7"/>
                  <a:gd name="T2" fmla="*/ 1 w 9"/>
                  <a:gd name="T3" fmla="*/ 1 h 7"/>
                  <a:gd name="T4" fmla="*/ 0 w 9"/>
                  <a:gd name="T5" fmla="*/ 2 h 7"/>
                  <a:gd name="T6" fmla="*/ 1 w 9"/>
                  <a:gd name="T7" fmla="*/ 2 h 7"/>
                  <a:gd name="T8" fmla="*/ 2 w 9"/>
                  <a:gd name="T9" fmla="*/ 4 h 7"/>
                  <a:gd name="T10" fmla="*/ 5 w 9"/>
                  <a:gd name="T11" fmla="*/ 7 h 7"/>
                  <a:gd name="T12" fmla="*/ 9 w 9"/>
                  <a:gd name="T13" fmla="*/ 4 h 7"/>
                  <a:gd name="T14" fmla="*/ 7 w 9"/>
                  <a:gd name="T15" fmla="*/ 2 h 7"/>
                  <a:gd name="T16" fmla="*/ 7 w 9"/>
                  <a:gd name="T17" fmla="*/ 4 h 7"/>
                  <a:gd name="T18" fmla="*/ 7 w 9"/>
                  <a:gd name="T19" fmla="*/ 4 h 7"/>
                  <a:gd name="T20" fmla="*/ 4 w 9"/>
                  <a:gd name="T21" fmla="*/ 2 h 7"/>
                  <a:gd name="T22" fmla="*/ 1 w 9"/>
                  <a:gd name="T2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7">
                    <a:moveTo>
                      <a:pt x="1" y="0"/>
                    </a:moveTo>
                    <a:cubicBezTo>
                      <a:pt x="1" y="0"/>
                      <a:pt x="1" y="0"/>
                      <a:pt x="1" y="1"/>
                    </a:cubicBezTo>
                    <a:cubicBezTo>
                      <a:pt x="0" y="1"/>
                      <a:pt x="0" y="2"/>
                      <a:pt x="0" y="2"/>
                    </a:cubicBezTo>
                    <a:cubicBezTo>
                      <a:pt x="0" y="2"/>
                      <a:pt x="1" y="2"/>
                      <a:pt x="1" y="2"/>
                    </a:cubicBezTo>
                    <a:cubicBezTo>
                      <a:pt x="1" y="2"/>
                      <a:pt x="1" y="4"/>
                      <a:pt x="2" y="4"/>
                    </a:cubicBezTo>
                    <a:cubicBezTo>
                      <a:pt x="2" y="5"/>
                      <a:pt x="3" y="6"/>
                      <a:pt x="5" y="7"/>
                    </a:cubicBezTo>
                    <a:cubicBezTo>
                      <a:pt x="6" y="6"/>
                      <a:pt x="8" y="5"/>
                      <a:pt x="9" y="4"/>
                    </a:cubicBezTo>
                    <a:cubicBezTo>
                      <a:pt x="8" y="3"/>
                      <a:pt x="8" y="2"/>
                      <a:pt x="7" y="2"/>
                    </a:cubicBezTo>
                    <a:cubicBezTo>
                      <a:pt x="7" y="2"/>
                      <a:pt x="7" y="3"/>
                      <a:pt x="7" y="4"/>
                    </a:cubicBezTo>
                    <a:cubicBezTo>
                      <a:pt x="7" y="4"/>
                      <a:pt x="7" y="4"/>
                      <a:pt x="7" y="4"/>
                    </a:cubicBezTo>
                    <a:cubicBezTo>
                      <a:pt x="7" y="4"/>
                      <a:pt x="5" y="3"/>
                      <a:pt x="4" y="2"/>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80"/>
              <p:cNvSpPr/>
              <p:nvPr/>
            </p:nvSpPr>
            <p:spPr bwMode="auto">
              <a:xfrm>
                <a:off x="8162" y="2841"/>
                <a:ext cx="7" cy="24"/>
              </a:xfrm>
              <a:custGeom>
                <a:gdLst>
                  <a:gd name="T0" fmla="*/ 3 w 3"/>
                  <a:gd name="T1" fmla="*/ 0 h 10"/>
                  <a:gd name="T2" fmla="*/ 1 w 3"/>
                  <a:gd name="T3" fmla="*/ 5 h 10"/>
                  <a:gd name="T4" fmla="*/ 1 w 3"/>
                  <a:gd name="T5" fmla="*/ 7 h 10"/>
                  <a:gd name="T6" fmla="*/ 2 w 3"/>
                  <a:gd name="T7" fmla="*/ 9 h 10"/>
                  <a:gd name="T8" fmla="*/ 3 w 3"/>
                  <a:gd name="T9" fmla="*/ 9 h 10"/>
                  <a:gd name="T10" fmla="*/ 2 w 3"/>
                  <a:gd name="T11" fmla="*/ 9 h 10"/>
                  <a:gd name="T12" fmla="*/ 3 w 3"/>
                  <a:gd name="T13" fmla="*/ 10 h 10"/>
                  <a:gd name="T14" fmla="*/ 3 w 3"/>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3" y="0"/>
                    </a:moveTo>
                    <a:cubicBezTo>
                      <a:pt x="2" y="2"/>
                      <a:pt x="1" y="2"/>
                      <a:pt x="1" y="5"/>
                    </a:cubicBezTo>
                    <a:cubicBezTo>
                      <a:pt x="1" y="6"/>
                      <a:pt x="0" y="6"/>
                      <a:pt x="1" y="7"/>
                    </a:cubicBezTo>
                    <a:cubicBezTo>
                      <a:pt x="1" y="8"/>
                      <a:pt x="3" y="7"/>
                      <a:pt x="2" y="9"/>
                    </a:cubicBezTo>
                    <a:cubicBezTo>
                      <a:pt x="3" y="9"/>
                      <a:pt x="3" y="9"/>
                      <a:pt x="3" y="9"/>
                    </a:cubicBezTo>
                    <a:cubicBezTo>
                      <a:pt x="2" y="9"/>
                      <a:pt x="2" y="9"/>
                      <a:pt x="2" y="9"/>
                    </a:cubicBezTo>
                    <a:cubicBezTo>
                      <a:pt x="3" y="10"/>
                      <a:pt x="3" y="10"/>
                      <a:pt x="3" y="10"/>
                    </a:cubicBezTo>
                    <a:cubicBezTo>
                      <a:pt x="3" y="6"/>
                      <a:pt x="3"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81"/>
              <p:cNvSpPr/>
              <p:nvPr/>
            </p:nvSpPr>
            <p:spPr bwMode="auto">
              <a:xfrm>
                <a:off x="7930" y="2701"/>
                <a:ext cx="57" cy="60"/>
              </a:xfrm>
              <a:custGeom>
                <a:gdLst>
                  <a:gd name="T0" fmla="*/ 2 w 24"/>
                  <a:gd name="T1" fmla="*/ 0 h 25"/>
                  <a:gd name="T2" fmla="*/ 0 w 24"/>
                  <a:gd name="T3" fmla="*/ 1 h 25"/>
                  <a:gd name="T4" fmla="*/ 8 w 24"/>
                  <a:gd name="T5" fmla="*/ 12 h 25"/>
                  <a:gd name="T6" fmla="*/ 18 w 24"/>
                  <a:gd name="T7" fmla="*/ 25 h 25"/>
                  <a:gd name="T8" fmla="*/ 20 w 24"/>
                  <a:gd name="T9" fmla="*/ 23 h 25"/>
                  <a:gd name="T10" fmla="*/ 20 w 24"/>
                  <a:gd name="T11" fmla="*/ 23 h 25"/>
                  <a:gd name="T12" fmla="*/ 21 w 24"/>
                  <a:gd name="T13" fmla="*/ 22 h 25"/>
                  <a:gd name="T14" fmla="*/ 21 w 24"/>
                  <a:gd name="T15" fmla="*/ 22 h 25"/>
                  <a:gd name="T16" fmla="*/ 22 w 24"/>
                  <a:gd name="T17" fmla="*/ 19 h 25"/>
                  <a:gd name="T18" fmla="*/ 23 w 24"/>
                  <a:gd name="T19" fmla="*/ 13 h 25"/>
                  <a:gd name="T20" fmla="*/ 22 w 24"/>
                  <a:gd name="T21" fmla="*/ 9 h 25"/>
                  <a:gd name="T22" fmla="*/ 24 w 24"/>
                  <a:gd name="T23" fmla="*/ 8 h 25"/>
                  <a:gd name="T24" fmla="*/ 19 w 24"/>
                  <a:gd name="T25" fmla="*/ 5 h 25"/>
                  <a:gd name="T26" fmla="*/ 11 w 24"/>
                  <a:gd name="T27" fmla="*/ 0 h 25"/>
                  <a:gd name="T28" fmla="*/ 8 w 24"/>
                  <a:gd name="T29" fmla="*/ 0 h 25"/>
                  <a:gd name="T30" fmla="*/ 7 w 24"/>
                  <a:gd name="T31" fmla="*/ 0 h 25"/>
                  <a:gd name="T32" fmla="*/ 4 w 24"/>
                  <a:gd name="T33" fmla="*/ 0 h 25"/>
                  <a:gd name="T34" fmla="*/ 2 w 24"/>
                  <a:gd name="T35"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5">
                    <a:moveTo>
                      <a:pt x="2" y="0"/>
                    </a:moveTo>
                    <a:cubicBezTo>
                      <a:pt x="1" y="0"/>
                      <a:pt x="0" y="0"/>
                      <a:pt x="0" y="1"/>
                    </a:cubicBezTo>
                    <a:cubicBezTo>
                      <a:pt x="5" y="2"/>
                      <a:pt x="7" y="8"/>
                      <a:pt x="8" y="12"/>
                    </a:cubicBezTo>
                    <a:cubicBezTo>
                      <a:pt x="10" y="18"/>
                      <a:pt x="14" y="21"/>
                      <a:pt x="18" y="25"/>
                    </a:cubicBezTo>
                    <a:cubicBezTo>
                      <a:pt x="19" y="24"/>
                      <a:pt x="19" y="23"/>
                      <a:pt x="20" y="23"/>
                    </a:cubicBezTo>
                    <a:cubicBezTo>
                      <a:pt x="20" y="23"/>
                      <a:pt x="20" y="23"/>
                      <a:pt x="20" y="23"/>
                    </a:cubicBezTo>
                    <a:cubicBezTo>
                      <a:pt x="20" y="23"/>
                      <a:pt x="20" y="22"/>
                      <a:pt x="21" y="22"/>
                    </a:cubicBezTo>
                    <a:cubicBezTo>
                      <a:pt x="21" y="22"/>
                      <a:pt x="21" y="22"/>
                      <a:pt x="21" y="22"/>
                    </a:cubicBezTo>
                    <a:cubicBezTo>
                      <a:pt x="21" y="20"/>
                      <a:pt x="22" y="20"/>
                      <a:pt x="22" y="19"/>
                    </a:cubicBezTo>
                    <a:cubicBezTo>
                      <a:pt x="24" y="16"/>
                      <a:pt x="23" y="16"/>
                      <a:pt x="23" y="13"/>
                    </a:cubicBezTo>
                    <a:cubicBezTo>
                      <a:pt x="22" y="12"/>
                      <a:pt x="22" y="10"/>
                      <a:pt x="22" y="9"/>
                    </a:cubicBezTo>
                    <a:cubicBezTo>
                      <a:pt x="22" y="9"/>
                      <a:pt x="24" y="8"/>
                      <a:pt x="24" y="8"/>
                    </a:cubicBezTo>
                    <a:cubicBezTo>
                      <a:pt x="23" y="7"/>
                      <a:pt x="20" y="6"/>
                      <a:pt x="19" y="5"/>
                    </a:cubicBezTo>
                    <a:cubicBezTo>
                      <a:pt x="17" y="3"/>
                      <a:pt x="14" y="2"/>
                      <a:pt x="11" y="0"/>
                    </a:cubicBezTo>
                    <a:cubicBezTo>
                      <a:pt x="11" y="0"/>
                      <a:pt x="9" y="0"/>
                      <a:pt x="8" y="0"/>
                    </a:cubicBezTo>
                    <a:cubicBezTo>
                      <a:pt x="7" y="0"/>
                      <a:pt x="7" y="0"/>
                      <a:pt x="7" y="0"/>
                    </a:cubicBezTo>
                    <a:cubicBezTo>
                      <a:pt x="6" y="0"/>
                      <a:pt x="5" y="0"/>
                      <a:pt x="4"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5" name="Freeform 82"/>
              <p:cNvSpPr/>
              <p:nvPr/>
            </p:nvSpPr>
            <p:spPr bwMode="auto">
              <a:xfrm>
                <a:off x="7999" y="2739"/>
                <a:ext cx="14" cy="26"/>
              </a:xfrm>
              <a:custGeom>
                <a:gdLst>
                  <a:gd name="T0" fmla="*/ 5 w 6"/>
                  <a:gd name="T1" fmla="*/ 0 h 11"/>
                  <a:gd name="T2" fmla="*/ 5 w 6"/>
                  <a:gd name="T3" fmla="*/ 0 h 11"/>
                  <a:gd name="T4" fmla="*/ 3 w 6"/>
                  <a:gd name="T5" fmla="*/ 11 h 11"/>
                  <a:gd name="T6" fmla="*/ 6 w 6"/>
                  <a:gd name="T7" fmla="*/ 2 h 11"/>
                  <a:gd name="T8" fmla="*/ 5 w 6"/>
                  <a:gd name="T9" fmla="*/ 0 h 11"/>
                </a:gdLst>
                <a:cxnLst>
                  <a:cxn ang="0">
                    <a:pos x="T0" y="T1"/>
                  </a:cxn>
                  <a:cxn ang="0">
                    <a:pos x="T2" y="T3"/>
                  </a:cxn>
                  <a:cxn ang="0">
                    <a:pos x="T4" y="T5"/>
                  </a:cxn>
                  <a:cxn ang="0">
                    <a:pos x="T6" y="T7"/>
                  </a:cxn>
                  <a:cxn ang="0">
                    <a:pos x="T8" y="T9"/>
                  </a:cxn>
                </a:cxnLst>
                <a:rect l="0" t="0" r="r" b="b"/>
                <a:pathLst>
                  <a:path w="6" h="11">
                    <a:moveTo>
                      <a:pt x="5" y="0"/>
                    </a:moveTo>
                    <a:cubicBezTo>
                      <a:pt x="5" y="0"/>
                      <a:pt x="5" y="0"/>
                      <a:pt x="5" y="0"/>
                    </a:cubicBezTo>
                    <a:cubicBezTo>
                      <a:pt x="0" y="2"/>
                      <a:pt x="2" y="8"/>
                      <a:pt x="3" y="11"/>
                    </a:cubicBezTo>
                    <a:cubicBezTo>
                      <a:pt x="5" y="10"/>
                      <a:pt x="5" y="4"/>
                      <a:pt x="6" y="2"/>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83"/>
              <p:cNvSpPr/>
              <p:nvPr/>
            </p:nvSpPr>
            <p:spPr bwMode="auto">
              <a:xfrm>
                <a:off x="8096" y="2675"/>
                <a:ext cx="21" cy="26"/>
              </a:xfrm>
              <a:custGeom>
                <a:gdLst>
                  <a:gd name="T0" fmla="*/ 4 w 9"/>
                  <a:gd name="T1" fmla="*/ 0 h 11"/>
                  <a:gd name="T2" fmla="*/ 3 w 9"/>
                  <a:gd name="T3" fmla="*/ 4 h 11"/>
                  <a:gd name="T4" fmla="*/ 1 w 9"/>
                  <a:gd name="T5" fmla="*/ 8 h 11"/>
                  <a:gd name="T6" fmla="*/ 4 w 9"/>
                  <a:gd name="T7" fmla="*/ 11 h 11"/>
                  <a:gd name="T8" fmla="*/ 8 w 9"/>
                  <a:gd name="T9" fmla="*/ 3 h 11"/>
                  <a:gd name="T10" fmla="*/ 7 w 9"/>
                  <a:gd name="T11" fmla="*/ 3 h 11"/>
                  <a:gd name="T12" fmla="*/ 6 w 9"/>
                  <a:gd name="T13" fmla="*/ 3 h 11"/>
                  <a:gd name="T14" fmla="*/ 4 w 9"/>
                  <a:gd name="T15" fmla="*/ 0 h 1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4" y="0"/>
                    </a:moveTo>
                    <a:cubicBezTo>
                      <a:pt x="3" y="0"/>
                      <a:pt x="3" y="1"/>
                      <a:pt x="3" y="4"/>
                    </a:cubicBezTo>
                    <a:cubicBezTo>
                      <a:pt x="3" y="6"/>
                      <a:pt x="2" y="6"/>
                      <a:pt x="1" y="8"/>
                    </a:cubicBezTo>
                    <a:cubicBezTo>
                      <a:pt x="0" y="9"/>
                      <a:pt x="3" y="10"/>
                      <a:pt x="4" y="11"/>
                    </a:cubicBezTo>
                    <a:cubicBezTo>
                      <a:pt x="5" y="9"/>
                      <a:pt x="9" y="6"/>
                      <a:pt x="8" y="3"/>
                    </a:cubicBezTo>
                    <a:cubicBezTo>
                      <a:pt x="8" y="3"/>
                      <a:pt x="7" y="3"/>
                      <a:pt x="7" y="3"/>
                    </a:cubicBezTo>
                    <a:cubicBezTo>
                      <a:pt x="7" y="3"/>
                      <a:pt x="6" y="3"/>
                      <a:pt x="6" y="3"/>
                    </a:cubicBezTo>
                    <a:cubicBezTo>
                      <a:pt x="5"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Freeform 84"/>
              <p:cNvSpPr/>
              <p:nvPr/>
            </p:nvSpPr>
            <p:spPr bwMode="auto">
              <a:xfrm>
                <a:off x="7956" y="3040"/>
                <a:ext cx="26" cy="9"/>
              </a:xfrm>
              <a:custGeom>
                <a:gdLst>
                  <a:gd name="T0" fmla="*/ 3 w 11"/>
                  <a:gd name="T1" fmla="*/ 0 h 4"/>
                  <a:gd name="T2" fmla="*/ 1 w 11"/>
                  <a:gd name="T3" fmla="*/ 1 h 4"/>
                  <a:gd name="T4" fmla="*/ 0 w 11"/>
                  <a:gd name="T5" fmla="*/ 1 h 4"/>
                  <a:gd name="T6" fmla="*/ 7 w 11"/>
                  <a:gd name="T7" fmla="*/ 4 h 4"/>
                  <a:gd name="T8" fmla="*/ 8 w 11"/>
                  <a:gd name="T9" fmla="*/ 1 h 4"/>
                  <a:gd name="T10" fmla="*/ 8 w 11"/>
                  <a:gd name="T11" fmla="*/ 1 h 4"/>
                  <a:gd name="T12" fmla="*/ 7 w 11"/>
                  <a:gd name="T13" fmla="*/ 1 h 4"/>
                  <a:gd name="T14" fmla="*/ 6 w 11"/>
                  <a:gd name="T15" fmla="*/ 1 h 4"/>
                  <a:gd name="T16" fmla="*/ 6 w 11"/>
                  <a:gd name="T17" fmla="*/ 1 h 4"/>
                  <a:gd name="T18" fmla="*/ 5 w 11"/>
                  <a:gd name="T19" fmla="*/ 0 h 4"/>
                  <a:gd name="T20" fmla="*/ 3 w 11"/>
                  <a:gd name="T21"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4">
                    <a:moveTo>
                      <a:pt x="3" y="0"/>
                    </a:moveTo>
                    <a:cubicBezTo>
                      <a:pt x="3" y="0"/>
                      <a:pt x="2" y="0"/>
                      <a:pt x="1" y="1"/>
                    </a:cubicBezTo>
                    <a:cubicBezTo>
                      <a:pt x="1" y="1"/>
                      <a:pt x="0" y="1"/>
                      <a:pt x="0" y="1"/>
                    </a:cubicBezTo>
                    <a:cubicBezTo>
                      <a:pt x="0" y="3"/>
                      <a:pt x="6" y="4"/>
                      <a:pt x="7" y="4"/>
                    </a:cubicBezTo>
                    <a:cubicBezTo>
                      <a:pt x="10" y="3"/>
                      <a:pt x="11" y="2"/>
                      <a:pt x="8" y="1"/>
                    </a:cubicBezTo>
                    <a:cubicBezTo>
                      <a:pt x="8" y="1"/>
                      <a:pt x="8" y="1"/>
                      <a:pt x="8" y="1"/>
                    </a:cubicBezTo>
                    <a:cubicBezTo>
                      <a:pt x="8" y="1"/>
                      <a:pt x="7" y="1"/>
                      <a:pt x="7" y="1"/>
                    </a:cubicBezTo>
                    <a:cubicBezTo>
                      <a:pt x="7" y="1"/>
                      <a:pt x="6" y="1"/>
                      <a:pt x="6" y="1"/>
                    </a:cubicBezTo>
                    <a:cubicBezTo>
                      <a:pt x="6" y="1"/>
                      <a:pt x="6" y="1"/>
                      <a:pt x="6" y="1"/>
                    </a:cubicBezTo>
                    <a:cubicBezTo>
                      <a:pt x="6" y="1"/>
                      <a:pt x="6" y="0"/>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85"/>
              <p:cNvSpPr/>
              <p:nvPr/>
            </p:nvSpPr>
            <p:spPr bwMode="auto">
              <a:xfrm>
                <a:off x="8568" y="2966"/>
                <a:ext cx="8" cy="14"/>
              </a:xfrm>
              <a:custGeom>
                <a:gdLst>
                  <a:gd name="T0" fmla="*/ 3 w 3"/>
                  <a:gd name="T1" fmla="*/ 0 h 6"/>
                  <a:gd name="T2" fmla="*/ 3 w 3"/>
                  <a:gd name="T3" fmla="*/ 0 h 6"/>
                  <a:gd name="T4" fmla="*/ 2 w 3"/>
                  <a:gd name="T5" fmla="*/ 1 h 6"/>
                  <a:gd name="T6" fmla="*/ 0 w 3"/>
                  <a:gd name="T7" fmla="*/ 5 h 6"/>
                  <a:gd name="T8" fmla="*/ 1 w 3"/>
                  <a:gd name="T9" fmla="*/ 6 h 6"/>
                  <a:gd name="T10" fmla="*/ 1 w 3"/>
                  <a:gd name="T11" fmla="*/ 6 h 6"/>
                  <a:gd name="T12" fmla="*/ 3 w 3"/>
                  <a:gd name="T13" fmla="*/ 2 h 6"/>
                  <a:gd name="T14" fmla="*/ 3 w 3"/>
                  <a:gd name="T15" fmla="*/ 0 h 6"/>
                  <a:gd name="T16" fmla="*/ 3 w 3"/>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3" y="0"/>
                    </a:moveTo>
                    <a:cubicBezTo>
                      <a:pt x="3" y="0"/>
                      <a:pt x="3" y="0"/>
                      <a:pt x="3" y="0"/>
                    </a:cubicBezTo>
                    <a:cubicBezTo>
                      <a:pt x="3" y="0"/>
                      <a:pt x="2" y="1"/>
                      <a:pt x="2" y="1"/>
                    </a:cubicBezTo>
                    <a:cubicBezTo>
                      <a:pt x="1" y="2"/>
                      <a:pt x="0" y="4"/>
                      <a:pt x="0" y="5"/>
                    </a:cubicBezTo>
                    <a:cubicBezTo>
                      <a:pt x="0" y="5"/>
                      <a:pt x="1" y="6"/>
                      <a:pt x="1" y="6"/>
                    </a:cubicBezTo>
                    <a:cubicBezTo>
                      <a:pt x="1" y="6"/>
                      <a:pt x="1" y="6"/>
                      <a:pt x="1" y="6"/>
                    </a:cubicBezTo>
                    <a:cubicBezTo>
                      <a:pt x="2" y="5"/>
                      <a:pt x="3" y="3"/>
                      <a:pt x="3" y="2"/>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86"/>
              <p:cNvSpPr/>
              <p:nvPr/>
            </p:nvSpPr>
            <p:spPr bwMode="auto">
              <a:xfrm>
                <a:off x="8564" y="2983"/>
                <a:ext cx="2" cy="5"/>
              </a:xfrm>
              <a:custGeom>
                <a:gdLst>
                  <a:gd name="T0" fmla="*/ 1 w 1"/>
                  <a:gd name="T1" fmla="*/ 0 h 2"/>
                  <a:gd name="T2" fmla="*/ 1 w 1"/>
                  <a:gd name="T3" fmla="*/ 1 h 2"/>
                  <a:gd name="T4" fmla="*/ 0 w 1"/>
                  <a:gd name="T5" fmla="*/ 2 h 2"/>
                  <a:gd name="T6" fmla="*/ 1 w 1"/>
                  <a:gd name="T7" fmla="*/ 1 h 2"/>
                  <a:gd name="T8" fmla="*/ 1 w 1"/>
                  <a:gd name="T9" fmla="*/ 0 h 2"/>
                </a:gdLst>
                <a:cxnLst>
                  <a:cxn ang="0">
                    <a:pos x="T0" y="T1"/>
                  </a:cxn>
                  <a:cxn ang="0">
                    <a:pos x="T2" y="T3"/>
                  </a:cxn>
                  <a:cxn ang="0">
                    <a:pos x="T4" y="T5"/>
                  </a:cxn>
                  <a:cxn ang="0">
                    <a:pos x="T6" y="T7"/>
                  </a:cxn>
                  <a:cxn ang="0">
                    <a:pos x="T8" y="T9"/>
                  </a:cxn>
                </a:cxnLst>
                <a:rect l="0" t="0" r="r" b="b"/>
                <a:pathLst>
                  <a:path w="1" h="2">
                    <a:moveTo>
                      <a:pt x="1" y="0"/>
                    </a:moveTo>
                    <a:cubicBezTo>
                      <a:pt x="1" y="1"/>
                      <a:pt x="1" y="1"/>
                      <a:pt x="1" y="1"/>
                    </a:cubicBezTo>
                    <a:cubicBezTo>
                      <a:pt x="0" y="1"/>
                      <a:pt x="0" y="1"/>
                      <a:pt x="0" y="2"/>
                    </a:cubicBezTo>
                    <a:cubicBezTo>
                      <a:pt x="0" y="2"/>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87"/>
              <p:cNvSpPr/>
              <p:nvPr/>
            </p:nvSpPr>
            <p:spPr bwMode="auto">
              <a:xfrm>
                <a:off x="3665" y="-606"/>
                <a:ext cx="24" cy="19"/>
              </a:xfrm>
              <a:custGeom>
                <a:gdLst>
                  <a:gd name="T0" fmla="*/ 3 w 10"/>
                  <a:gd name="T1" fmla="*/ 0 h 8"/>
                  <a:gd name="T2" fmla="*/ 2 w 10"/>
                  <a:gd name="T3" fmla="*/ 0 h 8"/>
                  <a:gd name="T4" fmla="*/ 1 w 10"/>
                  <a:gd name="T5" fmla="*/ 1 h 8"/>
                  <a:gd name="T6" fmla="*/ 3 w 10"/>
                  <a:gd name="T7" fmla="*/ 4 h 8"/>
                  <a:gd name="T8" fmla="*/ 3 w 10"/>
                  <a:gd name="T9" fmla="*/ 4 h 8"/>
                  <a:gd name="T10" fmla="*/ 1 w 10"/>
                  <a:gd name="T11" fmla="*/ 4 h 8"/>
                  <a:gd name="T12" fmla="*/ 0 w 10"/>
                  <a:gd name="T13" fmla="*/ 4 h 8"/>
                  <a:gd name="T14" fmla="*/ 0 w 10"/>
                  <a:gd name="T15" fmla="*/ 8 h 8"/>
                  <a:gd name="T16" fmla="*/ 0 w 10"/>
                  <a:gd name="T17" fmla="*/ 8 h 8"/>
                  <a:gd name="T18" fmla="*/ 1 w 10"/>
                  <a:gd name="T19" fmla="*/ 8 h 8"/>
                  <a:gd name="T20" fmla="*/ 10 w 10"/>
                  <a:gd name="T21" fmla="*/ 6 h 8"/>
                  <a:gd name="T22" fmla="*/ 9 w 10"/>
                  <a:gd name="T23" fmla="*/ 6 h 8"/>
                  <a:gd name="T24" fmla="*/ 9 w 10"/>
                  <a:gd name="T25" fmla="*/ 2 h 8"/>
                  <a:gd name="T26" fmla="*/ 7 w 10"/>
                  <a:gd name="T27" fmla="*/ 2 h 8"/>
                  <a:gd name="T28" fmla="*/ 3 w 10"/>
                  <a:gd name="T2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8">
                    <a:moveTo>
                      <a:pt x="3" y="0"/>
                    </a:moveTo>
                    <a:cubicBezTo>
                      <a:pt x="3" y="0"/>
                      <a:pt x="3" y="0"/>
                      <a:pt x="2" y="0"/>
                    </a:cubicBezTo>
                    <a:cubicBezTo>
                      <a:pt x="2" y="0"/>
                      <a:pt x="1" y="1"/>
                      <a:pt x="1" y="1"/>
                    </a:cubicBezTo>
                    <a:cubicBezTo>
                      <a:pt x="1" y="2"/>
                      <a:pt x="2" y="3"/>
                      <a:pt x="3" y="4"/>
                    </a:cubicBezTo>
                    <a:cubicBezTo>
                      <a:pt x="3" y="4"/>
                      <a:pt x="3" y="4"/>
                      <a:pt x="3" y="4"/>
                    </a:cubicBezTo>
                    <a:cubicBezTo>
                      <a:pt x="2" y="4"/>
                      <a:pt x="1" y="4"/>
                      <a:pt x="1" y="4"/>
                    </a:cubicBezTo>
                    <a:cubicBezTo>
                      <a:pt x="1" y="4"/>
                      <a:pt x="0" y="4"/>
                      <a:pt x="0" y="4"/>
                    </a:cubicBezTo>
                    <a:cubicBezTo>
                      <a:pt x="0" y="8"/>
                      <a:pt x="0" y="8"/>
                      <a:pt x="0" y="8"/>
                    </a:cubicBezTo>
                    <a:cubicBezTo>
                      <a:pt x="0" y="8"/>
                      <a:pt x="0" y="8"/>
                      <a:pt x="0" y="8"/>
                    </a:cubicBezTo>
                    <a:cubicBezTo>
                      <a:pt x="1" y="8"/>
                      <a:pt x="1" y="8"/>
                      <a:pt x="1" y="8"/>
                    </a:cubicBezTo>
                    <a:cubicBezTo>
                      <a:pt x="4" y="7"/>
                      <a:pt x="7" y="7"/>
                      <a:pt x="10" y="6"/>
                    </a:cubicBezTo>
                    <a:cubicBezTo>
                      <a:pt x="10" y="6"/>
                      <a:pt x="9" y="6"/>
                      <a:pt x="9" y="6"/>
                    </a:cubicBezTo>
                    <a:cubicBezTo>
                      <a:pt x="8" y="6"/>
                      <a:pt x="10" y="3"/>
                      <a:pt x="9" y="2"/>
                    </a:cubicBezTo>
                    <a:cubicBezTo>
                      <a:pt x="7" y="2"/>
                      <a:pt x="7" y="2"/>
                      <a:pt x="7" y="2"/>
                    </a:cubicBezTo>
                    <a:cubicBezTo>
                      <a:pt x="5"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88"/>
              <p:cNvSpPr/>
              <p:nvPr/>
            </p:nvSpPr>
            <p:spPr bwMode="auto">
              <a:xfrm>
                <a:off x="7006" y="3030"/>
                <a:ext cx="3" cy="5"/>
              </a:xfrm>
              <a:custGeom>
                <a:gdLst>
                  <a:gd name="T0" fmla="*/ 1 w 1"/>
                  <a:gd name="T1" fmla="*/ 0 h 2"/>
                  <a:gd name="T2" fmla="*/ 0 w 1"/>
                  <a:gd name="T3" fmla="*/ 2 h 2"/>
                  <a:gd name="T4" fmla="*/ 0 w 1"/>
                  <a:gd name="T5" fmla="*/ 2 h 2"/>
                  <a:gd name="T6" fmla="*/ 1 w 1"/>
                  <a:gd name="T7" fmla="*/ 0 h 2"/>
                </a:gdLst>
                <a:cxnLst>
                  <a:cxn ang="0">
                    <a:pos x="T0" y="T1"/>
                  </a:cxn>
                  <a:cxn ang="0">
                    <a:pos x="T2" y="T3"/>
                  </a:cxn>
                  <a:cxn ang="0">
                    <a:pos x="T4" y="T5"/>
                  </a:cxn>
                  <a:cxn ang="0">
                    <a:pos x="T6" y="T7"/>
                  </a:cxn>
                </a:cxnLst>
                <a:rect l="0" t="0" r="r" b="b"/>
                <a:pathLst>
                  <a:path w="1" h="2">
                    <a:moveTo>
                      <a:pt x="1" y="0"/>
                    </a:moveTo>
                    <a:cubicBezTo>
                      <a:pt x="1" y="1"/>
                      <a:pt x="0" y="1"/>
                      <a:pt x="0" y="2"/>
                    </a:cubicBezTo>
                    <a:cubicBezTo>
                      <a:pt x="0" y="2"/>
                      <a:pt x="0" y="2"/>
                      <a:pt x="0" y="2"/>
                    </a:cubicBezTo>
                    <a:cubicBezTo>
                      <a:pt x="0"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89"/>
              <p:cNvSpPr/>
              <p:nvPr/>
            </p:nvSpPr>
            <p:spPr bwMode="auto">
              <a:xfrm>
                <a:off x="7855" y="3110"/>
                <a:ext cx="4" cy="3"/>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1" y="0"/>
                      <a:pt x="1" y="0"/>
                      <a:pt x="2" y="1"/>
                    </a:cubicBezTo>
                    <a:cubicBezTo>
                      <a:pt x="2" y="1"/>
                      <a:pt x="2" y="1"/>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90"/>
              <p:cNvSpPr/>
              <p:nvPr/>
            </p:nvSpPr>
            <p:spPr bwMode="auto">
              <a:xfrm>
                <a:off x="7699" y="3070"/>
                <a:ext cx="5" cy="5"/>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1"/>
                      <a:pt x="0" y="1"/>
                      <a:pt x="0" y="2"/>
                    </a:cubicBezTo>
                    <a:cubicBezTo>
                      <a:pt x="1"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Freeform 91"/>
              <p:cNvSpPr/>
              <p:nvPr/>
            </p:nvSpPr>
            <p:spPr bwMode="auto">
              <a:xfrm>
                <a:off x="6999" y="3021"/>
                <a:ext cx="15" cy="9"/>
              </a:xfrm>
              <a:custGeom>
                <a:gdLst>
                  <a:gd name="T0" fmla="*/ 4 w 6"/>
                  <a:gd name="T1" fmla="*/ 0 h 4"/>
                  <a:gd name="T2" fmla="*/ 2 w 6"/>
                  <a:gd name="T3" fmla="*/ 1 h 4"/>
                  <a:gd name="T4" fmla="*/ 0 w 6"/>
                  <a:gd name="T5" fmla="*/ 1 h 4"/>
                  <a:gd name="T6" fmla="*/ 3 w 6"/>
                  <a:gd name="T7" fmla="*/ 4 h 4"/>
                  <a:gd name="T8" fmla="*/ 4 w 6"/>
                  <a:gd name="T9" fmla="*/ 0 h 4"/>
                </a:gdLst>
                <a:cxnLst>
                  <a:cxn ang="0">
                    <a:pos x="T0" y="T1"/>
                  </a:cxn>
                  <a:cxn ang="0">
                    <a:pos x="T2" y="T3"/>
                  </a:cxn>
                  <a:cxn ang="0">
                    <a:pos x="T4" y="T5"/>
                  </a:cxn>
                  <a:cxn ang="0">
                    <a:pos x="T6" y="T7"/>
                  </a:cxn>
                  <a:cxn ang="0">
                    <a:pos x="T8" y="T9"/>
                  </a:cxn>
                </a:cxnLst>
                <a:rect l="0" t="0" r="r" b="b"/>
                <a:pathLst>
                  <a:path w="6" h="4">
                    <a:moveTo>
                      <a:pt x="4" y="0"/>
                    </a:moveTo>
                    <a:cubicBezTo>
                      <a:pt x="3" y="1"/>
                      <a:pt x="2" y="1"/>
                      <a:pt x="2" y="1"/>
                    </a:cubicBezTo>
                    <a:cubicBezTo>
                      <a:pt x="1" y="1"/>
                      <a:pt x="1" y="1"/>
                      <a:pt x="0" y="1"/>
                    </a:cubicBezTo>
                    <a:cubicBezTo>
                      <a:pt x="0" y="3"/>
                      <a:pt x="2" y="4"/>
                      <a:pt x="3" y="4"/>
                    </a:cubicBezTo>
                    <a:cubicBezTo>
                      <a:pt x="4"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92"/>
              <p:cNvSpPr/>
              <p:nvPr/>
            </p:nvSpPr>
            <p:spPr bwMode="auto">
              <a:xfrm>
                <a:off x="7796" y="3011"/>
                <a:ext cx="9" cy="3"/>
              </a:xfrm>
              <a:custGeom>
                <a:gdLst>
                  <a:gd name="T0" fmla="*/ 3 w 4"/>
                  <a:gd name="T1" fmla="*/ 0 h 1"/>
                  <a:gd name="T2" fmla="*/ 0 w 4"/>
                  <a:gd name="T3" fmla="*/ 0 h 1"/>
                  <a:gd name="T4" fmla="*/ 2 w 4"/>
                  <a:gd name="T5" fmla="*/ 1 h 1"/>
                  <a:gd name="T6" fmla="*/ 4 w 4"/>
                  <a:gd name="T7" fmla="*/ 0 h 1"/>
                  <a:gd name="T8" fmla="*/ 3 w 4"/>
                  <a:gd name="T9" fmla="*/ 0 h 1"/>
                </a:gdLst>
                <a:cxnLst>
                  <a:cxn ang="0">
                    <a:pos x="T0" y="T1"/>
                  </a:cxn>
                  <a:cxn ang="0">
                    <a:pos x="T2" y="T3"/>
                  </a:cxn>
                  <a:cxn ang="0">
                    <a:pos x="T4" y="T5"/>
                  </a:cxn>
                  <a:cxn ang="0">
                    <a:pos x="T6" y="T7"/>
                  </a:cxn>
                  <a:cxn ang="0">
                    <a:pos x="T8" y="T9"/>
                  </a:cxn>
                </a:cxnLst>
                <a:rect l="0" t="0" r="r" b="b"/>
                <a:pathLst>
                  <a:path w="4" h="1">
                    <a:moveTo>
                      <a:pt x="3" y="0"/>
                    </a:moveTo>
                    <a:cubicBezTo>
                      <a:pt x="2" y="0"/>
                      <a:pt x="1" y="0"/>
                      <a:pt x="0" y="0"/>
                    </a:cubicBezTo>
                    <a:cubicBezTo>
                      <a:pt x="1" y="1"/>
                      <a:pt x="1" y="1"/>
                      <a:pt x="2" y="1"/>
                    </a:cubicBezTo>
                    <a:cubicBezTo>
                      <a:pt x="3" y="1"/>
                      <a:pt x="3"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93"/>
              <p:cNvSpPr/>
              <p:nvPr/>
            </p:nvSpPr>
            <p:spPr bwMode="auto">
              <a:xfrm>
                <a:off x="7784" y="2983"/>
                <a:ext cx="9" cy="9"/>
              </a:xfrm>
              <a:custGeom>
                <a:gdLst>
                  <a:gd name="T0" fmla="*/ 3 w 4"/>
                  <a:gd name="T1" fmla="*/ 0 h 4"/>
                  <a:gd name="T2" fmla="*/ 1 w 4"/>
                  <a:gd name="T3" fmla="*/ 1 h 4"/>
                  <a:gd name="T4" fmla="*/ 0 w 4"/>
                  <a:gd name="T5" fmla="*/ 4 h 4"/>
                  <a:gd name="T6" fmla="*/ 4 w 4"/>
                  <a:gd name="T7" fmla="*/ 2 h 4"/>
                  <a:gd name="T8" fmla="*/ 3 w 4"/>
                  <a:gd name="T9" fmla="*/ 0 h 4"/>
                </a:gdLst>
                <a:cxnLst>
                  <a:cxn ang="0">
                    <a:pos x="T0" y="T1"/>
                  </a:cxn>
                  <a:cxn ang="0">
                    <a:pos x="T2" y="T3"/>
                  </a:cxn>
                  <a:cxn ang="0">
                    <a:pos x="T4" y="T5"/>
                  </a:cxn>
                  <a:cxn ang="0">
                    <a:pos x="T6" y="T7"/>
                  </a:cxn>
                  <a:cxn ang="0">
                    <a:pos x="T8" y="T9"/>
                  </a:cxn>
                </a:cxnLst>
                <a:rect l="0" t="0" r="r" b="b"/>
                <a:pathLst>
                  <a:path w="4" h="4">
                    <a:moveTo>
                      <a:pt x="3" y="0"/>
                    </a:moveTo>
                    <a:cubicBezTo>
                      <a:pt x="3" y="0"/>
                      <a:pt x="2" y="0"/>
                      <a:pt x="1" y="1"/>
                    </a:cubicBezTo>
                    <a:cubicBezTo>
                      <a:pt x="0" y="2"/>
                      <a:pt x="0" y="3"/>
                      <a:pt x="0" y="4"/>
                    </a:cubicBezTo>
                    <a:cubicBezTo>
                      <a:pt x="1" y="4"/>
                      <a:pt x="3" y="3"/>
                      <a:pt x="4" y="2"/>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Freeform 94"/>
              <p:cNvSpPr/>
              <p:nvPr/>
            </p:nvSpPr>
            <p:spPr bwMode="auto">
              <a:xfrm>
                <a:off x="7200" y="3184"/>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1"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95"/>
              <p:cNvSpPr/>
              <p:nvPr/>
            </p:nvSpPr>
            <p:spPr bwMode="auto">
              <a:xfrm>
                <a:off x="7524" y="3189"/>
                <a:ext cx="5" cy="16"/>
              </a:xfrm>
              <a:custGeom>
                <a:gdLst>
                  <a:gd name="T0" fmla="*/ 1 w 2"/>
                  <a:gd name="T1" fmla="*/ 0 h 7"/>
                  <a:gd name="T2" fmla="*/ 0 w 2"/>
                  <a:gd name="T3" fmla="*/ 5 h 7"/>
                  <a:gd name="T4" fmla="*/ 2 w 2"/>
                  <a:gd name="T5" fmla="*/ 7 h 7"/>
                  <a:gd name="T6" fmla="*/ 1 w 2"/>
                  <a:gd name="T7" fmla="*/ 0 h 7"/>
                </a:gdLst>
                <a:cxnLst>
                  <a:cxn ang="0">
                    <a:pos x="T0" y="T1"/>
                  </a:cxn>
                  <a:cxn ang="0">
                    <a:pos x="T2" y="T3"/>
                  </a:cxn>
                  <a:cxn ang="0">
                    <a:pos x="T4" y="T5"/>
                  </a:cxn>
                  <a:cxn ang="0">
                    <a:pos x="T6" y="T7"/>
                  </a:cxn>
                </a:cxnLst>
                <a:rect l="0" t="0" r="r" b="b"/>
                <a:pathLst>
                  <a:path w="2" h="7">
                    <a:moveTo>
                      <a:pt x="1" y="0"/>
                    </a:moveTo>
                    <a:cubicBezTo>
                      <a:pt x="0" y="1"/>
                      <a:pt x="1" y="3"/>
                      <a:pt x="0" y="5"/>
                    </a:cubicBezTo>
                    <a:cubicBezTo>
                      <a:pt x="1" y="7"/>
                      <a:pt x="1" y="7"/>
                      <a:pt x="2" y="7"/>
                    </a:cubicBezTo>
                    <a:cubicBezTo>
                      <a:pt x="2" y="7"/>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96"/>
              <p:cNvSpPr/>
              <p:nvPr/>
            </p:nvSpPr>
            <p:spPr bwMode="auto">
              <a:xfrm>
                <a:off x="7843" y="3103"/>
                <a:ext cx="9" cy="3"/>
              </a:xfrm>
              <a:custGeom>
                <a:gdLst>
                  <a:gd name="T0" fmla="*/ 0 w 4"/>
                  <a:gd name="T1" fmla="*/ 0 h 1"/>
                  <a:gd name="T2" fmla="*/ 3 w 4"/>
                  <a:gd name="T3" fmla="*/ 1 h 1"/>
                  <a:gd name="T4" fmla="*/ 4 w 4"/>
                  <a:gd name="T5" fmla="*/ 0 h 1"/>
                  <a:gd name="T6" fmla="*/ 0 w 4"/>
                  <a:gd name="T7" fmla="*/ 0 h 1"/>
                </a:gdLst>
                <a:cxnLst>
                  <a:cxn ang="0">
                    <a:pos x="T0" y="T1"/>
                  </a:cxn>
                  <a:cxn ang="0">
                    <a:pos x="T2" y="T3"/>
                  </a:cxn>
                  <a:cxn ang="0">
                    <a:pos x="T4" y="T5"/>
                  </a:cxn>
                  <a:cxn ang="0">
                    <a:pos x="T6" y="T7"/>
                  </a:cxn>
                </a:cxnLst>
                <a:rect l="0" t="0" r="r" b="b"/>
                <a:pathLst>
                  <a:path w="4" h="1">
                    <a:moveTo>
                      <a:pt x="0" y="0"/>
                    </a:moveTo>
                    <a:cubicBezTo>
                      <a:pt x="1" y="0"/>
                      <a:pt x="2" y="1"/>
                      <a:pt x="3" y="1"/>
                    </a:cubicBezTo>
                    <a:cubicBezTo>
                      <a:pt x="3" y="1"/>
                      <a:pt x="4" y="1"/>
                      <a:pt x="4" y="0"/>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Freeform 97"/>
              <p:cNvSpPr/>
              <p:nvPr/>
            </p:nvSpPr>
            <p:spPr bwMode="auto">
              <a:xfrm>
                <a:off x="5154" y="2368"/>
                <a:ext cx="14" cy="24"/>
              </a:xfrm>
              <a:custGeom>
                <a:gdLst>
                  <a:gd name="T0" fmla="*/ 5 w 6"/>
                  <a:gd name="T1" fmla="*/ 0 h 10"/>
                  <a:gd name="T2" fmla="*/ 0 w 6"/>
                  <a:gd name="T3" fmla="*/ 10 h 10"/>
                  <a:gd name="T4" fmla="*/ 6 w 6"/>
                  <a:gd name="T5" fmla="*/ 4 h 10"/>
                  <a:gd name="T6" fmla="*/ 5 w 6"/>
                  <a:gd name="T7" fmla="*/ 0 h 10"/>
                </a:gdLst>
                <a:cxnLst>
                  <a:cxn ang="0">
                    <a:pos x="T0" y="T1"/>
                  </a:cxn>
                  <a:cxn ang="0">
                    <a:pos x="T2" y="T3"/>
                  </a:cxn>
                  <a:cxn ang="0">
                    <a:pos x="T4" y="T5"/>
                  </a:cxn>
                  <a:cxn ang="0">
                    <a:pos x="T6" y="T7"/>
                  </a:cxn>
                </a:cxnLst>
                <a:rect l="0" t="0" r="r" b="b"/>
                <a:pathLst>
                  <a:path w="6" h="10">
                    <a:moveTo>
                      <a:pt x="5" y="0"/>
                    </a:moveTo>
                    <a:cubicBezTo>
                      <a:pt x="3" y="3"/>
                      <a:pt x="2" y="7"/>
                      <a:pt x="0" y="10"/>
                    </a:cubicBezTo>
                    <a:cubicBezTo>
                      <a:pt x="3" y="8"/>
                      <a:pt x="3" y="5"/>
                      <a:pt x="6" y="4"/>
                    </a:cubicBezTo>
                    <a:cubicBezTo>
                      <a:pt x="6" y="2"/>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98"/>
              <p:cNvSpPr/>
              <p:nvPr/>
            </p:nvSpPr>
            <p:spPr bwMode="auto">
              <a:xfrm>
                <a:off x="8299" y="1673"/>
                <a:ext cx="9" cy="9"/>
              </a:xfrm>
              <a:custGeom>
                <a:gdLst>
                  <a:gd name="T0" fmla="*/ 4 w 4"/>
                  <a:gd name="T1" fmla="*/ 0 h 4"/>
                  <a:gd name="T2" fmla="*/ 0 w 4"/>
                  <a:gd name="T3" fmla="*/ 1 h 4"/>
                  <a:gd name="T4" fmla="*/ 2 w 4"/>
                  <a:gd name="T5" fmla="*/ 4 h 4"/>
                  <a:gd name="T6" fmla="*/ 2 w 4"/>
                  <a:gd name="T7" fmla="*/ 4 h 4"/>
                  <a:gd name="T8" fmla="*/ 4 w 4"/>
                  <a:gd name="T9" fmla="*/ 0 h 4"/>
                  <a:gd name="T10" fmla="*/ 4 w 4"/>
                  <a:gd name="T11" fmla="*/ 0 h 4"/>
                </a:gdLst>
                <a:cxnLst>
                  <a:cxn ang="0">
                    <a:pos x="T0" y="T1"/>
                  </a:cxn>
                  <a:cxn ang="0">
                    <a:pos x="T2" y="T3"/>
                  </a:cxn>
                  <a:cxn ang="0">
                    <a:pos x="T4" y="T5"/>
                  </a:cxn>
                  <a:cxn ang="0">
                    <a:pos x="T6" y="T7"/>
                  </a:cxn>
                  <a:cxn ang="0">
                    <a:pos x="T8" y="T9"/>
                  </a:cxn>
                  <a:cxn ang="0">
                    <a:pos x="T10" y="T11"/>
                  </a:cxn>
                </a:cxnLst>
                <a:rect l="0" t="0" r="r" b="b"/>
                <a:pathLst>
                  <a:path w="4" h="4">
                    <a:moveTo>
                      <a:pt x="4" y="0"/>
                    </a:moveTo>
                    <a:cubicBezTo>
                      <a:pt x="3" y="0"/>
                      <a:pt x="1" y="0"/>
                      <a:pt x="0" y="1"/>
                    </a:cubicBezTo>
                    <a:cubicBezTo>
                      <a:pt x="0" y="2"/>
                      <a:pt x="0" y="4"/>
                      <a:pt x="2" y="4"/>
                    </a:cubicBezTo>
                    <a:cubicBezTo>
                      <a:pt x="2" y="4"/>
                      <a:pt x="2" y="4"/>
                      <a:pt x="2" y="4"/>
                    </a:cubicBezTo>
                    <a:cubicBezTo>
                      <a:pt x="3" y="3"/>
                      <a:pt x="3"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99"/>
              <p:cNvSpPr/>
              <p:nvPr/>
            </p:nvSpPr>
            <p:spPr bwMode="auto">
              <a:xfrm>
                <a:off x="8330" y="1704"/>
                <a:ext cx="7" cy="12"/>
              </a:xfrm>
              <a:custGeom>
                <a:gdLst>
                  <a:gd name="T0" fmla="*/ 0 w 3"/>
                  <a:gd name="T1" fmla="*/ 0 h 5"/>
                  <a:gd name="T2" fmla="*/ 0 w 3"/>
                  <a:gd name="T3" fmla="*/ 5 h 5"/>
                  <a:gd name="T4" fmla="*/ 3 w 3"/>
                  <a:gd name="T5" fmla="*/ 2 h 5"/>
                  <a:gd name="T6" fmla="*/ 0 w 3"/>
                  <a:gd name="T7" fmla="*/ 0 h 5"/>
                </a:gdLst>
                <a:cxnLst>
                  <a:cxn ang="0">
                    <a:pos x="T0" y="T1"/>
                  </a:cxn>
                  <a:cxn ang="0">
                    <a:pos x="T2" y="T3"/>
                  </a:cxn>
                  <a:cxn ang="0">
                    <a:pos x="T4" y="T5"/>
                  </a:cxn>
                  <a:cxn ang="0">
                    <a:pos x="T6" y="T7"/>
                  </a:cxn>
                </a:cxnLst>
                <a:rect l="0" t="0" r="r" b="b"/>
                <a:pathLst>
                  <a:path w="3" h="5">
                    <a:moveTo>
                      <a:pt x="0" y="0"/>
                    </a:moveTo>
                    <a:cubicBezTo>
                      <a:pt x="0" y="2"/>
                      <a:pt x="0" y="3"/>
                      <a:pt x="0" y="5"/>
                    </a:cubicBezTo>
                    <a:cubicBezTo>
                      <a:pt x="1" y="4"/>
                      <a:pt x="2" y="3"/>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00"/>
              <p:cNvSpPr/>
              <p:nvPr/>
            </p:nvSpPr>
            <p:spPr bwMode="auto">
              <a:xfrm>
                <a:off x="8332" y="1685"/>
                <a:ext cx="10" cy="19"/>
              </a:xfrm>
              <a:custGeom>
                <a:gdLst>
                  <a:gd name="T0" fmla="*/ 4 w 4"/>
                  <a:gd name="T1" fmla="*/ 0 h 8"/>
                  <a:gd name="T2" fmla="*/ 1 w 4"/>
                  <a:gd name="T3" fmla="*/ 2 h 8"/>
                  <a:gd name="T4" fmla="*/ 1 w 4"/>
                  <a:gd name="T5" fmla="*/ 4 h 8"/>
                  <a:gd name="T6" fmla="*/ 0 w 4"/>
                  <a:gd name="T7" fmla="*/ 7 h 8"/>
                  <a:gd name="T8" fmla="*/ 2 w 4"/>
                  <a:gd name="T9" fmla="*/ 8 h 8"/>
                  <a:gd name="T10" fmla="*/ 4 w 4"/>
                  <a:gd name="T11" fmla="*/ 0 h 8"/>
                </a:gdLst>
                <a:cxnLst>
                  <a:cxn ang="0">
                    <a:pos x="T0" y="T1"/>
                  </a:cxn>
                  <a:cxn ang="0">
                    <a:pos x="T2" y="T3"/>
                  </a:cxn>
                  <a:cxn ang="0">
                    <a:pos x="T4" y="T5"/>
                  </a:cxn>
                  <a:cxn ang="0">
                    <a:pos x="T6" y="T7"/>
                  </a:cxn>
                  <a:cxn ang="0">
                    <a:pos x="T8" y="T9"/>
                  </a:cxn>
                  <a:cxn ang="0">
                    <a:pos x="T10" y="T11"/>
                  </a:cxn>
                </a:cxnLst>
                <a:rect l="0" t="0" r="r" b="b"/>
                <a:pathLst>
                  <a:path w="4" h="8">
                    <a:moveTo>
                      <a:pt x="4" y="0"/>
                    </a:moveTo>
                    <a:cubicBezTo>
                      <a:pt x="3" y="1"/>
                      <a:pt x="2" y="1"/>
                      <a:pt x="1" y="2"/>
                    </a:cubicBezTo>
                    <a:cubicBezTo>
                      <a:pt x="1" y="3"/>
                      <a:pt x="1" y="3"/>
                      <a:pt x="1" y="4"/>
                    </a:cubicBezTo>
                    <a:cubicBezTo>
                      <a:pt x="1" y="5"/>
                      <a:pt x="1" y="7"/>
                      <a:pt x="0" y="7"/>
                    </a:cubicBezTo>
                    <a:cubicBezTo>
                      <a:pt x="0" y="8"/>
                      <a:pt x="1" y="8"/>
                      <a:pt x="2" y="8"/>
                    </a:cubicBezTo>
                    <a:cubicBezTo>
                      <a:pt x="2" y="5"/>
                      <a:pt x="3"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01"/>
              <p:cNvSpPr/>
              <p:nvPr/>
            </p:nvSpPr>
            <p:spPr bwMode="auto">
              <a:xfrm>
                <a:off x="8190" y="1692"/>
                <a:ext cx="15" cy="7"/>
              </a:xfrm>
              <a:custGeom>
                <a:gdLst>
                  <a:gd name="T0" fmla="*/ 3 w 6"/>
                  <a:gd name="T1" fmla="*/ 0 h 3"/>
                  <a:gd name="T2" fmla="*/ 2 w 6"/>
                  <a:gd name="T3" fmla="*/ 2 h 3"/>
                  <a:gd name="T4" fmla="*/ 0 w 6"/>
                  <a:gd name="T5" fmla="*/ 3 h 3"/>
                  <a:gd name="T6" fmla="*/ 6 w 6"/>
                  <a:gd name="T7" fmla="*/ 2 h 3"/>
                  <a:gd name="T8" fmla="*/ 3 w 6"/>
                  <a:gd name="T9" fmla="*/ 0 h 3"/>
                </a:gdLst>
                <a:cxnLst>
                  <a:cxn ang="0">
                    <a:pos x="T0" y="T1"/>
                  </a:cxn>
                  <a:cxn ang="0">
                    <a:pos x="T2" y="T3"/>
                  </a:cxn>
                  <a:cxn ang="0">
                    <a:pos x="T4" y="T5"/>
                  </a:cxn>
                  <a:cxn ang="0">
                    <a:pos x="T6" y="T7"/>
                  </a:cxn>
                  <a:cxn ang="0">
                    <a:pos x="T8" y="T9"/>
                  </a:cxn>
                </a:cxnLst>
                <a:rect l="0" t="0" r="r" b="b"/>
                <a:pathLst>
                  <a:path w="6" h="3">
                    <a:moveTo>
                      <a:pt x="3" y="0"/>
                    </a:moveTo>
                    <a:cubicBezTo>
                      <a:pt x="3" y="0"/>
                      <a:pt x="3" y="1"/>
                      <a:pt x="2" y="2"/>
                    </a:cubicBezTo>
                    <a:cubicBezTo>
                      <a:pt x="1" y="2"/>
                      <a:pt x="1" y="3"/>
                      <a:pt x="0" y="3"/>
                    </a:cubicBezTo>
                    <a:cubicBezTo>
                      <a:pt x="2" y="3"/>
                      <a:pt x="4" y="2"/>
                      <a:pt x="6"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02"/>
              <p:cNvSpPr/>
              <p:nvPr/>
            </p:nvSpPr>
            <p:spPr bwMode="auto">
              <a:xfrm>
                <a:off x="8268" y="1675"/>
                <a:ext cx="10" cy="10"/>
              </a:xfrm>
              <a:custGeom>
                <a:gdLst>
                  <a:gd name="T0" fmla="*/ 2 w 4"/>
                  <a:gd name="T1" fmla="*/ 0 h 4"/>
                  <a:gd name="T2" fmla="*/ 1 w 4"/>
                  <a:gd name="T3" fmla="*/ 3 h 4"/>
                  <a:gd name="T4" fmla="*/ 4 w 4"/>
                  <a:gd name="T5" fmla="*/ 4 h 4"/>
                  <a:gd name="T6" fmla="*/ 2 w 4"/>
                  <a:gd name="T7" fmla="*/ 0 h 4"/>
                </a:gdLst>
                <a:cxnLst>
                  <a:cxn ang="0">
                    <a:pos x="T0" y="T1"/>
                  </a:cxn>
                  <a:cxn ang="0">
                    <a:pos x="T2" y="T3"/>
                  </a:cxn>
                  <a:cxn ang="0">
                    <a:pos x="T4" y="T5"/>
                  </a:cxn>
                  <a:cxn ang="0">
                    <a:pos x="T6" y="T7"/>
                  </a:cxn>
                </a:cxnLst>
                <a:rect l="0" t="0" r="r" b="b"/>
                <a:pathLst>
                  <a:path w="4" h="4">
                    <a:moveTo>
                      <a:pt x="2" y="0"/>
                    </a:moveTo>
                    <a:cubicBezTo>
                      <a:pt x="0" y="0"/>
                      <a:pt x="0" y="1"/>
                      <a:pt x="1" y="3"/>
                    </a:cubicBezTo>
                    <a:cubicBezTo>
                      <a:pt x="1" y="4"/>
                      <a:pt x="3" y="4"/>
                      <a:pt x="4" y="4"/>
                    </a:cubicBezTo>
                    <a:cubicBezTo>
                      <a:pt x="4" y="3"/>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Freeform 103"/>
              <p:cNvSpPr/>
              <p:nvPr/>
            </p:nvSpPr>
            <p:spPr bwMode="auto">
              <a:xfrm>
                <a:off x="8193" y="1746"/>
                <a:ext cx="35" cy="14"/>
              </a:xfrm>
              <a:custGeom>
                <a:gdLst>
                  <a:gd name="T0" fmla="*/ 7 w 15"/>
                  <a:gd name="T1" fmla="*/ 0 h 6"/>
                  <a:gd name="T2" fmla="*/ 0 w 15"/>
                  <a:gd name="T3" fmla="*/ 5 h 6"/>
                  <a:gd name="T4" fmla="*/ 4 w 15"/>
                  <a:gd name="T5" fmla="*/ 6 h 6"/>
                  <a:gd name="T6" fmla="*/ 15 w 15"/>
                  <a:gd name="T7" fmla="*/ 0 h 6"/>
                  <a:gd name="T8" fmla="*/ 7 w 15"/>
                  <a:gd name="T9" fmla="*/ 0 h 6"/>
                </a:gdLst>
                <a:cxnLst>
                  <a:cxn ang="0">
                    <a:pos x="T0" y="T1"/>
                  </a:cxn>
                  <a:cxn ang="0">
                    <a:pos x="T2" y="T3"/>
                  </a:cxn>
                  <a:cxn ang="0">
                    <a:pos x="T4" y="T5"/>
                  </a:cxn>
                  <a:cxn ang="0">
                    <a:pos x="T6" y="T7"/>
                  </a:cxn>
                  <a:cxn ang="0">
                    <a:pos x="T8" y="T9"/>
                  </a:cxn>
                </a:cxnLst>
                <a:rect l="0" t="0" r="r" b="b"/>
                <a:pathLst>
                  <a:path w="15" h="6">
                    <a:moveTo>
                      <a:pt x="7" y="0"/>
                    </a:moveTo>
                    <a:cubicBezTo>
                      <a:pt x="4" y="1"/>
                      <a:pt x="2" y="3"/>
                      <a:pt x="0" y="5"/>
                    </a:cubicBezTo>
                    <a:cubicBezTo>
                      <a:pt x="1" y="6"/>
                      <a:pt x="3" y="6"/>
                      <a:pt x="4" y="6"/>
                    </a:cubicBezTo>
                    <a:cubicBezTo>
                      <a:pt x="8" y="6"/>
                      <a:pt x="12" y="3"/>
                      <a:pt x="15" y="0"/>
                    </a:cubicBezTo>
                    <a:cubicBezTo>
                      <a:pt x="12" y="0"/>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Freeform 104"/>
              <p:cNvSpPr/>
              <p:nvPr/>
            </p:nvSpPr>
            <p:spPr bwMode="auto">
              <a:xfrm>
                <a:off x="8788" y="1680"/>
                <a:ext cx="3" cy="7"/>
              </a:xfrm>
              <a:custGeom>
                <a:gdLst>
                  <a:gd name="T0" fmla="*/ 1 w 1"/>
                  <a:gd name="T1" fmla="*/ 0 h 3"/>
                  <a:gd name="T2" fmla="*/ 1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105"/>
              <p:cNvSpPr/>
              <p:nvPr/>
            </p:nvSpPr>
            <p:spPr bwMode="auto">
              <a:xfrm>
                <a:off x="8807" y="1110"/>
                <a:ext cx="272" cy="225"/>
              </a:xfrm>
              <a:custGeom>
                <a:gdLst>
                  <a:gd name="T0" fmla="*/ 37 w 115"/>
                  <a:gd name="T1" fmla="*/ 2 h 95"/>
                  <a:gd name="T2" fmla="*/ 36 w 115"/>
                  <a:gd name="T3" fmla="*/ 2 h 95"/>
                  <a:gd name="T4" fmla="*/ 35 w 115"/>
                  <a:gd name="T5" fmla="*/ 10 h 95"/>
                  <a:gd name="T6" fmla="*/ 36 w 115"/>
                  <a:gd name="T7" fmla="*/ 34 h 95"/>
                  <a:gd name="T8" fmla="*/ 31 w 115"/>
                  <a:gd name="T9" fmla="*/ 48 h 95"/>
                  <a:gd name="T10" fmla="*/ 26 w 115"/>
                  <a:gd name="T11" fmla="*/ 55 h 95"/>
                  <a:gd name="T12" fmla="*/ 22 w 115"/>
                  <a:gd name="T13" fmla="*/ 53 h 95"/>
                  <a:gd name="T14" fmla="*/ 21 w 115"/>
                  <a:gd name="T15" fmla="*/ 54 h 95"/>
                  <a:gd name="T16" fmla="*/ 19 w 115"/>
                  <a:gd name="T17" fmla="*/ 54 h 95"/>
                  <a:gd name="T18" fmla="*/ 12 w 115"/>
                  <a:gd name="T19" fmla="*/ 50 h 95"/>
                  <a:gd name="T20" fmla="*/ 13 w 115"/>
                  <a:gd name="T21" fmla="*/ 56 h 95"/>
                  <a:gd name="T22" fmla="*/ 10 w 115"/>
                  <a:gd name="T23" fmla="*/ 64 h 95"/>
                  <a:gd name="T24" fmla="*/ 8 w 115"/>
                  <a:gd name="T25" fmla="*/ 63 h 95"/>
                  <a:gd name="T26" fmla="*/ 7 w 115"/>
                  <a:gd name="T27" fmla="*/ 63 h 95"/>
                  <a:gd name="T28" fmla="*/ 4 w 115"/>
                  <a:gd name="T29" fmla="*/ 66 h 95"/>
                  <a:gd name="T30" fmla="*/ 3 w 115"/>
                  <a:gd name="T31" fmla="*/ 66 h 95"/>
                  <a:gd name="T32" fmla="*/ 0 w 115"/>
                  <a:gd name="T33" fmla="*/ 73 h 95"/>
                  <a:gd name="T34" fmla="*/ 4 w 115"/>
                  <a:gd name="T35" fmla="*/ 88 h 95"/>
                  <a:gd name="T36" fmla="*/ 8 w 115"/>
                  <a:gd name="T37" fmla="*/ 95 h 95"/>
                  <a:gd name="T38" fmla="*/ 12 w 115"/>
                  <a:gd name="T39" fmla="*/ 90 h 95"/>
                  <a:gd name="T40" fmla="*/ 16 w 115"/>
                  <a:gd name="T41" fmla="*/ 87 h 95"/>
                  <a:gd name="T42" fmla="*/ 17 w 115"/>
                  <a:gd name="T43" fmla="*/ 86 h 95"/>
                  <a:gd name="T44" fmla="*/ 23 w 115"/>
                  <a:gd name="T45" fmla="*/ 88 h 95"/>
                  <a:gd name="T46" fmla="*/ 23 w 115"/>
                  <a:gd name="T47" fmla="*/ 84 h 95"/>
                  <a:gd name="T48" fmla="*/ 16 w 115"/>
                  <a:gd name="T49" fmla="*/ 79 h 95"/>
                  <a:gd name="T50" fmla="*/ 10 w 115"/>
                  <a:gd name="T51" fmla="*/ 72 h 95"/>
                  <a:gd name="T52" fmla="*/ 19 w 115"/>
                  <a:gd name="T53" fmla="*/ 70 h 95"/>
                  <a:gd name="T54" fmla="*/ 22 w 115"/>
                  <a:gd name="T55" fmla="*/ 74 h 95"/>
                  <a:gd name="T56" fmla="*/ 30 w 115"/>
                  <a:gd name="T57" fmla="*/ 69 h 95"/>
                  <a:gd name="T58" fmla="*/ 40 w 115"/>
                  <a:gd name="T59" fmla="*/ 68 h 95"/>
                  <a:gd name="T60" fmla="*/ 49 w 115"/>
                  <a:gd name="T61" fmla="*/ 74 h 95"/>
                  <a:gd name="T62" fmla="*/ 65 w 115"/>
                  <a:gd name="T63" fmla="*/ 82 h 95"/>
                  <a:gd name="T64" fmla="*/ 67 w 115"/>
                  <a:gd name="T65" fmla="*/ 78 h 95"/>
                  <a:gd name="T66" fmla="*/ 73 w 115"/>
                  <a:gd name="T67" fmla="*/ 66 h 95"/>
                  <a:gd name="T68" fmla="*/ 88 w 115"/>
                  <a:gd name="T69" fmla="*/ 60 h 95"/>
                  <a:gd name="T70" fmla="*/ 93 w 115"/>
                  <a:gd name="T71" fmla="*/ 60 h 95"/>
                  <a:gd name="T72" fmla="*/ 96 w 115"/>
                  <a:gd name="T73" fmla="*/ 58 h 95"/>
                  <a:gd name="T74" fmla="*/ 98 w 115"/>
                  <a:gd name="T75" fmla="*/ 59 h 95"/>
                  <a:gd name="T76" fmla="*/ 101 w 115"/>
                  <a:gd name="T77" fmla="*/ 58 h 95"/>
                  <a:gd name="T78" fmla="*/ 109 w 115"/>
                  <a:gd name="T79" fmla="*/ 53 h 95"/>
                  <a:gd name="T80" fmla="*/ 104 w 115"/>
                  <a:gd name="T81" fmla="*/ 48 h 95"/>
                  <a:gd name="T82" fmla="*/ 106 w 115"/>
                  <a:gd name="T83" fmla="*/ 45 h 95"/>
                  <a:gd name="T84" fmla="*/ 101 w 115"/>
                  <a:gd name="T85" fmla="*/ 38 h 95"/>
                  <a:gd name="T86" fmla="*/ 106 w 115"/>
                  <a:gd name="T87" fmla="*/ 27 h 95"/>
                  <a:gd name="T88" fmla="*/ 93 w 115"/>
                  <a:gd name="T89" fmla="*/ 37 h 95"/>
                  <a:gd name="T90" fmla="*/ 85 w 115"/>
                  <a:gd name="T91" fmla="*/ 35 h 95"/>
                  <a:gd name="T92" fmla="*/ 83 w 115"/>
                  <a:gd name="T93" fmla="*/ 33 h 95"/>
                  <a:gd name="T94" fmla="*/ 79 w 115"/>
                  <a:gd name="T95" fmla="*/ 33 h 95"/>
                  <a:gd name="T96" fmla="*/ 62 w 115"/>
                  <a:gd name="T97" fmla="*/ 22 h 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95">
                    <a:moveTo>
                      <a:pt x="41" y="0"/>
                    </a:moveTo>
                    <a:cubicBezTo>
                      <a:pt x="40" y="0"/>
                      <a:pt x="39" y="2"/>
                      <a:pt x="37" y="2"/>
                    </a:cubicBezTo>
                    <a:cubicBezTo>
                      <a:pt x="37" y="2"/>
                      <a:pt x="37" y="2"/>
                      <a:pt x="37" y="2"/>
                    </a:cubicBezTo>
                    <a:cubicBezTo>
                      <a:pt x="37" y="2"/>
                      <a:pt x="35" y="2"/>
                      <a:pt x="36" y="2"/>
                    </a:cubicBezTo>
                    <a:cubicBezTo>
                      <a:pt x="36" y="2"/>
                      <a:pt x="35" y="1"/>
                      <a:pt x="35" y="3"/>
                    </a:cubicBezTo>
                    <a:cubicBezTo>
                      <a:pt x="35" y="5"/>
                      <a:pt x="35" y="8"/>
                      <a:pt x="35" y="10"/>
                    </a:cubicBezTo>
                    <a:cubicBezTo>
                      <a:pt x="36" y="12"/>
                      <a:pt x="37" y="13"/>
                      <a:pt x="38" y="15"/>
                    </a:cubicBezTo>
                    <a:cubicBezTo>
                      <a:pt x="39" y="21"/>
                      <a:pt x="36" y="28"/>
                      <a:pt x="36" y="34"/>
                    </a:cubicBezTo>
                    <a:cubicBezTo>
                      <a:pt x="35" y="38"/>
                      <a:pt x="29" y="39"/>
                      <a:pt x="30" y="42"/>
                    </a:cubicBezTo>
                    <a:cubicBezTo>
                      <a:pt x="30" y="44"/>
                      <a:pt x="30" y="46"/>
                      <a:pt x="31" y="48"/>
                    </a:cubicBezTo>
                    <a:cubicBezTo>
                      <a:pt x="31" y="49"/>
                      <a:pt x="32" y="50"/>
                      <a:pt x="31" y="51"/>
                    </a:cubicBezTo>
                    <a:cubicBezTo>
                      <a:pt x="29" y="53"/>
                      <a:pt x="28" y="55"/>
                      <a:pt x="26" y="55"/>
                    </a:cubicBezTo>
                    <a:cubicBezTo>
                      <a:pt x="25" y="55"/>
                      <a:pt x="25" y="55"/>
                      <a:pt x="24" y="54"/>
                    </a:cubicBezTo>
                    <a:cubicBezTo>
                      <a:pt x="23" y="54"/>
                      <a:pt x="24" y="53"/>
                      <a:pt x="22" y="53"/>
                    </a:cubicBezTo>
                    <a:cubicBezTo>
                      <a:pt x="22" y="53"/>
                      <a:pt x="22" y="53"/>
                      <a:pt x="22" y="53"/>
                    </a:cubicBezTo>
                    <a:cubicBezTo>
                      <a:pt x="21" y="53"/>
                      <a:pt x="21" y="53"/>
                      <a:pt x="21" y="54"/>
                    </a:cubicBezTo>
                    <a:cubicBezTo>
                      <a:pt x="20" y="54"/>
                      <a:pt x="20" y="54"/>
                      <a:pt x="19" y="54"/>
                    </a:cubicBezTo>
                    <a:cubicBezTo>
                      <a:pt x="19" y="54"/>
                      <a:pt x="19" y="54"/>
                      <a:pt x="19" y="54"/>
                    </a:cubicBezTo>
                    <a:cubicBezTo>
                      <a:pt x="18" y="53"/>
                      <a:pt x="17" y="52"/>
                      <a:pt x="16" y="52"/>
                    </a:cubicBezTo>
                    <a:cubicBezTo>
                      <a:pt x="15" y="51"/>
                      <a:pt x="14" y="50"/>
                      <a:pt x="12" y="50"/>
                    </a:cubicBezTo>
                    <a:cubicBezTo>
                      <a:pt x="12" y="50"/>
                      <a:pt x="11" y="51"/>
                      <a:pt x="10" y="52"/>
                    </a:cubicBezTo>
                    <a:cubicBezTo>
                      <a:pt x="10" y="53"/>
                      <a:pt x="12" y="55"/>
                      <a:pt x="13" y="56"/>
                    </a:cubicBezTo>
                    <a:cubicBezTo>
                      <a:pt x="14" y="59"/>
                      <a:pt x="13" y="58"/>
                      <a:pt x="12" y="60"/>
                    </a:cubicBezTo>
                    <a:cubicBezTo>
                      <a:pt x="11" y="61"/>
                      <a:pt x="10" y="64"/>
                      <a:pt x="10" y="64"/>
                    </a:cubicBezTo>
                    <a:cubicBezTo>
                      <a:pt x="9" y="64"/>
                      <a:pt x="9" y="64"/>
                      <a:pt x="9" y="64"/>
                    </a:cubicBezTo>
                    <a:cubicBezTo>
                      <a:pt x="9" y="64"/>
                      <a:pt x="9" y="64"/>
                      <a:pt x="8" y="63"/>
                    </a:cubicBezTo>
                    <a:cubicBezTo>
                      <a:pt x="8" y="63"/>
                      <a:pt x="8" y="63"/>
                      <a:pt x="8" y="63"/>
                    </a:cubicBezTo>
                    <a:cubicBezTo>
                      <a:pt x="7" y="63"/>
                      <a:pt x="7" y="63"/>
                      <a:pt x="7" y="63"/>
                    </a:cubicBezTo>
                    <a:cubicBezTo>
                      <a:pt x="6" y="64"/>
                      <a:pt x="6" y="65"/>
                      <a:pt x="5" y="66"/>
                    </a:cubicBezTo>
                    <a:cubicBezTo>
                      <a:pt x="5" y="66"/>
                      <a:pt x="4" y="66"/>
                      <a:pt x="4" y="66"/>
                    </a:cubicBezTo>
                    <a:cubicBezTo>
                      <a:pt x="4" y="66"/>
                      <a:pt x="4" y="66"/>
                      <a:pt x="3" y="66"/>
                    </a:cubicBezTo>
                    <a:cubicBezTo>
                      <a:pt x="3" y="66"/>
                      <a:pt x="3" y="66"/>
                      <a:pt x="3" y="66"/>
                    </a:cubicBezTo>
                    <a:cubicBezTo>
                      <a:pt x="2" y="66"/>
                      <a:pt x="2" y="66"/>
                      <a:pt x="2" y="66"/>
                    </a:cubicBezTo>
                    <a:cubicBezTo>
                      <a:pt x="0" y="67"/>
                      <a:pt x="0" y="72"/>
                      <a:pt x="0" y="73"/>
                    </a:cubicBezTo>
                    <a:cubicBezTo>
                      <a:pt x="0" y="76"/>
                      <a:pt x="2" y="77"/>
                      <a:pt x="4" y="79"/>
                    </a:cubicBezTo>
                    <a:cubicBezTo>
                      <a:pt x="7" y="82"/>
                      <a:pt x="6" y="84"/>
                      <a:pt x="4" y="88"/>
                    </a:cubicBezTo>
                    <a:cubicBezTo>
                      <a:pt x="4" y="89"/>
                      <a:pt x="3" y="90"/>
                      <a:pt x="4" y="91"/>
                    </a:cubicBezTo>
                    <a:cubicBezTo>
                      <a:pt x="4" y="92"/>
                      <a:pt x="7" y="95"/>
                      <a:pt x="8" y="95"/>
                    </a:cubicBezTo>
                    <a:cubicBezTo>
                      <a:pt x="8" y="95"/>
                      <a:pt x="8" y="95"/>
                      <a:pt x="8" y="94"/>
                    </a:cubicBezTo>
                    <a:cubicBezTo>
                      <a:pt x="10" y="93"/>
                      <a:pt x="11" y="92"/>
                      <a:pt x="12" y="90"/>
                    </a:cubicBezTo>
                    <a:cubicBezTo>
                      <a:pt x="13" y="90"/>
                      <a:pt x="12" y="89"/>
                      <a:pt x="13" y="88"/>
                    </a:cubicBezTo>
                    <a:cubicBezTo>
                      <a:pt x="13" y="88"/>
                      <a:pt x="15" y="87"/>
                      <a:pt x="16" y="87"/>
                    </a:cubicBezTo>
                    <a:cubicBezTo>
                      <a:pt x="17" y="86"/>
                      <a:pt x="15" y="86"/>
                      <a:pt x="17" y="86"/>
                    </a:cubicBezTo>
                    <a:cubicBezTo>
                      <a:pt x="17" y="86"/>
                      <a:pt x="17" y="86"/>
                      <a:pt x="17" y="86"/>
                    </a:cubicBezTo>
                    <a:cubicBezTo>
                      <a:pt x="18" y="86"/>
                      <a:pt x="20" y="87"/>
                      <a:pt x="21" y="87"/>
                    </a:cubicBezTo>
                    <a:cubicBezTo>
                      <a:pt x="22" y="87"/>
                      <a:pt x="22" y="88"/>
                      <a:pt x="23" y="88"/>
                    </a:cubicBezTo>
                    <a:cubicBezTo>
                      <a:pt x="23" y="88"/>
                      <a:pt x="23" y="88"/>
                      <a:pt x="24" y="87"/>
                    </a:cubicBezTo>
                    <a:cubicBezTo>
                      <a:pt x="26" y="84"/>
                      <a:pt x="25" y="85"/>
                      <a:pt x="23" y="84"/>
                    </a:cubicBezTo>
                    <a:cubicBezTo>
                      <a:pt x="21" y="83"/>
                      <a:pt x="20" y="81"/>
                      <a:pt x="19" y="80"/>
                    </a:cubicBezTo>
                    <a:cubicBezTo>
                      <a:pt x="18" y="78"/>
                      <a:pt x="18" y="79"/>
                      <a:pt x="16" y="79"/>
                    </a:cubicBezTo>
                    <a:cubicBezTo>
                      <a:pt x="14" y="78"/>
                      <a:pt x="14" y="78"/>
                      <a:pt x="13" y="77"/>
                    </a:cubicBezTo>
                    <a:cubicBezTo>
                      <a:pt x="10" y="76"/>
                      <a:pt x="9" y="76"/>
                      <a:pt x="10" y="72"/>
                    </a:cubicBezTo>
                    <a:cubicBezTo>
                      <a:pt x="11" y="70"/>
                      <a:pt x="12" y="68"/>
                      <a:pt x="15" y="68"/>
                    </a:cubicBezTo>
                    <a:cubicBezTo>
                      <a:pt x="16" y="68"/>
                      <a:pt x="18" y="69"/>
                      <a:pt x="19" y="70"/>
                    </a:cubicBezTo>
                    <a:cubicBezTo>
                      <a:pt x="20" y="70"/>
                      <a:pt x="20" y="71"/>
                      <a:pt x="21" y="72"/>
                    </a:cubicBezTo>
                    <a:cubicBezTo>
                      <a:pt x="22" y="73"/>
                      <a:pt x="23" y="74"/>
                      <a:pt x="22" y="74"/>
                    </a:cubicBezTo>
                    <a:cubicBezTo>
                      <a:pt x="22" y="74"/>
                      <a:pt x="22" y="74"/>
                      <a:pt x="22" y="74"/>
                    </a:cubicBezTo>
                    <a:cubicBezTo>
                      <a:pt x="24" y="74"/>
                      <a:pt x="28" y="70"/>
                      <a:pt x="30" y="69"/>
                    </a:cubicBezTo>
                    <a:cubicBezTo>
                      <a:pt x="32" y="68"/>
                      <a:pt x="33" y="68"/>
                      <a:pt x="35" y="68"/>
                    </a:cubicBezTo>
                    <a:cubicBezTo>
                      <a:pt x="37" y="68"/>
                      <a:pt x="38" y="68"/>
                      <a:pt x="40" y="68"/>
                    </a:cubicBezTo>
                    <a:cubicBezTo>
                      <a:pt x="41" y="69"/>
                      <a:pt x="44" y="71"/>
                      <a:pt x="45" y="71"/>
                    </a:cubicBezTo>
                    <a:cubicBezTo>
                      <a:pt x="47" y="72"/>
                      <a:pt x="48" y="73"/>
                      <a:pt x="49" y="74"/>
                    </a:cubicBezTo>
                    <a:cubicBezTo>
                      <a:pt x="54" y="77"/>
                      <a:pt x="59" y="78"/>
                      <a:pt x="63" y="80"/>
                    </a:cubicBezTo>
                    <a:cubicBezTo>
                      <a:pt x="63" y="81"/>
                      <a:pt x="64" y="82"/>
                      <a:pt x="65" y="82"/>
                    </a:cubicBezTo>
                    <a:cubicBezTo>
                      <a:pt x="65" y="82"/>
                      <a:pt x="65" y="82"/>
                      <a:pt x="65" y="82"/>
                    </a:cubicBezTo>
                    <a:cubicBezTo>
                      <a:pt x="67" y="82"/>
                      <a:pt x="67" y="80"/>
                      <a:pt x="67" y="78"/>
                    </a:cubicBezTo>
                    <a:cubicBezTo>
                      <a:pt x="68" y="76"/>
                      <a:pt x="67" y="74"/>
                      <a:pt x="69" y="72"/>
                    </a:cubicBezTo>
                    <a:cubicBezTo>
                      <a:pt x="70" y="70"/>
                      <a:pt x="71" y="68"/>
                      <a:pt x="73" y="66"/>
                    </a:cubicBezTo>
                    <a:cubicBezTo>
                      <a:pt x="75" y="65"/>
                      <a:pt x="77" y="62"/>
                      <a:pt x="80" y="61"/>
                    </a:cubicBezTo>
                    <a:cubicBezTo>
                      <a:pt x="82" y="60"/>
                      <a:pt x="85" y="60"/>
                      <a:pt x="88" y="60"/>
                    </a:cubicBezTo>
                    <a:cubicBezTo>
                      <a:pt x="90" y="60"/>
                      <a:pt x="91" y="60"/>
                      <a:pt x="92" y="60"/>
                    </a:cubicBezTo>
                    <a:cubicBezTo>
                      <a:pt x="92" y="60"/>
                      <a:pt x="93" y="60"/>
                      <a:pt x="93" y="60"/>
                    </a:cubicBezTo>
                    <a:cubicBezTo>
                      <a:pt x="94" y="60"/>
                      <a:pt x="94" y="60"/>
                      <a:pt x="95" y="59"/>
                    </a:cubicBezTo>
                    <a:cubicBezTo>
                      <a:pt x="96" y="59"/>
                      <a:pt x="95" y="58"/>
                      <a:pt x="96" y="58"/>
                    </a:cubicBezTo>
                    <a:cubicBezTo>
                      <a:pt x="96" y="58"/>
                      <a:pt x="96" y="58"/>
                      <a:pt x="96" y="58"/>
                    </a:cubicBezTo>
                    <a:cubicBezTo>
                      <a:pt x="97" y="58"/>
                      <a:pt x="97" y="59"/>
                      <a:pt x="98" y="59"/>
                    </a:cubicBezTo>
                    <a:cubicBezTo>
                      <a:pt x="98" y="59"/>
                      <a:pt x="98" y="59"/>
                      <a:pt x="98" y="59"/>
                    </a:cubicBezTo>
                    <a:cubicBezTo>
                      <a:pt x="99" y="59"/>
                      <a:pt x="100" y="58"/>
                      <a:pt x="101" y="58"/>
                    </a:cubicBezTo>
                    <a:cubicBezTo>
                      <a:pt x="106" y="55"/>
                      <a:pt x="110" y="52"/>
                      <a:pt x="115" y="50"/>
                    </a:cubicBezTo>
                    <a:cubicBezTo>
                      <a:pt x="114" y="50"/>
                      <a:pt x="107" y="50"/>
                      <a:pt x="109" y="53"/>
                    </a:cubicBezTo>
                    <a:cubicBezTo>
                      <a:pt x="108" y="53"/>
                      <a:pt x="107" y="53"/>
                      <a:pt x="106" y="52"/>
                    </a:cubicBezTo>
                    <a:cubicBezTo>
                      <a:pt x="105" y="51"/>
                      <a:pt x="105" y="50"/>
                      <a:pt x="104" y="48"/>
                    </a:cubicBezTo>
                    <a:cubicBezTo>
                      <a:pt x="104" y="47"/>
                      <a:pt x="104" y="46"/>
                      <a:pt x="103" y="44"/>
                    </a:cubicBezTo>
                    <a:cubicBezTo>
                      <a:pt x="104" y="45"/>
                      <a:pt x="105" y="45"/>
                      <a:pt x="106" y="45"/>
                    </a:cubicBezTo>
                    <a:cubicBezTo>
                      <a:pt x="105" y="44"/>
                      <a:pt x="101" y="42"/>
                      <a:pt x="101" y="40"/>
                    </a:cubicBezTo>
                    <a:cubicBezTo>
                      <a:pt x="101" y="38"/>
                      <a:pt x="101" y="38"/>
                      <a:pt x="101" y="38"/>
                    </a:cubicBezTo>
                    <a:cubicBezTo>
                      <a:pt x="102" y="37"/>
                      <a:pt x="102" y="36"/>
                      <a:pt x="103" y="35"/>
                    </a:cubicBezTo>
                    <a:cubicBezTo>
                      <a:pt x="104" y="33"/>
                      <a:pt x="107" y="29"/>
                      <a:pt x="106" y="27"/>
                    </a:cubicBezTo>
                    <a:cubicBezTo>
                      <a:pt x="102" y="30"/>
                      <a:pt x="100" y="33"/>
                      <a:pt x="97" y="36"/>
                    </a:cubicBezTo>
                    <a:cubicBezTo>
                      <a:pt x="96" y="37"/>
                      <a:pt x="94" y="37"/>
                      <a:pt x="93" y="37"/>
                    </a:cubicBezTo>
                    <a:cubicBezTo>
                      <a:pt x="92" y="37"/>
                      <a:pt x="91" y="37"/>
                      <a:pt x="90" y="37"/>
                    </a:cubicBezTo>
                    <a:cubicBezTo>
                      <a:pt x="88" y="36"/>
                      <a:pt x="87" y="36"/>
                      <a:pt x="85" y="35"/>
                    </a:cubicBezTo>
                    <a:cubicBezTo>
                      <a:pt x="84" y="35"/>
                      <a:pt x="83" y="35"/>
                      <a:pt x="83" y="35"/>
                    </a:cubicBezTo>
                    <a:cubicBezTo>
                      <a:pt x="82" y="34"/>
                      <a:pt x="83" y="33"/>
                      <a:pt x="83" y="33"/>
                    </a:cubicBezTo>
                    <a:cubicBezTo>
                      <a:pt x="82" y="33"/>
                      <a:pt x="82" y="33"/>
                      <a:pt x="81" y="33"/>
                    </a:cubicBezTo>
                    <a:cubicBezTo>
                      <a:pt x="81" y="33"/>
                      <a:pt x="80" y="33"/>
                      <a:pt x="79" y="33"/>
                    </a:cubicBezTo>
                    <a:cubicBezTo>
                      <a:pt x="79" y="33"/>
                      <a:pt x="79" y="33"/>
                      <a:pt x="79" y="33"/>
                    </a:cubicBezTo>
                    <a:cubicBezTo>
                      <a:pt x="73" y="33"/>
                      <a:pt x="66" y="26"/>
                      <a:pt x="62" y="22"/>
                    </a:cubicBezTo>
                    <a:cubicBezTo>
                      <a:pt x="54" y="15"/>
                      <a:pt x="48" y="7"/>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Freeform 106"/>
              <p:cNvSpPr/>
              <p:nvPr/>
            </p:nvSpPr>
            <p:spPr bwMode="auto">
              <a:xfrm>
                <a:off x="8346" y="1725"/>
                <a:ext cx="114" cy="147"/>
              </a:xfrm>
              <a:custGeom>
                <a:gdLst>
                  <a:gd name="T0" fmla="*/ 25 w 48"/>
                  <a:gd name="T1" fmla="*/ 0 h 62"/>
                  <a:gd name="T2" fmla="*/ 23 w 48"/>
                  <a:gd name="T3" fmla="*/ 0 h 62"/>
                  <a:gd name="T4" fmla="*/ 17 w 48"/>
                  <a:gd name="T5" fmla="*/ 3 h 62"/>
                  <a:gd name="T6" fmla="*/ 9 w 48"/>
                  <a:gd name="T7" fmla="*/ 10 h 62"/>
                  <a:gd name="T8" fmla="*/ 5 w 48"/>
                  <a:gd name="T9" fmla="*/ 13 h 62"/>
                  <a:gd name="T10" fmla="*/ 3 w 48"/>
                  <a:gd name="T11" fmla="*/ 18 h 62"/>
                  <a:gd name="T12" fmla="*/ 4 w 48"/>
                  <a:gd name="T13" fmla="*/ 29 h 62"/>
                  <a:gd name="T14" fmla="*/ 12 w 48"/>
                  <a:gd name="T15" fmla="*/ 28 h 62"/>
                  <a:gd name="T16" fmla="*/ 15 w 48"/>
                  <a:gd name="T17" fmla="*/ 27 h 62"/>
                  <a:gd name="T18" fmla="*/ 12 w 48"/>
                  <a:gd name="T19" fmla="*/ 20 h 62"/>
                  <a:gd name="T20" fmla="*/ 13 w 48"/>
                  <a:gd name="T21" fmla="*/ 16 h 62"/>
                  <a:gd name="T22" fmla="*/ 17 w 48"/>
                  <a:gd name="T23" fmla="*/ 21 h 62"/>
                  <a:gd name="T24" fmla="*/ 17 w 48"/>
                  <a:gd name="T25" fmla="*/ 28 h 62"/>
                  <a:gd name="T26" fmla="*/ 21 w 48"/>
                  <a:gd name="T27" fmla="*/ 27 h 62"/>
                  <a:gd name="T28" fmla="*/ 18 w 48"/>
                  <a:gd name="T29" fmla="*/ 33 h 62"/>
                  <a:gd name="T30" fmla="*/ 13 w 48"/>
                  <a:gd name="T31" fmla="*/ 54 h 62"/>
                  <a:gd name="T32" fmla="*/ 11 w 48"/>
                  <a:gd name="T33" fmla="*/ 54 h 62"/>
                  <a:gd name="T34" fmla="*/ 17 w 48"/>
                  <a:gd name="T35" fmla="*/ 57 h 62"/>
                  <a:gd name="T36" fmla="*/ 21 w 48"/>
                  <a:gd name="T37" fmla="*/ 58 h 62"/>
                  <a:gd name="T38" fmla="*/ 20 w 48"/>
                  <a:gd name="T39" fmla="*/ 48 h 62"/>
                  <a:gd name="T40" fmla="*/ 24 w 48"/>
                  <a:gd name="T41" fmla="*/ 48 h 62"/>
                  <a:gd name="T42" fmla="*/ 21 w 48"/>
                  <a:gd name="T43" fmla="*/ 62 h 62"/>
                  <a:gd name="T44" fmla="*/ 30 w 48"/>
                  <a:gd name="T45" fmla="*/ 52 h 62"/>
                  <a:gd name="T46" fmla="*/ 36 w 48"/>
                  <a:gd name="T47" fmla="*/ 49 h 62"/>
                  <a:gd name="T48" fmla="*/ 41 w 48"/>
                  <a:gd name="T49" fmla="*/ 33 h 62"/>
                  <a:gd name="T50" fmla="*/ 48 w 48"/>
                  <a:gd name="T51" fmla="*/ 21 h 62"/>
                  <a:gd name="T52" fmla="*/ 44 w 48"/>
                  <a:gd name="T53" fmla="*/ 14 h 62"/>
                  <a:gd name="T54" fmla="*/ 43 w 48"/>
                  <a:gd name="T55" fmla="*/ 14 h 62"/>
                  <a:gd name="T56" fmla="*/ 42 w 48"/>
                  <a:gd name="T57" fmla="*/ 14 h 62"/>
                  <a:gd name="T58" fmla="*/ 37 w 48"/>
                  <a:gd name="T59" fmla="*/ 12 h 62"/>
                  <a:gd name="T60" fmla="*/ 39 w 48"/>
                  <a:gd name="T61" fmla="*/ 5 h 62"/>
                  <a:gd name="T62" fmla="*/ 37 w 48"/>
                  <a:gd name="T63" fmla="*/ 6 h 62"/>
                  <a:gd name="T64" fmla="*/ 34 w 48"/>
                  <a:gd name="T65" fmla="*/ 7 h 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62">
                    <a:moveTo>
                      <a:pt x="27" y="0"/>
                    </a:moveTo>
                    <a:cubicBezTo>
                      <a:pt x="27" y="0"/>
                      <a:pt x="26" y="0"/>
                      <a:pt x="25" y="0"/>
                    </a:cubicBezTo>
                    <a:cubicBezTo>
                      <a:pt x="24" y="0"/>
                      <a:pt x="24" y="0"/>
                      <a:pt x="24" y="0"/>
                    </a:cubicBezTo>
                    <a:cubicBezTo>
                      <a:pt x="24" y="0"/>
                      <a:pt x="24" y="0"/>
                      <a:pt x="23" y="0"/>
                    </a:cubicBezTo>
                    <a:cubicBezTo>
                      <a:pt x="22" y="0"/>
                      <a:pt x="21" y="0"/>
                      <a:pt x="20" y="0"/>
                    </a:cubicBezTo>
                    <a:cubicBezTo>
                      <a:pt x="18" y="1"/>
                      <a:pt x="18" y="1"/>
                      <a:pt x="17" y="3"/>
                    </a:cubicBezTo>
                    <a:cubicBezTo>
                      <a:pt x="16" y="5"/>
                      <a:pt x="16" y="4"/>
                      <a:pt x="13" y="5"/>
                    </a:cubicBezTo>
                    <a:cubicBezTo>
                      <a:pt x="11" y="6"/>
                      <a:pt x="10" y="7"/>
                      <a:pt x="9" y="10"/>
                    </a:cubicBezTo>
                    <a:cubicBezTo>
                      <a:pt x="8" y="9"/>
                      <a:pt x="7" y="9"/>
                      <a:pt x="6" y="8"/>
                    </a:cubicBezTo>
                    <a:cubicBezTo>
                      <a:pt x="5" y="10"/>
                      <a:pt x="5" y="10"/>
                      <a:pt x="5" y="13"/>
                    </a:cubicBezTo>
                    <a:cubicBezTo>
                      <a:pt x="3" y="12"/>
                      <a:pt x="2" y="12"/>
                      <a:pt x="1" y="12"/>
                    </a:cubicBezTo>
                    <a:cubicBezTo>
                      <a:pt x="0" y="15"/>
                      <a:pt x="1" y="15"/>
                      <a:pt x="3" y="18"/>
                    </a:cubicBezTo>
                    <a:cubicBezTo>
                      <a:pt x="1" y="20"/>
                      <a:pt x="2" y="22"/>
                      <a:pt x="3" y="24"/>
                    </a:cubicBezTo>
                    <a:cubicBezTo>
                      <a:pt x="5" y="26"/>
                      <a:pt x="6" y="26"/>
                      <a:pt x="4" y="29"/>
                    </a:cubicBezTo>
                    <a:cubicBezTo>
                      <a:pt x="6" y="27"/>
                      <a:pt x="9" y="25"/>
                      <a:pt x="12" y="24"/>
                    </a:cubicBezTo>
                    <a:cubicBezTo>
                      <a:pt x="13" y="26"/>
                      <a:pt x="10" y="27"/>
                      <a:pt x="12" y="28"/>
                    </a:cubicBezTo>
                    <a:cubicBezTo>
                      <a:pt x="12" y="28"/>
                      <a:pt x="12" y="28"/>
                      <a:pt x="12" y="28"/>
                    </a:cubicBezTo>
                    <a:cubicBezTo>
                      <a:pt x="13" y="28"/>
                      <a:pt x="14" y="27"/>
                      <a:pt x="15" y="27"/>
                    </a:cubicBezTo>
                    <a:cubicBezTo>
                      <a:pt x="14" y="25"/>
                      <a:pt x="12" y="24"/>
                      <a:pt x="10" y="23"/>
                    </a:cubicBezTo>
                    <a:cubicBezTo>
                      <a:pt x="11" y="22"/>
                      <a:pt x="13" y="21"/>
                      <a:pt x="12" y="20"/>
                    </a:cubicBezTo>
                    <a:cubicBezTo>
                      <a:pt x="12" y="19"/>
                      <a:pt x="11" y="18"/>
                      <a:pt x="11" y="17"/>
                    </a:cubicBezTo>
                    <a:cubicBezTo>
                      <a:pt x="12" y="17"/>
                      <a:pt x="12" y="16"/>
                      <a:pt x="13" y="16"/>
                    </a:cubicBezTo>
                    <a:cubicBezTo>
                      <a:pt x="14" y="16"/>
                      <a:pt x="14" y="16"/>
                      <a:pt x="15" y="16"/>
                    </a:cubicBezTo>
                    <a:cubicBezTo>
                      <a:pt x="16" y="17"/>
                      <a:pt x="17" y="20"/>
                      <a:pt x="17" y="21"/>
                    </a:cubicBezTo>
                    <a:cubicBezTo>
                      <a:pt x="18" y="23"/>
                      <a:pt x="19" y="24"/>
                      <a:pt x="20" y="26"/>
                    </a:cubicBezTo>
                    <a:cubicBezTo>
                      <a:pt x="19" y="26"/>
                      <a:pt x="18" y="27"/>
                      <a:pt x="17" y="28"/>
                    </a:cubicBezTo>
                    <a:cubicBezTo>
                      <a:pt x="18" y="27"/>
                      <a:pt x="19" y="27"/>
                      <a:pt x="20" y="27"/>
                    </a:cubicBezTo>
                    <a:cubicBezTo>
                      <a:pt x="20" y="27"/>
                      <a:pt x="21" y="27"/>
                      <a:pt x="21" y="27"/>
                    </a:cubicBezTo>
                    <a:cubicBezTo>
                      <a:pt x="20" y="28"/>
                      <a:pt x="19" y="33"/>
                      <a:pt x="18" y="33"/>
                    </a:cubicBezTo>
                    <a:cubicBezTo>
                      <a:pt x="18" y="33"/>
                      <a:pt x="18" y="33"/>
                      <a:pt x="18" y="33"/>
                    </a:cubicBezTo>
                    <a:cubicBezTo>
                      <a:pt x="15" y="39"/>
                      <a:pt x="10" y="39"/>
                      <a:pt x="12" y="46"/>
                    </a:cubicBezTo>
                    <a:cubicBezTo>
                      <a:pt x="12" y="47"/>
                      <a:pt x="15" y="54"/>
                      <a:pt x="13" y="54"/>
                    </a:cubicBezTo>
                    <a:cubicBezTo>
                      <a:pt x="12" y="54"/>
                      <a:pt x="12" y="54"/>
                      <a:pt x="11" y="53"/>
                    </a:cubicBezTo>
                    <a:cubicBezTo>
                      <a:pt x="11" y="54"/>
                      <a:pt x="11" y="54"/>
                      <a:pt x="11" y="54"/>
                    </a:cubicBezTo>
                    <a:cubicBezTo>
                      <a:pt x="11" y="55"/>
                      <a:pt x="13" y="56"/>
                      <a:pt x="14" y="56"/>
                    </a:cubicBezTo>
                    <a:cubicBezTo>
                      <a:pt x="15" y="57"/>
                      <a:pt x="16" y="57"/>
                      <a:pt x="17" y="57"/>
                    </a:cubicBezTo>
                    <a:cubicBezTo>
                      <a:pt x="18" y="57"/>
                      <a:pt x="19" y="58"/>
                      <a:pt x="20" y="58"/>
                    </a:cubicBezTo>
                    <a:cubicBezTo>
                      <a:pt x="20" y="58"/>
                      <a:pt x="20" y="58"/>
                      <a:pt x="21" y="58"/>
                    </a:cubicBezTo>
                    <a:cubicBezTo>
                      <a:pt x="21" y="57"/>
                      <a:pt x="19" y="55"/>
                      <a:pt x="19" y="54"/>
                    </a:cubicBezTo>
                    <a:cubicBezTo>
                      <a:pt x="18" y="52"/>
                      <a:pt x="19" y="50"/>
                      <a:pt x="20" y="48"/>
                    </a:cubicBezTo>
                    <a:cubicBezTo>
                      <a:pt x="20" y="48"/>
                      <a:pt x="21" y="47"/>
                      <a:pt x="22" y="47"/>
                    </a:cubicBezTo>
                    <a:cubicBezTo>
                      <a:pt x="23" y="47"/>
                      <a:pt x="23" y="47"/>
                      <a:pt x="24" y="48"/>
                    </a:cubicBezTo>
                    <a:cubicBezTo>
                      <a:pt x="24" y="49"/>
                      <a:pt x="23" y="50"/>
                      <a:pt x="22" y="50"/>
                    </a:cubicBezTo>
                    <a:cubicBezTo>
                      <a:pt x="23" y="56"/>
                      <a:pt x="24" y="56"/>
                      <a:pt x="21" y="62"/>
                    </a:cubicBezTo>
                    <a:cubicBezTo>
                      <a:pt x="24" y="60"/>
                      <a:pt x="27" y="58"/>
                      <a:pt x="30" y="56"/>
                    </a:cubicBezTo>
                    <a:cubicBezTo>
                      <a:pt x="29" y="55"/>
                      <a:pt x="30" y="53"/>
                      <a:pt x="30" y="52"/>
                    </a:cubicBezTo>
                    <a:cubicBezTo>
                      <a:pt x="32" y="53"/>
                      <a:pt x="33" y="53"/>
                      <a:pt x="33" y="53"/>
                    </a:cubicBezTo>
                    <a:cubicBezTo>
                      <a:pt x="35" y="53"/>
                      <a:pt x="35" y="52"/>
                      <a:pt x="36" y="49"/>
                    </a:cubicBezTo>
                    <a:cubicBezTo>
                      <a:pt x="36" y="48"/>
                      <a:pt x="37" y="46"/>
                      <a:pt x="37" y="45"/>
                    </a:cubicBezTo>
                    <a:cubicBezTo>
                      <a:pt x="38" y="41"/>
                      <a:pt x="39" y="37"/>
                      <a:pt x="41" y="33"/>
                    </a:cubicBezTo>
                    <a:cubicBezTo>
                      <a:pt x="42" y="31"/>
                      <a:pt x="43" y="28"/>
                      <a:pt x="44" y="25"/>
                    </a:cubicBezTo>
                    <a:cubicBezTo>
                      <a:pt x="45" y="24"/>
                      <a:pt x="47" y="22"/>
                      <a:pt x="48" y="21"/>
                    </a:cubicBezTo>
                    <a:cubicBezTo>
                      <a:pt x="47" y="21"/>
                      <a:pt x="47" y="21"/>
                      <a:pt x="47" y="21"/>
                    </a:cubicBezTo>
                    <a:cubicBezTo>
                      <a:pt x="47" y="19"/>
                      <a:pt x="47" y="15"/>
                      <a:pt x="44" y="14"/>
                    </a:cubicBezTo>
                    <a:cubicBezTo>
                      <a:pt x="44" y="14"/>
                      <a:pt x="44" y="14"/>
                      <a:pt x="44" y="14"/>
                    </a:cubicBezTo>
                    <a:cubicBezTo>
                      <a:pt x="44" y="14"/>
                      <a:pt x="44" y="14"/>
                      <a:pt x="43" y="14"/>
                    </a:cubicBezTo>
                    <a:cubicBezTo>
                      <a:pt x="43" y="14"/>
                      <a:pt x="42" y="14"/>
                      <a:pt x="42" y="14"/>
                    </a:cubicBezTo>
                    <a:cubicBezTo>
                      <a:pt x="42" y="14"/>
                      <a:pt x="42" y="14"/>
                      <a:pt x="42" y="14"/>
                    </a:cubicBezTo>
                    <a:cubicBezTo>
                      <a:pt x="40" y="14"/>
                      <a:pt x="37" y="13"/>
                      <a:pt x="37" y="12"/>
                    </a:cubicBezTo>
                    <a:cubicBezTo>
                      <a:pt x="37" y="12"/>
                      <a:pt x="37" y="12"/>
                      <a:pt x="37" y="12"/>
                    </a:cubicBezTo>
                    <a:cubicBezTo>
                      <a:pt x="38" y="12"/>
                      <a:pt x="39" y="12"/>
                      <a:pt x="39" y="11"/>
                    </a:cubicBezTo>
                    <a:cubicBezTo>
                      <a:pt x="41" y="10"/>
                      <a:pt x="41" y="6"/>
                      <a:pt x="39" y="5"/>
                    </a:cubicBezTo>
                    <a:cubicBezTo>
                      <a:pt x="39" y="5"/>
                      <a:pt x="39" y="5"/>
                      <a:pt x="39" y="5"/>
                    </a:cubicBezTo>
                    <a:cubicBezTo>
                      <a:pt x="38" y="5"/>
                      <a:pt x="37" y="6"/>
                      <a:pt x="37" y="6"/>
                    </a:cubicBezTo>
                    <a:cubicBezTo>
                      <a:pt x="36" y="7"/>
                      <a:pt x="36" y="7"/>
                      <a:pt x="35" y="7"/>
                    </a:cubicBezTo>
                    <a:cubicBezTo>
                      <a:pt x="34" y="7"/>
                      <a:pt x="34" y="7"/>
                      <a:pt x="34" y="7"/>
                    </a:cubicBezTo>
                    <a:cubicBezTo>
                      <a:pt x="31" y="7"/>
                      <a:pt x="26" y="3"/>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107"/>
              <p:cNvSpPr/>
              <p:nvPr/>
            </p:nvSpPr>
            <p:spPr bwMode="auto">
              <a:xfrm>
                <a:off x="8351" y="1730"/>
                <a:ext cx="5" cy="4"/>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0" y="2"/>
                    </a:cubicBezTo>
                    <a:cubicBezTo>
                      <a:pt x="1" y="1"/>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Freeform 108"/>
              <p:cNvSpPr/>
              <p:nvPr/>
            </p:nvSpPr>
            <p:spPr bwMode="auto">
              <a:xfrm>
                <a:off x="8405" y="1328"/>
                <a:ext cx="508" cy="421"/>
              </a:xfrm>
              <a:custGeom>
                <a:gdLst>
                  <a:gd name="T0" fmla="*/ 189 w 215"/>
                  <a:gd name="T1" fmla="*/ 8 h 178"/>
                  <a:gd name="T2" fmla="*/ 197 w 215"/>
                  <a:gd name="T3" fmla="*/ 7 h 178"/>
                  <a:gd name="T4" fmla="*/ 196 w 215"/>
                  <a:gd name="T5" fmla="*/ 15 h 178"/>
                  <a:gd name="T6" fmla="*/ 191 w 215"/>
                  <a:gd name="T7" fmla="*/ 15 h 178"/>
                  <a:gd name="T8" fmla="*/ 189 w 215"/>
                  <a:gd name="T9" fmla="*/ 16 h 178"/>
                  <a:gd name="T10" fmla="*/ 180 w 215"/>
                  <a:gd name="T11" fmla="*/ 7 h 178"/>
                  <a:gd name="T12" fmla="*/ 173 w 215"/>
                  <a:gd name="T13" fmla="*/ 25 h 178"/>
                  <a:gd name="T14" fmla="*/ 171 w 215"/>
                  <a:gd name="T15" fmla="*/ 38 h 178"/>
                  <a:gd name="T16" fmla="*/ 172 w 215"/>
                  <a:gd name="T17" fmla="*/ 37 h 178"/>
                  <a:gd name="T18" fmla="*/ 173 w 215"/>
                  <a:gd name="T19" fmla="*/ 48 h 178"/>
                  <a:gd name="T20" fmla="*/ 163 w 215"/>
                  <a:gd name="T21" fmla="*/ 76 h 178"/>
                  <a:gd name="T22" fmla="*/ 145 w 215"/>
                  <a:gd name="T23" fmla="*/ 94 h 178"/>
                  <a:gd name="T24" fmla="*/ 118 w 215"/>
                  <a:gd name="T25" fmla="*/ 106 h 178"/>
                  <a:gd name="T26" fmla="*/ 117 w 215"/>
                  <a:gd name="T27" fmla="*/ 99 h 178"/>
                  <a:gd name="T28" fmla="*/ 117 w 215"/>
                  <a:gd name="T29" fmla="*/ 100 h 178"/>
                  <a:gd name="T30" fmla="*/ 120 w 215"/>
                  <a:gd name="T31" fmla="*/ 95 h 178"/>
                  <a:gd name="T32" fmla="*/ 121 w 215"/>
                  <a:gd name="T33" fmla="*/ 95 h 178"/>
                  <a:gd name="T34" fmla="*/ 122 w 215"/>
                  <a:gd name="T35" fmla="*/ 90 h 178"/>
                  <a:gd name="T36" fmla="*/ 112 w 215"/>
                  <a:gd name="T37" fmla="*/ 103 h 178"/>
                  <a:gd name="T38" fmla="*/ 99 w 215"/>
                  <a:gd name="T39" fmla="*/ 130 h 178"/>
                  <a:gd name="T40" fmla="*/ 92 w 215"/>
                  <a:gd name="T41" fmla="*/ 134 h 178"/>
                  <a:gd name="T42" fmla="*/ 85 w 215"/>
                  <a:gd name="T43" fmla="*/ 135 h 178"/>
                  <a:gd name="T44" fmla="*/ 83 w 215"/>
                  <a:gd name="T45" fmla="*/ 128 h 178"/>
                  <a:gd name="T46" fmla="*/ 34 w 215"/>
                  <a:gd name="T47" fmla="*/ 136 h 178"/>
                  <a:gd name="T48" fmla="*/ 11 w 215"/>
                  <a:gd name="T49" fmla="*/ 155 h 178"/>
                  <a:gd name="T50" fmla="*/ 5 w 215"/>
                  <a:gd name="T51" fmla="*/ 158 h 178"/>
                  <a:gd name="T52" fmla="*/ 1 w 215"/>
                  <a:gd name="T53" fmla="*/ 158 h 178"/>
                  <a:gd name="T54" fmla="*/ 0 w 215"/>
                  <a:gd name="T55" fmla="*/ 164 h 178"/>
                  <a:gd name="T56" fmla="*/ 1 w 215"/>
                  <a:gd name="T57" fmla="*/ 168 h 178"/>
                  <a:gd name="T58" fmla="*/ 2 w 215"/>
                  <a:gd name="T59" fmla="*/ 168 h 178"/>
                  <a:gd name="T60" fmla="*/ 23 w 215"/>
                  <a:gd name="T61" fmla="*/ 169 h 178"/>
                  <a:gd name="T62" fmla="*/ 33 w 215"/>
                  <a:gd name="T63" fmla="*/ 162 h 178"/>
                  <a:gd name="T64" fmla="*/ 50 w 215"/>
                  <a:gd name="T65" fmla="*/ 156 h 178"/>
                  <a:gd name="T66" fmla="*/ 57 w 215"/>
                  <a:gd name="T67" fmla="*/ 157 h 178"/>
                  <a:gd name="T68" fmla="*/ 85 w 215"/>
                  <a:gd name="T69" fmla="*/ 151 h 178"/>
                  <a:gd name="T70" fmla="*/ 81 w 215"/>
                  <a:gd name="T71" fmla="*/ 163 h 178"/>
                  <a:gd name="T72" fmla="*/ 86 w 215"/>
                  <a:gd name="T73" fmla="*/ 173 h 178"/>
                  <a:gd name="T74" fmla="*/ 109 w 215"/>
                  <a:gd name="T75" fmla="*/ 160 h 178"/>
                  <a:gd name="T76" fmla="*/ 111 w 215"/>
                  <a:gd name="T77" fmla="*/ 159 h 178"/>
                  <a:gd name="T78" fmla="*/ 114 w 215"/>
                  <a:gd name="T79" fmla="*/ 161 h 178"/>
                  <a:gd name="T80" fmla="*/ 109 w 215"/>
                  <a:gd name="T81" fmla="*/ 151 h 178"/>
                  <a:gd name="T82" fmla="*/ 115 w 215"/>
                  <a:gd name="T83" fmla="*/ 151 h 178"/>
                  <a:gd name="T84" fmla="*/ 120 w 215"/>
                  <a:gd name="T85" fmla="*/ 152 h 178"/>
                  <a:gd name="T86" fmla="*/ 141 w 215"/>
                  <a:gd name="T87" fmla="*/ 150 h 178"/>
                  <a:gd name="T88" fmla="*/ 146 w 215"/>
                  <a:gd name="T89" fmla="*/ 145 h 178"/>
                  <a:gd name="T90" fmla="*/ 153 w 215"/>
                  <a:gd name="T91" fmla="*/ 144 h 178"/>
                  <a:gd name="T92" fmla="*/ 154 w 215"/>
                  <a:gd name="T93" fmla="*/ 152 h 178"/>
                  <a:gd name="T94" fmla="*/ 163 w 215"/>
                  <a:gd name="T95" fmla="*/ 141 h 178"/>
                  <a:gd name="T96" fmla="*/ 171 w 215"/>
                  <a:gd name="T97" fmla="*/ 147 h 178"/>
                  <a:gd name="T98" fmla="*/ 182 w 215"/>
                  <a:gd name="T99" fmla="*/ 139 h 178"/>
                  <a:gd name="T100" fmla="*/ 186 w 215"/>
                  <a:gd name="T101" fmla="*/ 114 h 178"/>
                  <a:gd name="T102" fmla="*/ 193 w 215"/>
                  <a:gd name="T103" fmla="*/ 96 h 178"/>
                  <a:gd name="T104" fmla="*/ 197 w 215"/>
                  <a:gd name="T105" fmla="*/ 72 h 178"/>
                  <a:gd name="T106" fmla="*/ 203 w 215"/>
                  <a:gd name="T107" fmla="*/ 73 h 178"/>
                  <a:gd name="T108" fmla="*/ 205 w 215"/>
                  <a:gd name="T109" fmla="*/ 58 h 178"/>
                  <a:gd name="T110" fmla="*/ 209 w 215"/>
                  <a:gd name="T111" fmla="*/ 57 h 178"/>
                  <a:gd name="T112" fmla="*/ 201 w 215"/>
                  <a:gd name="T113" fmla="*/ 17 h 178"/>
                  <a:gd name="T114" fmla="*/ 197 w 215"/>
                  <a:gd name="T115" fmla="*/ 2 h 1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178">
                    <a:moveTo>
                      <a:pt x="192" y="0"/>
                    </a:moveTo>
                    <a:cubicBezTo>
                      <a:pt x="192" y="0"/>
                      <a:pt x="192" y="0"/>
                      <a:pt x="192" y="0"/>
                    </a:cubicBezTo>
                    <a:cubicBezTo>
                      <a:pt x="191" y="0"/>
                      <a:pt x="188" y="6"/>
                      <a:pt x="189" y="8"/>
                    </a:cubicBezTo>
                    <a:cubicBezTo>
                      <a:pt x="189" y="9"/>
                      <a:pt x="189" y="9"/>
                      <a:pt x="190" y="9"/>
                    </a:cubicBezTo>
                    <a:cubicBezTo>
                      <a:pt x="191" y="9"/>
                      <a:pt x="192" y="8"/>
                      <a:pt x="193" y="8"/>
                    </a:cubicBezTo>
                    <a:cubicBezTo>
                      <a:pt x="195" y="7"/>
                      <a:pt x="196" y="7"/>
                      <a:pt x="197" y="7"/>
                    </a:cubicBezTo>
                    <a:cubicBezTo>
                      <a:pt x="197" y="7"/>
                      <a:pt x="197" y="7"/>
                      <a:pt x="197" y="7"/>
                    </a:cubicBezTo>
                    <a:cubicBezTo>
                      <a:pt x="199" y="7"/>
                      <a:pt x="198" y="11"/>
                      <a:pt x="198" y="12"/>
                    </a:cubicBezTo>
                    <a:cubicBezTo>
                      <a:pt x="197" y="13"/>
                      <a:pt x="197" y="14"/>
                      <a:pt x="196" y="15"/>
                    </a:cubicBezTo>
                    <a:cubicBezTo>
                      <a:pt x="196" y="15"/>
                      <a:pt x="195" y="15"/>
                      <a:pt x="195" y="15"/>
                    </a:cubicBezTo>
                    <a:cubicBezTo>
                      <a:pt x="194" y="15"/>
                      <a:pt x="193" y="15"/>
                      <a:pt x="193" y="15"/>
                    </a:cubicBezTo>
                    <a:cubicBezTo>
                      <a:pt x="192" y="15"/>
                      <a:pt x="191" y="15"/>
                      <a:pt x="191" y="15"/>
                    </a:cubicBezTo>
                    <a:cubicBezTo>
                      <a:pt x="191" y="15"/>
                      <a:pt x="191" y="15"/>
                      <a:pt x="190" y="15"/>
                    </a:cubicBezTo>
                    <a:cubicBezTo>
                      <a:pt x="190" y="15"/>
                      <a:pt x="190" y="16"/>
                      <a:pt x="189" y="16"/>
                    </a:cubicBezTo>
                    <a:cubicBezTo>
                      <a:pt x="189" y="16"/>
                      <a:pt x="189" y="16"/>
                      <a:pt x="189" y="16"/>
                    </a:cubicBezTo>
                    <a:cubicBezTo>
                      <a:pt x="187" y="16"/>
                      <a:pt x="187" y="12"/>
                      <a:pt x="186" y="10"/>
                    </a:cubicBezTo>
                    <a:cubicBezTo>
                      <a:pt x="186" y="9"/>
                      <a:pt x="187" y="9"/>
                      <a:pt x="186" y="8"/>
                    </a:cubicBezTo>
                    <a:cubicBezTo>
                      <a:pt x="185" y="7"/>
                      <a:pt x="182" y="7"/>
                      <a:pt x="180" y="7"/>
                    </a:cubicBezTo>
                    <a:cubicBezTo>
                      <a:pt x="181" y="10"/>
                      <a:pt x="182" y="11"/>
                      <a:pt x="180" y="14"/>
                    </a:cubicBezTo>
                    <a:cubicBezTo>
                      <a:pt x="178" y="15"/>
                      <a:pt x="175" y="17"/>
                      <a:pt x="174" y="18"/>
                    </a:cubicBezTo>
                    <a:cubicBezTo>
                      <a:pt x="171" y="21"/>
                      <a:pt x="171" y="21"/>
                      <a:pt x="173" y="25"/>
                    </a:cubicBezTo>
                    <a:cubicBezTo>
                      <a:pt x="174" y="27"/>
                      <a:pt x="171" y="33"/>
                      <a:pt x="170" y="35"/>
                    </a:cubicBezTo>
                    <a:cubicBezTo>
                      <a:pt x="170" y="35"/>
                      <a:pt x="169" y="35"/>
                      <a:pt x="168" y="35"/>
                    </a:cubicBezTo>
                    <a:cubicBezTo>
                      <a:pt x="169" y="36"/>
                      <a:pt x="170" y="37"/>
                      <a:pt x="171" y="38"/>
                    </a:cubicBezTo>
                    <a:cubicBezTo>
                      <a:pt x="171" y="38"/>
                      <a:pt x="171" y="38"/>
                      <a:pt x="171" y="38"/>
                    </a:cubicBezTo>
                    <a:cubicBezTo>
                      <a:pt x="171" y="38"/>
                      <a:pt x="171" y="38"/>
                      <a:pt x="171" y="37"/>
                    </a:cubicBezTo>
                    <a:cubicBezTo>
                      <a:pt x="172" y="37"/>
                      <a:pt x="172" y="37"/>
                      <a:pt x="172" y="37"/>
                    </a:cubicBezTo>
                    <a:cubicBezTo>
                      <a:pt x="172" y="37"/>
                      <a:pt x="172" y="37"/>
                      <a:pt x="172" y="37"/>
                    </a:cubicBezTo>
                    <a:cubicBezTo>
                      <a:pt x="173" y="37"/>
                      <a:pt x="174" y="38"/>
                      <a:pt x="174" y="39"/>
                    </a:cubicBezTo>
                    <a:cubicBezTo>
                      <a:pt x="176" y="41"/>
                      <a:pt x="174" y="45"/>
                      <a:pt x="173" y="48"/>
                    </a:cubicBezTo>
                    <a:cubicBezTo>
                      <a:pt x="172" y="54"/>
                      <a:pt x="170" y="59"/>
                      <a:pt x="167" y="65"/>
                    </a:cubicBezTo>
                    <a:cubicBezTo>
                      <a:pt x="165" y="67"/>
                      <a:pt x="164" y="70"/>
                      <a:pt x="163" y="73"/>
                    </a:cubicBezTo>
                    <a:cubicBezTo>
                      <a:pt x="163" y="74"/>
                      <a:pt x="163" y="75"/>
                      <a:pt x="163" y="76"/>
                    </a:cubicBezTo>
                    <a:cubicBezTo>
                      <a:pt x="162" y="78"/>
                      <a:pt x="159" y="80"/>
                      <a:pt x="158" y="81"/>
                    </a:cubicBezTo>
                    <a:cubicBezTo>
                      <a:pt x="154" y="84"/>
                      <a:pt x="151" y="87"/>
                      <a:pt x="148" y="90"/>
                    </a:cubicBezTo>
                    <a:cubicBezTo>
                      <a:pt x="147" y="92"/>
                      <a:pt x="147" y="93"/>
                      <a:pt x="145" y="94"/>
                    </a:cubicBezTo>
                    <a:cubicBezTo>
                      <a:pt x="140" y="96"/>
                      <a:pt x="134" y="99"/>
                      <a:pt x="129" y="102"/>
                    </a:cubicBezTo>
                    <a:cubicBezTo>
                      <a:pt x="126" y="103"/>
                      <a:pt x="124" y="107"/>
                      <a:pt x="121" y="107"/>
                    </a:cubicBezTo>
                    <a:cubicBezTo>
                      <a:pt x="120" y="107"/>
                      <a:pt x="119" y="107"/>
                      <a:pt x="118" y="106"/>
                    </a:cubicBezTo>
                    <a:cubicBezTo>
                      <a:pt x="117" y="105"/>
                      <a:pt x="117" y="105"/>
                      <a:pt x="117" y="103"/>
                    </a:cubicBezTo>
                    <a:cubicBezTo>
                      <a:pt x="118" y="103"/>
                      <a:pt x="118" y="100"/>
                      <a:pt x="118" y="100"/>
                    </a:cubicBezTo>
                    <a:cubicBezTo>
                      <a:pt x="118" y="99"/>
                      <a:pt x="117" y="99"/>
                      <a:pt x="117" y="99"/>
                    </a:cubicBezTo>
                    <a:cubicBezTo>
                      <a:pt x="117" y="99"/>
                      <a:pt x="117" y="99"/>
                      <a:pt x="117" y="100"/>
                    </a:cubicBezTo>
                    <a:cubicBezTo>
                      <a:pt x="117" y="100"/>
                      <a:pt x="117" y="100"/>
                      <a:pt x="117" y="100"/>
                    </a:cubicBezTo>
                    <a:cubicBezTo>
                      <a:pt x="117" y="100"/>
                      <a:pt x="117" y="100"/>
                      <a:pt x="117" y="100"/>
                    </a:cubicBezTo>
                    <a:cubicBezTo>
                      <a:pt x="116" y="100"/>
                      <a:pt x="114" y="100"/>
                      <a:pt x="114" y="99"/>
                    </a:cubicBezTo>
                    <a:cubicBezTo>
                      <a:pt x="114" y="97"/>
                      <a:pt x="117" y="97"/>
                      <a:pt x="117" y="97"/>
                    </a:cubicBezTo>
                    <a:cubicBezTo>
                      <a:pt x="118" y="97"/>
                      <a:pt x="119" y="96"/>
                      <a:pt x="120" y="95"/>
                    </a:cubicBezTo>
                    <a:cubicBezTo>
                      <a:pt x="120" y="95"/>
                      <a:pt x="120" y="95"/>
                      <a:pt x="120" y="95"/>
                    </a:cubicBezTo>
                    <a:cubicBezTo>
                      <a:pt x="120" y="95"/>
                      <a:pt x="120" y="95"/>
                      <a:pt x="120" y="95"/>
                    </a:cubicBezTo>
                    <a:cubicBezTo>
                      <a:pt x="121" y="95"/>
                      <a:pt x="121" y="95"/>
                      <a:pt x="121" y="95"/>
                    </a:cubicBezTo>
                    <a:cubicBezTo>
                      <a:pt x="121" y="95"/>
                      <a:pt x="121" y="95"/>
                      <a:pt x="121" y="95"/>
                    </a:cubicBezTo>
                    <a:cubicBezTo>
                      <a:pt x="123" y="94"/>
                      <a:pt x="125" y="90"/>
                      <a:pt x="122" y="90"/>
                    </a:cubicBezTo>
                    <a:cubicBezTo>
                      <a:pt x="122" y="90"/>
                      <a:pt x="122" y="90"/>
                      <a:pt x="122" y="90"/>
                    </a:cubicBezTo>
                    <a:cubicBezTo>
                      <a:pt x="121" y="90"/>
                      <a:pt x="119" y="91"/>
                      <a:pt x="119" y="91"/>
                    </a:cubicBezTo>
                    <a:cubicBezTo>
                      <a:pt x="117" y="92"/>
                      <a:pt x="114" y="92"/>
                      <a:pt x="113" y="93"/>
                    </a:cubicBezTo>
                    <a:cubicBezTo>
                      <a:pt x="110" y="95"/>
                      <a:pt x="113" y="100"/>
                      <a:pt x="112" y="103"/>
                    </a:cubicBezTo>
                    <a:cubicBezTo>
                      <a:pt x="112" y="106"/>
                      <a:pt x="109" y="109"/>
                      <a:pt x="107" y="111"/>
                    </a:cubicBezTo>
                    <a:cubicBezTo>
                      <a:pt x="104" y="115"/>
                      <a:pt x="99" y="120"/>
                      <a:pt x="98" y="124"/>
                    </a:cubicBezTo>
                    <a:cubicBezTo>
                      <a:pt x="98" y="127"/>
                      <a:pt x="100" y="128"/>
                      <a:pt x="99" y="130"/>
                    </a:cubicBezTo>
                    <a:cubicBezTo>
                      <a:pt x="99" y="130"/>
                      <a:pt x="99" y="130"/>
                      <a:pt x="99" y="130"/>
                    </a:cubicBezTo>
                    <a:cubicBezTo>
                      <a:pt x="97" y="130"/>
                      <a:pt x="95" y="133"/>
                      <a:pt x="94" y="133"/>
                    </a:cubicBezTo>
                    <a:cubicBezTo>
                      <a:pt x="93" y="134"/>
                      <a:pt x="93" y="134"/>
                      <a:pt x="92" y="134"/>
                    </a:cubicBezTo>
                    <a:cubicBezTo>
                      <a:pt x="91" y="134"/>
                      <a:pt x="91" y="134"/>
                      <a:pt x="90" y="134"/>
                    </a:cubicBezTo>
                    <a:cubicBezTo>
                      <a:pt x="89" y="134"/>
                      <a:pt x="89" y="134"/>
                      <a:pt x="88" y="134"/>
                    </a:cubicBezTo>
                    <a:cubicBezTo>
                      <a:pt x="87" y="134"/>
                      <a:pt x="86" y="134"/>
                      <a:pt x="85" y="135"/>
                    </a:cubicBezTo>
                    <a:cubicBezTo>
                      <a:pt x="84" y="134"/>
                      <a:pt x="83" y="133"/>
                      <a:pt x="84" y="131"/>
                    </a:cubicBezTo>
                    <a:cubicBezTo>
                      <a:pt x="84" y="130"/>
                      <a:pt x="85" y="130"/>
                      <a:pt x="85" y="130"/>
                    </a:cubicBezTo>
                    <a:cubicBezTo>
                      <a:pt x="84" y="129"/>
                      <a:pt x="84" y="128"/>
                      <a:pt x="83" y="128"/>
                    </a:cubicBezTo>
                    <a:cubicBezTo>
                      <a:pt x="81" y="128"/>
                      <a:pt x="77" y="131"/>
                      <a:pt x="76" y="131"/>
                    </a:cubicBezTo>
                    <a:cubicBezTo>
                      <a:pt x="69" y="132"/>
                      <a:pt x="61" y="132"/>
                      <a:pt x="54" y="132"/>
                    </a:cubicBezTo>
                    <a:cubicBezTo>
                      <a:pt x="47" y="133"/>
                      <a:pt x="41" y="134"/>
                      <a:pt x="34" y="136"/>
                    </a:cubicBezTo>
                    <a:cubicBezTo>
                      <a:pt x="35" y="139"/>
                      <a:pt x="32" y="139"/>
                      <a:pt x="30" y="141"/>
                    </a:cubicBezTo>
                    <a:cubicBezTo>
                      <a:pt x="26" y="144"/>
                      <a:pt x="21" y="148"/>
                      <a:pt x="17" y="151"/>
                    </a:cubicBezTo>
                    <a:cubicBezTo>
                      <a:pt x="15" y="152"/>
                      <a:pt x="13" y="153"/>
                      <a:pt x="11" y="155"/>
                    </a:cubicBezTo>
                    <a:cubicBezTo>
                      <a:pt x="10" y="156"/>
                      <a:pt x="10" y="158"/>
                      <a:pt x="8" y="158"/>
                    </a:cubicBezTo>
                    <a:cubicBezTo>
                      <a:pt x="7" y="158"/>
                      <a:pt x="7" y="158"/>
                      <a:pt x="7" y="158"/>
                    </a:cubicBezTo>
                    <a:cubicBezTo>
                      <a:pt x="6" y="158"/>
                      <a:pt x="5" y="158"/>
                      <a:pt x="5" y="158"/>
                    </a:cubicBezTo>
                    <a:cubicBezTo>
                      <a:pt x="4" y="157"/>
                      <a:pt x="3" y="157"/>
                      <a:pt x="3" y="157"/>
                    </a:cubicBezTo>
                    <a:cubicBezTo>
                      <a:pt x="2" y="157"/>
                      <a:pt x="2" y="157"/>
                      <a:pt x="1" y="158"/>
                    </a:cubicBezTo>
                    <a:cubicBezTo>
                      <a:pt x="1" y="158"/>
                      <a:pt x="1" y="158"/>
                      <a:pt x="1" y="158"/>
                    </a:cubicBezTo>
                    <a:cubicBezTo>
                      <a:pt x="1" y="158"/>
                      <a:pt x="0" y="159"/>
                      <a:pt x="0" y="160"/>
                    </a:cubicBezTo>
                    <a:cubicBezTo>
                      <a:pt x="0" y="161"/>
                      <a:pt x="1" y="162"/>
                      <a:pt x="1" y="163"/>
                    </a:cubicBezTo>
                    <a:cubicBezTo>
                      <a:pt x="1" y="163"/>
                      <a:pt x="0" y="163"/>
                      <a:pt x="0" y="164"/>
                    </a:cubicBezTo>
                    <a:cubicBezTo>
                      <a:pt x="0" y="164"/>
                      <a:pt x="0" y="165"/>
                      <a:pt x="0" y="165"/>
                    </a:cubicBezTo>
                    <a:cubicBezTo>
                      <a:pt x="0" y="166"/>
                      <a:pt x="1" y="166"/>
                      <a:pt x="0" y="167"/>
                    </a:cubicBezTo>
                    <a:cubicBezTo>
                      <a:pt x="0" y="168"/>
                      <a:pt x="1" y="168"/>
                      <a:pt x="1" y="168"/>
                    </a:cubicBezTo>
                    <a:cubicBezTo>
                      <a:pt x="1" y="168"/>
                      <a:pt x="1" y="168"/>
                      <a:pt x="2" y="167"/>
                    </a:cubicBezTo>
                    <a:cubicBezTo>
                      <a:pt x="2" y="167"/>
                      <a:pt x="2" y="167"/>
                      <a:pt x="2" y="167"/>
                    </a:cubicBezTo>
                    <a:cubicBezTo>
                      <a:pt x="2" y="167"/>
                      <a:pt x="2" y="167"/>
                      <a:pt x="2" y="168"/>
                    </a:cubicBezTo>
                    <a:cubicBezTo>
                      <a:pt x="8" y="167"/>
                      <a:pt x="13" y="167"/>
                      <a:pt x="18" y="166"/>
                    </a:cubicBezTo>
                    <a:cubicBezTo>
                      <a:pt x="17" y="167"/>
                      <a:pt x="20" y="167"/>
                      <a:pt x="21" y="168"/>
                    </a:cubicBezTo>
                    <a:cubicBezTo>
                      <a:pt x="21" y="168"/>
                      <a:pt x="23" y="168"/>
                      <a:pt x="23" y="169"/>
                    </a:cubicBezTo>
                    <a:cubicBezTo>
                      <a:pt x="24" y="168"/>
                      <a:pt x="26" y="159"/>
                      <a:pt x="29" y="159"/>
                    </a:cubicBezTo>
                    <a:cubicBezTo>
                      <a:pt x="29" y="159"/>
                      <a:pt x="29" y="159"/>
                      <a:pt x="29" y="159"/>
                    </a:cubicBezTo>
                    <a:cubicBezTo>
                      <a:pt x="32" y="160"/>
                      <a:pt x="31" y="162"/>
                      <a:pt x="33" y="162"/>
                    </a:cubicBezTo>
                    <a:cubicBezTo>
                      <a:pt x="34" y="162"/>
                      <a:pt x="35" y="162"/>
                      <a:pt x="35" y="162"/>
                    </a:cubicBezTo>
                    <a:cubicBezTo>
                      <a:pt x="40" y="162"/>
                      <a:pt x="44" y="159"/>
                      <a:pt x="48" y="157"/>
                    </a:cubicBezTo>
                    <a:cubicBezTo>
                      <a:pt x="49" y="156"/>
                      <a:pt x="50" y="156"/>
                      <a:pt x="50" y="156"/>
                    </a:cubicBezTo>
                    <a:cubicBezTo>
                      <a:pt x="51" y="156"/>
                      <a:pt x="52" y="156"/>
                      <a:pt x="53" y="156"/>
                    </a:cubicBezTo>
                    <a:cubicBezTo>
                      <a:pt x="54" y="157"/>
                      <a:pt x="55" y="157"/>
                      <a:pt x="56" y="157"/>
                    </a:cubicBezTo>
                    <a:cubicBezTo>
                      <a:pt x="56" y="157"/>
                      <a:pt x="57" y="157"/>
                      <a:pt x="57" y="157"/>
                    </a:cubicBezTo>
                    <a:cubicBezTo>
                      <a:pt x="59" y="156"/>
                      <a:pt x="58" y="154"/>
                      <a:pt x="60" y="153"/>
                    </a:cubicBezTo>
                    <a:cubicBezTo>
                      <a:pt x="61" y="152"/>
                      <a:pt x="64" y="151"/>
                      <a:pt x="66" y="151"/>
                    </a:cubicBezTo>
                    <a:cubicBezTo>
                      <a:pt x="72" y="151"/>
                      <a:pt x="79" y="151"/>
                      <a:pt x="85" y="151"/>
                    </a:cubicBezTo>
                    <a:cubicBezTo>
                      <a:pt x="90" y="151"/>
                      <a:pt x="87" y="155"/>
                      <a:pt x="85" y="156"/>
                    </a:cubicBezTo>
                    <a:cubicBezTo>
                      <a:pt x="83" y="157"/>
                      <a:pt x="82" y="159"/>
                      <a:pt x="80" y="160"/>
                    </a:cubicBezTo>
                    <a:cubicBezTo>
                      <a:pt x="80" y="160"/>
                      <a:pt x="81" y="162"/>
                      <a:pt x="81" y="163"/>
                    </a:cubicBezTo>
                    <a:cubicBezTo>
                      <a:pt x="81" y="163"/>
                      <a:pt x="81" y="164"/>
                      <a:pt x="81" y="164"/>
                    </a:cubicBezTo>
                    <a:cubicBezTo>
                      <a:pt x="81" y="166"/>
                      <a:pt x="81" y="167"/>
                      <a:pt x="80" y="169"/>
                    </a:cubicBezTo>
                    <a:cubicBezTo>
                      <a:pt x="82" y="170"/>
                      <a:pt x="84" y="171"/>
                      <a:pt x="86" y="173"/>
                    </a:cubicBezTo>
                    <a:cubicBezTo>
                      <a:pt x="82" y="174"/>
                      <a:pt x="93" y="178"/>
                      <a:pt x="93" y="178"/>
                    </a:cubicBezTo>
                    <a:cubicBezTo>
                      <a:pt x="97" y="174"/>
                      <a:pt x="101" y="169"/>
                      <a:pt x="105" y="164"/>
                    </a:cubicBezTo>
                    <a:cubicBezTo>
                      <a:pt x="106" y="162"/>
                      <a:pt x="107" y="161"/>
                      <a:pt x="109" y="160"/>
                    </a:cubicBezTo>
                    <a:cubicBezTo>
                      <a:pt x="109" y="160"/>
                      <a:pt x="110" y="160"/>
                      <a:pt x="110" y="160"/>
                    </a:cubicBezTo>
                    <a:cubicBezTo>
                      <a:pt x="111" y="160"/>
                      <a:pt x="111" y="159"/>
                      <a:pt x="111" y="159"/>
                    </a:cubicBezTo>
                    <a:cubicBezTo>
                      <a:pt x="111" y="159"/>
                      <a:pt x="111" y="159"/>
                      <a:pt x="111" y="159"/>
                    </a:cubicBezTo>
                    <a:cubicBezTo>
                      <a:pt x="112" y="159"/>
                      <a:pt x="112" y="160"/>
                      <a:pt x="111" y="160"/>
                    </a:cubicBezTo>
                    <a:cubicBezTo>
                      <a:pt x="112" y="160"/>
                      <a:pt x="112" y="160"/>
                      <a:pt x="113" y="160"/>
                    </a:cubicBezTo>
                    <a:cubicBezTo>
                      <a:pt x="114" y="160"/>
                      <a:pt x="114" y="160"/>
                      <a:pt x="114" y="161"/>
                    </a:cubicBezTo>
                    <a:cubicBezTo>
                      <a:pt x="115" y="161"/>
                      <a:pt x="115" y="161"/>
                      <a:pt x="115" y="161"/>
                    </a:cubicBezTo>
                    <a:cubicBezTo>
                      <a:pt x="114" y="157"/>
                      <a:pt x="112" y="155"/>
                      <a:pt x="110" y="154"/>
                    </a:cubicBezTo>
                    <a:cubicBezTo>
                      <a:pt x="108" y="153"/>
                      <a:pt x="107" y="154"/>
                      <a:pt x="109" y="151"/>
                    </a:cubicBezTo>
                    <a:cubicBezTo>
                      <a:pt x="109" y="148"/>
                      <a:pt x="111" y="144"/>
                      <a:pt x="115" y="143"/>
                    </a:cubicBezTo>
                    <a:cubicBezTo>
                      <a:pt x="114" y="146"/>
                      <a:pt x="113" y="147"/>
                      <a:pt x="114" y="149"/>
                    </a:cubicBezTo>
                    <a:cubicBezTo>
                      <a:pt x="115" y="150"/>
                      <a:pt x="115" y="151"/>
                      <a:pt x="115" y="151"/>
                    </a:cubicBezTo>
                    <a:cubicBezTo>
                      <a:pt x="115" y="151"/>
                      <a:pt x="115" y="150"/>
                      <a:pt x="115" y="149"/>
                    </a:cubicBezTo>
                    <a:cubicBezTo>
                      <a:pt x="116" y="148"/>
                      <a:pt x="116" y="147"/>
                      <a:pt x="116" y="146"/>
                    </a:cubicBezTo>
                    <a:cubicBezTo>
                      <a:pt x="117" y="150"/>
                      <a:pt x="118" y="149"/>
                      <a:pt x="120" y="152"/>
                    </a:cubicBezTo>
                    <a:cubicBezTo>
                      <a:pt x="119" y="153"/>
                      <a:pt x="118" y="152"/>
                      <a:pt x="117" y="154"/>
                    </a:cubicBezTo>
                    <a:cubicBezTo>
                      <a:pt x="122" y="153"/>
                      <a:pt x="127" y="152"/>
                      <a:pt x="132" y="151"/>
                    </a:cubicBezTo>
                    <a:cubicBezTo>
                      <a:pt x="134" y="151"/>
                      <a:pt x="140" y="152"/>
                      <a:pt x="141" y="150"/>
                    </a:cubicBezTo>
                    <a:cubicBezTo>
                      <a:pt x="143" y="149"/>
                      <a:pt x="142" y="147"/>
                      <a:pt x="144" y="146"/>
                    </a:cubicBezTo>
                    <a:cubicBezTo>
                      <a:pt x="145" y="145"/>
                      <a:pt x="146" y="145"/>
                      <a:pt x="146" y="145"/>
                    </a:cubicBezTo>
                    <a:cubicBezTo>
                      <a:pt x="146" y="145"/>
                      <a:pt x="146" y="145"/>
                      <a:pt x="146" y="145"/>
                    </a:cubicBezTo>
                    <a:cubicBezTo>
                      <a:pt x="146" y="145"/>
                      <a:pt x="146" y="144"/>
                      <a:pt x="146" y="143"/>
                    </a:cubicBezTo>
                    <a:cubicBezTo>
                      <a:pt x="147" y="142"/>
                      <a:pt x="148" y="142"/>
                      <a:pt x="149" y="142"/>
                    </a:cubicBezTo>
                    <a:cubicBezTo>
                      <a:pt x="150" y="142"/>
                      <a:pt x="152" y="143"/>
                      <a:pt x="153" y="144"/>
                    </a:cubicBezTo>
                    <a:cubicBezTo>
                      <a:pt x="152" y="144"/>
                      <a:pt x="151" y="144"/>
                      <a:pt x="151" y="145"/>
                    </a:cubicBezTo>
                    <a:cubicBezTo>
                      <a:pt x="150" y="147"/>
                      <a:pt x="152" y="152"/>
                      <a:pt x="152" y="153"/>
                    </a:cubicBezTo>
                    <a:cubicBezTo>
                      <a:pt x="152" y="153"/>
                      <a:pt x="153" y="153"/>
                      <a:pt x="154" y="152"/>
                    </a:cubicBezTo>
                    <a:cubicBezTo>
                      <a:pt x="156" y="151"/>
                      <a:pt x="158" y="148"/>
                      <a:pt x="157" y="145"/>
                    </a:cubicBezTo>
                    <a:cubicBezTo>
                      <a:pt x="157" y="144"/>
                      <a:pt x="157" y="143"/>
                      <a:pt x="157" y="143"/>
                    </a:cubicBezTo>
                    <a:cubicBezTo>
                      <a:pt x="159" y="142"/>
                      <a:pt x="161" y="141"/>
                      <a:pt x="163" y="141"/>
                    </a:cubicBezTo>
                    <a:cubicBezTo>
                      <a:pt x="166" y="141"/>
                      <a:pt x="169" y="143"/>
                      <a:pt x="170" y="145"/>
                    </a:cubicBezTo>
                    <a:cubicBezTo>
                      <a:pt x="170" y="146"/>
                      <a:pt x="170" y="146"/>
                      <a:pt x="170" y="146"/>
                    </a:cubicBezTo>
                    <a:cubicBezTo>
                      <a:pt x="170" y="146"/>
                      <a:pt x="171" y="147"/>
                      <a:pt x="171" y="147"/>
                    </a:cubicBezTo>
                    <a:cubicBezTo>
                      <a:pt x="171" y="147"/>
                      <a:pt x="171" y="147"/>
                      <a:pt x="171" y="147"/>
                    </a:cubicBezTo>
                    <a:cubicBezTo>
                      <a:pt x="172" y="147"/>
                      <a:pt x="172" y="147"/>
                      <a:pt x="173" y="146"/>
                    </a:cubicBezTo>
                    <a:cubicBezTo>
                      <a:pt x="176" y="146"/>
                      <a:pt x="181" y="142"/>
                      <a:pt x="182" y="139"/>
                    </a:cubicBezTo>
                    <a:cubicBezTo>
                      <a:pt x="182" y="133"/>
                      <a:pt x="185" y="132"/>
                      <a:pt x="190" y="129"/>
                    </a:cubicBezTo>
                    <a:cubicBezTo>
                      <a:pt x="189" y="126"/>
                      <a:pt x="186" y="124"/>
                      <a:pt x="185" y="121"/>
                    </a:cubicBezTo>
                    <a:cubicBezTo>
                      <a:pt x="185" y="119"/>
                      <a:pt x="185" y="116"/>
                      <a:pt x="186" y="114"/>
                    </a:cubicBezTo>
                    <a:cubicBezTo>
                      <a:pt x="187" y="111"/>
                      <a:pt x="188" y="108"/>
                      <a:pt x="189" y="105"/>
                    </a:cubicBezTo>
                    <a:cubicBezTo>
                      <a:pt x="189" y="103"/>
                      <a:pt x="191" y="103"/>
                      <a:pt x="192" y="102"/>
                    </a:cubicBezTo>
                    <a:cubicBezTo>
                      <a:pt x="193" y="101"/>
                      <a:pt x="193" y="98"/>
                      <a:pt x="193" y="96"/>
                    </a:cubicBezTo>
                    <a:cubicBezTo>
                      <a:pt x="193" y="91"/>
                      <a:pt x="191" y="85"/>
                      <a:pt x="192" y="80"/>
                    </a:cubicBezTo>
                    <a:cubicBezTo>
                      <a:pt x="192" y="78"/>
                      <a:pt x="192" y="76"/>
                      <a:pt x="193" y="74"/>
                    </a:cubicBezTo>
                    <a:cubicBezTo>
                      <a:pt x="194" y="72"/>
                      <a:pt x="194" y="73"/>
                      <a:pt x="197" y="72"/>
                    </a:cubicBezTo>
                    <a:cubicBezTo>
                      <a:pt x="198" y="71"/>
                      <a:pt x="198" y="70"/>
                      <a:pt x="199" y="70"/>
                    </a:cubicBezTo>
                    <a:cubicBezTo>
                      <a:pt x="199" y="70"/>
                      <a:pt x="199" y="70"/>
                      <a:pt x="199" y="70"/>
                    </a:cubicBezTo>
                    <a:cubicBezTo>
                      <a:pt x="201" y="70"/>
                      <a:pt x="202" y="72"/>
                      <a:pt x="203" y="73"/>
                    </a:cubicBezTo>
                    <a:cubicBezTo>
                      <a:pt x="202" y="67"/>
                      <a:pt x="202" y="65"/>
                      <a:pt x="204" y="60"/>
                    </a:cubicBezTo>
                    <a:cubicBezTo>
                      <a:pt x="205" y="58"/>
                      <a:pt x="205" y="58"/>
                      <a:pt x="205" y="58"/>
                    </a:cubicBezTo>
                    <a:cubicBezTo>
                      <a:pt x="205" y="58"/>
                      <a:pt x="205" y="58"/>
                      <a:pt x="205" y="58"/>
                    </a:cubicBezTo>
                    <a:cubicBezTo>
                      <a:pt x="206" y="58"/>
                      <a:pt x="206" y="58"/>
                      <a:pt x="207" y="58"/>
                    </a:cubicBezTo>
                    <a:cubicBezTo>
                      <a:pt x="207" y="57"/>
                      <a:pt x="207" y="57"/>
                      <a:pt x="207" y="57"/>
                    </a:cubicBezTo>
                    <a:cubicBezTo>
                      <a:pt x="209" y="57"/>
                      <a:pt x="209" y="57"/>
                      <a:pt x="209" y="57"/>
                    </a:cubicBezTo>
                    <a:cubicBezTo>
                      <a:pt x="210" y="55"/>
                      <a:pt x="213" y="47"/>
                      <a:pt x="212" y="46"/>
                    </a:cubicBezTo>
                    <a:cubicBezTo>
                      <a:pt x="215" y="44"/>
                      <a:pt x="208" y="32"/>
                      <a:pt x="207" y="28"/>
                    </a:cubicBezTo>
                    <a:cubicBezTo>
                      <a:pt x="206" y="24"/>
                      <a:pt x="202" y="21"/>
                      <a:pt x="201" y="17"/>
                    </a:cubicBezTo>
                    <a:cubicBezTo>
                      <a:pt x="200" y="13"/>
                      <a:pt x="201" y="9"/>
                      <a:pt x="201" y="5"/>
                    </a:cubicBezTo>
                    <a:cubicBezTo>
                      <a:pt x="201" y="5"/>
                      <a:pt x="202" y="4"/>
                      <a:pt x="202" y="3"/>
                    </a:cubicBezTo>
                    <a:cubicBezTo>
                      <a:pt x="202" y="2"/>
                      <a:pt x="198" y="2"/>
                      <a:pt x="197" y="2"/>
                    </a:cubicBezTo>
                    <a:cubicBezTo>
                      <a:pt x="196" y="2"/>
                      <a:pt x="193"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Freeform 109"/>
              <p:cNvSpPr>
                <a:spLocks noEditPoints="1"/>
              </p:cNvSpPr>
              <p:nvPr/>
            </p:nvSpPr>
            <p:spPr bwMode="auto">
              <a:xfrm>
                <a:off x="8457" y="1704"/>
                <a:ext cx="123" cy="82"/>
              </a:xfrm>
              <a:custGeom>
                <a:gdLst>
                  <a:gd name="T0" fmla="*/ 0 w 52"/>
                  <a:gd name="T1" fmla="*/ 21 h 35"/>
                  <a:gd name="T2" fmla="*/ 0 w 52"/>
                  <a:gd name="T3" fmla="*/ 21 h 35"/>
                  <a:gd name="T4" fmla="*/ 0 w 52"/>
                  <a:gd name="T5" fmla="*/ 21 h 35"/>
                  <a:gd name="T6" fmla="*/ 37 w 52"/>
                  <a:gd name="T7" fmla="*/ 0 h 35"/>
                  <a:gd name="T8" fmla="*/ 29 w 52"/>
                  <a:gd name="T9" fmla="*/ 2 h 35"/>
                  <a:gd name="T10" fmla="*/ 30 w 52"/>
                  <a:gd name="T11" fmla="*/ 7 h 35"/>
                  <a:gd name="T12" fmla="*/ 22 w 52"/>
                  <a:gd name="T13" fmla="*/ 9 h 35"/>
                  <a:gd name="T14" fmla="*/ 20 w 52"/>
                  <a:gd name="T15" fmla="*/ 8 h 35"/>
                  <a:gd name="T16" fmla="*/ 17 w 52"/>
                  <a:gd name="T17" fmla="*/ 5 h 35"/>
                  <a:gd name="T18" fmla="*/ 17 w 52"/>
                  <a:gd name="T19" fmla="*/ 5 h 35"/>
                  <a:gd name="T20" fmla="*/ 13 w 52"/>
                  <a:gd name="T21" fmla="*/ 10 h 35"/>
                  <a:gd name="T22" fmla="*/ 12 w 52"/>
                  <a:gd name="T23" fmla="*/ 13 h 35"/>
                  <a:gd name="T24" fmla="*/ 0 w 52"/>
                  <a:gd name="T25" fmla="*/ 21 h 35"/>
                  <a:gd name="T26" fmla="*/ 3 w 52"/>
                  <a:gd name="T27" fmla="*/ 21 h 35"/>
                  <a:gd name="T28" fmla="*/ 5 w 52"/>
                  <a:gd name="T29" fmla="*/ 19 h 35"/>
                  <a:gd name="T30" fmla="*/ 6 w 52"/>
                  <a:gd name="T31" fmla="*/ 19 h 35"/>
                  <a:gd name="T32" fmla="*/ 7 w 52"/>
                  <a:gd name="T33" fmla="*/ 21 h 35"/>
                  <a:gd name="T34" fmla="*/ 8 w 52"/>
                  <a:gd name="T35" fmla="*/ 22 h 35"/>
                  <a:gd name="T36" fmla="*/ 9 w 52"/>
                  <a:gd name="T37" fmla="*/ 22 h 35"/>
                  <a:gd name="T38" fmla="*/ 7 w 52"/>
                  <a:gd name="T39" fmla="*/ 25 h 35"/>
                  <a:gd name="T40" fmla="*/ 8 w 52"/>
                  <a:gd name="T41" fmla="*/ 28 h 35"/>
                  <a:gd name="T42" fmla="*/ 9 w 52"/>
                  <a:gd name="T43" fmla="*/ 31 h 35"/>
                  <a:gd name="T44" fmla="*/ 10 w 52"/>
                  <a:gd name="T45" fmla="*/ 30 h 35"/>
                  <a:gd name="T46" fmla="*/ 12 w 52"/>
                  <a:gd name="T47" fmla="*/ 34 h 35"/>
                  <a:gd name="T48" fmla="*/ 13 w 52"/>
                  <a:gd name="T49" fmla="*/ 33 h 35"/>
                  <a:gd name="T50" fmla="*/ 15 w 52"/>
                  <a:gd name="T51" fmla="*/ 34 h 35"/>
                  <a:gd name="T52" fmla="*/ 18 w 52"/>
                  <a:gd name="T53" fmla="*/ 35 h 35"/>
                  <a:gd name="T54" fmla="*/ 19 w 52"/>
                  <a:gd name="T55" fmla="*/ 34 h 35"/>
                  <a:gd name="T56" fmla="*/ 18 w 52"/>
                  <a:gd name="T57" fmla="*/ 33 h 35"/>
                  <a:gd name="T58" fmla="*/ 19 w 52"/>
                  <a:gd name="T59" fmla="*/ 32 h 35"/>
                  <a:gd name="T60" fmla="*/ 26 w 52"/>
                  <a:gd name="T61" fmla="*/ 22 h 35"/>
                  <a:gd name="T62" fmla="*/ 33 w 52"/>
                  <a:gd name="T63" fmla="*/ 18 h 35"/>
                  <a:gd name="T64" fmla="*/ 36 w 52"/>
                  <a:gd name="T65" fmla="*/ 18 h 35"/>
                  <a:gd name="T66" fmla="*/ 41 w 52"/>
                  <a:gd name="T67" fmla="*/ 23 h 35"/>
                  <a:gd name="T68" fmla="*/ 52 w 52"/>
                  <a:gd name="T69" fmla="*/ 11 h 35"/>
                  <a:gd name="T70" fmla="*/ 49 w 52"/>
                  <a:gd name="T71" fmla="*/ 8 h 35"/>
                  <a:gd name="T72" fmla="*/ 50 w 52"/>
                  <a:gd name="T73" fmla="*/ 2 h 35"/>
                  <a:gd name="T74" fmla="*/ 49 w 52"/>
                  <a:gd name="T75" fmla="*/ 3 h 35"/>
                  <a:gd name="T76" fmla="*/ 49 w 52"/>
                  <a:gd name="T77" fmla="*/ 2 h 35"/>
                  <a:gd name="T78" fmla="*/ 49 w 52"/>
                  <a:gd name="T79" fmla="*/ 2 h 35"/>
                  <a:gd name="T80" fmla="*/ 48 w 52"/>
                  <a:gd name="T81" fmla="*/ 3 h 35"/>
                  <a:gd name="T82" fmla="*/ 48 w 52"/>
                  <a:gd name="T83" fmla="*/ 3 h 35"/>
                  <a:gd name="T84" fmla="*/ 38 w 52"/>
                  <a:gd name="T85" fmla="*/ 0 h 35"/>
                  <a:gd name="T86" fmla="*/ 37 w 52"/>
                  <a:gd name="T87"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5">
                    <a:moveTo>
                      <a:pt x="0" y="21"/>
                    </a:moveTo>
                    <a:cubicBezTo>
                      <a:pt x="0" y="21"/>
                      <a:pt x="0" y="21"/>
                      <a:pt x="0" y="21"/>
                    </a:cubicBezTo>
                    <a:cubicBezTo>
                      <a:pt x="0" y="21"/>
                      <a:pt x="0" y="21"/>
                      <a:pt x="0" y="21"/>
                    </a:cubicBezTo>
                    <a:moveTo>
                      <a:pt x="37" y="0"/>
                    </a:moveTo>
                    <a:cubicBezTo>
                      <a:pt x="34" y="0"/>
                      <a:pt x="31" y="1"/>
                      <a:pt x="29" y="2"/>
                    </a:cubicBezTo>
                    <a:cubicBezTo>
                      <a:pt x="32" y="3"/>
                      <a:pt x="31" y="5"/>
                      <a:pt x="30" y="7"/>
                    </a:cubicBezTo>
                    <a:cubicBezTo>
                      <a:pt x="28" y="7"/>
                      <a:pt x="25" y="9"/>
                      <a:pt x="22" y="9"/>
                    </a:cubicBezTo>
                    <a:cubicBezTo>
                      <a:pt x="21" y="9"/>
                      <a:pt x="21" y="9"/>
                      <a:pt x="20" y="8"/>
                    </a:cubicBezTo>
                    <a:cubicBezTo>
                      <a:pt x="19" y="7"/>
                      <a:pt x="19" y="5"/>
                      <a:pt x="17" y="5"/>
                    </a:cubicBezTo>
                    <a:cubicBezTo>
                      <a:pt x="17" y="5"/>
                      <a:pt x="17" y="5"/>
                      <a:pt x="17" y="5"/>
                    </a:cubicBezTo>
                    <a:cubicBezTo>
                      <a:pt x="17" y="5"/>
                      <a:pt x="14" y="8"/>
                      <a:pt x="13" y="10"/>
                    </a:cubicBezTo>
                    <a:cubicBezTo>
                      <a:pt x="13" y="11"/>
                      <a:pt x="13" y="12"/>
                      <a:pt x="12" y="13"/>
                    </a:cubicBezTo>
                    <a:cubicBezTo>
                      <a:pt x="8" y="16"/>
                      <a:pt x="4" y="18"/>
                      <a:pt x="0" y="21"/>
                    </a:cubicBezTo>
                    <a:cubicBezTo>
                      <a:pt x="1" y="20"/>
                      <a:pt x="2" y="21"/>
                      <a:pt x="3" y="21"/>
                    </a:cubicBezTo>
                    <a:cubicBezTo>
                      <a:pt x="3" y="20"/>
                      <a:pt x="5" y="19"/>
                      <a:pt x="5" y="19"/>
                    </a:cubicBezTo>
                    <a:cubicBezTo>
                      <a:pt x="6" y="19"/>
                      <a:pt x="6" y="19"/>
                      <a:pt x="6" y="19"/>
                    </a:cubicBezTo>
                    <a:cubicBezTo>
                      <a:pt x="7" y="19"/>
                      <a:pt x="7" y="20"/>
                      <a:pt x="7" y="21"/>
                    </a:cubicBezTo>
                    <a:cubicBezTo>
                      <a:pt x="7" y="21"/>
                      <a:pt x="7" y="22"/>
                      <a:pt x="8" y="22"/>
                    </a:cubicBezTo>
                    <a:cubicBezTo>
                      <a:pt x="8" y="22"/>
                      <a:pt x="8" y="22"/>
                      <a:pt x="9" y="22"/>
                    </a:cubicBezTo>
                    <a:cubicBezTo>
                      <a:pt x="8" y="23"/>
                      <a:pt x="8" y="24"/>
                      <a:pt x="7" y="25"/>
                    </a:cubicBezTo>
                    <a:cubicBezTo>
                      <a:pt x="8" y="25"/>
                      <a:pt x="8" y="27"/>
                      <a:pt x="8" y="28"/>
                    </a:cubicBezTo>
                    <a:cubicBezTo>
                      <a:pt x="9" y="28"/>
                      <a:pt x="9" y="29"/>
                      <a:pt x="9" y="31"/>
                    </a:cubicBezTo>
                    <a:cubicBezTo>
                      <a:pt x="9" y="30"/>
                      <a:pt x="10" y="30"/>
                      <a:pt x="10" y="30"/>
                    </a:cubicBezTo>
                    <a:cubicBezTo>
                      <a:pt x="12" y="30"/>
                      <a:pt x="12" y="32"/>
                      <a:pt x="12" y="34"/>
                    </a:cubicBezTo>
                    <a:cubicBezTo>
                      <a:pt x="12" y="34"/>
                      <a:pt x="13" y="33"/>
                      <a:pt x="13" y="33"/>
                    </a:cubicBezTo>
                    <a:cubicBezTo>
                      <a:pt x="14" y="33"/>
                      <a:pt x="15" y="34"/>
                      <a:pt x="15" y="34"/>
                    </a:cubicBezTo>
                    <a:cubicBezTo>
                      <a:pt x="16" y="34"/>
                      <a:pt x="17" y="35"/>
                      <a:pt x="18" y="35"/>
                    </a:cubicBezTo>
                    <a:cubicBezTo>
                      <a:pt x="18" y="35"/>
                      <a:pt x="19" y="34"/>
                      <a:pt x="19" y="34"/>
                    </a:cubicBezTo>
                    <a:cubicBezTo>
                      <a:pt x="19" y="33"/>
                      <a:pt x="18" y="33"/>
                      <a:pt x="18" y="33"/>
                    </a:cubicBezTo>
                    <a:cubicBezTo>
                      <a:pt x="18" y="32"/>
                      <a:pt x="19" y="32"/>
                      <a:pt x="19" y="32"/>
                    </a:cubicBezTo>
                    <a:cubicBezTo>
                      <a:pt x="19" y="28"/>
                      <a:pt x="23" y="25"/>
                      <a:pt x="26" y="22"/>
                    </a:cubicBezTo>
                    <a:cubicBezTo>
                      <a:pt x="28" y="20"/>
                      <a:pt x="30" y="18"/>
                      <a:pt x="33" y="18"/>
                    </a:cubicBezTo>
                    <a:cubicBezTo>
                      <a:pt x="34" y="18"/>
                      <a:pt x="35" y="18"/>
                      <a:pt x="36" y="18"/>
                    </a:cubicBezTo>
                    <a:cubicBezTo>
                      <a:pt x="38" y="19"/>
                      <a:pt x="39" y="22"/>
                      <a:pt x="41" y="23"/>
                    </a:cubicBezTo>
                    <a:cubicBezTo>
                      <a:pt x="42" y="17"/>
                      <a:pt x="48" y="15"/>
                      <a:pt x="52" y="11"/>
                    </a:cubicBezTo>
                    <a:cubicBezTo>
                      <a:pt x="50" y="11"/>
                      <a:pt x="52" y="8"/>
                      <a:pt x="49" y="8"/>
                    </a:cubicBezTo>
                    <a:cubicBezTo>
                      <a:pt x="49" y="6"/>
                      <a:pt x="50" y="4"/>
                      <a:pt x="50" y="2"/>
                    </a:cubicBezTo>
                    <a:cubicBezTo>
                      <a:pt x="49" y="3"/>
                      <a:pt x="49" y="3"/>
                      <a:pt x="49" y="3"/>
                    </a:cubicBezTo>
                    <a:cubicBezTo>
                      <a:pt x="49" y="2"/>
                      <a:pt x="49" y="2"/>
                      <a:pt x="49" y="2"/>
                    </a:cubicBezTo>
                    <a:cubicBezTo>
                      <a:pt x="49" y="2"/>
                      <a:pt x="49" y="2"/>
                      <a:pt x="49" y="2"/>
                    </a:cubicBezTo>
                    <a:cubicBezTo>
                      <a:pt x="48" y="2"/>
                      <a:pt x="48" y="3"/>
                      <a:pt x="48" y="3"/>
                    </a:cubicBezTo>
                    <a:cubicBezTo>
                      <a:pt x="48" y="3"/>
                      <a:pt x="48" y="3"/>
                      <a:pt x="48" y="3"/>
                    </a:cubicBezTo>
                    <a:cubicBezTo>
                      <a:pt x="44" y="2"/>
                      <a:pt x="42" y="1"/>
                      <a:pt x="38" y="0"/>
                    </a:cubicBezTo>
                    <a:cubicBezTo>
                      <a:pt x="38"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3" name="Freeform 110"/>
              <p:cNvSpPr/>
              <p:nvPr/>
            </p:nvSpPr>
            <p:spPr bwMode="auto">
              <a:xfrm>
                <a:off x="8153" y="2169"/>
                <a:ext cx="9" cy="8"/>
              </a:xfrm>
              <a:custGeom>
                <a:gdLst>
                  <a:gd name="T0" fmla="*/ 1 w 4"/>
                  <a:gd name="T1" fmla="*/ 0 h 3"/>
                  <a:gd name="T2" fmla="*/ 1 w 4"/>
                  <a:gd name="T3" fmla="*/ 3 h 3"/>
                  <a:gd name="T4" fmla="*/ 4 w 4"/>
                  <a:gd name="T5" fmla="*/ 3 h 3"/>
                  <a:gd name="T6" fmla="*/ 1 w 4"/>
                  <a:gd name="T7" fmla="*/ 0 h 3"/>
                </a:gdLst>
                <a:cxnLst>
                  <a:cxn ang="0">
                    <a:pos x="T0" y="T1"/>
                  </a:cxn>
                  <a:cxn ang="0">
                    <a:pos x="T2" y="T3"/>
                  </a:cxn>
                  <a:cxn ang="0">
                    <a:pos x="T4" y="T5"/>
                  </a:cxn>
                  <a:cxn ang="0">
                    <a:pos x="T6" y="T7"/>
                  </a:cxn>
                </a:cxnLst>
                <a:rect l="0" t="0" r="r" b="b"/>
                <a:pathLst>
                  <a:path w="4" h="3">
                    <a:moveTo>
                      <a:pt x="1" y="0"/>
                    </a:moveTo>
                    <a:cubicBezTo>
                      <a:pt x="0" y="3"/>
                      <a:pt x="0" y="3"/>
                      <a:pt x="1" y="3"/>
                    </a:cubicBezTo>
                    <a:cubicBezTo>
                      <a:pt x="2" y="3"/>
                      <a:pt x="3" y="3"/>
                      <a:pt x="4" y="3"/>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11"/>
              <p:cNvSpPr/>
              <p:nvPr/>
            </p:nvSpPr>
            <p:spPr bwMode="auto">
              <a:xfrm>
                <a:off x="8861" y="1113"/>
                <a:ext cx="3" cy="7"/>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1"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Freeform 112"/>
              <p:cNvSpPr/>
              <p:nvPr/>
            </p:nvSpPr>
            <p:spPr bwMode="auto">
              <a:xfrm>
                <a:off x="8304" y="1782"/>
                <a:ext cx="12" cy="9"/>
              </a:xfrm>
              <a:custGeom>
                <a:gdLst>
                  <a:gd name="T0" fmla="*/ 4 w 5"/>
                  <a:gd name="T1" fmla="*/ 0 h 4"/>
                  <a:gd name="T2" fmla="*/ 1 w 5"/>
                  <a:gd name="T3" fmla="*/ 2 h 4"/>
                  <a:gd name="T4" fmla="*/ 2 w 5"/>
                  <a:gd name="T5" fmla="*/ 4 h 4"/>
                  <a:gd name="T6" fmla="*/ 4 w 5"/>
                  <a:gd name="T7" fmla="*/ 4 h 4"/>
                  <a:gd name="T8" fmla="*/ 5 w 5"/>
                  <a:gd name="T9" fmla="*/ 3 h 4"/>
                  <a:gd name="T10" fmla="*/ 5 w 5"/>
                  <a:gd name="T11" fmla="*/ 3 h 4"/>
                  <a:gd name="T12" fmla="*/ 4 w 5"/>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5" h="4">
                    <a:moveTo>
                      <a:pt x="4" y="0"/>
                    </a:moveTo>
                    <a:cubicBezTo>
                      <a:pt x="3" y="0"/>
                      <a:pt x="2" y="1"/>
                      <a:pt x="1" y="2"/>
                    </a:cubicBezTo>
                    <a:cubicBezTo>
                      <a:pt x="0" y="4"/>
                      <a:pt x="1" y="4"/>
                      <a:pt x="2" y="4"/>
                    </a:cubicBezTo>
                    <a:cubicBezTo>
                      <a:pt x="2" y="4"/>
                      <a:pt x="3" y="4"/>
                      <a:pt x="4" y="4"/>
                    </a:cubicBezTo>
                    <a:cubicBezTo>
                      <a:pt x="4" y="3"/>
                      <a:pt x="5" y="3"/>
                      <a:pt x="5" y="3"/>
                    </a:cubicBezTo>
                    <a:cubicBezTo>
                      <a:pt x="5" y="3"/>
                      <a:pt x="5" y="3"/>
                      <a:pt x="5" y="3"/>
                    </a:cubicBezTo>
                    <a:cubicBezTo>
                      <a:pt x="5"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113"/>
              <p:cNvSpPr/>
              <p:nvPr/>
            </p:nvSpPr>
            <p:spPr bwMode="auto">
              <a:xfrm>
                <a:off x="8403" y="1879"/>
                <a:ext cx="12" cy="23"/>
              </a:xfrm>
              <a:custGeom>
                <a:gdLst>
                  <a:gd name="T0" fmla="*/ 5 w 5"/>
                  <a:gd name="T1" fmla="*/ 0 h 10"/>
                  <a:gd name="T2" fmla="*/ 2 w 5"/>
                  <a:gd name="T3" fmla="*/ 6 h 10"/>
                  <a:gd name="T4" fmla="*/ 1 w 5"/>
                  <a:gd name="T5" fmla="*/ 10 h 10"/>
                  <a:gd name="T6" fmla="*/ 5 w 5"/>
                  <a:gd name="T7" fmla="*/ 0 h 10"/>
                </a:gdLst>
                <a:cxnLst>
                  <a:cxn ang="0">
                    <a:pos x="T0" y="T1"/>
                  </a:cxn>
                  <a:cxn ang="0">
                    <a:pos x="T2" y="T3"/>
                  </a:cxn>
                  <a:cxn ang="0">
                    <a:pos x="T4" y="T5"/>
                  </a:cxn>
                  <a:cxn ang="0">
                    <a:pos x="T6" y="T7"/>
                  </a:cxn>
                </a:cxnLst>
                <a:rect l="0" t="0" r="r" b="b"/>
                <a:pathLst>
                  <a:path w="5" h="10">
                    <a:moveTo>
                      <a:pt x="5" y="0"/>
                    </a:moveTo>
                    <a:cubicBezTo>
                      <a:pt x="2" y="3"/>
                      <a:pt x="3" y="3"/>
                      <a:pt x="2" y="6"/>
                    </a:cubicBezTo>
                    <a:cubicBezTo>
                      <a:pt x="2" y="7"/>
                      <a:pt x="0" y="8"/>
                      <a:pt x="1" y="10"/>
                    </a:cubicBezTo>
                    <a:cubicBezTo>
                      <a:pt x="3" y="7"/>
                      <a:pt x="4"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Freeform 114"/>
              <p:cNvSpPr/>
              <p:nvPr/>
            </p:nvSpPr>
            <p:spPr bwMode="auto">
              <a:xfrm>
                <a:off x="8316" y="2023"/>
                <a:ext cx="2" cy="12"/>
              </a:xfrm>
              <a:custGeom>
                <a:gdLst>
                  <a:gd name="T0" fmla="*/ 1 w 1"/>
                  <a:gd name="T1" fmla="*/ 0 h 5"/>
                  <a:gd name="T2" fmla="*/ 1 w 1"/>
                  <a:gd name="T3" fmla="*/ 5 h 5"/>
                  <a:gd name="T4" fmla="*/ 1 w 1"/>
                  <a:gd name="T5" fmla="*/ 0 h 5"/>
                </a:gdLst>
                <a:cxnLst>
                  <a:cxn ang="0">
                    <a:pos x="T0" y="T1"/>
                  </a:cxn>
                  <a:cxn ang="0">
                    <a:pos x="T2" y="T3"/>
                  </a:cxn>
                  <a:cxn ang="0">
                    <a:pos x="T4" y="T5"/>
                  </a:cxn>
                </a:cxnLst>
                <a:rect l="0" t="0" r="r" b="b"/>
                <a:pathLst>
                  <a:path w="1" h="5">
                    <a:moveTo>
                      <a:pt x="1" y="0"/>
                    </a:moveTo>
                    <a:cubicBezTo>
                      <a:pt x="0" y="2"/>
                      <a:pt x="0" y="4"/>
                      <a:pt x="1" y="5"/>
                    </a:cubicBezTo>
                    <a:cubicBezTo>
                      <a:pt x="1"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15"/>
              <p:cNvSpPr/>
              <p:nvPr/>
            </p:nvSpPr>
            <p:spPr bwMode="auto">
              <a:xfrm>
                <a:off x="8330" y="2009"/>
                <a:ext cx="7" cy="4"/>
              </a:xfrm>
              <a:custGeom>
                <a:gdLst>
                  <a:gd name="T0" fmla="*/ 0 w 3"/>
                  <a:gd name="T1" fmla="*/ 0 h 2"/>
                  <a:gd name="T2" fmla="*/ 2 w 3"/>
                  <a:gd name="T3" fmla="*/ 2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cubicBezTo>
                      <a:pt x="0" y="2"/>
                      <a:pt x="1" y="2"/>
                      <a:pt x="2" y="2"/>
                    </a:cubicBezTo>
                    <a:cubicBezTo>
                      <a:pt x="3" y="2"/>
                      <a:pt x="3"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Freeform 116"/>
              <p:cNvSpPr/>
              <p:nvPr/>
            </p:nvSpPr>
            <p:spPr bwMode="auto">
              <a:xfrm>
                <a:off x="8911" y="2082"/>
                <a:ext cx="2" cy="5"/>
              </a:xfrm>
              <a:custGeom>
                <a:gdLst>
                  <a:gd name="T0" fmla="*/ 0 w 1"/>
                  <a:gd name="T1" fmla="*/ 0 h 2"/>
                  <a:gd name="T2" fmla="*/ 1 w 1"/>
                  <a:gd name="T3" fmla="*/ 1 h 2"/>
                  <a:gd name="T4" fmla="*/ 1 w 1"/>
                  <a:gd name="T5" fmla="*/ 2 h 2"/>
                  <a:gd name="T6" fmla="*/ 1 w 1"/>
                  <a:gd name="T7" fmla="*/ 1 h 2"/>
                  <a:gd name="T8" fmla="*/ 0 w 1"/>
                  <a:gd name="T9" fmla="*/ 0 h 2"/>
                </a:gdLst>
                <a:cxnLst>
                  <a:cxn ang="0">
                    <a:pos x="T0" y="T1"/>
                  </a:cxn>
                  <a:cxn ang="0">
                    <a:pos x="T2" y="T3"/>
                  </a:cxn>
                  <a:cxn ang="0">
                    <a:pos x="T4" y="T5"/>
                  </a:cxn>
                  <a:cxn ang="0">
                    <a:pos x="T6" y="T7"/>
                  </a:cxn>
                  <a:cxn ang="0">
                    <a:pos x="T8" y="T9"/>
                  </a:cxn>
                </a:cxnLst>
                <a:rect l="0" t="0" r="r" b="b"/>
                <a:pathLst>
                  <a:path w="1" h="2">
                    <a:moveTo>
                      <a:pt x="0" y="0"/>
                    </a:moveTo>
                    <a:cubicBezTo>
                      <a:pt x="1" y="0"/>
                      <a:pt x="1" y="1"/>
                      <a:pt x="1" y="1"/>
                    </a:cubicBezTo>
                    <a:cubicBezTo>
                      <a:pt x="1" y="2"/>
                      <a:pt x="1" y="2"/>
                      <a:pt x="1" y="2"/>
                    </a:cubicBezTo>
                    <a:cubicBezTo>
                      <a:pt x="1" y="1"/>
                      <a:pt x="1" y="1"/>
                      <a:pt x="1"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Freeform 117"/>
              <p:cNvSpPr/>
              <p:nvPr/>
            </p:nvSpPr>
            <p:spPr bwMode="auto">
              <a:xfrm>
                <a:off x="8320" y="1768"/>
                <a:ext cx="7" cy="11"/>
              </a:xfrm>
              <a:custGeom>
                <a:gdLst>
                  <a:gd name="T0" fmla="*/ 3 w 3"/>
                  <a:gd name="T1" fmla="*/ 0 h 5"/>
                  <a:gd name="T2" fmla="*/ 0 w 3"/>
                  <a:gd name="T3" fmla="*/ 3 h 5"/>
                  <a:gd name="T4" fmla="*/ 1 w 3"/>
                  <a:gd name="T5" fmla="*/ 5 h 5"/>
                  <a:gd name="T6" fmla="*/ 3 w 3"/>
                  <a:gd name="T7" fmla="*/ 0 h 5"/>
                </a:gdLst>
                <a:cxnLst>
                  <a:cxn ang="0">
                    <a:pos x="T0" y="T1"/>
                  </a:cxn>
                  <a:cxn ang="0">
                    <a:pos x="T2" y="T3"/>
                  </a:cxn>
                  <a:cxn ang="0">
                    <a:pos x="T4" y="T5"/>
                  </a:cxn>
                  <a:cxn ang="0">
                    <a:pos x="T6" y="T7"/>
                  </a:cxn>
                </a:cxnLst>
                <a:rect l="0" t="0" r="r" b="b"/>
                <a:pathLst>
                  <a:path w="3" h="5">
                    <a:moveTo>
                      <a:pt x="3" y="0"/>
                    </a:moveTo>
                    <a:cubicBezTo>
                      <a:pt x="0" y="3"/>
                      <a:pt x="0" y="3"/>
                      <a:pt x="0" y="3"/>
                    </a:cubicBezTo>
                    <a:cubicBezTo>
                      <a:pt x="0" y="3"/>
                      <a:pt x="2" y="4"/>
                      <a:pt x="1"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118"/>
              <p:cNvSpPr/>
              <p:nvPr/>
            </p:nvSpPr>
            <p:spPr bwMode="auto">
              <a:xfrm>
                <a:off x="8507" y="1602"/>
                <a:ext cx="12" cy="7"/>
              </a:xfrm>
              <a:custGeom>
                <a:gdLst>
                  <a:gd name="T0" fmla="*/ 3 w 5"/>
                  <a:gd name="T1" fmla="*/ 0 h 3"/>
                  <a:gd name="T2" fmla="*/ 3 w 5"/>
                  <a:gd name="T3" fmla="*/ 3 h 3"/>
                  <a:gd name="T4" fmla="*/ 3 w 5"/>
                  <a:gd name="T5" fmla="*/ 0 h 3"/>
                </a:gdLst>
                <a:cxnLst>
                  <a:cxn ang="0">
                    <a:pos x="T0" y="T1"/>
                  </a:cxn>
                  <a:cxn ang="0">
                    <a:pos x="T2" y="T3"/>
                  </a:cxn>
                  <a:cxn ang="0">
                    <a:pos x="T4" y="T5"/>
                  </a:cxn>
                </a:cxnLst>
                <a:rect l="0" t="0" r="r" b="b"/>
                <a:pathLst>
                  <a:path w="5" h="3">
                    <a:moveTo>
                      <a:pt x="3" y="0"/>
                    </a:moveTo>
                    <a:cubicBezTo>
                      <a:pt x="0" y="1"/>
                      <a:pt x="2" y="3"/>
                      <a:pt x="3" y="3"/>
                    </a:cubicBezTo>
                    <a:cubicBezTo>
                      <a:pt x="4" y="3"/>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19"/>
              <p:cNvSpPr/>
              <p:nvPr/>
            </p:nvSpPr>
            <p:spPr bwMode="auto">
              <a:xfrm>
                <a:off x="8571" y="1694"/>
                <a:ext cx="21" cy="17"/>
              </a:xfrm>
              <a:custGeom>
                <a:gdLst>
                  <a:gd name="T0" fmla="*/ 9 w 9"/>
                  <a:gd name="T1" fmla="*/ 0 h 7"/>
                  <a:gd name="T2" fmla="*/ 5 w 9"/>
                  <a:gd name="T3" fmla="*/ 7 h 7"/>
                  <a:gd name="T4" fmla="*/ 7 w 9"/>
                  <a:gd name="T5" fmla="*/ 6 h 7"/>
                  <a:gd name="T6" fmla="*/ 7 w 9"/>
                  <a:gd name="T7" fmla="*/ 4 h 7"/>
                  <a:gd name="T8" fmla="*/ 9 w 9"/>
                  <a:gd name="T9" fmla="*/ 0 h 7"/>
                </a:gdLst>
                <a:cxnLst>
                  <a:cxn ang="0">
                    <a:pos x="T0" y="T1"/>
                  </a:cxn>
                  <a:cxn ang="0">
                    <a:pos x="T2" y="T3"/>
                  </a:cxn>
                  <a:cxn ang="0">
                    <a:pos x="T4" y="T5"/>
                  </a:cxn>
                  <a:cxn ang="0">
                    <a:pos x="T6" y="T7"/>
                  </a:cxn>
                  <a:cxn ang="0">
                    <a:pos x="T8" y="T9"/>
                  </a:cxn>
                </a:cxnLst>
                <a:rect l="0" t="0" r="r" b="b"/>
                <a:pathLst>
                  <a:path w="9" h="7">
                    <a:moveTo>
                      <a:pt x="9" y="0"/>
                    </a:moveTo>
                    <a:cubicBezTo>
                      <a:pt x="8" y="1"/>
                      <a:pt x="0" y="7"/>
                      <a:pt x="5" y="7"/>
                    </a:cubicBezTo>
                    <a:cubicBezTo>
                      <a:pt x="5" y="7"/>
                      <a:pt x="7" y="6"/>
                      <a:pt x="7" y="6"/>
                    </a:cubicBezTo>
                    <a:cubicBezTo>
                      <a:pt x="8" y="4"/>
                      <a:pt x="7" y="5"/>
                      <a:pt x="7" y="4"/>
                    </a:cubicBezTo>
                    <a:cubicBezTo>
                      <a:pt x="7" y="2"/>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20"/>
              <p:cNvSpPr/>
              <p:nvPr/>
            </p:nvSpPr>
            <p:spPr bwMode="auto">
              <a:xfrm>
                <a:off x="8259" y="2077"/>
                <a:ext cx="26" cy="33"/>
              </a:xfrm>
              <a:custGeom>
                <a:gdLst>
                  <a:gd name="T0" fmla="*/ 11 w 11"/>
                  <a:gd name="T1" fmla="*/ 0 h 14"/>
                  <a:gd name="T2" fmla="*/ 10 w 11"/>
                  <a:gd name="T3" fmla="*/ 2 h 14"/>
                  <a:gd name="T4" fmla="*/ 9 w 11"/>
                  <a:gd name="T5" fmla="*/ 3 h 14"/>
                  <a:gd name="T6" fmla="*/ 9 w 11"/>
                  <a:gd name="T7" fmla="*/ 3 h 14"/>
                  <a:gd name="T8" fmla="*/ 8 w 11"/>
                  <a:gd name="T9" fmla="*/ 2 h 14"/>
                  <a:gd name="T10" fmla="*/ 7 w 11"/>
                  <a:gd name="T11" fmla="*/ 2 h 14"/>
                  <a:gd name="T12" fmla="*/ 7 w 11"/>
                  <a:gd name="T13" fmla="*/ 2 h 14"/>
                  <a:gd name="T14" fmla="*/ 6 w 11"/>
                  <a:gd name="T15" fmla="*/ 3 h 14"/>
                  <a:gd name="T16" fmla="*/ 5 w 11"/>
                  <a:gd name="T17" fmla="*/ 6 h 14"/>
                  <a:gd name="T18" fmla="*/ 4 w 11"/>
                  <a:gd name="T19" fmla="*/ 7 h 14"/>
                  <a:gd name="T20" fmla="*/ 2 w 11"/>
                  <a:gd name="T21" fmla="*/ 8 h 14"/>
                  <a:gd name="T22" fmla="*/ 2 w 11"/>
                  <a:gd name="T23" fmla="*/ 11 h 14"/>
                  <a:gd name="T24" fmla="*/ 1 w 11"/>
                  <a:gd name="T25" fmla="*/ 14 h 14"/>
                  <a:gd name="T26" fmla="*/ 7 w 11"/>
                  <a:gd name="T27" fmla="*/ 6 h 14"/>
                  <a:gd name="T28" fmla="*/ 11 w 11"/>
                  <a:gd name="T2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4">
                    <a:moveTo>
                      <a:pt x="11" y="0"/>
                    </a:moveTo>
                    <a:cubicBezTo>
                      <a:pt x="11" y="1"/>
                      <a:pt x="10" y="1"/>
                      <a:pt x="10" y="2"/>
                    </a:cubicBezTo>
                    <a:cubicBezTo>
                      <a:pt x="9" y="2"/>
                      <a:pt x="9" y="2"/>
                      <a:pt x="9" y="3"/>
                    </a:cubicBezTo>
                    <a:cubicBezTo>
                      <a:pt x="9" y="3"/>
                      <a:pt x="9" y="3"/>
                      <a:pt x="9" y="3"/>
                    </a:cubicBezTo>
                    <a:cubicBezTo>
                      <a:pt x="8" y="3"/>
                      <a:pt x="8" y="2"/>
                      <a:pt x="8" y="2"/>
                    </a:cubicBezTo>
                    <a:cubicBezTo>
                      <a:pt x="7" y="2"/>
                      <a:pt x="7" y="2"/>
                      <a:pt x="7" y="2"/>
                    </a:cubicBezTo>
                    <a:cubicBezTo>
                      <a:pt x="7" y="2"/>
                      <a:pt x="7" y="2"/>
                      <a:pt x="7" y="2"/>
                    </a:cubicBezTo>
                    <a:cubicBezTo>
                      <a:pt x="5" y="2"/>
                      <a:pt x="4" y="2"/>
                      <a:pt x="6" y="3"/>
                    </a:cubicBezTo>
                    <a:cubicBezTo>
                      <a:pt x="7" y="5"/>
                      <a:pt x="6" y="5"/>
                      <a:pt x="5" y="6"/>
                    </a:cubicBezTo>
                    <a:cubicBezTo>
                      <a:pt x="5" y="6"/>
                      <a:pt x="4" y="7"/>
                      <a:pt x="4" y="7"/>
                    </a:cubicBezTo>
                    <a:cubicBezTo>
                      <a:pt x="2" y="8"/>
                      <a:pt x="3" y="7"/>
                      <a:pt x="2" y="8"/>
                    </a:cubicBezTo>
                    <a:cubicBezTo>
                      <a:pt x="2" y="9"/>
                      <a:pt x="2" y="10"/>
                      <a:pt x="2" y="11"/>
                    </a:cubicBezTo>
                    <a:cubicBezTo>
                      <a:pt x="1" y="13"/>
                      <a:pt x="0" y="11"/>
                      <a:pt x="1" y="14"/>
                    </a:cubicBezTo>
                    <a:cubicBezTo>
                      <a:pt x="3" y="12"/>
                      <a:pt x="5" y="9"/>
                      <a:pt x="7" y="6"/>
                    </a:cubicBezTo>
                    <a:cubicBezTo>
                      <a:pt x="9" y="4"/>
                      <a:pt x="11"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21"/>
              <p:cNvSpPr/>
              <p:nvPr/>
            </p:nvSpPr>
            <p:spPr bwMode="auto">
              <a:xfrm>
                <a:off x="8301" y="2047"/>
                <a:ext cx="7" cy="0"/>
              </a:xfrm>
              <a:custGeom>
                <a:gdLst>
                  <a:gd name="T0" fmla="*/ 3 w 3"/>
                  <a:gd name="T1" fmla="*/ 0 w 3"/>
                  <a:gd name="T2" fmla="*/ 1 w 3"/>
                  <a:gd name="T3" fmla="*/ 3 w 3"/>
                </a:gdLst>
                <a:cxnLst>
                  <a:cxn ang="0">
                    <a:pos x="T0" y="0"/>
                  </a:cxn>
                  <a:cxn ang="0">
                    <a:pos x="T1" y="0"/>
                  </a:cxn>
                  <a:cxn ang="0">
                    <a:pos x="T2" y="0"/>
                  </a:cxn>
                  <a:cxn ang="0">
                    <a:pos x="T3" y="0"/>
                  </a:cxn>
                </a:cxnLst>
                <a:rect l="0" t="0" r="r" b="b"/>
                <a:pathLst>
                  <a:path w="3">
                    <a:moveTo>
                      <a:pt x="3" y="0"/>
                    </a:moveTo>
                    <a:cubicBezTo>
                      <a:pt x="2" y="0"/>
                      <a:pt x="1" y="0"/>
                      <a:pt x="0" y="0"/>
                    </a:cubicBezTo>
                    <a:cubicBezTo>
                      <a:pt x="0" y="0"/>
                      <a:pt x="1" y="0"/>
                      <a:pt x="1" y="0"/>
                    </a:cubicBezTo>
                    <a:cubicBezTo>
                      <a:pt x="1" y="0"/>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22"/>
              <p:cNvSpPr/>
              <p:nvPr/>
            </p:nvSpPr>
            <p:spPr bwMode="auto">
              <a:xfrm>
                <a:off x="8866" y="1124"/>
                <a:ext cx="10" cy="8"/>
              </a:xfrm>
              <a:custGeom>
                <a:gdLst>
                  <a:gd name="T0" fmla="*/ 1 w 4"/>
                  <a:gd name="T1" fmla="*/ 0 h 3"/>
                  <a:gd name="T2" fmla="*/ 3 w 4"/>
                  <a:gd name="T3" fmla="*/ 3 h 3"/>
                  <a:gd name="T4" fmla="*/ 1 w 4"/>
                  <a:gd name="T5" fmla="*/ 0 h 3"/>
                </a:gdLst>
                <a:cxnLst>
                  <a:cxn ang="0">
                    <a:pos x="T0" y="T1"/>
                  </a:cxn>
                  <a:cxn ang="0">
                    <a:pos x="T2" y="T3"/>
                  </a:cxn>
                  <a:cxn ang="0">
                    <a:pos x="T4" y="T5"/>
                  </a:cxn>
                </a:cxnLst>
                <a:rect l="0" t="0" r="r" b="b"/>
                <a:pathLst>
                  <a:path w="4" h="3">
                    <a:moveTo>
                      <a:pt x="1" y="0"/>
                    </a:moveTo>
                    <a:cubicBezTo>
                      <a:pt x="0" y="2"/>
                      <a:pt x="2" y="3"/>
                      <a:pt x="3" y="3"/>
                    </a:cubicBezTo>
                    <a:cubicBezTo>
                      <a:pt x="4" y="3"/>
                      <a:pt x="4"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123"/>
              <p:cNvSpPr/>
              <p:nvPr/>
            </p:nvSpPr>
            <p:spPr bwMode="auto">
              <a:xfrm>
                <a:off x="8736" y="1500"/>
                <a:ext cx="14" cy="24"/>
              </a:xfrm>
              <a:custGeom>
                <a:gdLst>
                  <a:gd name="T0" fmla="*/ 6 w 6"/>
                  <a:gd name="T1" fmla="*/ 0 h 10"/>
                  <a:gd name="T2" fmla="*/ 0 w 6"/>
                  <a:gd name="T3" fmla="*/ 5 h 10"/>
                  <a:gd name="T4" fmla="*/ 0 w 6"/>
                  <a:gd name="T5" fmla="*/ 10 h 10"/>
                  <a:gd name="T6" fmla="*/ 1 w 6"/>
                  <a:gd name="T7" fmla="*/ 10 h 10"/>
                  <a:gd name="T8" fmla="*/ 6 w 6"/>
                  <a:gd name="T9" fmla="*/ 0 h 10"/>
                </a:gdLst>
                <a:cxnLst>
                  <a:cxn ang="0">
                    <a:pos x="T0" y="T1"/>
                  </a:cxn>
                  <a:cxn ang="0">
                    <a:pos x="T2" y="T3"/>
                  </a:cxn>
                  <a:cxn ang="0">
                    <a:pos x="T4" y="T5"/>
                  </a:cxn>
                  <a:cxn ang="0">
                    <a:pos x="T6" y="T7"/>
                  </a:cxn>
                  <a:cxn ang="0">
                    <a:pos x="T8" y="T9"/>
                  </a:cxn>
                </a:cxnLst>
                <a:rect l="0" t="0" r="r" b="b"/>
                <a:pathLst>
                  <a:path w="6" h="10">
                    <a:moveTo>
                      <a:pt x="6" y="0"/>
                    </a:moveTo>
                    <a:cubicBezTo>
                      <a:pt x="4" y="1"/>
                      <a:pt x="0" y="3"/>
                      <a:pt x="0" y="5"/>
                    </a:cubicBezTo>
                    <a:cubicBezTo>
                      <a:pt x="0" y="8"/>
                      <a:pt x="3" y="9"/>
                      <a:pt x="0" y="10"/>
                    </a:cubicBezTo>
                    <a:cubicBezTo>
                      <a:pt x="0" y="10"/>
                      <a:pt x="1" y="10"/>
                      <a:pt x="1" y="10"/>
                    </a:cubicBezTo>
                    <a:cubicBezTo>
                      <a:pt x="6" y="10"/>
                      <a:pt x="6"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124"/>
              <p:cNvSpPr/>
              <p:nvPr/>
            </p:nvSpPr>
            <p:spPr bwMode="auto">
              <a:xfrm>
                <a:off x="8082" y="2191"/>
                <a:ext cx="11" cy="7"/>
              </a:xfrm>
              <a:custGeom>
                <a:gdLst>
                  <a:gd name="T0" fmla="*/ 2 w 5"/>
                  <a:gd name="T1" fmla="*/ 0 h 3"/>
                  <a:gd name="T2" fmla="*/ 0 w 5"/>
                  <a:gd name="T3" fmla="*/ 3 h 3"/>
                  <a:gd name="T4" fmla="*/ 3 w 5"/>
                  <a:gd name="T5" fmla="*/ 3 h 3"/>
                  <a:gd name="T6" fmla="*/ 3 w 5"/>
                  <a:gd name="T7" fmla="*/ 3 h 3"/>
                  <a:gd name="T8" fmla="*/ 2 w 5"/>
                  <a:gd name="T9" fmla="*/ 0 h 3"/>
                </a:gdLst>
                <a:cxnLst>
                  <a:cxn ang="0">
                    <a:pos x="T0" y="T1"/>
                  </a:cxn>
                  <a:cxn ang="0">
                    <a:pos x="T2" y="T3"/>
                  </a:cxn>
                  <a:cxn ang="0">
                    <a:pos x="T4" y="T5"/>
                  </a:cxn>
                  <a:cxn ang="0">
                    <a:pos x="T6" y="T7"/>
                  </a:cxn>
                  <a:cxn ang="0">
                    <a:pos x="T8" y="T9"/>
                  </a:cxn>
                </a:cxnLst>
                <a:rect l="0" t="0" r="r" b="b"/>
                <a:pathLst>
                  <a:path w="5" h="3">
                    <a:moveTo>
                      <a:pt x="2" y="0"/>
                    </a:moveTo>
                    <a:cubicBezTo>
                      <a:pt x="2" y="2"/>
                      <a:pt x="1" y="2"/>
                      <a:pt x="0" y="3"/>
                    </a:cubicBezTo>
                    <a:cubicBezTo>
                      <a:pt x="0" y="3"/>
                      <a:pt x="2" y="3"/>
                      <a:pt x="3" y="3"/>
                    </a:cubicBezTo>
                    <a:cubicBezTo>
                      <a:pt x="3" y="3"/>
                      <a:pt x="3" y="3"/>
                      <a:pt x="3" y="3"/>
                    </a:cubicBezTo>
                    <a:cubicBezTo>
                      <a:pt x="5" y="3"/>
                      <a:pt x="4"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Freeform 125"/>
              <p:cNvSpPr/>
              <p:nvPr/>
            </p:nvSpPr>
            <p:spPr bwMode="auto">
              <a:xfrm>
                <a:off x="8788" y="1290"/>
                <a:ext cx="10" cy="9"/>
              </a:xfrm>
              <a:custGeom>
                <a:gdLst>
                  <a:gd name="T0" fmla="*/ 3 w 4"/>
                  <a:gd name="T1" fmla="*/ 0 h 4"/>
                  <a:gd name="T2" fmla="*/ 2 w 4"/>
                  <a:gd name="T3" fmla="*/ 0 h 4"/>
                  <a:gd name="T4" fmla="*/ 2 w 4"/>
                  <a:gd name="T5" fmla="*/ 0 h 4"/>
                  <a:gd name="T6" fmla="*/ 1 w 4"/>
                  <a:gd name="T7" fmla="*/ 4 h 4"/>
                  <a:gd name="T8" fmla="*/ 1 w 4"/>
                  <a:gd name="T9" fmla="*/ 4 h 4"/>
                  <a:gd name="T10" fmla="*/ 3 w 4"/>
                  <a:gd name="T11" fmla="*/ 2 h 4"/>
                  <a:gd name="T12" fmla="*/ 3 w 4"/>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4" h="4">
                    <a:moveTo>
                      <a:pt x="3" y="0"/>
                    </a:moveTo>
                    <a:cubicBezTo>
                      <a:pt x="2" y="0"/>
                      <a:pt x="2" y="0"/>
                      <a:pt x="2" y="0"/>
                    </a:cubicBezTo>
                    <a:cubicBezTo>
                      <a:pt x="2" y="0"/>
                      <a:pt x="2" y="0"/>
                      <a:pt x="2" y="0"/>
                    </a:cubicBezTo>
                    <a:cubicBezTo>
                      <a:pt x="2" y="0"/>
                      <a:pt x="0" y="4"/>
                      <a:pt x="1" y="4"/>
                    </a:cubicBezTo>
                    <a:cubicBezTo>
                      <a:pt x="1" y="4"/>
                      <a:pt x="1" y="4"/>
                      <a:pt x="1" y="4"/>
                    </a:cubicBezTo>
                    <a:cubicBezTo>
                      <a:pt x="2" y="4"/>
                      <a:pt x="2" y="3"/>
                      <a:pt x="3" y="2"/>
                    </a:cubicBezTo>
                    <a:cubicBezTo>
                      <a:pt x="3"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9" name="Freeform 126"/>
              <p:cNvSpPr/>
              <p:nvPr/>
            </p:nvSpPr>
            <p:spPr bwMode="auto">
              <a:xfrm>
                <a:off x="8365" y="1794"/>
                <a:ext cx="10" cy="18"/>
              </a:xfrm>
              <a:custGeom>
                <a:gdLst>
                  <a:gd name="T0" fmla="*/ 1 w 4"/>
                  <a:gd name="T1" fmla="*/ 0 h 8"/>
                  <a:gd name="T2" fmla="*/ 0 w 4"/>
                  <a:gd name="T3" fmla="*/ 8 h 8"/>
                  <a:gd name="T4" fmla="*/ 4 w 4"/>
                  <a:gd name="T5" fmla="*/ 4 h 8"/>
                  <a:gd name="T6" fmla="*/ 4 w 4"/>
                  <a:gd name="T7" fmla="*/ 1 h 8"/>
                  <a:gd name="T8" fmla="*/ 3 w 4"/>
                  <a:gd name="T9" fmla="*/ 0 h 8"/>
                  <a:gd name="T10" fmla="*/ 2 w 4"/>
                  <a:gd name="T11" fmla="*/ 0 h 8"/>
                  <a:gd name="T12" fmla="*/ 2 w 4"/>
                  <a:gd name="T13" fmla="*/ 1 h 8"/>
                  <a:gd name="T14" fmla="*/ 1 w 4"/>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1" y="0"/>
                    </a:moveTo>
                    <a:cubicBezTo>
                      <a:pt x="0" y="3"/>
                      <a:pt x="1" y="5"/>
                      <a:pt x="0" y="8"/>
                    </a:cubicBezTo>
                    <a:cubicBezTo>
                      <a:pt x="2" y="7"/>
                      <a:pt x="4" y="5"/>
                      <a:pt x="4" y="4"/>
                    </a:cubicBezTo>
                    <a:cubicBezTo>
                      <a:pt x="4" y="1"/>
                      <a:pt x="4" y="1"/>
                      <a:pt x="4" y="1"/>
                    </a:cubicBezTo>
                    <a:cubicBezTo>
                      <a:pt x="4" y="1"/>
                      <a:pt x="3" y="0"/>
                      <a:pt x="3" y="0"/>
                    </a:cubicBezTo>
                    <a:cubicBezTo>
                      <a:pt x="3" y="0"/>
                      <a:pt x="2" y="0"/>
                      <a:pt x="2" y="0"/>
                    </a:cubicBezTo>
                    <a:cubicBezTo>
                      <a:pt x="2" y="1"/>
                      <a:pt x="2" y="1"/>
                      <a:pt x="2"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Freeform 127"/>
              <p:cNvSpPr/>
              <p:nvPr/>
            </p:nvSpPr>
            <p:spPr bwMode="auto">
              <a:xfrm>
                <a:off x="8101" y="2184"/>
                <a:ext cx="9" cy="12"/>
              </a:xfrm>
              <a:custGeom>
                <a:gdLst>
                  <a:gd name="T0" fmla="*/ 4 w 4"/>
                  <a:gd name="T1" fmla="*/ 0 h 5"/>
                  <a:gd name="T2" fmla="*/ 0 w 4"/>
                  <a:gd name="T3" fmla="*/ 3 h 5"/>
                  <a:gd name="T4" fmla="*/ 1 w 4"/>
                  <a:gd name="T5" fmla="*/ 5 h 5"/>
                  <a:gd name="T6" fmla="*/ 3 w 4"/>
                  <a:gd name="T7" fmla="*/ 3 h 5"/>
                  <a:gd name="T8" fmla="*/ 4 w 4"/>
                  <a:gd name="T9" fmla="*/ 0 h 5"/>
                </a:gdLst>
                <a:cxnLst>
                  <a:cxn ang="0">
                    <a:pos x="T0" y="T1"/>
                  </a:cxn>
                  <a:cxn ang="0">
                    <a:pos x="T2" y="T3"/>
                  </a:cxn>
                  <a:cxn ang="0">
                    <a:pos x="T4" y="T5"/>
                  </a:cxn>
                  <a:cxn ang="0">
                    <a:pos x="T6" y="T7"/>
                  </a:cxn>
                  <a:cxn ang="0">
                    <a:pos x="T8" y="T9"/>
                  </a:cxn>
                </a:cxnLst>
                <a:rect l="0" t="0" r="r" b="b"/>
                <a:pathLst>
                  <a:path w="4" h="5">
                    <a:moveTo>
                      <a:pt x="4" y="0"/>
                    </a:moveTo>
                    <a:cubicBezTo>
                      <a:pt x="3" y="1"/>
                      <a:pt x="1" y="2"/>
                      <a:pt x="0" y="3"/>
                    </a:cubicBezTo>
                    <a:cubicBezTo>
                      <a:pt x="0" y="4"/>
                      <a:pt x="1" y="5"/>
                      <a:pt x="1" y="5"/>
                    </a:cubicBezTo>
                    <a:cubicBezTo>
                      <a:pt x="2" y="5"/>
                      <a:pt x="3" y="4"/>
                      <a:pt x="3" y="3"/>
                    </a:cubicBezTo>
                    <a:cubicBezTo>
                      <a:pt x="3"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1" name="Freeform 128"/>
              <p:cNvSpPr/>
              <p:nvPr/>
            </p:nvSpPr>
            <p:spPr bwMode="auto">
              <a:xfrm>
                <a:off x="8382" y="1898"/>
                <a:ext cx="19" cy="11"/>
              </a:xfrm>
              <a:custGeom>
                <a:gdLst>
                  <a:gd name="T0" fmla="*/ 3 w 8"/>
                  <a:gd name="T1" fmla="*/ 0 h 5"/>
                  <a:gd name="T2" fmla="*/ 1 w 8"/>
                  <a:gd name="T3" fmla="*/ 3 h 5"/>
                  <a:gd name="T4" fmla="*/ 4 w 8"/>
                  <a:gd name="T5" fmla="*/ 5 h 5"/>
                  <a:gd name="T6" fmla="*/ 4 w 8"/>
                  <a:gd name="T7" fmla="*/ 5 h 5"/>
                  <a:gd name="T8" fmla="*/ 3 w 8"/>
                  <a:gd name="T9" fmla="*/ 0 h 5"/>
                </a:gdLst>
                <a:cxnLst>
                  <a:cxn ang="0">
                    <a:pos x="T0" y="T1"/>
                  </a:cxn>
                  <a:cxn ang="0">
                    <a:pos x="T2" y="T3"/>
                  </a:cxn>
                  <a:cxn ang="0">
                    <a:pos x="T4" y="T5"/>
                  </a:cxn>
                  <a:cxn ang="0">
                    <a:pos x="T6" y="T7"/>
                  </a:cxn>
                  <a:cxn ang="0">
                    <a:pos x="T8" y="T9"/>
                  </a:cxn>
                </a:cxnLst>
                <a:rect l="0" t="0" r="r" b="b"/>
                <a:pathLst>
                  <a:path w="8" h="5">
                    <a:moveTo>
                      <a:pt x="3" y="0"/>
                    </a:moveTo>
                    <a:cubicBezTo>
                      <a:pt x="1" y="1"/>
                      <a:pt x="0" y="1"/>
                      <a:pt x="1" y="3"/>
                    </a:cubicBezTo>
                    <a:cubicBezTo>
                      <a:pt x="2" y="4"/>
                      <a:pt x="3" y="5"/>
                      <a:pt x="4" y="5"/>
                    </a:cubicBezTo>
                    <a:cubicBezTo>
                      <a:pt x="4" y="5"/>
                      <a:pt x="4" y="5"/>
                      <a:pt x="4" y="5"/>
                    </a:cubicBezTo>
                    <a:cubicBezTo>
                      <a:pt x="8" y="3"/>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Freeform 129"/>
              <p:cNvSpPr/>
              <p:nvPr/>
            </p:nvSpPr>
            <p:spPr bwMode="auto">
              <a:xfrm>
                <a:off x="8327" y="1997"/>
                <a:ext cx="22" cy="16"/>
              </a:xfrm>
              <a:custGeom>
                <a:gdLst>
                  <a:gd name="T0" fmla="*/ 8 w 9"/>
                  <a:gd name="T1" fmla="*/ 0 h 7"/>
                  <a:gd name="T2" fmla="*/ 5 w 9"/>
                  <a:gd name="T3" fmla="*/ 2 h 7"/>
                  <a:gd name="T4" fmla="*/ 0 w 9"/>
                  <a:gd name="T5" fmla="*/ 4 h 7"/>
                  <a:gd name="T6" fmla="*/ 0 w 9"/>
                  <a:gd name="T7" fmla="*/ 4 h 7"/>
                  <a:gd name="T8" fmla="*/ 3 w 9"/>
                  <a:gd name="T9" fmla="*/ 6 h 7"/>
                  <a:gd name="T10" fmla="*/ 4 w 9"/>
                  <a:gd name="T11" fmla="*/ 7 h 7"/>
                  <a:gd name="T12" fmla="*/ 4 w 9"/>
                  <a:gd name="T13" fmla="*/ 7 h 7"/>
                  <a:gd name="T14" fmla="*/ 9 w 9"/>
                  <a:gd name="T15" fmla="*/ 0 h 7"/>
                  <a:gd name="T16" fmla="*/ 8 w 9"/>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8" y="0"/>
                    </a:moveTo>
                    <a:cubicBezTo>
                      <a:pt x="7" y="0"/>
                      <a:pt x="6" y="1"/>
                      <a:pt x="5" y="2"/>
                    </a:cubicBezTo>
                    <a:cubicBezTo>
                      <a:pt x="3" y="2"/>
                      <a:pt x="2" y="4"/>
                      <a:pt x="0" y="4"/>
                    </a:cubicBezTo>
                    <a:cubicBezTo>
                      <a:pt x="0" y="4"/>
                      <a:pt x="0" y="4"/>
                      <a:pt x="0" y="4"/>
                    </a:cubicBezTo>
                    <a:cubicBezTo>
                      <a:pt x="1" y="4"/>
                      <a:pt x="2" y="5"/>
                      <a:pt x="3" y="6"/>
                    </a:cubicBezTo>
                    <a:cubicBezTo>
                      <a:pt x="3" y="6"/>
                      <a:pt x="3" y="6"/>
                      <a:pt x="4" y="7"/>
                    </a:cubicBezTo>
                    <a:cubicBezTo>
                      <a:pt x="4" y="7"/>
                      <a:pt x="4" y="7"/>
                      <a:pt x="4" y="7"/>
                    </a:cubicBezTo>
                    <a:cubicBezTo>
                      <a:pt x="6" y="7"/>
                      <a:pt x="8" y="2"/>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130"/>
              <p:cNvSpPr/>
              <p:nvPr/>
            </p:nvSpPr>
            <p:spPr bwMode="auto">
              <a:xfrm>
                <a:off x="6477" y="2311"/>
                <a:ext cx="5" cy="12"/>
              </a:xfrm>
              <a:custGeom>
                <a:gdLst>
                  <a:gd name="T0" fmla="*/ 2 w 2"/>
                  <a:gd name="T1" fmla="*/ 0 h 5"/>
                  <a:gd name="T2" fmla="*/ 0 w 2"/>
                  <a:gd name="T3" fmla="*/ 5 h 5"/>
                  <a:gd name="T4" fmla="*/ 2 w 2"/>
                  <a:gd name="T5" fmla="*/ 0 h 5"/>
                </a:gdLst>
                <a:cxnLst>
                  <a:cxn ang="0">
                    <a:pos x="T0" y="T1"/>
                  </a:cxn>
                  <a:cxn ang="0">
                    <a:pos x="T2" y="T3"/>
                  </a:cxn>
                  <a:cxn ang="0">
                    <a:pos x="T4" y="T5"/>
                  </a:cxn>
                </a:cxnLst>
                <a:rect l="0" t="0" r="r" b="b"/>
                <a:pathLst>
                  <a:path w="2" h="5">
                    <a:moveTo>
                      <a:pt x="2" y="0"/>
                    </a:moveTo>
                    <a:cubicBezTo>
                      <a:pt x="1" y="2"/>
                      <a:pt x="0" y="3"/>
                      <a:pt x="0" y="5"/>
                    </a:cubicBezTo>
                    <a:cubicBezTo>
                      <a:pt x="1" y="4"/>
                      <a:pt x="1"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31"/>
              <p:cNvSpPr/>
              <p:nvPr/>
            </p:nvSpPr>
            <p:spPr bwMode="auto">
              <a:xfrm>
                <a:off x="6099" y="2848"/>
                <a:ext cx="5" cy="2"/>
              </a:xfrm>
              <a:custGeom>
                <a:gdLst>
                  <a:gd name="T0" fmla="*/ 0 w 2"/>
                  <a:gd name="T1" fmla="*/ 0 h 1"/>
                  <a:gd name="T2" fmla="*/ 0 w 2"/>
                  <a:gd name="T3" fmla="*/ 0 h 1"/>
                  <a:gd name="T4" fmla="*/ 2 w 2"/>
                  <a:gd name="T5" fmla="*/ 1 h 1"/>
                  <a:gd name="T6" fmla="*/ 0 w 2"/>
                  <a:gd name="T7" fmla="*/ 0 h 1"/>
                  <a:gd name="T8" fmla="*/ 0 w 2"/>
                  <a:gd name="T9" fmla="*/ 0 h 1"/>
                </a:gdLst>
                <a:cxnLst>
                  <a:cxn ang="0">
                    <a:pos x="T0" y="T1"/>
                  </a:cxn>
                  <a:cxn ang="0">
                    <a:pos x="T2" y="T3"/>
                  </a:cxn>
                  <a:cxn ang="0">
                    <a:pos x="T4" y="T5"/>
                  </a:cxn>
                  <a:cxn ang="0">
                    <a:pos x="T6" y="T7"/>
                  </a:cxn>
                  <a:cxn ang="0">
                    <a:pos x="T8" y="T9"/>
                  </a:cxn>
                </a:cxnLst>
                <a:rect l="0" t="0" r="r" b="b"/>
                <a:pathLst>
                  <a:path w="2" h="1">
                    <a:moveTo>
                      <a:pt x="0" y="0"/>
                    </a:moveTo>
                    <a:cubicBezTo>
                      <a:pt x="0" y="0"/>
                      <a:pt x="0" y="0"/>
                      <a:pt x="0" y="0"/>
                    </a:cubicBezTo>
                    <a:cubicBezTo>
                      <a:pt x="0" y="0"/>
                      <a:pt x="1" y="0"/>
                      <a:pt x="2" y="1"/>
                    </a:cubicBezTo>
                    <a:cubicBezTo>
                      <a:pt x="1"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32"/>
              <p:cNvSpPr/>
              <p:nvPr/>
            </p:nvSpPr>
            <p:spPr bwMode="auto">
              <a:xfrm flipH="1">
                <a:off x="6479" y="2309"/>
                <a:ext cx="0" cy="5"/>
              </a:xfrm>
              <a:custGeom>
                <a:gdLst>
                  <a:gd name="T0" fmla="*/ 0 h 2"/>
                  <a:gd name="T1" fmla="*/ 2 h 2"/>
                  <a:gd name="T2" fmla="*/ 0 h 2"/>
                  <a:gd name="T3" fmla="*/ 0 h 2"/>
                </a:gdLst>
                <a:cxnLst>
                  <a:cxn ang="0">
                    <a:pos x="0" y="T0"/>
                  </a:cxn>
                  <a:cxn ang="0">
                    <a:pos x="0" y="T1"/>
                  </a:cxn>
                  <a:cxn ang="0">
                    <a:pos x="0" y="T2"/>
                  </a:cxn>
                  <a:cxn ang="0">
                    <a:pos x="0" y="T3"/>
                  </a:cxn>
                </a:cxnLst>
                <a:rect l="0" t="0" r="r" b="b"/>
                <a:pathLst>
                  <a:path h="2">
                    <a:moveTo>
                      <a:pt x="0" y="0"/>
                    </a:moveTo>
                    <a:cubicBezTo>
                      <a:pt x="0" y="1"/>
                      <a:pt x="0" y="1"/>
                      <a:pt x="0" y="2"/>
                    </a:cubicBezTo>
                    <a:cubicBezTo>
                      <a:pt x="0" y="1"/>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33"/>
              <p:cNvSpPr/>
              <p:nvPr/>
            </p:nvSpPr>
            <p:spPr bwMode="auto">
              <a:xfrm>
                <a:off x="6791" y="3054"/>
                <a:ext cx="5" cy="2"/>
              </a:xfrm>
              <a:custGeom>
                <a:gdLst>
                  <a:gd name="T0" fmla="*/ 0 w 2"/>
                  <a:gd name="T1" fmla="*/ 0 h 1"/>
                  <a:gd name="T2" fmla="*/ 0 w 2"/>
                  <a:gd name="T3" fmla="*/ 0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0"/>
                      <a:pt x="0" y="0"/>
                      <a:pt x="0" y="0"/>
                    </a:cubicBezTo>
                    <a:cubicBezTo>
                      <a:pt x="0" y="1"/>
                      <a:pt x="1" y="1"/>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34"/>
              <p:cNvSpPr/>
              <p:nvPr/>
            </p:nvSpPr>
            <p:spPr bwMode="auto">
              <a:xfrm>
                <a:off x="7214" y="3307"/>
                <a:ext cx="3" cy="4"/>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1"/>
                      <a:pt x="0" y="2"/>
                      <a:pt x="1" y="2"/>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35"/>
              <p:cNvSpPr/>
              <p:nvPr/>
            </p:nvSpPr>
            <p:spPr bwMode="auto">
              <a:xfrm>
                <a:off x="8377" y="3314"/>
                <a:ext cx="52" cy="19"/>
              </a:xfrm>
              <a:custGeom>
                <a:gdLst>
                  <a:gd name="T0" fmla="*/ 11 w 22"/>
                  <a:gd name="T1" fmla="*/ 0 h 8"/>
                  <a:gd name="T2" fmla="*/ 0 w 22"/>
                  <a:gd name="T3" fmla="*/ 4 h 8"/>
                  <a:gd name="T4" fmla="*/ 3 w 22"/>
                  <a:gd name="T5" fmla="*/ 5 h 8"/>
                  <a:gd name="T6" fmla="*/ 5 w 22"/>
                  <a:gd name="T7" fmla="*/ 5 h 8"/>
                  <a:gd name="T8" fmla="*/ 6 w 22"/>
                  <a:gd name="T9" fmla="*/ 8 h 8"/>
                  <a:gd name="T10" fmla="*/ 7 w 22"/>
                  <a:gd name="T11" fmla="*/ 6 h 8"/>
                  <a:gd name="T12" fmla="*/ 7 w 22"/>
                  <a:gd name="T13" fmla="*/ 6 h 8"/>
                  <a:gd name="T14" fmla="*/ 10 w 22"/>
                  <a:gd name="T15" fmla="*/ 8 h 8"/>
                  <a:gd name="T16" fmla="*/ 10 w 22"/>
                  <a:gd name="T17" fmla="*/ 8 h 8"/>
                  <a:gd name="T18" fmla="*/ 13 w 22"/>
                  <a:gd name="T19" fmla="*/ 6 h 8"/>
                  <a:gd name="T20" fmla="*/ 14 w 22"/>
                  <a:gd name="T21" fmla="*/ 7 h 8"/>
                  <a:gd name="T22" fmla="*/ 15 w 22"/>
                  <a:gd name="T23" fmla="*/ 6 h 8"/>
                  <a:gd name="T24" fmla="*/ 16 w 22"/>
                  <a:gd name="T25" fmla="*/ 6 h 8"/>
                  <a:gd name="T26" fmla="*/ 16 w 22"/>
                  <a:gd name="T27" fmla="*/ 6 h 8"/>
                  <a:gd name="T28" fmla="*/ 19 w 22"/>
                  <a:gd name="T29" fmla="*/ 7 h 8"/>
                  <a:gd name="T30" fmla="*/ 19 w 22"/>
                  <a:gd name="T31" fmla="*/ 7 h 8"/>
                  <a:gd name="T32" fmla="*/ 20 w 22"/>
                  <a:gd name="T33" fmla="*/ 3 h 8"/>
                  <a:gd name="T34" fmla="*/ 16 w 22"/>
                  <a:gd name="T35" fmla="*/ 1 h 8"/>
                  <a:gd name="T36" fmla="*/ 15 w 22"/>
                  <a:gd name="T37" fmla="*/ 1 h 8"/>
                  <a:gd name="T38" fmla="*/ 11 w 22"/>
                  <a:gd name="T3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8">
                    <a:moveTo>
                      <a:pt x="11" y="0"/>
                    </a:moveTo>
                    <a:cubicBezTo>
                      <a:pt x="7" y="1"/>
                      <a:pt x="3" y="2"/>
                      <a:pt x="0" y="4"/>
                    </a:cubicBezTo>
                    <a:cubicBezTo>
                      <a:pt x="1" y="4"/>
                      <a:pt x="2" y="5"/>
                      <a:pt x="3" y="5"/>
                    </a:cubicBezTo>
                    <a:cubicBezTo>
                      <a:pt x="5" y="5"/>
                      <a:pt x="5" y="5"/>
                      <a:pt x="5" y="5"/>
                    </a:cubicBezTo>
                    <a:cubicBezTo>
                      <a:pt x="6" y="5"/>
                      <a:pt x="5" y="7"/>
                      <a:pt x="6" y="8"/>
                    </a:cubicBezTo>
                    <a:cubicBezTo>
                      <a:pt x="6" y="7"/>
                      <a:pt x="6" y="6"/>
                      <a:pt x="7" y="6"/>
                    </a:cubicBezTo>
                    <a:cubicBezTo>
                      <a:pt x="7" y="6"/>
                      <a:pt x="7" y="6"/>
                      <a:pt x="7" y="6"/>
                    </a:cubicBezTo>
                    <a:cubicBezTo>
                      <a:pt x="9" y="6"/>
                      <a:pt x="9" y="8"/>
                      <a:pt x="10" y="8"/>
                    </a:cubicBezTo>
                    <a:cubicBezTo>
                      <a:pt x="10" y="8"/>
                      <a:pt x="10" y="8"/>
                      <a:pt x="10" y="8"/>
                    </a:cubicBezTo>
                    <a:cubicBezTo>
                      <a:pt x="12" y="8"/>
                      <a:pt x="14" y="7"/>
                      <a:pt x="13" y="6"/>
                    </a:cubicBezTo>
                    <a:cubicBezTo>
                      <a:pt x="13" y="6"/>
                      <a:pt x="14" y="7"/>
                      <a:pt x="14" y="7"/>
                    </a:cubicBezTo>
                    <a:cubicBezTo>
                      <a:pt x="14" y="7"/>
                      <a:pt x="15" y="7"/>
                      <a:pt x="15" y="6"/>
                    </a:cubicBezTo>
                    <a:cubicBezTo>
                      <a:pt x="15" y="6"/>
                      <a:pt x="15" y="6"/>
                      <a:pt x="16" y="6"/>
                    </a:cubicBezTo>
                    <a:cubicBezTo>
                      <a:pt x="16" y="6"/>
                      <a:pt x="16" y="6"/>
                      <a:pt x="16" y="6"/>
                    </a:cubicBezTo>
                    <a:cubicBezTo>
                      <a:pt x="16" y="6"/>
                      <a:pt x="18" y="7"/>
                      <a:pt x="19" y="7"/>
                    </a:cubicBezTo>
                    <a:cubicBezTo>
                      <a:pt x="19" y="7"/>
                      <a:pt x="19" y="7"/>
                      <a:pt x="19" y="7"/>
                    </a:cubicBezTo>
                    <a:cubicBezTo>
                      <a:pt x="22" y="7"/>
                      <a:pt x="21" y="4"/>
                      <a:pt x="20" y="3"/>
                    </a:cubicBezTo>
                    <a:cubicBezTo>
                      <a:pt x="19" y="2"/>
                      <a:pt x="17" y="1"/>
                      <a:pt x="16" y="1"/>
                    </a:cubicBezTo>
                    <a:cubicBezTo>
                      <a:pt x="15" y="1"/>
                      <a:pt x="15" y="1"/>
                      <a:pt x="15" y="1"/>
                    </a:cubicBezTo>
                    <a:cubicBezTo>
                      <a:pt x="14"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36"/>
              <p:cNvSpPr/>
              <p:nvPr/>
            </p:nvSpPr>
            <p:spPr bwMode="auto">
              <a:xfrm>
                <a:off x="7207" y="3328"/>
                <a:ext cx="17" cy="14"/>
              </a:xfrm>
              <a:custGeom>
                <a:gdLst>
                  <a:gd name="T0" fmla="*/ 4 w 7"/>
                  <a:gd name="T1" fmla="*/ 0 h 6"/>
                  <a:gd name="T2" fmla="*/ 2 w 7"/>
                  <a:gd name="T3" fmla="*/ 2 h 6"/>
                  <a:gd name="T4" fmla="*/ 1 w 7"/>
                  <a:gd name="T5" fmla="*/ 1 h 6"/>
                  <a:gd name="T6" fmla="*/ 0 w 7"/>
                  <a:gd name="T7" fmla="*/ 2 h 6"/>
                  <a:gd name="T8" fmla="*/ 2 w 7"/>
                  <a:gd name="T9" fmla="*/ 5 h 6"/>
                  <a:gd name="T10" fmla="*/ 2 w 7"/>
                  <a:gd name="T11" fmla="*/ 6 h 6"/>
                  <a:gd name="T12" fmla="*/ 2 w 7"/>
                  <a:gd name="T13" fmla="*/ 6 h 6"/>
                  <a:gd name="T14" fmla="*/ 5 w 7"/>
                  <a:gd name="T15" fmla="*/ 5 h 6"/>
                  <a:gd name="T16" fmla="*/ 4 w 7"/>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4" y="0"/>
                    </a:moveTo>
                    <a:cubicBezTo>
                      <a:pt x="3" y="1"/>
                      <a:pt x="2" y="1"/>
                      <a:pt x="2" y="2"/>
                    </a:cubicBezTo>
                    <a:cubicBezTo>
                      <a:pt x="1" y="1"/>
                      <a:pt x="1" y="1"/>
                      <a:pt x="1" y="1"/>
                    </a:cubicBezTo>
                    <a:cubicBezTo>
                      <a:pt x="1" y="1"/>
                      <a:pt x="0" y="1"/>
                      <a:pt x="0" y="2"/>
                    </a:cubicBezTo>
                    <a:cubicBezTo>
                      <a:pt x="0" y="3"/>
                      <a:pt x="1" y="5"/>
                      <a:pt x="2" y="5"/>
                    </a:cubicBezTo>
                    <a:cubicBezTo>
                      <a:pt x="2" y="5"/>
                      <a:pt x="1" y="6"/>
                      <a:pt x="2" y="6"/>
                    </a:cubicBezTo>
                    <a:cubicBezTo>
                      <a:pt x="2" y="6"/>
                      <a:pt x="2" y="6"/>
                      <a:pt x="2" y="6"/>
                    </a:cubicBezTo>
                    <a:cubicBezTo>
                      <a:pt x="3" y="6"/>
                      <a:pt x="4" y="6"/>
                      <a:pt x="5" y="5"/>
                    </a:cubicBezTo>
                    <a:cubicBezTo>
                      <a:pt x="7" y="4"/>
                      <a:pt x="6"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37"/>
              <p:cNvSpPr/>
              <p:nvPr/>
            </p:nvSpPr>
            <p:spPr bwMode="auto">
              <a:xfrm>
                <a:off x="7110" y="3250"/>
                <a:ext cx="19" cy="21"/>
              </a:xfrm>
              <a:custGeom>
                <a:gdLst>
                  <a:gd name="T0" fmla="*/ 3 w 8"/>
                  <a:gd name="T1" fmla="*/ 0 h 9"/>
                  <a:gd name="T2" fmla="*/ 5 w 8"/>
                  <a:gd name="T3" fmla="*/ 9 h 9"/>
                  <a:gd name="T4" fmla="*/ 5 w 8"/>
                  <a:gd name="T5" fmla="*/ 2 h 9"/>
                  <a:gd name="T6" fmla="*/ 3 w 8"/>
                  <a:gd name="T7" fmla="*/ 0 h 9"/>
                </a:gdLst>
                <a:cxnLst>
                  <a:cxn ang="0">
                    <a:pos x="T0" y="T1"/>
                  </a:cxn>
                  <a:cxn ang="0">
                    <a:pos x="T2" y="T3"/>
                  </a:cxn>
                  <a:cxn ang="0">
                    <a:pos x="T4" y="T5"/>
                  </a:cxn>
                  <a:cxn ang="0">
                    <a:pos x="T6" y="T7"/>
                  </a:cxn>
                </a:cxnLst>
                <a:rect l="0" t="0" r="r" b="b"/>
                <a:pathLst>
                  <a:path w="8" h="9">
                    <a:moveTo>
                      <a:pt x="3" y="0"/>
                    </a:moveTo>
                    <a:cubicBezTo>
                      <a:pt x="0" y="1"/>
                      <a:pt x="4" y="7"/>
                      <a:pt x="5" y="9"/>
                    </a:cubicBezTo>
                    <a:cubicBezTo>
                      <a:pt x="7" y="6"/>
                      <a:pt x="8" y="4"/>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Freeform 138"/>
              <p:cNvSpPr/>
              <p:nvPr/>
            </p:nvSpPr>
            <p:spPr bwMode="auto">
              <a:xfrm>
                <a:off x="7808" y="3129"/>
                <a:ext cx="4" cy="5"/>
              </a:xfrm>
              <a:custGeom>
                <a:gdLst>
                  <a:gd name="T0" fmla="*/ 0 w 2"/>
                  <a:gd name="T1" fmla="*/ 0 h 2"/>
                  <a:gd name="T2" fmla="*/ 1 w 2"/>
                  <a:gd name="T3" fmla="*/ 1 h 2"/>
                  <a:gd name="T4" fmla="*/ 1 w 2"/>
                  <a:gd name="T5" fmla="*/ 1 h 2"/>
                  <a:gd name="T6" fmla="*/ 2 w 2"/>
                  <a:gd name="T7" fmla="*/ 2 h 2"/>
                  <a:gd name="T8" fmla="*/ 2 w 2"/>
                  <a:gd name="T9" fmla="*/ 2 h 2"/>
                  <a:gd name="T10" fmla="*/ 0 w 2"/>
                  <a:gd name="T11" fmla="*/ 0 h 2"/>
                </a:gdLst>
                <a:cxnLst>
                  <a:cxn ang="0">
                    <a:pos x="T0" y="T1"/>
                  </a:cxn>
                  <a:cxn ang="0">
                    <a:pos x="T2" y="T3"/>
                  </a:cxn>
                  <a:cxn ang="0">
                    <a:pos x="T4" y="T5"/>
                  </a:cxn>
                  <a:cxn ang="0">
                    <a:pos x="T6" y="T7"/>
                  </a:cxn>
                  <a:cxn ang="0">
                    <a:pos x="T8" y="T9"/>
                  </a:cxn>
                  <a:cxn ang="0">
                    <a:pos x="T10" y="T11"/>
                  </a:cxn>
                </a:cxnLst>
                <a:rect l="0" t="0" r="r" b="b"/>
                <a:pathLst>
                  <a:path w="2" h="2">
                    <a:moveTo>
                      <a:pt x="0" y="0"/>
                    </a:moveTo>
                    <a:cubicBezTo>
                      <a:pt x="0" y="0"/>
                      <a:pt x="1" y="1"/>
                      <a:pt x="1" y="1"/>
                    </a:cubicBezTo>
                    <a:cubicBezTo>
                      <a:pt x="1" y="1"/>
                      <a:pt x="1" y="1"/>
                      <a:pt x="1" y="1"/>
                    </a:cubicBezTo>
                    <a:cubicBezTo>
                      <a:pt x="1" y="2"/>
                      <a:pt x="2" y="2"/>
                      <a:pt x="2" y="2"/>
                    </a:cubicBezTo>
                    <a:cubicBezTo>
                      <a:pt x="2" y="2"/>
                      <a:pt x="2" y="2"/>
                      <a:pt x="2" y="2"/>
                    </a:cubicBezTo>
                    <a:cubicBezTo>
                      <a:pt x="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Freeform 139"/>
              <p:cNvSpPr/>
              <p:nvPr/>
            </p:nvSpPr>
            <p:spPr bwMode="auto">
              <a:xfrm>
                <a:off x="6945" y="3236"/>
                <a:ext cx="7" cy="5"/>
              </a:xfrm>
              <a:custGeom>
                <a:gdLst>
                  <a:gd name="T0" fmla="*/ 1 w 3"/>
                  <a:gd name="T1" fmla="*/ 0 h 2"/>
                  <a:gd name="T2" fmla="*/ 0 w 3"/>
                  <a:gd name="T3" fmla="*/ 1 h 2"/>
                  <a:gd name="T4" fmla="*/ 3 w 3"/>
                  <a:gd name="T5" fmla="*/ 2 h 2"/>
                  <a:gd name="T6" fmla="*/ 1 w 3"/>
                  <a:gd name="T7" fmla="*/ 0 h 2"/>
                </a:gdLst>
                <a:cxnLst>
                  <a:cxn ang="0">
                    <a:pos x="T0" y="T1"/>
                  </a:cxn>
                  <a:cxn ang="0">
                    <a:pos x="T2" y="T3"/>
                  </a:cxn>
                  <a:cxn ang="0">
                    <a:pos x="T4" y="T5"/>
                  </a:cxn>
                  <a:cxn ang="0">
                    <a:pos x="T6" y="T7"/>
                  </a:cxn>
                </a:cxnLst>
                <a:rect l="0" t="0" r="r" b="b"/>
                <a:pathLst>
                  <a:path w="3" h="2">
                    <a:moveTo>
                      <a:pt x="1" y="0"/>
                    </a:moveTo>
                    <a:cubicBezTo>
                      <a:pt x="0" y="0"/>
                      <a:pt x="0" y="0"/>
                      <a:pt x="0" y="1"/>
                    </a:cubicBezTo>
                    <a:cubicBezTo>
                      <a:pt x="1" y="1"/>
                      <a:pt x="2" y="1"/>
                      <a:pt x="3" y="2"/>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140"/>
              <p:cNvSpPr/>
              <p:nvPr/>
            </p:nvSpPr>
            <p:spPr bwMode="auto">
              <a:xfrm>
                <a:off x="7172" y="3323"/>
                <a:ext cx="12" cy="5"/>
              </a:xfrm>
              <a:custGeom>
                <a:gdLst>
                  <a:gd name="T0" fmla="*/ 2 w 5"/>
                  <a:gd name="T1" fmla="*/ 0 h 2"/>
                  <a:gd name="T2" fmla="*/ 0 w 5"/>
                  <a:gd name="T3" fmla="*/ 2 h 2"/>
                  <a:gd name="T4" fmla="*/ 5 w 5"/>
                  <a:gd name="T5" fmla="*/ 1 h 2"/>
                  <a:gd name="T6" fmla="*/ 2 w 5"/>
                  <a:gd name="T7" fmla="*/ 0 h 2"/>
                </a:gdLst>
                <a:cxnLst>
                  <a:cxn ang="0">
                    <a:pos x="T0" y="T1"/>
                  </a:cxn>
                  <a:cxn ang="0">
                    <a:pos x="T2" y="T3"/>
                  </a:cxn>
                  <a:cxn ang="0">
                    <a:pos x="T4" y="T5"/>
                  </a:cxn>
                  <a:cxn ang="0">
                    <a:pos x="T6" y="T7"/>
                  </a:cxn>
                </a:cxnLst>
                <a:rect l="0" t="0" r="r" b="b"/>
                <a:pathLst>
                  <a:path w="5" h="2">
                    <a:moveTo>
                      <a:pt x="2" y="0"/>
                    </a:moveTo>
                    <a:cubicBezTo>
                      <a:pt x="1" y="0"/>
                      <a:pt x="0" y="1"/>
                      <a:pt x="0" y="2"/>
                    </a:cubicBezTo>
                    <a:cubicBezTo>
                      <a:pt x="1" y="2"/>
                      <a:pt x="3" y="1"/>
                      <a:pt x="5"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Freeform 141"/>
              <p:cNvSpPr/>
              <p:nvPr/>
            </p:nvSpPr>
            <p:spPr bwMode="auto">
              <a:xfrm>
                <a:off x="7167" y="3262"/>
                <a:ext cx="2" cy="5"/>
              </a:xfrm>
              <a:custGeom>
                <a:gdLst>
                  <a:gd name="T0" fmla="*/ 0 w 1"/>
                  <a:gd name="T1" fmla="*/ 0 h 2"/>
                  <a:gd name="T2" fmla="*/ 0 w 1"/>
                  <a:gd name="T3" fmla="*/ 0 h 2"/>
                  <a:gd name="T4" fmla="*/ 1 w 1"/>
                  <a:gd name="T5" fmla="*/ 2 h 2"/>
                  <a:gd name="T6" fmla="*/ 0 w 1"/>
                  <a:gd name="T7" fmla="*/ 0 h 2"/>
                </a:gdLst>
                <a:cxnLst>
                  <a:cxn ang="0">
                    <a:pos x="T0" y="T1"/>
                  </a:cxn>
                  <a:cxn ang="0">
                    <a:pos x="T2" y="T3"/>
                  </a:cxn>
                  <a:cxn ang="0">
                    <a:pos x="T4" y="T5"/>
                  </a:cxn>
                  <a:cxn ang="0">
                    <a:pos x="T6" y="T7"/>
                  </a:cxn>
                </a:cxnLst>
                <a:rect l="0" t="0" r="r" b="b"/>
                <a:pathLst>
                  <a:path w="1" h="2">
                    <a:moveTo>
                      <a:pt x="0" y="0"/>
                    </a:moveTo>
                    <a:cubicBezTo>
                      <a:pt x="0" y="0"/>
                      <a:pt x="0" y="0"/>
                      <a:pt x="0" y="0"/>
                    </a:cubicBezTo>
                    <a:cubicBezTo>
                      <a:pt x="0" y="1"/>
                      <a:pt x="1" y="2"/>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42"/>
              <p:cNvSpPr/>
              <p:nvPr/>
            </p:nvSpPr>
            <p:spPr bwMode="auto">
              <a:xfrm>
                <a:off x="7184" y="3274"/>
                <a:ext cx="4" cy="4"/>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43"/>
              <p:cNvSpPr>
                <a:spLocks noEditPoints="1"/>
              </p:cNvSpPr>
              <p:nvPr/>
            </p:nvSpPr>
            <p:spPr bwMode="auto">
              <a:xfrm>
                <a:off x="8386" y="3333"/>
                <a:ext cx="10" cy="2"/>
              </a:xfrm>
              <a:custGeom>
                <a:gdLst>
                  <a:gd name="T0" fmla="*/ 3 w 4"/>
                  <a:gd name="T1" fmla="*/ 0 h 1"/>
                  <a:gd name="T2" fmla="*/ 0 w 4"/>
                  <a:gd name="T3" fmla="*/ 1 h 1"/>
                  <a:gd name="T4" fmla="*/ 0 w 4"/>
                  <a:gd name="T5" fmla="*/ 1 h 1"/>
                  <a:gd name="T6" fmla="*/ 3 w 4"/>
                  <a:gd name="T7" fmla="*/ 0 h 1"/>
                  <a:gd name="T8" fmla="*/ 4 w 4"/>
                  <a:gd name="T9" fmla="*/ 0 h 1"/>
                  <a:gd name="T10" fmla="*/ 3 w 4"/>
                  <a:gd name="T11" fmla="*/ 0 h 1"/>
                  <a:gd name="T12" fmla="*/ 4 w 4"/>
                  <a:gd name="T13" fmla="*/ 0 h 1"/>
                </a:gdLst>
                <a:cxnLst>
                  <a:cxn ang="0">
                    <a:pos x="T0" y="T1"/>
                  </a:cxn>
                  <a:cxn ang="0">
                    <a:pos x="T2" y="T3"/>
                  </a:cxn>
                  <a:cxn ang="0">
                    <a:pos x="T4" y="T5"/>
                  </a:cxn>
                  <a:cxn ang="0">
                    <a:pos x="T6" y="T7"/>
                  </a:cxn>
                  <a:cxn ang="0">
                    <a:pos x="T8" y="T9"/>
                  </a:cxn>
                  <a:cxn ang="0">
                    <a:pos x="T10" y="T11"/>
                  </a:cxn>
                  <a:cxn ang="0">
                    <a:pos x="T12" y="T13"/>
                  </a:cxn>
                </a:cxnLst>
                <a:rect l="0" t="0" r="r" b="b"/>
                <a:pathLst>
                  <a:path w="4" h="1">
                    <a:moveTo>
                      <a:pt x="3" y="0"/>
                    </a:moveTo>
                    <a:cubicBezTo>
                      <a:pt x="2" y="1"/>
                      <a:pt x="1" y="0"/>
                      <a:pt x="0" y="1"/>
                    </a:cubicBezTo>
                    <a:cubicBezTo>
                      <a:pt x="0" y="1"/>
                      <a:pt x="0" y="1"/>
                      <a:pt x="0" y="1"/>
                    </a:cubicBezTo>
                    <a:cubicBezTo>
                      <a:pt x="1" y="1"/>
                      <a:pt x="2" y="0"/>
                      <a:pt x="3" y="0"/>
                    </a:cubicBezTo>
                    <a:moveTo>
                      <a:pt x="4" y="0"/>
                    </a:moveTo>
                    <a:cubicBezTo>
                      <a:pt x="4" y="0"/>
                      <a:pt x="3" y="0"/>
                      <a:pt x="3" y="0"/>
                    </a:cubicBezTo>
                    <a:cubicBezTo>
                      <a:pt x="3" y="0"/>
                      <a:pt x="3"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Freeform 144"/>
              <p:cNvSpPr/>
              <p:nvPr/>
            </p:nvSpPr>
            <p:spPr bwMode="auto">
              <a:xfrm>
                <a:off x="8041" y="3366"/>
                <a:ext cx="34" cy="9"/>
              </a:xfrm>
              <a:custGeom>
                <a:gdLst>
                  <a:gd name="T0" fmla="*/ 7 w 14"/>
                  <a:gd name="T1" fmla="*/ 0 h 4"/>
                  <a:gd name="T2" fmla="*/ 6 w 14"/>
                  <a:gd name="T3" fmla="*/ 0 h 4"/>
                  <a:gd name="T4" fmla="*/ 6 w 14"/>
                  <a:gd name="T5" fmla="*/ 0 h 4"/>
                  <a:gd name="T6" fmla="*/ 2 w 14"/>
                  <a:gd name="T7" fmla="*/ 1 h 4"/>
                  <a:gd name="T8" fmla="*/ 0 w 14"/>
                  <a:gd name="T9" fmla="*/ 4 h 4"/>
                  <a:gd name="T10" fmla="*/ 6 w 14"/>
                  <a:gd name="T11" fmla="*/ 4 h 4"/>
                  <a:gd name="T12" fmla="*/ 7 w 14"/>
                  <a:gd name="T13" fmla="*/ 3 h 4"/>
                  <a:gd name="T14" fmla="*/ 7 w 14"/>
                  <a:gd name="T15" fmla="*/ 4 h 4"/>
                  <a:gd name="T16" fmla="*/ 12 w 14"/>
                  <a:gd name="T17" fmla="*/ 4 h 4"/>
                  <a:gd name="T18" fmla="*/ 14 w 14"/>
                  <a:gd name="T19" fmla="*/ 2 h 4"/>
                  <a:gd name="T20" fmla="*/ 12 w 14"/>
                  <a:gd name="T21" fmla="*/ 1 h 4"/>
                  <a:gd name="T22" fmla="*/ 10 w 14"/>
                  <a:gd name="T23" fmla="*/ 2 h 4"/>
                  <a:gd name="T24" fmla="*/ 7 w 14"/>
                  <a:gd name="T25"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4">
                    <a:moveTo>
                      <a:pt x="7" y="0"/>
                    </a:moveTo>
                    <a:cubicBezTo>
                      <a:pt x="8" y="0"/>
                      <a:pt x="6" y="0"/>
                      <a:pt x="6" y="0"/>
                    </a:cubicBezTo>
                    <a:cubicBezTo>
                      <a:pt x="6" y="0"/>
                      <a:pt x="6" y="0"/>
                      <a:pt x="6" y="0"/>
                    </a:cubicBezTo>
                    <a:cubicBezTo>
                      <a:pt x="4" y="0"/>
                      <a:pt x="3" y="0"/>
                      <a:pt x="2" y="1"/>
                    </a:cubicBezTo>
                    <a:cubicBezTo>
                      <a:pt x="1" y="2"/>
                      <a:pt x="1" y="3"/>
                      <a:pt x="0" y="4"/>
                    </a:cubicBezTo>
                    <a:cubicBezTo>
                      <a:pt x="6" y="4"/>
                      <a:pt x="6" y="4"/>
                      <a:pt x="6" y="4"/>
                    </a:cubicBezTo>
                    <a:cubicBezTo>
                      <a:pt x="7" y="3"/>
                      <a:pt x="7" y="3"/>
                      <a:pt x="7" y="3"/>
                    </a:cubicBezTo>
                    <a:cubicBezTo>
                      <a:pt x="7" y="3"/>
                      <a:pt x="7" y="3"/>
                      <a:pt x="7" y="4"/>
                    </a:cubicBezTo>
                    <a:cubicBezTo>
                      <a:pt x="12" y="4"/>
                      <a:pt x="12" y="4"/>
                      <a:pt x="12" y="4"/>
                    </a:cubicBezTo>
                    <a:cubicBezTo>
                      <a:pt x="13" y="3"/>
                      <a:pt x="14" y="3"/>
                      <a:pt x="14" y="2"/>
                    </a:cubicBezTo>
                    <a:cubicBezTo>
                      <a:pt x="14" y="2"/>
                      <a:pt x="13" y="1"/>
                      <a:pt x="12" y="1"/>
                    </a:cubicBezTo>
                    <a:cubicBezTo>
                      <a:pt x="11" y="1"/>
                      <a:pt x="10" y="1"/>
                      <a:pt x="10" y="2"/>
                    </a:cubicBezTo>
                    <a:cubicBezTo>
                      <a:pt x="9"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8" name="Freeform 145"/>
              <p:cNvSpPr/>
              <p:nvPr/>
            </p:nvSpPr>
            <p:spPr bwMode="auto">
              <a:xfrm>
                <a:off x="6884" y="3243"/>
                <a:ext cx="37" cy="45"/>
              </a:xfrm>
              <a:custGeom>
                <a:gdLst>
                  <a:gd name="T0" fmla="*/ 5 w 16"/>
                  <a:gd name="T1" fmla="*/ 0 h 19"/>
                  <a:gd name="T2" fmla="*/ 0 w 16"/>
                  <a:gd name="T3" fmla="*/ 3 h 19"/>
                  <a:gd name="T4" fmla="*/ 8 w 16"/>
                  <a:gd name="T5" fmla="*/ 12 h 19"/>
                  <a:gd name="T6" fmla="*/ 14 w 16"/>
                  <a:gd name="T7" fmla="*/ 19 h 19"/>
                  <a:gd name="T8" fmla="*/ 16 w 16"/>
                  <a:gd name="T9" fmla="*/ 15 h 19"/>
                  <a:gd name="T10" fmla="*/ 15 w 16"/>
                  <a:gd name="T11" fmla="*/ 11 h 19"/>
                  <a:gd name="T12" fmla="*/ 5 w 16"/>
                  <a:gd name="T13" fmla="*/ 0 h 19"/>
                </a:gdLst>
                <a:cxnLst>
                  <a:cxn ang="0">
                    <a:pos x="T0" y="T1"/>
                  </a:cxn>
                  <a:cxn ang="0">
                    <a:pos x="T2" y="T3"/>
                  </a:cxn>
                  <a:cxn ang="0">
                    <a:pos x="T4" y="T5"/>
                  </a:cxn>
                  <a:cxn ang="0">
                    <a:pos x="T6" y="T7"/>
                  </a:cxn>
                  <a:cxn ang="0">
                    <a:pos x="T8" y="T9"/>
                  </a:cxn>
                  <a:cxn ang="0">
                    <a:pos x="T10" y="T11"/>
                  </a:cxn>
                  <a:cxn ang="0">
                    <a:pos x="T12" y="T13"/>
                  </a:cxn>
                </a:cxnLst>
                <a:rect l="0" t="0" r="r" b="b"/>
                <a:pathLst>
                  <a:path w="16" h="19">
                    <a:moveTo>
                      <a:pt x="5" y="0"/>
                    </a:moveTo>
                    <a:cubicBezTo>
                      <a:pt x="5" y="3"/>
                      <a:pt x="2" y="2"/>
                      <a:pt x="0" y="3"/>
                    </a:cubicBezTo>
                    <a:cubicBezTo>
                      <a:pt x="4" y="4"/>
                      <a:pt x="5" y="10"/>
                      <a:pt x="8" y="12"/>
                    </a:cubicBezTo>
                    <a:cubicBezTo>
                      <a:pt x="10" y="15"/>
                      <a:pt x="12" y="17"/>
                      <a:pt x="14" y="19"/>
                    </a:cubicBezTo>
                    <a:cubicBezTo>
                      <a:pt x="16" y="18"/>
                      <a:pt x="15" y="17"/>
                      <a:pt x="16" y="15"/>
                    </a:cubicBezTo>
                    <a:cubicBezTo>
                      <a:pt x="16" y="13"/>
                      <a:pt x="16" y="12"/>
                      <a:pt x="15" y="11"/>
                    </a:cubicBezTo>
                    <a:cubicBezTo>
                      <a:pt x="12" y="7"/>
                      <a:pt x="8"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Freeform 146"/>
              <p:cNvSpPr/>
              <p:nvPr/>
            </p:nvSpPr>
            <p:spPr bwMode="auto">
              <a:xfrm>
                <a:off x="8242" y="3328"/>
                <a:ext cx="31" cy="26"/>
              </a:xfrm>
              <a:custGeom>
                <a:gdLst>
                  <a:gd name="T0" fmla="*/ 5 w 13"/>
                  <a:gd name="T1" fmla="*/ 0 h 11"/>
                  <a:gd name="T2" fmla="*/ 4 w 13"/>
                  <a:gd name="T3" fmla="*/ 2 h 11"/>
                  <a:gd name="T4" fmla="*/ 4 w 13"/>
                  <a:gd name="T5" fmla="*/ 2 h 11"/>
                  <a:gd name="T6" fmla="*/ 3 w 13"/>
                  <a:gd name="T7" fmla="*/ 1 h 11"/>
                  <a:gd name="T8" fmla="*/ 2 w 13"/>
                  <a:gd name="T9" fmla="*/ 0 h 11"/>
                  <a:gd name="T10" fmla="*/ 2 w 13"/>
                  <a:gd name="T11" fmla="*/ 0 h 11"/>
                  <a:gd name="T12" fmla="*/ 2 w 13"/>
                  <a:gd name="T13" fmla="*/ 5 h 11"/>
                  <a:gd name="T14" fmla="*/ 4 w 13"/>
                  <a:gd name="T15" fmla="*/ 6 h 11"/>
                  <a:gd name="T16" fmla="*/ 4 w 13"/>
                  <a:gd name="T17" fmla="*/ 7 h 11"/>
                  <a:gd name="T18" fmla="*/ 4 w 13"/>
                  <a:gd name="T19" fmla="*/ 9 h 11"/>
                  <a:gd name="T20" fmla="*/ 5 w 13"/>
                  <a:gd name="T21" fmla="*/ 9 h 11"/>
                  <a:gd name="T22" fmla="*/ 7 w 13"/>
                  <a:gd name="T23" fmla="*/ 9 h 11"/>
                  <a:gd name="T24" fmla="*/ 9 w 13"/>
                  <a:gd name="T25" fmla="*/ 11 h 11"/>
                  <a:gd name="T26" fmla="*/ 10 w 13"/>
                  <a:gd name="T27" fmla="*/ 11 h 11"/>
                  <a:gd name="T28" fmla="*/ 12 w 13"/>
                  <a:gd name="T29" fmla="*/ 9 h 11"/>
                  <a:gd name="T30" fmla="*/ 9 w 13"/>
                  <a:gd name="T31" fmla="*/ 7 h 11"/>
                  <a:gd name="T32" fmla="*/ 8 w 13"/>
                  <a:gd name="T33" fmla="*/ 7 h 11"/>
                  <a:gd name="T34" fmla="*/ 8 w 13"/>
                  <a:gd name="T35" fmla="*/ 7 h 11"/>
                  <a:gd name="T36" fmla="*/ 8 w 13"/>
                  <a:gd name="T37" fmla="*/ 7 h 11"/>
                  <a:gd name="T38" fmla="*/ 8 w 13"/>
                  <a:gd name="T39" fmla="*/ 6 h 11"/>
                  <a:gd name="T40" fmla="*/ 5 w 13"/>
                  <a:gd name="T41"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1">
                    <a:moveTo>
                      <a:pt x="5" y="0"/>
                    </a:moveTo>
                    <a:cubicBezTo>
                      <a:pt x="5" y="0"/>
                      <a:pt x="4" y="2"/>
                      <a:pt x="4" y="2"/>
                    </a:cubicBezTo>
                    <a:cubicBezTo>
                      <a:pt x="4" y="2"/>
                      <a:pt x="4" y="2"/>
                      <a:pt x="4" y="2"/>
                    </a:cubicBezTo>
                    <a:cubicBezTo>
                      <a:pt x="3" y="2"/>
                      <a:pt x="3" y="1"/>
                      <a:pt x="3" y="1"/>
                    </a:cubicBezTo>
                    <a:cubicBezTo>
                      <a:pt x="3" y="0"/>
                      <a:pt x="3" y="0"/>
                      <a:pt x="2" y="0"/>
                    </a:cubicBezTo>
                    <a:cubicBezTo>
                      <a:pt x="2" y="0"/>
                      <a:pt x="2" y="0"/>
                      <a:pt x="2" y="0"/>
                    </a:cubicBezTo>
                    <a:cubicBezTo>
                      <a:pt x="0" y="0"/>
                      <a:pt x="1" y="4"/>
                      <a:pt x="2" y="5"/>
                    </a:cubicBezTo>
                    <a:cubicBezTo>
                      <a:pt x="3" y="5"/>
                      <a:pt x="4" y="6"/>
                      <a:pt x="4" y="6"/>
                    </a:cubicBezTo>
                    <a:cubicBezTo>
                      <a:pt x="4" y="7"/>
                      <a:pt x="4" y="7"/>
                      <a:pt x="4" y="7"/>
                    </a:cubicBezTo>
                    <a:cubicBezTo>
                      <a:pt x="4" y="8"/>
                      <a:pt x="4" y="9"/>
                      <a:pt x="4" y="9"/>
                    </a:cubicBezTo>
                    <a:cubicBezTo>
                      <a:pt x="5" y="9"/>
                      <a:pt x="5" y="9"/>
                      <a:pt x="5" y="9"/>
                    </a:cubicBezTo>
                    <a:cubicBezTo>
                      <a:pt x="6" y="9"/>
                      <a:pt x="7" y="9"/>
                      <a:pt x="7" y="9"/>
                    </a:cubicBezTo>
                    <a:cubicBezTo>
                      <a:pt x="8" y="9"/>
                      <a:pt x="7" y="10"/>
                      <a:pt x="9" y="11"/>
                    </a:cubicBezTo>
                    <a:cubicBezTo>
                      <a:pt x="9" y="11"/>
                      <a:pt x="10" y="11"/>
                      <a:pt x="10" y="11"/>
                    </a:cubicBezTo>
                    <a:cubicBezTo>
                      <a:pt x="11" y="11"/>
                      <a:pt x="11" y="10"/>
                      <a:pt x="12" y="9"/>
                    </a:cubicBezTo>
                    <a:cubicBezTo>
                      <a:pt x="13" y="8"/>
                      <a:pt x="9" y="7"/>
                      <a:pt x="9" y="7"/>
                    </a:cubicBezTo>
                    <a:cubicBezTo>
                      <a:pt x="9" y="7"/>
                      <a:pt x="8" y="7"/>
                      <a:pt x="8" y="7"/>
                    </a:cubicBezTo>
                    <a:cubicBezTo>
                      <a:pt x="8" y="7"/>
                      <a:pt x="8" y="7"/>
                      <a:pt x="8" y="7"/>
                    </a:cubicBezTo>
                    <a:cubicBezTo>
                      <a:pt x="8" y="7"/>
                      <a:pt x="8" y="7"/>
                      <a:pt x="8" y="7"/>
                    </a:cubicBezTo>
                    <a:cubicBezTo>
                      <a:pt x="8" y="7"/>
                      <a:pt x="8" y="7"/>
                      <a:pt x="8" y="6"/>
                    </a:cubicBezTo>
                    <a:cubicBezTo>
                      <a:pt x="7" y="3"/>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Freeform 147"/>
              <p:cNvSpPr/>
              <p:nvPr/>
            </p:nvSpPr>
            <p:spPr bwMode="auto">
              <a:xfrm>
                <a:off x="6798" y="3058"/>
                <a:ext cx="419" cy="317"/>
              </a:xfrm>
              <a:custGeom>
                <a:gdLst>
                  <a:gd name="T0" fmla="*/ 2 w 177"/>
                  <a:gd name="T1" fmla="*/ 1 h 134"/>
                  <a:gd name="T2" fmla="*/ 5 w 177"/>
                  <a:gd name="T3" fmla="*/ 13 h 134"/>
                  <a:gd name="T4" fmla="*/ 36 w 177"/>
                  <a:gd name="T5" fmla="*/ 42 h 134"/>
                  <a:gd name="T6" fmla="*/ 46 w 177"/>
                  <a:gd name="T7" fmla="*/ 53 h 134"/>
                  <a:gd name="T8" fmla="*/ 49 w 177"/>
                  <a:gd name="T9" fmla="*/ 64 h 134"/>
                  <a:gd name="T10" fmla="*/ 60 w 177"/>
                  <a:gd name="T11" fmla="*/ 69 h 134"/>
                  <a:gd name="T12" fmla="*/ 67 w 177"/>
                  <a:gd name="T13" fmla="*/ 74 h 134"/>
                  <a:gd name="T14" fmla="*/ 71 w 177"/>
                  <a:gd name="T15" fmla="*/ 86 h 134"/>
                  <a:gd name="T16" fmla="*/ 81 w 177"/>
                  <a:gd name="T17" fmla="*/ 105 h 134"/>
                  <a:gd name="T18" fmla="*/ 99 w 177"/>
                  <a:gd name="T19" fmla="*/ 127 h 134"/>
                  <a:gd name="T20" fmla="*/ 177 w 177"/>
                  <a:gd name="T21" fmla="*/ 134 h 134"/>
                  <a:gd name="T22" fmla="*/ 174 w 177"/>
                  <a:gd name="T23" fmla="*/ 128 h 134"/>
                  <a:gd name="T24" fmla="*/ 172 w 177"/>
                  <a:gd name="T25" fmla="*/ 128 h 134"/>
                  <a:gd name="T26" fmla="*/ 167 w 177"/>
                  <a:gd name="T27" fmla="*/ 126 h 134"/>
                  <a:gd name="T28" fmla="*/ 156 w 177"/>
                  <a:gd name="T29" fmla="*/ 116 h 134"/>
                  <a:gd name="T30" fmla="*/ 160 w 177"/>
                  <a:gd name="T31" fmla="*/ 116 h 134"/>
                  <a:gd name="T32" fmla="*/ 158 w 177"/>
                  <a:gd name="T33" fmla="*/ 112 h 134"/>
                  <a:gd name="T34" fmla="*/ 154 w 177"/>
                  <a:gd name="T35" fmla="*/ 113 h 134"/>
                  <a:gd name="T36" fmla="*/ 160 w 177"/>
                  <a:gd name="T37" fmla="*/ 108 h 134"/>
                  <a:gd name="T38" fmla="*/ 165 w 177"/>
                  <a:gd name="T39" fmla="*/ 108 h 134"/>
                  <a:gd name="T40" fmla="*/ 161 w 177"/>
                  <a:gd name="T41" fmla="*/ 102 h 134"/>
                  <a:gd name="T42" fmla="*/ 156 w 177"/>
                  <a:gd name="T43" fmla="*/ 98 h 134"/>
                  <a:gd name="T44" fmla="*/ 141 w 177"/>
                  <a:gd name="T45" fmla="*/ 104 h 134"/>
                  <a:gd name="T46" fmla="*/ 141 w 177"/>
                  <a:gd name="T47" fmla="*/ 104 h 134"/>
                  <a:gd name="T48" fmla="*/ 147 w 177"/>
                  <a:gd name="T49" fmla="*/ 101 h 134"/>
                  <a:gd name="T50" fmla="*/ 148 w 177"/>
                  <a:gd name="T51" fmla="*/ 95 h 134"/>
                  <a:gd name="T52" fmla="*/ 137 w 177"/>
                  <a:gd name="T53" fmla="*/ 91 h 134"/>
                  <a:gd name="T54" fmla="*/ 127 w 177"/>
                  <a:gd name="T55" fmla="*/ 78 h 134"/>
                  <a:gd name="T56" fmla="*/ 118 w 177"/>
                  <a:gd name="T57" fmla="*/ 73 h 134"/>
                  <a:gd name="T58" fmla="*/ 108 w 177"/>
                  <a:gd name="T59" fmla="*/ 65 h 134"/>
                  <a:gd name="T60" fmla="*/ 107 w 177"/>
                  <a:gd name="T61" fmla="*/ 67 h 134"/>
                  <a:gd name="T62" fmla="*/ 108 w 177"/>
                  <a:gd name="T63" fmla="*/ 70 h 134"/>
                  <a:gd name="T64" fmla="*/ 100 w 177"/>
                  <a:gd name="T65" fmla="*/ 64 h 134"/>
                  <a:gd name="T66" fmla="*/ 94 w 177"/>
                  <a:gd name="T67" fmla="*/ 60 h 134"/>
                  <a:gd name="T68" fmla="*/ 90 w 177"/>
                  <a:gd name="T69" fmla="*/ 52 h 134"/>
                  <a:gd name="T70" fmla="*/ 71 w 177"/>
                  <a:gd name="T71" fmla="*/ 38 h 134"/>
                  <a:gd name="T72" fmla="*/ 66 w 177"/>
                  <a:gd name="T73" fmla="*/ 45 h 134"/>
                  <a:gd name="T74" fmla="*/ 66 w 177"/>
                  <a:gd name="T75" fmla="*/ 34 h 134"/>
                  <a:gd name="T76" fmla="*/ 61 w 177"/>
                  <a:gd name="T77" fmla="*/ 30 h 134"/>
                  <a:gd name="T78" fmla="*/ 57 w 177"/>
                  <a:gd name="T79" fmla="*/ 29 h 134"/>
                  <a:gd name="T80" fmla="*/ 55 w 177"/>
                  <a:gd name="T81" fmla="*/ 21 h 134"/>
                  <a:gd name="T82" fmla="*/ 45 w 177"/>
                  <a:gd name="T83" fmla="*/ 8 h 134"/>
                  <a:gd name="T84" fmla="*/ 40 w 177"/>
                  <a:gd name="T85" fmla="*/ 9 h 134"/>
                  <a:gd name="T86" fmla="*/ 36 w 177"/>
                  <a:gd name="T87" fmla="*/ 8 h 134"/>
                  <a:gd name="T88" fmla="*/ 26 w 177"/>
                  <a:gd name="T89" fmla="*/ 8 h 134"/>
                  <a:gd name="T90" fmla="*/ 8 w 177"/>
                  <a:gd name="T91" fmla="*/ 0 h 1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7" h="134">
                    <a:moveTo>
                      <a:pt x="8" y="0"/>
                    </a:moveTo>
                    <a:cubicBezTo>
                      <a:pt x="5" y="0"/>
                      <a:pt x="4" y="0"/>
                      <a:pt x="2" y="1"/>
                    </a:cubicBezTo>
                    <a:cubicBezTo>
                      <a:pt x="0" y="2"/>
                      <a:pt x="0" y="2"/>
                      <a:pt x="1" y="4"/>
                    </a:cubicBezTo>
                    <a:cubicBezTo>
                      <a:pt x="2" y="8"/>
                      <a:pt x="3" y="10"/>
                      <a:pt x="5" y="13"/>
                    </a:cubicBezTo>
                    <a:cubicBezTo>
                      <a:pt x="12" y="22"/>
                      <a:pt x="19" y="32"/>
                      <a:pt x="29" y="37"/>
                    </a:cubicBezTo>
                    <a:cubicBezTo>
                      <a:pt x="31" y="39"/>
                      <a:pt x="34" y="40"/>
                      <a:pt x="36" y="42"/>
                    </a:cubicBezTo>
                    <a:cubicBezTo>
                      <a:pt x="38" y="44"/>
                      <a:pt x="40" y="47"/>
                      <a:pt x="43" y="50"/>
                    </a:cubicBezTo>
                    <a:cubicBezTo>
                      <a:pt x="43" y="51"/>
                      <a:pt x="45" y="52"/>
                      <a:pt x="46" y="53"/>
                    </a:cubicBezTo>
                    <a:cubicBezTo>
                      <a:pt x="47" y="54"/>
                      <a:pt x="47" y="56"/>
                      <a:pt x="47" y="57"/>
                    </a:cubicBezTo>
                    <a:cubicBezTo>
                      <a:pt x="47" y="59"/>
                      <a:pt x="47" y="62"/>
                      <a:pt x="49" y="64"/>
                    </a:cubicBezTo>
                    <a:cubicBezTo>
                      <a:pt x="50" y="65"/>
                      <a:pt x="51" y="65"/>
                      <a:pt x="52" y="65"/>
                    </a:cubicBezTo>
                    <a:cubicBezTo>
                      <a:pt x="55" y="66"/>
                      <a:pt x="57" y="67"/>
                      <a:pt x="60" y="69"/>
                    </a:cubicBezTo>
                    <a:cubicBezTo>
                      <a:pt x="63" y="70"/>
                      <a:pt x="65" y="72"/>
                      <a:pt x="68" y="75"/>
                    </a:cubicBezTo>
                    <a:cubicBezTo>
                      <a:pt x="67" y="74"/>
                      <a:pt x="67" y="74"/>
                      <a:pt x="67" y="74"/>
                    </a:cubicBezTo>
                    <a:cubicBezTo>
                      <a:pt x="69" y="74"/>
                      <a:pt x="68" y="76"/>
                      <a:pt x="68" y="77"/>
                    </a:cubicBezTo>
                    <a:cubicBezTo>
                      <a:pt x="69" y="80"/>
                      <a:pt x="70" y="83"/>
                      <a:pt x="71" y="86"/>
                    </a:cubicBezTo>
                    <a:cubicBezTo>
                      <a:pt x="72" y="91"/>
                      <a:pt x="73" y="95"/>
                      <a:pt x="75" y="100"/>
                    </a:cubicBezTo>
                    <a:cubicBezTo>
                      <a:pt x="76" y="104"/>
                      <a:pt x="77" y="103"/>
                      <a:pt x="81" y="105"/>
                    </a:cubicBezTo>
                    <a:cubicBezTo>
                      <a:pt x="84" y="106"/>
                      <a:pt x="85" y="106"/>
                      <a:pt x="86" y="109"/>
                    </a:cubicBezTo>
                    <a:cubicBezTo>
                      <a:pt x="89" y="115"/>
                      <a:pt x="98" y="120"/>
                      <a:pt x="99" y="127"/>
                    </a:cubicBezTo>
                    <a:cubicBezTo>
                      <a:pt x="99" y="129"/>
                      <a:pt x="100" y="131"/>
                      <a:pt x="101" y="134"/>
                    </a:cubicBezTo>
                    <a:cubicBezTo>
                      <a:pt x="177" y="134"/>
                      <a:pt x="177" y="134"/>
                      <a:pt x="177" y="134"/>
                    </a:cubicBezTo>
                    <a:cubicBezTo>
                      <a:pt x="176" y="132"/>
                      <a:pt x="176" y="131"/>
                      <a:pt x="176" y="130"/>
                    </a:cubicBezTo>
                    <a:cubicBezTo>
                      <a:pt x="175" y="128"/>
                      <a:pt x="175" y="128"/>
                      <a:pt x="174" y="128"/>
                    </a:cubicBezTo>
                    <a:cubicBezTo>
                      <a:pt x="174" y="128"/>
                      <a:pt x="173" y="128"/>
                      <a:pt x="173" y="128"/>
                    </a:cubicBezTo>
                    <a:cubicBezTo>
                      <a:pt x="173" y="128"/>
                      <a:pt x="172" y="128"/>
                      <a:pt x="172" y="128"/>
                    </a:cubicBezTo>
                    <a:cubicBezTo>
                      <a:pt x="172" y="128"/>
                      <a:pt x="171" y="128"/>
                      <a:pt x="171" y="128"/>
                    </a:cubicBezTo>
                    <a:cubicBezTo>
                      <a:pt x="170" y="128"/>
                      <a:pt x="168" y="127"/>
                      <a:pt x="167" y="126"/>
                    </a:cubicBezTo>
                    <a:cubicBezTo>
                      <a:pt x="165" y="126"/>
                      <a:pt x="164" y="126"/>
                      <a:pt x="162" y="126"/>
                    </a:cubicBezTo>
                    <a:cubicBezTo>
                      <a:pt x="158" y="124"/>
                      <a:pt x="157" y="121"/>
                      <a:pt x="156" y="116"/>
                    </a:cubicBezTo>
                    <a:cubicBezTo>
                      <a:pt x="156" y="117"/>
                      <a:pt x="157" y="118"/>
                      <a:pt x="157" y="118"/>
                    </a:cubicBezTo>
                    <a:cubicBezTo>
                      <a:pt x="158" y="118"/>
                      <a:pt x="160" y="116"/>
                      <a:pt x="160" y="116"/>
                    </a:cubicBezTo>
                    <a:cubicBezTo>
                      <a:pt x="159" y="115"/>
                      <a:pt x="157" y="115"/>
                      <a:pt x="156" y="115"/>
                    </a:cubicBezTo>
                    <a:cubicBezTo>
                      <a:pt x="157" y="114"/>
                      <a:pt x="158" y="113"/>
                      <a:pt x="158" y="112"/>
                    </a:cubicBezTo>
                    <a:cubicBezTo>
                      <a:pt x="157" y="112"/>
                      <a:pt x="156" y="113"/>
                      <a:pt x="155" y="113"/>
                    </a:cubicBezTo>
                    <a:cubicBezTo>
                      <a:pt x="155" y="113"/>
                      <a:pt x="155" y="113"/>
                      <a:pt x="154" y="113"/>
                    </a:cubicBezTo>
                    <a:cubicBezTo>
                      <a:pt x="157" y="112"/>
                      <a:pt x="157" y="112"/>
                      <a:pt x="159" y="110"/>
                    </a:cubicBezTo>
                    <a:cubicBezTo>
                      <a:pt x="159" y="109"/>
                      <a:pt x="160" y="108"/>
                      <a:pt x="160" y="108"/>
                    </a:cubicBezTo>
                    <a:cubicBezTo>
                      <a:pt x="161" y="109"/>
                      <a:pt x="161" y="109"/>
                      <a:pt x="161" y="109"/>
                    </a:cubicBezTo>
                    <a:cubicBezTo>
                      <a:pt x="162" y="108"/>
                      <a:pt x="163" y="108"/>
                      <a:pt x="165" y="108"/>
                    </a:cubicBezTo>
                    <a:cubicBezTo>
                      <a:pt x="164" y="106"/>
                      <a:pt x="163" y="101"/>
                      <a:pt x="162" y="101"/>
                    </a:cubicBezTo>
                    <a:cubicBezTo>
                      <a:pt x="161" y="101"/>
                      <a:pt x="161" y="101"/>
                      <a:pt x="161" y="102"/>
                    </a:cubicBezTo>
                    <a:cubicBezTo>
                      <a:pt x="160" y="100"/>
                      <a:pt x="159" y="98"/>
                      <a:pt x="157" y="98"/>
                    </a:cubicBezTo>
                    <a:cubicBezTo>
                      <a:pt x="157" y="98"/>
                      <a:pt x="156" y="98"/>
                      <a:pt x="156" y="98"/>
                    </a:cubicBezTo>
                    <a:cubicBezTo>
                      <a:pt x="153" y="98"/>
                      <a:pt x="151" y="99"/>
                      <a:pt x="148" y="101"/>
                    </a:cubicBezTo>
                    <a:cubicBezTo>
                      <a:pt x="146" y="103"/>
                      <a:pt x="144" y="104"/>
                      <a:pt x="141" y="104"/>
                    </a:cubicBezTo>
                    <a:cubicBezTo>
                      <a:pt x="140" y="104"/>
                      <a:pt x="139" y="104"/>
                      <a:pt x="138" y="103"/>
                    </a:cubicBezTo>
                    <a:cubicBezTo>
                      <a:pt x="140" y="103"/>
                      <a:pt x="140" y="104"/>
                      <a:pt x="141" y="104"/>
                    </a:cubicBezTo>
                    <a:cubicBezTo>
                      <a:pt x="142" y="104"/>
                      <a:pt x="142" y="103"/>
                      <a:pt x="144" y="103"/>
                    </a:cubicBezTo>
                    <a:cubicBezTo>
                      <a:pt x="145" y="102"/>
                      <a:pt x="146" y="102"/>
                      <a:pt x="147" y="101"/>
                    </a:cubicBezTo>
                    <a:cubicBezTo>
                      <a:pt x="148" y="101"/>
                      <a:pt x="150" y="100"/>
                      <a:pt x="151" y="99"/>
                    </a:cubicBezTo>
                    <a:cubicBezTo>
                      <a:pt x="151" y="98"/>
                      <a:pt x="149" y="95"/>
                      <a:pt x="148" y="95"/>
                    </a:cubicBezTo>
                    <a:cubicBezTo>
                      <a:pt x="145" y="94"/>
                      <a:pt x="143" y="94"/>
                      <a:pt x="140" y="93"/>
                    </a:cubicBezTo>
                    <a:cubicBezTo>
                      <a:pt x="139" y="93"/>
                      <a:pt x="138" y="92"/>
                      <a:pt x="137" y="91"/>
                    </a:cubicBezTo>
                    <a:cubicBezTo>
                      <a:pt x="135" y="89"/>
                      <a:pt x="134" y="88"/>
                      <a:pt x="133" y="85"/>
                    </a:cubicBezTo>
                    <a:cubicBezTo>
                      <a:pt x="132" y="82"/>
                      <a:pt x="129" y="80"/>
                      <a:pt x="127" y="78"/>
                    </a:cubicBezTo>
                    <a:cubicBezTo>
                      <a:pt x="126" y="76"/>
                      <a:pt x="122" y="76"/>
                      <a:pt x="120" y="75"/>
                    </a:cubicBezTo>
                    <a:cubicBezTo>
                      <a:pt x="118" y="75"/>
                      <a:pt x="119" y="74"/>
                      <a:pt x="118" y="73"/>
                    </a:cubicBezTo>
                    <a:cubicBezTo>
                      <a:pt x="117" y="72"/>
                      <a:pt x="116" y="70"/>
                      <a:pt x="115" y="69"/>
                    </a:cubicBezTo>
                    <a:cubicBezTo>
                      <a:pt x="113" y="66"/>
                      <a:pt x="112" y="66"/>
                      <a:pt x="108" y="65"/>
                    </a:cubicBezTo>
                    <a:cubicBezTo>
                      <a:pt x="108" y="65"/>
                      <a:pt x="108" y="65"/>
                      <a:pt x="108" y="65"/>
                    </a:cubicBezTo>
                    <a:cubicBezTo>
                      <a:pt x="107" y="65"/>
                      <a:pt x="107" y="66"/>
                      <a:pt x="107" y="67"/>
                    </a:cubicBezTo>
                    <a:cubicBezTo>
                      <a:pt x="108" y="70"/>
                      <a:pt x="110" y="70"/>
                      <a:pt x="110" y="73"/>
                    </a:cubicBezTo>
                    <a:cubicBezTo>
                      <a:pt x="109" y="72"/>
                      <a:pt x="109" y="71"/>
                      <a:pt x="108" y="70"/>
                    </a:cubicBezTo>
                    <a:cubicBezTo>
                      <a:pt x="107" y="68"/>
                      <a:pt x="104" y="68"/>
                      <a:pt x="102" y="66"/>
                    </a:cubicBezTo>
                    <a:cubicBezTo>
                      <a:pt x="101" y="66"/>
                      <a:pt x="100" y="65"/>
                      <a:pt x="100" y="64"/>
                    </a:cubicBezTo>
                    <a:cubicBezTo>
                      <a:pt x="98" y="61"/>
                      <a:pt x="99" y="58"/>
                      <a:pt x="94" y="58"/>
                    </a:cubicBezTo>
                    <a:cubicBezTo>
                      <a:pt x="94" y="59"/>
                      <a:pt x="94" y="59"/>
                      <a:pt x="94" y="60"/>
                    </a:cubicBezTo>
                    <a:cubicBezTo>
                      <a:pt x="93" y="59"/>
                      <a:pt x="92" y="58"/>
                      <a:pt x="92" y="57"/>
                    </a:cubicBezTo>
                    <a:cubicBezTo>
                      <a:pt x="91" y="54"/>
                      <a:pt x="92" y="54"/>
                      <a:pt x="90" y="52"/>
                    </a:cubicBezTo>
                    <a:cubicBezTo>
                      <a:pt x="85" y="48"/>
                      <a:pt x="81" y="43"/>
                      <a:pt x="76" y="40"/>
                    </a:cubicBezTo>
                    <a:cubicBezTo>
                      <a:pt x="75" y="40"/>
                      <a:pt x="73" y="39"/>
                      <a:pt x="71" y="38"/>
                    </a:cubicBezTo>
                    <a:cubicBezTo>
                      <a:pt x="72" y="39"/>
                      <a:pt x="72" y="39"/>
                      <a:pt x="72" y="39"/>
                    </a:cubicBezTo>
                    <a:cubicBezTo>
                      <a:pt x="72" y="42"/>
                      <a:pt x="69" y="45"/>
                      <a:pt x="66" y="45"/>
                    </a:cubicBezTo>
                    <a:cubicBezTo>
                      <a:pt x="64" y="45"/>
                      <a:pt x="61" y="42"/>
                      <a:pt x="61" y="39"/>
                    </a:cubicBezTo>
                    <a:cubicBezTo>
                      <a:pt x="61" y="37"/>
                      <a:pt x="64" y="34"/>
                      <a:pt x="66" y="34"/>
                    </a:cubicBezTo>
                    <a:cubicBezTo>
                      <a:pt x="67" y="34"/>
                      <a:pt x="67" y="34"/>
                      <a:pt x="67" y="34"/>
                    </a:cubicBezTo>
                    <a:cubicBezTo>
                      <a:pt x="66" y="32"/>
                      <a:pt x="64" y="32"/>
                      <a:pt x="61" y="30"/>
                    </a:cubicBezTo>
                    <a:cubicBezTo>
                      <a:pt x="61" y="30"/>
                      <a:pt x="59" y="29"/>
                      <a:pt x="58" y="29"/>
                    </a:cubicBezTo>
                    <a:cubicBezTo>
                      <a:pt x="58" y="29"/>
                      <a:pt x="57" y="29"/>
                      <a:pt x="57" y="29"/>
                    </a:cubicBezTo>
                    <a:cubicBezTo>
                      <a:pt x="58" y="28"/>
                      <a:pt x="59" y="27"/>
                      <a:pt x="58" y="25"/>
                    </a:cubicBezTo>
                    <a:cubicBezTo>
                      <a:pt x="58" y="24"/>
                      <a:pt x="56" y="22"/>
                      <a:pt x="55" y="21"/>
                    </a:cubicBezTo>
                    <a:cubicBezTo>
                      <a:pt x="53" y="21"/>
                      <a:pt x="54" y="18"/>
                      <a:pt x="53" y="16"/>
                    </a:cubicBezTo>
                    <a:cubicBezTo>
                      <a:pt x="52" y="13"/>
                      <a:pt x="48" y="11"/>
                      <a:pt x="45" y="8"/>
                    </a:cubicBezTo>
                    <a:cubicBezTo>
                      <a:pt x="45" y="8"/>
                      <a:pt x="44" y="8"/>
                      <a:pt x="44" y="8"/>
                    </a:cubicBezTo>
                    <a:cubicBezTo>
                      <a:pt x="43" y="8"/>
                      <a:pt x="41" y="8"/>
                      <a:pt x="40" y="9"/>
                    </a:cubicBezTo>
                    <a:cubicBezTo>
                      <a:pt x="39" y="9"/>
                      <a:pt x="39" y="9"/>
                      <a:pt x="38" y="9"/>
                    </a:cubicBezTo>
                    <a:cubicBezTo>
                      <a:pt x="38" y="9"/>
                      <a:pt x="37" y="9"/>
                      <a:pt x="36" y="8"/>
                    </a:cubicBezTo>
                    <a:cubicBezTo>
                      <a:pt x="35" y="7"/>
                      <a:pt x="33" y="7"/>
                      <a:pt x="32" y="7"/>
                    </a:cubicBezTo>
                    <a:cubicBezTo>
                      <a:pt x="30" y="7"/>
                      <a:pt x="28" y="8"/>
                      <a:pt x="26" y="8"/>
                    </a:cubicBezTo>
                    <a:cubicBezTo>
                      <a:pt x="25" y="8"/>
                      <a:pt x="25" y="8"/>
                      <a:pt x="25" y="8"/>
                    </a:cubicBezTo>
                    <a:cubicBezTo>
                      <a:pt x="19" y="8"/>
                      <a:pt x="14"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1" name="Freeform 148"/>
              <p:cNvSpPr/>
              <p:nvPr/>
            </p:nvSpPr>
            <p:spPr bwMode="auto">
              <a:xfrm>
                <a:off x="8609" y="3342"/>
                <a:ext cx="21" cy="10"/>
              </a:xfrm>
              <a:custGeom>
                <a:gdLst>
                  <a:gd name="T0" fmla="*/ 0 w 9"/>
                  <a:gd name="T1" fmla="*/ 0 h 4"/>
                  <a:gd name="T2" fmla="*/ 6 w 9"/>
                  <a:gd name="T3" fmla="*/ 4 h 4"/>
                  <a:gd name="T4" fmla="*/ 0 w 9"/>
                  <a:gd name="T5" fmla="*/ 0 h 4"/>
                </a:gdLst>
                <a:cxnLst>
                  <a:cxn ang="0">
                    <a:pos x="T0" y="T1"/>
                  </a:cxn>
                  <a:cxn ang="0">
                    <a:pos x="T2" y="T3"/>
                  </a:cxn>
                  <a:cxn ang="0">
                    <a:pos x="T4" y="T5"/>
                  </a:cxn>
                </a:cxnLst>
                <a:rect l="0" t="0" r="r" b="b"/>
                <a:pathLst>
                  <a:path w="9" h="4">
                    <a:moveTo>
                      <a:pt x="0" y="0"/>
                    </a:moveTo>
                    <a:cubicBezTo>
                      <a:pt x="2" y="1"/>
                      <a:pt x="4" y="2"/>
                      <a:pt x="6" y="4"/>
                    </a:cubicBezTo>
                    <a:cubicBezTo>
                      <a:pt x="9"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Freeform 149"/>
              <p:cNvSpPr/>
              <p:nvPr/>
            </p:nvSpPr>
            <p:spPr bwMode="auto">
              <a:xfrm>
                <a:off x="8247" y="3215"/>
                <a:ext cx="69" cy="139"/>
              </a:xfrm>
              <a:custGeom>
                <a:gdLst>
                  <a:gd name="T0" fmla="*/ 13 w 29"/>
                  <a:gd name="T1" fmla="*/ 0 h 59"/>
                  <a:gd name="T2" fmla="*/ 7 w 29"/>
                  <a:gd name="T3" fmla="*/ 5 h 59"/>
                  <a:gd name="T4" fmla="*/ 4 w 29"/>
                  <a:gd name="T5" fmla="*/ 9 h 59"/>
                  <a:gd name="T6" fmla="*/ 2 w 29"/>
                  <a:gd name="T7" fmla="*/ 17 h 59"/>
                  <a:gd name="T8" fmla="*/ 2 w 29"/>
                  <a:gd name="T9" fmla="*/ 22 h 59"/>
                  <a:gd name="T10" fmla="*/ 5 w 29"/>
                  <a:gd name="T11" fmla="*/ 25 h 59"/>
                  <a:gd name="T12" fmla="*/ 4 w 29"/>
                  <a:gd name="T13" fmla="*/ 29 h 59"/>
                  <a:gd name="T14" fmla="*/ 7 w 29"/>
                  <a:gd name="T15" fmla="*/ 37 h 59"/>
                  <a:gd name="T16" fmla="*/ 6 w 29"/>
                  <a:gd name="T17" fmla="*/ 46 h 59"/>
                  <a:gd name="T18" fmla="*/ 12 w 29"/>
                  <a:gd name="T19" fmla="*/ 53 h 59"/>
                  <a:gd name="T20" fmla="*/ 21 w 29"/>
                  <a:gd name="T21" fmla="*/ 59 h 59"/>
                  <a:gd name="T22" fmla="*/ 11 w 29"/>
                  <a:gd name="T23" fmla="*/ 43 h 59"/>
                  <a:gd name="T24" fmla="*/ 11 w 29"/>
                  <a:gd name="T25" fmla="*/ 37 h 59"/>
                  <a:gd name="T26" fmla="*/ 12 w 29"/>
                  <a:gd name="T27" fmla="*/ 33 h 59"/>
                  <a:gd name="T28" fmla="*/ 12 w 29"/>
                  <a:gd name="T29" fmla="*/ 33 h 59"/>
                  <a:gd name="T30" fmla="*/ 24 w 29"/>
                  <a:gd name="T31" fmla="*/ 36 h 59"/>
                  <a:gd name="T32" fmla="*/ 29 w 29"/>
                  <a:gd name="T33" fmla="*/ 38 h 59"/>
                  <a:gd name="T34" fmla="*/ 21 w 29"/>
                  <a:gd name="T35" fmla="*/ 30 h 59"/>
                  <a:gd name="T36" fmla="*/ 19 w 29"/>
                  <a:gd name="T37" fmla="*/ 29 h 59"/>
                  <a:gd name="T38" fmla="*/ 24 w 29"/>
                  <a:gd name="T39" fmla="*/ 22 h 59"/>
                  <a:gd name="T40" fmla="*/ 26 w 29"/>
                  <a:gd name="T41" fmla="*/ 18 h 59"/>
                  <a:gd name="T42" fmla="*/ 27 w 29"/>
                  <a:gd name="T43" fmla="*/ 16 h 59"/>
                  <a:gd name="T44" fmla="*/ 26 w 29"/>
                  <a:gd name="T45" fmla="*/ 12 h 59"/>
                  <a:gd name="T46" fmla="*/ 24 w 29"/>
                  <a:gd name="T47" fmla="*/ 12 h 59"/>
                  <a:gd name="T48" fmla="*/ 20 w 29"/>
                  <a:gd name="T49" fmla="*/ 13 h 59"/>
                  <a:gd name="T50" fmla="*/ 16 w 29"/>
                  <a:gd name="T51" fmla="*/ 16 h 59"/>
                  <a:gd name="T52" fmla="*/ 14 w 29"/>
                  <a:gd name="T53" fmla="*/ 17 h 59"/>
                  <a:gd name="T54" fmla="*/ 15 w 29"/>
                  <a:gd name="T55" fmla="*/ 20 h 59"/>
                  <a:gd name="T56" fmla="*/ 11 w 29"/>
                  <a:gd name="T57" fmla="*/ 22 h 59"/>
                  <a:gd name="T58" fmla="*/ 10 w 29"/>
                  <a:gd name="T59" fmla="*/ 26 h 59"/>
                  <a:gd name="T60" fmla="*/ 9 w 29"/>
                  <a:gd name="T61" fmla="*/ 26 h 59"/>
                  <a:gd name="T62" fmla="*/ 6 w 29"/>
                  <a:gd name="T63" fmla="*/ 24 h 59"/>
                  <a:gd name="T64" fmla="*/ 9 w 29"/>
                  <a:gd name="T65" fmla="*/ 20 h 59"/>
                  <a:gd name="T66" fmla="*/ 9 w 29"/>
                  <a:gd name="T67" fmla="*/ 20 h 59"/>
                  <a:gd name="T68" fmla="*/ 10 w 29"/>
                  <a:gd name="T69" fmla="*/ 20 h 59"/>
                  <a:gd name="T70" fmla="*/ 10 w 29"/>
                  <a:gd name="T71" fmla="*/ 20 h 59"/>
                  <a:gd name="T72" fmla="*/ 10 w 29"/>
                  <a:gd name="T73" fmla="*/ 20 h 59"/>
                  <a:gd name="T74" fmla="*/ 11 w 29"/>
                  <a:gd name="T75" fmla="*/ 19 h 59"/>
                  <a:gd name="T76" fmla="*/ 12 w 29"/>
                  <a:gd name="T77" fmla="*/ 17 h 59"/>
                  <a:gd name="T78" fmla="*/ 11 w 29"/>
                  <a:gd name="T79" fmla="*/ 8 h 59"/>
                  <a:gd name="T80" fmla="*/ 11 w 29"/>
                  <a:gd name="T81" fmla="*/ 4 h 59"/>
                  <a:gd name="T82" fmla="*/ 13 w 29"/>
                  <a:gd name="T83" fmla="*/ 0 h 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59">
                    <a:moveTo>
                      <a:pt x="13" y="0"/>
                    </a:moveTo>
                    <a:cubicBezTo>
                      <a:pt x="11" y="1"/>
                      <a:pt x="9" y="3"/>
                      <a:pt x="7" y="5"/>
                    </a:cubicBezTo>
                    <a:cubicBezTo>
                      <a:pt x="6" y="6"/>
                      <a:pt x="5" y="8"/>
                      <a:pt x="4" y="9"/>
                    </a:cubicBezTo>
                    <a:cubicBezTo>
                      <a:pt x="3" y="12"/>
                      <a:pt x="3" y="15"/>
                      <a:pt x="2" y="17"/>
                    </a:cubicBezTo>
                    <a:cubicBezTo>
                      <a:pt x="1" y="19"/>
                      <a:pt x="0" y="20"/>
                      <a:pt x="2" y="22"/>
                    </a:cubicBezTo>
                    <a:cubicBezTo>
                      <a:pt x="2" y="23"/>
                      <a:pt x="4" y="25"/>
                      <a:pt x="5" y="25"/>
                    </a:cubicBezTo>
                    <a:cubicBezTo>
                      <a:pt x="5" y="26"/>
                      <a:pt x="4" y="28"/>
                      <a:pt x="4" y="29"/>
                    </a:cubicBezTo>
                    <a:cubicBezTo>
                      <a:pt x="3" y="32"/>
                      <a:pt x="7" y="34"/>
                      <a:pt x="7" y="37"/>
                    </a:cubicBezTo>
                    <a:cubicBezTo>
                      <a:pt x="7" y="39"/>
                      <a:pt x="5" y="43"/>
                      <a:pt x="6" y="46"/>
                    </a:cubicBezTo>
                    <a:cubicBezTo>
                      <a:pt x="7" y="48"/>
                      <a:pt x="10" y="51"/>
                      <a:pt x="12" y="53"/>
                    </a:cubicBezTo>
                    <a:cubicBezTo>
                      <a:pt x="14" y="56"/>
                      <a:pt x="17" y="57"/>
                      <a:pt x="21" y="59"/>
                    </a:cubicBezTo>
                    <a:cubicBezTo>
                      <a:pt x="17" y="54"/>
                      <a:pt x="14" y="48"/>
                      <a:pt x="11" y="43"/>
                    </a:cubicBezTo>
                    <a:cubicBezTo>
                      <a:pt x="10" y="41"/>
                      <a:pt x="11" y="39"/>
                      <a:pt x="11" y="37"/>
                    </a:cubicBezTo>
                    <a:cubicBezTo>
                      <a:pt x="11" y="36"/>
                      <a:pt x="9" y="33"/>
                      <a:pt x="12" y="33"/>
                    </a:cubicBezTo>
                    <a:cubicBezTo>
                      <a:pt x="12" y="33"/>
                      <a:pt x="12" y="33"/>
                      <a:pt x="12" y="33"/>
                    </a:cubicBezTo>
                    <a:cubicBezTo>
                      <a:pt x="17" y="34"/>
                      <a:pt x="20" y="35"/>
                      <a:pt x="24" y="36"/>
                    </a:cubicBezTo>
                    <a:cubicBezTo>
                      <a:pt x="26" y="36"/>
                      <a:pt x="28" y="37"/>
                      <a:pt x="29" y="38"/>
                    </a:cubicBezTo>
                    <a:cubicBezTo>
                      <a:pt x="27" y="35"/>
                      <a:pt x="25" y="32"/>
                      <a:pt x="21" y="30"/>
                    </a:cubicBezTo>
                    <a:cubicBezTo>
                      <a:pt x="21" y="30"/>
                      <a:pt x="20" y="30"/>
                      <a:pt x="19" y="29"/>
                    </a:cubicBezTo>
                    <a:cubicBezTo>
                      <a:pt x="14" y="26"/>
                      <a:pt x="21" y="24"/>
                      <a:pt x="24" y="22"/>
                    </a:cubicBezTo>
                    <a:cubicBezTo>
                      <a:pt x="26" y="21"/>
                      <a:pt x="25" y="21"/>
                      <a:pt x="26" y="18"/>
                    </a:cubicBezTo>
                    <a:cubicBezTo>
                      <a:pt x="26" y="17"/>
                      <a:pt x="27" y="17"/>
                      <a:pt x="27" y="16"/>
                    </a:cubicBezTo>
                    <a:cubicBezTo>
                      <a:pt x="27" y="14"/>
                      <a:pt x="25" y="13"/>
                      <a:pt x="26" y="12"/>
                    </a:cubicBezTo>
                    <a:cubicBezTo>
                      <a:pt x="26" y="12"/>
                      <a:pt x="25" y="12"/>
                      <a:pt x="24" y="12"/>
                    </a:cubicBezTo>
                    <a:cubicBezTo>
                      <a:pt x="23" y="12"/>
                      <a:pt x="21" y="12"/>
                      <a:pt x="20" y="13"/>
                    </a:cubicBezTo>
                    <a:cubicBezTo>
                      <a:pt x="19" y="13"/>
                      <a:pt x="17" y="15"/>
                      <a:pt x="16" y="16"/>
                    </a:cubicBezTo>
                    <a:cubicBezTo>
                      <a:pt x="14" y="17"/>
                      <a:pt x="14" y="17"/>
                      <a:pt x="14" y="17"/>
                    </a:cubicBezTo>
                    <a:cubicBezTo>
                      <a:pt x="14" y="19"/>
                      <a:pt x="17" y="19"/>
                      <a:pt x="15" y="20"/>
                    </a:cubicBezTo>
                    <a:cubicBezTo>
                      <a:pt x="15" y="21"/>
                      <a:pt x="13" y="20"/>
                      <a:pt x="11" y="22"/>
                    </a:cubicBezTo>
                    <a:cubicBezTo>
                      <a:pt x="11" y="23"/>
                      <a:pt x="11" y="25"/>
                      <a:pt x="10" y="26"/>
                    </a:cubicBezTo>
                    <a:cubicBezTo>
                      <a:pt x="9" y="26"/>
                      <a:pt x="9" y="26"/>
                      <a:pt x="9" y="26"/>
                    </a:cubicBezTo>
                    <a:cubicBezTo>
                      <a:pt x="7" y="26"/>
                      <a:pt x="6" y="25"/>
                      <a:pt x="6" y="24"/>
                    </a:cubicBezTo>
                    <a:cubicBezTo>
                      <a:pt x="6" y="23"/>
                      <a:pt x="8" y="21"/>
                      <a:pt x="9" y="20"/>
                    </a:cubicBezTo>
                    <a:cubicBezTo>
                      <a:pt x="9" y="20"/>
                      <a:pt x="9" y="20"/>
                      <a:pt x="9" y="20"/>
                    </a:cubicBezTo>
                    <a:cubicBezTo>
                      <a:pt x="9" y="20"/>
                      <a:pt x="9" y="20"/>
                      <a:pt x="10" y="20"/>
                    </a:cubicBezTo>
                    <a:cubicBezTo>
                      <a:pt x="10" y="20"/>
                      <a:pt x="10" y="20"/>
                      <a:pt x="10" y="20"/>
                    </a:cubicBezTo>
                    <a:cubicBezTo>
                      <a:pt x="10" y="20"/>
                      <a:pt x="10" y="20"/>
                      <a:pt x="10" y="20"/>
                    </a:cubicBezTo>
                    <a:cubicBezTo>
                      <a:pt x="11" y="19"/>
                      <a:pt x="11" y="19"/>
                      <a:pt x="11" y="19"/>
                    </a:cubicBezTo>
                    <a:cubicBezTo>
                      <a:pt x="11" y="18"/>
                      <a:pt x="12" y="18"/>
                      <a:pt x="12" y="17"/>
                    </a:cubicBezTo>
                    <a:cubicBezTo>
                      <a:pt x="14" y="14"/>
                      <a:pt x="12" y="11"/>
                      <a:pt x="11" y="8"/>
                    </a:cubicBezTo>
                    <a:cubicBezTo>
                      <a:pt x="10" y="5"/>
                      <a:pt x="10" y="6"/>
                      <a:pt x="11" y="4"/>
                    </a:cubicBezTo>
                    <a:cubicBezTo>
                      <a:pt x="12" y="3"/>
                      <a:pt x="13"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3" name="Freeform 150"/>
              <p:cNvSpPr/>
              <p:nvPr/>
            </p:nvSpPr>
            <p:spPr bwMode="auto">
              <a:xfrm>
                <a:off x="6952" y="3354"/>
                <a:ext cx="24" cy="21"/>
              </a:xfrm>
              <a:custGeom>
                <a:gdLst>
                  <a:gd name="T0" fmla="*/ 5 w 10"/>
                  <a:gd name="T1" fmla="*/ 0 h 9"/>
                  <a:gd name="T2" fmla="*/ 1 w 10"/>
                  <a:gd name="T3" fmla="*/ 2 h 9"/>
                  <a:gd name="T4" fmla="*/ 2 w 10"/>
                  <a:gd name="T5" fmla="*/ 9 h 9"/>
                  <a:gd name="T6" fmla="*/ 10 w 10"/>
                  <a:gd name="T7" fmla="*/ 9 h 9"/>
                  <a:gd name="T8" fmla="*/ 7 w 10"/>
                  <a:gd name="T9" fmla="*/ 1 h 9"/>
                  <a:gd name="T10" fmla="*/ 5 w 10"/>
                  <a:gd name="T11" fmla="*/ 0 h 9"/>
                </a:gdLst>
                <a:cxnLst>
                  <a:cxn ang="0">
                    <a:pos x="T0" y="T1"/>
                  </a:cxn>
                  <a:cxn ang="0">
                    <a:pos x="T2" y="T3"/>
                  </a:cxn>
                  <a:cxn ang="0">
                    <a:pos x="T4" y="T5"/>
                  </a:cxn>
                  <a:cxn ang="0">
                    <a:pos x="T6" y="T7"/>
                  </a:cxn>
                  <a:cxn ang="0">
                    <a:pos x="T8" y="T9"/>
                  </a:cxn>
                  <a:cxn ang="0">
                    <a:pos x="T10" y="T11"/>
                  </a:cxn>
                </a:cxnLst>
                <a:rect l="0" t="0" r="r" b="b"/>
                <a:pathLst>
                  <a:path w="10" h="9">
                    <a:moveTo>
                      <a:pt x="5" y="0"/>
                    </a:moveTo>
                    <a:cubicBezTo>
                      <a:pt x="3" y="0"/>
                      <a:pt x="2" y="1"/>
                      <a:pt x="1" y="2"/>
                    </a:cubicBezTo>
                    <a:cubicBezTo>
                      <a:pt x="0" y="4"/>
                      <a:pt x="0" y="7"/>
                      <a:pt x="2" y="9"/>
                    </a:cubicBezTo>
                    <a:cubicBezTo>
                      <a:pt x="10" y="9"/>
                      <a:pt x="10" y="9"/>
                      <a:pt x="10" y="9"/>
                    </a:cubicBezTo>
                    <a:cubicBezTo>
                      <a:pt x="9" y="6"/>
                      <a:pt x="8" y="4"/>
                      <a:pt x="7" y="1"/>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Freeform 151"/>
              <p:cNvSpPr>
                <a:spLocks noEditPoints="1"/>
              </p:cNvSpPr>
              <p:nvPr/>
            </p:nvSpPr>
            <p:spPr bwMode="auto">
              <a:xfrm>
                <a:off x="7885" y="3236"/>
                <a:ext cx="268" cy="139"/>
              </a:xfrm>
              <a:custGeom>
                <a:gdLst>
                  <a:gd name="T0" fmla="*/ 68 w 113"/>
                  <a:gd name="T1" fmla="*/ 46 h 59"/>
                  <a:gd name="T2" fmla="*/ 64 w 113"/>
                  <a:gd name="T3" fmla="*/ 47 h 59"/>
                  <a:gd name="T4" fmla="*/ 56 w 113"/>
                  <a:gd name="T5" fmla="*/ 47 h 59"/>
                  <a:gd name="T6" fmla="*/ 48 w 113"/>
                  <a:gd name="T7" fmla="*/ 51 h 59"/>
                  <a:gd name="T8" fmla="*/ 44 w 113"/>
                  <a:gd name="T9" fmla="*/ 48 h 59"/>
                  <a:gd name="T10" fmla="*/ 40 w 113"/>
                  <a:gd name="T11" fmla="*/ 51 h 59"/>
                  <a:gd name="T12" fmla="*/ 35 w 113"/>
                  <a:gd name="T13" fmla="*/ 59 h 59"/>
                  <a:gd name="T14" fmla="*/ 63 w 113"/>
                  <a:gd name="T15" fmla="*/ 55 h 59"/>
                  <a:gd name="T16" fmla="*/ 70 w 113"/>
                  <a:gd name="T17" fmla="*/ 49 h 59"/>
                  <a:gd name="T18" fmla="*/ 77 w 113"/>
                  <a:gd name="T19" fmla="*/ 52 h 59"/>
                  <a:gd name="T20" fmla="*/ 73 w 113"/>
                  <a:gd name="T21" fmla="*/ 44 h 59"/>
                  <a:gd name="T22" fmla="*/ 109 w 113"/>
                  <a:gd name="T23" fmla="*/ 0 h 59"/>
                  <a:gd name="T24" fmla="*/ 100 w 113"/>
                  <a:gd name="T25" fmla="*/ 7 h 59"/>
                  <a:gd name="T26" fmla="*/ 92 w 113"/>
                  <a:gd name="T27" fmla="*/ 14 h 59"/>
                  <a:gd name="T28" fmla="*/ 78 w 113"/>
                  <a:gd name="T29" fmla="*/ 16 h 59"/>
                  <a:gd name="T30" fmla="*/ 69 w 113"/>
                  <a:gd name="T31" fmla="*/ 16 h 59"/>
                  <a:gd name="T32" fmla="*/ 55 w 113"/>
                  <a:gd name="T33" fmla="*/ 13 h 59"/>
                  <a:gd name="T34" fmla="*/ 47 w 113"/>
                  <a:gd name="T35" fmla="*/ 13 h 59"/>
                  <a:gd name="T36" fmla="*/ 45 w 113"/>
                  <a:gd name="T37" fmla="*/ 13 h 59"/>
                  <a:gd name="T38" fmla="*/ 40 w 113"/>
                  <a:gd name="T39" fmla="*/ 8 h 59"/>
                  <a:gd name="T40" fmla="*/ 36 w 113"/>
                  <a:gd name="T41" fmla="*/ 8 h 59"/>
                  <a:gd name="T42" fmla="*/ 28 w 113"/>
                  <a:gd name="T43" fmla="*/ 12 h 59"/>
                  <a:gd name="T44" fmla="*/ 23 w 113"/>
                  <a:gd name="T45" fmla="*/ 18 h 59"/>
                  <a:gd name="T46" fmla="*/ 19 w 113"/>
                  <a:gd name="T47" fmla="*/ 15 h 59"/>
                  <a:gd name="T48" fmla="*/ 19 w 113"/>
                  <a:gd name="T49" fmla="*/ 14 h 59"/>
                  <a:gd name="T50" fmla="*/ 15 w 113"/>
                  <a:gd name="T51" fmla="*/ 18 h 59"/>
                  <a:gd name="T52" fmla="*/ 12 w 113"/>
                  <a:gd name="T53" fmla="*/ 23 h 59"/>
                  <a:gd name="T54" fmla="*/ 8 w 113"/>
                  <a:gd name="T55" fmla="*/ 33 h 59"/>
                  <a:gd name="T56" fmla="*/ 6 w 113"/>
                  <a:gd name="T57" fmla="*/ 33 h 59"/>
                  <a:gd name="T58" fmla="*/ 9 w 113"/>
                  <a:gd name="T59" fmla="*/ 48 h 59"/>
                  <a:gd name="T60" fmla="*/ 1 w 113"/>
                  <a:gd name="T61" fmla="*/ 55 h 59"/>
                  <a:gd name="T62" fmla="*/ 0 w 113"/>
                  <a:gd name="T63" fmla="*/ 59 h 59"/>
                  <a:gd name="T64" fmla="*/ 21 w 113"/>
                  <a:gd name="T65" fmla="*/ 51 h 59"/>
                  <a:gd name="T66" fmla="*/ 20 w 113"/>
                  <a:gd name="T67" fmla="*/ 50 h 59"/>
                  <a:gd name="T68" fmla="*/ 19 w 113"/>
                  <a:gd name="T69" fmla="*/ 51 h 59"/>
                  <a:gd name="T70" fmla="*/ 16 w 113"/>
                  <a:gd name="T71" fmla="*/ 47 h 59"/>
                  <a:gd name="T72" fmla="*/ 13 w 113"/>
                  <a:gd name="T73" fmla="*/ 37 h 59"/>
                  <a:gd name="T74" fmla="*/ 25 w 113"/>
                  <a:gd name="T75" fmla="*/ 22 h 59"/>
                  <a:gd name="T76" fmla="*/ 38 w 113"/>
                  <a:gd name="T77" fmla="*/ 24 h 59"/>
                  <a:gd name="T78" fmla="*/ 53 w 113"/>
                  <a:gd name="T79" fmla="*/ 24 h 59"/>
                  <a:gd name="T80" fmla="*/ 55 w 113"/>
                  <a:gd name="T81" fmla="*/ 24 h 59"/>
                  <a:gd name="T82" fmla="*/ 65 w 113"/>
                  <a:gd name="T83" fmla="*/ 23 h 59"/>
                  <a:gd name="T84" fmla="*/ 79 w 113"/>
                  <a:gd name="T85" fmla="*/ 27 h 59"/>
                  <a:gd name="T86" fmla="*/ 87 w 113"/>
                  <a:gd name="T87" fmla="*/ 27 h 59"/>
                  <a:gd name="T88" fmla="*/ 102 w 113"/>
                  <a:gd name="T89" fmla="*/ 18 h 59"/>
                  <a:gd name="T90" fmla="*/ 110 w 113"/>
                  <a:gd name="T91" fmla="*/ 6 h 59"/>
                  <a:gd name="T92" fmla="*/ 109 w 113"/>
                  <a:gd name="T93" fmla="*/ 0 h 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3" h="59">
                    <a:moveTo>
                      <a:pt x="73" y="43"/>
                    </a:moveTo>
                    <a:cubicBezTo>
                      <a:pt x="71" y="43"/>
                      <a:pt x="70" y="44"/>
                      <a:pt x="68" y="46"/>
                    </a:cubicBezTo>
                    <a:cubicBezTo>
                      <a:pt x="71" y="47"/>
                      <a:pt x="67" y="47"/>
                      <a:pt x="65" y="47"/>
                    </a:cubicBezTo>
                    <a:cubicBezTo>
                      <a:pt x="64" y="47"/>
                      <a:pt x="64" y="47"/>
                      <a:pt x="64" y="47"/>
                    </a:cubicBezTo>
                    <a:cubicBezTo>
                      <a:pt x="62" y="47"/>
                      <a:pt x="60" y="47"/>
                      <a:pt x="58" y="47"/>
                    </a:cubicBezTo>
                    <a:cubicBezTo>
                      <a:pt x="57" y="47"/>
                      <a:pt x="56" y="47"/>
                      <a:pt x="56" y="47"/>
                    </a:cubicBezTo>
                    <a:cubicBezTo>
                      <a:pt x="53" y="48"/>
                      <a:pt x="51" y="49"/>
                      <a:pt x="49" y="50"/>
                    </a:cubicBezTo>
                    <a:cubicBezTo>
                      <a:pt x="49" y="51"/>
                      <a:pt x="49" y="51"/>
                      <a:pt x="48" y="51"/>
                    </a:cubicBezTo>
                    <a:cubicBezTo>
                      <a:pt x="47" y="51"/>
                      <a:pt x="46" y="49"/>
                      <a:pt x="45" y="49"/>
                    </a:cubicBezTo>
                    <a:cubicBezTo>
                      <a:pt x="44" y="49"/>
                      <a:pt x="45" y="48"/>
                      <a:pt x="44" y="48"/>
                    </a:cubicBezTo>
                    <a:cubicBezTo>
                      <a:pt x="44" y="48"/>
                      <a:pt x="44" y="48"/>
                      <a:pt x="43" y="49"/>
                    </a:cubicBezTo>
                    <a:cubicBezTo>
                      <a:pt x="42" y="49"/>
                      <a:pt x="41" y="50"/>
                      <a:pt x="40" y="51"/>
                    </a:cubicBezTo>
                    <a:cubicBezTo>
                      <a:pt x="39" y="52"/>
                      <a:pt x="38" y="54"/>
                      <a:pt x="37" y="55"/>
                    </a:cubicBezTo>
                    <a:cubicBezTo>
                      <a:pt x="36" y="56"/>
                      <a:pt x="36" y="57"/>
                      <a:pt x="35" y="59"/>
                    </a:cubicBezTo>
                    <a:cubicBezTo>
                      <a:pt x="59" y="59"/>
                      <a:pt x="59" y="59"/>
                      <a:pt x="59" y="59"/>
                    </a:cubicBezTo>
                    <a:cubicBezTo>
                      <a:pt x="61" y="57"/>
                      <a:pt x="62" y="56"/>
                      <a:pt x="63" y="55"/>
                    </a:cubicBezTo>
                    <a:cubicBezTo>
                      <a:pt x="64" y="54"/>
                      <a:pt x="65" y="53"/>
                      <a:pt x="66" y="51"/>
                    </a:cubicBezTo>
                    <a:cubicBezTo>
                      <a:pt x="67" y="50"/>
                      <a:pt x="68" y="50"/>
                      <a:pt x="70" y="49"/>
                    </a:cubicBezTo>
                    <a:cubicBezTo>
                      <a:pt x="71" y="49"/>
                      <a:pt x="71" y="49"/>
                      <a:pt x="71" y="49"/>
                    </a:cubicBezTo>
                    <a:cubicBezTo>
                      <a:pt x="74" y="49"/>
                      <a:pt x="75" y="51"/>
                      <a:pt x="77" y="52"/>
                    </a:cubicBezTo>
                    <a:cubicBezTo>
                      <a:pt x="77" y="49"/>
                      <a:pt x="79" y="45"/>
                      <a:pt x="76" y="44"/>
                    </a:cubicBezTo>
                    <a:cubicBezTo>
                      <a:pt x="75" y="44"/>
                      <a:pt x="74" y="44"/>
                      <a:pt x="73" y="44"/>
                    </a:cubicBezTo>
                    <a:cubicBezTo>
                      <a:pt x="73" y="44"/>
                      <a:pt x="73" y="43"/>
                      <a:pt x="73" y="43"/>
                    </a:cubicBezTo>
                    <a:moveTo>
                      <a:pt x="109" y="0"/>
                    </a:moveTo>
                    <a:cubicBezTo>
                      <a:pt x="107" y="0"/>
                      <a:pt x="106" y="2"/>
                      <a:pt x="105" y="3"/>
                    </a:cubicBezTo>
                    <a:cubicBezTo>
                      <a:pt x="104" y="5"/>
                      <a:pt x="103" y="5"/>
                      <a:pt x="100" y="7"/>
                    </a:cubicBezTo>
                    <a:cubicBezTo>
                      <a:pt x="101" y="9"/>
                      <a:pt x="101" y="9"/>
                      <a:pt x="99" y="10"/>
                    </a:cubicBezTo>
                    <a:cubicBezTo>
                      <a:pt x="98" y="12"/>
                      <a:pt x="95" y="13"/>
                      <a:pt x="92" y="14"/>
                    </a:cubicBezTo>
                    <a:cubicBezTo>
                      <a:pt x="91" y="15"/>
                      <a:pt x="88" y="16"/>
                      <a:pt x="88" y="17"/>
                    </a:cubicBezTo>
                    <a:cubicBezTo>
                      <a:pt x="85" y="17"/>
                      <a:pt x="81" y="16"/>
                      <a:pt x="78" y="16"/>
                    </a:cubicBezTo>
                    <a:cubicBezTo>
                      <a:pt x="76" y="16"/>
                      <a:pt x="75" y="15"/>
                      <a:pt x="74" y="15"/>
                    </a:cubicBezTo>
                    <a:cubicBezTo>
                      <a:pt x="72" y="15"/>
                      <a:pt x="71" y="16"/>
                      <a:pt x="69" y="16"/>
                    </a:cubicBezTo>
                    <a:cubicBezTo>
                      <a:pt x="68" y="17"/>
                      <a:pt x="67" y="17"/>
                      <a:pt x="67" y="17"/>
                    </a:cubicBezTo>
                    <a:cubicBezTo>
                      <a:pt x="63" y="17"/>
                      <a:pt x="58" y="14"/>
                      <a:pt x="55" y="13"/>
                    </a:cubicBezTo>
                    <a:cubicBezTo>
                      <a:pt x="53" y="13"/>
                      <a:pt x="51" y="13"/>
                      <a:pt x="49" y="13"/>
                    </a:cubicBezTo>
                    <a:cubicBezTo>
                      <a:pt x="49" y="13"/>
                      <a:pt x="48" y="13"/>
                      <a:pt x="47" y="13"/>
                    </a:cubicBezTo>
                    <a:cubicBezTo>
                      <a:pt x="47" y="13"/>
                      <a:pt x="46" y="13"/>
                      <a:pt x="46" y="13"/>
                    </a:cubicBezTo>
                    <a:cubicBezTo>
                      <a:pt x="45" y="13"/>
                      <a:pt x="45" y="13"/>
                      <a:pt x="45" y="13"/>
                    </a:cubicBezTo>
                    <a:cubicBezTo>
                      <a:pt x="42" y="13"/>
                      <a:pt x="43" y="10"/>
                      <a:pt x="41" y="9"/>
                    </a:cubicBezTo>
                    <a:cubicBezTo>
                      <a:pt x="40" y="8"/>
                      <a:pt x="40" y="8"/>
                      <a:pt x="40" y="8"/>
                    </a:cubicBezTo>
                    <a:cubicBezTo>
                      <a:pt x="39" y="8"/>
                      <a:pt x="39" y="8"/>
                      <a:pt x="38" y="8"/>
                    </a:cubicBezTo>
                    <a:cubicBezTo>
                      <a:pt x="38" y="8"/>
                      <a:pt x="37" y="8"/>
                      <a:pt x="36" y="8"/>
                    </a:cubicBezTo>
                    <a:cubicBezTo>
                      <a:pt x="34" y="8"/>
                      <a:pt x="31" y="8"/>
                      <a:pt x="29" y="8"/>
                    </a:cubicBezTo>
                    <a:cubicBezTo>
                      <a:pt x="29" y="9"/>
                      <a:pt x="29" y="11"/>
                      <a:pt x="28" y="12"/>
                    </a:cubicBezTo>
                    <a:cubicBezTo>
                      <a:pt x="28" y="14"/>
                      <a:pt x="26" y="14"/>
                      <a:pt x="25" y="16"/>
                    </a:cubicBezTo>
                    <a:cubicBezTo>
                      <a:pt x="24" y="17"/>
                      <a:pt x="24" y="18"/>
                      <a:pt x="23" y="18"/>
                    </a:cubicBezTo>
                    <a:cubicBezTo>
                      <a:pt x="23" y="18"/>
                      <a:pt x="22" y="17"/>
                      <a:pt x="22" y="17"/>
                    </a:cubicBezTo>
                    <a:cubicBezTo>
                      <a:pt x="20" y="16"/>
                      <a:pt x="20" y="16"/>
                      <a:pt x="19" y="15"/>
                    </a:cubicBezTo>
                    <a:cubicBezTo>
                      <a:pt x="19" y="14"/>
                      <a:pt x="19" y="14"/>
                      <a:pt x="19" y="14"/>
                    </a:cubicBezTo>
                    <a:cubicBezTo>
                      <a:pt x="19" y="14"/>
                      <a:pt x="19" y="14"/>
                      <a:pt x="19" y="14"/>
                    </a:cubicBezTo>
                    <a:cubicBezTo>
                      <a:pt x="18" y="14"/>
                      <a:pt x="18" y="15"/>
                      <a:pt x="18" y="15"/>
                    </a:cubicBezTo>
                    <a:cubicBezTo>
                      <a:pt x="17" y="16"/>
                      <a:pt x="16" y="18"/>
                      <a:pt x="15" y="18"/>
                    </a:cubicBezTo>
                    <a:cubicBezTo>
                      <a:pt x="15" y="19"/>
                      <a:pt x="13" y="19"/>
                      <a:pt x="13" y="20"/>
                    </a:cubicBezTo>
                    <a:cubicBezTo>
                      <a:pt x="13" y="21"/>
                      <a:pt x="13" y="22"/>
                      <a:pt x="12" y="23"/>
                    </a:cubicBezTo>
                    <a:cubicBezTo>
                      <a:pt x="11" y="24"/>
                      <a:pt x="11" y="24"/>
                      <a:pt x="11" y="24"/>
                    </a:cubicBezTo>
                    <a:cubicBezTo>
                      <a:pt x="9" y="27"/>
                      <a:pt x="9" y="30"/>
                      <a:pt x="8" y="33"/>
                    </a:cubicBezTo>
                    <a:cubicBezTo>
                      <a:pt x="7" y="33"/>
                      <a:pt x="7" y="32"/>
                      <a:pt x="7" y="32"/>
                    </a:cubicBezTo>
                    <a:cubicBezTo>
                      <a:pt x="6" y="32"/>
                      <a:pt x="6" y="33"/>
                      <a:pt x="6" y="33"/>
                    </a:cubicBezTo>
                    <a:cubicBezTo>
                      <a:pt x="8" y="35"/>
                      <a:pt x="9" y="34"/>
                      <a:pt x="9" y="37"/>
                    </a:cubicBezTo>
                    <a:cubicBezTo>
                      <a:pt x="10" y="39"/>
                      <a:pt x="11" y="46"/>
                      <a:pt x="9" y="48"/>
                    </a:cubicBezTo>
                    <a:cubicBezTo>
                      <a:pt x="9" y="47"/>
                      <a:pt x="8" y="46"/>
                      <a:pt x="8" y="45"/>
                    </a:cubicBezTo>
                    <a:cubicBezTo>
                      <a:pt x="5" y="48"/>
                      <a:pt x="3" y="51"/>
                      <a:pt x="1" y="55"/>
                    </a:cubicBezTo>
                    <a:cubicBezTo>
                      <a:pt x="1" y="55"/>
                      <a:pt x="0" y="56"/>
                      <a:pt x="0" y="56"/>
                    </a:cubicBezTo>
                    <a:cubicBezTo>
                      <a:pt x="0" y="57"/>
                      <a:pt x="0" y="58"/>
                      <a:pt x="0" y="59"/>
                    </a:cubicBezTo>
                    <a:cubicBezTo>
                      <a:pt x="25" y="59"/>
                      <a:pt x="25" y="59"/>
                      <a:pt x="25" y="59"/>
                    </a:cubicBezTo>
                    <a:cubicBezTo>
                      <a:pt x="24" y="56"/>
                      <a:pt x="24" y="52"/>
                      <a:pt x="21" y="51"/>
                    </a:cubicBezTo>
                    <a:cubicBezTo>
                      <a:pt x="21" y="51"/>
                      <a:pt x="21" y="50"/>
                      <a:pt x="20" y="50"/>
                    </a:cubicBezTo>
                    <a:cubicBezTo>
                      <a:pt x="20" y="50"/>
                      <a:pt x="20" y="50"/>
                      <a:pt x="20" y="50"/>
                    </a:cubicBezTo>
                    <a:cubicBezTo>
                      <a:pt x="20" y="50"/>
                      <a:pt x="20" y="50"/>
                      <a:pt x="20" y="50"/>
                    </a:cubicBezTo>
                    <a:cubicBezTo>
                      <a:pt x="19" y="50"/>
                      <a:pt x="19" y="51"/>
                      <a:pt x="19" y="51"/>
                    </a:cubicBezTo>
                    <a:cubicBezTo>
                      <a:pt x="19" y="51"/>
                      <a:pt x="19" y="51"/>
                      <a:pt x="19" y="51"/>
                    </a:cubicBezTo>
                    <a:cubicBezTo>
                      <a:pt x="18" y="50"/>
                      <a:pt x="16" y="48"/>
                      <a:pt x="16" y="47"/>
                    </a:cubicBezTo>
                    <a:cubicBezTo>
                      <a:pt x="14" y="45"/>
                      <a:pt x="14" y="44"/>
                      <a:pt x="14" y="42"/>
                    </a:cubicBezTo>
                    <a:cubicBezTo>
                      <a:pt x="14" y="41"/>
                      <a:pt x="13" y="39"/>
                      <a:pt x="13" y="37"/>
                    </a:cubicBezTo>
                    <a:cubicBezTo>
                      <a:pt x="13" y="33"/>
                      <a:pt x="16" y="26"/>
                      <a:pt x="20" y="24"/>
                    </a:cubicBezTo>
                    <a:cubicBezTo>
                      <a:pt x="21" y="23"/>
                      <a:pt x="23" y="22"/>
                      <a:pt x="25" y="22"/>
                    </a:cubicBezTo>
                    <a:cubicBezTo>
                      <a:pt x="27" y="22"/>
                      <a:pt x="30" y="23"/>
                      <a:pt x="32" y="23"/>
                    </a:cubicBezTo>
                    <a:cubicBezTo>
                      <a:pt x="34" y="24"/>
                      <a:pt x="36" y="24"/>
                      <a:pt x="38" y="24"/>
                    </a:cubicBezTo>
                    <a:cubicBezTo>
                      <a:pt x="38" y="24"/>
                      <a:pt x="38" y="24"/>
                      <a:pt x="38" y="24"/>
                    </a:cubicBezTo>
                    <a:cubicBezTo>
                      <a:pt x="43" y="24"/>
                      <a:pt x="48" y="24"/>
                      <a:pt x="53" y="24"/>
                    </a:cubicBezTo>
                    <a:cubicBezTo>
                      <a:pt x="53" y="24"/>
                      <a:pt x="54" y="24"/>
                      <a:pt x="55" y="24"/>
                    </a:cubicBezTo>
                    <a:cubicBezTo>
                      <a:pt x="55" y="24"/>
                      <a:pt x="55" y="24"/>
                      <a:pt x="55" y="24"/>
                    </a:cubicBezTo>
                    <a:cubicBezTo>
                      <a:pt x="56" y="24"/>
                      <a:pt x="58" y="23"/>
                      <a:pt x="60" y="23"/>
                    </a:cubicBezTo>
                    <a:cubicBezTo>
                      <a:pt x="61" y="23"/>
                      <a:pt x="63" y="23"/>
                      <a:pt x="65" y="23"/>
                    </a:cubicBezTo>
                    <a:cubicBezTo>
                      <a:pt x="67" y="23"/>
                      <a:pt x="70" y="23"/>
                      <a:pt x="72" y="24"/>
                    </a:cubicBezTo>
                    <a:cubicBezTo>
                      <a:pt x="74" y="25"/>
                      <a:pt x="77" y="26"/>
                      <a:pt x="79" y="27"/>
                    </a:cubicBezTo>
                    <a:cubicBezTo>
                      <a:pt x="80" y="27"/>
                      <a:pt x="81" y="27"/>
                      <a:pt x="82" y="27"/>
                    </a:cubicBezTo>
                    <a:cubicBezTo>
                      <a:pt x="84" y="27"/>
                      <a:pt x="85" y="27"/>
                      <a:pt x="87" y="27"/>
                    </a:cubicBezTo>
                    <a:cubicBezTo>
                      <a:pt x="89" y="26"/>
                      <a:pt x="93" y="26"/>
                      <a:pt x="95" y="25"/>
                    </a:cubicBezTo>
                    <a:cubicBezTo>
                      <a:pt x="97" y="23"/>
                      <a:pt x="99" y="20"/>
                      <a:pt x="102" y="18"/>
                    </a:cubicBezTo>
                    <a:cubicBezTo>
                      <a:pt x="103" y="16"/>
                      <a:pt x="106" y="15"/>
                      <a:pt x="107" y="14"/>
                    </a:cubicBezTo>
                    <a:cubicBezTo>
                      <a:pt x="108" y="11"/>
                      <a:pt x="109" y="9"/>
                      <a:pt x="110" y="6"/>
                    </a:cubicBezTo>
                    <a:cubicBezTo>
                      <a:pt x="111" y="3"/>
                      <a:pt x="113" y="1"/>
                      <a:pt x="109" y="0"/>
                    </a:cubicBezTo>
                    <a:cubicBezTo>
                      <a:pt x="109" y="0"/>
                      <a:pt x="109" y="0"/>
                      <a:pt x="10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5" name="Freeform 152"/>
              <p:cNvSpPr/>
              <p:nvPr/>
            </p:nvSpPr>
            <p:spPr bwMode="auto">
              <a:xfrm>
                <a:off x="8356" y="3366"/>
                <a:ext cx="4" cy="2"/>
              </a:xfrm>
              <a:custGeom>
                <a:gdLst>
                  <a:gd name="T0" fmla="*/ 2 w 2"/>
                  <a:gd name="T1" fmla="*/ 0 h 1"/>
                  <a:gd name="T2" fmla="*/ 0 w 2"/>
                  <a:gd name="T3" fmla="*/ 1 h 1"/>
                  <a:gd name="T4" fmla="*/ 2 w 2"/>
                  <a:gd name="T5" fmla="*/ 0 h 1"/>
                </a:gdLst>
                <a:cxnLst>
                  <a:cxn ang="0">
                    <a:pos x="T0" y="T1"/>
                  </a:cxn>
                  <a:cxn ang="0">
                    <a:pos x="T2" y="T3"/>
                  </a:cxn>
                  <a:cxn ang="0">
                    <a:pos x="T4" y="T5"/>
                  </a:cxn>
                </a:cxnLst>
                <a:rect l="0" t="0" r="r" b="b"/>
                <a:pathLst>
                  <a:path w="2" h="1">
                    <a:moveTo>
                      <a:pt x="2" y="0"/>
                    </a:moveTo>
                    <a:cubicBezTo>
                      <a:pt x="1" y="0"/>
                      <a:pt x="0" y="0"/>
                      <a:pt x="0" y="1"/>
                    </a:cubicBezTo>
                    <a:cubicBezTo>
                      <a:pt x="0" y="0"/>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Freeform 153"/>
              <p:cNvSpPr/>
              <p:nvPr/>
            </p:nvSpPr>
            <p:spPr bwMode="auto">
              <a:xfrm>
                <a:off x="8247" y="3281"/>
                <a:ext cx="5" cy="4"/>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0" y="2"/>
                    </a:cubicBezTo>
                    <a:cubicBezTo>
                      <a:pt x="1"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7" name="Freeform 154"/>
              <p:cNvSpPr/>
              <p:nvPr/>
            </p:nvSpPr>
            <p:spPr bwMode="auto">
              <a:xfrm>
                <a:off x="8219" y="3108"/>
                <a:ext cx="9" cy="26"/>
              </a:xfrm>
              <a:custGeom>
                <a:gdLst>
                  <a:gd name="T0" fmla="*/ 1 w 4"/>
                  <a:gd name="T1" fmla="*/ 0 h 11"/>
                  <a:gd name="T2" fmla="*/ 1 w 4"/>
                  <a:gd name="T3" fmla="*/ 11 h 11"/>
                  <a:gd name="T4" fmla="*/ 2 w 4"/>
                  <a:gd name="T5" fmla="*/ 7 h 11"/>
                  <a:gd name="T6" fmla="*/ 4 w 4"/>
                  <a:gd name="T7" fmla="*/ 5 h 11"/>
                  <a:gd name="T8" fmla="*/ 3 w 4"/>
                  <a:gd name="T9" fmla="*/ 4 h 11"/>
                  <a:gd name="T10" fmla="*/ 3 w 4"/>
                  <a:gd name="T11" fmla="*/ 2 h 11"/>
                  <a:gd name="T12" fmla="*/ 1 w 4"/>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4" h="11">
                    <a:moveTo>
                      <a:pt x="1" y="0"/>
                    </a:moveTo>
                    <a:cubicBezTo>
                      <a:pt x="0" y="4"/>
                      <a:pt x="1" y="7"/>
                      <a:pt x="1" y="11"/>
                    </a:cubicBezTo>
                    <a:cubicBezTo>
                      <a:pt x="2" y="10"/>
                      <a:pt x="2" y="8"/>
                      <a:pt x="2" y="7"/>
                    </a:cubicBezTo>
                    <a:cubicBezTo>
                      <a:pt x="3" y="6"/>
                      <a:pt x="4" y="5"/>
                      <a:pt x="4" y="5"/>
                    </a:cubicBezTo>
                    <a:cubicBezTo>
                      <a:pt x="4" y="4"/>
                      <a:pt x="3" y="4"/>
                      <a:pt x="3" y="4"/>
                    </a:cubicBezTo>
                    <a:cubicBezTo>
                      <a:pt x="3" y="3"/>
                      <a:pt x="3" y="2"/>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Freeform 155"/>
              <p:cNvSpPr/>
              <p:nvPr/>
            </p:nvSpPr>
            <p:spPr bwMode="auto">
              <a:xfrm>
                <a:off x="7375" y="3122"/>
                <a:ext cx="19" cy="26"/>
              </a:xfrm>
              <a:custGeom>
                <a:gdLst>
                  <a:gd name="T0" fmla="*/ 5 w 8"/>
                  <a:gd name="T1" fmla="*/ 0 h 11"/>
                  <a:gd name="T2" fmla="*/ 1 w 8"/>
                  <a:gd name="T3" fmla="*/ 3 h 11"/>
                  <a:gd name="T4" fmla="*/ 1 w 8"/>
                  <a:gd name="T5" fmla="*/ 7 h 11"/>
                  <a:gd name="T6" fmla="*/ 6 w 8"/>
                  <a:gd name="T7" fmla="*/ 9 h 11"/>
                  <a:gd name="T8" fmla="*/ 2 w 8"/>
                  <a:gd name="T9" fmla="*/ 10 h 11"/>
                  <a:gd name="T10" fmla="*/ 4 w 8"/>
                  <a:gd name="T11" fmla="*/ 11 h 11"/>
                  <a:gd name="T12" fmla="*/ 5 w 8"/>
                  <a:gd name="T13" fmla="*/ 11 h 11"/>
                  <a:gd name="T14" fmla="*/ 8 w 8"/>
                  <a:gd name="T15" fmla="*/ 7 h 11"/>
                  <a:gd name="T16" fmla="*/ 5 w 8"/>
                  <a:gd name="T1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5" y="0"/>
                    </a:moveTo>
                    <a:cubicBezTo>
                      <a:pt x="4" y="1"/>
                      <a:pt x="1" y="2"/>
                      <a:pt x="1" y="3"/>
                    </a:cubicBezTo>
                    <a:cubicBezTo>
                      <a:pt x="0" y="5"/>
                      <a:pt x="0" y="5"/>
                      <a:pt x="1" y="7"/>
                    </a:cubicBezTo>
                    <a:cubicBezTo>
                      <a:pt x="3" y="8"/>
                      <a:pt x="5" y="8"/>
                      <a:pt x="6" y="9"/>
                    </a:cubicBezTo>
                    <a:cubicBezTo>
                      <a:pt x="5" y="10"/>
                      <a:pt x="2" y="10"/>
                      <a:pt x="2" y="10"/>
                    </a:cubicBezTo>
                    <a:cubicBezTo>
                      <a:pt x="2" y="11"/>
                      <a:pt x="3" y="11"/>
                      <a:pt x="4" y="11"/>
                    </a:cubicBezTo>
                    <a:cubicBezTo>
                      <a:pt x="5" y="11"/>
                      <a:pt x="5" y="11"/>
                      <a:pt x="5" y="11"/>
                    </a:cubicBezTo>
                    <a:cubicBezTo>
                      <a:pt x="7" y="10"/>
                      <a:pt x="8" y="9"/>
                      <a:pt x="8" y="7"/>
                    </a:cubicBezTo>
                    <a:cubicBezTo>
                      <a:pt x="8" y="4"/>
                      <a:pt x="5"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9" name="Freeform 156"/>
              <p:cNvSpPr/>
              <p:nvPr/>
            </p:nvSpPr>
            <p:spPr bwMode="auto">
              <a:xfrm>
                <a:off x="7158" y="3283"/>
                <a:ext cx="7" cy="5"/>
              </a:xfrm>
              <a:custGeom>
                <a:gdLst>
                  <a:gd name="T0" fmla="*/ 1 w 3"/>
                  <a:gd name="T1" fmla="*/ 0 h 2"/>
                  <a:gd name="T2" fmla="*/ 0 w 3"/>
                  <a:gd name="T3" fmla="*/ 2 h 2"/>
                  <a:gd name="T4" fmla="*/ 3 w 3"/>
                  <a:gd name="T5" fmla="*/ 1 h 2"/>
                  <a:gd name="T6" fmla="*/ 1 w 3"/>
                  <a:gd name="T7" fmla="*/ 0 h 2"/>
                </a:gdLst>
                <a:cxnLst>
                  <a:cxn ang="0">
                    <a:pos x="T0" y="T1"/>
                  </a:cxn>
                  <a:cxn ang="0">
                    <a:pos x="T2" y="T3"/>
                  </a:cxn>
                  <a:cxn ang="0">
                    <a:pos x="T4" y="T5"/>
                  </a:cxn>
                  <a:cxn ang="0">
                    <a:pos x="T6" y="T7"/>
                  </a:cxn>
                </a:cxnLst>
                <a:rect l="0" t="0" r="r" b="b"/>
                <a:pathLst>
                  <a:path w="3" h="2">
                    <a:moveTo>
                      <a:pt x="1" y="0"/>
                    </a:moveTo>
                    <a:cubicBezTo>
                      <a:pt x="0" y="0"/>
                      <a:pt x="0" y="1"/>
                      <a:pt x="0" y="2"/>
                    </a:cubicBezTo>
                    <a:cubicBezTo>
                      <a:pt x="1" y="2"/>
                      <a:pt x="2" y="2"/>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157"/>
              <p:cNvSpPr/>
              <p:nvPr/>
            </p:nvSpPr>
            <p:spPr bwMode="auto">
              <a:xfrm>
                <a:off x="7125" y="3262"/>
                <a:ext cx="33" cy="16"/>
              </a:xfrm>
              <a:custGeom>
                <a:gdLst>
                  <a:gd name="T0" fmla="*/ 7 w 14"/>
                  <a:gd name="T1" fmla="*/ 0 h 7"/>
                  <a:gd name="T2" fmla="*/ 7 w 14"/>
                  <a:gd name="T3" fmla="*/ 0 h 7"/>
                  <a:gd name="T4" fmla="*/ 4 w 14"/>
                  <a:gd name="T5" fmla="*/ 2 h 7"/>
                  <a:gd name="T6" fmla="*/ 4 w 14"/>
                  <a:gd name="T7" fmla="*/ 2 h 7"/>
                  <a:gd name="T8" fmla="*/ 2 w 14"/>
                  <a:gd name="T9" fmla="*/ 0 h 7"/>
                  <a:gd name="T10" fmla="*/ 2 w 14"/>
                  <a:gd name="T11" fmla="*/ 0 h 7"/>
                  <a:gd name="T12" fmla="*/ 1 w 14"/>
                  <a:gd name="T13" fmla="*/ 4 h 7"/>
                  <a:gd name="T14" fmla="*/ 0 w 14"/>
                  <a:gd name="T15" fmla="*/ 5 h 7"/>
                  <a:gd name="T16" fmla="*/ 6 w 14"/>
                  <a:gd name="T17" fmla="*/ 7 h 7"/>
                  <a:gd name="T18" fmla="*/ 10 w 14"/>
                  <a:gd name="T19" fmla="*/ 7 h 7"/>
                  <a:gd name="T20" fmla="*/ 12 w 14"/>
                  <a:gd name="T21" fmla="*/ 7 h 7"/>
                  <a:gd name="T22" fmla="*/ 12 w 14"/>
                  <a:gd name="T23" fmla="*/ 7 h 7"/>
                  <a:gd name="T24" fmla="*/ 5 w 14"/>
                  <a:gd name="T25" fmla="*/ 3 h 7"/>
                  <a:gd name="T26" fmla="*/ 4 w 14"/>
                  <a:gd name="T27" fmla="*/ 2 h 7"/>
                  <a:gd name="T28" fmla="*/ 5 w 14"/>
                  <a:gd name="T29" fmla="*/ 3 h 7"/>
                  <a:gd name="T30" fmla="*/ 6 w 14"/>
                  <a:gd name="T31" fmla="*/ 3 h 7"/>
                  <a:gd name="T32" fmla="*/ 14 w 14"/>
                  <a:gd name="T33" fmla="*/ 5 h 7"/>
                  <a:gd name="T34" fmla="*/ 10 w 14"/>
                  <a:gd name="T35" fmla="*/ 1 h 7"/>
                  <a:gd name="T36" fmla="*/ 7 w 14"/>
                  <a:gd name="T3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7">
                    <a:moveTo>
                      <a:pt x="7" y="0"/>
                    </a:moveTo>
                    <a:cubicBezTo>
                      <a:pt x="7" y="0"/>
                      <a:pt x="7" y="0"/>
                      <a:pt x="7" y="0"/>
                    </a:cubicBezTo>
                    <a:cubicBezTo>
                      <a:pt x="5" y="0"/>
                      <a:pt x="5" y="1"/>
                      <a:pt x="4" y="2"/>
                    </a:cubicBezTo>
                    <a:cubicBezTo>
                      <a:pt x="4" y="2"/>
                      <a:pt x="4" y="2"/>
                      <a:pt x="4" y="2"/>
                    </a:cubicBezTo>
                    <a:cubicBezTo>
                      <a:pt x="3" y="1"/>
                      <a:pt x="3" y="0"/>
                      <a:pt x="2" y="0"/>
                    </a:cubicBezTo>
                    <a:cubicBezTo>
                      <a:pt x="2" y="0"/>
                      <a:pt x="2" y="0"/>
                      <a:pt x="2" y="0"/>
                    </a:cubicBezTo>
                    <a:cubicBezTo>
                      <a:pt x="0" y="0"/>
                      <a:pt x="2" y="2"/>
                      <a:pt x="1" y="4"/>
                    </a:cubicBezTo>
                    <a:cubicBezTo>
                      <a:pt x="1" y="4"/>
                      <a:pt x="0" y="4"/>
                      <a:pt x="0" y="5"/>
                    </a:cubicBezTo>
                    <a:cubicBezTo>
                      <a:pt x="0" y="7"/>
                      <a:pt x="3" y="7"/>
                      <a:pt x="6" y="7"/>
                    </a:cubicBezTo>
                    <a:cubicBezTo>
                      <a:pt x="7" y="7"/>
                      <a:pt x="9" y="7"/>
                      <a:pt x="10" y="7"/>
                    </a:cubicBezTo>
                    <a:cubicBezTo>
                      <a:pt x="11" y="7"/>
                      <a:pt x="12" y="7"/>
                      <a:pt x="12" y="7"/>
                    </a:cubicBezTo>
                    <a:cubicBezTo>
                      <a:pt x="12" y="7"/>
                      <a:pt x="12" y="7"/>
                      <a:pt x="12" y="7"/>
                    </a:cubicBezTo>
                    <a:cubicBezTo>
                      <a:pt x="10" y="4"/>
                      <a:pt x="8" y="5"/>
                      <a:pt x="5" y="3"/>
                    </a:cubicBezTo>
                    <a:cubicBezTo>
                      <a:pt x="4" y="3"/>
                      <a:pt x="4" y="2"/>
                      <a:pt x="4" y="2"/>
                    </a:cubicBezTo>
                    <a:cubicBezTo>
                      <a:pt x="5" y="3"/>
                      <a:pt x="5" y="3"/>
                      <a:pt x="5" y="3"/>
                    </a:cubicBezTo>
                    <a:cubicBezTo>
                      <a:pt x="5" y="3"/>
                      <a:pt x="5" y="3"/>
                      <a:pt x="6" y="3"/>
                    </a:cubicBezTo>
                    <a:cubicBezTo>
                      <a:pt x="8" y="3"/>
                      <a:pt x="13" y="5"/>
                      <a:pt x="14" y="5"/>
                    </a:cubicBezTo>
                    <a:cubicBezTo>
                      <a:pt x="13" y="3"/>
                      <a:pt x="12" y="2"/>
                      <a:pt x="10" y="1"/>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158"/>
              <p:cNvSpPr/>
              <p:nvPr/>
            </p:nvSpPr>
            <p:spPr bwMode="auto">
              <a:xfrm>
                <a:off x="7999" y="3328"/>
                <a:ext cx="9" cy="2"/>
              </a:xfrm>
              <a:custGeom>
                <a:gdLst>
                  <a:gd name="T0" fmla="*/ 2 w 4"/>
                  <a:gd name="T1" fmla="*/ 0 h 1"/>
                  <a:gd name="T2" fmla="*/ 0 w 4"/>
                  <a:gd name="T3" fmla="*/ 1 h 1"/>
                  <a:gd name="T4" fmla="*/ 4 w 4"/>
                  <a:gd name="T5" fmla="*/ 0 h 1"/>
                  <a:gd name="T6" fmla="*/ 2 w 4"/>
                  <a:gd name="T7" fmla="*/ 0 h 1"/>
                </a:gdLst>
                <a:cxnLst>
                  <a:cxn ang="0">
                    <a:pos x="T0" y="T1"/>
                  </a:cxn>
                  <a:cxn ang="0">
                    <a:pos x="T2" y="T3"/>
                  </a:cxn>
                  <a:cxn ang="0">
                    <a:pos x="T4" y="T5"/>
                  </a:cxn>
                  <a:cxn ang="0">
                    <a:pos x="T6" y="T7"/>
                  </a:cxn>
                </a:cxnLst>
                <a:rect l="0" t="0" r="r" b="b"/>
                <a:pathLst>
                  <a:path w="4" h="1">
                    <a:moveTo>
                      <a:pt x="2" y="0"/>
                    </a:moveTo>
                    <a:cubicBezTo>
                      <a:pt x="2" y="0"/>
                      <a:pt x="1" y="0"/>
                      <a:pt x="0" y="1"/>
                    </a:cubicBezTo>
                    <a:cubicBezTo>
                      <a:pt x="1" y="1"/>
                      <a:pt x="2" y="0"/>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Freeform 159"/>
              <p:cNvSpPr/>
              <p:nvPr/>
            </p:nvSpPr>
            <p:spPr bwMode="auto">
              <a:xfrm>
                <a:off x="7188" y="3274"/>
                <a:ext cx="5" cy="4"/>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Freeform 160"/>
              <p:cNvSpPr/>
              <p:nvPr/>
            </p:nvSpPr>
            <p:spPr bwMode="auto">
              <a:xfrm>
                <a:off x="7205" y="3278"/>
                <a:ext cx="2" cy="3"/>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1" y="1"/>
                      <a:pt x="1"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Freeform 161"/>
              <p:cNvSpPr/>
              <p:nvPr/>
            </p:nvSpPr>
            <p:spPr bwMode="auto">
              <a:xfrm>
                <a:off x="7167" y="3274"/>
                <a:ext cx="7" cy="9"/>
              </a:xfrm>
              <a:custGeom>
                <a:gdLst>
                  <a:gd name="T0" fmla="*/ 0 w 3"/>
                  <a:gd name="T1" fmla="*/ 0 h 4"/>
                  <a:gd name="T2" fmla="*/ 1 w 3"/>
                  <a:gd name="T3" fmla="*/ 4 h 4"/>
                  <a:gd name="T4" fmla="*/ 3 w 3"/>
                  <a:gd name="T5" fmla="*/ 3 h 4"/>
                  <a:gd name="T6" fmla="*/ 0 w 3"/>
                  <a:gd name="T7" fmla="*/ 0 h 4"/>
                </a:gdLst>
                <a:cxnLst>
                  <a:cxn ang="0">
                    <a:pos x="T0" y="T1"/>
                  </a:cxn>
                  <a:cxn ang="0">
                    <a:pos x="T2" y="T3"/>
                  </a:cxn>
                  <a:cxn ang="0">
                    <a:pos x="T4" y="T5"/>
                  </a:cxn>
                  <a:cxn ang="0">
                    <a:pos x="T6" y="T7"/>
                  </a:cxn>
                </a:cxnLst>
                <a:rect l="0" t="0" r="r" b="b"/>
                <a:pathLst>
                  <a:path w="3" h="4">
                    <a:moveTo>
                      <a:pt x="0" y="0"/>
                    </a:moveTo>
                    <a:cubicBezTo>
                      <a:pt x="0" y="1"/>
                      <a:pt x="0" y="4"/>
                      <a:pt x="1" y="4"/>
                    </a:cubicBezTo>
                    <a:cubicBezTo>
                      <a:pt x="1" y="4"/>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Freeform 162"/>
              <p:cNvSpPr/>
              <p:nvPr/>
            </p:nvSpPr>
            <p:spPr bwMode="auto">
              <a:xfrm>
                <a:off x="7221" y="3304"/>
                <a:ext cx="5" cy="7"/>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0" y="2"/>
                      <a:pt x="1" y="2"/>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Freeform 163"/>
              <p:cNvSpPr/>
              <p:nvPr/>
            </p:nvSpPr>
            <p:spPr bwMode="auto">
              <a:xfrm>
                <a:off x="8238" y="3340"/>
                <a:ext cx="9" cy="9"/>
              </a:xfrm>
              <a:custGeom>
                <a:gdLst>
                  <a:gd name="T0" fmla="*/ 2 w 4"/>
                  <a:gd name="T1" fmla="*/ 0 h 4"/>
                  <a:gd name="T2" fmla="*/ 0 w 4"/>
                  <a:gd name="T3" fmla="*/ 4 h 4"/>
                  <a:gd name="T4" fmla="*/ 2 w 4"/>
                  <a:gd name="T5" fmla="*/ 4 h 4"/>
                  <a:gd name="T6" fmla="*/ 2 w 4"/>
                  <a:gd name="T7" fmla="*/ 0 h 4"/>
                </a:gdLst>
                <a:cxnLst>
                  <a:cxn ang="0">
                    <a:pos x="T0" y="T1"/>
                  </a:cxn>
                  <a:cxn ang="0">
                    <a:pos x="T2" y="T3"/>
                  </a:cxn>
                  <a:cxn ang="0">
                    <a:pos x="T4" y="T5"/>
                  </a:cxn>
                  <a:cxn ang="0">
                    <a:pos x="T6" y="T7"/>
                  </a:cxn>
                </a:cxnLst>
                <a:rect l="0" t="0" r="r" b="b"/>
                <a:pathLst>
                  <a:path w="4" h="4">
                    <a:moveTo>
                      <a:pt x="2" y="0"/>
                    </a:moveTo>
                    <a:cubicBezTo>
                      <a:pt x="1" y="1"/>
                      <a:pt x="0" y="3"/>
                      <a:pt x="0" y="4"/>
                    </a:cubicBezTo>
                    <a:cubicBezTo>
                      <a:pt x="2" y="4"/>
                      <a:pt x="2" y="4"/>
                      <a:pt x="2" y="4"/>
                    </a:cubicBezTo>
                    <a:cubicBezTo>
                      <a:pt x="4" y="4"/>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Freeform 164"/>
              <p:cNvSpPr/>
              <p:nvPr/>
            </p:nvSpPr>
            <p:spPr bwMode="auto">
              <a:xfrm>
                <a:off x="8334" y="3311"/>
                <a:ext cx="12" cy="12"/>
              </a:xfrm>
              <a:custGeom>
                <a:gdLst>
                  <a:gd name="T0" fmla="*/ 0 w 5"/>
                  <a:gd name="T1" fmla="*/ 0 h 5"/>
                  <a:gd name="T2" fmla="*/ 5 w 5"/>
                  <a:gd name="T3" fmla="*/ 5 h 5"/>
                  <a:gd name="T4" fmla="*/ 0 w 5"/>
                  <a:gd name="T5" fmla="*/ 0 h 5"/>
                </a:gdLst>
                <a:cxnLst>
                  <a:cxn ang="0">
                    <a:pos x="T0" y="T1"/>
                  </a:cxn>
                  <a:cxn ang="0">
                    <a:pos x="T2" y="T3"/>
                  </a:cxn>
                  <a:cxn ang="0">
                    <a:pos x="T4" y="T5"/>
                  </a:cxn>
                </a:cxnLst>
                <a:rect l="0" t="0" r="r" b="b"/>
                <a:pathLst>
                  <a:path w="5" h="5">
                    <a:moveTo>
                      <a:pt x="0" y="0"/>
                    </a:moveTo>
                    <a:cubicBezTo>
                      <a:pt x="1" y="2"/>
                      <a:pt x="3" y="3"/>
                      <a:pt x="5" y="5"/>
                    </a:cubicBezTo>
                    <a:cubicBezTo>
                      <a:pt x="5"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Freeform 165"/>
              <p:cNvSpPr/>
              <p:nvPr/>
            </p:nvSpPr>
            <p:spPr bwMode="auto">
              <a:xfrm>
                <a:off x="6803" y="3047"/>
                <a:ext cx="5" cy="2"/>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1"/>
                      <a:pt x="1" y="1"/>
                      <a:pt x="2" y="1"/>
                    </a:cubicBezTo>
                    <a:cubicBezTo>
                      <a:pt x="2" y="1"/>
                      <a:pt x="2" y="1"/>
                      <a:pt x="2" y="1"/>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9" name="Freeform 166"/>
              <p:cNvSpPr/>
              <p:nvPr/>
            </p:nvSpPr>
            <p:spPr bwMode="auto">
              <a:xfrm>
                <a:off x="7077" y="3217"/>
                <a:ext cx="19" cy="19"/>
              </a:xfrm>
              <a:custGeom>
                <a:gdLst>
                  <a:gd name="T0" fmla="*/ 5 w 8"/>
                  <a:gd name="T1" fmla="*/ 0 h 8"/>
                  <a:gd name="T2" fmla="*/ 4 w 8"/>
                  <a:gd name="T3" fmla="*/ 0 h 8"/>
                  <a:gd name="T4" fmla="*/ 3 w 8"/>
                  <a:gd name="T5" fmla="*/ 1 h 8"/>
                  <a:gd name="T6" fmla="*/ 2 w 8"/>
                  <a:gd name="T7" fmla="*/ 1 h 8"/>
                  <a:gd name="T8" fmla="*/ 2 w 8"/>
                  <a:gd name="T9" fmla="*/ 1 h 8"/>
                  <a:gd name="T10" fmla="*/ 2 w 8"/>
                  <a:gd name="T11" fmla="*/ 1 h 8"/>
                  <a:gd name="T12" fmla="*/ 1 w 8"/>
                  <a:gd name="T13" fmla="*/ 2 h 8"/>
                  <a:gd name="T14" fmla="*/ 2 w 8"/>
                  <a:gd name="T15" fmla="*/ 7 h 8"/>
                  <a:gd name="T16" fmla="*/ 3 w 8"/>
                  <a:gd name="T17" fmla="*/ 8 h 8"/>
                  <a:gd name="T18" fmla="*/ 8 w 8"/>
                  <a:gd name="T19" fmla="*/ 4 h 8"/>
                  <a:gd name="T20" fmla="*/ 5 w 8"/>
                  <a:gd name="T2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5" y="0"/>
                    </a:moveTo>
                    <a:cubicBezTo>
                      <a:pt x="5" y="0"/>
                      <a:pt x="4" y="0"/>
                      <a:pt x="4" y="0"/>
                    </a:cubicBezTo>
                    <a:cubicBezTo>
                      <a:pt x="3" y="1"/>
                      <a:pt x="3" y="1"/>
                      <a:pt x="3" y="1"/>
                    </a:cubicBezTo>
                    <a:cubicBezTo>
                      <a:pt x="2" y="1"/>
                      <a:pt x="2" y="1"/>
                      <a:pt x="2" y="1"/>
                    </a:cubicBezTo>
                    <a:cubicBezTo>
                      <a:pt x="2" y="1"/>
                      <a:pt x="2" y="1"/>
                      <a:pt x="2" y="1"/>
                    </a:cubicBezTo>
                    <a:cubicBezTo>
                      <a:pt x="2" y="1"/>
                      <a:pt x="2" y="1"/>
                      <a:pt x="2" y="1"/>
                    </a:cubicBezTo>
                    <a:cubicBezTo>
                      <a:pt x="1" y="1"/>
                      <a:pt x="1" y="1"/>
                      <a:pt x="1" y="2"/>
                    </a:cubicBezTo>
                    <a:cubicBezTo>
                      <a:pt x="0" y="3"/>
                      <a:pt x="1" y="6"/>
                      <a:pt x="2" y="7"/>
                    </a:cubicBezTo>
                    <a:cubicBezTo>
                      <a:pt x="2" y="8"/>
                      <a:pt x="3" y="8"/>
                      <a:pt x="3" y="8"/>
                    </a:cubicBezTo>
                    <a:cubicBezTo>
                      <a:pt x="5" y="8"/>
                      <a:pt x="7" y="5"/>
                      <a:pt x="8" y="4"/>
                    </a:cubicBezTo>
                    <a:cubicBezTo>
                      <a:pt x="7" y="2"/>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Freeform 167"/>
              <p:cNvSpPr/>
              <p:nvPr/>
            </p:nvSpPr>
            <p:spPr bwMode="auto">
              <a:xfrm>
                <a:off x="8157" y="3189"/>
                <a:ext cx="5" cy="4"/>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1"/>
                      <a:pt x="0" y="1"/>
                      <a:pt x="0" y="2"/>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1" name="Freeform 168"/>
              <p:cNvSpPr/>
              <p:nvPr/>
            </p:nvSpPr>
            <p:spPr bwMode="auto">
              <a:xfrm>
                <a:off x="7420" y="3198"/>
                <a:ext cx="5" cy="2"/>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1"/>
                      <a:pt x="1" y="1"/>
                      <a:pt x="2" y="1"/>
                    </a:cubicBezTo>
                    <a:cubicBezTo>
                      <a:pt x="2" y="1"/>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2" name="Freeform 169"/>
              <p:cNvSpPr/>
              <p:nvPr/>
            </p:nvSpPr>
            <p:spPr bwMode="auto">
              <a:xfrm>
                <a:off x="7106" y="3241"/>
                <a:ext cx="23" cy="16"/>
              </a:xfrm>
              <a:custGeom>
                <a:gdLst>
                  <a:gd name="T0" fmla="*/ 1 w 10"/>
                  <a:gd name="T1" fmla="*/ 0 h 7"/>
                  <a:gd name="T2" fmla="*/ 0 w 10"/>
                  <a:gd name="T3" fmla="*/ 0 h 7"/>
                  <a:gd name="T4" fmla="*/ 5 w 10"/>
                  <a:gd name="T5" fmla="*/ 4 h 7"/>
                  <a:gd name="T6" fmla="*/ 9 w 10"/>
                  <a:gd name="T7" fmla="*/ 7 h 7"/>
                  <a:gd name="T8" fmla="*/ 5 w 10"/>
                  <a:gd name="T9" fmla="*/ 1 h 7"/>
                  <a:gd name="T10" fmla="*/ 1 w 10"/>
                  <a:gd name="T11" fmla="*/ 0 h 7"/>
                </a:gdLst>
                <a:cxnLst>
                  <a:cxn ang="0">
                    <a:pos x="T0" y="T1"/>
                  </a:cxn>
                  <a:cxn ang="0">
                    <a:pos x="T2" y="T3"/>
                  </a:cxn>
                  <a:cxn ang="0">
                    <a:pos x="T4" y="T5"/>
                  </a:cxn>
                  <a:cxn ang="0">
                    <a:pos x="T6" y="T7"/>
                  </a:cxn>
                  <a:cxn ang="0">
                    <a:pos x="T8" y="T9"/>
                  </a:cxn>
                  <a:cxn ang="0">
                    <a:pos x="T10" y="T11"/>
                  </a:cxn>
                </a:cxnLst>
                <a:rect l="0" t="0" r="r" b="b"/>
                <a:pathLst>
                  <a:path w="10" h="7">
                    <a:moveTo>
                      <a:pt x="1" y="0"/>
                    </a:moveTo>
                    <a:cubicBezTo>
                      <a:pt x="0" y="0"/>
                      <a:pt x="0" y="0"/>
                      <a:pt x="0" y="0"/>
                    </a:cubicBezTo>
                    <a:cubicBezTo>
                      <a:pt x="1" y="2"/>
                      <a:pt x="2" y="3"/>
                      <a:pt x="5" y="4"/>
                    </a:cubicBezTo>
                    <a:cubicBezTo>
                      <a:pt x="6" y="4"/>
                      <a:pt x="8" y="5"/>
                      <a:pt x="9" y="7"/>
                    </a:cubicBezTo>
                    <a:cubicBezTo>
                      <a:pt x="10" y="2"/>
                      <a:pt x="8" y="2"/>
                      <a:pt x="5"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3" name="Freeform 170"/>
              <p:cNvSpPr/>
              <p:nvPr/>
            </p:nvSpPr>
            <p:spPr bwMode="auto">
              <a:xfrm>
                <a:off x="8580" y="3356"/>
                <a:ext cx="12" cy="7"/>
              </a:xfrm>
              <a:custGeom>
                <a:gdLst>
                  <a:gd name="T0" fmla="*/ 3 w 5"/>
                  <a:gd name="T1" fmla="*/ 0 h 3"/>
                  <a:gd name="T2" fmla="*/ 3 w 5"/>
                  <a:gd name="T3" fmla="*/ 3 h 3"/>
                  <a:gd name="T4" fmla="*/ 3 w 5"/>
                  <a:gd name="T5" fmla="*/ 0 h 3"/>
                </a:gdLst>
                <a:cxnLst>
                  <a:cxn ang="0">
                    <a:pos x="T0" y="T1"/>
                  </a:cxn>
                  <a:cxn ang="0">
                    <a:pos x="T2" y="T3"/>
                  </a:cxn>
                  <a:cxn ang="0">
                    <a:pos x="T4" y="T5"/>
                  </a:cxn>
                </a:cxnLst>
                <a:rect l="0" t="0" r="r" b="b"/>
                <a:pathLst>
                  <a:path w="5" h="3">
                    <a:moveTo>
                      <a:pt x="3" y="0"/>
                    </a:moveTo>
                    <a:cubicBezTo>
                      <a:pt x="0" y="1"/>
                      <a:pt x="2" y="3"/>
                      <a:pt x="3" y="3"/>
                    </a:cubicBezTo>
                    <a:cubicBezTo>
                      <a:pt x="4" y="3"/>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Freeform 171"/>
              <p:cNvSpPr/>
              <p:nvPr/>
            </p:nvSpPr>
            <p:spPr bwMode="auto">
              <a:xfrm>
                <a:off x="7191" y="3262"/>
                <a:ext cx="12" cy="7"/>
              </a:xfrm>
              <a:custGeom>
                <a:gdLst>
                  <a:gd name="T0" fmla="*/ 2 w 5"/>
                  <a:gd name="T1" fmla="*/ 0 h 3"/>
                  <a:gd name="T2" fmla="*/ 1 w 5"/>
                  <a:gd name="T3" fmla="*/ 1 h 3"/>
                  <a:gd name="T4" fmla="*/ 0 w 5"/>
                  <a:gd name="T5" fmla="*/ 1 h 3"/>
                  <a:gd name="T6" fmla="*/ 3 w 5"/>
                  <a:gd name="T7" fmla="*/ 3 h 3"/>
                  <a:gd name="T8" fmla="*/ 5 w 5"/>
                  <a:gd name="T9" fmla="*/ 0 h 3"/>
                  <a:gd name="T10" fmla="*/ 2 w 5"/>
                  <a:gd name="T11" fmla="*/ 0 h 3"/>
                </a:gdLst>
                <a:cxnLst>
                  <a:cxn ang="0">
                    <a:pos x="T0" y="T1"/>
                  </a:cxn>
                  <a:cxn ang="0">
                    <a:pos x="T2" y="T3"/>
                  </a:cxn>
                  <a:cxn ang="0">
                    <a:pos x="T4" y="T5"/>
                  </a:cxn>
                  <a:cxn ang="0">
                    <a:pos x="T6" y="T7"/>
                  </a:cxn>
                  <a:cxn ang="0">
                    <a:pos x="T8" y="T9"/>
                  </a:cxn>
                  <a:cxn ang="0">
                    <a:pos x="T10" y="T11"/>
                  </a:cxn>
                </a:cxnLst>
                <a:rect l="0" t="0" r="r" b="b"/>
                <a:pathLst>
                  <a:path w="5" h="3">
                    <a:moveTo>
                      <a:pt x="2" y="0"/>
                    </a:moveTo>
                    <a:cubicBezTo>
                      <a:pt x="1" y="0"/>
                      <a:pt x="1" y="0"/>
                      <a:pt x="1" y="1"/>
                    </a:cubicBezTo>
                    <a:cubicBezTo>
                      <a:pt x="0" y="1"/>
                      <a:pt x="0" y="1"/>
                      <a:pt x="0" y="1"/>
                    </a:cubicBezTo>
                    <a:cubicBezTo>
                      <a:pt x="1" y="2"/>
                      <a:pt x="2" y="3"/>
                      <a:pt x="3" y="3"/>
                    </a:cubicBezTo>
                    <a:cubicBezTo>
                      <a:pt x="3" y="3"/>
                      <a:pt x="4" y="2"/>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Freeform 172"/>
              <p:cNvSpPr/>
              <p:nvPr/>
            </p:nvSpPr>
            <p:spPr bwMode="auto">
              <a:xfrm>
                <a:off x="7207" y="3259"/>
                <a:ext cx="19" cy="15"/>
              </a:xfrm>
              <a:custGeom>
                <a:gdLst>
                  <a:gd name="T0" fmla="*/ 5 w 8"/>
                  <a:gd name="T1" fmla="*/ 0 h 6"/>
                  <a:gd name="T2" fmla="*/ 0 w 8"/>
                  <a:gd name="T3" fmla="*/ 2 h 6"/>
                  <a:gd name="T4" fmla="*/ 2 w 8"/>
                  <a:gd name="T5" fmla="*/ 3 h 6"/>
                  <a:gd name="T6" fmla="*/ 5 w 8"/>
                  <a:gd name="T7" fmla="*/ 6 h 6"/>
                  <a:gd name="T8" fmla="*/ 7 w 8"/>
                  <a:gd name="T9" fmla="*/ 6 h 6"/>
                  <a:gd name="T10" fmla="*/ 8 w 8"/>
                  <a:gd name="T11" fmla="*/ 5 h 6"/>
                  <a:gd name="T12" fmla="*/ 8 w 8"/>
                  <a:gd name="T13" fmla="*/ 2 h 6"/>
                  <a:gd name="T14" fmla="*/ 8 w 8"/>
                  <a:gd name="T15" fmla="*/ 2 h 6"/>
                  <a:gd name="T16" fmla="*/ 7 w 8"/>
                  <a:gd name="T17" fmla="*/ 1 h 6"/>
                  <a:gd name="T18" fmla="*/ 6 w 8"/>
                  <a:gd name="T19" fmla="*/ 0 h 6"/>
                  <a:gd name="T20" fmla="*/ 6 w 8"/>
                  <a:gd name="T21" fmla="*/ 0 h 6"/>
                  <a:gd name="T22" fmla="*/ 5 w 8"/>
                  <a:gd name="T2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6">
                    <a:moveTo>
                      <a:pt x="5" y="0"/>
                    </a:moveTo>
                    <a:cubicBezTo>
                      <a:pt x="3" y="0"/>
                      <a:pt x="1" y="0"/>
                      <a:pt x="0" y="2"/>
                    </a:cubicBezTo>
                    <a:cubicBezTo>
                      <a:pt x="0" y="2"/>
                      <a:pt x="1" y="3"/>
                      <a:pt x="2" y="3"/>
                    </a:cubicBezTo>
                    <a:cubicBezTo>
                      <a:pt x="4" y="4"/>
                      <a:pt x="4" y="6"/>
                      <a:pt x="5" y="6"/>
                    </a:cubicBezTo>
                    <a:cubicBezTo>
                      <a:pt x="5" y="6"/>
                      <a:pt x="6" y="6"/>
                      <a:pt x="7" y="6"/>
                    </a:cubicBezTo>
                    <a:cubicBezTo>
                      <a:pt x="7" y="5"/>
                      <a:pt x="7" y="5"/>
                      <a:pt x="8" y="5"/>
                    </a:cubicBezTo>
                    <a:cubicBezTo>
                      <a:pt x="8" y="4"/>
                      <a:pt x="8" y="3"/>
                      <a:pt x="8" y="2"/>
                    </a:cubicBezTo>
                    <a:cubicBezTo>
                      <a:pt x="8" y="2"/>
                      <a:pt x="8" y="2"/>
                      <a:pt x="8" y="2"/>
                    </a:cubicBezTo>
                    <a:cubicBezTo>
                      <a:pt x="8" y="2"/>
                      <a:pt x="7" y="2"/>
                      <a:pt x="7" y="1"/>
                    </a:cubicBezTo>
                    <a:cubicBezTo>
                      <a:pt x="6" y="0"/>
                      <a:pt x="6" y="0"/>
                      <a:pt x="6" y="0"/>
                    </a:cubicBezTo>
                    <a:cubicBezTo>
                      <a:pt x="6" y="0"/>
                      <a:pt x="6" y="0"/>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Freeform 173"/>
              <p:cNvSpPr/>
              <p:nvPr/>
            </p:nvSpPr>
            <p:spPr bwMode="auto">
              <a:xfrm>
                <a:off x="6938" y="3314"/>
                <a:ext cx="12" cy="16"/>
              </a:xfrm>
              <a:custGeom>
                <a:gdLst>
                  <a:gd name="T0" fmla="*/ 0 w 5"/>
                  <a:gd name="T1" fmla="*/ 0 h 7"/>
                  <a:gd name="T2" fmla="*/ 5 w 5"/>
                  <a:gd name="T3" fmla="*/ 7 h 7"/>
                  <a:gd name="T4" fmla="*/ 0 w 5"/>
                  <a:gd name="T5" fmla="*/ 0 h 7"/>
                </a:gdLst>
                <a:cxnLst>
                  <a:cxn ang="0">
                    <a:pos x="T0" y="T1"/>
                  </a:cxn>
                  <a:cxn ang="0">
                    <a:pos x="T2" y="T3"/>
                  </a:cxn>
                  <a:cxn ang="0">
                    <a:pos x="T4" y="T5"/>
                  </a:cxn>
                </a:cxnLst>
                <a:rect l="0" t="0" r="r" b="b"/>
                <a:pathLst>
                  <a:path w="5" h="7">
                    <a:moveTo>
                      <a:pt x="0" y="0"/>
                    </a:moveTo>
                    <a:cubicBezTo>
                      <a:pt x="2" y="2"/>
                      <a:pt x="4" y="5"/>
                      <a:pt x="5" y="7"/>
                    </a:cubicBezTo>
                    <a:cubicBezTo>
                      <a:pt x="5" y="6"/>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Freeform 174"/>
              <p:cNvSpPr/>
              <p:nvPr/>
            </p:nvSpPr>
            <p:spPr bwMode="auto">
              <a:xfrm>
                <a:off x="8162" y="3146"/>
                <a:ext cx="12" cy="16"/>
              </a:xfrm>
              <a:custGeom>
                <a:gdLst>
                  <a:gd name="T0" fmla="*/ 0 w 5"/>
                  <a:gd name="T1" fmla="*/ 0 h 7"/>
                  <a:gd name="T2" fmla="*/ 0 w 5"/>
                  <a:gd name="T3" fmla="*/ 0 h 7"/>
                  <a:gd name="T4" fmla="*/ 4 w 5"/>
                  <a:gd name="T5" fmla="*/ 7 h 7"/>
                  <a:gd name="T6" fmla="*/ 2 w 5"/>
                  <a:gd name="T7" fmla="*/ 3 h 7"/>
                  <a:gd name="T8" fmla="*/ 0 w 5"/>
                  <a:gd name="T9" fmla="*/ 0 h 7"/>
                </a:gdLst>
                <a:cxnLst>
                  <a:cxn ang="0">
                    <a:pos x="T0" y="T1"/>
                  </a:cxn>
                  <a:cxn ang="0">
                    <a:pos x="T2" y="T3"/>
                  </a:cxn>
                  <a:cxn ang="0">
                    <a:pos x="T4" y="T5"/>
                  </a:cxn>
                  <a:cxn ang="0">
                    <a:pos x="T6" y="T7"/>
                  </a:cxn>
                  <a:cxn ang="0">
                    <a:pos x="T8" y="T9"/>
                  </a:cxn>
                </a:cxnLst>
                <a:rect l="0" t="0" r="r" b="b"/>
                <a:pathLst>
                  <a:path w="5" h="7">
                    <a:moveTo>
                      <a:pt x="0" y="0"/>
                    </a:moveTo>
                    <a:cubicBezTo>
                      <a:pt x="0" y="0"/>
                      <a:pt x="0" y="0"/>
                      <a:pt x="0" y="0"/>
                    </a:cubicBezTo>
                    <a:cubicBezTo>
                      <a:pt x="1" y="2"/>
                      <a:pt x="2" y="5"/>
                      <a:pt x="4" y="7"/>
                    </a:cubicBezTo>
                    <a:cubicBezTo>
                      <a:pt x="5" y="4"/>
                      <a:pt x="4" y="4"/>
                      <a:pt x="2" y="3"/>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Freeform 175"/>
              <p:cNvSpPr/>
              <p:nvPr/>
            </p:nvSpPr>
            <p:spPr bwMode="auto">
              <a:xfrm>
                <a:off x="7989" y="3333"/>
                <a:ext cx="12" cy="4"/>
              </a:xfrm>
              <a:custGeom>
                <a:gdLst>
                  <a:gd name="T0" fmla="*/ 1 w 5"/>
                  <a:gd name="T1" fmla="*/ 0 h 2"/>
                  <a:gd name="T2" fmla="*/ 0 w 5"/>
                  <a:gd name="T3" fmla="*/ 2 h 2"/>
                  <a:gd name="T4" fmla="*/ 5 w 5"/>
                  <a:gd name="T5" fmla="*/ 1 h 2"/>
                  <a:gd name="T6" fmla="*/ 1 w 5"/>
                  <a:gd name="T7" fmla="*/ 0 h 2"/>
                </a:gdLst>
                <a:cxnLst>
                  <a:cxn ang="0">
                    <a:pos x="T0" y="T1"/>
                  </a:cxn>
                  <a:cxn ang="0">
                    <a:pos x="T2" y="T3"/>
                  </a:cxn>
                  <a:cxn ang="0">
                    <a:pos x="T4" y="T5"/>
                  </a:cxn>
                  <a:cxn ang="0">
                    <a:pos x="T6" y="T7"/>
                  </a:cxn>
                </a:cxnLst>
                <a:rect l="0" t="0" r="r" b="b"/>
                <a:pathLst>
                  <a:path w="5" h="2">
                    <a:moveTo>
                      <a:pt x="1" y="0"/>
                    </a:moveTo>
                    <a:cubicBezTo>
                      <a:pt x="1" y="1"/>
                      <a:pt x="1" y="1"/>
                      <a:pt x="0" y="2"/>
                    </a:cubicBezTo>
                    <a:cubicBezTo>
                      <a:pt x="2" y="2"/>
                      <a:pt x="4" y="2"/>
                      <a:pt x="5" y="1"/>
                    </a:cubicBezTo>
                    <a:cubicBezTo>
                      <a:pt x="4"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Freeform 176"/>
              <p:cNvSpPr/>
              <p:nvPr/>
            </p:nvSpPr>
            <p:spPr bwMode="auto">
              <a:xfrm>
                <a:off x="7411" y="3179"/>
                <a:ext cx="7" cy="5"/>
              </a:xfrm>
              <a:custGeom>
                <a:gdLst>
                  <a:gd name="T0" fmla="*/ 2 w 3"/>
                  <a:gd name="T1" fmla="*/ 0 h 2"/>
                  <a:gd name="T2" fmla="*/ 0 w 3"/>
                  <a:gd name="T3" fmla="*/ 1 h 2"/>
                  <a:gd name="T4" fmla="*/ 1 w 3"/>
                  <a:gd name="T5" fmla="*/ 2 h 2"/>
                  <a:gd name="T6" fmla="*/ 2 w 3"/>
                  <a:gd name="T7" fmla="*/ 0 h 2"/>
                </a:gdLst>
                <a:cxnLst>
                  <a:cxn ang="0">
                    <a:pos x="T0" y="T1"/>
                  </a:cxn>
                  <a:cxn ang="0">
                    <a:pos x="T2" y="T3"/>
                  </a:cxn>
                  <a:cxn ang="0">
                    <a:pos x="T4" y="T5"/>
                  </a:cxn>
                  <a:cxn ang="0">
                    <a:pos x="T6" y="T7"/>
                  </a:cxn>
                </a:cxnLst>
                <a:rect l="0" t="0" r="r" b="b"/>
                <a:pathLst>
                  <a:path w="3" h="2">
                    <a:moveTo>
                      <a:pt x="2" y="0"/>
                    </a:moveTo>
                    <a:cubicBezTo>
                      <a:pt x="2" y="0"/>
                      <a:pt x="1" y="1"/>
                      <a:pt x="0" y="1"/>
                    </a:cubicBezTo>
                    <a:cubicBezTo>
                      <a:pt x="1" y="2"/>
                      <a:pt x="1" y="2"/>
                      <a:pt x="1" y="2"/>
                    </a:cubicBezTo>
                    <a:cubicBezTo>
                      <a:pt x="2" y="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Freeform 177"/>
              <p:cNvSpPr>
                <a:spLocks noEditPoints="1"/>
              </p:cNvSpPr>
              <p:nvPr/>
            </p:nvSpPr>
            <p:spPr bwMode="auto">
              <a:xfrm>
                <a:off x="7852" y="3210"/>
                <a:ext cx="3" cy="5"/>
              </a:xfrm>
              <a:custGeom>
                <a:gdLst>
                  <a:gd name="T0" fmla="*/ 1 w 1"/>
                  <a:gd name="T1" fmla="*/ 2 h 2"/>
                  <a:gd name="T2" fmla="*/ 1 w 1"/>
                  <a:gd name="T3" fmla="*/ 2 h 2"/>
                  <a:gd name="T4" fmla="*/ 1 w 1"/>
                  <a:gd name="T5" fmla="*/ 2 h 2"/>
                  <a:gd name="T6" fmla="*/ 0 w 1"/>
                  <a:gd name="T7" fmla="*/ 0 h 2"/>
                  <a:gd name="T8" fmla="*/ 1 w 1"/>
                  <a:gd name="T9" fmla="*/ 2 h 2"/>
                  <a:gd name="T10" fmla="*/ 0 w 1"/>
                  <a:gd name="T11" fmla="*/ 0 h 2"/>
                </a:gdLst>
                <a:cxnLst>
                  <a:cxn ang="0">
                    <a:pos x="T0" y="T1"/>
                  </a:cxn>
                  <a:cxn ang="0">
                    <a:pos x="T2" y="T3"/>
                  </a:cxn>
                  <a:cxn ang="0">
                    <a:pos x="T4" y="T5"/>
                  </a:cxn>
                  <a:cxn ang="0">
                    <a:pos x="T6" y="T7"/>
                  </a:cxn>
                  <a:cxn ang="0">
                    <a:pos x="T8" y="T9"/>
                  </a:cxn>
                  <a:cxn ang="0">
                    <a:pos x="T10" y="T11"/>
                  </a:cxn>
                </a:cxnLst>
                <a:rect l="0" t="0" r="r" b="b"/>
                <a:pathLst>
                  <a:path w="1" h="2">
                    <a:moveTo>
                      <a:pt x="1" y="2"/>
                    </a:moveTo>
                    <a:cubicBezTo>
                      <a:pt x="1" y="2"/>
                      <a:pt x="1" y="2"/>
                      <a:pt x="1" y="2"/>
                    </a:cubicBezTo>
                    <a:cubicBezTo>
                      <a:pt x="1" y="2"/>
                      <a:pt x="1" y="2"/>
                      <a:pt x="1" y="2"/>
                    </a:cubicBezTo>
                    <a:moveTo>
                      <a:pt x="0" y="0"/>
                    </a:moveTo>
                    <a:cubicBezTo>
                      <a:pt x="0" y="1"/>
                      <a:pt x="1" y="1"/>
                      <a:pt x="1"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Freeform 178"/>
              <p:cNvSpPr/>
              <p:nvPr/>
            </p:nvSpPr>
            <p:spPr bwMode="auto">
              <a:xfrm>
                <a:off x="7439" y="3356"/>
                <a:ext cx="16" cy="15"/>
              </a:xfrm>
              <a:custGeom>
                <a:gdLst>
                  <a:gd name="T0" fmla="*/ 2 w 7"/>
                  <a:gd name="T1" fmla="*/ 0 h 6"/>
                  <a:gd name="T2" fmla="*/ 2 w 7"/>
                  <a:gd name="T3" fmla="*/ 0 h 6"/>
                  <a:gd name="T4" fmla="*/ 2 w 7"/>
                  <a:gd name="T5" fmla="*/ 0 h 6"/>
                  <a:gd name="T6" fmla="*/ 1 w 7"/>
                  <a:gd name="T7" fmla="*/ 0 h 6"/>
                  <a:gd name="T8" fmla="*/ 1 w 7"/>
                  <a:gd name="T9" fmla="*/ 0 h 6"/>
                  <a:gd name="T10" fmla="*/ 1 w 7"/>
                  <a:gd name="T11" fmla="*/ 1 h 6"/>
                  <a:gd name="T12" fmla="*/ 1 w 7"/>
                  <a:gd name="T13" fmla="*/ 1 h 6"/>
                  <a:gd name="T14" fmla="*/ 0 w 7"/>
                  <a:gd name="T15" fmla="*/ 6 h 6"/>
                  <a:gd name="T16" fmla="*/ 7 w 7"/>
                  <a:gd name="T17" fmla="*/ 3 h 6"/>
                  <a:gd name="T18" fmla="*/ 7 w 7"/>
                  <a:gd name="T19" fmla="*/ 3 h 6"/>
                  <a:gd name="T20" fmla="*/ 7 w 7"/>
                  <a:gd name="T21" fmla="*/ 2 h 6"/>
                  <a:gd name="T22" fmla="*/ 7 w 7"/>
                  <a:gd name="T23" fmla="*/ 2 h 6"/>
                  <a:gd name="T24" fmla="*/ 7 w 7"/>
                  <a:gd name="T25" fmla="*/ 1 h 6"/>
                  <a:gd name="T26" fmla="*/ 5 w 7"/>
                  <a:gd name="T27" fmla="*/ 1 h 6"/>
                  <a:gd name="T28" fmla="*/ 4 w 7"/>
                  <a:gd name="T29" fmla="*/ 1 h 6"/>
                  <a:gd name="T30" fmla="*/ 2 w 7"/>
                  <a:gd name="T3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
                    <a:moveTo>
                      <a:pt x="2" y="0"/>
                    </a:moveTo>
                    <a:cubicBezTo>
                      <a:pt x="2" y="0"/>
                      <a:pt x="2" y="0"/>
                      <a:pt x="2" y="0"/>
                    </a:cubicBezTo>
                    <a:cubicBezTo>
                      <a:pt x="2" y="0"/>
                      <a:pt x="2" y="0"/>
                      <a:pt x="2" y="0"/>
                    </a:cubicBezTo>
                    <a:cubicBezTo>
                      <a:pt x="1" y="0"/>
                      <a:pt x="1" y="0"/>
                      <a:pt x="1" y="0"/>
                    </a:cubicBezTo>
                    <a:cubicBezTo>
                      <a:pt x="1" y="0"/>
                      <a:pt x="1" y="0"/>
                      <a:pt x="1" y="0"/>
                    </a:cubicBezTo>
                    <a:cubicBezTo>
                      <a:pt x="1" y="1"/>
                      <a:pt x="1" y="1"/>
                      <a:pt x="1" y="1"/>
                    </a:cubicBezTo>
                    <a:cubicBezTo>
                      <a:pt x="1" y="1"/>
                      <a:pt x="1" y="1"/>
                      <a:pt x="1" y="1"/>
                    </a:cubicBezTo>
                    <a:cubicBezTo>
                      <a:pt x="0" y="2"/>
                      <a:pt x="1" y="4"/>
                      <a:pt x="0" y="6"/>
                    </a:cubicBezTo>
                    <a:cubicBezTo>
                      <a:pt x="2" y="5"/>
                      <a:pt x="6" y="5"/>
                      <a:pt x="7" y="3"/>
                    </a:cubicBezTo>
                    <a:cubicBezTo>
                      <a:pt x="7" y="3"/>
                      <a:pt x="7" y="3"/>
                      <a:pt x="7" y="3"/>
                    </a:cubicBezTo>
                    <a:cubicBezTo>
                      <a:pt x="7" y="2"/>
                      <a:pt x="7" y="2"/>
                      <a:pt x="7" y="2"/>
                    </a:cubicBezTo>
                    <a:cubicBezTo>
                      <a:pt x="7" y="2"/>
                      <a:pt x="7" y="2"/>
                      <a:pt x="7" y="2"/>
                    </a:cubicBezTo>
                    <a:cubicBezTo>
                      <a:pt x="7" y="1"/>
                      <a:pt x="7" y="1"/>
                      <a:pt x="7" y="1"/>
                    </a:cubicBezTo>
                    <a:cubicBezTo>
                      <a:pt x="6" y="1"/>
                      <a:pt x="5" y="1"/>
                      <a:pt x="5" y="1"/>
                    </a:cubicBezTo>
                    <a:cubicBezTo>
                      <a:pt x="4" y="1"/>
                      <a:pt x="4" y="1"/>
                      <a:pt x="4" y="1"/>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2" name="Freeform 179"/>
              <p:cNvSpPr/>
              <p:nvPr/>
            </p:nvSpPr>
            <p:spPr bwMode="auto">
              <a:xfrm>
                <a:off x="8235" y="3326"/>
                <a:ext cx="7" cy="11"/>
              </a:xfrm>
              <a:custGeom>
                <a:gdLst>
                  <a:gd name="T0" fmla="*/ 2 w 3"/>
                  <a:gd name="T1" fmla="*/ 0 h 5"/>
                  <a:gd name="T2" fmla="*/ 0 w 3"/>
                  <a:gd name="T3" fmla="*/ 3 h 5"/>
                  <a:gd name="T4" fmla="*/ 0 w 3"/>
                  <a:gd name="T5" fmla="*/ 3 h 5"/>
                  <a:gd name="T6" fmla="*/ 0 w 3"/>
                  <a:gd name="T7" fmla="*/ 4 h 5"/>
                  <a:gd name="T8" fmla="*/ 1 w 3"/>
                  <a:gd name="T9" fmla="*/ 4 h 5"/>
                  <a:gd name="T10" fmla="*/ 0 w 3"/>
                  <a:gd name="T11" fmla="*/ 4 h 5"/>
                  <a:gd name="T12" fmla="*/ 1 w 3"/>
                  <a:gd name="T13" fmla="*/ 5 h 5"/>
                  <a:gd name="T14" fmla="*/ 3 w 3"/>
                  <a:gd name="T15" fmla="*/ 0 h 5"/>
                  <a:gd name="T16" fmla="*/ 2 w 3"/>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2" y="0"/>
                    </a:moveTo>
                    <a:cubicBezTo>
                      <a:pt x="0" y="0"/>
                      <a:pt x="0" y="1"/>
                      <a:pt x="0" y="3"/>
                    </a:cubicBezTo>
                    <a:cubicBezTo>
                      <a:pt x="0" y="3"/>
                      <a:pt x="0" y="3"/>
                      <a:pt x="0" y="3"/>
                    </a:cubicBezTo>
                    <a:cubicBezTo>
                      <a:pt x="0" y="3"/>
                      <a:pt x="0" y="3"/>
                      <a:pt x="0" y="4"/>
                    </a:cubicBezTo>
                    <a:cubicBezTo>
                      <a:pt x="1" y="4"/>
                      <a:pt x="1" y="4"/>
                      <a:pt x="1" y="4"/>
                    </a:cubicBezTo>
                    <a:cubicBezTo>
                      <a:pt x="0" y="4"/>
                      <a:pt x="0" y="4"/>
                      <a:pt x="0" y="4"/>
                    </a:cubicBezTo>
                    <a:cubicBezTo>
                      <a:pt x="1" y="5"/>
                      <a:pt x="1" y="5"/>
                      <a:pt x="1" y="5"/>
                    </a:cubicBezTo>
                    <a:cubicBezTo>
                      <a:pt x="3" y="5"/>
                      <a:pt x="3"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3" name="Freeform 180"/>
              <p:cNvSpPr/>
              <p:nvPr/>
            </p:nvSpPr>
            <p:spPr bwMode="auto">
              <a:xfrm>
                <a:off x="7188" y="3267"/>
                <a:ext cx="5" cy="4"/>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0" y="0"/>
                      <a:pt x="0" y="0"/>
                      <a:pt x="0" y="0"/>
                    </a:cubicBezTo>
                    <a:cubicBezTo>
                      <a:pt x="1" y="1"/>
                      <a:pt x="1" y="2"/>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Freeform 181"/>
              <p:cNvSpPr/>
              <p:nvPr/>
            </p:nvSpPr>
            <p:spPr bwMode="auto">
              <a:xfrm>
                <a:off x="7200" y="3271"/>
                <a:ext cx="7" cy="7"/>
              </a:xfrm>
              <a:custGeom>
                <a:gdLst>
                  <a:gd name="T0" fmla="*/ 0 w 3"/>
                  <a:gd name="T1" fmla="*/ 0 h 3"/>
                  <a:gd name="T2" fmla="*/ 1 w 3"/>
                  <a:gd name="T3" fmla="*/ 3 h 3"/>
                  <a:gd name="T4" fmla="*/ 3 w 3"/>
                  <a:gd name="T5" fmla="*/ 1 h 3"/>
                  <a:gd name="T6" fmla="*/ 0 w 3"/>
                  <a:gd name="T7" fmla="*/ 0 h 3"/>
                </a:gdLst>
                <a:cxnLst>
                  <a:cxn ang="0">
                    <a:pos x="T0" y="T1"/>
                  </a:cxn>
                  <a:cxn ang="0">
                    <a:pos x="T2" y="T3"/>
                  </a:cxn>
                  <a:cxn ang="0">
                    <a:pos x="T4" y="T5"/>
                  </a:cxn>
                  <a:cxn ang="0">
                    <a:pos x="T6" y="T7"/>
                  </a:cxn>
                </a:cxnLst>
                <a:rect l="0" t="0" r="r" b="b"/>
                <a:pathLst>
                  <a:path w="3" h="3">
                    <a:moveTo>
                      <a:pt x="0" y="0"/>
                    </a:moveTo>
                    <a:cubicBezTo>
                      <a:pt x="0" y="1"/>
                      <a:pt x="1" y="2"/>
                      <a:pt x="1" y="3"/>
                    </a:cubicBezTo>
                    <a:cubicBezTo>
                      <a:pt x="2" y="2"/>
                      <a:pt x="3" y="2"/>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5" name="Freeform 182"/>
              <p:cNvSpPr/>
              <p:nvPr/>
            </p:nvSpPr>
            <p:spPr bwMode="auto">
              <a:xfrm>
                <a:off x="7271" y="3174"/>
                <a:ext cx="7" cy="12"/>
              </a:xfrm>
              <a:custGeom>
                <a:gdLst>
                  <a:gd name="T0" fmla="*/ 1 w 3"/>
                  <a:gd name="T1" fmla="*/ 0 h 5"/>
                  <a:gd name="T2" fmla="*/ 1 w 3"/>
                  <a:gd name="T3" fmla="*/ 5 h 5"/>
                  <a:gd name="T4" fmla="*/ 3 w 3"/>
                  <a:gd name="T5" fmla="*/ 2 h 5"/>
                  <a:gd name="T6" fmla="*/ 1 w 3"/>
                  <a:gd name="T7" fmla="*/ 0 h 5"/>
                </a:gdLst>
                <a:cxnLst>
                  <a:cxn ang="0">
                    <a:pos x="T0" y="T1"/>
                  </a:cxn>
                  <a:cxn ang="0">
                    <a:pos x="T2" y="T3"/>
                  </a:cxn>
                  <a:cxn ang="0">
                    <a:pos x="T4" y="T5"/>
                  </a:cxn>
                  <a:cxn ang="0">
                    <a:pos x="T6" y="T7"/>
                  </a:cxn>
                </a:cxnLst>
                <a:rect l="0" t="0" r="r" b="b"/>
                <a:pathLst>
                  <a:path w="3" h="5">
                    <a:moveTo>
                      <a:pt x="1" y="0"/>
                    </a:moveTo>
                    <a:cubicBezTo>
                      <a:pt x="0" y="2"/>
                      <a:pt x="1" y="3"/>
                      <a:pt x="1" y="5"/>
                    </a:cubicBezTo>
                    <a:cubicBezTo>
                      <a:pt x="2" y="4"/>
                      <a:pt x="3" y="3"/>
                      <a:pt x="3" y="2"/>
                    </a:cubicBezTo>
                    <a:cubicBezTo>
                      <a:pt x="2"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Freeform 183"/>
              <p:cNvSpPr/>
              <p:nvPr/>
            </p:nvSpPr>
            <p:spPr bwMode="auto">
              <a:xfrm>
                <a:off x="8252" y="3366"/>
                <a:ext cx="9" cy="5"/>
              </a:xfrm>
              <a:custGeom>
                <a:gdLst>
                  <a:gd name="T0" fmla="*/ 2 w 4"/>
                  <a:gd name="T1" fmla="*/ 0 h 2"/>
                  <a:gd name="T2" fmla="*/ 0 w 4"/>
                  <a:gd name="T3" fmla="*/ 1 h 2"/>
                  <a:gd name="T4" fmla="*/ 4 w 4"/>
                  <a:gd name="T5" fmla="*/ 2 h 2"/>
                  <a:gd name="T6" fmla="*/ 4 w 4"/>
                  <a:gd name="T7" fmla="*/ 2 h 2"/>
                  <a:gd name="T8" fmla="*/ 2 w 4"/>
                  <a:gd name="T9" fmla="*/ 0 h 2"/>
                </a:gdLst>
                <a:cxnLst>
                  <a:cxn ang="0">
                    <a:pos x="T0" y="T1"/>
                  </a:cxn>
                  <a:cxn ang="0">
                    <a:pos x="T2" y="T3"/>
                  </a:cxn>
                  <a:cxn ang="0">
                    <a:pos x="T4" y="T5"/>
                  </a:cxn>
                  <a:cxn ang="0">
                    <a:pos x="T6" y="T7"/>
                  </a:cxn>
                  <a:cxn ang="0">
                    <a:pos x="T8" y="T9"/>
                  </a:cxn>
                </a:cxnLst>
                <a:rect l="0" t="0" r="r" b="b"/>
                <a:pathLst>
                  <a:path w="4" h="2">
                    <a:moveTo>
                      <a:pt x="2" y="0"/>
                    </a:moveTo>
                    <a:cubicBezTo>
                      <a:pt x="1" y="0"/>
                      <a:pt x="1" y="1"/>
                      <a:pt x="0" y="1"/>
                    </a:cubicBezTo>
                    <a:cubicBezTo>
                      <a:pt x="1" y="2"/>
                      <a:pt x="2" y="2"/>
                      <a:pt x="4" y="2"/>
                    </a:cubicBezTo>
                    <a:cubicBezTo>
                      <a:pt x="4" y="2"/>
                      <a:pt x="4" y="2"/>
                      <a:pt x="4" y="2"/>
                    </a:cubicBezTo>
                    <a:cubicBezTo>
                      <a:pt x="4" y="1"/>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7" name="Freeform 184"/>
              <p:cNvSpPr/>
              <p:nvPr/>
            </p:nvSpPr>
            <p:spPr bwMode="auto">
              <a:xfrm>
                <a:off x="6938" y="3326"/>
                <a:ext cx="12" cy="11"/>
              </a:xfrm>
              <a:custGeom>
                <a:gdLst>
                  <a:gd name="T0" fmla="*/ 3 w 5"/>
                  <a:gd name="T1" fmla="*/ 0 h 5"/>
                  <a:gd name="T2" fmla="*/ 2 w 5"/>
                  <a:gd name="T3" fmla="*/ 2 h 5"/>
                  <a:gd name="T4" fmla="*/ 0 w 5"/>
                  <a:gd name="T5" fmla="*/ 5 h 5"/>
                  <a:gd name="T6" fmla="*/ 2 w 5"/>
                  <a:gd name="T7" fmla="*/ 5 h 5"/>
                  <a:gd name="T8" fmla="*/ 4 w 5"/>
                  <a:gd name="T9" fmla="*/ 4 h 5"/>
                  <a:gd name="T10" fmla="*/ 3 w 5"/>
                  <a:gd name="T11" fmla="*/ 0 h 5"/>
                </a:gdLst>
                <a:cxnLst>
                  <a:cxn ang="0">
                    <a:pos x="T0" y="T1"/>
                  </a:cxn>
                  <a:cxn ang="0">
                    <a:pos x="T2" y="T3"/>
                  </a:cxn>
                  <a:cxn ang="0">
                    <a:pos x="T4" y="T5"/>
                  </a:cxn>
                  <a:cxn ang="0">
                    <a:pos x="T6" y="T7"/>
                  </a:cxn>
                  <a:cxn ang="0">
                    <a:pos x="T8" y="T9"/>
                  </a:cxn>
                  <a:cxn ang="0">
                    <a:pos x="T10" y="T11"/>
                  </a:cxn>
                </a:cxnLst>
                <a:rect l="0" t="0" r="r" b="b"/>
                <a:pathLst>
                  <a:path w="5" h="5">
                    <a:moveTo>
                      <a:pt x="3" y="0"/>
                    </a:moveTo>
                    <a:cubicBezTo>
                      <a:pt x="3" y="0"/>
                      <a:pt x="2" y="0"/>
                      <a:pt x="2" y="2"/>
                    </a:cubicBezTo>
                    <a:cubicBezTo>
                      <a:pt x="1" y="3"/>
                      <a:pt x="2" y="5"/>
                      <a:pt x="0" y="5"/>
                    </a:cubicBezTo>
                    <a:cubicBezTo>
                      <a:pt x="1" y="5"/>
                      <a:pt x="1" y="5"/>
                      <a:pt x="2" y="5"/>
                    </a:cubicBezTo>
                    <a:cubicBezTo>
                      <a:pt x="3" y="5"/>
                      <a:pt x="3" y="4"/>
                      <a:pt x="4" y="4"/>
                    </a:cubicBezTo>
                    <a:cubicBezTo>
                      <a:pt x="5" y="2"/>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Freeform 185"/>
              <p:cNvSpPr/>
              <p:nvPr/>
            </p:nvSpPr>
            <p:spPr bwMode="auto">
              <a:xfrm>
                <a:off x="6886" y="3212"/>
                <a:ext cx="9" cy="10"/>
              </a:xfrm>
              <a:custGeom>
                <a:gdLst>
                  <a:gd name="T0" fmla="*/ 1 w 4"/>
                  <a:gd name="T1" fmla="*/ 0 h 4"/>
                  <a:gd name="T2" fmla="*/ 0 w 4"/>
                  <a:gd name="T3" fmla="*/ 0 h 4"/>
                  <a:gd name="T4" fmla="*/ 4 w 4"/>
                  <a:gd name="T5" fmla="*/ 4 h 4"/>
                  <a:gd name="T6" fmla="*/ 1 w 4"/>
                  <a:gd name="T7" fmla="*/ 0 h 4"/>
                </a:gdLst>
                <a:cxnLst>
                  <a:cxn ang="0">
                    <a:pos x="T0" y="T1"/>
                  </a:cxn>
                  <a:cxn ang="0">
                    <a:pos x="T2" y="T3"/>
                  </a:cxn>
                  <a:cxn ang="0">
                    <a:pos x="T4" y="T5"/>
                  </a:cxn>
                  <a:cxn ang="0">
                    <a:pos x="T6" y="T7"/>
                  </a:cxn>
                </a:cxnLst>
                <a:rect l="0" t="0" r="r" b="b"/>
                <a:pathLst>
                  <a:path w="4" h="4">
                    <a:moveTo>
                      <a:pt x="1" y="0"/>
                    </a:moveTo>
                    <a:cubicBezTo>
                      <a:pt x="1" y="0"/>
                      <a:pt x="0" y="0"/>
                      <a:pt x="0" y="0"/>
                    </a:cubicBezTo>
                    <a:cubicBezTo>
                      <a:pt x="1" y="2"/>
                      <a:pt x="3" y="3"/>
                      <a:pt x="4" y="4"/>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186"/>
              <p:cNvSpPr/>
              <p:nvPr/>
            </p:nvSpPr>
            <p:spPr bwMode="auto">
              <a:xfrm>
                <a:off x="8625" y="3347"/>
                <a:ext cx="29" cy="21"/>
              </a:xfrm>
              <a:custGeom>
                <a:gdLst>
                  <a:gd name="T0" fmla="*/ 1 w 12"/>
                  <a:gd name="T1" fmla="*/ 0 h 9"/>
                  <a:gd name="T2" fmla="*/ 0 w 12"/>
                  <a:gd name="T3" fmla="*/ 0 h 9"/>
                  <a:gd name="T4" fmla="*/ 3 w 12"/>
                  <a:gd name="T5" fmla="*/ 9 h 9"/>
                  <a:gd name="T6" fmla="*/ 4 w 12"/>
                  <a:gd name="T7" fmla="*/ 9 h 9"/>
                  <a:gd name="T8" fmla="*/ 5 w 12"/>
                  <a:gd name="T9" fmla="*/ 9 h 9"/>
                  <a:gd name="T10" fmla="*/ 6 w 12"/>
                  <a:gd name="T11" fmla="*/ 9 h 9"/>
                  <a:gd name="T12" fmla="*/ 6 w 12"/>
                  <a:gd name="T13" fmla="*/ 9 h 9"/>
                  <a:gd name="T14" fmla="*/ 7 w 12"/>
                  <a:gd name="T15" fmla="*/ 9 h 9"/>
                  <a:gd name="T16" fmla="*/ 12 w 12"/>
                  <a:gd name="T17" fmla="*/ 7 h 9"/>
                  <a:gd name="T18" fmla="*/ 12 w 12"/>
                  <a:gd name="T19" fmla="*/ 7 h 9"/>
                  <a:gd name="T20" fmla="*/ 10 w 12"/>
                  <a:gd name="T21" fmla="*/ 6 h 9"/>
                  <a:gd name="T22" fmla="*/ 8 w 12"/>
                  <a:gd name="T23" fmla="*/ 6 h 9"/>
                  <a:gd name="T24" fmla="*/ 6 w 12"/>
                  <a:gd name="T25" fmla="*/ 3 h 9"/>
                  <a:gd name="T26" fmla="*/ 1 w 12"/>
                  <a:gd name="T2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1" y="0"/>
                    </a:moveTo>
                    <a:cubicBezTo>
                      <a:pt x="1" y="0"/>
                      <a:pt x="1" y="0"/>
                      <a:pt x="0" y="0"/>
                    </a:cubicBezTo>
                    <a:cubicBezTo>
                      <a:pt x="1" y="2"/>
                      <a:pt x="1" y="8"/>
                      <a:pt x="3" y="9"/>
                    </a:cubicBezTo>
                    <a:cubicBezTo>
                      <a:pt x="3" y="9"/>
                      <a:pt x="3" y="9"/>
                      <a:pt x="4" y="9"/>
                    </a:cubicBezTo>
                    <a:cubicBezTo>
                      <a:pt x="4" y="9"/>
                      <a:pt x="5" y="9"/>
                      <a:pt x="5" y="9"/>
                    </a:cubicBezTo>
                    <a:cubicBezTo>
                      <a:pt x="5" y="9"/>
                      <a:pt x="6" y="9"/>
                      <a:pt x="6" y="9"/>
                    </a:cubicBezTo>
                    <a:cubicBezTo>
                      <a:pt x="6" y="9"/>
                      <a:pt x="6" y="9"/>
                      <a:pt x="6" y="9"/>
                    </a:cubicBezTo>
                    <a:cubicBezTo>
                      <a:pt x="6" y="9"/>
                      <a:pt x="7" y="9"/>
                      <a:pt x="7" y="9"/>
                    </a:cubicBezTo>
                    <a:cubicBezTo>
                      <a:pt x="9" y="9"/>
                      <a:pt x="10" y="8"/>
                      <a:pt x="12" y="7"/>
                    </a:cubicBezTo>
                    <a:cubicBezTo>
                      <a:pt x="12" y="7"/>
                      <a:pt x="12" y="7"/>
                      <a:pt x="12" y="7"/>
                    </a:cubicBezTo>
                    <a:cubicBezTo>
                      <a:pt x="11" y="7"/>
                      <a:pt x="11" y="7"/>
                      <a:pt x="10" y="6"/>
                    </a:cubicBezTo>
                    <a:cubicBezTo>
                      <a:pt x="8" y="6"/>
                      <a:pt x="8" y="6"/>
                      <a:pt x="8" y="6"/>
                    </a:cubicBezTo>
                    <a:cubicBezTo>
                      <a:pt x="7" y="6"/>
                      <a:pt x="7" y="4"/>
                      <a:pt x="6" y="3"/>
                    </a:cubicBezTo>
                    <a:cubicBezTo>
                      <a:pt x="6"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Freeform 187"/>
              <p:cNvSpPr/>
              <p:nvPr/>
            </p:nvSpPr>
            <p:spPr bwMode="auto">
              <a:xfrm>
                <a:off x="8396" y="3354"/>
                <a:ext cx="19" cy="19"/>
              </a:xfrm>
              <a:custGeom>
                <a:gdLst>
                  <a:gd name="T0" fmla="*/ 5 w 8"/>
                  <a:gd name="T1" fmla="*/ 0 h 8"/>
                  <a:gd name="T2" fmla="*/ 4 w 8"/>
                  <a:gd name="T3" fmla="*/ 0 h 8"/>
                  <a:gd name="T4" fmla="*/ 1 w 8"/>
                  <a:gd name="T5" fmla="*/ 4 h 8"/>
                  <a:gd name="T6" fmla="*/ 4 w 8"/>
                  <a:gd name="T7" fmla="*/ 8 h 8"/>
                  <a:gd name="T8" fmla="*/ 4 w 8"/>
                  <a:gd name="T9" fmla="*/ 8 h 8"/>
                  <a:gd name="T10" fmla="*/ 8 w 8"/>
                  <a:gd name="T11" fmla="*/ 2 h 8"/>
                  <a:gd name="T12" fmla="*/ 5 w 8"/>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8" h="8">
                    <a:moveTo>
                      <a:pt x="5" y="0"/>
                    </a:moveTo>
                    <a:cubicBezTo>
                      <a:pt x="4" y="0"/>
                      <a:pt x="4" y="0"/>
                      <a:pt x="4" y="0"/>
                    </a:cubicBezTo>
                    <a:cubicBezTo>
                      <a:pt x="1" y="0"/>
                      <a:pt x="0" y="1"/>
                      <a:pt x="1" y="4"/>
                    </a:cubicBezTo>
                    <a:cubicBezTo>
                      <a:pt x="1" y="4"/>
                      <a:pt x="2" y="8"/>
                      <a:pt x="4" y="8"/>
                    </a:cubicBezTo>
                    <a:cubicBezTo>
                      <a:pt x="4" y="8"/>
                      <a:pt x="4" y="8"/>
                      <a:pt x="4" y="8"/>
                    </a:cubicBezTo>
                    <a:cubicBezTo>
                      <a:pt x="7" y="8"/>
                      <a:pt x="8" y="4"/>
                      <a:pt x="8" y="2"/>
                    </a:cubicBezTo>
                    <a:cubicBezTo>
                      <a:pt x="7"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188"/>
              <p:cNvSpPr/>
              <p:nvPr/>
            </p:nvSpPr>
            <p:spPr bwMode="auto">
              <a:xfrm>
                <a:off x="8384" y="3349"/>
                <a:ext cx="14" cy="5"/>
              </a:xfrm>
              <a:custGeom>
                <a:gdLst>
                  <a:gd name="T0" fmla="*/ 3 w 6"/>
                  <a:gd name="T1" fmla="*/ 0 h 2"/>
                  <a:gd name="T2" fmla="*/ 3 w 6"/>
                  <a:gd name="T3" fmla="*/ 1 h 2"/>
                  <a:gd name="T4" fmla="*/ 2 w 6"/>
                  <a:gd name="T5" fmla="*/ 0 h 2"/>
                  <a:gd name="T6" fmla="*/ 1 w 6"/>
                  <a:gd name="T7" fmla="*/ 0 h 2"/>
                  <a:gd name="T8" fmla="*/ 1 w 6"/>
                  <a:gd name="T9" fmla="*/ 0 h 2"/>
                  <a:gd name="T10" fmla="*/ 0 w 6"/>
                  <a:gd name="T11" fmla="*/ 2 h 2"/>
                  <a:gd name="T12" fmla="*/ 6 w 6"/>
                  <a:gd name="T13" fmla="*/ 0 h 2"/>
                  <a:gd name="T14" fmla="*/ 5 w 6"/>
                  <a:gd name="T15" fmla="*/ 0 h 2"/>
                  <a:gd name="T16" fmla="*/ 5 w 6"/>
                  <a:gd name="T17" fmla="*/ 0 h 2"/>
                  <a:gd name="T18" fmla="*/ 4 w 6"/>
                  <a:gd name="T19" fmla="*/ 0 h 2"/>
                  <a:gd name="T20" fmla="*/ 3 w 6"/>
                  <a:gd name="T21"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3" y="0"/>
                    </a:moveTo>
                    <a:cubicBezTo>
                      <a:pt x="3" y="1"/>
                      <a:pt x="3" y="1"/>
                      <a:pt x="3" y="1"/>
                    </a:cubicBezTo>
                    <a:cubicBezTo>
                      <a:pt x="2" y="1"/>
                      <a:pt x="2" y="1"/>
                      <a:pt x="2" y="0"/>
                    </a:cubicBezTo>
                    <a:cubicBezTo>
                      <a:pt x="2" y="0"/>
                      <a:pt x="2" y="0"/>
                      <a:pt x="1" y="0"/>
                    </a:cubicBezTo>
                    <a:cubicBezTo>
                      <a:pt x="1" y="0"/>
                      <a:pt x="1" y="0"/>
                      <a:pt x="1" y="0"/>
                    </a:cubicBezTo>
                    <a:cubicBezTo>
                      <a:pt x="1" y="1"/>
                      <a:pt x="1" y="2"/>
                      <a:pt x="0" y="2"/>
                    </a:cubicBezTo>
                    <a:cubicBezTo>
                      <a:pt x="2" y="2"/>
                      <a:pt x="4" y="1"/>
                      <a:pt x="6" y="0"/>
                    </a:cubicBezTo>
                    <a:cubicBezTo>
                      <a:pt x="6" y="0"/>
                      <a:pt x="5" y="0"/>
                      <a:pt x="5" y="0"/>
                    </a:cubicBezTo>
                    <a:cubicBezTo>
                      <a:pt x="5" y="0"/>
                      <a:pt x="5" y="0"/>
                      <a:pt x="5" y="0"/>
                    </a:cubicBezTo>
                    <a:cubicBezTo>
                      <a:pt x="4" y="0"/>
                      <a:pt x="4" y="0"/>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Freeform 189"/>
              <p:cNvSpPr/>
              <p:nvPr/>
            </p:nvSpPr>
            <p:spPr bwMode="auto">
              <a:xfrm>
                <a:off x="7214" y="3314"/>
                <a:ext cx="24" cy="14"/>
              </a:xfrm>
              <a:custGeom>
                <a:gdLst>
                  <a:gd name="T0" fmla="*/ 2 w 10"/>
                  <a:gd name="T1" fmla="*/ 0 h 6"/>
                  <a:gd name="T2" fmla="*/ 0 w 10"/>
                  <a:gd name="T3" fmla="*/ 4 h 6"/>
                  <a:gd name="T4" fmla="*/ 3 w 10"/>
                  <a:gd name="T5" fmla="*/ 5 h 6"/>
                  <a:gd name="T6" fmla="*/ 3 w 10"/>
                  <a:gd name="T7" fmla="*/ 5 h 6"/>
                  <a:gd name="T8" fmla="*/ 5 w 10"/>
                  <a:gd name="T9" fmla="*/ 4 h 6"/>
                  <a:gd name="T10" fmla="*/ 6 w 10"/>
                  <a:gd name="T11" fmla="*/ 4 h 6"/>
                  <a:gd name="T12" fmla="*/ 10 w 10"/>
                  <a:gd name="T13" fmla="*/ 6 h 6"/>
                  <a:gd name="T14" fmla="*/ 2 w 10"/>
                  <a:gd name="T15" fmla="*/ 0 h 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2" y="0"/>
                    </a:moveTo>
                    <a:cubicBezTo>
                      <a:pt x="2" y="1"/>
                      <a:pt x="0" y="3"/>
                      <a:pt x="0" y="4"/>
                    </a:cubicBezTo>
                    <a:cubicBezTo>
                      <a:pt x="0" y="4"/>
                      <a:pt x="3" y="5"/>
                      <a:pt x="3" y="5"/>
                    </a:cubicBezTo>
                    <a:cubicBezTo>
                      <a:pt x="3" y="5"/>
                      <a:pt x="3" y="5"/>
                      <a:pt x="3" y="5"/>
                    </a:cubicBezTo>
                    <a:cubicBezTo>
                      <a:pt x="4" y="5"/>
                      <a:pt x="5" y="4"/>
                      <a:pt x="5" y="4"/>
                    </a:cubicBezTo>
                    <a:cubicBezTo>
                      <a:pt x="6" y="4"/>
                      <a:pt x="6" y="4"/>
                      <a:pt x="6" y="4"/>
                    </a:cubicBezTo>
                    <a:cubicBezTo>
                      <a:pt x="7" y="4"/>
                      <a:pt x="9" y="6"/>
                      <a:pt x="10" y="6"/>
                    </a:cubicBezTo>
                    <a:cubicBezTo>
                      <a:pt x="7" y="4"/>
                      <a:pt x="5"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3" name="Freeform 190"/>
              <p:cNvSpPr/>
              <p:nvPr/>
            </p:nvSpPr>
            <p:spPr bwMode="auto">
              <a:xfrm>
                <a:off x="8285" y="3196"/>
                <a:ext cx="21" cy="28"/>
              </a:xfrm>
              <a:custGeom>
                <a:gdLst>
                  <a:gd name="T0" fmla="*/ 7 w 9"/>
                  <a:gd name="T1" fmla="*/ 0 h 12"/>
                  <a:gd name="T2" fmla="*/ 1 w 9"/>
                  <a:gd name="T3" fmla="*/ 6 h 12"/>
                  <a:gd name="T4" fmla="*/ 1 w 9"/>
                  <a:gd name="T5" fmla="*/ 9 h 12"/>
                  <a:gd name="T6" fmla="*/ 1 w 9"/>
                  <a:gd name="T7" fmla="*/ 12 h 12"/>
                  <a:gd name="T8" fmla="*/ 6 w 9"/>
                  <a:gd name="T9" fmla="*/ 10 h 12"/>
                  <a:gd name="T10" fmla="*/ 7 w 9"/>
                  <a:gd name="T11" fmla="*/ 0 h 12"/>
                </a:gdLst>
                <a:cxnLst>
                  <a:cxn ang="0">
                    <a:pos x="T0" y="T1"/>
                  </a:cxn>
                  <a:cxn ang="0">
                    <a:pos x="T2" y="T3"/>
                  </a:cxn>
                  <a:cxn ang="0">
                    <a:pos x="T4" y="T5"/>
                  </a:cxn>
                  <a:cxn ang="0">
                    <a:pos x="T6" y="T7"/>
                  </a:cxn>
                  <a:cxn ang="0">
                    <a:pos x="T8" y="T9"/>
                  </a:cxn>
                  <a:cxn ang="0">
                    <a:pos x="T10" y="T11"/>
                  </a:cxn>
                </a:cxnLst>
                <a:rect l="0" t="0" r="r" b="b"/>
                <a:pathLst>
                  <a:path w="9" h="12">
                    <a:moveTo>
                      <a:pt x="7" y="0"/>
                    </a:moveTo>
                    <a:cubicBezTo>
                      <a:pt x="5" y="1"/>
                      <a:pt x="1" y="3"/>
                      <a:pt x="1" y="6"/>
                    </a:cubicBezTo>
                    <a:cubicBezTo>
                      <a:pt x="1" y="7"/>
                      <a:pt x="0" y="7"/>
                      <a:pt x="1" y="9"/>
                    </a:cubicBezTo>
                    <a:cubicBezTo>
                      <a:pt x="1" y="10"/>
                      <a:pt x="2" y="11"/>
                      <a:pt x="1" y="12"/>
                    </a:cubicBezTo>
                    <a:cubicBezTo>
                      <a:pt x="3" y="11"/>
                      <a:pt x="5" y="11"/>
                      <a:pt x="6" y="10"/>
                    </a:cubicBezTo>
                    <a:cubicBezTo>
                      <a:pt x="9" y="8"/>
                      <a:pt x="8"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Freeform 191"/>
              <p:cNvSpPr/>
              <p:nvPr/>
            </p:nvSpPr>
            <p:spPr bwMode="auto">
              <a:xfrm>
                <a:off x="6820" y="3181"/>
                <a:ext cx="35" cy="26"/>
              </a:xfrm>
              <a:custGeom>
                <a:gdLst>
                  <a:gd name="T0" fmla="*/ 3 w 15"/>
                  <a:gd name="T1" fmla="*/ 0 h 11"/>
                  <a:gd name="T2" fmla="*/ 1 w 15"/>
                  <a:gd name="T3" fmla="*/ 3 h 11"/>
                  <a:gd name="T4" fmla="*/ 2 w 15"/>
                  <a:gd name="T5" fmla="*/ 3 h 11"/>
                  <a:gd name="T6" fmla="*/ 3 w 15"/>
                  <a:gd name="T7" fmla="*/ 5 h 11"/>
                  <a:gd name="T8" fmla="*/ 7 w 15"/>
                  <a:gd name="T9" fmla="*/ 6 h 11"/>
                  <a:gd name="T10" fmla="*/ 14 w 15"/>
                  <a:gd name="T11" fmla="*/ 11 h 11"/>
                  <a:gd name="T12" fmla="*/ 15 w 15"/>
                  <a:gd name="T13" fmla="*/ 11 h 11"/>
                  <a:gd name="T14" fmla="*/ 11 w 15"/>
                  <a:gd name="T15" fmla="*/ 6 h 11"/>
                  <a:gd name="T16" fmla="*/ 3 w 15"/>
                  <a:gd name="T1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1">
                    <a:moveTo>
                      <a:pt x="3" y="0"/>
                    </a:moveTo>
                    <a:cubicBezTo>
                      <a:pt x="2" y="1"/>
                      <a:pt x="0" y="3"/>
                      <a:pt x="1" y="3"/>
                    </a:cubicBezTo>
                    <a:cubicBezTo>
                      <a:pt x="1" y="3"/>
                      <a:pt x="1" y="3"/>
                      <a:pt x="2" y="3"/>
                    </a:cubicBezTo>
                    <a:cubicBezTo>
                      <a:pt x="2" y="4"/>
                      <a:pt x="3" y="5"/>
                      <a:pt x="3" y="5"/>
                    </a:cubicBezTo>
                    <a:cubicBezTo>
                      <a:pt x="4" y="6"/>
                      <a:pt x="6" y="6"/>
                      <a:pt x="7" y="6"/>
                    </a:cubicBezTo>
                    <a:cubicBezTo>
                      <a:pt x="9" y="7"/>
                      <a:pt x="13" y="11"/>
                      <a:pt x="14" y="11"/>
                    </a:cubicBezTo>
                    <a:cubicBezTo>
                      <a:pt x="15" y="11"/>
                      <a:pt x="15" y="11"/>
                      <a:pt x="15" y="11"/>
                    </a:cubicBezTo>
                    <a:cubicBezTo>
                      <a:pt x="15" y="7"/>
                      <a:pt x="14" y="8"/>
                      <a:pt x="11" y="6"/>
                    </a:cubicBezTo>
                    <a:cubicBezTo>
                      <a:pt x="8" y="4"/>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5" name="Freeform 192"/>
              <p:cNvSpPr/>
              <p:nvPr/>
            </p:nvSpPr>
            <p:spPr bwMode="auto">
              <a:xfrm>
                <a:off x="3665" y="1560"/>
                <a:ext cx="2" cy="7"/>
              </a:xfrm>
              <a:custGeom>
                <a:gdLst>
                  <a:gd name="T0" fmla="*/ 0 w 1"/>
                  <a:gd name="T1" fmla="*/ 0 h 3"/>
                  <a:gd name="T2" fmla="*/ 0 w 1"/>
                  <a:gd name="T3" fmla="*/ 3 h 3"/>
                  <a:gd name="T4" fmla="*/ 0 w 1"/>
                  <a:gd name="T5" fmla="*/ 0 h 3"/>
                  <a:gd name="T6" fmla="*/ 0 w 1"/>
                  <a:gd name="T7" fmla="*/ 0 h 3"/>
                </a:gdLst>
                <a:cxnLst>
                  <a:cxn ang="0">
                    <a:pos x="T0" y="T1"/>
                  </a:cxn>
                  <a:cxn ang="0">
                    <a:pos x="T2" y="T3"/>
                  </a:cxn>
                  <a:cxn ang="0">
                    <a:pos x="T4" y="T5"/>
                  </a:cxn>
                  <a:cxn ang="0">
                    <a:pos x="T6" y="T7"/>
                  </a:cxn>
                </a:cxnLst>
                <a:rect l="0" t="0" r="r" b="b"/>
                <a:pathLst>
                  <a:path w="1" h="3">
                    <a:moveTo>
                      <a:pt x="0" y="0"/>
                    </a:moveTo>
                    <a:cubicBezTo>
                      <a:pt x="0" y="3"/>
                      <a:pt x="0" y="3"/>
                      <a:pt x="0" y="3"/>
                    </a:cubicBezTo>
                    <a:cubicBezTo>
                      <a:pt x="0" y="2"/>
                      <a:pt x="1"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193"/>
              <p:cNvSpPr/>
              <p:nvPr/>
            </p:nvSpPr>
            <p:spPr bwMode="auto">
              <a:xfrm>
                <a:off x="3684" y="1531"/>
                <a:ext cx="16" cy="10"/>
              </a:xfrm>
              <a:custGeom>
                <a:gdLst>
                  <a:gd name="T0" fmla="*/ 7 w 7"/>
                  <a:gd name="T1" fmla="*/ 0 h 4"/>
                  <a:gd name="T2" fmla="*/ 0 w 7"/>
                  <a:gd name="T3" fmla="*/ 4 h 4"/>
                  <a:gd name="T4" fmla="*/ 7 w 7"/>
                  <a:gd name="T5" fmla="*/ 0 h 4"/>
                </a:gdLst>
                <a:cxnLst>
                  <a:cxn ang="0">
                    <a:pos x="T0" y="T1"/>
                  </a:cxn>
                  <a:cxn ang="0">
                    <a:pos x="T2" y="T3"/>
                  </a:cxn>
                  <a:cxn ang="0">
                    <a:pos x="T4" y="T5"/>
                  </a:cxn>
                </a:cxnLst>
                <a:rect l="0" t="0" r="r" b="b"/>
                <a:pathLst>
                  <a:path w="7" h="4">
                    <a:moveTo>
                      <a:pt x="7" y="0"/>
                    </a:moveTo>
                    <a:cubicBezTo>
                      <a:pt x="4" y="1"/>
                      <a:pt x="2" y="3"/>
                      <a:pt x="0" y="4"/>
                    </a:cubicBezTo>
                    <a:cubicBezTo>
                      <a:pt x="2" y="4"/>
                      <a:pt x="5"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7" name="Freeform 194"/>
              <p:cNvSpPr/>
              <p:nvPr/>
            </p:nvSpPr>
            <p:spPr bwMode="auto">
              <a:xfrm>
                <a:off x="3677" y="1441"/>
                <a:ext cx="35" cy="24"/>
              </a:xfrm>
              <a:custGeom>
                <a:gdLst>
                  <a:gd name="T0" fmla="*/ 8 w 15"/>
                  <a:gd name="T1" fmla="*/ 0 h 10"/>
                  <a:gd name="T2" fmla="*/ 4 w 15"/>
                  <a:gd name="T3" fmla="*/ 2 h 10"/>
                  <a:gd name="T4" fmla="*/ 3 w 15"/>
                  <a:gd name="T5" fmla="*/ 3 h 10"/>
                  <a:gd name="T6" fmla="*/ 2 w 15"/>
                  <a:gd name="T7" fmla="*/ 3 h 10"/>
                  <a:gd name="T8" fmla="*/ 2 w 15"/>
                  <a:gd name="T9" fmla="*/ 3 h 10"/>
                  <a:gd name="T10" fmla="*/ 0 w 15"/>
                  <a:gd name="T11" fmla="*/ 3 h 10"/>
                  <a:gd name="T12" fmla="*/ 7 w 15"/>
                  <a:gd name="T13" fmla="*/ 4 h 10"/>
                  <a:gd name="T14" fmla="*/ 8 w 15"/>
                  <a:gd name="T15" fmla="*/ 4 h 10"/>
                  <a:gd name="T16" fmla="*/ 5 w 15"/>
                  <a:gd name="T17" fmla="*/ 7 h 10"/>
                  <a:gd name="T18" fmla="*/ 11 w 15"/>
                  <a:gd name="T19" fmla="*/ 10 h 10"/>
                  <a:gd name="T20" fmla="*/ 12 w 15"/>
                  <a:gd name="T21" fmla="*/ 10 h 10"/>
                  <a:gd name="T22" fmla="*/ 12 w 15"/>
                  <a:gd name="T23" fmla="*/ 7 h 10"/>
                  <a:gd name="T24" fmla="*/ 12 w 15"/>
                  <a:gd name="T25" fmla="*/ 6 h 10"/>
                  <a:gd name="T26" fmla="*/ 13 w 15"/>
                  <a:gd name="T27" fmla="*/ 8 h 10"/>
                  <a:gd name="T28" fmla="*/ 14 w 15"/>
                  <a:gd name="T29" fmla="*/ 9 h 10"/>
                  <a:gd name="T30" fmla="*/ 15 w 15"/>
                  <a:gd name="T31" fmla="*/ 8 h 10"/>
                  <a:gd name="T32" fmla="*/ 11 w 15"/>
                  <a:gd name="T33" fmla="*/ 3 h 10"/>
                  <a:gd name="T34" fmla="*/ 10 w 15"/>
                  <a:gd name="T35" fmla="*/ 1 h 10"/>
                  <a:gd name="T36" fmla="*/ 8 w 15"/>
                  <a:gd name="T3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0">
                    <a:moveTo>
                      <a:pt x="8" y="0"/>
                    </a:moveTo>
                    <a:cubicBezTo>
                      <a:pt x="7" y="0"/>
                      <a:pt x="5" y="2"/>
                      <a:pt x="4" y="2"/>
                    </a:cubicBezTo>
                    <a:cubicBezTo>
                      <a:pt x="3" y="3"/>
                      <a:pt x="3" y="3"/>
                      <a:pt x="3" y="3"/>
                    </a:cubicBezTo>
                    <a:cubicBezTo>
                      <a:pt x="2" y="3"/>
                      <a:pt x="2" y="3"/>
                      <a:pt x="2" y="3"/>
                    </a:cubicBezTo>
                    <a:cubicBezTo>
                      <a:pt x="2" y="3"/>
                      <a:pt x="2" y="3"/>
                      <a:pt x="2" y="3"/>
                    </a:cubicBezTo>
                    <a:cubicBezTo>
                      <a:pt x="1" y="3"/>
                      <a:pt x="1" y="3"/>
                      <a:pt x="0" y="3"/>
                    </a:cubicBezTo>
                    <a:cubicBezTo>
                      <a:pt x="2" y="4"/>
                      <a:pt x="4" y="4"/>
                      <a:pt x="7" y="4"/>
                    </a:cubicBezTo>
                    <a:cubicBezTo>
                      <a:pt x="7" y="4"/>
                      <a:pt x="7" y="4"/>
                      <a:pt x="8" y="4"/>
                    </a:cubicBezTo>
                    <a:cubicBezTo>
                      <a:pt x="7" y="6"/>
                      <a:pt x="6" y="7"/>
                      <a:pt x="5" y="7"/>
                    </a:cubicBezTo>
                    <a:cubicBezTo>
                      <a:pt x="7" y="8"/>
                      <a:pt x="9" y="9"/>
                      <a:pt x="11" y="10"/>
                    </a:cubicBezTo>
                    <a:cubicBezTo>
                      <a:pt x="11" y="10"/>
                      <a:pt x="12" y="10"/>
                      <a:pt x="12" y="10"/>
                    </a:cubicBezTo>
                    <a:cubicBezTo>
                      <a:pt x="15" y="10"/>
                      <a:pt x="11" y="7"/>
                      <a:pt x="12" y="7"/>
                    </a:cubicBezTo>
                    <a:cubicBezTo>
                      <a:pt x="12" y="6"/>
                      <a:pt x="12" y="6"/>
                      <a:pt x="12" y="6"/>
                    </a:cubicBezTo>
                    <a:cubicBezTo>
                      <a:pt x="12" y="6"/>
                      <a:pt x="13" y="7"/>
                      <a:pt x="13" y="8"/>
                    </a:cubicBezTo>
                    <a:cubicBezTo>
                      <a:pt x="14" y="8"/>
                      <a:pt x="14" y="9"/>
                      <a:pt x="14" y="9"/>
                    </a:cubicBezTo>
                    <a:cubicBezTo>
                      <a:pt x="15" y="9"/>
                      <a:pt x="15" y="9"/>
                      <a:pt x="15" y="8"/>
                    </a:cubicBezTo>
                    <a:cubicBezTo>
                      <a:pt x="15" y="6"/>
                      <a:pt x="11" y="4"/>
                      <a:pt x="11" y="3"/>
                    </a:cubicBezTo>
                    <a:cubicBezTo>
                      <a:pt x="10" y="2"/>
                      <a:pt x="11" y="1"/>
                      <a:pt x="10" y="1"/>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Freeform 195"/>
              <p:cNvSpPr/>
              <p:nvPr/>
            </p:nvSpPr>
            <p:spPr bwMode="auto">
              <a:xfrm>
                <a:off x="3665" y="1385"/>
                <a:ext cx="5" cy="4"/>
              </a:xfrm>
              <a:custGeom>
                <a:gdLst>
                  <a:gd name="T0" fmla="*/ 0 w 2"/>
                  <a:gd name="T1" fmla="*/ 0 h 2"/>
                  <a:gd name="T2" fmla="*/ 0 w 2"/>
                  <a:gd name="T3" fmla="*/ 1 h 2"/>
                  <a:gd name="T4" fmla="*/ 0 w 2"/>
                  <a:gd name="T5" fmla="*/ 2 h 2"/>
                  <a:gd name="T6" fmla="*/ 2 w 2"/>
                  <a:gd name="T7" fmla="*/ 1 h 2"/>
                  <a:gd name="T8" fmla="*/ 0 w 2"/>
                  <a:gd name="T9" fmla="*/ 0 h 2"/>
                </a:gdLst>
                <a:cxnLst>
                  <a:cxn ang="0">
                    <a:pos x="T0" y="T1"/>
                  </a:cxn>
                  <a:cxn ang="0">
                    <a:pos x="T2" y="T3"/>
                  </a:cxn>
                  <a:cxn ang="0">
                    <a:pos x="T4" y="T5"/>
                  </a:cxn>
                  <a:cxn ang="0">
                    <a:pos x="T6" y="T7"/>
                  </a:cxn>
                  <a:cxn ang="0">
                    <a:pos x="T8" y="T9"/>
                  </a:cxn>
                </a:cxnLst>
                <a:rect l="0" t="0" r="r" b="b"/>
                <a:pathLst>
                  <a:path w="2" h="2">
                    <a:moveTo>
                      <a:pt x="0" y="0"/>
                    </a:moveTo>
                    <a:cubicBezTo>
                      <a:pt x="0" y="1"/>
                      <a:pt x="0" y="1"/>
                      <a:pt x="0" y="1"/>
                    </a:cubicBezTo>
                    <a:cubicBezTo>
                      <a:pt x="0" y="2"/>
                      <a:pt x="0" y="2"/>
                      <a:pt x="0" y="2"/>
                    </a:cubicBezTo>
                    <a:cubicBezTo>
                      <a:pt x="1" y="2"/>
                      <a:pt x="1" y="1"/>
                      <a:pt x="2"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9" name="Freeform 196"/>
              <p:cNvSpPr>
                <a:spLocks noEditPoints="1"/>
              </p:cNvSpPr>
              <p:nvPr/>
            </p:nvSpPr>
            <p:spPr bwMode="auto">
              <a:xfrm>
                <a:off x="3665" y="1654"/>
                <a:ext cx="33" cy="17"/>
              </a:xfrm>
              <a:custGeom>
                <a:gdLst>
                  <a:gd name="T0" fmla="*/ 14 w 14"/>
                  <a:gd name="T1" fmla="*/ 0 h 7"/>
                  <a:gd name="T2" fmla="*/ 14 w 14"/>
                  <a:gd name="T3" fmla="*/ 0 h 7"/>
                  <a:gd name="T4" fmla="*/ 14 w 14"/>
                  <a:gd name="T5" fmla="*/ 0 h 7"/>
                  <a:gd name="T6" fmla="*/ 3 w 14"/>
                  <a:gd name="T7" fmla="*/ 0 h 7"/>
                  <a:gd name="T8" fmla="*/ 1 w 14"/>
                  <a:gd name="T9" fmla="*/ 0 h 7"/>
                  <a:gd name="T10" fmla="*/ 0 w 14"/>
                  <a:gd name="T11" fmla="*/ 0 h 7"/>
                  <a:gd name="T12" fmla="*/ 0 w 14"/>
                  <a:gd name="T13" fmla="*/ 7 h 7"/>
                  <a:gd name="T14" fmla="*/ 0 w 14"/>
                  <a:gd name="T15" fmla="*/ 7 h 7"/>
                  <a:gd name="T16" fmla="*/ 12 w 14"/>
                  <a:gd name="T17" fmla="*/ 6 h 7"/>
                  <a:gd name="T18" fmla="*/ 13 w 14"/>
                  <a:gd name="T19" fmla="*/ 3 h 7"/>
                  <a:gd name="T20" fmla="*/ 14 w 14"/>
                  <a:gd name="T21" fmla="*/ 3 h 7"/>
                  <a:gd name="T22" fmla="*/ 13 w 14"/>
                  <a:gd name="T23" fmla="*/ 1 h 7"/>
                  <a:gd name="T24" fmla="*/ 14 w 14"/>
                  <a:gd name="T25" fmla="*/ 0 h 7"/>
                  <a:gd name="T26" fmla="*/ 7 w 14"/>
                  <a:gd name="T27" fmla="*/ 3 h 7"/>
                  <a:gd name="T28" fmla="*/ 4 w 14"/>
                  <a:gd name="T29" fmla="*/ 4 h 7"/>
                  <a:gd name="T30" fmla="*/ 4 w 14"/>
                  <a:gd name="T31" fmla="*/ 0 h 7"/>
                  <a:gd name="T32" fmla="*/ 3 w 14"/>
                  <a:gd name="T3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7">
                    <a:moveTo>
                      <a:pt x="14" y="0"/>
                    </a:moveTo>
                    <a:cubicBezTo>
                      <a:pt x="14" y="0"/>
                      <a:pt x="14" y="0"/>
                      <a:pt x="14" y="0"/>
                    </a:cubicBezTo>
                    <a:cubicBezTo>
                      <a:pt x="14" y="0"/>
                      <a:pt x="14" y="0"/>
                      <a:pt x="14" y="0"/>
                    </a:cubicBezTo>
                    <a:moveTo>
                      <a:pt x="3" y="0"/>
                    </a:moveTo>
                    <a:cubicBezTo>
                      <a:pt x="3" y="0"/>
                      <a:pt x="2" y="0"/>
                      <a:pt x="1" y="0"/>
                    </a:cubicBezTo>
                    <a:cubicBezTo>
                      <a:pt x="1" y="0"/>
                      <a:pt x="0" y="0"/>
                      <a:pt x="0" y="0"/>
                    </a:cubicBezTo>
                    <a:cubicBezTo>
                      <a:pt x="0" y="7"/>
                      <a:pt x="0" y="7"/>
                      <a:pt x="0" y="7"/>
                    </a:cubicBezTo>
                    <a:cubicBezTo>
                      <a:pt x="0" y="7"/>
                      <a:pt x="0" y="7"/>
                      <a:pt x="0" y="7"/>
                    </a:cubicBezTo>
                    <a:cubicBezTo>
                      <a:pt x="4" y="6"/>
                      <a:pt x="8" y="6"/>
                      <a:pt x="12" y="6"/>
                    </a:cubicBezTo>
                    <a:cubicBezTo>
                      <a:pt x="13" y="6"/>
                      <a:pt x="13" y="4"/>
                      <a:pt x="13" y="3"/>
                    </a:cubicBezTo>
                    <a:cubicBezTo>
                      <a:pt x="13" y="3"/>
                      <a:pt x="14" y="3"/>
                      <a:pt x="14" y="3"/>
                    </a:cubicBezTo>
                    <a:cubicBezTo>
                      <a:pt x="14" y="2"/>
                      <a:pt x="13" y="2"/>
                      <a:pt x="13" y="1"/>
                    </a:cubicBezTo>
                    <a:cubicBezTo>
                      <a:pt x="13" y="1"/>
                      <a:pt x="14" y="0"/>
                      <a:pt x="14" y="0"/>
                    </a:cubicBezTo>
                    <a:cubicBezTo>
                      <a:pt x="11" y="2"/>
                      <a:pt x="11" y="2"/>
                      <a:pt x="7" y="3"/>
                    </a:cubicBezTo>
                    <a:cubicBezTo>
                      <a:pt x="6" y="3"/>
                      <a:pt x="5" y="3"/>
                      <a:pt x="4" y="4"/>
                    </a:cubicBezTo>
                    <a:cubicBezTo>
                      <a:pt x="4" y="3"/>
                      <a:pt x="3"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197"/>
              <p:cNvSpPr/>
              <p:nvPr/>
            </p:nvSpPr>
            <p:spPr bwMode="auto">
              <a:xfrm>
                <a:off x="3760" y="1595"/>
                <a:ext cx="26" cy="28"/>
              </a:xfrm>
              <a:custGeom>
                <a:gdLst>
                  <a:gd name="T0" fmla="*/ 10 w 11"/>
                  <a:gd name="T1" fmla="*/ 0 h 12"/>
                  <a:gd name="T2" fmla="*/ 5 w 11"/>
                  <a:gd name="T3" fmla="*/ 2 h 12"/>
                  <a:gd name="T4" fmla="*/ 1 w 11"/>
                  <a:gd name="T5" fmla="*/ 6 h 12"/>
                  <a:gd name="T6" fmla="*/ 1 w 11"/>
                  <a:gd name="T7" fmla="*/ 11 h 12"/>
                  <a:gd name="T8" fmla="*/ 1 w 11"/>
                  <a:gd name="T9" fmla="*/ 11 h 12"/>
                  <a:gd name="T10" fmla="*/ 1 w 11"/>
                  <a:gd name="T11" fmla="*/ 12 h 12"/>
                  <a:gd name="T12" fmla="*/ 5 w 11"/>
                  <a:gd name="T13" fmla="*/ 10 h 12"/>
                  <a:gd name="T14" fmla="*/ 7 w 11"/>
                  <a:gd name="T15" fmla="*/ 8 h 12"/>
                  <a:gd name="T16" fmla="*/ 8 w 11"/>
                  <a:gd name="T17" fmla="*/ 9 h 12"/>
                  <a:gd name="T18" fmla="*/ 9 w 11"/>
                  <a:gd name="T19" fmla="*/ 4 h 12"/>
                  <a:gd name="T20" fmla="*/ 10 w 11"/>
                  <a:gd name="T21" fmla="*/ 1 h 12"/>
                  <a:gd name="T22" fmla="*/ 10 w 11"/>
                  <a:gd name="T2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2">
                    <a:moveTo>
                      <a:pt x="10" y="0"/>
                    </a:moveTo>
                    <a:cubicBezTo>
                      <a:pt x="8" y="0"/>
                      <a:pt x="6" y="2"/>
                      <a:pt x="5" y="2"/>
                    </a:cubicBezTo>
                    <a:cubicBezTo>
                      <a:pt x="4" y="3"/>
                      <a:pt x="2" y="4"/>
                      <a:pt x="1" y="6"/>
                    </a:cubicBezTo>
                    <a:cubicBezTo>
                      <a:pt x="0" y="7"/>
                      <a:pt x="0" y="9"/>
                      <a:pt x="1" y="11"/>
                    </a:cubicBezTo>
                    <a:cubicBezTo>
                      <a:pt x="1" y="11"/>
                      <a:pt x="0" y="11"/>
                      <a:pt x="1" y="11"/>
                    </a:cubicBezTo>
                    <a:cubicBezTo>
                      <a:pt x="1" y="12"/>
                      <a:pt x="1" y="12"/>
                      <a:pt x="1" y="12"/>
                    </a:cubicBezTo>
                    <a:cubicBezTo>
                      <a:pt x="2" y="12"/>
                      <a:pt x="4" y="10"/>
                      <a:pt x="5" y="10"/>
                    </a:cubicBezTo>
                    <a:cubicBezTo>
                      <a:pt x="5" y="9"/>
                      <a:pt x="6" y="8"/>
                      <a:pt x="7" y="8"/>
                    </a:cubicBezTo>
                    <a:cubicBezTo>
                      <a:pt x="7" y="8"/>
                      <a:pt x="7" y="9"/>
                      <a:pt x="8" y="9"/>
                    </a:cubicBezTo>
                    <a:cubicBezTo>
                      <a:pt x="8" y="6"/>
                      <a:pt x="8" y="6"/>
                      <a:pt x="9" y="4"/>
                    </a:cubicBezTo>
                    <a:cubicBezTo>
                      <a:pt x="10" y="3"/>
                      <a:pt x="11" y="2"/>
                      <a:pt x="10" y="1"/>
                    </a:cubicBezTo>
                    <a:cubicBezTo>
                      <a:pt x="10" y="1"/>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1" name="Freeform 198"/>
              <p:cNvSpPr/>
              <p:nvPr/>
            </p:nvSpPr>
            <p:spPr bwMode="auto">
              <a:xfrm>
                <a:off x="3712" y="1524"/>
                <a:ext cx="22" cy="10"/>
              </a:xfrm>
              <a:custGeom>
                <a:gdLst>
                  <a:gd name="T0" fmla="*/ 3 w 9"/>
                  <a:gd name="T1" fmla="*/ 0 h 4"/>
                  <a:gd name="T2" fmla="*/ 0 w 9"/>
                  <a:gd name="T3" fmla="*/ 1 h 4"/>
                  <a:gd name="T4" fmla="*/ 4 w 9"/>
                  <a:gd name="T5" fmla="*/ 4 h 4"/>
                  <a:gd name="T6" fmla="*/ 8 w 9"/>
                  <a:gd name="T7" fmla="*/ 1 h 4"/>
                  <a:gd name="T8" fmla="*/ 3 w 9"/>
                  <a:gd name="T9" fmla="*/ 0 h 4"/>
                </a:gdLst>
                <a:cxnLst>
                  <a:cxn ang="0">
                    <a:pos x="T0" y="T1"/>
                  </a:cxn>
                  <a:cxn ang="0">
                    <a:pos x="T2" y="T3"/>
                  </a:cxn>
                  <a:cxn ang="0">
                    <a:pos x="T4" y="T5"/>
                  </a:cxn>
                  <a:cxn ang="0">
                    <a:pos x="T6" y="T7"/>
                  </a:cxn>
                  <a:cxn ang="0">
                    <a:pos x="T8" y="T9"/>
                  </a:cxn>
                </a:cxnLst>
                <a:rect l="0" t="0" r="r" b="b"/>
                <a:pathLst>
                  <a:path w="9" h="4">
                    <a:moveTo>
                      <a:pt x="3" y="0"/>
                    </a:moveTo>
                    <a:cubicBezTo>
                      <a:pt x="2" y="0"/>
                      <a:pt x="1" y="1"/>
                      <a:pt x="0" y="1"/>
                    </a:cubicBezTo>
                    <a:cubicBezTo>
                      <a:pt x="1" y="2"/>
                      <a:pt x="2" y="3"/>
                      <a:pt x="4" y="4"/>
                    </a:cubicBezTo>
                    <a:cubicBezTo>
                      <a:pt x="5" y="3"/>
                      <a:pt x="9" y="3"/>
                      <a:pt x="8" y="1"/>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199"/>
              <p:cNvSpPr/>
              <p:nvPr/>
            </p:nvSpPr>
            <p:spPr bwMode="auto">
              <a:xfrm>
                <a:off x="3731" y="1628"/>
                <a:ext cx="10" cy="21"/>
              </a:xfrm>
              <a:custGeom>
                <a:gdLst>
                  <a:gd name="T0" fmla="*/ 3 w 4"/>
                  <a:gd name="T1" fmla="*/ 0 h 9"/>
                  <a:gd name="T2" fmla="*/ 2 w 4"/>
                  <a:gd name="T3" fmla="*/ 9 h 9"/>
                  <a:gd name="T4" fmla="*/ 3 w 4"/>
                  <a:gd name="T5" fmla="*/ 6 h 9"/>
                  <a:gd name="T6" fmla="*/ 2 w 4"/>
                  <a:gd name="T7" fmla="*/ 4 h 9"/>
                  <a:gd name="T8" fmla="*/ 3 w 4"/>
                  <a:gd name="T9" fmla="*/ 0 h 9"/>
                </a:gdLst>
                <a:cxnLst>
                  <a:cxn ang="0">
                    <a:pos x="T0" y="T1"/>
                  </a:cxn>
                  <a:cxn ang="0">
                    <a:pos x="T2" y="T3"/>
                  </a:cxn>
                  <a:cxn ang="0">
                    <a:pos x="T4" y="T5"/>
                  </a:cxn>
                  <a:cxn ang="0">
                    <a:pos x="T6" y="T7"/>
                  </a:cxn>
                  <a:cxn ang="0">
                    <a:pos x="T8" y="T9"/>
                  </a:cxn>
                </a:cxnLst>
                <a:rect l="0" t="0" r="r" b="b"/>
                <a:pathLst>
                  <a:path w="4" h="9">
                    <a:moveTo>
                      <a:pt x="3" y="0"/>
                    </a:moveTo>
                    <a:cubicBezTo>
                      <a:pt x="1" y="4"/>
                      <a:pt x="0" y="4"/>
                      <a:pt x="2" y="9"/>
                    </a:cubicBezTo>
                    <a:cubicBezTo>
                      <a:pt x="3" y="6"/>
                      <a:pt x="4" y="8"/>
                      <a:pt x="3" y="6"/>
                    </a:cubicBezTo>
                    <a:cubicBezTo>
                      <a:pt x="3" y="5"/>
                      <a:pt x="2" y="5"/>
                      <a:pt x="2" y="4"/>
                    </a:cubicBezTo>
                    <a:cubicBezTo>
                      <a:pt x="2"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3" name="Freeform 200"/>
              <p:cNvSpPr/>
              <p:nvPr/>
            </p:nvSpPr>
            <p:spPr bwMode="auto">
              <a:xfrm>
                <a:off x="3724" y="1562"/>
                <a:ext cx="10" cy="9"/>
              </a:xfrm>
              <a:custGeom>
                <a:gdLst>
                  <a:gd name="T0" fmla="*/ 0 w 4"/>
                  <a:gd name="T1" fmla="*/ 0 h 4"/>
                  <a:gd name="T2" fmla="*/ 2 w 4"/>
                  <a:gd name="T3" fmla="*/ 4 h 4"/>
                  <a:gd name="T4" fmla="*/ 0 w 4"/>
                  <a:gd name="T5" fmla="*/ 0 h 4"/>
                </a:gdLst>
                <a:cxnLst>
                  <a:cxn ang="0">
                    <a:pos x="T0" y="T1"/>
                  </a:cxn>
                  <a:cxn ang="0">
                    <a:pos x="T2" y="T3"/>
                  </a:cxn>
                  <a:cxn ang="0">
                    <a:pos x="T4" y="T5"/>
                  </a:cxn>
                </a:cxnLst>
                <a:rect l="0" t="0" r="r" b="b"/>
                <a:pathLst>
                  <a:path w="4" h="4">
                    <a:moveTo>
                      <a:pt x="0" y="0"/>
                    </a:moveTo>
                    <a:cubicBezTo>
                      <a:pt x="1" y="2"/>
                      <a:pt x="1" y="3"/>
                      <a:pt x="2" y="4"/>
                    </a:cubicBezTo>
                    <a:cubicBezTo>
                      <a:pt x="4"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201"/>
              <p:cNvSpPr/>
              <p:nvPr/>
            </p:nvSpPr>
            <p:spPr bwMode="auto">
              <a:xfrm>
                <a:off x="3729" y="1574"/>
                <a:ext cx="16" cy="7"/>
              </a:xfrm>
              <a:custGeom>
                <a:gdLst>
                  <a:gd name="T0" fmla="*/ 4 w 7"/>
                  <a:gd name="T1" fmla="*/ 0 h 3"/>
                  <a:gd name="T2" fmla="*/ 0 w 7"/>
                  <a:gd name="T3" fmla="*/ 3 h 3"/>
                  <a:gd name="T4" fmla="*/ 7 w 7"/>
                  <a:gd name="T5" fmla="*/ 0 h 3"/>
                  <a:gd name="T6" fmla="*/ 4 w 7"/>
                  <a:gd name="T7" fmla="*/ 0 h 3"/>
                </a:gdLst>
                <a:cxnLst>
                  <a:cxn ang="0">
                    <a:pos x="T0" y="T1"/>
                  </a:cxn>
                  <a:cxn ang="0">
                    <a:pos x="T2" y="T3"/>
                  </a:cxn>
                  <a:cxn ang="0">
                    <a:pos x="T4" y="T5"/>
                  </a:cxn>
                  <a:cxn ang="0">
                    <a:pos x="T6" y="T7"/>
                  </a:cxn>
                </a:cxnLst>
                <a:rect l="0" t="0" r="r" b="b"/>
                <a:pathLst>
                  <a:path w="7" h="3">
                    <a:moveTo>
                      <a:pt x="4" y="0"/>
                    </a:moveTo>
                    <a:cubicBezTo>
                      <a:pt x="2" y="0"/>
                      <a:pt x="1" y="1"/>
                      <a:pt x="0" y="3"/>
                    </a:cubicBezTo>
                    <a:cubicBezTo>
                      <a:pt x="1" y="1"/>
                      <a:pt x="5" y="2"/>
                      <a:pt x="7"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5" name="Freeform 202"/>
              <p:cNvSpPr/>
              <p:nvPr/>
            </p:nvSpPr>
            <p:spPr bwMode="auto">
              <a:xfrm flipH="1">
                <a:off x="3767" y="1586"/>
                <a:ext cx="0" cy="7"/>
              </a:xfrm>
              <a:custGeom>
                <a:gdLst>
                  <a:gd name="T0" fmla="*/ 0 h 3"/>
                  <a:gd name="T1" fmla="*/ 3 h 3"/>
                  <a:gd name="T2" fmla="*/ 0 h 3"/>
                </a:gdLst>
                <a:cxnLst>
                  <a:cxn ang="0">
                    <a:pos x="0" y="T0"/>
                  </a:cxn>
                  <a:cxn ang="0">
                    <a:pos x="0" y="T1"/>
                  </a:cxn>
                  <a:cxn ang="0">
                    <a:pos x="0" y="T2"/>
                  </a:cxn>
                </a:cxnLst>
                <a:rect l="0" t="0" r="r" b="b"/>
                <a:pathLst>
                  <a:path h="3">
                    <a:moveTo>
                      <a:pt x="0" y="0"/>
                    </a:moveTo>
                    <a:cubicBezTo>
                      <a:pt x="0" y="1"/>
                      <a:pt x="0" y="2"/>
                      <a:pt x="0"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203"/>
              <p:cNvSpPr/>
              <p:nvPr/>
            </p:nvSpPr>
            <p:spPr bwMode="auto">
              <a:xfrm>
                <a:off x="3677" y="1484"/>
                <a:ext cx="16" cy="23"/>
              </a:xfrm>
              <a:custGeom>
                <a:gdLst>
                  <a:gd name="T0" fmla="*/ 2 w 7"/>
                  <a:gd name="T1" fmla="*/ 0 h 10"/>
                  <a:gd name="T2" fmla="*/ 0 w 7"/>
                  <a:gd name="T3" fmla="*/ 1 h 10"/>
                  <a:gd name="T4" fmla="*/ 3 w 7"/>
                  <a:gd name="T5" fmla="*/ 10 h 10"/>
                  <a:gd name="T6" fmla="*/ 5 w 7"/>
                  <a:gd name="T7" fmla="*/ 2 h 10"/>
                  <a:gd name="T8" fmla="*/ 4 w 7"/>
                  <a:gd name="T9" fmla="*/ 0 h 10"/>
                  <a:gd name="T10" fmla="*/ 2 w 7"/>
                  <a:gd name="T11" fmla="*/ 0 h 10"/>
                </a:gdLst>
                <a:cxnLst>
                  <a:cxn ang="0">
                    <a:pos x="T0" y="T1"/>
                  </a:cxn>
                  <a:cxn ang="0">
                    <a:pos x="T2" y="T3"/>
                  </a:cxn>
                  <a:cxn ang="0">
                    <a:pos x="T4" y="T5"/>
                  </a:cxn>
                  <a:cxn ang="0">
                    <a:pos x="T6" y="T7"/>
                  </a:cxn>
                  <a:cxn ang="0">
                    <a:pos x="T8" y="T9"/>
                  </a:cxn>
                  <a:cxn ang="0">
                    <a:pos x="T10" y="T11"/>
                  </a:cxn>
                </a:cxnLst>
                <a:rect l="0" t="0" r="r" b="b"/>
                <a:pathLst>
                  <a:path w="7" h="10">
                    <a:moveTo>
                      <a:pt x="2" y="0"/>
                    </a:moveTo>
                    <a:cubicBezTo>
                      <a:pt x="1" y="0"/>
                      <a:pt x="0" y="0"/>
                      <a:pt x="0" y="1"/>
                    </a:cubicBezTo>
                    <a:cubicBezTo>
                      <a:pt x="0" y="6"/>
                      <a:pt x="0" y="7"/>
                      <a:pt x="3" y="10"/>
                    </a:cubicBezTo>
                    <a:cubicBezTo>
                      <a:pt x="5" y="8"/>
                      <a:pt x="7" y="5"/>
                      <a:pt x="5" y="2"/>
                    </a:cubicBezTo>
                    <a:cubicBezTo>
                      <a:pt x="7" y="1"/>
                      <a:pt x="5" y="0"/>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7" name="Freeform 204"/>
              <p:cNvSpPr/>
              <p:nvPr/>
            </p:nvSpPr>
            <p:spPr bwMode="auto">
              <a:xfrm>
                <a:off x="9025" y="2699"/>
                <a:ext cx="14" cy="14"/>
              </a:xfrm>
              <a:custGeom>
                <a:gdLst>
                  <a:gd name="T0" fmla="*/ 6 w 6"/>
                  <a:gd name="T1" fmla="*/ 0 h 6"/>
                  <a:gd name="T2" fmla="*/ 4 w 6"/>
                  <a:gd name="T3" fmla="*/ 0 h 6"/>
                  <a:gd name="T4" fmla="*/ 0 w 6"/>
                  <a:gd name="T5" fmla="*/ 2 h 6"/>
                  <a:gd name="T6" fmla="*/ 0 w 6"/>
                  <a:gd name="T7" fmla="*/ 2 h 6"/>
                  <a:gd name="T8" fmla="*/ 1 w 6"/>
                  <a:gd name="T9" fmla="*/ 6 h 6"/>
                  <a:gd name="T10" fmla="*/ 1 w 6"/>
                  <a:gd name="T11" fmla="*/ 6 h 6"/>
                  <a:gd name="T12" fmla="*/ 6 w 6"/>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cubicBezTo>
                      <a:pt x="5" y="0"/>
                      <a:pt x="4" y="0"/>
                      <a:pt x="4" y="0"/>
                    </a:cubicBezTo>
                    <a:cubicBezTo>
                      <a:pt x="2" y="1"/>
                      <a:pt x="1" y="2"/>
                      <a:pt x="0" y="2"/>
                    </a:cubicBezTo>
                    <a:cubicBezTo>
                      <a:pt x="0" y="2"/>
                      <a:pt x="0" y="2"/>
                      <a:pt x="0" y="2"/>
                    </a:cubicBezTo>
                    <a:cubicBezTo>
                      <a:pt x="0" y="3"/>
                      <a:pt x="0" y="5"/>
                      <a:pt x="1" y="6"/>
                    </a:cubicBezTo>
                    <a:cubicBezTo>
                      <a:pt x="1" y="6"/>
                      <a:pt x="1" y="6"/>
                      <a:pt x="1" y="6"/>
                    </a:cubicBezTo>
                    <a:cubicBezTo>
                      <a:pt x="3" y="6"/>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7" name="Group 406"/>
            <p:cNvGrpSpPr/>
            <p:nvPr/>
          </p:nvGrpSpPr>
          <p:grpSpPr>
            <a:xfrm>
              <a:off x="1" y="2713"/>
              <a:ext cx="9718937" cy="6857999"/>
              <a:chOff x="3665" y="-1611"/>
              <a:chExt cx="7066" cy="4986"/>
            </a:xfrm>
            <a:grpFill/>
          </p:grpSpPr>
          <p:sp>
            <p:nvSpPr>
              <p:cNvPr id="688" name="Freeform 206"/>
              <p:cNvSpPr/>
              <p:nvPr/>
            </p:nvSpPr>
            <p:spPr bwMode="auto">
              <a:xfrm>
                <a:off x="8729" y="2884"/>
                <a:ext cx="5" cy="4"/>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0" y="2"/>
                    </a:cubicBezTo>
                    <a:cubicBezTo>
                      <a:pt x="1"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207"/>
              <p:cNvSpPr/>
              <p:nvPr/>
            </p:nvSpPr>
            <p:spPr bwMode="auto">
              <a:xfrm>
                <a:off x="9849" y="3070"/>
                <a:ext cx="5" cy="5"/>
              </a:xfrm>
              <a:custGeom>
                <a:gdLst>
                  <a:gd name="T0" fmla="*/ 2 w 2"/>
                  <a:gd name="T1" fmla="*/ 0 h 2"/>
                  <a:gd name="T2" fmla="*/ 0 w 2"/>
                  <a:gd name="T3" fmla="*/ 1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0"/>
                      <a:pt x="0" y="1"/>
                      <a:pt x="0" y="1"/>
                    </a:cubicBezTo>
                    <a:cubicBezTo>
                      <a:pt x="0" y="2"/>
                      <a:pt x="1" y="2"/>
                      <a:pt x="1"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208"/>
              <p:cNvSpPr/>
              <p:nvPr/>
            </p:nvSpPr>
            <p:spPr bwMode="auto">
              <a:xfrm>
                <a:off x="9637" y="2999"/>
                <a:ext cx="7" cy="7"/>
              </a:xfrm>
              <a:custGeom>
                <a:gdLst>
                  <a:gd name="T0" fmla="*/ 0 w 3"/>
                  <a:gd name="T1" fmla="*/ 0 h 3"/>
                  <a:gd name="T2" fmla="*/ 0 w 3"/>
                  <a:gd name="T3" fmla="*/ 3 h 3"/>
                  <a:gd name="T4" fmla="*/ 2 w 3"/>
                  <a:gd name="T5" fmla="*/ 2 h 3"/>
                  <a:gd name="T6" fmla="*/ 0 w 3"/>
                  <a:gd name="T7" fmla="*/ 0 h 3"/>
                </a:gdLst>
                <a:cxnLst>
                  <a:cxn ang="0">
                    <a:pos x="T0" y="T1"/>
                  </a:cxn>
                  <a:cxn ang="0">
                    <a:pos x="T2" y="T3"/>
                  </a:cxn>
                  <a:cxn ang="0">
                    <a:pos x="T4" y="T5"/>
                  </a:cxn>
                  <a:cxn ang="0">
                    <a:pos x="T6" y="T7"/>
                  </a:cxn>
                </a:cxnLst>
                <a:rect l="0" t="0" r="r" b="b"/>
                <a:pathLst>
                  <a:path w="3" h="3">
                    <a:moveTo>
                      <a:pt x="0" y="0"/>
                    </a:moveTo>
                    <a:cubicBezTo>
                      <a:pt x="0" y="1"/>
                      <a:pt x="0" y="2"/>
                      <a:pt x="0" y="3"/>
                    </a:cubicBezTo>
                    <a:cubicBezTo>
                      <a:pt x="1" y="3"/>
                      <a:pt x="2" y="3"/>
                      <a:pt x="2" y="2"/>
                    </a:cubicBezTo>
                    <a:cubicBezTo>
                      <a:pt x="3"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209"/>
              <p:cNvSpPr/>
              <p:nvPr/>
            </p:nvSpPr>
            <p:spPr bwMode="auto">
              <a:xfrm>
                <a:off x="9069" y="2628"/>
                <a:ext cx="3" cy="10"/>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1"/>
                      <a:pt x="0" y="2"/>
                      <a:pt x="0" y="4"/>
                    </a:cubicBezTo>
                    <a:cubicBezTo>
                      <a:pt x="0"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210"/>
              <p:cNvSpPr/>
              <p:nvPr/>
            </p:nvSpPr>
            <p:spPr bwMode="auto">
              <a:xfrm>
                <a:off x="9074" y="2621"/>
                <a:ext cx="5" cy="7"/>
              </a:xfrm>
              <a:custGeom>
                <a:gdLst>
                  <a:gd name="T0" fmla="*/ 2 w 2"/>
                  <a:gd name="T1" fmla="*/ 0 h 3"/>
                  <a:gd name="T2" fmla="*/ 2 w 2"/>
                  <a:gd name="T3" fmla="*/ 0 h 3"/>
                  <a:gd name="T4" fmla="*/ 0 w 2"/>
                  <a:gd name="T5" fmla="*/ 3 h 3"/>
                  <a:gd name="T6" fmla="*/ 2 w 2"/>
                  <a:gd name="T7" fmla="*/ 0 h 3"/>
                  <a:gd name="T8" fmla="*/ 2 w 2"/>
                  <a:gd name="T9" fmla="*/ 0 h 3"/>
                </a:gdLst>
                <a:cxnLst>
                  <a:cxn ang="0">
                    <a:pos x="T0" y="T1"/>
                  </a:cxn>
                  <a:cxn ang="0">
                    <a:pos x="T2" y="T3"/>
                  </a:cxn>
                  <a:cxn ang="0">
                    <a:pos x="T4" y="T5"/>
                  </a:cxn>
                  <a:cxn ang="0">
                    <a:pos x="T6" y="T7"/>
                  </a:cxn>
                  <a:cxn ang="0">
                    <a:pos x="T8" y="T9"/>
                  </a:cxn>
                </a:cxnLst>
                <a:rect l="0" t="0" r="r" b="b"/>
                <a:pathLst>
                  <a:path w="2" h="3">
                    <a:moveTo>
                      <a:pt x="2" y="0"/>
                    </a:moveTo>
                    <a:cubicBezTo>
                      <a:pt x="2" y="0"/>
                      <a:pt x="2" y="0"/>
                      <a:pt x="2" y="0"/>
                    </a:cubicBezTo>
                    <a:cubicBezTo>
                      <a:pt x="1" y="1"/>
                      <a:pt x="1" y="2"/>
                      <a:pt x="0" y="3"/>
                    </a:cubicBezTo>
                    <a:cubicBezTo>
                      <a:pt x="1" y="2"/>
                      <a:pt x="1"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211"/>
              <p:cNvSpPr/>
              <p:nvPr/>
            </p:nvSpPr>
            <p:spPr bwMode="auto">
              <a:xfrm>
                <a:off x="9074" y="2486"/>
                <a:ext cx="5" cy="5"/>
              </a:xfrm>
              <a:custGeom>
                <a:gdLst>
                  <a:gd name="T0" fmla="*/ 2 w 2"/>
                  <a:gd name="T1" fmla="*/ 0 h 2"/>
                  <a:gd name="T2" fmla="*/ 0 w 2"/>
                  <a:gd name="T3" fmla="*/ 2 h 2"/>
                  <a:gd name="T4" fmla="*/ 0 w 2"/>
                  <a:gd name="T5" fmla="*/ 2 h 2"/>
                  <a:gd name="T6" fmla="*/ 1 w 2"/>
                  <a:gd name="T7" fmla="*/ 2 h 2"/>
                  <a:gd name="T8" fmla="*/ 2 w 2"/>
                  <a:gd name="T9" fmla="*/ 0 h 2"/>
                </a:gdLst>
                <a:cxnLst>
                  <a:cxn ang="0">
                    <a:pos x="T0" y="T1"/>
                  </a:cxn>
                  <a:cxn ang="0">
                    <a:pos x="T2" y="T3"/>
                  </a:cxn>
                  <a:cxn ang="0">
                    <a:pos x="T4" y="T5"/>
                  </a:cxn>
                  <a:cxn ang="0">
                    <a:pos x="T6" y="T7"/>
                  </a:cxn>
                  <a:cxn ang="0">
                    <a:pos x="T8" y="T9"/>
                  </a:cxn>
                </a:cxnLst>
                <a:rect l="0" t="0" r="r" b="b"/>
                <a:pathLst>
                  <a:path w="2" h="2">
                    <a:moveTo>
                      <a:pt x="2" y="0"/>
                    </a:moveTo>
                    <a:cubicBezTo>
                      <a:pt x="1" y="1"/>
                      <a:pt x="1" y="1"/>
                      <a:pt x="0" y="2"/>
                    </a:cubicBezTo>
                    <a:cubicBezTo>
                      <a:pt x="0" y="2"/>
                      <a:pt x="0" y="2"/>
                      <a:pt x="0" y="2"/>
                    </a:cubicBezTo>
                    <a:cubicBezTo>
                      <a:pt x="1" y="2"/>
                      <a:pt x="1" y="2"/>
                      <a:pt x="1" y="2"/>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212"/>
              <p:cNvSpPr/>
              <p:nvPr/>
            </p:nvSpPr>
            <p:spPr bwMode="auto">
              <a:xfrm>
                <a:off x="7148" y="2798"/>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1"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213"/>
              <p:cNvSpPr/>
              <p:nvPr/>
            </p:nvSpPr>
            <p:spPr bwMode="auto">
              <a:xfrm>
                <a:off x="6933" y="2853"/>
                <a:ext cx="3"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214"/>
              <p:cNvSpPr/>
              <p:nvPr/>
            </p:nvSpPr>
            <p:spPr bwMode="auto">
              <a:xfrm>
                <a:off x="6936" y="2860"/>
                <a:ext cx="2" cy="5"/>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1" y="0"/>
                      <a:pt x="0" y="1"/>
                      <a:pt x="0"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215"/>
              <p:cNvSpPr/>
              <p:nvPr/>
            </p:nvSpPr>
            <p:spPr bwMode="auto">
              <a:xfrm>
                <a:off x="6900" y="2562"/>
                <a:ext cx="5" cy="14"/>
              </a:xfrm>
              <a:custGeom>
                <a:gdLst>
                  <a:gd name="T0" fmla="*/ 2 w 2"/>
                  <a:gd name="T1" fmla="*/ 0 h 6"/>
                  <a:gd name="T2" fmla="*/ 2 w 2"/>
                  <a:gd name="T3" fmla="*/ 6 h 6"/>
                  <a:gd name="T4" fmla="*/ 2 w 2"/>
                  <a:gd name="T5" fmla="*/ 0 h 6"/>
                </a:gdLst>
                <a:cxnLst>
                  <a:cxn ang="0">
                    <a:pos x="T0" y="T1"/>
                  </a:cxn>
                  <a:cxn ang="0">
                    <a:pos x="T2" y="T3"/>
                  </a:cxn>
                  <a:cxn ang="0">
                    <a:pos x="T4" y="T5"/>
                  </a:cxn>
                </a:cxnLst>
                <a:rect l="0" t="0" r="r" b="b"/>
                <a:pathLst>
                  <a:path w="2" h="6">
                    <a:moveTo>
                      <a:pt x="2" y="0"/>
                    </a:moveTo>
                    <a:cubicBezTo>
                      <a:pt x="0" y="2"/>
                      <a:pt x="0" y="5"/>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216"/>
              <p:cNvSpPr/>
              <p:nvPr/>
            </p:nvSpPr>
            <p:spPr bwMode="auto">
              <a:xfrm>
                <a:off x="6926" y="2779"/>
                <a:ext cx="2" cy="8"/>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1" y="2"/>
                      <a:pt x="1" y="3"/>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217"/>
              <p:cNvSpPr/>
              <p:nvPr/>
            </p:nvSpPr>
            <p:spPr bwMode="auto">
              <a:xfrm>
                <a:off x="6938" y="2716"/>
                <a:ext cx="2" cy="9"/>
              </a:xfrm>
              <a:custGeom>
                <a:gdLst>
                  <a:gd name="T0" fmla="*/ 0 w 1"/>
                  <a:gd name="T1" fmla="*/ 0 h 4"/>
                  <a:gd name="T2" fmla="*/ 0 w 1"/>
                  <a:gd name="T3" fmla="*/ 3 h 4"/>
                  <a:gd name="T4" fmla="*/ 0 w 1"/>
                  <a:gd name="T5" fmla="*/ 4 h 4"/>
                  <a:gd name="T6" fmla="*/ 1 w 1"/>
                  <a:gd name="T7" fmla="*/ 3 h 4"/>
                  <a:gd name="T8" fmla="*/ 0 w 1"/>
                  <a:gd name="T9" fmla="*/ 0 h 4"/>
                </a:gdLst>
                <a:cxnLst>
                  <a:cxn ang="0">
                    <a:pos x="T0" y="T1"/>
                  </a:cxn>
                  <a:cxn ang="0">
                    <a:pos x="T2" y="T3"/>
                  </a:cxn>
                  <a:cxn ang="0">
                    <a:pos x="T4" y="T5"/>
                  </a:cxn>
                  <a:cxn ang="0">
                    <a:pos x="T6" y="T7"/>
                  </a:cxn>
                  <a:cxn ang="0">
                    <a:pos x="T8" y="T9"/>
                  </a:cxn>
                </a:cxnLst>
                <a:rect l="0" t="0" r="r" b="b"/>
                <a:pathLst>
                  <a:path w="1" h="4">
                    <a:moveTo>
                      <a:pt x="0" y="0"/>
                    </a:moveTo>
                    <a:cubicBezTo>
                      <a:pt x="0" y="1"/>
                      <a:pt x="0" y="2"/>
                      <a:pt x="0" y="3"/>
                    </a:cubicBezTo>
                    <a:cubicBezTo>
                      <a:pt x="0" y="4"/>
                      <a:pt x="0" y="4"/>
                      <a:pt x="0" y="4"/>
                    </a:cubicBezTo>
                    <a:cubicBezTo>
                      <a:pt x="1" y="4"/>
                      <a:pt x="1"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218"/>
              <p:cNvSpPr/>
              <p:nvPr/>
            </p:nvSpPr>
            <p:spPr bwMode="auto">
              <a:xfrm>
                <a:off x="6938" y="2739"/>
                <a:ext cx="12" cy="14"/>
              </a:xfrm>
              <a:custGeom>
                <a:gdLst>
                  <a:gd name="T0" fmla="*/ 1 w 5"/>
                  <a:gd name="T1" fmla="*/ 0 h 6"/>
                  <a:gd name="T2" fmla="*/ 1 w 5"/>
                  <a:gd name="T3" fmla="*/ 0 h 6"/>
                  <a:gd name="T4" fmla="*/ 1 w 5"/>
                  <a:gd name="T5" fmla="*/ 6 h 6"/>
                  <a:gd name="T6" fmla="*/ 1 w 5"/>
                  <a:gd name="T7" fmla="*/ 0 h 6"/>
                  <a:gd name="T8" fmla="*/ 1 w 5"/>
                  <a:gd name="T9" fmla="*/ 0 h 6"/>
                </a:gdLst>
                <a:cxnLst>
                  <a:cxn ang="0">
                    <a:pos x="T0" y="T1"/>
                  </a:cxn>
                  <a:cxn ang="0">
                    <a:pos x="T2" y="T3"/>
                  </a:cxn>
                  <a:cxn ang="0">
                    <a:pos x="T4" y="T5"/>
                  </a:cxn>
                  <a:cxn ang="0">
                    <a:pos x="T6" y="T7"/>
                  </a:cxn>
                  <a:cxn ang="0">
                    <a:pos x="T8" y="T9"/>
                  </a:cxn>
                </a:cxnLst>
                <a:rect l="0" t="0" r="r" b="b"/>
                <a:pathLst>
                  <a:path w="5" h="6">
                    <a:moveTo>
                      <a:pt x="1" y="0"/>
                    </a:moveTo>
                    <a:cubicBezTo>
                      <a:pt x="1" y="0"/>
                      <a:pt x="1" y="0"/>
                      <a:pt x="1" y="0"/>
                    </a:cubicBezTo>
                    <a:cubicBezTo>
                      <a:pt x="0" y="2"/>
                      <a:pt x="1" y="4"/>
                      <a:pt x="1" y="6"/>
                    </a:cubicBezTo>
                    <a:cubicBezTo>
                      <a:pt x="5" y="6"/>
                      <a:pt x="4" y="1"/>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219"/>
              <p:cNvSpPr/>
              <p:nvPr/>
            </p:nvSpPr>
            <p:spPr bwMode="auto">
              <a:xfrm>
                <a:off x="6933" y="2779"/>
                <a:ext cx="7" cy="17"/>
              </a:xfrm>
              <a:custGeom>
                <a:gdLst>
                  <a:gd name="T0" fmla="*/ 2 w 3"/>
                  <a:gd name="T1" fmla="*/ 0 h 7"/>
                  <a:gd name="T2" fmla="*/ 0 w 3"/>
                  <a:gd name="T3" fmla="*/ 7 h 7"/>
                  <a:gd name="T4" fmla="*/ 2 w 3"/>
                  <a:gd name="T5" fmla="*/ 3 h 7"/>
                  <a:gd name="T6" fmla="*/ 2 w 3"/>
                  <a:gd name="T7" fmla="*/ 0 h 7"/>
                </a:gdLst>
                <a:cxnLst>
                  <a:cxn ang="0">
                    <a:pos x="T0" y="T1"/>
                  </a:cxn>
                  <a:cxn ang="0">
                    <a:pos x="T2" y="T3"/>
                  </a:cxn>
                  <a:cxn ang="0">
                    <a:pos x="T4" y="T5"/>
                  </a:cxn>
                  <a:cxn ang="0">
                    <a:pos x="T6" y="T7"/>
                  </a:cxn>
                </a:cxnLst>
                <a:rect l="0" t="0" r="r" b="b"/>
                <a:pathLst>
                  <a:path w="3" h="7">
                    <a:moveTo>
                      <a:pt x="2" y="0"/>
                    </a:moveTo>
                    <a:cubicBezTo>
                      <a:pt x="1" y="2"/>
                      <a:pt x="1" y="4"/>
                      <a:pt x="0" y="7"/>
                    </a:cubicBezTo>
                    <a:cubicBezTo>
                      <a:pt x="3" y="6"/>
                      <a:pt x="2" y="5"/>
                      <a:pt x="2" y="3"/>
                    </a:cubicBezTo>
                    <a:cubicBezTo>
                      <a:pt x="2" y="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220"/>
              <p:cNvSpPr/>
              <p:nvPr/>
            </p:nvSpPr>
            <p:spPr bwMode="auto">
              <a:xfrm>
                <a:off x="6940" y="2779"/>
                <a:ext cx="12" cy="12"/>
              </a:xfrm>
              <a:custGeom>
                <a:gdLst>
                  <a:gd name="T0" fmla="*/ 3 w 5"/>
                  <a:gd name="T1" fmla="*/ 0 h 5"/>
                  <a:gd name="T2" fmla="*/ 2 w 5"/>
                  <a:gd name="T3" fmla="*/ 0 h 5"/>
                  <a:gd name="T4" fmla="*/ 2 w 5"/>
                  <a:gd name="T5" fmla="*/ 3 h 5"/>
                  <a:gd name="T6" fmla="*/ 2 w 5"/>
                  <a:gd name="T7" fmla="*/ 4 h 5"/>
                  <a:gd name="T8" fmla="*/ 4 w 5"/>
                  <a:gd name="T9" fmla="*/ 5 h 5"/>
                  <a:gd name="T10" fmla="*/ 4 w 5"/>
                  <a:gd name="T11" fmla="*/ 1 h 5"/>
                  <a:gd name="T12" fmla="*/ 4 w 5"/>
                  <a:gd name="T13" fmla="*/ 0 h 5"/>
                  <a:gd name="T14" fmla="*/ 3 w 5"/>
                  <a:gd name="T15" fmla="*/ 0 h 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3" y="0"/>
                    </a:moveTo>
                    <a:cubicBezTo>
                      <a:pt x="3" y="0"/>
                      <a:pt x="2" y="0"/>
                      <a:pt x="2" y="0"/>
                    </a:cubicBezTo>
                    <a:cubicBezTo>
                      <a:pt x="0" y="0"/>
                      <a:pt x="1" y="3"/>
                      <a:pt x="2" y="3"/>
                    </a:cubicBezTo>
                    <a:cubicBezTo>
                      <a:pt x="2" y="4"/>
                      <a:pt x="2" y="4"/>
                      <a:pt x="2" y="4"/>
                    </a:cubicBezTo>
                    <a:cubicBezTo>
                      <a:pt x="3" y="4"/>
                      <a:pt x="3" y="4"/>
                      <a:pt x="4" y="5"/>
                    </a:cubicBezTo>
                    <a:cubicBezTo>
                      <a:pt x="4" y="5"/>
                      <a:pt x="5" y="2"/>
                      <a:pt x="4" y="1"/>
                    </a:cubicBezTo>
                    <a:cubicBezTo>
                      <a:pt x="4" y="0"/>
                      <a:pt x="4" y="0"/>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221"/>
              <p:cNvSpPr/>
              <p:nvPr/>
            </p:nvSpPr>
            <p:spPr bwMode="auto">
              <a:xfrm>
                <a:off x="6926" y="2751"/>
                <a:ext cx="5" cy="5"/>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1"/>
                      <a:pt x="0" y="2"/>
                      <a:pt x="0" y="2"/>
                    </a:cubicBezTo>
                    <a:cubicBezTo>
                      <a:pt x="1"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222"/>
              <p:cNvSpPr/>
              <p:nvPr/>
            </p:nvSpPr>
            <p:spPr bwMode="auto">
              <a:xfrm>
                <a:off x="6586" y="2271"/>
                <a:ext cx="21" cy="36"/>
              </a:xfrm>
              <a:custGeom>
                <a:gdLst>
                  <a:gd name="T0" fmla="*/ 4 w 9"/>
                  <a:gd name="T1" fmla="*/ 0 h 15"/>
                  <a:gd name="T2" fmla="*/ 4 w 9"/>
                  <a:gd name="T3" fmla="*/ 4 h 15"/>
                  <a:gd name="T4" fmla="*/ 4 w 9"/>
                  <a:gd name="T5" fmla="*/ 9 h 15"/>
                  <a:gd name="T6" fmla="*/ 4 w 9"/>
                  <a:gd name="T7" fmla="*/ 14 h 15"/>
                  <a:gd name="T8" fmla="*/ 4 w 9"/>
                  <a:gd name="T9" fmla="*/ 15 h 15"/>
                  <a:gd name="T10" fmla="*/ 4 w 9"/>
                  <a:gd name="T11" fmla="*/ 15 h 15"/>
                  <a:gd name="T12" fmla="*/ 4 w 9"/>
                  <a:gd name="T13" fmla="*/ 15 h 15"/>
                  <a:gd name="T14" fmla="*/ 5 w 9"/>
                  <a:gd name="T15" fmla="*/ 14 h 15"/>
                  <a:gd name="T16" fmla="*/ 6 w 9"/>
                  <a:gd name="T17" fmla="*/ 13 h 15"/>
                  <a:gd name="T18" fmla="*/ 6 w 9"/>
                  <a:gd name="T19" fmla="*/ 13 h 15"/>
                  <a:gd name="T20" fmla="*/ 5 w 9"/>
                  <a:gd name="T21" fmla="*/ 0 h 15"/>
                  <a:gd name="T22" fmla="*/ 4 w 9"/>
                  <a:gd name="T2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5">
                    <a:moveTo>
                      <a:pt x="4" y="0"/>
                    </a:moveTo>
                    <a:cubicBezTo>
                      <a:pt x="2" y="0"/>
                      <a:pt x="0" y="3"/>
                      <a:pt x="4" y="4"/>
                    </a:cubicBezTo>
                    <a:cubicBezTo>
                      <a:pt x="4" y="6"/>
                      <a:pt x="4" y="7"/>
                      <a:pt x="4" y="9"/>
                    </a:cubicBezTo>
                    <a:cubicBezTo>
                      <a:pt x="4" y="11"/>
                      <a:pt x="3" y="13"/>
                      <a:pt x="4" y="14"/>
                    </a:cubicBezTo>
                    <a:cubicBezTo>
                      <a:pt x="4" y="15"/>
                      <a:pt x="4" y="15"/>
                      <a:pt x="4" y="15"/>
                    </a:cubicBezTo>
                    <a:cubicBezTo>
                      <a:pt x="4" y="15"/>
                      <a:pt x="4" y="15"/>
                      <a:pt x="4" y="15"/>
                    </a:cubicBezTo>
                    <a:cubicBezTo>
                      <a:pt x="4" y="15"/>
                      <a:pt x="4" y="15"/>
                      <a:pt x="4" y="15"/>
                    </a:cubicBezTo>
                    <a:cubicBezTo>
                      <a:pt x="4" y="15"/>
                      <a:pt x="5" y="14"/>
                      <a:pt x="5" y="14"/>
                    </a:cubicBezTo>
                    <a:cubicBezTo>
                      <a:pt x="5" y="14"/>
                      <a:pt x="6" y="13"/>
                      <a:pt x="6" y="13"/>
                    </a:cubicBezTo>
                    <a:cubicBezTo>
                      <a:pt x="6" y="13"/>
                      <a:pt x="6" y="13"/>
                      <a:pt x="6" y="13"/>
                    </a:cubicBezTo>
                    <a:cubicBezTo>
                      <a:pt x="9" y="9"/>
                      <a:pt x="7" y="4"/>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223"/>
              <p:cNvSpPr/>
              <p:nvPr/>
            </p:nvSpPr>
            <p:spPr bwMode="auto">
              <a:xfrm>
                <a:off x="6647" y="2311"/>
                <a:ext cx="3"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1"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224"/>
              <p:cNvSpPr/>
              <p:nvPr/>
            </p:nvSpPr>
            <p:spPr bwMode="auto">
              <a:xfrm>
                <a:off x="6612" y="2281"/>
                <a:ext cx="7" cy="21"/>
              </a:xfrm>
              <a:custGeom>
                <a:gdLst>
                  <a:gd name="T0" fmla="*/ 1 w 3"/>
                  <a:gd name="T1" fmla="*/ 0 h 9"/>
                  <a:gd name="T2" fmla="*/ 0 w 3"/>
                  <a:gd name="T3" fmla="*/ 9 h 9"/>
                  <a:gd name="T4" fmla="*/ 3 w 3"/>
                  <a:gd name="T5" fmla="*/ 4 h 9"/>
                  <a:gd name="T6" fmla="*/ 1 w 3"/>
                  <a:gd name="T7" fmla="*/ 0 h 9"/>
                </a:gdLst>
                <a:cxnLst>
                  <a:cxn ang="0">
                    <a:pos x="T0" y="T1"/>
                  </a:cxn>
                  <a:cxn ang="0">
                    <a:pos x="T2" y="T3"/>
                  </a:cxn>
                  <a:cxn ang="0">
                    <a:pos x="T4" y="T5"/>
                  </a:cxn>
                  <a:cxn ang="0">
                    <a:pos x="T6" y="T7"/>
                  </a:cxn>
                </a:cxnLst>
                <a:rect l="0" t="0" r="r" b="b"/>
                <a:pathLst>
                  <a:path w="3" h="9">
                    <a:moveTo>
                      <a:pt x="1" y="0"/>
                    </a:moveTo>
                    <a:cubicBezTo>
                      <a:pt x="1" y="3"/>
                      <a:pt x="0" y="6"/>
                      <a:pt x="0" y="9"/>
                    </a:cubicBezTo>
                    <a:cubicBezTo>
                      <a:pt x="2" y="7"/>
                      <a:pt x="3" y="7"/>
                      <a:pt x="3" y="4"/>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225"/>
              <p:cNvSpPr/>
              <p:nvPr/>
            </p:nvSpPr>
            <p:spPr bwMode="auto">
              <a:xfrm>
                <a:off x="4785" y="2103"/>
                <a:ext cx="7" cy="22"/>
              </a:xfrm>
              <a:custGeom>
                <a:gdLst>
                  <a:gd name="T0" fmla="*/ 1 w 3"/>
                  <a:gd name="T1" fmla="*/ 0 h 9"/>
                  <a:gd name="T2" fmla="*/ 1 w 3"/>
                  <a:gd name="T3" fmla="*/ 0 h 9"/>
                  <a:gd name="T4" fmla="*/ 2 w 3"/>
                  <a:gd name="T5" fmla="*/ 9 h 9"/>
                  <a:gd name="T6" fmla="*/ 3 w 3"/>
                  <a:gd name="T7" fmla="*/ 4 h 9"/>
                  <a:gd name="T8" fmla="*/ 3 w 3"/>
                  <a:gd name="T9" fmla="*/ 1 h 9"/>
                  <a:gd name="T10" fmla="*/ 1 w 3"/>
                  <a:gd name="T11" fmla="*/ 0 h 9"/>
                </a:gdLst>
                <a:cxnLst>
                  <a:cxn ang="0">
                    <a:pos x="T0" y="T1"/>
                  </a:cxn>
                  <a:cxn ang="0">
                    <a:pos x="T2" y="T3"/>
                  </a:cxn>
                  <a:cxn ang="0">
                    <a:pos x="T4" y="T5"/>
                  </a:cxn>
                  <a:cxn ang="0">
                    <a:pos x="T6" y="T7"/>
                  </a:cxn>
                  <a:cxn ang="0">
                    <a:pos x="T8" y="T9"/>
                  </a:cxn>
                  <a:cxn ang="0">
                    <a:pos x="T10" y="T11"/>
                  </a:cxn>
                </a:cxnLst>
                <a:rect l="0" t="0" r="r" b="b"/>
                <a:pathLst>
                  <a:path w="3" h="9">
                    <a:moveTo>
                      <a:pt x="1" y="0"/>
                    </a:moveTo>
                    <a:cubicBezTo>
                      <a:pt x="1" y="0"/>
                      <a:pt x="1" y="0"/>
                      <a:pt x="1" y="0"/>
                    </a:cubicBezTo>
                    <a:cubicBezTo>
                      <a:pt x="0" y="1"/>
                      <a:pt x="2" y="8"/>
                      <a:pt x="2" y="9"/>
                    </a:cubicBezTo>
                    <a:cubicBezTo>
                      <a:pt x="3" y="8"/>
                      <a:pt x="3" y="6"/>
                      <a:pt x="3" y="4"/>
                    </a:cubicBezTo>
                    <a:cubicBezTo>
                      <a:pt x="3" y="3"/>
                      <a:pt x="1" y="1"/>
                      <a:pt x="3"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226"/>
              <p:cNvSpPr/>
              <p:nvPr/>
            </p:nvSpPr>
            <p:spPr bwMode="auto">
              <a:xfrm>
                <a:off x="5003" y="2068"/>
                <a:ext cx="44" cy="21"/>
              </a:xfrm>
              <a:custGeom>
                <a:gdLst>
                  <a:gd name="T0" fmla="*/ 16 w 19"/>
                  <a:gd name="T1" fmla="*/ 0 h 9"/>
                  <a:gd name="T2" fmla="*/ 13 w 19"/>
                  <a:gd name="T3" fmla="*/ 1 h 9"/>
                  <a:gd name="T4" fmla="*/ 10 w 19"/>
                  <a:gd name="T5" fmla="*/ 1 h 9"/>
                  <a:gd name="T6" fmla="*/ 7 w 19"/>
                  <a:gd name="T7" fmla="*/ 4 h 9"/>
                  <a:gd name="T8" fmla="*/ 5 w 19"/>
                  <a:gd name="T9" fmla="*/ 5 h 9"/>
                  <a:gd name="T10" fmla="*/ 0 w 19"/>
                  <a:gd name="T11" fmla="*/ 9 h 9"/>
                  <a:gd name="T12" fmla="*/ 2 w 19"/>
                  <a:gd name="T13" fmla="*/ 8 h 9"/>
                  <a:gd name="T14" fmla="*/ 11 w 19"/>
                  <a:gd name="T15" fmla="*/ 5 h 9"/>
                  <a:gd name="T16" fmla="*/ 11 w 19"/>
                  <a:gd name="T17" fmla="*/ 5 h 9"/>
                  <a:gd name="T18" fmla="*/ 12 w 19"/>
                  <a:gd name="T19" fmla="*/ 5 h 9"/>
                  <a:gd name="T20" fmla="*/ 13 w 19"/>
                  <a:gd name="T21" fmla="*/ 5 h 9"/>
                  <a:gd name="T22" fmla="*/ 13 w 19"/>
                  <a:gd name="T23" fmla="*/ 5 h 9"/>
                  <a:gd name="T24" fmla="*/ 15 w 19"/>
                  <a:gd name="T25" fmla="*/ 4 h 9"/>
                  <a:gd name="T26" fmla="*/ 19 w 19"/>
                  <a:gd name="T27" fmla="*/ 1 h 9"/>
                  <a:gd name="T28" fmla="*/ 17 w 19"/>
                  <a:gd name="T29" fmla="*/ 0 h 9"/>
                  <a:gd name="T30" fmla="*/ 16 w 19"/>
                  <a:gd name="T31"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9">
                    <a:moveTo>
                      <a:pt x="16" y="0"/>
                    </a:moveTo>
                    <a:cubicBezTo>
                      <a:pt x="15" y="0"/>
                      <a:pt x="14" y="0"/>
                      <a:pt x="13" y="1"/>
                    </a:cubicBezTo>
                    <a:cubicBezTo>
                      <a:pt x="10" y="1"/>
                      <a:pt x="10" y="1"/>
                      <a:pt x="10" y="1"/>
                    </a:cubicBezTo>
                    <a:cubicBezTo>
                      <a:pt x="8" y="2"/>
                      <a:pt x="10" y="3"/>
                      <a:pt x="7" y="4"/>
                    </a:cubicBezTo>
                    <a:cubicBezTo>
                      <a:pt x="7" y="5"/>
                      <a:pt x="6" y="5"/>
                      <a:pt x="5" y="5"/>
                    </a:cubicBezTo>
                    <a:cubicBezTo>
                      <a:pt x="3" y="6"/>
                      <a:pt x="1" y="7"/>
                      <a:pt x="0" y="9"/>
                    </a:cubicBezTo>
                    <a:cubicBezTo>
                      <a:pt x="1" y="9"/>
                      <a:pt x="1" y="9"/>
                      <a:pt x="2" y="8"/>
                    </a:cubicBezTo>
                    <a:cubicBezTo>
                      <a:pt x="5" y="7"/>
                      <a:pt x="8" y="6"/>
                      <a:pt x="11" y="5"/>
                    </a:cubicBezTo>
                    <a:cubicBezTo>
                      <a:pt x="11" y="5"/>
                      <a:pt x="11" y="5"/>
                      <a:pt x="11" y="5"/>
                    </a:cubicBezTo>
                    <a:cubicBezTo>
                      <a:pt x="12" y="5"/>
                      <a:pt x="12" y="5"/>
                      <a:pt x="12" y="5"/>
                    </a:cubicBezTo>
                    <a:cubicBezTo>
                      <a:pt x="12" y="5"/>
                      <a:pt x="12" y="5"/>
                      <a:pt x="13" y="5"/>
                    </a:cubicBezTo>
                    <a:cubicBezTo>
                      <a:pt x="13" y="5"/>
                      <a:pt x="13" y="5"/>
                      <a:pt x="13" y="5"/>
                    </a:cubicBezTo>
                    <a:cubicBezTo>
                      <a:pt x="14" y="5"/>
                      <a:pt x="15" y="4"/>
                      <a:pt x="15" y="4"/>
                    </a:cubicBezTo>
                    <a:cubicBezTo>
                      <a:pt x="17" y="3"/>
                      <a:pt x="17" y="1"/>
                      <a:pt x="19" y="1"/>
                    </a:cubicBezTo>
                    <a:cubicBezTo>
                      <a:pt x="18" y="1"/>
                      <a:pt x="18" y="0"/>
                      <a:pt x="17" y="0"/>
                    </a:cubicBezTo>
                    <a:cubicBezTo>
                      <a:pt x="17"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227"/>
              <p:cNvSpPr/>
              <p:nvPr/>
            </p:nvSpPr>
            <p:spPr bwMode="auto">
              <a:xfrm>
                <a:off x="4927" y="2198"/>
                <a:ext cx="21" cy="7"/>
              </a:xfrm>
              <a:custGeom>
                <a:gdLst>
                  <a:gd name="T0" fmla="*/ 4 w 9"/>
                  <a:gd name="T1" fmla="*/ 0 h 3"/>
                  <a:gd name="T2" fmla="*/ 0 w 9"/>
                  <a:gd name="T3" fmla="*/ 2 h 3"/>
                  <a:gd name="T4" fmla="*/ 3 w 9"/>
                  <a:gd name="T5" fmla="*/ 3 h 3"/>
                  <a:gd name="T6" fmla="*/ 5 w 9"/>
                  <a:gd name="T7" fmla="*/ 1 h 3"/>
                  <a:gd name="T8" fmla="*/ 4 w 9"/>
                  <a:gd name="T9" fmla="*/ 0 h 3"/>
                </a:gdLst>
                <a:cxnLst>
                  <a:cxn ang="0">
                    <a:pos x="T0" y="T1"/>
                  </a:cxn>
                  <a:cxn ang="0">
                    <a:pos x="T2" y="T3"/>
                  </a:cxn>
                  <a:cxn ang="0">
                    <a:pos x="T4" y="T5"/>
                  </a:cxn>
                  <a:cxn ang="0">
                    <a:pos x="T6" y="T7"/>
                  </a:cxn>
                  <a:cxn ang="0">
                    <a:pos x="T8" y="T9"/>
                  </a:cxn>
                </a:cxnLst>
                <a:rect l="0" t="0" r="r" b="b"/>
                <a:pathLst>
                  <a:path w="9" h="3">
                    <a:moveTo>
                      <a:pt x="4" y="0"/>
                    </a:moveTo>
                    <a:cubicBezTo>
                      <a:pt x="3" y="0"/>
                      <a:pt x="2" y="1"/>
                      <a:pt x="0" y="2"/>
                    </a:cubicBezTo>
                    <a:cubicBezTo>
                      <a:pt x="1" y="3"/>
                      <a:pt x="2" y="3"/>
                      <a:pt x="3" y="3"/>
                    </a:cubicBezTo>
                    <a:cubicBezTo>
                      <a:pt x="5" y="3"/>
                      <a:pt x="9" y="2"/>
                      <a:pt x="5" y="1"/>
                    </a:cubicBezTo>
                    <a:cubicBezTo>
                      <a:pt x="5"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228"/>
              <p:cNvSpPr/>
              <p:nvPr/>
            </p:nvSpPr>
            <p:spPr bwMode="auto">
              <a:xfrm>
                <a:off x="9247" y="3373"/>
                <a:ext cx="2" cy="2"/>
              </a:xfrm>
              <a:custGeom>
                <a:gdLst>
                  <a:gd name="T0" fmla="*/ 0 w 1"/>
                  <a:gd name="T1" fmla="*/ 0 h 1"/>
                  <a:gd name="T2" fmla="*/ 0 w 1"/>
                  <a:gd name="T3" fmla="*/ 1 h 1"/>
                  <a:gd name="T4" fmla="*/ 1 w 1"/>
                  <a:gd name="T5" fmla="*/ 1 h 1"/>
                  <a:gd name="T6" fmla="*/ 0 w 1"/>
                  <a:gd name="T7" fmla="*/ 0 h 1"/>
                </a:gdLst>
                <a:cxnLst>
                  <a:cxn ang="0">
                    <a:pos x="T0" y="T1"/>
                  </a:cxn>
                  <a:cxn ang="0">
                    <a:pos x="T2" y="T3"/>
                  </a:cxn>
                  <a:cxn ang="0">
                    <a:pos x="T4" y="T5"/>
                  </a:cxn>
                  <a:cxn ang="0">
                    <a:pos x="T6" y="T7"/>
                  </a:cxn>
                </a:cxnLst>
                <a:rect l="0" t="0" r="r" b="b"/>
                <a:pathLst>
                  <a:path w="1" h="1">
                    <a:moveTo>
                      <a:pt x="0" y="0"/>
                    </a:moveTo>
                    <a:cubicBezTo>
                      <a:pt x="0" y="1"/>
                      <a:pt x="0" y="1"/>
                      <a:pt x="0" y="1"/>
                    </a:cubicBezTo>
                    <a:cubicBezTo>
                      <a:pt x="1" y="1"/>
                      <a:pt x="1" y="1"/>
                      <a:pt x="1"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229"/>
              <p:cNvSpPr/>
              <p:nvPr/>
            </p:nvSpPr>
            <p:spPr bwMode="auto">
              <a:xfrm>
                <a:off x="7188" y="2841"/>
                <a:ext cx="12" cy="17"/>
              </a:xfrm>
              <a:custGeom>
                <a:gdLst>
                  <a:gd name="T0" fmla="*/ 3 w 5"/>
                  <a:gd name="T1" fmla="*/ 0 h 7"/>
                  <a:gd name="T2" fmla="*/ 2 w 5"/>
                  <a:gd name="T3" fmla="*/ 1 h 7"/>
                  <a:gd name="T4" fmla="*/ 0 w 5"/>
                  <a:gd name="T5" fmla="*/ 1 h 7"/>
                  <a:gd name="T6" fmla="*/ 0 w 5"/>
                  <a:gd name="T7" fmla="*/ 1 h 7"/>
                  <a:gd name="T8" fmla="*/ 3 w 5"/>
                  <a:gd name="T9" fmla="*/ 7 h 7"/>
                  <a:gd name="T10" fmla="*/ 5 w 5"/>
                  <a:gd name="T11" fmla="*/ 2 h 7"/>
                  <a:gd name="T12" fmla="*/ 3 w 5"/>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5" h="7">
                    <a:moveTo>
                      <a:pt x="3" y="0"/>
                    </a:moveTo>
                    <a:cubicBezTo>
                      <a:pt x="3" y="0"/>
                      <a:pt x="3" y="1"/>
                      <a:pt x="2" y="1"/>
                    </a:cubicBezTo>
                    <a:cubicBezTo>
                      <a:pt x="2" y="1"/>
                      <a:pt x="1" y="1"/>
                      <a:pt x="0" y="1"/>
                    </a:cubicBezTo>
                    <a:cubicBezTo>
                      <a:pt x="0" y="1"/>
                      <a:pt x="0" y="1"/>
                      <a:pt x="0" y="1"/>
                    </a:cubicBezTo>
                    <a:cubicBezTo>
                      <a:pt x="1" y="3"/>
                      <a:pt x="2" y="5"/>
                      <a:pt x="3" y="7"/>
                    </a:cubicBezTo>
                    <a:cubicBezTo>
                      <a:pt x="4" y="6"/>
                      <a:pt x="5" y="3"/>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230"/>
              <p:cNvSpPr>
                <a:spLocks noEditPoints="1"/>
              </p:cNvSpPr>
              <p:nvPr/>
            </p:nvSpPr>
            <p:spPr bwMode="auto">
              <a:xfrm>
                <a:off x="7257" y="2839"/>
                <a:ext cx="66" cy="42"/>
              </a:xfrm>
              <a:custGeom>
                <a:gdLst>
                  <a:gd name="T0" fmla="*/ 0 w 28"/>
                  <a:gd name="T1" fmla="*/ 0 h 18"/>
                  <a:gd name="T2" fmla="*/ 3 w 28"/>
                  <a:gd name="T3" fmla="*/ 3 h 18"/>
                  <a:gd name="T4" fmla="*/ 5 w 28"/>
                  <a:gd name="T5" fmla="*/ 6 h 18"/>
                  <a:gd name="T6" fmla="*/ 5 w 28"/>
                  <a:gd name="T7" fmla="*/ 6 h 18"/>
                  <a:gd name="T8" fmla="*/ 9 w 28"/>
                  <a:gd name="T9" fmla="*/ 9 h 18"/>
                  <a:gd name="T10" fmla="*/ 9 w 28"/>
                  <a:gd name="T11" fmla="*/ 9 h 18"/>
                  <a:gd name="T12" fmla="*/ 16 w 28"/>
                  <a:gd name="T13" fmla="*/ 14 h 18"/>
                  <a:gd name="T14" fmla="*/ 22 w 28"/>
                  <a:gd name="T15" fmla="*/ 18 h 18"/>
                  <a:gd name="T16" fmla="*/ 23 w 28"/>
                  <a:gd name="T17" fmla="*/ 17 h 18"/>
                  <a:gd name="T18" fmla="*/ 0 w 28"/>
                  <a:gd name="T19" fmla="*/ 0 h 18"/>
                  <a:gd name="T20" fmla="*/ 0 w 28"/>
                  <a:gd name="T21" fmla="*/ 0 h 18"/>
                  <a:gd name="T22" fmla="*/ 0 w 28"/>
                  <a:gd name="T23" fmla="*/ 0 h 18"/>
                  <a:gd name="T24" fmla="*/ 0 w 28"/>
                  <a:gd name="T2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8">
                    <a:moveTo>
                      <a:pt x="0" y="0"/>
                    </a:moveTo>
                    <a:cubicBezTo>
                      <a:pt x="0" y="1"/>
                      <a:pt x="2" y="2"/>
                      <a:pt x="3" y="3"/>
                    </a:cubicBezTo>
                    <a:cubicBezTo>
                      <a:pt x="3" y="4"/>
                      <a:pt x="4" y="5"/>
                      <a:pt x="5" y="6"/>
                    </a:cubicBezTo>
                    <a:cubicBezTo>
                      <a:pt x="5" y="6"/>
                      <a:pt x="5" y="6"/>
                      <a:pt x="5" y="6"/>
                    </a:cubicBezTo>
                    <a:cubicBezTo>
                      <a:pt x="7" y="7"/>
                      <a:pt x="8" y="8"/>
                      <a:pt x="9" y="9"/>
                    </a:cubicBezTo>
                    <a:cubicBezTo>
                      <a:pt x="9" y="9"/>
                      <a:pt x="9" y="9"/>
                      <a:pt x="9" y="9"/>
                    </a:cubicBezTo>
                    <a:cubicBezTo>
                      <a:pt x="11" y="11"/>
                      <a:pt x="13" y="12"/>
                      <a:pt x="16" y="14"/>
                    </a:cubicBezTo>
                    <a:cubicBezTo>
                      <a:pt x="17" y="15"/>
                      <a:pt x="20" y="18"/>
                      <a:pt x="22" y="18"/>
                    </a:cubicBezTo>
                    <a:cubicBezTo>
                      <a:pt x="22" y="18"/>
                      <a:pt x="22" y="18"/>
                      <a:pt x="23" y="17"/>
                    </a:cubicBezTo>
                    <a:cubicBezTo>
                      <a:pt x="28" y="12"/>
                      <a:pt x="0"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231"/>
              <p:cNvSpPr/>
              <p:nvPr/>
            </p:nvSpPr>
            <p:spPr bwMode="auto">
              <a:xfrm>
                <a:off x="7309" y="2917"/>
                <a:ext cx="7" cy="4"/>
              </a:xfrm>
              <a:custGeom>
                <a:gdLst>
                  <a:gd name="T0" fmla="*/ 3 w 3"/>
                  <a:gd name="T1" fmla="*/ 0 h 2"/>
                  <a:gd name="T2" fmla="*/ 1 w 3"/>
                  <a:gd name="T3" fmla="*/ 2 h 2"/>
                  <a:gd name="T4" fmla="*/ 3 w 3"/>
                  <a:gd name="T5" fmla="*/ 0 h 2"/>
                </a:gdLst>
                <a:cxnLst>
                  <a:cxn ang="0">
                    <a:pos x="T0" y="T1"/>
                  </a:cxn>
                  <a:cxn ang="0">
                    <a:pos x="T2" y="T3"/>
                  </a:cxn>
                  <a:cxn ang="0">
                    <a:pos x="T4" y="T5"/>
                  </a:cxn>
                </a:cxnLst>
                <a:rect l="0" t="0" r="r" b="b"/>
                <a:pathLst>
                  <a:path w="3" h="2">
                    <a:moveTo>
                      <a:pt x="3" y="0"/>
                    </a:moveTo>
                    <a:cubicBezTo>
                      <a:pt x="2" y="1"/>
                      <a:pt x="0" y="1"/>
                      <a:pt x="1" y="2"/>
                    </a:cubicBezTo>
                    <a:cubicBezTo>
                      <a:pt x="2"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232"/>
              <p:cNvSpPr/>
              <p:nvPr/>
            </p:nvSpPr>
            <p:spPr bwMode="auto">
              <a:xfrm>
                <a:off x="7288" y="2848"/>
                <a:ext cx="33" cy="21"/>
              </a:xfrm>
              <a:custGeom>
                <a:gdLst>
                  <a:gd name="T0" fmla="*/ 4 w 14"/>
                  <a:gd name="T1" fmla="*/ 0 h 9"/>
                  <a:gd name="T2" fmla="*/ 3 w 14"/>
                  <a:gd name="T3" fmla="*/ 1 h 9"/>
                  <a:gd name="T4" fmla="*/ 4 w 14"/>
                  <a:gd name="T5" fmla="*/ 1 h 9"/>
                  <a:gd name="T6" fmla="*/ 3 w 14"/>
                  <a:gd name="T7" fmla="*/ 1 h 9"/>
                  <a:gd name="T8" fmla="*/ 3 w 14"/>
                  <a:gd name="T9" fmla="*/ 1 h 9"/>
                  <a:gd name="T10" fmla="*/ 0 w 14"/>
                  <a:gd name="T11" fmla="*/ 0 h 9"/>
                  <a:gd name="T12" fmla="*/ 9 w 14"/>
                  <a:gd name="T13" fmla="*/ 7 h 9"/>
                  <a:gd name="T14" fmla="*/ 12 w 14"/>
                  <a:gd name="T15" fmla="*/ 9 h 9"/>
                  <a:gd name="T16" fmla="*/ 12 w 14"/>
                  <a:gd name="T17" fmla="*/ 8 h 9"/>
                  <a:gd name="T18" fmla="*/ 11 w 14"/>
                  <a:gd name="T19" fmla="*/ 7 h 9"/>
                  <a:gd name="T20" fmla="*/ 8 w 14"/>
                  <a:gd name="T21" fmla="*/ 5 h 9"/>
                  <a:gd name="T22" fmla="*/ 5 w 14"/>
                  <a:gd name="T23" fmla="*/ 1 h 9"/>
                  <a:gd name="T24" fmla="*/ 6 w 14"/>
                  <a:gd name="T25" fmla="*/ 2 h 9"/>
                  <a:gd name="T26" fmla="*/ 12 w 14"/>
                  <a:gd name="T27" fmla="*/ 6 h 9"/>
                  <a:gd name="T28" fmla="*/ 11 w 14"/>
                  <a:gd name="T29" fmla="*/ 3 h 9"/>
                  <a:gd name="T30" fmla="*/ 12 w 14"/>
                  <a:gd name="T31" fmla="*/ 3 h 9"/>
                  <a:gd name="T32" fmla="*/ 14 w 14"/>
                  <a:gd name="T33" fmla="*/ 2 h 9"/>
                  <a:gd name="T34" fmla="*/ 4 w 14"/>
                  <a:gd name="T35"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9">
                    <a:moveTo>
                      <a:pt x="4" y="0"/>
                    </a:moveTo>
                    <a:cubicBezTo>
                      <a:pt x="3" y="0"/>
                      <a:pt x="3" y="0"/>
                      <a:pt x="3" y="1"/>
                    </a:cubicBezTo>
                    <a:cubicBezTo>
                      <a:pt x="3" y="1"/>
                      <a:pt x="4" y="1"/>
                      <a:pt x="4" y="1"/>
                    </a:cubicBezTo>
                    <a:cubicBezTo>
                      <a:pt x="4" y="1"/>
                      <a:pt x="4" y="1"/>
                      <a:pt x="3" y="1"/>
                    </a:cubicBezTo>
                    <a:cubicBezTo>
                      <a:pt x="3" y="1"/>
                      <a:pt x="3" y="1"/>
                      <a:pt x="3" y="1"/>
                    </a:cubicBezTo>
                    <a:cubicBezTo>
                      <a:pt x="2" y="1"/>
                      <a:pt x="1" y="0"/>
                      <a:pt x="0" y="0"/>
                    </a:cubicBezTo>
                    <a:cubicBezTo>
                      <a:pt x="2" y="3"/>
                      <a:pt x="6" y="5"/>
                      <a:pt x="9" y="7"/>
                    </a:cubicBezTo>
                    <a:cubicBezTo>
                      <a:pt x="9" y="8"/>
                      <a:pt x="11" y="9"/>
                      <a:pt x="12" y="9"/>
                    </a:cubicBezTo>
                    <a:cubicBezTo>
                      <a:pt x="12" y="9"/>
                      <a:pt x="12" y="9"/>
                      <a:pt x="12" y="8"/>
                    </a:cubicBezTo>
                    <a:cubicBezTo>
                      <a:pt x="12" y="7"/>
                      <a:pt x="11" y="7"/>
                      <a:pt x="11" y="7"/>
                    </a:cubicBezTo>
                    <a:cubicBezTo>
                      <a:pt x="10" y="6"/>
                      <a:pt x="9" y="6"/>
                      <a:pt x="8" y="5"/>
                    </a:cubicBezTo>
                    <a:cubicBezTo>
                      <a:pt x="7" y="4"/>
                      <a:pt x="6" y="2"/>
                      <a:pt x="5" y="1"/>
                    </a:cubicBezTo>
                    <a:cubicBezTo>
                      <a:pt x="5" y="1"/>
                      <a:pt x="6" y="1"/>
                      <a:pt x="6" y="2"/>
                    </a:cubicBezTo>
                    <a:cubicBezTo>
                      <a:pt x="8" y="4"/>
                      <a:pt x="9" y="5"/>
                      <a:pt x="12" y="6"/>
                    </a:cubicBezTo>
                    <a:cubicBezTo>
                      <a:pt x="12" y="5"/>
                      <a:pt x="11" y="4"/>
                      <a:pt x="11" y="3"/>
                    </a:cubicBezTo>
                    <a:cubicBezTo>
                      <a:pt x="12" y="3"/>
                      <a:pt x="12" y="3"/>
                      <a:pt x="12" y="3"/>
                    </a:cubicBezTo>
                    <a:cubicBezTo>
                      <a:pt x="12" y="3"/>
                      <a:pt x="13" y="2"/>
                      <a:pt x="14" y="2"/>
                    </a:cubicBezTo>
                    <a:cubicBezTo>
                      <a:pt x="11" y="0"/>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233"/>
              <p:cNvSpPr/>
              <p:nvPr/>
            </p:nvSpPr>
            <p:spPr bwMode="auto">
              <a:xfrm>
                <a:off x="7323" y="2836"/>
                <a:ext cx="2" cy="7"/>
              </a:xfrm>
              <a:custGeom>
                <a:gdLst>
                  <a:gd name="T0" fmla="*/ 1 w 1"/>
                  <a:gd name="T1" fmla="*/ 0 h 3"/>
                  <a:gd name="T2" fmla="*/ 0 w 1"/>
                  <a:gd name="T3" fmla="*/ 0 h 3"/>
                  <a:gd name="T4" fmla="*/ 1 w 1"/>
                  <a:gd name="T5" fmla="*/ 3 h 3"/>
                  <a:gd name="T6" fmla="*/ 1 w 1"/>
                  <a:gd name="T7" fmla="*/ 0 h 3"/>
                </a:gdLst>
                <a:cxnLst>
                  <a:cxn ang="0">
                    <a:pos x="T0" y="T1"/>
                  </a:cxn>
                  <a:cxn ang="0">
                    <a:pos x="T2" y="T3"/>
                  </a:cxn>
                  <a:cxn ang="0">
                    <a:pos x="T4" y="T5"/>
                  </a:cxn>
                  <a:cxn ang="0">
                    <a:pos x="T6" y="T7"/>
                  </a:cxn>
                </a:cxnLst>
                <a:rect l="0" t="0" r="r" b="b"/>
                <a:pathLst>
                  <a:path w="1" h="3">
                    <a:moveTo>
                      <a:pt x="1" y="0"/>
                    </a:moveTo>
                    <a:cubicBezTo>
                      <a:pt x="0" y="0"/>
                      <a:pt x="0" y="0"/>
                      <a:pt x="0" y="0"/>
                    </a:cubicBez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234"/>
              <p:cNvSpPr/>
              <p:nvPr/>
            </p:nvSpPr>
            <p:spPr bwMode="auto">
              <a:xfrm>
                <a:off x="7919" y="2155"/>
                <a:ext cx="87" cy="156"/>
              </a:xfrm>
              <a:custGeom>
                <a:gdLst>
                  <a:gd name="T0" fmla="*/ 30 w 37"/>
                  <a:gd name="T1" fmla="*/ 0 h 66"/>
                  <a:gd name="T2" fmla="*/ 32 w 37"/>
                  <a:gd name="T3" fmla="*/ 3 h 66"/>
                  <a:gd name="T4" fmla="*/ 27 w 37"/>
                  <a:gd name="T5" fmla="*/ 8 h 66"/>
                  <a:gd name="T6" fmla="*/ 21 w 37"/>
                  <a:gd name="T7" fmla="*/ 3 h 66"/>
                  <a:gd name="T8" fmla="*/ 22 w 37"/>
                  <a:gd name="T9" fmla="*/ 2 h 66"/>
                  <a:gd name="T10" fmla="*/ 18 w 37"/>
                  <a:gd name="T11" fmla="*/ 4 h 66"/>
                  <a:gd name="T12" fmla="*/ 16 w 37"/>
                  <a:gd name="T13" fmla="*/ 8 h 66"/>
                  <a:gd name="T14" fmla="*/ 12 w 37"/>
                  <a:gd name="T15" fmla="*/ 12 h 66"/>
                  <a:gd name="T16" fmla="*/ 2 w 37"/>
                  <a:gd name="T17" fmla="*/ 30 h 66"/>
                  <a:gd name="T18" fmla="*/ 1 w 37"/>
                  <a:gd name="T19" fmla="*/ 41 h 66"/>
                  <a:gd name="T20" fmla="*/ 4 w 37"/>
                  <a:gd name="T21" fmla="*/ 50 h 66"/>
                  <a:gd name="T22" fmla="*/ 9 w 37"/>
                  <a:gd name="T23" fmla="*/ 58 h 66"/>
                  <a:gd name="T24" fmla="*/ 15 w 37"/>
                  <a:gd name="T25" fmla="*/ 66 h 66"/>
                  <a:gd name="T26" fmla="*/ 19 w 37"/>
                  <a:gd name="T27" fmla="*/ 52 h 66"/>
                  <a:gd name="T28" fmla="*/ 27 w 37"/>
                  <a:gd name="T29" fmla="*/ 35 h 66"/>
                  <a:gd name="T30" fmla="*/ 32 w 37"/>
                  <a:gd name="T31" fmla="*/ 18 h 66"/>
                  <a:gd name="T32" fmla="*/ 34 w 37"/>
                  <a:gd name="T33" fmla="*/ 10 h 66"/>
                  <a:gd name="T34" fmla="*/ 37 w 37"/>
                  <a:gd name="T35" fmla="*/ 3 h 66"/>
                  <a:gd name="T36" fmla="*/ 30 w 37"/>
                  <a:gd name="T37" fmla="*/ 0 h 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66">
                    <a:moveTo>
                      <a:pt x="30" y="0"/>
                    </a:moveTo>
                    <a:cubicBezTo>
                      <a:pt x="31" y="1"/>
                      <a:pt x="32" y="2"/>
                      <a:pt x="32" y="3"/>
                    </a:cubicBezTo>
                    <a:cubicBezTo>
                      <a:pt x="32" y="6"/>
                      <a:pt x="29" y="8"/>
                      <a:pt x="27" y="8"/>
                    </a:cubicBezTo>
                    <a:cubicBezTo>
                      <a:pt x="24" y="8"/>
                      <a:pt x="21" y="6"/>
                      <a:pt x="21" y="3"/>
                    </a:cubicBezTo>
                    <a:cubicBezTo>
                      <a:pt x="21" y="3"/>
                      <a:pt x="22" y="2"/>
                      <a:pt x="22" y="2"/>
                    </a:cubicBezTo>
                    <a:cubicBezTo>
                      <a:pt x="20" y="3"/>
                      <a:pt x="19" y="4"/>
                      <a:pt x="18" y="4"/>
                    </a:cubicBezTo>
                    <a:cubicBezTo>
                      <a:pt x="17" y="5"/>
                      <a:pt x="16" y="7"/>
                      <a:pt x="16" y="8"/>
                    </a:cubicBezTo>
                    <a:cubicBezTo>
                      <a:pt x="15" y="10"/>
                      <a:pt x="13" y="11"/>
                      <a:pt x="12" y="12"/>
                    </a:cubicBezTo>
                    <a:cubicBezTo>
                      <a:pt x="8" y="17"/>
                      <a:pt x="4" y="24"/>
                      <a:pt x="2" y="30"/>
                    </a:cubicBezTo>
                    <a:cubicBezTo>
                      <a:pt x="1" y="34"/>
                      <a:pt x="1" y="37"/>
                      <a:pt x="1" y="41"/>
                    </a:cubicBezTo>
                    <a:cubicBezTo>
                      <a:pt x="0" y="43"/>
                      <a:pt x="2" y="47"/>
                      <a:pt x="4" y="50"/>
                    </a:cubicBezTo>
                    <a:cubicBezTo>
                      <a:pt x="5" y="53"/>
                      <a:pt x="7" y="55"/>
                      <a:pt x="9" y="58"/>
                    </a:cubicBezTo>
                    <a:cubicBezTo>
                      <a:pt x="11" y="61"/>
                      <a:pt x="11" y="65"/>
                      <a:pt x="15" y="66"/>
                    </a:cubicBezTo>
                    <a:cubicBezTo>
                      <a:pt x="16" y="60"/>
                      <a:pt x="17" y="57"/>
                      <a:pt x="19" y="52"/>
                    </a:cubicBezTo>
                    <a:cubicBezTo>
                      <a:pt x="22" y="46"/>
                      <a:pt x="25" y="41"/>
                      <a:pt x="27" y="35"/>
                    </a:cubicBezTo>
                    <a:cubicBezTo>
                      <a:pt x="29" y="30"/>
                      <a:pt x="31" y="24"/>
                      <a:pt x="32" y="18"/>
                    </a:cubicBezTo>
                    <a:cubicBezTo>
                      <a:pt x="33" y="15"/>
                      <a:pt x="34" y="13"/>
                      <a:pt x="34" y="10"/>
                    </a:cubicBezTo>
                    <a:cubicBezTo>
                      <a:pt x="35" y="8"/>
                      <a:pt x="35" y="4"/>
                      <a:pt x="37" y="3"/>
                    </a:cubicBezTo>
                    <a:cubicBezTo>
                      <a:pt x="35" y="2"/>
                      <a:pt x="33"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Rectangle 235"/>
              <p:cNvSpPr>
                <a:spLocks noChangeArrowheads="1"/>
              </p:cNvSpPr>
              <p:nvPr/>
            </p:nvSpPr>
            <p:spPr bwMode="auto">
              <a:xfrm>
                <a:off x="7982" y="215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236"/>
              <p:cNvSpPr/>
              <p:nvPr/>
            </p:nvSpPr>
            <p:spPr bwMode="auto">
              <a:xfrm flipH="1">
                <a:off x="7982" y="215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237"/>
              <p:cNvSpPr/>
              <p:nvPr/>
            </p:nvSpPr>
            <p:spPr bwMode="auto">
              <a:xfrm>
                <a:off x="7838" y="2186"/>
                <a:ext cx="10" cy="7"/>
              </a:xfrm>
              <a:custGeom>
                <a:gdLst>
                  <a:gd name="T0" fmla="*/ 3 w 4"/>
                  <a:gd name="T1" fmla="*/ 0 h 3"/>
                  <a:gd name="T2" fmla="*/ 1 w 4"/>
                  <a:gd name="T3" fmla="*/ 3 h 3"/>
                  <a:gd name="T4" fmla="*/ 2 w 4"/>
                  <a:gd name="T5" fmla="*/ 3 h 3"/>
                  <a:gd name="T6" fmla="*/ 3 w 4"/>
                  <a:gd name="T7" fmla="*/ 0 h 3"/>
                </a:gdLst>
                <a:cxnLst>
                  <a:cxn ang="0">
                    <a:pos x="T0" y="T1"/>
                  </a:cxn>
                  <a:cxn ang="0">
                    <a:pos x="T2" y="T3"/>
                  </a:cxn>
                  <a:cxn ang="0">
                    <a:pos x="T4" y="T5"/>
                  </a:cxn>
                  <a:cxn ang="0">
                    <a:pos x="T6" y="T7"/>
                  </a:cxn>
                </a:cxnLst>
                <a:rect l="0" t="0" r="r" b="b"/>
                <a:pathLst>
                  <a:path w="4" h="3">
                    <a:moveTo>
                      <a:pt x="3" y="0"/>
                    </a:moveTo>
                    <a:cubicBezTo>
                      <a:pt x="2" y="1"/>
                      <a:pt x="0" y="1"/>
                      <a:pt x="1" y="3"/>
                    </a:cubicBezTo>
                    <a:cubicBezTo>
                      <a:pt x="1" y="3"/>
                      <a:pt x="2" y="3"/>
                      <a:pt x="2" y="3"/>
                    </a:cubicBezTo>
                    <a:cubicBezTo>
                      <a:pt x="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238"/>
              <p:cNvSpPr/>
              <p:nvPr/>
            </p:nvSpPr>
            <p:spPr bwMode="auto">
              <a:xfrm>
                <a:off x="7895" y="2233"/>
                <a:ext cx="7" cy="0"/>
              </a:xfrm>
              <a:custGeom>
                <a:gdLst>
                  <a:gd name="T0" fmla="*/ 2 w 3"/>
                  <a:gd name="T1" fmla="*/ 0 w 3"/>
                  <a:gd name="T2" fmla="*/ 3 w 3"/>
                  <a:gd name="T3" fmla="*/ 2 w 3"/>
                </a:gdLst>
                <a:cxnLst>
                  <a:cxn ang="0">
                    <a:pos x="T0" y="0"/>
                  </a:cxn>
                  <a:cxn ang="0">
                    <a:pos x="T1" y="0"/>
                  </a:cxn>
                  <a:cxn ang="0">
                    <a:pos x="T2" y="0"/>
                  </a:cxn>
                  <a:cxn ang="0">
                    <a:pos x="T3" y="0"/>
                  </a:cxn>
                </a:cxnLst>
                <a:rect l="0" t="0" r="r" b="b"/>
                <a:pathLst>
                  <a:path w="3">
                    <a:moveTo>
                      <a:pt x="2" y="0"/>
                    </a:moveTo>
                    <a:cubicBezTo>
                      <a:pt x="1" y="0"/>
                      <a:pt x="1" y="0"/>
                      <a:pt x="0" y="0"/>
                    </a:cubicBezTo>
                    <a:cubicBezTo>
                      <a:pt x="1" y="0"/>
                      <a:pt x="2"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239"/>
              <p:cNvSpPr/>
              <p:nvPr/>
            </p:nvSpPr>
            <p:spPr bwMode="auto">
              <a:xfrm>
                <a:off x="8202" y="1524"/>
                <a:ext cx="7" cy="12"/>
              </a:xfrm>
              <a:custGeom>
                <a:gdLst>
                  <a:gd name="T0" fmla="*/ 2 w 3"/>
                  <a:gd name="T1" fmla="*/ 0 h 5"/>
                  <a:gd name="T2" fmla="*/ 2 w 3"/>
                  <a:gd name="T3" fmla="*/ 5 h 5"/>
                  <a:gd name="T4" fmla="*/ 3 w 3"/>
                  <a:gd name="T5" fmla="*/ 5 h 5"/>
                  <a:gd name="T6" fmla="*/ 2 w 3"/>
                  <a:gd name="T7" fmla="*/ 0 h 5"/>
                </a:gdLst>
                <a:cxnLst>
                  <a:cxn ang="0">
                    <a:pos x="T0" y="T1"/>
                  </a:cxn>
                  <a:cxn ang="0">
                    <a:pos x="T2" y="T3"/>
                  </a:cxn>
                  <a:cxn ang="0">
                    <a:pos x="T4" y="T5"/>
                  </a:cxn>
                  <a:cxn ang="0">
                    <a:pos x="T6" y="T7"/>
                  </a:cxn>
                </a:cxnLst>
                <a:rect l="0" t="0" r="r" b="b"/>
                <a:pathLst>
                  <a:path w="3" h="5">
                    <a:moveTo>
                      <a:pt x="2" y="0"/>
                    </a:moveTo>
                    <a:cubicBezTo>
                      <a:pt x="0" y="2"/>
                      <a:pt x="0" y="5"/>
                      <a:pt x="2" y="5"/>
                    </a:cubicBezTo>
                    <a:cubicBezTo>
                      <a:pt x="2" y="5"/>
                      <a:pt x="3" y="5"/>
                      <a:pt x="3" y="5"/>
                    </a:cubicBezTo>
                    <a:cubicBezTo>
                      <a:pt x="3"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Freeform 240"/>
              <p:cNvSpPr>
                <a:spLocks noEditPoints="1"/>
              </p:cNvSpPr>
              <p:nvPr/>
            </p:nvSpPr>
            <p:spPr bwMode="auto">
              <a:xfrm>
                <a:off x="7403" y="2394"/>
                <a:ext cx="109" cy="90"/>
              </a:xfrm>
              <a:custGeom>
                <a:gdLst>
                  <a:gd name="T0" fmla="*/ 13 w 46"/>
                  <a:gd name="T1" fmla="*/ 4 h 38"/>
                  <a:gd name="T2" fmla="*/ 13 w 46"/>
                  <a:gd name="T3" fmla="*/ 5 h 38"/>
                  <a:gd name="T4" fmla="*/ 13 w 46"/>
                  <a:gd name="T5" fmla="*/ 4 h 38"/>
                  <a:gd name="T6" fmla="*/ 39 w 46"/>
                  <a:gd name="T7" fmla="*/ 0 h 38"/>
                  <a:gd name="T8" fmla="*/ 37 w 46"/>
                  <a:gd name="T9" fmla="*/ 4 h 38"/>
                  <a:gd name="T10" fmla="*/ 33 w 46"/>
                  <a:gd name="T11" fmla="*/ 2 h 38"/>
                  <a:gd name="T12" fmla="*/ 30 w 46"/>
                  <a:gd name="T13" fmla="*/ 2 h 38"/>
                  <a:gd name="T14" fmla="*/ 29 w 46"/>
                  <a:gd name="T15" fmla="*/ 3 h 38"/>
                  <a:gd name="T16" fmla="*/ 26 w 46"/>
                  <a:gd name="T17" fmla="*/ 4 h 38"/>
                  <a:gd name="T18" fmla="*/ 24 w 46"/>
                  <a:gd name="T19" fmla="*/ 3 h 38"/>
                  <a:gd name="T20" fmla="*/ 23 w 46"/>
                  <a:gd name="T21" fmla="*/ 3 h 38"/>
                  <a:gd name="T22" fmla="*/ 22 w 46"/>
                  <a:gd name="T23" fmla="*/ 3 h 38"/>
                  <a:gd name="T24" fmla="*/ 22 w 46"/>
                  <a:gd name="T25" fmla="*/ 3 h 38"/>
                  <a:gd name="T26" fmla="*/ 21 w 46"/>
                  <a:gd name="T27" fmla="*/ 3 h 38"/>
                  <a:gd name="T28" fmla="*/ 21 w 46"/>
                  <a:gd name="T29" fmla="*/ 3 h 38"/>
                  <a:gd name="T30" fmla="*/ 18 w 46"/>
                  <a:gd name="T31" fmla="*/ 4 h 38"/>
                  <a:gd name="T32" fmla="*/ 16 w 46"/>
                  <a:gd name="T33" fmla="*/ 5 h 38"/>
                  <a:gd name="T34" fmla="*/ 16 w 46"/>
                  <a:gd name="T35" fmla="*/ 5 h 38"/>
                  <a:gd name="T36" fmla="*/ 15 w 46"/>
                  <a:gd name="T37" fmla="*/ 5 h 38"/>
                  <a:gd name="T38" fmla="*/ 14 w 46"/>
                  <a:gd name="T39" fmla="*/ 5 h 38"/>
                  <a:gd name="T40" fmla="*/ 13 w 46"/>
                  <a:gd name="T41" fmla="*/ 5 h 38"/>
                  <a:gd name="T42" fmla="*/ 13 w 46"/>
                  <a:gd name="T43" fmla="*/ 8 h 38"/>
                  <a:gd name="T44" fmla="*/ 6 w 46"/>
                  <a:gd name="T45" fmla="*/ 13 h 38"/>
                  <a:gd name="T46" fmla="*/ 0 w 46"/>
                  <a:gd name="T47" fmla="*/ 19 h 38"/>
                  <a:gd name="T48" fmla="*/ 0 w 46"/>
                  <a:gd name="T49" fmla="*/ 22 h 38"/>
                  <a:gd name="T50" fmla="*/ 1 w 46"/>
                  <a:gd name="T51" fmla="*/ 30 h 38"/>
                  <a:gd name="T52" fmla="*/ 1 w 46"/>
                  <a:gd name="T53" fmla="*/ 32 h 38"/>
                  <a:gd name="T54" fmla="*/ 14 w 46"/>
                  <a:gd name="T55" fmla="*/ 37 h 38"/>
                  <a:gd name="T56" fmla="*/ 18 w 46"/>
                  <a:gd name="T57" fmla="*/ 38 h 38"/>
                  <a:gd name="T58" fmla="*/ 20 w 46"/>
                  <a:gd name="T59" fmla="*/ 38 h 38"/>
                  <a:gd name="T60" fmla="*/ 22 w 46"/>
                  <a:gd name="T61" fmla="*/ 35 h 38"/>
                  <a:gd name="T62" fmla="*/ 26 w 46"/>
                  <a:gd name="T63" fmla="*/ 34 h 38"/>
                  <a:gd name="T64" fmla="*/ 29 w 46"/>
                  <a:gd name="T65" fmla="*/ 32 h 38"/>
                  <a:gd name="T66" fmla="*/ 29 w 46"/>
                  <a:gd name="T67" fmla="*/ 31 h 38"/>
                  <a:gd name="T68" fmla="*/ 33 w 46"/>
                  <a:gd name="T69" fmla="*/ 28 h 38"/>
                  <a:gd name="T70" fmla="*/ 34 w 46"/>
                  <a:gd name="T71" fmla="*/ 29 h 38"/>
                  <a:gd name="T72" fmla="*/ 35 w 46"/>
                  <a:gd name="T73" fmla="*/ 27 h 38"/>
                  <a:gd name="T74" fmla="*/ 36 w 46"/>
                  <a:gd name="T75" fmla="*/ 27 h 38"/>
                  <a:gd name="T76" fmla="*/ 38 w 46"/>
                  <a:gd name="T77" fmla="*/ 18 h 38"/>
                  <a:gd name="T78" fmla="*/ 42 w 46"/>
                  <a:gd name="T79" fmla="*/ 10 h 38"/>
                  <a:gd name="T80" fmla="*/ 43 w 46"/>
                  <a:gd name="T81" fmla="*/ 12 h 38"/>
                  <a:gd name="T82" fmla="*/ 46 w 46"/>
                  <a:gd name="T83" fmla="*/ 10 h 38"/>
                  <a:gd name="T84" fmla="*/ 46 w 46"/>
                  <a:gd name="T85" fmla="*/ 10 h 38"/>
                  <a:gd name="T86" fmla="*/ 45 w 46"/>
                  <a:gd name="T87" fmla="*/ 4 h 38"/>
                  <a:gd name="T88" fmla="*/ 39 w 46"/>
                  <a:gd name="T89" fmla="*/ 0 h 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 h="38">
                    <a:moveTo>
                      <a:pt x="13" y="4"/>
                    </a:moveTo>
                    <a:cubicBezTo>
                      <a:pt x="13" y="5"/>
                      <a:pt x="13" y="5"/>
                      <a:pt x="13" y="5"/>
                    </a:cubicBezTo>
                    <a:cubicBezTo>
                      <a:pt x="13" y="5"/>
                      <a:pt x="13" y="4"/>
                      <a:pt x="13" y="4"/>
                    </a:cubicBezTo>
                    <a:moveTo>
                      <a:pt x="39" y="0"/>
                    </a:moveTo>
                    <a:cubicBezTo>
                      <a:pt x="38" y="2"/>
                      <a:pt x="38" y="4"/>
                      <a:pt x="37" y="4"/>
                    </a:cubicBezTo>
                    <a:cubicBezTo>
                      <a:pt x="37" y="4"/>
                      <a:pt x="36" y="3"/>
                      <a:pt x="33" y="2"/>
                    </a:cubicBezTo>
                    <a:cubicBezTo>
                      <a:pt x="32" y="2"/>
                      <a:pt x="31" y="2"/>
                      <a:pt x="30" y="2"/>
                    </a:cubicBezTo>
                    <a:cubicBezTo>
                      <a:pt x="29" y="2"/>
                      <a:pt x="29" y="2"/>
                      <a:pt x="29" y="3"/>
                    </a:cubicBezTo>
                    <a:cubicBezTo>
                      <a:pt x="28" y="3"/>
                      <a:pt x="27" y="4"/>
                      <a:pt x="26" y="4"/>
                    </a:cubicBezTo>
                    <a:cubicBezTo>
                      <a:pt x="25" y="4"/>
                      <a:pt x="25" y="3"/>
                      <a:pt x="24" y="3"/>
                    </a:cubicBezTo>
                    <a:cubicBezTo>
                      <a:pt x="23" y="3"/>
                      <a:pt x="23" y="3"/>
                      <a:pt x="23" y="3"/>
                    </a:cubicBezTo>
                    <a:cubicBezTo>
                      <a:pt x="23" y="3"/>
                      <a:pt x="23" y="3"/>
                      <a:pt x="22" y="3"/>
                    </a:cubicBezTo>
                    <a:cubicBezTo>
                      <a:pt x="22" y="3"/>
                      <a:pt x="22" y="3"/>
                      <a:pt x="22" y="3"/>
                    </a:cubicBezTo>
                    <a:cubicBezTo>
                      <a:pt x="21" y="3"/>
                      <a:pt x="21" y="3"/>
                      <a:pt x="21" y="3"/>
                    </a:cubicBezTo>
                    <a:cubicBezTo>
                      <a:pt x="21" y="3"/>
                      <a:pt x="21" y="3"/>
                      <a:pt x="21" y="3"/>
                    </a:cubicBezTo>
                    <a:cubicBezTo>
                      <a:pt x="20" y="3"/>
                      <a:pt x="19" y="3"/>
                      <a:pt x="18" y="4"/>
                    </a:cubicBezTo>
                    <a:cubicBezTo>
                      <a:pt x="17" y="4"/>
                      <a:pt x="18" y="5"/>
                      <a:pt x="16" y="5"/>
                    </a:cubicBezTo>
                    <a:cubicBezTo>
                      <a:pt x="16" y="5"/>
                      <a:pt x="16" y="5"/>
                      <a:pt x="16" y="5"/>
                    </a:cubicBezTo>
                    <a:cubicBezTo>
                      <a:pt x="15" y="5"/>
                      <a:pt x="15" y="5"/>
                      <a:pt x="15" y="5"/>
                    </a:cubicBezTo>
                    <a:cubicBezTo>
                      <a:pt x="14" y="5"/>
                      <a:pt x="14" y="5"/>
                      <a:pt x="14" y="5"/>
                    </a:cubicBezTo>
                    <a:cubicBezTo>
                      <a:pt x="14" y="5"/>
                      <a:pt x="13" y="5"/>
                      <a:pt x="13" y="5"/>
                    </a:cubicBezTo>
                    <a:cubicBezTo>
                      <a:pt x="13" y="5"/>
                      <a:pt x="13" y="7"/>
                      <a:pt x="13" y="8"/>
                    </a:cubicBezTo>
                    <a:cubicBezTo>
                      <a:pt x="11" y="10"/>
                      <a:pt x="8" y="11"/>
                      <a:pt x="6" y="13"/>
                    </a:cubicBezTo>
                    <a:cubicBezTo>
                      <a:pt x="3" y="15"/>
                      <a:pt x="1" y="15"/>
                      <a:pt x="0" y="19"/>
                    </a:cubicBezTo>
                    <a:cubicBezTo>
                      <a:pt x="0" y="21"/>
                      <a:pt x="0" y="21"/>
                      <a:pt x="0" y="22"/>
                    </a:cubicBezTo>
                    <a:cubicBezTo>
                      <a:pt x="1" y="25"/>
                      <a:pt x="0" y="27"/>
                      <a:pt x="1" y="30"/>
                    </a:cubicBezTo>
                    <a:cubicBezTo>
                      <a:pt x="2" y="31"/>
                      <a:pt x="1" y="31"/>
                      <a:pt x="1" y="32"/>
                    </a:cubicBezTo>
                    <a:cubicBezTo>
                      <a:pt x="3" y="35"/>
                      <a:pt x="11" y="36"/>
                      <a:pt x="14" y="37"/>
                    </a:cubicBezTo>
                    <a:cubicBezTo>
                      <a:pt x="15" y="38"/>
                      <a:pt x="17" y="38"/>
                      <a:pt x="18" y="38"/>
                    </a:cubicBezTo>
                    <a:cubicBezTo>
                      <a:pt x="19" y="38"/>
                      <a:pt x="20" y="38"/>
                      <a:pt x="20" y="38"/>
                    </a:cubicBezTo>
                    <a:cubicBezTo>
                      <a:pt x="21" y="38"/>
                      <a:pt x="22" y="36"/>
                      <a:pt x="22" y="35"/>
                    </a:cubicBezTo>
                    <a:cubicBezTo>
                      <a:pt x="22" y="34"/>
                      <a:pt x="25" y="34"/>
                      <a:pt x="26" y="34"/>
                    </a:cubicBezTo>
                    <a:cubicBezTo>
                      <a:pt x="27" y="33"/>
                      <a:pt x="28" y="32"/>
                      <a:pt x="29" y="32"/>
                    </a:cubicBezTo>
                    <a:cubicBezTo>
                      <a:pt x="29" y="31"/>
                      <a:pt x="29" y="31"/>
                      <a:pt x="29" y="31"/>
                    </a:cubicBezTo>
                    <a:cubicBezTo>
                      <a:pt x="30" y="30"/>
                      <a:pt x="32" y="28"/>
                      <a:pt x="33" y="28"/>
                    </a:cubicBezTo>
                    <a:cubicBezTo>
                      <a:pt x="34" y="28"/>
                      <a:pt x="34" y="29"/>
                      <a:pt x="34" y="29"/>
                    </a:cubicBezTo>
                    <a:cubicBezTo>
                      <a:pt x="35" y="28"/>
                      <a:pt x="35" y="28"/>
                      <a:pt x="35" y="27"/>
                    </a:cubicBezTo>
                    <a:cubicBezTo>
                      <a:pt x="36" y="27"/>
                      <a:pt x="36" y="27"/>
                      <a:pt x="36" y="27"/>
                    </a:cubicBezTo>
                    <a:cubicBezTo>
                      <a:pt x="38" y="24"/>
                      <a:pt x="37" y="21"/>
                      <a:pt x="38" y="18"/>
                    </a:cubicBezTo>
                    <a:cubicBezTo>
                      <a:pt x="39" y="15"/>
                      <a:pt x="41" y="13"/>
                      <a:pt x="42" y="10"/>
                    </a:cubicBezTo>
                    <a:cubicBezTo>
                      <a:pt x="42" y="10"/>
                      <a:pt x="43" y="11"/>
                      <a:pt x="43" y="12"/>
                    </a:cubicBezTo>
                    <a:cubicBezTo>
                      <a:pt x="44" y="11"/>
                      <a:pt x="45" y="10"/>
                      <a:pt x="46" y="10"/>
                    </a:cubicBezTo>
                    <a:cubicBezTo>
                      <a:pt x="46" y="10"/>
                      <a:pt x="46" y="10"/>
                      <a:pt x="46" y="10"/>
                    </a:cubicBezTo>
                    <a:cubicBezTo>
                      <a:pt x="46" y="8"/>
                      <a:pt x="45" y="6"/>
                      <a:pt x="45" y="4"/>
                    </a:cubicBezTo>
                    <a:cubicBezTo>
                      <a:pt x="44" y="2"/>
                      <a:pt x="40" y="2"/>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241"/>
              <p:cNvSpPr/>
              <p:nvPr/>
            </p:nvSpPr>
            <p:spPr bwMode="auto">
              <a:xfrm>
                <a:off x="7477" y="2352"/>
                <a:ext cx="11" cy="4"/>
              </a:xfrm>
              <a:custGeom>
                <a:gdLst>
                  <a:gd name="T0" fmla="*/ 4 w 5"/>
                  <a:gd name="T1" fmla="*/ 0 h 2"/>
                  <a:gd name="T2" fmla="*/ 0 w 5"/>
                  <a:gd name="T3" fmla="*/ 2 h 2"/>
                  <a:gd name="T4" fmla="*/ 2 w 5"/>
                  <a:gd name="T5" fmla="*/ 1 h 2"/>
                  <a:gd name="T6" fmla="*/ 2 w 5"/>
                  <a:gd name="T7" fmla="*/ 1 h 2"/>
                  <a:gd name="T8" fmla="*/ 5 w 5"/>
                  <a:gd name="T9" fmla="*/ 2 h 2"/>
                  <a:gd name="T10" fmla="*/ 4 w 5"/>
                  <a:gd name="T11" fmla="*/ 0 h 2"/>
                </a:gdLst>
                <a:cxnLst>
                  <a:cxn ang="0">
                    <a:pos x="T0" y="T1"/>
                  </a:cxn>
                  <a:cxn ang="0">
                    <a:pos x="T2" y="T3"/>
                  </a:cxn>
                  <a:cxn ang="0">
                    <a:pos x="T4" y="T5"/>
                  </a:cxn>
                  <a:cxn ang="0">
                    <a:pos x="T6" y="T7"/>
                  </a:cxn>
                  <a:cxn ang="0">
                    <a:pos x="T8" y="T9"/>
                  </a:cxn>
                  <a:cxn ang="0">
                    <a:pos x="T10" y="T11"/>
                  </a:cxn>
                </a:cxnLst>
                <a:rect l="0" t="0" r="r" b="b"/>
                <a:pathLst>
                  <a:path w="5" h="2">
                    <a:moveTo>
                      <a:pt x="4" y="0"/>
                    </a:moveTo>
                    <a:cubicBezTo>
                      <a:pt x="3" y="0"/>
                      <a:pt x="1" y="1"/>
                      <a:pt x="0" y="2"/>
                    </a:cubicBezTo>
                    <a:cubicBezTo>
                      <a:pt x="1" y="2"/>
                      <a:pt x="1" y="1"/>
                      <a:pt x="2" y="1"/>
                    </a:cubicBezTo>
                    <a:cubicBezTo>
                      <a:pt x="2" y="1"/>
                      <a:pt x="2" y="1"/>
                      <a:pt x="2" y="1"/>
                    </a:cubicBezTo>
                    <a:cubicBezTo>
                      <a:pt x="3" y="1"/>
                      <a:pt x="4" y="2"/>
                      <a:pt x="5" y="2"/>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242"/>
              <p:cNvSpPr/>
              <p:nvPr/>
            </p:nvSpPr>
            <p:spPr bwMode="auto">
              <a:xfrm>
                <a:off x="7831" y="2186"/>
                <a:ext cx="5" cy="5"/>
              </a:xfrm>
              <a:custGeom>
                <a:gdLst>
                  <a:gd name="T0" fmla="*/ 0 w 2"/>
                  <a:gd name="T1" fmla="*/ 0 h 2"/>
                  <a:gd name="T2" fmla="*/ 1 w 2"/>
                  <a:gd name="T3" fmla="*/ 2 h 2"/>
                  <a:gd name="T4" fmla="*/ 0 w 2"/>
                  <a:gd name="T5" fmla="*/ 0 h 2"/>
                </a:gdLst>
                <a:cxnLst>
                  <a:cxn ang="0">
                    <a:pos x="T0" y="T1"/>
                  </a:cxn>
                  <a:cxn ang="0">
                    <a:pos x="T2" y="T3"/>
                  </a:cxn>
                  <a:cxn ang="0">
                    <a:pos x="T4" y="T5"/>
                  </a:cxn>
                </a:cxnLst>
                <a:rect l="0" t="0" r="r" b="b"/>
                <a:pathLst>
                  <a:path w="2" h="2">
                    <a:moveTo>
                      <a:pt x="0" y="0"/>
                    </a:moveTo>
                    <a:cubicBezTo>
                      <a:pt x="0" y="1"/>
                      <a:pt x="0" y="2"/>
                      <a:pt x="1" y="2"/>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243"/>
              <p:cNvSpPr/>
              <p:nvPr/>
            </p:nvSpPr>
            <p:spPr bwMode="auto">
              <a:xfrm>
                <a:off x="7902" y="2132"/>
                <a:ext cx="7" cy="11"/>
              </a:xfrm>
              <a:custGeom>
                <a:gdLst>
                  <a:gd name="T0" fmla="*/ 2 w 3"/>
                  <a:gd name="T1" fmla="*/ 0 h 5"/>
                  <a:gd name="T2" fmla="*/ 0 w 3"/>
                  <a:gd name="T3" fmla="*/ 5 h 5"/>
                  <a:gd name="T4" fmla="*/ 3 w 3"/>
                  <a:gd name="T5" fmla="*/ 4 h 5"/>
                  <a:gd name="T6" fmla="*/ 3 w 3"/>
                  <a:gd name="T7" fmla="*/ 4 h 5"/>
                  <a:gd name="T8" fmla="*/ 3 w 3"/>
                  <a:gd name="T9" fmla="*/ 2 h 5"/>
                  <a:gd name="T10" fmla="*/ 3 w 3"/>
                  <a:gd name="T11" fmla="*/ 2 h 5"/>
                  <a:gd name="T12" fmla="*/ 2 w 3"/>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1" y="2"/>
                      <a:pt x="1" y="3"/>
                      <a:pt x="0" y="5"/>
                    </a:cubicBezTo>
                    <a:cubicBezTo>
                      <a:pt x="1" y="4"/>
                      <a:pt x="2" y="4"/>
                      <a:pt x="3" y="4"/>
                    </a:cubicBezTo>
                    <a:cubicBezTo>
                      <a:pt x="3" y="4"/>
                      <a:pt x="3" y="4"/>
                      <a:pt x="3" y="4"/>
                    </a:cubicBezTo>
                    <a:cubicBezTo>
                      <a:pt x="2" y="3"/>
                      <a:pt x="3" y="2"/>
                      <a:pt x="3" y="2"/>
                    </a:cubicBezTo>
                    <a:cubicBezTo>
                      <a:pt x="3" y="2"/>
                      <a:pt x="3" y="2"/>
                      <a:pt x="3" y="2"/>
                    </a:cubicBezTo>
                    <a:cubicBezTo>
                      <a:pt x="3"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244"/>
              <p:cNvSpPr/>
              <p:nvPr/>
            </p:nvSpPr>
            <p:spPr bwMode="auto">
              <a:xfrm>
                <a:off x="7484" y="2344"/>
                <a:ext cx="7" cy="3"/>
              </a:xfrm>
              <a:custGeom>
                <a:gdLst>
                  <a:gd name="T0" fmla="*/ 3 w 3"/>
                  <a:gd name="T1" fmla="*/ 0 h 1"/>
                  <a:gd name="T2" fmla="*/ 0 w 3"/>
                  <a:gd name="T3" fmla="*/ 0 h 1"/>
                  <a:gd name="T4" fmla="*/ 3 w 3"/>
                  <a:gd name="T5" fmla="*/ 1 h 1"/>
                  <a:gd name="T6" fmla="*/ 3 w 3"/>
                  <a:gd name="T7" fmla="*/ 0 h 1"/>
                  <a:gd name="T8" fmla="*/ 3 w 3"/>
                  <a:gd name="T9" fmla="*/ 0 h 1"/>
                </a:gdLst>
                <a:cxnLst>
                  <a:cxn ang="0">
                    <a:pos x="T0" y="T1"/>
                  </a:cxn>
                  <a:cxn ang="0">
                    <a:pos x="T2" y="T3"/>
                  </a:cxn>
                  <a:cxn ang="0">
                    <a:pos x="T4" y="T5"/>
                  </a:cxn>
                  <a:cxn ang="0">
                    <a:pos x="T6" y="T7"/>
                  </a:cxn>
                  <a:cxn ang="0">
                    <a:pos x="T8" y="T9"/>
                  </a:cxn>
                </a:cxnLst>
                <a:rect l="0" t="0" r="r" b="b"/>
                <a:pathLst>
                  <a:path w="3" h="1">
                    <a:moveTo>
                      <a:pt x="3" y="0"/>
                    </a:moveTo>
                    <a:cubicBezTo>
                      <a:pt x="2" y="0"/>
                      <a:pt x="1" y="0"/>
                      <a:pt x="0" y="0"/>
                    </a:cubicBezTo>
                    <a:cubicBezTo>
                      <a:pt x="1" y="1"/>
                      <a:pt x="2" y="1"/>
                      <a:pt x="3" y="1"/>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245"/>
              <p:cNvSpPr/>
              <p:nvPr/>
            </p:nvSpPr>
            <p:spPr bwMode="auto">
              <a:xfrm>
                <a:off x="6938" y="2945"/>
                <a:ext cx="7" cy="17"/>
              </a:xfrm>
              <a:custGeom>
                <a:gdLst>
                  <a:gd name="T0" fmla="*/ 1 w 3"/>
                  <a:gd name="T1" fmla="*/ 0 h 7"/>
                  <a:gd name="T2" fmla="*/ 0 w 3"/>
                  <a:gd name="T3" fmla="*/ 5 h 7"/>
                  <a:gd name="T4" fmla="*/ 0 w 3"/>
                  <a:gd name="T5" fmla="*/ 7 h 7"/>
                  <a:gd name="T6" fmla="*/ 1 w 3"/>
                  <a:gd name="T7" fmla="*/ 7 h 7"/>
                  <a:gd name="T8" fmla="*/ 3 w 3"/>
                  <a:gd name="T9" fmla="*/ 5 h 7"/>
                  <a:gd name="T10" fmla="*/ 1 w 3"/>
                  <a:gd name="T11" fmla="*/ 0 h 7"/>
                </a:gdLst>
                <a:cxnLst>
                  <a:cxn ang="0">
                    <a:pos x="T0" y="T1"/>
                  </a:cxn>
                  <a:cxn ang="0">
                    <a:pos x="T2" y="T3"/>
                  </a:cxn>
                  <a:cxn ang="0">
                    <a:pos x="T4" y="T5"/>
                  </a:cxn>
                  <a:cxn ang="0">
                    <a:pos x="T6" y="T7"/>
                  </a:cxn>
                  <a:cxn ang="0">
                    <a:pos x="T8" y="T9"/>
                  </a:cxn>
                  <a:cxn ang="0">
                    <a:pos x="T10" y="T11"/>
                  </a:cxn>
                </a:cxnLst>
                <a:rect l="0" t="0" r="r" b="b"/>
                <a:pathLst>
                  <a:path w="3" h="7">
                    <a:moveTo>
                      <a:pt x="1" y="0"/>
                    </a:moveTo>
                    <a:cubicBezTo>
                      <a:pt x="0" y="1"/>
                      <a:pt x="0" y="4"/>
                      <a:pt x="0" y="5"/>
                    </a:cubicBezTo>
                    <a:cubicBezTo>
                      <a:pt x="0" y="7"/>
                      <a:pt x="0" y="7"/>
                      <a:pt x="0" y="7"/>
                    </a:cubicBezTo>
                    <a:cubicBezTo>
                      <a:pt x="0" y="7"/>
                      <a:pt x="1" y="7"/>
                      <a:pt x="1" y="7"/>
                    </a:cubicBezTo>
                    <a:cubicBezTo>
                      <a:pt x="1" y="7"/>
                      <a:pt x="3" y="6"/>
                      <a:pt x="3" y="5"/>
                    </a:cubicBezTo>
                    <a:cubicBezTo>
                      <a:pt x="3" y="4"/>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246"/>
              <p:cNvSpPr/>
              <p:nvPr/>
            </p:nvSpPr>
            <p:spPr bwMode="auto">
              <a:xfrm>
                <a:off x="6952" y="2945"/>
                <a:ext cx="2" cy="2"/>
              </a:xfrm>
              <a:custGeom>
                <a:gdLst>
                  <a:gd name="T0" fmla="*/ 1 w 1"/>
                  <a:gd name="T1" fmla="*/ 0 h 1"/>
                  <a:gd name="T2" fmla="*/ 0 w 1"/>
                  <a:gd name="T3" fmla="*/ 1 h 1"/>
                  <a:gd name="T4" fmla="*/ 1 w 1"/>
                  <a:gd name="T5" fmla="*/ 0 h 1"/>
                  <a:gd name="T6" fmla="*/ 1 w 1"/>
                  <a:gd name="T7" fmla="*/ 0 h 1"/>
                </a:gdLst>
                <a:cxnLst>
                  <a:cxn ang="0">
                    <a:pos x="T0" y="T1"/>
                  </a:cxn>
                  <a:cxn ang="0">
                    <a:pos x="T2" y="T3"/>
                  </a:cxn>
                  <a:cxn ang="0">
                    <a:pos x="T4" y="T5"/>
                  </a:cxn>
                  <a:cxn ang="0">
                    <a:pos x="T6" y="T7"/>
                  </a:cxn>
                </a:cxnLst>
                <a:rect l="0" t="0" r="r" b="b"/>
                <a:pathLst>
                  <a:path w="1" h="1">
                    <a:moveTo>
                      <a:pt x="1" y="0"/>
                    </a:moveTo>
                    <a:cubicBezTo>
                      <a:pt x="1" y="0"/>
                      <a:pt x="0" y="1"/>
                      <a:pt x="0" y="1"/>
                    </a:cubicBezTo>
                    <a:cubicBezTo>
                      <a:pt x="0" y="1"/>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247"/>
              <p:cNvSpPr/>
              <p:nvPr/>
            </p:nvSpPr>
            <p:spPr bwMode="auto">
              <a:xfrm>
                <a:off x="7025" y="3068"/>
                <a:ext cx="7" cy="5"/>
              </a:xfrm>
              <a:custGeom>
                <a:gdLst>
                  <a:gd name="T0" fmla="*/ 1 w 3"/>
                  <a:gd name="T1" fmla="*/ 0 h 2"/>
                  <a:gd name="T2" fmla="*/ 0 w 3"/>
                  <a:gd name="T3" fmla="*/ 2 h 2"/>
                  <a:gd name="T4" fmla="*/ 1 w 3"/>
                  <a:gd name="T5" fmla="*/ 2 h 2"/>
                  <a:gd name="T6" fmla="*/ 2 w 3"/>
                  <a:gd name="T7" fmla="*/ 0 h 2"/>
                  <a:gd name="T8" fmla="*/ 1 w 3"/>
                  <a:gd name="T9" fmla="*/ 0 h 2"/>
                </a:gdLst>
                <a:cxnLst>
                  <a:cxn ang="0">
                    <a:pos x="T0" y="T1"/>
                  </a:cxn>
                  <a:cxn ang="0">
                    <a:pos x="T2" y="T3"/>
                  </a:cxn>
                  <a:cxn ang="0">
                    <a:pos x="T4" y="T5"/>
                  </a:cxn>
                  <a:cxn ang="0">
                    <a:pos x="T6" y="T7"/>
                  </a:cxn>
                  <a:cxn ang="0">
                    <a:pos x="T8" y="T9"/>
                  </a:cxn>
                </a:cxnLst>
                <a:rect l="0" t="0" r="r" b="b"/>
                <a:pathLst>
                  <a:path w="3" h="2">
                    <a:moveTo>
                      <a:pt x="1" y="0"/>
                    </a:moveTo>
                    <a:cubicBezTo>
                      <a:pt x="1" y="0"/>
                      <a:pt x="0" y="1"/>
                      <a:pt x="0" y="2"/>
                    </a:cubicBezTo>
                    <a:cubicBezTo>
                      <a:pt x="0" y="2"/>
                      <a:pt x="0" y="2"/>
                      <a:pt x="1" y="2"/>
                    </a:cubicBezTo>
                    <a:cubicBezTo>
                      <a:pt x="2" y="2"/>
                      <a:pt x="3" y="1"/>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248"/>
              <p:cNvSpPr/>
              <p:nvPr/>
            </p:nvSpPr>
            <p:spPr bwMode="auto">
              <a:xfrm>
                <a:off x="7117" y="2763"/>
                <a:ext cx="8" cy="9"/>
              </a:xfrm>
              <a:custGeom>
                <a:gdLst>
                  <a:gd name="T0" fmla="*/ 0 w 3"/>
                  <a:gd name="T1" fmla="*/ 0 h 4"/>
                  <a:gd name="T2" fmla="*/ 1 w 3"/>
                  <a:gd name="T3" fmla="*/ 4 h 4"/>
                  <a:gd name="T4" fmla="*/ 3 w 3"/>
                  <a:gd name="T5" fmla="*/ 3 h 4"/>
                  <a:gd name="T6" fmla="*/ 0 w 3"/>
                  <a:gd name="T7" fmla="*/ 0 h 4"/>
                </a:gdLst>
                <a:cxnLst>
                  <a:cxn ang="0">
                    <a:pos x="T0" y="T1"/>
                  </a:cxn>
                  <a:cxn ang="0">
                    <a:pos x="T2" y="T3"/>
                  </a:cxn>
                  <a:cxn ang="0">
                    <a:pos x="T4" y="T5"/>
                  </a:cxn>
                  <a:cxn ang="0">
                    <a:pos x="T6" y="T7"/>
                  </a:cxn>
                </a:cxnLst>
                <a:rect l="0" t="0" r="r" b="b"/>
                <a:pathLst>
                  <a:path w="3" h="4">
                    <a:moveTo>
                      <a:pt x="0" y="0"/>
                    </a:moveTo>
                    <a:cubicBezTo>
                      <a:pt x="0" y="1"/>
                      <a:pt x="0" y="3"/>
                      <a:pt x="1" y="4"/>
                    </a:cubicBezTo>
                    <a:cubicBezTo>
                      <a:pt x="1" y="3"/>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249"/>
              <p:cNvSpPr/>
              <p:nvPr/>
            </p:nvSpPr>
            <p:spPr bwMode="auto">
              <a:xfrm>
                <a:off x="6971" y="2969"/>
                <a:ext cx="5" cy="7"/>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1" y="1"/>
                      <a:pt x="1" y="2"/>
                      <a:pt x="2" y="3"/>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250"/>
              <p:cNvSpPr/>
              <p:nvPr/>
            </p:nvSpPr>
            <p:spPr bwMode="auto">
              <a:xfrm>
                <a:off x="7016" y="2872"/>
                <a:ext cx="5" cy="4"/>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0" y="0"/>
                      <a:pt x="0" y="0"/>
                      <a:pt x="0" y="0"/>
                    </a:cubicBezTo>
                    <a:cubicBezTo>
                      <a:pt x="0" y="0"/>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251"/>
              <p:cNvSpPr/>
              <p:nvPr/>
            </p:nvSpPr>
            <p:spPr bwMode="auto">
              <a:xfrm>
                <a:off x="6997" y="3011"/>
                <a:ext cx="2" cy="10"/>
              </a:xfrm>
              <a:custGeom>
                <a:gdLst>
                  <a:gd name="T0" fmla="*/ 1 w 1"/>
                  <a:gd name="T1" fmla="*/ 0 h 4"/>
                  <a:gd name="T2" fmla="*/ 1 w 1"/>
                  <a:gd name="T3" fmla="*/ 4 h 4"/>
                  <a:gd name="T4" fmla="*/ 1 w 1"/>
                  <a:gd name="T5" fmla="*/ 0 h 4"/>
                </a:gdLst>
                <a:cxnLst>
                  <a:cxn ang="0">
                    <a:pos x="T0" y="T1"/>
                  </a:cxn>
                  <a:cxn ang="0">
                    <a:pos x="T2" y="T3"/>
                  </a:cxn>
                  <a:cxn ang="0">
                    <a:pos x="T4" y="T5"/>
                  </a:cxn>
                </a:cxnLst>
                <a:rect l="0" t="0" r="r" b="b"/>
                <a:pathLst>
                  <a:path w="1" h="4">
                    <a:moveTo>
                      <a:pt x="1" y="0"/>
                    </a:moveTo>
                    <a:cubicBezTo>
                      <a:pt x="1" y="2"/>
                      <a:pt x="0" y="2"/>
                      <a:pt x="1" y="4"/>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252"/>
              <p:cNvSpPr/>
              <p:nvPr/>
            </p:nvSpPr>
            <p:spPr bwMode="auto">
              <a:xfrm>
                <a:off x="6950" y="2952"/>
                <a:ext cx="2" cy="5"/>
              </a:xfrm>
              <a:custGeom>
                <a:gdLst>
                  <a:gd name="T0" fmla="*/ 1 w 1"/>
                  <a:gd name="T1" fmla="*/ 0 h 2"/>
                  <a:gd name="T2" fmla="*/ 1 w 1"/>
                  <a:gd name="T3" fmla="*/ 2 h 2"/>
                  <a:gd name="T4" fmla="*/ 1 w 1"/>
                  <a:gd name="T5" fmla="*/ 0 h 2"/>
                </a:gdLst>
                <a:cxnLst>
                  <a:cxn ang="0">
                    <a:pos x="T0" y="T1"/>
                  </a:cxn>
                  <a:cxn ang="0">
                    <a:pos x="T2" y="T3"/>
                  </a:cxn>
                  <a:cxn ang="0">
                    <a:pos x="T4" y="T5"/>
                  </a:cxn>
                </a:cxnLst>
                <a:rect l="0" t="0" r="r" b="b"/>
                <a:pathLst>
                  <a:path w="1" h="2">
                    <a:moveTo>
                      <a:pt x="1" y="0"/>
                    </a:moveTo>
                    <a:cubicBezTo>
                      <a:pt x="1" y="1"/>
                      <a:pt x="0" y="1"/>
                      <a:pt x="1"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253"/>
              <p:cNvSpPr/>
              <p:nvPr/>
            </p:nvSpPr>
            <p:spPr bwMode="auto">
              <a:xfrm>
                <a:off x="7011" y="2881"/>
                <a:ext cx="10" cy="7"/>
              </a:xfrm>
              <a:custGeom>
                <a:gdLst>
                  <a:gd name="T0" fmla="*/ 3 w 4"/>
                  <a:gd name="T1" fmla="*/ 0 h 3"/>
                  <a:gd name="T2" fmla="*/ 1 w 4"/>
                  <a:gd name="T3" fmla="*/ 0 h 3"/>
                  <a:gd name="T4" fmla="*/ 1 w 4"/>
                  <a:gd name="T5" fmla="*/ 3 h 3"/>
                  <a:gd name="T6" fmla="*/ 4 w 4"/>
                  <a:gd name="T7" fmla="*/ 0 h 3"/>
                  <a:gd name="T8" fmla="*/ 3 w 4"/>
                  <a:gd name="T9" fmla="*/ 0 h 3"/>
                </a:gdLst>
                <a:cxnLst>
                  <a:cxn ang="0">
                    <a:pos x="T0" y="T1"/>
                  </a:cxn>
                  <a:cxn ang="0">
                    <a:pos x="T2" y="T3"/>
                  </a:cxn>
                  <a:cxn ang="0">
                    <a:pos x="T4" y="T5"/>
                  </a:cxn>
                  <a:cxn ang="0">
                    <a:pos x="T6" y="T7"/>
                  </a:cxn>
                  <a:cxn ang="0">
                    <a:pos x="T8" y="T9"/>
                  </a:cxn>
                </a:cxnLst>
                <a:rect l="0" t="0" r="r" b="b"/>
                <a:pathLst>
                  <a:path w="4" h="3">
                    <a:moveTo>
                      <a:pt x="3" y="0"/>
                    </a:moveTo>
                    <a:cubicBezTo>
                      <a:pt x="2" y="0"/>
                      <a:pt x="2" y="0"/>
                      <a:pt x="1" y="0"/>
                    </a:cubicBezTo>
                    <a:cubicBezTo>
                      <a:pt x="0" y="0"/>
                      <a:pt x="1" y="2"/>
                      <a:pt x="1" y="3"/>
                    </a:cubicBezTo>
                    <a:cubicBezTo>
                      <a:pt x="2" y="3"/>
                      <a:pt x="4"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254"/>
              <p:cNvSpPr/>
              <p:nvPr/>
            </p:nvSpPr>
            <p:spPr bwMode="auto">
              <a:xfrm>
                <a:off x="7129" y="2782"/>
                <a:ext cx="3" cy="7"/>
              </a:xfrm>
              <a:custGeom>
                <a:gdLst>
                  <a:gd name="T0" fmla="*/ 1 w 1"/>
                  <a:gd name="T1" fmla="*/ 0 h 3"/>
                  <a:gd name="T2" fmla="*/ 1 w 1"/>
                  <a:gd name="T3" fmla="*/ 3 h 3"/>
                  <a:gd name="T4" fmla="*/ 1 w 1"/>
                  <a:gd name="T5" fmla="*/ 0 h 3"/>
                </a:gdLst>
                <a:cxnLst>
                  <a:cxn ang="0">
                    <a:pos x="T0" y="T1"/>
                  </a:cxn>
                  <a:cxn ang="0">
                    <a:pos x="T2" y="T3"/>
                  </a:cxn>
                  <a:cxn ang="0">
                    <a:pos x="T4" y="T5"/>
                  </a:cxn>
                </a:cxnLst>
                <a:rect l="0" t="0" r="r" b="b"/>
                <a:pathLst>
                  <a:path w="1" h="3">
                    <a:moveTo>
                      <a:pt x="1" y="0"/>
                    </a:moveTo>
                    <a:cubicBezTo>
                      <a:pt x="0" y="1"/>
                      <a:pt x="0" y="3"/>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255"/>
              <p:cNvSpPr/>
              <p:nvPr/>
            </p:nvSpPr>
            <p:spPr bwMode="auto">
              <a:xfrm>
                <a:off x="6101" y="2869"/>
                <a:ext cx="100" cy="178"/>
              </a:xfrm>
              <a:custGeom>
                <a:gdLst>
                  <a:gd name="T0" fmla="*/ 9 w 42"/>
                  <a:gd name="T1" fmla="*/ 0 h 75"/>
                  <a:gd name="T2" fmla="*/ 14 w 42"/>
                  <a:gd name="T3" fmla="*/ 5 h 75"/>
                  <a:gd name="T4" fmla="*/ 10 w 42"/>
                  <a:gd name="T5" fmla="*/ 1 h 75"/>
                  <a:gd name="T6" fmla="*/ 8 w 42"/>
                  <a:gd name="T7" fmla="*/ 3 h 75"/>
                  <a:gd name="T8" fmla="*/ 10 w 42"/>
                  <a:gd name="T9" fmla="*/ 3 h 75"/>
                  <a:gd name="T10" fmla="*/ 14 w 42"/>
                  <a:gd name="T11" fmla="*/ 6 h 75"/>
                  <a:gd name="T12" fmla="*/ 14 w 42"/>
                  <a:gd name="T13" fmla="*/ 6 h 75"/>
                  <a:gd name="T14" fmla="*/ 13 w 42"/>
                  <a:gd name="T15" fmla="*/ 6 h 75"/>
                  <a:gd name="T16" fmla="*/ 11 w 42"/>
                  <a:gd name="T17" fmla="*/ 7 h 75"/>
                  <a:gd name="T18" fmla="*/ 7 w 42"/>
                  <a:gd name="T19" fmla="*/ 4 h 75"/>
                  <a:gd name="T20" fmla="*/ 7 w 42"/>
                  <a:gd name="T21" fmla="*/ 4 h 75"/>
                  <a:gd name="T22" fmla="*/ 8 w 42"/>
                  <a:gd name="T23" fmla="*/ 11 h 75"/>
                  <a:gd name="T24" fmla="*/ 4 w 42"/>
                  <a:gd name="T25" fmla="*/ 17 h 75"/>
                  <a:gd name="T26" fmla="*/ 4 w 42"/>
                  <a:gd name="T27" fmla="*/ 24 h 75"/>
                  <a:gd name="T28" fmla="*/ 3 w 42"/>
                  <a:gd name="T29" fmla="*/ 31 h 75"/>
                  <a:gd name="T30" fmla="*/ 1 w 42"/>
                  <a:gd name="T31" fmla="*/ 33 h 75"/>
                  <a:gd name="T32" fmla="*/ 0 w 42"/>
                  <a:gd name="T33" fmla="*/ 33 h 75"/>
                  <a:gd name="T34" fmla="*/ 1 w 42"/>
                  <a:gd name="T35" fmla="*/ 40 h 75"/>
                  <a:gd name="T36" fmla="*/ 3 w 42"/>
                  <a:gd name="T37" fmla="*/ 48 h 75"/>
                  <a:gd name="T38" fmla="*/ 4 w 42"/>
                  <a:gd name="T39" fmla="*/ 55 h 75"/>
                  <a:gd name="T40" fmla="*/ 6 w 42"/>
                  <a:gd name="T41" fmla="*/ 65 h 75"/>
                  <a:gd name="T42" fmla="*/ 8 w 42"/>
                  <a:gd name="T43" fmla="*/ 70 h 75"/>
                  <a:gd name="T44" fmla="*/ 12 w 42"/>
                  <a:gd name="T45" fmla="*/ 73 h 75"/>
                  <a:gd name="T46" fmla="*/ 17 w 42"/>
                  <a:gd name="T47" fmla="*/ 75 h 75"/>
                  <a:gd name="T48" fmla="*/ 25 w 42"/>
                  <a:gd name="T49" fmla="*/ 71 h 75"/>
                  <a:gd name="T50" fmla="*/ 38 w 42"/>
                  <a:gd name="T51" fmla="*/ 64 h 75"/>
                  <a:gd name="T52" fmla="*/ 41 w 42"/>
                  <a:gd name="T53" fmla="*/ 56 h 75"/>
                  <a:gd name="T54" fmla="*/ 41 w 42"/>
                  <a:gd name="T55" fmla="*/ 46 h 75"/>
                  <a:gd name="T56" fmla="*/ 40 w 42"/>
                  <a:gd name="T57" fmla="*/ 46 h 75"/>
                  <a:gd name="T58" fmla="*/ 35 w 42"/>
                  <a:gd name="T59" fmla="*/ 36 h 75"/>
                  <a:gd name="T60" fmla="*/ 33 w 42"/>
                  <a:gd name="T61" fmla="*/ 31 h 75"/>
                  <a:gd name="T62" fmla="*/ 27 w 42"/>
                  <a:gd name="T63" fmla="*/ 22 h 75"/>
                  <a:gd name="T64" fmla="*/ 24 w 42"/>
                  <a:gd name="T65" fmla="*/ 17 h 75"/>
                  <a:gd name="T66" fmla="*/ 18 w 42"/>
                  <a:gd name="T67" fmla="*/ 8 h 75"/>
                  <a:gd name="T68" fmla="*/ 15 w 42"/>
                  <a:gd name="T69" fmla="*/ 4 h 75"/>
                  <a:gd name="T70" fmla="*/ 9 w 42"/>
                  <a:gd name="T71" fmla="*/ 0 h 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75">
                    <a:moveTo>
                      <a:pt x="9" y="0"/>
                    </a:moveTo>
                    <a:cubicBezTo>
                      <a:pt x="9" y="0"/>
                      <a:pt x="9" y="0"/>
                      <a:pt x="9" y="0"/>
                    </a:cubicBezTo>
                    <a:cubicBezTo>
                      <a:pt x="9" y="0"/>
                      <a:pt x="10" y="1"/>
                      <a:pt x="10" y="1"/>
                    </a:cubicBezTo>
                    <a:cubicBezTo>
                      <a:pt x="12" y="2"/>
                      <a:pt x="13" y="4"/>
                      <a:pt x="14" y="5"/>
                    </a:cubicBezTo>
                    <a:cubicBezTo>
                      <a:pt x="12" y="4"/>
                      <a:pt x="11" y="3"/>
                      <a:pt x="10" y="2"/>
                    </a:cubicBezTo>
                    <a:cubicBezTo>
                      <a:pt x="10" y="1"/>
                      <a:pt x="10" y="1"/>
                      <a:pt x="10" y="1"/>
                    </a:cubicBezTo>
                    <a:cubicBezTo>
                      <a:pt x="9" y="0"/>
                      <a:pt x="7" y="0"/>
                      <a:pt x="6" y="0"/>
                    </a:cubicBezTo>
                    <a:cubicBezTo>
                      <a:pt x="6" y="0"/>
                      <a:pt x="7" y="2"/>
                      <a:pt x="8" y="3"/>
                    </a:cubicBezTo>
                    <a:cubicBezTo>
                      <a:pt x="9" y="4"/>
                      <a:pt x="9" y="4"/>
                      <a:pt x="9" y="4"/>
                    </a:cubicBezTo>
                    <a:cubicBezTo>
                      <a:pt x="9" y="4"/>
                      <a:pt x="10" y="4"/>
                      <a:pt x="10" y="3"/>
                    </a:cubicBezTo>
                    <a:cubicBezTo>
                      <a:pt x="11" y="4"/>
                      <a:pt x="12" y="5"/>
                      <a:pt x="13" y="6"/>
                    </a:cubicBezTo>
                    <a:cubicBezTo>
                      <a:pt x="14" y="6"/>
                      <a:pt x="14" y="6"/>
                      <a:pt x="14" y="6"/>
                    </a:cubicBezTo>
                    <a:cubicBezTo>
                      <a:pt x="15" y="6"/>
                      <a:pt x="16" y="6"/>
                      <a:pt x="17" y="7"/>
                    </a:cubicBezTo>
                    <a:cubicBezTo>
                      <a:pt x="16" y="7"/>
                      <a:pt x="15" y="6"/>
                      <a:pt x="14" y="6"/>
                    </a:cubicBezTo>
                    <a:cubicBezTo>
                      <a:pt x="13" y="6"/>
                      <a:pt x="13" y="6"/>
                      <a:pt x="13" y="6"/>
                    </a:cubicBezTo>
                    <a:cubicBezTo>
                      <a:pt x="13" y="6"/>
                      <a:pt x="13" y="6"/>
                      <a:pt x="13" y="6"/>
                    </a:cubicBezTo>
                    <a:cubicBezTo>
                      <a:pt x="12" y="7"/>
                      <a:pt x="12" y="7"/>
                      <a:pt x="11" y="7"/>
                    </a:cubicBezTo>
                    <a:cubicBezTo>
                      <a:pt x="11" y="7"/>
                      <a:pt x="11" y="7"/>
                      <a:pt x="11" y="7"/>
                    </a:cubicBezTo>
                    <a:cubicBezTo>
                      <a:pt x="10" y="7"/>
                      <a:pt x="11" y="6"/>
                      <a:pt x="11" y="6"/>
                    </a:cubicBezTo>
                    <a:cubicBezTo>
                      <a:pt x="10" y="6"/>
                      <a:pt x="8" y="5"/>
                      <a:pt x="7" y="4"/>
                    </a:cubicBezTo>
                    <a:cubicBezTo>
                      <a:pt x="7" y="4"/>
                      <a:pt x="7" y="4"/>
                      <a:pt x="7" y="4"/>
                    </a:cubicBezTo>
                    <a:cubicBezTo>
                      <a:pt x="7" y="4"/>
                      <a:pt x="7" y="4"/>
                      <a:pt x="7" y="4"/>
                    </a:cubicBezTo>
                    <a:cubicBezTo>
                      <a:pt x="8" y="5"/>
                      <a:pt x="10" y="6"/>
                      <a:pt x="9" y="7"/>
                    </a:cubicBezTo>
                    <a:cubicBezTo>
                      <a:pt x="7" y="9"/>
                      <a:pt x="7" y="8"/>
                      <a:pt x="8" y="11"/>
                    </a:cubicBezTo>
                    <a:cubicBezTo>
                      <a:pt x="8" y="12"/>
                      <a:pt x="8" y="12"/>
                      <a:pt x="8" y="12"/>
                    </a:cubicBezTo>
                    <a:cubicBezTo>
                      <a:pt x="7" y="13"/>
                      <a:pt x="5" y="15"/>
                      <a:pt x="4" y="17"/>
                    </a:cubicBezTo>
                    <a:cubicBezTo>
                      <a:pt x="4" y="18"/>
                      <a:pt x="4" y="20"/>
                      <a:pt x="4" y="22"/>
                    </a:cubicBezTo>
                    <a:cubicBezTo>
                      <a:pt x="4" y="23"/>
                      <a:pt x="4" y="23"/>
                      <a:pt x="4" y="24"/>
                    </a:cubicBezTo>
                    <a:cubicBezTo>
                      <a:pt x="4" y="25"/>
                      <a:pt x="4" y="27"/>
                      <a:pt x="4" y="28"/>
                    </a:cubicBezTo>
                    <a:cubicBezTo>
                      <a:pt x="3" y="29"/>
                      <a:pt x="3" y="30"/>
                      <a:pt x="3" y="31"/>
                    </a:cubicBezTo>
                    <a:cubicBezTo>
                      <a:pt x="2" y="33"/>
                      <a:pt x="2" y="34"/>
                      <a:pt x="1" y="35"/>
                    </a:cubicBezTo>
                    <a:cubicBezTo>
                      <a:pt x="1" y="35"/>
                      <a:pt x="1" y="34"/>
                      <a:pt x="1" y="33"/>
                    </a:cubicBezTo>
                    <a:cubicBezTo>
                      <a:pt x="0" y="32"/>
                      <a:pt x="1" y="31"/>
                      <a:pt x="1" y="30"/>
                    </a:cubicBezTo>
                    <a:cubicBezTo>
                      <a:pt x="0" y="31"/>
                      <a:pt x="0" y="32"/>
                      <a:pt x="0" y="33"/>
                    </a:cubicBezTo>
                    <a:cubicBezTo>
                      <a:pt x="0" y="34"/>
                      <a:pt x="1" y="34"/>
                      <a:pt x="1" y="35"/>
                    </a:cubicBezTo>
                    <a:cubicBezTo>
                      <a:pt x="1" y="36"/>
                      <a:pt x="1" y="38"/>
                      <a:pt x="1" y="40"/>
                    </a:cubicBezTo>
                    <a:cubicBezTo>
                      <a:pt x="2" y="42"/>
                      <a:pt x="2" y="44"/>
                      <a:pt x="2" y="46"/>
                    </a:cubicBezTo>
                    <a:cubicBezTo>
                      <a:pt x="2" y="47"/>
                      <a:pt x="2" y="48"/>
                      <a:pt x="3" y="48"/>
                    </a:cubicBezTo>
                    <a:cubicBezTo>
                      <a:pt x="3" y="50"/>
                      <a:pt x="3" y="51"/>
                      <a:pt x="3" y="53"/>
                    </a:cubicBezTo>
                    <a:cubicBezTo>
                      <a:pt x="3" y="54"/>
                      <a:pt x="3" y="54"/>
                      <a:pt x="4" y="55"/>
                    </a:cubicBezTo>
                    <a:cubicBezTo>
                      <a:pt x="4" y="57"/>
                      <a:pt x="4" y="58"/>
                      <a:pt x="4" y="59"/>
                    </a:cubicBezTo>
                    <a:cubicBezTo>
                      <a:pt x="5" y="61"/>
                      <a:pt x="5" y="63"/>
                      <a:pt x="6" y="65"/>
                    </a:cubicBezTo>
                    <a:cubicBezTo>
                      <a:pt x="6" y="66"/>
                      <a:pt x="7" y="67"/>
                      <a:pt x="7" y="68"/>
                    </a:cubicBezTo>
                    <a:cubicBezTo>
                      <a:pt x="7" y="69"/>
                      <a:pt x="8" y="70"/>
                      <a:pt x="8" y="70"/>
                    </a:cubicBezTo>
                    <a:cubicBezTo>
                      <a:pt x="9" y="71"/>
                      <a:pt x="9" y="72"/>
                      <a:pt x="10" y="73"/>
                    </a:cubicBezTo>
                    <a:cubicBezTo>
                      <a:pt x="11" y="73"/>
                      <a:pt x="11" y="73"/>
                      <a:pt x="12" y="73"/>
                    </a:cubicBezTo>
                    <a:cubicBezTo>
                      <a:pt x="14" y="74"/>
                      <a:pt x="15" y="74"/>
                      <a:pt x="17" y="75"/>
                    </a:cubicBezTo>
                    <a:cubicBezTo>
                      <a:pt x="17" y="75"/>
                      <a:pt x="17" y="75"/>
                      <a:pt x="17" y="75"/>
                    </a:cubicBezTo>
                    <a:cubicBezTo>
                      <a:pt x="17" y="75"/>
                      <a:pt x="18" y="75"/>
                      <a:pt x="19" y="74"/>
                    </a:cubicBezTo>
                    <a:cubicBezTo>
                      <a:pt x="21" y="74"/>
                      <a:pt x="24" y="72"/>
                      <a:pt x="25" y="71"/>
                    </a:cubicBezTo>
                    <a:cubicBezTo>
                      <a:pt x="28" y="69"/>
                      <a:pt x="31" y="67"/>
                      <a:pt x="35" y="66"/>
                    </a:cubicBezTo>
                    <a:cubicBezTo>
                      <a:pt x="36" y="65"/>
                      <a:pt x="37" y="65"/>
                      <a:pt x="38" y="64"/>
                    </a:cubicBezTo>
                    <a:cubicBezTo>
                      <a:pt x="39" y="63"/>
                      <a:pt x="39" y="62"/>
                      <a:pt x="40" y="60"/>
                    </a:cubicBezTo>
                    <a:cubicBezTo>
                      <a:pt x="41" y="59"/>
                      <a:pt x="41" y="57"/>
                      <a:pt x="41" y="56"/>
                    </a:cubicBezTo>
                    <a:cubicBezTo>
                      <a:pt x="41" y="55"/>
                      <a:pt x="42" y="53"/>
                      <a:pt x="42" y="52"/>
                    </a:cubicBezTo>
                    <a:cubicBezTo>
                      <a:pt x="42" y="49"/>
                      <a:pt x="41" y="46"/>
                      <a:pt x="41" y="46"/>
                    </a:cubicBezTo>
                    <a:cubicBezTo>
                      <a:pt x="41" y="46"/>
                      <a:pt x="41" y="46"/>
                      <a:pt x="41" y="46"/>
                    </a:cubicBezTo>
                    <a:cubicBezTo>
                      <a:pt x="40" y="46"/>
                      <a:pt x="40" y="46"/>
                      <a:pt x="40" y="46"/>
                    </a:cubicBezTo>
                    <a:cubicBezTo>
                      <a:pt x="39" y="45"/>
                      <a:pt x="38" y="43"/>
                      <a:pt x="37" y="41"/>
                    </a:cubicBezTo>
                    <a:cubicBezTo>
                      <a:pt x="36" y="39"/>
                      <a:pt x="36" y="38"/>
                      <a:pt x="35" y="36"/>
                    </a:cubicBezTo>
                    <a:cubicBezTo>
                      <a:pt x="34" y="34"/>
                      <a:pt x="33" y="32"/>
                      <a:pt x="33" y="31"/>
                    </a:cubicBezTo>
                    <a:cubicBezTo>
                      <a:pt x="33" y="31"/>
                      <a:pt x="33" y="31"/>
                      <a:pt x="33" y="31"/>
                    </a:cubicBezTo>
                    <a:cubicBezTo>
                      <a:pt x="32" y="29"/>
                      <a:pt x="31" y="27"/>
                      <a:pt x="30" y="26"/>
                    </a:cubicBezTo>
                    <a:cubicBezTo>
                      <a:pt x="29" y="24"/>
                      <a:pt x="28" y="23"/>
                      <a:pt x="27" y="22"/>
                    </a:cubicBezTo>
                    <a:cubicBezTo>
                      <a:pt x="26" y="20"/>
                      <a:pt x="25" y="19"/>
                      <a:pt x="24" y="17"/>
                    </a:cubicBezTo>
                    <a:cubicBezTo>
                      <a:pt x="24" y="17"/>
                      <a:pt x="24" y="17"/>
                      <a:pt x="24" y="17"/>
                    </a:cubicBezTo>
                    <a:cubicBezTo>
                      <a:pt x="23" y="15"/>
                      <a:pt x="22" y="14"/>
                      <a:pt x="21" y="13"/>
                    </a:cubicBezTo>
                    <a:cubicBezTo>
                      <a:pt x="20" y="11"/>
                      <a:pt x="19" y="9"/>
                      <a:pt x="18" y="8"/>
                    </a:cubicBezTo>
                    <a:cubicBezTo>
                      <a:pt x="18" y="7"/>
                      <a:pt x="17" y="6"/>
                      <a:pt x="16" y="6"/>
                    </a:cubicBezTo>
                    <a:cubicBezTo>
                      <a:pt x="16" y="5"/>
                      <a:pt x="15" y="5"/>
                      <a:pt x="15" y="4"/>
                    </a:cubicBezTo>
                    <a:cubicBezTo>
                      <a:pt x="14" y="3"/>
                      <a:pt x="12" y="2"/>
                      <a:pt x="11" y="1"/>
                    </a:cubicBezTo>
                    <a:cubicBezTo>
                      <a:pt x="10" y="0"/>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256"/>
              <p:cNvSpPr/>
              <p:nvPr/>
            </p:nvSpPr>
            <p:spPr bwMode="auto">
              <a:xfrm>
                <a:off x="6194" y="2964"/>
                <a:ext cx="4" cy="12"/>
              </a:xfrm>
              <a:custGeom>
                <a:gdLst>
                  <a:gd name="T0" fmla="*/ 0 w 2"/>
                  <a:gd name="T1" fmla="*/ 0 h 5"/>
                  <a:gd name="T2" fmla="*/ 1 w 2"/>
                  <a:gd name="T3" fmla="*/ 5 h 5"/>
                  <a:gd name="T4" fmla="*/ 0 w 2"/>
                  <a:gd name="T5" fmla="*/ 0 h 5"/>
                </a:gdLst>
                <a:cxnLst>
                  <a:cxn ang="0">
                    <a:pos x="T0" y="T1"/>
                  </a:cxn>
                  <a:cxn ang="0">
                    <a:pos x="T2" y="T3"/>
                  </a:cxn>
                  <a:cxn ang="0">
                    <a:pos x="T4" y="T5"/>
                  </a:cxn>
                </a:cxnLst>
                <a:rect l="0" t="0" r="r" b="b"/>
                <a:pathLst>
                  <a:path w="2" h="5">
                    <a:moveTo>
                      <a:pt x="0" y="0"/>
                    </a:moveTo>
                    <a:cubicBezTo>
                      <a:pt x="0" y="2"/>
                      <a:pt x="1" y="3"/>
                      <a:pt x="1" y="5"/>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257"/>
              <p:cNvSpPr/>
              <p:nvPr/>
            </p:nvSpPr>
            <p:spPr bwMode="auto">
              <a:xfrm>
                <a:off x="6104" y="2902"/>
                <a:ext cx="7" cy="5"/>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1"/>
                      <a:pt x="2"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258"/>
              <p:cNvSpPr/>
              <p:nvPr/>
            </p:nvSpPr>
            <p:spPr bwMode="auto">
              <a:xfrm>
                <a:off x="8682" y="-635"/>
                <a:ext cx="42" cy="10"/>
              </a:xfrm>
              <a:custGeom>
                <a:gdLst>
                  <a:gd name="T0" fmla="*/ 6 w 18"/>
                  <a:gd name="T1" fmla="*/ 0 h 4"/>
                  <a:gd name="T2" fmla="*/ 0 w 18"/>
                  <a:gd name="T3" fmla="*/ 0 h 4"/>
                  <a:gd name="T4" fmla="*/ 4 w 18"/>
                  <a:gd name="T5" fmla="*/ 2 h 4"/>
                  <a:gd name="T6" fmla="*/ 4 w 18"/>
                  <a:gd name="T7" fmla="*/ 2 h 4"/>
                  <a:gd name="T8" fmla="*/ 6 w 18"/>
                  <a:gd name="T9" fmla="*/ 1 h 4"/>
                  <a:gd name="T10" fmla="*/ 6 w 18"/>
                  <a:gd name="T11" fmla="*/ 1 h 4"/>
                  <a:gd name="T12" fmla="*/ 8 w 18"/>
                  <a:gd name="T13" fmla="*/ 2 h 4"/>
                  <a:gd name="T14" fmla="*/ 13 w 18"/>
                  <a:gd name="T15" fmla="*/ 4 h 4"/>
                  <a:gd name="T16" fmla="*/ 13 w 18"/>
                  <a:gd name="T17" fmla="*/ 4 h 4"/>
                  <a:gd name="T18" fmla="*/ 18 w 18"/>
                  <a:gd name="T19" fmla="*/ 0 h 4"/>
                  <a:gd name="T20" fmla="*/ 6 w 18"/>
                  <a:gd name="T21"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4">
                    <a:moveTo>
                      <a:pt x="6" y="0"/>
                    </a:moveTo>
                    <a:cubicBezTo>
                      <a:pt x="4" y="0"/>
                      <a:pt x="2" y="0"/>
                      <a:pt x="0" y="0"/>
                    </a:cubicBezTo>
                    <a:cubicBezTo>
                      <a:pt x="2" y="1"/>
                      <a:pt x="3" y="2"/>
                      <a:pt x="4" y="2"/>
                    </a:cubicBezTo>
                    <a:cubicBezTo>
                      <a:pt x="4" y="2"/>
                      <a:pt x="4" y="2"/>
                      <a:pt x="4" y="2"/>
                    </a:cubicBezTo>
                    <a:cubicBezTo>
                      <a:pt x="5" y="2"/>
                      <a:pt x="5" y="1"/>
                      <a:pt x="6" y="1"/>
                    </a:cubicBezTo>
                    <a:cubicBezTo>
                      <a:pt x="6" y="1"/>
                      <a:pt x="6" y="1"/>
                      <a:pt x="6" y="1"/>
                    </a:cubicBezTo>
                    <a:cubicBezTo>
                      <a:pt x="7" y="1"/>
                      <a:pt x="8" y="1"/>
                      <a:pt x="8" y="2"/>
                    </a:cubicBezTo>
                    <a:cubicBezTo>
                      <a:pt x="10" y="2"/>
                      <a:pt x="11" y="4"/>
                      <a:pt x="13" y="4"/>
                    </a:cubicBezTo>
                    <a:cubicBezTo>
                      <a:pt x="13" y="4"/>
                      <a:pt x="13" y="4"/>
                      <a:pt x="13" y="4"/>
                    </a:cubicBezTo>
                    <a:cubicBezTo>
                      <a:pt x="15" y="3"/>
                      <a:pt x="17" y="2"/>
                      <a:pt x="18" y="0"/>
                    </a:cubicBezTo>
                    <a:cubicBezTo>
                      <a:pt x="14" y="0"/>
                      <a:pt x="10"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259"/>
              <p:cNvSpPr/>
              <p:nvPr/>
            </p:nvSpPr>
            <p:spPr bwMode="auto">
              <a:xfrm>
                <a:off x="8670" y="-1046"/>
                <a:ext cx="388" cy="142"/>
              </a:xfrm>
              <a:custGeom>
                <a:gdLst>
                  <a:gd name="T0" fmla="*/ 32 w 164"/>
                  <a:gd name="T1" fmla="*/ 6 h 60"/>
                  <a:gd name="T2" fmla="*/ 29 w 164"/>
                  <a:gd name="T3" fmla="*/ 3 h 60"/>
                  <a:gd name="T4" fmla="*/ 24 w 164"/>
                  <a:gd name="T5" fmla="*/ 6 h 60"/>
                  <a:gd name="T6" fmla="*/ 23 w 164"/>
                  <a:gd name="T7" fmla="*/ 7 h 60"/>
                  <a:gd name="T8" fmla="*/ 13 w 164"/>
                  <a:gd name="T9" fmla="*/ 11 h 60"/>
                  <a:gd name="T10" fmla="*/ 13 w 164"/>
                  <a:gd name="T11" fmla="*/ 17 h 60"/>
                  <a:gd name="T12" fmla="*/ 10 w 164"/>
                  <a:gd name="T13" fmla="*/ 16 h 60"/>
                  <a:gd name="T14" fmla="*/ 5 w 164"/>
                  <a:gd name="T15" fmla="*/ 23 h 60"/>
                  <a:gd name="T16" fmla="*/ 9 w 164"/>
                  <a:gd name="T17" fmla="*/ 25 h 60"/>
                  <a:gd name="T18" fmla="*/ 10 w 164"/>
                  <a:gd name="T19" fmla="*/ 34 h 60"/>
                  <a:gd name="T20" fmla="*/ 7 w 164"/>
                  <a:gd name="T21" fmla="*/ 33 h 60"/>
                  <a:gd name="T22" fmla="*/ 4 w 164"/>
                  <a:gd name="T23" fmla="*/ 32 h 60"/>
                  <a:gd name="T24" fmla="*/ 19 w 164"/>
                  <a:gd name="T25" fmla="*/ 49 h 60"/>
                  <a:gd name="T26" fmla="*/ 26 w 164"/>
                  <a:gd name="T27" fmla="*/ 54 h 60"/>
                  <a:gd name="T28" fmla="*/ 44 w 164"/>
                  <a:gd name="T29" fmla="*/ 60 h 60"/>
                  <a:gd name="T30" fmla="*/ 51 w 164"/>
                  <a:gd name="T31" fmla="*/ 57 h 60"/>
                  <a:gd name="T32" fmla="*/ 53 w 164"/>
                  <a:gd name="T33" fmla="*/ 52 h 60"/>
                  <a:gd name="T34" fmla="*/ 55 w 164"/>
                  <a:gd name="T35" fmla="*/ 48 h 60"/>
                  <a:gd name="T36" fmla="*/ 62 w 164"/>
                  <a:gd name="T37" fmla="*/ 51 h 60"/>
                  <a:gd name="T38" fmla="*/ 66 w 164"/>
                  <a:gd name="T39" fmla="*/ 53 h 60"/>
                  <a:gd name="T40" fmla="*/ 86 w 164"/>
                  <a:gd name="T41" fmla="*/ 50 h 60"/>
                  <a:gd name="T42" fmla="*/ 101 w 164"/>
                  <a:gd name="T43" fmla="*/ 47 h 60"/>
                  <a:gd name="T44" fmla="*/ 107 w 164"/>
                  <a:gd name="T45" fmla="*/ 49 h 60"/>
                  <a:gd name="T46" fmla="*/ 104 w 164"/>
                  <a:gd name="T47" fmla="*/ 49 h 60"/>
                  <a:gd name="T48" fmla="*/ 100 w 164"/>
                  <a:gd name="T49" fmla="*/ 50 h 60"/>
                  <a:gd name="T50" fmla="*/ 109 w 164"/>
                  <a:gd name="T51" fmla="*/ 54 h 60"/>
                  <a:gd name="T52" fmla="*/ 115 w 164"/>
                  <a:gd name="T53" fmla="*/ 51 h 60"/>
                  <a:gd name="T54" fmla="*/ 117 w 164"/>
                  <a:gd name="T55" fmla="*/ 52 h 60"/>
                  <a:gd name="T56" fmla="*/ 132 w 164"/>
                  <a:gd name="T57" fmla="*/ 49 h 60"/>
                  <a:gd name="T58" fmla="*/ 105 w 164"/>
                  <a:gd name="T59" fmla="*/ 35 h 60"/>
                  <a:gd name="T60" fmla="*/ 104 w 164"/>
                  <a:gd name="T61" fmla="*/ 29 h 60"/>
                  <a:gd name="T62" fmla="*/ 102 w 164"/>
                  <a:gd name="T63" fmla="*/ 23 h 60"/>
                  <a:gd name="T64" fmla="*/ 104 w 164"/>
                  <a:gd name="T65" fmla="*/ 23 h 60"/>
                  <a:gd name="T66" fmla="*/ 104 w 164"/>
                  <a:gd name="T67" fmla="*/ 21 h 60"/>
                  <a:gd name="T68" fmla="*/ 107 w 164"/>
                  <a:gd name="T69" fmla="*/ 19 h 60"/>
                  <a:gd name="T70" fmla="*/ 114 w 164"/>
                  <a:gd name="T71" fmla="*/ 19 h 60"/>
                  <a:gd name="T72" fmla="*/ 116 w 164"/>
                  <a:gd name="T73" fmla="*/ 25 h 60"/>
                  <a:gd name="T74" fmla="*/ 110 w 164"/>
                  <a:gd name="T75" fmla="*/ 32 h 60"/>
                  <a:gd name="T76" fmla="*/ 114 w 164"/>
                  <a:gd name="T77" fmla="*/ 38 h 60"/>
                  <a:gd name="T78" fmla="*/ 119 w 164"/>
                  <a:gd name="T79" fmla="*/ 42 h 60"/>
                  <a:gd name="T80" fmla="*/ 127 w 164"/>
                  <a:gd name="T81" fmla="*/ 44 h 60"/>
                  <a:gd name="T82" fmla="*/ 131 w 164"/>
                  <a:gd name="T83" fmla="*/ 44 h 60"/>
                  <a:gd name="T84" fmla="*/ 138 w 164"/>
                  <a:gd name="T85" fmla="*/ 46 h 60"/>
                  <a:gd name="T86" fmla="*/ 142 w 164"/>
                  <a:gd name="T87" fmla="*/ 45 h 60"/>
                  <a:gd name="T88" fmla="*/ 144 w 164"/>
                  <a:gd name="T89" fmla="*/ 45 h 60"/>
                  <a:gd name="T90" fmla="*/ 151 w 164"/>
                  <a:gd name="T91" fmla="*/ 41 h 60"/>
                  <a:gd name="T92" fmla="*/ 153 w 164"/>
                  <a:gd name="T93" fmla="*/ 30 h 60"/>
                  <a:gd name="T94" fmla="*/ 163 w 164"/>
                  <a:gd name="T95" fmla="*/ 27 h 60"/>
                  <a:gd name="T96" fmla="*/ 143 w 164"/>
                  <a:gd name="T97" fmla="*/ 18 h 60"/>
                  <a:gd name="T98" fmla="*/ 100 w 164"/>
                  <a:gd name="T99" fmla="*/ 6 h 60"/>
                  <a:gd name="T100" fmla="*/ 89 w 164"/>
                  <a:gd name="T101" fmla="*/ 1 h 60"/>
                  <a:gd name="T102" fmla="*/ 90 w 164"/>
                  <a:gd name="T103" fmla="*/ 8 h 60"/>
                  <a:gd name="T104" fmla="*/ 83 w 164"/>
                  <a:gd name="T105" fmla="*/ 8 h 60"/>
                  <a:gd name="T106" fmla="*/ 79 w 164"/>
                  <a:gd name="T107" fmla="*/ 10 h 60"/>
                  <a:gd name="T108" fmla="*/ 81 w 164"/>
                  <a:gd name="T109" fmla="*/ 20 h 60"/>
                  <a:gd name="T110" fmla="*/ 79 w 164"/>
                  <a:gd name="T111" fmla="*/ 23 h 60"/>
                  <a:gd name="T112" fmla="*/ 69 w 164"/>
                  <a:gd name="T113" fmla="*/ 16 h 60"/>
                  <a:gd name="T114" fmla="*/ 57 w 164"/>
                  <a:gd name="T115" fmla="*/ 12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4" h="60">
                    <a:moveTo>
                      <a:pt x="42" y="0"/>
                    </a:moveTo>
                    <a:cubicBezTo>
                      <a:pt x="39" y="2"/>
                      <a:pt x="36" y="4"/>
                      <a:pt x="32" y="6"/>
                    </a:cubicBezTo>
                    <a:cubicBezTo>
                      <a:pt x="31" y="4"/>
                      <a:pt x="31" y="3"/>
                      <a:pt x="30" y="3"/>
                    </a:cubicBezTo>
                    <a:cubicBezTo>
                      <a:pt x="30" y="3"/>
                      <a:pt x="29" y="3"/>
                      <a:pt x="29" y="3"/>
                    </a:cubicBezTo>
                    <a:cubicBezTo>
                      <a:pt x="28" y="3"/>
                      <a:pt x="27" y="3"/>
                      <a:pt x="27" y="4"/>
                    </a:cubicBezTo>
                    <a:cubicBezTo>
                      <a:pt x="26" y="4"/>
                      <a:pt x="25" y="5"/>
                      <a:pt x="24" y="6"/>
                    </a:cubicBezTo>
                    <a:cubicBezTo>
                      <a:pt x="24" y="6"/>
                      <a:pt x="24" y="5"/>
                      <a:pt x="25" y="5"/>
                    </a:cubicBezTo>
                    <a:cubicBezTo>
                      <a:pt x="26" y="5"/>
                      <a:pt x="24" y="7"/>
                      <a:pt x="23" y="7"/>
                    </a:cubicBezTo>
                    <a:cubicBezTo>
                      <a:pt x="22" y="7"/>
                      <a:pt x="20" y="7"/>
                      <a:pt x="19" y="8"/>
                    </a:cubicBezTo>
                    <a:cubicBezTo>
                      <a:pt x="18" y="8"/>
                      <a:pt x="13" y="9"/>
                      <a:pt x="13" y="11"/>
                    </a:cubicBezTo>
                    <a:cubicBezTo>
                      <a:pt x="12" y="12"/>
                      <a:pt x="15" y="16"/>
                      <a:pt x="13" y="17"/>
                    </a:cubicBezTo>
                    <a:cubicBezTo>
                      <a:pt x="13" y="17"/>
                      <a:pt x="13" y="17"/>
                      <a:pt x="13" y="17"/>
                    </a:cubicBezTo>
                    <a:cubicBezTo>
                      <a:pt x="12" y="17"/>
                      <a:pt x="12" y="17"/>
                      <a:pt x="11" y="17"/>
                    </a:cubicBezTo>
                    <a:cubicBezTo>
                      <a:pt x="11" y="17"/>
                      <a:pt x="10" y="16"/>
                      <a:pt x="10" y="16"/>
                    </a:cubicBezTo>
                    <a:cubicBezTo>
                      <a:pt x="9" y="16"/>
                      <a:pt x="9" y="16"/>
                      <a:pt x="9" y="16"/>
                    </a:cubicBezTo>
                    <a:cubicBezTo>
                      <a:pt x="6" y="17"/>
                      <a:pt x="7" y="22"/>
                      <a:pt x="5" y="23"/>
                    </a:cubicBezTo>
                    <a:cubicBezTo>
                      <a:pt x="6" y="23"/>
                      <a:pt x="7" y="22"/>
                      <a:pt x="7" y="22"/>
                    </a:cubicBezTo>
                    <a:cubicBezTo>
                      <a:pt x="8" y="22"/>
                      <a:pt x="9" y="23"/>
                      <a:pt x="9" y="25"/>
                    </a:cubicBezTo>
                    <a:cubicBezTo>
                      <a:pt x="9" y="28"/>
                      <a:pt x="11" y="28"/>
                      <a:pt x="8" y="29"/>
                    </a:cubicBezTo>
                    <a:cubicBezTo>
                      <a:pt x="4" y="31"/>
                      <a:pt x="14" y="32"/>
                      <a:pt x="10" y="34"/>
                    </a:cubicBezTo>
                    <a:cubicBezTo>
                      <a:pt x="10" y="34"/>
                      <a:pt x="9" y="34"/>
                      <a:pt x="9" y="34"/>
                    </a:cubicBezTo>
                    <a:cubicBezTo>
                      <a:pt x="8" y="34"/>
                      <a:pt x="7" y="34"/>
                      <a:pt x="7" y="33"/>
                    </a:cubicBezTo>
                    <a:cubicBezTo>
                      <a:pt x="6" y="32"/>
                      <a:pt x="5" y="32"/>
                      <a:pt x="5" y="32"/>
                    </a:cubicBezTo>
                    <a:cubicBezTo>
                      <a:pt x="4" y="32"/>
                      <a:pt x="4" y="32"/>
                      <a:pt x="4" y="32"/>
                    </a:cubicBezTo>
                    <a:cubicBezTo>
                      <a:pt x="0" y="33"/>
                      <a:pt x="5" y="39"/>
                      <a:pt x="7" y="41"/>
                    </a:cubicBezTo>
                    <a:cubicBezTo>
                      <a:pt x="10" y="44"/>
                      <a:pt x="15" y="46"/>
                      <a:pt x="19" y="49"/>
                    </a:cubicBezTo>
                    <a:cubicBezTo>
                      <a:pt x="20" y="50"/>
                      <a:pt x="20" y="51"/>
                      <a:pt x="21" y="52"/>
                    </a:cubicBezTo>
                    <a:cubicBezTo>
                      <a:pt x="23" y="53"/>
                      <a:pt x="25" y="54"/>
                      <a:pt x="26" y="54"/>
                    </a:cubicBezTo>
                    <a:cubicBezTo>
                      <a:pt x="30" y="55"/>
                      <a:pt x="34" y="57"/>
                      <a:pt x="38" y="58"/>
                    </a:cubicBezTo>
                    <a:cubicBezTo>
                      <a:pt x="40" y="59"/>
                      <a:pt x="42" y="60"/>
                      <a:pt x="44" y="60"/>
                    </a:cubicBezTo>
                    <a:cubicBezTo>
                      <a:pt x="44" y="60"/>
                      <a:pt x="45" y="60"/>
                      <a:pt x="45" y="60"/>
                    </a:cubicBezTo>
                    <a:cubicBezTo>
                      <a:pt x="47" y="60"/>
                      <a:pt x="49" y="59"/>
                      <a:pt x="51" y="57"/>
                    </a:cubicBezTo>
                    <a:cubicBezTo>
                      <a:pt x="53" y="56"/>
                      <a:pt x="53" y="53"/>
                      <a:pt x="54" y="52"/>
                    </a:cubicBezTo>
                    <a:cubicBezTo>
                      <a:pt x="54" y="52"/>
                      <a:pt x="54" y="52"/>
                      <a:pt x="53" y="52"/>
                    </a:cubicBezTo>
                    <a:cubicBezTo>
                      <a:pt x="51" y="52"/>
                      <a:pt x="53" y="48"/>
                      <a:pt x="55" y="48"/>
                    </a:cubicBezTo>
                    <a:cubicBezTo>
                      <a:pt x="55" y="48"/>
                      <a:pt x="55" y="48"/>
                      <a:pt x="55" y="48"/>
                    </a:cubicBezTo>
                    <a:cubicBezTo>
                      <a:pt x="56" y="48"/>
                      <a:pt x="58" y="48"/>
                      <a:pt x="59" y="48"/>
                    </a:cubicBezTo>
                    <a:cubicBezTo>
                      <a:pt x="59" y="48"/>
                      <a:pt x="61" y="50"/>
                      <a:pt x="62" y="51"/>
                    </a:cubicBezTo>
                    <a:cubicBezTo>
                      <a:pt x="63" y="52"/>
                      <a:pt x="63" y="53"/>
                      <a:pt x="65" y="53"/>
                    </a:cubicBezTo>
                    <a:cubicBezTo>
                      <a:pt x="65" y="53"/>
                      <a:pt x="65" y="53"/>
                      <a:pt x="66" y="53"/>
                    </a:cubicBezTo>
                    <a:cubicBezTo>
                      <a:pt x="69" y="53"/>
                      <a:pt x="73" y="52"/>
                      <a:pt x="76" y="51"/>
                    </a:cubicBezTo>
                    <a:cubicBezTo>
                      <a:pt x="79" y="51"/>
                      <a:pt x="83" y="50"/>
                      <a:pt x="86" y="50"/>
                    </a:cubicBezTo>
                    <a:cubicBezTo>
                      <a:pt x="90" y="49"/>
                      <a:pt x="93" y="48"/>
                      <a:pt x="97" y="47"/>
                    </a:cubicBezTo>
                    <a:cubicBezTo>
                      <a:pt x="98" y="47"/>
                      <a:pt x="100" y="47"/>
                      <a:pt x="101" y="47"/>
                    </a:cubicBezTo>
                    <a:cubicBezTo>
                      <a:pt x="101" y="47"/>
                      <a:pt x="102" y="47"/>
                      <a:pt x="103" y="47"/>
                    </a:cubicBezTo>
                    <a:cubicBezTo>
                      <a:pt x="105" y="47"/>
                      <a:pt x="104" y="48"/>
                      <a:pt x="107" y="49"/>
                    </a:cubicBezTo>
                    <a:cubicBezTo>
                      <a:pt x="106" y="49"/>
                      <a:pt x="106" y="49"/>
                      <a:pt x="106" y="49"/>
                    </a:cubicBezTo>
                    <a:cubicBezTo>
                      <a:pt x="106" y="49"/>
                      <a:pt x="105" y="49"/>
                      <a:pt x="104" y="49"/>
                    </a:cubicBezTo>
                    <a:cubicBezTo>
                      <a:pt x="103" y="49"/>
                      <a:pt x="102" y="49"/>
                      <a:pt x="101" y="49"/>
                    </a:cubicBezTo>
                    <a:cubicBezTo>
                      <a:pt x="100" y="49"/>
                      <a:pt x="99" y="49"/>
                      <a:pt x="100" y="50"/>
                    </a:cubicBezTo>
                    <a:cubicBezTo>
                      <a:pt x="101" y="51"/>
                      <a:pt x="107" y="53"/>
                      <a:pt x="109" y="54"/>
                    </a:cubicBezTo>
                    <a:cubicBezTo>
                      <a:pt x="109" y="54"/>
                      <a:pt x="109" y="54"/>
                      <a:pt x="109" y="54"/>
                    </a:cubicBezTo>
                    <a:cubicBezTo>
                      <a:pt x="110" y="54"/>
                      <a:pt x="112" y="53"/>
                      <a:pt x="113" y="53"/>
                    </a:cubicBezTo>
                    <a:cubicBezTo>
                      <a:pt x="114" y="53"/>
                      <a:pt x="114" y="51"/>
                      <a:pt x="115" y="51"/>
                    </a:cubicBezTo>
                    <a:cubicBezTo>
                      <a:pt x="115" y="51"/>
                      <a:pt x="115" y="51"/>
                      <a:pt x="115" y="51"/>
                    </a:cubicBezTo>
                    <a:cubicBezTo>
                      <a:pt x="116" y="51"/>
                      <a:pt x="116" y="52"/>
                      <a:pt x="117" y="52"/>
                    </a:cubicBezTo>
                    <a:cubicBezTo>
                      <a:pt x="119" y="52"/>
                      <a:pt x="122" y="51"/>
                      <a:pt x="124" y="51"/>
                    </a:cubicBezTo>
                    <a:cubicBezTo>
                      <a:pt x="127" y="50"/>
                      <a:pt x="129" y="50"/>
                      <a:pt x="132" y="49"/>
                    </a:cubicBezTo>
                    <a:cubicBezTo>
                      <a:pt x="127" y="47"/>
                      <a:pt x="121" y="45"/>
                      <a:pt x="115" y="44"/>
                    </a:cubicBezTo>
                    <a:cubicBezTo>
                      <a:pt x="110" y="43"/>
                      <a:pt x="109" y="37"/>
                      <a:pt x="105" y="35"/>
                    </a:cubicBezTo>
                    <a:cubicBezTo>
                      <a:pt x="104" y="34"/>
                      <a:pt x="103" y="33"/>
                      <a:pt x="103" y="32"/>
                    </a:cubicBezTo>
                    <a:cubicBezTo>
                      <a:pt x="103" y="31"/>
                      <a:pt x="104" y="30"/>
                      <a:pt x="104" y="29"/>
                    </a:cubicBezTo>
                    <a:cubicBezTo>
                      <a:pt x="103" y="28"/>
                      <a:pt x="102" y="27"/>
                      <a:pt x="102" y="26"/>
                    </a:cubicBezTo>
                    <a:cubicBezTo>
                      <a:pt x="102" y="25"/>
                      <a:pt x="104" y="24"/>
                      <a:pt x="102" y="23"/>
                    </a:cubicBezTo>
                    <a:cubicBezTo>
                      <a:pt x="102" y="23"/>
                      <a:pt x="103" y="23"/>
                      <a:pt x="104" y="23"/>
                    </a:cubicBezTo>
                    <a:cubicBezTo>
                      <a:pt x="104" y="23"/>
                      <a:pt x="104" y="23"/>
                      <a:pt x="104" y="23"/>
                    </a:cubicBezTo>
                    <a:cubicBezTo>
                      <a:pt x="103" y="22"/>
                      <a:pt x="103" y="22"/>
                      <a:pt x="102" y="21"/>
                    </a:cubicBezTo>
                    <a:cubicBezTo>
                      <a:pt x="103" y="21"/>
                      <a:pt x="103" y="21"/>
                      <a:pt x="104" y="21"/>
                    </a:cubicBezTo>
                    <a:cubicBezTo>
                      <a:pt x="107" y="21"/>
                      <a:pt x="110" y="21"/>
                      <a:pt x="107" y="19"/>
                    </a:cubicBezTo>
                    <a:cubicBezTo>
                      <a:pt x="107" y="19"/>
                      <a:pt x="107" y="19"/>
                      <a:pt x="107" y="19"/>
                    </a:cubicBezTo>
                    <a:cubicBezTo>
                      <a:pt x="108" y="19"/>
                      <a:pt x="109" y="19"/>
                      <a:pt x="111" y="19"/>
                    </a:cubicBezTo>
                    <a:cubicBezTo>
                      <a:pt x="112" y="19"/>
                      <a:pt x="113" y="19"/>
                      <a:pt x="114" y="19"/>
                    </a:cubicBezTo>
                    <a:cubicBezTo>
                      <a:pt x="116" y="19"/>
                      <a:pt x="117" y="19"/>
                      <a:pt x="118" y="20"/>
                    </a:cubicBezTo>
                    <a:cubicBezTo>
                      <a:pt x="121" y="24"/>
                      <a:pt x="118" y="24"/>
                      <a:pt x="116" y="25"/>
                    </a:cubicBezTo>
                    <a:cubicBezTo>
                      <a:pt x="114" y="26"/>
                      <a:pt x="113" y="27"/>
                      <a:pt x="112" y="28"/>
                    </a:cubicBezTo>
                    <a:cubicBezTo>
                      <a:pt x="111" y="29"/>
                      <a:pt x="109" y="30"/>
                      <a:pt x="110" y="32"/>
                    </a:cubicBezTo>
                    <a:cubicBezTo>
                      <a:pt x="110" y="34"/>
                      <a:pt x="112" y="34"/>
                      <a:pt x="113" y="36"/>
                    </a:cubicBezTo>
                    <a:cubicBezTo>
                      <a:pt x="113" y="36"/>
                      <a:pt x="113" y="37"/>
                      <a:pt x="114" y="38"/>
                    </a:cubicBezTo>
                    <a:cubicBezTo>
                      <a:pt x="115" y="39"/>
                      <a:pt x="116" y="39"/>
                      <a:pt x="117" y="40"/>
                    </a:cubicBezTo>
                    <a:cubicBezTo>
                      <a:pt x="118" y="41"/>
                      <a:pt x="117" y="41"/>
                      <a:pt x="119" y="42"/>
                    </a:cubicBezTo>
                    <a:cubicBezTo>
                      <a:pt x="121" y="43"/>
                      <a:pt x="123" y="43"/>
                      <a:pt x="125" y="44"/>
                    </a:cubicBezTo>
                    <a:cubicBezTo>
                      <a:pt x="125" y="44"/>
                      <a:pt x="126" y="44"/>
                      <a:pt x="127" y="44"/>
                    </a:cubicBezTo>
                    <a:cubicBezTo>
                      <a:pt x="128" y="44"/>
                      <a:pt x="128" y="44"/>
                      <a:pt x="129" y="44"/>
                    </a:cubicBezTo>
                    <a:cubicBezTo>
                      <a:pt x="129" y="44"/>
                      <a:pt x="130" y="44"/>
                      <a:pt x="131" y="44"/>
                    </a:cubicBezTo>
                    <a:cubicBezTo>
                      <a:pt x="132" y="44"/>
                      <a:pt x="134" y="44"/>
                      <a:pt x="135" y="45"/>
                    </a:cubicBezTo>
                    <a:cubicBezTo>
                      <a:pt x="136" y="45"/>
                      <a:pt x="137" y="46"/>
                      <a:pt x="138" y="46"/>
                    </a:cubicBezTo>
                    <a:cubicBezTo>
                      <a:pt x="139" y="46"/>
                      <a:pt x="139" y="45"/>
                      <a:pt x="141" y="45"/>
                    </a:cubicBezTo>
                    <a:cubicBezTo>
                      <a:pt x="141" y="45"/>
                      <a:pt x="142" y="45"/>
                      <a:pt x="142" y="45"/>
                    </a:cubicBezTo>
                    <a:cubicBezTo>
                      <a:pt x="142" y="45"/>
                      <a:pt x="143" y="45"/>
                      <a:pt x="143" y="45"/>
                    </a:cubicBezTo>
                    <a:cubicBezTo>
                      <a:pt x="143" y="45"/>
                      <a:pt x="143" y="45"/>
                      <a:pt x="144" y="45"/>
                    </a:cubicBezTo>
                    <a:cubicBezTo>
                      <a:pt x="144" y="45"/>
                      <a:pt x="145" y="45"/>
                      <a:pt x="146" y="44"/>
                    </a:cubicBezTo>
                    <a:cubicBezTo>
                      <a:pt x="147" y="44"/>
                      <a:pt x="150" y="42"/>
                      <a:pt x="151" y="41"/>
                    </a:cubicBezTo>
                    <a:cubicBezTo>
                      <a:pt x="152" y="39"/>
                      <a:pt x="151" y="37"/>
                      <a:pt x="154" y="37"/>
                    </a:cubicBezTo>
                    <a:cubicBezTo>
                      <a:pt x="158" y="36"/>
                      <a:pt x="150" y="32"/>
                      <a:pt x="153" y="30"/>
                    </a:cubicBezTo>
                    <a:cubicBezTo>
                      <a:pt x="154" y="29"/>
                      <a:pt x="157" y="28"/>
                      <a:pt x="159" y="28"/>
                    </a:cubicBezTo>
                    <a:cubicBezTo>
                      <a:pt x="160" y="27"/>
                      <a:pt x="162" y="27"/>
                      <a:pt x="163" y="27"/>
                    </a:cubicBezTo>
                    <a:cubicBezTo>
                      <a:pt x="164" y="27"/>
                      <a:pt x="164" y="27"/>
                      <a:pt x="164" y="27"/>
                    </a:cubicBezTo>
                    <a:cubicBezTo>
                      <a:pt x="158" y="22"/>
                      <a:pt x="150" y="21"/>
                      <a:pt x="143" y="18"/>
                    </a:cubicBezTo>
                    <a:cubicBezTo>
                      <a:pt x="139" y="16"/>
                      <a:pt x="135" y="14"/>
                      <a:pt x="131" y="13"/>
                    </a:cubicBezTo>
                    <a:cubicBezTo>
                      <a:pt x="121" y="11"/>
                      <a:pt x="110" y="9"/>
                      <a:pt x="100" y="6"/>
                    </a:cubicBezTo>
                    <a:cubicBezTo>
                      <a:pt x="98" y="6"/>
                      <a:pt x="97" y="5"/>
                      <a:pt x="96" y="4"/>
                    </a:cubicBezTo>
                    <a:cubicBezTo>
                      <a:pt x="93" y="3"/>
                      <a:pt x="91" y="3"/>
                      <a:pt x="89" y="1"/>
                    </a:cubicBezTo>
                    <a:cubicBezTo>
                      <a:pt x="88" y="2"/>
                      <a:pt x="90" y="5"/>
                      <a:pt x="90" y="6"/>
                    </a:cubicBezTo>
                    <a:cubicBezTo>
                      <a:pt x="92" y="8"/>
                      <a:pt x="93" y="8"/>
                      <a:pt x="90" y="8"/>
                    </a:cubicBezTo>
                    <a:cubicBezTo>
                      <a:pt x="90" y="8"/>
                      <a:pt x="89" y="8"/>
                      <a:pt x="89" y="8"/>
                    </a:cubicBezTo>
                    <a:cubicBezTo>
                      <a:pt x="87" y="8"/>
                      <a:pt x="85" y="8"/>
                      <a:pt x="83" y="8"/>
                    </a:cubicBezTo>
                    <a:cubicBezTo>
                      <a:pt x="82" y="8"/>
                      <a:pt x="81" y="8"/>
                      <a:pt x="81" y="8"/>
                    </a:cubicBezTo>
                    <a:cubicBezTo>
                      <a:pt x="79" y="9"/>
                      <a:pt x="80" y="8"/>
                      <a:pt x="79" y="10"/>
                    </a:cubicBezTo>
                    <a:cubicBezTo>
                      <a:pt x="79" y="12"/>
                      <a:pt x="79" y="14"/>
                      <a:pt x="79" y="16"/>
                    </a:cubicBezTo>
                    <a:cubicBezTo>
                      <a:pt x="79" y="19"/>
                      <a:pt x="79" y="18"/>
                      <a:pt x="81" y="20"/>
                    </a:cubicBezTo>
                    <a:cubicBezTo>
                      <a:pt x="82" y="21"/>
                      <a:pt x="82" y="23"/>
                      <a:pt x="79" y="23"/>
                    </a:cubicBezTo>
                    <a:cubicBezTo>
                      <a:pt x="79" y="23"/>
                      <a:pt x="79" y="23"/>
                      <a:pt x="79" y="23"/>
                    </a:cubicBezTo>
                    <a:cubicBezTo>
                      <a:pt x="77" y="23"/>
                      <a:pt x="75" y="23"/>
                      <a:pt x="74" y="20"/>
                    </a:cubicBezTo>
                    <a:cubicBezTo>
                      <a:pt x="72" y="18"/>
                      <a:pt x="72" y="16"/>
                      <a:pt x="69" y="16"/>
                    </a:cubicBezTo>
                    <a:cubicBezTo>
                      <a:pt x="67" y="15"/>
                      <a:pt x="64" y="15"/>
                      <a:pt x="61" y="15"/>
                    </a:cubicBezTo>
                    <a:cubicBezTo>
                      <a:pt x="60" y="15"/>
                      <a:pt x="58" y="13"/>
                      <a:pt x="57" y="12"/>
                    </a:cubicBezTo>
                    <a:cubicBezTo>
                      <a:pt x="52" y="8"/>
                      <a:pt x="47" y="4"/>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260"/>
              <p:cNvSpPr/>
              <p:nvPr/>
            </p:nvSpPr>
            <p:spPr bwMode="auto">
              <a:xfrm>
                <a:off x="4929" y="-1122"/>
                <a:ext cx="693" cy="341"/>
              </a:xfrm>
              <a:custGeom>
                <a:gdLst>
                  <a:gd name="T0" fmla="*/ 245 w 293"/>
                  <a:gd name="T1" fmla="*/ 6 h 144"/>
                  <a:gd name="T2" fmla="*/ 227 w 293"/>
                  <a:gd name="T3" fmla="*/ 17 h 144"/>
                  <a:gd name="T4" fmla="*/ 206 w 293"/>
                  <a:gd name="T5" fmla="*/ 24 h 144"/>
                  <a:gd name="T6" fmla="*/ 194 w 293"/>
                  <a:gd name="T7" fmla="*/ 27 h 144"/>
                  <a:gd name="T8" fmla="*/ 174 w 293"/>
                  <a:gd name="T9" fmla="*/ 30 h 144"/>
                  <a:gd name="T10" fmla="*/ 166 w 293"/>
                  <a:gd name="T11" fmla="*/ 32 h 144"/>
                  <a:gd name="T12" fmla="*/ 163 w 293"/>
                  <a:gd name="T13" fmla="*/ 30 h 144"/>
                  <a:gd name="T14" fmla="*/ 159 w 293"/>
                  <a:gd name="T15" fmla="*/ 30 h 144"/>
                  <a:gd name="T16" fmla="*/ 155 w 293"/>
                  <a:gd name="T17" fmla="*/ 29 h 144"/>
                  <a:gd name="T18" fmla="*/ 145 w 293"/>
                  <a:gd name="T19" fmla="*/ 29 h 144"/>
                  <a:gd name="T20" fmla="*/ 132 w 293"/>
                  <a:gd name="T21" fmla="*/ 40 h 144"/>
                  <a:gd name="T22" fmla="*/ 130 w 293"/>
                  <a:gd name="T23" fmla="*/ 40 h 144"/>
                  <a:gd name="T24" fmla="*/ 127 w 293"/>
                  <a:gd name="T25" fmla="*/ 40 h 144"/>
                  <a:gd name="T26" fmla="*/ 113 w 293"/>
                  <a:gd name="T27" fmla="*/ 43 h 144"/>
                  <a:gd name="T28" fmla="*/ 98 w 293"/>
                  <a:gd name="T29" fmla="*/ 47 h 144"/>
                  <a:gd name="T30" fmla="*/ 80 w 293"/>
                  <a:gd name="T31" fmla="*/ 57 h 144"/>
                  <a:gd name="T32" fmla="*/ 76 w 293"/>
                  <a:gd name="T33" fmla="*/ 66 h 144"/>
                  <a:gd name="T34" fmla="*/ 62 w 293"/>
                  <a:gd name="T35" fmla="*/ 65 h 144"/>
                  <a:gd name="T36" fmla="*/ 54 w 293"/>
                  <a:gd name="T37" fmla="*/ 76 h 144"/>
                  <a:gd name="T38" fmla="*/ 48 w 293"/>
                  <a:gd name="T39" fmla="*/ 73 h 144"/>
                  <a:gd name="T40" fmla="*/ 43 w 293"/>
                  <a:gd name="T41" fmla="*/ 76 h 144"/>
                  <a:gd name="T42" fmla="*/ 52 w 293"/>
                  <a:gd name="T43" fmla="*/ 78 h 144"/>
                  <a:gd name="T44" fmla="*/ 55 w 293"/>
                  <a:gd name="T45" fmla="*/ 80 h 144"/>
                  <a:gd name="T46" fmla="*/ 45 w 293"/>
                  <a:gd name="T47" fmla="*/ 84 h 144"/>
                  <a:gd name="T48" fmla="*/ 52 w 293"/>
                  <a:gd name="T49" fmla="*/ 86 h 144"/>
                  <a:gd name="T50" fmla="*/ 60 w 293"/>
                  <a:gd name="T51" fmla="*/ 90 h 144"/>
                  <a:gd name="T52" fmla="*/ 55 w 293"/>
                  <a:gd name="T53" fmla="*/ 90 h 144"/>
                  <a:gd name="T54" fmla="*/ 43 w 293"/>
                  <a:gd name="T55" fmla="*/ 92 h 144"/>
                  <a:gd name="T56" fmla="*/ 36 w 293"/>
                  <a:gd name="T57" fmla="*/ 92 h 144"/>
                  <a:gd name="T58" fmla="*/ 43 w 293"/>
                  <a:gd name="T59" fmla="*/ 96 h 144"/>
                  <a:gd name="T60" fmla="*/ 35 w 293"/>
                  <a:gd name="T61" fmla="*/ 100 h 144"/>
                  <a:gd name="T62" fmla="*/ 33 w 293"/>
                  <a:gd name="T63" fmla="*/ 106 h 144"/>
                  <a:gd name="T64" fmla="*/ 39 w 293"/>
                  <a:gd name="T65" fmla="*/ 111 h 144"/>
                  <a:gd name="T66" fmla="*/ 33 w 293"/>
                  <a:gd name="T67" fmla="*/ 111 h 144"/>
                  <a:gd name="T68" fmla="*/ 19 w 293"/>
                  <a:gd name="T69" fmla="*/ 114 h 144"/>
                  <a:gd name="T70" fmla="*/ 5 w 293"/>
                  <a:gd name="T71" fmla="*/ 124 h 144"/>
                  <a:gd name="T72" fmla="*/ 0 w 293"/>
                  <a:gd name="T73" fmla="*/ 124 h 144"/>
                  <a:gd name="T74" fmla="*/ 32 w 293"/>
                  <a:gd name="T75" fmla="*/ 127 h 144"/>
                  <a:gd name="T76" fmla="*/ 12 w 293"/>
                  <a:gd name="T77" fmla="*/ 134 h 144"/>
                  <a:gd name="T78" fmla="*/ 16 w 293"/>
                  <a:gd name="T79" fmla="*/ 140 h 144"/>
                  <a:gd name="T80" fmla="*/ 31 w 293"/>
                  <a:gd name="T81" fmla="*/ 141 h 144"/>
                  <a:gd name="T82" fmla="*/ 41 w 293"/>
                  <a:gd name="T83" fmla="*/ 141 h 144"/>
                  <a:gd name="T84" fmla="*/ 48 w 293"/>
                  <a:gd name="T85" fmla="*/ 143 h 144"/>
                  <a:gd name="T86" fmla="*/ 62 w 293"/>
                  <a:gd name="T87" fmla="*/ 138 h 144"/>
                  <a:gd name="T88" fmla="*/ 58 w 293"/>
                  <a:gd name="T89" fmla="*/ 129 h 144"/>
                  <a:gd name="T90" fmla="*/ 71 w 293"/>
                  <a:gd name="T91" fmla="*/ 124 h 144"/>
                  <a:gd name="T92" fmla="*/ 74 w 293"/>
                  <a:gd name="T93" fmla="*/ 124 h 144"/>
                  <a:gd name="T94" fmla="*/ 80 w 293"/>
                  <a:gd name="T95" fmla="*/ 119 h 144"/>
                  <a:gd name="T96" fmla="*/ 69 w 293"/>
                  <a:gd name="T97" fmla="*/ 114 h 144"/>
                  <a:gd name="T98" fmla="*/ 84 w 293"/>
                  <a:gd name="T99" fmla="*/ 117 h 144"/>
                  <a:gd name="T100" fmla="*/ 89 w 293"/>
                  <a:gd name="T101" fmla="*/ 109 h 144"/>
                  <a:gd name="T102" fmla="*/ 94 w 293"/>
                  <a:gd name="T103" fmla="*/ 102 h 144"/>
                  <a:gd name="T104" fmla="*/ 102 w 293"/>
                  <a:gd name="T105" fmla="*/ 100 h 144"/>
                  <a:gd name="T106" fmla="*/ 105 w 293"/>
                  <a:gd name="T107" fmla="*/ 91 h 144"/>
                  <a:gd name="T108" fmla="*/ 116 w 293"/>
                  <a:gd name="T109" fmla="*/ 89 h 144"/>
                  <a:gd name="T110" fmla="*/ 121 w 293"/>
                  <a:gd name="T111" fmla="*/ 89 h 144"/>
                  <a:gd name="T112" fmla="*/ 120 w 293"/>
                  <a:gd name="T113" fmla="*/ 79 h 144"/>
                  <a:gd name="T114" fmla="*/ 148 w 293"/>
                  <a:gd name="T115" fmla="*/ 70 h 144"/>
                  <a:gd name="T116" fmla="*/ 194 w 293"/>
                  <a:gd name="T117" fmla="*/ 54 h 144"/>
                  <a:gd name="T118" fmla="*/ 252 w 293"/>
                  <a:gd name="T119" fmla="*/ 37 h 144"/>
                  <a:gd name="T120" fmla="*/ 289 w 293"/>
                  <a:gd name="T121" fmla="*/ 17 h 144"/>
                  <a:gd name="T122" fmla="*/ 285 w 293"/>
                  <a:gd name="T123" fmla="*/ 5 h 144"/>
                  <a:gd name="T124" fmla="*/ 280 w 293"/>
                  <a:gd name="T125" fmla="*/ 2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3" h="144">
                    <a:moveTo>
                      <a:pt x="267" y="0"/>
                    </a:moveTo>
                    <a:cubicBezTo>
                      <a:pt x="266" y="0"/>
                      <a:pt x="264" y="0"/>
                      <a:pt x="263" y="1"/>
                    </a:cubicBezTo>
                    <a:cubicBezTo>
                      <a:pt x="260" y="2"/>
                      <a:pt x="257" y="2"/>
                      <a:pt x="254" y="3"/>
                    </a:cubicBezTo>
                    <a:cubicBezTo>
                      <a:pt x="251" y="3"/>
                      <a:pt x="248" y="5"/>
                      <a:pt x="245" y="6"/>
                    </a:cubicBezTo>
                    <a:cubicBezTo>
                      <a:pt x="242" y="7"/>
                      <a:pt x="236" y="9"/>
                      <a:pt x="234" y="11"/>
                    </a:cubicBezTo>
                    <a:cubicBezTo>
                      <a:pt x="233" y="13"/>
                      <a:pt x="233" y="17"/>
                      <a:pt x="235" y="18"/>
                    </a:cubicBezTo>
                    <a:cubicBezTo>
                      <a:pt x="235" y="18"/>
                      <a:pt x="234" y="19"/>
                      <a:pt x="234" y="19"/>
                    </a:cubicBezTo>
                    <a:cubicBezTo>
                      <a:pt x="231" y="19"/>
                      <a:pt x="229" y="17"/>
                      <a:pt x="227" y="17"/>
                    </a:cubicBezTo>
                    <a:cubicBezTo>
                      <a:pt x="227" y="17"/>
                      <a:pt x="226" y="17"/>
                      <a:pt x="226" y="17"/>
                    </a:cubicBezTo>
                    <a:cubicBezTo>
                      <a:pt x="223" y="17"/>
                      <a:pt x="220" y="21"/>
                      <a:pt x="217" y="21"/>
                    </a:cubicBezTo>
                    <a:cubicBezTo>
                      <a:pt x="217" y="21"/>
                      <a:pt x="217" y="21"/>
                      <a:pt x="216" y="21"/>
                    </a:cubicBezTo>
                    <a:cubicBezTo>
                      <a:pt x="213" y="21"/>
                      <a:pt x="207" y="24"/>
                      <a:pt x="206" y="24"/>
                    </a:cubicBezTo>
                    <a:cubicBezTo>
                      <a:pt x="205" y="25"/>
                      <a:pt x="200" y="28"/>
                      <a:pt x="198" y="28"/>
                    </a:cubicBezTo>
                    <a:cubicBezTo>
                      <a:pt x="198" y="28"/>
                      <a:pt x="198" y="28"/>
                      <a:pt x="198" y="28"/>
                    </a:cubicBezTo>
                    <a:cubicBezTo>
                      <a:pt x="196" y="27"/>
                      <a:pt x="196" y="27"/>
                      <a:pt x="195" y="27"/>
                    </a:cubicBezTo>
                    <a:cubicBezTo>
                      <a:pt x="195" y="27"/>
                      <a:pt x="195" y="27"/>
                      <a:pt x="194" y="27"/>
                    </a:cubicBezTo>
                    <a:cubicBezTo>
                      <a:pt x="190" y="27"/>
                      <a:pt x="186" y="29"/>
                      <a:pt x="182" y="30"/>
                    </a:cubicBezTo>
                    <a:cubicBezTo>
                      <a:pt x="181" y="30"/>
                      <a:pt x="179" y="32"/>
                      <a:pt x="177" y="32"/>
                    </a:cubicBezTo>
                    <a:cubicBezTo>
                      <a:pt x="177" y="32"/>
                      <a:pt x="177" y="32"/>
                      <a:pt x="177" y="32"/>
                    </a:cubicBezTo>
                    <a:cubicBezTo>
                      <a:pt x="176" y="32"/>
                      <a:pt x="176" y="30"/>
                      <a:pt x="174" y="30"/>
                    </a:cubicBezTo>
                    <a:cubicBezTo>
                      <a:pt x="174" y="30"/>
                      <a:pt x="174" y="30"/>
                      <a:pt x="174" y="30"/>
                    </a:cubicBezTo>
                    <a:cubicBezTo>
                      <a:pt x="173" y="30"/>
                      <a:pt x="172" y="30"/>
                      <a:pt x="171" y="31"/>
                    </a:cubicBezTo>
                    <a:cubicBezTo>
                      <a:pt x="169" y="32"/>
                      <a:pt x="168" y="32"/>
                      <a:pt x="167" y="32"/>
                    </a:cubicBezTo>
                    <a:cubicBezTo>
                      <a:pt x="167" y="32"/>
                      <a:pt x="166" y="32"/>
                      <a:pt x="166" y="32"/>
                    </a:cubicBezTo>
                    <a:cubicBezTo>
                      <a:pt x="165" y="31"/>
                      <a:pt x="167" y="30"/>
                      <a:pt x="166" y="30"/>
                    </a:cubicBezTo>
                    <a:cubicBezTo>
                      <a:pt x="166" y="30"/>
                      <a:pt x="166" y="30"/>
                      <a:pt x="165" y="30"/>
                    </a:cubicBezTo>
                    <a:cubicBezTo>
                      <a:pt x="165" y="30"/>
                      <a:pt x="164" y="30"/>
                      <a:pt x="163" y="30"/>
                    </a:cubicBezTo>
                    <a:cubicBezTo>
                      <a:pt x="163" y="30"/>
                      <a:pt x="163" y="30"/>
                      <a:pt x="163" y="30"/>
                    </a:cubicBezTo>
                    <a:cubicBezTo>
                      <a:pt x="162" y="30"/>
                      <a:pt x="162" y="30"/>
                      <a:pt x="162" y="30"/>
                    </a:cubicBezTo>
                    <a:cubicBezTo>
                      <a:pt x="162" y="30"/>
                      <a:pt x="162" y="30"/>
                      <a:pt x="161" y="30"/>
                    </a:cubicBezTo>
                    <a:cubicBezTo>
                      <a:pt x="161" y="30"/>
                      <a:pt x="161" y="30"/>
                      <a:pt x="160" y="30"/>
                    </a:cubicBezTo>
                    <a:cubicBezTo>
                      <a:pt x="160" y="30"/>
                      <a:pt x="160" y="30"/>
                      <a:pt x="159" y="30"/>
                    </a:cubicBezTo>
                    <a:cubicBezTo>
                      <a:pt x="159" y="30"/>
                      <a:pt x="158" y="29"/>
                      <a:pt x="157" y="29"/>
                    </a:cubicBezTo>
                    <a:cubicBezTo>
                      <a:pt x="157" y="29"/>
                      <a:pt x="157" y="29"/>
                      <a:pt x="157" y="29"/>
                    </a:cubicBezTo>
                    <a:cubicBezTo>
                      <a:pt x="157" y="29"/>
                      <a:pt x="156" y="29"/>
                      <a:pt x="156" y="29"/>
                    </a:cubicBezTo>
                    <a:cubicBezTo>
                      <a:pt x="156" y="29"/>
                      <a:pt x="156" y="29"/>
                      <a:pt x="155" y="29"/>
                    </a:cubicBezTo>
                    <a:cubicBezTo>
                      <a:pt x="155" y="29"/>
                      <a:pt x="155" y="29"/>
                      <a:pt x="155" y="29"/>
                    </a:cubicBezTo>
                    <a:cubicBezTo>
                      <a:pt x="154" y="28"/>
                      <a:pt x="153" y="28"/>
                      <a:pt x="153" y="28"/>
                    </a:cubicBezTo>
                    <a:cubicBezTo>
                      <a:pt x="152" y="28"/>
                      <a:pt x="152" y="28"/>
                      <a:pt x="152" y="28"/>
                    </a:cubicBezTo>
                    <a:cubicBezTo>
                      <a:pt x="150" y="29"/>
                      <a:pt x="147" y="29"/>
                      <a:pt x="145" y="29"/>
                    </a:cubicBezTo>
                    <a:cubicBezTo>
                      <a:pt x="142" y="29"/>
                      <a:pt x="140" y="29"/>
                      <a:pt x="141" y="34"/>
                    </a:cubicBezTo>
                    <a:cubicBezTo>
                      <a:pt x="141" y="35"/>
                      <a:pt x="143" y="34"/>
                      <a:pt x="143" y="35"/>
                    </a:cubicBezTo>
                    <a:cubicBezTo>
                      <a:pt x="143" y="37"/>
                      <a:pt x="139" y="38"/>
                      <a:pt x="138" y="38"/>
                    </a:cubicBezTo>
                    <a:cubicBezTo>
                      <a:pt x="136" y="39"/>
                      <a:pt x="134" y="40"/>
                      <a:pt x="132" y="40"/>
                    </a:cubicBezTo>
                    <a:cubicBezTo>
                      <a:pt x="132" y="40"/>
                      <a:pt x="132" y="40"/>
                      <a:pt x="132" y="40"/>
                    </a:cubicBezTo>
                    <a:cubicBezTo>
                      <a:pt x="132" y="40"/>
                      <a:pt x="131" y="40"/>
                      <a:pt x="131" y="40"/>
                    </a:cubicBezTo>
                    <a:cubicBezTo>
                      <a:pt x="131" y="40"/>
                      <a:pt x="130" y="40"/>
                      <a:pt x="130" y="40"/>
                    </a:cubicBezTo>
                    <a:cubicBezTo>
                      <a:pt x="130" y="40"/>
                      <a:pt x="130" y="40"/>
                      <a:pt x="130" y="40"/>
                    </a:cubicBezTo>
                    <a:cubicBezTo>
                      <a:pt x="131" y="38"/>
                      <a:pt x="134" y="35"/>
                      <a:pt x="131" y="35"/>
                    </a:cubicBezTo>
                    <a:cubicBezTo>
                      <a:pt x="131" y="35"/>
                      <a:pt x="130" y="35"/>
                      <a:pt x="130" y="35"/>
                    </a:cubicBezTo>
                    <a:cubicBezTo>
                      <a:pt x="128" y="36"/>
                      <a:pt x="126" y="36"/>
                      <a:pt x="124" y="38"/>
                    </a:cubicBezTo>
                    <a:cubicBezTo>
                      <a:pt x="125" y="38"/>
                      <a:pt x="126" y="39"/>
                      <a:pt x="127" y="40"/>
                    </a:cubicBezTo>
                    <a:cubicBezTo>
                      <a:pt x="125" y="41"/>
                      <a:pt x="123" y="40"/>
                      <a:pt x="121" y="41"/>
                    </a:cubicBezTo>
                    <a:cubicBezTo>
                      <a:pt x="120" y="41"/>
                      <a:pt x="119" y="42"/>
                      <a:pt x="118" y="42"/>
                    </a:cubicBezTo>
                    <a:cubicBezTo>
                      <a:pt x="117" y="43"/>
                      <a:pt x="116" y="43"/>
                      <a:pt x="115" y="43"/>
                    </a:cubicBezTo>
                    <a:cubicBezTo>
                      <a:pt x="115" y="43"/>
                      <a:pt x="114" y="43"/>
                      <a:pt x="113" y="43"/>
                    </a:cubicBezTo>
                    <a:cubicBezTo>
                      <a:pt x="113" y="43"/>
                      <a:pt x="112" y="42"/>
                      <a:pt x="112" y="42"/>
                    </a:cubicBezTo>
                    <a:cubicBezTo>
                      <a:pt x="111" y="42"/>
                      <a:pt x="111" y="43"/>
                      <a:pt x="110" y="43"/>
                    </a:cubicBezTo>
                    <a:cubicBezTo>
                      <a:pt x="107" y="43"/>
                      <a:pt x="105" y="45"/>
                      <a:pt x="102" y="46"/>
                    </a:cubicBezTo>
                    <a:cubicBezTo>
                      <a:pt x="101" y="46"/>
                      <a:pt x="99" y="46"/>
                      <a:pt x="98" y="47"/>
                    </a:cubicBezTo>
                    <a:cubicBezTo>
                      <a:pt x="94" y="49"/>
                      <a:pt x="91" y="51"/>
                      <a:pt x="86" y="52"/>
                    </a:cubicBezTo>
                    <a:cubicBezTo>
                      <a:pt x="86" y="52"/>
                      <a:pt x="84" y="52"/>
                      <a:pt x="83" y="53"/>
                    </a:cubicBezTo>
                    <a:cubicBezTo>
                      <a:pt x="82" y="54"/>
                      <a:pt x="86" y="54"/>
                      <a:pt x="86" y="55"/>
                    </a:cubicBezTo>
                    <a:cubicBezTo>
                      <a:pt x="87" y="57"/>
                      <a:pt x="82" y="57"/>
                      <a:pt x="80" y="57"/>
                    </a:cubicBezTo>
                    <a:cubicBezTo>
                      <a:pt x="79" y="58"/>
                      <a:pt x="77" y="58"/>
                      <a:pt x="75" y="59"/>
                    </a:cubicBezTo>
                    <a:cubicBezTo>
                      <a:pt x="73" y="60"/>
                      <a:pt x="75" y="62"/>
                      <a:pt x="76" y="64"/>
                    </a:cubicBezTo>
                    <a:cubicBezTo>
                      <a:pt x="77" y="65"/>
                      <a:pt x="78" y="65"/>
                      <a:pt x="77" y="66"/>
                    </a:cubicBezTo>
                    <a:cubicBezTo>
                      <a:pt x="77" y="66"/>
                      <a:pt x="76" y="66"/>
                      <a:pt x="76" y="66"/>
                    </a:cubicBezTo>
                    <a:cubicBezTo>
                      <a:pt x="75" y="66"/>
                      <a:pt x="74" y="66"/>
                      <a:pt x="73" y="65"/>
                    </a:cubicBezTo>
                    <a:cubicBezTo>
                      <a:pt x="71" y="64"/>
                      <a:pt x="70" y="65"/>
                      <a:pt x="68" y="64"/>
                    </a:cubicBezTo>
                    <a:cubicBezTo>
                      <a:pt x="66" y="64"/>
                      <a:pt x="66" y="64"/>
                      <a:pt x="65" y="64"/>
                    </a:cubicBezTo>
                    <a:cubicBezTo>
                      <a:pt x="64" y="64"/>
                      <a:pt x="63" y="64"/>
                      <a:pt x="62" y="65"/>
                    </a:cubicBezTo>
                    <a:cubicBezTo>
                      <a:pt x="60" y="65"/>
                      <a:pt x="58" y="67"/>
                      <a:pt x="61" y="68"/>
                    </a:cubicBezTo>
                    <a:cubicBezTo>
                      <a:pt x="64" y="69"/>
                      <a:pt x="58" y="73"/>
                      <a:pt x="57" y="74"/>
                    </a:cubicBezTo>
                    <a:cubicBezTo>
                      <a:pt x="56" y="75"/>
                      <a:pt x="55" y="75"/>
                      <a:pt x="55" y="76"/>
                    </a:cubicBezTo>
                    <a:cubicBezTo>
                      <a:pt x="54" y="76"/>
                      <a:pt x="54" y="76"/>
                      <a:pt x="54" y="76"/>
                    </a:cubicBezTo>
                    <a:cubicBezTo>
                      <a:pt x="53" y="76"/>
                      <a:pt x="54" y="75"/>
                      <a:pt x="53" y="75"/>
                    </a:cubicBezTo>
                    <a:cubicBezTo>
                      <a:pt x="52" y="73"/>
                      <a:pt x="52" y="72"/>
                      <a:pt x="51" y="72"/>
                    </a:cubicBezTo>
                    <a:cubicBezTo>
                      <a:pt x="51" y="72"/>
                      <a:pt x="50" y="72"/>
                      <a:pt x="50" y="72"/>
                    </a:cubicBezTo>
                    <a:cubicBezTo>
                      <a:pt x="49" y="73"/>
                      <a:pt x="49" y="73"/>
                      <a:pt x="48" y="73"/>
                    </a:cubicBezTo>
                    <a:cubicBezTo>
                      <a:pt x="47" y="73"/>
                      <a:pt x="47" y="71"/>
                      <a:pt x="46" y="70"/>
                    </a:cubicBezTo>
                    <a:cubicBezTo>
                      <a:pt x="46" y="70"/>
                      <a:pt x="46" y="70"/>
                      <a:pt x="46" y="70"/>
                    </a:cubicBezTo>
                    <a:cubicBezTo>
                      <a:pt x="44" y="70"/>
                      <a:pt x="39" y="74"/>
                      <a:pt x="40" y="75"/>
                    </a:cubicBezTo>
                    <a:cubicBezTo>
                      <a:pt x="40" y="76"/>
                      <a:pt x="42" y="75"/>
                      <a:pt x="43" y="76"/>
                    </a:cubicBezTo>
                    <a:cubicBezTo>
                      <a:pt x="44" y="77"/>
                      <a:pt x="43" y="79"/>
                      <a:pt x="45" y="79"/>
                    </a:cubicBezTo>
                    <a:cubicBezTo>
                      <a:pt x="45" y="79"/>
                      <a:pt x="45" y="79"/>
                      <a:pt x="45" y="79"/>
                    </a:cubicBezTo>
                    <a:cubicBezTo>
                      <a:pt x="47" y="79"/>
                      <a:pt x="48" y="78"/>
                      <a:pt x="50" y="78"/>
                    </a:cubicBezTo>
                    <a:cubicBezTo>
                      <a:pt x="51" y="78"/>
                      <a:pt x="52" y="78"/>
                      <a:pt x="52" y="78"/>
                    </a:cubicBezTo>
                    <a:cubicBezTo>
                      <a:pt x="53" y="78"/>
                      <a:pt x="53" y="78"/>
                      <a:pt x="51" y="80"/>
                    </a:cubicBezTo>
                    <a:cubicBezTo>
                      <a:pt x="52" y="80"/>
                      <a:pt x="52" y="81"/>
                      <a:pt x="53" y="81"/>
                    </a:cubicBezTo>
                    <a:cubicBezTo>
                      <a:pt x="53" y="81"/>
                      <a:pt x="53" y="81"/>
                      <a:pt x="53" y="81"/>
                    </a:cubicBezTo>
                    <a:cubicBezTo>
                      <a:pt x="53" y="81"/>
                      <a:pt x="54" y="80"/>
                      <a:pt x="55" y="80"/>
                    </a:cubicBezTo>
                    <a:cubicBezTo>
                      <a:pt x="55" y="80"/>
                      <a:pt x="56" y="80"/>
                      <a:pt x="57" y="80"/>
                    </a:cubicBezTo>
                    <a:cubicBezTo>
                      <a:pt x="57" y="80"/>
                      <a:pt x="57" y="80"/>
                      <a:pt x="57" y="81"/>
                    </a:cubicBezTo>
                    <a:cubicBezTo>
                      <a:pt x="55" y="82"/>
                      <a:pt x="52" y="82"/>
                      <a:pt x="50" y="83"/>
                    </a:cubicBezTo>
                    <a:cubicBezTo>
                      <a:pt x="48" y="83"/>
                      <a:pt x="47" y="83"/>
                      <a:pt x="45" y="84"/>
                    </a:cubicBezTo>
                    <a:cubicBezTo>
                      <a:pt x="44" y="85"/>
                      <a:pt x="39" y="85"/>
                      <a:pt x="43" y="87"/>
                    </a:cubicBezTo>
                    <a:cubicBezTo>
                      <a:pt x="43" y="87"/>
                      <a:pt x="44" y="87"/>
                      <a:pt x="44" y="87"/>
                    </a:cubicBezTo>
                    <a:cubicBezTo>
                      <a:pt x="45" y="87"/>
                      <a:pt x="46" y="87"/>
                      <a:pt x="48" y="87"/>
                    </a:cubicBezTo>
                    <a:cubicBezTo>
                      <a:pt x="49" y="86"/>
                      <a:pt x="51" y="86"/>
                      <a:pt x="52" y="86"/>
                    </a:cubicBezTo>
                    <a:cubicBezTo>
                      <a:pt x="53" y="86"/>
                      <a:pt x="54" y="86"/>
                      <a:pt x="54" y="87"/>
                    </a:cubicBezTo>
                    <a:cubicBezTo>
                      <a:pt x="55" y="89"/>
                      <a:pt x="55" y="90"/>
                      <a:pt x="57" y="90"/>
                    </a:cubicBezTo>
                    <a:cubicBezTo>
                      <a:pt x="58" y="90"/>
                      <a:pt x="58" y="90"/>
                      <a:pt x="58" y="90"/>
                    </a:cubicBezTo>
                    <a:cubicBezTo>
                      <a:pt x="59" y="90"/>
                      <a:pt x="59" y="90"/>
                      <a:pt x="60" y="90"/>
                    </a:cubicBezTo>
                    <a:cubicBezTo>
                      <a:pt x="60" y="90"/>
                      <a:pt x="61" y="90"/>
                      <a:pt x="62" y="90"/>
                    </a:cubicBezTo>
                    <a:cubicBezTo>
                      <a:pt x="62" y="90"/>
                      <a:pt x="62" y="90"/>
                      <a:pt x="63" y="90"/>
                    </a:cubicBezTo>
                    <a:cubicBezTo>
                      <a:pt x="62" y="91"/>
                      <a:pt x="61" y="91"/>
                      <a:pt x="59" y="91"/>
                    </a:cubicBezTo>
                    <a:cubicBezTo>
                      <a:pt x="58" y="91"/>
                      <a:pt x="56" y="91"/>
                      <a:pt x="55" y="90"/>
                    </a:cubicBezTo>
                    <a:cubicBezTo>
                      <a:pt x="53" y="90"/>
                      <a:pt x="52" y="90"/>
                      <a:pt x="51" y="90"/>
                    </a:cubicBezTo>
                    <a:cubicBezTo>
                      <a:pt x="51" y="90"/>
                      <a:pt x="50" y="90"/>
                      <a:pt x="50" y="90"/>
                    </a:cubicBezTo>
                    <a:cubicBezTo>
                      <a:pt x="49" y="90"/>
                      <a:pt x="47" y="90"/>
                      <a:pt x="46" y="91"/>
                    </a:cubicBezTo>
                    <a:cubicBezTo>
                      <a:pt x="45" y="91"/>
                      <a:pt x="44" y="91"/>
                      <a:pt x="43" y="92"/>
                    </a:cubicBezTo>
                    <a:cubicBezTo>
                      <a:pt x="43" y="92"/>
                      <a:pt x="43" y="92"/>
                      <a:pt x="43" y="92"/>
                    </a:cubicBezTo>
                    <a:cubicBezTo>
                      <a:pt x="42" y="92"/>
                      <a:pt x="42" y="91"/>
                      <a:pt x="41" y="91"/>
                    </a:cubicBezTo>
                    <a:cubicBezTo>
                      <a:pt x="41" y="91"/>
                      <a:pt x="41" y="91"/>
                      <a:pt x="40" y="91"/>
                    </a:cubicBezTo>
                    <a:cubicBezTo>
                      <a:pt x="39" y="91"/>
                      <a:pt x="37" y="91"/>
                      <a:pt x="36" y="92"/>
                    </a:cubicBezTo>
                    <a:cubicBezTo>
                      <a:pt x="35" y="93"/>
                      <a:pt x="39" y="96"/>
                      <a:pt x="40" y="96"/>
                    </a:cubicBezTo>
                    <a:cubicBezTo>
                      <a:pt x="40" y="96"/>
                      <a:pt x="41" y="96"/>
                      <a:pt x="41" y="96"/>
                    </a:cubicBezTo>
                    <a:cubicBezTo>
                      <a:pt x="41" y="96"/>
                      <a:pt x="42" y="96"/>
                      <a:pt x="42" y="96"/>
                    </a:cubicBezTo>
                    <a:cubicBezTo>
                      <a:pt x="43" y="96"/>
                      <a:pt x="43" y="96"/>
                      <a:pt x="43" y="96"/>
                    </a:cubicBezTo>
                    <a:cubicBezTo>
                      <a:pt x="44" y="96"/>
                      <a:pt x="45" y="96"/>
                      <a:pt x="46" y="97"/>
                    </a:cubicBezTo>
                    <a:cubicBezTo>
                      <a:pt x="46" y="97"/>
                      <a:pt x="47" y="98"/>
                      <a:pt x="48" y="98"/>
                    </a:cubicBezTo>
                    <a:cubicBezTo>
                      <a:pt x="49" y="98"/>
                      <a:pt x="49" y="98"/>
                      <a:pt x="49" y="98"/>
                    </a:cubicBezTo>
                    <a:cubicBezTo>
                      <a:pt x="45" y="100"/>
                      <a:pt x="39" y="99"/>
                      <a:pt x="35" y="100"/>
                    </a:cubicBezTo>
                    <a:cubicBezTo>
                      <a:pt x="33" y="100"/>
                      <a:pt x="28" y="101"/>
                      <a:pt x="32" y="103"/>
                    </a:cubicBezTo>
                    <a:cubicBezTo>
                      <a:pt x="34" y="104"/>
                      <a:pt x="38" y="103"/>
                      <a:pt x="39" y="105"/>
                    </a:cubicBezTo>
                    <a:cubicBezTo>
                      <a:pt x="37" y="105"/>
                      <a:pt x="35" y="106"/>
                      <a:pt x="33" y="106"/>
                    </a:cubicBezTo>
                    <a:cubicBezTo>
                      <a:pt x="33" y="106"/>
                      <a:pt x="33" y="106"/>
                      <a:pt x="33" y="106"/>
                    </a:cubicBezTo>
                    <a:cubicBezTo>
                      <a:pt x="31" y="106"/>
                      <a:pt x="31" y="105"/>
                      <a:pt x="30" y="105"/>
                    </a:cubicBezTo>
                    <a:cubicBezTo>
                      <a:pt x="29" y="105"/>
                      <a:pt x="28" y="106"/>
                      <a:pt x="28" y="106"/>
                    </a:cubicBezTo>
                    <a:cubicBezTo>
                      <a:pt x="29" y="107"/>
                      <a:pt x="32" y="108"/>
                      <a:pt x="34" y="108"/>
                    </a:cubicBezTo>
                    <a:cubicBezTo>
                      <a:pt x="36" y="109"/>
                      <a:pt x="37" y="110"/>
                      <a:pt x="39" y="111"/>
                    </a:cubicBezTo>
                    <a:cubicBezTo>
                      <a:pt x="39" y="111"/>
                      <a:pt x="41" y="111"/>
                      <a:pt x="41" y="111"/>
                    </a:cubicBezTo>
                    <a:cubicBezTo>
                      <a:pt x="42" y="112"/>
                      <a:pt x="41" y="112"/>
                      <a:pt x="40" y="112"/>
                    </a:cubicBezTo>
                    <a:cubicBezTo>
                      <a:pt x="39" y="112"/>
                      <a:pt x="38" y="112"/>
                      <a:pt x="38" y="112"/>
                    </a:cubicBezTo>
                    <a:cubicBezTo>
                      <a:pt x="36" y="112"/>
                      <a:pt x="34" y="111"/>
                      <a:pt x="33" y="111"/>
                    </a:cubicBezTo>
                    <a:cubicBezTo>
                      <a:pt x="31" y="111"/>
                      <a:pt x="30" y="110"/>
                      <a:pt x="28" y="110"/>
                    </a:cubicBezTo>
                    <a:cubicBezTo>
                      <a:pt x="28" y="110"/>
                      <a:pt x="28" y="110"/>
                      <a:pt x="28" y="110"/>
                    </a:cubicBezTo>
                    <a:cubicBezTo>
                      <a:pt x="26" y="110"/>
                      <a:pt x="25" y="111"/>
                      <a:pt x="23" y="112"/>
                    </a:cubicBezTo>
                    <a:cubicBezTo>
                      <a:pt x="22" y="112"/>
                      <a:pt x="20" y="113"/>
                      <a:pt x="19" y="114"/>
                    </a:cubicBezTo>
                    <a:cubicBezTo>
                      <a:pt x="18" y="116"/>
                      <a:pt x="19" y="115"/>
                      <a:pt x="21" y="117"/>
                    </a:cubicBezTo>
                    <a:cubicBezTo>
                      <a:pt x="22" y="117"/>
                      <a:pt x="19" y="118"/>
                      <a:pt x="18" y="118"/>
                    </a:cubicBezTo>
                    <a:cubicBezTo>
                      <a:pt x="15" y="119"/>
                      <a:pt x="12" y="120"/>
                      <a:pt x="9" y="121"/>
                    </a:cubicBezTo>
                    <a:cubicBezTo>
                      <a:pt x="7" y="122"/>
                      <a:pt x="6" y="124"/>
                      <a:pt x="5" y="124"/>
                    </a:cubicBezTo>
                    <a:cubicBezTo>
                      <a:pt x="4" y="125"/>
                      <a:pt x="4" y="125"/>
                      <a:pt x="4" y="125"/>
                    </a:cubicBezTo>
                    <a:cubicBezTo>
                      <a:pt x="3" y="125"/>
                      <a:pt x="2" y="124"/>
                      <a:pt x="2" y="124"/>
                    </a:cubicBezTo>
                    <a:cubicBezTo>
                      <a:pt x="1" y="124"/>
                      <a:pt x="1" y="124"/>
                      <a:pt x="0" y="124"/>
                    </a:cubicBezTo>
                    <a:cubicBezTo>
                      <a:pt x="0" y="124"/>
                      <a:pt x="0" y="124"/>
                      <a:pt x="0" y="124"/>
                    </a:cubicBezTo>
                    <a:cubicBezTo>
                      <a:pt x="4" y="127"/>
                      <a:pt x="8" y="127"/>
                      <a:pt x="13" y="127"/>
                    </a:cubicBezTo>
                    <a:cubicBezTo>
                      <a:pt x="16" y="127"/>
                      <a:pt x="18" y="127"/>
                      <a:pt x="20" y="127"/>
                    </a:cubicBezTo>
                    <a:cubicBezTo>
                      <a:pt x="23" y="127"/>
                      <a:pt x="26" y="127"/>
                      <a:pt x="28" y="127"/>
                    </a:cubicBezTo>
                    <a:cubicBezTo>
                      <a:pt x="29" y="127"/>
                      <a:pt x="31" y="127"/>
                      <a:pt x="32" y="127"/>
                    </a:cubicBezTo>
                    <a:cubicBezTo>
                      <a:pt x="29" y="127"/>
                      <a:pt x="26" y="128"/>
                      <a:pt x="24" y="129"/>
                    </a:cubicBezTo>
                    <a:cubicBezTo>
                      <a:pt x="23" y="129"/>
                      <a:pt x="22" y="129"/>
                      <a:pt x="21" y="129"/>
                    </a:cubicBezTo>
                    <a:cubicBezTo>
                      <a:pt x="20" y="130"/>
                      <a:pt x="19" y="130"/>
                      <a:pt x="18" y="131"/>
                    </a:cubicBezTo>
                    <a:cubicBezTo>
                      <a:pt x="16" y="131"/>
                      <a:pt x="14" y="132"/>
                      <a:pt x="12" y="134"/>
                    </a:cubicBezTo>
                    <a:cubicBezTo>
                      <a:pt x="11" y="134"/>
                      <a:pt x="10" y="135"/>
                      <a:pt x="10" y="136"/>
                    </a:cubicBezTo>
                    <a:cubicBezTo>
                      <a:pt x="10" y="139"/>
                      <a:pt x="9" y="138"/>
                      <a:pt x="7" y="139"/>
                    </a:cubicBezTo>
                    <a:cubicBezTo>
                      <a:pt x="10" y="139"/>
                      <a:pt x="13" y="140"/>
                      <a:pt x="16" y="140"/>
                    </a:cubicBezTo>
                    <a:cubicBezTo>
                      <a:pt x="16" y="140"/>
                      <a:pt x="16" y="140"/>
                      <a:pt x="16" y="140"/>
                    </a:cubicBezTo>
                    <a:cubicBezTo>
                      <a:pt x="16" y="140"/>
                      <a:pt x="16" y="140"/>
                      <a:pt x="16" y="140"/>
                    </a:cubicBezTo>
                    <a:cubicBezTo>
                      <a:pt x="18" y="139"/>
                      <a:pt x="21" y="138"/>
                      <a:pt x="24" y="138"/>
                    </a:cubicBezTo>
                    <a:cubicBezTo>
                      <a:pt x="24" y="138"/>
                      <a:pt x="24" y="138"/>
                      <a:pt x="25" y="138"/>
                    </a:cubicBezTo>
                    <a:cubicBezTo>
                      <a:pt x="27" y="138"/>
                      <a:pt x="29" y="140"/>
                      <a:pt x="31" y="141"/>
                    </a:cubicBezTo>
                    <a:cubicBezTo>
                      <a:pt x="33" y="141"/>
                      <a:pt x="34" y="141"/>
                      <a:pt x="35" y="141"/>
                    </a:cubicBezTo>
                    <a:cubicBezTo>
                      <a:pt x="36" y="141"/>
                      <a:pt x="37" y="141"/>
                      <a:pt x="37" y="141"/>
                    </a:cubicBezTo>
                    <a:cubicBezTo>
                      <a:pt x="38" y="141"/>
                      <a:pt x="38" y="141"/>
                      <a:pt x="39" y="141"/>
                    </a:cubicBezTo>
                    <a:cubicBezTo>
                      <a:pt x="40" y="141"/>
                      <a:pt x="40" y="141"/>
                      <a:pt x="41" y="141"/>
                    </a:cubicBezTo>
                    <a:cubicBezTo>
                      <a:pt x="42" y="141"/>
                      <a:pt x="42" y="141"/>
                      <a:pt x="42" y="141"/>
                    </a:cubicBezTo>
                    <a:cubicBezTo>
                      <a:pt x="43" y="141"/>
                      <a:pt x="43" y="141"/>
                      <a:pt x="43" y="141"/>
                    </a:cubicBezTo>
                    <a:cubicBezTo>
                      <a:pt x="43" y="140"/>
                      <a:pt x="43" y="139"/>
                      <a:pt x="43" y="138"/>
                    </a:cubicBezTo>
                    <a:cubicBezTo>
                      <a:pt x="45" y="139"/>
                      <a:pt x="45" y="142"/>
                      <a:pt x="48" y="143"/>
                    </a:cubicBezTo>
                    <a:cubicBezTo>
                      <a:pt x="50" y="143"/>
                      <a:pt x="51" y="143"/>
                      <a:pt x="53" y="143"/>
                    </a:cubicBezTo>
                    <a:cubicBezTo>
                      <a:pt x="54" y="143"/>
                      <a:pt x="56" y="144"/>
                      <a:pt x="57" y="144"/>
                    </a:cubicBezTo>
                    <a:cubicBezTo>
                      <a:pt x="58" y="144"/>
                      <a:pt x="59" y="144"/>
                      <a:pt x="59" y="143"/>
                    </a:cubicBezTo>
                    <a:cubicBezTo>
                      <a:pt x="59" y="141"/>
                      <a:pt x="59" y="140"/>
                      <a:pt x="62" y="138"/>
                    </a:cubicBezTo>
                    <a:cubicBezTo>
                      <a:pt x="64" y="137"/>
                      <a:pt x="66" y="136"/>
                      <a:pt x="68" y="134"/>
                    </a:cubicBezTo>
                    <a:cubicBezTo>
                      <a:pt x="66" y="134"/>
                      <a:pt x="64" y="133"/>
                      <a:pt x="63" y="132"/>
                    </a:cubicBezTo>
                    <a:cubicBezTo>
                      <a:pt x="62" y="132"/>
                      <a:pt x="61" y="132"/>
                      <a:pt x="60" y="131"/>
                    </a:cubicBezTo>
                    <a:cubicBezTo>
                      <a:pt x="59" y="131"/>
                      <a:pt x="60" y="130"/>
                      <a:pt x="58" y="129"/>
                    </a:cubicBezTo>
                    <a:cubicBezTo>
                      <a:pt x="62" y="129"/>
                      <a:pt x="65" y="132"/>
                      <a:pt x="68" y="133"/>
                    </a:cubicBezTo>
                    <a:cubicBezTo>
                      <a:pt x="68" y="133"/>
                      <a:pt x="68" y="133"/>
                      <a:pt x="68" y="133"/>
                    </a:cubicBezTo>
                    <a:cubicBezTo>
                      <a:pt x="71" y="133"/>
                      <a:pt x="74" y="129"/>
                      <a:pt x="73" y="127"/>
                    </a:cubicBezTo>
                    <a:cubicBezTo>
                      <a:pt x="73" y="126"/>
                      <a:pt x="71" y="124"/>
                      <a:pt x="71" y="124"/>
                    </a:cubicBezTo>
                    <a:cubicBezTo>
                      <a:pt x="67" y="121"/>
                      <a:pt x="60" y="123"/>
                      <a:pt x="56" y="121"/>
                    </a:cubicBezTo>
                    <a:cubicBezTo>
                      <a:pt x="57" y="121"/>
                      <a:pt x="58" y="121"/>
                      <a:pt x="59" y="121"/>
                    </a:cubicBezTo>
                    <a:cubicBezTo>
                      <a:pt x="62" y="121"/>
                      <a:pt x="66" y="122"/>
                      <a:pt x="70" y="122"/>
                    </a:cubicBezTo>
                    <a:cubicBezTo>
                      <a:pt x="71" y="122"/>
                      <a:pt x="72" y="123"/>
                      <a:pt x="74" y="124"/>
                    </a:cubicBezTo>
                    <a:cubicBezTo>
                      <a:pt x="74" y="124"/>
                      <a:pt x="76" y="127"/>
                      <a:pt x="77" y="127"/>
                    </a:cubicBezTo>
                    <a:cubicBezTo>
                      <a:pt x="77" y="127"/>
                      <a:pt x="77" y="127"/>
                      <a:pt x="77" y="127"/>
                    </a:cubicBezTo>
                    <a:cubicBezTo>
                      <a:pt x="80" y="127"/>
                      <a:pt x="80" y="121"/>
                      <a:pt x="80" y="120"/>
                    </a:cubicBezTo>
                    <a:cubicBezTo>
                      <a:pt x="79" y="119"/>
                      <a:pt x="81" y="119"/>
                      <a:pt x="80" y="119"/>
                    </a:cubicBezTo>
                    <a:cubicBezTo>
                      <a:pt x="79" y="118"/>
                      <a:pt x="79" y="118"/>
                      <a:pt x="79" y="118"/>
                    </a:cubicBezTo>
                    <a:cubicBezTo>
                      <a:pt x="78" y="118"/>
                      <a:pt x="77" y="117"/>
                      <a:pt x="77" y="117"/>
                    </a:cubicBezTo>
                    <a:cubicBezTo>
                      <a:pt x="76" y="116"/>
                      <a:pt x="75" y="114"/>
                      <a:pt x="73" y="114"/>
                    </a:cubicBezTo>
                    <a:cubicBezTo>
                      <a:pt x="72" y="114"/>
                      <a:pt x="70" y="114"/>
                      <a:pt x="69" y="114"/>
                    </a:cubicBezTo>
                    <a:cubicBezTo>
                      <a:pt x="70" y="112"/>
                      <a:pt x="73" y="111"/>
                      <a:pt x="72" y="110"/>
                    </a:cubicBezTo>
                    <a:cubicBezTo>
                      <a:pt x="76" y="111"/>
                      <a:pt x="78" y="116"/>
                      <a:pt x="82" y="116"/>
                    </a:cubicBezTo>
                    <a:cubicBezTo>
                      <a:pt x="82" y="116"/>
                      <a:pt x="82" y="116"/>
                      <a:pt x="82" y="116"/>
                    </a:cubicBezTo>
                    <a:cubicBezTo>
                      <a:pt x="84" y="117"/>
                      <a:pt x="84" y="117"/>
                      <a:pt x="84" y="117"/>
                    </a:cubicBezTo>
                    <a:cubicBezTo>
                      <a:pt x="86" y="116"/>
                      <a:pt x="86" y="114"/>
                      <a:pt x="86" y="112"/>
                    </a:cubicBezTo>
                    <a:cubicBezTo>
                      <a:pt x="86" y="111"/>
                      <a:pt x="86" y="112"/>
                      <a:pt x="87" y="110"/>
                    </a:cubicBezTo>
                    <a:cubicBezTo>
                      <a:pt x="88" y="109"/>
                      <a:pt x="88" y="109"/>
                      <a:pt x="88" y="109"/>
                    </a:cubicBezTo>
                    <a:cubicBezTo>
                      <a:pt x="89" y="109"/>
                      <a:pt x="89" y="109"/>
                      <a:pt x="89" y="109"/>
                    </a:cubicBezTo>
                    <a:cubicBezTo>
                      <a:pt x="91" y="109"/>
                      <a:pt x="91" y="110"/>
                      <a:pt x="92" y="110"/>
                    </a:cubicBezTo>
                    <a:cubicBezTo>
                      <a:pt x="93" y="110"/>
                      <a:pt x="93" y="109"/>
                      <a:pt x="94" y="108"/>
                    </a:cubicBezTo>
                    <a:cubicBezTo>
                      <a:pt x="95" y="107"/>
                      <a:pt x="95" y="105"/>
                      <a:pt x="95" y="104"/>
                    </a:cubicBezTo>
                    <a:cubicBezTo>
                      <a:pt x="95" y="103"/>
                      <a:pt x="94" y="102"/>
                      <a:pt x="94" y="102"/>
                    </a:cubicBezTo>
                    <a:cubicBezTo>
                      <a:pt x="94" y="101"/>
                      <a:pt x="95" y="101"/>
                      <a:pt x="94" y="100"/>
                    </a:cubicBezTo>
                    <a:cubicBezTo>
                      <a:pt x="93" y="99"/>
                      <a:pt x="91" y="97"/>
                      <a:pt x="90" y="97"/>
                    </a:cubicBezTo>
                    <a:cubicBezTo>
                      <a:pt x="89" y="97"/>
                      <a:pt x="87" y="96"/>
                      <a:pt x="86" y="95"/>
                    </a:cubicBezTo>
                    <a:cubicBezTo>
                      <a:pt x="92" y="95"/>
                      <a:pt x="97" y="99"/>
                      <a:pt x="102" y="100"/>
                    </a:cubicBezTo>
                    <a:cubicBezTo>
                      <a:pt x="103" y="100"/>
                      <a:pt x="103" y="100"/>
                      <a:pt x="103" y="100"/>
                    </a:cubicBezTo>
                    <a:cubicBezTo>
                      <a:pt x="105" y="100"/>
                      <a:pt x="104" y="98"/>
                      <a:pt x="104" y="96"/>
                    </a:cubicBezTo>
                    <a:cubicBezTo>
                      <a:pt x="105" y="95"/>
                      <a:pt x="106" y="94"/>
                      <a:pt x="105" y="93"/>
                    </a:cubicBezTo>
                    <a:cubicBezTo>
                      <a:pt x="105" y="92"/>
                      <a:pt x="102" y="93"/>
                      <a:pt x="105" y="91"/>
                    </a:cubicBezTo>
                    <a:cubicBezTo>
                      <a:pt x="106" y="90"/>
                      <a:pt x="104" y="90"/>
                      <a:pt x="104" y="89"/>
                    </a:cubicBezTo>
                    <a:cubicBezTo>
                      <a:pt x="108" y="89"/>
                      <a:pt x="110" y="93"/>
                      <a:pt x="114" y="94"/>
                    </a:cubicBezTo>
                    <a:cubicBezTo>
                      <a:pt x="114" y="94"/>
                      <a:pt x="114" y="94"/>
                      <a:pt x="114" y="94"/>
                    </a:cubicBezTo>
                    <a:cubicBezTo>
                      <a:pt x="117" y="94"/>
                      <a:pt x="117" y="91"/>
                      <a:pt x="116" y="89"/>
                    </a:cubicBezTo>
                    <a:cubicBezTo>
                      <a:pt x="116" y="89"/>
                      <a:pt x="115" y="89"/>
                      <a:pt x="115" y="89"/>
                    </a:cubicBezTo>
                    <a:cubicBezTo>
                      <a:pt x="114" y="89"/>
                      <a:pt x="114" y="89"/>
                      <a:pt x="114" y="89"/>
                    </a:cubicBezTo>
                    <a:cubicBezTo>
                      <a:pt x="113" y="89"/>
                      <a:pt x="112" y="87"/>
                      <a:pt x="112" y="87"/>
                    </a:cubicBezTo>
                    <a:cubicBezTo>
                      <a:pt x="115" y="87"/>
                      <a:pt x="118" y="89"/>
                      <a:pt x="121" y="89"/>
                    </a:cubicBezTo>
                    <a:cubicBezTo>
                      <a:pt x="121" y="89"/>
                      <a:pt x="122" y="89"/>
                      <a:pt x="123" y="89"/>
                    </a:cubicBezTo>
                    <a:cubicBezTo>
                      <a:pt x="126" y="88"/>
                      <a:pt x="125" y="88"/>
                      <a:pt x="125" y="86"/>
                    </a:cubicBezTo>
                    <a:cubicBezTo>
                      <a:pt x="125" y="82"/>
                      <a:pt x="130" y="82"/>
                      <a:pt x="132" y="80"/>
                    </a:cubicBezTo>
                    <a:cubicBezTo>
                      <a:pt x="128" y="80"/>
                      <a:pt x="124" y="80"/>
                      <a:pt x="120" y="79"/>
                    </a:cubicBezTo>
                    <a:cubicBezTo>
                      <a:pt x="123" y="78"/>
                      <a:pt x="127" y="78"/>
                      <a:pt x="130" y="78"/>
                    </a:cubicBezTo>
                    <a:cubicBezTo>
                      <a:pt x="135" y="78"/>
                      <a:pt x="134" y="77"/>
                      <a:pt x="137" y="74"/>
                    </a:cubicBezTo>
                    <a:cubicBezTo>
                      <a:pt x="138" y="73"/>
                      <a:pt x="147" y="69"/>
                      <a:pt x="145" y="67"/>
                    </a:cubicBezTo>
                    <a:cubicBezTo>
                      <a:pt x="146" y="67"/>
                      <a:pt x="147" y="70"/>
                      <a:pt x="148" y="70"/>
                    </a:cubicBezTo>
                    <a:cubicBezTo>
                      <a:pt x="148" y="70"/>
                      <a:pt x="148" y="70"/>
                      <a:pt x="148" y="70"/>
                    </a:cubicBezTo>
                    <a:cubicBezTo>
                      <a:pt x="150" y="70"/>
                      <a:pt x="151" y="67"/>
                      <a:pt x="152" y="66"/>
                    </a:cubicBezTo>
                    <a:cubicBezTo>
                      <a:pt x="155" y="63"/>
                      <a:pt x="159" y="62"/>
                      <a:pt x="163" y="61"/>
                    </a:cubicBezTo>
                    <a:cubicBezTo>
                      <a:pt x="173" y="58"/>
                      <a:pt x="185" y="56"/>
                      <a:pt x="194" y="54"/>
                    </a:cubicBezTo>
                    <a:cubicBezTo>
                      <a:pt x="201" y="52"/>
                      <a:pt x="207" y="49"/>
                      <a:pt x="214" y="48"/>
                    </a:cubicBezTo>
                    <a:cubicBezTo>
                      <a:pt x="220" y="47"/>
                      <a:pt x="226" y="44"/>
                      <a:pt x="233" y="43"/>
                    </a:cubicBezTo>
                    <a:cubicBezTo>
                      <a:pt x="235" y="42"/>
                      <a:pt x="237" y="42"/>
                      <a:pt x="240" y="41"/>
                    </a:cubicBezTo>
                    <a:cubicBezTo>
                      <a:pt x="244" y="40"/>
                      <a:pt x="248" y="38"/>
                      <a:pt x="252" y="37"/>
                    </a:cubicBezTo>
                    <a:cubicBezTo>
                      <a:pt x="259" y="36"/>
                      <a:pt x="266" y="31"/>
                      <a:pt x="274" y="30"/>
                    </a:cubicBezTo>
                    <a:cubicBezTo>
                      <a:pt x="275" y="29"/>
                      <a:pt x="276" y="29"/>
                      <a:pt x="277" y="29"/>
                    </a:cubicBezTo>
                    <a:cubicBezTo>
                      <a:pt x="279" y="29"/>
                      <a:pt x="277" y="29"/>
                      <a:pt x="278" y="27"/>
                    </a:cubicBezTo>
                    <a:cubicBezTo>
                      <a:pt x="280" y="24"/>
                      <a:pt x="290" y="21"/>
                      <a:pt x="289" y="17"/>
                    </a:cubicBezTo>
                    <a:cubicBezTo>
                      <a:pt x="289" y="15"/>
                      <a:pt x="293" y="13"/>
                      <a:pt x="292" y="11"/>
                    </a:cubicBezTo>
                    <a:cubicBezTo>
                      <a:pt x="290" y="9"/>
                      <a:pt x="289" y="9"/>
                      <a:pt x="288" y="8"/>
                    </a:cubicBezTo>
                    <a:cubicBezTo>
                      <a:pt x="287" y="7"/>
                      <a:pt x="288" y="6"/>
                      <a:pt x="288" y="6"/>
                    </a:cubicBezTo>
                    <a:cubicBezTo>
                      <a:pt x="285" y="5"/>
                      <a:pt x="285" y="5"/>
                      <a:pt x="285" y="5"/>
                    </a:cubicBezTo>
                    <a:cubicBezTo>
                      <a:pt x="284" y="4"/>
                      <a:pt x="283" y="4"/>
                      <a:pt x="282" y="3"/>
                    </a:cubicBezTo>
                    <a:cubicBezTo>
                      <a:pt x="282" y="3"/>
                      <a:pt x="283" y="2"/>
                      <a:pt x="281" y="2"/>
                    </a:cubicBezTo>
                    <a:cubicBezTo>
                      <a:pt x="281" y="2"/>
                      <a:pt x="281" y="2"/>
                      <a:pt x="281" y="2"/>
                    </a:cubicBezTo>
                    <a:cubicBezTo>
                      <a:pt x="281" y="2"/>
                      <a:pt x="280" y="2"/>
                      <a:pt x="280" y="2"/>
                    </a:cubicBezTo>
                    <a:cubicBezTo>
                      <a:pt x="278" y="2"/>
                      <a:pt x="277" y="2"/>
                      <a:pt x="275" y="1"/>
                    </a:cubicBezTo>
                    <a:cubicBezTo>
                      <a:pt x="273" y="1"/>
                      <a:pt x="270" y="0"/>
                      <a:pt x="2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261"/>
              <p:cNvSpPr/>
              <p:nvPr/>
            </p:nvSpPr>
            <p:spPr bwMode="auto">
              <a:xfrm>
                <a:off x="8793" y="-840"/>
                <a:ext cx="184" cy="64"/>
              </a:xfrm>
              <a:custGeom>
                <a:gdLst>
                  <a:gd name="T0" fmla="*/ 47 w 78"/>
                  <a:gd name="T1" fmla="*/ 0 h 27"/>
                  <a:gd name="T2" fmla="*/ 47 w 78"/>
                  <a:gd name="T3" fmla="*/ 0 h 27"/>
                  <a:gd name="T4" fmla="*/ 35 w 78"/>
                  <a:gd name="T5" fmla="*/ 2 h 27"/>
                  <a:gd name="T6" fmla="*/ 34 w 78"/>
                  <a:gd name="T7" fmla="*/ 2 h 27"/>
                  <a:gd name="T8" fmla="*/ 33 w 78"/>
                  <a:gd name="T9" fmla="*/ 2 h 27"/>
                  <a:gd name="T10" fmla="*/ 24 w 78"/>
                  <a:gd name="T11" fmla="*/ 10 h 27"/>
                  <a:gd name="T12" fmla="*/ 11 w 78"/>
                  <a:gd name="T13" fmla="*/ 18 h 27"/>
                  <a:gd name="T14" fmla="*/ 5 w 78"/>
                  <a:gd name="T15" fmla="*/ 21 h 27"/>
                  <a:gd name="T16" fmla="*/ 7 w 78"/>
                  <a:gd name="T17" fmla="*/ 22 h 27"/>
                  <a:gd name="T18" fmla="*/ 10 w 78"/>
                  <a:gd name="T19" fmla="*/ 21 h 27"/>
                  <a:gd name="T20" fmla="*/ 19 w 78"/>
                  <a:gd name="T21" fmla="*/ 18 h 27"/>
                  <a:gd name="T22" fmla="*/ 23 w 78"/>
                  <a:gd name="T23" fmla="*/ 18 h 27"/>
                  <a:gd name="T24" fmla="*/ 30 w 78"/>
                  <a:gd name="T25" fmla="*/ 19 h 27"/>
                  <a:gd name="T26" fmla="*/ 50 w 78"/>
                  <a:gd name="T27" fmla="*/ 24 h 27"/>
                  <a:gd name="T28" fmla="*/ 55 w 78"/>
                  <a:gd name="T29" fmla="*/ 25 h 27"/>
                  <a:gd name="T30" fmla="*/ 56 w 78"/>
                  <a:gd name="T31" fmla="*/ 25 h 27"/>
                  <a:gd name="T32" fmla="*/ 60 w 78"/>
                  <a:gd name="T33" fmla="*/ 25 h 27"/>
                  <a:gd name="T34" fmla="*/ 60 w 78"/>
                  <a:gd name="T35" fmla="*/ 25 h 27"/>
                  <a:gd name="T36" fmla="*/ 71 w 78"/>
                  <a:gd name="T37" fmla="*/ 27 h 27"/>
                  <a:gd name="T38" fmla="*/ 77 w 78"/>
                  <a:gd name="T39" fmla="*/ 26 h 27"/>
                  <a:gd name="T40" fmla="*/ 77 w 78"/>
                  <a:gd name="T41" fmla="*/ 24 h 27"/>
                  <a:gd name="T42" fmla="*/ 76 w 78"/>
                  <a:gd name="T43" fmla="*/ 22 h 27"/>
                  <a:gd name="T44" fmla="*/ 77 w 78"/>
                  <a:gd name="T45" fmla="*/ 17 h 27"/>
                  <a:gd name="T46" fmla="*/ 70 w 78"/>
                  <a:gd name="T47" fmla="*/ 11 h 27"/>
                  <a:gd name="T48" fmla="*/ 61 w 78"/>
                  <a:gd name="T49" fmla="*/ 5 h 27"/>
                  <a:gd name="T50" fmla="*/ 47 w 78"/>
                  <a:gd name="T51"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27">
                    <a:moveTo>
                      <a:pt x="47" y="0"/>
                    </a:moveTo>
                    <a:cubicBezTo>
                      <a:pt x="47" y="0"/>
                      <a:pt x="47" y="0"/>
                      <a:pt x="47" y="0"/>
                    </a:cubicBezTo>
                    <a:cubicBezTo>
                      <a:pt x="43" y="1"/>
                      <a:pt x="39" y="2"/>
                      <a:pt x="35" y="2"/>
                    </a:cubicBezTo>
                    <a:cubicBezTo>
                      <a:pt x="34" y="2"/>
                      <a:pt x="34" y="2"/>
                      <a:pt x="34" y="2"/>
                    </a:cubicBezTo>
                    <a:cubicBezTo>
                      <a:pt x="33" y="2"/>
                      <a:pt x="33" y="2"/>
                      <a:pt x="33" y="2"/>
                    </a:cubicBezTo>
                    <a:cubicBezTo>
                      <a:pt x="28" y="2"/>
                      <a:pt x="26" y="7"/>
                      <a:pt x="24" y="10"/>
                    </a:cubicBezTo>
                    <a:cubicBezTo>
                      <a:pt x="21" y="15"/>
                      <a:pt x="18" y="17"/>
                      <a:pt x="11" y="18"/>
                    </a:cubicBezTo>
                    <a:cubicBezTo>
                      <a:pt x="10" y="18"/>
                      <a:pt x="0" y="18"/>
                      <a:pt x="5" y="21"/>
                    </a:cubicBezTo>
                    <a:cubicBezTo>
                      <a:pt x="5" y="21"/>
                      <a:pt x="6" y="22"/>
                      <a:pt x="7" y="22"/>
                    </a:cubicBezTo>
                    <a:cubicBezTo>
                      <a:pt x="8" y="22"/>
                      <a:pt x="9" y="21"/>
                      <a:pt x="10" y="21"/>
                    </a:cubicBezTo>
                    <a:cubicBezTo>
                      <a:pt x="13" y="21"/>
                      <a:pt x="16" y="19"/>
                      <a:pt x="19" y="18"/>
                    </a:cubicBezTo>
                    <a:cubicBezTo>
                      <a:pt x="21" y="18"/>
                      <a:pt x="22" y="18"/>
                      <a:pt x="23" y="18"/>
                    </a:cubicBezTo>
                    <a:cubicBezTo>
                      <a:pt x="25" y="18"/>
                      <a:pt x="27" y="18"/>
                      <a:pt x="30" y="19"/>
                    </a:cubicBezTo>
                    <a:cubicBezTo>
                      <a:pt x="36" y="22"/>
                      <a:pt x="43" y="23"/>
                      <a:pt x="50" y="24"/>
                    </a:cubicBezTo>
                    <a:cubicBezTo>
                      <a:pt x="51" y="24"/>
                      <a:pt x="53" y="25"/>
                      <a:pt x="55" y="25"/>
                    </a:cubicBezTo>
                    <a:cubicBezTo>
                      <a:pt x="55" y="25"/>
                      <a:pt x="55" y="25"/>
                      <a:pt x="56" y="25"/>
                    </a:cubicBezTo>
                    <a:cubicBezTo>
                      <a:pt x="57" y="25"/>
                      <a:pt x="58" y="25"/>
                      <a:pt x="60" y="25"/>
                    </a:cubicBezTo>
                    <a:cubicBezTo>
                      <a:pt x="60" y="25"/>
                      <a:pt x="60" y="25"/>
                      <a:pt x="60" y="25"/>
                    </a:cubicBezTo>
                    <a:cubicBezTo>
                      <a:pt x="64" y="25"/>
                      <a:pt x="68" y="26"/>
                      <a:pt x="71" y="27"/>
                    </a:cubicBezTo>
                    <a:cubicBezTo>
                      <a:pt x="72" y="26"/>
                      <a:pt x="76" y="27"/>
                      <a:pt x="77" y="26"/>
                    </a:cubicBezTo>
                    <a:cubicBezTo>
                      <a:pt x="78" y="24"/>
                      <a:pt x="77" y="25"/>
                      <a:pt x="77" y="24"/>
                    </a:cubicBezTo>
                    <a:cubicBezTo>
                      <a:pt x="77" y="23"/>
                      <a:pt x="76" y="22"/>
                      <a:pt x="76" y="22"/>
                    </a:cubicBezTo>
                    <a:cubicBezTo>
                      <a:pt x="76" y="20"/>
                      <a:pt x="77" y="19"/>
                      <a:pt x="77" y="17"/>
                    </a:cubicBezTo>
                    <a:cubicBezTo>
                      <a:pt x="76" y="15"/>
                      <a:pt x="72" y="12"/>
                      <a:pt x="70" y="11"/>
                    </a:cubicBezTo>
                    <a:cubicBezTo>
                      <a:pt x="67" y="9"/>
                      <a:pt x="64" y="7"/>
                      <a:pt x="61" y="5"/>
                    </a:cubicBezTo>
                    <a:cubicBezTo>
                      <a:pt x="57" y="3"/>
                      <a:pt x="52" y="0"/>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262"/>
              <p:cNvSpPr/>
              <p:nvPr/>
            </p:nvSpPr>
            <p:spPr bwMode="auto">
              <a:xfrm>
                <a:off x="5012" y="-1490"/>
                <a:ext cx="66" cy="9"/>
              </a:xfrm>
              <a:custGeom>
                <a:gdLst>
                  <a:gd name="T0" fmla="*/ 0 w 28"/>
                  <a:gd name="T1" fmla="*/ 0 h 4"/>
                  <a:gd name="T2" fmla="*/ 3 w 28"/>
                  <a:gd name="T3" fmla="*/ 0 h 4"/>
                  <a:gd name="T4" fmla="*/ 4 w 28"/>
                  <a:gd name="T5" fmla="*/ 3 h 4"/>
                  <a:gd name="T6" fmla="*/ 8 w 28"/>
                  <a:gd name="T7" fmla="*/ 4 h 4"/>
                  <a:gd name="T8" fmla="*/ 8 w 28"/>
                  <a:gd name="T9" fmla="*/ 4 h 4"/>
                  <a:gd name="T10" fmla="*/ 11 w 28"/>
                  <a:gd name="T11" fmla="*/ 3 h 4"/>
                  <a:gd name="T12" fmla="*/ 14 w 28"/>
                  <a:gd name="T13" fmla="*/ 3 h 4"/>
                  <a:gd name="T14" fmla="*/ 15 w 28"/>
                  <a:gd name="T15" fmla="*/ 3 h 4"/>
                  <a:gd name="T16" fmla="*/ 18 w 28"/>
                  <a:gd name="T17" fmla="*/ 4 h 4"/>
                  <a:gd name="T18" fmla="*/ 19 w 28"/>
                  <a:gd name="T19" fmla="*/ 4 h 4"/>
                  <a:gd name="T20" fmla="*/ 22 w 28"/>
                  <a:gd name="T21" fmla="*/ 4 h 4"/>
                  <a:gd name="T22" fmla="*/ 28 w 28"/>
                  <a:gd name="T23" fmla="*/ 1 h 4"/>
                  <a:gd name="T24" fmla="*/ 0 w 28"/>
                  <a:gd name="T25"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
                    <a:moveTo>
                      <a:pt x="0" y="0"/>
                    </a:moveTo>
                    <a:cubicBezTo>
                      <a:pt x="1" y="0"/>
                      <a:pt x="2" y="0"/>
                      <a:pt x="3" y="0"/>
                    </a:cubicBezTo>
                    <a:cubicBezTo>
                      <a:pt x="4" y="1"/>
                      <a:pt x="4" y="2"/>
                      <a:pt x="4" y="3"/>
                    </a:cubicBezTo>
                    <a:cubicBezTo>
                      <a:pt x="6" y="4"/>
                      <a:pt x="6" y="4"/>
                      <a:pt x="8" y="4"/>
                    </a:cubicBezTo>
                    <a:cubicBezTo>
                      <a:pt x="8" y="4"/>
                      <a:pt x="8" y="4"/>
                      <a:pt x="8" y="4"/>
                    </a:cubicBezTo>
                    <a:cubicBezTo>
                      <a:pt x="9" y="4"/>
                      <a:pt x="10" y="4"/>
                      <a:pt x="11" y="3"/>
                    </a:cubicBezTo>
                    <a:cubicBezTo>
                      <a:pt x="12" y="3"/>
                      <a:pt x="13" y="3"/>
                      <a:pt x="14" y="3"/>
                    </a:cubicBezTo>
                    <a:cubicBezTo>
                      <a:pt x="15" y="3"/>
                      <a:pt x="15" y="3"/>
                      <a:pt x="15" y="3"/>
                    </a:cubicBezTo>
                    <a:cubicBezTo>
                      <a:pt x="17" y="3"/>
                      <a:pt x="17" y="4"/>
                      <a:pt x="18" y="4"/>
                    </a:cubicBezTo>
                    <a:cubicBezTo>
                      <a:pt x="19" y="4"/>
                      <a:pt x="19" y="4"/>
                      <a:pt x="19" y="4"/>
                    </a:cubicBezTo>
                    <a:cubicBezTo>
                      <a:pt x="20" y="4"/>
                      <a:pt x="21" y="4"/>
                      <a:pt x="22" y="4"/>
                    </a:cubicBezTo>
                    <a:cubicBezTo>
                      <a:pt x="24" y="3"/>
                      <a:pt x="27" y="3"/>
                      <a:pt x="28" y="1"/>
                    </a:cubicBezTo>
                    <a:cubicBezTo>
                      <a:pt x="18" y="1"/>
                      <a:pt x="9"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263"/>
              <p:cNvSpPr/>
              <p:nvPr/>
            </p:nvSpPr>
            <p:spPr bwMode="auto">
              <a:xfrm>
                <a:off x="4610" y="-1512"/>
                <a:ext cx="234" cy="85"/>
              </a:xfrm>
              <a:custGeom>
                <a:gdLst>
                  <a:gd name="T0" fmla="*/ 69 w 99"/>
                  <a:gd name="T1" fmla="*/ 0 h 36"/>
                  <a:gd name="T2" fmla="*/ 56 w 99"/>
                  <a:gd name="T3" fmla="*/ 4 h 36"/>
                  <a:gd name="T4" fmla="*/ 47 w 99"/>
                  <a:gd name="T5" fmla="*/ 9 h 36"/>
                  <a:gd name="T6" fmla="*/ 51 w 99"/>
                  <a:gd name="T7" fmla="*/ 8 h 36"/>
                  <a:gd name="T8" fmla="*/ 50 w 99"/>
                  <a:gd name="T9" fmla="*/ 10 h 36"/>
                  <a:gd name="T10" fmla="*/ 53 w 99"/>
                  <a:gd name="T11" fmla="*/ 10 h 36"/>
                  <a:gd name="T12" fmla="*/ 57 w 99"/>
                  <a:gd name="T13" fmla="*/ 9 h 36"/>
                  <a:gd name="T14" fmla="*/ 57 w 99"/>
                  <a:gd name="T15" fmla="*/ 12 h 36"/>
                  <a:gd name="T16" fmla="*/ 55 w 99"/>
                  <a:gd name="T17" fmla="*/ 12 h 36"/>
                  <a:gd name="T18" fmla="*/ 53 w 99"/>
                  <a:gd name="T19" fmla="*/ 15 h 36"/>
                  <a:gd name="T20" fmla="*/ 49 w 99"/>
                  <a:gd name="T21" fmla="*/ 18 h 36"/>
                  <a:gd name="T22" fmla="*/ 48 w 99"/>
                  <a:gd name="T23" fmla="*/ 18 h 36"/>
                  <a:gd name="T24" fmla="*/ 44 w 99"/>
                  <a:gd name="T25" fmla="*/ 18 h 36"/>
                  <a:gd name="T26" fmla="*/ 42 w 99"/>
                  <a:gd name="T27" fmla="*/ 19 h 36"/>
                  <a:gd name="T28" fmla="*/ 34 w 99"/>
                  <a:gd name="T29" fmla="*/ 16 h 36"/>
                  <a:gd name="T30" fmla="*/ 30 w 99"/>
                  <a:gd name="T31" fmla="*/ 17 h 36"/>
                  <a:gd name="T32" fmla="*/ 28 w 99"/>
                  <a:gd name="T33" fmla="*/ 17 h 36"/>
                  <a:gd name="T34" fmla="*/ 17 w 99"/>
                  <a:gd name="T35" fmla="*/ 21 h 36"/>
                  <a:gd name="T36" fmla="*/ 26 w 99"/>
                  <a:gd name="T37" fmla="*/ 20 h 36"/>
                  <a:gd name="T38" fmla="*/ 20 w 99"/>
                  <a:gd name="T39" fmla="*/ 23 h 36"/>
                  <a:gd name="T40" fmla="*/ 27 w 99"/>
                  <a:gd name="T41" fmla="*/ 27 h 36"/>
                  <a:gd name="T42" fmla="*/ 13 w 99"/>
                  <a:gd name="T43" fmla="*/ 25 h 36"/>
                  <a:gd name="T44" fmla="*/ 5 w 99"/>
                  <a:gd name="T45" fmla="*/ 26 h 36"/>
                  <a:gd name="T46" fmla="*/ 7 w 99"/>
                  <a:gd name="T47" fmla="*/ 33 h 36"/>
                  <a:gd name="T48" fmla="*/ 13 w 99"/>
                  <a:gd name="T49" fmla="*/ 32 h 36"/>
                  <a:gd name="T50" fmla="*/ 28 w 99"/>
                  <a:gd name="T51" fmla="*/ 32 h 36"/>
                  <a:gd name="T52" fmla="*/ 20 w 99"/>
                  <a:gd name="T53" fmla="*/ 36 h 36"/>
                  <a:gd name="T54" fmla="*/ 48 w 99"/>
                  <a:gd name="T55" fmla="*/ 33 h 36"/>
                  <a:gd name="T56" fmla="*/ 47 w 99"/>
                  <a:gd name="T57" fmla="*/ 30 h 36"/>
                  <a:gd name="T58" fmla="*/ 52 w 99"/>
                  <a:gd name="T59" fmla="*/ 22 h 36"/>
                  <a:gd name="T60" fmla="*/ 99 w 99"/>
                  <a:gd name="T61" fmla="*/ 9 h 36"/>
                  <a:gd name="T62" fmla="*/ 89 w 99"/>
                  <a:gd name="T63" fmla="*/ 6 h 36"/>
                  <a:gd name="T64" fmla="*/ 87 w 99"/>
                  <a:gd name="T65" fmla="*/ 7 h 36"/>
                  <a:gd name="T66" fmla="*/ 82 w 99"/>
                  <a:gd name="T67" fmla="*/ 0 h 36"/>
                  <a:gd name="T68" fmla="*/ 79 w 99"/>
                  <a:gd name="T69" fmla="*/ 1 h 36"/>
                  <a:gd name="T70" fmla="*/ 76 w 99"/>
                  <a:gd name="T71" fmla="*/ 2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36">
                    <a:moveTo>
                      <a:pt x="69" y="0"/>
                    </a:moveTo>
                    <a:cubicBezTo>
                      <a:pt x="69" y="0"/>
                      <a:pt x="69" y="0"/>
                      <a:pt x="69" y="0"/>
                    </a:cubicBezTo>
                    <a:cubicBezTo>
                      <a:pt x="66" y="0"/>
                      <a:pt x="64" y="1"/>
                      <a:pt x="62" y="1"/>
                    </a:cubicBezTo>
                    <a:cubicBezTo>
                      <a:pt x="60" y="2"/>
                      <a:pt x="58" y="3"/>
                      <a:pt x="56" y="4"/>
                    </a:cubicBezTo>
                    <a:cubicBezTo>
                      <a:pt x="54" y="4"/>
                      <a:pt x="45" y="5"/>
                      <a:pt x="46" y="8"/>
                    </a:cubicBezTo>
                    <a:cubicBezTo>
                      <a:pt x="46" y="9"/>
                      <a:pt x="46" y="9"/>
                      <a:pt x="47" y="9"/>
                    </a:cubicBezTo>
                    <a:cubicBezTo>
                      <a:pt x="48" y="9"/>
                      <a:pt x="48" y="9"/>
                      <a:pt x="49" y="9"/>
                    </a:cubicBezTo>
                    <a:cubicBezTo>
                      <a:pt x="50" y="9"/>
                      <a:pt x="50" y="8"/>
                      <a:pt x="51" y="8"/>
                    </a:cubicBezTo>
                    <a:cubicBezTo>
                      <a:pt x="51" y="8"/>
                      <a:pt x="51" y="8"/>
                      <a:pt x="51" y="8"/>
                    </a:cubicBezTo>
                    <a:cubicBezTo>
                      <a:pt x="51" y="9"/>
                      <a:pt x="51" y="9"/>
                      <a:pt x="50" y="10"/>
                    </a:cubicBezTo>
                    <a:cubicBezTo>
                      <a:pt x="50" y="10"/>
                      <a:pt x="51" y="10"/>
                      <a:pt x="51" y="10"/>
                    </a:cubicBezTo>
                    <a:cubicBezTo>
                      <a:pt x="52" y="10"/>
                      <a:pt x="52" y="10"/>
                      <a:pt x="53" y="10"/>
                    </a:cubicBezTo>
                    <a:cubicBezTo>
                      <a:pt x="54" y="9"/>
                      <a:pt x="55" y="9"/>
                      <a:pt x="56" y="9"/>
                    </a:cubicBezTo>
                    <a:cubicBezTo>
                      <a:pt x="56" y="9"/>
                      <a:pt x="56" y="9"/>
                      <a:pt x="57" y="9"/>
                    </a:cubicBezTo>
                    <a:cubicBezTo>
                      <a:pt x="58" y="10"/>
                      <a:pt x="60" y="11"/>
                      <a:pt x="58" y="12"/>
                    </a:cubicBezTo>
                    <a:cubicBezTo>
                      <a:pt x="58" y="12"/>
                      <a:pt x="58" y="12"/>
                      <a:pt x="57" y="12"/>
                    </a:cubicBezTo>
                    <a:cubicBezTo>
                      <a:pt x="57" y="12"/>
                      <a:pt x="57" y="12"/>
                      <a:pt x="56" y="12"/>
                    </a:cubicBezTo>
                    <a:cubicBezTo>
                      <a:pt x="56" y="12"/>
                      <a:pt x="56" y="12"/>
                      <a:pt x="55" y="12"/>
                    </a:cubicBezTo>
                    <a:cubicBezTo>
                      <a:pt x="55" y="12"/>
                      <a:pt x="55" y="12"/>
                      <a:pt x="54" y="12"/>
                    </a:cubicBezTo>
                    <a:cubicBezTo>
                      <a:pt x="54" y="13"/>
                      <a:pt x="53" y="14"/>
                      <a:pt x="53" y="15"/>
                    </a:cubicBezTo>
                    <a:cubicBezTo>
                      <a:pt x="52" y="16"/>
                      <a:pt x="51" y="15"/>
                      <a:pt x="51" y="16"/>
                    </a:cubicBezTo>
                    <a:cubicBezTo>
                      <a:pt x="50" y="18"/>
                      <a:pt x="49" y="18"/>
                      <a:pt x="49" y="18"/>
                    </a:cubicBezTo>
                    <a:cubicBezTo>
                      <a:pt x="48" y="18"/>
                      <a:pt x="48" y="18"/>
                      <a:pt x="48" y="18"/>
                    </a:cubicBezTo>
                    <a:cubicBezTo>
                      <a:pt x="48" y="18"/>
                      <a:pt x="48" y="18"/>
                      <a:pt x="48" y="18"/>
                    </a:cubicBezTo>
                    <a:cubicBezTo>
                      <a:pt x="48" y="18"/>
                      <a:pt x="48" y="18"/>
                      <a:pt x="48" y="18"/>
                    </a:cubicBezTo>
                    <a:cubicBezTo>
                      <a:pt x="46" y="18"/>
                      <a:pt x="45" y="18"/>
                      <a:pt x="44" y="18"/>
                    </a:cubicBezTo>
                    <a:cubicBezTo>
                      <a:pt x="43" y="18"/>
                      <a:pt x="43" y="19"/>
                      <a:pt x="42" y="19"/>
                    </a:cubicBezTo>
                    <a:cubicBezTo>
                      <a:pt x="42" y="19"/>
                      <a:pt x="42" y="19"/>
                      <a:pt x="42" y="19"/>
                    </a:cubicBezTo>
                    <a:cubicBezTo>
                      <a:pt x="39" y="19"/>
                      <a:pt x="37" y="16"/>
                      <a:pt x="34" y="16"/>
                    </a:cubicBezTo>
                    <a:cubicBezTo>
                      <a:pt x="34" y="16"/>
                      <a:pt x="34" y="16"/>
                      <a:pt x="34" y="16"/>
                    </a:cubicBezTo>
                    <a:cubicBezTo>
                      <a:pt x="33" y="16"/>
                      <a:pt x="33" y="16"/>
                      <a:pt x="32" y="17"/>
                    </a:cubicBezTo>
                    <a:cubicBezTo>
                      <a:pt x="31" y="17"/>
                      <a:pt x="31" y="17"/>
                      <a:pt x="30" y="17"/>
                    </a:cubicBezTo>
                    <a:cubicBezTo>
                      <a:pt x="30" y="17"/>
                      <a:pt x="29" y="17"/>
                      <a:pt x="28" y="17"/>
                    </a:cubicBezTo>
                    <a:cubicBezTo>
                      <a:pt x="28" y="17"/>
                      <a:pt x="28" y="17"/>
                      <a:pt x="28" y="17"/>
                    </a:cubicBezTo>
                    <a:cubicBezTo>
                      <a:pt x="24" y="17"/>
                      <a:pt x="18" y="19"/>
                      <a:pt x="16" y="21"/>
                    </a:cubicBezTo>
                    <a:cubicBezTo>
                      <a:pt x="16" y="21"/>
                      <a:pt x="17" y="21"/>
                      <a:pt x="17" y="21"/>
                    </a:cubicBezTo>
                    <a:cubicBezTo>
                      <a:pt x="19" y="21"/>
                      <a:pt x="20" y="21"/>
                      <a:pt x="22" y="20"/>
                    </a:cubicBezTo>
                    <a:cubicBezTo>
                      <a:pt x="23" y="20"/>
                      <a:pt x="25" y="20"/>
                      <a:pt x="26" y="20"/>
                    </a:cubicBezTo>
                    <a:cubicBezTo>
                      <a:pt x="28" y="20"/>
                      <a:pt x="30" y="20"/>
                      <a:pt x="31" y="22"/>
                    </a:cubicBezTo>
                    <a:cubicBezTo>
                      <a:pt x="30" y="22"/>
                      <a:pt x="21" y="22"/>
                      <a:pt x="20" y="23"/>
                    </a:cubicBezTo>
                    <a:cubicBezTo>
                      <a:pt x="20" y="24"/>
                      <a:pt x="29" y="25"/>
                      <a:pt x="30" y="26"/>
                    </a:cubicBezTo>
                    <a:cubicBezTo>
                      <a:pt x="29" y="26"/>
                      <a:pt x="28" y="26"/>
                      <a:pt x="27" y="27"/>
                    </a:cubicBezTo>
                    <a:cubicBezTo>
                      <a:pt x="27" y="27"/>
                      <a:pt x="26" y="27"/>
                      <a:pt x="25" y="27"/>
                    </a:cubicBezTo>
                    <a:cubicBezTo>
                      <a:pt x="21" y="27"/>
                      <a:pt x="14" y="26"/>
                      <a:pt x="13" y="25"/>
                    </a:cubicBezTo>
                    <a:cubicBezTo>
                      <a:pt x="12" y="25"/>
                      <a:pt x="10" y="25"/>
                      <a:pt x="9" y="25"/>
                    </a:cubicBezTo>
                    <a:cubicBezTo>
                      <a:pt x="8" y="25"/>
                      <a:pt x="7" y="25"/>
                      <a:pt x="5" y="26"/>
                    </a:cubicBezTo>
                    <a:cubicBezTo>
                      <a:pt x="2" y="27"/>
                      <a:pt x="0" y="28"/>
                      <a:pt x="3" y="29"/>
                    </a:cubicBezTo>
                    <a:cubicBezTo>
                      <a:pt x="5" y="30"/>
                      <a:pt x="6" y="32"/>
                      <a:pt x="7" y="33"/>
                    </a:cubicBezTo>
                    <a:cubicBezTo>
                      <a:pt x="8" y="33"/>
                      <a:pt x="9" y="33"/>
                      <a:pt x="9" y="33"/>
                    </a:cubicBezTo>
                    <a:cubicBezTo>
                      <a:pt x="11" y="33"/>
                      <a:pt x="12" y="32"/>
                      <a:pt x="13" y="32"/>
                    </a:cubicBezTo>
                    <a:cubicBezTo>
                      <a:pt x="16" y="31"/>
                      <a:pt x="19" y="30"/>
                      <a:pt x="22" y="30"/>
                    </a:cubicBezTo>
                    <a:cubicBezTo>
                      <a:pt x="24" y="30"/>
                      <a:pt x="27" y="30"/>
                      <a:pt x="28" y="32"/>
                    </a:cubicBezTo>
                    <a:cubicBezTo>
                      <a:pt x="27" y="32"/>
                      <a:pt x="25" y="32"/>
                      <a:pt x="24" y="33"/>
                    </a:cubicBezTo>
                    <a:cubicBezTo>
                      <a:pt x="22" y="33"/>
                      <a:pt x="22" y="34"/>
                      <a:pt x="20" y="36"/>
                    </a:cubicBezTo>
                    <a:cubicBezTo>
                      <a:pt x="26" y="36"/>
                      <a:pt x="31" y="35"/>
                      <a:pt x="36" y="35"/>
                    </a:cubicBezTo>
                    <a:cubicBezTo>
                      <a:pt x="40" y="35"/>
                      <a:pt x="45" y="35"/>
                      <a:pt x="48" y="33"/>
                    </a:cubicBezTo>
                    <a:cubicBezTo>
                      <a:pt x="49" y="32"/>
                      <a:pt x="47" y="32"/>
                      <a:pt x="46" y="32"/>
                    </a:cubicBezTo>
                    <a:cubicBezTo>
                      <a:pt x="47" y="30"/>
                      <a:pt x="47" y="30"/>
                      <a:pt x="47" y="30"/>
                    </a:cubicBezTo>
                    <a:cubicBezTo>
                      <a:pt x="45" y="28"/>
                      <a:pt x="43" y="27"/>
                      <a:pt x="43" y="24"/>
                    </a:cubicBezTo>
                    <a:cubicBezTo>
                      <a:pt x="43" y="23"/>
                      <a:pt x="50" y="22"/>
                      <a:pt x="52" y="22"/>
                    </a:cubicBezTo>
                    <a:cubicBezTo>
                      <a:pt x="58" y="20"/>
                      <a:pt x="64" y="18"/>
                      <a:pt x="71" y="16"/>
                    </a:cubicBezTo>
                    <a:cubicBezTo>
                      <a:pt x="80" y="14"/>
                      <a:pt x="89" y="12"/>
                      <a:pt x="99" y="9"/>
                    </a:cubicBezTo>
                    <a:cubicBezTo>
                      <a:pt x="97" y="8"/>
                      <a:pt x="94" y="8"/>
                      <a:pt x="92" y="7"/>
                    </a:cubicBezTo>
                    <a:cubicBezTo>
                      <a:pt x="91" y="7"/>
                      <a:pt x="90" y="6"/>
                      <a:pt x="89" y="6"/>
                    </a:cubicBezTo>
                    <a:cubicBezTo>
                      <a:pt x="89" y="6"/>
                      <a:pt x="89" y="6"/>
                      <a:pt x="89" y="6"/>
                    </a:cubicBezTo>
                    <a:cubicBezTo>
                      <a:pt x="88" y="6"/>
                      <a:pt x="87" y="7"/>
                      <a:pt x="87" y="7"/>
                    </a:cubicBezTo>
                    <a:cubicBezTo>
                      <a:pt x="86" y="7"/>
                      <a:pt x="86" y="7"/>
                      <a:pt x="86" y="7"/>
                    </a:cubicBezTo>
                    <a:cubicBezTo>
                      <a:pt x="85" y="5"/>
                      <a:pt x="84" y="1"/>
                      <a:pt x="82" y="0"/>
                    </a:cubicBezTo>
                    <a:cubicBezTo>
                      <a:pt x="82" y="0"/>
                      <a:pt x="81" y="0"/>
                      <a:pt x="81" y="0"/>
                    </a:cubicBezTo>
                    <a:cubicBezTo>
                      <a:pt x="80" y="0"/>
                      <a:pt x="80" y="1"/>
                      <a:pt x="79" y="1"/>
                    </a:cubicBezTo>
                    <a:cubicBezTo>
                      <a:pt x="78" y="1"/>
                      <a:pt x="77" y="2"/>
                      <a:pt x="76" y="2"/>
                    </a:cubicBezTo>
                    <a:cubicBezTo>
                      <a:pt x="76" y="2"/>
                      <a:pt x="76" y="2"/>
                      <a:pt x="76" y="2"/>
                    </a:cubicBezTo>
                    <a:cubicBezTo>
                      <a:pt x="74" y="1"/>
                      <a:pt x="72"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264"/>
              <p:cNvSpPr/>
              <p:nvPr/>
            </p:nvSpPr>
            <p:spPr bwMode="auto">
              <a:xfrm>
                <a:off x="6628" y="-1552"/>
                <a:ext cx="296" cy="137"/>
              </a:xfrm>
              <a:custGeom>
                <a:gdLst>
                  <a:gd name="T0" fmla="*/ 79 w 125"/>
                  <a:gd name="T1" fmla="*/ 0 h 58"/>
                  <a:gd name="T2" fmla="*/ 70 w 125"/>
                  <a:gd name="T3" fmla="*/ 3 h 58"/>
                  <a:gd name="T4" fmla="*/ 70 w 125"/>
                  <a:gd name="T5" fmla="*/ 5 h 58"/>
                  <a:gd name="T6" fmla="*/ 68 w 125"/>
                  <a:gd name="T7" fmla="*/ 6 h 58"/>
                  <a:gd name="T8" fmla="*/ 56 w 125"/>
                  <a:gd name="T9" fmla="*/ 9 h 58"/>
                  <a:gd name="T10" fmla="*/ 51 w 125"/>
                  <a:gd name="T11" fmla="*/ 10 h 58"/>
                  <a:gd name="T12" fmla="*/ 44 w 125"/>
                  <a:gd name="T13" fmla="*/ 11 h 58"/>
                  <a:gd name="T14" fmla="*/ 42 w 125"/>
                  <a:gd name="T15" fmla="*/ 12 h 58"/>
                  <a:gd name="T16" fmla="*/ 41 w 125"/>
                  <a:gd name="T17" fmla="*/ 12 h 58"/>
                  <a:gd name="T18" fmla="*/ 40 w 125"/>
                  <a:gd name="T19" fmla="*/ 12 h 58"/>
                  <a:gd name="T20" fmla="*/ 38 w 125"/>
                  <a:gd name="T21" fmla="*/ 12 h 58"/>
                  <a:gd name="T22" fmla="*/ 33 w 125"/>
                  <a:gd name="T23" fmla="*/ 13 h 58"/>
                  <a:gd name="T24" fmla="*/ 33 w 125"/>
                  <a:gd name="T25" fmla="*/ 17 h 58"/>
                  <a:gd name="T26" fmla="*/ 26 w 125"/>
                  <a:gd name="T27" fmla="*/ 18 h 58"/>
                  <a:gd name="T28" fmla="*/ 25 w 125"/>
                  <a:gd name="T29" fmla="*/ 20 h 58"/>
                  <a:gd name="T30" fmla="*/ 24 w 125"/>
                  <a:gd name="T31" fmla="*/ 22 h 58"/>
                  <a:gd name="T32" fmla="*/ 21 w 125"/>
                  <a:gd name="T33" fmla="*/ 23 h 58"/>
                  <a:gd name="T34" fmla="*/ 25 w 125"/>
                  <a:gd name="T35" fmla="*/ 27 h 58"/>
                  <a:gd name="T36" fmla="*/ 27 w 125"/>
                  <a:gd name="T37" fmla="*/ 30 h 58"/>
                  <a:gd name="T38" fmla="*/ 27 w 125"/>
                  <a:gd name="T39" fmla="*/ 33 h 58"/>
                  <a:gd name="T40" fmla="*/ 23 w 125"/>
                  <a:gd name="T41" fmla="*/ 35 h 58"/>
                  <a:gd name="T42" fmla="*/ 21 w 125"/>
                  <a:gd name="T43" fmla="*/ 35 h 58"/>
                  <a:gd name="T44" fmla="*/ 20 w 125"/>
                  <a:gd name="T45" fmla="*/ 35 h 58"/>
                  <a:gd name="T46" fmla="*/ 20 w 125"/>
                  <a:gd name="T47" fmla="*/ 35 h 58"/>
                  <a:gd name="T48" fmla="*/ 13 w 125"/>
                  <a:gd name="T49" fmla="*/ 36 h 58"/>
                  <a:gd name="T50" fmla="*/ 10 w 125"/>
                  <a:gd name="T51" fmla="*/ 37 h 58"/>
                  <a:gd name="T52" fmla="*/ 13 w 125"/>
                  <a:gd name="T53" fmla="*/ 40 h 58"/>
                  <a:gd name="T54" fmla="*/ 5 w 125"/>
                  <a:gd name="T55" fmla="*/ 41 h 58"/>
                  <a:gd name="T56" fmla="*/ 2 w 125"/>
                  <a:gd name="T57" fmla="*/ 42 h 58"/>
                  <a:gd name="T58" fmla="*/ 1 w 125"/>
                  <a:gd name="T59" fmla="*/ 44 h 58"/>
                  <a:gd name="T60" fmla="*/ 1 w 125"/>
                  <a:gd name="T61" fmla="*/ 44 h 58"/>
                  <a:gd name="T62" fmla="*/ 24 w 125"/>
                  <a:gd name="T63" fmla="*/ 44 h 58"/>
                  <a:gd name="T64" fmla="*/ 31 w 125"/>
                  <a:gd name="T65" fmla="*/ 44 h 58"/>
                  <a:gd name="T66" fmla="*/ 36 w 125"/>
                  <a:gd name="T67" fmla="*/ 45 h 58"/>
                  <a:gd name="T68" fmla="*/ 35 w 125"/>
                  <a:gd name="T69" fmla="*/ 46 h 58"/>
                  <a:gd name="T70" fmla="*/ 27 w 125"/>
                  <a:gd name="T71" fmla="*/ 45 h 58"/>
                  <a:gd name="T72" fmla="*/ 18 w 125"/>
                  <a:gd name="T73" fmla="*/ 45 h 58"/>
                  <a:gd name="T74" fmla="*/ 16 w 125"/>
                  <a:gd name="T75" fmla="*/ 45 h 58"/>
                  <a:gd name="T76" fmla="*/ 23 w 125"/>
                  <a:gd name="T77" fmla="*/ 49 h 58"/>
                  <a:gd name="T78" fmla="*/ 28 w 125"/>
                  <a:gd name="T79" fmla="*/ 50 h 58"/>
                  <a:gd name="T80" fmla="*/ 27 w 125"/>
                  <a:gd name="T81" fmla="*/ 50 h 58"/>
                  <a:gd name="T82" fmla="*/ 17 w 125"/>
                  <a:gd name="T83" fmla="*/ 49 h 58"/>
                  <a:gd name="T84" fmla="*/ 29 w 125"/>
                  <a:gd name="T85" fmla="*/ 53 h 58"/>
                  <a:gd name="T86" fmla="*/ 36 w 125"/>
                  <a:gd name="T87" fmla="*/ 56 h 58"/>
                  <a:gd name="T88" fmla="*/ 44 w 125"/>
                  <a:gd name="T89" fmla="*/ 58 h 58"/>
                  <a:gd name="T90" fmla="*/ 45 w 125"/>
                  <a:gd name="T91" fmla="*/ 58 h 58"/>
                  <a:gd name="T92" fmla="*/ 68 w 125"/>
                  <a:gd name="T93" fmla="*/ 52 h 58"/>
                  <a:gd name="T94" fmla="*/ 89 w 125"/>
                  <a:gd name="T95" fmla="*/ 48 h 58"/>
                  <a:gd name="T96" fmla="*/ 107 w 125"/>
                  <a:gd name="T97" fmla="*/ 47 h 58"/>
                  <a:gd name="T98" fmla="*/ 110 w 125"/>
                  <a:gd name="T99" fmla="*/ 40 h 58"/>
                  <a:gd name="T100" fmla="*/ 109 w 125"/>
                  <a:gd name="T101" fmla="*/ 35 h 58"/>
                  <a:gd name="T102" fmla="*/ 109 w 125"/>
                  <a:gd name="T103" fmla="*/ 29 h 58"/>
                  <a:gd name="T104" fmla="*/ 125 w 125"/>
                  <a:gd name="T105" fmla="*/ 27 h 58"/>
                  <a:gd name="T106" fmla="*/ 101 w 125"/>
                  <a:gd name="T107" fmla="*/ 12 h 58"/>
                  <a:gd name="T108" fmla="*/ 87 w 125"/>
                  <a:gd name="T109" fmla="*/ 3 h 58"/>
                  <a:gd name="T110" fmla="*/ 79 w 125"/>
                  <a:gd name="T111" fmla="*/ 0 h 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57">
                    <a:moveTo>
                      <a:pt x="79" y="0"/>
                    </a:moveTo>
                    <a:cubicBezTo>
                      <a:pt x="76" y="1"/>
                      <a:pt x="70" y="0"/>
                      <a:pt x="70" y="3"/>
                    </a:cubicBezTo>
                    <a:cubicBezTo>
                      <a:pt x="70" y="4"/>
                      <a:pt x="72" y="4"/>
                      <a:pt x="70" y="5"/>
                    </a:cubicBezTo>
                    <a:cubicBezTo>
                      <a:pt x="69" y="5"/>
                      <a:pt x="69" y="6"/>
                      <a:pt x="68" y="6"/>
                    </a:cubicBezTo>
                    <a:cubicBezTo>
                      <a:pt x="64" y="9"/>
                      <a:pt x="60" y="8"/>
                      <a:pt x="56" y="9"/>
                    </a:cubicBezTo>
                    <a:cubicBezTo>
                      <a:pt x="54" y="9"/>
                      <a:pt x="53" y="10"/>
                      <a:pt x="51" y="10"/>
                    </a:cubicBezTo>
                    <a:cubicBezTo>
                      <a:pt x="49" y="11"/>
                      <a:pt x="46" y="11"/>
                      <a:pt x="44" y="11"/>
                    </a:cubicBezTo>
                    <a:cubicBezTo>
                      <a:pt x="43" y="11"/>
                      <a:pt x="43" y="12"/>
                      <a:pt x="42" y="12"/>
                    </a:cubicBezTo>
                    <a:cubicBezTo>
                      <a:pt x="42" y="12"/>
                      <a:pt x="41" y="12"/>
                      <a:pt x="41" y="12"/>
                    </a:cubicBezTo>
                    <a:cubicBezTo>
                      <a:pt x="41" y="12"/>
                      <a:pt x="40" y="12"/>
                      <a:pt x="40" y="12"/>
                    </a:cubicBezTo>
                    <a:cubicBezTo>
                      <a:pt x="39" y="12"/>
                      <a:pt x="39" y="12"/>
                      <a:pt x="38" y="12"/>
                    </a:cubicBezTo>
                    <a:cubicBezTo>
                      <a:pt x="37" y="12"/>
                      <a:pt x="35" y="12"/>
                      <a:pt x="33" y="13"/>
                    </a:cubicBezTo>
                    <a:cubicBezTo>
                      <a:pt x="30" y="15"/>
                      <a:pt x="35" y="15"/>
                      <a:pt x="33" y="17"/>
                    </a:cubicBezTo>
                    <a:cubicBezTo>
                      <a:pt x="33" y="18"/>
                      <a:pt x="28" y="17"/>
                      <a:pt x="26" y="18"/>
                    </a:cubicBezTo>
                    <a:cubicBezTo>
                      <a:pt x="24" y="19"/>
                      <a:pt x="26" y="19"/>
                      <a:pt x="25" y="20"/>
                    </a:cubicBezTo>
                    <a:cubicBezTo>
                      <a:pt x="25" y="21"/>
                      <a:pt x="24" y="21"/>
                      <a:pt x="24" y="22"/>
                    </a:cubicBezTo>
                    <a:cubicBezTo>
                      <a:pt x="23" y="22"/>
                      <a:pt x="22" y="22"/>
                      <a:pt x="21" y="23"/>
                    </a:cubicBezTo>
                    <a:cubicBezTo>
                      <a:pt x="21" y="25"/>
                      <a:pt x="24" y="26"/>
                      <a:pt x="25" y="27"/>
                    </a:cubicBezTo>
                    <a:cubicBezTo>
                      <a:pt x="27" y="28"/>
                      <a:pt x="27" y="28"/>
                      <a:pt x="27" y="30"/>
                    </a:cubicBezTo>
                    <a:cubicBezTo>
                      <a:pt x="27" y="31"/>
                      <a:pt x="27" y="32"/>
                      <a:pt x="27" y="33"/>
                    </a:cubicBezTo>
                    <a:cubicBezTo>
                      <a:pt x="26" y="35"/>
                      <a:pt x="25" y="35"/>
                      <a:pt x="23" y="35"/>
                    </a:cubicBezTo>
                    <a:cubicBezTo>
                      <a:pt x="22" y="35"/>
                      <a:pt x="22" y="35"/>
                      <a:pt x="21" y="35"/>
                    </a:cubicBezTo>
                    <a:cubicBezTo>
                      <a:pt x="21" y="35"/>
                      <a:pt x="20" y="35"/>
                      <a:pt x="20" y="35"/>
                    </a:cubicBezTo>
                    <a:cubicBezTo>
                      <a:pt x="20" y="35"/>
                      <a:pt x="20" y="35"/>
                      <a:pt x="20" y="35"/>
                    </a:cubicBezTo>
                    <a:cubicBezTo>
                      <a:pt x="17" y="35"/>
                      <a:pt x="16" y="36"/>
                      <a:pt x="13" y="36"/>
                    </a:cubicBezTo>
                    <a:cubicBezTo>
                      <a:pt x="12" y="37"/>
                      <a:pt x="11" y="37"/>
                      <a:pt x="10" y="37"/>
                    </a:cubicBezTo>
                    <a:cubicBezTo>
                      <a:pt x="9" y="37"/>
                      <a:pt x="13" y="40"/>
                      <a:pt x="13" y="40"/>
                    </a:cubicBezTo>
                    <a:cubicBezTo>
                      <a:pt x="10" y="40"/>
                      <a:pt x="7" y="40"/>
                      <a:pt x="5" y="41"/>
                    </a:cubicBezTo>
                    <a:cubicBezTo>
                      <a:pt x="5" y="41"/>
                      <a:pt x="3" y="42"/>
                      <a:pt x="2" y="42"/>
                    </a:cubicBezTo>
                    <a:cubicBezTo>
                      <a:pt x="1" y="43"/>
                      <a:pt x="0" y="44"/>
                      <a:pt x="1" y="44"/>
                    </a:cubicBezTo>
                    <a:cubicBezTo>
                      <a:pt x="1" y="44"/>
                      <a:pt x="1" y="44"/>
                      <a:pt x="1" y="44"/>
                    </a:cubicBezTo>
                    <a:cubicBezTo>
                      <a:pt x="8" y="44"/>
                      <a:pt x="16" y="44"/>
                      <a:pt x="24" y="44"/>
                    </a:cubicBezTo>
                    <a:cubicBezTo>
                      <a:pt x="25" y="44"/>
                      <a:pt x="28" y="44"/>
                      <a:pt x="31" y="44"/>
                    </a:cubicBezTo>
                    <a:cubicBezTo>
                      <a:pt x="33" y="44"/>
                      <a:pt x="36" y="44"/>
                      <a:pt x="36" y="45"/>
                    </a:cubicBezTo>
                    <a:cubicBezTo>
                      <a:pt x="36" y="46"/>
                      <a:pt x="36" y="46"/>
                      <a:pt x="35" y="46"/>
                    </a:cubicBezTo>
                    <a:cubicBezTo>
                      <a:pt x="34" y="46"/>
                      <a:pt x="31" y="45"/>
                      <a:pt x="27" y="45"/>
                    </a:cubicBezTo>
                    <a:cubicBezTo>
                      <a:pt x="24" y="45"/>
                      <a:pt x="20" y="45"/>
                      <a:pt x="18" y="45"/>
                    </a:cubicBezTo>
                    <a:cubicBezTo>
                      <a:pt x="16" y="45"/>
                      <a:pt x="16" y="45"/>
                      <a:pt x="16" y="45"/>
                    </a:cubicBezTo>
                    <a:cubicBezTo>
                      <a:pt x="15" y="47"/>
                      <a:pt x="22" y="49"/>
                      <a:pt x="23" y="49"/>
                    </a:cubicBezTo>
                    <a:cubicBezTo>
                      <a:pt x="25" y="49"/>
                      <a:pt x="27" y="49"/>
                      <a:pt x="28" y="50"/>
                    </a:cubicBezTo>
                    <a:cubicBezTo>
                      <a:pt x="28" y="50"/>
                      <a:pt x="27" y="50"/>
                      <a:pt x="27" y="50"/>
                    </a:cubicBezTo>
                    <a:cubicBezTo>
                      <a:pt x="24" y="50"/>
                      <a:pt x="21" y="49"/>
                      <a:pt x="17" y="49"/>
                    </a:cubicBezTo>
                    <a:cubicBezTo>
                      <a:pt x="20" y="51"/>
                      <a:pt x="26" y="52"/>
                      <a:pt x="29" y="53"/>
                    </a:cubicBezTo>
                    <a:cubicBezTo>
                      <a:pt x="32" y="53"/>
                      <a:pt x="34" y="56"/>
                      <a:pt x="36" y="56"/>
                    </a:cubicBezTo>
                    <a:cubicBezTo>
                      <a:pt x="39" y="57"/>
                      <a:pt x="42" y="58"/>
                      <a:pt x="44" y="58"/>
                    </a:cubicBezTo>
                    <a:cubicBezTo>
                      <a:pt x="45" y="58"/>
                      <a:pt x="45" y="58"/>
                      <a:pt x="45" y="58"/>
                    </a:cubicBezTo>
                    <a:cubicBezTo>
                      <a:pt x="52" y="57"/>
                      <a:pt x="60" y="54"/>
                      <a:pt x="68" y="52"/>
                    </a:cubicBezTo>
                    <a:cubicBezTo>
                      <a:pt x="75" y="51"/>
                      <a:pt x="81" y="48"/>
                      <a:pt x="89" y="48"/>
                    </a:cubicBezTo>
                    <a:cubicBezTo>
                      <a:pt x="95" y="48"/>
                      <a:pt x="101" y="48"/>
                      <a:pt x="107" y="47"/>
                    </a:cubicBezTo>
                    <a:cubicBezTo>
                      <a:pt x="111" y="47"/>
                      <a:pt x="111" y="45"/>
                      <a:pt x="110" y="40"/>
                    </a:cubicBezTo>
                    <a:cubicBezTo>
                      <a:pt x="110" y="39"/>
                      <a:pt x="110" y="36"/>
                      <a:pt x="109" y="35"/>
                    </a:cubicBezTo>
                    <a:cubicBezTo>
                      <a:pt x="107" y="34"/>
                      <a:pt x="107" y="31"/>
                      <a:pt x="109" y="29"/>
                    </a:cubicBezTo>
                    <a:cubicBezTo>
                      <a:pt x="114" y="27"/>
                      <a:pt x="120" y="27"/>
                      <a:pt x="125" y="27"/>
                    </a:cubicBezTo>
                    <a:cubicBezTo>
                      <a:pt x="117" y="22"/>
                      <a:pt x="109" y="17"/>
                      <a:pt x="101" y="12"/>
                    </a:cubicBezTo>
                    <a:cubicBezTo>
                      <a:pt x="96" y="9"/>
                      <a:pt x="91" y="6"/>
                      <a:pt x="87" y="3"/>
                    </a:cubicBezTo>
                    <a:cubicBezTo>
                      <a:pt x="84" y="1"/>
                      <a:pt x="82" y="1"/>
                      <a:pt x="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265"/>
              <p:cNvSpPr/>
              <p:nvPr/>
            </p:nvSpPr>
            <p:spPr bwMode="auto">
              <a:xfrm>
                <a:off x="6694" y="-1434"/>
                <a:ext cx="324" cy="142"/>
              </a:xfrm>
              <a:custGeom>
                <a:gdLst>
                  <a:gd name="T0" fmla="*/ 81 w 137"/>
                  <a:gd name="T1" fmla="*/ 0 h 60"/>
                  <a:gd name="T2" fmla="*/ 74 w 137"/>
                  <a:gd name="T3" fmla="*/ 2 h 60"/>
                  <a:gd name="T4" fmla="*/ 72 w 137"/>
                  <a:gd name="T5" fmla="*/ 2 h 60"/>
                  <a:gd name="T6" fmla="*/ 67 w 137"/>
                  <a:gd name="T7" fmla="*/ 3 h 60"/>
                  <a:gd name="T8" fmla="*/ 66 w 137"/>
                  <a:gd name="T9" fmla="*/ 3 h 60"/>
                  <a:gd name="T10" fmla="*/ 65 w 137"/>
                  <a:gd name="T11" fmla="*/ 3 h 60"/>
                  <a:gd name="T12" fmla="*/ 62 w 137"/>
                  <a:gd name="T13" fmla="*/ 4 h 60"/>
                  <a:gd name="T14" fmla="*/ 60 w 137"/>
                  <a:gd name="T15" fmla="*/ 3 h 60"/>
                  <a:gd name="T16" fmla="*/ 54 w 137"/>
                  <a:gd name="T17" fmla="*/ 3 h 60"/>
                  <a:gd name="T18" fmla="*/ 48 w 137"/>
                  <a:gd name="T19" fmla="*/ 4 h 60"/>
                  <a:gd name="T20" fmla="*/ 44 w 137"/>
                  <a:gd name="T21" fmla="*/ 6 h 60"/>
                  <a:gd name="T22" fmla="*/ 39 w 137"/>
                  <a:gd name="T23" fmla="*/ 3 h 60"/>
                  <a:gd name="T24" fmla="*/ 35 w 137"/>
                  <a:gd name="T25" fmla="*/ 7 h 60"/>
                  <a:gd name="T26" fmla="*/ 26 w 137"/>
                  <a:gd name="T27" fmla="*/ 12 h 60"/>
                  <a:gd name="T28" fmla="*/ 22 w 137"/>
                  <a:gd name="T29" fmla="*/ 19 h 60"/>
                  <a:gd name="T30" fmla="*/ 9 w 137"/>
                  <a:gd name="T31" fmla="*/ 26 h 60"/>
                  <a:gd name="T32" fmla="*/ 4 w 137"/>
                  <a:gd name="T33" fmla="*/ 27 h 60"/>
                  <a:gd name="T34" fmla="*/ 0 w 137"/>
                  <a:gd name="T35" fmla="*/ 26 h 60"/>
                  <a:gd name="T36" fmla="*/ 6 w 137"/>
                  <a:gd name="T37" fmla="*/ 31 h 60"/>
                  <a:gd name="T38" fmla="*/ 16 w 137"/>
                  <a:gd name="T39" fmla="*/ 25 h 60"/>
                  <a:gd name="T40" fmla="*/ 21 w 137"/>
                  <a:gd name="T41" fmla="*/ 29 h 60"/>
                  <a:gd name="T42" fmla="*/ 21 w 137"/>
                  <a:gd name="T43" fmla="*/ 32 h 60"/>
                  <a:gd name="T44" fmla="*/ 24 w 137"/>
                  <a:gd name="T45" fmla="*/ 32 h 60"/>
                  <a:gd name="T46" fmla="*/ 28 w 137"/>
                  <a:gd name="T47" fmla="*/ 33 h 60"/>
                  <a:gd name="T48" fmla="*/ 28 w 137"/>
                  <a:gd name="T49" fmla="*/ 39 h 60"/>
                  <a:gd name="T50" fmla="*/ 34 w 137"/>
                  <a:gd name="T51" fmla="*/ 42 h 60"/>
                  <a:gd name="T52" fmla="*/ 37 w 137"/>
                  <a:gd name="T53" fmla="*/ 47 h 60"/>
                  <a:gd name="T54" fmla="*/ 43 w 137"/>
                  <a:gd name="T55" fmla="*/ 49 h 60"/>
                  <a:gd name="T56" fmla="*/ 52 w 137"/>
                  <a:gd name="T57" fmla="*/ 47 h 60"/>
                  <a:gd name="T58" fmla="*/ 57 w 137"/>
                  <a:gd name="T59" fmla="*/ 51 h 60"/>
                  <a:gd name="T60" fmla="*/ 66 w 137"/>
                  <a:gd name="T61" fmla="*/ 50 h 60"/>
                  <a:gd name="T62" fmla="*/ 65 w 137"/>
                  <a:gd name="T63" fmla="*/ 51 h 60"/>
                  <a:gd name="T64" fmla="*/ 69 w 137"/>
                  <a:gd name="T65" fmla="*/ 51 h 60"/>
                  <a:gd name="T66" fmla="*/ 74 w 137"/>
                  <a:gd name="T67" fmla="*/ 51 h 60"/>
                  <a:gd name="T68" fmla="*/ 79 w 137"/>
                  <a:gd name="T69" fmla="*/ 54 h 60"/>
                  <a:gd name="T70" fmla="*/ 90 w 137"/>
                  <a:gd name="T71" fmla="*/ 57 h 60"/>
                  <a:gd name="T72" fmla="*/ 97 w 137"/>
                  <a:gd name="T73" fmla="*/ 58 h 60"/>
                  <a:gd name="T74" fmla="*/ 105 w 137"/>
                  <a:gd name="T75" fmla="*/ 60 h 60"/>
                  <a:gd name="T76" fmla="*/ 130 w 137"/>
                  <a:gd name="T77" fmla="*/ 55 h 60"/>
                  <a:gd name="T78" fmla="*/ 130 w 137"/>
                  <a:gd name="T79" fmla="*/ 46 h 60"/>
                  <a:gd name="T80" fmla="*/ 121 w 137"/>
                  <a:gd name="T81" fmla="*/ 38 h 60"/>
                  <a:gd name="T82" fmla="*/ 123 w 137"/>
                  <a:gd name="T83" fmla="*/ 39 h 60"/>
                  <a:gd name="T84" fmla="*/ 128 w 137"/>
                  <a:gd name="T85" fmla="*/ 38 h 60"/>
                  <a:gd name="T86" fmla="*/ 130 w 137"/>
                  <a:gd name="T87" fmla="*/ 30 h 60"/>
                  <a:gd name="T88" fmla="*/ 132 w 137"/>
                  <a:gd name="T89" fmla="*/ 24 h 60"/>
                  <a:gd name="T90" fmla="*/ 134 w 137"/>
                  <a:gd name="T91" fmla="*/ 19 h 60"/>
                  <a:gd name="T92" fmla="*/ 136 w 137"/>
                  <a:gd name="T93" fmla="*/ 15 h 60"/>
                  <a:gd name="T94" fmla="*/ 127 w 137"/>
                  <a:gd name="T95" fmla="*/ 9 h 60"/>
                  <a:gd name="T96" fmla="*/ 124 w 137"/>
                  <a:gd name="T97" fmla="*/ 8 h 60"/>
                  <a:gd name="T98" fmla="*/ 120 w 137"/>
                  <a:gd name="T99" fmla="*/ 6 h 60"/>
                  <a:gd name="T100" fmla="*/ 97 w 137"/>
                  <a:gd name="T101" fmla="*/ 12 h 60"/>
                  <a:gd name="T102" fmla="*/ 91 w 137"/>
                  <a:gd name="T103" fmla="*/ 18 h 60"/>
                  <a:gd name="T104" fmla="*/ 94 w 137"/>
                  <a:gd name="T105" fmla="*/ 9 h 60"/>
                  <a:gd name="T106" fmla="*/ 88 w 137"/>
                  <a:gd name="T107" fmla="*/ 0 h 60"/>
                  <a:gd name="T108" fmla="*/ 88 w 137"/>
                  <a:gd name="T109" fmla="*/ 0 h 60"/>
                  <a:gd name="T110" fmla="*/ 84 w 137"/>
                  <a:gd name="T111" fmla="*/ 0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 h="60">
                    <a:moveTo>
                      <a:pt x="84" y="0"/>
                    </a:moveTo>
                    <a:cubicBezTo>
                      <a:pt x="83" y="0"/>
                      <a:pt x="82" y="0"/>
                      <a:pt x="81" y="0"/>
                    </a:cubicBezTo>
                    <a:cubicBezTo>
                      <a:pt x="79" y="1"/>
                      <a:pt x="77" y="2"/>
                      <a:pt x="75" y="2"/>
                    </a:cubicBezTo>
                    <a:cubicBezTo>
                      <a:pt x="75" y="2"/>
                      <a:pt x="74" y="2"/>
                      <a:pt x="74" y="2"/>
                    </a:cubicBezTo>
                    <a:cubicBezTo>
                      <a:pt x="74" y="2"/>
                      <a:pt x="73" y="2"/>
                      <a:pt x="73" y="2"/>
                    </a:cubicBezTo>
                    <a:cubicBezTo>
                      <a:pt x="73" y="2"/>
                      <a:pt x="72" y="2"/>
                      <a:pt x="72" y="2"/>
                    </a:cubicBezTo>
                    <a:cubicBezTo>
                      <a:pt x="71" y="2"/>
                      <a:pt x="71" y="2"/>
                      <a:pt x="70" y="2"/>
                    </a:cubicBezTo>
                    <a:cubicBezTo>
                      <a:pt x="69" y="2"/>
                      <a:pt x="68" y="3"/>
                      <a:pt x="67" y="3"/>
                    </a:cubicBezTo>
                    <a:cubicBezTo>
                      <a:pt x="67" y="3"/>
                      <a:pt x="67" y="3"/>
                      <a:pt x="67" y="3"/>
                    </a:cubicBezTo>
                    <a:cubicBezTo>
                      <a:pt x="67" y="3"/>
                      <a:pt x="66" y="3"/>
                      <a:pt x="66" y="3"/>
                    </a:cubicBezTo>
                    <a:cubicBezTo>
                      <a:pt x="66" y="3"/>
                      <a:pt x="65" y="3"/>
                      <a:pt x="65" y="3"/>
                    </a:cubicBezTo>
                    <a:cubicBezTo>
                      <a:pt x="65" y="3"/>
                      <a:pt x="65" y="3"/>
                      <a:pt x="65" y="3"/>
                    </a:cubicBezTo>
                    <a:cubicBezTo>
                      <a:pt x="64" y="3"/>
                      <a:pt x="63" y="4"/>
                      <a:pt x="62" y="4"/>
                    </a:cubicBezTo>
                    <a:cubicBezTo>
                      <a:pt x="62" y="4"/>
                      <a:pt x="62" y="4"/>
                      <a:pt x="62" y="4"/>
                    </a:cubicBezTo>
                    <a:cubicBezTo>
                      <a:pt x="61" y="3"/>
                      <a:pt x="61" y="3"/>
                      <a:pt x="60" y="3"/>
                    </a:cubicBezTo>
                    <a:cubicBezTo>
                      <a:pt x="60" y="3"/>
                      <a:pt x="60" y="3"/>
                      <a:pt x="60" y="3"/>
                    </a:cubicBezTo>
                    <a:cubicBezTo>
                      <a:pt x="59" y="3"/>
                      <a:pt x="58" y="3"/>
                      <a:pt x="56" y="3"/>
                    </a:cubicBezTo>
                    <a:cubicBezTo>
                      <a:pt x="55" y="3"/>
                      <a:pt x="55" y="3"/>
                      <a:pt x="54" y="3"/>
                    </a:cubicBezTo>
                    <a:cubicBezTo>
                      <a:pt x="53" y="3"/>
                      <a:pt x="52" y="3"/>
                      <a:pt x="51" y="3"/>
                    </a:cubicBezTo>
                    <a:cubicBezTo>
                      <a:pt x="50" y="3"/>
                      <a:pt x="49" y="3"/>
                      <a:pt x="48" y="4"/>
                    </a:cubicBezTo>
                    <a:cubicBezTo>
                      <a:pt x="47" y="5"/>
                      <a:pt x="47" y="6"/>
                      <a:pt x="46" y="6"/>
                    </a:cubicBezTo>
                    <a:cubicBezTo>
                      <a:pt x="46" y="6"/>
                      <a:pt x="45" y="6"/>
                      <a:pt x="44" y="6"/>
                    </a:cubicBezTo>
                    <a:cubicBezTo>
                      <a:pt x="43" y="5"/>
                      <a:pt x="42" y="3"/>
                      <a:pt x="40" y="3"/>
                    </a:cubicBezTo>
                    <a:cubicBezTo>
                      <a:pt x="40" y="3"/>
                      <a:pt x="39" y="3"/>
                      <a:pt x="39" y="3"/>
                    </a:cubicBezTo>
                    <a:cubicBezTo>
                      <a:pt x="39" y="4"/>
                      <a:pt x="37" y="6"/>
                      <a:pt x="37" y="6"/>
                    </a:cubicBezTo>
                    <a:cubicBezTo>
                      <a:pt x="36" y="7"/>
                      <a:pt x="36" y="7"/>
                      <a:pt x="35" y="7"/>
                    </a:cubicBezTo>
                    <a:cubicBezTo>
                      <a:pt x="33" y="9"/>
                      <a:pt x="30" y="8"/>
                      <a:pt x="29" y="9"/>
                    </a:cubicBezTo>
                    <a:cubicBezTo>
                      <a:pt x="28" y="9"/>
                      <a:pt x="26" y="11"/>
                      <a:pt x="26" y="12"/>
                    </a:cubicBezTo>
                    <a:cubicBezTo>
                      <a:pt x="27" y="14"/>
                      <a:pt x="30" y="14"/>
                      <a:pt x="31" y="16"/>
                    </a:cubicBezTo>
                    <a:cubicBezTo>
                      <a:pt x="27" y="17"/>
                      <a:pt x="25" y="17"/>
                      <a:pt x="22" y="19"/>
                    </a:cubicBezTo>
                    <a:cubicBezTo>
                      <a:pt x="19" y="20"/>
                      <a:pt x="18" y="21"/>
                      <a:pt x="16" y="23"/>
                    </a:cubicBezTo>
                    <a:cubicBezTo>
                      <a:pt x="14" y="25"/>
                      <a:pt x="11" y="25"/>
                      <a:pt x="9" y="26"/>
                    </a:cubicBezTo>
                    <a:cubicBezTo>
                      <a:pt x="8" y="27"/>
                      <a:pt x="7" y="27"/>
                      <a:pt x="6" y="27"/>
                    </a:cubicBezTo>
                    <a:cubicBezTo>
                      <a:pt x="6" y="27"/>
                      <a:pt x="5" y="27"/>
                      <a:pt x="4" y="27"/>
                    </a:cubicBezTo>
                    <a:cubicBezTo>
                      <a:pt x="3" y="26"/>
                      <a:pt x="2" y="26"/>
                      <a:pt x="1" y="26"/>
                    </a:cubicBezTo>
                    <a:cubicBezTo>
                      <a:pt x="1" y="26"/>
                      <a:pt x="1" y="26"/>
                      <a:pt x="0" y="26"/>
                    </a:cubicBezTo>
                    <a:cubicBezTo>
                      <a:pt x="1" y="27"/>
                      <a:pt x="4" y="31"/>
                      <a:pt x="5" y="31"/>
                    </a:cubicBezTo>
                    <a:cubicBezTo>
                      <a:pt x="5" y="31"/>
                      <a:pt x="6" y="31"/>
                      <a:pt x="6" y="31"/>
                    </a:cubicBezTo>
                    <a:cubicBezTo>
                      <a:pt x="8" y="31"/>
                      <a:pt x="10" y="30"/>
                      <a:pt x="11" y="29"/>
                    </a:cubicBezTo>
                    <a:cubicBezTo>
                      <a:pt x="12" y="28"/>
                      <a:pt x="15" y="25"/>
                      <a:pt x="16" y="25"/>
                    </a:cubicBezTo>
                    <a:cubicBezTo>
                      <a:pt x="17" y="25"/>
                      <a:pt x="17" y="26"/>
                      <a:pt x="18" y="26"/>
                    </a:cubicBezTo>
                    <a:cubicBezTo>
                      <a:pt x="19" y="27"/>
                      <a:pt x="19" y="29"/>
                      <a:pt x="21" y="29"/>
                    </a:cubicBezTo>
                    <a:cubicBezTo>
                      <a:pt x="20" y="30"/>
                      <a:pt x="18" y="30"/>
                      <a:pt x="16" y="31"/>
                    </a:cubicBezTo>
                    <a:cubicBezTo>
                      <a:pt x="18" y="31"/>
                      <a:pt x="20" y="32"/>
                      <a:pt x="21" y="32"/>
                    </a:cubicBezTo>
                    <a:cubicBezTo>
                      <a:pt x="21" y="32"/>
                      <a:pt x="21" y="32"/>
                      <a:pt x="21" y="32"/>
                    </a:cubicBezTo>
                    <a:cubicBezTo>
                      <a:pt x="22" y="32"/>
                      <a:pt x="23" y="32"/>
                      <a:pt x="24" y="32"/>
                    </a:cubicBezTo>
                    <a:cubicBezTo>
                      <a:pt x="25" y="32"/>
                      <a:pt x="26" y="32"/>
                      <a:pt x="26" y="32"/>
                    </a:cubicBezTo>
                    <a:cubicBezTo>
                      <a:pt x="28" y="32"/>
                      <a:pt x="28" y="32"/>
                      <a:pt x="28" y="33"/>
                    </a:cubicBezTo>
                    <a:cubicBezTo>
                      <a:pt x="27" y="34"/>
                      <a:pt x="28" y="35"/>
                      <a:pt x="28" y="36"/>
                    </a:cubicBezTo>
                    <a:cubicBezTo>
                      <a:pt x="28" y="36"/>
                      <a:pt x="28" y="38"/>
                      <a:pt x="28" y="39"/>
                    </a:cubicBezTo>
                    <a:cubicBezTo>
                      <a:pt x="28" y="41"/>
                      <a:pt x="30" y="41"/>
                      <a:pt x="31" y="41"/>
                    </a:cubicBezTo>
                    <a:cubicBezTo>
                      <a:pt x="32" y="42"/>
                      <a:pt x="33" y="42"/>
                      <a:pt x="34" y="42"/>
                    </a:cubicBezTo>
                    <a:cubicBezTo>
                      <a:pt x="34" y="43"/>
                      <a:pt x="33" y="44"/>
                      <a:pt x="34" y="45"/>
                    </a:cubicBezTo>
                    <a:cubicBezTo>
                      <a:pt x="34" y="46"/>
                      <a:pt x="36" y="46"/>
                      <a:pt x="37" y="47"/>
                    </a:cubicBezTo>
                    <a:cubicBezTo>
                      <a:pt x="38" y="48"/>
                      <a:pt x="40" y="48"/>
                      <a:pt x="42" y="49"/>
                    </a:cubicBezTo>
                    <a:cubicBezTo>
                      <a:pt x="42" y="49"/>
                      <a:pt x="43" y="49"/>
                      <a:pt x="43" y="49"/>
                    </a:cubicBezTo>
                    <a:cubicBezTo>
                      <a:pt x="45" y="49"/>
                      <a:pt x="46" y="48"/>
                      <a:pt x="48" y="48"/>
                    </a:cubicBezTo>
                    <a:cubicBezTo>
                      <a:pt x="49" y="48"/>
                      <a:pt x="51" y="47"/>
                      <a:pt x="52" y="47"/>
                    </a:cubicBezTo>
                    <a:cubicBezTo>
                      <a:pt x="53" y="47"/>
                      <a:pt x="53" y="47"/>
                      <a:pt x="53" y="47"/>
                    </a:cubicBezTo>
                    <a:cubicBezTo>
                      <a:pt x="53" y="50"/>
                      <a:pt x="54" y="51"/>
                      <a:pt x="57" y="51"/>
                    </a:cubicBezTo>
                    <a:cubicBezTo>
                      <a:pt x="58" y="51"/>
                      <a:pt x="60" y="50"/>
                      <a:pt x="62" y="50"/>
                    </a:cubicBezTo>
                    <a:cubicBezTo>
                      <a:pt x="64" y="50"/>
                      <a:pt x="65" y="50"/>
                      <a:pt x="66" y="50"/>
                    </a:cubicBezTo>
                    <a:cubicBezTo>
                      <a:pt x="66" y="50"/>
                      <a:pt x="66" y="50"/>
                      <a:pt x="66" y="50"/>
                    </a:cubicBezTo>
                    <a:cubicBezTo>
                      <a:pt x="66" y="50"/>
                      <a:pt x="66" y="50"/>
                      <a:pt x="65" y="51"/>
                    </a:cubicBezTo>
                    <a:cubicBezTo>
                      <a:pt x="66" y="51"/>
                      <a:pt x="66" y="51"/>
                      <a:pt x="67" y="51"/>
                    </a:cubicBezTo>
                    <a:cubicBezTo>
                      <a:pt x="68" y="51"/>
                      <a:pt x="69" y="51"/>
                      <a:pt x="69" y="51"/>
                    </a:cubicBezTo>
                    <a:cubicBezTo>
                      <a:pt x="70" y="50"/>
                      <a:pt x="71" y="50"/>
                      <a:pt x="72" y="50"/>
                    </a:cubicBezTo>
                    <a:cubicBezTo>
                      <a:pt x="73" y="50"/>
                      <a:pt x="74" y="51"/>
                      <a:pt x="74" y="51"/>
                    </a:cubicBezTo>
                    <a:cubicBezTo>
                      <a:pt x="76" y="51"/>
                      <a:pt x="75" y="52"/>
                      <a:pt x="76" y="53"/>
                    </a:cubicBezTo>
                    <a:cubicBezTo>
                      <a:pt x="77" y="53"/>
                      <a:pt x="78" y="53"/>
                      <a:pt x="79" y="54"/>
                    </a:cubicBezTo>
                    <a:cubicBezTo>
                      <a:pt x="80" y="54"/>
                      <a:pt x="82" y="56"/>
                      <a:pt x="83" y="56"/>
                    </a:cubicBezTo>
                    <a:cubicBezTo>
                      <a:pt x="85" y="57"/>
                      <a:pt x="88" y="56"/>
                      <a:pt x="90" y="57"/>
                    </a:cubicBezTo>
                    <a:cubicBezTo>
                      <a:pt x="89" y="57"/>
                      <a:pt x="88" y="57"/>
                      <a:pt x="87" y="58"/>
                    </a:cubicBezTo>
                    <a:cubicBezTo>
                      <a:pt x="90" y="59"/>
                      <a:pt x="94" y="58"/>
                      <a:pt x="97" y="58"/>
                    </a:cubicBezTo>
                    <a:cubicBezTo>
                      <a:pt x="100" y="58"/>
                      <a:pt x="102" y="60"/>
                      <a:pt x="105" y="60"/>
                    </a:cubicBezTo>
                    <a:cubicBezTo>
                      <a:pt x="105" y="60"/>
                      <a:pt x="105" y="60"/>
                      <a:pt x="105" y="60"/>
                    </a:cubicBezTo>
                    <a:cubicBezTo>
                      <a:pt x="110" y="59"/>
                      <a:pt x="116" y="58"/>
                      <a:pt x="122" y="58"/>
                    </a:cubicBezTo>
                    <a:cubicBezTo>
                      <a:pt x="125" y="58"/>
                      <a:pt x="127" y="57"/>
                      <a:pt x="130" y="55"/>
                    </a:cubicBezTo>
                    <a:cubicBezTo>
                      <a:pt x="131" y="54"/>
                      <a:pt x="133" y="54"/>
                      <a:pt x="134" y="53"/>
                    </a:cubicBezTo>
                    <a:cubicBezTo>
                      <a:pt x="136" y="51"/>
                      <a:pt x="132" y="47"/>
                      <a:pt x="130" y="46"/>
                    </a:cubicBezTo>
                    <a:cubicBezTo>
                      <a:pt x="127" y="45"/>
                      <a:pt x="122" y="42"/>
                      <a:pt x="119" y="39"/>
                    </a:cubicBezTo>
                    <a:cubicBezTo>
                      <a:pt x="119" y="38"/>
                      <a:pt x="118" y="38"/>
                      <a:pt x="121" y="38"/>
                    </a:cubicBezTo>
                    <a:cubicBezTo>
                      <a:pt x="121" y="38"/>
                      <a:pt x="121" y="38"/>
                      <a:pt x="121" y="38"/>
                    </a:cubicBezTo>
                    <a:cubicBezTo>
                      <a:pt x="122" y="38"/>
                      <a:pt x="122" y="38"/>
                      <a:pt x="123" y="39"/>
                    </a:cubicBezTo>
                    <a:cubicBezTo>
                      <a:pt x="124" y="39"/>
                      <a:pt x="125" y="39"/>
                      <a:pt x="125" y="39"/>
                    </a:cubicBezTo>
                    <a:cubicBezTo>
                      <a:pt x="126" y="39"/>
                      <a:pt x="127" y="39"/>
                      <a:pt x="128" y="38"/>
                    </a:cubicBezTo>
                    <a:cubicBezTo>
                      <a:pt x="130" y="37"/>
                      <a:pt x="131" y="35"/>
                      <a:pt x="131" y="33"/>
                    </a:cubicBezTo>
                    <a:cubicBezTo>
                      <a:pt x="130" y="32"/>
                      <a:pt x="130" y="31"/>
                      <a:pt x="130" y="30"/>
                    </a:cubicBezTo>
                    <a:cubicBezTo>
                      <a:pt x="130" y="29"/>
                      <a:pt x="132" y="29"/>
                      <a:pt x="132" y="28"/>
                    </a:cubicBezTo>
                    <a:cubicBezTo>
                      <a:pt x="132" y="27"/>
                      <a:pt x="131" y="26"/>
                      <a:pt x="132" y="24"/>
                    </a:cubicBezTo>
                    <a:cubicBezTo>
                      <a:pt x="132" y="23"/>
                      <a:pt x="132" y="23"/>
                      <a:pt x="133" y="22"/>
                    </a:cubicBezTo>
                    <a:cubicBezTo>
                      <a:pt x="134" y="21"/>
                      <a:pt x="133" y="20"/>
                      <a:pt x="134" y="19"/>
                    </a:cubicBezTo>
                    <a:cubicBezTo>
                      <a:pt x="134" y="18"/>
                      <a:pt x="135" y="19"/>
                      <a:pt x="136" y="18"/>
                    </a:cubicBezTo>
                    <a:cubicBezTo>
                      <a:pt x="137" y="17"/>
                      <a:pt x="137" y="17"/>
                      <a:pt x="136" y="15"/>
                    </a:cubicBezTo>
                    <a:cubicBezTo>
                      <a:pt x="134" y="13"/>
                      <a:pt x="131" y="13"/>
                      <a:pt x="129" y="11"/>
                    </a:cubicBezTo>
                    <a:cubicBezTo>
                      <a:pt x="128" y="11"/>
                      <a:pt x="127" y="9"/>
                      <a:pt x="127" y="9"/>
                    </a:cubicBezTo>
                    <a:cubicBezTo>
                      <a:pt x="127" y="9"/>
                      <a:pt x="126" y="9"/>
                      <a:pt x="125" y="9"/>
                    </a:cubicBezTo>
                    <a:cubicBezTo>
                      <a:pt x="124" y="8"/>
                      <a:pt x="124" y="8"/>
                      <a:pt x="124" y="8"/>
                    </a:cubicBezTo>
                    <a:cubicBezTo>
                      <a:pt x="124" y="7"/>
                      <a:pt x="124" y="7"/>
                      <a:pt x="124" y="7"/>
                    </a:cubicBezTo>
                    <a:cubicBezTo>
                      <a:pt x="122" y="6"/>
                      <a:pt x="121" y="6"/>
                      <a:pt x="120" y="6"/>
                    </a:cubicBezTo>
                    <a:cubicBezTo>
                      <a:pt x="118" y="6"/>
                      <a:pt x="117" y="6"/>
                      <a:pt x="116" y="6"/>
                    </a:cubicBezTo>
                    <a:cubicBezTo>
                      <a:pt x="110" y="8"/>
                      <a:pt x="103" y="10"/>
                      <a:pt x="97" y="12"/>
                    </a:cubicBezTo>
                    <a:cubicBezTo>
                      <a:pt x="96" y="14"/>
                      <a:pt x="95" y="14"/>
                      <a:pt x="93" y="16"/>
                    </a:cubicBezTo>
                    <a:cubicBezTo>
                      <a:pt x="92" y="17"/>
                      <a:pt x="92" y="17"/>
                      <a:pt x="91" y="18"/>
                    </a:cubicBezTo>
                    <a:cubicBezTo>
                      <a:pt x="89" y="19"/>
                      <a:pt x="86" y="20"/>
                      <a:pt x="83" y="20"/>
                    </a:cubicBezTo>
                    <a:cubicBezTo>
                      <a:pt x="86" y="16"/>
                      <a:pt x="90" y="13"/>
                      <a:pt x="94" y="9"/>
                    </a:cubicBezTo>
                    <a:cubicBezTo>
                      <a:pt x="94" y="9"/>
                      <a:pt x="101" y="5"/>
                      <a:pt x="99" y="5"/>
                    </a:cubicBezTo>
                    <a:cubicBezTo>
                      <a:pt x="95" y="3"/>
                      <a:pt x="93" y="0"/>
                      <a:pt x="88" y="0"/>
                    </a:cubicBezTo>
                    <a:cubicBezTo>
                      <a:pt x="88" y="0"/>
                      <a:pt x="88" y="0"/>
                      <a:pt x="88" y="0"/>
                    </a:cubicBezTo>
                    <a:cubicBezTo>
                      <a:pt x="88" y="0"/>
                      <a:pt x="88" y="0"/>
                      <a:pt x="88" y="0"/>
                    </a:cubicBezTo>
                    <a:cubicBezTo>
                      <a:pt x="87" y="0"/>
                      <a:pt x="87" y="0"/>
                      <a:pt x="86" y="0"/>
                    </a:cubicBezTo>
                    <a:cubicBezTo>
                      <a:pt x="85" y="0"/>
                      <a:pt x="85" y="0"/>
                      <a:pt x="8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266"/>
              <p:cNvSpPr/>
              <p:nvPr/>
            </p:nvSpPr>
            <p:spPr bwMode="auto">
              <a:xfrm>
                <a:off x="5069" y="-1580"/>
                <a:ext cx="80" cy="21"/>
              </a:xfrm>
              <a:custGeom>
                <a:gdLst>
                  <a:gd name="T0" fmla="*/ 18 w 34"/>
                  <a:gd name="T1" fmla="*/ 0 h 9"/>
                  <a:gd name="T2" fmla="*/ 16 w 34"/>
                  <a:gd name="T3" fmla="*/ 0 h 9"/>
                  <a:gd name="T4" fmla="*/ 7 w 34"/>
                  <a:gd name="T5" fmla="*/ 2 h 9"/>
                  <a:gd name="T6" fmla="*/ 7 w 34"/>
                  <a:gd name="T7" fmla="*/ 2 h 9"/>
                  <a:gd name="T8" fmla="*/ 7 w 34"/>
                  <a:gd name="T9" fmla="*/ 2 h 9"/>
                  <a:gd name="T10" fmla="*/ 0 w 34"/>
                  <a:gd name="T11" fmla="*/ 5 h 9"/>
                  <a:gd name="T12" fmla="*/ 25 w 34"/>
                  <a:gd name="T13" fmla="*/ 9 h 9"/>
                  <a:gd name="T14" fmla="*/ 34 w 34"/>
                  <a:gd name="T15" fmla="*/ 7 h 9"/>
                  <a:gd name="T16" fmla="*/ 27 w 34"/>
                  <a:gd name="T17" fmla="*/ 4 h 9"/>
                  <a:gd name="T18" fmla="*/ 25 w 34"/>
                  <a:gd name="T19" fmla="*/ 4 h 9"/>
                  <a:gd name="T20" fmla="*/ 25 w 34"/>
                  <a:gd name="T21" fmla="*/ 4 h 9"/>
                  <a:gd name="T22" fmla="*/ 24 w 34"/>
                  <a:gd name="T23" fmla="*/ 4 h 9"/>
                  <a:gd name="T24" fmla="*/ 21 w 34"/>
                  <a:gd name="T25" fmla="*/ 3 h 9"/>
                  <a:gd name="T26" fmla="*/ 20 w 34"/>
                  <a:gd name="T27" fmla="*/ 1 h 9"/>
                  <a:gd name="T28" fmla="*/ 18 w 34"/>
                  <a:gd name="T2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9">
                    <a:moveTo>
                      <a:pt x="18" y="0"/>
                    </a:moveTo>
                    <a:cubicBezTo>
                      <a:pt x="17" y="0"/>
                      <a:pt x="17" y="0"/>
                      <a:pt x="16" y="0"/>
                    </a:cubicBezTo>
                    <a:cubicBezTo>
                      <a:pt x="13" y="0"/>
                      <a:pt x="10" y="2"/>
                      <a:pt x="7" y="2"/>
                    </a:cubicBezTo>
                    <a:cubicBezTo>
                      <a:pt x="7" y="2"/>
                      <a:pt x="7" y="2"/>
                      <a:pt x="7" y="2"/>
                    </a:cubicBezTo>
                    <a:cubicBezTo>
                      <a:pt x="7" y="2"/>
                      <a:pt x="7" y="2"/>
                      <a:pt x="7" y="2"/>
                    </a:cubicBezTo>
                    <a:cubicBezTo>
                      <a:pt x="4" y="2"/>
                      <a:pt x="1" y="4"/>
                      <a:pt x="0" y="5"/>
                    </a:cubicBezTo>
                    <a:cubicBezTo>
                      <a:pt x="8" y="6"/>
                      <a:pt x="17" y="8"/>
                      <a:pt x="25" y="9"/>
                    </a:cubicBezTo>
                    <a:cubicBezTo>
                      <a:pt x="28" y="9"/>
                      <a:pt x="31" y="8"/>
                      <a:pt x="34" y="7"/>
                    </a:cubicBezTo>
                    <a:cubicBezTo>
                      <a:pt x="33" y="5"/>
                      <a:pt x="29" y="4"/>
                      <a:pt x="27" y="4"/>
                    </a:cubicBezTo>
                    <a:cubicBezTo>
                      <a:pt x="26" y="4"/>
                      <a:pt x="26" y="4"/>
                      <a:pt x="25" y="4"/>
                    </a:cubicBezTo>
                    <a:cubicBezTo>
                      <a:pt x="25" y="4"/>
                      <a:pt x="25" y="4"/>
                      <a:pt x="25" y="4"/>
                    </a:cubicBezTo>
                    <a:cubicBezTo>
                      <a:pt x="24" y="4"/>
                      <a:pt x="24" y="4"/>
                      <a:pt x="24" y="4"/>
                    </a:cubicBezTo>
                    <a:cubicBezTo>
                      <a:pt x="23" y="4"/>
                      <a:pt x="22" y="4"/>
                      <a:pt x="21" y="3"/>
                    </a:cubicBezTo>
                    <a:cubicBezTo>
                      <a:pt x="21" y="3"/>
                      <a:pt x="21" y="1"/>
                      <a:pt x="20" y="1"/>
                    </a:cubicBezTo>
                    <a:cubicBezTo>
                      <a:pt x="20" y="0"/>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267"/>
              <p:cNvSpPr/>
              <p:nvPr/>
            </p:nvSpPr>
            <p:spPr bwMode="auto">
              <a:xfrm>
                <a:off x="10556" y="-637"/>
                <a:ext cx="175" cy="62"/>
              </a:xfrm>
              <a:custGeom>
                <a:gdLst>
                  <a:gd name="T0" fmla="*/ 56 w 74"/>
                  <a:gd name="T1" fmla="*/ 0 h 26"/>
                  <a:gd name="T2" fmla="*/ 53 w 74"/>
                  <a:gd name="T3" fmla="*/ 0 h 26"/>
                  <a:gd name="T4" fmla="*/ 42 w 74"/>
                  <a:gd name="T5" fmla="*/ 0 h 26"/>
                  <a:gd name="T6" fmla="*/ 26 w 74"/>
                  <a:gd name="T7" fmla="*/ 0 h 26"/>
                  <a:gd name="T8" fmla="*/ 4 w 74"/>
                  <a:gd name="T9" fmla="*/ 12 h 26"/>
                  <a:gd name="T10" fmla="*/ 0 w 74"/>
                  <a:gd name="T11" fmla="*/ 19 h 26"/>
                  <a:gd name="T12" fmla="*/ 2 w 74"/>
                  <a:gd name="T13" fmla="*/ 23 h 26"/>
                  <a:gd name="T14" fmla="*/ 3 w 74"/>
                  <a:gd name="T15" fmla="*/ 26 h 26"/>
                  <a:gd name="T16" fmla="*/ 4 w 74"/>
                  <a:gd name="T17" fmla="*/ 26 h 26"/>
                  <a:gd name="T18" fmla="*/ 10 w 74"/>
                  <a:gd name="T19" fmla="*/ 24 h 26"/>
                  <a:gd name="T20" fmla="*/ 24 w 74"/>
                  <a:gd name="T21" fmla="*/ 20 h 26"/>
                  <a:gd name="T22" fmla="*/ 26 w 74"/>
                  <a:gd name="T23" fmla="*/ 19 h 26"/>
                  <a:gd name="T24" fmla="*/ 26 w 74"/>
                  <a:gd name="T25" fmla="*/ 19 h 26"/>
                  <a:gd name="T26" fmla="*/ 35 w 74"/>
                  <a:gd name="T27" fmla="*/ 22 h 26"/>
                  <a:gd name="T28" fmla="*/ 36 w 74"/>
                  <a:gd name="T29" fmla="*/ 23 h 26"/>
                  <a:gd name="T30" fmla="*/ 38 w 74"/>
                  <a:gd name="T31" fmla="*/ 22 h 26"/>
                  <a:gd name="T32" fmla="*/ 40 w 74"/>
                  <a:gd name="T33" fmla="*/ 22 h 26"/>
                  <a:gd name="T34" fmla="*/ 41 w 74"/>
                  <a:gd name="T35" fmla="*/ 22 h 26"/>
                  <a:gd name="T36" fmla="*/ 42 w 74"/>
                  <a:gd name="T37" fmla="*/ 22 h 26"/>
                  <a:gd name="T38" fmla="*/ 48 w 74"/>
                  <a:gd name="T39" fmla="*/ 21 h 26"/>
                  <a:gd name="T40" fmla="*/ 61 w 74"/>
                  <a:gd name="T41" fmla="*/ 18 h 26"/>
                  <a:gd name="T42" fmla="*/ 74 w 74"/>
                  <a:gd name="T43" fmla="*/ 11 h 26"/>
                  <a:gd name="T44" fmla="*/ 63 w 74"/>
                  <a:gd name="T45" fmla="*/ 4 h 26"/>
                  <a:gd name="T46" fmla="*/ 62 w 74"/>
                  <a:gd name="T47" fmla="*/ 2 h 26"/>
                  <a:gd name="T48" fmla="*/ 58 w 74"/>
                  <a:gd name="T49" fmla="*/ 0 h 26"/>
                  <a:gd name="T50" fmla="*/ 56 w 74"/>
                  <a:gd name="T51"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26">
                    <a:moveTo>
                      <a:pt x="56" y="0"/>
                    </a:moveTo>
                    <a:cubicBezTo>
                      <a:pt x="55" y="0"/>
                      <a:pt x="54" y="0"/>
                      <a:pt x="53" y="0"/>
                    </a:cubicBezTo>
                    <a:cubicBezTo>
                      <a:pt x="49" y="0"/>
                      <a:pt x="45" y="0"/>
                      <a:pt x="42" y="0"/>
                    </a:cubicBezTo>
                    <a:cubicBezTo>
                      <a:pt x="36" y="0"/>
                      <a:pt x="31" y="0"/>
                      <a:pt x="26" y="0"/>
                    </a:cubicBezTo>
                    <a:cubicBezTo>
                      <a:pt x="19" y="4"/>
                      <a:pt x="12" y="8"/>
                      <a:pt x="4" y="12"/>
                    </a:cubicBezTo>
                    <a:cubicBezTo>
                      <a:pt x="2" y="13"/>
                      <a:pt x="0" y="17"/>
                      <a:pt x="0" y="19"/>
                    </a:cubicBezTo>
                    <a:cubicBezTo>
                      <a:pt x="0" y="20"/>
                      <a:pt x="1" y="22"/>
                      <a:pt x="2" y="23"/>
                    </a:cubicBezTo>
                    <a:cubicBezTo>
                      <a:pt x="2" y="24"/>
                      <a:pt x="2" y="26"/>
                      <a:pt x="3" y="26"/>
                    </a:cubicBezTo>
                    <a:cubicBezTo>
                      <a:pt x="4" y="26"/>
                      <a:pt x="4" y="26"/>
                      <a:pt x="4" y="26"/>
                    </a:cubicBezTo>
                    <a:cubicBezTo>
                      <a:pt x="6" y="25"/>
                      <a:pt x="8" y="25"/>
                      <a:pt x="10" y="24"/>
                    </a:cubicBezTo>
                    <a:cubicBezTo>
                      <a:pt x="15" y="23"/>
                      <a:pt x="20" y="21"/>
                      <a:pt x="24" y="20"/>
                    </a:cubicBezTo>
                    <a:cubicBezTo>
                      <a:pt x="25" y="20"/>
                      <a:pt x="26" y="19"/>
                      <a:pt x="26" y="19"/>
                    </a:cubicBezTo>
                    <a:cubicBezTo>
                      <a:pt x="26" y="19"/>
                      <a:pt x="26" y="19"/>
                      <a:pt x="26" y="19"/>
                    </a:cubicBezTo>
                    <a:cubicBezTo>
                      <a:pt x="29" y="20"/>
                      <a:pt x="32" y="22"/>
                      <a:pt x="35" y="22"/>
                    </a:cubicBezTo>
                    <a:cubicBezTo>
                      <a:pt x="35" y="22"/>
                      <a:pt x="36" y="23"/>
                      <a:pt x="36" y="23"/>
                    </a:cubicBezTo>
                    <a:cubicBezTo>
                      <a:pt x="37" y="23"/>
                      <a:pt x="37" y="22"/>
                      <a:pt x="38" y="22"/>
                    </a:cubicBezTo>
                    <a:cubicBezTo>
                      <a:pt x="38" y="22"/>
                      <a:pt x="39" y="22"/>
                      <a:pt x="40" y="22"/>
                    </a:cubicBezTo>
                    <a:cubicBezTo>
                      <a:pt x="40" y="22"/>
                      <a:pt x="40" y="22"/>
                      <a:pt x="41" y="22"/>
                    </a:cubicBezTo>
                    <a:cubicBezTo>
                      <a:pt x="41" y="22"/>
                      <a:pt x="41" y="22"/>
                      <a:pt x="42" y="22"/>
                    </a:cubicBezTo>
                    <a:cubicBezTo>
                      <a:pt x="44" y="22"/>
                      <a:pt x="46" y="22"/>
                      <a:pt x="48" y="21"/>
                    </a:cubicBezTo>
                    <a:cubicBezTo>
                      <a:pt x="53" y="20"/>
                      <a:pt x="57" y="19"/>
                      <a:pt x="61" y="18"/>
                    </a:cubicBezTo>
                    <a:cubicBezTo>
                      <a:pt x="67" y="17"/>
                      <a:pt x="70" y="15"/>
                      <a:pt x="74" y="11"/>
                    </a:cubicBezTo>
                    <a:cubicBezTo>
                      <a:pt x="70" y="9"/>
                      <a:pt x="66" y="6"/>
                      <a:pt x="63" y="4"/>
                    </a:cubicBezTo>
                    <a:cubicBezTo>
                      <a:pt x="63" y="4"/>
                      <a:pt x="63" y="3"/>
                      <a:pt x="62" y="2"/>
                    </a:cubicBezTo>
                    <a:cubicBezTo>
                      <a:pt x="60" y="2"/>
                      <a:pt x="59" y="1"/>
                      <a:pt x="58" y="0"/>
                    </a:cubicBezTo>
                    <a:cubicBezTo>
                      <a:pt x="57" y="0"/>
                      <a:pt x="57" y="0"/>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268"/>
              <p:cNvSpPr/>
              <p:nvPr/>
            </p:nvSpPr>
            <p:spPr bwMode="auto">
              <a:xfrm>
                <a:off x="8611" y="-1015"/>
                <a:ext cx="33" cy="45"/>
              </a:xfrm>
              <a:custGeom>
                <a:gdLst>
                  <a:gd name="T0" fmla="*/ 5 w 14"/>
                  <a:gd name="T1" fmla="*/ 0 h 19"/>
                  <a:gd name="T2" fmla="*/ 2 w 14"/>
                  <a:gd name="T3" fmla="*/ 9 h 19"/>
                  <a:gd name="T4" fmla="*/ 2 w 14"/>
                  <a:gd name="T5" fmla="*/ 13 h 19"/>
                  <a:gd name="T6" fmla="*/ 0 w 14"/>
                  <a:gd name="T7" fmla="*/ 19 h 19"/>
                  <a:gd name="T8" fmla="*/ 12 w 14"/>
                  <a:gd name="T9" fmla="*/ 16 h 19"/>
                  <a:gd name="T10" fmla="*/ 11 w 14"/>
                  <a:gd name="T11" fmla="*/ 9 h 19"/>
                  <a:gd name="T12" fmla="*/ 8 w 14"/>
                  <a:gd name="T13" fmla="*/ 6 h 19"/>
                  <a:gd name="T14" fmla="*/ 5 w 14"/>
                  <a:gd name="T15" fmla="*/ 0 h 1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9">
                    <a:moveTo>
                      <a:pt x="5" y="0"/>
                    </a:moveTo>
                    <a:cubicBezTo>
                      <a:pt x="5" y="3"/>
                      <a:pt x="2" y="6"/>
                      <a:pt x="2" y="9"/>
                    </a:cubicBezTo>
                    <a:cubicBezTo>
                      <a:pt x="2" y="11"/>
                      <a:pt x="3" y="11"/>
                      <a:pt x="2" y="13"/>
                    </a:cubicBezTo>
                    <a:cubicBezTo>
                      <a:pt x="2" y="15"/>
                      <a:pt x="1" y="17"/>
                      <a:pt x="0" y="19"/>
                    </a:cubicBezTo>
                    <a:cubicBezTo>
                      <a:pt x="4" y="19"/>
                      <a:pt x="9" y="19"/>
                      <a:pt x="12" y="16"/>
                    </a:cubicBezTo>
                    <a:cubicBezTo>
                      <a:pt x="13" y="13"/>
                      <a:pt x="14" y="10"/>
                      <a:pt x="11" y="9"/>
                    </a:cubicBezTo>
                    <a:cubicBezTo>
                      <a:pt x="10" y="8"/>
                      <a:pt x="9" y="8"/>
                      <a:pt x="8" y="6"/>
                    </a:cubicBezTo>
                    <a:cubicBezTo>
                      <a:pt x="7" y="4"/>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269"/>
              <p:cNvSpPr/>
              <p:nvPr/>
            </p:nvSpPr>
            <p:spPr bwMode="auto">
              <a:xfrm>
                <a:off x="9091" y="-989"/>
                <a:ext cx="217" cy="75"/>
              </a:xfrm>
              <a:custGeom>
                <a:gdLst>
                  <a:gd name="T0" fmla="*/ 7 w 92"/>
                  <a:gd name="T1" fmla="*/ 0 h 32"/>
                  <a:gd name="T2" fmla="*/ 5 w 92"/>
                  <a:gd name="T3" fmla="*/ 1 h 32"/>
                  <a:gd name="T4" fmla="*/ 4 w 92"/>
                  <a:gd name="T5" fmla="*/ 5 h 32"/>
                  <a:gd name="T6" fmla="*/ 3 w 92"/>
                  <a:gd name="T7" fmla="*/ 7 h 32"/>
                  <a:gd name="T8" fmla="*/ 2 w 92"/>
                  <a:gd name="T9" fmla="*/ 8 h 32"/>
                  <a:gd name="T10" fmla="*/ 1 w 92"/>
                  <a:gd name="T11" fmla="*/ 11 h 32"/>
                  <a:gd name="T12" fmla="*/ 0 w 92"/>
                  <a:gd name="T13" fmla="*/ 14 h 32"/>
                  <a:gd name="T14" fmla="*/ 34 w 92"/>
                  <a:gd name="T15" fmla="*/ 28 h 32"/>
                  <a:gd name="T16" fmla="*/ 59 w 92"/>
                  <a:gd name="T17" fmla="*/ 32 h 32"/>
                  <a:gd name="T18" fmla="*/ 61 w 92"/>
                  <a:gd name="T19" fmla="*/ 32 h 32"/>
                  <a:gd name="T20" fmla="*/ 63 w 92"/>
                  <a:gd name="T21" fmla="*/ 32 h 32"/>
                  <a:gd name="T22" fmla="*/ 66 w 92"/>
                  <a:gd name="T23" fmla="*/ 32 h 32"/>
                  <a:gd name="T24" fmla="*/ 69 w 92"/>
                  <a:gd name="T25" fmla="*/ 32 h 32"/>
                  <a:gd name="T26" fmla="*/ 73 w 92"/>
                  <a:gd name="T27" fmla="*/ 30 h 32"/>
                  <a:gd name="T28" fmla="*/ 77 w 92"/>
                  <a:gd name="T29" fmla="*/ 28 h 32"/>
                  <a:gd name="T30" fmla="*/ 86 w 92"/>
                  <a:gd name="T31" fmla="*/ 27 h 32"/>
                  <a:gd name="T32" fmla="*/ 89 w 92"/>
                  <a:gd name="T33" fmla="*/ 21 h 32"/>
                  <a:gd name="T34" fmla="*/ 92 w 92"/>
                  <a:gd name="T35" fmla="*/ 18 h 32"/>
                  <a:gd name="T36" fmla="*/ 89 w 92"/>
                  <a:gd name="T37" fmla="*/ 17 h 32"/>
                  <a:gd name="T38" fmla="*/ 87 w 92"/>
                  <a:gd name="T39" fmla="*/ 17 h 32"/>
                  <a:gd name="T40" fmla="*/ 85 w 92"/>
                  <a:gd name="T41" fmla="*/ 18 h 32"/>
                  <a:gd name="T42" fmla="*/ 81 w 92"/>
                  <a:gd name="T43" fmla="*/ 17 h 32"/>
                  <a:gd name="T44" fmla="*/ 79 w 92"/>
                  <a:gd name="T45" fmla="*/ 17 h 32"/>
                  <a:gd name="T46" fmla="*/ 78 w 92"/>
                  <a:gd name="T47" fmla="*/ 17 h 32"/>
                  <a:gd name="T48" fmla="*/ 71 w 92"/>
                  <a:gd name="T49" fmla="*/ 14 h 32"/>
                  <a:gd name="T50" fmla="*/ 62 w 92"/>
                  <a:gd name="T51" fmla="*/ 12 h 32"/>
                  <a:gd name="T52" fmla="*/ 60 w 92"/>
                  <a:gd name="T53" fmla="*/ 12 h 32"/>
                  <a:gd name="T54" fmla="*/ 50 w 92"/>
                  <a:gd name="T55" fmla="*/ 14 h 32"/>
                  <a:gd name="T56" fmla="*/ 47 w 92"/>
                  <a:gd name="T57" fmla="*/ 13 h 32"/>
                  <a:gd name="T58" fmla="*/ 47 w 92"/>
                  <a:gd name="T59" fmla="*/ 10 h 32"/>
                  <a:gd name="T60" fmla="*/ 43 w 92"/>
                  <a:gd name="T61" fmla="*/ 7 h 32"/>
                  <a:gd name="T62" fmla="*/ 42 w 92"/>
                  <a:gd name="T63" fmla="*/ 7 h 32"/>
                  <a:gd name="T64" fmla="*/ 39 w 92"/>
                  <a:gd name="T65" fmla="*/ 7 h 32"/>
                  <a:gd name="T66" fmla="*/ 36 w 92"/>
                  <a:gd name="T67" fmla="*/ 7 h 32"/>
                  <a:gd name="T68" fmla="*/ 32 w 92"/>
                  <a:gd name="T69" fmla="*/ 7 h 32"/>
                  <a:gd name="T70" fmla="*/ 28 w 92"/>
                  <a:gd name="T71" fmla="*/ 6 h 32"/>
                  <a:gd name="T72" fmla="*/ 21 w 92"/>
                  <a:gd name="T73" fmla="*/ 8 h 32"/>
                  <a:gd name="T74" fmla="*/ 18 w 92"/>
                  <a:gd name="T75" fmla="*/ 10 h 32"/>
                  <a:gd name="T76" fmla="*/ 16 w 92"/>
                  <a:gd name="T77" fmla="*/ 10 h 32"/>
                  <a:gd name="T78" fmla="*/ 11 w 92"/>
                  <a:gd name="T79" fmla="*/ 7 h 32"/>
                  <a:gd name="T80" fmla="*/ 10 w 92"/>
                  <a:gd name="T81" fmla="*/ 1 h 32"/>
                  <a:gd name="T82" fmla="*/ 7 w 92"/>
                  <a:gd name="T83"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2" h="32">
                    <a:moveTo>
                      <a:pt x="7" y="0"/>
                    </a:moveTo>
                    <a:cubicBezTo>
                      <a:pt x="6" y="0"/>
                      <a:pt x="6" y="0"/>
                      <a:pt x="5" y="1"/>
                    </a:cubicBezTo>
                    <a:cubicBezTo>
                      <a:pt x="5" y="2"/>
                      <a:pt x="5" y="4"/>
                      <a:pt x="4" y="5"/>
                    </a:cubicBezTo>
                    <a:cubicBezTo>
                      <a:pt x="4" y="6"/>
                      <a:pt x="3" y="6"/>
                      <a:pt x="3" y="7"/>
                    </a:cubicBezTo>
                    <a:cubicBezTo>
                      <a:pt x="2" y="8"/>
                      <a:pt x="2" y="8"/>
                      <a:pt x="2" y="8"/>
                    </a:cubicBezTo>
                    <a:cubicBezTo>
                      <a:pt x="1" y="9"/>
                      <a:pt x="1" y="10"/>
                      <a:pt x="1" y="11"/>
                    </a:cubicBezTo>
                    <a:cubicBezTo>
                      <a:pt x="1" y="12"/>
                      <a:pt x="1" y="13"/>
                      <a:pt x="0" y="14"/>
                    </a:cubicBezTo>
                    <a:cubicBezTo>
                      <a:pt x="11" y="19"/>
                      <a:pt x="22" y="23"/>
                      <a:pt x="34" y="28"/>
                    </a:cubicBezTo>
                    <a:cubicBezTo>
                      <a:pt x="42" y="31"/>
                      <a:pt x="50" y="31"/>
                      <a:pt x="59" y="32"/>
                    </a:cubicBezTo>
                    <a:cubicBezTo>
                      <a:pt x="59" y="32"/>
                      <a:pt x="60" y="32"/>
                      <a:pt x="61" y="32"/>
                    </a:cubicBezTo>
                    <a:cubicBezTo>
                      <a:pt x="61" y="32"/>
                      <a:pt x="62" y="32"/>
                      <a:pt x="63" y="32"/>
                    </a:cubicBezTo>
                    <a:cubicBezTo>
                      <a:pt x="64" y="32"/>
                      <a:pt x="65" y="32"/>
                      <a:pt x="66" y="32"/>
                    </a:cubicBezTo>
                    <a:cubicBezTo>
                      <a:pt x="67" y="32"/>
                      <a:pt x="68" y="32"/>
                      <a:pt x="69" y="32"/>
                    </a:cubicBezTo>
                    <a:cubicBezTo>
                      <a:pt x="70" y="31"/>
                      <a:pt x="71" y="30"/>
                      <a:pt x="73" y="30"/>
                    </a:cubicBezTo>
                    <a:cubicBezTo>
                      <a:pt x="74" y="30"/>
                      <a:pt x="76" y="29"/>
                      <a:pt x="77" y="28"/>
                    </a:cubicBezTo>
                    <a:cubicBezTo>
                      <a:pt x="80" y="28"/>
                      <a:pt x="84" y="28"/>
                      <a:pt x="86" y="27"/>
                    </a:cubicBezTo>
                    <a:cubicBezTo>
                      <a:pt x="88" y="26"/>
                      <a:pt x="88" y="23"/>
                      <a:pt x="89" y="21"/>
                    </a:cubicBezTo>
                    <a:cubicBezTo>
                      <a:pt x="89" y="20"/>
                      <a:pt x="90" y="18"/>
                      <a:pt x="92" y="18"/>
                    </a:cubicBezTo>
                    <a:cubicBezTo>
                      <a:pt x="91" y="17"/>
                      <a:pt x="90" y="17"/>
                      <a:pt x="89" y="17"/>
                    </a:cubicBezTo>
                    <a:cubicBezTo>
                      <a:pt x="88" y="17"/>
                      <a:pt x="87" y="17"/>
                      <a:pt x="87" y="17"/>
                    </a:cubicBezTo>
                    <a:cubicBezTo>
                      <a:pt x="86" y="17"/>
                      <a:pt x="85" y="18"/>
                      <a:pt x="85" y="18"/>
                    </a:cubicBezTo>
                    <a:cubicBezTo>
                      <a:pt x="84" y="18"/>
                      <a:pt x="83" y="17"/>
                      <a:pt x="81" y="17"/>
                    </a:cubicBezTo>
                    <a:cubicBezTo>
                      <a:pt x="80" y="17"/>
                      <a:pt x="80" y="17"/>
                      <a:pt x="79" y="17"/>
                    </a:cubicBezTo>
                    <a:cubicBezTo>
                      <a:pt x="78" y="17"/>
                      <a:pt x="78" y="17"/>
                      <a:pt x="78" y="17"/>
                    </a:cubicBezTo>
                    <a:cubicBezTo>
                      <a:pt x="81" y="14"/>
                      <a:pt x="72" y="14"/>
                      <a:pt x="71" y="14"/>
                    </a:cubicBezTo>
                    <a:cubicBezTo>
                      <a:pt x="68" y="13"/>
                      <a:pt x="65" y="12"/>
                      <a:pt x="62" y="12"/>
                    </a:cubicBezTo>
                    <a:cubicBezTo>
                      <a:pt x="61" y="12"/>
                      <a:pt x="61" y="12"/>
                      <a:pt x="60" y="12"/>
                    </a:cubicBezTo>
                    <a:cubicBezTo>
                      <a:pt x="57" y="13"/>
                      <a:pt x="53" y="14"/>
                      <a:pt x="50" y="14"/>
                    </a:cubicBezTo>
                    <a:cubicBezTo>
                      <a:pt x="49" y="14"/>
                      <a:pt x="48" y="14"/>
                      <a:pt x="47" y="13"/>
                    </a:cubicBezTo>
                    <a:cubicBezTo>
                      <a:pt x="44" y="11"/>
                      <a:pt x="46" y="12"/>
                      <a:pt x="47" y="10"/>
                    </a:cubicBezTo>
                    <a:cubicBezTo>
                      <a:pt x="48" y="8"/>
                      <a:pt x="45" y="7"/>
                      <a:pt x="43" y="7"/>
                    </a:cubicBezTo>
                    <a:cubicBezTo>
                      <a:pt x="43" y="7"/>
                      <a:pt x="43" y="7"/>
                      <a:pt x="42" y="7"/>
                    </a:cubicBezTo>
                    <a:cubicBezTo>
                      <a:pt x="41" y="7"/>
                      <a:pt x="40" y="7"/>
                      <a:pt x="39" y="7"/>
                    </a:cubicBezTo>
                    <a:cubicBezTo>
                      <a:pt x="38" y="7"/>
                      <a:pt x="37" y="7"/>
                      <a:pt x="36" y="7"/>
                    </a:cubicBezTo>
                    <a:cubicBezTo>
                      <a:pt x="35" y="7"/>
                      <a:pt x="33" y="7"/>
                      <a:pt x="32" y="7"/>
                    </a:cubicBezTo>
                    <a:cubicBezTo>
                      <a:pt x="31" y="6"/>
                      <a:pt x="30" y="6"/>
                      <a:pt x="28" y="6"/>
                    </a:cubicBezTo>
                    <a:cubicBezTo>
                      <a:pt x="26" y="6"/>
                      <a:pt x="23" y="7"/>
                      <a:pt x="21" y="8"/>
                    </a:cubicBezTo>
                    <a:cubicBezTo>
                      <a:pt x="20" y="9"/>
                      <a:pt x="19" y="10"/>
                      <a:pt x="18" y="10"/>
                    </a:cubicBezTo>
                    <a:cubicBezTo>
                      <a:pt x="18" y="10"/>
                      <a:pt x="17" y="10"/>
                      <a:pt x="16" y="10"/>
                    </a:cubicBezTo>
                    <a:cubicBezTo>
                      <a:pt x="15" y="9"/>
                      <a:pt x="12" y="8"/>
                      <a:pt x="11" y="7"/>
                    </a:cubicBezTo>
                    <a:cubicBezTo>
                      <a:pt x="10" y="5"/>
                      <a:pt x="13" y="3"/>
                      <a:pt x="10" y="1"/>
                    </a:cubicBezTo>
                    <a:cubicBezTo>
                      <a:pt x="9"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270"/>
              <p:cNvSpPr/>
              <p:nvPr/>
            </p:nvSpPr>
            <p:spPr bwMode="auto">
              <a:xfrm>
                <a:off x="6990" y="-1358"/>
                <a:ext cx="276" cy="147"/>
              </a:xfrm>
              <a:custGeom>
                <a:gdLst>
                  <a:gd name="T0" fmla="*/ 57 w 117"/>
                  <a:gd name="T1" fmla="*/ 0 h 62"/>
                  <a:gd name="T2" fmla="*/ 48 w 117"/>
                  <a:gd name="T3" fmla="*/ 7 h 62"/>
                  <a:gd name="T4" fmla="*/ 45 w 117"/>
                  <a:gd name="T5" fmla="*/ 3 h 62"/>
                  <a:gd name="T6" fmla="*/ 36 w 117"/>
                  <a:gd name="T7" fmla="*/ 17 h 62"/>
                  <a:gd name="T8" fmla="*/ 33 w 117"/>
                  <a:gd name="T9" fmla="*/ 17 h 62"/>
                  <a:gd name="T10" fmla="*/ 28 w 117"/>
                  <a:gd name="T11" fmla="*/ 24 h 62"/>
                  <a:gd name="T12" fmla="*/ 33 w 117"/>
                  <a:gd name="T13" fmla="*/ 28 h 62"/>
                  <a:gd name="T14" fmla="*/ 27 w 117"/>
                  <a:gd name="T15" fmla="*/ 28 h 62"/>
                  <a:gd name="T16" fmla="*/ 21 w 117"/>
                  <a:gd name="T17" fmla="*/ 28 h 62"/>
                  <a:gd name="T18" fmla="*/ 6 w 117"/>
                  <a:gd name="T19" fmla="*/ 51 h 62"/>
                  <a:gd name="T20" fmla="*/ 7 w 117"/>
                  <a:gd name="T21" fmla="*/ 62 h 62"/>
                  <a:gd name="T22" fmla="*/ 23 w 117"/>
                  <a:gd name="T23" fmla="*/ 57 h 62"/>
                  <a:gd name="T24" fmla="*/ 40 w 117"/>
                  <a:gd name="T25" fmla="*/ 52 h 62"/>
                  <a:gd name="T26" fmla="*/ 43 w 117"/>
                  <a:gd name="T27" fmla="*/ 52 h 62"/>
                  <a:gd name="T28" fmla="*/ 46 w 117"/>
                  <a:gd name="T29" fmla="*/ 52 h 62"/>
                  <a:gd name="T30" fmla="*/ 50 w 117"/>
                  <a:gd name="T31" fmla="*/ 52 h 62"/>
                  <a:gd name="T32" fmla="*/ 55 w 117"/>
                  <a:gd name="T33" fmla="*/ 51 h 62"/>
                  <a:gd name="T34" fmla="*/ 60 w 117"/>
                  <a:gd name="T35" fmla="*/ 51 h 62"/>
                  <a:gd name="T36" fmla="*/ 63 w 117"/>
                  <a:gd name="T37" fmla="*/ 53 h 62"/>
                  <a:gd name="T38" fmla="*/ 70 w 117"/>
                  <a:gd name="T39" fmla="*/ 50 h 62"/>
                  <a:gd name="T40" fmla="*/ 73 w 117"/>
                  <a:gd name="T41" fmla="*/ 50 h 62"/>
                  <a:gd name="T42" fmla="*/ 80 w 117"/>
                  <a:gd name="T43" fmla="*/ 49 h 62"/>
                  <a:gd name="T44" fmla="*/ 83 w 117"/>
                  <a:gd name="T45" fmla="*/ 49 h 62"/>
                  <a:gd name="T46" fmla="*/ 87 w 117"/>
                  <a:gd name="T47" fmla="*/ 49 h 62"/>
                  <a:gd name="T48" fmla="*/ 99 w 117"/>
                  <a:gd name="T49" fmla="*/ 46 h 62"/>
                  <a:gd name="T50" fmla="*/ 102 w 117"/>
                  <a:gd name="T51" fmla="*/ 46 h 62"/>
                  <a:gd name="T52" fmla="*/ 105 w 117"/>
                  <a:gd name="T53" fmla="*/ 46 h 62"/>
                  <a:gd name="T54" fmla="*/ 117 w 117"/>
                  <a:gd name="T55" fmla="*/ 36 h 62"/>
                  <a:gd name="T56" fmla="*/ 113 w 117"/>
                  <a:gd name="T57" fmla="*/ 28 h 62"/>
                  <a:gd name="T58" fmla="*/ 102 w 117"/>
                  <a:gd name="T59" fmla="*/ 24 h 62"/>
                  <a:gd name="T60" fmla="*/ 96 w 117"/>
                  <a:gd name="T61" fmla="*/ 24 h 62"/>
                  <a:gd name="T62" fmla="*/ 95 w 117"/>
                  <a:gd name="T63" fmla="*/ 19 h 62"/>
                  <a:gd name="T64" fmla="*/ 93 w 117"/>
                  <a:gd name="T65" fmla="*/ 18 h 62"/>
                  <a:gd name="T66" fmla="*/ 90 w 117"/>
                  <a:gd name="T67" fmla="*/ 18 h 62"/>
                  <a:gd name="T68" fmla="*/ 90 w 117"/>
                  <a:gd name="T69" fmla="*/ 17 h 62"/>
                  <a:gd name="T70" fmla="*/ 89 w 117"/>
                  <a:gd name="T71" fmla="*/ 16 h 62"/>
                  <a:gd name="T72" fmla="*/ 83 w 117"/>
                  <a:gd name="T73" fmla="*/ 11 h 62"/>
                  <a:gd name="T74" fmla="*/ 62 w 117"/>
                  <a:gd name="T75" fmla="*/ 15 h 62"/>
                  <a:gd name="T76" fmla="*/ 64 w 117"/>
                  <a:gd name="T77" fmla="*/ 11 h 62"/>
                  <a:gd name="T78" fmla="*/ 66 w 117"/>
                  <a:gd name="T79" fmla="*/ 7 h 62"/>
                  <a:gd name="T80" fmla="*/ 65 w 117"/>
                  <a:gd name="T81" fmla="*/ 2 h 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62">
                    <a:moveTo>
                      <a:pt x="58" y="0"/>
                    </a:moveTo>
                    <a:cubicBezTo>
                      <a:pt x="58" y="0"/>
                      <a:pt x="57" y="0"/>
                      <a:pt x="57" y="0"/>
                    </a:cubicBezTo>
                    <a:cubicBezTo>
                      <a:pt x="53" y="1"/>
                      <a:pt x="55" y="8"/>
                      <a:pt x="51" y="8"/>
                    </a:cubicBezTo>
                    <a:cubicBezTo>
                      <a:pt x="51" y="8"/>
                      <a:pt x="50" y="8"/>
                      <a:pt x="48" y="7"/>
                    </a:cubicBezTo>
                    <a:cubicBezTo>
                      <a:pt x="48" y="7"/>
                      <a:pt x="47" y="3"/>
                      <a:pt x="45" y="3"/>
                    </a:cubicBezTo>
                    <a:cubicBezTo>
                      <a:pt x="45" y="3"/>
                      <a:pt x="45" y="3"/>
                      <a:pt x="45" y="3"/>
                    </a:cubicBezTo>
                    <a:cubicBezTo>
                      <a:pt x="41" y="3"/>
                      <a:pt x="38" y="5"/>
                      <a:pt x="36" y="8"/>
                    </a:cubicBezTo>
                    <a:cubicBezTo>
                      <a:pt x="33" y="11"/>
                      <a:pt x="32" y="15"/>
                      <a:pt x="36" y="17"/>
                    </a:cubicBezTo>
                    <a:cubicBezTo>
                      <a:pt x="36" y="18"/>
                      <a:pt x="37" y="18"/>
                      <a:pt x="37" y="18"/>
                    </a:cubicBezTo>
                    <a:cubicBezTo>
                      <a:pt x="36" y="17"/>
                      <a:pt x="34" y="17"/>
                      <a:pt x="33" y="17"/>
                    </a:cubicBezTo>
                    <a:cubicBezTo>
                      <a:pt x="31" y="17"/>
                      <a:pt x="30" y="17"/>
                      <a:pt x="29" y="19"/>
                    </a:cubicBezTo>
                    <a:cubicBezTo>
                      <a:pt x="29" y="21"/>
                      <a:pt x="28" y="23"/>
                      <a:pt x="28" y="24"/>
                    </a:cubicBezTo>
                    <a:cubicBezTo>
                      <a:pt x="27" y="27"/>
                      <a:pt x="27" y="26"/>
                      <a:pt x="29" y="27"/>
                    </a:cubicBezTo>
                    <a:cubicBezTo>
                      <a:pt x="30" y="28"/>
                      <a:pt x="32" y="27"/>
                      <a:pt x="33" y="28"/>
                    </a:cubicBezTo>
                    <a:cubicBezTo>
                      <a:pt x="32" y="28"/>
                      <a:pt x="32" y="28"/>
                      <a:pt x="31" y="28"/>
                    </a:cubicBezTo>
                    <a:cubicBezTo>
                      <a:pt x="30" y="28"/>
                      <a:pt x="29" y="28"/>
                      <a:pt x="27" y="28"/>
                    </a:cubicBezTo>
                    <a:cubicBezTo>
                      <a:pt x="26" y="27"/>
                      <a:pt x="25" y="27"/>
                      <a:pt x="23" y="27"/>
                    </a:cubicBezTo>
                    <a:cubicBezTo>
                      <a:pt x="22" y="27"/>
                      <a:pt x="21" y="27"/>
                      <a:pt x="21" y="28"/>
                    </a:cubicBezTo>
                    <a:cubicBezTo>
                      <a:pt x="16" y="30"/>
                      <a:pt x="13" y="38"/>
                      <a:pt x="11" y="42"/>
                    </a:cubicBezTo>
                    <a:cubicBezTo>
                      <a:pt x="10" y="47"/>
                      <a:pt x="9" y="49"/>
                      <a:pt x="6" y="51"/>
                    </a:cubicBezTo>
                    <a:cubicBezTo>
                      <a:pt x="4" y="52"/>
                      <a:pt x="0" y="56"/>
                      <a:pt x="0" y="58"/>
                    </a:cubicBezTo>
                    <a:cubicBezTo>
                      <a:pt x="0" y="61"/>
                      <a:pt x="3" y="62"/>
                      <a:pt x="7" y="62"/>
                    </a:cubicBezTo>
                    <a:cubicBezTo>
                      <a:pt x="9" y="62"/>
                      <a:pt x="12" y="61"/>
                      <a:pt x="13" y="61"/>
                    </a:cubicBezTo>
                    <a:cubicBezTo>
                      <a:pt x="16" y="60"/>
                      <a:pt x="20" y="58"/>
                      <a:pt x="23" y="57"/>
                    </a:cubicBezTo>
                    <a:cubicBezTo>
                      <a:pt x="26" y="56"/>
                      <a:pt x="29" y="55"/>
                      <a:pt x="32" y="53"/>
                    </a:cubicBezTo>
                    <a:cubicBezTo>
                      <a:pt x="34" y="52"/>
                      <a:pt x="37" y="52"/>
                      <a:pt x="40" y="52"/>
                    </a:cubicBezTo>
                    <a:cubicBezTo>
                      <a:pt x="40" y="52"/>
                      <a:pt x="41" y="52"/>
                      <a:pt x="41" y="52"/>
                    </a:cubicBezTo>
                    <a:cubicBezTo>
                      <a:pt x="42" y="52"/>
                      <a:pt x="42" y="52"/>
                      <a:pt x="43" y="52"/>
                    </a:cubicBezTo>
                    <a:cubicBezTo>
                      <a:pt x="44" y="52"/>
                      <a:pt x="45" y="52"/>
                      <a:pt x="46" y="52"/>
                    </a:cubicBezTo>
                    <a:cubicBezTo>
                      <a:pt x="46" y="52"/>
                      <a:pt x="46" y="52"/>
                      <a:pt x="46" y="52"/>
                    </a:cubicBezTo>
                    <a:cubicBezTo>
                      <a:pt x="46" y="52"/>
                      <a:pt x="47" y="52"/>
                      <a:pt x="48" y="52"/>
                    </a:cubicBezTo>
                    <a:cubicBezTo>
                      <a:pt x="49" y="52"/>
                      <a:pt x="49" y="52"/>
                      <a:pt x="50" y="52"/>
                    </a:cubicBezTo>
                    <a:cubicBezTo>
                      <a:pt x="50" y="52"/>
                      <a:pt x="50" y="52"/>
                      <a:pt x="50" y="52"/>
                    </a:cubicBezTo>
                    <a:cubicBezTo>
                      <a:pt x="52" y="51"/>
                      <a:pt x="53" y="51"/>
                      <a:pt x="55" y="51"/>
                    </a:cubicBezTo>
                    <a:cubicBezTo>
                      <a:pt x="56" y="51"/>
                      <a:pt x="56" y="51"/>
                      <a:pt x="57" y="51"/>
                    </a:cubicBezTo>
                    <a:cubicBezTo>
                      <a:pt x="58" y="51"/>
                      <a:pt x="59" y="51"/>
                      <a:pt x="60" y="51"/>
                    </a:cubicBezTo>
                    <a:cubicBezTo>
                      <a:pt x="61" y="51"/>
                      <a:pt x="62" y="51"/>
                      <a:pt x="63" y="52"/>
                    </a:cubicBezTo>
                    <a:cubicBezTo>
                      <a:pt x="63" y="53"/>
                      <a:pt x="63" y="53"/>
                      <a:pt x="63" y="53"/>
                    </a:cubicBezTo>
                    <a:cubicBezTo>
                      <a:pt x="65" y="53"/>
                      <a:pt x="67" y="51"/>
                      <a:pt x="67" y="50"/>
                    </a:cubicBezTo>
                    <a:cubicBezTo>
                      <a:pt x="68" y="50"/>
                      <a:pt x="69" y="50"/>
                      <a:pt x="70" y="50"/>
                    </a:cubicBezTo>
                    <a:cubicBezTo>
                      <a:pt x="70" y="50"/>
                      <a:pt x="71" y="50"/>
                      <a:pt x="71" y="50"/>
                    </a:cubicBezTo>
                    <a:cubicBezTo>
                      <a:pt x="72" y="50"/>
                      <a:pt x="72" y="50"/>
                      <a:pt x="73" y="50"/>
                    </a:cubicBezTo>
                    <a:cubicBezTo>
                      <a:pt x="73" y="50"/>
                      <a:pt x="73" y="50"/>
                      <a:pt x="73" y="50"/>
                    </a:cubicBezTo>
                    <a:cubicBezTo>
                      <a:pt x="75" y="50"/>
                      <a:pt x="78" y="49"/>
                      <a:pt x="80" y="49"/>
                    </a:cubicBezTo>
                    <a:cubicBezTo>
                      <a:pt x="81" y="49"/>
                      <a:pt x="81" y="49"/>
                      <a:pt x="82" y="49"/>
                    </a:cubicBezTo>
                    <a:cubicBezTo>
                      <a:pt x="82" y="49"/>
                      <a:pt x="83" y="49"/>
                      <a:pt x="83" y="49"/>
                    </a:cubicBezTo>
                    <a:cubicBezTo>
                      <a:pt x="83" y="49"/>
                      <a:pt x="84" y="49"/>
                      <a:pt x="84" y="49"/>
                    </a:cubicBezTo>
                    <a:cubicBezTo>
                      <a:pt x="85" y="49"/>
                      <a:pt x="86" y="49"/>
                      <a:pt x="87" y="49"/>
                    </a:cubicBezTo>
                    <a:cubicBezTo>
                      <a:pt x="89" y="48"/>
                      <a:pt x="91" y="47"/>
                      <a:pt x="92" y="47"/>
                    </a:cubicBezTo>
                    <a:cubicBezTo>
                      <a:pt x="94" y="46"/>
                      <a:pt x="97" y="46"/>
                      <a:pt x="99" y="46"/>
                    </a:cubicBezTo>
                    <a:cubicBezTo>
                      <a:pt x="99" y="46"/>
                      <a:pt x="99" y="46"/>
                      <a:pt x="100" y="46"/>
                    </a:cubicBezTo>
                    <a:cubicBezTo>
                      <a:pt x="100" y="46"/>
                      <a:pt x="101" y="46"/>
                      <a:pt x="102" y="46"/>
                    </a:cubicBezTo>
                    <a:cubicBezTo>
                      <a:pt x="102" y="46"/>
                      <a:pt x="103" y="46"/>
                      <a:pt x="104" y="46"/>
                    </a:cubicBezTo>
                    <a:cubicBezTo>
                      <a:pt x="104" y="46"/>
                      <a:pt x="104" y="46"/>
                      <a:pt x="105" y="46"/>
                    </a:cubicBezTo>
                    <a:cubicBezTo>
                      <a:pt x="108" y="45"/>
                      <a:pt x="110" y="41"/>
                      <a:pt x="113" y="40"/>
                    </a:cubicBezTo>
                    <a:cubicBezTo>
                      <a:pt x="115" y="39"/>
                      <a:pt x="117" y="39"/>
                      <a:pt x="117" y="36"/>
                    </a:cubicBezTo>
                    <a:cubicBezTo>
                      <a:pt x="116" y="34"/>
                      <a:pt x="115" y="32"/>
                      <a:pt x="114" y="31"/>
                    </a:cubicBezTo>
                    <a:cubicBezTo>
                      <a:pt x="114" y="30"/>
                      <a:pt x="114" y="29"/>
                      <a:pt x="113" y="28"/>
                    </a:cubicBezTo>
                    <a:cubicBezTo>
                      <a:pt x="112" y="25"/>
                      <a:pt x="109" y="24"/>
                      <a:pt x="106" y="24"/>
                    </a:cubicBezTo>
                    <a:cubicBezTo>
                      <a:pt x="105" y="24"/>
                      <a:pt x="103" y="24"/>
                      <a:pt x="102" y="24"/>
                    </a:cubicBezTo>
                    <a:cubicBezTo>
                      <a:pt x="101" y="25"/>
                      <a:pt x="100" y="25"/>
                      <a:pt x="99" y="25"/>
                    </a:cubicBezTo>
                    <a:cubicBezTo>
                      <a:pt x="98" y="25"/>
                      <a:pt x="97" y="25"/>
                      <a:pt x="96" y="24"/>
                    </a:cubicBezTo>
                    <a:cubicBezTo>
                      <a:pt x="98" y="24"/>
                      <a:pt x="100" y="24"/>
                      <a:pt x="99" y="21"/>
                    </a:cubicBezTo>
                    <a:cubicBezTo>
                      <a:pt x="98" y="20"/>
                      <a:pt x="97" y="19"/>
                      <a:pt x="95" y="19"/>
                    </a:cubicBezTo>
                    <a:cubicBezTo>
                      <a:pt x="95" y="18"/>
                      <a:pt x="94" y="18"/>
                      <a:pt x="94" y="18"/>
                    </a:cubicBezTo>
                    <a:cubicBezTo>
                      <a:pt x="93" y="18"/>
                      <a:pt x="93" y="18"/>
                      <a:pt x="93" y="18"/>
                    </a:cubicBezTo>
                    <a:cubicBezTo>
                      <a:pt x="93" y="18"/>
                      <a:pt x="93" y="18"/>
                      <a:pt x="92" y="18"/>
                    </a:cubicBezTo>
                    <a:cubicBezTo>
                      <a:pt x="92" y="18"/>
                      <a:pt x="91" y="18"/>
                      <a:pt x="90" y="18"/>
                    </a:cubicBezTo>
                    <a:cubicBezTo>
                      <a:pt x="90" y="18"/>
                      <a:pt x="90" y="18"/>
                      <a:pt x="90" y="18"/>
                    </a:cubicBezTo>
                    <a:cubicBezTo>
                      <a:pt x="91" y="18"/>
                      <a:pt x="90" y="18"/>
                      <a:pt x="90" y="17"/>
                    </a:cubicBezTo>
                    <a:cubicBezTo>
                      <a:pt x="89" y="17"/>
                      <a:pt x="89" y="16"/>
                      <a:pt x="89" y="16"/>
                    </a:cubicBezTo>
                    <a:cubicBezTo>
                      <a:pt x="89" y="16"/>
                      <a:pt x="89" y="16"/>
                      <a:pt x="89" y="16"/>
                    </a:cubicBezTo>
                    <a:cubicBezTo>
                      <a:pt x="89" y="15"/>
                      <a:pt x="90" y="13"/>
                      <a:pt x="88" y="13"/>
                    </a:cubicBezTo>
                    <a:cubicBezTo>
                      <a:pt x="87" y="12"/>
                      <a:pt x="85" y="12"/>
                      <a:pt x="83" y="11"/>
                    </a:cubicBezTo>
                    <a:cubicBezTo>
                      <a:pt x="82" y="11"/>
                      <a:pt x="82" y="11"/>
                      <a:pt x="81" y="11"/>
                    </a:cubicBezTo>
                    <a:cubicBezTo>
                      <a:pt x="75" y="11"/>
                      <a:pt x="68" y="14"/>
                      <a:pt x="62" y="15"/>
                    </a:cubicBezTo>
                    <a:cubicBezTo>
                      <a:pt x="63" y="14"/>
                      <a:pt x="63" y="14"/>
                      <a:pt x="64" y="13"/>
                    </a:cubicBezTo>
                    <a:cubicBezTo>
                      <a:pt x="65" y="12"/>
                      <a:pt x="64" y="12"/>
                      <a:pt x="64" y="11"/>
                    </a:cubicBezTo>
                    <a:cubicBezTo>
                      <a:pt x="64" y="10"/>
                      <a:pt x="65" y="10"/>
                      <a:pt x="66" y="9"/>
                    </a:cubicBezTo>
                    <a:cubicBezTo>
                      <a:pt x="66" y="9"/>
                      <a:pt x="66" y="8"/>
                      <a:pt x="66" y="7"/>
                    </a:cubicBezTo>
                    <a:cubicBezTo>
                      <a:pt x="67" y="7"/>
                      <a:pt x="75" y="4"/>
                      <a:pt x="71" y="4"/>
                    </a:cubicBezTo>
                    <a:cubicBezTo>
                      <a:pt x="68" y="4"/>
                      <a:pt x="67" y="2"/>
                      <a:pt x="65" y="2"/>
                    </a:cubicBezTo>
                    <a:cubicBezTo>
                      <a:pt x="63" y="1"/>
                      <a:pt x="60" y="0"/>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271"/>
              <p:cNvSpPr/>
              <p:nvPr/>
            </p:nvSpPr>
            <p:spPr bwMode="auto">
              <a:xfrm>
                <a:off x="4683" y="-471"/>
                <a:ext cx="107" cy="63"/>
              </a:xfrm>
              <a:custGeom>
                <a:gdLst>
                  <a:gd name="T0" fmla="*/ 16 w 45"/>
                  <a:gd name="T1" fmla="*/ 0 h 27"/>
                  <a:gd name="T2" fmla="*/ 11 w 45"/>
                  <a:gd name="T3" fmla="*/ 2 h 27"/>
                  <a:gd name="T4" fmla="*/ 1 w 45"/>
                  <a:gd name="T5" fmla="*/ 12 h 27"/>
                  <a:gd name="T6" fmla="*/ 0 w 45"/>
                  <a:gd name="T7" fmla="*/ 18 h 27"/>
                  <a:gd name="T8" fmla="*/ 11 w 45"/>
                  <a:gd name="T9" fmla="*/ 27 h 27"/>
                  <a:gd name="T10" fmla="*/ 26 w 45"/>
                  <a:gd name="T11" fmla="*/ 22 h 27"/>
                  <a:gd name="T12" fmla="*/ 33 w 45"/>
                  <a:gd name="T13" fmla="*/ 17 h 27"/>
                  <a:gd name="T14" fmla="*/ 34 w 45"/>
                  <a:gd name="T15" fmla="*/ 15 h 27"/>
                  <a:gd name="T16" fmla="*/ 38 w 45"/>
                  <a:gd name="T17" fmla="*/ 12 h 27"/>
                  <a:gd name="T18" fmla="*/ 36 w 45"/>
                  <a:gd name="T19" fmla="*/ 18 h 27"/>
                  <a:gd name="T20" fmla="*/ 32 w 45"/>
                  <a:gd name="T21" fmla="*/ 6 h 27"/>
                  <a:gd name="T22" fmla="*/ 16 w 45"/>
                  <a:gd name="T23"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27">
                    <a:moveTo>
                      <a:pt x="16" y="0"/>
                    </a:moveTo>
                    <a:cubicBezTo>
                      <a:pt x="14" y="0"/>
                      <a:pt x="13" y="1"/>
                      <a:pt x="11" y="2"/>
                    </a:cubicBezTo>
                    <a:cubicBezTo>
                      <a:pt x="6" y="3"/>
                      <a:pt x="2" y="7"/>
                      <a:pt x="1" y="12"/>
                    </a:cubicBezTo>
                    <a:cubicBezTo>
                      <a:pt x="1" y="14"/>
                      <a:pt x="0" y="16"/>
                      <a:pt x="0" y="18"/>
                    </a:cubicBezTo>
                    <a:cubicBezTo>
                      <a:pt x="1" y="23"/>
                      <a:pt x="7" y="24"/>
                      <a:pt x="11" y="27"/>
                    </a:cubicBezTo>
                    <a:cubicBezTo>
                      <a:pt x="16" y="26"/>
                      <a:pt x="22" y="25"/>
                      <a:pt x="26" y="22"/>
                    </a:cubicBezTo>
                    <a:cubicBezTo>
                      <a:pt x="28" y="21"/>
                      <a:pt x="31" y="19"/>
                      <a:pt x="33" y="17"/>
                    </a:cubicBezTo>
                    <a:cubicBezTo>
                      <a:pt x="33" y="16"/>
                      <a:pt x="33" y="16"/>
                      <a:pt x="34" y="15"/>
                    </a:cubicBezTo>
                    <a:cubicBezTo>
                      <a:pt x="35" y="14"/>
                      <a:pt x="37" y="13"/>
                      <a:pt x="38" y="12"/>
                    </a:cubicBezTo>
                    <a:cubicBezTo>
                      <a:pt x="38" y="14"/>
                      <a:pt x="37" y="16"/>
                      <a:pt x="36" y="18"/>
                    </a:cubicBezTo>
                    <a:cubicBezTo>
                      <a:pt x="45" y="14"/>
                      <a:pt x="36" y="8"/>
                      <a:pt x="32" y="6"/>
                    </a:cubicBezTo>
                    <a:cubicBezTo>
                      <a:pt x="27" y="3"/>
                      <a:pt x="22"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272"/>
              <p:cNvSpPr/>
              <p:nvPr/>
            </p:nvSpPr>
            <p:spPr bwMode="auto">
              <a:xfrm>
                <a:off x="8887" y="585"/>
                <a:ext cx="142" cy="504"/>
              </a:xfrm>
              <a:custGeom>
                <a:gdLst>
                  <a:gd name="T0" fmla="*/ 21 w 60"/>
                  <a:gd name="T1" fmla="*/ 0 h 213"/>
                  <a:gd name="T2" fmla="*/ 19 w 60"/>
                  <a:gd name="T3" fmla="*/ 3 h 213"/>
                  <a:gd name="T4" fmla="*/ 16 w 60"/>
                  <a:gd name="T5" fmla="*/ 3 h 213"/>
                  <a:gd name="T6" fmla="*/ 22 w 60"/>
                  <a:gd name="T7" fmla="*/ 13 h 213"/>
                  <a:gd name="T8" fmla="*/ 21 w 60"/>
                  <a:gd name="T9" fmla="*/ 20 h 213"/>
                  <a:gd name="T10" fmla="*/ 21 w 60"/>
                  <a:gd name="T11" fmla="*/ 20 h 213"/>
                  <a:gd name="T12" fmla="*/ 20 w 60"/>
                  <a:gd name="T13" fmla="*/ 19 h 213"/>
                  <a:gd name="T14" fmla="*/ 18 w 60"/>
                  <a:gd name="T15" fmla="*/ 23 h 213"/>
                  <a:gd name="T16" fmla="*/ 20 w 60"/>
                  <a:gd name="T17" fmla="*/ 23 h 213"/>
                  <a:gd name="T18" fmla="*/ 17 w 60"/>
                  <a:gd name="T19" fmla="*/ 27 h 213"/>
                  <a:gd name="T20" fmla="*/ 13 w 60"/>
                  <a:gd name="T21" fmla="*/ 25 h 213"/>
                  <a:gd name="T22" fmla="*/ 10 w 60"/>
                  <a:gd name="T23" fmla="*/ 24 h 213"/>
                  <a:gd name="T24" fmla="*/ 6 w 60"/>
                  <a:gd name="T25" fmla="*/ 38 h 213"/>
                  <a:gd name="T26" fmla="*/ 4 w 60"/>
                  <a:gd name="T27" fmla="*/ 52 h 213"/>
                  <a:gd name="T28" fmla="*/ 12 w 60"/>
                  <a:gd name="T29" fmla="*/ 83 h 213"/>
                  <a:gd name="T30" fmla="*/ 10 w 60"/>
                  <a:gd name="T31" fmla="*/ 95 h 213"/>
                  <a:gd name="T32" fmla="*/ 9 w 60"/>
                  <a:gd name="T33" fmla="*/ 127 h 213"/>
                  <a:gd name="T34" fmla="*/ 6 w 60"/>
                  <a:gd name="T35" fmla="*/ 146 h 213"/>
                  <a:gd name="T36" fmla="*/ 11 w 60"/>
                  <a:gd name="T37" fmla="*/ 164 h 213"/>
                  <a:gd name="T38" fmla="*/ 9 w 60"/>
                  <a:gd name="T39" fmla="*/ 185 h 213"/>
                  <a:gd name="T40" fmla="*/ 6 w 60"/>
                  <a:gd name="T41" fmla="*/ 203 h 213"/>
                  <a:gd name="T42" fmla="*/ 16 w 60"/>
                  <a:gd name="T43" fmla="*/ 196 h 213"/>
                  <a:gd name="T44" fmla="*/ 24 w 60"/>
                  <a:gd name="T45" fmla="*/ 196 h 213"/>
                  <a:gd name="T46" fmla="*/ 29 w 60"/>
                  <a:gd name="T47" fmla="*/ 196 h 213"/>
                  <a:gd name="T48" fmla="*/ 33 w 60"/>
                  <a:gd name="T49" fmla="*/ 197 h 213"/>
                  <a:gd name="T50" fmla="*/ 35 w 60"/>
                  <a:gd name="T51" fmla="*/ 203 h 213"/>
                  <a:gd name="T52" fmla="*/ 37 w 60"/>
                  <a:gd name="T53" fmla="*/ 205 h 213"/>
                  <a:gd name="T54" fmla="*/ 38 w 60"/>
                  <a:gd name="T55" fmla="*/ 201 h 213"/>
                  <a:gd name="T56" fmla="*/ 33 w 60"/>
                  <a:gd name="T57" fmla="*/ 190 h 213"/>
                  <a:gd name="T58" fmla="*/ 34 w 60"/>
                  <a:gd name="T59" fmla="*/ 193 h 213"/>
                  <a:gd name="T60" fmla="*/ 30 w 60"/>
                  <a:gd name="T61" fmla="*/ 193 h 213"/>
                  <a:gd name="T62" fmla="*/ 29 w 60"/>
                  <a:gd name="T63" fmla="*/ 189 h 213"/>
                  <a:gd name="T64" fmla="*/ 19 w 60"/>
                  <a:gd name="T65" fmla="*/ 163 h 213"/>
                  <a:gd name="T66" fmla="*/ 30 w 60"/>
                  <a:gd name="T67" fmla="*/ 132 h 213"/>
                  <a:gd name="T68" fmla="*/ 35 w 60"/>
                  <a:gd name="T69" fmla="*/ 128 h 213"/>
                  <a:gd name="T70" fmla="*/ 40 w 60"/>
                  <a:gd name="T71" fmla="*/ 130 h 213"/>
                  <a:gd name="T72" fmla="*/ 53 w 60"/>
                  <a:gd name="T73" fmla="*/ 136 h 213"/>
                  <a:gd name="T74" fmla="*/ 59 w 60"/>
                  <a:gd name="T75" fmla="*/ 144 h 213"/>
                  <a:gd name="T76" fmla="*/ 55 w 60"/>
                  <a:gd name="T77" fmla="*/ 138 h 213"/>
                  <a:gd name="T78" fmla="*/ 51 w 60"/>
                  <a:gd name="T79" fmla="*/ 128 h 213"/>
                  <a:gd name="T80" fmla="*/ 49 w 60"/>
                  <a:gd name="T81" fmla="*/ 122 h 213"/>
                  <a:gd name="T82" fmla="*/ 35 w 60"/>
                  <a:gd name="T83" fmla="*/ 79 h 213"/>
                  <a:gd name="T84" fmla="*/ 34 w 60"/>
                  <a:gd name="T85" fmla="*/ 72 h 213"/>
                  <a:gd name="T86" fmla="*/ 33 w 60"/>
                  <a:gd name="T87" fmla="*/ 73 h 213"/>
                  <a:gd name="T88" fmla="*/ 33 w 60"/>
                  <a:gd name="T89" fmla="*/ 75 h 213"/>
                  <a:gd name="T90" fmla="*/ 29 w 60"/>
                  <a:gd name="T91" fmla="*/ 59 h 213"/>
                  <a:gd name="T92" fmla="*/ 30 w 60"/>
                  <a:gd name="T93" fmla="*/ 52 h 213"/>
                  <a:gd name="T94" fmla="*/ 29 w 60"/>
                  <a:gd name="T95" fmla="*/ 31 h 213"/>
                  <a:gd name="T96" fmla="*/ 30 w 60"/>
                  <a:gd name="T97" fmla="*/ 27 h 213"/>
                  <a:gd name="T98" fmla="*/ 32 w 60"/>
                  <a:gd name="T99" fmla="*/ 34 h 213"/>
                  <a:gd name="T100" fmla="*/ 30 w 60"/>
                  <a:gd name="T101" fmla="*/ 24 h 213"/>
                  <a:gd name="T102" fmla="*/ 26 w 60"/>
                  <a:gd name="T103" fmla="*/ 12 h 213"/>
                  <a:gd name="T104" fmla="*/ 24 w 60"/>
                  <a:gd name="T105" fmla="*/ 3 h 2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 h="213">
                    <a:moveTo>
                      <a:pt x="22" y="0"/>
                    </a:moveTo>
                    <a:cubicBezTo>
                      <a:pt x="21" y="0"/>
                      <a:pt x="21" y="0"/>
                      <a:pt x="21" y="0"/>
                    </a:cubicBezTo>
                    <a:cubicBezTo>
                      <a:pt x="20" y="4"/>
                      <a:pt x="20" y="4"/>
                      <a:pt x="20" y="4"/>
                    </a:cubicBezTo>
                    <a:cubicBezTo>
                      <a:pt x="20" y="3"/>
                      <a:pt x="20" y="3"/>
                      <a:pt x="19" y="3"/>
                    </a:cubicBezTo>
                    <a:cubicBezTo>
                      <a:pt x="19" y="3"/>
                      <a:pt x="19" y="3"/>
                      <a:pt x="18" y="3"/>
                    </a:cubicBezTo>
                    <a:cubicBezTo>
                      <a:pt x="17" y="3"/>
                      <a:pt x="16" y="3"/>
                      <a:pt x="16" y="3"/>
                    </a:cubicBezTo>
                    <a:cubicBezTo>
                      <a:pt x="15" y="3"/>
                      <a:pt x="14" y="3"/>
                      <a:pt x="13" y="3"/>
                    </a:cubicBezTo>
                    <a:cubicBezTo>
                      <a:pt x="15" y="5"/>
                      <a:pt x="21" y="10"/>
                      <a:pt x="22" y="13"/>
                    </a:cubicBezTo>
                    <a:cubicBezTo>
                      <a:pt x="22" y="15"/>
                      <a:pt x="20" y="17"/>
                      <a:pt x="20" y="18"/>
                    </a:cubicBezTo>
                    <a:cubicBezTo>
                      <a:pt x="20" y="18"/>
                      <a:pt x="25" y="19"/>
                      <a:pt x="21" y="20"/>
                    </a:cubicBezTo>
                    <a:cubicBezTo>
                      <a:pt x="21" y="20"/>
                      <a:pt x="21" y="20"/>
                      <a:pt x="21" y="20"/>
                    </a:cubicBezTo>
                    <a:cubicBezTo>
                      <a:pt x="21" y="20"/>
                      <a:pt x="21" y="20"/>
                      <a:pt x="21" y="20"/>
                    </a:cubicBezTo>
                    <a:cubicBezTo>
                      <a:pt x="21" y="20"/>
                      <a:pt x="20" y="19"/>
                      <a:pt x="20" y="19"/>
                    </a:cubicBezTo>
                    <a:cubicBezTo>
                      <a:pt x="20" y="19"/>
                      <a:pt x="20" y="19"/>
                      <a:pt x="20" y="19"/>
                    </a:cubicBezTo>
                    <a:cubicBezTo>
                      <a:pt x="19" y="20"/>
                      <a:pt x="18" y="22"/>
                      <a:pt x="18" y="23"/>
                    </a:cubicBezTo>
                    <a:cubicBezTo>
                      <a:pt x="18" y="23"/>
                      <a:pt x="18" y="23"/>
                      <a:pt x="18" y="23"/>
                    </a:cubicBezTo>
                    <a:cubicBezTo>
                      <a:pt x="19" y="23"/>
                      <a:pt x="20" y="23"/>
                      <a:pt x="20" y="23"/>
                    </a:cubicBezTo>
                    <a:cubicBezTo>
                      <a:pt x="20" y="23"/>
                      <a:pt x="20" y="23"/>
                      <a:pt x="20" y="23"/>
                    </a:cubicBezTo>
                    <a:cubicBezTo>
                      <a:pt x="20" y="23"/>
                      <a:pt x="20" y="23"/>
                      <a:pt x="20" y="23"/>
                    </a:cubicBezTo>
                    <a:cubicBezTo>
                      <a:pt x="20" y="23"/>
                      <a:pt x="17" y="27"/>
                      <a:pt x="17" y="27"/>
                    </a:cubicBezTo>
                    <a:cubicBezTo>
                      <a:pt x="16" y="27"/>
                      <a:pt x="15" y="27"/>
                      <a:pt x="15" y="27"/>
                    </a:cubicBezTo>
                    <a:cubicBezTo>
                      <a:pt x="14" y="27"/>
                      <a:pt x="13" y="27"/>
                      <a:pt x="13" y="25"/>
                    </a:cubicBezTo>
                    <a:cubicBezTo>
                      <a:pt x="12" y="24"/>
                      <a:pt x="12" y="23"/>
                      <a:pt x="12" y="23"/>
                    </a:cubicBezTo>
                    <a:cubicBezTo>
                      <a:pt x="11" y="23"/>
                      <a:pt x="11" y="24"/>
                      <a:pt x="10" y="24"/>
                    </a:cubicBezTo>
                    <a:cubicBezTo>
                      <a:pt x="8" y="25"/>
                      <a:pt x="3" y="27"/>
                      <a:pt x="4" y="28"/>
                    </a:cubicBezTo>
                    <a:cubicBezTo>
                      <a:pt x="5" y="31"/>
                      <a:pt x="7" y="34"/>
                      <a:pt x="6" y="38"/>
                    </a:cubicBezTo>
                    <a:cubicBezTo>
                      <a:pt x="6" y="40"/>
                      <a:pt x="5" y="42"/>
                      <a:pt x="5" y="45"/>
                    </a:cubicBezTo>
                    <a:cubicBezTo>
                      <a:pt x="5" y="47"/>
                      <a:pt x="4" y="50"/>
                      <a:pt x="4" y="52"/>
                    </a:cubicBezTo>
                    <a:cubicBezTo>
                      <a:pt x="3" y="57"/>
                      <a:pt x="0" y="64"/>
                      <a:pt x="2" y="67"/>
                    </a:cubicBezTo>
                    <a:cubicBezTo>
                      <a:pt x="6" y="73"/>
                      <a:pt x="9" y="78"/>
                      <a:pt x="12" y="83"/>
                    </a:cubicBezTo>
                    <a:cubicBezTo>
                      <a:pt x="13" y="85"/>
                      <a:pt x="13" y="86"/>
                      <a:pt x="12" y="88"/>
                    </a:cubicBezTo>
                    <a:cubicBezTo>
                      <a:pt x="11" y="91"/>
                      <a:pt x="10" y="92"/>
                      <a:pt x="10" y="95"/>
                    </a:cubicBezTo>
                    <a:cubicBezTo>
                      <a:pt x="10" y="100"/>
                      <a:pt x="11" y="106"/>
                      <a:pt x="11" y="111"/>
                    </a:cubicBezTo>
                    <a:cubicBezTo>
                      <a:pt x="11" y="117"/>
                      <a:pt x="10" y="121"/>
                      <a:pt x="9" y="127"/>
                    </a:cubicBezTo>
                    <a:cubicBezTo>
                      <a:pt x="8" y="132"/>
                      <a:pt x="5" y="139"/>
                      <a:pt x="5" y="144"/>
                    </a:cubicBezTo>
                    <a:cubicBezTo>
                      <a:pt x="5" y="145"/>
                      <a:pt x="6" y="146"/>
                      <a:pt x="6" y="146"/>
                    </a:cubicBezTo>
                    <a:cubicBezTo>
                      <a:pt x="7" y="148"/>
                      <a:pt x="9" y="150"/>
                      <a:pt x="10" y="152"/>
                    </a:cubicBezTo>
                    <a:cubicBezTo>
                      <a:pt x="11" y="155"/>
                      <a:pt x="12" y="161"/>
                      <a:pt x="11" y="164"/>
                    </a:cubicBezTo>
                    <a:cubicBezTo>
                      <a:pt x="10" y="166"/>
                      <a:pt x="7" y="169"/>
                      <a:pt x="7" y="172"/>
                    </a:cubicBezTo>
                    <a:cubicBezTo>
                      <a:pt x="8" y="176"/>
                      <a:pt x="10" y="181"/>
                      <a:pt x="9" y="185"/>
                    </a:cubicBezTo>
                    <a:cubicBezTo>
                      <a:pt x="8" y="190"/>
                      <a:pt x="5" y="194"/>
                      <a:pt x="5" y="198"/>
                    </a:cubicBezTo>
                    <a:cubicBezTo>
                      <a:pt x="5" y="200"/>
                      <a:pt x="5" y="201"/>
                      <a:pt x="6" y="203"/>
                    </a:cubicBezTo>
                    <a:cubicBezTo>
                      <a:pt x="7" y="208"/>
                      <a:pt x="7" y="209"/>
                      <a:pt x="10" y="213"/>
                    </a:cubicBezTo>
                    <a:cubicBezTo>
                      <a:pt x="12" y="207"/>
                      <a:pt x="14" y="202"/>
                      <a:pt x="16" y="196"/>
                    </a:cubicBezTo>
                    <a:cubicBezTo>
                      <a:pt x="17" y="194"/>
                      <a:pt x="19" y="193"/>
                      <a:pt x="22" y="192"/>
                    </a:cubicBezTo>
                    <a:cubicBezTo>
                      <a:pt x="23" y="194"/>
                      <a:pt x="23" y="195"/>
                      <a:pt x="24" y="196"/>
                    </a:cubicBezTo>
                    <a:cubicBezTo>
                      <a:pt x="25" y="196"/>
                      <a:pt x="26" y="196"/>
                      <a:pt x="27" y="196"/>
                    </a:cubicBezTo>
                    <a:cubicBezTo>
                      <a:pt x="28" y="196"/>
                      <a:pt x="28" y="196"/>
                      <a:pt x="29" y="196"/>
                    </a:cubicBezTo>
                    <a:cubicBezTo>
                      <a:pt x="29" y="196"/>
                      <a:pt x="29" y="196"/>
                      <a:pt x="30" y="196"/>
                    </a:cubicBezTo>
                    <a:cubicBezTo>
                      <a:pt x="31" y="196"/>
                      <a:pt x="32" y="196"/>
                      <a:pt x="33" y="197"/>
                    </a:cubicBezTo>
                    <a:cubicBezTo>
                      <a:pt x="35" y="198"/>
                      <a:pt x="34" y="198"/>
                      <a:pt x="34" y="200"/>
                    </a:cubicBezTo>
                    <a:cubicBezTo>
                      <a:pt x="34" y="201"/>
                      <a:pt x="34" y="202"/>
                      <a:pt x="35" y="203"/>
                    </a:cubicBezTo>
                    <a:cubicBezTo>
                      <a:pt x="35" y="205"/>
                      <a:pt x="35" y="207"/>
                      <a:pt x="36" y="209"/>
                    </a:cubicBezTo>
                    <a:cubicBezTo>
                      <a:pt x="36" y="208"/>
                      <a:pt x="36" y="207"/>
                      <a:pt x="37" y="205"/>
                    </a:cubicBezTo>
                    <a:cubicBezTo>
                      <a:pt x="37" y="204"/>
                      <a:pt x="38" y="203"/>
                      <a:pt x="39" y="201"/>
                    </a:cubicBezTo>
                    <a:cubicBezTo>
                      <a:pt x="39" y="200"/>
                      <a:pt x="38" y="201"/>
                      <a:pt x="38" y="201"/>
                    </a:cubicBezTo>
                    <a:cubicBezTo>
                      <a:pt x="38" y="199"/>
                      <a:pt x="38" y="198"/>
                      <a:pt x="37" y="196"/>
                    </a:cubicBezTo>
                    <a:cubicBezTo>
                      <a:pt x="36" y="192"/>
                      <a:pt x="37" y="190"/>
                      <a:pt x="33" y="190"/>
                    </a:cubicBezTo>
                    <a:cubicBezTo>
                      <a:pt x="32" y="190"/>
                      <a:pt x="32" y="190"/>
                      <a:pt x="31" y="190"/>
                    </a:cubicBezTo>
                    <a:cubicBezTo>
                      <a:pt x="32" y="191"/>
                      <a:pt x="33" y="192"/>
                      <a:pt x="34" y="193"/>
                    </a:cubicBezTo>
                    <a:cubicBezTo>
                      <a:pt x="34" y="193"/>
                      <a:pt x="34" y="193"/>
                      <a:pt x="34" y="193"/>
                    </a:cubicBezTo>
                    <a:cubicBezTo>
                      <a:pt x="33" y="193"/>
                      <a:pt x="31" y="193"/>
                      <a:pt x="30" y="193"/>
                    </a:cubicBezTo>
                    <a:cubicBezTo>
                      <a:pt x="30" y="193"/>
                      <a:pt x="30" y="192"/>
                      <a:pt x="30" y="191"/>
                    </a:cubicBezTo>
                    <a:cubicBezTo>
                      <a:pt x="30" y="189"/>
                      <a:pt x="30" y="190"/>
                      <a:pt x="29" y="189"/>
                    </a:cubicBezTo>
                    <a:cubicBezTo>
                      <a:pt x="29" y="186"/>
                      <a:pt x="28" y="182"/>
                      <a:pt x="26" y="180"/>
                    </a:cubicBezTo>
                    <a:cubicBezTo>
                      <a:pt x="22" y="176"/>
                      <a:pt x="16" y="169"/>
                      <a:pt x="19" y="163"/>
                    </a:cubicBezTo>
                    <a:cubicBezTo>
                      <a:pt x="21" y="157"/>
                      <a:pt x="23" y="150"/>
                      <a:pt x="25" y="144"/>
                    </a:cubicBezTo>
                    <a:cubicBezTo>
                      <a:pt x="26" y="141"/>
                      <a:pt x="27" y="134"/>
                      <a:pt x="30" y="132"/>
                    </a:cubicBezTo>
                    <a:cubicBezTo>
                      <a:pt x="32" y="130"/>
                      <a:pt x="37" y="130"/>
                      <a:pt x="40" y="130"/>
                    </a:cubicBezTo>
                    <a:cubicBezTo>
                      <a:pt x="38" y="129"/>
                      <a:pt x="35" y="130"/>
                      <a:pt x="35" y="128"/>
                    </a:cubicBezTo>
                    <a:cubicBezTo>
                      <a:pt x="37" y="129"/>
                      <a:pt x="39" y="129"/>
                      <a:pt x="41" y="129"/>
                    </a:cubicBezTo>
                    <a:cubicBezTo>
                      <a:pt x="40" y="130"/>
                      <a:pt x="40" y="130"/>
                      <a:pt x="40" y="130"/>
                    </a:cubicBezTo>
                    <a:cubicBezTo>
                      <a:pt x="43" y="131"/>
                      <a:pt x="46" y="130"/>
                      <a:pt x="49" y="133"/>
                    </a:cubicBezTo>
                    <a:cubicBezTo>
                      <a:pt x="51" y="134"/>
                      <a:pt x="51" y="135"/>
                      <a:pt x="53" y="136"/>
                    </a:cubicBezTo>
                    <a:cubicBezTo>
                      <a:pt x="54" y="138"/>
                      <a:pt x="55" y="138"/>
                      <a:pt x="56" y="140"/>
                    </a:cubicBezTo>
                    <a:cubicBezTo>
                      <a:pt x="58" y="141"/>
                      <a:pt x="58" y="143"/>
                      <a:pt x="59" y="144"/>
                    </a:cubicBezTo>
                    <a:cubicBezTo>
                      <a:pt x="59" y="144"/>
                      <a:pt x="60" y="143"/>
                      <a:pt x="60" y="143"/>
                    </a:cubicBezTo>
                    <a:cubicBezTo>
                      <a:pt x="60" y="140"/>
                      <a:pt x="57" y="139"/>
                      <a:pt x="55" y="138"/>
                    </a:cubicBezTo>
                    <a:cubicBezTo>
                      <a:pt x="54" y="137"/>
                      <a:pt x="53" y="135"/>
                      <a:pt x="52" y="133"/>
                    </a:cubicBezTo>
                    <a:cubicBezTo>
                      <a:pt x="52" y="131"/>
                      <a:pt x="51" y="130"/>
                      <a:pt x="51" y="128"/>
                    </a:cubicBezTo>
                    <a:cubicBezTo>
                      <a:pt x="50" y="127"/>
                      <a:pt x="51" y="125"/>
                      <a:pt x="50" y="124"/>
                    </a:cubicBezTo>
                    <a:cubicBezTo>
                      <a:pt x="50" y="124"/>
                      <a:pt x="49" y="123"/>
                      <a:pt x="49" y="122"/>
                    </a:cubicBezTo>
                    <a:cubicBezTo>
                      <a:pt x="45" y="109"/>
                      <a:pt x="41" y="96"/>
                      <a:pt x="38" y="83"/>
                    </a:cubicBezTo>
                    <a:cubicBezTo>
                      <a:pt x="37" y="80"/>
                      <a:pt x="36" y="81"/>
                      <a:pt x="35" y="79"/>
                    </a:cubicBezTo>
                    <a:cubicBezTo>
                      <a:pt x="34" y="78"/>
                      <a:pt x="36" y="76"/>
                      <a:pt x="35" y="75"/>
                    </a:cubicBezTo>
                    <a:cubicBezTo>
                      <a:pt x="35" y="74"/>
                      <a:pt x="34" y="72"/>
                      <a:pt x="34" y="72"/>
                    </a:cubicBezTo>
                    <a:cubicBezTo>
                      <a:pt x="34" y="72"/>
                      <a:pt x="34" y="72"/>
                      <a:pt x="34" y="72"/>
                    </a:cubicBezTo>
                    <a:cubicBezTo>
                      <a:pt x="33" y="72"/>
                      <a:pt x="34" y="73"/>
                      <a:pt x="33" y="73"/>
                    </a:cubicBezTo>
                    <a:cubicBezTo>
                      <a:pt x="33" y="74"/>
                      <a:pt x="34" y="75"/>
                      <a:pt x="33" y="75"/>
                    </a:cubicBezTo>
                    <a:cubicBezTo>
                      <a:pt x="33" y="75"/>
                      <a:pt x="33" y="75"/>
                      <a:pt x="33" y="75"/>
                    </a:cubicBezTo>
                    <a:cubicBezTo>
                      <a:pt x="31" y="74"/>
                      <a:pt x="31" y="72"/>
                      <a:pt x="31" y="70"/>
                    </a:cubicBezTo>
                    <a:cubicBezTo>
                      <a:pt x="30" y="67"/>
                      <a:pt x="28" y="62"/>
                      <a:pt x="29" y="59"/>
                    </a:cubicBezTo>
                    <a:cubicBezTo>
                      <a:pt x="30" y="59"/>
                      <a:pt x="30" y="59"/>
                      <a:pt x="30" y="59"/>
                    </a:cubicBezTo>
                    <a:cubicBezTo>
                      <a:pt x="30" y="57"/>
                      <a:pt x="29" y="54"/>
                      <a:pt x="30" y="52"/>
                    </a:cubicBezTo>
                    <a:cubicBezTo>
                      <a:pt x="32" y="48"/>
                      <a:pt x="32" y="46"/>
                      <a:pt x="32" y="42"/>
                    </a:cubicBezTo>
                    <a:cubicBezTo>
                      <a:pt x="32" y="38"/>
                      <a:pt x="29" y="35"/>
                      <a:pt x="29" y="31"/>
                    </a:cubicBezTo>
                    <a:cubicBezTo>
                      <a:pt x="29" y="30"/>
                      <a:pt x="28" y="27"/>
                      <a:pt x="30" y="27"/>
                    </a:cubicBezTo>
                    <a:cubicBezTo>
                      <a:pt x="30" y="27"/>
                      <a:pt x="30" y="27"/>
                      <a:pt x="30" y="27"/>
                    </a:cubicBezTo>
                    <a:cubicBezTo>
                      <a:pt x="32" y="28"/>
                      <a:pt x="30" y="30"/>
                      <a:pt x="30" y="31"/>
                    </a:cubicBezTo>
                    <a:cubicBezTo>
                      <a:pt x="30" y="32"/>
                      <a:pt x="32" y="32"/>
                      <a:pt x="32" y="34"/>
                    </a:cubicBezTo>
                    <a:cubicBezTo>
                      <a:pt x="33" y="36"/>
                      <a:pt x="33" y="38"/>
                      <a:pt x="34" y="40"/>
                    </a:cubicBezTo>
                    <a:cubicBezTo>
                      <a:pt x="33" y="34"/>
                      <a:pt x="32" y="29"/>
                      <a:pt x="30" y="24"/>
                    </a:cubicBezTo>
                    <a:cubicBezTo>
                      <a:pt x="28" y="21"/>
                      <a:pt x="27" y="18"/>
                      <a:pt x="25" y="15"/>
                    </a:cubicBezTo>
                    <a:cubicBezTo>
                      <a:pt x="24" y="14"/>
                      <a:pt x="25" y="13"/>
                      <a:pt x="26" y="12"/>
                    </a:cubicBezTo>
                    <a:cubicBezTo>
                      <a:pt x="26" y="10"/>
                      <a:pt x="27" y="8"/>
                      <a:pt x="27" y="7"/>
                    </a:cubicBezTo>
                    <a:cubicBezTo>
                      <a:pt x="26" y="6"/>
                      <a:pt x="25" y="4"/>
                      <a:pt x="24" y="3"/>
                    </a:cubicBezTo>
                    <a:cubicBezTo>
                      <a:pt x="23" y="2"/>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273"/>
              <p:cNvSpPr/>
              <p:nvPr/>
            </p:nvSpPr>
            <p:spPr bwMode="auto">
              <a:xfrm>
                <a:off x="4965" y="-1524"/>
                <a:ext cx="146" cy="36"/>
              </a:xfrm>
              <a:custGeom>
                <a:gdLst>
                  <a:gd name="T0" fmla="*/ 27 w 62"/>
                  <a:gd name="T1" fmla="*/ 0 h 15"/>
                  <a:gd name="T2" fmla="*/ 19 w 62"/>
                  <a:gd name="T3" fmla="*/ 0 h 15"/>
                  <a:gd name="T4" fmla="*/ 0 w 62"/>
                  <a:gd name="T5" fmla="*/ 0 h 15"/>
                  <a:gd name="T6" fmla="*/ 3 w 62"/>
                  <a:gd name="T7" fmla="*/ 1 h 15"/>
                  <a:gd name="T8" fmla="*/ 4 w 62"/>
                  <a:gd name="T9" fmla="*/ 1 h 15"/>
                  <a:gd name="T10" fmla="*/ 5 w 62"/>
                  <a:gd name="T11" fmla="*/ 1 h 15"/>
                  <a:gd name="T12" fmla="*/ 6 w 62"/>
                  <a:gd name="T13" fmla="*/ 1 h 15"/>
                  <a:gd name="T14" fmla="*/ 10 w 62"/>
                  <a:gd name="T15" fmla="*/ 3 h 15"/>
                  <a:gd name="T16" fmla="*/ 11 w 62"/>
                  <a:gd name="T17" fmla="*/ 4 h 15"/>
                  <a:gd name="T18" fmla="*/ 14 w 62"/>
                  <a:gd name="T19" fmla="*/ 3 h 15"/>
                  <a:gd name="T20" fmla="*/ 16 w 62"/>
                  <a:gd name="T21" fmla="*/ 3 h 15"/>
                  <a:gd name="T22" fmla="*/ 18 w 62"/>
                  <a:gd name="T23" fmla="*/ 3 h 15"/>
                  <a:gd name="T24" fmla="*/ 22 w 62"/>
                  <a:gd name="T25" fmla="*/ 6 h 15"/>
                  <a:gd name="T26" fmla="*/ 29 w 62"/>
                  <a:gd name="T27" fmla="*/ 8 h 15"/>
                  <a:gd name="T28" fmla="*/ 37 w 62"/>
                  <a:gd name="T29" fmla="*/ 9 h 15"/>
                  <a:gd name="T30" fmla="*/ 45 w 62"/>
                  <a:gd name="T31" fmla="*/ 12 h 15"/>
                  <a:gd name="T32" fmla="*/ 49 w 62"/>
                  <a:gd name="T33" fmla="*/ 15 h 15"/>
                  <a:gd name="T34" fmla="*/ 51 w 62"/>
                  <a:gd name="T35" fmla="*/ 15 h 15"/>
                  <a:gd name="T36" fmla="*/ 62 w 62"/>
                  <a:gd name="T37" fmla="*/ 11 h 15"/>
                  <a:gd name="T38" fmla="*/ 33 w 62"/>
                  <a:gd name="T39" fmla="*/ 0 h 15"/>
                  <a:gd name="T40" fmla="*/ 27 w 62"/>
                  <a:gd name="T41"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15">
                    <a:moveTo>
                      <a:pt x="27" y="0"/>
                    </a:moveTo>
                    <a:cubicBezTo>
                      <a:pt x="24" y="0"/>
                      <a:pt x="22" y="0"/>
                      <a:pt x="19" y="0"/>
                    </a:cubicBezTo>
                    <a:cubicBezTo>
                      <a:pt x="12" y="0"/>
                      <a:pt x="6" y="0"/>
                      <a:pt x="0" y="0"/>
                    </a:cubicBezTo>
                    <a:cubicBezTo>
                      <a:pt x="1" y="1"/>
                      <a:pt x="2" y="1"/>
                      <a:pt x="3" y="1"/>
                    </a:cubicBezTo>
                    <a:cubicBezTo>
                      <a:pt x="3" y="1"/>
                      <a:pt x="4" y="1"/>
                      <a:pt x="4" y="1"/>
                    </a:cubicBezTo>
                    <a:cubicBezTo>
                      <a:pt x="4" y="1"/>
                      <a:pt x="5" y="1"/>
                      <a:pt x="5" y="1"/>
                    </a:cubicBezTo>
                    <a:cubicBezTo>
                      <a:pt x="6" y="1"/>
                      <a:pt x="6" y="1"/>
                      <a:pt x="6" y="1"/>
                    </a:cubicBezTo>
                    <a:cubicBezTo>
                      <a:pt x="8" y="2"/>
                      <a:pt x="8" y="3"/>
                      <a:pt x="10" y="3"/>
                    </a:cubicBezTo>
                    <a:cubicBezTo>
                      <a:pt x="10" y="4"/>
                      <a:pt x="11" y="4"/>
                      <a:pt x="11" y="4"/>
                    </a:cubicBezTo>
                    <a:cubicBezTo>
                      <a:pt x="12" y="4"/>
                      <a:pt x="13" y="3"/>
                      <a:pt x="14" y="3"/>
                    </a:cubicBezTo>
                    <a:cubicBezTo>
                      <a:pt x="15" y="3"/>
                      <a:pt x="16" y="3"/>
                      <a:pt x="16" y="3"/>
                    </a:cubicBezTo>
                    <a:cubicBezTo>
                      <a:pt x="17" y="3"/>
                      <a:pt x="17" y="3"/>
                      <a:pt x="18" y="3"/>
                    </a:cubicBezTo>
                    <a:cubicBezTo>
                      <a:pt x="19" y="4"/>
                      <a:pt x="19" y="6"/>
                      <a:pt x="22" y="6"/>
                    </a:cubicBezTo>
                    <a:cubicBezTo>
                      <a:pt x="25" y="7"/>
                      <a:pt x="26" y="8"/>
                      <a:pt x="29" y="8"/>
                    </a:cubicBezTo>
                    <a:cubicBezTo>
                      <a:pt x="31" y="9"/>
                      <a:pt x="34" y="9"/>
                      <a:pt x="37" y="9"/>
                    </a:cubicBezTo>
                    <a:cubicBezTo>
                      <a:pt x="40" y="10"/>
                      <a:pt x="42" y="10"/>
                      <a:pt x="45" y="12"/>
                    </a:cubicBezTo>
                    <a:cubicBezTo>
                      <a:pt x="46" y="13"/>
                      <a:pt x="48" y="15"/>
                      <a:pt x="49" y="15"/>
                    </a:cubicBezTo>
                    <a:cubicBezTo>
                      <a:pt x="50" y="15"/>
                      <a:pt x="50" y="15"/>
                      <a:pt x="51" y="15"/>
                    </a:cubicBezTo>
                    <a:cubicBezTo>
                      <a:pt x="54" y="15"/>
                      <a:pt x="60" y="13"/>
                      <a:pt x="62" y="11"/>
                    </a:cubicBezTo>
                    <a:cubicBezTo>
                      <a:pt x="53" y="7"/>
                      <a:pt x="43" y="3"/>
                      <a:pt x="33" y="0"/>
                    </a:cubicBezTo>
                    <a:cubicBezTo>
                      <a:pt x="31" y="0"/>
                      <a:pt x="29"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274"/>
              <p:cNvSpPr/>
              <p:nvPr/>
            </p:nvSpPr>
            <p:spPr bwMode="auto">
              <a:xfrm>
                <a:off x="5026" y="-1455"/>
                <a:ext cx="62" cy="33"/>
              </a:xfrm>
              <a:custGeom>
                <a:gdLst>
                  <a:gd name="T0" fmla="*/ 17 w 26"/>
                  <a:gd name="T1" fmla="*/ 0 h 14"/>
                  <a:gd name="T2" fmla="*/ 8 w 26"/>
                  <a:gd name="T3" fmla="*/ 2 h 14"/>
                  <a:gd name="T4" fmla="*/ 0 w 26"/>
                  <a:gd name="T5" fmla="*/ 11 h 14"/>
                  <a:gd name="T6" fmla="*/ 7 w 26"/>
                  <a:gd name="T7" fmla="*/ 13 h 14"/>
                  <a:gd name="T8" fmla="*/ 9 w 26"/>
                  <a:gd name="T9" fmla="*/ 13 h 14"/>
                  <a:gd name="T10" fmla="*/ 12 w 26"/>
                  <a:gd name="T11" fmla="*/ 13 h 14"/>
                  <a:gd name="T12" fmla="*/ 14 w 26"/>
                  <a:gd name="T13" fmla="*/ 13 h 14"/>
                  <a:gd name="T14" fmla="*/ 20 w 26"/>
                  <a:gd name="T15" fmla="*/ 14 h 14"/>
                  <a:gd name="T16" fmla="*/ 24 w 26"/>
                  <a:gd name="T17" fmla="*/ 12 h 14"/>
                  <a:gd name="T18" fmla="*/ 25 w 26"/>
                  <a:gd name="T19" fmla="*/ 3 h 14"/>
                  <a:gd name="T20" fmla="*/ 20 w 26"/>
                  <a:gd name="T21" fmla="*/ 0 h 14"/>
                  <a:gd name="T22" fmla="*/ 17 w 26"/>
                  <a:gd name="T23"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4">
                    <a:moveTo>
                      <a:pt x="17" y="0"/>
                    </a:moveTo>
                    <a:cubicBezTo>
                      <a:pt x="14" y="0"/>
                      <a:pt x="10" y="1"/>
                      <a:pt x="8" y="2"/>
                    </a:cubicBezTo>
                    <a:cubicBezTo>
                      <a:pt x="5" y="3"/>
                      <a:pt x="2" y="8"/>
                      <a:pt x="0" y="11"/>
                    </a:cubicBezTo>
                    <a:cubicBezTo>
                      <a:pt x="2" y="13"/>
                      <a:pt x="4" y="13"/>
                      <a:pt x="7" y="13"/>
                    </a:cubicBezTo>
                    <a:cubicBezTo>
                      <a:pt x="8" y="13"/>
                      <a:pt x="9" y="13"/>
                      <a:pt x="9" y="13"/>
                    </a:cubicBezTo>
                    <a:cubicBezTo>
                      <a:pt x="10" y="13"/>
                      <a:pt x="11" y="13"/>
                      <a:pt x="12" y="13"/>
                    </a:cubicBezTo>
                    <a:cubicBezTo>
                      <a:pt x="13" y="13"/>
                      <a:pt x="13" y="13"/>
                      <a:pt x="14" y="13"/>
                    </a:cubicBezTo>
                    <a:cubicBezTo>
                      <a:pt x="15" y="13"/>
                      <a:pt x="17" y="14"/>
                      <a:pt x="20" y="14"/>
                    </a:cubicBezTo>
                    <a:cubicBezTo>
                      <a:pt x="21" y="14"/>
                      <a:pt x="23" y="13"/>
                      <a:pt x="24" y="12"/>
                    </a:cubicBezTo>
                    <a:cubicBezTo>
                      <a:pt x="26" y="11"/>
                      <a:pt x="26" y="4"/>
                      <a:pt x="25" y="3"/>
                    </a:cubicBezTo>
                    <a:cubicBezTo>
                      <a:pt x="24" y="1"/>
                      <a:pt x="22" y="1"/>
                      <a:pt x="20" y="0"/>
                    </a:cubicBezTo>
                    <a:cubicBezTo>
                      <a:pt x="19" y="0"/>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275"/>
              <p:cNvSpPr>
                <a:spLocks noEditPoints="1"/>
              </p:cNvSpPr>
              <p:nvPr/>
            </p:nvSpPr>
            <p:spPr bwMode="auto">
              <a:xfrm>
                <a:off x="4828" y="-791"/>
                <a:ext cx="281" cy="234"/>
              </a:xfrm>
              <a:custGeom>
                <a:gdLst>
                  <a:gd name="T0" fmla="*/ 19 w 119"/>
                  <a:gd name="T1" fmla="*/ 22 h 99"/>
                  <a:gd name="T2" fmla="*/ 45 w 119"/>
                  <a:gd name="T3" fmla="*/ 3 h 99"/>
                  <a:gd name="T4" fmla="*/ 33 w 119"/>
                  <a:gd name="T5" fmla="*/ 13 h 99"/>
                  <a:gd name="T6" fmla="*/ 31 w 119"/>
                  <a:gd name="T7" fmla="*/ 16 h 99"/>
                  <a:gd name="T8" fmla="*/ 21 w 119"/>
                  <a:gd name="T9" fmla="*/ 20 h 99"/>
                  <a:gd name="T10" fmla="*/ 28 w 119"/>
                  <a:gd name="T11" fmla="*/ 25 h 99"/>
                  <a:gd name="T12" fmla="*/ 31 w 119"/>
                  <a:gd name="T13" fmla="*/ 25 h 99"/>
                  <a:gd name="T14" fmla="*/ 25 w 119"/>
                  <a:gd name="T15" fmla="*/ 29 h 99"/>
                  <a:gd name="T16" fmla="*/ 31 w 119"/>
                  <a:gd name="T17" fmla="*/ 28 h 99"/>
                  <a:gd name="T18" fmla="*/ 25 w 119"/>
                  <a:gd name="T19" fmla="*/ 31 h 99"/>
                  <a:gd name="T20" fmla="*/ 21 w 119"/>
                  <a:gd name="T21" fmla="*/ 39 h 99"/>
                  <a:gd name="T22" fmla="*/ 19 w 119"/>
                  <a:gd name="T23" fmla="*/ 41 h 99"/>
                  <a:gd name="T24" fmla="*/ 19 w 119"/>
                  <a:gd name="T25" fmla="*/ 46 h 99"/>
                  <a:gd name="T26" fmla="*/ 9 w 119"/>
                  <a:gd name="T27" fmla="*/ 44 h 99"/>
                  <a:gd name="T28" fmla="*/ 0 w 119"/>
                  <a:gd name="T29" fmla="*/ 55 h 99"/>
                  <a:gd name="T30" fmla="*/ 15 w 119"/>
                  <a:gd name="T31" fmla="*/ 64 h 99"/>
                  <a:gd name="T32" fmla="*/ 19 w 119"/>
                  <a:gd name="T33" fmla="*/ 64 h 99"/>
                  <a:gd name="T34" fmla="*/ 28 w 119"/>
                  <a:gd name="T35" fmla="*/ 70 h 99"/>
                  <a:gd name="T36" fmla="*/ 32 w 119"/>
                  <a:gd name="T37" fmla="*/ 67 h 99"/>
                  <a:gd name="T38" fmla="*/ 36 w 119"/>
                  <a:gd name="T39" fmla="*/ 69 h 99"/>
                  <a:gd name="T40" fmla="*/ 42 w 119"/>
                  <a:gd name="T41" fmla="*/ 71 h 99"/>
                  <a:gd name="T42" fmla="*/ 39 w 119"/>
                  <a:gd name="T43" fmla="*/ 75 h 99"/>
                  <a:gd name="T44" fmla="*/ 48 w 119"/>
                  <a:gd name="T45" fmla="*/ 82 h 99"/>
                  <a:gd name="T46" fmla="*/ 42 w 119"/>
                  <a:gd name="T47" fmla="*/ 82 h 99"/>
                  <a:gd name="T48" fmla="*/ 41 w 119"/>
                  <a:gd name="T49" fmla="*/ 83 h 99"/>
                  <a:gd name="T50" fmla="*/ 43 w 119"/>
                  <a:gd name="T51" fmla="*/ 90 h 99"/>
                  <a:gd name="T52" fmla="*/ 36 w 119"/>
                  <a:gd name="T53" fmla="*/ 89 h 99"/>
                  <a:gd name="T54" fmla="*/ 62 w 119"/>
                  <a:gd name="T55" fmla="*/ 96 h 99"/>
                  <a:gd name="T56" fmla="*/ 66 w 119"/>
                  <a:gd name="T57" fmla="*/ 96 h 99"/>
                  <a:gd name="T58" fmla="*/ 73 w 119"/>
                  <a:gd name="T59" fmla="*/ 97 h 99"/>
                  <a:gd name="T60" fmla="*/ 78 w 119"/>
                  <a:gd name="T61" fmla="*/ 94 h 99"/>
                  <a:gd name="T62" fmla="*/ 87 w 119"/>
                  <a:gd name="T63" fmla="*/ 99 h 99"/>
                  <a:gd name="T64" fmla="*/ 97 w 119"/>
                  <a:gd name="T65" fmla="*/ 99 h 99"/>
                  <a:gd name="T66" fmla="*/ 92 w 119"/>
                  <a:gd name="T67" fmla="*/ 94 h 99"/>
                  <a:gd name="T68" fmla="*/ 102 w 119"/>
                  <a:gd name="T69" fmla="*/ 95 h 99"/>
                  <a:gd name="T70" fmla="*/ 115 w 119"/>
                  <a:gd name="T71" fmla="*/ 95 h 99"/>
                  <a:gd name="T72" fmla="*/ 112 w 119"/>
                  <a:gd name="T73" fmla="*/ 91 h 99"/>
                  <a:gd name="T74" fmla="*/ 79 w 119"/>
                  <a:gd name="T75" fmla="*/ 58 h 99"/>
                  <a:gd name="T76" fmla="*/ 76 w 119"/>
                  <a:gd name="T77" fmla="*/ 46 h 99"/>
                  <a:gd name="T78" fmla="*/ 76 w 119"/>
                  <a:gd name="T79" fmla="*/ 34 h 99"/>
                  <a:gd name="T80" fmla="*/ 77 w 119"/>
                  <a:gd name="T81" fmla="*/ 29 h 99"/>
                  <a:gd name="T82" fmla="*/ 77 w 119"/>
                  <a:gd name="T83" fmla="*/ 29 h 99"/>
                  <a:gd name="T84" fmla="*/ 85 w 119"/>
                  <a:gd name="T85" fmla="*/ 25 h 99"/>
                  <a:gd name="T86" fmla="*/ 77 w 119"/>
                  <a:gd name="T87" fmla="*/ 21 h 99"/>
                  <a:gd name="T88" fmla="*/ 82 w 119"/>
                  <a:gd name="T89" fmla="*/ 21 h 99"/>
                  <a:gd name="T90" fmla="*/ 87 w 119"/>
                  <a:gd name="T91" fmla="*/ 21 h 99"/>
                  <a:gd name="T92" fmla="*/ 92 w 119"/>
                  <a:gd name="T93" fmla="*/ 16 h 99"/>
                  <a:gd name="T94" fmla="*/ 87 w 119"/>
                  <a:gd name="T95" fmla="*/ 15 h 99"/>
                  <a:gd name="T96" fmla="*/ 89 w 119"/>
                  <a:gd name="T97" fmla="*/ 13 h 99"/>
                  <a:gd name="T98" fmla="*/ 93 w 119"/>
                  <a:gd name="T99" fmla="*/ 13 h 99"/>
                  <a:gd name="T100" fmla="*/ 87 w 119"/>
                  <a:gd name="T101" fmla="*/ 11 h 99"/>
                  <a:gd name="T102" fmla="*/ 99 w 119"/>
                  <a:gd name="T103" fmla="*/ 8 h 99"/>
                  <a:gd name="T104" fmla="*/ 59 w 119"/>
                  <a:gd name="T105" fmla="*/ 0 h 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9" h="99">
                    <a:moveTo>
                      <a:pt x="19" y="22"/>
                    </a:moveTo>
                    <a:cubicBezTo>
                      <a:pt x="19" y="22"/>
                      <a:pt x="19" y="22"/>
                      <a:pt x="19" y="22"/>
                    </a:cubicBezTo>
                    <a:cubicBezTo>
                      <a:pt x="19" y="22"/>
                      <a:pt x="19" y="22"/>
                      <a:pt x="19" y="22"/>
                    </a:cubicBezTo>
                    <a:moveTo>
                      <a:pt x="59" y="0"/>
                    </a:moveTo>
                    <a:cubicBezTo>
                      <a:pt x="59" y="0"/>
                      <a:pt x="59" y="0"/>
                      <a:pt x="59" y="0"/>
                    </a:cubicBezTo>
                    <a:cubicBezTo>
                      <a:pt x="54" y="1"/>
                      <a:pt x="49" y="2"/>
                      <a:pt x="45" y="3"/>
                    </a:cubicBezTo>
                    <a:cubicBezTo>
                      <a:pt x="42" y="4"/>
                      <a:pt x="35" y="4"/>
                      <a:pt x="33" y="8"/>
                    </a:cubicBezTo>
                    <a:cubicBezTo>
                      <a:pt x="33" y="9"/>
                      <a:pt x="33" y="10"/>
                      <a:pt x="34" y="11"/>
                    </a:cubicBezTo>
                    <a:cubicBezTo>
                      <a:pt x="35" y="13"/>
                      <a:pt x="33" y="12"/>
                      <a:pt x="33" y="13"/>
                    </a:cubicBezTo>
                    <a:cubicBezTo>
                      <a:pt x="33" y="15"/>
                      <a:pt x="35" y="17"/>
                      <a:pt x="34" y="17"/>
                    </a:cubicBezTo>
                    <a:cubicBezTo>
                      <a:pt x="34" y="17"/>
                      <a:pt x="33" y="17"/>
                      <a:pt x="33" y="17"/>
                    </a:cubicBezTo>
                    <a:cubicBezTo>
                      <a:pt x="32" y="16"/>
                      <a:pt x="31" y="16"/>
                      <a:pt x="31" y="16"/>
                    </a:cubicBezTo>
                    <a:cubicBezTo>
                      <a:pt x="30" y="16"/>
                      <a:pt x="29" y="16"/>
                      <a:pt x="28" y="17"/>
                    </a:cubicBezTo>
                    <a:cubicBezTo>
                      <a:pt x="27" y="17"/>
                      <a:pt x="25" y="18"/>
                      <a:pt x="24" y="18"/>
                    </a:cubicBezTo>
                    <a:cubicBezTo>
                      <a:pt x="23" y="18"/>
                      <a:pt x="22" y="20"/>
                      <a:pt x="21" y="20"/>
                    </a:cubicBezTo>
                    <a:cubicBezTo>
                      <a:pt x="21" y="20"/>
                      <a:pt x="19" y="22"/>
                      <a:pt x="19" y="22"/>
                    </a:cubicBezTo>
                    <a:cubicBezTo>
                      <a:pt x="19" y="22"/>
                      <a:pt x="19" y="22"/>
                      <a:pt x="19" y="22"/>
                    </a:cubicBezTo>
                    <a:cubicBezTo>
                      <a:pt x="19" y="24"/>
                      <a:pt x="26" y="25"/>
                      <a:pt x="28" y="25"/>
                    </a:cubicBezTo>
                    <a:cubicBezTo>
                      <a:pt x="30" y="25"/>
                      <a:pt x="32" y="25"/>
                      <a:pt x="33" y="26"/>
                    </a:cubicBezTo>
                    <a:cubicBezTo>
                      <a:pt x="33" y="26"/>
                      <a:pt x="33" y="26"/>
                      <a:pt x="33" y="26"/>
                    </a:cubicBezTo>
                    <a:cubicBezTo>
                      <a:pt x="33" y="26"/>
                      <a:pt x="32" y="26"/>
                      <a:pt x="31" y="25"/>
                    </a:cubicBezTo>
                    <a:cubicBezTo>
                      <a:pt x="31" y="25"/>
                      <a:pt x="30" y="25"/>
                      <a:pt x="29" y="25"/>
                    </a:cubicBezTo>
                    <a:cubicBezTo>
                      <a:pt x="29" y="25"/>
                      <a:pt x="28" y="25"/>
                      <a:pt x="27" y="26"/>
                    </a:cubicBezTo>
                    <a:cubicBezTo>
                      <a:pt x="25" y="27"/>
                      <a:pt x="26" y="27"/>
                      <a:pt x="25" y="29"/>
                    </a:cubicBezTo>
                    <a:cubicBezTo>
                      <a:pt x="26" y="29"/>
                      <a:pt x="26" y="29"/>
                      <a:pt x="26" y="29"/>
                    </a:cubicBezTo>
                    <a:cubicBezTo>
                      <a:pt x="27" y="29"/>
                      <a:pt x="28" y="28"/>
                      <a:pt x="29" y="28"/>
                    </a:cubicBezTo>
                    <a:cubicBezTo>
                      <a:pt x="29" y="28"/>
                      <a:pt x="30" y="28"/>
                      <a:pt x="31" y="28"/>
                    </a:cubicBezTo>
                    <a:cubicBezTo>
                      <a:pt x="31" y="28"/>
                      <a:pt x="31" y="28"/>
                      <a:pt x="31" y="28"/>
                    </a:cubicBezTo>
                    <a:cubicBezTo>
                      <a:pt x="31" y="28"/>
                      <a:pt x="29" y="30"/>
                      <a:pt x="28" y="30"/>
                    </a:cubicBezTo>
                    <a:cubicBezTo>
                      <a:pt x="25" y="31"/>
                      <a:pt x="25" y="31"/>
                      <a:pt x="25" y="31"/>
                    </a:cubicBezTo>
                    <a:cubicBezTo>
                      <a:pt x="23" y="33"/>
                      <a:pt x="25" y="34"/>
                      <a:pt x="25" y="37"/>
                    </a:cubicBezTo>
                    <a:cubicBezTo>
                      <a:pt x="24" y="36"/>
                      <a:pt x="23" y="36"/>
                      <a:pt x="23" y="36"/>
                    </a:cubicBezTo>
                    <a:cubicBezTo>
                      <a:pt x="25" y="39"/>
                      <a:pt x="23" y="39"/>
                      <a:pt x="21" y="39"/>
                    </a:cubicBezTo>
                    <a:cubicBezTo>
                      <a:pt x="20" y="39"/>
                      <a:pt x="20" y="39"/>
                      <a:pt x="19" y="39"/>
                    </a:cubicBezTo>
                    <a:cubicBezTo>
                      <a:pt x="19" y="40"/>
                      <a:pt x="20" y="41"/>
                      <a:pt x="20" y="41"/>
                    </a:cubicBezTo>
                    <a:cubicBezTo>
                      <a:pt x="20" y="41"/>
                      <a:pt x="20" y="41"/>
                      <a:pt x="19" y="41"/>
                    </a:cubicBezTo>
                    <a:cubicBezTo>
                      <a:pt x="19" y="41"/>
                      <a:pt x="20" y="43"/>
                      <a:pt x="20" y="44"/>
                    </a:cubicBezTo>
                    <a:cubicBezTo>
                      <a:pt x="20" y="43"/>
                      <a:pt x="19" y="43"/>
                      <a:pt x="19" y="43"/>
                    </a:cubicBezTo>
                    <a:cubicBezTo>
                      <a:pt x="18" y="43"/>
                      <a:pt x="19" y="45"/>
                      <a:pt x="19" y="46"/>
                    </a:cubicBezTo>
                    <a:cubicBezTo>
                      <a:pt x="18" y="47"/>
                      <a:pt x="18" y="47"/>
                      <a:pt x="18" y="47"/>
                    </a:cubicBezTo>
                    <a:cubicBezTo>
                      <a:pt x="17" y="47"/>
                      <a:pt x="16" y="46"/>
                      <a:pt x="15" y="46"/>
                    </a:cubicBezTo>
                    <a:cubicBezTo>
                      <a:pt x="13" y="46"/>
                      <a:pt x="12" y="46"/>
                      <a:pt x="9" y="44"/>
                    </a:cubicBezTo>
                    <a:cubicBezTo>
                      <a:pt x="9" y="44"/>
                      <a:pt x="9" y="44"/>
                      <a:pt x="8" y="44"/>
                    </a:cubicBezTo>
                    <a:cubicBezTo>
                      <a:pt x="7" y="44"/>
                      <a:pt x="5" y="45"/>
                      <a:pt x="4" y="46"/>
                    </a:cubicBezTo>
                    <a:cubicBezTo>
                      <a:pt x="2" y="48"/>
                      <a:pt x="0" y="52"/>
                      <a:pt x="0" y="55"/>
                    </a:cubicBezTo>
                    <a:cubicBezTo>
                      <a:pt x="0" y="58"/>
                      <a:pt x="4" y="62"/>
                      <a:pt x="2" y="64"/>
                    </a:cubicBezTo>
                    <a:cubicBezTo>
                      <a:pt x="4" y="64"/>
                      <a:pt x="5" y="65"/>
                      <a:pt x="7" y="65"/>
                    </a:cubicBezTo>
                    <a:cubicBezTo>
                      <a:pt x="9" y="65"/>
                      <a:pt x="12" y="64"/>
                      <a:pt x="15" y="64"/>
                    </a:cubicBezTo>
                    <a:cubicBezTo>
                      <a:pt x="15" y="64"/>
                      <a:pt x="15" y="64"/>
                      <a:pt x="15" y="64"/>
                    </a:cubicBezTo>
                    <a:cubicBezTo>
                      <a:pt x="16" y="64"/>
                      <a:pt x="16" y="64"/>
                      <a:pt x="17" y="64"/>
                    </a:cubicBezTo>
                    <a:cubicBezTo>
                      <a:pt x="18" y="64"/>
                      <a:pt x="18" y="64"/>
                      <a:pt x="19" y="64"/>
                    </a:cubicBezTo>
                    <a:cubicBezTo>
                      <a:pt x="20" y="64"/>
                      <a:pt x="21" y="64"/>
                      <a:pt x="21" y="62"/>
                    </a:cubicBezTo>
                    <a:cubicBezTo>
                      <a:pt x="23" y="64"/>
                      <a:pt x="22" y="67"/>
                      <a:pt x="23" y="68"/>
                    </a:cubicBezTo>
                    <a:cubicBezTo>
                      <a:pt x="24" y="68"/>
                      <a:pt x="27" y="70"/>
                      <a:pt x="28" y="70"/>
                    </a:cubicBezTo>
                    <a:cubicBezTo>
                      <a:pt x="28" y="70"/>
                      <a:pt x="28" y="70"/>
                      <a:pt x="28" y="70"/>
                    </a:cubicBezTo>
                    <a:cubicBezTo>
                      <a:pt x="30" y="70"/>
                      <a:pt x="30" y="67"/>
                      <a:pt x="32" y="67"/>
                    </a:cubicBezTo>
                    <a:cubicBezTo>
                      <a:pt x="32" y="67"/>
                      <a:pt x="32" y="67"/>
                      <a:pt x="32" y="67"/>
                    </a:cubicBezTo>
                    <a:cubicBezTo>
                      <a:pt x="33" y="67"/>
                      <a:pt x="33" y="67"/>
                      <a:pt x="33" y="67"/>
                    </a:cubicBezTo>
                    <a:cubicBezTo>
                      <a:pt x="34" y="67"/>
                      <a:pt x="35" y="66"/>
                      <a:pt x="37" y="65"/>
                    </a:cubicBezTo>
                    <a:cubicBezTo>
                      <a:pt x="37" y="67"/>
                      <a:pt x="35" y="68"/>
                      <a:pt x="36" y="69"/>
                    </a:cubicBezTo>
                    <a:cubicBezTo>
                      <a:pt x="36" y="70"/>
                      <a:pt x="37" y="72"/>
                      <a:pt x="37" y="72"/>
                    </a:cubicBezTo>
                    <a:cubicBezTo>
                      <a:pt x="38" y="73"/>
                      <a:pt x="38" y="73"/>
                      <a:pt x="39" y="73"/>
                    </a:cubicBezTo>
                    <a:cubicBezTo>
                      <a:pt x="40" y="73"/>
                      <a:pt x="40" y="72"/>
                      <a:pt x="42" y="71"/>
                    </a:cubicBezTo>
                    <a:cubicBezTo>
                      <a:pt x="42" y="70"/>
                      <a:pt x="44" y="70"/>
                      <a:pt x="45" y="70"/>
                    </a:cubicBezTo>
                    <a:cubicBezTo>
                      <a:pt x="43" y="70"/>
                      <a:pt x="43" y="72"/>
                      <a:pt x="42" y="73"/>
                    </a:cubicBezTo>
                    <a:cubicBezTo>
                      <a:pt x="42" y="73"/>
                      <a:pt x="39" y="75"/>
                      <a:pt x="39" y="75"/>
                    </a:cubicBezTo>
                    <a:cubicBezTo>
                      <a:pt x="39" y="77"/>
                      <a:pt x="49" y="80"/>
                      <a:pt x="50" y="81"/>
                    </a:cubicBezTo>
                    <a:cubicBezTo>
                      <a:pt x="49" y="81"/>
                      <a:pt x="48" y="81"/>
                      <a:pt x="46" y="80"/>
                    </a:cubicBezTo>
                    <a:cubicBezTo>
                      <a:pt x="47" y="81"/>
                      <a:pt x="48" y="82"/>
                      <a:pt x="48" y="82"/>
                    </a:cubicBezTo>
                    <a:cubicBezTo>
                      <a:pt x="46" y="82"/>
                      <a:pt x="44" y="82"/>
                      <a:pt x="43" y="82"/>
                    </a:cubicBezTo>
                    <a:cubicBezTo>
                      <a:pt x="43" y="82"/>
                      <a:pt x="43" y="82"/>
                      <a:pt x="43" y="82"/>
                    </a:cubicBezTo>
                    <a:cubicBezTo>
                      <a:pt x="43" y="82"/>
                      <a:pt x="42" y="82"/>
                      <a:pt x="42" y="82"/>
                    </a:cubicBezTo>
                    <a:cubicBezTo>
                      <a:pt x="42" y="82"/>
                      <a:pt x="42" y="82"/>
                      <a:pt x="41" y="82"/>
                    </a:cubicBezTo>
                    <a:cubicBezTo>
                      <a:pt x="41" y="82"/>
                      <a:pt x="41" y="82"/>
                      <a:pt x="41" y="82"/>
                    </a:cubicBezTo>
                    <a:cubicBezTo>
                      <a:pt x="40" y="82"/>
                      <a:pt x="40" y="82"/>
                      <a:pt x="41" y="83"/>
                    </a:cubicBezTo>
                    <a:cubicBezTo>
                      <a:pt x="42" y="84"/>
                      <a:pt x="44" y="84"/>
                      <a:pt x="44" y="86"/>
                    </a:cubicBezTo>
                    <a:cubicBezTo>
                      <a:pt x="45" y="88"/>
                      <a:pt x="42" y="88"/>
                      <a:pt x="44" y="90"/>
                    </a:cubicBezTo>
                    <a:cubicBezTo>
                      <a:pt x="44" y="90"/>
                      <a:pt x="43" y="90"/>
                      <a:pt x="43" y="90"/>
                    </a:cubicBezTo>
                    <a:cubicBezTo>
                      <a:pt x="42" y="90"/>
                      <a:pt x="41" y="90"/>
                      <a:pt x="40" y="89"/>
                    </a:cubicBezTo>
                    <a:cubicBezTo>
                      <a:pt x="39" y="89"/>
                      <a:pt x="38" y="89"/>
                      <a:pt x="37" y="89"/>
                    </a:cubicBezTo>
                    <a:cubicBezTo>
                      <a:pt x="37" y="89"/>
                      <a:pt x="37" y="89"/>
                      <a:pt x="36" y="89"/>
                    </a:cubicBezTo>
                    <a:cubicBezTo>
                      <a:pt x="38" y="89"/>
                      <a:pt x="38" y="90"/>
                      <a:pt x="39" y="91"/>
                    </a:cubicBezTo>
                    <a:cubicBezTo>
                      <a:pt x="42" y="92"/>
                      <a:pt x="44" y="92"/>
                      <a:pt x="47" y="92"/>
                    </a:cubicBezTo>
                    <a:cubicBezTo>
                      <a:pt x="52" y="94"/>
                      <a:pt x="58" y="94"/>
                      <a:pt x="62" y="96"/>
                    </a:cubicBezTo>
                    <a:cubicBezTo>
                      <a:pt x="62" y="95"/>
                      <a:pt x="59" y="94"/>
                      <a:pt x="59" y="92"/>
                    </a:cubicBezTo>
                    <a:cubicBezTo>
                      <a:pt x="59" y="92"/>
                      <a:pt x="59" y="91"/>
                      <a:pt x="59" y="91"/>
                    </a:cubicBezTo>
                    <a:cubicBezTo>
                      <a:pt x="62" y="93"/>
                      <a:pt x="63" y="95"/>
                      <a:pt x="66" y="96"/>
                    </a:cubicBezTo>
                    <a:cubicBezTo>
                      <a:pt x="67" y="97"/>
                      <a:pt x="68" y="98"/>
                      <a:pt x="70" y="99"/>
                    </a:cubicBezTo>
                    <a:cubicBezTo>
                      <a:pt x="70" y="99"/>
                      <a:pt x="71" y="99"/>
                      <a:pt x="71" y="99"/>
                    </a:cubicBezTo>
                    <a:cubicBezTo>
                      <a:pt x="72" y="99"/>
                      <a:pt x="71" y="98"/>
                      <a:pt x="73" y="97"/>
                    </a:cubicBezTo>
                    <a:cubicBezTo>
                      <a:pt x="73" y="96"/>
                      <a:pt x="75" y="95"/>
                      <a:pt x="75" y="94"/>
                    </a:cubicBezTo>
                    <a:cubicBezTo>
                      <a:pt x="76" y="94"/>
                      <a:pt x="76" y="94"/>
                      <a:pt x="77" y="94"/>
                    </a:cubicBezTo>
                    <a:cubicBezTo>
                      <a:pt x="77" y="94"/>
                      <a:pt x="77" y="94"/>
                      <a:pt x="78" y="94"/>
                    </a:cubicBezTo>
                    <a:cubicBezTo>
                      <a:pt x="80" y="94"/>
                      <a:pt x="82" y="96"/>
                      <a:pt x="84" y="97"/>
                    </a:cubicBezTo>
                    <a:cubicBezTo>
                      <a:pt x="83" y="97"/>
                      <a:pt x="82" y="97"/>
                      <a:pt x="82" y="98"/>
                    </a:cubicBezTo>
                    <a:cubicBezTo>
                      <a:pt x="83" y="98"/>
                      <a:pt x="86" y="99"/>
                      <a:pt x="87" y="99"/>
                    </a:cubicBezTo>
                    <a:cubicBezTo>
                      <a:pt x="87" y="98"/>
                      <a:pt x="85" y="97"/>
                      <a:pt x="84" y="95"/>
                    </a:cubicBezTo>
                    <a:cubicBezTo>
                      <a:pt x="86" y="96"/>
                      <a:pt x="88" y="98"/>
                      <a:pt x="90" y="98"/>
                    </a:cubicBezTo>
                    <a:cubicBezTo>
                      <a:pt x="92" y="99"/>
                      <a:pt x="95" y="99"/>
                      <a:pt x="97" y="99"/>
                    </a:cubicBezTo>
                    <a:cubicBezTo>
                      <a:pt x="97" y="96"/>
                      <a:pt x="96" y="95"/>
                      <a:pt x="94" y="95"/>
                    </a:cubicBezTo>
                    <a:cubicBezTo>
                      <a:pt x="94" y="95"/>
                      <a:pt x="93" y="95"/>
                      <a:pt x="93" y="96"/>
                    </a:cubicBezTo>
                    <a:cubicBezTo>
                      <a:pt x="92" y="95"/>
                      <a:pt x="91" y="94"/>
                      <a:pt x="92" y="94"/>
                    </a:cubicBezTo>
                    <a:cubicBezTo>
                      <a:pt x="98" y="95"/>
                      <a:pt x="105" y="99"/>
                      <a:pt x="112" y="99"/>
                    </a:cubicBezTo>
                    <a:cubicBezTo>
                      <a:pt x="109" y="97"/>
                      <a:pt x="109" y="97"/>
                      <a:pt x="107" y="97"/>
                    </a:cubicBezTo>
                    <a:cubicBezTo>
                      <a:pt x="104" y="97"/>
                      <a:pt x="104" y="96"/>
                      <a:pt x="102" y="95"/>
                    </a:cubicBezTo>
                    <a:cubicBezTo>
                      <a:pt x="105" y="95"/>
                      <a:pt x="109" y="97"/>
                      <a:pt x="112" y="97"/>
                    </a:cubicBezTo>
                    <a:cubicBezTo>
                      <a:pt x="112" y="98"/>
                      <a:pt x="113" y="98"/>
                      <a:pt x="113" y="98"/>
                    </a:cubicBezTo>
                    <a:cubicBezTo>
                      <a:pt x="114" y="98"/>
                      <a:pt x="114" y="96"/>
                      <a:pt x="115" y="95"/>
                    </a:cubicBezTo>
                    <a:cubicBezTo>
                      <a:pt x="115" y="94"/>
                      <a:pt x="116" y="94"/>
                      <a:pt x="117" y="94"/>
                    </a:cubicBezTo>
                    <a:cubicBezTo>
                      <a:pt x="117" y="94"/>
                      <a:pt x="118" y="94"/>
                      <a:pt x="119" y="94"/>
                    </a:cubicBezTo>
                    <a:cubicBezTo>
                      <a:pt x="116" y="92"/>
                      <a:pt x="115" y="91"/>
                      <a:pt x="112" y="91"/>
                    </a:cubicBezTo>
                    <a:cubicBezTo>
                      <a:pt x="105" y="89"/>
                      <a:pt x="99" y="83"/>
                      <a:pt x="93" y="79"/>
                    </a:cubicBezTo>
                    <a:cubicBezTo>
                      <a:pt x="89" y="75"/>
                      <a:pt x="87" y="70"/>
                      <a:pt x="84" y="66"/>
                    </a:cubicBezTo>
                    <a:cubicBezTo>
                      <a:pt x="82" y="63"/>
                      <a:pt x="80" y="61"/>
                      <a:pt x="79" y="58"/>
                    </a:cubicBezTo>
                    <a:cubicBezTo>
                      <a:pt x="78" y="55"/>
                      <a:pt x="77" y="52"/>
                      <a:pt x="73" y="52"/>
                    </a:cubicBezTo>
                    <a:cubicBezTo>
                      <a:pt x="75" y="51"/>
                      <a:pt x="76" y="51"/>
                      <a:pt x="76" y="49"/>
                    </a:cubicBezTo>
                    <a:cubicBezTo>
                      <a:pt x="76" y="48"/>
                      <a:pt x="76" y="46"/>
                      <a:pt x="76" y="46"/>
                    </a:cubicBezTo>
                    <a:cubicBezTo>
                      <a:pt x="77" y="43"/>
                      <a:pt x="80" y="44"/>
                      <a:pt x="78" y="40"/>
                    </a:cubicBezTo>
                    <a:cubicBezTo>
                      <a:pt x="77" y="39"/>
                      <a:pt x="75" y="39"/>
                      <a:pt x="76" y="37"/>
                    </a:cubicBezTo>
                    <a:cubicBezTo>
                      <a:pt x="78" y="36"/>
                      <a:pt x="77" y="35"/>
                      <a:pt x="76" y="34"/>
                    </a:cubicBezTo>
                    <a:cubicBezTo>
                      <a:pt x="74" y="33"/>
                      <a:pt x="73" y="33"/>
                      <a:pt x="71" y="33"/>
                    </a:cubicBezTo>
                    <a:cubicBezTo>
                      <a:pt x="73" y="32"/>
                      <a:pt x="76" y="32"/>
                      <a:pt x="78" y="32"/>
                    </a:cubicBezTo>
                    <a:cubicBezTo>
                      <a:pt x="80" y="32"/>
                      <a:pt x="78" y="30"/>
                      <a:pt x="77" y="29"/>
                    </a:cubicBezTo>
                    <a:cubicBezTo>
                      <a:pt x="76" y="29"/>
                      <a:pt x="75" y="28"/>
                      <a:pt x="74" y="28"/>
                    </a:cubicBezTo>
                    <a:cubicBezTo>
                      <a:pt x="74" y="28"/>
                      <a:pt x="74" y="28"/>
                      <a:pt x="75" y="28"/>
                    </a:cubicBezTo>
                    <a:cubicBezTo>
                      <a:pt x="75" y="28"/>
                      <a:pt x="76" y="29"/>
                      <a:pt x="77" y="29"/>
                    </a:cubicBezTo>
                    <a:cubicBezTo>
                      <a:pt x="78" y="29"/>
                      <a:pt x="79" y="30"/>
                      <a:pt x="80" y="30"/>
                    </a:cubicBezTo>
                    <a:cubicBezTo>
                      <a:pt x="80" y="30"/>
                      <a:pt x="81" y="29"/>
                      <a:pt x="81" y="29"/>
                    </a:cubicBezTo>
                    <a:cubicBezTo>
                      <a:pt x="83" y="27"/>
                      <a:pt x="82" y="25"/>
                      <a:pt x="85" y="25"/>
                    </a:cubicBezTo>
                    <a:cubicBezTo>
                      <a:pt x="85" y="25"/>
                      <a:pt x="86" y="25"/>
                      <a:pt x="86" y="25"/>
                    </a:cubicBezTo>
                    <a:cubicBezTo>
                      <a:pt x="84" y="23"/>
                      <a:pt x="81" y="21"/>
                      <a:pt x="77" y="21"/>
                    </a:cubicBezTo>
                    <a:cubicBezTo>
                      <a:pt x="77" y="21"/>
                      <a:pt x="77" y="21"/>
                      <a:pt x="77" y="21"/>
                    </a:cubicBezTo>
                    <a:cubicBezTo>
                      <a:pt x="78" y="21"/>
                      <a:pt x="78" y="20"/>
                      <a:pt x="79" y="20"/>
                    </a:cubicBezTo>
                    <a:cubicBezTo>
                      <a:pt x="80" y="20"/>
                      <a:pt x="81" y="21"/>
                      <a:pt x="81" y="21"/>
                    </a:cubicBezTo>
                    <a:cubicBezTo>
                      <a:pt x="82" y="21"/>
                      <a:pt x="82" y="21"/>
                      <a:pt x="82" y="21"/>
                    </a:cubicBezTo>
                    <a:cubicBezTo>
                      <a:pt x="83" y="21"/>
                      <a:pt x="83" y="21"/>
                      <a:pt x="84" y="21"/>
                    </a:cubicBezTo>
                    <a:cubicBezTo>
                      <a:pt x="84" y="21"/>
                      <a:pt x="84" y="21"/>
                      <a:pt x="85" y="21"/>
                    </a:cubicBezTo>
                    <a:cubicBezTo>
                      <a:pt x="85" y="21"/>
                      <a:pt x="86" y="21"/>
                      <a:pt x="87" y="21"/>
                    </a:cubicBezTo>
                    <a:cubicBezTo>
                      <a:pt x="87" y="21"/>
                      <a:pt x="88" y="21"/>
                      <a:pt x="89" y="21"/>
                    </a:cubicBezTo>
                    <a:cubicBezTo>
                      <a:pt x="89" y="21"/>
                      <a:pt x="90" y="21"/>
                      <a:pt x="91" y="21"/>
                    </a:cubicBezTo>
                    <a:cubicBezTo>
                      <a:pt x="92" y="20"/>
                      <a:pt x="93" y="17"/>
                      <a:pt x="92" y="16"/>
                    </a:cubicBezTo>
                    <a:cubicBezTo>
                      <a:pt x="92" y="15"/>
                      <a:pt x="91" y="15"/>
                      <a:pt x="91" y="15"/>
                    </a:cubicBezTo>
                    <a:cubicBezTo>
                      <a:pt x="90" y="15"/>
                      <a:pt x="89" y="15"/>
                      <a:pt x="89" y="15"/>
                    </a:cubicBezTo>
                    <a:cubicBezTo>
                      <a:pt x="88" y="15"/>
                      <a:pt x="88" y="15"/>
                      <a:pt x="87" y="15"/>
                    </a:cubicBezTo>
                    <a:cubicBezTo>
                      <a:pt x="87" y="15"/>
                      <a:pt x="87" y="15"/>
                      <a:pt x="87" y="15"/>
                    </a:cubicBezTo>
                    <a:cubicBezTo>
                      <a:pt x="85" y="15"/>
                      <a:pt x="82" y="15"/>
                      <a:pt x="81" y="15"/>
                    </a:cubicBezTo>
                    <a:cubicBezTo>
                      <a:pt x="83" y="14"/>
                      <a:pt x="87" y="13"/>
                      <a:pt x="89" y="13"/>
                    </a:cubicBezTo>
                    <a:cubicBezTo>
                      <a:pt x="90" y="13"/>
                      <a:pt x="90" y="13"/>
                      <a:pt x="90" y="13"/>
                    </a:cubicBezTo>
                    <a:cubicBezTo>
                      <a:pt x="91" y="13"/>
                      <a:pt x="91" y="13"/>
                      <a:pt x="92" y="13"/>
                    </a:cubicBezTo>
                    <a:cubicBezTo>
                      <a:pt x="92" y="13"/>
                      <a:pt x="92" y="13"/>
                      <a:pt x="93" y="13"/>
                    </a:cubicBezTo>
                    <a:cubicBezTo>
                      <a:pt x="94" y="13"/>
                      <a:pt x="95" y="13"/>
                      <a:pt x="96" y="12"/>
                    </a:cubicBezTo>
                    <a:cubicBezTo>
                      <a:pt x="94" y="11"/>
                      <a:pt x="91" y="11"/>
                      <a:pt x="89" y="11"/>
                    </a:cubicBezTo>
                    <a:cubicBezTo>
                      <a:pt x="88" y="11"/>
                      <a:pt x="88" y="11"/>
                      <a:pt x="87" y="11"/>
                    </a:cubicBezTo>
                    <a:cubicBezTo>
                      <a:pt x="86" y="11"/>
                      <a:pt x="86" y="11"/>
                      <a:pt x="85" y="11"/>
                    </a:cubicBezTo>
                    <a:cubicBezTo>
                      <a:pt x="85" y="11"/>
                      <a:pt x="85" y="11"/>
                      <a:pt x="85" y="11"/>
                    </a:cubicBezTo>
                    <a:cubicBezTo>
                      <a:pt x="88" y="10"/>
                      <a:pt x="97" y="10"/>
                      <a:pt x="99" y="8"/>
                    </a:cubicBezTo>
                    <a:cubicBezTo>
                      <a:pt x="91" y="6"/>
                      <a:pt x="84" y="4"/>
                      <a:pt x="77" y="1"/>
                    </a:cubicBezTo>
                    <a:cubicBezTo>
                      <a:pt x="71" y="0"/>
                      <a:pt x="65" y="0"/>
                      <a:pt x="59" y="0"/>
                    </a:cubicBezTo>
                    <a:cubicBezTo>
                      <a:pt x="59"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276"/>
              <p:cNvSpPr/>
              <p:nvPr/>
            </p:nvSpPr>
            <p:spPr bwMode="auto">
              <a:xfrm>
                <a:off x="6345" y="-918"/>
                <a:ext cx="26" cy="7"/>
              </a:xfrm>
              <a:custGeom>
                <a:gdLst>
                  <a:gd name="T0" fmla="*/ 7 w 11"/>
                  <a:gd name="T1" fmla="*/ 0 h 3"/>
                  <a:gd name="T2" fmla="*/ 0 w 11"/>
                  <a:gd name="T3" fmla="*/ 2 h 3"/>
                  <a:gd name="T4" fmla="*/ 7 w 11"/>
                  <a:gd name="T5" fmla="*/ 3 h 3"/>
                  <a:gd name="T6" fmla="*/ 11 w 11"/>
                  <a:gd name="T7" fmla="*/ 3 h 3"/>
                  <a:gd name="T8" fmla="*/ 7 w 11"/>
                  <a:gd name="T9" fmla="*/ 0 h 3"/>
                </a:gdLst>
                <a:cxnLst>
                  <a:cxn ang="0">
                    <a:pos x="T0" y="T1"/>
                  </a:cxn>
                  <a:cxn ang="0">
                    <a:pos x="T2" y="T3"/>
                  </a:cxn>
                  <a:cxn ang="0">
                    <a:pos x="T4" y="T5"/>
                  </a:cxn>
                  <a:cxn ang="0">
                    <a:pos x="T6" y="T7"/>
                  </a:cxn>
                  <a:cxn ang="0">
                    <a:pos x="T8" y="T9"/>
                  </a:cxn>
                </a:cxnLst>
                <a:rect l="0" t="0" r="r" b="b"/>
                <a:pathLst>
                  <a:path w="11" h="3">
                    <a:moveTo>
                      <a:pt x="7" y="0"/>
                    </a:moveTo>
                    <a:cubicBezTo>
                      <a:pt x="5" y="1"/>
                      <a:pt x="2" y="1"/>
                      <a:pt x="0" y="2"/>
                    </a:cubicBezTo>
                    <a:cubicBezTo>
                      <a:pt x="2" y="3"/>
                      <a:pt x="5" y="3"/>
                      <a:pt x="7" y="3"/>
                    </a:cubicBezTo>
                    <a:cubicBezTo>
                      <a:pt x="8" y="3"/>
                      <a:pt x="10" y="3"/>
                      <a:pt x="11" y="3"/>
                    </a:cubicBezTo>
                    <a:cubicBezTo>
                      <a:pt x="10" y="0"/>
                      <a:pt x="10"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277"/>
              <p:cNvSpPr/>
              <p:nvPr/>
            </p:nvSpPr>
            <p:spPr bwMode="auto">
              <a:xfrm>
                <a:off x="9445" y="916"/>
                <a:ext cx="12" cy="10"/>
              </a:xfrm>
              <a:custGeom>
                <a:gdLst>
                  <a:gd name="T0" fmla="*/ 4 w 5"/>
                  <a:gd name="T1" fmla="*/ 0 h 4"/>
                  <a:gd name="T2" fmla="*/ 0 w 5"/>
                  <a:gd name="T3" fmla="*/ 4 h 4"/>
                  <a:gd name="T4" fmla="*/ 5 w 5"/>
                  <a:gd name="T5" fmla="*/ 0 h 4"/>
                  <a:gd name="T6" fmla="*/ 4 w 5"/>
                  <a:gd name="T7" fmla="*/ 0 h 4"/>
                </a:gdLst>
                <a:cxnLst>
                  <a:cxn ang="0">
                    <a:pos x="T0" y="T1"/>
                  </a:cxn>
                  <a:cxn ang="0">
                    <a:pos x="T2" y="T3"/>
                  </a:cxn>
                  <a:cxn ang="0">
                    <a:pos x="T4" y="T5"/>
                  </a:cxn>
                  <a:cxn ang="0">
                    <a:pos x="T6" y="T7"/>
                  </a:cxn>
                </a:cxnLst>
                <a:rect l="0" t="0" r="r" b="b"/>
                <a:pathLst>
                  <a:path w="5" h="4">
                    <a:moveTo>
                      <a:pt x="4" y="0"/>
                    </a:moveTo>
                    <a:cubicBezTo>
                      <a:pt x="3" y="0"/>
                      <a:pt x="1" y="3"/>
                      <a:pt x="0" y="4"/>
                    </a:cubicBezTo>
                    <a:cubicBezTo>
                      <a:pt x="2" y="3"/>
                      <a:pt x="4" y="1"/>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278"/>
              <p:cNvSpPr/>
              <p:nvPr/>
            </p:nvSpPr>
            <p:spPr bwMode="auto">
              <a:xfrm>
                <a:off x="5147" y="-547"/>
                <a:ext cx="89" cy="64"/>
              </a:xfrm>
              <a:custGeom>
                <a:gdLst>
                  <a:gd name="T0" fmla="*/ 10 w 38"/>
                  <a:gd name="T1" fmla="*/ 0 h 27"/>
                  <a:gd name="T2" fmla="*/ 6 w 38"/>
                  <a:gd name="T3" fmla="*/ 1 h 27"/>
                  <a:gd name="T4" fmla="*/ 5 w 38"/>
                  <a:gd name="T5" fmla="*/ 1 h 27"/>
                  <a:gd name="T6" fmla="*/ 5 w 38"/>
                  <a:gd name="T7" fmla="*/ 2 h 27"/>
                  <a:gd name="T8" fmla="*/ 0 w 38"/>
                  <a:gd name="T9" fmla="*/ 4 h 27"/>
                  <a:gd name="T10" fmla="*/ 6 w 38"/>
                  <a:gd name="T11" fmla="*/ 8 h 27"/>
                  <a:gd name="T12" fmla="*/ 3 w 38"/>
                  <a:gd name="T13" fmla="*/ 7 h 27"/>
                  <a:gd name="T14" fmla="*/ 3 w 38"/>
                  <a:gd name="T15" fmla="*/ 7 h 27"/>
                  <a:gd name="T16" fmla="*/ 1 w 38"/>
                  <a:gd name="T17" fmla="*/ 12 h 27"/>
                  <a:gd name="T18" fmla="*/ 11 w 38"/>
                  <a:gd name="T19" fmla="*/ 21 h 27"/>
                  <a:gd name="T20" fmla="*/ 9 w 38"/>
                  <a:gd name="T21" fmla="*/ 18 h 27"/>
                  <a:gd name="T22" fmla="*/ 16 w 38"/>
                  <a:gd name="T23" fmla="*/ 20 h 27"/>
                  <a:gd name="T24" fmla="*/ 21 w 38"/>
                  <a:gd name="T25" fmla="*/ 24 h 27"/>
                  <a:gd name="T26" fmla="*/ 23 w 38"/>
                  <a:gd name="T27" fmla="*/ 26 h 27"/>
                  <a:gd name="T28" fmla="*/ 25 w 38"/>
                  <a:gd name="T29" fmla="*/ 26 h 27"/>
                  <a:gd name="T30" fmla="*/ 27 w 38"/>
                  <a:gd name="T31" fmla="*/ 27 h 27"/>
                  <a:gd name="T32" fmla="*/ 27 w 38"/>
                  <a:gd name="T33" fmla="*/ 27 h 27"/>
                  <a:gd name="T34" fmla="*/ 28 w 38"/>
                  <a:gd name="T35" fmla="*/ 26 h 27"/>
                  <a:gd name="T36" fmla="*/ 30 w 38"/>
                  <a:gd name="T37" fmla="*/ 26 h 27"/>
                  <a:gd name="T38" fmla="*/ 30 w 38"/>
                  <a:gd name="T39" fmla="*/ 26 h 27"/>
                  <a:gd name="T40" fmla="*/ 33 w 38"/>
                  <a:gd name="T41" fmla="*/ 26 h 27"/>
                  <a:gd name="T42" fmla="*/ 34 w 38"/>
                  <a:gd name="T43" fmla="*/ 26 h 27"/>
                  <a:gd name="T44" fmla="*/ 37 w 38"/>
                  <a:gd name="T45" fmla="*/ 20 h 27"/>
                  <a:gd name="T46" fmla="*/ 35 w 38"/>
                  <a:gd name="T47" fmla="*/ 17 h 27"/>
                  <a:gd name="T48" fmla="*/ 12 w 38"/>
                  <a:gd name="T49" fmla="*/ 1 h 27"/>
                  <a:gd name="T50" fmla="*/ 10 w 38"/>
                  <a:gd name="T51"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27">
                    <a:moveTo>
                      <a:pt x="10" y="0"/>
                    </a:moveTo>
                    <a:cubicBezTo>
                      <a:pt x="9" y="0"/>
                      <a:pt x="8" y="0"/>
                      <a:pt x="6" y="1"/>
                    </a:cubicBezTo>
                    <a:cubicBezTo>
                      <a:pt x="6" y="1"/>
                      <a:pt x="6" y="1"/>
                      <a:pt x="5" y="1"/>
                    </a:cubicBezTo>
                    <a:cubicBezTo>
                      <a:pt x="4" y="1"/>
                      <a:pt x="5" y="2"/>
                      <a:pt x="5" y="2"/>
                    </a:cubicBezTo>
                    <a:cubicBezTo>
                      <a:pt x="4" y="3"/>
                      <a:pt x="2" y="4"/>
                      <a:pt x="0" y="4"/>
                    </a:cubicBezTo>
                    <a:cubicBezTo>
                      <a:pt x="2" y="5"/>
                      <a:pt x="4" y="6"/>
                      <a:pt x="6" y="8"/>
                    </a:cubicBezTo>
                    <a:cubicBezTo>
                      <a:pt x="5" y="8"/>
                      <a:pt x="3" y="7"/>
                      <a:pt x="3" y="7"/>
                    </a:cubicBezTo>
                    <a:cubicBezTo>
                      <a:pt x="3" y="7"/>
                      <a:pt x="3" y="7"/>
                      <a:pt x="3" y="7"/>
                    </a:cubicBezTo>
                    <a:cubicBezTo>
                      <a:pt x="0" y="7"/>
                      <a:pt x="0" y="9"/>
                      <a:pt x="1" y="12"/>
                    </a:cubicBezTo>
                    <a:cubicBezTo>
                      <a:pt x="2" y="16"/>
                      <a:pt x="8" y="19"/>
                      <a:pt x="11" y="21"/>
                    </a:cubicBezTo>
                    <a:cubicBezTo>
                      <a:pt x="11" y="19"/>
                      <a:pt x="9" y="19"/>
                      <a:pt x="9" y="18"/>
                    </a:cubicBezTo>
                    <a:cubicBezTo>
                      <a:pt x="11" y="18"/>
                      <a:pt x="14" y="19"/>
                      <a:pt x="16" y="20"/>
                    </a:cubicBezTo>
                    <a:cubicBezTo>
                      <a:pt x="17" y="20"/>
                      <a:pt x="22" y="21"/>
                      <a:pt x="21" y="24"/>
                    </a:cubicBezTo>
                    <a:cubicBezTo>
                      <a:pt x="21" y="25"/>
                      <a:pt x="21" y="25"/>
                      <a:pt x="23" y="26"/>
                    </a:cubicBezTo>
                    <a:cubicBezTo>
                      <a:pt x="23" y="26"/>
                      <a:pt x="24" y="26"/>
                      <a:pt x="25" y="26"/>
                    </a:cubicBezTo>
                    <a:cubicBezTo>
                      <a:pt x="26" y="26"/>
                      <a:pt x="26" y="27"/>
                      <a:pt x="27" y="27"/>
                    </a:cubicBezTo>
                    <a:cubicBezTo>
                      <a:pt x="27" y="27"/>
                      <a:pt x="27" y="27"/>
                      <a:pt x="27" y="27"/>
                    </a:cubicBezTo>
                    <a:cubicBezTo>
                      <a:pt x="28" y="27"/>
                      <a:pt x="27" y="26"/>
                      <a:pt x="28" y="26"/>
                    </a:cubicBezTo>
                    <a:cubicBezTo>
                      <a:pt x="29" y="26"/>
                      <a:pt x="29" y="26"/>
                      <a:pt x="30" y="26"/>
                    </a:cubicBezTo>
                    <a:cubicBezTo>
                      <a:pt x="30" y="26"/>
                      <a:pt x="30" y="26"/>
                      <a:pt x="30" y="26"/>
                    </a:cubicBezTo>
                    <a:cubicBezTo>
                      <a:pt x="32" y="26"/>
                      <a:pt x="32" y="26"/>
                      <a:pt x="33" y="26"/>
                    </a:cubicBezTo>
                    <a:cubicBezTo>
                      <a:pt x="33" y="26"/>
                      <a:pt x="34" y="26"/>
                      <a:pt x="34" y="26"/>
                    </a:cubicBezTo>
                    <a:cubicBezTo>
                      <a:pt x="38" y="26"/>
                      <a:pt x="37" y="24"/>
                      <a:pt x="37" y="20"/>
                    </a:cubicBezTo>
                    <a:cubicBezTo>
                      <a:pt x="37" y="18"/>
                      <a:pt x="37" y="18"/>
                      <a:pt x="35" y="17"/>
                    </a:cubicBezTo>
                    <a:cubicBezTo>
                      <a:pt x="27" y="12"/>
                      <a:pt x="20" y="6"/>
                      <a:pt x="12" y="1"/>
                    </a:cubicBezTo>
                    <a:cubicBezTo>
                      <a:pt x="11"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279"/>
              <p:cNvSpPr/>
              <p:nvPr/>
            </p:nvSpPr>
            <p:spPr bwMode="auto">
              <a:xfrm>
                <a:off x="5293" y="-1585"/>
                <a:ext cx="19" cy="7"/>
              </a:xfrm>
              <a:custGeom>
                <a:gdLst>
                  <a:gd name="T0" fmla="*/ 1 w 8"/>
                  <a:gd name="T1" fmla="*/ 0 h 3"/>
                  <a:gd name="T2" fmla="*/ 0 w 8"/>
                  <a:gd name="T3" fmla="*/ 1 h 3"/>
                  <a:gd name="T4" fmla="*/ 6 w 8"/>
                  <a:gd name="T5" fmla="*/ 3 h 3"/>
                  <a:gd name="T6" fmla="*/ 8 w 8"/>
                  <a:gd name="T7" fmla="*/ 2 h 3"/>
                  <a:gd name="T8" fmla="*/ 1 w 8"/>
                  <a:gd name="T9" fmla="*/ 0 h 3"/>
                </a:gdLst>
                <a:cxnLst>
                  <a:cxn ang="0">
                    <a:pos x="T0" y="T1"/>
                  </a:cxn>
                  <a:cxn ang="0">
                    <a:pos x="T2" y="T3"/>
                  </a:cxn>
                  <a:cxn ang="0">
                    <a:pos x="T4" y="T5"/>
                  </a:cxn>
                  <a:cxn ang="0">
                    <a:pos x="T6" y="T7"/>
                  </a:cxn>
                  <a:cxn ang="0">
                    <a:pos x="T8" y="T9"/>
                  </a:cxn>
                </a:cxnLst>
                <a:rect l="0" t="0" r="r" b="b"/>
                <a:pathLst>
                  <a:path w="8" h="3">
                    <a:moveTo>
                      <a:pt x="1" y="0"/>
                    </a:moveTo>
                    <a:cubicBezTo>
                      <a:pt x="0" y="1"/>
                      <a:pt x="0" y="1"/>
                      <a:pt x="0" y="1"/>
                    </a:cubicBezTo>
                    <a:cubicBezTo>
                      <a:pt x="2" y="2"/>
                      <a:pt x="4" y="3"/>
                      <a:pt x="6" y="3"/>
                    </a:cubicBezTo>
                    <a:cubicBezTo>
                      <a:pt x="6" y="3"/>
                      <a:pt x="7" y="3"/>
                      <a:pt x="8" y="2"/>
                    </a:cubicBezTo>
                    <a:cubicBezTo>
                      <a:pt x="6"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Freeform 280"/>
              <p:cNvSpPr/>
              <p:nvPr/>
            </p:nvSpPr>
            <p:spPr bwMode="auto">
              <a:xfrm>
                <a:off x="6560" y="-1545"/>
                <a:ext cx="75" cy="14"/>
              </a:xfrm>
              <a:custGeom>
                <a:gdLst>
                  <a:gd name="T0" fmla="*/ 18 w 32"/>
                  <a:gd name="T1" fmla="*/ 0 h 6"/>
                  <a:gd name="T2" fmla="*/ 18 w 32"/>
                  <a:gd name="T3" fmla="*/ 0 h 6"/>
                  <a:gd name="T4" fmla="*/ 7 w 32"/>
                  <a:gd name="T5" fmla="*/ 0 h 6"/>
                  <a:gd name="T6" fmla="*/ 2 w 32"/>
                  <a:gd name="T7" fmla="*/ 6 h 6"/>
                  <a:gd name="T8" fmla="*/ 32 w 32"/>
                  <a:gd name="T9" fmla="*/ 4 h 6"/>
                  <a:gd name="T10" fmla="*/ 27 w 32"/>
                  <a:gd name="T11" fmla="*/ 1 h 6"/>
                  <a:gd name="T12" fmla="*/ 18 w 32"/>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32" h="6">
                    <a:moveTo>
                      <a:pt x="18" y="0"/>
                    </a:moveTo>
                    <a:cubicBezTo>
                      <a:pt x="18" y="0"/>
                      <a:pt x="18" y="0"/>
                      <a:pt x="18" y="0"/>
                    </a:cubicBezTo>
                    <a:cubicBezTo>
                      <a:pt x="14" y="0"/>
                      <a:pt x="11" y="0"/>
                      <a:pt x="7" y="0"/>
                    </a:cubicBezTo>
                    <a:cubicBezTo>
                      <a:pt x="3" y="1"/>
                      <a:pt x="0" y="1"/>
                      <a:pt x="2" y="6"/>
                    </a:cubicBezTo>
                    <a:cubicBezTo>
                      <a:pt x="12" y="5"/>
                      <a:pt x="22" y="5"/>
                      <a:pt x="32" y="4"/>
                    </a:cubicBezTo>
                    <a:cubicBezTo>
                      <a:pt x="31" y="3"/>
                      <a:pt x="30" y="1"/>
                      <a:pt x="27" y="1"/>
                    </a:cubicBezTo>
                    <a:cubicBezTo>
                      <a:pt x="24" y="0"/>
                      <a:pt x="21"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281"/>
              <p:cNvSpPr/>
              <p:nvPr/>
            </p:nvSpPr>
            <p:spPr bwMode="auto">
              <a:xfrm>
                <a:off x="9058" y="1165"/>
                <a:ext cx="54" cy="47"/>
              </a:xfrm>
              <a:custGeom>
                <a:gdLst>
                  <a:gd name="T0" fmla="*/ 15 w 23"/>
                  <a:gd name="T1" fmla="*/ 0 h 20"/>
                  <a:gd name="T2" fmla="*/ 4 w 23"/>
                  <a:gd name="T3" fmla="*/ 13 h 20"/>
                  <a:gd name="T4" fmla="*/ 4 w 23"/>
                  <a:gd name="T5" fmla="*/ 20 h 20"/>
                  <a:gd name="T6" fmla="*/ 4 w 23"/>
                  <a:gd name="T7" fmla="*/ 19 h 20"/>
                  <a:gd name="T8" fmla="*/ 5 w 23"/>
                  <a:gd name="T9" fmla="*/ 15 h 20"/>
                  <a:gd name="T10" fmla="*/ 7 w 23"/>
                  <a:gd name="T11" fmla="*/ 14 h 20"/>
                  <a:gd name="T12" fmla="*/ 11 w 23"/>
                  <a:gd name="T13" fmla="*/ 10 h 20"/>
                  <a:gd name="T14" fmla="*/ 23 w 23"/>
                  <a:gd name="T15" fmla="*/ 2 h 20"/>
                  <a:gd name="T16" fmla="*/ 21 w 23"/>
                  <a:gd name="T17" fmla="*/ 2 h 20"/>
                  <a:gd name="T18" fmla="*/ 15 w 23"/>
                  <a:gd name="T19"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0">
                    <a:moveTo>
                      <a:pt x="15" y="0"/>
                    </a:moveTo>
                    <a:cubicBezTo>
                      <a:pt x="11" y="4"/>
                      <a:pt x="8" y="9"/>
                      <a:pt x="4" y="13"/>
                    </a:cubicBezTo>
                    <a:cubicBezTo>
                      <a:pt x="1" y="16"/>
                      <a:pt x="0" y="18"/>
                      <a:pt x="4" y="20"/>
                    </a:cubicBezTo>
                    <a:cubicBezTo>
                      <a:pt x="4" y="20"/>
                      <a:pt x="4" y="19"/>
                      <a:pt x="4" y="19"/>
                    </a:cubicBezTo>
                    <a:cubicBezTo>
                      <a:pt x="4" y="17"/>
                      <a:pt x="4" y="16"/>
                      <a:pt x="5" y="15"/>
                    </a:cubicBezTo>
                    <a:cubicBezTo>
                      <a:pt x="5" y="14"/>
                      <a:pt x="7" y="15"/>
                      <a:pt x="7" y="14"/>
                    </a:cubicBezTo>
                    <a:cubicBezTo>
                      <a:pt x="9" y="13"/>
                      <a:pt x="9" y="11"/>
                      <a:pt x="11" y="10"/>
                    </a:cubicBezTo>
                    <a:cubicBezTo>
                      <a:pt x="14" y="6"/>
                      <a:pt x="19" y="6"/>
                      <a:pt x="23" y="2"/>
                    </a:cubicBezTo>
                    <a:cubicBezTo>
                      <a:pt x="22" y="2"/>
                      <a:pt x="21" y="2"/>
                      <a:pt x="21" y="2"/>
                    </a:cubicBezTo>
                    <a:cubicBezTo>
                      <a:pt x="19" y="2"/>
                      <a:pt x="17"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282"/>
              <p:cNvSpPr/>
              <p:nvPr/>
            </p:nvSpPr>
            <p:spPr bwMode="auto">
              <a:xfrm>
                <a:off x="8691" y="538"/>
                <a:ext cx="43" cy="33"/>
              </a:xfrm>
              <a:custGeom>
                <a:gdLst>
                  <a:gd name="T0" fmla="*/ 7 w 18"/>
                  <a:gd name="T1" fmla="*/ 0 h 14"/>
                  <a:gd name="T2" fmla="*/ 5 w 18"/>
                  <a:gd name="T3" fmla="*/ 1 h 14"/>
                  <a:gd name="T4" fmla="*/ 5 w 18"/>
                  <a:gd name="T5" fmla="*/ 3 h 14"/>
                  <a:gd name="T6" fmla="*/ 3 w 18"/>
                  <a:gd name="T7" fmla="*/ 4 h 14"/>
                  <a:gd name="T8" fmla="*/ 0 w 18"/>
                  <a:gd name="T9" fmla="*/ 9 h 14"/>
                  <a:gd name="T10" fmla="*/ 1 w 18"/>
                  <a:gd name="T11" fmla="*/ 10 h 14"/>
                  <a:gd name="T12" fmla="*/ 4 w 18"/>
                  <a:gd name="T13" fmla="*/ 8 h 14"/>
                  <a:gd name="T14" fmla="*/ 4 w 18"/>
                  <a:gd name="T15" fmla="*/ 8 h 14"/>
                  <a:gd name="T16" fmla="*/ 9 w 18"/>
                  <a:gd name="T17" fmla="*/ 14 h 14"/>
                  <a:gd name="T18" fmla="*/ 18 w 18"/>
                  <a:gd name="T19" fmla="*/ 3 h 14"/>
                  <a:gd name="T20" fmla="*/ 18 w 18"/>
                  <a:gd name="T21" fmla="*/ 3 h 14"/>
                  <a:gd name="T22" fmla="*/ 17 w 18"/>
                  <a:gd name="T23" fmla="*/ 3 h 14"/>
                  <a:gd name="T24" fmla="*/ 16 w 18"/>
                  <a:gd name="T25" fmla="*/ 3 h 14"/>
                  <a:gd name="T26" fmla="*/ 16 w 18"/>
                  <a:gd name="T27" fmla="*/ 3 h 14"/>
                  <a:gd name="T28" fmla="*/ 16 w 18"/>
                  <a:gd name="T29" fmla="*/ 3 h 14"/>
                  <a:gd name="T30" fmla="*/ 15 w 18"/>
                  <a:gd name="T31" fmla="*/ 3 h 14"/>
                  <a:gd name="T32" fmla="*/ 15 w 18"/>
                  <a:gd name="T33" fmla="*/ 3 h 14"/>
                  <a:gd name="T34" fmla="*/ 15 w 18"/>
                  <a:gd name="T35" fmla="*/ 3 h 14"/>
                  <a:gd name="T36" fmla="*/ 14 w 18"/>
                  <a:gd name="T37" fmla="*/ 1 h 14"/>
                  <a:gd name="T38" fmla="*/ 12 w 18"/>
                  <a:gd name="T39" fmla="*/ 1 h 14"/>
                  <a:gd name="T40" fmla="*/ 12 w 18"/>
                  <a:gd name="T41" fmla="*/ 1 h 14"/>
                  <a:gd name="T42" fmla="*/ 11 w 18"/>
                  <a:gd name="T43" fmla="*/ 1 h 14"/>
                  <a:gd name="T44" fmla="*/ 9 w 18"/>
                  <a:gd name="T45" fmla="*/ 0 h 14"/>
                  <a:gd name="T46" fmla="*/ 7 w 18"/>
                  <a:gd name="T4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4">
                    <a:moveTo>
                      <a:pt x="7" y="0"/>
                    </a:moveTo>
                    <a:cubicBezTo>
                      <a:pt x="6" y="0"/>
                      <a:pt x="6" y="0"/>
                      <a:pt x="5" y="1"/>
                    </a:cubicBezTo>
                    <a:cubicBezTo>
                      <a:pt x="5" y="2"/>
                      <a:pt x="5" y="3"/>
                      <a:pt x="5" y="3"/>
                    </a:cubicBezTo>
                    <a:cubicBezTo>
                      <a:pt x="4" y="4"/>
                      <a:pt x="4" y="4"/>
                      <a:pt x="3" y="4"/>
                    </a:cubicBezTo>
                    <a:cubicBezTo>
                      <a:pt x="2" y="5"/>
                      <a:pt x="1" y="7"/>
                      <a:pt x="0" y="9"/>
                    </a:cubicBezTo>
                    <a:cubicBezTo>
                      <a:pt x="0" y="10"/>
                      <a:pt x="0" y="10"/>
                      <a:pt x="1" y="10"/>
                    </a:cubicBezTo>
                    <a:cubicBezTo>
                      <a:pt x="1" y="10"/>
                      <a:pt x="2" y="9"/>
                      <a:pt x="4" y="8"/>
                    </a:cubicBezTo>
                    <a:cubicBezTo>
                      <a:pt x="4" y="8"/>
                      <a:pt x="4" y="8"/>
                      <a:pt x="4" y="8"/>
                    </a:cubicBezTo>
                    <a:cubicBezTo>
                      <a:pt x="6" y="8"/>
                      <a:pt x="8" y="13"/>
                      <a:pt x="9" y="14"/>
                    </a:cubicBezTo>
                    <a:cubicBezTo>
                      <a:pt x="12" y="11"/>
                      <a:pt x="16" y="7"/>
                      <a:pt x="18" y="3"/>
                    </a:cubicBezTo>
                    <a:cubicBezTo>
                      <a:pt x="18" y="3"/>
                      <a:pt x="18" y="3"/>
                      <a:pt x="18" y="3"/>
                    </a:cubicBezTo>
                    <a:cubicBezTo>
                      <a:pt x="18" y="3"/>
                      <a:pt x="17" y="3"/>
                      <a:pt x="17" y="3"/>
                    </a:cubicBezTo>
                    <a:cubicBezTo>
                      <a:pt x="17" y="3"/>
                      <a:pt x="17" y="3"/>
                      <a:pt x="16" y="3"/>
                    </a:cubicBezTo>
                    <a:cubicBezTo>
                      <a:pt x="16" y="3"/>
                      <a:pt x="16" y="3"/>
                      <a:pt x="16" y="3"/>
                    </a:cubicBezTo>
                    <a:cubicBezTo>
                      <a:pt x="16" y="3"/>
                      <a:pt x="16" y="3"/>
                      <a:pt x="16" y="3"/>
                    </a:cubicBezTo>
                    <a:cubicBezTo>
                      <a:pt x="16" y="3"/>
                      <a:pt x="15" y="3"/>
                      <a:pt x="15" y="3"/>
                    </a:cubicBezTo>
                    <a:cubicBezTo>
                      <a:pt x="15" y="3"/>
                      <a:pt x="15" y="3"/>
                      <a:pt x="15" y="3"/>
                    </a:cubicBezTo>
                    <a:cubicBezTo>
                      <a:pt x="15" y="3"/>
                      <a:pt x="15" y="3"/>
                      <a:pt x="15" y="3"/>
                    </a:cubicBezTo>
                    <a:cubicBezTo>
                      <a:pt x="14" y="1"/>
                      <a:pt x="14" y="1"/>
                      <a:pt x="14" y="1"/>
                    </a:cubicBezTo>
                    <a:cubicBezTo>
                      <a:pt x="14" y="1"/>
                      <a:pt x="13" y="1"/>
                      <a:pt x="12" y="1"/>
                    </a:cubicBezTo>
                    <a:cubicBezTo>
                      <a:pt x="12" y="1"/>
                      <a:pt x="12" y="1"/>
                      <a:pt x="12" y="1"/>
                    </a:cubicBezTo>
                    <a:cubicBezTo>
                      <a:pt x="12" y="1"/>
                      <a:pt x="12" y="1"/>
                      <a:pt x="11" y="1"/>
                    </a:cubicBezTo>
                    <a:cubicBezTo>
                      <a:pt x="11" y="1"/>
                      <a:pt x="10" y="1"/>
                      <a:pt x="9"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283"/>
              <p:cNvSpPr/>
              <p:nvPr/>
            </p:nvSpPr>
            <p:spPr bwMode="auto">
              <a:xfrm>
                <a:off x="9119" y="1108"/>
                <a:ext cx="99" cy="64"/>
              </a:xfrm>
              <a:custGeom>
                <a:gdLst>
                  <a:gd name="T0" fmla="*/ 40 w 42"/>
                  <a:gd name="T1" fmla="*/ 0 h 27"/>
                  <a:gd name="T2" fmla="*/ 27 w 42"/>
                  <a:gd name="T3" fmla="*/ 7 h 27"/>
                  <a:gd name="T4" fmla="*/ 26 w 42"/>
                  <a:gd name="T5" fmla="*/ 7 h 27"/>
                  <a:gd name="T6" fmla="*/ 23 w 42"/>
                  <a:gd name="T7" fmla="*/ 3 h 27"/>
                  <a:gd name="T8" fmla="*/ 22 w 42"/>
                  <a:gd name="T9" fmla="*/ 4 h 27"/>
                  <a:gd name="T10" fmla="*/ 22 w 42"/>
                  <a:gd name="T11" fmla="*/ 5 h 27"/>
                  <a:gd name="T12" fmla="*/ 20 w 42"/>
                  <a:gd name="T13" fmla="*/ 7 h 27"/>
                  <a:gd name="T14" fmla="*/ 15 w 42"/>
                  <a:gd name="T15" fmla="*/ 11 h 27"/>
                  <a:gd name="T16" fmla="*/ 8 w 42"/>
                  <a:gd name="T17" fmla="*/ 19 h 27"/>
                  <a:gd name="T18" fmla="*/ 3 w 42"/>
                  <a:gd name="T19" fmla="*/ 27 h 27"/>
                  <a:gd name="T20" fmla="*/ 4 w 42"/>
                  <a:gd name="T21" fmla="*/ 27 h 27"/>
                  <a:gd name="T22" fmla="*/ 6 w 42"/>
                  <a:gd name="T23" fmla="*/ 24 h 27"/>
                  <a:gd name="T24" fmla="*/ 10 w 42"/>
                  <a:gd name="T25" fmla="*/ 22 h 27"/>
                  <a:gd name="T26" fmla="*/ 13 w 42"/>
                  <a:gd name="T27" fmla="*/ 19 h 27"/>
                  <a:gd name="T28" fmla="*/ 16 w 42"/>
                  <a:gd name="T29" fmla="*/ 16 h 27"/>
                  <a:gd name="T30" fmla="*/ 19 w 42"/>
                  <a:gd name="T31" fmla="*/ 13 h 27"/>
                  <a:gd name="T32" fmla="*/ 19 w 42"/>
                  <a:gd name="T33" fmla="*/ 13 h 27"/>
                  <a:gd name="T34" fmla="*/ 19 w 42"/>
                  <a:gd name="T35" fmla="*/ 13 h 27"/>
                  <a:gd name="T36" fmla="*/ 20 w 42"/>
                  <a:gd name="T37" fmla="*/ 14 h 27"/>
                  <a:gd name="T38" fmla="*/ 20 w 42"/>
                  <a:gd name="T39" fmla="*/ 14 h 27"/>
                  <a:gd name="T40" fmla="*/ 23 w 42"/>
                  <a:gd name="T41" fmla="*/ 13 h 27"/>
                  <a:gd name="T42" fmla="*/ 25 w 42"/>
                  <a:gd name="T43" fmla="*/ 10 h 27"/>
                  <a:gd name="T44" fmla="*/ 34 w 42"/>
                  <a:gd name="T45" fmla="*/ 6 h 27"/>
                  <a:gd name="T46" fmla="*/ 39 w 42"/>
                  <a:gd name="T47" fmla="*/ 5 h 27"/>
                  <a:gd name="T48" fmla="*/ 40 w 42"/>
                  <a:gd name="T49"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27">
                    <a:moveTo>
                      <a:pt x="40" y="0"/>
                    </a:moveTo>
                    <a:cubicBezTo>
                      <a:pt x="37" y="2"/>
                      <a:pt x="31" y="7"/>
                      <a:pt x="27" y="7"/>
                    </a:cubicBezTo>
                    <a:cubicBezTo>
                      <a:pt x="27" y="7"/>
                      <a:pt x="26" y="7"/>
                      <a:pt x="26" y="7"/>
                    </a:cubicBezTo>
                    <a:cubicBezTo>
                      <a:pt x="24" y="6"/>
                      <a:pt x="24" y="3"/>
                      <a:pt x="23" y="3"/>
                    </a:cubicBezTo>
                    <a:cubicBezTo>
                      <a:pt x="23" y="3"/>
                      <a:pt x="22" y="3"/>
                      <a:pt x="22" y="4"/>
                    </a:cubicBezTo>
                    <a:cubicBezTo>
                      <a:pt x="21" y="4"/>
                      <a:pt x="22" y="5"/>
                      <a:pt x="22" y="5"/>
                    </a:cubicBezTo>
                    <a:cubicBezTo>
                      <a:pt x="21" y="5"/>
                      <a:pt x="21" y="6"/>
                      <a:pt x="20" y="7"/>
                    </a:cubicBezTo>
                    <a:cubicBezTo>
                      <a:pt x="18" y="8"/>
                      <a:pt x="16" y="10"/>
                      <a:pt x="15" y="11"/>
                    </a:cubicBezTo>
                    <a:cubicBezTo>
                      <a:pt x="14" y="13"/>
                      <a:pt x="5" y="18"/>
                      <a:pt x="8" y="19"/>
                    </a:cubicBezTo>
                    <a:cubicBezTo>
                      <a:pt x="7" y="20"/>
                      <a:pt x="0" y="25"/>
                      <a:pt x="3" y="27"/>
                    </a:cubicBezTo>
                    <a:cubicBezTo>
                      <a:pt x="3" y="27"/>
                      <a:pt x="3" y="27"/>
                      <a:pt x="4" y="27"/>
                    </a:cubicBezTo>
                    <a:cubicBezTo>
                      <a:pt x="5" y="27"/>
                      <a:pt x="5" y="25"/>
                      <a:pt x="6" y="24"/>
                    </a:cubicBezTo>
                    <a:cubicBezTo>
                      <a:pt x="7" y="23"/>
                      <a:pt x="9" y="24"/>
                      <a:pt x="10" y="22"/>
                    </a:cubicBezTo>
                    <a:cubicBezTo>
                      <a:pt x="11" y="21"/>
                      <a:pt x="11" y="20"/>
                      <a:pt x="13" y="19"/>
                    </a:cubicBezTo>
                    <a:cubicBezTo>
                      <a:pt x="14" y="18"/>
                      <a:pt x="15" y="18"/>
                      <a:pt x="16" y="16"/>
                    </a:cubicBezTo>
                    <a:cubicBezTo>
                      <a:pt x="17" y="15"/>
                      <a:pt x="16" y="14"/>
                      <a:pt x="19" y="13"/>
                    </a:cubicBezTo>
                    <a:cubicBezTo>
                      <a:pt x="19" y="13"/>
                      <a:pt x="19" y="13"/>
                      <a:pt x="19" y="13"/>
                    </a:cubicBezTo>
                    <a:cubicBezTo>
                      <a:pt x="19" y="13"/>
                      <a:pt x="19" y="13"/>
                      <a:pt x="19" y="13"/>
                    </a:cubicBezTo>
                    <a:cubicBezTo>
                      <a:pt x="20" y="14"/>
                      <a:pt x="20" y="14"/>
                      <a:pt x="20" y="14"/>
                    </a:cubicBezTo>
                    <a:cubicBezTo>
                      <a:pt x="20" y="14"/>
                      <a:pt x="20" y="14"/>
                      <a:pt x="20" y="14"/>
                    </a:cubicBezTo>
                    <a:cubicBezTo>
                      <a:pt x="21" y="14"/>
                      <a:pt x="22" y="13"/>
                      <a:pt x="23" y="13"/>
                    </a:cubicBezTo>
                    <a:cubicBezTo>
                      <a:pt x="24" y="12"/>
                      <a:pt x="24" y="11"/>
                      <a:pt x="25" y="10"/>
                    </a:cubicBezTo>
                    <a:cubicBezTo>
                      <a:pt x="28" y="8"/>
                      <a:pt x="31" y="7"/>
                      <a:pt x="34" y="6"/>
                    </a:cubicBezTo>
                    <a:cubicBezTo>
                      <a:pt x="36" y="5"/>
                      <a:pt x="37" y="6"/>
                      <a:pt x="39" y="5"/>
                    </a:cubicBezTo>
                    <a:cubicBezTo>
                      <a:pt x="42" y="5"/>
                      <a:pt x="39" y="3"/>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284"/>
              <p:cNvSpPr/>
              <p:nvPr/>
            </p:nvSpPr>
            <p:spPr bwMode="auto">
              <a:xfrm>
                <a:off x="5312" y="-1594"/>
                <a:ext cx="73" cy="11"/>
              </a:xfrm>
              <a:custGeom>
                <a:gdLst>
                  <a:gd name="T0" fmla="*/ 0 w 31"/>
                  <a:gd name="T1" fmla="*/ 0 h 5"/>
                  <a:gd name="T2" fmla="*/ 8 w 31"/>
                  <a:gd name="T3" fmla="*/ 3 h 5"/>
                  <a:gd name="T4" fmla="*/ 16 w 31"/>
                  <a:gd name="T5" fmla="*/ 5 h 5"/>
                  <a:gd name="T6" fmla="*/ 23 w 31"/>
                  <a:gd name="T7" fmla="*/ 5 h 5"/>
                  <a:gd name="T8" fmla="*/ 31 w 31"/>
                  <a:gd name="T9" fmla="*/ 2 h 5"/>
                  <a:gd name="T10" fmla="*/ 0 w 31"/>
                  <a:gd name="T11" fmla="*/ 0 h 5"/>
                </a:gdLst>
                <a:cxnLst>
                  <a:cxn ang="0">
                    <a:pos x="T0" y="T1"/>
                  </a:cxn>
                  <a:cxn ang="0">
                    <a:pos x="T2" y="T3"/>
                  </a:cxn>
                  <a:cxn ang="0">
                    <a:pos x="T4" y="T5"/>
                  </a:cxn>
                  <a:cxn ang="0">
                    <a:pos x="T6" y="T7"/>
                  </a:cxn>
                  <a:cxn ang="0">
                    <a:pos x="T8" y="T9"/>
                  </a:cxn>
                  <a:cxn ang="0">
                    <a:pos x="T10" y="T11"/>
                  </a:cxn>
                </a:cxnLst>
                <a:rect l="0" t="0" r="r" b="b"/>
                <a:pathLst>
                  <a:path w="31" h="5">
                    <a:moveTo>
                      <a:pt x="0" y="0"/>
                    </a:moveTo>
                    <a:cubicBezTo>
                      <a:pt x="3" y="2"/>
                      <a:pt x="6" y="2"/>
                      <a:pt x="8" y="3"/>
                    </a:cubicBezTo>
                    <a:cubicBezTo>
                      <a:pt x="11" y="4"/>
                      <a:pt x="14" y="4"/>
                      <a:pt x="16" y="5"/>
                    </a:cubicBezTo>
                    <a:cubicBezTo>
                      <a:pt x="18" y="5"/>
                      <a:pt x="20" y="5"/>
                      <a:pt x="23" y="5"/>
                    </a:cubicBezTo>
                    <a:cubicBezTo>
                      <a:pt x="27" y="5"/>
                      <a:pt x="30" y="4"/>
                      <a:pt x="31" y="2"/>
                    </a:cubicBezTo>
                    <a:cubicBezTo>
                      <a:pt x="21" y="1"/>
                      <a:pt x="1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285"/>
              <p:cNvSpPr/>
              <p:nvPr/>
            </p:nvSpPr>
            <p:spPr bwMode="auto">
              <a:xfrm>
                <a:off x="9195" y="-1100"/>
                <a:ext cx="47" cy="14"/>
              </a:xfrm>
              <a:custGeom>
                <a:gdLst>
                  <a:gd name="T0" fmla="*/ 19 w 20"/>
                  <a:gd name="T1" fmla="*/ 0 h 6"/>
                  <a:gd name="T2" fmla="*/ 17 w 20"/>
                  <a:gd name="T3" fmla="*/ 1 h 6"/>
                  <a:gd name="T4" fmla="*/ 14 w 20"/>
                  <a:gd name="T5" fmla="*/ 1 h 6"/>
                  <a:gd name="T6" fmla="*/ 14 w 20"/>
                  <a:gd name="T7" fmla="*/ 1 h 6"/>
                  <a:gd name="T8" fmla="*/ 14 w 20"/>
                  <a:gd name="T9" fmla="*/ 1 h 6"/>
                  <a:gd name="T10" fmla="*/ 9 w 20"/>
                  <a:gd name="T11" fmla="*/ 2 h 6"/>
                  <a:gd name="T12" fmla="*/ 0 w 20"/>
                  <a:gd name="T13" fmla="*/ 6 h 6"/>
                  <a:gd name="T14" fmla="*/ 20 w 20"/>
                  <a:gd name="T15" fmla="*/ 0 h 6"/>
                  <a:gd name="T16" fmla="*/ 19 w 20"/>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6">
                    <a:moveTo>
                      <a:pt x="19" y="0"/>
                    </a:moveTo>
                    <a:cubicBezTo>
                      <a:pt x="18" y="0"/>
                      <a:pt x="18" y="1"/>
                      <a:pt x="17" y="1"/>
                    </a:cubicBezTo>
                    <a:cubicBezTo>
                      <a:pt x="16" y="1"/>
                      <a:pt x="15" y="1"/>
                      <a:pt x="14" y="1"/>
                    </a:cubicBezTo>
                    <a:cubicBezTo>
                      <a:pt x="14" y="1"/>
                      <a:pt x="14" y="1"/>
                      <a:pt x="14" y="1"/>
                    </a:cubicBezTo>
                    <a:cubicBezTo>
                      <a:pt x="14" y="1"/>
                      <a:pt x="14" y="1"/>
                      <a:pt x="14" y="1"/>
                    </a:cubicBezTo>
                    <a:cubicBezTo>
                      <a:pt x="12" y="1"/>
                      <a:pt x="11" y="1"/>
                      <a:pt x="9" y="2"/>
                    </a:cubicBezTo>
                    <a:cubicBezTo>
                      <a:pt x="6" y="2"/>
                      <a:pt x="2" y="3"/>
                      <a:pt x="0" y="6"/>
                    </a:cubicBezTo>
                    <a:cubicBezTo>
                      <a:pt x="7" y="4"/>
                      <a:pt x="13" y="2"/>
                      <a:pt x="20" y="0"/>
                    </a:cubicBez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286"/>
              <p:cNvSpPr/>
              <p:nvPr/>
            </p:nvSpPr>
            <p:spPr bwMode="auto">
              <a:xfrm>
                <a:off x="8611" y="-869"/>
                <a:ext cx="40" cy="31"/>
              </a:xfrm>
              <a:custGeom>
                <a:gdLst>
                  <a:gd name="T0" fmla="*/ 0 w 17"/>
                  <a:gd name="T1" fmla="*/ 0 h 13"/>
                  <a:gd name="T2" fmla="*/ 13 w 17"/>
                  <a:gd name="T3" fmla="*/ 13 h 13"/>
                  <a:gd name="T4" fmla="*/ 14 w 17"/>
                  <a:gd name="T5" fmla="*/ 13 h 13"/>
                  <a:gd name="T6" fmla="*/ 12 w 17"/>
                  <a:gd name="T7" fmla="*/ 7 h 13"/>
                  <a:gd name="T8" fmla="*/ 0 w 17"/>
                  <a:gd name="T9" fmla="*/ 0 h 13"/>
                </a:gdLst>
                <a:cxnLst>
                  <a:cxn ang="0">
                    <a:pos x="T0" y="T1"/>
                  </a:cxn>
                  <a:cxn ang="0">
                    <a:pos x="T2" y="T3"/>
                  </a:cxn>
                  <a:cxn ang="0">
                    <a:pos x="T4" y="T5"/>
                  </a:cxn>
                  <a:cxn ang="0">
                    <a:pos x="T6" y="T7"/>
                  </a:cxn>
                  <a:cxn ang="0">
                    <a:pos x="T8" y="T9"/>
                  </a:cxn>
                </a:cxnLst>
                <a:rect l="0" t="0" r="r" b="b"/>
                <a:pathLst>
                  <a:path w="17" h="13">
                    <a:moveTo>
                      <a:pt x="0" y="0"/>
                    </a:moveTo>
                    <a:cubicBezTo>
                      <a:pt x="1" y="2"/>
                      <a:pt x="10" y="13"/>
                      <a:pt x="13" y="13"/>
                    </a:cubicBezTo>
                    <a:cubicBezTo>
                      <a:pt x="14" y="13"/>
                      <a:pt x="14" y="13"/>
                      <a:pt x="14" y="13"/>
                    </a:cubicBezTo>
                    <a:cubicBezTo>
                      <a:pt x="17" y="10"/>
                      <a:pt x="15" y="9"/>
                      <a:pt x="12" y="7"/>
                    </a:cubicBezTo>
                    <a:cubicBezTo>
                      <a:pt x="9" y="4"/>
                      <a:pt x="4"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287"/>
              <p:cNvSpPr/>
              <p:nvPr/>
            </p:nvSpPr>
            <p:spPr bwMode="auto">
              <a:xfrm>
                <a:off x="5014" y="-1561"/>
                <a:ext cx="104" cy="23"/>
              </a:xfrm>
              <a:custGeom>
                <a:gdLst>
                  <a:gd name="T0" fmla="*/ 19 w 44"/>
                  <a:gd name="T1" fmla="*/ 0 h 10"/>
                  <a:gd name="T2" fmla="*/ 17 w 44"/>
                  <a:gd name="T3" fmla="*/ 0 h 10"/>
                  <a:gd name="T4" fmla="*/ 19 w 44"/>
                  <a:gd name="T5" fmla="*/ 5 h 10"/>
                  <a:gd name="T6" fmla="*/ 7 w 44"/>
                  <a:gd name="T7" fmla="*/ 4 h 10"/>
                  <a:gd name="T8" fmla="*/ 3 w 44"/>
                  <a:gd name="T9" fmla="*/ 4 h 10"/>
                  <a:gd name="T10" fmla="*/ 3 w 44"/>
                  <a:gd name="T11" fmla="*/ 4 h 10"/>
                  <a:gd name="T12" fmla="*/ 0 w 44"/>
                  <a:gd name="T13" fmla="*/ 7 h 10"/>
                  <a:gd name="T14" fmla="*/ 4 w 44"/>
                  <a:gd name="T15" fmla="*/ 9 h 10"/>
                  <a:gd name="T16" fmla="*/ 12 w 44"/>
                  <a:gd name="T17" fmla="*/ 7 h 10"/>
                  <a:gd name="T18" fmla="*/ 13 w 44"/>
                  <a:gd name="T19" fmla="*/ 7 h 10"/>
                  <a:gd name="T20" fmla="*/ 15 w 44"/>
                  <a:gd name="T21" fmla="*/ 8 h 10"/>
                  <a:gd name="T22" fmla="*/ 16 w 44"/>
                  <a:gd name="T23" fmla="*/ 9 h 10"/>
                  <a:gd name="T24" fmla="*/ 18 w 44"/>
                  <a:gd name="T25" fmla="*/ 10 h 10"/>
                  <a:gd name="T26" fmla="*/ 21 w 44"/>
                  <a:gd name="T27" fmla="*/ 9 h 10"/>
                  <a:gd name="T28" fmla="*/ 32 w 44"/>
                  <a:gd name="T29" fmla="*/ 6 h 10"/>
                  <a:gd name="T30" fmla="*/ 44 w 44"/>
                  <a:gd name="T31" fmla="*/ 5 h 10"/>
                  <a:gd name="T32" fmla="*/ 23 w 44"/>
                  <a:gd name="T33" fmla="*/ 0 h 10"/>
                  <a:gd name="T34" fmla="*/ 19 w 44"/>
                  <a:gd name="T35"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10">
                    <a:moveTo>
                      <a:pt x="19" y="0"/>
                    </a:moveTo>
                    <a:cubicBezTo>
                      <a:pt x="18" y="0"/>
                      <a:pt x="17" y="0"/>
                      <a:pt x="17" y="0"/>
                    </a:cubicBezTo>
                    <a:cubicBezTo>
                      <a:pt x="15" y="2"/>
                      <a:pt x="18" y="5"/>
                      <a:pt x="19" y="5"/>
                    </a:cubicBezTo>
                    <a:cubicBezTo>
                      <a:pt x="15" y="5"/>
                      <a:pt x="11" y="4"/>
                      <a:pt x="7" y="4"/>
                    </a:cubicBezTo>
                    <a:cubicBezTo>
                      <a:pt x="6" y="4"/>
                      <a:pt x="4" y="4"/>
                      <a:pt x="3" y="4"/>
                    </a:cubicBezTo>
                    <a:cubicBezTo>
                      <a:pt x="3" y="4"/>
                      <a:pt x="3" y="4"/>
                      <a:pt x="3" y="4"/>
                    </a:cubicBezTo>
                    <a:cubicBezTo>
                      <a:pt x="1" y="4"/>
                      <a:pt x="1" y="6"/>
                      <a:pt x="0" y="7"/>
                    </a:cubicBezTo>
                    <a:cubicBezTo>
                      <a:pt x="2" y="8"/>
                      <a:pt x="3" y="9"/>
                      <a:pt x="4" y="9"/>
                    </a:cubicBezTo>
                    <a:cubicBezTo>
                      <a:pt x="7" y="9"/>
                      <a:pt x="10" y="8"/>
                      <a:pt x="12" y="7"/>
                    </a:cubicBezTo>
                    <a:cubicBezTo>
                      <a:pt x="13" y="7"/>
                      <a:pt x="13" y="7"/>
                      <a:pt x="13" y="7"/>
                    </a:cubicBezTo>
                    <a:cubicBezTo>
                      <a:pt x="14" y="7"/>
                      <a:pt x="15" y="7"/>
                      <a:pt x="15" y="8"/>
                    </a:cubicBezTo>
                    <a:cubicBezTo>
                      <a:pt x="16" y="8"/>
                      <a:pt x="16" y="9"/>
                      <a:pt x="16" y="9"/>
                    </a:cubicBezTo>
                    <a:cubicBezTo>
                      <a:pt x="17" y="10"/>
                      <a:pt x="18" y="10"/>
                      <a:pt x="18" y="10"/>
                    </a:cubicBezTo>
                    <a:cubicBezTo>
                      <a:pt x="19" y="10"/>
                      <a:pt x="20" y="9"/>
                      <a:pt x="21" y="9"/>
                    </a:cubicBezTo>
                    <a:cubicBezTo>
                      <a:pt x="25" y="7"/>
                      <a:pt x="28" y="6"/>
                      <a:pt x="32" y="6"/>
                    </a:cubicBezTo>
                    <a:cubicBezTo>
                      <a:pt x="36" y="5"/>
                      <a:pt x="40" y="6"/>
                      <a:pt x="44" y="5"/>
                    </a:cubicBezTo>
                    <a:cubicBezTo>
                      <a:pt x="38" y="1"/>
                      <a:pt x="30" y="1"/>
                      <a:pt x="23" y="0"/>
                    </a:cubicBezTo>
                    <a:cubicBezTo>
                      <a:pt x="22" y="0"/>
                      <a:pt x="21"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288"/>
              <p:cNvSpPr/>
              <p:nvPr/>
            </p:nvSpPr>
            <p:spPr bwMode="auto">
              <a:xfrm>
                <a:off x="5220" y="-1531"/>
                <a:ext cx="71" cy="19"/>
              </a:xfrm>
              <a:custGeom>
                <a:gdLst>
                  <a:gd name="T0" fmla="*/ 30 w 30"/>
                  <a:gd name="T1" fmla="*/ 0 h 8"/>
                  <a:gd name="T2" fmla="*/ 0 w 30"/>
                  <a:gd name="T3" fmla="*/ 4 h 8"/>
                  <a:gd name="T4" fmla="*/ 14 w 30"/>
                  <a:gd name="T5" fmla="*/ 8 h 8"/>
                  <a:gd name="T6" fmla="*/ 18 w 30"/>
                  <a:gd name="T7" fmla="*/ 8 h 8"/>
                  <a:gd name="T8" fmla="*/ 25 w 30"/>
                  <a:gd name="T9" fmla="*/ 5 h 8"/>
                  <a:gd name="T10" fmla="*/ 28 w 30"/>
                  <a:gd name="T11" fmla="*/ 3 h 8"/>
                  <a:gd name="T12" fmla="*/ 30 w 30"/>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30" h="8">
                    <a:moveTo>
                      <a:pt x="30" y="0"/>
                    </a:moveTo>
                    <a:cubicBezTo>
                      <a:pt x="20" y="1"/>
                      <a:pt x="10" y="3"/>
                      <a:pt x="0" y="4"/>
                    </a:cubicBezTo>
                    <a:cubicBezTo>
                      <a:pt x="4" y="7"/>
                      <a:pt x="9" y="8"/>
                      <a:pt x="14" y="8"/>
                    </a:cubicBezTo>
                    <a:cubicBezTo>
                      <a:pt x="15" y="8"/>
                      <a:pt x="16" y="8"/>
                      <a:pt x="18" y="8"/>
                    </a:cubicBezTo>
                    <a:cubicBezTo>
                      <a:pt x="20" y="7"/>
                      <a:pt x="23" y="6"/>
                      <a:pt x="25" y="5"/>
                    </a:cubicBezTo>
                    <a:cubicBezTo>
                      <a:pt x="26" y="4"/>
                      <a:pt x="27" y="4"/>
                      <a:pt x="28" y="3"/>
                    </a:cubicBezTo>
                    <a:cubicBezTo>
                      <a:pt x="29" y="2"/>
                      <a:pt x="29"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289"/>
              <p:cNvSpPr/>
              <p:nvPr/>
            </p:nvSpPr>
            <p:spPr bwMode="auto">
              <a:xfrm>
                <a:off x="8670" y="541"/>
                <a:ext cx="19" cy="16"/>
              </a:xfrm>
              <a:custGeom>
                <a:gdLst>
                  <a:gd name="T0" fmla="*/ 8 w 8"/>
                  <a:gd name="T1" fmla="*/ 0 h 7"/>
                  <a:gd name="T2" fmla="*/ 7 w 8"/>
                  <a:gd name="T3" fmla="*/ 0 h 7"/>
                  <a:gd name="T4" fmla="*/ 7 w 8"/>
                  <a:gd name="T5" fmla="*/ 1 h 7"/>
                  <a:gd name="T6" fmla="*/ 7 w 8"/>
                  <a:gd name="T7" fmla="*/ 1 h 7"/>
                  <a:gd name="T8" fmla="*/ 6 w 8"/>
                  <a:gd name="T9" fmla="*/ 1 h 7"/>
                  <a:gd name="T10" fmla="*/ 0 w 8"/>
                  <a:gd name="T11" fmla="*/ 7 h 7"/>
                  <a:gd name="T12" fmla="*/ 8 w 8"/>
                  <a:gd name="T13" fmla="*/ 1 h 7"/>
                  <a:gd name="T14" fmla="*/ 8 w 8"/>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8" y="0"/>
                    </a:moveTo>
                    <a:cubicBezTo>
                      <a:pt x="8" y="0"/>
                      <a:pt x="8" y="0"/>
                      <a:pt x="7" y="0"/>
                    </a:cubicBezTo>
                    <a:cubicBezTo>
                      <a:pt x="7" y="1"/>
                      <a:pt x="7" y="1"/>
                      <a:pt x="7" y="1"/>
                    </a:cubicBezTo>
                    <a:cubicBezTo>
                      <a:pt x="7" y="1"/>
                      <a:pt x="7" y="1"/>
                      <a:pt x="7" y="1"/>
                    </a:cubicBezTo>
                    <a:cubicBezTo>
                      <a:pt x="6" y="1"/>
                      <a:pt x="6" y="1"/>
                      <a:pt x="6" y="1"/>
                    </a:cubicBezTo>
                    <a:cubicBezTo>
                      <a:pt x="3" y="2"/>
                      <a:pt x="0" y="3"/>
                      <a:pt x="0" y="7"/>
                    </a:cubicBezTo>
                    <a:cubicBezTo>
                      <a:pt x="4" y="6"/>
                      <a:pt x="7" y="6"/>
                      <a:pt x="8" y="1"/>
                    </a:cubicBezTo>
                    <a:cubicBezTo>
                      <a:pt x="8" y="1"/>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290"/>
              <p:cNvSpPr/>
              <p:nvPr/>
            </p:nvSpPr>
            <p:spPr bwMode="auto">
              <a:xfrm>
                <a:off x="5158" y="-1427"/>
                <a:ext cx="55" cy="19"/>
              </a:xfrm>
              <a:custGeom>
                <a:gdLst>
                  <a:gd name="T0" fmla="*/ 13 w 23"/>
                  <a:gd name="T1" fmla="*/ 0 h 8"/>
                  <a:gd name="T2" fmla="*/ 0 w 23"/>
                  <a:gd name="T3" fmla="*/ 3 h 8"/>
                  <a:gd name="T4" fmla="*/ 12 w 23"/>
                  <a:gd name="T5" fmla="*/ 8 h 8"/>
                  <a:gd name="T6" fmla="*/ 20 w 23"/>
                  <a:gd name="T7" fmla="*/ 6 h 8"/>
                  <a:gd name="T8" fmla="*/ 17 w 23"/>
                  <a:gd name="T9" fmla="*/ 0 h 8"/>
                  <a:gd name="T10" fmla="*/ 13 w 23"/>
                  <a:gd name="T11" fmla="*/ 0 h 8"/>
                </a:gdLst>
                <a:cxnLst>
                  <a:cxn ang="0">
                    <a:pos x="T0" y="T1"/>
                  </a:cxn>
                  <a:cxn ang="0">
                    <a:pos x="T2" y="T3"/>
                  </a:cxn>
                  <a:cxn ang="0">
                    <a:pos x="T4" y="T5"/>
                  </a:cxn>
                  <a:cxn ang="0">
                    <a:pos x="T6" y="T7"/>
                  </a:cxn>
                  <a:cxn ang="0">
                    <a:pos x="T8" y="T9"/>
                  </a:cxn>
                  <a:cxn ang="0">
                    <a:pos x="T10" y="T11"/>
                  </a:cxn>
                </a:cxnLst>
                <a:rect l="0" t="0" r="r" b="b"/>
                <a:pathLst>
                  <a:path w="23" h="8">
                    <a:moveTo>
                      <a:pt x="13" y="0"/>
                    </a:moveTo>
                    <a:cubicBezTo>
                      <a:pt x="9" y="0"/>
                      <a:pt x="3" y="1"/>
                      <a:pt x="0" y="3"/>
                    </a:cubicBezTo>
                    <a:cubicBezTo>
                      <a:pt x="4" y="5"/>
                      <a:pt x="8" y="7"/>
                      <a:pt x="12" y="8"/>
                    </a:cubicBezTo>
                    <a:cubicBezTo>
                      <a:pt x="14" y="7"/>
                      <a:pt x="17" y="7"/>
                      <a:pt x="20" y="6"/>
                    </a:cubicBezTo>
                    <a:cubicBezTo>
                      <a:pt x="23" y="3"/>
                      <a:pt x="20" y="1"/>
                      <a:pt x="17" y="0"/>
                    </a:cubicBezTo>
                    <a:cubicBezTo>
                      <a:pt x="16" y="0"/>
                      <a:pt x="15"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Freeform 291"/>
              <p:cNvSpPr/>
              <p:nvPr/>
            </p:nvSpPr>
            <p:spPr bwMode="auto">
              <a:xfrm>
                <a:off x="8819" y="-871"/>
                <a:ext cx="52" cy="33"/>
              </a:xfrm>
              <a:custGeom>
                <a:gdLst>
                  <a:gd name="T0" fmla="*/ 11 w 22"/>
                  <a:gd name="T1" fmla="*/ 0 h 14"/>
                  <a:gd name="T2" fmla="*/ 6 w 22"/>
                  <a:gd name="T3" fmla="*/ 0 h 14"/>
                  <a:gd name="T4" fmla="*/ 1 w 22"/>
                  <a:gd name="T5" fmla="*/ 6 h 14"/>
                  <a:gd name="T6" fmla="*/ 8 w 22"/>
                  <a:gd name="T7" fmla="*/ 14 h 14"/>
                  <a:gd name="T8" fmla="*/ 14 w 22"/>
                  <a:gd name="T9" fmla="*/ 12 h 14"/>
                  <a:gd name="T10" fmla="*/ 18 w 22"/>
                  <a:gd name="T11" fmla="*/ 11 h 14"/>
                  <a:gd name="T12" fmla="*/ 16 w 22"/>
                  <a:gd name="T13" fmla="*/ 0 h 14"/>
                  <a:gd name="T14" fmla="*/ 11 w 22"/>
                  <a:gd name="T15" fmla="*/ 0 h 1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1" y="0"/>
                    </a:moveTo>
                    <a:cubicBezTo>
                      <a:pt x="9" y="0"/>
                      <a:pt x="8" y="0"/>
                      <a:pt x="6" y="0"/>
                    </a:cubicBezTo>
                    <a:cubicBezTo>
                      <a:pt x="3" y="1"/>
                      <a:pt x="1" y="3"/>
                      <a:pt x="1" y="6"/>
                    </a:cubicBezTo>
                    <a:cubicBezTo>
                      <a:pt x="0" y="10"/>
                      <a:pt x="5" y="12"/>
                      <a:pt x="8" y="14"/>
                    </a:cubicBezTo>
                    <a:cubicBezTo>
                      <a:pt x="10" y="14"/>
                      <a:pt x="12" y="13"/>
                      <a:pt x="14" y="12"/>
                    </a:cubicBezTo>
                    <a:cubicBezTo>
                      <a:pt x="15" y="12"/>
                      <a:pt x="17" y="11"/>
                      <a:pt x="18" y="11"/>
                    </a:cubicBezTo>
                    <a:cubicBezTo>
                      <a:pt x="22" y="8"/>
                      <a:pt x="20" y="1"/>
                      <a:pt x="16" y="0"/>
                    </a:cubicBezTo>
                    <a:cubicBezTo>
                      <a:pt x="15" y="0"/>
                      <a:pt x="13"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292"/>
              <p:cNvSpPr/>
              <p:nvPr/>
            </p:nvSpPr>
            <p:spPr bwMode="auto">
              <a:xfrm>
                <a:off x="4946" y="-1502"/>
                <a:ext cx="87" cy="12"/>
              </a:xfrm>
              <a:custGeom>
                <a:gdLst>
                  <a:gd name="T0" fmla="*/ 0 w 37"/>
                  <a:gd name="T1" fmla="*/ 0 h 5"/>
                  <a:gd name="T2" fmla="*/ 5 w 37"/>
                  <a:gd name="T3" fmla="*/ 2 h 5"/>
                  <a:gd name="T4" fmla="*/ 11 w 37"/>
                  <a:gd name="T5" fmla="*/ 2 h 5"/>
                  <a:gd name="T6" fmla="*/ 11 w 37"/>
                  <a:gd name="T7" fmla="*/ 2 h 5"/>
                  <a:gd name="T8" fmla="*/ 14 w 37"/>
                  <a:gd name="T9" fmla="*/ 5 h 5"/>
                  <a:gd name="T10" fmla="*/ 16 w 37"/>
                  <a:gd name="T11" fmla="*/ 5 h 5"/>
                  <a:gd name="T12" fmla="*/ 19 w 37"/>
                  <a:gd name="T13" fmla="*/ 4 h 5"/>
                  <a:gd name="T14" fmla="*/ 37 w 37"/>
                  <a:gd name="T15" fmla="*/ 1 h 5"/>
                  <a:gd name="T16" fmla="*/ 0 w 37"/>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5">
                    <a:moveTo>
                      <a:pt x="0" y="0"/>
                    </a:moveTo>
                    <a:cubicBezTo>
                      <a:pt x="1" y="2"/>
                      <a:pt x="3" y="2"/>
                      <a:pt x="5" y="2"/>
                    </a:cubicBezTo>
                    <a:cubicBezTo>
                      <a:pt x="7" y="2"/>
                      <a:pt x="8" y="2"/>
                      <a:pt x="11" y="2"/>
                    </a:cubicBezTo>
                    <a:cubicBezTo>
                      <a:pt x="11" y="2"/>
                      <a:pt x="11" y="2"/>
                      <a:pt x="11" y="2"/>
                    </a:cubicBezTo>
                    <a:cubicBezTo>
                      <a:pt x="13" y="2"/>
                      <a:pt x="13" y="4"/>
                      <a:pt x="14" y="5"/>
                    </a:cubicBezTo>
                    <a:cubicBezTo>
                      <a:pt x="15" y="5"/>
                      <a:pt x="15" y="5"/>
                      <a:pt x="16" y="5"/>
                    </a:cubicBezTo>
                    <a:cubicBezTo>
                      <a:pt x="17" y="5"/>
                      <a:pt x="18" y="5"/>
                      <a:pt x="19" y="4"/>
                    </a:cubicBezTo>
                    <a:cubicBezTo>
                      <a:pt x="25" y="3"/>
                      <a:pt x="31" y="3"/>
                      <a:pt x="37" y="1"/>
                    </a:cubicBezTo>
                    <a:cubicBezTo>
                      <a:pt x="25" y="1"/>
                      <a:pt x="1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293"/>
              <p:cNvSpPr/>
              <p:nvPr/>
            </p:nvSpPr>
            <p:spPr bwMode="auto">
              <a:xfrm>
                <a:off x="9344" y="1018"/>
                <a:ext cx="23" cy="19"/>
              </a:xfrm>
              <a:custGeom>
                <a:gdLst>
                  <a:gd name="T0" fmla="*/ 10 w 10"/>
                  <a:gd name="T1" fmla="*/ 0 h 8"/>
                  <a:gd name="T2" fmla="*/ 0 w 10"/>
                  <a:gd name="T3" fmla="*/ 8 h 8"/>
                  <a:gd name="T4" fmla="*/ 2 w 10"/>
                  <a:gd name="T5" fmla="*/ 8 h 8"/>
                  <a:gd name="T6" fmla="*/ 10 w 10"/>
                  <a:gd name="T7" fmla="*/ 0 h 8"/>
                </a:gdLst>
                <a:cxnLst>
                  <a:cxn ang="0">
                    <a:pos x="T0" y="T1"/>
                  </a:cxn>
                  <a:cxn ang="0">
                    <a:pos x="T2" y="T3"/>
                  </a:cxn>
                  <a:cxn ang="0">
                    <a:pos x="T4" y="T5"/>
                  </a:cxn>
                  <a:cxn ang="0">
                    <a:pos x="T6" y="T7"/>
                  </a:cxn>
                </a:cxnLst>
                <a:rect l="0" t="0" r="r" b="b"/>
                <a:pathLst>
                  <a:path w="10" h="8">
                    <a:moveTo>
                      <a:pt x="10" y="0"/>
                    </a:moveTo>
                    <a:cubicBezTo>
                      <a:pt x="6" y="3"/>
                      <a:pt x="3" y="5"/>
                      <a:pt x="0" y="8"/>
                    </a:cubicBezTo>
                    <a:cubicBezTo>
                      <a:pt x="1" y="8"/>
                      <a:pt x="1" y="8"/>
                      <a:pt x="2" y="8"/>
                    </a:cubicBezTo>
                    <a:cubicBezTo>
                      <a:pt x="5" y="8"/>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294"/>
              <p:cNvSpPr/>
              <p:nvPr/>
            </p:nvSpPr>
            <p:spPr bwMode="auto">
              <a:xfrm>
                <a:off x="9400" y="980"/>
                <a:ext cx="5" cy="5"/>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1" y="0"/>
                      <a:pt x="0" y="2"/>
                    </a:cubicBezTo>
                    <a:cubicBezTo>
                      <a:pt x="2"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295"/>
              <p:cNvSpPr/>
              <p:nvPr/>
            </p:nvSpPr>
            <p:spPr bwMode="auto">
              <a:xfrm>
                <a:off x="9377" y="1004"/>
                <a:ext cx="4" cy="5"/>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0"/>
                      <a:pt x="0" y="1"/>
                      <a:pt x="0" y="2"/>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296"/>
              <p:cNvSpPr/>
              <p:nvPr/>
            </p:nvSpPr>
            <p:spPr bwMode="auto">
              <a:xfrm>
                <a:off x="9473" y="874"/>
                <a:ext cx="15" cy="19"/>
              </a:xfrm>
              <a:custGeom>
                <a:gdLst>
                  <a:gd name="T0" fmla="*/ 5 w 6"/>
                  <a:gd name="T1" fmla="*/ 0 h 8"/>
                  <a:gd name="T2" fmla="*/ 4 w 6"/>
                  <a:gd name="T3" fmla="*/ 0 h 8"/>
                  <a:gd name="T4" fmla="*/ 0 w 6"/>
                  <a:gd name="T5" fmla="*/ 8 h 8"/>
                  <a:gd name="T6" fmla="*/ 5 w 6"/>
                  <a:gd name="T7" fmla="*/ 4 h 8"/>
                  <a:gd name="T8" fmla="*/ 5 w 6"/>
                  <a:gd name="T9" fmla="*/ 0 h 8"/>
                </a:gdLst>
                <a:cxnLst>
                  <a:cxn ang="0">
                    <a:pos x="T0" y="T1"/>
                  </a:cxn>
                  <a:cxn ang="0">
                    <a:pos x="T2" y="T3"/>
                  </a:cxn>
                  <a:cxn ang="0">
                    <a:pos x="T4" y="T5"/>
                  </a:cxn>
                  <a:cxn ang="0">
                    <a:pos x="T6" y="T7"/>
                  </a:cxn>
                  <a:cxn ang="0">
                    <a:pos x="T8" y="T9"/>
                  </a:cxn>
                </a:cxnLst>
                <a:rect l="0" t="0" r="r" b="b"/>
                <a:pathLst>
                  <a:path w="6" h="8">
                    <a:moveTo>
                      <a:pt x="5" y="0"/>
                    </a:moveTo>
                    <a:cubicBezTo>
                      <a:pt x="5" y="0"/>
                      <a:pt x="4" y="0"/>
                      <a:pt x="4" y="0"/>
                    </a:cubicBezTo>
                    <a:cubicBezTo>
                      <a:pt x="2" y="2"/>
                      <a:pt x="1" y="6"/>
                      <a:pt x="0" y="8"/>
                    </a:cubicBezTo>
                    <a:cubicBezTo>
                      <a:pt x="4" y="8"/>
                      <a:pt x="4" y="8"/>
                      <a:pt x="5" y="4"/>
                    </a:cubicBezTo>
                    <a:cubicBezTo>
                      <a:pt x="5" y="3"/>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297"/>
              <p:cNvSpPr/>
              <p:nvPr/>
            </p:nvSpPr>
            <p:spPr bwMode="auto">
              <a:xfrm>
                <a:off x="6064" y="-1519"/>
                <a:ext cx="68" cy="19"/>
              </a:xfrm>
              <a:custGeom>
                <a:gdLst>
                  <a:gd name="T0" fmla="*/ 16 w 29"/>
                  <a:gd name="T1" fmla="*/ 0 h 8"/>
                  <a:gd name="T2" fmla="*/ 12 w 29"/>
                  <a:gd name="T3" fmla="*/ 1 h 8"/>
                  <a:gd name="T4" fmla="*/ 7 w 29"/>
                  <a:gd name="T5" fmla="*/ 1 h 8"/>
                  <a:gd name="T6" fmla="*/ 7 w 29"/>
                  <a:gd name="T7" fmla="*/ 1 h 8"/>
                  <a:gd name="T8" fmla="*/ 5 w 29"/>
                  <a:gd name="T9" fmla="*/ 8 h 8"/>
                  <a:gd name="T10" fmla="*/ 8 w 29"/>
                  <a:gd name="T11" fmla="*/ 8 h 8"/>
                  <a:gd name="T12" fmla="*/ 13 w 29"/>
                  <a:gd name="T13" fmla="*/ 8 h 8"/>
                  <a:gd name="T14" fmla="*/ 29 w 29"/>
                  <a:gd name="T15" fmla="*/ 2 h 8"/>
                  <a:gd name="T16" fmla="*/ 18 w 29"/>
                  <a:gd name="T17" fmla="*/ 1 h 8"/>
                  <a:gd name="T18" fmla="*/ 16 w 29"/>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8">
                    <a:moveTo>
                      <a:pt x="16" y="0"/>
                    </a:moveTo>
                    <a:cubicBezTo>
                      <a:pt x="15" y="0"/>
                      <a:pt x="13" y="1"/>
                      <a:pt x="12" y="1"/>
                    </a:cubicBezTo>
                    <a:cubicBezTo>
                      <a:pt x="10" y="1"/>
                      <a:pt x="9" y="1"/>
                      <a:pt x="7" y="1"/>
                    </a:cubicBezTo>
                    <a:cubicBezTo>
                      <a:pt x="7" y="1"/>
                      <a:pt x="7" y="1"/>
                      <a:pt x="7" y="1"/>
                    </a:cubicBezTo>
                    <a:cubicBezTo>
                      <a:pt x="5" y="3"/>
                      <a:pt x="0" y="7"/>
                      <a:pt x="5" y="8"/>
                    </a:cubicBezTo>
                    <a:cubicBezTo>
                      <a:pt x="6" y="8"/>
                      <a:pt x="7" y="8"/>
                      <a:pt x="8" y="8"/>
                    </a:cubicBezTo>
                    <a:cubicBezTo>
                      <a:pt x="9" y="8"/>
                      <a:pt x="11" y="8"/>
                      <a:pt x="13" y="8"/>
                    </a:cubicBezTo>
                    <a:cubicBezTo>
                      <a:pt x="18" y="7"/>
                      <a:pt x="26" y="8"/>
                      <a:pt x="29" y="2"/>
                    </a:cubicBezTo>
                    <a:cubicBezTo>
                      <a:pt x="26" y="2"/>
                      <a:pt x="22" y="2"/>
                      <a:pt x="18" y="1"/>
                    </a:cubicBezTo>
                    <a:cubicBezTo>
                      <a:pt x="18"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298"/>
              <p:cNvSpPr/>
              <p:nvPr/>
            </p:nvSpPr>
            <p:spPr bwMode="auto">
              <a:xfrm>
                <a:off x="5324" y="-1542"/>
                <a:ext cx="137" cy="54"/>
              </a:xfrm>
              <a:custGeom>
                <a:gdLst>
                  <a:gd name="T0" fmla="*/ 42 w 58"/>
                  <a:gd name="T1" fmla="*/ 0 h 23"/>
                  <a:gd name="T2" fmla="*/ 41 w 58"/>
                  <a:gd name="T3" fmla="*/ 1 h 23"/>
                  <a:gd name="T4" fmla="*/ 36 w 58"/>
                  <a:gd name="T5" fmla="*/ 2 h 23"/>
                  <a:gd name="T6" fmla="*/ 33 w 58"/>
                  <a:gd name="T7" fmla="*/ 4 h 23"/>
                  <a:gd name="T8" fmla="*/ 31 w 58"/>
                  <a:gd name="T9" fmla="*/ 10 h 23"/>
                  <a:gd name="T10" fmla="*/ 28 w 58"/>
                  <a:gd name="T11" fmla="*/ 10 h 23"/>
                  <a:gd name="T12" fmla="*/ 26 w 58"/>
                  <a:gd name="T13" fmla="*/ 10 h 23"/>
                  <a:gd name="T14" fmla="*/ 21 w 58"/>
                  <a:gd name="T15" fmla="*/ 10 h 23"/>
                  <a:gd name="T16" fmla="*/ 11 w 58"/>
                  <a:gd name="T17" fmla="*/ 13 h 23"/>
                  <a:gd name="T18" fmla="*/ 7 w 58"/>
                  <a:gd name="T19" fmla="*/ 15 h 23"/>
                  <a:gd name="T20" fmla="*/ 3 w 58"/>
                  <a:gd name="T21" fmla="*/ 18 h 23"/>
                  <a:gd name="T22" fmla="*/ 12 w 58"/>
                  <a:gd name="T23" fmla="*/ 23 h 23"/>
                  <a:gd name="T24" fmla="*/ 15 w 58"/>
                  <a:gd name="T25" fmla="*/ 23 h 23"/>
                  <a:gd name="T26" fmla="*/ 21 w 58"/>
                  <a:gd name="T27" fmla="*/ 22 h 23"/>
                  <a:gd name="T28" fmla="*/ 58 w 58"/>
                  <a:gd name="T29" fmla="*/ 13 h 23"/>
                  <a:gd name="T30" fmla="*/ 56 w 58"/>
                  <a:gd name="T31" fmla="*/ 10 h 23"/>
                  <a:gd name="T32" fmla="*/ 55 w 58"/>
                  <a:gd name="T33" fmla="*/ 6 h 23"/>
                  <a:gd name="T34" fmla="*/ 52 w 58"/>
                  <a:gd name="T35" fmla="*/ 3 h 23"/>
                  <a:gd name="T36" fmla="*/ 42 w 58"/>
                  <a:gd name="T37"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23">
                    <a:moveTo>
                      <a:pt x="42" y="0"/>
                    </a:moveTo>
                    <a:cubicBezTo>
                      <a:pt x="42" y="0"/>
                      <a:pt x="41" y="0"/>
                      <a:pt x="41" y="1"/>
                    </a:cubicBezTo>
                    <a:cubicBezTo>
                      <a:pt x="39" y="1"/>
                      <a:pt x="37" y="1"/>
                      <a:pt x="36" y="2"/>
                    </a:cubicBezTo>
                    <a:cubicBezTo>
                      <a:pt x="35" y="2"/>
                      <a:pt x="34" y="3"/>
                      <a:pt x="33" y="4"/>
                    </a:cubicBezTo>
                    <a:cubicBezTo>
                      <a:pt x="32" y="5"/>
                      <a:pt x="33" y="10"/>
                      <a:pt x="31" y="10"/>
                    </a:cubicBezTo>
                    <a:cubicBezTo>
                      <a:pt x="30" y="10"/>
                      <a:pt x="29" y="10"/>
                      <a:pt x="28" y="10"/>
                    </a:cubicBezTo>
                    <a:cubicBezTo>
                      <a:pt x="27" y="10"/>
                      <a:pt x="27" y="10"/>
                      <a:pt x="26" y="10"/>
                    </a:cubicBezTo>
                    <a:cubicBezTo>
                      <a:pt x="24" y="10"/>
                      <a:pt x="23" y="10"/>
                      <a:pt x="21" y="10"/>
                    </a:cubicBezTo>
                    <a:cubicBezTo>
                      <a:pt x="17" y="10"/>
                      <a:pt x="14" y="11"/>
                      <a:pt x="11" y="13"/>
                    </a:cubicBezTo>
                    <a:cubicBezTo>
                      <a:pt x="9" y="14"/>
                      <a:pt x="8" y="14"/>
                      <a:pt x="7" y="15"/>
                    </a:cubicBezTo>
                    <a:cubicBezTo>
                      <a:pt x="4" y="15"/>
                      <a:pt x="0" y="16"/>
                      <a:pt x="3" y="18"/>
                    </a:cubicBezTo>
                    <a:cubicBezTo>
                      <a:pt x="6" y="20"/>
                      <a:pt x="9" y="21"/>
                      <a:pt x="12" y="23"/>
                    </a:cubicBezTo>
                    <a:cubicBezTo>
                      <a:pt x="13" y="23"/>
                      <a:pt x="14" y="23"/>
                      <a:pt x="15" y="23"/>
                    </a:cubicBezTo>
                    <a:cubicBezTo>
                      <a:pt x="17" y="23"/>
                      <a:pt x="19" y="23"/>
                      <a:pt x="21" y="22"/>
                    </a:cubicBezTo>
                    <a:cubicBezTo>
                      <a:pt x="33" y="19"/>
                      <a:pt x="46" y="16"/>
                      <a:pt x="58" y="13"/>
                    </a:cubicBezTo>
                    <a:cubicBezTo>
                      <a:pt x="58" y="11"/>
                      <a:pt x="57" y="11"/>
                      <a:pt x="56" y="10"/>
                    </a:cubicBezTo>
                    <a:cubicBezTo>
                      <a:pt x="55" y="9"/>
                      <a:pt x="55" y="7"/>
                      <a:pt x="55" y="6"/>
                    </a:cubicBezTo>
                    <a:cubicBezTo>
                      <a:pt x="54" y="4"/>
                      <a:pt x="54" y="3"/>
                      <a:pt x="52" y="3"/>
                    </a:cubicBezTo>
                    <a:cubicBezTo>
                      <a:pt x="49" y="1"/>
                      <a:pt x="46"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299"/>
              <p:cNvSpPr/>
              <p:nvPr/>
            </p:nvSpPr>
            <p:spPr bwMode="auto">
              <a:xfrm>
                <a:off x="7531" y="-895"/>
                <a:ext cx="92" cy="41"/>
              </a:xfrm>
              <a:custGeom>
                <a:gdLst>
                  <a:gd name="T0" fmla="*/ 13 w 39"/>
                  <a:gd name="T1" fmla="*/ 0 h 17"/>
                  <a:gd name="T2" fmla="*/ 10 w 39"/>
                  <a:gd name="T3" fmla="*/ 1 h 17"/>
                  <a:gd name="T4" fmla="*/ 10 w 39"/>
                  <a:gd name="T5" fmla="*/ 6 h 17"/>
                  <a:gd name="T6" fmla="*/ 0 w 39"/>
                  <a:gd name="T7" fmla="*/ 9 h 17"/>
                  <a:gd name="T8" fmla="*/ 6 w 39"/>
                  <a:gd name="T9" fmla="*/ 12 h 17"/>
                  <a:gd name="T10" fmla="*/ 12 w 39"/>
                  <a:gd name="T11" fmla="*/ 14 h 17"/>
                  <a:gd name="T12" fmla="*/ 19 w 39"/>
                  <a:gd name="T13" fmla="*/ 16 h 17"/>
                  <a:gd name="T14" fmla="*/ 26 w 39"/>
                  <a:gd name="T15" fmla="*/ 17 h 17"/>
                  <a:gd name="T16" fmla="*/ 37 w 39"/>
                  <a:gd name="T17" fmla="*/ 6 h 17"/>
                  <a:gd name="T18" fmla="*/ 32 w 39"/>
                  <a:gd name="T19" fmla="*/ 2 h 17"/>
                  <a:gd name="T20" fmla="*/ 22 w 39"/>
                  <a:gd name="T21" fmla="*/ 1 h 17"/>
                  <a:gd name="T22" fmla="*/ 13 w 39"/>
                  <a:gd name="T2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7">
                    <a:moveTo>
                      <a:pt x="13" y="0"/>
                    </a:moveTo>
                    <a:cubicBezTo>
                      <a:pt x="12" y="0"/>
                      <a:pt x="11" y="0"/>
                      <a:pt x="10" y="1"/>
                    </a:cubicBezTo>
                    <a:cubicBezTo>
                      <a:pt x="9" y="3"/>
                      <a:pt x="11" y="4"/>
                      <a:pt x="10" y="6"/>
                    </a:cubicBezTo>
                    <a:cubicBezTo>
                      <a:pt x="8" y="8"/>
                      <a:pt x="3" y="7"/>
                      <a:pt x="0" y="9"/>
                    </a:cubicBezTo>
                    <a:cubicBezTo>
                      <a:pt x="1" y="11"/>
                      <a:pt x="4" y="11"/>
                      <a:pt x="6" y="12"/>
                    </a:cubicBezTo>
                    <a:cubicBezTo>
                      <a:pt x="9" y="12"/>
                      <a:pt x="10" y="13"/>
                      <a:pt x="12" y="14"/>
                    </a:cubicBezTo>
                    <a:cubicBezTo>
                      <a:pt x="14" y="16"/>
                      <a:pt x="16" y="15"/>
                      <a:pt x="19" y="16"/>
                    </a:cubicBezTo>
                    <a:cubicBezTo>
                      <a:pt x="21" y="16"/>
                      <a:pt x="23" y="17"/>
                      <a:pt x="26" y="17"/>
                    </a:cubicBezTo>
                    <a:cubicBezTo>
                      <a:pt x="29" y="13"/>
                      <a:pt x="33" y="10"/>
                      <a:pt x="37" y="6"/>
                    </a:cubicBezTo>
                    <a:cubicBezTo>
                      <a:pt x="39" y="4"/>
                      <a:pt x="34" y="2"/>
                      <a:pt x="32" y="2"/>
                    </a:cubicBezTo>
                    <a:cubicBezTo>
                      <a:pt x="29" y="1"/>
                      <a:pt x="25" y="2"/>
                      <a:pt x="22" y="1"/>
                    </a:cubicBezTo>
                    <a:cubicBezTo>
                      <a:pt x="20" y="1"/>
                      <a:pt x="16"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300"/>
              <p:cNvSpPr/>
              <p:nvPr/>
            </p:nvSpPr>
            <p:spPr bwMode="auto">
              <a:xfrm>
                <a:off x="5118" y="-1611"/>
                <a:ext cx="69" cy="17"/>
              </a:xfrm>
              <a:custGeom>
                <a:gdLst>
                  <a:gd name="T0" fmla="*/ 18 w 29"/>
                  <a:gd name="T1" fmla="*/ 0 h 7"/>
                  <a:gd name="T2" fmla="*/ 11 w 29"/>
                  <a:gd name="T3" fmla="*/ 1 h 7"/>
                  <a:gd name="T4" fmla="*/ 4 w 29"/>
                  <a:gd name="T5" fmla="*/ 3 h 7"/>
                  <a:gd name="T6" fmla="*/ 4 w 29"/>
                  <a:gd name="T7" fmla="*/ 7 h 7"/>
                  <a:gd name="T8" fmla="*/ 17 w 29"/>
                  <a:gd name="T9" fmla="*/ 5 h 7"/>
                  <a:gd name="T10" fmla="*/ 18 w 29"/>
                  <a:gd name="T11" fmla="*/ 5 h 7"/>
                  <a:gd name="T12" fmla="*/ 22 w 29"/>
                  <a:gd name="T13" fmla="*/ 6 h 7"/>
                  <a:gd name="T14" fmla="*/ 29 w 29"/>
                  <a:gd name="T15" fmla="*/ 2 h 7"/>
                  <a:gd name="T16" fmla="*/ 18 w 29"/>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
                    <a:moveTo>
                      <a:pt x="18" y="0"/>
                    </a:moveTo>
                    <a:cubicBezTo>
                      <a:pt x="15" y="0"/>
                      <a:pt x="13" y="1"/>
                      <a:pt x="11" y="1"/>
                    </a:cubicBezTo>
                    <a:cubicBezTo>
                      <a:pt x="9" y="1"/>
                      <a:pt x="1" y="1"/>
                      <a:pt x="4" y="3"/>
                    </a:cubicBezTo>
                    <a:cubicBezTo>
                      <a:pt x="0" y="5"/>
                      <a:pt x="0" y="6"/>
                      <a:pt x="4" y="7"/>
                    </a:cubicBezTo>
                    <a:cubicBezTo>
                      <a:pt x="8" y="7"/>
                      <a:pt x="12" y="5"/>
                      <a:pt x="17" y="5"/>
                    </a:cubicBezTo>
                    <a:cubicBezTo>
                      <a:pt x="17" y="5"/>
                      <a:pt x="17" y="5"/>
                      <a:pt x="18" y="5"/>
                    </a:cubicBezTo>
                    <a:cubicBezTo>
                      <a:pt x="19" y="5"/>
                      <a:pt x="20" y="6"/>
                      <a:pt x="22" y="6"/>
                    </a:cubicBezTo>
                    <a:cubicBezTo>
                      <a:pt x="25" y="6"/>
                      <a:pt x="28" y="5"/>
                      <a:pt x="29" y="2"/>
                    </a:cubicBezTo>
                    <a:cubicBezTo>
                      <a:pt x="26" y="1"/>
                      <a:pt x="22"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301"/>
              <p:cNvSpPr/>
              <p:nvPr/>
            </p:nvSpPr>
            <p:spPr bwMode="auto">
              <a:xfrm>
                <a:off x="4865" y="-625"/>
                <a:ext cx="45" cy="35"/>
              </a:xfrm>
              <a:custGeom>
                <a:gdLst>
                  <a:gd name="T0" fmla="*/ 7 w 19"/>
                  <a:gd name="T1" fmla="*/ 0 h 15"/>
                  <a:gd name="T2" fmla="*/ 0 w 19"/>
                  <a:gd name="T3" fmla="*/ 3 h 15"/>
                  <a:gd name="T4" fmla="*/ 14 w 19"/>
                  <a:gd name="T5" fmla="*/ 15 h 15"/>
                  <a:gd name="T6" fmla="*/ 16 w 19"/>
                  <a:gd name="T7" fmla="*/ 15 h 15"/>
                  <a:gd name="T8" fmla="*/ 16 w 19"/>
                  <a:gd name="T9" fmla="*/ 13 h 15"/>
                  <a:gd name="T10" fmla="*/ 17 w 19"/>
                  <a:gd name="T11" fmla="*/ 11 h 15"/>
                  <a:gd name="T12" fmla="*/ 19 w 19"/>
                  <a:gd name="T13" fmla="*/ 6 h 15"/>
                  <a:gd name="T14" fmla="*/ 13 w 19"/>
                  <a:gd name="T15" fmla="*/ 4 h 15"/>
                  <a:gd name="T16" fmla="*/ 10 w 19"/>
                  <a:gd name="T17" fmla="*/ 2 h 15"/>
                  <a:gd name="T18" fmla="*/ 15 w 19"/>
                  <a:gd name="T19" fmla="*/ 5 h 15"/>
                  <a:gd name="T20" fmla="*/ 7 w 19"/>
                  <a:gd name="T21"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5">
                    <a:moveTo>
                      <a:pt x="7" y="0"/>
                    </a:moveTo>
                    <a:cubicBezTo>
                      <a:pt x="5" y="0"/>
                      <a:pt x="2" y="1"/>
                      <a:pt x="0" y="3"/>
                    </a:cubicBezTo>
                    <a:cubicBezTo>
                      <a:pt x="4" y="7"/>
                      <a:pt x="9" y="11"/>
                      <a:pt x="14" y="15"/>
                    </a:cubicBezTo>
                    <a:cubicBezTo>
                      <a:pt x="15" y="15"/>
                      <a:pt x="15" y="15"/>
                      <a:pt x="16" y="15"/>
                    </a:cubicBezTo>
                    <a:cubicBezTo>
                      <a:pt x="17" y="15"/>
                      <a:pt x="17" y="14"/>
                      <a:pt x="16" y="13"/>
                    </a:cubicBezTo>
                    <a:cubicBezTo>
                      <a:pt x="15" y="11"/>
                      <a:pt x="17" y="12"/>
                      <a:pt x="17" y="11"/>
                    </a:cubicBezTo>
                    <a:cubicBezTo>
                      <a:pt x="18" y="10"/>
                      <a:pt x="19" y="8"/>
                      <a:pt x="19" y="6"/>
                    </a:cubicBezTo>
                    <a:cubicBezTo>
                      <a:pt x="18" y="6"/>
                      <a:pt x="14" y="5"/>
                      <a:pt x="13" y="4"/>
                    </a:cubicBezTo>
                    <a:cubicBezTo>
                      <a:pt x="11" y="3"/>
                      <a:pt x="11" y="3"/>
                      <a:pt x="10" y="2"/>
                    </a:cubicBezTo>
                    <a:cubicBezTo>
                      <a:pt x="12" y="2"/>
                      <a:pt x="13" y="4"/>
                      <a:pt x="15" y="5"/>
                    </a:cubicBezTo>
                    <a:cubicBezTo>
                      <a:pt x="13" y="2"/>
                      <a:pt x="11"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302"/>
              <p:cNvSpPr/>
              <p:nvPr/>
            </p:nvSpPr>
            <p:spPr bwMode="auto">
              <a:xfrm>
                <a:off x="9242" y="1070"/>
                <a:ext cx="50" cy="36"/>
              </a:xfrm>
              <a:custGeom>
                <a:gdLst>
                  <a:gd name="T0" fmla="*/ 18 w 21"/>
                  <a:gd name="T1" fmla="*/ 0 h 15"/>
                  <a:gd name="T2" fmla="*/ 16 w 21"/>
                  <a:gd name="T3" fmla="*/ 1 h 15"/>
                  <a:gd name="T4" fmla="*/ 14 w 21"/>
                  <a:gd name="T5" fmla="*/ 2 h 15"/>
                  <a:gd name="T6" fmla="*/ 11 w 21"/>
                  <a:gd name="T7" fmla="*/ 4 h 15"/>
                  <a:gd name="T8" fmla="*/ 0 w 21"/>
                  <a:gd name="T9" fmla="*/ 15 h 15"/>
                  <a:gd name="T10" fmla="*/ 1 w 21"/>
                  <a:gd name="T11" fmla="*/ 15 h 15"/>
                  <a:gd name="T12" fmla="*/ 2 w 21"/>
                  <a:gd name="T13" fmla="*/ 14 h 15"/>
                  <a:gd name="T14" fmla="*/ 3 w 21"/>
                  <a:gd name="T15" fmla="*/ 14 h 15"/>
                  <a:gd name="T16" fmla="*/ 21 w 21"/>
                  <a:gd name="T17" fmla="*/ 0 h 15"/>
                  <a:gd name="T18" fmla="*/ 20 w 21"/>
                  <a:gd name="T19" fmla="*/ 0 h 15"/>
                  <a:gd name="T20" fmla="*/ 19 w 21"/>
                  <a:gd name="T21" fmla="*/ 0 h 15"/>
                  <a:gd name="T22" fmla="*/ 18 w 21"/>
                  <a:gd name="T2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18" y="0"/>
                    </a:moveTo>
                    <a:cubicBezTo>
                      <a:pt x="17" y="0"/>
                      <a:pt x="17" y="0"/>
                      <a:pt x="16" y="1"/>
                    </a:cubicBezTo>
                    <a:cubicBezTo>
                      <a:pt x="15" y="1"/>
                      <a:pt x="15" y="2"/>
                      <a:pt x="14" y="2"/>
                    </a:cubicBezTo>
                    <a:cubicBezTo>
                      <a:pt x="13" y="3"/>
                      <a:pt x="12" y="3"/>
                      <a:pt x="11" y="4"/>
                    </a:cubicBezTo>
                    <a:cubicBezTo>
                      <a:pt x="7" y="8"/>
                      <a:pt x="3" y="11"/>
                      <a:pt x="0" y="15"/>
                    </a:cubicBezTo>
                    <a:cubicBezTo>
                      <a:pt x="0" y="15"/>
                      <a:pt x="1" y="15"/>
                      <a:pt x="1" y="15"/>
                    </a:cubicBezTo>
                    <a:cubicBezTo>
                      <a:pt x="2" y="15"/>
                      <a:pt x="2" y="15"/>
                      <a:pt x="2" y="14"/>
                    </a:cubicBezTo>
                    <a:cubicBezTo>
                      <a:pt x="3" y="14"/>
                      <a:pt x="3" y="14"/>
                      <a:pt x="3" y="14"/>
                    </a:cubicBezTo>
                    <a:cubicBezTo>
                      <a:pt x="6" y="14"/>
                      <a:pt x="20" y="1"/>
                      <a:pt x="21" y="0"/>
                    </a:cubicBezTo>
                    <a:cubicBezTo>
                      <a:pt x="21" y="0"/>
                      <a:pt x="20" y="0"/>
                      <a:pt x="20" y="0"/>
                    </a:cubicBezTo>
                    <a:cubicBezTo>
                      <a:pt x="20" y="0"/>
                      <a:pt x="19" y="0"/>
                      <a:pt x="19" y="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303"/>
              <p:cNvSpPr/>
              <p:nvPr/>
            </p:nvSpPr>
            <p:spPr bwMode="auto">
              <a:xfrm>
                <a:off x="5080" y="-1467"/>
                <a:ext cx="100" cy="43"/>
              </a:xfrm>
              <a:custGeom>
                <a:gdLst>
                  <a:gd name="T0" fmla="*/ 15 w 42"/>
                  <a:gd name="T1" fmla="*/ 0 h 18"/>
                  <a:gd name="T2" fmla="*/ 15 w 42"/>
                  <a:gd name="T3" fmla="*/ 0 h 18"/>
                  <a:gd name="T4" fmla="*/ 9 w 42"/>
                  <a:gd name="T5" fmla="*/ 0 h 18"/>
                  <a:gd name="T6" fmla="*/ 8 w 42"/>
                  <a:gd name="T7" fmla="*/ 0 h 18"/>
                  <a:gd name="T8" fmla="*/ 4 w 42"/>
                  <a:gd name="T9" fmla="*/ 0 h 18"/>
                  <a:gd name="T10" fmla="*/ 2 w 42"/>
                  <a:gd name="T11" fmla="*/ 0 h 18"/>
                  <a:gd name="T12" fmla="*/ 1 w 42"/>
                  <a:gd name="T13" fmla="*/ 4 h 18"/>
                  <a:gd name="T14" fmla="*/ 3 w 42"/>
                  <a:gd name="T15" fmla="*/ 10 h 18"/>
                  <a:gd name="T16" fmla="*/ 12 w 42"/>
                  <a:gd name="T17" fmla="*/ 17 h 18"/>
                  <a:gd name="T18" fmla="*/ 17 w 42"/>
                  <a:gd name="T19" fmla="*/ 18 h 18"/>
                  <a:gd name="T20" fmla="*/ 18 w 42"/>
                  <a:gd name="T21" fmla="*/ 17 h 18"/>
                  <a:gd name="T22" fmla="*/ 21 w 42"/>
                  <a:gd name="T23" fmla="*/ 13 h 18"/>
                  <a:gd name="T24" fmla="*/ 21 w 42"/>
                  <a:gd name="T25" fmla="*/ 13 h 18"/>
                  <a:gd name="T26" fmla="*/ 25 w 42"/>
                  <a:gd name="T27" fmla="*/ 14 h 18"/>
                  <a:gd name="T28" fmla="*/ 26 w 42"/>
                  <a:gd name="T29" fmla="*/ 11 h 18"/>
                  <a:gd name="T30" fmla="*/ 24 w 42"/>
                  <a:gd name="T31" fmla="*/ 9 h 18"/>
                  <a:gd name="T32" fmla="*/ 28 w 42"/>
                  <a:gd name="T33" fmla="*/ 8 h 18"/>
                  <a:gd name="T34" fmla="*/ 32 w 42"/>
                  <a:gd name="T35" fmla="*/ 7 h 18"/>
                  <a:gd name="T36" fmla="*/ 32 w 42"/>
                  <a:gd name="T37" fmla="*/ 7 h 18"/>
                  <a:gd name="T38" fmla="*/ 40 w 42"/>
                  <a:gd name="T39" fmla="*/ 7 h 18"/>
                  <a:gd name="T40" fmla="*/ 42 w 42"/>
                  <a:gd name="T41" fmla="*/ 7 h 18"/>
                  <a:gd name="T42" fmla="*/ 28 w 42"/>
                  <a:gd name="T43" fmla="*/ 1 h 18"/>
                  <a:gd name="T44" fmla="*/ 15 w 42"/>
                  <a:gd name="T4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18">
                    <a:moveTo>
                      <a:pt x="15" y="0"/>
                    </a:moveTo>
                    <a:cubicBezTo>
                      <a:pt x="15" y="0"/>
                      <a:pt x="15" y="0"/>
                      <a:pt x="15" y="0"/>
                    </a:cubicBezTo>
                    <a:cubicBezTo>
                      <a:pt x="13" y="0"/>
                      <a:pt x="11" y="0"/>
                      <a:pt x="9" y="0"/>
                    </a:cubicBezTo>
                    <a:cubicBezTo>
                      <a:pt x="9" y="0"/>
                      <a:pt x="8" y="0"/>
                      <a:pt x="8" y="0"/>
                    </a:cubicBezTo>
                    <a:cubicBezTo>
                      <a:pt x="7" y="0"/>
                      <a:pt x="6" y="0"/>
                      <a:pt x="4" y="0"/>
                    </a:cubicBezTo>
                    <a:cubicBezTo>
                      <a:pt x="3" y="0"/>
                      <a:pt x="2" y="0"/>
                      <a:pt x="2" y="0"/>
                    </a:cubicBezTo>
                    <a:cubicBezTo>
                      <a:pt x="0" y="1"/>
                      <a:pt x="0" y="2"/>
                      <a:pt x="1" y="4"/>
                    </a:cubicBezTo>
                    <a:cubicBezTo>
                      <a:pt x="1" y="6"/>
                      <a:pt x="3" y="8"/>
                      <a:pt x="3" y="10"/>
                    </a:cubicBezTo>
                    <a:cubicBezTo>
                      <a:pt x="5" y="15"/>
                      <a:pt x="7" y="15"/>
                      <a:pt x="12" y="17"/>
                    </a:cubicBezTo>
                    <a:cubicBezTo>
                      <a:pt x="13" y="17"/>
                      <a:pt x="15" y="18"/>
                      <a:pt x="17" y="18"/>
                    </a:cubicBezTo>
                    <a:cubicBezTo>
                      <a:pt x="17" y="18"/>
                      <a:pt x="18" y="17"/>
                      <a:pt x="18" y="17"/>
                    </a:cubicBezTo>
                    <a:cubicBezTo>
                      <a:pt x="20" y="16"/>
                      <a:pt x="18" y="13"/>
                      <a:pt x="21" y="13"/>
                    </a:cubicBezTo>
                    <a:cubicBezTo>
                      <a:pt x="21" y="13"/>
                      <a:pt x="21" y="13"/>
                      <a:pt x="21" y="13"/>
                    </a:cubicBezTo>
                    <a:cubicBezTo>
                      <a:pt x="22" y="13"/>
                      <a:pt x="24" y="14"/>
                      <a:pt x="25" y="14"/>
                    </a:cubicBezTo>
                    <a:cubicBezTo>
                      <a:pt x="27" y="14"/>
                      <a:pt x="29" y="13"/>
                      <a:pt x="26" y="11"/>
                    </a:cubicBezTo>
                    <a:cubicBezTo>
                      <a:pt x="26" y="11"/>
                      <a:pt x="23" y="10"/>
                      <a:pt x="24" y="9"/>
                    </a:cubicBezTo>
                    <a:cubicBezTo>
                      <a:pt x="24" y="8"/>
                      <a:pt x="26" y="8"/>
                      <a:pt x="28" y="8"/>
                    </a:cubicBezTo>
                    <a:cubicBezTo>
                      <a:pt x="29" y="8"/>
                      <a:pt x="30" y="7"/>
                      <a:pt x="32" y="7"/>
                    </a:cubicBezTo>
                    <a:cubicBezTo>
                      <a:pt x="32" y="7"/>
                      <a:pt x="32" y="7"/>
                      <a:pt x="32" y="7"/>
                    </a:cubicBezTo>
                    <a:cubicBezTo>
                      <a:pt x="35" y="7"/>
                      <a:pt x="37" y="7"/>
                      <a:pt x="40" y="7"/>
                    </a:cubicBezTo>
                    <a:cubicBezTo>
                      <a:pt x="41" y="7"/>
                      <a:pt x="42" y="7"/>
                      <a:pt x="42" y="7"/>
                    </a:cubicBezTo>
                    <a:cubicBezTo>
                      <a:pt x="40" y="3"/>
                      <a:pt x="32" y="2"/>
                      <a:pt x="28" y="1"/>
                    </a:cubicBezTo>
                    <a:cubicBezTo>
                      <a:pt x="24" y="0"/>
                      <a:pt x="19"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304"/>
              <p:cNvSpPr/>
              <p:nvPr/>
            </p:nvSpPr>
            <p:spPr bwMode="auto">
              <a:xfrm>
                <a:off x="9112" y="1200"/>
                <a:ext cx="14" cy="7"/>
              </a:xfrm>
              <a:custGeom>
                <a:gdLst>
                  <a:gd name="T0" fmla="*/ 6 w 6"/>
                  <a:gd name="T1" fmla="*/ 0 h 3"/>
                  <a:gd name="T2" fmla="*/ 1 w 6"/>
                  <a:gd name="T3" fmla="*/ 3 h 3"/>
                  <a:gd name="T4" fmla="*/ 6 w 6"/>
                  <a:gd name="T5" fmla="*/ 0 h 3"/>
                  <a:gd name="T6" fmla="*/ 6 w 6"/>
                  <a:gd name="T7" fmla="*/ 0 h 3"/>
                </a:gdLst>
                <a:cxnLst>
                  <a:cxn ang="0">
                    <a:pos x="T0" y="T1"/>
                  </a:cxn>
                  <a:cxn ang="0">
                    <a:pos x="T2" y="T3"/>
                  </a:cxn>
                  <a:cxn ang="0">
                    <a:pos x="T4" y="T5"/>
                  </a:cxn>
                  <a:cxn ang="0">
                    <a:pos x="T6" y="T7"/>
                  </a:cxn>
                </a:cxnLst>
                <a:rect l="0" t="0" r="r" b="b"/>
                <a:pathLst>
                  <a:path w="6" h="3">
                    <a:moveTo>
                      <a:pt x="6" y="0"/>
                    </a:moveTo>
                    <a:cubicBezTo>
                      <a:pt x="4" y="0"/>
                      <a:pt x="0" y="1"/>
                      <a:pt x="1" y="3"/>
                    </a:cubicBezTo>
                    <a:cubicBezTo>
                      <a:pt x="3" y="2"/>
                      <a:pt x="4"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305"/>
              <p:cNvSpPr/>
              <p:nvPr/>
            </p:nvSpPr>
            <p:spPr bwMode="auto">
              <a:xfrm>
                <a:off x="5040" y="-1531"/>
                <a:ext cx="97" cy="26"/>
              </a:xfrm>
              <a:custGeom>
                <a:gdLst>
                  <a:gd name="T0" fmla="*/ 0 w 41"/>
                  <a:gd name="T1" fmla="*/ 0 h 11"/>
                  <a:gd name="T2" fmla="*/ 13 w 41"/>
                  <a:gd name="T3" fmla="*/ 3 h 11"/>
                  <a:gd name="T4" fmla="*/ 16 w 41"/>
                  <a:gd name="T5" fmla="*/ 6 h 11"/>
                  <a:gd name="T6" fmla="*/ 21 w 41"/>
                  <a:gd name="T7" fmla="*/ 7 h 11"/>
                  <a:gd name="T8" fmla="*/ 28 w 41"/>
                  <a:gd name="T9" fmla="*/ 11 h 11"/>
                  <a:gd name="T10" fmla="*/ 41 w 41"/>
                  <a:gd name="T11" fmla="*/ 8 h 11"/>
                  <a:gd name="T12" fmla="*/ 0 w 41"/>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41" h="11">
                    <a:moveTo>
                      <a:pt x="0" y="0"/>
                    </a:moveTo>
                    <a:cubicBezTo>
                      <a:pt x="4" y="1"/>
                      <a:pt x="9" y="1"/>
                      <a:pt x="13" y="3"/>
                    </a:cubicBezTo>
                    <a:cubicBezTo>
                      <a:pt x="14" y="4"/>
                      <a:pt x="15" y="6"/>
                      <a:pt x="16" y="6"/>
                    </a:cubicBezTo>
                    <a:cubicBezTo>
                      <a:pt x="17" y="6"/>
                      <a:pt x="20" y="6"/>
                      <a:pt x="21" y="7"/>
                    </a:cubicBezTo>
                    <a:cubicBezTo>
                      <a:pt x="23" y="10"/>
                      <a:pt x="25" y="11"/>
                      <a:pt x="28" y="11"/>
                    </a:cubicBezTo>
                    <a:cubicBezTo>
                      <a:pt x="33" y="11"/>
                      <a:pt x="37" y="9"/>
                      <a:pt x="41" y="8"/>
                    </a:cubicBezTo>
                    <a:cubicBezTo>
                      <a:pt x="27" y="5"/>
                      <a:pt x="1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306"/>
              <p:cNvSpPr/>
              <p:nvPr/>
            </p:nvSpPr>
            <p:spPr bwMode="auto">
              <a:xfrm>
                <a:off x="4537" y="-1505"/>
                <a:ext cx="175" cy="43"/>
              </a:xfrm>
              <a:custGeom>
                <a:gdLst>
                  <a:gd name="T0" fmla="*/ 48 w 74"/>
                  <a:gd name="T1" fmla="*/ 0 h 18"/>
                  <a:gd name="T2" fmla="*/ 37 w 74"/>
                  <a:gd name="T3" fmla="*/ 2 h 18"/>
                  <a:gd name="T4" fmla="*/ 0 w 74"/>
                  <a:gd name="T5" fmla="*/ 10 h 18"/>
                  <a:gd name="T6" fmla="*/ 8 w 74"/>
                  <a:gd name="T7" fmla="*/ 13 h 18"/>
                  <a:gd name="T8" fmla="*/ 11 w 74"/>
                  <a:gd name="T9" fmla="*/ 14 h 18"/>
                  <a:gd name="T10" fmla="*/ 13 w 74"/>
                  <a:gd name="T11" fmla="*/ 14 h 18"/>
                  <a:gd name="T12" fmla="*/ 19 w 74"/>
                  <a:gd name="T13" fmla="*/ 13 h 18"/>
                  <a:gd name="T14" fmla="*/ 20 w 74"/>
                  <a:gd name="T15" fmla="*/ 13 h 18"/>
                  <a:gd name="T16" fmla="*/ 21 w 74"/>
                  <a:gd name="T17" fmla="*/ 18 h 18"/>
                  <a:gd name="T18" fmla="*/ 22 w 74"/>
                  <a:gd name="T19" fmla="*/ 18 h 18"/>
                  <a:gd name="T20" fmla="*/ 29 w 74"/>
                  <a:gd name="T21" fmla="*/ 17 h 18"/>
                  <a:gd name="T22" fmla="*/ 36 w 74"/>
                  <a:gd name="T23" fmla="*/ 13 h 18"/>
                  <a:gd name="T24" fmla="*/ 37 w 74"/>
                  <a:gd name="T25" fmla="*/ 13 h 18"/>
                  <a:gd name="T26" fmla="*/ 37 w 74"/>
                  <a:gd name="T27" fmla="*/ 13 h 18"/>
                  <a:gd name="T28" fmla="*/ 40 w 74"/>
                  <a:gd name="T29" fmla="*/ 13 h 18"/>
                  <a:gd name="T30" fmla="*/ 42 w 74"/>
                  <a:gd name="T31" fmla="*/ 11 h 18"/>
                  <a:gd name="T32" fmla="*/ 42 w 74"/>
                  <a:gd name="T33" fmla="*/ 11 h 18"/>
                  <a:gd name="T34" fmla="*/ 44 w 74"/>
                  <a:gd name="T35" fmla="*/ 11 h 18"/>
                  <a:gd name="T36" fmla="*/ 46 w 74"/>
                  <a:gd name="T37" fmla="*/ 12 h 18"/>
                  <a:gd name="T38" fmla="*/ 47 w 74"/>
                  <a:gd name="T39" fmla="*/ 11 h 18"/>
                  <a:gd name="T40" fmla="*/ 48 w 74"/>
                  <a:gd name="T41" fmla="*/ 9 h 18"/>
                  <a:gd name="T42" fmla="*/ 49 w 74"/>
                  <a:gd name="T43" fmla="*/ 8 h 18"/>
                  <a:gd name="T44" fmla="*/ 52 w 74"/>
                  <a:gd name="T45" fmla="*/ 4 h 18"/>
                  <a:gd name="T46" fmla="*/ 53 w 74"/>
                  <a:gd name="T47" fmla="*/ 4 h 18"/>
                  <a:gd name="T48" fmla="*/ 55 w 74"/>
                  <a:gd name="T49" fmla="*/ 5 h 18"/>
                  <a:gd name="T50" fmla="*/ 57 w 74"/>
                  <a:gd name="T51" fmla="*/ 6 h 18"/>
                  <a:gd name="T52" fmla="*/ 57 w 74"/>
                  <a:gd name="T53" fmla="*/ 6 h 18"/>
                  <a:gd name="T54" fmla="*/ 58 w 74"/>
                  <a:gd name="T55" fmla="*/ 6 h 18"/>
                  <a:gd name="T56" fmla="*/ 60 w 74"/>
                  <a:gd name="T57" fmla="*/ 9 h 18"/>
                  <a:gd name="T58" fmla="*/ 63 w 74"/>
                  <a:gd name="T59" fmla="*/ 9 h 18"/>
                  <a:gd name="T60" fmla="*/ 63 w 74"/>
                  <a:gd name="T61" fmla="*/ 9 h 18"/>
                  <a:gd name="T62" fmla="*/ 64 w 74"/>
                  <a:gd name="T63" fmla="*/ 9 h 18"/>
                  <a:gd name="T64" fmla="*/ 65 w 74"/>
                  <a:gd name="T65" fmla="*/ 9 h 18"/>
                  <a:gd name="T66" fmla="*/ 72 w 74"/>
                  <a:gd name="T67" fmla="*/ 10 h 18"/>
                  <a:gd name="T68" fmla="*/ 72 w 74"/>
                  <a:gd name="T69" fmla="*/ 10 h 18"/>
                  <a:gd name="T70" fmla="*/ 70 w 74"/>
                  <a:gd name="T71" fmla="*/ 6 h 18"/>
                  <a:gd name="T72" fmla="*/ 69 w 74"/>
                  <a:gd name="T73" fmla="*/ 3 h 18"/>
                  <a:gd name="T74" fmla="*/ 62 w 74"/>
                  <a:gd name="T75" fmla="*/ 1 h 18"/>
                  <a:gd name="T76" fmla="*/ 50 w 74"/>
                  <a:gd name="T77" fmla="*/ 0 h 18"/>
                  <a:gd name="T78" fmla="*/ 48 w 74"/>
                  <a:gd name="T79"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18">
                    <a:moveTo>
                      <a:pt x="48" y="0"/>
                    </a:moveTo>
                    <a:cubicBezTo>
                      <a:pt x="45" y="0"/>
                      <a:pt x="41" y="1"/>
                      <a:pt x="37" y="2"/>
                    </a:cubicBezTo>
                    <a:cubicBezTo>
                      <a:pt x="25" y="5"/>
                      <a:pt x="12" y="7"/>
                      <a:pt x="0" y="10"/>
                    </a:cubicBezTo>
                    <a:cubicBezTo>
                      <a:pt x="3" y="11"/>
                      <a:pt x="6" y="11"/>
                      <a:pt x="8" y="13"/>
                    </a:cubicBezTo>
                    <a:cubicBezTo>
                      <a:pt x="10" y="14"/>
                      <a:pt x="10" y="14"/>
                      <a:pt x="11" y="14"/>
                    </a:cubicBezTo>
                    <a:cubicBezTo>
                      <a:pt x="12" y="14"/>
                      <a:pt x="12" y="14"/>
                      <a:pt x="13" y="14"/>
                    </a:cubicBezTo>
                    <a:cubicBezTo>
                      <a:pt x="15" y="14"/>
                      <a:pt x="17" y="13"/>
                      <a:pt x="19" y="13"/>
                    </a:cubicBezTo>
                    <a:cubicBezTo>
                      <a:pt x="19" y="13"/>
                      <a:pt x="20" y="13"/>
                      <a:pt x="20" y="13"/>
                    </a:cubicBezTo>
                    <a:cubicBezTo>
                      <a:pt x="23" y="13"/>
                      <a:pt x="19" y="18"/>
                      <a:pt x="21" y="18"/>
                    </a:cubicBezTo>
                    <a:cubicBezTo>
                      <a:pt x="22" y="18"/>
                      <a:pt x="22" y="18"/>
                      <a:pt x="22" y="18"/>
                    </a:cubicBezTo>
                    <a:cubicBezTo>
                      <a:pt x="24" y="18"/>
                      <a:pt x="28" y="18"/>
                      <a:pt x="29" y="17"/>
                    </a:cubicBezTo>
                    <a:cubicBezTo>
                      <a:pt x="32" y="16"/>
                      <a:pt x="33" y="13"/>
                      <a:pt x="36" y="13"/>
                    </a:cubicBezTo>
                    <a:cubicBezTo>
                      <a:pt x="36" y="13"/>
                      <a:pt x="36" y="13"/>
                      <a:pt x="37" y="13"/>
                    </a:cubicBezTo>
                    <a:cubicBezTo>
                      <a:pt x="37" y="13"/>
                      <a:pt x="37" y="13"/>
                      <a:pt x="37" y="13"/>
                    </a:cubicBezTo>
                    <a:cubicBezTo>
                      <a:pt x="38" y="13"/>
                      <a:pt x="39" y="13"/>
                      <a:pt x="40" y="13"/>
                    </a:cubicBezTo>
                    <a:cubicBezTo>
                      <a:pt x="40" y="12"/>
                      <a:pt x="41" y="11"/>
                      <a:pt x="42" y="11"/>
                    </a:cubicBezTo>
                    <a:cubicBezTo>
                      <a:pt x="42" y="11"/>
                      <a:pt x="42" y="11"/>
                      <a:pt x="42" y="11"/>
                    </a:cubicBezTo>
                    <a:cubicBezTo>
                      <a:pt x="43" y="11"/>
                      <a:pt x="44" y="11"/>
                      <a:pt x="44" y="11"/>
                    </a:cubicBezTo>
                    <a:cubicBezTo>
                      <a:pt x="45" y="11"/>
                      <a:pt x="46" y="12"/>
                      <a:pt x="46" y="12"/>
                    </a:cubicBezTo>
                    <a:cubicBezTo>
                      <a:pt x="47" y="12"/>
                      <a:pt x="47" y="12"/>
                      <a:pt x="47" y="11"/>
                    </a:cubicBezTo>
                    <a:cubicBezTo>
                      <a:pt x="48" y="11"/>
                      <a:pt x="48" y="9"/>
                      <a:pt x="48" y="9"/>
                    </a:cubicBezTo>
                    <a:cubicBezTo>
                      <a:pt x="48" y="8"/>
                      <a:pt x="49" y="8"/>
                      <a:pt x="49" y="8"/>
                    </a:cubicBezTo>
                    <a:cubicBezTo>
                      <a:pt x="50" y="7"/>
                      <a:pt x="51" y="4"/>
                      <a:pt x="52" y="4"/>
                    </a:cubicBezTo>
                    <a:cubicBezTo>
                      <a:pt x="52" y="4"/>
                      <a:pt x="53" y="4"/>
                      <a:pt x="53" y="4"/>
                    </a:cubicBezTo>
                    <a:cubicBezTo>
                      <a:pt x="54" y="4"/>
                      <a:pt x="54" y="4"/>
                      <a:pt x="55" y="5"/>
                    </a:cubicBezTo>
                    <a:cubicBezTo>
                      <a:pt x="56" y="6"/>
                      <a:pt x="56" y="6"/>
                      <a:pt x="57" y="6"/>
                    </a:cubicBezTo>
                    <a:cubicBezTo>
                      <a:pt x="57" y="6"/>
                      <a:pt x="57" y="6"/>
                      <a:pt x="57" y="6"/>
                    </a:cubicBezTo>
                    <a:cubicBezTo>
                      <a:pt x="57" y="6"/>
                      <a:pt x="58" y="6"/>
                      <a:pt x="58" y="6"/>
                    </a:cubicBezTo>
                    <a:cubicBezTo>
                      <a:pt x="58" y="6"/>
                      <a:pt x="59" y="8"/>
                      <a:pt x="60" y="9"/>
                    </a:cubicBezTo>
                    <a:cubicBezTo>
                      <a:pt x="61" y="9"/>
                      <a:pt x="62" y="9"/>
                      <a:pt x="63" y="9"/>
                    </a:cubicBezTo>
                    <a:cubicBezTo>
                      <a:pt x="63" y="9"/>
                      <a:pt x="63" y="9"/>
                      <a:pt x="63" y="9"/>
                    </a:cubicBezTo>
                    <a:cubicBezTo>
                      <a:pt x="63" y="9"/>
                      <a:pt x="64" y="9"/>
                      <a:pt x="64" y="9"/>
                    </a:cubicBezTo>
                    <a:cubicBezTo>
                      <a:pt x="64" y="9"/>
                      <a:pt x="64" y="9"/>
                      <a:pt x="65" y="9"/>
                    </a:cubicBezTo>
                    <a:cubicBezTo>
                      <a:pt x="67" y="9"/>
                      <a:pt x="69" y="10"/>
                      <a:pt x="72" y="10"/>
                    </a:cubicBezTo>
                    <a:cubicBezTo>
                      <a:pt x="72" y="10"/>
                      <a:pt x="72" y="10"/>
                      <a:pt x="72" y="10"/>
                    </a:cubicBezTo>
                    <a:cubicBezTo>
                      <a:pt x="74" y="10"/>
                      <a:pt x="70" y="6"/>
                      <a:pt x="70" y="6"/>
                    </a:cubicBezTo>
                    <a:cubicBezTo>
                      <a:pt x="69" y="4"/>
                      <a:pt x="71" y="5"/>
                      <a:pt x="69" y="3"/>
                    </a:cubicBezTo>
                    <a:cubicBezTo>
                      <a:pt x="67" y="2"/>
                      <a:pt x="63" y="1"/>
                      <a:pt x="62" y="1"/>
                    </a:cubicBezTo>
                    <a:cubicBezTo>
                      <a:pt x="57" y="1"/>
                      <a:pt x="54" y="0"/>
                      <a:pt x="50" y="0"/>
                    </a:cubicBezTo>
                    <a:cubicBezTo>
                      <a:pt x="49" y="0"/>
                      <a:pt x="49"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307"/>
              <p:cNvSpPr/>
              <p:nvPr/>
            </p:nvSpPr>
            <p:spPr bwMode="auto">
              <a:xfrm>
                <a:off x="5182" y="-1509"/>
                <a:ext cx="135" cy="52"/>
              </a:xfrm>
              <a:custGeom>
                <a:gdLst>
                  <a:gd name="T0" fmla="*/ 48 w 57"/>
                  <a:gd name="T1" fmla="*/ 0 h 22"/>
                  <a:gd name="T2" fmla="*/ 38 w 57"/>
                  <a:gd name="T3" fmla="*/ 1 h 22"/>
                  <a:gd name="T4" fmla="*/ 15 w 57"/>
                  <a:gd name="T5" fmla="*/ 4 h 22"/>
                  <a:gd name="T6" fmla="*/ 13 w 57"/>
                  <a:gd name="T7" fmla="*/ 4 h 22"/>
                  <a:gd name="T8" fmla="*/ 17 w 57"/>
                  <a:gd name="T9" fmla="*/ 2 h 22"/>
                  <a:gd name="T10" fmla="*/ 14 w 57"/>
                  <a:gd name="T11" fmla="*/ 2 h 22"/>
                  <a:gd name="T12" fmla="*/ 6 w 57"/>
                  <a:gd name="T13" fmla="*/ 4 h 22"/>
                  <a:gd name="T14" fmla="*/ 1 w 57"/>
                  <a:gd name="T15" fmla="*/ 16 h 22"/>
                  <a:gd name="T16" fmla="*/ 8 w 57"/>
                  <a:gd name="T17" fmla="*/ 21 h 22"/>
                  <a:gd name="T18" fmla="*/ 9 w 57"/>
                  <a:gd name="T19" fmla="*/ 21 h 22"/>
                  <a:gd name="T20" fmla="*/ 17 w 57"/>
                  <a:gd name="T21" fmla="*/ 19 h 22"/>
                  <a:gd name="T22" fmla="*/ 19 w 57"/>
                  <a:gd name="T23" fmla="*/ 18 h 22"/>
                  <a:gd name="T24" fmla="*/ 25 w 57"/>
                  <a:gd name="T25" fmla="*/ 20 h 22"/>
                  <a:gd name="T26" fmla="*/ 33 w 57"/>
                  <a:gd name="T27" fmla="*/ 22 h 22"/>
                  <a:gd name="T28" fmla="*/ 35 w 57"/>
                  <a:gd name="T29" fmla="*/ 22 h 22"/>
                  <a:gd name="T30" fmla="*/ 40 w 57"/>
                  <a:gd name="T31" fmla="*/ 18 h 22"/>
                  <a:gd name="T32" fmla="*/ 43 w 57"/>
                  <a:gd name="T33" fmla="*/ 17 h 22"/>
                  <a:gd name="T34" fmla="*/ 46 w 57"/>
                  <a:gd name="T35" fmla="*/ 14 h 22"/>
                  <a:gd name="T36" fmla="*/ 53 w 57"/>
                  <a:gd name="T37" fmla="*/ 12 h 22"/>
                  <a:gd name="T38" fmla="*/ 57 w 57"/>
                  <a:gd name="T39" fmla="*/ 6 h 22"/>
                  <a:gd name="T40" fmla="*/ 48 w 57"/>
                  <a:gd name="T41"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22">
                    <a:moveTo>
                      <a:pt x="48" y="0"/>
                    </a:moveTo>
                    <a:cubicBezTo>
                      <a:pt x="44" y="0"/>
                      <a:pt x="40" y="1"/>
                      <a:pt x="38" y="1"/>
                    </a:cubicBezTo>
                    <a:cubicBezTo>
                      <a:pt x="30" y="3"/>
                      <a:pt x="23" y="4"/>
                      <a:pt x="15" y="4"/>
                    </a:cubicBezTo>
                    <a:cubicBezTo>
                      <a:pt x="15" y="4"/>
                      <a:pt x="14" y="4"/>
                      <a:pt x="13" y="4"/>
                    </a:cubicBezTo>
                    <a:cubicBezTo>
                      <a:pt x="14" y="3"/>
                      <a:pt x="16" y="3"/>
                      <a:pt x="17" y="2"/>
                    </a:cubicBezTo>
                    <a:cubicBezTo>
                      <a:pt x="16" y="2"/>
                      <a:pt x="15" y="2"/>
                      <a:pt x="14" y="2"/>
                    </a:cubicBezTo>
                    <a:cubicBezTo>
                      <a:pt x="12" y="2"/>
                      <a:pt x="8" y="3"/>
                      <a:pt x="6" y="4"/>
                    </a:cubicBezTo>
                    <a:cubicBezTo>
                      <a:pt x="0" y="6"/>
                      <a:pt x="0" y="10"/>
                      <a:pt x="1" y="16"/>
                    </a:cubicBezTo>
                    <a:cubicBezTo>
                      <a:pt x="2" y="17"/>
                      <a:pt x="6" y="21"/>
                      <a:pt x="8" y="21"/>
                    </a:cubicBezTo>
                    <a:cubicBezTo>
                      <a:pt x="8" y="21"/>
                      <a:pt x="9" y="21"/>
                      <a:pt x="9" y="21"/>
                    </a:cubicBezTo>
                    <a:cubicBezTo>
                      <a:pt x="11" y="20"/>
                      <a:pt x="15" y="20"/>
                      <a:pt x="17" y="19"/>
                    </a:cubicBezTo>
                    <a:cubicBezTo>
                      <a:pt x="18" y="18"/>
                      <a:pt x="18" y="18"/>
                      <a:pt x="19" y="18"/>
                    </a:cubicBezTo>
                    <a:cubicBezTo>
                      <a:pt x="21" y="18"/>
                      <a:pt x="23" y="20"/>
                      <a:pt x="25" y="20"/>
                    </a:cubicBezTo>
                    <a:cubicBezTo>
                      <a:pt x="27" y="21"/>
                      <a:pt x="31" y="22"/>
                      <a:pt x="33" y="22"/>
                    </a:cubicBezTo>
                    <a:cubicBezTo>
                      <a:pt x="34" y="22"/>
                      <a:pt x="34" y="22"/>
                      <a:pt x="35" y="22"/>
                    </a:cubicBezTo>
                    <a:cubicBezTo>
                      <a:pt x="36" y="21"/>
                      <a:pt x="39" y="20"/>
                      <a:pt x="40" y="18"/>
                    </a:cubicBezTo>
                    <a:cubicBezTo>
                      <a:pt x="41" y="18"/>
                      <a:pt x="41" y="17"/>
                      <a:pt x="43" y="17"/>
                    </a:cubicBezTo>
                    <a:cubicBezTo>
                      <a:pt x="45" y="16"/>
                      <a:pt x="45" y="15"/>
                      <a:pt x="46" y="14"/>
                    </a:cubicBezTo>
                    <a:cubicBezTo>
                      <a:pt x="48" y="13"/>
                      <a:pt x="51" y="14"/>
                      <a:pt x="53" y="12"/>
                    </a:cubicBezTo>
                    <a:cubicBezTo>
                      <a:pt x="54" y="12"/>
                      <a:pt x="57" y="7"/>
                      <a:pt x="57" y="6"/>
                    </a:cubicBezTo>
                    <a:cubicBezTo>
                      <a:pt x="56" y="1"/>
                      <a:pt x="52"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308"/>
              <p:cNvSpPr/>
              <p:nvPr/>
            </p:nvSpPr>
            <p:spPr bwMode="auto">
              <a:xfrm>
                <a:off x="6605" y="-1422"/>
                <a:ext cx="134" cy="40"/>
              </a:xfrm>
              <a:custGeom>
                <a:gdLst>
                  <a:gd name="T0" fmla="*/ 0 w 57"/>
                  <a:gd name="T1" fmla="*/ 0 h 17"/>
                  <a:gd name="T2" fmla="*/ 3 w 57"/>
                  <a:gd name="T3" fmla="*/ 7 h 17"/>
                  <a:gd name="T4" fmla="*/ 8 w 57"/>
                  <a:gd name="T5" fmla="*/ 10 h 17"/>
                  <a:gd name="T6" fmla="*/ 18 w 57"/>
                  <a:gd name="T7" fmla="*/ 11 h 17"/>
                  <a:gd name="T8" fmla="*/ 21 w 57"/>
                  <a:gd name="T9" fmla="*/ 11 h 17"/>
                  <a:gd name="T10" fmla="*/ 21 w 57"/>
                  <a:gd name="T11" fmla="*/ 16 h 17"/>
                  <a:gd name="T12" fmla="*/ 24 w 57"/>
                  <a:gd name="T13" fmla="*/ 17 h 17"/>
                  <a:gd name="T14" fmla="*/ 29 w 57"/>
                  <a:gd name="T15" fmla="*/ 17 h 17"/>
                  <a:gd name="T16" fmla="*/ 32 w 57"/>
                  <a:gd name="T17" fmla="*/ 17 h 17"/>
                  <a:gd name="T18" fmla="*/ 43 w 57"/>
                  <a:gd name="T19" fmla="*/ 14 h 17"/>
                  <a:gd name="T20" fmla="*/ 55 w 57"/>
                  <a:gd name="T21" fmla="*/ 6 h 17"/>
                  <a:gd name="T22" fmla="*/ 50 w 57"/>
                  <a:gd name="T23" fmla="*/ 4 h 17"/>
                  <a:gd name="T24" fmla="*/ 42 w 57"/>
                  <a:gd name="T25" fmla="*/ 2 h 17"/>
                  <a:gd name="T26" fmla="*/ 0 w 57"/>
                  <a:gd name="T27"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7">
                    <a:moveTo>
                      <a:pt x="0" y="0"/>
                    </a:moveTo>
                    <a:cubicBezTo>
                      <a:pt x="3" y="0"/>
                      <a:pt x="3" y="4"/>
                      <a:pt x="3" y="7"/>
                    </a:cubicBezTo>
                    <a:cubicBezTo>
                      <a:pt x="4" y="10"/>
                      <a:pt x="6" y="9"/>
                      <a:pt x="8" y="10"/>
                    </a:cubicBezTo>
                    <a:cubicBezTo>
                      <a:pt x="11" y="11"/>
                      <a:pt x="14" y="11"/>
                      <a:pt x="18" y="11"/>
                    </a:cubicBezTo>
                    <a:cubicBezTo>
                      <a:pt x="19" y="11"/>
                      <a:pt x="20" y="11"/>
                      <a:pt x="21" y="11"/>
                    </a:cubicBezTo>
                    <a:cubicBezTo>
                      <a:pt x="21" y="12"/>
                      <a:pt x="20" y="15"/>
                      <a:pt x="21" y="16"/>
                    </a:cubicBezTo>
                    <a:cubicBezTo>
                      <a:pt x="21" y="17"/>
                      <a:pt x="24" y="17"/>
                      <a:pt x="24" y="17"/>
                    </a:cubicBezTo>
                    <a:cubicBezTo>
                      <a:pt x="26" y="17"/>
                      <a:pt x="27" y="17"/>
                      <a:pt x="29" y="17"/>
                    </a:cubicBezTo>
                    <a:cubicBezTo>
                      <a:pt x="30" y="17"/>
                      <a:pt x="31" y="17"/>
                      <a:pt x="32" y="17"/>
                    </a:cubicBezTo>
                    <a:cubicBezTo>
                      <a:pt x="36" y="17"/>
                      <a:pt x="40" y="15"/>
                      <a:pt x="43" y="14"/>
                    </a:cubicBezTo>
                    <a:cubicBezTo>
                      <a:pt x="45" y="13"/>
                      <a:pt x="57" y="9"/>
                      <a:pt x="55" y="6"/>
                    </a:cubicBezTo>
                    <a:cubicBezTo>
                      <a:pt x="55" y="6"/>
                      <a:pt x="51" y="5"/>
                      <a:pt x="50" y="4"/>
                    </a:cubicBezTo>
                    <a:cubicBezTo>
                      <a:pt x="48" y="3"/>
                      <a:pt x="45" y="3"/>
                      <a:pt x="42" y="2"/>
                    </a:cubicBezTo>
                    <a:cubicBezTo>
                      <a:pt x="28" y="2"/>
                      <a:pt x="14"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309"/>
              <p:cNvSpPr/>
              <p:nvPr/>
            </p:nvSpPr>
            <p:spPr bwMode="auto">
              <a:xfrm>
                <a:off x="10064" y="-512"/>
                <a:ext cx="76" cy="36"/>
              </a:xfrm>
              <a:custGeom>
                <a:gdLst>
                  <a:gd name="T0" fmla="*/ 12 w 32"/>
                  <a:gd name="T1" fmla="*/ 0 h 15"/>
                  <a:gd name="T2" fmla="*/ 6 w 32"/>
                  <a:gd name="T3" fmla="*/ 2 h 15"/>
                  <a:gd name="T4" fmla="*/ 2 w 32"/>
                  <a:gd name="T5" fmla="*/ 7 h 15"/>
                  <a:gd name="T6" fmla="*/ 5 w 32"/>
                  <a:gd name="T7" fmla="*/ 8 h 15"/>
                  <a:gd name="T8" fmla="*/ 8 w 32"/>
                  <a:gd name="T9" fmla="*/ 10 h 15"/>
                  <a:gd name="T10" fmla="*/ 23 w 32"/>
                  <a:gd name="T11" fmla="*/ 15 h 15"/>
                  <a:gd name="T12" fmla="*/ 30 w 32"/>
                  <a:gd name="T13" fmla="*/ 11 h 15"/>
                  <a:gd name="T14" fmla="*/ 31 w 32"/>
                  <a:gd name="T15" fmla="*/ 5 h 15"/>
                  <a:gd name="T16" fmla="*/ 27 w 32"/>
                  <a:gd name="T17" fmla="*/ 4 h 15"/>
                  <a:gd name="T18" fmla="*/ 12 w 32"/>
                  <a:gd name="T1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5">
                    <a:moveTo>
                      <a:pt x="12" y="0"/>
                    </a:moveTo>
                    <a:cubicBezTo>
                      <a:pt x="10" y="0"/>
                      <a:pt x="8" y="1"/>
                      <a:pt x="6" y="2"/>
                    </a:cubicBezTo>
                    <a:cubicBezTo>
                      <a:pt x="4" y="3"/>
                      <a:pt x="0" y="5"/>
                      <a:pt x="2" y="7"/>
                    </a:cubicBezTo>
                    <a:cubicBezTo>
                      <a:pt x="2" y="8"/>
                      <a:pt x="4" y="8"/>
                      <a:pt x="5" y="8"/>
                    </a:cubicBezTo>
                    <a:cubicBezTo>
                      <a:pt x="6" y="9"/>
                      <a:pt x="7" y="9"/>
                      <a:pt x="8" y="10"/>
                    </a:cubicBezTo>
                    <a:cubicBezTo>
                      <a:pt x="12" y="13"/>
                      <a:pt x="18" y="15"/>
                      <a:pt x="23" y="15"/>
                    </a:cubicBezTo>
                    <a:cubicBezTo>
                      <a:pt x="27" y="15"/>
                      <a:pt x="29" y="15"/>
                      <a:pt x="30" y="11"/>
                    </a:cubicBezTo>
                    <a:cubicBezTo>
                      <a:pt x="31" y="9"/>
                      <a:pt x="32" y="6"/>
                      <a:pt x="31" y="5"/>
                    </a:cubicBezTo>
                    <a:cubicBezTo>
                      <a:pt x="30" y="4"/>
                      <a:pt x="28" y="4"/>
                      <a:pt x="27" y="4"/>
                    </a:cubicBezTo>
                    <a:cubicBezTo>
                      <a:pt x="22" y="3"/>
                      <a:pt x="17"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310"/>
              <p:cNvSpPr/>
              <p:nvPr/>
            </p:nvSpPr>
            <p:spPr bwMode="auto">
              <a:xfrm>
                <a:off x="5657" y="-802"/>
                <a:ext cx="85" cy="40"/>
              </a:xfrm>
              <a:custGeom>
                <a:gdLst>
                  <a:gd name="T0" fmla="*/ 21 w 36"/>
                  <a:gd name="T1" fmla="*/ 0 h 17"/>
                  <a:gd name="T2" fmla="*/ 20 w 36"/>
                  <a:gd name="T3" fmla="*/ 0 h 17"/>
                  <a:gd name="T4" fmla="*/ 3 w 36"/>
                  <a:gd name="T5" fmla="*/ 3 h 17"/>
                  <a:gd name="T6" fmla="*/ 3 w 36"/>
                  <a:gd name="T7" fmla="*/ 11 h 17"/>
                  <a:gd name="T8" fmla="*/ 1 w 36"/>
                  <a:gd name="T9" fmla="*/ 15 h 17"/>
                  <a:gd name="T10" fmla="*/ 3 w 36"/>
                  <a:gd name="T11" fmla="*/ 17 h 17"/>
                  <a:gd name="T12" fmla="*/ 4 w 36"/>
                  <a:gd name="T13" fmla="*/ 17 h 17"/>
                  <a:gd name="T14" fmla="*/ 6 w 36"/>
                  <a:gd name="T15" fmla="*/ 15 h 17"/>
                  <a:gd name="T16" fmla="*/ 9 w 36"/>
                  <a:gd name="T17" fmla="*/ 17 h 17"/>
                  <a:gd name="T18" fmla="*/ 15 w 36"/>
                  <a:gd name="T19" fmla="*/ 15 h 17"/>
                  <a:gd name="T20" fmla="*/ 25 w 36"/>
                  <a:gd name="T21" fmla="*/ 14 h 17"/>
                  <a:gd name="T22" fmla="*/ 30 w 36"/>
                  <a:gd name="T23" fmla="*/ 12 h 17"/>
                  <a:gd name="T24" fmla="*/ 31 w 36"/>
                  <a:gd name="T25" fmla="*/ 12 h 17"/>
                  <a:gd name="T26" fmla="*/ 32 w 36"/>
                  <a:gd name="T27" fmla="*/ 12 h 17"/>
                  <a:gd name="T28" fmla="*/ 34 w 36"/>
                  <a:gd name="T29" fmla="*/ 12 h 17"/>
                  <a:gd name="T30" fmla="*/ 35 w 36"/>
                  <a:gd name="T31" fmla="*/ 12 h 17"/>
                  <a:gd name="T32" fmla="*/ 32 w 36"/>
                  <a:gd name="T33" fmla="*/ 7 h 17"/>
                  <a:gd name="T34" fmla="*/ 31 w 36"/>
                  <a:gd name="T35" fmla="*/ 6 h 17"/>
                  <a:gd name="T36" fmla="*/ 29 w 36"/>
                  <a:gd name="T37" fmla="*/ 7 h 17"/>
                  <a:gd name="T38" fmla="*/ 28 w 36"/>
                  <a:gd name="T39" fmla="*/ 7 h 17"/>
                  <a:gd name="T40" fmla="*/ 26 w 36"/>
                  <a:gd name="T41" fmla="*/ 6 h 17"/>
                  <a:gd name="T42" fmla="*/ 24 w 36"/>
                  <a:gd name="T43" fmla="*/ 2 h 17"/>
                  <a:gd name="T44" fmla="*/ 25 w 36"/>
                  <a:gd name="T45" fmla="*/ 2 h 17"/>
                  <a:gd name="T46" fmla="*/ 26 w 36"/>
                  <a:gd name="T47" fmla="*/ 2 h 17"/>
                  <a:gd name="T48" fmla="*/ 27 w 36"/>
                  <a:gd name="T49" fmla="*/ 2 h 17"/>
                  <a:gd name="T50" fmla="*/ 27 w 36"/>
                  <a:gd name="T51" fmla="*/ 2 h 17"/>
                  <a:gd name="T52" fmla="*/ 21 w 36"/>
                  <a:gd name="T5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17">
                    <a:moveTo>
                      <a:pt x="21" y="0"/>
                    </a:moveTo>
                    <a:cubicBezTo>
                      <a:pt x="21" y="0"/>
                      <a:pt x="21" y="0"/>
                      <a:pt x="20" y="0"/>
                    </a:cubicBezTo>
                    <a:cubicBezTo>
                      <a:pt x="15" y="0"/>
                      <a:pt x="9" y="2"/>
                      <a:pt x="3" y="3"/>
                    </a:cubicBezTo>
                    <a:cubicBezTo>
                      <a:pt x="3" y="6"/>
                      <a:pt x="3" y="8"/>
                      <a:pt x="3" y="11"/>
                    </a:cubicBezTo>
                    <a:cubicBezTo>
                      <a:pt x="3" y="13"/>
                      <a:pt x="2" y="13"/>
                      <a:pt x="1" y="15"/>
                    </a:cubicBezTo>
                    <a:cubicBezTo>
                      <a:pt x="0" y="17"/>
                      <a:pt x="1" y="17"/>
                      <a:pt x="3" y="17"/>
                    </a:cubicBezTo>
                    <a:cubicBezTo>
                      <a:pt x="3" y="17"/>
                      <a:pt x="3" y="17"/>
                      <a:pt x="4" y="17"/>
                    </a:cubicBezTo>
                    <a:cubicBezTo>
                      <a:pt x="5" y="17"/>
                      <a:pt x="6" y="16"/>
                      <a:pt x="6" y="15"/>
                    </a:cubicBezTo>
                    <a:cubicBezTo>
                      <a:pt x="7" y="17"/>
                      <a:pt x="8" y="17"/>
                      <a:pt x="9" y="17"/>
                    </a:cubicBezTo>
                    <a:cubicBezTo>
                      <a:pt x="11" y="17"/>
                      <a:pt x="14" y="15"/>
                      <a:pt x="15" y="15"/>
                    </a:cubicBezTo>
                    <a:cubicBezTo>
                      <a:pt x="19" y="14"/>
                      <a:pt x="22" y="14"/>
                      <a:pt x="25" y="14"/>
                    </a:cubicBezTo>
                    <a:cubicBezTo>
                      <a:pt x="27" y="13"/>
                      <a:pt x="28" y="12"/>
                      <a:pt x="30" y="12"/>
                    </a:cubicBezTo>
                    <a:cubicBezTo>
                      <a:pt x="30" y="12"/>
                      <a:pt x="30" y="12"/>
                      <a:pt x="31" y="12"/>
                    </a:cubicBezTo>
                    <a:cubicBezTo>
                      <a:pt x="31" y="12"/>
                      <a:pt x="32" y="12"/>
                      <a:pt x="32" y="12"/>
                    </a:cubicBezTo>
                    <a:cubicBezTo>
                      <a:pt x="33" y="12"/>
                      <a:pt x="33" y="12"/>
                      <a:pt x="34" y="12"/>
                    </a:cubicBezTo>
                    <a:cubicBezTo>
                      <a:pt x="34" y="12"/>
                      <a:pt x="35" y="12"/>
                      <a:pt x="35" y="12"/>
                    </a:cubicBezTo>
                    <a:cubicBezTo>
                      <a:pt x="36" y="11"/>
                      <a:pt x="33" y="7"/>
                      <a:pt x="32" y="7"/>
                    </a:cubicBezTo>
                    <a:cubicBezTo>
                      <a:pt x="31" y="6"/>
                      <a:pt x="31" y="6"/>
                      <a:pt x="31" y="6"/>
                    </a:cubicBezTo>
                    <a:cubicBezTo>
                      <a:pt x="30" y="6"/>
                      <a:pt x="30" y="7"/>
                      <a:pt x="29" y="7"/>
                    </a:cubicBezTo>
                    <a:cubicBezTo>
                      <a:pt x="29" y="7"/>
                      <a:pt x="28" y="7"/>
                      <a:pt x="28" y="7"/>
                    </a:cubicBezTo>
                    <a:cubicBezTo>
                      <a:pt x="27" y="7"/>
                      <a:pt x="27" y="7"/>
                      <a:pt x="26" y="6"/>
                    </a:cubicBezTo>
                    <a:cubicBezTo>
                      <a:pt x="24" y="2"/>
                      <a:pt x="24" y="2"/>
                      <a:pt x="24" y="2"/>
                    </a:cubicBezTo>
                    <a:cubicBezTo>
                      <a:pt x="25" y="2"/>
                      <a:pt x="25" y="2"/>
                      <a:pt x="25" y="2"/>
                    </a:cubicBezTo>
                    <a:cubicBezTo>
                      <a:pt x="26" y="2"/>
                      <a:pt x="26" y="2"/>
                      <a:pt x="26" y="2"/>
                    </a:cubicBezTo>
                    <a:cubicBezTo>
                      <a:pt x="26" y="2"/>
                      <a:pt x="27" y="2"/>
                      <a:pt x="27" y="2"/>
                    </a:cubicBezTo>
                    <a:cubicBezTo>
                      <a:pt x="27" y="2"/>
                      <a:pt x="27" y="2"/>
                      <a:pt x="27" y="2"/>
                    </a:cubicBezTo>
                    <a:cubicBezTo>
                      <a:pt x="26" y="0"/>
                      <a:pt x="23"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311"/>
              <p:cNvSpPr>
                <a:spLocks noEditPoints="1"/>
              </p:cNvSpPr>
              <p:nvPr/>
            </p:nvSpPr>
            <p:spPr bwMode="auto">
              <a:xfrm>
                <a:off x="9502" y="808"/>
                <a:ext cx="42" cy="45"/>
              </a:xfrm>
              <a:custGeom>
                <a:gdLst>
                  <a:gd name="T0" fmla="*/ 0 w 18"/>
                  <a:gd name="T1" fmla="*/ 17 h 19"/>
                  <a:gd name="T2" fmla="*/ 0 w 18"/>
                  <a:gd name="T3" fmla="*/ 17 h 19"/>
                  <a:gd name="T4" fmla="*/ 0 w 18"/>
                  <a:gd name="T5" fmla="*/ 17 h 19"/>
                  <a:gd name="T6" fmla="*/ 16 w 18"/>
                  <a:gd name="T7" fmla="*/ 0 h 19"/>
                  <a:gd name="T8" fmla="*/ 15 w 18"/>
                  <a:gd name="T9" fmla="*/ 0 h 19"/>
                  <a:gd name="T10" fmla="*/ 10 w 18"/>
                  <a:gd name="T11" fmla="*/ 7 h 19"/>
                  <a:gd name="T12" fmla="*/ 6 w 18"/>
                  <a:gd name="T13" fmla="*/ 9 h 19"/>
                  <a:gd name="T14" fmla="*/ 2 w 18"/>
                  <a:gd name="T15" fmla="*/ 11 h 19"/>
                  <a:gd name="T16" fmla="*/ 0 w 18"/>
                  <a:gd name="T17" fmla="*/ 12 h 19"/>
                  <a:gd name="T18" fmla="*/ 0 w 18"/>
                  <a:gd name="T19" fmla="*/ 12 h 19"/>
                  <a:gd name="T20" fmla="*/ 0 w 18"/>
                  <a:gd name="T21" fmla="*/ 12 h 19"/>
                  <a:gd name="T22" fmla="*/ 0 w 18"/>
                  <a:gd name="T23" fmla="*/ 13 h 19"/>
                  <a:gd name="T24" fmla="*/ 0 w 18"/>
                  <a:gd name="T25" fmla="*/ 13 h 19"/>
                  <a:gd name="T26" fmla="*/ 0 w 18"/>
                  <a:gd name="T27" fmla="*/ 14 h 19"/>
                  <a:gd name="T28" fmla="*/ 0 w 18"/>
                  <a:gd name="T29" fmla="*/ 17 h 19"/>
                  <a:gd name="T30" fmla="*/ 0 w 18"/>
                  <a:gd name="T31" fmla="*/ 17 h 19"/>
                  <a:gd name="T32" fmla="*/ 3 w 18"/>
                  <a:gd name="T33" fmla="*/ 19 h 19"/>
                  <a:gd name="T34" fmla="*/ 8 w 18"/>
                  <a:gd name="T35" fmla="*/ 15 h 19"/>
                  <a:gd name="T36" fmla="*/ 18 w 18"/>
                  <a:gd name="T37" fmla="*/ 5 h 19"/>
                  <a:gd name="T38" fmla="*/ 16 w 18"/>
                  <a:gd name="T3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9">
                    <a:moveTo>
                      <a:pt x="0" y="17"/>
                    </a:moveTo>
                    <a:cubicBezTo>
                      <a:pt x="0" y="17"/>
                      <a:pt x="0" y="17"/>
                      <a:pt x="0" y="17"/>
                    </a:cubicBezTo>
                    <a:cubicBezTo>
                      <a:pt x="0" y="17"/>
                      <a:pt x="0" y="17"/>
                      <a:pt x="0" y="17"/>
                    </a:cubicBezTo>
                    <a:moveTo>
                      <a:pt x="16" y="0"/>
                    </a:moveTo>
                    <a:cubicBezTo>
                      <a:pt x="15" y="0"/>
                      <a:pt x="15" y="0"/>
                      <a:pt x="15" y="0"/>
                    </a:cubicBezTo>
                    <a:cubicBezTo>
                      <a:pt x="12" y="1"/>
                      <a:pt x="12" y="5"/>
                      <a:pt x="10" y="7"/>
                    </a:cubicBezTo>
                    <a:cubicBezTo>
                      <a:pt x="9" y="9"/>
                      <a:pt x="8" y="9"/>
                      <a:pt x="6" y="9"/>
                    </a:cubicBezTo>
                    <a:cubicBezTo>
                      <a:pt x="4" y="10"/>
                      <a:pt x="4" y="11"/>
                      <a:pt x="2" y="11"/>
                    </a:cubicBezTo>
                    <a:cubicBezTo>
                      <a:pt x="1" y="12"/>
                      <a:pt x="1" y="12"/>
                      <a:pt x="0" y="12"/>
                    </a:cubicBezTo>
                    <a:cubicBezTo>
                      <a:pt x="0" y="12"/>
                      <a:pt x="0" y="12"/>
                      <a:pt x="0" y="12"/>
                    </a:cubicBezTo>
                    <a:cubicBezTo>
                      <a:pt x="0" y="12"/>
                      <a:pt x="0" y="12"/>
                      <a:pt x="0" y="12"/>
                    </a:cubicBezTo>
                    <a:cubicBezTo>
                      <a:pt x="0" y="12"/>
                      <a:pt x="0" y="12"/>
                      <a:pt x="0" y="13"/>
                    </a:cubicBezTo>
                    <a:cubicBezTo>
                      <a:pt x="0" y="13"/>
                      <a:pt x="0" y="13"/>
                      <a:pt x="0" y="13"/>
                    </a:cubicBezTo>
                    <a:cubicBezTo>
                      <a:pt x="0" y="13"/>
                      <a:pt x="0" y="14"/>
                      <a:pt x="0" y="14"/>
                    </a:cubicBezTo>
                    <a:cubicBezTo>
                      <a:pt x="1" y="15"/>
                      <a:pt x="0" y="16"/>
                      <a:pt x="0" y="17"/>
                    </a:cubicBezTo>
                    <a:cubicBezTo>
                      <a:pt x="0" y="17"/>
                      <a:pt x="0" y="17"/>
                      <a:pt x="0" y="17"/>
                    </a:cubicBezTo>
                    <a:cubicBezTo>
                      <a:pt x="0" y="17"/>
                      <a:pt x="3" y="18"/>
                      <a:pt x="3" y="19"/>
                    </a:cubicBezTo>
                    <a:cubicBezTo>
                      <a:pt x="5" y="17"/>
                      <a:pt x="6" y="16"/>
                      <a:pt x="8" y="15"/>
                    </a:cubicBezTo>
                    <a:cubicBezTo>
                      <a:pt x="10" y="12"/>
                      <a:pt x="17" y="8"/>
                      <a:pt x="18" y="5"/>
                    </a:cubicBezTo>
                    <a:cubicBezTo>
                      <a:pt x="18" y="2"/>
                      <a:pt x="18"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312"/>
              <p:cNvSpPr/>
              <p:nvPr/>
            </p:nvSpPr>
            <p:spPr bwMode="auto">
              <a:xfrm>
                <a:off x="4868" y="-1460"/>
                <a:ext cx="68" cy="26"/>
              </a:xfrm>
              <a:custGeom>
                <a:gdLst>
                  <a:gd name="T0" fmla="*/ 16 w 29"/>
                  <a:gd name="T1" fmla="*/ 0 h 11"/>
                  <a:gd name="T2" fmla="*/ 0 w 29"/>
                  <a:gd name="T3" fmla="*/ 9 h 11"/>
                  <a:gd name="T4" fmla="*/ 9 w 29"/>
                  <a:gd name="T5" fmla="*/ 11 h 11"/>
                  <a:gd name="T6" fmla="*/ 9 w 29"/>
                  <a:gd name="T7" fmla="*/ 11 h 11"/>
                  <a:gd name="T8" fmla="*/ 17 w 29"/>
                  <a:gd name="T9" fmla="*/ 10 h 11"/>
                  <a:gd name="T10" fmla="*/ 18 w 29"/>
                  <a:gd name="T11" fmla="*/ 10 h 11"/>
                  <a:gd name="T12" fmla="*/ 21 w 29"/>
                  <a:gd name="T13" fmla="*/ 11 h 11"/>
                  <a:gd name="T14" fmla="*/ 22 w 29"/>
                  <a:gd name="T15" fmla="*/ 11 h 11"/>
                  <a:gd name="T16" fmla="*/ 24 w 29"/>
                  <a:gd name="T17" fmla="*/ 9 h 11"/>
                  <a:gd name="T18" fmla="*/ 25 w 29"/>
                  <a:gd name="T19" fmla="*/ 8 h 11"/>
                  <a:gd name="T20" fmla="*/ 26 w 29"/>
                  <a:gd name="T21" fmla="*/ 9 h 11"/>
                  <a:gd name="T22" fmla="*/ 28 w 29"/>
                  <a:gd name="T23" fmla="*/ 9 h 11"/>
                  <a:gd name="T24" fmla="*/ 29 w 29"/>
                  <a:gd name="T25" fmla="*/ 8 h 11"/>
                  <a:gd name="T26" fmla="*/ 21 w 29"/>
                  <a:gd name="T27" fmla="*/ 3 h 11"/>
                  <a:gd name="T28" fmla="*/ 18 w 29"/>
                  <a:gd name="T29" fmla="*/ 0 h 11"/>
                  <a:gd name="T30" fmla="*/ 16 w 29"/>
                  <a:gd name="T31"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11">
                    <a:moveTo>
                      <a:pt x="16" y="0"/>
                    </a:moveTo>
                    <a:cubicBezTo>
                      <a:pt x="11" y="0"/>
                      <a:pt x="4" y="6"/>
                      <a:pt x="0" y="9"/>
                    </a:cubicBezTo>
                    <a:cubicBezTo>
                      <a:pt x="3" y="10"/>
                      <a:pt x="6" y="11"/>
                      <a:pt x="9" y="11"/>
                    </a:cubicBezTo>
                    <a:cubicBezTo>
                      <a:pt x="9" y="11"/>
                      <a:pt x="9" y="11"/>
                      <a:pt x="9" y="11"/>
                    </a:cubicBezTo>
                    <a:cubicBezTo>
                      <a:pt x="11" y="11"/>
                      <a:pt x="14" y="10"/>
                      <a:pt x="17" y="10"/>
                    </a:cubicBezTo>
                    <a:cubicBezTo>
                      <a:pt x="17" y="10"/>
                      <a:pt x="17" y="10"/>
                      <a:pt x="18" y="10"/>
                    </a:cubicBezTo>
                    <a:cubicBezTo>
                      <a:pt x="19" y="11"/>
                      <a:pt x="20" y="11"/>
                      <a:pt x="21" y="11"/>
                    </a:cubicBezTo>
                    <a:cubicBezTo>
                      <a:pt x="22" y="11"/>
                      <a:pt x="22" y="11"/>
                      <a:pt x="22" y="11"/>
                    </a:cubicBezTo>
                    <a:cubicBezTo>
                      <a:pt x="24" y="11"/>
                      <a:pt x="23" y="10"/>
                      <a:pt x="24" y="9"/>
                    </a:cubicBezTo>
                    <a:cubicBezTo>
                      <a:pt x="24" y="9"/>
                      <a:pt x="25" y="8"/>
                      <a:pt x="25" y="8"/>
                    </a:cubicBezTo>
                    <a:cubicBezTo>
                      <a:pt x="26" y="8"/>
                      <a:pt x="26" y="8"/>
                      <a:pt x="26" y="9"/>
                    </a:cubicBezTo>
                    <a:cubicBezTo>
                      <a:pt x="27" y="9"/>
                      <a:pt x="27" y="9"/>
                      <a:pt x="28" y="9"/>
                    </a:cubicBezTo>
                    <a:cubicBezTo>
                      <a:pt x="28" y="9"/>
                      <a:pt x="29" y="8"/>
                      <a:pt x="29" y="8"/>
                    </a:cubicBezTo>
                    <a:cubicBezTo>
                      <a:pt x="27" y="5"/>
                      <a:pt x="23" y="5"/>
                      <a:pt x="21" y="3"/>
                    </a:cubicBezTo>
                    <a:cubicBezTo>
                      <a:pt x="19" y="2"/>
                      <a:pt x="20" y="1"/>
                      <a:pt x="18" y="0"/>
                    </a:cubicBezTo>
                    <a:cubicBezTo>
                      <a:pt x="17"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313"/>
              <p:cNvSpPr/>
              <p:nvPr/>
            </p:nvSpPr>
            <p:spPr bwMode="auto">
              <a:xfrm>
                <a:off x="9871" y="276"/>
                <a:ext cx="61" cy="49"/>
              </a:xfrm>
              <a:custGeom>
                <a:gdLst>
                  <a:gd name="T0" fmla="*/ 21 w 26"/>
                  <a:gd name="T1" fmla="*/ 0 h 21"/>
                  <a:gd name="T2" fmla="*/ 15 w 26"/>
                  <a:gd name="T3" fmla="*/ 4 h 21"/>
                  <a:gd name="T4" fmla="*/ 6 w 26"/>
                  <a:gd name="T5" fmla="*/ 6 h 21"/>
                  <a:gd name="T6" fmla="*/ 9 w 26"/>
                  <a:gd name="T7" fmla="*/ 6 h 21"/>
                  <a:gd name="T8" fmla="*/ 0 w 26"/>
                  <a:gd name="T9" fmla="*/ 19 h 21"/>
                  <a:gd name="T10" fmla="*/ 1 w 26"/>
                  <a:gd name="T11" fmla="*/ 21 h 21"/>
                  <a:gd name="T12" fmla="*/ 23 w 26"/>
                  <a:gd name="T13" fmla="*/ 10 h 21"/>
                  <a:gd name="T14" fmla="*/ 23 w 26"/>
                  <a:gd name="T15" fmla="*/ 1 h 21"/>
                  <a:gd name="T16" fmla="*/ 21 w 26"/>
                  <a:gd name="T17"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1">
                    <a:moveTo>
                      <a:pt x="21" y="0"/>
                    </a:moveTo>
                    <a:cubicBezTo>
                      <a:pt x="20" y="0"/>
                      <a:pt x="17" y="3"/>
                      <a:pt x="15" y="4"/>
                    </a:cubicBezTo>
                    <a:cubicBezTo>
                      <a:pt x="12" y="5"/>
                      <a:pt x="9" y="5"/>
                      <a:pt x="6" y="6"/>
                    </a:cubicBezTo>
                    <a:cubicBezTo>
                      <a:pt x="7" y="6"/>
                      <a:pt x="8" y="6"/>
                      <a:pt x="9" y="6"/>
                    </a:cubicBezTo>
                    <a:cubicBezTo>
                      <a:pt x="5" y="9"/>
                      <a:pt x="6" y="17"/>
                      <a:pt x="0" y="19"/>
                    </a:cubicBezTo>
                    <a:cubicBezTo>
                      <a:pt x="0" y="20"/>
                      <a:pt x="0" y="21"/>
                      <a:pt x="1" y="21"/>
                    </a:cubicBezTo>
                    <a:cubicBezTo>
                      <a:pt x="8" y="17"/>
                      <a:pt x="15" y="14"/>
                      <a:pt x="23" y="10"/>
                    </a:cubicBezTo>
                    <a:cubicBezTo>
                      <a:pt x="26" y="8"/>
                      <a:pt x="24" y="4"/>
                      <a:pt x="23" y="1"/>
                    </a:cubicBezTo>
                    <a:cubicBezTo>
                      <a:pt x="22" y="0"/>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314"/>
              <p:cNvSpPr/>
              <p:nvPr/>
            </p:nvSpPr>
            <p:spPr bwMode="auto">
              <a:xfrm>
                <a:off x="9977" y="529"/>
                <a:ext cx="42" cy="40"/>
              </a:xfrm>
              <a:custGeom>
                <a:gdLst>
                  <a:gd name="T0" fmla="*/ 9 w 18"/>
                  <a:gd name="T1" fmla="*/ 0 h 17"/>
                  <a:gd name="T2" fmla="*/ 0 w 18"/>
                  <a:gd name="T3" fmla="*/ 1 h 17"/>
                  <a:gd name="T4" fmla="*/ 7 w 18"/>
                  <a:gd name="T5" fmla="*/ 9 h 17"/>
                  <a:gd name="T6" fmla="*/ 17 w 18"/>
                  <a:gd name="T7" fmla="*/ 17 h 17"/>
                  <a:gd name="T8" fmla="*/ 13 w 18"/>
                  <a:gd name="T9" fmla="*/ 9 h 17"/>
                  <a:gd name="T10" fmla="*/ 9 w 18"/>
                  <a:gd name="T11" fmla="*/ 0 h 17"/>
                </a:gdLst>
                <a:cxnLst>
                  <a:cxn ang="0">
                    <a:pos x="T0" y="T1"/>
                  </a:cxn>
                  <a:cxn ang="0">
                    <a:pos x="T2" y="T3"/>
                  </a:cxn>
                  <a:cxn ang="0">
                    <a:pos x="T4" y="T5"/>
                  </a:cxn>
                  <a:cxn ang="0">
                    <a:pos x="T6" y="T7"/>
                  </a:cxn>
                  <a:cxn ang="0">
                    <a:pos x="T8" y="T9"/>
                  </a:cxn>
                  <a:cxn ang="0">
                    <a:pos x="T10" y="T11"/>
                  </a:cxn>
                </a:cxnLst>
                <a:rect l="0" t="0" r="r" b="b"/>
                <a:pathLst>
                  <a:path w="18" h="17">
                    <a:moveTo>
                      <a:pt x="9" y="0"/>
                    </a:moveTo>
                    <a:cubicBezTo>
                      <a:pt x="6" y="0"/>
                      <a:pt x="3" y="0"/>
                      <a:pt x="0" y="1"/>
                    </a:cubicBezTo>
                    <a:cubicBezTo>
                      <a:pt x="4" y="2"/>
                      <a:pt x="5" y="6"/>
                      <a:pt x="7" y="9"/>
                    </a:cubicBezTo>
                    <a:cubicBezTo>
                      <a:pt x="10" y="12"/>
                      <a:pt x="13" y="14"/>
                      <a:pt x="17" y="17"/>
                    </a:cubicBezTo>
                    <a:cubicBezTo>
                      <a:pt x="18" y="13"/>
                      <a:pt x="15" y="11"/>
                      <a:pt x="13" y="9"/>
                    </a:cubicBezTo>
                    <a:cubicBezTo>
                      <a:pt x="10" y="6"/>
                      <a:pt x="9" y="4"/>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315"/>
              <p:cNvSpPr/>
              <p:nvPr/>
            </p:nvSpPr>
            <p:spPr bwMode="auto">
              <a:xfrm>
                <a:off x="5563" y="2210"/>
                <a:ext cx="9" cy="12"/>
              </a:xfrm>
              <a:custGeom>
                <a:gdLst>
                  <a:gd name="T0" fmla="*/ 1 w 4"/>
                  <a:gd name="T1" fmla="*/ 0 h 5"/>
                  <a:gd name="T2" fmla="*/ 1 w 4"/>
                  <a:gd name="T3" fmla="*/ 1 h 5"/>
                  <a:gd name="T4" fmla="*/ 0 w 4"/>
                  <a:gd name="T5" fmla="*/ 0 h 5"/>
                  <a:gd name="T6" fmla="*/ 0 w 4"/>
                  <a:gd name="T7" fmla="*/ 5 h 5"/>
                  <a:gd name="T8" fmla="*/ 3 w 4"/>
                  <a:gd name="T9" fmla="*/ 1 h 5"/>
                  <a:gd name="T10" fmla="*/ 2 w 4"/>
                  <a:gd name="T11" fmla="*/ 1 h 5"/>
                  <a:gd name="T12" fmla="*/ 3 w 4"/>
                  <a:gd name="T13" fmla="*/ 1 h 5"/>
                  <a:gd name="T14" fmla="*/ 4 w 4"/>
                  <a:gd name="T15" fmla="*/ 1 h 5"/>
                  <a:gd name="T16" fmla="*/ 1 w 4"/>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1" y="0"/>
                    </a:moveTo>
                    <a:cubicBezTo>
                      <a:pt x="1" y="0"/>
                      <a:pt x="1" y="0"/>
                      <a:pt x="1" y="1"/>
                    </a:cubicBezTo>
                    <a:cubicBezTo>
                      <a:pt x="0" y="0"/>
                      <a:pt x="0" y="0"/>
                      <a:pt x="0" y="0"/>
                    </a:cubicBezTo>
                    <a:cubicBezTo>
                      <a:pt x="0" y="2"/>
                      <a:pt x="0" y="3"/>
                      <a:pt x="0" y="5"/>
                    </a:cubicBezTo>
                    <a:cubicBezTo>
                      <a:pt x="4" y="5"/>
                      <a:pt x="1" y="3"/>
                      <a:pt x="3" y="1"/>
                    </a:cubicBezTo>
                    <a:cubicBezTo>
                      <a:pt x="3" y="1"/>
                      <a:pt x="2" y="1"/>
                      <a:pt x="2" y="1"/>
                    </a:cubicBezTo>
                    <a:cubicBezTo>
                      <a:pt x="2" y="1"/>
                      <a:pt x="3" y="1"/>
                      <a:pt x="3" y="1"/>
                    </a:cubicBezTo>
                    <a:cubicBezTo>
                      <a:pt x="4" y="1"/>
                      <a:pt x="4" y="1"/>
                      <a:pt x="4" y="1"/>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316"/>
              <p:cNvSpPr/>
              <p:nvPr/>
            </p:nvSpPr>
            <p:spPr bwMode="auto">
              <a:xfrm>
                <a:off x="5551" y="2207"/>
                <a:ext cx="9" cy="10"/>
              </a:xfrm>
              <a:custGeom>
                <a:gdLst>
                  <a:gd name="T0" fmla="*/ 4 w 4"/>
                  <a:gd name="T1" fmla="*/ 0 h 4"/>
                  <a:gd name="T2" fmla="*/ 0 w 4"/>
                  <a:gd name="T3" fmla="*/ 3 h 4"/>
                  <a:gd name="T4" fmla="*/ 2 w 4"/>
                  <a:gd name="T5" fmla="*/ 4 h 4"/>
                  <a:gd name="T6" fmla="*/ 3 w 4"/>
                  <a:gd name="T7" fmla="*/ 3 h 4"/>
                  <a:gd name="T8" fmla="*/ 4 w 4"/>
                  <a:gd name="T9" fmla="*/ 0 h 4"/>
                </a:gdLst>
                <a:cxnLst>
                  <a:cxn ang="0">
                    <a:pos x="T0" y="T1"/>
                  </a:cxn>
                  <a:cxn ang="0">
                    <a:pos x="T2" y="T3"/>
                  </a:cxn>
                  <a:cxn ang="0">
                    <a:pos x="T4" y="T5"/>
                  </a:cxn>
                  <a:cxn ang="0">
                    <a:pos x="T6" y="T7"/>
                  </a:cxn>
                  <a:cxn ang="0">
                    <a:pos x="T8" y="T9"/>
                  </a:cxn>
                </a:cxnLst>
                <a:rect l="0" t="0" r="r" b="b"/>
                <a:pathLst>
                  <a:path w="4" h="4">
                    <a:moveTo>
                      <a:pt x="4" y="0"/>
                    </a:moveTo>
                    <a:cubicBezTo>
                      <a:pt x="2" y="1"/>
                      <a:pt x="0" y="1"/>
                      <a:pt x="0" y="3"/>
                    </a:cubicBezTo>
                    <a:cubicBezTo>
                      <a:pt x="0" y="4"/>
                      <a:pt x="1" y="4"/>
                      <a:pt x="2" y="4"/>
                    </a:cubicBezTo>
                    <a:cubicBezTo>
                      <a:pt x="2" y="4"/>
                      <a:pt x="3" y="4"/>
                      <a:pt x="3" y="3"/>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317"/>
              <p:cNvSpPr/>
              <p:nvPr/>
            </p:nvSpPr>
            <p:spPr bwMode="auto">
              <a:xfrm>
                <a:off x="5565" y="2212"/>
                <a:ext cx="12" cy="10"/>
              </a:xfrm>
              <a:custGeom>
                <a:gdLst>
                  <a:gd name="T0" fmla="*/ 4 w 5"/>
                  <a:gd name="T1" fmla="*/ 0 h 4"/>
                  <a:gd name="T2" fmla="*/ 5 w 5"/>
                  <a:gd name="T3" fmla="*/ 4 h 4"/>
                  <a:gd name="T4" fmla="*/ 4 w 5"/>
                  <a:gd name="T5" fmla="*/ 0 h 4"/>
                </a:gdLst>
                <a:cxnLst>
                  <a:cxn ang="0">
                    <a:pos x="T0" y="T1"/>
                  </a:cxn>
                  <a:cxn ang="0">
                    <a:pos x="T2" y="T3"/>
                  </a:cxn>
                  <a:cxn ang="0">
                    <a:pos x="T4" y="T5"/>
                  </a:cxn>
                </a:cxnLst>
                <a:rect l="0" t="0" r="r" b="b"/>
                <a:pathLst>
                  <a:path w="5" h="4">
                    <a:moveTo>
                      <a:pt x="4" y="0"/>
                    </a:moveTo>
                    <a:cubicBezTo>
                      <a:pt x="0" y="1"/>
                      <a:pt x="2" y="2"/>
                      <a:pt x="5" y="4"/>
                    </a:cubicBezTo>
                    <a:cubicBezTo>
                      <a:pt x="5"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318"/>
              <p:cNvSpPr/>
              <p:nvPr/>
            </p:nvSpPr>
            <p:spPr bwMode="auto">
              <a:xfrm>
                <a:off x="3965" y="1635"/>
                <a:ext cx="106" cy="52"/>
              </a:xfrm>
              <a:custGeom>
                <a:gdLst>
                  <a:gd name="T0" fmla="*/ 45 w 45"/>
                  <a:gd name="T1" fmla="*/ 0 h 22"/>
                  <a:gd name="T2" fmla="*/ 27 w 45"/>
                  <a:gd name="T3" fmla="*/ 7 h 22"/>
                  <a:gd name="T4" fmla="*/ 26 w 45"/>
                  <a:gd name="T5" fmla="*/ 7 h 22"/>
                  <a:gd name="T6" fmla="*/ 23 w 45"/>
                  <a:gd name="T7" fmla="*/ 7 h 22"/>
                  <a:gd name="T8" fmla="*/ 19 w 45"/>
                  <a:gd name="T9" fmla="*/ 7 h 22"/>
                  <a:gd name="T10" fmla="*/ 13 w 45"/>
                  <a:gd name="T11" fmla="*/ 6 h 22"/>
                  <a:gd name="T12" fmla="*/ 11 w 45"/>
                  <a:gd name="T13" fmla="*/ 10 h 22"/>
                  <a:gd name="T14" fmla="*/ 5 w 45"/>
                  <a:gd name="T15" fmla="*/ 12 h 22"/>
                  <a:gd name="T16" fmla="*/ 3 w 45"/>
                  <a:gd name="T17" fmla="*/ 14 h 22"/>
                  <a:gd name="T18" fmla="*/ 3 w 45"/>
                  <a:gd name="T19" fmla="*/ 14 h 22"/>
                  <a:gd name="T20" fmla="*/ 2 w 45"/>
                  <a:gd name="T21" fmla="*/ 13 h 22"/>
                  <a:gd name="T22" fmla="*/ 1 w 45"/>
                  <a:gd name="T23" fmla="*/ 13 h 22"/>
                  <a:gd name="T24" fmla="*/ 1 w 45"/>
                  <a:gd name="T25" fmla="*/ 13 h 22"/>
                  <a:gd name="T26" fmla="*/ 3 w 45"/>
                  <a:gd name="T27" fmla="*/ 20 h 22"/>
                  <a:gd name="T28" fmla="*/ 13 w 45"/>
                  <a:gd name="T29" fmla="*/ 22 h 22"/>
                  <a:gd name="T30" fmla="*/ 14 w 45"/>
                  <a:gd name="T31" fmla="*/ 22 h 22"/>
                  <a:gd name="T32" fmla="*/ 25 w 45"/>
                  <a:gd name="T33" fmla="*/ 18 h 22"/>
                  <a:gd name="T34" fmla="*/ 28 w 45"/>
                  <a:gd name="T35" fmla="*/ 15 h 22"/>
                  <a:gd name="T36" fmla="*/ 31 w 45"/>
                  <a:gd name="T37" fmla="*/ 15 h 22"/>
                  <a:gd name="T38" fmla="*/ 31 w 45"/>
                  <a:gd name="T39" fmla="*/ 15 h 22"/>
                  <a:gd name="T40" fmla="*/ 31 w 45"/>
                  <a:gd name="T41" fmla="*/ 14 h 22"/>
                  <a:gd name="T42" fmla="*/ 33 w 45"/>
                  <a:gd name="T43" fmla="*/ 15 h 22"/>
                  <a:gd name="T44" fmla="*/ 34 w 45"/>
                  <a:gd name="T45" fmla="*/ 15 h 22"/>
                  <a:gd name="T46" fmla="*/ 35 w 45"/>
                  <a:gd name="T47" fmla="*/ 16 h 22"/>
                  <a:gd name="T48" fmla="*/ 33 w 45"/>
                  <a:gd name="T49" fmla="*/ 8 h 22"/>
                  <a:gd name="T50" fmla="*/ 35 w 45"/>
                  <a:gd name="T51" fmla="*/ 7 h 22"/>
                  <a:gd name="T52" fmla="*/ 36 w 45"/>
                  <a:gd name="T53" fmla="*/ 6 h 22"/>
                  <a:gd name="T54" fmla="*/ 39 w 45"/>
                  <a:gd name="T55" fmla="*/ 4 h 22"/>
                  <a:gd name="T56" fmla="*/ 45 w 45"/>
                  <a:gd name="T57"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 h="22">
                    <a:moveTo>
                      <a:pt x="45" y="0"/>
                    </a:moveTo>
                    <a:cubicBezTo>
                      <a:pt x="39" y="2"/>
                      <a:pt x="33" y="5"/>
                      <a:pt x="27" y="7"/>
                    </a:cubicBezTo>
                    <a:cubicBezTo>
                      <a:pt x="27" y="7"/>
                      <a:pt x="26" y="7"/>
                      <a:pt x="26" y="7"/>
                    </a:cubicBezTo>
                    <a:cubicBezTo>
                      <a:pt x="25" y="7"/>
                      <a:pt x="24" y="7"/>
                      <a:pt x="23" y="7"/>
                    </a:cubicBezTo>
                    <a:cubicBezTo>
                      <a:pt x="22" y="7"/>
                      <a:pt x="20" y="7"/>
                      <a:pt x="19" y="7"/>
                    </a:cubicBezTo>
                    <a:cubicBezTo>
                      <a:pt x="17" y="7"/>
                      <a:pt x="15" y="7"/>
                      <a:pt x="13" y="6"/>
                    </a:cubicBezTo>
                    <a:cubicBezTo>
                      <a:pt x="13" y="9"/>
                      <a:pt x="14" y="9"/>
                      <a:pt x="11" y="10"/>
                    </a:cubicBezTo>
                    <a:cubicBezTo>
                      <a:pt x="9" y="10"/>
                      <a:pt x="7" y="10"/>
                      <a:pt x="5" y="12"/>
                    </a:cubicBezTo>
                    <a:cubicBezTo>
                      <a:pt x="4" y="13"/>
                      <a:pt x="4" y="14"/>
                      <a:pt x="3" y="14"/>
                    </a:cubicBezTo>
                    <a:cubicBezTo>
                      <a:pt x="3" y="14"/>
                      <a:pt x="3" y="14"/>
                      <a:pt x="3" y="14"/>
                    </a:cubicBezTo>
                    <a:cubicBezTo>
                      <a:pt x="3" y="14"/>
                      <a:pt x="2" y="13"/>
                      <a:pt x="2" y="13"/>
                    </a:cubicBezTo>
                    <a:cubicBezTo>
                      <a:pt x="1" y="13"/>
                      <a:pt x="1" y="13"/>
                      <a:pt x="1" y="13"/>
                    </a:cubicBezTo>
                    <a:cubicBezTo>
                      <a:pt x="1" y="13"/>
                      <a:pt x="1" y="13"/>
                      <a:pt x="1" y="13"/>
                    </a:cubicBezTo>
                    <a:cubicBezTo>
                      <a:pt x="0" y="13"/>
                      <a:pt x="2" y="19"/>
                      <a:pt x="3" y="20"/>
                    </a:cubicBezTo>
                    <a:cubicBezTo>
                      <a:pt x="5" y="22"/>
                      <a:pt x="10" y="22"/>
                      <a:pt x="13" y="22"/>
                    </a:cubicBezTo>
                    <a:cubicBezTo>
                      <a:pt x="13" y="22"/>
                      <a:pt x="13" y="22"/>
                      <a:pt x="14" y="22"/>
                    </a:cubicBezTo>
                    <a:cubicBezTo>
                      <a:pt x="18" y="22"/>
                      <a:pt x="22" y="20"/>
                      <a:pt x="25" y="18"/>
                    </a:cubicBezTo>
                    <a:cubicBezTo>
                      <a:pt x="27" y="18"/>
                      <a:pt x="27" y="16"/>
                      <a:pt x="28" y="15"/>
                    </a:cubicBezTo>
                    <a:cubicBezTo>
                      <a:pt x="29" y="15"/>
                      <a:pt x="30" y="15"/>
                      <a:pt x="31" y="15"/>
                    </a:cubicBezTo>
                    <a:cubicBezTo>
                      <a:pt x="31" y="15"/>
                      <a:pt x="31" y="15"/>
                      <a:pt x="31" y="15"/>
                    </a:cubicBezTo>
                    <a:cubicBezTo>
                      <a:pt x="32" y="15"/>
                      <a:pt x="31" y="14"/>
                      <a:pt x="31" y="14"/>
                    </a:cubicBezTo>
                    <a:cubicBezTo>
                      <a:pt x="32" y="15"/>
                      <a:pt x="32" y="15"/>
                      <a:pt x="33" y="15"/>
                    </a:cubicBezTo>
                    <a:cubicBezTo>
                      <a:pt x="33" y="15"/>
                      <a:pt x="33" y="15"/>
                      <a:pt x="34" y="15"/>
                    </a:cubicBezTo>
                    <a:cubicBezTo>
                      <a:pt x="35" y="16"/>
                      <a:pt x="35" y="16"/>
                      <a:pt x="35" y="16"/>
                    </a:cubicBezTo>
                    <a:cubicBezTo>
                      <a:pt x="34" y="13"/>
                      <a:pt x="31" y="10"/>
                      <a:pt x="33" y="8"/>
                    </a:cubicBezTo>
                    <a:cubicBezTo>
                      <a:pt x="35" y="7"/>
                      <a:pt x="35" y="7"/>
                      <a:pt x="35" y="7"/>
                    </a:cubicBezTo>
                    <a:cubicBezTo>
                      <a:pt x="36" y="6"/>
                      <a:pt x="36" y="6"/>
                      <a:pt x="36" y="6"/>
                    </a:cubicBezTo>
                    <a:cubicBezTo>
                      <a:pt x="37" y="5"/>
                      <a:pt x="38" y="5"/>
                      <a:pt x="39" y="4"/>
                    </a:cubicBezTo>
                    <a:cubicBezTo>
                      <a:pt x="40" y="3"/>
                      <a:pt x="44" y="1"/>
                      <a:pt x="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319"/>
              <p:cNvSpPr/>
              <p:nvPr/>
            </p:nvSpPr>
            <p:spPr bwMode="auto">
              <a:xfrm>
                <a:off x="6723" y="2453"/>
                <a:ext cx="9" cy="7"/>
              </a:xfrm>
              <a:custGeom>
                <a:gdLst>
                  <a:gd name="T0" fmla="*/ 3 w 4"/>
                  <a:gd name="T1" fmla="*/ 0 h 3"/>
                  <a:gd name="T2" fmla="*/ 0 w 4"/>
                  <a:gd name="T3" fmla="*/ 0 h 3"/>
                  <a:gd name="T4" fmla="*/ 2 w 4"/>
                  <a:gd name="T5" fmla="*/ 3 h 3"/>
                  <a:gd name="T6" fmla="*/ 3 w 4"/>
                  <a:gd name="T7" fmla="*/ 3 h 3"/>
                  <a:gd name="T8" fmla="*/ 3 w 4"/>
                  <a:gd name="T9" fmla="*/ 3 h 3"/>
                  <a:gd name="T10" fmla="*/ 4 w 4"/>
                  <a:gd name="T11" fmla="*/ 2 h 3"/>
                  <a:gd name="T12" fmla="*/ 3 w 4"/>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4" h="3">
                    <a:moveTo>
                      <a:pt x="3" y="0"/>
                    </a:moveTo>
                    <a:cubicBezTo>
                      <a:pt x="2" y="0"/>
                      <a:pt x="1" y="0"/>
                      <a:pt x="0" y="0"/>
                    </a:cubicBezTo>
                    <a:cubicBezTo>
                      <a:pt x="0" y="1"/>
                      <a:pt x="1" y="3"/>
                      <a:pt x="2" y="3"/>
                    </a:cubicBezTo>
                    <a:cubicBezTo>
                      <a:pt x="3" y="3"/>
                      <a:pt x="3" y="3"/>
                      <a:pt x="3" y="3"/>
                    </a:cubicBezTo>
                    <a:cubicBezTo>
                      <a:pt x="3" y="3"/>
                      <a:pt x="3" y="3"/>
                      <a:pt x="3" y="3"/>
                    </a:cubicBezTo>
                    <a:cubicBezTo>
                      <a:pt x="4" y="3"/>
                      <a:pt x="4" y="3"/>
                      <a:pt x="4" y="2"/>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320"/>
              <p:cNvSpPr/>
              <p:nvPr/>
            </p:nvSpPr>
            <p:spPr bwMode="auto">
              <a:xfrm>
                <a:off x="7642" y="2285"/>
                <a:ext cx="2" cy="5"/>
              </a:xfrm>
              <a:custGeom>
                <a:gdLst>
                  <a:gd name="T0" fmla="*/ 1 w 1"/>
                  <a:gd name="T1" fmla="*/ 0 h 2"/>
                  <a:gd name="T2" fmla="*/ 0 w 1"/>
                  <a:gd name="T3" fmla="*/ 2 h 2"/>
                  <a:gd name="T4" fmla="*/ 1 w 1"/>
                  <a:gd name="T5" fmla="*/ 2 h 2"/>
                  <a:gd name="T6" fmla="*/ 1 w 1"/>
                  <a:gd name="T7" fmla="*/ 0 h 2"/>
                </a:gdLst>
                <a:cxnLst>
                  <a:cxn ang="0">
                    <a:pos x="T0" y="T1"/>
                  </a:cxn>
                  <a:cxn ang="0">
                    <a:pos x="T2" y="T3"/>
                  </a:cxn>
                  <a:cxn ang="0">
                    <a:pos x="T4" y="T5"/>
                  </a:cxn>
                  <a:cxn ang="0">
                    <a:pos x="T6" y="T7"/>
                  </a:cxn>
                </a:cxnLst>
                <a:rect l="0" t="0" r="r" b="b"/>
                <a:pathLst>
                  <a:path w="1" h="2">
                    <a:moveTo>
                      <a:pt x="1" y="0"/>
                    </a:moveTo>
                    <a:cubicBezTo>
                      <a:pt x="1" y="0"/>
                      <a:pt x="0" y="1"/>
                      <a:pt x="0" y="2"/>
                    </a:cubicBezTo>
                    <a:cubicBezTo>
                      <a:pt x="1" y="2"/>
                      <a:pt x="1" y="2"/>
                      <a:pt x="1" y="2"/>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321"/>
              <p:cNvSpPr/>
              <p:nvPr/>
            </p:nvSpPr>
            <p:spPr bwMode="auto">
              <a:xfrm>
                <a:off x="7621" y="2257"/>
                <a:ext cx="2" cy="5"/>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1" y="1"/>
                      <a:pt x="0" y="2"/>
                      <a:pt x="0" y="2"/>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322"/>
              <p:cNvSpPr/>
              <p:nvPr/>
            </p:nvSpPr>
            <p:spPr bwMode="auto">
              <a:xfrm>
                <a:off x="6718" y="2943"/>
                <a:ext cx="7" cy="9"/>
              </a:xfrm>
              <a:custGeom>
                <a:gdLst>
                  <a:gd name="T0" fmla="*/ 3 w 3"/>
                  <a:gd name="T1" fmla="*/ 0 h 4"/>
                  <a:gd name="T2" fmla="*/ 2 w 3"/>
                  <a:gd name="T3" fmla="*/ 4 h 4"/>
                  <a:gd name="T4" fmla="*/ 3 w 3"/>
                  <a:gd name="T5" fmla="*/ 0 h 4"/>
                </a:gdLst>
                <a:cxnLst>
                  <a:cxn ang="0">
                    <a:pos x="T0" y="T1"/>
                  </a:cxn>
                  <a:cxn ang="0">
                    <a:pos x="T2" y="T3"/>
                  </a:cxn>
                  <a:cxn ang="0">
                    <a:pos x="T4" y="T5"/>
                  </a:cxn>
                </a:cxnLst>
                <a:rect l="0" t="0" r="r" b="b"/>
                <a:pathLst>
                  <a:path w="3" h="4">
                    <a:moveTo>
                      <a:pt x="3" y="0"/>
                    </a:moveTo>
                    <a:cubicBezTo>
                      <a:pt x="0" y="1"/>
                      <a:pt x="2" y="3"/>
                      <a:pt x="2" y="4"/>
                    </a:cubicBezTo>
                    <a:cubicBezTo>
                      <a:pt x="2" y="3"/>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323"/>
              <p:cNvSpPr/>
              <p:nvPr/>
            </p:nvSpPr>
            <p:spPr bwMode="auto">
              <a:xfrm>
                <a:off x="6728" y="2978"/>
                <a:ext cx="4"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0" y="1"/>
                      <a:pt x="0" y="2"/>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324"/>
              <p:cNvSpPr/>
              <p:nvPr/>
            </p:nvSpPr>
            <p:spPr bwMode="auto">
              <a:xfrm>
                <a:off x="6685" y="2725"/>
                <a:ext cx="2" cy="7"/>
              </a:xfrm>
              <a:custGeom>
                <a:gdLst>
                  <a:gd name="T0" fmla="*/ 1 w 1"/>
                  <a:gd name="T1" fmla="*/ 0 h 3"/>
                  <a:gd name="T2" fmla="*/ 0 w 1"/>
                  <a:gd name="T3" fmla="*/ 3 h 3"/>
                  <a:gd name="T4" fmla="*/ 0 w 1"/>
                  <a:gd name="T5" fmla="*/ 3 h 3"/>
                  <a:gd name="T6" fmla="*/ 1 w 1"/>
                  <a:gd name="T7" fmla="*/ 2 h 3"/>
                  <a:gd name="T8" fmla="*/ 1 w 1"/>
                  <a:gd name="T9" fmla="*/ 0 h 3"/>
                </a:gdLst>
                <a:cxnLst>
                  <a:cxn ang="0">
                    <a:pos x="T0" y="T1"/>
                  </a:cxn>
                  <a:cxn ang="0">
                    <a:pos x="T2" y="T3"/>
                  </a:cxn>
                  <a:cxn ang="0">
                    <a:pos x="T4" y="T5"/>
                  </a:cxn>
                  <a:cxn ang="0">
                    <a:pos x="T6" y="T7"/>
                  </a:cxn>
                  <a:cxn ang="0">
                    <a:pos x="T8" y="T9"/>
                  </a:cxn>
                </a:cxnLst>
                <a:rect l="0" t="0" r="r" b="b"/>
                <a:pathLst>
                  <a:path w="1" h="3">
                    <a:moveTo>
                      <a:pt x="1" y="0"/>
                    </a:moveTo>
                    <a:cubicBezTo>
                      <a:pt x="1" y="1"/>
                      <a:pt x="0" y="2"/>
                      <a:pt x="0" y="3"/>
                    </a:cubicBezTo>
                    <a:cubicBezTo>
                      <a:pt x="0" y="3"/>
                      <a:pt x="0" y="3"/>
                      <a:pt x="0" y="3"/>
                    </a:cubicBezTo>
                    <a:cubicBezTo>
                      <a:pt x="1" y="3"/>
                      <a:pt x="1" y="3"/>
                      <a:pt x="1"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325"/>
              <p:cNvSpPr/>
              <p:nvPr/>
            </p:nvSpPr>
            <p:spPr bwMode="auto">
              <a:xfrm>
                <a:off x="6704" y="2938"/>
                <a:ext cx="5" cy="5"/>
              </a:xfrm>
              <a:custGeom>
                <a:gdLst>
                  <a:gd name="T0" fmla="*/ 0 w 2"/>
                  <a:gd name="T1" fmla="*/ 0 h 2"/>
                  <a:gd name="T2" fmla="*/ 1 w 2"/>
                  <a:gd name="T3" fmla="*/ 0 h 2"/>
                  <a:gd name="T4" fmla="*/ 2 w 2"/>
                  <a:gd name="T5" fmla="*/ 2 h 2"/>
                  <a:gd name="T6" fmla="*/ 1 w 2"/>
                  <a:gd name="T7" fmla="*/ 0 h 2"/>
                  <a:gd name="T8" fmla="*/ 0 w 2"/>
                  <a:gd name="T9" fmla="*/ 0 h 2"/>
                </a:gdLst>
                <a:cxnLst>
                  <a:cxn ang="0">
                    <a:pos x="T0" y="T1"/>
                  </a:cxn>
                  <a:cxn ang="0">
                    <a:pos x="T2" y="T3"/>
                  </a:cxn>
                  <a:cxn ang="0">
                    <a:pos x="T4" y="T5"/>
                  </a:cxn>
                  <a:cxn ang="0">
                    <a:pos x="T6" y="T7"/>
                  </a:cxn>
                  <a:cxn ang="0">
                    <a:pos x="T8" y="T9"/>
                  </a:cxn>
                </a:cxnLst>
                <a:rect l="0" t="0" r="r" b="b"/>
                <a:pathLst>
                  <a:path w="2" h="2">
                    <a:moveTo>
                      <a:pt x="0" y="0"/>
                    </a:moveTo>
                    <a:cubicBezTo>
                      <a:pt x="1" y="0"/>
                      <a:pt x="1" y="0"/>
                      <a:pt x="1" y="0"/>
                    </a:cubicBezTo>
                    <a:cubicBezTo>
                      <a:pt x="1" y="1"/>
                      <a:pt x="1" y="1"/>
                      <a:pt x="2" y="2"/>
                    </a:cubicBezTo>
                    <a:cubicBezTo>
                      <a:pt x="1" y="1"/>
                      <a:pt x="1"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Freeform 326"/>
              <p:cNvSpPr/>
              <p:nvPr/>
            </p:nvSpPr>
            <p:spPr bwMode="auto">
              <a:xfrm>
                <a:off x="6671" y="2822"/>
                <a:ext cx="9" cy="17"/>
              </a:xfrm>
              <a:custGeom>
                <a:gdLst>
                  <a:gd name="T0" fmla="*/ 3 w 4"/>
                  <a:gd name="T1" fmla="*/ 0 h 7"/>
                  <a:gd name="T2" fmla="*/ 0 w 4"/>
                  <a:gd name="T3" fmla="*/ 2 h 7"/>
                  <a:gd name="T4" fmla="*/ 0 w 4"/>
                  <a:gd name="T5" fmla="*/ 5 h 7"/>
                  <a:gd name="T6" fmla="*/ 0 w 4"/>
                  <a:gd name="T7" fmla="*/ 6 h 7"/>
                  <a:gd name="T8" fmla="*/ 2 w 4"/>
                  <a:gd name="T9" fmla="*/ 7 h 7"/>
                  <a:gd name="T10" fmla="*/ 4 w 4"/>
                  <a:gd name="T11" fmla="*/ 2 h 7"/>
                  <a:gd name="T12" fmla="*/ 4 w 4"/>
                  <a:gd name="T13" fmla="*/ 1 h 7"/>
                  <a:gd name="T14" fmla="*/ 3 w 4"/>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3" y="0"/>
                    </a:moveTo>
                    <a:cubicBezTo>
                      <a:pt x="2" y="0"/>
                      <a:pt x="0" y="1"/>
                      <a:pt x="0" y="2"/>
                    </a:cubicBezTo>
                    <a:cubicBezTo>
                      <a:pt x="0" y="3"/>
                      <a:pt x="0" y="4"/>
                      <a:pt x="0" y="5"/>
                    </a:cubicBezTo>
                    <a:cubicBezTo>
                      <a:pt x="0" y="5"/>
                      <a:pt x="0" y="6"/>
                      <a:pt x="0" y="6"/>
                    </a:cubicBezTo>
                    <a:cubicBezTo>
                      <a:pt x="1" y="6"/>
                      <a:pt x="1" y="7"/>
                      <a:pt x="2" y="7"/>
                    </a:cubicBezTo>
                    <a:cubicBezTo>
                      <a:pt x="3" y="7"/>
                      <a:pt x="4" y="3"/>
                      <a:pt x="4" y="2"/>
                    </a:cubicBezTo>
                    <a:cubicBezTo>
                      <a:pt x="4" y="1"/>
                      <a:pt x="4" y="1"/>
                      <a:pt x="4"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Freeform 327"/>
              <p:cNvSpPr/>
              <p:nvPr/>
            </p:nvSpPr>
            <p:spPr bwMode="auto">
              <a:xfrm>
                <a:off x="6711" y="2952"/>
                <a:ext cx="9" cy="5"/>
              </a:xfrm>
              <a:custGeom>
                <a:gdLst>
                  <a:gd name="T0" fmla="*/ 3 w 4"/>
                  <a:gd name="T1" fmla="*/ 0 h 2"/>
                  <a:gd name="T2" fmla="*/ 3 w 4"/>
                  <a:gd name="T3" fmla="*/ 2 h 2"/>
                  <a:gd name="T4" fmla="*/ 4 w 4"/>
                  <a:gd name="T5" fmla="*/ 2 h 2"/>
                  <a:gd name="T6" fmla="*/ 3 w 4"/>
                  <a:gd name="T7" fmla="*/ 0 h 2"/>
                </a:gdLst>
                <a:cxnLst>
                  <a:cxn ang="0">
                    <a:pos x="T0" y="T1"/>
                  </a:cxn>
                  <a:cxn ang="0">
                    <a:pos x="T2" y="T3"/>
                  </a:cxn>
                  <a:cxn ang="0">
                    <a:pos x="T4" y="T5"/>
                  </a:cxn>
                  <a:cxn ang="0">
                    <a:pos x="T6" y="T7"/>
                  </a:cxn>
                </a:cxnLst>
                <a:rect l="0" t="0" r="r" b="b"/>
                <a:pathLst>
                  <a:path w="4" h="2">
                    <a:moveTo>
                      <a:pt x="3" y="0"/>
                    </a:moveTo>
                    <a:cubicBezTo>
                      <a:pt x="0" y="1"/>
                      <a:pt x="2" y="2"/>
                      <a:pt x="3" y="2"/>
                    </a:cubicBezTo>
                    <a:cubicBezTo>
                      <a:pt x="4" y="2"/>
                      <a:pt x="4" y="2"/>
                      <a:pt x="4" y="2"/>
                    </a:cubicBezTo>
                    <a:cubicBezTo>
                      <a:pt x="4"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328"/>
              <p:cNvSpPr>
                <a:spLocks noEditPoints="1"/>
              </p:cNvSpPr>
              <p:nvPr/>
            </p:nvSpPr>
            <p:spPr bwMode="auto">
              <a:xfrm>
                <a:off x="6678" y="2699"/>
                <a:ext cx="26" cy="95"/>
              </a:xfrm>
              <a:custGeom>
                <a:gdLst>
                  <a:gd name="T0" fmla="*/ 11 w 11"/>
                  <a:gd name="T1" fmla="*/ 3 h 40"/>
                  <a:gd name="T2" fmla="*/ 11 w 11"/>
                  <a:gd name="T3" fmla="*/ 3 h 40"/>
                  <a:gd name="T4" fmla="*/ 11 w 11"/>
                  <a:gd name="T5" fmla="*/ 3 h 40"/>
                  <a:gd name="T6" fmla="*/ 10 w 11"/>
                  <a:gd name="T7" fmla="*/ 0 h 40"/>
                  <a:gd name="T8" fmla="*/ 7 w 11"/>
                  <a:gd name="T9" fmla="*/ 10 h 40"/>
                  <a:gd name="T10" fmla="*/ 6 w 11"/>
                  <a:gd name="T11" fmla="*/ 13 h 40"/>
                  <a:gd name="T12" fmla="*/ 7 w 11"/>
                  <a:gd name="T13" fmla="*/ 13 h 40"/>
                  <a:gd name="T14" fmla="*/ 5 w 11"/>
                  <a:gd name="T15" fmla="*/ 19 h 40"/>
                  <a:gd name="T16" fmla="*/ 5 w 11"/>
                  <a:gd name="T17" fmla="*/ 24 h 40"/>
                  <a:gd name="T18" fmla="*/ 6 w 11"/>
                  <a:gd name="T19" fmla="*/ 24 h 40"/>
                  <a:gd name="T20" fmla="*/ 5 w 11"/>
                  <a:gd name="T21" fmla="*/ 27 h 40"/>
                  <a:gd name="T22" fmla="*/ 5 w 11"/>
                  <a:gd name="T23" fmla="*/ 27 h 40"/>
                  <a:gd name="T24" fmla="*/ 4 w 11"/>
                  <a:gd name="T25" fmla="*/ 26 h 40"/>
                  <a:gd name="T26" fmla="*/ 3 w 11"/>
                  <a:gd name="T27" fmla="*/ 28 h 40"/>
                  <a:gd name="T28" fmla="*/ 2 w 11"/>
                  <a:gd name="T29" fmla="*/ 29 h 40"/>
                  <a:gd name="T30" fmla="*/ 2 w 11"/>
                  <a:gd name="T31" fmla="*/ 32 h 40"/>
                  <a:gd name="T32" fmla="*/ 1 w 11"/>
                  <a:gd name="T33" fmla="*/ 32 h 40"/>
                  <a:gd name="T34" fmla="*/ 1 w 11"/>
                  <a:gd name="T35" fmla="*/ 33 h 40"/>
                  <a:gd name="T36" fmla="*/ 2 w 11"/>
                  <a:gd name="T37" fmla="*/ 36 h 40"/>
                  <a:gd name="T38" fmla="*/ 2 w 11"/>
                  <a:gd name="T39" fmla="*/ 37 h 40"/>
                  <a:gd name="T40" fmla="*/ 4 w 11"/>
                  <a:gd name="T41" fmla="*/ 40 h 40"/>
                  <a:gd name="T42" fmla="*/ 4 w 11"/>
                  <a:gd name="T43" fmla="*/ 35 h 40"/>
                  <a:gd name="T44" fmla="*/ 5 w 11"/>
                  <a:gd name="T45" fmla="*/ 29 h 40"/>
                  <a:gd name="T46" fmla="*/ 7 w 11"/>
                  <a:gd name="T47" fmla="*/ 25 h 40"/>
                  <a:gd name="T48" fmla="*/ 7 w 11"/>
                  <a:gd name="T49" fmla="*/ 24 h 40"/>
                  <a:gd name="T50" fmla="*/ 7 w 11"/>
                  <a:gd name="T51" fmla="*/ 24 h 40"/>
                  <a:gd name="T52" fmla="*/ 9 w 11"/>
                  <a:gd name="T53" fmla="*/ 20 h 40"/>
                  <a:gd name="T54" fmla="*/ 9 w 11"/>
                  <a:gd name="T55" fmla="*/ 16 h 40"/>
                  <a:gd name="T56" fmla="*/ 7 w 11"/>
                  <a:gd name="T57" fmla="*/ 13 h 40"/>
                  <a:gd name="T58" fmla="*/ 7 w 11"/>
                  <a:gd name="T59" fmla="*/ 13 h 40"/>
                  <a:gd name="T60" fmla="*/ 8 w 11"/>
                  <a:gd name="T61" fmla="*/ 10 h 40"/>
                  <a:gd name="T62" fmla="*/ 10 w 11"/>
                  <a:gd name="T63" fmla="*/ 8 h 40"/>
                  <a:gd name="T64" fmla="*/ 11 w 11"/>
                  <a:gd name="T65" fmla="*/ 6 h 40"/>
                  <a:gd name="T66" fmla="*/ 10 w 11"/>
                  <a:gd name="T67" fmla="*/ 5 h 40"/>
                  <a:gd name="T68" fmla="*/ 9 w 11"/>
                  <a:gd name="T69" fmla="*/ 4 h 40"/>
                  <a:gd name="T70" fmla="*/ 9 w 11"/>
                  <a:gd name="T71" fmla="*/ 4 h 40"/>
                  <a:gd name="T72" fmla="*/ 10 w 11"/>
                  <a:gd name="T73" fmla="*/ 3 h 40"/>
                  <a:gd name="T74" fmla="*/ 11 w 11"/>
                  <a:gd name="T75" fmla="*/ 3 h 40"/>
                  <a:gd name="T76" fmla="*/ 11 w 11"/>
                  <a:gd name="T77" fmla="*/ 3 h 40"/>
                  <a:gd name="T78" fmla="*/ 10 w 11"/>
                  <a:gd name="T79"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 h="40">
                    <a:moveTo>
                      <a:pt x="11" y="3"/>
                    </a:moveTo>
                    <a:cubicBezTo>
                      <a:pt x="11" y="3"/>
                      <a:pt x="11" y="3"/>
                      <a:pt x="11" y="3"/>
                    </a:cubicBezTo>
                    <a:cubicBezTo>
                      <a:pt x="11" y="3"/>
                      <a:pt x="11" y="3"/>
                      <a:pt x="11" y="3"/>
                    </a:cubicBezTo>
                    <a:moveTo>
                      <a:pt x="10" y="0"/>
                    </a:moveTo>
                    <a:cubicBezTo>
                      <a:pt x="9" y="3"/>
                      <a:pt x="8" y="7"/>
                      <a:pt x="7" y="10"/>
                    </a:cubicBezTo>
                    <a:cubicBezTo>
                      <a:pt x="6" y="11"/>
                      <a:pt x="6" y="12"/>
                      <a:pt x="6" y="13"/>
                    </a:cubicBezTo>
                    <a:cubicBezTo>
                      <a:pt x="7" y="13"/>
                      <a:pt x="7" y="13"/>
                      <a:pt x="7" y="13"/>
                    </a:cubicBezTo>
                    <a:cubicBezTo>
                      <a:pt x="6" y="13"/>
                      <a:pt x="5" y="16"/>
                      <a:pt x="5" y="19"/>
                    </a:cubicBezTo>
                    <a:cubicBezTo>
                      <a:pt x="5" y="21"/>
                      <a:pt x="5" y="23"/>
                      <a:pt x="5" y="24"/>
                    </a:cubicBezTo>
                    <a:cubicBezTo>
                      <a:pt x="6" y="24"/>
                      <a:pt x="6" y="24"/>
                      <a:pt x="6" y="24"/>
                    </a:cubicBezTo>
                    <a:cubicBezTo>
                      <a:pt x="5" y="25"/>
                      <a:pt x="5" y="26"/>
                      <a:pt x="5" y="27"/>
                    </a:cubicBezTo>
                    <a:cubicBezTo>
                      <a:pt x="5" y="27"/>
                      <a:pt x="5" y="27"/>
                      <a:pt x="5" y="27"/>
                    </a:cubicBezTo>
                    <a:cubicBezTo>
                      <a:pt x="5" y="27"/>
                      <a:pt x="4" y="26"/>
                      <a:pt x="4" y="26"/>
                    </a:cubicBezTo>
                    <a:cubicBezTo>
                      <a:pt x="3" y="26"/>
                      <a:pt x="3" y="27"/>
                      <a:pt x="3" y="28"/>
                    </a:cubicBezTo>
                    <a:cubicBezTo>
                      <a:pt x="3" y="28"/>
                      <a:pt x="2" y="29"/>
                      <a:pt x="2" y="29"/>
                    </a:cubicBezTo>
                    <a:cubicBezTo>
                      <a:pt x="2" y="30"/>
                      <a:pt x="2" y="31"/>
                      <a:pt x="2" y="32"/>
                    </a:cubicBezTo>
                    <a:cubicBezTo>
                      <a:pt x="2" y="32"/>
                      <a:pt x="1" y="32"/>
                      <a:pt x="1" y="32"/>
                    </a:cubicBezTo>
                    <a:cubicBezTo>
                      <a:pt x="1" y="32"/>
                      <a:pt x="1" y="32"/>
                      <a:pt x="1" y="33"/>
                    </a:cubicBezTo>
                    <a:cubicBezTo>
                      <a:pt x="0" y="34"/>
                      <a:pt x="2" y="35"/>
                      <a:pt x="2" y="36"/>
                    </a:cubicBezTo>
                    <a:cubicBezTo>
                      <a:pt x="2" y="37"/>
                      <a:pt x="2" y="37"/>
                      <a:pt x="2" y="37"/>
                    </a:cubicBezTo>
                    <a:cubicBezTo>
                      <a:pt x="3" y="38"/>
                      <a:pt x="3" y="39"/>
                      <a:pt x="4" y="40"/>
                    </a:cubicBezTo>
                    <a:cubicBezTo>
                      <a:pt x="4" y="38"/>
                      <a:pt x="4" y="36"/>
                      <a:pt x="4" y="35"/>
                    </a:cubicBezTo>
                    <a:cubicBezTo>
                      <a:pt x="5" y="33"/>
                      <a:pt x="5" y="31"/>
                      <a:pt x="5" y="29"/>
                    </a:cubicBezTo>
                    <a:cubicBezTo>
                      <a:pt x="5" y="28"/>
                      <a:pt x="6" y="26"/>
                      <a:pt x="7" y="25"/>
                    </a:cubicBezTo>
                    <a:cubicBezTo>
                      <a:pt x="7" y="25"/>
                      <a:pt x="7" y="24"/>
                      <a:pt x="7" y="24"/>
                    </a:cubicBezTo>
                    <a:cubicBezTo>
                      <a:pt x="7" y="24"/>
                      <a:pt x="7" y="24"/>
                      <a:pt x="7" y="24"/>
                    </a:cubicBezTo>
                    <a:cubicBezTo>
                      <a:pt x="8" y="23"/>
                      <a:pt x="9" y="21"/>
                      <a:pt x="9" y="20"/>
                    </a:cubicBezTo>
                    <a:cubicBezTo>
                      <a:pt x="9" y="19"/>
                      <a:pt x="9" y="17"/>
                      <a:pt x="9" y="16"/>
                    </a:cubicBezTo>
                    <a:cubicBezTo>
                      <a:pt x="8" y="15"/>
                      <a:pt x="8" y="14"/>
                      <a:pt x="7" y="13"/>
                    </a:cubicBezTo>
                    <a:cubicBezTo>
                      <a:pt x="7" y="13"/>
                      <a:pt x="7" y="13"/>
                      <a:pt x="7" y="13"/>
                    </a:cubicBezTo>
                    <a:cubicBezTo>
                      <a:pt x="8" y="12"/>
                      <a:pt x="8" y="10"/>
                      <a:pt x="8" y="10"/>
                    </a:cubicBezTo>
                    <a:cubicBezTo>
                      <a:pt x="9" y="9"/>
                      <a:pt x="10" y="9"/>
                      <a:pt x="10" y="8"/>
                    </a:cubicBezTo>
                    <a:cubicBezTo>
                      <a:pt x="11" y="8"/>
                      <a:pt x="11" y="7"/>
                      <a:pt x="11" y="6"/>
                    </a:cubicBezTo>
                    <a:cubicBezTo>
                      <a:pt x="11" y="6"/>
                      <a:pt x="10" y="5"/>
                      <a:pt x="10" y="5"/>
                    </a:cubicBezTo>
                    <a:cubicBezTo>
                      <a:pt x="10" y="4"/>
                      <a:pt x="9" y="5"/>
                      <a:pt x="9" y="4"/>
                    </a:cubicBezTo>
                    <a:cubicBezTo>
                      <a:pt x="9" y="4"/>
                      <a:pt x="9" y="4"/>
                      <a:pt x="9" y="4"/>
                    </a:cubicBezTo>
                    <a:cubicBezTo>
                      <a:pt x="10" y="4"/>
                      <a:pt x="10" y="4"/>
                      <a:pt x="10" y="3"/>
                    </a:cubicBezTo>
                    <a:cubicBezTo>
                      <a:pt x="10" y="3"/>
                      <a:pt x="11" y="3"/>
                      <a:pt x="11" y="3"/>
                    </a:cubicBezTo>
                    <a:cubicBezTo>
                      <a:pt x="11" y="3"/>
                      <a:pt x="11" y="3"/>
                      <a:pt x="11" y="3"/>
                    </a:cubicBezTo>
                    <a:cubicBezTo>
                      <a:pt x="11" y="2"/>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329"/>
              <p:cNvSpPr/>
              <p:nvPr/>
            </p:nvSpPr>
            <p:spPr bwMode="auto">
              <a:xfrm>
                <a:off x="6683" y="2794"/>
                <a:ext cx="4" cy="4"/>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0"/>
                      <a:pt x="1" y="1"/>
                      <a:pt x="0" y="2"/>
                    </a:cubicBezTo>
                    <a:cubicBezTo>
                      <a:pt x="1"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330"/>
              <p:cNvSpPr/>
              <p:nvPr/>
            </p:nvSpPr>
            <p:spPr bwMode="auto">
              <a:xfrm>
                <a:off x="6687" y="2895"/>
                <a:ext cx="3" cy="5"/>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1" y="1"/>
                      <a:pt x="0" y="1"/>
                      <a:pt x="0" y="2"/>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331"/>
              <p:cNvSpPr/>
              <p:nvPr/>
            </p:nvSpPr>
            <p:spPr bwMode="auto">
              <a:xfrm>
                <a:off x="6728" y="2988"/>
                <a:ext cx="11" cy="21"/>
              </a:xfrm>
              <a:custGeom>
                <a:gdLst>
                  <a:gd name="T0" fmla="*/ 3 w 5"/>
                  <a:gd name="T1" fmla="*/ 0 h 9"/>
                  <a:gd name="T2" fmla="*/ 1 w 5"/>
                  <a:gd name="T3" fmla="*/ 4 h 9"/>
                  <a:gd name="T4" fmla="*/ 2 w 5"/>
                  <a:gd name="T5" fmla="*/ 5 h 9"/>
                  <a:gd name="T6" fmla="*/ 3 w 5"/>
                  <a:gd name="T7" fmla="*/ 7 h 9"/>
                  <a:gd name="T8" fmla="*/ 4 w 5"/>
                  <a:gd name="T9" fmla="*/ 9 h 9"/>
                  <a:gd name="T10" fmla="*/ 5 w 5"/>
                  <a:gd name="T11" fmla="*/ 2 h 9"/>
                  <a:gd name="T12" fmla="*/ 5 w 5"/>
                  <a:gd name="T13" fmla="*/ 1 h 9"/>
                  <a:gd name="T14" fmla="*/ 3 w 5"/>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0"/>
                    </a:moveTo>
                    <a:cubicBezTo>
                      <a:pt x="2" y="0"/>
                      <a:pt x="0" y="1"/>
                      <a:pt x="1" y="4"/>
                    </a:cubicBezTo>
                    <a:cubicBezTo>
                      <a:pt x="1" y="4"/>
                      <a:pt x="1" y="5"/>
                      <a:pt x="2" y="5"/>
                    </a:cubicBezTo>
                    <a:cubicBezTo>
                      <a:pt x="2" y="6"/>
                      <a:pt x="3" y="6"/>
                      <a:pt x="3" y="7"/>
                    </a:cubicBezTo>
                    <a:cubicBezTo>
                      <a:pt x="4" y="8"/>
                      <a:pt x="4" y="8"/>
                      <a:pt x="4" y="9"/>
                    </a:cubicBezTo>
                    <a:cubicBezTo>
                      <a:pt x="5" y="7"/>
                      <a:pt x="5" y="4"/>
                      <a:pt x="5" y="2"/>
                    </a:cubicBezTo>
                    <a:cubicBezTo>
                      <a:pt x="5" y="2"/>
                      <a:pt x="5"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332"/>
              <p:cNvSpPr/>
              <p:nvPr/>
            </p:nvSpPr>
            <p:spPr bwMode="auto">
              <a:xfrm>
                <a:off x="5218" y="1082"/>
                <a:ext cx="18" cy="7"/>
              </a:xfrm>
              <a:custGeom>
                <a:gdLst>
                  <a:gd name="T0" fmla="*/ 6 w 8"/>
                  <a:gd name="T1" fmla="*/ 0 h 3"/>
                  <a:gd name="T2" fmla="*/ 0 w 8"/>
                  <a:gd name="T3" fmla="*/ 1 h 3"/>
                  <a:gd name="T4" fmla="*/ 4 w 8"/>
                  <a:gd name="T5" fmla="*/ 3 h 3"/>
                  <a:gd name="T6" fmla="*/ 5 w 8"/>
                  <a:gd name="T7" fmla="*/ 3 h 3"/>
                  <a:gd name="T8" fmla="*/ 8 w 8"/>
                  <a:gd name="T9" fmla="*/ 1 h 3"/>
                  <a:gd name="T10" fmla="*/ 6 w 8"/>
                  <a:gd name="T11" fmla="*/ 0 h 3"/>
                </a:gdLst>
                <a:cxnLst>
                  <a:cxn ang="0">
                    <a:pos x="T0" y="T1"/>
                  </a:cxn>
                  <a:cxn ang="0">
                    <a:pos x="T2" y="T3"/>
                  </a:cxn>
                  <a:cxn ang="0">
                    <a:pos x="T4" y="T5"/>
                  </a:cxn>
                  <a:cxn ang="0">
                    <a:pos x="T6" y="T7"/>
                  </a:cxn>
                  <a:cxn ang="0">
                    <a:pos x="T8" y="T9"/>
                  </a:cxn>
                  <a:cxn ang="0">
                    <a:pos x="T10" y="T11"/>
                  </a:cxn>
                </a:cxnLst>
                <a:rect l="0" t="0" r="r" b="b"/>
                <a:pathLst>
                  <a:path w="8" h="3">
                    <a:moveTo>
                      <a:pt x="6" y="0"/>
                    </a:moveTo>
                    <a:cubicBezTo>
                      <a:pt x="3" y="0"/>
                      <a:pt x="0" y="1"/>
                      <a:pt x="0" y="1"/>
                    </a:cubicBezTo>
                    <a:cubicBezTo>
                      <a:pt x="0" y="3"/>
                      <a:pt x="2" y="2"/>
                      <a:pt x="4" y="3"/>
                    </a:cubicBezTo>
                    <a:cubicBezTo>
                      <a:pt x="4" y="3"/>
                      <a:pt x="5" y="3"/>
                      <a:pt x="5" y="3"/>
                    </a:cubicBezTo>
                    <a:cubicBezTo>
                      <a:pt x="7" y="3"/>
                      <a:pt x="7" y="2"/>
                      <a:pt x="8"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333"/>
              <p:cNvSpPr/>
              <p:nvPr/>
            </p:nvSpPr>
            <p:spPr bwMode="auto">
              <a:xfrm>
                <a:off x="9819" y="-564"/>
                <a:ext cx="9" cy="3"/>
              </a:xfrm>
              <a:custGeom>
                <a:gdLst>
                  <a:gd name="T0" fmla="*/ 0 w 4"/>
                  <a:gd name="T1" fmla="*/ 0 h 1"/>
                  <a:gd name="T2" fmla="*/ 3 w 4"/>
                  <a:gd name="T3" fmla="*/ 1 h 1"/>
                  <a:gd name="T4" fmla="*/ 4 w 4"/>
                  <a:gd name="T5" fmla="*/ 0 h 1"/>
                  <a:gd name="T6" fmla="*/ 4 w 4"/>
                  <a:gd name="T7" fmla="*/ 0 h 1"/>
                  <a:gd name="T8" fmla="*/ 0 w 4"/>
                  <a:gd name="T9" fmla="*/ 0 h 1"/>
                </a:gdLst>
                <a:cxnLst>
                  <a:cxn ang="0">
                    <a:pos x="T0" y="T1"/>
                  </a:cxn>
                  <a:cxn ang="0">
                    <a:pos x="T2" y="T3"/>
                  </a:cxn>
                  <a:cxn ang="0">
                    <a:pos x="T4" y="T5"/>
                  </a:cxn>
                  <a:cxn ang="0">
                    <a:pos x="T6" y="T7"/>
                  </a:cxn>
                  <a:cxn ang="0">
                    <a:pos x="T8" y="T9"/>
                  </a:cxn>
                </a:cxnLst>
                <a:rect l="0" t="0" r="r" b="b"/>
                <a:pathLst>
                  <a:path w="4" h="1">
                    <a:moveTo>
                      <a:pt x="0" y="0"/>
                    </a:moveTo>
                    <a:cubicBezTo>
                      <a:pt x="1" y="0"/>
                      <a:pt x="2" y="1"/>
                      <a:pt x="3" y="1"/>
                    </a:cubicBezTo>
                    <a:cubicBezTo>
                      <a:pt x="3" y="1"/>
                      <a:pt x="3" y="0"/>
                      <a:pt x="4" y="0"/>
                    </a:cubicBezTo>
                    <a:cubicBezTo>
                      <a:pt x="4" y="0"/>
                      <a:pt x="4" y="0"/>
                      <a:pt x="4" y="0"/>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334"/>
              <p:cNvSpPr/>
              <p:nvPr/>
            </p:nvSpPr>
            <p:spPr bwMode="auto">
              <a:xfrm>
                <a:off x="9733" y="-583"/>
                <a:ext cx="17" cy="8"/>
              </a:xfrm>
              <a:custGeom>
                <a:gdLst>
                  <a:gd name="T0" fmla="*/ 1 w 7"/>
                  <a:gd name="T1" fmla="*/ 0 h 3"/>
                  <a:gd name="T2" fmla="*/ 1 w 7"/>
                  <a:gd name="T3" fmla="*/ 0 h 3"/>
                  <a:gd name="T4" fmla="*/ 2 w 7"/>
                  <a:gd name="T5" fmla="*/ 2 h 3"/>
                  <a:gd name="T6" fmla="*/ 4 w 7"/>
                  <a:gd name="T7" fmla="*/ 3 h 3"/>
                  <a:gd name="T8" fmla="*/ 7 w 7"/>
                  <a:gd name="T9" fmla="*/ 3 h 3"/>
                  <a:gd name="T10" fmla="*/ 2 w 7"/>
                  <a:gd name="T11" fmla="*/ 0 h 3"/>
                  <a:gd name="T12" fmla="*/ 1 w 7"/>
                  <a:gd name="T13" fmla="*/ 0 h 3"/>
                  <a:gd name="T14" fmla="*/ 1 w 7"/>
                  <a:gd name="T15" fmla="*/ 0 h 3"/>
                  <a:gd name="T16" fmla="*/ 1 w 7"/>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1" y="0"/>
                    </a:moveTo>
                    <a:cubicBezTo>
                      <a:pt x="1" y="0"/>
                      <a:pt x="1" y="0"/>
                      <a:pt x="1" y="0"/>
                    </a:cubicBezTo>
                    <a:cubicBezTo>
                      <a:pt x="0" y="1"/>
                      <a:pt x="1" y="2"/>
                      <a:pt x="2" y="2"/>
                    </a:cubicBezTo>
                    <a:cubicBezTo>
                      <a:pt x="3" y="2"/>
                      <a:pt x="3" y="3"/>
                      <a:pt x="4" y="3"/>
                    </a:cubicBezTo>
                    <a:cubicBezTo>
                      <a:pt x="5" y="3"/>
                      <a:pt x="6" y="3"/>
                      <a:pt x="7" y="3"/>
                    </a:cubicBezTo>
                    <a:cubicBezTo>
                      <a:pt x="5" y="2"/>
                      <a:pt x="4" y="0"/>
                      <a:pt x="2"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7" name="Freeform 335"/>
              <p:cNvSpPr/>
              <p:nvPr/>
            </p:nvSpPr>
            <p:spPr bwMode="auto">
              <a:xfrm>
                <a:off x="8110" y="-840"/>
                <a:ext cx="14" cy="7"/>
              </a:xfrm>
              <a:custGeom>
                <a:gdLst>
                  <a:gd name="T0" fmla="*/ 4 w 6"/>
                  <a:gd name="T1" fmla="*/ 0 h 3"/>
                  <a:gd name="T2" fmla="*/ 1 w 6"/>
                  <a:gd name="T3" fmla="*/ 1 h 3"/>
                  <a:gd name="T4" fmla="*/ 0 w 6"/>
                  <a:gd name="T5" fmla="*/ 2 h 3"/>
                  <a:gd name="T6" fmla="*/ 0 w 6"/>
                  <a:gd name="T7" fmla="*/ 2 h 3"/>
                  <a:gd name="T8" fmla="*/ 0 w 6"/>
                  <a:gd name="T9" fmla="*/ 2 h 3"/>
                  <a:gd name="T10" fmla="*/ 1 w 6"/>
                  <a:gd name="T11" fmla="*/ 3 h 3"/>
                  <a:gd name="T12" fmla="*/ 4 w 6"/>
                  <a:gd name="T13" fmla="*/ 3 h 3"/>
                  <a:gd name="T14" fmla="*/ 4 w 6"/>
                  <a:gd name="T15" fmla="*/ 3 h 3"/>
                  <a:gd name="T16" fmla="*/ 5 w 6"/>
                  <a:gd name="T17" fmla="*/ 1 h 3"/>
                  <a:gd name="T18" fmla="*/ 5 w 6"/>
                  <a:gd name="T19" fmla="*/ 0 h 3"/>
                  <a:gd name="T20" fmla="*/ 5 w 6"/>
                  <a:gd name="T21" fmla="*/ 0 h 3"/>
                  <a:gd name="T22" fmla="*/ 4 w 6"/>
                  <a:gd name="T23" fmla="*/ 0 h 3"/>
                  <a:gd name="T24" fmla="*/ 4 w 6"/>
                  <a:gd name="T25"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
                    <a:moveTo>
                      <a:pt x="4" y="0"/>
                    </a:moveTo>
                    <a:cubicBezTo>
                      <a:pt x="3" y="0"/>
                      <a:pt x="1" y="1"/>
                      <a:pt x="1" y="1"/>
                    </a:cubicBezTo>
                    <a:cubicBezTo>
                      <a:pt x="0" y="2"/>
                      <a:pt x="0" y="2"/>
                      <a:pt x="0" y="2"/>
                    </a:cubicBezTo>
                    <a:cubicBezTo>
                      <a:pt x="0" y="2"/>
                      <a:pt x="0" y="2"/>
                      <a:pt x="0" y="2"/>
                    </a:cubicBezTo>
                    <a:cubicBezTo>
                      <a:pt x="0" y="2"/>
                      <a:pt x="0" y="2"/>
                      <a:pt x="0" y="2"/>
                    </a:cubicBezTo>
                    <a:cubicBezTo>
                      <a:pt x="1" y="3"/>
                      <a:pt x="1" y="3"/>
                      <a:pt x="1" y="3"/>
                    </a:cubicBezTo>
                    <a:cubicBezTo>
                      <a:pt x="2" y="3"/>
                      <a:pt x="3" y="3"/>
                      <a:pt x="4" y="3"/>
                    </a:cubicBezTo>
                    <a:cubicBezTo>
                      <a:pt x="4" y="3"/>
                      <a:pt x="4" y="3"/>
                      <a:pt x="4" y="3"/>
                    </a:cubicBezTo>
                    <a:cubicBezTo>
                      <a:pt x="5" y="2"/>
                      <a:pt x="6" y="2"/>
                      <a:pt x="5" y="1"/>
                    </a:cubicBezTo>
                    <a:cubicBezTo>
                      <a:pt x="5" y="0"/>
                      <a:pt x="5" y="0"/>
                      <a:pt x="5" y="0"/>
                    </a:cubicBezTo>
                    <a:cubicBezTo>
                      <a:pt x="5" y="0"/>
                      <a:pt x="5" y="0"/>
                      <a:pt x="5" y="0"/>
                    </a:cubicBez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336"/>
              <p:cNvSpPr/>
              <p:nvPr/>
            </p:nvSpPr>
            <p:spPr bwMode="auto">
              <a:xfrm>
                <a:off x="8006" y="1914"/>
                <a:ext cx="19" cy="10"/>
              </a:xfrm>
              <a:custGeom>
                <a:gdLst>
                  <a:gd name="T0" fmla="*/ 0 w 8"/>
                  <a:gd name="T1" fmla="*/ 0 h 4"/>
                  <a:gd name="T2" fmla="*/ 5 w 8"/>
                  <a:gd name="T3" fmla="*/ 4 h 4"/>
                  <a:gd name="T4" fmla="*/ 0 w 8"/>
                  <a:gd name="T5" fmla="*/ 0 h 4"/>
                </a:gdLst>
                <a:cxnLst>
                  <a:cxn ang="0">
                    <a:pos x="T0" y="T1"/>
                  </a:cxn>
                  <a:cxn ang="0">
                    <a:pos x="T2" y="T3"/>
                  </a:cxn>
                  <a:cxn ang="0">
                    <a:pos x="T4" y="T5"/>
                  </a:cxn>
                </a:cxnLst>
                <a:rect l="0" t="0" r="r" b="b"/>
                <a:pathLst>
                  <a:path w="8" h="4">
                    <a:moveTo>
                      <a:pt x="0" y="0"/>
                    </a:moveTo>
                    <a:cubicBezTo>
                      <a:pt x="1" y="1"/>
                      <a:pt x="3" y="3"/>
                      <a:pt x="5" y="4"/>
                    </a:cubicBezTo>
                    <a:cubicBezTo>
                      <a:pt x="8"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Freeform 337"/>
              <p:cNvSpPr/>
              <p:nvPr/>
            </p:nvSpPr>
            <p:spPr bwMode="auto">
              <a:xfrm>
                <a:off x="8008" y="1931"/>
                <a:ext cx="3" cy="4"/>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1"/>
                      <a:pt x="1" y="2"/>
                      <a:pt x="1" y="2"/>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338"/>
              <p:cNvSpPr/>
              <p:nvPr/>
            </p:nvSpPr>
            <p:spPr bwMode="auto">
              <a:xfrm>
                <a:off x="7812" y="3125"/>
                <a:ext cx="10" cy="7"/>
              </a:xfrm>
              <a:custGeom>
                <a:gdLst>
                  <a:gd name="T0" fmla="*/ 4 w 4"/>
                  <a:gd name="T1" fmla="*/ 0 h 3"/>
                  <a:gd name="T2" fmla="*/ 0 w 4"/>
                  <a:gd name="T3" fmla="*/ 0 h 3"/>
                  <a:gd name="T4" fmla="*/ 2 w 4"/>
                  <a:gd name="T5" fmla="*/ 2 h 3"/>
                  <a:gd name="T6" fmla="*/ 3 w 4"/>
                  <a:gd name="T7" fmla="*/ 3 h 3"/>
                  <a:gd name="T8" fmla="*/ 4 w 4"/>
                  <a:gd name="T9" fmla="*/ 0 h 3"/>
                </a:gdLst>
                <a:cxnLst>
                  <a:cxn ang="0">
                    <a:pos x="T0" y="T1"/>
                  </a:cxn>
                  <a:cxn ang="0">
                    <a:pos x="T2" y="T3"/>
                  </a:cxn>
                  <a:cxn ang="0">
                    <a:pos x="T4" y="T5"/>
                  </a:cxn>
                  <a:cxn ang="0">
                    <a:pos x="T6" y="T7"/>
                  </a:cxn>
                  <a:cxn ang="0">
                    <a:pos x="T8" y="T9"/>
                  </a:cxn>
                </a:cxnLst>
                <a:rect l="0" t="0" r="r" b="b"/>
                <a:pathLst>
                  <a:path w="4" h="3">
                    <a:moveTo>
                      <a:pt x="4" y="0"/>
                    </a:moveTo>
                    <a:cubicBezTo>
                      <a:pt x="3" y="0"/>
                      <a:pt x="1" y="0"/>
                      <a:pt x="0" y="0"/>
                    </a:cubicBezTo>
                    <a:cubicBezTo>
                      <a:pt x="1" y="1"/>
                      <a:pt x="2" y="2"/>
                      <a:pt x="2" y="2"/>
                    </a:cubicBezTo>
                    <a:cubicBezTo>
                      <a:pt x="3" y="3"/>
                      <a:pt x="3" y="3"/>
                      <a:pt x="3" y="3"/>
                    </a:cubicBezTo>
                    <a:cubicBezTo>
                      <a:pt x="4"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1" name="Freeform 339"/>
              <p:cNvSpPr/>
              <p:nvPr/>
            </p:nvSpPr>
            <p:spPr bwMode="auto">
              <a:xfrm>
                <a:off x="7817" y="3153"/>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0" y="1"/>
                      <a:pt x="1" y="1"/>
                      <a:pt x="2" y="2"/>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Freeform 340"/>
              <p:cNvSpPr/>
              <p:nvPr/>
            </p:nvSpPr>
            <p:spPr bwMode="auto">
              <a:xfrm>
                <a:off x="7805" y="3158"/>
                <a:ext cx="5" cy="9"/>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0" y="2"/>
                      <a:pt x="1" y="3"/>
                      <a:pt x="2"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3" name="Freeform 341"/>
              <p:cNvSpPr/>
              <p:nvPr/>
            </p:nvSpPr>
            <p:spPr bwMode="auto">
              <a:xfrm>
                <a:off x="7791" y="3151"/>
                <a:ext cx="14" cy="7"/>
              </a:xfrm>
              <a:custGeom>
                <a:gdLst>
                  <a:gd name="T0" fmla="*/ 0 w 6"/>
                  <a:gd name="T1" fmla="*/ 0 h 3"/>
                  <a:gd name="T2" fmla="*/ 2 w 6"/>
                  <a:gd name="T3" fmla="*/ 2 h 3"/>
                  <a:gd name="T4" fmla="*/ 3 w 6"/>
                  <a:gd name="T5" fmla="*/ 2 h 3"/>
                  <a:gd name="T6" fmla="*/ 4 w 6"/>
                  <a:gd name="T7" fmla="*/ 3 h 3"/>
                  <a:gd name="T8" fmla="*/ 5 w 6"/>
                  <a:gd name="T9" fmla="*/ 3 h 3"/>
                  <a:gd name="T10" fmla="*/ 6 w 6"/>
                  <a:gd name="T11" fmla="*/ 3 h 3"/>
                  <a:gd name="T12" fmla="*/ 0 w 6"/>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6" h="3">
                    <a:moveTo>
                      <a:pt x="0" y="0"/>
                    </a:moveTo>
                    <a:cubicBezTo>
                      <a:pt x="1" y="1"/>
                      <a:pt x="1" y="2"/>
                      <a:pt x="2" y="2"/>
                    </a:cubicBezTo>
                    <a:cubicBezTo>
                      <a:pt x="3" y="2"/>
                      <a:pt x="3" y="2"/>
                      <a:pt x="3" y="2"/>
                    </a:cubicBezTo>
                    <a:cubicBezTo>
                      <a:pt x="3" y="2"/>
                      <a:pt x="4" y="3"/>
                      <a:pt x="4" y="3"/>
                    </a:cubicBezTo>
                    <a:cubicBezTo>
                      <a:pt x="5" y="3"/>
                      <a:pt x="5" y="3"/>
                      <a:pt x="5" y="3"/>
                    </a:cubicBezTo>
                    <a:cubicBezTo>
                      <a:pt x="5" y="3"/>
                      <a:pt x="5" y="3"/>
                      <a:pt x="6" y="3"/>
                    </a:cubicBezTo>
                    <a:cubicBezTo>
                      <a:pt x="4"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4" name="Freeform 342"/>
              <p:cNvSpPr>
                <a:spLocks noEditPoints="1"/>
              </p:cNvSpPr>
              <p:nvPr/>
            </p:nvSpPr>
            <p:spPr bwMode="auto">
              <a:xfrm>
                <a:off x="7628" y="-819"/>
                <a:ext cx="2" cy="0"/>
              </a:xfrm>
              <a:custGeom>
                <a:gdLst>
                  <a:gd name="T0" fmla="*/ 1 w 1"/>
                  <a:gd name="T1" fmla="*/ 1 w 1"/>
                  <a:gd name="T2" fmla="*/ 1 w 1"/>
                  <a:gd name="T3" fmla="*/ 1 w 1"/>
                  <a:gd name="T4" fmla="*/ 1 w 1"/>
                  <a:gd name="T5" fmla="*/ 1 w 1"/>
                  <a:gd name="T6" fmla="*/ 1 w 1"/>
                  <a:gd name="T7" fmla="*/ 1 w 1"/>
                  <a:gd name="T8" fmla="*/ 1 w 1"/>
                  <a:gd name="T9" fmla="*/ 1 w 1"/>
                  <a:gd name="T10" fmla="*/ 1 w 1"/>
                  <a:gd name="T11" fmla="*/ 1 w 1"/>
                  <a:gd name="T12" fmla="*/ 1 w 1"/>
                  <a:gd name="T13" fmla="*/ 0 w 1"/>
                  <a:gd name="T14" fmla="*/ 1 w 1"/>
                  <a:gd name="T15" fmla="*/ 0 w 1"/>
                  <a:gd name="T16" fmla="*/ 0 w 1"/>
                  <a:gd name="T17" fmla="*/ 0 w 1"/>
                  <a:gd name="T18" fmla="*/ 0 w 1"/>
                  <a:gd name="T19" fmla="*/ 0 w 1"/>
                  <a:gd name="T20" fmla="*/ 0 w 1"/>
                  <a:gd name="T21" fmla="*/ 0 w 1"/>
                  <a:gd name="T22" fmla="*/ 0 w 1"/>
                </a:gd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Lst>
                <a:rect l="0" t="0" r="r" b="b"/>
                <a:pathLst>
                  <a:path w="1">
                    <a:moveTo>
                      <a:pt x="1" y="0"/>
                    </a:moveTo>
                    <a:cubicBezTo>
                      <a:pt x="1" y="0"/>
                      <a:pt x="1" y="0"/>
                      <a:pt x="1" y="0"/>
                    </a:cubicBezTo>
                    <a:cubicBezTo>
                      <a:pt x="1" y="0"/>
                      <a:pt x="1" y="0"/>
                      <a:pt x="1" y="0"/>
                    </a:cubicBezTo>
                    <a:cubicBezTo>
                      <a:pt x="1" y="0"/>
                      <a:pt x="1" y="0"/>
                      <a:pt x="1" y="0"/>
                    </a:cubicBezTo>
                    <a:cubicBezTo>
                      <a:pt x="1" y="0"/>
                      <a:pt x="1" y="0"/>
                      <a:pt x="1" y="0"/>
                    </a:cubicBezTo>
                    <a:moveTo>
                      <a:pt x="1" y="0"/>
                    </a:moveTo>
                    <a:cubicBezTo>
                      <a:pt x="1" y="0"/>
                      <a:pt x="1" y="0"/>
                      <a:pt x="1" y="0"/>
                    </a:cubicBezTo>
                    <a:cubicBezTo>
                      <a:pt x="1" y="0"/>
                      <a:pt x="1" y="0"/>
                      <a:pt x="1" y="0"/>
                    </a:cubicBezTo>
                    <a:cubicBezTo>
                      <a:pt x="1" y="0"/>
                      <a:pt x="1" y="0"/>
                      <a:pt x="1" y="0"/>
                    </a:cubicBezTo>
                    <a:moveTo>
                      <a:pt x="1" y="0"/>
                    </a:moveTo>
                    <a:cubicBezTo>
                      <a:pt x="1" y="0"/>
                      <a:pt x="1" y="0"/>
                      <a:pt x="1" y="0"/>
                    </a:cubicBezTo>
                    <a:cubicBezTo>
                      <a:pt x="1" y="0"/>
                      <a:pt x="1" y="0"/>
                      <a:pt x="1" y="0"/>
                    </a:cubicBezTo>
                    <a:cubicBezTo>
                      <a:pt x="1" y="0"/>
                      <a:pt x="1" y="0"/>
                      <a:pt x="1" y="0"/>
                    </a:cubicBezTo>
                    <a:moveTo>
                      <a:pt x="0" y="0"/>
                    </a:moveTo>
                    <a:cubicBezTo>
                      <a:pt x="1" y="0"/>
                      <a:pt x="1" y="0"/>
                      <a:pt x="1" y="0"/>
                    </a:cubicBezTo>
                    <a:cubicBezTo>
                      <a:pt x="1" y="0"/>
                      <a:pt x="1" y="0"/>
                      <a:pt x="0" y="0"/>
                    </a:cubicBezTo>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Freeform 343"/>
              <p:cNvSpPr>
                <a:spLocks noEditPoints="1"/>
              </p:cNvSpPr>
              <p:nvPr/>
            </p:nvSpPr>
            <p:spPr bwMode="auto">
              <a:xfrm>
                <a:off x="7647" y="2283"/>
                <a:ext cx="16" cy="9"/>
              </a:xfrm>
              <a:custGeom>
                <a:gdLst>
                  <a:gd name="T0" fmla="*/ 5 w 7"/>
                  <a:gd name="T1" fmla="*/ 4 h 4"/>
                  <a:gd name="T2" fmla="*/ 5 w 7"/>
                  <a:gd name="T3" fmla="*/ 4 h 4"/>
                  <a:gd name="T4" fmla="*/ 5 w 7"/>
                  <a:gd name="T5" fmla="*/ 4 h 4"/>
                  <a:gd name="T6" fmla="*/ 6 w 7"/>
                  <a:gd name="T7" fmla="*/ 3 h 4"/>
                  <a:gd name="T8" fmla="*/ 6 w 7"/>
                  <a:gd name="T9" fmla="*/ 3 h 4"/>
                  <a:gd name="T10" fmla="*/ 6 w 7"/>
                  <a:gd name="T11" fmla="*/ 3 h 4"/>
                  <a:gd name="T12" fmla="*/ 3 w 7"/>
                  <a:gd name="T13" fmla="*/ 0 h 4"/>
                  <a:gd name="T14" fmla="*/ 0 w 7"/>
                  <a:gd name="T15" fmla="*/ 3 h 4"/>
                  <a:gd name="T16" fmla="*/ 5 w 7"/>
                  <a:gd name="T17" fmla="*/ 4 h 4"/>
                  <a:gd name="T18" fmla="*/ 5 w 7"/>
                  <a:gd name="T19" fmla="*/ 4 h 4"/>
                  <a:gd name="T20" fmla="*/ 5 w 7"/>
                  <a:gd name="T21" fmla="*/ 4 h 4"/>
                  <a:gd name="T22" fmla="*/ 6 w 7"/>
                  <a:gd name="T23" fmla="*/ 4 h 4"/>
                  <a:gd name="T24" fmla="*/ 6 w 7"/>
                  <a:gd name="T25" fmla="*/ 3 h 4"/>
                  <a:gd name="T26" fmla="*/ 6 w 7"/>
                  <a:gd name="T27" fmla="*/ 3 h 4"/>
                  <a:gd name="T28" fmla="*/ 7 w 7"/>
                  <a:gd name="T29" fmla="*/ 2 h 4"/>
                  <a:gd name="T30" fmla="*/ 6 w 7"/>
                  <a:gd name="T31" fmla="*/ 1 h 4"/>
                  <a:gd name="T32" fmla="*/ 6 w 7"/>
                  <a:gd name="T33" fmla="*/ 1 h 4"/>
                  <a:gd name="T34" fmla="*/ 5 w 7"/>
                  <a:gd name="T35" fmla="*/ 1 h 4"/>
                  <a:gd name="T36" fmla="*/ 5 w 7"/>
                  <a:gd name="T37" fmla="*/ 1 h 4"/>
                  <a:gd name="T38" fmla="*/ 5 w 7"/>
                  <a:gd name="T39" fmla="*/ 1 h 4"/>
                  <a:gd name="T40" fmla="*/ 4 w 7"/>
                  <a:gd name="T41" fmla="*/ 1 h 4"/>
                  <a:gd name="T42" fmla="*/ 3 w 7"/>
                  <a:gd name="T43" fmla="*/ 1 h 4"/>
                  <a:gd name="T44" fmla="*/ 3 w 7"/>
                  <a:gd name="T45"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4">
                    <a:moveTo>
                      <a:pt x="5" y="4"/>
                    </a:moveTo>
                    <a:cubicBezTo>
                      <a:pt x="5" y="4"/>
                      <a:pt x="5" y="4"/>
                      <a:pt x="5" y="4"/>
                    </a:cubicBezTo>
                    <a:cubicBezTo>
                      <a:pt x="5" y="4"/>
                      <a:pt x="5" y="4"/>
                      <a:pt x="5" y="4"/>
                    </a:cubicBezTo>
                    <a:moveTo>
                      <a:pt x="6" y="3"/>
                    </a:moveTo>
                    <a:cubicBezTo>
                      <a:pt x="6" y="3"/>
                      <a:pt x="6" y="3"/>
                      <a:pt x="6" y="3"/>
                    </a:cubicBezTo>
                    <a:cubicBezTo>
                      <a:pt x="6" y="3"/>
                      <a:pt x="6" y="3"/>
                      <a:pt x="6" y="3"/>
                    </a:cubicBezTo>
                    <a:moveTo>
                      <a:pt x="3" y="0"/>
                    </a:moveTo>
                    <a:cubicBezTo>
                      <a:pt x="2" y="0"/>
                      <a:pt x="0" y="1"/>
                      <a:pt x="0" y="3"/>
                    </a:cubicBezTo>
                    <a:cubicBezTo>
                      <a:pt x="2" y="3"/>
                      <a:pt x="3" y="4"/>
                      <a:pt x="5" y="4"/>
                    </a:cubicBezTo>
                    <a:cubicBezTo>
                      <a:pt x="5" y="4"/>
                      <a:pt x="5" y="4"/>
                      <a:pt x="5" y="4"/>
                    </a:cubicBezTo>
                    <a:cubicBezTo>
                      <a:pt x="5" y="4"/>
                      <a:pt x="5" y="4"/>
                      <a:pt x="5" y="4"/>
                    </a:cubicBezTo>
                    <a:cubicBezTo>
                      <a:pt x="5" y="4"/>
                      <a:pt x="5" y="4"/>
                      <a:pt x="6" y="4"/>
                    </a:cubicBezTo>
                    <a:cubicBezTo>
                      <a:pt x="6" y="3"/>
                      <a:pt x="6" y="3"/>
                      <a:pt x="6" y="3"/>
                    </a:cubicBezTo>
                    <a:cubicBezTo>
                      <a:pt x="6" y="3"/>
                      <a:pt x="6" y="3"/>
                      <a:pt x="6" y="3"/>
                    </a:cubicBezTo>
                    <a:cubicBezTo>
                      <a:pt x="7" y="2"/>
                      <a:pt x="7" y="2"/>
                      <a:pt x="7" y="2"/>
                    </a:cubicBezTo>
                    <a:cubicBezTo>
                      <a:pt x="7" y="1"/>
                      <a:pt x="6" y="1"/>
                      <a:pt x="6" y="1"/>
                    </a:cubicBezTo>
                    <a:cubicBezTo>
                      <a:pt x="6" y="1"/>
                      <a:pt x="6" y="1"/>
                      <a:pt x="6" y="1"/>
                    </a:cubicBezTo>
                    <a:cubicBezTo>
                      <a:pt x="5" y="1"/>
                      <a:pt x="5" y="1"/>
                      <a:pt x="5" y="1"/>
                    </a:cubicBezTo>
                    <a:cubicBezTo>
                      <a:pt x="5" y="1"/>
                      <a:pt x="5" y="1"/>
                      <a:pt x="5" y="1"/>
                    </a:cubicBezTo>
                    <a:cubicBezTo>
                      <a:pt x="5" y="1"/>
                      <a:pt x="5" y="1"/>
                      <a:pt x="5" y="1"/>
                    </a:cubicBezTo>
                    <a:cubicBezTo>
                      <a:pt x="5" y="1"/>
                      <a:pt x="4" y="1"/>
                      <a:pt x="4" y="1"/>
                    </a:cubicBezTo>
                    <a:cubicBezTo>
                      <a:pt x="4" y="1"/>
                      <a:pt x="4" y="1"/>
                      <a:pt x="3" y="1"/>
                    </a:cubicBezTo>
                    <a:cubicBezTo>
                      <a:pt x="3"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Rectangle 344"/>
              <p:cNvSpPr>
                <a:spLocks noChangeArrowheads="1"/>
              </p:cNvSpPr>
              <p:nvPr/>
            </p:nvSpPr>
            <p:spPr bwMode="auto">
              <a:xfrm>
                <a:off x="4010" y="1990"/>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7" name="Freeform 345"/>
              <p:cNvSpPr/>
              <p:nvPr/>
            </p:nvSpPr>
            <p:spPr bwMode="auto">
              <a:xfrm flipH="1">
                <a:off x="4010" y="1990"/>
                <a:ext cx="0" cy="2"/>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Freeform 346"/>
              <p:cNvSpPr/>
              <p:nvPr/>
            </p:nvSpPr>
            <p:spPr bwMode="auto">
              <a:xfrm>
                <a:off x="4308" y="2593"/>
                <a:ext cx="28" cy="14"/>
              </a:xfrm>
              <a:custGeom>
                <a:gdLst>
                  <a:gd name="T0" fmla="*/ 3 w 12"/>
                  <a:gd name="T1" fmla="*/ 0 h 6"/>
                  <a:gd name="T2" fmla="*/ 3 w 12"/>
                  <a:gd name="T3" fmla="*/ 0 h 6"/>
                  <a:gd name="T4" fmla="*/ 3 w 12"/>
                  <a:gd name="T5" fmla="*/ 4 h 6"/>
                  <a:gd name="T6" fmla="*/ 2 w 12"/>
                  <a:gd name="T7" fmla="*/ 4 h 6"/>
                  <a:gd name="T8" fmla="*/ 8 w 12"/>
                  <a:gd name="T9" fmla="*/ 6 h 6"/>
                  <a:gd name="T10" fmla="*/ 9 w 12"/>
                  <a:gd name="T11" fmla="*/ 6 h 6"/>
                  <a:gd name="T12" fmla="*/ 8 w 12"/>
                  <a:gd name="T13" fmla="*/ 3 h 6"/>
                  <a:gd name="T14" fmla="*/ 8 w 12"/>
                  <a:gd name="T15" fmla="*/ 3 h 6"/>
                  <a:gd name="T16" fmla="*/ 7 w 12"/>
                  <a:gd name="T17" fmla="*/ 4 h 6"/>
                  <a:gd name="T18" fmla="*/ 6 w 12"/>
                  <a:gd name="T19" fmla="*/ 4 h 6"/>
                  <a:gd name="T20" fmla="*/ 6 w 12"/>
                  <a:gd name="T21" fmla="*/ 4 h 6"/>
                  <a:gd name="T22" fmla="*/ 5 w 12"/>
                  <a:gd name="T23" fmla="*/ 1 h 6"/>
                  <a:gd name="T24" fmla="*/ 4 w 12"/>
                  <a:gd name="T25" fmla="*/ 1 h 6"/>
                  <a:gd name="T26" fmla="*/ 3 w 12"/>
                  <a:gd name="T2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6">
                    <a:moveTo>
                      <a:pt x="3" y="0"/>
                    </a:moveTo>
                    <a:cubicBezTo>
                      <a:pt x="3" y="0"/>
                      <a:pt x="3" y="0"/>
                      <a:pt x="3" y="0"/>
                    </a:cubicBezTo>
                    <a:cubicBezTo>
                      <a:pt x="0" y="0"/>
                      <a:pt x="2" y="3"/>
                      <a:pt x="3" y="4"/>
                    </a:cubicBezTo>
                    <a:cubicBezTo>
                      <a:pt x="3" y="4"/>
                      <a:pt x="2" y="4"/>
                      <a:pt x="2" y="4"/>
                    </a:cubicBezTo>
                    <a:cubicBezTo>
                      <a:pt x="2" y="6"/>
                      <a:pt x="7" y="6"/>
                      <a:pt x="8" y="6"/>
                    </a:cubicBezTo>
                    <a:cubicBezTo>
                      <a:pt x="9" y="6"/>
                      <a:pt x="9" y="6"/>
                      <a:pt x="9" y="6"/>
                    </a:cubicBezTo>
                    <a:cubicBezTo>
                      <a:pt x="12" y="6"/>
                      <a:pt x="10" y="3"/>
                      <a:pt x="8" y="3"/>
                    </a:cubicBezTo>
                    <a:cubicBezTo>
                      <a:pt x="8" y="3"/>
                      <a:pt x="8" y="3"/>
                      <a:pt x="8" y="3"/>
                    </a:cubicBezTo>
                    <a:cubicBezTo>
                      <a:pt x="8" y="3"/>
                      <a:pt x="7" y="3"/>
                      <a:pt x="7" y="4"/>
                    </a:cubicBezTo>
                    <a:cubicBezTo>
                      <a:pt x="6" y="4"/>
                      <a:pt x="6" y="4"/>
                      <a:pt x="6" y="4"/>
                    </a:cubicBezTo>
                    <a:cubicBezTo>
                      <a:pt x="6" y="4"/>
                      <a:pt x="6" y="4"/>
                      <a:pt x="6" y="4"/>
                    </a:cubicBezTo>
                    <a:cubicBezTo>
                      <a:pt x="4" y="3"/>
                      <a:pt x="6" y="1"/>
                      <a:pt x="5" y="1"/>
                    </a:cubicBezTo>
                    <a:cubicBezTo>
                      <a:pt x="5" y="1"/>
                      <a:pt x="5" y="1"/>
                      <a:pt x="4"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9" name="Freeform 347"/>
              <p:cNvSpPr/>
              <p:nvPr/>
            </p:nvSpPr>
            <p:spPr bwMode="auto">
              <a:xfrm>
                <a:off x="4393" y="2737"/>
                <a:ext cx="75" cy="83"/>
              </a:xfrm>
              <a:custGeom>
                <a:gdLst>
                  <a:gd name="T0" fmla="*/ 26 w 32"/>
                  <a:gd name="T1" fmla="*/ 0 h 35"/>
                  <a:gd name="T2" fmla="*/ 19 w 32"/>
                  <a:gd name="T3" fmla="*/ 6 h 35"/>
                  <a:gd name="T4" fmla="*/ 18 w 32"/>
                  <a:gd name="T5" fmla="*/ 6 h 35"/>
                  <a:gd name="T6" fmla="*/ 12 w 32"/>
                  <a:gd name="T7" fmla="*/ 5 h 35"/>
                  <a:gd name="T8" fmla="*/ 12 w 32"/>
                  <a:gd name="T9" fmla="*/ 5 h 35"/>
                  <a:gd name="T10" fmla="*/ 12 w 32"/>
                  <a:gd name="T11" fmla="*/ 5 h 35"/>
                  <a:gd name="T12" fmla="*/ 4 w 32"/>
                  <a:gd name="T13" fmla="*/ 17 h 35"/>
                  <a:gd name="T14" fmla="*/ 3 w 32"/>
                  <a:gd name="T15" fmla="*/ 18 h 35"/>
                  <a:gd name="T16" fmla="*/ 2 w 32"/>
                  <a:gd name="T17" fmla="*/ 19 h 35"/>
                  <a:gd name="T18" fmla="*/ 2 w 32"/>
                  <a:gd name="T19" fmla="*/ 19 h 35"/>
                  <a:gd name="T20" fmla="*/ 0 w 32"/>
                  <a:gd name="T21" fmla="*/ 23 h 35"/>
                  <a:gd name="T22" fmla="*/ 0 w 32"/>
                  <a:gd name="T23" fmla="*/ 24 h 35"/>
                  <a:gd name="T24" fmla="*/ 0 w 32"/>
                  <a:gd name="T25" fmla="*/ 25 h 35"/>
                  <a:gd name="T26" fmla="*/ 0 w 32"/>
                  <a:gd name="T27" fmla="*/ 26 h 35"/>
                  <a:gd name="T28" fmla="*/ 1 w 32"/>
                  <a:gd name="T29" fmla="*/ 29 h 35"/>
                  <a:gd name="T30" fmla="*/ 1 w 32"/>
                  <a:gd name="T31" fmla="*/ 34 h 35"/>
                  <a:gd name="T32" fmla="*/ 4 w 32"/>
                  <a:gd name="T33" fmla="*/ 35 h 35"/>
                  <a:gd name="T34" fmla="*/ 11 w 32"/>
                  <a:gd name="T35" fmla="*/ 33 h 35"/>
                  <a:gd name="T36" fmla="*/ 17 w 32"/>
                  <a:gd name="T37" fmla="*/ 32 h 35"/>
                  <a:gd name="T38" fmla="*/ 18 w 32"/>
                  <a:gd name="T39" fmla="*/ 32 h 35"/>
                  <a:gd name="T40" fmla="*/ 22 w 32"/>
                  <a:gd name="T41" fmla="*/ 33 h 35"/>
                  <a:gd name="T42" fmla="*/ 22 w 32"/>
                  <a:gd name="T43" fmla="*/ 33 h 35"/>
                  <a:gd name="T44" fmla="*/ 23 w 32"/>
                  <a:gd name="T45" fmla="*/ 33 h 35"/>
                  <a:gd name="T46" fmla="*/ 29 w 32"/>
                  <a:gd name="T47" fmla="*/ 24 h 35"/>
                  <a:gd name="T48" fmla="*/ 28 w 32"/>
                  <a:gd name="T49" fmla="*/ 23 h 35"/>
                  <a:gd name="T50" fmla="*/ 23 w 32"/>
                  <a:gd name="T51" fmla="*/ 22 h 35"/>
                  <a:gd name="T52" fmla="*/ 15 w 32"/>
                  <a:gd name="T53" fmla="*/ 23 h 35"/>
                  <a:gd name="T54" fmla="*/ 26 w 32"/>
                  <a:gd name="T55" fmla="*/ 17 h 35"/>
                  <a:gd name="T56" fmla="*/ 31 w 32"/>
                  <a:gd name="T57" fmla="*/ 14 h 35"/>
                  <a:gd name="T58" fmla="*/ 31 w 32"/>
                  <a:gd name="T59" fmla="*/ 11 h 35"/>
                  <a:gd name="T60" fmla="*/ 30 w 32"/>
                  <a:gd name="T61" fmla="*/ 5 h 35"/>
                  <a:gd name="T62" fmla="*/ 27 w 32"/>
                  <a:gd name="T63" fmla="*/ 1 h 35"/>
                  <a:gd name="T64" fmla="*/ 27 w 32"/>
                  <a:gd name="T65" fmla="*/ 1 h 35"/>
                  <a:gd name="T66" fmla="*/ 26 w 32"/>
                  <a:gd name="T67"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35">
                    <a:moveTo>
                      <a:pt x="26" y="0"/>
                    </a:moveTo>
                    <a:cubicBezTo>
                      <a:pt x="26" y="0"/>
                      <a:pt x="20" y="5"/>
                      <a:pt x="19" y="6"/>
                    </a:cubicBezTo>
                    <a:cubicBezTo>
                      <a:pt x="19" y="6"/>
                      <a:pt x="18" y="6"/>
                      <a:pt x="18" y="6"/>
                    </a:cubicBezTo>
                    <a:cubicBezTo>
                      <a:pt x="17" y="6"/>
                      <a:pt x="15" y="6"/>
                      <a:pt x="12" y="5"/>
                    </a:cubicBezTo>
                    <a:cubicBezTo>
                      <a:pt x="12" y="5"/>
                      <a:pt x="12" y="5"/>
                      <a:pt x="12" y="5"/>
                    </a:cubicBezTo>
                    <a:cubicBezTo>
                      <a:pt x="12" y="5"/>
                      <a:pt x="12" y="5"/>
                      <a:pt x="12" y="5"/>
                    </a:cubicBezTo>
                    <a:cubicBezTo>
                      <a:pt x="11" y="7"/>
                      <a:pt x="5" y="16"/>
                      <a:pt x="4" y="17"/>
                    </a:cubicBezTo>
                    <a:cubicBezTo>
                      <a:pt x="4" y="17"/>
                      <a:pt x="3" y="18"/>
                      <a:pt x="3" y="18"/>
                    </a:cubicBezTo>
                    <a:cubicBezTo>
                      <a:pt x="2" y="19"/>
                      <a:pt x="2" y="19"/>
                      <a:pt x="2" y="19"/>
                    </a:cubicBezTo>
                    <a:cubicBezTo>
                      <a:pt x="2" y="19"/>
                      <a:pt x="2" y="19"/>
                      <a:pt x="2" y="19"/>
                    </a:cubicBezTo>
                    <a:cubicBezTo>
                      <a:pt x="1" y="20"/>
                      <a:pt x="1" y="21"/>
                      <a:pt x="0" y="23"/>
                    </a:cubicBezTo>
                    <a:cubicBezTo>
                      <a:pt x="0" y="23"/>
                      <a:pt x="0" y="24"/>
                      <a:pt x="0" y="24"/>
                    </a:cubicBezTo>
                    <a:cubicBezTo>
                      <a:pt x="0" y="24"/>
                      <a:pt x="0" y="25"/>
                      <a:pt x="0" y="25"/>
                    </a:cubicBezTo>
                    <a:cubicBezTo>
                      <a:pt x="0" y="26"/>
                      <a:pt x="0" y="26"/>
                      <a:pt x="0" y="26"/>
                    </a:cubicBezTo>
                    <a:cubicBezTo>
                      <a:pt x="0" y="27"/>
                      <a:pt x="1" y="28"/>
                      <a:pt x="1" y="29"/>
                    </a:cubicBezTo>
                    <a:cubicBezTo>
                      <a:pt x="1" y="30"/>
                      <a:pt x="1" y="33"/>
                      <a:pt x="1" y="34"/>
                    </a:cubicBezTo>
                    <a:cubicBezTo>
                      <a:pt x="2" y="34"/>
                      <a:pt x="3" y="35"/>
                      <a:pt x="4" y="35"/>
                    </a:cubicBezTo>
                    <a:cubicBezTo>
                      <a:pt x="6" y="35"/>
                      <a:pt x="8" y="34"/>
                      <a:pt x="11" y="33"/>
                    </a:cubicBezTo>
                    <a:cubicBezTo>
                      <a:pt x="13" y="33"/>
                      <a:pt x="15" y="32"/>
                      <a:pt x="17" y="32"/>
                    </a:cubicBezTo>
                    <a:cubicBezTo>
                      <a:pt x="17" y="32"/>
                      <a:pt x="18" y="32"/>
                      <a:pt x="18" y="32"/>
                    </a:cubicBezTo>
                    <a:cubicBezTo>
                      <a:pt x="20" y="32"/>
                      <a:pt x="21" y="33"/>
                      <a:pt x="22" y="33"/>
                    </a:cubicBezTo>
                    <a:cubicBezTo>
                      <a:pt x="22" y="33"/>
                      <a:pt x="22" y="33"/>
                      <a:pt x="22" y="33"/>
                    </a:cubicBezTo>
                    <a:cubicBezTo>
                      <a:pt x="23" y="33"/>
                      <a:pt x="23" y="33"/>
                      <a:pt x="23" y="33"/>
                    </a:cubicBezTo>
                    <a:cubicBezTo>
                      <a:pt x="26" y="31"/>
                      <a:pt x="28" y="25"/>
                      <a:pt x="29" y="24"/>
                    </a:cubicBezTo>
                    <a:cubicBezTo>
                      <a:pt x="28" y="23"/>
                      <a:pt x="28" y="23"/>
                      <a:pt x="28" y="23"/>
                    </a:cubicBezTo>
                    <a:cubicBezTo>
                      <a:pt x="27" y="22"/>
                      <a:pt x="25" y="22"/>
                      <a:pt x="23" y="22"/>
                    </a:cubicBezTo>
                    <a:cubicBezTo>
                      <a:pt x="20" y="22"/>
                      <a:pt x="16" y="23"/>
                      <a:pt x="15" y="23"/>
                    </a:cubicBezTo>
                    <a:cubicBezTo>
                      <a:pt x="18" y="21"/>
                      <a:pt x="23" y="19"/>
                      <a:pt x="26" y="17"/>
                    </a:cubicBezTo>
                    <a:cubicBezTo>
                      <a:pt x="27" y="16"/>
                      <a:pt x="30" y="15"/>
                      <a:pt x="31" y="14"/>
                    </a:cubicBezTo>
                    <a:cubicBezTo>
                      <a:pt x="32" y="13"/>
                      <a:pt x="32" y="12"/>
                      <a:pt x="31" y="11"/>
                    </a:cubicBezTo>
                    <a:cubicBezTo>
                      <a:pt x="31" y="9"/>
                      <a:pt x="31" y="6"/>
                      <a:pt x="30" y="5"/>
                    </a:cubicBezTo>
                    <a:cubicBezTo>
                      <a:pt x="30" y="4"/>
                      <a:pt x="28" y="2"/>
                      <a:pt x="27" y="1"/>
                    </a:cubicBezTo>
                    <a:cubicBezTo>
                      <a:pt x="27" y="1"/>
                      <a:pt x="27" y="1"/>
                      <a:pt x="27" y="1"/>
                    </a:cubicBez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Freeform 348"/>
              <p:cNvSpPr/>
              <p:nvPr/>
            </p:nvSpPr>
            <p:spPr bwMode="auto">
              <a:xfrm>
                <a:off x="4913" y="2737"/>
                <a:ext cx="56" cy="19"/>
              </a:xfrm>
              <a:custGeom>
                <a:gdLst>
                  <a:gd name="T0" fmla="*/ 5 w 24"/>
                  <a:gd name="T1" fmla="*/ 0 h 8"/>
                  <a:gd name="T2" fmla="*/ 4 w 24"/>
                  <a:gd name="T3" fmla="*/ 0 h 8"/>
                  <a:gd name="T4" fmla="*/ 1 w 24"/>
                  <a:gd name="T5" fmla="*/ 4 h 8"/>
                  <a:gd name="T6" fmla="*/ 0 w 24"/>
                  <a:gd name="T7" fmla="*/ 3 h 8"/>
                  <a:gd name="T8" fmla="*/ 9 w 24"/>
                  <a:gd name="T9" fmla="*/ 8 h 8"/>
                  <a:gd name="T10" fmla="*/ 17 w 24"/>
                  <a:gd name="T11" fmla="*/ 6 h 8"/>
                  <a:gd name="T12" fmla="*/ 24 w 24"/>
                  <a:gd name="T13" fmla="*/ 3 h 8"/>
                  <a:gd name="T14" fmla="*/ 24 w 24"/>
                  <a:gd name="T15" fmla="*/ 3 h 8"/>
                  <a:gd name="T16" fmla="*/ 17 w 24"/>
                  <a:gd name="T17" fmla="*/ 1 h 8"/>
                  <a:gd name="T18" fmla="*/ 15 w 24"/>
                  <a:gd name="T19" fmla="*/ 1 h 8"/>
                  <a:gd name="T20" fmla="*/ 12 w 24"/>
                  <a:gd name="T21" fmla="*/ 1 h 8"/>
                  <a:gd name="T22" fmla="*/ 9 w 24"/>
                  <a:gd name="T23" fmla="*/ 1 h 8"/>
                  <a:gd name="T24" fmla="*/ 8 w 24"/>
                  <a:gd name="T25" fmla="*/ 1 h 8"/>
                  <a:gd name="T26" fmla="*/ 5 w 24"/>
                  <a:gd name="T2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8">
                    <a:moveTo>
                      <a:pt x="5" y="0"/>
                    </a:moveTo>
                    <a:cubicBezTo>
                      <a:pt x="4" y="0"/>
                      <a:pt x="4" y="0"/>
                      <a:pt x="4" y="0"/>
                    </a:cubicBezTo>
                    <a:cubicBezTo>
                      <a:pt x="2" y="1"/>
                      <a:pt x="2" y="4"/>
                      <a:pt x="1" y="4"/>
                    </a:cubicBezTo>
                    <a:cubicBezTo>
                      <a:pt x="0" y="4"/>
                      <a:pt x="0" y="4"/>
                      <a:pt x="0" y="3"/>
                    </a:cubicBezTo>
                    <a:cubicBezTo>
                      <a:pt x="3" y="5"/>
                      <a:pt x="6" y="7"/>
                      <a:pt x="9" y="8"/>
                    </a:cubicBezTo>
                    <a:cubicBezTo>
                      <a:pt x="12" y="8"/>
                      <a:pt x="15" y="8"/>
                      <a:pt x="17" y="6"/>
                    </a:cubicBezTo>
                    <a:cubicBezTo>
                      <a:pt x="19" y="6"/>
                      <a:pt x="22" y="3"/>
                      <a:pt x="24" y="3"/>
                    </a:cubicBezTo>
                    <a:cubicBezTo>
                      <a:pt x="24" y="3"/>
                      <a:pt x="24" y="3"/>
                      <a:pt x="24" y="3"/>
                    </a:cubicBezTo>
                    <a:cubicBezTo>
                      <a:pt x="22" y="3"/>
                      <a:pt x="19" y="1"/>
                      <a:pt x="17" y="1"/>
                    </a:cubicBezTo>
                    <a:cubicBezTo>
                      <a:pt x="16" y="1"/>
                      <a:pt x="16" y="1"/>
                      <a:pt x="15" y="1"/>
                    </a:cubicBezTo>
                    <a:cubicBezTo>
                      <a:pt x="14" y="1"/>
                      <a:pt x="13" y="1"/>
                      <a:pt x="12" y="1"/>
                    </a:cubicBezTo>
                    <a:cubicBezTo>
                      <a:pt x="11" y="1"/>
                      <a:pt x="10" y="1"/>
                      <a:pt x="9" y="1"/>
                    </a:cubicBezTo>
                    <a:cubicBezTo>
                      <a:pt x="9" y="1"/>
                      <a:pt x="9" y="1"/>
                      <a:pt x="8" y="1"/>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1" name="Freeform 349"/>
              <p:cNvSpPr/>
              <p:nvPr/>
            </p:nvSpPr>
            <p:spPr bwMode="auto">
              <a:xfrm>
                <a:off x="4858" y="2758"/>
                <a:ext cx="12" cy="5"/>
              </a:xfrm>
              <a:custGeom>
                <a:gdLst>
                  <a:gd name="T0" fmla="*/ 1 w 5"/>
                  <a:gd name="T1" fmla="*/ 0 h 2"/>
                  <a:gd name="T2" fmla="*/ 0 w 5"/>
                  <a:gd name="T3" fmla="*/ 0 h 2"/>
                  <a:gd name="T4" fmla="*/ 5 w 5"/>
                  <a:gd name="T5" fmla="*/ 2 h 2"/>
                  <a:gd name="T6" fmla="*/ 1 w 5"/>
                  <a:gd name="T7" fmla="*/ 0 h 2"/>
                </a:gdLst>
                <a:cxnLst>
                  <a:cxn ang="0">
                    <a:pos x="T0" y="T1"/>
                  </a:cxn>
                  <a:cxn ang="0">
                    <a:pos x="T2" y="T3"/>
                  </a:cxn>
                  <a:cxn ang="0">
                    <a:pos x="T4" y="T5"/>
                  </a:cxn>
                  <a:cxn ang="0">
                    <a:pos x="T6" y="T7"/>
                  </a:cxn>
                </a:cxnLst>
                <a:rect l="0" t="0" r="r" b="b"/>
                <a:pathLst>
                  <a:path w="5" h="2">
                    <a:moveTo>
                      <a:pt x="1" y="0"/>
                    </a:moveTo>
                    <a:cubicBezTo>
                      <a:pt x="0" y="0"/>
                      <a:pt x="0" y="0"/>
                      <a:pt x="0" y="0"/>
                    </a:cubicBezTo>
                    <a:cubicBezTo>
                      <a:pt x="1" y="1"/>
                      <a:pt x="3" y="2"/>
                      <a:pt x="5" y="2"/>
                    </a:cubicBezTo>
                    <a:cubicBezTo>
                      <a:pt x="4"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Freeform 350"/>
              <p:cNvSpPr/>
              <p:nvPr/>
            </p:nvSpPr>
            <p:spPr bwMode="auto">
              <a:xfrm>
                <a:off x="3996" y="1860"/>
                <a:ext cx="14" cy="2"/>
              </a:xfrm>
              <a:custGeom>
                <a:gdLst>
                  <a:gd name="T0" fmla="*/ 4 w 6"/>
                  <a:gd name="T1" fmla="*/ 0 h 1"/>
                  <a:gd name="T2" fmla="*/ 0 w 6"/>
                  <a:gd name="T3" fmla="*/ 1 h 1"/>
                  <a:gd name="T4" fmla="*/ 6 w 6"/>
                  <a:gd name="T5" fmla="*/ 0 h 1"/>
                  <a:gd name="T6" fmla="*/ 4 w 6"/>
                  <a:gd name="T7" fmla="*/ 0 h 1"/>
                </a:gdLst>
                <a:cxnLst>
                  <a:cxn ang="0">
                    <a:pos x="T0" y="T1"/>
                  </a:cxn>
                  <a:cxn ang="0">
                    <a:pos x="T2" y="T3"/>
                  </a:cxn>
                  <a:cxn ang="0">
                    <a:pos x="T4" y="T5"/>
                  </a:cxn>
                  <a:cxn ang="0">
                    <a:pos x="T6" y="T7"/>
                  </a:cxn>
                </a:cxnLst>
                <a:rect l="0" t="0" r="r" b="b"/>
                <a:pathLst>
                  <a:path w="6" h="1">
                    <a:moveTo>
                      <a:pt x="4" y="0"/>
                    </a:moveTo>
                    <a:cubicBezTo>
                      <a:pt x="3" y="0"/>
                      <a:pt x="2" y="1"/>
                      <a:pt x="0" y="1"/>
                    </a:cubicBezTo>
                    <a:cubicBezTo>
                      <a:pt x="2" y="1"/>
                      <a:pt x="4" y="1"/>
                      <a:pt x="6"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3" name="Freeform 351"/>
              <p:cNvSpPr/>
              <p:nvPr/>
            </p:nvSpPr>
            <p:spPr bwMode="auto">
              <a:xfrm>
                <a:off x="5629" y="526"/>
                <a:ext cx="2" cy="0"/>
              </a:xfrm>
              <a:custGeom>
                <a:gdLst>
                  <a:gd name="T0" fmla="*/ 1 w 1"/>
                  <a:gd name="T1" fmla="*/ 0 w 1"/>
                  <a:gd name="T2" fmla="*/ 1 w 1"/>
                  <a:gd name="T3" fmla="*/ 1 w 1"/>
                  <a:gd name="T4" fmla="*/ 1 w 1"/>
                </a:gd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352"/>
              <p:cNvSpPr/>
              <p:nvPr/>
            </p:nvSpPr>
            <p:spPr bwMode="auto">
              <a:xfrm>
                <a:off x="8214" y="1524"/>
                <a:ext cx="2" cy="5"/>
              </a:xfrm>
              <a:custGeom>
                <a:gdLst>
                  <a:gd name="T0" fmla="*/ 2 w 2"/>
                  <a:gd name="T1" fmla="*/ 0 h 5"/>
                  <a:gd name="T2" fmla="*/ 0 w 2"/>
                  <a:gd name="T3" fmla="*/ 5 h 5"/>
                  <a:gd name="T4" fmla="*/ 2 w 2"/>
                  <a:gd name="T5" fmla="*/ 5 h 5"/>
                  <a:gd name="T6" fmla="*/ 2 w 2"/>
                  <a:gd name="T7" fmla="*/ 0 h 5"/>
                </a:gdLst>
                <a:cxnLst>
                  <a:cxn ang="0">
                    <a:pos x="T0" y="T1"/>
                  </a:cxn>
                  <a:cxn ang="0">
                    <a:pos x="T2" y="T3"/>
                  </a:cxn>
                  <a:cxn ang="0">
                    <a:pos x="T4" y="T5"/>
                  </a:cxn>
                  <a:cxn ang="0">
                    <a:pos x="T6" y="T7"/>
                  </a:cxn>
                </a:cxnLst>
                <a:rect l="0" t="0" r="r" b="b"/>
                <a:pathLst>
                  <a:path w="2" h="5">
                    <a:moveTo>
                      <a:pt x="2" y="0"/>
                    </a:moveTo>
                    <a:lnTo>
                      <a:pt x="0" y="5"/>
                    </a:lnTo>
                    <a:lnTo>
                      <a:pt x="2"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5" name="Freeform 353"/>
              <p:cNvSpPr/>
              <p:nvPr/>
            </p:nvSpPr>
            <p:spPr bwMode="auto">
              <a:xfrm>
                <a:off x="8214" y="1524"/>
                <a:ext cx="2" cy="5"/>
              </a:xfrm>
              <a:custGeom>
                <a:gdLst>
                  <a:gd name="T0" fmla="*/ 2 w 2"/>
                  <a:gd name="T1" fmla="*/ 0 h 5"/>
                  <a:gd name="T2" fmla="*/ 0 w 2"/>
                  <a:gd name="T3" fmla="*/ 5 h 5"/>
                  <a:gd name="T4" fmla="*/ 2 w 2"/>
                  <a:gd name="T5" fmla="*/ 5 h 5"/>
                  <a:gd name="T6" fmla="*/ 2 w 2"/>
                  <a:gd name="T7" fmla="*/ 0 h 5"/>
                </a:gdLst>
                <a:cxnLst>
                  <a:cxn ang="0">
                    <a:pos x="T0" y="T1"/>
                  </a:cxn>
                  <a:cxn ang="0">
                    <a:pos x="T2" y="T3"/>
                  </a:cxn>
                  <a:cxn ang="0">
                    <a:pos x="T4" y="T5"/>
                  </a:cxn>
                  <a:cxn ang="0">
                    <a:pos x="T6" y="T7"/>
                  </a:cxn>
                </a:cxnLst>
                <a:rect l="0" t="0" r="r" b="b"/>
                <a:pathLst>
                  <a:path w="2" h="5">
                    <a:moveTo>
                      <a:pt x="2" y="0"/>
                    </a:moveTo>
                    <a:lnTo>
                      <a:pt x="0" y="5"/>
                    </a:lnTo>
                    <a:lnTo>
                      <a:pt x="2" y="5"/>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Freeform 354"/>
              <p:cNvSpPr/>
              <p:nvPr/>
            </p:nvSpPr>
            <p:spPr bwMode="auto">
              <a:xfrm>
                <a:off x="4799" y="2108"/>
                <a:ext cx="38" cy="76"/>
              </a:xfrm>
              <a:custGeom>
                <a:gdLst>
                  <a:gd name="T0" fmla="*/ 8 w 16"/>
                  <a:gd name="T1" fmla="*/ 0 h 32"/>
                  <a:gd name="T2" fmla="*/ 7 w 16"/>
                  <a:gd name="T3" fmla="*/ 1 h 32"/>
                  <a:gd name="T4" fmla="*/ 4 w 16"/>
                  <a:gd name="T5" fmla="*/ 6 h 32"/>
                  <a:gd name="T6" fmla="*/ 1 w 16"/>
                  <a:gd name="T7" fmla="*/ 13 h 32"/>
                  <a:gd name="T8" fmla="*/ 0 w 16"/>
                  <a:gd name="T9" fmla="*/ 21 h 32"/>
                  <a:gd name="T10" fmla="*/ 1 w 16"/>
                  <a:gd name="T11" fmla="*/ 27 h 32"/>
                  <a:gd name="T12" fmla="*/ 1 w 16"/>
                  <a:gd name="T13" fmla="*/ 27 h 32"/>
                  <a:gd name="T14" fmla="*/ 1 w 16"/>
                  <a:gd name="T15" fmla="*/ 28 h 32"/>
                  <a:gd name="T16" fmla="*/ 4 w 16"/>
                  <a:gd name="T17" fmla="*/ 31 h 32"/>
                  <a:gd name="T18" fmla="*/ 4 w 16"/>
                  <a:gd name="T19" fmla="*/ 31 h 32"/>
                  <a:gd name="T20" fmla="*/ 4 w 16"/>
                  <a:gd name="T21" fmla="*/ 32 h 32"/>
                  <a:gd name="T22" fmla="*/ 5 w 16"/>
                  <a:gd name="T23" fmla="*/ 31 h 32"/>
                  <a:gd name="T24" fmla="*/ 5 w 16"/>
                  <a:gd name="T25" fmla="*/ 31 h 32"/>
                  <a:gd name="T26" fmla="*/ 5 w 16"/>
                  <a:gd name="T27" fmla="*/ 31 h 32"/>
                  <a:gd name="T28" fmla="*/ 7 w 16"/>
                  <a:gd name="T29" fmla="*/ 31 h 32"/>
                  <a:gd name="T30" fmla="*/ 9 w 16"/>
                  <a:gd name="T31" fmla="*/ 31 h 32"/>
                  <a:gd name="T32" fmla="*/ 10 w 16"/>
                  <a:gd name="T33" fmla="*/ 31 h 32"/>
                  <a:gd name="T34" fmla="*/ 11 w 16"/>
                  <a:gd name="T35" fmla="*/ 31 h 32"/>
                  <a:gd name="T36" fmla="*/ 11 w 16"/>
                  <a:gd name="T37" fmla="*/ 31 h 32"/>
                  <a:gd name="T38" fmla="*/ 13 w 16"/>
                  <a:gd name="T39" fmla="*/ 31 h 32"/>
                  <a:gd name="T40" fmla="*/ 13 w 16"/>
                  <a:gd name="T41" fmla="*/ 29 h 32"/>
                  <a:gd name="T42" fmla="*/ 13 w 16"/>
                  <a:gd name="T43" fmla="*/ 29 h 32"/>
                  <a:gd name="T44" fmla="*/ 14 w 16"/>
                  <a:gd name="T45" fmla="*/ 26 h 32"/>
                  <a:gd name="T46" fmla="*/ 16 w 16"/>
                  <a:gd name="T47" fmla="*/ 18 h 32"/>
                  <a:gd name="T48" fmla="*/ 14 w 16"/>
                  <a:gd name="T49" fmla="*/ 12 h 32"/>
                  <a:gd name="T50" fmla="*/ 14 w 16"/>
                  <a:gd name="T51" fmla="*/ 4 h 32"/>
                  <a:gd name="T52" fmla="*/ 14 w 16"/>
                  <a:gd name="T53" fmla="*/ 4 h 32"/>
                  <a:gd name="T54" fmla="*/ 13 w 16"/>
                  <a:gd name="T55" fmla="*/ 4 h 32"/>
                  <a:gd name="T56" fmla="*/ 13 w 16"/>
                  <a:gd name="T57" fmla="*/ 4 h 32"/>
                  <a:gd name="T58" fmla="*/ 12 w 16"/>
                  <a:gd name="T59" fmla="*/ 4 h 32"/>
                  <a:gd name="T60" fmla="*/ 9 w 16"/>
                  <a:gd name="T61" fmla="*/ 0 h 32"/>
                  <a:gd name="T62" fmla="*/ 8 w 16"/>
                  <a:gd name="T63"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32">
                    <a:moveTo>
                      <a:pt x="8" y="0"/>
                    </a:moveTo>
                    <a:cubicBezTo>
                      <a:pt x="8" y="0"/>
                      <a:pt x="8" y="0"/>
                      <a:pt x="7" y="1"/>
                    </a:cubicBezTo>
                    <a:cubicBezTo>
                      <a:pt x="5" y="1"/>
                      <a:pt x="4" y="4"/>
                      <a:pt x="4" y="6"/>
                    </a:cubicBezTo>
                    <a:cubicBezTo>
                      <a:pt x="2" y="9"/>
                      <a:pt x="2" y="10"/>
                      <a:pt x="1" y="13"/>
                    </a:cubicBezTo>
                    <a:cubicBezTo>
                      <a:pt x="1" y="15"/>
                      <a:pt x="0" y="19"/>
                      <a:pt x="0" y="21"/>
                    </a:cubicBezTo>
                    <a:cubicBezTo>
                      <a:pt x="0" y="22"/>
                      <a:pt x="0" y="25"/>
                      <a:pt x="1" y="27"/>
                    </a:cubicBezTo>
                    <a:cubicBezTo>
                      <a:pt x="1" y="27"/>
                      <a:pt x="1" y="27"/>
                      <a:pt x="1" y="27"/>
                    </a:cubicBezTo>
                    <a:cubicBezTo>
                      <a:pt x="1" y="28"/>
                      <a:pt x="1" y="28"/>
                      <a:pt x="1" y="28"/>
                    </a:cubicBezTo>
                    <a:cubicBezTo>
                      <a:pt x="2" y="30"/>
                      <a:pt x="2" y="31"/>
                      <a:pt x="4" y="31"/>
                    </a:cubicBezTo>
                    <a:cubicBezTo>
                      <a:pt x="4" y="31"/>
                      <a:pt x="4" y="31"/>
                      <a:pt x="4" y="31"/>
                    </a:cubicBezTo>
                    <a:cubicBezTo>
                      <a:pt x="4" y="32"/>
                      <a:pt x="4" y="32"/>
                      <a:pt x="4" y="32"/>
                    </a:cubicBezTo>
                    <a:cubicBezTo>
                      <a:pt x="5" y="31"/>
                      <a:pt x="5" y="31"/>
                      <a:pt x="5" y="31"/>
                    </a:cubicBezTo>
                    <a:cubicBezTo>
                      <a:pt x="5" y="31"/>
                      <a:pt x="5" y="31"/>
                      <a:pt x="5" y="31"/>
                    </a:cubicBezTo>
                    <a:cubicBezTo>
                      <a:pt x="5" y="31"/>
                      <a:pt x="5" y="31"/>
                      <a:pt x="5" y="31"/>
                    </a:cubicBezTo>
                    <a:cubicBezTo>
                      <a:pt x="6" y="31"/>
                      <a:pt x="6" y="31"/>
                      <a:pt x="7" y="31"/>
                    </a:cubicBezTo>
                    <a:cubicBezTo>
                      <a:pt x="8" y="31"/>
                      <a:pt x="8" y="31"/>
                      <a:pt x="9" y="31"/>
                    </a:cubicBezTo>
                    <a:cubicBezTo>
                      <a:pt x="9" y="31"/>
                      <a:pt x="9" y="31"/>
                      <a:pt x="10" y="31"/>
                    </a:cubicBezTo>
                    <a:cubicBezTo>
                      <a:pt x="10" y="31"/>
                      <a:pt x="10" y="31"/>
                      <a:pt x="11" y="31"/>
                    </a:cubicBezTo>
                    <a:cubicBezTo>
                      <a:pt x="11" y="31"/>
                      <a:pt x="11" y="31"/>
                      <a:pt x="11" y="31"/>
                    </a:cubicBezTo>
                    <a:cubicBezTo>
                      <a:pt x="11" y="31"/>
                      <a:pt x="12" y="31"/>
                      <a:pt x="13" y="31"/>
                    </a:cubicBezTo>
                    <a:cubicBezTo>
                      <a:pt x="13" y="29"/>
                      <a:pt x="13" y="29"/>
                      <a:pt x="13" y="29"/>
                    </a:cubicBezTo>
                    <a:cubicBezTo>
                      <a:pt x="13" y="29"/>
                      <a:pt x="13" y="29"/>
                      <a:pt x="13" y="29"/>
                    </a:cubicBezTo>
                    <a:cubicBezTo>
                      <a:pt x="13" y="28"/>
                      <a:pt x="14" y="27"/>
                      <a:pt x="14" y="26"/>
                    </a:cubicBezTo>
                    <a:cubicBezTo>
                      <a:pt x="14" y="25"/>
                      <a:pt x="16" y="20"/>
                      <a:pt x="16" y="18"/>
                    </a:cubicBezTo>
                    <a:cubicBezTo>
                      <a:pt x="15" y="16"/>
                      <a:pt x="13" y="14"/>
                      <a:pt x="14" y="12"/>
                    </a:cubicBezTo>
                    <a:cubicBezTo>
                      <a:pt x="14" y="10"/>
                      <a:pt x="16" y="6"/>
                      <a:pt x="14" y="4"/>
                    </a:cubicBezTo>
                    <a:cubicBezTo>
                      <a:pt x="14" y="4"/>
                      <a:pt x="14" y="4"/>
                      <a:pt x="14" y="4"/>
                    </a:cubicBezTo>
                    <a:cubicBezTo>
                      <a:pt x="13" y="4"/>
                      <a:pt x="13" y="4"/>
                      <a:pt x="13" y="4"/>
                    </a:cubicBezTo>
                    <a:cubicBezTo>
                      <a:pt x="13" y="4"/>
                      <a:pt x="13" y="4"/>
                      <a:pt x="13" y="4"/>
                    </a:cubicBezTo>
                    <a:cubicBezTo>
                      <a:pt x="13" y="4"/>
                      <a:pt x="12" y="4"/>
                      <a:pt x="12" y="4"/>
                    </a:cubicBezTo>
                    <a:cubicBezTo>
                      <a:pt x="11" y="3"/>
                      <a:pt x="10"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7" name="Freeform 355"/>
              <p:cNvSpPr>
                <a:spLocks noEditPoints="1"/>
              </p:cNvSpPr>
              <p:nvPr/>
            </p:nvSpPr>
            <p:spPr bwMode="auto">
              <a:xfrm>
                <a:off x="5515" y="564"/>
                <a:ext cx="3" cy="3"/>
              </a:xfrm>
              <a:custGeom>
                <a:gdLst>
                  <a:gd name="T0" fmla="*/ 1 w 1"/>
                  <a:gd name="T1" fmla="*/ 0 h 1"/>
                  <a:gd name="T2" fmla="*/ 1 w 1"/>
                  <a:gd name="T3" fmla="*/ 1 h 1"/>
                  <a:gd name="T4" fmla="*/ 0 w 1"/>
                  <a:gd name="T5" fmla="*/ 1 h 1"/>
                  <a:gd name="T6" fmla="*/ 0 w 1"/>
                  <a:gd name="T7" fmla="*/ 1 h 1"/>
                  <a:gd name="T8" fmla="*/ 1 w 1"/>
                  <a:gd name="T9" fmla="*/ 0 h 1"/>
                  <a:gd name="T10" fmla="*/ 1 w 1"/>
                  <a:gd name="T11" fmla="*/ 0 h 1"/>
                  <a:gd name="T12" fmla="*/ 1 w 1"/>
                  <a:gd name="T13" fmla="*/ 0 h 1"/>
                  <a:gd name="T14" fmla="*/ 1 w 1"/>
                  <a:gd name="T15" fmla="*/ 0 h 1"/>
                  <a:gd name="T16" fmla="*/ 1 w 1"/>
                  <a:gd name="T17"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0"/>
                    </a:moveTo>
                    <a:cubicBezTo>
                      <a:pt x="1" y="0"/>
                      <a:pt x="1" y="1"/>
                      <a:pt x="1" y="1"/>
                    </a:cubicBezTo>
                    <a:cubicBezTo>
                      <a:pt x="0" y="1"/>
                      <a:pt x="0" y="1"/>
                      <a:pt x="0" y="1"/>
                    </a:cubicBezTo>
                    <a:cubicBezTo>
                      <a:pt x="0" y="1"/>
                      <a:pt x="0" y="1"/>
                      <a:pt x="0" y="1"/>
                    </a:cubicBezTo>
                    <a:cubicBezTo>
                      <a:pt x="1" y="1"/>
                      <a:pt x="1" y="1"/>
                      <a:pt x="1" y="0"/>
                    </a:cubicBezTo>
                    <a:moveTo>
                      <a:pt x="1" y="0"/>
                    </a:move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Rectangle 356"/>
              <p:cNvSpPr>
                <a:spLocks noChangeArrowheads="1"/>
              </p:cNvSpPr>
              <p:nvPr/>
            </p:nvSpPr>
            <p:spPr bwMode="auto">
              <a:xfrm>
                <a:off x="3887" y="336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Freeform 357"/>
              <p:cNvSpPr/>
              <p:nvPr/>
            </p:nvSpPr>
            <p:spPr bwMode="auto">
              <a:xfrm flipH="1">
                <a:off x="3887" y="336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Freeform 358"/>
              <p:cNvSpPr>
                <a:spLocks noEditPoints="1"/>
              </p:cNvSpPr>
              <p:nvPr/>
            </p:nvSpPr>
            <p:spPr bwMode="auto">
              <a:xfrm>
                <a:off x="3665" y="-601"/>
                <a:ext cx="250" cy="175"/>
              </a:xfrm>
              <a:custGeom>
                <a:gdLst>
                  <a:gd name="T0" fmla="*/ 2 w 106"/>
                  <a:gd name="T1" fmla="*/ 14 h 74"/>
                  <a:gd name="T2" fmla="*/ 40 w 106"/>
                  <a:gd name="T3" fmla="*/ 0 h 74"/>
                  <a:gd name="T4" fmla="*/ 34 w 106"/>
                  <a:gd name="T5" fmla="*/ 8 h 74"/>
                  <a:gd name="T6" fmla="*/ 36 w 106"/>
                  <a:gd name="T7" fmla="*/ 8 h 74"/>
                  <a:gd name="T8" fmla="*/ 30 w 106"/>
                  <a:gd name="T9" fmla="*/ 15 h 74"/>
                  <a:gd name="T10" fmla="*/ 29 w 106"/>
                  <a:gd name="T11" fmla="*/ 18 h 74"/>
                  <a:gd name="T12" fmla="*/ 28 w 106"/>
                  <a:gd name="T13" fmla="*/ 23 h 74"/>
                  <a:gd name="T14" fmla="*/ 25 w 106"/>
                  <a:gd name="T15" fmla="*/ 22 h 74"/>
                  <a:gd name="T16" fmla="*/ 21 w 106"/>
                  <a:gd name="T17" fmla="*/ 24 h 74"/>
                  <a:gd name="T18" fmla="*/ 20 w 106"/>
                  <a:gd name="T19" fmla="*/ 25 h 74"/>
                  <a:gd name="T20" fmla="*/ 19 w 106"/>
                  <a:gd name="T21" fmla="*/ 25 h 74"/>
                  <a:gd name="T22" fmla="*/ 21 w 106"/>
                  <a:gd name="T23" fmla="*/ 13 h 74"/>
                  <a:gd name="T24" fmla="*/ 6 w 106"/>
                  <a:gd name="T25" fmla="*/ 19 h 74"/>
                  <a:gd name="T26" fmla="*/ 0 w 106"/>
                  <a:gd name="T27" fmla="*/ 24 h 74"/>
                  <a:gd name="T28" fmla="*/ 1 w 106"/>
                  <a:gd name="T29" fmla="*/ 71 h 74"/>
                  <a:gd name="T30" fmla="*/ 3 w 106"/>
                  <a:gd name="T31" fmla="*/ 57 h 74"/>
                  <a:gd name="T32" fmla="*/ 7 w 106"/>
                  <a:gd name="T33" fmla="*/ 48 h 74"/>
                  <a:gd name="T34" fmla="*/ 14 w 106"/>
                  <a:gd name="T35" fmla="*/ 43 h 74"/>
                  <a:gd name="T36" fmla="*/ 27 w 106"/>
                  <a:gd name="T37" fmla="*/ 38 h 74"/>
                  <a:gd name="T38" fmla="*/ 34 w 106"/>
                  <a:gd name="T39" fmla="*/ 37 h 74"/>
                  <a:gd name="T40" fmla="*/ 36 w 106"/>
                  <a:gd name="T41" fmla="*/ 36 h 74"/>
                  <a:gd name="T42" fmla="*/ 50 w 106"/>
                  <a:gd name="T43" fmla="*/ 38 h 74"/>
                  <a:gd name="T44" fmla="*/ 57 w 106"/>
                  <a:gd name="T45" fmla="*/ 42 h 74"/>
                  <a:gd name="T46" fmla="*/ 64 w 106"/>
                  <a:gd name="T47" fmla="*/ 46 h 74"/>
                  <a:gd name="T48" fmla="*/ 74 w 106"/>
                  <a:gd name="T49" fmla="*/ 58 h 74"/>
                  <a:gd name="T50" fmla="*/ 84 w 106"/>
                  <a:gd name="T51" fmla="*/ 52 h 74"/>
                  <a:gd name="T52" fmla="*/ 85 w 106"/>
                  <a:gd name="T53" fmla="*/ 48 h 74"/>
                  <a:gd name="T54" fmla="*/ 91 w 106"/>
                  <a:gd name="T55" fmla="*/ 48 h 74"/>
                  <a:gd name="T56" fmla="*/ 97 w 106"/>
                  <a:gd name="T57" fmla="*/ 50 h 74"/>
                  <a:gd name="T58" fmla="*/ 98 w 106"/>
                  <a:gd name="T59" fmla="*/ 48 h 74"/>
                  <a:gd name="T60" fmla="*/ 97 w 106"/>
                  <a:gd name="T61" fmla="*/ 45 h 74"/>
                  <a:gd name="T62" fmla="*/ 88 w 106"/>
                  <a:gd name="T63" fmla="*/ 43 h 74"/>
                  <a:gd name="T64" fmla="*/ 75 w 106"/>
                  <a:gd name="T65" fmla="*/ 49 h 74"/>
                  <a:gd name="T66" fmla="*/ 79 w 106"/>
                  <a:gd name="T67" fmla="*/ 46 h 74"/>
                  <a:gd name="T68" fmla="*/ 58 w 106"/>
                  <a:gd name="T69" fmla="*/ 34 h 74"/>
                  <a:gd name="T70" fmla="*/ 88 w 106"/>
                  <a:gd name="T71" fmla="*/ 36 h 74"/>
                  <a:gd name="T72" fmla="*/ 101 w 106"/>
                  <a:gd name="T73" fmla="*/ 23 h 74"/>
                  <a:gd name="T74" fmla="*/ 87 w 106"/>
                  <a:gd name="T75" fmla="*/ 15 h 74"/>
                  <a:gd name="T76" fmla="*/ 80 w 106"/>
                  <a:gd name="T77" fmla="*/ 13 h 74"/>
                  <a:gd name="T78" fmla="*/ 63 w 106"/>
                  <a:gd name="T79" fmla="*/ 9 h 74"/>
                  <a:gd name="T80" fmla="*/ 50 w 106"/>
                  <a:gd name="T81" fmla="*/ 28 h 74"/>
                  <a:gd name="T82" fmla="*/ 49 w 106"/>
                  <a:gd name="T83" fmla="*/ 23 h 74"/>
                  <a:gd name="T84" fmla="*/ 45 w 106"/>
                  <a:gd name="T85" fmla="*/ 21 h 74"/>
                  <a:gd name="T86" fmla="*/ 44 w 106"/>
                  <a:gd name="T87" fmla="*/ 16 h 74"/>
                  <a:gd name="T88" fmla="*/ 47 w 106"/>
                  <a:gd name="T89" fmla="*/ 11 h 74"/>
                  <a:gd name="T90" fmla="*/ 52 w 106"/>
                  <a:gd name="T91" fmla="*/ 11 h 74"/>
                  <a:gd name="T92" fmla="*/ 40 w 106"/>
                  <a:gd name="T93" fmla="*/ 0 h 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5" h="74">
                    <a:moveTo>
                      <a:pt x="0" y="7"/>
                    </a:moveTo>
                    <a:cubicBezTo>
                      <a:pt x="0" y="15"/>
                      <a:pt x="0" y="15"/>
                      <a:pt x="0" y="15"/>
                    </a:cubicBezTo>
                    <a:cubicBezTo>
                      <a:pt x="1" y="14"/>
                      <a:pt x="2" y="14"/>
                      <a:pt x="2" y="14"/>
                    </a:cubicBezTo>
                    <a:cubicBezTo>
                      <a:pt x="4" y="12"/>
                      <a:pt x="5" y="10"/>
                      <a:pt x="7" y="9"/>
                    </a:cubicBezTo>
                    <a:cubicBezTo>
                      <a:pt x="5" y="8"/>
                      <a:pt x="2" y="7"/>
                      <a:pt x="0" y="7"/>
                    </a:cubicBezTo>
                    <a:moveTo>
                      <a:pt x="40" y="0"/>
                    </a:moveTo>
                    <a:cubicBezTo>
                      <a:pt x="40" y="1"/>
                      <a:pt x="39" y="4"/>
                      <a:pt x="39" y="5"/>
                    </a:cubicBezTo>
                    <a:cubicBezTo>
                      <a:pt x="37" y="7"/>
                      <a:pt x="34" y="7"/>
                      <a:pt x="32" y="8"/>
                    </a:cubicBezTo>
                    <a:cubicBezTo>
                      <a:pt x="33" y="8"/>
                      <a:pt x="33" y="8"/>
                      <a:pt x="34" y="8"/>
                    </a:cubicBezTo>
                    <a:cubicBezTo>
                      <a:pt x="34" y="8"/>
                      <a:pt x="35" y="8"/>
                      <a:pt x="35" y="8"/>
                    </a:cubicBezTo>
                    <a:cubicBezTo>
                      <a:pt x="35" y="8"/>
                      <a:pt x="35" y="8"/>
                      <a:pt x="35" y="8"/>
                    </a:cubicBezTo>
                    <a:cubicBezTo>
                      <a:pt x="35" y="8"/>
                      <a:pt x="35" y="8"/>
                      <a:pt x="36" y="8"/>
                    </a:cubicBezTo>
                    <a:cubicBezTo>
                      <a:pt x="36" y="8"/>
                      <a:pt x="37" y="9"/>
                      <a:pt x="38" y="9"/>
                    </a:cubicBezTo>
                    <a:cubicBezTo>
                      <a:pt x="36" y="11"/>
                      <a:pt x="39" y="11"/>
                      <a:pt x="40" y="11"/>
                    </a:cubicBezTo>
                    <a:cubicBezTo>
                      <a:pt x="36" y="13"/>
                      <a:pt x="33" y="13"/>
                      <a:pt x="30" y="15"/>
                    </a:cubicBezTo>
                    <a:cubicBezTo>
                      <a:pt x="32" y="15"/>
                      <a:pt x="30" y="16"/>
                      <a:pt x="30" y="17"/>
                    </a:cubicBezTo>
                    <a:cubicBezTo>
                      <a:pt x="30" y="17"/>
                      <a:pt x="32" y="18"/>
                      <a:pt x="33" y="18"/>
                    </a:cubicBezTo>
                    <a:cubicBezTo>
                      <a:pt x="32" y="18"/>
                      <a:pt x="30" y="18"/>
                      <a:pt x="29" y="18"/>
                    </a:cubicBezTo>
                    <a:cubicBezTo>
                      <a:pt x="28" y="18"/>
                      <a:pt x="27" y="18"/>
                      <a:pt x="27" y="20"/>
                    </a:cubicBezTo>
                    <a:cubicBezTo>
                      <a:pt x="27" y="21"/>
                      <a:pt x="28" y="22"/>
                      <a:pt x="30" y="22"/>
                    </a:cubicBezTo>
                    <a:cubicBezTo>
                      <a:pt x="29" y="22"/>
                      <a:pt x="28" y="23"/>
                      <a:pt x="28" y="23"/>
                    </a:cubicBezTo>
                    <a:cubicBezTo>
                      <a:pt x="27" y="23"/>
                      <a:pt x="27" y="22"/>
                      <a:pt x="27" y="22"/>
                    </a:cubicBezTo>
                    <a:cubicBezTo>
                      <a:pt x="26" y="22"/>
                      <a:pt x="26" y="22"/>
                      <a:pt x="25" y="22"/>
                    </a:cubicBezTo>
                    <a:cubicBezTo>
                      <a:pt x="25" y="22"/>
                      <a:pt x="25" y="22"/>
                      <a:pt x="25" y="22"/>
                    </a:cubicBezTo>
                    <a:cubicBezTo>
                      <a:pt x="23" y="22"/>
                      <a:pt x="23" y="23"/>
                      <a:pt x="22" y="24"/>
                    </a:cubicBezTo>
                    <a:cubicBezTo>
                      <a:pt x="22" y="24"/>
                      <a:pt x="22" y="24"/>
                      <a:pt x="22" y="24"/>
                    </a:cubicBezTo>
                    <a:cubicBezTo>
                      <a:pt x="22" y="24"/>
                      <a:pt x="22" y="24"/>
                      <a:pt x="21" y="24"/>
                    </a:cubicBezTo>
                    <a:cubicBezTo>
                      <a:pt x="21" y="25"/>
                      <a:pt x="20" y="25"/>
                      <a:pt x="20" y="25"/>
                    </a:cubicBezTo>
                    <a:cubicBezTo>
                      <a:pt x="20" y="25"/>
                      <a:pt x="20" y="25"/>
                      <a:pt x="20" y="25"/>
                    </a:cubicBezTo>
                    <a:cubicBezTo>
                      <a:pt x="20" y="25"/>
                      <a:pt x="20" y="25"/>
                      <a:pt x="20" y="25"/>
                    </a:cubicBezTo>
                    <a:cubicBezTo>
                      <a:pt x="21" y="25"/>
                      <a:pt x="20" y="25"/>
                      <a:pt x="20" y="25"/>
                    </a:cubicBezTo>
                    <a:cubicBezTo>
                      <a:pt x="20" y="26"/>
                      <a:pt x="20" y="26"/>
                      <a:pt x="20" y="26"/>
                    </a:cubicBezTo>
                    <a:cubicBezTo>
                      <a:pt x="19" y="26"/>
                      <a:pt x="19" y="26"/>
                      <a:pt x="19" y="25"/>
                    </a:cubicBezTo>
                    <a:cubicBezTo>
                      <a:pt x="18" y="23"/>
                      <a:pt x="19" y="16"/>
                      <a:pt x="16" y="16"/>
                    </a:cubicBezTo>
                    <a:cubicBezTo>
                      <a:pt x="16" y="16"/>
                      <a:pt x="16" y="16"/>
                      <a:pt x="16" y="16"/>
                    </a:cubicBezTo>
                    <a:cubicBezTo>
                      <a:pt x="17" y="15"/>
                      <a:pt x="20" y="15"/>
                      <a:pt x="21" y="13"/>
                    </a:cubicBezTo>
                    <a:cubicBezTo>
                      <a:pt x="23" y="12"/>
                      <a:pt x="22" y="8"/>
                      <a:pt x="22" y="5"/>
                    </a:cubicBezTo>
                    <a:cubicBezTo>
                      <a:pt x="18" y="9"/>
                      <a:pt x="13" y="12"/>
                      <a:pt x="9" y="15"/>
                    </a:cubicBezTo>
                    <a:cubicBezTo>
                      <a:pt x="8" y="16"/>
                      <a:pt x="7" y="18"/>
                      <a:pt x="6" y="19"/>
                    </a:cubicBezTo>
                    <a:cubicBezTo>
                      <a:pt x="5" y="20"/>
                      <a:pt x="5" y="20"/>
                      <a:pt x="4" y="21"/>
                    </a:cubicBezTo>
                    <a:cubicBezTo>
                      <a:pt x="2" y="22"/>
                      <a:pt x="1" y="23"/>
                      <a:pt x="0" y="24"/>
                    </a:cubicBezTo>
                    <a:cubicBezTo>
                      <a:pt x="0" y="24"/>
                      <a:pt x="0" y="24"/>
                      <a:pt x="0" y="24"/>
                    </a:cubicBezTo>
                    <a:cubicBezTo>
                      <a:pt x="0" y="74"/>
                      <a:pt x="0" y="74"/>
                      <a:pt x="0" y="74"/>
                    </a:cubicBezTo>
                    <a:cubicBezTo>
                      <a:pt x="0" y="74"/>
                      <a:pt x="0" y="74"/>
                      <a:pt x="0" y="74"/>
                    </a:cubicBezTo>
                    <a:cubicBezTo>
                      <a:pt x="1" y="73"/>
                      <a:pt x="1" y="72"/>
                      <a:pt x="1" y="71"/>
                    </a:cubicBezTo>
                    <a:cubicBezTo>
                      <a:pt x="2" y="69"/>
                      <a:pt x="2" y="67"/>
                      <a:pt x="2" y="64"/>
                    </a:cubicBezTo>
                    <a:cubicBezTo>
                      <a:pt x="2" y="64"/>
                      <a:pt x="2" y="64"/>
                      <a:pt x="2" y="64"/>
                    </a:cubicBezTo>
                    <a:cubicBezTo>
                      <a:pt x="2" y="62"/>
                      <a:pt x="3" y="59"/>
                      <a:pt x="3" y="57"/>
                    </a:cubicBezTo>
                    <a:cubicBezTo>
                      <a:pt x="4" y="55"/>
                      <a:pt x="4" y="55"/>
                      <a:pt x="4" y="55"/>
                    </a:cubicBezTo>
                    <a:cubicBezTo>
                      <a:pt x="4" y="55"/>
                      <a:pt x="4" y="54"/>
                      <a:pt x="4" y="54"/>
                    </a:cubicBezTo>
                    <a:cubicBezTo>
                      <a:pt x="5" y="51"/>
                      <a:pt x="5" y="50"/>
                      <a:pt x="7" y="48"/>
                    </a:cubicBezTo>
                    <a:cubicBezTo>
                      <a:pt x="7" y="48"/>
                      <a:pt x="7" y="48"/>
                      <a:pt x="7" y="48"/>
                    </a:cubicBezTo>
                    <a:cubicBezTo>
                      <a:pt x="8" y="47"/>
                      <a:pt x="10" y="46"/>
                      <a:pt x="11" y="45"/>
                    </a:cubicBezTo>
                    <a:cubicBezTo>
                      <a:pt x="12" y="44"/>
                      <a:pt x="13" y="44"/>
                      <a:pt x="14" y="43"/>
                    </a:cubicBezTo>
                    <a:cubicBezTo>
                      <a:pt x="14" y="43"/>
                      <a:pt x="14" y="43"/>
                      <a:pt x="14" y="43"/>
                    </a:cubicBezTo>
                    <a:cubicBezTo>
                      <a:pt x="17" y="39"/>
                      <a:pt x="19" y="38"/>
                      <a:pt x="24" y="38"/>
                    </a:cubicBezTo>
                    <a:cubicBezTo>
                      <a:pt x="27" y="38"/>
                      <a:pt x="27" y="38"/>
                      <a:pt x="27" y="38"/>
                    </a:cubicBezTo>
                    <a:cubicBezTo>
                      <a:pt x="28" y="38"/>
                      <a:pt x="29" y="38"/>
                      <a:pt x="30" y="37"/>
                    </a:cubicBezTo>
                    <a:cubicBezTo>
                      <a:pt x="31" y="37"/>
                      <a:pt x="32" y="37"/>
                      <a:pt x="33" y="37"/>
                    </a:cubicBezTo>
                    <a:cubicBezTo>
                      <a:pt x="33" y="37"/>
                      <a:pt x="34" y="37"/>
                      <a:pt x="34" y="37"/>
                    </a:cubicBezTo>
                    <a:cubicBezTo>
                      <a:pt x="35" y="36"/>
                      <a:pt x="35" y="36"/>
                      <a:pt x="35" y="36"/>
                    </a:cubicBezTo>
                    <a:cubicBezTo>
                      <a:pt x="35" y="36"/>
                      <a:pt x="35" y="36"/>
                      <a:pt x="36" y="36"/>
                    </a:cubicBezTo>
                    <a:cubicBezTo>
                      <a:pt x="36" y="36"/>
                      <a:pt x="36" y="36"/>
                      <a:pt x="36" y="36"/>
                    </a:cubicBezTo>
                    <a:cubicBezTo>
                      <a:pt x="37" y="35"/>
                      <a:pt x="37" y="35"/>
                      <a:pt x="38" y="35"/>
                    </a:cubicBezTo>
                    <a:cubicBezTo>
                      <a:pt x="39" y="34"/>
                      <a:pt x="40" y="34"/>
                      <a:pt x="41" y="34"/>
                    </a:cubicBezTo>
                    <a:cubicBezTo>
                      <a:pt x="45" y="34"/>
                      <a:pt x="48" y="36"/>
                      <a:pt x="50" y="38"/>
                    </a:cubicBezTo>
                    <a:cubicBezTo>
                      <a:pt x="51" y="39"/>
                      <a:pt x="51" y="39"/>
                      <a:pt x="51" y="39"/>
                    </a:cubicBezTo>
                    <a:cubicBezTo>
                      <a:pt x="52" y="39"/>
                      <a:pt x="52" y="40"/>
                      <a:pt x="53" y="40"/>
                    </a:cubicBezTo>
                    <a:cubicBezTo>
                      <a:pt x="54" y="41"/>
                      <a:pt x="56" y="42"/>
                      <a:pt x="57" y="42"/>
                    </a:cubicBezTo>
                    <a:cubicBezTo>
                      <a:pt x="58" y="43"/>
                      <a:pt x="59" y="43"/>
                      <a:pt x="60" y="44"/>
                    </a:cubicBezTo>
                    <a:cubicBezTo>
                      <a:pt x="61" y="44"/>
                      <a:pt x="61" y="44"/>
                      <a:pt x="61" y="44"/>
                    </a:cubicBezTo>
                    <a:cubicBezTo>
                      <a:pt x="62" y="45"/>
                      <a:pt x="63" y="45"/>
                      <a:pt x="64" y="46"/>
                    </a:cubicBezTo>
                    <a:cubicBezTo>
                      <a:pt x="66" y="47"/>
                      <a:pt x="72" y="50"/>
                      <a:pt x="73" y="54"/>
                    </a:cubicBezTo>
                    <a:cubicBezTo>
                      <a:pt x="73" y="55"/>
                      <a:pt x="73" y="56"/>
                      <a:pt x="73" y="58"/>
                    </a:cubicBezTo>
                    <a:cubicBezTo>
                      <a:pt x="74" y="58"/>
                      <a:pt x="74" y="58"/>
                      <a:pt x="74" y="58"/>
                    </a:cubicBezTo>
                    <a:cubicBezTo>
                      <a:pt x="75" y="57"/>
                      <a:pt x="76" y="57"/>
                      <a:pt x="77" y="57"/>
                    </a:cubicBezTo>
                    <a:cubicBezTo>
                      <a:pt x="79" y="57"/>
                      <a:pt x="79" y="57"/>
                      <a:pt x="79" y="57"/>
                    </a:cubicBezTo>
                    <a:cubicBezTo>
                      <a:pt x="81" y="56"/>
                      <a:pt x="82" y="55"/>
                      <a:pt x="84" y="52"/>
                    </a:cubicBezTo>
                    <a:cubicBezTo>
                      <a:pt x="84" y="52"/>
                      <a:pt x="84" y="52"/>
                      <a:pt x="84" y="51"/>
                    </a:cubicBezTo>
                    <a:cubicBezTo>
                      <a:pt x="83" y="50"/>
                      <a:pt x="83" y="50"/>
                      <a:pt x="83" y="50"/>
                    </a:cubicBezTo>
                    <a:cubicBezTo>
                      <a:pt x="85" y="48"/>
                      <a:pt x="85" y="48"/>
                      <a:pt x="85" y="48"/>
                    </a:cubicBezTo>
                    <a:cubicBezTo>
                      <a:pt x="86" y="47"/>
                      <a:pt x="87" y="47"/>
                      <a:pt x="87" y="47"/>
                    </a:cubicBezTo>
                    <a:cubicBezTo>
                      <a:pt x="88" y="47"/>
                      <a:pt x="89" y="47"/>
                      <a:pt x="90" y="48"/>
                    </a:cubicBezTo>
                    <a:cubicBezTo>
                      <a:pt x="90" y="48"/>
                      <a:pt x="91" y="48"/>
                      <a:pt x="91" y="48"/>
                    </a:cubicBezTo>
                    <a:cubicBezTo>
                      <a:pt x="92" y="49"/>
                      <a:pt x="92" y="49"/>
                      <a:pt x="92" y="49"/>
                    </a:cubicBezTo>
                    <a:cubicBezTo>
                      <a:pt x="93" y="49"/>
                      <a:pt x="95" y="50"/>
                      <a:pt x="96" y="50"/>
                    </a:cubicBezTo>
                    <a:cubicBezTo>
                      <a:pt x="97" y="50"/>
                      <a:pt x="97" y="50"/>
                      <a:pt x="97" y="50"/>
                    </a:cubicBezTo>
                    <a:cubicBezTo>
                      <a:pt x="98" y="51"/>
                      <a:pt x="98" y="51"/>
                      <a:pt x="98" y="51"/>
                    </a:cubicBezTo>
                    <a:cubicBezTo>
                      <a:pt x="98" y="50"/>
                      <a:pt x="98" y="50"/>
                      <a:pt x="98" y="50"/>
                    </a:cubicBezTo>
                    <a:cubicBezTo>
                      <a:pt x="98" y="50"/>
                      <a:pt x="98" y="48"/>
                      <a:pt x="98" y="48"/>
                    </a:cubicBezTo>
                    <a:cubicBezTo>
                      <a:pt x="98" y="47"/>
                      <a:pt x="98" y="47"/>
                      <a:pt x="98" y="47"/>
                    </a:cubicBezTo>
                    <a:cubicBezTo>
                      <a:pt x="100" y="46"/>
                      <a:pt x="100" y="46"/>
                      <a:pt x="100" y="46"/>
                    </a:cubicBezTo>
                    <a:cubicBezTo>
                      <a:pt x="99" y="45"/>
                      <a:pt x="98" y="45"/>
                      <a:pt x="97" y="45"/>
                    </a:cubicBezTo>
                    <a:cubicBezTo>
                      <a:pt x="95" y="45"/>
                      <a:pt x="93" y="46"/>
                      <a:pt x="92" y="48"/>
                    </a:cubicBezTo>
                    <a:cubicBezTo>
                      <a:pt x="91" y="46"/>
                      <a:pt x="90" y="44"/>
                      <a:pt x="88" y="43"/>
                    </a:cubicBezTo>
                    <a:cubicBezTo>
                      <a:pt x="88" y="43"/>
                      <a:pt x="88" y="43"/>
                      <a:pt x="88" y="43"/>
                    </a:cubicBezTo>
                    <a:cubicBezTo>
                      <a:pt x="88" y="43"/>
                      <a:pt x="87" y="44"/>
                      <a:pt x="86" y="45"/>
                    </a:cubicBezTo>
                    <a:cubicBezTo>
                      <a:pt x="83" y="47"/>
                      <a:pt x="79" y="49"/>
                      <a:pt x="75" y="50"/>
                    </a:cubicBezTo>
                    <a:cubicBezTo>
                      <a:pt x="75" y="49"/>
                      <a:pt x="75" y="49"/>
                      <a:pt x="75" y="49"/>
                    </a:cubicBezTo>
                    <a:cubicBezTo>
                      <a:pt x="77" y="49"/>
                      <a:pt x="77" y="48"/>
                      <a:pt x="78" y="47"/>
                    </a:cubicBezTo>
                    <a:cubicBezTo>
                      <a:pt x="78" y="46"/>
                      <a:pt x="78" y="46"/>
                      <a:pt x="78" y="46"/>
                    </a:cubicBezTo>
                    <a:cubicBezTo>
                      <a:pt x="78" y="46"/>
                      <a:pt x="79" y="46"/>
                      <a:pt x="79" y="46"/>
                    </a:cubicBezTo>
                    <a:cubicBezTo>
                      <a:pt x="78" y="44"/>
                      <a:pt x="75" y="44"/>
                      <a:pt x="73" y="43"/>
                    </a:cubicBezTo>
                    <a:cubicBezTo>
                      <a:pt x="75" y="43"/>
                      <a:pt x="74" y="38"/>
                      <a:pt x="72" y="38"/>
                    </a:cubicBezTo>
                    <a:cubicBezTo>
                      <a:pt x="67" y="37"/>
                      <a:pt x="63" y="36"/>
                      <a:pt x="58" y="34"/>
                    </a:cubicBezTo>
                    <a:cubicBezTo>
                      <a:pt x="58" y="33"/>
                      <a:pt x="59" y="33"/>
                      <a:pt x="60" y="33"/>
                    </a:cubicBezTo>
                    <a:cubicBezTo>
                      <a:pt x="62" y="33"/>
                      <a:pt x="64" y="34"/>
                      <a:pt x="66" y="34"/>
                    </a:cubicBezTo>
                    <a:cubicBezTo>
                      <a:pt x="73" y="36"/>
                      <a:pt x="81" y="36"/>
                      <a:pt x="88" y="36"/>
                    </a:cubicBezTo>
                    <a:cubicBezTo>
                      <a:pt x="90" y="32"/>
                      <a:pt x="97" y="31"/>
                      <a:pt x="101" y="30"/>
                    </a:cubicBezTo>
                    <a:cubicBezTo>
                      <a:pt x="104" y="29"/>
                      <a:pt x="106" y="29"/>
                      <a:pt x="105" y="26"/>
                    </a:cubicBezTo>
                    <a:cubicBezTo>
                      <a:pt x="104" y="23"/>
                      <a:pt x="103" y="24"/>
                      <a:pt x="101" y="23"/>
                    </a:cubicBezTo>
                    <a:cubicBezTo>
                      <a:pt x="96" y="21"/>
                      <a:pt x="91" y="22"/>
                      <a:pt x="87" y="20"/>
                    </a:cubicBezTo>
                    <a:cubicBezTo>
                      <a:pt x="88" y="20"/>
                      <a:pt x="88" y="20"/>
                      <a:pt x="88" y="20"/>
                    </a:cubicBezTo>
                    <a:cubicBezTo>
                      <a:pt x="89" y="18"/>
                      <a:pt x="88" y="16"/>
                      <a:pt x="87" y="15"/>
                    </a:cubicBezTo>
                    <a:cubicBezTo>
                      <a:pt x="87" y="14"/>
                      <a:pt x="86" y="14"/>
                      <a:pt x="86" y="14"/>
                    </a:cubicBezTo>
                    <a:cubicBezTo>
                      <a:pt x="84" y="14"/>
                      <a:pt x="81" y="16"/>
                      <a:pt x="80" y="16"/>
                    </a:cubicBezTo>
                    <a:cubicBezTo>
                      <a:pt x="80" y="15"/>
                      <a:pt x="80" y="14"/>
                      <a:pt x="80" y="13"/>
                    </a:cubicBezTo>
                    <a:cubicBezTo>
                      <a:pt x="77" y="14"/>
                      <a:pt x="74" y="15"/>
                      <a:pt x="72" y="16"/>
                    </a:cubicBezTo>
                    <a:cubicBezTo>
                      <a:pt x="72" y="16"/>
                      <a:pt x="72" y="15"/>
                      <a:pt x="73" y="15"/>
                    </a:cubicBezTo>
                    <a:cubicBezTo>
                      <a:pt x="70" y="13"/>
                      <a:pt x="66" y="9"/>
                      <a:pt x="63" y="9"/>
                    </a:cubicBezTo>
                    <a:cubicBezTo>
                      <a:pt x="62" y="9"/>
                      <a:pt x="61" y="10"/>
                      <a:pt x="60" y="12"/>
                    </a:cubicBezTo>
                    <a:cubicBezTo>
                      <a:pt x="59" y="13"/>
                      <a:pt x="54" y="19"/>
                      <a:pt x="55" y="21"/>
                    </a:cubicBezTo>
                    <a:cubicBezTo>
                      <a:pt x="57" y="24"/>
                      <a:pt x="53" y="27"/>
                      <a:pt x="50" y="28"/>
                    </a:cubicBezTo>
                    <a:cubicBezTo>
                      <a:pt x="51" y="25"/>
                      <a:pt x="51" y="25"/>
                      <a:pt x="53" y="23"/>
                    </a:cubicBezTo>
                    <a:cubicBezTo>
                      <a:pt x="53" y="22"/>
                      <a:pt x="53" y="22"/>
                      <a:pt x="53" y="22"/>
                    </a:cubicBezTo>
                    <a:cubicBezTo>
                      <a:pt x="52" y="22"/>
                      <a:pt x="50" y="23"/>
                      <a:pt x="49" y="23"/>
                    </a:cubicBezTo>
                    <a:cubicBezTo>
                      <a:pt x="48" y="23"/>
                      <a:pt x="47" y="24"/>
                      <a:pt x="45" y="24"/>
                    </a:cubicBezTo>
                    <a:cubicBezTo>
                      <a:pt x="45" y="24"/>
                      <a:pt x="44" y="24"/>
                      <a:pt x="44" y="23"/>
                    </a:cubicBezTo>
                    <a:cubicBezTo>
                      <a:pt x="42" y="22"/>
                      <a:pt x="44" y="22"/>
                      <a:pt x="45" y="21"/>
                    </a:cubicBezTo>
                    <a:cubicBezTo>
                      <a:pt x="49" y="18"/>
                      <a:pt x="51" y="19"/>
                      <a:pt x="52" y="14"/>
                    </a:cubicBezTo>
                    <a:cubicBezTo>
                      <a:pt x="50" y="15"/>
                      <a:pt x="47" y="15"/>
                      <a:pt x="44" y="16"/>
                    </a:cubicBezTo>
                    <a:cubicBezTo>
                      <a:pt x="44" y="16"/>
                      <a:pt x="44" y="16"/>
                      <a:pt x="44" y="16"/>
                    </a:cubicBezTo>
                    <a:cubicBezTo>
                      <a:pt x="45" y="16"/>
                      <a:pt x="46" y="15"/>
                      <a:pt x="46" y="15"/>
                    </a:cubicBezTo>
                    <a:cubicBezTo>
                      <a:pt x="46" y="15"/>
                      <a:pt x="45" y="14"/>
                      <a:pt x="44" y="13"/>
                    </a:cubicBezTo>
                    <a:cubicBezTo>
                      <a:pt x="46" y="12"/>
                      <a:pt x="46" y="11"/>
                      <a:pt x="47" y="11"/>
                    </a:cubicBezTo>
                    <a:cubicBezTo>
                      <a:pt x="48" y="11"/>
                      <a:pt x="48" y="11"/>
                      <a:pt x="49" y="11"/>
                    </a:cubicBezTo>
                    <a:cubicBezTo>
                      <a:pt x="50" y="12"/>
                      <a:pt x="50" y="12"/>
                      <a:pt x="51" y="12"/>
                    </a:cubicBezTo>
                    <a:cubicBezTo>
                      <a:pt x="51" y="12"/>
                      <a:pt x="51" y="12"/>
                      <a:pt x="52" y="11"/>
                    </a:cubicBezTo>
                    <a:cubicBezTo>
                      <a:pt x="53" y="11"/>
                      <a:pt x="55" y="10"/>
                      <a:pt x="56" y="9"/>
                    </a:cubicBezTo>
                    <a:cubicBezTo>
                      <a:pt x="57" y="7"/>
                      <a:pt x="57" y="5"/>
                      <a:pt x="54" y="4"/>
                    </a:cubicBezTo>
                    <a:cubicBezTo>
                      <a:pt x="50" y="3"/>
                      <a:pt x="45" y="1"/>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1" name="Freeform 359"/>
              <p:cNvSpPr/>
              <p:nvPr/>
            </p:nvSpPr>
            <p:spPr bwMode="auto">
              <a:xfrm>
                <a:off x="4088" y="1760"/>
                <a:ext cx="182" cy="194"/>
              </a:xfrm>
              <a:custGeom>
                <a:gdLst>
                  <a:gd name="T0" fmla="*/ 62 w 77"/>
                  <a:gd name="T1" fmla="*/ 5 h 82"/>
                  <a:gd name="T2" fmla="*/ 59 w 77"/>
                  <a:gd name="T3" fmla="*/ 7 h 82"/>
                  <a:gd name="T4" fmla="*/ 57 w 77"/>
                  <a:gd name="T5" fmla="*/ 8 h 82"/>
                  <a:gd name="T6" fmla="*/ 48 w 77"/>
                  <a:gd name="T7" fmla="*/ 13 h 82"/>
                  <a:gd name="T8" fmla="*/ 45 w 77"/>
                  <a:gd name="T9" fmla="*/ 16 h 82"/>
                  <a:gd name="T10" fmla="*/ 42 w 77"/>
                  <a:gd name="T11" fmla="*/ 17 h 82"/>
                  <a:gd name="T12" fmla="*/ 40 w 77"/>
                  <a:gd name="T13" fmla="*/ 19 h 82"/>
                  <a:gd name="T14" fmla="*/ 38 w 77"/>
                  <a:gd name="T15" fmla="*/ 20 h 82"/>
                  <a:gd name="T16" fmla="*/ 37 w 77"/>
                  <a:gd name="T17" fmla="*/ 21 h 82"/>
                  <a:gd name="T18" fmla="*/ 35 w 77"/>
                  <a:gd name="T19" fmla="*/ 21 h 82"/>
                  <a:gd name="T20" fmla="*/ 34 w 77"/>
                  <a:gd name="T21" fmla="*/ 21 h 82"/>
                  <a:gd name="T22" fmla="*/ 33 w 77"/>
                  <a:gd name="T23" fmla="*/ 21 h 82"/>
                  <a:gd name="T24" fmla="*/ 31 w 77"/>
                  <a:gd name="T25" fmla="*/ 21 h 82"/>
                  <a:gd name="T26" fmla="*/ 28 w 77"/>
                  <a:gd name="T27" fmla="*/ 20 h 82"/>
                  <a:gd name="T28" fmla="*/ 24 w 77"/>
                  <a:gd name="T29" fmla="*/ 18 h 82"/>
                  <a:gd name="T30" fmla="*/ 20 w 77"/>
                  <a:gd name="T31" fmla="*/ 17 h 82"/>
                  <a:gd name="T32" fmla="*/ 17 w 77"/>
                  <a:gd name="T33" fmla="*/ 14 h 82"/>
                  <a:gd name="T34" fmla="*/ 16 w 77"/>
                  <a:gd name="T35" fmla="*/ 14 h 82"/>
                  <a:gd name="T36" fmla="*/ 15 w 77"/>
                  <a:gd name="T37" fmla="*/ 13 h 82"/>
                  <a:gd name="T38" fmla="*/ 15 w 77"/>
                  <a:gd name="T39" fmla="*/ 13 h 82"/>
                  <a:gd name="T40" fmla="*/ 14 w 77"/>
                  <a:gd name="T41" fmla="*/ 15 h 82"/>
                  <a:gd name="T42" fmla="*/ 14 w 77"/>
                  <a:gd name="T43" fmla="*/ 19 h 82"/>
                  <a:gd name="T44" fmla="*/ 11 w 77"/>
                  <a:gd name="T45" fmla="*/ 29 h 82"/>
                  <a:gd name="T46" fmla="*/ 10 w 77"/>
                  <a:gd name="T47" fmla="*/ 35 h 82"/>
                  <a:gd name="T48" fmla="*/ 11 w 77"/>
                  <a:gd name="T49" fmla="*/ 39 h 82"/>
                  <a:gd name="T50" fmla="*/ 9 w 77"/>
                  <a:gd name="T51" fmla="*/ 49 h 82"/>
                  <a:gd name="T52" fmla="*/ 7 w 77"/>
                  <a:gd name="T53" fmla="*/ 56 h 82"/>
                  <a:gd name="T54" fmla="*/ 2 w 77"/>
                  <a:gd name="T55" fmla="*/ 77 h 82"/>
                  <a:gd name="T56" fmla="*/ 0 w 77"/>
                  <a:gd name="T57" fmla="*/ 78 h 82"/>
                  <a:gd name="T58" fmla="*/ 1 w 77"/>
                  <a:gd name="T59" fmla="*/ 79 h 82"/>
                  <a:gd name="T60" fmla="*/ 2 w 77"/>
                  <a:gd name="T61" fmla="*/ 79 h 82"/>
                  <a:gd name="T62" fmla="*/ 15 w 77"/>
                  <a:gd name="T63" fmla="*/ 81 h 82"/>
                  <a:gd name="T64" fmla="*/ 16 w 77"/>
                  <a:gd name="T65" fmla="*/ 81 h 82"/>
                  <a:gd name="T66" fmla="*/ 23 w 77"/>
                  <a:gd name="T67" fmla="*/ 79 h 82"/>
                  <a:gd name="T68" fmla="*/ 24 w 77"/>
                  <a:gd name="T69" fmla="*/ 78 h 82"/>
                  <a:gd name="T70" fmla="*/ 27 w 77"/>
                  <a:gd name="T71" fmla="*/ 74 h 82"/>
                  <a:gd name="T72" fmla="*/ 38 w 77"/>
                  <a:gd name="T73" fmla="*/ 67 h 82"/>
                  <a:gd name="T74" fmla="*/ 40 w 77"/>
                  <a:gd name="T75" fmla="*/ 67 h 82"/>
                  <a:gd name="T76" fmla="*/ 43 w 77"/>
                  <a:gd name="T77" fmla="*/ 66 h 82"/>
                  <a:gd name="T78" fmla="*/ 47 w 77"/>
                  <a:gd name="T79" fmla="*/ 65 h 82"/>
                  <a:gd name="T80" fmla="*/ 55 w 77"/>
                  <a:gd name="T81" fmla="*/ 57 h 82"/>
                  <a:gd name="T82" fmla="*/ 53 w 77"/>
                  <a:gd name="T83" fmla="*/ 55 h 82"/>
                  <a:gd name="T84" fmla="*/ 51 w 77"/>
                  <a:gd name="T85" fmla="*/ 54 h 82"/>
                  <a:gd name="T86" fmla="*/ 34 w 77"/>
                  <a:gd name="T87" fmla="*/ 35 h 82"/>
                  <a:gd name="T88" fmla="*/ 44 w 77"/>
                  <a:gd name="T89" fmla="*/ 32 h 82"/>
                  <a:gd name="T90" fmla="*/ 63 w 77"/>
                  <a:gd name="T91" fmla="*/ 26 h 82"/>
                  <a:gd name="T92" fmla="*/ 68 w 77"/>
                  <a:gd name="T93" fmla="*/ 25 h 82"/>
                  <a:gd name="T94" fmla="*/ 70 w 77"/>
                  <a:gd name="T95" fmla="*/ 24 h 82"/>
                  <a:gd name="T96" fmla="*/ 76 w 77"/>
                  <a:gd name="T97" fmla="*/ 21 h 82"/>
                  <a:gd name="T98" fmla="*/ 76 w 77"/>
                  <a:gd name="T99" fmla="*/ 20 h 8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 h="82">
                    <a:moveTo>
                      <a:pt x="71" y="0"/>
                    </a:moveTo>
                    <a:cubicBezTo>
                      <a:pt x="69" y="1"/>
                      <a:pt x="66" y="3"/>
                      <a:pt x="62" y="5"/>
                    </a:cubicBezTo>
                    <a:cubicBezTo>
                      <a:pt x="61" y="6"/>
                      <a:pt x="61" y="6"/>
                      <a:pt x="61" y="6"/>
                    </a:cubicBezTo>
                    <a:cubicBezTo>
                      <a:pt x="61" y="6"/>
                      <a:pt x="60" y="6"/>
                      <a:pt x="59" y="7"/>
                    </a:cubicBezTo>
                    <a:cubicBezTo>
                      <a:pt x="59" y="7"/>
                      <a:pt x="58" y="8"/>
                      <a:pt x="57" y="8"/>
                    </a:cubicBezTo>
                    <a:cubicBezTo>
                      <a:pt x="57" y="8"/>
                      <a:pt x="57" y="8"/>
                      <a:pt x="57" y="8"/>
                    </a:cubicBezTo>
                    <a:cubicBezTo>
                      <a:pt x="55" y="9"/>
                      <a:pt x="54" y="10"/>
                      <a:pt x="53" y="11"/>
                    </a:cubicBezTo>
                    <a:cubicBezTo>
                      <a:pt x="48" y="13"/>
                      <a:pt x="48" y="13"/>
                      <a:pt x="48" y="13"/>
                    </a:cubicBezTo>
                    <a:cubicBezTo>
                      <a:pt x="47" y="14"/>
                      <a:pt x="46" y="15"/>
                      <a:pt x="45" y="15"/>
                    </a:cubicBezTo>
                    <a:cubicBezTo>
                      <a:pt x="45" y="16"/>
                      <a:pt x="45" y="16"/>
                      <a:pt x="45" y="16"/>
                    </a:cubicBezTo>
                    <a:cubicBezTo>
                      <a:pt x="44" y="16"/>
                      <a:pt x="44" y="16"/>
                      <a:pt x="44" y="16"/>
                    </a:cubicBezTo>
                    <a:cubicBezTo>
                      <a:pt x="43" y="16"/>
                      <a:pt x="43" y="17"/>
                      <a:pt x="42" y="17"/>
                    </a:cubicBezTo>
                    <a:cubicBezTo>
                      <a:pt x="41" y="18"/>
                      <a:pt x="41" y="18"/>
                      <a:pt x="40" y="19"/>
                    </a:cubicBezTo>
                    <a:cubicBezTo>
                      <a:pt x="40" y="19"/>
                      <a:pt x="40" y="19"/>
                      <a:pt x="40" y="19"/>
                    </a:cubicBezTo>
                    <a:cubicBezTo>
                      <a:pt x="39" y="20"/>
                      <a:pt x="39" y="20"/>
                      <a:pt x="39" y="20"/>
                    </a:cubicBezTo>
                    <a:cubicBezTo>
                      <a:pt x="38" y="20"/>
                      <a:pt x="38" y="20"/>
                      <a:pt x="38" y="20"/>
                    </a:cubicBezTo>
                    <a:cubicBezTo>
                      <a:pt x="37" y="21"/>
                      <a:pt x="37" y="21"/>
                      <a:pt x="37" y="21"/>
                    </a:cubicBezTo>
                    <a:cubicBezTo>
                      <a:pt x="37" y="21"/>
                      <a:pt x="37" y="21"/>
                      <a:pt x="37" y="21"/>
                    </a:cubicBezTo>
                    <a:cubicBezTo>
                      <a:pt x="36" y="21"/>
                      <a:pt x="36" y="21"/>
                      <a:pt x="36" y="21"/>
                    </a:cubicBezTo>
                    <a:cubicBezTo>
                      <a:pt x="35" y="21"/>
                      <a:pt x="35" y="21"/>
                      <a:pt x="35" y="21"/>
                    </a:cubicBezTo>
                    <a:cubicBezTo>
                      <a:pt x="35" y="21"/>
                      <a:pt x="35" y="21"/>
                      <a:pt x="35" y="21"/>
                    </a:cubicBezTo>
                    <a:cubicBezTo>
                      <a:pt x="35" y="21"/>
                      <a:pt x="34" y="21"/>
                      <a:pt x="34" y="21"/>
                    </a:cubicBezTo>
                    <a:cubicBezTo>
                      <a:pt x="34" y="21"/>
                      <a:pt x="34" y="21"/>
                      <a:pt x="34" y="21"/>
                    </a:cubicBezTo>
                    <a:cubicBezTo>
                      <a:pt x="33" y="21"/>
                      <a:pt x="33" y="21"/>
                      <a:pt x="33" y="21"/>
                    </a:cubicBezTo>
                    <a:cubicBezTo>
                      <a:pt x="33" y="21"/>
                      <a:pt x="32" y="21"/>
                      <a:pt x="31" y="21"/>
                    </a:cubicBezTo>
                    <a:cubicBezTo>
                      <a:pt x="31" y="21"/>
                      <a:pt x="31" y="21"/>
                      <a:pt x="31" y="21"/>
                    </a:cubicBezTo>
                    <a:cubicBezTo>
                      <a:pt x="30" y="21"/>
                      <a:pt x="29" y="20"/>
                      <a:pt x="29" y="20"/>
                    </a:cubicBezTo>
                    <a:cubicBezTo>
                      <a:pt x="28" y="20"/>
                      <a:pt x="28" y="20"/>
                      <a:pt x="28" y="20"/>
                    </a:cubicBezTo>
                    <a:cubicBezTo>
                      <a:pt x="27" y="20"/>
                      <a:pt x="26" y="19"/>
                      <a:pt x="25" y="19"/>
                    </a:cubicBezTo>
                    <a:cubicBezTo>
                      <a:pt x="24" y="18"/>
                      <a:pt x="24" y="18"/>
                      <a:pt x="24" y="18"/>
                    </a:cubicBezTo>
                    <a:cubicBezTo>
                      <a:pt x="23" y="18"/>
                      <a:pt x="22" y="17"/>
                      <a:pt x="20" y="17"/>
                    </a:cubicBezTo>
                    <a:cubicBezTo>
                      <a:pt x="20" y="17"/>
                      <a:pt x="20" y="17"/>
                      <a:pt x="20" y="17"/>
                    </a:cubicBezTo>
                    <a:cubicBezTo>
                      <a:pt x="19" y="16"/>
                      <a:pt x="18" y="15"/>
                      <a:pt x="18" y="15"/>
                    </a:cubicBezTo>
                    <a:cubicBezTo>
                      <a:pt x="17" y="14"/>
                      <a:pt x="17" y="14"/>
                      <a:pt x="17" y="14"/>
                    </a:cubicBezTo>
                    <a:cubicBezTo>
                      <a:pt x="17" y="14"/>
                      <a:pt x="17" y="14"/>
                      <a:pt x="17" y="14"/>
                    </a:cubicBezTo>
                    <a:cubicBezTo>
                      <a:pt x="16" y="14"/>
                      <a:pt x="16" y="14"/>
                      <a:pt x="16" y="14"/>
                    </a:cubicBezTo>
                    <a:cubicBezTo>
                      <a:pt x="15" y="13"/>
                      <a:pt x="15" y="13"/>
                      <a:pt x="15" y="13"/>
                    </a:cubicBezTo>
                    <a:cubicBezTo>
                      <a:pt x="15" y="13"/>
                      <a:pt x="15" y="13"/>
                      <a:pt x="15" y="13"/>
                    </a:cubicBezTo>
                    <a:cubicBezTo>
                      <a:pt x="15" y="13"/>
                      <a:pt x="15" y="13"/>
                      <a:pt x="15" y="13"/>
                    </a:cubicBezTo>
                    <a:cubicBezTo>
                      <a:pt x="15" y="13"/>
                      <a:pt x="15" y="13"/>
                      <a:pt x="15" y="13"/>
                    </a:cubicBezTo>
                    <a:cubicBezTo>
                      <a:pt x="14" y="14"/>
                      <a:pt x="14" y="14"/>
                      <a:pt x="14" y="14"/>
                    </a:cubicBezTo>
                    <a:cubicBezTo>
                      <a:pt x="14" y="15"/>
                      <a:pt x="14" y="15"/>
                      <a:pt x="14" y="15"/>
                    </a:cubicBezTo>
                    <a:cubicBezTo>
                      <a:pt x="14" y="15"/>
                      <a:pt x="14" y="17"/>
                      <a:pt x="14" y="18"/>
                    </a:cubicBezTo>
                    <a:cubicBezTo>
                      <a:pt x="14" y="19"/>
                      <a:pt x="14" y="19"/>
                      <a:pt x="14" y="19"/>
                    </a:cubicBezTo>
                    <a:cubicBezTo>
                      <a:pt x="11" y="19"/>
                      <a:pt x="11" y="19"/>
                      <a:pt x="11" y="19"/>
                    </a:cubicBezTo>
                    <a:cubicBezTo>
                      <a:pt x="11" y="22"/>
                      <a:pt x="11" y="25"/>
                      <a:pt x="11" y="29"/>
                    </a:cubicBezTo>
                    <a:cubicBezTo>
                      <a:pt x="11" y="29"/>
                      <a:pt x="11" y="29"/>
                      <a:pt x="11" y="29"/>
                    </a:cubicBezTo>
                    <a:cubicBezTo>
                      <a:pt x="10" y="31"/>
                      <a:pt x="10" y="33"/>
                      <a:pt x="10" y="35"/>
                    </a:cubicBezTo>
                    <a:cubicBezTo>
                      <a:pt x="12" y="35"/>
                      <a:pt x="12" y="35"/>
                      <a:pt x="12" y="35"/>
                    </a:cubicBezTo>
                    <a:cubicBezTo>
                      <a:pt x="11" y="39"/>
                      <a:pt x="11" y="39"/>
                      <a:pt x="11" y="39"/>
                    </a:cubicBezTo>
                    <a:cubicBezTo>
                      <a:pt x="11" y="41"/>
                      <a:pt x="11" y="44"/>
                      <a:pt x="10" y="46"/>
                    </a:cubicBezTo>
                    <a:cubicBezTo>
                      <a:pt x="10" y="47"/>
                      <a:pt x="10" y="48"/>
                      <a:pt x="9" y="49"/>
                    </a:cubicBezTo>
                    <a:cubicBezTo>
                      <a:pt x="9" y="51"/>
                      <a:pt x="9" y="51"/>
                      <a:pt x="9" y="51"/>
                    </a:cubicBezTo>
                    <a:cubicBezTo>
                      <a:pt x="8" y="52"/>
                      <a:pt x="8" y="54"/>
                      <a:pt x="7" y="56"/>
                    </a:cubicBezTo>
                    <a:cubicBezTo>
                      <a:pt x="6" y="61"/>
                      <a:pt x="6" y="61"/>
                      <a:pt x="6" y="61"/>
                    </a:cubicBezTo>
                    <a:cubicBezTo>
                      <a:pt x="5" y="66"/>
                      <a:pt x="3" y="71"/>
                      <a:pt x="2" y="77"/>
                    </a:cubicBezTo>
                    <a:cubicBezTo>
                      <a:pt x="2" y="78"/>
                      <a:pt x="2" y="78"/>
                      <a:pt x="2" y="78"/>
                    </a:cubicBezTo>
                    <a:cubicBezTo>
                      <a:pt x="0" y="78"/>
                      <a:pt x="0" y="78"/>
                      <a:pt x="0" y="78"/>
                    </a:cubicBezTo>
                    <a:cubicBezTo>
                      <a:pt x="1" y="79"/>
                      <a:pt x="1" y="79"/>
                      <a:pt x="1" y="79"/>
                    </a:cubicBezTo>
                    <a:cubicBezTo>
                      <a:pt x="1" y="79"/>
                      <a:pt x="1" y="79"/>
                      <a:pt x="1" y="79"/>
                    </a:cubicBezTo>
                    <a:cubicBezTo>
                      <a:pt x="1" y="79"/>
                      <a:pt x="1" y="79"/>
                      <a:pt x="1" y="79"/>
                    </a:cubicBezTo>
                    <a:cubicBezTo>
                      <a:pt x="2" y="79"/>
                      <a:pt x="2" y="79"/>
                      <a:pt x="2" y="79"/>
                    </a:cubicBezTo>
                    <a:cubicBezTo>
                      <a:pt x="2" y="79"/>
                      <a:pt x="2" y="79"/>
                      <a:pt x="3" y="79"/>
                    </a:cubicBezTo>
                    <a:cubicBezTo>
                      <a:pt x="15" y="81"/>
                      <a:pt x="15" y="81"/>
                      <a:pt x="15" y="81"/>
                    </a:cubicBezTo>
                    <a:cubicBezTo>
                      <a:pt x="15" y="81"/>
                      <a:pt x="15" y="81"/>
                      <a:pt x="16" y="81"/>
                    </a:cubicBezTo>
                    <a:cubicBezTo>
                      <a:pt x="16" y="81"/>
                      <a:pt x="16" y="81"/>
                      <a:pt x="16" y="81"/>
                    </a:cubicBezTo>
                    <a:cubicBezTo>
                      <a:pt x="19" y="82"/>
                      <a:pt x="20" y="82"/>
                      <a:pt x="20" y="82"/>
                    </a:cubicBezTo>
                    <a:cubicBezTo>
                      <a:pt x="20" y="82"/>
                      <a:pt x="21" y="81"/>
                      <a:pt x="23" y="79"/>
                    </a:cubicBezTo>
                    <a:cubicBezTo>
                      <a:pt x="23" y="78"/>
                      <a:pt x="23" y="78"/>
                      <a:pt x="23" y="78"/>
                    </a:cubicBezTo>
                    <a:cubicBezTo>
                      <a:pt x="24" y="78"/>
                      <a:pt x="24" y="78"/>
                      <a:pt x="24" y="78"/>
                    </a:cubicBezTo>
                    <a:cubicBezTo>
                      <a:pt x="26" y="76"/>
                      <a:pt x="26" y="76"/>
                      <a:pt x="26" y="76"/>
                    </a:cubicBezTo>
                    <a:cubicBezTo>
                      <a:pt x="26" y="75"/>
                      <a:pt x="27" y="74"/>
                      <a:pt x="27" y="74"/>
                    </a:cubicBezTo>
                    <a:cubicBezTo>
                      <a:pt x="29" y="71"/>
                      <a:pt x="31" y="69"/>
                      <a:pt x="35" y="68"/>
                    </a:cubicBezTo>
                    <a:cubicBezTo>
                      <a:pt x="36" y="68"/>
                      <a:pt x="36" y="67"/>
                      <a:pt x="38" y="67"/>
                    </a:cubicBezTo>
                    <a:cubicBezTo>
                      <a:pt x="39" y="67"/>
                      <a:pt x="39" y="67"/>
                      <a:pt x="39" y="67"/>
                    </a:cubicBezTo>
                    <a:cubicBezTo>
                      <a:pt x="40" y="67"/>
                      <a:pt x="40" y="67"/>
                      <a:pt x="40" y="67"/>
                    </a:cubicBezTo>
                    <a:cubicBezTo>
                      <a:pt x="41" y="67"/>
                      <a:pt x="42" y="67"/>
                      <a:pt x="42" y="66"/>
                    </a:cubicBezTo>
                    <a:cubicBezTo>
                      <a:pt x="43" y="66"/>
                      <a:pt x="43" y="66"/>
                      <a:pt x="43" y="66"/>
                    </a:cubicBezTo>
                    <a:cubicBezTo>
                      <a:pt x="44" y="66"/>
                      <a:pt x="46" y="66"/>
                      <a:pt x="47" y="66"/>
                    </a:cubicBezTo>
                    <a:cubicBezTo>
                      <a:pt x="47" y="65"/>
                      <a:pt x="47" y="65"/>
                      <a:pt x="47" y="65"/>
                    </a:cubicBezTo>
                    <a:cubicBezTo>
                      <a:pt x="48" y="64"/>
                      <a:pt x="48" y="64"/>
                      <a:pt x="48" y="64"/>
                    </a:cubicBezTo>
                    <a:cubicBezTo>
                      <a:pt x="53" y="60"/>
                      <a:pt x="54" y="58"/>
                      <a:pt x="55" y="57"/>
                    </a:cubicBezTo>
                    <a:cubicBezTo>
                      <a:pt x="54" y="56"/>
                      <a:pt x="54" y="56"/>
                      <a:pt x="54" y="56"/>
                    </a:cubicBezTo>
                    <a:cubicBezTo>
                      <a:pt x="54" y="56"/>
                      <a:pt x="53" y="55"/>
                      <a:pt x="53" y="55"/>
                    </a:cubicBezTo>
                    <a:cubicBezTo>
                      <a:pt x="53" y="55"/>
                      <a:pt x="53" y="55"/>
                      <a:pt x="53" y="55"/>
                    </a:cubicBezTo>
                    <a:cubicBezTo>
                      <a:pt x="52" y="54"/>
                      <a:pt x="52" y="54"/>
                      <a:pt x="51" y="54"/>
                    </a:cubicBezTo>
                    <a:cubicBezTo>
                      <a:pt x="46" y="48"/>
                      <a:pt x="42" y="43"/>
                      <a:pt x="37" y="38"/>
                    </a:cubicBezTo>
                    <a:cubicBezTo>
                      <a:pt x="34" y="35"/>
                      <a:pt x="34" y="35"/>
                      <a:pt x="34" y="35"/>
                    </a:cubicBezTo>
                    <a:cubicBezTo>
                      <a:pt x="38" y="34"/>
                      <a:pt x="38" y="34"/>
                      <a:pt x="38" y="34"/>
                    </a:cubicBezTo>
                    <a:cubicBezTo>
                      <a:pt x="40" y="33"/>
                      <a:pt x="42" y="33"/>
                      <a:pt x="44" y="32"/>
                    </a:cubicBezTo>
                    <a:cubicBezTo>
                      <a:pt x="44" y="32"/>
                      <a:pt x="44" y="32"/>
                      <a:pt x="44" y="32"/>
                    </a:cubicBezTo>
                    <a:cubicBezTo>
                      <a:pt x="50" y="30"/>
                      <a:pt x="57" y="29"/>
                      <a:pt x="63" y="26"/>
                    </a:cubicBezTo>
                    <a:cubicBezTo>
                      <a:pt x="64" y="26"/>
                      <a:pt x="65" y="26"/>
                      <a:pt x="67" y="25"/>
                    </a:cubicBezTo>
                    <a:cubicBezTo>
                      <a:pt x="68" y="25"/>
                      <a:pt x="68" y="25"/>
                      <a:pt x="68" y="25"/>
                    </a:cubicBezTo>
                    <a:cubicBezTo>
                      <a:pt x="69" y="25"/>
                      <a:pt x="70" y="24"/>
                      <a:pt x="71" y="24"/>
                    </a:cubicBezTo>
                    <a:cubicBezTo>
                      <a:pt x="70" y="24"/>
                      <a:pt x="70" y="24"/>
                      <a:pt x="70" y="24"/>
                    </a:cubicBezTo>
                    <a:cubicBezTo>
                      <a:pt x="77" y="21"/>
                      <a:pt x="77" y="21"/>
                      <a:pt x="77" y="21"/>
                    </a:cubicBezTo>
                    <a:cubicBezTo>
                      <a:pt x="77" y="21"/>
                      <a:pt x="77" y="21"/>
                      <a:pt x="76" y="21"/>
                    </a:cubicBezTo>
                    <a:cubicBezTo>
                      <a:pt x="76" y="20"/>
                      <a:pt x="76" y="20"/>
                      <a:pt x="76" y="20"/>
                    </a:cubicBezTo>
                    <a:cubicBezTo>
                      <a:pt x="76" y="20"/>
                      <a:pt x="76" y="20"/>
                      <a:pt x="76" y="2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Freeform 360"/>
              <p:cNvSpPr/>
              <p:nvPr/>
            </p:nvSpPr>
            <p:spPr bwMode="auto">
              <a:xfrm>
                <a:off x="4265" y="1552"/>
                <a:ext cx="435" cy="409"/>
              </a:xfrm>
              <a:custGeom>
                <a:gdLst>
                  <a:gd name="T0" fmla="*/ 68 w 184"/>
                  <a:gd name="T1" fmla="*/ 6 h 173"/>
                  <a:gd name="T2" fmla="*/ 58 w 184"/>
                  <a:gd name="T3" fmla="*/ 15 h 173"/>
                  <a:gd name="T4" fmla="*/ 51 w 184"/>
                  <a:gd name="T5" fmla="*/ 18 h 173"/>
                  <a:gd name="T6" fmla="*/ 48 w 184"/>
                  <a:gd name="T7" fmla="*/ 31 h 173"/>
                  <a:gd name="T8" fmla="*/ 47 w 184"/>
                  <a:gd name="T9" fmla="*/ 42 h 173"/>
                  <a:gd name="T10" fmla="*/ 46 w 184"/>
                  <a:gd name="T11" fmla="*/ 52 h 173"/>
                  <a:gd name="T12" fmla="*/ 35 w 184"/>
                  <a:gd name="T13" fmla="*/ 66 h 173"/>
                  <a:gd name="T14" fmla="*/ 28 w 184"/>
                  <a:gd name="T15" fmla="*/ 70 h 173"/>
                  <a:gd name="T16" fmla="*/ 0 w 184"/>
                  <a:gd name="T17" fmla="*/ 86 h 173"/>
                  <a:gd name="T18" fmla="*/ 8 w 184"/>
                  <a:gd name="T19" fmla="*/ 106 h 173"/>
                  <a:gd name="T20" fmla="*/ 29 w 184"/>
                  <a:gd name="T21" fmla="*/ 112 h 173"/>
                  <a:gd name="T22" fmla="*/ 57 w 184"/>
                  <a:gd name="T23" fmla="*/ 128 h 173"/>
                  <a:gd name="T24" fmla="*/ 88 w 184"/>
                  <a:gd name="T25" fmla="*/ 152 h 173"/>
                  <a:gd name="T26" fmla="*/ 113 w 184"/>
                  <a:gd name="T27" fmla="*/ 170 h 173"/>
                  <a:gd name="T28" fmla="*/ 141 w 184"/>
                  <a:gd name="T29" fmla="*/ 173 h 173"/>
                  <a:gd name="T30" fmla="*/ 144 w 184"/>
                  <a:gd name="T31" fmla="*/ 172 h 173"/>
                  <a:gd name="T32" fmla="*/ 152 w 184"/>
                  <a:gd name="T33" fmla="*/ 160 h 173"/>
                  <a:gd name="T34" fmla="*/ 170 w 184"/>
                  <a:gd name="T35" fmla="*/ 152 h 173"/>
                  <a:gd name="T36" fmla="*/ 179 w 184"/>
                  <a:gd name="T37" fmla="*/ 155 h 173"/>
                  <a:gd name="T38" fmla="*/ 179 w 184"/>
                  <a:gd name="T39" fmla="*/ 156 h 173"/>
                  <a:gd name="T40" fmla="*/ 184 w 184"/>
                  <a:gd name="T41" fmla="*/ 158 h 173"/>
                  <a:gd name="T42" fmla="*/ 176 w 184"/>
                  <a:gd name="T43" fmla="*/ 150 h 173"/>
                  <a:gd name="T44" fmla="*/ 172 w 184"/>
                  <a:gd name="T45" fmla="*/ 142 h 173"/>
                  <a:gd name="T46" fmla="*/ 169 w 184"/>
                  <a:gd name="T47" fmla="*/ 137 h 173"/>
                  <a:gd name="T48" fmla="*/ 165 w 184"/>
                  <a:gd name="T49" fmla="*/ 135 h 173"/>
                  <a:gd name="T50" fmla="*/ 167 w 184"/>
                  <a:gd name="T51" fmla="*/ 122 h 173"/>
                  <a:gd name="T52" fmla="*/ 168 w 184"/>
                  <a:gd name="T53" fmla="*/ 119 h 173"/>
                  <a:gd name="T54" fmla="*/ 164 w 184"/>
                  <a:gd name="T55" fmla="*/ 112 h 173"/>
                  <a:gd name="T56" fmla="*/ 160 w 184"/>
                  <a:gd name="T57" fmla="*/ 106 h 173"/>
                  <a:gd name="T58" fmla="*/ 157 w 184"/>
                  <a:gd name="T59" fmla="*/ 106 h 173"/>
                  <a:gd name="T60" fmla="*/ 142 w 184"/>
                  <a:gd name="T61" fmla="*/ 96 h 173"/>
                  <a:gd name="T62" fmla="*/ 135 w 184"/>
                  <a:gd name="T63" fmla="*/ 94 h 173"/>
                  <a:gd name="T64" fmla="*/ 132 w 184"/>
                  <a:gd name="T65" fmla="*/ 85 h 173"/>
                  <a:gd name="T66" fmla="*/ 132 w 184"/>
                  <a:gd name="T67" fmla="*/ 82 h 173"/>
                  <a:gd name="T68" fmla="*/ 124 w 184"/>
                  <a:gd name="T69" fmla="*/ 75 h 173"/>
                  <a:gd name="T70" fmla="*/ 124 w 184"/>
                  <a:gd name="T71" fmla="*/ 66 h 173"/>
                  <a:gd name="T72" fmla="*/ 124 w 184"/>
                  <a:gd name="T73" fmla="*/ 64 h 173"/>
                  <a:gd name="T74" fmla="*/ 128 w 184"/>
                  <a:gd name="T75" fmla="*/ 56 h 173"/>
                  <a:gd name="T76" fmla="*/ 136 w 184"/>
                  <a:gd name="T77" fmla="*/ 45 h 173"/>
                  <a:gd name="T78" fmla="*/ 135 w 184"/>
                  <a:gd name="T79" fmla="*/ 43 h 173"/>
                  <a:gd name="T80" fmla="*/ 133 w 184"/>
                  <a:gd name="T81" fmla="*/ 37 h 173"/>
                  <a:gd name="T82" fmla="*/ 132 w 184"/>
                  <a:gd name="T83" fmla="*/ 34 h 173"/>
                  <a:gd name="T84" fmla="*/ 126 w 184"/>
                  <a:gd name="T85" fmla="*/ 30 h 173"/>
                  <a:gd name="T86" fmla="*/ 123 w 184"/>
                  <a:gd name="T87" fmla="*/ 30 h 173"/>
                  <a:gd name="T88" fmla="*/ 119 w 184"/>
                  <a:gd name="T89" fmla="*/ 21 h 173"/>
                  <a:gd name="T90" fmla="*/ 115 w 184"/>
                  <a:gd name="T91" fmla="*/ 18 h 173"/>
                  <a:gd name="T92" fmla="*/ 114 w 184"/>
                  <a:gd name="T93" fmla="*/ 13 h 173"/>
                  <a:gd name="T94" fmla="*/ 112 w 184"/>
                  <a:gd name="T95" fmla="*/ 8 h 173"/>
                  <a:gd name="T96" fmla="*/ 108 w 184"/>
                  <a:gd name="T97" fmla="*/ 7 h 173"/>
                  <a:gd name="T98" fmla="*/ 103 w 184"/>
                  <a:gd name="T99" fmla="*/ 8 h 173"/>
                  <a:gd name="T100" fmla="*/ 99 w 184"/>
                  <a:gd name="T101" fmla="*/ 3 h 173"/>
                  <a:gd name="T102" fmla="*/ 93 w 184"/>
                  <a:gd name="T103" fmla="*/ 2 h 173"/>
                  <a:gd name="T104" fmla="*/ 79 w 184"/>
                  <a:gd name="T105" fmla="*/ 0 h 1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4" h="173">
                    <a:moveTo>
                      <a:pt x="78" y="0"/>
                    </a:moveTo>
                    <a:cubicBezTo>
                      <a:pt x="75" y="0"/>
                      <a:pt x="73" y="1"/>
                      <a:pt x="70" y="3"/>
                    </a:cubicBezTo>
                    <a:cubicBezTo>
                      <a:pt x="68" y="5"/>
                      <a:pt x="68" y="5"/>
                      <a:pt x="68" y="5"/>
                    </a:cubicBezTo>
                    <a:cubicBezTo>
                      <a:pt x="68" y="6"/>
                      <a:pt x="68" y="6"/>
                      <a:pt x="68" y="6"/>
                    </a:cubicBezTo>
                    <a:cubicBezTo>
                      <a:pt x="68" y="6"/>
                      <a:pt x="68" y="6"/>
                      <a:pt x="67" y="7"/>
                    </a:cubicBezTo>
                    <a:cubicBezTo>
                      <a:pt x="67" y="7"/>
                      <a:pt x="67" y="7"/>
                      <a:pt x="67" y="7"/>
                    </a:cubicBezTo>
                    <a:cubicBezTo>
                      <a:pt x="65" y="9"/>
                      <a:pt x="65" y="9"/>
                      <a:pt x="65" y="9"/>
                    </a:cubicBezTo>
                    <a:cubicBezTo>
                      <a:pt x="62" y="11"/>
                      <a:pt x="60" y="13"/>
                      <a:pt x="58" y="15"/>
                    </a:cubicBezTo>
                    <a:cubicBezTo>
                      <a:pt x="57" y="16"/>
                      <a:pt x="56" y="17"/>
                      <a:pt x="55" y="17"/>
                    </a:cubicBezTo>
                    <a:cubicBezTo>
                      <a:pt x="56" y="22"/>
                      <a:pt x="56" y="22"/>
                      <a:pt x="56" y="22"/>
                    </a:cubicBezTo>
                    <a:cubicBezTo>
                      <a:pt x="54" y="18"/>
                      <a:pt x="54" y="18"/>
                      <a:pt x="54" y="18"/>
                    </a:cubicBezTo>
                    <a:cubicBezTo>
                      <a:pt x="51" y="18"/>
                      <a:pt x="51" y="18"/>
                      <a:pt x="51" y="18"/>
                    </a:cubicBezTo>
                    <a:cubicBezTo>
                      <a:pt x="51" y="18"/>
                      <a:pt x="50" y="18"/>
                      <a:pt x="50" y="18"/>
                    </a:cubicBezTo>
                    <a:cubicBezTo>
                      <a:pt x="49" y="19"/>
                      <a:pt x="49" y="19"/>
                      <a:pt x="49" y="19"/>
                    </a:cubicBezTo>
                    <a:cubicBezTo>
                      <a:pt x="49" y="19"/>
                      <a:pt x="49" y="20"/>
                      <a:pt x="48" y="20"/>
                    </a:cubicBezTo>
                    <a:cubicBezTo>
                      <a:pt x="47" y="24"/>
                      <a:pt x="47" y="28"/>
                      <a:pt x="48" y="31"/>
                    </a:cubicBezTo>
                    <a:cubicBezTo>
                      <a:pt x="48" y="32"/>
                      <a:pt x="48" y="32"/>
                      <a:pt x="48" y="32"/>
                    </a:cubicBezTo>
                    <a:cubicBezTo>
                      <a:pt x="48" y="34"/>
                      <a:pt x="48" y="36"/>
                      <a:pt x="48" y="38"/>
                    </a:cubicBezTo>
                    <a:cubicBezTo>
                      <a:pt x="48" y="39"/>
                      <a:pt x="48" y="41"/>
                      <a:pt x="47" y="42"/>
                    </a:cubicBezTo>
                    <a:cubicBezTo>
                      <a:pt x="47" y="42"/>
                      <a:pt x="47" y="42"/>
                      <a:pt x="47" y="42"/>
                    </a:cubicBezTo>
                    <a:cubicBezTo>
                      <a:pt x="47" y="44"/>
                      <a:pt x="46" y="46"/>
                      <a:pt x="46" y="48"/>
                    </a:cubicBezTo>
                    <a:cubicBezTo>
                      <a:pt x="46" y="49"/>
                      <a:pt x="46" y="50"/>
                      <a:pt x="46" y="51"/>
                    </a:cubicBezTo>
                    <a:cubicBezTo>
                      <a:pt x="46" y="52"/>
                      <a:pt x="46" y="52"/>
                      <a:pt x="46" y="52"/>
                    </a:cubicBezTo>
                    <a:cubicBezTo>
                      <a:pt x="46" y="52"/>
                      <a:pt x="46" y="52"/>
                      <a:pt x="46" y="52"/>
                    </a:cubicBezTo>
                    <a:cubicBezTo>
                      <a:pt x="46" y="53"/>
                      <a:pt x="46" y="55"/>
                      <a:pt x="45" y="56"/>
                    </a:cubicBezTo>
                    <a:cubicBezTo>
                      <a:pt x="45" y="59"/>
                      <a:pt x="43" y="61"/>
                      <a:pt x="42" y="63"/>
                    </a:cubicBezTo>
                    <a:cubicBezTo>
                      <a:pt x="41" y="64"/>
                      <a:pt x="39" y="65"/>
                      <a:pt x="37" y="66"/>
                    </a:cubicBezTo>
                    <a:cubicBezTo>
                      <a:pt x="37" y="66"/>
                      <a:pt x="36" y="66"/>
                      <a:pt x="35" y="66"/>
                    </a:cubicBezTo>
                    <a:cubicBezTo>
                      <a:pt x="34" y="67"/>
                      <a:pt x="33" y="67"/>
                      <a:pt x="32" y="68"/>
                    </a:cubicBezTo>
                    <a:cubicBezTo>
                      <a:pt x="29" y="70"/>
                      <a:pt x="29" y="70"/>
                      <a:pt x="29" y="70"/>
                    </a:cubicBezTo>
                    <a:cubicBezTo>
                      <a:pt x="30" y="72"/>
                      <a:pt x="30" y="72"/>
                      <a:pt x="30" y="72"/>
                    </a:cubicBezTo>
                    <a:cubicBezTo>
                      <a:pt x="28" y="70"/>
                      <a:pt x="28" y="70"/>
                      <a:pt x="28" y="70"/>
                    </a:cubicBezTo>
                    <a:cubicBezTo>
                      <a:pt x="24" y="72"/>
                      <a:pt x="24" y="72"/>
                      <a:pt x="24" y="72"/>
                    </a:cubicBezTo>
                    <a:cubicBezTo>
                      <a:pt x="21" y="74"/>
                      <a:pt x="18" y="76"/>
                      <a:pt x="16" y="77"/>
                    </a:cubicBezTo>
                    <a:cubicBezTo>
                      <a:pt x="12" y="79"/>
                      <a:pt x="7" y="82"/>
                      <a:pt x="3" y="84"/>
                    </a:cubicBezTo>
                    <a:cubicBezTo>
                      <a:pt x="0" y="86"/>
                      <a:pt x="0" y="86"/>
                      <a:pt x="0" y="86"/>
                    </a:cubicBezTo>
                    <a:cubicBezTo>
                      <a:pt x="1" y="86"/>
                      <a:pt x="1" y="86"/>
                      <a:pt x="1" y="86"/>
                    </a:cubicBezTo>
                    <a:cubicBezTo>
                      <a:pt x="5" y="105"/>
                      <a:pt x="5" y="105"/>
                      <a:pt x="5" y="105"/>
                    </a:cubicBezTo>
                    <a:cubicBezTo>
                      <a:pt x="5" y="105"/>
                      <a:pt x="6" y="106"/>
                      <a:pt x="7" y="106"/>
                    </a:cubicBezTo>
                    <a:cubicBezTo>
                      <a:pt x="8" y="106"/>
                      <a:pt x="8" y="106"/>
                      <a:pt x="8" y="106"/>
                    </a:cubicBezTo>
                    <a:cubicBezTo>
                      <a:pt x="9" y="107"/>
                      <a:pt x="9" y="107"/>
                      <a:pt x="9" y="107"/>
                    </a:cubicBezTo>
                    <a:cubicBezTo>
                      <a:pt x="11" y="109"/>
                      <a:pt x="11" y="109"/>
                      <a:pt x="11" y="109"/>
                    </a:cubicBezTo>
                    <a:cubicBezTo>
                      <a:pt x="10" y="109"/>
                      <a:pt x="10" y="109"/>
                      <a:pt x="10" y="109"/>
                    </a:cubicBezTo>
                    <a:cubicBezTo>
                      <a:pt x="29" y="112"/>
                      <a:pt x="29" y="112"/>
                      <a:pt x="29" y="112"/>
                    </a:cubicBezTo>
                    <a:cubicBezTo>
                      <a:pt x="31" y="113"/>
                      <a:pt x="33" y="114"/>
                      <a:pt x="35" y="116"/>
                    </a:cubicBezTo>
                    <a:cubicBezTo>
                      <a:pt x="35" y="116"/>
                      <a:pt x="36" y="116"/>
                      <a:pt x="36" y="117"/>
                    </a:cubicBezTo>
                    <a:cubicBezTo>
                      <a:pt x="41" y="120"/>
                      <a:pt x="47" y="123"/>
                      <a:pt x="52" y="126"/>
                    </a:cubicBezTo>
                    <a:cubicBezTo>
                      <a:pt x="53" y="126"/>
                      <a:pt x="55" y="127"/>
                      <a:pt x="57" y="128"/>
                    </a:cubicBezTo>
                    <a:cubicBezTo>
                      <a:pt x="62" y="131"/>
                      <a:pt x="62" y="131"/>
                      <a:pt x="62" y="131"/>
                    </a:cubicBezTo>
                    <a:cubicBezTo>
                      <a:pt x="66" y="134"/>
                      <a:pt x="71" y="138"/>
                      <a:pt x="75" y="141"/>
                    </a:cubicBezTo>
                    <a:cubicBezTo>
                      <a:pt x="78" y="143"/>
                      <a:pt x="80" y="146"/>
                      <a:pt x="82" y="148"/>
                    </a:cubicBezTo>
                    <a:cubicBezTo>
                      <a:pt x="84" y="149"/>
                      <a:pt x="86" y="150"/>
                      <a:pt x="88" y="152"/>
                    </a:cubicBezTo>
                    <a:cubicBezTo>
                      <a:pt x="96" y="158"/>
                      <a:pt x="96" y="158"/>
                      <a:pt x="96" y="158"/>
                    </a:cubicBezTo>
                    <a:cubicBezTo>
                      <a:pt x="98" y="160"/>
                      <a:pt x="100" y="161"/>
                      <a:pt x="102" y="163"/>
                    </a:cubicBezTo>
                    <a:cubicBezTo>
                      <a:pt x="105" y="165"/>
                      <a:pt x="108" y="167"/>
                      <a:pt x="111" y="170"/>
                    </a:cubicBezTo>
                    <a:cubicBezTo>
                      <a:pt x="112" y="170"/>
                      <a:pt x="112" y="170"/>
                      <a:pt x="113" y="170"/>
                    </a:cubicBezTo>
                    <a:cubicBezTo>
                      <a:pt x="115" y="170"/>
                      <a:pt x="115" y="170"/>
                      <a:pt x="115" y="170"/>
                    </a:cubicBezTo>
                    <a:cubicBezTo>
                      <a:pt x="140" y="173"/>
                      <a:pt x="140" y="173"/>
                      <a:pt x="140" y="173"/>
                    </a:cubicBezTo>
                    <a:cubicBezTo>
                      <a:pt x="141" y="173"/>
                      <a:pt x="141" y="173"/>
                      <a:pt x="141" y="173"/>
                    </a:cubicBezTo>
                    <a:cubicBezTo>
                      <a:pt x="141" y="173"/>
                      <a:pt x="141" y="173"/>
                      <a:pt x="141" y="173"/>
                    </a:cubicBezTo>
                    <a:cubicBezTo>
                      <a:pt x="142" y="173"/>
                      <a:pt x="142" y="173"/>
                      <a:pt x="143" y="173"/>
                    </a:cubicBezTo>
                    <a:cubicBezTo>
                      <a:pt x="143" y="173"/>
                      <a:pt x="143" y="173"/>
                      <a:pt x="143" y="173"/>
                    </a:cubicBezTo>
                    <a:cubicBezTo>
                      <a:pt x="143" y="173"/>
                      <a:pt x="143" y="173"/>
                      <a:pt x="143" y="173"/>
                    </a:cubicBezTo>
                    <a:cubicBezTo>
                      <a:pt x="143" y="172"/>
                      <a:pt x="144" y="172"/>
                      <a:pt x="144" y="172"/>
                    </a:cubicBezTo>
                    <a:cubicBezTo>
                      <a:pt x="145" y="172"/>
                      <a:pt x="145" y="172"/>
                      <a:pt x="145" y="172"/>
                    </a:cubicBezTo>
                    <a:cubicBezTo>
                      <a:pt x="146" y="168"/>
                      <a:pt x="148" y="165"/>
                      <a:pt x="150" y="162"/>
                    </a:cubicBezTo>
                    <a:cubicBezTo>
                      <a:pt x="151" y="162"/>
                      <a:pt x="151" y="161"/>
                      <a:pt x="151" y="161"/>
                    </a:cubicBezTo>
                    <a:cubicBezTo>
                      <a:pt x="152" y="160"/>
                      <a:pt x="152" y="160"/>
                      <a:pt x="152" y="160"/>
                    </a:cubicBezTo>
                    <a:cubicBezTo>
                      <a:pt x="153" y="157"/>
                      <a:pt x="154" y="155"/>
                      <a:pt x="157" y="153"/>
                    </a:cubicBezTo>
                    <a:cubicBezTo>
                      <a:pt x="158" y="152"/>
                      <a:pt x="160" y="151"/>
                      <a:pt x="162" y="151"/>
                    </a:cubicBezTo>
                    <a:cubicBezTo>
                      <a:pt x="162" y="151"/>
                      <a:pt x="163" y="151"/>
                      <a:pt x="164" y="151"/>
                    </a:cubicBezTo>
                    <a:cubicBezTo>
                      <a:pt x="166" y="151"/>
                      <a:pt x="168" y="151"/>
                      <a:pt x="170" y="152"/>
                    </a:cubicBezTo>
                    <a:cubicBezTo>
                      <a:pt x="170" y="150"/>
                      <a:pt x="170" y="150"/>
                      <a:pt x="170" y="150"/>
                    </a:cubicBezTo>
                    <a:cubicBezTo>
                      <a:pt x="174" y="152"/>
                      <a:pt x="174" y="152"/>
                      <a:pt x="174" y="152"/>
                    </a:cubicBezTo>
                    <a:cubicBezTo>
                      <a:pt x="175" y="153"/>
                      <a:pt x="177" y="154"/>
                      <a:pt x="179" y="155"/>
                    </a:cubicBezTo>
                    <a:cubicBezTo>
                      <a:pt x="179" y="155"/>
                      <a:pt x="179" y="155"/>
                      <a:pt x="179" y="155"/>
                    </a:cubicBezTo>
                    <a:cubicBezTo>
                      <a:pt x="179" y="155"/>
                      <a:pt x="179" y="155"/>
                      <a:pt x="179" y="155"/>
                    </a:cubicBezTo>
                    <a:cubicBezTo>
                      <a:pt x="179" y="155"/>
                      <a:pt x="179" y="155"/>
                      <a:pt x="179" y="155"/>
                    </a:cubicBezTo>
                    <a:cubicBezTo>
                      <a:pt x="179" y="155"/>
                      <a:pt x="179" y="155"/>
                      <a:pt x="179" y="155"/>
                    </a:cubicBezTo>
                    <a:cubicBezTo>
                      <a:pt x="179" y="156"/>
                      <a:pt x="179" y="156"/>
                      <a:pt x="179" y="156"/>
                    </a:cubicBezTo>
                    <a:cubicBezTo>
                      <a:pt x="181" y="158"/>
                      <a:pt x="181" y="158"/>
                      <a:pt x="181" y="158"/>
                    </a:cubicBezTo>
                    <a:cubicBezTo>
                      <a:pt x="182" y="158"/>
                      <a:pt x="182" y="158"/>
                      <a:pt x="183" y="158"/>
                    </a:cubicBezTo>
                    <a:cubicBezTo>
                      <a:pt x="184" y="158"/>
                      <a:pt x="184" y="158"/>
                      <a:pt x="184" y="158"/>
                    </a:cubicBezTo>
                    <a:cubicBezTo>
                      <a:pt x="184" y="158"/>
                      <a:pt x="184" y="158"/>
                      <a:pt x="184" y="158"/>
                    </a:cubicBezTo>
                    <a:cubicBezTo>
                      <a:pt x="182" y="156"/>
                      <a:pt x="180" y="155"/>
                      <a:pt x="179" y="153"/>
                    </a:cubicBezTo>
                    <a:cubicBezTo>
                      <a:pt x="179" y="153"/>
                      <a:pt x="179" y="153"/>
                      <a:pt x="179" y="153"/>
                    </a:cubicBezTo>
                    <a:cubicBezTo>
                      <a:pt x="178" y="152"/>
                      <a:pt x="178" y="152"/>
                      <a:pt x="178" y="152"/>
                    </a:cubicBezTo>
                    <a:cubicBezTo>
                      <a:pt x="178" y="151"/>
                      <a:pt x="177" y="151"/>
                      <a:pt x="176" y="150"/>
                    </a:cubicBezTo>
                    <a:cubicBezTo>
                      <a:pt x="175" y="149"/>
                      <a:pt x="175" y="149"/>
                      <a:pt x="174" y="148"/>
                    </a:cubicBezTo>
                    <a:cubicBezTo>
                      <a:pt x="173" y="148"/>
                      <a:pt x="172" y="147"/>
                      <a:pt x="172" y="145"/>
                    </a:cubicBezTo>
                    <a:cubicBezTo>
                      <a:pt x="171" y="145"/>
                      <a:pt x="171" y="145"/>
                      <a:pt x="171" y="145"/>
                    </a:cubicBezTo>
                    <a:cubicBezTo>
                      <a:pt x="171" y="144"/>
                      <a:pt x="171" y="143"/>
                      <a:pt x="172" y="142"/>
                    </a:cubicBezTo>
                    <a:cubicBezTo>
                      <a:pt x="172" y="141"/>
                      <a:pt x="172" y="141"/>
                      <a:pt x="172" y="141"/>
                    </a:cubicBezTo>
                    <a:cubicBezTo>
                      <a:pt x="172" y="140"/>
                      <a:pt x="172" y="138"/>
                      <a:pt x="172" y="137"/>
                    </a:cubicBezTo>
                    <a:cubicBezTo>
                      <a:pt x="172" y="137"/>
                      <a:pt x="172" y="137"/>
                      <a:pt x="172" y="137"/>
                    </a:cubicBezTo>
                    <a:cubicBezTo>
                      <a:pt x="171" y="137"/>
                      <a:pt x="170" y="137"/>
                      <a:pt x="169" y="137"/>
                    </a:cubicBezTo>
                    <a:cubicBezTo>
                      <a:pt x="168" y="137"/>
                      <a:pt x="168" y="137"/>
                      <a:pt x="168" y="137"/>
                    </a:cubicBezTo>
                    <a:cubicBezTo>
                      <a:pt x="168" y="137"/>
                      <a:pt x="167" y="137"/>
                      <a:pt x="167" y="137"/>
                    </a:cubicBezTo>
                    <a:cubicBezTo>
                      <a:pt x="165" y="137"/>
                      <a:pt x="165" y="137"/>
                      <a:pt x="165" y="137"/>
                    </a:cubicBezTo>
                    <a:cubicBezTo>
                      <a:pt x="165" y="135"/>
                      <a:pt x="165" y="135"/>
                      <a:pt x="165" y="135"/>
                    </a:cubicBezTo>
                    <a:cubicBezTo>
                      <a:pt x="165" y="133"/>
                      <a:pt x="165" y="131"/>
                      <a:pt x="165" y="128"/>
                    </a:cubicBezTo>
                    <a:cubicBezTo>
                      <a:pt x="165" y="127"/>
                      <a:pt x="165" y="126"/>
                      <a:pt x="166" y="125"/>
                    </a:cubicBezTo>
                    <a:cubicBezTo>
                      <a:pt x="166" y="124"/>
                      <a:pt x="166" y="124"/>
                      <a:pt x="166" y="123"/>
                    </a:cubicBezTo>
                    <a:cubicBezTo>
                      <a:pt x="167" y="122"/>
                      <a:pt x="167" y="122"/>
                      <a:pt x="167" y="122"/>
                    </a:cubicBezTo>
                    <a:cubicBezTo>
                      <a:pt x="167" y="121"/>
                      <a:pt x="167" y="121"/>
                      <a:pt x="167" y="120"/>
                    </a:cubicBezTo>
                    <a:cubicBezTo>
                      <a:pt x="163" y="118"/>
                      <a:pt x="163" y="118"/>
                      <a:pt x="163" y="118"/>
                    </a:cubicBezTo>
                    <a:cubicBezTo>
                      <a:pt x="168" y="119"/>
                      <a:pt x="168" y="119"/>
                      <a:pt x="168" y="119"/>
                    </a:cubicBezTo>
                    <a:cubicBezTo>
                      <a:pt x="168" y="119"/>
                      <a:pt x="168" y="119"/>
                      <a:pt x="168" y="119"/>
                    </a:cubicBezTo>
                    <a:cubicBezTo>
                      <a:pt x="168" y="119"/>
                      <a:pt x="168" y="119"/>
                      <a:pt x="168" y="119"/>
                    </a:cubicBezTo>
                    <a:cubicBezTo>
                      <a:pt x="168" y="118"/>
                      <a:pt x="168" y="118"/>
                      <a:pt x="168" y="118"/>
                    </a:cubicBezTo>
                    <a:cubicBezTo>
                      <a:pt x="168" y="118"/>
                      <a:pt x="168" y="117"/>
                      <a:pt x="166" y="115"/>
                    </a:cubicBezTo>
                    <a:cubicBezTo>
                      <a:pt x="165" y="114"/>
                      <a:pt x="164" y="113"/>
                      <a:pt x="164" y="112"/>
                    </a:cubicBezTo>
                    <a:cubicBezTo>
                      <a:pt x="163" y="112"/>
                      <a:pt x="163" y="112"/>
                      <a:pt x="163" y="112"/>
                    </a:cubicBezTo>
                    <a:cubicBezTo>
                      <a:pt x="159" y="114"/>
                      <a:pt x="159" y="114"/>
                      <a:pt x="159" y="114"/>
                    </a:cubicBezTo>
                    <a:cubicBezTo>
                      <a:pt x="163" y="110"/>
                      <a:pt x="163" y="110"/>
                      <a:pt x="163" y="110"/>
                    </a:cubicBezTo>
                    <a:cubicBezTo>
                      <a:pt x="162" y="109"/>
                      <a:pt x="161" y="107"/>
                      <a:pt x="160" y="106"/>
                    </a:cubicBezTo>
                    <a:cubicBezTo>
                      <a:pt x="160" y="106"/>
                      <a:pt x="159" y="106"/>
                      <a:pt x="159" y="106"/>
                    </a:cubicBezTo>
                    <a:cubicBezTo>
                      <a:pt x="159" y="106"/>
                      <a:pt x="159" y="106"/>
                      <a:pt x="159" y="106"/>
                    </a:cubicBezTo>
                    <a:cubicBezTo>
                      <a:pt x="159" y="106"/>
                      <a:pt x="158" y="106"/>
                      <a:pt x="158" y="106"/>
                    </a:cubicBezTo>
                    <a:cubicBezTo>
                      <a:pt x="158" y="106"/>
                      <a:pt x="157" y="106"/>
                      <a:pt x="157" y="106"/>
                    </a:cubicBezTo>
                    <a:cubicBezTo>
                      <a:pt x="156" y="106"/>
                      <a:pt x="156" y="106"/>
                      <a:pt x="155" y="105"/>
                    </a:cubicBezTo>
                    <a:cubicBezTo>
                      <a:pt x="155" y="105"/>
                      <a:pt x="154" y="105"/>
                      <a:pt x="154" y="104"/>
                    </a:cubicBezTo>
                    <a:cubicBezTo>
                      <a:pt x="145" y="98"/>
                      <a:pt x="145" y="98"/>
                      <a:pt x="145" y="98"/>
                    </a:cubicBezTo>
                    <a:cubicBezTo>
                      <a:pt x="144" y="97"/>
                      <a:pt x="143" y="97"/>
                      <a:pt x="142" y="96"/>
                    </a:cubicBezTo>
                    <a:cubicBezTo>
                      <a:pt x="141" y="96"/>
                      <a:pt x="141" y="96"/>
                      <a:pt x="140" y="95"/>
                    </a:cubicBezTo>
                    <a:cubicBezTo>
                      <a:pt x="139" y="95"/>
                      <a:pt x="139" y="95"/>
                      <a:pt x="139" y="95"/>
                    </a:cubicBezTo>
                    <a:cubicBezTo>
                      <a:pt x="138" y="95"/>
                      <a:pt x="137" y="95"/>
                      <a:pt x="136" y="95"/>
                    </a:cubicBezTo>
                    <a:cubicBezTo>
                      <a:pt x="135" y="94"/>
                      <a:pt x="135" y="94"/>
                      <a:pt x="135" y="94"/>
                    </a:cubicBezTo>
                    <a:cubicBezTo>
                      <a:pt x="135" y="94"/>
                      <a:pt x="134" y="93"/>
                      <a:pt x="134" y="92"/>
                    </a:cubicBezTo>
                    <a:cubicBezTo>
                      <a:pt x="133" y="90"/>
                      <a:pt x="133" y="89"/>
                      <a:pt x="133" y="88"/>
                    </a:cubicBezTo>
                    <a:cubicBezTo>
                      <a:pt x="133" y="87"/>
                      <a:pt x="133" y="87"/>
                      <a:pt x="133" y="87"/>
                    </a:cubicBezTo>
                    <a:cubicBezTo>
                      <a:pt x="133" y="86"/>
                      <a:pt x="132" y="85"/>
                      <a:pt x="132" y="85"/>
                    </a:cubicBezTo>
                    <a:cubicBezTo>
                      <a:pt x="132" y="85"/>
                      <a:pt x="132" y="84"/>
                      <a:pt x="132" y="83"/>
                    </a:cubicBezTo>
                    <a:cubicBezTo>
                      <a:pt x="132" y="83"/>
                      <a:pt x="132" y="83"/>
                      <a:pt x="132" y="83"/>
                    </a:cubicBezTo>
                    <a:cubicBezTo>
                      <a:pt x="132" y="82"/>
                      <a:pt x="132" y="82"/>
                      <a:pt x="132" y="82"/>
                    </a:cubicBezTo>
                    <a:cubicBezTo>
                      <a:pt x="132" y="82"/>
                      <a:pt x="132" y="82"/>
                      <a:pt x="132" y="82"/>
                    </a:cubicBezTo>
                    <a:cubicBezTo>
                      <a:pt x="131" y="82"/>
                      <a:pt x="131" y="82"/>
                      <a:pt x="131" y="82"/>
                    </a:cubicBezTo>
                    <a:cubicBezTo>
                      <a:pt x="130" y="82"/>
                      <a:pt x="129" y="81"/>
                      <a:pt x="128" y="80"/>
                    </a:cubicBezTo>
                    <a:cubicBezTo>
                      <a:pt x="128" y="80"/>
                      <a:pt x="128" y="80"/>
                      <a:pt x="128" y="80"/>
                    </a:cubicBezTo>
                    <a:cubicBezTo>
                      <a:pt x="124" y="75"/>
                      <a:pt x="124" y="75"/>
                      <a:pt x="124" y="75"/>
                    </a:cubicBezTo>
                    <a:cubicBezTo>
                      <a:pt x="123" y="75"/>
                      <a:pt x="123" y="74"/>
                      <a:pt x="123" y="74"/>
                    </a:cubicBezTo>
                    <a:cubicBezTo>
                      <a:pt x="122" y="73"/>
                      <a:pt x="121" y="72"/>
                      <a:pt x="122" y="71"/>
                    </a:cubicBezTo>
                    <a:cubicBezTo>
                      <a:pt x="122" y="70"/>
                      <a:pt x="122" y="70"/>
                      <a:pt x="122" y="70"/>
                    </a:cubicBezTo>
                    <a:cubicBezTo>
                      <a:pt x="123" y="68"/>
                      <a:pt x="123" y="67"/>
                      <a:pt x="124" y="66"/>
                    </a:cubicBezTo>
                    <a:cubicBezTo>
                      <a:pt x="124" y="65"/>
                      <a:pt x="124" y="65"/>
                      <a:pt x="124" y="65"/>
                    </a:cubicBezTo>
                    <a:cubicBezTo>
                      <a:pt x="124" y="65"/>
                      <a:pt x="124" y="65"/>
                      <a:pt x="124" y="65"/>
                    </a:cubicBezTo>
                    <a:cubicBezTo>
                      <a:pt x="124" y="64"/>
                      <a:pt x="124" y="64"/>
                      <a:pt x="124" y="64"/>
                    </a:cubicBezTo>
                    <a:cubicBezTo>
                      <a:pt x="124" y="64"/>
                      <a:pt x="124" y="64"/>
                      <a:pt x="124" y="64"/>
                    </a:cubicBezTo>
                    <a:cubicBezTo>
                      <a:pt x="123" y="63"/>
                      <a:pt x="123" y="62"/>
                      <a:pt x="123" y="61"/>
                    </a:cubicBezTo>
                    <a:cubicBezTo>
                      <a:pt x="122" y="60"/>
                      <a:pt x="122" y="60"/>
                      <a:pt x="122" y="60"/>
                    </a:cubicBezTo>
                    <a:cubicBezTo>
                      <a:pt x="127" y="55"/>
                      <a:pt x="127" y="55"/>
                      <a:pt x="127" y="55"/>
                    </a:cubicBezTo>
                    <a:cubicBezTo>
                      <a:pt x="128" y="56"/>
                      <a:pt x="128" y="56"/>
                      <a:pt x="128" y="56"/>
                    </a:cubicBezTo>
                    <a:cubicBezTo>
                      <a:pt x="128" y="55"/>
                      <a:pt x="128" y="55"/>
                      <a:pt x="128" y="55"/>
                    </a:cubicBezTo>
                    <a:cubicBezTo>
                      <a:pt x="128" y="52"/>
                      <a:pt x="129" y="50"/>
                      <a:pt x="131" y="47"/>
                    </a:cubicBezTo>
                    <a:cubicBezTo>
                      <a:pt x="132" y="47"/>
                      <a:pt x="132" y="47"/>
                      <a:pt x="132" y="47"/>
                    </a:cubicBezTo>
                    <a:cubicBezTo>
                      <a:pt x="133" y="46"/>
                      <a:pt x="134" y="46"/>
                      <a:pt x="136" y="45"/>
                    </a:cubicBezTo>
                    <a:cubicBezTo>
                      <a:pt x="136" y="45"/>
                      <a:pt x="136" y="45"/>
                      <a:pt x="136" y="45"/>
                    </a:cubicBezTo>
                    <a:cubicBezTo>
                      <a:pt x="136" y="45"/>
                      <a:pt x="136" y="45"/>
                      <a:pt x="136" y="45"/>
                    </a:cubicBezTo>
                    <a:cubicBezTo>
                      <a:pt x="136" y="45"/>
                      <a:pt x="136" y="44"/>
                      <a:pt x="135" y="43"/>
                    </a:cubicBezTo>
                    <a:cubicBezTo>
                      <a:pt x="135" y="43"/>
                      <a:pt x="135" y="43"/>
                      <a:pt x="135" y="43"/>
                    </a:cubicBezTo>
                    <a:cubicBezTo>
                      <a:pt x="134" y="42"/>
                      <a:pt x="134" y="42"/>
                      <a:pt x="134" y="41"/>
                    </a:cubicBezTo>
                    <a:cubicBezTo>
                      <a:pt x="134" y="41"/>
                      <a:pt x="134" y="41"/>
                      <a:pt x="134" y="41"/>
                    </a:cubicBezTo>
                    <a:cubicBezTo>
                      <a:pt x="133" y="40"/>
                      <a:pt x="133" y="39"/>
                      <a:pt x="133" y="38"/>
                    </a:cubicBezTo>
                    <a:cubicBezTo>
                      <a:pt x="133" y="37"/>
                      <a:pt x="133" y="37"/>
                      <a:pt x="133" y="37"/>
                    </a:cubicBezTo>
                    <a:cubicBezTo>
                      <a:pt x="133" y="36"/>
                      <a:pt x="133" y="36"/>
                      <a:pt x="133" y="36"/>
                    </a:cubicBezTo>
                    <a:cubicBezTo>
                      <a:pt x="133" y="35"/>
                      <a:pt x="133" y="35"/>
                      <a:pt x="133" y="35"/>
                    </a:cubicBezTo>
                    <a:cubicBezTo>
                      <a:pt x="133" y="35"/>
                      <a:pt x="134" y="34"/>
                      <a:pt x="134" y="34"/>
                    </a:cubicBezTo>
                    <a:cubicBezTo>
                      <a:pt x="133" y="34"/>
                      <a:pt x="133" y="34"/>
                      <a:pt x="132" y="34"/>
                    </a:cubicBezTo>
                    <a:cubicBezTo>
                      <a:pt x="132" y="34"/>
                      <a:pt x="132" y="34"/>
                      <a:pt x="131" y="34"/>
                    </a:cubicBezTo>
                    <a:cubicBezTo>
                      <a:pt x="130" y="34"/>
                      <a:pt x="129" y="34"/>
                      <a:pt x="128" y="33"/>
                    </a:cubicBezTo>
                    <a:cubicBezTo>
                      <a:pt x="128" y="32"/>
                      <a:pt x="128" y="32"/>
                      <a:pt x="128" y="32"/>
                    </a:cubicBezTo>
                    <a:cubicBezTo>
                      <a:pt x="127" y="32"/>
                      <a:pt x="126" y="31"/>
                      <a:pt x="126" y="30"/>
                    </a:cubicBezTo>
                    <a:cubicBezTo>
                      <a:pt x="125" y="30"/>
                      <a:pt x="125" y="30"/>
                      <a:pt x="125" y="30"/>
                    </a:cubicBezTo>
                    <a:cubicBezTo>
                      <a:pt x="125" y="30"/>
                      <a:pt x="125" y="30"/>
                      <a:pt x="125" y="30"/>
                    </a:cubicBezTo>
                    <a:cubicBezTo>
                      <a:pt x="124" y="30"/>
                      <a:pt x="124" y="30"/>
                      <a:pt x="124" y="30"/>
                    </a:cubicBezTo>
                    <a:cubicBezTo>
                      <a:pt x="123" y="30"/>
                      <a:pt x="123" y="30"/>
                      <a:pt x="123" y="30"/>
                    </a:cubicBezTo>
                    <a:cubicBezTo>
                      <a:pt x="122" y="30"/>
                      <a:pt x="121" y="29"/>
                      <a:pt x="120" y="27"/>
                    </a:cubicBezTo>
                    <a:cubicBezTo>
                      <a:pt x="120" y="26"/>
                      <a:pt x="120" y="26"/>
                      <a:pt x="120" y="26"/>
                    </a:cubicBezTo>
                    <a:cubicBezTo>
                      <a:pt x="120" y="25"/>
                      <a:pt x="120" y="25"/>
                      <a:pt x="120" y="25"/>
                    </a:cubicBezTo>
                    <a:cubicBezTo>
                      <a:pt x="120" y="24"/>
                      <a:pt x="119" y="22"/>
                      <a:pt x="119" y="21"/>
                    </a:cubicBezTo>
                    <a:cubicBezTo>
                      <a:pt x="118" y="20"/>
                      <a:pt x="118" y="20"/>
                      <a:pt x="118" y="20"/>
                    </a:cubicBezTo>
                    <a:cubicBezTo>
                      <a:pt x="118" y="20"/>
                      <a:pt x="118" y="20"/>
                      <a:pt x="118" y="20"/>
                    </a:cubicBezTo>
                    <a:cubicBezTo>
                      <a:pt x="118" y="20"/>
                      <a:pt x="118" y="20"/>
                      <a:pt x="118" y="20"/>
                    </a:cubicBezTo>
                    <a:cubicBezTo>
                      <a:pt x="116" y="19"/>
                      <a:pt x="116" y="19"/>
                      <a:pt x="115" y="18"/>
                    </a:cubicBezTo>
                    <a:cubicBezTo>
                      <a:pt x="114" y="17"/>
                      <a:pt x="114" y="16"/>
                      <a:pt x="115" y="14"/>
                    </a:cubicBezTo>
                    <a:cubicBezTo>
                      <a:pt x="115" y="14"/>
                      <a:pt x="115" y="14"/>
                      <a:pt x="115" y="14"/>
                    </a:cubicBezTo>
                    <a:cubicBezTo>
                      <a:pt x="115" y="14"/>
                      <a:pt x="115" y="14"/>
                      <a:pt x="115" y="14"/>
                    </a:cubicBezTo>
                    <a:cubicBezTo>
                      <a:pt x="114" y="13"/>
                      <a:pt x="114" y="13"/>
                      <a:pt x="114" y="13"/>
                    </a:cubicBezTo>
                    <a:cubicBezTo>
                      <a:pt x="114" y="13"/>
                      <a:pt x="112" y="13"/>
                      <a:pt x="112" y="12"/>
                    </a:cubicBezTo>
                    <a:cubicBezTo>
                      <a:pt x="111" y="11"/>
                      <a:pt x="111" y="10"/>
                      <a:pt x="111" y="9"/>
                    </a:cubicBezTo>
                    <a:cubicBezTo>
                      <a:pt x="111" y="8"/>
                      <a:pt x="111" y="8"/>
                      <a:pt x="111" y="8"/>
                    </a:cubicBezTo>
                    <a:cubicBezTo>
                      <a:pt x="112" y="8"/>
                      <a:pt x="112" y="8"/>
                      <a:pt x="112" y="8"/>
                    </a:cubicBezTo>
                    <a:cubicBezTo>
                      <a:pt x="111" y="7"/>
                      <a:pt x="111" y="7"/>
                      <a:pt x="111" y="7"/>
                    </a:cubicBezTo>
                    <a:cubicBezTo>
                      <a:pt x="111" y="6"/>
                      <a:pt x="111" y="6"/>
                      <a:pt x="111" y="6"/>
                    </a:cubicBezTo>
                    <a:cubicBezTo>
                      <a:pt x="109" y="6"/>
                      <a:pt x="109" y="6"/>
                      <a:pt x="109" y="6"/>
                    </a:cubicBezTo>
                    <a:cubicBezTo>
                      <a:pt x="109" y="7"/>
                      <a:pt x="109" y="7"/>
                      <a:pt x="108" y="7"/>
                    </a:cubicBezTo>
                    <a:cubicBezTo>
                      <a:pt x="108" y="7"/>
                      <a:pt x="108" y="7"/>
                      <a:pt x="108" y="7"/>
                    </a:cubicBezTo>
                    <a:cubicBezTo>
                      <a:pt x="107" y="8"/>
                      <a:pt x="106" y="8"/>
                      <a:pt x="104" y="8"/>
                    </a:cubicBezTo>
                    <a:cubicBezTo>
                      <a:pt x="104" y="8"/>
                      <a:pt x="104" y="8"/>
                      <a:pt x="104" y="8"/>
                    </a:cubicBezTo>
                    <a:cubicBezTo>
                      <a:pt x="103" y="8"/>
                      <a:pt x="103" y="8"/>
                      <a:pt x="103" y="8"/>
                    </a:cubicBezTo>
                    <a:cubicBezTo>
                      <a:pt x="101" y="8"/>
                      <a:pt x="101" y="6"/>
                      <a:pt x="100" y="5"/>
                    </a:cubicBezTo>
                    <a:cubicBezTo>
                      <a:pt x="100" y="5"/>
                      <a:pt x="100" y="5"/>
                      <a:pt x="100" y="4"/>
                    </a:cubicBezTo>
                    <a:cubicBezTo>
                      <a:pt x="100" y="4"/>
                      <a:pt x="100" y="4"/>
                      <a:pt x="100" y="4"/>
                    </a:cubicBezTo>
                    <a:cubicBezTo>
                      <a:pt x="100" y="4"/>
                      <a:pt x="100" y="3"/>
                      <a:pt x="99" y="3"/>
                    </a:cubicBezTo>
                    <a:cubicBezTo>
                      <a:pt x="99" y="3"/>
                      <a:pt x="99" y="3"/>
                      <a:pt x="99" y="3"/>
                    </a:cubicBezTo>
                    <a:cubicBezTo>
                      <a:pt x="99" y="2"/>
                      <a:pt x="99" y="2"/>
                      <a:pt x="98" y="2"/>
                    </a:cubicBezTo>
                    <a:cubicBezTo>
                      <a:pt x="98" y="2"/>
                      <a:pt x="98" y="2"/>
                      <a:pt x="97" y="2"/>
                    </a:cubicBezTo>
                    <a:cubicBezTo>
                      <a:pt x="96" y="2"/>
                      <a:pt x="95" y="2"/>
                      <a:pt x="93" y="2"/>
                    </a:cubicBezTo>
                    <a:cubicBezTo>
                      <a:pt x="91" y="2"/>
                      <a:pt x="88" y="2"/>
                      <a:pt x="85" y="1"/>
                    </a:cubicBezTo>
                    <a:cubicBezTo>
                      <a:pt x="83" y="1"/>
                      <a:pt x="83" y="1"/>
                      <a:pt x="83" y="1"/>
                    </a:cubicBezTo>
                    <a:cubicBezTo>
                      <a:pt x="82" y="1"/>
                      <a:pt x="81" y="0"/>
                      <a:pt x="80" y="0"/>
                    </a:cubicBezTo>
                    <a:cubicBezTo>
                      <a:pt x="80" y="0"/>
                      <a:pt x="80" y="0"/>
                      <a:pt x="79" y="0"/>
                    </a:cubicBezTo>
                    <a:cubicBezTo>
                      <a:pt x="79" y="0"/>
                      <a:pt x="79" y="0"/>
                      <a:pt x="78" y="0"/>
                    </a:cubicBezTo>
                    <a:cubicBezTo>
                      <a:pt x="78" y="0"/>
                      <a:pt x="78" y="0"/>
                      <a:pt x="7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Freeform 361"/>
              <p:cNvSpPr/>
              <p:nvPr/>
            </p:nvSpPr>
            <p:spPr bwMode="auto">
              <a:xfrm>
                <a:off x="4617" y="1921"/>
                <a:ext cx="74" cy="66"/>
              </a:xfrm>
              <a:custGeom>
                <a:gdLst>
                  <a:gd name="T0" fmla="*/ 15 w 31"/>
                  <a:gd name="T1" fmla="*/ 0 h 28"/>
                  <a:gd name="T2" fmla="*/ 13 w 31"/>
                  <a:gd name="T3" fmla="*/ 0 h 28"/>
                  <a:gd name="T4" fmla="*/ 10 w 31"/>
                  <a:gd name="T5" fmla="*/ 1 h 28"/>
                  <a:gd name="T6" fmla="*/ 7 w 31"/>
                  <a:gd name="T7" fmla="*/ 6 h 28"/>
                  <a:gd name="T8" fmla="*/ 7 w 31"/>
                  <a:gd name="T9" fmla="*/ 7 h 28"/>
                  <a:gd name="T10" fmla="*/ 5 w 31"/>
                  <a:gd name="T11" fmla="*/ 9 h 28"/>
                  <a:gd name="T12" fmla="*/ 0 w 31"/>
                  <a:gd name="T13" fmla="*/ 17 h 28"/>
                  <a:gd name="T14" fmla="*/ 15 w 31"/>
                  <a:gd name="T15" fmla="*/ 20 h 28"/>
                  <a:gd name="T16" fmla="*/ 18 w 31"/>
                  <a:gd name="T17" fmla="*/ 24 h 28"/>
                  <a:gd name="T18" fmla="*/ 18 w 31"/>
                  <a:gd name="T19" fmla="*/ 25 h 28"/>
                  <a:gd name="T20" fmla="*/ 18 w 31"/>
                  <a:gd name="T21" fmla="*/ 26 h 28"/>
                  <a:gd name="T22" fmla="*/ 19 w 31"/>
                  <a:gd name="T23" fmla="*/ 26 h 28"/>
                  <a:gd name="T24" fmla="*/ 20 w 31"/>
                  <a:gd name="T25" fmla="*/ 27 h 28"/>
                  <a:gd name="T26" fmla="*/ 24 w 31"/>
                  <a:gd name="T27" fmla="*/ 28 h 28"/>
                  <a:gd name="T28" fmla="*/ 28 w 31"/>
                  <a:gd name="T29" fmla="*/ 28 h 28"/>
                  <a:gd name="T30" fmla="*/ 31 w 31"/>
                  <a:gd name="T31" fmla="*/ 28 h 28"/>
                  <a:gd name="T32" fmla="*/ 27 w 31"/>
                  <a:gd name="T33" fmla="*/ 18 h 28"/>
                  <a:gd name="T34" fmla="*/ 25 w 31"/>
                  <a:gd name="T35" fmla="*/ 14 h 28"/>
                  <a:gd name="T36" fmla="*/ 20 w 31"/>
                  <a:gd name="T37" fmla="*/ 13 h 28"/>
                  <a:gd name="T38" fmla="*/ 24 w 31"/>
                  <a:gd name="T39" fmla="*/ 7 h 28"/>
                  <a:gd name="T40" fmla="*/ 24 w 31"/>
                  <a:gd name="T41" fmla="*/ 7 h 28"/>
                  <a:gd name="T42" fmla="*/ 27 w 31"/>
                  <a:gd name="T43" fmla="*/ 9 h 28"/>
                  <a:gd name="T44" fmla="*/ 26 w 31"/>
                  <a:gd name="T45" fmla="*/ 5 h 28"/>
                  <a:gd name="T46" fmla="*/ 24 w 31"/>
                  <a:gd name="T47" fmla="*/ 2 h 28"/>
                  <a:gd name="T48" fmla="*/ 20 w 31"/>
                  <a:gd name="T49" fmla="*/ 1 h 28"/>
                  <a:gd name="T50" fmla="*/ 15 w 31"/>
                  <a:gd name="T51"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8">
                    <a:moveTo>
                      <a:pt x="15" y="0"/>
                    </a:moveTo>
                    <a:cubicBezTo>
                      <a:pt x="14" y="0"/>
                      <a:pt x="14" y="0"/>
                      <a:pt x="13" y="0"/>
                    </a:cubicBezTo>
                    <a:cubicBezTo>
                      <a:pt x="12" y="0"/>
                      <a:pt x="11" y="0"/>
                      <a:pt x="10" y="1"/>
                    </a:cubicBezTo>
                    <a:cubicBezTo>
                      <a:pt x="9" y="2"/>
                      <a:pt x="8" y="4"/>
                      <a:pt x="7" y="6"/>
                    </a:cubicBezTo>
                    <a:cubicBezTo>
                      <a:pt x="7" y="7"/>
                      <a:pt x="7" y="7"/>
                      <a:pt x="7" y="7"/>
                    </a:cubicBezTo>
                    <a:cubicBezTo>
                      <a:pt x="6" y="7"/>
                      <a:pt x="6" y="8"/>
                      <a:pt x="5" y="9"/>
                    </a:cubicBezTo>
                    <a:cubicBezTo>
                      <a:pt x="4" y="11"/>
                      <a:pt x="2" y="14"/>
                      <a:pt x="0" y="17"/>
                    </a:cubicBezTo>
                    <a:cubicBezTo>
                      <a:pt x="15" y="20"/>
                      <a:pt x="15" y="20"/>
                      <a:pt x="15" y="20"/>
                    </a:cubicBezTo>
                    <a:cubicBezTo>
                      <a:pt x="17" y="21"/>
                      <a:pt x="18" y="24"/>
                      <a:pt x="18" y="24"/>
                    </a:cubicBezTo>
                    <a:cubicBezTo>
                      <a:pt x="18" y="25"/>
                      <a:pt x="18" y="25"/>
                      <a:pt x="18" y="25"/>
                    </a:cubicBezTo>
                    <a:cubicBezTo>
                      <a:pt x="18" y="26"/>
                      <a:pt x="18" y="26"/>
                      <a:pt x="18" y="26"/>
                    </a:cubicBezTo>
                    <a:cubicBezTo>
                      <a:pt x="19" y="26"/>
                      <a:pt x="19" y="26"/>
                      <a:pt x="19" y="26"/>
                    </a:cubicBezTo>
                    <a:cubicBezTo>
                      <a:pt x="19" y="27"/>
                      <a:pt x="19" y="27"/>
                      <a:pt x="20" y="27"/>
                    </a:cubicBezTo>
                    <a:cubicBezTo>
                      <a:pt x="21" y="28"/>
                      <a:pt x="22" y="28"/>
                      <a:pt x="24" y="28"/>
                    </a:cubicBezTo>
                    <a:cubicBezTo>
                      <a:pt x="25" y="28"/>
                      <a:pt x="27" y="28"/>
                      <a:pt x="28" y="28"/>
                    </a:cubicBezTo>
                    <a:cubicBezTo>
                      <a:pt x="29" y="28"/>
                      <a:pt x="30" y="28"/>
                      <a:pt x="31" y="28"/>
                    </a:cubicBezTo>
                    <a:cubicBezTo>
                      <a:pt x="30" y="24"/>
                      <a:pt x="28" y="21"/>
                      <a:pt x="27" y="18"/>
                    </a:cubicBezTo>
                    <a:cubicBezTo>
                      <a:pt x="26" y="16"/>
                      <a:pt x="26" y="15"/>
                      <a:pt x="25" y="14"/>
                    </a:cubicBezTo>
                    <a:cubicBezTo>
                      <a:pt x="24" y="12"/>
                      <a:pt x="22" y="13"/>
                      <a:pt x="20" y="13"/>
                    </a:cubicBezTo>
                    <a:cubicBezTo>
                      <a:pt x="21" y="11"/>
                      <a:pt x="22" y="8"/>
                      <a:pt x="24" y="7"/>
                    </a:cubicBezTo>
                    <a:cubicBezTo>
                      <a:pt x="24" y="7"/>
                      <a:pt x="24" y="7"/>
                      <a:pt x="24" y="7"/>
                    </a:cubicBezTo>
                    <a:cubicBezTo>
                      <a:pt x="25" y="7"/>
                      <a:pt x="26" y="9"/>
                      <a:pt x="27" y="9"/>
                    </a:cubicBezTo>
                    <a:cubicBezTo>
                      <a:pt x="27" y="8"/>
                      <a:pt x="26" y="6"/>
                      <a:pt x="26" y="5"/>
                    </a:cubicBezTo>
                    <a:cubicBezTo>
                      <a:pt x="26" y="5"/>
                      <a:pt x="25" y="4"/>
                      <a:pt x="24" y="2"/>
                    </a:cubicBezTo>
                    <a:cubicBezTo>
                      <a:pt x="20" y="1"/>
                      <a:pt x="20" y="1"/>
                      <a:pt x="20" y="1"/>
                    </a:cubicBezTo>
                    <a:cubicBezTo>
                      <a:pt x="18"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362"/>
              <p:cNvSpPr/>
              <p:nvPr/>
            </p:nvSpPr>
            <p:spPr bwMode="auto">
              <a:xfrm>
                <a:off x="4676" y="1926"/>
                <a:ext cx="15" cy="14"/>
              </a:xfrm>
              <a:custGeom>
                <a:gdLst>
                  <a:gd name="T0" fmla="*/ 1 w 6"/>
                  <a:gd name="T1" fmla="*/ 0 h 6"/>
                  <a:gd name="T2" fmla="*/ 0 w 6"/>
                  <a:gd name="T3" fmla="*/ 2 h 6"/>
                  <a:gd name="T4" fmla="*/ 3 w 6"/>
                  <a:gd name="T5" fmla="*/ 6 h 6"/>
                  <a:gd name="T6" fmla="*/ 6 w 6"/>
                  <a:gd name="T7" fmla="*/ 3 h 6"/>
                  <a:gd name="T8" fmla="*/ 3 w 6"/>
                  <a:gd name="T9" fmla="*/ 1 h 6"/>
                  <a:gd name="T10" fmla="*/ 2 w 6"/>
                  <a:gd name="T11" fmla="*/ 1 h 6"/>
                  <a:gd name="T12" fmla="*/ 1 w 6"/>
                  <a:gd name="T13" fmla="*/ 2 h 6"/>
                  <a:gd name="T14" fmla="*/ 2 w 6"/>
                  <a:gd name="T15" fmla="*/ 1 h 6"/>
                  <a:gd name="T16" fmla="*/ 1 w 6"/>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1" y="0"/>
                    </a:moveTo>
                    <a:cubicBezTo>
                      <a:pt x="1" y="1"/>
                      <a:pt x="0" y="1"/>
                      <a:pt x="0" y="2"/>
                    </a:cubicBezTo>
                    <a:cubicBezTo>
                      <a:pt x="0" y="3"/>
                      <a:pt x="2" y="5"/>
                      <a:pt x="3" y="6"/>
                    </a:cubicBezTo>
                    <a:cubicBezTo>
                      <a:pt x="5" y="5"/>
                      <a:pt x="6" y="4"/>
                      <a:pt x="6" y="3"/>
                    </a:cubicBezTo>
                    <a:cubicBezTo>
                      <a:pt x="3" y="1"/>
                      <a:pt x="3" y="1"/>
                      <a:pt x="3" y="1"/>
                    </a:cubicBezTo>
                    <a:cubicBezTo>
                      <a:pt x="2" y="1"/>
                      <a:pt x="2" y="1"/>
                      <a:pt x="2" y="1"/>
                    </a:cubicBezTo>
                    <a:cubicBezTo>
                      <a:pt x="1" y="2"/>
                      <a:pt x="1" y="2"/>
                      <a:pt x="1" y="2"/>
                    </a:cubicBezTo>
                    <a:cubicBezTo>
                      <a:pt x="2" y="1"/>
                      <a:pt x="2" y="1"/>
                      <a:pt x="2"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Freeform 363"/>
              <p:cNvSpPr/>
              <p:nvPr/>
            </p:nvSpPr>
            <p:spPr bwMode="auto">
              <a:xfrm>
                <a:off x="4121" y="1560"/>
                <a:ext cx="293" cy="241"/>
              </a:xfrm>
              <a:custGeom>
                <a:gdLst>
                  <a:gd name="T0" fmla="*/ 119 w 124"/>
                  <a:gd name="T1" fmla="*/ 1 h 102"/>
                  <a:gd name="T2" fmla="*/ 98 w 124"/>
                  <a:gd name="T3" fmla="*/ 3 h 102"/>
                  <a:gd name="T4" fmla="*/ 91 w 124"/>
                  <a:gd name="T5" fmla="*/ 5 h 102"/>
                  <a:gd name="T6" fmla="*/ 87 w 124"/>
                  <a:gd name="T7" fmla="*/ 7 h 102"/>
                  <a:gd name="T8" fmla="*/ 72 w 124"/>
                  <a:gd name="T9" fmla="*/ 12 h 102"/>
                  <a:gd name="T10" fmla="*/ 70 w 124"/>
                  <a:gd name="T11" fmla="*/ 12 h 102"/>
                  <a:gd name="T12" fmla="*/ 57 w 124"/>
                  <a:gd name="T13" fmla="*/ 11 h 102"/>
                  <a:gd name="T14" fmla="*/ 55 w 124"/>
                  <a:gd name="T15" fmla="*/ 10 h 102"/>
                  <a:gd name="T16" fmla="*/ 53 w 124"/>
                  <a:gd name="T17" fmla="*/ 9 h 102"/>
                  <a:gd name="T18" fmla="*/ 48 w 124"/>
                  <a:gd name="T19" fmla="*/ 8 h 102"/>
                  <a:gd name="T20" fmla="*/ 45 w 124"/>
                  <a:gd name="T21" fmla="*/ 9 h 102"/>
                  <a:gd name="T22" fmla="*/ 30 w 124"/>
                  <a:gd name="T23" fmla="*/ 13 h 102"/>
                  <a:gd name="T24" fmla="*/ 23 w 124"/>
                  <a:gd name="T25" fmla="*/ 13 h 102"/>
                  <a:gd name="T26" fmla="*/ 18 w 124"/>
                  <a:gd name="T27" fmla="*/ 15 h 102"/>
                  <a:gd name="T28" fmla="*/ 24 w 124"/>
                  <a:gd name="T29" fmla="*/ 18 h 102"/>
                  <a:gd name="T30" fmla="*/ 18 w 124"/>
                  <a:gd name="T31" fmla="*/ 21 h 102"/>
                  <a:gd name="T32" fmla="*/ 16 w 124"/>
                  <a:gd name="T33" fmla="*/ 22 h 102"/>
                  <a:gd name="T34" fmla="*/ 15 w 124"/>
                  <a:gd name="T35" fmla="*/ 23 h 102"/>
                  <a:gd name="T36" fmla="*/ 12 w 124"/>
                  <a:gd name="T37" fmla="*/ 27 h 102"/>
                  <a:gd name="T38" fmla="*/ 11 w 124"/>
                  <a:gd name="T39" fmla="*/ 28 h 102"/>
                  <a:gd name="T40" fmla="*/ 11 w 124"/>
                  <a:gd name="T41" fmla="*/ 30 h 102"/>
                  <a:gd name="T42" fmla="*/ 7 w 124"/>
                  <a:gd name="T43" fmla="*/ 31 h 102"/>
                  <a:gd name="T44" fmla="*/ 1 w 124"/>
                  <a:gd name="T45" fmla="*/ 31 h 102"/>
                  <a:gd name="T46" fmla="*/ 4 w 124"/>
                  <a:gd name="T47" fmla="*/ 39 h 102"/>
                  <a:gd name="T48" fmla="*/ 5 w 124"/>
                  <a:gd name="T49" fmla="*/ 52 h 102"/>
                  <a:gd name="T50" fmla="*/ 8 w 124"/>
                  <a:gd name="T51" fmla="*/ 52 h 102"/>
                  <a:gd name="T52" fmla="*/ 11 w 124"/>
                  <a:gd name="T53" fmla="*/ 52 h 102"/>
                  <a:gd name="T54" fmla="*/ 14 w 124"/>
                  <a:gd name="T55" fmla="*/ 52 h 102"/>
                  <a:gd name="T56" fmla="*/ 16 w 124"/>
                  <a:gd name="T57" fmla="*/ 56 h 102"/>
                  <a:gd name="T58" fmla="*/ 18 w 124"/>
                  <a:gd name="T59" fmla="*/ 60 h 102"/>
                  <a:gd name="T60" fmla="*/ 17 w 124"/>
                  <a:gd name="T61" fmla="*/ 67 h 102"/>
                  <a:gd name="T62" fmla="*/ 30 w 124"/>
                  <a:gd name="T63" fmla="*/ 84 h 102"/>
                  <a:gd name="T64" fmla="*/ 10 w 124"/>
                  <a:gd name="T65" fmla="*/ 73 h 102"/>
                  <a:gd name="T66" fmla="*/ 8 w 124"/>
                  <a:gd name="T67" fmla="*/ 75 h 102"/>
                  <a:gd name="T68" fmla="*/ 9 w 124"/>
                  <a:gd name="T69" fmla="*/ 78 h 102"/>
                  <a:gd name="T70" fmla="*/ 8 w 124"/>
                  <a:gd name="T71" fmla="*/ 79 h 102"/>
                  <a:gd name="T72" fmla="*/ 4 w 124"/>
                  <a:gd name="T73" fmla="*/ 83 h 102"/>
                  <a:gd name="T74" fmla="*/ 2 w 124"/>
                  <a:gd name="T75" fmla="*/ 84 h 102"/>
                  <a:gd name="T76" fmla="*/ 1 w 124"/>
                  <a:gd name="T77" fmla="*/ 88 h 102"/>
                  <a:gd name="T78" fmla="*/ 1 w 124"/>
                  <a:gd name="T79" fmla="*/ 93 h 102"/>
                  <a:gd name="T80" fmla="*/ 3 w 124"/>
                  <a:gd name="T81" fmla="*/ 94 h 102"/>
                  <a:gd name="T82" fmla="*/ 5 w 124"/>
                  <a:gd name="T83" fmla="*/ 95 h 102"/>
                  <a:gd name="T84" fmla="*/ 9 w 124"/>
                  <a:gd name="T85" fmla="*/ 98 h 102"/>
                  <a:gd name="T86" fmla="*/ 23 w 124"/>
                  <a:gd name="T87" fmla="*/ 100 h 102"/>
                  <a:gd name="T88" fmla="*/ 58 w 124"/>
                  <a:gd name="T89" fmla="*/ 79 h 102"/>
                  <a:gd name="T90" fmla="*/ 59 w 124"/>
                  <a:gd name="T91" fmla="*/ 79 h 102"/>
                  <a:gd name="T92" fmla="*/ 74 w 124"/>
                  <a:gd name="T93" fmla="*/ 70 h 102"/>
                  <a:gd name="T94" fmla="*/ 86 w 124"/>
                  <a:gd name="T95" fmla="*/ 64 h 102"/>
                  <a:gd name="T96" fmla="*/ 95 w 124"/>
                  <a:gd name="T97" fmla="*/ 59 h 102"/>
                  <a:gd name="T98" fmla="*/ 97 w 124"/>
                  <a:gd name="T99" fmla="*/ 58 h 102"/>
                  <a:gd name="T100" fmla="*/ 102 w 124"/>
                  <a:gd name="T101" fmla="*/ 52 h 102"/>
                  <a:gd name="T102" fmla="*/ 103 w 124"/>
                  <a:gd name="T103" fmla="*/ 48 h 102"/>
                  <a:gd name="T104" fmla="*/ 104 w 124"/>
                  <a:gd name="T105" fmla="*/ 38 h 102"/>
                  <a:gd name="T106" fmla="*/ 105 w 124"/>
                  <a:gd name="T107" fmla="*/ 34 h 102"/>
                  <a:gd name="T108" fmla="*/ 104 w 124"/>
                  <a:gd name="T109" fmla="*/ 29 h 102"/>
                  <a:gd name="T110" fmla="*/ 106 w 124"/>
                  <a:gd name="T111" fmla="*/ 14 h 102"/>
                  <a:gd name="T112" fmla="*/ 113 w 124"/>
                  <a:gd name="T113" fmla="*/ 10 h 102"/>
                  <a:gd name="T114" fmla="*/ 113 w 124"/>
                  <a:gd name="T115" fmla="*/ 10 h 102"/>
                  <a:gd name="T116" fmla="*/ 116 w 124"/>
                  <a:gd name="T117" fmla="*/ 9 h 102"/>
                  <a:gd name="T118" fmla="*/ 124 w 124"/>
                  <a:gd name="T119" fmla="*/ 1 h 102"/>
                  <a:gd name="T120" fmla="*/ 124 w 124"/>
                  <a:gd name="T121" fmla="*/ 0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 h="102">
                    <a:moveTo>
                      <a:pt x="124" y="0"/>
                    </a:moveTo>
                    <a:cubicBezTo>
                      <a:pt x="123" y="1"/>
                      <a:pt x="121" y="1"/>
                      <a:pt x="119" y="1"/>
                    </a:cubicBezTo>
                    <a:cubicBezTo>
                      <a:pt x="114" y="3"/>
                      <a:pt x="108" y="3"/>
                      <a:pt x="102" y="3"/>
                    </a:cubicBezTo>
                    <a:cubicBezTo>
                      <a:pt x="101" y="3"/>
                      <a:pt x="100" y="3"/>
                      <a:pt x="98" y="3"/>
                    </a:cubicBezTo>
                    <a:cubicBezTo>
                      <a:pt x="98" y="3"/>
                      <a:pt x="98" y="3"/>
                      <a:pt x="98" y="3"/>
                    </a:cubicBezTo>
                    <a:cubicBezTo>
                      <a:pt x="96" y="3"/>
                      <a:pt x="94" y="4"/>
                      <a:pt x="91" y="5"/>
                    </a:cubicBezTo>
                    <a:cubicBezTo>
                      <a:pt x="90" y="6"/>
                      <a:pt x="89" y="6"/>
                      <a:pt x="88" y="7"/>
                    </a:cubicBezTo>
                    <a:cubicBezTo>
                      <a:pt x="88" y="7"/>
                      <a:pt x="87" y="7"/>
                      <a:pt x="87" y="7"/>
                    </a:cubicBezTo>
                    <a:cubicBezTo>
                      <a:pt x="83" y="9"/>
                      <a:pt x="83" y="9"/>
                      <a:pt x="83" y="9"/>
                    </a:cubicBezTo>
                    <a:cubicBezTo>
                      <a:pt x="80" y="10"/>
                      <a:pt x="76" y="11"/>
                      <a:pt x="72" y="12"/>
                    </a:cubicBezTo>
                    <a:cubicBezTo>
                      <a:pt x="71" y="12"/>
                      <a:pt x="71" y="12"/>
                      <a:pt x="71" y="12"/>
                    </a:cubicBezTo>
                    <a:cubicBezTo>
                      <a:pt x="70" y="12"/>
                      <a:pt x="70" y="12"/>
                      <a:pt x="70" y="12"/>
                    </a:cubicBezTo>
                    <a:cubicBezTo>
                      <a:pt x="70" y="12"/>
                      <a:pt x="69" y="12"/>
                      <a:pt x="68" y="12"/>
                    </a:cubicBezTo>
                    <a:cubicBezTo>
                      <a:pt x="64" y="12"/>
                      <a:pt x="61" y="12"/>
                      <a:pt x="57" y="11"/>
                    </a:cubicBezTo>
                    <a:cubicBezTo>
                      <a:pt x="56" y="11"/>
                      <a:pt x="56" y="11"/>
                      <a:pt x="56" y="11"/>
                    </a:cubicBezTo>
                    <a:cubicBezTo>
                      <a:pt x="56" y="11"/>
                      <a:pt x="55" y="10"/>
                      <a:pt x="55" y="10"/>
                    </a:cubicBezTo>
                    <a:cubicBezTo>
                      <a:pt x="54" y="10"/>
                      <a:pt x="54" y="10"/>
                      <a:pt x="54" y="10"/>
                    </a:cubicBezTo>
                    <a:cubicBezTo>
                      <a:pt x="54" y="10"/>
                      <a:pt x="53" y="9"/>
                      <a:pt x="53" y="9"/>
                    </a:cubicBezTo>
                    <a:cubicBezTo>
                      <a:pt x="50" y="8"/>
                      <a:pt x="50" y="8"/>
                      <a:pt x="50" y="8"/>
                    </a:cubicBezTo>
                    <a:cubicBezTo>
                      <a:pt x="49" y="8"/>
                      <a:pt x="48" y="8"/>
                      <a:pt x="48" y="8"/>
                    </a:cubicBezTo>
                    <a:cubicBezTo>
                      <a:pt x="47" y="8"/>
                      <a:pt x="47" y="8"/>
                      <a:pt x="46" y="8"/>
                    </a:cubicBezTo>
                    <a:cubicBezTo>
                      <a:pt x="45" y="9"/>
                      <a:pt x="45" y="9"/>
                      <a:pt x="45" y="9"/>
                    </a:cubicBezTo>
                    <a:cubicBezTo>
                      <a:pt x="39" y="11"/>
                      <a:pt x="35" y="13"/>
                      <a:pt x="31" y="13"/>
                    </a:cubicBezTo>
                    <a:cubicBezTo>
                      <a:pt x="30" y="13"/>
                      <a:pt x="30" y="13"/>
                      <a:pt x="30" y="13"/>
                    </a:cubicBezTo>
                    <a:cubicBezTo>
                      <a:pt x="29" y="13"/>
                      <a:pt x="28" y="13"/>
                      <a:pt x="27" y="13"/>
                    </a:cubicBezTo>
                    <a:cubicBezTo>
                      <a:pt x="26" y="13"/>
                      <a:pt x="25" y="13"/>
                      <a:pt x="23" y="13"/>
                    </a:cubicBezTo>
                    <a:cubicBezTo>
                      <a:pt x="19" y="10"/>
                      <a:pt x="19" y="10"/>
                      <a:pt x="19" y="10"/>
                    </a:cubicBezTo>
                    <a:cubicBezTo>
                      <a:pt x="19" y="12"/>
                      <a:pt x="18" y="13"/>
                      <a:pt x="18" y="15"/>
                    </a:cubicBezTo>
                    <a:cubicBezTo>
                      <a:pt x="18" y="16"/>
                      <a:pt x="19" y="16"/>
                      <a:pt x="19" y="16"/>
                    </a:cubicBezTo>
                    <a:cubicBezTo>
                      <a:pt x="24" y="18"/>
                      <a:pt x="24" y="18"/>
                      <a:pt x="24" y="18"/>
                    </a:cubicBezTo>
                    <a:cubicBezTo>
                      <a:pt x="19" y="20"/>
                      <a:pt x="19" y="20"/>
                      <a:pt x="19" y="20"/>
                    </a:cubicBezTo>
                    <a:cubicBezTo>
                      <a:pt x="19" y="20"/>
                      <a:pt x="18" y="21"/>
                      <a:pt x="18" y="21"/>
                    </a:cubicBezTo>
                    <a:cubicBezTo>
                      <a:pt x="17" y="21"/>
                      <a:pt x="17" y="21"/>
                      <a:pt x="17" y="21"/>
                    </a:cubicBezTo>
                    <a:cubicBezTo>
                      <a:pt x="17" y="21"/>
                      <a:pt x="16" y="22"/>
                      <a:pt x="16" y="22"/>
                    </a:cubicBezTo>
                    <a:cubicBezTo>
                      <a:pt x="15" y="22"/>
                      <a:pt x="15" y="22"/>
                      <a:pt x="15" y="22"/>
                    </a:cubicBezTo>
                    <a:cubicBezTo>
                      <a:pt x="15" y="23"/>
                      <a:pt x="15" y="23"/>
                      <a:pt x="15" y="23"/>
                    </a:cubicBezTo>
                    <a:cubicBezTo>
                      <a:pt x="15" y="23"/>
                      <a:pt x="15" y="23"/>
                      <a:pt x="15" y="23"/>
                    </a:cubicBezTo>
                    <a:cubicBezTo>
                      <a:pt x="15" y="26"/>
                      <a:pt x="13" y="27"/>
                      <a:pt x="12" y="27"/>
                    </a:cubicBezTo>
                    <a:cubicBezTo>
                      <a:pt x="12" y="28"/>
                      <a:pt x="12" y="28"/>
                      <a:pt x="12" y="28"/>
                    </a:cubicBezTo>
                    <a:cubicBezTo>
                      <a:pt x="11" y="28"/>
                      <a:pt x="11" y="28"/>
                      <a:pt x="11" y="28"/>
                    </a:cubicBezTo>
                    <a:cubicBezTo>
                      <a:pt x="11" y="29"/>
                      <a:pt x="11" y="29"/>
                      <a:pt x="11" y="29"/>
                    </a:cubicBezTo>
                    <a:cubicBezTo>
                      <a:pt x="11" y="30"/>
                      <a:pt x="11" y="30"/>
                      <a:pt x="11" y="30"/>
                    </a:cubicBezTo>
                    <a:cubicBezTo>
                      <a:pt x="10" y="32"/>
                      <a:pt x="10" y="32"/>
                      <a:pt x="10" y="32"/>
                    </a:cubicBezTo>
                    <a:cubicBezTo>
                      <a:pt x="7" y="31"/>
                      <a:pt x="7" y="31"/>
                      <a:pt x="7" y="31"/>
                    </a:cubicBezTo>
                    <a:cubicBezTo>
                      <a:pt x="6" y="30"/>
                      <a:pt x="4" y="29"/>
                      <a:pt x="2" y="29"/>
                    </a:cubicBezTo>
                    <a:cubicBezTo>
                      <a:pt x="2" y="29"/>
                      <a:pt x="2" y="30"/>
                      <a:pt x="1" y="31"/>
                    </a:cubicBezTo>
                    <a:cubicBezTo>
                      <a:pt x="1" y="32"/>
                      <a:pt x="1" y="33"/>
                      <a:pt x="0" y="34"/>
                    </a:cubicBezTo>
                    <a:cubicBezTo>
                      <a:pt x="2" y="36"/>
                      <a:pt x="4" y="37"/>
                      <a:pt x="4" y="39"/>
                    </a:cubicBezTo>
                    <a:cubicBezTo>
                      <a:pt x="4" y="41"/>
                      <a:pt x="3" y="44"/>
                      <a:pt x="4" y="47"/>
                    </a:cubicBezTo>
                    <a:cubicBezTo>
                      <a:pt x="4" y="49"/>
                      <a:pt x="4" y="50"/>
                      <a:pt x="5" y="52"/>
                    </a:cubicBezTo>
                    <a:cubicBezTo>
                      <a:pt x="5" y="52"/>
                      <a:pt x="5" y="52"/>
                      <a:pt x="5" y="52"/>
                    </a:cubicBezTo>
                    <a:cubicBezTo>
                      <a:pt x="6" y="52"/>
                      <a:pt x="7" y="52"/>
                      <a:pt x="8" y="52"/>
                    </a:cubicBezTo>
                    <a:cubicBezTo>
                      <a:pt x="8" y="52"/>
                      <a:pt x="9" y="52"/>
                      <a:pt x="9" y="52"/>
                    </a:cubicBezTo>
                    <a:cubicBezTo>
                      <a:pt x="10" y="52"/>
                      <a:pt x="10" y="52"/>
                      <a:pt x="11" y="52"/>
                    </a:cubicBezTo>
                    <a:cubicBezTo>
                      <a:pt x="11" y="52"/>
                      <a:pt x="11" y="52"/>
                      <a:pt x="11" y="52"/>
                    </a:cubicBezTo>
                    <a:cubicBezTo>
                      <a:pt x="12" y="52"/>
                      <a:pt x="13" y="52"/>
                      <a:pt x="14" y="52"/>
                    </a:cubicBezTo>
                    <a:cubicBezTo>
                      <a:pt x="19" y="52"/>
                      <a:pt x="19" y="52"/>
                      <a:pt x="19" y="52"/>
                    </a:cubicBezTo>
                    <a:cubicBezTo>
                      <a:pt x="16" y="56"/>
                      <a:pt x="16" y="56"/>
                      <a:pt x="16" y="56"/>
                    </a:cubicBezTo>
                    <a:cubicBezTo>
                      <a:pt x="17" y="57"/>
                      <a:pt x="17" y="58"/>
                      <a:pt x="18" y="59"/>
                    </a:cubicBezTo>
                    <a:cubicBezTo>
                      <a:pt x="18" y="60"/>
                      <a:pt x="18" y="60"/>
                      <a:pt x="18" y="60"/>
                    </a:cubicBezTo>
                    <a:cubicBezTo>
                      <a:pt x="19" y="61"/>
                      <a:pt x="21" y="64"/>
                      <a:pt x="18" y="66"/>
                    </a:cubicBezTo>
                    <a:cubicBezTo>
                      <a:pt x="18" y="66"/>
                      <a:pt x="18" y="67"/>
                      <a:pt x="17" y="67"/>
                    </a:cubicBezTo>
                    <a:cubicBezTo>
                      <a:pt x="15" y="68"/>
                      <a:pt x="14" y="69"/>
                      <a:pt x="14" y="70"/>
                    </a:cubicBezTo>
                    <a:cubicBezTo>
                      <a:pt x="30" y="84"/>
                      <a:pt x="30" y="84"/>
                      <a:pt x="30" y="84"/>
                    </a:cubicBezTo>
                    <a:cubicBezTo>
                      <a:pt x="11" y="74"/>
                      <a:pt x="11" y="74"/>
                      <a:pt x="11" y="74"/>
                    </a:cubicBezTo>
                    <a:cubicBezTo>
                      <a:pt x="11" y="74"/>
                      <a:pt x="10" y="73"/>
                      <a:pt x="10" y="73"/>
                    </a:cubicBezTo>
                    <a:cubicBezTo>
                      <a:pt x="9" y="73"/>
                      <a:pt x="9" y="74"/>
                      <a:pt x="9" y="74"/>
                    </a:cubicBezTo>
                    <a:cubicBezTo>
                      <a:pt x="8" y="74"/>
                      <a:pt x="8" y="74"/>
                      <a:pt x="8" y="75"/>
                    </a:cubicBezTo>
                    <a:cubicBezTo>
                      <a:pt x="8" y="75"/>
                      <a:pt x="8" y="75"/>
                      <a:pt x="8" y="75"/>
                    </a:cubicBezTo>
                    <a:cubicBezTo>
                      <a:pt x="8" y="75"/>
                      <a:pt x="9" y="76"/>
                      <a:pt x="9" y="78"/>
                    </a:cubicBezTo>
                    <a:cubicBezTo>
                      <a:pt x="9" y="78"/>
                      <a:pt x="9" y="78"/>
                      <a:pt x="9" y="78"/>
                    </a:cubicBezTo>
                    <a:cubicBezTo>
                      <a:pt x="8" y="79"/>
                      <a:pt x="8" y="79"/>
                      <a:pt x="8" y="79"/>
                    </a:cubicBezTo>
                    <a:cubicBezTo>
                      <a:pt x="7" y="80"/>
                      <a:pt x="7" y="80"/>
                      <a:pt x="7" y="80"/>
                    </a:cubicBezTo>
                    <a:cubicBezTo>
                      <a:pt x="6" y="81"/>
                      <a:pt x="5" y="82"/>
                      <a:pt x="4" y="83"/>
                    </a:cubicBezTo>
                    <a:cubicBezTo>
                      <a:pt x="3" y="83"/>
                      <a:pt x="3" y="84"/>
                      <a:pt x="2" y="84"/>
                    </a:cubicBezTo>
                    <a:cubicBezTo>
                      <a:pt x="2" y="84"/>
                      <a:pt x="2" y="84"/>
                      <a:pt x="2" y="84"/>
                    </a:cubicBezTo>
                    <a:cubicBezTo>
                      <a:pt x="2" y="84"/>
                      <a:pt x="2" y="84"/>
                      <a:pt x="2" y="84"/>
                    </a:cubicBezTo>
                    <a:cubicBezTo>
                      <a:pt x="1" y="86"/>
                      <a:pt x="1" y="87"/>
                      <a:pt x="1" y="88"/>
                    </a:cubicBezTo>
                    <a:cubicBezTo>
                      <a:pt x="1" y="89"/>
                      <a:pt x="1" y="90"/>
                      <a:pt x="1" y="90"/>
                    </a:cubicBezTo>
                    <a:cubicBezTo>
                      <a:pt x="1" y="91"/>
                      <a:pt x="1" y="92"/>
                      <a:pt x="1" y="93"/>
                    </a:cubicBezTo>
                    <a:cubicBezTo>
                      <a:pt x="1" y="93"/>
                      <a:pt x="1" y="93"/>
                      <a:pt x="1" y="93"/>
                    </a:cubicBezTo>
                    <a:cubicBezTo>
                      <a:pt x="2" y="93"/>
                      <a:pt x="2" y="94"/>
                      <a:pt x="3" y="94"/>
                    </a:cubicBezTo>
                    <a:cubicBezTo>
                      <a:pt x="3" y="94"/>
                      <a:pt x="3" y="94"/>
                      <a:pt x="3" y="94"/>
                    </a:cubicBezTo>
                    <a:cubicBezTo>
                      <a:pt x="4" y="94"/>
                      <a:pt x="5" y="95"/>
                      <a:pt x="5" y="95"/>
                    </a:cubicBezTo>
                    <a:cubicBezTo>
                      <a:pt x="6" y="96"/>
                      <a:pt x="6" y="96"/>
                      <a:pt x="6" y="96"/>
                    </a:cubicBezTo>
                    <a:cubicBezTo>
                      <a:pt x="7" y="96"/>
                      <a:pt x="8" y="97"/>
                      <a:pt x="9" y="98"/>
                    </a:cubicBezTo>
                    <a:cubicBezTo>
                      <a:pt x="15" y="101"/>
                      <a:pt x="18" y="102"/>
                      <a:pt x="20" y="102"/>
                    </a:cubicBezTo>
                    <a:cubicBezTo>
                      <a:pt x="21" y="102"/>
                      <a:pt x="22" y="101"/>
                      <a:pt x="23" y="100"/>
                    </a:cubicBezTo>
                    <a:cubicBezTo>
                      <a:pt x="24" y="100"/>
                      <a:pt x="24" y="99"/>
                      <a:pt x="25" y="99"/>
                    </a:cubicBezTo>
                    <a:cubicBezTo>
                      <a:pt x="32" y="94"/>
                      <a:pt x="50" y="84"/>
                      <a:pt x="58" y="79"/>
                    </a:cubicBezTo>
                    <a:cubicBezTo>
                      <a:pt x="59" y="78"/>
                      <a:pt x="59" y="78"/>
                      <a:pt x="59" y="78"/>
                    </a:cubicBezTo>
                    <a:cubicBezTo>
                      <a:pt x="59" y="79"/>
                      <a:pt x="59" y="79"/>
                      <a:pt x="59" y="79"/>
                    </a:cubicBezTo>
                    <a:cubicBezTo>
                      <a:pt x="62" y="77"/>
                      <a:pt x="62" y="77"/>
                      <a:pt x="62" y="77"/>
                    </a:cubicBezTo>
                    <a:cubicBezTo>
                      <a:pt x="66" y="75"/>
                      <a:pt x="70" y="72"/>
                      <a:pt x="74" y="70"/>
                    </a:cubicBezTo>
                    <a:cubicBezTo>
                      <a:pt x="86" y="64"/>
                      <a:pt x="86" y="64"/>
                      <a:pt x="86" y="64"/>
                    </a:cubicBezTo>
                    <a:cubicBezTo>
                      <a:pt x="86" y="64"/>
                      <a:pt x="86" y="64"/>
                      <a:pt x="86" y="64"/>
                    </a:cubicBezTo>
                    <a:cubicBezTo>
                      <a:pt x="91" y="61"/>
                      <a:pt x="91" y="61"/>
                      <a:pt x="91" y="61"/>
                    </a:cubicBezTo>
                    <a:cubicBezTo>
                      <a:pt x="92" y="60"/>
                      <a:pt x="93" y="59"/>
                      <a:pt x="95" y="59"/>
                    </a:cubicBezTo>
                    <a:cubicBezTo>
                      <a:pt x="95" y="59"/>
                      <a:pt x="96" y="58"/>
                      <a:pt x="96" y="58"/>
                    </a:cubicBezTo>
                    <a:cubicBezTo>
                      <a:pt x="97" y="58"/>
                      <a:pt x="97" y="58"/>
                      <a:pt x="97" y="58"/>
                    </a:cubicBezTo>
                    <a:cubicBezTo>
                      <a:pt x="98" y="58"/>
                      <a:pt x="99" y="57"/>
                      <a:pt x="99" y="57"/>
                    </a:cubicBezTo>
                    <a:cubicBezTo>
                      <a:pt x="100" y="56"/>
                      <a:pt x="101" y="54"/>
                      <a:pt x="102" y="52"/>
                    </a:cubicBezTo>
                    <a:cubicBezTo>
                      <a:pt x="103" y="51"/>
                      <a:pt x="103" y="50"/>
                      <a:pt x="103" y="49"/>
                    </a:cubicBezTo>
                    <a:cubicBezTo>
                      <a:pt x="103" y="48"/>
                      <a:pt x="103" y="48"/>
                      <a:pt x="103" y="48"/>
                    </a:cubicBezTo>
                    <a:cubicBezTo>
                      <a:pt x="103" y="47"/>
                      <a:pt x="103" y="46"/>
                      <a:pt x="103" y="45"/>
                    </a:cubicBezTo>
                    <a:cubicBezTo>
                      <a:pt x="102" y="43"/>
                      <a:pt x="103" y="40"/>
                      <a:pt x="104" y="38"/>
                    </a:cubicBezTo>
                    <a:cubicBezTo>
                      <a:pt x="104" y="38"/>
                      <a:pt x="104" y="38"/>
                      <a:pt x="104" y="38"/>
                    </a:cubicBezTo>
                    <a:cubicBezTo>
                      <a:pt x="104" y="36"/>
                      <a:pt x="104" y="35"/>
                      <a:pt x="105" y="34"/>
                    </a:cubicBezTo>
                    <a:cubicBezTo>
                      <a:pt x="105" y="33"/>
                      <a:pt x="104" y="31"/>
                      <a:pt x="104" y="30"/>
                    </a:cubicBezTo>
                    <a:cubicBezTo>
                      <a:pt x="104" y="29"/>
                      <a:pt x="104" y="29"/>
                      <a:pt x="104" y="29"/>
                    </a:cubicBezTo>
                    <a:cubicBezTo>
                      <a:pt x="104" y="24"/>
                      <a:pt x="103" y="20"/>
                      <a:pt x="105" y="16"/>
                    </a:cubicBezTo>
                    <a:cubicBezTo>
                      <a:pt x="105" y="15"/>
                      <a:pt x="106" y="14"/>
                      <a:pt x="106" y="14"/>
                    </a:cubicBezTo>
                    <a:cubicBezTo>
                      <a:pt x="107" y="12"/>
                      <a:pt x="109" y="11"/>
                      <a:pt x="111" y="11"/>
                    </a:cubicBezTo>
                    <a:cubicBezTo>
                      <a:pt x="113" y="10"/>
                      <a:pt x="113" y="10"/>
                      <a:pt x="113" y="10"/>
                    </a:cubicBezTo>
                    <a:cubicBezTo>
                      <a:pt x="112" y="8"/>
                      <a:pt x="112" y="8"/>
                      <a:pt x="112" y="8"/>
                    </a:cubicBezTo>
                    <a:cubicBezTo>
                      <a:pt x="113" y="10"/>
                      <a:pt x="113" y="10"/>
                      <a:pt x="113" y="10"/>
                    </a:cubicBezTo>
                    <a:cubicBezTo>
                      <a:pt x="114" y="10"/>
                      <a:pt x="114" y="10"/>
                      <a:pt x="114" y="10"/>
                    </a:cubicBezTo>
                    <a:cubicBezTo>
                      <a:pt x="115" y="10"/>
                      <a:pt x="115" y="10"/>
                      <a:pt x="116" y="9"/>
                    </a:cubicBezTo>
                    <a:cubicBezTo>
                      <a:pt x="118" y="7"/>
                      <a:pt x="120" y="5"/>
                      <a:pt x="122" y="3"/>
                    </a:cubicBezTo>
                    <a:cubicBezTo>
                      <a:pt x="124" y="1"/>
                      <a:pt x="124" y="1"/>
                      <a:pt x="124" y="1"/>
                    </a:cubicBezTo>
                    <a:cubicBezTo>
                      <a:pt x="124" y="1"/>
                      <a:pt x="124" y="1"/>
                      <a:pt x="124" y="1"/>
                    </a:cubicBezTo>
                    <a:cubicBezTo>
                      <a:pt x="124" y="0"/>
                      <a:pt x="124" y="0"/>
                      <a:pt x="1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364"/>
              <p:cNvSpPr/>
              <p:nvPr/>
            </p:nvSpPr>
            <p:spPr bwMode="auto">
              <a:xfrm>
                <a:off x="4102" y="1794"/>
                <a:ext cx="10" cy="4"/>
              </a:xfrm>
              <a:custGeom>
                <a:gdLst>
                  <a:gd name="T0" fmla="*/ 4 w 4"/>
                  <a:gd name="T1" fmla="*/ 0 h 2"/>
                  <a:gd name="T2" fmla="*/ 0 w 4"/>
                  <a:gd name="T3" fmla="*/ 1 h 2"/>
                  <a:gd name="T4" fmla="*/ 3 w 4"/>
                  <a:gd name="T5" fmla="*/ 2 h 2"/>
                  <a:gd name="T6" fmla="*/ 4 w 4"/>
                  <a:gd name="T7" fmla="*/ 0 h 2"/>
                </a:gdLst>
                <a:cxnLst>
                  <a:cxn ang="0">
                    <a:pos x="T0" y="T1"/>
                  </a:cxn>
                  <a:cxn ang="0">
                    <a:pos x="T2" y="T3"/>
                  </a:cxn>
                  <a:cxn ang="0">
                    <a:pos x="T4" y="T5"/>
                  </a:cxn>
                  <a:cxn ang="0">
                    <a:pos x="T6" y="T7"/>
                  </a:cxn>
                </a:cxnLst>
                <a:rect l="0" t="0" r="r" b="b"/>
                <a:pathLst>
                  <a:path w="4" h="2">
                    <a:moveTo>
                      <a:pt x="4" y="0"/>
                    </a:moveTo>
                    <a:cubicBezTo>
                      <a:pt x="0" y="1"/>
                      <a:pt x="0" y="1"/>
                      <a:pt x="0" y="1"/>
                    </a:cubicBezTo>
                    <a:cubicBezTo>
                      <a:pt x="1" y="1"/>
                      <a:pt x="2" y="2"/>
                      <a:pt x="3" y="2"/>
                    </a:cubicBezTo>
                    <a:cubicBezTo>
                      <a:pt x="3"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Freeform 365"/>
              <p:cNvSpPr/>
              <p:nvPr/>
            </p:nvSpPr>
            <p:spPr bwMode="auto">
              <a:xfrm>
                <a:off x="4057" y="1770"/>
                <a:ext cx="57" cy="163"/>
              </a:xfrm>
              <a:custGeom>
                <a:gdLst>
                  <a:gd name="T0" fmla="*/ 23 w 24"/>
                  <a:gd name="T1" fmla="*/ 0 h 69"/>
                  <a:gd name="T2" fmla="*/ 21 w 24"/>
                  <a:gd name="T3" fmla="*/ 0 h 69"/>
                  <a:gd name="T4" fmla="*/ 20 w 24"/>
                  <a:gd name="T5" fmla="*/ 0 h 69"/>
                  <a:gd name="T6" fmla="*/ 15 w 24"/>
                  <a:gd name="T7" fmla="*/ 1 h 69"/>
                  <a:gd name="T8" fmla="*/ 15 w 24"/>
                  <a:gd name="T9" fmla="*/ 3 h 69"/>
                  <a:gd name="T10" fmla="*/ 13 w 24"/>
                  <a:gd name="T11" fmla="*/ 7 h 69"/>
                  <a:gd name="T12" fmla="*/ 4 w 24"/>
                  <a:gd name="T13" fmla="*/ 30 h 69"/>
                  <a:gd name="T14" fmla="*/ 4 w 24"/>
                  <a:gd name="T15" fmla="*/ 30 h 69"/>
                  <a:gd name="T16" fmla="*/ 0 w 24"/>
                  <a:gd name="T17" fmla="*/ 34 h 69"/>
                  <a:gd name="T18" fmla="*/ 1 w 24"/>
                  <a:gd name="T19" fmla="*/ 35 h 69"/>
                  <a:gd name="T20" fmla="*/ 0 w 24"/>
                  <a:gd name="T21" fmla="*/ 36 h 69"/>
                  <a:gd name="T22" fmla="*/ 1 w 24"/>
                  <a:gd name="T23" fmla="*/ 35 h 69"/>
                  <a:gd name="T24" fmla="*/ 1 w 24"/>
                  <a:gd name="T25" fmla="*/ 36 h 69"/>
                  <a:gd name="T26" fmla="*/ 2 w 24"/>
                  <a:gd name="T27" fmla="*/ 37 h 69"/>
                  <a:gd name="T28" fmla="*/ 1 w 24"/>
                  <a:gd name="T29" fmla="*/ 37 h 69"/>
                  <a:gd name="T30" fmla="*/ 12 w 24"/>
                  <a:gd name="T31" fmla="*/ 69 h 69"/>
                  <a:gd name="T32" fmla="*/ 15 w 24"/>
                  <a:gd name="T33" fmla="*/ 56 h 69"/>
                  <a:gd name="T34" fmla="*/ 16 w 24"/>
                  <a:gd name="T35" fmla="*/ 51 h 69"/>
                  <a:gd name="T36" fmla="*/ 18 w 24"/>
                  <a:gd name="T37" fmla="*/ 45 h 69"/>
                  <a:gd name="T38" fmla="*/ 18 w 24"/>
                  <a:gd name="T39" fmla="*/ 44 h 69"/>
                  <a:gd name="T40" fmla="*/ 19 w 24"/>
                  <a:gd name="T41" fmla="*/ 41 h 69"/>
                  <a:gd name="T42" fmla="*/ 20 w 24"/>
                  <a:gd name="T43" fmla="*/ 34 h 69"/>
                  <a:gd name="T44" fmla="*/ 20 w 24"/>
                  <a:gd name="T45" fmla="*/ 34 h 69"/>
                  <a:gd name="T46" fmla="*/ 17 w 24"/>
                  <a:gd name="T47" fmla="*/ 35 h 69"/>
                  <a:gd name="T48" fmla="*/ 17 w 24"/>
                  <a:gd name="T49" fmla="*/ 35 h 69"/>
                  <a:gd name="T50" fmla="*/ 16 w 24"/>
                  <a:gd name="T51" fmla="*/ 35 h 69"/>
                  <a:gd name="T52" fmla="*/ 16 w 24"/>
                  <a:gd name="T53" fmla="*/ 35 h 69"/>
                  <a:gd name="T54" fmla="*/ 15 w 24"/>
                  <a:gd name="T55" fmla="*/ 35 h 69"/>
                  <a:gd name="T56" fmla="*/ 14 w 24"/>
                  <a:gd name="T57" fmla="*/ 35 h 69"/>
                  <a:gd name="T58" fmla="*/ 14 w 24"/>
                  <a:gd name="T59" fmla="*/ 35 h 69"/>
                  <a:gd name="T60" fmla="*/ 12 w 24"/>
                  <a:gd name="T61" fmla="*/ 35 h 69"/>
                  <a:gd name="T62" fmla="*/ 17 w 24"/>
                  <a:gd name="T63" fmla="*/ 27 h 69"/>
                  <a:gd name="T64" fmla="*/ 18 w 24"/>
                  <a:gd name="T65" fmla="*/ 27 h 69"/>
                  <a:gd name="T66" fmla="*/ 13 w 24"/>
                  <a:gd name="T67" fmla="*/ 25 h 69"/>
                  <a:gd name="T68" fmla="*/ 14 w 24"/>
                  <a:gd name="T69" fmla="*/ 14 h 69"/>
                  <a:gd name="T70" fmla="*/ 17 w 24"/>
                  <a:gd name="T71" fmla="*/ 11 h 69"/>
                  <a:gd name="T72" fmla="*/ 17 w 24"/>
                  <a:gd name="T73" fmla="*/ 10 h 69"/>
                  <a:gd name="T74" fmla="*/ 18 w 24"/>
                  <a:gd name="T75" fmla="*/ 10 h 69"/>
                  <a:gd name="T76" fmla="*/ 24 w 24"/>
                  <a:gd name="T77" fmla="*/ 6 h 69"/>
                  <a:gd name="T78" fmla="*/ 24 w 24"/>
                  <a:gd name="T79" fmla="*/ 5 h 69"/>
                  <a:gd name="T80" fmla="*/ 24 w 24"/>
                  <a:gd name="T81" fmla="*/ 5 h 69"/>
                  <a:gd name="T82" fmla="*/ 23 w 24"/>
                  <a:gd name="T83" fmla="*/ 1 h 69"/>
                  <a:gd name="T84" fmla="*/ 23 w 24"/>
                  <a:gd name="T85" fmla="*/ 0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 h="69">
                    <a:moveTo>
                      <a:pt x="23" y="0"/>
                    </a:moveTo>
                    <a:cubicBezTo>
                      <a:pt x="23" y="0"/>
                      <a:pt x="22" y="0"/>
                      <a:pt x="21" y="0"/>
                    </a:cubicBezTo>
                    <a:cubicBezTo>
                      <a:pt x="21" y="0"/>
                      <a:pt x="20" y="0"/>
                      <a:pt x="20" y="0"/>
                    </a:cubicBezTo>
                    <a:cubicBezTo>
                      <a:pt x="15" y="1"/>
                      <a:pt x="15" y="1"/>
                      <a:pt x="15" y="1"/>
                    </a:cubicBezTo>
                    <a:cubicBezTo>
                      <a:pt x="15" y="1"/>
                      <a:pt x="15" y="2"/>
                      <a:pt x="15" y="3"/>
                    </a:cubicBezTo>
                    <a:cubicBezTo>
                      <a:pt x="15" y="4"/>
                      <a:pt x="14" y="6"/>
                      <a:pt x="13" y="7"/>
                    </a:cubicBezTo>
                    <a:cubicBezTo>
                      <a:pt x="10" y="15"/>
                      <a:pt x="8" y="23"/>
                      <a:pt x="4" y="30"/>
                    </a:cubicBezTo>
                    <a:cubicBezTo>
                      <a:pt x="4" y="30"/>
                      <a:pt x="4" y="30"/>
                      <a:pt x="4" y="30"/>
                    </a:cubicBezTo>
                    <a:cubicBezTo>
                      <a:pt x="3" y="32"/>
                      <a:pt x="1" y="33"/>
                      <a:pt x="0" y="34"/>
                    </a:cubicBezTo>
                    <a:cubicBezTo>
                      <a:pt x="1" y="35"/>
                      <a:pt x="1" y="35"/>
                      <a:pt x="1" y="35"/>
                    </a:cubicBezTo>
                    <a:cubicBezTo>
                      <a:pt x="0" y="36"/>
                      <a:pt x="0" y="36"/>
                      <a:pt x="0" y="36"/>
                    </a:cubicBezTo>
                    <a:cubicBezTo>
                      <a:pt x="1" y="35"/>
                      <a:pt x="1" y="35"/>
                      <a:pt x="1" y="35"/>
                    </a:cubicBezTo>
                    <a:cubicBezTo>
                      <a:pt x="1" y="36"/>
                      <a:pt x="1" y="36"/>
                      <a:pt x="1" y="36"/>
                    </a:cubicBezTo>
                    <a:cubicBezTo>
                      <a:pt x="2" y="37"/>
                      <a:pt x="2" y="37"/>
                      <a:pt x="2" y="37"/>
                    </a:cubicBezTo>
                    <a:cubicBezTo>
                      <a:pt x="1" y="37"/>
                      <a:pt x="1" y="37"/>
                      <a:pt x="1" y="37"/>
                    </a:cubicBezTo>
                    <a:cubicBezTo>
                      <a:pt x="12" y="69"/>
                      <a:pt x="12" y="69"/>
                      <a:pt x="12" y="69"/>
                    </a:cubicBezTo>
                    <a:cubicBezTo>
                      <a:pt x="12" y="64"/>
                      <a:pt x="14" y="60"/>
                      <a:pt x="15" y="56"/>
                    </a:cubicBezTo>
                    <a:cubicBezTo>
                      <a:pt x="16" y="51"/>
                      <a:pt x="16" y="51"/>
                      <a:pt x="16" y="51"/>
                    </a:cubicBezTo>
                    <a:cubicBezTo>
                      <a:pt x="16" y="49"/>
                      <a:pt x="17" y="47"/>
                      <a:pt x="18" y="45"/>
                    </a:cubicBezTo>
                    <a:cubicBezTo>
                      <a:pt x="18" y="44"/>
                      <a:pt x="18" y="44"/>
                      <a:pt x="18" y="44"/>
                    </a:cubicBezTo>
                    <a:cubicBezTo>
                      <a:pt x="18" y="43"/>
                      <a:pt x="18" y="42"/>
                      <a:pt x="19" y="41"/>
                    </a:cubicBezTo>
                    <a:cubicBezTo>
                      <a:pt x="19" y="39"/>
                      <a:pt x="19" y="37"/>
                      <a:pt x="20" y="34"/>
                    </a:cubicBezTo>
                    <a:cubicBezTo>
                      <a:pt x="20" y="34"/>
                      <a:pt x="20" y="34"/>
                      <a:pt x="20" y="34"/>
                    </a:cubicBezTo>
                    <a:cubicBezTo>
                      <a:pt x="19" y="34"/>
                      <a:pt x="18" y="34"/>
                      <a:pt x="17" y="35"/>
                    </a:cubicBezTo>
                    <a:cubicBezTo>
                      <a:pt x="17" y="35"/>
                      <a:pt x="17" y="35"/>
                      <a:pt x="17" y="35"/>
                    </a:cubicBezTo>
                    <a:cubicBezTo>
                      <a:pt x="16" y="35"/>
                      <a:pt x="16" y="35"/>
                      <a:pt x="16" y="35"/>
                    </a:cubicBezTo>
                    <a:cubicBezTo>
                      <a:pt x="16" y="35"/>
                      <a:pt x="16" y="35"/>
                      <a:pt x="16" y="35"/>
                    </a:cubicBezTo>
                    <a:cubicBezTo>
                      <a:pt x="16" y="35"/>
                      <a:pt x="15" y="35"/>
                      <a:pt x="15" y="35"/>
                    </a:cubicBezTo>
                    <a:cubicBezTo>
                      <a:pt x="15" y="35"/>
                      <a:pt x="14" y="35"/>
                      <a:pt x="14" y="35"/>
                    </a:cubicBezTo>
                    <a:cubicBezTo>
                      <a:pt x="14" y="35"/>
                      <a:pt x="14" y="35"/>
                      <a:pt x="14" y="35"/>
                    </a:cubicBezTo>
                    <a:cubicBezTo>
                      <a:pt x="13" y="35"/>
                      <a:pt x="13" y="35"/>
                      <a:pt x="12" y="35"/>
                    </a:cubicBezTo>
                    <a:cubicBezTo>
                      <a:pt x="12" y="33"/>
                      <a:pt x="13" y="27"/>
                      <a:pt x="17" y="27"/>
                    </a:cubicBezTo>
                    <a:cubicBezTo>
                      <a:pt x="17" y="27"/>
                      <a:pt x="17" y="27"/>
                      <a:pt x="18" y="27"/>
                    </a:cubicBezTo>
                    <a:cubicBezTo>
                      <a:pt x="16" y="25"/>
                      <a:pt x="15" y="25"/>
                      <a:pt x="13" y="25"/>
                    </a:cubicBezTo>
                    <a:cubicBezTo>
                      <a:pt x="14" y="21"/>
                      <a:pt x="13" y="17"/>
                      <a:pt x="14" y="14"/>
                    </a:cubicBezTo>
                    <a:cubicBezTo>
                      <a:pt x="15" y="12"/>
                      <a:pt x="16" y="11"/>
                      <a:pt x="17" y="11"/>
                    </a:cubicBezTo>
                    <a:cubicBezTo>
                      <a:pt x="17" y="10"/>
                      <a:pt x="17" y="10"/>
                      <a:pt x="17" y="10"/>
                    </a:cubicBezTo>
                    <a:cubicBezTo>
                      <a:pt x="18" y="10"/>
                      <a:pt x="18" y="10"/>
                      <a:pt x="18" y="10"/>
                    </a:cubicBezTo>
                    <a:cubicBezTo>
                      <a:pt x="24" y="6"/>
                      <a:pt x="24" y="6"/>
                      <a:pt x="24" y="6"/>
                    </a:cubicBezTo>
                    <a:cubicBezTo>
                      <a:pt x="24" y="5"/>
                      <a:pt x="24" y="5"/>
                      <a:pt x="24" y="5"/>
                    </a:cubicBezTo>
                    <a:cubicBezTo>
                      <a:pt x="24" y="5"/>
                      <a:pt x="24" y="5"/>
                      <a:pt x="24" y="5"/>
                    </a:cubicBezTo>
                    <a:cubicBezTo>
                      <a:pt x="23" y="4"/>
                      <a:pt x="23" y="3"/>
                      <a:pt x="23" y="1"/>
                    </a:cubicBezTo>
                    <a:cubicBezTo>
                      <a:pt x="23" y="1"/>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366"/>
              <p:cNvSpPr/>
              <p:nvPr/>
            </p:nvSpPr>
            <p:spPr bwMode="auto">
              <a:xfrm>
                <a:off x="3686" y="1299"/>
                <a:ext cx="839" cy="322"/>
              </a:xfrm>
              <a:custGeom>
                <a:gdLst>
                  <a:gd name="T0" fmla="*/ 157 w 355"/>
                  <a:gd name="T1" fmla="*/ 2 h 136"/>
                  <a:gd name="T2" fmla="*/ 112 w 355"/>
                  <a:gd name="T3" fmla="*/ 12 h 136"/>
                  <a:gd name="T4" fmla="*/ 80 w 355"/>
                  <a:gd name="T5" fmla="*/ 20 h 136"/>
                  <a:gd name="T6" fmla="*/ 59 w 355"/>
                  <a:gd name="T7" fmla="*/ 19 h 136"/>
                  <a:gd name="T8" fmla="*/ 73 w 355"/>
                  <a:gd name="T9" fmla="*/ 30 h 136"/>
                  <a:gd name="T10" fmla="*/ 48 w 355"/>
                  <a:gd name="T11" fmla="*/ 38 h 136"/>
                  <a:gd name="T12" fmla="*/ 30 w 355"/>
                  <a:gd name="T13" fmla="*/ 39 h 136"/>
                  <a:gd name="T14" fmla="*/ 10 w 355"/>
                  <a:gd name="T15" fmla="*/ 41 h 136"/>
                  <a:gd name="T16" fmla="*/ 1 w 355"/>
                  <a:gd name="T17" fmla="*/ 59 h 136"/>
                  <a:gd name="T18" fmla="*/ 14 w 355"/>
                  <a:gd name="T19" fmla="*/ 69 h 136"/>
                  <a:gd name="T20" fmla="*/ 13 w 355"/>
                  <a:gd name="T21" fmla="*/ 75 h 136"/>
                  <a:gd name="T22" fmla="*/ 9 w 355"/>
                  <a:gd name="T23" fmla="*/ 77 h 136"/>
                  <a:gd name="T24" fmla="*/ 6 w 355"/>
                  <a:gd name="T25" fmla="*/ 84 h 136"/>
                  <a:gd name="T26" fmla="*/ 10 w 355"/>
                  <a:gd name="T27" fmla="*/ 87 h 136"/>
                  <a:gd name="T28" fmla="*/ 18 w 355"/>
                  <a:gd name="T29" fmla="*/ 99 h 136"/>
                  <a:gd name="T30" fmla="*/ 25 w 355"/>
                  <a:gd name="T31" fmla="*/ 111 h 136"/>
                  <a:gd name="T32" fmla="*/ 43 w 355"/>
                  <a:gd name="T33" fmla="*/ 112 h 136"/>
                  <a:gd name="T34" fmla="*/ 27 w 355"/>
                  <a:gd name="T35" fmla="*/ 120 h 136"/>
                  <a:gd name="T36" fmla="*/ 39 w 355"/>
                  <a:gd name="T37" fmla="*/ 121 h 136"/>
                  <a:gd name="T38" fmla="*/ 48 w 355"/>
                  <a:gd name="T39" fmla="*/ 117 h 136"/>
                  <a:gd name="T40" fmla="*/ 71 w 355"/>
                  <a:gd name="T41" fmla="*/ 132 h 136"/>
                  <a:gd name="T42" fmla="*/ 82 w 355"/>
                  <a:gd name="T43" fmla="*/ 130 h 136"/>
                  <a:gd name="T44" fmla="*/ 104 w 355"/>
                  <a:gd name="T45" fmla="*/ 120 h 136"/>
                  <a:gd name="T46" fmla="*/ 142 w 355"/>
                  <a:gd name="T47" fmla="*/ 132 h 136"/>
                  <a:gd name="T48" fmla="*/ 175 w 355"/>
                  <a:gd name="T49" fmla="*/ 122 h 136"/>
                  <a:gd name="T50" fmla="*/ 189 w 355"/>
                  <a:gd name="T51" fmla="*/ 116 h 136"/>
                  <a:gd name="T52" fmla="*/ 192 w 355"/>
                  <a:gd name="T53" fmla="*/ 134 h 136"/>
                  <a:gd name="T54" fmla="*/ 195 w 355"/>
                  <a:gd name="T55" fmla="*/ 131 h 136"/>
                  <a:gd name="T56" fmla="*/ 199 w 355"/>
                  <a:gd name="T57" fmla="*/ 117 h 136"/>
                  <a:gd name="T58" fmla="*/ 215 w 355"/>
                  <a:gd name="T59" fmla="*/ 118 h 136"/>
                  <a:gd name="T60" fmla="*/ 239 w 355"/>
                  <a:gd name="T61" fmla="*/ 114 h 136"/>
                  <a:gd name="T62" fmla="*/ 252 w 355"/>
                  <a:gd name="T63" fmla="*/ 118 h 136"/>
                  <a:gd name="T64" fmla="*/ 266 w 355"/>
                  <a:gd name="T65" fmla="*/ 114 h 136"/>
                  <a:gd name="T66" fmla="*/ 282 w 355"/>
                  <a:gd name="T67" fmla="*/ 108 h 136"/>
                  <a:gd name="T68" fmla="*/ 311 w 355"/>
                  <a:gd name="T69" fmla="*/ 105 h 136"/>
                  <a:gd name="T70" fmla="*/ 325 w 355"/>
                  <a:gd name="T71" fmla="*/ 103 h 136"/>
                  <a:gd name="T72" fmla="*/ 331 w 355"/>
                  <a:gd name="T73" fmla="*/ 104 h 136"/>
                  <a:gd name="T74" fmla="*/ 349 w 355"/>
                  <a:gd name="T75" fmla="*/ 109 h 136"/>
                  <a:gd name="T76" fmla="*/ 355 w 355"/>
                  <a:gd name="T77" fmla="*/ 108 h 136"/>
                  <a:gd name="T78" fmla="*/ 354 w 355"/>
                  <a:gd name="T79" fmla="*/ 107 h 136"/>
                  <a:gd name="T80" fmla="*/ 351 w 355"/>
                  <a:gd name="T81" fmla="*/ 99 h 136"/>
                  <a:gd name="T82" fmla="*/ 349 w 355"/>
                  <a:gd name="T83" fmla="*/ 97 h 136"/>
                  <a:gd name="T84" fmla="*/ 344 w 355"/>
                  <a:gd name="T85" fmla="*/ 92 h 136"/>
                  <a:gd name="T86" fmla="*/ 346 w 355"/>
                  <a:gd name="T87" fmla="*/ 82 h 136"/>
                  <a:gd name="T88" fmla="*/ 341 w 355"/>
                  <a:gd name="T89" fmla="*/ 65 h 136"/>
                  <a:gd name="T90" fmla="*/ 348 w 355"/>
                  <a:gd name="T91" fmla="*/ 55 h 136"/>
                  <a:gd name="T92" fmla="*/ 336 w 355"/>
                  <a:gd name="T93" fmla="*/ 47 h 136"/>
                  <a:gd name="T94" fmla="*/ 333 w 355"/>
                  <a:gd name="T95" fmla="*/ 40 h 136"/>
                  <a:gd name="T96" fmla="*/ 334 w 355"/>
                  <a:gd name="T97" fmla="*/ 32 h 136"/>
                  <a:gd name="T98" fmla="*/ 333 w 355"/>
                  <a:gd name="T99" fmla="*/ 27 h 136"/>
                  <a:gd name="T100" fmla="*/ 326 w 355"/>
                  <a:gd name="T101" fmla="*/ 20 h 136"/>
                  <a:gd name="T102" fmla="*/ 321 w 355"/>
                  <a:gd name="T103" fmla="*/ 16 h 136"/>
                  <a:gd name="T104" fmla="*/ 316 w 355"/>
                  <a:gd name="T105" fmla="*/ 14 h 136"/>
                  <a:gd name="T106" fmla="*/ 303 w 355"/>
                  <a:gd name="T107" fmla="*/ 15 h 136"/>
                  <a:gd name="T108" fmla="*/ 297 w 355"/>
                  <a:gd name="T109" fmla="*/ 18 h 136"/>
                  <a:gd name="T110" fmla="*/ 272 w 355"/>
                  <a:gd name="T111" fmla="*/ 25 h 136"/>
                  <a:gd name="T112" fmla="*/ 265 w 355"/>
                  <a:gd name="T113" fmla="*/ 25 h 136"/>
                  <a:gd name="T114" fmla="*/ 251 w 355"/>
                  <a:gd name="T115" fmla="*/ 23 h 136"/>
                  <a:gd name="T116" fmla="*/ 235 w 355"/>
                  <a:gd name="T117" fmla="*/ 26 h 136"/>
                  <a:gd name="T118" fmla="*/ 198 w 355"/>
                  <a:gd name="T119" fmla="*/ 18 h 136"/>
                  <a:gd name="T120" fmla="*/ 180 w 355"/>
                  <a:gd name="T121" fmla="*/ 9 h 1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 h="136">
                    <a:moveTo>
                      <a:pt x="173" y="0"/>
                    </a:moveTo>
                    <a:cubicBezTo>
                      <a:pt x="171" y="0"/>
                      <a:pt x="169" y="1"/>
                      <a:pt x="169" y="1"/>
                    </a:cubicBezTo>
                    <a:cubicBezTo>
                      <a:pt x="167" y="2"/>
                      <a:pt x="164" y="2"/>
                      <a:pt x="162" y="2"/>
                    </a:cubicBezTo>
                    <a:cubicBezTo>
                      <a:pt x="161" y="2"/>
                      <a:pt x="160" y="2"/>
                      <a:pt x="159" y="2"/>
                    </a:cubicBezTo>
                    <a:cubicBezTo>
                      <a:pt x="159" y="2"/>
                      <a:pt x="158" y="2"/>
                      <a:pt x="157" y="2"/>
                    </a:cubicBezTo>
                    <a:cubicBezTo>
                      <a:pt x="157" y="2"/>
                      <a:pt x="156" y="2"/>
                      <a:pt x="156" y="2"/>
                    </a:cubicBezTo>
                    <a:cubicBezTo>
                      <a:pt x="152" y="2"/>
                      <a:pt x="146" y="2"/>
                      <a:pt x="142" y="1"/>
                    </a:cubicBezTo>
                    <a:cubicBezTo>
                      <a:pt x="141" y="1"/>
                      <a:pt x="141" y="1"/>
                      <a:pt x="140" y="1"/>
                    </a:cubicBezTo>
                    <a:cubicBezTo>
                      <a:pt x="135" y="1"/>
                      <a:pt x="131" y="4"/>
                      <a:pt x="126" y="5"/>
                    </a:cubicBezTo>
                    <a:cubicBezTo>
                      <a:pt x="120" y="6"/>
                      <a:pt x="117" y="9"/>
                      <a:pt x="112" y="12"/>
                    </a:cubicBezTo>
                    <a:cubicBezTo>
                      <a:pt x="110" y="13"/>
                      <a:pt x="107" y="15"/>
                      <a:pt x="105" y="17"/>
                    </a:cubicBezTo>
                    <a:cubicBezTo>
                      <a:pt x="104" y="18"/>
                      <a:pt x="101" y="21"/>
                      <a:pt x="99" y="22"/>
                    </a:cubicBezTo>
                    <a:cubicBezTo>
                      <a:pt x="97" y="22"/>
                      <a:pt x="95" y="22"/>
                      <a:pt x="93" y="22"/>
                    </a:cubicBezTo>
                    <a:cubicBezTo>
                      <a:pt x="89" y="22"/>
                      <a:pt x="86" y="21"/>
                      <a:pt x="82" y="20"/>
                    </a:cubicBezTo>
                    <a:cubicBezTo>
                      <a:pt x="82" y="20"/>
                      <a:pt x="81" y="20"/>
                      <a:pt x="80" y="20"/>
                    </a:cubicBezTo>
                    <a:cubicBezTo>
                      <a:pt x="78" y="20"/>
                      <a:pt x="75" y="20"/>
                      <a:pt x="73" y="21"/>
                    </a:cubicBezTo>
                    <a:cubicBezTo>
                      <a:pt x="73" y="21"/>
                      <a:pt x="73" y="21"/>
                      <a:pt x="72" y="21"/>
                    </a:cubicBezTo>
                    <a:cubicBezTo>
                      <a:pt x="70" y="21"/>
                      <a:pt x="67" y="20"/>
                      <a:pt x="65" y="19"/>
                    </a:cubicBezTo>
                    <a:cubicBezTo>
                      <a:pt x="64" y="19"/>
                      <a:pt x="62" y="19"/>
                      <a:pt x="60" y="19"/>
                    </a:cubicBezTo>
                    <a:cubicBezTo>
                      <a:pt x="60" y="19"/>
                      <a:pt x="59" y="19"/>
                      <a:pt x="59" y="19"/>
                    </a:cubicBezTo>
                    <a:cubicBezTo>
                      <a:pt x="59" y="20"/>
                      <a:pt x="59" y="20"/>
                      <a:pt x="59" y="20"/>
                    </a:cubicBezTo>
                    <a:cubicBezTo>
                      <a:pt x="60" y="20"/>
                      <a:pt x="61" y="22"/>
                      <a:pt x="61" y="24"/>
                    </a:cubicBezTo>
                    <a:cubicBezTo>
                      <a:pt x="61" y="25"/>
                      <a:pt x="60" y="25"/>
                      <a:pt x="60" y="26"/>
                    </a:cubicBezTo>
                    <a:cubicBezTo>
                      <a:pt x="62" y="27"/>
                      <a:pt x="63" y="29"/>
                      <a:pt x="66" y="29"/>
                    </a:cubicBezTo>
                    <a:cubicBezTo>
                      <a:pt x="68" y="30"/>
                      <a:pt x="70" y="29"/>
                      <a:pt x="73" y="30"/>
                    </a:cubicBezTo>
                    <a:cubicBezTo>
                      <a:pt x="68" y="31"/>
                      <a:pt x="64" y="31"/>
                      <a:pt x="60" y="32"/>
                    </a:cubicBezTo>
                    <a:cubicBezTo>
                      <a:pt x="58" y="32"/>
                      <a:pt x="53" y="33"/>
                      <a:pt x="52" y="35"/>
                    </a:cubicBezTo>
                    <a:cubicBezTo>
                      <a:pt x="54" y="35"/>
                      <a:pt x="57" y="35"/>
                      <a:pt x="59" y="37"/>
                    </a:cubicBezTo>
                    <a:cubicBezTo>
                      <a:pt x="57" y="38"/>
                      <a:pt x="55" y="39"/>
                      <a:pt x="53" y="39"/>
                    </a:cubicBezTo>
                    <a:cubicBezTo>
                      <a:pt x="52" y="39"/>
                      <a:pt x="50" y="38"/>
                      <a:pt x="48" y="38"/>
                    </a:cubicBezTo>
                    <a:cubicBezTo>
                      <a:pt x="45" y="38"/>
                      <a:pt x="43" y="38"/>
                      <a:pt x="40" y="38"/>
                    </a:cubicBezTo>
                    <a:cubicBezTo>
                      <a:pt x="38" y="38"/>
                      <a:pt x="37" y="38"/>
                      <a:pt x="35" y="38"/>
                    </a:cubicBezTo>
                    <a:cubicBezTo>
                      <a:pt x="36" y="34"/>
                      <a:pt x="35" y="35"/>
                      <a:pt x="32" y="35"/>
                    </a:cubicBezTo>
                    <a:cubicBezTo>
                      <a:pt x="33" y="36"/>
                      <a:pt x="34" y="37"/>
                      <a:pt x="35" y="38"/>
                    </a:cubicBezTo>
                    <a:cubicBezTo>
                      <a:pt x="33" y="39"/>
                      <a:pt x="31" y="39"/>
                      <a:pt x="30" y="39"/>
                    </a:cubicBezTo>
                    <a:cubicBezTo>
                      <a:pt x="29" y="39"/>
                      <a:pt x="29" y="39"/>
                      <a:pt x="28" y="39"/>
                    </a:cubicBezTo>
                    <a:cubicBezTo>
                      <a:pt x="27" y="39"/>
                      <a:pt x="26" y="39"/>
                      <a:pt x="25" y="37"/>
                    </a:cubicBezTo>
                    <a:cubicBezTo>
                      <a:pt x="24" y="37"/>
                      <a:pt x="24" y="36"/>
                      <a:pt x="23" y="36"/>
                    </a:cubicBezTo>
                    <a:cubicBezTo>
                      <a:pt x="23" y="36"/>
                      <a:pt x="23" y="36"/>
                      <a:pt x="22" y="36"/>
                    </a:cubicBezTo>
                    <a:cubicBezTo>
                      <a:pt x="18" y="38"/>
                      <a:pt x="14" y="39"/>
                      <a:pt x="10" y="41"/>
                    </a:cubicBezTo>
                    <a:cubicBezTo>
                      <a:pt x="7" y="42"/>
                      <a:pt x="3" y="45"/>
                      <a:pt x="2" y="48"/>
                    </a:cubicBezTo>
                    <a:cubicBezTo>
                      <a:pt x="1" y="50"/>
                      <a:pt x="2" y="53"/>
                      <a:pt x="2" y="55"/>
                    </a:cubicBezTo>
                    <a:cubicBezTo>
                      <a:pt x="2" y="56"/>
                      <a:pt x="1" y="56"/>
                      <a:pt x="1" y="57"/>
                    </a:cubicBezTo>
                    <a:cubicBezTo>
                      <a:pt x="1" y="58"/>
                      <a:pt x="0" y="58"/>
                      <a:pt x="0" y="58"/>
                    </a:cubicBezTo>
                    <a:cubicBezTo>
                      <a:pt x="1" y="59"/>
                      <a:pt x="1" y="59"/>
                      <a:pt x="1" y="59"/>
                    </a:cubicBezTo>
                    <a:cubicBezTo>
                      <a:pt x="3" y="59"/>
                      <a:pt x="5" y="58"/>
                      <a:pt x="6" y="58"/>
                    </a:cubicBezTo>
                    <a:cubicBezTo>
                      <a:pt x="10" y="57"/>
                      <a:pt x="13" y="57"/>
                      <a:pt x="17" y="57"/>
                    </a:cubicBezTo>
                    <a:cubicBezTo>
                      <a:pt x="15" y="59"/>
                      <a:pt x="13" y="61"/>
                      <a:pt x="11" y="62"/>
                    </a:cubicBezTo>
                    <a:cubicBezTo>
                      <a:pt x="12" y="63"/>
                      <a:pt x="13" y="64"/>
                      <a:pt x="14" y="65"/>
                    </a:cubicBezTo>
                    <a:cubicBezTo>
                      <a:pt x="14" y="66"/>
                      <a:pt x="14" y="68"/>
                      <a:pt x="14" y="69"/>
                    </a:cubicBezTo>
                    <a:cubicBezTo>
                      <a:pt x="15" y="71"/>
                      <a:pt x="17" y="70"/>
                      <a:pt x="19" y="71"/>
                    </a:cubicBezTo>
                    <a:cubicBezTo>
                      <a:pt x="18" y="73"/>
                      <a:pt x="17" y="75"/>
                      <a:pt x="14" y="75"/>
                    </a:cubicBezTo>
                    <a:cubicBezTo>
                      <a:pt x="14" y="75"/>
                      <a:pt x="14" y="75"/>
                      <a:pt x="14" y="75"/>
                    </a:cubicBezTo>
                    <a:cubicBezTo>
                      <a:pt x="14" y="75"/>
                      <a:pt x="14" y="75"/>
                      <a:pt x="14" y="75"/>
                    </a:cubicBezTo>
                    <a:cubicBezTo>
                      <a:pt x="13" y="75"/>
                      <a:pt x="13" y="75"/>
                      <a:pt x="13" y="75"/>
                    </a:cubicBezTo>
                    <a:cubicBezTo>
                      <a:pt x="13" y="79"/>
                      <a:pt x="17" y="81"/>
                      <a:pt x="20" y="82"/>
                    </a:cubicBezTo>
                    <a:cubicBezTo>
                      <a:pt x="18" y="82"/>
                      <a:pt x="17" y="83"/>
                      <a:pt x="16" y="83"/>
                    </a:cubicBezTo>
                    <a:cubicBezTo>
                      <a:pt x="14" y="83"/>
                      <a:pt x="13" y="82"/>
                      <a:pt x="11" y="82"/>
                    </a:cubicBezTo>
                    <a:cubicBezTo>
                      <a:pt x="10" y="81"/>
                      <a:pt x="10" y="80"/>
                      <a:pt x="10" y="79"/>
                    </a:cubicBezTo>
                    <a:cubicBezTo>
                      <a:pt x="10" y="78"/>
                      <a:pt x="9" y="78"/>
                      <a:pt x="9" y="77"/>
                    </a:cubicBezTo>
                    <a:cubicBezTo>
                      <a:pt x="8" y="77"/>
                      <a:pt x="8" y="77"/>
                      <a:pt x="8" y="77"/>
                    </a:cubicBezTo>
                    <a:cubicBezTo>
                      <a:pt x="7" y="77"/>
                      <a:pt x="7" y="78"/>
                      <a:pt x="8" y="80"/>
                    </a:cubicBezTo>
                    <a:cubicBezTo>
                      <a:pt x="8" y="81"/>
                      <a:pt x="8" y="83"/>
                      <a:pt x="7" y="84"/>
                    </a:cubicBezTo>
                    <a:cubicBezTo>
                      <a:pt x="7" y="84"/>
                      <a:pt x="7" y="84"/>
                      <a:pt x="6" y="84"/>
                    </a:cubicBezTo>
                    <a:cubicBezTo>
                      <a:pt x="6" y="84"/>
                      <a:pt x="6" y="84"/>
                      <a:pt x="6" y="84"/>
                    </a:cubicBezTo>
                    <a:cubicBezTo>
                      <a:pt x="6" y="84"/>
                      <a:pt x="6" y="84"/>
                      <a:pt x="6" y="84"/>
                    </a:cubicBezTo>
                    <a:cubicBezTo>
                      <a:pt x="6" y="84"/>
                      <a:pt x="5" y="84"/>
                      <a:pt x="5" y="84"/>
                    </a:cubicBezTo>
                    <a:cubicBezTo>
                      <a:pt x="4" y="83"/>
                      <a:pt x="4" y="83"/>
                      <a:pt x="4" y="83"/>
                    </a:cubicBezTo>
                    <a:cubicBezTo>
                      <a:pt x="5" y="84"/>
                      <a:pt x="4" y="85"/>
                      <a:pt x="3" y="85"/>
                    </a:cubicBezTo>
                    <a:cubicBezTo>
                      <a:pt x="6" y="86"/>
                      <a:pt x="8" y="87"/>
                      <a:pt x="10" y="87"/>
                    </a:cubicBezTo>
                    <a:cubicBezTo>
                      <a:pt x="10" y="87"/>
                      <a:pt x="11" y="87"/>
                      <a:pt x="11" y="87"/>
                    </a:cubicBezTo>
                    <a:cubicBezTo>
                      <a:pt x="11" y="87"/>
                      <a:pt x="11" y="87"/>
                      <a:pt x="11" y="87"/>
                    </a:cubicBezTo>
                    <a:cubicBezTo>
                      <a:pt x="14" y="87"/>
                      <a:pt x="17" y="90"/>
                      <a:pt x="20" y="91"/>
                    </a:cubicBezTo>
                    <a:cubicBezTo>
                      <a:pt x="22" y="91"/>
                      <a:pt x="25" y="94"/>
                      <a:pt x="23" y="97"/>
                    </a:cubicBezTo>
                    <a:cubicBezTo>
                      <a:pt x="22" y="98"/>
                      <a:pt x="19" y="98"/>
                      <a:pt x="18" y="99"/>
                    </a:cubicBezTo>
                    <a:cubicBezTo>
                      <a:pt x="21" y="100"/>
                      <a:pt x="23" y="102"/>
                      <a:pt x="22" y="105"/>
                    </a:cubicBezTo>
                    <a:cubicBezTo>
                      <a:pt x="24" y="106"/>
                      <a:pt x="28" y="105"/>
                      <a:pt x="29" y="107"/>
                    </a:cubicBezTo>
                    <a:cubicBezTo>
                      <a:pt x="30" y="108"/>
                      <a:pt x="29" y="111"/>
                      <a:pt x="27" y="111"/>
                    </a:cubicBezTo>
                    <a:cubicBezTo>
                      <a:pt x="27" y="111"/>
                      <a:pt x="27" y="111"/>
                      <a:pt x="27" y="111"/>
                    </a:cubicBezTo>
                    <a:cubicBezTo>
                      <a:pt x="26" y="111"/>
                      <a:pt x="26" y="111"/>
                      <a:pt x="25" y="111"/>
                    </a:cubicBezTo>
                    <a:cubicBezTo>
                      <a:pt x="25" y="111"/>
                      <a:pt x="25" y="110"/>
                      <a:pt x="24" y="110"/>
                    </a:cubicBezTo>
                    <a:cubicBezTo>
                      <a:pt x="24" y="110"/>
                      <a:pt x="24" y="110"/>
                      <a:pt x="24" y="110"/>
                    </a:cubicBezTo>
                    <a:cubicBezTo>
                      <a:pt x="23" y="111"/>
                      <a:pt x="22" y="112"/>
                      <a:pt x="23" y="114"/>
                    </a:cubicBezTo>
                    <a:cubicBezTo>
                      <a:pt x="23" y="114"/>
                      <a:pt x="24" y="114"/>
                      <a:pt x="24" y="114"/>
                    </a:cubicBezTo>
                    <a:cubicBezTo>
                      <a:pt x="30" y="114"/>
                      <a:pt x="37" y="112"/>
                      <a:pt x="43" y="112"/>
                    </a:cubicBezTo>
                    <a:cubicBezTo>
                      <a:pt x="40" y="114"/>
                      <a:pt x="39" y="117"/>
                      <a:pt x="35" y="117"/>
                    </a:cubicBezTo>
                    <a:cubicBezTo>
                      <a:pt x="34" y="117"/>
                      <a:pt x="33" y="118"/>
                      <a:pt x="32" y="118"/>
                    </a:cubicBezTo>
                    <a:cubicBezTo>
                      <a:pt x="31" y="118"/>
                      <a:pt x="30" y="118"/>
                      <a:pt x="29" y="118"/>
                    </a:cubicBezTo>
                    <a:cubicBezTo>
                      <a:pt x="27" y="119"/>
                      <a:pt x="26" y="120"/>
                      <a:pt x="25" y="120"/>
                    </a:cubicBezTo>
                    <a:cubicBezTo>
                      <a:pt x="25" y="120"/>
                      <a:pt x="26" y="120"/>
                      <a:pt x="27" y="120"/>
                    </a:cubicBezTo>
                    <a:cubicBezTo>
                      <a:pt x="30" y="120"/>
                      <a:pt x="38" y="118"/>
                      <a:pt x="39" y="117"/>
                    </a:cubicBezTo>
                    <a:cubicBezTo>
                      <a:pt x="38" y="118"/>
                      <a:pt x="37" y="119"/>
                      <a:pt x="37" y="120"/>
                    </a:cubicBezTo>
                    <a:cubicBezTo>
                      <a:pt x="37" y="120"/>
                      <a:pt x="37" y="120"/>
                      <a:pt x="37" y="120"/>
                    </a:cubicBezTo>
                    <a:cubicBezTo>
                      <a:pt x="38" y="120"/>
                      <a:pt x="38" y="120"/>
                      <a:pt x="38" y="121"/>
                    </a:cubicBezTo>
                    <a:cubicBezTo>
                      <a:pt x="39" y="121"/>
                      <a:pt x="39" y="121"/>
                      <a:pt x="39" y="121"/>
                    </a:cubicBezTo>
                    <a:cubicBezTo>
                      <a:pt x="38" y="122"/>
                      <a:pt x="37" y="122"/>
                      <a:pt x="36" y="122"/>
                    </a:cubicBezTo>
                    <a:cubicBezTo>
                      <a:pt x="36" y="123"/>
                      <a:pt x="37" y="123"/>
                      <a:pt x="37" y="123"/>
                    </a:cubicBezTo>
                    <a:cubicBezTo>
                      <a:pt x="37" y="123"/>
                      <a:pt x="42" y="119"/>
                      <a:pt x="42" y="119"/>
                    </a:cubicBezTo>
                    <a:cubicBezTo>
                      <a:pt x="43" y="117"/>
                      <a:pt x="44" y="117"/>
                      <a:pt x="45" y="117"/>
                    </a:cubicBezTo>
                    <a:cubicBezTo>
                      <a:pt x="46" y="117"/>
                      <a:pt x="47" y="117"/>
                      <a:pt x="48" y="117"/>
                    </a:cubicBezTo>
                    <a:cubicBezTo>
                      <a:pt x="50" y="118"/>
                      <a:pt x="48" y="120"/>
                      <a:pt x="51" y="120"/>
                    </a:cubicBezTo>
                    <a:cubicBezTo>
                      <a:pt x="53" y="120"/>
                      <a:pt x="53" y="122"/>
                      <a:pt x="53" y="122"/>
                    </a:cubicBezTo>
                    <a:cubicBezTo>
                      <a:pt x="54" y="122"/>
                      <a:pt x="54" y="121"/>
                      <a:pt x="55" y="119"/>
                    </a:cubicBezTo>
                    <a:cubicBezTo>
                      <a:pt x="56" y="121"/>
                      <a:pt x="59" y="128"/>
                      <a:pt x="62" y="129"/>
                    </a:cubicBezTo>
                    <a:cubicBezTo>
                      <a:pt x="65" y="130"/>
                      <a:pt x="68" y="131"/>
                      <a:pt x="71" y="132"/>
                    </a:cubicBezTo>
                    <a:cubicBezTo>
                      <a:pt x="71" y="132"/>
                      <a:pt x="71" y="132"/>
                      <a:pt x="71" y="132"/>
                    </a:cubicBezTo>
                    <a:cubicBezTo>
                      <a:pt x="73" y="132"/>
                      <a:pt x="76" y="130"/>
                      <a:pt x="77" y="130"/>
                    </a:cubicBezTo>
                    <a:cubicBezTo>
                      <a:pt x="78" y="129"/>
                      <a:pt x="79" y="128"/>
                      <a:pt x="79" y="128"/>
                    </a:cubicBezTo>
                    <a:cubicBezTo>
                      <a:pt x="80" y="128"/>
                      <a:pt x="81" y="130"/>
                      <a:pt x="82" y="130"/>
                    </a:cubicBezTo>
                    <a:cubicBezTo>
                      <a:pt x="82" y="130"/>
                      <a:pt x="82" y="130"/>
                      <a:pt x="82" y="130"/>
                    </a:cubicBezTo>
                    <a:cubicBezTo>
                      <a:pt x="83" y="130"/>
                      <a:pt x="84" y="130"/>
                      <a:pt x="85" y="128"/>
                    </a:cubicBezTo>
                    <a:cubicBezTo>
                      <a:pt x="85" y="125"/>
                      <a:pt x="85" y="119"/>
                      <a:pt x="87" y="117"/>
                    </a:cubicBezTo>
                    <a:cubicBezTo>
                      <a:pt x="87" y="116"/>
                      <a:pt x="88" y="116"/>
                      <a:pt x="89" y="116"/>
                    </a:cubicBezTo>
                    <a:cubicBezTo>
                      <a:pt x="89" y="116"/>
                      <a:pt x="90" y="116"/>
                      <a:pt x="90" y="116"/>
                    </a:cubicBezTo>
                    <a:cubicBezTo>
                      <a:pt x="95" y="117"/>
                      <a:pt x="99" y="118"/>
                      <a:pt x="104" y="120"/>
                    </a:cubicBezTo>
                    <a:cubicBezTo>
                      <a:pt x="108" y="121"/>
                      <a:pt x="112" y="124"/>
                      <a:pt x="117" y="127"/>
                    </a:cubicBezTo>
                    <a:cubicBezTo>
                      <a:pt x="120" y="129"/>
                      <a:pt x="122" y="133"/>
                      <a:pt x="126" y="133"/>
                    </a:cubicBezTo>
                    <a:cubicBezTo>
                      <a:pt x="126" y="133"/>
                      <a:pt x="126" y="133"/>
                      <a:pt x="126" y="133"/>
                    </a:cubicBezTo>
                    <a:cubicBezTo>
                      <a:pt x="131" y="133"/>
                      <a:pt x="136" y="132"/>
                      <a:pt x="142" y="132"/>
                    </a:cubicBezTo>
                    <a:cubicBezTo>
                      <a:pt x="142" y="132"/>
                      <a:pt x="142" y="132"/>
                      <a:pt x="142" y="132"/>
                    </a:cubicBezTo>
                    <a:cubicBezTo>
                      <a:pt x="142" y="132"/>
                      <a:pt x="142" y="132"/>
                      <a:pt x="142" y="132"/>
                    </a:cubicBezTo>
                    <a:cubicBezTo>
                      <a:pt x="147" y="132"/>
                      <a:pt x="150" y="131"/>
                      <a:pt x="153" y="127"/>
                    </a:cubicBezTo>
                    <a:cubicBezTo>
                      <a:pt x="157" y="122"/>
                      <a:pt x="161" y="120"/>
                      <a:pt x="167" y="118"/>
                    </a:cubicBezTo>
                    <a:cubicBezTo>
                      <a:pt x="166" y="118"/>
                      <a:pt x="173" y="121"/>
                      <a:pt x="173" y="121"/>
                    </a:cubicBezTo>
                    <a:cubicBezTo>
                      <a:pt x="174" y="122"/>
                      <a:pt x="175" y="122"/>
                      <a:pt x="175" y="122"/>
                    </a:cubicBezTo>
                    <a:cubicBezTo>
                      <a:pt x="175" y="122"/>
                      <a:pt x="176" y="123"/>
                      <a:pt x="177" y="123"/>
                    </a:cubicBezTo>
                    <a:cubicBezTo>
                      <a:pt x="177" y="123"/>
                      <a:pt x="177" y="123"/>
                      <a:pt x="177" y="123"/>
                    </a:cubicBezTo>
                    <a:cubicBezTo>
                      <a:pt x="179" y="123"/>
                      <a:pt x="181" y="121"/>
                      <a:pt x="183" y="119"/>
                    </a:cubicBezTo>
                    <a:cubicBezTo>
                      <a:pt x="185" y="118"/>
                      <a:pt x="187" y="116"/>
                      <a:pt x="189" y="116"/>
                    </a:cubicBezTo>
                    <a:cubicBezTo>
                      <a:pt x="189" y="116"/>
                      <a:pt x="189" y="116"/>
                      <a:pt x="189" y="116"/>
                    </a:cubicBezTo>
                    <a:cubicBezTo>
                      <a:pt x="198" y="116"/>
                      <a:pt x="189" y="125"/>
                      <a:pt x="187" y="128"/>
                    </a:cubicBezTo>
                    <a:cubicBezTo>
                      <a:pt x="185" y="131"/>
                      <a:pt x="188" y="132"/>
                      <a:pt x="189" y="135"/>
                    </a:cubicBezTo>
                    <a:cubicBezTo>
                      <a:pt x="189" y="135"/>
                      <a:pt x="189" y="135"/>
                      <a:pt x="189" y="135"/>
                    </a:cubicBezTo>
                    <a:cubicBezTo>
                      <a:pt x="190" y="135"/>
                      <a:pt x="190" y="135"/>
                      <a:pt x="191" y="136"/>
                    </a:cubicBezTo>
                    <a:cubicBezTo>
                      <a:pt x="191" y="135"/>
                      <a:pt x="192" y="135"/>
                      <a:pt x="192" y="134"/>
                    </a:cubicBezTo>
                    <a:cubicBezTo>
                      <a:pt x="193" y="134"/>
                      <a:pt x="193" y="134"/>
                      <a:pt x="193" y="134"/>
                    </a:cubicBezTo>
                    <a:cubicBezTo>
                      <a:pt x="194" y="133"/>
                      <a:pt x="194" y="133"/>
                      <a:pt x="194" y="133"/>
                    </a:cubicBezTo>
                    <a:cubicBezTo>
                      <a:pt x="194" y="133"/>
                      <a:pt x="194" y="133"/>
                      <a:pt x="194" y="133"/>
                    </a:cubicBezTo>
                    <a:cubicBezTo>
                      <a:pt x="195" y="132"/>
                      <a:pt x="195" y="132"/>
                      <a:pt x="195" y="132"/>
                    </a:cubicBezTo>
                    <a:cubicBezTo>
                      <a:pt x="195" y="132"/>
                      <a:pt x="195" y="131"/>
                      <a:pt x="195" y="131"/>
                    </a:cubicBezTo>
                    <a:cubicBezTo>
                      <a:pt x="195" y="130"/>
                      <a:pt x="195" y="130"/>
                      <a:pt x="196" y="129"/>
                    </a:cubicBezTo>
                    <a:cubicBezTo>
                      <a:pt x="196" y="129"/>
                      <a:pt x="196" y="129"/>
                      <a:pt x="197" y="128"/>
                    </a:cubicBezTo>
                    <a:cubicBezTo>
                      <a:pt x="197" y="128"/>
                      <a:pt x="198" y="128"/>
                      <a:pt x="198" y="127"/>
                    </a:cubicBezTo>
                    <a:cubicBezTo>
                      <a:pt x="198" y="127"/>
                      <a:pt x="198" y="126"/>
                      <a:pt x="198" y="125"/>
                    </a:cubicBezTo>
                    <a:cubicBezTo>
                      <a:pt x="198" y="122"/>
                      <a:pt x="199" y="119"/>
                      <a:pt x="199" y="117"/>
                    </a:cubicBezTo>
                    <a:cubicBezTo>
                      <a:pt x="201" y="113"/>
                      <a:pt x="201" y="113"/>
                      <a:pt x="201" y="113"/>
                    </a:cubicBezTo>
                    <a:cubicBezTo>
                      <a:pt x="210" y="119"/>
                      <a:pt x="210" y="119"/>
                      <a:pt x="210" y="119"/>
                    </a:cubicBezTo>
                    <a:cubicBezTo>
                      <a:pt x="210" y="119"/>
                      <a:pt x="210" y="119"/>
                      <a:pt x="211" y="119"/>
                    </a:cubicBezTo>
                    <a:cubicBezTo>
                      <a:pt x="212" y="119"/>
                      <a:pt x="212" y="119"/>
                      <a:pt x="213" y="119"/>
                    </a:cubicBezTo>
                    <a:cubicBezTo>
                      <a:pt x="215" y="118"/>
                      <a:pt x="215" y="118"/>
                      <a:pt x="215" y="118"/>
                    </a:cubicBezTo>
                    <a:cubicBezTo>
                      <a:pt x="218" y="118"/>
                      <a:pt x="222" y="117"/>
                      <a:pt x="227" y="115"/>
                    </a:cubicBezTo>
                    <a:cubicBezTo>
                      <a:pt x="228" y="114"/>
                      <a:pt x="228" y="114"/>
                      <a:pt x="228" y="114"/>
                    </a:cubicBezTo>
                    <a:cubicBezTo>
                      <a:pt x="230" y="114"/>
                      <a:pt x="231" y="113"/>
                      <a:pt x="232" y="113"/>
                    </a:cubicBezTo>
                    <a:cubicBezTo>
                      <a:pt x="233" y="113"/>
                      <a:pt x="233" y="113"/>
                      <a:pt x="235" y="114"/>
                    </a:cubicBezTo>
                    <a:cubicBezTo>
                      <a:pt x="239" y="114"/>
                      <a:pt x="239" y="114"/>
                      <a:pt x="239" y="114"/>
                    </a:cubicBezTo>
                    <a:cubicBezTo>
                      <a:pt x="240" y="115"/>
                      <a:pt x="240" y="115"/>
                      <a:pt x="241" y="116"/>
                    </a:cubicBezTo>
                    <a:cubicBezTo>
                      <a:pt x="241" y="116"/>
                      <a:pt x="241" y="116"/>
                      <a:pt x="241" y="116"/>
                    </a:cubicBezTo>
                    <a:cubicBezTo>
                      <a:pt x="241" y="116"/>
                      <a:pt x="241" y="116"/>
                      <a:pt x="241" y="116"/>
                    </a:cubicBezTo>
                    <a:cubicBezTo>
                      <a:pt x="242" y="116"/>
                      <a:pt x="242" y="116"/>
                      <a:pt x="242" y="116"/>
                    </a:cubicBezTo>
                    <a:cubicBezTo>
                      <a:pt x="245" y="117"/>
                      <a:pt x="249" y="118"/>
                      <a:pt x="252" y="118"/>
                    </a:cubicBezTo>
                    <a:cubicBezTo>
                      <a:pt x="253" y="118"/>
                      <a:pt x="253" y="118"/>
                      <a:pt x="254" y="117"/>
                    </a:cubicBezTo>
                    <a:cubicBezTo>
                      <a:pt x="255" y="117"/>
                      <a:pt x="255" y="117"/>
                      <a:pt x="255" y="117"/>
                    </a:cubicBezTo>
                    <a:cubicBezTo>
                      <a:pt x="255" y="118"/>
                      <a:pt x="255" y="118"/>
                      <a:pt x="255" y="118"/>
                    </a:cubicBezTo>
                    <a:cubicBezTo>
                      <a:pt x="255" y="117"/>
                      <a:pt x="255" y="117"/>
                      <a:pt x="255" y="117"/>
                    </a:cubicBezTo>
                    <a:cubicBezTo>
                      <a:pt x="259" y="117"/>
                      <a:pt x="262" y="115"/>
                      <a:pt x="266" y="114"/>
                    </a:cubicBezTo>
                    <a:cubicBezTo>
                      <a:pt x="269" y="113"/>
                      <a:pt x="269" y="113"/>
                      <a:pt x="269" y="113"/>
                    </a:cubicBezTo>
                    <a:cubicBezTo>
                      <a:pt x="270" y="113"/>
                      <a:pt x="270" y="113"/>
                      <a:pt x="271" y="112"/>
                    </a:cubicBezTo>
                    <a:cubicBezTo>
                      <a:pt x="271" y="112"/>
                      <a:pt x="272" y="112"/>
                      <a:pt x="273" y="111"/>
                    </a:cubicBezTo>
                    <a:cubicBezTo>
                      <a:pt x="273" y="111"/>
                      <a:pt x="273" y="111"/>
                      <a:pt x="273" y="111"/>
                    </a:cubicBezTo>
                    <a:cubicBezTo>
                      <a:pt x="276" y="110"/>
                      <a:pt x="279" y="108"/>
                      <a:pt x="282" y="108"/>
                    </a:cubicBezTo>
                    <a:cubicBezTo>
                      <a:pt x="282" y="108"/>
                      <a:pt x="282" y="108"/>
                      <a:pt x="282" y="108"/>
                    </a:cubicBezTo>
                    <a:cubicBezTo>
                      <a:pt x="284" y="108"/>
                      <a:pt x="285" y="108"/>
                      <a:pt x="286" y="108"/>
                    </a:cubicBezTo>
                    <a:cubicBezTo>
                      <a:pt x="292" y="108"/>
                      <a:pt x="297" y="108"/>
                      <a:pt x="302" y="107"/>
                    </a:cubicBezTo>
                    <a:cubicBezTo>
                      <a:pt x="305" y="106"/>
                      <a:pt x="307" y="106"/>
                      <a:pt x="309" y="105"/>
                    </a:cubicBezTo>
                    <a:cubicBezTo>
                      <a:pt x="311" y="105"/>
                      <a:pt x="311" y="105"/>
                      <a:pt x="311" y="105"/>
                    </a:cubicBezTo>
                    <a:cubicBezTo>
                      <a:pt x="312" y="107"/>
                      <a:pt x="312" y="107"/>
                      <a:pt x="312" y="107"/>
                    </a:cubicBezTo>
                    <a:cubicBezTo>
                      <a:pt x="315" y="104"/>
                      <a:pt x="318" y="103"/>
                      <a:pt x="323" y="102"/>
                    </a:cubicBezTo>
                    <a:cubicBezTo>
                      <a:pt x="324" y="103"/>
                      <a:pt x="324" y="103"/>
                      <a:pt x="324" y="103"/>
                    </a:cubicBezTo>
                    <a:cubicBezTo>
                      <a:pt x="324" y="103"/>
                      <a:pt x="325" y="103"/>
                      <a:pt x="325" y="103"/>
                    </a:cubicBezTo>
                    <a:cubicBezTo>
                      <a:pt x="325" y="103"/>
                      <a:pt x="325" y="103"/>
                      <a:pt x="325" y="103"/>
                    </a:cubicBezTo>
                    <a:cubicBezTo>
                      <a:pt x="325" y="103"/>
                      <a:pt x="325" y="103"/>
                      <a:pt x="325" y="103"/>
                    </a:cubicBezTo>
                    <a:cubicBezTo>
                      <a:pt x="326" y="104"/>
                      <a:pt x="326" y="104"/>
                      <a:pt x="326" y="104"/>
                    </a:cubicBezTo>
                    <a:cubicBezTo>
                      <a:pt x="326" y="103"/>
                      <a:pt x="326" y="103"/>
                      <a:pt x="326" y="103"/>
                    </a:cubicBezTo>
                    <a:cubicBezTo>
                      <a:pt x="327" y="103"/>
                      <a:pt x="327" y="103"/>
                      <a:pt x="328" y="103"/>
                    </a:cubicBezTo>
                    <a:cubicBezTo>
                      <a:pt x="331" y="104"/>
                      <a:pt x="331" y="104"/>
                      <a:pt x="331" y="104"/>
                    </a:cubicBezTo>
                    <a:cubicBezTo>
                      <a:pt x="334" y="104"/>
                      <a:pt x="336" y="105"/>
                      <a:pt x="338" y="105"/>
                    </a:cubicBezTo>
                    <a:cubicBezTo>
                      <a:pt x="339" y="105"/>
                      <a:pt x="340" y="105"/>
                      <a:pt x="341" y="104"/>
                    </a:cubicBezTo>
                    <a:cubicBezTo>
                      <a:pt x="342" y="104"/>
                      <a:pt x="343" y="104"/>
                      <a:pt x="343" y="104"/>
                    </a:cubicBezTo>
                    <a:cubicBezTo>
                      <a:pt x="347" y="104"/>
                      <a:pt x="348" y="107"/>
                      <a:pt x="349" y="108"/>
                    </a:cubicBezTo>
                    <a:cubicBezTo>
                      <a:pt x="349" y="109"/>
                      <a:pt x="349" y="109"/>
                      <a:pt x="349" y="109"/>
                    </a:cubicBezTo>
                    <a:cubicBezTo>
                      <a:pt x="349" y="110"/>
                      <a:pt x="349" y="110"/>
                      <a:pt x="349" y="110"/>
                    </a:cubicBezTo>
                    <a:cubicBezTo>
                      <a:pt x="350" y="111"/>
                      <a:pt x="350" y="111"/>
                      <a:pt x="350" y="111"/>
                    </a:cubicBezTo>
                    <a:cubicBezTo>
                      <a:pt x="350" y="110"/>
                      <a:pt x="350" y="110"/>
                      <a:pt x="350" y="110"/>
                    </a:cubicBezTo>
                    <a:cubicBezTo>
                      <a:pt x="351" y="110"/>
                      <a:pt x="352" y="109"/>
                      <a:pt x="353" y="109"/>
                    </a:cubicBezTo>
                    <a:cubicBezTo>
                      <a:pt x="355" y="108"/>
                      <a:pt x="355" y="108"/>
                      <a:pt x="355" y="108"/>
                    </a:cubicBezTo>
                    <a:cubicBezTo>
                      <a:pt x="355" y="108"/>
                      <a:pt x="355" y="108"/>
                      <a:pt x="355" y="108"/>
                    </a:cubicBezTo>
                    <a:cubicBezTo>
                      <a:pt x="355" y="107"/>
                      <a:pt x="355" y="107"/>
                      <a:pt x="355" y="107"/>
                    </a:cubicBezTo>
                    <a:cubicBezTo>
                      <a:pt x="355" y="107"/>
                      <a:pt x="355" y="107"/>
                      <a:pt x="355" y="107"/>
                    </a:cubicBezTo>
                    <a:cubicBezTo>
                      <a:pt x="355" y="107"/>
                      <a:pt x="355" y="107"/>
                      <a:pt x="355" y="107"/>
                    </a:cubicBezTo>
                    <a:cubicBezTo>
                      <a:pt x="354" y="107"/>
                      <a:pt x="354" y="107"/>
                      <a:pt x="354" y="107"/>
                    </a:cubicBezTo>
                    <a:cubicBezTo>
                      <a:pt x="353" y="106"/>
                      <a:pt x="353" y="106"/>
                      <a:pt x="353" y="106"/>
                    </a:cubicBezTo>
                    <a:cubicBezTo>
                      <a:pt x="353" y="105"/>
                      <a:pt x="352" y="105"/>
                      <a:pt x="352" y="105"/>
                    </a:cubicBezTo>
                    <a:cubicBezTo>
                      <a:pt x="351" y="104"/>
                      <a:pt x="351" y="104"/>
                      <a:pt x="351" y="104"/>
                    </a:cubicBezTo>
                    <a:cubicBezTo>
                      <a:pt x="351" y="102"/>
                      <a:pt x="351" y="101"/>
                      <a:pt x="351" y="99"/>
                    </a:cubicBezTo>
                    <a:cubicBezTo>
                      <a:pt x="351" y="99"/>
                      <a:pt x="351" y="99"/>
                      <a:pt x="351" y="99"/>
                    </a:cubicBezTo>
                    <a:cubicBezTo>
                      <a:pt x="351" y="98"/>
                      <a:pt x="351" y="98"/>
                      <a:pt x="351" y="98"/>
                    </a:cubicBezTo>
                    <a:cubicBezTo>
                      <a:pt x="351" y="98"/>
                      <a:pt x="351" y="98"/>
                      <a:pt x="351" y="98"/>
                    </a:cubicBezTo>
                    <a:cubicBezTo>
                      <a:pt x="351" y="98"/>
                      <a:pt x="351" y="98"/>
                      <a:pt x="351" y="98"/>
                    </a:cubicBezTo>
                    <a:cubicBezTo>
                      <a:pt x="351" y="98"/>
                      <a:pt x="350" y="97"/>
                      <a:pt x="350" y="97"/>
                    </a:cubicBezTo>
                    <a:cubicBezTo>
                      <a:pt x="349" y="97"/>
                      <a:pt x="349" y="97"/>
                      <a:pt x="349" y="97"/>
                    </a:cubicBezTo>
                    <a:cubicBezTo>
                      <a:pt x="348" y="96"/>
                      <a:pt x="348" y="96"/>
                      <a:pt x="348" y="96"/>
                    </a:cubicBezTo>
                    <a:cubicBezTo>
                      <a:pt x="348" y="96"/>
                      <a:pt x="348" y="96"/>
                      <a:pt x="347" y="96"/>
                    </a:cubicBezTo>
                    <a:cubicBezTo>
                      <a:pt x="347" y="96"/>
                      <a:pt x="346" y="95"/>
                      <a:pt x="346" y="95"/>
                    </a:cubicBezTo>
                    <a:cubicBezTo>
                      <a:pt x="345" y="95"/>
                      <a:pt x="345" y="95"/>
                      <a:pt x="345" y="95"/>
                    </a:cubicBezTo>
                    <a:cubicBezTo>
                      <a:pt x="345" y="94"/>
                      <a:pt x="344" y="93"/>
                      <a:pt x="344" y="92"/>
                    </a:cubicBezTo>
                    <a:cubicBezTo>
                      <a:pt x="344" y="92"/>
                      <a:pt x="344" y="91"/>
                      <a:pt x="345" y="90"/>
                    </a:cubicBezTo>
                    <a:cubicBezTo>
                      <a:pt x="345" y="90"/>
                      <a:pt x="345" y="89"/>
                      <a:pt x="346" y="88"/>
                    </a:cubicBezTo>
                    <a:cubicBezTo>
                      <a:pt x="346" y="88"/>
                      <a:pt x="347" y="86"/>
                      <a:pt x="348" y="85"/>
                    </a:cubicBezTo>
                    <a:cubicBezTo>
                      <a:pt x="346" y="86"/>
                      <a:pt x="346" y="86"/>
                      <a:pt x="346" y="86"/>
                    </a:cubicBezTo>
                    <a:cubicBezTo>
                      <a:pt x="346" y="82"/>
                      <a:pt x="346" y="82"/>
                      <a:pt x="346" y="82"/>
                    </a:cubicBezTo>
                    <a:cubicBezTo>
                      <a:pt x="346" y="79"/>
                      <a:pt x="346" y="75"/>
                      <a:pt x="346" y="74"/>
                    </a:cubicBezTo>
                    <a:cubicBezTo>
                      <a:pt x="345" y="74"/>
                      <a:pt x="345" y="74"/>
                      <a:pt x="345" y="74"/>
                    </a:cubicBezTo>
                    <a:cubicBezTo>
                      <a:pt x="345" y="73"/>
                      <a:pt x="345" y="73"/>
                      <a:pt x="345" y="73"/>
                    </a:cubicBezTo>
                    <a:cubicBezTo>
                      <a:pt x="344" y="72"/>
                      <a:pt x="343" y="70"/>
                      <a:pt x="342" y="68"/>
                    </a:cubicBezTo>
                    <a:cubicBezTo>
                      <a:pt x="342" y="67"/>
                      <a:pt x="342" y="66"/>
                      <a:pt x="341" y="65"/>
                    </a:cubicBezTo>
                    <a:cubicBezTo>
                      <a:pt x="340" y="61"/>
                      <a:pt x="340" y="61"/>
                      <a:pt x="340" y="61"/>
                    </a:cubicBezTo>
                    <a:cubicBezTo>
                      <a:pt x="343" y="58"/>
                      <a:pt x="343" y="58"/>
                      <a:pt x="343" y="58"/>
                    </a:cubicBezTo>
                    <a:cubicBezTo>
                      <a:pt x="344" y="58"/>
                      <a:pt x="344" y="58"/>
                      <a:pt x="344" y="58"/>
                    </a:cubicBezTo>
                    <a:cubicBezTo>
                      <a:pt x="346" y="58"/>
                      <a:pt x="348" y="58"/>
                      <a:pt x="348" y="58"/>
                    </a:cubicBezTo>
                    <a:cubicBezTo>
                      <a:pt x="348" y="57"/>
                      <a:pt x="349" y="57"/>
                      <a:pt x="348" y="55"/>
                    </a:cubicBezTo>
                    <a:cubicBezTo>
                      <a:pt x="348" y="54"/>
                      <a:pt x="348" y="51"/>
                      <a:pt x="350" y="51"/>
                    </a:cubicBezTo>
                    <a:cubicBezTo>
                      <a:pt x="348" y="49"/>
                      <a:pt x="348" y="49"/>
                      <a:pt x="345" y="48"/>
                    </a:cubicBezTo>
                    <a:cubicBezTo>
                      <a:pt x="344" y="48"/>
                      <a:pt x="343" y="48"/>
                      <a:pt x="342" y="48"/>
                    </a:cubicBezTo>
                    <a:cubicBezTo>
                      <a:pt x="341" y="48"/>
                      <a:pt x="341" y="48"/>
                      <a:pt x="341" y="48"/>
                    </a:cubicBezTo>
                    <a:cubicBezTo>
                      <a:pt x="339" y="48"/>
                      <a:pt x="337" y="47"/>
                      <a:pt x="336" y="47"/>
                    </a:cubicBezTo>
                    <a:cubicBezTo>
                      <a:pt x="335" y="46"/>
                      <a:pt x="335" y="46"/>
                      <a:pt x="335" y="46"/>
                    </a:cubicBezTo>
                    <a:cubicBezTo>
                      <a:pt x="334" y="46"/>
                      <a:pt x="333" y="45"/>
                      <a:pt x="333" y="44"/>
                    </a:cubicBezTo>
                    <a:cubicBezTo>
                      <a:pt x="333" y="43"/>
                      <a:pt x="333" y="42"/>
                      <a:pt x="334" y="41"/>
                    </a:cubicBezTo>
                    <a:cubicBezTo>
                      <a:pt x="334" y="41"/>
                      <a:pt x="334" y="41"/>
                      <a:pt x="334" y="41"/>
                    </a:cubicBezTo>
                    <a:cubicBezTo>
                      <a:pt x="333" y="41"/>
                      <a:pt x="333" y="41"/>
                      <a:pt x="333" y="40"/>
                    </a:cubicBezTo>
                    <a:cubicBezTo>
                      <a:pt x="331" y="37"/>
                      <a:pt x="331" y="36"/>
                      <a:pt x="331" y="36"/>
                    </a:cubicBezTo>
                    <a:cubicBezTo>
                      <a:pt x="331" y="34"/>
                      <a:pt x="332" y="33"/>
                      <a:pt x="333" y="33"/>
                    </a:cubicBezTo>
                    <a:cubicBezTo>
                      <a:pt x="333" y="33"/>
                      <a:pt x="333" y="33"/>
                      <a:pt x="333" y="33"/>
                    </a:cubicBezTo>
                    <a:cubicBezTo>
                      <a:pt x="333" y="33"/>
                      <a:pt x="333" y="33"/>
                      <a:pt x="333" y="33"/>
                    </a:cubicBezTo>
                    <a:cubicBezTo>
                      <a:pt x="334" y="32"/>
                      <a:pt x="334" y="32"/>
                      <a:pt x="334" y="32"/>
                    </a:cubicBezTo>
                    <a:cubicBezTo>
                      <a:pt x="334" y="31"/>
                      <a:pt x="334" y="31"/>
                      <a:pt x="334" y="31"/>
                    </a:cubicBezTo>
                    <a:cubicBezTo>
                      <a:pt x="334" y="30"/>
                      <a:pt x="334" y="30"/>
                      <a:pt x="333" y="29"/>
                    </a:cubicBezTo>
                    <a:cubicBezTo>
                      <a:pt x="333" y="29"/>
                      <a:pt x="333" y="29"/>
                      <a:pt x="333" y="29"/>
                    </a:cubicBezTo>
                    <a:cubicBezTo>
                      <a:pt x="333" y="28"/>
                      <a:pt x="333" y="28"/>
                      <a:pt x="333" y="28"/>
                    </a:cubicBezTo>
                    <a:cubicBezTo>
                      <a:pt x="333" y="27"/>
                      <a:pt x="333" y="27"/>
                      <a:pt x="333" y="27"/>
                    </a:cubicBezTo>
                    <a:cubicBezTo>
                      <a:pt x="333" y="27"/>
                      <a:pt x="333" y="27"/>
                      <a:pt x="333" y="27"/>
                    </a:cubicBezTo>
                    <a:cubicBezTo>
                      <a:pt x="333" y="27"/>
                      <a:pt x="333" y="27"/>
                      <a:pt x="333" y="27"/>
                    </a:cubicBezTo>
                    <a:cubicBezTo>
                      <a:pt x="333" y="26"/>
                      <a:pt x="332" y="25"/>
                      <a:pt x="332" y="25"/>
                    </a:cubicBezTo>
                    <a:cubicBezTo>
                      <a:pt x="327" y="20"/>
                      <a:pt x="327" y="20"/>
                      <a:pt x="327" y="20"/>
                    </a:cubicBezTo>
                    <a:cubicBezTo>
                      <a:pt x="326" y="20"/>
                      <a:pt x="326" y="20"/>
                      <a:pt x="326" y="20"/>
                    </a:cubicBezTo>
                    <a:cubicBezTo>
                      <a:pt x="325" y="19"/>
                      <a:pt x="324" y="19"/>
                      <a:pt x="324" y="18"/>
                    </a:cubicBezTo>
                    <a:cubicBezTo>
                      <a:pt x="323" y="17"/>
                      <a:pt x="323" y="17"/>
                      <a:pt x="323" y="17"/>
                    </a:cubicBezTo>
                    <a:cubicBezTo>
                      <a:pt x="323" y="17"/>
                      <a:pt x="323" y="17"/>
                      <a:pt x="323" y="17"/>
                    </a:cubicBezTo>
                    <a:cubicBezTo>
                      <a:pt x="322" y="17"/>
                      <a:pt x="322" y="17"/>
                      <a:pt x="322" y="16"/>
                    </a:cubicBezTo>
                    <a:cubicBezTo>
                      <a:pt x="321" y="16"/>
                      <a:pt x="321" y="16"/>
                      <a:pt x="321" y="16"/>
                    </a:cubicBezTo>
                    <a:cubicBezTo>
                      <a:pt x="320" y="15"/>
                      <a:pt x="320" y="15"/>
                      <a:pt x="320" y="15"/>
                    </a:cubicBezTo>
                    <a:cubicBezTo>
                      <a:pt x="320" y="14"/>
                      <a:pt x="320" y="14"/>
                      <a:pt x="320" y="14"/>
                    </a:cubicBezTo>
                    <a:cubicBezTo>
                      <a:pt x="319" y="14"/>
                      <a:pt x="318" y="13"/>
                      <a:pt x="317" y="13"/>
                    </a:cubicBezTo>
                    <a:cubicBezTo>
                      <a:pt x="317" y="13"/>
                      <a:pt x="317" y="13"/>
                      <a:pt x="317" y="13"/>
                    </a:cubicBezTo>
                    <a:cubicBezTo>
                      <a:pt x="316" y="13"/>
                      <a:pt x="316" y="13"/>
                      <a:pt x="316" y="14"/>
                    </a:cubicBezTo>
                    <a:cubicBezTo>
                      <a:pt x="315" y="17"/>
                      <a:pt x="315" y="17"/>
                      <a:pt x="315" y="17"/>
                    </a:cubicBezTo>
                    <a:cubicBezTo>
                      <a:pt x="313" y="16"/>
                      <a:pt x="313" y="16"/>
                      <a:pt x="313" y="16"/>
                    </a:cubicBezTo>
                    <a:cubicBezTo>
                      <a:pt x="311" y="16"/>
                      <a:pt x="309" y="16"/>
                      <a:pt x="306" y="15"/>
                    </a:cubicBezTo>
                    <a:cubicBezTo>
                      <a:pt x="304" y="15"/>
                      <a:pt x="304" y="15"/>
                      <a:pt x="304" y="15"/>
                    </a:cubicBezTo>
                    <a:cubicBezTo>
                      <a:pt x="304" y="15"/>
                      <a:pt x="304" y="15"/>
                      <a:pt x="303" y="15"/>
                    </a:cubicBezTo>
                    <a:cubicBezTo>
                      <a:pt x="303" y="15"/>
                      <a:pt x="302" y="15"/>
                      <a:pt x="302" y="15"/>
                    </a:cubicBezTo>
                    <a:cubicBezTo>
                      <a:pt x="301" y="15"/>
                      <a:pt x="301" y="15"/>
                      <a:pt x="301" y="15"/>
                    </a:cubicBezTo>
                    <a:cubicBezTo>
                      <a:pt x="300" y="15"/>
                      <a:pt x="299" y="15"/>
                      <a:pt x="299" y="15"/>
                    </a:cubicBezTo>
                    <a:cubicBezTo>
                      <a:pt x="298" y="15"/>
                      <a:pt x="297" y="15"/>
                      <a:pt x="296" y="15"/>
                    </a:cubicBezTo>
                    <a:cubicBezTo>
                      <a:pt x="297" y="18"/>
                      <a:pt x="297" y="18"/>
                      <a:pt x="297" y="18"/>
                    </a:cubicBezTo>
                    <a:cubicBezTo>
                      <a:pt x="295" y="15"/>
                      <a:pt x="295" y="15"/>
                      <a:pt x="295" y="15"/>
                    </a:cubicBezTo>
                    <a:cubicBezTo>
                      <a:pt x="287" y="18"/>
                      <a:pt x="287" y="18"/>
                      <a:pt x="287" y="18"/>
                    </a:cubicBezTo>
                    <a:cubicBezTo>
                      <a:pt x="286" y="18"/>
                      <a:pt x="285" y="19"/>
                      <a:pt x="284" y="19"/>
                    </a:cubicBezTo>
                    <a:cubicBezTo>
                      <a:pt x="283" y="20"/>
                      <a:pt x="281" y="20"/>
                      <a:pt x="280" y="21"/>
                    </a:cubicBezTo>
                    <a:cubicBezTo>
                      <a:pt x="278" y="23"/>
                      <a:pt x="274" y="24"/>
                      <a:pt x="272" y="25"/>
                    </a:cubicBezTo>
                    <a:cubicBezTo>
                      <a:pt x="270" y="25"/>
                      <a:pt x="269" y="25"/>
                      <a:pt x="268" y="26"/>
                    </a:cubicBezTo>
                    <a:cubicBezTo>
                      <a:pt x="268" y="26"/>
                      <a:pt x="268" y="26"/>
                      <a:pt x="268" y="26"/>
                    </a:cubicBezTo>
                    <a:cubicBezTo>
                      <a:pt x="267" y="26"/>
                      <a:pt x="267" y="25"/>
                      <a:pt x="266" y="25"/>
                    </a:cubicBezTo>
                    <a:cubicBezTo>
                      <a:pt x="266" y="25"/>
                      <a:pt x="266" y="25"/>
                      <a:pt x="265" y="25"/>
                    </a:cubicBezTo>
                    <a:cubicBezTo>
                      <a:pt x="265" y="25"/>
                      <a:pt x="265" y="25"/>
                      <a:pt x="265" y="25"/>
                    </a:cubicBezTo>
                    <a:cubicBezTo>
                      <a:pt x="264" y="25"/>
                      <a:pt x="264" y="25"/>
                      <a:pt x="264" y="25"/>
                    </a:cubicBezTo>
                    <a:cubicBezTo>
                      <a:pt x="261" y="25"/>
                      <a:pt x="258" y="24"/>
                      <a:pt x="256" y="22"/>
                    </a:cubicBezTo>
                    <a:cubicBezTo>
                      <a:pt x="255" y="22"/>
                      <a:pt x="255" y="22"/>
                      <a:pt x="255" y="22"/>
                    </a:cubicBezTo>
                    <a:cubicBezTo>
                      <a:pt x="254" y="22"/>
                      <a:pt x="254" y="22"/>
                      <a:pt x="253" y="23"/>
                    </a:cubicBezTo>
                    <a:cubicBezTo>
                      <a:pt x="252" y="23"/>
                      <a:pt x="252" y="23"/>
                      <a:pt x="251" y="23"/>
                    </a:cubicBezTo>
                    <a:cubicBezTo>
                      <a:pt x="251" y="23"/>
                      <a:pt x="251" y="23"/>
                      <a:pt x="251" y="23"/>
                    </a:cubicBezTo>
                    <a:cubicBezTo>
                      <a:pt x="250" y="23"/>
                      <a:pt x="250" y="23"/>
                      <a:pt x="250" y="23"/>
                    </a:cubicBezTo>
                    <a:cubicBezTo>
                      <a:pt x="249" y="23"/>
                      <a:pt x="249" y="23"/>
                      <a:pt x="249" y="23"/>
                    </a:cubicBezTo>
                    <a:cubicBezTo>
                      <a:pt x="244" y="24"/>
                      <a:pt x="239" y="26"/>
                      <a:pt x="235" y="26"/>
                    </a:cubicBezTo>
                    <a:cubicBezTo>
                      <a:pt x="235" y="26"/>
                      <a:pt x="235" y="26"/>
                      <a:pt x="235" y="26"/>
                    </a:cubicBezTo>
                    <a:cubicBezTo>
                      <a:pt x="230" y="26"/>
                      <a:pt x="225" y="23"/>
                      <a:pt x="220" y="23"/>
                    </a:cubicBezTo>
                    <a:cubicBezTo>
                      <a:pt x="214" y="22"/>
                      <a:pt x="210" y="20"/>
                      <a:pt x="205" y="16"/>
                    </a:cubicBezTo>
                    <a:cubicBezTo>
                      <a:pt x="205" y="16"/>
                      <a:pt x="205" y="16"/>
                      <a:pt x="205" y="16"/>
                    </a:cubicBezTo>
                    <a:cubicBezTo>
                      <a:pt x="203" y="16"/>
                      <a:pt x="199" y="18"/>
                      <a:pt x="198" y="18"/>
                    </a:cubicBezTo>
                    <a:cubicBezTo>
                      <a:pt x="198" y="18"/>
                      <a:pt x="198" y="18"/>
                      <a:pt x="198" y="18"/>
                    </a:cubicBezTo>
                    <a:cubicBezTo>
                      <a:pt x="196" y="18"/>
                      <a:pt x="193" y="15"/>
                      <a:pt x="192" y="13"/>
                    </a:cubicBezTo>
                    <a:cubicBezTo>
                      <a:pt x="191" y="11"/>
                      <a:pt x="192" y="8"/>
                      <a:pt x="189" y="8"/>
                    </a:cubicBezTo>
                    <a:cubicBezTo>
                      <a:pt x="188" y="8"/>
                      <a:pt x="188" y="8"/>
                      <a:pt x="187" y="8"/>
                    </a:cubicBezTo>
                    <a:cubicBezTo>
                      <a:pt x="185" y="9"/>
                      <a:pt x="183" y="10"/>
                      <a:pt x="181" y="10"/>
                    </a:cubicBezTo>
                    <a:cubicBezTo>
                      <a:pt x="181" y="10"/>
                      <a:pt x="180" y="9"/>
                      <a:pt x="180" y="9"/>
                    </a:cubicBezTo>
                    <a:cubicBezTo>
                      <a:pt x="177" y="9"/>
                      <a:pt x="175" y="6"/>
                      <a:pt x="173" y="4"/>
                    </a:cubicBezTo>
                    <a:cubicBezTo>
                      <a:pt x="172" y="3"/>
                      <a:pt x="172" y="1"/>
                      <a:pt x="174" y="1"/>
                    </a:cubicBezTo>
                    <a:cubicBezTo>
                      <a:pt x="174" y="1"/>
                      <a:pt x="174" y="1"/>
                      <a:pt x="174" y="1"/>
                    </a:cubicBezTo>
                    <a:cubicBezTo>
                      <a:pt x="174" y="0"/>
                      <a:pt x="173" y="0"/>
                      <a:pt x="1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Freeform 367"/>
              <p:cNvSpPr/>
              <p:nvPr/>
            </p:nvSpPr>
            <p:spPr bwMode="auto">
              <a:xfrm>
                <a:off x="4097" y="1694"/>
                <a:ext cx="60" cy="66"/>
              </a:xfrm>
              <a:custGeom>
                <a:gdLst>
                  <a:gd name="T0" fmla="*/ 15 w 25"/>
                  <a:gd name="T1" fmla="*/ 0 h 28"/>
                  <a:gd name="T2" fmla="*/ 13 w 25"/>
                  <a:gd name="T3" fmla="*/ 1 h 28"/>
                  <a:gd name="T4" fmla="*/ 10 w 25"/>
                  <a:gd name="T5" fmla="*/ 4 h 28"/>
                  <a:gd name="T6" fmla="*/ 7 w 25"/>
                  <a:gd name="T7" fmla="*/ 13 h 28"/>
                  <a:gd name="T8" fmla="*/ 5 w 25"/>
                  <a:gd name="T9" fmla="*/ 16 h 28"/>
                  <a:gd name="T10" fmla="*/ 3 w 25"/>
                  <a:gd name="T11" fmla="*/ 21 h 28"/>
                  <a:gd name="T12" fmla="*/ 0 w 25"/>
                  <a:gd name="T13" fmla="*/ 28 h 28"/>
                  <a:gd name="T14" fmla="*/ 1 w 25"/>
                  <a:gd name="T15" fmla="*/ 28 h 28"/>
                  <a:gd name="T16" fmla="*/ 3 w 25"/>
                  <a:gd name="T17" fmla="*/ 28 h 28"/>
                  <a:gd name="T18" fmla="*/ 6 w 25"/>
                  <a:gd name="T19" fmla="*/ 26 h 28"/>
                  <a:gd name="T20" fmla="*/ 7 w 25"/>
                  <a:gd name="T21" fmla="*/ 25 h 28"/>
                  <a:gd name="T22" fmla="*/ 8 w 25"/>
                  <a:gd name="T23" fmla="*/ 24 h 28"/>
                  <a:gd name="T24" fmla="*/ 10 w 25"/>
                  <a:gd name="T25" fmla="*/ 23 h 28"/>
                  <a:gd name="T26" fmla="*/ 10 w 25"/>
                  <a:gd name="T27" fmla="*/ 23 h 28"/>
                  <a:gd name="T28" fmla="*/ 11 w 25"/>
                  <a:gd name="T29" fmla="*/ 22 h 28"/>
                  <a:gd name="T30" fmla="*/ 13 w 25"/>
                  <a:gd name="T31" fmla="*/ 20 h 28"/>
                  <a:gd name="T32" fmla="*/ 13 w 25"/>
                  <a:gd name="T33" fmla="*/ 20 h 28"/>
                  <a:gd name="T34" fmla="*/ 13 w 25"/>
                  <a:gd name="T35" fmla="*/ 18 h 28"/>
                  <a:gd name="T36" fmla="*/ 16 w 25"/>
                  <a:gd name="T37" fmla="*/ 13 h 28"/>
                  <a:gd name="T38" fmla="*/ 19 w 25"/>
                  <a:gd name="T39" fmla="*/ 12 h 28"/>
                  <a:gd name="T40" fmla="*/ 24 w 25"/>
                  <a:gd name="T41" fmla="*/ 6 h 28"/>
                  <a:gd name="T42" fmla="*/ 25 w 25"/>
                  <a:gd name="T43" fmla="*/ 6 h 28"/>
                  <a:gd name="T44" fmla="*/ 24 w 25"/>
                  <a:gd name="T45" fmla="*/ 6 h 28"/>
                  <a:gd name="T46" fmla="*/ 24 w 25"/>
                  <a:gd name="T47" fmla="*/ 4 h 28"/>
                  <a:gd name="T48" fmla="*/ 22 w 25"/>
                  <a:gd name="T49" fmla="*/ 3 h 28"/>
                  <a:gd name="T50" fmla="*/ 19 w 25"/>
                  <a:gd name="T51" fmla="*/ 2 h 28"/>
                  <a:gd name="T52" fmla="*/ 20 w 25"/>
                  <a:gd name="T53" fmla="*/ 0 h 28"/>
                  <a:gd name="T54" fmla="*/ 18 w 25"/>
                  <a:gd name="T55" fmla="*/ 0 h 28"/>
                  <a:gd name="T56" fmla="*/ 15 w 25"/>
                  <a:gd name="T57"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8">
                    <a:moveTo>
                      <a:pt x="15" y="0"/>
                    </a:moveTo>
                    <a:cubicBezTo>
                      <a:pt x="14" y="0"/>
                      <a:pt x="14" y="0"/>
                      <a:pt x="13" y="1"/>
                    </a:cubicBezTo>
                    <a:cubicBezTo>
                      <a:pt x="12" y="2"/>
                      <a:pt x="11" y="3"/>
                      <a:pt x="10" y="4"/>
                    </a:cubicBezTo>
                    <a:cubicBezTo>
                      <a:pt x="8" y="7"/>
                      <a:pt x="9" y="10"/>
                      <a:pt x="7" y="13"/>
                    </a:cubicBezTo>
                    <a:cubicBezTo>
                      <a:pt x="6" y="15"/>
                      <a:pt x="6" y="15"/>
                      <a:pt x="5" y="16"/>
                    </a:cubicBezTo>
                    <a:cubicBezTo>
                      <a:pt x="4" y="18"/>
                      <a:pt x="4" y="19"/>
                      <a:pt x="3" y="21"/>
                    </a:cubicBezTo>
                    <a:cubicBezTo>
                      <a:pt x="2" y="23"/>
                      <a:pt x="1" y="25"/>
                      <a:pt x="0" y="28"/>
                    </a:cubicBezTo>
                    <a:cubicBezTo>
                      <a:pt x="1" y="28"/>
                      <a:pt x="1" y="28"/>
                      <a:pt x="1" y="28"/>
                    </a:cubicBezTo>
                    <a:cubicBezTo>
                      <a:pt x="2" y="28"/>
                      <a:pt x="3" y="28"/>
                      <a:pt x="3" y="28"/>
                    </a:cubicBezTo>
                    <a:cubicBezTo>
                      <a:pt x="5" y="28"/>
                      <a:pt x="5" y="28"/>
                      <a:pt x="6" y="26"/>
                    </a:cubicBezTo>
                    <a:cubicBezTo>
                      <a:pt x="7" y="25"/>
                      <a:pt x="7" y="25"/>
                      <a:pt x="7" y="25"/>
                    </a:cubicBezTo>
                    <a:cubicBezTo>
                      <a:pt x="8" y="24"/>
                      <a:pt x="8" y="24"/>
                      <a:pt x="8" y="24"/>
                    </a:cubicBezTo>
                    <a:cubicBezTo>
                      <a:pt x="10" y="23"/>
                      <a:pt x="10" y="23"/>
                      <a:pt x="10" y="23"/>
                    </a:cubicBezTo>
                    <a:cubicBezTo>
                      <a:pt x="10" y="23"/>
                      <a:pt x="10" y="23"/>
                      <a:pt x="10" y="23"/>
                    </a:cubicBezTo>
                    <a:cubicBezTo>
                      <a:pt x="11" y="22"/>
                      <a:pt x="11" y="22"/>
                      <a:pt x="11" y="22"/>
                    </a:cubicBezTo>
                    <a:cubicBezTo>
                      <a:pt x="12" y="21"/>
                      <a:pt x="13" y="21"/>
                      <a:pt x="13" y="20"/>
                    </a:cubicBezTo>
                    <a:cubicBezTo>
                      <a:pt x="13" y="20"/>
                      <a:pt x="13" y="20"/>
                      <a:pt x="13" y="20"/>
                    </a:cubicBezTo>
                    <a:cubicBezTo>
                      <a:pt x="13" y="19"/>
                      <a:pt x="13" y="19"/>
                      <a:pt x="13" y="18"/>
                    </a:cubicBezTo>
                    <a:cubicBezTo>
                      <a:pt x="12" y="16"/>
                      <a:pt x="14" y="14"/>
                      <a:pt x="16" y="13"/>
                    </a:cubicBezTo>
                    <a:cubicBezTo>
                      <a:pt x="17" y="12"/>
                      <a:pt x="18" y="12"/>
                      <a:pt x="19" y="12"/>
                    </a:cubicBezTo>
                    <a:cubicBezTo>
                      <a:pt x="20" y="10"/>
                      <a:pt x="22" y="8"/>
                      <a:pt x="24" y="6"/>
                    </a:cubicBezTo>
                    <a:cubicBezTo>
                      <a:pt x="25" y="6"/>
                      <a:pt x="25" y="6"/>
                      <a:pt x="25" y="6"/>
                    </a:cubicBezTo>
                    <a:cubicBezTo>
                      <a:pt x="24" y="6"/>
                      <a:pt x="24" y="6"/>
                      <a:pt x="24" y="6"/>
                    </a:cubicBezTo>
                    <a:cubicBezTo>
                      <a:pt x="24" y="5"/>
                      <a:pt x="24" y="5"/>
                      <a:pt x="24" y="4"/>
                    </a:cubicBezTo>
                    <a:cubicBezTo>
                      <a:pt x="23" y="3"/>
                      <a:pt x="23" y="3"/>
                      <a:pt x="22" y="3"/>
                    </a:cubicBezTo>
                    <a:cubicBezTo>
                      <a:pt x="19" y="2"/>
                      <a:pt x="19" y="2"/>
                      <a:pt x="19" y="2"/>
                    </a:cubicBezTo>
                    <a:cubicBezTo>
                      <a:pt x="20" y="0"/>
                      <a:pt x="20" y="0"/>
                      <a:pt x="20" y="0"/>
                    </a:cubicBezTo>
                    <a:cubicBezTo>
                      <a:pt x="19" y="0"/>
                      <a:pt x="18" y="0"/>
                      <a:pt x="18" y="0"/>
                    </a:cubicBezTo>
                    <a:cubicBezTo>
                      <a:pt x="17"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368"/>
              <p:cNvSpPr/>
              <p:nvPr/>
            </p:nvSpPr>
            <p:spPr bwMode="auto">
              <a:xfrm>
                <a:off x="4549" y="1314"/>
                <a:ext cx="234" cy="175"/>
              </a:xfrm>
              <a:custGeom>
                <a:gdLst>
                  <a:gd name="T0" fmla="*/ 22 w 99"/>
                  <a:gd name="T1" fmla="*/ 3 h 74"/>
                  <a:gd name="T2" fmla="*/ 27 w 99"/>
                  <a:gd name="T3" fmla="*/ 7 h 74"/>
                  <a:gd name="T4" fmla="*/ 29 w 99"/>
                  <a:gd name="T5" fmla="*/ 15 h 74"/>
                  <a:gd name="T6" fmla="*/ 29 w 99"/>
                  <a:gd name="T7" fmla="*/ 18 h 74"/>
                  <a:gd name="T8" fmla="*/ 22 w 99"/>
                  <a:gd name="T9" fmla="*/ 17 h 74"/>
                  <a:gd name="T10" fmla="*/ 9 w 99"/>
                  <a:gd name="T11" fmla="*/ 14 h 74"/>
                  <a:gd name="T12" fmla="*/ 2 w 99"/>
                  <a:gd name="T13" fmla="*/ 10 h 74"/>
                  <a:gd name="T14" fmla="*/ 1 w 99"/>
                  <a:gd name="T15" fmla="*/ 11 h 74"/>
                  <a:gd name="T16" fmla="*/ 1 w 99"/>
                  <a:gd name="T17" fmla="*/ 12 h 74"/>
                  <a:gd name="T18" fmla="*/ 2 w 99"/>
                  <a:gd name="T19" fmla="*/ 13 h 74"/>
                  <a:gd name="T20" fmla="*/ 2 w 99"/>
                  <a:gd name="T21" fmla="*/ 14 h 74"/>
                  <a:gd name="T22" fmla="*/ 5 w 99"/>
                  <a:gd name="T23" fmla="*/ 16 h 74"/>
                  <a:gd name="T24" fmla="*/ 9 w 99"/>
                  <a:gd name="T25" fmla="*/ 24 h 74"/>
                  <a:gd name="T26" fmla="*/ 7 w 99"/>
                  <a:gd name="T27" fmla="*/ 26 h 74"/>
                  <a:gd name="T28" fmla="*/ 6 w 99"/>
                  <a:gd name="T29" fmla="*/ 26 h 74"/>
                  <a:gd name="T30" fmla="*/ 10 w 99"/>
                  <a:gd name="T31" fmla="*/ 29 h 74"/>
                  <a:gd name="T32" fmla="*/ 14 w 99"/>
                  <a:gd name="T33" fmla="*/ 32 h 74"/>
                  <a:gd name="T34" fmla="*/ 16 w 99"/>
                  <a:gd name="T35" fmla="*/ 38 h 74"/>
                  <a:gd name="T36" fmla="*/ 26 w 99"/>
                  <a:gd name="T37" fmla="*/ 50 h 74"/>
                  <a:gd name="T38" fmla="*/ 26 w 99"/>
                  <a:gd name="T39" fmla="*/ 54 h 74"/>
                  <a:gd name="T40" fmla="*/ 28 w 99"/>
                  <a:gd name="T41" fmla="*/ 56 h 74"/>
                  <a:gd name="T42" fmla="*/ 34 w 99"/>
                  <a:gd name="T43" fmla="*/ 55 h 74"/>
                  <a:gd name="T44" fmla="*/ 45 w 99"/>
                  <a:gd name="T45" fmla="*/ 48 h 74"/>
                  <a:gd name="T46" fmla="*/ 52 w 99"/>
                  <a:gd name="T47" fmla="*/ 45 h 74"/>
                  <a:gd name="T48" fmla="*/ 58 w 99"/>
                  <a:gd name="T49" fmla="*/ 50 h 74"/>
                  <a:gd name="T50" fmla="*/ 61 w 99"/>
                  <a:gd name="T51" fmla="*/ 54 h 74"/>
                  <a:gd name="T52" fmla="*/ 59 w 99"/>
                  <a:gd name="T53" fmla="*/ 58 h 74"/>
                  <a:gd name="T54" fmla="*/ 61 w 99"/>
                  <a:gd name="T55" fmla="*/ 60 h 74"/>
                  <a:gd name="T56" fmla="*/ 57 w 99"/>
                  <a:gd name="T57" fmla="*/ 66 h 74"/>
                  <a:gd name="T58" fmla="*/ 60 w 99"/>
                  <a:gd name="T59" fmla="*/ 68 h 74"/>
                  <a:gd name="T60" fmla="*/ 62 w 99"/>
                  <a:gd name="T61" fmla="*/ 70 h 74"/>
                  <a:gd name="T62" fmla="*/ 65 w 99"/>
                  <a:gd name="T63" fmla="*/ 73 h 74"/>
                  <a:gd name="T64" fmla="*/ 66 w 99"/>
                  <a:gd name="T65" fmla="*/ 74 h 74"/>
                  <a:gd name="T66" fmla="*/ 70 w 99"/>
                  <a:gd name="T67" fmla="*/ 73 h 74"/>
                  <a:gd name="T68" fmla="*/ 73 w 99"/>
                  <a:gd name="T69" fmla="*/ 59 h 74"/>
                  <a:gd name="T70" fmla="*/ 75 w 99"/>
                  <a:gd name="T71" fmla="*/ 63 h 74"/>
                  <a:gd name="T72" fmla="*/ 78 w 99"/>
                  <a:gd name="T73" fmla="*/ 55 h 74"/>
                  <a:gd name="T74" fmla="*/ 79 w 99"/>
                  <a:gd name="T75" fmla="*/ 56 h 74"/>
                  <a:gd name="T76" fmla="*/ 79 w 99"/>
                  <a:gd name="T77" fmla="*/ 54 h 74"/>
                  <a:gd name="T78" fmla="*/ 80 w 99"/>
                  <a:gd name="T79" fmla="*/ 44 h 74"/>
                  <a:gd name="T80" fmla="*/ 91 w 99"/>
                  <a:gd name="T81" fmla="*/ 33 h 74"/>
                  <a:gd name="T82" fmla="*/ 99 w 99"/>
                  <a:gd name="T83" fmla="*/ 35 h 74"/>
                  <a:gd name="T84" fmla="*/ 92 w 99"/>
                  <a:gd name="T85" fmla="*/ 28 h 74"/>
                  <a:gd name="T86" fmla="*/ 90 w 99"/>
                  <a:gd name="T87" fmla="*/ 27 h 74"/>
                  <a:gd name="T88" fmla="*/ 88 w 99"/>
                  <a:gd name="T89" fmla="*/ 28 h 74"/>
                  <a:gd name="T90" fmla="*/ 74 w 99"/>
                  <a:gd name="T91" fmla="*/ 11 h 74"/>
                  <a:gd name="T92" fmla="*/ 60 w 99"/>
                  <a:gd name="T93" fmla="*/ 6 h 74"/>
                  <a:gd name="T94" fmla="*/ 59 w 99"/>
                  <a:gd name="T95" fmla="*/ 7 h 74"/>
                  <a:gd name="T96" fmla="*/ 55 w 99"/>
                  <a:gd name="T97" fmla="*/ 11 h 74"/>
                  <a:gd name="T98" fmla="*/ 45 w 99"/>
                  <a:gd name="T99" fmla="*/ 15 h 74"/>
                  <a:gd name="T100" fmla="*/ 35 w 99"/>
                  <a:gd name="T101" fmla="*/ 8 h 74"/>
                  <a:gd name="T102" fmla="*/ 28 w 99"/>
                  <a:gd name="T103" fmla="*/ 0 h 74"/>
                  <a:gd name="T104" fmla="*/ 25 w 99"/>
                  <a:gd name="T105" fmla="*/ 0 h 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74">
                    <a:moveTo>
                      <a:pt x="25" y="0"/>
                    </a:moveTo>
                    <a:cubicBezTo>
                      <a:pt x="22" y="3"/>
                      <a:pt x="22" y="3"/>
                      <a:pt x="22" y="3"/>
                    </a:cubicBezTo>
                    <a:cubicBezTo>
                      <a:pt x="23" y="4"/>
                      <a:pt x="24" y="4"/>
                      <a:pt x="24" y="5"/>
                    </a:cubicBezTo>
                    <a:cubicBezTo>
                      <a:pt x="25" y="6"/>
                      <a:pt x="26" y="6"/>
                      <a:pt x="27" y="7"/>
                    </a:cubicBezTo>
                    <a:cubicBezTo>
                      <a:pt x="30" y="9"/>
                      <a:pt x="30" y="12"/>
                      <a:pt x="29" y="14"/>
                    </a:cubicBezTo>
                    <a:cubicBezTo>
                      <a:pt x="29" y="15"/>
                      <a:pt x="29" y="15"/>
                      <a:pt x="29" y="15"/>
                    </a:cubicBezTo>
                    <a:cubicBezTo>
                      <a:pt x="29" y="15"/>
                      <a:pt x="29" y="15"/>
                      <a:pt x="29" y="16"/>
                    </a:cubicBezTo>
                    <a:cubicBezTo>
                      <a:pt x="29" y="18"/>
                      <a:pt x="29" y="18"/>
                      <a:pt x="29" y="18"/>
                    </a:cubicBezTo>
                    <a:cubicBezTo>
                      <a:pt x="26" y="18"/>
                      <a:pt x="26" y="18"/>
                      <a:pt x="26" y="18"/>
                    </a:cubicBezTo>
                    <a:cubicBezTo>
                      <a:pt x="25" y="18"/>
                      <a:pt x="24" y="18"/>
                      <a:pt x="22" y="17"/>
                    </a:cubicBezTo>
                    <a:cubicBezTo>
                      <a:pt x="19" y="17"/>
                      <a:pt x="15" y="16"/>
                      <a:pt x="12" y="15"/>
                    </a:cubicBezTo>
                    <a:cubicBezTo>
                      <a:pt x="11" y="15"/>
                      <a:pt x="10" y="15"/>
                      <a:pt x="9" y="14"/>
                    </a:cubicBezTo>
                    <a:cubicBezTo>
                      <a:pt x="8" y="14"/>
                      <a:pt x="7" y="13"/>
                      <a:pt x="6" y="12"/>
                    </a:cubicBezTo>
                    <a:cubicBezTo>
                      <a:pt x="5" y="11"/>
                      <a:pt x="4" y="11"/>
                      <a:pt x="2" y="10"/>
                    </a:cubicBezTo>
                    <a:cubicBezTo>
                      <a:pt x="2" y="10"/>
                      <a:pt x="2" y="10"/>
                      <a:pt x="2" y="10"/>
                    </a:cubicBezTo>
                    <a:cubicBezTo>
                      <a:pt x="1" y="11"/>
                      <a:pt x="1" y="11"/>
                      <a:pt x="1" y="11"/>
                    </a:cubicBezTo>
                    <a:cubicBezTo>
                      <a:pt x="0" y="11"/>
                      <a:pt x="0" y="11"/>
                      <a:pt x="0" y="11"/>
                    </a:cubicBezTo>
                    <a:cubicBezTo>
                      <a:pt x="1" y="12"/>
                      <a:pt x="1" y="12"/>
                      <a:pt x="1" y="12"/>
                    </a:cubicBezTo>
                    <a:cubicBezTo>
                      <a:pt x="1" y="12"/>
                      <a:pt x="1" y="12"/>
                      <a:pt x="1" y="12"/>
                    </a:cubicBezTo>
                    <a:cubicBezTo>
                      <a:pt x="2" y="13"/>
                      <a:pt x="2" y="13"/>
                      <a:pt x="2" y="13"/>
                    </a:cubicBezTo>
                    <a:cubicBezTo>
                      <a:pt x="2" y="13"/>
                      <a:pt x="2" y="13"/>
                      <a:pt x="2" y="13"/>
                    </a:cubicBezTo>
                    <a:cubicBezTo>
                      <a:pt x="2" y="14"/>
                      <a:pt x="2" y="14"/>
                      <a:pt x="2" y="14"/>
                    </a:cubicBezTo>
                    <a:cubicBezTo>
                      <a:pt x="2" y="14"/>
                      <a:pt x="2" y="15"/>
                      <a:pt x="2" y="15"/>
                    </a:cubicBezTo>
                    <a:cubicBezTo>
                      <a:pt x="3" y="15"/>
                      <a:pt x="4" y="16"/>
                      <a:pt x="5" y="16"/>
                    </a:cubicBezTo>
                    <a:cubicBezTo>
                      <a:pt x="7" y="17"/>
                      <a:pt x="9" y="18"/>
                      <a:pt x="9" y="20"/>
                    </a:cubicBezTo>
                    <a:cubicBezTo>
                      <a:pt x="11" y="22"/>
                      <a:pt x="10" y="23"/>
                      <a:pt x="9" y="24"/>
                    </a:cubicBezTo>
                    <a:cubicBezTo>
                      <a:pt x="9" y="25"/>
                      <a:pt x="8" y="25"/>
                      <a:pt x="7" y="25"/>
                    </a:cubicBezTo>
                    <a:cubicBezTo>
                      <a:pt x="7" y="26"/>
                      <a:pt x="7" y="26"/>
                      <a:pt x="7" y="26"/>
                    </a:cubicBezTo>
                    <a:cubicBezTo>
                      <a:pt x="6" y="26"/>
                      <a:pt x="6" y="26"/>
                      <a:pt x="6" y="26"/>
                    </a:cubicBezTo>
                    <a:cubicBezTo>
                      <a:pt x="6" y="26"/>
                      <a:pt x="6" y="26"/>
                      <a:pt x="6" y="26"/>
                    </a:cubicBezTo>
                    <a:cubicBezTo>
                      <a:pt x="7" y="27"/>
                      <a:pt x="7" y="27"/>
                      <a:pt x="9" y="28"/>
                    </a:cubicBezTo>
                    <a:cubicBezTo>
                      <a:pt x="9" y="28"/>
                      <a:pt x="10" y="29"/>
                      <a:pt x="10" y="29"/>
                    </a:cubicBezTo>
                    <a:cubicBezTo>
                      <a:pt x="12" y="31"/>
                      <a:pt x="12" y="31"/>
                      <a:pt x="12" y="31"/>
                    </a:cubicBezTo>
                    <a:cubicBezTo>
                      <a:pt x="13" y="31"/>
                      <a:pt x="13" y="32"/>
                      <a:pt x="14" y="32"/>
                    </a:cubicBezTo>
                    <a:cubicBezTo>
                      <a:pt x="16" y="34"/>
                      <a:pt x="16" y="36"/>
                      <a:pt x="16" y="38"/>
                    </a:cubicBezTo>
                    <a:cubicBezTo>
                      <a:pt x="16" y="38"/>
                      <a:pt x="16" y="38"/>
                      <a:pt x="16" y="38"/>
                    </a:cubicBezTo>
                    <a:cubicBezTo>
                      <a:pt x="16" y="40"/>
                      <a:pt x="15" y="41"/>
                      <a:pt x="13" y="42"/>
                    </a:cubicBezTo>
                    <a:cubicBezTo>
                      <a:pt x="17" y="45"/>
                      <a:pt x="22" y="48"/>
                      <a:pt x="26" y="50"/>
                    </a:cubicBezTo>
                    <a:cubicBezTo>
                      <a:pt x="29" y="52"/>
                      <a:pt x="29" y="52"/>
                      <a:pt x="29" y="52"/>
                    </a:cubicBezTo>
                    <a:cubicBezTo>
                      <a:pt x="26" y="54"/>
                      <a:pt x="26" y="54"/>
                      <a:pt x="26" y="54"/>
                    </a:cubicBezTo>
                    <a:cubicBezTo>
                      <a:pt x="26" y="54"/>
                      <a:pt x="26" y="54"/>
                      <a:pt x="26" y="54"/>
                    </a:cubicBezTo>
                    <a:cubicBezTo>
                      <a:pt x="27" y="55"/>
                      <a:pt x="27" y="55"/>
                      <a:pt x="28" y="56"/>
                    </a:cubicBezTo>
                    <a:cubicBezTo>
                      <a:pt x="30" y="58"/>
                      <a:pt x="30" y="58"/>
                      <a:pt x="30" y="58"/>
                    </a:cubicBezTo>
                    <a:cubicBezTo>
                      <a:pt x="31" y="57"/>
                      <a:pt x="33" y="56"/>
                      <a:pt x="34" y="55"/>
                    </a:cubicBezTo>
                    <a:cubicBezTo>
                      <a:pt x="35" y="54"/>
                      <a:pt x="37" y="53"/>
                      <a:pt x="38" y="53"/>
                    </a:cubicBezTo>
                    <a:cubicBezTo>
                      <a:pt x="40" y="51"/>
                      <a:pt x="43" y="49"/>
                      <a:pt x="45" y="48"/>
                    </a:cubicBezTo>
                    <a:cubicBezTo>
                      <a:pt x="46" y="47"/>
                      <a:pt x="46" y="47"/>
                      <a:pt x="46" y="47"/>
                    </a:cubicBezTo>
                    <a:cubicBezTo>
                      <a:pt x="49" y="46"/>
                      <a:pt x="51" y="45"/>
                      <a:pt x="52" y="45"/>
                    </a:cubicBezTo>
                    <a:cubicBezTo>
                      <a:pt x="53" y="45"/>
                      <a:pt x="53" y="45"/>
                      <a:pt x="54" y="45"/>
                    </a:cubicBezTo>
                    <a:cubicBezTo>
                      <a:pt x="55" y="45"/>
                      <a:pt x="56" y="47"/>
                      <a:pt x="58" y="50"/>
                    </a:cubicBezTo>
                    <a:cubicBezTo>
                      <a:pt x="59" y="51"/>
                      <a:pt x="59" y="51"/>
                      <a:pt x="59" y="51"/>
                    </a:cubicBezTo>
                    <a:cubicBezTo>
                      <a:pt x="60" y="52"/>
                      <a:pt x="61" y="53"/>
                      <a:pt x="61" y="54"/>
                    </a:cubicBezTo>
                    <a:cubicBezTo>
                      <a:pt x="61" y="56"/>
                      <a:pt x="60" y="57"/>
                      <a:pt x="60" y="58"/>
                    </a:cubicBezTo>
                    <a:cubicBezTo>
                      <a:pt x="59" y="58"/>
                      <a:pt x="59" y="58"/>
                      <a:pt x="59" y="58"/>
                    </a:cubicBezTo>
                    <a:cubicBezTo>
                      <a:pt x="60" y="59"/>
                      <a:pt x="60" y="59"/>
                      <a:pt x="60" y="59"/>
                    </a:cubicBezTo>
                    <a:cubicBezTo>
                      <a:pt x="60" y="59"/>
                      <a:pt x="60" y="59"/>
                      <a:pt x="61" y="60"/>
                    </a:cubicBezTo>
                    <a:cubicBezTo>
                      <a:pt x="63" y="62"/>
                      <a:pt x="63" y="62"/>
                      <a:pt x="63" y="62"/>
                    </a:cubicBezTo>
                    <a:cubicBezTo>
                      <a:pt x="57" y="66"/>
                      <a:pt x="57" y="66"/>
                      <a:pt x="57" y="66"/>
                    </a:cubicBezTo>
                    <a:cubicBezTo>
                      <a:pt x="59" y="67"/>
                      <a:pt x="59" y="67"/>
                      <a:pt x="59" y="67"/>
                    </a:cubicBezTo>
                    <a:cubicBezTo>
                      <a:pt x="59" y="67"/>
                      <a:pt x="60" y="68"/>
                      <a:pt x="60" y="68"/>
                    </a:cubicBezTo>
                    <a:cubicBezTo>
                      <a:pt x="60" y="69"/>
                      <a:pt x="60" y="69"/>
                      <a:pt x="60" y="69"/>
                    </a:cubicBezTo>
                    <a:cubicBezTo>
                      <a:pt x="61" y="69"/>
                      <a:pt x="61" y="70"/>
                      <a:pt x="62" y="70"/>
                    </a:cubicBezTo>
                    <a:cubicBezTo>
                      <a:pt x="62" y="70"/>
                      <a:pt x="63" y="70"/>
                      <a:pt x="64" y="71"/>
                    </a:cubicBezTo>
                    <a:cubicBezTo>
                      <a:pt x="65" y="72"/>
                      <a:pt x="65" y="73"/>
                      <a:pt x="65" y="73"/>
                    </a:cubicBezTo>
                    <a:cubicBezTo>
                      <a:pt x="66" y="73"/>
                      <a:pt x="66" y="73"/>
                      <a:pt x="66" y="73"/>
                    </a:cubicBezTo>
                    <a:cubicBezTo>
                      <a:pt x="66" y="74"/>
                      <a:pt x="66" y="74"/>
                      <a:pt x="66" y="74"/>
                    </a:cubicBezTo>
                    <a:cubicBezTo>
                      <a:pt x="66" y="74"/>
                      <a:pt x="68" y="73"/>
                      <a:pt x="69" y="73"/>
                    </a:cubicBezTo>
                    <a:cubicBezTo>
                      <a:pt x="70" y="73"/>
                      <a:pt x="70" y="73"/>
                      <a:pt x="70" y="73"/>
                    </a:cubicBezTo>
                    <a:cubicBezTo>
                      <a:pt x="70" y="70"/>
                      <a:pt x="70" y="68"/>
                      <a:pt x="71" y="66"/>
                    </a:cubicBezTo>
                    <a:cubicBezTo>
                      <a:pt x="71" y="64"/>
                      <a:pt x="70" y="59"/>
                      <a:pt x="73" y="59"/>
                    </a:cubicBezTo>
                    <a:cubicBezTo>
                      <a:pt x="73" y="59"/>
                      <a:pt x="73" y="59"/>
                      <a:pt x="73" y="59"/>
                    </a:cubicBezTo>
                    <a:cubicBezTo>
                      <a:pt x="74" y="59"/>
                      <a:pt x="75" y="63"/>
                      <a:pt x="75" y="63"/>
                    </a:cubicBezTo>
                    <a:cubicBezTo>
                      <a:pt x="76" y="61"/>
                      <a:pt x="76" y="56"/>
                      <a:pt x="78" y="55"/>
                    </a:cubicBezTo>
                    <a:cubicBezTo>
                      <a:pt x="78" y="55"/>
                      <a:pt x="78" y="55"/>
                      <a:pt x="78" y="55"/>
                    </a:cubicBezTo>
                    <a:cubicBezTo>
                      <a:pt x="79" y="55"/>
                      <a:pt x="79" y="55"/>
                      <a:pt x="79" y="56"/>
                    </a:cubicBezTo>
                    <a:cubicBezTo>
                      <a:pt x="79" y="56"/>
                      <a:pt x="79" y="56"/>
                      <a:pt x="79" y="56"/>
                    </a:cubicBezTo>
                    <a:cubicBezTo>
                      <a:pt x="80" y="56"/>
                      <a:pt x="80" y="56"/>
                      <a:pt x="80" y="55"/>
                    </a:cubicBezTo>
                    <a:cubicBezTo>
                      <a:pt x="80" y="54"/>
                      <a:pt x="80" y="54"/>
                      <a:pt x="79" y="54"/>
                    </a:cubicBezTo>
                    <a:cubicBezTo>
                      <a:pt x="79" y="52"/>
                      <a:pt x="77" y="51"/>
                      <a:pt x="78" y="50"/>
                    </a:cubicBezTo>
                    <a:cubicBezTo>
                      <a:pt x="79" y="48"/>
                      <a:pt x="80" y="46"/>
                      <a:pt x="80" y="44"/>
                    </a:cubicBezTo>
                    <a:cubicBezTo>
                      <a:pt x="81" y="41"/>
                      <a:pt x="82" y="37"/>
                      <a:pt x="84" y="35"/>
                    </a:cubicBezTo>
                    <a:cubicBezTo>
                      <a:pt x="87" y="33"/>
                      <a:pt x="89" y="33"/>
                      <a:pt x="91" y="33"/>
                    </a:cubicBezTo>
                    <a:cubicBezTo>
                      <a:pt x="92" y="33"/>
                      <a:pt x="92" y="33"/>
                      <a:pt x="93" y="33"/>
                    </a:cubicBezTo>
                    <a:cubicBezTo>
                      <a:pt x="95" y="33"/>
                      <a:pt x="97" y="33"/>
                      <a:pt x="99" y="35"/>
                    </a:cubicBezTo>
                    <a:cubicBezTo>
                      <a:pt x="98" y="33"/>
                      <a:pt x="98" y="32"/>
                      <a:pt x="96" y="31"/>
                    </a:cubicBezTo>
                    <a:cubicBezTo>
                      <a:pt x="95" y="30"/>
                      <a:pt x="94" y="29"/>
                      <a:pt x="92" y="28"/>
                    </a:cubicBezTo>
                    <a:cubicBezTo>
                      <a:pt x="92" y="28"/>
                      <a:pt x="91" y="27"/>
                      <a:pt x="90" y="27"/>
                    </a:cubicBezTo>
                    <a:cubicBezTo>
                      <a:pt x="90" y="27"/>
                      <a:pt x="90" y="27"/>
                      <a:pt x="90" y="27"/>
                    </a:cubicBezTo>
                    <a:cubicBezTo>
                      <a:pt x="89" y="27"/>
                      <a:pt x="89" y="28"/>
                      <a:pt x="88" y="28"/>
                    </a:cubicBezTo>
                    <a:cubicBezTo>
                      <a:pt x="88" y="28"/>
                      <a:pt x="88" y="28"/>
                      <a:pt x="88" y="28"/>
                    </a:cubicBezTo>
                    <a:cubicBezTo>
                      <a:pt x="85" y="28"/>
                      <a:pt x="84" y="26"/>
                      <a:pt x="82" y="24"/>
                    </a:cubicBezTo>
                    <a:cubicBezTo>
                      <a:pt x="79" y="21"/>
                      <a:pt x="76" y="16"/>
                      <a:pt x="74" y="11"/>
                    </a:cubicBezTo>
                    <a:cubicBezTo>
                      <a:pt x="72" y="7"/>
                      <a:pt x="69" y="4"/>
                      <a:pt x="66" y="0"/>
                    </a:cubicBezTo>
                    <a:cubicBezTo>
                      <a:pt x="65" y="3"/>
                      <a:pt x="62" y="5"/>
                      <a:pt x="60" y="6"/>
                    </a:cubicBezTo>
                    <a:cubicBezTo>
                      <a:pt x="60" y="7"/>
                      <a:pt x="60" y="7"/>
                      <a:pt x="60" y="7"/>
                    </a:cubicBezTo>
                    <a:cubicBezTo>
                      <a:pt x="59" y="7"/>
                      <a:pt x="59" y="7"/>
                      <a:pt x="59" y="7"/>
                    </a:cubicBezTo>
                    <a:cubicBezTo>
                      <a:pt x="58" y="8"/>
                      <a:pt x="57" y="9"/>
                      <a:pt x="57" y="9"/>
                    </a:cubicBezTo>
                    <a:cubicBezTo>
                      <a:pt x="56" y="9"/>
                      <a:pt x="56" y="9"/>
                      <a:pt x="55" y="11"/>
                    </a:cubicBezTo>
                    <a:cubicBezTo>
                      <a:pt x="54" y="14"/>
                      <a:pt x="52" y="16"/>
                      <a:pt x="49" y="16"/>
                    </a:cubicBezTo>
                    <a:cubicBezTo>
                      <a:pt x="47" y="16"/>
                      <a:pt x="46" y="15"/>
                      <a:pt x="45" y="15"/>
                    </a:cubicBezTo>
                    <a:cubicBezTo>
                      <a:pt x="39" y="14"/>
                      <a:pt x="37" y="11"/>
                      <a:pt x="37" y="10"/>
                    </a:cubicBezTo>
                    <a:cubicBezTo>
                      <a:pt x="36" y="9"/>
                      <a:pt x="36" y="8"/>
                      <a:pt x="35" y="8"/>
                    </a:cubicBezTo>
                    <a:cubicBezTo>
                      <a:pt x="34" y="8"/>
                      <a:pt x="32" y="6"/>
                      <a:pt x="31" y="3"/>
                    </a:cubicBezTo>
                    <a:cubicBezTo>
                      <a:pt x="30" y="1"/>
                      <a:pt x="28" y="0"/>
                      <a:pt x="28" y="0"/>
                    </a:cubicBezTo>
                    <a:cubicBezTo>
                      <a:pt x="26" y="0"/>
                      <a:pt x="25" y="0"/>
                      <a:pt x="25" y="0"/>
                    </a:cubicBezTo>
                    <a:cubicBezTo>
                      <a:pt x="25" y="0"/>
                      <a:pt x="25"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Freeform 369"/>
              <p:cNvSpPr/>
              <p:nvPr/>
            </p:nvSpPr>
            <p:spPr bwMode="auto">
              <a:xfrm>
                <a:off x="8410" y="3328"/>
                <a:ext cx="149" cy="47"/>
              </a:xfrm>
              <a:custGeom>
                <a:gdLst>
                  <a:gd name="T0" fmla="*/ 29 w 63"/>
                  <a:gd name="T1" fmla="*/ 0 h 20"/>
                  <a:gd name="T2" fmla="*/ 25 w 63"/>
                  <a:gd name="T3" fmla="*/ 2 h 20"/>
                  <a:gd name="T4" fmla="*/ 17 w 63"/>
                  <a:gd name="T5" fmla="*/ 7 h 20"/>
                  <a:gd name="T6" fmla="*/ 9 w 63"/>
                  <a:gd name="T7" fmla="*/ 8 h 20"/>
                  <a:gd name="T8" fmla="*/ 5 w 63"/>
                  <a:gd name="T9" fmla="*/ 9 h 20"/>
                  <a:gd name="T10" fmla="*/ 6 w 63"/>
                  <a:gd name="T11" fmla="*/ 12 h 20"/>
                  <a:gd name="T12" fmla="*/ 0 w 63"/>
                  <a:gd name="T13" fmla="*/ 20 h 20"/>
                  <a:gd name="T14" fmla="*/ 62 w 63"/>
                  <a:gd name="T15" fmla="*/ 20 h 20"/>
                  <a:gd name="T16" fmla="*/ 62 w 63"/>
                  <a:gd name="T17" fmla="*/ 18 h 20"/>
                  <a:gd name="T18" fmla="*/ 59 w 63"/>
                  <a:gd name="T19" fmla="*/ 14 h 20"/>
                  <a:gd name="T20" fmla="*/ 61 w 63"/>
                  <a:gd name="T21" fmla="*/ 10 h 20"/>
                  <a:gd name="T22" fmla="*/ 61 w 63"/>
                  <a:gd name="T23" fmla="*/ 10 h 20"/>
                  <a:gd name="T24" fmla="*/ 45 w 63"/>
                  <a:gd name="T25" fmla="*/ 7 h 20"/>
                  <a:gd name="T26" fmla="*/ 30 w 63"/>
                  <a:gd name="T27" fmla="*/ 0 h 20"/>
                  <a:gd name="T28" fmla="*/ 29 w 63"/>
                  <a:gd name="T29"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20">
                    <a:moveTo>
                      <a:pt x="29" y="0"/>
                    </a:moveTo>
                    <a:cubicBezTo>
                      <a:pt x="28" y="0"/>
                      <a:pt x="26" y="1"/>
                      <a:pt x="25" y="2"/>
                    </a:cubicBezTo>
                    <a:cubicBezTo>
                      <a:pt x="22" y="3"/>
                      <a:pt x="20" y="6"/>
                      <a:pt x="17" y="7"/>
                    </a:cubicBezTo>
                    <a:cubicBezTo>
                      <a:pt x="15" y="8"/>
                      <a:pt x="12" y="8"/>
                      <a:pt x="9" y="8"/>
                    </a:cubicBezTo>
                    <a:cubicBezTo>
                      <a:pt x="8" y="8"/>
                      <a:pt x="6" y="9"/>
                      <a:pt x="5" y="9"/>
                    </a:cubicBezTo>
                    <a:cubicBezTo>
                      <a:pt x="5" y="10"/>
                      <a:pt x="6" y="11"/>
                      <a:pt x="6" y="12"/>
                    </a:cubicBezTo>
                    <a:cubicBezTo>
                      <a:pt x="5" y="15"/>
                      <a:pt x="2" y="17"/>
                      <a:pt x="0" y="20"/>
                    </a:cubicBezTo>
                    <a:cubicBezTo>
                      <a:pt x="62" y="20"/>
                      <a:pt x="62" y="20"/>
                      <a:pt x="62" y="20"/>
                    </a:cubicBezTo>
                    <a:cubicBezTo>
                      <a:pt x="63" y="19"/>
                      <a:pt x="63" y="19"/>
                      <a:pt x="62" y="18"/>
                    </a:cubicBezTo>
                    <a:cubicBezTo>
                      <a:pt x="62" y="17"/>
                      <a:pt x="60" y="15"/>
                      <a:pt x="59" y="14"/>
                    </a:cubicBezTo>
                    <a:cubicBezTo>
                      <a:pt x="58" y="12"/>
                      <a:pt x="58" y="10"/>
                      <a:pt x="61" y="10"/>
                    </a:cubicBezTo>
                    <a:cubicBezTo>
                      <a:pt x="61" y="10"/>
                      <a:pt x="61" y="10"/>
                      <a:pt x="61" y="10"/>
                    </a:cubicBezTo>
                    <a:cubicBezTo>
                      <a:pt x="56" y="9"/>
                      <a:pt x="50" y="9"/>
                      <a:pt x="45" y="7"/>
                    </a:cubicBezTo>
                    <a:cubicBezTo>
                      <a:pt x="40" y="4"/>
                      <a:pt x="36" y="1"/>
                      <a:pt x="30" y="0"/>
                    </a:cubicBezTo>
                    <a:cubicBezTo>
                      <a:pt x="30"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Freeform 370"/>
              <p:cNvSpPr/>
              <p:nvPr/>
            </p:nvSpPr>
            <p:spPr bwMode="auto">
              <a:xfrm>
                <a:off x="7415" y="3120"/>
                <a:ext cx="456" cy="255"/>
              </a:xfrm>
              <a:custGeom>
                <a:gdLst>
                  <a:gd name="T0" fmla="*/ 137 w 193"/>
                  <a:gd name="T1" fmla="*/ 1 h 108"/>
                  <a:gd name="T2" fmla="*/ 130 w 193"/>
                  <a:gd name="T3" fmla="*/ 8 h 108"/>
                  <a:gd name="T4" fmla="*/ 124 w 193"/>
                  <a:gd name="T5" fmla="*/ 26 h 108"/>
                  <a:gd name="T6" fmla="*/ 121 w 193"/>
                  <a:gd name="T7" fmla="*/ 30 h 108"/>
                  <a:gd name="T8" fmla="*/ 123 w 193"/>
                  <a:gd name="T9" fmla="*/ 32 h 108"/>
                  <a:gd name="T10" fmla="*/ 123 w 193"/>
                  <a:gd name="T11" fmla="*/ 35 h 108"/>
                  <a:gd name="T12" fmla="*/ 117 w 193"/>
                  <a:gd name="T13" fmla="*/ 39 h 108"/>
                  <a:gd name="T14" fmla="*/ 116 w 193"/>
                  <a:gd name="T15" fmla="*/ 41 h 108"/>
                  <a:gd name="T16" fmla="*/ 114 w 193"/>
                  <a:gd name="T17" fmla="*/ 48 h 108"/>
                  <a:gd name="T18" fmla="*/ 113 w 193"/>
                  <a:gd name="T19" fmla="*/ 50 h 108"/>
                  <a:gd name="T20" fmla="*/ 106 w 193"/>
                  <a:gd name="T21" fmla="*/ 57 h 108"/>
                  <a:gd name="T22" fmla="*/ 105 w 193"/>
                  <a:gd name="T23" fmla="*/ 57 h 108"/>
                  <a:gd name="T24" fmla="*/ 102 w 193"/>
                  <a:gd name="T25" fmla="*/ 57 h 108"/>
                  <a:gd name="T26" fmla="*/ 95 w 193"/>
                  <a:gd name="T27" fmla="*/ 59 h 108"/>
                  <a:gd name="T28" fmla="*/ 83 w 193"/>
                  <a:gd name="T29" fmla="*/ 58 h 108"/>
                  <a:gd name="T30" fmla="*/ 74 w 193"/>
                  <a:gd name="T31" fmla="*/ 55 h 108"/>
                  <a:gd name="T32" fmla="*/ 66 w 193"/>
                  <a:gd name="T33" fmla="*/ 56 h 108"/>
                  <a:gd name="T34" fmla="*/ 65 w 193"/>
                  <a:gd name="T35" fmla="*/ 58 h 108"/>
                  <a:gd name="T36" fmla="*/ 53 w 193"/>
                  <a:gd name="T37" fmla="*/ 65 h 108"/>
                  <a:gd name="T38" fmla="*/ 42 w 193"/>
                  <a:gd name="T39" fmla="*/ 65 h 108"/>
                  <a:gd name="T40" fmla="*/ 33 w 193"/>
                  <a:gd name="T41" fmla="*/ 68 h 108"/>
                  <a:gd name="T42" fmla="*/ 27 w 193"/>
                  <a:gd name="T43" fmla="*/ 64 h 108"/>
                  <a:gd name="T44" fmla="*/ 20 w 193"/>
                  <a:gd name="T45" fmla="*/ 58 h 108"/>
                  <a:gd name="T46" fmla="*/ 12 w 193"/>
                  <a:gd name="T47" fmla="*/ 44 h 108"/>
                  <a:gd name="T48" fmla="*/ 1 w 193"/>
                  <a:gd name="T49" fmla="*/ 59 h 108"/>
                  <a:gd name="T50" fmla="*/ 1 w 193"/>
                  <a:gd name="T51" fmla="*/ 69 h 108"/>
                  <a:gd name="T52" fmla="*/ 8 w 193"/>
                  <a:gd name="T53" fmla="*/ 81 h 108"/>
                  <a:gd name="T54" fmla="*/ 6 w 193"/>
                  <a:gd name="T55" fmla="*/ 86 h 108"/>
                  <a:gd name="T56" fmla="*/ 7 w 193"/>
                  <a:gd name="T57" fmla="*/ 97 h 108"/>
                  <a:gd name="T58" fmla="*/ 17 w 193"/>
                  <a:gd name="T59" fmla="*/ 99 h 108"/>
                  <a:gd name="T60" fmla="*/ 150 w 193"/>
                  <a:gd name="T61" fmla="*/ 103 h 108"/>
                  <a:gd name="T62" fmla="*/ 160 w 193"/>
                  <a:gd name="T63" fmla="*/ 97 h 108"/>
                  <a:gd name="T64" fmla="*/ 167 w 193"/>
                  <a:gd name="T65" fmla="*/ 90 h 108"/>
                  <a:gd name="T66" fmla="*/ 164 w 193"/>
                  <a:gd name="T67" fmla="*/ 82 h 108"/>
                  <a:gd name="T68" fmla="*/ 171 w 193"/>
                  <a:gd name="T69" fmla="*/ 66 h 108"/>
                  <a:gd name="T70" fmla="*/ 174 w 193"/>
                  <a:gd name="T71" fmla="*/ 66 h 108"/>
                  <a:gd name="T72" fmla="*/ 178 w 193"/>
                  <a:gd name="T73" fmla="*/ 65 h 108"/>
                  <a:gd name="T74" fmla="*/ 193 w 193"/>
                  <a:gd name="T75" fmla="*/ 62 h 108"/>
                  <a:gd name="T76" fmla="*/ 170 w 193"/>
                  <a:gd name="T77" fmla="*/ 43 h 108"/>
                  <a:gd name="T78" fmla="*/ 173 w 193"/>
                  <a:gd name="T79" fmla="*/ 40 h 108"/>
                  <a:gd name="T80" fmla="*/ 168 w 193"/>
                  <a:gd name="T81" fmla="*/ 26 h 108"/>
                  <a:gd name="T82" fmla="*/ 164 w 193"/>
                  <a:gd name="T83" fmla="*/ 22 h 108"/>
                  <a:gd name="T84" fmla="*/ 160 w 193"/>
                  <a:gd name="T85" fmla="*/ 20 h 108"/>
                  <a:gd name="T86" fmla="*/ 161 w 193"/>
                  <a:gd name="T87" fmla="*/ 20 h 108"/>
                  <a:gd name="T88" fmla="*/ 162 w 193"/>
                  <a:gd name="T89" fmla="*/ 19 h 108"/>
                  <a:gd name="T90" fmla="*/ 161 w 193"/>
                  <a:gd name="T91" fmla="*/ 16 h 108"/>
                  <a:gd name="T92" fmla="*/ 160 w 193"/>
                  <a:gd name="T93" fmla="*/ 15 h 108"/>
                  <a:gd name="T94" fmla="*/ 159 w 193"/>
                  <a:gd name="T95" fmla="*/ 13 h 108"/>
                  <a:gd name="T96" fmla="*/ 164 w 193"/>
                  <a:gd name="T97" fmla="*/ 13 h 108"/>
                  <a:gd name="T98" fmla="*/ 168 w 193"/>
                  <a:gd name="T99" fmla="*/ 8 h 108"/>
                  <a:gd name="T100" fmla="*/ 163 w 193"/>
                  <a:gd name="T101" fmla="*/ 4 h 1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 h="108">
                    <a:moveTo>
                      <a:pt x="147" y="0"/>
                    </a:moveTo>
                    <a:cubicBezTo>
                      <a:pt x="146" y="0"/>
                      <a:pt x="146" y="0"/>
                      <a:pt x="145" y="0"/>
                    </a:cubicBezTo>
                    <a:cubicBezTo>
                      <a:pt x="142" y="1"/>
                      <a:pt x="139" y="1"/>
                      <a:pt x="137" y="1"/>
                    </a:cubicBezTo>
                    <a:cubicBezTo>
                      <a:pt x="136" y="1"/>
                      <a:pt x="136" y="1"/>
                      <a:pt x="135" y="1"/>
                    </a:cubicBezTo>
                    <a:cubicBezTo>
                      <a:pt x="135" y="1"/>
                      <a:pt x="134" y="1"/>
                      <a:pt x="134" y="1"/>
                    </a:cubicBezTo>
                    <a:cubicBezTo>
                      <a:pt x="131" y="4"/>
                      <a:pt x="130" y="6"/>
                      <a:pt x="130" y="8"/>
                    </a:cubicBezTo>
                    <a:cubicBezTo>
                      <a:pt x="131" y="14"/>
                      <a:pt x="131" y="17"/>
                      <a:pt x="129" y="22"/>
                    </a:cubicBezTo>
                    <a:cubicBezTo>
                      <a:pt x="129" y="23"/>
                      <a:pt x="128" y="26"/>
                      <a:pt x="125" y="26"/>
                    </a:cubicBezTo>
                    <a:cubicBezTo>
                      <a:pt x="125" y="26"/>
                      <a:pt x="125" y="26"/>
                      <a:pt x="124" y="26"/>
                    </a:cubicBezTo>
                    <a:cubicBezTo>
                      <a:pt x="124" y="26"/>
                      <a:pt x="124" y="26"/>
                      <a:pt x="124" y="26"/>
                    </a:cubicBezTo>
                    <a:cubicBezTo>
                      <a:pt x="123" y="26"/>
                      <a:pt x="122" y="27"/>
                      <a:pt x="122" y="27"/>
                    </a:cubicBezTo>
                    <a:cubicBezTo>
                      <a:pt x="121" y="28"/>
                      <a:pt x="121" y="29"/>
                      <a:pt x="121" y="30"/>
                    </a:cubicBezTo>
                    <a:cubicBezTo>
                      <a:pt x="122" y="30"/>
                      <a:pt x="122" y="31"/>
                      <a:pt x="123" y="31"/>
                    </a:cubicBezTo>
                    <a:cubicBezTo>
                      <a:pt x="125" y="31"/>
                      <a:pt x="125" y="31"/>
                      <a:pt x="125" y="31"/>
                    </a:cubicBezTo>
                    <a:cubicBezTo>
                      <a:pt x="123" y="32"/>
                      <a:pt x="123" y="32"/>
                      <a:pt x="123" y="32"/>
                    </a:cubicBezTo>
                    <a:cubicBezTo>
                      <a:pt x="123" y="32"/>
                      <a:pt x="123" y="32"/>
                      <a:pt x="123" y="32"/>
                    </a:cubicBezTo>
                    <a:cubicBezTo>
                      <a:pt x="124" y="34"/>
                      <a:pt x="124" y="34"/>
                      <a:pt x="124" y="34"/>
                    </a:cubicBezTo>
                    <a:cubicBezTo>
                      <a:pt x="123" y="35"/>
                      <a:pt x="123" y="35"/>
                      <a:pt x="123" y="35"/>
                    </a:cubicBezTo>
                    <a:cubicBezTo>
                      <a:pt x="122" y="36"/>
                      <a:pt x="120" y="37"/>
                      <a:pt x="119" y="38"/>
                    </a:cubicBezTo>
                    <a:cubicBezTo>
                      <a:pt x="118" y="38"/>
                      <a:pt x="118" y="38"/>
                      <a:pt x="117" y="39"/>
                    </a:cubicBezTo>
                    <a:cubicBezTo>
                      <a:pt x="117" y="39"/>
                      <a:pt x="117" y="39"/>
                      <a:pt x="117" y="39"/>
                    </a:cubicBezTo>
                    <a:cubicBezTo>
                      <a:pt x="116" y="39"/>
                      <a:pt x="116" y="39"/>
                      <a:pt x="116" y="39"/>
                    </a:cubicBezTo>
                    <a:cubicBezTo>
                      <a:pt x="115" y="40"/>
                      <a:pt x="115" y="40"/>
                      <a:pt x="115" y="40"/>
                    </a:cubicBezTo>
                    <a:cubicBezTo>
                      <a:pt x="115" y="40"/>
                      <a:pt x="116" y="40"/>
                      <a:pt x="116" y="41"/>
                    </a:cubicBezTo>
                    <a:cubicBezTo>
                      <a:pt x="116" y="41"/>
                      <a:pt x="116" y="42"/>
                      <a:pt x="116" y="42"/>
                    </a:cubicBezTo>
                    <a:cubicBezTo>
                      <a:pt x="116" y="43"/>
                      <a:pt x="117" y="44"/>
                      <a:pt x="116" y="46"/>
                    </a:cubicBezTo>
                    <a:cubicBezTo>
                      <a:pt x="116" y="47"/>
                      <a:pt x="115" y="48"/>
                      <a:pt x="114" y="48"/>
                    </a:cubicBezTo>
                    <a:cubicBezTo>
                      <a:pt x="113" y="49"/>
                      <a:pt x="113" y="49"/>
                      <a:pt x="113" y="49"/>
                    </a:cubicBezTo>
                    <a:cubicBezTo>
                      <a:pt x="113" y="49"/>
                      <a:pt x="113" y="49"/>
                      <a:pt x="113" y="49"/>
                    </a:cubicBezTo>
                    <a:cubicBezTo>
                      <a:pt x="113" y="49"/>
                      <a:pt x="113" y="50"/>
                      <a:pt x="113" y="50"/>
                    </a:cubicBezTo>
                    <a:cubicBezTo>
                      <a:pt x="112" y="53"/>
                      <a:pt x="112" y="53"/>
                      <a:pt x="112" y="53"/>
                    </a:cubicBezTo>
                    <a:cubicBezTo>
                      <a:pt x="111" y="55"/>
                      <a:pt x="109" y="57"/>
                      <a:pt x="107" y="57"/>
                    </a:cubicBezTo>
                    <a:cubicBezTo>
                      <a:pt x="106" y="57"/>
                      <a:pt x="106" y="57"/>
                      <a:pt x="106" y="57"/>
                    </a:cubicBezTo>
                    <a:cubicBezTo>
                      <a:pt x="106" y="57"/>
                      <a:pt x="105" y="57"/>
                      <a:pt x="105" y="57"/>
                    </a:cubicBezTo>
                    <a:cubicBezTo>
                      <a:pt x="105" y="56"/>
                      <a:pt x="105" y="56"/>
                      <a:pt x="105" y="56"/>
                    </a:cubicBezTo>
                    <a:cubicBezTo>
                      <a:pt x="105" y="57"/>
                      <a:pt x="105" y="57"/>
                      <a:pt x="105" y="57"/>
                    </a:cubicBezTo>
                    <a:cubicBezTo>
                      <a:pt x="105" y="57"/>
                      <a:pt x="104" y="57"/>
                      <a:pt x="104" y="57"/>
                    </a:cubicBezTo>
                    <a:cubicBezTo>
                      <a:pt x="104" y="57"/>
                      <a:pt x="103" y="57"/>
                      <a:pt x="103" y="57"/>
                    </a:cubicBezTo>
                    <a:cubicBezTo>
                      <a:pt x="102" y="57"/>
                      <a:pt x="102" y="57"/>
                      <a:pt x="102" y="57"/>
                    </a:cubicBezTo>
                    <a:cubicBezTo>
                      <a:pt x="100" y="57"/>
                      <a:pt x="100" y="57"/>
                      <a:pt x="100" y="57"/>
                    </a:cubicBezTo>
                    <a:cubicBezTo>
                      <a:pt x="98" y="58"/>
                      <a:pt x="96" y="58"/>
                      <a:pt x="95" y="59"/>
                    </a:cubicBezTo>
                    <a:cubicBezTo>
                      <a:pt x="95" y="59"/>
                      <a:pt x="95" y="59"/>
                      <a:pt x="95" y="59"/>
                    </a:cubicBezTo>
                    <a:cubicBezTo>
                      <a:pt x="94" y="59"/>
                      <a:pt x="93" y="60"/>
                      <a:pt x="93" y="60"/>
                    </a:cubicBezTo>
                    <a:cubicBezTo>
                      <a:pt x="92" y="60"/>
                      <a:pt x="91" y="60"/>
                      <a:pt x="91" y="60"/>
                    </a:cubicBezTo>
                    <a:cubicBezTo>
                      <a:pt x="88" y="60"/>
                      <a:pt x="85" y="59"/>
                      <a:pt x="83" y="58"/>
                    </a:cubicBezTo>
                    <a:cubicBezTo>
                      <a:pt x="82" y="58"/>
                      <a:pt x="82" y="58"/>
                      <a:pt x="82" y="58"/>
                    </a:cubicBezTo>
                    <a:cubicBezTo>
                      <a:pt x="81" y="57"/>
                      <a:pt x="80" y="56"/>
                      <a:pt x="78" y="56"/>
                    </a:cubicBezTo>
                    <a:cubicBezTo>
                      <a:pt x="74" y="55"/>
                      <a:pt x="74" y="55"/>
                      <a:pt x="74" y="55"/>
                    </a:cubicBezTo>
                    <a:cubicBezTo>
                      <a:pt x="75" y="55"/>
                      <a:pt x="75" y="55"/>
                      <a:pt x="75" y="55"/>
                    </a:cubicBezTo>
                    <a:cubicBezTo>
                      <a:pt x="73" y="55"/>
                      <a:pt x="71" y="55"/>
                      <a:pt x="68" y="56"/>
                    </a:cubicBezTo>
                    <a:cubicBezTo>
                      <a:pt x="66" y="56"/>
                      <a:pt x="66" y="56"/>
                      <a:pt x="66" y="56"/>
                    </a:cubicBezTo>
                    <a:cubicBezTo>
                      <a:pt x="65" y="56"/>
                      <a:pt x="65" y="56"/>
                      <a:pt x="65" y="56"/>
                    </a:cubicBezTo>
                    <a:cubicBezTo>
                      <a:pt x="65" y="57"/>
                      <a:pt x="65" y="57"/>
                      <a:pt x="65" y="57"/>
                    </a:cubicBezTo>
                    <a:cubicBezTo>
                      <a:pt x="65" y="58"/>
                      <a:pt x="65" y="58"/>
                      <a:pt x="65" y="58"/>
                    </a:cubicBezTo>
                    <a:cubicBezTo>
                      <a:pt x="65" y="58"/>
                      <a:pt x="65" y="59"/>
                      <a:pt x="64" y="60"/>
                    </a:cubicBezTo>
                    <a:cubicBezTo>
                      <a:pt x="63" y="63"/>
                      <a:pt x="58" y="65"/>
                      <a:pt x="54" y="65"/>
                    </a:cubicBezTo>
                    <a:cubicBezTo>
                      <a:pt x="54" y="65"/>
                      <a:pt x="54" y="65"/>
                      <a:pt x="53" y="65"/>
                    </a:cubicBezTo>
                    <a:cubicBezTo>
                      <a:pt x="52" y="65"/>
                      <a:pt x="51" y="64"/>
                      <a:pt x="51" y="64"/>
                    </a:cubicBezTo>
                    <a:cubicBezTo>
                      <a:pt x="49" y="64"/>
                      <a:pt x="48" y="64"/>
                      <a:pt x="46" y="64"/>
                    </a:cubicBezTo>
                    <a:cubicBezTo>
                      <a:pt x="45" y="64"/>
                      <a:pt x="44" y="64"/>
                      <a:pt x="42" y="65"/>
                    </a:cubicBezTo>
                    <a:cubicBezTo>
                      <a:pt x="42" y="65"/>
                      <a:pt x="41" y="65"/>
                      <a:pt x="41" y="65"/>
                    </a:cubicBezTo>
                    <a:cubicBezTo>
                      <a:pt x="40" y="66"/>
                      <a:pt x="40" y="66"/>
                      <a:pt x="40" y="66"/>
                    </a:cubicBezTo>
                    <a:cubicBezTo>
                      <a:pt x="38" y="67"/>
                      <a:pt x="35" y="68"/>
                      <a:pt x="33" y="68"/>
                    </a:cubicBezTo>
                    <a:cubicBezTo>
                      <a:pt x="32" y="68"/>
                      <a:pt x="32" y="68"/>
                      <a:pt x="32" y="68"/>
                    </a:cubicBezTo>
                    <a:cubicBezTo>
                      <a:pt x="30" y="67"/>
                      <a:pt x="28" y="66"/>
                      <a:pt x="27" y="65"/>
                    </a:cubicBezTo>
                    <a:cubicBezTo>
                      <a:pt x="27" y="64"/>
                      <a:pt x="27" y="64"/>
                      <a:pt x="27" y="64"/>
                    </a:cubicBezTo>
                    <a:cubicBezTo>
                      <a:pt x="26" y="64"/>
                      <a:pt x="26" y="64"/>
                      <a:pt x="26" y="64"/>
                    </a:cubicBezTo>
                    <a:cubicBezTo>
                      <a:pt x="26" y="64"/>
                      <a:pt x="26" y="64"/>
                      <a:pt x="26" y="64"/>
                    </a:cubicBezTo>
                    <a:cubicBezTo>
                      <a:pt x="24" y="62"/>
                      <a:pt x="22" y="60"/>
                      <a:pt x="20" y="58"/>
                    </a:cubicBezTo>
                    <a:cubicBezTo>
                      <a:pt x="19" y="58"/>
                      <a:pt x="19" y="58"/>
                      <a:pt x="19" y="58"/>
                    </a:cubicBezTo>
                    <a:cubicBezTo>
                      <a:pt x="16" y="55"/>
                      <a:pt x="12" y="52"/>
                      <a:pt x="11" y="48"/>
                    </a:cubicBezTo>
                    <a:cubicBezTo>
                      <a:pt x="11" y="46"/>
                      <a:pt x="11" y="45"/>
                      <a:pt x="12" y="44"/>
                    </a:cubicBezTo>
                    <a:cubicBezTo>
                      <a:pt x="10" y="44"/>
                      <a:pt x="9" y="45"/>
                      <a:pt x="8" y="46"/>
                    </a:cubicBezTo>
                    <a:cubicBezTo>
                      <a:pt x="5" y="51"/>
                      <a:pt x="3" y="52"/>
                      <a:pt x="5" y="57"/>
                    </a:cubicBezTo>
                    <a:cubicBezTo>
                      <a:pt x="4" y="58"/>
                      <a:pt x="3" y="59"/>
                      <a:pt x="1" y="59"/>
                    </a:cubicBezTo>
                    <a:cubicBezTo>
                      <a:pt x="1" y="59"/>
                      <a:pt x="1" y="59"/>
                      <a:pt x="1" y="59"/>
                    </a:cubicBezTo>
                    <a:cubicBezTo>
                      <a:pt x="1" y="60"/>
                      <a:pt x="2" y="62"/>
                      <a:pt x="2" y="63"/>
                    </a:cubicBezTo>
                    <a:cubicBezTo>
                      <a:pt x="0" y="66"/>
                      <a:pt x="0" y="66"/>
                      <a:pt x="1" y="69"/>
                    </a:cubicBezTo>
                    <a:cubicBezTo>
                      <a:pt x="1" y="70"/>
                      <a:pt x="0" y="75"/>
                      <a:pt x="1" y="76"/>
                    </a:cubicBezTo>
                    <a:cubicBezTo>
                      <a:pt x="3" y="77"/>
                      <a:pt x="4" y="77"/>
                      <a:pt x="5" y="79"/>
                    </a:cubicBezTo>
                    <a:cubicBezTo>
                      <a:pt x="6" y="80"/>
                      <a:pt x="7" y="81"/>
                      <a:pt x="8" y="81"/>
                    </a:cubicBezTo>
                    <a:cubicBezTo>
                      <a:pt x="7" y="81"/>
                      <a:pt x="6" y="81"/>
                      <a:pt x="6" y="81"/>
                    </a:cubicBezTo>
                    <a:cubicBezTo>
                      <a:pt x="5" y="81"/>
                      <a:pt x="6" y="82"/>
                      <a:pt x="6" y="83"/>
                    </a:cubicBezTo>
                    <a:cubicBezTo>
                      <a:pt x="6" y="84"/>
                      <a:pt x="6" y="85"/>
                      <a:pt x="6" y="86"/>
                    </a:cubicBezTo>
                    <a:cubicBezTo>
                      <a:pt x="6" y="86"/>
                      <a:pt x="5" y="86"/>
                      <a:pt x="5" y="86"/>
                    </a:cubicBezTo>
                    <a:cubicBezTo>
                      <a:pt x="3" y="86"/>
                      <a:pt x="4" y="89"/>
                      <a:pt x="5" y="91"/>
                    </a:cubicBezTo>
                    <a:cubicBezTo>
                      <a:pt x="5" y="92"/>
                      <a:pt x="6" y="95"/>
                      <a:pt x="7" y="97"/>
                    </a:cubicBezTo>
                    <a:cubicBezTo>
                      <a:pt x="8" y="98"/>
                      <a:pt x="7" y="98"/>
                      <a:pt x="9" y="99"/>
                    </a:cubicBezTo>
                    <a:cubicBezTo>
                      <a:pt x="11" y="99"/>
                      <a:pt x="13" y="100"/>
                      <a:pt x="14" y="100"/>
                    </a:cubicBezTo>
                    <a:cubicBezTo>
                      <a:pt x="15" y="100"/>
                      <a:pt x="16" y="100"/>
                      <a:pt x="17" y="99"/>
                    </a:cubicBezTo>
                    <a:cubicBezTo>
                      <a:pt x="19" y="101"/>
                      <a:pt x="22" y="104"/>
                      <a:pt x="22" y="108"/>
                    </a:cubicBezTo>
                    <a:cubicBezTo>
                      <a:pt x="150" y="108"/>
                      <a:pt x="150" y="108"/>
                      <a:pt x="150" y="108"/>
                    </a:cubicBezTo>
                    <a:cubicBezTo>
                      <a:pt x="150" y="106"/>
                      <a:pt x="150" y="105"/>
                      <a:pt x="150" y="103"/>
                    </a:cubicBezTo>
                    <a:cubicBezTo>
                      <a:pt x="151" y="104"/>
                      <a:pt x="151" y="106"/>
                      <a:pt x="152" y="106"/>
                    </a:cubicBezTo>
                    <a:cubicBezTo>
                      <a:pt x="153" y="106"/>
                      <a:pt x="153" y="106"/>
                      <a:pt x="153" y="106"/>
                    </a:cubicBezTo>
                    <a:cubicBezTo>
                      <a:pt x="156" y="104"/>
                      <a:pt x="158" y="99"/>
                      <a:pt x="160" y="97"/>
                    </a:cubicBezTo>
                    <a:cubicBezTo>
                      <a:pt x="161" y="97"/>
                      <a:pt x="161" y="98"/>
                      <a:pt x="162" y="98"/>
                    </a:cubicBezTo>
                    <a:cubicBezTo>
                      <a:pt x="163" y="98"/>
                      <a:pt x="166" y="97"/>
                      <a:pt x="167" y="96"/>
                    </a:cubicBezTo>
                    <a:cubicBezTo>
                      <a:pt x="164" y="95"/>
                      <a:pt x="168" y="91"/>
                      <a:pt x="167" y="90"/>
                    </a:cubicBezTo>
                    <a:cubicBezTo>
                      <a:pt x="167" y="90"/>
                      <a:pt x="167" y="90"/>
                      <a:pt x="167" y="90"/>
                    </a:cubicBezTo>
                    <a:cubicBezTo>
                      <a:pt x="166" y="90"/>
                      <a:pt x="164" y="91"/>
                      <a:pt x="163" y="92"/>
                    </a:cubicBezTo>
                    <a:cubicBezTo>
                      <a:pt x="164" y="88"/>
                      <a:pt x="164" y="86"/>
                      <a:pt x="164" y="82"/>
                    </a:cubicBezTo>
                    <a:cubicBezTo>
                      <a:pt x="164" y="78"/>
                      <a:pt x="165" y="75"/>
                      <a:pt x="167" y="72"/>
                    </a:cubicBezTo>
                    <a:cubicBezTo>
                      <a:pt x="168" y="71"/>
                      <a:pt x="169" y="67"/>
                      <a:pt x="171" y="66"/>
                    </a:cubicBezTo>
                    <a:cubicBezTo>
                      <a:pt x="171" y="66"/>
                      <a:pt x="171" y="66"/>
                      <a:pt x="171" y="66"/>
                    </a:cubicBezTo>
                    <a:cubicBezTo>
                      <a:pt x="172" y="66"/>
                      <a:pt x="172" y="66"/>
                      <a:pt x="173" y="66"/>
                    </a:cubicBezTo>
                    <a:cubicBezTo>
                      <a:pt x="173" y="66"/>
                      <a:pt x="174" y="66"/>
                      <a:pt x="174" y="66"/>
                    </a:cubicBezTo>
                    <a:cubicBezTo>
                      <a:pt x="174" y="66"/>
                      <a:pt x="174" y="66"/>
                      <a:pt x="174" y="66"/>
                    </a:cubicBezTo>
                    <a:cubicBezTo>
                      <a:pt x="175" y="66"/>
                      <a:pt x="174" y="65"/>
                      <a:pt x="174" y="65"/>
                    </a:cubicBezTo>
                    <a:cubicBezTo>
                      <a:pt x="174" y="63"/>
                      <a:pt x="172" y="62"/>
                      <a:pt x="172" y="60"/>
                    </a:cubicBezTo>
                    <a:cubicBezTo>
                      <a:pt x="175" y="61"/>
                      <a:pt x="174" y="64"/>
                      <a:pt x="178" y="65"/>
                    </a:cubicBezTo>
                    <a:cubicBezTo>
                      <a:pt x="180" y="66"/>
                      <a:pt x="181" y="66"/>
                      <a:pt x="183" y="66"/>
                    </a:cubicBezTo>
                    <a:cubicBezTo>
                      <a:pt x="185" y="66"/>
                      <a:pt x="186" y="66"/>
                      <a:pt x="187" y="66"/>
                    </a:cubicBezTo>
                    <a:cubicBezTo>
                      <a:pt x="190" y="66"/>
                      <a:pt x="191" y="65"/>
                      <a:pt x="193" y="62"/>
                    </a:cubicBezTo>
                    <a:cubicBezTo>
                      <a:pt x="191" y="61"/>
                      <a:pt x="190" y="60"/>
                      <a:pt x="188" y="60"/>
                    </a:cubicBezTo>
                    <a:cubicBezTo>
                      <a:pt x="182" y="54"/>
                      <a:pt x="174" y="49"/>
                      <a:pt x="169" y="43"/>
                    </a:cubicBezTo>
                    <a:cubicBezTo>
                      <a:pt x="169" y="43"/>
                      <a:pt x="170" y="43"/>
                      <a:pt x="170" y="43"/>
                    </a:cubicBezTo>
                    <a:cubicBezTo>
                      <a:pt x="171" y="43"/>
                      <a:pt x="171" y="43"/>
                      <a:pt x="171" y="42"/>
                    </a:cubicBezTo>
                    <a:cubicBezTo>
                      <a:pt x="171" y="42"/>
                      <a:pt x="171" y="42"/>
                      <a:pt x="171" y="42"/>
                    </a:cubicBezTo>
                    <a:cubicBezTo>
                      <a:pt x="172" y="42"/>
                      <a:pt x="173" y="41"/>
                      <a:pt x="173" y="40"/>
                    </a:cubicBezTo>
                    <a:cubicBezTo>
                      <a:pt x="174" y="37"/>
                      <a:pt x="173" y="34"/>
                      <a:pt x="170" y="32"/>
                    </a:cubicBezTo>
                    <a:cubicBezTo>
                      <a:pt x="170" y="31"/>
                      <a:pt x="166" y="29"/>
                      <a:pt x="166" y="28"/>
                    </a:cubicBezTo>
                    <a:cubicBezTo>
                      <a:pt x="168" y="26"/>
                      <a:pt x="168" y="26"/>
                      <a:pt x="168" y="26"/>
                    </a:cubicBezTo>
                    <a:cubicBezTo>
                      <a:pt x="167" y="26"/>
                      <a:pt x="166" y="26"/>
                      <a:pt x="165" y="26"/>
                    </a:cubicBezTo>
                    <a:cubicBezTo>
                      <a:pt x="166" y="25"/>
                      <a:pt x="166" y="24"/>
                      <a:pt x="166" y="23"/>
                    </a:cubicBezTo>
                    <a:cubicBezTo>
                      <a:pt x="165" y="23"/>
                      <a:pt x="165" y="22"/>
                      <a:pt x="164" y="22"/>
                    </a:cubicBezTo>
                    <a:cubicBezTo>
                      <a:pt x="163" y="22"/>
                      <a:pt x="160" y="21"/>
                      <a:pt x="160" y="20"/>
                    </a:cubicBezTo>
                    <a:cubicBezTo>
                      <a:pt x="160" y="20"/>
                      <a:pt x="160" y="20"/>
                      <a:pt x="160" y="20"/>
                    </a:cubicBezTo>
                    <a:cubicBezTo>
                      <a:pt x="160" y="20"/>
                      <a:pt x="160" y="20"/>
                      <a:pt x="160" y="20"/>
                    </a:cubicBezTo>
                    <a:cubicBezTo>
                      <a:pt x="160" y="20"/>
                      <a:pt x="160" y="20"/>
                      <a:pt x="160" y="20"/>
                    </a:cubicBezTo>
                    <a:cubicBezTo>
                      <a:pt x="161" y="20"/>
                      <a:pt x="161" y="20"/>
                      <a:pt x="161" y="20"/>
                    </a:cubicBezTo>
                    <a:cubicBezTo>
                      <a:pt x="160" y="20"/>
                      <a:pt x="160" y="20"/>
                      <a:pt x="161" y="20"/>
                    </a:cubicBezTo>
                    <a:cubicBezTo>
                      <a:pt x="161" y="20"/>
                      <a:pt x="161" y="20"/>
                      <a:pt x="161" y="20"/>
                    </a:cubicBezTo>
                    <a:cubicBezTo>
                      <a:pt x="161" y="20"/>
                      <a:pt x="162" y="19"/>
                      <a:pt x="162" y="19"/>
                    </a:cubicBezTo>
                    <a:cubicBezTo>
                      <a:pt x="162" y="19"/>
                      <a:pt x="162" y="19"/>
                      <a:pt x="162" y="19"/>
                    </a:cubicBezTo>
                    <a:cubicBezTo>
                      <a:pt x="162" y="19"/>
                      <a:pt x="163" y="17"/>
                      <a:pt x="163" y="16"/>
                    </a:cubicBezTo>
                    <a:cubicBezTo>
                      <a:pt x="163" y="16"/>
                      <a:pt x="163" y="16"/>
                      <a:pt x="163" y="16"/>
                    </a:cubicBezTo>
                    <a:cubicBezTo>
                      <a:pt x="162" y="16"/>
                      <a:pt x="162" y="16"/>
                      <a:pt x="161" y="16"/>
                    </a:cubicBezTo>
                    <a:cubicBezTo>
                      <a:pt x="161" y="15"/>
                      <a:pt x="161" y="15"/>
                      <a:pt x="160" y="15"/>
                    </a:cubicBezTo>
                    <a:cubicBezTo>
                      <a:pt x="160" y="14"/>
                      <a:pt x="160" y="14"/>
                      <a:pt x="160" y="14"/>
                    </a:cubicBezTo>
                    <a:cubicBezTo>
                      <a:pt x="160" y="15"/>
                      <a:pt x="160" y="15"/>
                      <a:pt x="160" y="15"/>
                    </a:cubicBezTo>
                    <a:cubicBezTo>
                      <a:pt x="159" y="14"/>
                      <a:pt x="159" y="13"/>
                      <a:pt x="158" y="13"/>
                    </a:cubicBezTo>
                    <a:cubicBezTo>
                      <a:pt x="158" y="13"/>
                      <a:pt x="158" y="13"/>
                      <a:pt x="158" y="13"/>
                    </a:cubicBezTo>
                    <a:cubicBezTo>
                      <a:pt x="158" y="13"/>
                      <a:pt x="159" y="13"/>
                      <a:pt x="159" y="13"/>
                    </a:cubicBezTo>
                    <a:cubicBezTo>
                      <a:pt x="159" y="13"/>
                      <a:pt x="160" y="13"/>
                      <a:pt x="160" y="13"/>
                    </a:cubicBezTo>
                    <a:cubicBezTo>
                      <a:pt x="161" y="13"/>
                      <a:pt x="161" y="13"/>
                      <a:pt x="162" y="13"/>
                    </a:cubicBezTo>
                    <a:cubicBezTo>
                      <a:pt x="163" y="13"/>
                      <a:pt x="163" y="13"/>
                      <a:pt x="164" y="13"/>
                    </a:cubicBezTo>
                    <a:cubicBezTo>
                      <a:pt x="165" y="13"/>
                      <a:pt x="164" y="10"/>
                      <a:pt x="164" y="10"/>
                    </a:cubicBezTo>
                    <a:cubicBezTo>
                      <a:pt x="166" y="11"/>
                      <a:pt x="168" y="11"/>
                      <a:pt x="171" y="11"/>
                    </a:cubicBezTo>
                    <a:cubicBezTo>
                      <a:pt x="169" y="11"/>
                      <a:pt x="169" y="9"/>
                      <a:pt x="168" y="8"/>
                    </a:cubicBezTo>
                    <a:cubicBezTo>
                      <a:pt x="168" y="7"/>
                      <a:pt x="165" y="5"/>
                      <a:pt x="164" y="5"/>
                    </a:cubicBezTo>
                    <a:cubicBezTo>
                      <a:pt x="164" y="5"/>
                      <a:pt x="164" y="5"/>
                      <a:pt x="164" y="5"/>
                    </a:cubicBezTo>
                    <a:cubicBezTo>
                      <a:pt x="164" y="4"/>
                      <a:pt x="164" y="4"/>
                      <a:pt x="163" y="4"/>
                    </a:cubicBezTo>
                    <a:cubicBezTo>
                      <a:pt x="163" y="4"/>
                      <a:pt x="162" y="4"/>
                      <a:pt x="161" y="3"/>
                    </a:cubicBezTo>
                    <a:cubicBezTo>
                      <a:pt x="157" y="2"/>
                      <a:pt x="151"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Freeform 371"/>
              <p:cNvSpPr>
                <a:spLocks noEditPoints="1"/>
              </p:cNvSpPr>
              <p:nvPr/>
            </p:nvSpPr>
            <p:spPr bwMode="auto">
              <a:xfrm>
                <a:off x="7704" y="2997"/>
                <a:ext cx="179" cy="128"/>
              </a:xfrm>
              <a:custGeom>
                <a:gdLst>
                  <a:gd name="T0" fmla="*/ 61 w 76"/>
                  <a:gd name="T1" fmla="*/ 46 h 54"/>
                  <a:gd name="T2" fmla="*/ 61 w 76"/>
                  <a:gd name="T3" fmla="*/ 46 h 54"/>
                  <a:gd name="T4" fmla="*/ 25 w 76"/>
                  <a:gd name="T5" fmla="*/ 7 h 54"/>
                  <a:gd name="T6" fmla="*/ 10 w 76"/>
                  <a:gd name="T7" fmla="*/ 28 h 54"/>
                  <a:gd name="T8" fmla="*/ 4 w 76"/>
                  <a:gd name="T9" fmla="*/ 28 h 54"/>
                  <a:gd name="T10" fmla="*/ 2 w 76"/>
                  <a:gd name="T11" fmla="*/ 32 h 54"/>
                  <a:gd name="T12" fmla="*/ 3 w 76"/>
                  <a:gd name="T13" fmla="*/ 37 h 54"/>
                  <a:gd name="T14" fmla="*/ 1 w 76"/>
                  <a:gd name="T15" fmla="*/ 44 h 54"/>
                  <a:gd name="T16" fmla="*/ 4 w 76"/>
                  <a:gd name="T17" fmla="*/ 50 h 54"/>
                  <a:gd name="T18" fmla="*/ 10 w 76"/>
                  <a:gd name="T19" fmla="*/ 48 h 54"/>
                  <a:gd name="T20" fmla="*/ 13 w 76"/>
                  <a:gd name="T21" fmla="*/ 48 h 54"/>
                  <a:gd name="T22" fmla="*/ 15 w 76"/>
                  <a:gd name="T23" fmla="*/ 48 h 54"/>
                  <a:gd name="T24" fmla="*/ 22 w 76"/>
                  <a:gd name="T25" fmla="*/ 48 h 54"/>
                  <a:gd name="T26" fmla="*/ 25 w 76"/>
                  <a:gd name="T27" fmla="*/ 47 h 54"/>
                  <a:gd name="T28" fmla="*/ 45 w 76"/>
                  <a:gd name="T29" fmla="*/ 52 h 54"/>
                  <a:gd name="T30" fmla="*/ 49 w 76"/>
                  <a:gd name="T31" fmla="*/ 51 h 54"/>
                  <a:gd name="T32" fmla="*/ 64 w 76"/>
                  <a:gd name="T33" fmla="*/ 49 h 54"/>
                  <a:gd name="T34" fmla="*/ 62 w 76"/>
                  <a:gd name="T35" fmla="*/ 48 h 54"/>
                  <a:gd name="T36" fmla="*/ 62 w 76"/>
                  <a:gd name="T37" fmla="*/ 48 h 54"/>
                  <a:gd name="T38" fmla="*/ 59 w 76"/>
                  <a:gd name="T39" fmla="*/ 46 h 54"/>
                  <a:gd name="T40" fmla="*/ 59 w 76"/>
                  <a:gd name="T41" fmla="*/ 38 h 54"/>
                  <a:gd name="T42" fmla="*/ 62 w 76"/>
                  <a:gd name="T43" fmla="*/ 39 h 54"/>
                  <a:gd name="T44" fmla="*/ 72 w 76"/>
                  <a:gd name="T45" fmla="*/ 35 h 54"/>
                  <a:gd name="T46" fmla="*/ 75 w 76"/>
                  <a:gd name="T47" fmla="*/ 31 h 54"/>
                  <a:gd name="T48" fmla="*/ 70 w 76"/>
                  <a:gd name="T49" fmla="*/ 31 h 54"/>
                  <a:gd name="T50" fmla="*/ 62 w 76"/>
                  <a:gd name="T51" fmla="*/ 28 h 54"/>
                  <a:gd name="T52" fmla="*/ 56 w 76"/>
                  <a:gd name="T53" fmla="*/ 23 h 54"/>
                  <a:gd name="T54" fmla="*/ 52 w 76"/>
                  <a:gd name="T55" fmla="*/ 25 h 54"/>
                  <a:gd name="T56" fmla="*/ 51 w 76"/>
                  <a:gd name="T57" fmla="*/ 23 h 54"/>
                  <a:gd name="T58" fmla="*/ 53 w 76"/>
                  <a:gd name="T59" fmla="*/ 23 h 54"/>
                  <a:gd name="T60" fmla="*/ 51 w 76"/>
                  <a:gd name="T61" fmla="*/ 19 h 54"/>
                  <a:gd name="T62" fmla="*/ 50 w 76"/>
                  <a:gd name="T63" fmla="*/ 20 h 54"/>
                  <a:gd name="T64" fmla="*/ 44 w 76"/>
                  <a:gd name="T65" fmla="*/ 21 h 54"/>
                  <a:gd name="T66" fmla="*/ 45 w 76"/>
                  <a:gd name="T67" fmla="*/ 16 h 54"/>
                  <a:gd name="T68" fmla="*/ 47 w 76"/>
                  <a:gd name="T69" fmla="*/ 13 h 54"/>
                  <a:gd name="T70" fmla="*/ 40 w 76"/>
                  <a:gd name="T71" fmla="*/ 7 h 54"/>
                  <a:gd name="T72" fmla="*/ 34 w 76"/>
                  <a:gd name="T73" fmla="*/ 0 h 54"/>
                  <a:gd name="T74" fmla="*/ 29 w 76"/>
                  <a:gd name="T75" fmla="*/ 8 h 54"/>
                  <a:gd name="T76" fmla="*/ 28 w 76"/>
                  <a:gd name="T77" fmla="*/ 0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6" h="54">
                    <a:moveTo>
                      <a:pt x="61" y="46"/>
                    </a:moveTo>
                    <a:cubicBezTo>
                      <a:pt x="61" y="46"/>
                      <a:pt x="61" y="46"/>
                      <a:pt x="61" y="46"/>
                    </a:cubicBezTo>
                    <a:cubicBezTo>
                      <a:pt x="61" y="46"/>
                      <a:pt x="61" y="46"/>
                      <a:pt x="61" y="46"/>
                    </a:cubicBezTo>
                    <a:cubicBezTo>
                      <a:pt x="61" y="46"/>
                      <a:pt x="61" y="46"/>
                      <a:pt x="61" y="46"/>
                    </a:cubicBezTo>
                    <a:moveTo>
                      <a:pt x="28" y="0"/>
                    </a:moveTo>
                    <a:cubicBezTo>
                      <a:pt x="27" y="2"/>
                      <a:pt x="27" y="5"/>
                      <a:pt x="25" y="7"/>
                    </a:cubicBezTo>
                    <a:cubicBezTo>
                      <a:pt x="23" y="9"/>
                      <a:pt x="20" y="12"/>
                      <a:pt x="18" y="15"/>
                    </a:cubicBezTo>
                    <a:cubicBezTo>
                      <a:pt x="14" y="18"/>
                      <a:pt x="12" y="24"/>
                      <a:pt x="10" y="28"/>
                    </a:cubicBezTo>
                    <a:cubicBezTo>
                      <a:pt x="8" y="27"/>
                      <a:pt x="7" y="27"/>
                      <a:pt x="7" y="27"/>
                    </a:cubicBezTo>
                    <a:cubicBezTo>
                      <a:pt x="6" y="27"/>
                      <a:pt x="5" y="27"/>
                      <a:pt x="4" y="28"/>
                    </a:cubicBezTo>
                    <a:cubicBezTo>
                      <a:pt x="3" y="30"/>
                      <a:pt x="1" y="30"/>
                      <a:pt x="2" y="32"/>
                    </a:cubicBezTo>
                    <a:cubicBezTo>
                      <a:pt x="2" y="32"/>
                      <a:pt x="2" y="32"/>
                      <a:pt x="2" y="32"/>
                    </a:cubicBezTo>
                    <a:cubicBezTo>
                      <a:pt x="2" y="33"/>
                      <a:pt x="3" y="33"/>
                      <a:pt x="3" y="34"/>
                    </a:cubicBezTo>
                    <a:cubicBezTo>
                      <a:pt x="4" y="35"/>
                      <a:pt x="3" y="36"/>
                      <a:pt x="3" y="37"/>
                    </a:cubicBezTo>
                    <a:cubicBezTo>
                      <a:pt x="3" y="39"/>
                      <a:pt x="1" y="40"/>
                      <a:pt x="0" y="40"/>
                    </a:cubicBezTo>
                    <a:cubicBezTo>
                      <a:pt x="0" y="41"/>
                      <a:pt x="1" y="43"/>
                      <a:pt x="1" y="44"/>
                    </a:cubicBezTo>
                    <a:cubicBezTo>
                      <a:pt x="1" y="44"/>
                      <a:pt x="1" y="44"/>
                      <a:pt x="1" y="44"/>
                    </a:cubicBezTo>
                    <a:cubicBezTo>
                      <a:pt x="2" y="47"/>
                      <a:pt x="3" y="48"/>
                      <a:pt x="4" y="50"/>
                    </a:cubicBezTo>
                    <a:cubicBezTo>
                      <a:pt x="6" y="54"/>
                      <a:pt x="6" y="54"/>
                      <a:pt x="6" y="54"/>
                    </a:cubicBezTo>
                    <a:cubicBezTo>
                      <a:pt x="7" y="52"/>
                      <a:pt x="8" y="50"/>
                      <a:pt x="10" y="48"/>
                    </a:cubicBezTo>
                    <a:cubicBezTo>
                      <a:pt x="12" y="46"/>
                      <a:pt x="12" y="46"/>
                      <a:pt x="12" y="46"/>
                    </a:cubicBezTo>
                    <a:cubicBezTo>
                      <a:pt x="13" y="48"/>
                      <a:pt x="13" y="48"/>
                      <a:pt x="13" y="48"/>
                    </a:cubicBezTo>
                    <a:cubicBezTo>
                      <a:pt x="14" y="48"/>
                      <a:pt x="14" y="48"/>
                      <a:pt x="14" y="48"/>
                    </a:cubicBezTo>
                    <a:cubicBezTo>
                      <a:pt x="14" y="48"/>
                      <a:pt x="14" y="48"/>
                      <a:pt x="15" y="48"/>
                    </a:cubicBezTo>
                    <a:cubicBezTo>
                      <a:pt x="15" y="48"/>
                      <a:pt x="15" y="48"/>
                      <a:pt x="15" y="48"/>
                    </a:cubicBezTo>
                    <a:cubicBezTo>
                      <a:pt x="16" y="48"/>
                      <a:pt x="19" y="48"/>
                      <a:pt x="22" y="48"/>
                    </a:cubicBezTo>
                    <a:cubicBezTo>
                      <a:pt x="22" y="48"/>
                      <a:pt x="22" y="48"/>
                      <a:pt x="22" y="48"/>
                    </a:cubicBezTo>
                    <a:cubicBezTo>
                      <a:pt x="23" y="48"/>
                      <a:pt x="24" y="47"/>
                      <a:pt x="25" y="47"/>
                    </a:cubicBezTo>
                    <a:cubicBezTo>
                      <a:pt x="30" y="47"/>
                      <a:pt x="36" y="49"/>
                      <a:pt x="41" y="51"/>
                    </a:cubicBezTo>
                    <a:cubicBezTo>
                      <a:pt x="42" y="51"/>
                      <a:pt x="43" y="52"/>
                      <a:pt x="45" y="52"/>
                    </a:cubicBezTo>
                    <a:cubicBezTo>
                      <a:pt x="45" y="51"/>
                      <a:pt x="45" y="50"/>
                      <a:pt x="45" y="49"/>
                    </a:cubicBezTo>
                    <a:cubicBezTo>
                      <a:pt x="46" y="51"/>
                      <a:pt x="48" y="51"/>
                      <a:pt x="49" y="51"/>
                    </a:cubicBezTo>
                    <a:cubicBezTo>
                      <a:pt x="50" y="51"/>
                      <a:pt x="52" y="51"/>
                      <a:pt x="54" y="51"/>
                    </a:cubicBezTo>
                    <a:cubicBezTo>
                      <a:pt x="58" y="51"/>
                      <a:pt x="64" y="51"/>
                      <a:pt x="64" y="49"/>
                    </a:cubicBezTo>
                    <a:cubicBezTo>
                      <a:pt x="64" y="48"/>
                      <a:pt x="63" y="48"/>
                      <a:pt x="63" y="48"/>
                    </a:cubicBezTo>
                    <a:cubicBezTo>
                      <a:pt x="62" y="48"/>
                      <a:pt x="62" y="48"/>
                      <a:pt x="62" y="48"/>
                    </a:cubicBezTo>
                    <a:cubicBezTo>
                      <a:pt x="62" y="48"/>
                      <a:pt x="62" y="48"/>
                      <a:pt x="62" y="48"/>
                    </a:cubicBezTo>
                    <a:cubicBezTo>
                      <a:pt x="62" y="48"/>
                      <a:pt x="62" y="48"/>
                      <a:pt x="62" y="48"/>
                    </a:cubicBezTo>
                    <a:cubicBezTo>
                      <a:pt x="61" y="47"/>
                      <a:pt x="61" y="46"/>
                      <a:pt x="61" y="46"/>
                    </a:cubicBezTo>
                    <a:cubicBezTo>
                      <a:pt x="61" y="46"/>
                      <a:pt x="60" y="46"/>
                      <a:pt x="59" y="46"/>
                    </a:cubicBezTo>
                    <a:cubicBezTo>
                      <a:pt x="58" y="45"/>
                      <a:pt x="57" y="44"/>
                      <a:pt x="56" y="43"/>
                    </a:cubicBezTo>
                    <a:cubicBezTo>
                      <a:pt x="54" y="40"/>
                      <a:pt x="56" y="38"/>
                      <a:pt x="59" y="38"/>
                    </a:cubicBezTo>
                    <a:cubicBezTo>
                      <a:pt x="59" y="38"/>
                      <a:pt x="60" y="38"/>
                      <a:pt x="60" y="38"/>
                    </a:cubicBezTo>
                    <a:cubicBezTo>
                      <a:pt x="61" y="39"/>
                      <a:pt x="60" y="39"/>
                      <a:pt x="62" y="39"/>
                    </a:cubicBezTo>
                    <a:cubicBezTo>
                      <a:pt x="62" y="39"/>
                      <a:pt x="62" y="39"/>
                      <a:pt x="62" y="39"/>
                    </a:cubicBezTo>
                    <a:cubicBezTo>
                      <a:pt x="65" y="39"/>
                      <a:pt x="70" y="36"/>
                      <a:pt x="72" y="35"/>
                    </a:cubicBezTo>
                    <a:cubicBezTo>
                      <a:pt x="73" y="35"/>
                      <a:pt x="75" y="34"/>
                      <a:pt x="76" y="33"/>
                    </a:cubicBezTo>
                    <a:cubicBezTo>
                      <a:pt x="76" y="32"/>
                      <a:pt x="76" y="31"/>
                      <a:pt x="75" y="31"/>
                    </a:cubicBezTo>
                    <a:cubicBezTo>
                      <a:pt x="74" y="31"/>
                      <a:pt x="73" y="31"/>
                      <a:pt x="72" y="31"/>
                    </a:cubicBezTo>
                    <a:cubicBezTo>
                      <a:pt x="71" y="31"/>
                      <a:pt x="70" y="31"/>
                      <a:pt x="70" y="31"/>
                    </a:cubicBezTo>
                    <a:cubicBezTo>
                      <a:pt x="68" y="30"/>
                      <a:pt x="66" y="26"/>
                      <a:pt x="64" y="26"/>
                    </a:cubicBezTo>
                    <a:cubicBezTo>
                      <a:pt x="63" y="26"/>
                      <a:pt x="63" y="27"/>
                      <a:pt x="62" y="28"/>
                    </a:cubicBezTo>
                    <a:cubicBezTo>
                      <a:pt x="63" y="26"/>
                      <a:pt x="59" y="23"/>
                      <a:pt x="57" y="23"/>
                    </a:cubicBezTo>
                    <a:cubicBezTo>
                      <a:pt x="56" y="23"/>
                      <a:pt x="56" y="23"/>
                      <a:pt x="56" y="23"/>
                    </a:cubicBezTo>
                    <a:cubicBezTo>
                      <a:pt x="54" y="23"/>
                      <a:pt x="55" y="24"/>
                      <a:pt x="53" y="25"/>
                    </a:cubicBezTo>
                    <a:cubicBezTo>
                      <a:pt x="53" y="25"/>
                      <a:pt x="53" y="25"/>
                      <a:pt x="52" y="25"/>
                    </a:cubicBezTo>
                    <a:cubicBezTo>
                      <a:pt x="51" y="25"/>
                      <a:pt x="49" y="24"/>
                      <a:pt x="50" y="23"/>
                    </a:cubicBezTo>
                    <a:cubicBezTo>
                      <a:pt x="50" y="23"/>
                      <a:pt x="51" y="23"/>
                      <a:pt x="51" y="23"/>
                    </a:cubicBezTo>
                    <a:cubicBezTo>
                      <a:pt x="51" y="23"/>
                      <a:pt x="52" y="23"/>
                      <a:pt x="52" y="23"/>
                    </a:cubicBezTo>
                    <a:cubicBezTo>
                      <a:pt x="52" y="23"/>
                      <a:pt x="52" y="23"/>
                      <a:pt x="53" y="23"/>
                    </a:cubicBezTo>
                    <a:cubicBezTo>
                      <a:pt x="53" y="23"/>
                      <a:pt x="54" y="23"/>
                      <a:pt x="54" y="22"/>
                    </a:cubicBezTo>
                    <a:cubicBezTo>
                      <a:pt x="55" y="21"/>
                      <a:pt x="52" y="19"/>
                      <a:pt x="51" y="19"/>
                    </a:cubicBezTo>
                    <a:cubicBezTo>
                      <a:pt x="51" y="19"/>
                      <a:pt x="51" y="19"/>
                      <a:pt x="51" y="19"/>
                    </a:cubicBezTo>
                    <a:cubicBezTo>
                      <a:pt x="51" y="19"/>
                      <a:pt x="50" y="20"/>
                      <a:pt x="50" y="20"/>
                    </a:cubicBezTo>
                    <a:cubicBezTo>
                      <a:pt x="47" y="21"/>
                      <a:pt x="45" y="21"/>
                      <a:pt x="42" y="22"/>
                    </a:cubicBezTo>
                    <a:cubicBezTo>
                      <a:pt x="42" y="21"/>
                      <a:pt x="43" y="21"/>
                      <a:pt x="44" y="21"/>
                    </a:cubicBezTo>
                    <a:cubicBezTo>
                      <a:pt x="46" y="20"/>
                      <a:pt x="45" y="20"/>
                      <a:pt x="45" y="19"/>
                    </a:cubicBezTo>
                    <a:cubicBezTo>
                      <a:pt x="45" y="18"/>
                      <a:pt x="45" y="17"/>
                      <a:pt x="45" y="16"/>
                    </a:cubicBezTo>
                    <a:cubicBezTo>
                      <a:pt x="45" y="15"/>
                      <a:pt x="45" y="16"/>
                      <a:pt x="45" y="15"/>
                    </a:cubicBezTo>
                    <a:cubicBezTo>
                      <a:pt x="46" y="14"/>
                      <a:pt x="47" y="15"/>
                      <a:pt x="47" y="13"/>
                    </a:cubicBezTo>
                    <a:cubicBezTo>
                      <a:pt x="47" y="12"/>
                      <a:pt x="45" y="10"/>
                      <a:pt x="44" y="9"/>
                    </a:cubicBezTo>
                    <a:cubicBezTo>
                      <a:pt x="43" y="7"/>
                      <a:pt x="42" y="7"/>
                      <a:pt x="40" y="7"/>
                    </a:cubicBezTo>
                    <a:cubicBezTo>
                      <a:pt x="37" y="7"/>
                      <a:pt x="37" y="0"/>
                      <a:pt x="35" y="0"/>
                    </a:cubicBezTo>
                    <a:cubicBezTo>
                      <a:pt x="35" y="0"/>
                      <a:pt x="34" y="0"/>
                      <a:pt x="34" y="0"/>
                    </a:cubicBezTo>
                    <a:cubicBezTo>
                      <a:pt x="33" y="1"/>
                      <a:pt x="34" y="2"/>
                      <a:pt x="34" y="3"/>
                    </a:cubicBezTo>
                    <a:cubicBezTo>
                      <a:pt x="33" y="5"/>
                      <a:pt x="32" y="7"/>
                      <a:pt x="29" y="8"/>
                    </a:cubicBezTo>
                    <a:cubicBezTo>
                      <a:pt x="28" y="7"/>
                      <a:pt x="29" y="6"/>
                      <a:pt x="30" y="5"/>
                    </a:cubicBezTo>
                    <a:cubicBezTo>
                      <a:pt x="30" y="3"/>
                      <a:pt x="29" y="2"/>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372"/>
              <p:cNvSpPr>
                <a:spLocks noEditPoints="1"/>
              </p:cNvSpPr>
              <p:nvPr/>
            </p:nvSpPr>
            <p:spPr bwMode="auto">
              <a:xfrm>
                <a:off x="7453" y="3101"/>
                <a:ext cx="265" cy="168"/>
              </a:xfrm>
              <a:custGeom>
                <a:gdLst>
                  <a:gd name="T0" fmla="*/ 75 w 112"/>
                  <a:gd name="T1" fmla="*/ 63 h 71"/>
                  <a:gd name="T2" fmla="*/ 75 w 112"/>
                  <a:gd name="T3" fmla="*/ 63 h 71"/>
                  <a:gd name="T4" fmla="*/ 75 w 112"/>
                  <a:gd name="T5" fmla="*/ 63 h 71"/>
                  <a:gd name="T6" fmla="*/ 75 w 112"/>
                  <a:gd name="T7" fmla="*/ 63 h 71"/>
                  <a:gd name="T8" fmla="*/ 75 w 112"/>
                  <a:gd name="T9" fmla="*/ 63 h 71"/>
                  <a:gd name="T10" fmla="*/ 99 w 112"/>
                  <a:gd name="T11" fmla="*/ 0 h 71"/>
                  <a:gd name="T12" fmla="*/ 100 w 112"/>
                  <a:gd name="T13" fmla="*/ 5 h 71"/>
                  <a:gd name="T14" fmla="*/ 100 w 112"/>
                  <a:gd name="T15" fmla="*/ 7 h 71"/>
                  <a:gd name="T16" fmla="*/ 98 w 112"/>
                  <a:gd name="T17" fmla="*/ 12 h 71"/>
                  <a:gd name="T18" fmla="*/ 93 w 112"/>
                  <a:gd name="T19" fmla="*/ 15 h 71"/>
                  <a:gd name="T20" fmla="*/ 86 w 112"/>
                  <a:gd name="T21" fmla="*/ 9 h 71"/>
                  <a:gd name="T22" fmla="*/ 86 w 112"/>
                  <a:gd name="T23" fmla="*/ 7 h 71"/>
                  <a:gd name="T24" fmla="*/ 82 w 112"/>
                  <a:gd name="T25" fmla="*/ 4 h 71"/>
                  <a:gd name="T26" fmla="*/ 64 w 112"/>
                  <a:gd name="T27" fmla="*/ 28 h 71"/>
                  <a:gd name="T28" fmla="*/ 39 w 112"/>
                  <a:gd name="T29" fmla="*/ 36 h 71"/>
                  <a:gd name="T30" fmla="*/ 32 w 112"/>
                  <a:gd name="T31" fmla="*/ 45 h 71"/>
                  <a:gd name="T32" fmla="*/ 29 w 112"/>
                  <a:gd name="T33" fmla="*/ 44 h 71"/>
                  <a:gd name="T34" fmla="*/ 29 w 112"/>
                  <a:gd name="T35" fmla="*/ 44 h 71"/>
                  <a:gd name="T36" fmla="*/ 29 w 112"/>
                  <a:gd name="T37" fmla="*/ 45 h 71"/>
                  <a:gd name="T38" fmla="*/ 29 w 112"/>
                  <a:gd name="T39" fmla="*/ 59 h 71"/>
                  <a:gd name="T40" fmla="*/ 32 w 112"/>
                  <a:gd name="T41" fmla="*/ 64 h 71"/>
                  <a:gd name="T42" fmla="*/ 25 w 112"/>
                  <a:gd name="T43" fmla="*/ 63 h 71"/>
                  <a:gd name="T44" fmla="*/ 18 w 112"/>
                  <a:gd name="T45" fmla="*/ 62 h 71"/>
                  <a:gd name="T46" fmla="*/ 15 w 112"/>
                  <a:gd name="T47" fmla="*/ 57 h 71"/>
                  <a:gd name="T48" fmla="*/ 9 w 112"/>
                  <a:gd name="T49" fmla="*/ 58 h 71"/>
                  <a:gd name="T50" fmla="*/ 5 w 112"/>
                  <a:gd name="T51" fmla="*/ 57 h 71"/>
                  <a:gd name="T52" fmla="*/ 0 w 112"/>
                  <a:gd name="T53" fmla="*/ 53 h 71"/>
                  <a:gd name="T54" fmla="*/ 6 w 112"/>
                  <a:gd name="T55" fmla="*/ 62 h 71"/>
                  <a:gd name="T56" fmla="*/ 12 w 112"/>
                  <a:gd name="T57" fmla="*/ 67 h 71"/>
                  <a:gd name="T58" fmla="*/ 14 w 112"/>
                  <a:gd name="T59" fmla="*/ 69 h 71"/>
                  <a:gd name="T60" fmla="*/ 17 w 112"/>
                  <a:gd name="T61" fmla="*/ 71 h 71"/>
                  <a:gd name="T62" fmla="*/ 23 w 112"/>
                  <a:gd name="T63" fmla="*/ 69 h 71"/>
                  <a:gd name="T64" fmla="*/ 30 w 112"/>
                  <a:gd name="T65" fmla="*/ 67 h 71"/>
                  <a:gd name="T66" fmla="*/ 36 w 112"/>
                  <a:gd name="T67" fmla="*/ 68 h 71"/>
                  <a:gd name="T68" fmla="*/ 38 w 112"/>
                  <a:gd name="T69" fmla="*/ 68 h 71"/>
                  <a:gd name="T70" fmla="*/ 44 w 112"/>
                  <a:gd name="T71" fmla="*/ 66 h 71"/>
                  <a:gd name="T72" fmla="*/ 49 w 112"/>
                  <a:gd name="T73" fmla="*/ 60 h 71"/>
                  <a:gd name="T74" fmla="*/ 61 w 112"/>
                  <a:gd name="T75" fmla="*/ 58 h 71"/>
                  <a:gd name="T76" fmla="*/ 66 w 112"/>
                  <a:gd name="T77" fmla="*/ 60 h 71"/>
                  <a:gd name="T78" fmla="*/ 69 w 112"/>
                  <a:gd name="T79" fmla="*/ 62 h 71"/>
                  <a:gd name="T80" fmla="*/ 75 w 112"/>
                  <a:gd name="T81" fmla="*/ 63 h 71"/>
                  <a:gd name="T82" fmla="*/ 77 w 112"/>
                  <a:gd name="T83" fmla="*/ 62 h 71"/>
                  <a:gd name="T84" fmla="*/ 85 w 112"/>
                  <a:gd name="T85" fmla="*/ 60 h 71"/>
                  <a:gd name="T86" fmla="*/ 88 w 112"/>
                  <a:gd name="T87" fmla="*/ 60 h 71"/>
                  <a:gd name="T88" fmla="*/ 89 w 112"/>
                  <a:gd name="T89" fmla="*/ 60 h 71"/>
                  <a:gd name="T90" fmla="*/ 91 w 112"/>
                  <a:gd name="T91" fmla="*/ 59 h 71"/>
                  <a:gd name="T92" fmla="*/ 93 w 112"/>
                  <a:gd name="T93" fmla="*/ 55 h 71"/>
                  <a:gd name="T94" fmla="*/ 95 w 112"/>
                  <a:gd name="T95" fmla="*/ 53 h 71"/>
                  <a:gd name="T96" fmla="*/ 96 w 112"/>
                  <a:gd name="T97" fmla="*/ 52 h 71"/>
                  <a:gd name="T98" fmla="*/ 95 w 112"/>
                  <a:gd name="T99" fmla="*/ 51 h 71"/>
                  <a:gd name="T100" fmla="*/ 98 w 112"/>
                  <a:gd name="T101" fmla="*/ 43 h 71"/>
                  <a:gd name="T102" fmla="*/ 101 w 112"/>
                  <a:gd name="T103" fmla="*/ 42 h 71"/>
                  <a:gd name="T104" fmla="*/ 101 w 112"/>
                  <a:gd name="T105" fmla="*/ 41 h 71"/>
                  <a:gd name="T106" fmla="*/ 108 w 112"/>
                  <a:gd name="T107" fmla="*/ 30 h 71"/>
                  <a:gd name="T108" fmla="*/ 109 w 112"/>
                  <a:gd name="T109" fmla="*/ 29 h 71"/>
                  <a:gd name="T110" fmla="*/ 112 w 112"/>
                  <a:gd name="T111" fmla="*/ 10 h 71"/>
                  <a:gd name="T112" fmla="*/ 106 w 112"/>
                  <a:gd name="T113" fmla="*/ 9 h 71"/>
                  <a:gd name="T114" fmla="*/ 101 w 112"/>
                  <a:gd name="T115" fmla="*/ 6 h 71"/>
                  <a:gd name="T116" fmla="*/ 99 w 112"/>
                  <a:gd name="T117" fmla="*/ 0 h 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71">
                    <a:moveTo>
                      <a:pt x="75" y="63"/>
                    </a:moveTo>
                    <a:cubicBezTo>
                      <a:pt x="75" y="63"/>
                      <a:pt x="75" y="63"/>
                      <a:pt x="75" y="63"/>
                    </a:cubicBezTo>
                    <a:cubicBezTo>
                      <a:pt x="75" y="63"/>
                      <a:pt x="75" y="63"/>
                      <a:pt x="75" y="63"/>
                    </a:cubicBezTo>
                    <a:moveTo>
                      <a:pt x="75" y="63"/>
                    </a:moveTo>
                    <a:cubicBezTo>
                      <a:pt x="75" y="63"/>
                      <a:pt x="75" y="63"/>
                      <a:pt x="75" y="63"/>
                    </a:cubicBezTo>
                    <a:cubicBezTo>
                      <a:pt x="75" y="63"/>
                      <a:pt x="75" y="63"/>
                      <a:pt x="75" y="63"/>
                    </a:cubicBezTo>
                    <a:moveTo>
                      <a:pt x="75" y="63"/>
                    </a:moveTo>
                    <a:cubicBezTo>
                      <a:pt x="75" y="63"/>
                      <a:pt x="75" y="63"/>
                      <a:pt x="75" y="63"/>
                    </a:cubicBezTo>
                    <a:cubicBezTo>
                      <a:pt x="75" y="63"/>
                      <a:pt x="75" y="63"/>
                      <a:pt x="75" y="63"/>
                    </a:cubicBezTo>
                    <a:cubicBezTo>
                      <a:pt x="75" y="63"/>
                      <a:pt x="75" y="63"/>
                      <a:pt x="75" y="63"/>
                    </a:cubicBezTo>
                    <a:moveTo>
                      <a:pt x="99" y="0"/>
                    </a:moveTo>
                    <a:cubicBezTo>
                      <a:pt x="99" y="0"/>
                      <a:pt x="99" y="0"/>
                      <a:pt x="99" y="0"/>
                    </a:cubicBezTo>
                    <a:cubicBezTo>
                      <a:pt x="99" y="1"/>
                      <a:pt x="99" y="1"/>
                      <a:pt x="99" y="1"/>
                    </a:cubicBezTo>
                    <a:cubicBezTo>
                      <a:pt x="99" y="3"/>
                      <a:pt x="100" y="4"/>
                      <a:pt x="100" y="5"/>
                    </a:cubicBezTo>
                    <a:cubicBezTo>
                      <a:pt x="100" y="6"/>
                      <a:pt x="100" y="6"/>
                      <a:pt x="100" y="6"/>
                    </a:cubicBezTo>
                    <a:cubicBezTo>
                      <a:pt x="100" y="6"/>
                      <a:pt x="100" y="7"/>
                      <a:pt x="100" y="7"/>
                    </a:cubicBezTo>
                    <a:cubicBezTo>
                      <a:pt x="100" y="8"/>
                      <a:pt x="100" y="9"/>
                      <a:pt x="99" y="10"/>
                    </a:cubicBezTo>
                    <a:cubicBezTo>
                      <a:pt x="99" y="11"/>
                      <a:pt x="99" y="12"/>
                      <a:pt x="98" y="12"/>
                    </a:cubicBezTo>
                    <a:cubicBezTo>
                      <a:pt x="97" y="15"/>
                      <a:pt x="95" y="15"/>
                      <a:pt x="94" y="15"/>
                    </a:cubicBezTo>
                    <a:cubicBezTo>
                      <a:pt x="93" y="15"/>
                      <a:pt x="93" y="15"/>
                      <a:pt x="93" y="15"/>
                    </a:cubicBezTo>
                    <a:cubicBezTo>
                      <a:pt x="91" y="15"/>
                      <a:pt x="89" y="13"/>
                      <a:pt x="87" y="10"/>
                    </a:cubicBezTo>
                    <a:cubicBezTo>
                      <a:pt x="87" y="9"/>
                      <a:pt x="86" y="9"/>
                      <a:pt x="86" y="9"/>
                    </a:cubicBezTo>
                    <a:cubicBezTo>
                      <a:pt x="86" y="8"/>
                      <a:pt x="86" y="8"/>
                      <a:pt x="86" y="8"/>
                    </a:cubicBezTo>
                    <a:cubicBezTo>
                      <a:pt x="86" y="7"/>
                      <a:pt x="86" y="7"/>
                      <a:pt x="86" y="7"/>
                    </a:cubicBezTo>
                    <a:cubicBezTo>
                      <a:pt x="85" y="7"/>
                      <a:pt x="85" y="7"/>
                      <a:pt x="85" y="6"/>
                    </a:cubicBezTo>
                    <a:cubicBezTo>
                      <a:pt x="85" y="6"/>
                      <a:pt x="84" y="5"/>
                      <a:pt x="82" y="4"/>
                    </a:cubicBezTo>
                    <a:cubicBezTo>
                      <a:pt x="78" y="9"/>
                      <a:pt x="75" y="13"/>
                      <a:pt x="72" y="18"/>
                    </a:cubicBezTo>
                    <a:cubicBezTo>
                      <a:pt x="69" y="21"/>
                      <a:pt x="67" y="25"/>
                      <a:pt x="64" y="28"/>
                    </a:cubicBezTo>
                    <a:cubicBezTo>
                      <a:pt x="62" y="30"/>
                      <a:pt x="60" y="31"/>
                      <a:pt x="57" y="31"/>
                    </a:cubicBezTo>
                    <a:cubicBezTo>
                      <a:pt x="51" y="33"/>
                      <a:pt x="45" y="34"/>
                      <a:pt x="39" y="36"/>
                    </a:cubicBezTo>
                    <a:cubicBezTo>
                      <a:pt x="35" y="36"/>
                      <a:pt x="36" y="37"/>
                      <a:pt x="35" y="40"/>
                    </a:cubicBezTo>
                    <a:cubicBezTo>
                      <a:pt x="35" y="42"/>
                      <a:pt x="35" y="45"/>
                      <a:pt x="32" y="45"/>
                    </a:cubicBezTo>
                    <a:cubicBezTo>
                      <a:pt x="31" y="45"/>
                      <a:pt x="30" y="44"/>
                      <a:pt x="30" y="44"/>
                    </a:cubicBezTo>
                    <a:cubicBezTo>
                      <a:pt x="29" y="44"/>
                      <a:pt x="29" y="44"/>
                      <a:pt x="29" y="44"/>
                    </a:cubicBezTo>
                    <a:cubicBezTo>
                      <a:pt x="29" y="44"/>
                      <a:pt x="29" y="44"/>
                      <a:pt x="29" y="44"/>
                    </a:cubicBezTo>
                    <a:cubicBezTo>
                      <a:pt x="29" y="44"/>
                      <a:pt x="29" y="44"/>
                      <a:pt x="29" y="44"/>
                    </a:cubicBezTo>
                    <a:cubicBezTo>
                      <a:pt x="29" y="44"/>
                      <a:pt x="29" y="44"/>
                      <a:pt x="29" y="44"/>
                    </a:cubicBezTo>
                    <a:cubicBezTo>
                      <a:pt x="29" y="44"/>
                      <a:pt x="29" y="44"/>
                      <a:pt x="29" y="45"/>
                    </a:cubicBezTo>
                    <a:cubicBezTo>
                      <a:pt x="29" y="46"/>
                      <a:pt x="30" y="48"/>
                      <a:pt x="31" y="49"/>
                    </a:cubicBezTo>
                    <a:cubicBezTo>
                      <a:pt x="28" y="51"/>
                      <a:pt x="24" y="58"/>
                      <a:pt x="29" y="59"/>
                    </a:cubicBezTo>
                    <a:cubicBezTo>
                      <a:pt x="27" y="59"/>
                      <a:pt x="23" y="59"/>
                      <a:pt x="26" y="62"/>
                    </a:cubicBezTo>
                    <a:cubicBezTo>
                      <a:pt x="27" y="63"/>
                      <a:pt x="30" y="63"/>
                      <a:pt x="32" y="64"/>
                    </a:cubicBezTo>
                    <a:cubicBezTo>
                      <a:pt x="31" y="64"/>
                      <a:pt x="30" y="64"/>
                      <a:pt x="30" y="64"/>
                    </a:cubicBezTo>
                    <a:cubicBezTo>
                      <a:pt x="28" y="64"/>
                      <a:pt x="27" y="64"/>
                      <a:pt x="25" y="63"/>
                    </a:cubicBezTo>
                    <a:cubicBezTo>
                      <a:pt x="23" y="63"/>
                      <a:pt x="22" y="62"/>
                      <a:pt x="20" y="62"/>
                    </a:cubicBezTo>
                    <a:cubicBezTo>
                      <a:pt x="19" y="62"/>
                      <a:pt x="19" y="62"/>
                      <a:pt x="18" y="62"/>
                    </a:cubicBezTo>
                    <a:cubicBezTo>
                      <a:pt x="20" y="61"/>
                      <a:pt x="19" y="60"/>
                      <a:pt x="18" y="59"/>
                    </a:cubicBezTo>
                    <a:cubicBezTo>
                      <a:pt x="15" y="57"/>
                      <a:pt x="15" y="57"/>
                      <a:pt x="15" y="57"/>
                    </a:cubicBezTo>
                    <a:cubicBezTo>
                      <a:pt x="15" y="57"/>
                      <a:pt x="15" y="57"/>
                      <a:pt x="14" y="57"/>
                    </a:cubicBezTo>
                    <a:cubicBezTo>
                      <a:pt x="12" y="57"/>
                      <a:pt x="10" y="58"/>
                      <a:pt x="9" y="58"/>
                    </a:cubicBezTo>
                    <a:cubicBezTo>
                      <a:pt x="9" y="58"/>
                      <a:pt x="8" y="58"/>
                      <a:pt x="8" y="58"/>
                    </a:cubicBezTo>
                    <a:cubicBezTo>
                      <a:pt x="7" y="58"/>
                      <a:pt x="6" y="58"/>
                      <a:pt x="5" y="57"/>
                    </a:cubicBezTo>
                    <a:cubicBezTo>
                      <a:pt x="3" y="57"/>
                      <a:pt x="2" y="55"/>
                      <a:pt x="0" y="53"/>
                    </a:cubicBezTo>
                    <a:cubicBezTo>
                      <a:pt x="0" y="53"/>
                      <a:pt x="0" y="53"/>
                      <a:pt x="0" y="53"/>
                    </a:cubicBezTo>
                    <a:cubicBezTo>
                      <a:pt x="0" y="53"/>
                      <a:pt x="0" y="54"/>
                      <a:pt x="0" y="55"/>
                    </a:cubicBezTo>
                    <a:cubicBezTo>
                      <a:pt x="0" y="57"/>
                      <a:pt x="3" y="60"/>
                      <a:pt x="6" y="62"/>
                    </a:cubicBezTo>
                    <a:cubicBezTo>
                      <a:pt x="7" y="63"/>
                      <a:pt x="7" y="63"/>
                      <a:pt x="7" y="63"/>
                    </a:cubicBezTo>
                    <a:cubicBezTo>
                      <a:pt x="9" y="64"/>
                      <a:pt x="10" y="66"/>
                      <a:pt x="12" y="67"/>
                    </a:cubicBezTo>
                    <a:cubicBezTo>
                      <a:pt x="13" y="68"/>
                      <a:pt x="13" y="68"/>
                      <a:pt x="13" y="68"/>
                    </a:cubicBezTo>
                    <a:cubicBezTo>
                      <a:pt x="14" y="69"/>
                      <a:pt x="14" y="69"/>
                      <a:pt x="14" y="69"/>
                    </a:cubicBezTo>
                    <a:cubicBezTo>
                      <a:pt x="15" y="70"/>
                      <a:pt x="16" y="71"/>
                      <a:pt x="17" y="71"/>
                    </a:cubicBezTo>
                    <a:cubicBezTo>
                      <a:pt x="17" y="71"/>
                      <a:pt x="17" y="71"/>
                      <a:pt x="17" y="71"/>
                    </a:cubicBezTo>
                    <a:cubicBezTo>
                      <a:pt x="18" y="71"/>
                      <a:pt x="21" y="70"/>
                      <a:pt x="23" y="69"/>
                    </a:cubicBezTo>
                    <a:cubicBezTo>
                      <a:pt x="23" y="69"/>
                      <a:pt x="23" y="69"/>
                      <a:pt x="23" y="69"/>
                    </a:cubicBezTo>
                    <a:cubicBezTo>
                      <a:pt x="24" y="69"/>
                      <a:pt x="24" y="68"/>
                      <a:pt x="25" y="68"/>
                    </a:cubicBezTo>
                    <a:cubicBezTo>
                      <a:pt x="27" y="67"/>
                      <a:pt x="29" y="67"/>
                      <a:pt x="30" y="67"/>
                    </a:cubicBezTo>
                    <a:cubicBezTo>
                      <a:pt x="32" y="67"/>
                      <a:pt x="34" y="67"/>
                      <a:pt x="35" y="68"/>
                    </a:cubicBezTo>
                    <a:cubicBezTo>
                      <a:pt x="36" y="68"/>
                      <a:pt x="36" y="68"/>
                      <a:pt x="36" y="68"/>
                    </a:cubicBezTo>
                    <a:cubicBezTo>
                      <a:pt x="36" y="68"/>
                      <a:pt x="37" y="68"/>
                      <a:pt x="38" y="68"/>
                    </a:cubicBezTo>
                    <a:cubicBezTo>
                      <a:pt x="38" y="68"/>
                      <a:pt x="38" y="68"/>
                      <a:pt x="38" y="68"/>
                    </a:cubicBezTo>
                    <a:cubicBezTo>
                      <a:pt x="40" y="68"/>
                      <a:pt x="43" y="67"/>
                      <a:pt x="44" y="66"/>
                    </a:cubicBezTo>
                    <a:cubicBezTo>
                      <a:pt x="44" y="66"/>
                      <a:pt x="44" y="66"/>
                      <a:pt x="44" y="66"/>
                    </a:cubicBezTo>
                    <a:cubicBezTo>
                      <a:pt x="44" y="65"/>
                      <a:pt x="44" y="65"/>
                      <a:pt x="44" y="65"/>
                    </a:cubicBezTo>
                    <a:cubicBezTo>
                      <a:pt x="45" y="61"/>
                      <a:pt x="46" y="60"/>
                      <a:pt x="49" y="60"/>
                    </a:cubicBezTo>
                    <a:cubicBezTo>
                      <a:pt x="51" y="59"/>
                      <a:pt x="51" y="59"/>
                      <a:pt x="51" y="59"/>
                    </a:cubicBezTo>
                    <a:cubicBezTo>
                      <a:pt x="56" y="58"/>
                      <a:pt x="59" y="58"/>
                      <a:pt x="61" y="58"/>
                    </a:cubicBezTo>
                    <a:cubicBezTo>
                      <a:pt x="64" y="58"/>
                      <a:pt x="65" y="59"/>
                      <a:pt x="66" y="60"/>
                    </a:cubicBezTo>
                    <a:cubicBezTo>
                      <a:pt x="66" y="60"/>
                      <a:pt x="66" y="60"/>
                      <a:pt x="66" y="60"/>
                    </a:cubicBezTo>
                    <a:cubicBezTo>
                      <a:pt x="67" y="61"/>
                      <a:pt x="67" y="61"/>
                      <a:pt x="68" y="61"/>
                    </a:cubicBezTo>
                    <a:cubicBezTo>
                      <a:pt x="69" y="62"/>
                      <a:pt x="69" y="62"/>
                      <a:pt x="69" y="62"/>
                    </a:cubicBezTo>
                    <a:cubicBezTo>
                      <a:pt x="71" y="63"/>
                      <a:pt x="73" y="64"/>
                      <a:pt x="75" y="64"/>
                    </a:cubicBezTo>
                    <a:cubicBezTo>
                      <a:pt x="75" y="64"/>
                      <a:pt x="75" y="64"/>
                      <a:pt x="75" y="63"/>
                    </a:cubicBezTo>
                    <a:cubicBezTo>
                      <a:pt x="75" y="63"/>
                      <a:pt x="76" y="63"/>
                      <a:pt x="76" y="63"/>
                    </a:cubicBezTo>
                    <a:cubicBezTo>
                      <a:pt x="76" y="63"/>
                      <a:pt x="77" y="63"/>
                      <a:pt x="77" y="62"/>
                    </a:cubicBezTo>
                    <a:cubicBezTo>
                      <a:pt x="79" y="62"/>
                      <a:pt x="81" y="61"/>
                      <a:pt x="84" y="61"/>
                    </a:cubicBezTo>
                    <a:cubicBezTo>
                      <a:pt x="84" y="61"/>
                      <a:pt x="84" y="60"/>
                      <a:pt x="85" y="60"/>
                    </a:cubicBezTo>
                    <a:cubicBezTo>
                      <a:pt x="89" y="59"/>
                      <a:pt x="89" y="59"/>
                      <a:pt x="89" y="59"/>
                    </a:cubicBezTo>
                    <a:cubicBezTo>
                      <a:pt x="88" y="60"/>
                      <a:pt x="88" y="60"/>
                      <a:pt x="88" y="60"/>
                    </a:cubicBezTo>
                    <a:cubicBezTo>
                      <a:pt x="89" y="60"/>
                      <a:pt x="89" y="60"/>
                      <a:pt x="89" y="60"/>
                    </a:cubicBezTo>
                    <a:cubicBezTo>
                      <a:pt x="89" y="60"/>
                      <a:pt x="89" y="60"/>
                      <a:pt x="89" y="60"/>
                    </a:cubicBezTo>
                    <a:cubicBezTo>
                      <a:pt x="89" y="60"/>
                      <a:pt x="90" y="60"/>
                      <a:pt x="90" y="60"/>
                    </a:cubicBezTo>
                    <a:cubicBezTo>
                      <a:pt x="91" y="60"/>
                      <a:pt x="91" y="60"/>
                      <a:pt x="91" y="59"/>
                    </a:cubicBezTo>
                    <a:cubicBezTo>
                      <a:pt x="92" y="57"/>
                      <a:pt x="92" y="57"/>
                      <a:pt x="92" y="57"/>
                    </a:cubicBezTo>
                    <a:cubicBezTo>
                      <a:pt x="92" y="56"/>
                      <a:pt x="92" y="56"/>
                      <a:pt x="93" y="55"/>
                    </a:cubicBezTo>
                    <a:cubicBezTo>
                      <a:pt x="93" y="55"/>
                      <a:pt x="93" y="54"/>
                      <a:pt x="93" y="54"/>
                    </a:cubicBezTo>
                    <a:cubicBezTo>
                      <a:pt x="94" y="54"/>
                      <a:pt x="94" y="53"/>
                      <a:pt x="95" y="53"/>
                    </a:cubicBezTo>
                    <a:cubicBezTo>
                      <a:pt x="95" y="53"/>
                      <a:pt x="95" y="53"/>
                      <a:pt x="95" y="53"/>
                    </a:cubicBezTo>
                    <a:cubicBezTo>
                      <a:pt x="96" y="52"/>
                      <a:pt x="96" y="52"/>
                      <a:pt x="96" y="52"/>
                    </a:cubicBezTo>
                    <a:cubicBezTo>
                      <a:pt x="96" y="51"/>
                      <a:pt x="96" y="51"/>
                      <a:pt x="96" y="51"/>
                    </a:cubicBezTo>
                    <a:cubicBezTo>
                      <a:pt x="95" y="51"/>
                      <a:pt x="95" y="51"/>
                      <a:pt x="95" y="51"/>
                    </a:cubicBezTo>
                    <a:cubicBezTo>
                      <a:pt x="95" y="49"/>
                      <a:pt x="94" y="48"/>
                      <a:pt x="95" y="46"/>
                    </a:cubicBezTo>
                    <a:cubicBezTo>
                      <a:pt x="95" y="45"/>
                      <a:pt x="96" y="45"/>
                      <a:pt x="98" y="43"/>
                    </a:cubicBezTo>
                    <a:cubicBezTo>
                      <a:pt x="99" y="43"/>
                      <a:pt x="99" y="43"/>
                      <a:pt x="99" y="43"/>
                    </a:cubicBezTo>
                    <a:cubicBezTo>
                      <a:pt x="99" y="42"/>
                      <a:pt x="100" y="42"/>
                      <a:pt x="101" y="42"/>
                    </a:cubicBezTo>
                    <a:cubicBezTo>
                      <a:pt x="101" y="41"/>
                      <a:pt x="101" y="41"/>
                      <a:pt x="101" y="41"/>
                    </a:cubicBezTo>
                    <a:cubicBezTo>
                      <a:pt x="101" y="41"/>
                      <a:pt x="101" y="41"/>
                      <a:pt x="101" y="41"/>
                    </a:cubicBezTo>
                    <a:cubicBezTo>
                      <a:pt x="100" y="38"/>
                      <a:pt x="100" y="35"/>
                      <a:pt x="102" y="32"/>
                    </a:cubicBezTo>
                    <a:cubicBezTo>
                      <a:pt x="103" y="30"/>
                      <a:pt x="106" y="30"/>
                      <a:pt x="108" y="30"/>
                    </a:cubicBezTo>
                    <a:cubicBezTo>
                      <a:pt x="108" y="30"/>
                      <a:pt x="108" y="30"/>
                      <a:pt x="109" y="30"/>
                    </a:cubicBezTo>
                    <a:cubicBezTo>
                      <a:pt x="109" y="29"/>
                      <a:pt x="109" y="29"/>
                      <a:pt x="109" y="29"/>
                    </a:cubicBezTo>
                    <a:cubicBezTo>
                      <a:pt x="110" y="25"/>
                      <a:pt x="110" y="22"/>
                      <a:pt x="109" y="17"/>
                    </a:cubicBezTo>
                    <a:cubicBezTo>
                      <a:pt x="109" y="15"/>
                      <a:pt x="110" y="12"/>
                      <a:pt x="112" y="10"/>
                    </a:cubicBezTo>
                    <a:cubicBezTo>
                      <a:pt x="107" y="9"/>
                      <a:pt x="107" y="9"/>
                      <a:pt x="107" y="9"/>
                    </a:cubicBezTo>
                    <a:cubicBezTo>
                      <a:pt x="107" y="9"/>
                      <a:pt x="106" y="9"/>
                      <a:pt x="106" y="9"/>
                    </a:cubicBezTo>
                    <a:cubicBezTo>
                      <a:pt x="105" y="9"/>
                      <a:pt x="105" y="9"/>
                      <a:pt x="105" y="9"/>
                    </a:cubicBezTo>
                    <a:cubicBezTo>
                      <a:pt x="103" y="9"/>
                      <a:pt x="101" y="8"/>
                      <a:pt x="101" y="6"/>
                    </a:cubicBezTo>
                    <a:cubicBezTo>
                      <a:pt x="100" y="6"/>
                      <a:pt x="100" y="6"/>
                      <a:pt x="100" y="6"/>
                    </a:cubicBezTo>
                    <a:cubicBezTo>
                      <a:pt x="100" y="4"/>
                      <a:pt x="99" y="2"/>
                      <a:pt x="9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Freeform 373"/>
              <p:cNvSpPr/>
              <p:nvPr/>
            </p:nvSpPr>
            <p:spPr bwMode="auto">
              <a:xfrm flipH="1">
                <a:off x="7644" y="3099"/>
                <a:ext cx="0" cy="2"/>
              </a:xfrm>
              <a:custGeom>
                <a:gdLst>
                  <a:gd name="T0" fmla="*/ 0 h 2"/>
                  <a:gd name="T1" fmla="*/ 2 h 2"/>
                  <a:gd name="T2" fmla="*/ 0 h 2"/>
                  <a:gd name="T3" fmla="*/ 0 h 2"/>
                </a:gdLst>
                <a:cxnLst>
                  <a:cxn ang="0">
                    <a:pos x="0" y="T0"/>
                  </a:cxn>
                  <a:cxn ang="0">
                    <a:pos x="0" y="T1"/>
                  </a:cxn>
                  <a:cxn ang="0">
                    <a:pos x="0" y="T2"/>
                  </a:cxn>
                  <a:cxn ang="0">
                    <a:pos x="0" y="T3"/>
                  </a:cxn>
                </a:cxnLst>
                <a:rect l="0" t="0" r="r" b="b"/>
                <a:pathLst>
                  <a:path h="2">
                    <a:moveTo>
                      <a:pt x="0" y="0"/>
                    </a:move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374"/>
              <p:cNvSpPr/>
              <p:nvPr/>
            </p:nvSpPr>
            <p:spPr bwMode="auto">
              <a:xfrm flipH="1">
                <a:off x="7644" y="3099"/>
                <a:ext cx="0" cy="2"/>
              </a:xfrm>
              <a:custGeom>
                <a:gdLst>
                  <a:gd name="T0" fmla="*/ 0 h 2"/>
                  <a:gd name="T1" fmla="*/ 2 h 2"/>
                  <a:gd name="T2" fmla="*/ 0 h 2"/>
                  <a:gd name="T3" fmla="*/ 0 h 2"/>
                </a:gdLst>
                <a:cxnLst>
                  <a:cxn ang="0">
                    <a:pos x="0" y="T0"/>
                  </a:cxn>
                  <a:cxn ang="0">
                    <a:pos x="0" y="T1"/>
                  </a:cxn>
                  <a:cxn ang="0">
                    <a:pos x="0" y="T2"/>
                  </a:cxn>
                  <a:cxn ang="0">
                    <a:pos x="0" y="T3"/>
                  </a:cxn>
                </a:cxnLst>
                <a:rect l="0" t="0" r="r" b="b"/>
                <a:pathLst>
                  <a:path h="2">
                    <a:moveTo>
                      <a:pt x="0" y="0"/>
                    </a:moveTo>
                    <a:lnTo>
                      <a:pt x="0" y="2"/>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Freeform 375"/>
              <p:cNvSpPr/>
              <p:nvPr/>
            </p:nvSpPr>
            <p:spPr bwMode="auto">
              <a:xfrm>
                <a:off x="7659" y="3087"/>
                <a:ext cx="28" cy="38"/>
              </a:xfrm>
              <a:custGeom>
                <a:gdLst>
                  <a:gd name="T0" fmla="*/ 12 w 12"/>
                  <a:gd name="T1" fmla="*/ 0 h 16"/>
                  <a:gd name="T2" fmla="*/ 6 w 12"/>
                  <a:gd name="T3" fmla="*/ 5 h 16"/>
                  <a:gd name="T4" fmla="*/ 0 w 12"/>
                  <a:gd name="T5" fmla="*/ 8 h 16"/>
                  <a:gd name="T6" fmla="*/ 2 w 12"/>
                  <a:gd name="T7" fmla="*/ 9 h 16"/>
                  <a:gd name="T8" fmla="*/ 3 w 12"/>
                  <a:gd name="T9" fmla="*/ 11 h 16"/>
                  <a:gd name="T10" fmla="*/ 3 w 12"/>
                  <a:gd name="T11" fmla="*/ 11 h 16"/>
                  <a:gd name="T12" fmla="*/ 4 w 12"/>
                  <a:gd name="T13" fmla="*/ 13 h 16"/>
                  <a:gd name="T14" fmla="*/ 7 w 12"/>
                  <a:gd name="T15" fmla="*/ 16 h 16"/>
                  <a:gd name="T16" fmla="*/ 7 w 12"/>
                  <a:gd name="T17" fmla="*/ 16 h 16"/>
                  <a:gd name="T18" fmla="*/ 8 w 12"/>
                  <a:gd name="T19" fmla="*/ 15 h 16"/>
                  <a:gd name="T20" fmla="*/ 8 w 12"/>
                  <a:gd name="T21" fmla="*/ 15 h 16"/>
                  <a:gd name="T22" fmla="*/ 8 w 12"/>
                  <a:gd name="T23" fmla="*/ 14 h 16"/>
                  <a:gd name="T24" fmla="*/ 8 w 12"/>
                  <a:gd name="T25" fmla="*/ 12 h 16"/>
                  <a:gd name="T26" fmla="*/ 8 w 12"/>
                  <a:gd name="T27" fmla="*/ 8 h 16"/>
                  <a:gd name="T28" fmla="*/ 7 w 12"/>
                  <a:gd name="T29" fmla="*/ 7 h 16"/>
                  <a:gd name="T30" fmla="*/ 7 w 12"/>
                  <a:gd name="T31" fmla="*/ 5 h 16"/>
                  <a:gd name="T32" fmla="*/ 8 w 12"/>
                  <a:gd name="T33" fmla="*/ 4 h 16"/>
                  <a:gd name="T34" fmla="*/ 8 w 12"/>
                  <a:gd name="T35" fmla="*/ 3 h 16"/>
                  <a:gd name="T36" fmla="*/ 9 w 12"/>
                  <a:gd name="T37" fmla="*/ 3 h 16"/>
                  <a:gd name="T38" fmla="*/ 10 w 12"/>
                  <a:gd name="T39" fmla="*/ 2 h 16"/>
                  <a:gd name="T40" fmla="*/ 11 w 12"/>
                  <a:gd name="T41" fmla="*/ 2 h 16"/>
                  <a:gd name="T42" fmla="*/ 12 w 12"/>
                  <a:gd name="T43" fmla="*/ 1 h 16"/>
                  <a:gd name="T44" fmla="*/ 12 w 12"/>
                  <a:gd name="T45"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6">
                    <a:moveTo>
                      <a:pt x="12" y="0"/>
                    </a:moveTo>
                    <a:cubicBezTo>
                      <a:pt x="10" y="1"/>
                      <a:pt x="8" y="3"/>
                      <a:pt x="6" y="5"/>
                    </a:cubicBezTo>
                    <a:cubicBezTo>
                      <a:pt x="4" y="7"/>
                      <a:pt x="2" y="7"/>
                      <a:pt x="0" y="8"/>
                    </a:cubicBezTo>
                    <a:cubicBezTo>
                      <a:pt x="1" y="8"/>
                      <a:pt x="1" y="9"/>
                      <a:pt x="2" y="9"/>
                    </a:cubicBezTo>
                    <a:cubicBezTo>
                      <a:pt x="2" y="10"/>
                      <a:pt x="2" y="11"/>
                      <a:pt x="3" y="11"/>
                    </a:cubicBezTo>
                    <a:cubicBezTo>
                      <a:pt x="3" y="11"/>
                      <a:pt x="3" y="11"/>
                      <a:pt x="3" y="11"/>
                    </a:cubicBezTo>
                    <a:cubicBezTo>
                      <a:pt x="3" y="12"/>
                      <a:pt x="3" y="12"/>
                      <a:pt x="4" y="13"/>
                    </a:cubicBezTo>
                    <a:cubicBezTo>
                      <a:pt x="6" y="15"/>
                      <a:pt x="7" y="16"/>
                      <a:pt x="7" y="16"/>
                    </a:cubicBezTo>
                    <a:cubicBezTo>
                      <a:pt x="7" y="16"/>
                      <a:pt x="7" y="16"/>
                      <a:pt x="7" y="16"/>
                    </a:cubicBezTo>
                    <a:cubicBezTo>
                      <a:pt x="8" y="15"/>
                      <a:pt x="8" y="15"/>
                      <a:pt x="8" y="15"/>
                    </a:cubicBezTo>
                    <a:cubicBezTo>
                      <a:pt x="8" y="15"/>
                      <a:pt x="8" y="15"/>
                      <a:pt x="8" y="15"/>
                    </a:cubicBezTo>
                    <a:cubicBezTo>
                      <a:pt x="8" y="14"/>
                      <a:pt x="8" y="14"/>
                      <a:pt x="8" y="14"/>
                    </a:cubicBezTo>
                    <a:cubicBezTo>
                      <a:pt x="8" y="13"/>
                      <a:pt x="8" y="12"/>
                      <a:pt x="8" y="12"/>
                    </a:cubicBezTo>
                    <a:cubicBezTo>
                      <a:pt x="8" y="11"/>
                      <a:pt x="8" y="9"/>
                      <a:pt x="8" y="8"/>
                    </a:cubicBezTo>
                    <a:cubicBezTo>
                      <a:pt x="7" y="8"/>
                      <a:pt x="7" y="8"/>
                      <a:pt x="7" y="7"/>
                    </a:cubicBezTo>
                    <a:cubicBezTo>
                      <a:pt x="7" y="6"/>
                      <a:pt x="7" y="6"/>
                      <a:pt x="7" y="5"/>
                    </a:cubicBezTo>
                    <a:cubicBezTo>
                      <a:pt x="7" y="4"/>
                      <a:pt x="7" y="4"/>
                      <a:pt x="8" y="4"/>
                    </a:cubicBezTo>
                    <a:cubicBezTo>
                      <a:pt x="8" y="3"/>
                      <a:pt x="8" y="3"/>
                      <a:pt x="8" y="3"/>
                    </a:cubicBezTo>
                    <a:cubicBezTo>
                      <a:pt x="9" y="3"/>
                      <a:pt x="9" y="3"/>
                      <a:pt x="9" y="3"/>
                    </a:cubicBezTo>
                    <a:cubicBezTo>
                      <a:pt x="9" y="3"/>
                      <a:pt x="10" y="2"/>
                      <a:pt x="10" y="2"/>
                    </a:cubicBezTo>
                    <a:cubicBezTo>
                      <a:pt x="11" y="2"/>
                      <a:pt x="11" y="2"/>
                      <a:pt x="11" y="2"/>
                    </a:cubicBezTo>
                    <a:cubicBezTo>
                      <a:pt x="12" y="1"/>
                      <a:pt x="12" y="1"/>
                      <a:pt x="12" y="1"/>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376"/>
              <p:cNvSpPr/>
              <p:nvPr/>
            </p:nvSpPr>
            <p:spPr bwMode="auto">
              <a:xfrm>
                <a:off x="3665" y="1841"/>
                <a:ext cx="458" cy="459"/>
              </a:xfrm>
              <a:custGeom>
                <a:gdLst>
                  <a:gd name="T0" fmla="*/ 4 w 194"/>
                  <a:gd name="T1" fmla="*/ 0 h 194"/>
                  <a:gd name="T2" fmla="*/ 0 w 194"/>
                  <a:gd name="T3" fmla="*/ 194 h 194"/>
                  <a:gd name="T4" fmla="*/ 109 w 194"/>
                  <a:gd name="T5" fmla="*/ 192 h 194"/>
                  <a:gd name="T6" fmla="*/ 113 w 194"/>
                  <a:gd name="T7" fmla="*/ 190 h 194"/>
                  <a:gd name="T8" fmla="*/ 137 w 194"/>
                  <a:gd name="T9" fmla="*/ 194 h 194"/>
                  <a:gd name="T10" fmla="*/ 139 w 194"/>
                  <a:gd name="T11" fmla="*/ 194 h 194"/>
                  <a:gd name="T12" fmla="*/ 145 w 194"/>
                  <a:gd name="T13" fmla="*/ 194 h 194"/>
                  <a:gd name="T14" fmla="*/ 161 w 194"/>
                  <a:gd name="T15" fmla="*/ 193 h 194"/>
                  <a:gd name="T16" fmla="*/ 169 w 194"/>
                  <a:gd name="T17" fmla="*/ 189 h 194"/>
                  <a:gd name="T18" fmla="*/ 173 w 194"/>
                  <a:gd name="T19" fmla="*/ 187 h 194"/>
                  <a:gd name="T20" fmla="*/ 174 w 194"/>
                  <a:gd name="T21" fmla="*/ 185 h 194"/>
                  <a:gd name="T22" fmla="*/ 181 w 194"/>
                  <a:gd name="T23" fmla="*/ 177 h 194"/>
                  <a:gd name="T24" fmla="*/ 187 w 194"/>
                  <a:gd name="T25" fmla="*/ 174 h 194"/>
                  <a:gd name="T26" fmla="*/ 191 w 194"/>
                  <a:gd name="T27" fmla="*/ 172 h 194"/>
                  <a:gd name="T28" fmla="*/ 191 w 194"/>
                  <a:gd name="T29" fmla="*/ 170 h 194"/>
                  <a:gd name="T30" fmla="*/ 189 w 194"/>
                  <a:gd name="T31" fmla="*/ 157 h 194"/>
                  <a:gd name="T32" fmla="*/ 191 w 194"/>
                  <a:gd name="T33" fmla="*/ 158 h 194"/>
                  <a:gd name="T34" fmla="*/ 194 w 194"/>
                  <a:gd name="T35" fmla="*/ 158 h 194"/>
                  <a:gd name="T36" fmla="*/ 189 w 194"/>
                  <a:gd name="T37" fmla="*/ 154 h 194"/>
                  <a:gd name="T38" fmla="*/ 163 w 194"/>
                  <a:gd name="T39" fmla="*/ 108 h 194"/>
                  <a:gd name="T40" fmla="*/ 159 w 194"/>
                  <a:gd name="T41" fmla="*/ 102 h 194"/>
                  <a:gd name="T42" fmla="*/ 155 w 194"/>
                  <a:gd name="T43" fmla="*/ 84 h 194"/>
                  <a:gd name="T44" fmla="*/ 147 w 194"/>
                  <a:gd name="T45" fmla="*/ 73 h 194"/>
                  <a:gd name="T46" fmla="*/ 139 w 194"/>
                  <a:gd name="T47" fmla="*/ 63 h 194"/>
                  <a:gd name="T48" fmla="*/ 129 w 194"/>
                  <a:gd name="T49" fmla="*/ 42 h 194"/>
                  <a:gd name="T50" fmla="*/ 132 w 194"/>
                  <a:gd name="T51" fmla="*/ 35 h 194"/>
                  <a:gd name="T52" fmla="*/ 136 w 194"/>
                  <a:gd name="T53" fmla="*/ 45 h 194"/>
                  <a:gd name="T54" fmla="*/ 140 w 194"/>
                  <a:gd name="T55" fmla="*/ 50 h 194"/>
                  <a:gd name="T56" fmla="*/ 146 w 194"/>
                  <a:gd name="T57" fmla="*/ 64 h 194"/>
                  <a:gd name="T58" fmla="*/ 165 w 194"/>
                  <a:gd name="T59" fmla="*/ 81 h 194"/>
                  <a:gd name="T60" fmla="*/ 177 w 194"/>
                  <a:gd name="T61" fmla="*/ 45 h 194"/>
                  <a:gd name="T62" fmla="*/ 164 w 194"/>
                  <a:gd name="T63" fmla="*/ 6 h 194"/>
                  <a:gd name="T64" fmla="*/ 153 w 194"/>
                  <a:gd name="T65" fmla="*/ 10 h 194"/>
                  <a:gd name="T66" fmla="*/ 142 w 194"/>
                  <a:gd name="T67" fmla="*/ 12 h 194"/>
                  <a:gd name="T68" fmla="*/ 139 w 194"/>
                  <a:gd name="T69" fmla="*/ 12 h 194"/>
                  <a:gd name="T70" fmla="*/ 133 w 194"/>
                  <a:gd name="T71" fmla="*/ 11 h 194"/>
                  <a:gd name="T72" fmla="*/ 125 w 194"/>
                  <a:gd name="T73" fmla="*/ 11 h 194"/>
                  <a:gd name="T74" fmla="*/ 120 w 194"/>
                  <a:gd name="T75" fmla="*/ 2 h 194"/>
                  <a:gd name="T76" fmla="*/ 115 w 194"/>
                  <a:gd name="T77" fmla="*/ 3 h 194"/>
                  <a:gd name="T78" fmla="*/ 107 w 194"/>
                  <a:gd name="T79" fmla="*/ 1 h 194"/>
                  <a:gd name="T80" fmla="*/ 101 w 194"/>
                  <a:gd name="T81" fmla="*/ 1 h 194"/>
                  <a:gd name="T82" fmla="*/ 89 w 194"/>
                  <a:gd name="T83" fmla="*/ 8 h 194"/>
                  <a:gd name="T84" fmla="*/ 88 w 194"/>
                  <a:gd name="T85" fmla="*/ 8 h 194"/>
                  <a:gd name="T86" fmla="*/ 86 w 194"/>
                  <a:gd name="T87" fmla="*/ 7 h 194"/>
                  <a:gd name="T88" fmla="*/ 67 w 194"/>
                  <a:gd name="T89" fmla="*/ 16 h 194"/>
                  <a:gd name="T90" fmla="*/ 61 w 194"/>
                  <a:gd name="T91" fmla="*/ 14 h 194"/>
                  <a:gd name="T92" fmla="*/ 38 w 194"/>
                  <a:gd name="T93" fmla="*/ 9 h 194"/>
                  <a:gd name="T94" fmla="*/ 19 w 194"/>
                  <a:gd name="T95" fmla="*/ 3 h 1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94">
                    <a:moveTo>
                      <a:pt x="7" y="0"/>
                    </a:moveTo>
                    <a:cubicBezTo>
                      <a:pt x="6" y="0"/>
                      <a:pt x="5" y="0"/>
                      <a:pt x="4" y="0"/>
                    </a:cubicBezTo>
                    <a:cubicBezTo>
                      <a:pt x="3" y="0"/>
                      <a:pt x="1" y="1"/>
                      <a:pt x="0" y="1"/>
                    </a:cubicBezTo>
                    <a:cubicBezTo>
                      <a:pt x="0" y="194"/>
                      <a:pt x="0" y="194"/>
                      <a:pt x="0" y="194"/>
                    </a:cubicBezTo>
                    <a:cubicBezTo>
                      <a:pt x="108" y="193"/>
                      <a:pt x="108" y="193"/>
                      <a:pt x="108" y="193"/>
                    </a:cubicBezTo>
                    <a:cubicBezTo>
                      <a:pt x="109" y="192"/>
                      <a:pt x="109" y="192"/>
                      <a:pt x="109" y="192"/>
                    </a:cubicBezTo>
                    <a:cubicBezTo>
                      <a:pt x="110" y="191"/>
                      <a:pt x="111" y="190"/>
                      <a:pt x="112" y="190"/>
                    </a:cubicBezTo>
                    <a:cubicBezTo>
                      <a:pt x="113" y="190"/>
                      <a:pt x="113" y="190"/>
                      <a:pt x="113" y="190"/>
                    </a:cubicBezTo>
                    <a:cubicBezTo>
                      <a:pt x="115" y="191"/>
                      <a:pt x="115" y="193"/>
                      <a:pt x="115" y="194"/>
                    </a:cubicBezTo>
                    <a:cubicBezTo>
                      <a:pt x="137" y="194"/>
                      <a:pt x="137" y="194"/>
                      <a:pt x="137" y="194"/>
                    </a:cubicBezTo>
                    <a:cubicBezTo>
                      <a:pt x="137" y="194"/>
                      <a:pt x="138" y="194"/>
                      <a:pt x="138" y="194"/>
                    </a:cubicBezTo>
                    <a:cubicBezTo>
                      <a:pt x="139" y="194"/>
                      <a:pt x="139" y="194"/>
                      <a:pt x="139" y="194"/>
                    </a:cubicBezTo>
                    <a:cubicBezTo>
                      <a:pt x="140" y="194"/>
                      <a:pt x="141" y="194"/>
                      <a:pt x="142" y="194"/>
                    </a:cubicBezTo>
                    <a:cubicBezTo>
                      <a:pt x="143" y="194"/>
                      <a:pt x="144" y="194"/>
                      <a:pt x="145" y="194"/>
                    </a:cubicBezTo>
                    <a:cubicBezTo>
                      <a:pt x="161" y="194"/>
                      <a:pt x="161" y="194"/>
                      <a:pt x="161" y="194"/>
                    </a:cubicBezTo>
                    <a:cubicBezTo>
                      <a:pt x="161" y="194"/>
                      <a:pt x="161" y="194"/>
                      <a:pt x="161" y="193"/>
                    </a:cubicBezTo>
                    <a:cubicBezTo>
                      <a:pt x="161" y="193"/>
                      <a:pt x="162" y="192"/>
                      <a:pt x="162" y="191"/>
                    </a:cubicBezTo>
                    <a:cubicBezTo>
                      <a:pt x="164" y="190"/>
                      <a:pt x="167" y="189"/>
                      <a:pt x="169" y="189"/>
                    </a:cubicBezTo>
                    <a:cubicBezTo>
                      <a:pt x="170" y="189"/>
                      <a:pt x="170" y="189"/>
                      <a:pt x="170" y="189"/>
                    </a:cubicBezTo>
                    <a:cubicBezTo>
                      <a:pt x="172" y="189"/>
                      <a:pt x="172" y="189"/>
                      <a:pt x="173" y="187"/>
                    </a:cubicBezTo>
                    <a:cubicBezTo>
                      <a:pt x="174" y="186"/>
                      <a:pt x="174" y="186"/>
                      <a:pt x="174" y="185"/>
                    </a:cubicBezTo>
                    <a:cubicBezTo>
                      <a:pt x="174" y="185"/>
                      <a:pt x="174" y="185"/>
                      <a:pt x="174" y="185"/>
                    </a:cubicBezTo>
                    <a:cubicBezTo>
                      <a:pt x="175" y="182"/>
                      <a:pt x="176" y="180"/>
                      <a:pt x="178" y="178"/>
                    </a:cubicBezTo>
                    <a:cubicBezTo>
                      <a:pt x="179" y="178"/>
                      <a:pt x="180" y="177"/>
                      <a:pt x="181" y="177"/>
                    </a:cubicBezTo>
                    <a:cubicBezTo>
                      <a:pt x="182" y="176"/>
                      <a:pt x="183" y="176"/>
                      <a:pt x="184" y="175"/>
                    </a:cubicBezTo>
                    <a:cubicBezTo>
                      <a:pt x="185" y="175"/>
                      <a:pt x="186" y="174"/>
                      <a:pt x="187" y="174"/>
                    </a:cubicBezTo>
                    <a:cubicBezTo>
                      <a:pt x="188" y="173"/>
                      <a:pt x="189" y="173"/>
                      <a:pt x="189" y="173"/>
                    </a:cubicBezTo>
                    <a:cubicBezTo>
                      <a:pt x="190" y="172"/>
                      <a:pt x="190" y="172"/>
                      <a:pt x="191" y="172"/>
                    </a:cubicBezTo>
                    <a:cubicBezTo>
                      <a:pt x="191" y="172"/>
                      <a:pt x="191" y="172"/>
                      <a:pt x="191" y="172"/>
                    </a:cubicBezTo>
                    <a:cubicBezTo>
                      <a:pt x="191" y="171"/>
                      <a:pt x="191" y="170"/>
                      <a:pt x="191" y="170"/>
                    </a:cubicBezTo>
                    <a:cubicBezTo>
                      <a:pt x="190" y="167"/>
                      <a:pt x="190" y="165"/>
                      <a:pt x="189" y="163"/>
                    </a:cubicBezTo>
                    <a:cubicBezTo>
                      <a:pt x="189" y="162"/>
                      <a:pt x="188" y="158"/>
                      <a:pt x="189" y="157"/>
                    </a:cubicBezTo>
                    <a:cubicBezTo>
                      <a:pt x="189" y="157"/>
                      <a:pt x="189" y="157"/>
                      <a:pt x="190" y="157"/>
                    </a:cubicBezTo>
                    <a:cubicBezTo>
                      <a:pt x="190" y="157"/>
                      <a:pt x="191" y="157"/>
                      <a:pt x="191" y="158"/>
                    </a:cubicBezTo>
                    <a:cubicBezTo>
                      <a:pt x="192" y="158"/>
                      <a:pt x="192" y="158"/>
                      <a:pt x="193" y="158"/>
                    </a:cubicBezTo>
                    <a:cubicBezTo>
                      <a:pt x="193" y="158"/>
                      <a:pt x="194" y="158"/>
                      <a:pt x="194" y="158"/>
                    </a:cubicBezTo>
                    <a:cubicBezTo>
                      <a:pt x="193" y="157"/>
                      <a:pt x="190" y="154"/>
                      <a:pt x="189" y="154"/>
                    </a:cubicBezTo>
                    <a:cubicBezTo>
                      <a:pt x="189" y="154"/>
                      <a:pt x="189" y="154"/>
                      <a:pt x="189" y="154"/>
                    </a:cubicBezTo>
                    <a:cubicBezTo>
                      <a:pt x="186" y="151"/>
                      <a:pt x="183" y="147"/>
                      <a:pt x="181" y="143"/>
                    </a:cubicBezTo>
                    <a:cubicBezTo>
                      <a:pt x="175" y="131"/>
                      <a:pt x="169" y="119"/>
                      <a:pt x="163" y="108"/>
                    </a:cubicBezTo>
                    <a:cubicBezTo>
                      <a:pt x="162" y="106"/>
                      <a:pt x="161" y="105"/>
                      <a:pt x="160" y="103"/>
                    </a:cubicBezTo>
                    <a:cubicBezTo>
                      <a:pt x="160" y="103"/>
                      <a:pt x="160" y="103"/>
                      <a:pt x="159" y="102"/>
                    </a:cubicBezTo>
                    <a:cubicBezTo>
                      <a:pt x="159" y="102"/>
                      <a:pt x="160" y="100"/>
                      <a:pt x="160" y="100"/>
                    </a:cubicBezTo>
                    <a:cubicBezTo>
                      <a:pt x="161" y="95"/>
                      <a:pt x="156" y="89"/>
                      <a:pt x="155" y="84"/>
                    </a:cubicBezTo>
                    <a:cubicBezTo>
                      <a:pt x="154" y="83"/>
                      <a:pt x="153" y="79"/>
                      <a:pt x="152" y="78"/>
                    </a:cubicBezTo>
                    <a:cubicBezTo>
                      <a:pt x="151" y="76"/>
                      <a:pt x="149" y="75"/>
                      <a:pt x="147" y="73"/>
                    </a:cubicBezTo>
                    <a:cubicBezTo>
                      <a:pt x="146" y="72"/>
                      <a:pt x="145" y="71"/>
                      <a:pt x="144" y="70"/>
                    </a:cubicBezTo>
                    <a:cubicBezTo>
                      <a:pt x="143" y="68"/>
                      <a:pt x="140" y="65"/>
                      <a:pt x="139" y="63"/>
                    </a:cubicBezTo>
                    <a:cubicBezTo>
                      <a:pt x="137" y="60"/>
                      <a:pt x="136" y="56"/>
                      <a:pt x="135" y="52"/>
                    </a:cubicBezTo>
                    <a:cubicBezTo>
                      <a:pt x="134" y="49"/>
                      <a:pt x="129" y="45"/>
                      <a:pt x="129" y="42"/>
                    </a:cubicBezTo>
                    <a:cubicBezTo>
                      <a:pt x="129" y="40"/>
                      <a:pt x="130" y="39"/>
                      <a:pt x="131" y="38"/>
                    </a:cubicBezTo>
                    <a:cubicBezTo>
                      <a:pt x="131" y="37"/>
                      <a:pt x="131" y="35"/>
                      <a:pt x="132" y="35"/>
                    </a:cubicBezTo>
                    <a:cubicBezTo>
                      <a:pt x="132" y="35"/>
                      <a:pt x="132" y="35"/>
                      <a:pt x="132" y="35"/>
                    </a:cubicBezTo>
                    <a:cubicBezTo>
                      <a:pt x="135" y="35"/>
                      <a:pt x="136" y="44"/>
                      <a:pt x="136" y="45"/>
                    </a:cubicBezTo>
                    <a:cubicBezTo>
                      <a:pt x="136" y="45"/>
                      <a:pt x="136" y="45"/>
                      <a:pt x="136" y="45"/>
                    </a:cubicBezTo>
                    <a:cubicBezTo>
                      <a:pt x="137" y="46"/>
                      <a:pt x="138" y="49"/>
                      <a:pt x="140" y="50"/>
                    </a:cubicBezTo>
                    <a:cubicBezTo>
                      <a:pt x="141" y="51"/>
                      <a:pt x="144" y="53"/>
                      <a:pt x="145" y="55"/>
                    </a:cubicBezTo>
                    <a:cubicBezTo>
                      <a:pt x="146" y="57"/>
                      <a:pt x="145" y="61"/>
                      <a:pt x="146" y="64"/>
                    </a:cubicBezTo>
                    <a:cubicBezTo>
                      <a:pt x="147" y="65"/>
                      <a:pt x="149" y="67"/>
                      <a:pt x="150" y="68"/>
                    </a:cubicBezTo>
                    <a:cubicBezTo>
                      <a:pt x="155" y="73"/>
                      <a:pt x="158" y="78"/>
                      <a:pt x="165" y="81"/>
                    </a:cubicBezTo>
                    <a:cubicBezTo>
                      <a:pt x="165" y="80"/>
                      <a:pt x="165" y="80"/>
                      <a:pt x="166" y="80"/>
                    </a:cubicBezTo>
                    <a:cubicBezTo>
                      <a:pt x="169" y="68"/>
                      <a:pt x="173" y="57"/>
                      <a:pt x="177" y="45"/>
                    </a:cubicBezTo>
                    <a:cubicBezTo>
                      <a:pt x="165" y="7"/>
                      <a:pt x="165" y="7"/>
                      <a:pt x="165" y="7"/>
                    </a:cubicBezTo>
                    <a:cubicBezTo>
                      <a:pt x="164" y="6"/>
                      <a:pt x="164" y="6"/>
                      <a:pt x="164" y="6"/>
                    </a:cubicBezTo>
                    <a:cubicBezTo>
                      <a:pt x="161" y="7"/>
                      <a:pt x="159" y="8"/>
                      <a:pt x="156" y="9"/>
                    </a:cubicBezTo>
                    <a:cubicBezTo>
                      <a:pt x="155" y="10"/>
                      <a:pt x="154" y="10"/>
                      <a:pt x="153" y="10"/>
                    </a:cubicBezTo>
                    <a:cubicBezTo>
                      <a:pt x="149" y="11"/>
                      <a:pt x="146" y="12"/>
                      <a:pt x="142" y="12"/>
                    </a:cubicBezTo>
                    <a:cubicBezTo>
                      <a:pt x="142" y="12"/>
                      <a:pt x="142" y="12"/>
                      <a:pt x="142" y="12"/>
                    </a:cubicBezTo>
                    <a:cubicBezTo>
                      <a:pt x="142" y="12"/>
                      <a:pt x="141" y="12"/>
                      <a:pt x="141" y="12"/>
                    </a:cubicBezTo>
                    <a:cubicBezTo>
                      <a:pt x="141" y="12"/>
                      <a:pt x="140" y="12"/>
                      <a:pt x="139" y="12"/>
                    </a:cubicBezTo>
                    <a:cubicBezTo>
                      <a:pt x="139" y="12"/>
                      <a:pt x="138" y="12"/>
                      <a:pt x="137" y="12"/>
                    </a:cubicBezTo>
                    <a:cubicBezTo>
                      <a:pt x="135" y="12"/>
                      <a:pt x="134" y="12"/>
                      <a:pt x="133" y="11"/>
                    </a:cubicBezTo>
                    <a:cubicBezTo>
                      <a:pt x="131" y="10"/>
                      <a:pt x="129" y="7"/>
                      <a:pt x="126" y="7"/>
                    </a:cubicBezTo>
                    <a:cubicBezTo>
                      <a:pt x="130" y="8"/>
                      <a:pt x="126" y="11"/>
                      <a:pt x="125" y="11"/>
                    </a:cubicBezTo>
                    <a:cubicBezTo>
                      <a:pt x="124" y="10"/>
                      <a:pt x="119" y="8"/>
                      <a:pt x="118" y="7"/>
                    </a:cubicBezTo>
                    <a:cubicBezTo>
                      <a:pt x="118" y="6"/>
                      <a:pt x="120" y="2"/>
                      <a:pt x="120" y="2"/>
                    </a:cubicBezTo>
                    <a:cubicBezTo>
                      <a:pt x="120" y="2"/>
                      <a:pt x="120" y="2"/>
                      <a:pt x="120" y="2"/>
                    </a:cubicBezTo>
                    <a:cubicBezTo>
                      <a:pt x="119" y="2"/>
                      <a:pt x="117" y="3"/>
                      <a:pt x="115" y="3"/>
                    </a:cubicBezTo>
                    <a:cubicBezTo>
                      <a:pt x="115" y="3"/>
                      <a:pt x="115" y="3"/>
                      <a:pt x="114" y="3"/>
                    </a:cubicBezTo>
                    <a:cubicBezTo>
                      <a:pt x="112" y="3"/>
                      <a:pt x="109" y="1"/>
                      <a:pt x="107" y="1"/>
                    </a:cubicBezTo>
                    <a:cubicBezTo>
                      <a:pt x="106" y="1"/>
                      <a:pt x="105" y="0"/>
                      <a:pt x="104" y="0"/>
                    </a:cubicBezTo>
                    <a:cubicBezTo>
                      <a:pt x="103" y="0"/>
                      <a:pt x="102" y="0"/>
                      <a:pt x="101" y="1"/>
                    </a:cubicBezTo>
                    <a:cubicBezTo>
                      <a:pt x="96" y="2"/>
                      <a:pt x="92" y="3"/>
                      <a:pt x="88" y="7"/>
                    </a:cubicBezTo>
                    <a:cubicBezTo>
                      <a:pt x="88" y="7"/>
                      <a:pt x="89" y="8"/>
                      <a:pt x="89" y="8"/>
                    </a:cubicBezTo>
                    <a:cubicBezTo>
                      <a:pt x="89" y="8"/>
                      <a:pt x="89" y="8"/>
                      <a:pt x="88" y="8"/>
                    </a:cubicBezTo>
                    <a:cubicBezTo>
                      <a:pt x="88" y="8"/>
                      <a:pt x="88" y="8"/>
                      <a:pt x="88" y="8"/>
                    </a:cubicBezTo>
                    <a:cubicBezTo>
                      <a:pt x="87" y="8"/>
                      <a:pt x="87" y="7"/>
                      <a:pt x="86" y="7"/>
                    </a:cubicBezTo>
                    <a:cubicBezTo>
                      <a:pt x="86" y="7"/>
                      <a:pt x="86" y="7"/>
                      <a:pt x="86" y="7"/>
                    </a:cubicBezTo>
                    <a:cubicBezTo>
                      <a:pt x="84" y="8"/>
                      <a:pt x="83" y="9"/>
                      <a:pt x="82" y="9"/>
                    </a:cubicBezTo>
                    <a:cubicBezTo>
                      <a:pt x="77" y="12"/>
                      <a:pt x="72" y="15"/>
                      <a:pt x="67" y="16"/>
                    </a:cubicBezTo>
                    <a:cubicBezTo>
                      <a:pt x="67" y="16"/>
                      <a:pt x="66" y="16"/>
                      <a:pt x="66" y="16"/>
                    </a:cubicBezTo>
                    <a:cubicBezTo>
                      <a:pt x="64" y="16"/>
                      <a:pt x="63" y="15"/>
                      <a:pt x="61" y="14"/>
                    </a:cubicBezTo>
                    <a:cubicBezTo>
                      <a:pt x="57" y="12"/>
                      <a:pt x="51" y="12"/>
                      <a:pt x="47" y="11"/>
                    </a:cubicBezTo>
                    <a:cubicBezTo>
                      <a:pt x="44" y="11"/>
                      <a:pt x="41" y="10"/>
                      <a:pt x="38" y="9"/>
                    </a:cubicBezTo>
                    <a:cubicBezTo>
                      <a:pt x="37" y="8"/>
                      <a:pt x="36" y="8"/>
                      <a:pt x="34" y="7"/>
                    </a:cubicBezTo>
                    <a:cubicBezTo>
                      <a:pt x="30" y="5"/>
                      <a:pt x="24" y="4"/>
                      <a:pt x="19" y="3"/>
                    </a:cubicBezTo>
                    <a:cubicBezTo>
                      <a:pt x="15" y="2"/>
                      <a:pt x="11"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377"/>
              <p:cNvSpPr>
                <a:spLocks noEditPoints="1"/>
              </p:cNvSpPr>
              <p:nvPr/>
            </p:nvSpPr>
            <p:spPr bwMode="auto">
              <a:xfrm>
                <a:off x="3665" y="2257"/>
                <a:ext cx="581" cy="891"/>
              </a:xfrm>
              <a:custGeom>
                <a:gdLst>
                  <a:gd name="T0" fmla="*/ 192 w 246"/>
                  <a:gd name="T1" fmla="*/ 1 h 377"/>
                  <a:gd name="T2" fmla="*/ 183 w 246"/>
                  <a:gd name="T3" fmla="*/ 5 h 377"/>
                  <a:gd name="T4" fmla="*/ 178 w 246"/>
                  <a:gd name="T5" fmla="*/ 12 h 377"/>
                  <a:gd name="T6" fmla="*/ 165 w 246"/>
                  <a:gd name="T7" fmla="*/ 21 h 377"/>
                  <a:gd name="T8" fmla="*/ 139 w 246"/>
                  <a:gd name="T9" fmla="*/ 23 h 377"/>
                  <a:gd name="T10" fmla="*/ 109 w 246"/>
                  <a:gd name="T11" fmla="*/ 22 h 377"/>
                  <a:gd name="T12" fmla="*/ 15 w 246"/>
                  <a:gd name="T13" fmla="*/ 317 h 377"/>
                  <a:gd name="T14" fmla="*/ 17 w 246"/>
                  <a:gd name="T15" fmla="*/ 319 h 377"/>
                  <a:gd name="T16" fmla="*/ 17 w 246"/>
                  <a:gd name="T17" fmla="*/ 326 h 377"/>
                  <a:gd name="T18" fmla="*/ 21 w 246"/>
                  <a:gd name="T19" fmla="*/ 330 h 377"/>
                  <a:gd name="T20" fmla="*/ 34 w 246"/>
                  <a:gd name="T21" fmla="*/ 342 h 377"/>
                  <a:gd name="T22" fmla="*/ 38 w 246"/>
                  <a:gd name="T23" fmla="*/ 349 h 377"/>
                  <a:gd name="T24" fmla="*/ 54 w 246"/>
                  <a:gd name="T25" fmla="*/ 362 h 377"/>
                  <a:gd name="T26" fmla="*/ 70 w 246"/>
                  <a:gd name="T27" fmla="*/ 361 h 377"/>
                  <a:gd name="T28" fmla="*/ 81 w 246"/>
                  <a:gd name="T29" fmla="*/ 358 h 377"/>
                  <a:gd name="T30" fmla="*/ 86 w 246"/>
                  <a:gd name="T31" fmla="*/ 366 h 377"/>
                  <a:gd name="T32" fmla="*/ 97 w 246"/>
                  <a:gd name="T33" fmla="*/ 375 h 377"/>
                  <a:gd name="T34" fmla="*/ 102 w 246"/>
                  <a:gd name="T35" fmla="*/ 375 h 377"/>
                  <a:gd name="T36" fmla="*/ 110 w 246"/>
                  <a:gd name="T37" fmla="*/ 374 h 377"/>
                  <a:gd name="T38" fmla="*/ 120 w 246"/>
                  <a:gd name="T39" fmla="*/ 373 h 377"/>
                  <a:gd name="T40" fmla="*/ 125 w 246"/>
                  <a:gd name="T41" fmla="*/ 377 h 377"/>
                  <a:gd name="T42" fmla="*/ 145 w 246"/>
                  <a:gd name="T43" fmla="*/ 372 h 377"/>
                  <a:gd name="T44" fmla="*/ 158 w 246"/>
                  <a:gd name="T45" fmla="*/ 364 h 377"/>
                  <a:gd name="T46" fmla="*/ 164 w 246"/>
                  <a:gd name="T47" fmla="*/ 359 h 377"/>
                  <a:gd name="T48" fmla="*/ 191 w 246"/>
                  <a:gd name="T49" fmla="*/ 357 h 377"/>
                  <a:gd name="T50" fmla="*/ 192 w 246"/>
                  <a:gd name="T51" fmla="*/ 351 h 377"/>
                  <a:gd name="T52" fmla="*/ 192 w 246"/>
                  <a:gd name="T53" fmla="*/ 347 h 377"/>
                  <a:gd name="T54" fmla="*/ 184 w 246"/>
                  <a:gd name="T55" fmla="*/ 344 h 377"/>
                  <a:gd name="T56" fmla="*/ 173 w 246"/>
                  <a:gd name="T57" fmla="*/ 322 h 377"/>
                  <a:gd name="T58" fmla="*/ 160 w 246"/>
                  <a:gd name="T59" fmla="*/ 311 h 377"/>
                  <a:gd name="T60" fmla="*/ 154 w 246"/>
                  <a:gd name="T61" fmla="*/ 303 h 377"/>
                  <a:gd name="T62" fmla="*/ 144 w 246"/>
                  <a:gd name="T63" fmla="*/ 299 h 377"/>
                  <a:gd name="T64" fmla="*/ 141 w 246"/>
                  <a:gd name="T65" fmla="*/ 291 h 377"/>
                  <a:gd name="T66" fmla="*/ 150 w 246"/>
                  <a:gd name="T67" fmla="*/ 283 h 377"/>
                  <a:gd name="T68" fmla="*/ 159 w 246"/>
                  <a:gd name="T69" fmla="*/ 283 h 377"/>
                  <a:gd name="T70" fmla="*/ 162 w 246"/>
                  <a:gd name="T71" fmla="*/ 258 h 377"/>
                  <a:gd name="T72" fmla="*/ 164 w 246"/>
                  <a:gd name="T73" fmla="*/ 243 h 377"/>
                  <a:gd name="T74" fmla="*/ 170 w 246"/>
                  <a:gd name="T75" fmla="*/ 237 h 377"/>
                  <a:gd name="T76" fmla="*/ 173 w 246"/>
                  <a:gd name="T77" fmla="*/ 237 h 377"/>
                  <a:gd name="T78" fmla="*/ 176 w 246"/>
                  <a:gd name="T79" fmla="*/ 238 h 377"/>
                  <a:gd name="T80" fmla="*/ 177 w 246"/>
                  <a:gd name="T81" fmla="*/ 234 h 377"/>
                  <a:gd name="T82" fmla="*/ 178 w 246"/>
                  <a:gd name="T83" fmla="*/ 229 h 377"/>
                  <a:gd name="T84" fmla="*/ 188 w 246"/>
                  <a:gd name="T85" fmla="*/ 207 h 377"/>
                  <a:gd name="T86" fmla="*/ 195 w 246"/>
                  <a:gd name="T87" fmla="*/ 201 h 377"/>
                  <a:gd name="T88" fmla="*/ 201 w 246"/>
                  <a:gd name="T89" fmla="*/ 197 h 377"/>
                  <a:gd name="T90" fmla="*/ 206 w 246"/>
                  <a:gd name="T91" fmla="*/ 174 h 377"/>
                  <a:gd name="T92" fmla="*/ 210 w 246"/>
                  <a:gd name="T93" fmla="*/ 141 h 377"/>
                  <a:gd name="T94" fmla="*/ 220 w 246"/>
                  <a:gd name="T95" fmla="*/ 116 h 377"/>
                  <a:gd name="T96" fmla="*/ 227 w 246"/>
                  <a:gd name="T97" fmla="*/ 114 h 377"/>
                  <a:gd name="T98" fmla="*/ 236 w 246"/>
                  <a:gd name="T99" fmla="*/ 108 h 377"/>
                  <a:gd name="T100" fmla="*/ 241 w 246"/>
                  <a:gd name="T101" fmla="*/ 106 h 377"/>
                  <a:gd name="T102" fmla="*/ 244 w 246"/>
                  <a:gd name="T103" fmla="*/ 98 h 377"/>
                  <a:gd name="T104" fmla="*/ 223 w 246"/>
                  <a:gd name="T105" fmla="*/ 40 h 377"/>
                  <a:gd name="T106" fmla="*/ 199 w 246"/>
                  <a:gd name="T107" fmla="*/ 8 h 3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6" h="377">
                    <a:moveTo>
                      <a:pt x="190" y="355"/>
                    </a:moveTo>
                    <a:cubicBezTo>
                      <a:pt x="190" y="355"/>
                      <a:pt x="190" y="354"/>
                      <a:pt x="190" y="354"/>
                    </a:cubicBezTo>
                    <a:cubicBezTo>
                      <a:pt x="190" y="354"/>
                      <a:pt x="190" y="355"/>
                      <a:pt x="190" y="355"/>
                    </a:cubicBezTo>
                    <a:moveTo>
                      <a:pt x="193" y="0"/>
                    </a:moveTo>
                    <a:cubicBezTo>
                      <a:pt x="192" y="1"/>
                      <a:pt x="192" y="1"/>
                      <a:pt x="192" y="1"/>
                    </a:cubicBezTo>
                    <a:cubicBezTo>
                      <a:pt x="191" y="1"/>
                      <a:pt x="191" y="1"/>
                      <a:pt x="191" y="1"/>
                    </a:cubicBezTo>
                    <a:cubicBezTo>
                      <a:pt x="191" y="1"/>
                      <a:pt x="190" y="1"/>
                      <a:pt x="190" y="2"/>
                    </a:cubicBezTo>
                    <a:cubicBezTo>
                      <a:pt x="188" y="2"/>
                      <a:pt x="187" y="3"/>
                      <a:pt x="186" y="3"/>
                    </a:cubicBezTo>
                    <a:cubicBezTo>
                      <a:pt x="186" y="4"/>
                      <a:pt x="186" y="4"/>
                      <a:pt x="186" y="4"/>
                    </a:cubicBezTo>
                    <a:cubicBezTo>
                      <a:pt x="185" y="4"/>
                      <a:pt x="184" y="5"/>
                      <a:pt x="183" y="5"/>
                    </a:cubicBezTo>
                    <a:cubicBezTo>
                      <a:pt x="182" y="5"/>
                      <a:pt x="182" y="5"/>
                      <a:pt x="182" y="5"/>
                    </a:cubicBezTo>
                    <a:cubicBezTo>
                      <a:pt x="182" y="5"/>
                      <a:pt x="181" y="6"/>
                      <a:pt x="181" y="6"/>
                    </a:cubicBezTo>
                    <a:cubicBezTo>
                      <a:pt x="180" y="7"/>
                      <a:pt x="179" y="9"/>
                      <a:pt x="178" y="10"/>
                    </a:cubicBezTo>
                    <a:cubicBezTo>
                      <a:pt x="178" y="11"/>
                      <a:pt x="178" y="11"/>
                      <a:pt x="178" y="11"/>
                    </a:cubicBezTo>
                    <a:cubicBezTo>
                      <a:pt x="178" y="11"/>
                      <a:pt x="178" y="12"/>
                      <a:pt x="178" y="12"/>
                    </a:cubicBezTo>
                    <a:cubicBezTo>
                      <a:pt x="176" y="17"/>
                      <a:pt x="174" y="17"/>
                      <a:pt x="171" y="18"/>
                    </a:cubicBezTo>
                    <a:cubicBezTo>
                      <a:pt x="169" y="18"/>
                      <a:pt x="169" y="18"/>
                      <a:pt x="169" y="18"/>
                    </a:cubicBezTo>
                    <a:cubicBezTo>
                      <a:pt x="168" y="18"/>
                      <a:pt x="166" y="18"/>
                      <a:pt x="166" y="19"/>
                    </a:cubicBezTo>
                    <a:cubicBezTo>
                      <a:pt x="166" y="19"/>
                      <a:pt x="166" y="19"/>
                      <a:pt x="166" y="19"/>
                    </a:cubicBezTo>
                    <a:cubicBezTo>
                      <a:pt x="165" y="20"/>
                      <a:pt x="165" y="21"/>
                      <a:pt x="165" y="21"/>
                    </a:cubicBezTo>
                    <a:cubicBezTo>
                      <a:pt x="164" y="22"/>
                      <a:pt x="164" y="22"/>
                      <a:pt x="164" y="22"/>
                    </a:cubicBezTo>
                    <a:cubicBezTo>
                      <a:pt x="163" y="23"/>
                      <a:pt x="162" y="23"/>
                      <a:pt x="162" y="23"/>
                    </a:cubicBezTo>
                    <a:cubicBezTo>
                      <a:pt x="144" y="23"/>
                      <a:pt x="144" y="23"/>
                      <a:pt x="144" y="23"/>
                    </a:cubicBezTo>
                    <a:cubicBezTo>
                      <a:pt x="143" y="23"/>
                      <a:pt x="143" y="23"/>
                      <a:pt x="142" y="23"/>
                    </a:cubicBezTo>
                    <a:cubicBezTo>
                      <a:pt x="141" y="23"/>
                      <a:pt x="140" y="23"/>
                      <a:pt x="139" y="23"/>
                    </a:cubicBezTo>
                    <a:cubicBezTo>
                      <a:pt x="138" y="23"/>
                      <a:pt x="138" y="23"/>
                      <a:pt x="137" y="23"/>
                    </a:cubicBezTo>
                    <a:cubicBezTo>
                      <a:pt x="110" y="23"/>
                      <a:pt x="110" y="23"/>
                      <a:pt x="110" y="23"/>
                    </a:cubicBezTo>
                    <a:cubicBezTo>
                      <a:pt x="110" y="21"/>
                      <a:pt x="110" y="21"/>
                      <a:pt x="110" y="21"/>
                    </a:cubicBezTo>
                    <a:cubicBezTo>
                      <a:pt x="110" y="21"/>
                      <a:pt x="110" y="21"/>
                      <a:pt x="110" y="21"/>
                    </a:cubicBezTo>
                    <a:cubicBezTo>
                      <a:pt x="109" y="22"/>
                      <a:pt x="109" y="22"/>
                      <a:pt x="109" y="22"/>
                    </a:cubicBezTo>
                    <a:cubicBezTo>
                      <a:pt x="0" y="23"/>
                      <a:pt x="0" y="23"/>
                      <a:pt x="0" y="23"/>
                    </a:cubicBezTo>
                    <a:cubicBezTo>
                      <a:pt x="0" y="303"/>
                      <a:pt x="0" y="303"/>
                      <a:pt x="0" y="303"/>
                    </a:cubicBezTo>
                    <a:cubicBezTo>
                      <a:pt x="15" y="316"/>
                      <a:pt x="15" y="316"/>
                      <a:pt x="15" y="316"/>
                    </a:cubicBezTo>
                    <a:cubicBezTo>
                      <a:pt x="16" y="314"/>
                      <a:pt x="16" y="314"/>
                      <a:pt x="16" y="314"/>
                    </a:cubicBezTo>
                    <a:cubicBezTo>
                      <a:pt x="15" y="317"/>
                      <a:pt x="15" y="317"/>
                      <a:pt x="15" y="317"/>
                    </a:cubicBezTo>
                    <a:cubicBezTo>
                      <a:pt x="16" y="317"/>
                      <a:pt x="16" y="317"/>
                      <a:pt x="16" y="317"/>
                    </a:cubicBezTo>
                    <a:cubicBezTo>
                      <a:pt x="16" y="317"/>
                      <a:pt x="16" y="317"/>
                      <a:pt x="16" y="317"/>
                    </a:cubicBezTo>
                    <a:cubicBezTo>
                      <a:pt x="19" y="315"/>
                      <a:pt x="19" y="315"/>
                      <a:pt x="19" y="315"/>
                    </a:cubicBezTo>
                    <a:cubicBezTo>
                      <a:pt x="17" y="318"/>
                      <a:pt x="17" y="318"/>
                      <a:pt x="17" y="318"/>
                    </a:cubicBezTo>
                    <a:cubicBezTo>
                      <a:pt x="17" y="319"/>
                      <a:pt x="17" y="319"/>
                      <a:pt x="17" y="319"/>
                    </a:cubicBezTo>
                    <a:cubicBezTo>
                      <a:pt x="18" y="320"/>
                      <a:pt x="18" y="321"/>
                      <a:pt x="17" y="322"/>
                    </a:cubicBezTo>
                    <a:cubicBezTo>
                      <a:pt x="17" y="322"/>
                      <a:pt x="17" y="322"/>
                      <a:pt x="17" y="323"/>
                    </a:cubicBezTo>
                    <a:cubicBezTo>
                      <a:pt x="16" y="324"/>
                      <a:pt x="16" y="324"/>
                      <a:pt x="16" y="324"/>
                    </a:cubicBezTo>
                    <a:cubicBezTo>
                      <a:pt x="16" y="324"/>
                      <a:pt x="16" y="325"/>
                      <a:pt x="16" y="325"/>
                    </a:cubicBezTo>
                    <a:cubicBezTo>
                      <a:pt x="17" y="326"/>
                      <a:pt x="17" y="326"/>
                      <a:pt x="17" y="326"/>
                    </a:cubicBezTo>
                    <a:cubicBezTo>
                      <a:pt x="17" y="326"/>
                      <a:pt x="17" y="326"/>
                      <a:pt x="17" y="326"/>
                    </a:cubicBezTo>
                    <a:cubicBezTo>
                      <a:pt x="17" y="327"/>
                      <a:pt x="17" y="327"/>
                      <a:pt x="17" y="327"/>
                    </a:cubicBezTo>
                    <a:cubicBezTo>
                      <a:pt x="18" y="328"/>
                      <a:pt x="18" y="328"/>
                      <a:pt x="18" y="328"/>
                    </a:cubicBezTo>
                    <a:cubicBezTo>
                      <a:pt x="18" y="328"/>
                      <a:pt x="18" y="328"/>
                      <a:pt x="18" y="328"/>
                    </a:cubicBezTo>
                    <a:cubicBezTo>
                      <a:pt x="19" y="329"/>
                      <a:pt x="20" y="329"/>
                      <a:pt x="21" y="330"/>
                    </a:cubicBezTo>
                    <a:cubicBezTo>
                      <a:pt x="22" y="330"/>
                      <a:pt x="22" y="330"/>
                      <a:pt x="22" y="330"/>
                    </a:cubicBezTo>
                    <a:cubicBezTo>
                      <a:pt x="23" y="331"/>
                      <a:pt x="25" y="332"/>
                      <a:pt x="27" y="333"/>
                    </a:cubicBezTo>
                    <a:cubicBezTo>
                      <a:pt x="30" y="334"/>
                      <a:pt x="33" y="336"/>
                      <a:pt x="34" y="339"/>
                    </a:cubicBezTo>
                    <a:cubicBezTo>
                      <a:pt x="35" y="340"/>
                      <a:pt x="35" y="341"/>
                      <a:pt x="35" y="342"/>
                    </a:cubicBezTo>
                    <a:cubicBezTo>
                      <a:pt x="34" y="342"/>
                      <a:pt x="34" y="342"/>
                      <a:pt x="34" y="342"/>
                    </a:cubicBezTo>
                    <a:cubicBezTo>
                      <a:pt x="34" y="342"/>
                      <a:pt x="34" y="342"/>
                      <a:pt x="34" y="342"/>
                    </a:cubicBezTo>
                    <a:cubicBezTo>
                      <a:pt x="35" y="342"/>
                      <a:pt x="35" y="342"/>
                      <a:pt x="35" y="342"/>
                    </a:cubicBezTo>
                    <a:cubicBezTo>
                      <a:pt x="35" y="343"/>
                      <a:pt x="35" y="343"/>
                      <a:pt x="35" y="343"/>
                    </a:cubicBezTo>
                    <a:cubicBezTo>
                      <a:pt x="35" y="344"/>
                      <a:pt x="36" y="346"/>
                      <a:pt x="37" y="348"/>
                    </a:cubicBezTo>
                    <a:cubicBezTo>
                      <a:pt x="38" y="349"/>
                      <a:pt x="38" y="349"/>
                      <a:pt x="38" y="349"/>
                    </a:cubicBezTo>
                    <a:cubicBezTo>
                      <a:pt x="41" y="351"/>
                      <a:pt x="43" y="354"/>
                      <a:pt x="44" y="356"/>
                    </a:cubicBezTo>
                    <a:cubicBezTo>
                      <a:pt x="45" y="358"/>
                      <a:pt x="48" y="360"/>
                      <a:pt x="51" y="361"/>
                    </a:cubicBezTo>
                    <a:cubicBezTo>
                      <a:pt x="52" y="362"/>
                      <a:pt x="52" y="362"/>
                      <a:pt x="53" y="362"/>
                    </a:cubicBezTo>
                    <a:cubicBezTo>
                      <a:pt x="53" y="362"/>
                      <a:pt x="54" y="362"/>
                      <a:pt x="54" y="362"/>
                    </a:cubicBezTo>
                    <a:cubicBezTo>
                      <a:pt x="54" y="362"/>
                      <a:pt x="54" y="362"/>
                      <a:pt x="54" y="362"/>
                    </a:cubicBezTo>
                    <a:cubicBezTo>
                      <a:pt x="54" y="362"/>
                      <a:pt x="55" y="361"/>
                      <a:pt x="57" y="360"/>
                    </a:cubicBezTo>
                    <a:cubicBezTo>
                      <a:pt x="58" y="360"/>
                      <a:pt x="58" y="360"/>
                      <a:pt x="59" y="360"/>
                    </a:cubicBezTo>
                    <a:cubicBezTo>
                      <a:pt x="61" y="360"/>
                      <a:pt x="63" y="360"/>
                      <a:pt x="65" y="361"/>
                    </a:cubicBezTo>
                    <a:cubicBezTo>
                      <a:pt x="66" y="361"/>
                      <a:pt x="68" y="362"/>
                      <a:pt x="69" y="362"/>
                    </a:cubicBezTo>
                    <a:cubicBezTo>
                      <a:pt x="69" y="362"/>
                      <a:pt x="70" y="361"/>
                      <a:pt x="70" y="361"/>
                    </a:cubicBezTo>
                    <a:cubicBezTo>
                      <a:pt x="70" y="361"/>
                      <a:pt x="70" y="361"/>
                      <a:pt x="70" y="361"/>
                    </a:cubicBezTo>
                    <a:cubicBezTo>
                      <a:pt x="70" y="361"/>
                      <a:pt x="70" y="361"/>
                      <a:pt x="70" y="361"/>
                    </a:cubicBezTo>
                    <a:cubicBezTo>
                      <a:pt x="70" y="361"/>
                      <a:pt x="70" y="360"/>
                      <a:pt x="71" y="359"/>
                    </a:cubicBezTo>
                    <a:cubicBezTo>
                      <a:pt x="73" y="358"/>
                      <a:pt x="76" y="358"/>
                      <a:pt x="79" y="358"/>
                    </a:cubicBezTo>
                    <a:cubicBezTo>
                      <a:pt x="79" y="358"/>
                      <a:pt x="80" y="358"/>
                      <a:pt x="81" y="358"/>
                    </a:cubicBezTo>
                    <a:cubicBezTo>
                      <a:pt x="83" y="357"/>
                      <a:pt x="83" y="357"/>
                      <a:pt x="83" y="357"/>
                    </a:cubicBezTo>
                    <a:cubicBezTo>
                      <a:pt x="83" y="360"/>
                      <a:pt x="83" y="360"/>
                      <a:pt x="83" y="360"/>
                    </a:cubicBezTo>
                    <a:cubicBezTo>
                      <a:pt x="83" y="361"/>
                      <a:pt x="83" y="361"/>
                      <a:pt x="83" y="361"/>
                    </a:cubicBezTo>
                    <a:cubicBezTo>
                      <a:pt x="83" y="362"/>
                      <a:pt x="83" y="363"/>
                      <a:pt x="84" y="363"/>
                    </a:cubicBezTo>
                    <a:cubicBezTo>
                      <a:pt x="86" y="366"/>
                      <a:pt x="86" y="366"/>
                      <a:pt x="86" y="366"/>
                    </a:cubicBezTo>
                    <a:cubicBezTo>
                      <a:pt x="88" y="367"/>
                      <a:pt x="89" y="368"/>
                      <a:pt x="90" y="369"/>
                    </a:cubicBezTo>
                    <a:cubicBezTo>
                      <a:pt x="91" y="369"/>
                      <a:pt x="91" y="369"/>
                      <a:pt x="92" y="370"/>
                    </a:cubicBezTo>
                    <a:cubicBezTo>
                      <a:pt x="93" y="370"/>
                      <a:pt x="93" y="370"/>
                      <a:pt x="93" y="370"/>
                    </a:cubicBezTo>
                    <a:cubicBezTo>
                      <a:pt x="93" y="370"/>
                      <a:pt x="96" y="371"/>
                      <a:pt x="97" y="373"/>
                    </a:cubicBezTo>
                    <a:cubicBezTo>
                      <a:pt x="97" y="374"/>
                      <a:pt x="97" y="374"/>
                      <a:pt x="97" y="375"/>
                    </a:cubicBezTo>
                    <a:cubicBezTo>
                      <a:pt x="97" y="376"/>
                      <a:pt x="97" y="376"/>
                      <a:pt x="97" y="376"/>
                    </a:cubicBezTo>
                    <a:cubicBezTo>
                      <a:pt x="98" y="377"/>
                      <a:pt x="98" y="377"/>
                      <a:pt x="98" y="377"/>
                    </a:cubicBezTo>
                    <a:cubicBezTo>
                      <a:pt x="99" y="377"/>
                      <a:pt x="99" y="377"/>
                      <a:pt x="100" y="377"/>
                    </a:cubicBezTo>
                    <a:cubicBezTo>
                      <a:pt x="100" y="377"/>
                      <a:pt x="101" y="376"/>
                      <a:pt x="101" y="376"/>
                    </a:cubicBezTo>
                    <a:cubicBezTo>
                      <a:pt x="102" y="375"/>
                      <a:pt x="102" y="375"/>
                      <a:pt x="102" y="375"/>
                    </a:cubicBezTo>
                    <a:cubicBezTo>
                      <a:pt x="103" y="375"/>
                      <a:pt x="103" y="375"/>
                      <a:pt x="103" y="375"/>
                    </a:cubicBezTo>
                    <a:cubicBezTo>
                      <a:pt x="103" y="374"/>
                      <a:pt x="103" y="374"/>
                      <a:pt x="103" y="374"/>
                    </a:cubicBezTo>
                    <a:cubicBezTo>
                      <a:pt x="104" y="373"/>
                      <a:pt x="105" y="373"/>
                      <a:pt x="106" y="373"/>
                    </a:cubicBezTo>
                    <a:cubicBezTo>
                      <a:pt x="107" y="373"/>
                      <a:pt x="108" y="373"/>
                      <a:pt x="108" y="373"/>
                    </a:cubicBezTo>
                    <a:cubicBezTo>
                      <a:pt x="109" y="373"/>
                      <a:pt x="109" y="373"/>
                      <a:pt x="110" y="374"/>
                    </a:cubicBezTo>
                    <a:cubicBezTo>
                      <a:pt x="111" y="374"/>
                      <a:pt x="111" y="374"/>
                      <a:pt x="112" y="374"/>
                    </a:cubicBezTo>
                    <a:cubicBezTo>
                      <a:pt x="112" y="374"/>
                      <a:pt x="113" y="374"/>
                      <a:pt x="113" y="374"/>
                    </a:cubicBezTo>
                    <a:cubicBezTo>
                      <a:pt x="113" y="374"/>
                      <a:pt x="113" y="374"/>
                      <a:pt x="114" y="374"/>
                    </a:cubicBezTo>
                    <a:cubicBezTo>
                      <a:pt x="119" y="371"/>
                      <a:pt x="119" y="371"/>
                      <a:pt x="119" y="371"/>
                    </a:cubicBezTo>
                    <a:cubicBezTo>
                      <a:pt x="120" y="373"/>
                      <a:pt x="120" y="373"/>
                      <a:pt x="120" y="373"/>
                    </a:cubicBezTo>
                    <a:cubicBezTo>
                      <a:pt x="123" y="376"/>
                      <a:pt x="123" y="376"/>
                      <a:pt x="123" y="376"/>
                    </a:cubicBezTo>
                    <a:cubicBezTo>
                      <a:pt x="123" y="376"/>
                      <a:pt x="123" y="376"/>
                      <a:pt x="123" y="376"/>
                    </a:cubicBezTo>
                    <a:cubicBezTo>
                      <a:pt x="123" y="376"/>
                      <a:pt x="124" y="376"/>
                      <a:pt x="125" y="376"/>
                    </a:cubicBezTo>
                    <a:cubicBezTo>
                      <a:pt x="125" y="377"/>
                      <a:pt x="125" y="377"/>
                      <a:pt x="125" y="377"/>
                    </a:cubicBezTo>
                    <a:cubicBezTo>
                      <a:pt x="125" y="377"/>
                      <a:pt x="125" y="377"/>
                      <a:pt x="125" y="377"/>
                    </a:cubicBezTo>
                    <a:cubicBezTo>
                      <a:pt x="126" y="376"/>
                      <a:pt x="127" y="375"/>
                      <a:pt x="128" y="374"/>
                    </a:cubicBezTo>
                    <a:cubicBezTo>
                      <a:pt x="129" y="373"/>
                      <a:pt x="131" y="372"/>
                      <a:pt x="133" y="372"/>
                    </a:cubicBezTo>
                    <a:cubicBezTo>
                      <a:pt x="134" y="372"/>
                      <a:pt x="138" y="370"/>
                      <a:pt x="141" y="370"/>
                    </a:cubicBezTo>
                    <a:cubicBezTo>
                      <a:pt x="141" y="370"/>
                      <a:pt x="142" y="370"/>
                      <a:pt x="143" y="371"/>
                    </a:cubicBezTo>
                    <a:cubicBezTo>
                      <a:pt x="144" y="371"/>
                      <a:pt x="144" y="371"/>
                      <a:pt x="145" y="372"/>
                    </a:cubicBezTo>
                    <a:cubicBezTo>
                      <a:pt x="146" y="372"/>
                      <a:pt x="147" y="372"/>
                      <a:pt x="148" y="372"/>
                    </a:cubicBezTo>
                    <a:cubicBezTo>
                      <a:pt x="149" y="373"/>
                      <a:pt x="149" y="373"/>
                      <a:pt x="150" y="373"/>
                    </a:cubicBezTo>
                    <a:cubicBezTo>
                      <a:pt x="151" y="373"/>
                      <a:pt x="151" y="372"/>
                      <a:pt x="152" y="371"/>
                    </a:cubicBezTo>
                    <a:cubicBezTo>
                      <a:pt x="158" y="365"/>
                      <a:pt x="158" y="365"/>
                      <a:pt x="158" y="365"/>
                    </a:cubicBezTo>
                    <a:cubicBezTo>
                      <a:pt x="158" y="364"/>
                      <a:pt x="158" y="364"/>
                      <a:pt x="158" y="364"/>
                    </a:cubicBezTo>
                    <a:cubicBezTo>
                      <a:pt x="159" y="364"/>
                      <a:pt x="159" y="364"/>
                      <a:pt x="159" y="364"/>
                    </a:cubicBezTo>
                    <a:cubicBezTo>
                      <a:pt x="162" y="361"/>
                      <a:pt x="162" y="361"/>
                      <a:pt x="162" y="361"/>
                    </a:cubicBezTo>
                    <a:cubicBezTo>
                      <a:pt x="162" y="361"/>
                      <a:pt x="163" y="360"/>
                      <a:pt x="163" y="360"/>
                    </a:cubicBezTo>
                    <a:cubicBezTo>
                      <a:pt x="164" y="360"/>
                      <a:pt x="164" y="360"/>
                      <a:pt x="164" y="360"/>
                    </a:cubicBezTo>
                    <a:cubicBezTo>
                      <a:pt x="164" y="359"/>
                      <a:pt x="164" y="359"/>
                      <a:pt x="164" y="359"/>
                    </a:cubicBezTo>
                    <a:cubicBezTo>
                      <a:pt x="165" y="358"/>
                      <a:pt x="166" y="356"/>
                      <a:pt x="169" y="356"/>
                    </a:cubicBezTo>
                    <a:cubicBezTo>
                      <a:pt x="190" y="356"/>
                      <a:pt x="190" y="356"/>
                      <a:pt x="190" y="356"/>
                    </a:cubicBezTo>
                    <a:cubicBezTo>
                      <a:pt x="191" y="357"/>
                      <a:pt x="191" y="357"/>
                      <a:pt x="191" y="357"/>
                    </a:cubicBezTo>
                    <a:cubicBezTo>
                      <a:pt x="191" y="357"/>
                      <a:pt x="191" y="357"/>
                      <a:pt x="191" y="357"/>
                    </a:cubicBezTo>
                    <a:cubicBezTo>
                      <a:pt x="191" y="357"/>
                      <a:pt x="191" y="357"/>
                      <a:pt x="191" y="357"/>
                    </a:cubicBezTo>
                    <a:cubicBezTo>
                      <a:pt x="190" y="356"/>
                      <a:pt x="190" y="356"/>
                      <a:pt x="190" y="355"/>
                    </a:cubicBezTo>
                    <a:cubicBezTo>
                      <a:pt x="190" y="355"/>
                      <a:pt x="190" y="356"/>
                      <a:pt x="190" y="356"/>
                    </a:cubicBezTo>
                    <a:cubicBezTo>
                      <a:pt x="192" y="356"/>
                      <a:pt x="192" y="356"/>
                      <a:pt x="192" y="356"/>
                    </a:cubicBezTo>
                    <a:cubicBezTo>
                      <a:pt x="192" y="354"/>
                      <a:pt x="192" y="354"/>
                      <a:pt x="192" y="354"/>
                    </a:cubicBezTo>
                    <a:cubicBezTo>
                      <a:pt x="192" y="353"/>
                      <a:pt x="192" y="352"/>
                      <a:pt x="192" y="351"/>
                    </a:cubicBezTo>
                    <a:cubicBezTo>
                      <a:pt x="192" y="351"/>
                      <a:pt x="192" y="351"/>
                      <a:pt x="192" y="351"/>
                    </a:cubicBezTo>
                    <a:cubicBezTo>
                      <a:pt x="192" y="350"/>
                      <a:pt x="192" y="350"/>
                      <a:pt x="192" y="349"/>
                    </a:cubicBezTo>
                    <a:cubicBezTo>
                      <a:pt x="192" y="349"/>
                      <a:pt x="192" y="349"/>
                      <a:pt x="192" y="349"/>
                    </a:cubicBezTo>
                    <a:cubicBezTo>
                      <a:pt x="192" y="348"/>
                      <a:pt x="193" y="347"/>
                      <a:pt x="193" y="347"/>
                    </a:cubicBezTo>
                    <a:cubicBezTo>
                      <a:pt x="192" y="347"/>
                      <a:pt x="192" y="347"/>
                      <a:pt x="192" y="347"/>
                    </a:cubicBezTo>
                    <a:cubicBezTo>
                      <a:pt x="192" y="346"/>
                      <a:pt x="192" y="346"/>
                      <a:pt x="191" y="346"/>
                    </a:cubicBezTo>
                    <a:cubicBezTo>
                      <a:pt x="191" y="346"/>
                      <a:pt x="191" y="346"/>
                      <a:pt x="191" y="346"/>
                    </a:cubicBezTo>
                    <a:cubicBezTo>
                      <a:pt x="190" y="346"/>
                      <a:pt x="190" y="346"/>
                      <a:pt x="190" y="346"/>
                    </a:cubicBezTo>
                    <a:cubicBezTo>
                      <a:pt x="188" y="346"/>
                      <a:pt x="187" y="345"/>
                      <a:pt x="185" y="344"/>
                    </a:cubicBezTo>
                    <a:cubicBezTo>
                      <a:pt x="185" y="344"/>
                      <a:pt x="184" y="344"/>
                      <a:pt x="184" y="344"/>
                    </a:cubicBezTo>
                    <a:cubicBezTo>
                      <a:pt x="184" y="344"/>
                      <a:pt x="183" y="343"/>
                      <a:pt x="183" y="343"/>
                    </a:cubicBezTo>
                    <a:cubicBezTo>
                      <a:pt x="182" y="342"/>
                      <a:pt x="182" y="342"/>
                      <a:pt x="181" y="341"/>
                    </a:cubicBezTo>
                    <a:cubicBezTo>
                      <a:pt x="181" y="340"/>
                      <a:pt x="181" y="340"/>
                      <a:pt x="181" y="340"/>
                    </a:cubicBezTo>
                    <a:cubicBezTo>
                      <a:pt x="180" y="339"/>
                      <a:pt x="179" y="338"/>
                      <a:pt x="179" y="337"/>
                    </a:cubicBezTo>
                    <a:cubicBezTo>
                      <a:pt x="179" y="337"/>
                      <a:pt x="175" y="326"/>
                      <a:pt x="173" y="322"/>
                    </a:cubicBezTo>
                    <a:cubicBezTo>
                      <a:pt x="172" y="321"/>
                      <a:pt x="172" y="321"/>
                      <a:pt x="172" y="321"/>
                    </a:cubicBezTo>
                    <a:cubicBezTo>
                      <a:pt x="170" y="319"/>
                      <a:pt x="170" y="319"/>
                      <a:pt x="170" y="319"/>
                    </a:cubicBezTo>
                    <a:cubicBezTo>
                      <a:pt x="169" y="318"/>
                      <a:pt x="169" y="317"/>
                      <a:pt x="168" y="316"/>
                    </a:cubicBezTo>
                    <a:cubicBezTo>
                      <a:pt x="167" y="316"/>
                      <a:pt x="167" y="316"/>
                      <a:pt x="166" y="316"/>
                    </a:cubicBezTo>
                    <a:cubicBezTo>
                      <a:pt x="164" y="315"/>
                      <a:pt x="162" y="313"/>
                      <a:pt x="160" y="311"/>
                    </a:cubicBezTo>
                    <a:cubicBezTo>
                      <a:pt x="160" y="310"/>
                      <a:pt x="160" y="310"/>
                      <a:pt x="160" y="310"/>
                    </a:cubicBezTo>
                    <a:cubicBezTo>
                      <a:pt x="159" y="310"/>
                      <a:pt x="159" y="309"/>
                      <a:pt x="159" y="309"/>
                    </a:cubicBezTo>
                    <a:cubicBezTo>
                      <a:pt x="158" y="308"/>
                      <a:pt x="158" y="308"/>
                      <a:pt x="157" y="307"/>
                    </a:cubicBezTo>
                    <a:cubicBezTo>
                      <a:pt x="157" y="307"/>
                      <a:pt x="157" y="307"/>
                      <a:pt x="157" y="307"/>
                    </a:cubicBezTo>
                    <a:cubicBezTo>
                      <a:pt x="156" y="305"/>
                      <a:pt x="155" y="303"/>
                      <a:pt x="154" y="303"/>
                    </a:cubicBezTo>
                    <a:cubicBezTo>
                      <a:pt x="153" y="303"/>
                      <a:pt x="153" y="303"/>
                      <a:pt x="153" y="303"/>
                    </a:cubicBezTo>
                    <a:cubicBezTo>
                      <a:pt x="153" y="302"/>
                      <a:pt x="152" y="302"/>
                      <a:pt x="152" y="302"/>
                    </a:cubicBezTo>
                    <a:cubicBezTo>
                      <a:pt x="151" y="302"/>
                      <a:pt x="151" y="302"/>
                      <a:pt x="151" y="302"/>
                    </a:cubicBezTo>
                    <a:cubicBezTo>
                      <a:pt x="150" y="301"/>
                      <a:pt x="150" y="301"/>
                      <a:pt x="150" y="301"/>
                    </a:cubicBezTo>
                    <a:cubicBezTo>
                      <a:pt x="148" y="300"/>
                      <a:pt x="146" y="299"/>
                      <a:pt x="144" y="299"/>
                    </a:cubicBezTo>
                    <a:cubicBezTo>
                      <a:pt x="143" y="298"/>
                      <a:pt x="143" y="298"/>
                      <a:pt x="143" y="298"/>
                    </a:cubicBezTo>
                    <a:cubicBezTo>
                      <a:pt x="142" y="298"/>
                      <a:pt x="141" y="298"/>
                      <a:pt x="140" y="297"/>
                    </a:cubicBezTo>
                    <a:cubicBezTo>
                      <a:pt x="138" y="296"/>
                      <a:pt x="138" y="296"/>
                      <a:pt x="138" y="296"/>
                    </a:cubicBezTo>
                    <a:cubicBezTo>
                      <a:pt x="139" y="294"/>
                      <a:pt x="139" y="294"/>
                      <a:pt x="139" y="294"/>
                    </a:cubicBezTo>
                    <a:cubicBezTo>
                      <a:pt x="140" y="293"/>
                      <a:pt x="140" y="292"/>
                      <a:pt x="141" y="291"/>
                    </a:cubicBezTo>
                    <a:cubicBezTo>
                      <a:pt x="142" y="288"/>
                      <a:pt x="143" y="284"/>
                      <a:pt x="147" y="283"/>
                    </a:cubicBezTo>
                    <a:cubicBezTo>
                      <a:pt x="147" y="283"/>
                      <a:pt x="147" y="283"/>
                      <a:pt x="147" y="283"/>
                    </a:cubicBezTo>
                    <a:cubicBezTo>
                      <a:pt x="148" y="283"/>
                      <a:pt x="149" y="283"/>
                      <a:pt x="149" y="283"/>
                    </a:cubicBezTo>
                    <a:cubicBezTo>
                      <a:pt x="150" y="283"/>
                      <a:pt x="150" y="283"/>
                      <a:pt x="150" y="283"/>
                    </a:cubicBezTo>
                    <a:cubicBezTo>
                      <a:pt x="150" y="283"/>
                      <a:pt x="150" y="283"/>
                      <a:pt x="150" y="283"/>
                    </a:cubicBezTo>
                    <a:cubicBezTo>
                      <a:pt x="150" y="283"/>
                      <a:pt x="150" y="283"/>
                      <a:pt x="150" y="283"/>
                    </a:cubicBezTo>
                    <a:cubicBezTo>
                      <a:pt x="151" y="283"/>
                      <a:pt x="152" y="283"/>
                      <a:pt x="154" y="283"/>
                    </a:cubicBezTo>
                    <a:cubicBezTo>
                      <a:pt x="154" y="283"/>
                      <a:pt x="156" y="284"/>
                      <a:pt x="157" y="284"/>
                    </a:cubicBezTo>
                    <a:cubicBezTo>
                      <a:pt x="158" y="284"/>
                      <a:pt x="159" y="284"/>
                      <a:pt x="159" y="283"/>
                    </a:cubicBezTo>
                    <a:cubicBezTo>
                      <a:pt x="159" y="283"/>
                      <a:pt x="159" y="283"/>
                      <a:pt x="159" y="283"/>
                    </a:cubicBezTo>
                    <a:cubicBezTo>
                      <a:pt x="162" y="281"/>
                      <a:pt x="161" y="273"/>
                      <a:pt x="160" y="269"/>
                    </a:cubicBezTo>
                    <a:cubicBezTo>
                      <a:pt x="160" y="269"/>
                      <a:pt x="160" y="269"/>
                      <a:pt x="160" y="269"/>
                    </a:cubicBezTo>
                    <a:cubicBezTo>
                      <a:pt x="160" y="266"/>
                      <a:pt x="161" y="263"/>
                      <a:pt x="161" y="261"/>
                    </a:cubicBezTo>
                    <a:cubicBezTo>
                      <a:pt x="162" y="260"/>
                      <a:pt x="162" y="259"/>
                      <a:pt x="162" y="259"/>
                    </a:cubicBezTo>
                    <a:cubicBezTo>
                      <a:pt x="162" y="258"/>
                      <a:pt x="162" y="258"/>
                      <a:pt x="162" y="258"/>
                    </a:cubicBezTo>
                    <a:cubicBezTo>
                      <a:pt x="163" y="256"/>
                      <a:pt x="163" y="255"/>
                      <a:pt x="164" y="254"/>
                    </a:cubicBezTo>
                    <a:cubicBezTo>
                      <a:pt x="164" y="252"/>
                      <a:pt x="164" y="252"/>
                      <a:pt x="164" y="252"/>
                    </a:cubicBezTo>
                    <a:cubicBezTo>
                      <a:pt x="164" y="252"/>
                      <a:pt x="164" y="251"/>
                      <a:pt x="165" y="251"/>
                    </a:cubicBezTo>
                    <a:cubicBezTo>
                      <a:pt x="165" y="250"/>
                      <a:pt x="165" y="249"/>
                      <a:pt x="164" y="248"/>
                    </a:cubicBezTo>
                    <a:cubicBezTo>
                      <a:pt x="164" y="247"/>
                      <a:pt x="164" y="245"/>
                      <a:pt x="164" y="243"/>
                    </a:cubicBezTo>
                    <a:cubicBezTo>
                      <a:pt x="164" y="243"/>
                      <a:pt x="165" y="243"/>
                      <a:pt x="165" y="242"/>
                    </a:cubicBezTo>
                    <a:cubicBezTo>
                      <a:pt x="166" y="241"/>
                      <a:pt x="166" y="240"/>
                      <a:pt x="167" y="239"/>
                    </a:cubicBezTo>
                    <a:cubicBezTo>
                      <a:pt x="168" y="238"/>
                      <a:pt x="168" y="238"/>
                      <a:pt x="169" y="237"/>
                    </a:cubicBezTo>
                    <a:cubicBezTo>
                      <a:pt x="170" y="237"/>
                      <a:pt x="170" y="237"/>
                      <a:pt x="170" y="237"/>
                    </a:cubicBezTo>
                    <a:cubicBezTo>
                      <a:pt x="170" y="237"/>
                      <a:pt x="170" y="237"/>
                      <a:pt x="170" y="237"/>
                    </a:cubicBezTo>
                    <a:cubicBezTo>
                      <a:pt x="170" y="237"/>
                      <a:pt x="171" y="237"/>
                      <a:pt x="171" y="237"/>
                    </a:cubicBezTo>
                    <a:cubicBezTo>
                      <a:pt x="171" y="237"/>
                      <a:pt x="171" y="237"/>
                      <a:pt x="171" y="237"/>
                    </a:cubicBezTo>
                    <a:cubicBezTo>
                      <a:pt x="171" y="237"/>
                      <a:pt x="171" y="237"/>
                      <a:pt x="171" y="237"/>
                    </a:cubicBezTo>
                    <a:cubicBezTo>
                      <a:pt x="172" y="237"/>
                      <a:pt x="172" y="237"/>
                      <a:pt x="173" y="237"/>
                    </a:cubicBezTo>
                    <a:cubicBezTo>
                      <a:pt x="173" y="237"/>
                      <a:pt x="173" y="237"/>
                      <a:pt x="173" y="237"/>
                    </a:cubicBezTo>
                    <a:cubicBezTo>
                      <a:pt x="173" y="237"/>
                      <a:pt x="173" y="237"/>
                      <a:pt x="173" y="237"/>
                    </a:cubicBezTo>
                    <a:cubicBezTo>
                      <a:pt x="174" y="238"/>
                      <a:pt x="174" y="238"/>
                      <a:pt x="174" y="238"/>
                    </a:cubicBezTo>
                    <a:cubicBezTo>
                      <a:pt x="174" y="238"/>
                      <a:pt x="175" y="238"/>
                      <a:pt x="175" y="238"/>
                    </a:cubicBezTo>
                    <a:cubicBezTo>
                      <a:pt x="175" y="238"/>
                      <a:pt x="175" y="238"/>
                      <a:pt x="175" y="238"/>
                    </a:cubicBezTo>
                    <a:cubicBezTo>
                      <a:pt x="176" y="238"/>
                      <a:pt x="176" y="238"/>
                      <a:pt x="176" y="238"/>
                    </a:cubicBezTo>
                    <a:cubicBezTo>
                      <a:pt x="176" y="238"/>
                      <a:pt x="176" y="238"/>
                      <a:pt x="176" y="238"/>
                    </a:cubicBezTo>
                    <a:cubicBezTo>
                      <a:pt x="176" y="238"/>
                      <a:pt x="176" y="238"/>
                      <a:pt x="176" y="238"/>
                    </a:cubicBezTo>
                    <a:cubicBezTo>
                      <a:pt x="177" y="237"/>
                      <a:pt x="177" y="237"/>
                      <a:pt x="177" y="237"/>
                    </a:cubicBezTo>
                    <a:cubicBezTo>
                      <a:pt x="176" y="237"/>
                      <a:pt x="176" y="237"/>
                      <a:pt x="176" y="237"/>
                    </a:cubicBezTo>
                    <a:cubicBezTo>
                      <a:pt x="176" y="236"/>
                      <a:pt x="176" y="235"/>
                      <a:pt x="177" y="234"/>
                    </a:cubicBezTo>
                    <a:cubicBezTo>
                      <a:pt x="177" y="234"/>
                      <a:pt x="177" y="234"/>
                      <a:pt x="177" y="234"/>
                    </a:cubicBezTo>
                    <a:cubicBezTo>
                      <a:pt x="177" y="233"/>
                      <a:pt x="177" y="233"/>
                      <a:pt x="177" y="233"/>
                    </a:cubicBezTo>
                    <a:cubicBezTo>
                      <a:pt x="177" y="232"/>
                      <a:pt x="177" y="231"/>
                      <a:pt x="177" y="231"/>
                    </a:cubicBezTo>
                    <a:cubicBezTo>
                      <a:pt x="177" y="230"/>
                      <a:pt x="177" y="230"/>
                      <a:pt x="177" y="230"/>
                    </a:cubicBezTo>
                    <a:cubicBezTo>
                      <a:pt x="178" y="230"/>
                      <a:pt x="178" y="229"/>
                      <a:pt x="178" y="229"/>
                    </a:cubicBezTo>
                    <a:cubicBezTo>
                      <a:pt x="178" y="227"/>
                      <a:pt x="178" y="226"/>
                      <a:pt x="179" y="224"/>
                    </a:cubicBezTo>
                    <a:cubicBezTo>
                      <a:pt x="179" y="223"/>
                      <a:pt x="179" y="223"/>
                      <a:pt x="179" y="223"/>
                    </a:cubicBezTo>
                    <a:cubicBezTo>
                      <a:pt x="180" y="220"/>
                      <a:pt x="180" y="218"/>
                      <a:pt x="183" y="216"/>
                    </a:cubicBezTo>
                    <a:cubicBezTo>
                      <a:pt x="184" y="215"/>
                      <a:pt x="185" y="214"/>
                      <a:pt x="185" y="212"/>
                    </a:cubicBezTo>
                    <a:cubicBezTo>
                      <a:pt x="186" y="211"/>
                      <a:pt x="187" y="209"/>
                      <a:pt x="188" y="207"/>
                    </a:cubicBezTo>
                    <a:cubicBezTo>
                      <a:pt x="189" y="207"/>
                      <a:pt x="189" y="207"/>
                      <a:pt x="189" y="207"/>
                    </a:cubicBezTo>
                    <a:cubicBezTo>
                      <a:pt x="189" y="206"/>
                      <a:pt x="190" y="205"/>
                      <a:pt x="190" y="204"/>
                    </a:cubicBezTo>
                    <a:cubicBezTo>
                      <a:pt x="191" y="202"/>
                      <a:pt x="192" y="202"/>
                      <a:pt x="194" y="201"/>
                    </a:cubicBezTo>
                    <a:cubicBezTo>
                      <a:pt x="195" y="201"/>
                      <a:pt x="195" y="201"/>
                      <a:pt x="195" y="201"/>
                    </a:cubicBezTo>
                    <a:cubicBezTo>
                      <a:pt x="195" y="201"/>
                      <a:pt x="195" y="201"/>
                      <a:pt x="195" y="201"/>
                    </a:cubicBezTo>
                    <a:cubicBezTo>
                      <a:pt x="196" y="201"/>
                      <a:pt x="196" y="201"/>
                      <a:pt x="197" y="201"/>
                    </a:cubicBezTo>
                    <a:cubicBezTo>
                      <a:pt x="198" y="202"/>
                      <a:pt x="198" y="202"/>
                      <a:pt x="199" y="202"/>
                    </a:cubicBezTo>
                    <a:cubicBezTo>
                      <a:pt x="200" y="202"/>
                      <a:pt x="200" y="202"/>
                      <a:pt x="200" y="202"/>
                    </a:cubicBezTo>
                    <a:cubicBezTo>
                      <a:pt x="200" y="201"/>
                      <a:pt x="200" y="201"/>
                      <a:pt x="200" y="198"/>
                    </a:cubicBezTo>
                    <a:cubicBezTo>
                      <a:pt x="201" y="197"/>
                      <a:pt x="201" y="197"/>
                      <a:pt x="201" y="197"/>
                    </a:cubicBezTo>
                    <a:cubicBezTo>
                      <a:pt x="202" y="193"/>
                      <a:pt x="202" y="193"/>
                      <a:pt x="202" y="193"/>
                    </a:cubicBezTo>
                    <a:cubicBezTo>
                      <a:pt x="203" y="189"/>
                      <a:pt x="204" y="185"/>
                      <a:pt x="205" y="182"/>
                    </a:cubicBezTo>
                    <a:cubicBezTo>
                      <a:pt x="205" y="181"/>
                      <a:pt x="205" y="181"/>
                      <a:pt x="205" y="181"/>
                    </a:cubicBezTo>
                    <a:cubicBezTo>
                      <a:pt x="205" y="179"/>
                      <a:pt x="206" y="177"/>
                      <a:pt x="206" y="175"/>
                    </a:cubicBezTo>
                    <a:cubicBezTo>
                      <a:pt x="206" y="174"/>
                      <a:pt x="206" y="174"/>
                      <a:pt x="206" y="174"/>
                    </a:cubicBezTo>
                    <a:cubicBezTo>
                      <a:pt x="205" y="170"/>
                      <a:pt x="205" y="165"/>
                      <a:pt x="205" y="165"/>
                    </a:cubicBezTo>
                    <a:cubicBezTo>
                      <a:pt x="205" y="164"/>
                      <a:pt x="205" y="164"/>
                      <a:pt x="205" y="163"/>
                    </a:cubicBezTo>
                    <a:cubicBezTo>
                      <a:pt x="205" y="161"/>
                      <a:pt x="204" y="158"/>
                      <a:pt x="205" y="156"/>
                    </a:cubicBezTo>
                    <a:cubicBezTo>
                      <a:pt x="206" y="151"/>
                      <a:pt x="208" y="146"/>
                      <a:pt x="210" y="142"/>
                    </a:cubicBezTo>
                    <a:cubicBezTo>
                      <a:pt x="210" y="141"/>
                      <a:pt x="210" y="141"/>
                      <a:pt x="210" y="141"/>
                    </a:cubicBezTo>
                    <a:cubicBezTo>
                      <a:pt x="211" y="139"/>
                      <a:pt x="212" y="137"/>
                      <a:pt x="212" y="136"/>
                    </a:cubicBezTo>
                    <a:cubicBezTo>
                      <a:pt x="214" y="130"/>
                      <a:pt x="215" y="126"/>
                      <a:pt x="215" y="120"/>
                    </a:cubicBezTo>
                    <a:cubicBezTo>
                      <a:pt x="215" y="116"/>
                      <a:pt x="215" y="116"/>
                      <a:pt x="215" y="116"/>
                    </a:cubicBezTo>
                    <a:cubicBezTo>
                      <a:pt x="218" y="116"/>
                      <a:pt x="218" y="116"/>
                      <a:pt x="218" y="116"/>
                    </a:cubicBezTo>
                    <a:cubicBezTo>
                      <a:pt x="218" y="116"/>
                      <a:pt x="219" y="116"/>
                      <a:pt x="220" y="116"/>
                    </a:cubicBezTo>
                    <a:cubicBezTo>
                      <a:pt x="221" y="117"/>
                      <a:pt x="222" y="117"/>
                      <a:pt x="223" y="117"/>
                    </a:cubicBezTo>
                    <a:cubicBezTo>
                      <a:pt x="224" y="117"/>
                      <a:pt x="224" y="117"/>
                      <a:pt x="225" y="116"/>
                    </a:cubicBezTo>
                    <a:cubicBezTo>
                      <a:pt x="225" y="116"/>
                      <a:pt x="225" y="116"/>
                      <a:pt x="225" y="116"/>
                    </a:cubicBezTo>
                    <a:cubicBezTo>
                      <a:pt x="226" y="115"/>
                      <a:pt x="226" y="115"/>
                      <a:pt x="226" y="115"/>
                    </a:cubicBezTo>
                    <a:cubicBezTo>
                      <a:pt x="226" y="115"/>
                      <a:pt x="226" y="114"/>
                      <a:pt x="227" y="114"/>
                    </a:cubicBezTo>
                    <a:cubicBezTo>
                      <a:pt x="228" y="112"/>
                      <a:pt x="230" y="111"/>
                      <a:pt x="231" y="110"/>
                    </a:cubicBezTo>
                    <a:cubicBezTo>
                      <a:pt x="232" y="110"/>
                      <a:pt x="232" y="110"/>
                      <a:pt x="232" y="110"/>
                    </a:cubicBezTo>
                    <a:cubicBezTo>
                      <a:pt x="232" y="110"/>
                      <a:pt x="233" y="109"/>
                      <a:pt x="233" y="109"/>
                    </a:cubicBezTo>
                    <a:cubicBezTo>
                      <a:pt x="234" y="108"/>
                      <a:pt x="234" y="108"/>
                      <a:pt x="234" y="108"/>
                    </a:cubicBezTo>
                    <a:cubicBezTo>
                      <a:pt x="235" y="108"/>
                      <a:pt x="235" y="108"/>
                      <a:pt x="236" y="108"/>
                    </a:cubicBezTo>
                    <a:cubicBezTo>
                      <a:pt x="237" y="107"/>
                      <a:pt x="238" y="107"/>
                      <a:pt x="239" y="107"/>
                    </a:cubicBezTo>
                    <a:cubicBezTo>
                      <a:pt x="240" y="107"/>
                      <a:pt x="240" y="107"/>
                      <a:pt x="240" y="107"/>
                    </a:cubicBezTo>
                    <a:cubicBezTo>
                      <a:pt x="238" y="103"/>
                      <a:pt x="238" y="103"/>
                      <a:pt x="238" y="103"/>
                    </a:cubicBezTo>
                    <a:cubicBezTo>
                      <a:pt x="241" y="106"/>
                      <a:pt x="241" y="106"/>
                      <a:pt x="241" y="106"/>
                    </a:cubicBezTo>
                    <a:cubicBezTo>
                      <a:pt x="241" y="106"/>
                      <a:pt x="241" y="106"/>
                      <a:pt x="241" y="106"/>
                    </a:cubicBezTo>
                    <a:cubicBezTo>
                      <a:pt x="242" y="105"/>
                      <a:pt x="243" y="103"/>
                      <a:pt x="244" y="101"/>
                    </a:cubicBezTo>
                    <a:cubicBezTo>
                      <a:pt x="245" y="101"/>
                      <a:pt x="245" y="101"/>
                      <a:pt x="245" y="101"/>
                    </a:cubicBezTo>
                    <a:cubicBezTo>
                      <a:pt x="245" y="101"/>
                      <a:pt x="245" y="100"/>
                      <a:pt x="246" y="99"/>
                    </a:cubicBezTo>
                    <a:cubicBezTo>
                      <a:pt x="246" y="99"/>
                      <a:pt x="246" y="99"/>
                      <a:pt x="246" y="99"/>
                    </a:cubicBezTo>
                    <a:cubicBezTo>
                      <a:pt x="245" y="98"/>
                      <a:pt x="245" y="98"/>
                      <a:pt x="244" y="98"/>
                    </a:cubicBezTo>
                    <a:cubicBezTo>
                      <a:pt x="239" y="94"/>
                      <a:pt x="234" y="90"/>
                      <a:pt x="229" y="86"/>
                    </a:cubicBezTo>
                    <a:cubicBezTo>
                      <a:pt x="223" y="82"/>
                      <a:pt x="223" y="72"/>
                      <a:pt x="222" y="65"/>
                    </a:cubicBezTo>
                    <a:cubicBezTo>
                      <a:pt x="222" y="61"/>
                      <a:pt x="222" y="56"/>
                      <a:pt x="222" y="51"/>
                    </a:cubicBezTo>
                    <a:cubicBezTo>
                      <a:pt x="222" y="46"/>
                      <a:pt x="221" y="41"/>
                      <a:pt x="220" y="37"/>
                    </a:cubicBezTo>
                    <a:cubicBezTo>
                      <a:pt x="221" y="38"/>
                      <a:pt x="222" y="40"/>
                      <a:pt x="223" y="40"/>
                    </a:cubicBezTo>
                    <a:cubicBezTo>
                      <a:pt x="223" y="38"/>
                      <a:pt x="220" y="36"/>
                      <a:pt x="219" y="34"/>
                    </a:cubicBezTo>
                    <a:cubicBezTo>
                      <a:pt x="217" y="32"/>
                      <a:pt x="216" y="30"/>
                      <a:pt x="216" y="27"/>
                    </a:cubicBezTo>
                    <a:cubicBezTo>
                      <a:pt x="215" y="26"/>
                      <a:pt x="216" y="21"/>
                      <a:pt x="215" y="21"/>
                    </a:cubicBezTo>
                    <a:cubicBezTo>
                      <a:pt x="215" y="21"/>
                      <a:pt x="215" y="21"/>
                      <a:pt x="215" y="21"/>
                    </a:cubicBezTo>
                    <a:cubicBezTo>
                      <a:pt x="210" y="16"/>
                      <a:pt x="204" y="12"/>
                      <a:pt x="199" y="8"/>
                    </a:cubicBezTo>
                    <a:cubicBezTo>
                      <a:pt x="197" y="7"/>
                      <a:pt x="195" y="3"/>
                      <a:pt x="1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378"/>
              <p:cNvSpPr/>
              <p:nvPr/>
            </p:nvSpPr>
            <p:spPr bwMode="auto">
              <a:xfrm>
                <a:off x="4008" y="2647"/>
                <a:ext cx="652" cy="506"/>
              </a:xfrm>
              <a:custGeom>
                <a:gdLst>
                  <a:gd name="T0" fmla="*/ 88 w 276"/>
                  <a:gd name="T1" fmla="*/ 5 h 214"/>
                  <a:gd name="T2" fmla="*/ 85 w 276"/>
                  <a:gd name="T3" fmla="*/ 8 h 214"/>
                  <a:gd name="T4" fmla="*/ 82 w 276"/>
                  <a:gd name="T5" fmla="*/ 10 h 214"/>
                  <a:gd name="T6" fmla="*/ 81 w 276"/>
                  <a:gd name="T7" fmla="*/ 10 h 214"/>
                  <a:gd name="T8" fmla="*/ 78 w 276"/>
                  <a:gd name="T9" fmla="*/ 9 h 214"/>
                  <a:gd name="T10" fmla="*/ 72 w 276"/>
                  <a:gd name="T11" fmla="*/ 11 h 214"/>
                  <a:gd name="T12" fmla="*/ 65 w 276"/>
                  <a:gd name="T13" fmla="*/ 16 h 214"/>
                  <a:gd name="T14" fmla="*/ 56 w 276"/>
                  <a:gd name="T15" fmla="*/ 41 h 214"/>
                  <a:gd name="T16" fmla="*/ 52 w 276"/>
                  <a:gd name="T17" fmla="*/ 41 h 214"/>
                  <a:gd name="T18" fmla="*/ 48 w 276"/>
                  <a:gd name="T19" fmla="*/ 43 h 214"/>
                  <a:gd name="T20" fmla="*/ 38 w 276"/>
                  <a:gd name="T21" fmla="*/ 60 h 214"/>
                  <a:gd name="T22" fmla="*/ 36 w 276"/>
                  <a:gd name="T23" fmla="*/ 72 h 214"/>
                  <a:gd name="T24" fmla="*/ 32 w 276"/>
                  <a:gd name="T25" fmla="*/ 78 h 214"/>
                  <a:gd name="T26" fmla="*/ 26 w 276"/>
                  <a:gd name="T27" fmla="*/ 77 h 214"/>
                  <a:gd name="T28" fmla="*/ 24 w 276"/>
                  <a:gd name="T29" fmla="*/ 82 h 214"/>
                  <a:gd name="T30" fmla="*/ 21 w 276"/>
                  <a:gd name="T31" fmla="*/ 97 h 214"/>
                  <a:gd name="T32" fmla="*/ 16 w 276"/>
                  <a:gd name="T33" fmla="*/ 122 h 214"/>
                  <a:gd name="T34" fmla="*/ 3 w 276"/>
                  <a:gd name="T35" fmla="*/ 122 h 214"/>
                  <a:gd name="T36" fmla="*/ 1 w 276"/>
                  <a:gd name="T37" fmla="*/ 129 h 214"/>
                  <a:gd name="T38" fmla="*/ 16 w 276"/>
                  <a:gd name="T39" fmla="*/ 139 h 214"/>
                  <a:gd name="T40" fmla="*/ 26 w 276"/>
                  <a:gd name="T41" fmla="*/ 148 h 214"/>
                  <a:gd name="T42" fmla="*/ 39 w 276"/>
                  <a:gd name="T43" fmla="*/ 173 h 214"/>
                  <a:gd name="T44" fmla="*/ 46 w 276"/>
                  <a:gd name="T45" fmla="*/ 177 h 214"/>
                  <a:gd name="T46" fmla="*/ 52 w 276"/>
                  <a:gd name="T47" fmla="*/ 184 h 214"/>
                  <a:gd name="T48" fmla="*/ 53 w 276"/>
                  <a:gd name="T49" fmla="*/ 191 h 214"/>
                  <a:gd name="T50" fmla="*/ 71 w 276"/>
                  <a:gd name="T51" fmla="*/ 196 h 214"/>
                  <a:gd name="T52" fmla="*/ 75 w 276"/>
                  <a:gd name="T53" fmla="*/ 198 h 214"/>
                  <a:gd name="T54" fmla="*/ 91 w 276"/>
                  <a:gd name="T55" fmla="*/ 208 h 214"/>
                  <a:gd name="T56" fmla="*/ 119 w 276"/>
                  <a:gd name="T57" fmla="*/ 214 h 214"/>
                  <a:gd name="T58" fmla="*/ 144 w 276"/>
                  <a:gd name="T59" fmla="*/ 198 h 214"/>
                  <a:gd name="T60" fmla="*/ 148 w 276"/>
                  <a:gd name="T61" fmla="*/ 200 h 214"/>
                  <a:gd name="T62" fmla="*/ 155 w 276"/>
                  <a:gd name="T63" fmla="*/ 204 h 214"/>
                  <a:gd name="T64" fmla="*/ 165 w 276"/>
                  <a:gd name="T65" fmla="*/ 204 h 214"/>
                  <a:gd name="T66" fmla="*/ 179 w 276"/>
                  <a:gd name="T67" fmla="*/ 198 h 214"/>
                  <a:gd name="T68" fmla="*/ 209 w 276"/>
                  <a:gd name="T69" fmla="*/ 185 h 214"/>
                  <a:gd name="T70" fmla="*/ 218 w 276"/>
                  <a:gd name="T71" fmla="*/ 185 h 214"/>
                  <a:gd name="T72" fmla="*/ 223 w 276"/>
                  <a:gd name="T73" fmla="*/ 185 h 214"/>
                  <a:gd name="T74" fmla="*/ 232 w 276"/>
                  <a:gd name="T75" fmla="*/ 176 h 214"/>
                  <a:gd name="T76" fmla="*/ 270 w 276"/>
                  <a:gd name="T77" fmla="*/ 132 h 214"/>
                  <a:gd name="T78" fmla="*/ 217 w 276"/>
                  <a:gd name="T79" fmla="*/ 116 h 214"/>
                  <a:gd name="T80" fmla="*/ 200 w 276"/>
                  <a:gd name="T81" fmla="*/ 108 h 214"/>
                  <a:gd name="T82" fmla="*/ 187 w 276"/>
                  <a:gd name="T83" fmla="*/ 93 h 214"/>
                  <a:gd name="T84" fmla="*/ 181 w 276"/>
                  <a:gd name="T85" fmla="*/ 74 h 214"/>
                  <a:gd name="T86" fmla="*/ 167 w 276"/>
                  <a:gd name="T87" fmla="*/ 75 h 214"/>
                  <a:gd name="T88" fmla="*/ 161 w 276"/>
                  <a:gd name="T89" fmla="*/ 68 h 214"/>
                  <a:gd name="T90" fmla="*/ 161 w 276"/>
                  <a:gd name="T91" fmla="*/ 63 h 214"/>
                  <a:gd name="T92" fmla="*/ 165 w 276"/>
                  <a:gd name="T93" fmla="*/ 53 h 214"/>
                  <a:gd name="T94" fmla="*/ 158 w 276"/>
                  <a:gd name="T95" fmla="*/ 26 h 214"/>
                  <a:gd name="T96" fmla="*/ 138 w 276"/>
                  <a:gd name="T97" fmla="*/ 9 h 214"/>
                  <a:gd name="T98" fmla="*/ 133 w 276"/>
                  <a:gd name="T99" fmla="*/ 6 h 214"/>
                  <a:gd name="T100" fmla="*/ 131 w 276"/>
                  <a:gd name="T101" fmla="*/ 5 h 214"/>
                  <a:gd name="T102" fmla="*/ 121 w 276"/>
                  <a:gd name="T103" fmla="*/ 6 h 214"/>
                  <a:gd name="T104" fmla="*/ 117 w 276"/>
                  <a:gd name="T105" fmla="*/ 7 h 214"/>
                  <a:gd name="T106" fmla="*/ 113 w 276"/>
                  <a:gd name="T107" fmla="*/ 4 h 214"/>
                  <a:gd name="T108" fmla="*/ 106 w 276"/>
                  <a:gd name="T109" fmla="*/ 6 h 214"/>
                  <a:gd name="T110" fmla="*/ 97 w 276"/>
                  <a:gd name="T111" fmla="*/ 3 h 2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6" h="214">
                    <a:moveTo>
                      <a:pt x="90" y="0"/>
                    </a:moveTo>
                    <a:cubicBezTo>
                      <a:pt x="90" y="1"/>
                      <a:pt x="90" y="1"/>
                      <a:pt x="90" y="1"/>
                    </a:cubicBezTo>
                    <a:cubicBezTo>
                      <a:pt x="90" y="1"/>
                      <a:pt x="90" y="1"/>
                      <a:pt x="90" y="1"/>
                    </a:cubicBezTo>
                    <a:cubicBezTo>
                      <a:pt x="88" y="4"/>
                      <a:pt x="88" y="4"/>
                      <a:pt x="88" y="4"/>
                    </a:cubicBezTo>
                    <a:cubicBezTo>
                      <a:pt x="88" y="5"/>
                      <a:pt x="88" y="5"/>
                      <a:pt x="88" y="5"/>
                    </a:cubicBezTo>
                    <a:cubicBezTo>
                      <a:pt x="88" y="5"/>
                      <a:pt x="88" y="5"/>
                      <a:pt x="88" y="5"/>
                    </a:cubicBezTo>
                    <a:cubicBezTo>
                      <a:pt x="87" y="6"/>
                      <a:pt x="87" y="6"/>
                      <a:pt x="87" y="6"/>
                    </a:cubicBezTo>
                    <a:cubicBezTo>
                      <a:pt x="87" y="7"/>
                      <a:pt x="87" y="7"/>
                      <a:pt x="87" y="7"/>
                    </a:cubicBezTo>
                    <a:cubicBezTo>
                      <a:pt x="86" y="8"/>
                      <a:pt x="86" y="8"/>
                      <a:pt x="86" y="8"/>
                    </a:cubicBezTo>
                    <a:cubicBezTo>
                      <a:pt x="85" y="8"/>
                      <a:pt x="85" y="8"/>
                      <a:pt x="85" y="8"/>
                    </a:cubicBezTo>
                    <a:cubicBezTo>
                      <a:pt x="85" y="9"/>
                      <a:pt x="85" y="9"/>
                      <a:pt x="85" y="9"/>
                    </a:cubicBezTo>
                    <a:cubicBezTo>
                      <a:pt x="84" y="9"/>
                      <a:pt x="84" y="9"/>
                      <a:pt x="84" y="9"/>
                    </a:cubicBezTo>
                    <a:cubicBezTo>
                      <a:pt x="83" y="10"/>
                      <a:pt x="83" y="10"/>
                      <a:pt x="83" y="10"/>
                    </a:cubicBezTo>
                    <a:cubicBezTo>
                      <a:pt x="83" y="10"/>
                      <a:pt x="83" y="10"/>
                      <a:pt x="83" y="10"/>
                    </a:cubicBezTo>
                    <a:cubicBezTo>
                      <a:pt x="82" y="10"/>
                      <a:pt x="82" y="10"/>
                      <a:pt x="82" y="10"/>
                    </a:cubicBezTo>
                    <a:cubicBezTo>
                      <a:pt x="82" y="10"/>
                      <a:pt x="82" y="10"/>
                      <a:pt x="82" y="10"/>
                    </a:cubicBezTo>
                    <a:cubicBezTo>
                      <a:pt x="82" y="10"/>
                      <a:pt x="82" y="10"/>
                      <a:pt x="82" y="10"/>
                    </a:cubicBezTo>
                    <a:cubicBezTo>
                      <a:pt x="81" y="10"/>
                      <a:pt x="81" y="10"/>
                      <a:pt x="81" y="10"/>
                    </a:cubicBezTo>
                    <a:cubicBezTo>
                      <a:pt x="81" y="10"/>
                      <a:pt x="81" y="10"/>
                      <a:pt x="81" y="10"/>
                    </a:cubicBezTo>
                    <a:cubicBezTo>
                      <a:pt x="81" y="10"/>
                      <a:pt x="81" y="10"/>
                      <a:pt x="81" y="10"/>
                    </a:cubicBezTo>
                    <a:cubicBezTo>
                      <a:pt x="81" y="10"/>
                      <a:pt x="80" y="10"/>
                      <a:pt x="80" y="10"/>
                    </a:cubicBezTo>
                    <a:cubicBezTo>
                      <a:pt x="80" y="10"/>
                      <a:pt x="80" y="10"/>
                      <a:pt x="80" y="10"/>
                    </a:cubicBezTo>
                    <a:cubicBezTo>
                      <a:pt x="78" y="9"/>
                      <a:pt x="78" y="9"/>
                      <a:pt x="78" y="9"/>
                    </a:cubicBezTo>
                    <a:cubicBezTo>
                      <a:pt x="78" y="9"/>
                      <a:pt x="78" y="9"/>
                      <a:pt x="78" y="9"/>
                    </a:cubicBezTo>
                    <a:cubicBezTo>
                      <a:pt x="78" y="9"/>
                      <a:pt x="78" y="9"/>
                      <a:pt x="78" y="9"/>
                    </a:cubicBezTo>
                    <a:cubicBezTo>
                      <a:pt x="78" y="8"/>
                      <a:pt x="78" y="8"/>
                      <a:pt x="78" y="8"/>
                    </a:cubicBezTo>
                    <a:cubicBezTo>
                      <a:pt x="78" y="8"/>
                      <a:pt x="78" y="8"/>
                      <a:pt x="78" y="8"/>
                    </a:cubicBezTo>
                    <a:cubicBezTo>
                      <a:pt x="78" y="8"/>
                      <a:pt x="78" y="8"/>
                      <a:pt x="78" y="8"/>
                    </a:cubicBezTo>
                    <a:cubicBezTo>
                      <a:pt x="77" y="9"/>
                      <a:pt x="76" y="10"/>
                      <a:pt x="75" y="10"/>
                    </a:cubicBezTo>
                    <a:cubicBezTo>
                      <a:pt x="74" y="11"/>
                      <a:pt x="73" y="11"/>
                      <a:pt x="72" y="11"/>
                    </a:cubicBezTo>
                    <a:cubicBezTo>
                      <a:pt x="72" y="11"/>
                      <a:pt x="72" y="11"/>
                      <a:pt x="72" y="11"/>
                    </a:cubicBezTo>
                    <a:cubicBezTo>
                      <a:pt x="71" y="11"/>
                      <a:pt x="71" y="11"/>
                      <a:pt x="71" y="11"/>
                    </a:cubicBezTo>
                    <a:cubicBezTo>
                      <a:pt x="71" y="11"/>
                      <a:pt x="70" y="11"/>
                      <a:pt x="69" y="11"/>
                    </a:cubicBezTo>
                    <a:cubicBezTo>
                      <a:pt x="66" y="11"/>
                      <a:pt x="66" y="11"/>
                      <a:pt x="66" y="11"/>
                    </a:cubicBezTo>
                    <a:cubicBezTo>
                      <a:pt x="65" y="13"/>
                      <a:pt x="65" y="15"/>
                      <a:pt x="65" y="16"/>
                    </a:cubicBezTo>
                    <a:cubicBezTo>
                      <a:pt x="65" y="17"/>
                      <a:pt x="65" y="17"/>
                      <a:pt x="65" y="17"/>
                    </a:cubicBezTo>
                    <a:cubicBezTo>
                      <a:pt x="64" y="22"/>
                      <a:pt x="62" y="26"/>
                      <a:pt x="61" y="30"/>
                    </a:cubicBezTo>
                    <a:cubicBezTo>
                      <a:pt x="60" y="34"/>
                      <a:pt x="60" y="34"/>
                      <a:pt x="60" y="34"/>
                    </a:cubicBezTo>
                    <a:cubicBezTo>
                      <a:pt x="60" y="37"/>
                      <a:pt x="59" y="39"/>
                      <a:pt x="58" y="40"/>
                    </a:cubicBezTo>
                    <a:cubicBezTo>
                      <a:pt x="57" y="41"/>
                      <a:pt x="56" y="41"/>
                      <a:pt x="56" y="41"/>
                    </a:cubicBezTo>
                    <a:cubicBezTo>
                      <a:pt x="55" y="41"/>
                      <a:pt x="55" y="41"/>
                      <a:pt x="55" y="41"/>
                    </a:cubicBezTo>
                    <a:cubicBezTo>
                      <a:pt x="55" y="41"/>
                      <a:pt x="55" y="41"/>
                      <a:pt x="54" y="41"/>
                    </a:cubicBezTo>
                    <a:cubicBezTo>
                      <a:pt x="54" y="41"/>
                      <a:pt x="54" y="41"/>
                      <a:pt x="54" y="41"/>
                    </a:cubicBezTo>
                    <a:cubicBezTo>
                      <a:pt x="54" y="41"/>
                      <a:pt x="54" y="41"/>
                      <a:pt x="54" y="41"/>
                    </a:cubicBezTo>
                    <a:cubicBezTo>
                      <a:pt x="53" y="41"/>
                      <a:pt x="52" y="41"/>
                      <a:pt x="52" y="41"/>
                    </a:cubicBezTo>
                    <a:cubicBezTo>
                      <a:pt x="51" y="41"/>
                      <a:pt x="51" y="41"/>
                      <a:pt x="51" y="41"/>
                    </a:cubicBezTo>
                    <a:cubicBezTo>
                      <a:pt x="51" y="41"/>
                      <a:pt x="50" y="41"/>
                      <a:pt x="50" y="41"/>
                    </a:cubicBezTo>
                    <a:cubicBezTo>
                      <a:pt x="50" y="41"/>
                      <a:pt x="50" y="41"/>
                      <a:pt x="50" y="41"/>
                    </a:cubicBezTo>
                    <a:cubicBezTo>
                      <a:pt x="49" y="41"/>
                      <a:pt x="49" y="41"/>
                      <a:pt x="49" y="41"/>
                    </a:cubicBezTo>
                    <a:cubicBezTo>
                      <a:pt x="49" y="42"/>
                      <a:pt x="49" y="42"/>
                      <a:pt x="48" y="43"/>
                    </a:cubicBezTo>
                    <a:cubicBezTo>
                      <a:pt x="47" y="44"/>
                      <a:pt x="47" y="44"/>
                      <a:pt x="47" y="44"/>
                    </a:cubicBezTo>
                    <a:cubicBezTo>
                      <a:pt x="46" y="46"/>
                      <a:pt x="45" y="48"/>
                      <a:pt x="44" y="50"/>
                    </a:cubicBezTo>
                    <a:cubicBezTo>
                      <a:pt x="43" y="51"/>
                      <a:pt x="42" y="53"/>
                      <a:pt x="41" y="55"/>
                    </a:cubicBezTo>
                    <a:cubicBezTo>
                      <a:pt x="39" y="56"/>
                      <a:pt x="39" y="57"/>
                      <a:pt x="39" y="59"/>
                    </a:cubicBezTo>
                    <a:cubicBezTo>
                      <a:pt x="38" y="60"/>
                      <a:pt x="38" y="60"/>
                      <a:pt x="38" y="60"/>
                    </a:cubicBezTo>
                    <a:cubicBezTo>
                      <a:pt x="38" y="62"/>
                      <a:pt x="38" y="63"/>
                      <a:pt x="37" y="65"/>
                    </a:cubicBezTo>
                    <a:cubicBezTo>
                      <a:pt x="37" y="66"/>
                      <a:pt x="37" y="66"/>
                      <a:pt x="37" y="66"/>
                    </a:cubicBezTo>
                    <a:cubicBezTo>
                      <a:pt x="37" y="67"/>
                      <a:pt x="37" y="68"/>
                      <a:pt x="37" y="69"/>
                    </a:cubicBezTo>
                    <a:cubicBezTo>
                      <a:pt x="37" y="69"/>
                      <a:pt x="36" y="70"/>
                      <a:pt x="36" y="70"/>
                    </a:cubicBezTo>
                    <a:cubicBezTo>
                      <a:pt x="36" y="71"/>
                      <a:pt x="36" y="71"/>
                      <a:pt x="36" y="72"/>
                    </a:cubicBezTo>
                    <a:cubicBezTo>
                      <a:pt x="36" y="72"/>
                      <a:pt x="36" y="72"/>
                      <a:pt x="36" y="72"/>
                    </a:cubicBezTo>
                    <a:cubicBezTo>
                      <a:pt x="36" y="72"/>
                      <a:pt x="36" y="73"/>
                      <a:pt x="36" y="74"/>
                    </a:cubicBezTo>
                    <a:cubicBezTo>
                      <a:pt x="36" y="74"/>
                      <a:pt x="36" y="75"/>
                      <a:pt x="35" y="75"/>
                    </a:cubicBezTo>
                    <a:cubicBezTo>
                      <a:pt x="35" y="76"/>
                      <a:pt x="35" y="76"/>
                      <a:pt x="35" y="76"/>
                    </a:cubicBezTo>
                    <a:cubicBezTo>
                      <a:pt x="34" y="77"/>
                      <a:pt x="33" y="78"/>
                      <a:pt x="32" y="78"/>
                    </a:cubicBezTo>
                    <a:cubicBezTo>
                      <a:pt x="31" y="78"/>
                      <a:pt x="31" y="78"/>
                      <a:pt x="30" y="78"/>
                    </a:cubicBezTo>
                    <a:cubicBezTo>
                      <a:pt x="30" y="78"/>
                      <a:pt x="30" y="78"/>
                      <a:pt x="30" y="78"/>
                    </a:cubicBezTo>
                    <a:cubicBezTo>
                      <a:pt x="29" y="78"/>
                      <a:pt x="29" y="78"/>
                      <a:pt x="28" y="78"/>
                    </a:cubicBezTo>
                    <a:cubicBezTo>
                      <a:pt x="28" y="78"/>
                      <a:pt x="28" y="78"/>
                      <a:pt x="28" y="78"/>
                    </a:cubicBezTo>
                    <a:cubicBezTo>
                      <a:pt x="27" y="77"/>
                      <a:pt x="27" y="77"/>
                      <a:pt x="26" y="77"/>
                    </a:cubicBezTo>
                    <a:cubicBezTo>
                      <a:pt x="26" y="77"/>
                      <a:pt x="26" y="77"/>
                      <a:pt x="26" y="77"/>
                    </a:cubicBezTo>
                    <a:cubicBezTo>
                      <a:pt x="25" y="77"/>
                      <a:pt x="25" y="77"/>
                      <a:pt x="25" y="77"/>
                    </a:cubicBezTo>
                    <a:cubicBezTo>
                      <a:pt x="25" y="78"/>
                      <a:pt x="24" y="79"/>
                      <a:pt x="24" y="79"/>
                    </a:cubicBezTo>
                    <a:cubicBezTo>
                      <a:pt x="24" y="80"/>
                      <a:pt x="24" y="80"/>
                      <a:pt x="24" y="80"/>
                    </a:cubicBezTo>
                    <a:cubicBezTo>
                      <a:pt x="24" y="80"/>
                      <a:pt x="24" y="81"/>
                      <a:pt x="24" y="82"/>
                    </a:cubicBezTo>
                    <a:cubicBezTo>
                      <a:pt x="24" y="84"/>
                      <a:pt x="25" y="85"/>
                      <a:pt x="24" y="87"/>
                    </a:cubicBezTo>
                    <a:cubicBezTo>
                      <a:pt x="24" y="88"/>
                      <a:pt x="24" y="88"/>
                      <a:pt x="23" y="89"/>
                    </a:cubicBezTo>
                    <a:cubicBezTo>
                      <a:pt x="23" y="90"/>
                      <a:pt x="23" y="90"/>
                      <a:pt x="23" y="90"/>
                    </a:cubicBezTo>
                    <a:cubicBezTo>
                      <a:pt x="23" y="91"/>
                      <a:pt x="22" y="93"/>
                      <a:pt x="22" y="95"/>
                    </a:cubicBezTo>
                    <a:cubicBezTo>
                      <a:pt x="21" y="96"/>
                      <a:pt x="21" y="97"/>
                      <a:pt x="21" y="97"/>
                    </a:cubicBezTo>
                    <a:cubicBezTo>
                      <a:pt x="20" y="99"/>
                      <a:pt x="20" y="101"/>
                      <a:pt x="20" y="104"/>
                    </a:cubicBezTo>
                    <a:cubicBezTo>
                      <a:pt x="20" y="105"/>
                      <a:pt x="20" y="107"/>
                      <a:pt x="20" y="108"/>
                    </a:cubicBezTo>
                    <a:cubicBezTo>
                      <a:pt x="20" y="109"/>
                      <a:pt x="21" y="110"/>
                      <a:pt x="21" y="111"/>
                    </a:cubicBezTo>
                    <a:cubicBezTo>
                      <a:pt x="21" y="116"/>
                      <a:pt x="20" y="120"/>
                      <a:pt x="17" y="122"/>
                    </a:cubicBezTo>
                    <a:cubicBezTo>
                      <a:pt x="17" y="122"/>
                      <a:pt x="17" y="122"/>
                      <a:pt x="16" y="122"/>
                    </a:cubicBezTo>
                    <a:cubicBezTo>
                      <a:pt x="15" y="123"/>
                      <a:pt x="14" y="123"/>
                      <a:pt x="12" y="123"/>
                    </a:cubicBezTo>
                    <a:cubicBezTo>
                      <a:pt x="11" y="123"/>
                      <a:pt x="9" y="123"/>
                      <a:pt x="8" y="123"/>
                    </a:cubicBezTo>
                    <a:cubicBezTo>
                      <a:pt x="7" y="123"/>
                      <a:pt x="6" y="122"/>
                      <a:pt x="5" y="122"/>
                    </a:cubicBezTo>
                    <a:cubicBezTo>
                      <a:pt x="5" y="122"/>
                      <a:pt x="4" y="122"/>
                      <a:pt x="4" y="122"/>
                    </a:cubicBezTo>
                    <a:cubicBezTo>
                      <a:pt x="3" y="122"/>
                      <a:pt x="3" y="122"/>
                      <a:pt x="3" y="122"/>
                    </a:cubicBezTo>
                    <a:cubicBezTo>
                      <a:pt x="3" y="122"/>
                      <a:pt x="3" y="122"/>
                      <a:pt x="3" y="122"/>
                    </a:cubicBezTo>
                    <a:cubicBezTo>
                      <a:pt x="2" y="123"/>
                      <a:pt x="1" y="124"/>
                      <a:pt x="1" y="125"/>
                    </a:cubicBezTo>
                    <a:cubicBezTo>
                      <a:pt x="0" y="126"/>
                      <a:pt x="0" y="127"/>
                      <a:pt x="0" y="127"/>
                    </a:cubicBezTo>
                    <a:cubicBezTo>
                      <a:pt x="0" y="128"/>
                      <a:pt x="0" y="128"/>
                      <a:pt x="0" y="129"/>
                    </a:cubicBezTo>
                    <a:cubicBezTo>
                      <a:pt x="1" y="129"/>
                      <a:pt x="1" y="129"/>
                      <a:pt x="1" y="129"/>
                    </a:cubicBezTo>
                    <a:cubicBezTo>
                      <a:pt x="3" y="130"/>
                      <a:pt x="5" y="131"/>
                      <a:pt x="7" y="132"/>
                    </a:cubicBezTo>
                    <a:cubicBezTo>
                      <a:pt x="8" y="133"/>
                      <a:pt x="8" y="133"/>
                      <a:pt x="8" y="133"/>
                    </a:cubicBezTo>
                    <a:cubicBezTo>
                      <a:pt x="9" y="133"/>
                      <a:pt x="9" y="133"/>
                      <a:pt x="9" y="133"/>
                    </a:cubicBezTo>
                    <a:cubicBezTo>
                      <a:pt x="9" y="133"/>
                      <a:pt x="10" y="133"/>
                      <a:pt x="11" y="133"/>
                    </a:cubicBezTo>
                    <a:cubicBezTo>
                      <a:pt x="13" y="134"/>
                      <a:pt x="14" y="137"/>
                      <a:pt x="16" y="139"/>
                    </a:cubicBezTo>
                    <a:cubicBezTo>
                      <a:pt x="16" y="140"/>
                      <a:pt x="17" y="140"/>
                      <a:pt x="17" y="141"/>
                    </a:cubicBezTo>
                    <a:cubicBezTo>
                      <a:pt x="18" y="141"/>
                      <a:pt x="18" y="142"/>
                      <a:pt x="19" y="142"/>
                    </a:cubicBezTo>
                    <a:cubicBezTo>
                      <a:pt x="19" y="143"/>
                      <a:pt x="19" y="143"/>
                      <a:pt x="19" y="143"/>
                    </a:cubicBezTo>
                    <a:cubicBezTo>
                      <a:pt x="20" y="144"/>
                      <a:pt x="22" y="146"/>
                      <a:pt x="23" y="147"/>
                    </a:cubicBezTo>
                    <a:cubicBezTo>
                      <a:pt x="24" y="147"/>
                      <a:pt x="25" y="147"/>
                      <a:pt x="26" y="148"/>
                    </a:cubicBezTo>
                    <a:cubicBezTo>
                      <a:pt x="27" y="149"/>
                      <a:pt x="28" y="150"/>
                      <a:pt x="29" y="151"/>
                    </a:cubicBezTo>
                    <a:cubicBezTo>
                      <a:pt x="30" y="152"/>
                      <a:pt x="30" y="152"/>
                      <a:pt x="30" y="152"/>
                    </a:cubicBezTo>
                    <a:cubicBezTo>
                      <a:pt x="30" y="153"/>
                      <a:pt x="31" y="153"/>
                      <a:pt x="32" y="154"/>
                    </a:cubicBezTo>
                    <a:cubicBezTo>
                      <a:pt x="35" y="158"/>
                      <a:pt x="38" y="168"/>
                      <a:pt x="38" y="170"/>
                    </a:cubicBezTo>
                    <a:cubicBezTo>
                      <a:pt x="38" y="171"/>
                      <a:pt x="39" y="172"/>
                      <a:pt x="39" y="173"/>
                    </a:cubicBezTo>
                    <a:cubicBezTo>
                      <a:pt x="40" y="173"/>
                      <a:pt x="40" y="173"/>
                      <a:pt x="40" y="173"/>
                    </a:cubicBezTo>
                    <a:cubicBezTo>
                      <a:pt x="40" y="174"/>
                      <a:pt x="41" y="174"/>
                      <a:pt x="41" y="174"/>
                    </a:cubicBezTo>
                    <a:cubicBezTo>
                      <a:pt x="42" y="175"/>
                      <a:pt x="42" y="175"/>
                      <a:pt x="42" y="175"/>
                    </a:cubicBezTo>
                    <a:cubicBezTo>
                      <a:pt x="42" y="175"/>
                      <a:pt x="42" y="175"/>
                      <a:pt x="42" y="175"/>
                    </a:cubicBezTo>
                    <a:cubicBezTo>
                      <a:pt x="44" y="176"/>
                      <a:pt x="45" y="176"/>
                      <a:pt x="46" y="177"/>
                    </a:cubicBezTo>
                    <a:cubicBezTo>
                      <a:pt x="47" y="177"/>
                      <a:pt x="47" y="177"/>
                      <a:pt x="47" y="177"/>
                    </a:cubicBezTo>
                    <a:cubicBezTo>
                      <a:pt x="48" y="177"/>
                      <a:pt x="49" y="177"/>
                      <a:pt x="51" y="178"/>
                    </a:cubicBezTo>
                    <a:cubicBezTo>
                      <a:pt x="52" y="178"/>
                      <a:pt x="52" y="180"/>
                      <a:pt x="52" y="181"/>
                    </a:cubicBezTo>
                    <a:cubicBezTo>
                      <a:pt x="52" y="182"/>
                      <a:pt x="52" y="182"/>
                      <a:pt x="52" y="182"/>
                    </a:cubicBezTo>
                    <a:cubicBezTo>
                      <a:pt x="52" y="183"/>
                      <a:pt x="52" y="184"/>
                      <a:pt x="52" y="184"/>
                    </a:cubicBezTo>
                    <a:cubicBezTo>
                      <a:pt x="52" y="185"/>
                      <a:pt x="52" y="186"/>
                      <a:pt x="52" y="186"/>
                    </a:cubicBezTo>
                    <a:cubicBezTo>
                      <a:pt x="52" y="187"/>
                      <a:pt x="52" y="187"/>
                      <a:pt x="52" y="187"/>
                    </a:cubicBezTo>
                    <a:cubicBezTo>
                      <a:pt x="52" y="187"/>
                      <a:pt x="52" y="188"/>
                      <a:pt x="52" y="188"/>
                    </a:cubicBezTo>
                    <a:cubicBezTo>
                      <a:pt x="52" y="191"/>
                      <a:pt x="52" y="191"/>
                      <a:pt x="52" y="191"/>
                    </a:cubicBezTo>
                    <a:cubicBezTo>
                      <a:pt x="53" y="191"/>
                      <a:pt x="53" y="191"/>
                      <a:pt x="53" y="191"/>
                    </a:cubicBezTo>
                    <a:cubicBezTo>
                      <a:pt x="54" y="192"/>
                      <a:pt x="54" y="192"/>
                      <a:pt x="54" y="192"/>
                    </a:cubicBezTo>
                    <a:cubicBezTo>
                      <a:pt x="55" y="194"/>
                      <a:pt x="55" y="194"/>
                      <a:pt x="56" y="195"/>
                    </a:cubicBezTo>
                    <a:cubicBezTo>
                      <a:pt x="66" y="195"/>
                      <a:pt x="66" y="195"/>
                      <a:pt x="66" y="195"/>
                    </a:cubicBezTo>
                    <a:cubicBezTo>
                      <a:pt x="67" y="195"/>
                      <a:pt x="68" y="195"/>
                      <a:pt x="69" y="195"/>
                    </a:cubicBezTo>
                    <a:cubicBezTo>
                      <a:pt x="70" y="196"/>
                      <a:pt x="70" y="196"/>
                      <a:pt x="71" y="196"/>
                    </a:cubicBezTo>
                    <a:cubicBezTo>
                      <a:pt x="72" y="193"/>
                      <a:pt x="72" y="193"/>
                      <a:pt x="72" y="193"/>
                    </a:cubicBezTo>
                    <a:cubicBezTo>
                      <a:pt x="72" y="196"/>
                      <a:pt x="72" y="196"/>
                      <a:pt x="72" y="196"/>
                    </a:cubicBezTo>
                    <a:cubicBezTo>
                      <a:pt x="72" y="196"/>
                      <a:pt x="72" y="196"/>
                      <a:pt x="72" y="196"/>
                    </a:cubicBezTo>
                    <a:cubicBezTo>
                      <a:pt x="73" y="197"/>
                      <a:pt x="74" y="197"/>
                      <a:pt x="74" y="198"/>
                    </a:cubicBezTo>
                    <a:cubicBezTo>
                      <a:pt x="75" y="198"/>
                      <a:pt x="75" y="198"/>
                      <a:pt x="75" y="198"/>
                    </a:cubicBezTo>
                    <a:cubicBezTo>
                      <a:pt x="76" y="198"/>
                      <a:pt x="77" y="199"/>
                      <a:pt x="78" y="200"/>
                    </a:cubicBezTo>
                    <a:cubicBezTo>
                      <a:pt x="78" y="200"/>
                      <a:pt x="78" y="200"/>
                      <a:pt x="78" y="200"/>
                    </a:cubicBezTo>
                    <a:cubicBezTo>
                      <a:pt x="80" y="201"/>
                      <a:pt x="81" y="201"/>
                      <a:pt x="82" y="202"/>
                    </a:cubicBezTo>
                    <a:cubicBezTo>
                      <a:pt x="83" y="203"/>
                      <a:pt x="83" y="203"/>
                      <a:pt x="83" y="203"/>
                    </a:cubicBezTo>
                    <a:cubicBezTo>
                      <a:pt x="86" y="204"/>
                      <a:pt x="88" y="206"/>
                      <a:pt x="91" y="208"/>
                    </a:cubicBezTo>
                    <a:cubicBezTo>
                      <a:pt x="92" y="209"/>
                      <a:pt x="93" y="209"/>
                      <a:pt x="94" y="210"/>
                    </a:cubicBezTo>
                    <a:cubicBezTo>
                      <a:pt x="97" y="212"/>
                      <a:pt x="102" y="212"/>
                      <a:pt x="106" y="212"/>
                    </a:cubicBezTo>
                    <a:cubicBezTo>
                      <a:pt x="107" y="212"/>
                      <a:pt x="108" y="212"/>
                      <a:pt x="109" y="212"/>
                    </a:cubicBezTo>
                    <a:cubicBezTo>
                      <a:pt x="111" y="213"/>
                      <a:pt x="111" y="213"/>
                      <a:pt x="111" y="213"/>
                    </a:cubicBezTo>
                    <a:cubicBezTo>
                      <a:pt x="114" y="213"/>
                      <a:pt x="116" y="214"/>
                      <a:pt x="119" y="214"/>
                    </a:cubicBezTo>
                    <a:cubicBezTo>
                      <a:pt x="119" y="214"/>
                      <a:pt x="120" y="214"/>
                      <a:pt x="120" y="214"/>
                    </a:cubicBezTo>
                    <a:cubicBezTo>
                      <a:pt x="121" y="214"/>
                      <a:pt x="122" y="212"/>
                      <a:pt x="123" y="211"/>
                    </a:cubicBezTo>
                    <a:cubicBezTo>
                      <a:pt x="124" y="208"/>
                      <a:pt x="126" y="206"/>
                      <a:pt x="128" y="205"/>
                    </a:cubicBezTo>
                    <a:cubicBezTo>
                      <a:pt x="144" y="198"/>
                      <a:pt x="144" y="198"/>
                      <a:pt x="144" y="198"/>
                    </a:cubicBezTo>
                    <a:cubicBezTo>
                      <a:pt x="144" y="198"/>
                      <a:pt x="144" y="198"/>
                      <a:pt x="144" y="198"/>
                    </a:cubicBezTo>
                    <a:cubicBezTo>
                      <a:pt x="144" y="198"/>
                      <a:pt x="144" y="198"/>
                      <a:pt x="144" y="198"/>
                    </a:cubicBezTo>
                    <a:cubicBezTo>
                      <a:pt x="144" y="198"/>
                      <a:pt x="144" y="198"/>
                      <a:pt x="144" y="198"/>
                    </a:cubicBezTo>
                    <a:cubicBezTo>
                      <a:pt x="145" y="198"/>
                      <a:pt x="145" y="198"/>
                      <a:pt x="145" y="198"/>
                    </a:cubicBezTo>
                    <a:cubicBezTo>
                      <a:pt x="146" y="198"/>
                      <a:pt x="146" y="198"/>
                      <a:pt x="147" y="199"/>
                    </a:cubicBezTo>
                    <a:cubicBezTo>
                      <a:pt x="147" y="199"/>
                      <a:pt x="148" y="200"/>
                      <a:pt x="148" y="200"/>
                    </a:cubicBezTo>
                    <a:cubicBezTo>
                      <a:pt x="150" y="202"/>
                      <a:pt x="151" y="203"/>
                      <a:pt x="153" y="204"/>
                    </a:cubicBezTo>
                    <a:cubicBezTo>
                      <a:pt x="153" y="204"/>
                      <a:pt x="153" y="204"/>
                      <a:pt x="153" y="204"/>
                    </a:cubicBezTo>
                    <a:cubicBezTo>
                      <a:pt x="154" y="204"/>
                      <a:pt x="154" y="204"/>
                      <a:pt x="154" y="204"/>
                    </a:cubicBezTo>
                    <a:cubicBezTo>
                      <a:pt x="155" y="204"/>
                      <a:pt x="155" y="204"/>
                      <a:pt x="155" y="204"/>
                    </a:cubicBezTo>
                    <a:cubicBezTo>
                      <a:pt x="155" y="204"/>
                      <a:pt x="155" y="204"/>
                      <a:pt x="155" y="204"/>
                    </a:cubicBezTo>
                    <a:cubicBezTo>
                      <a:pt x="156" y="204"/>
                      <a:pt x="157" y="204"/>
                      <a:pt x="158" y="204"/>
                    </a:cubicBezTo>
                    <a:cubicBezTo>
                      <a:pt x="158" y="204"/>
                      <a:pt x="158" y="204"/>
                      <a:pt x="158" y="204"/>
                    </a:cubicBezTo>
                    <a:cubicBezTo>
                      <a:pt x="160" y="204"/>
                      <a:pt x="161" y="204"/>
                      <a:pt x="162" y="204"/>
                    </a:cubicBezTo>
                    <a:cubicBezTo>
                      <a:pt x="162" y="204"/>
                      <a:pt x="162" y="204"/>
                      <a:pt x="162" y="204"/>
                    </a:cubicBezTo>
                    <a:cubicBezTo>
                      <a:pt x="165" y="204"/>
                      <a:pt x="165" y="204"/>
                      <a:pt x="165" y="204"/>
                    </a:cubicBezTo>
                    <a:cubicBezTo>
                      <a:pt x="165" y="203"/>
                      <a:pt x="166" y="203"/>
                      <a:pt x="166" y="202"/>
                    </a:cubicBezTo>
                    <a:cubicBezTo>
                      <a:pt x="167" y="201"/>
                      <a:pt x="168" y="200"/>
                      <a:pt x="170" y="199"/>
                    </a:cubicBezTo>
                    <a:cubicBezTo>
                      <a:pt x="172" y="199"/>
                      <a:pt x="174" y="199"/>
                      <a:pt x="176" y="198"/>
                    </a:cubicBezTo>
                    <a:cubicBezTo>
                      <a:pt x="176" y="198"/>
                      <a:pt x="176" y="198"/>
                      <a:pt x="176" y="198"/>
                    </a:cubicBezTo>
                    <a:cubicBezTo>
                      <a:pt x="177" y="198"/>
                      <a:pt x="178" y="198"/>
                      <a:pt x="179" y="198"/>
                    </a:cubicBezTo>
                    <a:cubicBezTo>
                      <a:pt x="180" y="198"/>
                      <a:pt x="181" y="198"/>
                      <a:pt x="182" y="197"/>
                    </a:cubicBezTo>
                    <a:cubicBezTo>
                      <a:pt x="183" y="196"/>
                      <a:pt x="184" y="195"/>
                      <a:pt x="186" y="194"/>
                    </a:cubicBezTo>
                    <a:cubicBezTo>
                      <a:pt x="190" y="191"/>
                      <a:pt x="195" y="187"/>
                      <a:pt x="201" y="186"/>
                    </a:cubicBezTo>
                    <a:cubicBezTo>
                      <a:pt x="202" y="186"/>
                      <a:pt x="203" y="185"/>
                      <a:pt x="205" y="185"/>
                    </a:cubicBezTo>
                    <a:cubicBezTo>
                      <a:pt x="206" y="185"/>
                      <a:pt x="207" y="185"/>
                      <a:pt x="209" y="185"/>
                    </a:cubicBezTo>
                    <a:cubicBezTo>
                      <a:pt x="209" y="185"/>
                      <a:pt x="210" y="185"/>
                      <a:pt x="210" y="185"/>
                    </a:cubicBezTo>
                    <a:cubicBezTo>
                      <a:pt x="211" y="185"/>
                      <a:pt x="211" y="185"/>
                      <a:pt x="212" y="185"/>
                    </a:cubicBezTo>
                    <a:cubicBezTo>
                      <a:pt x="212" y="185"/>
                      <a:pt x="213" y="185"/>
                      <a:pt x="214" y="185"/>
                    </a:cubicBezTo>
                    <a:cubicBezTo>
                      <a:pt x="215" y="185"/>
                      <a:pt x="215" y="185"/>
                      <a:pt x="215" y="185"/>
                    </a:cubicBezTo>
                    <a:cubicBezTo>
                      <a:pt x="216" y="185"/>
                      <a:pt x="217" y="185"/>
                      <a:pt x="218" y="185"/>
                    </a:cubicBezTo>
                    <a:cubicBezTo>
                      <a:pt x="219" y="186"/>
                      <a:pt x="219" y="186"/>
                      <a:pt x="220" y="186"/>
                    </a:cubicBezTo>
                    <a:cubicBezTo>
                      <a:pt x="221" y="186"/>
                      <a:pt x="221" y="186"/>
                      <a:pt x="221" y="186"/>
                    </a:cubicBezTo>
                    <a:cubicBezTo>
                      <a:pt x="221" y="186"/>
                      <a:pt x="221" y="186"/>
                      <a:pt x="221" y="186"/>
                    </a:cubicBezTo>
                    <a:cubicBezTo>
                      <a:pt x="221" y="186"/>
                      <a:pt x="222" y="186"/>
                      <a:pt x="222" y="185"/>
                    </a:cubicBezTo>
                    <a:cubicBezTo>
                      <a:pt x="223" y="185"/>
                      <a:pt x="223" y="185"/>
                      <a:pt x="223" y="185"/>
                    </a:cubicBezTo>
                    <a:cubicBezTo>
                      <a:pt x="224" y="185"/>
                      <a:pt x="224" y="185"/>
                      <a:pt x="224" y="184"/>
                    </a:cubicBezTo>
                    <a:cubicBezTo>
                      <a:pt x="225" y="184"/>
                      <a:pt x="226" y="183"/>
                      <a:pt x="226" y="182"/>
                    </a:cubicBezTo>
                    <a:cubicBezTo>
                      <a:pt x="228" y="181"/>
                      <a:pt x="228" y="181"/>
                      <a:pt x="228" y="181"/>
                    </a:cubicBezTo>
                    <a:cubicBezTo>
                      <a:pt x="229" y="180"/>
                      <a:pt x="229" y="179"/>
                      <a:pt x="230" y="178"/>
                    </a:cubicBezTo>
                    <a:cubicBezTo>
                      <a:pt x="232" y="176"/>
                      <a:pt x="232" y="176"/>
                      <a:pt x="232" y="176"/>
                    </a:cubicBezTo>
                    <a:cubicBezTo>
                      <a:pt x="232" y="176"/>
                      <a:pt x="232" y="176"/>
                      <a:pt x="233" y="175"/>
                    </a:cubicBezTo>
                    <a:cubicBezTo>
                      <a:pt x="236" y="172"/>
                      <a:pt x="236" y="172"/>
                      <a:pt x="236" y="172"/>
                    </a:cubicBezTo>
                    <a:cubicBezTo>
                      <a:pt x="247" y="159"/>
                      <a:pt x="258" y="149"/>
                      <a:pt x="268" y="139"/>
                    </a:cubicBezTo>
                    <a:cubicBezTo>
                      <a:pt x="270" y="137"/>
                      <a:pt x="273" y="134"/>
                      <a:pt x="276" y="132"/>
                    </a:cubicBezTo>
                    <a:cubicBezTo>
                      <a:pt x="274" y="132"/>
                      <a:pt x="272" y="132"/>
                      <a:pt x="270" y="132"/>
                    </a:cubicBezTo>
                    <a:cubicBezTo>
                      <a:pt x="267" y="132"/>
                      <a:pt x="265" y="132"/>
                      <a:pt x="263" y="131"/>
                    </a:cubicBezTo>
                    <a:cubicBezTo>
                      <a:pt x="260" y="131"/>
                      <a:pt x="257" y="130"/>
                      <a:pt x="255" y="129"/>
                    </a:cubicBezTo>
                    <a:cubicBezTo>
                      <a:pt x="254" y="129"/>
                      <a:pt x="254" y="129"/>
                      <a:pt x="254" y="129"/>
                    </a:cubicBezTo>
                    <a:cubicBezTo>
                      <a:pt x="253" y="128"/>
                      <a:pt x="253" y="128"/>
                      <a:pt x="252" y="128"/>
                    </a:cubicBezTo>
                    <a:cubicBezTo>
                      <a:pt x="217" y="116"/>
                      <a:pt x="217" y="116"/>
                      <a:pt x="217" y="116"/>
                    </a:cubicBezTo>
                    <a:cubicBezTo>
                      <a:pt x="216" y="116"/>
                      <a:pt x="216" y="115"/>
                      <a:pt x="215" y="115"/>
                    </a:cubicBezTo>
                    <a:cubicBezTo>
                      <a:pt x="214" y="115"/>
                      <a:pt x="214" y="115"/>
                      <a:pt x="214" y="115"/>
                    </a:cubicBezTo>
                    <a:cubicBezTo>
                      <a:pt x="211" y="114"/>
                      <a:pt x="207" y="113"/>
                      <a:pt x="204" y="111"/>
                    </a:cubicBezTo>
                    <a:cubicBezTo>
                      <a:pt x="204" y="111"/>
                      <a:pt x="203" y="110"/>
                      <a:pt x="203" y="110"/>
                    </a:cubicBezTo>
                    <a:cubicBezTo>
                      <a:pt x="200" y="108"/>
                      <a:pt x="200" y="108"/>
                      <a:pt x="200" y="108"/>
                    </a:cubicBezTo>
                    <a:cubicBezTo>
                      <a:pt x="198" y="107"/>
                      <a:pt x="195" y="105"/>
                      <a:pt x="193" y="103"/>
                    </a:cubicBezTo>
                    <a:cubicBezTo>
                      <a:pt x="192" y="102"/>
                      <a:pt x="190" y="99"/>
                      <a:pt x="189" y="97"/>
                    </a:cubicBezTo>
                    <a:cubicBezTo>
                      <a:pt x="189" y="96"/>
                      <a:pt x="189" y="96"/>
                      <a:pt x="189" y="96"/>
                    </a:cubicBezTo>
                    <a:cubicBezTo>
                      <a:pt x="188" y="96"/>
                      <a:pt x="188" y="95"/>
                      <a:pt x="188" y="94"/>
                    </a:cubicBezTo>
                    <a:cubicBezTo>
                      <a:pt x="187" y="93"/>
                      <a:pt x="187" y="93"/>
                      <a:pt x="187" y="93"/>
                    </a:cubicBezTo>
                    <a:cubicBezTo>
                      <a:pt x="185" y="90"/>
                      <a:pt x="183" y="88"/>
                      <a:pt x="182" y="85"/>
                    </a:cubicBezTo>
                    <a:cubicBezTo>
                      <a:pt x="181" y="84"/>
                      <a:pt x="181" y="84"/>
                      <a:pt x="181" y="84"/>
                    </a:cubicBezTo>
                    <a:cubicBezTo>
                      <a:pt x="179" y="82"/>
                      <a:pt x="178" y="80"/>
                      <a:pt x="178" y="78"/>
                    </a:cubicBezTo>
                    <a:cubicBezTo>
                      <a:pt x="178" y="77"/>
                      <a:pt x="178" y="77"/>
                      <a:pt x="180" y="75"/>
                    </a:cubicBezTo>
                    <a:cubicBezTo>
                      <a:pt x="180" y="75"/>
                      <a:pt x="181" y="74"/>
                      <a:pt x="181" y="74"/>
                    </a:cubicBezTo>
                    <a:cubicBezTo>
                      <a:pt x="181" y="73"/>
                      <a:pt x="182" y="73"/>
                      <a:pt x="182" y="73"/>
                    </a:cubicBezTo>
                    <a:cubicBezTo>
                      <a:pt x="181" y="72"/>
                      <a:pt x="181" y="72"/>
                      <a:pt x="180" y="72"/>
                    </a:cubicBezTo>
                    <a:cubicBezTo>
                      <a:pt x="180" y="72"/>
                      <a:pt x="180" y="72"/>
                      <a:pt x="180" y="72"/>
                    </a:cubicBezTo>
                    <a:cubicBezTo>
                      <a:pt x="179" y="72"/>
                      <a:pt x="178" y="72"/>
                      <a:pt x="175" y="73"/>
                    </a:cubicBezTo>
                    <a:cubicBezTo>
                      <a:pt x="172" y="74"/>
                      <a:pt x="169" y="75"/>
                      <a:pt x="167" y="75"/>
                    </a:cubicBezTo>
                    <a:cubicBezTo>
                      <a:pt x="167" y="75"/>
                      <a:pt x="166" y="75"/>
                      <a:pt x="166" y="75"/>
                    </a:cubicBezTo>
                    <a:cubicBezTo>
                      <a:pt x="166" y="77"/>
                      <a:pt x="166" y="77"/>
                      <a:pt x="166" y="77"/>
                    </a:cubicBezTo>
                    <a:cubicBezTo>
                      <a:pt x="166" y="75"/>
                      <a:pt x="166" y="75"/>
                      <a:pt x="166" y="75"/>
                    </a:cubicBezTo>
                    <a:cubicBezTo>
                      <a:pt x="164" y="75"/>
                      <a:pt x="163" y="74"/>
                      <a:pt x="162" y="73"/>
                    </a:cubicBezTo>
                    <a:cubicBezTo>
                      <a:pt x="161" y="72"/>
                      <a:pt x="161" y="71"/>
                      <a:pt x="161" y="68"/>
                    </a:cubicBezTo>
                    <a:cubicBezTo>
                      <a:pt x="161" y="67"/>
                      <a:pt x="161" y="67"/>
                      <a:pt x="161" y="67"/>
                    </a:cubicBezTo>
                    <a:cubicBezTo>
                      <a:pt x="161" y="66"/>
                      <a:pt x="161" y="65"/>
                      <a:pt x="161" y="65"/>
                    </a:cubicBezTo>
                    <a:cubicBezTo>
                      <a:pt x="158" y="65"/>
                      <a:pt x="158" y="65"/>
                      <a:pt x="158" y="65"/>
                    </a:cubicBezTo>
                    <a:cubicBezTo>
                      <a:pt x="161" y="64"/>
                      <a:pt x="161" y="64"/>
                      <a:pt x="161" y="64"/>
                    </a:cubicBezTo>
                    <a:cubicBezTo>
                      <a:pt x="161" y="63"/>
                      <a:pt x="161" y="63"/>
                      <a:pt x="161" y="63"/>
                    </a:cubicBezTo>
                    <a:cubicBezTo>
                      <a:pt x="161" y="63"/>
                      <a:pt x="161" y="62"/>
                      <a:pt x="161" y="62"/>
                    </a:cubicBezTo>
                    <a:cubicBezTo>
                      <a:pt x="161" y="61"/>
                      <a:pt x="161" y="61"/>
                      <a:pt x="161" y="61"/>
                    </a:cubicBezTo>
                    <a:cubicBezTo>
                      <a:pt x="161" y="59"/>
                      <a:pt x="162" y="57"/>
                      <a:pt x="163" y="56"/>
                    </a:cubicBezTo>
                    <a:cubicBezTo>
                      <a:pt x="163" y="55"/>
                      <a:pt x="164" y="55"/>
                      <a:pt x="164" y="54"/>
                    </a:cubicBezTo>
                    <a:cubicBezTo>
                      <a:pt x="165" y="54"/>
                      <a:pt x="165" y="54"/>
                      <a:pt x="165" y="53"/>
                    </a:cubicBezTo>
                    <a:cubicBezTo>
                      <a:pt x="166" y="53"/>
                      <a:pt x="167" y="50"/>
                      <a:pt x="169" y="48"/>
                    </a:cubicBezTo>
                    <a:cubicBezTo>
                      <a:pt x="170" y="46"/>
                      <a:pt x="171" y="44"/>
                      <a:pt x="172" y="43"/>
                    </a:cubicBezTo>
                    <a:cubicBezTo>
                      <a:pt x="167" y="36"/>
                      <a:pt x="167" y="36"/>
                      <a:pt x="167" y="36"/>
                    </a:cubicBezTo>
                    <a:cubicBezTo>
                      <a:pt x="165" y="33"/>
                      <a:pt x="163" y="31"/>
                      <a:pt x="161" y="29"/>
                    </a:cubicBezTo>
                    <a:cubicBezTo>
                      <a:pt x="158" y="26"/>
                      <a:pt x="158" y="26"/>
                      <a:pt x="158" y="26"/>
                    </a:cubicBezTo>
                    <a:cubicBezTo>
                      <a:pt x="154" y="22"/>
                      <a:pt x="150" y="18"/>
                      <a:pt x="146" y="14"/>
                    </a:cubicBezTo>
                    <a:cubicBezTo>
                      <a:pt x="145" y="12"/>
                      <a:pt x="145" y="12"/>
                      <a:pt x="145" y="12"/>
                    </a:cubicBezTo>
                    <a:cubicBezTo>
                      <a:pt x="144" y="12"/>
                      <a:pt x="142" y="11"/>
                      <a:pt x="140" y="10"/>
                    </a:cubicBezTo>
                    <a:cubicBezTo>
                      <a:pt x="140" y="10"/>
                      <a:pt x="140" y="10"/>
                      <a:pt x="140" y="10"/>
                    </a:cubicBezTo>
                    <a:cubicBezTo>
                      <a:pt x="139" y="10"/>
                      <a:pt x="139" y="10"/>
                      <a:pt x="138" y="9"/>
                    </a:cubicBezTo>
                    <a:cubicBezTo>
                      <a:pt x="137" y="9"/>
                      <a:pt x="137" y="9"/>
                      <a:pt x="136" y="8"/>
                    </a:cubicBezTo>
                    <a:cubicBezTo>
                      <a:pt x="136" y="8"/>
                      <a:pt x="136" y="8"/>
                      <a:pt x="136" y="8"/>
                    </a:cubicBezTo>
                    <a:cubicBezTo>
                      <a:pt x="135" y="8"/>
                      <a:pt x="135" y="8"/>
                      <a:pt x="134" y="7"/>
                    </a:cubicBezTo>
                    <a:cubicBezTo>
                      <a:pt x="133" y="6"/>
                      <a:pt x="133" y="6"/>
                      <a:pt x="133" y="6"/>
                    </a:cubicBezTo>
                    <a:cubicBezTo>
                      <a:pt x="133" y="6"/>
                      <a:pt x="133" y="6"/>
                      <a:pt x="133" y="6"/>
                    </a:cubicBezTo>
                    <a:cubicBezTo>
                      <a:pt x="133" y="6"/>
                      <a:pt x="133" y="6"/>
                      <a:pt x="133" y="6"/>
                    </a:cubicBezTo>
                    <a:cubicBezTo>
                      <a:pt x="132" y="5"/>
                      <a:pt x="132" y="5"/>
                      <a:pt x="132" y="5"/>
                    </a:cubicBezTo>
                    <a:cubicBezTo>
                      <a:pt x="132" y="5"/>
                      <a:pt x="132" y="5"/>
                      <a:pt x="132" y="5"/>
                    </a:cubicBezTo>
                    <a:cubicBezTo>
                      <a:pt x="131" y="5"/>
                      <a:pt x="131" y="5"/>
                      <a:pt x="131" y="5"/>
                    </a:cubicBezTo>
                    <a:cubicBezTo>
                      <a:pt x="131" y="5"/>
                      <a:pt x="131" y="5"/>
                      <a:pt x="131" y="5"/>
                    </a:cubicBezTo>
                    <a:cubicBezTo>
                      <a:pt x="130" y="6"/>
                      <a:pt x="129" y="6"/>
                      <a:pt x="127" y="6"/>
                    </a:cubicBezTo>
                    <a:cubicBezTo>
                      <a:pt x="127" y="6"/>
                      <a:pt x="126" y="6"/>
                      <a:pt x="125" y="5"/>
                    </a:cubicBezTo>
                    <a:cubicBezTo>
                      <a:pt x="125" y="5"/>
                      <a:pt x="124" y="5"/>
                      <a:pt x="124" y="5"/>
                    </a:cubicBezTo>
                    <a:cubicBezTo>
                      <a:pt x="123" y="5"/>
                      <a:pt x="123" y="5"/>
                      <a:pt x="122" y="6"/>
                    </a:cubicBezTo>
                    <a:cubicBezTo>
                      <a:pt x="121" y="6"/>
                      <a:pt x="121" y="6"/>
                      <a:pt x="121" y="6"/>
                    </a:cubicBezTo>
                    <a:cubicBezTo>
                      <a:pt x="120" y="6"/>
                      <a:pt x="119" y="6"/>
                      <a:pt x="119" y="6"/>
                    </a:cubicBezTo>
                    <a:cubicBezTo>
                      <a:pt x="118" y="6"/>
                      <a:pt x="118" y="6"/>
                      <a:pt x="118" y="7"/>
                    </a:cubicBezTo>
                    <a:cubicBezTo>
                      <a:pt x="117" y="7"/>
                      <a:pt x="117" y="7"/>
                      <a:pt x="117" y="7"/>
                    </a:cubicBezTo>
                    <a:cubicBezTo>
                      <a:pt x="117" y="7"/>
                      <a:pt x="117" y="7"/>
                      <a:pt x="117" y="7"/>
                    </a:cubicBezTo>
                    <a:cubicBezTo>
                      <a:pt x="117" y="7"/>
                      <a:pt x="117" y="7"/>
                      <a:pt x="117" y="7"/>
                    </a:cubicBezTo>
                    <a:cubicBezTo>
                      <a:pt x="113" y="6"/>
                      <a:pt x="113" y="6"/>
                      <a:pt x="113" y="6"/>
                    </a:cubicBezTo>
                    <a:cubicBezTo>
                      <a:pt x="113" y="5"/>
                      <a:pt x="113" y="5"/>
                      <a:pt x="113" y="5"/>
                    </a:cubicBezTo>
                    <a:cubicBezTo>
                      <a:pt x="113" y="4"/>
                      <a:pt x="113" y="4"/>
                      <a:pt x="113" y="4"/>
                    </a:cubicBezTo>
                    <a:cubicBezTo>
                      <a:pt x="113" y="4"/>
                      <a:pt x="113" y="4"/>
                      <a:pt x="113" y="4"/>
                    </a:cubicBezTo>
                    <a:cubicBezTo>
                      <a:pt x="113" y="4"/>
                      <a:pt x="113" y="4"/>
                      <a:pt x="113" y="4"/>
                    </a:cubicBezTo>
                    <a:cubicBezTo>
                      <a:pt x="113" y="4"/>
                      <a:pt x="113" y="4"/>
                      <a:pt x="113" y="4"/>
                    </a:cubicBezTo>
                    <a:cubicBezTo>
                      <a:pt x="112" y="4"/>
                      <a:pt x="112" y="5"/>
                      <a:pt x="111" y="5"/>
                    </a:cubicBezTo>
                    <a:cubicBezTo>
                      <a:pt x="111" y="5"/>
                      <a:pt x="110" y="5"/>
                      <a:pt x="110" y="5"/>
                    </a:cubicBezTo>
                    <a:cubicBezTo>
                      <a:pt x="109" y="6"/>
                      <a:pt x="109" y="6"/>
                      <a:pt x="108" y="6"/>
                    </a:cubicBezTo>
                    <a:cubicBezTo>
                      <a:pt x="108" y="6"/>
                      <a:pt x="107" y="6"/>
                      <a:pt x="106" y="6"/>
                    </a:cubicBezTo>
                    <a:cubicBezTo>
                      <a:pt x="105" y="7"/>
                      <a:pt x="103" y="7"/>
                      <a:pt x="103" y="7"/>
                    </a:cubicBezTo>
                    <a:cubicBezTo>
                      <a:pt x="101" y="8"/>
                      <a:pt x="101" y="8"/>
                      <a:pt x="101" y="8"/>
                    </a:cubicBezTo>
                    <a:cubicBezTo>
                      <a:pt x="100" y="7"/>
                      <a:pt x="100" y="7"/>
                      <a:pt x="100" y="7"/>
                    </a:cubicBezTo>
                    <a:cubicBezTo>
                      <a:pt x="99" y="6"/>
                      <a:pt x="98" y="5"/>
                      <a:pt x="97" y="4"/>
                    </a:cubicBezTo>
                    <a:cubicBezTo>
                      <a:pt x="97" y="3"/>
                      <a:pt x="97" y="3"/>
                      <a:pt x="97" y="3"/>
                    </a:cubicBezTo>
                    <a:cubicBezTo>
                      <a:pt x="96" y="3"/>
                      <a:pt x="95" y="3"/>
                      <a:pt x="94" y="2"/>
                    </a:cubicBezTo>
                    <a:cubicBezTo>
                      <a:pt x="94" y="2"/>
                      <a:pt x="93" y="2"/>
                      <a:pt x="92" y="1"/>
                    </a:cubicBezTo>
                    <a:cubicBezTo>
                      <a:pt x="92" y="1"/>
                      <a:pt x="91" y="1"/>
                      <a:pt x="9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Freeform 379"/>
              <p:cNvSpPr/>
              <p:nvPr/>
            </p:nvSpPr>
            <p:spPr bwMode="auto">
              <a:xfrm>
                <a:off x="4201" y="2659"/>
                <a:ext cx="3" cy="2"/>
              </a:xfrm>
              <a:custGeom>
                <a:gdLst>
                  <a:gd name="T0" fmla="*/ 0 w 3"/>
                  <a:gd name="T1" fmla="*/ 0 h 2"/>
                  <a:gd name="T2" fmla="*/ 0 w 3"/>
                  <a:gd name="T3" fmla="*/ 0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lnTo>
                      <a:pt x="0" y="0"/>
                    </a:lnTo>
                    <a:lnTo>
                      <a:pt x="3"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380"/>
              <p:cNvSpPr/>
              <p:nvPr/>
            </p:nvSpPr>
            <p:spPr bwMode="auto">
              <a:xfrm>
                <a:off x="4201" y="2659"/>
                <a:ext cx="3" cy="2"/>
              </a:xfrm>
              <a:custGeom>
                <a:gdLst>
                  <a:gd name="T0" fmla="*/ 0 w 3"/>
                  <a:gd name="T1" fmla="*/ 0 h 2"/>
                  <a:gd name="T2" fmla="*/ 0 w 3"/>
                  <a:gd name="T3" fmla="*/ 0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lnTo>
                      <a:pt x="0" y="0"/>
                    </a:lnTo>
                    <a:lnTo>
                      <a:pt x="3"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381"/>
              <p:cNvSpPr/>
              <p:nvPr/>
            </p:nvSpPr>
            <p:spPr bwMode="auto">
              <a:xfrm>
                <a:off x="4159" y="2500"/>
                <a:ext cx="293" cy="246"/>
              </a:xfrm>
              <a:custGeom>
                <a:gdLst>
                  <a:gd name="T0" fmla="*/ 35 w 124"/>
                  <a:gd name="T1" fmla="*/ 6 h 104"/>
                  <a:gd name="T2" fmla="*/ 35 w 124"/>
                  <a:gd name="T3" fmla="*/ 7 h 104"/>
                  <a:gd name="T4" fmla="*/ 34 w 124"/>
                  <a:gd name="T5" fmla="*/ 8 h 104"/>
                  <a:gd name="T6" fmla="*/ 31 w 124"/>
                  <a:gd name="T7" fmla="*/ 9 h 104"/>
                  <a:gd name="T8" fmla="*/ 28 w 124"/>
                  <a:gd name="T9" fmla="*/ 10 h 104"/>
                  <a:gd name="T10" fmla="*/ 25 w 124"/>
                  <a:gd name="T11" fmla="*/ 11 h 104"/>
                  <a:gd name="T12" fmla="*/ 20 w 124"/>
                  <a:gd name="T13" fmla="*/ 15 h 104"/>
                  <a:gd name="T14" fmla="*/ 19 w 124"/>
                  <a:gd name="T15" fmla="*/ 17 h 104"/>
                  <a:gd name="T16" fmla="*/ 8 w 124"/>
                  <a:gd name="T17" fmla="*/ 34 h 104"/>
                  <a:gd name="T18" fmla="*/ 1 w 124"/>
                  <a:gd name="T19" fmla="*/ 59 h 104"/>
                  <a:gd name="T20" fmla="*/ 1 w 124"/>
                  <a:gd name="T21" fmla="*/ 62 h 104"/>
                  <a:gd name="T22" fmla="*/ 1 w 124"/>
                  <a:gd name="T23" fmla="*/ 66 h 104"/>
                  <a:gd name="T24" fmla="*/ 2 w 124"/>
                  <a:gd name="T25" fmla="*/ 68 h 104"/>
                  <a:gd name="T26" fmla="*/ 2 w 124"/>
                  <a:gd name="T27" fmla="*/ 68 h 104"/>
                  <a:gd name="T28" fmla="*/ 7 w 124"/>
                  <a:gd name="T29" fmla="*/ 68 h 104"/>
                  <a:gd name="T30" fmla="*/ 11 w 124"/>
                  <a:gd name="T31" fmla="*/ 66 h 104"/>
                  <a:gd name="T32" fmla="*/ 16 w 124"/>
                  <a:gd name="T33" fmla="*/ 65 h 104"/>
                  <a:gd name="T34" fmla="*/ 18 w 124"/>
                  <a:gd name="T35" fmla="*/ 67 h 104"/>
                  <a:gd name="T36" fmla="*/ 22 w 124"/>
                  <a:gd name="T37" fmla="*/ 60 h 104"/>
                  <a:gd name="T38" fmla="*/ 26 w 124"/>
                  <a:gd name="T39" fmla="*/ 53 h 104"/>
                  <a:gd name="T40" fmla="*/ 29 w 124"/>
                  <a:gd name="T41" fmla="*/ 58 h 104"/>
                  <a:gd name="T42" fmla="*/ 30 w 124"/>
                  <a:gd name="T43" fmla="*/ 59 h 104"/>
                  <a:gd name="T44" fmla="*/ 37 w 124"/>
                  <a:gd name="T45" fmla="*/ 63 h 104"/>
                  <a:gd name="T46" fmla="*/ 41 w 124"/>
                  <a:gd name="T47" fmla="*/ 64 h 104"/>
                  <a:gd name="T48" fmla="*/ 45 w 124"/>
                  <a:gd name="T49" fmla="*/ 63 h 104"/>
                  <a:gd name="T50" fmla="*/ 48 w 124"/>
                  <a:gd name="T51" fmla="*/ 61 h 104"/>
                  <a:gd name="T52" fmla="*/ 49 w 124"/>
                  <a:gd name="T53" fmla="*/ 61 h 104"/>
                  <a:gd name="T54" fmla="*/ 51 w 124"/>
                  <a:gd name="T55" fmla="*/ 61 h 104"/>
                  <a:gd name="T56" fmla="*/ 57 w 124"/>
                  <a:gd name="T57" fmla="*/ 60 h 104"/>
                  <a:gd name="T58" fmla="*/ 54 w 124"/>
                  <a:gd name="T59" fmla="*/ 64 h 104"/>
                  <a:gd name="T60" fmla="*/ 56 w 124"/>
                  <a:gd name="T61" fmla="*/ 64 h 104"/>
                  <a:gd name="T62" fmla="*/ 57 w 124"/>
                  <a:gd name="T63" fmla="*/ 63 h 104"/>
                  <a:gd name="T64" fmla="*/ 63 w 124"/>
                  <a:gd name="T65" fmla="*/ 64 h 104"/>
                  <a:gd name="T66" fmla="*/ 68 w 124"/>
                  <a:gd name="T67" fmla="*/ 62 h 104"/>
                  <a:gd name="T68" fmla="*/ 74 w 124"/>
                  <a:gd name="T69" fmla="*/ 62 h 104"/>
                  <a:gd name="T70" fmla="*/ 74 w 124"/>
                  <a:gd name="T71" fmla="*/ 66 h 104"/>
                  <a:gd name="T72" fmla="*/ 78 w 124"/>
                  <a:gd name="T73" fmla="*/ 68 h 104"/>
                  <a:gd name="T74" fmla="*/ 100 w 124"/>
                  <a:gd name="T75" fmla="*/ 88 h 104"/>
                  <a:gd name="T76" fmla="*/ 117 w 124"/>
                  <a:gd name="T77" fmla="*/ 104 h 104"/>
                  <a:gd name="T78" fmla="*/ 123 w 124"/>
                  <a:gd name="T79" fmla="*/ 97 h 104"/>
                  <a:gd name="T80" fmla="*/ 110 w 124"/>
                  <a:gd name="T81" fmla="*/ 88 h 104"/>
                  <a:gd name="T82" fmla="*/ 87 w 124"/>
                  <a:gd name="T83" fmla="*/ 63 h 104"/>
                  <a:gd name="T84" fmla="*/ 63 w 124"/>
                  <a:gd name="T85" fmla="*/ 46 h 104"/>
                  <a:gd name="T86" fmla="*/ 61 w 124"/>
                  <a:gd name="T87" fmla="*/ 53 h 104"/>
                  <a:gd name="T88" fmla="*/ 55 w 124"/>
                  <a:gd name="T89" fmla="*/ 44 h 104"/>
                  <a:gd name="T90" fmla="*/ 40 w 124"/>
                  <a:gd name="T91" fmla="*/ 0 h 1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4" h="104">
                    <a:moveTo>
                      <a:pt x="40" y="0"/>
                    </a:moveTo>
                    <a:cubicBezTo>
                      <a:pt x="40" y="0"/>
                      <a:pt x="40" y="0"/>
                      <a:pt x="39" y="1"/>
                    </a:cubicBezTo>
                    <a:cubicBezTo>
                      <a:pt x="38" y="3"/>
                      <a:pt x="37" y="5"/>
                      <a:pt x="35" y="6"/>
                    </a:cubicBezTo>
                    <a:cubicBezTo>
                      <a:pt x="35" y="7"/>
                      <a:pt x="35" y="7"/>
                      <a:pt x="35" y="7"/>
                    </a:cubicBezTo>
                    <a:cubicBezTo>
                      <a:pt x="35" y="7"/>
                      <a:pt x="35" y="7"/>
                      <a:pt x="35" y="7"/>
                    </a:cubicBezTo>
                    <a:cubicBezTo>
                      <a:pt x="35" y="7"/>
                      <a:pt x="35" y="7"/>
                      <a:pt x="35" y="7"/>
                    </a:cubicBezTo>
                    <a:cubicBezTo>
                      <a:pt x="35" y="7"/>
                      <a:pt x="35" y="7"/>
                      <a:pt x="35" y="7"/>
                    </a:cubicBezTo>
                    <a:cubicBezTo>
                      <a:pt x="34" y="8"/>
                      <a:pt x="34" y="8"/>
                      <a:pt x="34" y="8"/>
                    </a:cubicBezTo>
                    <a:cubicBezTo>
                      <a:pt x="34" y="8"/>
                      <a:pt x="34" y="8"/>
                      <a:pt x="34" y="8"/>
                    </a:cubicBezTo>
                    <a:cubicBezTo>
                      <a:pt x="34" y="8"/>
                      <a:pt x="34" y="8"/>
                      <a:pt x="34" y="8"/>
                    </a:cubicBezTo>
                    <a:cubicBezTo>
                      <a:pt x="33" y="8"/>
                      <a:pt x="33" y="8"/>
                      <a:pt x="32" y="9"/>
                    </a:cubicBezTo>
                    <a:cubicBezTo>
                      <a:pt x="31" y="9"/>
                      <a:pt x="31" y="9"/>
                      <a:pt x="31" y="9"/>
                    </a:cubicBezTo>
                    <a:cubicBezTo>
                      <a:pt x="31" y="9"/>
                      <a:pt x="31" y="9"/>
                      <a:pt x="31" y="9"/>
                    </a:cubicBezTo>
                    <a:cubicBezTo>
                      <a:pt x="30" y="9"/>
                      <a:pt x="29" y="9"/>
                      <a:pt x="28" y="9"/>
                    </a:cubicBezTo>
                    <a:cubicBezTo>
                      <a:pt x="28" y="10"/>
                      <a:pt x="28" y="10"/>
                      <a:pt x="28" y="10"/>
                    </a:cubicBezTo>
                    <a:cubicBezTo>
                      <a:pt x="27" y="10"/>
                      <a:pt x="27" y="10"/>
                      <a:pt x="27" y="10"/>
                    </a:cubicBezTo>
                    <a:cubicBezTo>
                      <a:pt x="27" y="10"/>
                      <a:pt x="26" y="11"/>
                      <a:pt x="25" y="11"/>
                    </a:cubicBezTo>
                    <a:cubicBezTo>
                      <a:pt x="25" y="11"/>
                      <a:pt x="25" y="11"/>
                      <a:pt x="25" y="11"/>
                    </a:cubicBezTo>
                    <a:cubicBezTo>
                      <a:pt x="23" y="12"/>
                      <a:pt x="22" y="13"/>
                      <a:pt x="21" y="14"/>
                    </a:cubicBezTo>
                    <a:cubicBezTo>
                      <a:pt x="21" y="15"/>
                      <a:pt x="21" y="15"/>
                      <a:pt x="21" y="15"/>
                    </a:cubicBezTo>
                    <a:cubicBezTo>
                      <a:pt x="20" y="15"/>
                      <a:pt x="20" y="15"/>
                      <a:pt x="20" y="15"/>
                    </a:cubicBezTo>
                    <a:cubicBezTo>
                      <a:pt x="20" y="16"/>
                      <a:pt x="20" y="16"/>
                      <a:pt x="20" y="16"/>
                    </a:cubicBezTo>
                    <a:cubicBezTo>
                      <a:pt x="20" y="16"/>
                      <a:pt x="20" y="16"/>
                      <a:pt x="20" y="16"/>
                    </a:cubicBezTo>
                    <a:cubicBezTo>
                      <a:pt x="19" y="17"/>
                      <a:pt x="19" y="17"/>
                      <a:pt x="19" y="17"/>
                    </a:cubicBezTo>
                    <a:cubicBezTo>
                      <a:pt x="17" y="18"/>
                      <a:pt x="16" y="18"/>
                      <a:pt x="14" y="18"/>
                    </a:cubicBezTo>
                    <a:cubicBezTo>
                      <a:pt x="13" y="18"/>
                      <a:pt x="12" y="18"/>
                      <a:pt x="11" y="18"/>
                    </a:cubicBezTo>
                    <a:cubicBezTo>
                      <a:pt x="10" y="24"/>
                      <a:pt x="10" y="29"/>
                      <a:pt x="8" y="34"/>
                    </a:cubicBezTo>
                    <a:cubicBezTo>
                      <a:pt x="7" y="36"/>
                      <a:pt x="6" y="39"/>
                      <a:pt x="5" y="41"/>
                    </a:cubicBezTo>
                    <a:cubicBezTo>
                      <a:pt x="3" y="45"/>
                      <a:pt x="1" y="50"/>
                      <a:pt x="0" y="54"/>
                    </a:cubicBezTo>
                    <a:cubicBezTo>
                      <a:pt x="0" y="55"/>
                      <a:pt x="0" y="57"/>
                      <a:pt x="1" y="59"/>
                    </a:cubicBezTo>
                    <a:cubicBezTo>
                      <a:pt x="1" y="59"/>
                      <a:pt x="1" y="59"/>
                      <a:pt x="1" y="59"/>
                    </a:cubicBezTo>
                    <a:cubicBezTo>
                      <a:pt x="1" y="60"/>
                      <a:pt x="1" y="61"/>
                      <a:pt x="1" y="61"/>
                    </a:cubicBezTo>
                    <a:cubicBezTo>
                      <a:pt x="1" y="62"/>
                      <a:pt x="1" y="62"/>
                      <a:pt x="1" y="62"/>
                    </a:cubicBezTo>
                    <a:cubicBezTo>
                      <a:pt x="1" y="62"/>
                      <a:pt x="1" y="63"/>
                      <a:pt x="1" y="65"/>
                    </a:cubicBezTo>
                    <a:cubicBezTo>
                      <a:pt x="1" y="65"/>
                      <a:pt x="1" y="65"/>
                      <a:pt x="1" y="65"/>
                    </a:cubicBezTo>
                    <a:cubicBezTo>
                      <a:pt x="1" y="66"/>
                      <a:pt x="1" y="66"/>
                      <a:pt x="1" y="66"/>
                    </a:cubicBezTo>
                    <a:cubicBezTo>
                      <a:pt x="1" y="66"/>
                      <a:pt x="1" y="66"/>
                      <a:pt x="1" y="66"/>
                    </a:cubicBezTo>
                    <a:cubicBezTo>
                      <a:pt x="1" y="67"/>
                      <a:pt x="1" y="67"/>
                      <a:pt x="1" y="67"/>
                    </a:cubicBezTo>
                    <a:cubicBezTo>
                      <a:pt x="2" y="68"/>
                      <a:pt x="2" y="68"/>
                      <a:pt x="2" y="68"/>
                    </a:cubicBezTo>
                    <a:cubicBezTo>
                      <a:pt x="2" y="68"/>
                      <a:pt x="2" y="68"/>
                      <a:pt x="2" y="68"/>
                    </a:cubicBezTo>
                    <a:cubicBezTo>
                      <a:pt x="2" y="68"/>
                      <a:pt x="2" y="68"/>
                      <a:pt x="2" y="68"/>
                    </a:cubicBezTo>
                    <a:cubicBezTo>
                      <a:pt x="2" y="68"/>
                      <a:pt x="2" y="68"/>
                      <a:pt x="2" y="68"/>
                    </a:cubicBezTo>
                    <a:cubicBezTo>
                      <a:pt x="2" y="68"/>
                      <a:pt x="3" y="68"/>
                      <a:pt x="3" y="68"/>
                    </a:cubicBezTo>
                    <a:cubicBezTo>
                      <a:pt x="5" y="68"/>
                      <a:pt x="5" y="68"/>
                      <a:pt x="5" y="68"/>
                    </a:cubicBezTo>
                    <a:cubicBezTo>
                      <a:pt x="5" y="68"/>
                      <a:pt x="6" y="68"/>
                      <a:pt x="7" y="68"/>
                    </a:cubicBezTo>
                    <a:cubicBezTo>
                      <a:pt x="7" y="68"/>
                      <a:pt x="7" y="68"/>
                      <a:pt x="7" y="68"/>
                    </a:cubicBezTo>
                    <a:cubicBezTo>
                      <a:pt x="8" y="68"/>
                      <a:pt x="9" y="68"/>
                      <a:pt x="9" y="68"/>
                    </a:cubicBezTo>
                    <a:cubicBezTo>
                      <a:pt x="10" y="68"/>
                      <a:pt x="11" y="67"/>
                      <a:pt x="11" y="66"/>
                    </a:cubicBezTo>
                    <a:cubicBezTo>
                      <a:pt x="12" y="66"/>
                      <a:pt x="13" y="65"/>
                      <a:pt x="13" y="65"/>
                    </a:cubicBezTo>
                    <a:cubicBezTo>
                      <a:pt x="15" y="63"/>
                      <a:pt x="15" y="63"/>
                      <a:pt x="15" y="63"/>
                    </a:cubicBezTo>
                    <a:cubicBezTo>
                      <a:pt x="16" y="65"/>
                      <a:pt x="16" y="65"/>
                      <a:pt x="16" y="65"/>
                    </a:cubicBezTo>
                    <a:cubicBezTo>
                      <a:pt x="17" y="66"/>
                      <a:pt x="17" y="66"/>
                      <a:pt x="17" y="67"/>
                    </a:cubicBezTo>
                    <a:cubicBezTo>
                      <a:pt x="18" y="67"/>
                      <a:pt x="18" y="67"/>
                      <a:pt x="18" y="67"/>
                    </a:cubicBezTo>
                    <a:cubicBezTo>
                      <a:pt x="18" y="67"/>
                      <a:pt x="18" y="67"/>
                      <a:pt x="18" y="67"/>
                    </a:cubicBezTo>
                    <a:cubicBezTo>
                      <a:pt x="18" y="67"/>
                      <a:pt x="18" y="67"/>
                      <a:pt x="18" y="67"/>
                    </a:cubicBezTo>
                    <a:cubicBezTo>
                      <a:pt x="18" y="67"/>
                      <a:pt x="18" y="67"/>
                      <a:pt x="18" y="67"/>
                    </a:cubicBezTo>
                    <a:cubicBezTo>
                      <a:pt x="20" y="65"/>
                      <a:pt x="22" y="62"/>
                      <a:pt x="22" y="60"/>
                    </a:cubicBezTo>
                    <a:cubicBezTo>
                      <a:pt x="22" y="60"/>
                      <a:pt x="22" y="60"/>
                      <a:pt x="22" y="60"/>
                    </a:cubicBezTo>
                    <a:cubicBezTo>
                      <a:pt x="23" y="59"/>
                      <a:pt x="23" y="59"/>
                      <a:pt x="23" y="59"/>
                    </a:cubicBezTo>
                    <a:cubicBezTo>
                      <a:pt x="26" y="53"/>
                      <a:pt x="26" y="53"/>
                      <a:pt x="26" y="53"/>
                    </a:cubicBezTo>
                    <a:cubicBezTo>
                      <a:pt x="28" y="57"/>
                      <a:pt x="28" y="57"/>
                      <a:pt x="28" y="57"/>
                    </a:cubicBezTo>
                    <a:cubicBezTo>
                      <a:pt x="28" y="57"/>
                      <a:pt x="28" y="57"/>
                      <a:pt x="28" y="57"/>
                    </a:cubicBezTo>
                    <a:cubicBezTo>
                      <a:pt x="29" y="58"/>
                      <a:pt x="29" y="58"/>
                      <a:pt x="29" y="58"/>
                    </a:cubicBezTo>
                    <a:cubicBezTo>
                      <a:pt x="29" y="58"/>
                      <a:pt x="29" y="58"/>
                      <a:pt x="29" y="58"/>
                    </a:cubicBezTo>
                    <a:cubicBezTo>
                      <a:pt x="29" y="59"/>
                      <a:pt x="29" y="59"/>
                      <a:pt x="29" y="59"/>
                    </a:cubicBezTo>
                    <a:cubicBezTo>
                      <a:pt x="30" y="59"/>
                      <a:pt x="30" y="59"/>
                      <a:pt x="30" y="59"/>
                    </a:cubicBezTo>
                    <a:cubicBezTo>
                      <a:pt x="31" y="59"/>
                      <a:pt x="31" y="60"/>
                      <a:pt x="32" y="60"/>
                    </a:cubicBezTo>
                    <a:cubicBezTo>
                      <a:pt x="33" y="60"/>
                      <a:pt x="34" y="60"/>
                      <a:pt x="36" y="62"/>
                    </a:cubicBezTo>
                    <a:cubicBezTo>
                      <a:pt x="37" y="63"/>
                      <a:pt x="37" y="63"/>
                      <a:pt x="37" y="63"/>
                    </a:cubicBezTo>
                    <a:cubicBezTo>
                      <a:pt x="37" y="63"/>
                      <a:pt x="37" y="64"/>
                      <a:pt x="38" y="64"/>
                    </a:cubicBezTo>
                    <a:cubicBezTo>
                      <a:pt x="38" y="65"/>
                      <a:pt x="38" y="65"/>
                      <a:pt x="38" y="65"/>
                    </a:cubicBezTo>
                    <a:cubicBezTo>
                      <a:pt x="39" y="64"/>
                      <a:pt x="40" y="64"/>
                      <a:pt x="41" y="64"/>
                    </a:cubicBezTo>
                    <a:cubicBezTo>
                      <a:pt x="42" y="64"/>
                      <a:pt x="42" y="64"/>
                      <a:pt x="43" y="64"/>
                    </a:cubicBezTo>
                    <a:cubicBezTo>
                      <a:pt x="44" y="63"/>
                      <a:pt x="44" y="63"/>
                      <a:pt x="44" y="63"/>
                    </a:cubicBezTo>
                    <a:cubicBezTo>
                      <a:pt x="45" y="63"/>
                      <a:pt x="45" y="63"/>
                      <a:pt x="45" y="63"/>
                    </a:cubicBezTo>
                    <a:cubicBezTo>
                      <a:pt x="45" y="63"/>
                      <a:pt x="45" y="63"/>
                      <a:pt x="45" y="63"/>
                    </a:cubicBezTo>
                    <a:cubicBezTo>
                      <a:pt x="46" y="62"/>
                      <a:pt x="46" y="62"/>
                      <a:pt x="46" y="62"/>
                    </a:cubicBezTo>
                    <a:cubicBezTo>
                      <a:pt x="47" y="62"/>
                      <a:pt x="47" y="61"/>
                      <a:pt x="48" y="61"/>
                    </a:cubicBezTo>
                    <a:cubicBezTo>
                      <a:pt x="48" y="61"/>
                      <a:pt x="48" y="61"/>
                      <a:pt x="48" y="61"/>
                    </a:cubicBezTo>
                    <a:cubicBezTo>
                      <a:pt x="48" y="61"/>
                      <a:pt x="49" y="61"/>
                      <a:pt x="49" y="61"/>
                    </a:cubicBezTo>
                    <a:cubicBezTo>
                      <a:pt x="49" y="61"/>
                      <a:pt x="49" y="61"/>
                      <a:pt x="49" y="61"/>
                    </a:cubicBezTo>
                    <a:cubicBezTo>
                      <a:pt x="50" y="61"/>
                      <a:pt x="50" y="61"/>
                      <a:pt x="50" y="61"/>
                    </a:cubicBezTo>
                    <a:cubicBezTo>
                      <a:pt x="50" y="61"/>
                      <a:pt x="50" y="61"/>
                      <a:pt x="50" y="61"/>
                    </a:cubicBezTo>
                    <a:cubicBezTo>
                      <a:pt x="50" y="61"/>
                      <a:pt x="51" y="61"/>
                      <a:pt x="51" y="61"/>
                    </a:cubicBezTo>
                    <a:cubicBezTo>
                      <a:pt x="52" y="61"/>
                      <a:pt x="52" y="61"/>
                      <a:pt x="52" y="61"/>
                    </a:cubicBezTo>
                    <a:cubicBezTo>
                      <a:pt x="52" y="61"/>
                      <a:pt x="52" y="62"/>
                      <a:pt x="53" y="62"/>
                    </a:cubicBezTo>
                    <a:cubicBezTo>
                      <a:pt x="57" y="60"/>
                      <a:pt x="57" y="60"/>
                      <a:pt x="57" y="60"/>
                    </a:cubicBezTo>
                    <a:cubicBezTo>
                      <a:pt x="53" y="63"/>
                      <a:pt x="53" y="63"/>
                      <a:pt x="53" y="63"/>
                    </a:cubicBezTo>
                    <a:cubicBezTo>
                      <a:pt x="53" y="63"/>
                      <a:pt x="53" y="63"/>
                      <a:pt x="53" y="63"/>
                    </a:cubicBezTo>
                    <a:cubicBezTo>
                      <a:pt x="54" y="64"/>
                      <a:pt x="54" y="64"/>
                      <a:pt x="54" y="64"/>
                    </a:cubicBezTo>
                    <a:cubicBezTo>
                      <a:pt x="54" y="64"/>
                      <a:pt x="54" y="64"/>
                      <a:pt x="54" y="64"/>
                    </a:cubicBezTo>
                    <a:cubicBezTo>
                      <a:pt x="55" y="64"/>
                      <a:pt x="55" y="64"/>
                      <a:pt x="55" y="64"/>
                    </a:cubicBezTo>
                    <a:cubicBezTo>
                      <a:pt x="56" y="64"/>
                      <a:pt x="56" y="64"/>
                      <a:pt x="56" y="64"/>
                    </a:cubicBezTo>
                    <a:cubicBezTo>
                      <a:pt x="56" y="63"/>
                      <a:pt x="56" y="63"/>
                      <a:pt x="56" y="63"/>
                    </a:cubicBezTo>
                    <a:cubicBezTo>
                      <a:pt x="57" y="63"/>
                      <a:pt x="57" y="63"/>
                      <a:pt x="57" y="63"/>
                    </a:cubicBezTo>
                    <a:cubicBezTo>
                      <a:pt x="57" y="63"/>
                      <a:pt x="57" y="63"/>
                      <a:pt x="57" y="63"/>
                    </a:cubicBezTo>
                    <a:cubicBezTo>
                      <a:pt x="58" y="62"/>
                      <a:pt x="59" y="62"/>
                      <a:pt x="60" y="62"/>
                    </a:cubicBezTo>
                    <a:cubicBezTo>
                      <a:pt x="60" y="62"/>
                      <a:pt x="60" y="62"/>
                      <a:pt x="61" y="62"/>
                    </a:cubicBezTo>
                    <a:cubicBezTo>
                      <a:pt x="62" y="62"/>
                      <a:pt x="62" y="63"/>
                      <a:pt x="63" y="64"/>
                    </a:cubicBezTo>
                    <a:cubicBezTo>
                      <a:pt x="64" y="63"/>
                      <a:pt x="64" y="63"/>
                      <a:pt x="64" y="63"/>
                    </a:cubicBezTo>
                    <a:cubicBezTo>
                      <a:pt x="64" y="63"/>
                      <a:pt x="65" y="63"/>
                      <a:pt x="65" y="63"/>
                    </a:cubicBezTo>
                    <a:cubicBezTo>
                      <a:pt x="66" y="63"/>
                      <a:pt x="67" y="62"/>
                      <a:pt x="68" y="62"/>
                    </a:cubicBezTo>
                    <a:cubicBezTo>
                      <a:pt x="69" y="62"/>
                      <a:pt x="70" y="63"/>
                      <a:pt x="70" y="63"/>
                    </a:cubicBezTo>
                    <a:cubicBezTo>
                      <a:pt x="72" y="64"/>
                      <a:pt x="72" y="64"/>
                      <a:pt x="72" y="64"/>
                    </a:cubicBezTo>
                    <a:cubicBezTo>
                      <a:pt x="74" y="62"/>
                      <a:pt x="74" y="62"/>
                      <a:pt x="74" y="62"/>
                    </a:cubicBezTo>
                    <a:cubicBezTo>
                      <a:pt x="73" y="65"/>
                      <a:pt x="73" y="65"/>
                      <a:pt x="73" y="65"/>
                    </a:cubicBezTo>
                    <a:cubicBezTo>
                      <a:pt x="73" y="66"/>
                      <a:pt x="73" y="66"/>
                      <a:pt x="73" y="66"/>
                    </a:cubicBezTo>
                    <a:cubicBezTo>
                      <a:pt x="73" y="66"/>
                      <a:pt x="74" y="66"/>
                      <a:pt x="74" y="66"/>
                    </a:cubicBezTo>
                    <a:cubicBezTo>
                      <a:pt x="75" y="67"/>
                      <a:pt x="75" y="67"/>
                      <a:pt x="76" y="67"/>
                    </a:cubicBezTo>
                    <a:cubicBezTo>
                      <a:pt x="76" y="67"/>
                      <a:pt x="77" y="68"/>
                      <a:pt x="77" y="68"/>
                    </a:cubicBezTo>
                    <a:cubicBezTo>
                      <a:pt x="78" y="68"/>
                      <a:pt x="78" y="68"/>
                      <a:pt x="78" y="68"/>
                    </a:cubicBezTo>
                    <a:cubicBezTo>
                      <a:pt x="80" y="69"/>
                      <a:pt x="83" y="69"/>
                      <a:pt x="84" y="71"/>
                    </a:cubicBezTo>
                    <a:cubicBezTo>
                      <a:pt x="89" y="76"/>
                      <a:pt x="93" y="80"/>
                      <a:pt x="97" y="85"/>
                    </a:cubicBezTo>
                    <a:cubicBezTo>
                      <a:pt x="100" y="88"/>
                      <a:pt x="100" y="88"/>
                      <a:pt x="100" y="88"/>
                    </a:cubicBezTo>
                    <a:cubicBezTo>
                      <a:pt x="102" y="90"/>
                      <a:pt x="104" y="92"/>
                      <a:pt x="106" y="95"/>
                    </a:cubicBezTo>
                    <a:cubicBezTo>
                      <a:pt x="113" y="103"/>
                      <a:pt x="113" y="103"/>
                      <a:pt x="113" y="103"/>
                    </a:cubicBezTo>
                    <a:cubicBezTo>
                      <a:pt x="115" y="104"/>
                      <a:pt x="116" y="104"/>
                      <a:pt x="117" y="104"/>
                    </a:cubicBezTo>
                    <a:cubicBezTo>
                      <a:pt x="119" y="103"/>
                      <a:pt x="122" y="100"/>
                      <a:pt x="123" y="99"/>
                    </a:cubicBezTo>
                    <a:cubicBezTo>
                      <a:pt x="124" y="98"/>
                      <a:pt x="124" y="98"/>
                      <a:pt x="124" y="98"/>
                    </a:cubicBezTo>
                    <a:cubicBezTo>
                      <a:pt x="124" y="98"/>
                      <a:pt x="123" y="97"/>
                      <a:pt x="123" y="97"/>
                    </a:cubicBezTo>
                    <a:cubicBezTo>
                      <a:pt x="122" y="97"/>
                      <a:pt x="121" y="98"/>
                      <a:pt x="121" y="98"/>
                    </a:cubicBezTo>
                    <a:cubicBezTo>
                      <a:pt x="117" y="98"/>
                      <a:pt x="115" y="91"/>
                      <a:pt x="111" y="90"/>
                    </a:cubicBezTo>
                    <a:cubicBezTo>
                      <a:pt x="111" y="89"/>
                      <a:pt x="111" y="89"/>
                      <a:pt x="110" y="88"/>
                    </a:cubicBezTo>
                    <a:cubicBezTo>
                      <a:pt x="109" y="84"/>
                      <a:pt x="107" y="81"/>
                      <a:pt x="103" y="78"/>
                    </a:cubicBezTo>
                    <a:cubicBezTo>
                      <a:pt x="101" y="77"/>
                      <a:pt x="99" y="77"/>
                      <a:pt x="97" y="76"/>
                    </a:cubicBezTo>
                    <a:cubicBezTo>
                      <a:pt x="93" y="72"/>
                      <a:pt x="91" y="66"/>
                      <a:pt x="87" y="63"/>
                    </a:cubicBezTo>
                    <a:cubicBezTo>
                      <a:pt x="84" y="61"/>
                      <a:pt x="81" y="59"/>
                      <a:pt x="78" y="57"/>
                    </a:cubicBezTo>
                    <a:cubicBezTo>
                      <a:pt x="75" y="56"/>
                      <a:pt x="70" y="57"/>
                      <a:pt x="69" y="55"/>
                    </a:cubicBezTo>
                    <a:cubicBezTo>
                      <a:pt x="66" y="53"/>
                      <a:pt x="65" y="49"/>
                      <a:pt x="63" y="46"/>
                    </a:cubicBezTo>
                    <a:cubicBezTo>
                      <a:pt x="62" y="47"/>
                      <a:pt x="62" y="48"/>
                      <a:pt x="62" y="49"/>
                    </a:cubicBezTo>
                    <a:cubicBezTo>
                      <a:pt x="61" y="50"/>
                      <a:pt x="63" y="51"/>
                      <a:pt x="63" y="52"/>
                    </a:cubicBezTo>
                    <a:cubicBezTo>
                      <a:pt x="63" y="53"/>
                      <a:pt x="62" y="53"/>
                      <a:pt x="61" y="53"/>
                    </a:cubicBezTo>
                    <a:cubicBezTo>
                      <a:pt x="61" y="53"/>
                      <a:pt x="60" y="53"/>
                      <a:pt x="60" y="53"/>
                    </a:cubicBezTo>
                    <a:cubicBezTo>
                      <a:pt x="60" y="52"/>
                      <a:pt x="60" y="51"/>
                      <a:pt x="60" y="51"/>
                    </a:cubicBezTo>
                    <a:cubicBezTo>
                      <a:pt x="60" y="49"/>
                      <a:pt x="54" y="45"/>
                      <a:pt x="55" y="44"/>
                    </a:cubicBezTo>
                    <a:cubicBezTo>
                      <a:pt x="55" y="41"/>
                      <a:pt x="52" y="37"/>
                      <a:pt x="51" y="34"/>
                    </a:cubicBezTo>
                    <a:cubicBezTo>
                      <a:pt x="50" y="30"/>
                      <a:pt x="50" y="25"/>
                      <a:pt x="49" y="22"/>
                    </a:cubicBezTo>
                    <a:cubicBezTo>
                      <a:pt x="47" y="14"/>
                      <a:pt x="44" y="7"/>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382"/>
              <p:cNvSpPr/>
              <p:nvPr/>
            </p:nvSpPr>
            <p:spPr bwMode="auto">
              <a:xfrm>
                <a:off x="4362" y="2770"/>
                <a:ext cx="466" cy="605"/>
              </a:xfrm>
              <a:custGeom>
                <a:gdLst>
                  <a:gd name="T0" fmla="*/ 180 w 197"/>
                  <a:gd name="T1" fmla="*/ 4 h 256"/>
                  <a:gd name="T2" fmla="*/ 123 w 197"/>
                  <a:gd name="T3" fmla="*/ 16 h 256"/>
                  <a:gd name="T4" fmla="*/ 102 w 197"/>
                  <a:gd name="T5" fmla="*/ 25 h 256"/>
                  <a:gd name="T6" fmla="*/ 93 w 197"/>
                  <a:gd name="T7" fmla="*/ 23 h 256"/>
                  <a:gd name="T8" fmla="*/ 67 w 197"/>
                  <a:gd name="T9" fmla="*/ 31 h 256"/>
                  <a:gd name="T10" fmla="*/ 49 w 197"/>
                  <a:gd name="T11" fmla="*/ 19 h 256"/>
                  <a:gd name="T12" fmla="*/ 40 w 197"/>
                  <a:gd name="T13" fmla="*/ 18 h 256"/>
                  <a:gd name="T14" fmla="*/ 35 w 197"/>
                  <a:gd name="T15" fmla="*/ 24 h 256"/>
                  <a:gd name="T16" fmla="*/ 33 w 197"/>
                  <a:gd name="T17" fmla="*/ 27 h 256"/>
                  <a:gd name="T18" fmla="*/ 41 w 197"/>
                  <a:gd name="T19" fmla="*/ 39 h 256"/>
                  <a:gd name="T20" fmla="*/ 47 w 197"/>
                  <a:gd name="T21" fmla="*/ 48 h 256"/>
                  <a:gd name="T22" fmla="*/ 57 w 197"/>
                  <a:gd name="T23" fmla="*/ 55 h 256"/>
                  <a:gd name="T24" fmla="*/ 69 w 197"/>
                  <a:gd name="T25" fmla="*/ 59 h 256"/>
                  <a:gd name="T26" fmla="*/ 113 w 197"/>
                  <a:gd name="T27" fmla="*/ 75 h 256"/>
                  <a:gd name="T28" fmla="*/ 119 w 197"/>
                  <a:gd name="T29" fmla="*/ 75 h 256"/>
                  <a:gd name="T30" fmla="*/ 126 w 197"/>
                  <a:gd name="T31" fmla="*/ 75 h 256"/>
                  <a:gd name="T32" fmla="*/ 134 w 197"/>
                  <a:gd name="T33" fmla="*/ 79 h 256"/>
                  <a:gd name="T34" fmla="*/ 86 w 197"/>
                  <a:gd name="T35" fmla="*/ 127 h 256"/>
                  <a:gd name="T36" fmla="*/ 82 w 197"/>
                  <a:gd name="T37" fmla="*/ 131 h 256"/>
                  <a:gd name="T38" fmla="*/ 75 w 197"/>
                  <a:gd name="T39" fmla="*/ 137 h 256"/>
                  <a:gd name="T40" fmla="*/ 72 w 197"/>
                  <a:gd name="T41" fmla="*/ 138 h 256"/>
                  <a:gd name="T42" fmla="*/ 67 w 197"/>
                  <a:gd name="T43" fmla="*/ 138 h 256"/>
                  <a:gd name="T44" fmla="*/ 65 w 197"/>
                  <a:gd name="T45" fmla="*/ 138 h 256"/>
                  <a:gd name="T46" fmla="*/ 59 w 197"/>
                  <a:gd name="T47" fmla="*/ 138 h 256"/>
                  <a:gd name="T48" fmla="*/ 55 w 197"/>
                  <a:gd name="T49" fmla="*/ 138 h 256"/>
                  <a:gd name="T50" fmla="*/ 34 w 197"/>
                  <a:gd name="T51" fmla="*/ 149 h 256"/>
                  <a:gd name="T52" fmla="*/ 26 w 197"/>
                  <a:gd name="T53" fmla="*/ 151 h 256"/>
                  <a:gd name="T54" fmla="*/ 18 w 197"/>
                  <a:gd name="T55" fmla="*/ 155 h 256"/>
                  <a:gd name="T56" fmla="*/ 5 w 197"/>
                  <a:gd name="T57" fmla="*/ 171 h 256"/>
                  <a:gd name="T58" fmla="*/ 1 w 197"/>
                  <a:gd name="T59" fmla="*/ 176 h 256"/>
                  <a:gd name="T60" fmla="*/ 1 w 197"/>
                  <a:gd name="T61" fmla="*/ 181 h 256"/>
                  <a:gd name="T62" fmla="*/ 1 w 197"/>
                  <a:gd name="T63" fmla="*/ 210 h 256"/>
                  <a:gd name="T64" fmla="*/ 1 w 197"/>
                  <a:gd name="T65" fmla="*/ 237 h 256"/>
                  <a:gd name="T66" fmla="*/ 6 w 197"/>
                  <a:gd name="T67" fmla="*/ 253 h 256"/>
                  <a:gd name="T68" fmla="*/ 12 w 197"/>
                  <a:gd name="T69" fmla="*/ 256 h 256"/>
                  <a:gd name="T70" fmla="*/ 51 w 197"/>
                  <a:gd name="T71" fmla="*/ 213 h 256"/>
                  <a:gd name="T72" fmla="*/ 104 w 197"/>
                  <a:gd name="T73" fmla="*/ 173 h 256"/>
                  <a:gd name="T74" fmla="*/ 159 w 197"/>
                  <a:gd name="T75" fmla="*/ 97 h 256"/>
                  <a:gd name="T76" fmla="*/ 181 w 197"/>
                  <a:gd name="T77" fmla="*/ 58 h 256"/>
                  <a:gd name="T78" fmla="*/ 190 w 197"/>
                  <a:gd name="T79" fmla="*/ 31 h 256"/>
                  <a:gd name="T80" fmla="*/ 191 w 197"/>
                  <a:gd name="T81" fmla="*/ 29 h 256"/>
                  <a:gd name="T82" fmla="*/ 191 w 197"/>
                  <a:gd name="T83" fmla="*/ 15 h 2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7" h="256">
                    <a:moveTo>
                      <a:pt x="185" y="0"/>
                    </a:moveTo>
                    <a:cubicBezTo>
                      <a:pt x="184" y="0"/>
                      <a:pt x="182" y="1"/>
                      <a:pt x="181" y="2"/>
                    </a:cubicBezTo>
                    <a:cubicBezTo>
                      <a:pt x="181" y="2"/>
                      <a:pt x="181" y="3"/>
                      <a:pt x="180" y="4"/>
                    </a:cubicBezTo>
                    <a:cubicBezTo>
                      <a:pt x="178" y="7"/>
                      <a:pt x="171" y="8"/>
                      <a:pt x="167" y="9"/>
                    </a:cubicBezTo>
                    <a:cubicBezTo>
                      <a:pt x="161" y="11"/>
                      <a:pt x="155" y="13"/>
                      <a:pt x="149" y="15"/>
                    </a:cubicBezTo>
                    <a:cubicBezTo>
                      <a:pt x="140" y="15"/>
                      <a:pt x="132" y="15"/>
                      <a:pt x="123" y="16"/>
                    </a:cubicBezTo>
                    <a:cubicBezTo>
                      <a:pt x="120" y="16"/>
                      <a:pt x="118" y="17"/>
                      <a:pt x="116" y="19"/>
                    </a:cubicBezTo>
                    <a:cubicBezTo>
                      <a:pt x="114" y="19"/>
                      <a:pt x="113" y="20"/>
                      <a:pt x="112" y="21"/>
                    </a:cubicBezTo>
                    <a:cubicBezTo>
                      <a:pt x="109" y="22"/>
                      <a:pt x="105" y="25"/>
                      <a:pt x="102" y="25"/>
                    </a:cubicBezTo>
                    <a:cubicBezTo>
                      <a:pt x="101" y="25"/>
                      <a:pt x="101" y="25"/>
                      <a:pt x="101" y="25"/>
                    </a:cubicBezTo>
                    <a:cubicBezTo>
                      <a:pt x="100" y="25"/>
                      <a:pt x="99" y="24"/>
                      <a:pt x="98" y="24"/>
                    </a:cubicBezTo>
                    <a:cubicBezTo>
                      <a:pt x="97" y="23"/>
                      <a:pt x="94" y="23"/>
                      <a:pt x="93" y="23"/>
                    </a:cubicBezTo>
                    <a:cubicBezTo>
                      <a:pt x="92" y="23"/>
                      <a:pt x="92" y="23"/>
                      <a:pt x="91" y="23"/>
                    </a:cubicBezTo>
                    <a:cubicBezTo>
                      <a:pt x="86" y="25"/>
                      <a:pt x="81" y="28"/>
                      <a:pt x="75" y="30"/>
                    </a:cubicBezTo>
                    <a:cubicBezTo>
                      <a:pt x="73" y="31"/>
                      <a:pt x="69" y="30"/>
                      <a:pt x="67" y="31"/>
                    </a:cubicBezTo>
                    <a:cubicBezTo>
                      <a:pt x="66" y="31"/>
                      <a:pt x="66" y="31"/>
                      <a:pt x="66" y="31"/>
                    </a:cubicBezTo>
                    <a:cubicBezTo>
                      <a:pt x="63" y="31"/>
                      <a:pt x="61" y="30"/>
                      <a:pt x="59" y="28"/>
                    </a:cubicBezTo>
                    <a:cubicBezTo>
                      <a:pt x="56" y="25"/>
                      <a:pt x="52" y="23"/>
                      <a:pt x="49" y="19"/>
                    </a:cubicBezTo>
                    <a:cubicBezTo>
                      <a:pt x="48" y="18"/>
                      <a:pt x="48" y="17"/>
                      <a:pt x="47" y="16"/>
                    </a:cubicBezTo>
                    <a:cubicBezTo>
                      <a:pt x="46" y="14"/>
                      <a:pt x="45" y="13"/>
                      <a:pt x="43" y="12"/>
                    </a:cubicBezTo>
                    <a:cubicBezTo>
                      <a:pt x="43" y="13"/>
                      <a:pt x="41" y="16"/>
                      <a:pt x="40" y="18"/>
                    </a:cubicBezTo>
                    <a:cubicBezTo>
                      <a:pt x="40" y="18"/>
                      <a:pt x="40" y="18"/>
                      <a:pt x="40" y="18"/>
                    </a:cubicBezTo>
                    <a:cubicBezTo>
                      <a:pt x="37" y="21"/>
                      <a:pt x="37" y="21"/>
                      <a:pt x="37" y="21"/>
                    </a:cubicBezTo>
                    <a:cubicBezTo>
                      <a:pt x="37" y="22"/>
                      <a:pt x="36" y="23"/>
                      <a:pt x="35" y="24"/>
                    </a:cubicBezTo>
                    <a:cubicBezTo>
                      <a:pt x="35" y="25"/>
                      <a:pt x="35" y="25"/>
                      <a:pt x="33" y="26"/>
                    </a:cubicBezTo>
                    <a:cubicBezTo>
                      <a:pt x="33" y="27"/>
                      <a:pt x="33" y="27"/>
                      <a:pt x="33" y="27"/>
                    </a:cubicBezTo>
                    <a:cubicBezTo>
                      <a:pt x="33" y="27"/>
                      <a:pt x="33" y="27"/>
                      <a:pt x="33" y="27"/>
                    </a:cubicBezTo>
                    <a:cubicBezTo>
                      <a:pt x="33" y="27"/>
                      <a:pt x="34" y="28"/>
                      <a:pt x="35" y="29"/>
                    </a:cubicBezTo>
                    <a:cubicBezTo>
                      <a:pt x="35" y="29"/>
                      <a:pt x="35" y="30"/>
                      <a:pt x="36" y="30"/>
                    </a:cubicBezTo>
                    <a:cubicBezTo>
                      <a:pt x="37" y="33"/>
                      <a:pt x="39" y="36"/>
                      <a:pt x="41" y="39"/>
                    </a:cubicBezTo>
                    <a:cubicBezTo>
                      <a:pt x="42" y="40"/>
                      <a:pt x="42" y="40"/>
                      <a:pt x="42" y="40"/>
                    </a:cubicBezTo>
                    <a:cubicBezTo>
                      <a:pt x="42" y="41"/>
                      <a:pt x="43" y="42"/>
                      <a:pt x="43" y="43"/>
                    </a:cubicBezTo>
                    <a:cubicBezTo>
                      <a:pt x="44" y="45"/>
                      <a:pt x="46" y="47"/>
                      <a:pt x="47" y="48"/>
                    </a:cubicBezTo>
                    <a:cubicBezTo>
                      <a:pt x="48" y="50"/>
                      <a:pt x="51" y="51"/>
                      <a:pt x="53" y="52"/>
                    </a:cubicBezTo>
                    <a:cubicBezTo>
                      <a:pt x="56" y="54"/>
                      <a:pt x="56" y="54"/>
                      <a:pt x="56" y="54"/>
                    </a:cubicBezTo>
                    <a:cubicBezTo>
                      <a:pt x="57" y="55"/>
                      <a:pt x="57" y="55"/>
                      <a:pt x="57" y="55"/>
                    </a:cubicBezTo>
                    <a:cubicBezTo>
                      <a:pt x="59" y="57"/>
                      <a:pt x="62" y="57"/>
                      <a:pt x="65" y="58"/>
                    </a:cubicBezTo>
                    <a:cubicBezTo>
                      <a:pt x="66" y="59"/>
                      <a:pt x="68" y="59"/>
                      <a:pt x="69" y="59"/>
                    </a:cubicBezTo>
                    <a:cubicBezTo>
                      <a:pt x="69" y="59"/>
                      <a:pt x="69" y="59"/>
                      <a:pt x="69" y="59"/>
                    </a:cubicBezTo>
                    <a:cubicBezTo>
                      <a:pt x="103" y="71"/>
                      <a:pt x="103" y="71"/>
                      <a:pt x="103" y="71"/>
                    </a:cubicBezTo>
                    <a:cubicBezTo>
                      <a:pt x="104" y="72"/>
                      <a:pt x="105" y="72"/>
                      <a:pt x="107" y="72"/>
                    </a:cubicBezTo>
                    <a:cubicBezTo>
                      <a:pt x="109" y="73"/>
                      <a:pt x="111" y="75"/>
                      <a:pt x="113" y="75"/>
                    </a:cubicBezTo>
                    <a:cubicBezTo>
                      <a:pt x="115" y="75"/>
                      <a:pt x="115" y="75"/>
                      <a:pt x="117" y="75"/>
                    </a:cubicBezTo>
                    <a:cubicBezTo>
                      <a:pt x="117" y="75"/>
                      <a:pt x="118" y="75"/>
                      <a:pt x="119" y="75"/>
                    </a:cubicBezTo>
                    <a:cubicBezTo>
                      <a:pt x="119" y="75"/>
                      <a:pt x="119" y="75"/>
                      <a:pt x="119" y="75"/>
                    </a:cubicBezTo>
                    <a:cubicBezTo>
                      <a:pt x="120" y="75"/>
                      <a:pt x="120" y="75"/>
                      <a:pt x="121" y="75"/>
                    </a:cubicBezTo>
                    <a:cubicBezTo>
                      <a:pt x="122" y="75"/>
                      <a:pt x="124" y="75"/>
                      <a:pt x="125" y="75"/>
                    </a:cubicBezTo>
                    <a:cubicBezTo>
                      <a:pt x="126" y="75"/>
                      <a:pt x="126" y="75"/>
                      <a:pt x="126" y="75"/>
                    </a:cubicBezTo>
                    <a:cubicBezTo>
                      <a:pt x="128" y="75"/>
                      <a:pt x="130" y="75"/>
                      <a:pt x="132" y="75"/>
                    </a:cubicBezTo>
                    <a:cubicBezTo>
                      <a:pt x="138" y="75"/>
                      <a:pt x="138" y="75"/>
                      <a:pt x="138" y="75"/>
                    </a:cubicBezTo>
                    <a:cubicBezTo>
                      <a:pt x="134" y="79"/>
                      <a:pt x="134" y="79"/>
                      <a:pt x="134" y="79"/>
                    </a:cubicBezTo>
                    <a:cubicBezTo>
                      <a:pt x="130" y="83"/>
                      <a:pt x="125" y="86"/>
                      <a:pt x="121" y="90"/>
                    </a:cubicBezTo>
                    <a:cubicBezTo>
                      <a:pt x="111" y="100"/>
                      <a:pt x="101" y="111"/>
                      <a:pt x="89" y="123"/>
                    </a:cubicBezTo>
                    <a:cubicBezTo>
                      <a:pt x="86" y="127"/>
                      <a:pt x="86" y="127"/>
                      <a:pt x="86" y="127"/>
                    </a:cubicBezTo>
                    <a:cubicBezTo>
                      <a:pt x="85" y="127"/>
                      <a:pt x="85" y="127"/>
                      <a:pt x="85" y="127"/>
                    </a:cubicBezTo>
                    <a:cubicBezTo>
                      <a:pt x="84" y="129"/>
                      <a:pt x="84" y="129"/>
                      <a:pt x="84" y="129"/>
                    </a:cubicBezTo>
                    <a:cubicBezTo>
                      <a:pt x="83" y="130"/>
                      <a:pt x="82" y="131"/>
                      <a:pt x="82" y="131"/>
                    </a:cubicBezTo>
                    <a:cubicBezTo>
                      <a:pt x="80" y="133"/>
                      <a:pt x="80" y="133"/>
                      <a:pt x="80" y="133"/>
                    </a:cubicBezTo>
                    <a:cubicBezTo>
                      <a:pt x="79" y="134"/>
                      <a:pt x="79" y="135"/>
                      <a:pt x="78" y="136"/>
                    </a:cubicBezTo>
                    <a:cubicBezTo>
                      <a:pt x="77" y="136"/>
                      <a:pt x="76" y="137"/>
                      <a:pt x="75" y="137"/>
                    </a:cubicBezTo>
                    <a:cubicBezTo>
                      <a:pt x="74" y="138"/>
                      <a:pt x="74" y="138"/>
                      <a:pt x="74" y="138"/>
                    </a:cubicBezTo>
                    <a:cubicBezTo>
                      <a:pt x="74" y="138"/>
                      <a:pt x="73" y="138"/>
                      <a:pt x="73" y="138"/>
                    </a:cubicBezTo>
                    <a:cubicBezTo>
                      <a:pt x="72" y="138"/>
                      <a:pt x="72" y="138"/>
                      <a:pt x="72" y="138"/>
                    </a:cubicBezTo>
                    <a:cubicBezTo>
                      <a:pt x="72" y="138"/>
                      <a:pt x="71" y="138"/>
                      <a:pt x="71" y="138"/>
                    </a:cubicBezTo>
                    <a:cubicBezTo>
                      <a:pt x="71" y="138"/>
                      <a:pt x="70" y="138"/>
                      <a:pt x="70" y="138"/>
                    </a:cubicBezTo>
                    <a:cubicBezTo>
                      <a:pt x="69" y="138"/>
                      <a:pt x="68" y="138"/>
                      <a:pt x="67" y="138"/>
                    </a:cubicBezTo>
                    <a:cubicBezTo>
                      <a:pt x="67" y="138"/>
                      <a:pt x="67" y="138"/>
                      <a:pt x="67" y="138"/>
                    </a:cubicBezTo>
                    <a:cubicBezTo>
                      <a:pt x="66" y="138"/>
                      <a:pt x="66" y="138"/>
                      <a:pt x="65" y="138"/>
                    </a:cubicBezTo>
                    <a:cubicBezTo>
                      <a:pt x="65" y="138"/>
                      <a:pt x="65" y="138"/>
                      <a:pt x="65" y="138"/>
                    </a:cubicBezTo>
                    <a:cubicBezTo>
                      <a:pt x="64" y="138"/>
                      <a:pt x="63" y="138"/>
                      <a:pt x="61" y="138"/>
                    </a:cubicBezTo>
                    <a:cubicBezTo>
                      <a:pt x="60" y="138"/>
                      <a:pt x="60" y="138"/>
                      <a:pt x="60" y="138"/>
                    </a:cubicBezTo>
                    <a:cubicBezTo>
                      <a:pt x="60" y="138"/>
                      <a:pt x="59" y="138"/>
                      <a:pt x="59" y="138"/>
                    </a:cubicBezTo>
                    <a:cubicBezTo>
                      <a:pt x="58" y="138"/>
                      <a:pt x="58" y="138"/>
                      <a:pt x="58" y="138"/>
                    </a:cubicBezTo>
                    <a:cubicBezTo>
                      <a:pt x="57" y="138"/>
                      <a:pt x="57" y="138"/>
                      <a:pt x="57" y="138"/>
                    </a:cubicBezTo>
                    <a:cubicBezTo>
                      <a:pt x="57" y="138"/>
                      <a:pt x="56" y="138"/>
                      <a:pt x="55" y="138"/>
                    </a:cubicBezTo>
                    <a:cubicBezTo>
                      <a:pt x="54" y="138"/>
                      <a:pt x="53" y="138"/>
                      <a:pt x="52" y="139"/>
                    </a:cubicBezTo>
                    <a:cubicBezTo>
                      <a:pt x="47" y="140"/>
                      <a:pt x="43" y="143"/>
                      <a:pt x="39" y="146"/>
                    </a:cubicBezTo>
                    <a:cubicBezTo>
                      <a:pt x="37" y="147"/>
                      <a:pt x="36" y="148"/>
                      <a:pt x="34" y="149"/>
                    </a:cubicBezTo>
                    <a:cubicBezTo>
                      <a:pt x="32" y="150"/>
                      <a:pt x="31" y="151"/>
                      <a:pt x="29" y="151"/>
                    </a:cubicBezTo>
                    <a:cubicBezTo>
                      <a:pt x="28" y="151"/>
                      <a:pt x="27" y="151"/>
                      <a:pt x="26" y="151"/>
                    </a:cubicBezTo>
                    <a:cubicBezTo>
                      <a:pt x="26" y="151"/>
                      <a:pt x="26" y="151"/>
                      <a:pt x="26" y="151"/>
                    </a:cubicBezTo>
                    <a:cubicBezTo>
                      <a:pt x="24" y="151"/>
                      <a:pt x="22" y="151"/>
                      <a:pt x="21" y="152"/>
                    </a:cubicBezTo>
                    <a:cubicBezTo>
                      <a:pt x="21" y="152"/>
                      <a:pt x="20" y="153"/>
                      <a:pt x="20" y="153"/>
                    </a:cubicBezTo>
                    <a:cubicBezTo>
                      <a:pt x="19" y="154"/>
                      <a:pt x="19" y="155"/>
                      <a:pt x="18" y="155"/>
                    </a:cubicBezTo>
                    <a:cubicBezTo>
                      <a:pt x="18" y="156"/>
                      <a:pt x="18" y="156"/>
                      <a:pt x="18" y="156"/>
                    </a:cubicBezTo>
                    <a:cubicBezTo>
                      <a:pt x="16" y="158"/>
                      <a:pt x="7" y="169"/>
                      <a:pt x="7" y="169"/>
                    </a:cubicBezTo>
                    <a:cubicBezTo>
                      <a:pt x="5" y="171"/>
                      <a:pt x="5" y="171"/>
                      <a:pt x="5" y="171"/>
                    </a:cubicBezTo>
                    <a:cubicBezTo>
                      <a:pt x="5" y="171"/>
                      <a:pt x="5" y="171"/>
                      <a:pt x="5" y="171"/>
                    </a:cubicBezTo>
                    <a:cubicBezTo>
                      <a:pt x="3" y="173"/>
                      <a:pt x="3" y="173"/>
                      <a:pt x="3" y="173"/>
                    </a:cubicBezTo>
                    <a:cubicBezTo>
                      <a:pt x="3" y="174"/>
                      <a:pt x="2" y="175"/>
                      <a:pt x="1" y="176"/>
                    </a:cubicBezTo>
                    <a:cubicBezTo>
                      <a:pt x="1" y="177"/>
                      <a:pt x="1" y="177"/>
                      <a:pt x="1" y="177"/>
                    </a:cubicBezTo>
                    <a:cubicBezTo>
                      <a:pt x="0" y="178"/>
                      <a:pt x="1" y="179"/>
                      <a:pt x="1" y="180"/>
                    </a:cubicBezTo>
                    <a:cubicBezTo>
                      <a:pt x="1" y="181"/>
                      <a:pt x="1" y="181"/>
                      <a:pt x="1" y="181"/>
                    </a:cubicBezTo>
                    <a:cubicBezTo>
                      <a:pt x="1" y="181"/>
                      <a:pt x="1" y="182"/>
                      <a:pt x="1" y="182"/>
                    </a:cubicBezTo>
                    <a:cubicBezTo>
                      <a:pt x="1" y="191"/>
                      <a:pt x="1" y="191"/>
                      <a:pt x="1" y="191"/>
                    </a:cubicBezTo>
                    <a:cubicBezTo>
                      <a:pt x="1" y="197"/>
                      <a:pt x="1" y="203"/>
                      <a:pt x="1" y="210"/>
                    </a:cubicBezTo>
                    <a:cubicBezTo>
                      <a:pt x="1" y="212"/>
                      <a:pt x="1" y="212"/>
                      <a:pt x="1" y="212"/>
                    </a:cubicBezTo>
                    <a:cubicBezTo>
                      <a:pt x="1" y="219"/>
                      <a:pt x="1" y="226"/>
                      <a:pt x="1" y="233"/>
                    </a:cubicBezTo>
                    <a:cubicBezTo>
                      <a:pt x="1" y="234"/>
                      <a:pt x="1" y="236"/>
                      <a:pt x="1" y="237"/>
                    </a:cubicBezTo>
                    <a:cubicBezTo>
                      <a:pt x="1" y="240"/>
                      <a:pt x="0" y="244"/>
                      <a:pt x="1" y="246"/>
                    </a:cubicBezTo>
                    <a:cubicBezTo>
                      <a:pt x="1" y="246"/>
                      <a:pt x="2" y="247"/>
                      <a:pt x="2" y="248"/>
                    </a:cubicBezTo>
                    <a:cubicBezTo>
                      <a:pt x="4" y="250"/>
                      <a:pt x="5" y="251"/>
                      <a:pt x="6" y="253"/>
                    </a:cubicBezTo>
                    <a:cubicBezTo>
                      <a:pt x="6" y="253"/>
                      <a:pt x="6" y="253"/>
                      <a:pt x="6" y="253"/>
                    </a:cubicBezTo>
                    <a:cubicBezTo>
                      <a:pt x="7" y="254"/>
                      <a:pt x="8" y="255"/>
                      <a:pt x="8" y="256"/>
                    </a:cubicBezTo>
                    <a:cubicBezTo>
                      <a:pt x="12" y="256"/>
                      <a:pt x="12" y="256"/>
                      <a:pt x="12" y="256"/>
                    </a:cubicBezTo>
                    <a:cubicBezTo>
                      <a:pt x="14" y="253"/>
                      <a:pt x="15" y="250"/>
                      <a:pt x="17" y="247"/>
                    </a:cubicBezTo>
                    <a:cubicBezTo>
                      <a:pt x="17" y="248"/>
                      <a:pt x="17" y="248"/>
                      <a:pt x="17" y="248"/>
                    </a:cubicBezTo>
                    <a:cubicBezTo>
                      <a:pt x="29" y="238"/>
                      <a:pt x="39" y="223"/>
                      <a:pt x="51" y="213"/>
                    </a:cubicBezTo>
                    <a:cubicBezTo>
                      <a:pt x="57" y="209"/>
                      <a:pt x="63" y="204"/>
                      <a:pt x="69" y="200"/>
                    </a:cubicBezTo>
                    <a:cubicBezTo>
                      <a:pt x="72" y="197"/>
                      <a:pt x="75" y="195"/>
                      <a:pt x="78" y="193"/>
                    </a:cubicBezTo>
                    <a:cubicBezTo>
                      <a:pt x="88" y="187"/>
                      <a:pt x="95" y="180"/>
                      <a:pt x="104" y="173"/>
                    </a:cubicBezTo>
                    <a:cubicBezTo>
                      <a:pt x="112" y="165"/>
                      <a:pt x="120" y="157"/>
                      <a:pt x="128" y="148"/>
                    </a:cubicBezTo>
                    <a:cubicBezTo>
                      <a:pt x="136" y="140"/>
                      <a:pt x="141" y="129"/>
                      <a:pt x="148" y="120"/>
                    </a:cubicBezTo>
                    <a:cubicBezTo>
                      <a:pt x="152" y="113"/>
                      <a:pt x="156" y="105"/>
                      <a:pt x="159" y="97"/>
                    </a:cubicBezTo>
                    <a:cubicBezTo>
                      <a:pt x="162" y="92"/>
                      <a:pt x="164" y="87"/>
                      <a:pt x="166" y="82"/>
                    </a:cubicBezTo>
                    <a:cubicBezTo>
                      <a:pt x="167" y="78"/>
                      <a:pt x="169" y="76"/>
                      <a:pt x="172" y="72"/>
                    </a:cubicBezTo>
                    <a:cubicBezTo>
                      <a:pt x="176" y="68"/>
                      <a:pt x="178" y="62"/>
                      <a:pt x="181" y="58"/>
                    </a:cubicBezTo>
                    <a:cubicBezTo>
                      <a:pt x="183" y="55"/>
                      <a:pt x="186" y="51"/>
                      <a:pt x="186" y="48"/>
                    </a:cubicBezTo>
                    <a:cubicBezTo>
                      <a:pt x="186" y="46"/>
                      <a:pt x="186" y="43"/>
                      <a:pt x="187" y="40"/>
                    </a:cubicBezTo>
                    <a:cubicBezTo>
                      <a:pt x="188" y="37"/>
                      <a:pt x="186" y="33"/>
                      <a:pt x="190" y="31"/>
                    </a:cubicBezTo>
                    <a:cubicBezTo>
                      <a:pt x="192" y="30"/>
                      <a:pt x="195" y="31"/>
                      <a:pt x="197" y="30"/>
                    </a:cubicBezTo>
                    <a:cubicBezTo>
                      <a:pt x="196" y="29"/>
                      <a:pt x="194" y="28"/>
                      <a:pt x="193" y="28"/>
                    </a:cubicBezTo>
                    <a:cubicBezTo>
                      <a:pt x="192" y="28"/>
                      <a:pt x="192" y="29"/>
                      <a:pt x="191" y="29"/>
                    </a:cubicBezTo>
                    <a:cubicBezTo>
                      <a:pt x="191" y="28"/>
                      <a:pt x="192" y="28"/>
                      <a:pt x="192" y="27"/>
                    </a:cubicBezTo>
                    <a:cubicBezTo>
                      <a:pt x="192" y="27"/>
                      <a:pt x="192" y="26"/>
                      <a:pt x="192" y="25"/>
                    </a:cubicBezTo>
                    <a:cubicBezTo>
                      <a:pt x="191" y="22"/>
                      <a:pt x="191" y="18"/>
                      <a:pt x="191" y="15"/>
                    </a:cubicBezTo>
                    <a:cubicBezTo>
                      <a:pt x="191" y="11"/>
                      <a:pt x="193" y="7"/>
                      <a:pt x="194" y="3"/>
                    </a:cubicBezTo>
                    <a:cubicBezTo>
                      <a:pt x="192" y="2"/>
                      <a:pt x="188" y="0"/>
                      <a:pt x="1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Freeform 383"/>
              <p:cNvSpPr/>
              <p:nvPr/>
            </p:nvSpPr>
            <p:spPr bwMode="auto">
              <a:xfrm>
                <a:off x="3849" y="3132"/>
                <a:ext cx="234" cy="241"/>
              </a:xfrm>
              <a:custGeom>
                <a:gdLst>
                  <a:gd name="T0" fmla="*/ 72 w 99"/>
                  <a:gd name="T1" fmla="*/ 7 h 102"/>
                  <a:gd name="T2" fmla="*/ 63 w 99"/>
                  <a:gd name="T3" fmla="*/ 5 h 102"/>
                  <a:gd name="T4" fmla="*/ 53 w 99"/>
                  <a:gd name="T5" fmla="*/ 8 h 102"/>
                  <a:gd name="T6" fmla="*/ 50 w 99"/>
                  <a:gd name="T7" fmla="*/ 11 h 102"/>
                  <a:gd name="T8" fmla="*/ 45 w 99"/>
                  <a:gd name="T9" fmla="*/ 11 h 102"/>
                  <a:gd name="T10" fmla="*/ 44 w 99"/>
                  <a:gd name="T11" fmla="*/ 10 h 102"/>
                  <a:gd name="T12" fmla="*/ 38 w 99"/>
                  <a:gd name="T13" fmla="*/ 8 h 102"/>
                  <a:gd name="T14" fmla="*/ 31 w 99"/>
                  <a:gd name="T15" fmla="*/ 8 h 102"/>
                  <a:gd name="T16" fmla="*/ 28 w 99"/>
                  <a:gd name="T17" fmla="*/ 7 h 102"/>
                  <a:gd name="T18" fmla="*/ 28 w 99"/>
                  <a:gd name="T19" fmla="*/ 8 h 102"/>
                  <a:gd name="T20" fmla="*/ 27 w 99"/>
                  <a:gd name="T21" fmla="*/ 9 h 102"/>
                  <a:gd name="T22" fmla="*/ 25 w 99"/>
                  <a:gd name="T23" fmla="*/ 11 h 102"/>
                  <a:gd name="T24" fmla="*/ 23 w 99"/>
                  <a:gd name="T25" fmla="*/ 18 h 102"/>
                  <a:gd name="T26" fmla="*/ 23 w 99"/>
                  <a:gd name="T27" fmla="*/ 26 h 102"/>
                  <a:gd name="T28" fmla="*/ 23 w 99"/>
                  <a:gd name="T29" fmla="*/ 29 h 102"/>
                  <a:gd name="T30" fmla="*/ 24 w 99"/>
                  <a:gd name="T31" fmla="*/ 29 h 102"/>
                  <a:gd name="T32" fmla="*/ 27 w 99"/>
                  <a:gd name="T33" fmla="*/ 31 h 102"/>
                  <a:gd name="T34" fmla="*/ 33 w 99"/>
                  <a:gd name="T35" fmla="*/ 37 h 102"/>
                  <a:gd name="T36" fmla="*/ 11 w 99"/>
                  <a:gd name="T37" fmla="*/ 60 h 102"/>
                  <a:gd name="T38" fmla="*/ 9 w 99"/>
                  <a:gd name="T39" fmla="*/ 61 h 102"/>
                  <a:gd name="T40" fmla="*/ 6 w 99"/>
                  <a:gd name="T41" fmla="*/ 72 h 102"/>
                  <a:gd name="T42" fmla="*/ 1 w 99"/>
                  <a:gd name="T43" fmla="*/ 89 h 102"/>
                  <a:gd name="T44" fmla="*/ 3 w 99"/>
                  <a:gd name="T45" fmla="*/ 100 h 102"/>
                  <a:gd name="T46" fmla="*/ 7 w 99"/>
                  <a:gd name="T47" fmla="*/ 101 h 102"/>
                  <a:gd name="T48" fmla="*/ 12 w 99"/>
                  <a:gd name="T49" fmla="*/ 96 h 102"/>
                  <a:gd name="T50" fmla="*/ 16 w 99"/>
                  <a:gd name="T51" fmla="*/ 94 h 102"/>
                  <a:gd name="T52" fmla="*/ 39 w 99"/>
                  <a:gd name="T53" fmla="*/ 90 h 102"/>
                  <a:gd name="T54" fmla="*/ 53 w 99"/>
                  <a:gd name="T55" fmla="*/ 76 h 102"/>
                  <a:gd name="T56" fmla="*/ 62 w 99"/>
                  <a:gd name="T57" fmla="*/ 75 h 102"/>
                  <a:gd name="T58" fmla="*/ 69 w 99"/>
                  <a:gd name="T59" fmla="*/ 68 h 102"/>
                  <a:gd name="T60" fmla="*/ 74 w 99"/>
                  <a:gd name="T61" fmla="*/ 73 h 102"/>
                  <a:gd name="T62" fmla="*/ 79 w 99"/>
                  <a:gd name="T63" fmla="*/ 74 h 102"/>
                  <a:gd name="T64" fmla="*/ 80 w 99"/>
                  <a:gd name="T65" fmla="*/ 72 h 102"/>
                  <a:gd name="T66" fmla="*/ 81 w 99"/>
                  <a:gd name="T67" fmla="*/ 70 h 102"/>
                  <a:gd name="T68" fmla="*/ 85 w 99"/>
                  <a:gd name="T69" fmla="*/ 62 h 102"/>
                  <a:gd name="T70" fmla="*/ 87 w 99"/>
                  <a:gd name="T71" fmla="*/ 60 h 102"/>
                  <a:gd name="T72" fmla="*/ 90 w 99"/>
                  <a:gd name="T73" fmla="*/ 55 h 102"/>
                  <a:gd name="T74" fmla="*/ 92 w 99"/>
                  <a:gd name="T75" fmla="*/ 54 h 102"/>
                  <a:gd name="T76" fmla="*/ 95 w 99"/>
                  <a:gd name="T77" fmla="*/ 52 h 102"/>
                  <a:gd name="T78" fmla="*/ 95 w 99"/>
                  <a:gd name="T79" fmla="*/ 50 h 102"/>
                  <a:gd name="T80" fmla="*/ 97 w 99"/>
                  <a:gd name="T81" fmla="*/ 46 h 102"/>
                  <a:gd name="T82" fmla="*/ 99 w 99"/>
                  <a:gd name="T83" fmla="*/ 39 h 102"/>
                  <a:gd name="T84" fmla="*/ 95 w 99"/>
                  <a:gd name="T85" fmla="*/ 25 h 102"/>
                  <a:gd name="T86" fmla="*/ 90 w 99"/>
                  <a:gd name="T87" fmla="*/ 17 h 102"/>
                  <a:gd name="T88" fmla="*/ 87 w 99"/>
                  <a:gd name="T89" fmla="*/ 8 h 102"/>
                  <a:gd name="T90" fmla="*/ 83 w 99"/>
                  <a:gd name="T91" fmla="*/ 4 h 102"/>
                  <a:gd name="T92" fmla="*/ 81 w 99"/>
                  <a:gd name="T93" fmla="*/ 0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9" h="102">
                    <a:moveTo>
                      <a:pt x="81" y="0"/>
                    </a:moveTo>
                    <a:cubicBezTo>
                      <a:pt x="77" y="5"/>
                      <a:pt x="77" y="5"/>
                      <a:pt x="77" y="5"/>
                    </a:cubicBezTo>
                    <a:cubicBezTo>
                      <a:pt x="75" y="7"/>
                      <a:pt x="74" y="7"/>
                      <a:pt x="72" y="7"/>
                    </a:cubicBezTo>
                    <a:cubicBezTo>
                      <a:pt x="71" y="7"/>
                      <a:pt x="70" y="7"/>
                      <a:pt x="69" y="7"/>
                    </a:cubicBezTo>
                    <a:cubicBezTo>
                      <a:pt x="68" y="7"/>
                      <a:pt x="66" y="7"/>
                      <a:pt x="65" y="6"/>
                    </a:cubicBezTo>
                    <a:cubicBezTo>
                      <a:pt x="63" y="5"/>
                      <a:pt x="63" y="5"/>
                      <a:pt x="63" y="5"/>
                    </a:cubicBezTo>
                    <a:cubicBezTo>
                      <a:pt x="63" y="5"/>
                      <a:pt x="63" y="5"/>
                      <a:pt x="63" y="5"/>
                    </a:cubicBezTo>
                    <a:cubicBezTo>
                      <a:pt x="62" y="5"/>
                      <a:pt x="59" y="5"/>
                      <a:pt x="57" y="6"/>
                    </a:cubicBezTo>
                    <a:cubicBezTo>
                      <a:pt x="55" y="7"/>
                      <a:pt x="54" y="7"/>
                      <a:pt x="53" y="8"/>
                    </a:cubicBezTo>
                    <a:cubicBezTo>
                      <a:pt x="53" y="8"/>
                      <a:pt x="53" y="8"/>
                      <a:pt x="53" y="8"/>
                    </a:cubicBezTo>
                    <a:cubicBezTo>
                      <a:pt x="52" y="8"/>
                      <a:pt x="52" y="9"/>
                      <a:pt x="51" y="10"/>
                    </a:cubicBezTo>
                    <a:cubicBezTo>
                      <a:pt x="50" y="11"/>
                      <a:pt x="50" y="11"/>
                      <a:pt x="50" y="11"/>
                    </a:cubicBezTo>
                    <a:cubicBezTo>
                      <a:pt x="49" y="11"/>
                      <a:pt x="48" y="12"/>
                      <a:pt x="48" y="12"/>
                    </a:cubicBezTo>
                    <a:cubicBezTo>
                      <a:pt x="47" y="12"/>
                      <a:pt x="46" y="12"/>
                      <a:pt x="45" y="11"/>
                    </a:cubicBezTo>
                    <a:cubicBezTo>
                      <a:pt x="45" y="11"/>
                      <a:pt x="45" y="11"/>
                      <a:pt x="45" y="11"/>
                    </a:cubicBezTo>
                    <a:cubicBezTo>
                      <a:pt x="45" y="10"/>
                      <a:pt x="45" y="10"/>
                      <a:pt x="45" y="10"/>
                    </a:cubicBezTo>
                    <a:cubicBezTo>
                      <a:pt x="44" y="10"/>
                      <a:pt x="44" y="10"/>
                      <a:pt x="44" y="10"/>
                    </a:cubicBezTo>
                    <a:cubicBezTo>
                      <a:pt x="44" y="10"/>
                      <a:pt x="44" y="10"/>
                      <a:pt x="44" y="10"/>
                    </a:cubicBezTo>
                    <a:cubicBezTo>
                      <a:pt x="43" y="10"/>
                      <a:pt x="42" y="10"/>
                      <a:pt x="41" y="9"/>
                    </a:cubicBezTo>
                    <a:cubicBezTo>
                      <a:pt x="40" y="7"/>
                      <a:pt x="40" y="7"/>
                      <a:pt x="40" y="7"/>
                    </a:cubicBezTo>
                    <a:cubicBezTo>
                      <a:pt x="38" y="8"/>
                      <a:pt x="38" y="8"/>
                      <a:pt x="38" y="8"/>
                    </a:cubicBezTo>
                    <a:cubicBezTo>
                      <a:pt x="37" y="9"/>
                      <a:pt x="36" y="9"/>
                      <a:pt x="35" y="9"/>
                    </a:cubicBezTo>
                    <a:cubicBezTo>
                      <a:pt x="34" y="9"/>
                      <a:pt x="34" y="9"/>
                      <a:pt x="33" y="9"/>
                    </a:cubicBezTo>
                    <a:cubicBezTo>
                      <a:pt x="32" y="9"/>
                      <a:pt x="32" y="8"/>
                      <a:pt x="31" y="8"/>
                    </a:cubicBezTo>
                    <a:cubicBezTo>
                      <a:pt x="31" y="8"/>
                      <a:pt x="31" y="8"/>
                      <a:pt x="31" y="8"/>
                    </a:cubicBezTo>
                    <a:cubicBezTo>
                      <a:pt x="30" y="8"/>
                      <a:pt x="30" y="8"/>
                      <a:pt x="29" y="8"/>
                    </a:cubicBezTo>
                    <a:cubicBezTo>
                      <a:pt x="29" y="8"/>
                      <a:pt x="28" y="7"/>
                      <a:pt x="28" y="7"/>
                    </a:cubicBezTo>
                    <a:cubicBezTo>
                      <a:pt x="29" y="7"/>
                      <a:pt x="29" y="7"/>
                      <a:pt x="29" y="7"/>
                    </a:cubicBezTo>
                    <a:cubicBezTo>
                      <a:pt x="28" y="7"/>
                      <a:pt x="28" y="7"/>
                      <a:pt x="28" y="7"/>
                    </a:cubicBezTo>
                    <a:cubicBezTo>
                      <a:pt x="28" y="8"/>
                      <a:pt x="28" y="8"/>
                      <a:pt x="28" y="8"/>
                    </a:cubicBezTo>
                    <a:cubicBezTo>
                      <a:pt x="28" y="8"/>
                      <a:pt x="28" y="8"/>
                      <a:pt x="28" y="8"/>
                    </a:cubicBezTo>
                    <a:cubicBezTo>
                      <a:pt x="28" y="8"/>
                      <a:pt x="28" y="8"/>
                      <a:pt x="28" y="8"/>
                    </a:cubicBezTo>
                    <a:cubicBezTo>
                      <a:pt x="27" y="9"/>
                      <a:pt x="27" y="9"/>
                      <a:pt x="27" y="9"/>
                    </a:cubicBezTo>
                    <a:cubicBezTo>
                      <a:pt x="26" y="10"/>
                      <a:pt x="26" y="10"/>
                      <a:pt x="26" y="10"/>
                    </a:cubicBezTo>
                    <a:cubicBezTo>
                      <a:pt x="25" y="10"/>
                      <a:pt x="25" y="11"/>
                      <a:pt x="25" y="11"/>
                    </a:cubicBezTo>
                    <a:cubicBezTo>
                      <a:pt x="25" y="11"/>
                      <a:pt x="25" y="11"/>
                      <a:pt x="25" y="11"/>
                    </a:cubicBezTo>
                    <a:cubicBezTo>
                      <a:pt x="25" y="18"/>
                      <a:pt x="25" y="18"/>
                      <a:pt x="25" y="18"/>
                    </a:cubicBezTo>
                    <a:cubicBezTo>
                      <a:pt x="24" y="16"/>
                      <a:pt x="24" y="16"/>
                      <a:pt x="24" y="16"/>
                    </a:cubicBezTo>
                    <a:cubicBezTo>
                      <a:pt x="24" y="17"/>
                      <a:pt x="24" y="17"/>
                      <a:pt x="23" y="18"/>
                    </a:cubicBezTo>
                    <a:cubicBezTo>
                      <a:pt x="23" y="19"/>
                      <a:pt x="23" y="21"/>
                      <a:pt x="23" y="22"/>
                    </a:cubicBezTo>
                    <a:cubicBezTo>
                      <a:pt x="23" y="22"/>
                      <a:pt x="23" y="23"/>
                      <a:pt x="23" y="23"/>
                    </a:cubicBezTo>
                    <a:cubicBezTo>
                      <a:pt x="23" y="24"/>
                      <a:pt x="23" y="25"/>
                      <a:pt x="23" y="26"/>
                    </a:cubicBezTo>
                    <a:cubicBezTo>
                      <a:pt x="23" y="27"/>
                      <a:pt x="23" y="27"/>
                      <a:pt x="23" y="27"/>
                    </a:cubicBezTo>
                    <a:cubicBezTo>
                      <a:pt x="23" y="27"/>
                      <a:pt x="23" y="28"/>
                      <a:pt x="23" y="28"/>
                    </a:cubicBezTo>
                    <a:cubicBezTo>
                      <a:pt x="23" y="29"/>
                      <a:pt x="23" y="29"/>
                      <a:pt x="23" y="29"/>
                    </a:cubicBezTo>
                    <a:cubicBezTo>
                      <a:pt x="23" y="30"/>
                      <a:pt x="23" y="30"/>
                      <a:pt x="23" y="30"/>
                    </a:cubicBezTo>
                    <a:cubicBezTo>
                      <a:pt x="24" y="30"/>
                      <a:pt x="24" y="30"/>
                      <a:pt x="24" y="30"/>
                    </a:cubicBezTo>
                    <a:cubicBezTo>
                      <a:pt x="24" y="29"/>
                      <a:pt x="24" y="29"/>
                      <a:pt x="24" y="29"/>
                    </a:cubicBezTo>
                    <a:cubicBezTo>
                      <a:pt x="25" y="30"/>
                      <a:pt x="25" y="30"/>
                      <a:pt x="25" y="30"/>
                    </a:cubicBezTo>
                    <a:cubicBezTo>
                      <a:pt x="26" y="30"/>
                      <a:pt x="26" y="30"/>
                      <a:pt x="27" y="31"/>
                    </a:cubicBezTo>
                    <a:cubicBezTo>
                      <a:pt x="27" y="31"/>
                      <a:pt x="27" y="31"/>
                      <a:pt x="27" y="31"/>
                    </a:cubicBezTo>
                    <a:cubicBezTo>
                      <a:pt x="28" y="31"/>
                      <a:pt x="29" y="32"/>
                      <a:pt x="30" y="32"/>
                    </a:cubicBezTo>
                    <a:cubicBezTo>
                      <a:pt x="34" y="35"/>
                      <a:pt x="34" y="35"/>
                      <a:pt x="34" y="35"/>
                    </a:cubicBezTo>
                    <a:cubicBezTo>
                      <a:pt x="33" y="37"/>
                      <a:pt x="33" y="37"/>
                      <a:pt x="33" y="37"/>
                    </a:cubicBezTo>
                    <a:cubicBezTo>
                      <a:pt x="32" y="38"/>
                      <a:pt x="31" y="40"/>
                      <a:pt x="29" y="42"/>
                    </a:cubicBezTo>
                    <a:cubicBezTo>
                      <a:pt x="26" y="46"/>
                      <a:pt x="23" y="49"/>
                      <a:pt x="20" y="52"/>
                    </a:cubicBezTo>
                    <a:cubicBezTo>
                      <a:pt x="17" y="55"/>
                      <a:pt x="13" y="57"/>
                      <a:pt x="11" y="60"/>
                    </a:cubicBezTo>
                    <a:cubicBezTo>
                      <a:pt x="13" y="62"/>
                      <a:pt x="13" y="62"/>
                      <a:pt x="13" y="62"/>
                    </a:cubicBezTo>
                    <a:cubicBezTo>
                      <a:pt x="10" y="60"/>
                      <a:pt x="10" y="60"/>
                      <a:pt x="10" y="60"/>
                    </a:cubicBezTo>
                    <a:cubicBezTo>
                      <a:pt x="9" y="61"/>
                      <a:pt x="9" y="61"/>
                      <a:pt x="9" y="61"/>
                    </a:cubicBezTo>
                    <a:cubicBezTo>
                      <a:pt x="8" y="62"/>
                      <a:pt x="8" y="62"/>
                      <a:pt x="8" y="63"/>
                    </a:cubicBezTo>
                    <a:cubicBezTo>
                      <a:pt x="8" y="64"/>
                      <a:pt x="7" y="65"/>
                      <a:pt x="7" y="66"/>
                    </a:cubicBezTo>
                    <a:cubicBezTo>
                      <a:pt x="7" y="68"/>
                      <a:pt x="7" y="70"/>
                      <a:pt x="6" y="72"/>
                    </a:cubicBezTo>
                    <a:cubicBezTo>
                      <a:pt x="6" y="72"/>
                      <a:pt x="6" y="72"/>
                      <a:pt x="6" y="72"/>
                    </a:cubicBezTo>
                    <a:cubicBezTo>
                      <a:pt x="4" y="76"/>
                      <a:pt x="3" y="80"/>
                      <a:pt x="2" y="84"/>
                    </a:cubicBezTo>
                    <a:cubicBezTo>
                      <a:pt x="2" y="86"/>
                      <a:pt x="2" y="87"/>
                      <a:pt x="1" y="89"/>
                    </a:cubicBezTo>
                    <a:cubicBezTo>
                      <a:pt x="1" y="92"/>
                      <a:pt x="0" y="96"/>
                      <a:pt x="1" y="99"/>
                    </a:cubicBezTo>
                    <a:cubicBezTo>
                      <a:pt x="1" y="99"/>
                      <a:pt x="1" y="100"/>
                      <a:pt x="1" y="100"/>
                    </a:cubicBezTo>
                    <a:cubicBezTo>
                      <a:pt x="1" y="100"/>
                      <a:pt x="2" y="100"/>
                      <a:pt x="3" y="100"/>
                    </a:cubicBezTo>
                    <a:cubicBezTo>
                      <a:pt x="3" y="100"/>
                      <a:pt x="4" y="100"/>
                      <a:pt x="4" y="100"/>
                    </a:cubicBezTo>
                    <a:cubicBezTo>
                      <a:pt x="5" y="100"/>
                      <a:pt x="6" y="101"/>
                      <a:pt x="6" y="102"/>
                    </a:cubicBezTo>
                    <a:cubicBezTo>
                      <a:pt x="7" y="101"/>
                      <a:pt x="7" y="101"/>
                      <a:pt x="7" y="101"/>
                    </a:cubicBezTo>
                    <a:cubicBezTo>
                      <a:pt x="7" y="101"/>
                      <a:pt x="8" y="100"/>
                      <a:pt x="8" y="100"/>
                    </a:cubicBezTo>
                    <a:cubicBezTo>
                      <a:pt x="9" y="99"/>
                      <a:pt x="9" y="99"/>
                      <a:pt x="9" y="99"/>
                    </a:cubicBezTo>
                    <a:cubicBezTo>
                      <a:pt x="10" y="98"/>
                      <a:pt x="11" y="97"/>
                      <a:pt x="12" y="96"/>
                    </a:cubicBezTo>
                    <a:cubicBezTo>
                      <a:pt x="12" y="95"/>
                      <a:pt x="12" y="95"/>
                      <a:pt x="12" y="95"/>
                    </a:cubicBezTo>
                    <a:cubicBezTo>
                      <a:pt x="15" y="95"/>
                      <a:pt x="15" y="95"/>
                      <a:pt x="15" y="95"/>
                    </a:cubicBezTo>
                    <a:cubicBezTo>
                      <a:pt x="16" y="94"/>
                      <a:pt x="16" y="94"/>
                      <a:pt x="16" y="94"/>
                    </a:cubicBezTo>
                    <a:cubicBezTo>
                      <a:pt x="17" y="95"/>
                      <a:pt x="17" y="95"/>
                      <a:pt x="17" y="95"/>
                    </a:cubicBezTo>
                    <a:cubicBezTo>
                      <a:pt x="23" y="94"/>
                      <a:pt x="32" y="93"/>
                      <a:pt x="40" y="93"/>
                    </a:cubicBezTo>
                    <a:cubicBezTo>
                      <a:pt x="39" y="92"/>
                      <a:pt x="39" y="91"/>
                      <a:pt x="39" y="90"/>
                    </a:cubicBezTo>
                    <a:cubicBezTo>
                      <a:pt x="41" y="88"/>
                      <a:pt x="42" y="86"/>
                      <a:pt x="44" y="84"/>
                    </a:cubicBezTo>
                    <a:cubicBezTo>
                      <a:pt x="45" y="82"/>
                      <a:pt x="45" y="82"/>
                      <a:pt x="44" y="80"/>
                    </a:cubicBezTo>
                    <a:cubicBezTo>
                      <a:pt x="42" y="77"/>
                      <a:pt x="51" y="76"/>
                      <a:pt x="53" y="76"/>
                    </a:cubicBezTo>
                    <a:cubicBezTo>
                      <a:pt x="56" y="76"/>
                      <a:pt x="56" y="73"/>
                      <a:pt x="57" y="71"/>
                    </a:cubicBezTo>
                    <a:cubicBezTo>
                      <a:pt x="57" y="74"/>
                      <a:pt x="57" y="75"/>
                      <a:pt x="60" y="75"/>
                    </a:cubicBezTo>
                    <a:cubicBezTo>
                      <a:pt x="60" y="75"/>
                      <a:pt x="61" y="75"/>
                      <a:pt x="62" y="75"/>
                    </a:cubicBezTo>
                    <a:cubicBezTo>
                      <a:pt x="63" y="75"/>
                      <a:pt x="63" y="75"/>
                      <a:pt x="64" y="74"/>
                    </a:cubicBezTo>
                    <a:cubicBezTo>
                      <a:pt x="66" y="73"/>
                      <a:pt x="69" y="70"/>
                      <a:pt x="67" y="69"/>
                    </a:cubicBezTo>
                    <a:cubicBezTo>
                      <a:pt x="68" y="68"/>
                      <a:pt x="69" y="68"/>
                      <a:pt x="69" y="68"/>
                    </a:cubicBezTo>
                    <a:cubicBezTo>
                      <a:pt x="70" y="68"/>
                      <a:pt x="71" y="69"/>
                      <a:pt x="72" y="70"/>
                    </a:cubicBezTo>
                    <a:cubicBezTo>
                      <a:pt x="72" y="71"/>
                      <a:pt x="72" y="73"/>
                      <a:pt x="74" y="73"/>
                    </a:cubicBezTo>
                    <a:cubicBezTo>
                      <a:pt x="74" y="73"/>
                      <a:pt x="74" y="73"/>
                      <a:pt x="74" y="73"/>
                    </a:cubicBezTo>
                    <a:cubicBezTo>
                      <a:pt x="75" y="73"/>
                      <a:pt x="76" y="71"/>
                      <a:pt x="77" y="70"/>
                    </a:cubicBezTo>
                    <a:cubicBezTo>
                      <a:pt x="77" y="72"/>
                      <a:pt x="77" y="74"/>
                      <a:pt x="79" y="74"/>
                    </a:cubicBezTo>
                    <a:cubicBezTo>
                      <a:pt x="79" y="74"/>
                      <a:pt x="79" y="74"/>
                      <a:pt x="79" y="74"/>
                    </a:cubicBezTo>
                    <a:cubicBezTo>
                      <a:pt x="80" y="73"/>
                      <a:pt x="80" y="73"/>
                      <a:pt x="80" y="73"/>
                    </a:cubicBezTo>
                    <a:cubicBezTo>
                      <a:pt x="80" y="73"/>
                      <a:pt x="80" y="73"/>
                      <a:pt x="80" y="73"/>
                    </a:cubicBezTo>
                    <a:cubicBezTo>
                      <a:pt x="80" y="73"/>
                      <a:pt x="80" y="72"/>
                      <a:pt x="80" y="72"/>
                    </a:cubicBezTo>
                    <a:cubicBezTo>
                      <a:pt x="80" y="72"/>
                      <a:pt x="80" y="72"/>
                      <a:pt x="80" y="72"/>
                    </a:cubicBezTo>
                    <a:cubicBezTo>
                      <a:pt x="80" y="71"/>
                      <a:pt x="80" y="71"/>
                      <a:pt x="80" y="71"/>
                    </a:cubicBezTo>
                    <a:cubicBezTo>
                      <a:pt x="81" y="70"/>
                      <a:pt x="81" y="70"/>
                      <a:pt x="81" y="70"/>
                    </a:cubicBezTo>
                    <a:cubicBezTo>
                      <a:pt x="81" y="69"/>
                      <a:pt x="81" y="69"/>
                      <a:pt x="82" y="68"/>
                    </a:cubicBezTo>
                    <a:cubicBezTo>
                      <a:pt x="82" y="67"/>
                      <a:pt x="82" y="67"/>
                      <a:pt x="83" y="67"/>
                    </a:cubicBezTo>
                    <a:cubicBezTo>
                      <a:pt x="83" y="65"/>
                      <a:pt x="84" y="64"/>
                      <a:pt x="85" y="62"/>
                    </a:cubicBezTo>
                    <a:cubicBezTo>
                      <a:pt x="86" y="62"/>
                      <a:pt x="86" y="62"/>
                      <a:pt x="86" y="62"/>
                    </a:cubicBezTo>
                    <a:cubicBezTo>
                      <a:pt x="86" y="62"/>
                      <a:pt x="86" y="61"/>
                      <a:pt x="87" y="61"/>
                    </a:cubicBezTo>
                    <a:cubicBezTo>
                      <a:pt x="87" y="60"/>
                      <a:pt x="87" y="60"/>
                      <a:pt x="87" y="60"/>
                    </a:cubicBezTo>
                    <a:cubicBezTo>
                      <a:pt x="87" y="59"/>
                      <a:pt x="87" y="59"/>
                      <a:pt x="87" y="59"/>
                    </a:cubicBezTo>
                    <a:cubicBezTo>
                      <a:pt x="88" y="58"/>
                      <a:pt x="89" y="57"/>
                      <a:pt x="89" y="56"/>
                    </a:cubicBezTo>
                    <a:cubicBezTo>
                      <a:pt x="90" y="56"/>
                      <a:pt x="90" y="55"/>
                      <a:pt x="90" y="55"/>
                    </a:cubicBezTo>
                    <a:cubicBezTo>
                      <a:pt x="90" y="55"/>
                      <a:pt x="90" y="55"/>
                      <a:pt x="90" y="55"/>
                    </a:cubicBezTo>
                    <a:cubicBezTo>
                      <a:pt x="91" y="54"/>
                      <a:pt x="91" y="54"/>
                      <a:pt x="91" y="54"/>
                    </a:cubicBezTo>
                    <a:cubicBezTo>
                      <a:pt x="92" y="54"/>
                      <a:pt x="92" y="54"/>
                      <a:pt x="92" y="54"/>
                    </a:cubicBezTo>
                    <a:cubicBezTo>
                      <a:pt x="92" y="53"/>
                      <a:pt x="92" y="53"/>
                      <a:pt x="92" y="53"/>
                    </a:cubicBezTo>
                    <a:cubicBezTo>
                      <a:pt x="94" y="53"/>
                      <a:pt x="94" y="53"/>
                      <a:pt x="94" y="53"/>
                    </a:cubicBezTo>
                    <a:cubicBezTo>
                      <a:pt x="94" y="52"/>
                      <a:pt x="95" y="52"/>
                      <a:pt x="95" y="52"/>
                    </a:cubicBezTo>
                    <a:cubicBezTo>
                      <a:pt x="95" y="52"/>
                      <a:pt x="95" y="52"/>
                      <a:pt x="95" y="52"/>
                    </a:cubicBezTo>
                    <a:cubicBezTo>
                      <a:pt x="96" y="52"/>
                      <a:pt x="96" y="52"/>
                      <a:pt x="96" y="52"/>
                    </a:cubicBezTo>
                    <a:cubicBezTo>
                      <a:pt x="95" y="51"/>
                      <a:pt x="95" y="51"/>
                      <a:pt x="95" y="50"/>
                    </a:cubicBezTo>
                    <a:cubicBezTo>
                      <a:pt x="95" y="49"/>
                      <a:pt x="96" y="48"/>
                      <a:pt x="96" y="48"/>
                    </a:cubicBezTo>
                    <a:cubicBezTo>
                      <a:pt x="96" y="47"/>
                      <a:pt x="96" y="47"/>
                      <a:pt x="96" y="47"/>
                    </a:cubicBezTo>
                    <a:cubicBezTo>
                      <a:pt x="96" y="47"/>
                      <a:pt x="97" y="47"/>
                      <a:pt x="97" y="46"/>
                    </a:cubicBezTo>
                    <a:cubicBezTo>
                      <a:pt x="97" y="45"/>
                      <a:pt x="97" y="45"/>
                      <a:pt x="97" y="45"/>
                    </a:cubicBezTo>
                    <a:cubicBezTo>
                      <a:pt x="98" y="43"/>
                      <a:pt x="99" y="41"/>
                      <a:pt x="99" y="40"/>
                    </a:cubicBezTo>
                    <a:cubicBezTo>
                      <a:pt x="99" y="39"/>
                      <a:pt x="99" y="39"/>
                      <a:pt x="99" y="39"/>
                    </a:cubicBezTo>
                    <a:cubicBezTo>
                      <a:pt x="99" y="39"/>
                      <a:pt x="99" y="39"/>
                      <a:pt x="99" y="39"/>
                    </a:cubicBezTo>
                    <a:cubicBezTo>
                      <a:pt x="98" y="36"/>
                      <a:pt x="97" y="33"/>
                      <a:pt x="98" y="29"/>
                    </a:cubicBezTo>
                    <a:cubicBezTo>
                      <a:pt x="98" y="29"/>
                      <a:pt x="97" y="27"/>
                      <a:pt x="95" y="25"/>
                    </a:cubicBezTo>
                    <a:cubicBezTo>
                      <a:pt x="95" y="25"/>
                      <a:pt x="94" y="24"/>
                      <a:pt x="94" y="24"/>
                    </a:cubicBezTo>
                    <a:cubicBezTo>
                      <a:pt x="93" y="23"/>
                      <a:pt x="93" y="23"/>
                      <a:pt x="93" y="23"/>
                    </a:cubicBezTo>
                    <a:cubicBezTo>
                      <a:pt x="92" y="21"/>
                      <a:pt x="91" y="19"/>
                      <a:pt x="90" y="17"/>
                    </a:cubicBezTo>
                    <a:cubicBezTo>
                      <a:pt x="90" y="14"/>
                      <a:pt x="90" y="14"/>
                      <a:pt x="90" y="14"/>
                    </a:cubicBezTo>
                    <a:cubicBezTo>
                      <a:pt x="90" y="13"/>
                      <a:pt x="90" y="10"/>
                      <a:pt x="89" y="9"/>
                    </a:cubicBezTo>
                    <a:cubicBezTo>
                      <a:pt x="88" y="8"/>
                      <a:pt x="88" y="8"/>
                      <a:pt x="87" y="8"/>
                    </a:cubicBezTo>
                    <a:cubicBezTo>
                      <a:pt x="87" y="8"/>
                      <a:pt x="87" y="8"/>
                      <a:pt x="87" y="8"/>
                    </a:cubicBezTo>
                    <a:cubicBezTo>
                      <a:pt x="85" y="7"/>
                      <a:pt x="85" y="7"/>
                      <a:pt x="84" y="6"/>
                    </a:cubicBezTo>
                    <a:cubicBezTo>
                      <a:pt x="84" y="6"/>
                      <a:pt x="83" y="5"/>
                      <a:pt x="83" y="4"/>
                    </a:cubicBezTo>
                    <a:cubicBezTo>
                      <a:pt x="82" y="3"/>
                      <a:pt x="82" y="2"/>
                      <a:pt x="82" y="1"/>
                    </a:cubicBezTo>
                    <a:cubicBezTo>
                      <a:pt x="81" y="1"/>
                      <a:pt x="81" y="1"/>
                      <a:pt x="81" y="1"/>
                    </a:cubicBezTo>
                    <a:cubicBezTo>
                      <a:pt x="81" y="0"/>
                      <a:pt x="81" y="0"/>
                      <a:pt x="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384"/>
              <p:cNvSpPr/>
              <p:nvPr/>
            </p:nvSpPr>
            <p:spPr bwMode="auto">
              <a:xfrm>
                <a:off x="3665" y="3077"/>
                <a:ext cx="250" cy="298"/>
              </a:xfrm>
              <a:custGeom>
                <a:gdLst>
                  <a:gd name="T0" fmla="*/ 0 w 106"/>
                  <a:gd name="T1" fmla="*/ 126 h 126"/>
                  <a:gd name="T2" fmla="*/ 74 w 106"/>
                  <a:gd name="T3" fmla="*/ 125 h 126"/>
                  <a:gd name="T4" fmla="*/ 75 w 106"/>
                  <a:gd name="T5" fmla="*/ 111 h 126"/>
                  <a:gd name="T6" fmla="*/ 79 w 106"/>
                  <a:gd name="T7" fmla="*/ 93 h 126"/>
                  <a:gd name="T8" fmla="*/ 81 w 106"/>
                  <a:gd name="T9" fmla="*/ 89 h 126"/>
                  <a:gd name="T10" fmla="*/ 84 w 106"/>
                  <a:gd name="T11" fmla="*/ 80 h 126"/>
                  <a:gd name="T12" fmla="*/ 85 w 106"/>
                  <a:gd name="T13" fmla="*/ 79 h 126"/>
                  <a:gd name="T14" fmla="*/ 95 w 106"/>
                  <a:gd name="T15" fmla="*/ 71 h 126"/>
                  <a:gd name="T16" fmla="*/ 106 w 106"/>
                  <a:gd name="T17" fmla="*/ 59 h 126"/>
                  <a:gd name="T18" fmla="*/ 102 w 106"/>
                  <a:gd name="T19" fmla="*/ 57 h 126"/>
                  <a:gd name="T20" fmla="*/ 100 w 106"/>
                  <a:gd name="T21" fmla="*/ 57 h 126"/>
                  <a:gd name="T22" fmla="*/ 96 w 106"/>
                  <a:gd name="T23" fmla="*/ 50 h 126"/>
                  <a:gd name="T24" fmla="*/ 96 w 106"/>
                  <a:gd name="T25" fmla="*/ 49 h 126"/>
                  <a:gd name="T26" fmla="*/ 97 w 106"/>
                  <a:gd name="T27" fmla="*/ 45 h 126"/>
                  <a:gd name="T28" fmla="*/ 97 w 106"/>
                  <a:gd name="T29" fmla="*/ 39 h 126"/>
                  <a:gd name="T30" fmla="*/ 98 w 106"/>
                  <a:gd name="T31" fmla="*/ 34 h 126"/>
                  <a:gd name="T32" fmla="*/ 97 w 106"/>
                  <a:gd name="T33" fmla="*/ 34 h 126"/>
                  <a:gd name="T34" fmla="*/ 93 w 106"/>
                  <a:gd name="T35" fmla="*/ 29 h 126"/>
                  <a:gd name="T36" fmla="*/ 91 w 106"/>
                  <a:gd name="T37" fmla="*/ 27 h 126"/>
                  <a:gd name="T38" fmla="*/ 89 w 106"/>
                  <a:gd name="T39" fmla="*/ 26 h 126"/>
                  <a:gd name="T40" fmla="*/ 81 w 106"/>
                  <a:gd name="T41" fmla="*/ 20 h 126"/>
                  <a:gd name="T42" fmla="*/ 78 w 106"/>
                  <a:gd name="T43" fmla="*/ 15 h 126"/>
                  <a:gd name="T44" fmla="*/ 74 w 106"/>
                  <a:gd name="T45" fmla="*/ 16 h 126"/>
                  <a:gd name="T46" fmla="*/ 69 w 106"/>
                  <a:gd name="T47" fmla="*/ 19 h 126"/>
                  <a:gd name="T48" fmla="*/ 59 w 106"/>
                  <a:gd name="T49" fmla="*/ 18 h 126"/>
                  <a:gd name="T50" fmla="*/ 57 w 106"/>
                  <a:gd name="T51" fmla="*/ 18 h 126"/>
                  <a:gd name="T52" fmla="*/ 51 w 106"/>
                  <a:gd name="T53" fmla="*/ 19 h 126"/>
                  <a:gd name="T54" fmla="*/ 39 w 106"/>
                  <a:gd name="T55" fmla="*/ 11 h 126"/>
                  <a:gd name="T56" fmla="*/ 35 w 106"/>
                  <a:gd name="T57" fmla="*/ 6 h 126"/>
                  <a:gd name="T58" fmla="*/ 34 w 106"/>
                  <a:gd name="T59" fmla="*/ 6 h 126"/>
                  <a:gd name="T60" fmla="*/ 32 w 106"/>
                  <a:gd name="T61" fmla="*/ 5 h 126"/>
                  <a:gd name="T62" fmla="*/ 30 w 106"/>
                  <a:gd name="T63" fmla="*/ 4 h 126"/>
                  <a:gd name="T64" fmla="*/ 28 w 106"/>
                  <a:gd name="T65" fmla="*/ 3 h 126"/>
                  <a:gd name="T66" fmla="*/ 23 w 106"/>
                  <a:gd name="T67" fmla="*/ 5 h 126"/>
                  <a:gd name="T68" fmla="*/ 18 w 106"/>
                  <a:gd name="T69" fmla="*/ 5 h 126"/>
                  <a:gd name="T70" fmla="*/ 16 w 106"/>
                  <a:gd name="T71" fmla="*/ 5 h 126"/>
                  <a:gd name="T72" fmla="*/ 11 w 106"/>
                  <a:gd name="T73" fmla="*/ 3 h 126"/>
                  <a:gd name="T74" fmla="*/ 9 w 106"/>
                  <a:gd name="T75" fmla="*/ 3 h 126"/>
                  <a:gd name="T76" fmla="*/ 6 w 106"/>
                  <a:gd name="T77" fmla="*/ 3 h 126"/>
                  <a:gd name="T78" fmla="*/ 0 w 106"/>
                  <a:gd name="T79" fmla="*/ 0 h 1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5" h="125">
                    <a:moveTo>
                      <a:pt x="0" y="0"/>
                    </a:moveTo>
                    <a:cubicBezTo>
                      <a:pt x="0" y="126"/>
                      <a:pt x="0" y="126"/>
                      <a:pt x="0" y="126"/>
                    </a:cubicBezTo>
                    <a:cubicBezTo>
                      <a:pt x="73" y="126"/>
                      <a:pt x="73" y="126"/>
                      <a:pt x="73" y="126"/>
                    </a:cubicBezTo>
                    <a:cubicBezTo>
                      <a:pt x="74" y="125"/>
                      <a:pt x="74" y="125"/>
                      <a:pt x="74" y="125"/>
                    </a:cubicBezTo>
                    <a:cubicBezTo>
                      <a:pt x="74" y="125"/>
                      <a:pt x="74" y="123"/>
                      <a:pt x="74" y="122"/>
                    </a:cubicBezTo>
                    <a:cubicBezTo>
                      <a:pt x="74" y="118"/>
                      <a:pt x="74" y="115"/>
                      <a:pt x="75" y="111"/>
                    </a:cubicBezTo>
                    <a:cubicBezTo>
                      <a:pt x="75" y="110"/>
                      <a:pt x="75" y="108"/>
                      <a:pt x="75" y="107"/>
                    </a:cubicBezTo>
                    <a:cubicBezTo>
                      <a:pt x="76" y="102"/>
                      <a:pt x="78" y="98"/>
                      <a:pt x="79" y="93"/>
                    </a:cubicBezTo>
                    <a:cubicBezTo>
                      <a:pt x="79" y="93"/>
                      <a:pt x="79" y="93"/>
                      <a:pt x="79" y="93"/>
                    </a:cubicBezTo>
                    <a:cubicBezTo>
                      <a:pt x="80" y="92"/>
                      <a:pt x="80" y="90"/>
                      <a:pt x="81" y="89"/>
                    </a:cubicBezTo>
                    <a:cubicBezTo>
                      <a:pt x="81" y="87"/>
                      <a:pt x="81" y="86"/>
                      <a:pt x="81" y="85"/>
                    </a:cubicBezTo>
                    <a:cubicBezTo>
                      <a:pt x="82" y="83"/>
                      <a:pt x="83" y="82"/>
                      <a:pt x="84" y="80"/>
                    </a:cubicBezTo>
                    <a:cubicBezTo>
                      <a:pt x="84" y="80"/>
                      <a:pt x="84" y="80"/>
                      <a:pt x="84" y="80"/>
                    </a:cubicBezTo>
                    <a:cubicBezTo>
                      <a:pt x="85" y="79"/>
                      <a:pt x="85" y="79"/>
                      <a:pt x="85" y="79"/>
                    </a:cubicBezTo>
                    <a:cubicBezTo>
                      <a:pt x="88" y="77"/>
                      <a:pt x="92" y="74"/>
                      <a:pt x="95" y="71"/>
                    </a:cubicBezTo>
                    <a:cubicBezTo>
                      <a:pt x="95" y="71"/>
                      <a:pt x="95" y="71"/>
                      <a:pt x="95" y="71"/>
                    </a:cubicBezTo>
                    <a:cubicBezTo>
                      <a:pt x="98" y="68"/>
                      <a:pt x="101" y="65"/>
                      <a:pt x="103" y="62"/>
                    </a:cubicBezTo>
                    <a:cubicBezTo>
                      <a:pt x="104" y="61"/>
                      <a:pt x="105" y="60"/>
                      <a:pt x="106" y="59"/>
                    </a:cubicBezTo>
                    <a:cubicBezTo>
                      <a:pt x="105" y="59"/>
                      <a:pt x="104" y="58"/>
                      <a:pt x="103" y="58"/>
                    </a:cubicBezTo>
                    <a:cubicBezTo>
                      <a:pt x="103" y="58"/>
                      <a:pt x="103" y="58"/>
                      <a:pt x="102" y="57"/>
                    </a:cubicBezTo>
                    <a:cubicBezTo>
                      <a:pt x="102" y="58"/>
                      <a:pt x="102" y="58"/>
                      <a:pt x="101" y="58"/>
                    </a:cubicBezTo>
                    <a:cubicBezTo>
                      <a:pt x="101" y="58"/>
                      <a:pt x="100" y="57"/>
                      <a:pt x="100" y="57"/>
                    </a:cubicBezTo>
                    <a:cubicBezTo>
                      <a:pt x="99" y="57"/>
                      <a:pt x="97" y="56"/>
                      <a:pt x="97" y="54"/>
                    </a:cubicBezTo>
                    <a:cubicBezTo>
                      <a:pt x="96" y="53"/>
                      <a:pt x="96" y="51"/>
                      <a:pt x="96" y="50"/>
                    </a:cubicBezTo>
                    <a:cubicBezTo>
                      <a:pt x="96" y="50"/>
                      <a:pt x="96" y="49"/>
                      <a:pt x="96" y="49"/>
                    </a:cubicBezTo>
                    <a:cubicBezTo>
                      <a:pt x="96" y="49"/>
                      <a:pt x="96" y="49"/>
                      <a:pt x="96" y="49"/>
                    </a:cubicBezTo>
                    <a:cubicBezTo>
                      <a:pt x="97" y="48"/>
                      <a:pt x="97" y="47"/>
                      <a:pt x="97" y="46"/>
                    </a:cubicBezTo>
                    <a:cubicBezTo>
                      <a:pt x="97" y="46"/>
                      <a:pt x="97" y="46"/>
                      <a:pt x="97" y="45"/>
                    </a:cubicBezTo>
                    <a:cubicBezTo>
                      <a:pt x="96" y="43"/>
                      <a:pt x="96" y="41"/>
                      <a:pt x="97" y="39"/>
                    </a:cubicBezTo>
                    <a:cubicBezTo>
                      <a:pt x="97" y="39"/>
                      <a:pt x="97" y="39"/>
                      <a:pt x="97" y="39"/>
                    </a:cubicBezTo>
                    <a:cubicBezTo>
                      <a:pt x="98" y="37"/>
                      <a:pt x="98" y="36"/>
                      <a:pt x="98" y="35"/>
                    </a:cubicBezTo>
                    <a:cubicBezTo>
                      <a:pt x="98" y="34"/>
                      <a:pt x="98" y="34"/>
                      <a:pt x="98" y="34"/>
                    </a:cubicBezTo>
                    <a:cubicBezTo>
                      <a:pt x="98" y="34"/>
                      <a:pt x="98" y="34"/>
                      <a:pt x="98" y="34"/>
                    </a:cubicBezTo>
                    <a:cubicBezTo>
                      <a:pt x="97" y="34"/>
                      <a:pt x="97" y="34"/>
                      <a:pt x="97" y="34"/>
                    </a:cubicBezTo>
                    <a:cubicBezTo>
                      <a:pt x="96" y="34"/>
                      <a:pt x="92" y="33"/>
                      <a:pt x="93" y="30"/>
                    </a:cubicBezTo>
                    <a:cubicBezTo>
                      <a:pt x="93" y="29"/>
                      <a:pt x="93" y="29"/>
                      <a:pt x="93" y="29"/>
                    </a:cubicBezTo>
                    <a:cubicBezTo>
                      <a:pt x="93" y="28"/>
                      <a:pt x="93" y="28"/>
                      <a:pt x="93" y="28"/>
                    </a:cubicBezTo>
                    <a:cubicBezTo>
                      <a:pt x="92" y="28"/>
                      <a:pt x="92" y="28"/>
                      <a:pt x="91" y="27"/>
                    </a:cubicBezTo>
                    <a:cubicBezTo>
                      <a:pt x="91" y="27"/>
                      <a:pt x="91" y="27"/>
                      <a:pt x="91" y="27"/>
                    </a:cubicBezTo>
                    <a:cubicBezTo>
                      <a:pt x="90" y="27"/>
                      <a:pt x="89" y="27"/>
                      <a:pt x="89" y="26"/>
                    </a:cubicBezTo>
                    <a:cubicBezTo>
                      <a:pt x="86" y="25"/>
                      <a:pt x="85" y="24"/>
                      <a:pt x="83" y="22"/>
                    </a:cubicBezTo>
                    <a:cubicBezTo>
                      <a:pt x="81" y="20"/>
                      <a:pt x="81" y="20"/>
                      <a:pt x="81" y="20"/>
                    </a:cubicBezTo>
                    <a:cubicBezTo>
                      <a:pt x="81" y="20"/>
                      <a:pt x="80" y="19"/>
                      <a:pt x="80" y="19"/>
                    </a:cubicBezTo>
                    <a:cubicBezTo>
                      <a:pt x="79" y="18"/>
                      <a:pt x="79" y="17"/>
                      <a:pt x="78" y="15"/>
                    </a:cubicBezTo>
                    <a:cubicBezTo>
                      <a:pt x="77" y="15"/>
                      <a:pt x="75" y="15"/>
                      <a:pt x="74" y="16"/>
                    </a:cubicBezTo>
                    <a:cubicBezTo>
                      <a:pt x="74" y="16"/>
                      <a:pt x="74" y="16"/>
                      <a:pt x="74" y="16"/>
                    </a:cubicBezTo>
                    <a:cubicBezTo>
                      <a:pt x="74" y="17"/>
                      <a:pt x="73" y="17"/>
                      <a:pt x="73" y="18"/>
                    </a:cubicBezTo>
                    <a:cubicBezTo>
                      <a:pt x="72" y="19"/>
                      <a:pt x="70" y="19"/>
                      <a:pt x="69" y="19"/>
                    </a:cubicBezTo>
                    <a:cubicBezTo>
                      <a:pt x="67" y="19"/>
                      <a:pt x="65" y="19"/>
                      <a:pt x="64" y="18"/>
                    </a:cubicBezTo>
                    <a:cubicBezTo>
                      <a:pt x="62" y="18"/>
                      <a:pt x="61" y="18"/>
                      <a:pt x="59" y="18"/>
                    </a:cubicBezTo>
                    <a:cubicBezTo>
                      <a:pt x="59" y="18"/>
                      <a:pt x="58" y="18"/>
                      <a:pt x="58" y="18"/>
                    </a:cubicBezTo>
                    <a:cubicBezTo>
                      <a:pt x="58" y="18"/>
                      <a:pt x="57" y="18"/>
                      <a:pt x="57" y="18"/>
                    </a:cubicBezTo>
                    <a:cubicBezTo>
                      <a:pt x="56" y="19"/>
                      <a:pt x="55" y="20"/>
                      <a:pt x="54" y="20"/>
                    </a:cubicBezTo>
                    <a:cubicBezTo>
                      <a:pt x="53" y="20"/>
                      <a:pt x="52" y="20"/>
                      <a:pt x="51" y="19"/>
                    </a:cubicBezTo>
                    <a:cubicBezTo>
                      <a:pt x="50" y="19"/>
                      <a:pt x="50" y="19"/>
                      <a:pt x="49" y="18"/>
                    </a:cubicBezTo>
                    <a:cubicBezTo>
                      <a:pt x="45" y="17"/>
                      <a:pt x="41" y="15"/>
                      <a:pt x="39" y="11"/>
                    </a:cubicBezTo>
                    <a:cubicBezTo>
                      <a:pt x="39" y="9"/>
                      <a:pt x="37" y="8"/>
                      <a:pt x="35" y="6"/>
                    </a:cubicBezTo>
                    <a:cubicBezTo>
                      <a:pt x="35" y="6"/>
                      <a:pt x="35" y="6"/>
                      <a:pt x="35" y="6"/>
                    </a:cubicBezTo>
                    <a:cubicBezTo>
                      <a:pt x="34" y="6"/>
                      <a:pt x="34" y="6"/>
                      <a:pt x="34" y="6"/>
                    </a:cubicBezTo>
                    <a:cubicBezTo>
                      <a:pt x="34" y="6"/>
                      <a:pt x="34" y="6"/>
                      <a:pt x="34" y="6"/>
                    </a:cubicBezTo>
                    <a:cubicBezTo>
                      <a:pt x="33" y="6"/>
                      <a:pt x="33" y="6"/>
                      <a:pt x="33" y="6"/>
                    </a:cubicBezTo>
                    <a:cubicBezTo>
                      <a:pt x="33" y="5"/>
                      <a:pt x="33" y="5"/>
                      <a:pt x="32" y="5"/>
                    </a:cubicBezTo>
                    <a:cubicBezTo>
                      <a:pt x="32" y="4"/>
                      <a:pt x="32" y="4"/>
                      <a:pt x="32" y="4"/>
                    </a:cubicBezTo>
                    <a:cubicBezTo>
                      <a:pt x="31" y="4"/>
                      <a:pt x="30" y="4"/>
                      <a:pt x="30" y="4"/>
                    </a:cubicBezTo>
                    <a:cubicBezTo>
                      <a:pt x="29" y="3"/>
                      <a:pt x="29" y="3"/>
                      <a:pt x="29" y="3"/>
                    </a:cubicBezTo>
                    <a:cubicBezTo>
                      <a:pt x="28" y="3"/>
                      <a:pt x="28" y="3"/>
                      <a:pt x="28" y="3"/>
                    </a:cubicBezTo>
                    <a:cubicBezTo>
                      <a:pt x="27" y="3"/>
                      <a:pt x="26" y="4"/>
                      <a:pt x="24" y="4"/>
                    </a:cubicBezTo>
                    <a:cubicBezTo>
                      <a:pt x="23" y="5"/>
                      <a:pt x="23" y="5"/>
                      <a:pt x="23" y="5"/>
                    </a:cubicBezTo>
                    <a:cubicBezTo>
                      <a:pt x="21" y="5"/>
                      <a:pt x="20" y="5"/>
                      <a:pt x="19" y="5"/>
                    </a:cubicBezTo>
                    <a:cubicBezTo>
                      <a:pt x="18" y="5"/>
                      <a:pt x="18" y="5"/>
                      <a:pt x="18" y="5"/>
                    </a:cubicBezTo>
                    <a:cubicBezTo>
                      <a:pt x="18" y="5"/>
                      <a:pt x="17" y="5"/>
                      <a:pt x="16" y="5"/>
                    </a:cubicBezTo>
                    <a:cubicBezTo>
                      <a:pt x="16" y="5"/>
                      <a:pt x="16" y="5"/>
                      <a:pt x="16" y="5"/>
                    </a:cubicBezTo>
                    <a:cubicBezTo>
                      <a:pt x="15" y="5"/>
                      <a:pt x="14" y="4"/>
                      <a:pt x="13" y="4"/>
                    </a:cubicBezTo>
                    <a:cubicBezTo>
                      <a:pt x="12" y="3"/>
                      <a:pt x="11" y="3"/>
                      <a:pt x="11" y="3"/>
                    </a:cubicBezTo>
                    <a:cubicBezTo>
                      <a:pt x="10" y="2"/>
                      <a:pt x="10" y="2"/>
                      <a:pt x="10" y="2"/>
                    </a:cubicBezTo>
                    <a:cubicBezTo>
                      <a:pt x="10" y="2"/>
                      <a:pt x="9" y="2"/>
                      <a:pt x="9" y="3"/>
                    </a:cubicBezTo>
                    <a:cubicBezTo>
                      <a:pt x="8" y="3"/>
                      <a:pt x="8" y="3"/>
                      <a:pt x="7" y="3"/>
                    </a:cubicBezTo>
                    <a:cubicBezTo>
                      <a:pt x="7" y="3"/>
                      <a:pt x="7" y="3"/>
                      <a:pt x="6" y="3"/>
                    </a:cubicBezTo>
                    <a:cubicBezTo>
                      <a:pt x="4" y="3"/>
                      <a:pt x="3" y="2"/>
                      <a:pt x="1" y="1"/>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Freeform 385"/>
              <p:cNvSpPr/>
              <p:nvPr/>
            </p:nvSpPr>
            <p:spPr bwMode="auto">
              <a:xfrm>
                <a:off x="3665" y="2988"/>
                <a:ext cx="73" cy="94"/>
              </a:xfrm>
              <a:custGeom>
                <a:gdLst>
                  <a:gd name="T0" fmla="*/ 0 w 31"/>
                  <a:gd name="T1" fmla="*/ 0 h 40"/>
                  <a:gd name="T2" fmla="*/ 0 w 31"/>
                  <a:gd name="T3" fmla="*/ 33 h 40"/>
                  <a:gd name="T4" fmla="*/ 0 w 31"/>
                  <a:gd name="T5" fmla="*/ 33 h 40"/>
                  <a:gd name="T6" fmla="*/ 2 w 31"/>
                  <a:gd name="T7" fmla="*/ 34 h 40"/>
                  <a:gd name="T8" fmla="*/ 4 w 31"/>
                  <a:gd name="T9" fmla="*/ 35 h 40"/>
                  <a:gd name="T10" fmla="*/ 5 w 31"/>
                  <a:gd name="T11" fmla="*/ 36 h 40"/>
                  <a:gd name="T12" fmla="*/ 6 w 31"/>
                  <a:gd name="T13" fmla="*/ 36 h 40"/>
                  <a:gd name="T14" fmla="*/ 6 w 31"/>
                  <a:gd name="T15" fmla="*/ 36 h 40"/>
                  <a:gd name="T16" fmla="*/ 7 w 31"/>
                  <a:gd name="T17" fmla="*/ 36 h 40"/>
                  <a:gd name="T18" fmla="*/ 7 w 31"/>
                  <a:gd name="T19" fmla="*/ 36 h 40"/>
                  <a:gd name="T20" fmla="*/ 10 w 31"/>
                  <a:gd name="T21" fmla="*/ 36 h 40"/>
                  <a:gd name="T22" fmla="*/ 12 w 31"/>
                  <a:gd name="T23" fmla="*/ 36 h 40"/>
                  <a:gd name="T24" fmla="*/ 16 w 31"/>
                  <a:gd name="T25" fmla="*/ 38 h 40"/>
                  <a:gd name="T26" fmla="*/ 17 w 31"/>
                  <a:gd name="T27" fmla="*/ 38 h 40"/>
                  <a:gd name="T28" fmla="*/ 18 w 31"/>
                  <a:gd name="T29" fmla="*/ 39 h 40"/>
                  <a:gd name="T30" fmla="*/ 18 w 31"/>
                  <a:gd name="T31" fmla="*/ 39 h 40"/>
                  <a:gd name="T32" fmla="*/ 18 w 31"/>
                  <a:gd name="T33" fmla="*/ 40 h 40"/>
                  <a:gd name="T34" fmla="*/ 18 w 31"/>
                  <a:gd name="T35" fmla="*/ 39 h 40"/>
                  <a:gd name="T36" fmla="*/ 19 w 31"/>
                  <a:gd name="T37" fmla="*/ 39 h 40"/>
                  <a:gd name="T38" fmla="*/ 20 w 31"/>
                  <a:gd name="T39" fmla="*/ 39 h 40"/>
                  <a:gd name="T40" fmla="*/ 21 w 31"/>
                  <a:gd name="T41" fmla="*/ 38 h 40"/>
                  <a:gd name="T42" fmla="*/ 21 w 31"/>
                  <a:gd name="T43" fmla="*/ 38 h 40"/>
                  <a:gd name="T44" fmla="*/ 22 w 31"/>
                  <a:gd name="T45" fmla="*/ 38 h 40"/>
                  <a:gd name="T46" fmla="*/ 28 w 31"/>
                  <a:gd name="T47" fmla="*/ 36 h 40"/>
                  <a:gd name="T48" fmla="*/ 30 w 31"/>
                  <a:gd name="T49" fmla="*/ 37 h 40"/>
                  <a:gd name="T50" fmla="*/ 31 w 31"/>
                  <a:gd name="T51" fmla="*/ 37 h 40"/>
                  <a:gd name="T52" fmla="*/ 30 w 31"/>
                  <a:gd name="T53" fmla="*/ 35 h 40"/>
                  <a:gd name="T54" fmla="*/ 30 w 31"/>
                  <a:gd name="T55" fmla="*/ 33 h 40"/>
                  <a:gd name="T56" fmla="*/ 30 w 31"/>
                  <a:gd name="T57" fmla="*/ 32 h 40"/>
                  <a:gd name="T58" fmla="*/ 25 w 31"/>
                  <a:gd name="T59" fmla="*/ 28 h 40"/>
                  <a:gd name="T60" fmla="*/ 20 w 31"/>
                  <a:gd name="T61" fmla="*/ 25 h 40"/>
                  <a:gd name="T62" fmla="*/ 19 w 31"/>
                  <a:gd name="T63" fmla="*/ 25 h 40"/>
                  <a:gd name="T64" fmla="*/ 15 w 31"/>
                  <a:gd name="T65" fmla="*/ 23 h 40"/>
                  <a:gd name="T66" fmla="*/ 15 w 31"/>
                  <a:gd name="T67" fmla="*/ 23 h 40"/>
                  <a:gd name="T68" fmla="*/ 15 w 31"/>
                  <a:gd name="T69" fmla="*/ 23 h 40"/>
                  <a:gd name="T70" fmla="*/ 14 w 31"/>
                  <a:gd name="T71" fmla="*/ 22 h 40"/>
                  <a:gd name="T72" fmla="*/ 13 w 31"/>
                  <a:gd name="T73" fmla="*/ 20 h 40"/>
                  <a:gd name="T74" fmla="*/ 13 w 31"/>
                  <a:gd name="T75" fmla="*/ 19 h 40"/>
                  <a:gd name="T76" fmla="*/ 12 w 31"/>
                  <a:gd name="T77" fmla="*/ 18 h 40"/>
                  <a:gd name="T78" fmla="*/ 12 w 31"/>
                  <a:gd name="T79" fmla="*/ 14 h 40"/>
                  <a:gd name="T80" fmla="*/ 12 w 31"/>
                  <a:gd name="T81" fmla="*/ 13 h 40"/>
                  <a:gd name="T82" fmla="*/ 13 w 31"/>
                  <a:gd name="T83" fmla="*/ 12 h 40"/>
                  <a:gd name="T84" fmla="*/ 13 w 31"/>
                  <a:gd name="T85" fmla="*/ 12 h 40"/>
                  <a:gd name="T86" fmla="*/ 0 w 31"/>
                  <a:gd name="T87"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40">
                    <a:moveTo>
                      <a:pt x="0" y="0"/>
                    </a:moveTo>
                    <a:cubicBezTo>
                      <a:pt x="0" y="33"/>
                      <a:pt x="0" y="33"/>
                      <a:pt x="0" y="33"/>
                    </a:cubicBezTo>
                    <a:cubicBezTo>
                      <a:pt x="0" y="33"/>
                      <a:pt x="0" y="33"/>
                      <a:pt x="0" y="33"/>
                    </a:cubicBezTo>
                    <a:cubicBezTo>
                      <a:pt x="1" y="33"/>
                      <a:pt x="1" y="34"/>
                      <a:pt x="2" y="34"/>
                    </a:cubicBezTo>
                    <a:cubicBezTo>
                      <a:pt x="3" y="34"/>
                      <a:pt x="3" y="35"/>
                      <a:pt x="4" y="35"/>
                    </a:cubicBezTo>
                    <a:cubicBezTo>
                      <a:pt x="4" y="36"/>
                      <a:pt x="5" y="36"/>
                      <a:pt x="5" y="36"/>
                    </a:cubicBezTo>
                    <a:cubicBezTo>
                      <a:pt x="6" y="36"/>
                      <a:pt x="6" y="36"/>
                      <a:pt x="6" y="36"/>
                    </a:cubicBezTo>
                    <a:cubicBezTo>
                      <a:pt x="6" y="36"/>
                      <a:pt x="6" y="36"/>
                      <a:pt x="6" y="36"/>
                    </a:cubicBezTo>
                    <a:cubicBezTo>
                      <a:pt x="7" y="36"/>
                      <a:pt x="7" y="36"/>
                      <a:pt x="7" y="36"/>
                    </a:cubicBezTo>
                    <a:cubicBezTo>
                      <a:pt x="7" y="36"/>
                      <a:pt x="7" y="36"/>
                      <a:pt x="7" y="36"/>
                    </a:cubicBezTo>
                    <a:cubicBezTo>
                      <a:pt x="8" y="36"/>
                      <a:pt x="9" y="36"/>
                      <a:pt x="10" y="36"/>
                    </a:cubicBezTo>
                    <a:cubicBezTo>
                      <a:pt x="11" y="36"/>
                      <a:pt x="11" y="36"/>
                      <a:pt x="12" y="36"/>
                    </a:cubicBezTo>
                    <a:cubicBezTo>
                      <a:pt x="13" y="36"/>
                      <a:pt x="14" y="37"/>
                      <a:pt x="16" y="38"/>
                    </a:cubicBezTo>
                    <a:cubicBezTo>
                      <a:pt x="16" y="38"/>
                      <a:pt x="17" y="38"/>
                      <a:pt x="17" y="38"/>
                    </a:cubicBezTo>
                    <a:cubicBezTo>
                      <a:pt x="18" y="39"/>
                      <a:pt x="18" y="39"/>
                      <a:pt x="18" y="39"/>
                    </a:cubicBezTo>
                    <a:cubicBezTo>
                      <a:pt x="18" y="39"/>
                      <a:pt x="18" y="39"/>
                      <a:pt x="18" y="39"/>
                    </a:cubicBezTo>
                    <a:cubicBezTo>
                      <a:pt x="18" y="40"/>
                      <a:pt x="18" y="40"/>
                      <a:pt x="18" y="40"/>
                    </a:cubicBezTo>
                    <a:cubicBezTo>
                      <a:pt x="18" y="39"/>
                      <a:pt x="18" y="39"/>
                      <a:pt x="18" y="39"/>
                    </a:cubicBezTo>
                    <a:cubicBezTo>
                      <a:pt x="19" y="39"/>
                      <a:pt x="19" y="39"/>
                      <a:pt x="19" y="39"/>
                    </a:cubicBezTo>
                    <a:cubicBezTo>
                      <a:pt x="19" y="39"/>
                      <a:pt x="19" y="39"/>
                      <a:pt x="20" y="39"/>
                    </a:cubicBezTo>
                    <a:cubicBezTo>
                      <a:pt x="20" y="38"/>
                      <a:pt x="21" y="38"/>
                      <a:pt x="21" y="38"/>
                    </a:cubicBezTo>
                    <a:cubicBezTo>
                      <a:pt x="21" y="38"/>
                      <a:pt x="21" y="38"/>
                      <a:pt x="21" y="38"/>
                    </a:cubicBezTo>
                    <a:cubicBezTo>
                      <a:pt x="22" y="38"/>
                      <a:pt x="22" y="38"/>
                      <a:pt x="22" y="38"/>
                    </a:cubicBezTo>
                    <a:cubicBezTo>
                      <a:pt x="24" y="37"/>
                      <a:pt x="26" y="36"/>
                      <a:pt x="28" y="36"/>
                    </a:cubicBezTo>
                    <a:cubicBezTo>
                      <a:pt x="29" y="36"/>
                      <a:pt x="30" y="36"/>
                      <a:pt x="30" y="37"/>
                    </a:cubicBezTo>
                    <a:cubicBezTo>
                      <a:pt x="31" y="37"/>
                      <a:pt x="31" y="37"/>
                      <a:pt x="31" y="37"/>
                    </a:cubicBezTo>
                    <a:cubicBezTo>
                      <a:pt x="31" y="36"/>
                      <a:pt x="31" y="35"/>
                      <a:pt x="30" y="35"/>
                    </a:cubicBezTo>
                    <a:cubicBezTo>
                      <a:pt x="30" y="34"/>
                      <a:pt x="30" y="33"/>
                      <a:pt x="30" y="33"/>
                    </a:cubicBezTo>
                    <a:cubicBezTo>
                      <a:pt x="30" y="32"/>
                      <a:pt x="30" y="32"/>
                      <a:pt x="30" y="32"/>
                    </a:cubicBezTo>
                    <a:cubicBezTo>
                      <a:pt x="29" y="31"/>
                      <a:pt x="27" y="29"/>
                      <a:pt x="25" y="28"/>
                    </a:cubicBezTo>
                    <a:cubicBezTo>
                      <a:pt x="23" y="27"/>
                      <a:pt x="21" y="26"/>
                      <a:pt x="20" y="25"/>
                    </a:cubicBezTo>
                    <a:cubicBezTo>
                      <a:pt x="19" y="25"/>
                      <a:pt x="19" y="25"/>
                      <a:pt x="19" y="25"/>
                    </a:cubicBezTo>
                    <a:cubicBezTo>
                      <a:pt x="18" y="24"/>
                      <a:pt x="17" y="24"/>
                      <a:pt x="15" y="23"/>
                    </a:cubicBezTo>
                    <a:cubicBezTo>
                      <a:pt x="15" y="23"/>
                      <a:pt x="15" y="23"/>
                      <a:pt x="15" y="23"/>
                    </a:cubicBezTo>
                    <a:cubicBezTo>
                      <a:pt x="15" y="23"/>
                      <a:pt x="15" y="23"/>
                      <a:pt x="15" y="23"/>
                    </a:cubicBezTo>
                    <a:cubicBezTo>
                      <a:pt x="14" y="22"/>
                      <a:pt x="14" y="22"/>
                      <a:pt x="14" y="22"/>
                    </a:cubicBezTo>
                    <a:cubicBezTo>
                      <a:pt x="14" y="22"/>
                      <a:pt x="13" y="21"/>
                      <a:pt x="13" y="20"/>
                    </a:cubicBezTo>
                    <a:cubicBezTo>
                      <a:pt x="13" y="19"/>
                      <a:pt x="13" y="19"/>
                      <a:pt x="13" y="19"/>
                    </a:cubicBezTo>
                    <a:cubicBezTo>
                      <a:pt x="12" y="19"/>
                      <a:pt x="12" y="18"/>
                      <a:pt x="12" y="18"/>
                    </a:cubicBezTo>
                    <a:cubicBezTo>
                      <a:pt x="12" y="16"/>
                      <a:pt x="11" y="15"/>
                      <a:pt x="12" y="14"/>
                    </a:cubicBezTo>
                    <a:cubicBezTo>
                      <a:pt x="12" y="14"/>
                      <a:pt x="12" y="13"/>
                      <a:pt x="12" y="13"/>
                    </a:cubicBezTo>
                    <a:cubicBezTo>
                      <a:pt x="13" y="12"/>
                      <a:pt x="13" y="12"/>
                      <a:pt x="13" y="12"/>
                    </a:cubicBezTo>
                    <a:cubicBezTo>
                      <a:pt x="13" y="12"/>
                      <a:pt x="13" y="12"/>
                      <a:pt x="13" y="1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386"/>
              <p:cNvSpPr/>
              <p:nvPr/>
            </p:nvSpPr>
            <p:spPr bwMode="auto">
              <a:xfrm>
                <a:off x="3878" y="3368"/>
                <a:ext cx="9" cy="7"/>
              </a:xfrm>
              <a:custGeom>
                <a:gdLst>
                  <a:gd name="T0" fmla="*/ 3 w 4"/>
                  <a:gd name="T1" fmla="*/ 0 h 3"/>
                  <a:gd name="T2" fmla="*/ 0 w 4"/>
                  <a:gd name="T3" fmla="*/ 2 h 3"/>
                  <a:gd name="T4" fmla="*/ 0 w 4"/>
                  <a:gd name="T5" fmla="*/ 3 h 3"/>
                  <a:gd name="T6" fmla="*/ 4 w 4"/>
                  <a:gd name="T7" fmla="*/ 3 h 3"/>
                  <a:gd name="T8" fmla="*/ 3 w 4"/>
                  <a:gd name="T9" fmla="*/ 0 h 3"/>
                </a:gdLst>
                <a:cxnLst>
                  <a:cxn ang="0">
                    <a:pos x="T0" y="T1"/>
                  </a:cxn>
                  <a:cxn ang="0">
                    <a:pos x="T2" y="T3"/>
                  </a:cxn>
                  <a:cxn ang="0">
                    <a:pos x="T4" y="T5"/>
                  </a:cxn>
                  <a:cxn ang="0">
                    <a:pos x="T6" y="T7"/>
                  </a:cxn>
                  <a:cxn ang="0">
                    <a:pos x="T8" y="T9"/>
                  </a:cxn>
                </a:cxnLst>
                <a:rect l="0" t="0" r="r" b="b"/>
                <a:pathLst>
                  <a:path w="4" h="3">
                    <a:moveTo>
                      <a:pt x="3" y="0"/>
                    </a:moveTo>
                    <a:cubicBezTo>
                      <a:pt x="2" y="1"/>
                      <a:pt x="1" y="2"/>
                      <a:pt x="0" y="2"/>
                    </a:cubicBezTo>
                    <a:cubicBezTo>
                      <a:pt x="0" y="3"/>
                      <a:pt x="0" y="3"/>
                      <a:pt x="0" y="3"/>
                    </a:cubicBezTo>
                    <a:cubicBezTo>
                      <a:pt x="4" y="3"/>
                      <a:pt x="4" y="3"/>
                      <a:pt x="4" y="3"/>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Freeform 387"/>
              <p:cNvSpPr/>
              <p:nvPr/>
            </p:nvSpPr>
            <p:spPr bwMode="auto">
              <a:xfrm>
                <a:off x="3665" y="1323"/>
                <a:ext cx="43" cy="45"/>
              </a:xfrm>
              <a:custGeom>
                <a:gdLst>
                  <a:gd name="T0" fmla="*/ 13 w 18"/>
                  <a:gd name="T1" fmla="*/ 0 h 19"/>
                  <a:gd name="T2" fmla="*/ 13 w 18"/>
                  <a:gd name="T3" fmla="*/ 5 h 19"/>
                  <a:gd name="T4" fmla="*/ 13 w 18"/>
                  <a:gd name="T5" fmla="*/ 6 h 19"/>
                  <a:gd name="T6" fmla="*/ 12 w 18"/>
                  <a:gd name="T7" fmla="*/ 6 h 19"/>
                  <a:gd name="T8" fmla="*/ 6 w 18"/>
                  <a:gd name="T9" fmla="*/ 9 h 19"/>
                  <a:gd name="T10" fmla="*/ 2 w 18"/>
                  <a:gd name="T11" fmla="*/ 10 h 19"/>
                  <a:gd name="T12" fmla="*/ 0 w 18"/>
                  <a:gd name="T13" fmla="*/ 10 h 19"/>
                  <a:gd name="T14" fmla="*/ 0 w 18"/>
                  <a:gd name="T15" fmla="*/ 10 h 19"/>
                  <a:gd name="T16" fmla="*/ 0 w 18"/>
                  <a:gd name="T17" fmla="*/ 17 h 19"/>
                  <a:gd name="T18" fmla="*/ 2 w 18"/>
                  <a:gd name="T19" fmla="*/ 17 h 19"/>
                  <a:gd name="T20" fmla="*/ 7 w 18"/>
                  <a:gd name="T21" fmla="*/ 19 h 19"/>
                  <a:gd name="T22" fmla="*/ 7 w 18"/>
                  <a:gd name="T23" fmla="*/ 19 h 19"/>
                  <a:gd name="T24" fmla="*/ 10 w 18"/>
                  <a:gd name="T25" fmla="*/ 15 h 19"/>
                  <a:gd name="T26" fmla="*/ 11 w 18"/>
                  <a:gd name="T27" fmla="*/ 14 h 19"/>
                  <a:gd name="T28" fmla="*/ 12 w 18"/>
                  <a:gd name="T29" fmla="*/ 13 h 19"/>
                  <a:gd name="T30" fmla="*/ 12 w 18"/>
                  <a:gd name="T31" fmla="*/ 12 h 19"/>
                  <a:gd name="T32" fmla="*/ 12 w 18"/>
                  <a:gd name="T33" fmla="*/ 12 h 19"/>
                  <a:gd name="T34" fmla="*/ 12 w 18"/>
                  <a:gd name="T35" fmla="*/ 12 h 19"/>
                  <a:gd name="T36" fmla="*/ 12 w 18"/>
                  <a:gd name="T37" fmla="*/ 11 h 19"/>
                  <a:gd name="T38" fmla="*/ 12 w 18"/>
                  <a:gd name="T39" fmla="*/ 11 h 19"/>
                  <a:gd name="T40" fmla="*/ 12 w 18"/>
                  <a:gd name="T41" fmla="*/ 8 h 19"/>
                  <a:gd name="T42" fmla="*/ 15 w 18"/>
                  <a:gd name="T43" fmla="*/ 5 h 19"/>
                  <a:gd name="T44" fmla="*/ 16 w 18"/>
                  <a:gd name="T45" fmla="*/ 5 h 19"/>
                  <a:gd name="T46" fmla="*/ 18 w 18"/>
                  <a:gd name="T47" fmla="*/ 3 h 19"/>
                  <a:gd name="T48" fmla="*/ 18 w 18"/>
                  <a:gd name="T49" fmla="*/ 3 h 19"/>
                  <a:gd name="T50" fmla="*/ 18 w 18"/>
                  <a:gd name="T51" fmla="*/ 2 h 19"/>
                  <a:gd name="T52" fmla="*/ 17 w 18"/>
                  <a:gd name="T53" fmla="*/ 2 h 19"/>
                  <a:gd name="T54" fmla="*/ 17 w 18"/>
                  <a:gd name="T55" fmla="*/ 2 h 19"/>
                  <a:gd name="T56" fmla="*/ 16 w 18"/>
                  <a:gd name="T57" fmla="*/ 1 h 19"/>
                  <a:gd name="T58" fmla="*/ 16 w 18"/>
                  <a:gd name="T59" fmla="*/ 1 h 19"/>
                  <a:gd name="T60" fmla="*/ 15 w 18"/>
                  <a:gd name="T61" fmla="*/ 0 h 19"/>
                  <a:gd name="T62" fmla="*/ 15 w 18"/>
                  <a:gd name="T63" fmla="*/ 0 h 19"/>
                  <a:gd name="T64" fmla="*/ 14 w 18"/>
                  <a:gd name="T65" fmla="*/ 0 h 19"/>
                  <a:gd name="T66" fmla="*/ 13 w 18"/>
                  <a:gd name="T67"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9">
                    <a:moveTo>
                      <a:pt x="13" y="0"/>
                    </a:moveTo>
                    <a:cubicBezTo>
                      <a:pt x="13" y="2"/>
                      <a:pt x="13" y="3"/>
                      <a:pt x="13" y="5"/>
                    </a:cubicBezTo>
                    <a:cubicBezTo>
                      <a:pt x="13" y="6"/>
                      <a:pt x="13" y="6"/>
                      <a:pt x="13" y="6"/>
                    </a:cubicBezTo>
                    <a:cubicBezTo>
                      <a:pt x="12" y="6"/>
                      <a:pt x="12" y="6"/>
                      <a:pt x="12" y="6"/>
                    </a:cubicBezTo>
                    <a:cubicBezTo>
                      <a:pt x="11" y="8"/>
                      <a:pt x="9" y="9"/>
                      <a:pt x="6" y="9"/>
                    </a:cubicBezTo>
                    <a:cubicBezTo>
                      <a:pt x="5" y="10"/>
                      <a:pt x="4" y="10"/>
                      <a:pt x="2" y="10"/>
                    </a:cubicBezTo>
                    <a:cubicBezTo>
                      <a:pt x="0" y="10"/>
                      <a:pt x="0" y="10"/>
                      <a:pt x="0" y="10"/>
                    </a:cubicBezTo>
                    <a:cubicBezTo>
                      <a:pt x="0" y="10"/>
                      <a:pt x="0" y="10"/>
                      <a:pt x="0" y="10"/>
                    </a:cubicBezTo>
                    <a:cubicBezTo>
                      <a:pt x="0" y="17"/>
                      <a:pt x="0" y="17"/>
                      <a:pt x="0" y="17"/>
                    </a:cubicBezTo>
                    <a:cubicBezTo>
                      <a:pt x="1" y="17"/>
                      <a:pt x="1" y="17"/>
                      <a:pt x="2" y="17"/>
                    </a:cubicBezTo>
                    <a:cubicBezTo>
                      <a:pt x="4" y="18"/>
                      <a:pt x="5" y="19"/>
                      <a:pt x="7" y="19"/>
                    </a:cubicBezTo>
                    <a:cubicBezTo>
                      <a:pt x="7" y="19"/>
                      <a:pt x="7" y="19"/>
                      <a:pt x="7" y="19"/>
                    </a:cubicBezTo>
                    <a:cubicBezTo>
                      <a:pt x="8" y="18"/>
                      <a:pt x="10" y="16"/>
                      <a:pt x="10" y="15"/>
                    </a:cubicBezTo>
                    <a:cubicBezTo>
                      <a:pt x="11" y="14"/>
                      <a:pt x="11" y="14"/>
                      <a:pt x="11" y="14"/>
                    </a:cubicBezTo>
                    <a:cubicBezTo>
                      <a:pt x="11" y="14"/>
                      <a:pt x="12" y="13"/>
                      <a:pt x="12" y="13"/>
                    </a:cubicBezTo>
                    <a:cubicBezTo>
                      <a:pt x="12" y="12"/>
                      <a:pt x="12" y="12"/>
                      <a:pt x="12" y="12"/>
                    </a:cubicBezTo>
                    <a:cubicBezTo>
                      <a:pt x="12" y="12"/>
                      <a:pt x="12" y="13"/>
                      <a:pt x="12" y="12"/>
                    </a:cubicBezTo>
                    <a:cubicBezTo>
                      <a:pt x="12" y="12"/>
                      <a:pt x="12" y="12"/>
                      <a:pt x="12" y="12"/>
                    </a:cubicBezTo>
                    <a:cubicBezTo>
                      <a:pt x="12" y="11"/>
                      <a:pt x="12" y="11"/>
                      <a:pt x="12" y="11"/>
                    </a:cubicBezTo>
                    <a:cubicBezTo>
                      <a:pt x="12" y="11"/>
                      <a:pt x="12" y="11"/>
                      <a:pt x="12" y="11"/>
                    </a:cubicBezTo>
                    <a:cubicBezTo>
                      <a:pt x="12" y="10"/>
                      <a:pt x="12" y="9"/>
                      <a:pt x="12" y="8"/>
                    </a:cubicBezTo>
                    <a:cubicBezTo>
                      <a:pt x="13" y="7"/>
                      <a:pt x="13" y="6"/>
                      <a:pt x="15" y="5"/>
                    </a:cubicBezTo>
                    <a:cubicBezTo>
                      <a:pt x="16" y="5"/>
                      <a:pt x="16" y="5"/>
                      <a:pt x="16" y="5"/>
                    </a:cubicBezTo>
                    <a:cubicBezTo>
                      <a:pt x="17" y="4"/>
                      <a:pt x="17" y="4"/>
                      <a:pt x="18" y="3"/>
                    </a:cubicBezTo>
                    <a:cubicBezTo>
                      <a:pt x="18" y="3"/>
                      <a:pt x="18" y="3"/>
                      <a:pt x="18" y="3"/>
                    </a:cubicBezTo>
                    <a:cubicBezTo>
                      <a:pt x="18" y="2"/>
                      <a:pt x="18" y="2"/>
                      <a:pt x="18" y="2"/>
                    </a:cubicBezTo>
                    <a:cubicBezTo>
                      <a:pt x="17" y="2"/>
                      <a:pt x="17" y="2"/>
                      <a:pt x="17" y="2"/>
                    </a:cubicBezTo>
                    <a:cubicBezTo>
                      <a:pt x="17" y="2"/>
                      <a:pt x="17" y="2"/>
                      <a:pt x="17" y="2"/>
                    </a:cubicBezTo>
                    <a:cubicBezTo>
                      <a:pt x="16" y="1"/>
                      <a:pt x="16" y="1"/>
                      <a:pt x="16" y="1"/>
                    </a:cubicBezTo>
                    <a:cubicBezTo>
                      <a:pt x="16" y="1"/>
                      <a:pt x="16" y="1"/>
                      <a:pt x="16" y="1"/>
                    </a:cubicBezTo>
                    <a:cubicBezTo>
                      <a:pt x="15" y="0"/>
                      <a:pt x="15" y="0"/>
                      <a:pt x="15" y="0"/>
                    </a:cubicBezTo>
                    <a:cubicBezTo>
                      <a:pt x="15" y="0"/>
                      <a:pt x="15" y="0"/>
                      <a:pt x="15" y="0"/>
                    </a:cubicBezTo>
                    <a:cubicBezTo>
                      <a:pt x="14" y="0"/>
                      <a:pt x="14" y="0"/>
                      <a:pt x="14" y="0"/>
                    </a:cubicBez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Freeform 388"/>
              <p:cNvSpPr/>
              <p:nvPr/>
            </p:nvSpPr>
            <p:spPr bwMode="auto">
              <a:xfrm>
                <a:off x="3665" y="1193"/>
                <a:ext cx="135" cy="142"/>
              </a:xfrm>
              <a:custGeom>
                <a:gdLst>
                  <a:gd name="T0" fmla="*/ 31 w 57"/>
                  <a:gd name="T1" fmla="*/ 0 h 60"/>
                  <a:gd name="T2" fmla="*/ 30 w 57"/>
                  <a:gd name="T3" fmla="*/ 0 h 60"/>
                  <a:gd name="T4" fmla="*/ 17 w 57"/>
                  <a:gd name="T5" fmla="*/ 1 h 60"/>
                  <a:gd name="T6" fmla="*/ 14 w 57"/>
                  <a:gd name="T7" fmla="*/ 3 h 60"/>
                  <a:gd name="T8" fmla="*/ 13 w 57"/>
                  <a:gd name="T9" fmla="*/ 4 h 60"/>
                  <a:gd name="T10" fmla="*/ 10 w 57"/>
                  <a:gd name="T11" fmla="*/ 5 h 60"/>
                  <a:gd name="T12" fmla="*/ 0 w 57"/>
                  <a:gd name="T13" fmla="*/ 11 h 60"/>
                  <a:gd name="T14" fmla="*/ 0 w 57"/>
                  <a:gd name="T15" fmla="*/ 60 h 60"/>
                  <a:gd name="T16" fmla="*/ 2 w 57"/>
                  <a:gd name="T17" fmla="*/ 60 h 60"/>
                  <a:gd name="T18" fmla="*/ 6 w 57"/>
                  <a:gd name="T19" fmla="*/ 60 h 60"/>
                  <a:gd name="T20" fmla="*/ 8 w 57"/>
                  <a:gd name="T21" fmla="*/ 59 h 60"/>
                  <a:gd name="T22" fmla="*/ 9 w 57"/>
                  <a:gd name="T23" fmla="*/ 57 h 60"/>
                  <a:gd name="T24" fmla="*/ 8 w 57"/>
                  <a:gd name="T25" fmla="*/ 56 h 60"/>
                  <a:gd name="T26" fmla="*/ 7 w 57"/>
                  <a:gd name="T27" fmla="*/ 53 h 60"/>
                  <a:gd name="T28" fmla="*/ 9 w 57"/>
                  <a:gd name="T29" fmla="*/ 51 h 60"/>
                  <a:gd name="T30" fmla="*/ 11 w 57"/>
                  <a:gd name="T31" fmla="*/ 50 h 60"/>
                  <a:gd name="T32" fmla="*/ 12 w 57"/>
                  <a:gd name="T33" fmla="*/ 50 h 60"/>
                  <a:gd name="T34" fmla="*/ 14 w 57"/>
                  <a:gd name="T35" fmla="*/ 50 h 60"/>
                  <a:gd name="T36" fmla="*/ 15 w 57"/>
                  <a:gd name="T37" fmla="*/ 50 h 60"/>
                  <a:gd name="T38" fmla="*/ 15 w 57"/>
                  <a:gd name="T39" fmla="*/ 49 h 60"/>
                  <a:gd name="T40" fmla="*/ 16 w 57"/>
                  <a:gd name="T41" fmla="*/ 48 h 60"/>
                  <a:gd name="T42" fmla="*/ 16 w 57"/>
                  <a:gd name="T43" fmla="*/ 48 h 60"/>
                  <a:gd name="T44" fmla="*/ 19 w 57"/>
                  <a:gd name="T45" fmla="*/ 46 h 60"/>
                  <a:gd name="T46" fmla="*/ 24 w 57"/>
                  <a:gd name="T47" fmla="*/ 45 h 60"/>
                  <a:gd name="T48" fmla="*/ 30 w 57"/>
                  <a:gd name="T49" fmla="*/ 43 h 60"/>
                  <a:gd name="T50" fmla="*/ 34 w 57"/>
                  <a:gd name="T51" fmla="*/ 42 h 60"/>
                  <a:gd name="T52" fmla="*/ 35 w 57"/>
                  <a:gd name="T53" fmla="*/ 43 h 60"/>
                  <a:gd name="T54" fmla="*/ 35 w 57"/>
                  <a:gd name="T55" fmla="*/ 43 h 60"/>
                  <a:gd name="T56" fmla="*/ 35 w 57"/>
                  <a:gd name="T57" fmla="*/ 43 h 60"/>
                  <a:gd name="T58" fmla="*/ 37 w 57"/>
                  <a:gd name="T59" fmla="*/ 45 h 60"/>
                  <a:gd name="T60" fmla="*/ 38 w 57"/>
                  <a:gd name="T61" fmla="*/ 45 h 60"/>
                  <a:gd name="T62" fmla="*/ 45 w 57"/>
                  <a:gd name="T63" fmla="*/ 44 h 60"/>
                  <a:gd name="T64" fmla="*/ 40 w 57"/>
                  <a:gd name="T65" fmla="*/ 37 h 60"/>
                  <a:gd name="T66" fmla="*/ 40 w 57"/>
                  <a:gd name="T67" fmla="*/ 37 h 60"/>
                  <a:gd name="T68" fmla="*/ 39 w 57"/>
                  <a:gd name="T69" fmla="*/ 36 h 60"/>
                  <a:gd name="T70" fmla="*/ 39 w 57"/>
                  <a:gd name="T71" fmla="*/ 36 h 60"/>
                  <a:gd name="T72" fmla="*/ 38 w 57"/>
                  <a:gd name="T73" fmla="*/ 36 h 60"/>
                  <a:gd name="T74" fmla="*/ 37 w 57"/>
                  <a:gd name="T75" fmla="*/ 36 h 60"/>
                  <a:gd name="T76" fmla="*/ 36 w 57"/>
                  <a:gd name="T77" fmla="*/ 36 h 60"/>
                  <a:gd name="T78" fmla="*/ 36 w 57"/>
                  <a:gd name="T79" fmla="*/ 36 h 60"/>
                  <a:gd name="T80" fmla="*/ 42 w 57"/>
                  <a:gd name="T81" fmla="*/ 32 h 60"/>
                  <a:gd name="T82" fmla="*/ 44 w 57"/>
                  <a:gd name="T83" fmla="*/ 27 h 60"/>
                  <a:gd name="T84" fmla="*/ 44 w 57"/>
                  <a:gd name="T85" fmla="*/ 23 h 60"/>
                  <a:gd name="T86" fmla="*/ 44 w 57"/>
                  <a:gd name="T87" fmla="*/ 19 h 60"/>
                  <a:gd name="T88" fmla="*/ 53 w 57"/>
                  <a:gd name="T89" fmla="*/ 14 h 60"/>
                  <a:gd name="T90" fmla="*/ 55 w 57"/>
                  <a:gd name="T91" fmla="*/ 15 h 60"/>
                  <a:gd name="T92" fmla="*/ 57 w 57"/>
                  <a:gd name="T93" fmla="*/ 8 h 60"/>
                  <a:gd name="T94" fmla="*/ 40 w 57"/>
                  <a:gd name="T95" fmla="*/ 3 h 60"/>
                  <a:gd name="T96" fmla="*/ 35 w 57"/>
                  <a:gd name="T97" fmla="*/ 1 h 60"/>
                  <a:gd name="T98" fmla="*/ 33 w 57"/>
                  <a:gd name="T99" fmla="*/ 0 h 60"/>
                  <a:gd name="T100" fmla="*/ 32 w 57"/>
                  <a:gd name="T101" fmla="*/ 0 h 60"/>
                  <a:gd name="T102" fmla="*/ 31 w 57"/>
                  <a:gd name="T103" fmla="*/ 0 h 60"/>
                  <a:gd name="T104" fmla="*/ 31 w 57"/>
                  <a:gd name="T105" fmla="*/ 0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 h="60">
                    <a:moveTo>
                      <a:pt x="31" y="0"/>
                    </a:moveTo>
                    <a:cubicBezTo>
                      <a:pt x="31" y="0"/>
                      <a:pt x="30" y="0"/>
                      <a:pt x="30" y="0"/>
                    </a:cubicBezTo>
                    <a:cubicBezTo>
                      <a:pt x="17" y="1"/>
                      <a:pt x="17" y="1"/>
                      <a:pt x="17" y="1"/>
                    </a:cubicBezTo>
                    <a:cubicBezTo>
                      <a:pt x="16" y="1"/>
                      <a:pt x="15" y="2"/>
                      <a:pt x="14" y="3"/>
                    </a:cubicBezTo>
                    <a:cubicBezTo>
                      <a:pt x="14" y="3"/>
                      <a:pt x="13" y="4"/>
                      <a:pt x="13" y="4"/>
                    </a:cubicBezTo>
                    <a:cubicBezTo>
                      <a:pt x="12" y="4"/>
                      <a:pt x="11" y="5"/>
                      <a:pt x="10" y="5"/>
                    </a:cubicBezTo>
                    <a:cubicBezTo>
                      <a:pt x="8" y="7"/>
                      <a:pt x="4" y="10"/>
                      <a:pt x="0" y="11"/>
                    </a:cubicBezTo>
                    <a:cubicBezTo>
                      <a:pt x="0" y="60"/>
                      <a:pt x="0" y="60"/>
                      <a:pt x="0" y="60"/>
                    </a:cubicBezTo>
                    <a:cubicBezTo>
                      <a:pt x="2" y="60"/>
                      <a:pt x="2" y="60"/>
                      <a:pt x="2" y="60"/>
                    </a:cubicBezTo>
                    <a:cubicBezTo>
                      <a:pt x="3" y="60"/>
                      <a:pt x="4" y="60"/>
                      <a:pt x="6" y="60"/>
                    </a:cubicBezTo>
                    <a:cubicBezTo>
                      <a:pt x="6" y="60"/>
                      <a:pt x="8" y="59"/>
                      <a:pt x="8" y="59"/>
                    </a:cubicBezTo>
                    <a:cubicBezTo>
                      <a:pt x="8" y="58"/>
                      <a:pt x="9" y="57"/>
                      <a:pt x="9" y="57"/>
                    </a:cubicBezTo>
                    <a:cubicBezTo>
                      <a:pt x="8" y="56"/>
                      <a:pt x="8" y="56"/>
                      <a:pt x="8" y="56"/>
                    </a:cubicBezTo>
                    <a:cubicBezTo>
                      <a:pt x="7" y="55"/>
                      <a:pt x="7" y="54"/>
                      <a:pt x="7" y="53"/>
                    </a:cubicBezTo>
                    <a:cubicBezTo>
                      <a:pt x="7" y="53"/>
                      <a:pt x="7" y="51"/>
                      <a:pt x="9" y="51"/>
                    </a:cubicBezTo>
                    <a:cubicBezTo>
                      <a:pt x="10" y="50"/>
                      <a:pt x="11" y="50"/>
                      <a:pt x="11" y="50"/>
                    </a:cubicBezTo>
                    <a:cubicBezTo>
                      <a:pt x="12" y="50"/>
                      <a:pt x="12" y="50"/>
                      <a:pt x="12" y="50"/>
                    </a:cubicBezTo>
                    <a:cubicBezTo>
                      <a:pt x="14" y="50"/>
                      <a:pt x="14" y="50"/>
                      <a:pt x="14" y="50"/>
                    </a:cubicBezTo>
                    <a:cubicBezTo>
                      <a:pt x="15" y="50"/>
                      <a:pt x="15" y="50"/>
                      <a:pt x="15" y="50"/>
                    </a:cubicBezTo>
                    <a:cubicBezTo>
                      <a:pt x="15" y="49"/>
                      <a:pt x="15" y="49"/>
                      <a:pt x="15" y="49"/>
                    </a:cubicBezTo>
                    <a:cubicBezTo>
                      <a:pt x="16" y="48"/>
                      <a:pt x="16" y="48"/>
                      <a:pt x="16" y="48"/>
                    </a:cubicBezTo>
                    <a:cubicBezTo>
                      <a:pt x="16" y="48"/>
                      <a:pt x="16" y="48"/>
                      <a:pt x="16" y="48"/>
                    </a:cubicBezTo>
                    <a:cubicBezTo>
                      <a:pt x="17" y="48"/>
                      <a:pt x="17" y="47"/>
                      <a:pt x="19" y="46"/>
                    </a:cubicBezTo>
                    <a:cubicBezTo>
                      <a:pt x="24" y="45"/>
                      <a:pt x="24" y="45"/>
                      <a:pt x="24" y="45"/>
                    </a:cubicBezTo>
                    <a:cubicBezTo>
                      <a:pt x="26" y="44"/>
                      <a:pt x="28" y="43"/>
                      <a:pt x="30" y="43"/>
                    </a:cubicBezTo>
                    <a:cubicBezTo>
                      <a:pt x="34" y="42"/>
                      <a:pt x="34" y="42"/>
                      <a:pt x="34" y="42"/>
                    </a:cubicBezTo>
                    <a:cubicBezTo>
                      <a:pt x="35" y="43"/>
                      <a:pt x="35" y="43"/>
                      <a:pt x="35" y="43"/>
                    </a:cubicBezTo>
                    <a:cubicBezTo>
                      <a:pt x="35" y="43"/>
                      <a:pt x="35" y="43"/>
                      <a:pt x="35" y="43"/>
                    </a:cubicBezTo>
                    <a:cubicBezTo>
                      <a:pt x="35" y="43"/>
                      <a:pt x="35" y="43"/>
                      <a:pt x="35" y="43"/>
                    </a:cubicBezTo>
                    <a:cubicBezTo>
                      <a:pt x="36" y="44"/>
                      <a:pt x="36" y="44"/>
                      <a:pt x="37" y="45"/>
                    </a:cubicBezTo>
                    <a:cubicBezTo>
                      <a:pt x="38" y="45"/>
                      <a:pt x="38" y="45"/>
                      <a:pt x="38" y="45"/>
                    </a:cubicBezTo>
                    <a:cubicBezTo>
                      <a:pt x="45" y="44"/>
                      <a:pt x="45" y="44"/>
                      <a:pt x="45" y="44"/>
                    </a:cubicBezTo>
                    <a:cubicBezTo>
                      <a:pt x="43" y="42"/>
                      <a:pt x="41" y="40"/>
                      <a:pt x="40" y="37"/>
                    </a:cubicBezTo>
                    <a:cubicBezTo>
                      <a:pt x="40" y="37"/>
                      <a:pt x="40" y="37"/>
                      <a:pt x="40" y="37"/>
                    </a:cubicBezTo>
                    <a:cubicBezTo>
                      <a:pt x="39" y="37"/>
                      <a:pt x="39" y="36"/>
                      <a:pt x="39" y="36"/>
                    </a:cubicBezTo>
                    <a:cubicBezTo>
                      <a:pt x="39" y="36"/>
                      <a:pt x="39" y="36"/>
                      <a:pt x="39" y="36"/>
                    </a:cubicBezTo>
                    <a:cubicBezTo>
                      <a:pt x="39" y="36"/>
                      <a:pt x="38" y="36"/>
                      <a:pt x="38" y="36"/>
                    </a:cubicBezTo>
                    <a:cubicBezTo>
                      <a:pt x="38" y="36"/>
                      <a:pt x="37" y="36"/>
                      <a:pt x="37" y="36"/>
                    </a:cubicBezTo>
                    <a:cubicBezTo>
                      <a:pt x="37" y="36"/>
                      <a:pt x="36" y="36"/>
                      <a:pt x="36" y="36"/>
                    </a:cubicBezTo>
                    <a:cubicBezTo>
                      <a:pt x="36" y="36"/>
                      <a:pt x="36" y="36"/>
                      <a:pt x="36" y="36"/>
                    </a:cubicBezTo>
                    <a:cubicBezTo>
                      <a:pt x="35" y="35"/>
                      <a:pt x="40" y="32"/>
                      <a:pt x="42" y="32"/>
                    </a:cubicBezTo>
                    <a:cubicBezTo>
                      <a:pt x="44" y="30"/>
                      <a:pt x="44" y="30"/>
                      <a:pt x="44" y="27"/>
                    </a:cubicBezTo>
                    <a:cubicBezTo>
                      <a:pt x="44" y="26"/>
                      <a:pt x="44" y="24"/>
                      <a:pt x="44" y="23"/>
                    </a:cubicBezTo>
                    <a:cubicBezTo>
                      <a:pt x="44" y="22"/>
                      <a:pt x="46" y="20"/>
                      <a:pt x="44" y="19"/>
                    </a:cubicBezTo>
                    <a:cubicBezTo>
                      <a:pt x="47" y="17"/>
                      <a:pt x="50" y="14"/>
                      <a:pt x="53" y="14"/>
                    </a:cubicBezTo>
                    <a:cubicBezTo>
                      <a:pt x="54" y="14"/>
                      <a:pt x="54" y="14"/>
                      <a:pt x="55" y="15"/>
                    </a:cubicBezTo>
                    <a:cubicBezTo>
                      <a:pt x="55" y="13"/>
                      <a:pt x="57" y="11"/>
                      <a:pt x="57" y="8"/>
                    </a:cubicBezTo>
                    <a:cubicBezTo>
                      <a:pt x="40" y="3"/>
                      <a:pt x="40" y="3"/>
                      <a:pt x="40" y="3"/>
                    </a:cubicBezTo>
                    <a:cubicBezTo>
                      <a:pt x="38" y="2"/>
                      <a:pt x="37" y="1"/>
                      <a:pt x="35" y="1"/>
                    </a:cubicBezTo>
                    <a:cubicBezTo>
                      <a:pt x="33" y="0"/>
                      <a:pt x="33" y="0"/>
                      <a:pt x="33" y="0"/>
                    </a:cubicBezTo>
                    <a:cubicBezTo>
                      <a:pt x="32" y="0"/>
                      <a:pt x="32" y="0"/>
                      <a:pt x="32" y="0"/>
                    </a:cubicBezTo>
                    <a:cubicBezTo>
                      <a:pt x="31" y="0"/>
                      <a:pt x="31" y="0"/>
                      <a:pt x="31" y="0"/>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1" name="Freeform 389"/>
              <p:cNvSpPr/>
              <p:nvPr/>
            </p:nvSpPr>
            <p:spPr bwMode="auto">
              <a:xfrm>
                <a:off x="3689" y="1304"/>
                <a:ext cx="134" cy="104"/>
              </a:xfrm>
              <a:custGeom>
                <a:gdLst>
                  <a:gd name="T0" fmla="*/ 22 w 57"/>
                  <a:gd name="T1" fmla="*/ 0 h 44"/>
                  <a:gd name="T2" fmla="*/ 21 w 57"/>
                  <a:gd name="T3" fmla="*/ 0 h 44"/>
                  <a:gd name="T4" fmla="*/ 15 w 57"/>
                  <a:gd name="T5" fmla="*/ 2 h 44"/>
                  <a:gd name="T6" fmla="*/ 11 w 57"/>
                  <a:gd name="T7" fmla="*/ 3 h 44"/>
                  <a:gd name="T8" fmla="*/ 10 w 57"/>
                  <a:gd name="T9" fmla="*/ 4 h 44"/>
                  <a:gd name="T10" fmla="*/ 10 w 57"/>
                  <a:gd name="T11" fmla="*/ 5 h 44"/>
                  <a:gd name="T12" fmla="*/ 9 w 57"/>
                  <a:gd name="T13" fmla="*/ 5 h 44"/>
                  <a:gd name="T14" fmla="*/ 10 w 57"/>
                  <a:gd name="T15" fmla="*/ 6 h 44"/>
                  <a:gd name="T16" fmla="*/ 10 w 57"/>
                  <a:gd name="T17" fmla="*/ 6 h 44"/>
                  <a:gd name="T18" fmla="*/ 11 w 57"/>
                  <a:gd name="T19" fmla="*/ 8 h 44"/>
                  <a:gd name="T20" fmla="*/ 12 w 57"/>
                  <a:gd name="T21" fmla="*/ 13 h 44"/>
                  <a:gd name="T22" fmla="*/ 8 w 57"/>
                  <a:gd name="T23" fmla="*/ 17 h 44"/>
                  <a:gd name="T24" fmla="*/ 7 w 57"/>
                  <a:gd name="T25" fmla="*/ 17 h 44"/>
                  <a:gd name="T26" fmla="*/ 7 w 57"/>
                  <a:gd name="T27" fmla="*/ 18 h 44"/>
                  <a:gd name="T28" fmla="*/ 7 w 57"/>
                  <a:gd name="T29" fmla="*/ 18 h 44"/>
                  <a:gd name="T30" fmla="*/ 7 w 57"/>
                  <a:gd name="T31" fmla="*/ 19 h 44"/>
                  <a:gd name="T32" fmla="*/ 6 w 57"/>
                  <a:gd name="T33" fmla="*/ 23 h 44"/>
                  <a:gd name="T34" fmla="*/ 6 w 57"/>
                  <a:gd name="T35" fmla="*/ 23 h 44"/>
                  <a:gd name="T36" fmla="*/ 5 w 57"/>
                  <a:gd name="T37" fmla="*/ 25 h 44"/>
                  <a:gd name="T38" fmla="*/ 4 w 57"/>
                  <a:gd name="T39" fmla="*/ 26 h 44"/>
                  <a:gd name="T40" fmla="*/ 0 w 57"/>
                  <a:gd name="T41" fmla="*/ 30 h 44"/>
                  <a:gd name="T42" fmla="*/ 0 w 57"/>
                  <a:gd name="T43" fmla="*/ 31 h 44"/>
                  <a:gd name="T44" fmla="*/ 3 w 57"/>
                  <a:gd name="T45" fmla="*/ 31 h 44"/>
                  <a:gd name="T46" fmla="*/ 8 w 57"/>
                  <a:gd name="T47" fmla="*/ 30 h 44"/>
                  <a:gd name="T48" fmla="*/ 11 w 57"/>
                  <a:gd name="T49" fmla="*/ 30 h 44"/>
                  <a:gd name="T50" fmla="*/ 12 w 57"/>
                  <a:gd name="T51" fmla="*/ 31 h 44"/>
                  <a:gd name="T52" fmla="*/ 9 w 57"/>
                  <a:gd name="T53" fmla="*/ 33 h 44"/>
                  <a:gd name="T54" fmla="*/ 2 w 57"/>
                  <a:gd name="T55" fmla="*/ 37 h 44"/>
                  <a:gd name="T56" fmla="*/ 1 w 57"/>
                  <a:gd name="T57" fmla="*/ 44 h 44"/>
                  <a:gd name="T58" fmla="*/ 22 w 57"/>
                  <a:gd name="T59" fmla="*/ 28 h 44"/>
                  <a:gd name="T60" fmla="*/ 31 w 57"/>
                  <a:gd name="T61" fmla="*/ 22 h 44"/>
                  <a:gd name="T62" fmla="*/ 41 w 57"/>
                  <a:gd name="T63" fmla="*/ 21 h 44"/>
                  <a:gd name="T64" fmla="*/ 44 w 57"/>
                  <a:gd name="T65" fmla="*/ 21 h 44"/>
                  <a:gd name="T66" fmla="*/ 49 w 57"/>
                  <a:gd name="T67" fmla="*/ 22 h 44"/>
                  <a:gd name="T68" fmla="*/ 49 w 57"/>
                  <a:gd name="T69" fmla="*/ 22 h 44"/>
                  <a:gd name="T70" fmla="*/ 54 w 57"/>
                  <a:gd name="T71" fmla="*/ 16 h 44"/>
                  <a:gd name="T72" fmla="*/ 57 w 57"/>
                  <a:gd name="T73" fmla="*/ 17 h 44"/>
                  <a:gd name="T74" fmla="*/ 57 w 57"/>
                  <a:gd name="T75" fmla="*/ 17 h 44"/>
                  <a:gd name="T76" fmla="*/ 52 w 57"/>
                  <a:gd name="T77" fmla="*/ 16 h 44"/>
                  <a:gd name="T78" fmla="*/ 40 w 57"/>
                  <a:gd name="T79" fmla="*/ 10 h 44"/>
                  <a:gd name="T80" fmla="*/ 36 w 57"/>
                  <a:gd name="T81" fmla="*/ 2 h 44"/>
                  <a:gd name="T82" fmla="*/ 29 w 57"/>
                  <a:gd name="T83" fmla="*/ 3 h 44"/>
                  <a:gd name="T84" fmla="*/ 28 w 57"/>
                  <a:gd name="T85" fmla="*/ 3 h 44"/>
                  <a:gd name="T86" fmla="*/ 23 w 57"/>
                  <a:gd name="T87" fmla="*/ 1 h 44"/>
                  <a:gd name="T88" fmla="*/ 23 w 57"/>
                  <a:gd name="T89" fmla="*/ 0 h 44"/>
                  <a:gd name="T90" fmla="*/ 22 w 57"/>
                  <a:gd name="T91" fmla="*/ 0 h 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 h="44">
                    <a:moveTo>
                      <a:pt x="22" y="0"/>
                    </a:moveTo>
                    <a:cubicBezTo>
                      <a:pt x="21" y="0"/>
                      <a:pt x="21" y="0"/>
                      <a:pt x="21" y="0"/>
                    </a:cubicBezTo>
                    <a:cubicBezTo>
                      <a:pt x="19" y="1"/>
                      <a:pt x="17" y="1"/>
                      <a:pt x="15" y="2"/>
                    </a:cubicBezTo>
                    <a:cubicBezTo>
                      <a:pt x="11" y="3"/>
                      <a:pt x="11" y="3"/>
                      <a:pt x="11" y="3"/>
                    </a:cubicBezTo>
                    <a:cubicBezTo>
                      <a:pt x="10" y="4"/>
                      <a:pt x="10" y="4"/>
                      <a:pt x="10" y="4"/>
                    </a:cubicBezTo>
                    <a:cubicBezTo>
                      <a:pt x="10" y="5"/>
                      <a:pt x="10" y="5"/>
                      <a:pt x="10" y="5"/>
                    </a:cubicBezTo>
                    <a:cubicBezTo>
                      <a:pt x="9" y="5"/>
                      <a:pt x="9" y="5"/>
                      <a:pt x="9" y="5"/>
                    </a:cubicBezTo>
                    <a:cubicBezTo>
                      <a:pt x="10" y="6"/>
                      <a:pt x="10" y="6"/>
                      <a:pt x="10" y="6"/>
                    </a:cubicBezTo>
                    <a:cubicBezTo>
                      <a:pt x="10" y="6"/>
                      <a:pt x="10" y="6"/>
                      <a:pt x="10" y="6"/>
                    </a:cubicBezTo>
                    <a:cubicBezTo>
                      <a:pt x="10" y="7"/>
                      <a:pt x="11" y="7"/>
                      <a:pt x="11" y="8"/>
                    </a:cubicBezTo>
                    <a:cubicBezTo>
                      <a:pt x="13" y="9"/>
                      <a:pt x="13" y="11"/>
                      <a:pt x="12" y="13"/>
                    </a:cubicBezTo>
                    <a:cubicBezTo>
                      <a:pt x="11" y="15"/>
                      <a:pt x="9" y="16"/>
                      <a:pt x="8" y="17"/>
                    </a:cubicBezTo>
                    <a:cubicBezTo>
                      <a:pt x="7" y="17"/>
                      <a:pt x="7" y="17"/>
                      <a:pt x="7" y="17"/>
                    </a:cubicBezTo>
                    <a:cubicBezTo>
                      <a:pt x="7" y="18"/>
                      <a:pt x="7" y="18"/>
                      <a:pt x="7" y="18"/>
                    </a:cubicBezTo>
                    <a:cubicBezTo>
                      <a:pt x="7" y="18"/>
                      <a:pt x="7" y="18"/>
                      <a:pt x="7" y="18"/>
                    </a:cubicBezTo>
                    <a:cubicBezTo>
                      <a:pt x="7" y="19"/>
                      <a:pt x="7" y="19"/>
                      <a:pt x="7" y="19"/>
                    </a:cubicBezTo>
                    <a:cubicBezTo>
                      <a:pt x="7" y="20"/>
                      <a:pt x="7" y="21"/>
                      <a:pt x="6" y="23"/>
                    </a:cubicBezTo>
                    <a:cubicBezTo>
                      <a:pt x="6" y="23"/>
                      <a:pt x="6" y="23"/>
                      <a:pt x="6" y="23"/>
                    </a:cubicBezTo>
                    <a:cubicBezTo>
                      <a:pt x="6" y="24"/>
                      <a:pt x="5" y="24"/>
                      <a:pt x="5" y="25"/>
                    </a:cubicBezTo>
                    <a:cubicBezTo>
                      <a:pt x="4" y="26"/>
                      <a:pt x="4" y="26"/>
                      <a:pt x="4" y="26"/>
                    </a:cubicBezTo>
                    <a:cubicBezTo>
                      <a:pt x="4" y="27"/>
                      <a:pt x="1" y="29"/>
                      <a:pt x="0" y="30"/>
                    </a:cubicBezTo>
                    <a:cubicBezTo>
                      <a:pt x="0" y="31"/>
                      <a:pt x="0" y="31"/>
                      <a:pt x="0" y="31"/>
                    </a:cubicBezTo>
                    <a:cubicBezTo>
                      <a:pt x="0" y="31"/>
                      <a:pt x="1" y="31"/>
                      <a:pt x="3" y="31"/>
                    </a:cubicBezTo>
                    <a:cubicBezTo>
                      <a:pt x="5" y="31"/>
                      <a:pt x="7" y="31"/>
                      <a:pt x="8" y="30"/>
                    </a:cubicBezTo>
                    <a:cubicBezTo>
                      <a:pt x="9" y="30"/>
                      <a:pt x="10" y="30"/>
                      <a:pt x="11" y="30"/>
                    </a:cubicBezTo>
                    <a:cubicBezTo>
                      <a:pt x="12" y="30"/>
                      <a:pt x="12" y="30"/>
                      <a:pt x="12" y="31"/>
                    </a:cubicBezTo>
                    <a:cubicBezTo>
                      <a:pt x="13" y="32"/>
                      <a:pt x="10" y="33"/>
                      <a:pt x="9" y="33"/>
                    </a:cubicBezTo>
                    <a:cubicBezTo>
                      <a:pt x="8" y="34"/>
                      <a:pt x="3" y="35"/>
                      <a:pt x="2" y="37"/>
                    </a:cubicBezTo>
                    <a:cubicBezTo>
                      <a:pt x="1" y="39"/>
                      <a:pt x="1" y="42"/>
                      <a:pt x="1" y="44"/>
                    </a:cubicBezTo>
                    <a:cubicBezTo>
                      <a:pt x="8" y="38"/>
                      <a:pt x="15" y="33"/>
                      <a:pt x="22" y="28"/>
                    </a:cubicBezTo>
                    <a:cubicBezTo>
                      <a:pt x="24" y="27"/>
                      <a:pt x="28" y="22"/>
                      <a:pt x="31" y="22"/>
                    </a:cubicBezTo>
                    <a:cubicBezTo>
                      <a:pt x="34" y="21"/>
                      <a:pt x="38" y="21"/>
                      <a:pt x="41" y="21"/>
                    </a:cubicBezTo>
                    <a:cubicBezTo>
                      <a:pt x="42" y="21"/>
                      <a:pt x="43" y="21"/>
                      <a:pt x="44" y="21"/>
                    </a:cubicBezTo>
                    <a:cubicBezTo>
                      <a:pt x="46" y="21"/>
                      <a:pt x="48" y="22"/>
                      <a:pt x="49" y="22"/>
                    </a:cubicBezTo>
                    <a:cubicBezTo>
                      <a:pt x="49" y="22"/>
                      <a:pt x="49" y="22"/>
                      <a:pt x="49" y="22"/>
                    </a:cubicBezTo>
                    <a:cubicBezTo>
                      <a:pt x="49" y="19"/>
                      <a:pt x="52" y="16"/>
                      <a:pt x="54" y="16"/>
                    </a:cubicBezTo>
                    <a:cubicBezTo>
                      <a:pt x="55" y="16"/>
                      <a:pt x="56" y="17"/>
                      <a:pt x="57" y="17"/>
                    </a:cubicBezTo>
                    <a:cubicBezTo>
                      <a:pt x="57" y="17"/>
                      <a:pt x="57" y="17"/>
                      <a:pt x="57" y="17"/>
                    </a:cubicBezTo>
                    <a:cubicBezTo>
                      <a:pt x="57" y="16"/>
                      <a:pt x="53" y="16"/>
                      <a:pt x="52" y="16"/>
                    </a:cubicBezTo>
                    <a:cubicBezTo>
                      <a:pt x="48" y="14"/>
                      <a:pt x="44" y="12"/>
                      <a:pt x="40" y="10"/>
                    </a:cubicBezTo>
                    <a:cubicBezTo>
                      <a:pt x="37" y="8"/>
                      <a:pt x="37" y="5"/>
                      <a:pt x="36" y="2"/>
                    </a:cubicBezTo>
                    <a:cubicBezTo>
                      <a:pt x="29" y="3"/>
                      <a:pt x="29" y="3"/>
                      <a:pt x="29" y="3"/>
                    </a:cubicBezTo>
                    <a:cubicBezTo>
                      <a:pt x="28" y="3"/>
                      <a:pt x="28" y="3"/>
                      <a:pt x="28" y="3"/>
                    </a:cubicBezTo>
                    <a:cubicBezTo>
                      <a:pt x="26" y="3"/>
                      <a:pt x="25" y="2"/>
                      <a:pt x="23" y="1"/>
                    </a:cubicBezTo>
                    <a:cubicBezTo>
                      <a:pt x="23" y="1"/>
                      <a:pt x="23" y="0"/>
                      <a:pt x="23" y="0"/>
                    </a:cubicBezTo>
                    <a:cubicBezTo>
                      <a:pt x="22" y="0"/>
                      <a:pt x="22"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Freeform 390"/>
              <p:cNvSpPr/>
              <p:nvPr/>
            </p:nvSpPr>
            <p:spPr bwMode="auto">
              <a:xfrm>
                <a:off x="3665" y="959"/>
                <a:ext cx="184" cy="248"/>
              </a:xfrm>
              <a:custGeom>
                <a:gdLst>
                  <a:gd name="T0" fmla="*/ 12 w 78"/>
                  <a:gd name="T1" fmla="*/ 6 h 105"/>
                  <a:gd name="T2" fmla="*/ 2 w 78"/>
                  <a:gd name="T3" fmla="*/ 8 h 105"/>
                  <a:gd name="T4" fmla="*/ 0 w 78"/>
                  <a:gd name="T5" fmla="*/ 105 h 105"/>
                  <a:gd name="T6" fmla="*/ 8 w 78"/>
                  <a:gd name="T7" fmla="*/ 100 h 105"/>
                  <a:gd name="T8" fmla="*/ 11 w 78"/>
                  <a:gd name="T9" fmla="*/ 98 h 105"/>
                  <a:gd name="T10" fmla="*/ 29 w 78"/>
                  <a:gd name="T11" fmla="*/ 94 h 105"/>
                  <a:gd name="T12" fmla="*/ 32 w 78"/>
                  <a:gd name="T13" fmla="*/ 94 h 105"/>
                  <a:gd name="T14" fmla="*/ 34 w 78"/>
                  <a:gd name="T15" fmla="*/ 94 h 105"/>
                  <a:gd name="T16" fmla="*/ 41 w 78"/>
                  <a:gd name="T17" fmla="*/ 97 h 105"/>
                  <a:gd name="T18" fmla="*/ 59 w 78"/>
                  <a:gd name="T19" fmla="*/ 91 h 105"/>
                  <a:gd name="T20" fmla="*/ 62 w 78"/>
                  <a:gd name="T21" fmla="*/ 86 h 105"/>
                  <a:gd name="T22" fmla="*/ 61 w 78"/>
                  <a:gd name="T23" fmla="*/ 85 h 105"/>
                  <a:gd name="T24" fmla="*/ 64 w 78"/>
                  <a:gd name="T25" fmla="*/ 83 h 105"/>
                  <a:gd name="T26" fmla="*/ 62 w 78"/>
                  <a:gd name="T27" fmla="*/ 83 h 105"/>
                  <a:gd name="T28" fmla="*/ 66 w 78"/>
                  <a:gd name="T29" fmla="*/ 75 h 105"/>
                  <a:gd name="T30" fmla="*/ 68 w 78"/>
                  <a:gd name="T31" fmla="*/ 79 h 105"/>
                  <a:gd name="T32" fmla="*/ 77 w 78"/>
                  <a:gd name="T33" fmla="*/ 78 h 105"/>
                  <a:gd name="T34" fmla="*/ 78 w 78"/>
                  <a:gd name="T35" fmla="*/ 71 h 105"/>
                  <a:gd name="T36" fmla="*/ 77 w 78"/>
                  <a:gd name="T37" fmla="*/ 71 h 105"/>
                  <a:gd name="T38" fmla="*/ 73 w 78"/>
                  <a:gd name="T39" fmla="*/ 68 h 105"/>
                  <a:gd name="T40" fmla="*/ 66 w 78"/>
                  <a:gd name="T41" fmla="*/ 70 h 105"/>
                  <a:gd name="T42" fmla="*/ 62 w 78"/>
                  <a:gd name="T43" fmla="*/ 72 h 105"/>
                  <a:gd name="T44" fmla="*/ 60 w 78"/>
                  <a:gd name="T45" fmla="*/ 73 h 105"/>
                  <a:gd name="T46" fmla="*/ 54 w 78"/>
                  <a:gd name="T47" fmla="*/ 70 h 105"/>
                  <a:gd name="T48" fmla="*/ 50 w 78"/>
                  <a:gd name="T49" fmla="*/ 68 h 105"/>
                  <a:gd name="T50" fmla="*/ 46 w 78"/>
                  <a:gd name="T51" fmla="*/ 66 h 105"/>
                  <a:gd name="T52" fmla="*/ 47 w 78"/>
                  <a:gd name="T53" fmla="*/ 65 h 105"/>
                  <a:gd name="T54" fmla="*/ 46 w 78"/>
                  <a:gd name="T55" fmla="*/ 63 h 105"/>
                  <a:gd name="T56" fmla="*/ 45 w 78"/>
                  <a:gd name="T57" fmla="*/ 56 h 105"/>
                  <a:gd name="T58" fmla="*/ 48 w 78"/>
                  <a:gd name="T59" fmla="*/ 42 h 105"/>
                  <a:gd name="T60" fmla="*/ 47 w 78"/>
                  <a:gd name="T61" fmla="*/ 34 h 105"/>
                  <a:gd name="T62" fmla="*/ 46 w 78"/>
                  <a:gd name="T63" fmla="*/ 31 h 105"/>
                  <a:gd name="T64" fmla="*/ 41 w 78"/>
                  <a:gd name="T65" fmla="*/ 25 h 105"/>
                  <a:gd name="T66" fmla="*/ 33 w 78"/>
                  <a:gd name="T67" fmla="*/ 16 h 105"/>
                  <a:gd name="T68" fmla="*/ 29 w 78"/>
                  <a:gd name="T69" fmla="*/ 8 h 105"/>
                  <a:gd name="T70" fmla="*/ 28 w 78"/>
                  <a:gd name="T71" fmla="*/ 5 h 105"/>
                  <a:gd name="T72" fmla="*/ 26 w 78"/>
                  <a:gd name="T73" fmla="*/ 3 h 105"/>
                  <a:gd name="T74" fmla="*/ 21 w 78"/>
                  <a:gd name="T75" fmla="*/ 0 h 1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105">
                    <a:moveTo>
                      <a:pt x="20" y="0"/>
                    </a:moveTo>
                    <a:cubicBezTo>
                      <a:pt x="12" y="6"/>
                      <a:pt x="12" y="6"/>
                      <a:pt x="12" y="6"/>
                    </a:cubicBezTo>
                    <a:cubicBezTo>
                      <a:pt x="11" y="6"/>
                      <a:pt x="11" y="6"/>
                      <a:pt x="10" y="7"/>
                    </a:cubicBezTo>
                    <a:cubicBezTo>
                      <a:pt x="8" y="7"/>
                      <a:pt x="4" y="8"/>
                      <a:pt x="2" y="8"/>
                    </a:cubicBezTo>
                    <a:cubicBezTo>
                      <a:pt x="1" y="8"/>
                      <a:pt x="1" y="8"/>
                      <a:pt x="0" y="8"/>
                    </a:cubicBezTo>
                    <a:cubicBezTo>
                      <a:pt x="0" y="105"/>
                      <a:pt x="0" y="105"/>
                      <a:pt x="0" y="105"/>
                    </a:cubicBezTo>
                    <a:cubicBezTo>
                      <a:pt x="3" y="104"/>
                      <a:pt x="5" y="102"/>
                      <a:pt x="8" y="100"/>
                    </a:cubicBezTo>
                    <a:cubicBezTo>
                      <a:pt x="8" y="100"/>
                      <a:pt x="8" y="100"/>
                      <a:pt x="8" y="100"/>
                    </a:cubicBezTo>
                    <a:cubicBezTo>
                      <a:pt x="9" y="100"/>
                      <a:pt x="10" y="99"/>
                      <a:pt x="10" y="99"/>
                    </a:cubicBezTo>
                    <a:cubicBezTo>
                      <a:pt x="11" y="99"/>
                      <a:pt x="11" y="98"/>
                      <a:pt x="11" y="98"/>
                    </a:cubicBezTo>
                    <a:cubicBezTo>
                      <a:pt x="13" y="97"/>
                      <a:pt x="15" y="96"/>
                      <a:pt x="17" y="96"/>
                    </a:cubicBezTo>
                    <a:cubicBezTo>
                      <a:pt x="29" y="94"/>
                      <a:pt x="29" y="94"/>
                      <a:pt x="29" y="94"/>
                    </a:cubicBezTo>
                    <a:cubicBezTo>
                      <a:pt x="30" y="94"/>
                      <a:pt x="30" y="94"/>
                      <a:pt x="31" y="94"/>
                    </a:cubicBezTo>
                    <a:cubicBezTo>
                      <a:pt x="31" y="94"/>
                      <a:pt x="31" y="94"/>
                      <a:pt x="32" y="94"/>
                    </a:cubicBezTo>
                    <a:cubicBezTo>
                      <a:pt x="33" y="94"/>
                      <a:pt x="33" y="94"/>
                      <a:pt x="33" y="94"/>
                    </a:cubicBezTo>
                    <a:cubicBezTo>
                      <a:pt x="33" y="94"/>
                      <a:pt x="34" y="94"/>
                      <a:pt x="34" y="94"/>
                    </a:cubicBezTo>
                    <a:cubicBezTo>
                      <a:pt x="37" y="95"/>
                      <a:pt x="37" y="95"/>
                      <a:pt x="37" y="95"/>
                    </a:cubicBezTo>
                    <a:cubicBezTo>
                      <a:pt x="38" y="96"/>
                      <a:pt x="40" y="97"/>
                      <a:pt x="41" y="97"/>
                    </a:cubicBezTo>
                    <a:cubicBezTo>
                      <a:pt x="57" y="102"/>
                      <a:pt x="57" y="102"/>
                      <a:pt x="57" y="102"/>
                    </a:cubicBezTo>
                    <a:cubicBezTo>
                      <a:pt x="57" y="99"/>
                      <a:pt x="57" y="94"/>
                      <a:pt x="59" y="91"/>
                    </a:cubicBezTo>
                    <a:cubicBezTo>
                      <a:pt x="60" y="89"/>
                      <a:pt x="62" y="87"/>
                      <a:pt x="63" y="86"/>
                    </a:cubicBezTo>
                    <a:cubicBezTo>
                      <a:pt x="63" y="86"/>
                      <a:pt x="62" y="86"/>
                      <a:pt x="62" y="86"/>
                    </a:cubicBezTo>
                    <a:cubicBezTo>
                      <a:pt x="60" y="86"/>
                      <a:pt x="60" y="85"/>
                      <a:pt x="61" y="84"/>
                    </a:cubicBezTo>
                    <a:cubicBezTo>
                      <a:pt x="61" y="85"/>
                      <a:pt x="61" y="85"/>
                      <a:pt x="61" y="85"/>
                    </a:cubicBezTo>
                    <a:cubicBezTo>
                      <a:pt x="62" y="84"/>
                      <a:pt x="64" y="84"/>
                      <a:pt x="65" y="83"/>
                    </a:cubicBezTo>
                    <a:cubicBezTo>
                      <a:pt x="65" y="83"/>
                      <a:pt x="64" y="83"/>
                      <a:pt x="64" y="83"/>
                    </a:cubicBezTo>
                    <a:cubicBezTo>
                      <a:pt x="64" y="83"/>
                      <a:pt x="63" y="83"/>
                      <a:pt x="63" y="83"/>
                    </a:cubicBezTo>
                    <a:cubicBezTo>
                      <a:pt x="63" y="83"/>
                      <a:pt x="63" y="83"/>
                      <a:pt x="62" y="83"/>
                    </a:cubicBezTo>
                    <a:cubicBezTo>
                      <a:pt x="62" y="83"/>
                      <a:pt x="62" y="83"/>
                      <a:pt x="61" y="83"/>
                    </a:cubicBezTo>
                    <a:cubicBezTo>
                      <a:pt x="61" y="83"/>
                      <a:pt x="64" y="75"/>
                      <a:pt x="66" y="75"/>
                    </a:cubicBezTo>
                    <a:cubicBezTo>
                      <a:pt x="67" y="75"/>
                      <a:pt x="67" y="76"/>
                      <a:pt x="67" y="76"/>
                    </a:cubicBezTo>
                    <a:cubicBezTo>
                      <a:pt x="68" y="78"/>
                      <a:pt x="64" y="78"/>
                      <a:pt x="68" y="79"/>
                    </a:cubicBezTo>
                    <a:cubicBezTo>
                      <a:pt x="69" y="79"/>
                      <a:pt x="71" y="79"/>
                      <a:pt x="73" y="79"/>
                    </a:cubicBezTo>
                    <a:cubicBezTo>
                      <a:pt x="75" y="79"/>
                      <a:pt x="76" y="79"/>
                      <a:pt x="77" y="78"/>
                    </a:cubicBezTo>
                    <a:cubicBezTo>
                      <a:pt x="77" y="78"/>
                      <a:pt x="77" y="77"/>
                      <a:pt x="77" y="76"/>
                    </a:cubicBezTo>
                    <a:cubicBezTo>
                      <a:pt x="78" y="75"/>
                      <a:pt x="78" y="73"/>
                      <a:pt x="78" y="71"/>
                    </a:cubicBezTo>
                    <a:cubicBezTo>
                      <a:pt x="77" y="72"/>
                      <a:pt x="77" y="72"/>
                      <a:pt x="77" y="72"/>
                    </a:cubicBezTo>
                    <a:cubicBezTo>
                      <a:pt x="77" y="71"/>
                      <a:pt x="77" y="71"/>
                      <a:pt x="77" y="71"/>
                    </a:cubicBezTo>
                    <a:cubicBezTo>
                      <a:pt x="76" y="70"/>
                      <a:pt x="76" y="69"/>
                      <a:pt x="75" y="69"/>
                    </a:cubicBezTo>
                    <a:cubicBezTo>
                      <a:pt x="75" y="68"/>
                      <a:pt x="74" y="68"/>
                      <a:pt x="73" y="68"/>
                    </a:cubicBezTo>
                    <a:cubicBezTo>
                      <a:pt x="71" y="68"/>
                      <a:pt x="68" y="69"/>
                      <a:pt x="67" y="70"/>
                    </a:cubicBezTo>
                    <a:cubicBezTo>
                      <a:pt x="66" y="70"/>
                      <a:pt x="66" y="70"/>
                      <a:pt x="66" y="70"/>
                    </a:cubicBezTo>
                    <a:cubicBezTo>
                      <a:pt x="65" y="71"/>
                      <a:pt x="65" y="71"/>
                      <a:pt x="64" y="71"/>
                    </a:cubicBezTo>
                    <a:cubicBezTo>
                      <a:pt x="62" y="72"/>
                      <a:pt x="62" y="72"/>
                      <a:pt x="62" y="72"/>
                    </a:cubicBezTo>
                    <a:cubicBezTo>
                      <a:pt x="62" y="72"/>
                      <a:pt x="61" y="73"/>
                      <a:pt x="60" y="73"/>
                    </a:cubicBezTo>
                    <a:cubicBezTo>
                      <a:pt x="60" y="73"/>
                      <a:pt x="60" y="73"/>
                      <a:pt x="60" y="73"/>
                    </a:cubicBezTo>
                    <a:cubicBezTo>
                      <a:pt x="59" y="73"/>
                      <a:pt x="59" y="72"/>
                      <a:pt x="58" y="72"/>
                    </a:cubicBezTo>
                    <a:cubicBezTo>
                      <a:pt x="57" y="72"/>
                      <a:pt x="56" y="71"/>
                      <a:pt x="54" y="70"/>
                    </a:cubicBezTo>
                    <a:cubicBezTo>
                      <a:pt x="53" y="70"/>
                      <a:pt x="52" y="69"/>
                      <a:pt x="51" y="69"/>
                    </a:cubicBezTo>
                    <a:cubicBezTo>
                      <a:pt x="50" y="68"/>
                      <a:pt x="50" y="68"/>
                      <a:pt x="50" y="68"/>
                    </a:cubicBezTo>
                    <a:cubicBezTo>
                      <a:pt x="50" y="68"/>
                      <a:pt x="49" y="67"/>
                      <a:pt x="49" y="67"/>
                    </a:cubicBezTo>
                    <a:cubicBezTo>
                      <a:pt x="46" y="66"/>
                      <a:pt x="46" y="66"/>
                      <a:pt x="46" y="66"/>
                    </a:cubicBezTo>
                    <a:cubicBezTo>
                      <a:pt x="47" y="65"/>
                      <a:pt x="47" y="65"/>
                      <a:pt x="47" y="65"/>
                    </a:cubicBezTo>
                    <a:cubicBezTo>
                      <a:pt x="47" y="65"/>
                      <a:pt x="47" y="65"/>
                      <a:pt x="47" y="65"/>
                    </a:cubicBezTo>
                    <a:cubicBezTo>
                      <a:pt x="46" y="65"/>
                      <a:pt x="46" y="65"/>
                      <a:pt x="46" y="65"/>
                    </a:cubicBezTo>
                    <a:cubicBezTo>
                      <a:pt x="46" y="64"/>
                      <a:pt x="46" y="64"/>
                      <a:pt x="46" y="63"/>
                    </a:cubicBezTo>
                    <a:cubicBezTo>
                      <a:pt x="45" y="62"/>
                      <a:pt x="45" y="62"/>
                      <a:pt x="45" y="61"/>
                    </a:cubicBezTo>
                    <a:cubicBezTo>
                      <a:pt x="45" y="59"/>
                      <a:pt x="45" y="58"/>
                      <a:pt x="45" y="56"/>
                    </a:cubicBezTo>
                    <a:cubicBezTo>
                      <a:pt x="45" y="55"/>
                      <a:pt x="46" y="55"/>
                      <a:pt x="46" y="54"/>
                    </a:cubicBezTo>
                    <a:cubicBezTo>
                      <a:pt x="46" y="50"/>
                      <a:pt x="47" y="47"/>
                      <a:pt x="48" y="42"/>
                    </a:cubicBezTo>
                    <a:cubicBezTo>
                      <a:pt x="49" y="41"/>
                      <a:pt x="49" y="39"/>
                      <a:pt x="48" y="38"/>
                    </a:cubicBezTo>
                    <a:cubicBezTo>
                      <a:pt x="48" y="36"/>
                      <a:pt x="47" y="36"/>
                      <a:pt x="47" y="34"/>
                    </a:cubicBezTo>
                    <a:cubicBezTo>
                      <a:pt x="46" y="33"/>
                      <a:pt x="46" y="32"/>
                      <a:pt x="46" y="32"/>
                    </a:cubicBezTo>
                    <a:cubicBezTo>
                      <a:pt x="46" y="31"/>
                      <a:pt x="46" y="31"/>
                      <a:pt x="46" y="31"/>
                    </a:cubicBezTo>
                    <a:cubicBezTo>
                      <a:pt x="46" y="30"/>
                      <a:pt x="45" y="30"/>
                      <a:pt x="45" y="29"/>
                    </a:cubicBezTo>
                    <a:cubicBezTo>
                      <a:pt x="44" y="27"/>
                      <a:pt x="42" y="26"/>
                      <a:pt x="41" y="25"/>
                    </a:cubicBezTo>
                    <a:cubicBezTo>
                      <a:pt x="39" y="24"/>
                      <a:pt x="39" y="24"/>
                      <a:pt x="39" y="24"/>
                    </a:cubicBezTo>
                    <a:cubicBezTo>
                      <a:pt x="37" y="21"/>
                      <a:pt x="35" y="19"/>
                      <a:pt x="33" y="16"/>
                    </a:cubicBezTo>
                    <a:cubicBezTo>
                      <a:pt x="32" y="14"/>
                      <a:pt x="31" y="12"/>
                      <a:pt x="30" y="10"/>
                    </a:cubicBezTo>
                    <a:cubicBezTo>
                      <a:pt x="29" y="8"/>
                      <a:pt x="29" y="8"/>
                      <a:pt x="29" y="8"/>
                    </a:cubicBezTo>
                    <a:cubicBezTo>
                      <a:pt x="29" y="7"/>
                      <a:pt x="29" y="7"/>
                      <a:pt x="29" y="7"/>
                    </a:cubicBezTo>
                    <a:cubicBezTo>
                      <a:pt x="28" y="7"/>
                      <a:pt x="28" y="6"/>
                      <a:pt x="28" y="5"/>
                    </a:cubicBezTo>
                    <a:cubicBezTo>
                      <a:pt x="28" y="5"/>
                      <a:pt x="28" y="5"/>
                      <a:pt x="28" y="5"/>
                    </a:cubicBezTo>
                    <a:cubicBezTo>
                      <a:pt x="27" y="4"/>
                      <a:pt x="27" y="3"/>
                      <a:pt x="26" y="3"/>
                    </a:cubicBezTo>
                    <a:cubicBezTo>
                      <a:pt x="26" y="3"/>
                      <a:pt x="26" y="3"/>
                      <a:pt x="26" y="3"/>
                    </a:cubicBezTo>
                    <a:cubicBezTo>
                      <a:pt x="24" y="2"/>
                      <a:pt x="22" y="1"/>
                      <a:pt x="21" y="0"/>
                    </a:cubicBezTo>
                    <a:cubicBezTo>
                      <a:pt x="20" y="0"/>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3" name="Rectangle 391"/>
              <p:cNvSpPr>
                <a:spLocks noChangeArrowheads="1"/>
              </p:cNvSpPr>
              <p:nvPr/>
            </p:nvSpPr>
            <p:spPr bwMode="auto">
              <a:xfrm>
                <a:off x="3830" y="105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Freeform 392"/>
              <p:cNvSpPr/>
              <p:nvPr/>
            </p:nvSpPr>
            <p:spPr bwMode="auto">
              <a:xfrm flipH="1">
                <a:off x="3830" y="105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Freeform 393"/>
              <p:cNvSpPr/>
              <p:nvPr/>
            </p:nvSpPr>
            <p:spPr bwMode="auto">
              <a:xfrm>
                <a:off x="3724" y="947"/>
                <a:ext cx="132" cy="159"/>
              </a:xfrm>
              <a:custGeom>
                <a:gdLst>
                  <a:gd name="T0" fmla="*/ 5 w 56"/>
                  <a:gd name="T1" fmla="*/ 2 h 67"/>
                  <a:gd name="T2" fmla="*/ 3 w 56"/>
                  <a:gd name="T3" fmla="*/ 2 h 67"/>
                  <a:gd name="T4" fmla="*/ 1 w 56"/>
                  <a:gd name="T5" fmla="*/ 2 h 67"/>
                  <a:gd name="T6" fmla="*/ 1 w 56"/>
                  <a:gd name="T7" fmla="*/ 2 h 67"/>
                  <a:gd name="T8" fmla="*/ 5 w 56"/>
                  <a:gd name="T9" fmla="*/ 5 h 67"/>
                  <a:gd name="T10" fmla="*/ 8 w 56"/>
                  <a:gd name="T11" fmla="*/ 10 h 67"/>
                  <a:gd name="T12" fmla="*/ 9 w 56"/>
                  <a:gd name="T13" fmla="*/ 13 h 67"/>
                  <a:gd name="T14" fmla="*/ 18 w 56"/>
                  <a:gd name="T15" fmla="*/ 25 h 67"/>
                  <a:gd name="T16" fmla="*/ 24 w 56"/>
                  <a:gd name="T17" fmla="*/ 31 h 67"/>
                  <a:gd name="T18" fmla="*/ 26 w 56"/>
                  <a:gd name="T19" fmla="*/ 37 h 67"/>
                  <a:gd name="T20" fmla="*/ 27 w 56"/>
                  <a:gd name="T21" fmla="*/ 49 h 67"/>
                  <a:gd name="T22" fmla="*/ 25 w 56"/>
                  <a:gd name="T23" fmla="*/ 61 h 67"/>
                  <a:gd name="T24" fmla="*/ 25 w 56"/>
                  <a:gd name="T25" fmla="*/ 65 h 67"/>
                  <a:gd name="T26" fmla="*/ 25 w 56"/>
                  <a:gd name="T27" fmla="*/ 67 h 67"/>
                  <a:gd name="T28" fmla="*/ 27 w 56"/>
                  <a:gd name="T29" fmla="*/ 66 h 67"/>
                  <a:gd name="T30" fmla="*/ 29 w 56"/>
                  <a:gd name="T31" fmla="*/ 63 h 67"/>
                  <a:gd name="T32" fmla="*/ 32 w 56"/>
                  <a:gd name="T33" fmla="*/ 60 h 67"/>
                  <a:gd name="T34" fmla="*/ 33 w 56"/>
                  <a:gd name="T35" fmla="*/ 59 h 67"/>
                  <a:gd name="T36" fmla="*/ 34 w 56"/>
                  <a:gd name="T37" fmla="*/ 57 h 67"/>
                  <a:gd name="T38" fmla="*/ 37 w 56"/>
                  <a:gd name="T39" fmla="*/ 55 h 67"/>
                  <a:gd name="T40" fmla="*/ 37 w 56"/>
                  <a:gd name="T41" fmla="*/ 54 h 67"/>
                  <a:gd name="T42" fmla="*/ 38 w 56"/>
                  <a:gd name="T43" fmla="*/ 52 h 67"/>
                  <a:gd name="T44" fmla="*/ 37 w 56"/>
                  <a:gd name="T45" fmla="*/ 51 h 67"/>
                  <a:gd name="T46" fmla="*/ 38 w 56"/>
                  <a:gd name="T47" fmla="*/ 47 h 67"/>
                  <a:gd name="T48" fmla="*/ 41 w 56"/>
                  <a:gd name="T49" fmla="*/ 43 h 67"/>
                  <a:gd name="T50" fmla="*/ 44 w 56"/>
                  <a:gd name="T51" fmla="*/ 44 h 67"/>
                  <a:gd name="T52" fmla="*/ 45 w 56"/>
                  <a:gd name="T53" fmla="*/ 45 h 67"/>
                  <a:gd name="T54" fmla="*/ 46 w 56"/>
                  <a:gd name="T55" fmla="*/ 44 h 67"/>
                  <a:gd name="T56" fmla="*/ 49 w 56"/>
                  <a:gd name="T57" fmla="*/ 44 h 67"/>
                  <a:gd name="T58" fmla="*/ 51 w 56"/>
                  <a:gd name="T59" fmla="*/ 44 h 67"/>
                  <a:gd name="T60" fmla="*/ 52 w 56"/>
                  <a:gd name="T61" fmla="*/ 45 h 67"/>
                  <a:gd name="T62" fmla="*/ 53 w 56"/>
                  <a:gd name="T63" fmla="*/ 46 h 67"/>
                  <a:gd name="T64" fmla="*/ 54 w 56"/>
                  <a:gd name="T65" fmla="*/ 46 h 67"/>
                  <a:gd name="T66" fmla="*/ 56 w 56"/>
                  <a:gd name="T67" fmla="*/ 45 h 67"/>
                  <a:gd name="T68" fmla="*/ 56 w 56"/>
                  <a:gd name="T69" fmla="*/ 41 h 67"/>
                  <a:gd name="T70" fmla="*/ 56 w 56"/>
                  <a:gd name="T71" fmla="*/ 39 h 67"/>
                  <a:gd name="T72" fmla="*/ 52 w 56"/>
                  <a:gd name="T73" fmla="*/ 41 h 67"/>
                  <a:gd name="T74" fmla="*/ 53 w 56"/>
                  <a:gd name="T75" fmla="*/ 38 h 67"/>
                  <a:gd name="T76" fmla="*/ 45 w 56"/>
                  <a:gd name="T77" fmla="*/ 28 h 67"/>
                  <a:gd name="T78" fmla="*/ 48 w 56"/>
                  <a:gd name="T79" fmla="*/ 28 h 67"/>
                  <a:gd name="T80" fmla="*/ 47 w 56"/>
                  <a:gd name="T81" fmla="*/ 28 h 67"/>
                  <a:gd name="T82" fmla="*/ 40 w 56"/>
                  <a:gd name="T83" fmla="*/ 19 h 67"/>
                  <a:gd name="T84" fmla="*/ 41 w 56"/>
                  <a:gd name="T85" fmla="*/ 18 h 67"/>
                  <a:gd name="T86" fmla="*/ 42 w 56"/>
                  <a:gd name="T87" fmla="*/ 17 h 67"/>
                  <a:gd name="T88" fmla="*/ 42 w 56"/>
                  <a:gd name="T89" fmla="*/ 12 h 67"/>
                  <a:gd name="T90" fmla="*/ 41 w 56"/>
                  <a:gd name="T91" fmla="*/ 12 h 67"/>
                  <a:gd name="T92" fmla="*/ 35 w 56"/>
                  <a:gd name="T93" fmla="*/ 10 h 67"/>
                  <a:gd name="T94" fmla="*/ 28 w 56"/>
                  <a:gd name="T95" fmla="*/ 7 h 67"/>
                  <a:gd name="T96" fmla="*/ 15 w 56"/>
                  <a:gd name="T97" fmla="*/ 1 h 67"/>
                  <a:gd name="T98" fmla="*/ 12 w 56"/>
                  <a:gd name="T99" fmla="*/ 0 h 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 h="67">
                    <a:moveTo>
                      <a:pt x="12" y="0"/>
                    </a:moveTo>
                    <a:cubicBezTo>
                      <a:pt x="9" y="1"/>
                      <a:pt x="8" y="2"/>
                      <a:pt x="5" y="2"/>
                    </a:cubicBezTo>
                    <a:cubicBezTo>
                      <a:pt x="4" y="2"/>
                      <a:pt x="4" y="2"/>
                      <a:pt x="4" y="2"/>
                    </a:cubicBezTo>
                    <a:cubicBezTo>
                      <a:pt x="3" y="2"/>
                      <a:pt x="3" y="2"/>
                      <a:pt x="3" y="2"/>
                    </a:cubicBezTo>
                    <a:cubicBezTo>
                      <a:pt x="3" y="2"/>
                      <a:pt x="2" y="2"/>
                      <a:pt x="2" y="2"/>
                    </a:cubicBezTo>
                    <a:cubicBezTo>
                      <a:pt x="1" y="2"/>
                      <a:pt x="1" y="2"/>
                      <a:pt x="1" y="2"/>
                    </a:cubicBezTo>
                    <a:cubicBezTo>
                      <a:pt x="0" y="2"/>
                      <a:pt x="0" y="2"/>
                      <a:pt x="0" y="2"/>
                    </a:cubicBezTo>
                    <a:cubicBezTo>
                      <a:pt x="1" y="2"/>
                      <a:pt x="1" y="2"/>
                      <a:pt x="1" y="2"/>
                    </a:cubicBezTo>
                    <a:cubicBezTo>
                      <a:pt x="1" y="3"/>
                      <a:pt x="2" y="3"/>
                      <a:pt x="3" y="3"/>
                    </a:cubicBezTo>
                    <a:cubicBezTo>
                      <a:pt x="4" y="4"/>
                      <a:pt x="4" y="4"/>
                      <a:pt x="5" y="5"/>
                    </a:cubicBezTo>
                    <a:cubicBezTo>
                      <a:pt x="6" y="6"/>
                      <a:pt x="6" y="7"/>
                      <a:pt x="7" y="8"/>
                    </a:cubicBezTo>
                    <a:cubicBezTo>
                      <a:pt x="7" y="9"/>
                      <a:pt x="7" y="9"/>
                      <a:pt x="8" y="10"/>
                    </a:cubicBezTo>
                    <a:cubicBezTo>
                      <a:pt x="8" y="10"/>
                      <a:pt x="8" y="10"/>
                      <a:pt x="8" y="11"/>
                    </a:cubicBezTo>
                    <a:cubicBezTo>
                      <a:pt x="9" y="13"/>
                      <a:pt x="9" y="13"/>
                      <a:pt x="9" y="13"/>
                    </a:cubicBezTo>
                    <a:cubicBezTo>
                      <a:pt x="10" y="14"/>
                      <a:pt x="11" y="16"/>
                      <a:pt x="12" y="18"/>
                    </a:cubicBezTo>
                    <a:cubicBezTo>
                      <a:pt x="14" y="21"/>
                      <a:pt x="15" y="23"/>
                      <a:pt x="18" y="25"/>
                    </a:cubicBezTo>
                    <a:cubicBezTo>
                      <a:pt x="19" y="26"/>
                      <a:pt x="19" y="26"/>
                      <a:pt x="19" y="26"/>
                    </a:cubicBezTo>
                    <a:cubicBezTo>
                      <a:pt x="20" y="28"/>
                      <a:pt x="22" y="29"/>
                      <a:pt x="24" y="31"/>
                    </a:cubicBezTo>
                    <a:cubicBezTo>
                      <a:pt x="25" y="33"/>
                      <a:pt x="25" y="34"/>
                      <a:pt x="25" y="35"/>
                    </a:cubicBezTo>
                    <a:cubicBezTo>
                      <a:pt x="26" y="36"/>
                      <a:pt x="26" y="37"/>
                      <a:pt x="26" y="37"/>
                    </a:cubicBezTo>
                    <a:cubicBezTo>
                      <a:pt x="27" y="39"/>
                      <a:pt x="27" y="40"/>
                      <a:pt x="28" y="41"/>
                    </a:cubicBezTo>
                    <a:cubicBezTo>
                      <a:pt x="28" y="44"/>
                      <a:pt x="28" y="46"/>
                      <a:pt x="27" y="49"/>
                    </a:cubicBezTo>
                    <a:cubicBezTo>
                      <a:pt x="26" y="53"/>
                      <a:pt x="25" y="55"/>
                      <a:pt x="25" y="59"/>
                    </a:cubicBezTo>
                    <a:cubicBezTo>
                      <a:pt x="25" y="60"/>
                      <a:pt x="25" y="60"/>
                      <a:pt x="25" y="61"/>
                    </a:cubicBezTo>
                    <a:cubicBezTo>
                      <a:pt x="25" y="62"/>
                      <a:pt x="25" y="62"/>
                      <a:pt x="25" y="62"/>
                    </a:cubicBezTo>
                    <a:cubicBezTo>
                      <a:pt x="25" y="63"/>
                      <a:pt x="25" y="64"/>
                      <a:pt x="25" y="65"/>
                    </a:cubicBezTo>
                    <a:cubicBezTo>
                      <a:pt x="25" y="66"/>
                      <a:pt x="25" y="66"/>
                      <a:pt x="25" y="66"/>
                    </a:cubicBezTo>
                    <a:cubicBezTo>
                      <a:pt x="25" y="67"/>
                      <a:pt x="25" y="67"/>
                      <a:pt x="25" y="67"/>
                    </a:cubicBezTo>
                    <a:cubicBezTo>
                      <a:pt x="26" y="67"/>
                      <a:pt x="26" y="66"/>
                      <a:pt x="27" y="66"/>
                    </a:cubicBezTo>
                    <a:cubicBezTo>
                      <a:pt x="27" y="66"/>
                      <a:pt x="27" y="66"/>
                      <a:pt x="27" y="66"/>
                    </a:cubicBezTo>
                    <a:cubicBezTo>
                      <a:pt x="27" y="66"/>
                      <a:pt x="28" y="65"/>
                      <a:pt x="28" y="65"/>
                    </a:cubicBezTo>
                    <a:cubicBezTo>
                      <a:pt x="28" y="64"/>
                      <a:pt x="29" y="64"/>
                      <a:pt x="29" y="63"/>
                    </a:cubicBezTo>
                    <a:cubicBezTo>
                      <a:pt x="30" y="62"/>
                      <a:pt x="31" y="61"/>
                      <a:pt x="31" y="61"/>
                    </a:cubicBezTo>
                    <a:cubicBezTo>
                      <a:pt x="32" y="60"/>
                      <a:pt x="32" y="60"/>
                      <a:pt x="32" y="60"/>
                    </a:cubicBezTo>
                    <a:cubicBezTo>
                      <a:pt x="33" y="60"/>
                      <a:pt x="33" y="60"/>
                      <a:pt x="33" y="60"/>
                    </a:cubicBezTo>
                    <a:cubicBezTo>
                      <a:pt x="33" y="59"/>
                      <a:pt x="33" y="59"/>
                      <a:pt x="33" y="59"/>
                    </a:cubicBezTo>
                    <a:cubicBezTo>
                      <a:pt x="33" y="59"/>
                      <a:pt x="33" y="59"/>
                      <a:pt x="33" y="59"/>
                    </a:cubicBezTo>
                    <a:cubicBezTo>
                      <a:pt x="34" y="58"/>
                      <a:pt x="34" y="58"/>
                      <a:pt x="34" y="57"/>
                    </a:cubicBezTo>
                    <a:cubicBezTo>
                      <a:pt x="34" y="56"/>
                      <a:pt x="35" y="55"/>
                      <a:pt x="36" y="55"/>
                    </a:cubicBezTo>
                    <a:cubicBezTo>
                      <a:pt x="37" y="55"/>
                      <a:pt x="37" y="55"/>
                      <a:pt x="37" y="55"/>
                    </a:cubicBezTo>
                    <a:cubicBezTo>
                      <a:pt x="37" y="55"/>
                      <a:pt x="37" y="55"/>
                      <a:pt x="37" y="55"/>
                    </a:cubicBezTo>
                    <a:cubicBezTo>
                      <a:pt x="37" y="54"/>
                      <a:pt x="37" y="54"/>
                      <a:pt x="37" y="54"/>
                    </a:cubicBezTo>
                    <a:cubicBezTo>
                      <a:pt x="37" y="53"/>
                      <a:pt x="37" y="53"/>
                      <a:pt x="37" y="53"/>
                    </a:cubicBezTo>
                    <a:cubicBezTo>
                      <a:pt x="38" y="52"/>
                      <a:pt x="38" y="52"/>
                      <a:pt x="38" y="52"/>
                    </a:cubicBezTo>
                    <a:cubicBezTo>
                      <a:pt x="37" y="52"/>
                      <a:pt x="37" y="52"/>
                      <a:pt x="37" y="52"/>
                    </a:cubicBezTo>
                    <a:cubicBezTo>
                      <a:pt x="37" y="51"/>
                      <a:pt x="37" y="51"/>
                      <a:pt x="37" y="51"/>
                    </a:cubicBezTo>
                    <a:cubicBezTo>
                      <a:pt x="37" y="50"/>
                      <a:pt x="37" y="49"/>
                      <a:pt x="38" y="48"/>
                    </a:cubicBezTo>
                    <a:cubicBezTo>
                      <a:pt x="38" y="47"/>
                      <a:pt x="38" y="47"/>
                      <a:pt x="38" y="47"/>
                    </a:cubicBezTo>
                    <a:cubicBezTo>
                      <a:pt x="38" y="46"/>
                      <a:pt x="38" y="43"/>
                      <a:pt x="40" y="43"/>
                    </a:cubicBezTo>
                    <a:cubicBezTo>
                      <a:pt x="41" y="43"/>
                      <a:pt x="41" y="43"/>
                      <a:pt x="41" y="43"/>
                    </a:cubicBezTo>
                    <a:cubicBezTo>
                      <a:pt x="41" y="43"/>
                      <a:pt x="41" y="43"/>
                      <a:pt x="41" y="43"/>
                    </a:cubicBezTo>
                    <a:cubicBezTo>
                      <a:pt x="42" y="43"/>
                      <a:pt x="43" y="43"/>
                      <a:pt x="44" y="44"/>
                    </a:cubicBezTo>
                    <a:cubicBezTo>
                      <a:pt x="44" y="45"/>
                      <a:pt x="44" y="45"/>
                      <a:pt x="44" y="45"/>
                    </a:cubicBezTo>
                    <a:cubicBezTo>
                      <a:pt x="45" y="45"/>
                      <a:pt x="45" y="45"/>
                      <a:pt x="45" y="45"/>
                    </a:cubicBezTo>
                    <a:cubicBezTo>
                      <a:pt x="45" y="45"/>
                      <a:pt x="45" y="45"/>
                      <a:pt x="45" y="45"/>
                    </a:cubicBezTo>
                    <a:cubicBezTo>
                      <a:pt x="45" y="45"/>
                      <a:pt x="46" y="45"/>
                      <a:pt x="46" y="44"/>
                    </a:cubicBezTo>
                    <a:cubicBezTo>
                      <a:pt x="48" y="44"/>
                      <a:pt x="48" y="43"/>
                      <a:pt x="49" y="43"/>
                    </a:cubicBezTo>
                    <a:cubicBezTo>
                      <a:pt x="49" y="44"/>
                      <a:pt x="49" y="44"/>
                      <a:pt x="49" y="44"/>
                    </a:cubicBezTo>
                    <a:cubicBezTo>
                      <a:pt x="50" y="44"/>
                      <a:pt x="50" y="44"/>
                      <a:pt x="50" y="44"/>
                    </a:cubicBezTo>
                    <a:cubicBezTo>
                      <a:pt x="51" y="44"/>
                      <a:pt x="51" y="44"/>
                      <a:pt x="51" y="44"/>
                    </a:cubicBezTo>
                    <a:cubicBezTo>
                      <a:pt x="51" y="45"/>
                      <a:pt x="51" y="45"/>
                      <a:pt x="51" y="45"/>
                    </a:cubicBezTo>
                    <a:cubicBezTo>
                      <a:pt x="52" y="45"/>
                      <a:pt x="52" y="45"/>
                      <a:pt x="52" y="45"/>
                    </a:cubicBezTo>
                    <a:cubicBezTo>
                      <a:pt x="52" y="45"/>
                      <a:pt x="52" y="45"/>
                      <a:pt x="52" y="45"/>
                    </a:cubicBezTo>
                    <a:cubicBezTo>
                      <a:pt x="53" y="46"/>
                      <a:pt x="53" y="46"/>
                      <a:pt x="53" y="46"/>
                    </a:cubicBezTo>
                    <a:cubicBezTo>
                      <a:pt x="53" y="46"/>
                      <a:pt x="53" y="46"/>
                      <a:pt x="53" y="46"/>
                    </a:cubicBezTo>
                    <a:cubicBezTo>
                      <a:pt x="53" y="46"/>
                      <a:pt x="54" y="46"/>
                      <a:pt x="54" y="46"/>
                    </a:cubicBezTo>
                    <a:cubicBezTo>
                      <a:pt x="54" y="46"/>
                      <a:pt x="54" y="46"/>
                      <a:pt x="54" y="46"/>
                    </a:cubicBezTo>
                    <a:cubicBezTo>
                      <a:pt x="55" y="45"/>
                      <a:pt x="55" y="45"/>
                      <a:pt x="56" y="45"/>
                    </a:cubicBezTo>
                    <a:cubicBezTo>
                      <a:pt x="56" y="45"/>
                      <a:pt x="56" y="45"/>
                      <a:pt x="56" y="45"/>
                    </a:cubicBezTo>
                    <a:cubicBezTo>
                      <a:pt x="55" y="44"/>
                      <a:pt x="55" y="42"/>
                      <a:pt x="56" y="41"/>
                    </a:cubicBezTo>
                    <a:cubicBezTo>
                      <a:pt x="56" y="40"/>
                      <a:pt x="56" y="40"/>
                      <a:pt x="56" y="39"/>
                    </a:cubicBezTo>
                    <a:cubicBezTo>
                      <a:pt x="56" y="39"/>
                      <a:pt x="56" y="39"/>
                      <a:pt x="56" y="39"/>
                    </a:cubicBezTo>
                    <a:cubicBezTo>
                      <a:pt x="55" y="39"/>
                      <a:pt x="55" y="38"/>
                      <a:pt x="54" y="38"/>
                    </a:cubicBezTo>
                    <a:cubicBezTo>
                      <a:pt x="52" y="41"/>
                      <a:pt x="52" y="41"/>
                      <a:pt x="52" y="41"/>
                    </a:cubicBezTo>
                    <a:cubicBezTo>
                      <a:pt x="53" y="38"/>
                      <a:pt x="53" y="38"/>
                      <a:pt x="53" y="38"/>
                    </a:cubicBezTo>
                    <a:cubicBezTo>
                      <a:pt x="53" y="38"/>
                      <a:pt x="53" y="38"/>
                      <a:pt x="53" y="38"/>
                    </a:cubicBezTo>
                    <a:cubicBezTo>
                      <a:pt x="51" y="36"/>
                      <a:pt x="50" y="34"/>
                      <a:pt x="48" y="32"/>
                    </a:cubicBezTo>
                    <a:cubicBezTo>
                      <a:pt x="45" y="28"/>
                      <a:pt x="45" y="28"/>
                      <a:pt x="45" y="28"/>
                    </a:cubicBezTo>
                    <a:cubicBezTo>
                      <a:pt x="48" y="28"/>
                      <a:pt x="48" y="28"/>
                      <a:pt x="48" y="28"/>
                    </a:cubicBezTo>
                    <a:cubicBezTo>
                      <a:pt x="48" y="28"/>
                      <a:pt x="48" y="28"/>
                      <a:pt x="48" y="28"/>
                    </a:cubicBezTo>
                    <a:cubicBezTo>
                      <a:pt x="48" y="28"/>
                      <a:pt x="48" y="28"/>
                      <a:pt x="48" y="28"/>
                    </a:cubicBezTo>
                    <a:cubicBezTo>
                      <a:pt x="47" y="28"/>
                      <a:pt x="47" y="28"/>
                      <a:pt x="47" y="28"/>
                    </a:cubicBezTo>
                    <a:cubicBezTo>
                      <a:pt x="46" y="27"/>
                      <a:pt x="44" y="26"/>
                      <a:pt x="43" y="25"/>
                    </a:cubicBezTo>
                    <a:cubicBezTo>
                      <a:pt x="41" y="22"/>
                      <a:pt x="40" y="21"/>
                      <a:pt x="40" y="19"/>
                    </a:cubicBezTo>
                    <a:cubicBezTo>
                      <a:pt x="41" y="19"/>
                      <a:pt x="41" y="19"/>
                      <a:pt x="41" y="19"/>
                    </a:cubicBezTo>
                    <a:cubicBezTo>
                      <a:pt x="41" y="18"/>
                      <a:pt x="41" y="18"/>
                      <a:pt x="41" y="18"/>
                    </a:cubicBezTo>
                    <a:cubicBezTo>
                      <a:pt x="42" y="17"/>
                      <a:pt x="42" y="17"/>
                      <a:pt x="42" y="17"/>
                    </a:cubicBezTo>
                    <a:cubicBezTo>
                      <a:pt x="42" y="17"/>
                      <a:pt x="42" y="17"/>
                      <a:pt x="42" y="17"/>
                    </a:cubicBezTo>
                    <a:cubicBezTo>
                      <a:pt x="42" y="16"/>
                      <a:pt x="43" y="13"/>
                      <a:pt x="42" y="12"/>
                    </a:cubicBezTo>
                    <a:cubicBezTo>
                      <a:pt x="42" y="12"/>
                      <a:pt x="42" y="12"/>
                      <a:pt x="42" y="12"/>
                    </a:cubicBezTo>
                    <a:cubicBezTo>
                      <a:pt x="41" y="12"/>
                      <a:pt x="41" y="12"/>
                      <a:pt x="41" y="12"/>
                    </a:cubicBezTo>
                    <a:cubicBezTo>
                      <a:pt x="41" y="12"/>
                      <a:pt x="41" y="12"/>
                      <a:pt x="41" y="12"/>
                    </a:cubicBezTo>
                    <a:cubicBezTo>
                      <a:pt x="40" y="12"/>
                      <a:pt x="38" y="11"/>
                      <a:pt x="35" y="10"/>
                    </a:cubicBezTo>
                    <a:cubicBezTo>
                      <a:pt x="35" y="10"/>
                      <a:pt x="35" y="10"/>
                      <a:pt x="35" y="10"/>
                    </a:cubicBezTo>
                    <a:cubicBezTo>
                      <a:pt x="34" y="10"/>
                      <a:pt x="33" y="9"/>
                      <a:pt x="32" y="9"/>
                    </a:cubicBezTo>
                    <a:cubicBezTo>
                      <a:pt x="31" y="8"/>
                      <a:pt x="29" y="8"/>
                      <a:pt x="28" y="7"/>
                    </a:cubicBezTo>
                    <a:cubicBezTo>
                      <a:pt x="27" y="6"/>
                      <a:pt x="26" y="6"/>
                      <a:pt x="25" y="5"/>
                    </a:cubicBezTo>
                    <a:cubicBezTo>
                      <a:pt x="22" y="4"/>
                      <a:pt x="18" y="2"/>
                      <a:pt x="15" y="1"/>
                    </a:cubicBezTo>
                    <a:cubicBezTo>
                      <a:pt x="14" y="1"/>
                      <a:pt x="14" y="1"/>
                      <a:pt x="13" y="0"/>
                    </a:cubicBezTo>
                    <a:cubicBezTo>
                      <a:pt x="12" y="0"/>
                      <a:pt x="12"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Rectangle 394"/>
              <p:cNvSpPr>
                <a:spLocks noChangeArrowheads="1"/>
              </p:cNvSpPr>
              <p:nvPr/>
            </p:nvSpPr>
            <p:spPr bwMode="auto">
              <a:xfrm>
                <a:off x="3918" y="72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7" name="Rectangle 395"/>
              <p:cNvSpPr>
                <a:spLocks noChangeArrowheads="1"/>
              </p:cNvSpPr>
              <p:nvPr/>
            </p:nvSpPr>
            <p:spPr bwMode="auto">
              <a:xfrm>
                <a:off x="3918" y="72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Freeform 396"/>
              <p:cNvSpPr/>
              <p:nvPr/>
            </p:nvSpPr>
            <p:spPr bwMode="auto">
              <a:xfrm>
                <a:off x="3665" y="481"/>
                <a:ext cx="317" cy="284"/>
              </a:xfrm>
              <a:custGeom>
                <a:gdLst>
                  <a:gd name="T0" fmla="*/ 48 w 134"/>
                  <a:gd name="T1" fmla="*/ 0 h 120"/>
                  <a:gd name="T2" fmla="*/ 42 w 134"/>
                  <a:gd name="T3" fmla="*/ 5 h 120"/>
                  <a:gd name="T4" fmla="*/ 34 w 134"/>
                  <a:gd name="T5" fmla="*/ 9 h 120"/>
                  <a:gd name="T6" fmla="*/ 29 w 134"/>
                  <a:gd name="T7" fmla="*/ 9 h 120"/>
                  <a:gd name="T8" fmla="*/ 25 w 134"/>
                  <a:gd name="T9" fmla="*/ 11 h 120"/>
                  <a:gd name="T10" fmla="*/ 22 w 134"/>
                  <a:gd name="T11" fmla="*/ 13 h 120"/>
                  <a:gd name="T12" fmla="*/ 21 w 134"/>
                  <a:gd name="T13" fmla="*/ 15 h 120"/>
                  <a:gd name="T14" fmla="*/ 20 w 134"/>
                  <a:gd name="T15" fmla="*/ 18 h 120"/>
                  <a:gd name="T16" fmla="*/ 23 w 134"/>
                  <a:gd name="T17" fmla="*/ 20 h 120"/>
                  <a:gd name="T18" fmla="*/ 19 w 134"/>
                  <a:gd name="T19" fmla="*/ 26 h 120"/>
                  <a:gd name="T20" fmla="*/ 7 w 134"/>
                  <a:gd name="T21" fmla="*/ 33 h 120"/>
                  <a:gd name="T22" fmla="*/ 4 w 134"/>
                  <a:gd name="T23" fmla="*/ 40 h 120"/>
                  <a:gd name="T24" fmla="*/ 6 w 134"/>
                  <a:gd name="T25" fmla="*/ 50 h 120"/>
                  <a:gd name="T26" fmla="*/ 2 w 134"/>
                  <a:gd name="T27" fmla="*/ 53 h 120"/>
                  <a:gd name="T28" fmla="*/ 0 w 134"/>
                  <a:gd name="T29" fmla="*/ 106 h 120"/>
                  <a:gd name="T30" fmla="*/ 34 w 134"/>
                  <a:gd name="T31" fmla="*/ 113 h 120"/>
                  <a:gd name="T32" fmla="*/ 49 w 134"/>
                  <a:gd name="T33" fmla="*/ 113 h 120"/>
                  <a:gd name="T34" fmla="*/ 52 w 134"/>
                  <a:gd name="T35" fmla="*/ 113 h 120"/>
                  <a:gd name="T36" fmla="*/ 59 w 134"/>
                  <a:gd name="T37" fmla="*/ 118 h 120"/>
                  <a:gd name="T38" fmla="*/ 64 w 134"/>
                  <a:gd name="T39" fmla="*/ 115 h 120"/>
                  <a:gd name="T40" fmla="*/ 72 w 134"/>
                  <a:gd name="T41" fmla="*/ 118 h 120"/>
                  <a:gd name="T42" fmla="*/ 73 w 134"/>
                  <a:gd name="T43" fmla="*/ 120 h 120"/>
                  <a:gd name="T44" fmla="*/ 79 w 134"/>
                  <a:gd name="T45" fmla="*/ 119 h 120"/>
                  <a:gd name="T46" fmla="*/ 87 w 134"/>
                  <a:gd name="T47" fmla="*/ 117 h 120"/>
                  <a:gd name="T48" fmla="*/ 93 w 134"/>
                  <a:gd name="T49" fmla="*/ 120 h 120"/>
                  <a:gd name="T50" fmla="*/ 94 w 134"/>
                  <a:gd name="T51" fmla="*/ 111 h 120"/>
                  <a:gd name="T52" fmla="*/ 106 w 134"/>
                  <a:gd name="T53" fmla="*/ 102 h 120"/>
                  <a:gd name="T54" fmla="*/ 107 w 134"/>
                  <a:gd name="T55" fmla="*/ 102 h 120"/>
                  <a:gd name="T56" fmla="*/ 114 w 134"/>
                  <a:gd name="T57" fmla="*/ 101 h 120"/>
                  <a:gd name="T58" fmla="*/ 107 w 134"/>
                  <a:gd name="T59" fmla="*/ 82 h 120"/>
                  <a:gd name="T60" fmla="*/ 107 w 134"/>
                  <a:gd name="T61" fmla="*/ 77 h 120"/>
                  <a:gd name="T62" fmla="*/ 109 w 134"/>
                  <a:gd name="T63" fmla="*/ 76 h 120"/>
                  <a:gd name="T64" fmla="*/ 115 w 134"/>
                  <a:gd name="T65" fmla="*/ 75 h 120"/>
                  <a:gd name="T66" fmla="*/ 132 w 134"/>
                  <a:gd name="T67" fmla="*/ 72 h 120"/>
                  <a:gd name="T68" fmla="*/ 128 w 134"/>
                  <a:gd name="T69" fmla="*/ 64 h 120"/>
                  <a:gd name="T70" fmla="*/ 117 w 134"/>
                  <a:gd name="T71" fmla="*/ 55 h 120"/>
                  <a:gd name="T72" fmla="*/ 96 w 134"/>
                  <a:gd name="T73" fmla="*/ 36 h 120"/>
                  <a:gd name="T74" fmla="*/ 98 w 134"/>
                  <a:gd name="T75" fmla="*/ 21 h 120"/>
                  <a:gd name="T76" fmla="*/ 92 w 134"/>
                  <a:gd name="T77" fmla="*/ 10 h 120"/>
                  <a:gd name="T78" fmla="*/ 82 w 134"/>
                  <a:gd name="T79" fmla="*/ 9 h 120"/>
                  <a:gd name="T80" fmla="*/ 75 w 134"/>
                  <a:gd name="T81" fmla="*/ 12 h 120"/>
                  <a:gd name="T82" fmla="*/ 74 w 134"/>
                  <a:gd name="T83" fmla="*/ 12 h 120"/>
                  <a:gd name="T84" fmla="*/ 71 w 134"/>
                  <a:gd name="T85" fmla="*/ 10 h 120"/>
                  <a:gd name="T86" fmla="*/ 70 w 134"/>
                  <a:gd name="T87" fmla="*/ 7 h 120"/>
                  <a:gd name="T88" fmla="*/ 66 w 134"/>
                  <a:gd name="T89" fmla="*/ 5 h 120"/>
                  <a:gd name="T90" fmla="*/ 63 w 134"/>
                  <a:gd name="T91" fmla="*/ 5 h 120"/>
                  <a:gd name="T92" fmla="*/ 57 w 134"/>
                  <a:gd name="T93" fmla="*/ 4 h 120"/>
                  <a:gd name="T94" fmla="*/ 56 w 134"/>
                  <a:gd name="T95" fmla="*/ 4 h 120"/>
                  <a:gd name="T96" fmla="*/ 52 w 134"/>
                  <a:gd name="T97" fmla="*/ 2 h 120"/>
                  <a:gd name="T98" fmla="*/ 50 w 134"/>
                  <a:gd name="T99" fmla="*/ 0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4" h="120">
                    <a:moveTo>
                      <a:pt x="49" y="0"/>
                    </a:moveTo>
                    <a:cubicBezTo>
                      <a:pt x="49" y="0"/>
                      <a:pt x="49" y="0"/>
                      <a:pt x="49" y="0"/>
                    </a:cubicBezTo>
                    <a:cubicBezTo>
                      <a:pt x="49" y="0"/>
                      <a:pt x="49" y="0"/>
                      <a:pt x="49" y="0"/>
                    </a:cubicBezTo>
                    <a:cubicBezTo>
                      <a:pt x="48" y="0"/>
                      <a:pt x="48" y="0"/>
                      <a:pt x="48" y="0"/>
                    </a:cubicBezTo>
                    <a:cubicBezTo>
                      <a:pt x="48" y="0"/>
                      <a:pt x="47" y="1"/>
                      <a:pt x="47" y="1"/>
                    </a:cubicBezTo>
                    <a:cubicBezTo>
                      <a:pt x="46" y="1"/>
                      <a:pt x="46" y="1"/>
                      <a:pt x="44" y="3"/>
                    </a:cubicBezTo>
                    <a:cubicBezTo>
                      <a:pt x="44" y="3"/>
                      <a:pt x="43" y="4"/>
                      <a:pt x="43" y="4"/>
                    </a:cubicBezTo>
                    <a:cubicBezTo>
                      <a:pt x="42" y="4"/>
                      <a:pt x="42" y="5"/>
                      <a:pt x="42" y="5"/>
                    </a:cubicBezTo>
                    <a:cubicBezTo>
                      <a:pt x="42" y="5"/>
                      <a:pt x="42" y="5"/>
                      <a:pt x="42" y="5"/>
                    </a:cubicBezTo>
                    <a:cubicBezTo>
                      <a:pt x="41" y="8"/>
                      <a:pt x="40" y="9"/>
                      <a:pt x="39" y="9"/>
                    </a:cubicBezTo>
                    <a:cubicBezTo>
                      <a:pt x="37" y="9"/>
                      <a:pt x="37" y="9"/>
                      <a:pt x="37" y="9"/>
                    </a:cubicBezTo>
                    <a:cubicBezTo>
                      <a:pt x="36" y="9"/>
                      <a:pt x="35" y="9"/>
                      <a:pt x="34" y="9"/>
                    </a:cubicBezTo>
                    <a:cubicBezTo>
                      <a:pt x="34" y="9"/>
                      <a:pt x="34" y="9"/>
                      <a:pt x="34" y="9"/>
                    </a:cubicBezTo>
                    <a:cubicBezTo>
                      <a:pt x="33" y="9"/>
                      <a:pt x="33" y="9"/>
                      <a:pt x="32" y="9"/>
                    </a:cubicBezTo>
                    <a:cubicBezTo>
                      <a:pt x="31" y="9"/>
                      <a:pt x="31" y="9"/>
                      <a:pt x="31" y="9"/>
                    </a:cubicBezTo>
                    <a:cubicBezTo>
                      <a:pt x="30" y="9"/>
                      <a:pt x="30" y="9"/>
                      <a:pt x="29" y="9"/>
                    </a:cubicBezTo>
                    <a:cubicBezTo>
                      <a:pt x="28" y="9"/>
                      <a:pt x="28" y="9"/>
                      <a:pt x="27" y="10"/>
                    </a:cubicBezTo>
                    <a:cubicBezTo>
                      <a:pt x="27" y="10"/>
                      <a:pt x="27" y="10"/>
                      <a:pt x="27" y="10"/>
                    </a:cubicBezTo>
                    <a:cubicBezTo>
                      <a:pt x="31" y="10"/>
                      <a:pt x="31" y="10"/>
                      <a:pt x="31" y="10"/>
                    </a:cubicBezTo>
                    <a:cubicBezTo>
                      <a:pt x="25" y="11"/>
                      <a:pt x="25" y="11"/>
                      <a:pt x="25" y="11"/>
                    </a:cubicBezTo>
                    <a:cubicBezTo>
                      <a:pt x="24" y="12"/>
                      <a:pt x="24" y="12"/>
                      <a:pt x="24" y="12"/>
                    </a:cubicBezTo>
                    <a:cubicBezTo>
                      <a:pt x="23" y="12"/>
                      <a:pt x="23" y="12"/>
                      <a:pt x="23" y="12"/>
                    </a:cubicBezTo>
                    <a:cubicBezTo>
                      <a:pt x="23" y="12"/>
                      <a:pt x="22" y="13"/>
                      <a:pt x="22" y="13"/>
                    </a:cubicBezTo>
                    <a:cubicBezTo>
                      <a:pt x="22" y="13"/>
                      <a:pt x="22" y="13"/>
                      <a:pt x="22" y="13"/>
                    </a:cubicBezTo>
                    <a:cubicBezTo>
                      <a:pt x="22" y="13"/>
                      <a:pt x="22" y="13"/>
                      <a:pt x="22" y="13"/>
                    </a:cubicBezTo>
                    <a:cubicBezTo>
                      <a:pt x="22" y="13"/>
                      <a:pt x="22" y="13"/>
                      <a:pt x="22" y="13"/>
                    </a:cubicBezTo>
                    <a:cubicBezTo>
                      <a:pt x="22" y="14"/>
                      <a:pt x="22" y="14"/>
                      <a:pt x="22" y="14"/>
                    </a:cubicBezTo>
                    <a:cubicBezTo>
                      <a:pt x="21" y="14"/>
                      <a:pt x="21" y="15"/>
                      <a:pt x="21" y="15"/>
                    </a:cubicBezTo>
                    <a:cubicBezTo>
                      <a:pt x="20" y="17"/>
                      <a:pt x="20" y="17"/>
                      <a:pt x="20" y="17"/>
                    </a:cubicBezTo>
                    <a:cubicBezTo>
                      <a:pt x="20" y="18"/>
                      <a:pt x="20" y="18"/>
                      <a:pt x="20" y="18"/>
                    </a:cubicBezTo>
                    <a:cubicBezTo>
                      <a:pt x="20" y="18"/>
                      <a:pt x="20" y="18"/>
                      <a:pt x="20" y="18"/>
                    </a:cubicBezTo>
                    <a:cubicBezTo>
                      <a:pt x="20" y="18"/>
                      <a:pt x="20" y="18"/>
                      <a:pt x="20" y="18"/>
                    </a:cubicBezTo>
                    <a:cubicBezTo>
                      <a:pt x="20" y="18"/>
                      <a:pt x="20" y="18"/>
                      <a:pt x="20" y="18"/>
                    </a:cubicBezTo>
                    <a:cubicBezTo>
                      <a:pt x="20" y="18"/>
                      <a:pt x="20" y="18"/>
                      <a:pt x="21" y="19"/>
                    </a:cubicBezTo>
                    <a:cubicBezTo>
                      <a:pt x="22" y="19"/>
                      <a:pt x="22" y="19"/>
                      <a:pt x="22" y="19"/>
                    </a:cubicBezTo>
                    <a:cubicBezTo>
                      <a:pt x="22" y="19"/>
                      <a:pt x="23" y="19"/>
                      <a:pt x="23" y="20"/>
                    </a:cubicBezTo>
                    <a:cubicBezTo>
                      <a:pt x="26" y="22"/>
                      <a:pt x="26" y="22"/>
                      <a:pt x="26" y="22"/>
                    </a:cubicBezTo>
                    <a:cubicBezTo>
                      <a:pt x="23" y="24"/>
                      <a:pt x="23" y="24"/>
                      <a:pt x="23" y="24"/>
                    </a:cubicBezTo>
                    <a:cubicBezTo>
                      <a:pt x="22" y="24"/>
                      <a:pt x="21" y="25"/>
                      <a:pt x="20" y="26"/>
                    </a:cubicBezTo>
                    <a:cubicBezTo>
                      <a:pt x="19" y="26"/>
                      <a:pt x="19" y="26"/>
                      <a:pt x="19" y="26"/>
                    </a:cubicBezTo>
                    <a:cubicBezTo>
                      <a:pt x="17" y="28"/>
                      <a:pt x="15" y="29"/>
                      <a:pt x="13" y="30"/>
                    </a:cubicBezTo>
                    <a:cubicBezTo>
                      <a:pt x="12" y="31"/>
                      <a:pt x="12" y="31"/>
                      <a:pt x="12" y="31"/>
                    </a:cubicBezTo>
                    <a:cubicBezTo>
                      <a:pt x="12" y="31"/>
                      <a:pt x="11" y="32"/>
                      <a:pt x="10" y="32"/>
                    </a:cubicBezTo>
                    <a:cubicBezTo>
                      <a:pt x="7" y="33"/>
                      <a:pt x="7" y="33"/>
                      <a:pt x="7" y="33"/>
                    </a:cubicBezTo>
                    <a:cubicBezTo>
                      <a:pt x="6" y="34"/>
                      <a:pt x="6" y="34"/>
                      <a:pt x="5" y="35"/>
                    </a:cubicBezTo>
                    <a:cubicBezTo>
                      <a:pt x="5" y="36"/>
                      <a:pt x="5" y="36"/>
                      <a:pt x="5" y="36"/>
                    </a:cubicBezTo>
                    <a:cubicBezTo>
                      <a:pt x="5" y="36"/>
                      <a:pt x="5" y="37"/>
                      <a:pt x="5" y="37"/>
                    </a:cubicBezTo>
                    <a:cubicBezTo>
                      <a:pt x="5" y="38"/>
                      <a:pt x="4" y="39"/>
                      <a:pt x="4" y="40"/>
                    </a:cubicBezTo>
                    <a:cubicBezTo>
                      <a:pt x="3" y="41"/>
                      <a:pt x="3" y="44"/>
                      <a:pt x="2" y="46"/>
                    </a:cubicBezTo>
                    <a:cubicBezTo>
                      <a:pt x="3" y="47"/>
                      <a:pt x="3" y="47"/>
                      <a:pt x="3" y="47"/>
                    </a:cubicBezTo>
                    <a:cubicBezTo>
                      <a:pt x="4" y="48"/>
                      <a:pt x="4" y="48"/>
                      <a:pt x="4" y="48"/>
                    </a:cubicBezTo>
                    <a:cubicBezTo>
                      <a:pt x="5" y="49"/>
                      <a:pt x="6" y="49"/>
                      <a:pt x="6" y="50"/>
                    </a:cubicBezTo>
                    <a:cubicBezTo>
                      <a:pt x="7" y="52"/>
                      <a:pt x="7" y="52"/>
                      <a:pt x="7" y="52"/>
                    </a:cubicBezTo>
                    <a:cubicBezTo>
                      <a:pt x="4" y="53"/>
                      <a:pt x="4" y="53"/>
                      <a:pt x="4" y="53"/>
                    </a:cubicBezTo>
                    <a:cubicBezTo>
                      <a:pt x="3" y="53"/>
                      <a:pt x="3" y="53"/>
                      <a:pt x="2" y="53"/>
                    </a:cubicBezTo>
                    <a:cubicBezTo>
                      <a:pt x="2" y="53"/>
                      <a:pt x="2" y="53"/>
                      <a:pt x="2" y="53"/>
                    </a:cubicBezTo>
                    <a:cubicBezTo>
                      <a:pt x="1" y="54"/>
                      <a:pt x="1" y="54"/>
                      <a:pt x="1" y="54"/>
                    </a:cubicBezTo>
                    <a:cubicBezTo>
                      <a:pt x="1" y="54"/>
                      <a:pt x="1" y="54"/>
                      <a:pt x="1" y="54"/>
                    </a:cubicBezTo>
                    <a:cubicBezTo>
                      <a:pt x="0" y="54"/>
                      <a:pt x="0" y="54"/>
                      <a:pt x="0" y="54"/>
                    </a:cubicBezTo>
                    <a:cubicBezTo>
                      <a:pt x="0" y="106"/>
                      <a:pt x="0" y="106"/>
                      <a:pt x="0" y="106"/>
                    </a:cubicBezTo>
                    <a:cubicBezTo>
                      <a:pt x="3" y="107"/>
                      <a:pt x="5" y="107"/>
                      <a:pt x="8" y="108"/>
                    </a:cubicBezTo>
                    <a:cubicBezTo>
                      <a:pt x="8" y="108"/>
                      <a:pt x="8" y="108"/>
                      <a:pt x="8" y="108"/>
                    </a:cubicBezTo>
                    <a:cubicBezTo>
                      <a:pt x="33" y="113"/>
                      <a:pt x="33" y="113"/>
                      <a:pt x="33" y="113"/>
                    </a:cubicBezTo>
                    <a:cubicBezTo>
                      <a:pt x="33" y="113"/>
                      <a:pt x="34" y="113"/>
                      <a:pt x="34" y="113"/>
                    </a:cubicBezTo>
                    <a:cubicBezTo>
                      <a:pt x="37" y="113"/>
                      <a:pt x="40" y="113"/>
                      <a:pt x="41" y="115"/>
                    </a:cubicBezTo>
                    <a:cubicBezTo>
                      <a:pt x="43" y="114"/>
                      <a:pt x="45" y="114"/>
                      <a:pt x="47" y="114"/>
                    </a:cubicBezTo>
                    <a:cubicBezTo>
                      <a:pt x="48" y="113"/>
                      <a:pt x="48" y="113"/>
                      <a:pt x="48" y="113"/>
                    </a:cubicBezTo>
                    <a:cubicBezTo>
                      <a:pt x="48" y="113"/>
                      <a:pt x="48" y="113"/>
                      <a:pt x="49" y="113"/>
                    </a:cubicBezTo>
                    <a:cubicBezTo>
                      <a:pt x="49" y="113"/>
                      <a:pt x="49" y="113"/>
                      <a:pt x="49" y="113"/>
                    </a:cubicBezTo>
                    <a:cubicBezTo>
                      <a:pt x="51" y="113"/>
                      <a:pt x="51" y="113"/>
                      <a:pt x="51" y="113"/>
                    </a:cubicBezTo>
                    <a:cubicBezTo>
                      <a:pt x="51" y="113"/>
                      <a:pt x="51" y="113"/>
                      <a:pt x="51" y="113"/>
                    </a:cubicBezTo>
                    <a:cubicBezTo>
                      <a:pt x="52" y="113"/>
                      <a:pt x="52" y="113"/>
                      <a:pt x="52" y="113"/>
                    </a:cubicBezTo>
                    <a:cubicBezTo>
                      <a:pt x="53" y="114"/>
                      <a:pt x="53" y="114"/>
                      <a:pt x="53" y="114"/>
                    </a:cubicBezTo>
                    <a:cubicBezTo>
                      <a:pt x="53" y="115"/>
                      <a:pt x="53" y="115"/>
                      <a:pt x="53" y="115"/>
                    </a:cubicBezTo>
                    <a:cubicBezTo>
                      <a:pt x="55" y="116"/>
                      <a:pt x="56" y="117"/>
                      <a:pt x="58" y="117"/>
                    </a:cubicBezTo>
                    <a:cubicBezTo>
                      <a:pt x="58" y="118"/>
                      <a:pt x="59" y="118"/>
                      <a:pt x="59" y="118"/>
                    </a:cubicBezTo>
                    <a:cubicBezTo>
                      <a:pt x="60" y="117"/>
                      <a:pt x="61" y="116"/>
                      <a:pt x="62" y="116"/>
                    </a:cubicBezTo>
                    <a:cubicBezTo>
                      <a:pt x="63" y="115"/>
                      <a:pt x="63" y="115"/>
                      <a:pt x="63" y="115"/>
                    </a:cubicBezTo>
                    <a:cubicBezTo>
                      <a:pt x="63" y="115"/>
                      <a:pt x="63" y="115"/>
                      <a:pt x="63" y="115"/>
                    </a:cubicBezTo>
                    <a:cubicBezTo>
                      <a:pt x="64" y="115"/>
                      <a:pt x="64" y="115"/>
                      <a:pt x="64" y="115"/>
                    </a:cubicBezTo>
                    <a:cubicBezTo>
                      <a:pt x="65" y="114"/>
                      <a:pt x="65" y="114"/>
                      <a:pt x="65" y="114"/>
                    </a:cubicBezTo>
                    <a:cubicBezTo>
                      <a:pt x="66" y="114"/>
                      <a:pt x="66" y="114"/>
                      <a:pt x="66" y="114"/>
                    </a:cubicBezTo>
                    <a:cubicBezTo>
                      <a:pt x="66" y="114"/>
                      <a:pt x="66" y="114"/>
                      <a:pt x="66" y="114"/>
                    </a:cubicBezTo>
                    <a:cubicBezTo>
                      <a:pt x="69" y="114"/>
                      <a:pt x="71" y="116"/>
                      <a:pt x="72" y="118"/>
                    </a:cubicBezTo>
                    <a:cubicBezTo>
                      <a:pt x="72" y="118"/>
                      <a:pt x="72" y="118"/>
                      <a:pt x="72" y="118"/>
                    </a:cubicBezTo>
                    <a:cubicBezTo>
                      <a:pt x="74" y="116"/>
                      <a:pt x="74" y="116"/>
                      <a:pt x="74" y="116"/>
                    </a:cubicBezTo>
                    <a:cubicBezTo>
                      <a:pt x="73" y="119"/>
                      <a:pt x="73" y="119"/>
                      <a:pt x="73" y="119"/>
                    </a:cubicBezTo>
                    <a:cubicBezTo>
                      <a:pt x="73" y="120"/>
                      <a:pt x="73" y="120"/>
                      <a:pt x="73" y="120"/>
                    </a:cubicBezTo>
                    <a:cubicBezTo>
                      <a:pt x="73" y="120"/>
                      <a:pt x="74" y="120"/>
                      <a:pt x="74" y="120"/>
                    </a:cubicBezTo>
                    <a:cubicBezTo>
                      <a:pt x="75" y="120"/>
                      <a:pt x="75" y="120"/>
                      <a:pt x="76" y="120"/>
                    </a:cubicBezTo>
                    <a:cubicBezTo>
                      <a:pt x="77" y="119"/>
                      <a:pt x="77" y="119"/>
                      <a:pt x="77" y="119"/>
                    </a:cubicBezTo>
                    <a:cubicBezTo>
                      <a:pt x="78" y="119"/>
                      <a:pt x="79" y="119"/>
                      <a:pt x="79" y="119"/>
                    </a:cubicBezTo>
                    <a:cubicBezTo>
                      <a:pt x="81" y="118"/>
                      <a:pt x="82" y="118"/>
                      <a:pt x="83" y="118"/>
                    </a:cubicBezTo>
                    <a:cubicBezTo>
                      <a:pt x="83" y="118"/>
                      <a:pt x="83" y="118"/>
                      <a:pt x="84" y="118"/>
                    </a:cubicBezTo>
                    <a:cubicBezTo>
                      <a:pt x="84" y="118"/>
                      <a:pt x="85" y="118"/>
                      <a:pt x="86" y="117"/>
                    </a:cubicBezTo>
                    <a:cubicBezTo>
                      <a:pt x="86" y="117"/>
                      <a:pt x="86" y="117"/>
                      <a:pt x="87" y="117"/>
                    </a:cubicBezTo>
                    <a:cubicBezTo>
                      <a:pt x="87" y="117"/>
                      <a:pt x="87" y="117"/>
                      <a:pt x="87" y="117"/>
                    </a:cubicBezTo>
                    <a:cubicBezTo>
                      <a:pt x="88" y="117"/>
                      <a:pt x="88" y="117"/>
                      <a:pt x="88" y="117"/>
                    </a:cubicBezTo>
                    <a:cubicBezTo>
                      <a:pt x="89" y="118"/>
                      <a:pt x="89" y="118"/>
                      <a:pt x="90" y="118"/>
                    </a:cubicBezTo>
                    <a:cubicBezTo>
                      <a:pt x="91" y="119"/>
                      <a:pt x="92" y="119"/>
                      <a:pt x="93" y="120"/>
                    </a:cubicBezTo>
                    <a:cubicBezTo>
                      <a:pt x="93" y="120"/>
                      <a:pt x="93" y="119"/>
                      <a:pt x="92" y="118"/>
                    </a:cubicBezTo>
                    <a:cubicBezTo>
                      <a:pt x="92" y="116"/>
                      <a:pt x="92" y="114"/>
                      <a:pt x="93" y="113"/>
                    </a:cubicBezTo>
                    <a:cubicBezTo>
                      <a:pt x="94" y="112"/>
                      <a:pt x="94" y="112"/>
                      <a:pt x="94" y="111"/>
                    </a:cubicBezTo>
                    <a:cubicBezTo>
                      <a:pt x="94" y="111"/>
                      <a:pt x="94" y="111"/>
                      <a:pt x="94" y="111"/>
                    </a:cubicBezTo>
                    <a:cubicBezTo>
                      <a:pt x="95" y="110"/>
                      <a:pt x="95" y="110"/>
                      <a:pt x="95" y="110"/>
                    </a:cubicBezTo>
                    <a:cubicBezTo>
                      <a:pt x="97" y="107"/>
                      <a:pt x="97" y="107"/>
                      <a:pt x="97" y="107"/>
                    </a:cubicBezTo>
                    <a:cubicBezTo>
                      <a:pt x="99" y="105"/>
                      <a:pt x="100" y="103"/>
                      <a:pt x="103" y="102"/>
                    </a:cubicBezTo>
                    <a:cubicBezTo>
                      <a:pt x="104" y="102"/>
                      <a:pt x="104" y="102"/>
                      <a:pt x="106" y="102"/>
                    </a:cubicBezTo>
                    <a:cubicBezTo>
                      <a:pt x="106" y="102"/>
                      <a:pt x="106" y="102"/>
                      <a:pt x="106" y="102"/>
                    </a:cubicBezTo>
                    <a:cubicBezTo>
                      <a:pt x="106" y="102"/>
                      <a:pt x="106" y="102"/>
                      <a:pt x="106" y="102"/>
                    </a:cubicBezTo>
                    <a:cubicBezTo>
                      <a:pt x="107" y="102"/>
                      <a:pt x="107" y="102"/>
                      <a:pt x="107" y="102"/>
                    </a:cubicBezTo>
                    <a:cubicBezTo>
                      <a:pt x="107" y="102"/>
                      <a:pt x="107" y="102"/>
                      <a:pt x="107" y="102"/>
                    </a:cubicBezTo>
                    <a:cubicBezTo>
                      <a:pt x="108" y="102"/>
                      <a:pt x="108" y="102"/>
                      <a:pt x="108" y="102"/>
                    </a:cubicBezTo>
                    <a:cubicBezTo>
                      <a:pt x="109" y="102"/>
                      <a:pt x="109" y="102"/>
                      <a:pt x="109" y="102"/>
                    </a:cubicBezTo>
                    <a:cubicBezTo>
                      <a:pt x="110" y="101"/>
                      <a:pt x="111" y="101"/>
                      <a:pt x="112" y="101"/>
                    </a:cubicBezTo>
                    <a:cubicBezTo>
                      <a:pt x="113" y="101"/>
                      <a:pt x="113" y="101"/>
                      <a:pt x="114" y="101"/>
                    </a:cubicBezTo>
                    <a:cubicBezTo>
                      <a:pt x="113" y="100"/>
                      <a:pt x="112" y="98"/>
                      <a:pt x="112" y="95"/>
                    </a:cubicBezTo>
                    <a:cubicBezTo>
                      <a:pt x="113" y="88"/>
                      <a:pt x="112" y="87"/>
                      <a:pt x="111" y="87"/>
                    </a:cubicBezTo>
                    <a:cubicBezTo>
                      <a:pt x="110" y="86"/>
                      <a:pt x="109" y="84"/>
                      <a:pt x="108" y="82"/>
                    </a:cubicBezTo>
                    <a:cubicBezTo>
                      <a:pt x="107" y="82"/>
                      <a:pt x="107" y="82"/>
                      <a:pt x="107" y="82"/>
                    </a:cubicBezTo>
                    <a:cubicBezTo>
                      <a:pt x="106" y="81"/>
                      <a:pt x="106" y="81"/>
                      <a:pt x="106" y="81"/>
                    </a:cubicBezTo>
                    <a:cubicBezTo>
                      <a:pt x="106" y="80"/>
                      <a:pt x="106" y="80"/>
                      <a:pt x="106" y="80"/>
                    </a:cubicBezTo>
                    <a:cubicBezTo>
                      <a:pt x="106" y="79"/>
                      <a:pt x="106" y="78"/>
                      <a:pt x="107" y="78"/>
                    </a:cubicBezTo>
                    <a:cubicBezTo>
                      <a:pt x="107" y="77"/>
                      <a:pt x="107" y="77"/>
                      <a:pt x="107" y="77"/>
                    </a:cubicBezTo>
                    <a:cubicBezTo>
                      <a:pt x="108" y="78"/>
                      <a:pt x="108" y="78"/>
                      <a:pt x="108" y="78"/>
                    </a:cubicBezTo>
                    <a:cubicBezTo>
                      <a:pt x="108" y="77"/>
                      <a:pt x="108" y="77"/>
                      <a:pt x="108" y="77"/>
                    </a:cubicBezTo>
                    <a:cubicBezTo>
                      <a:pt x="108" y="76"/>
                      <a:pt x="108" y="76"/>
                      <a:pt x="108" y="76"/>
                    </a:cubicBezTo>
                    <a:cubicBezTo>
                      <a:pt x="109" y="76"/>
                      <a:pt x="109" y="76"/>
                      <a:pt x="109" y="76"/>
                    </a:cubicBezTo>
                    <a:cubicBezTo>
                      <a:pt x="109" y="76"/>
                      <a:pt x="110" y="76"/>
                      <a:pt x="110" y="75"/>
                    </a:cubicBezTo>
                    <a:cubicBezTo>
                      <a:pt x="111" y="75"/>
                      <a:pt x="111" y="75"/>
                      <a:pt x="111" y="75"/>
                    </a:cubicBezTo>
                    <a:cubicBezTo>
                      <a:pt x="112" y="75"/>
                      <a:pt x="113" y="75"/>
                      <a:pt x="114" y="75"/>
                    </a:cubicBezTo>
                    <a:cubicBezTo>
                      <a:pt x="114" y="75"/>
                      <a:pt x="114" y="75"/>
                      <a:pt x="115" y="75"/>
                    </a:cubicBezTo>
                    <a:cubicBezTo>
                      <a:pt x="116" y="75"/>
                      <a:pt x="116" y="75"/>
                      <a:pt x="118" y="75"/>
                    </a:cubicBezTo>
                    <a:cubicBezTo>
                      <a:pt x="119" y="75"/>
                      <a:pt x="120" y="76"/>
                      <a:pt x="121" y="76"/>
                    </a:cubicBezTo>
                    <a:cubicBezTo>
                      <a:pt x="122" y="76"/>
                      <a:pt x="122" y="76"/>
                      <a:pt x="123" y="76"/>
                    </a:cubicBezTo>
                    <a:cubicBezTo>
                      <a:pt x="126" y="76"/>
                      <a:pt x="129" y="74"/>
                      <a:pt x="132" y="72"/>
                    </a:cubicBezTo>
                    <a:cubicBezTo>
                      <a:pt x="132" y="71"/>
                      <a:pt x="133" y="71"/>
                      <a:pt x="134" y="71"/>
                    </a:cubicBezTo>
                    <a:cubicBezTo>
                      <a:pt x="133" y="70"/>
                      <a:pt x="133" y="70"/>
                      <a:pt x="132" y="70"/>
                    </a:cubicBezTo>
                    <a:cubicBezTo>
                      <a:pt x="130" y="68"/>
                      <a:pt x="128" y="66"/>
                      <a:pt x="128" y="65"/>
                    </a:cubicBezTo>
                    <a:cubicBezTo>
                      <a:pt x="128" y="64"/>
                      <a:pt x="128" y="64"/>
                      <a:pt x="128" y="64"/>
                    </a:cubicBezTo>
                    <a:cubicBezTo>
                      <a:pt x="121" y="63"/>
                      <a:pt x="117" y="62"/>
                      <a:pt x="116" y="61"/>
                    </a:cubicBezTo>
                    <a:cubicBezTo>
                      <a:pt x="115" y="59"/>
                      <a:pt x="115" y="59"/>
                      <a:pt x="115" y="59"/>
                    </a:cubicBezTo>
                    <a:cubicBezTo>
                      <a:pt x="116" y="58"/>
                      <a:pt x="116" y="58"/>
                      <a:pt x="116" y="58"/>
                    </a:cubicBezTo>
                    <a:cubicBezTo>
                      <a:pt x="116" y="57"/>
                      <a:pt x="117" y="56"/>
                      <a:pt x="117" y="55"/>
                    </a:cubicBezTo>
                    <a:cubicBezTo>
                      <a:pt x="116" y="54"/>
                      <a:pt x="115" y="53"/>
                      <a:pt x="114" y="52"/>
                    </a:cubicBezTo>
                    <a:cubicBezTo>
                      <a:pt x="107" y="49"/>
                      <a:pt x="104" y="43"/>
                      <a:pt x="105" y="39"/>
                    </a:cubicBezTo>
                    <a:cubicBezTo>
                      <a:pt x="104" y="39"/>
                      <a:pt x="102" y="37"/>
                      <a:pt x="99" y="36"/>
                    </a:cubicBezTo>
                    <a:cubicBezTo>
                      <a:pt x="96" y="36"/>
                      <a:pt x="96" y="36"/>
                      <a:pt x="96" y="36"/>
                    </a:cubicBezTo>
                    <a:cubicBezTo>
                      <a:pt x="97" y="33"/>
                      <a:pt x="97" y="33"/>
                      <a:pt x="97" y="33"/>
                    </a:cubicBezTo>
                    <a:cubicBezTo>
                      <a:pt x="97" y="32"/>
                      <a:pt x="99" y="29"/>
                      <a:pt x="101" y="27"/>
                    </a:cubicBezTo>
                    <a:cubicBezTo>
                      <a:pt x="101" y="26"/>
                      <a:pt x="100" y="25"/>
                      <a:pt x="100" y="25"/>
                    </a:cubicBezTo>
                    <a:cubicBezTo>
                      <a:pt x="99" y="24"/>
                      <a:pt x="98" y="23"/>
                      <a:pt x="98" y="21"/>
                    </a:cubicBezTo>
                    <a:cubicBezTo>
                      <a:pt x="97" y="20"/>
                      <a:pt x="97" y="20"/>
                      <a:pt x="97" y="20"/>
                    </a:cubicBezTo>
                    <a:cubicBezTo>
                      <a:pt x="100" y="17"/>
                      <a:pt x="100" y="17"/>
                      <a:pt x="100" y="17"/>
                    </a:cubicBezTo>
                    <a:cubicBezTo>
                      <a:pt x="99" y="14"/>
                      <a:pt x="99" y="14"/>
                      <a:pt x="99" y="14"/>
                    </a:cubicBezTo>
                    <a:cubicBezTo>
                      <a:pt x="98" y="13"/>
                      <a:pt x="96" y="11"/>
                      <a:pt x="92" y="10"/>
                    </a:cubicBezTo>
                    <a:cubicBezTo>
                      <a:pt x="91" y="9"/>
                      <a:pt x="90" y="9"/>
                      <a:pt x="89" y="8"/>
                    </a:cubicBezTo>
                    <a:cubicBezTo>
                      <a:pt x="89" y="8"/>
                      <a:pt x="89" y="8"/>
                      <a:pt x="89" y="8"/>
                    </a:cubicBezTo>
                    <a:cubicBezTo>
                      <a:pt x="87" y="8"/>
                      <a:pt x="86" y="8"/>
                      <a:pt x="85" y="8"/>
                    </a:cubicBezTo>
                    <a:cubicBezTo>
                      <a:pt x="83" y="8"/>
                      <a:pt x="82" y="8"/>
                      <a:pt x="82" y="9"/>
                    </a:cubicBezTo>
                    <a:cubicBezTo>
                      <a:pt x="81" y="9"/>
                      <a:pt x="80" y="10"/>
                      <a:pt x="79" y="10"/>
                    </a:cubicBezTo>
                    <a:cubicBezTo>
                      <a:pt x="79" y="10"/>
                      <a:pt x="79" y="10"/>
                      <a:pt x="79" y="10"/>
                    </a:cubicBezTo>
                    <a:cubicBezTo>
                      <a:pt x="78" y="11"/>
                      <a:pt x="78" y="11"/>
                      <a:pt x="77" y="11"/>
                    </a:cubicBezTo>
                    <a:cubicBezTo>
                      <a:pt x="77" y="12"/>
                      <a:pt x="76" y="12"/>
                      <a:pt x="75" y="12"/>
                    </a:cubicBezTo>
                    <a:cubicBezTo>
                      <a:pt x="75" y="12"/>
                      <a:pt x="75" y="12"/>
                      <a:pt x="75" y="12"/>
                    </a:cubicBezTo>
                    <a:cubicBezTo>
                      <a:pt x="75" y="12"/>
                      <a:pt x="75" y="12"/>
                      <a:pt x="75" y="12"/>
                    </a:cubicBezTo>
                    <a:cubicBezTo>
                      <a:pt x="74" y="12"/>
                      <a:pt x="74" y="12"/>
                      <a:pt x="74" y="12"/>
                    </a:cubicBezTo>
                    <a:cubicBezTo>
                      <a:pt x="74" y="12"/>
                      <a:pt x="74" y="12"/>
                      <a:pt x="74" y="12"/>
                    </a:cubicBezTo>
                    <a:cubicBezTo>
                      <a:pt x="73" y="12"/>
                      <a:pt x="72" y="11"/>
                      <a:pt x="72" y="11"/>
                    </a:cubicBezTo>
                    <a:cubicBezTo>
                      <a:pt x="72" y="11"/>
                      <a:pt x="72" y="11"/>
                      <a:pt x="72" y="11"/>
                    </a:cubicBezTo>
                    <a:cubicBezTo>
                      <a:pt x="71" y="11"/>
                      <a:pt x="71" y="11"/>
                      <a:pt x="71" y="11"/>
                    </a:cubicBezTo>
                    <a:cubicBezTo>
                      <a:pt x="71" y="10"/>
                      <a:pt x="71" y="10"/>
                      <a:pt x="71" y="10"/>
                    </a:cubicBezTo>
                    <a:cubicBezTo>
                      <a:pt x="71" y="10"/>
                      <a:pt x="71" y="10"/>
                      <a:pt x="71" y="10"/>
                    </a:cubicBezTo>
                    <a:cubicBezTo>
                      <a:pt x="71" y="9"/>
                      <a:pt x="71" y="9"/>
                      <a:pt x="71" y="9"/>
                    </a:cubicBezTo>
                    <a:cubicBezTo>
                      <a:pt x="70" y="9"/>
                      <a:pt x="70" y="8"/>
                      <a:pt x="70" y="8"/>
                    </a:cubicBezTo>
                    <a:cubicBezTo>
                      <a:pt x="70" y="7"/>
                      <a:pt x="70" y="7"/>
                      <a:pt x="70" y="7"/>
                    </a:cubicBezTo>
                    <a:cubicBezTo>
                      <a:pt x="70" y="7"/>
                      <a:pt x="70" y="7"/>
                      <a:pt x="70" y="6"/>
                    </a:cubicBezTo>
                    <a:cubicBezTo>
                      <a:pt x="70" y="6"/>
                      <a:pt x="70" y="5"/>
                      <a:pt x="70" y="5"/>
                    </a:cubicBezTo>
                    <a:cubicBezTo>
                      <a:pt x="69" y="4"/>
                      <a:pt x="69" y="4"/>
                      <a:pt x="69" y="4"/>
                    </a:cubicBezTo>
                    <a:cubicBezTo>
                      <a:pt x="68" y="5"/>
                      <a:pt x="67" y="5"/>
                      <a:pt x="66" y="5"/>
                    </a:cubicBezTo>
                    <a:cubicBezTo>
                      <a:pt x="66" y="5"/>
                      <a:pt x="66" y="5"/>
                      <a:pt x="66" y="5"/>
                    </a:cubicBezTo>
                    <a:cubicBezTo>
                      <a:pt x="66" y="5"/>
                      <a:pt x="66" y="5"/>
                      <a:pt x="66" y="5"/>
                    </a:cubicBezTo>
                    <a:cubicBezTo>
                      <a:pt x="65" y="5"/>
                      <a:pt x="64" y="5"/>
                      <a:pt x="63" y="5"/>
                    </a:cubicBezTo>
                    <a:cubicBezTo>
                      <a:pt x="63" y="5"/>
                      <a:pt x="63" y="5"/>
                      <a:pt x="63" y="5"/>
                    </a:cubicBezTo>
                    <a:cubicBezTo>
                      <a:pt x="62" y="5"/>
                      <a:pt x="61" y="5"/>
                      <a:pt x="61" y="5"/>
                    </a:cubicBezTo>
                    <a:cubicBezTo>
                      <a:pt x="60" y="5"/>
                      <a:pt x="60" y="5"/>
                      <a:pt x="60" y="5"/>
                    </a:cubicBezTo>
                    <a:cubicBezTo>
                      <a:pt x="59" y="5"/>
                      <a:pt x="58" y="5"/>
                      <a:pt x="57" y="4"/>
                    </a:cubicBezTo>
                    <a:cubicBezTo>
                      <a:pt x="57" y="4"/>
                      <a:pt x="57" y="4"/>
                      <a:pt x="57" y="4"/>
                    </a:cubicBezTo>
                    <a:cubicBezTo>
                      <a:pt x="57" y="4"/>
                      <a:pt x="57" y="4"/>
                      <a:pt x="57" y="4"/>
                    </a:cubicBezTo>
                    <a:cubicBezTo>
                      <a:pt x="57" y="4"/>
                      <a:pt x="57" y="4"/>
                      <a:pt x="57" y="4"/>
                    </a:cubicBezTo>
                    <a:cubicBezTo>
                      <a:pt x="56" y="4"/>
                      <a:pt x="56" y="4"/>
                      <a:pt x="56" y="4"/>
                    </a:cubicBezTo>
                    <a:cubicBezTo>
                      <a:pt x="56" y="4"/>
                      <a:pt x="56" y="4"/>
                      <a:pt x="56" y="4"/>
                    </a:cubicBezTo>
                    <a:cubicBezTo>
                      <a:pt x="55" y="3"/>
                      <a:pt x="55" y="3"/>
                      <a:pt x="54" y="3"/>
                    </a:cubicBezTo>
                    <a:cubicBezTo>
                      <a:pt x="54" y="2"/>
                      <a:pt x="54" y="2"/>
                      <a:pt x="54" y="2"/>
                    </a:cubicBezTo>
                    <a:cubicBezTo>
                      <a:pt x="53" y="2"/>
                      <a:pt x="53" y="2"/>
                      <a:pt x="53" y="2"/>
                    </a:cubicBezTo>
                    <a:cubicBezTo>
                      <a:pt x="52" y="2"/>
                      <a:pt x="52" y="2"/>
                      <a:pt x="52" y="2"/>
                    </a:cubicBezTo>
                    <a:cubicBezTo>
                      <a:pt x="51" y="1"/>
                      <a:pt x="51" y="1"/>
                      <a:pt x="51" y="1"/>
                    </a:cubicBezTo>
                    <a:cubicBezTo>
                      <a:pt x="51" y="1"/>
                      <a:pt x="51" y="1"/>
                      <a:pt x="51" y="1"/>
                    </a:cubicBezTo>
                    <a:cubicBezTo>
                      <a:pt x="51" y="1"/>
                      <a:pt x="50" y="1"/>
                      <a:pt x="50" y="0"/>
                    </a:cubicBezTo>
                    <a:cubicBezTo>
                      <a:pt x="50" y="0"/>
                      <a:pt x="50" y="0"/>
                      <a:pt x="50" y="0"/>
                    </a:cubicBezTo>
                    <a:cubicBezTo>
                      <a:pt x="50" y="1"/>
                      <a:pt x="50" y="1"/>
                      <a:pt x="50" y="1"/>
                    </a:cubicBezTo>
                    <a:cubicBezTo>
                      <a:pt x="49" y="0"/>
                      <a:pt x="49"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9" name="Freeform 397"/>
              <p:cNvSpPr/>
              <p:nvPr/>
            </p:nvSpPr>
            <p:spPr bwMode="auto">
              <a:xfrm>
                <a:off x="3665" y="481"/>
                <a:ext cx="40" cy="88"/>
              </a:xfrm>
              <a:custGeom>
                <a:gdLst>
                  <a:gd name="T0" fmla="*/ 0 w 17"/>
                  <a:gd name="T1" fmla="*/ 0 h 37"/>
                  <a:gd name="T2" fmla="*/ 0 w 17"/>
                  <a:gd name="T3" fmla="*/ 37 h 37"/>
                  <a:gd name="T4" fmla="*/ 1 w 17"/>
                  <a:gd name="T5" fmla="*/ 34 h 37"/>
                  <a:gd name="T6" fmla="*/ 5 w 17"/>
                  <a:gd name="T7" fmla="*/ 29 h 37"/>
                  <a:gd name="T8" fmla="*/ 7 w 17"/>
                  <a:gd name="T9" fmla="*/ 28 h 37"/>
                  <a:gd name="T10" fmla="*/ 8 w 17"/>
                  <a:gd name="T11" fmla="*/ 28 h 37"/>
                  <a:gd name="T12" fmla="*/ 10 w 17"/>
                  <a:gd name="T13" fmla="*/ 27 h 37"/>
                  <a:gd name="T14" fmla="*/ 8 w 17"/>
                  <a:gd name="T15" fmla="*/ 24 h 37"/>
                  <a:gd name="T16" fmla="*/ 11 w 17"/>
                  <a:gd name="T17" fmla="*/ 26 h 37"/>
                  <a:gd name="T18" fmla="*/ 17 w 17"/>
                  <a:gd name="T19" fmla="*/ 22 h 37"/>
                  <a:gd name="T20" fmla="*/ 17 w 17"/>
                  <a:gd name="T21" fmla="*/ 22 h 37"/>
                  <a:gd name="T22" fmla="*/ 16 w 17"/>
                  <a:gd name="T23" fmla="*/ 21 h 37"/>
                  <a:gd name="T24" fmla="*/ 16 w 17"/>
                  <a:gd name="T25" fmla="*/ 16 h 37"/>
                  <a:gd name="T26" fmla="*/ 16 w 17"/>
                  <a:gd name="T27" fmla="*/ 14 h 37"/>
                  <a:gd name="T28" fmla="*/ 17 w 17"/>
                  <a:gd name="T29" fmla="*/ 12 h 37"/>
                  <a:gd name="T30" fmla="*/ 17 w 17"/>
                  <a:gd name="T31" fmla="*/ 12 h 37"/>
                  <a:gd name="T32" fmla="*/ 13 w 17"/>
                  <a:gd name="T33" fmla="*/ 10 h 37"/>
                  <a:gd name="T34" fmla="*/ 12 w 17"/>
                  <a:gd name="T35" fmla="*/ 9 h 37"/>
                  <a:gd name="T36" fmla="*/ 10 w 17"/>
                  <a:gd name="T37" fmla="*/ 8 h 37"/>
                  <a:gd name="T38" fmla="*/ 8 w 17"/>
                  <a:gd name="T39" fmla="*/ 6 h 37"/>
                  <a:gd name="T40" fmla="*/ 6 w 17"/>
                  <a:gd name="T41" fmla="*/ 4 h 37"/>
                  <a:gd name="T42" fmla="*/ 4 w 17"/>
                  <a:gd name="T43" fmla="*/ 3 h 37"/>
                  <a:gd name="T44" fmla="*/ 2 w 17"/>
                  <a:gd name="T45" fmla="*/ 2 h 37"/>
                  <a:gd name="T46" fmla="*/ 0 w 17"/>
                  <a:gd name="T47"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37">
                    <a:moveTo>
                      <a:pt x="0" y="0"/>
                    </a:moveTo>
                    <a:cubicBezTo>
                      <a:pt x="0" y="37"/>
                      <a:pt x="0" y="37"/>
                      <a:pt x="0" y="37"/>
                    </a:cubicBezTo>
                    <a:cubicBezTo>
                      <a:pt x="1" y="34"/>
                      <a:pt x="1" y="34"/>
                      <a:pt x="1" y="34"/>
                    </a:cubicBezTo>
                    <a:cubicBezTo>
                      <a:pt x="2" y="32"/>
                      <a:pt x="3" y="31"/>
                      <a:pt x="5" y="29"/>
                    </a:cubicBezTo>
                    <a:cubicBezTo>
                      <a:pt x="5" y="29"/>
                      <a:pt x="6" y="29"/>
                      <a:pt x="7" y="28"/>
                    </a:cubicBezTo>
                    <a:cubicBezTo>
                      <a:pt x="8" y="28"/>
                      <a:pt x="8" y="28"/>
                      <a:pt x="8" y="28"/>
                    </a:cubicBezTo>
                    <a:cubicBezTo>
                      <a:pt x="8" y="27"/>
                      <a:pt x="9" y="27"/>
                      <a:pt x="10" y="27"/>
                    </a:cubicBezTo>
                    <a:cubicBezTo>
                      <a:pt x="8" y="24"/>
                      <a:pt x="8" y="24"/>
                      <a:pt x="8" y="24"/>
                    </a:cubicBezTo>
                    <a:cubicBezTo>
                      <a:pt x="11" y="26"/>
                      <a:pt x="11" y="26"/>
                      <a:pt x="11" y="26"/>
                    </a:cubicBezTo>
                    <a:cubicBezTo>
                      <a:pt x="13" y="25"/>
                      <a:pt x="15" y="24"/>
                      <a:pt x="17" y="22"/>
                    </a:cubicBezTo>
                    <a:cubicBezTo>
                      <a:pt x="17" y="22"/>
                      <a:pt x="17" y="22"/>
                      <a:pt x="17" y="22"/>
                    </a:cubicBezTo>
                    <a:cubicBezTo>
                      <a:pt x="17" y="22"/>
                      <a:pt x="16" y="22"/>
                      <a:pt x="16" y="21"/>
                    </a:cubicBezTo>
                    <a:cubicBezTo>
                      <a:pt x="14" y="19"/>
                      <a:pt x="15" y="17"/>
                      <a:pt x="16" y="16"/>
                    </a:cubicBezTo>
                    <a:cubicBezTo>
                      <a:pt x="16" y="14"/>
                      <a:pt x="16" y="14"/>
                      <a:pt x="16" y="14"/>
                    </a:cubicBezTo>
                    <a:cubicBezTo>
                      <a:pt x="17" y="13"/>
                      <a:pt x="17" y="13"/>
                      <a:pt x="17" y="12"/>
                    </a:cubicBezTo>
                    <a:cubicBezTo>
                      <a:pt x="17" y="12"/>
                      <a:pt x="17" y="12"/>
                      <a:pt x="17" y="12"/>
                    </a:cubicBezTo>
                    <a:cubicBezTo>
                      <a:pt x="15" y="12"/>
                      <a:pt x="14" y="11"/>
                      <a:pt x="13" y="10"/>
                    </a:cubicBezTo>
                    <a:cubicBezTo>
                      <a:pt x="12" y="9"/>
                      <a:pt x="12" y="9"/>
                      <a:pt x="12" y="9"/>
                    </a:cubicBezTo>
                    <a:cubicBezTo>
                      <a:pt x="12" y="9"/>
                      <a:pt x="11" y="8"/>
                      <a:pt x="10" y="8"/>
                    </a:cubicBezTo>
                    <a:cubicBezTo>
                      <a:pt x="8" y="6"/>
                      <a:pt x="8" y="6"/>
                      <a:pt x="8" y="6"/>
                    </a:cubicBezTo>
                    <a:cubicBezTo>
                      <a:pt x="7" y="5"/>
                      <a:pt x="7" y="5"/>
                      <a:pt x="6" y="4"/>
                    </a:cubicBezTo>
                    <a:cubicBezTo>
                      <a:pt x="5" y="4"/>
                      <a:pt x="4" y="3"/>
                      <a:pt x="4" y="3"/>
                    </a:cubicBezTo>
                    <a:cubicBezTo>
                      <a:pt x="3" y="2"/>
                      <a:pt x="3" y="2"/>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Freeform 398"/>
              <p:cNvSpPr/>
              <p:nvPr/>
            </p:nvSpPr>
            <p:spPr bwMode="auto">
              <a:xfrm>
                <a:off x="3665" y="366"/>
                <a:ext cx="113" cy="134"/>
              </a:xfrm>
              <a:custGeom>
                <a:gdLst>
                  <a:gd name="T0" fmla="*/ 0 w 48"/>
                  <a:gd name="T1" fmla="*/ 44 h 57"/>
                  <a:gd name="T2" fmla="*/ 5 w 48"/>
                  <a:gd name="T3" fmla="*/ 47 h 57"/>
                  <a:gd name="T4" fmla="*/ 7 w 48"/>
                  <a:gd name="T5" fmla="*/ 48 h 57"/>
                  <a:gd name="T6" fmla="*/ 11 w 48"/>
                  <a:gd name="T7" fmla="*/ 52 h 57"/>
                  <a:gd name="T8" fmla="*/ 14 w 48"/>
                  <a:gd name="T9" fmla="*/ 53 h 57"/>
                  <a:gd name="T10" fmla="*/ 16 w 48"/>
                  <a:gd name="T11" fmla="*/ 55 h 57"/>
                  <a:gd name="T12" fmla="*/ 19 w 48"/>
                  <a:gd name="T13" fmla="*/ 57 h 57"/>
                  <a:gd name="T14" fmla="*/ 20 w 48"/>
                  <a:gd name="T15" fmla="*/ 57 h 57"/>
                  <a:gd name="T16" fmla="*/ 20 w 48"/>
                  <a:gd name="T17" fmla="*/ 57 h 57"/>
                  <a:gd name="T18" fmla="*/ 22 w 48"/>
                  <a:gd name="T19" fmla="*/ 57 h 57"/>
                  <a:gd name="T20" fmla="*/ 24 w 48"/>
                  <a:gd name="T21" fmla="*/ 55 h 57"/>
                  <a:gd name="T22" fmla="*/ 31 w 48"/>
                  <a:gd name="T23" fmla="*/ 53 h 57"/>
                  <a:gd name="T24" fmla="*/ 34 w 48"/>
                  <a:gd name="T25" fmla="*/ 53 h 57"/>
                  <a:gd name="T26" fmla="*/ 37 w 48"/>
                  <a:gd name="T27" fmla="*/ 53 h 57"/>
                  <a:gd name="T28" fmla="*/ 40 w 48"/>
                  <a:gd name="T29" fmla="*/ 49 h 57"/>
                  <a:gd name="T30" fmla="*/ 41 w 48"/>
                  <a:gd name="T31" fmla="*/ 48 h 57"/>
                  <a:gd name="T32" fmla="*/ 47 w 48"/>
                  <a:gd name="T33" fmla="*/ 45 h 57"/>
                  <a:gd name="T34" fmla="*/ 47 w 48"/>
                  <a:gd name="T35" fmla="*/ 43 h 57"/>
                  <a:gd name="T36" fmla="*/ 48 w 48"/>
                  <a:gd name="T37" fmla="*/ 41 h 57"/>
                  <a:gd name="T38" fmla="*/ 47 w 48"/>
                  <a:gd name="T39" fmla="*/ 41 h 57"/>
                  <a:gd name="T40" fmla="*/ 47 w 48"/>
                  <a:gd name="T41" fmla="*/ 40 h 57"/>
                  <a:gd name="T42" fmla="*/ 44 w 48"/>
                  <a:gd name="T43" fmla="*/ 33 h 57"/>
                  <a:gd name="T44" fmla="*/ 41 w 48"/>
                  <a:gd name="T45" fmla="*/ 30 h 57"/>
                  <a:gd name="T46" fmla="*/ 34 w 48"/>
                  <a:gd name="T47" fmla="*/ 34 h 57"/>
                  <a:gd name="T48" fmla="*/ 39 w 48"/>
                  <a:gd name="T49" fmla="*/ 23 h 57"/>
                  <a:gd name="T50" fmla="*/ 39 w 48"/>
                  <a:gd name="T51" fmla="*/ 22 h 57"/>
                  <a:gd name="T52" fmla="*/ 40 w 48"/>
                  <a:gd name="T53" fmla="*/ 16 h 57"/>
                  <a:gd name="T54" fmla="*/ 38 w 48"/>
                  <a:gd name="T55" fmla="*/ 15 h 57"/>
                  <a:gd name="T56" fmla="*/ 37 w 48"/>
                  <a:gd name="T57" fmla="*/ 14 h 57"/>
                  <a:gd name="T58" fmla="*/ 35 w 48"/>
                  <a:gd name="T59" fmla="*/ 13 h 57"/>
                  <a:gd name="T60" fmla="*/ 34 w 48"/>
                  <a:gd name="T61" fmla="*/ 12 h 57"/>
                  <a:gd name="T62" fmla="*/ 31 w 48"/>
                  <a:gd name="T63" fmla="*/ 15 h 57"/>
                  <a:gd name="T64" fmla="*/ 30 w 48"/>
                  <a:gd name="T65" fmla="*/ 11 h 57"/>
                  <a:gd name="T66" fmla="*/ 27 w 48"/>
                  <a:gd name="T67" fmla="*/ 10 h 57"/>
                  <a:gd name="T68" fmla="*/ 25 w 48"/>
                  <a:gd name="T69" fmla="*/ 10 h 57"/>
                  <a:gd name="T70" fmla="*/ 23 w 48"/>
                  <a:gd name="T71" fmla="*/ 10 h 57"/>
                  <a:gd name="T72" fmla="*/ 18 w 48"/>
                  <a:gd name="T73" fmla="*/ 11 h 57"/>
                  <a:gd name="T74" fmla="*/ 12 w 48"/>
                  <a:gd name="T75" fmla="*/ 9 h 57"/>
                  <a:gd name="T76" fmla="*/ 7 w 48"/>
                  <a:gd name="T77" fmla="*/ 4 h 57"/>
                  <a:gd name="T78" fmla="*/ 7 w 48"/>
                  <a:gd name="T79" fmla="*/ 3 h 57"/>
                  <a:gd name="T80" fmla="*/ 1 w 48"/>
                  <a:gd name="T81" fmla="*/ 0 h 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57">
                    <a:moveTo>
                      <a:pt x="0" y="0"/>
                    </a:moveTo>
                    <a:cubicBezTo>
                      <a:pt x="0" y="44"/>
                      <a:pt x="0" y="44"/>
                      <a:pt x="0" y="44"/>
                    </a:cubicBezTo>
                    <a:cubicBezTo>
                      <a:pt x="1" y="44"/>
                      <a:pt x="1" y="44"/>
                      <a:pt x="1" y="44"/>
                    </a:cubicBezTo>
                    <a:cubicBezTo>
                      <a:pt x="3" y="45"/>
                      <a:pt x="4" y="46"/>
                      <a:pt x="5" y="47"/>
                    </a:cubicBezTo>
                    <a:cubicBezTo>
                      <a:pt x="6" y="48"/>
                      <a:pt x="6" y="48"/>
                      <a:pt x="6" y="48"/>
                    </a:cubicBezTo>
                    <a:cubicBezTo>
                      <a:pt x="7" y="48"/>
                      <a:pt x="7" y="48"/>
                      <a:pt x="7" y="48"/>
                    </a:cubicBezTo>
                    <a:cubicBezTo>
                      <a:pt x="7" y="49"/>
                      <a:pt x="8" y="49"/>
                      <a:pt x="8" y="49"/>
                    </a:cubicBezTo>
                    <a:cubicBezTo>
                      <a:pt x="9" y="50"/>
                      <a:pt x="10" y="51"/>
                      <a:pt x="11" y="52"/>
                    </a:cubicBezTo>
                    <a:cubicBezTo>
                      <a:pt x="12" y="52"/>
                      <a:pt x="12" y="52"/>
                      <a:pt x="13" y="53"/>
                    </a:cubicBezTo>
                    <a:cubicBezTo>
                      <a:pt x="14" y="53"/>
                      <a:pt x="14" y="53"/>
                      <a:pt x="14" y="53"/>
                    </a:cubicBezTo>
                    <a:cubicBezTo>
                      <a:pt x="14" y="54"/>
                      <a:pt x="15" y="54"/>
                      <a:pt x="15" y="55"/>
                    </a:cubicBezTo>
                    <a:cubicBezTo>
                      <a:pt x="16" y="55"/>
                      <a:pt x="16" y="55"/>
                      <a:pt x="16" y="55"/>
                    </a:cubicBezTo>
                    <a:cubicBezTo>
                      <a:pt x="17" y="56"/>
                      <a:pt x="17" y="56"/>
                      <a:pt x="18" y="57"/>
                    </a:cubicBezTo>
                    <a:cubicBezTo>
                      <a:pt x="19" y="57"/>
                      <a:pt x="19" y="57"/>
                      <a:pt x="19" y="57"/>
                    </a:cubicBezTo>
                    <a:cubicBezTo>
                      <a:pt x="19" y="57"/>
                      <a:pt x="19" y="57"/>
                      <a:pt x="19" y="57"/>
                    </a:cubicBezTo>
                    <a:cubicBezTo>
                      <a:pt x="20" y="57"/>
                      <a:pt x="20" y="57"/>
                      <a:pt x="20" y="57"/>
                    </a:cubicBezTo>
                    <a:cubicBezTo>
                      <a:pt x="20" y="57"/>
                      <a:pt x="20" y="57"/>
                      <a:pt x="20" y="57"/>
                    </a:cubicBezTo>
                    <a:cubicBezTo>
                      <a:pt x="20" y="57"/>
                      <a:pt x="20" y="57"/>
                      <a:pt x="20" y="57"/>
                    </a:cubicBezTo>
                    <a:cubicBezTo>
                      <a:pt x="20" y="57"/>
                      <a:pt x="20" y="57"/>
                      <a:pt x="20" y="57"/>
                    </a:cubicBezTo>
                    <a:cubicBezTo>
                      <a:pt x="21" y="57"/>
                      <a:pt x="21" y="57"/>
                      <a:pt x="22" y="57"/>
                    </a:cubicBezTo>
                    <a:cubicBezTo>
                      <a:pt x="22" y="57"/>
                      <a:pt x="22" y="57"/>
                      <a:pt x="22" y="57"/>
                    </a:cubicBezTo>
                    <a:cubicBezTo>
                      <a:pt x="22" y="56"/>
                      <a:pt x="23" y="56"/>
                      <a:pt x="24" y="55"/>
                    </a:cubicBezTo>
                    <a:cubicBezTo>
                      <a:pt x="25" y="54"/>
                      <a:pt x="26" y="53"/>
                      <a:pt x="29" y="53"/>
                    </a:cubicBezTo>
                    <a:cubicBezTo>
                      <a:pt x="30" y="53"/>
                      <a:pt x="30" y="53"/>
                      <a:pt x="31" y="53"/>
                    </a:cubicBezTo>
                    <a:cubicBezTo>
                      <a:pt x="33" y="53"/>
                      <a:pt x="33" y="53"/>
                      <a:pt x="33" y="53"/>
                    </a:cubicBezTo>
                    <a:cubicBezTo>
                      <a:pt x="34" y="53"/>
                      <a:pt x="34" y="53"/>
                      <a:pt x="34" y="53"/>
                    </a:cubicBezTo>
                    <a:cubicBezTo>
                      <a:pt x="35" y="53"/>
                      <a:pt x="36" y="53"/>
                      <a:pt x="37" y="53"/>
                    </a:cubicBezTo>
                    <a:cubicBezTo>
                      <a:pt x="37" y="53"/>
                      <a:pt x="37" y="53"/>
                      <a:pt x="37" y="53"/>
                    </a:cubicBezTo>
                    <a:cubicBezTo>
                      <a:pt x="37" y="52"/>
                      <a:pt x="37" y="51"/>
                      <a:pt x="38" y="51"/>
                    </a:cubicBezTo>
                    <a:cubicBezTo>
                      <a:pt x="39" y="50"/>
                      <a:pt x="39" y="50"/>
                      <a:pt x="40" y="49"/>
                    </a:cubicBezTo>
                    <a:cubicBezTo>
                      <a:pt x="40" y="49"/>
                      <a:pt x="40" y="49"/>
                      <a:pt x="40" y="49"/>
                    </a:cubicBezTo>
                    <a:cubicBezTo>
                      <a:pt x="41" y="48"/>
                      <a:pt x="41" y="48"/>
                      <a:pt x="41" y="48"/>
                    </a:cubicBezTo>
                    <a:cubicBezTo>
                      <a:pt x="42" y="47"/>
                      <a:pt x="44" y="46"/>
                      <a:pt x="46" y="45"/>
                    </a:cubicBezTo>
                    <a:cubicBezTo>
                      <a:pt x="47" y="45"/>
                      <a:pt x="47" y="45"/>
                      <a:pt x="47" y="45"/>
                    </a:cubicBezTo>
                    <a:cubicBezTo>
                      <a:pt x="47" y="45"/>
                      <a:pt x="47" y="45"/>
                      <a:pt x="47" y="45"/>
                    </a:cubicBezTo>
                    <a:cubicBezTo>
                      <a:pt x="47" y="43"/>
                      <a:pt x="47" y="43"/>
                      <a:pt x="47" y="43"/>
                    </a:cubicBezTo>
                    <a:cubicBezTo>
                      <a:pt x="47" y="42"/>
                      <a:pt x="47" y="42"/>
                      <a:pt x="47" y="42"/>
                    </a:cubicBezTo>
                    <a:cubicBezTo>
                      <a:pt x="48" y="41"/>
                      <a:pt x="48" y="41"/>
                      <a:pt x="48" y="41"/>
                    </a:cubicBezTo>
                    <a:cubicBezTo>
                      <a:pt x="47" y="42"/>
                      <a:pt x="47" y="42"/>
                      <a:pt x="47" y="42"/>
                    </a:cubicBezTo>
                    <a:cubicBezTo>
                      <a:pt x="47" y="41"/>
                      <a:pt x="47" y="41"/>
                      <a:pt x="47" y="41"/>
                    </a:cubicBezTo>
                    <a:cubicBezTo>
                      <a:pt x="47" y="40"/>
                      <a:pt x="47" y="40"/>
                      <a:pt x="47" y="40"/>
                    </a:cubicBezTo>
                    <a:cubicBezTo>
                      <a:pt x="47" y="40"/>
                      <a:pt x="47" y="40"/>
                      <a:pt x="47" y="40"/>
                    </a:cubicBezTo>
                    <a:cubicBezTo>
                      <a:pt x="46" y="39"/>
                      <a:pt x="46" y="39"/>
                      <a:pt x="46" y="39"/>
                    </a:cubicBezTo>
                    <a:cubicBezTo>
                      <a:pt x="46" y="38"/>
                      <a:pt x="45" y="37"/>
                      <a:pt x="44" y="33"/>
                    </a:cubicBezTo>
                    <a:cubicBezTo>
                      <a:pt x="44" y="31"/>
                      <a:pt x="43" y="30"/>
                      <a:pt x="42" y="30"/>
                    </a:cubicBezTo>
                    <a:cubicBezTo>
                      <a:pt x="42" y="30"/>
                      <a:pt x="41" y="30"/>
                      <a:pt x="41" y="30"/>
                    </a:cubicBezTo>
                    <a:cubicBezTo>
                      <a:pt x="41" y="30"/>
                      <a:pt x="41" y="30"/>
                      <a:pt x="41" y="30"/>
                    </a:cubicBezTo>
                    <a:cubicBezTo>
                      <a:pt x="34" y="34"/>
                      <a:pt x="34" y="34"/>
                      <a:pt x="34" y="34"/>
                    </a:cubicBezTo>
                    <a:cubicBezTo>
                      <a:pt x="37" y="27"/>
                      <a:pt x="37" y="27"/>
                      <a:pt x="37" y="27"/>
                    </a:cubicBezTo>
                    <a:cubicBezTo>
                      <a:pt x="37" y="27"/>
                      <a:pt x="38" y="25"/>
                      <a:pt x="39" y="23"/>
                    </a:cubicBezTo>
                    <a:cubicBezTo>
                      <a:pt x="39" y="23"/>
                      <a:pt x="39" y="23"/>
                      <a:pt x="39" y="23"/>
                    </a:cubicBezTo>
                    <a:cubicBezTo>
                      <a:pt x="39" y="22"/>
                      <a:pt x="39" y="22"/>
                      <a:pt x="39" y="22"/>
                    </a:cubicBezTo>
                    <a:cubicBezTo>
                      <a:pt x="39" y="21"/>
                      <a:pt x="38" y="20"/>
                      <a:pt x="40" y="18"/>
                    </a:cubicBezTo>
                    <a:cubicBezTo>
                      <a:pt x="40" y="18"/>
                      <a:pt x="40" y="17"/>
                      <a:pt x="40" y="16"/>
                    </a:cubicBezTo>
                    <a:cubicBezTo>
                      <a:pt x="40" y="16"/>
                      <a:pt x="40" y="16"/>
                      <a:pt x="39" y="16"/>
                    </a:cubicBezTo>
                    <a:cubicBezTo>
                      <a:pt x="39" y="16"/>
                      <a:pt x="39" y="16"/>
                      <a:pt x="38" y="15"/>
                    </a:cubicBezTo>
                    <a:cubicBezTo>
                      <a:pt x="37" y="15"/>
                      <a:pt x="37" y="15"/>
                      <a:pt x="37" y="15"/>
                    </a:cubicBezTo>
                    <a:cubicBezTo>
                      <a:pt x="37" y="14"/>
                      <a:pt x="37" y="14"/>
                      <a:pt x="37" y="14"/>
                    </a:cubicBezTo>
                    <a:cubicBezTo>
                      <a:pt x="36" y="14"/>
                      <a:pt x="36" y="14"/>
                      <a:pt x="36" y="14"/>
                    </a:cubicBezTo>
                    <a:cubicBezTo>
                      <a:pt x="36" y="14"/>
                      <a:pt x="36" y="13"/>
                      <a:pt x="35" y="13"/>
                    </a:cubicBezTo>
                    <a:cubicBezTo>
                      <a:pt x="35" y="13"/>
                      <a:pt x="35" y="13"/>
                      <a:pt x="35" y="13"/>
                    </a:cubicBezTo>
                    <a:cubicBezTo>
                      <a:pt x="34" y="12"/>
                      <a:pt x="34" y="12"/>
                      <a:pt x="34" y="12"/>
                    </a:cubicBezTo>
                    <a:cubicBezTo>
                      <a:pt x="34" y="12"/>
                      <a:pt x="34" y="12"/>
                      <a:pt x="34" y="12"/>
                    </a:cubicBezTo>
                    <a:cubicBezTo>
                      <a:pt x="31" y="15"/>
                      <a:pt x="31" y="15"/>
                      <a:pt x="31" y="15"/>
                    </a:cubicBezTo>
                    <a:cubicBezTo>
                      <a:pt x="32" y="11"/>
                      <a:pt x="32" y="11"/>
                      <a:pt x="32" y="11"/>
                    </a:cubicBezTo>
                    <a:cubicBezTo>
                      <a:pt x="30" y="11"/>
                      <a:pt x="30" y="11"/>
                      <a:pt x="30" y="11"/>
                    </a:cubicBezTo>
                    <a:cubicBezTo>
                      <a:pt x="29" y="11"/>
                      <a:pt x="28" y="10"/>
                      <a:pt x="27" y="10"/>
                    </a:cubicBezTo>
                    <a:cubicBezTo>
                      <a:pt x="27" y="10"/>
                      <a:pt x="27" y="10"/>
                      <a:pt x="27" y="10"/>
                    </a:cubicBezTo>
                    <a:cubicBezTo>
                      <a:pt x="26" y="9"/>
                      <a:pt x="26" y="9"/>
                      <a:pt x="26" y="9"/>
                    </a:cubicBezTo>
                    <a:cubicBezTo>
                      <a:pt x="26" y="9"/>
                      <a:pt x="25" y="10"/>
                      <a:pt x="25" y="10"/>
                    </a:cubicBezTo>
                    <a:cubicBezTo>
                      <a:pt x="24" y="10"/>
                      <a:pt x="24" y="10"/>
                      <a:pt x="23" y="10"/>
                    </a:cubicBezTo>
                    <a:cubicBezTo>
                      <a:pt x="23" y="10"/>
                      <a:pt x="23" y="10"/>
                      <a:pt x="23" y="10"/>
                    </a:cubicBezTo>
                    <a:cubicBezTo>
                      <a:pt x="23" y="10"/>
                      <a:pt x="23" y="10"/>
                      <a:pt x="23" y="10"/>
                    </a:cubicBezTo>
                    <a:cubicBezTo>
                      <a:pt x="21" y="11"/>
                      <a:pt x="20" y="11"/>
                      <a:pt x="18" y="11"/>
                    </a:cubicBezTo>
                    <a:cubicBezTo>
                      <a:pt x="18" y="11"/>
                      <a:pt x="17" y="11"/>
                      <a:pt x="16" y="11"/>
                    </a:cubicBezTo>
                    <a:cubicBezTo>
                      <a:pt x="15" y="10"/>
                      <a:pt x="14" y="10"/>
                      <a:pt x="12" y="9"/>
                    </a:cubicBezTo>
                    <a:cubicBezTo>
                      <a:pt x="11" y="8"/>
                      <a:pt x="11" y="8"/>
                      <a:pt x="11" y="8"/>
                    </a:cubicBezTo>
                    <a:cubicBezTo>
                      <a:pt x="10" y="6"/>
                      <a:pt x="8" y="5"/>
                      <a:pt x="7" y="4"/>
                    </a:cubicBezTo>
                    <a:cubicBezTo>
                      <a:pt x="7" y="3"/>
                      <a:pt x="7" y="3"/>
                      <a:pt x="7" y="3"/>
                    </a:cubicBezTo>
                    <a:cubicBezTo>
                      <a:pt x="7" y="3"/>
                      <a:pt x="7" y="3"/>
                      <a:pt x="7" y="3"/>
                    </a:cubicBezTo>
                    <a:cubicBezTo>
                      <a:pt x="5" y="2"/>
                      <a:pt x="3" y="1"/>
                      <a:pt x="2" y="1"/>
                    </a:cubicBezTo>
                    <a:cubicBezTo>
                      <a:pt x="1"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1" name="Freeform 399"/>
              <p:cNvSpPr/>
              <p:nvPr/>
            </p:nvSpPr>
            <p:spPr bwMode="auto">
              <a:xfrm>
                <a:off x="3665" y="250"/>
                <a:ext cx="106" cy="132"/>
              </a:xfrm>
              <a:custGeom>
                <a:gdLst>
                  <a:gd name="T0" fmla="*/ 0 w 45"/>
                  <a:gd name="T1" fmla="*/ 0 h 56"/>
                  <a:gd name="T2" fmla="*/ 0 w 45"/>
                  <a:gd name="T3" fmla="*/ 44 h 56"/>
                  <a:gd name="T4" fmla="*/ 1 w 45"/>
                  <a:gd name="T5" fmla="*/ 44 h 56"/>
                  <a:gd name="T6" fmla="*/ 1 w 45"/>
                  <a:gd name="T7" fmla="*/ 44 h 56"/>
                  <a:gd name="T8" fmla="*/ 3 w 45"/>
                  <a:gd name="T9" fmla="*/ 45 h 56"/>
                  <a:gd name="T10" fmla="*/ 4 w 45"/>
                  <a:gd name="T11" fmla="*/ 45 h 56"/>
                  <a:gd name="T12" fmla="*/ 9 w 45"/>
                  <a:gd name="T13" fmla="*/ 47 h 56"/>
                  <a:gd name="T14" fmla="*/ 12 w 45"/>
                  <a:gd name="T15" fmla="*/ 48 h 56"/>
                  <a:gd name="T16" fmla="*/ 11 w 45"/>
                  <a:gd name="T17" fmla="*/ 50 h 56"/>
                  <a:gd name="T18" fmla="*/ 15 w 45"/>
                  <a:gd name="T19" fmla="*/ 53 h 56"/>
                  <a:gd name="T20" fmla="*/ 15 w 45"/>
                  <a:gd name="T21" fmla="*/ 54 h 56"/>
                  <a:gd name="T22" fmla="*/ 18 w 45"/>
                  <a:gd name="T23" fmla="*/ 56 h 56"/>
                  <a:gd name="T24" fmla="*/ 18 w 45"/>
                  <a:gd name="T25" fmla="*/ 56 h 56"/>
                  <a:gd name="T26" fmla="*/ 20 w 45"/>
                  <a:gd name="T27" fmla="*/ 55 h 56"/>
                  <a:gd name="T28" fmla="*/ 21 w 45"/>
                  <a:gd name="T29" fmla="*/ 55 h 56"/>
                  <a:gd name="T30" fmla="*/ 22 w 45"/>
                  <a:gd name="T31" fmla="*/ 54 h 56"/>
                  <a:gd name="T32" fmla="*/ 23 w 45"/>
                  <a:gd name="T33" fmla="*/ 54 h 56"/>
                  <a:gd name="T34" fmla="*/ 25 w 45"/>
                  <a:gd name="T35" fmla="*/ 53 h 56"/>
                  <a:gd name="T36" fmla="*/ 25 w 45"/>
                  <a:gd name="T37" fmla="*/ 53 h 56"/>
                  <a:gd name="T38" fmla="*/ 26 w 45"/>
                  <a:gd name="T39" fmla="*/ 53 h 56"/>
                  <a:gd name="T40" fmla="*/ 29 w 45"/>
                  <a:gd name="T41" fmla="*/ 55 h 56"/>
                  <a:gd name="T42" fmla="*/ 31 w 45"/>
                  <a:gd name="T43" fmla="*/ 55 h 56"/>
                  <a:gd name="T44" fmla="*/ 32 w 45"/>
                  <a:gd name="T45" fmla="*/ 56 h 56"/>
                  <a:gd name="T46" fmla="*/ 32 w 45"/>
                  <a:gd name="T47" fmla="*/ 55 h 56"/>
                  <a:gd name="T48" fmla="*/ 33 w 45"/>
                  <a:gd name="T49" fmla="*/ 55 h 56"/>
                  <a:gd name="T50" fmla="*/ 33 w 45"/>
                  <a:gd name="T51" fmla="*/ 54 h 56"/>
                  <a:gd name="T52" fmla="*/ 33 w 45"/>
                  <a:gd name="T53" fmla="*/ 53 h 56"/>
                  <a:gd name="T54" fmla="*/ 34 w 45"/>
                  <a:gd name="T55" fmla="*/ 51 h 56"/>
                  <a:gd name="T56" fmla="*/ 34 w 45"/>
                  <a:gd name="T57" fmla="*/ 51 h 56"/>
                  <a:gd name="T58" fmla="*/ 35 w 45"/>
                  <a:gd name="T59" fmla="*/ 50 h 56"/>
                  <a:gd name="T60" fmla="*/ 36 w 45"/>
                  <a:gd name="T61" fmla="*/ 49 h 56"/>
                  <a:gd name="T62" fmla="*/ 37 w 45"/>
                  <a:gd name="T63" fmla="*/ 49 h 56"/>
                  <a:gd name="T64" fmla="*/ 37 w 45"/>
                  <a:gd name="T65" fmla="*/ 49 h 56"/>
                  <a:gd name="T66" fmla="*/ 37 w 45"/>
                  <a:gd name="T67" fmla="*/ 48 h 56"/>
                  <a:gd name="T68" fmla="*/ 39 w 45"/>
                  <a:gd name="T69" fmla="*/ 47 h 56"/>
                  <a:gd name="T70" fmla="*/ 38 w 45"/>
                  <a:gd name="T71" fmla="*/ 46 h 56"/>
                  <a:gd name="T72" fmla="*/ 37 w 45"/>
                  <a:gd name="T73" fmla="*/ 45 h 56"/>
                  <a:gd name="T74" fmla="*/ 33 w 45"/>
                  <a:gd name="T75" fmla="*/ 35 h 56"/>
                  <a:gd name="T76" fmla="*/ 33 w 45"/>
                  <a:gd name="T77" fmla="*/ 34 h 56"/>
                  <a:gd name="T78" fmla="*/ 33 w 45"/>
                  <a:gd name="T79" fmla="*/ 34 h 56"/>
                  <a:gd name="T80" fmla="*/ 33 w 45"/>
                  <a:gd name="T81" fmla="*/ 27 h 56"/>
                  <a:gd name="T82" fmla="*/ 36 w 45"/>
                  <a:gd name="T83" fmla="*/ 20 h 56"/>
                  <a:gd name="T84" fmla="*/ 40 w 45"/>
                  <a:gd name="T85" fmla="*/ 13 h 56"/>
                  <a:gd name="T86" fmla="*/ 43 w 45"/>
                  <a:gd name="T87" fmla="*/ 9 h 56"/>
                  <a:gd name="T88" fmla="*/ 42 w 45"/>
                  <a:gd name="T89" fmla="*/ 8 h 56"/>
                  <a:gd name="T90" fmla="*/ 45 w 45"/>
                  <a:gd name="T91" fmla="*/ 6 h 56"/>
                  <a:gd name="T92" fmla="*/ 44 w 45"/>
                  <a:gd name="T93" fmla="*/ 6 h 56"/>
                  <a:gd name="T94" fmla="*/ 42 w 45"/>
                  <a:gd name="T95" fmla="*/ 6 h 56"/>
                  <a:gd name="T96" fmla="*/ 34 w 45"/>
                  <a:gd name="T97" fmla="*/ 5 h 56"/>
                  <a:gd name="T98" fmla="*/ 27 w 45"/>
                  <a:gd name="T99" fmla="*/ 5 h 56"/>
                  <a:gd name="T100" fmla="*/ 27 w 45"/>
                  <a:gd name="T101" fmla="*/ 5 h 56"/>
                  <a:gd name="T102" fmla="*/ 21 w 45"/>
                  <a:gd name="T103" fmla="*/ 3 h 56"/>
                  <a:gd name="T104" fmla="*/ 6 w 45"/>
                  <a:gd name="T105" fmla="*/ 1 h 56"/>
                  <a:gd name="T106" fmla="*/ 0 w 45"/>
                  <a:gd name="T107" fmla="*/ 0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 h="56">
                    <a:moveTo>
                      <a:pt x="0" y="0"/>
                    </a:moveTo>
                    <a:cubicBezTo>
                      <a:pt x="0" y="44"/>
                      <a:pt x="0" y="44"/>
                      <a:pt x="0" y="44"/>
                    </a:cubicBezTo>
                    <a:cubicBezTo>
                      <a:pt x="0" y="44"/>
                      <a:pt x="0" y="44"/>
                      <a:pt x="1" y="44"/>
                    </a:cubicBezTo>
                    <a:cubicBezTo>
                      <a:pt x="1" y="44"/>
                      <a:pt x="1" y="44"/>
                      <a:pt x="1" y="44"/>
                    </a:cubicBezTo>
                    <a:cubicBezTo>
                      <a:pt x="2" y="45"/>
                      <a:pt x="3" y="45"/>
                      <a:pt x="3" y="45"/>
                    </a:cubicBezTo>
                    <a:cubicBezTo>
                      <a:pt x="4" y="45"/>
                      <a:pt x="4" y="45"/>
                      <a:pt x="4" y="45"/>
                    </a:cubicBezTo>
                    <a:cubicBezTo>
                      <a:pt x="6" y="46"/>
                      <a:pt x="7" y="47"/>
                      <a:pt x="9" y="47"/>
                    </a:cubicBezTo>
                    <a:cubicBezTo>
                      <a:pt x="12" y="48"/>
                      <a:pt x="12" y="48"/>
                      <a:pt x="12" y="48"/>
                    </a:cubicBezTo>
                    <a:cubicBezTo>
                      <a:pt x="11" y="50"/>
                      <a:pt x="11" y="50"/>
                      <a:pt x="11" y="50"/>
                    </a:cubicBezTo>
                    <a:cubicBezTo>
                      <a:pt x="12" y="51"/>
                      <a:pt x="13" y="52"/>
                      <a:pt x="15" y="53"/>
                    </a:cubicBezTo>
                    <a:cubicBezTo>
                      <a:pt x="15" y="54"/>
                      <a:pt x="15" y="54"/>
                      <a:pt x="15" y="54"/>
                    </a:cubicBezTo>
                    <a:cubicBezTo>
                      <a:pt x="16" y="55"/>
                      <a:pt x="17" y="55"/>
                      <a:pt x="18" y="56"/>
                    </a:cubicBezTo>
                    <a:cubicBezTo>
                      <a:pt x="18" y="56"/>
                      <a:pt x="18" y="56"/>
                      <a:pt x="18" y="56"/>
                    </a:cubicBezTo>
                    <a:cubicBezTo>
                      <a:pt x="19" y="56"/>
                      <a:pt x="19" y="55"/>
                      <a:pt x="20" y="55"/>
                    </a:cubicBezTo>
                    <a:cubicBezTo>
                      <a:pt x="21" y="55"/>
                      <a:pt x="21" y="55"/>
                      <a:pt x="21" y="55"/>
                    </a:cubicBezTo>
                    <a:cubicBezTo>
                      <a:pt x="21" y="54"/>
                      <a:pt x="22" y="54"/>
                      <a:pt x="22" y="54"/>
                    </a:cubicBezTo>
                    <a:cubicBezTo>
                      <a:pt x="22" y="54"/>
                      <a:pt x="22" y="54"/>
                      <a:pt x="23" y="54"/>
                    </a:cubicBezTo>
                    <a:cubicBezTo>
                      <a:pt x="23" y="54"/>
                      <a:pt x="24" y="53"/>
                      <a:pt x="25" y="53"/>
                    </a:cubicBezTo>
                    <a:cubicBezTo>
                      <a:pt x="25" y="53"/>
                      <a:pt x="25" y="53"/>
                      <a:pt x="25" y="53"/>
                    </a:cubicBezTo>
                    <a:cubicBezTo>
                      <a:pt x="25" y="53"/>
                      <a:pt x="26" y="53"/>
                      <a:pt x="26" y="53"/>
                    </a:cubicBezTo>
                    <a:cubicBezTo>
                      <a:pt x="27" y="54"/>
                      <a:pt x="28" y="54"/>
                      <a:pt x="29" y="55"/>
                    </a:cubicBezTo>
                    <a:cubicBezTo>
                      <a:pt x="30" y="55"/>
                      <a:pt x="30" y="55"/>
                      <a:pt x="31" y="55"/>
                    </a:cubicBezTo>
                    <a:cubicBezTo>
                      <a:pt x="32" y="56"/>
                      <a:pt x="32" y="56"/>
                      <a:pt x="32" y="56"/>
                    </a:cubicBezTo>
                    <a:cubicBezTo>
                      <a:pt x="32" y="55"/>
                      <a:pt x="32" y="55"/>
                      <a:pt x="32" y="55"/>
                    </a:cubicBezTo>
                    <a:cubicBezTo>
                      <a:pt x="33" y="55"/>
                      <a:pt x="33" y="55"/>
                      <a:pt x="33" y="55"/>
                    </a:cubicBezTo>
                    <a:cubicBezTo>
                      <a:pt x="33" y="54"/>
                      <a:pt x="33" y="54"/>
                      <a:pt x="33" y="54"/>
                    </a:cubicBezTo>
                    <a:cubicBezTo>
                      <a:pt x="33" y="54"/>
                      <a:pt x="33" y="54"/>
                      <a:pt x="33" y="53"/>
                    </a:cubicBezTo>
                    <a:cubicBezTo>
                      <a:pt x="33" y="52"/>
                      <a:pt x="34" y="52"/>
                      <a:pt x="34" y="51"/>
                    </a:cubicBezTo>
                    <a:cubicBezTo>
                      <a:pt x="34" y="51"/>
                      <a:pt x="34" y="51"/>
                      <a:pt x="34" y="51"/>
                    </a:cubicBezTo>
                    <a:cubicBezTo>
                      <a:pt x="35" y="50"/>
                      <a:pt x="35" y="50"/>
                      <a:pt x="35" y="50"/>
                    </a:cubicBezTo>
                    <a:cubicBezTo>
                      <a:pt x="35" y="50"/>
                      <a:pt x="36" y="49"/>
                      <a:pt x="36" y="49"/>
                    </a:cubicBezTo>
                    <a:cubicBezTo>
                      <a:pt x="37" y="49"/>
                      <a:pt x="37" y="49"/>
                      <a:pt x="37" y="49"/>
                    </a:cubicBezTo>
                    <a:cubicBezTo>
                      <a:pt x="37" y="49"/>
                      <a:pt x="37" y="49"/>
                      <a:pt x="37" y="49"/>
                    </a:cubicBezTo>
                    <a:cubicBezTo>
                      <a:pt x="37" y="48"/>
                      <a:pt x="37" y="48"/>
                      <a:pt x="37" y="48"/>
                    </a:cubicBezTo>
                    <a:cubicBezTo>
                      <a:pt x="38" y="48"/>
                      <a:pt x="39" y="48"/>
                      <a:pt x="39" y="47"/>
                    </a:cubicBezTo>
                    <a:cubicBezTo>
                      <a:pt x="39" y="47"/>
                      <a:pt x="39" y="47"/>
                      <a:pt x="38" y="46"/>
                    </a:cubicBezTo>
                    <a:cubicBezTo>
                      <a:pt x="38" y="46"/>
                      <a:pt x="38" y="45"/>
                      <a:pt x="37" y="45"/>
                    </a:cubicBezTo>
                    <a:cubicBezTo>
                      <a:pt x="33" y="42"/>
                      <a:pt x="33" y="37"/>
                      <a:pt x="33" y="35"/>
                    </a:cubicBezTo>
                    <a:cubicBezTo>
                      <a:pt x="33" y="35"/>
                      <a:pt x="33" y="35"/>
                      <a:pt x="33" y="34"/>
                    </a:cubicBezTo>
                    <a:cubicBezTo>
                      <a:pt x="33" y="34"/>
                      <a:pt x="33" y="34"/>
                      <a:pt x="33" y="34"/>
                    </a:cubicBezTo>
                    <a:cubicBezTo>
                      <a:pt x="34" y="32"/>
                      <a:pt x="34" y="29"/>
                      <a:pt x="33" y="27"/>
                    </a:cubicBezTo>
                    <a:cubicBezTo>
                      <a:pt x="33" y="24"/>
                      <a:pt x="34" y="21"/>
                      <a:pt x="36" y="20"/>
                    </a:cubicBezTo>
                    <a:cubicBezTo>
                      <a:pt x="36" y="19"/>
                      <a:pt x="39" y="16"/>
                      <a:pt x="40" y="13"/>
                    </a:cubicBezTo>
                    <a:cubicBezTo>
                      <a:pt x="41" y="11"/>
                      <a:pt x="42" y="10"/>
                      <a:pt x="43" y="9"/>
                    </a:cubicBezTo>
                    <a:cubicBezTo>
                      <a:pt x="42" y="8"/>
                      <a:pt x="42" y="8"/>
                      <a:pt x="42" y="8"/>
                    </a:cubicBezTo>
                    <a:cubicBezTo>
                      <a:pt x="45" y="6"/>
                      <a:pt x="45" y="6"/>
                      <a:pt x="45" y="6"/>
                    </a:cubicBezTo>
                    <a:cubicBezTo>
                      <a:pt x="44" y="6"/>
                      <a:pt x="44" y="6"/>
                      <a:pt x="44" y="6"/>
                    </a:cubicBezTo>
                    <a:cubicBezTo>
                      <a:pt x="43" y="6"/>
                      <a:pt x="43" y="6"/>
                      <a:pt x="42" y="6"/>
                    </a:cubicBezTo>
                    <a:cubicBezTo>
                      <a:pt x="39" y="6"/>
                      <a:pt x="36" y="5"/>
                      <a:pt x="34" y="5"/>
                    </a:cubicBezTo>
                    <a:cubicBezTo>
                      <a:pt x="32" y="5"/>
                      <a:pt x="29" y="5"/>
                      <a:pt x="27" y="5"/>
                    </a:cubicBezTo>
                    <a:cubicBezTo>
                      <a:pt x="27" y="5"/>
                      <a:pt x="27" y="5"/>
                      <a:pt x="27" y="5"/>
                    </a:cubicBezTo>
                    <a:cubicBezTo>
                      <a:pt x="25" y="5"/>
                      <a:pt x="23" y="3"/>
                      <a:pt x="21" y="3"/>
                    </a:cubicBezTo>
                    <a:cubicBezTo>
                      <a:pt x="16" y="2"/>
                      <a:pt x="11" y="2"/>
                      <a:pt x="6" y="1"/>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Rectangle 400"/>
              <p:cNvSpPr>
                <a:spLocks noChangeArrowheads="1"/>
              </p:cNvSpPr>
              <p:nvPr/>
            </p:nvSpPr>
            <p:spPr bwMode="auto">
              <a:xfrm>
                <a:off x="6340" y="86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3" name="Freeform 401"/>
              <p:cNvSpPr/>
              <p:nvPr/>
            </p:nvSpPr>
            <p:spPr bwMode="auto">
              <a:xfrm flipH="1">
                <a:off x="6340" y="86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Rectangle 402"/>
              <p:cNvSpPr>
                <a:spLocks noChangeArrowheads="1"/>
              </p:cNvSpPr>
              <p:nvPr/>
            </p:nvSpPr>
            <p:spPr bwMode="auto">
              <a:xfrm>
                <a:off x="5572" y="55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Freeform 403"/>
              <p:cNvSpPr/>
              <p:nvPr/>
            </p:nvSpPr>
            <p:spPr bwMode="auto">
              <a:xfrm flipH="1">
                <a:off x="5572" y="555"/>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Freeform 404"/>
              <p:cNvSpPr/>
              <p:nvPr/>
            </p:nvSpPr>
            <p:spPr bwMode="auto">
              <a:xfrm>
                <a:off x="4615" y="531"/>
                <a:ext cx="1815" cy="839"/>
              </a:xfrm>
              <a:custGeom>
                <a:gdLst>
                  <a:gd name="T0" fmla="*/ 411 w 768"/>
                  <a:gd name="T1" fmla="*/ 10 h 355"/>
                  <a:gd name="T2" fmla="*/ 382 w 768"/>
                  <a:gd name="T3" fmla="*/ 17 h 355"/>
                  <a:gd name="T4" fmla="*/ 360 w 768"/>
                  <a:gd name="T5" fmla="*/ 19 h 355"/>
                  <a:gd name="T6" fmla="*/ 341 w 768"/>
                  <a:gd name="T7" fmla="*/ 26 h 355"/>
                  <a:gd name="T8" fmla="*/ 308 w 768"/>
                  <a:gd name="T9" fmla="*/ 33 h 355"/>
                  <a:gd name="T10" fmla="*/ 294 w 768"/>
                  <a:gd name="T11" fmla="*/ 41 h 355"/>
                  <a:gd name="T12" fmla="*/ 277 w 768"/>
                  <a:gd name="T13" fmla="*/ 43 h 355"/>
                  <a:gd name="T14" fmla="*/ 281 w 768"/>
                  <a:gd name="T15" fmla="*/ 50 h 355"/>
                  <a:gd name="T16" fmla="*/ 293 w 768"/>
                  <a:gd name="T17" fmla="*/ 63 h 355"/>
                  <a:gd name="T18" fmla="*/ 282 w 768"/>
                  <a:gd name="T19" fmla="*/ 62 h 355"/>
                  <a:gd name="T20" fmla="*/ 274 w 768"/>
                  <a:gd name="T21" fmla="*/ 79 h 355"/>
                  <a:gd name="T22" fmla="*/ 262 w 768"/>
                  <a:gd name="T23" fmla="*/ 89 h 355"/>
                  <a:gd name="T24" fmla="*/ 287 w 768"/>
                  <a:gd name="T25" fmla="*/ 107 h 355"/>
                  <a:gd name="T26" fmla="*/ 252 w 768"/>
                  <a:gd name="T27" fmla="*/ 123 h 355"/>
                  <a:gd name="T28" fmla="*/ 224 w 768"/>
                  <a:gd name="T29" fmla="*/ 111 h 355"/>
                  <a:gd name="T30" fmla="*/ 186 w 768"/>
                  <a:gd name="T31" fmla="*/ 115 h 355"/>
                  <a:gd name="T32" fmla="*/ 155 w 768"/>
                  <a:gd name="T33" fmla="*/ 118 h 355"/>
                  <a:gd name="T34" fmla="*/ 112 w 768"/>
                  <a:gd name="T35" fmla="*/ 101 h 355"/>
                  <a:gd name="T36" fmla="*/ 90 w 768"/>
                  <a:gd name="T37" fmla="*/ 105 h 355"/>
                  <a:gd name="T38" fmla="*/ 67 w 768"/>
                  <a:gd name="T39" fmla="*/ 107 h 355"/>
                  <a:gd name="T40" fmla="*/ 42 w 768"/>
                  <a:gd name="T41" fmla="*/ 129 h 355"/>
                  <a:gd name="T42" fmla="*/ 16 w 768"/>
                  <a:gd name="T43" fmla="*/ 129 h 355"/>
                  <a:gd name="T44" fmla="*/ 8 w 768"/>
                  <a:gd name="T45" fmla="*/ 161 h 355"/>
                  <a:gd name="T46" fmla="*/ 28 w 768"/>
                  <a:gd name="T47" fmla="*/ 188 h 355"/>
                  <a:gd name="T48" fmla="*/ 42 w 768"/>
                  <a:gd name="T49" fmla="*/ 219 h 355"/>
                  <a:gd name="T50" fmla="*/ 65 w 768"/>
                  <a:gd name="T51" fmla="*/ 216 h 355"/>
                  <a:gd name="T52" fmla="*/ 125 w 768"/>
                  <a:gd name="T53" fmla="*/ 229 h 355"/>
                  <a:gd name="T54" fmla="*/ 135 w 768"/>
                  <a:gd name="T55" fmla="*/ 258 h 355"/>
                  <a:gd name="T56" fmla="*/ 88 w 768"/>
                  <a:gd name="T57" fmla="*/ 251 h 355"/>
                  <a:gd name="T58" fmla="*/ 85 w 768"/>
                  <a:gd name="T59" fmla="*/ 269 h 355"/>
                  <a:gd name="T60" fmla="*/ 100 w 768"/>
                  <a:gd name="T61" fmla="*/ 306 h 355"/>
                  <a:gd name="T62" fmla="*/ 112 w 768"/>
                  <a:gd name="T63" fmla="*/ 318 h 355"/>
                  <a:gd name="T64" fmla="*/ 164 w 768"/>
                  <a:gd name="T65" fmla="*/ 335 h 355"/>
                  <a:gd name="T66" fmla="*/ 232 w 768"/>
                  <a:gd name="T67" fmla="*/ 235 h 355"/>
                  <a:gd name="T68" fmla="*/ 240 w 768"/>
                  <a:gd name="T69" fmla="*/ 241 h 355"/>
                  <a:gd name="T70" fmla="*/ 249 w 768"/>
                  <a:gd name="T71" fmla="*/ 233 h 355"/>
                  <a:gd name="T72" fmla="*/ 249 w 768"/>
                  <a:gd name="T73" fmla="*/ 235 h 355"/>
                  <a:gd name="T74" fmla="*/ 292 w 768"/>
                  <a:gd name="T75" fmla="*/ 288 h 355"/>
                  <a:gd name="T76" fmla="*/ 356 w 768"/>
                  <a:gd name="T77" fmla="*/ 291 h 355"/>
                  <a:gd name="T78" fmla="*/ 372 w 768"/>
                  <a:gd name="T79" fmla="*/ 324 h 355"/>
                  <a:gd name="T80" fmla="*/ 405 w 768"/>
                  <a:gd name="T81" fmla="*/ 342 h 355"/>
                  <a:gd name="T82" fmla="*/ 424 w 768"/>
                  <a:gd name="T83" fmla="*/ 342 h 355"/>
                  <a:gd name="T84" fmla="*/ 475 w 768"/>
                  <a:gd name="T85" fmla="*/ 307 h 355"/>
                  <a:gd name="T86" fmla="*/ 539 w 768"/>
                  <a:gd name="T87" fmla="*/ 302 h 355"/>
                  <a:gd name="T88" fmla="*/ 585 w 768"/>
                  <a:gd name="T89" fmla="*/ 303 h 355"/>
                  <a:gd name="T90" fmla="*/ 624 w 768"/>
                  <a:gd name="T91" fmla="*/ 311 h 355"/>
                  <a:gd name="T92" fmla="*/ 647 w 768"/>
                  <a:gd name="T93" fmla="*/ 294 h 355"/>
                  <a:gd name="T94" fmla="*/ 650 w 768"/>
                  <a:gd name="T95" fmla="*/ 250 h 355"/>
                  <a:gd name="T96" fmla="*/ 677 w 768"/>
                  <a:gd name="T97" fmla="*/ 243 h 355"/>
                  <a:gd name="T98" fmla="*/ 750 w 768"/>
                  <a:gd name="T99" fmla="*/ 172 h 355"/>
                  <a:gd name="T100" fmla="*/ 751 w 768"/>
                  <a:gd name="T101" fmla="*/ 151 h 355"/>
                  <a:gd name="T102" fmla="*/ 727 w 768"/>
                  <a:gd name="T103" fmla="*/ 139 h 355"/>
                  <a:gd name="T104" fmla="*/ 695 w 768"/>
                  <a:gd name="T105" fmla="*/ 113 h 355"/>
                  <a:gd name="T106" fmla="*/ 662 w 768"/>
                  <a:gd name="T107" fmla="*/ 119 h 355"/>
                  <a:gd name="T108" fmla="*/ 646 w 768"/>
                  <a:gd name="T109" fmla="*/ 112 h 355"/>
                  <a:gd name="T110" fmla="*/ 618 w 768"/>
                  <a:gd name="T111" fmla="*/ 92 h 355"/>
                  <a:gd name="T112" fmla="*/ 525 w 768"/>
                  <a:gd name="T113" fmla="*/ 48 h 355"/>
                  <a:gd name="T114" fmla="*/ 491 w 768"/>
                  <a:gd name="T115" fmla="*/ 38 h 355"/>
                  <a:gd name="T116" fmla="*/ 464 w 768"/>
                  <a:gd name="T117" fmla="*/ 31 h 355"/>
                  <a:gd name="T118" fmla="*/ 458 w 768"/>
                  <a:gd name="T119" fmla="*/ 1 h 3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8" h="355">
                    <a:moveTo>
                      <a:pt x="431" y="0"/>
                    </a:moveTo>
                    <a:cubicBezTo>
                      <a:pt x="431" y="0"/>
                      <a:pt x="431" y="0"/>
                      <a:pt x="431" y="0"/>
                    </a:cubicBezTo>
                    <a:cubicBezTo>
                      <a:pt x="430" y="1"/>
                      <a:pt x="430" y="1"/>
                      <a:pt x="430" y="1"/>
                    </a:cubicBezTo>
                    <a:cubicBezTo>
                      <a:pt x="430" y="1"/>
                      <a:pt x="430" y="1"/>
                      <a:pt x="430" y="1"/>
                    </a:cubicBezTo>
                    <a:cubicBezTo>
                      <a:pt x="430" y="1"/>
                      <a:pt x="430" y="1"/>
                      <a:pt x="430" y="1"/>
                    </a:cubicBezTo>
                    <a:cubicBezTo>
                      <a:pt x="429" y="1"/>
                      <a:pt x="429" y="1"/>
                      <a:pt x="429" y="1"/>
                    </a:cubicBezTo>
                    <a:cubicBezTo>
                      <a:pt x="428" y="1"/>
                      <a:pt x="428" y="1"/>
                      <a:pt x="428" y="1"/>
                    </a:cubicBezTo>
                    <a:cubicBezTo>
                      <a:pt x="427" y="1"/>
                      <a:pt x="427" y="1"/>
                      <a:pt x="427" y="1"/>
                    </a:cubicBezTo>
                    <a:cubicBezTo>
                      <a:pt x="427" y="1"/>
                      <a:pt x="427" y="1"/>
                      <a:pt x="427" y="1"/>
                    </a:cubicBezTo>
                    <a:cubicBezTo>
                      <a:pt x="426" y="2"/>
                      <a:pt x="426" y="2"/>
                      <a:pt x="425" y="2"/>
                    </a:cubicBezTo>
                    <a:cubicBezTo>
                      <a:pt x="424" y="2"/>
                      <a:pt x="423" y="1"/>
                      <a:pt x="423" y="1"/>
                    </a:cubicBezTo>
                    <a:cubicBezTo>
                      <a:pt x="422" y="1"/>
                      <a:pt x="422" y="1"/>
                      <a:pt x="422" y="1"/>
                    </a:cubicBezTo>
                    <a:cubicBezTo>
                      <a:pt x="421" y="0"/>
                      <a:pt x="421" y="0"/>
                      <a:pt x="421" y="0"/>
                    </a:cubicBezTo>
                    <a:cubicBezTo>
                      <a:pt x="421" y="1"/>
                      <a:pt x="421" y="2"/>
                      <a:pt x="420" y="3"/>
                    </a:cubicBezTo>
                    <a:cubicBezTo>
                      <a:pt x="420" y="4"/>
                      <a:pt x="418" y="5"/>
                      <a:pt x="415" y="7"/>
                    </a:cubicBezTo>
                    <a:cubicBezTo>
                      <a:pt x="415" y="7"/>
                      <a:pt x="414" y="8"/>
                      <a:pt x="413" y="8"/>
                    </a:cubicBezTo>
                    <a:cubicBezTo>
                      <a:pt x="413" y="8"/>
                      <a:pt x="413" y="8"/>
                      <a:pt x="413" y="8"/>
                    </a:cubicBezTo>
                    <a:cubicBezTo>
                      <a:pt x="412" y="9"/>
                      <a:pt x="411" y="9"/>
                      <a:pt x="411" y="10"/>
                    </a:cubicBezTo>
                    <a:cubicBezTo>
                      <a:pt x="410" y="10"/>
                      <a:pt x="409" y="11"/>
                      <a:pt x="408" y="11"/>
                    </a:cubicBezTo>
                    <a:cubicBezTo>
                      <a:pt x="407" y="11"/>
                      <a:pt x="407" y="11"/>
                      <a:pt x="407" y="11"/>
                    </a:cubicBezTo>
                    <a:cubicBezTo>
                      <a:pt x="407" y="11"/>
                      <a:pt x="406" y="11"/>
                      <a:pt x="406" y="11"/>
                    </a:cubicBezTo>
                    <a:cubicBezTo>
                      <a:pt x="405" y="10"/>
                      <a:pt x="405" y="10"/>
                      <a:pt x="405" y="10"/>
                    </a:cubicBezTo>
                    <a:cubicBezTo>
                      <a:pt x="405" y="10"/>
                      <a:pt x="405" y="10"/>
                      <a:pt x="405" y="10"/>
                    </a:cubicBezTo>
                    <a:cubicBezTo>
                      <a:pt x="404" y="10"/>
                      <a:pt x="404" y="10"/>
                      <a:pt x="404" y="10"/>
                    </a:cubicBezTo>
                    <a:cubicBezTo>
                      <a:pt x="404" y="11"/>
                      <a:pt x="404" y="11"/>
                      <a:pt x="404" y="11"/>
                    </a:cubicBezTo>
                    <a:cubicBezTo>
                      <a:pt x="404" y="12"/>
                      <a:pt x="404" y="12"/>
                      <a:pt x="404" y="12"/>
                    </a:cubicBezTo>
                    <a:cubicBezTo>
                      <a:pt x="392" y="14"/>
                      <a:pt x="392" y="14"/>
                      <a:pt x="392" y="14"/>
                    </a:cubicBezTo>
                    <a:cubicBezTo>
                      <a:pt x="392" y="14"/>
                      <a:pt x="391" y="14"/>
                      <a:pt x="390" y="14"/>
                    </a:cubicBezTo>
                    <a:cubicBezTo>
                      <a:pt x="395" y="17"/>
                      <a:pt x="395" y="17"/>
                      <a:pt x="395" y="17"/>
                    </a:cubicBezTo>
                    <a:cubicBezTo>
                      <a:pt x="385" y="16"/>
                      <a:pt x="385" y="16"/>
                      <a:pt x="385" y="16"/>
                    </a:cubicBezTo>
                    <a:cubicBezTo>
                      <a:pt x="385" y="16"/>
                      <a:pt x="385" y="16"/>
                      <a:pt x="385" y="16"/>
                    </a:cubicBezTo>
                    <a:cubicBezTo>
                      <a:pt x="384" y="16"/>
                      <a:pt x="384" y="16"/>
                      <a:pt x="384" y="16"/>
                    </a:cubicBezTo>
                    <a:cubicBezTo>
                      <a:pt x="384" y="16"/>
                      <a:pt x="384" y="16"/>
                      <a:pt x="384" y="16"/>
                    </a:cubicBezTo>
                    <a:cubicBezTo>
                      <a:pt x="384" y="16"/>
                      <a:pt x="384" y="16"/>
                      <a:pt x="384" y="16"/>
                    </a:cubicBezTo>
                    <a:cubicBezTo>
                      <a:pt x="383" y="17"/>
                      <a:pt x="383" y="17"/>
                      <a:pt x="383" y="17"/>
                    </a:cubicBezTo>
                    <a:cubicBezTo>
                      <a:pt x="383" y="17"/>
                      <a:pt x="382" y="17"/>
                      <a:pt x="382" y="17"/>
                    </a:cubicBezTo>
                    <a:cubicBezTo>
                      <a:pt x="382" y="17"/>
                      <a:pt x="382" y="17"/>
                      <a:pt x="382" y="17"/>
                    </a:cubicBezTo>
                    <a:cubicBezTo>
                      <a:pt x="382" y="17"/>
                      <a:pt x="382" y="17"/>
                      <a:pt x="382" y="17"/>
                    </a:cubicBezTo>
                    <a:cubicBezTo>
                      <a:pt x="381" y="17"/>
                      <a:pt x="381" y="17"/>
                      <a:pt x="381" y="17"/>
                    </a:cubicBezTo>
                    <a:cubicBezTo>
                      <a:pt x="381" y="17"/>
                      <a:pt x="381" y="17"/>
                      <a:pt x="381" y="17"/>
                    </a:cubicBezTo>
                    <a:cubicBezTo>
                      <a:pt x="381" y="17"/>
                      <a:pt x="381" y="17"/>
                      <a:pt x="381" y="17"/>
                    </a:cubicBezTo>
                    <a:cubicBezTo>
                      <a:pt x="381" y="17"/>
                      <a:pt x="381" y="17"/>
                      <a:pt x="381" y="17"/>
                    </a:cubicBezTo>
                    <a:cubicBezTo>
                      <a:pt x="380" y="17"/>
                      <a:pt x="380" y="17"/>
                      <a:pt x="380" y="17"/>
                    </a:cubicBezTo>
                    <a:cubicBezTo>
                      <a:pt x="380" y="17"/>
                      <a:pt x="379" y="17"/>
                      <a:pt x="378" y="17"/>
                    </a:cubicBezTo>
                    <a:cubicBezTo>
                      <a:pt x="378" y="17"/>
                      <a:pt x="378" y="17"/>
                      <a:pt x="378" y="17"/>
                    </a:cubicBezTo>
                    <a:cubicBezTo>
                      <a:pt x="376" y="18"/>
                      <a:pt x="376" y="18"/>
                      <a:pt x="376" y="18"/>
                    </a:cubicBezTo>
                    <a:cubicBezTo>
                      <a:pt x="375" y="18"/>
                      <a:pt x="374" y="18"/>
                      <a:pt x="373" y="18"/>
                    </a:cubicBezTo>
                    <a:cubicBezTo>
                      <a:pt x="370" y="19"/>
                      <a:pt x="370" y="19"/>
                      <a:pt x="370" y="19"/>
                    </a:cubicBezTo>
                    <a:cubicBezTo>
                      <a:pt x="370" y="19"/>
                      <a:pt x="370" y="19"/>
                      <a:pt x="370" y="19"/>
                    </a:cubicBezTo>
                    <a:cubicBezTo>
                      <a:pt x="369" y="19"/>
                      <a:pt x="369" y="19"/>
                      <a:pt x="369" y="19"/>
                    </a:cubicBezTo>
                    <a:cubicBezTo>
                      <a:pt x="365" y="19"/>
                      <a:pt x="365" y="19"/>
                      <a:pt x="365" y="19"/>
                    </a:cubicBezTo>
                    <a:cubicBezTo>
                      <a:pt x="365" y="19"/>
                      <a:pt x="365" y="19"/>
                      <a:pt x="365" y="19"/>
                    </a:cubicBezTo>
                    <a:cubicBezTo>
                      <a:pt x="365" y="19"/>
                      <a:pt x="365" y="19"/>
                      <a:pt x="365" y="19"/>
                    </a:cubicBezTo>
                    <a:cubicBezTo>
                      <a:pt x="360" y="19"/>
                      <a:pt x="360" y="19"/>
                      <a:pt x="360" y="19"/>
                    </a:cubicBezTo>
                    <a:cubicBezTo>
                      <a:pt x="359" y="19"/>
                      <a:pt x="359" y="19"/>
                      <a:pt x="359" y="19"/>
                    </a:cubicBezTo>
                    <a:cubicBezTo>
                      <a:pt x="358" y="20"/>
                      <a:pt x="358" y="20"/>
                      <a:pt x="358" y="20"/>
                    </a:cubicBezTo>
                    <a:cubicBezTo>
                      <a:pt x="355" y="22"/>
                      <a:pt x="355" y="22"/>
                      <a:pt x="355" y="22"/>
                    </a:cubicBezTo>
                    <a:cubicBezTo>
                      <a:pt x="358" y="24"/>
                      <a:pt x="358" y="24"/>
                      <a:pt x="358" y="24"/>
                    </a:cubicBezTo>
                    <a:cubicBezTo>
                      <a:pt x="354" y="22"/>
                      <a:pt x="354" y="22"/>
                      <a:pt x="354" y="22"/>
                    </a:cubicBezTo>
                    <a:cubicBezTo>
                      <a:pt x="354" y="23"/>
                      <a:pt x="354" y="23"/>
                      <a:pt x="354" y="23"/>
                    </a:cubicBezTo>
                    <a:cubicBezTo>
                      <a:pt x="354" y="23"/>
                      <a:pt x="353" y="24"/>
                      <a:pt x="353" y="25"/>
                    </a:cubicBezTo>
                    <a:cubicBezTo>
                      <a:pt x="351" y="27"/>
                      <a:pt x="351" y="27"/>
                      <a:pt x="351" y="27"/>
                    </a:cubicBezTo>
                    <a:cubicBezTo>
                      <a:pt x="349" y="26"/>
                      <a:pt x="349" y="26"/>
                      <a:pt x="349" y="26"/>
                    </a:cubicBezTo>
                    <a:cubicBezTo>
                      <a:pt x="348" y="25"/>
                      <a:pt x="348" y="25"/>
                      <a:pt x="348" y="25"/>
                    </a:cubicBezTo>
                    <a:cubicBezTo>
                      <a:pt x="347" y="26"/>
                      <a:pt x="347" y="26"/>
                      <a:pt x="347" y="26"/>
                    </a:cubicBezTo>
                    <a:cubicBezTo>
                      <a:pt x="346" y="26"/>
                      <a:pt x="346" y="26"/>
                      <a:pt x="346" y="26"/>
                    </a:cubicBezTo>
                    <a:cubicBezTo>
                      <a:pt x="345" y="27"/>
                      <a:pt x="345" y="27"/>
                      <a:pt x="345" y="27"/>
                    </a:cubicBezTo>
                    <a:cubicBezTo>
                      <a:pt x="344" y="27"/>
                      <a:pt x="344" y="27"/>
                      <a:pt x="343" y="27"/>
                    </a:cubicBezTo>
                    <a:cubicBezTo>
                      <a:pt x="342" y="27"/>
                      <a:pt x="342" y="27"/>
                      <a:pt x="342" y="27"/>
                    </a:cubicBezTo>
                    <a:cubicBezTo>
                      <a:pt x="342" y="27"/>
                      <a:pt x="342" y="27"/>
                      <a:pt x="342" y="27"/>
                    </a:cubicBezTo>
                    <a:cubicBezTo>
                      <a:pt x="341" y="26"/>
                      <a:pt x="341" y="26"/>
                      <a:pt x="341" y="26"/>
                    </a:cubicBezTo>
                    <a:cubicBezTo>
                      <a:pt x="341" y="26"/>
                      <a:pt x="341" y="26"/>
                      <a:pt x="341" y="26"/>
                    </a:cubicBezTo>
                    <a:cubicBezTo>
                      <a:pt x="340" y="26"/>
                      <a:pt x="340" y="26"/>
                      <a:pt x="340" y="26"/>
                    </a:cubicBezTo>
                    <a:cubicBezTo>
                      <a:pt x="339" y="27"/>
                      <a:pt x="339" y="27"/>
                      <a:pt x="339" y="27"/>
                    </a:cubicBezTo>
                    <a:cubicBezTo>
                      <a:pt x="338" y="27"/>
                      <a:pt x="338" y="27"/>
                      <a:pt x="338" y="27"/>
                    </a:cubicBezTo>
                    <a:cubicBezTo>
                      <a:pt x="337" y="27"/>
                      <a:pt x="337" y="27"/>
                      <a:pt x="336" y="27"/>
                    </a:cubicBezTo>
                    <a:cubicBezTo>
                      <a:pt x="336" y="27"/>
                      <a:pt x="336" y="27"/>
                      <a:pt x="336" y="27"/>
                    </a:cubicBezTo>
                    <a:cubicBezTo>
                      <a:pt x="336" y="27"/>
                      <a:pt x="336" y="27"/>
                      <a:pt x="336" y="27"/>
                    </a:cubicBezTo>
                    <a:cubicBezTo>
                      <a:pt x="325" y="29"/>
                      <a:pt x="325" y="29"/>
                      <a:pt x="325" y="29"/>
                    </a:cubicBezTo>
                    <a:cubicBezTo>
                      <a:pt x="325" y="29"/>
                      <a:pt x="325" y="29"/>
                      <a:pt x="325" y="29"/>
                    </a:cubicBezTo>
                    <a:cubicBezTo>
                      <a:pt x="325" y="29"/>
                      <a:pt x="325" y="29"/>
                      <a:pt x="325" y="29"/>
                    </a:cubicBezTo>
                    <a:cubicBezTo>
                      <a:pt x="324" y="30"/>
                      <a:pt x="324" y="30"/>
                      <a:pt x="324" y="30"/>
                    </a:cubicBezTo>
                    <a:cubicBezTo>
                      <a:pt x="317" y="31"/>
                      <a:pt x="317" y="31"/>
                      <a:pt x="317" y="31"/>
                    </a:cubicBezTo>
                    <a:cubicBezTo>
                      <a:pt x="316" y="31"/>
                      <a:pt x="316" y="31"/>
                      <a:pt x="316" y="31"/>
                    </a:cubicBezTo>
                    <a:cubicBezTo>
                      <a:pt x="315" y="31"/>
                      <a:pt x="315" y="31"/>
                      <a:pt x="315" y="31"/>
                    </a:cubicBezTo>
                    <a:cubicBezTo>
                      <a:pt x="315" y="31"/>
                      <a:pt x="315" y="31"/>
                      <a:pt x="315" y="31"/>
                    </a:cubicBezTo>
                    <a:cubicBezTo>
                      <a:pt x="314" y="32"/>
                      <a:pt x="314" y="32"/>
                      <a:pt x="314" y="32"/>
                    </a:cubicBezTo>
                    <a:cubicBezTo>
                      <a:pt x="313" y="32"/>
                      <a:pt x="313" y="32"/>
                      <a:pt x="313" y="32"/>
                    </a:cubicBezTo>
                    <a:cubicBezTo>
                      <a:pt x="308" y="33"/>
                      <a:pt x="308" y="33"/>
                      <a:pt x="308" y="33"/>
                    </a:cubicBezTo>
                    <a:cubicBezTo>
                      <a:pt x="308" y="33"/>
                      <a:pt x="308" y="33"/>
                      <a:pt x="308" y="33"/>
                    </a:cubicBezTo>
                    <a:cubicBezTo>
                      <a:pt x="308" y="33"/>
                      <a:pt x="308" y="33"/>
                      <a:pt x="308" y="33"/>
                    </a:cubicBezTo>
                    <a:cubicBezTo>
                      <a:pt x="307" y="34"/>
                      <a:pt x="306" y="34"/>
                      <a:pt x="306" y="34"/>
                    </a:cubicBezTo>
                    <a:cubicBezTo>
                      <a:pt x="306" y="34"/>
                      <a:pt x="306" y="34"/>
                      <a:pt x="306" y="34"/>
                    </a:cubicBezTo>
                    <a:cubicBezTo>
                      <a:pt x="306" y="34"/>
                      <a:pt x="306" y="34"/>
                      <a:pt x="306" y="34"/>
                    </a:cubicBezTo>
                    <a:cubicBezTo>
                      <a:pt x="304" y="34"/>
                      <a:pt x="304" y="34"/>
                      <a:pt x="304" y="34"/>
                    </a:cubicBezTo>
                    <a:cubicBezTo>
                      <a:pt x="303" y="37"/>
                      <a:pt x="303" y="37"/>
                      <a:pt x="303" y="37"/>
                    </a:cubicBezTo>
                    <a:cubicBezTo>
                      <a:pt x="303" y="37"/>
                      <a:pt x="302" y="37"/>
                      <a:pt x="302" y="37"/>
                    </a:cubicBezTo>
                    <a:cubicBezTo>
                      <a:pt x="301" y="39"/>
                      <a:pt x="301" y="39"/>
                      <a:pt x="301" y="39"/>
                    </a:cubicBezTo>
                    <a:cubicBezTo>
                      <a:pt x="300" y="38"/>
                      <a:pt x="300" y="38"/>
                      <a:pt x="300" y="38"/>
                    </a:cubicBezTo>
                    <a:cubicBezTo>
                      <a:pt x="296" y="42"/>
                      <a:pt x="296" y="42"/>
                      <a:pt x="296" y="42"/>
                    </a:cubicBezTo>
                    <a:cubicBezTo>
                      <a:pt x="298" y="37"/>
                      <a:pt x="298" y="37"/>
                      <a:pt x="298" y="37"/>
                    </a:cubicBezTo>
                    <a:cubicBezTo>
                      <a:pt x="298" y="37"/>
                      <a:pt x="298" y="37"/>
                      <a:pt x="298" y="37"/>
                    </a:cubicBezTo>
                    <a:cubicBezTo>
                      <a:pt x="298" y="36"/>
                      <a:pt x="298" y="36"/>
                      <a:pt x="298" y="36"/>
                    </a:cubicBezTo>
                    <a:cubicBezTo>
                      <a:pt x="297" y="36"/>
                      <a:pt x="297" y="36"/>
                      <a:pt x="297" y="36"/>
                    </a:cubicBezTo>
                    <a:cubicBezTo>
                      <a:pt x="297" y="36"/>
                      <a:pt x="297" y="36"/>
                      <a:pt x="297" y="36"/>
                    </a:cubicBezTo>
                    <a:cubicBezTo>
                      <a:pt x="297" y="36"/>
                      <a:pt x="296" y="36"/>
                      <a:pt x="296" y="36"/>
                    </a:cubicBezTo>
                    <a:cubicBezTo>
                      <a:pt x="296" y="36"/>
                      <a:pt x="295" y="36"/>
                      <a:pt x="295" y="35"/>
                    </a:cubicBezTo>
                    <a:cubicBezTo>
                      <a:pt x="294" y="41"/>
                      <a:pt x="294" y="41"/>
                      <a:pt x="294" y="41"/>
                    </a:cubicBezTo>
                    <a:cubicBezTo>
                      <a:pt x="294" y="35"/>
                      <a:pt x="294" y="35"/>
                      <a:pt x="294" y="35"/>
                    </a:cubicBezTo>
                    <a:cubicBezTo>
                      <a:pt x="293" y="35"/>
                      <a:pt x="293" y="35"/>
                      <a:pt x="293" y="35"/>
                    </a:cubicBezTo>
                    <a:cubicBezTo>
                      <a:pt x="292" y="36"/>
                      <a:pt x="292" y="36"/>
                      <a:pt x="292" y="36"/>
                    </a:cubicBezTo>
                    <a:cubicBezTo>
                      <a:pt x="288" y="36"/>
                      <a:pt x="288" y="36"/>
                      <a:pt x="288" y="36"/>
                    </a:cubicBezTo>
                    <a:cubicBezTo>
                      <a:pt x="288" y="36"/>
                      <a:pt x="288" y="36"/>
                      <a:pt x="288" y="36"/>
                    </a:cubicBezTo>
                    <a:cubicBezTo>
                      <a:pt x="285" y="36"/>
                      <a:pt x="283" y="35"/>
                      <a:pt x="281" y="34"/>
                    </a:cubicBezTo>
                    <a:cubicBezTo>
                      <a:pt x="281" y="34"/>
                      <a:pt x="281" y="34"/>
                      <a:pt x="281" y="34"/>
                    </a:cubicBezTo>
                    <a:cubicBezTo>
                      <a:pt x="280" y="34"/>
                      <a:pt x="280" y="34"/>
                      <a:pt x="280" y="34"/>
                    </a:cubicBezTo>
                    <a:cubicBezTo>
                      <a:pt x="280" y="34"/>
                      <a:pt x="280" y="34"/>
                      <a:pt x="280" y="34"/>
                    </a:cubicBezTo>
                    <a:cubicBezTo>
                      <a:pt x="279" y="35"/>
                      <a:pt x="278" y="36"/>
                      <a:pt x="277" y="36"/>
                    </a:cubicBezTo>
                    <a:cubicBezTo>
                      <a:pt x="277" y="36"/>
                      <a:pt x="277" y="36"/>
                      <a:pt x="277" y="36"/>
                    </a:cubicBezTo>
                    <a:cubicBezTo>
                      <a:pt x="279" y="37"/>
                      <a:pt x="279" y="37"/>
                      <a:pt x="279" y="37"/>
                    </a:cubicBezTo>
                    <a:cubicBezTo>
                      <a:pt x="279" y="38"/>
                      <a:pt x="279" y="38"/>
                      <a:pt x="279" y="39"/>
                    </a:cubicBezTo>
                    <a:cubicBezTo>
                      <a:pt x="279" y="39"/>
                      <a:pt x="279" y="39"/>
                      <a:pt x="279" y="39"/>
                    </a:cubicBezTo>
                    <a:cubicBezTo>
                      <a:pt x="279" y="40"/>
                      <a:pt x="279" y="40"/>
                      <a:pt x="279" y="40"/>
                    </a:cubicBezTo>
                    <a:cubicBezTo>
                      <a:pt x="279" y="40"/>
                      <a:pt x="279" y="40"/>
                      <a:pt x="279" y="40"/>
                    </a:cubicBezTo>
                    <a:cubicBezTo>
                      <a:pt x="278" y="41"/>
                      <a:pt x="278" y="41"/>
                      <a:pt x="278" y="41"/>
                    </a:cubicBezTo>
                    <a:cubicBezTo>
                      <a:pt x="277" y="43"/>
                      <a:pt x="277" y="43"/>
                      <a:pt x="277" y="43"/>
                    </a:cubicBezTo>
                    <a:cubicBezTo>
                      <a:pt x="279" y="43"/>
                      <a:pt x="279" y="43"/>
                      <a:pt x="279" y="43"/>
                    </a:cubicBezTo>
                    <a:cubicBezTo>
                      <a:pt x="279" y="43"/>
                      <a:pt x="280" y="42"/>
                      <a:pt x="280" y="42"/>
                    </a:cubicBezTo>
                    <a:cubicBezTo>
                      <a:pt x="281" y="42"/>
                      <a:pt x="281" y="42"/>
                      <a:pt x="281" y="42"/>
                    </a:cubicBezTo>
                    <a:cubicBezTo>
                      <a:pt x="281" y="42"/>
                      <a:pt x="281" y="42"/>
                      <a:pt x="281" y="42"/>
                    </a:cubicBezTo>
                    <a:cubicBezTo>
                      <a:pt x="282" y="42"/>
                      <a:pt x="282" y="42"/>
                      <a:pt x="282" y="42"/>
                    </a:cubicBezTo>
                    <a:cubicBezTo>
                      <a:pt x="283" y="42"/>
                      <a:pt x="283" y="42"/>
                      <a:pt x="283" y="42"/>
                    </a:cubicBezTo>
                    <a:cubicBezTo>
                      <a:pt x="284" y="43"/>
                      <a:pt x="284" y="43"/>
                      <a:pt x="284" y="43"/>
                    </a:cubicBezTo>
                    <a:cubicBezTo>
                      <a:pt x="284" y="43"/>
                      <a:pt x="284" y="43"/>
                      <a:pt x="284" y="43"/>
                    </a:cubicBezTo>
                    <a:cubicBezTo>
                      <a:pt x="286" y="43"/>
                      <a:pt x="286" y="43"/>
                      <a:pt x="286" y="43"/>
                    </a:cubicBezTo>
                    <a:cubicBezTo>
                      <a:pt x="286" y="44"/>
                      <a:pt x="286" y="44"/>
                      <a:pt x="286" y="44"/>
                    </a:cubicBezTo>
                    <a:cubicBezTo>
                      <a:pt x="290" y="43"/>
                      <a:pt x="290" y="43"/>
                      <a:pt x="290" y="43"/>
                    </a:cubicBezTo>
                    <a:cubicBezTo>
                      <a:pt x="286" y="47"/>
                      <a:pt x="286" y="47"/>
                      <a:pt x="286" y="47"/>
                    </a:cubicBezTo>
                    <a:cubicBezTo>
                      <a:pt x="286" y="47"/>
                      <a:pt x="286" y="47"/>
                      <a:pt x="286" y="47"/>
                    </a:cubicBezTo>
                    <a:cubicBezTo>
                      <a:pt x="285" y="48"/>
                      <a:pt x="285" y="48"/>
                      <a:pt x="285" y="48"/>
                    </a:cubicBezTo>
                    <a:cubicBezTo>
                      <a:pt x="284" y="49"/>
                      <a:pt x="284" y="49"/>
                      <a:pt x="284" y="49"/>
                    </a:cubicBezTo>
                    <a:cubicBezTo>
                      <a:pt x="283" y="49"/>
                      <a:pt x="283" y="49"/>
                      <a:pt x="283" y="49"/>
                    </a:cubicBezTo>
                    <a:cubicBezTo>
                      <a:pt x="283" y="51"/>
                      <a:pt x="283" y="51"/>
                      <a:pt x="283" y="51"/>
                    </a:cubicBezTo>
                    <a:cubicBezTo>
                      <a:pt x="281" y="50"/>
                      <a:pt x="281" y="50"/>
                      <a:pt x="281" y="50"/>
                    </a:cubicBezTo>
                    <a:cubicBezTo>
                      <a:pt x="281" y="50"/>
                      <a:pt x="281" y="50"/>
                      <a:pt x="281" y="50"/>
                    </a:cubicBezTo>
                    <a:cubicBezTo>
                      <a:pt x="281" y="51"/>
                      <a:pt x="281" y="51"/>
                      <a:pt x="281" y="51"/>
                    </a:cubicBezTo>
                    <a:cubicBezTo>
                      <a:pt x="282" y="51"/>
                      <a:pt x="282" y="51"/>
                      <a:pt x="282" y="51"/>
                    </a:cubicBezTo>
                    <a:cubicBezTo>
                      <a:pt x="283" y="52"/>
                      <a:pt x="283" y="52"/>
                      <a:pt x="283" y="52"/>
                    </a:cubicBezTo>
                    <a:cubicBezTo>
                      <a:pt x="284" y="52"/>
                      <a:pt x="284" y="52"/>
                      <a:pt x="284" y="52"/>
                    </a:cubicBezTo>
                    <a:cubicBezTo>
                      <a:pt x="284" y="52"/>
                      <a:pt x="284" y="52"/>
                      <a:pt x="284" y="52"/>
                    </a:cubicBezTo>
                    <a:cubicBezTo>
                      <a:pt x="285" y="52"/>
                      <a:pt x="287" y="52"/>
                      <a:pt x="288" y="53"/>
                    </a:cubicBezTo>
                    <a:cubicBezTo>
                      <a:pt x="292" y="54"/>
                      <a:pt x="292" y="54"/>
                      <a:pt x="292" y="54"/>
                    </a:cubicBezTo>
                    <a:cubicBezTo>
                      <a:pt x="293" y="55"/>
                      <a:pt x="294" y="55"/>
                      <a:pt x="295" y="56"/>
                    </a:cubicBezTo>
                    <a:cubicBezTo>
                      <a:pt x="297" y="57"/>
                      <a:pt x="297" y="57"/>
                      <a:pt x="297" y="57"/>
                    </a:cubicBezTo>
                    <a:cubicBezTo>
                      <a:pt x="297" y="59"/>
                      <a:pt x="297" y="59"/>
                      <a:pt x="297" y="59"/>
                    </a:cubicBezTo>
                    <a:cubicBezTo>
                      <a:pt x="296" y="59"/>
                      <a:pt x="296" y="59"/>
                      <a:pt x="296" y="60"/>
                    </a:cubicBezTo>
                    <a:cubicBezTo>
                      <a:pt x="296" y="60"/>
                      <a:pt x="296" y="60"/>
                      <a:pt x="295" y="61"/>
                    </a:cubicBezTo>
                    <a:cubicBezTo>
                      <a:pt x="295" y="61"/>
                      <a:pt x="295" y="61"/>
                      <a:pt x="295" y="61"/>
                    </a:cubicBezTo>
                    <a:cubicBezTo>
                      <a:pt x="295" y="62"/>
                      <a:pt x="295" y="62"/>
                      <a:pt x="294" y="62"/>
                    </a:cubicBezTo>
                    <a:cubicBezTo>
                      <a:pt x="294" y="63"/>
                      <a:pt x="294" y="63"/>
                      <a:pt x="294" y="63"/>
                    </a:cubicBezTo>
                    <a:cubicBezTo>
                      <a:pt x="294" y="63"/>
                      <a:pt x="294" y="63"/>
                      <a:pt x="294" y="63"/>
                    </a:cubicBezTo>
                    <a:cubicBezTo>
                      <a:pt x="293" y="63"/>
                      <a:pt x="293" y="63"/>
                      <a:pt x="293" y="63"/>
                    </a:cubicBezTo>
                    <a:cubicBezTo>
                      <a:pt x="293" y="63"/>
                      <a:pt x="293" y="63"/>
                      <a:pt x="293" y="63"/>
                    </a:cubicBezTo>
                    <a:cubicBezTo>
                      <a:pt x="292" y="63"/>
                      <a:pt x="292" y="63"/>
                      <a:pt x="292" y="63"/>
                    </a:cubicBezTo>
                    <a:cubicBezTo>
                      <a:pt x="292" y="63"/>
                      <a:pt x="292" y="63"/>
                      <a:pt x="292" y="63"/>
                    </a:cubicBezTo>
                    <a:cubicBezTo>
                      <a:pt x="291" y="63"/>
                      <a:pt x="291" y="63"/>
                      <a:pt x="290" y="63"/>
                    </a:cubicBezTo>
                    <a:cubicBezTo>
                      <a:pt x="290" y="62"/>
                      <a:pt x="290" y="62"/>
                      <a:pt x="290" y="62"/>
                    </a:cubicBezTo>
                    <a:cubicBezTo>
                      <a:pt x="290" y="62"/>
                      <a:pt x="290" y="62"/>
                      <a:pt x="290" y="62"/>
                    </a:cubicBezTo>
                    <a:cubicBezTo>
                      <a:pt x="290" y="63"/>
                      <a:pt x="290" y="63"/>
                      <a:pt x="290" y="63"/>
                    </a:cubicBezTo>
                    <a:cubicBezTo>
                      <a:pt x="290" y="63"/>
                      <a:pt x="290" y="63"/>
                      <a:pt x="290" y="63"/>
                    </a:cubicBezTo>
                    <a:cubicBezTo>
                      <a:pt x="291" y="67"/>
                      <a:pt x="291" y="67"/>
                      <a:pt x="291" y="67"/>
                    </a:cubicBezTo>
                    <a:cubicBezTo>
                      <a:pt x="288" y="63"/>
                      <a:pt x="288" y="63"/>
                      <a:pt x="288" y="63"/>
                    </a:cubicBezTo>
                    <a:cubicBezTo>
                      <a:pt x="288" y="63"/>
                      <a:pt x="288" y="63"/>
                      <a:pt x="287" y="63"/>
                    </a:cubicBezTo>
                    <a:cubicBezTo>
                      <a:pt x="287" y="63"/>
                      <a:pt x="287" y="63"/>
                      <a:pt x="286" y="63"/>
                    </a:cubicBezTo>
                    <a:cubicBezTo>
                      <a:pt x="286" y="63"/>
                      <a:pt x="286" y="63"/>
                      <a:pt x="286" y="63"/>
                    </a:cubicBezTo>
                    <a:cubicBezTo>
                      <a:pt x="286" y="63"/>
                      <a:pt x="286" y="63"/>
                      <a:pt x="286" y="63"/>
                    </a:cubicBezTo>
                    <a:cubicBezTo>
                      <a:pt x="286" y="63"/>
                      <a:pt x="285" y="63"/>
                      <a:pt x="285" y="63"/>
                    </a:cubicBezTo>
                    <a:cubicBezTo>
                      <a:pt x="284" y="63"/>
                      <a:pt x="284" y="63"/>
                      <a:pt x="284" y="63"/>
                    </a:cubicBezTo>
                    <a:cubicBezTo>
                      <a:pt x="283" y="63"/>
                      <a:pt x="283" y="63"/>
                      <a:pt x="283" y="63"/>
                    </a:cubicBezTo>
                    <a:cubicBezTo>
                      <a:pt x="283" y="62"/>
                      <a:pt x="283" y="62"/>
                      <a:pt x="282" y="62"/>
                    </a:cubicBezTo>
                    <a:cubicBezTo>
                      <a:pt x="282" y="62"/>
                      <a:pt x="282" y="62"/>
                      <a:pt x="282" y="62"/>
                    </a:cubicBezTo>
                    <a:cubicBezTo>
                      <a:pt x="281" y="66"/>
                      <a:pt x="281" y="66"/>
                      <a:pt x="281" y="66"/>
                    </a:cubicBezTo>
                    <a:cubicBezTo>
                      <a:pt x="281" y="62"/>
                      <a:pt x="281" y="62"/>
                      <a:pt x="281" y="62"/>
                    </a:cubicBezTo>
                    <a:cubicBezTo>
                      <a:pt x="280" y="62"/>
                      <a:pt x="280" y="62"/>
                      <a:pt x="280" y="62"/>
                    </a:cubicBezTo>
                    <a:cubicBezTo>
                      <a:pt x="280" y="62"/>
                      <a:pt x="279" y="62"/>
                      <a:pt x="278" y="62"/>
                    </a:cubicBezTo>
                    <a:cubicBezTo>
                      <a:pt x="277" y="62"/>
                      <a:pt x="277" y="62"/>
                      <a:pt x="277" y="62"/>
                    </a:cubicBezTo>
                    <a:cubicBezTo>
                      <a:pt x="276" y="62"/>
                      <a:pt x="276" y="62"/>
                      <a:pt x="276" y="62"/>
                    </a:cubicBezTo>
                    <a:cubicBezTo>
                      <a:pt x="276" y="62"/>
                      <a:pt x="276" y="62"/>
                      <a:pt x="276" y="62"/>
                    </a:cubicBezTo>
                    <a:cubicBezTo>
                      <a:pt x="273" y="64"/>
                      <a:pt x="273" y="64"/>
                      <a:pt x="273" y="64"/>
                    </a:cubicBezTo>
                    <a:cubicBezTo>
                      <a:pt x="272" y="65"/>
                      <a:pt x="271" y="66"/>
                      <a:pt x="270" y="67"/>
                    </a:cubicBezTo>
                    <a:cubicBezTo>
                      <a:pt x="270" y="68"/>
                      <a:pt x="270" y="68"/>
                      <a:pt x="270" y="68"/>
                    </a:cubicBezTo>
                    <a:cubicBezTo>
                      <a:pt x="274" y="73"/>
                      <a:pt x="274" y="73"/>
                      <a:pt x="274" y="73"/>
                    </a:cubicBezTo>
                    <a:cubicBezTo>
                      <a:pt x="274" y="73"/>
                      <a:pt x="275" y="74"/>
                      <a:pt x="275" y="74"/>
                    </a:cubicBezTo>
                    <a:cubicBezTo>
                      <a:pt x="276" y="75"/>
                      <a:pt x="276" y="75"/>
                      <a:pt x="276" y="75"/>
                    </a:cubicBezTo>
                    <a:cubicBezTo>
                      <a:pt x="276" y="77"/>
                      <a:pt x="276" y="78"/>
                      <a:pt x="275" y="78"/>
                    </a:cubicBezTo>
                    <a:cubicBezTo>
                      <a:pt x="275" y="78"/>
                      <a:pt x="275" y="78"/>
                      <a:pt x="275" y="78"/>
                    </a:cubicBezTo>
                    <a:cubicBezTo>
                      <a:pt x="275" y="78"/>
                      <a:pt x="275" y="78"/>
                      <a:pt x="275" y="78"/>
                    </a:cubicBezTo>
                    <a:cubicBezTo>
                      <a:pt x="274" y="79"/>
                      <a:pt x="274" y="79"/>
                      <a:pt x="274" y="79"/>
                    </a:cubicBezTo>
                    <a:cubicBezTo>
                      <a:pt x="273" y="80"/>
                      <a:pt x="272" y="80"/>
                      <a:pt x="272" y="81"/>
                    </a:cubicBezTo>
                    <a:cubicBezTo>
                      <a:pt x="272" y="81"/>
                      <a:pt x="272" y="81"/>
                      <a:pt x="272" y="81"/>
                    </a:cubicBezTo>
                    <a:cubicBezTo>
                      <a:pt x="270" y="82"/>
                      <a:pt x="270" y="82"/>
                      <a:pt x="270" y="82"/>
                    </a:cubicBezTo>
                    <a:cubicBezTo>
                      <a:pt x="270" y="82"/>
                      <a:pt x="270" y="82"/>
                      <a:pt x="270" y="82"/>
                    </a:cubicBezTo>
                    <a:cubicBezTo>
                      <a:pt x="270" y="82"/>
                      <a:pt x="270" y="82"/>
                      <a:pt x="270" y="82"/>
                    </a:cubicBezTo>
                    <a:cubicBezTo>
                      <a:pt x="268" y="83"/>
                      <a:pt x="267" y="83"/>
                      <a:pt x="265" y="84"/>
                    </a:cubicBezTo>
                    <a:cubicBezTo>
                      <a:pt x="265" y="84"/>
                      <a:pt x="265" y="84"/>
                      <a:pt x="265" y="84"/>
                    </a:cubicBezTo>
                    <a:cubicBezTo>
                      <a:pt x="264" y="84"/>
                      <a:pt x="264" y="84"/>
                      <a:pt x="264" y="84"/>
                    </a:cubicBezTo>
                    <a:cubicBezTo>
                      <a:pt x="264" y="84"/>
                      <a:pt x="264" y="84"/>
                      <a:pt x="264" y="84"/>
                    </a:cubicBezTo>
                    <a:cubicBezTo>
                      <a:pt x="263" y="84"/>
                      <a:pt x="263" y="84"/>
                      <a:pt x="263" y="84"/>
                    </a:cubicBezTo>
                    <a:cubicBezTo>
                      <a:pt x="262" y="85"/>
                      <a:pt x="262" y="85"/>
                      <a:pt x="261" y="86"/>
                    </a:cubicBezTo>
                    <a:cubicBezTo>
                      <a:pt x="267" y="89"/>
                      <a:pt x="267" y="89"/>
                      <a:pt x="267" y="89"/>
                    </a:cubicBezTo>
                    <a:cubicBezTo>
                      <a:pt x="263" y="88"/>
                      <a:pt x="263" y="88"/>
                      <a:pt x="263" y="88"/>
                    </a:cubicBezTo>
                    <a:cubicBezTo>
                      <a:pt x="264" y="89"/>
                      <a:pt x="264" y="89"/>
                      <a:pt x="264" y="89"/>
                    </a:cubicBezTo>
                    <a:cubicBezTo>
                      <a:pt x="263" y="88"/>
                      <a:pt x="263" y="88"/>
                      <a:pt x="263" y="88"/>
                    </a:cubicBezTo>
                    <a:cubicBezTo>
                      <a:pt x="259" y="88"/>
                      <a:pt x="259" y="88"/>
                      <a:pt x="259" y="88"/>
                    </a:cubicBezTo>
                    <a:cubicBezTo>
                      <a:pt x="260" y="88"/>
                      <a:pt x="260" y="89"/>
                      <a:pt x="261" y="89"/>
                    </a:cubicBezTo>
                    <a:cubicBezTo>
                      <a:pt x="262" y="89"/>
                      <a:pt x="262" y="89"/>
                      <a:pt x="262" y="89"/>
                    </a:cubicBezTo>
                    <a:cubicBezTo>
                      <a:pt x="262" y="90"/>
                      <a:pt x="263" y="90"/>
                      <a:pt x="263" y="90"/>
                    </a:cubicBezTo>
                    <a:cubicBezTo>
                      <a:pt x="265" y="91"/>
                      <a:pt x="265" y="91"/>
                      <a:pt x="265" y="91"/>
                    </a:cubicBezTo>
                    <a:cubicBezTo>
                      <a:pt x="265" y="92"/>
                      <a:pt x="265" y="92"/>
                      <a:pt x="265" y="92"/>
                    </a:cubicBezTo>
                    <a:cubicBezTo>
                      <a:pt x="265" y="92"/>
                      <a:pt x="265" y="92"/>
                      <a:pt x="265" y="92"/>
                    </a:cubicBezTo>
                    <a:cubicBezTo>
                      <a:pt x="265" y="92"/>
                      <a:pt x="265" y="92"/>
                      <a:pt x="265" y="92"/>
                    </a:cubicBezTo>
                    <a:cubicBezTo>
                      <a:pt x="265" y="92"/>
                      <a:pt x="265" y="92"/>
                      <a:pt x="265" y="92"/>
                    </a:cubicBezTo>
                    <a:cubicBezTo>
                      <a:pt x="268" y="93"/>
                      <a:pt x="268" y="93"/>
                      <a:pt x="268" y="93"/>
                    </a:cubicBezTo>
                    <a:cubicBezTo>
                      <a:pt x="275" y="96"/>
                      <a:pt x="275" y="96"/>
                      <a:pt x="275" y="96"/>
                    </a:cubicBezTo>
                    <a:cubicBezTo>
                      <a:pt x="277" y="96"/>
                      <a:pt x="277" y="96"/>
                      <a:pt x="277" y="96"/>
                    </a:cubicBezTo>
                    <a:cubicBezTo>
                      <a:pt x="277" y="97"/>
                      <a:pt x="277" y="97"/>
                      <a:pt x="277" y="97"/>
                    </a:cubicBezTo>
                    <a:cubicBezTo>
                      <a:pt x="285" y="101"/>
                      <a:pt x="285" y="101"/>
                      <a:pt x="285" y="101"/>
                    </a:cubicBezTo>
                    <a:cubicBezTo>
                      <a:pt x="286" y="98"/>
                      <a:pt x="286" y="98"/>
                      <a:pt x="286" y="98"/>
                    </a:cubicBezTo>
                    <a:cubicBezTo>
                      <a:pt x="286" y="102"/>
                      <a:pt x="286" y="102"/>
                      <a:pt x="286" y="102"/>
                    </a:cubicBezTo>
                    <a:cubicBezTo>
                      <a:pt x="290" y="103"/>
                      <a:pt x="290" y="103"/>
                      <a:pt x="290" y="103"/>
                    </a:cubicBezTo>
                    <a:cubicBezTo>
                      <a:pt x="289" y="104"/>
                      <a:pt x="289" y="104"/>
                      <a:pt x="289" y="104"/>
                    </a:cubicBezTo>
                    <a:cubicBezTo>
                      <a:pt x="294" y="108"/>
                      <a:pt x="294" y="108"/>
                      <a:pt x="294" y="108"/>
                    </a:cubicBezTo>
                    <a:cubicBezTo>
                      <a:pt x="287" y="106"/>
                      <a:pt x="287" y="106"/>
                      <a:pt x="287" y="106"/>
                    </a:cubicBezTo>
                    <a:cubicBezTo>
                      <a:pt x="287" y="107"/>
                      <a:pt x="287" y="107"/>
                      <a:pt x="287" y="107"/>
                    </a:cubicBezTo>
                    <a:cubicBezTo>
                      <a:pt x="286" y="108"/>
                      <a:pt x="285" y="109"/>
                      <a:pt x="285" y="110"/>
                    </a:cubicBezTo>
                    <a:cubicBezTo>
                      <a:pt x="285" y="111"/>
                      <a:pt x="285" y="111"/>
                      <a:pt x="285" y="111"/>
                    </a:cubicBezTo>
                    <a:cubicBezTo>
                      <a:pt x="284" y="112"/>
                      <a:pt x="284" y="112"/>
                      <a:pt x="284" y="112"/>
                    </a:cubicBezTo>
                    <a:cubicBezTo>
                      <a:pt x="284" y="112"/>
                      <a:pt x="284" y="112"/>
                      <a:pt x="284" y="112"/>
                    </a:cubicBezTo>
                    <a:cubicBezTo>
                      <a:pt x="284" y="112"/>
                      <a:pt x="284" y="112"/>
                      <a:pt x="284" y="112"/>
                    </a:cubicBezTo>
                    <a:cubicBezTo>
                      <a:pt x="284" y="114"/>
                      <a:pt x="284" y="114"/>
                      <a:pt x="284" y="114"/>
                    </a:cubicBezTo>
                    <a:cubicBezTo>
                      <a:pt x="284" y="114"/>
                      <a:pt x="284" y="115"/>
                      <a:pt x="283" y="116"/>
                    </a:cubicBezTo>
                    <a:cubicBezTo>
                      <a:pt x="282" y="118"/>
                      <a:pt x="282" y="118"/>
                      <a:pt x="282" y="118"/>
                    </a:cubicBezTo>
                    <a:cubicBezTo>
                      <a:pt x="280" y="118"/>
                      <a:pt x="280" y="118"/>
                      <a:pt x="280" y="118"/>
                    </a:cubicBezTo>
                    <a:cubicBezTo>
                      <a:pt x="278" y="120"/>
                      <a:pt x="272" y="121"/>
                      <a:pt x="269" y="121"/>
                    </a:cubicBezTo>
                    <a:cubicBezTo>
                      <a:pt x="269" y="121"/>
                      <a:pt x="269" y="121"/>
                      <a:pt x="269" y="121"/>
                    </a:cubicBezTo>
                    <a:cubicBezTo>
                      <a:pt x="268" y="122"/>
                      <a:pt x="268" y="122"/>
                      <a:pt x="268" y="122"/>
                    </a:cubicBezTo>
                    <a:cubicBezTo>
                      <a:pt x="267" y="121"/>
                      <a:pt x="267" y="121"/>
                      <a:pt x="267" y="121"/>
                    </a:cubicBezTo>
                    <a:cubicBezTo>
                      <a:pt x="264" y="121"/>
                      <a:pt x="261" y="120"/>
                      <a:pt x="258" y="119"/>
                    </a:cubicBezTo>
                    <a:cubicBezTo>
                      <a:pt x="256" y="119"/>
                      <a:pt x="256" y="119"/>
                      <a:pt x="256" y="119"/>
                    </a:cubicBezTo>
                    <a:cubicBezTo>
                      <a:pt x="255" y="118"/>
                      <a:pt x="255" y="118"/>
                      <a:pt x="255" y="118"/>
                    </a:cubicBezTo>
                    <a:cubicBezTo>
                      <a:pt x="255" y="119"/>
                      <a:pt x="255" y="119"/>
                      <a:pt x="254" y="120"/>
                    </a:cubicBezTo>
                    <a:cubicBezTo>
                      <a:pt x="254" y="121"/>
                      <a:pt x="253" y="122"/>
                      <a:pt x="252" y="123"/>
                    </a:cubicBezTo>
                    <a:cubicBezTo>
                      <a:pt x="252" y="123"/>
                      <a:pt x="252" y="123"/>
                      <a:pt x="252" y="123"/>
                    </a:cubicBezTo>
                    <a:cubicBezTo>
                      <a:pt x="251" y="124"/>
                      <a:pt x="250" y="124"/>
                      <a:pt x="249" y="125"/>
                    </a:cubicBezTo>
                    <a:cubicBezTo>
                      <a:pt x="249" y="125"/>
                      <a:pt x="248" y="125"/>
                      <a:pt x="248" y="125"/>
                    </a:cubicBezTo>
                    <a:cubicBezTo>
                      <a:pt x="247" y="125"/>
                      <a:pt x="247" y="125"/>
                      <a:pt x="247" y="125"/>
                    </a:cubicBezTo>
                    <a:cubicBezTo>
                      <a:pt x="247" y="125"/>
                      <a:pt x="247" y="125"/>
                      <a:pt x="247" y="125"/>
                    </a:cubicBezTo>
                    <a:cubicBezTo>
                      <a:pt x="243" y="130"/>
                      <a:pt x="243" y="130"/>
                      <a:pt x="243" y="130"/>
                    </a:cubicBezTo>
                    <a:cubicBezTo>
                      <a:pt x="243" y="124"/>
                      <a:pt x="243" y="124"/>
                      <a:pt x="243" y="124"/>
                    </a:cubicBezTo>
                    <a:cubicBezTo>
                      <a:pt x="243" y="123"/>
                      <a:pt x="243" y="123"/>
                      <a:pt x="243" y="123"/>
                    </a:cubicBezTo>
                    <a:cubicBezTo>
                      <a:pt x="241" y="122"/>
                      <a:pt x="240" y="122"/>
                      <a:pt x="238" y="121"/>
                    </a:cubicBezTo>
                    <a:cubicBezTo>
                      <a:pt x="237" y="121"/>
                      <a:pt x="237" y="121"/>
                      <a:pt x="236" y="121"/>
                    </a:cubicBezTo>
                    <a:cubicBezTo>
                      <a:pt x="235" y="121"/>
                      <a:pt x="234" y="121"/>
                      <a:pt x="234" y="121"/>
                    </a:cubicBezTo>
                    <a:cubicBezTo>
                      <a:pt x="232" y="124"/>
                      <a:pt x="232" y="124"/>
                      <a:pt x="232" y="124"/>
                    </a:cubicBezTo>
                    <a:cubicBezTo>
                      <a:pt x="233" y="121"/>
                      <a:pt x="233" y="121"/>
                      <a:pt x="233" y="121"/>
                    </a:cubicBezTo>
                    <a:cubicBezTo>
                      <a:pt x="232" y="121"/>
                      <a:pt x="232" y="121"/>
                      <a:pt x="232" y="121"/>
                    </a:cubicBezTo>
                    <a:cubicBezTo>
                      <a:pt x="231" y="120"/>
                      <a:pt x="231" y="120"/>
                      <a:pt x="230" y="119"/>
                    </a:cubicBezTo>
                    <a:cubicBezTo>
                      <a:pt x="228" y="118"/>
                      <a:pt x="227" y="117"/>
                      <a:pt x="227" y="117"/>
                    </a:cubicBezTo>
                    <a:cubicBezTo>
                      <a:pt x="226" y="116"/>
                      <a:pt x="226" y="114"/>
                      <a:pt x="226" y="113"/>
                    </a:cubicBezTo>
                    <a:cubicBezTo>
                      <a:pt x="225" y="112"/>
                      <a:pt x="225" y="111"/>
                      <a:pt x="224" y="111"/>
                    </a:cubicBezTo>
                    <a:cubicBezTo>
                      <a:pt x="222" y="110"/>
                      <a:pt x="220" y="110"/>
                      <a:pt x="218" y="110"/>
                    </a:cubicBezTo>
                    <a:cubicBezTo>
                      <a:pt x="217" y="110"/>
                      <a:pt x="216" y="110"/>
                      <a:pt x="215" y="110"/>
                    </a:cubicBezTo>
                    <a:cubicBezTo>
                      <a:pt x="215" y="110"/>
                      <a:pt x="215" y="110"/>
                      <a:pt x="215" y="110"/>
                    </a:cubicBezTo>
                    <a:cubicBezTo>
                      <a:pt x="214" y="110"/>
                      <a:pt x="214" y="110"/>
                      <a:pt x="214" y="110"/>
                    </a:cubicBezTo>
                    <a:cubicBezTo>
                      <a:pt x="214" y="111"/>
                      <a:pt x="214" y="112"/>
                      <a:pt x="213" y="113"/>
                    </a:cubicBezTo>
                    <a:cubicBezTo>
                      <a:pt x="213" y="114"/>
                      <a:pt x="213" y="114"/>
                      <a:pt x="213" y="114"/>
                    </a:cubicBezTo>
                    <a:cubicBezTo>
                      <a:pt x="212" y="114"/>
                      <a:pt x="212" y="115"/>
                      <a:pt x="211" y="115"/>
                    </a:cubicBezTo>
                    <a:cubicBezTo>
                      <a:pt x="210" y="116"/>
                      <a:pt x="209" y="116"/>
                      <a:pt x="208" y="116"/>
                    </a:cubicBezTo>
                    <a:cubicBezTo>
                      <a:pt x="207" y="116"/>
                      <a:pt x="207" y="116"/>
                      <a:pt x="206" y="116"/>
                    </a:cubicBezTo>
                    <a:cubicBezTo>
                      <a:pt x="206" y="116"/>
                      <a:pt x="206" y="116"/>
                      <a:pt x="206" y="116"/>
                    </a:cubicBezTo>
                    <a:cubicBezTo>
                      <a:pt x="203" y="116"/>
                      <a:pt x="202" y="114"/>
                      <a:pt x="201" y="113"/>
                    </a:cubicBezTo>
                    <a:cubicBezTo>
                      <a:pt x="200" y="112"/>
                      <a:pt x="199" y="111"/>
                      <a:pt x="199" y="111"/>
                    </a:cubicBezTo>
                    <a:cubicBezTo>
                      <a:pt x="199" y="110"/>
                      <a:pt x="199" y="110"/>
                      <a:pt x="199" y="110"/>
                    </a:cubicBezTo>
                    <a:cubicBezTo>
                      <a:pt x="198" y="111"/>
                      <a:pt x="198" y="111"/>
                      <a:pt x="198" y="111"/>
                    </a:cubicBezTo>
                    <a:cubicBezTo>
                      <a:pt x="195" y="111"/>
                      <a:pt x="195" y="111"/>
                      <a:pt x="195" y="111"/>
                    </a:cubicBezTo>
                    <a:cubicBezTo>
                      <a:pt x="193" y="111"/>
                      <a:pt x="191" y="111"/>
                      <a:pt x="189" y="112"/>
                    </a:cubicBezTo>
                    <a:cubicBezTo>
                      <a:pt x="188" y="112"/>
                      <a:pt x="188" y="112"/>
                      <a:pt x="188" y="112"/>
                    </a:cubicBezTo>
                    <a:cubicBezTo>
                      <a:pt x="188" y="113"/>
                      <a:pt x="187" y="114"/>
                      <a:pt x="186" y="115"/>
                    </a:cubicBezTo>
                    <a:cubicBezTo>
                      <a:pt x="185" y="116"/>
                      <a:pt x="184" y="116"/>
                      <a:pt x="183" y="116"/>
                    </a:cubicBezTo>
                    <a:cubicBezTo>
                      <a:pt x="182" y="116"/>
                      <a:pt x="182" y="116"/>
                      <a:pt x="182" y="117"/>
                    </a:cubicBezTo>
                    <a:cubicBezTo>
                      <a:pt x="182" y="117"/>
                      <a:pt x="182" y="118"/>
                      <a:pt x="181" y="119"/>
                    </a:cubicBezTo>
                    <a:cubicBezTo>
                      <a:pt x="180" y="120"/>
                      <a:pt x="179" y="121"/>
                      <a:pt x="178" y="121"/>
                    </a:cubicBezTo>
                    <a:cubicBezTo>
                      <a:pt x="178" y="122"/>
                      <a:pt x="177" y="122"/>
                      <a:pt x="176" y="122"/>
                    </a:cubicBezTo>
                    <a:cubicBezTo>
                      <a:pt x="176" y="122"/>
                      <a:pt x="176" y="122"/>
                      <a:pt x="176" y="122"/>
                    </a:cubicBezTo>
                    <a:cubicBezTo>
                      <a:pt x="176" y="123"/>
                      <a:pt x="176" y="123"/>
                      <a:pt x="176" y="123"/>
                    </a:cubicBezTo>
                    <a:cubicBezTo>
                      <a:pt x="174" y="124"/>
                      <a:pt x="174" y="124"/>
                      <a:pt x="173" y="124"/>
                    </a:cubicBezTo>
                    <a:cubicBezTo>
                      <a:pt x="173" y="124"/>
                      <a:pt x="172" y="124"/>
                      <a:pt x="172" y="124"/>
                    </a:cubicBezTo>
                    <a:cubicBezTo>
                      <a:pt x="170" y="124"/>
                      <a:pt x="168" y="123"/>
                      <a:pt x="165" y="121"/>
                    </a:cubicBezTo>
                    <a:cubicBezTo>
                      <a:pt x="163" y="120"/>
                      <a:pt x="160" y="118"/>
                      <a:pt x="158" y="116"/>
                    </a:cubicBezTo>
                    <a:cubicBezTo>
                      <a:pt x="156" y="115"/>
                      <a:pt x="156" y="115"/>
                      <a:pt x="156" y="115"/>
                    </a:cubicBezTo>
                    <a:cubicBezTo>
                      <a:pt x="155" y="114"/>
                      <a:pt x="155" y="114"/>
                      <a:pt x="155" y="114"/>
                    </a:cubicBezTo>
                    <a:cubicBezTo>
                      <a:pt x="155" y="114"/>
                      <a:pt x="154" y="114"/>
                      <a:pt x="154" y="113"/>
                    </a:cubicBezTo>
                    <a:cubicBezTo>
                      <a:pt x="154" y="114"/>
                      <a:pt x="154" y="114"/>
                      <a:pt x="154" y="115"/>
                    </a:cubicBezTo>
                    <a:cubicBezTo>
                      <a:pt x="154" y="115"/>
                      <a:pt x="154" y="115"/>
                      <a:pt x="154" y="115"/>
                    </a:cubicBezTo>
                    <a:cubicBezTo>
                      <a:pt x="155" y="116"/>
                      <a:pt x="155" y="116"/>
                      <a:pt x="155" y="117"/>
                    </a:cubicBezTo>
                    <a:cubicBezTo>
                      <a:pt x="155" y="118"/>
                      <a:pt x="155" y="118"/>
                      <a:pt x="155" y="118"/>
                    </a:cubicBezTo>
                    <a:cubicBezTo>
                      <a:pt x="155" y="119"/>
                      <a:pt x="155" y="120"/>
                      <a:pt x="154" y="121"/>
                    </a:cubicBezTo>
                    <a:cubicBezTo>
                      <a:pt x="154" y="122"/>
                      <a:pt x="153" y="123"/>
                      <a:pt x="151" y="124"/>
                    </a:cubicBezTo>
                    <a:cubicBezTo>
                      <a:pt x="148" y="126"/>
                      <a:pt x="148" y="126"/>
                      <a:pt x="148" y="126"/>
                    </a:cubicBezTo>
                    <a:cubicBezTo>
                      <a:pt x="147" y="123"/>
                      <a:pt x="147" y="123"/>
                      <a:pt x="147" y="123"/>
                    </a:cubicBezTo>
                    <a:cubicBezTo>
                      <a:pt x="147" y="121"/>
                      <a:pt x="146" y="119"/>
                      <a:pt x="146" y="116"/>
                    </a:cubicBezTo>
                    <a:cubicBezTo>
                      <a:pt x="146" y="115"/>
                      <a:pt x="146" y="115"/>
                      <a:pt x="146" y="115"/>
                    </a:cubicBezTo>
                    <a:cubicBezTo>
                      <a:pt x="146" y="115"/>
                      <a:pt x="145" y="114"/>
                      <a:pt x="145" y="114"/>
                    </a:cubicBezTo>
                    <a:cubicBezTo>
                      <a:pt x="143" y="113"/>
                      <a:pt x="142" y="112"/>
                      <a:pt x="141" y="111"/>
                    </a:cubicBezTo>
                    <a:cubicBezTo>
                      <a:pt x="140" y="110"/>
                      <a:pt x="140" y="110"/>
                      <a:pt x="140" y="110"/>
                    </a:cubicBezTo>
                    <a:cubicBezTo>
                      <a:pt x="136" y="107"/>
                      <a:pt x="132" y="103"/>
                      <a:pt x="128" y="101"/>
                    </a:cubicBezTo>
                    <a:cubicBezTo>
                      <a:pt x="127" y="101"/>
                      <a:pt x="125" y="100"/>
                      <a:pt x="122" y="100"/>
                    </a:cubicBezTo>
                    <a:cubicBezTo>
                      <a:pt x="122" y="100"/>
                      <a:pt x="122" y="100"/>
                      <a:pt x="121" y="100"/>
                    </a:cubicBezTo>
                    <a:cubicBezTo>
                      <a:pt x="119" y="100"/>
                      <a:pt x="118" y="100"/>
                      <a:pt x="116" y="101"/>
                    </a:cubicBezTo>
                    <a:cubicBezTo>
                      <a:pt x="116" y="101"/>
                      <a:pt x="116" y="101"/>
                      <a:pt x="116" y="101"/>
                    </a:cubicBezTo>
                    <a:cubicBezTo>
                      <a:pt x="115" y="101"/>
                      <a:pt x="115" y="101"/>
                      <a:pt x="115" y="101"/>
                    </a:cubicBezTo>
                    <a:cubicBezTo>
                      <a:pt x="115" y="101"/>
                      <a:pt x="114" y="101"/>
                      <a:pt x="113" y="101"/>
                    </a:cubicBezTo>
                    <a:cubicBezTo>
                      <a:pt x="112" y="101"/>
                      <a:pt x="112" y="101"/>
                      <a:pt x="112" y="101"/>
                    </a:cubicBezTo>
                    <a:cubicBezTo>
                      <a:pt x="112" y="101"/>
                      <a:pt x="112" y="101"/>
                      <a:pt x="112" y="101"/>
                    </a:cubicBezTo>
                    <a:cubicBezTo>
                      <a:pt x="111" y="101"/>
                      <a:pt x="111" y="101"/>
                      <a:pt x="111" y="101"/>
                    </a:cubicBezTo>
                    <a:cubicBezTo>
                      <a:pt x="111" y="101"/>
                      <a:pt x="111" y="101"/>
                      <a:pt x="111" y="101"/>
                    </a:cubicBezTo>
                    <a:cubicBezTo>
                      <a:pt x="110" y="100"/>
                      <a:pt x="110" y="100"/>
                      <a:pt x="110" y="100"/>
                    </a:cubicBezTo>
                    <a:cubicBezTo>
                      <a:pt x="109" y="99"/>
                      <a:pt x="109" y="99"/>
                      <a:pt x="109" y="99"/>
                    </a:cubicBezTo>
                    <a:cubicBezTo>
                      <a:pt x="109" y="99"/>
                      <a:pt x="109" y="98"/>
                      <a:pt x="108" y="98"/>
                    </a:cubicBezTo>
                    <a:cubicBezTo>
                      <a:pt x="108" y="97"/>
                      <a:pt x="108" y="97"/>
                      <a:pt x="108" y="97"/>
                    </a:cubicBezTo>
                    <a:cubicBezTo>
                      <a:pt x="108" y="96"/>
                      <a:pt x="107" y="95"/>
                      <a:pt x="107" y="94"/>
                    </a:cubicBezTo>
                    <a:cubicBezTo>
                      <a:pt x="105" y="96"/>
                      <a:pt x="103" y="96"/>
                      <a:pt x="100" y="96"/>
                    </a:cubicBezTo>
                    <a:cubicBezTo>
                      <a:pt x="100" y="97"/>
                      <a:pt x="100" y="97"/>
                      <a:pt x="100" y="97"/>
                    </a:cubicBezTo>
                    <a:cubicBezTo>
                      <a:pt x="100" y="97"/>
                      <a:pt x="100" y="97"/>
                      <a:pt x="100" y="97"/>
                    </a:cubicBezTo>
                    <a:cubicBezTo>
                      <a:pt x="100" y="98"/>
                      <a:pt x="100" y="98"/>
                      <a:pt x="100" y="98"/>
                    </a:cubicBezTo>
                    <a:cubicBezTo>
                      <a:pt x="100" y="99"/>
                      <a:pt x="99" y="99"/>
                      <a:pt x="99" y="100"/>
                    </a:cubicBezTo>
                    <a:cubicBezTo>
                      <a:pt x="98" y="100"/>
                      <a:pt x="98" y="100"/>
                      <a:pt x="98" y="100"/>
                    </a:cubicBezTo>
                    <a:cubicBezTo>
                      <a:pt x="97" y="101"/>
                      <a:pt x="96" y="101"/>
                      <a:pt x="95" y="101"/>
                    </a:cubicBezTo>
                    <a:cubicBezTo>
                      <a:pt x="95" y="101"/>
                      <a:pt x="95" y="101"/>
                      <a:pt x="95" y="101"/>
                    </a:cubicBezTo>
                    <a:cubicBezTo>
                      <a:pt x="94" y="101"/>
                      <a:pt x="94" y="101"/>
                      <a:pt x="93" y="101"/>
                    </a:cubicBezTo>
                    <a:cubicBezTo>
                      <a:pt x="93" y="101"/>
                      <a:pt x="92" y="101"/>
                      <a:pt x="92" y="101"/>
                    </a:cubicBezTo>
                    <a:cubicBezTo>
                      <a:pt x="90" y="105"/>
                      <a:pt x="90" y="105"/>
                      <a:pt x="90" y="105"/>
                    </a:cubicBezTo>
                    <a:cubicBezTo>
                      <a:pt x="91" y="101"/>
                      <a:pt x="91" y="101"/>
                      <a:pt x="91" y="101"/>
                    </a:cubicBezTo>
                    <a:cubicBezTo>
                      <a:pt x="91" y="101"/>
                      <a:pt x="91" y="101"/>
                      <a:pt x="91" y="101"/>
                    </a:cubicBezTo>
                    <a:cubicBezTo>
                      <a:pt x="89" y="100"/>
                      <a:pt x="88" y="99"/>
                      <a:pt x="87" y="98"/>
                    </a:cubicBezTo>
                    <a:cubicBezTo>
                      <a:pt x="86" y="96"/>
                      <a:pt x="86" y="96"/>
                      <a:pt x="86" y="96"/>
                    </a:cubicBezTo>
                    <a:cubicBezTo>
                      <a:pt x="86" y="96"/>
                      <a:pt x="86" y="96"/>
                      <a:pt x="86" y="96"/>
                    </a:cubicBezTo>
                    <a:cubicBezTo>
                      <a:pt x="86" y="96"/>
                      <a:pt x="85" y="95"/>
                      <a:pt x="84" y="95"/>
                    </a:cubicBezTo>
                    <a:cubicBezTo>
                      <a:pt x="84" y="95"/>
                      <a:pt x="83" y="95"/>
                      <a:pt x="82" y="95"/>
                    </a:cubicBezTo>
                    <a:cubicBezTo>
                      <a:pt x="82" y="95"/>
                      <a:pt x="82" y="94"/>
                      <a:pt x="81" y="94"/>
                    </a:cubicBezTo>
                    <a:cubicBezTo>
                      <a:pt x="81" y="95"/>
                      <a:pt x="81" y="95"/>
                      <a:pt x="81" y="95"/>
                    </a:cubicBezTo>
                    <a:cubicBezTo>
                      <a:pt x="81" y="96"/>
                      <a:pt x="81" y="96"/>
                      <a:pt x="81" y="96"/>
                    </a:cubicBezTo>
                    <a:cubicBezTo>
                      <a:pt x="81" y="97"/>
                      <a:pt x="80" y="98"/>
                      <a:pt x="78" y="98"/>
                    </a:cubicBezTo>
                    <a:cubicBezTo>
                      <a:pt x="77" y="98"/>
                      <a:pt x="77" y="98"/>
                      <a:pt x="77" y="98"/>
                    </a:cubicBezTo>
                    <a:cubicBezTo>
                      <a:pt x="76" y="98"/>
                      <a:pt x="76" y="98"/>
                      <a:pt x="76" y="98"/>
                    </a:cubicBezTo>
                    <a:cubicBezTo>
                      <a:pt x="75" y="98"/>
                      <a:pt x="75" y="98"/>
                      <a:pt x="74" y="100"/>
                    </a:cubicBezTo>
                    <a:cubicBezTo>
                      <a:pt x="73" y="102"/>
                      <a:pt x="73" y="102"/>
                      <a:pt x="73" y="102"/>
                    </a:cubicBezTo>
                    <a:cubicBezTo>
                      <a:pt x="73" y="103"/>
                      <a:pt x="73" y="103"/>
                      <a:pt x="72" y="104"/>
                    </a:cubicBezTo>
                    <a:cubicBezTo>
                      <a:pt x="71" y="105"/>
                      <a:pt x="69" y="106"/>
                      <a:pt x="67" y="107"/>
                    </a:cubicBezTo>
                    <a:cubicBezTo>
                      <a:pt x="67" y="107"/>
                      <a:pt x="67" y="107"/>
                      <a:pt x="67" y="107"/>
                    </a:cubicBezTo>
                    <a:cubicBezTo>
                      <a:pt x="66" y="107"/>
                      <a:pt x="66" y="107"/>
                      <a:pt x="66" y="107"/>
                    </a:cubicBezTo>
                    <a:cubicBezTo>
                      <a:pt x="55" y="112"/>
                      <a:pt x="55" y="112"/>
                      <a:pt x="55" y="112"/>
                    </a:cubicBezTo>
                    <a:cubicBezTo>
                      <a:pt x="55" y="113"/>
                      <a:pt x="55" y="114"/>
                      <a:pt x="54" y="115"/>
                    </a:cubicBezTo>
                    <a:cubicBezTo>
                      <a:pt x="54" y="116"/>
                      <a:pt x="54" y="116"/>
                      <a:pt x="54" y="116"/>
                    </a:cubicBezTo>
                    <a:cubicBezTo>
                      <a:pt x="53" y="117"/>
                      <a:pt x="52" y="117"/>
                      <a:pt x="48" y="118"/>
                    </a:cubicBezTo>
                    <a:cubicBezTo>
                      <a:pt x="48" y="119"/>
                      <a:pt x="48" y="119"/>
                      <a:pt x="48" y="119"/>
                    </a:cubicBezTo>
                    <a:cubicBezTo>
                      <a:pt x="48" y="119"/>
                      <a:pt x="47" y="119"/>
                      <a:pt x="47" y="119"/>
                    </a:cubicBezTo>
                    <a:cubicBezTo>
                      <a:pt x="46" y="119"/>
                      <a:pt x="46" y="119"/>
                      <a:pt x="46" y="119"/>
                    </a:cubicBezTo>
                    <a:cubicBezTo>
                      <a:pt x="46" y="118"/>
                      <a:pt x="46" y="118"/>
                      <a:pt x="46" y="118"/>
                    </a:cubicBezTo>
                    <a:cubicBezTo>
                      <a:pt x="46" y="119"/>
                      <a:pt x="46" y="119"/>
                      <a:pt x="46" y="119"/>
                    </a:cubicBezTo>
                    <a:cubicBezTo>
                      <a:pt x="46" y="120"/>
                      <a:pt x="46" y="120"/>
                      <a:pt x="46" y="120"/>
                    </a:cubicBezTo>
                    <a:cubicBezTo>
                      <a:pt x="45" y="120"/>
                      <a:pt x="45" y="120"/>
                      <a:pt x="45" y="120"/>
                    </a:cubicBezTo>
                    <a:cubicBezTo>
                      <a:pt x="43" y="121"/>
                      <a:pt x="42" y="122"/>
                      <a:pt x="40" y="122"/>
                    </a:cubicBezTo>
                    <a:cubicBezTo>
                      <a:pt x="40" y="123"/>
                      <a:pt x="40" y="123"/>
                      <a:pt x="40" y="123"/>
                    </a:cubicBezTo>
                    <a:cubicBezTo>
                      <a:pt x="41" y="124"/>
                      <a:pt x="41" y="125"/>
                      <a:pt x="41" y="126"/>
                    </a:cubicBezTo>
                    <a:cubicBezTo>
                      <a:pt x="41" y="127"/>
                      <a:pt x="41" y="127"/>
                      <a:pt x="41" y="127"/>
                    </a:cubicBezTo>
                    <a:cubicBezTo>
                      <a:pt x="42" y="127"/>
                      <a:pt x="42" y="128"/>
                      <a:pt x="42" y="128"/>
                    </a:cubicBezTo>
                    <a:cubicBezTo>
                      <a:pt x="42" y="129"/>
                      <a:pt x="42" y="129"/>
                      <a:pt x="42" y="129"/>
                    </a:cubicBezTo>
                    <a:cubicBezTo>
                      <a:pt x="42" y="129"/>
                      <a:pt x="43" y="130"/>
                      <a:pt x="43" y="130"/>
                    </a:cubicBezTo>
                    <a:cubicBezTo>
                      <a:pt x="43" y="131"/>
                      <a:pt x="43" y="131"/>
                      <a:pt x="43" y="131"/>
                    </a:cubicBezTo>
                    <a:cubicBezTo>
                      <a:pt x="43" y="131"/>
                      <a:pt x="43" y="131"/>
                      <a:pt x="43" y="131"/>
                    </a:cubicBezTo>
                    <a:cubicBezTo>
                      <a:pt x="43" y="131"/>
                      <a:pt x="43" y="131"/>
                      <a:pt x="43" y="131"/>
                    </a:cubicBezTo>
                    <a:cubicBezTo>
                      <a:pt x="43" y="132"/>
                      <a:pt x="44" y="132"/>
                      <a:pt x="44" y="132"/>
                    </a:cubicBezTo>
                    <a:cubicBezTo>
                      <a:pt x="45" y="133"/>
                      <a:pt x="45" y="134"/>
                      <a:pt x="45" y="135"/>
                    </a:cubicBezTo>
                    <a:cubicBezTo>
                      <a:pt x="45" y="136"/>
                      <a:pt x="44" y="137"/>
                      <a:pt x="43" y="138"/>
                    </a:cubicBezTo>
                    <a:cubicBezTo>
                      <a:pt x="42" y="139"/>
                      <a:pt x="40" y="140"/>
                      <a:pt x="37" y="141"/>
                    </a:cubicBezTo>
                    <a:cubicBezTo>
                      <a:pt x="37" y="141"/>
                      <a:pt x="36" y="142"/>
                      <a:pt x="36" y="142"/>
                    </a:cubicBezTo>
                    <a:cubicBezTo>
                      <a:pt x="35" y="142"/>
                      <a:pt x="34" y="142"/>
                      <a:pt x="34" y="142"/>
                    </a:cubicBezTo>
                    <a:cubicBezTo>
                      <a:pt x="32" y="142"/>
                      <a:pt x="31" y="141"/>
                      <a:pt x="30" y="140"/>
                    </a:cubicBezTo>
                    <a:cubicBezTo>
                      <a:pt x="29" y="139"/>
                      <a:pt x="28" y="138"/>
                      <a:pt x="26" y="136"/>
                    </a:cubicBezTo>
                    <a:cubicBezTo>
                      <a:pt x="25" y="135"/>
                      <a:pt x="25" y="135"/>
                      <a:pt x="25" y="135"/>
                    </a:cubicBezTo>
                    <a:cubicBezTo>
                      <a:pt x="25" y="135"/>
                      <a:pt x="25" y="135"/>
                      <a:pt x="24" y="134"/>
                    </a:cubicBezTo>
                    <a:cubicBezTo>
                      <a:pt x="24" y="133"/>
                      <a:pt x="24" y="133"/>
                      <a:pt x="24" y="133"/>
                    </a:cubicBezTo>
                    <a:cubicBezTo>
                      <a:pt x="22" y="132"/>
                      <a:pt x="20" y="129"/>
                      <a:pt x="18" y="128"/>
                    </a:cubicBezTo>
                    <a:cubicBezTo>
                      <a:pt x="18" y="128"/>
                      <a:pt x="18" y="128"/>
                      <a:pt x="18" y="128"/>
                    </a:cubicBezTo>
                    <a:cubicBezTo>
                      <a:pt x="17" y="128"/>
                      <a:pt x="16" y="129"/>
                      <a:pt x="16" y="129"/>
                    </a:cubicBezTo>
                    <a:cubicBezTo>
                      <a:pt x="16" y="129"/>
                      <a:pt x="16" y="129"/>
                      <a:pt x="16" y="129"/>
                    </a:cubicBezTo>
                    <a:cubicBezTo>
                      <a:pt x="16" y="129"/>
                      <a:pt x="16" y="130"/>
                      <a:pt x="16" y="131"/>
                    </a:cubicBezTo>
                    <a:cubicBezTo>
                      <a:pt x="15" y="132"/>
                      <a:pt x="15" y="134"/>
                      <a:pt x="14" y="135"/>
                    </a:cubicBezTo>
                    <a:cubicBezTo>
                      <a:pt x="14" y="136"/>
                      <a:pt x="14" y="136"/>
                      <a:pt x="14" y="136"/>
                    </a:cubicBezTo>
                    <a:cubicBezTo>
                      <a:pt x="13" y="137"/>
                      <a:pt x="13" y="137"/>
                      <a:pt x="13" y="137"/>
                    </a:cubicBezTo>
                    <a:cubicBezTo>
                      <a:pt x="12" y="138"/>
                      <a:pt x="12" y="138"/>
                      <a:pt x="12" y="138"/>
                    </a:cubicBezTo>
                    <a:cubicBezTo>
                      <a:pt x="12" y="138"/>
                      <a:pt x="12" y="138"/>
                      <a:pt x="12" y="138"/>
                    </a:cubicBezTo>
                    <a:cubicBezTo>
                      <a:pt x="11" y="139"/>
                      <a:pt x="9" y="140"/>
                      <a:pt x="9" y="140"/>
                    </a:cubicBezTo>
                    <a:cubicBezTo>
                      <a:pt x="7" y="141"/>
                      <a:pt x="7" y="141"/>
                      <a:pt x="7" y="141"/>
                    </a:cubicBezTo>
                    <a:cubicBezTo>
                      <a:pt x="6" y="143"/>
                      <a:pt x="6" y="143"/>
                      <a:pt x="6" y="143"/>
                    </a:cubicBezTo>
                    <a:cubicBezTo>
                      <a:pt x="6" y="143"/>
                      <a:pt x="6" y="144"/>
                      <a:pt x="6" y="144"/>
                    </a:cubicBezTo>
                    <a:cubicBezTo>
                      <a:pt x="5" y="148"/>
                      <a:pt x="5" y="148"/>
                      <a:pt x="5" y="148"/>
                    </a:cubicBezTo>
                    <a:cubicBezTo>
                      <a:pt x="5" y="149"/>
                      <a:pt x="5" y="149"/>
                      <a:pt x="5" y="150"/>
                    </a:cubicBezTo>
                    <a:cubicBezTo>
                      <a:pt x="5" y="150"/>
                      <a:pt x="5" y="150"/>
                      <a:pt x="5" y="150"/>
                    </a:cubicBezTo>
                    <a:cubicBezTo>
                      <a:pt x="6" y="151"/>
                      <a:pt x="6" y="151"/>
                      <a:pt x="6" y="151"/>
                    </a:cubicBezTo>
                    <a:cubicBezTo>
                      <a:pt x="6" y="151"/>
                      <a:pt x="6" y="151"/>
                      <a:pt x="6" y="151"/>
                    </a:cubicBezTo>
                    <a:cubicBezTo>
                      <a:pt x="7" y="152"/>
                      <a:pt x="7" y="152"/>
                      <a:pt x="7" y="152"/>
                    </a:cubicBezTo>
                    <a:cubicBezTo>
                      <a:pt x="11" y="156"/>
                      <a:pt x="8" y="159"/>
                      <a:pt x="8" y="161"/>
                    </a:cubicBezTo>
                    <a:cubicBezTo>
                      <a:pt x="7" y="161"/>
                      <a:pt x="7" y="161"/>
                      <a:pt x="7" y="162"/>
                    </a:cubicBezTo>
                    <a:cubicBezTo>
                      <a:pt x="5" y="164"/>
                      <a:pt x="3" y="167"/>
                      <a:pt x="1" y="170"/>
                    </a:cubicBezTo>
                    <a:cubicBezTo>
                      <a:pt x="1" y="171"/>
                      <a:pt x="0" y="172"/>
                      <a:pt x="0" y="173"/>
                    </a:cubicBezTo>
                    <a:cubicBezTo>
                      <a:pt x="0" y="173"/>
                      <a:pt x="0" y="173"/>
                      <a:pt x="0" y="173"/>
                    </a:cubicBezTo>
                    <a:cubicBezTo>
                      <a:pt x="2" y="174"/>
                      <a:pt x="2" y="174"/>
                      <a:pt x="2" y="174"/>
                    </a:cubicBezTo>
                    <a:cubicBezTo>
                      <a:pt x="3" y="174"/>
                      <a:pt x="4" y="175"/>
                      <a:pt x="6" y="175"/>
                    </a:cubicBezTo>
                    <a:cubicBezTo>
                      <a:pt x="8" y="176"/>
                      <a:pt x="8" y="176"/>
                      <a:pt x="8" y="176"/>
                    </a:cubicBezTo>
                    <a:cubicBezTo>
                      <a:pt x="8" y="176"/>
                      <a:pt x="9" y="176"/>
                      <a:pt x="9" y="176"/>
                    </a:cubicBezTo>
                    <a:cubicBezTo>
                      <a:pt x="12" y="178"/>
                      <a:pt x="11" y="181"/>
                      <a:pt x="11" y="184"/>
                    </a:cubicBezTo>
                    <a:cubicBezTo>
                      <a:pt x="11" y="184"/>
                      <a:pt x="11" y="185"/>
                      <a:pt x="11" y="185"/>
                    </a:cubicBezTo>
                    <a:cubicBezTo>
                      <a:pt x="11" y="188"/>
                      <a:pt x="11" y="188"/>
                      <a:pt x="12" y="189"/>
                    </a:cubicBezTo>
                    <a:cubicBezTo>
                      <a:pt x="13" y="189"/>
                      <a:pt x="14" y="190"/>
                      <a:pt x="15" y="190"/>
                    </a:cubicBezTo>
                    <a:cubicBezTo>
                      <a:pt x="16" y="190"/>
                      <a:pt x="16" y="190"/>
                      <a:pt x="17" y="189"/>
                    </a:cubicBezTo>
                    <a:cubicBezTo>
                      <a:pt x="17" y="189"/>
                      <a:pt x="18" y="189"/>
                      <a:pt x="18" y="189"/>
                    </a:cubicBezTo>
                    <a:cubicBezTo>
                      <a:pt x="19" y="189"/>
                      <a:pt x="19" y="189"/>
                      <a:pt x="19" y="189"/>
                    </a:cubicBezTo>
                    <a:cubicBezTo>
                      <a:pt x="20" y="189"/>
                      <a:pt x="22" y="188"/>
                      <a:pt x="23" y="188"/>
                    </a:cubicBezTo>
                    <a:cubicBezTo>
                      <a:pt x="24" y="188"/>
                      <a:pt x="25" y="188"/>
                      <a:pt x="25" y="188"/>
                    </a:cubicBezTo>
                    <a:cubicBezTo>
                      <a:pt x="26" y="188"/>
                      <a:pt x="27" y="188"/>
                      <a:pt x="28" y="188"/>
                    </a:cubicBezTo>
                    <a:cubicBezTo>
                      <a:pt x="28" y="188"/>
                      <a:pt x="29" y="189"/>
                      <a:pt x="29" y="189"/>
                    </a:cubicBezTo>
                    <a:cubicBezTo>
                      <a:pt x="31" y="190"/>
                      <a:pt x="32" y="192"/>
                      <a:pt x="33" y="193"/>
                    </a:cubicBezTo>
                    <a:cubicBezTo>
                      <a:pt x="33" y="194"/>
                      <a:pt x="34" y="195"/>
                      <a:pt x="35" y="196"/>
                    </a:cubicBezTo>
                    <a:cubicBezTo>
                      <a:pt x="38" y="200"/>
                      <a:pt x="38" y="200"/>
                      <a:pt x="38" y="200"/>
                    </a:cubicBezTo>
                    <a:cubicBezTo>
                      <a:pt x="39" y="202"/>
                      <a:pt x="40" y="204"/>
                      <a:pt x="41" y="206"/>
                    </a:cubicBezTo>
                    <a:cubicBezTo>
                      <a:pt x="42" y="206"/>
                      <a:pt x="42" y="206"/>
                      <a:pt x="42" y="207"/>
                    </a:cubicBezTo>
                    <a:cubicBezTo>
                      <a:pt x="43" y="207"/>
                      <a:pt x="43" y="207"/>
                      <a:pt x="43" y="207"/>
                    </a:cubicBezTo>
                    <a:cubicBezTo>
                      <a:pt x="44" y="209"/>
                      <a:pt x="46" y="211"/>
                      <a:pt x="47" y="214"/>
                    </a:cubicBezTo>
                    <a:cubicBezTo>
                      <a:pt x="48" y="214"/>
                      <a:pt x="48" y="214"/>
                      <a:pt x="48" y="214"/>
                    </a:cubicBezTo>
                    <a:cubicBezTo>
                      <a:pt x="47" y="215"/>
                      <a:pt x="47" y="215"/>
                      <a:pt x="47" y="215"/>
                    </a:cubicBezTo>
                    <a:cubicBezTo>
                      <a:pt x="47" y="215"/>
                      <a:pt x="47" y="215"/>
                      <a:pt x="47" y="215"/>
                    </a:cubicBezTo>
                    <a:cubicBezTo>
                      <a:pt x="47" y="216"/>
                      <a:pt x="47" y="216"/>
                      <a:pt x="47" y="216"/>
                    </a:cubicBezTo>
                    <a:cubicBezTo>
                      <a:pt x="46" y="217"/>
                      <a:pt x="46" y="217"/>
                      <a:pt x="46" y="217"/>
                    </a:cubicBezTo>
                    <a:cubicBezTo>
                      <a:pt x="44" y="218"/>
                      <a:pt x="44" y="218"/>
                      <a:pt x="44" y="218"/>
                    </a:cubicBezTo>
                    <a:cubicBezTo>
                      <a:pt x="44" y="218"/>
                      <a:pt x="44" y="218"/>
                      <a:pt x="44" y="218"/>
                    </a:cubicBezTo>
                    <a:cubicBezTo>
                      <a:pt x="44" y="218"/>
                      <a:pt x="44" y="218"/>
                      <a:pt x="44" y="218"/>
                    </a:cubicBezTo>
                    <a:cubicBezTo>
                      <a:pt x="43" y="218"/>
                      <a:pt x="43" y="218"/>
                      <a:pt x="43" y="218"/>
                    </a:cubicBezTo>
                    <a:cubicBezTo>
                      <a:pt x="43" y="219"/>
                      <a:pt x="42" y="219"/>
                      <a:pt x="42" y="219"/>
                    </a:cubicBezTo>
                    <a:cubicBezTo>
                      <a:pt x="42" y="219"/>
                      <a:pt x="42" y="219"/>
                      <a:pt x="42" y="219"/>
                    </a:cubicBezTo>
                    <a:cubicBezTo>
                      <a:pt x="43" y="219"/>
                      <a:pt x="43" y="219"/>
                      <a:pt x="43" y="219"/>
                    </a:cubicBezTo>
                    <a:cubicBezTo>
                      <a:pt x="44" y="220"/>
                      <a:pt x="46" y="221"/>
                      <a:pt x="47" y="222"/>
                    </a:cubicBezTo>
                    <a:cubicBezTo>
                      <a:pt x="48" y="222"/>
                      <a:pt x="48" y="222"/>
                      <a:pt x="49" y="222"/>
                    </a:cubicBezTo>
                    <a:cubicBezTo>
                      <a:pt x="49" y="222"/>
                      <a:pt x="49" y="222"/>
                      <a:pt x="49" y="222"/>
                    </a:cubicBezTo>
                    <a:cubicBezTo>
                      <a:pt x="48" y="222"/>
                      <a:pt x="48" y="222"/>
                      <a:pt x="48" y="222"/>
                    </a:cubicBezTo>
                    <a:cubicBezTo>
                      <a:pt x="49" y="222"/>
                      <a:pt x="49" y="222"/>
                      <a:pt x="49" y="222"/>
                    </a:cubicBezTo>
                    <a:cubicBezTo>
                      <a:pt x="50" y="222"/>
                      <a:pt x="50" y="221"/>
                      <a:pt x="50" y="221"/>
                    </a:cubicBezTo>
                    <a:cubicBezTo>
                      <a:pt x="50" y="221"/>
                      <a:pt x="50" y="221"/>
                      <a:pt x="50" y="221"/>
                    </a:cubicBezTo>
                    <a:cubicBezTo>
                      <a:pt x="50" y="221"/>
                      <a:pt x="50" y="221"/>
                      <a:pt x="50" y="221"/>
                    </a:cubicBezTo>
                    <a:cubicBezTo>
                      <a:pt x="50" y="220"/>
                      <a:pt x="51" y="220"/>
                      <a:pt x="51" y="220"/>
                    </a:cubicBezTo>
                    <a:cubicBezTo>
                      <a:pt x="51" y="220"/>
                      <a:pt x="51" y="220"/>
                      <a:pt x="51" y="220"/>
                    </a:cubicBezTo>
                    <a:cubicBezTo>
                      <a:pt x="50" y="219"/>
                      <a:pt x="50" y="219"/>
                      <a:pt x="50" y="219"/>
                    </a:cubicBezTo>
                    <a:cubicBezTo>
                      <a:pt x="51" y="219"/>
                      <a:pt x="52" y="219"/>
                      <a:pt x="52" y="219"/>
                    </a:cubicBezTo>
                    <a:cubicBezTo>
                      <a:pt x="53" y="219"/>
                      <a:pt x="54" y="219"/>
                      <a:pt x="55" y="219"/>
                    </a:cubicBezTo>
                    <a:cubicBezTo>
                      <a:pt x="56" y="219"/>
                      <a:pt x="57" y="219"/>
                      <a:pt x="58" y="219"/>
                    </a:cubicBezTo>
                    <a:cubicBezTo>
                      <a:pt x="59" y="219"/>
                      <a:pt x="60" y="219"/>
                      <a:pt x="62" y="219"/>
                    </a:cubicBezTo>
                    <a:cubicBezTo>
                      <a:pt x="63" y="218"/>
                      <a:pt x="64" y="217"/>
                      <a:pt x="65" y="216"/>
                    </a:cubicBezTo>
                    <a:cubicBezTo>
                      <a:pt x="66" y="215"/>
                      <a:pt x="68" y="215"/>
                      <a:pt x="69" y="214"/>
                    </a:cubicBezTo>
                    <a:cubicBezTo>
                      <a:pt x="70" y="213"/>
                      <a:pt x="70" y="213"/>
                      <a:pt x="71" y="212"/>
                    </a:cubicBezTo>
                    <a:cubicBezTo>
                      <a:pt x="72" y="212"/>
                      <a:pt x="73" y="212"/>
                      <a:pt x="75" y="211"/>
                    </a:cubicBezTo>
                    <a:cubicBezTo>
                      <a:pt x="75" y="211"/>
                      <a:pt x="78" y="210"/>
                      <a:pt x="79" y="209"/>
                    </a:cubicBezTo>
                    <a:cubicBezTo>
                      <a:pt x="79" y="208"/>
                      <a:pt x="79" y="208"/>
                      <a:pt x="79" y="208"/>
                    </a:cubicBezTo>
                    <a:cubicBezTo>
                      <a:pt x="81" y="208"/>
                      <a:pt x="81" y="208"/>
                      <a:pt x="81" y="208"/>
                    </a:cubicBezTo>
                    <a:cubicBezTo>
                      <a:pt x="82" y="208"/>
                      <a:pt x="83" y="208"/>
                      <a:pt x="84" y="207"/>
                    </a:cubicBezTo>
                    <a:cubicBezTo>
                      <a:pt x="85" y="207"/>
                      <a:pt x="85" y="206"/>
                      <a:pt x="86" y="206"/>
                    </a:cubicBezTo>
                    <a:cubicBezTo>
                      <a:pt x="86" y="206"/>
                      <a:pt x="86" y="206"/>
                      <a:pt x="86" y="206"/>
                    </a:cubicBezTo>
                    <a:cubicBezTo>
                      <a:pt x="89" y="206"/>
                      <a:pt x="92" y="208"/>
                      <a:pt x="94" y="208"/>
                    </a:cubicBezTo>
                    <a:cubicBezTo>
                      <a:pt x="98" y="209"/>
                      <a:pt x="102" y="211"/>
                      <a:pt x="106" y="213"/>
                    </a:cubicBezTo>
                    <a:cubicBezTo>
                      <a:pt x="105" y="213"/>
                      <a:pt x="105" y="212"/>
                      <a:pt x="105" y="212"/>
                    </a:cubicBezTo>
                    <a:cubicBezTo>
                      <a:pt x="105" y="212"/>
                      <a:pt x="106" y="212"/>
                      <a:pt x="106" y="212"/>
                    </a:cubicBezTo>
                    <a:cubicBezTo>
                      <a:pt x="108" y="212"/>
                      <a:pt x="108" y="210"/>
                      <a:pt x="110" y="209"/>
                    </a:cubicBezTo>
                    <a:cubicBezTo>
                      <a:pt x="110" y="209"/>
                      <a:pt x="110" y="209"/>
                      <a:pt x="111" y="209"/>
                    </a:cubicBezTo>
                    <a:cubicBezTo>
                      <a:pt x="112" y="209"/>
                      <a:pt x="114" y="210"/>
                      <a:pt x="115" y="210"/>
                    </a:cubicBezTo>
                    <a:cubicBezTo>
                      <a:pt x="118" y="211"/>
                      <a:pt x="119" y="211"/>
                      <a:pt x="121" y="214"/>
                    </a:cubicBezTo>
                    <a:cubicBezTo>
                      <a:pt x="124" y="219"/>
                      <a:pt x="126" y="224"/>
                      <a:pt x="125" y="229"/>
                    </a:cubicBezTo>
                    <a:cubicBezTo>
                      <a:pt x="125" y="234"/>
                      <a:pt x="122" y="237"/>
                      <a:pt x="121" y="241"/>
                    </a:cubicBezTo>
                    <a:cubicBezTo>
                      <a:pt x="121" y="243"/>
                      <a:pt x="121" y="243"/>
                      <a:pt x="122" y="245"/>
                    </a:cubicBezTo>
                    <a:cubicBezTo>
                      <a:pt x="123" y="248"/>
                      <a:pt x="124" y="247"/>
                      <a:pt x="126" y="248"/>
                    </a:cubicBezTo>
                    <a:cubicBezTo>
                      <a:pt x="128" y="248"/>
                      <a:pt x="129" y="249"/>
                      <a:pt x="131" y="249"/>
                    </a:cubicBezTo>
                    <a:cubicBezTo>
                      <a:pt x="132" y="249"/>
                      <a:pt x="132" y="249"/>
                      <a:pt x="133" y="249"/>
                    </a:cubicBezTo>
                    <a:cubicBezTo>
                      <a:pt x="135" y="248"/>
                      <a:pt x="137" y="248"/>
                      <a:pt x="138" y="247"/>
                    </a:cubicBezTo>
                    <a:cubicBezTo>
                      <a:pt x="139" y="246"/>
                      <a:pt x="138" y="245"/>
                      <a:pt x="140" y="245"/>
                    </a:cubicBezTo>
                    <a:cubicBezTo>
                      <a:pt x="140" y="245"/>
                      <a:pt x="140" y="245"/>
                      <a:pt x="140" y="245"/>
                    </a:cubicBezTo>
                    <a:cubicBezTo>
                      <a:pt x="145" y="245"/>
                      <a:pt x="143" y="250"/>
                      <a:pt x="144" y="252"/>
                    </a:cubicBezTo>
                    <a:cubicBezTo>
                      <a:pt x="145" y="253"/>
                      <a:pt x="146" y="254"/>
                      <a:pt x="146" y="255"/>
                    </a:cubicBezTo>
                    <a:cubicBezTo>
                      <a:pt x="146" y="256"/>
                      <a:pt x="144" y="257"/>
                      <a:pt x="142" y="257"/>
                    </a:cubicBezTo>
                    <a:cubicBezTo>
                      <a:pt x="142" y="257"/>
                      <a:pt x="142" y="257"/>
                      <a:pt x="142" y="257"/>
                    </a:cubicBezTo>
                    <a:cubicBezTo>
                      <a:pt x="142" y="257"/>
                      <a:pt x="141" y="257"/>
                      <a:pt x="141" y="257"/>
                    </a:cubicBezTo>
                    <a:cubicBezTo>
                      <a:pt x="140" y="257"/>
                      <a:pt x="139" y="257"/>
                      <a:pt x="139" y="258"/>
                    </a:cubicBezTo>
                    <a:cubicBezTo>
                      <a:pt x="138" y="258"/>
                      <a:pt x="138" y="258"/>
                      <a:pt x="137" y="258"/>
                    </a:cubicBezTo>
                    <a:cubicBezTo>
                      <a:pt x="137" y="258"/>
                      <a:pt x="137" y="258"/>
                      <a:pt x="136" y="258"/>
                    </a:cubicBezTo>
                    <a:cubicBezTo>
                      <a:pt x="136" y="258"/>
                      <a:pt x="136" y="258"/>
                      <a:pt x="136" y="258"/>
                    </a:cubicBezTo>
                    <a:cubicBezTo>
                      <a:pt x="135" y="258"/>
                      <a:pt x="135" y="258"/>
                      <a:pt x="135" y="258"/>
                    </a:cubicBezTo>
                    <a:cubicBezTo>
                      <a:pt x="132" y="258"/>
                      <a:pt x="130" y="261"/>
                      <a:pt x="129" y="264"/>
                    </a:cubicBezTo>
                    <a:cubicBezTo>
                      <a:pt x="129" y="264"/>
                      <a:pt x="126" y="270"/>
                      <a:pt x="125" y="270"/>
                    </a:cubicBezTo>
                    <a:cubicBezTo>
                      <a:pt x="123" y="270"/>
                      <a:pt x="124" y="268"/>
                      <a:pt x="125" y="267"/>
                    </a:cubicBezTo>
                    <a:cubicBezTo>
                      <a:pt x="126" y="264"/>
                      <a:pt x="128" y="260"/>
                      <a:pt x="131" y="258"/>
                    </a:cubicBezTo>
                    <a:cubicBezTo>
                      <a:pt x="133" y="256"/>
                      <a:pt x="135" y="257"/>
                      <a:pt x="137" y="256"/>
                    </a:cubicBezTo>
                    <a:cubicBezTo>
                      <a:pt x="141" y="255"/>
                      <a:pt x="140" y="251"/>
                      <a:pt x="138" y="251"/>
                    </a:cubicBezTo>
                    <a:cubicBezTo>
                      <a:pt x="137" y="251"/>
                      <a:pt x="137" y="251"/>
                      <a:pt x="136" y="251"/>
                    </a:cubicBezTo>
                    <a:cubicBezTo>
                      <a:pt x="135" y="252"/>
                      <a:pt x="134" y="252"/>
                      <a:pt x="133" y="252"/>
                    </a:cubicBezTo>
                    <a:cubicBezTo>
                      <a:pt x="132" y="252"/>
                      <a:pt x="131" y="252"/>
                      <a:pt x="130" y="251"/>
                    </a:cubicBezTo>
                    <a:cubicBezTo>
                      <a:pt x="128" y="251"/>
                      <a:pt x="125" y="251"/>
                      <a:pt x="122" y="251"/>
                    </a:cubicBezTo>
                    <a:cubicBezTo>
                      <a:pt x="119" y="250"/>
                      <a:pt x="115" y="250"/>
                      <a:pt x="112" y="249"/>
                    </a:cubicBezTo>
                    <a:cubicBezTo>
                      <a:pt x="107" y="249"/>
                      <a:pt x="102" y="249"/>
                      <a:pt x="98" y="247"/>
                    </a:cubicBezTo>
                    <a:cubicBezTo>
                      <a:pt x="98" y="247"/>
                      <a:pt x="97" y="246"/>
                      <a:pt x="97" y="246"/>
                    </a:cubicBezTo>
                    <a:cubicBezTo>
                      <a:pt x="96" y="246"/>
                      <a:pt x="96" y="246"/>
                      <a:pt x="96" y="247"/>
                    </a:cubicBezTo>
                    <a:cubicBezTo>
                      <a:pt x="96" y="247"/>
                      <a:pt x="94" y="249"/>
                      <a:pt x="93" y="249"/>
                    </a:cubicBezTo>
                    <a:cubicBezTo>
                      <a:pt x="93" y="249"/>
                      <a:pt x="93" y="249"/>
                      <a:pt x="93" y="249"/>
                    </a:cubicBezTo>
                    <a:cubicBezTo>
                      <a:pt x="92" y="249"/>
                      <a:pt x="91" y="248"/>
                      <a:pt x="91" y="248"/>
                    </a:cubicBezTo>
                    <a:cubicBezTo>
                      <a:pt x="90" y="248"/>
                      <a:pt x="89" y="250"/>
                      <a:pt x="88" y="251"/>
                    </a:cubicBezTo>
                    <a:cubicBezTo>
                      <a:pt x="87" y="252"/>
                      <a:pt x="87" y="254"/>
                      <a:pt x="86" y="255"/>
                    </a:cubicBezTo>
                    <a:cubicBezTo>
                      <a:pt x="84" y="257"/>
                      <a:pt x="84" y="257"/>
                      <a:pt x="84" y="257"/>
                    </a:cubicBezTo>
                    <a:cubicBezTo>
                      <a:pt x="83" y="257"/>
                      <a:pt x="81" y="257"/>
                      <a:pt x="82" y="258"/>
                    </a:cubicBezTo>
                    <a:cubicBezTo>
                      <a:pt x="83" y="260"/>
                      <a:pt x="85" y="262"/>
                      <a:pt x="87" y="263"/>
                    </a:cubicBezTo>
                    <a:cubicBezTo>
                      <a:pt x="87" y="264"/>
                      <a:pt x="87" y="266"/>
                      <a:pt x="88" y="266"/>
                    </a:cubicBezTo>
                    <a:cubicBezTo>
                      <a:pt x="88" y="266"/>
                      <a:pt x="88" y="266"/>
                      <a:pt x="88" y="266"/>
                    </a:cubicBezTo>
                    <a:cubicBezTo>
                      <a:pt x="89" y="266"/>
                      <a:pt x="89" y="266"/>
                      <a:pt x="89" y="266"/>
                    </a:cubicBezTo>
                    <a:cubicBezTo>
                      <a:pt x="89" y="266"/>
                      <a:pt x="90" y="266"/>
                      <a:pt x="90" y="266"/>
                    </a:cubicBezTo>
                    <a:cubicBezTo>
                      <a:pt x="90" y="266"/>
                      <a:pt x="90" y="266"/>
                      <a:pt x="90" y="266"/>
                    </a:cubicBezTo>
                    <a:cubicBezTo>
                      <a:pt x="90" y="266"/>
                      <a:pt x="92" y="266"/>
                      <a:pt x="93" y="267"/>
                    </a:cubicBezTo>
                    <a:cubicBezTo>
                      <a:pt x="93" y="267"/>
                      <a:pt x="93" y="267"/>
                      <a:pt x="93" y="267"/>
                    </a:cubicBezTo>
                    <a:cubicBezTo>
                      <a:pt x="93" y="267"/>
                      <a:pt x="93" y="267"/>
                      <a:pt x="93" y="267"/>
                    </a:cubicBezTo>
                    <a:cubicBezTo>
                      <a:pt x="93" y="267"/>
                      <a:pt x="92" y="268"/>
                      <a:pt x="92" y="268"/>
                    </a:cubicBezTo>
                    <a:cubicBezTo>
                      <a:pt x="91" y="268"/>
                      <a:pt x="91" y="268"/>
                      <a:pt x="90" y="268"/>
                    </a:cubicBezTo>
                    <a:cubicBezTo>
                      <a:pt x="90" y="268"/>
                      <a:pt x="89" y="268"/>
                      <a:pt x="89" y="267"/>
                    </a:cubicBezTo>
                    <a:cubicBezTo>
                      <a:pt x="89" y="267"/>
                      <a:pt x="89" y="267"/>
                      <a:pt x="89" y="267"/>
                    </a:cubicBezTo>
                    <a:cubicBezTo>
                      <a:pt x="88" y="267"/>
                      <a:pt x="87" y="268"/>
                      <a:pt x="87" y="268"/>
                    </a:cubicBezTo>
                    <a:cubicBezTo>
                      <a:pt x="86" y="269"/>
                      <a:pt x="86" y="269"/>
                      <a:pt x="85" y="269"/>
                    </a:cubicBezTo>
                    <a:cubicBezTo>
                      <a:pt x="84" y="269"/>
                      <a:pt x="83" y="268"/>
                      <a:pt x="81" y="267"/>
                    </a:cubicBezTo>
                    <a:cubicBezTo>
                      <a:pt x="80" y="266"/>
                      <a:pt x="79" y="266"/>
                      <a:pt x="78" y="266"/>
                    </a:cubicBezTo>
                    <a:cubicBezTo>
                      <a:pt x="78" y="266"/>
                      <a:pt x="77" y="266"/>
                      <a:pt x="76" y="266"/>
                    </a:cubicBezTo>
                    <a:cubicBezTo>
                      <a:pt x="75" y="266"/>
                      <a:pt x="72" y="265"/>
                      <a:pt x="70" y="265"/>
                    </a:cubicBezTo>
                    <a:cubicBezTo>
                      <a:pt x="70" y="265"/>
                      <a:pt x="70" y="265"/>
                      <a:pt x="70" y="265"/>
                    </a:cubicBezTo>
                    <a:cubicBezTo>
                      <a:pt x="69" y="265"/>
                      <a:pt x="69" y="266"/>
                      <a:pt x="68" y="267"/>
                    </a:cubicBezTo>
                    <a:cubicBezTo>
                      <a:pt x="68" y="267"/>
                      <a:pt x="68" y="267"/>
                      <a:pt x="68" y="267"/>
                    </a:cubicBezTo>
                    <a:cubicBezTo>
                      <a:pt x="67" y="271"/>
                      <a:pt x="68" y="272"/>
                      <a:pt x="72" y="273"/>
                    </a:cubicBezTo>
                    <a:cubicBezTo>
                      <a:pt x="73" y="274"/>
                      <a:pt x="74" y="274"/>
                      <a:pt x="75" y="274"/>
                    </a:cubicBezTo>
                    <a:cubicBezTo>
                      <a:pt x="82" y="275"/>
                      <a:pt x="82" y="283"/>
                      <a:pt x="85" y="288"/>
                    </a:cubicBezTo>
                    <a:cubicBezTo>
                      <a:pt x="86" y="291"/>
                      <a:pt x="87" y="293"/>
                      <a:pt x="88" y="296"/>
                    </a:cubicBezTo>
                    <a:cubicBezTo>
                      <a:pt x="88" y="297"/>
                      <a:pt x="88" y="297"/>
                      <a:pt x="88" y="298"/>
                    </a:cubicBezTo>
                    <a:cubicBezTo>
                      <a:pt x="88" y="298"/>
                      <a:pt x="87" y="299"/>
                      <a:pt x="87" y="299"/>
                    </a:cubicBezTo>
                    <a:cubicBezTo>
                      <a:pt x="87" y="300"/>
                      <a:pt x="88" y="300"/>
                      <a:pt x="88" y="300"/>
                    </a:cubicBezTo>
                    <a:cubicBezTo>
                      <a:pt x="89" y="300"/>
                      <a:pt x="90" y="300"/>
                      <a:pt x="91" y="300"/>
                    </a:cubicBezTo>
                    <a:cubicBezTo>
                      <a:pt x="91" y="299"/>
                      <a:pt x="92" y="299"/>
                      <a:pt x="93" y="299"/>
                    </a:cubicBezTo>
                    <a:cubicBezTo>
                      <a:pt x="93" y="299"/>
                      <a:pt x="94" y="299"/>
                      <a:pt x="94" y="299"/>
                    </a:cubicBezTo>
                    <a:cubicBezTo>
                      <a:pt x="97" y="300"/>
                      <a:pt x="97" y="305"/>
                      <a:pt x="100" y="306"/>
                    </a:cubicBezTo>
                    <a:cubicBezTo>
                      <a:pt x="100" y="307"/>
                      <a:pt x="100" y="307"/>
                      <a:pt x="101" y="307"/>
                    </a:cubicBezTo>
                    <a:cubicBezTo>
                      <a:pt x="101" y="307"/>
                      <a:pt x="102" y="306"/>
                      <a:pt x="102" y="306"/>
                    </a:cubicBezTo>
                    <a:cubicBezTo>
                      <a:pt x="102" y="306"/>
                      <a:pt x="103" y="306"/>
                      <a:pt x="103" y="306"/>
                    </a:cubicBezTo>
                    <a:cubicBezTo>
                      <a:pt x="104" y="306"/>
                      <a:pt x="104" y="306"/>
                      <a:pt x="104" y="306"/>
                    </a:cubicBezTo>
                    <a:cubicBezTo>
                      <a:pt x="105" y="306"/>
                      <a:pt x="105" y="306"/>
                      <a:pt x="106" y="307"/>
                    </a:cubicBezTo>
                    <a:cubicBezTo>
                      <a:pt x="106" y="308"/>
                      <a:pt x="106" y="308"/>
                      <a:pt x="106" y="308"/>
                    </a:cubicBezTo>
                    <a:cubicBezTo>
                      <a:pt x="107" y="308"/>
                      <a:pt x="107" y="308"/>
                      <a:pt x="107" y="308"/>
                    </a:cubicBezTo>
                    <a:cubicBezTo>
                      <a:pt x="107" y="308"/>
                      <a:pt x="107" y="308"/>
                      <a:pt x="107" y="308"/>
                    </a:cubicBezTo>
                    <a:cubicBezTo>
                      <a:pt x="107" y="308"/>
                      <a:pt x="107" y="308"/>
                      <a:pt x="107" y="308"/>
                    </a:cubicBezTo>
                    <a:cubicBezTo>
                      <a:pt x="107" y="308"/>
                      <a:pt x="107" y="308"/>
                      <a:pt x="107" y="308"/>
                    </a:cubicBezTo>
                    <a:cubicBezTo>
                      <a:pt x="107" y="308"/>
                      <a:pt x="108" y="308"/>
                      <a:pt x="108" y="308"/>
                    </a:cubicBezTo>
                    <a:cubicBezTo>
                      <a:pt x="108" y="308"/>
                      <a:pt x="109" y="308"/>
                      <a:pt x="109" y="307"/>
                    </a:cubicBezTo>
                    <a:cubicBezTo>
                      <a:pt x="109" y="307"/>
                      <a:pt x="110" y="307"/>
                      <a:pt x="110" y="307"/>
                    </a:cubicBezTo>
                    <a:cubicBezTo>
                      <a:pt x="110" y="307"/>
                      <a:pt x="111" y="307"/>
                      <a:pt x="111" y="308"/>
                    </a:cubicBezTo>
                    <a:cubicBezTo>
                      <a:pt x="113" y="308"/>
                      <a:pt x="114" y="309"/>
                      <a:pt x="115" y="310"/>
                    </a:cubicBezTo>
                    <a:cubicBezTo>
                      <a:pt x="115" y="310"/>
                      <a:pt x="114" y="310"/>
                      <a:pt x="113" y="310"/>
                    </a:cubicBezTo>
                    <a:cubicBezTo>
                      <a:pt x="113" y="310"/>
                      <a:pt x="113" y="310"/>
                      <a:pt x="113" y="310"/>
                    </a:cubicBezTo>
                    <a:cubicBezTo>
                      <a:pt x="115" y="313"/>
                      <a:pt x="114" y="315"/>
                      <a:pt x="112" y="318"/>
                    </a:cubicBezTo>
                    <a:cubicBezTo>
                      <a:pt x="111" y="320"/>
                      <a:pt x="110" y="322"/>
                      <a:pt x="109" y="323"/>
                    </a:cubicBezTo>
                    <a:cubicBezTo>
                      <a:pt x="109" y="325"/>
                      <a:pt x="109" y="327"/>
                      <a:pt x="109" y="329"/>
                    </a:cubicBezTo>
                    <a:cubicBezTo>
                      <a:pt x="110" y="329"/>
                      <a:pt x="110" y="328"/>
                      <a:pt x="111" y="328"/>
                    </a:cubicBezTo>
                    <a:cubicBezTo>
                      <a:pt x="112" y="327"/>
                      <a:pt x="113" y="326"/>
                      <a:pt x="114" y="325"/>
                    </a:cubicBezTo>
                    <a:cubicBezTo>
                      <a:pt x="116" y="324"/>
                      <a:pt x="117" y="323"/>
                      <a:pt x="118" y="322"/>
                    </a:cubicBezTo>
                    <a:cubicBezTo>
                      <a:pt x="122" y="320"/>
                      <a:pt x="127" y="318"/>
                      <a:pt x="131" y="317"/>
                    </a:cubicBezTo>
                    <a:cubicBezTo>
                      <a:pt x="133" y="317"/>
                      <a:pt x="135" y="317"/>
                      <a:pt x="137" y="316"/>
                    </a:cubicBezTo>
                    <a:cubicBezTo>
                      <a:pt x="138" y="316"/>
                      <a:pt x="138" y="316"/>
                      <a:pt x="138" y="316"/>
                    </a:cubicBezTo>
                    <a:cubicBezTo>
                      <a:pt x="139" y="316"/>
                      <a:pt x="140" y="316"/>
                      <a:pt x="141" y="316"/>
                    </a:cubicBezTo>
                    <a:cubicBezTo>
                      <a:pt x="141" y="316"/>
                      <a:pt x="142" y="316"/>
                      <a:pt x="142" y="316"/>
                    </a:cubicBezTo>
                    <a:cubicBezTo>
                      <a:pt x="144" y="316"/>
                      <a:pt x="145" y="317"/>
                      <a:pt x="146" y="318"/>
                    </a:cubicBezTo>
                    <a:cubicBezTo>
                      <a:pt x="148" y="319"/>
                      <a:pt x="151" y="322"/>
                      <a:pt x="153" y="324"/>
                    </a:cubicBezTo>
                    <a:cubicBezTo>
                      <a:pt x="153" y="324"/>
                      <a:pt x="153" y="324"/>
                      <a:pt x="153" y="324"/>
                    </a:cubicBezTo>
                    <a:cubicBezTo>
                      <a:pt x="154" y="325"/>
                      <a:pt x="156" y="326"/>
                      <a:pt x="157" y="327"/>
                    </a:cubicBezTo>
                    <a:cubicBezTo>
                      <a:pt x="158" y="328"/>
                      <a:pt x="158" y="328"/>
                      <a:pt x="158" y="328"/>
                    </a:cubicBezTo>
                    <a:cubicBezTo>
                      <a:pt x="159" y="329"/>
                      <a:pt x="161" y="330"/>
                      <a:pt x="162" y="332"/>
                    </a:cubicBezTo>
                    <a:cubicBezTo>
                      <a:pt x="163" y="333"/>
                      <a:pt x="163" y="334"/>
                      <a:pt x="164" y="335"/>
                    </a:cubicBezTo>
                    <a:cubicBezTo>
                      <a:pt x="164" y="335"/>
                      <a:pt x="164" y="335"/>
                      <a:pt x="164" y="335"/>
                    </a:cubicBezTo>
                    <a:cubicBezTo>
                      <a:pt x="165" y="337"/>
                      <a:pt x="167" y="338"/>
                      <a:pt x="168" y="339"/>
                    </a:cubicBezTo>
                    <a:cubicBezTo>
                      <a:pt x="168" y="339"/>
                      <a:pt x="168" y="340"/>
                      <a:pt x="169" y="340"/>
                    </a:cubicBezTo>
                    <a:cubicBezTo>
                      <a:pt x="169" y="340"/>
                      <a:pt x="170" y="340"/>
                      <a:pt x="172" y="340"/>
                    </a:cubicBezTo>
                    <a:cubicBezTo>
                      <a:pt x="173" y="339"/>
                      <a:pt x="174" y="339"/>
                      <a:pt x="175" y="339"/>
                    </a:cubicBezTo>
                    <a:cubicBezTo>
                      <a:pt x="175" y="297"/>
                      <a:pt x="175" y="297"/>
                      <a:pt x="175" y="297"/>
                    </a:cubicBezTo>
                    <a:cubicBezTo>
                      <a:pt x="175" y="284"/>
                      <a:pt x="175" y="271"/>
                      <a:pt x="175" y="258"/>
                    </a:cubicBezTo>
                    <a:cubicBezTo>
                      <a:pt x="175" y="257"/>
                      <a:pt x="175" y="257"/>
                      <a:pt x="175" y="257"/>
                    </a:cubicBezTo>
                    <a:cubicBezTo>
                      <a:pt x="175" y="255"/>
                      <a:pt x="176" y="254"/>
                      <a:pt x="179" y="254"/>
                    </a:cubicBezTo>
                    <a:cubicBezTo>
                      <a:pt x="180" y="253"/>
                      <a:pt x="181" y="253"/>
                      <a:pt x="183" y="252"/>
                    </a:cubicBezTo>
                    <a:cubicBezTo>
                      <a:pt x="184" y="252"/>
                      <a:pt x="185" y="252"/>
                      <a:pt x="185" y="252"/>
                    </a:cubicBezTo>
                    <a:cubicBezTo>
                      <a:pt x="193" y="250"/>
                      <a:pt x="202" y="247"/>
                      <a:pt x="210" y="245"/>
                    </a:cubicBezTo>
                    <a:cubicBezTo>
                      <a:pt x="218" y="243"/>
                      <a:pt x="218" y="243"/>
                      <a:pt x="218" y="243"/>
                    </a:cubicBezTo>
                    <a:cubicBezTo>
                      <a:pt x="220" y="242"/>
                      <a:pt x="222" y="242"/>
                      <a:pt x="223" y="242"/>
                    </a:cubicBezTo>
                    <a:cubicBezTo>
                      <a:pt x="225" y="241"/>
                      <a:pt x="225" y="241"/>
                      <a:pt x="225" y="241"/>
                    </a:cubicBezTo>
                    <a:cubicBezTo>
                      <a:pt x="225" y="241"/>
                      <a:pt x="225" y="241"/>
                      <a:pt x="226" y="241"/>
                    </a:cubicBezTo>
                    <a:cubicBezTo>
                      <a:pt x="227" y="241"/>
                      <a:pt x="227" y="241"/>
                      <a:pt x="228" y="241"/>
                    </a:cubicBezTo>
                    <a:cubicBezTo>
                      <a:pt x="228" y="240"/>
                      <a:pt x="228" y="239"/>
                      <a:pt x="229" y="238"/>
                    </a:cubicBezTo>
                    <a:cubicBezTo>
                      <a:pt x="230" y="237"/>
                      <a:pt x="231" y="236"/>
                      <a:pt x="232" y="235"/>
                    </a:cubicBezTo>
                    <a:cubicBezTo>
                      <a:pt x="232" y="235"/>
                      <a:pt x="232" y="235"/>
                      <a:pt x="232" y="235"/>
                    </a:cubicBezTo>
                    <a:cubicBezTo>
                      <a:pt x="233" y="235"/>
                      <a:pt x="233" y="236"/>
                      <a:pt x="234" y="236"/>
                    </a:cubicBezTo>
                    <a:cubicBezTo>
                      <a:pt x="234" y="236"/>
                      <a:pt x="234" y="236"/>
                      <a:pt x="234" y="236"/>
                    </a:cubicBezTo>
                    <a:cubicBezTo>
                      <a:pt x="234" y="236"/>
                      <a:pt x="234" y="236"/>
                      <a:pt x="234" y="236"/>
                    </a:cubicBezTo>
                    <a:cubicBezTo>
                      <a:pt x="234" y="236"/>
                      <a:pt x="234" y="236"/>
                      <a:pt x="234" y="236"/>
                    </a:cubicBezTo>
                    <a:cubicBezTo>
                      <a:pt x="234" y="235"/>
                      <a:pt x="234" y="235"/>
                      <a:pt x="234" y="235"/>
                    </a:cubicBezTo>
                    <a:cubicBezTo>
                      <a:pt x="235" y="235"/>
                      <a:pt x="235" y="235"/>
                      <a:pt x="235" y="235"/>
                    </a:cubicBezTo>
                    <a:cubicBezTo>
                      <a:pt x="235" y="235"/>
                      <a:pt x="235" y="235"/>
                      <a:pt x="236" y="235"/>
                    </a:cubicBezTo>
                    <a:cubicBezTo>
                      <a:pt x="236" y="235"/>
                      <a:pt x="236" y="235"/>
                      <a:pt x="236" y="235"/>
                    </a:cubicBezTo>
                    <a:cubicBezTo>
                      <a:pt x="236" y="235"/>
                      <a:pt x="236" y="235"/>
                      <a:pt x="236" y="235"/>
                    </a:cubicBezTo>
                    <a:cubicBezTo>
                      <a:pt x="236" y="235"/>
                      <a:pt x="237" y="235"/>
                      <a:pt x="237" y="235"/>
                    </a:cubicBezTo>
                    <a:cubicBezTo>
                      <a:pt x="237" y="235"/>
                      <a:pt x="237" y="235"/>
                      <a:pt x="238" y="235"/>
                    </a:cubicBezTo>
                    <a:cubicBezTo>
                      <a:pt x="238" y="235"/>
                      <a:pt x="238" y="235"/>
                      <a:pt x="238" y="235"/>
                    </a:cubicBezTo>
                    <a:cubicBezTo>
                      <a:pt x="239" y="235"/>
                      <a:pt x="239" y="234"/>
                      <a:pt x="240" y="234"/>
                    </a:cubicBezTo>
                    <a:cubicBezTo>
                      <a:pt x="240" y="234"/>
                      <a:pt x="240" y="234"/>
                      <a:pt x="240" y="234"/>
                    </a:cubicBezTo>
                    <a:cubicBezTo>
                      <a:pt x="242" y="234"/>
                      <a:pt x="240" y="236"/>
                      <a:pt x="239" y="237"/>
                    </a:cubicBezTo>
                    <a:cubicBezTo>
                      <a:pt x="239" y="238"/>
                      <a:pt x="238" y="240"/>
                      <a:pt x="240" y="241"/>
                    </a:cubicBezTo>
                    <a:cubicBezTo>
                      <a:pt x="240" y="241"/>
                      <a:pt x="240" y="241"/>
                      <a:pt x="240" y="241"/>
                    </a:cubicBezTo>
                    <a:cubicBezTo>
                      <a:pt x="240" y="241"/>
                      <a:pt x="241" y="241"/>
                      <a:pt x="241" y="241"/>
                    </a:cubicBezTo>
                    <a:cubicBezTo>
                      <a:pt x="242" y="240"/>
                      <a:pt x="242" y="240"/>
                      <a:pt x="242" y="240"/>
                    </a:cubicBezTo>
                    <a:cubicBezTo>
                      <a:pt x="243" y="240"/>
                      <a:pt x="243" y="240"/>
                      <a:pt x="243" y="242"/>
                    </a:cubicBezTo>
                    <a:cubicBezTo>
                      <a:pt x="243" y="241"/>
                      <a:pt x="244" y="240"/>
                      <a:pt x="245" y="240"/>
                    </a:cubicBezTo>
                    <a:cubicBezTo>
                      <a:pt x="245" y="240"/>
                      <a:pt x="245" y="240"/>
                      <a:pt x="245" y="240"/>
                    </a:cubicBezTo>
                    <a:cubicBezTo>
                      <a:pt x="246" y="240"/>
                      <a:pt x="247" y="240"/>
                      <a:pt x="247" y="240"/>
                    </a:cubicBezTo>
                    <a:cubicBezTo>
                      <a:pt x="247" y="240"/>
                      <a:pt x="247" y="238"/>
                      <a:pt x="247" y="238"/>
                    </a:cubicBezTo>
                    <a:cubicBezTo>
                      <a:pt x="247" y="237"/>
                      <a:pt x="247" y="236"/>
                      <a:pt x="248" y="235"/>
                    </a:cubicBezTo>
                    <a:cubicBezTo>
                      <a:pt x="249" y="233"/>
                      <a:pt x="248" y="232"/>
                      <a:pt x="247" y="230"/>
                    </a:cubicBezTo>
                    <a:cubicBezTo>
                      <a:pt x="246" y="229"/>
                      <a:pt x="245" y="228"/>
                      <a:pt x="245" y="227"/>
                    </a:cubicBezTo>
                    <a:cubicBezTo>
                      <a:pt x="245" y="227"/>
                      <a:pt x="245" y="226"/>
                      <a:pt x="245" y="226"/>
                    </a:cubicBezTo>
                    <a:cubicBezTo>
                      <a:pt x="245" y="226"/>
                      <a:pt x="245" y="226"/>
                      <a:pt x="245" y="227"/>
                    </a:cubicBezTo>
                    <a:cubicBezTo>
                      <a:pt x="245" y="227"/>
                      <a:pt x="245" y="227"/>
                      <a:pt x="246" y="227"/>
                    </a:cubicBezTo>
                    <a:cubicBezTo>
                      <a:pt x="246" y="227"/>
                      <a:pt x="246" y="227"/>
                      <a:pt x="246" y="227"/>
                    </a:cubicBezTo>
                    <a:cubicBezTo>
                      <a:pt x="247" y="226"/>
                      <a:pt x="247" y="226"/>
                      <a:pt x="248" y="226"/>
                    </a:cubicBezTo>
                    <a:cubicBezTo>
                      <a:pt x="249" y="226"/>
                      <a:pt x="249" y="227"/>
                      <a:pt x="250" y="229"/>
                    </a:cubicBezTo>
                    <a:cubicBezTo>
                      <a:pt x="250" y="229"/>
                      <a:pt x="250" y="230"/>
                      <a:pt x="250" y="231"/>
                    </a:cubicBezTo>
                    <a:cubicBezTo>
                      <a:pt x="250" y="232"/>
                      <a:pt x="248" y="232"/>
                      <a:pt x="249" y="233"/>
                    </a:cubicBezTo>
                    <a:cubicBezTo>
                      <a:pt x="249" y="233"/>
                      <a:pt x="249" y="233"/>
                      <a:pt x="250" y="233"/>
                    </a:cubicBezTo>
                    <a:cubicBezTo>
                      <a:pt x="250" y="233"/>
                      <a:pt x="252" y="232"/>
                      <a:pt x="253" y="232"/>
                    </a:cubicBezTo>
                    <a:cubicBezTo>
                      <a:pt x="253" y="232"/>
                      <a:pt x="253" y="232"/>
                      <a:pt x="254" y="232"/>
                    </a:cubicBezTo>
                    <a:cubicBezTo>
                      <a:pt x="254" y="232"/>
                      <a:pt x="254" y="232"/>
                      <a:pt x="254" y="232"/>
                    </a:cubicBezTo>
                    <a:cubicBezTo>
                      <a:pt x="255" y="232"/>
                      <a:pt x="255" y="232"/>
                      <a:pt x="255" y="232"/>
                    </a:cubicBezTo>
                    <a:cubicBezTo>
                      <a:pt x="255" y="232"/>
                      <a:pt x="255" y="232"/>
                      <a:pt x="255" y="232"/>
                    </a:cubicBezTo>
                    <a:cubicBezTo>
                      <a:pt x="257" y="232"/>
                      <a:pt x="258" y="232"/>
                      <a:pt x="259" y="232"/>
                    </a:cubicBezTo>
                    <a:cubicBezTo>
                      <a:pt x="260" y="232"/>
                      <a:pt x="260" y="232"/>
                      <a:pt x="261" y="232"/>
                    </a:cubicBezTo>
                    <a:cubicBezTo>
                      <a:pt x="263" y="232"/>
                      <a:pt x="266" y="232"/>
                      <a:pt x="267" y="233"/>
                    </a:cubicBezTo>
                    <a:cubicBezTo>
                      <a:pt x="267" y="234"/>
                      <a:pt x="265" y="234"/>
                      <a:pt x="264" y="235"/>
                    </a:cubicBezTo>
                    <a:cubicBezTo>
                      <a:pt x="263" y="237"/>
                      <a:pt x="263" y="237"/>
                      <a:pt x="262" y="237"/>
                    </a:cubicBezTo>
                    <a:cubicBezTo>
                      <a:pt x="261" y="237"/>
                      <a:pt x="261" y="237"/>
                      <a:pt x="260" y="237"/>
                    </a:cubicBezTo>
                    <a:cubicBezTo>
                      <a:pt x="259" y="237"/>
                      <a:pt x="257" y="237"/>
                      <a:pt x="256" y="236"/>
                    </a:cubicBezTo>
                    <a:cubicBezTo>
                      <a:pt x="255" y="236"/>
                      <a:pt x="253" y="236"/>
                      <a:pt x="252" y="236"/>
                    </a:cubicBezTo>
                    <a:cubicBezTo>
                      <a:pt x="252" y="236"/>
                      <a:pt x="252" y="236"/>
                      <a:pt x="251" y="236"/>
                    </a:cubicBezTo>
                    <a:cubicBezTo>
                      <a:pt x="252" y="235"/>
                      <a:pt x="252" y="235"/>
                      <a:pt x="252" y="235"/>
                    </a:cubicBezTo>
                    <a:cubicBezTo>
                      <a:pt x="251" y="235"/>
                      <a:pt x="251" y="235"/>
                      <a:pt x="250" y="235"/>
                    </a:cubicBezTo>
                    <a:cubicBezTo>
                      <a:pt x="250" y="235"/>
                      <a:pt x="250" y="235"/>
                      <a:pt x="249" y="235"/>
                    </a:cubicBezTo>
                    <a:cubicBezTo>
                      <a:pt x="251" y="235"/>
                      <a:pt x="251" y="236"/>
                      <a:pt x="249" y="237"/>
                    </a:cubicBezTo>
                    <a:cubicBezTo>
                      <a:pt x="250" y="237"/>
                      <a:pt x="251" y="237"/>
                      <a:pt x="251" y="237"/>
                    </a:cubicBezTo>
                    <a:cubicBezTo>
                      <a:pt x="251" y="238"/>
                      <a:pt x="249" y="238"/>
                      <a:pt x="249" y="238"/>
                    </a:cubicBezTo>
                    <a:cubicBezTo>
                      <a:pt x="249" y="238"/>
                      <a:pt x="251" y="239"/>
                      <a:pt x="249" y="239"/>
                    </a:cubicBezTo>
                    <a:cubicBezTo>
                      <a:pt x="250" y="240"/>
                      <a:pt x="247" y="242"/>
                      <a:pt x="249" y="244"/>
                    </a:cubicBezTo>
                    <a:cubicBezTo>
                      <a:pt x="249" y="244"/>
                      <a:pt x="250" y="244"/>
                      <a:pt x="250" y="244"/>
                    </a:cubicBezTo>
                    <a:cubicBezTo>
                      <a:pt x="251" y="244"/>
                      <a:pt x="251" y="244"/>
                      <a:pt x="252" y="244"/>
                    </a:cubicBezTo>
                    <a:cubicBezTo>
                      <a:pt x="252" y="244"/>
                      <a:pt x="253" y="244"/>
                      <a:pt x="254" y="244"/>
                    </a:cubicBezTo>
                    <a:cubicBezTo>
                      <a:pt x="254" y="244"/>
                      <a:pt x="255" y="244"/>
                      <a:pt x="256" y="245"/>
                    </a:cubicBezTo>
                    <a:cubicBezTo>
                      <a:pt x="257" y="248"/>
                      <a:pt x="256" y="254"/>
                      <a:pt x="256" y="258"/>
                    </a:cubicBezTo>
                    <a:cubicBezTo>
                      <a:pt x="257" y="258"/>
                      <a:pt x="257" y="258"/>
                      <a:pt x="257" y="258"/>
                    </a:cubicBezTo>
                    <a:cubicBezTo>
                      <a:pt x="258" y="259"/>
                      <a:pt x="259" y="259"/>
                      <a:pt x="260" y="260"/>
                    </a:cubicBezTo>
                    <a:cubicBezTo>
                      <a:pt x="268" y="265"/>
                      <a:pt x="275" y="269"/>
                      <a:pt x="277" y="272"/>
                    </a:cubicBezTo>
                    <a:cubicBezTo>
                      <a:pt x="279" y="274"/>
                      <a:pt x="282" y="278"/>
                      <a:pt x="282" y="278"/>
                    </a:cubicBezTo>
                    <a:cubicBezTo>
                      <a:pt x="284" y="281"/>
                      <a:pt x="287" y="283"/>
                      <a:pt x="289" y="285"/>
                    </a:cubicBezTo>
                    <a:cubicBezTo>
                      <a:pt x="289" y="286"/>
                      <a:pt x="290" y="286"/>
                      <a:pt x="290" y="287"/>
                    </a:cubicBezTo>
                    <a:cubicBezTo>
                      <a:pt x="291" y="287"/>
                      <a:pt x="291" y="287"/>
                      <a:pt x="291" y="287"/>
                    </a:cubicBezTo>
                    <a:cubicBezTo>
                      <a:pt x="291" y="287"/>
                      <a:pt x="292" y="288"/>
                      <a:pt x="292" y="288"/>
                    </a:cubicBezTo>
                    <a:cubicBezTo>
                      <a:pt x="293" y="289"/>
                      <a:pt x="293" y="289"/>
                      <a:pt x="293" y="289"/>
                    </a:cubicBezTo>
                    <a:cubicBezTo>
                      <a:pt x="294" y="289"/>
                      <a:pt x="294" y="289"/>
                      <a:pt x="294" y="289"/>
                    </a:cubicBezTo>
                    <a:cubicBezTo>
                      <a:pt x="294" y="289"/>
                      <a:pt x="294" y="289"/>
                      <a:pt x="295" y="289"/>
                    </a:cubicBezTo>
                    <a:cubicBezTo>
                      <a:pt x="297" y="289"/>
                      <a:pt x="300" y="288"/>
                      <a:pt x="303" y="288"/>
                    </a:cubicBezTo>
                    <a:cubicBezTo>
                      <a:pt x="306" y="287"/>
                      <a:pt x="311" y="286"/>
                      <a:pt x="315" y="286"/>
                    </a:cubicBezTo>
                    <a:cubicBezTo>
                      <a:pt x="316" y="286"/>
                      <a:pt x="316" y="286"/>
                      <a:pt x="317" y="286"/>
                    </a:cubicBezTo>
                    <a:cubicBezTo>
                      <a:pt x="320" y="286"/>
                      <a:pt x="323" y="286"/>
                      <a:pt x="326" y="287"/>
                    </a:cubicBezTo>
                    <a:cubicBezTo>
                      <a:pt x="327" y="287"/>
                      <a:pt x="327" y="287"/>
                      <a:pt x="327" y="287"/>
                    </a:cubicBezTo>
                    <a:cubicBezTo>
                      <a:pt x="329" y="287"/>
                      <a:pt x="331" y="287"/>
                      <a:pt x="333" y="287"/>
                    </a:cubicBezTo>
                    <a:cubicBezTo>
                      <a:pt x="338" y="287"/>
                      <a:pt x="338" y="287"/>
                      <a:pt x="338" y="287"/>
                    </a:cubicBezTo>
                    <a:cubicBezTo>
                      <a:pt x="339" y="287"/>
                      <a:pt x="340" y="287"/>
                      <a:pt x="341" y="287"/>
                    </a:cubicBezTo>
                    <a:cubicBezTo>
                      <a:pt x="342" y="286"/>
                      <a:pt x="342" y="286"/>
                      <a:pt x="342" y="286"/>
                    </a:cubicBezTo>
                    <a:cubicBezTo>
                      <a:pt x="343" y="286"/>
                      <a:pt x="343" y="286"/>
                      <a:pt x="343" y="286"/>
                    </a:cubicBezTo>
                    <a:cubicBezTo>
                      <a:pt x="344" y="285"/>
                      <a:pt x="346" y="284"/>
                      <a:pt x="348" y="284"/>
                    </a:cubicBezTo>
                    <a:cubicBezTo>
                      <a:pt x="348" y="284"/>
                      <a:pt x="348" y="284"/>
                      <a:pt x="348" y="284"/>
                    </a:cubicBezTo>
                    <a:cubicBezTo>
                      <a:pt x="349" y="284"/>
                      <a:pt x="350" y="285"/>
                      <a:pt x="351" y="286"/>
                    </a:cubicBezTo>
                    <a:cubicBezTo>
                      <a:pt x="352" y="287"/>
                      <a:pt x="353" y="288"/>
                      <a:pt x="354" y="289"/>
                    </a:cubicBezTo>
                    <a:cubicBezTo>
                      <a:pt x="356" y="291"/>
                      <a:pt x="356" y="291"/>
                      <a:pt x="356" y="291"/>
                    </a:cubicBezTo>
                    <a:cubicBezTo>
                      <a:pt x="357" y="292"/>
                      <a:pt x="357" y="292"/>
                      <a:pt x="357" y="292"/>
                    </a:cubicBezTo>
                    <a:cubicBezTo>
                      <a:pt x="358" y="293"/>
                      <a:pt x="358" y="293"/>
                      <a:pt x="358" y="293"/>
                    </a:cubicBezTo>
                    <a:cubicBezTo>
                      <a:pt x="360" y="295"/>
                      <a:pt x="362" y="296"/>
                      <a:pt x="364" y="299"/>
                    </a:cubicBezTo>
                    <a:cubicBezTo>
                      <a:pt x="366" y="300"/>
                      <a:pt x="366" y="300"/>
                      <a:pt x="366" y="300"/>
                    </a:cubicBezTo>
                    <a:cubicBezTo>
                      <a:pt x="366" y="301"/>
                      <a:pt x="366" y="301"/>
                      <a:pt x="366" y="301"/>
                    </a:cubicBezTo>
                    <a:cubicBezTo>
                      <a:pt x="367" y="302"/>
                      <a:pt x="367" y="302"/>
                      <a:pt x="367" y="302"/>
                    </a:cubicBezTo>
                    <a:cubicBezTo>
                      <a:pt x="369" y="302"/>
                      <a:pt x="369" y="302"/>
                      <a:pt x="369" y="302"/>
                    </a:cubicBezTo>
                    <a:cubicBezTo>
                      <a:pt x="370" y="301"/>
                      <a:pt x="370" y="301"/>
                      <a:pt x="370" y="301"/>
                    </a:cubicBezTo>
                    <a:cubicBezTo>
                      <a:pt x="371" y="301"/>
                      <a:pt x="372" y="302"/>
                      <a:pt x="372" y="302"/>
                    </a:cubicBezTo>
                    <a:cubicBezTo>
                      <a:pt x="374" y="304"/>
                      <a:pt x="374" y="306"/>
                      <a:pt x="373" y="310"/>
                    </a:cubicBezTo>
                    <a:cubicBezTo>
                      <a:pt x="373" y="310"/>
                      <a:pt x="373" y="310"/>
                      <a:pt x="373" y="310"/>
                    </a:cubicBezTo>
                    <a:cubicBezTo>
                      <a:pt x="372" y="312"/>
                      <a:pt x="372" y="313"/>
                      <a:pt x="372" y="314"/>
                    </a:cubicBezTo>
                    <a:cubicBezTo>
                      <a:pt x="372" y="316"/>
                      <a:pt x="372" y="317"/>
                      <a:pt x="372" y="319"/>
                    </a:cubicBezTo>
                    <a:cubicBezTo>
                      <a:pt x="372" y="319"/>
                      <a:pt x="372" y="320"/>
                      <a:pt x="371" y="320"/>
                    </a:cubicBezTo>
                    <a:cubicBezTo>
                      <a:pt x="371" y="321"/>
                      <a:pt x="371" y="321"/>
                      <a:pt x="371" y="321"/>
                    </a:cubicBezTo>
                    <a:cubicBezTo>
                      <a:pt x="371" y="321"/>
                      <a:pt x="371" y="322"/>
                      <a:pt x="371" y="322"/>
                    </a:cubicBezTo>
                    <a:cubicBezTo>
                      <a:pt x="371" y="323"/>
                      <a:pt x="371" y="323"/>
                      <a:pt x="371" y="324"/>
                    </a:cubicBezTo>
                    <a:cubicBezTo>
                      <a:pt x="372" y="324"/>
                      <a:pt x="372" y="324"/>
                      <a:pt x="372" y="324"/>
                    </a:cubicBezTo>
                    <a:cubicBezTo>
                      <a:pt x="372" y="324"/>
                      <a:pt x="372" y="324"/>
                      <a:pt x="372" y="324"/>
                    </a:cubicBezTo>
                    <a:cubicBezTo>
                      <a:pt x="372" y="324"/>
                      <a:pt x="373" y="324"/>
                      <a:pt x="373" y="324"/>
                    </a:cubicBezTo>
                    <a:cubicBezTo>
                      <a:pt x="374" y="324"/>
                      <a:pt x="374" y="324"/>
                      <a:pt x="374" y="324"/>
                    </a:cubicBezTo>
                    <a:cubicBezTo>
                      <a:pt x="374" y="324"/>
                      <a:pt x="375" y="324"/>
                      <a:pt x="376" y="324"/>
                    </a:cubicBezTo>
                    <a:cubicBezTo>
                      <a:pt x="377" y="324"/>
                      <a:pt x="379" y="324"/>
                      <a:pt x="380" y="325"/>
                    </a:cubicBezTo>
                    <a:cubicBezTo>
                      <a:pt x="380" y="325"/>
                      <a:pt x="381" y="326"/>
                      <a:pt x="381" y="327"/>
                    </a:cubicBezTo>
                    <a:cubicBezTo>
                      <a:pt x="381" y="328"/>
                      <a:pt x="381" y="328"/>
                      <a:pt x="381" y="329"/>
                    </a:cubicBezTo>
                    <a:cubicBezTo>
                      <a:pt x="381" y="330"/>
                      <a:pt x="381" y="330"/>
                      <a:pt x="381" y="330"/>
                    </a:cubicBezTo>
                    <a:cubicBezTo>
                      <a:pt x="381" y="330"/>
                      <a:pt x="381" y="330"/>
                      <a:pt x="381" y="330"/>
                    </a:cubicBezTo>
                    <a:cubicBezTo>
                      <a:pt x="381" y="332"/>
                      <a:pt x="382" y="335"/>
                      <a:pt x="383" y="337"/>
                    </a:cubicBezTo>
                    <a:cubicBezTo>
                      <a:pt x="383" y="340"/>
                      <a:pt x="383" y="340"/>
                      <a:pt x="383" y="340"/>
                    </a:cubicBezTo>
                    <a:cubicBezTo>
                      <a:pt x="384" y="341"/>
                      <a:pt x="384" y="341"/>
                      <a:pt x="384" y="341"/>
                    </a:cubicBezTo>
                    <a:cubicBezTo>
                      <a:pt x="384" y="343"/>
                      <a:pt x="384" y="343"/>
                      <a:pt x="384" y="343"/>
                    </a:cubicBezTo>
                    <a:cubicBezTo>
                      <a:pt x="399" y="342"/>
                      <a:pt x="399" y="342"/>
                      <a:pt x="399" y="342"/>
                    </a:cubicBezTo>
                    <a:cubicBezTo>
                      <a:pt x="399" y="342"/>
                      <a:pt x="400" y="342"/>
                      <a:pt x="400" y="342"/>
                    </a:cubicBezTo>
                    <a:cubicBezTo>
                      <a:pt x="401" y="342"/>
                      <a:pt x="402" y="342"/>
                      <a:pt x="403" y="342"/>
                    </a:cubicBezTo>
                    <a:cubicBezTo>
                      <a:pt x="404" y="342"/>
                      <a:pt x="404" y="342"/>
                      <a:pt x="405" y="342"/>
                    </a:cubicBezTo>
                    <a:cubicBezTo>
                      <a:pt x="405" y="342"/>
                      <a:pt x="405" y="342"/>
                      <a:pt x="405" y="342"/>
                    </a:cubicBezTo>
                    <a:cubicBezTo>
                      <a:pt x="405" y="342"/>
                      <a:pt x="406" y="342"/>
                      <a:pt x="406" y="343"/>
                    </a:cubicBezTo>
                    <a:cubicBezTo>
                      <a:pt x="407" y="343"/>
                      <a:pt x="407" y="343"/>
                      <a:pt x="407" y="343"/>
                    </a:cubicBezTo>
                    <a:cubicBezTo>
                      <a:pt x="407" y="344"/>
                      <a:pt x="407" y="344"/>
                      <a:pt x="407" y="344"/>
                    </a:cubicBezTo>
                    <a:cubicBezTo>
                      <a:pt x="407" y="344"/>
                      <a:pt x="407" y="344"/>
                      <a:pt x="407" y="344"/>
                    </a:cubicBezTo>
                    <a:cubicBezTo>
                      <a:pt x="407" y="344"/>
                      <a:pt x="407" y="344"/>
                      <a:pt x="407" y="344"/>
                    </a:cubicBezTo>
                    <a:cubicBezTo>
                      <a:pt x="408" y="344"/>
                      <a:pt x="408" y="344"/>
                      <a:pt x="408" y="344"/>
                    </a:cubicBezTo>
                    <a:cubicBezTo>
                      <a:pt x="409" y="345"/>
                      <a:pt x="409" y="345"/>
                      <a:pt x="410" y="346"/>
                    </a:cubicBezTo>
                    <a:cubicBezTo>
                      <a:pt x="410" y="346"/>
                      <a:pt x="411" y="347"/>
                      <a:pt x="411" y="348"/>
                    </a:cubicBezTo>
                    <a:cubicBezTo>
                      <a:pt x="411" y="349"/>
                      <a:pt x="411" y="349"/>
                      <a:pt x="411" y="349"/>
                    </a:cubicBezTo>
                    <a:cubicBezTo>
                      <a:pt x="411" y="350"/>
                      <a:pt x="411" y="351"/>
                      <a:pt x="410" y="353"/>
                    </a:cubicBezTo>
                    <a:cubicBezTo>
                      <a:pt x="412" y="354"/>
                      <a:pt x="413" y="355"/>
                      <a:pt x="416" y="355"/>
                    </a:cubicBezTo>
                    <a:cubicBezTo>
                      <a:pt x="416" y="355"/>
                      <a:pt x="416" y="355"/>
                      <a:pt x="416" y="355"/>
                    </a:cubicBezTo>
                    <a:cubicBezTo>
                      <a:pt x="416" y="355"/>
                      <a:pt x="416" y="354"/>
                      <a:pt x="416" y="354"/>
                    </a:cubicBezTo>
                    <a:cubicBezTo>
                      <a:pt x="416" y="352"/>
                      <a:pt x="416" y="352"/>
                      <a:pt x="416" y="352"/>
                    </a:cubicBezTo>
                    <a:cubicBezTo>
                      <a:pt x="416" y="348"/>
                      <a:pt x="419" y="346"/>
                      <a:pt x="422" y="344"/>
                    </a:cubicBezTo>
                    <a:cubicBezTo>
                      <a:pt x="422" y="344"/>
                      <a:pt x="423" y="344"/>
                      <a:pt x="423" y="343"/>
                    </a:cubicBezTo>
                    <a:cubicBezTo>
                      <a:pt x="424" y="343"/>
                      <a:pt x="424" y="343"/>
                      <a:pt x="424" y="343"/>
                    </a:cubicBezTo>
                    <a:cubicBezTo>
                      <a:pt x="424" y="342"/>
                      <a:pt x="424" y="342"/>
                      <a:pt x="424" y="342"/>
                    </a:cubicBezTo>
                    <a:cubicBezTo>
                      <a:pt x="425" y="342"/>
                      <a:pt x="425" y="342"/>
                      <a:pt x="425" y="342"/>
                    </a:cubicBezTo>
                    <a:cubicBezTo>
                      <a:pt x="426" y="341"/>
                      <a:pt x="427" y="340"/>
                      <a:pt x="428" y="339"/>
                    </a:cubicBezTo>
                    <a:cubicBezTo>
                      <a:pt x="428" y="339"/>
                      <a:pt x="428" y="339"/>
                      <a:pt x="428" y="339"/>
                    </a:cubicBezTo>
                    <a:cubicBezTo>
                      <a:pt x="429" y="338"/>
                      <a:pt x="429" y="338"/>
                      <a:pt x="429" y="338"/>
                    </a:cubicBezTo>
                    <a:cubicBezTo>
                      <a:pt x="431" y="337"/>
                      <a:pt x="432" y="336"/>
                      <a:pt x="434" y="335"/>
                    </a:cubicBezTo>
                    <a:cubicBezTo>
                      <a:pt x="437" y="332"/>
                      <a:pt x="440" y="331"/>
                      <a:pt x="442" y="329"/>
                    </a:cubicBezTo>
                    <a:cubicBezTo>
                      <a:pt x="459" y="320"/>
                      <a:pt x="459" y="320"/>
                      <a:pt x="459" y="320"/>
                    </a:cubicBezTo>
                    <a:cubicBezTo>
                      <a:pt x="459" y="319"/>
                      <a:pt x="459" y="319"/>
                      <a:pt x="459" y="318"/>
                    </a:cubicBezTo>
                    <a:cubicBezTo>
                      <a:pt x="459" y="317"/>
                      <a:pt x="460" y="316"/>
                      <a:pt x="461" y="316"/>
                    </a:cubicBezTo>
                    <a:cubicBezTo>
                      <a:pt x="461" y="315"/>
                      <a:pt x="462" y="314"/>
                      <a:pt x="463" y="313"/>
                    </a:cubicBezTo>
                    <a:cubicBezTo>
                      <a:pt x="465" y="312"/>
                      <a:pt x="465" y="312"/>
                      <a:pt x="465" y="312"/>
                    </a:cubicBezTo>
                    <a:cubicBezTo>
                      <a:pt x="465" y="311"/>
                      <a:pt x="465" y="311"/>
                      <a:pt x="465" y="311"/>
                    </a:cubicBezTo>
                    <a:cubicBezTo>
                      <a:pt x="466" y="310"/>
                      <a:pt x="467" y="308"/>
                      <a:pt x="468" y="308"/>
                    </a:cubicBezTo>
                    <a:cubicBezTo>
                      <a:pt x="469" y="307"/>
                      <a:pt x="469" y="307"/>
                      <a:pt x="470" y="307"/>
                    </a:cubicBezTo>
                    <a:cubicBezTo>
                      <a:pt x="470" y="307"/>
                      <a:pt x="471" y="307"/>
                      <a:pt x="472" y="307"/>
                    </a:cubicBezTo>
                    <a:cubicBezTo>
                      <a:pt x="473" y="307"/>
                      <a:pt x="473" y="307"/>
                      <a:pt x="474" y="307"/>
                    </a:cubicBezTo>
                    <a:cubicBezTo>
                      <a:pt x="474" y="307"/>
                      <a:pt x="474" y="307"/>
                      <a:pt x="474" y="307"/>
                    </a:cubicBezTo>
                    <a:cubicBezTo>
                      <a:pt x="475" y="307"/>
                      <a:pt x="475" y="307"/>
                      <a:pt x="475" y="307"/>
                    </a:cubicBezTo>
                    <a:cubicBezTo>
                      <a:pt x="484" y="307"/>
                      <a:pt x="484" y="307"/>
                      <a:pt x="484" y="307"/>
                    </a:cubicBezTo>
                    <a:cubicBezTo>
                      <a:pt x="485" y="306"/>
                      <a:pt x="485" y="306"/>
                      <a:pt x="485" y="306"/>
                    </a:cubicBezTo>
                    <a:cubicBezTo>
                      <a:pt x="487" y="306"/>
                      <a:pt x="489" y="307"/>
                      <a:pt x="491" y="308"/>
                    </a:cubicBezTo>
                    <a:cubicBezTo>
                      <a:pt x="495" y="309"/>
                      <a:pt x="500" y="310"/>
                      <a:pt x="504" y="312"/>
                    </a:cubicBezTo>
                    <a:cubicBezTo>
                      <a:pt x="507" y="313"/>
                      <a:pt x="507" y="313"/>
                      <a:pt x="507" y="313"/>
                    </a:cubicBezTo>
                    <a:cubicBezTo>
                      <a:pt x="507" y="313"/>
                      <a:pt x="508" y="313"/>
                      <a:pt x="508" y="313"/>
                    </a:cubicBezTo>
                    <a:cubicBezTo>
                      <a:pt x="507" y="308"/>
                      <a:pt x="509" y="302"/>
                      <a:pt x="515" y="299"/>
                    </a:cubicBezTo>
                    <a:cubicBezTo>
                      <a:pt x="513" y="294"/>
                      <a:pt x="513" y="294"/>
                      <a:pt x="513" y="294"/>
                    </a:cubicBezTo>
                    <a:cubicBezTo>
                      <a:pt x="516" y="298"/>
                      <a:pt x="516" y="298"/>
                      <a:pt x="516" y="298"/>
                    </a:cubicBezTo>
                    <a:cubicBezTo>
                      <a:pt x="518" y="297"/>
                      <a:pt x="521" y="297"/>
                      <a:pt x="523" y="296"/>
                    </a:cubicBezTo>
                    <a:cubicBezTo>
                      <a:pt x="524" y="296"/>
                      <a:pt x="524" y="296"/>
                      <a:pt x="524" y="296"/>
                    </a:cubicBezTo>
                    <a:cubicBezTo>
                      <a:pt x="524" y="297"/>
                      <a:pt x="525" y="297"/>
                      <a:pt x="525" y="297"/>
                    </a:cubicBezTo>
                    <a:cubicBezTo>
                      <a:pt x="527" y="297"/>
                      <a:pt x="529" y="297"/>
                      <a:pt x="531" y="298"/>
                    </a:cubicBezTo>
                    <a:cubicBezTo>
                      <a:pt x="532" y="299"/>
                      <a:pt x="533" y="299"/>
                      <a:pt x="534" y="300"/>
                    </a:cubicBezTo>
                    <a:cubicBezTo>
                      <a:pt x="535" y="300"/>
                      <a:pt x="535" y="300"/>
                      <a:pt x="535" y="300"/>
                    </a:cubicBezTo>
                    <a:cubicBezTo>
                      <a:pt x="535" y="301"/>
                      <a:pt x="535" y="301"/>
                      <a:pt x="535" y="301"/>
                    </a:cubicBezTo>
                    <a:cubicBezTo>
                      <a:pt x="536" y="301"/>
                      <a:pt x="537" y="302"/>
                      <a:pt x="538" y="302"/>
                    </a:cubicBezTo>
                    <a:cubicBezTo>
                      <a:pt x="539" y="302"/>
                      <a:pt x="539" y="302"/>
                      <a:pt x="539" y="302"/>
                    </a:cubicBezTo>
                    <a:cubicBezTo>
                      <a:pt x="540" y="303"/>
                      <a:pt x="541" y="303"/>
                      <a:pt x="542" y="303"/>
                    </a:cubicBezTo>
                    <a:cubicBezTo>
                      <a:pt x="543" y="303"/>
                      <a:pt x="543" y="303"/>
                      <a:pt x="543" y="303"/>
                    </a:cubicBezTo>
                    <a:cubicBezTo>
                      <a:pt x="543" y="304"/>
                      <a:pt x="544" y="304"/>
                      <a:pt x="545" y="304"/>
                    </a:cubicBezTo>
                    <a:cubicBezTo>
                      <a:pt x="546" y="304"/>
                      <a:pt x="546" y="304"/>
                      <a:pt x="546" y="304"/>
                    </a:cubicBezTo>
                    <a:cubicBezTo>
                      <a:pt x="546" y="304"/>
                      <a:pt x="547" y="304"/>
                      <a:pt x="547" y="304"/>
                    </a:cubicBezTo>
                    <a:cubicBezTo>
                      <a:pt x="547" y="304"/>
                      <a:pt x="547" y="304"/>
                      <a:pt x="547" y="304"/>
                    </a:cubicBezTo>
                    <a:cubicBezTo>
                      <a:pt x="548" y="304"/>
                      <a:pt x="548" y="304"/>
                      <a:pt x="549" y="304"/>
                    </a:cubicBezTo>
                    <a:cubicBezTo>
                      <a:pt x="550" y="304"/>
                      <a:pt x="550" y="304"/>
                      <a:pt x="550" y="304"/>
                    </a:cubicBezTo>
                    <a:cubicBezTo>
                      <a:pt x="550" y="304"/>
                      <a:pt x="551" y="304"/>
                      <a:pt x="552" y="303"/>
                    </a:cubicBezTo>
                    <a:cubicBezTo>
                      <a:pt x="552" y="303"/>
                      <a:pt x="553" y="303"/>
                      <a:pt x="554" y="302"/>
                    </a:cubicBezTo>
                    <a:cubicBezTo>
                      <a:pt x="555" y="302"/>
                      <a:pt x="555" y="302"/>
                      <a:pt x="555" y="302"/>
                    </a:cubicBezTo>
                    <a:cubicBezTo>
                      <a:pt x="555" y="302"/>
                      <a:pt x="556" y="302"/>
                      <a:pt x="556" y="302"/>
                    </a:cubicBezTo>
                    <a:cubicBezTo>
                      <a:pt x="557" y="302"/>
                      <a:pt x="559" y="302"/>
                      <a:pt x="560" y="302"/>
                    </a:cubicBezTo>
                    <a:cubicBezTo>
                      <a:pt x="562" y="302"/>
                      <a:pt x="564" y="302"/>
                      <a:pt x="566" y="302"/>
                    </a:cubicBezTo>
                    <a:cubicBezTo>
                      <a:pt x="567" y="302"/>
                      <a:pt x="567" y="302"/>
                      <a:pt x="567" y="302"/>
                    </a:cubicBezTo>
                    <a:cubicBezTo>
                      <a:pt x="568" y="303"/>
                      <a:pt x="570" y="303"/>
                      <a:pt x="571" y="303"/>
                    </a:cubicBezTo>
                    <a:cubicBezTo>
                      <a:pt x="573" y="303"/>
                      <a:pt x="573" y="303"/>
                      <a:pt x="573" y="303"/>
                    </a:cubicBezTo>
                    <a:cubicBezTo>
                      <a:pt x="577" y="303"/>
                      <a:pt x="581" y="303"/>
                      <a:pt x="585" y="303"/>
                    </a:cubicBezTo>
                    <a:cubicBezTo>
                      <a:pt x="585" y="299"/>
                      <a:pt x="585" y="299"/>
                      <a:pt x="585" y="299"/>
                    </a:cubicBezTo>
                    <a:cubicBezTo>
                      <a:pt x="586" y="303"/>
                      <a:pt x="586" y="303"/>
                      <a:pt x="586" y="303"/>
                    </a:cubicBezTo>
                    <a:cubicBezTo>
                      <a:pt x="586" y="303"/>
                      <a:pt x="586" y="303"/>
                      <a:pt x="586" y="303"/>
                    </a:cubicBezTo>
                    <a:cubicBezTo>
                      <a:pt x="588" y="303"/>
                      <a:pt x="589" y="303"/>
                      <a:pt x="590" y="303"/>
                    </a:cubicBezTo>
                    <a:cubicBezTo>
                      <a:pt x="594" y="304"/>
                      <a:pt x="597" y="304"/>
                      <a:pt x="600" y="304"/>
                    </a:cubicBezTo>
                    <a:cubicBezTo>
                      <a:pt x="601" y="304"/>
                      <a:pt x="602" y="304"/>
                      <a:pt x="603" y="304"/>
                    </a:cubicBezTo>
                    <a:cubicBezTo>
                      <a:pt x="603" y="304"/>
                      <a:pt x="603" y="304"/>
                      <a:pt x="603" y="304"/>
                    </a:cubicBezTo>
                    <a:cubicBezTo>
                      <a:pt x="604" y="304"/>
                      <a:pt x="604" y="304"/>
                      <a:pt x="605" y="304"/>
                    </a:cubicBezTo>
                    <a:cubicBezTo>
                      <a:pt x="605" y="304"/>
                      <a:pt x="606" y="304"/>
                      <a:pt x="606" y="304"/>
                    </a:cubicBezTo>
                    <a:cubicBezTo>
                      <a:pt x="607" y="304"/>
                      <a:pt x="608" y="304"/>
                      <a:pt x="609" y="304"/>
                    </a:cubicBezTo>
                    <a:cubicBezTo>
                      <a:pt x="610" y="304"/>
                      <a:pt x="610" y="305"/>
                      <a:pt x="611" y="305"/>
                    </a:cubicBezTo>
                    <a:cubicBezTo>
                      <a:pt x="613" y="305"/>
                      <a:pt x="613" y="305"/>
                      <a:pt x="613" y="305"/>
                    </a:cubicBezTo>
                    <a:cubicBezTo>
                      <a:pt x="614" y="306"/>
                      <a:pt x="615" y="306"/>
                      <a:pt x="615" y="306"/>
                    </a:cubicBezTo>
                    <a:cubicBezTo>
                      <a:pt x="616" y="306"/>
                      <a:pt x="616" y="306"/>
                      <a:pt x="616" y="306"/>
                    </a:cubicBezTo>
                    <a:cubicBezTo>
                      <a:pt x="617" y="306"/>
                      <a:pt x="617" y="306"/>
                      <a:pt x="618" y="306"/>
                    </a:cubicBezTo>
                    <a:cubicBezTo>
                      <a:pt x="618" y="306"/>
                      <a:pt x="619" y="306"/>
                      <a:pt x="619" y="306"/>
                    </a:cubicBezTo>
                    <a:cubicBezTo>
                      <a:pt x="620" y="306"/>
                      <a:pt x="620" y="306"/>
                      <a:pt x="620" y="306"/>
                    </a:cubicBezTo>
                    <a:cubicBezTo>
                      <a:pt x="622" y="306"/>
                      <a:pt x="623" y="308"/>
                      <a:pt x="624" y="311"/>
                    </a:cubicBezTo>
                    <a:cubicBezTo>
                      <a:pt x="625" y="312"/>
                      <a:pt x="625" y="312"/>
                      <a:pt x="625" y="312"/>
                    </a:cubicBezTo>
                    <a:cubicBezTo>
                      <a:pt x="625" y="313"/>
                      <a:pt x="626" y="313"/>
                      <a:pt x="628" y="313"/>
                    </a:cubicBezTo>
                    <a:cubicBezTo>
                      <a:pt x="629" y="313"/>
                      <a:pt x="629" y="313"/>
                      <a:pt x="629" y="313"/>
                    </a:cubicBezTo>
                    <a:cubicBezTo>
                      <a:pt x="629" y="313"/>
                      <a:pt x="630" y="313"/>
                      <a:pt x="631" y="314"/>
                    </a:cubicBezTo>
                    <a:cubicBezTo>
                      <a:pt x="631" y="314"/>
                      <a:pt x="631" y="314"/>
                      <a:pt x="631" y="314"/>
                    </a:cubicBezTo>
                    <a:cubicBezTo>
                      <a:pt x="632" y="314"/>
                      <a:pt x="633" y="314"/>
                      <a:pt x="634" y="314"/>
                    </a:cubicBezTo>
                    <a:cubicBezTo>
                      <a:pt x="635" y="315"/>
                      <a:pt x="636" y="315"/>
                      <a:pt x="636" y="316"/>
                    </a:cubicBezTo>
                    <a:cubicBezTo>
                      <a:pt x="637" y="316"/>
                      <a:pt x="637" y="316"/>
                      <a:pt x="637" y="316"/>
                    </a:cubicBezTo>
                    <a:cubicBezTo>
                      <a:pt x="637" y="315"/>
                      <a:pt x="637" y="315"/>
                      <a:pt x="637" y="315"/>
                    </a:cubicBezTo>
                    <a:cubicBezTo>
                      <a:pt x="636" y="314"/>
                      <a:pt x="636" y="314"/>
                      <a:pt x="636" y="314"/>
                    </a:cubicBezTo>
                    <a:cubicBezTo>
                      <a:pt x="636" y="312"/>
                      <a:pt x="636" y="310"/>
                      <a:pt x="637" y="307"/>
                    </a:cubicBezTo>
                    <a:cubicBezTo>
                      <a:pt x="638" y="305"/>
                      <a:pt x="639" y="305"/>
                      <a:pt x="641" y="305"/>
                    </a:cubicBezTo>
                    <a:cubicBezTo>
                      <a:pt x="641" y="305"/>
                      <a:pt x="641" y="305"/>
                      <a:pt x="641" y="305"/>
                    </a:cubicBezTo>
                    <a:cubicBezTo>
                      <a:pt x="640" y="304"/>
                      <a:pt x="640" y="302"/>
                      <a:pt x="640" y="301"/>
                    </a:cubicBezTo>
                    <a:cubicBezTo>
                      <a:pt x="641" y="299"/>
                      <a:pt x="644" y="299"/>
                      <a:pt x="647" y="298"/>
                    </a:cubicBezTo>
                    <a:cubicBezTo>
                      <a:pt x="647" y="298"/>
                      <a:pt x="647" y="298"/>
                      <a:pt x="648" y="298"/>
                    </a:cubicBezTo>
                    <a:cubicBezTo>
                      <a:pt x="647" y="297"/>
                      <a:pt x="647" y="295"/>
                      <a:pt x="647" y="294"/>
                    </a:cubicBezTo>
                    <a:cubicBezTo>
                      <a:pt x="647" y="294"/>
                      <a:pt x="647" y="294"/>
                      <a:pt x="647" y="294"/>
                    </a:cubicBezTo>
                    <a:cubicBezTo>
                      <a:pt x="647" y="293"/>
                      <a:pt x="647" y="293"/>
                      <a:pt x="647" y="293"/>
                    </a:cubicBezTo>
                    <a:cubicBezTo>
                      <a:pt x="646" y="293"/>
                      <a:pt x="646" y="292"/>
                      <a:pt x="646" y="291"/>
                    </a:cubicBezTo>
                    <a:cubicBezTo>
                      <a:pt x="646" y="291"/>
                      <a:pt x="646" y="291"/>
                      <a:pt x="646" y="291"/>
                    </a:cubicBezTo>
                    <a:cubicBezTo>
                      <a:pt x="645" y="289"/>
                      <a:pt x="644" y="287"/>
                      <a:pt x="643" y="286"/>
                    </a:cubicBezTo>
                    <a:cubicBezTo>
                      <a:pt x="643" y="285"/>
                      <a:pt x="642" y="284"/>
                      <a:pt x="642" y="283"/>
                    </a:cubicBezTo>
                    <a:cubicBezTo>
                      <a:pt x="641" y="280"/>
                      <a:pt x="640" y="277"/>
                      <a:pt x="640" y="275"/>
                    </a:cubicBezTo>
                    <a:cubicBezTo>
                      <a:pt x="640" y="273"/>
                      <a:pt x="640" y="273"/>
                      <a:pt x="640" y="273"/>
                    </a:cubicBezTo>
                    <a:cubicBezTo>
                      <a:pt x="639" y="271"/>
                      <a:pt x="639" y="268"/>
                      <a:pt x="640" y="265"/>
                    </a:cubicBezTo>
                    <a:cubicBezTo>
                      <a:pt x="640" y="264"/>
                      <a:pt x="640" y="264"/>
                      <a:pt x="640" y="264"/>
                    </a:cubicBezTo>
                    <a:cubicBezTo>
                      <a:pt x="640" y="263"/>
                      <a:pt x="639" y="263"/>
                      <a:pt x="638" y="263"/>
                    </a:cubicBezTo>
                    <a:cubicBezTo>
                      <a:pt x="638" y="263"/>
                      <a:pt x="638" y="263"/>
                      <a:pt x="638" y="263"/>
                    </a:cubicBezTo>
                    <a:cubicBezTo>
                      <a:pt x="637" y="264"/>
                      <a:pt x="636" y="264"/>
                      <a:pt x="636" y="264"/>
                    </a:cubicBezTo>
                    <a:cubicBezTo>
                      <a:pt x="635" y="264"/>
                      <a:pt x="634" y="263"/>
                      <a:pt x="632" y="262"/>
                    </a:cubicBezTo>
                    <a:cubicBezTo>
                      <a:pt x="632" y="262"/>
                      <a:pt x="632" y="262"/>
                      <a:pt x="632" y="262"/>
                    </a:cubicBezTo>
                    <a:cubicBezTo>
                      <a:pt x="631" y="261"/>
                      <a:pt x="629" y="260"/>
                      <a:pt x="631" y="258"/>
                    </a:cubicBezTo>
                    <a:cubicBezTo>
                      <a:pt x="633" y="255"/>
                      <a:pt x="636" y="254"/>
                      <a:pt x="637" y="254"/>
                    </a:cubicBezTo>
                    <a:cubicBezTo>
                      <a:pt x="638" y="253"/>
                      <a:pt x="638" y="253"/>
                      <a:pt x="638" y="253"/>
                    </a:cubicBezTo>
                    <a:cubicBezTo>
                      <a:pt x="642" y="252"/>
                      <a:pt x="646" y="251"/>
                      <a:pt x="650" y="250"/>
                    </a:cubicBezTo>
                    <a:cubicBezTo>
                      <a:pt x="661" y="247"/>
                      <a:pt x="661" y="247"/>
                      <a:pt x="661" y="247"/>
                    </a:cubicBezTo>
                    <a:cubicBezTo>
                      <a:pt x="662" y="247"/>
                      <a:pt x="662" y="247"/>
                      <a:pt x="662" y="247"/>
                    </a:cubicBezTo>
                    <a:cubicBezTo>
                      <a:pt x="663" y="247"/>
                      <a:pt x="663" y="247"/>
                      <a:pt x="663" y="247"/>
                    </a:cubicBezTo>
                    <a:cubicBezTo>
                      <a:pt x="664" y="246"/>
                      <a:pt x="666" y="246"/>
                      <a:pt x="667" y="246"/>
                    </a:cubicBezTo>
                    <a:cubicBezTo>
                      <a:pt x="668" y="246"/>
                      <a:pt x="668" y="246"/>
                      <a:pt x="668" y="246"/>
                    </a:cubicBezTo>
                    <a:cubicBezTo>
                      <a:pt x="671" y="247"/>
                      <a:pt x="671" y="249"/>
                      <a:pt x="671" y="250"/>
                    </a:cubicBezTo>
                    <a:cubicBezTo>
                      <a:pt x="671" y="250"/>
                      <a:pt x="671" y="250"/>
                      <a:pt x="671" y="250"/>
                    </a:cubicBezTo>
                    <a:cubicBezTo>
                      <a:pt x="672" y="250"/>
                      <a:pt x="672" y="250"/>
                      <a:pt x="673" y="250"/>
                    </a:cubicBezTo>
                    <a:cubicBezTo>
                      <a:pt x="673" y="250"/>
                      <a:pt x="674" y="250"/>
                      <a:pt x="675" y="250"/>
                    </a:cubicBezTo>
                    <a:cubicBezTo>
                      <a:pt x="676" y="250"/>
                      <a:pt x="676" y="250"/>
                      <a:pt x="677" y="250"/>
                    </a:cubicBezTo>
                    <a:cubicBezTo>
                      <a:pt x="678" y="250"/>
                      <a:pt x="678" y="250"/>
                      <a:pt x="678" y="250"/>
                    </a:cubicBezTo>
                    <a:cubicBezTo>
                      <a:pt x="679" y="250"/>
                      <a:pt x="680" y="250"/>
                      <a:pt x="680" y="250"/>
                    </a:cubicBezTo>
                    <a:cubicBezTo>
                      <a:pt x="681" y="250"/>
                      <a:pt x="682" y="250"/>
                      <a:pt x="683" y="250"/>
                    </a:cubicBezTo>
                    <a:cubicBezTo>
                      <a:pt x="683" y="248"/>
                      <a:pt x="683" y="248"/>
                      <a:pt x="683" y="248"/>
                    </a:cubicBezTo>
                    <a:cubicBezTo>
                      <a:pt x="682" y="247"/>
                      <a:pt x="682" y="247"/>
                      <a:pt x="682" y="247"/>
                    </a:cubicBezTo>
                    <a:cubicBezTo>
                      <a:pt x="681" y="247"/>
                      <a:pt x="681" y="247"/>
                      <a:pt x="681" y="247"/>
                    </a:cubicBezTo>
                    <a:cubicBezTo>
                      <a:pt x="680" y="247"/>
                      <a:pt x="678" y="246"/>
                      <a:pt x="677" y="245"/>
                    </a:cubicBezTo>
                    <a:cubicBezTo>
                      <a:pt x="677" y="244"/>
                      <a:pt x="677" y="243"/>
                      <a:pt x="677" y="243"/>
                    </a:cubicBezTo>
                    <a:cubicBezTo>
                      <a:pt x="690" y="205"/>
                      <a:pt x="690" y="205"/>
                      <a:pt x="690" y="205"/>
                    </a:cubicBezTo>
                    <a:cubicBezTo>
                      <a:pt x="690" y="204"/>
                      <a:pt x="691" y="201"/>
                      <a:pt x="694" y="201"/>
                    </a:cubicBezTo>
                    <a:cubicBezTo>
                      <a:pt x="695" y="201"/>
                      <a:pt x="695" y="201"/>
                      <a:pt x="696" y="201"/>
                    </a:cubicBezTo>
                    <a:cubicBezTo>
                      <a:pt x="697" y="202"/>
                      <a:pt x="699" y="203"/>
                      <a:pt x="701" y="204"/>
                    </a:cubicBezTo>
                    <a:cubicBezTo>
                      <a:pt x="702" y="205"/>
                      <a:pt x="702" y="205"/>
                      <a:pt x="702" y="205"/>
                    </a:cubicBezTo>
                    <a:cubicBezTo>
                      <a:pt x="705" y="206"/>
                      <a:pt x="709" y="208"/>
                      <a:pt x="712" y="208"/>
                    </a:cubicBezTo>
                    <a:cubicBezTo>
                      <a:pt x="712" y="208"/>
                      <a:pt x="712" y="207"/>
                      <a:pt x="713" y="207"/>
                    </a:cubicBezTo>
                    <a:cubicBezTo>
                      <a:pt x="714" y="207"/>
                      <a:pt x="716" y="206"/>
                      <a:pt x="717" y="206"/>
                    </a:cubicBezTo>
                    <a:cubicBezTo>
                      <a:pt x="721" y="206"/>
                      <a:pt x="725" y="207"/>
                      <a:pt x="726" y="208"/>
                    </a:cubicBezTo>
                    <a:cubicBezTo>
                      <a:pt x="727" y="208"/>
                      <a:pt x="728" y="209"/>
                      <a:pt x="729" y="209"/>
                    </a:cubicBezTo>
                    <a:cubicBezTo>
                      <a:pt x="730" y="209"/>
                      <a:pt x="731" y="208"/>
                      <a:pt x="734" y="207"/>
                    </a:cubicBezTo>
                    <a:cubicBezTo>
                      <a:pt x="735" y="206"/>
                      <a:pt x="735" y="206"/>
                      <a:pt x="735" y="206"/>
                    </a:cubicBezTo>
                    <a:cubicBezTo>
                      <a:pt x="739" y="204"/>
                      <a:pt x="741" y="203"/>
                      <a:pt x="741" y="200"/>
                    </a:cubicBezTo>
                    <a:cubicBezTo>
                      <a:pt x="741" y="197"/>
                      <a:pt x="740" y="195"/>
                      <a:pt x="740" y="192"/>
                    </a:cubicBezTo>
                    <a:cubicBezTo>
                      <a:pt x="739" y="190"/>
                      <a:pt x="739" y="188"/>
                      <a:pt x="739" y="186"/>
                    </a:cubicBezTo>
                    <a:cubicBezTo>
                      <a:pt x="738" y="183"/>
                      <a:pt x="742" y="174"/>
                      <a:pt x="745" y="172"/>
                    </a:cubicBezTo>
                    <a:cubicBezTo>
                      <a:pt x="746" y="172"/>
                      <a:pt x="748" y="172"/>
                      <a:pt x="749" y="172"/>
                    </a:cubicBezTo>
                    <a:cubicBezTo>
                      <a:pt x="750" y="172"/>
                      <a:pt x="750" y="172"/>
                      <a:pt x="750" y="172"/>
                    </a:cubicBezTo>
                    <a:cubicBezTo>
                      <a:pt x="753" y="172"/>
                      <a:pt x="755" y="171"/>
                      <a:pt x="759" y="170"/>
                    </a:cubicBezTo>
                    <a:cubicBezTo>
                      <a:pt x="759" y="170"/>
                      <a:pt x="761" y="168"/>
                      <a:pt x="762" y="166"/>
                    </a:cubicBezTo>
                    <a:cubicBezTo>
                      <a:pt x="762" y="166"/>
                      <a:pt x="762" y="166"/>
                      <a:pt x="762" y="166"/>
                    </a:cubicBezTo>
                    <a:cubicBezTo>
                      <a:pt x="762" y="166"/>
                      <a:pt x="762" y="165"/>
                      <a:pt x="762" y="165"/>
                    </a:cubicBezTo>
                    <a:cubicBezTo>
                      <a:pt x="762" y="164"/>
                      <a:pt x="762" y="163"/>
                      <a:pt x="762" y="163"/>
                    </a:cubicBezTo>
                    <a:cubicBezTo>
                      <a:pt x="762" y="162"/>
                      <a:pt x="762" y="162"/>
                      <a:pt x="762" y="161"/>
                    </a:cubicBezTo>
                    <a:cubicBezTo>
                      <a:pt x="762" y="161"/>
                      <a:pt x="762" y="161"/>
                      <a:pt x="762" y="161"/>
                    </a:cubicBezTo>
                    <a:cubicBezTo>
                      <a:pt x="763" y="158"/>
                      <a:pt x="764" y="156"/>
                      <a:pt x="765" y="156"/>
                    </a:cubicBezTo>
                    <a:cubicBezTo>
                      <a:pt x="766" y="155"/>
                      <a:pt x="766" y="155"/>
                      <a:pt x="767" y="155"/>
                    </a:cubicBezTo>
                    <a:cubicBezTo>
                      <a:pt x="767" y="155"/>
                      <a:pt x="767" y="155"/>
                      <a:pt x="767" y="155"/>
                    </a:cubicBezTo>
                    <a:cubicBezTo>
                      <a:pt x="768" y="155"/>
                      <a:pt x="768" y="155"/>
                      <a:pt x="768" y="155"/>
                    </a:cubicBezTo>
                    <a:cubicBezTo>
                      <a:pt x="766" y="153"/>
                      <a:pt x="763" y="151"/>
                      <a:pt x="761" y="149"/>
                    </a:cubicBezTo>
                    <a:cubicBezTo>
                      <a:pt x="760" y="149"/>
                      <a:pt x="760" y="148"/>
                      <a:pt x="760" y="148"/>
                    </a:cubicBezTo>
                    <a:cubicBezTo>
                      <a:pt x="759" y="147"/>
                      <a:pt x="759" y="147"/>
                      <a:pt x="759" y="146"/>
                    </a:cubicBezTo>
                    <a:cubicBezTo>
                      <a:pt x="758" y="147"/>
                      <a:pt x="758" y="147"/>
                      <a:pt x="757" y="148"/>
                    </a:cubicBezTo>
                    <a:cubicBezTo>
                      <a:pt x="752" y="152"/>
                      <a:pt x="752" y="152"/>
                      <a:pt x="752" y="152"/>
                    </a:cubicBezTo>
                    <a:cubicBezTo>
                      <a:pt x="751" y="150"/>
                      <a:pt x="751" y="150"/>
                      <a:pt x="751" y="150"/>
                    </a:cubicBezTo>
                    <a:cubicBezTo>
                      <a:pt x="751" y="151"/>
                      <a:pt x="751" y="151"/>
                      <a:pt x="751" y="151"/>
                    </a:cubicBezTo>
                    <a:cubicBezTo>
                      <a:pt x="748" y="151"/>
                      <a:pt x="748" y="151"/>
                      <a:pt x="748" y="151"/>
                    </a:cubicBezTo>
                    <a:cubicBezTo>
                      <a:pt x="747" y="150"/>
                      <a:pt x="747" y="150"/>
                      <a:pt x="747" y="150"/>
                    </a:cubicBezTo>
                    <a:cubicBezTo>
                      <a:pt x="746" y="150"/>
                      <a:pt x="746" y="150"/>
                      <a:pt x="746" y="150"/>
                    </a:cubicBezTo>
                    <a:cubicBezTo>
                      <a:pt x="746" y="149"/>
                      <a:pt x="746" y="149"/>
                      <a:pt x="746" y="149"/>
                    </a:cubicBezTo>
                    <a:cubicBezTo>
                      <a:pt x="745" y="149"/>
                      <a:pt x="745" y="149"/>
                      <a:pt x="745" y="149"/>
                    </a:cubicBezTo>
                    <a:cubicBezTo>
                      <a:pt x="745" y="149"/>
                      <a:pt x="745" y="149"/>
                      <a:pt x="745" y="149"/>
                    </a:cubicBezTo>
                    <a:cubicBezTo>
                      <a:pt x="734" y="148"/>
                      <a:pt x="734" y="148"/>
                      <a:pt x="734" y="148"/>
                    </a:cubicBezTo>
                    <a:cubicBezTo>
                      <a:pt x="732" y="146"/>
                      <a:pt x="732" y="146"/>
                      <a:pt x="732" y="146"/>
                    </a:cubicBezTo>
                    <a:cubicBezTo>
                      <a:pt x="732" y="146"/>
                      <a:pt x="732" y="146"/>
                      <a:pt x="732" y="146"/>
                    </a:cubicBezTo>
                    <a:cubicBezTo>
                      <a:pt x="732" y="145"/>
                      <a:pt x="732" y="145"/>
                      <a:pt x="732" y="145"/>
                    </a:cubicBezTo>
                    <a:cubicBezTo>
                      <a:pt x="732" y="144"/>
                      <a:pt x="732" y="144"/>
                      <a:pt x="732" y="144"/>
                    </a:cubicBezTo>
                    <a:cubicBezTo>
                      <a:pt x="732" y="144"/>
                      <a:pt x="732" y="144"/>
                      <a:pt x="732" y="144"/>
                    </a:cubicBezTo>
                    <a:cubicBezTo>
                      <a:pt x="731" y="143"/>
                      <a:pt x="731" y="143"/>
                      <a:pt x="731" y="143"/>
                    </a:cubicBezTo>
                    <a:cubicBezTo>
                      <a:pt x="731" y="143"/>
                      <a:pt x="731" y="143"/>
                      <a:pt x="730" y="142"/>
                    </a:cubicBezTo>
                    <a:cubicBezTo>
                      <a:pt x="730" y="142"/>
                      <a:pt x="730" y="141"/>
                      <a:pt x="730" y="141"/>
                    </a:cubicBezTo>
                    <a:cubicBezTo>
                      <a:pt x="730" y="141"/>
                      <a:pt x="730" y="141"/>
                      <a:pt x="730" y="141"/>
                    </a:cubicBezTo>
                    <a:cubicBezTo>
                      <a:pt x="729" y="140"/>
                      <a:pt x="729" y="140"/>
                      <a:pt x="728" y="140"/>
                    </a:cubicBezTo>
                    <a:cubicBezTo>
                      <a:pt x="727" y="139"/>
                      <a:pt x="727" y="139"/>
                      <a:pt x="727" y="139"/>
                    </a:cubicBezTo>
                    <a:cubicBezTo>
                      <a:pt x="727" y="138"/>
                      <a:pt x="727" y="138"/>
                      <a:pt x="727" y="138"/>
                    </a:cubicBezTo>
                    <a:cubicBezTo>
                      <a:pt x="727" y="136"/>
                      <a:pt x="727" y="136"/>
                      <a:pt x="727" y="136"/>
                    </a:cubicBezTo>
                    <a:cubicBezTo>
                      <a:pt x="719" y="132"/>
                      <a:pt x="719" y="132"/>
                      <a:pt x="719" y="132"/>
                    </a:cubicBezTo>
                    <a:cubicBezTo>
                      <a:pt x="718" y="131"/>
                      <a:pt x="718" y="131"/>
                      <a:pt x="718" y="131"/>
                    </a:cubicBezTo>
                    <a:cubicBezTo>
                      <a:pt x="718" y="131"/>
                      <a:pt x="718" y="131"/>
                      <a:pt x="718" y="131"/>
                    </a:cubicBezTo>
                    <a:cubicBezTo>
                      <a:pt x="717" y="131"/>
                      <a:pt x="717" y="131"/>
                      <a:pt x="717" y="131"/>
                    </a:cubicBezTo>
                    <a:cubicBezTo>
                      <a:pt x="714" y="131"/>
                      <a:pt x="714" y="131"/>
                      <a:pt x="714" y="131"/>
                    </a:cubicBezTo>
                    <a:cubicBezTo>
                      <a:pt x="714" y="129"/>
                      <a:pt x="714" y="129"/>
                      <a:pt x="714" y="129"/>
                    </a:cubicBezTo>
                    <a:cubicBezTo>
                      <a:pt x="713" y="129"/>
                      <a:pt x="713" y="128"/>
                      <a:pt x="713" y="126"/>
                    </a:cubicBezTo>
                    <a:cubicBezTo>
                      <a:pt x="713" y="126"/>
                      <a:pt x="713" y="126"/>
                      <a:pt x="713" y="126"/>
                    </a:cubicBezTo>
                    <a:cubicBezTo>
                      <a:pt x="713" y="125"/>
                      <a:pt x="713" y="125"/>
                      <a:pt x="713" y="125"/>
                    </a:cubicBezTo>
                    <a:cubicBezTo>
                      <a:pt x="712" y="124"/>
                      <a:pt x="712" y="124"/>
                      <a:pt x="712" y="124"/>
                    </a:cubicBezTo>
                    <a:cubicBezTo>
                      <a:pt x="712" y="123"/>
                      <a:pt x="711" y="121"/>
                      <a:pt x="710" y="120"/>
                    </a:cubicBezTo>
                    <a:cubicBezTo>
                      <a:pt x="708" y="117"/>
                      <a:pt x="708" y="117"/>
                      <a:pt x="708" y="117"/>
                    </a:cubicBezTo>
                    <a:cubicBezTo>
                      <a:pt x="707" y="116"/>
                      <a:pt x="707" y="116"/>
                      <a:pt x="707" y="116"/>
                    </a:cubicBezTo>
                    <a:cubicBezTo>
                      <a:pt x="707" y="116"/>
                      <a:pt x="706" y="116"/>
                      <a:pt x="706" y="116"/>
                    </a:cubicBezTo>
                    <a:cubicBezTo>
                      <a:pt x="705" y="115"/>
                      <a:pt x="704" y="115"/>
                      <a:pt x="704" y="115"/>
                    </a:cubicBezTo>
                    <a:cubicBezTo>
                      <a:pt x="695" y="113"/>
                      <a:pt x="695" y="113"/>
                      <a:pt x="695" y="113"/>
                    </a:cubicBezTo>
                    <a:cubicBezTo>
                      <a:pt x="689" y="115"/>
                      <a:pt x="689" y="115"/>
                      <a:pt x="689" y="115"/>
                    </a:cubicBezTo>
                    <a:cubicBezTo>
                      <a:pt x="689" y="115"/>
                      <a:pt x="689" y="115"/>
                      <a:pt x="689" y="115"/>
                    </a:cubicBezTo>
                    <a:cubicBezTo>
                      <a:pt x="688" y="118"/>
                      <a:pt x="688" y="118"/>
                      <a:pt x="688" y="118"/>
                    </a:cubicBezTo>
                    <a:cubicBezTo>
                      <a:pt x="687" y="118"/>
                      <a:pt x="687" y="118"/>
                      <a:pt x="687" y="118"/>
                    </a:cubicBezTo>
                    <a:cubicBezTo>
                      <a:pt x="687" y="118"/>
                      <a:pt x="687" y="118"/>
                      <a:pt x="686" y="118"/>
                    </a:cubicBezTo>
                    <a:cubicBezTo>
                      <a:pt x="686" y="119"/>
                      <a:pt x="685" y="119"/>
                      <a:pt x="685" y="119"/>
                    </a:cubicBezTo>
                    <a:cubicBezTo>
                      <a:pt x="684" y="119"/>
                      <a:pt x="684" y="119"/>
                      <a:pt x="684" y="119"/>
                    </a:cubicBezTo>
                    <a:cubicBezTo>
                      <a:pt x="683" y="120"/>
                      <a:pt x="683" y="120"/>
                      <a:pt x="683" y="120"/>
                    </a:cubicBezTo>
                    <a:cubicBezTo>
                      <a:pt x="683" y="120"/>
                      <a:pt x="683" y="120"/>
                      <a:pt x="683" y="120"/>
                    </a:cubicBezTo>
                    <a:cubicBezTo>
                      <a:pt x="680" y="120"/>
                      <a:pt x="680" y="120"/>
                      <a:pt x="680" y="120"/>
                    </a:cubicBezTo>
                    <a:cubicBezTo>
                      <a:pt x="671" y="119"/>
                      <a:pt x="671" y="119"/>
                      <a:pt x="671" y="119"/>
                    </a:cubicBezTo>
                    <a:cubicBezTo>
                      <a:pt x="671" y="119"/>
                      <a:pt x="671" y="119"/>
                      <a:pt x="671" y="119"/>
                    </a:cubicBezTo>
                    <a:cubicBezTo>
                      <a:pt x="670" y="119"/>
                      <a:pt x="669" y="119"/>
                      <a:pt x="669" y="119"/>
                    </a:cubicBezTo>
                    <a:cubicBezTo>
                      <a:pt x="668" y="119"/>
                      <a:pt x="668" y="119"/>
                      <a:pt x="667" y="119"/>
                    </a:cubicBezTo>
                    <a:cubicBezTo>
                      <a:pt x="667" y="120"/>
                      <a:pt x="667" y="120"/>
                      <a:pt x="667" y="120"/>
                    </a:cubicBezTo>
                    <a:cubicBezTo>
                      <a:pt x="666" y="120"/>
                      <a:pt x="666" y="120"/>
                      <a:pt x="665" y="120"/>
                    </a:cubicBezTo>
                    <a:cubicBezTo>
                      <a:pt x="665" y="120"/>
                      <a:pt x="665" y="120"/>
                      <a:pt x="664" y="120"/>
                    </a:cubicBezTo>
                    <a:cubicBezTo>
                      <a:pt x="662" y="119"/>
                      <a:pt x="662" y="119"/>
                      <a:pt x="662" y="119"/>
                    </a:cubicBezTo>
                    <a:cubicBezTo>
                      <a:pt x="661" y="119"/>
                      <a:pt x="661" y="119"/>
                      <a:pt x="661" y="119"/>
                    </a:cubicBezTo>
                    <a:cubicBezTo>
                      <a:pt x="661" y="118"/>
                      <a:pt x="661" y="118"/>
                      <a:pt x="661" y="118"/>
                    </a:cubicBezTo>
                    <a:cubicBezTo>
                      <a:pt x="660" y="118"/>
                      <a:pt x="659" y="117"/>
                      <a:pt x="658" y="116"/>
                    </a:cubicBezTo>
                    <a:cubicBezTo>
                      <a:pt x="657" y="115"/>
                      <a:pt x="657" y="115"/>
                      <a:pt x="656" y="114"/>
                    </a:cubicBezTo>
                    <a:cubicBezTo>
                      <a:pt x="654" y="114"/>
                      <a:pt x="654" y="114"/>
                      <a:pt x="654" y="114"/>
                    </a:cubicBezTo>
                    <a:cubicBezTo>
                      <a:pt x="653" y="112"/>
                      <a:pt x="653" y="112"/>
                      <a:pt x="653" y="112"/>
                    </a:cubicBezTo>
                    <a:cubicBezTo>
                      <a:pt x="653" y="111"/>
                      <a:pt x="653" y="111"/>
                      <a:pt x="653" y="111"/>
                    </a:cubicBezTo>
                    <a:cubicBezTo>
                      <a:pt x="653" y="110"/>
                      <a:pt x="653" y="110"/>
                      <a:pt x="653" y="110"/>
                    </a:cubicBezTo>
                    <a:cubicBezTo>
                      <a:pt x="653" y="109"/>
                      <a:pt x="654" y="108"/>
                      <a:pt x="654" y="107"/>
                    </a:cubicBezTo>
                    <a:cubicBezTo>
                      <a:pt x="649" y="106"/>
                      <a:pt x="649" y="106"/>
                      <a:pt x="649" y="106"/>
                    </a:cubicBezTo>
                    <a:cubicBezTo>
                      <a:pt x="649" y="107"/>
                      <a:pt x="649" y="107"/>
                      <a:pt x="649" y="107"/>
                    </a:cubicBezTo>
                    <a:cubicBezTo>
                      <a:pt x="647" y="108"/>
                      <a:pt x="647" y="108"/>
                      <a:pt x="647" y="108"/>
                    </a:cubicBezTo>
                    <a:cubicBezTo>
                      <a:pt x="647" y="108"/>
                      <a:pt x="647" y="108"/>
                      <a:pt x="646" y="108"/>
                    </a:cubicBezTo>
                    <a:cubicBezTo>
                      <a:pt x="646" y="108"/>
                      <a:pt x="646" y="108"/>
                      <a:pt x="646" y="108"/>
                    </a:cubicBezTo>
                    <a:cubicBezTo>
                      <a:pt x="646" y="108"/>
                      <a:pt x="646" y="108"/>
                      <a:pt x="646" y="108"/>
                    </a:cubicBezTo>
                    <a:cubicBezTo>
                      <a:pt x="646" y="109"/>
                      <a:pt x="647" y="110"/>
                      <a:pt x="646" y="111"/>
                    </a:cubicBezTo>
                    <a:cubicBezTo>
                      <a:pt x="646" y="112"/>
                      <a:pt x="646" y="112"/>
                      <a:pt x="646" y="112"/>
                    </a:cubicBezTo>
                    <a:cubicBezTo>
                      <a:pt x="646" y="112"/>
                      <a:pt x="646" y="112"/>
                      <a:pt x="646" y="112"/>
                    </a:cubicBezTo>
                    <a:cubicBezTo>
                      <a:pt x="652" y="116"/>
                      <a:pt x="652" y="116"/>
                      <a:pt x="652" y="116"/>
                    </a:cubicBezTo>
                    <a:cubicBezTo>
                      <a:pt x="645" y="113"/>
                      <a:pt x="645" y="113"/>
                      <a:pt x="645" y="113"/>
                    </a:cubicBezTo>
                    <a:cubicBezTo>
                      <a:pt x="645" y="114"/>
                      <a:pt x="645" y="114"/>
                      <a:pt x="645" y="114"/>
                    </a:cubicBezTo>
                    <a:cubicBezTo>
                      <a:pt x="642" y="115"/>
                      <a:pt x="642" y="115"/>
                      <a:pt x="642" y="115"/>
                    </a:cubicBezTo>
                    <a:cubicBezTo>
                      <a:pt x="642" y="115"/>
                      <a:pt x="642" y="115"/>
                      <a:pt x="642" y="115"/>
                    </a:cubicBezTo>
                    <a:cubicBezTo>
                      <a:pt x="641" y="115"/>
                      <a:pt x="641" y="115"/>
                      <a:pt x="641" y="115"/>
                    </a:cubicBezTo>
                    <a:cubicBezTo>
                      <a:pt x="641" y="115"/>
                      <a:pt x="641" y="115"/>
                      <a:pt x="641" y="115"/>
                    </a:cubicBezTo>
                    <a:cubicBezTo>
                      <a:pt x="641" y="115"/>
                      <a:pt x="641" y="115"/>
                      <a:pt x="641" y="115"/>
                    </a:cubicBezTo>
                    <a:cubicBezTo>
                      <a:pt x="640" y="116"/>
                      <a:pt x="640" y="117"/>
                      <a:pt x="639" y="117"/>
                    </a:cubicBezTo>
                    <a:cubicBezTo>
                      <a:pt x="639" y="118"/>
                      <a:pt x="639" y="118"/>
                      <a:pt x="639" y="118"/>
                    </a:cubicBezTo>
                    <a:cubicBezTo>
                      <a:pt x="637" y="119"/>
                      <a:pt x="637" y="119"/>
                      <a:pt x="637" y="119"/>
                    </a:cubicBezTo>
                    <a:cubicBezTo>
                      <a:pt x="636" y="119"/>
                      <a:pt x="636" y="119"/>
                      <a:pt x="636" y="119"/>
                    </a:cubicBezTo>
                    <a:cubicBezTo>
                      <a:pt x="635" y="118"/>
                      <a:pt x="635" y="118"/>
                      <a:pt x="635" y="118"/>
                    </a:cubicBezTo>
                    <a:cubicBezTo>
                      <a:pt x="634" y="116"/>
                      <a:pt x="634" y="116"/>
                      <a:pt x="634" y="116"/>
                    </a:cubicBezTo>
                    <a:cubicBezTo>
                      <a:pt x="631" y="114"/>
                      <a:pt x="631" y="114"/>
                      <a:pt x="631" y="114"/>
                    </a:cubicBezTo>
                    <a:cubicBezTo>
                      <a:pt x="632" y="113"/>
                      <a:pt x="632" y="113"/>
                      <a:pt x="632" y="113"/>
                    </a:cubicBezTo>
                    <a:cubicBezTo>
                      <a:pt x="628" y="108"/>
                      <a:pt x="624" y="101"/>
                      <a:pt x="620" y="95"/>
                    </a:cubicBezTo>
                    <a:cubicBezTo>
                      <a:pt x="618" y="92"/>
                      <a:pt x="618" y="92"/>
                      <a:pt x="618" y="92"/>
                    </a:cubicBezTo>
                    <a:cubicBezTo>
                      <a:pt x="614" y="86"/>
                      <a:pt x="610" y="79"/>
                      <a:pt x="606" y="72"/>
                    </a:cubicBezTo>
                    <a:cubicBezTo>
                      <a:pt x="601" y="66"/>
                      <a:pt x="601" y="66"/>
                      <a:pt x="601" y="66"/>
                    </a:cubicBezTo>
                    <a:cubicBezTo>
                      <a:pt x="594" y="56"/>
                      <a:pt x="594" y="56"/>
                      <a:pt x="594" y="56"/>
                    </a:cubicBezTo>
                    <a:cubicBezTo>
                      <a:pt x="591" y="53"/>
                      <a:pt x="589" y="51"/>
                      <a:pt x="587" y="49"/>
                    </a:cubicBezTo>
                    <a:cubicBezTo>
                      <a:pt x="576" y="42"/>
                      <a:pt x="576" y="42"/>
                      <a:pt x="576" y="42"/>
                    </a:cubicBezTo>
                    <a:cubicBezTo>
                      <a:pt x="572" y="38"/>
                      <a:pt x="572" y="38"/>
                      <a:pt x="572" y="38"/>
                    </a:cubicBezTo>
                    <a:cubicBezTo>
                      <a:pt x="571" y="37"/>
                      <a:pt x="569" y="36"/>
                      <a:pt x="568" y="34"/>
                    </a:cubicBezTo>
                    <a:cubicBezTo>
                      <a:pt x="563" y="29"/>
                      <a:pt x="563" y="29"/>
                      <a:pt x="563" y="29"/>
                    </a:cubicBezTo>
                    <a:cubicBezTo>
                      <a:pt x="555" y="32"/>
                      <a:pt x="555" y="32"/>
                      <a:pt x="555" y="32"/>
                    </a:cubicBezTo>
                    <a:cubicBezTo>
                      <a:pt x="553" y="33"/>
                      <a:pt x="550" y="35"/>
                      <a:pt x="548" y="36"/>
                    </a:cubicBezTo>
                    <a:cubicBezTo>
                      <a:pt x="547" y="36"/>
                      <a:pt x="547" y="36"/>
                      <a:pt x="547" y="36"/>
                    </a:cubicBezTo>
                    <a:cubicBezTo>
                      <a:pt x="545" y="38"/>
                      <a:pt x="542" y="39"/>
                      <a:pt x="539" y="40"/>
                    </a:cubicBezTo>
                    <a:cubicBezTo>
                      <a:pt x="531" y="43"/>
                      <a:pt x="531" y="43"/>
                      <a:pt x="531" y="43"/>
                    </a:cubicBezTo>
                    <a:cubicBezTo>
                      <a:pt x="531" y="44"/>
                      <a:pt x="531" y="44"/>
                      <a:pt x="531" y="44"/>
                    </a:cubicBezTo>
                    <a:cubicBezTo>
                      <a:pt x="531" y="44"/>
                      <a:pt x="531" y="45"/>
                      <a:pt x="531" y="46"/>
                    </a:cubicBezTo>
                    <a:cubicBezTo>
                      <a:pt x="531" y="48"/>
                      <a:pt x="531" y="48"/>
                      <a:pt x="531" y="48"/>
                    </a:cubicBezTo>
                    <a:cubicBezTo>
                      <a:pt x="528" y="50"/>
                      <a:pt x="528" y="50"/>
                      <a:pt x="528" y="50"/>
                    </a:cubicBezTo>
                    <a:cubicBezTo>
                      <a:pt x="525" y="48"/>
                      <a:pt x="525" y="48"/>
                      <a:pt x="525" y="48"/>
                    </a:cubicBezTo>
                    <a:cubicBezTo>
                      <a:pt x="524" y="48"/>
                      <a:pt x="524" y="48"/>
                      <a:pt x="524" y="47"/>
                    </a:cubicBezTo>
                    <a:cubicBezTo>
                      <a:pt x="522" y="47"/>
                      <a:pt x="522" y="47"/>
                      <a:pt x="522" y="47"/>
                    </a:cubicBezTo>
                    <a:cubicBezTo>
                      <a:pt x="518" y="47"/>
                      <a:pt x="518" y="47"/>
                      <a:pt x="518" y="47"/>
                    </a:cubicBezTo>
                    <a:cubicBezTo>
                      <a:pt x="517" y="47"/>
                      <a:pt x="517" y="47"/>
                      <a:pt x="517" y="47"/>
                    </a:cubicBezTo>
                    <a:cubicBezTo>
                      <a:pt x="516" y="47"/>
                      <a:pt x="516" y="47"/>
                      <a:pt x="515" y="48"/>
                    </a:cubicBezTo>
                    <a:cubicBezTo>
                      <a:pt x="509" y="52"/>
                      <a:pt x="509" y="52"/>
                      <a:pt x="509" y="52"/>
                    </a:cubicBezTo>
                    <a:cubicBezTo>
                      <a:pt x="503" y="42"/>
                      <a:pt x="503" y="42"/>
                      <a:pt x="503" y="42"/>
                    </a:cubicBezTo>
                    <a:cubicBezTo>
                      <a:pt x="505" y="40"/>
                      <a:pt x="505" y="40"/>
                      <a:pt x="505" y="40"/>
                    </a:cubicBezTo>
                    <a:cubicBezTo>
                      <a:pt x="505" y="39"/>
                      <a:pt x="507" y="38"/>
                      <a:pt x="507" y="37"/>
                    </a:cubicBezTo>
                    <a:cubicBezTo>
                      <a:pt x="508" y="36"/>
                      <a:pt x="508" y="36"/>
                      <a:pt x="508" y="36"/>
                    </a:cubicBezTo>
                    <a:cubicBezTo>
                      <a:pt x="504" y="37"/>
                      <a:pt x="504" y="37"/>
                      <a:pt x="504" y="37"/>
                    </a:cubicBezTo>
                    <a:cubicBezTo>
                      <a:pt x="503" y="36"/>
                      <a:pt x="503" y="36"/>
                      <a:pt x="503" y="36"/>
                    </a:cubicBezTo>
                    <a:cubicBezTo>
                      <a:pt x="501" y="36"/>
                      <a:pt x="499" y="35"/>
                      <a:pt x="497" y="34"/>
                    </a:cubicBezTo>
                    <a:cubicBezTo>
                      <a:pt x="497" y="34"/>
                      <a:pt x="497" y="34"/>
                      <a:pt x="497" y="34"/>
                    </a:cubicBezTo>
                    <a:cubicBezTo>
                      <a:pt x="496" y="34"/>
                      <a:pt x="496" y="34"/>
                      <a:pt x="496" y="34"/>
                    </a:cubicBezTo>
                    <a:cubicBezTo>
                      <a:pt x="495" y="35"/>
                      <a:pt x="495" y="35"/>
                      <a:pt x="495" y="35"/>
                    </a:cubicBezTo>
                    <a:cubicBezTo>
                      <a:pt x="494" y="36"/>
                      <a:pt x="494" y="36"/>
                      <a:pt x="493" y="37"/>
                    </a:cubicBezTo>
                    <a:cubicBezTo>
                      <a:pt x="491" y="38"/>
                      <a:pt x="491" y="38"/>
                      <a:pt x="491" y="38"/>
                    </a:cubicBezTo>
                    <a:cubicBezTo>
                      <a:pt x="486" y="39"/>
                      <a:pt x="486" y="39"/>
                      <a:pt x="486" y="39"/>
                    </a:cubicBezTo>
                    <a:cubicBezTo>
                      <a:pt x="488" y="34"/>
                      <a:pt x="488" y="34"/>
                      <a:pt x="488" y="34"/>
                    </a:cubicBezTo>
                    <a:cubicBezTo>
                      <a:pt x="488" y="34"/>
                      <a:pt x="488" y="34"/>
                      <a:pt x="488" y="34"/>
                    </a:cubicBezTo>
                    <a:cubicBezTo>
                      <a:pt x="488" y="33"/>
                      <a:pt x="488" y="33"/>
                      <a:pt x="488" y="33"/>
                    </a:cubicBezTo>
                    <a:cubicBezTo>
                      <a:pt x="487" y="32"/>
                      <a:pt x="487" y="32"/>
                      <a:pt x="487" y="32"/>
                    </a:cubicBezTo>
                    <a:cubicBezTo>
                      <a:pt x="487" y="32"/>
                      <a:pt x="487" y="32"/>
                      <a:pt x="487" y="31"/>
                    </a:cubicBezTo>
                    <a:cubicBezTo>
                      <a:pt x="486" y="33"/>
                      <a:pt x="486" y="33"/>
                      <a:pt x="486" y="33"/>
                    </a:cubicBezTo>
                    <a:cubicBezTo>
                      <a:pt x="483" y="31"/>
                      <a:pt x="483" y="31"/>
                      <a:pt x="483" y="31"/>
                    </a:cubicBezTo>
                    <a:cubicBezTo>
                      <a:pt x="482" y="31"/>
                      <a:pt x="482" y="31"/>
                      <a:pt x="482" y="31"/>
                    </a:cubicBezTo>
                    <a:cubicBezTo>
                      <a:pt x="482" y="31"/>
                      <a:pt x="482" y="31"/>
                      <a:pt x="482" y="31"/>
                    </a:cubicBezTo>
                    <a:cubicBezTo>
                      <a:pt x="478" y="32"/>
                      <a:pt x="478" y="32"/>
                      <a:pt x="478" y="32"/>
                    </a:cubicBezTo>
                    <a:cubicBezTo>
                      <a:pt x="474" y="33"/>
                      <a:pt x="474" y="33"/>
                      <a:pt x="474" y="33"/>
                    </a:cubicBezTo>
                    <a:cubicBezTo>
                      <a:pt x="473" y="33"/>
                      <a:pt x="472" y="33"/>
                      <a:pt x="471" y="33"/>
                    </a:cubicBezTo>
                    <a:cubicBezTo>
                      <a:pt x="470" y="33"/>
                      <a:pt x="470" y="33"/>
                      <a:pt x="470" y="33"/>
                    </a:cubicBezTo>
                    <a:cubicBezTo>
                      <a:pt x="469" y="33"/>
                      <a:pt x="469" y="33"/>
                      <a:pt x="469" y="33"/>
                    </a:cubicBezTo>
                    <a:cubicBezTo>
                      <a:pt x="467" y="33"/>
                      <a:pt x="467" y="33"/>
                      <a:pt x="467" y="33"/>
                    </a:cubicBezTo>
                    <a:cubicBezTo>
                      <a:pt x="465" y="32"/>
                      <a:pt x="465" y="32"/>
                      <a:pt x="465" y="32"/>
                    </a:cubicBezTo>
                    <a:cubicBezTo>
                      <a:pt x="464" y="31"/>
                      <a:pt x="464" y="31"/>
                      <a:pt x="464" y="31"/>
                    </a:cubicBezTo>
                    <a:cubicBezTo>
                      <a:pt x="464" y="31"/>
                      <a:pt x="464" y="31"/>
                      <a:pt x="464" y="31"/>
                    </a:cubicBezTo>
                    <a:cubicBezTo>
                      <a:pt x="463" y="30"/>
                      <a:pt x="463" y="30"/>
                      <a:pt x="463" y="30"/>
                    </a:cubicBezTo>
                    <a:cubicBezTo>
                      <a:pt x="463" y="29"/>
                      <a:pt x="463" y="29"/>
                      <a:pt x="463" y="29"/>
                    </a:cubicBezTo>
                    <a:cubicBezTo>
                      <a:pt x="462" y="29"/>
                      <a:pt x="462" y="28"/>
                      <a:pt x="462" y="28"/>
                    </a:cubicBezTo>
                    <a:cubicBezTo>
                      <a:pt x="461" y="27"/>
                      <a:pt x="461" y="27"/>
                      <a:pt x="461" y="26"/>
                    </a:cubicBezTo>
                    <a:cubicBezTo>
                      <a:pt x="461" y="26"/>
                      <a:pt x="461" y="26"/>
                      <a:pt x="461" y="26"/>
                    </a:cubicBezTo>
                    <a:cubicBezTo>
                      <a:pt x="461" y="24"/>
                      <a:pt x="461" y="24"/>
                      <a:pt x="461" y="24"/>
                    </a:cubicBezTo>
                    <a:cubicBezTo>
                      <a:pt x="462" y="23"/>
                      <a:pt x="462" y="23"/>
                      <a:pt x="462" y="23"/>
                    </a:cubicBezTo>
                    <a:cubicBezTo>
                      <a:pt x="463" y="23"/>
                      <a:pt x="463" y="23"/>
                      <a:pt x="463" y="23"/>
                    </a:cubicBezTo>
                    <a:cubicBezTo>
                      <a:pt x="464" y="23"/>
                      <a:pt x="464" y="23"/>
                      <a:pt x="464" y="23"/>
                    </a:cubicBezTo>
                    <a:cubicBezTo>
                      <a:pt x="465" y="23"/>
                      <a:pt x="465" y="23"/>
                      <a:pt x="465" y="23"/>
                    </a:cubicBezTo>
                    <a:cubicBezTo>
                      <a:pt x="464" y="21"/>
                      <a:pt x="464" y="21"/>
                      <a:pt x="464" y="21"/>
                    </a:cubicBezTo>
                    <a:cubicBezTo>
                      <a:pt x="464" y="18"/>
                      <a:pt x="464" y="18"/>
                      <a:pt x="464" y="18"/>
                    </a:cubicBezTo>
                    <a:cubicBezTo>
                      <a:pt x="466" y="15"/>
                      <a:pt x="466" y="15"/>
                      <a:pt x="466" y="15"/>
                    </a:cubicBezTo>
                    <a:cubicBezTo>
                      <a:pt x="465" y="14"/>
                      <a:pt x="465" y="14"/>
                      <a:pt x="465" y="14"/>
                    </a:cubicBezTo>
                    <a:cubicBezTo>
                      <a:pt x="462" y="9"/>
                      <a:pt x="462" y="9"/>
                      <a:pt x="462" y="9"/>
                    </a:cubicBezTo>
                    <a:cubicBezTo>
                      <a:pt x="461" y="7"/>
                      <a:pt x="460" y="4"/>
                      <a:pt x="458" y="2"/>
                    </a:cubicBezTo>
                    <a:cubicBezTo>
                      <a:pt x="458" y="1"/>
                      <a:pt x="458" y="1"/>
                      <a:pt x="458" y="1"/>
                    </a:cubicBezTo>
                    <a:cubicBezTo>
                      <a:pt x="455" y="2"/>
                      <a:pt x="455" y="2"/>
                      <a:pt x="455" y="2"/>
                    </a:cubicBezTo>
                    <a:cubicBezTo>
                      <a:pt x="454" y="3"/>
                      <a:pt x="452" y="4"/>
                      <a:pt x="451" y="5"/>
                    </a:cubicBezTo>
                    <a:cubicBezTo>
                      <a:pt x="450" y="5"/>
                      <a:pt x="450" y="5"/>
                      <a:pt x="450" y="5"/>
                    </a:cubicBezTo>
                    <a:cubicBezTo>
                      <a:pt x="448" y="6"/>
                      <a:pt x="448" y="6"/>
                      <a:pt x="448" y="6"/>
                    </a:cubicBezTo>
                    <a:cubicBezTo>
                      <a:pt x="447" y="5"/>
                      <a:pt x="447" y="5"/>
                      <a:pt x="447" y="5"/>
                    </a:cubicBezTo>
                    <a:cubicBezTo>
                      <a:pt x="445" y="5"/>
                      <a:pt x="444" y="4"/>
                      <a:pt x="443" y="4"/>
                    </a:cubicBezTo>
                    <a:cubicBezTo>
                      <a:pt x="442" y="4"/>
                      <a:pt x="442" y="4"/>
                      <a:pt x="442" y="4"/>
                    </a:cubicBezTo>
                    <a:cubicBezTo>
                      <a:pt x="441" y="3"/>
                      <a:pt x="440" y="2"/>
                      <a:pt x="439" y="1"/>
                    </a:cubicBezTo>
                    <a:cubicBezTo>
                      <a:pt x="438" y="1"/>
                      <a:pt x="438" y="1"/>
                      <a:pt x="438" y="1"/>
                    </a:cubicBezTo>
                    <a:cubicBezTo>
                      <a:pt x="437" y="0"/>
                      <a:pt x="437" y="0"/>
                      <a:pt x="437" y="0"/>
                    </a:cubicBezTo>
                    <a:cubicBezTo>
                      <a:pt x="431" y="0"/>
                      <a:pt x="431" y="0"/>
                      <a:pt x="4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Freeform 405"/>
              <p:cNvSpPr/>
              <p:nvPr/>
            </p:nvSpPr>
            <p:spPr bwMode="auto">
              <a:xfrm>
                <a:off x="5960" y="593"/>
                <a:ext cx="4" cy="4"/>
              </a:xfrm>
              <a:custGeom>
                <a:gdLst>
                  <a:gd name="T0" fmla="*/ 2 w 2"/>
                  <a:gd name="T1" fmla="*/ 0 h 2"/>
                  <a:gd name="T2" fmla="*/ 0 w 2"/>
                  <a:gd name="T3" fmla="*/ 1 h 2"/>
                  <a:gd name="T4" fmla="*/ 2 w 2"/>
                  <a:gd name="T5" fmla="*/ 2 h 2"/>
                  <a:gd name="T6" fmla="*/ 2 w 2"/>
                  <a:gd name="T7" fmla="*/ 1 h 2"/>
                  <a:gd name="T8" fmla="*/ 2 w 2"/>
                  <a:gd name="T9" fmla="*/ 1 h 2"/>
                  <a:gd name="T10" fmla="*/ 2 w 2"/>
                  <a:gd name="T11" fmla="*/ 0 h 2"/>
                </a:gdLst>
                <a:cxnLst>
                  <a:cxn ang="0">
                    <a:pos x="T0" y="T1"/>
                  </a:cxn>
                  <a:cxn ang="0">
                    <a:pos x="T2" y="T3"/>
                  </a:cxn>
                  <a:cxn ang="0">
                    <a:pos x="T4" y="T5"/>
                  </a:cxn>
                  <a:cxn ang="0">
                    <a:pos x="T6" y="T7"/>
                  </a:cxn>
                  <a:cxn ang="0">
                    <a:pos x="T8" y="T9"/>
                  </a:cxn>
                  <a:cxn ang="0">
                    <a:pos x="T10" y="T11"/>
                  </a:cxn>
                </a:cxnLst>
                <a:rect l="0" t="0" r="r" b="b"/>
                <a:pathLst>
                  <a:path w="2" h="2">
                    <a:moveTo>
                      <a:pt x="2" y="0"/>
                    </a:moveTo>
                    <a:cubicBezTo>
                      <a:pt x="0" y="1"/>
                      <a:pt x="0" y="1"/>
                      <a:pt x="0" y="1"/>
                    </a:cubicBezTo>
                    <a:cubicBezTo>
                      <a:pt x="1" y="1"/>
                      <a:pt x="1" y="1"/>
                      <a:pt x="2" y="2"/>
                    </a:cubicBezTo>
                    <a:cubicBezTo>
                      <a:pt x="2" y="1"/>
                      <a:pt x="2" y="1"/>
                      <a:pt x="2" y="1"/>
                    </a:cubicBezTo>
                    <a:cubicBezTo>
                      <a:pt x="2" y="1"/>
                      <a:pt x="2"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8" name="Rectangle 407"/>
            <p:cNvSpPr>
              <a:spLocks noChangeArrowheads="1"/>
            </p:cNvSpPr>
            <p:nvPr/>
          </p:nvSpPr>
          <p:spPr bwMode="auto">
            <a:xfrm>
              <a:off x="1566640" y="3258406"/>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408"/>
            <p:cNvSpPr/>
            <p:nvPr/>
          </p:nvSpPr>
          <p:spPr bwMode="auto">
            <a:xfrm flipH="1">
              <a:off x="1566640" y="325840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409"/>
            <p:cNvSpPr>
              <a:spLocks noChangeArrowheads="1"/>
            </p:cNvSpPr>
            <p:nvPr/>
          </p:nvSpPr>
          <p:spPr bwMode="auto">
            <a:xfrm>
              <a:off x="5596712" y="3570633"/>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410"/>
            <p:cNvSpPr/>
            <p:nvPr/>
          </p:nvSpPr>
          <p:spPr bwMode="auto">
            <a:xfrm flipH="1">
              <a:off x="5596712" y="357063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411"/>
            <p:cNvSpPr/>
            <p:nvPr/>
          </p:nvSpPr>
          <p:spPr bwMode="auto">
            <a:xfrm>
              <a:off x="3841636" y="3466099"/>
              <a:ext cx="6878" cy="6878"/>
            </a:xfrm>
            <a:custGeom>
              <a:gdLst>
                <a:gd name="T0" fmla="*/ 2 w 2"/>
                <a:gd name="T1" fmla="*/ 0 h 2"/>
                <a:gd name="T2" fmla="*/ 0 w 2"/>
                <a:gd name="T3" fmla="*/ 0 h 2"/>
                <a:gd name="T4" fmla="*/ 0 w 2"/>
                <a:gd name="T5" fmla="*/ 0 h 2"/>
                <a:gd name="T6" fmla="*/ 1 w 2"/>
                <a:gd name="T7" fmla="*/ 2 h 2"/>
                <a:gd name="T8" fmla="*/ 2 w 2"/>
                <a:gd name="T9" fmla="*/ 1 h 2"/>
                <a:gd name="T10" fmla="*/ 2 w 2"/>
                <a:gd name="T11" fmla="*/ 0 h 2"/>
              </a:gdLst>
              <a:cxnLst>
                <a:cxn ang="0">
                  <a:pos x="T0" y="T1"/>
                </a:cxn>
                <a:cxn ang="0">
                  <a:pos x="T2" y="T3"/>
                </a:cxn>
                <a:cxn ang="0">
                  <a:pos x="T4" y="T5"/>
                </a:cxn>
                <a:cxn ang="0">
                  <a:pos x="T6" y="T7"/>
                </a:cxn>
                <a:cxn ang="0">
                  <a:pos x="T8" y="T9"/>
                </a:cxn>
                <a:cxn ang="0">
                  <a:pos x="T10" y="T11"/>
                </a:cxn>
              </a:cxnLst>
              <a:rect l="0" t="0" r="r" b="b"/>
              <a:pathLst>
                <a:path w="2" h="2">
                  <a:moveTo>
                    <a:pt x="2" y="0"/>
                  </a:moveTo>
                  <a:cubicBezTo>
                    <a:pt x="1" y="0"/>
                    <a:pt x="0" y="0"/>
                    <a:pt x="0" y="0"/>
                  </a:cubicBezTo>
                  <a:cubicBezTo>
                    <a:pt x="0" y="0"/>
                    <a:pt x="0" y="0"/>
                    <a:pt x="0" y="0"/>
                  </a:cubicBezTo>
                  <a:cubicBezTo>
                    <a:pt x="1" y="2"/>
                    <a:pt x="1" y="2"/>
                    <a:pt x="1" y="2"/>
                  </a:cubicBezTo>
                  <a:cubicBezTo>
                    <a:pt x="1" y="1"/>
                    <a:pt x="2"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412"/>
            <p:cNvSpPr>
              <a:spLocks noEditPoints="1"/>
            </p:cNvSpPr>
            <p:nvPr/>
          </p:nvSpPr>
          <p:spPr bwMode="auto">
            <a:xfrm>
              <a:off x="2983355" y="3105731"/>
              <a:ext cx="3771487" cy="2398787"/>
            </a:xfrm>
            <a:custGeom>
              <a:gdLst>
                <a:gd name="T0" fmla="*/ 111 w 1160"/>
                <a:gd name="T1" fmla="*/ 446 h 738"/>
                <a:gd name="T2" fmla="*/ 104 w 1160"/>
                <a:gd name="T3" fmla="*/ 413 h 738"/>
                <a:gd name="T4" fmla="*/ 893 w 1160"/>
                <a:gd name="T5" fmla="*/ 20 h 738"/>
                <a:gd name="T6" fmla="*/ 869 w 1160"/>
                <a:gd name="T7" fmla="*/ 87 h 738"/>
                <a:gd name="T8" fmla="*/ 826 w 1160"/>
                <a:gd name="T9" fmla="*/ 139 h 738"/>
                <a:gd name="T10" fmla="*/ 862 w 1160"/>
                <a:gd name="T11" fmla="*/ 171 h 738"/>
                <a:gd name="T12" fmla="*/ 779 w 1160"/>
                <a:gd name="T13" fmla="*/ 203 h 738"/>
                <a:gd name="T14" fmla="*/ 729 w 1160"/>
                <a:gd name="T15" fmla="*/ 234 h 738"/>
                <a:gd name="T16" fmla="*/ 627 w 1160"/>
                <a:gd name="T17" fmla="*/ 275 h 738"/>
                <a:gd name="T18" fmla="*/ 537 w 1160"/>
                <a:gd name="T19" fmla="*/ 276 h 738"/>
                <a:gd name="T20" fmla="*/ 428 w 1160"/>
                <a:gd name="T21" fmla="*/ 260 h 738"/>
                <a:gd name="T22" fmla="*/ 346 w 1160"/>
                <a:gd name="T23" fmla="*/ 209 h 738"/>
                <a:gd name="T24" fmla="*/ 309 w 1160"/>
                <a:gd name="T25" fmla="*/ 143 h 738"/>
                <a:gd name="T26" fmla="*/ 254 w 1160"/>
                <a:gd name="T27" fmla="*/ 112 h 738"/>
                <a:gd name="T28" fmla="*/ 183 w 1160"/>
                <a:gd name="T29" fmla="*/ 160 h 738"/>
                <a:gd name="T30" fmla="*/ 129 w 1160"/>
                <a:gd name="T31" fmla="*/ 226 h 738"/>
                <a:gd name="T32" fmla="*/ 92 w 1160"/>
                <a:gd name="T33" fmla="*/ 294 h 738"/>
                <a:gd name="T34" fmla="*/ 45 w 1160"/>
                <a:gd name="T35" fmla="*/ 317 h 738"/>
                <a:gd name="T36" fmla="*/ 2 w 1160"/>
                <a:gd name="T37" fmla="*/ 336 h 738"/>
                <a:gd name="T38" fmla="*/ 20 w 1160"/>
                <a:gd name="T39" fmla="*/ 356 h 738"/>
                <a:gd name="T40" fmla="*/ 54 w 1160"/>
                <a:gd name="T41" fmla="*/ 409 h 738"/>
                <a:gd name="T42" fmla="*/ 95 w 1160"/>
                <a:gd name="T43" fmla="*/ 446 h 738"/>
                <a:gd name="T44" fmla="*/ 93 w 1160"/>
                <a:gd name="T45" fmla="*/ 488 h 738"/>
                <a:gd name="T46" fmla="*/ 126 w 1160"/>
                <a:gd name="T47" fmla="*/ 526 h 738"/>
                <a:gd name="T48" fmla="*/ 186 w 1160"/>
                <a:gd name="T49" fmla="*/ 546 h 738"/>
                <a:gd name="T50" fmla="*/ 219 w 1160"/>
                <a:gd name="T51" fmla="*/ 571 h 738"/>
                <a:gd name="T52" fmla="*/ 275 w 1160"/>
                <a:gd name="T53" fmla="*/ 580 h 738"/>
                <a:gd name="T54" fmla="*/ 319 w 1160"/>
                <a:gd name="T55" fmla="*/ 575 h 738"/>
                <a:gd name="T56" fmla="*/ 364 w 1160"/>
                <a:gd name="T57" fmla="*/ 570 h 738"/>
                <a:gd name="T58" fmla="*/ 412 w 1160"/>
                <a:gd name="T59" fmla="*/ 557 h 738"/>
                <a:gd name="T60" fmla="*/ 448 w 1160"/>
                <a:gd name="T61" fmla="*/ 573 h 738"/>
                <a:gd name="T62" fmla="*/ 477 w 1160"/>
                <a:gd name="T63" fmla="*/ 617 h 738"/>
                <a:gd name="T64" fmla="*/ 457 w 1160"/>
                <a:gd name="T65" fmla="*/ 662 h 738"/>
                <a:gd name="T66" fmla="*/ 491 w 1160"/>
                <a:gd name="T67" fmla="*/ 687 h 738"/>
                <a:gd name="T68" fmla="*/ 523 w 1160"/>
                <a:gd name="T69" fmla="*/ 707 h 738"/>
                <a:gd name="T70" fmla="*/ 544 w 1160"/>
                <a:gd name="T71" fmla="*/ 688 h 738"/>
                <a:gd name="T72" fmla="*/ 584 w 1160"/>
                <a:gd name="T73" fmla="*/ 686 h 738"/>
                <a:gd name="T74" fmla="*/ 632 w 1160"/>
                <a:gd name="T75" fmla="*/ 688 h 738"/>
                <a:gd name="T76" fmla="*/ 662 w 1160"/>
                <a:gd name="T77" fmla="*/ 709 h 738"/>
                <a:gd name="T78" fmla="*/ 687 w 1160"/>
                <a:gd name="T79" fmla="*/ 716 h 738"/>
                <a:gd name="T80" fmla="*/ 729 w 1160"/>
                <a:gd name="T81" fmla="*/ 705 h 738"/>
                <a:gd name="T82" fmla="*/ 753 w 1160"/>
                <a:gd name="T83" fmla="*/ 685 h 738"/>
                <a:gd name="T84" fmla="*/ 778 w 1160"/>
                <a:gd name="T85" fmla="*/ 692 h 738"/>
                <a:gd name="T86" fmla="*/ 820 w 1160"/>
                <a:gd name="T87" fmla="*/ 678 h 738"/>
                <a:gd name="T88" fmla="*/ 852 w 1160"/>
                <a:gd name="T89" fmla="*/ 649 h 738"/>
                <a:gd name="T90" fmla="*/ 878 w 1160"/>
                <a:gd name="T91" fmla="*/ 614 h 738"/>
                <a:gd name="T92" fmla="*/ 903 w 1160"/>
                <a:gd name="T93" fmla="*/ 574 h 738"/>
                <a:gd name="T94" fmla="*/ 910 w 1160"/>
                <a:gd name="T95" fmla="*/ 551 h 738"/>
                <a:gd name="T96" fmla="*/ 887 w 1160"/>
                <a:gd name="T97" fmla="*/ 499 h 738"/>
                <a:gd name="T98" fmla="*/ 887 w 1160"/>
                <a:gd name="T99" fmla="*/ 412 h 738"/>
                <a:gd name="T100" fmla="*/ 928 w 1160"/>
                <a:gd name="T101" fmla="*/ 381 h 738"/>
                <a:gd name="T102" fmla="*/ 842 w 1160"/>
                <a:gd name="T103" fmla="*/ 363 h 738"/>
                <a:gd name="T104" fmla="*/ 918 w 1160"/>
                <a:gd name="T105" fmla="*/ 337 h 738"/>
                <a:gd name="T106" fmla="*/ 995 w 1160"/>
                <a:gd name="T107" fmla="*/ 299 h 738"/>
                <a:gd name="T108" fmla="*/ 1052 w 1160"/>
                <a:gd name="T109" fmla="*/ 274 h 738"/>
                <a:gd name="T110" fmla="*/ 1103 w 1160"/>
                <a:gd name="T111" fmla="*/ 202 h 738"/>
                <a:gd name="T112" fmla="*/ 1142 w 1160"/>
                <a:gd name="T113" fmla="*/ 179 h 738"/>
                <a:gd name="T114" fmla="*/ 1160 w 1160"/>
                <a:gd name="T115" fmla="*/ 129 h 738"/>
                <a:gd name="T116" fmla="*/ 1084 w 1160"/>
                <a:gd name="T117" fmla="*/ 130 h 738"/>
                <a:gd name="T118" fmla="*/ 1023 w 1160"/>
                <a:gd name="T119" fmla="*/ 91 h 738"/>
                <a:gd name="T120" fmla="*/ 994 w 1160"/>
                <a:gd name="T121" fmla="*/ 18 h 7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60" h="738">
                  <a:moveTo>
                    <a:pt x="103" y="455"/>
                  </a:moveTo>
                  <a:cubicBezTo>
                    <a:pt x="103" y="455"/>
                    <a:pt x="103" y="455"/>
                    <a:pt x="103" y="455"/>
                  </a:cubicBezTo>
                  <a:cubicBezTo>
                    <a:pt x="103" y="455"/>
                    <a:pt x="103" y="455"/>
                    <a:pt x="103" y="455"/>
                  </a:cubicBezTo>
                  <a:moveTo>
                    <a:pt x="98" y="457"/>
                  </a:moveTo>
                  <a:cubicBezTo>
                    <a:pt x="98" y="456"/>
                    <a:pt x="98" y="456"/>
                    <a:pt x="98" y="456"/>
                  </a:cubicBezTo>
                  <a:cubicBezTo>
                    <a:pt x="98" y="455"/>
                    <a:pt x="98" y="455"/>
                    <a:pt x="98" y="455"/>
                  </a:cubicBezTo>
                  <a:cubicBezTo>
                    <a:pt x="101" y="455"/>
                    <a:pt x="101" y="455"/>
                    <a:pt x="101" y="455"/>
                  </a:cubicBezTo>
                  <a:cubicBezTo>
                    <a:pt x="101" y="455"/>
                    <a:pt x="101" y="455"/>
                    <a:pt x="101" y="455"/>
                  </a:cubicBezTo>
                  <a:cubicBezTo>
                    <a:pt x="102" y="455"/>
                    <a:pt x="102" y="455"/>
                    <a:pt x="102" y="455"/>
                  </a:cubicBezTo>
                  <a:cubicBezTo>
                    <a:pt x="98" y="457"/>
                    <a:pt x="98" y="457"/>
                    <a:pt x="98" y="457"/>
                  </a:cubicBezTo>
                  <a:cubicBezTo>
                    <a:pt x="98" y="457"/>
                    <a:pt x="98" y="457"/>
                    <a:pt x="98" y="457"/>
                  </a:cubicBezTo>
                  <a:moveTo>
                    <a:pt x="99" y="455"/>
                  </a:moveTo>
                  <a:cubicBezTo>
                    <a:pt x="99" y="455"/>
                    <a:pt x="99" y="455"/>
                    <a:pt x="99" y="455"/>
                  </a:cubicBezTo>
                  <a:cubicBezTo>
                    <a:pt x="99" y="455"/>
                    <a:pt x="100" y="455"/>
                    <a:pt x="100" y="455"/>
                  </a:cubicBezTo>
                  <a:cubicBezTo>
                    <a:pt x="100" y="455"/>
                    <a:pt x="100" y="455"/>
                    <a:pt x="100" y="455"/>
                  </a:cubicBezTo>
                  <a:cubicBezTo>
                    <a:pt x="100" y="455"/>
                    <a:pt x="100" y="455"/>
                    <a:pt x="100" y="455"/>
                  </a:cubicBezTo>
                  <a:cubicBezTo>
                    <a:pt x="100" y="455"/>
                    <a:pt x="100" y="455"/>
                    <a:pt x="100" y="455"/>
                  </a:cubicBezTo>
                  <a:cubicBezTo>
                    <a:pt x="100" y="455"/>
                    <a:pt x="99" y="455"/>
                    <a:pt x="99" y="455"/>
                  </a:cubicBezTo>
                  <a:cubicBezTo>
                    <a:pt x="99" y="455"/>
                    <a:pt x="99" y="455"/>
                    <a:pt x="99" y="455"/>
                  </a:cubicBezTo>
                  <a:moveTo>
                    <a:pt x="110" y="452"/>
                  </a:moveTo>
                  <a:cubicBezTo>
                    <a:pt x="110" y="451"/>
                    <a:pt x="111" y="451"/>
                    <a:pt x="111" y="450"/>
                  </a:cubicBezTo>
                  <a:cubicBezTo>
                    <a:pt x="111" y="451"/>
                    <a:pt x="110" y="451"/>
                    <a:pt x="110" y="452"/>
                  </a:cubicBezTo>
                  <a:moveTo>
                    <a:pt x="113" y="446"/>
                  </a:moveTo>
                  <a:cubicBezTo>
                    <a:pt x="113" y="446"/>
                    <a:pt x="113" y="446"/>
                    <a:pt x="113" y="446"/>
                  </a:cubicBezTo>
                  <a:cubicBezTo>
                    <a:pt x="113" y="446"/>
                    <a:pt x="113" y="446"/>
                    <a:pt x="113" y="446"/>
                  </a:cubicBezTo>
                  <a:cubicBezTo>
                    <a:pt x="113" y="446"/>
                    <a:pt x="113" y="446"/>
                    <a:pt x="113" y="446"/>
                  </a:cubicBezTo>
                  <a:moveTo>
                    <a:pt x="113" y="446"/>
                  </a:moveTo>
                  <a:cubicBezTo>
                    <a:pt x="113" y="446"/>
                    <a:pt x="113" y="446"/>
                    <a:pt x="113" y="446"/>
                  </a:cubicBezTo>
                  <a:cubicBezTo>
                    <a:pt x="113" y="446"/>
                    <a:pt x="113" y="446"/>
                    <a:pt x="113" y="446"/>
                  </a:cubicBezTo>
                  <a:moveTo>
                    <a:pt x="111" y="446"/>
                  </a:moveTo>
                  <a:cubicBezTo>
                    <a:pt x="112" y="446"/>
                    <a:pt x="112" y="446"/>
                    <a:pt x="112" y="446"/>
                  </a:cubicBezTo>
                  <a:cubicBezTo>
                    <a:pt x="112" y="446"/>
                    <a:pt x="112" y="446"/>
                    <a:pt x="113" y="446"/>
                  </a:cubicBezTo>
                  <a:cubicBezTo>
                    <a:pt x="113" y="446"/>
                    <a:pt x="113" y="446"/>
                    <a:pt x="113" y="446"/>
                  </a:cubicBezTo>
                  <a:cubicBezTo>
                    <a:pt x="113" y="446"/>
                    <a:pt x="113" y="446"/>
                    <a:pt x="113" y="446"/>
                  </a:cubicBezTo>
                  <a:cubicBezTo>
                    <a:pt x="112" y="446"/>
                    <a:pt x="112" y="446"/>
                    <a:pt x="112" y="446"/>
                  </a:cubicBezTo>
                  <a:cubicBezTo>
                    <a:pt x="112" y="446"/>
                    <a:pt x="112" y="446"/>
                    <a:pt x="111" y="446"/>
                  </a:cubicBezTo>
                  <a:cubicBezTo>
                    <a:pt x="111" y="446"/>
                    <a:pt x="111" y="446"/>
                    <a:pt x="111" y="446"/>
                  </a:cubicBezTo>
                  <a:cubicBezTo>
                    <a:pt x="111" y="446"/>
                    <a:pt x="111" y="446"/>
                    <a:pt x="111" y="446"/>
                  </a:cubicBezTo>
                  <a:moveTo>
                    <a:pt x="114" y="445"/>
                  </a:moveTo>
                  <a:cubicBezTo>
                    <a:pt x="114" y="445"/>
                    <a:pt x="114" y="445"/>
                    <a:pt x="114" y="445"/>
                  </a:cubicBezTo>
                  <a:cubicBezTo>
                    <a:pt x="115" y="444"/>
                    <a:pt x="116" y="443"/>
                    <a:pt x="117" y="442"/>
                  </a:cubicBezTo>
                  <a:cubicBezTo>
                    <a:pt x="118" y="440"/>
                    <a:pt x="120" y="438"/>
                    <a:pt x="121" y="435"/>
                  </a:cubicBezTo>
                  <a:cubicBezTo>
                    <a:pt x="122" y="435"/>
                    <a:pt x="122" y="434"/>
                    <a:pt x="123" y="433"/>
                  </a:cubicBezTo>
                  <a:cubicBezTo>
                    <a:pt x="123" y="432"/>
                    <a:pt x="123" y="431"/>
                    <a:pt x="124" y="430"/>
                  </a:cubicBezTo>
                  <a:cubicBezTo>
                    <a:pt x="123" y="431"/>
                    <a:pt x="123" y="432"/>
                    <a:pt x="123" y="433"/>
                  </a:cubicBezTo>
                  <a:cubicBezTo>
                    <a:pt x="122" y="434"/>
                    <a:pt x="122" y="435"/>
                    <a:pt x="121" y="435"/>
                  </a:cubicBezTo>
                  <a:cubicBezTo>
                    <a:pt x="120" y="438"/>
                    <a:pt x="118" y="440"/>
                    <a:pt x="117" y="442"/>
                  </a:cubicBezTo>
                  <a:cubicBezTo>
                    <a:pt x="116" y="443"/>
                    <a:pt x="115" y="444"/>
                    <a:pt x="114" y="445"/>
                  </a:cubicBezTo>
                  <a:cubicBezTo>
                    <a:pt x="114" y="445"/>
                    <a:pt x="114" y="445"/>
                    <a:pt x="114" y="445"/>
                  </a:cubicBezTo>
                  <a:moveTo>
                    <a:pt x="124" y="430"/>
                  </a:moveTo>
                  <a:cubicBezTo>
                    <a:pt x="124" y="429"/>
                    <a:pt x="125" y="427"/>
                    <a:pt x="126" y="425"/>
                  </a:cubicBezTo>
                  <a:cubicBezTo>
                    <a:pt x="126" y="425"/>
                    <a:pt x="126" y="424"/>
                    <a:pt x="126" y="424"/>
                  </a:cubicBezTo>
                  <a:cubicBezTo>
                    <a:pt x="126" y="424"/>
                    <a:pt x="126" y="425"/>
                    <a:pt x="126" y="425"/>
                  </a:cubicBezTo>
                  <a:cubicBezTo>
                    <a:pt x="125" y="427"/>
                    <a:pt x="124" y="429"/>
                    <a:pt x="124" y="430"/>
                  </a:cubicBezTo>
                  <a:moveTo>
                    <a:pt x="103" y="413"/>
                  </a:moveTo>
                  <a:cubicBezTo>
                    <a:pt x="103" y="413"/>
                    <a:pt x="103" y="413"/>
                    <a:pt x="103" y="413"/>
                  </a:cubicBezTo>
                  <a:cubicBezTo>
                    <a:pt x="103" y="413"/>
                    <a:pt x="103" y="413"/>
                    <a:pt x="103" y="413"/>
                  </a:cubicBezTo>
                  <a:cubicBezTo>
                    <a:pt x="103" y="413"/>
                    <a:pt x="103" y="413"/>
                    <a:pt x="103" y="413"/>
                  </a:cubicBezTo>
                  <a:moveTo>
                    <a:pt x="103" y="413"/>
                  </a:moveTo>
                  <a:cubicBezTo>
                    <a:pt x="103" y="413"/>
                    <a:pt x="104" y="413"/>
                    <a:pt x="104" y="413"/>
                  </a:cubicBezTo>
                  <a:cubicBezTo>
                    <a:pt x="104" y="413"/>
                    <a:pt x="103" y="413"/>
                    <a:pt x="103" y="413"/>
                  </a:cubicBezTo>
                  <a:moveTo>
                    <a:pt x="944" y="0"/>
                  </a:moveTo>
                  <a:cubicBezTo>
                    <a:pt x="943" y="0"/>
                    <a:pt x="943" y="0"/>
                    <a:pt x="943" y="0"/>
                  </a:cubicBezTo>
                  <a:cubicBezTo>
                    <a:pt x="942" y="0"/>
                    <a:pt x="942" y="0"/>
                    <a:pt x="942" y="0"/>
                  </a:cubicBezTo>
                  <a:cubicBezTo>
                    <a:pt x="942" y="0"/>
                    <a:pt x="941" y="1"/>
                    <a:pt x="940" y="1"/>
                  </a:cubicBezTo>
                  <a:cubicBezTo>
                    <a:pt x="938" y="1"/>
                    <a:pt x="938" y="1"/>
                    <a:pt x="938" y="1"/>
                  </a:cubicBezTo>
                  <a:cubicBezTo>
                    <a:pt x="935" y="2"/>
                    <a:pt x="933" y="2"/>
                    <a:pt x="929" y="3"/>
                  </a:cubicBezTo>
                  <a:cubicBezTo>
                    <a:pt x="920" y="3"/>
                    <a:pt x="920" y="3"/>
                    <a:pt x="920" y="3"/>
                  </a:cubicBezTo>
                  <a:cubicBezTo>
                    <a:pt x="917" y="4"/>
                    <a:pt x="917" y="4"/>
                    <a:pt x="917" y="4"/>
                  </a:cubicBezTo>
                  <a:cubicBezTo>
                    <a:pt x="913" y="5"/>
                    <a:pt x="909" y="6"/>
                    <a:pt x="904" y="6"/>
                  </a:cubicBezTo>
                  <a:cubicBezTo>
                    <a:pt x="903" y="6"/>
                    <a:pt x="903" y="6"/>
                    <a:pt x="902" y="6"/>
                  </a:cubicBezTo>
                  <a:cubicBezTo>
                    <a:pt x="902" y="6"/>
                    <a:pt x="902" y="6"/>
                    <a:pt x="902" y="6"/>
                  </a:cubicBezTo>
                  <a:cubicBezTo>
                    <a:pt x="901" y="6"/>
                    <a:pt x="900" y="7"/>
                    <a:pt x="900" y="7"/>
                  </a:cubicBezTo>
                  <a:cubicBezTo>
                    <a:pt x="898" y="7"/>
                    <a:pt x="898" y="7"/>
                    <a:pt x="898" y="7"/>
                  </a:cubicBezTo>
                  <a:cubicBezTo>
                    <a:pt x="898" y="7"/>
                    <a:pt x="898" y="7"/>
                    <a:pt x="898" y="7"/>
                  </a:cubicBezTo>
                  <a:cubicBezTo>
                    <a:pt x="897" y="8"/>
                    <a:pt x="897" y="8"/>
                    <a:pt x="897" y="8"/>
                  </a:cubicBezTo>
                  <a:cubicBezTo>
                    <a:pt x="895" y="9"/>
                    <a:pt x="894" y="11"/>
                    <a:pt x="892" y="12"/>
                  </a:cubicBezTo>
                  <a:cubicBezTo>
                    <a:pt x="892" y="13"/>
                    <a:pt x="892" y="13"/>
                    <a:pt x="892" y="13"/>
                  </a:cubicBezTo>
                  <a:cubicBezTo>
                    <a:pt x="891" y="14"/>
                    <a:pt x="890" y="14"/>
                    <a:pt x="889" y="15"/>
                  </a:cubicBezTo>
                  <a:cubicBezTo>
                    <a:pt x="889" y="15"/>
                    <a:pt x="889" y="15"/>
                    <a:pt x="889" y="15"/>
                  </a:cubicBezTo>
                  <a:cubicBezTo>
                    <a:pt x="888" y="16"/>
                    <a:pt x="888" y="16"/>
                    <a:pt x="888" y="16"/>
                  </a:cubicBezTo>
                  <a:cubicBezTo>
                    <a:pt x="886" y="17"/>
                    <a:pt x="885" y="18"/>
                    <a:pt x="884" y="19"/>
                  </a:cubicBezTo>
                  <a:cubicBezTo>
                    <a:pt x="884" y="20"/>
                    <a:pt x="884" y="20"/>
                    <a:pt x="884" y="20"/>
                  </a:cubicBezTo>
                  <a:cubicBezTo>
                    <a:pt x="884" y="20"/>
                    <a:pt x="884" y="20"/>
                    <a:pt x="884" y="20"/>
                  </a:cubicBezTo>
                  <a:cubicBezTo>
                    <a:pt x="885" y="20"/>
                    <a:pt x="886" y="20"/>
                    <a:pt x="887" y="19"/>
                  </a:cubicBezTo>
                  <a:cubicBezTo>
                    <a:pt x="888" y="19"/>
                    <a:pt x="888" y="19"/>
                    <a:pt x="889" y="19"/>
                  </a:cubicBezTo>
                  <a:cubicBezTo>
                    <a:pt x="890" y="19"/>
                    <a:pt x="890" y="19"/>
                    <a:pt x="891" y="19"/>
                  </a:cubicBezTo>
                  <a:cubicBezTo>
                    <a:pt x="891" y="20"/>
                    <a:pt x="891" y="20"/>
                    <a:pt x="891" y="20"/>
                  </a:cubicBezTo>
                  <a:cubicBezTo>
                    <a:pt x="892" y="20"/>
                    <a:pt x="892" y="20"/>
                    <a:pt x="893" y="20"/>
                  </a:cubicBezTo>
                  <a:cubicBezTo>
                    <a:pt x="893" y="20"/>
                    <a:pt x="893" y="20"/>
                    <a:pt x="893" y="20"/>
                  </a:cubicBezTo>
                  <a:cubicBezTo>
                    <a:pt x="893" y="20"/>
                    <a:pt x="894" y="21"/>
                    <a:pt x="894" y="21"/>
                  </a:cubicBezTo>
                  <a:cubicBezTo>
                    <a:pt x="895" y="21"/>
                    <a:pt x="895" y="21"/>
                    <a:pt x="895" y="21"/>
                  </a:cubicBezTo>
                  <a:cubicBezTo>
                    <a:pt x="895" y="21"/>
                    <a:pt x="895" y="21"/>
                    <a:pt x="895" y="21"/>
                  </a:cubicBezTo>
                  <a:cubicBezTo>
                    <a:pt x="896" y="23"/>
                    <a:pt x="897" y="24"/>
                    <a:pt x="897" y="25"/>
                  </a:cubicBezTo>
                  <a:cubicBezTo>
                    <a:pt x="897" y="26"/>
                    <a:pt x="897" y="26"/>
                    <a:pt x="897" y="26"/>
                  </a:cubicBezTo>
                  <a:cubicBezTo>
                    <a:pt x="896" y="29"/>
                    <a:pt x="896" y="29"/>
                    <a:pt x="896" y="29"/>
                  </a:cubicBezTo>
                  <a:cubicBezTo>
                    <a:pt x="897" y="30"/>
                    <a:pt x="897" y="30"/>
                    <a:pt x="897" y="30"/>
                  </a:cubicBezTo>
                  <a:cubicBezTo>
                    <a:pt x="897" y="31"/>
                    <a:pt x="897" y="31"/>
                    <a:pt x="897" y="31"/>
                  </a:cubicBezTo>
                  <a:cubicBezTo>
                    <a:pt x="898" y="31"/>
                    <a:pt x="898" y="31"/>
                    <a:pt x="898" y="31"/>
                  </a:cubicBezTo>
                  <a:cubicBezTo>
                    <a:pt x="898" y="32"/>
                    <a:pt x="898" y="32"/>
                    <a:pt x="898" y="32"/>
                  </a:cubicBezTo>
                  <a:cubicBezTo>
                    <a:pt x="898" y="32"/>
                    <a:pt x="898" y="32"/>
                    <a:pt x="898" y="32"/>
                  </a:cubicBezTo>
                  <a:cubicBezTo>
                    <a:pt x="898" y="33"/>
                    <a:pt x="898" y="33"/>
                    <a:pt x="898" y="33"/>
                  </a:cubicBezTo>
                  <a:cubicBezTo>
                    <a:pt x="898" y="34"/>
                    <a:pt x="898" y="34"/>
                    <a:pt x="897" y="35"/>
                  </a:cubicBezTo>
                  <a:cubicBezTo>
                    <a:pt x="896" y="37"/>
                    <a:pt x="894" y="39"/>
                    <a:pt x="892" y="41"/>
                  </a:cubicBezTo>
                  <a:cubicBezTo>
                    <a:pt x="883" y="51"/>
                    <a:pt x="883" y="51"/>
                    <a:pt x="883" y="51"/>
                  </a:cubicBezTo>
                  <a:cubicBezTo>
                    <a:pt x="882" y="53"/>
                    <a:pt x="882" y="53"/>
                    <a:pt x="882" y="53"/>
                  </a:cubicBezTo>
                  <a:cubicBezTo>
                    <a:pt x="880" y="56"/>
                    <a:pt x="879" y="58"/>
                    <a:pt x="878" y="60"/>
                  </a:cubicBezTo>
                  <a:cubicBezTo>
                    <a:pt x="874" y="66"/>
                    <a:pt x="874" y="66"/>
                    <a:pt x="874" y="66"/>
                  </a:cubicBezTo>
                  <a:cubicBezTo>
                    <a:pt x="872" y="72"/>
                    <a:pt x="872" y="72"/>
                    <a:pt x="872" y="72"/>
                  </a:cubicBezTo>
                  <a:cubicBezTo>
                    <a:pt x="871" y="78"/>
                    <a:pt x="871" y="78"/>
                    <a:pt x="871" y="78"/>
                  </a:cubicBezTo>
                  <a:cubicBezTo>
                    <a:pt x="871" y="79"/>
                    <a:pt x="871" y="79"/>
                    <a:pt x="871" y="79"/>
                  </a:cubicBezTo>
                  <a:cubicBezTo>
                    <a:pt x="871" y="79"/>
                    <a:pt x="871" y="79"/>
                    <a:pt x="871" y="79"/>
                  </a:cubicBezTo>
                  <a:cubicBezTo>
                    <a:pt x="871" y="80"/>
                    <a:pt x="871" y="81"/>
                    <a:pt x="871" y="81"/>
                  </a:cubicBezTo>
                  <a:cubicBezTo>
                    <a:pt x="871" y="82"/>
                    <a:pt x="871" y="82"/>
                    <a:pt x="871" y="82"/>
                  </a:cubicBezTo>
                  <a:cubicBezTo>
                    <a:pt x="871" y="82"/>
                    <a:pt x="871" y="82"/>
                    <a:pt x="871" y="82"/>
                  </a:cubicBezTo>
                  <a:cubicBezTo>
                    <a:pt x="871" y="83"/>
                    <a:pt x="871" y="83"/>
                    <a:pt x="871" y="83"/>
                  </a:cubicBezTo>
                  <a:cubicBezTo>
                    <a:pt x="871" y="84"/>
                    <a:pt x="871" y="84"/>
                    <a:pt x="871" y="84"/>
                  </a:cubicBezTo>
                  <a:cubicBezTo>
                    <a:pt x="871" y="85"/>
                    <a:pt x="871" y="85"/>
                    <a:pt x="870" y="85"/>
                  </a:cubicBezTo>
                  <a:cubicBezTo>
                    <a:pt x="870" y="86"/>
                    <a:pt x="870" y="86"/>
                    <a:pt x="870" y="86"/>
                  </a:cubicBezTo>
                  <a:cubicBezTo>
                    <a:pt x="870" y="87"/>
                    <a:pt x="869" y="87"/>
                    <a:pt x="869" y="87"/>
                  </a:cubicBezTo>
                  <a:cubicBezTo>
                    <a:pt x="868" y="87"/>
                    <a:pt x="868" y="87"/>
                    <a:pt x="868" y="87"/>
                  </a:cubicBezTo>
                  <a:cubicBezTo>
                    <a:pt x="862" y="90"/>
                    <a:pt x="862" y="90"/>
                    <a:pt x="862" y="90"/>
                  </a:cubicBezTo>
                  <a:cubicBezTo>
                    <a:pt x="854" y="92"/>
                    <a:pt x="854" y="92"/>
                    <a:pt x="854" y="92"/>
                  </a:cubicBezTo>
                  <a:cubicBezTo>
                    <a:pt x="853" y="92"/>
                    <a:pt x="851" y="94"/>
                    <a:pt x="849" y="96"/>
                  </a:cubicBezTo>
                  <a:cubicBezTo>
                    <a:pt x="849" y="96"/>
                    <a:pt x="849" y="96"/>
                    <a:pt x="849" y="96"/>
                  </a:cubicBezTo>
                  <a:cubicBezTo>
                    <a:pt x="841" y="102"/>
                    <a:pt x="841" y="102"/>
                    <a:pt x="841" y="102"/>
                  </a:cubicBezTo>
                  <a:cubicBezTo>
                    <a:pt x="834" y="99"/>
                    <a:pt x="834" y="99"/>
                    <a:pt x="834" y="99"/>
                  </a:cubicBezTo>
                  <a:cubicBezTo>
                    <a:pt x="833" y="101"/>
                    <a:pt x="833" y="101"/>
                    <a:pt x="833" y="101"/>
                  </a:cubicBezTo>
                  <a:cubicBezTo>
                    <a:pt x="833" y="99"/>
                    <a:pt x="833" y="99"/>
                    <a:pt x="833" y="99"/>
                  </a:cubicBezTo>
                  <a:cubicBezTo>
                    <a:pt x="822" y="95"/>
                    <a:pt x="822" y="95"/>
                    <a:pt x="822" y="95"/>
                  </a:cubicBezTo>
                  <a:cubicBezTo>
                    <a:pt x="821" y="95"/>
                    <a:pt x="820" y="95"/>
                    <a:pt x="819" y="95"/>
                  </a:cubicBezTo>
                  <a:cubicBezTo>
                    <a:pt x="815" y="103"/>
                    <a:pt x="815" y="103"/>
                    <a:pt x="815" y="103"/>
                  </a:cubicBezTo>
                  <a:cubicBezTo>
                    <a:pt x="813" y="107"/>
                    <a:pt x="811" y="111"/>
                    <a:pt x="809" y="115"/>
                  </a:cubicBezTo>
                  <a:cubicBezTo>
                    <a:pt x="803" y="126"/>
                    <a:pt x="803" y="126"/>
                    <a:pt x="803" y="126"/>
                  </a:cubicBezTo>
                  <a:cubicBezTo>
                    <a:pt x="803" y="126"/>
                    <a:pt x="803" y="126"/>
                    <a:pt x="804" y="127"/>
                  </a:cubicBezTo>
                  <a:cubicBezTo>
                    <a:pt x="804" y="127"/>
                    <a:pt x="804" y="127"/>
                    <a:pt x="804" y="127"/>
                  </a:cubicBezTo>
                  <a:cubicBezTo>
                    <a:pt x="804" y="129"/>
                    <a:pt x="804" y="131"/>
                    <a:pt x="802" y="133"/>
                  </a:cubicBezTo>
                  <a:cubicBezTo>
                    <a:pt x="801" y="134"/>
                    <a:pt x="800" y="134"/>
                    <a:pt x="800" y="134"/>
                  </a:cubicBezTo>
                  <a:cubicBezTo>
                    <a:pt x="799" y="135"/>
                    <a:pt x="799" y="135"/>
                    <a:pt x="799" y="135"/>
                  </a:cubicBezTo>
                  <a:cubicBezTo>
                    <a:pt x="799" y="135"/>
                    <a:pt x="799" y="136"/>
                    <a:pt x="799" y="136"/>
                  </a:cubicBezTo>
                  <a:cubicBezTo>
                    <a:pt x="799" y="136"/>
                    <a:pt x="799" y="136"/>
                    <a:pt x="799" y="136"/>
                  </a:cubicBezTo>
                  <a:cubicBezTo>
                    <a:pt x="799" y="137"/>
                    <a:pt x="799" y="137"/>
                    <a:pt x="799" y="137"/>
                  </a:cubicBezTo>
                  <a:cubicBezTo>
                    <a:pt x="799" y="137"/>
                    <a:pt x="799" y="137"/>
                    <a:pt x="799" y="137"/>
                  </a:cubicBezTo>
                  <a:cubicBezTo>
                    <a:pt x="800" y="138"/>
                    <a:pt x="800" y="139"/>
                    <a:pt x="801" y="139"/>
                  </a:cubicBezTo>
                  <a:cubicBezTo>
                    <a:pt x="802" y="141"/>
                    <a:pt x="803" y="141"/>
                    <a:pt x="803" y="142"/>
                  </a:cubicBezTo>
                  <a:cubicBezTo>
                    <a:pt x="804" y="141"/>
                    <a:pt x="805" y="140"/>
                    <a:pt x="806" y="140"/>
                  </a:cubicBezTo>
                  <a:cubicBezTo>
                    <a:pt x="808" y="140"/>
                    <a:pt x="810" y="139"/>
                    <a:pt x="812" y="139"/>
                  </a:cubicBezTo>
                  <a:cubicBezTo>
                    <a:pt x="821" y="138"/>
                    <a:pt x="821" y="138"/>
                    <a:pt x="821" y="138"/>
                  </a:cubicBezTo>
                  <a:cubicBezTo>
                    <a:pt x="821" y="138"/>
                    <a:pt x="821" y="138"/>
                    <a:pt x="821" y="138"/>
                  </a:cubicBezTo>
                  <a:cubicBezTo>
                    <a:pt x="823" y="138"/>
                    <a:pt x="824" y="138"/>
                    <a:pt x="826" y="139"/>
                  </a:cubicBezTo>
                  <a:cubicBezTo>
                    <a:pt x="826" y="139"/>
                    <a:pt x="826" y="140"/>
                    <a:pt x="827" y="140"/>
                  </a:cubicBezTo>
                  <a:cubicBezTo>
                    <a:pt x="827" y="140"/>
                    <a:pt x="827" y="140"/>
                    <a:pt x="827" y="140"/>
                  </a:cubicBezTo>
                  <a:cubicBezTo>
                    <a:pt x="829" y="142"/>
                    <a:pt x="830" y="142"/>
                    <a:pt x="830" y="143"/>
                  </a:cubicBezTo>
                  <a:cubicBezTo>
                    <a:pt x="831" y="142"/>
                    <a:pt x="831" y="142"/>
                    <a:pt x="831" y="142"/>
                  </a:cubicBezTo>
                  <a:cubicBezTo>
                    <a:pt x="831" y="142"/>
                    <a:pt x="831" y="142"/>
                    <a:pt x="831" y="142"/>
                  </a:cubicBezTo>
                  <a:cubicBezTo>
                    <a:pt x="831" y="141"/>
                    <a:pt x="831" y="141"/>
                    <a:pt x="831" y="141"/>
                  </a:cubicBezTo>
                  <a:cubicBezTo>
                    <a:pt x="834" y="139"/>
                    <a:pt x="836" y="137"/>
                    <a:pt x="839" y="136"/>
                  </a:cubicBezTo>
                  <a:cubicBezTo>
                    <a:pt x="840" y="136"/>
                    <a:pt x="841" y="136"/>
                    <a:pt x="842" y="136"/>
                  </a:cubicBezTo>
                  <a:cubicBezTo>
                    <a:pt x="843" y="136"/>
                    <a:pt x="843" y="136"/>
                    <a:pt x="843" y="136"/>
                  </a:cubicBezTo>
                  <a:cubicBezTo>
                    <a:pt x="844" y="136"/>
                    <a:pt x="845" y="136"/>
                    <a:pt x="846" y="136"/>
                  </a:cubicBezTo>
                  <a:cubicBezTo>
                    <a:pt x="848" y="135"/>
                    <a:pt x="849" y="135"/>
                    <a:pt x="851" y="135"/>
                  </a:cubicBezTo>
                  <a:cubicBezTo>
                    <a:pt x="852" y="135"/>
                    <a:pt x="852" y="135"/>
                    <a:pt x="853" y="135"/>
                  </a:cubicBezTo>
                  <a:cubicBezTo>
                    <a:pt x="853" y="135"/>
                    <a:pt x="854" y="135"/>
                    <a:pt x="854" y="136"/>
                  </a:cubicBezTo>
                  <a:cubicBezTo>
                    <a:pt x="855" y="136"/>
                    <a:pt x="855" y="136"/>
                    <a:pt x="856" y="137"/>
                  </a:cubicBezTo>
                  <a:cubicBezTo>
                    <a:pt x="857" y="137"/>
                    <a:pt x="857" y="138"/>
                    <a:pt x="857" y="138"/>
                  </a:cubicBezTo>
                  <a:cubicBezTo>
                    <a:pt x="858" y="139"/>
                    <a:pt x="858" y="139"/>
                    <a:pt x="858" y="139"/>
                  </a:cubicBezTo>
                  <a:cubicBezTo>
                    <a:pt x="859" y="140"/>
                    <a:pt x="860" y="140"/>
                    <a:pt x="861" y="141"/>
                  </a:cubicBezTo>
                  <a:cubicBezTo>
                    <a:pt x="863" y="142"/>
                    <a:pt x="864" y="143"/>
                    <a:pt x="866" y="144"/>
                  </a:cubicBezTo>
                  <a:cubicBezTo>
                    <a:pt x="866" y="145"/>
                    <a:pt x="866" y="145"/>
                    <a:pt x="866" y="145"/>
                  </a:cubicBezTo>
                  <a:cubicBezTo>
                    <a:pt x="867" y="146"/>
                    <a:pt x="867" y="146"/>
                    <a:pt x="867" y="146"/>
                  </a:cubicBezTo>
                  <a:cubicBezTo>
                    <a:pt x="867" y="147"/>
                    <a:pt x="868" y="147"/>
                    <a:pt x="869" y="148"/>
                  </a:cubicBezTo>
                  <a:cubicBezTo>
                    <a:pt x="870" y="148"/>
                    <a:pt x="871" y="149"/>
                    <a:pt x="872" y="151"/>
                  </a:cubicBezTo>
                  <a:cubicBezTo>
                    <a:pt x="873" y="152"/>
                    <a:pt x="874" y="153"/>
                    <a:pt x="875" y="153"/>
                  </a:cubicBezTo>
                  <a:cubicBezTo>
                    <a:pt x="876" y="154"/>
                    <a:pt x="877" y="155"/>
                    <a:pt x="878" y="157"/>
                  </a:cubicBezTo>
                  <a:cubicBezTo>
                    <a:pt x="881" y="161"/>
                    <a:pt x="882" y="164"/>
                    <a:pt x="881" y="168"/>
                  </a:cubicBezTo>
                  <a:cubicBezTo>
                    <a:pt x="881" y="169"/>
                    <a:pt x="881" y="169"/>
                    <a:pt x="881" y="169"/>
                  </a:cubicBezTo>
                  <a:cubicBezTo>
                    <a:pt x="881" y="169"/>
                    <a:pt x="881" y="169"/>
                    <a:pt x="881" y="169"/>
                  </a:cubicBezTo>
                  <a:cubicBezTo>
                    <a:pt x="880" y="171"/>
                    <a:pt x="879" y="171"/>
                    <a:pt x="877" y="171"/>
                  </a:cubicBezTo>
                  <a:cubicBezTo>
                    <a:pt x="867" y="171"/>
                    <a:pt x="867" y="171"/>
                    <a:pt x="867" y="171"/>
                  </a:cubicBezTo>
                  <a:cubicBezTo>
                    <a:pt x="866" y="171"/>
                    <a:pt x="864" y="171"/>
                    <a:pt x="862" y="171"/>
                  </a:cubicBezTo>
                  <a:cubicBezTo>
                    <a:pt x="861" y="171"/>
                    <a:pt x="859" y="170"/>
                    <a:pt x="857" y="170"/>
                  </a:cubicBezTo>
                  <a:cubicBezTo>
                    <a:pt x="855" y="170"/>
                    <a:pt x="853" y="171"/>
                    <a:pt x="852" y="171"/>
                  </a:cubicBezTo>
                  <a:cubicBezTo>
                    <a:pt x="848" y="173"/>
                    <a:pt x="843" y="174"/>
                    <a:pt x="838" y="176"/>
                  </a:cubicBezTo>
                  <a:cubicBezTo>
                    <a:pt x="833" y="178"/>
                    <a:pt x="833" y="178"/>
                    <a:pt x="833" y="178"/>
                  </a:cubicBezTo>
                  <a:cubicBezTo>
                    <a:pt x="832" y="178"/>
                    <a:pt x="831" y="178"/>
                    <a:pt x="830" y="179"/>
                  </a:cubicBezTo>
                  <a:cubicBezTo>
                    <a:pt x="828" y="178"/>
                    <a:pt x="828" y="178"/>
                    <a:pt x="828" y="178"/>
                  </a:cubicBezTo>
                  <a:cubicBezTo>
                    <a:pt x="827" y="178"/>
                    <a:pt x="825" y="178"/>
                    <a:pt x="824" y="178"/>
                  </a:cubicBezTo>
                  <a:cubicBezTo>
                    <a:pt x="820" y="178"/>
                    <a:pt x="818" y="179"/>
                    <a:pt x="817" y="181"/>
                  </a:cubicBezTo>
                  <a:cubicBezTo>
                    <a:pt x="814" y="183"/>
                    <a:pt x="812" y="186"/>
                    <a:pt x="812" y="187"/>
                  </a:cubicBezTo>
                  <a:cubicBezTo>
                    <a:pt x="812" y="188"/>
                    <a:pt x="812" y="188"/>
                    <a:pt x="812" y="188"/>
                  </a:cubicBezTo>
                  <a:cubicBezTo>
                    <a:pt x="812" y="189"/>
                    <a:pt x="812" y="190"/>
                    <a:pt x="811" y="192"/>
                  </a:cubicBezTo>
                  <a:cubicBezTo>
                    <a:pt x="811" y="193"/>
                    <a:pt x="810" y="193"/>
                    <a:pt x="810" y="194"/>
                  </a:cubicBezTo>
                  <a:cubicBezTo>
                    <a:pt x="809" y="194"/>
                    <a:pt x="808" y="195"/>
                    <a:pt x="807" y="195"/>
                  </a:cubicBezTo>
                  <a:cubicBezTo>
                    <a:pt x="807" y="196"/>
                    <a:pt x="807" y="196"/>
                    <a:pt x="807" y="196"/>
                  </a:cubicBezTo>
                  <a:cubicBezTo>
                    <a:pt x="806" y="196"/>
                    <a:pt x="806" y="196"/>
                    <a:pt x="806" y="196"/>
                  </a:cubicBezTo>
                  <a:cubicBezTo>
                    <a:pt x="805" y="196"/>
                    <a:pt x="805" y="196"/>
                    <a:pt x="805" y="196"/>
                  </a:cubicBezTo>
                  <a:cubicBezTo>
                    <a:pt x="804" y="197"/>
                    <a:pt x="804" y="197"/>
                    <a:pt x="803" y="197"/>
                  </a:cubicBezTo>
                  <a:cubicBezTo>
                    <a:pt x="803" y="198"/>
                    <a:pt x="803" y="198"/>
                    <a:pt x="803" y="198"/>
                  </a:cubicBezTo>
                  <a:cubicBezTo>
                    <a:pt x="802" y="198"/>
                    <a:pt x="802" y="198"/>
                    <a:pt x="802" y="198"/>
                  </a:cubicBezTo>
                  <a:cubicBezTo>
                    <a:pt x="802" y="198"/>
                    <a:pt x="801" y="199"/>
                    <a:pt x="801" y="199"/>
                  </a:cubicBezTo>
                  <a:cubicBezTo>
                    <a:pt x="799" y="200"/>
                    <a:pt x="798" y="200"/>
                    <a:pt x="797" y="200"/>
                  </a:cubicBezTo>
                  <a:cubicBezTo>
                    <a:pt x="786" y="201"/>
                    <a:pt x="786" y="201"/>
                    <a:pt x="786" y="201"/>
                  </a:cubicBezTo>
                  <a:cubicBezTo>
                    <a:pt x="786" y="201"/>
                    <a:pt x="786" y="201"/>
                    <a:pt x="786" y="201"/>
                  </a:cubicBezTo>
                  <a:cubicBezTo>
                    <a:pt x="785" y="201"/>
                    <a:pt x="784" y="201"/>
                    <a:pt x="784" y="201"/>
                  </a:cubicBezTo>
                  <a:cubicBezTo>
                    <a:pt x="783" y="200"/>
                    <a:pt x="783" y="200"/>
                    <a:pt x="782" y="200"/>
                  </a:cubicBezTo>
                  <a:cubicBezTo>
                    <a:pt x="782" y="200"/>
                    <a:pt x="781" y="201"/>
                    <a:pt x="781" y="201"/>
                  </a:cubicBezTo>
                  <a:cubicBezTo>
                    <a:pt x="781" y="201"/>
                    <a:pt x="781" y="201"/>
                    <a:pt x="781" y="201"/>
                  </a:cubicBezTo>
                  <a:cubicBezTo>
                    <a:pt x="780" y="201"/>
                    <a:pt x="780" y="202"/>
                    <a:pt x="779" y="202"/>
                  </a:cubicBezTo>
                  <a:cubicBezTo>
                    <a:pt x="779" y="202"/>
                    <a:pt x="779" y="202"/>
                    <a:pt x="779" y="202"/>
                  </a:cubicBezTo>
                  <a:cubicBezTo>
                    <a:pt x="779" y="203"/>
                    <a:pt x="779" y="203"/>
                    <a:pt x="779" y="203"/>
                  </a:cubicBezTo>
                  <a:cubicBezTo>
                    <a:pt x="781" y="205"/>
                    <a:pt x="781" y="205"/>
                    <a:pt x="781" y="205"/>
                  </a:cubicBezTo>
                  <a:cubicBezTo>
                    <a:pt x="778" y="204"/>
                    <a:pt x="778" y="204"/>
                    <a:pt x="778" y="204"/>
                  </a:cubicBezTo>
                  <a:cubicBezTo>
                    <a:pt x="778" y="204"/>
                    <a:pt x="778" y="204"/>
                    <a:pt x="778" y="204"/>
                  </a:cubicBezTo>
                  <a:cubicBezTo>
                    <a:pt x="774" y="207"/>
                    <a:pt x="771" y="210"/>
                    <a:pt x="767" y="213"/>
                  </a:cubicBezTo>
                  <a:cubicBezTo>
                    <a:pt x="766" y="213"/>
                    <a:pt x="766" y="213"/>
                    <a:pt x="765" y="214"/>
                  </a:cubicBezTo>
                  <a:cubicBezTo>
                    <a:pt x="764" y="215"/>
                    <a:pt x="764" y="215"/>
                    <a:pt x="764" y="215"/>
                  </a:cubicBezTo>
                  <a:cubicBezTo>
                    <a:pt x="762" y="216"/>
                    <a:pt x="760" y="216"/>
                    <a:pt x="758" y="217"/>
                  </a:cubicBezTo>
                  <a:cubicBezTo>
                    <a:pt x="757" y="217"/>
                    <a:pt x="756" y="216"/>
                    <a:pt x="755" y="216"/>
                  </a:cubicBezTo>
                  <a:cubicBezTo>
                    <a:pt x="755" y="216"/>
                    <a:pt x="754" y="216"/>
                    <a:pt x="754" y="216"/>
                  </a:cubicBezTo>
                  <a:cubicBezTo>
                    <a:pt x="752" y="216"/>
                    <a:pt x="751" y="215"/>
                    <a:pt x="749" y="215"/>
                  </a:cubicBezTo>
                  <a:cubicBezTo>
                    <a:pt x="748" y="214"/>
                    <a:pt x="747" y="214"/>
                    <a:pt x="746" y="214"/>
                  </a:cubicBezTo>
                  <a:cubicBezTo>
                    <a:pt x="746" y="213"/>
                    <a:pt x="746" y="213"/>
                    <a:pt x="746" y="213"/>
                  </a:cubicBezTo>
                  <a:cubicBezTo>
                    <a:pt x="743" y="212"/>
                    <a:pt x="740" y="211"/>
                    <a:pt x="737" y="210"/>
                  </a:cubicBezTo>
                  <a:cubicBezTo>
                    <a:pt x="737" y="210"/>
                    <a:pt x="737" y="210"/>
                    <a:pt x="737" y="210"/>
                  </a:cubicBezTo>
                  <a:cubicBezTo>
                    <a:pt x="736" y="209"/>
                    <a:pt x="734" y="209"/>
                    <a:pt x="733" y="209"/>
                  </a:cubicBezTo>
                  <a:cubicBezTo>
                    <a:pt x="732" y="209"/>
                    <a:pt x="731" y="209"/>
                    <a:pt x="730" y="209"/>
                  </a:cubicBezTo>
                  <a:cubicBezTo>
                    <a:pt x="729" y="209"/>
                    <a:pt x="729" y="209"/>
                    <a:pt x="729" y="209"/>
                  </a:cubicBezTo>
                  <a:cubicBezTo>
                    <a:pt x="729" y="209"/>
                    <a:pt x="729" y="209"/>
                    <a:pt x="729" y="209"/>
                  </a:cubicBezTo>
                  <a:cubicBezTo>
                    <a:pt x="728" y="209"/>
                    <a:pt x="728" y="210"/>
                    <a:pt x="727" y="210"/>
                  </a:cubicBezTo>
                  <a:cubicBezTo>
                    <a:pt x="727" y="211"/>
                    <a:pt x="727" y="211"/>
                    <a:pt x="727" y="211"/>
                  </a:cubicBezTo>
                  <a:cubicBezTo>
                    <a:pt x="726" y="212"/>
                    <a:pt x="725" y="213"/>
                    <a:pt x="724" y="214"/>
                  </a:cubicBezTo>
                  <a:cubicBezTo>
                    <a:pt x="723" y="216"/>
                    <a:pt x="722" y="218"/>
                    <a:pt x="722" y="220"/>
                  </a:cubicBezTo>
                  <a:cubicBezTo>
                    <a:pt x="720" y="222"/>
                    <a:pt x="720" y="222"/>
                    <a:pt x="720" y="222"/>
                  </a:cubicBezTo>
                  <a:cubicBezTo>
                    <a:pt x="720" y="223"/>
                    <a:pt x="720" y="223"/>
                    <a:pt x="720" y="223"/>
                  </a:cubicBezTo>
                  <a:cubicBezTo>
                    <a:pt x="720" y="223"/>
                    <a:pt x="720" y="223"/>
                    <a:pt x="720" y="223"/>
                  </a:cubicBezTo>
                  <a:cubicBezTo>
                    <a:pt x="721" y="225"/>
                    <a:pt x="722" y="227"/>
                    <a:pt x="723" y="227"/>
                  </a:cubicBezTo>
                  <a:cubicBezTo>
                    <a:pt x="723" y="228"/>
                    <a:pt x="724" y="229"/>
                    <a:pt x="724" y="229"/>
                  </a:cubicBezTo>
                  <a:cubicBezTo>
                    <a:pt x="724" y="229"/>
                    <a:pt x="725" y="230"/>
                    <a:pt x="725" y="230"/>
                  </a:cubicBezTo>
                  <a:cubicBezTo>
                    <a:pt x="726" y="231"/>
                    <a:pt x="728" y="232"/>
                    <a:pt x="729" y="233"/>
                  </a:cubicBezTo>
                  <a:cubicBezTo>
                    <a:pt x="729" y="234"/>
                    <a:pt x="729" y="234"/>
                    <a:pt x="729" y="234"/>
                  </a:cubicBezTo>
                  <a:cubicBezTo>
                    <a:pt x="730" y="237"/>
                    <a:pt x="730" y="239"/>
                    <a:pt x="727" y="241"/>
                  </a:cubicBezTo>
                  <a:cubicBezTo>
                    <a:pt x="724" y="243"/>
                    <a:pt x="722" y="244"/>
                    <a:pt x="718" y="246"/>
                  </a:cubicBezTo>
                  <a:cubicBezTo>
                    <a:pt x="717" y="247"/>
                    <a:pt x="717" y="247"/>
                    <a:pt x="717" y="247"/>
                  </a:cubicBezTo>
                  <a:cubicBezTo>
                    <a:pt x="715" y="248"/>
                    <a:pt x="712" y="249"/>
                    <a:pt x="711" y="250"/>
                  </a:cubicBezTo>
                  <a:cubicBezTo>
                    <a:pt x="709" y="251"/>
                    <a:pt x="707" y="253"/>
                    <a:pt x="706" y="256"/>
                  </a:cubicBezTo>
                  <a:cubicBezTo>
                    <a:pt x="706" y="256"/>
                    <a:pt x="706" y="256"/>
                    <a:pt x="706" y="256"/>
                  </a:cubicBezTo>
                  <a:cubicBezTo>
                    <a:pt x="705" y="257"/>
                    <a:pt x="704" y="258"/>
                    <a:pt x="703" y="259"/>
                  </a:cubicBezTo>
                  <a:cubicBezTo>
                    <a:pt x="701" y="261"/>
                    <a:pt x="700" y="262"/>
                    <a:pt x="698" y="263"/>
                  </a:cubicBezTo>
                  <a:cubicBezTo>
                    <a:pt x="696" y="263"/>
                    <a:pt x="695" y="264"/>
                    <a:pt x="693" y="265"/>
                  </a:cubicBezTo>
                  <a:cubicBezTo>
                    <a:pt x="690" y="266"/>
                    <a:pt x="690" y="266"/>
                    <a:pt x="690" y="266"/>
                  </a:cubicBezTo>
                  <a:cubicBezTo>
                    <a:pt x="688" y="267"/>
                    <a:pt x="688" y="267"/>
                    <a:pt x="688" y="267"/>
                  </a:cubicBezTo>
                  <a:cubicBezTo>
                    <a:pt x="686" y="268"/>
                    <a:pt x="684" y="269"/>
                    <a:pt x="683" y="269"/>
                  </a:cubicBezTo>
                  <a:cubicBezTo>
                    <a:pt x="680" y="270"/>
                    <a:pt x="677" y="271"/>
                    <a:pt x="674" y="271"/>
                  </a:cubicBezTo>
                  <a:cubicBezTo>
                    <a:pt x="673" y="271"/>
                    <a:pt x="672" y="271"/>
                    <a:pt x="672" y="271"/>
                  </a:cubicBezTo>
                  <a:cubicBezTo>
                    <a:pt x="671" y="271"/>
                    <a:pt x="671" y="271"/>
                    <a:pt x="671" y="271"/>
                  </a:cubicBezTo>
                  <a:cubicBezTo>
                    <a:pt x="670" y="270"/>
                    <a:pt x="669" y="270"/>
                    <a:pt x="668" y="270"/>
                  </a:cubicBezTo>
                  <a:cubicBezTo>
                    <a:pt x="667" y="270"/>
                    <a:pt x="667" y="270"/>
                    <a:pt x="667" y="270"/>
                  </a:cubicBezTo>
                  <a:cubicBezTo>
                    <a:pt x="666" y="270"/>
                    <a:pt x="665" y="270"/>
                    <a:pt x="665" y="270"/>
                  </a:cubicBezTo>
                  <a:cubicBezTo>
                    <a:pt x="660" y="270"/>
                    <a:pt x="660" y="270"/>
                    <a:pt x="660" y="270"/>
                  </a:cubicBezTo>
                  <a:cubicBezTo>
                    <a:pt x="658" y="270"/>
                    <a:pt x="655" y="270"/>
                    <a:pt x="652" y="271"/>
                  </a:cubicBezTo>
                  <a:cubicBezTo>
                    <a:pt x="648" y="271"/>
                    <a:pt x="648" y="271"/>
                    <a:pt x="648" y="271"/>
                  </a:cubicBezTo>
                  <a:cubicBezTo>
                    <a:pt x="646" y="272"/>
                    <a:pt x="645" y="272"/>
                    <a:pt x="643" y="272"/>
                  </a:cubicBezTo>
                  <a:cubicBezTo>
                    <a:pt x="642" y="272"/>
                    <a:pt x="642" y="272"/>
                    <a:pt x="642" y="272"/>
                  </a:cubicBezTo>
                  <a:cubicBezTo>
                    <a:pt x="638" y="272"/>
                    <a:pt x="633" y="273"/>
                    <a:pt x="629" y="274"/>
                  </a:cubicBezTo>
                  <a:cubicBezTo>
                    <a:pt x="629" y="274"/>
                    <a:pt x="629" y="274"/>
                    <a:pt x="629" y="274"/>
                  </a:cubicBezTo>
                  <a:cubicBezTo>
                    <a:pt x="629" y="274"/>
                    <a:pt x="629" y="274"/>
                    <a:pt x="629" y="274"/>
                  </a:cubicBezTo>
                  <a:cubicBezTo>
                    <a:pt x="630" y="277"/>
                    <a:pt x="630" y="277"/>
                    <a:pt x="630" y="277"/>
                  </a:cubicBezTo>
                  <a:cubicBezTo>
                    <a:pt x="628" y="274"/>
                    <a:pt x="628" y="274"/>
                    <a:pt x="628" y="274"/>
                  </a:cubicBezTo>
                  <a:cubicBezTo>
                    <a:pt x="627" y="275"/>
                    <a:pt x="627" y="275"/>
                    <a:pt x="627" y="275"/>
                  </a:cubicBezTo>
                  <a:cubicBezTo>
                    <a:pt x="627" y="275"/>
                    <a:pt x="627" y="275"/>
                    <a:pt x="627" y="275"/>
                  </a:cubicBezTo>
                  <a:cubicBezTo>
                    <a:pt x="624" y="276"/>
                    <a:pt x="620" y="277"/>
                    <a:pt x="617" y="279"/>
                  </a:cubicBezTo>
                  <a:cubicBezTo>
                    <a:pt x="615" y="280"/>
                    <a:pt x="615" y="280"/>
                    <a:pt x="615" y="280"/>
                  </a:cubicBezTo>
                  <a:cubicBezTo>
                    <a:pt x="614" y="280"/>
                    <a:pt x="612" y="281"/>
                    <a:pt x="611" y="282"/>
                  </a:cubicBezTo>
                  <a:cubicBezTo>
                    <a:pt x="608" y="283"/>
                    <a:pt x="604" y="284"/>
                    <a:pt x="602" y="285"/>
                  </a:cubicBezTo>
                  <a:cubicBezTo>
                    <a:pt x="602" y="286"/>
                    <a:pt x="602" y="286"/>
                    <a:pt x="602" y="286"/>
                  </a:cubicBezTo>
                  <a:cubicBezTo>
                    <a:pt x="600" y="286"/>
                    <a:pt x="598" y="287"/>
                    <a:pt x="598" y="288"/>
                  </a:cubicBezTo>
                  <a:cubicBezTo>
                    <a:pt x="597" y="289"/>
                    <a:pt x="597" y="289"/>
                    <a:pt x="597" y="289"/>
                  </a:cubicBezTo>
                  <a:cubicBezTo>
                    <a:pt x="596" y="289"/>
                    <a:pt x="595" y="290"/>
                    <a:pt x="594" y="290"/>
                  </a:cubicBezTo>
                  <a:cubicBezTo>
                    <a:pt x="594" y="290"/>
                    <a:pt x="594" y="290"/>
                    <a:pt x="594" y="290"/>
                  </a:cubicBezTo>
                  <a:cubicBezTo>
                    <a:pt x="592" y="289"/>
                    <a:pt x="590" y="289"/>
                    <a:pt x="589" y="289"/>
                  </a:cubicBezTo>
                  <a:cubicBezTo>
                    <a:pt x="588" y="289"/>
                    <a:pt x="588" y="289"/>
                    <a:pt x="588" y="289"/>
                  </a:cubicBezTo>
                  <a:cubicBezTo>
                    <a:pt x="587" y="288"/>
                    <a:pt x="586" y="288"/>
                    <a:pt x="586" y="288"/>
                  </a:cubicBezTo>
                  <a:cubicBezTo>
                    <a:pt x="585" y="288"/>
                    <a:pt x="585" y="288"/>
                    <a:pt x="585" y="288"/>
                  </a:cubicBezTo>
                  <a:cubicBezTo>
                    <a:pt x="582" y="290"/>
                    <a:pt x="582" y="290"/>
                    <a:pt x="582" y="290"/>
                  </a:cubicBezTo>
                  <a:cubicBezTo>
                    <a:pt x="585" y="287"/>
                    <a:pt x="585" y="287"/>
                    <a:pt x="585" y="287"/>
                  </a:cubicBezTo>
                  <a:cubicBezTo>
                    <a:pt x="584" y="287"/>
                    <a:pt x="584" y="286"/>
                    <a:pt x="584" y="286"/>
                  </a:cubicBezTo>
                  <a:cubicBezTo>
                    <a:pt x="583" y="286"/>
                    <a:pt x="583" y="286"/>
                    <a:pt x="583" y="286"/>
                  </a:cubicBezTo>
                  <a:cubicBezTo>
                    <a:pt x="580" y="287"/>
                    <a:pt x="580" y="287"/>
                    <a:pt x="580" y="287"/>
                  </a:cubicBezTo>
                  <a:cubicBezTo>
                    <a:pt x="583" y="285"/>
                    <a:pt x="583" y="285"/>
                    <a:pt x="583" y="285"/>
                  </a:cubicBezTo>
                  <a:cubicBezTo>
                    <a:pt x="582" y="284"/>
                    <a:pt x="582" y="284"/>
                    <a:pt x="582" y="284"/>
                  </a:cubicBezTo>
                  <a:cubicBezTo>
                    <a:pt x="582" y="284"/>
                    <a:pt x="582" y="284"/>
                    <a:pt x="582" y="284"/>
                  </a:cubicBezTo>
                  <a:cubicBezTo>
                    <a:pt x="581" y="284"/>
                    <a:pt x="579" y="284"/>
                    <a:pt x="578" y="285"/>
                  </a:cubicBezTo>
                  <a:cubicBezTo>
                    <a:pt x="578" y="285"/>
                    <a:pt x="578" y="285"/>
                    <a:pt x="578" y="285"/>
                  </a:cubicBezTo>
                  <a:cubicBezTo>
                    <a:pt x="577" y="285"/>
                    <a:pt x="577" y="285"/>
                    <a:pt x="576" y="285"/>
                  </a:cubicBezTo>
                  <a:cubicBezTo>
                    <a:pt x="575" y="285"/>
                    <a:pt x="574" y="285"/>
                    <a:pt x="573" y="285"/>
                  </a:cubicBezTo>
                  <a:cubicBezTo>
                    <a:pt x="572" y="285"/>
                    <a:pt x="571" y="285"/>
                    <a:pt x="569" y="285"/>
                  </a:cubicBezTo>
                  <a:cubicBezTo>
                    <a:pt x="567" y="284"/>
                    <a:pt x="564" y="283"/>
                    <a:pt x="562" y="282"/>
                  </a:cubicBezTo>
                  <a:cubicBezTo>
                    <a:pt x="560" y="281"/>
                    <a:pt x="558" y="280"/>
                    <a:pt x="555" y="280"/>
                  </a:cubicBezTo>
                  <a:cubicBezTo>
                    <a:pt x="553" y="279"/>
                    <a:pt x="550" y="279"/>
                    <a:pt x="546" y="278"/>
                  </a:cubicBezTo>
                  <a:cubicBezTo>
                    <a:pt x="537" y="276"/>
                    <a:pt x="537" y="276"/>
                    <a:pt x="537" y="276"/>
                  </a:cubicBezTo>
                  <a:cubicBezTo>
                    <a:pt x="537" y="275"/>
                    <a:pt x="537" y="275"/>
                    <a:pt x="536" y="275"/>
                  </a:cubicBezTo>
                  <a:cubicBezTo>
                    <a:pt x="536" y="275"/>
                    <a:pt x="536" y="275"/>
                    <a:pt x="536" y="275"/>
                  </a:cubicBezTo>
                  <a:cubicBezTo>
                    <a:pt x="535" y="274"/>
                    <a:pt x="535" y="274"/>
                    <a:pt x="535" y="273"/>
                  </a:cubicBezTo>
                  <a:cubicBezTo>
                    <a:pt x="534" y="272"/>
                    <a:pt x="534" y="271"/>
                    <a:pt x="533" y="271"/>
                  </a:cubicBezTo>
                  <a:cubicBezTo>
                    <a:pt x="533" y="270"/>
                    <a:pt x="533" y="270"/>
                    <a:pt x="533" y="270"/>
                  </a:cubicBezTo>
                  <a:cubicBezTo>
                    <a:pt x="532" y="270"/>
                    <a:pt x="531" y="270"/>
                    <a:pt x="530" y="270"/>
                  </a:cubicBezTo>
                  <a:cubicBezTo>
                    <a:pt x="529" y="270"/>
                    <a:pt x="529" y="270"/>
                    <a:pt x="528" y="270"/>
                  </a:cubicBezTo>
                  <a:cubicBezTo>
                    <a:pt x="502" y="265"/>
                    <a:pt x="502" y="265"/>
                    <a:pt x="502" y="265"/>
                  </a:cubicBezTo>
                  <a:cubicBezTo>
                    <a:pt x="501" y="265"/>
                    <a:pt x="501" y="265"/>
                    <a:pt x="500" y="265"/>
                  </a:cubicBezTo>
                  <a:cubicBezTo>
                    <a:pt x="500" y="265"/>
                    <a:pt x="500" y="265"/>
                    <a:pt x="500" y="265"/>
                  </a:cubicBezTo>
                  <a:cubicBezTo>
                    <a:pt x="499" y="265"/>
                    <a:pt x="498" y="265"/>
                    <a:pt x="497" y="265"/>
                  </a:cubicBezTo>
                  <a:cubicBezTo>
                    <a:pt x="497" y="266"/>
                    <a:pt x="497" y="266"/>
                    <a:pt x="497" y="266"/>
                  </a:cubicBezTo>
                  <a:cubicBezTo>
                    <a:pt x="496" y="266"/>
                    <a:pt x="495" y="266"/>
                    <a:pt x="494" y="267"/>
                  </a:cubicBezTo>
                  <a:cubicBezTo>
                    <a:pt x="493" y="267"/>
                    <a:pt x="493" y="267"/>
                    <a:pt x="493" y="267"/>
                  </a:cubicBezTo>
                  <a:cubicBezTo>
                    <a:pt x="493" y="267"/>
                    <a:pt x="492" y="267"/>
                    <a:pt x="492" y="267"/>
                  </a:cubicBezTo>
                  <a:cubicBezTo>
                    <a:pt x="491" y="267"/>
                    <a:pt x="491" y="267"/>
                    <a:pt x="491" y="267"/>
                  </a:cubicBezTo>
                  <a:cubicBezTo>
                    <a:pt x="483" y="267"/>
                    <a:pt x="475" y="266"/>
                    <a:pt x="467" y="266"/>
                  </a:cubicBezTo>
                  <a:cubicBezTo>
                    <a:pt x="466" y="265"/>
                    <a:pt x="465" y="265"/>
                    <a:pt x="464" y="265"/>
                  </a:cubicBezTo>
                  <a:cubicBezTo>
                    <a:pt x="461" y="265"/>
                    <a:pt x="461" y="265"/>
                    <a:pt x="461" y="265"/>
                  </a:cubicBezTo>
                  <a:cubicBezTo>
                    <a:pt x="460" y="265"/>
                    <a:pt x="459" y="265"/>
                    <a:pt x="458" y="264"/>
                  </a:cubicBezTo>
                  <a:cubicBezTo>
                    <a:pt x="454" y="264"/>
                    <a:pt x="454" y="264"/>
                    <a:pt x="454" y="264"/>
                  </a:cubicBezTo>
                  <a:cubicBezTo>
                    <a:pt x="451" y="263"/>
                    <a:pt x="448" y="263"/>
                    <a:pt x="445" y="263"/>
                  </a:cubicBezTo>
                  <a:cubicBezTo>
                    <a:pt x="444" y="263"/>
                    <a:pt x="444" y="263"/>
                    <a:pt x="443" y="263"/>
                  </a:cubicBezTo>
                  <a:cubicBezTo>
                    <a:pt x="441" y="263"/>
                    <a:pt x="439" y="263"/>
                    <a:pt x="437" y="263"/>
                  </a:cubicBezTo>
                  <a:cubicBezTo>
                    <a:pt x="428" y="264"/>
                    <a:pt x="428" y="264"/>
                    <a:pt x="428" y="264"/>
                  </a:cubicBezTo>
                  <a:cubicBezTo>
                    <a:pt x="429" y="262"/>
                    <a:pt x="429" y="262"/>
                    <a:pt x="429" y="262"/>
                  </a:cubicBezTo>
                  <a:cubicBezTo>
                    <a:pt x="429" y="261"/>
                    <a:pt x="429" y="261"/>
                    <a:pt x="429" y="261"/>
                  </a:cubicBezTo>
                  <a:cubicBezTo>
                    <a:pt x="428" y="261"/>
                    <a:pt x="428" y="261"/>
                    <a:pt x="428" y="261"/>
                  </a:cubicBezTo>
                  <a:cubicBezTo>
                    <a:pt x="428" y="260"/>
                    <a:pt x="428" y="260"/>
                    <a:pt x="428" y="260"/>
                  </a:cubicBezTo>
                  <a:cubicBezTo>
                    <a:pt x="428" y="260"/>
                    <a:pt x="428" y="260"/>
                    <a:pt x="428" y="260"/>
                  </a:cubicBezTo>
                  <a:cubicBezTo>
                    <a:pt x="427" y="259"/>
                    <a:pt x="427" y="259"/>
                    <a:pt x="427" y="259"/>
                  </a:cubicBezTo>
                  <a:cubicBezTo>
                    <a:pt x="427" y="259"/>
                    <a:pt x="427" y="259"/>
                    <a:pt x="427" y="259"/>
                  </a:cubicBezTo>
                  <a:cubicBezTo>
                    <a:pt x="427" y="258"/>
                    <a:pt x="427" y="258"/>
                    <a:pt x="427" y="258"/>
                  </a:cubicBezTo>
                  <a:cubicBezTo>
                    <a:pt x="426" y="258"/>
                    <a:pt x="426" y="257"/>
                    <a:pt x="425" y="257"/>
                  </a:cubicBezTo>
                  <a:cubicBezTo>
                    <a:pt x="425" y="256"/>
                    <a:pt x="425" y="256"/>
                    <a:pt x="425" y="256"/>
                  </a:cubicBezTo>
                  <a:cubicBezTo>
                    <a:pt x="423" y="254"/>
                    <a:pt x="420" y="251"/>
                    <a:pt x="419" y="248"/>
                  </a:cubicBezTo>
                  <a:cubicBezTo>
                    <a:pt x="415" y="238"/>
                    <a:pt x="415" y="238"/>
                    <a:pt x="415" y="238"/>
                  </a:cubicBezTo>
                  <a:cubicBezTo>
                    <a:pt x="415" y="238"/>
                    <a:pt x="414" y="237"/>
                    <a:pt x="414" y="237"/>
                  </a:cubicBezTo>
                  <a:cubicBezTo>
                    <a:pt x="413" y="235"/>
                    <a:pt x="413" y="235"/>
                    <a:pt x="413" y="235"/>
                  </a:cubicBezTo>
                  <a:cubicBezTo>
                    <a:pt x="413" y="235"/>
                    <a:pt x="413" y="235"/>
                    <a:pt x="413" y="235"/>
                  </a:cubicBezTo>
                  <a:cubicBezTo>
                    <a:pt x="413" y="235"/>
                    <a:pt x="413" y="235"/>
                    <a:pt x="413" y="235"/>
                  </a:cubicBezTo>
                  <a:cubicBezTo>
                    <a:pt x="413" y="235"/>
                    <a:pt x="413" y="235"/>
                    <a:pt x="413" y="235"/>
                  </a:cubicBezTo>
                  <a:cubicBezTo>
                    <a:pt x="413" y="234"/>
                    <a:pt x="413" y="234"/>
                    <a:pt x="413" y="234"/>
                  </a:cubicBezTo>
                  <a:cubicBezTo>
                    <a:pt x="412" y="234"/>
                    <a:pt x="412" y="234"/>
                    <a:pt x="412" y="234"/>
                  </a:cubicBezTo>
                  <a:cubicBezTo>
                    <a:pt x="412" y="234"/>
                    <a:pt x="412" y="234"/>
                    <a:pt x="412" y="234"/>
                  </a:cubicBezTo>
                  <a:cubicBezTo>
                    <a:pt x="411" y="234"/>
                    <a:pt x="411" y="234"/>
                    <a:pt x="411" y="234"/>
                  </a:cubicBezTo>
                  <a:cubicBezTo>
                    <a:pt x="410" y="233"/>
                    <a:pt x="409" y="232"/>
                    <a:pt x="409" y="231"/>
                  </a:cubicBezTo>
                  <a:cubicBezTo>
                    <a:pt x="409" y="230"/>
                    <a:pt x="409" y="230"/>
                    <a:pt x="409" y="230"/>
                  </a:cubicBezTo>
                  <a:cubicBezTo>
                    <a:pt x="409" y="229"/>
                    <a:pt x="409" y="229"/>
                    <a:pt x="409" y="228"/>
                  </a:cubicBezTo>
                  <a:cubicBezTo>
                    <a:pt x="408" y="228"/>
                    <a:pt x="408" y="228"/>
                    <a:pt x="407" y="228"/>
                  </a:cubicBezTo>
                  <a:cubicBezTo>
                    <a:pt x="406" y="228"/>
                    <a:pt x="404" y="228"/>
                    <a:pt x="403" y="227"/>
                  </a:cubicBezTo>
                  <a:cubicBezTo>
                    <a:pt x="399" y="226"/>
                    <a:pt x="395" y="224"/>
                    <a:pt x="393" y="222"/>
                  </a:cubicBezTo>
                  <a:cubicBezTo>
                    <a:pt x="392" y="221"/>
                    <a:pt x="392" y="221"/>
                    <a:pt x="392" y="221"/>
                  </a:cubicBezTo>
                  <a:cubicBezTo>
                    <a:pt x="391" y="221"/>
                    <a:pt x="390" y="220"/>
                    <a:pt x="390" y="220"/>
                  </a:cubicBezTo>
                  <a:cubicBezTo>
                    <a:pt x="377" y="212"/>
                    <a:pt x="377" y="212"/>
                    <a:pt x="377" y="212"/>
                  </a:cubicBezTo>
                  <a:cubicBezTo>
                    <a:pt x="376" y="212"/>
                    <a:pt x="374" y="211"/>
                    <a:pt x="372" y="211"/>
                  </a:cubicBezTo>
                  <a:cubicBezTo>
                    <a:pt x="372" y="211"/>
                    <a:pt x="372" y="211"/>
                    <a:pt x="372" y="211"/>
                  </a:cubicBezTo>
                  <a:cubicBezTo>
                    <a:pt x="371" y="211"/>
                    <a:pt x="370" y="211"/>
                    <a:pt x="370" y="211"/>
                  </a:cubicBezTo>
                  <a:cubicBezTo>
                    <a:pt x="363" y="210"/>
                    <a:pt x="355" y="209"/>
                    <a:pt x="348" y="209"/>
                  </a:cubicBezTo>
                  <a:cubicBezTo>
                    <a:pt x="346" y="209"/>
                    <a:pt x="346" y="209"/>
                    <a:pt x="346" y="209"/>
                  </a:cubicBezTo>
                  <a:cubicBezTo>
                    <a:pt x="343" y="208"/>
                    <a:pt x="339" y="208"/>
                    <a:pt x="336" y="208"/>
                  </a:cubicBezTo>
                  <a:cubicBezTo>
                    <a:pt x="333" y="208"/>
                    <a:pt x="331" y="207"/>
                    <a:pt x="328" y="207"/>
                  </a:cubicBezTo>
                  <a:cubicBezTo>
                    <a:pt x="327" y="206"/>
                    <a:pt x="327" y="206"/>
                    <a:pt x="327" y="206"/>
                  </a:cubicBezTo>
                  <a:cubicBezTo>
                    <a:pt x="327" y="206"/>
                    <a:pt x="327" y="206"/>
                    <a:pt x="327" y="206"/>
                  </a:cubicBezTo>
                  <a:cubicBezTo>
                    <a:pt x="325" y="206"/>
                    <a:pt x="325" y="205"/>
                    <a:pt x="324" y="204"/>
                  </a:cubicBezTo>
                  <a:cubicBezTo>
                    <a:pt x="323" y="203"/>
                    <a:pt x="322" y="201"/>
                    <a:pt x="321" y="199"/>
                  </a:cubicBezTo>
                  <a:cubicBezTo>
                    <a:pt x="319" y="196"/>
                    <a:pt x="321" y="193"/>
                    <a:pt x="322" y="191"/>
                  </a:cubicBezTo>
                  <a:cubicBezTo>
                    <a:pt x="323" y="191"/>
                    <a:pt x="323" y="191"/>
                    <a:pt x="323" y="191"/>
                  </a:cubicBezTo>
                  <a:cubicBezTo>
                    <a:pt x="323" y="191"/>
                    <a:pt x="323" y="190"/>
                    <a:pt x="323" y="190"/>
                  </a:cubicBezTo>
                  <a:cubicBezTo>
                    <a:pt x="324" y="189"/>
                    <a:pt x="324" y="189"/>
                    <a:pt x="324" y="189"/>
                  </a:cubicBezTo>
                  <a:cubicBezTo>
                    <a:pt x="324" y="188"/>
                    <a:pt x="324" y="188"/>
                    <a:pt x="324" y="188"/>
                  </a:cubicBezTo>
                  <a:cubicBezTo>
                    <a:pt x="325" y="187"/>
                    <a:pt x="325" y="186"/>
                    <a:pt x="326" y="185"/>
                  </a:cubicBezTo>
                  <a:cubicBezTo>
                    <a:pt x="326" y="185"/>
                    <a:pt x="326" y="185"/>
                    <a:pt x="326" y="185"/>
                  </a:cubicBezTo>
                  <a:cubicBezTo>
                    <a:pt x="326" y="185"/>
                    <a:pt x="326" y="184"/>
                    <a:pt x="326" y="184"/>
                  </a:cubicBezTo>
                  <a:cubicBezTo>
                    <a:pt x="326" y="183"/>
                    <a:pt x="326" y="183"/>
                    <a:pt x="326" y="183"/>
                  </a:cubicBezTo>
                  <a:cubicBezTo>
                    <a:pt x="327" y="182"/>
                    <a:pt x="327" y="182"/>
                    <a:pt x="327" y="182"/>
                  </a:cubicBezTo>
                  <a:cubicBezTo>
                    <a:pt x="327" y="182"/>
                    <a:pt x="327" y="182"/>
                    <a:pt x="327" y="182"/>
                  </a:cubicBezTo>
                  <a:cubicBezTo>
                    <a:pt x="326" y="179"/>
                    <a:pt x="326" y="176"/>
                    <a:pt x="326" y="173"/>
                  </a:cubicBezTo>
                  <a:cubicBezTo>
                    <a:pt x="327" y="172"/>
                    <a:pt x="327" y="172"/>
                    <a:pt x="327" y="172"/>
                  </a:cubicBezTo>
                  <a:cubicBezTo>
                    <a:pt x="327" y="171"/>
                    <a:pt x="327" y="169"/>
                    <a:pt x="327" y="169"/>
                  </a:cubicBezTo>
                  <a:cubicBezTo>
                    <a:pt x="326" y="168"/>
                    <a:pt x="326" y="168"/>
                    <a:pt x="326" y="168"/>
                  </a:cubicBezTo>
                  <a:cubicBezTo>
                    <a:pt x="325" y="166"/>
                    <a:pt x="324" y="164"/>
                    <a:pt x="323" y="162"/>
                  </a:cubicBezTo>
                  <a:cubicBezTo>
                    <a:pt x="319" y="158"/>
                    <a:pt x="319" y="158"/>
                    <a:pt x="319" y="158"/>
                  </a:cubicBezTo>
                  <a:cubicBezTo>
                    <a:pt x="318" y="156"/>
                    <a:pt x="317" y="154"/>
                    <a:pt x="317" y="153"/>
                  </a:cubicBezTo>
                  <a:cubicBezTo>
                    <a:pt x="316" y="152"/>
                    <a:pt x="316" y="152"/>
                    <a:pt x="316" y="151"/>
                  </a:cubicBezTo>
                  <a:cubicBezTo>
                    <a:pt x="316" y="151"/>
                    <a:pt x="316" y="151"/>
                    <a:pt x="316" y="151"/>
                  </a:cubicBezTo>
                  <a:cubicBezTo>
                    <a:pt x="316" y="150"/>
                    <a:pt x="315" y="148"/>
                    <a:pt x="314" y="147"/>
                  </a:cubicBezTo>
                  <a:cubicBezTo>
                    <a:pt x="314" y="146"/>
                    <a:pt x="313" y="146"/>
                    <a:pt x="313" y="145"/>
                  </a:cubicBezTo>
                  <a:cubicBezTo>
                    <a:pt x="311" y="144"/>
                    <a:pt x="310" y="143"/>
                    <a:pt x="309" y="143"/>
                  </a:cubicBezTo>
                  <a:cubicBezTo>
                    <a:pt x="309" y="143"/>
                    <a:pt x="309" y="143"/>
                    <a:pt x="309" y="143"/>
                  </a:cubicBezTo>
                  <a:cubicBezTo>
                    <a:pt x="309" y="143"/>
                    <a:pt x="308" y="143"/>
                    <a:pt x="308" y="143"/>
                  </a:cubicBezTo>
                  <a:cubicBezTo>
                    <a:pt x="304" y="143"/>
                    <a:pt x="303" y="142"/>
                    <a:pt x="300" y="140"/>
                  </a:cubicBezTo>
                  <a:cubicBezTo>
                    <a:pt x="299" y="139"/>
                    <a:pt x="299" y="139"/>
                    <a:pt x="299" y="139"/>
                  </a:cubicBezTo>
                  <a:cubicBezTo>
                    <a:pt x="299" y="139"/>
                    <a:pt x="299" y="139"/>
                    <a:pt x="299" y="139"/>
                  </a:cubicBezTo>
                  <a:cubicBezTo>
                    <a:pt x="298" y="139"/>
                    <a:pt x="298" y="139"/>
                    <a:pt x="297" y="139"/>
                  </a:cubicBezTo>
                  <a:cubicBezTo>
                    <a:pt x="296" y="139"/>
                    <a:pt x="295" y="139"/>
                    <a:pt x="294" y="139"/>
                  </a:cubicBezTo>
                  <a:cubicBezTo>
                    <a:pt x="294" y="139"/>
                    <a:pt x="294" y="139"/>
                    <a:pt x="294" y="139"/>
                  </a:cubicBezTo>
                  <a:cubicBezTo>
                    <a:pt x="293" y="139"/>
                    <a:pt x="292" y="139"/>
                    <a:pt x="291" y="139"/>
                  </a:cubicBezTo>
                  <a:cubicBezTo>
                    <a:pt x="291" y="139"/>
                    <a:pt x="290" y="138"/>
                    <a:pt x="289" y="138"/>
                  </a:cubicBezTo>
                  <a:cubicBezTo>
                    <a:pt x="289" y="138"/>
                    <a:pt x="289" y="138"/>
                    <a:pt x="289" y="138"/>
                  </a:cubicBezTo>
                  <a:cubicBezTo>
                    <a:pt x="288" y="137"/>
                    <a:pt x="288" y="137"/>
                    <a:pt x="288" y="137"/>
                  </a:cubicBezTo>
                  <a:cubicBezTo>
                    <a:pt x="285" y="135"/>
                    <a:pt x="283" y="134"/>
                    <a:pt x="281" y="131"/>
                  </a:cubicBezTo>
                  <a:cubicBezTo>
                    <a:pt x="280" y="129"/>
                    <a:pt x="278" y="128"/>
                    <a:pt x="277" y="128"/>
                  </a:cubicBezTo>
                  <a:cubicBezTo>
                    <a:pt x="276" y="127"/>
                    <a:pt x="275" y="127"/>
                    <a:pt x="275" y="127"/>
                  </a:cubicBezTo>
                  <a:cubicBezTo>
                    <a:pt x="273" y="126"/>
                    <a:pt x="273" y="126"/>
                    <a:pt x="273" y="126"/>
                  </a:cubicBezTo>
                  <a:cubicBezTo>
                    <a:pt x="273" y="126"/>
                    <a:pt x="273" y="126"/>
                    <a:pt x="272" y="126"/>
                  </a:cubicBezTo>
                  <a:cubicBezTo>
                    <a:pt x="271" y="126"/>
                    <a:pt x="271" y="126"/>
                    <a:pt x="271" y="126"/>
                  </a:cubicBezTo>
                  <a:cubicBezTo>
                    <a:pt x="270" y="125"/>
                    <a:pt x="269" y="125"/>
                    <a:pt x="269" y="124"/>
                  </a:cubicBezTo>
                  <a:cubicBezTo>
                    <a:pt x="268" y="123"/>
                    <a:pt x="269" y="121"/>
                    <a:pt x="269" y="121"/>
                  </a:cubicBezTo>
                  <a:cubicBezTo>
                    <a:pt x="269" y="120"/>
                    <a:pt x="269" y="120"/>
                    <a:pt x="269" y="120"/>
                  </a:cubicBezTo>
                  <a:cubicBezTo>
                    <a:pt x="268" y="120"/>
                    <a:pt x="267" y="120"/>
                    <a:pt x="267" y="119"/>
                  </a:cubicBezTo>
                  <a:cubicBezTo>
                    <a:pt x="266" y="119"/>
                    <a:pt x="266" y="118"/>
                    <a:pt x="265" y="117"/>
                  </a:cubicBezTo>
                  <a:cubicBezTo>
                    <a:pt x="265" y="116"/>
                    <a:pt x="265" y="115"/>
                    <a:pt x="265" y="113"/>
                  </a:cubicBezTo>
                  <a:cubicBezTo>
                    <a:pt x="259" y="112"/>
                    <a:pt x="259" y="112"/>
                    <a:pt x="259" y="112"/>
                  </a:cubicBezTo>
                  <a:cubicBezTo>
                    <a:pt x="258" y="112"/>
                    <a:pt x="258" y="112"/>
                    <a:pt x="258" y="112"/>
                  </a:cubicBezTo>
                  <a:cubicBezTo>
                    <a:pt x="258" y="112"/>
                    <a:pt x="258" y="112"/>
                    <a:pt x="258" y="112"/>
                  </a:cubicBezTo>
                  <a:cubicBezTo>
                    <a:pt x="258" y="112"/>
                    <a:pt x="258" y="112"/>
                    <a:pt x="258" y="112"/>
                  </a:cubicBezTo>
                  <a:cubicBezTo>
                    <a:pt x="257" y="112"/>
                    <a:pt x="257" y="112"/>
                    <a:pt x="256" y="112"/>
                  </a:cubicBezTo>
                  <a:cubicBezTo>
                    <a:pt x="256" y="112"/>
                    <a:pt x="255" y="112"/>
                    <a:pt x="255" y="112"/>
                  </a:cubicBezTo>
                  <a:cubicBezTo>
                    <a:pt x="255" y="112"/>
                    <a:pt x="255" y="112"/>
                    <a:pt x="254" y="112"/>
                  </a:cubicBezTo>
                  <a:cubicBezTo>
                    <a:pt x="254" y="112"/>
                    <a:pt x="254" y="112"/>
                    <a:pt x="254" y="112"/>
                  </a:cubicBezTo>
                  <a:cubicBezTo>
                    <a:pt x="253" y="112"/>
                    <a:pt x="253" y="112"/>
                    <a:pt x="253" y="112"/>
                  </a:cubicBezTo>
                  <a:cubicBezTo>
                    <a:pt x="252" y="112"/>
                    <a:pt x="252" y="112"/>
                    <a:pt x="252" y="112"/>
                  </a:cubicBezTo>
                  <a:cubicBezTo>
                    <a:pt x="251" y="112"/>
                    <a:pt x="251" y="112"/>
                    <a:pt x="251" y="112"/>
                  </a:cubicBezTo>
                  <a:cubicBezTo>
                    <a:pt x="251" y="112"/>
                    <a:pt x="251" y="112"/>
                    <a:pt x="251" y="112"/>
                  </a:cubicBezTo>
                  <a:cubicBezTo>
                    <a:pt x="251" y="112"/>
                    <a:pt x="251" y="113"/>
                    <a:pt x="251" y="114"/>
                  </a:cubicBezTo>
                  <a:cubicBezTo>
                    <a:pt x="251" y="114"/>
                    <a:pt x="250" y="115"/>
                    <a:pt x="250" y="115"/>
                  </a:cubicBezTo>
                  <a:cubicBezTo>
                    <a:pt x="251" y="115"/>
                    <a:pt x="251" y="116"/>
                    <a:pt x="251" y="117"/>
                  </a:cubicBezTo>
                  <a:cubicBezTo>
                    <a:pt x="251" y="119"/>
                    <a:pt x="251" y="119"/>
                    <a:pt x="251" y="119"/>
                  </a:cubicBezTo>
                  <a:cubicBezTo>
                    <a:pt x="250" y="119"/>
                    <a:pt x="250" y="119"/>
                    <a:pt x="250" y="119"/>
                  </a:cubicBezTo>
                  <a:cubicBezTo>
                    <a:pt x="250" y="119"/>
                    <a:pt x="250" y="119"/>
                    <a:pt x="250" y="119"/>
                  </a:cubicBezTo>
                  <a:cubicBezTo>
                    <a:pt x="250" y="119"/>
                    <a:pt x="250" y="119"/>
                    <a:pt x="250" y="119"/>
                  </a:cubicBezTo>
                  <a:cubicBezTo>
                    <a:pt x="250" y="120"/>
                    <a:pt x="250" y="120"/>
                    <a:pt x="250" y="120"/>
                  </a:cubicBezTo>
                  <a:cubicBezTo>
                    <a:pt x="250" y="121"/>
                    <a:pt x="247" y="125"/>
                    <a:pt x="244" y="126"/>
                  </a:cubicBezTo>
                  <a:cubicBezTo>
                    <a:pt x="241" y="128"/>
                    <a:pt x="238" y="128"/>
                    <a:pt x="234" y="129"/>
                  </a:cubicBezTo>
                  <a:cubicBezTo>
                    <a:pt x="234" y="129"/>
                    <a:pt x="234" y="129"/>
                    <a:pt x="233" y="129"/>
                  </a:cubicBezTo>
                  <a:cubicBezTo>
                    <a:pt x="233" y="129"/>
                    <a:pt x="231" y="129"/>
                    <a:pt x="231" y="129"/>
                  </a:cubicBezTo>
                  <a:cubicBezTo>
                    <a:pt x="230" y="129"/>
                    <a:pt x="227" y="135"/>
                    <a:pt x="227" y="137"/>
                  </a:cubicBezTo>
                  <a:cubicBezTo>
                    <a:pt x="228" y="139"/>
                    <a:pt x="228" y="141"/>
                    <a:pt x="228" y="143"/>
                  </a:cubicBezTo>
                  <a:cubicBezTo>
                    <a:pt x="228" y="144"/>
                    <a:pt x="228" y="144"/>
                    <a:pt x="228" y="144"/>
                  </a:cubicBezTo>
                  <a:cubicBezTo>
                    <a:pt x="229" y="146"/>
                    <a:pt x="229" y="149"/>
                    <a:pt x="230" y="151"/>
                  </a:cubicBezTo>
                  <a:cubicBezTo>
                    <a:pt x="230" y="158"/>
                    <a:pt x="225" y="160"/>
                    <a:pt x="221" y="162"/>
                  </a:cubicBezTo>
                  <a:cubicBezTo>
                    <a:pt x="220" y="163"/>
                    <a:pt x="220" y="163"/>
                    <a:pt x="220" y="163"/>
                  </a:cubicBezTo>
                  <a:cubicBezTo>
                    <a:pt x="217" y="164"/>
                    <a:pt x="215" y="165"/>
                    <a:pt x="213" y="165"/>
                  </a:cubicBezTo>
                  <a:cubicBezTo>
                    <a:pt x="212" y="165"/>
                    <a:pt x="210" y="165"/>
                    <a:pt x="208" y="164"/>
                  </a:cubicBezTo>
                  <a:cubicBezTo>
                    <a:pt x="207" y="164"/>
                    <a:pt x="204" y="163"/>
                    <a:pt x="201" y="163"/>
                  </a:cubicBezTo>
                  <a:cubicBezTo>
                    <a:pt x="200" y="163"/>
                    <a:pt x="199" y="163"/>
                    <a:pt x="199" y="163"/>
                  </a:cubicBezTo>
                  <a:cubicBezTo>
                    <a:pt x="198" y="164"/>
                    <a:pt x="197" y="164"/>
                    <a:pt x="196" y="164"/>
                  </a:cubicBezTo>
                  <a:cubicBezTo>
                    <a:pt x="190" y="164"/>
                    <a:pt x="184" y="161"/>
                    <a:pt x="184" y="161"/>
                  </a:cubicBezTo>
                  <a:cubicBezTo>
                    <a:pt x="183" y="160"/>
                    <a:pt x="183" y="160"/>
                    <a:pt x="183" y="160"/>
                  </a:cubicBezTo>
                  <a:cubicBezTo>
                    <a:pt x="182" y="159"/>
                    <a:pt x="180" y="158"/>
                    <a:pt x="179" y="158"/>
                  </a:cubicBezTo>
                  <a:cubicBezTo>
                    <a:pt x="179" y="158"/>
                    <a:pt x="179" y="158"/>
                    <a:pt x="179" y="158"/>
                  </a:cubicBezTo>
                  <a:cubicBezTo>
                    <a:pt x="178" y="159"/>
                    <a:pt x="178" y="159"/>
                    <a:pt x="178" y="159"/>
                  </a:cubicBezTo>
                  <a:cubicBezTo>
                    <a:pt x="166" y="195"/>
                    <a:pt x="166" y="195"/>
                    <a:pt x="166" y="195"/>
                  </a:cubicBezTo>
                  <a:cubicBezTo>
                    <a:pt x="166" y="195"/>
                    <a:pt x="166" y="195"/>
                    <a:pt x="166" y="195"/>
                  </a:cubicBezTo>
                  <a:cubicBezTo>
                    <a:pt x="168" y="195"/>
                    <a:pt x="169" y="195"/>
                    <a:pt x="170" y="196"/>
                  </a:cubicBezTo>
                  <a:cubicBezTo>
                    <a:pt x="172" y="198"/>
                    <a:pt x="172" y="200"/>
                    <a:pt x="171" y="203"/>
                  </a:cubicBezTo>
                  <a:cubicBezTo>
                    <a:pt x="171" y="203"/>
                    <a:pt x="171" y="203"/>
                    <a:pt x="171" y="204"/>
                  </a:cubicBezTo>
                  <a:cubicBezTo>
                    <a:pt x="171" y="206"/>
                    <a:pt x="169" y="206"/>
                    <a:pt x="165" y="206"/>
                  </a:cubicBezTo>
                  <a:cubicBezTo>
                    <a:pt x="164" y="206"/>
                    <a:pt x="163" y="206"/>
                    <a:pt x="162" y="206"/>
                  </a:cubicBezTo>
                  <a:cubicBezTo>
                    <a:pt x="161" y="206"/>
                    <a:pt x="161" y="206"/>
                    <a:pt x="161" y="206"/>
                  </a:cubicBezTo>
                  <a:cubicBezTo>
                    <a:pt x="160" y="206"/>
                    <a:pt x="160" y="206"/>
                    <a:pt x="159" y="206"/>
                  </a:cubicBezTo>
                  <a:cubicBezTo>
                    <a:pt x="158" y="206"/>
                    <a:pt x="158" y="206"/>
                    <a:pt x="157" y="206"/>
                  </a:cubicBezTo>
                  <a:cubicBezTo>
                    <a:pt x="155" y="206"/>
                    <a:pt x="153" y="206"/>
                    <a:pt x="151" y="204"/>
                  </a:cubicBezTo>
                  <a:cubicBezTo>
                    <a:pt x="151" y="204"/>
                    <a:pt x="151" y="203"/>
                    <a:pt x="151" y="203"/>
                  </a:cubicBezTo>
                  <a:cubicBezTo>
                    <a:pt x="150" y="203"/>
                    <a:pt x="149" y="203"/>
                    <a:pt x="148" y="203"/>
                  </a:cubicBezTo>
                  <a:cubicBezTo>
                    <a:pt x="148" y="204"/>
                    <a:pt x="147" y="204"/>
                    <a:pt x="147" y="204"/>
                  </a:cubicBezTo>
                  <a:cubicBezTo>
                    <a:pt x="135" y="207"/>
                    <a:pt x="135" y="207"/>
                    <a:pt x="135" y="207"/>
                  </a:cubicBezTo>
                  <a:cubicBezTo>
                    <a:pt x="131" y="208"/>
                    <a:pt x="127" y="209"/>
                    <a:pt x="123" y="210"/>
                  </a:cubicBezTo>
                  <a:cubicBezTo>
                    <a:pt x="122" y="210"/>
                    <a:pt x="122" y="210"/>
                    <a:pt x="122" y="210"/>
                  </a:cubicBezTo>
                  <a:cubicBezTo>
                    <a:pt x="122" y="210"/>
                    <a:pt x="121" y="211"/>
                    <a:pt x="120" y="211"/>
                  </a:cubicBezTo>
                  <a:cubicBezTo>
                    <a:pt x="120" y="211"/>
                    <a:pt x="120" y="211"/>
                    <a:pt x="120" y="211"/>
                  </a:cubicBezTo>
                  <a:cubicBezTo>
                    <a:pt x="121" y="211"/>
                    <a:pt x="122" y="211"/>
                    <a:pt x="122" y="211"/>
                  </a:cubicBezTo>
                  <a:cubicBezTo>
                    <a:pt x="125" y="211"/>
                    <a:pt x="128" y="212"/>
                    <a:pt x="130" y="213"/>
                  </a:cubicBezTo>
                  <a:cubicBezTo>
                    <a:pt x="132" y="214"/>
                    <a:pt x="132" y="214"/>
                    <a:pt x="132" y="214"/>
                  </a:cubicBezTo>
                  <a:cubicBezTo>
                    <a:pt x="130" y="216"/>
                    <a:pt x="130" y="216"/>
                    <a:pt x="130" y="216"/>
                  </a:cubicBezTo>
                  <a:cubicBezTo>
                    <a:pt x="130" y="217"/>
                    <a:pt x="129" y="218"/>
                    <a:pt x="129" y="218"/>
                  </a:cubicBezTo>
                  <a:cubicBezTo>
                    <a:pt x="128" y="218"/>
                    <a:pt x="128" y="218"/>
                    <a:pt x="128" y="219"/>
                  </a:cubicBezTo>
                  <a:cubicBezTo>
                    <a:pt x="128" y="220"/>
                    <a:pt x="128" y="222"/>
                    <a:pt x="128" y="224"/>
                  </a:cubicBezTo>
                  <a:cubicBezTo>
                    <a:pt x="129" y="226"/>
                    <a:pt x="129" y="226"/>
                    <a:pt x="129" y="226"/>
                  </a:cubicBezTo>
                  <a:cubicBezTo>
                    <a:pt x="129" y="229"/>
                    <a:pt x="129" y="231"/>
                    <a:pt x="130" y="233"/>
                  </a:cubicBezTo>
                  <a:cubicBezTo>
                    <a:pt x="131" y="234"/>
                    <a:pt x="131" y="235"/>
                    <a:pt x="132" y="236"/>
                  </a:cubicBezTo>
                  <a:cubicBezTo>
                    <a:pt x="132" y="237"/>
                    <a:pt x="132" y="237"/>
                    <a:pt x="132" y="237"/>
                  </a:cubicBezTo>
                  <a:cubicBezTo>
                    <a:pt x="132" y="238"/>
                    <a:pt x="133" y="239"/>
                    <a:pt x="134" y="241"/>
                  </a:cubicBezTo>
                  <a:cubicBezTo>
                    <a:pt x="134" y="242"/>
                    <a:pt x="135" y="243"/>
                    <a:pt x="135" y="244"/>
                  </a:cubicBezTo>
                  <a:cubicBezTo>
                    <a:pt x="135" y="244"/>
                    <a:pt x="135" y="244"/>
                    <a:pt x="135" y="244"/>
                  </a:cubicBezTo>
                  <a:cubicBezTo>
                    <a:pt x="135" y="245"/>
                    <a:pt x="135" y="245"/>
                    <a:pt x="135" y="245"/>
                  </a:cubicBezTo>
                  <a:cubicBezTo>
                    <a:pt x="137" y="251"/>
                    <a:pt x="137" y="252"/>
                    <a:pt x="136" y="253"/>
                  </a:cubicBezTo>
                  <a:cubicBezTo>
                    <a:pt x="136" y="254"/>
                    <a:pt x="134" y="254"/>
                    <a:pt x="132" y="255"/>
                  </a:cubicBezTo>
                  <a:cubicBezTo>
                    <a:pt x="131" y="255"/>
                    <a:pt x="131" y="255"/>
                    <a:pt x="130" y="255"/>
                  </a:cubicBezTo>
                  <a:cubicBezTo>
                    <a:pt x="131" y="256"/>
                    <a:pt x="132" y="256"/>
                    <a:pt x="132" y="258"/>
                  </a:cubicBezTo>
                  <a:cubicBezTo>
                    <a:pt x="132" y="260"/>
                    <a:pt x="129" y="261"/>
                    <a:pt x="127" y="261"/>
                  </a:cubicBezTo>
                  <a:cubicBezTo>
                    <a:pt x="126" y="262"/>
                    <a:pt x="126" y="262"/>
                    <a:pt x="125" y="262"/>
                  </a:cubicBezTo>
                  <a:cubicBezTo>
                    <a:pt x="125" y="263"/>
                    <a:pt x="125" y="264"/>
                    <a:pt x="125" y="265"/>
                  </a:cubicBezTo>
                  <a:cubicBezTo>
                    <a:pt x="125" y="266"/>
                    <a:pt x="125" y="266"/>
                    <a:pt x="125" y="266"/>
                  </a:cubicBezTo>
                  <a:cubicBezTo>
                    <a:pt x="126" y="268"/>
                    <a:pt x="126" y="271"/>
                    <a:pt x="126" y="273"/>
                  </a:cubicBezTo>
                  <a:cubicBezTo>
                    <a:pt x="126" y="274"/>
                    <a:pt x="126" y="274"/>
                    <a:pt x="126" y="274"/>
                  </a:cubicBezTo>
                  <a:cubicBezTo>
                    <a:pt x="126" y="274"/>
                    <a:pt x="126" y="274"/>
                    <a:pt x="126" y="274"/>
                  </a:cubicBezTo>
                  <a:cubicBezTo>
                    <a:pt x="126" y="275"/>
                    <a:pt x="126" y="275"/>
                    <a:pt x="126" y="275"/>
                  </a:cubicBezTo>
                  <a:cubicBezTo>
                    <a:pt x="126" y="277"/>
                    <a:pt x="126" y="278"/>
                    <a:pt x="125" y="278"/>
                  </a:cubicBezTo>
                  <a:cubicBezTo>
                    <a:pt x="125" y="281"/>
                    <a:pt x="125" y="281"/>
                    <a:pt x="125" y="281"/>
                  </a:cubicBezTo>
                  <a:cubicBezTo>
                    <a:pt x="124" y="279"/>
                    <a:pt x="124" y="279"/>
                    <a:pt x="124" y="279"/>
                  </a:cubicBezTo>
                  <a:cubicBezTo>
                    <a:pt x="123" y="280"/>
                    <a:pt x="122" y="280"/>
                    <a:pt x="122" y="280"/>
                  </a:cubicBezTo>
                  <a:cubicBezTo>
                    <a:pt x="119" y="281"/>
                    <a:pt x="119" y="281"/>
                    <a:pt x="119" y="281"/>
                  </a:cubicBezTo>
                  <a:cubicBezTo>
                    <a:pt x="115" y="283"/>
                    <a:pt x="111" y="284"/>
                    <a:pt x="107" y="286"/>
                  </a:cubicBezTo>
                  <a:cubicBezTo>
                    <a:pt x="106" y="286"/>
                    <a:pt x="105" y="287"/>
                    <a:pt x="104" y="287"/>
                  </a:cubicBezTo>
                  <a:cubicBezTo>
                    <a:pt x="103" y="287"/>
                    <a:pt x="103" y="287"/>
                    <a:pt x="103" y="287"/>
                  </a:cubicBezTo>
                  <a:cubicBezTo>
                    <a:pt x="101" y="288"/>
                    <a:pt x="98" y="289"/>
                    <a:pt x="96" y="290"/>
                  </a:cubicBezTo>
                  <a:cubicBezTo>
                    <a:pt x="95" y="291"/>
                    <a:pt x="95" y="291"/>
                    <a:pt x="95" y="291"/>
                  </a:cubicBezTo>
                  <a:cubicBezTo>
                    <a:pt x="94" y="291"/>
                    <a:pt x="93" y="292"/>
                    <a:pt x="92" y="294"/>
                  </a:cubicBezTo>
                  <a:cubicBezTo>
                    <a:pt x="92" y="294"/>
                    <a:pt x="92" y="294"/>
                    <a:pt x="92" y="294"/>
                  </a:cubicBezTo>
                  <a:cubicBezTo>
                    <a:pt x="91" y="294"/>
                    <a:pt x="91" y="295"/>
                    <a:pt x="91" y="295"/>
                  </a:cubicBezTo>
                  <a:cubicBezTo>
                    <a:pt x="90" y="296"/>
                    <a:pt x="90" y="296"/>
                    <a:pt x="90" y="296"/>
                  </a:cubicBezTo>
                  <a:cubicBezTo>
                    <a:pt x="89" y="297"/>
                    <a:pt x="89" y="297"/>
                    <a:pt x="89" y="297"/>
                  </a:cubicBezTo>
                  <a:cubicBezTo>
                    <a:pt x="89" y="297"/>
                    <a:pt x="88" y="298"/>
                    <a:pt x="88" y="298"/>
                  </a:cubicBezTo>
                  <a:cubicBezTo>
                    <a:pt x="87" y="299"/>
                    <a:pt x="87" y="299"/>
                    <a:pt x="86" y="299"/>
                  </a:cubicBezTo>
                  <a:cubicBezTo>
                    <a:pt x="86" y="299"/>
                    <a:pt x="85" y="300"/>
                    <a:pt x="85" y="300"/>
                  </a:cubicBezTo>
                  <a:cubicBezTo>
                    <a:pt x="80" y="300"/>
                    <a:pt x="80" y="300"/>
                    <a:pt x="80" y="300"/>
                  </a:cubicBezTo>
                  <a:cubicBezTo>
                    <a:pt x="78" y="301"/>
                    <a:pt x="76" y="301"/>
                    <a:pt x="74" y="301"/>
                  </a:cubicBezTo>
                  <a:cubicBezTo>
                    <a:pt x="73" y="301"/>
                    <a:pt x="73" y="301"/>
                    <a:pt x="73" y="301"/>
                  </a:cubicBezTo>
                  <a:cubicBezTo>
                    <a:pt x="72" y="301"/>
                    <a:pt x="70" y="301"/>
                    <a:pt x="69" y="301"/>
                  </a:cubicBezTo>
                  <a:cubicBezTo>
                    <a:pt x="67" y="301"/>
                    <a:pt x="65" y="302"/>
                    <a:pt x="63" y="302"/>
                  </a:cubicBezTo>
                  <a:cubicBezTo>
                    <a:pt x="62" y="302"/>
                    <a:pt x="61" y="304"/>
                    <a:pt x="60" y="305"/>
                  </a:cubicBezTo>
                  <a:cubicBezTo>
                    <a:pt x="60" y="305"/>
                    <a:pt x="60" y="305"/>
                    <a:pt x="60" y="305"/>
                  </a:cubicBezTo>
                  <a:cubicBezTo>
                    <a:pt x="59" y="306"/>
                    <a:pt x="59" y="306"/>
                    <a:pt x="59" y="306"/>
                  </a:cubicBezTo>
                  <a:cubicBezTo>
                    <a:pt x="58" y="307"/>
                    <a:pt x="58" y="307"/>
                    <a:pt x="58" y="307"/>
                  </a:cubicBezTo>
                  <a:cubicBezTo>
                    <a:pt x="58" y="307"/>
                    <a:pt x="57" y="307"/>
                    <a:pt x="57" y="308"/>
                  </a:cubicBezTo>
                  <a:cubicBezTo>
                    <a:pt x="57" y="308"/>
                    <a:pt x="57" y="308"/>
                    <a:pt x="57" y="308"/>
                  </a:cubicBezTo>
                  <a:cubicBezTo>
                    <a:pt x="57" y="308"/>
                    <a:pt x="57" y="308"/>
                    <a:pt x="57" y="308"/>
                  </a:cubicBezTo>
                  <a:cubicBezTo>
                    <a:pt x="57" y="309"/>
                    <a:pt x="57" y="310"/>
                    <a:pt x="57" y="310"/>
                  </a:cubicBezTo>
                  <a:cubicBezTo>
                    <a:pt x="57" y="311"/>
                    <a:pt x="56" y="312"/>
                    <a:pt x="55" y="314"/>
                  </a:cubicBezTo>
                  <a:cubicBezTo>
                    <a:pt x="54" y="315"/>
                    <a:pt x="54" y="315"/>
                    <a:pt x="53" y="316"/>
                  </a:cubicBezTo>
                  <a:cubicBezTo>
                    <a:pt x="52" y="317"/>
                    <a:pt x="52" y="317"/>
                    <a:pt x="51" y="317"/>
                  </a:cubicBezTo>
                  <a:cubicBezTo>
                    <a:pt x="50" y="318"/>
                    <a:pt x="50" y="318"/>
                    <a:pt x="50" y="318"/>
                  </a:cubicBezTo>
                  <a:cubicBezTo>
                    <a:pt x="50" y="318"/>
                    <a:pt x="50" y="318"/>
                    <a:pt x="50" y="318"/>
                  </a:cubicBezTo>
                  <a:cubicBezTo>
                    <a:pt x="50" y="318"/>
                    <a:pt x="50" y="318"/>
                    <a:pt x="50" y="318"/>
                  </a:cubicBezTo>
                  <a:cubicBezTo>
                    <a:pt x="49" y="318"/>
                    <a:pt x="48" y="317"/>
                    <a:pt x="48" y="317"/>
                  </a:cubicBezTo>
                  <a:cubicBezTo>
                    <a:pt x="47" y="317"/>
                    <a:pt x="47" y="317"/>
                    <a:pt x="47" y="317"/>
                  </a:cubicBezTo>
                  <a:cubicBezTo>
                    <a:pt x="46" y="317"/>
                    <a:pt x="46" y="317"/>
                    <a:pt x="46" y="317"/>
                  </a:cubicBezTo>
                  <a:cubicBezTo>
                    <a:pt x="46" y="317"/>
                    <a:pt x="46" y="317"/>
                    <a:pt x="45" y="317"/>
                  </a:cubicBezTo>
                  <a:cubicBezTo>
                    <a:pt x="45" y="317"/>
                    <a:pt x="45" y="317"/>
                    <a:pt x="45" y="317"/>
                  </a:cubicBezTo>
                  <a:cubicBezTo>
                    <a:pt x="44" y="317"/>
                    <a:pt x="44" y="317"/>
                    <a:pt x="44" y="317"/>
                  </a:cubicBezTo>
                  <a:cubicBezTo>
                    <a:pt x="43" y="317"/>
                    <a:pt x="43" y="317"/>
                    <a:pt x="43" y="317"/>
                  </a:cubicBezTo>
                  <a:cubicBezTo>
                    <a:pt x="43" y="317"/>
                    <a:pt x="43" y="317"/>
                    <a:pt x="43" y="317"/>
                  </a:cubicBezTo>
                  <a:cubicBezTo>
                    <a:pt x="43" y="317"/>
                    <a:pt x="43" y="317"/>
                    <a:pt x="43" y="317"/>
                  </a:cubicBezTo>
                  <a:cubicBezTo>
                    <a:pt x="44" y="318"/>
                    <a:pt x="44" y="318"/>
                    <a:pt x="44" y="318"/>
                  </a:cubicBezTo>
                  <a:cubicBezTo>
                    <a:pt x="43" y="318"/>
                    <a:pt x="43" y="318"/>
                    <a:pt x="43" y="318"/>
                  </a:cubicBezTo>
                  <a:cubicBezTo>
                    <a:pt x="42" y="319"/>
                    <a:pt x="42" y="319"/>
                    <a:pt x="41" y="319"/>
                  </a:cubicBezTo>
                  <a:cubicBezTo>
                    <a:pt x="41" y="319"/>
                    <a:pt x="40" y="319"/>
                    <a:pt x="39" y="319"/>
                  </a:cubicBezTo>
                  <a:cubicBezTo>
                    <a:pt x="37" y="319"/>
                    <a:pt x="36" y="318"/>
                    <a:pt x="35" y="316"/>
                  </a:cubicBezTo>
                  <a:cubicBezTo>
                    <a:pt x="34" y="315"/>
                    <a:pt x="34" y="315"/>
                    <a:pt x="34" y="314"/>
                  </a:cubicBezTo>
                  <a:cubicBezTo>
                    <a:pt x="34" y="314"/>
                    <a:pt x="34" y="313"/>
                    <a:pt x="34" y="312"/>
                  </a:cubicBezTo>
                  <a:cubicBezTo>
                    <a:pt x="33" y="313"/>
                    <a:pt x="33" y="313"/>
                    <a:pt x="33" y="313"/>
                  </a:cubicBezTo>
                  <a:cubicBezTo>
                    <a:pt x="32" y="313"/>
                    <a:pt x="32" y="313"/>
                    <a:pt x="32" y="313"/>
                  </a:cubicBezTo>
                  <a:cubicBezTo>
                    <a:pt x="30" y="315"/>
                    <a:pt x="28" y="315"/>
                    <a:pt x="26" y="315"/>
                  </a:cubicBezTo>
                  <a:cubicBezTo>
                    <a:pt x="25" y="315"/>
                    <a:pt x="25" y="315"/>
                    <a:pt x="24" y="315"/>
                  </a:cubicBezTo>
                  <a:cubicBezTo>
                    <a:pt x="24" y="316"/>
                    <a:pt x="24" y="317"/>
                    <a:pt x="23" y="317"/>
                  </a:cubicBezTo>
                  <a:cubicBezTo>
                    <a:pt x="23" y="318"/>
                    <a:pt x="23" y="318"/>
                    <a:pt x="22" y="318"/>
                  </a:cubicBezTo>
                  <a:cubicBezTo>
                    <a:pt x="21" y="320"/>
                    <a:pt x="17" y="321"/>
                    <a:pt x="14" y="322"/>
                  </a:cubicBezTo>
                  <a:cubicBezTo>
                    <a:pt x="13" y="322"/>
                    <a:pt x="13" y="322"/>
                    <a:pt x="13" y="322"/>
                  </a:cubicBezTo>
                  <a:cubicBezTo>
                    <a:pt x="13" y="322"/>
                    <a:pt x="12" y="322"/>
                    <a:pt x="12" y="322"/>
                  </a:cubicBezTo>
                  <a:cubicBezTo>
                    <a:pt x="7" y="324"/>
                    <a:pt x="7" y="324"/>
                    <a:pt x="7" y="324"/>
                  </a:cubicBezTo>
                  <a:cubicBezTo>
                    <a:pt x="7" y="324"/>
                    <a:pt x="7" y="325"/>
                    <a:pt x="7" y="325"/>
                  </a:cubicBezTo>
                  <a:cubicBezTo>
                    <a:pt x="7" y="326"/>
                    <a:pt x="7" y="326"/>
                    <a:pt x="7" y="327"/>
                  </a:cubicBezTo>
                  <a:cubicBezTo>
                    <a:pt x="6" y="328"/>
                    <a:pt x="6" y="328"/>
                    <a:pt x="6" y="328"/>
                  </a:cubicBezTo>
                  <a:cubicBezTo>
                    <a:pt x="6" y="328"/>
                    <a:pt x="6" y="328"/>
                    <a:pt x="6" y="328"/>
                  </a:cubicBezTo>
                  <a:cubicBezTo>
                    <a:pt x="5" y="332"/>
                    <a:pt x="5" y="332"/>
                    <a:pt x="5" y="332"/>
                  </a:cubicBezTo>
                  <a:cubicBezTo>
                    <a:pt x="6" y="333"/>
                    <a:pt x="5" y="334"/>
                    <a:pt x="5" y="335"/>
                  </a:cubicBezTo>
                  <a:cubicBezTo>
                    <a:pt x="4" y="335"/>
                    <a:pt x="3" y="335"/>
                    <a:pt x="3" y="336"/>
                  </a:cubicBezTo>
                  <a:cubicBezTo>
                    <a:pt x="2" y="336"/>
                    <a:pt x="2" y="336"/>
                    <a:pt x="2" y="336"/>
                  </a:cubicBezTo>
                  <a:cubicBezTo>
                    <a:pt x="1" y="337"/>
                    <a:pt x="1" y="337"/>
                    <a:pt x="1" y="337"/>
                  </a:cubicBezTo>
                  <a:cubicBezTo>
                    <a:pt x="1" y="337"/>
                    <a:pt x="1" y="337"/>
                    <a:pt x="1" y="337"/>
                  </a:cubicBezTo>
                  <a:cubicBezTo>
                    <a:pt x="0" y="337"/>
                    <a:pt x="0" y="337"/>
                    <a:pt x="0" y="337"/>
                  </a:cubicBezTo>
                  <a:cubicBezTo>
                    <a:pt x="0" y="341"/>
                    <a:pt x="0" y="341"/>
                    <a:pt x="0" y="341"/>
                  </a:cubicBezTo>
                  <a:cubicBezTo>
                    <a:pt x="0" y="342"/>
                    <a:pt x="0" y="342"/>
                    <a:pt x="0" y="342"/>
                  </a:cubicBezTo>
                  <a:cubicBezTo>
                    <a:pt x="1" y="341"/>
                    <a:pt x="1" y="341"/>
                    <a:pt x="1" y="341"/>
                  </a:cubicBezTo>
                  <a:cubicBezTo>
                    <a:pt x="1" y="342"/>
                    <a:pt x="1" y="342"/>
                    <a:pt x="1" y="342"/>
                  </a:cubicBezTo>
                  <a:cubicBezTo>
                    <a:pt x="1" y="342"/>
                    <a:pt x="1" y="342"/>
                    <a:pt x="1" y="342"/>
                  </a:cubicBezTo>
                  <a:cubicBezTo>
                    <a:pt x="1" y="343"/>
                    <a:pt x="1" y="343"/>
                    <a:pt x="1" y="343"/>
                  </a:cubicBezTo>
                  <a:cubicBezTo>
                    <a:pt x="2" y="343"/>
                    <a:pt x="2" y="343"/>
                    <a:pt x="2" y="343"/>
                  </a:cubicBezTo>
                  <a:cubicBezTo>
                    <a:pt x="2" y="343"/>
                    <a:pt x="2" y="343"/>
                    <a:pt x="2" y="343"/>
                  </a:cubicBezTo>
                  <a:cubicBezTo>
                    <a:pt x="2" y="344"/>
                    <a:pt x="3" y="344"/>
                    <a:pt x="3" y="345"/>
                  </a:cubicBezTo>
                  <a:cubicBezTo>
                    <a:pt x="3" y="345"/>
                    <a:pt x="3" y="345"/>
                    <a:pt x="3" y="345"/>
                  </a:cubicBezTo>
                  <a:cubicBezTo>
                    <a:pt x="4" y="346"/>
                    <a:pt x="4" y="347"/>
                    <a:pt x="3" y="348"/>
                  </a:cubicBezTo>
                  <a:cubicBezTo>
                    <a:pt x="3" y="349"/>
                    <a:pt x="3" y="349"/>
                    <a:pt x="3" y="349"/>
                  </a:cubicBezTo>
                  <a:cubicBezTo>
                    <a:pt x="2" y="349"/>
                    <a:pt x="2" y="349"/>
                    <a:pt x="2" y="349"/>
                  </a:cubicBezTo>
                  <a:cubicBezTo>
                    <a:pt x="2" y="350"/>
                    <a:pt x="2" y="350"/>
                    <a:pt x="2" y="350"/>
                  </a:cubicBezTo>
                  <a:cubicBezTo>
                    <a:pt x="2" y="350"/>
                    <a:pt x="2" y="350"/>
                    <a:pt x="2" y="350"/>
                  </a:cubicBezTo>
                  <a:cubicBezTo>
                    <a:pt x="2" y="351"/>
                    <a:pt x="2" y="352"/>
                    <a:pt x="2" y="352"/>
                  </a:cubicBezTo>
                  <a:cubicBezTo>
                    <a:pt x="3" y="352"/>
                    <a:pt x="3" y="352"/>
                    <a:pt x="3" y="352"/>
                  </a:cubicBezTo>
                  <a:cubicBezTo>
                    <a:pt x="4" y="352"/>
                    <a:pt x="4" y="352"/>
                    <a:pt x="4" y="352"/>
                  </a:cubicBezTo>
                  <a:cubicBezTo>
                    <a:pt x="5" y="351"/>
                    <a:pt x="7" y="351"/>
                    <a:pt x="8" y="351"/>
                  </a:cubicBezTo>
                  <a:cubicBezTo>
                    <a:pt x="9" y="351"/>
                    <a:pt x="9" y="351"/>
                    <a:pt x="9" y="351"/>
                  </a:cubicBezTo>
                  <a:cubicBezTo>
                    <a:pt x="9" y="351"/>
                    <a:pt x="9" y="351"/>
                    <a:pt x="9" y="351"/>
                  </a:cubicBezTo>
                  <a:cubicBezTo>
                    <a:pt x="10" y="351"/>
                    <a:pt x="10" y="351"/>
                    <a:pt x="11" y="351"/>
                  </a:cubicBezTo>
                  <a:cubicBezTo>
                    <a:pt x="12" y="351"/>
                    <a:pt x="13" y="352"/>
                    <a:pt x="14" y="352"/>
                  </a:cubicBezTo>
                  <a:cubicBezTo>
                    <a:pt x="15" y="353"/>
                    <a:pt x="16" y="353"/>
                    <a:pt x="17" y="354"/>
                  </a:cubicBezTo>
                  <a:cubicBezTo>
                    <a:pt x="17" y="354"/>
                    <a:pt x="17" y="354"/>
                    <a:pt x="17" y="354"/>
                  </a:cubicBezTo>
                  <a:cubicBezTo>
                    <a:pt x="18" y="355"/>
                    <a:pt x="18" y="355"/>
                    <a:pt x="19" y="355"/>
                  </a:cubicBezTo>
                  <a:cubicBezTo>
                    <a:pt x="20" y="356"/>
                    <a:pt x="20" y="356"/>
                    <a:pt x="20" y="356"/>
                  </a:cubicBezTo>
                  <a:cubicBezTo>
                    <a:pt x="22" y="357"/>
                    <a:pt x="23" y="358"/>
                    <a:pt x="24" y="361"/>
                  </a:cubicBezTo>
                  <a:cubicBezTo>
                    <a:pt x="24" y="365"/>
                    <a:pt x="25" y="368"/>
                    <a:pt x="25" y="371"/>
                  </a:cubicBezTo>
                  <a:cubicBezTo>
                    <a:pt x="25" y="372"/>
                    <a:pt x="25" y="372"/>
                    <a:pt x="25" y="372"/>
                  </a:cubicBezTo>
                  <a:cubicBezTo>
                    <a:pt x="25" y="373"/>
                    <a:pt x="25" y="374"/>
                    <a:pt x="26" y="375"/>
                  </a:cubicBezTo>
                  <a:cubicBezTo>
                    <a:pt x="26" y="377"/>
                    <a:pt x="26" y="377"/>
                    <a:pt x="26" y="377"/>
                  </a:cubicBezTo>
                  <a:cubicBezTo>
                    <a:pt x="26" y="377"/>
                    <a:pt x="27" y="378"/>
                    <a:pt x="28" y="379"/>
                  </a:cubicBezTo>
                  <a:cubicBezTo>
                    <a:pt x="31" y="381"/>
                    <a:pt x="31" y="381"/>
                    <a:pt x="31" y="381"/>
                  </a:cubicBezTo>
                  <a:cubicBezTo>
                    <a:pt x="29" y="383"/>
                    <a:pt x="29" y="383"/>
                    <a:pt x="29" y="383"/>
                  </a:cubicBezTo>
                  <a:cubicBezTo>
                    <a:pt x="28" y="384"/>
                    <a:pt x="27" y="384"/>
                    <a:pt x="26" y="385"/>
                  </a:cubicBezTo>
                  <a:cubicBezTo>
                    <a:pt x="35" y="383"/>
                    <a:pt x="35" y="383"/>
                    <a:pt x="35" y="383"/>
                  </a:cubicBezTo>
                  <a:cubicBezTo>
                    <a:pt x="24" y="388"/>
                    <a:pt x="24" y="388"/>
                    <a:pt x="24" y="388"/>
                  </a:cubicBezTo>
                  <a:cubicBezTo>
                    <a:pt x="24" y="388"/>
                    <a:pt x="24" y="388"/>
                    <a:pt x="24" y="388"/>
                  </a:cubicBezTo>
                  <a:cubicBezTo>
                    <a:pt x="26" y="388"/>
                    <a:pt x="28" y="388"/>
                    <a:pt x="30" y="389"/>
                  </a:cubicBezTo>
                  <a:cubicBezTo>
                    <a:pt x="32" y="390"/>
                    <a:pt x="33" y="391"/>
                    <a:pt x="34" y="392"/>
                  </a:cubicBezTo>
                  <a:cubicBezTo>
                    <a:pt x="35" y="392"/>
                    <a:pt x="36" y="393"/>
                    <a:pt x="37" y="393"/>
                  </a:cubicBezTo>
                  <a:cubicBezTo>
                    <a:pt x="38" y="394"/>
                    <a:pt x="38" y="394"/>
                    <a:pt x="38" y="394"/>
                  </a:cubicBezTo>
                  <a:cubicBezTo>
                    <a:pt x="38" y="394"/>
                    <a:pt x="38" y="394"/>
                    <a:pt x="38" y="394"/>
                  </a:cubicBezTo>
                  <a:cubicBezTo>
                    <a:pt x="40" y="395"/>
                    <a:pt x="42" y="397"/>
                    <a:pt x="44" y="400"/>
                  </a:cubicBezTo>
                  <a:cubicBezTo>
                    <a:pt x="45" y="401"/>
                    <a:pt x="45" y="402"/>
                    <a:pt x="45" y="403"/>
                  </a:cubicBezTo>
                  <a:cubicBezTo>
                    <a:pt x="45" y="404"/>
                    <a:pt x="46" y="405"/>
                    <a:pt x="46" y="406"/>
                  </a:cubicBezTo>
                  <a:cubicBezTo>
                    <a:pt x="45" y="408"/>
                    <a:pt x="45" y="409"/>
                    <a:pt x="45" y="409"/>
                  </a:cubicBezTo>
                  <a:cubicBezTo>
                    <a:pt x="44" y="410"/>
                    <a:pt x="44" y="410"/>
                    <a:pt x="44" y="410"/>
                  </a:cubicBezTo>
                  <a:cubicBezTo>
                    <a:pt x="45" y="410"/>
                    <a:pt x="45" y="410"/>
                    <a:pt x="45" y="410"/>
                  </a:cubicBezTo>
                  <a:cubicBezTo>
                    <a:pt x="46" y="411"/>
                    <a:pt x="46" y="412"/>
                    <a:pt x="47" y="412"/>
                  </a:cubicBezTo>
                  <a:cubicBezTo>
                    <a:pt x="47" y="413"/>
                    <a:pt x="47" y="413"/>
                    <a:pt x="47" y="413"/>
                  </a:cubicBezTo>
                  <a:cubicBezTo>
                    <a:pt x="47" y="413"/>
                    <a:pt x="47" y="413"/>
                    <a:pt x="47" y="413"/>
                  </a:cubicBezTo>
                  <a:cubicBezTo>
                    <a:pt x="47" y="413"/>
                    <a:pt x="47" y="413"/>
                    <a:pt x="47" y="413"/>
                  </a:cubicBezTo>
                  <a:cubicBezTo>
                    <a:pt x="48" y="413"/>
                    <a:pt x="48" y="413"/>
                    <a:pt x="48" y="413"/>
                  </a:cubicBezTo>
                  <a:cubicBezTo>
                    <a:pt x="50" y="413"/>
                    <a:pt x="51" y="413"/>
                    <a:pt x="51" y="413"/>
                  </a:cubicBezTo>
                  <a:cubicBezTo>
                    <a:pt x="54" y="409"/>
                    <a:pt x="54" y="409"/>
                    <a:pt x="54" y="409"/>
                  </a:cubicBezTo>
                  <a:cubicBezTo>
                    <a:pt x="55" y="413"/>
                    <a:pt x="55" y="413"/>
                    <a:pt x="55" y="413"/>
                  </a:cubicBezTo>
                  <a:cubicBezTo>
                    <a:pt x="56" y="414"/>
                    <a:pt x="56" y="414"/>
                    <a:pt x="56" y="414"/>
                  </a:cubicBezTo>
                  <a:cubicBezTo>
                    <a:pt x="56" y="415"/>
                    <a:pt x="56" y="415"/>
                    <a:pt x="56" y="415"/>
                  </a:cubicBezTo>
                  <a:cubicBezTo>
                    <a:pt x="56" y="415"/>
                    <a:pt x="56" y="415"/>
                    <a:pt x="56" y="415"/>
                  </a:cubicBezTo>
                  <a:cubicBezTo>
                    <a:pt x="56" y="415"/>
                    <a:pt x="56" y="415"/>
                    <a:pt x="56" y="415"/>
                  </a:cubicBezTo>
                  <a:cubicBezTo>
                    <a:pt x="57" y="416"/>
                    <a:pt x="58" y="417"/>
                    <a:pt x="59" y="417"/>
                  </a:cubicBezTo>
                  <a:cubicBezTo>
                    <a:pt x="62" y="419"/>
                    <a:pt x="67" y="420"/>
                    <a:pt x="71" y="420"/>
                  </a:cubicBezTo>
                  <a:cubicBezTo>
                    <a:pt x="73" y="420"/>
                    <a:pt x="75" y="420"/>
                    <a:pt x="77" y="420"/>
                  </a:cubicBezTo>
                  <a:cubicBezTo>
                    <a:pt x="77" y="420"/>
                    <a:pt x="77" y="420"/>
                    <a:pt x="77" y="420"/>
                  </a:cubicBezTo>
                  <a:cubicBezTo>
                    <a:pt x="78" y="420"/>
                    <a:pt x="78" y="420"/>
                    <a:pt x="78" y="420"/>
                  </a:cubicBezTo>
                  <a:cubicBezTo>
                    <a:pt x="80" y="420"/>
                    <a:pt x="81" y="419"/>
                    <a:pt x="82" y="418"/>
                  </a:cubicBezTo>
                  <a:cubicBezTo>
                    <a:pt x="84" y="418"/>
                    <a:pt x="84" y="418"/>
                    <a:pt x="84" y="418"/>
                  </a:cubicBezTo>
                  <a:cubicBezTo>
                    <a:pt x="84" y="420"/>
                    <a:pt x="84" y="420"/>
                    <a:pt x="84" y="420"/>
                  </a:cubicBezTo>
                  <a:cubicBezTo>
                    <a:pt x="84" y="420"/>
                    <a:pt x="84" y="420"/>
                    <a:pt x="84" y="420"/>
                  </a:cubicBezTo>
                  <a:cubicBezTo>
                    <a:pt x="82" y="421"/>
                    <a:pt x="80" y="422"/>
                    <a:pt x="79" y="422"/>
                  </a:cubicBezTo>
                  <a:cubicBezTo>
                    <a:pt x="78" y="423"/>
                    <a:pt x="78" y="423"/>
                    <a:pt x="78" y="423"/>
                  </a:cubicBezTo>
                  <a:cubicBezTo>
                    <a:pt x="77" y="423"/>
                    <a:pt x="77" y="423"/>
                    <a:pt x="77" y="423"/>
                  </a:cubicBezTo>
                  <a:cubicBezTo>
                    <a:pt x="77" y="423"/>
                    <a:pt x="77" y="423"/>
                    <a:pt x="77" y="423"/>
                  </a:cubicBezTo>
                  <a:cubicBezTo>
                    <a:pt x="77" y="423"/>
                    <a:pt x="79" y="423"/>
                    <a:pt x="81" y="423"/>
                  </a:cubicBezTo>
                  <a:cubicBezTo>
                    <a:pt x="81" y="423"/>
                    <a:pt x="81" y="423"/>
                    <a:pt x="81" y="423"/>
                  </a:cubicBezTo>
                  <a:cubicBezTo>
                    <a:pt x="82" y="423"/>
                    <a:pt x="82" y="423"/>
                    <a:pt x="82" y="423"/>
                  </a:cubicBezTo>
                  <a:cubicBezTo>
                    <a:pt x="82" y="423"/>
                    <a:pt x="82" y="423"/>
                    <a:pt x="82" y="424"/>
                  </a:cubicBezTo>
                  <a:cubicBezTo>
                    <a:pt x="82" y="425"/>
                    <a:pt x="81" y="426"/>
                    <a:pt x="81" y="427"/>
                  </a:cubicBezTo>
                  <a:cubicBezTo>
                    <a:pt x="81" y="428"/>
                    <a:pt x="82" y="429"/>
                    <a:pt x="82" y="430"/>
                  </a:cubicBezTo>
                  <a:cubicBezTo>
                    <a:pt x="83" y="431"/>
                    <a:pt x="83" y="432"/>
                    <a:pt x="84" y="433"/>
                  </a:cubicBezTo>
                  <a:cubicBezTo>
                    <a:pt x="84" y="434"/>
                    <a:pt x="84" y="434"/>
                    <a:pt x="84" y="434"/>
                  </a:cubicBezTo>
                  <a:cubicBezTo>
                    <a:pt x="85" y="436"/>
                    <a:pt x="85" y="438"/>
                    <a:pt x="86" y="439"/>
                  </a:cubicBezTo>
                  <a:cubicBezTo>
                    <a:pt x="86" y="440"/>
                    <a:pt x="86" y="440"/>
                    <a:pt x="86" y="440"/>
                  </a:cubicBezTo>
                  <a:cubicBezTo>
                    <a:pt x="87" y="441"/>
                    <a:pt x="88" y="443"/>
                    <a:pt x="90" y="444"/>
                  </a:cubicBezTo>
                  <a:cubicBezTo>
                    <a:pt x="91" y="445"/>
                    <a:pt x="93" y="445"/>
                    <a:pt x="95" y="446"/>
                  </a:cubicBezTo>
                  <a:cubicBezTo>
                    <a:pt x="97" y="446"/>
                    <a:pt x="98" y="447"/>
                    <a:pt x="99" y="448"/>
                  </a:cubicBezTo>
                  <a:cubicBezTo>
                    <a:pt x="99" y="448"/>
                    <a:pt x="99" y="449"/>
                    <a:pt x="99" y="450"/>
                  </a:cubicBezTo>
                  <a:cubicBezTo>
                    <a:pt x="95" y="453"/>
                    <a:pt x="95" y="453"/>
                    <a:pt x="95" y="453"/>
                  </a:cubicBezTo>
                  <a:cubicBezTo>
                    <a:pt x="95" y="453"/>
                    <a:pt x="95" y="453"/>
                    <a:pt x="95" y="453"/>
                  </a:cubicBezTo>
                  <a:cubicBezTo>
                    <a:pt x="95" y="454"/>
                    <a:pt x="95" y="454"/>
                    <a:pt x="95" y="455"/>
                  </a:cubicBezTo>
                  <a:cubicBezTo>
                    <a:pt x="95" y="456"/>
                    <a:pt x="95" y="457"/>
                    <a:pt x="96" y="457"/>
                  </a:cubicBezTo>
                  <a:cubicBezTo>
                    <a:pt x="96" y="458"/>
                    <a:pt x="96" y="458"/>
                    <a:pt x="96" y="458"/>
                  </a:cubicBezTo>
                  <a:cubicBezTo>
                    <a:pt x="96" y="458"/>
                    <a:pt x="96" y="459"/>
                    <a:pt x="96" y="460"/>
                  </a:cubicBezTo>
                  <a:cubicBezTo>
                    <a:pt x="98" y="458"/>
                    <a:pt x="98" y="458"/>
                    <a:pt x="98" y="458"/>
                  </a:cubicBezTo>
                  <a:cubicBezTo>
                    <a:pt x="99" y="461"/>
                    <a:pt x="99" y="461"/>
                    <a:pt x="99" y="461"/>
                  </a:cubicBezTo>
                  <a:cubicBezTo>
                    <a:pt x="99" y="461"/>
                    <a:pt x="99" y="461"/>
                    <a:pt x="99" y="461"/>
                  </a:cubicBezTo>
                  <a:cubicBezTo>
                    <a:pt x="100" y="464"/>
                    <a:pt x="100" y="464"/>
                    <a:pt x="100" y="464"/>
                  </a:cubicBezTo>
                  <a:cubicBezTo>
                    <a:pt x="101" y="466"/>
                    <a:pt x="101" y="466"/>
                    <a:pt x="101" y="466"/>
                  </a:cubicBezTo>
                  <a:cubicBezTo>
                    <a:pt x="101" y="467"/>
                    <a:pt x="101" y="467"/>
                    <a:pt x="101" y="467"/>
                  </a:cubicBezTo>
                  <a:cubicBezTo>
                    <a:pt x="101" y="467"/>
                    <a:pt x="101" y="467"/>
                    <a:pt x="101" y="467"/>
                  </a:cubicBezTo>
                  <a:cubicBezTo>
                    <a:pt x="103" y="468"/>
                    <a:pt x="104" y="469"/>
                    <a:pt x="106" y="470"/>
                  </a:cubicBezTo>
                  <a:cubicBezTo>
                    <a:pt x="106" y="470"/>
                    <a:pt x="106" y="470"/>
                    <a:pt x="106" y="470"/>
                  </a:cubicBezTo>
                  <a:cubicBezTo>
                    <a:pt x="107" y="470"/>
                    <a:pt x="109" y="471"/>
                    <a:pt x="110" y="473"/>
                  </a:cubicBezTo>
                  <a:cubicBezTo>
                    <a:pt x="110" y="473"/>
                    <a:pt x="110" y="474"/>
                    <a:pt x="110" y="475"/>
                  </a:cubicBezTo>
                  <a:cubicBezTo>
                    <a:pt x="110" y="477"/>
                    <a:pt x="110" y="477"/>
                    <a:pt x="110" y="477"/>
                  </a:cubicBezTo>
                  <a:cubicBezTo>
                    <a:pt x="110" y="477"/>
                    <a:pt x="110" y="478"/>
                    <a:pt x="111" y="478"/>
                  </a:cubicBezTo>
                  <a:cubicBezTo>
                    <a:pt x="111" y="479"/>
                    <a:pt x="111" y="479"/>
                    <a:pt x="111" y="479"/>
                  </a:cubicBezTo>
                  <a:cubicBezTo>
                    <a:pt x="111" y="479"/>
                    <a:pt x="111" y="479"/>
                    <a:pt x="111" y="479"/>
                  </a:cubicBezTo>
                  <a:cubicBezTo>
                    <a:pt x="111" y="480"/>
                    <a:pt x="111" y="480"/>
                    <a:pt x="111" y="480"/>
                  </a:cubicBezTo>
                  <a:cubicBezTo>
                    <a:pt x="113" y="481"/>
                    <a:pt x="113" y="481"/>
                    <a:pt x="113" y="481"/>
                  </a:cubicBezTo>
                  <a:cubicBezTo>
                    <a:pt x="112" y="483"/>
                    <a:pt x="112" y="483"/>
                    <a:pt x="112" y="483"/>
                  </a:cubicBezTo>
                  <a:cubicBezTo>
                    <a:pt x="108" y="487"/>
                    <a:pt x="104" y="492"/>
                    <a:pt x="100" y="492"/>
                  </a:cubicBezTo>
                  <a:cubicBezTo>
                    <a:pt x="99" y="492"/>
                    <a:pt x="99" y="492"/>
                    <a:pt x="99" y="492"/>
                  </a:cubicBezTo>
                  <a:cubicBezTo>
                    <a:pt x="99" y="492"/>
                    <a:pt x="99" y="492"/>
                    <a:pt x="99" y="492"/>
                  </a:cubicBezTo>
                  <a:cubicBezTo>
                    <a:pt x="96" y="491"/>
                    <a:pt x="94" y="489"/>
                    <a:pt x="93" y="488"/>
                  </a:cubicBezTo>
                  <a:cubicBezTo>
                    <a:pt x="93" y="487"/>
                    <a:pt x="93" y="487"/>
                    <a:pt x="93" y="487"/>
                  </a:cubicBezTo>
                  <a:cubicBezTo>
                    <a:pt x="92" y="487"/>
                    <a:pt x="92" y="487"/>
                    <a:pt x="92" y="487"/>
                  </a:cubicBezTo>
                  <a:cubicBezTo>
                    <a:pt x="92" y="488"/>
                    <a:pt x="91" y="488"/>
                    <a:pt x="91" y="488"/>
                  </a:cubicBezTo>
                  <a:cubicBezTo>
                    <a:pt x="92" y="490"/>
                    <a:pt x="92" y="492"/>
                    <a:pt x="93" y="493"/>
                  </a:cubicBezTo>
                  <a:cubicBezTo>
                    <a:pt x="94" y="494"/>
                    <a:pt x="95" y="496"/>
                    <a:pt x="96" y="497"/>
                  </a:cubicBezTo>
                  <a:cubicBezTo>
                    <a:pt x="97" y="498"/>
                    <a:pt x="97" y="499"/>
                    <a:pt x="97" y="500"/>
                  </a:cubicBezTo>
                  <a:cubicBezTo>
                    <a:pt x="97" y="500"/>
                    <a:pt x="97" y="501"/>
                    <a:pt x="97" y="502"/>
                  </a:cubicBezTo>
                  <a:cubicBezTo>
                    <a:pt x="97" y="503"/>
                    <a:pt x="97" y="505"/>
                    <a:pt x="97" y="507"/>
                  </a:cubicBezTo>
                  <a:cubicBezTo>
                    <a:pt x="97" y="507"/>
                    <a:pt x="97" y="507"/>
                    <a:pt x="97" y="507"/>
                  </a:cubicBezTo>
                  <a:cubicBezTo>
                    <a:pt x="97" y="508"/>
                    <a:pt x="97" y="508"/>
                    <a:pt x="97" y="508"/>
                  </a:cubicBezTo>
                  <a:cubicBezTo>
                    <a:pt x="97" y="508"/>
                    <a:pt x="97" y="508"/>
                    <a:pt x="98" y="509"/>
                  </a:cubicBezTo>
                  <a:cubicBezTo>
                    <a:pt x="98" y="509"/>
                    <a:pt x="98" y="509"/>
                    <a:pt x="98" y="509"/>
                  </a:cubicBezTo>
                  <a:cubicBezTo>
                    <a:pt x="99" y="508"/>
                    <a:pt x="100" y="508"/>
                    <a:pt x="102" y="508"/>
                  </a:cubicBezTo>
                  <a:cubicBezTo>
                    <a:pt x="102" y="508"/>
                    <a:pt x="102" y="508"/>
                    <a:pt x="103" y="508"/>
                  </a:cubicBezTo>
                  <a:cubicBezTo>
                    <a:pt x="103" y="508"/>
                    <a:pt x="104" y="508"/>
                    <a:pt x="105" y="509"/>
                  </a:cubicBezTo>
                  <a:cubicBezTo>
                    <a:pt x="106" y="510"/>
                    <a:pt x="106" y="510"/>
                    <a:pt x="106" y="510"/>
                  </a:cubicBezTo>
                  <a:cubicBezTo>
                    <a:pt x="110" y="508"/>
                    <a:pt x="110" y="508"/>
                    <a:pt x="110" y="508"/>
                  </a:cubicBezTo>
                  <a:cubicBezTo>
                    <a:pt x="106" y="511"/>
                    <a:pt x="106" y="511"/>
                    <a:pt x="106" y="511"/>
                  </a:cubicBezTo>
                  <a:cubicBezTo>
                    <a:pt x="107" y="512"/>
                    <a:pt x="107" y="513"/>
                    <a:pt x="108" y="513"/>
                  </a:cubicBezTo>
                  <a:cubicBezTo>
                    <a:pt x="108" y="514"/>
                    <a:pt x="108" y="514"/>
                    <a:pt x="108" y="514"/>
                  </a:cubicBezTo>
                  <a:cubicBezTo>
                    <a:pt x="108" y="514"/>
                    <a:pt x="109" y="515"/>
                    <a:pt x="109" y="515"/>
                  </a:cubicBezTo>
                  <a:cubicBezTo>
                    <a:pt x="109" y="515"/>
                    <a:pt x="110" y="516"/>
                    <a:pt x="110" y="516"/>
                  </a:cubicBezTo>
                  <a:cubicBezTo>
                    <a:pt x="110" y="516"/>
                    <a:pt x="110" y="516"/>
                    <a:pt x="111" y="517"/>
                  </a:cubicBezTo>
                  <a:cubicBezTo>
                    <a:pt x="111" y="517"/>
                    <a:pt x="112" y="517"/>
                    <a:pt x="113" y="517"/>
                  </a:cubicBezTo>
                  <a:cubicBezTo>
                    <a:pt x="116" y="518"/>
                    <a:pt x="119" y="519"/>
                    <a:pt x="122" y="520"/>
                  </a:cubicBezTo>
                  <a:cubicBezTo>
                    <a:pt x="123" y="521"/>
                    <a:pt x="124" y="522"/>
                    <a:pt x="125" y="522"/>
                  </a:cubicBezTo>
                  <a:cubicBezTo>
                    <a:pt x="125" y="521"/>
                    <a:pt x="125" y="521"/>
                    <a:pt x="125" y="521"/>
                  </a:cubicBezTo>
                  <a:cubicBezTo>
                    <a:pt x="125" y="522"/>
                    <a:pt x="125" y="522"/>
                    <a:pt x="125" y="522"/>
                  </a:cubicBezTo>
                  <a:cubicBezTo>
                    <a:pt x="126" y="523"/>
                    <a:pt x="126" y="523"/>
                    <a:pt x="126" y="523"/>
                  </a:cubicBezTo>
                  <a:cubicBezTo>
                    <a:pt x="126" y="524"/>
                    <a:pt x="126" y="525"/>
                    <a:pt x="126" y="526"/>
                  </a:cubicBezTo>
                  <a:cubicBezTo>
                    <a:pt x="138" y="533"/>
                    <a:pt x="138" y="533"/>
                    <a:pt x="138" y="533"/>
                  </a:cubicBezTo>
                  <a:cubicBezTo>
                    <a:pt x="139" y="532"/>
                    <a:pt x="139" y="532"/>
                    <a:pt x="139" y="532"/>
                  </a:cubicBezTo>
                  <a:cubicBezTo>
                    <a:pt x="142" y="536"/>
                    <a:pt x="142" y="536"/>
                    <a:pt x="142" y="536"/>
                  </a:cubicBezTo>
                  <a:cubicBezTo>
                    <a:pt x="142" y="534"/>
                    <a:pt x="143" y="533"/>
                    <a:pt x="143" y="532"/>
                  </a:cubicBezTo>
                  <a:cubicBezTo>
                    <a:pt x="144" y="532"/>
                    <a:pt x="144" y="532"/>
                    <a:pt x="144" y="532"/>
                  </a:cubicBezTo>
                  <a:cubicBezTo>
                    <a:pt x="144" y="531"/>
                    <a:pt x="144" y="531"/>
                    <a:pt x="144" y="531"/>
                  </a:cubicBezTo>
                  <a:cubicBezTo>
                    <a:pt x="145" y="531"/>
                    <a:pt x="145" y="530"/>
                    <a:pt x="145" y="530"/>
                  </a:cubicBezTo>
                  <a:cubicBezTo>
                    <a:pt x="146" y="530"/>
                    <a:pt x="146" y="530"/>
                    <a:pt x="146" y="530"/>
                  </a:cubicBezTo>
                  <a:cubicBezTo>
                    <a:pt x="147" y="529"/>
                    <a:pt x="148" y="529"/>
                    <a:pt x="149" y="529"/>
                  </a:cubicBezTo>
                  <a:cubicBezTo>
                    <a:pt x="150" y="529"/>
                    <a:pt x="150" y="529"/>
                    <a:pt x="151" y="529"/>
                  </a:cubicBezTo>
                  <a:cubicBezTo>
                    <a:pt x="154" y="529"/>
                    <a:pt x="157" y="529"/>
                    <a:pt x="159" y="531"/>
                  </a:cubicBezTo>
                  <a:cubicBezTo>
                    <a:pt x="160" y="532"/>
                    <a:pt x="161" y="533"/>
                    <a:pt x="161" y="535"/>
                  </a:cubicBezTo>
                  <a:cubicBezTo>
                    <a:pt x="162" y="535"/>
                    <a:pt x="162" y="536"/>
                    <a:pt x="162" y="536"/>
                  </a:cubicBezTo>
                  <a:cubicBezTo>
                    <a:pt x="163" y="536"/>
                    <a:pt x="163" y="537"/>
                    <a:pt x="164" y="537"/>
                  </a:cubicBezTo>
                  <a:cubicBezTo>
                    <a:pt x="164" y="537"/>
                    <a:pt x="164" y="537"/>
                    <a:pt x="164" y="537"/>
                  </a:cubicBezTo>
                  <a:cubicBezTo>
                    <a:pt x="165" y="537"/>
                    <a:pt x="166" y="538"/>
                    <a:pt x="166" y="538"/>
                  </a:cubicBezTo>
                  <a:cubicBezTo>
                    <a:pt x="167" y="538"/>
                    <a:pt x="167" y="538"/>
                    <a:pt x="167" y="538"/>
                  </a:cubicBezTo>
                  <a:cubicBezTo>
                    <a:pt x="168" y="539"/>
                    <a:pt x="169" y="540"/>
                    <a:pt x="170" y="540"/>
                  </a:cubicBezTo>
                  <a:cubicBezTo>
                    <a:pt x="171" y="541"/>
                    <a:pt x="172" y="542"/>
                    <a:pt x="173" y="542"/>
                  </a:cubicBezTo>
                  <a:cubicBezTo>
                    <a:pt x="174" y="544"/>
                    <a:pt x="174" y="544"/>
                    <a:pt x="174" y="544"/>
                  </a:cubicBezTo>
                  <a:cubicBezTo>
                    <a:pt x="174" y="544"/>
                    <a:pt x="175" y="544"/>
                    <a:pt x="176" y="545"/>
                  </a:cubicBezTo>
                  <a:cubicBezTo>
                    <a:pt x="177" y="545"/>
                    <a:pt x="178" y="545"/>
                    <a:pt x="178" y="545"/>
                  </a:cubicBezTo>
                  <a:cubicBezTo>
                    <a:pt x="179" y="545"/>
                    <a:pt x="179" y="545"/>
                    <a:pt x="179" y="545"/>
                  </a:cubicBezTo>
                  <a:cubicBezTo>
                    <a:pt x="179" y="545"/>
                    <a:pt x="179" y="545"/>
                    <a:pt x="179" y="545"/>
                  </a:cubicBezTo>
                  <a:cubicBezTo>
                    <a:pt x="180" y="545"/>
                    <a:pt x="180" y="545"/>
                    <a:pt x="180" y="545"/>
                  </a:cubicBezTo>
                  <a:cubicBezTo>
                    <a:pt x="181" y="546"/>
                    <a:pt x="181" y="546"/>
                    <a:pt x="181" y="546"/>
                  </a:cubicBezTo>
                  <a:cubicBezTo>
                    <a:pt x="182" y="546"/>
                    <a:pt x="182" y="546"/>
                    <a:pt x="182" y="546"/>
                  </a:cubicBezTo>
                  <a:cubicBezTo>
                    <a:pt x="182" y="546"/>
                    <a:pt x="182" y="547"/>
                    <a:pt x="182" y="547"/>
                  </a:cubicBezTo>
                  <a:cubicBezTo>
                    <a:pt x="183" y="547"/>
                    <a:pt x="183" y="547"/>
                    <a:pt x="184" y="548"/>
                  </a:cubicBezTo>
                  <a:cubicBezTo>
                    <a:pt x="186" y="546"/>
                    <a:pt x="186" y="546"/>
                    <a:pt x="186" y="546"/>
                  </a:cubicBezTo>
                  <a:cubicBezTo>
                    <a:pt x="184" y="549"/>
                    <a:pt x="184" y="549"/>
                    <a:pt x="184" y="549"/>
                  </a:cubicBezTo>
                  <a:cubicBezTo>
                    <a:pt x="184" y="549"/>
                    <a:pt x="184" y="549"/>
                    <a:pt x="184" y="549"/>
                  </a:cubicBezTo>
                  <a:cubicBezTo>
                    <a:pt x="185" y="550"/>
                    <a:pt x="186" y="551"/>
                    <a:pt x="187" y="552"/>
                  </a:cubicBezTo>
                  <a:cubicBezTo>
                    <a:pt x="187" y="552"/>
                    <a:pt x="188" y="553"/>
                    <a:pt x="188" y="553"/>
                  </a:cubicBezTo>
                  <a:cubicBezTo>
                    <a:pt x="188" y="553"/>
                    <a:pt x="188" y="553"/>
                    <a:pt x="188" y="553"/>
                  </a:cubicBezTo>
                  <a:cubicBezTo>
                    <a:pt x="189" y="554"/>
                    <a:pt x="189" y="554"/>
                    <a:pt x="189" y="554"/>
                  </a:cubicBezTo>
                  <a:cubicBezTo>
                    <a:pt x="190" y="554"/>
                    <a:pt x="190" y="554"/>
                    <a:pt x="190" y="554"/>
                  </a:cubicBezTo>
                  <a:cubicBezTo>
                    <a:pt x="190" y="554"/>
                    <a:pt x="190" y="554"/>
                    <a:pt x="190" y="554"/>
                  </a:cubicBezTo>
                  <a:cubicBezTo>
                    <a:pt x="192" y="554"/>
                    <a:pt x="194" y="553"/>
                    <a:pt x="196" y="553"/>
                  </a:cubicBezTo>
                  <a:cubicBezTo>
                    <a:pt x="196" y="553"/>
                    <a:pt x="196" y="553"/>
                    <a:pt x="197" y="553"/>
                  </a:cubicBezTo>
                  <a:cubicBezTo>
                    <a:pt x="198" y="553"/>
                    <a:pt x="199" y="553"/>
                    <a:pt x="199" y="554"/>
                  </a:cubicBezTo>
                  <a:cubicBezTo>
                    <a:pt x="201" y="555"/>
                    <a:pt x="201" y="556"/>
                    <a:pt x="201" y="557"/>
                  </a:cubicBezTo>
                  <a:cubicBezTo>
                    <a:pt x="201" y="557"/>
                    <a:pt x="201" y="557"/>
                    <a:pt x="201" y="557"/>
                  </a:cubicBezTo>
                  <a:cubicBezTo>
                    <a:pt x="201" y="558"/>
                    <a:pt x="201" y="558"/>
                    <a:pt x="201" y="558"/>
                  </a:cubicBezTo>
                  <a:cubicBezTo>
                    <a:pt x="202" y="558"/>
                    <a:pt x="202" y="560"/>
                    <a:pt x="202" y="561"/>
                  </a:cubicBezTo>
                  <a:cubicBezTo>
                    <a:pt x="202" y="561"/>
                    <a:pt x="203" y="562"/>
                    <a:pt x="203" y="562"/>
                  </a:cubicBezTo>
                  <a:cubicBezTo>
                    <a:pt x="204" y="563"/>
                    <a:pt x="204" y="563"/>
                    <a:pt x="204" y="563"/>
                  </a:cubicBezTo>
                  <a:cubicBezTo>
                    <a:pt x="204" y="563"/>
                    <a:pt x="205" y="563"/>
                    <a:pt x="205" y="563"/>
                  </a:cubicBezTo>
                  <a:cubicBezTo>
                    <a:pt x="206" y="564"/>
                    <a:pt x="206" y="564"/>
                    <a:pt x="206" y="564"/>
                  </a:cubicBezTo>
                  <a:cubicBezTo>
                    <a:pt x="207" y="565"/>
                    <a:pt x="207" y="565"/>
                    <a:pt x="207" y="565"/>
                  </a:cubicBezTo>
                  <a:cubicBezTo>
                    <a:pt x="208" y="565"/>
                    <a:pt x="208" y="565"/>
                    <a:pt x="208" y="565"/>
                  </a:cubicBezTo>
                  <a:cubicBezTo>
                    <a:pt x="209" y="566"/>
                    <a:pt x="209" y="566"/>
                    <a:pt x="210" y="566"/>
                  </a:cubicBezTo>
                  <a:cubicBezTo>
                    <a:pt x="211" y="567"/>
                    <a:pt x="211" y="567"/>
                    <a:pt x="212" y="567"/>
                  </a:cubicBezTo>
                  <a:cubicBezTo>
                    <a:pt x="212" y="567"/>
                    <a:pt x="212" y="567"/>
                    <a:pt x="213" y="567"/>
                  </a:cubicBezTo>
                  <a:cubicBezTo>
                    <a:pt x="213" y="567"/>
                    <a:pt x="214" y="567"/>
                    <a:pt x="214" y="567"/>
                  </a:cubicBezTo>
                  <a:cubicBezTo>
                    <a:pt x="215" y="567"/>
                    <a:pt x="215" y="567"/>
                    <a:pt x="215" y="567"/>
                  </a:cubicBezTo>
                  <a:cubicBezTo>
                    <a:pt x="216" y="567"/>
                    <a:pt x="216" y="567"/>
                    <a:pt x="217" y="567"/>
                  </a:cubicBezTo>
                  <a:cubicBezTo>
                    <a:pt x="217" y="567"/>
                    <a:pt x="218" y="567"/>
                    <a:pt x="218" y="567"/>
                  </a:cubicBezTo>
                  <a:cubicBezTo>
                    <a:pt x="221" y="567"/>
                    <a:pt x="221" y="567"/>
                    <a:pt x="221" y="567"/>
                  </a:cubicBezTo>
                  <a:cubicBezTo>
                    <a:pt x="219" y="571"/>
                    <a:pt x="219" y="571"/>
                    <a:pt x="219" y="571"/>
                  </a:cubicBezTo>
                  <a:cubicBezTo>
                    <a:pt x="219" y="571"/>
                    <a:pt x="219" y="572"/>
                    <a:pt x="219" y="572"/>
                  </a:cubicBezTo>
                  <a:cubicBezTo>
                    <a:pt x="219" y="572"/>
                    <a:pt x="219" y="572"/>
                    <a:pt x="219" y="572"/>
                  </a:cubicBezTo>
                  <a:cubicBezTo>
                    <a:pt x="220" y="572"/>
                    <a:pt x="220" y="572"/>
                    <a:pt x="220" y="572"/>
                  </a:cubicBezTo>
                  <a:cubicBezTo>
                    <a:pt x="220" y="572"/>
                    <a:pt x="220" y="572"/>
                    <a:pt x="220" y="572"/>
                  </a:cubicBezTo>
                  <a:cubicBezTo>
                    <a:pt x="221" y="572"/>
                    <a:pt x="221" y="572"/>
                    <a:pt x="222" y="572"/>
                  </a:cubicBezTo>
                  <a:cubicBezTo>
                    <a:pt x="223" y="572"/>
                    <a:pt x="224" y="572"/>
                    <a:pt x="225" y="572"/>
                  </a:cubicBezTo>
                  <a:cubicBezTo>
                    <a:pt x="225" y="572"/>
                    <a:pt x="225" y="572"/>
                    <a:pt x="225" y="572"/>
                  </a:cubicBezTo>
                  <a:cubicBezTo>
                    <a:pt x="227" y="572"/>
                    <a:pt x="229" y="573"/>
                    <a:pt x="230" y="573"/>
                  </a:cubicBezTo>
                  <a:cubicBezTo>
                    <a:pt x="230" y="574"/>
                    <a:pt x="231" y="574"/>
                    <a:pt x="231" y="575"/>
                  </a:cubicBezTo>
                  <a:cubicBezTo>
                    <a:pt x="232" y="576"/>
                    <a:pt x="232" y="576"/>
                    <a:pt x="232" y="576"/>
                  </a:cubicBezTo>
                  <a:cubicBezTo>
                    <a:pt x="232" y="577"/>
                    <a:pt x="233" y="578"/>
                    <a:pt x="234" y="579"/>
                  </a:cubicBezTo>
                  <a:cubicBezTo>
                    <a:pt x="234" y="578"/>
                    <a:pt x="235" y="577"/>
                    <a:pt x="235" y="576"/>
                  </a:cubicBezTo>
                  <a:cubicBezTo>
                    <a:pt x="240" y="571"/>
                    <a:pt x="240" y="571"/>
                    <a:pt x="240" y="571"/>
                  </a:cubicBezTo>
                  <a:cubicBezTo>
                    <a:pt x="239" y="578"/>
                    <a:pt x="239" y="578"/>
                    <a:pt x="239" y="578"/>
                  </a:cubicBezTo>
                  <a:cubicBezTo>
                    <a:pt x="239" y="578"/>
                    <a:pt x="239" y="578"/>
                    <a:pt x="239" y="579"/>
                  </a:cubicBezTo>
                  <a:cubicBezTo>
                    <a:pt x="239" y="579"/>
                    <a:pt x="240" y="579"/>
                    <a:pt x="241" y="579"/>
                  </a:cubicBezTo>
                  <a:cubicBezTo>
                    <a:pt x="242" y="579"/>
                    <a:pt x="242" y="579"/>
                    <a:pt x="242" y="579"/>
                  </a:cubicBezTo>
                  <a:cubicBezTo>
                    <a:pt x="242" y="579"/>
                    <a:pt x="242" y="579"/>
                    <a:pt x="242" y="579"/>
                  </a:cubicBezTo>
                  <a:cubicBezTo>
                    <a:pt x="243" y="579"/>
                    <a:pt x="244" y="578"/>
                    <a:pt x="245" y="577"/>
                  </a:cubicBezTo>
                  <a:cubicBezTo>
                    <a:pt x="246" y="577"/>
                    <a:pt x="246" y="577"/>
                    <a:pt x="247" y="577"/>
                  </a:cubicBezTo>
                  <a:cubicBezTo>
                    <a:pt x="247" y="577"/>
                    <a:pt x="247" y="577"/>
                    <a:pt x="247" y="577"/>
                  </a:cubicBezTo>
                  <a:cubicBezTo>
                    <a:pt x="248" y="577"/>
                    <a:pt x="248" y="577"/>
                    <a:pt x="248" y="577"/>
                  </a:cubicBezTo>
                  <a:cubicBezTo>
                    <a:pt x="248" y="577"/>
                    <a:pt x="248" y="577"/>
                    <a:pt x="248" y="577"/>
                  </a:cubicBezTo>
                  <a:cubicBezTo>
                    <a:pt x="249" y="578"/>
                    <a:pt x="249" y="578"/>
                    <a:pt x="250" y="578"/>
                  </a:cubicBezTo>
                  <a:cubicBezTo>
                    <a:pt x="251" y="579"/>
                    <a:pt x="253" y="580"/>
                    <a:pt x="255" y="580"/>
                  </a:cubicBezTo>
                  <a:cubicBezTo>
                    <a:pt x="257" y="581"/>
                    <a:pt x="258" y="581"/>
                    <a:pt x="261" y="581"/>
                  </a:cubicBezTo>
                  <a:cubicBezTo>
                    <a:pt x="263" y="582"/>
                    <a:pt x="265" y="582"/>
                    <a:pt x="267" y="582"/>
                  </a:cubicBezTo>
                  <a:cubicBezTo>
                    <a:pt x="269" y="582"/>
                    <a:pt x="271" y="582"/>
                    <a:pt x="273" y="582"/>
                  </a:cubicBezTo>
                  <a:cubicBezTo>
                    <a:pt x="273" y="582"/>
                    <a:pt x="273" y="582"/>
                    <a:pt x="273" y="582"/>
                  </a:cubicBezTo>
                  <a:cubicBezTo>
                    <a:pt x="275" y="580"/>
                    <a:pt x="275" y="580"/>
                    <a:pt x="275" y="580"/>
                  </a:cubicBezTo>
                  <a:cubicBezTo>
                    <a:pt x="277" y="579"/>
                    <a:pt x="279" y="578"/>
                    <a:pt x="281" y="577"/>
                  </a:cubicBezTo>
                  <a:cubicBezTo>
                    <a:pt x="281" y="577"/>
                    <a:pt x="281" y="577"/>
                    <a:pt x="281" y="577"/>
                  </a:cubicBezTo>
                  <a:cubicBezTo>
                    <a:pt x="282" y="577"/>
                    <a:pt x="282" y="577"/>
                    <a:pt x="282" y="577"/>
                  </a:cubicBezTo>
                  <a:cubicBezTo>
                    <a:pt x="282" y="577"/>
                    <a:pt x="283" y="577"/>
                    <a:pt x="283" y="577"/>
                  </a:cubicBezTo>
                  <a:cubicBezTo>
                    <a:pt x="284" y="577"/>
                    <a:pt x="285" y="577"/>
                    <a:pt x="285" y="577"/>
                  </a:cubicBezTo>
                  <a:cubicBezTo>
                    <a:pt x="287" y="577"/>
                    <a:pt x="288" y="578"/>
                    <a:pt x="289" y="580"/>
                  </a:cubicBezTo>
                  <a:cubicBezTo>
                    <a:pt x="289" y="580"/>
                    <a:pt x="289" y="580"/>
                    <a:pt x="289" y="580"/>
                  </a:cubicBezTo>
                  <a:cubicBezTo>
                    <a:pt x="290" y="580"/>
                    <a:pt x="290" y="580"/>
                    <a:pt x="290" y="580"/>
                  </a:cubicBezTo>
                  <a:cubicBezTo>
                    <a:pt x="290" y="581"/>
                    <a:pt x="290" y="581"/>
                    <a:pt x="290" y="581"/>
                  </a:cubicBezTo>
                  <a:cubicBezTo>
                    <a:pt x="290" y="581"/>
                    <a:pt x="290" y="581"/>
                    <a:pt x="290" y="582"/>
                  </a:cubicBezTo>
                  <a:cubicBezTo>
                    <a:pt x="290" y="583"/>
                    <a:pt x="290" y="583"/>
                    <a:pt x="290" y="583"/>
                  </a:cubicBezTo>
                  <a:cubicBezTo>
                    <a:pt x="290" y="583"/>
                    <a:pt x="290" y="583"/>
                    <a:pt x="290" y="584"/>
                  </a:cubicBezTo>
                  <a:cubicBezTo>
                    <a:pt x="290" y="585"/>
                    <a:pt x="290" y="585"/>
                    <a:pt x="290" y="585"/>
                  </a:cubicBezTo>
                  <a:cubicBezTo>
                    <a:pt x="290" y="585"/>
                    <a:pt x="290" y="585"/>
                    <a:pt x="290" y="586"/>
                  </a:cubicBezTo>
                  <a:cubicBezTo>
                    <a:pt x="290" y="587"/>
                    <a:pt x="290" y="587"/>
                    <a:pt x="290" y="588"/>
                  </a:cubicBezTo>
                  <a:cubicBezTo>
                    <a:pt x="289" y="588"/>
                    <a:pt x="289" y="588"/>
                    <a:pt x="289" y="588"/>
                  </a:cubicBezTo>
                  <a:cubicBezTo>
                    <a:pt x="289" y="590"/>
                    <a:pt x="289" y="590"/>
                    <a:pt x="289" y="590"/>
                  </a:cubicBezTo>
                  <a:cubicBezTo>
                    <a:pt x="289" y="590"/>
                    <a:pt x="289" y="590"/>
                    <a:pt x="289" y="590"/>
                  </a:cubicBezTo>
                  <a:cubicBezTo>
                    <a:pt x="289" y="590"/>
                    <a:pt x="289" y="589"/>
                    <a:pt x="290" y="589"/>
                  </a:cubicBezTo>
                  <a:cubicBezTo>
                    <a:pt x="290" y="588"/>
                    <a:pt x="291" y="587"/>
                    <a:pt x="292" y="586"/>
                  </a:cubicBezTo>
                  <a:cubicBezTo>
                    <a:pt x="293" y="584"/>
                    <a:pt x="295" y="582"/>
                    <a:pt x="297" y="580"/>
                  </a:cubicBezTo>
                  <a:cubicBezTo>
                    <a:pt x="297" y="579"/>
                    <a:pt x="298" y="579"/>
                    <a:pt x="298" y="578"/>
                  </a:cubicBezTo>
                  <a:cubicBezTo>
                    <a:pt x="301" y="576"/>
                    <a:pt x="304" y="574"/>
                    <a:pt x="309" y="573"/>
                  </a:cubicBezTo>
                  <a:cubicBezTo>
                    <a:pt x="311" y="572"/>
                    <a:pt x="311" y="572"/>
                    <a:pt x="311" y="572"/>
                  </a:cubicBezTo>
                  <a:cubicBezTo>
                    <a:pt x="312" y="572"/>
                    <a:pt x="312" y="572"/>
                    <a:pt x="312" y="572"/>
                  </a:cubicBezTo>
                  <a:cubicBezTo>
                    <a:pt x="313" y="573"/>
                    <a:pt x="313" y="573"/>
                    <a:pt x="313" y="573"/>
                  </a:cubicBezTo>
                  <a:cubicBezTo>
                    <a:pt x="313" y="573"/>
                    <a:pt x="313" y="573"/>
                    <a:pt x="313" y="573"/>
                  </a:cubicBezTo>
                  <a:cubicBezTo>
                    <a:pt x="315" y="573"/>
                    <a:pt x="317" y="573"/>
                    <a:pt x="318" y="574"/>
                  </a:cubicBezTo>
                  <a:cubicBezTo>
                    <a:pt x="319" y="575"/>
                    <a:pt x="319" y="575"/>
                    <a:pt x="319" y="575"/>
                  </a:cubicBezTo>
                  <a:cubicBezTo>
                    <a:pt x="319" y="575"/>
                    <a:pt x="319" y="575"/>
                    <a:pt x="319" y="575"/>
                  </a:cubicBezTo>
                  <a:cubicBezTo>
                    <a:pt x="319" y="576"/>
                    <a:pt x="319" y="577"/>
                    <a:pt x="319" y="577"/>
                  </a:cubicBezTo>
                  <a:cubicBezTo>
                    <a:pt x="319" y="577"/>
                    <a:pt x="319" y="577"/>
                    <a:pt x="319" y="577"/>
                  </a:cubicBezTo>
                  <a:cubicBezTo>
                    <a:pt x="320" y="577"/>
                    <a:pt x="320" y="577"/>
                    <a:pt x="321" y="577"/>
                  </a:cubicBezTo>
                  <a:cubicBezTo>
                    <a:pt x="323" y="577"/>
                    <a:pt x="324" y="578"/>
                    <a:pt x="325" y="578"/>
                  </a:cubicBezTo>
                  <a:cubicBezTo>
                    <a:pt x="326" y="578"/>
                    <a:pt x="326" y="578"/>
                    <a:pt x="326" y="578"/>
                  </a:cubicBezTo>
                  <a:cubicBezTo>
                    <a:pt x="327" y="578"/>
                    <a:pt x="327" y="578"/>
                    <a:pt x="327" y="578"/>
                  </a:cubicBezTo>
                  <a:cubicBezTo>
                    <a:pt x="327" y="578"/>
                    <a:pt x="327" y="578"/>
                    <a:pt x="327" y="578"/>
                  </a:cubicBezTo>
                  <a:cubicBezTo>
                    <a:pt x="327" y="579"/>
                    <a:pt x="328" y="579"/>
                    <a:pt x="328" y="579"/>
                  </a:cubicBezTo>
                  <a:cubicBezTo>
                    <a:pt x="328" y="579"/>
                    <a:pt x="328" y="579"/>
                    <a:pt x="328" y="579"/>
                  </a:cubicBezTo>
                  <a:cubicBezTo>
                    <a:pt x="328" y="579"/>
                    <a:pt x="329" y="579"/>
                    <a:pt x="329" y="579"/>
                  </a:cubicBezTo>
                  <a:cubicBezTo>
                    <a:pt x="329" y="579"/>
                    <a:pt x="329" y="579"/>
                    <a:pt x="329" y="579"/>
                  </a:cubicBezTo>
                  <a:cubicBezTo>
                    <a:pt x="330" y="578"/>
                    <a:pt x="332" y="577"/>
                    <a:pt x="333" y="577"/>
                  </a:cubicBezTo>
                  <a:cubicBezTo>
                    <a:pt x="335" y="577"/>
                    <a:pt x="337" y="578"/>
                    <a:pt x="338" y="578"/>
                  </a:cubicBezTo>
                  <a:cubicBezTo>
                    <a:pt x="340" y="579"/>
                    <a:pt x="341" y="579"/>
                    <a:pt x="342" y="580"/>
                  </a:cubicBezTo>
                  <a:cubicBezTo>
                    <a:pt x="342" y="581"/>
                    <a:pt x="343" y="581"/>
                    <a:pt x="343" y="582"/>
                  </a:cubicBezTo>
                  <a:cubicBezTo>
                    <a:pt x="343" y="582"/>
                    <a:pt x="343" y="582"/>
                    <a:pt x="343" y="582"/>
                  </a:cubicBezTo>
                  <a:cubicBezTo>
                    <a:pt x="343" y="582"/>
                    <a:pt x="344" y="583"/>
                    <a:pt x="344" y="583"/>
                  </a:cubicBezTo>
                  <a:cubicBezTo>
                    <a:pt x="344" y="583"/>
                    <a:pt x="344" y="583"/>
                    <a:pt x="344" y="583"/>
                  </a:cubicBezTo>
                  <a:cubicBezTo>
                    <a:pt x="345" y="583"/>
                    <a:pt x="345" y="583"/>
                    <a:pt x="345" y="583"/>
                  </a:cubicBezTo>
                  <a:cubicBezTo>
                    <a:pt x="345" y="583"/>
                    <a:pt x="345" y="583"/>
                    <a:pt x="346" y="583"/>
                  </a:cubicBezTo>
                  <a:cubicBezTo>
                    <a:pt x="356" y="582"/>
                    <a:pt x="356" y="582"/>
                    <a:pt x="356" y="582"/>
                  </a:cubicBezTo>
                  <a:cubicBezTo>
                    <a:pt x="356" y="582"/>
                    <a:pt x="356" y="582"/>
                    <a:pt x="356" y="582"/>
                  </a:cubicBezTo>
                  <a:cubicBezTo>
                    <a:pt x="357" y="582"/>
                    <a:pt x="358" y="581"/>
                    <a:pt x="359" y="580"/>
                  </a:cubicBezTo>
                  <a:cubicBezTo>
                    <a:pt x="359" y="580"/>
                    <a:pt x="358" y="580"/>
                    <a:pt x="358" y="579"/>
                  </a:cubicBezTo>
                  <a:cubicBezTo>
                    <a:pt x="358" y="578"/>
                    <a:pt x="359" y="578"/>
                    <a:pt x="359" y="577"/>
                  </a:cubicBezTo>
                  <a:cubicBezTo>
                    <a:pt x="359" y="576"/>
                    <a:pt x="360" y="576"/>
                    <a:pt x="361" y="575"/>
                  </a:cubicBezTo>
                  <a:cubicBezTo>
                    <a:pt x="362" y="574"/>
                    <a:pt x="363" y="574"/>
                    <a:pt x="363" y="573"/>
                  </a:cubicBezTo>
                  <a:cubicBezTo>
                    <a:pt x="364" y="573"/>
                    <a:pt x="364" y="573"/>
                    <a:pt x="364" y="573"/>
                  </a:cubicBezTo>
                  <a:cubicBezTo>
                    <a:pt x="365" y="573"/>
                    <a:pt x="365" y="573"/>
                    <a:pt x="365" y="573"/>
                  </a:cubicBezTo>
                  <a:cubicBezTo>
                    <a:pt x="364" y="570"/>
                    <a:pt x="364" y="570"/>
                    <a:pt x="364" y="570"/>
                  </a:cubicBezTo>
                  <a:cubicBezTo>
                    <a:pt x="366" y="572"/>
                    <a:pt x="366" y="572"/>
                    <a:pt x="366" y="572"/>
                  </a:cubicBezTo>
                  <a:cubicBezTo>
                    <a:pt x="367" y="572"/>
                    <a:pt x="367" y="572"/>
                    <a:pt x="367" y="572"/>
                  </a:cubicBezTo>
                  <a:cubicBezTo>
                    <a:pt x="367" y="571"/>
                    <a:pt x="367" y="571"/>
                    <a:pt x="367" y="571"/>
                  </a:cubicBezTo>
                  <a:cubicBezTo>
                    <a:pt x="368" y="570"/>
                    <a:pt x="368" y="570"/>
                    <a:pt x="368" y="570"/>
                  </a:cubicBezTo>
                  <a:cubicBezTo>
                    <a:pt x="368" y="568"/>
                    <a:pt x="369" y="567"/>
                    <a:pt x="370" y="566"/>
                  </a:cubicBezTo>
                  <a:cubicBezTo>
                    <a:pt x="371" y="565"/>
                    <a:pt x="372" y="565"/>
                    <a:pt x="373" y="565"/>
                  </a:cubicBezTo>
                  <a:cubicBezTo>
                    <a:pt x="374" y="565"/>
                    <a:pt x="374" y="565"/>
                    <a:pt x="374" y="565"/>
                  </a:cubicBezTo>
                  <a:cubicBezTo>
                    <a:pt x="376" y="565"/>
                    <a:pt x="378" y="564"/>
                    <a:pt x="379" y="564"/>
                  </a:cubicBezTo>
                  <a:cubicBezTo>
                    <a:pt x="383" y="563"/>
                    <a:pt x="383" y="563"/>
                    <a:pt x="383" y="563"/>
                  </a:cubicBezTo>
                  <a:cubicBezTo>
                    <a:pt x="384" y="562"/>
                    <a:pt x="385" y="561"/>
                    <a:pt x="386" y="560"/>
                  </a:cubicBezTo>
                  <a:cubicBezTo>
                    <a:pt x="386" y="559"/>
                    <a:pt x="386" y="559"/>
                    <a:pt x="386" y="559"/>
                  </a:cubicBezTo>
                  <a:cubicBezTo>
                    <a:pt x="387" y="559"/>
                    <a:pt x="387" y="559"/>
                    <a:pt x="387" y="559"/>
                  </a:cubicBezTo>
                  <a:cubicBezTo>
                    <a:pt x="388" y="558"/>
                    <a:pt x="388" y="558"/>
                    <a:pt x="388" y="558"/>
                  </a:cubicBezTo>
                  <a:cubicBezTo>
                    <a:pt x="389" y="557"/>
                    <a:pt x="391" y="556"/>
                    <a:pt x="392" y="555"/>
                  </a:cubicBezTo>
                  <a:cubicBezTo>
                    <a:pt x="393" y="554"/>
                    <a:pt x="394" y="554"/>
                    <a:pt x="394" y="553"/>
                  </a:cubicBezTo>
                  <a:cubicBezTo>
                    <a:pt x="395" y="553"/>
                    <a:pt x="395" y="552"/>
                    <a:pt x="396" y="552"/>
                  </a:cubicBezTo>
                  <a:cubicBezTo>
                    <a:pt x="397" y="552"/>
                    <a:pt x="397" y="552"/>
                    <a:pt x="398" y="552"/>
                  </a:cubicBezTo>
                  <a:cubicBezTo>
                    <a:pt x="399" y="552"/>
                    <a:pt x="399" y="552"/>
                    <a:pt x="400" y="552"/>
                  </a:cubicBezTo>
                  <a:cubicBezTo>
                    <a:pt x="400" y="552"/>
                    <a:pt x="400" y="552"/>
                    <a:pt x="400" y="552"/>
                  </a:cubicBezTo>
                  <a:cubicBezTo>
                    <a:pt x="401" y="552"/>
                    <a:pt x="401" y="553"/>
                    <a:pt x="401" y="553"/>
                  </a:cubicBezTo>
                  <a:cubicBezTo>
                    <a:pt x="401" y="553"/>
                    <a:pt x="401" y="553"/>
                    <a:pt x="401" y="553"/>
                  </a:cubicBezTo>
                  <a:cubicBezTo>
                    <a:pt x="402" y="554"/>
                    <a:pt x="402" y="554"/>
                    <a:pt x="402" y="554"/>
                  </a:cubicBezTo>
                  <a:cubicBezTo>
                    <a:pt x="402" y="554"/>
                    <a:pt x="403" y="554"/>
                    <a:pt x="403" y="554"/>
                  </a:cubicBezTo>
                  <a:cubicBezTo>
                    <a:pt x="404" y="555"/>
                    <a:pt x="404" y="555"/>
                    <a:pt x="404" y="555"/>
                  </a:cubicBezTo>
                  <a:cubicBezTo>
                    <a:pt x="404" y="555"/>
                    <a:pt x="404" y="555"/>
                    <a:pt x="404" y="555"/>
                  </a:cubicBezTo>
                  <a:cubicBezTo>
                    <a:pt x="405" y="555"/>
                    <a:pt x="405" y="555"/>
                    <a:pt x="406" y="555"/>
                  </a:cubicBezTo>
                  <a:cubicBezTo>
                    <a:pt x="406" y="555"/>
                    <a:pt x="406" y="555"/>
                    <a:pt x="407" y="555"/>
                  </a:cubicBezTo>
                  <a:cubicBezTo>
                    <a:pt x="407" y="555"/>
                    <a:pt x="408" y="556"/>
                    <a:pt x="409" y="556"/>
                  </a:cubicBezTo>
                  <a:cubicBezTo>
                    <a:pt x="410" y="556"/>
                    <a:pt x="410" y="557"/>
                    <a:pt x="411" y="557"/>
                  </a:cubicBezTo>
                  <a:cubicBezTo>
                    <a:pt x="411" y="557"/>
                    <a:pt x="412" y="557"/>
                    <a:pt x="412" y="557"/>
                  </a:cubicBezTo>
                  <a:cubicBezTo>
                    <a:pt x="412" y="557"/>
                    <a:pt x="413" y="556"/>
                    <a:pt x="414" y="555"/>
                  </a:cubicBezTo>
                  <a:cubicBezTo>
                    <a:pt x="419" y="551"/>
                    <a:pt x="423" y="549"/>
                    <a:pt x="425" y="549"/>
                  </a:cubicBezTo>
                  <a:cubicBezTo>
                    <a:pt x="426" y="549"/>
                    <a:pt x="426" y="549"/>
                    <a:pt x="426" y="549"/>
                  </a:cubicBezTo>
                  <a:cubicBezTo>
                    <a:pt x="427" y="549"/>
                    <a:pt x="428" y="550"/>
                    <a:pt x="428" y="551"/>
                  </a:cubicBezTo>
                  <a:cubicBezTo>
                    <a:pt x="429" y="551"/>
                    <a:pt x="429" y="551"/>
                    <a:pt x="429" y="551"/>
                  </a:cubicBezTo>
                  <a:cubicBezTo>
                    <a:pt x="429" y="551"/>
                    <a:pt x="429" y="551"/>
                    <a:pt x="429" y="551"/>
                  </a:cubicBezTo>
                  <a:cubicBezTo>
                    <a:pt x="430" y="552"/>
                    <a:pt x="430" y="552"/>
                    <a:pt x="430" y="552"/>
                  </a:cubicBezTo>
                  <a:cubicBezTo>
                    <a:pt x="431" y="552"/>
                    <a:pt x="433" y="553"/>
                    <a:pt x="433" y="555"/>
                  </a:cubicBezTo>
                  <a:cubicBezTo>
                    <a:pt x="433" y="555"/>
                    <a:pt x="433" y="555"/>
                    <a:pt x="433" y="555"/>
                  </a:cubicBezTo>
                  <a:cubicBezTo>
                    <a:pt x="433" y="555"/>
                    <a:pt x="433" y="555"/>
                    <a:pt x="433" y="555"/>
                  </a:cubicBezTo>
                  <a:cubicBezTo>
                    <a:pt x="433" y="556"/>
                    <a:pt x="433" y="556"/>
                    <a:pt x="433" y="557"/>
                  </a:cubicBezTo>
                  <a:cubicBezTo>
                    <a:pt x="433" y="557"/>
                    <a:pt x="433" y="557"/>
                    <a:pt x="433" y="557"/>
                  </a:cubicBezTo>
                  <a:cubicBezTo>
                    <a:pt x="440" y="554"/>
                    <a:pt x="440" y="554"/>
                    <a:pt x="440" y="554"/>
                  </a:cubicBezTo>
                  <a:cubicBezTo>
                    <a:pt x="435" y="560"/>
                    <a:pt x="435" y="560"/>
                    <a:pt x="435" y="560"/>
                  </a:cubicBezTo>
                  <a:cubicBezTo>
                    <a:pt x="435" y="560"/>
                    <a:pt x="435" y="560"/>
                    <a:pt x="435" y="560"/>
                  </a:cubicBezTo>
                  <a:cubicBezTo>
                    <a:pt x="436" y="561"/>
                    <a:pt x="436" y="561"/>
                    <a:pt x="436" y="561"/>
                  </a:cubicBezTo>
                  <a:cubicBezTo>
                    <a:pt x="436" y="561"/>
                    <a:pt x="436" y="561"/>
                    <a:pt x="436" y="561"/>
                  </a:cubicBezTo>
                  <a:cubicBezTo>
                    <a:pt x="437" y="562"/>
                    <a:pt x="438" y="563"/>
                    <a:pt x="438" y="565"/>
                  </a:cubicBezTo>
                  <a:cubicBezTo>
                    <a:pt x="438" y="566"/>
                    <a:pt x="437" y="568"/>
                    <a:pt x="435" y="568"/>
                  </a:cubicBezTo>
                  <a:cubicBezTo>
                    <a:pt x="435" y="568"/>
                    <a:pt x="435" y="568"/>
                    <a:pt x="435" y="568"/>
                  </a:cubicBezTo>
                  <a:cubicBezTo>
                    <a:pt x="434" y="569"/>
                    <a:pt x="434" y="569"/>
                    <a:pt x="434" y="569"/>
                  </a:cubicBezTo>
                  <a:cubicBezTo>
                    <a:pt x="434" y="570"/>
                    <a:pt x="434" y="570"/>
                    <a:pt x="434" y="570"/>
                  </a:cubicBezTo>
                  <a:cubicBezTo>
                    <a:pt x="434" y="570"/>
                    <a:pt x="434" y="570"/>
                    <a:pt x="434" y="570"/>
                  </a:cubicBezTo>
                  <a:cubicBezTo>
                    <a:pt x="435" y="570"/>
                    <a:pt x="436" y="570"/>
                    <a:pt x="437" y="570"/>
                  </a:cubicBezTo>
                  <a:cubicBezTo>
                    <a:pt x="438" y="570"/>
                    <a:pt x="438" y="570"/>
                    <a:pt x="438" y="570"/>
                  </a:cubicBezTo>
                  <a:cubicBezTo>
                    <a:pt x="439" y="570"/>
                    <a:pt x="440" y="571"/>
                    <a:pt x="441" y="571"/>
                  </a:cubicBezTo>
                  <a:cubicBezTo>
                    <a:pt x="442" y="571"/>
                    <a:pt x="442" y="571"/>
                    <a:pt x="442" y="571"/>
                  </a:cubicBezTo>
                  <a:cubicBezTo>
                    <a:pt x="443" y="571"/>
                    <a:pt x="444" y="571"/>
                    <a:pt x="445" y="571"/>
                  </a:cubicBezTo>
                  <a:cubicBezTo>
                    <a:pt x="445" y="571"/>
                    <a:pt x="445" y="571"/>
                    <a:pt x="445" y="571"/>
                  </a:cubicBezTo>
                  <a:cubicBezTo>
                    <a:pt x="446" y="572"/>
                    <a:pt x="447" y="572"/>
                    <a:pt x="448" y="573"/>
                  </a:cubicBezTo>
                  <a:cubicBezTo>
                    <a:pt x="448" y="573"/>
                    <a:pt x="448" y="573"/>
                    <a:pt x="448" y="573"/>
                  </a:cubicBezTo>
                  <a:cubicBezTo>
                    <a:pt x="449" y="572"/>
                    <a:pt x="450" y="570"/>
                    <a:pt x="451" y="569"/>
                  </a:cubicBezTo>
                  <a:cubicBezTo>
                    <a:pt x="452" y="568"/>
                    <a:pt x="453" y="568"/>
                    <a:pt x="454" y="568"/>
                  </a:cubicBezTo>
                  <a:cubicBezTo>
                    <a:pt x="454" y="568"/>
                    <a:pt x="455" y="568"/>
                    <a:pt x="455" y="568"/>
                  </a:cubicBezTo>
                  <a:cubicBezTo>
                    <a:pt x="456" y="568"/>
                    <a:pt x="457" y="568"/>
                    <a:pt x="458" y="569"/>
                  </a:cubicBezTo>
                  <a:cubicBezTo>
                    <a:pt x="458" y="569"/>
                    <a:pt x="458" y="569"/>
                    <a:pt x="458" y="569"/>
                  </a:cubicBezTo>
                  <a:cubicBezTo>
                    <a:pt x="459" y="569"/>
                    <a:pt x="459" y="570"/>
                    <a:pt x="459" y="570"/>
                  </a:cubicBezTo>
                  <a:cubicBezTo>
                    <a:pt x="459" y="571"/>
                    <a:pt x="459" y="571"/>
                    <a:pt x="459" y="571"/>
                  </a:cubicBezTo>
                  <a:cubicBezTo>
                    <a:pt x="460" y="571"/>
                    <a:pt x="460" y="571"/>
                    <a:pt x="461" y="571"/>
                  </a:cubicBezTo>
                  <a:cubicBezTo>
                    <a:pt x="462" y="572"/>
                    <a:pt x="463" y="572"/>
                    <a:pt x="463" y="573"/>
                  </a:cubicBezTo>
                  <a:cubicBezTo>
                    <a:pt x="463" y="573"/>
                    <a:pt x="464" y="574"/>
                    <a:pt x="464" y="574"/>
                  </a:cubicBezTo>
                  <a:cubicBezTo>
                    <a:pt x="465" y="575"/>
                    <a:pt x="465" y="575"/>
                    <a:pt x="465" y="575"/>
                  </a:cubicBezTo>
                  <a:cubicBezTo>
                    <a:pt x="467" y="577"/>
                    <a:pt x="467" y="580"/>
                    <a:pt x="468" y="582"/>
                  </a:cubicBezTo>
                  <a:cubicBezTo>
                    <a:pt x="468" y="583"/>
                    <a:pt x="468" y="584"/>
                    <a:pt x="469" y="585"/>
                  </a:cubicBezTo>
                  <a:cubicBezTo>
                    <a:pt x="469" y="586"/>
                    <a:pt x="469" y="586"/>
                    <a:pt x="469" y="586"/>
                  </a:cubicBezTo>
                  <a:cubicBezTo>
                    <a:pt x="469" y="585"/>
                    <a:pt x="470" y="585"/>
                    <a:pt x="470" y="585"/>
                  </a:cubicBezTo>
                  <a:cubicBezTo>
                    <a:pt x="470" y="585"/>
                    <a:pt x="471" y="585"/>
                    <a:pt x="471" y="585"/>
                  </a:cubicBezTo>
                  <a:cubicBezTo>
                    <a:pt x="472" y="586"/>
                    <a:pt x="472" y="586"/>
                    <a:pt x="473" y="586"/>
                  </a:cubicBezTo>
                  <a:cubicBezTo>
                    <a:pt x="473" y="586"/>
                    <a:pt x="473" y="586"/>
                    <a:pt x="473" y="586"/>
                  </a:cubicBezTo>
                  <a:cubicBezTo>
                    <a:pt x="474" y="585"/>
                    <a:pt x="474" y="585"/>
                    <a:pt x="474" y="585"/>
                  </a:cubicBezTo>
                  <a:cubicBezTo>
                    <a:pt x="477" y="588"/>
                    <a:pt x="477" y="588"/>
                    <a:pt x="477" y="588"/>
                  </a:cubicBezTo>
                  <a:cubicBezTo>
                    <a:pt x="477" y="588"/>
                    <a:pt x="477" y="589"/>
                    <a:pt x="478" y="590"/>
                  </a:cubicBezTo>
                  <a:cubicBezTo>
                    <a:pt x="478" y="590"/>
                    <a:pt x="478" y="590"/>
                    <a:pt x="478" y="591"/>
                  </a:cubicBezTo>
                  <a:cubicBezTo>
                    <a:pt x="479" y="593"/>
                    <a:pt x="479" y="597"/>
                    <a:pt x="479" y="600"/>
                  </a:cubicBezTo>
                  <a:cubicBezTo>
                    <a:pt x="479" y="602"/>
                    <a:pt x="479" y="602"/>
                    <a:pt x="479" y="602"/>
                  </a:cubicBezTo>
                  <a:cubicBezTo>
                    <a:pt x="479" y="602"/>
                    <a:pt x="479" y="603"/>
                    <a:pt x="479" y="603"/>
                  </a:cubicBezTo>
                  <a:cubicBezTo>
                    <a:pt x="479" y="604"/>
                    <a:pt x="479" y="604"/>
                    <a:pt x="479" y="604"/>
                  </a:cubicBezTo>
                  <a:cubicBezTo>
                    <a:pt x="479" y="607"/>
                    <a:pt x="479" y="610"/>
                    <a:pt x="479" y="612"/>
                  </a:cubicBezTo>
                  <a:cubicBezTo>
                    <a:pt x="478" y="613"/>
                    <a:pt x="478" y="614"/>
                    <a:pt x="478" y="614"/>
                  </a:cubicBezTo>
                  <a:cubicBezTo>
                    <a:pt x="478" y="615"/>
                    <a:pt x="477" y="616"/>
                    <a:pt x="477" y="617"/>
                  </a:cubicBezTo>
                  <a:cubicBezTo>
                    <a:pt x="477" y="617"/>
                    <a:pt x="476" y="618"/>
                    <a:pt x="476" y="619"/>
                  </a:cubicBezTo>
                  <a:cubicBezTo>
                    <a:pt x="476" y="620"/>
                    <a:pt x="476" y="620"/>
                    <a:pt x="476" y="620"/>
                  </a:cubicBezTo>
                  <a:cubicBezTo>
                    <a:pt x="476" y="621"/>
                    <a:pt x="476" y="621"/>
                    <a:pt x="476" y="621"/>
                  </a:cubicBezTo>
                  <a:cubicBezTo>
                    <a:pt x="476" y="622"/>
                    <a:pt x="476" y="622"/>
                    <a:pt x="477" y="623"/>
                  </a:cubicBezTo>
                  <a:cubicBezTo>
                    <a:pt x="477" y="623"/>
                    <a:pt x="478" y="625"/>
                    <a:pt x="477" y="627"/>
                  </a:cubicBezTo>
                  <a:cubicBezTo>
                    <a:pt x="476" y="627"/>
                    <a:pt x="476" y="627"/>
                    <a:pt x="476" y="627"/>
                  </a:cubicBezTo>
                  <a:cubicBezTo>
                    <a:pt x="476" y="628"/>
                    <a:pt x="475" y="628"/>
                    <a:pt x="475" y="629"/>
                  </a:cubicBezTo>
                  <a:cubicBezTo>
                    <a:pt x="474" y="630"/>
                    <a:pt x="474" y="630"/>
                    <a:pt x="474" y="630"/>
                  </a:cubicBezTo>
                  <a:cubicBezTo>
                    <a:pt x="472" y="631"/>
                    <a:pt x="471" y="633"/>
                    <a:pt x="469" y="633"/>
                  </a:cubicBezTo>
                  <a:cubicBezTo>
                    <a:pt x="469" y="633"/>
                    <a:pt x="468" y="633"/>
                    <a:pt x="468" y="633"/>
                  </a:cubicBezTo>
                  <a:cubicBezTo>
                    <a:pt x="467" y="633"/>
                    <a:pt x="467" y="633"/>
                    <a:pt x="467" y="633"/>
                  </a:cubicBezTo>
                  <a:cubicBezTo>
                    <a:pt x="466" y="634"/>
                    <a:pt x="466" y="634"/>
                    <a:pt x="466" y="634"/>
                  </a:cubicBezTo>
                  <a:cubicBezTo>
                    <a:pt x="466" y="635"/>
                    <a:pt x="466" y="635"/>
                    <a:pt x="466" y="635"/>
                  </a:cubicBezTo>
                  <a:cubicBezTo>
                    <a:pt x="466" y="637"/>
                    <a:pt x="463" y="638"/>
                    <a:pt x="462" y="638"/>
                  </a:cubicBezTo>
                  <a:cubicBezTo>
                    <a:pt x="461" y="638"/>
                    <a:pt x="461" y="638"/>
                    <a:pt x="461" y="638"/>
                  </a:cubicBezTo>
                  <a:cubicBezTo>
                    <a:pt x="461" y="639"/>
                    <a:pt x="461" y="639"/>
                    <a:pt x="460" y="640"/>
                  </a:cubicBezTo>
                  <a:cubicBezTo>
                    <a:pt x="460" y="642"/>
                    <a:pt x="460" y="642"/>
                    <a:pt x="460" y="643"/>
                  </a:cubicBezTo>
                  <a:cubicBezTo>
                    <a:pt x="460" y="643"/>
                    <a:pt x="460" y="643"/>
                    <a:pt x="460" y="643"/>
                  </a:cubicBezTo>
                  <a:cubicBezTo>
                    <a:pt x="461" y="643"/>
                    <a:pt x="461" y="643"/>
                    <a:pt x="461" y="643"/>
                  </a:cubicBezTo>
                  <a:cubicBezTo>
                    <a:pt x="460" y="646"/>
                    <a:pt x="460" y="646"/>
                    <a:pt x="460" y="646"/>
                  </a:cubicBezTo>
                  <a:cubicBezTo>
                    <a:pt x="459" y="647"/>
                    <a:pt x="458" y="648"/>
                    <a:pt x="457" y="648"/>
                  </a:cubicBezTo>
                  <a:cubicBezTo>
                    <a:pt x="457" y="649"/>
                    <a:pt x="457" y="649"/>
                    <a:pt x="457" y="649"/>
                  </a:cubicBezTo>
                  <a:cubicBezTo>
                    <a:pt x="457" y="649"/>
                    <a:pt x="457" y="649"/>
                    <a:pt x="456" y="649"/>
                  </a:cubicBezTo>
                  <a:cubicBezTo>
                    <a:pt x="455" y="649"/>
                    <a:pt x="455" y="650"/>
                    <a:pt x="455" y="651"/>
                  </a:cubicBezTo>
                  <a:cubicBezTo>
                    <a:pt x="455" y="652"/>
                    <a:pt x="455" y="652"/>
                    <a:pt x="455" y="652"/>
                  </a:cubicBezTo>
                  <a:cubicBezTo>
                    <a:pt x="457" y="652"/>
                    <a:pt x="457" y="653"/>
                    <a:pt x="458" y="655"/>
                  </a:cubicBezTo>
                  <a:cubicBezTo>
                    <a:pt x="459" y="656"/>
                    <a:pt x="459" y="659"/>
                    <a:pt x="458" y="661"/>
                  </a:cubicBezTo>
                  <a:cubicBezTo>
                    <a:pt x="458" y="661"/>
                    <a:pt x="458" y="661"/>
                    <a:pt x="458" y="661"/>
                  </a:cubicBezTo>
                  <a:cubicBezTo>
                    <a:pt x="458" y="661"/>
                    <a:pt x="458" y="661"/>
                    <a:pt x="457" y="662"/>
                  </a:cubicBezTo>
                  <a:cubicBezTo>
                    <a:pt x="457" y="662"/>
                    <a:pt x="457" y="662"/>
                    <a:pt x="457" y="662"/>
                  </a:cubicBezTo>
                  <a:cubicBezTo>
                    <a:pt x="458" y="662"/>
                    <a:pt x="459" y="661"/>
                    <a:pt x="460" y="660"/>
                  </a:cubicBezTo>
                  <a:cubicBezTo>
                    <a:pt x="461" y="660"/>
                    <a:pt x="461" y="660"/>
                    <a:pt x="461" y="660"/>
                  </a:cubicBezTo>
                  <a:cubicBezTo>
                    <a:pt x="461" y="659"/>
                    <a:pt x="462" y="659"/>
                    <a:pt x="463" y="659"/>
                  </a:cubicBezTo>
                  <a:cubicBezTo>
                    <a:pt x="464" y="658"/>
                    <a:pt x="464" y="658"/>
                    <a:pt x="464" y="658"/>
                  </a:cubicBezTo>
                  <a:cubicBezTo>
                    <a:pt x="465" y="658"/>
                    <a:pt x="465" y="658"/>
                    <a:pt x="465" y="658"/>
                  </a:cubicBezTo>
                  <a:cubicBezTo>
                    <a:pt x="465" y="658"/>
                    <a:pt x="466" y="658"/>
                    <a:pt x="466" y="658"/>
                  </a:cubicBezTo>
                  <a:cubicBezTo>
                    <a:pt x="468" y="658"/>
                    <a:pt x="469" y="658"/>
                    <a:pt x="470" y="658"/>
                  </a:cubicBezTo>
                  <a:cubicBezTo>
                    <a:pt x="471" y="658"/>
                    <a:pt x="471" y="658"/>
                    <a:pt x="471" y="658"/>
                  </a:cubicBezTo>
                  <a:cubicBezTo>
                    <a:pt x="471" y="658"/>
                    <a:pt x="471" y="658"/>
                    <a:pt x="472" y="658"/>
                  </a:cubicBezTo>
                  <a:cubicBezTo>
                    <a:pt x="474" y="658"/>
                    <a:pt x="476" y="658"/>
                    <a:pt x="478" y="657"/>
                  </a:cubicBezTo>
                  <a:cubicBezTo>
                    <a:pt x="484" y="655"/>
                    <a:pt x="484" y="655"/>
                    <a:pt x="484" y="655"/>
                  </a:cubicBezTo>
                  <a:cubicBezTo>
                    <a:pt x="478" y="666"/>
                    <a:pt x="478" y="666"/>
                    <a:pt x="478" y="666"/>
                  </a:cubicBezTo>
                  <a:cubicBezTo>
                    <a:pt x="478" y="666"/>
                    <a:pt x="478" y="666"/>
                    <a:pt x="478" y="666"/>
                  </a:cubicBezTo>
                  <a:cubicBezTo>
                    <a:pt x="478" y="667"/>
                    <a:pt x="478" y="667"/>
                    <a:pt x="478" y="667"/>
                  </a:cubicBezTo>
                  <a:cubicBezTo>
                    <a:pt x="478" y="668"/>
                    <a:pt x="478" y="668"/>
                    <a:pt x="478" y="668"/>
                  </a:cubicBezTo>
                  <a:cubicBezTo>
                    <a:pt x="478" y="668"/>
                    <a:pt x="478" y="669"/>
                    <a:pt x="479" y="670"/>
                  </a:cubicBezTo>
                  <a:cubicBezTo>
                    <a:pt x="479" y="670"/>
                    <a:pt x="479" y="671"/>
                    <a:pt x="479" y="671"/>
                  </a:cubicBezTo>
                  <a:cubicBezTo>
                    <a:pt x="480" y="672"/>
                    <a:pt x="480" y="673"/>
                    <a:pt x="480" y="674"/>
                  </a:cubicBezTo>
                  <a:cubicBezTo>
                    <a:pt x="481" y="676"/>
                    <a:pt x="481" y="676"/>
                    <a:pt x="481" y="676"/>
                  </a:cubicBezTo>
                  <a:cubicBezTo>
                    <a:pt x="481" y="677"/>
                    <a:pt x="482" y="678"/>
                    <a:pt x="483" y="678"/>
                  </a:cubicBezTo>
                  <a:cubicBezTo>
                    <a:pt x="484" y="678"/>
                    <a:pt x="484" y="678"/>
                    <a:pt x="485" y="678"/>
                  </a:cubicBezTo>
                  <a:cubicBezTo>
                    <a:pt x="485" y="678"/>
                    <a:pt x="485" y="678"/>
                    <a:pt x="485" y="678"/>
                  </a:cubicBezTo>
                  <a:cubicBezTo>
                    <a:pt x="487" y="674"/>
                    <a:pt x="487" y="674"/>
                    <a:pt x="487" y="674"/>
                  </a:cubicBezTo>
                  <a:cubicBezTo>
                    <a:pt x="486" y="678"/>
                    <a:pt x="486" y="678"/>
                    <a:pt x="486" y="678"/>
                  </a:cubicBezTo>
                  <a:cubicBezTo>
                    <a:pt x="487" y="679"/>
                    <a:pt x="487" y="679"/>
                    <a:pt x="487" y="679"/>
                  </a:cubicBezTo>
                  <a:cubicBezTo>
                    <a:pt x="487" y="679"/>
                    <a:pt x="488" y="679"/>
                    <a:pt x="488" y="679"/>
                  </a:cubicBezTo>
                  <a:cubicBezTo>
                    <a:pt x="490" y="679"/>
                    <a:pt x="492" y="679"/>
                    <a:pt x="493" y="681"/>
                  </a:cubicBezTo>
                  <a:cubicBezTo>
                    <a:pt x="493" y="682"/>
                    <a:pt x="493" y="682"/>
                    <a:pt x="493" y="682"/>
                  </a:cubicBezTo>
                  <a:cubicBezTo>
                    <a:pt x="494" y="682"/>
                    <a:pt x="494" y="682"/>
                    <a:pt x="494" y="682"/>
                  </a:cubicBezTo>
                  <a:cubicBezTo>
                    <a:pt x="494" y="684"/>
                    <a:pt x="494" y="686"/>
                    <a:pt x="491" y="687"/>
                  </a:cubicBezTo>
                  <a:cubicBezTo>
                    <a:pt x="491" y="687"/>
                    <a:pt x="491" y="688"/>
                    <a:pt x="490" y="688"/>
                  </a:cubicBezTo>
                  <a:cubicBezTo>
                    <a:pt x="490" y="688"/>
                    <a:pt x="490" y="688"/>
                    <a:pt x="490" y="688"/>
                  </a:cubicBezTo>
                  <a:cubicBezTo>
                    <a:pt x="490" y="689"/>
                    <a:pt x="490" y="689"/>
                    <a:pt x="490" y="689"/>
                  </a:cubicBezTo>
                  <a:cubicBezTo>
                    <a:pt x="490" y="689"/>
                    <a:pt x="490" y="689"/>
                    <a:pt x="490" y="689"/>
                  </a:cubicBezTo>
                  <a:cubicBezTo>
                    <a:pt x="490" y="690"/>
                    <a:pt x="490" y="690"/>
                    <a:pt x="490" y="690"/>
                  </a:cubicBezTo>
                  <a:cubicBezTo>
                    <a:pt x="489" y="691"/>
                    <a:pt x="489" y="692"/>
                    <a:pt x="489" y="692"/>
                  </a:cubicBezTo>
                  <a:cubicBezTo>
                    <a:pt x="489" y="693"/>
                    <a:pt x="489" y="694"/>
                    <a:pt x="489" y="695"/>
                  </a:cubicBezTo>
                  <a:cubicBezTo>
                    <a:pt x="488" y="695"/>
                    <a:pt x="488" y="695"/>
                    <a:pt x="488" y="695"/>
                  </a:cubicBezTo>
                  <a:cubicBezTo>
                    <a:pt x="488" y="696"/>
                    <a:pt x="488" y="697"/>
                    <a:pt x="487" y="698"/>
                  </a:cubicBezTo>
                  <a:cubicBezTo>
                    <a:pt x="498" y="699"/>
                    <a:pt x="498" y="699"/>
                    <a:pt x="498" y="699"/>
                  </a:cubicBezTo>
                  <a:cubicBezTo>
                    <a:pt x="499" y="699"/>
                    <a:pt x="499" y="699"/>
                    <a:pt x="499" y="699"/>
                  </a:cubicBezTo>
                  <a:cubicBezTo>
                    <a:pt x="500" y="700"/>
                    <a:pt x="500" y="700"/>
                    <a:pt x="501" y="700"/>
                  </a:cubicBezTo>
                  <a:cubicBezTo>
                    <a:pt x="501" y="701"/>
                    <a:pt x="501" y="701"/>
                    <a:pt x="501" y="701"/>
                  </a:cubicBezTo>
                  <a:cubicBezTo>
                    <a:pt x="501" y="701"/>
                    <a:pt x="501" y="702"/>
                    <a:pt x="502" y="702"/>
                  </a:cubicBezTo>
                  <a:cubicBezTo>
                    <a:pt x="502" y="703"/>
                    <a:pt x="502" y="704"/>
                    <a:pt x="502" y="704"/>
                  </a:cubicBezTo>
                  <a:cubicBezTo>
                    <a:pt x="502" y="705"/>
                    <a:pt x="502" y="705"/>
                    <a:pt x="502" y="705"/>
                  </a:cubicBezTo>
                  <a:cubicBezTo>
                    <a:pt x="502" y="706"/>
                    <a:pt x="502" y="706"/>
                    <a:pt x="502" y="706"/>
                  </a:cubicBezTo>
                  <a:cubicBezTo>
                    <a:pt x="502" y="706"/>
                    <a:pt x="502" y="706"/>
                    <a:pt x="502" y="706"/>
                  </a:cubicBezTo>
                  <a:cubicBezTo>
                    <a:pt x="502" y="707"/>
                    <a:pt x="502" y="707"/>
                    <a:pt x="503" y="708"/>
                  </a:cubicBezTo>
                  <a:cubicBezTo>
                    <a:pt x="503" y="709"/>
                    <a:pt x="503" y="709"/>
                    <a:pt x="503" y="709"/>
                  </a:cubicBezTo>
                  <a:cubicBezTo>
                    <a:pt x="503" y="709"/>
                    <a:pt x="504" y="709"/>
                    <a:pt x="504" y="710"/>
                  </a:cubicBezTo>
                  <a:cubicBezTo>
                    <a:pt x="504" y="710"/>
                    <a:pt x="504" y="710"/>
                    <a:pt x="504" y="710"/>
                  </a:cubicBezTo>
                  <a:cubicBezTo>
                    <a:pt x="505" y="711"/>
                    <a:pt x="505" y="711"/>
                    <a:pt x="505" y="711"/>
                  </a:cubicBezTo>
                  <a:cubicBezTo>
                    <a:pt x="510" y="709"/>
                    <a:pt x="510" y="709"/>
                    <a:pt x="510" y="709"/>
                  </a:cubicBezTo>
                  <a:cubicBezTo>
                    <a:pt x="512" y="709"/>
                    <a:pt x="513" y="708"/>
                    <a:pt x="515" y="708"/>
                  </a:cubicBezTo>
                  <a:cubicBezTo>
                    <a:pt x="515" y="707"/>
                    <a:pt x="516" y="707"/>
                    <a:pt x="517" y="707"/>
                  </a:cubicBezTo>
                  <a:cubicBezTo>
                    <a:pt x="518" y="707"/>
                    <a:pt x="518" y="707"/>
                    <a:pt x="518" y="707"/>
                  </a:cubicBezTo>
                  <a:cubicBezTo>
                    <a:pt x="518" y="706"/>
                    <a:pt x="519" y="706"/>
                    <a:pt x="519" y="706"/>
                  </a:cubicBezTo>
                  <a:cubicBezTo>
                    <a:pt x="522" y="703"/>
                    <a:pt x="522" y="703"/>
                    <a:pt x="522" y="703"/>
                  </a:cubicBezTo>
                  <a:cubicBezTo>
                    <a:pt x="523" y="707"/>
                    <a:pt x="523" y="707"/>
                    <a:pt x="523" y="707"/>
                  </a:cubicBezTo>
                  <a:cubicBezTo>
                    <a:pt x="524" y="708"/>
                    <a:pt x="524" y="709"/>
                    <a:pt x="524" y="710"/>
                  </a:cubicBezTo>
                  <a:cubicBezTo>
                    <a:pt x="524" y="710"/>
                    <a:pt x="524" y="710"/>
                    <a:pt x="524" y="710"/>
                  </a:cubicBezTo>
                  <a:cubicBezTo>
                    <a:pt x="524" y="711"/>
                    <a:pt x="524" y="711"/>
                    <a:pt x="524" y="711"/>
                  </a:cubicBezTo>
                  <a:cubicBezTo>
                    <a:pt x="524" y="711"/>
                    <a:pt x="524" y="712"/>
                    <a:pt x="524" y="712"/>
                  </a:cubicBezTo>
                  <a:cubicBezTo>
                    <a:pt x="525" y="713"/>
                    <a:pt x="525" y="715"/>
                    <a:pt x="526" y="716"/>
                  </a:cubicBezTo>
                  <a:cubicBezTo>
                    <a:pt x="527" y="716"/>
                    <a:pt x="527" y="716"/>
                    <a:pt x="527" y="716"/>
                  </a:cubicBezTo>
                  <a:cubicBezTo>
                    <a:pt x="527" y="716"/>
                    <a:pt x="527" y="716"/>
                    <a:pt x="527" y="716"/>
                  </a:cubicBezTo>
                  <a:cubicBezTo>
                    <a:pt x="528" y="716"/>
                    <a:pt x="528" y="716"/>
                    <a:pt x="528" y="716"/>
                  </a:cubicBezTo>
                  <a:cubicBezTo>
                    <a:pt x="529" y="716"/>
                    <a:pt x="530" y="716"/>
                    <a:pt x="530" y="717"/>
                  </a:cubicBezTo>
                  <a:cubicBezTo>
                    <a:pt x="531" y="717"/>
                    <a:pt x="531" y="717"/>
                    <a:pt x="531" y="717"/>
                  </a:cubicBezTo>
                  <a:cubicBezTo>
                    <a:pt x="531" y="717"/>
                    <a:pt x="531" y="717"/>
                    <a:pt x="531" y="717"/>
                  </a:cubicBezTo>
                  <a:cubicBezTo>
                    <a:pt x="530" y="715"/>
                    <a:pt x="531" y="713"/>
                    <a:pt x="531" y="710"/>
                  </a:cubicBezTo>
                  <a:cubicBezTo>
                    <a:pt x="531" y="709"/>
                    <a:pt x="531" y="709"/>
                    <a:pt x="531" y="709"/>
                  </a:cubicBezTo>
                  <a:cubicBezTo>
                    <a:pt x="531" y="707"/>
                    <a:pt x="531" y="707"/>
                    <a:pt x="530" y="705"/>
                  </a:cubicBezTo>
                  <a:cubicBezTo>
                    <a:pt x="530" y="704"/>
                    <a:pt x="530" y="704"/>
                    <a:pt x="529" y="703"/>
                  </a:cubicBezTo>
                  <a:cubicBezTo>
                    <a:pt x="529" y="703"/>
                    <a:pt x="529" y="703"/>
                    <a:pt x="529" y="703"/>
                  </a:cubicBezTo>
                  <a:cubicBezTo>
                    <a:pt x="528" y="701"/>
                    <a:pt x="527" y="700"/>
                    <a:pt x="527" y="698"/>
                  </a:cubicBezTo>
                  <a:cubicBezTo>
                    <a:pt x="527" y="697"/>
                    <a:pt x="527" y="697"/>
                    <a:pt x="528" y="696"/>
                  </a:cubicBezTo>
                  <a:cubicBezTo>
                    <a:pt x="528" y="696"/>
                    <a:pt x="528" y="696"/>
                    <a:pt x="528" y="696"/>
                  </a:cubicBezTo>
                  <a:cubicBezTo>
                    <a:pt x="528" y="696"/>
                    <a:pt x="528" y="696"/>
                    <a:pt x="528" y="696"/>
                  </a:cubicBezTo>
                  <a:cubicBezTo>
                    <a:pt x="528" y="695"/>
                    <a:pt x="529" y="694"/>
                    <a:pt x="530" y="693"/>
                  </a:cubicBezTo>
                  <a:cubicBezTo>
                    <a:pt x="530" y="693"/>
                    <a:pt x="530" y="693"/>
                    <a:pt x="530" y="693"/>
                  </a:cubicBezTo>
                  <a:cubicBezTo>
                    <a:pt x="530" y="692"/>
                    <a:pt x="530" y="692"/>
                    <a:pt x="530" y="692"/>
                  </a:cubicBezTo>
                  <a:cubicBezTo>
                    <a:pt x="531" y="691"/>
                    <a:pt x="532" y="691"/>
                    <a:pt x="532" y="691"/>
                  </a:cubicBezTo>
                  <a:cubicBezTo>
                    <a:pt x="532" y="691"/>
                    <a:pt x="533" y="690"/>
                    <a:pt x="534" y="690"/>
                  </a:cubicBezTo>
                  <a:cubicBezTo>
                    <a:pt x="535" y="690"/>
                    <a:pt x="537" y="691"/>
                    <a:pt x="538" y="692"/>
                  </a:cubicBezTo>
                  <a:cubicBezTo>
                    <a:pt x="539" y="692"/>
                    <a:pt x="539" y="692"/>
                    <a:pt x="539" y="692"/>
                  </a:cubicBezTo>
                  <a:cubicBezTo>
                    <a:pt x="540" y="692"/>
                    <a:pt x="540" y="692"/>
                    <a:pt x="540" y="692"/>
                  </a:cubicBezTo>
                  <a:cubicBezTo>
                    <a:pt x="540" y="692"/>
                    <a:pt x="540" y="692"/>
                    <a:pt x="540" y="692"/>
                  </a:cubicBezTo>
                  <a:cubicBezTo>
                    <a:pt x="542" y="691"/>
                    <a:pt x="543" y="690"/>
                    <a:pt x="544" y="688"/>
                  </a:cubicBezTo>
                  <a:cubicBezTo>
                    <a:pt x="544" y="688"/>
                    <a:pt x="544" y="688"/>
                    <a:pt x="544" y="688"/>
                  </a:cubicBezTo>
                  <a:cubicBezTo>
                    <a:pt x="545" y="687"/>
                    <a:pt x="546" y="685"/>
                    <a:pt x="548" y="685"/>
                  </a:cubicBezTo>
                  <a:cubicBezTo>
                    <a:pt x="548" y="685"/>
                    <a:pt x="548" y="685"/>
                    <a:pt x="548" y="685"/>
                  </a:cubicBezTo>
                  <a:cubicBezTo>
                    <a:pt x="549" y="685"/>
                    <a:pt x="549" y="685"/>
                    <a:pt x="550" y="686"/>
                  </a:cubicBezTo>
                  <a:cubicBezTo>
                    <a:pt x="550" y="686"/>
                    <a:pt x="551" y="686"/>
                    <a:pt x="552" y="687"/>
                  </a:cubicBezTo>
                  <a:cubicBezTo>
                    <a:pt x="553" y="687"/>
                    <a:pt x="553" y="687"/>
                    <a:pt x="553" y="687"/>
                  </a:cubicBezTo>
                  <a:cubicBezTo>
                    <a:pt x="554" y="688"/>
                    <a:pt x="555" y="688"/>
                    <a:pt x="556" y="689"/>
                  </a:cubicBezTo>
                  <a:cubicBezTo>
                    <a:pt x="556" y="689"/>
                    <a:pt x="557" y="690"/>
                    <a:pt x="557" y="691"/>
                  </a:cubicBezTo>
                  <a:cubicBezTo>
                    <a:pt x="558" y="691"/>
                    <a:pt x="558" y="691"/>
                    <a:pt x="558" y="691"/>
                  </a:cubicBezTo>
                  <a:cubicBezTo>
                    <a:pt x="558" y="690"/>
                    <a:pt x="558" y="690"/>
                    <a:pt x="558" y="689"/>
                  </a:cubicBezTo>
                  <a:cubicBezTo>
                    <a:pt x="559" y="689"/>
                    <a:pt x="559" y="689"/>
                    <a:pt x="559" y="689"/>
                  </a:cubicBezTo>
                  <a:cubicBezTo>
                    <a:pt x="559" y="689"/>
                    <a:pt x="559" y="689"/>
                    <a:pt x="559" y="689"/>
                  </a:cubicBezTo>
                  <a:cubicBezTo>
                    <a:pt x="560" y="688"/>
                    <a:pt x="560" y="688"/>
                    <a:pt x="560" y="688"/>
                  </a:cubicBezTo>
                  <a:cubicBezTo>
                    <a:pt x="561" y="687"/>
                    <a:pt x="561" y="687"/>
                    <a:pt x="561" y="687"/>
                  </a:cubicBezTo>
                  <a:cubicBezTo>
                    <a:pt x="561" y="686"/>
                    <a:pt x="562" y="685"/>
                    <a:pt x="563" y="685"/>
                  </a:cubicBezTo>
                  <a:cubicBezTo>
                    <a:pt x="563" y="685"/>
                    <a:pt x="563" y="685"/>
                    <a:pt x="563" y="685"/>
                  </a:cubicBezTo>
                  <a:cubicBezTo>
                    <a:pt x="565" y="685"/>
                    <a:pt x="565" y="685"/>
                    <a:pt x="565" y="685"/>
                  </a:cubicBezTo>
                  <a:cubicBezTo>
                    <a:pt x="566" y="685"/>
                    <a:pt x="566" y="685"/>
                    <a:pt x="566" y="685"/>
                  </a:cubicBezTo>
                  <a:cubicBezTo>
                    <a:pt x="566" y="685"/>
                    <a:pt x="566" y="686"/>
                    <a:pt x="567" y="686"/>
                  </a:cubicBezTo>
                  <a:cubicBezTo>
                    <a:pt x="567" y="687"/>
                    <a:pt x="567" y="687"/>
                    <a:pt x="567" y="687"/>
                  </a:cubicBezTo>
                  <a:cubicBezTo>
                    <a:pt x="568" y="686"/>
                    <a:pt x="568" y="686"/>
                    <a:pt x="568" y="686"/>
                  </a:cubicBezTo>
                  <a:cubicBezTo>
                    <a:pt x="569" y="683"/>
                    <a:pt x="569" y="683"/>
                    <a:pt x="569" y="683"/>
                  </a:cubicBezTo>
                  <a:cubicBezTo>
                    <a:pt x="571" y="686"/>
                    <a:pt x="571" y="686"/>
                    <a:pt x="571" y="686"/>
                  </a:cubicBezTo>
                  <a:cubicBezTo>
                    <a:pt x="572" y="686"/>
                    <a:pt x="572" y="687"/>
                    <a:pt x="572" y="687"/>
                  </a:cubicBezTo>
                  <a:cubicBezTo>
                    <a:pt x="573" y="687"/>
                    <a:pt x="573" y="688"/>
                    <a:pt x="574" y="688"/>
                  </a:cubicBezTo>
                  <a:cubicBezTo>
                    <a:pt x="574" y="689"/>
                    <a:pt x="575" y="689"/>
                    <a:pt x="575" y="690"/>
                  </a:cubicBezTo>
                  <a:cubicBezTo>
                    <a:pt x="575" y="690"/>
                    <a:pt x="575" y="690"/>
                    <a:pt x="575" y="690"/>
                  </a:cubicBezTo>
                  <a:cubicBezTo>
                    <a:pt x="581" y="682"/>
                    <a:pt x="581" y="682"/>
                    <a:pt x="581" y="682"/>
                  </a:cubicBezTo>
                  <a:cubicBezTo>
                    <a:pt x="583" y="685"/>
                    <a:pt x="583" y="685"/>
                    <a:pt x="583" y="685"/>
                  </a:cubicBezTo>
                  <a:cubicBezTo>
                    <a:pt x="584" y="686"/>
                    <a:pt x="584" y="686"/>
                    <a:pt x="584" y="686"/>
                  </a:cubicBezTo>
                  <a:cubicBezTo>
                    <a:pt x="587" y="685"/>
                    <a:pt x="587" y="685"/>
                    <a:pt x="587" y="685"/>
                  </a:cubicBezTo>
                  <a:cubicBezTo>
                    <a:pt x="588" y="685"/>
                    <a:pt x="588" y="684"/>
                    <a:pt x="589" y="684"/>
                  </a:cubicBezTo>
                  <a:cubicBezTo>
                    <a:pt x="589" y="684"/>
                    <a:pt x="589" y="684"/>
                    <a:pt x="589" y="684"/>
                  </a:cubicBezTo>
                  <a:cubicBezTo>
                    <a:pt x="590" y="683"/>
                    <a:pt x="590" y="683"/>
                    <a:pt x="590" y="683"/>
                  </a:cubicBezTo>
                  <a:cubicBezTo>
                    <a:pt x="591" y="682"/>
                    <a:pt x="592" y="681"/>
                    <a:pt x="592" y="680"/>
                  </a:cubicBezTo>
                  <a:cubicBezTo>
                    <a:pt x="593" y="677"/>
                    <a:pt x="593" y="677"/>
                    <a:pt x="593" y="677"/>
                  </a:cubicBezTo>
                  <a:cubicBezTo>
                    <a:pt x="594" y="677"/>
                    <a:pt x="594" y="677"/>
                    <a:pt x="594" y="677"/>
                  </a:cubicBezTo>
                  <a:cubicBezTo>
                    <a:pt x="595" y="676"/>
                    <a:pt x="595" y="676"/>
                    <a:pt x="595" y="676"/>
                  </a:cubicBezTo>
                  <a:cubicBezTo>
                    <a:pt x="595" y="676"/>
                    <a:pt x="595" y="676"/>
                    <a:pt x="595" y="676"/>
                  </a:cubicBezTo>
                  <a:cubicBezTo>
                    <a:pt x="598" y="674"/>
                    <a:pt x="599" y="673"/>
                    <a:pt x="601" y="673"/>
                  </a:cubicBezTo>
                  <a:cubicBezTo>
                    <a:pt x="602" y="673"/>
                    <a:pt x="602" y="673"/>
                    <a:pt x="602" y="673"/>
                  </a:cubicBezTo>
                  <a:cubicBezTo>
                    <a:pt x="602" y="673"/>
                    <a:pt x="603" y="673"/>
                    <a:pt x="604" y="675"/>
                  </a:cubicBezTo>
                  <a:cubicBezTo>
                    <a:pt x="604" y="675"/>
                    <a:pt x="605" y="675"/>
                    <a:pt x="605" y="675"/>
                  </a:cubicBezTo>
                  <a:cubicBezTo>
                    <a:pt x="606" y="676"/>
                    <a:pt x="606" y="676"/>
                    <a:pt x="607" y="677"/>
                  </a:cubicBezTo>
                  <a:cubicBezTo>
                    <a:pt x="607" y="678"/>
                    <a:pt x="607" y="678"/>
                    <a:pt x="607" y="678"/>
                  </a:cubicBezTo>
                  <a:cubicBezTo>
                    <a:pt x="608" y="679"/>
                    <a:pt x="609" y="680"/>
                    <a:pt x="610" y="680"/>
                  </a:cubicBezTo>
                  <a:cubicBezTo>
                    <a:pt x="611" y="681"/>
                    <a:pt x="611" y="681"/>
                    <a:pt x="611" y="681"/>
                  </a:cubicBezTo>
                  <a:cubicBezTo>
                    <a:pt x="613" y="682"/>
                    <a:pt x="615" y="682"/>
                    <a:pt x="618" y="683"/>
                  </a:cubicBezTo>
                  <a:cubicBezTo>
                    <a:pt x="619" y="683"/>
                    <a:pt x="619" y="683"/>
                    <a:pt x="619" y="683"/>
                  </a:cubicBezTo>
                  <a:cubicBezTo>
                    <a:pt x="620" y="683"/>
                    <a:pt x="620" y="683"/>
                    <a:pt x="620" y="683"/>
                  </a:cubicBezTo>
                  <a:cubicBezTo>
                    <a:pt x="621" y="683"/>
                    <a:pt x="621" y="683"/>
                    <a:pt x="621" y="683"/>
                  </a:cubicBezTo>
                  <a:cubicBezTo>
                    <a:pt x="622" y="683"/>
                    <a:pt x="622" y="683"/>
                    <a:pt x="623" y="683"/>
                  </a:cubicBezTo>
                  <a:cubicBezTo>
                    <a:pt x="624" y="683"/>
                    <a:pt x="626" y="683"/>
                    <a:pt x="627" y="683"/>
                  </a:cubicBezTo>
                  <a:cubicBezTo>
                    <a:pt x="629" y="679"/>
                    <a:pt x="629" y="679"/>
                    <a:pt x="629" y="679"/>
                  </a:cubicBezTo>
                  <a:cubicBezTo>
                    <a:pt x="628" y="683"/>
                    <a:pt x="628" y="683"/>
                    <a:pt x="628" y="683"/>
                  </a:cubicBezTo>
                  <a:cubicBezTo>
                    <a:pt x="628" y="684"/>
                    <a:pt x="628" y="684"/>
                    <a:pt x="628" y="684"/>
                  </a:cubicBezTo>
                  <a:cubicBezTo>
                    <a:pt x="629" y="684"/>
                    <a:pt x="629" y="684"/>
                    <a:pt x="630" y="684"/>
                  </a:cubicBezTo>
                  <a:cubicBezTo>
                    <a:pt x="630" y="684"/>
                    <a:pt x="631" y="685"/>
                    <a:pt x="632" y="685"/>
                  </a:cubicBezTo>
                  <a:cubicBezTo>
                    <a:pt x="633" y="687"/>
                    <a:pt x="633" y="687"/>
                    <a:pt x="633" y="687"/>
                  </a:cubicBezTo>
                  <a:cubicBezTo>
                    <a:pt x="632" y="688"/>
                    <a:pt x="632" y="688"/>
                    <a:pt x="632" y="688"/>
                  </a:cubicBezTo>
                  <a:cubicBezTo>
                    <a:pt x="631" y="689"/>
                    <a:pt x="630" y="691"/>
                    <a:pt x="629" y="692"/>
                  </a:cubicBezTo>
                  <a:cubicBezTo>
                    <a:pt x="629" y="693"/>
                    <a:pt x="629" y="693"/>
                    <a:pt x="629" y="693"/>
                  </a:cubicBezTo>
                  <a:cubicBezTo>
                    <a:pt x="628" y="694"/>
                    <a:pt x="628" y="694"/>
                    <a:pt x="627" y="695"/>
                  </a:cubicBezTo>
                  <a:cubicBezTo>
                    <a:pt x="628" y="695"/>
                    <a:pt x="628" y="695"/>
                    <a:pt x="628" y="695"/>
                  </a:cubicBezTo>
                  <a:cubicBezTo>
                    <a:pt x="628" y="695"/>
                    <a:pt x="628" y="695"/>
                    <a:pt x="628" y="695"/>
                  </a:cubicBezTo>
                  <a:cubicBezTo>
                    <a:pt x="628" y="696"/>
                    <a:pt x="629" y="697"/>
                    <a:pt x="629" y="698"/>
                  </a:cubicBezTo>
                  <a:cubicBezTo>
                    <a:pt x="630" y="699"/>
                    <a:pt x="630" y="700"/>
                    <a:pt x="630" y="701"/>
                  </a:cubicBezTo>
                  <a:cubicBezTo>
                    <a:pt x="630" y="701"/>
                    <a:pt x="630" y="701"/>
                    <a:pt x="630" y="701"/>
                  </a:cubicBezTo>
                  <a:cubicBezTo>
                    <a:pt x="631" y="701"/>
                    <a:pt x="631" y="701"/>
                    <a:pt x="631" y="701"/>
                  </a:cubicBezTo>
                  <a:cubicBezTo>
                    <a:pt x="631" y="701"/>
                    <a:pt x="631" y="701"/>
                    <a:pt x="631" y="701"/>
                  </a:cubicBezTo>
                  <a:cubicBezTo>
                    <a:pt x="632" y="701"/>
                    <a:pt x="634" y="701"/>
                    <a:pt x="635" y="702"/>
                  </a:cubicBezTo>
                  <a:cubicBezTo>
                    <a:pt x="636" y="702"/>
                    <a:pt x="637" y="703"/>
                    <a:pt x="638" y="705"/>
                  </a:cubicBezTo>
                  <a:cubicBezTo>
                    <a:pt x="639" y="706"/>
                    <a:pt x="639" y="706"/>
                    <a:pt x="639" y="706"/>
                  </a:cubicBezTo>
                  <a:cubicBezTo>
                    <a:pt x="639" y="706"/>
                    <a:pt x="639" y="706"/>
                    <a:pt x="639" y="706"/>
                  </a:cubicBezTo>
                  <a:cubicBezTo>
                    <a:pt x="640" y="707"/>
                    <a:pt x="640" y="707"/>
                    <a:pt x="640" y="707"/>
                  </a:cubicBezTo>
                  <a:cubicBezTo>
                    <a:pt x="641" y="708"/>
                    <a:pt x="641" y="708"/>
                    <a:pt x="641" y="708"/>
                  </a:cubicBezTo>
                  <a:cubicBezTo>
                    <a:pt x="641" y="708"/>
                    <a:pt x="642" y="708"/>
                    <a:pt x="643" y="708"/>
                  </a:cubicBezTo>
                  <a:cubicBezTo>
                    <a:pt x="643" y="708"/>
                    <a:pt x="644" y="708"/>
                    <a:pt x="644" y="708"/>
                  </a:cubicBezTo>
                  <a:cubicBezTo>
                    <a:pt x="646" y="708"/>
                    <a:pt x="648" y="708"/>
                    <a:pt x="650" y="709"/>
                  </a:cubicBezTo>
                  <a:cubicBezTo>
                    <a:pt x="651" y="709"/>
                    <a:pt x="651" y="709"/>
                    <a:pt x="652" y="710"/>
                  </a:cubicBezTo>
                  <a:cubicBezTo>
                    <a:pt x="653" y="710"/>
                    <a:pt x="653" y="710"/>
                    <a:pt x="653" y="710"/>
                  </a:cubicBezTo>
                  <a:cubicBezTo>
                    <a:pt x="655" y="711"/>
                    <a:pt x="655" y="711"/>
                    <a:pt x="655" y="711"/>
                  </a:cubicBezTo>
                  <a:cubicBezTo>
                    <a:pt x="655" y="711"/>
                    <a:pt x="655" y="711"/>
                    <a:pt x="655" y="711"/>
                  </a:cubicBezTo>
                  <a:cubicBezTo>
                    <a:pt x="655" y="711"/>
                    <a:pt x="656" y="710"/>
                    <a:pt x="657" y="710"/>
                  </a:cubicBezTo>
                  <a:cubicBezTo>
                    <a:pt x="657" y="711"/>
                    <a:pt x="657" y="712"/>
                    <a:pt x="656" y="713"/>
                  </a:cubicBezTo>
                  <a:cubicBezTo>
                    <a:pt x="657" y="712"/>
                    <a:pt x="658" y="712"/>
                    <a:pt x="658" y="711"/>
                  </a:cubicBezTo>
                  <a:cubicBezTo>
                    <a:pt x="658" y="711"/>
                    <a:pt x="658" y="709"/>
                    <a:pt x="659" y="708"/>
                  </a:cubicBezTo>
                  <a:cubicBezTo>
                    <a:pt x="659" y="709"/>
                    <a:pt x="661" y="710"/>
                    <a:pt x="662" y="711"/>
                  </a:cubicBezTo>
                  <a:cubicBezTo>
                    <a:pt x="663" y="710"/>
                    <a:pt x="663" y="710"/>
                    <a:pt x="663" y="709"/>
                  </a:cubicBezTo>
                  <a:cubicBezTo>
                    <a:pt x="663" y="709"/>
                    <a:pt x="662" y="709"/>
                    <a:pt x="662" y="709"/>
                  </a:cubicBezTo>
                  <a:cubicBezTo>
                    <a:pt x="662" y="709"/>
                    <a:pt x="662" y="709"/>
                    <a:pt x="662" y="708"/>
                  </a:cubicBezTo>
                  <a:cubicBezTo>
                    <a:pt x="661" y="707"/>
                    <a:pt x="661" y="704"/>
                    <a:pt x="663" y="704"/>
                  </a:cubicBezTo>
                  <a:cubicBezTo>
                    <a:pt x="663" y="704"/>
                    <a:pt x="663" y="704"/>
                    <a:pt x="663" y="704"/>
                  </a:cubicBezTo>
                  <a:cubicBezTo>
                    <a:pt x="663" y="705"/>
                    <a:pt x="663" y="705"/>
                    <a:pt x="663" y="705"/>
                  </a:cubicBezTo>
                  <a:cubicBezTo>
                    <a:pt x="663" y="705"/>
                    <a:pt x="663" y="705"/>
                    <a:pt x="663" y="705"/>
                  </a:cubicBezTo>
                  <a:cubicBezTo>
                    <a:pt x="664" y="705"/>
                    <a:pt x="664" y="705"/>
                    <a:pt x="664" y="705"/>
                  </a:cubicBezTo>
                  <a:cubicBezTo>
                    <a:pt x="664" y="706"/>
                    <a:pt x="664" y="706"/>
                    <a:pt x="663" y="707"/>
                  </a:cubicBezTo>
                  <a:cubicBezTo>
                    <a:pt x="664" y="706"/>
                    <a:pt x="664" y="706"/>
                    <a:pt x="664" y="706"/>
                  </a:cubicBezTo>
                  <a:cubicBezTo>
                    <a:pt x="665" y="706"/>
                    <a:pt x="665" y="707"/>
                    <a:pt x="664" y="708"/>
                  </a:cubicBezTo>
                  <a:cubicBezTo>
                    <a:pt x="665" y="708"/>
                    <a:pt x="665" y="708"/>
                    <a:pt x="665" y="708"/>
                  </a:cubicBezTo>
                  <a:cubicBezTo>
                    <a:pt x="665" y="708"/>
                    <a:pt x="665" y="708"/>
                    <a:pt x="665" y="708"/>
                  </a:cubicBezTo>
                  <a:cubicBezTo>
                    <a:pt x="666" y="708"/>
                    <a:pt x="666" y="708"/>
                    <a:pt x="666" y="708"/>
                  </a:cubicBezTo>
                  <a:cubicBezTo>
                    <a:pt x="666" y="708"/>
                    <a:pt x="666" y="708"/>
                    <a:pt x="666" y="708"/>
                  </a:cubicBezTo>
                  <a:cubicBezTo>
                    <a:pt x="666" y="709"/>
                    <a:pt x="667" y="710"/>
                    <a:pt x="668" y="710"/>
                  </a:cubicBezTo>
                  <a:cubicBezTo>
                    <a:pt x="668" y="710"/>
                    <a:pt x="668" y="710"/>
                    <a:pt x="668" y="710"/>
                  </a:cubicBezTo>
                  <a:cubicBezTo>
                    <a:pt x="669" y="710"/>
                    <a:pt x="669" y="708"/>
                    <a:pt x="670" y="708"/>
                  </a:cubicBezTo>
                  <a:cubicBezTo>
                    <a:pt x="670" y="709"/>
                    <a:pt x="669" y="710"/>
                    <a:pt x="670" y="711"/>
                  </a:cubicBezTo>
                  <a:cubicBezTo>
                    <a:pt x="671" y="711"/>
                    <a:pt x="673" y="711"/>
                    <a:pt x="673" y="712"/>
                  </a:cubicBezTo>
                  <a:cubicBezTo>
                    <a:pt x="674" y="712"/>
                    <a:pt x="674" y="714"/>
                    <a:pt x="674" y="715"/>
                  </a:cubicBezTo>
                  <a:cubicBezTo>
                    <a:pt x="676" y="714"/>
                    <a:pt x="679" y="714"/>
                    <a:pt x="681" y="713"/>
                  </a:cubicBezTo>
                  <a:cubicBezTo>
                    <a:pt x="683" y="712"/>
                    <a:pt x="682" y="710"/>
                    <a:pt x="680" y="710"/>
                  </a:cubicBezTo>
                  <a:cubicBezTo>
                    <a:pt x="681" y="709"/>
                    <a:pt x="682" y="709"/>
                    <a:pt x="682" y="708"/>
                  </a:cubicBezTo>
                  <a:cubicBezTo>
                    <a:pt x="683" y="708"/>
                    <a:pt x="683" y="708"/>
                    <a:pt x="683" y="708"/>
                  </a:cubicBezTo>
                  <a:cubicBezTo>
                    <a:pt x="682" y="708"/>
                    <a:pt x="682" y="709"/>
                    <a:pt x="682" y="709"/>
                  </a:cubicBezTo>
                  <a:cubicBezTo>
                    <a:pt x="683" y="710"/>
                    <a:pt x="684" y="710"/>
                    <a:pt x="684" y="711"/>
                  </a:cubicBezTo>
                  <a:cubicBezTo>
                    <a:pt x="685" y="711"/>
                    <a:pt x="685" y="713"/>
                    <a:pt x="685" y="713"/>
                  </a:cubicBezTo>
                  <a:cubicBezTo>
                    <a:pt x="685" y="713"/>
                    <a:pt x="686" y="712"/>
                    <a:pt x="686" y="711"/>
                  </a:cubicBezTo>
                  <a:cubicBezTo>
                    <a:pt x="687" y="712"/>
                    <a:pt x="687" y="713"/>
                    <a:pt x="689" y="713"/>
                  </a:cubicBezTo>
                  <a:cubicBezTo>
                    <a:pt x="689" y="713"/>
                    <a:pt x="689" y="713"/>
                    <a:pt x="689" y="713"/>
                  </a:cubicBezTo>
                  <a:cubicBezTo>
                    <a:pt x="689" y="714"/>
                    <a:pt x="688" y="716"/>
                    <a:pt x="687" y="716"/>
                  </a:cubicBezTo>
                  <a:cubicBezTo>
                    <a:pt x="686" y="716"/>
                    <a:pt x="686" y="716"/>
                    <a:pt x="686" y="716"/>
                  </a:cubicBezTo>
                  <a:cubicBezTo>
                    <a:pt x="686" y="717"/>
                    <a:pt x="686" y="718"/>
                    <a:pt x="685" y="720"/>
                  </a:cubicBezTo>
                  <a:cubicBezTo>
                    <a:pt x="685" y="719"/>
                    <a:pt x="685" y="719"/>
                    <a:pt x="685" y="719"/>
                  </a:cubicBezTo>
                  <a:cubicBezTo>
                    <a:pt x="684" y="719"/>
                    <a:pt x="684" y="722"/>
                    <a:pt x="684" y="723"/>
                  </a:cubicBezTo>
                  <a:cubicBezTo>
                    <a:pt x="684" y="726"/>
                    <a:pt x="685" y="727"/>
                    <a:pt x="687" y="731"/>
                  </a:cubicBezTo>
                  <a:cubicBezTo>
                    <a:pt x="688" y="733"/>
                    <a:pt x="688" y="737"/>
                    <a:pt x="689" y="738"/>
                  </a:cubicBezTo>
                  <a:cubicBezTo>
                    <a:pt x="690" y="738"/>
                    <a:pt x="691" y="738"/>
                    <a:pt x="691" y="738"/>
                  </a:cubicBezTo>
                  <a:cubicBezTo>
                    <a:pt x="694" y="738"/>
                    <a:pt x="697" y="737"/>
                    <a:pt x="698" y="736"/>
                  </a:cubicBezTo>
                  <a:cubicBezTo>
                    <a:pt x="701" y="734"/>
                    <a:pt x="700" y="732"/>
                    <a:pt x="698" y="731"/>
                  </a:cubicBezTo>
                  <a:cubicBezTo>
                    <a:pt x="697" y="730"/>
                    <a:pt x="697" y="730"/>
                    <a:pt x="697" y="729"/>
                  </a:cubicBezTo>
                  <a:cubicBezTo>
                    <a:pt x="696" y="730"/>
                    <a:pt x="696" y="730"/>
                    <a:pt x="696" y="730"/>
                  </a:cubicBezTo>
                  <a:cubicBezTo>
                    <a:pt x="696" y="729"/>
                    <a:pt x="696" y="728"/>
                    <a:pt x="696" y="727"/>
                  </a:cubicBezTo>
                  <a:cubicBezTo>
                    <a:pt x="697" y="728"/>
                    <a:pt x="697" y="728"/>
                    <a:pt x="698" y="728"/>
                  </a:cubicBezTo>
                  <a:cubicBezTo>
                    <a:pt x="698" y="726"/>
                    <a:pt x="697" y="726"/>
                    <a:pt x="696" y="726"/>
                  </a:cubicBezTo>
                  <a:cubicBezTo>
                    <a:pt x="696" y="726"/>
                    <a:pt x="696" y="726"/>
                    <a:pt x="695" y="726"/>
                  </a:cubicBezTo>
                  <a:cubicBezTo>
                    <a:pt x="695" y="726"/>
                    <a:pt x="695" y="726"/>
                    <a:pt x="695" y="726"/>
                  </a:cubicBezTo>
                  <a:cubicBezTo>
                    <a:pt x="694" y="726"/>
                    <a:pt x="694" y="726"/>
                    <a:pt x="693" y="724"/>
                  </a:cubicBezTo>
                  <a:cubicBezTo>
                    <a:pt x="693" y="721"/>
                    <a:pt x="697" y="720"/>
                    <a:pt x="698" y="717"/>
                  </a:cubicBezTo>
                  <a:cubicBezTo>
                    <a:pt x="698" y="717"/>
                    <a:pt x="697" y="716"/>
                    <a:pt x="697" y="714"/>
                  </a:cubicBezTo>
                  <a:cubicBezTo>
                    <a:pt x="698" y="715"/>
                    <a:pt x="698" y="717"/>
                    <a:pt x="700" y="717"/>
                  </a:cubicBezTo>
                  <a:cubicBezTo>
                    <a:pt x="699" y="717"/>
                    <a:pt x="699" y="717"/>
                    <a:pt x="698" y="717"/>
                  </a:cubicBezTo>
                  <a:cubicBezTo>
                    <a:pt x="698" y="718"/>
                    <a:pt x="698" y="718"/>
                    <a:pt x="698" y="719"/>
                  </a:cubicBezTo>
                  <a:cubicBezTo>
                    <a:pt x="703" y="717"/>
                    <a:pt x="707" y="715"/>
                    <a:pt x="711" y="713"/>
                  </a:cubicBezTo>
                  <a:cubicBezTo>
                    <a:pt x="716" y="712"/>
                    <a:pt x="720" y="712"/>
                    <a:pt x="724" y="710"/>
                  </a:cubicBezTo>
                  <a:cubicBezTo>
                    <a:pt x="724" y="709"/>
                    <a:pt x="724" y="708"/>
                    <a:pt x="722" y="707"/>
                  </a:cubicBezTo>
                  <a:cubicBezTo>
                    <a:pt x="724" y="708"/>
                    <a:pt x="725" y="709"/>
                    <a:pt x="726" y="709"/>
                  </a:cubicBezTo>
                  <a:cubicBezTo>
                    <a:pt x="727" y="709"/>
                    <a:pt x="727" y="708"/>
                    <a:pt x="728" y="707"/>
                  </a:cubicBezTo>
                  <a:cubicBezTo>
                    <a:pt x="727" y="707"/>
                    <a:pt x="726" y="706"/>
                    <a:pt x="727" y="704"/>
                  </a:cubicBezTo>
                  <a:cubicBezTo>
                    <a:pt x="727" y="705"/>
                    <a:pt x="728" y="705"/>
                    <a:pt x="728" y="705"/>
                  </a:cubicBezTo>
                  <a:cubicBezTo>
                    <a:pt x="729" y="705"/>
                    <a:pt x="729" y="705"/>
                    <a:pt x="729" y="705"/>
                  </a:cubicBezTo>
                  <a:cubicBezTo>
                    <a:pt x="729" y="706"/>
                    <a:pt x="729" y="706"/>
                    <a:pt x="729" y="706"/>
                  </a:cubicBezTo>
                  <a:cubicBezTo>
                    <a:pt x="729" y="706"/>
                    <a:pt x="729" y="706"/>
                    <a:pt x="729" y="706"/>
                  </a:cubicBezTo>
                  <a:cubicBezTo>
                    <a:pt x="729" y="706"/>
                    <a:pt x="730" y="706"/>
                    <a:pt x="730" y="706"/>
                  </a:cubicBezTo>
                  <a:cubicBezTo>
                    <a:pt x="731" y="706"/>
                    <a:pt x="731" y="706"/>
                    <a:pt x="731" y="706"/>
                  </a:cubicBezTo>
                  <a:cubicBezTo>
                    <a:pt x="732" y="706"/>
                    <a:pt x="732" y="706"/>
                    <a:pt x="732" y="706"/>
                  </a:cubicBezTo>
                  <a:cubicBezTo>
                    <a:pt x="733" y="706"/>
                    <a:pt x="734" y="708"/>
                    <a:pt x="734" y="709"/>
                  </a:cubicBezTo>
                  <a:cubicBezTo>
                    <a:pt x="735" y="707"/>
                    <a:pt x="735" y="704"/>
                    <a:pt x="736" y="702"/>
                  </a:cubicBezTo>
                  <a:cubicBezTo>
                    <a:pt x="735" y="703"/>
                    <a:pt x="736" y="704"/>
                    <a:pt x="737" y="704"/>
                  </a:cubicBezTo>
                  <a:cubicBezTo>
                    <a:pt x="737" y="704"/>
                    <a:pt x="737" y="704"/>
                    <a:pt x="738" y="704"/>
                  </a:cubicBezTo>
                  <a:cubicBezTo>
                    <a:pt x="736" y="705"/>
                    <a:pt x="736" y="705"/>
                    <a:pt x="736" y="705"/>
                  </a:cubicBezTo>
                  <a:cubicBezTo>
                    <a:pt x="737" y="705"/>
                    <a:pt x="737" y="705"/>
                    <a:pt x="737" y="705"/>
                  </a:cubicBezTo>
                  <a:cubicBezTo>
                    <a:pt x="738" y="705"/>
                    <a:pt x="740" y="705"/>
                    <a:pt x="741" y="705"/>
                  </a:cubicBezTo>
                  <a:cubicBezTo>
                    <a:pt x="742" y="704"/>
                    <a:pt x="743" y="704"/>
                    <a:pt x="744" y="704"/>
                  </a:cubicBezTo>
                  <a:cubicBezTo>
                    <a:pt x="744" y="704"/>
                    <a:pt x="745" y="704"/>
                    <a:pt x="745" y="704"/>
                  </a:cubicBezTo>
                  <a:cubicBezTo>
                    <a:pt x="746" y="704"/>
                    <a:pt x="746" y="705"/>
                    <a:pt x="747" y="705"/>
                  </a:cubicBezTo>
                  <a:cubicBezTo>
                    <a:pt x="747" y="705"/>
                    <a:pt x="747" y="705"/>
                    <a:pt x="748" y="704"/>
                  </a:cubicBezTo>
                  <a:cubicBezTo>
                    <a:pt x="747" y="703"/>
                    <a:pt x="747" y="703"/>
                    <a:pt x="747" y="703"/>
                  </a:cubicBezTo>
                  <a:cubicBezTo>
                    <a:pt x="748" y="702"/>
                    <a:pt x="748" y="702"/>
                    <a:pt x="748" y="701"/>
                  </a:cubicBezTo>
                  <a:cubicBezTo>
                    <a:pt x="749" y="700"/>
                    <a:pt x="749" y="700"/>
                    <a:pt x="749" y="700"/>
                  </a:cubicBezTo>
                  <a:cubicBezTo>
                    <a:pt x="749" y="699"/>
                    <a:pt x="749" y="699"/>
                    <a:pt x="750" y="699"/>
                  </a:cubicBezTo>
                  <a:cubicBezTo>
                    <a:pt x="750" y="700"/>
                    <a:pt x="751" y="701"/>
                    <a:pt x="751" y="701"/>
                  </a:cubicBezTo>
                  <a:cubicBezTo>
                    <a:pt x="752" y="701"/>
                    <a:pt x="752" y="701"/>
                    <a:pt x="752" y="701"/>
                  </a:cubicBezTo>
                  <a:cubicBezTo>
                    <a:pt x="753" y="701"/>
                    <a:pt x="753" y="701"/>
                    <a:pt x="753" y="701"/>
                  </a:cubicBezTo>
                  <a:cubicBezTo>
                    <a:pt x="754" y="699"/>
                    <a:pt x="755" y="700"/>
                    <a:pt x="754" y="698"/>
                  </a:cubicBezTo>
                  <a:cubicBezTo>
                    <a:pt x="753" y="697"/>
                    <a:pt x="753" y="697"/>
                    <a:pt x="753" y="697"/>
                  </a:cubicBezTo>
                  <a:cubicBezTo>
                    <a:pt x="756" y="698"/>
                    <a:pt x="756" y="698"/>
                    <a:pt x="756" y="698"/>
                  </a:cubicBezTo>
                  <a:cubicBezTo>
                    <a:pt x="757" y="698"/>
                    <a:pt x="757" y="698"/>
                    <a:pt x="757" y="698"/>
                  </a:cubicBezTo>
                  <a:cubicBezTo>
                    <a:pt x="757" y="698"/>
                    <a:pt x="757" y="699"/>
                    <a:pt x="757" y="699"/>
                  </a:cubicBezTo>
                  <a:cubicBezTo>
                    <a:pt x="758" y="699"/>
                    <a:pt x="758" y="697"/>
                    <a:pt x="758" y="697"/>
                  </a:cubicBezTo>
                  <a:cubicBezTo>
                    <a:pt x="757" y="692"/>
                    <a:pt x="757" y="688"/>
                    <a:pt x="753" y="685"/>
                  </a:cubicBezTo>
                  <a:cubicBezTo>
                    <a:pt x="751" y="685"/>
                    <a:pt x="751" y="685"/>
                    <a:pt x="751" y="685"/>
                  </a:cubicBezTo>
                  <a:cubicBezTo>
                    <a:pt x="753" y="685"/>
                    <a:pt x="754" y="684"/>
                    <a:pt x="755" y="682"/>
                  </a:cubicBezTo>
                  <a:cubicBezTo>
                    <a:pt x="755" y="682"/>
                    <a:pt x="757" y="681"/>
                    <a:pt x="758" y="681"/>
                  </a:cubicBezTo>
                  <a:cubicBezTo>
                    <a:pt x="758" y="681"/>
                    <a:pt x="758" y="681"/>
                    <a:pt x="758" y="681"/>
                  </a:cubicBezTo>
                  <a:cubicBezTo>
                    <a:pt x="760" y="680"/>
                    <a:pt x="761" y="681"/>
                    <a:pt x="763" y="680"/>
                  </a:cubicBezTo>
                  <a:cubicBezTo>
                    <a:pt x="761" y="681"/>
                    <a:pt x="758" y="681"/>
                    <a:pt x="758" y="683"/>
                  </a:cubicBezTo>
                  <a:cubicBezTo>
                    <a:pt x="758" y="683"/>
                    <a:pt x="758" y="683"/>
                    <a:pt x="758" y="683"/>
                  </a:cubicBezTo>
                  <a:cubicBezTo>
                    <a:pt x="758" y="683"/>
                    <a:pt x="759" y="683"/>
                    <a:pt x="759" y="683"/>
                  </a:cubicBezTo>
                  <a:cubicBezTo>
                    <a:pt x="759" y="683"/>
                    <a:pt x="759" y="683"/>
                    <a:pt x="759" y="684"/>
                  </a:cubicBezTo>
                  <a:cubicBezTo>
                    <a:pt x="759" y="683"/>
                    <a:pt x="759" y="683"/>
                    <a:pt x="759" y="683"/>
                  </a:cubicBezTo>
                  <a:cubicBezTo>
                    <a:pt x="759" y="683"/>
                    <a:pt x="759" y="684"/>
                    <a:pt x="759" y="684"/>
                  </a:cubicBezTo>
                  <a:cubicBezTo>
                    <a:pt x="759" y="684"/>
                    <a:pt x="759" y="683"/>
                    <a:pt x="759" y="683"/>
                  </a:cubicBezTo>
                  <a:cubicBezTo>
                    <a:pt x="759" y="684"/>
                    <a:pt x="759" y="684"/>
                    <a:pt x="759" y="685"/>
                  </a:cubicBezTo>
                  <a:cubicBezTo>
                    <a:pt x="759" y="685"/>
                    <a:pt x="759" y="685"/>
                    <a:pt x="759" y="685"/>
                  </a:cubicBezTo>
                  <a:cubicBezTo>
                    <a:pt x="759" y="686"/>
                    <a:pt x="759" y="686"/>
                    <a:pt x="759" y="686"/>
                  </a:cubicBezTo>
                  <a:cubicBezTo>
                    <a:pt x="759" y="685"/>
                    <a:pt x="759" y="685"/>
                    <a:pt x="759" y="685"/>
                  </a:cubicBezTo>
                  <a:cubicBezTo>
                    <a:pt x="760" y="686"/>
                    <a:pt x="760" y="686"/>
                    <a:pt x="760" y="687"/>
                  </a:cubicBezTo>
                  <a:cubicBezTo>
                    <a:pt x="760" y="688"/>
                    <a:pt x="760" y="688"/>
                    <a:pt x="761" y="688"/>
                  </a:cubicBezTo>
                  <a:cubicBezTo>
                    <a:pt x="761" y="688"/>
                    <a:pt x="761" y="688"/>
                    <a:pt x="761" y="688"/>
                  </a:cubicBezTo>
                  <a:cubicBezTo>
                    <a:pt x="761" y="688"/>
                    <a:pt x="761" y="688"/>
                    <a:pt x="761" y="688"/>
                  </a:cubicBezTo>
                  <a:cubicBezTo>
                    <a:pt x="762" y="688"/>
                    <a:pt x="762" y="688"/>
                    <a:pt x="762" y="688"/>
                  </a:cubicBezTo>
                  <a:cubicBezTo>
                    <a:pt x="763" y="689"/>
                    <a:pt x="763" y="690"/>
                    <a:pt x="763" y="691"/>
                  </a:cubicBezTo>
                  <a:cubicBezTo>
                    <a:pt x="764" y="693"/>
                    <a:pt x="764" y="693"/>
                    <a:pt x="765" y="693"/>
                  </a:cubicBezTo>
                  <a:cubicBezTo>
                    <a:pt x="765" y="693"/>
                    <a:pt x="766" y="693"/>
                    <a:pt x="767" y="693"/>
                  </a:cubicBezTo>
                  <a:cubicBezTo>
                    <a:pt x="768" y="692"/>
                    <a:pt x="769" y="691"/>
                    <a:pt x="771" y="691"/>
                  </a:cubicBezTo>
                  <a:cubicBezTo>
                    <a:pt x="772" y="691"/>
                    <a:pt x="772" y="691"/>
                    <a:pt x="772" y="691"/>
                  </a:cubicBezTo>
                  <a:cubicBezTo>
                    <a:pt x="772" y="691"/>
                    <a:pt x="773" y="691"/>
                    <a:pt x="773" y="691"/>
                  </a:cubicBezTo>
                  <a:cubicBezTo>
                    <a:pt x="774" y="691"/>
                    <a:pt x="775" y="692"/>
                    <a:pt x="776" y="693"/>
                  </a:cubicBezTo>
                  <a:cubicBezTo>
                    <a:pt x="776" y="694"/>
                    <a:pt x="776" y="694"/>
                    <a:pt x="776" y="694"/>
                  </a:cubicBezTo>
                  <a:cubicBezTo>
                    <a:pt x="777" y="694"/>
                    <a:pt x="778" y="693"/>
                    <a:pt x="778" y="692"/>
                  </a:cubicBezTo>
                  <a:cubicBezTo>
                    <a:pt x="778" y="692"/>
                    <a:pt x="777" y="690"/>
                    <a:pt x="776" y="690"/>
                  </a:cubicBezTo>
                  <a:cubicBezTo>
                    <a:pt x="777" y="689"/>
                    <a:pt x="780" y="687"/>
                    <a:pt x="781" y="687"/>
                  </a:cubicBezTo>
                  <a:cubicBezTo>
                    <a:pt x="782" y="687"/>
                    <a:pt x="782" y="687"/>
                    <a:pt x="782" y="687"/>
                  </a:cubicBezTo>
                  <a:cubicBezTo>
                    <a:pt x="782" y="688"/>
                    <a:pt x="780" y="688"/>
                    <a:pt x="780" y="689"/>
                  </a:cubicBezTo>
                  <a:cubicBezTo>
                    <a:pt x="780" y="689"/>
                    <a:pt x="783" y="691"/>
                    <a:pt x="783" y="692"/>
                  </a:cubicBezTo>
                  <a:cubicBezTo>
                    <a:pt x="783" y="692"/>
                    <a:pt x="783" y="692"/>
                    <a:pt x="784" y="692"/>
                  </a:cubicBezTo>
                  <a:cubicBezTo>
                    <a:pt x="784" y="692"/>
                    <a:pt x="784" y="691"/>
                    <a:pt x="784" y="691"/>
                  </a:cubicBezTo>
                  <a:cubicBezTo>
                    <a:pt x="785" y="691"/>
                    <a:pt x="786" y="689"/>
                    <a:pt x="787" y="688"/>
                  </a:cubicBezTo>
                  <a:cubicBezTo>
                    <a:pt x="788" y="687"/>
                    <a:pt x="790" y="686"/>
                    <a:pt x="792" y="685"/>
                  </a:cubicBezTo>
                  <a:cubicBezTo>
                    <a:pt x="792" y="686"/>
                    <a:pt x="791" y="686"/>
                    <a:pt x="790" y="687"/>
                  </a:cubicBezTo>
                  <a:cubicBezTo>
                    <a:pt x="793" y="687"/>
                    <a:pt x="794" y="688"/>
                    <a:pt x="796" y="690"/>
                  </a:cubicBezTo>
                  <a:cubicBezTo>
                    <a:pt x="797" y="689"/>
                    <a:pt x="797" y="689"/>
                    <a:pt x="797" y="688"/>
                  </a:cubicBezTo>
                  <a:cubicBezTo>
                    <a:pt x="797" y="688"/>
                    <a:pt x="796" y="688"/>
                    <a:pt x="796" y="688"/>
                  </a:cubicBezTo>
                  <a:cubicBezTo>
                    <a:pt x="795" y="688"/>
                    <a:pt x="796" y="687"/>
                    <a:pt x="796" y="686"/>
                  </a:cubicBezTo>
                  <a:cubicBezTo>
                    <a:pt x="795" y="686"/>
                    <a:pt x="794" y="685"/>
                    <a:pt x="794" y="684"/>
                  </a:cubicBezTo>
                  <a:cubicBezTo>
                    <a:pt x="795" y="684"/>
                    <a:pt x="795" y="684"/>
                    <a:pt x="795" y="684"/>
                  </a:cubicBezTo>
                  <a:cubicBezTo>
                    <a:pt x="796" y="684"/>
                    <a:pt x="796" y="684"/>
                    <a:pt x="797" y="684"/>
                  </a:cubicBezTo>
                  <a:cubicBezTo>
                    <a:pt x="798" y="684"/>
                    <a:pt x="798" y="684"/>
                    <a:pt x="799" y="684"/>
                  </a:cubicBezTo>
                  <a:cubicBezTo>
                    <a:pt x="799" y="684"/>
                    <a:pt x="799" y="684"/>
                    <a:pt x="800" y="684"/>
                  </a:cubicBezTo>
                  <a:cubicBezTo>
                    <a:pt x="797" y="685"/>
                    <a:pt x="800" y="686"/>
                    <a:pt x="801" y="688"/>
                  </a:cubicBezTo>
                  <a:cubicBezTo>
                    <a:pt x="802" y="687"/>
                    <a:pt x="802" y="687"/>
                    <a:pt x="803" y="687"/>
                  </a:cubicBezTo>
                  <a:cubicBezTo>
                    <a:pt x="804" y="686"/>
                    <a:pt x="804" y="686"/>
                    <a:pt x="805" y="685"/>
                  </a:cubicBezTo>
                  <a:cubicBezTo>
                    <a:pt x="805" y="684"/>
                    <a:pt x="805" y="684"/>
                    <a:pt x="805" y="684"/>
                  </a:cubicBezTo>
                  <a:cubicBezTo>
                    <a:pt x="806" y="684"/>
                    <a:pt x="806" y="684"/>
                    <a:pt x="806" y="684"/>
                  </a:cubicBezTo>
                  <a:cubicBezTo>
                    <a:pt x="806" y="685"/>
                    <a:pt x="807" y="685"/>
                    <a:pt x="807" y="685"/>
                  </a:cubicBezTo>
                  <a:cubicBezTo>
                    <a:pt x="807" y="685"/>
                    <a:pt x="807" y="685"/>
                    <a:pt x="807" y="685"/>
                  </a:cubicBezTo>
                  <a:cubicBezTo>
                    <a:pt x="810" y="684"/>
                    <a:pt x="814" y="685"/>
                    <a:pt x="815" y="682"/>
                  </a:cubicBezTo>
                  <a:cubicBezTo>
                    <a:pt x="815" y="681"/>
                    <a:pt x="814" y="679"/>
                    <a:pt x="815" y="678"/>
                  </a:cubicBezTo>
                  <a:cubicBezTo>
                    <a:pt x="815" y="678"/>
                    <a:pt x="816" y="677"/>
                    <a:pt x="817" y="677"/>
                  </a:cubicBezTo>
                  <a:cubicBezTo>
                    <a:pt x="818" y="677"/>
                    <a:pt x="819" y="678"/>
                    <a:pt x="820" y="678"/>
                  </a:cubicBezTo>
                  <a:cubicBezTo>
                    <a:pt x="819" y="675"/>
                    <a:pt x="816" y="678"/>
                    <a:pt x="815" y="674"/>
                  </a:cubicBezTo>
                  <a:cubicBezTo>
                    <a:pt x="815" y="675"/>
                    <a:pt x="816" y="675"/>
                    <a:pt x="817" y="675"/>
                  </a:cubicBezTo>
                  <a:cubicBezTo>
                    <a:pt x="817" y="675"/>
                    <a:pt x="818" y="675"/>
                    <a:pt x="819" y="675"/>
                  </a:cubicBezTo>
                  <a:cubicBezTo>
                    <a:pt x="822" y="675"/>
                    <a:pt x="821" y="671"/>
                    <a:pt x="822" y="670"/>
                  </a:cubicBezTo>
                  <a:cubicBezTo>
                    <a:pt x="822" y="670"/>
                    <a:pt x="822" y="670"/>
                    <a:pt x="822" y="670"/>
                  </a:cubicBezTo>
                  <a:cubicBezTo>
                    <a:pt x="823" y="670"/>
                    <a:pt x="823" y="670"/>
                    <a:pt x="824" y="670"/>
                  </a:cubicBezTo>
                  <a:cubicBezTo>
                    <a:pt x="825" y="670"/>
                    <a:pt x="825" y="670"/>
                    <a:pt x="826" y="671"/>
                  </a:cubicBezTo>
                  <a:cubicBezTo>
                    <a:pt x="828" y="670"/>
                    <a:pt x="835" y="667"/>
                    <a:pt x="832" y="664"/>
                  </a:cubicBezTo>
                  <a:cubicBezTo>
                    <a:pt x="834" y="666"/>
                    <a:pt x="835" y="664"/>
                    <a:pt x="835" y="668"/>
                  </a:cubicBezTo>
                  <a:cubicBezTo>
                    <a:pt x="837" y="665"/>
                    <a:pt x="841" y="662"/>
                    <a:pt x="844" y="658"/>
                  </a:cubicBezTo>
                  <a:cubicBezTo>
                    <a:pt x="845" y="657"/>
                    <a:pt x="845" y="656"/>
                    <a:pt x="844" y="656"/>
                  </a:cubicBezTo>
                  <a:cubicBezTo>
                    <a:pt x="844" y="656"/>
                    <a:pt x="844" y="656"/>
                    <a:pt x="843" y="656"/>
                  </a:cubicBezTo>
                  <a:cubicBezTo>
                    <a:pt x="844" y="655"/>
                    <a:pt x="844" y="655"/>
                    <a:pt x="843" y="655"/>
                  </a:cubicBezTo>
                  <a:cubicBezTo>
                    <a:pt x="843" y="655"/>
                    <a:pt x="843" y="655"/>
                    <a:pt x="843" y="655"/>
                  </a:cubicBezTo>
                  <a:cubicBezTo>
                    <a:pt x="843" y="655"/>
                    <a:pt x="843" y="655"/>
                    <a:pt x="842" y="655"/>
                  </a:cubicBezTo>
                  <a:cubicBezTo>
                    <a:pt x="842" y="655"/>
                    <a:pt x="842" y="655"/>
                    <a:pt x="842" y="655"/>
                  </a:cubicBezTo>
                  <a:cubicBezTo>
                    <a:pt x="842" y="655"/>
                    <a:pt x="842" y="655"/>
                    <a:pt x="841" y="655"/>
                  </a:cubicBezTo>
                  <a:cubicBezTo>
                    <a:pt x="841" y="655"/>
                    <a:pt x="841" y="655"/>
                    <a:pt x="841" y="655"/>
                  </a:cubicBezTo>
                  <a:cubicBezTo>
                    <a:pt x="841" y="655"/>
                    <a:pt x="841" y="655"/>
                    <a:pt x="841" y="655"/>
                  </a:cubicBezTo>
                  <a:cubicBezTo>
                    <a:pt x="841" y="655"/>
                    <a:pt x="840" y="655"/>
                    <a:pt x="840" y="654"/>
                  </a:cubicBezTo>
                  <a:cubicBezTo>
                    <a:pt x="839" y="653"/>
                    <a:pt x="839" y="653"/>
                    <a:pt x="839" y="653"/>
                  </a:cubicBezTo>
                  <a:cubicBezTo>
                    <a:pt x="840" y="653"/>
                    <a:pt x="840" y="653"/>
                    <a:pt x="841" y="653"/>
                  </a:cubicBezTo>
                  <a:cubicBezTo>
                    <a:pt x="841" y="653"/>
                    <a:pt x="841" y="653"/>
                    <a:pt x="842" y="653"/>
                  </a:cubicBezTo>
                  <a:cubicBezTo>
                    <a:pt x="842" y="653"/>
                    <a:pt x="842" y="653"/>
                    <a:pt x="842" y="653"/>
                  </a:cubicBezTo>
                  <a:cubicBezTo>
                    <a:pt x="843" y="653"/>
                    <a:pt x="845" y="650"/>
                    <a:pt x="846" y="650"/>
                  </a:cubicBezTo>
                  <a:cubicBezTo>
                    <a:pt x="846" y="650"/>
                    <a:pt x="846" y="650"/>
                    <a:pt x="846" y="650"/>
                  </a:cubicBezTo>
                  <a:cubicBezTo>
                    <a:pt x="847" y="650"/>
                    <a:pt x="849" y="651"/>
                    <a:pt x="850" y="651"/>
                  </a:cubicBezTo>
                  <a:cubicBezTo>
                    <a:pt x="850" y="651"/>
                    <a:pt x="850" y="651"/>
                    <a:pt x="850" y="651"/>
                  </a:cubicBezTo>
                  <a:cubicBezTo>
                    <a:pt x="851" y="651"/>
                    <a:pt x="851" y="649"/>
                    <a:pt x="852" y="649"/>
                  </a:cubicBezTo>
                  <a:cubicBezTo>
                    <a:pt x="852" y="649"/>
                    <a:pt x="852" y="649"/>
                    <a:pt x="852" y="649"/>
                  </a:cubicBezTo>
                  <a:cubicBezTo>
                    <a:pt x="853" y="649"/>
                    <a:pt x="853" y="651"/>
                    <a:pt x="854" y="651"/>
                  </a:cubicBezTo>
                  <a:cubicBezTo>
                    <a:pt x="855" y="651"/>
                    <a:pt x="855" y="651"/>
                    <a:pt x="855" y="651"/>
                  </a:cubicBezTo>
                  <a:cubicBezTo>
                    <a:pt x="856" y="651"/>
                    <a:pt x="855" y="651"/>
                    <a:pt x="856" y="650"/>
                  </a:cubicBezTo>
                  <a:cubicBezTo>
                    <a:pt x="856" y="650"/>
                    <a:pt x="857" y="649"/>
                    <a:pt x="857" y="648"/>
                  </a:cubicBezTo>
                  <a:cubicBezTo>
                    <a:pt x="857" y="647"/>
                    <a:pt x="856" y="647"/>
                    <a:pt x="855" y="647"/>
                  </a:cubicBezTo>
                  <a:cubicBezTo>
                    <a:pt x="857" y="646"/>
                    <a:pt x="858" y="645"/>
                    <a:pt x="860" y="645"/>
                  </a:cubicBezTo>
                  <a:cubicBezTo>
                    <a:pt x="860" y="645"/>
                    <a:pt x="860" y="645"/>
                    <a:pt x="860" y="645"/>
                  </a:cubicBezTo>
                  <a:cubicBezTo>
                    <a:pt x="860" y="645"/>
                    <a:pt x="860" y="645"/>
                    <a:pt x="860" y="645"/>
                  </a:cubicBezTo>
                  <a:cubicBezTo>
                    <a:pt x="861" y="645"/>
                    <a:pt x="861" y="645"/>
                    <a:pt x="861" y="645"/>
                  </a:cubicBezTo>
                  <a:cubicBezTo>
                    <a:pt x="861" y="645"/>
                    <a:pt x="861" y="645"/>
                    <a:pt x="861" y="645"/>
                  </a:cubicBezTo>
                  <a:cubicBezTo>
                    <a:pt x="862" y="644"/>
                    <a:pt x="860" y="639"/>
                    <a:pt x="860" y="638"/>
                  </a:cubicBezTo>
                  <a:cubicBezTo>
                    <a:pt x="860" y="638"/>
                    <a:pt x="863" y="638"/>
                    <a:pt x="865" y="638"/>
                  </a:cubicBezTo>
                  <a:cubicBezTo>
                    <a:pt x="867" y="638"/>
                    <a:pt x="869" y="638"/>
                    <a:pt x="868" y="637"/>
                  </a:cubicBezTo>
                  <a:cubicBezTo>
                    <a:pt x="868" y="637"/>
                    <a:pt x="868" y="636"/>
                    <a:pt x="868" y="636"/>
                  </a:cubicBezTo>
                  <a:cubicBezTo>
                    <a:pt x="867" y="636"/>
                    <a:pt x="867" y="637"/>
                    <a:pt x="867" y="637"/>
                  </a:cubicBezTo>
                  <a:cubicBezTo>
                    <a:pt x="866" y="637"/>
                    <a:pt x="866" y="637"/>
                    <a:pt x="866" y="637"/>
                  </a:cubicBezTo>
                  <a:cubicBezTo>
                    <a:pt x="866" y="637"/>
                    <a:pt x="866" y="637"/>
                    <a:pt x="865" y="637"/>
                  </a:cubicBezTo>
                  <a:cubicBezTo>
                    <a:pt x="865" y="636"/>
                    <a:pt x="867" y="630"/>
                    <a:pt x="869" y="630"/>
                  </a:cubicBezTo>
                  <a:cubicBezTo>
                    <a:pt x="868" y="630"/>
                    <a:pt x="873" y="634"/>
                    <a:pt x="874" y="635"/>
                  </a:cubicBezTo>
                  <a:cubicBezTo>
                    <a:pt x="874" y="633"/>
                    <a:pt x="873" y="633"/>
                    <a:pt x="873" y="631"/>
                  </a:cubicBezTo>
                  <a:cubicBezTo>
                    <a:pt x="873" y="631"/>
                    <a:pt x="873" y="631"/>
                    <a:pt x="872" y="631"/>
                  </a:cubicBezTo>
                  <a:cubicBezTo>
                    <a:pt x="870" y="631"/>
                    <a:pt x="875" y="623"/>
                    <a:pt x="875" y="622"/>
                  </a:cubicBezTo>
                  <a:cubicBezTo>
                    <a:pt x="872" y="622"/>
                    <a:pt x="869" y="623"/>
                    <a:pt x="866" y="623"/>
                  </a:cubicBezTo>
                  <a:cubicBezTo>
                    <a:pt x="866" y="621"/>
                    <a:pt x="865" y="620"/>
                    <a:pt x="864" y="619"/>
                  </a:cubicBezTo>
                  <a:cubicBezTo>
                    <a:pt x="865" y="620"/>
                    <a:pt x="868" y="622"/>
                    <a:pt x="870" y="622"/>
                  </a:cubicBezTo>
                  <a:cubicBezTo>
                    <a:pt x="870" y="622"/>
                    <a:pt x="870" y="622"/>
                    <a:pt x="870" y="622"/>
                  </a:cubicBezTo>
                  <a:cubicBezTo>
                    <a:pt x="871" y="622"/>
                    <a:pt x="871" y="622"/>
                    <a:pt x="872" y="620"/>
                  </a:cubicBezTo>
                  <a:cubicBezTo>
                    <a:pt x="875" y="616"/>
                    <a:pt x="876" y="617"/>
                    <a:pt x="880" y="615"/>
                  </a:cubicBezTo>
                  <a:cubicBezTo>
                    <a:pt x="880" y="615"/>
                    <a:pt x="879" y="615"/>
                    <a:pt x="879" y="615"/>
                  </a:cubicBezTo>
                  <a:cubicBezTo>
                    <a:pt x="879" y="615"/>
                    <a:pt x="878" y="614"/>
                    <a:pt x="878" y="614"/>
                  </a:cubicBezTo>
                  <a:cubicBezTo>
                    <a:pt x="878" y="614"/>
                    <a:pt x="878" y="614"/>
                    <a:pt x="878" y="614"/>
                  </a:cubicBezTo>
                  <a:cubicBezTo>
                    <a:pt x="878" y="614"/>
                    <a:pt x="877" y="614"/>
                    <a:pt x="877" y="614"/>
                  </a:cubicBezTo>
                  <a:cubicBezTo>
                    <a:pt x="877" y="614"/>
                    <a:pt x="877" y="615"/>
                    <a:pt x="876" y="615"/>
                  </a:cubicBezTo>
                  <a:cubicBezTo>
                    <a:pt x="876" y="615"/>
                    <a:pt x="876" y="616"/>
                    <a:pt x="876" y="616"/>
                  </a:cubicBezTo>
                  <a:cubicBezTo>
                    <a:pt x="876" y="616"/>
                    <a:pt x="876" y="616"/>
                    <a:pt x="875" y="615"/>
                  </a:cubicBezTo>
                  <a:cubicBezTo>
                    <a:pt x="875" y="615"/>
                    <a:pt x="873" y="614"/>
                    <a:pt x="873" y="613"/>
                  </a:cubicBezTo>
                  <a:cubicBezTo>
                    <a:pt x="873" y="613"/>
                    <a:pt x="876" y="611"/>
                    <a:pt x="876" y="611"/>
                  </a:cubicBezTo>
                  <a:cubicBezTo>
                    <a:pt x="874" y="610"/>
                    <a:pt x="873" y="610"/>
                    <a:pt x="872" y="608"/>
                  </a:cubicBezTo>
                  <a:cubicBezTo>
                    <a:pt x="872" y="607"/>
                    <a:pt x="872" y="606"/>
                    <a:pt x="873" y="606"/>
                  </a:cubicBezTo>
                  <a:cubicBezTo>
                    <a:pt x="873" y="606"/>
                    <a:pt x="873" y="606"/>
                    <a:pt x="873" y="606"/>
                  </a:cubicBezTo>
                  <a:cubicBezTo>
                    <a:pt x="875" y="605"/>
                    <a:pt x="876" y="606"/>
                    <a:pt x="877" y="605"/>
                  </a:cubicBezTo>
                  <a:cubicBezTo>
                    <a:pt x="877" y="606"/>
                    <a:pt x="877" y="606"/>
                    <a:pt x="877" y="606"/>
                  </a:cubicBezTo>
                  <a:cubicBezTo>
                    <a:pt x="878" y="606"/>
                    <a:pt x="878" y="606"/>
                    <a:pt x="877" y="606"/>
                  </a:cubicBezTo>
                  <a:cubicBezTo>
                    <a:pt x="877" y="606"/>
                    <a:pt x="880" y="606"/>
                    <a:pt x="881" y="606"/>
                  </a:cubicBezTo>
                  <a:cubicBezTo>
                    <a:pt x="882" y="606"/>
                    <a:pt x="883" y="606"/>
                    <a:pt x="881" y="607"/>
                  </a:cubicBezTo>
                  <a:cubicBezTo>
                    <a:pt x="882" y="608"/>
                    <a:pt x="883" y="608"/>
                    <a:pt x="883" y="609"/>
                  </a:cubicBezTo>
                  <a:cubicBezTo>
                    <a:pt x="884" y="607"/>
                    <a:pt x="882" y="607"/>
                    <a:pt x="883" y="605"/>
                  </a:cubicBezTo>
                  <a:cubicBezTo>
                    <a:pt x="883" y="604"/>
                    <a:pt x="885" y="604"/>
                    <a:pt x="885" y="602"/>
                  </a:cubicBezTo>
                  <a:cubicBezTo>
                    <a:pt x="886" y="600"/>
                    <a:pt x="886" y="599"/>
                    <a:pt x="889" y="599"/>
                  </a:cubicBezTo>
                  <a:cubicBezTo>
                    <a:pt x="888" y="598"/>
                    <a:pt x="888" y="598"/>
                    <a:pt x="888" y="597"/>
                  </a:cubicBezTo>
                  <a:cubicBezTo>
                    <a:pt x="888" y="597"/>
                    <a:pt x="888" y="597"/>
                    <a:pt x="888" y="597"/>
                  </a:cubicBezTo>
                  <a:cubicBezTo>
                    <a:pt x="890" y="597"/>
                    <a:pt x="892" y="595"/>
                    <a:pt x="893" y="594"/>
                  </a:cubicBezTo>
                  <a:cubicBezTo>
                    <a:pt x="894" y="592"/>
                    <a:pt x="893" y="589"/>
                    <a:pt x="894" y="587"/>
                  </a:cubicBezTo>
                  <a:cubicBezTo>
                    <a:pt x="895" y="586"/>
                    <a:pt x="897" y="583"/>
                    <a:pt x="897" y="582"/>
                  </a:cubicBezTo>
                  <a:cubicBezTo>
                    <a:pt x="894" y="580"/>
                    <a:pt x="894" y="580"/>
                    <a:pt x="894" y="580"/>
                  </a:cubicBezTo>
                  <a:cubicBezTo>
                    <a:pt x="895" y="581"/>
                    <a:pt x="895" y="581"/>
                    <a:pt x="896" y="581"/>
                  </a:cubicBezTo>
                  <a:cubicBezTo>
                    <a:pt x="897" y="581"/>
                    <a:pt x="898" y="580"/>
                    <a:pt x="900" y="578"/>
                  </a:cubicBezTo>
                  <a:cubicBezTo>
                    <a:pt x="901" y="578"/>
                    <a:pt x="902" y="577"/>
                    <a:pt x="902" y="576"/>
                  </a:cubicBezTo>
                  <a:cubicBezTo>
                    <a:pt x="902" y="575"/>
                    <a:pt x="900" y="575"/>
                    <a:pt x="902" y="574"/>
                  </a:cubicBezTo>
                  <a:cubicBezTo>
                    <a:pt x="903" y="574"/>
                    <a:pt x="903" y="574"/>
                    <a:pt x="903" y="574"/>
                  </a:cubicBezTo>
                  <a:cubicBezTo>
                    <a:pt x="905" y="574"/>
                    <a:pt x="905" y="576"/>
                    <a:pt x="907" y="578"/>
                  </a:cubicBezTo>
                  <a:cubicBezTo>
                    <a:pt x="907" y="576"/>
                    <a:pt x="910" y="576"/>
                    <a:pt x="912" y="574"/>
                  </a:cubicBezTo>
                  <a:cubicBezTo>
                    <a:pt x="910" y="574"/>
                    <a:pt x="911" y="569"/>
                    <a:pt x="909" y="568"/>
                  </a:cubicBezTo>
                  <a:cubicBezTo>
                    <a:pt x="909" y="567"/>
                    <a:pt x="908" y="567"/>
                    <a:pt x="907" y="567"/>
                  </a:cubicBezTo>
                  <a:cubicBezTo>
                    <a:pt x="906" y="566"/>
                    <a:pt x="906" y="567"/>
                    <a:pt x="905" y="565"/>
                  </a:cubicBezTo>
                  <a:cubicBezTo>
                    <a:pt x="906" y="566"/>
                    <a:pt x="907" y="566"/>
                    <a:pt x="908" y="566"/>
                  </a:cubicBezTo>
                  <a:cubicBezTo>
                    <a:pt x="909" y="566"/>
                    <a:pt x="910" y="566"/>
                    <a:pt x="912" y="565"/>
                  </a:cubicBezTo>
                  <a:cubicBezTo>
                    <a:pt x="914" y="564"/>
                    <a:pt x="910" y="563"/>
                    <a:pt x="910" y="561"/>
                  </a:cubicBezTo>
                  <a:cubicBezTo>
                    <a:pt x="910" y="562"/>
                    <a:pt x="910" y="562"/>
                    <a:pt x="911" y="562"/>
                  </a:cubicBezTo>
                  <a:cubicBezTo>
                    <a:pt x="911" y="562"/>
                    <a:pt x="911" y="562"/>
                    <a:pt x="912" y="562"/>
                  </a:cubicBezTo>
                  <a:cubicBezTo>
                    <a:pt x="912" y="561"/>
                    <a:pt x="913" y="561"/>
                    <a:pt x="913" y="561"/>
                  </a:cubicBezTo>
                  <a:cubicBezTo>
                    <a:pt x="913" y="561"/>
                    <a:pt x="913" y="561"/>
                    <a:pt x="913" y="561"/>
                  </a:cubicBezTo>
                  <a:cubicBezTo>
                    <a:pt x="913" y="560"/>
                    <a:pt x="912" y="560"/>
                    <a:pt x="912" y="559"/>
                  </a:cubicBezTo>
                  <a:cubicBezTo>
                    <a:pt x="912" y="558"/>
                    <a:pt x="910" y="558"/>
                    <a:pt x="909" y="558"/>
                  </a:cubicBezTo>
                  <a:cubicBezTo>
                    <a:pt x="909" y="558"/>
                    <a:pt x="909" y="558"/>
                    <a:pt x="909" y="558"/>
                  </a:cubicBezTo>
                  <a:cubicBezTo>
                    <a:pt x="909" y="558"/>
                    <a:pt x="909" y="558"/>
                    <a:pt x="909" y="558"/>
                  </a:cubicBezTo>
                  <a:cubicBezTo>
                    <a:pt x="908" y="558"/>
                    <a:pt x="908" y="558"/>
                    <a:pt x="908" y="558"/>
                  </a:cubicBezTo>
                  <a:cubicBezTo>
                    <a:pt x="909" y="557"/>
                    <a:pt x="910" y="554"/>
                    <a:pt x="912" y="554"/>
                  </a:cubicBezTo>
                  <a:cubicBezTo>
                    <a:pt x="912" y="554"/>
                    <a:pt x="912" y="554"/>
                    <a:pt x="912" y="554"/>
                  </a:cubicBezTo>
                  <a:cubicBezTo>
                    <a:pt x="913" y="554"/>
                    <a:pt x="913" y="556"/>
                    <a:pt x="914" y="556"/>
                  </a:cubicBezTo>
                  <a:cubicBezTo>
                    <a:pt x="915" y="555"/>
                    <a:pt x="915" y="554"/>
                    <a:pt x="915" y="553"/>
                  </a:cubicBezTo>
                  <a:cubicBezTo>
                    <a:pt x="915" y="554"/>
                    <a:pt x="916" y="554"/>
                    <a:pt x="917" y="554"/>
                  </a:cubicBezTo>
                  <a:cubicBezTo>
                    <a:pt x="918" y="553"/>
                    <a:pt x="920" y="548"/>
                    <a:pt x="918" y="547"/>
                  </a:cubicBezTo>
                  <a:cubicBezTo>
                    <a:pt x="918" y="547"/>
                    <a:pt x="917" y="547"/>
                    <a:pt x="917" y="547"/>
                  </a:cubicBezTo>
                  <a:cubicBezTo>
                    <a:pt x="916" y="547"/>
                    <a:pt x="914" y="549"/>
                    <a:pt x="916" y="550"/>
                  </a:cubicBezTo>
                  <a:cubicBezTo>
                    <a:pt x="916" y="550"/>
                    <a:pt x="915" y="550"/>
                    <a:pt x="915" y="550"/>
                  </a:cubicBezTo>
                  <a:cubicBezTo>
                    <a:pt x="914" y="550"/>
                    <a:pt x="914" y="550"/>
                    <a:pt x="913" y="550"/>
                  </a:cubicBezTo>
                  <a:cubicBezTo>
                    <a:pt x="913" y="550"/>
                    <a:pt x="913" y="550"/>
                    <a:pt x="913" y="550"/>
                  </a:cubicBezTo>
                  <a:cubicBezTo>
                    <a:pt x="913" y="550"/>
                    <a:pt x="912" y="550"/>
                    <a:pt x="911" y="550"/>
                  </a:cubicBezTo>
                  <a:cubicBezTo>
                    <a:pt x="911" y="551"/>
                    <a:pt x="910" y="551"/>
                    <a:pt x="910" y="551"/>
                  </a:cubicBezTo>
                  <a:cubicBezTo>
                    <a:pt x="909" y="551"/>
                    <a:pt x="909" y="551"/>
                    <a:pt x="908" y="550"/>
                  </a:cubicBezTo>
                  <a:cubicBezTo>
                    <a:pt x="913" y="548"/>
                    <a:pt x="918" y="546"/>
                    <a:pt x="921" y="542"/>
                  </a:cubicBezTo>
                  <a:cubicBezTo>
                    <a:pt x="921" y="542"/>
                    <a:pt x="920" y="542"/>
                    <a:pt x="920" y="542"/>
                  </a:cubicBezTo>
                  <a:cubicBezTo>
                    <a:pt x="917" y="542"/>
                    <a:pt x="915" y="541"/>
                    <a:pt x="913" y="540"/>
                  </a:cubicBezTo>
                  <a:cubicBezTo>
                    <a:pt x="910" y="538"/>
                    <a:pt x="908" y="533"/>
                    <a:pt x="904" y="533"/>
                  </a:cubicBezTo>
                  <a:cubicBezTo>
                    <a:pt x="904" y="533"/>
                    <a:pt x="903" y="533"/>
                    <a:pt x="903" y="533"/>
                  </a:cubicBezTo>
                  <a:cubicBezTo>
                    <a:pt x="901" y="534"/>
                    <a:pt x="900" y="536"/>
                    <a:pt x="898" y="536"/>
                  </a:cubicBezTo>
                  <a:cubicBezTo>
                    <a:pt x="897" y="536"/>
                    <a:pt x="896" y="537"/>
                    <a:pt x="894" y="537"/>
                  </a:cubicBezTo>
                  <a:cubicBezTo>
                    <a:pt x="894" y="537"/>
                    <a:pt x="893" y="537"/>
                    <a:pt x="893" y="536"/>
                  </a:cubicBezTo>
                  <a:cubicBezTo>
                    <a:pt x="892" y="535"/>
                    <a:pt x="892" y="533"/>
                    <a:pt x="891" y="532"/>
                  </a:cubicBezTo>
                  <a:cubicBezTo>
                    <a:pt x="892" y="532"/>
                    <a:pt x="893" y="533"/>
                    <a:pt x="895" y="533"/>
                  </a:cubicBezTo>
                  <a:cubicBezTo>
                    <a:pt x="896" y="533"/>
                    <a:pt x="897" y="532"/>
                    <a:pt x="897" y="532"/>
                  </a:cubicBezTo>
                  <a:cubicBezTo>
                    <a:pt x="900" y="530"/>
                    <a:pt x="902" y="528"/>
                    <a:pt x="905" y="526"/>
                  </a:cubicBezTo>
                  <a:cubicBezTo>
                    <a:pt x="906" y="524"/>
                    <a:pt x="909" y="524"/>
                    <a:pt x="911" y="523"/>
                  </a:cubicBezTo>
                  <a:cubicBezTo>
                    <a:pt x="912" y="522"/>
                    <a:pt x="917" y="521"/>
                    <a:pt x="917" y="520"/>
                  </a:cubicBezTo>
                  <a:cubicBezTo>
                    <a:pt x="918" y="518"/>
                    <a:pt x="916" y="516"/>
                    <a:pt x="914" y="514"/>
                  </a:cubicBezTo>
                  <a:cubicBezTo>
                    <a:pt x="914" y="514"/>
                    <a:pt x="914" y="514"/>
                    <a:pt x="914" y="514"/>
                  </a:cubicBezTo>
                  <a:cubicBezTo>
                    <a:pt x="914" y="517"/>
                    <a:pt x="912" y="519"/>
                    <a:pt x="909" y="519"/>
                  </a:cubicBezTo>
                  <a:cubicBezTo>
                    <a:pt x="906" y="519"/>
                    <a:pt x="904" y="517"/>
                    <a:pt x="904" y="514"/>
                  </a:cubicBezTo>
                  <a:cubicBezTo>
                    <a:pt x="904" y="512"/>
                    <a:pt x="905" y="510"/>
                    <a:pt x="908" y="509"/>
                  </a:cubicBezTo>
                  <a:cubicBezTo>
                    <a:pt x="905" y="507"/>
                    <a:pt x="903" y="504"/>
                    <a:pt x="900" y="503"/>
                  </a:cubicBezTo>
                  <a:cubicBezTo>
                    <a:pt x="899" y="503"/>
                    <a:pt x="897" y="502"/>
                    <a:pt x="895" y="502"/>
                  </a:cubicBezTo>
                  <a:cubicBezTo>
                    <a:pt x="894" y="502"/>
                    <a:pt x="895" y="499"/>
                    <a:pt x="894" y="499"/>
                  </a:cubicBezTo>
                  <a:cubicBezTo>
                    <a:pt x="894" y="498"/>
                    <a:pt x="894" y="498"/>
                    <a:pt x="894" y="498"/>
                  </a:cubicBezTo>
                  <a:cubicBezTo>
                    <a:pt x="894" y="498"/>
                    <a:pt x="894" y="498"/>
                    <a:pt x="894" y="498"/>
                  </a:cubicBezTo>
                  <a:cubicBezTo>
                    <a:pt x="894" y="498"/>
                    <a:pt x="894" y="498"/>
                    <a:pt x="894" y="498"/>
                  </a:cubicBezTo>
                  <a:cubicBezTo>
                    <a:pt x="893" y="498"/>
                    <a:pt x="893" y="498"/>
                    <a:pt x="893" y="498"/>
                  </a:cubicBezTo>
                  <a:cubicBezTo>
                    <a:pt x="892" y="498"/>
                    <a:pt x="892" y="497"/>
                    <a:pt x="891" y="497"/>
                  </a:cubicBezTo>
                  <a:cubicBezTo>
                    <a:pt x="891" y="497"/>
                    <a:pt x="890" y="498"/>
                    <a:pt x="889" y="498"/>
                  </a:cubicBezTo>
                  <a:cubicBezTo>
                    <a:pt x="888" y="498"/>
                    <a:pt x="888" y="499"/>
                    <a:pt x="887" y="499"/>
                  </a:cubicBezTo>
                  <a:cubicBezTo>
                    <a:pt x="887" y="499"/>
                    <a:pt x="886" y="499"/>
                    <a:pt x="886" y="499"/>
                  </a:cubicBezTo>
                  <a:cubicBezTo>
                    <a:pt x="887" y="498"/>
                    <a:pt x="887" y="498"/>
                    <a:pt x="888" y="497"/>
                  </a:cubicBezTo>
                  <a:cubicBezTo>
                    <a:pt x="889" y="496"/>
                    <a:pt x="890" y="496"/>
                    <a:pt x="891" y="496"/>
                  </a:cubicBezTo>
                  <a:cubicBezTo>
                    <a:pt x="893" y="496"/>
                    <a:pt x="896" y="497"/>
                    <a:pt x="897" y="498"/>
                  </a:cubicBezTo>
                  <a:cubicBezTo>
                    <a:pt x="898" y="500"/>
                    <a:pt x="899" y="501"/>
                    <a:pt x="900" y="501"/>
                  </a:cubicBezTo>
                  <a:cubicBezTo>
                    <a:pt x="900" y="501"/>
                    <a:pt x="901" y="501"/>
                    <a:pt x="901" y="501"/>
                  </a:cubicBezTo>
                  <a:cubicBezTo>
                    <a:pt x="902" y="501"/>
                    <a:pt x="903" y="501"/>
                    <a:pt x="903" y="501"/>
                  </a:cubicBezTo>
                  <a:cubicBezTo>
                    <a:pt x="904" y="501"/>
                    <a:pt x="905" y="501"/>
                    <a:pt x="905" y="501"/>
                  </a:cubicBezTo>
                  <a:cubicBezTo>
                    <a:pt x="905" y="501"/>
                    <a:pt x="905" y="501"/>
                    <a:pt x="905" y="501"/>
                  </a:cubicBezTo>
                  <a:cubicBezTo>
                    <a:pt x="910" y="501"/>
                    <a:pt x="913" y="503"/>
                    <a:pt x="917" y="504"/>
                  </a:cubicBezTo>
                  <a:cubicBezTo>
                    <a:pt x="917" y="502"/>
                    <a:pt x="916" y="500"/>
                    <a:pt x="915" y="498"/>
                  </a:cubicBezTo>
                  <a:cubicBezTo>
                    <a:pt x="913" y="496"/>
                    <a:pt x="909" y="496"/>
                    <a:pt x="907" y="494"/>
                  </a:cubicBezTo>
                  <a:cubicBezTo>
                    <a:pt x="906" y="492"/>
                    <a:pt x="907" y="490"/>
                    <a:pt x="906" y="488"/>
                  </a:cubicBezTo>
                  <a:cubicBezTo>
                    <a:pt x="905" y="487"/>
                    <a:pt x="903" y="487"/>
                    <a:pt x="902" y="487"/>
                  </a:cubicBezTo>
                  <a:cubicBezTo>
                    <a:pt x="898" y="485"/>
                    <a:pt x="898" y="485"/>
                    <a:pt x="898" y="480"/>
                  </a:cubicBezTo>
                  <a:cubicBezTo>
                    <a:pt x="898" y="477"/>
                    <a:pt x="897" y="476"/>
                    <a:pt x="896" y="473"/>
                  </a:cubicBezTo>
                  <a:cubicBezTo>
                    <a:pt x="894" y="467"/>
                    <a:pt x="892" y="462"/>
                    <a:pt x="889" y="457"/>
                  </a:cubicBezTo>
                  <a:cubicBezTo>
                    <a:pt x="888" y="454"/>
                    <a:pt x="887" y="450"/>
                    <a:pt x="885" y="448"/>
                  </a:cubicBezTo>
                  <a:cubicBezTo>
                    <a:pt x="884" y="447"/>
                    <a:pt x="883" y="447"/>
                    <a:pt x="882" y="447"/>
                  </a:cubicBezTo>
                  <a:cubicBezTo>
                    <a:pt x="880" y="446"/>
                    <a:pt x="878" y="446"/>
                    <a:pt x="877" y="445"/>
                  </a:cubicBezTo>
                  <a:cubicBezTo>
                    <a:pt x="876" y="444"/>
                    <a:pt x="871" y="438"/>
                    <a:pt x="869" y="438"/>
                  </a:cubicBezTo>
                  <a:cubicBezTo>
                    <a:pt x="869" y="438"/>
                    <a:pt x="868" y="439"/>
                    <a:pt x="868" y="439"/>
                  </a:cubicBezTo>
                  <a:cubicBezTo>
                    <a:pt x="867" y="439"/>
                    <a:pt x="866" y="439"/>
                    <a:pt x="866" y="439"/>
                  </a:cubicBezTo>
                  <a:cubicBezTo>
                    <a:pt x="866" y="439"/>
                    <a:pt x="866" y="439"/>
                    <a:pt x="866" y="438"/>
                  </a:cubicBezTo>
                  <a:cubicBezTo>
                    <a:pt x="865" y="436"/>
                    <a:pt x="865" y="436"/>
                    <a:pt x="866" y="434"/>
                  </a:cubicBezTo>
                  <a:cubicBezTo>
                    <a:pt x="865" y="434"/>
                    <a:pt x="865" y="434"/>
                    <a:pt x="865" y="434"/>
                  </a:cubicBezTo>
                  <a:cubicBezTo>
                    <a:pt x="866" y="433"/>
                    <a:pt x="866" y="433"/>
                    <a:pt x="866" y="433"/>
                  </a:cubicBezTo>
                  <a:cubicBezTo>
                    <a:pt x="870" y="430"/>
                    <a:pt x="871" y="422"/>
                    <a:pt x="876" y="421"/>
                  </a:cubicBezTo>
                  <a:cubicBezTo>
                    <a:pt x="879" y="420"/>
                    <a:pt x="880" y="419"/>
                    <a:pt x="881" y="417"/>
                  </a:cubicBezTo>
                  <a:cubicBezTo>
                    <a:pt x="883" y="415"/>
                    <a:pt x="885" y="414"/>
                    <a:pt x="887" y="412"/>
                  </a:cubicBezTo>
                  <a:cubicBezTo>
                    <a:pt x="885" y="412"/>
                    <a:pt x="884" y="411"/>
                    <a:pt x="883" y="409"/>
                  </a:cubicBezTo>
                  <a:cubicBezTo>
                    <a:pt x="882" y="407"/>
                    <a:pt x="884" y="406"/>
                    <a:pt x="886" y="406"/>
                  </a:cubicBezTo>
                  <a:cubicBezTo>
                    <a:pt x="886" y="406"/>
                    <a:pt x="887" y="406"/>
                    <a:pt x="887" y="407"/>
                  </a:cubicBezTo>
                  <a:cubicBezTo>
                    <a:pt x="888" y="407"/>
                    <a:pt x="888" y="408"/>
                    <a:pt x="888" y="409"/>
                  </a:cubicBezTo>
                  <a:cubicBezTo>
                    <a:pt x="888" y="410"/>
                    <a:pt x="888" y="411"/>
                    <a:pt x="888" y="411"/>
                  </a:cubicBezTo>
                  <a:cubicBezTo>
                    <a:pt x="889" y="411"/>
                    <a:pt x="889" y="410"/>
                    <a:pt x="890" y="410"/>
                  </a:cubicBezTo>
                  <a:cubicBezTo>
                    <a:pt x="892" y="410"/>
                    <a:pt x="894" y="410"/>
                    <a:pt x="894" y="408"/>
                  </a:cubicBezTo>
                  <a:cubicBezTo>
                    <a:pt x="894" y="407"/>
                    <a:pt x="894" y="407"/>
                    <a:pt x="894" y="406"/>
                  </a:cubicBezTo>
                  <a:cubicBezTo>
                    <a:pt x="893" y="404"/>
                    <a:pt x="895" y="404"/>
                    <a:pt x="896" y="403"/>
                  </a:cubicBezTo>
                  <a:cubicBezTo>
                    <a:pt x="898" y="403"/>
                    <a:pt x="899" y="402"/>
                    <a:pt x="899" y="400"/>
                  </a:cubicBezTo>
                  <a:cubicBezTo>
                    <a:pt x="899" y="400"/>
                    <a:pt x="899" y="400"/>
                    <a:pt x="899" y="400"/>
                  </a:cubicBezTo>
                  <a:cubicBezTo>
                    <a:pt x="899" y="400"/>
                    <a:pt x="898" y="400"/>
                    <a:pt x="898" y="400"/>
                  </a:cubicBezTo>
                  <a:cubicBezTo>
                    <a:pt x="897" y="399"/>
                    <a:pt x="897" y="399"/>
                    <a:pt x="896" y="399"/>
                  </a:cubicBezTo>
                  <a:cubicBezTo>
                    <a:pt x="896" y="399"/>
                    <a:pt x="896" y="399"/>
                    <a:pt x="895" y="399"/>
                  </a:cubicBezTo>
                  <a:cubicBezTo>
                    <a:pt x="896" y="398"/>
                    <a:pt x="896" y="398"/>
                    <a:pt x="897" y="398"/>
                  </a:cubicBezTo>
                  <a:cubicBezTo>
                    <a:pt x="898" y="398"/>
                    <a:pt x="898" y="398"/>
                    <a:pt x="899" y="398"/>
                  </a:cubicBezTo>
                  <a:cubicBezTo>
                    <a:pt x="899" y="398"/>
                    <a:pt x="900" y="399"/>
                    <a:pt x="900" y="399"/>
                  </a:cubicBezTo>
                  <a:cubicBezTo>
                    <a:pt x="901" y="399"/>
                    <a:pt x="901" y="398"/>
                    <a:pt x="902" y="398"/>
                  </a:cubicBezTo>
                  <a:cubicBezTo>
                    <a:pt x="904" y="397"/>
                    <a:pt x="906" y="396"/>
                    <a:pt x="909" y="395"/>
                  </a:cubicBezTo>
                  <a:cubicBezTo>
                    <a:pt x="913" y="393"/>
                    <a:pt x="918" y="392"/>
                    <a:pt x="922" y="390"/>
                  </a:cubicBezTo>
                  <a:cubicBezTo>
                    <a:pt x="923" y="393"/>
                    <a:pt x="923" y="394"/>
                    <a:pt x="925" y="394"/>
                  </a:cubicBezTo>
                  <a:cubicBezTo>
                    <a:pt x="925" y="394"/>
                    <a:pt x="926" y="394"/>
                    <a:pt x="927" y="393"/>
                  </a:cubicBezTo>
                  <a:cubicBezTo>
                    <a:pt x="929" y="392"/>
                    <a:pt x="929" y="392"/>
                    <a:pt x="929" y="390"/>
                  </a:cubicBezTo>
                  <a:cubicBezTo>
                    <a:pt x="929" y="390"/>
                    <a:pt x="929" y="390"/>
                    <a:pt x="929" y="390"/>
                  </a:cubicBezTo>
                  <a:cubicBezTo>
                    <a:pt x="929" y="390"/>
                    <a:pt x="929" y="390"/>
                    <a:pt x="928" y="390"/>
                  </a:cubicBezTo>
                  <a:cubicBezTo>
                    <a:pt x="928" y="390"/>
                    <a:pt x="927" y="390"/>
                    <a:pt x="927" y="390"/>
                  </a:cubicBezTo>
                  <a:cubicBezTo>
                    <a:pt x="927" y="390"/>
                    <a:pt x="927" y="390"/>
                    <a:pt x="927" y="389"/>
                  </a:cubicBezTo>
                  <a:cubicBezTo>
                    <a:pt x="928" y="388"/>
                    <a:pt x="934" y="383"/>
                    <a:pt x="932" y="381"/>
                  </a:cubicBezTo>
                  <a:cubicBezTo>
                    <a:pt x="932" y="381"/>
                    <a:pt x="931" y="381"/>
                    <a:pt x="931" y="381"/>
                  </a:cubicBezTo>
                  <a:cubicBezTo>
                    <a:pt x="930" y="381"/>
                    <a:pt x="929" y="381"/>
                    <a:pt x="928" y="381"/>
                  </a:cubicBezTo>
                  <a:cubicBezTo>
                    <a:pt x="928" y="381"/>
                    <a:pt x="928" y="381"/>
                    <a:pt x="928" y="381"/>
                  </a:cubicBezTo>
                  <a:cubicBezTo>
                    <a:pt x="927" y="381"/>
                    <a:pt x="927" y="381"/>
                    <a:pt x="927" y="381"/>
                  </a:cubicBezTo>
                  <a:cubicBezTo>
                    <a:pt x="924" y="381"/>
                    <a:pt x="923" y="379"/>
                    <a:pt x="920" y="378"/>
                  </a:cubicBezTo>
                  <a:cubicBezTo>
                    <a:pt x="920" y="379"/>
                    <a:pt x="919" y="380"/>
                    <a:pt x="918" y="381"/>
                  </a:cubicBezTo>
                  <a:cubicBezTo>
                    <a:pt x="918" y="380"/>
                    <a:pt x="917" y="380"/>
                    <a:pt x="916" y="380"/>
                  </a:cubicBezTo>
                  <a:cubicBezTo>
                    <a:pt x="916" y="380"/>
                    <a:pt x="915" y="380"/>
                    <a:pt x="914" y="380"/>
                  </a:cubicBezTo>
                  <a:cubicBezTo>
                    <a:pt x="913" y="380"/>
                    <a:pt x="912" y="381"/>
                    <a:pt x="911" y="381"/>
                  </a:cubicBezTo>
                  <a:cubicBezTo>
                    <a:pt x="911" y="381"/>
                    <a:pt x="911" y="381"/>
                    <a:pt x="911" y="381"/>
                  </a:cubicBezTo>
                  <a:cubicBezTo>
                    <a:pt x="908" y="380"/>
                    <a:pt x="905" y="378"/>
                    <a:pt x="903" y="377"/>
                  </a:cubicBezTo>
                  <a:cubicBezTo>
                    <a:pt x="900" y="376"/>
                    <a:pt x="898" y="374"/>
                    <a:pt x="896" y="373"/>
                  </a:cubicBezTo>
                  <a:cubicBezTo>
                    <a:pt x="896" y="372"/>
                    <a:pt x="895" y="372"/>
                    <a:pt x="895" y="372"/>
                  </a:cubicBezTo>
                  <a:cubicBezTo>
                    <a:pt x="893" y="372"/>
                    <a:pt x="892" y="373"/>
                    <a:pt x="890" y="374"/>
                  </a:cubicBezTo>
                  <a:cubicBezTo>
                    <a:pt x="888" y="374"/>
                    <a:pt x="885" y="374"/>
                    <a:pt x="886" y="377"/>
                  </a:cubicBezTo>
                  <a:cubicBezTo>
                    <a:pt x="886" y="379"/>
                    <a:pt x="882" y="381"/>
                    <a:pt x="881" y="382"/>
                  </a:cubicBezTo>
                  <a:cubicBezTo>
                    <a:pt x="879" y="383"/>
                    <a:pt x="875" y="387"/>
                    <a:pt x="873" y="387"/>
                  </a:cubicBezTo>
                  <a:cubicBezTo>
                    <a:pt x="873" y="387"/>
                    <a:pt x="873" y="387"/>
                    <a:pt x="872" y="387"/>
                  </a:cubicBezTo>
                  <a:cubicBezTo>
                    <a:pt x="870" y="387"/>
                    <a:pt x="866" y="385"/>
                    <a:pt x="865" y="385"/>
                  </a:cubicBezTo>
                  <a:cubicBezTo>
                    <a:pt x="861" y="383"/>
                    <a:pt x="861" y="384"/>
                    <a:pt x="862" y="380"/>
                  </a:cubicBezTo>
                  <a:cubicBezTo>
                    <a:pt x="862" y="378"/>
                    <a:pt x="864" y="375"/>
                    <a:pt x="864" y="372"/>
                  </a:cubicBezTo>
                  <a:cubicBezTo>
                    <a:pt x="864" y="370"/>
                    <a:pt x="862" y="365"/>
                    <a:pt x="859" y="364"/>
                  </a:cubicBezTo>
                  <a:cubicBezTo>
                    <a:pt x="858" y="364"/>
                    <a:pt x="858" y="364"/>
                    <a:pt x="857" y="364"/>
                  </a:cubicBezTo>
                  <a:cubicBezTo>
                    <a:pt x="856" y="364"/>
                    <a:pt x="855" y="364"/>
                    <a:pt x="855" y="365"/>
                  </a:cubicBezTo>
                  <a:cubicBezTo>
                    <a:pt x="854" y="365"/>
                    <a:pt x="855" y="366"/>
                    <a:pt x="855" y="367"/>
                  </a:cubicBezTo>
                  <a:cubicBezTo>
                    <a:pt x="855" y="367"/>
                    <a:pt x="854" y="367"/>
                    <a:pt x="854" y="368"/>
                  </a:cubicBezTo>
                  <a:cubicBezTo>
                    <a:pt x="853" y="367"/>
                    <a:pt x="852" y="366"/>
                    <a:pt x="850" y="365"/>
                  </a:cubicBezTo>
                  <a:cubicBezTo>
                    <a:pt x="850" y="365"/>
                    <a:pt x="850" y="365"/>
                    <a:pt x="850" y="365"/>
                  </a:cubicBezTo>
                  <a:cubicBezTo>
                    <a:pt x="850" y="365"/>
                    <a:pt x="850" y="365"/>
                    <a:pt x="849" y="365"/>
                  </a:cubicBezTo>
                  <a:cubicBezTo>
                    <a:pt x="849" y="365"/>
                    <a:pt x="849" y="365"/>
                    <a:pt x="849" y="365"/>
                  </a:cubicBezTo>
                  <a:cubicBezTo>
                    <a:pt x="848" y="365"/>
                    <a:pt x="848" y="365"/>
                    <a:pt x="847" y="365"/>
                  </a:cubicBezTo>
                  <a:cubicBezTo>
                    <a:pt x="845" y="364"/>
                    <a:pt x="843" y="364"/>
                    <a:pt x="842" y="363"/>
                  </a:cubicBezTo>
                  <a:cubicBezTo>
                    <a:pt x="839" y="362"/>
                    <a:pt x="834" y="356"/>
                    <a:pt x="834" y="354"/>
                  </a:cubicBezTo>
                  <a:cubicBezTo>
                    <a:pt x="835" y="351"/>
                    <a:pt x="836" y="346"/>
                    <a:pt x="838" y="344"/>
                  </a:cubicBezTo>
                  <a:cubicBezTo>
                    <a:pt x="839" y="343"/>
                    <a:pt x="839" y="342"/>
                    <a:pt x="840" y="342"/>
                  </a:cubicBezTo>
                  <a:cubicBezTo>
                    <a:pt x="841" y="342"/>
                    <a:pt x="841" y="342"/>
                    <a:pt x="842" y="342"/>
                  </a:cubicBezTo>
                  <a:cubicBezTo>
                    <a:pt x="845" y="342"/>
                    <a:pt x="846" y="345"/>
                    <a:pt x="849" y="345"/>
                  </a:cubicBezTo>
                  <a:cubicBezTo>
                    <a:pt x="849" y="345"/>
                    <a:pt x="849" y="345"/>
                    <a:pt x="849" y="345"/>
                  </a:cubicBezTo>
                  <a:cubicBezTo>
                    <a:pt x="851" y="345"/>
                    <a:pt x="853" y="344"/>
                    <a:pt x="855" y="344"/>
                  </a:cubicBezTo>
                  <a:cubicBezTo>
                    <a:pt x="857" y="344"/>
                    <a:pt x="859" y="344"/>
                    <a:pt x="861" y="343"/>
                  </a:cubicBezTo>
                  <a:cubicBezTo>
                    <a:pt x="862" y="342"/>
                    <a:pt x="862" y="341"/>
                    <a:pt x="863" y="341"/>
                  </a:cubicBezTo>
                  <a:cubicBezTo>
                    <a:pt x="864" y="339"/>
                    <a:pt x="867" y="337"/>
                    <a:pt x="867" y="334"/>
                  </a:cubicBezTo>
                  <a:cubicBezTo>
                    <a:pt x="868" y="330"/>
                    <a:pt x="870" y="327"/>
                    <a:pt x="874" y="325"/>
                  </a:cubicBezTo>
                  <a:cubicBezTo>
                    <a:pt x="880" y="323"/>
                    <a:pt x="884" y="321"/>
                    <a:pt x="889" y="318"/>
                  </a:cubicBezTo>
                  <a:cubicBezTo>
                    <a:pt x="893" y="315"/>
                    <a:pt x="895" y="310"/>
                    <a:pt x="899" y="307"/>
                  </a:cubicBezTo>
                  <a:cubicBezTo>
                    <a:pt x="901" y="305"/>
                    <a:pt x="902" y="304"/>
                    <a:pt x="904" y="304"/>
                  </a:cubicBezTo>
                  <a:cubicBezTo>
                    <a:pt x="904" y="304"/>
                    <a:pt x="905" y="304"/>
                    <a:pt x="906" y="304"/>
                  </a:cubicBezTo>
                  <a:cubicBezTo>
                    <a:pt x="907" y="304"/>
                    <a:pt x="908" y="304"/>
                    <a:pt x="909" y="304"/>
                  </a:cubicBezTo>
                  <a:cubicBezTo>
                    <a:pt x="911" y="304"/>
                    <a:pt x="912" y="304"/>
                    <a:pt x="914" y="304"/>
                  </a:cubicBezTo>
                  <a:cubicBezTo>
                    <a:pt x="915" y="303"/>
                    <a:pt x="915" y="302"/>
                    <a:pt x="916" y="301"/>
                  </a:cubicBezTo>
                  <a:cubicBezTo>
                    <a:pt x="916" y="304"/>
                    <a:pt x="916" y="305"/>
                    <a:pt x="918" y="306"/>
                  </a:cubicBezTo>
                  <a:cubicBezTo>
                    <a:pt x="921" y="308"/>
                    <a:pt x="923" y="308"/>
                    <a:pt x="924" y="311"/>
                  </a:cubicBezTo>
                  <a:cubicBezTo>
                    <a:pt x="924" y="311"/>
                    <a:pt x="925" y="312"/>
                    <a:pt x="925" y="312"/>
                  </a:cubicBezTo>
                  <a:cubicBezTo>
                    <a:pt x="925" y="313"/>
                    <a:pt x="923" y="315"/>
                    <a:pt x="922" y="315"/>
                  </a:cubicBezTo>
                  <a:cubicBezTo>
                    <a:pt x="921" y="318"/>
                    <a:pt x="919" y="320"/>
                    <a:pt x="917" y="322"/>
                  </a:cubicBezTo>
                  <a:cubicBezTo>
                    <a:pt x="915" y="324"/>
                    <a:pt x="915" y="325"/>
                    <a:pt x="914" y="326"/>
                  </a:cubicBezTo>
                  <a:cubicBezTo>
                    <a:pt x="913" y="326"/>
                    <a:pt x="910" y="326"/>
                    <a:pt x="909" y="328"/>
                  </a:cubicBezTo>
                  <a:cubicBezTo>
                    <a:pt x="908" y="329"/>
                    <a:pt x="909" y="331"/>
                    <a:pt x="908" y="332"/>
                  </a:cubicBezTo>
                  <a:cubicBezTo>
                    <a:pt x="908" y="333"/>
                    <a:pt x="907" y="332"/>
                    <a:pt x="907" y="333"/>
                  </a:cubicBezTo>
                  <a:cubicBezTo>
                    <a:pt x="906" y="333"/>
                    <a:pt x="905" y="333"/>
                    <a:pt x="904" y="334"/>
                  </a:cubicBezTo>
                  <a:cubicBezTo>
                    <a:pt x="907" y="337"/>
                    <a:pt x="909" y="337"/>
                    <a:pt x="912" y="337"/>
                  </a:cubicBezTo>
                  <a:cubicBezTo>
                    <a:pt x="913" y="337"/>
                    <a:pt x="915" y="337"/>
                    <a:pt x="918" y="337"/>
                  </a:cubicBezTo>
                  <a:cubicBezTo>
                    <a:pt x="917" y="337"/>
                    <a:pt x="912" y="339"/>
                    <a:pt x="912" y="340"/>
                  </a:cubicBezTo>
                  <a:cubicBezTo>
                    <a:pt x="911" y="341"/>
                    <a:pt x="913" y="342"/>
                    <a:pt x="913" y="343"/>
                  </a:cubicBezTo>
                  <a:cubicBezTo>
                    <a:pt x="913" y="345"/>
                    <a:pt x="909" y="344"/>
                    <a:pt x="908" y="345"/>
                  </a:cubicBezTo>
                  <a:cubicBezTo>
                    <a:pt x="906" y="346"/>
                    <a:pt x="905" y="347"/>
                    <a:pt x="904" y="347"/>
                  </a:cubicBezTo>
                  <a:cubicBezTo>
                    <a:pt x="904" y="347"/>
                    <a:pt x="904" y="347"/>
                    <a:pt x="904" y="347"/>
                  </a:cubicBezTo>
                  <a:cubicBezTo>
                    <a:pt x="904" y="347"/>
                    <a:pt x="904" y="347"/>
                    <a:pt x="903" y="347"/>
                  </a:cubicBezTo>
                  <a:cubicBezTo>
                    <a:pt x="903" y="347"/>
                    <a:pt x="903" y="347"/>
                    <a:pt x="903" y="347"/>
                  </a:cubicBezTo>
                  <a:cubicBezTo>
                    <a:pt x="903" y="347"/>
                    <a:pt x="902" y="347"/>
                    <a:pt x="902" y="347"/>
                  </a:cubicBezTo>
                  <a:cubicBezTo>
                    <a:pt x="901" y="348"/>
                    <a:pt x="903" y="351"/>
                    <a:pt x="904" y="352"/>
                  </a:cubicBezTo>
                  <a:cubicBezTo>
                    <a:pt x="911" y="348"/>
                    <a:pt x="918" y="343"/>
                    <a:pt x="925" y="338"/>
                  </a:cubicBezTo>
                  <a:cubicBezTo>
                    <a:pt x="928" y="336"/>
                    <a:pt x="931" y="334"/>
                    <a:pt x="934" y="333"/>
                  </a:cubicBezTo>
                  <a:cubicBezTo>
                    <a:pt x="936" y="331"/>
                    <a:pt x="939" y="330"/>
                    <a:pt x="942" y="329"/>
                  </a:cubicBezTo>
                  <a:cubicBezTo>
                    <a:pt x="943" y="328"/>
                    <a:pt x="944" y="328"/>
                    <a:pt x="945" y="328"/>
                  </a:cubicBezTo>
                  <a:cubicBezTo>
                    <a:pt x="946" y="328"/>
                    <a:pt x="946" y="328"/>
                    <a:pt x="946" y="328"/>
                  </a:cubicBezTo>
                  <a:cubicBezTo>
                    <a:pt x="947" y="328"/>
                    <a:pt x="947" y="328"/>
                    <a:pt x="948" y="328"/>
                  </a:cubicBezTo>
                  <a:cubicBezTo>
                    <a:pt x="948" y="328"/>
                    <a:pt x="948" y="328"/>
                    <a:pt x="949" y="328"/>
                  </a:cubicBezTo>
                  <a:cubicBezTo>
                    <a:pt x="952" y="328"/>
                    <a:pt x="955" y="328"/>
                    <a:pt x="958" y="328"/>
                  </a:cubicBezTo>
                  <a:cubicBezTo>
                    <a:pt x="960" y="327"/>
                    <a:pt x="961" y="325"/>
                    <a:pt x="963" y="324"/>
                  </a:cubicBezTo>
                  <a:cubicBezTo>
                    <a:pt x="961" y="323"/>
                    <a:pt x="961" y="323"/>
                    <a:pt x="961" y="323"/>
                  </a:cubicBezTo>
                  <a:cubicBezTo>
                    <a:pt x="962" y="322"/>
                    <a:pt x="962" y="322"/>
                    <a:pt x="962" y="322"/>
                  </a:cubicBezTo>
                  <a:cubicBezTo>
                    <a:pt x="962" y="321"/>
                    <a:pt x="964" y="319"/>
                    <a:pt x="964" y="319"/>
                  </a:cubicBezTo>
                  <a:cubicBezTo>
                    <a:pt x="964" y="319"/>
                    <a:pt x="964" y="319"/>
                    <a:pt x="964" y="319"/>
                  </a:cubicBezTo>
                  <a:cubicBezTo>
                    <a:pt x="968" y="316"/>
                    <a:pt x="968" y="316"/>
                    <a:pt x="968" y="316"/>
                  </a:cubicBezTo>
                  <a:cubicBezTo>
                    <a:pt x="973" y="313"/>
                    <a:pt x="977" y="310"/>
                    <a:pt x="982" y="308"/>
                  </a:cubicBezTo>
                  <a:cubicBezTo>
                    <a:pt x="983" y="307"/>
                    <a:pt x="984" y="306"/>
                    <a:pt x="985" y="305"/>
                  </a:cubicBezTo>
                  <a:cubicBezTo>
                    <a:pt x="986" y="304"/>
                    <a:pt x="986" y="304"/>
                    <a:pt x="986" y="304"/>
                  </a:cubicBezTo>
                  <a:cubicBezTo>
                    <a:pt x="988" y="302"/>
                    <a:pt x="990" y="302"/>
                    <a:pt x="991" y="302"/>
                  </a:cubicBezTo>
                  <a:cubicBezTo>
                    <a:pt x="992" y="302"/>
                    <a:pt x="993" y="302"/>
                    <a:pt x="994" y="301"/>
                  </a:cubicBezTo>
                  <a:cubicBezTo>
                    <a:pt x="994" y="301"/>
                    <a:pt x="994" y="301"/>
                    <a:pt x="994" y="301"/>
                  </a:cubicBezTo>
                  <a:cubicBezTo>
                    <a:pt x="994" y="301"/>
                    <a:pt x="995" y="301"/>
                    <a:pt x="995" y="299"/>
                  </a:cubicBezTo>
                  <a:cubicBezTo>
                    <a:pt x="996" y="299"/>
                    <a:pt x="996" y="298"/>
                    <a:pt x="997" y="298"/>
                  </a:cubicBezTo>
                  <a:cubicBezTo>
                    <a:pt x="1000" y="295"/>
                    <a:pt x="1003" y="291"/>
                    <a:pt x="1005" y="286"/>
                  </a:cubicBezTo>
                  <a:cubicBezTo>
                    <a:pt x="1006" y="285"/>
                    <a:pt x="1006" y="284"/>
                    <a:pt x="1007" y="283"/>
                  </a:cubicBezTo>
                  <a:cubicBezTo>
                    <a:pt x="1004" y="279"/>
                    <a:pt x="1004" y="279"/>
                    <a:pt x="1004" y="279"/>
                  </a:cubicBezTo>
                  <a:cubicBezTo>
                    <a:pt x="1008" y="282"/>
                    <a:pt x="1008" y="282"/>
                    <a:pt x="1008" y="282"/>
                  </a:cubicBezTo>
                  <a:cubicBezTo>
                    <a:pt x="1009" y="282"/>
                    <a:pt x="1009" y="282"/>
                    <a:pt x="1009" y="282"/>
                  </a:cubicBezTo>
                  <a:cubicBezTo>
                    <a:pt x="1009" y="281"/>
                    <a:pt x="1009" y="281"/>
                    <a:pt x="1009" y="281"/>
                  </a:cubicBezTo>
                  <a:cubicBezTo>
                    <a:pt x="1010" y="281"/>
                    <a:pt x="1011" y="281"/>
                    <a:pt x="1012" y="281"/>
                  </a:cubicBezTo>
                  <a:cubicBezTo>
                    <a:pt x="1012" y="281"/>
                    <a:pt x="1012" y="281"/>
                    <a:pt x="1012" y="281"/>
                  </a:cubicBezTo>
                  <a:cubicBezTo>
                    <a:pt x="1013" y="281"/>
                    <a:pt x="1013" y="281"/>
                    <a:pt x="1013" y="281"/>
                  </a:cubicBezTo>
                  <a:cubicBezTo>
                    <a:pt x="1013" y="281"/>
                    <a:pt x="1014" y="281"/>
                    <a:pt x="1014" y="281"/>
                  </a:cubicBezTo>
                  <a:cubicBezTo>
                    <a:pt x="1015" y="282"/>
                    <a:pt x="1015" y="282"/>
                    <a:pt x="1015" y="282"/>
                  </a:cubicBezTo>
                  <a:cubicBezTo>
                    <a:pt x="1016" y="283"/>
                    <a:pt x="1017" y="284"/>
                    <a:pt x="1018" y="285"/>
                  </a:cubicBezTo>
                  <a:cubicBezTo>
                    <a:pt x="1019" y="286"/>
                    <a:pt x="1019" y="287"/>
                    <a:pt x="1020" y="288"/>
                  </a:cubicBezTo>
                  <a:cubicBezTo>
                    <a:pt x="1021" y="288"/>
                    <a:pt x="1021" y="288"/>
                    <a:pt x="1021" y="288"/>
                  </a:cubicBezTo>
                  <a:cubicBezTo>
                    <a:pt x="1022" y="289"/>
                    <a:pt x="1026" y="289"/>
                    <a:pt x="1028" y="289"/>
                  </a:cubicBezTo>
                  <a:cubicBezTo>
                    <a:pt x="1030" y="289"/>
                    <a:pt x="1030" y="289"/>
                    <a:pt x="1030" y="289"/>
                  </a:cubicBezTo>
                  <a:cubicBezTo>
                    <a:pt x="1031" y="290"/>
                    <a:pt x="1033" y="290"/>
                    <a:pt x="1034" y="290"/>
                  </a:cubicBezTo>
                  <a:cubicBezTo>
                    <a:pt x="1034" y="290"/>
                    <a:pt x="1034" y="290"/>
                    <a:pt x="1035" y="290"/>
                  </a:cubicBezTo>
                  <a:cubicBezTo>
                    <a:pt x="1036" y="290"/>
                    <a:pt x="1036" y="290"/>
                    <a:pt x="1036" y="290"/>
                  </a:cubicBezTo>
                  <a:cubicBezTo>
                    <a:pt x="1036" y="290"/>
                    <a:pt x="1036" y="290"/>
                    <a:pt x="1036" y="290"/>
                  </a:cubicBezTo>
                  <a:cubicBezTo>
                    <a:pt x="1036" y="289"/>
                    <a:pt x="1036" y="289"/>
                    <a:pt x="1036" y="288"/>
                  </a:cubicBezTo>
                  <a:cubicBezTo>
                    <a:pt x="1036" y="288"/>
                    <a:pt x="1036" y="288"/>
                    <a:pt x="1036" y="288"/>
                  </a:cubicBezTo>
                  <a:cubicBezTo>
                    <a:pt x="1036" y="288"/>
                    <a:pt x="1036" y="288"/>
                    <a:pt x="1036" y="288"/>
                  </a:cubicBezTo>
                  <a:cubicBezTo>
                    <a:pt x="1035" y="287"/>
                    <a:pt x="1035" y="287"/>
                    <a:pt x="1035" y="287"/>
                  </a:cubicBezTo>
                  <a:cubicBezTo>
                    <a:pt x="1033" y="284"/>
                    <a:pt x="1032" y="282"/>
                    <a:pt x="1032" y="279"/>
                  </a:cubicBezTo>
                  <a:cubicBezTo>
                    <a:pt x="1032" y="276"/>
                    <a:pt x="1032" y="276"/>
                    <a:pt x="1032" y="276"/>
                  </a:cubicBezTo>
                  <a:cubicBezTo>
                    <a:pt x="1043" y="275"/>
                    <a:pt x="1043" y="275"/>
                    <a:pt x="1043" y="275"/>
                  </a:cubicBezTo>
                  <a:cubicBezTo>
                    <a:pt x="1044" y="275"/>
                    <a:pt x="1045" y="275"/>
                    <a:pt x="1046" y="275"/>
                  </a:cubicBezTo>
                  <a:cubicBezTo>
                    <a:pt x="1048" y="275"/>
                    <a:pt x="1050" y="275"/>
                    <a:pt x="1052" y="274"/>
                  </a:cubicBezTo>
                  <a:cubicBezTo>
                    <a:pt x="1052" y="274"/>
                    <a:pt x="1053" y="273"/>
                    <a:pt x="1054" y="272"/>
                  </a:cubicBezTo>
                  <a:cubicBezTo>
                    <a:pt x="1053" y="272"/>
                    <a:pt x="1053" y="272"/>
                    <a:pt x="1053" y="272"/>
                  </a:cubicBezTo>
                  <a:cubicBezTo>
                    <a:pt x="1054" y="270"/>
                    <a:pt x="1054" y="270"/>
                    <a:pt x="1054" y="270"/>
                  </a:cubicBezTo>
                  <a:cubicBezTo>
                    <a:pt x="1055" y="268"/>
                    <a:pt x="1057" y="266"/>
                    <a:pt x="1060" y="265"/>
                  </a:cubicBezTo>
                  <a:cubicBezTo>
                    <a:pt x="1060" y="265"/>
                    <a:pt x="1060" y="265"/>
                    <a:pt x="1060" y="265"/>
                  </a:cubicBezTo>
                  <a:cubicBezTo>
                    <a:pt x="1062" y="265"/>
                    <a:pt x="1063" y="264"/>
                    <a:pt x="1064" y="264"/>
                  </a:cubicBezTo>
                  <a:cubicBezTo>
                    <a:pt x="1064" y="264"/>
                    <a:pt x="1064" y="264"/>
                    <a:pt x="1064" y="264"/>
                  </a:cubicBezTo>
                  <a:cubicBezTo>
                    <a:pt x="1065" y="263"/>
                    <a:pt x="1065" y="263"/>
                    <a:pt x="1065" y="263"/>
                  </a:cubicBezTo>
                  <a:cubicBezTo>
                    <a:pt x="1065" y="262"/>
                    <a:pt x="1065" y="262"/>
                    <a:pt x="1065" y="262"/>
                  </a:cubicBezTo>
                  <a:cubicBezTo>
                    <a:pt x="1065" y="260"/>
                    <a:pt x="1065" y="256"/>
                    <a:pt x="1067" y="254"/>
                  </a:cubicBezTo>
                  <a:cubicBezTo>
                    <a:pt x="1068" y="254"/>
                    <a:pt x="1068" y="254"/>
                    <a:pt x="1068" y="254"/>
                  </a:cubicBezTo>
                  <a:cubicBezTo>
                    <a:pt x="1068" y="253"/>
                    <a:pt x="1069" y="253"/>
                    <a:pt x="1070" y="253"/>
                  </a:cubicBezTo>
                  <a:cubicBezTo>
                    <a:pt x="1071" y="253"/>
                    <a:pt x="1072" y="253"/>
                    <a:pt x="1073" y="253"/>
                  </a:cubicBezTo>
                  <a:cubicBezTo>
                    <a:pt x="1073" y="253"/>
                    <a:pt x="1076" y="254"/>
                    <a:pt x="1077" y="256"/>
                  </a:cubicBezTo>
                  <a:cubicBezTo>
                    <a:pt x="1078" y="257"/>
                    <a:pt x="1078" y="258"/>
                    <a:pt x="1079" y="259"/>
                  </a:cubicBezTo>
                  <a:cubicBezTo>
                    <a:pt x="1079" y="260"/>
                    <a:pt x="1079" y="260"/>
                    <a:pt x="1079" y="260"/>
                  </a:cubicBezTo>
                  <a:cubicBezTo>
                    <a:pt x="1082" y="258"/>
                    <a:pt x="1085" y="257"/>
                    <a:pt x="1088" y="256"/>
                  </a:cubicBezTo>
                  <a:cubicBezTo>
                    <a:pt x="1090" y="256"/>
                    <a:pt x="1091" y="256"/>
                    <a:pt x="1092" y="253"/>
                  </a:cubicBezTo>
                  <a:cubicBezTo>
                    <a:pt x="1092" y="251"/>
                    <a:pt x="1092" y="251"/>
                    <a:pt x="1092" y="251"/>
                  </a:cubicBezTo>
                  <a:cubicBezTo>
                    <a:pt x="1093" y="249"/>
                    <a:pt x="1094" y="246"/>
                    <a:pt x="1093" y="244"/>
                  </a:cubicBezTo>
                  <a:cubicBezTo>
                    <a:pt x="1093" y="243"/>
                    <a:pt x="1093" y="242"/>
                    <a:pt x="1093" y="241"/>
                  </a:cubicBezTo>
                  <a:cubicBezTo>
                    <a:pt x="1093" y="240"/>
                    <a:pt x="1093" y="240"/>
                    <a:pt x="1093" y="240"/>
                  </a:cubicBezTo>
                  <a:cubicBezTo>
                    <a:pt x="1093" y="237"/>
                    <a:pt x="1093" y="235"/>
                    <a:pt x="1093" y="232"/>
                  </a:cubicBezTo>
                  <a:cubicBezTo>
                    <a:pt x="1093" y="225"/>
                    <a:pt x="1091" y="219"/>
                    <a:pt x="1088" y="213"/>
                  </a:cubicBezTo>
                  <a:cubicBezTo>
                    <a:pt x="1087" y="211"/>
                    <a:pt x="1087" y="211"/>
                    <a:pt x="1087" y="211"/>
                  </a:cubicBezTo>
                  <a:cubicBezTo>
                    <a:pt x="1090" y="210"/>
                    <a:pt x="1090" y="210"/>
                    <a:pt x="1090" y="210"/>
                  </a:cubicBezTo>
                  <a:cubicBezTo>
                    <a:pt x="1090" y="209"/>
                    <a:pt x="1091" y="209"/>
                    <a:pt x="1092" y="209"/>
                  </a:cubicBezTo>
                  <a:cubicBezTo>
                    <a:pt x="1094" y="209"/>
                    <a:pt x="1097" y="208"/>
                    <a:pt x="1098" y="207"/>
                  </a:cubicBezTo>
                  <a:cubicBezTo>
                    <a:pt x="1099" y="206"/>
                    <a:pt x="1099" y="206"/>
                    <a:pt x="1099" y="206"/>
                  </a:cubicBezTo>
                  <a:cubicBezTo>
                    <a:pt x="1101" y="205"/>
                    <a:pt x="1102" y="204"/>
                    <a:pt x="1103" y="202"/>
                  </a:cubicBezTo>
                  <a:cubicBezTo>
                    <a:pt x="1103" y="201"/>
                    <a:pt x="1103" y="201"/>
                    <a:pt x="1103" y="201"/>
                  </a:cubicBezTo>
                  <a:cubicBezTo>
                    <a:pt x="1104" y="200"/>
                    <a:pt x="1105" y="199"/>
                    <a:pt x="1107" y="198"/>
                  </a:cubicBezTo>
                  <a:cubicBezTo>
                    <a:pt x="1107" y="198"/>
                    <a:pt x="1107" y="198"/>
                    <a:pt x="1107" y="198"/>
                  </a:cubicBezTo>
                  <a:cubicBezTo>
                    <a:pt x="1107" y="198"/>
                    <a:pt x="1107" y="198"/>
                    <a:pt x="1107" y="198"/>
                  </a:cubicBezTo>
                  <a:cubicBezTo>
                    <a:pt x="1108" y="199"/>
                    <a:pt x="1108" y="199"/>
                    <a:pt x="1109" y="199"/>
                  </a:cubicBezTo>
                  <a:cubicBezTo>
                    <a:pt x="1109" y="199"/>
                    <a:pt x="1110" y="200"/>
                    <a:pt x="1110" y="200"/>
                  </a:cubicBezTo>
                  <a:cubicBezTo>
                    <a:pt x="1111" y="201"/>
                    <a:pt x="1111" y="201"/>
                    <a:pt x="1111" y="201"/>
                  </a:cubicBezTo>
                  <a:cubicBezTo>
                    <a:pt x="1112" y="202"/>
                    <a:pt x="1115" y="202"/>
                    <a:pt x="1116" y="202"/>
                  </a:cubicBezTo>
                  <a:cubicBezTo>
                    <a:pt x="1117" y="203"/>
                    <a:pt x="1117" y="203"/>
                    <a:pt x="1117" y="203"/>
                  </a:cubicBezTo>
                  <a:cubicBezTo>
                    <a:pt x="1117" y="203"/>
                    <a:pt x="1118" y="203"/>
                    <a:pt x="1118" y="203"/>
                  </a:cubicBezTo>
                  <a:cubicBezTo>
                    <a:pt x="1119" y="203"/>
                    <a:pt x="1119" y="203"/>
                    <a:pt x="1119" y="203"/>
                  </a:cubicBezTo>
                  <a:cubicBezTo>
                    <a:pt x="1119" y="203"/>
                    <a:pt x="1120" y="203"/>
                    <a:pt x="1121" y="204"/>
                  </a:cubicBezTo>
                  <a:cubicBezTo>
                    <a:pt x="1124" y="205"/>
                    <a:pt x="1125" y="205"/>
                    <a:pt x="1125" y="205"/>
                  </a:cubicBezTo>
                  <a:cubicBezTo>
                    <a:pt x="1125" y="205"/>
                    <a:pt x="1125" y="205"/>
                    <a:pt x="1125" y="205"/>
                  </a:cubicBezTo>
                  <a:cubicBezTo>
                    <a:pt x="1126" y="205"/>
                    <a:pt x="1126" y="205"/>
                    <a:pt x="1126" y="205"/>
                  </a:cubicBezTo>
                  <a:cubicBezTo>
                    <a:pt x="1126" y="205"/>
                    <a:pt x="1126" y="205"/>
                    <a:pt x="1126" y="205"/>
                  </a:cubicBezTo>
                  <a:cubicBezTo>
                    <a:pt x="1127" y="205"/>
                    <a:pt x="1128" y="204"/>
                    <a:pt x="1128" y="204"/>
                  </a:cubicBezTo>
                  <a:cubicBezTo>
                    <a:pt x="1128" y="203"/>
                    <a:pt x="1128" y="203"/>
                    <a:pt x="1128" y="203"/>
                  </a:cubicBezTo>
                  <a:cubicBezTo>
                    <a:pt x="1128" y="202"/>
                    <a:pt x="1128" y="201"/>
                    <a:pt x="1128" y="200"/>
                  </a:cubicBezTo>
                  <a:cubicBezTo>
                    <a:pt x="1129" y="200"/>
                    <a:pt x="1129" y="200"/>
                    <a:pt x="1129" y="200"/>
                  </a:cubicBezTo>
                  <a:cubicBezTo>
                    <a:pt x="1129" y="198"/>
                    <a:pt x="1130" y="197"/>
                    <a:pt x="1131" y="196"/>
                  </a:cubicBezTo>
                  <a:cubicBezTo>
                    <a:pt x="1132" y="195"/>
                    <a:pt x="1132" y="195"/>
                    <a:pt x="1132" y="195"/>
                  </a:cubicBezTo>
                  <a:cubicBezTo>
                    <a:pt x="1133" y="194"/>
                    <a:pt x="1134" y="194"/>
                    <a:pt x="1135" y="193"/>
                  </a:cubicBezTo>
                  <a:cubicBezTo>
                    <a:pt x="1135" y="192"/>
                    <a:pt x="1135" y="192"/>
                    <a:pt x="1135" y="192"/>
                  </a:cubicBezTo>
                  <a:cubicBezTo>
                    <a:pt x="1136" y="192"/>
                    <a:pt x="1136" y="192"/>
                    <a:pt x="1136" y="192"/>
                  </a:cubicBezTo>
                  <a:cubicBezTo>
                    <a:pt x="1136" y="191"/>
                    <a:pt x="1136" y="191"/>
                    <a:pt x="1136" y="191"/>
                  </a:cubicBezTo>
                  <a:cubicBezTo>
                    <a:pt x="1136" y="189"/>
                    <a:pt x="1136" y="188"/>
                    <a:pt x="1138" y="186"/>
                  </a:cubicBezTo>
                  <a:cubicBezTo>
                    <a:pt x="1138" y="185"/>
                    <a:pt x="1139" y="184"/>
                    <a:pt x="1139" y="184"/>
                  </a:cubicBezTo>
                  <a:cubicBezTo>
                    <a:pt x="1140" y="183"/>
                    <a:pt x="1142" y="180"/>
                    <a:pt x="1142" y="180"/>
                  </a:cubicBezTo>
                  <a:cubicBezTo>
                    <a:pt x="1142" y="179"/>
                    <a:pt x="1142" y="179"/>
                    <a:pt x="1142" y="179"/>
                  </a:cubicBezTo>
                  <a:cubicBezTo>
                    <a:pt x="1143" y="178"/>
                    <a:pt x="1143" y="176"/>
                    <a:pt x="1143" y="174"/>
                  </a:cubicBezTo>
                  <a:cubicBezTo>
                    <a:pt x="1143" y="174"/>
                    <a:pt x="1143" y="174"/>
                    <a:pt x="1143" y="174"/>
                  </a:cubicBezTo>
                  <a:cubicBezTo>
                    <a:pt x="1143" y="173"/>
                    <a:pt x="1143" y="173"/>
                    <a:pt x="1143" y="173"/>
                  </a:cubicBezTo>
                  <a:cubicBezTo>
                    <a:pt x="1143" y="172"/>
                    <a:pt x="1143" y="172"/>
                    <a:pt x="1143" y="172"/>
                  </a:cubicBezTo>
                  <a:cubicBezTo>
                    <a:pt x="1144" y="171"/>
                    <a:pt x="1144" y="171"/>
                    <a:pt x="1145" y="170"/>
                  </a:cubicBezTo>
                  <a:cubicBezTo>
                    <a:pt x="1145" y="170"/>
                    <a:pt x="1145" y="170"/>
                    <a:pt x="1145" y="170"/>
                  </a:cubicBezTo>
                  <a:cubicBezTo>
                    <a:pt x="1145" y="169"/>
                    <a:pt x="1145" y="169"/>
                    <a:pt x="1145" y="169"/>
                  </a:cubicBezTo>
                  <a:cubicBezTo>
                    <a:pt x="1145" y="169"/>
                    <a:pt x="1145" y="169"/>
                    <a:pt x="1145" y="169"/>
                  </a:cubicBezTo>
                  <a:cubicBezTo>
                    <a:pt x="1146" y="168"/>
                    <a:pt x="1146" y="168"/>
                    <a:pt x="1146" y="167"/>
                  </a:cubicBezTo>
                  <a:cubicBezTo>
                    <a:pt x="1146" y="167"/>
                    <a:pt x="1146" y="166"/>
                    <a:pt x="1147" y="165"/>
                  </a:cubicBezTo>
                  <a:cubicBezTo>
                    <a:pt x="1147" y="163"/>
                    <a:pt x="1147" y="163"/>
                    <a:pt x="1147" y="163"/>
                  </a:cubicBezTo>
                  <a:cubicBezTo>
                    <a:pt x="1147" y="163"/>
                    <a:pt x="1147" y="162"/>
                    <a:pt x="1148" y="161"/>
                  </a:cubicBezTo>
                  <a:cubicBezTo>
                    <a:pt x="1148" y="161"/>
                    <a:pt x="1148" y="161"/>
                    <a:pt x="1148" y="161"/>
                  </a:cubicBezTo>
                  <a:cubicBezTo>
                    <a:pt x="1148" y="160"/>
                    <a:pt x="1148" y="159"/>
                    <a:pt x="1149" y="158"/>
                  </a:cubicBezTo>
                  <a:cubicBezTo>
                    <a:pt x="1146" y="157"/>
                    <a:pt x="1146" y="157"/>
                    <a:pt x="1146" y="157"/>
                  </a:cubicBezTo>
                  <a:cubicBezTo>
                    <a:pt x="1149" y="157"/>
                    <a:pt x="1149" y="157"/>
                    <a:pt x="1149" y="157"/>
                  </a:cubicBezTo>
                  <a:cubicBezTo>
                    <a:pt x="1149" y="157"/>
                    <a:pt x="1149" y="157"/>
                    <a:pt x="1149" y="157"/>
                  </a:cubicBezTo>
                  <a:cubicBezTo>
                    <a:pt x="1149" y="156"/>
                    <a:pt x="1149" y="155"/>
                    <a:pt x="1149" y="155"/>
                  </a:cubicBezTo>
                  <a:cubicBezTo>
                    <a:pt x="1149" y="154"/>
                    <a:pt x="1149" y="153"/>
                    <a:pt x="1150" y="152"/>
                  </a:cubicBezTo>
                  <a:cubicBezTo>
                    <a:pt x="1150" y="151"/>
                    <a:pt x="1151" y="150"/>
                    <a:pt x="1151" y="150"/>
                  </a:cubicBezTo>
                  <a:cubicBezTo>
                    <a:pt x="1152" y="149"/>
                    <a:pt x="1153" y="148"/>
                    <a:pt x="1154" y="148"/>
                  </a:cubicBezTo>
                  <a:cubicBezTo>
                    <a:pt x="1155" y="148"/>
                    <a:pt x="1155" y="148"/>
                    <a:pt x="1155" y="148"/>
                  </a:cubicBezTo>
                  <a:cubicBezTo>
                    <a:pt x="1155" y="147"/>
                    <a:pt x="1155" y="147"/>
                    <a:pt x="1155" y="147"/>
                  </a:cubicBezTo>
                  <a:cubicBezTo>
                    <a:pt x="1156" y="147"/>
                    <a:pt x="1160" y="145"/>
                    <a:pt x="1160" y="144"/>
                  </a:cubicBezTo>
                  <a:cubicBezTo>
                    <a:pt x="1160" y="143"/>
                    <a:pt x="1160" y="143"/>
                    <a:pt x="1160" y="143"/>
                  </a:cubicBezTo>
                  <a:cubicBezTo>
                    <a:pt x="1160" y="143"/>
                    <a:pt x="1159" y="142"/>
                    <a:pt x="1159" y="142"/>
                  </a:cubicBezTo>
                  <a:cubicBezTo>
                    <a:pt x="1158" y="142"/>
                    <a:pt x="1158" y="142"/>
                    <a:pt x="1158" y="142"/>
                  </a:cubicBezTo>
                  <a:cubicBezTo>
                    <a:pt x="1158" y="141"/>
                    <a:pt x="1157" y="139"/>
                    <a:pt x="1156" y="138"/>
                  </a:cubicBezTo>
                  <a:cubicBezTo>
                    <a:pt x="1156" y="134"/>
                    <a:pt x="1158" y="131"/>
                    <a:pt x="1160" y="129"/>
                  </a:cubicBezTo>
                  <a:cubicBezTo>
                    <a:pt x="1160" y="129"/>
                    <a:pt x="1160" y="129"/>
                    <a:pt x="1160" y="129"/>
                  </a:cubicBezTo>
                  <a:cubicBezTo>
                    <a:pt x="1159" y="129"/>
                    <a:pt x="1158" y="129"/>
                    <a:pt x="1158" y="129"/>
                  </a:cubicBezTo>
                  <a:cubicBezTo>
                    <a:pt x="1155" y="130"/>
                    <a:pt x="1155" y="130"/>
                    <a:pt x="1155" y="130"/>
                  </a:cubicBezTo>
                  <a:cubicBezTo>
                    <a:pt x="1155" y="130"/>
                    <a:pt x="1155" y="130"/>
                    <a:pt x="1155" y="130"/>
                  </a:cubicBezTo>
                  <a:cubicBezTo>
                    <a:pt x="1155" y="130"/>
                    <a:pt x="1154" y="130"/>
                    <a:pt x="1153" y="130"/>
                  </a:cubicBezTo>
                  <a:cubicBezTo>
                    <a:pt x="1153" y="130"/>
                    <a:pt x="1153" y="130"/>
                    <a:pt x="1153" y="130"/>
                  </a:cubicBezTo>
                  <a:cubicBezTo>
                    <a:pt x="1152" y="130"/>
                    <a:pt x="1152" y="131"/>
                    <a:pt x="1151" y="131"/>
                  </a:cubicBezTo>
                  <a:cubicBezTo>
                    <a:pt x="1149" y="131"/>
                    <a:pt x="1146" y="132"/>
                    <a:pt x="1143" y="134"/>
                  </a:cubicBezTo>
                  <a:cubicBezTo>
                    <a:pt x="1142" y="134"/>
                    <a:pt x="1142" y="134"/>
                    <a:pt x="1142" y="134"/>
                  </a:cubicBezTo>
                  <a:cubicBezTo>
                    <a:pt x="1142" y="134"/>
                    <a:pt x="1141" y="134"/>
                    <a:pt x="1141" y="135"/>
                  </a:cubicBezTo>
                  <a:cubicBezTo>
                    <a:pt x="1138" y="136"/>
                    <a:pt x="1138" y="136"/>
                    <a:pt x="1138" y="136"/>
                  </a:cubicBezTo>
                  <a:cubicBezTo>
                    <a:pt x="1136" y="137"/>
                    <a:pt x="1134" y="137"/>
                    <a:pt x="1131" y="137"/>
                  </a:cubicBezTo>
                  <a:cubicBezTo>
                    <a:pt x="1130" y="137"/>
                    <a:pt x="1128" y="138"/>
                    <a:pt x="1127" y="138"/>
                  </a:cubicBezTo>
                  <a:cubicBezTo>
                    <a:pt x="1125" y="139"/>
                    <a:pt x="1124" y="140"/>
                    <a:pt x="1123" y="141"/>
                  </a:cubicBezTo>
                  <a:cubicBezTo>
                    <a:pt x="1123" y="141"/>
                    <a:pt x="1123" y="142"/>
                    <a:pt x="1122" y="143"/>
                  </a:cubicBezTo>
                  <a:cubicBezTo>
                    <a:pt x="1122" y="144"/>
                    <a:pt x="1121" y="146"/>
                    <a:pt x="1117" y="146"/>
                  </a:cubicBezTo>
                  <a:cubicBezTo>
                    <a:pt x="1113" y="147"/>
                    <a:pt x="1109" y="147"/>
                    <a:pt x="1105" y="147"/>
                  </a:cubicBezTo>
                  <a:cubicBezTo>
                    <a:pt x="1103" y="147"/>
                    <a:pt x="1101" y="147"/>
                    <a:pt x="1099" y="147"/>
                  </a:cubicBezTo>
                  <a:cubicBezTo>
                    <a:pt x="1097" y="147"/>
                    <a:pt x="1094" y="147"/>
                    <a:pt x="1091" y="146"/>
                  </a:cubicBezTo>
                  <a:cubicBezTo>
                    <a:pt x="1090" y="146"/>
                    <a:pt x="1089" y="146"/>
                    <a:pt x="1088" y="145"/>
                  </a:cubicBezTo>
                  <a:cubicBezTo>
                    <a:pt x="1088" y="145"/>
                    <a:pt x="1088" y="145"/>
                    <a:pt x="1088" y="145"/>
                  </a:cubicBezTo>
                  <a:cubicBezTo>
                    <a:pt x="1087" y="143"/>
                    <a:pt x="1087" y="143"/>
                    <a:pt x="1087" y="143"/>
                  </a:cubicBezTo>
                  <a:cubicBezTo>
                    <a:pt x="1087" y="143"/>
                    <a:pt x="1087" y="143"/>
                    <a:pt x="1087" y="143"/>
                  </a:cubicBezTo>
                  <a:cubicBezTo>
                    <a:pt x="1087" y="142"/>
                    <a:pt x="1087" y="142"/>
                    <a:pt x="1087" y="142"/>
                  </a:cubicBezTo>
                  <a:cubicBezTo>
                    <a:pt x="1086" y="141"/>
                    <a:pt x="1086" y="141"/>
                    <a:pt x="1086" y="141"/>
                  </a:cubicBezTo>
                  <a:cubicBezTo>
                    <a:pt x="1086" y="140"/>
                    <a:pt x="1086" y="140"/>
                    <a:pt x="1086" y="140"/>
                  </a:cubicBezTo>
                  <a:cubicBezTo>
                    <a:pt x="1085" y="140"/>
                    <a:pt x="1085" y="140"/>
                    <a:pt x="1085" y="140"/>
                  </a:cubicBezTo>
                  <a:cubicBezTo>
                    <a:pt x="1085" y="139"/>
                    <a:pt x="1085" y="139"/>
                    <a:pt x="1085" y="139"/>
                  </a:cubicBezTo>
                  <a:cubicBezTo>
                    <a:pt x="1081" y="136"/>
                    <a:pt x="1082" y="134"/>
                    <a:pt x="1084" y="131"/>
                  </a:cubicBezTo>
                  <a:cubicBezTo>
                    <a:pt x="1084" y="130"/>
                    <a:pt x="1084" y="130"/>
                    <a:pt x="1084" y="130"/>
                  </a:cubicBezTo>
                  <a:cubicBezTo>
                    <a:pt x="1084" y="130"/>
                    <a:pt x="1084" y="130"/>
                    <a:pt x="1084" y="130"/>
                  </a:cubicBezTo>
                  <a:cubicBezTo>
                    <a:pt x="1085" y="129"/>
                    <a:pt x="1085" y="129"/>
                    <a:pt x="1085" y="129"/>
                  </a:cubicBezTo>
                  <a:cubicBezTo>
                    <a:pt x="1085" y="129"/>
                    <a:pt x="1085" y="129"/>
                    <a:pt x="1085" y="129"/>
                  </a:cubicBezTo>
                  <a:cubicBezTo>
                    <a:pt x="1085" y="128"/>
                    <a:pt x="1085" y="128"/>
                    <a:pt x="1085" y="128"/>
                  </a:cubicBezTo>
                  <a:cubicBezTo>
                    <a:pt x="1084" y="128"/>
                    <a:pt x="1084" y="127"/>
                    <a:pt x="1084" y="127"/>
                  </a:cubicBezTo>
                  <a:cubicBezTo>
                    <a:pt x="1083" y="126"/>
                    <a:pt x="1083" y="126"/>
                    <a:pt x="1083" y="126"/>
                  </a:cubicBezTo>
                  <a:cubicBezTo>
                    <a:pt x="1082" y="126"/>
                    <a:pt x="1081" y="125"/>
                    <a:pt x="1080" y="124"/>
                  </a:cubicBezTo>
                  <a:cubicBezTo>
                    <a:pt x="1080" y="123"/>
                    <a:pt x="1080" y="122"/>
                    <a:pt x="1080" y="121"/>
                  </a:cubicBezTo>
                  <a:cubicBezTo>
                    <a:pt x="1080" y="121"/>
                    <a:pt x="1080" y="121"/>
                    <a:pt x="1080" y="121"/>
                  </a:cubicBezTo>
                  <a:cubicBezTo>
                    <a:pt x="1080" y="120"/>
                    <a:pt x="1080" y="120"/>
                    <a:pt x="1080" y="120"/>
                  </a:cubicBezTo>
                  <a:cubicBezTo>
                    <a:pt x="1080" y="118"/>
                    <a:pt x="1080" y="118"/>
                    <a:pt x="1080" y="118"/>
                  </a:cubicBezTo>
                  <a:cubicBezTo>
                    <a:pt x="1079" y="118"/>
                    <a:pt x="1079" y="118"/>
                    <a:pt x="1079" y="118"/>
                  </a:cubicBezTo>
                  <a:cubicBezTo>
                    <a:pt x="1078" y="118"/>
                    <a:pt x="1078" y="118"/>
                    <a:pt x="1078" y="118"/>
                  </a:cubicBezTo>
                  <a:cubicBezTo>
                    <a:pt x="1077" y="118"/>
                    <a:pt x="1077" y="118"/>
                    <a:pt x="1077" y="118"/>
                  </a:cubicBezTo>
                  <a:cubicBezTo>
                    <a:pt x="1077" y="118"/>
                    <a:pt x="1077" y="118"/>
                    <a:pt x="1077" y="118"/>
                  </a:cubicBezTo>
                  <a:cubicBezTo>
                    <a:pt x="1077" y="118"/>
                    <a:pt x="1077" y="118"/>
                    <a:pt x="1076" y="118"/>
                  </a:cubicBezTo>
                  <a:cubicBezTo>
                    <a:pt x="1076" y="118"/>
                    <a:pt x="1076" y="118"/>
                    <a:pt x="1076" y="118"/>
                  </a:cubicBezTo>
                  <a:cubicBezTo>
                    <a:pt x="1074" y="117"/>
                    <a:pt x="1074" y="117"/>
                    <a:pt x="1074" y="117"/>
                  </a:cubicBezTo>
                  <a:cubicBezTo>
                    <a:pt x="1060" y="104"/>
                    <a:pt x="1060" y="104"/>
                    <a:pt x="1060" y="104"/>
                  </a:cubicBezTo>
                  <a:cubicBezTo>
                    <a:pt x="1059" y="105"/>
                    <a:pt x="1059" y="105"/>
                    <a:pt x="1059" y="105"/>
                  </a:cubicBezTo>
                  <a:cubicBezTo>
                    <a:pt x="1058" y="105"/>
                    <a:pt x="1058" y="105"/>
                    <a:pt x="1057" y="106"/>
                  </a:cubicBezTo>
                  <a:cubicBezTo>
                    <a:pt x="1057" y="106"/>
                    <a:pt x="1057" y="106"/>
                    <a:pt x="1057" y="106"/>
                  </a:cubicBezTo>
                  <a:cubicBezTo>
                    <a:pt x="1050" y="103"/>
                    <a:pt x="1050" y="103"/>
                    <a:pt x="1050" y="103"/>
                  </a:cubicBezTo>
                  <a:cubicBezTo>
                    <a:pt x="1049" y="103"/>
                    <a:pt x="1049" y="102"/>
                    <a:pt x="1048" y="102"/>
                  </a:cubicBezTo>
                  <a:cubicBezTo>
                    <a:pt x="1047" y="102"/>
                    <a:pt x="1047" y="102"/>
                    <a:pt x="1047" y="102"/>
                  </a:cubicBezTo>
                  <a:cubicBezTo>
                    <a:pt x="1046" y="101"/>
                    <a:pt x="1044" y="100"/>
                    <a:pt x="1043" y="100"/>
                  </a:cubicBezTo>
                  <a:cubicBezTo>
                    <a:pt x="1042" y="100"/>
                    <a:pt x="1042" y="100"/>
                    <a:pt x="1042" y="100"/>
                  </a:cubicBezTo>
                  <a:cubicBezTo>
                    <a:pt x="1033" y="100"/>
                    <a:pt x="1033" y="100"/>
                    <a:pt x="1033" y="100"/>
                  </a:cubicBezTo>
                  <a:cubicBezTo>
                    <a:pt x="1031" y="100"/>
                    <a:pt x="1029" y="100"/>
                    <a:pt x="1027" y="98"/>
                  </a:cubicBezTo>
                  <a:cubicBezTo>
                    <a:pt x="1025" y="95"/>
                    <a:pt x="1025" y="95"/>
                    <a:pt x="1025" y="95"/>
                  </a:cubicBezTo>
                  <a:cubicBezTo>
                    <a:pt x="1023" y="91"/>
                    <a:pt x="1023" y="91"/>
                    <a:pt x="1023" y="91"/>
                  </a:cubicBezTo>
                  <a:cubicBezTo>
                    <a:pt x="1022" y="90"/>
                    <a:pt x="1022" y="88"/>
                    <a:pt x="1022" y="86"/>
                  </a:cubicBezTo>
                  <a:cubicBezTo>
                    <a:pt x="1022" y="85"/>
                    <a:pt x="1022" y="85"/>
                    <a:pt x="1022" y="85"/>
                  </a:cubicBezTo>
                  <a:cubicBezTo>
                    <a:pt x="1023" y="84"/>
                    <a:pt x="1023" y="84"/>
                    <a:pt x="1023" y="84"/>
                  </a:cubicBezTo>
                  <a:cubicBezTo>
                    <a:pt x="1023" y="83"/>
                    <a:pt x="1023" y="83"/>
                    <a:pt x="1023" y="83"/>
                  </a:cubicBezTo>
                  <a:cubicBezTo>
                    <a:pt x="1023" y="83"/>
                    <a:pt x="1023" y="83"/>
                    <a:pt x="1023" y="83"/>
                  </a:cubicBezTo>
                  <a:cubicBezTo>
                    <a:pt x="1023" y="83"/>
                    <a:pt x="1023" y="83"/>
                    <a:pt x="1022" y="82"/>
                  </a:cubicBezTo>
                  <a:cubicBezTo>
                    <a:pt x="1021" y="81"/>
                    <a:pt x="1021" y="80"/>
                    <a:pt x="1020" y="79"/>
                  </a:cubicBezTo>
                  <a:cubicBezTo>
                    <a:pt x="1015" y="67"/>
                    <a:pt x="1015" y="67"/>
                    <a:pt x="1015" y="67"/>
                  </a:cubicBezTo>
                  <a:cubicBezTo>
                    <a:pt x="1013" y="65"/>
                    <a:pt x="1013" y="65"/>
                    <a:pt x="1013" y="65"/>
                  </a:cubicBezTo>
                  <a:cubicBezTo>
                    <a:pt x="1013" y="64"/>
                    <a:pt x="1013" y="64"/>
                    <a:pt x="1013" y="64"/>
                  </a:cubicBezTo>
                  <a:cubicBezTo>
                    <a:pt x="1012" y="58"/>
                    <a:pt x="1012" y="58"/>
                    <a:pt x="1012" y="58"/>
                  </a:cubicBezTo>
                  <a:cubicBezTo>
                    <a:pt x="1012" y="58"/>
                    <a:pt x="1012" y="58"/>
                    <a:pt x="1012" y="58"/>
                  </a:cubicBezTo>
                  <a:cubicBezTo>
                    <a:pt x="1011" y="58"/>
                    <a:pt x="1009" y="57"/>
                    <a:pt x="1008" y="55"/>
                  </a:cubicBezTo>
                  <a:cubicBezTo>
                    <a:pt x="1008" y="55"/>
                    <a:pt x="1008" y="55"/>
                    <a:pt x="1008" y="55"/>
                  </a:cubicBezTo>
                  <a:cubicBezTo>
                    <a:pt x="1008" y="55"/>
                    <a:pt x="1008" y="55"/>
                    <a:pt x="1008" y="55"/>
                  </a:cubicBezTo>
                  <a:cubicBezTo>
                    <a:pt x="1007" y="52"/>
                    <a:pt x="1007" y="52"/>
                    <a:pt x="1007" y="52"/>
                  </a:cubicBezTo>
                  <a:cubicBezTo>
                    <a:pt x="1005" y="48"/>
                    <a:pt x="1004" y="44"/>
                    <a:pt x="1002" y="41"/>
                  </a:cubicBezTo>
                  <a:cubicBezTo>
                    <a:pt x="1002" y="40"/>
                    <a:pt x="1002" y="40"/>
                    <a:pt x="1002" y="40"/>
                  </a:cubicBezTo>
                  <a:cubicBezTo>
                    <a:pt x="1001" y="38"/>
                    <a:pt x="1001" y="37"/>
                    <a:pt x="1002" y="36"/>
                  </a:cubicBezTo>
                  <a:cubicBezTo>
                    <a:pt x="1002" y="35"/>
                    <a:pt x="1002" y="35"/>
                    <a:pt x="1002" y="35"/>
                  </a:cubicBezTo>
                  <a:cubicBezTo>
                    <a:pt x="1002" y="35"/>
                    <a:pt x="1002" y="35"/>
                    <a:pt x="1002" y="35"/>
                  </a:cubicBezTo>
                  <a:cubicBezTo>
                    <a:pt x="1002" y="34"/>
                    <a:pt x="1002" y="34"/>
                    <a:pt x="1002" y="34"/>
                  </a:cubicBezTo>
                  <a:cubicBezTo>
                    <a:pt x="1002" y="34"/>
                    <a:pt x="1002" y="34"/>
                    <a:pt x="1002" y="34"/>
                  </a:cubicBezTo>
                  <a:cubicBezTo>
                    <a:pt x="1001" y="32"/>
                    <a:pt x="998" y="29"/>
                    <a:pt x="997" y="27"/>
                  </a:cubicBezTo>
                  <a:cubicBezTo>
                    <a:pt x="996" y="27"/>
                    <a:pt x="996" y="27"/>
                    <a:pt x="996" y="27"/>
                  </a:cubicBezTo>
                  <a:cubicBezTo>
                    <a:pt x="996" y="27"/>
                    <a:pt x="995" y="26"/>
                    <a:pt x="995" y="26"/>
                  </a:cubicBezTo>
                  <a:cubicBezTo>
                    <a:pt x="993" y="24"/>
                    <a:pt x="993" y="24"/>
                    <a:pt x="993" y="24"/>
                  </a:cubicBezTo>
                  <a:cubicBezTo>
                    <a:pt x="992" y="22"/>
                    <a:pt x="992" y="20"/>
                    <a:pt x="994" y="19"/>
                  </a:cubicBezTo>
                  <a:cubicBezTo>
                    <a:pt x="994" y="19"/>
                    <a:pt x="994" y="19"/>
                    <a:pt x="994" y="19"/>
                  </a:cubicBezTo>
                  <a:cubicBezTo>
                    <a:pt x="994" y="18"/>
                    <a:pt x="994" y="18"/>
                    <a:pt x="994" y="18"/>
                  </a:cubicBezTo>
                  <a:cubicBezTo>
                    <a:pt x="993" y="18"/>
                    <a:pt x="993" y="18"/>
                    <a:pt x="992" y="17"/>
                  </a:cubicBezTo>
                  <a:cubicBezTo>
                    <a:pt x="992" y="17"/>
                    <a:pt x="992" y="17"/>
                    <a:pt x="992" y="17"/>
                  </a:cubicBezTo>
                  <a:cubicBezTo>
                    <a:pt x="987" y="13"/>
                    <a:pt x="987" y="13"/>
                    <a:pt x="987" y="13"/>
                  </a:cubicBezTo>
                  <a:cubicBezTo>
                    <a:pt x="987" y="13"/>
                    <a:pt x="987" y="13"/>
                    <a:pt x="987" y="13"/>
                  </a:cubicBezTo>
                  <a:cubicBezTo>
                    <a:pt x="986" y="12"/>
                    <a:pt x="986" y="12"/>
                    <a:pt x="986" y="12"/>
                  </a:cubicBezTo>
                  <a:cubicBezTo>
                    <a:pt x="983" y="11"/>
                    <a:pt x="983" y="11"/>
                    <a:pt x="983" y="11"/>
                  </a:cubicBezTo>
                  <a:cubicBezTo>
                    <a:pt x="982" y="11"/>
                    <a:pt x="982" y="11"/>
                    <a:pt x="982" y="11"/>
                  </a:cubicBezTo>
                  <a:cubicBezTo>
                    <a:pt x="982" y="11"/>
                    <a:pt x="982" y="11"/>
                    <a:pt x="982" y="11"/>
                  </a:cubicBezTo>
                  <a:cubicBezTo>
                    <a:pt x="981" y="10"/>
                    <a:pt x="981" y="10"/>
                    <a:pt x="981" y="10"/>
                  </a:cubicBezTo>
                  <a:cubicBezTo>
                    <a:pt x="980" y="10"/>
                    <a:pt x="980" y="10"/>
                    <a:pt x="980" y="10"/>
                  </a:cubicBezTo>
                  <a:cubicBezTo>
                    <a:pt x="980" y="10"/>
                    <a:pt x="980" y="10"/>
                    <a:pt x="980" y="10"/>
                  </a:cubicBezTo>
                  <a:cubicBezTo>
                    <a:pt x="979" y="9"/>
                    <a:pt x="979" y="9"/>
                    <a:pt x="978" y="9"/>
                  </a:cubicBezTo>
                  <a:cubicBezTo>
                    <a:pt x="978" y="9"/>
                    <a:pt x="978" y="9"/>
                    <a:pt x="978" y="9"/>
                  </a:cubicBezTo>
                  <a:cubicBezTo>
                    <a:pt x="978" y="9"/>
                    <a:pt x="977" y="9"/>
                    <a:pt x="976" y="9"/>
                  </a:cubicBezTo>
                  <a:cubicBezTo>
                    <a:pt x="975" y="9"/>
                    <a:pt x="975" y="9"/>
                    <a:pt x="975" y="9"/>
                  </a:cubicBezTo>
                  <a:cubicBezTo>
                    <a:pt x="975" y="10"/>
                    <a:pt x="975" y="10"/>
                    <a:pt x="975" y="10"/>
                  </a:cubicBezTo>
                  <a:cubicBezTo>
                    <a:pt x="974" y="10"/>
                    <a:pt x="974" y="10"/>
                    <a:pt x="974" y="10"/>
                  </a:cubicBezTo>
                  <a:cubicBezTo>
                    <a:pt x="969" y="9"/>
                    <a:pt x="969" y="9"/>
                    <a:pt x="969" y="9"/>
                  </a:cubicBezTo>
                  <a:cubicBezTo>
                    <a:pt x="969" y="9"/>
                    <a:pt x="969" y="9"/>
                    <a:pt x="968" y="9"/>
                  </a:cubicBezTo>
                  <a:cubicBezTo>
                    <a:pt x="968" y="9"/>
                    <a:pt x="968" y="9"/>
                    <a:pt x="968" y="9"/>
                  </a:cubicBezTo>
                  <a:cubicBezTo>
                    <a:pt x="958" y="4"/>
                    <a:pt x="958" y="4"/>
                    <a:pt x="958" y="4"/>
                  </a:cubicBezTo>
                  <a:cubicBezTo>
                    <a:pt x="956" y="3"/>
                    <a:pt x="953" y="1"/>
                    <a:pt x="951" y="1"/>
                  </a:cubicBezTo>
                  <a:cubicBezTo>
                    <a:pt x="949" y="0"/>
                    <a:pt x="949" y="0"/>
                    <a:pt x="949" y="0"/>
                  </a:cubicBezTo>
                  <a:cubicBezTo>
                    <a:pt x="948" y="0"/>
                    <a:pt x="948" y="0"/>
                    <a:pt x="948" y="0"/>
                  </a:cubicBezTo>
                  <a:cubicBezTo>
                    <a:pt x="946" y="0"/>
                    <a:pt x="946" y="0"/>
                    <a:pt x="946" y="0"/>
                  </a:cubicBezTo>
                  <a:cubicBezTo>
                    <a:pt x="944" y="0"/>
                    <a:pt x="944" y="0"/>
                    <a:pt x="9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413"/>
            <p:cNvSpPr/>
            <p:nvPr/>
          </p:nvSpPr>
          <p:spPr bwMode="auto">
            <a:xfrm>
              <a:off x="3870520" y="4906197"/>
              <a:ext cx="569437" cy="478657"/>
            </a:xfrm>
            <a:custGeom>
              <a:gdLst>
                <a:gd name="T0" fmla="*/ 136 w 175"/>
                <a:gd name="T1" fmla="*/ 7 h 147"/>
                <a:gd name="T2" fmla="*/ 128 w 175"/>
                <a:gd name="T3" fmla="*/ 5 h 147"/>
                <a:gd name="T4" fmla="*/ 118 w 175"/>
                <a:gd name="T5" fmla="*/ 8 h 147"/>
                <a:gd name="T6" fmla="*/ 101 w 175"/>
                <a:gd name="T7" fmla="*/ 16 h 147"/>
                <a:gd name="T8" fmla="*/ 97 w 175"/>
                <a:gd name="T9" fmla="*/ 21 h 147"/>
                <a:gd name="T10" fmla="*/ 92 w 175"/>
                <a:gd name="T11" fmla="*/ 24 h 147"/>
                <a:gd name="T12" fmla="*/ 90 w 175"/>
                <a:gd name="T13" fmla="*/ 29 h 147"/>
                <a:gd name="T14" fmla="*/ 71 w 175"/>
                <a:gd name="T15" fmla="*/ 34 h 147"/>
                <a:gd name="T16" fmla="*/ 70 w 175"/>
                <a:gd name="T17" fmla="*/ 35 h 147"/>
                <a:gd name="T18" fmla="*/ 77 w 175"/>
                <a:gd name="T19" fmla="*/ 45 h 147"/>
                <a:gd name="T20" fmla="*/ 73 w 175"/>
                <a:gd name="T21" fmla="*/ 54 h 147"/>
                <a:gd name="T22" fmla="*/ 70 w 175"/>
                <a:gd name="T23" fmla="*/ 53 h 147"/>
                <a:gd name="T24" fmla="*/ 59 w 175"/>
                <a:gd name="T25" fmla="*/ 54 h 147"/>
                <a:gd name="T26" fmla="*/ 50 w 175"/>
                <a:gd name="T27" fmla="*/ 54 h 147"/>
                <a:gd name="T28" fmla="*/ 41 w 175"/>
                <a:gd name="T29" fmla="*/ 53 h 147"/>
                <a:gd name="T30" fmla="*/ 28 w 175"/>
                <a:gd name="T31" fmla="*/ 54 h 147"/>
                <a:gd name="T32" fmla="*/ 20 w 175"/>
                <a:gd name="T33" fmla="*/ 53 h 147"/>
                <a:gd name="T34" fmla="*/ 8 w 175"/>
                <a:gd name="T35" fmla="*/ 45 h 147"/>
                <a:gd name="T36" fmla="*/ 12 w 175"/>
                <a:gd name="T37" fmla="*/ 40 h 147"/>
                <a:gd name="T38" fmla="*/ 13 w 175"/>
                <a:gd name="T39" fmla="*/ 30 h 147"/>
                <a:gd name="T40" fmla="*/ 10 w 175"/>
                <a:gd name="T41" fmla="*/ 27 h 147"/>
                <a:gd name="T42" fmla="*/ 1 w 175"/>
                <a:gd name="T43" fmla="*/ 45 h 147"/>
                <a:gd name="T44" fmla="*/ 4 w 175"/>
                <a:gd name="T45" fmla="*/ 52 h 147"/>
                <a:gd name="T46" fmla="*/ 11 w 175"/>
                <a:gd name="T47" fmla="*/ 58 h 147"/>
                <a:gd name="T48" fmla="*/ 19 w 175"/>
                <a:gd name="T49" fmla="*/ 58 h 147"/>
                <a:gd name="T50" fmla="*/ 25 w 175"/>
                <a:gd name="T51" fmla="*/ 66 h 147"/>
                <a:gd name="T52" fmla="*/ 34 w 175"/>
                <a:gd name="T53" fmla="*/ 66 h 147"/>
                <a:gd name="T54" fmla="*/ 35 w 175"/>
                <a:gd name="T55" fmla="*/ 80 h 147"/>
                <a:gd name="T56" fmla="*/ 44 w 175"/>
                <a:gd name="T57" fmla="*/ 83 h 147"/>
                <a:gd name="T58" fmla="*/ 50 w 175"/>
                <a:gd name="T59" fmla="*/ 83 h 147"/>
                <a:gd name="T60" fmla="*/ 58 w 175"/>
                <a:gd name="T61" fmla="*/ 82 h 147"/>
                <a:gd name="T62" fmla="*/ 74 w 175"/>
                <a:gd name="T63" fmla="*/ 83 h 147"/>
                <a:gd name="T64" fmla="*/ 85 w 175"/>
                <a:gd name="T65" fmla="*/ 89 h 147"/>
                <a:gd name="T66" fmla="*/ 79 w 175"/>
                <a:gd name="T67" fmla="*/ 100 h 147"/>
                <a:gd name="T68" fmla="*/ 75 w 175"/>
                <a:gd name="T69" fmla="*/ 103 h 147"/>
                <a:gd name="T70" fmla="*/ 69 w 175"/>
                <a:gd name="T71" fmla="*/ 107 h 147"/>
                <a:gd name="T72" fmla="*/ 61 w 175"/>
                <a:gd name="T73" fmla="*/ 115 h 147"/>
                <a:gd name="T74" fmla="*/ 65 w 175"/>
                <a:gd name="T75" fmla="*/ 122 h 147"/>
                <a:gd name="T76" fmla="*/ 70 w 175"/>
                <a:gd name="T77" fmla="*/ 121 h 147"/>
                <a:gd name="T78" fmla="*/ 79 w 175"/>
                <a:gd name="T79" fmla="*/ 112 h 147"/>
                <a:gd name="T80" fmla="*/ 89 w 175"/>
                <a:gd name="T81" fmla="*/ 126 h 147"/>
                <a:gd name="T82" fmla="*/ 88 w 175"/>
                <a:gd name="T83" fmla="*/ 147 h 147"/>
                <a:gd name="T84" fmla="*/ 94 w 175"/>
                <a:gd name="T85" fmla="*/ 127 h 147"/>
                <a:gd name="T86" fmla="*/ 100 w 175"/>
                <a:gd name="T87" fmla="*/ 106 h 147"/>
                <a:gd name="T88" fmla="*/ 130 w 175"/>
                <a:gd name="T89" fmla="*/ 72 h 147"/>
                <a:gd name="T90" fmla="*/ 142 w 175"/>
                <a:gd name="T91" fmla="*/ 49 h 147"/>
                <a:gd name="T92" fmla="*/ 166 w 175"/>
                <a:gd name="T93" fmla="*/ 38 h 147"/>
                <a:gd name="T94" fmla="*/ 174 w 175"/>
                <a:gd name="T95" fmla="*/ 24 h 147"/>
                <a:gd name="T96" fmla="*/ 167 w 175"/>
                <a:gd name="T97" fmla="*/ 21 h 147"/>
                <a:gd name="T98" fmla="*/ 160 w 175"/>
                <a:gd name="T99" fmla="*/ 22 h 147"/>
                <a:gd name="T100" fmla="*/ 155 w 175"/>
                <a:gd name="T101" fmla="*/ 16 h 147"/>
                <a:gd name="T102" fmla="*/ 160 w 175"/>
                <a:gd name="T103" fmla="*/ 10 h 147"/>
                <a:gd name="T104" fmla="*/ 152 w 175"/>
                <a:gd name="T105" fmla="*/ 13 h 147"/>
                <a:gd name="T106" fmla="*/ 153 w 175"/>
                <a:gd name="T107" fmla="*/ 2 h 1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5" h="147">
                  <a:moveTo>
                    <a:pt x="152" y="0"/>
                  </a:moveTo>
                  <a:cubicBezTo>
                    <a:pt x="151" y="0"/>
                    <a:pt x="149" y="1"/>
                    <a:pt x="144" y="5"/>
                  </a:cubicBezTo>
                  <a:cubicBezTo>
                    <a:pt x="143" y="6"/>
                    <a:pt x="143" y="6"/>
                    <a:pt x="143" y="6"/>
                  </a:cubicBezTo>
                  <a:cubicBezTo>
                    <a:pt x="142" y="6"/>
                    <a:pt x="142" y="7"/>
                    <a:pt x="141" y="7"/>
                  </a:cubicBezTo>
                  <a:cubicBezTo>
                    <a:pt x="141" y="8"/>
                    <a:pt x="140" y="8"/>
                    <a:pt x="139" y="8"/>
                  </a:cubicBezTo>
                  <a:cubicBezTo>
                    <a:pt x="138" y="8"/>
                    <a:pt x="137" y="8"/>
                    <a:pt x="136" y="7"/>
                  </a:cubicBezTo>
                  <a:cubicBezTo>
                    <a:pt x="135" y="7"/>
                    <a:pt x="135" y="7"/>
                    <a:pt x="134" y="6"/>
                  </a:cubicBezTo>
                  <a:cubicBezTo>
                    <a:pt x="134" y="6"/>
                    <a:pt x="134" y="6"/>
                    <a:pt x="134" y="6"/>
                  </a:cubicBezTo>
                  <a:cubicBezTo>
                    <a:pt x="133" y="6"/>
                    <a:pt x="133" y="6"/>
                    <a:pt x="132" y="6"/>
                  </a:cubicBezTo>
                  <a:cubicBezTo>
                    <a:pt x="131" y="5"/>
                    <a:pt x="131" y="5"/>
                    <a:pt x="131" y="5"/>
                  </a:cubicBezTo>
                  <a:cubicBezTo>
                    <a:pt x="131" y="5"/>
                    <a:pt x="131" y="5"/>
                    <a:pt x="131" y="5"/>
                  </a:cubicBezTo>
                  <a:cubicBezTo>
                    <a:pt x="130" y="5"/>
                    <a:pt x="129" y="5"/>
                    <a:pt x="128" y="5"/>
                  </a:cubicBezTo>
                  <a:cubicBezTo>
                    <a:pt x="127" y="4"/>
                    <a:pt x="126" y="4"/>
                    <a:pt x="126" y="3"/>
                  </a:cubicBezTo>
                  <a:cubicBezTo>
                    <a:pt x="125" y="3"/>
                    <a:pt x="125" y="3"/>
                    <a:pt x="125" y="3"/>
                  </a:cubicBezTo>
                  <a:cubicBezTo>
                    <a:pt x="125" y="2"/>
                    <a:pt x="125" y="2"/>
                    <a:pt x="125" y="2"/>
                  </a:cubicBezTo>
                  <a:cubicBezTo>
                    <a:pt x="124" y="3"/>
                    <a:pt x="124" y="3"/>
                    <a:pt x="124" y="3"/>
                  </a:cubicBezTo>
                  <a:cubicBezTo>
                    <a:pt x="123" y="4"/>
                    <a:pt x="123" y="4"/>
                    <a:pt x="122" y="5"/>
                  </a:cubicBezTo>
                  <a:cubicBezTo>
                    <a:pt x="120" y="6"/>
                    <a:pt x="119" y="7"/>
                    <a:pt x="118" y="8"/>
                  </a:cubicBezTo>
                  <a:cubicBezTo>
                    <a:pt x="117" y="8"/>
                    <a:pt x="117" y="8"/>
                    <a:pt x="117" y="8"/>
                  </a:cubicBezTo>
                  <a:cubicBezTo>
                    <a:pt x="117" y="8"/>
                    <a:pt x="117" y="9"/>
                    <a:pt x="116" y="9"/>
                  </a:cubicBezTo>
                  <a:cubicBezTo>
                    <a:pt x="115" y="11"/>
                    <a:pt x="113" y="12"/>
                    <a:pt x="111" y="13"/>
                  </a:cubicBezTo>
                  <a:cubicBezTo>
                    <a:pt x="108" y="14"/>
                    <a:pt x="108" y="14"/>
                    <a:pt x="108" y="14"/>
                  </a:cubicBezTo>
                  <a:cubicBezTo>
                    <a:pt x="106" y="14"/>
                    <a:pt x="104" y="15"/>
                    <a:pt x="102" y="16"/>
                  </a:cubicBezTo>
                  <a:cubicBezTo>
                    <a:pt x="102" y="16"/>
                    <a:pt x="101" y="16"/>
                    <a:pt x="101" y="16"/>
                  </a:cubicBezTo>
                  <a:cubicBezTo>
                    <a:pt x="100" y="16"/>
                    <a:pt x="100" y="16"/>
                    <a:pt x="100" y="16"/>
                  </a:cubicBezTo>
                  <a:cubicBezTo>
                    <a:pt x="100" y="16"/>
                    <a:pt x="99" y="16"/>
                    <a:pt x="99" y="17"/>
                  </a:cubicBezTo>
                  <a:cubicBezTo>
                    <a:pt x="98" y="19"/>
                    <a:pt x="98" y="19"/>
                    <a:pt x="98" y="19"/>
                  </a:cubicBezTo>
                  <a:cubicBezTo>
                    <a:pt x="98" y="19"/>
                    <a:pt x="98" y="20"/>
                    <a:pt x="98" y="20"/>
                  </a:cubicBezTo>
                  <a:cubicBezTo>
                    <a:pt x="97" y="21"/>
                    <a:pt x="97" y="21"/>
                    <a:pt x="97" y="21"/>
                  </a:cubicBezTo>
                  <a:cubicBezTo>
                    <a:pt x="97" y="21"/>
                    <a:pt x="97" y="21"/>
                    <a:pt x="97" y="21"/>
                  </a:cubicBezTo>
                  <a:cubicBezTo>
                    <a:pt x="96" y="22"/>
                    <a:pt x="96" y="22"/>
                    <a:pt x="96" y="22"/>
                  </a:cubicBezTo>
                  <a:cubicBezTo>
                    <a:pt x="96" y="22"/>
                    <a:pt x="96" y="22"/>
                    <a:pt x="96" y="22"/>
                  </a:cubicBezTo>
                  <a:cubicBezTo>
                    <a:pt x="95" y="22"/>
                    <a:pt x="95" y="22"/>
                    <a:pt x="95" y="22"/>
                  </a:cubicBezTo>
                  <a:cubicBezTo>
                    <a:pt x="95" y="22"/>
                    <a:pt x="95" y="22"/>
                    <a:pt x="95" y="22"/>
                  </a:cubicBezTo>
                  <a:cubicBezTo>
                    <a:pt x="94" y="23"/>
                    <a:pt x="94" y="23"/>
                    <a:pt x="93" y="23"/>
                  </a:cubicBezTo>
                  <a:cubicBezTo>
                    <a:pt x="92" y="24"/>
                    <a:pt x="92" y="24"/>
                    <a:pt x="92" y="24"/>
                  </a:cubicBezTo>
                  <a:cubicBezTo>
                    <a:pt x="92" y="24"/>
                    <a:pt x="91" y="24"/>
                    <a:pt x="91" y="25"/>
                  </a:cubicBezTo>
                  <a:cubicBezTo>
                    <a:pt x="90" y="25"/>
                    <a:pt x="90" y="25"/>
                    <a:pt x="90" y="25"/>
                  </a:cubicBezTo>
                  <a:cubicBezTo>
                    <a:pt x="90" y="26"/>
                    <a:pt x="90" y="26"/>
                    <a:pt x="90" y="26"/>
                  </a:cubicBezTo>
                  <a:cubicBezTo>
                    <a:pt x="91" y="27"/>
                    <a:pt x="91" y="27"/>
                    <a:pt x="91" y="27"/>
                  </a:cubicBezTo>
                  <a:cubicBezTo>
                    <a:pt x="90" y="28"/>
                    <a:pt x="90" y="28"/>
                    <a:pt x="90" y="28"/>
                  </a:cubicBezTo>
                  <a:cubicBezTo>
                    <a:pt x="90" y="28"/>
                    <a:pt x="90" y="28"/>
                    <a:pt x="90" y="29"/>
                  </a:cubicBezTo>
                  <a:cubicBezTo>
                    <a:pt x="90" y="29"/>
                    <a:pt x="90" y="29"/>
                    <a:pt x="90" y="29"/>
                  </a:cubicBezTo>
                  <a:cubicBezTo>
                    <a:pt x="89" y="30"/>
                    <a:pt x="87" y="31"/>
                    <a:pt x="85" y="32"/>
                  </a:cubicBezTo>
                  <a:cubicBezTo>
                    <a:pt x="85" y="32"/>
                    <a:pt x="85" y="32"/>
                    <a:pt x="85" y="32"/>
                  </a:cubicBezTo>
                  <a:cubicBezTo>
                    <a:pt x="84" y="33"/>
                    <a:pt x="84" y="33"/>
                    <a:pt x="83" y="33"/>
                  </a:cubicBezTo>
                  <a:cubicBezTo>
                    <a:pt x="73" y="34"/>
                    <a:pt x="73" y="34"/>
                    <a:pt x="73" y="34"/>
                  </a:cubicBezTo>
                  <a:cubicBezTo>
                    <a:pt x="73" y="34"/>
                    <a:pt x="72" y="34"/>
                    <a:pt x="71" y="34"/>
                  </a:cubicBezTo>
                  <a:cubicBezTo>
                    <a:pt x="71" y="34"/>
                    <a:pt x="70" y="34"/>
                    <a:pt x="70" y="34"/>
                  </a:cubicBezTo>
                  <a:cubicBezTo>
                    <a:pt x="69" y="34"/>
                    <a:pt x="69" y="34"/>
                    <a:pt x="69" y="34"/>
                  </a:cubicBezTo>
                  <a:cubicBezTo>
                    <a:pt x="69" y="34"/>
                    <a:pt x="69" y="34"/>
                    <a:pt x="69" y="34"/>
                  </a:cubicBezTo>
                  <a:cubicBezTo>
                    <a:pt x="69" y="35"/>
                    <a:pt x="69" y="35"/>
                    <a:pt x="69" y="35"/>
                  </a:cubicBezTo>
                  <a:cubicBezTo>
                    <a:pt x="69" y="35"/>
                    <a:pt x="69" y="35"/>
                    <a:pt x="69" y="35"/>
                  </a:cubicBezTo>
                  <a:cubicBezTo>
                    <a:pt x="70" y="35"/>
                    <a:pt x="70" y="35"/>
                    <a:pt x="70" y="35"/>
                  </a:cubicBezTo>
                  <a:cubicBezTo>
                    <a:pt x="70" y="36"/>
                    <a:pt x="71" y="36"/>
                    <a:pt x="71" y="36"/>
                  </a:cubicBezTo>
                  <a:cubicBezTo>
                    <a:pt x="72" y="36"/>
                    <a:pt x="72" y="36"/>
                    <a:pt x="73" y="37"/>
                  </a:cubicBezTo>
                  <a:cubicBezTo>
                    <a:pt x="75" y="37"/>
                    <a:pt x="76" y="37"/>
                    <a:pt x="76" y="38"/>
                  </a:cubicBezTo>
                  <a:cubicBezTo>
                    <a:pt x="77" y="39"/>
                    <a:pt x="78" y="40"/>
                    <a:pt x="78" y="41"/>
                  </a:cubicBezTo>
                  <a:cubicBezTo>
                    <a:pt x="79" y="43"/>
                    <a:pt x="78" y="44"/>
                    <a:pt x="77" y="45"/>
                  </a:cubicBezTo>
                  <a:cubicBezTo>
                    <a:pt x="77" y="45"/>
                    <a:pt x="77" y="45"/>
                    <a:pt x="77" y="45"/>
                  </a:cubicBezTo>
                  <a:cubicBezTo>
                    <a:pt x="77" y="45"/>
                    <a:pt x="77" y="45"/>
                    <a:pt x="78" y="46"/>
                  </a:cubicBezTo>
                  <a:cubicBezTo>
                    <a:pt x="78" y="46"/>
                    <a:pt x="78" y="46"/>
                    <a:pt x="78" y="46"/>
                  </a:cubicBezTo>
                  <a:cubicBezTo>
                    <a:pt x="79" y="48"/>
                    <a:pt x="79" y="50"/>
                    <a:pt x="77" y="52"/>
                  </a:cubicBezTo>
                  <a:cubicBezTo>
                    <a:pt x="76" y="53"/>
                    <a:pt x="75" y="53"/>
                    <a:pt x="74" y="53"/>
                  </a:cubicBezTo>
                  <a:cubicBezTo>
                    <a:pt x="74" y="54"/>
                    <a:pt x="74" y="54"/>
                    <a:pt x="74" y="54"/>
                  </a:cubicBezTo>
                  <a:cubicBezTo>
                    <a:pt x="73" y="54"/>
                    <a:pt x="73" y="54"/>
                    <a:pt x="73" y="54"/>
                  </a:cubicBezTo>
                  <a:cubicBezTo>
                    <a:pt x="72" y="54"/>
                    <a:pt x="72" y="54"/>
                    <a:pt x="72" y="54"/>
                  </a:cubicBezTo>
                  <a:cubicBezTo>
                    <a:pt x="72" y="54"/>
                    <a:pt x="72" y="54"/>
                    <a:pt x="72" y="54"/>
                  </a:cubicBezTo>
                  <a:cubicBezTo>
                    <a:pt x="71" y="53"/>
                    <a:pt x="71" y="53"/>
                    <a:pt x="71" y="53"/>
                  </a:cubicBezTo>
                  <a:cubicBezTo>
                    <a:pt x="71" y="53"/>
                    <a:pt x="71" y="53"/>
                    <a:pt x="71" y="53"/>
                  </a:cubicBezTo>
                  <a:cubicBezTo>
                    <a:pt x="71" y="53"/>
                    <a:pt x="71" y="53"/>
                    <a:pt x="71" y="53"/>
                  </a:cubicBezTo>
                  <a:cubicBezTo>
                    <a:pt x="70" y="53"/>
                    <a:pt x="70" y="53"/>
                    <a:pt x="70" y="53"/>
                  </a:cubicBezTo>
                  <a:cubicBezTo>
                    <a:pt x="69" y="53"/>
                    <a:pt x="68" y="54"/>
                    <a:pt x="67" y="54"/>
                  </a:cubicBezTo>
                  <a:cubicBezTo>
                    <a:pt x="66" y="54"/>
                    <a:pt x="66" y="54"/>
                    <a:pt x="66" y="54"/>
                  </a:cubicBezTo>
                  <a:cubicBezTo>
                    <a:pt x="65" y="54"/>
                    <a:pt x="65" y="54"/>
                    <a:pt x="65" y="54"/>
                  </a:cubicBezTo>
                  <a:cubicBezTo>
                    <a:pt x="65" y="54"/>
                    <a:pt x="65" y="54"/>
                    <a:pt x="64" y="54"/>
                  </a:cubicBezTo>
                  <a:cubicBezTo>
                    <a:pt x="63" y="54"/>
                    <a:pt x="63" y="54"/>
                    <a:pt x="63" y="54"/>
                  </a:cubicBezTo>
                  <a:cubicBezTo>
                    <a:pt x="61" y="54"/>
                    <a:pt x="60" y="54"/>
                    <a:pt x="59" y="54"/>
                  </a:cubicBezTo>
                  <a:cubicBezTo>
                    <a:pt x="58" y="54"/>
                    <a:pt x="58" y="54"/>
                    <a:pt x="58" y="54"/>
                  </a:cubicBezTo>
                  <a:cubicBezTo>
                    <a:pt x="56" y="54"/>
                    <a:pt x="55" y="54"/>
                    <a:pt x="54" y="54"/>
                  </a:cubicBezTo>
                  <a:cubicBezTo>
                    <a:pt x="53" y="54"/>
                    <a:pt x="53" y="54"/>
                    <a:pt x="53" y="54"/>
                  </a:cubicBezTo>
                  <a:cubicBezTo>
                    <a:pt x="52" y="54"/>
                    <a:pt x="52" y="54"/>
                    <a:pt x="51" y="54"/>
                  </a:cubicBezTo>
                  <a:cubicBezTo>
                    <a:pt x="51" y="54"/>
                    <a:pt x="51" y="54"/>
                    <a:pt x="51" y="54"/>
                  </a:cubicBezTo>
                  <a:cubicBezTo>
                    <a:pt x="50" y="54"/>
                    <a:pt x="50" y="54"/>
                    <a:pt x="50" y="54"/>
                  </a:cubicBezTo>
                  <a:cubicBezTo>
                    <a:pt x="48" y="54"/>
                    <a:pt x="47" y="54"/>
                    <a:pt x="46" y="54"/>
                  </a:cubicBezTo>
                  <a:cubicBezTo>
                    <a:pt x="46" y="53"/>
                    <a:pt x="45" y="53"/>
                    <a:pt x="45" y="53"/>
                  </a:cubicBezTo>
                  <a:cubicBezTo>
                    <a:pt x="44" y="53"/>
                    <a:pt x="44" y="53"/>
                    <a:pt x="43" y="52"/>
                  </a:cubicBezTo>
                  <a:cubicBezTo>
                    <a:pt x="43" y="52"/>
                    <a:pt x="43" y="52"/>
                    <a:pt x="43" y="52"/>
                  </a:cubicBezTo>
                  <a:cubicBezTo>
                    <a:pt x="43" y="52"/>
                    <a:pt x="42" y="53"/>
                    <a:pt x="42" y="53"/>
                  </a:cubicBezTo>
                  <a:cubicBezTo>
                    <a:pt x="41" y="53"/>
                    <a:pt x="41" y="53"/>
                    <a:pt x="41" y="53"/>
                  </a:cubicBezTo>
                  <a:cubicBezTo>
                    <a:pt x="38" y="55"/>
                    <a:pt x="36" y="56"/>
                    <a:pt x="34" y="56"/>
                  </a:cubicBezTo>
                  <a:cubicBezTo>
                    <a:pt x="33" y="56"/>
                    <a:pt x="33" y="56"/>
                    <a:pt x="33" y="56"/>
                  </a:cubicBezTo>
                  <a:cubicBezTo>
                    <a:pt x="32" y="56"/>
                    <a:pt x="31" y="56"/>
                    <a:pt x="30" y="55"/>
                  </a:cubicBezTo>
                  <a:cubicBezTo>
                    <a:pt x="29" y="55"/>
                    <a:pt x="29" y="55"/>
                    <a:pt x="29" y="55"/>
                  </a:cubicBezTo>
                  <a:cubicBezTo>
                    <a:pt x="29" y="55"/>
                    <a:pt x="29" y="55"/>
                    <a:pt x="29" y="55"/>
                  </a:cubicBezTo>
                  <a:cubicBezTo>
                    <a:pt x="28" y="54"/>
                    <a:pt x="28" y="54"/>
                    <a:pt x="28" y="54"/>
                  </a:cubicBezTo>
                  <a:cubicBezTo>
                    <a:pt x="27" y="54"/>
                    <a:pt x="27" y="54"/>
                    <a:pt x="26" y="53"/>
                  </a:cubicBezTo>
                  <a:cubicBezTo>
                    <a:pt x="25" y="53"/>
                    <a:pt x="25" y="53"/>
                    <a:pt x="25" y="53"/>
                  </a:cubicBezTo>
                  <a:cubicBezTo>
                    <a:pt x="24" y="53"/>
                    <a:pt x="24" y="53"/>
                    <a:pt x="24" y="53"/>
                  </a:cubicBezTo>
                  <a:cubicBezTo>
                    <a:pt x="23" y="53"/>
                    <a:pt x="23" y="53"/>
                    <a:pt x="23" y="53"/>
                  </a:cubicBezTo>
                  <a:cubicBezTo>
                    <a:pt x="22" y="53"/>
                    <a:pt x="22" y="53"/>
                    <a:pt x="22" y="53"/>
                  </a:cubicBezTo>
                  <a:cubicBezTo>
                    <a:pt x="21" y="53"/>
                    <a:pt x="20" y="53"/>
                    <a:pt x="20" y="53"/>
                  </a:cubicBezTo>
                  <a:cubicBezTo>
                    <a:pt x="19" y="53"/>
                    <a:pt x="18" y="52"/>
                    <a:pt x="17" y="52"/>
                  </a:cubicBezTo>
                  <a:cubicBezTo>
                    <a:pt x="16" y="51"/>
                    <a:pt x="15" y="51"/>
                    <a:pt x="15" y="50"/>
                  </a:cubicBezTo>
                  <a:cubicBezTo>
                    <a:pt x="14" y="49"/>
                    <a:pt x="14" y="49"/>
                    <a:pt x="14" y="49"/>
                  </a:cubicBezTo>
                  <a:cubicBezTo>
                    <a:pt x="14" y="49"/>
                    <a:pt x="13" y="48"/>
                    <a:pt x="12" y="47"/>
                  </a:cubicBezTo>
                  <a:cubicBezTo>
                    <a:pt x="12" y="47"/>
                    <a:pt x="12" y="47"/>
                    <a:pt x="12" y="47"/>
                  </a:cubicBezTo>
                  <a:cubicBezTo>
                    <a:pt x="8" y="45"/>
                    <a:pt x="8" y="45"/>
                    <a:pt x="8" y="45"/>
                  </a:cubicBezTo>
                  <a:cubicBezTo>
                    <a:pt x="11" y="43"/>
                    <a:pt x="11" y="43"/>
                    <a:pt x="11" y="43"/>
                  </a:cubicBezTo>
                  <a:cubicBezTo>
                    <a:pt x="11" y="42"/>
                    <a:pt x="12" y="42"/>
                    <a:pt x="13" y="41"/>
                  </a:cubicBezTo>
                  <a:cubicBezTo>
                    <a:pt x="12" y="41"/>
                    <a:pt x="12" y="41"/>
                    <a:pt x="12" y="41"/>
                  </a:cubicBezTo>
                  <a:cubicBezTo>
                    <a:pt x="12" y="41"/>
                    <a:pt x="12" y="41"/>
                    <a:pt x="12" y="41"/>
                  </a:cubicBezTo>
                  <a:cubicBezTo>
                    <a:pt x="12" y="41"/>
                    <a:pt x="12" y="41"/>
                    <a:pt x="12" y="41"/>
                  </a:cubicBezTo>
                  <a:cubicBezTo>
                    <a:pt x="12" y="40"/>
                    <a:pt x="12" y="40"/>
                    <a:pt x="12" y="40"/>
                  </a:cubicBezTo>
                  <a:cubicBezTo>
                    <a:pt x="12" y="39"/>
                    <a:pt x="11" y="39"/>
                    <a:pt x="11" y="38"/>
                  </a:cubicBezTo>
                  <a:cubicBezTo>
                    <a:pt x="11" y="38"/>
                    <a:pt x="11" y="38"/>
                    <a:pt x="11" y="38"/>
                  </a:cubicBezTo>
                  <a:cubicBezTo>
                    <a:pt x="11" y="36"/>
                    <a:pt x="11" y="35"/>
                    <a:pt x="12" y="34"/>
                  </a:cubicBezTo>
                  <a:cubicBezTo>
                    <a:pt x="12" y="33"/>
                    <a:pt x="12" y="33"/>
                    <a:pt x="12" y="33"/>
                  </a:cubicBezTo>
                  <a:cubicBezTo>
                    <a:pt x="12" y="32"/>
                    <a:pt x="12" y="32"/>
                    <a:pt x="12" y="31"/>
                  </a:cubicBezTo>
                  <a:cubicBezTo>
                    <a:pt x="13" y="31"/>
                    <a:pt x="13" y="31"/>
                    <a:pt x="13" y="30"/>
                  </a:cubicBezTo>
                  <a:cubicBezTo>
                    <a:pt x="8" y="30"/>
                    <a:pt x="8" y="30"/>
                    <a:pt x="8" y="30"/>
                  </a:cubicBezTo>
                  <a:cubicBezTo>
                    <a:pt x="12" y="29"/>
                    <a:pt x="12" y="29"/>
                    <a:pt x="12" y="29"/>
                  </a:cubicBezTo>
                  <a:cubicBezTo>
                    <a:pt x="12" y="28"/>
                    <a:pt x="12" y="28"/>
                    <a:pt x="12" y="28"/>
                  </a:cubicBezTo>
                  <a:cubicBezTo>
                    <a:pt x="12" y="28"/>
                    <a:pt x="12" y="28"/>
                    <a:pt x="12" y="28"/>
                  </a:cubicBezTo>
                  <a:cubicBezTo>
                    <a:pt x="12" y="28"/>
                    <a:pt x="11" y="28"/>
                    <a:pt x="11" y="28"/>
                  </a:cubicBezTo>
                  <a:cubicBezTo>
                    <a:pt x="10" y="27"/>
                    <a:pt x="10" y="27"/>
                    <a:pt x="10" y="27"/>
                  </a:cubicBezTo>
                  <a:cubicBezTo>
                    <a:pt x="9" y="28"/>
                    <a:pt x="9" y="28"/>
                    <a:pt x="9" y="28"/>
                  </a:cubicBezTo>
                  <a:cubicBezTo>
                    <a:pt x="8" y="28"/>
                    <a:pt x="6" y="29"/>
                    <a:pt x="5" y="30"/>
                  </a:cubicBezTo>
                  <a:cubicBezTo>
                    <a:pt x="4" y="31"/>
                    <a:pt x="3" y="31"/>
                    <a:pt x="3" y="31"/>
                  </a:cubicBezTo>
                  <a:cubicBezTo>
                    <a:pt x="2" y="35"/>
                    <a:pt x="2" y="35"/>
                    <a:pt x="2" y="35"/>
                  </a:cubicBezTo>
                  <a:cubicBezTo>
                    <a:pt x="2" y="37"/>
                    <a:pt x="1" y="39"/>
                    <a:pt x="1" y="41"/>
                  </a:cubicBezTo>
                  <a:cubicBezTo>
                    <a:pt x="1" y="43"/>
                    <a:pt x="0" y="44"/>
                    <a:pt x="1" y="45"/>
                  </a:cubicBezTo>
                  <a:cubicBezTo>
                    <a:pt x="1" y="46"/>
                    <a:pt x="1" y="46"/>
                    <a:pt x="1" y="46"/>
                  </a:cubicBezTo>
                  <a:cubicBezTo>
                    <a:pt x="1" y="47"/>
                    <a:pt x="1" y="47"/>
                    <a:pt x="1" y="47"/>
                  </a:cubicBezTo>
                  <a:cubicBezTo>
                    <a:pt x="2" y="47"/>
                    <a:pt x="2" y="48"/>
                    <a:pt x="2" y="48"/>
                  </a:cubicBezTo>
                  <a:cubicBezTo>
                    <a:pt x="3" y="49"/>
                    <a:pt x="3" y="49"/>
                    <a:pt x="3" y="49"/>
                  </a:cubicBezTo>
                  <a:cubicBezTo>
                    <a:pt x="3" y="50"/>
                    <a:pt x="3" y="50"/>
                    <a:pt x="3" y="50"/>
                  </a:cubicBezTo>
                  <a:cubicBezTo>
                    <a:pt x="4" y="51"/>
                    <a:pt x="4" y="52"/>
                    <a:pt x="4" y="52"/>
                  </a:cubicBezTo>
                  <a:cubicBezTo>
                    <a:pt x="4" y="53"/>
                    <a:pt x="4" y="53"/>
                    <a:pt x="4" y="54"/>
                  </a:cubicBezTo>
                  <a:cubicBezTo>
                    <a:pt x="4" y="54"/>
                    <a:pt x="4" y="55"/>
                    <a:pt x="4" y="55"/>
                  </a:cubicBezTo>
                  <a:cubicBezTo>
                    <a:pt x="4" y="55"/>
                    <a:pt x="4" y="55"/>
                    <a:pt x="4" y="55"/>
                  </a:cubicBezTo>
                  <a:cubicBezTo>
                    <a:pt x="4" y="55"/>
                    <a:pt x="5" y="54"/>
                    <a:pt x="6" y="54"/>
                  </a:cubicBezTo>
                  <a:cubicBezTo>
                    <a:pt x="6" y="54"/>
                    <a:pt x="6" y="54"/>
                    <a:pt x="6" y="54"/>
                  </a:cubicBezTo>
                  <a:cubicBezTo>
                    <a:pt x="8" y="54"/>
                    <a:pt x="9" y="56"/>
                    <a:pt x="11" y="58"/>
                  </a:cubicBezTo>
                  <a:cubicBezTo>
                    <a:pt x="12" y="58"/>
                    <a:pt x="12" y="59"/>
                    <a:pt x="12" y="59"/>
                  </a:cubicBezTo>
                  <a:cubicBezTo>
                    <a:pt x="13" y="60"/>
                    <a:pt x="13" y="60"/>
                    <a:pt x="13" y="60"/>
                  </a:cubicBezTo>
                  <a:cubicBezTo>
                    <a:pt x="13" y="60"/>
                    <a:pt x="13" y="60"/>
                    <a:pt x="13" y="60"/>
                  </a:cubicBezTo>
                  <a:cubicBezTo>
                    <a:pt x="14" y="57"/>
                    <a:pt x="14" y="57"/>
                    <a:pt x="14" y="57"/>
                  </a:cubicBezTo>
                  <a:cubicBezTo>
                    <a:pt x="14" y="53"/>
                    <a:pt x="14" y="53"/>
                    <a:pt x="14" y="53"/>
                  </a:cubicBezTo>
                  <a:cubicBezTo>
                    <a:pt x="19" y="58"/>
                    <a:pt x="19" y="58"/>
                    <a:pt x="19" y="58"/>
                  </a:cubicBezTo>
                  <a:cubicBezTo>
                    <a:pt x="20" y="58"/>
                    <a:pt x="21" y="59"/>
                    <a:pt x="21" y="60"/>
                  </a:cubicBezTo>
                  <a:cubicBezTo>
                    <a:pt x="21" y="60"/>
                    <a:pt x="22" y="61"/>
                    <a:pt x="22" y="61"/>
                  </a:cubicBezTo>
                  <a:cubicBezTo>
                    <a:pt x="22" y="62"/>
                    <a:pt x="22" y="62"/>
                    <a:pt x="22" y="62"/>
                  </a:cubicBezTo>
                  <a:cubicBezTo>
                    <a:pt x="23" y="65"/>
                    <a:pt x="24" y="65"/>
                    <a:pt x="24" y="65"/>
                  </a:cubicBezTo>
                  <a:cubicBezTo>
                    <a:pt x="25" y="66"/>
                    <a:pt x="25" y="66"/>
                    <a:pt x="25" y="66"/>
                  </a:cubicBezTo>
                  <a:cubicBezTo>
                    <a:pt x="25" y="66"/>
                    <a:pt x="25" y="66"/>
                    <a:pt x="25" y="66"/>
                  </a:cubicBezTo>
                  <a:cubicBezTo>
                    <a:pt x="26" y="66"/>
                    <a:pt x="27" y="66"/>
                    <a:pt x="27" y="65"/>
                  </a:cubicBezTo>
                  <a:cubicBezTo>
                    <a:pt x="27" y="65"/>
                    <a:pt x="27" y="65"/>
                    <a:pt x="27" y="65"/>
                  </a:cubicBezTo>
                  <a:cubicBezTo>
                    <a:pt x="28" y="64"/>
                    <a:pt x="28" y="64"/>
                    <a:pt x="28" y="63"/>
                  </a:cubicBezTo>
                  <a:cubicBezTo>
                    <a:pt x="30" y="59"/>
                    <a:pt x="30" y="59"/>
                    <a:pt x="30" y="59"/>
                  </a:cubicBezTo>
                  <a:cubicBezTo>
                    <a:pt x="32" y="63"/>
                    <a:pt x="32" y="63"/>
                    <a:pt x="32" y="63"/>
                  </a:cubicBezTo>
                  <a:cubicBezTo>
                    <a:pt x="33" y="64"/>
                    <a:pt x="33" y="65"/>
                    <a:pt x="34" y="66"/>
                  </a:cubicBezTo>
                  <a:cubicBezTo>
                    <a:pt x="35" y="68"/>
                    <a:pt x="35" y="70"/>
                    <a:pt x="35" y="73"/>
                  </a:cubicBezTo>
                  <a:cubicBezTo>
                    <a:pt x="35" y="74"/>
                    <a:pt x="35" y="75"/>
                    <a:pt x="35" y="76"/>
                  </a:cubicBezTo>
                  <a:cubicBezTo>
                    <a:pt x="35" y="76"/>
                    <a:pt x="35" y="76"/>
                    <a:pt x="35" y="76"/>
                  </a:cubicBezTo>
                  <a:cubicBezTo>
                    <a:pt x="35" y="77"/>
                    <a:pt x="35" y="78"/>
                    <a:pt x="35" y="80"/>
                  </a:cubicBezTo>
                  <a:cubicBezTo>
                    <a:pt x="35" y="80"/>
                    <a:pt x="35" y="80"/>
                    <a:pt x="35" y="80"/>
                  </a:cubicBezTo>
                  <a:cubicBezTo>
                    <a:pt x="35" y="80"/>
                    <a:pt x="35" y="80"/>
                    <a:pt x="35" y="80"/>
                  </a:cubicBezTo>
                  <a:cubicBezTo>
                    <a:pt x="36" y="80"/>
                    <a:pt x="36" y="80"/>
                    <a:pt x="36" y="80"/>
                  </a:cubicBezTo>
                  <a:cubicBezTo>
                    <a:pt x="36" y="80"/>
                    <a:pt x="37" y="80"/>
                    <a:pt x="37" y="81"/>
                  </a:cubicBezTo>
                  <a:cubicBezTo>
                    <a:pt x="38" y="81"/>
                    <a:pt x="38" y="81"/>
                    <a:pt x="38" y="81"/>
                  </a:cubicBezTo>
                  <a:cubicBezTo>
                    <a:pt x="39" y="81"/>
                    <a:pt x="40" y="82"/>
                    <a:pt x="41" y="82"/>
                  </a:cubicBezTo>
                  <a:cubicBezTo>
                    <a:pt x="42" y="82"/>
                    <a:pt x="42" y="82"/>
                    <a:pt x="43" y="83"/>
                  </a:cubicBezTo>
                  <a:cubicBezTo>
                    <a:pt x="44" y="83"/>
                    <a:pt x="44" y="83"/>
                    <a:pt x="44" y="83"/>
                  </a:cubicBezTo>
                  <a:cubicBezTo>
                    <a:pt x="44" y="83"/>
                    <a:pt x="44" y="83"/>
                    <a:pt x="45" y="83"/>
                  </a:cubicBezTo>
                  <a:cubicBezTo>
                    <a:pt x="45" y="83"/>
                    <a:pt x="45" y="83"/>
                    <a:pt x="45" y="83"/>
                  </a:cubicBezTo>
                  <a:cubicBezTo>
                    <a:pt x="45" y="83"/>
                    <a:pt x="46" y="83"/>
                    <a:pt x="46" y="83"/>
                  </a:cubicBezTo>
                  <a:cubicBezTo>
                    <a:pt x="47" y="83"/>
                    <a:pt x="47" y="83"/>
                    <a:pt x="47" y="83"/>
                  </a:cubicBezTo>
                  <a:cubicBezTo>
                    <a:pt x="48" y="83"/>
                    <a:pt x="48" y="83"/>
                    <a:pt x="49" y="83"/>
                  </a:cubicBezTo>
                  <a:cubicBezTo>
                    <a:pt x="49" y="83"/>
                    <a:pt x="49" y="83"/>
                    <a:pt x="50" y="83"/>
                  </a:cubicBezTo>
                  <a:cubicBezTo>
                    <a:pt x="50" y="83"/>
                    <a:pt x="50" y="83"/>
                    <a:pt x="50" y="83"/>
                  </a:cubicBezTo>
                  <a:cubicBezTo>
                    <a:pt x="51" y="83"/>
                    <a:pt x="51" y="83"/>
                    <a:pt x="51" y="83"/>
                  </a:cubicBezTo>
                  <a:cubicBezTo>
                    <a:pt x="52" y="83"/>
                    <a:pt x="52" y="82"/>
                    <a:pt x="53" y="82"/>
                  </a:cubicBezTo>
                  <a:cubicBezTo>
                    <a:pt x="53" y="82"/>
                    <a:pt x="53" y="82"/>
                    <a:pt x="53" y="82"/>
                  </a:cubicBezTo>
                  <a:cubicBezTo>
                    <a:pt x="54" y="82"/>
                    <a:pt x="56" y="82"/>
                    <a:pt x="57" y="82"/>
                  </a:cubicBezTo>
                  <a:cubicBezTo>
                    <a:pt x="57" y="82"/>
                    <a:pt x="58" y="82"/>
                    <a:pt x="58" y="82"/>
                  </a:cubicBezTo>
                  <a:cubicBezTo>
                    <a:pt x="59" y="82"/>
                    <a:pt x="59" y="82"/>
                    <a:pt x="59" y="82"/>
                  </a:cubicBezTo>
                  <a:cubicBezTo>
                    <a:pt x="62" y="83"/>
                    <a:pt x="65" y="83"/>
                    <a:pt x="69" y="83"/>
                  </a:cubicBezTo>
                  <a:cubicBezTo>
                    <a:pt x="69" y="83"/>
                    <a:pt x="69" y="83"/>
                    <a:pt x="69" y="83"/>
                  </a:cubicBezTo>
                  <a:cubicBezTo>
                    <a:pt x="70" y="83"/>
                    <a:pt x="70" y="83"/>
                    <a:pt x="71" y="83"/>
                  </a:cubicBezTo>
                  <a:cubicBezTo>
                    <a:pt x="72" y="83"/>
                    <a:pt x="72" y="83"/>
                    <a:pt x="72" y="83"/>
                  </a:cubicBezTo>
                  <a:cubicBezTo>
                    <a:pt x="73" y="83"/>
                    <a:pt x="74" y="83"/>
                    <a:pt x="74" y="83"/>
                  </a:cubicBezTo>
                  <a:cubicBezTo>
                    <a:pt x="76" y="83"/>
                    <a:pt x="77" y="83"/>
                    <a:pt x="78" y="83"/>
                  </a:cubicBezTo>
                  <a:cubicBezTo>
                    <a:pt x="79" y="84"/>
                    <a:pt x="80" y="84"/>
                    <a:pt x="81" y="84"/>
                  </a:cubicBezTo>
                  <a:cubicBezTo>
                    <a:pt x="81" y="85"/>
                    <a:pt x="81" y="85"/>
                    <a:pt x="81" y="85"/>
                  </a:cubicBezTo>
                  <a:cubicBezTo>
                    <a:pt x="82" y="85"/>
                    <a:pt x="82" y="85"/>
                    <a:pt x="82" y="85"/>
                  </a:cubicBezTo>
                  <a:cubicBezTo>
                    <a:pt x="84" y="86"/>
                    <a:pt x="84" y="87"/>
                    <a:pt x="85" y="88"/>
                  </a:cubicBezTo>
                  <a:cubicBezTo>
                    <a:pt x="85" y="89"/>
                    <a:pt x="85" y="89"/>
                    <a:pt x="85" y="89"/>
                  </a:cubicBezTo>
                  <a:cubicBezTo>
                    <a:pt x="89" y="92"/>
                    <a:pt x="89" y="92"/>
                    <a:pt x="89" y="92"/>
                  </a:cubicBezTo>
                  <a:cubicBezTo>
                    <a:pt x="83" y="93"/>
                    <a:pt x="83" y="93"/>
                    <a:pt x="83" y="93"/>
                  </a:cubicBezTo>
                  <a:cubicBezTo>
                    <a:pt x="81" y="95"/>
                    <a:pt x="81" y="95"/>
                    <a:pt x="81" y="95"/>
                  </a:cubicBezTo>
                  <a:cubicBezTo>
                    <a:pt x="81" y="96"/>
                    <a:pt x="81" y="98"/>
                    <a:pt x="80" y="99"/>
                  </a:cubicBezTo>
                  <a:cubicBezTo>
                    <a:pt x="79" y="99"/>
                    <a:pt x="79" y="99"/>
                    <a:pt x="79" y="99"/>
                  </a:cubicBezTo>
                  <a:cubicBezTo>
                    <a:pt x="79" y="100"/>
                    <a:pt x="79" y="100"/>
                    <a:pt x="79" y="100"/>
                  </a:cubicBezTo>
                  <a:cubicBezTo>
                    <a:pt x="78" y="101"/>
                    <a:pt x="77" y="101"/>
                    <a:pt x="77" y="102"/>
                  </a:cubicBezTo>
                  <a:cubicBezTo>
                    <a:pt x="76" y="102"/>
                    <a:pt x="76" y="102"/>
                    <a:pt x="76" y="102"/>
                  </a:cubicBezTo>
                  <a:cubicBezTo>
                    <a:pt x="76" y="103"/>
                    <a:pt x="76" y="103"/>
                    <a:pt x="76" y="103"/>
                  </a:cubicBezTo>
                  <a:cubicBezTo>
                    <a:pt x="76" y="103"/>
                    <a:pt x="76" y="103"/>
                    <a:pt x="76" y="103"/>
                  </a:cubicBezTo>
                  <a:cubicBezTo>
                    <a:pt x="76" y="103"/>
                    <a:pt x="76" y="103"/>
                    <a:pt x="76" y="103"/>
                  </a:cubicBezTo>
                  <a:cubicBezTo>
                    <a:pt x="75" y="103"/>
                    <a:pt x="75" y="103"/>
                    <a:pt x="75" y="103"/>
                  </a:cubicBezTo>
                  <a:cubicBezTo>
                    <a:pt x="75" y="103"/>
                    <a:pt x="75" y="103"/>
                    <a:pt x="75" y="103"/>
                  </a:cubicBezTo>
                  <a:cubicBezTo>
                    <a:pt x="75" y="104"/>
                    <a:pt x="75" y="104"/>
                    <a:pt x="75" y="105"/>
                  </a:cubicBezTo>
                  <a:cubicBezTo>
                    <a:pt x="75" y="105"/>
                    <a:pt x="75" y="106"/>
                    <a:pt x="74" y="106"/>
                  </a:cubicBezTo>
                  <a:cubicBezTo>
                    <a:pt x="74" y="109"/>
                    <a:pt x="74" y="109"/>
                    <a:pt x="74" y="109"/>
                  </a:cubicBezTo>
                  <a:cubicBezTo>
                    <a:pt x="71" y="108"/>
                    <a:pt x="71" y="108"/>
                    <a:pt x="71" y="108"/>
                  </a:cubicBezTo>
                  <a:cubicBezTo>
                    <a:pt x="70" y="107"/>
                    <a:pt x="69" y="107"/>
                    <a:pt x="69" y="107"/>
                  </a:cubicBezTo>
                  <a:cubicBezTo>
                    <a:pt x="69" y="107"/>
                    <a:pt x="69" y="107"/>
                    <a:pt x="69" y="107"/>
                  </a:cubicBezTo>
                  <a:cubicBezTo>
                    <a:pt x="69" y="108"/>
                    <a:pt x="69" y="108"/>
                    <a:pt x="69" y="108"/>
                  </a:cubicBezTo>
                  <a:cubicBezTo>
                    <a:pt x="68" y="107"/>
                    <a:pt x="68" y="107"/>
                    <a:pt x="68" y="107"/>
                  </a:cubicBezTo>
                  <a:cubicBezTo>
                    <a:pt x="62" y="114"/>
                    <a:pt x="62" y="114"/>
                    <a:pt x="62" y="114"/>
                  </a:cubicBezTo>
                  <a:cubicBezTo>
                    <a:pt x="62" y="114"/>
                    <a:pt x="62" y="115"/>
                    <a:pt x="61" y="115"/>
                  </a:cubicBezTo>
                  <a:cubicBezTo>
                    <a:pt x="61" y="115"/>
                    <a:pt x="61" y="115"/>
                    <a:pt x="61" y="115"/>
                  </a:cubicBezTo>
                  <a:cubicBezTo>
                    <a:pt x="61" y="116"/>
                    <a:pt x="61" y="116"/>
                    <a:pt x="61" y="116"/>
                  </a:cubicBezTo>
                  <a:cubicBezTo>
                    <a:pt x="61" y="117"/>
                    <a:pt x="61" y="117"/>
                    <a:pt x="61" y="117"/>
                  </a:cubicBezTo>
                  <a:cubicBezTo>
                    <a:pt x="62" y="118"/>
                    <a:pt x="62" y="118"/>
                    <a:pt x="62" y="118"/>
                  </a:cubicBezTo>
                  <a:cubicBezTo>
                    <a:pt x="62" y="119"/>
                    <a:pt x="62" y="119"/>
                    <a:pt x="62" y="119"/>
                  </a:cubicBezTo>
                  <a:cubicBezTo>
                    <a:pt x="63" y="119"/>
                    <a:pt x="63" y="120"/>
                    <a:pt x="63" y="120"/>
                  </a:cubicBezTo>
                  <a:cubicBezTo>
                    <a:pt x="65" y="122"/>
                    <a:pt x="65" y="122"/>
                    <a:pt x="65" y="122"/>
                  </a:cubicBezTo>
                  <a:cubicBezTo>
                    <a:pt x="66" y="123"/>
                    <a:pt x="67" y="124"/>
                    <a:pt x="67" y="126"/>
                  </a:cubicBezTo>
                  <a:cubicBezTo>
                    <a:pt x="67" y="126"/>
                    <a:pt x="67" y="127"/>
                    <a:pt x="68" y="127"/>
                  </a:cubicBezTo>
                  <a:cubicBezTo>
                    <a:pt x="68" y="126"/>
                    <a:pt x="68" y="126"/>
                    <a:pt x="68" y="126"/>
                  </a:cubicBezTo>
                  <a:cubicBezTo>
                    <a:pt x="68" y="125"/>
                    <a:pt x="69" y="124"/>
                    <a:pt x="69" y="123"/>
                  </a:cubicBezTo>
                  <a:cubicBezTo>
                    <a:pt x="69" y="122"/>
                    <a:pt x="70" y="122"/>
                    <a:pt x="70" y="121"/>
                  </a:cubicBezTo>
                  <a:cubicBezTo>
                    <a:pt x="70" y="121"/>
                    <a:pt x="70" y="121"/>
                    <a:pt x="70" y="121"/>
                  </a:cubicBezTo>
                  <a:cubicBezTo>
                    <a:pt x="71" y="120"/>
                    <a:pt x="71" y="118"/>
                    <a:pt x="71" y="117"/>
                  </a:cubicBezTo>
                  <a:cubicBezTo>
                    <a:pt x="71" y="116"/>
                    <a:pt x="71" y="115"/>
                    <a:pt x="71" y="114"/>
                  </a:cubicBezTo>
                  <a:cubicBezTo>
                    <a:pt x="73" y="109"/>
                    <a:pt x="73" y="109"/>
                    <a:pt x="73" y="109"/>
                  </a:cubicBezTo>
                  <a:cubicBezTo>
                    <a:pt x="76" y="113"/>
                    <a:pt x="76" y="113"/>
                    <a:pt x="76" y="113"/>
                  </a:cubicBezTo>
                  <a:cubicBezTo>
                    <a:pt x="76" y="112"/>
                    <a:pt x="78" y="112"/>
                    <a:pt x="79" y="112"/>
                  </a:cubicBezTo>
                  <a:cubicBezTo>
                    <a:pt x="79" y="112"/>
                    <a:pt x="79" y="112"/>
                    <a:pt x="79" y="112"/>
                  </a:cubicBezTo>
                  <a:cubicBezTo>
                    <a:pt x="80" y="112"/>
                    <a:pt x="80" y="112"/>
                    <a:pt x="80" y="112"/>
                  </a:cubicBezTo>
                  <a:cubicBezTo>
                    <a:pt x="80" y="112"/>
                    <a:pt x="80" y="112"/>
                    <a:pt x="80" y="112"/>
                  </a:cubicBezTo>
                  <a:cubicBezTo>
                    <a:pt x="81" y="113"/>
                    <a:pt x="82" y="114"/>
                    <a:pt x="82" y="115"/>
                  </a:cubicBezTo>
                  <a:cubicBezTo>
                    <a:pt x="83" y="117"/>
                    <a:pt x="83" y="119"/>
                    <a:pt x="83" y="120"/>
                  </a:cubicBezTo>
                  <a:cubicBezTo>
                    <a:pt x="84" y="122"/>
                    <a:pt x="84" y="124"/>
                    <a:pt x="84" y="126"/>
                  </a:cubicBezTo>
                  <a:cubicBezTo>
                    <a:pt x="89" y="126"/>
                    <a:pt x="89" y="126"/>
                    <a:pt x="89" y="126"/>
                  </a:cubicBezTo>
                  <a:cubicBezTo>
                    <a:pt x="84" y="128"/>
                    <a:pt x="84" y="128"/>
                    <a:pt x="84" y="128"/>
                  </a:cubicBezTo>
                  <a:cubicBezTo>
                    <a:pt x="84" y="128"/>
                    <a:pt x="84" y="128"/>
                    <a:pt x="84" y="128"/>
                  </a:cubicBezTo>
                  <a:cubicBezTo>
                    <a:pt x="84" y="129"/>
                    <a:pt x="85" y="130"/>
                    <a:pt x="85" y="132"/>
                  </a:cubicBezTo>
                  <a:cubicBezTo>
                    <a:pt x="86" y="132"/>
                    <a:pt x="86" y="132"/>
                    <a:pt x="86" y="132"/>
                  </a:cubicBezTo>
                  <a:cubicBezTo>
                    <a:pt x="86" y="135"/>
                    <a:pt x="87" y="137"/>
                    <a:pt x="87" y="139"/>
                  </a:cubicBezTo>
                  <a:cubicBezTo>
                    <a:pt x="88" y="147"/>
                    <a:pt x="88" y="147"/>
                    <a:pt x="88" y="147"/>
                  </a:cubicBezTo>
                  <a:cubicBezTo>
                    <a:pt x="91" y="145"/>
                    <a:pt x="91" y="145"/>
                    <a:pt x="91" y="145"/>
                  </a:cubicBezTo>
                  <a:cubicBezTo>
                    <a:pt x="93" y="145"/>
                    <a:pt x="93" y="145"/>
                    <a:pt x="93" y="145"/>
                  </a:cubicBezTo>
                  <a:cubicBezTo>
                    <a:pt x="94" y="144"/>
                    <a:pt x="94" y="144"/>
                    <a:pt x="94" y="144"/>
                  </a:cubicBezTo>
                  <a:cubicBezTo>
                    <a:pt x="93" y="137"/>
                    <a:pt x="93" y="137"/>
                    <a:pt x="93" y="137"/>
                  </a:cubicBezTo>
                  <a:cubicBezTo>
                    <a:pt x="93" y="133"/>
                    <a:pt x="93" y="133"/>
                    <a:pt x="93" y="133"/>
                  </a:cubicBezTo>
                  <a:cubicBezTo>
                    <a:pt x="94" y="127"/>
                    <a:pt x="94" y="127"/>
                    <a:pt x="94" y="127"/>
                  </a:cubicBezTo>
                  <a:cubicBezTo>
                    <a:pt x="98" y="125"/>
                    <a:pt x="98" y="125"/>
                    <a:pt x="98" y="125"/>
                  </a:cubicBezTo>
                  <a:cubicBezTo>
                    <a:pt x="98" y="125"/>
                    <a:pt x="98" y="125"/>
                    <a:pt x="98" y="125"/>
                  </a:cubicBezTo>
                  <a:cubicBezTo>
                    <a:pt x="99" y="119"/>
                    <a:pt x="99" y="115"/>
                    <a:pt x="99" y="113"/>
                  </a:cubicBezTo>
                  <a:cubicBezTo>
                    <a:pt x="98" y="110"/>
                    <a:pt x="97" y="108"/>
                    <a:pt x="97" y="108"/>
                  </a:cubicBezTo>
                  <a:cubicBezTo>
                    <a:pt x="97" y="105"/>
                    <a:pt x="97" y="105"/>
                    <a:pt x="97" y="105"/>
                  </a:cubicBezTo>
                  <a:cubicBezTo>
                    <a:pt x="100" y="106"/>
                    <a:pt x="100" y="106"/>
                    <a:pt x="100" y="106"/>
                  </a:cubicBezTo>
                  <a:cubicBezTo>
                    <a:pt x="100" y="106"/>
                    <a:pt x="107" y="106"/>
                    <a:pt x="112" y="108"/>
                  </a:cubicBezTo>
                  <a:cubicBezTo>
                    <a:pt x="114" y="107"/>
                    <a:pt x="115" y="106"/>
                    <a:pt x="115" y="105"/>
                  </a:cubicBezTo>
                  <a:cubicBezTo>
                    <a:pt x="116" y="103"/>
                    <a:pt x="118" y="99"/>
                    <a:pt x="120" y="96"/>
                  </a:cubicBezTo>
                  <a:cubicBezTo>
                    <a:pt x="122" y="93"/>
                    <a:pt x="125" y="88"/>
                    <a:pt x="123" y="84"/>
                  </a:cubicBezTo>
                  <a:cubicBezTo>
                    <a:pt x="121" y="80"/>
                    <a:pt x="122" y="78"/>
                    <a:pt x="128" y="74"/>
                  </a:cubicBezTo>
                  <a:cubicBezTo>
                    <a:pt x="130" y="73"/>
                    <a:pt x="130" y="72"/>
                    <a:pt x="130" y="72"/>
                  </a:cubicBezTo>
                  <a:cubicBezTo>
                    <a:pt x="130" y="70"/>
                    <a:pt x="131" y="69"/>
                    <a:pt x="132" y="68"/>
                  </a:cubicBezTo>
                  <a:cubicBezTo>
                    <a:pt x="132" y="67"/>
                    <a:pt x="132" y="67"/>
                    <a:pt x="132" y="67"/>
                  </a:cubicBezTo>
                  <a:cubicBezTo>
                    <a:pt x="133" y="66"/>
                    <a:pt x="132" y="64"/>
                    <a:pt x="132" y="63"/>
                  </a:cubicBezTo>
                  <a:cubicBezTo>
                    <a:pt x="132" y="62"/>
                    <a:pt x="131" y="60"/>
                    <a:pt x="131" y="59"/>
                  </a:cubicBezTo>
                  <a:cubicBezTo>
                    <a:pt x="131" y="54"/>
                    <a:pt x="134" y="53"/>
                    <a:pt x="138" y="51"/>
                  </a:cubicBezTo>
                  <a:cubicBezTo>
                    <a:pt x="139" y="51"/>
                    <a:pt x="140" y="50"/>
                    <a:pt x="142" y="49"/>
                  </a:cubicBezTo>
                  <a:cubicBezTo>
                    <a:pt x="143" y="47"/>
                    <a:pt x="145" y="46"/>
                    <a:pt x="148" y="44"/>
                  </a:cubicBezTo>
                  <a:cubicBezTo>
                    <a:pt x="149" y="44"/>
                    <a:pt x="150" y="43"/>
                    <a:pt x="152" y="42"/>
                  </a:cubicBezTo>
                  <a:cubicBezTo>
                    <a:pt x="152" y="42"/>
                    <a:pt x="152" y="42"/>
                    <a:pt x="152" y="42"/>
                  </a:cubicBezTo>
                  <a:cubicBezTo>
                    <a:pt x="156" y="40"/>
                    <a:pt x="160" y="38"/>
                    <a:pt x="164" y="38"/>
                  </a:cubicBezTo>
                  <a:cubicBezTo>
                    <a:pt x="165" y="38"/>
                    <a:pt x="165" y="38"/>
                    <a:pt x="166" y="38"/>
                  </a:cubicBezTo>
                  <a:cubicBezTo>
                    <a:pt x="166" y="38"/>
                    <a:pt x="166" y="38"/>
                    <a:pt x="166" y="38"/>
                  </a:cubicBezTo>
                  <a:cubicBezTo>
                    <a:pt x="165" y="36"/>
                    <a:pt x="165" y="33"/>
                    <a:pt x="170" y="30"/>
                  </a:cubicBezTo>
                  <a:cubicBezTo>
                    <a:pt x="171" y="29"/>
                    <a:pt x="171" y="29"/>
                    <a:pt x="172" y="28"/>
                  </a:cubicBezTo>
                  <a:cubicBezTo>
                    <a:pt x="172" y="28"/>
                    <a:pt x="172" y="28"/>
                    <a:pt x="172" y="28"/>
                  </a:cubicBezTo>
                  <a:cubicBezTo>
                    <a:pt x="173" y="28"/>
                    <a:pt x="174" y="27"/>
                    <a:pt x="175" y="27"/>
                  </a:cubicBezTo>
                  <a:cubicBezTo>
                    <a:pt x="174" y="24"/>
                    <a:pt x="174" y="24"/>
                    <a:pt x="174" y="24"/>
                  </a:cubicBezTo>
                  <a:cubicBezTo>
                    <a:pt x="174" y="24"/>
                    <a:pt x="174" y="24"/>
                    <a:pt x="174" y="24"/>
                  </a:cubicBezTo>
                  <a:cubicBezTo>
                    <a:pt x="173" y="24"/>
                    <a:pt x="173" y="24"/>
                    <a:pt x="173" y="24"/>
                  </a:cubicBezTo>
                  <a:cubicBezTo>
                    <a:pt x="173" y="23"/>
                    <a:pt x="173" y="23"/>
                    <a:pt x="173" y="23"/>
                  </a:cubicBezTo>
                  <a:cubicBezTo>
                    <a:pt x="172" y="22"/>
                    <a:pt x="171" y="22"/>
                    <a:pt x="171" y="22"/>
                  </a:cubicBezTo>
                  <a:cubicBezTo>
                    <a:pt x="170" y="22"/>
                    <a:pt x="170" y="22"/>
                    <a:pt x="170" y="22"/>
                  </a:cubicBezTo>
                  <a:cubicBezTo>
                    <a:pt x="170" y="22"/>
                    <a:pt x="169" y="22"/>
                    <a:pt x="169" y="21"/>
                  </a:cubicBezTo>
                  <a:cubicBezTo>
                    <a:pt x="167" y="21"/>
                    <a:pt x="167" y="21"/>
                    <a:pt x="167" y="21"/>
                  </a:cubicBezTo>
                  <a:cubicBezTo>
                    <a:pt x="166" y="21"/>
                    <a:pt x="165" y="21"/>
                    <a:pt x="164" y="21"/>
                  </a:cubicBezTo>
                  <a:cubicBezTo>
                    <a:pt x="162" y="21"/>
                    <a:pt x="162" y="21"/>
                    <a:pt x="162" y="21"/>
                  </a:cubicBezTo>
                  <a:cubicBezTo>
                    <a:pt x="162" y="21"/>
                    <a:pt x="162" y="21"/>
                    <a:pt x="161" y="21"/>
                  </a:cubicBezTo>
                  <a:cubicBezTo>
                    <a:pt x="161" y="21"/>
                    <a:pt x="161" y="21"/>
                    <a:pt x="161" y="21"/>
                  </a:cubicBezTo>
                  <a:cubicBezTo>
                    <a:pt x="161" y="21"/>
                    <a:pt x="161" y="21"/>
                    <a:pt x="161" y="21"/>
                  </a:cubicBezTo>
                  <a:cubicBezTo>
                    <a:pt x="160" y="22"/>
                    <a:pt x="160" y="22"/>
                    <a:pt x="160" y="22"/>
                  </a:cubicBezTo>
                  <a:cubicBezTo>
                    <a:pt x="159" y="22"/>
                    <a:pt x="159" y="22"/>
                    <a:pt x="158" y="22"/>
                  </a:cubicBezTo>
                  <a:cubicBezTo>
                    <a:pt x="158" y="22"/>
                    <a:pt x="158" y="22"/>
                    <a:pt x="158" y="22"/>
                  </a:cubicBezTo>
                  <a:cubicBezTo>
                    <a:pt x="156" y="22"/>
                    <a:pt x="154" y="20"/>
                    <a:pt x="154" y="18"/>
                  </a:cubicBezTo>
                  <a:cubicBezTo>
                    <a:pt x="154" y="18"/>
                    <a:pt x="154" y="18"/>
                    <a:pt x="154" y="18"/>
                  </a:cubicBezTo>
                  <a:cubicBezTo>
                    <a:pt x="155" y="17"/>
                    <a:pt x="155" y="17"/>
                    <a:pt x="155" y="17"/>
                  </a:cubicBezTo>
                  <a:cubicBezTo>
                    <a:pt x="155" y="16"/>
                    <a:pt x="155" y="16"/>
                    <a:pt x="155" y="16"/>
                  </a:cubicBezTo>
                  <a:cubicBezTo>
                    <a:pt x="155" y="15"/>
                    <a:pt x="155" y="15"/>
                    <a:pt x="155" y="15"/>
                  </a:cubicBezTo>
                  <a:cubicBezTo>
                    <a:pt x="156" y="14"/>
                    <a:pt x="156" y="14"/>
                    <a:pt x="157" y="13"/>
                  </a:cubicBezTo>
                  <a:cubicBezTo>
                    <a:pt x="157" y="13"/>
                    <a:pt x="157" y="13"/>
                    <a:pt x="157" y="13"/>
                  </a:cubicBezTo>
                  <a:cubicBezTo>
                    <a:pt x="156" y="13"/>
                    <a:pt x="156" y="13"/>
                    <a:pt x="156" y="13"/>
                  </a:cubicBezTo>
                  <a:cubicBezTo>
                    <a:pt x="158" y="11"/>
                    <a:pt x="158" y="11"/>
                    <a:pt x="158" y="11"/>
                  </a:cubicBezTo>
                  <a:cubicBezTo>
                    <a:pt x="159" y="11"/>
                    <a:pt x="159" y="11"/>
                    <a:pt x="160" y="10"/>
                  </a:cubicBezTo>
                  <a:cubicBezTo>
                    <a:pt x="160" y="10"/>
                    <a:pt x="160" y="10"/>
                    <a:pt x="160" y="10"/>
                  </a:cubicBezTo>
                  <a:cubicBezTo>
                    <a:pt x="159" y="10"/>
                    <a:pt x="159" y="10"/>
                    <a:pt x="159" y="10"/>
                  </a:cubicBezTo>
                  <a:cubicBezTo>
                    <a:pt x="159" y="10"/>
                    <a:pt x="159" y="9"/>
                    <a:pt x="159" y="9"/>
                  </a:cubicBezTo>
                  <a:cubicBezTo>
                    <a:pt x="158" y="9"/>
                    <a:pt x="158" y="9"/>
                    <a:pt x="158" y="9"/>
                  </a:cubicBezTo>
                  <a:cubicBezTo>
                    <a:pt x="157" y="9"/>
                    <a:pt x="156" y="10"/>
                    <a:pt x="156" y="10"/>
                  </a:cubicBezTo>
                  <a:cubicBezTo>
                    <a:pt x="152" y="13"/>
                    <a:pt x="152" y="13"/>
                    <a:pt x="152" y="13"/>
                  </a:cubicBezTo>
                  <a:cubicBezTo>
                    <a:pt x="152" y="8"/>
                    <a:pt x="152" y="8"/>
                    <a:pt x="152" y="8"/>
                  </a:cubicBezTo>
                  <a:cubicBezTo>
                    <a:pt x="152" y="7"/>
                    <a:pt x="152" y="7"/>
                    <a:pt x="152" y="7"/>
                  </a:cubicBezTo>
                  <a:cubicBezTo>
                    <a:pt x="147" y="3"/>
                    <a:pt x="147" y="3"/>
                    <a:pt x="147" y="3"/>
                  </a:cubicBezTo>
                  <a:cubicBezTo>
                    <a:pt x="153" y="2"/>
                    <a:pt x="153" y="2"/>
                    <a:pt x="153" y="2"/>
                  </a:cubicBezTo>
                  <a:cubicBezTo>
                    <a:pt x="153" y="2"/>
                    <a:pt x="153" y="2"/>
                    <a:pt x="153" y="2"/>
                  </a:cubicBezTo>
                  <a:cubicBezTo>
                    <a:pt x="153" y="2"/>
                    <a:pt x="153" y="2"/>
                    <a:pt x="153" y="2"/>
                  </a:cubicBezTo>
                  <a:cubicBezTo>
                    <a:pt x="154" y="2"/>
                    <a:pt x="154" y="2"/>
                    <a:pt x="154" y="2"/>
                  </a:cubicBezTo>
                  <a:cubicBezTo>
                    <a:pt x="153" y="1"/>
                    <a:pt x="153" y="1"/>
                    <a:pt x="152" y="0"/>
                  </a:cubicBezTo>
                  <a:cubicBezTo>
                    <a:pt x="152" y="0"/>
                    <a:pt x="152" y="0"/>
                    <a:pt x="152" y="0"/>
                  </a:cubicBezTo>
                  <a:cubicBezTo>
                    <a:pt x="152" y="0"/>
                    <a:pt x="152" y="0"/>
                    <a:pt x="1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414"/>
            <p:cNvSpPr>
              <a:spLocks noEditPoints="1"/>
            </p:cNvSpPr>
            <p:nvPr/>
          </p:nvSpPr>
          <p:spPr bwMode="auto">
            <a:xfrm>
              <a:off x="2639492" y="4486684"/>
              <a:ext cx="1292924" cy="1789462"/>
            </a:xfrm>
            <a:custGeom>
              <a:gdLst>
                <a:gd name="T0" fmla="*/ 159 w 398"/>
                <a:gd name="T1" fmla="*/ 17 h 550"/>
                <a:gd name="T2" fmla="*/ 135 w 398"/>
                <a:gd name="T3" fmla="*/ 19 h 550"/>
                <a:gd name="T4" fmla="*/ 110 w 398"/>
                <a:gd name="T5" fmla="*/ 21 h 550"/>
                <a:gd name="T6" fmla="*/ 115 w 398"/>
                <a:gd name="T7" fmla="*/ 37 h 550"/>
                <a:gd name="T8" fmla="*/ 126 w 398"/>
                <a:gd name="T9" fmla="*/ 58 h 550"/>
                <a:gd name="T10" fmla="*/ 130 w 398"/>
                <a:gd name="T11" fmla="*/ 75 h 550"/>
                <a:gd name="T12" fmla="*/ 124 w 398"/>
                <a:gd name="T13" fmla="*/ 89 h 550"/>
                <a:gd name="T14" fmla="*/ 113 w 398"/>
                <a:gd name="T15" fmla="*/ 111 h 550"/>
                <a:gd name="T16" fmla="*/ 87 w 398"/>
                <a:gd name="T17" fmla="*/ 139 h 550"/>
                <a:gd name="T18" fmla="*/ 58 w 398"/>
                <a:gd name="T19" fmla="*/ 162 h 550"/>
                <a:gd name="T20" fmla="*/ 43 w 398"/>
                <a:gd name="T21" fmla="*/ 158 h 550"/>
                <a:gd name="T22" fmla="*/ 30 w 398"/>
                <a:gd name="T23" fmla="*/ 182 h 550"/>
                <a:gd name="T24" fmla="*/ 43 w 398"/>
                <a:gd name="T25" fmla="*/ 201 h 550"/>
                <a:gd name="T26" fmla="*/ 56 w 398"/>
                <a:gd name="T27" fmla="*/ 220 h 550"/>
                <a:gd name="T28" fmla="*/ 52 w 398"/>
                <a:gd name="T29" fmla="*/ 234 h 550"/>
                <a:gd name="T30" fmla="*/ 33 w 398"/>
                <a:gd name="T31" fmla="*/ 236 h 550"/>
                <a:gd name="T32" fmla="*/ 7 w 398"/>
                <a:gd name="T33" fmla="*/ 241 h 550"/>
                <a:gd name="T34" fmla="*/ 7 w 398"/>
                <a:gd name="T35" fmla="*/ 252 h 550"/>
                <a:gd name="T36" fmla="*/ 41 w 398"/>
                <a:gd name="T37" fmla="*/ 259 h 550"/>
                <a:gd name="T38" fmla="*/ 18 w 398"/>
                <a:gd name="T39" fmla="*/ 278 h 550"/>
                <a:gd name="T40" fmla="*/ 53 w 398"/>
                <a:gd name="T41" fmla="*/ 303 h 550"/>
                <a:gd name="T42" fmla="*/ 74 w 398"/>
                <a:gd name="T43" fmla="*/ 278 h 550"/>
                <a:gd name="T44" fmla="*/ 82 w 398"/>
                <a:gd name="T45" fmla="*/ 280 h 550"/>
                <a:gd name="T46" fmla="*/ 88 w 398"/>
                <a:gd name="T47" fmla="*/ 297 h 550"/>
                <a:gd name="T48" fmla="*/ 88 w 398"/>
                <a:gd name="T49" fmla="*/ 333 h 550"/>
                <a:gd name="T50" fmla="*/ 90 w 398"/>
                <a:gd name="T51" fmla="*/ 352 h 550"/>
                <a:gd name="T52" fmla="*/ 105 w 398"/>
                <a:gd name="T53" fmla="*/ 402 h 550"/>
                <a:gd name="T54" fmla="*/ 115 w 398"/>
                <a:gd name="T55" fmla="*/ 418 h 550"/>
                <a:gd name="T56" fmla="*/ 127 w 398"/>
                <a:gd name="T57" fmla="*/ 457 h 550"/>
                <a:gd name="T58" fmla="*/ 149 w 398"/>
                <a:gd name="T59" fmla="*/ 502 h 550"/>
                <a:gd name="T60" fmla="*/ 161 w 398"/>
                <a:gd name="T61" fmla="*/ 532 h 550"/>
                <a:gd name="T62" fmla="*/ 195 w 398"/>
                <a:gd name="T63" fmla="*/ 530 h 550"/>
                <a:gd name="T64" fmla="*/ 205 w 398"/>
                <a:gd name="T65" fmla="*/ 522 h 550"/>
                <a:gd name="T66" fmla="*/ 222 w 398"/>
                <a:gd name="T67" fmla="*/ 495 h 550"/>
                <a:gd name="T68" fmla="*/ 228 w 398"/>
                <a:gd name="T69" fmla="*/ 445 h 550"/>
                <a:gd name="T70" fmla="*/ 230 w 398"/>
                <a:gd name="T71" fmla="*/ 402 h 550"/>
                <a:gd name="T72" fmla="*/ 254 w 398"/>
                <a:gd name="T73" fmla="*/ 389 h 550"/>
                <a:gd name="T74" fmla="*/ 300 w 398"/>
                <a:gd name="T75" fmla="*/ 353 h 550"/>
                <a:gd name="T76" fmla="*/ 327 w 398"/>
                <a:gd name="T77" fmla="*/ 321 h 550"/>
                <a:gd name="T78" fmla="*/ 356 w 398"/>
                <a:gd name="T79" fmla="*/ 294 h 550"/>
                <a:gd name="T80" fmla="*/ 381 w 398"/>
                <a:gd name="T81" fmla="*/ 286 h 550"/>
                <a:gd name="T82" fmla="*/ 390 w 398"/>
                <a:gd name="T83" fmla="*/ 274 h 550"/>
                <a:gd name="T84" fmla="*/ 397 w 398"/>
                <a:gd name="T85" fmla="*/ 283 h 550"/>
                <a:gd name="T86" fmla="*/ 393 w 398"/>
                <a:gd name="T87" fmla="*/ 255 h 550"/>
                <a:gd name="T88" fmla="*/ 387 w 398"/>
                <a:gd name="T89" fmla="*/ 233 h 550"/>
                <a:gd name="T90" fmla="*/ 382 w 398"/>
                <a:gd name="T91" fmla="*/ 217 h 550"/>
                <a:gd name="T92" fmla="*/ 377 w 398"/>
                <a:gd name="T93" fmla="*/ 201 h 550"/>
                <a:gd name="T94" fmla="*/ 376 w 398"/>
                <a:gd name="T95" fmla="*/ 192 h 550"/>
                <a:gd name="T96" fmla="*/ 354 w 398"/>
                <a:gd name="T97" fmla="*/ 190 h 550"/>
                <a:gd name="T98" fmla="*/ 340 w 398"/>
                <a:gd name="T99" fmla="*/ 187 h 550"/>
                <a:gd name="T100" fmla="*/ 323 w 398"/>
                <a:gd name="T101" fmla="*/ 182 h 550"/>
                <a:gd name="T102" fmla="*/ 306 w 398"/>
                <a:gd name="T103" fmla="*/ 169 h 550"/>
                <a:gd name="T104" fmla="*/ 292 w 398"/>
                <a:gd name="T105" fmla="*/ 169 h 550"/>
                <a:gd name="T106" fmla="*/ 276 w 398"/>
                <a:gd name="T107" fmla="*/ 168 h 550"/>
                <a:gd name="T108" fmla="*/ 256 w 398"/>
                <a:gd name="T109" fmla="*/ 159 h 550"/>
                <a:gd name="T110" fmla="*/ 224 w 398"/>
                <a:gd name="T111" fmla="*/ 137 h 550"/>
                <a:gd name="T112" fmla="*/ 228 w 398"/>
                <a:gd name="T113" fmla="*/ 105 h 550"/>
                <a:gd name="T114" fmla="*/ 209 w 398"/>
                <a:gd name="T115" fmla="*/ 89 h 550"/>
                <a:gd name="T116" fmla="*/ 200 w 398"/>
                <a:gd name="T117" fmla="*/ 87 h 550"/>
                <a:gd name="T118" fmla="*/ 196 w 398"/>
                <a:gd name="T119" fmla="*/ 58 h 550"/>
                <a:gd name="T120" fmla="*/ 212 w 398"/>
                <a:gd name="T121" fmla="*/ 52 h 550"/>
                <a:gd name="T122" fmla="*/ 200 w 398"/>
                <a:gd name="T123" fmla="*/ 37 h 550"/>
                <a:gd name="T124" fmla="*/ 188 w 398"/>
                <a:gd name="T125" fmla="*/ 9 h 5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8" h="550">
                  <a:moveTo>
                    <a:pt x="244" y="400"/>
                  </a:moveTo>
                  <a:cubicBezTo>
                    <a:pt x="244" y="400"/>
                    <a:pt x="244" y="400"/>
                    <a:pt x="244" y="400"/>
                  </a:cubicBezTo>
                  <a:cubicBezTo>
                    <a:pt x="244" y="400"/>
                    <a:pt x="244" y="400"/>
                    <a:pt x="244" y="400"/>
                  </a:cubicBezTo>
                  <a:moveTo>
                    <a:pt x="185" y="0"/>
                  </a:moveTo>
                  <a:cubicBezTo>
                    <a:pt x="185" y="0"/>
                    <a:pt x="184" y="0"/>
                    <a:pt x="184" y="0"/>
                  </a:cubicBezTo>
                  <a:cubicBezTo>
                    <a:pt x="183" y="1"/>
                    <a:pt x="182" y="1"/>
                    <a:pt x="180" y="2"/>
                  </a:cubicBezTo>
                  <a:cubicBezTo>
                    <a:pt x="179" y="3"/>
                    <a:pt x="178" y="4"/>
                    <a:pt x="177" y="4"/>
                  </a:cubicBezTo>
                  <a:cubicBezTo>
                    <a:pt x="176" y="5"/>
                    <a:pt x="175" y="5"/>
                    <a:pt x="174" y="6"/>
                  </a:cubicBezTo>
                  <a:cubicBezTo>
                    <a:pt x="170" y="8"/>
                    <a:pt x="170" y="8"/>
                    <a:pt x="170" y="8"/>
                  </a:cubicBezTo>
                  <a:cubicBezTo>
                    <a:pt x="169" y="9"/>
                    <a:pt x="168" y="10"/>
                    <a:pt x="167" y="12"/>
                  </a:cubicBezTo>
                  <a:cubicBezTo>
                    <a:pt x="166" y="13"/>
                    <a:pt x="166" y="13"/>
                    <a:pt x="166" y="13"/>
                  </a:cubicBezTo>
                  <a:cubicBezTo>
                    <a:pt x="164" y="14"/>
                    <a:pt x="163" y="16"/>
                    <a:pt x="160" y="17"/>
                  </a:cubicBezTo>
                  <a:cubicBezTo>
                    <a:pt x="159" y="17"/>
                    <a:pt x="159" y="17"/>
                    <a:pt x="159" y="17"/>
                  </a:cubicBezTo>
                  <a:cubicBezTo>
                    <a:pt x="158" y="17"/>
                    <a:pt x="158" y="17"/>
                    <a:pt x="158" y="17"/>
                  </a:cubicBezTo>
                  <a:cubicBezTo>
                    <a:pt x="157" y="17"/>
                    <a:pt x="157" y="17"/>
                    <a:pt x="157" y="17"/>
                  </a:cubicBezTo>
                  <a:cubicBezTo>
                    <a:pt x="157" y="17"/>
                    <a:pt x="156" y="17"/>
                    <a:pt x="156" y="17"/>
                  </a:cubicBezTo>
                  <a:cubicBezTo>
                    <a:pt x="155" y="17"/>
                    <a:pt x="155" y="17"/>
                    <a:pt x="154" y="18"/>
                  </a:cubicBezTo>
                  <a:cubicBezTo>
                    <a:pt x="154" y="18"/>
                    <a:pt x="154" y="18"/>
                    <a:pt x="153" y="18"/>
                  </a:cubicBezTo>
                  <a:cubicBezTo>
                    <a:pt x="153" y="18"/>
                    <a:pt x="153" y="18"/>
                    <a:pt x="153" y="18"/>
                  </a:cubicBezTo>
                  <a:cubicBezTo>
                    <a:pt x="152" y="19"/>
                    <a:pt x="152" y="19"/>
                    <a:pt x="151" y="19"/>
                  </a:cubicBezTo>
                  <a:cubicBezTo>
                    <a:pt x="148" y="20"/>
                    <a:pt x="145" y="21"/>
                    <a:pt x="143" y="21"/>
                  </a:cubicBezTo>
                  <a:cubicBezTo>
                    <a:pt x="142" y="21"/>
                    <a:pt x="141" y="21"/>
                    <a:pt x="141" y="21"/>
                  </a:cubicBezTo>
                  <a:cubicBezTo>
                    <a:pt x="139" y="21"/>
                    <a:pt x="139" y="21"/>
                    <a:pt x="139" y="21"/>
                  </a:cubicBezTo>
                  <a:cubicBezTo>
                    <a:pt x="138" y="21"/>
                    <a:pt x="137" y="20"/>
                    <a:pt x="136" y="20"/>
                  </a:cubicBezTo>
                  <a:cubicBezTo>
                    <a:pt x="136" y="20"/>
                    <a:pt x="136" y="20"/>
                    <a:pt x="135" y="19"/>
                  </a:cubicBezTo>
                  <a:cubicBezTo>
                    <a:pt x="135" y="19"/>
                    <a:pt x="135" y="19"/>
                    <a:pt x="135" y="19"/>
                  </a:cubicBezTo>
                  <a:cubicBezTo>
                    <a:pt x="134" y="19"/>
                    <a:pt x="134" y="19"/>
                    <a:pt x="133" y="18"/>
                  </a:cubicBezTo>
                  <a:cubicBezTo>
                    <a:pt x="131" y="18"/>
                    <a:pt x="131" y="18"/>
                    <a:pt x="131" y="18"/>
                  </a:cubicBezTo>
                  <a:cubicBezTo>
                    <a:pt x="130" y="18"/>
                    <a:pt x="129" y="18"/>
                    <a:pt x="128" y="18"/>
                  </a:cubicBezTo>
                  <a:cubicBezTo>
                    <a:pt x="126" y="17"/>
                    <a:pt x="124" y="17"/>
                    <a:pt x="123" y="17"/>
                  </a:cubicBezTo>
                  <a:cubicBezTo>
                    <a:pt x="123" y="17"/>
                    <a:pt x="122" y="17"/>
                    <a:pt x="122" y="17"/>
                  </a:cubicBezTo>
                  <a:cubicBezTo>
                    <a:pt x="121" y="17"/>
                    <a:pt x="120" y="17"/>
                    <a:pt x="119" y="17"/>
                  </a:cubicBezTo>
                  <a:cubicBezTo>
                    <a:pt x="119" y="17"/>
                    <a:pt x="119" y="17"/>
                    <a:pt x="119" y="17"/>
                  </a:cubicBezTo>
                  <a:cubicBezTo>
                    <a:pt x="116" y="17"/>
                    <a:pt x="114" y="18"/>
                    <a:pt x="112" y="18"/>
                  </a:cubicBezTo>
                  <a:cubicBezTo>
                    <a:pt x="112" y="18"/>
                    <a:pt x="111" y="18"/>
                    <a:pt x="111" y="18"/>
                  </a:cubicBezTo>
                  <a:cubicBezTo>
                    <a:pt x="111" y="19"/>
                    <a:pt x="111" y="19"/>
                    <a:pt x="111" y="19"/>
                  </a:cubicBezTo>
                  <a:cubicBezTo>
                    <a:pt x="110" y="19"/>
                    <a:pt x="110" y="20"/>
                    <a:pt x="110" y="21"/>
                  </a:cubicBezTo>
                  <a:cubicBezTo>
                    <a:pt x="109" y="21"/>
                    <a:pt x="109" y="21"/>
                    <a:pt x="109" y="21"/>
                  </a:cubicBezTo>
                  <a:cubicBezTo>
                    <a:pt x="110" y="21"/>
                    <a:pt x="110" y="21"/>
                    <a:pt x="110" y="21"/>
                  </a:cubicBezTo>
                  <a:cubicBezTo>
                    <a:pt x="110" y="21"/>
                    <a:pt x="110" y="21"/>
                    <a:pt x="110" y="21"/>
                  </a:cubicBezTo>
                  <a:cubicBezTo>
                    <a:pt x="111" y="22"/>
                    <a:pt x="111" y="22"/>
                    <a:pt x="111" y="22"/>
                  </a:cubicBezTo>
                  <a:cubicBezTo>
                    <a:pt x="112" y="23"/>
                    <a:pt x="112" y="23"/>
                    <a:pt x="112" y="23"/>
                  </a:cubicBezTo>
                  <a:cubicBezTo>
                    <a:pt x="113" y="24"/>
                    <a:pt x="113" y="26"/>
                    <a:pt x="112" y="27"/>
                  </a:cubicBezTo>
                  <a:cubicBezTo>
                    <a:pt x="115" y="28"/>
                    <a:pt x="117" y="28"/>
                    <a:pt x="118" y="30"/>
                  </a:cubicBezTo>
                  <a:cubicBezTo>
                    <a:pt x="118" y="31"/>
                    <a:pt x="118" y="33"/>
                    <a:pt x="117" y="34"/>
                  </a:cubicBezTo>
                  <a:cubicBezTo>
                    <a:pt x="116" y="35"/>
                    <a:pt x="116" y="35"/>
                    <a:pt x="116" y="35"/>
                  </a:cubicBezTo>
                  <a:cubicBezTo>
                    <a:pt x="115" y="35"/>
                    <a:pt x="115" y="35"/>
                    <a:pt x="115" y="35"/>
                  </a:cubicBezTo>
                  <a:cubicBezTo>
                    <a:pt x="115" y="35"/>
                    <a:pt x="115" y="35"/>
                    <a:pt x="114" y="35"/>
                  </a:cubicBezTo>
                  <a:cubicBezTo>
                    <a:pt x="114" y="36"/>
                    <a:pt x="114" y="36"/>
                    <a:pt x="114" y="36"/>
                  </a:cubicBezTo>
                  <a:cubicBezTo>
                    <a:pt x="113" y="36"/>
                    <a:pt x="113" y="36"/>
                    <a:pt x="113" y="36"/>
                  </a:cubicBezTo>
                  <a:cubicBezTo>
                    <a:pt x="114" y="37"/>
                    <a:pt x="114" y="37"/>
                    <a:pt x="114" y="37"/>
                  </a:cubicBezTo>
                  <a:cubicBezTo>
                    <a:pt x="115" y="37"/>
                    <a:pt x="115" y="37"/>
                    <a:pt x="115" y="37"/>
                  </a:cubicBezTo>
                  <a:cubicBezTo>
                    <a:pt x="117" y="41"/>
                    <a:pt x="116" y="44"/>
                    <a:pt x="115" y="45"/>
                  </a:cubicBezTo>
                  <a:cubicBezTo>
                    <a:pt x="114" y="46"/>
                    <a:pt x="114" y="46"/>
                    <a:pt x="114" y="47"/>
                  </a:cubicBezTo>
                  <a:cubicBezTo>
                    <a:pt x="114" y="47"/>
                    <a:pt x="114" y="47"/>
                    <a:pt x="114" y="47"/>
                  </a:cubicBezTo>
                  <a:cubicBezTo>
                    <a:pt x="114" y="48"/>
                    <a:pt x="115" y="50"/>
                    <a:pt x="116" y="50"/>
                  </a:cubicBezTo>
                  <a:cubicBezTo>
                    <a:pt x="118" y="53"/>
                    <a:pt x="118" y="53"/>
                    <a:pt x="118" y="53"/>
                  </a:cubicBezTo>
                  <a:cubicBezTo>
                    <a:pt x="119" y="54"/>
                    <a:pt x="119" y="54"/>
                    <a:pt x="119" y="54"/>
                  </a:cubicBezTo>
                  <a:cubicBezTo>
                    <a:pt x="119" y="54"/>
                    <a:pt x="119" y="54"/>
                    <a:pt x="119" y="54"/>
                  </a:cubicBezTo>
                  <a:cubicBezTo>
                    <a:pt x="119" y="54"/>
                    <a:pt x="120" y="54"/>
                    <a:pt x="121" y="54"/>
                  </a:cubicBezTo>
                  <a:cubicBezTo>
                    <a:pt x="122" y="53"/>
                    <a:pt x="123" y="53"/>
                    <a:pt x="124" y="53"/>
                  </a:cubicBezTo>
                  <a:cubicBezTo>
                    <a:pt x="128" y="52"/>
                    <a:pt x="128" y="52"/>
                    <a:pt x="128" y="52"/>
                  </a:cubicBezTo>
                  <a:cubicBezTo>
                    <a:pt x="126" y="57"/>
                    <a:pt x="126" y="57"/>
                    <a:pt x="126" y="57"/>
                  </a:cubicBezTo>
                  <a:cubicBezTo>
                    <a:pt x="126" y="57"/>
                    <a:pt x="126" y="57"/>
                    <a:pt x="126" y="57"/>
                  </a:cubicBezTo>
                  <a:cubicBezTo>
                    <a:pt x="126" y="58"/>
                    <a:pt x="126" y="58"/>
                    <a:pt x="126" y="58"/>
                  </a:cubicBezTo>
                  <a:cubicBezTo>
                    <a:pt x="126" y="58"/>
                    <a:pt x="126" y="58"/>
                    <a:pt x="126" y="58"/>
                  </a:cubicBezTo>
                  <a:cubicBezTo>
                    <a:pt x="126" y="59"/>
                    <a:pt x="126" y="60"/>
                    <a:pt x="126" y="60"/>
                  </a:cubicBezTo>
                  <a:cubicBezTo>
                    <a:pt x="126" y="60"/>
                    <a:pt x="126" y="60"/>
                    <a:pt x="126" y="60"/>
                  </a:cubicBezTo>
                  <a:cubicBezTo>
                    <a:pt x="126" y="60"/>
                    <a:pt x="126" y="61"/>
                    <a:pt x="128" y="61"/>
                  </a:cubicBezTo>
                  <a:cubicBezTo>
                    <a:pt x="130" y="61"/>
                    <a:pt x="130" y="61"/>
                    <a:pt x="130" y="61"/>
                  </a:cubicBezTo>
                  <a:cubicBezTo>
                    <a:pt x="131" y="61"/>
                    <a:pt x="132" y="61"/>
                    <a:pt x="133" y="61"/>
                  </a:cubicBezTo>
                  <a:cubicBezTo>
                    <a:pt x="133" y="62"/>
                    <a:pt x="133" y="62"/>
                    <a:pt x="134" y="62"/>
                  </a:cubicBezTo>
                  <a:cubicBezTo>
                    <a:pt x="134" y="62"/>
                    <a:pt x="135" y="62"/>
                    <a:pt x="135" y="62"/>
                  </a:cubicBezTo>
                  <a:cubicBezTo>
                    <a:pt x="135" y="62"/>
                    <a:pt x="136" y="63"/>
                    <a:pt x="136" y="63"/>
                  </a:cubicBezTo>
                  <a:cubicBezTo>
                    <a:pt x="138" y="65"/>
                    <a:pt x="138" y="67"/>
                    <a:pt x="138" y="69"/>
                  </a:cubicBezTo>
                  <a:cubicBezTo>
                    <a:pt x="136" y="72"/>
                    <a:pt x="134" y="73"/>
                    <a:pt x="132" y="74"/>
                  </a:cubicBezTo>
                  <a:cubicBezTo>
                    <a:pt x="131" y="74"/>
                    <a:pt x="131" y="74"/>
                    <a:pt x="131" y="74"/>
                  </a:cubicBezTo>
                  <a:cubicBezTo>
                    <a:pt x="131" y="74"/>
                    <a:pt x="130" y="74"/>
                    <a:pt x="130" y="75"/>
                  </a:cubicBezTo>
                  <a:cubicBezTo>
                    <a:pt x="129" y="75"/>
                    <a:pt x="129" y="75"/>
                    <a:pt x="129" y="75"/>
                  </a:cubicBezTo>
                  <a:cubicBezTo>
                    <a:pt x="128" y="75"/>
                    <a:pt x="128" y="75"/>
                    <a:pt x="127" y="75"/>
                  </a:cubicBezTo>
                  <a:cubicBezTo>
                    <a:pt x="127" y="76"/>
                    <a:pt x="127" y="76"/>
                    <a:pt x="126" y="76"/>
                  </a:cubicBezTo>
                  <a:cubicBezTo>
                    <a:pt x="126" y="76"/>
                    <a:pt x="126" y="76"/>
                    <a:pt x="126" y="76"/>
                  </a:cubicBezTo>
                  <a:cubicBezTo>
                    <a:pt x="125" y="76"/>
                    <a:pt x="125" y="76"/>
                    <a:pt x="125" y="76"/>
                  </a:cubicBezTo>
                  <a:cubicBezTo>
                    <a:pt x="124" y="77"/>
                    <a:pt x="124" y="77"/>
                    <a:pt x="124" y="77"/>
                  </a:cubicBezTo>
                  <a:cubicBezTo>
                    <a:pt x="123" y="77"/>
                    <a:pt x="123" y="78"/>
                    <a:pt x="123" y="78"/>
                  </a:cubicBezTo>
                  <a:cubicBezTo>
                    <a:pt x="123" y="79"/>
                    <a:pt x="123" y="79"/>
                    <a:pt x="123" y="79"/>
                  </a:cubicBezTo>
                  <a:cubicBezTo>
                    <a:pt x="123" y="80"/>
                    <a:pt x="123" y="80"/>
                    <a:pt x="123" y="80"/>
                  </a:cubicBezTo>
                  <a:cubicBezTo>
                    <a:pt x="123" y="82"/>
                    <a:pt x="123" y="84"/>
                    <a:pt x="124" y="85"/>
                  </a:cubicBezTo>
                  <a:cubicBezTo>
                    <a:pt x="124" y="86"/>
                    <a:pt x="124" y="86"/>
                    <a:pt x="124" y="86"/>
                  </a:cubicBezTo>
                  <a:cubicBezTo>
                    <a:pt x="124" y="86"/>
                    <a:pt x="124" y="87"/>
                    <a:pt x="124" y="87"/>
                  </a:cubicBezTo>
                  <a:cubicBezTo>
                    <a:pt x="124" y="89"/>
                    <a:pt x="124" y="89"/>
                    <a:pt x="124" y="89"/>
                  </a:cubicBezTo>
                  <a:cubicBezTo>
                    <a:pt x="124" y="90"/>
                    <a:pt x="125" y="91"/>
                    <a:pt x="125" y="92"/>
                  </a:cubicBezTo>
                  <a:cubicBezTo>
                    <a:pt x="125" y="94"/>
                    <a:pt x="123" y="96"/>
                    <a:pt x="122" y="97"/>
                  </a:cubicBezTo>
                  <a:cubicBezTo>
                    <a:pt x="120" y="99"/>
                    <a:pt x="118" y="100"/>
                    <a:pt x="117" y="101"/>
                  </a:cubicBezTo>
                  <a:cubicBezTo>
                    <a:pt x="117" y="101"/>
                    <a:pt x="117" y="101"/>
                    <a:pt x="117" y="101"/>
                  </a:cubicBezTo>
                  <a:cubicBezTo>
                    <a:pt x="116" y="102"/>
                    <a:pt x="115" y="103"/>
                    <a:pt x="114" y="103"/>
                  </a:cubicBezTo>
                  <a:cubicBezTo>
                    <a:pt x="114" y="103"/>
                    <a:pt x="114" y="103"/>
                    <a:pt x="114" y="103"/>
                  </a:cubicBezTo>
                  <a:cubicBezTo>
                    <a:pt x="113" y="104"/>
                    <a:pt x="112" y="105"/>
                    <a:pt x="112" y="106"/>
                  </a:cubicBezTo>
                  <a:cubicBezTo>
                    <a:pt x="111" y="106"/>
                    <a:pt x="111" y="106"/>
                    <a:pt x="111" y="106"/>
                  </a:cubicBezTo>
                  <a:cubicBezTo>
                    <a:pt x="111" y="107"/>
                    <a:pt x="111" y="107"/>
                    <a:pt x="111" y="107"/>
                  </a:cubicBezTo>
                  <a:cubicBezTo>
                    <a:pt x="111" y="108"/>
                    <a:pt x="111" y="108"/>
                    <a:pt x="111" y="108"/>
                  </a:cubicBezTo>
                  <a:cubicBezTo>
                    <a:pt x="111" y="109"/>
                    <a:pt x="111" y="109"/>
                    <a:pt x="111" y="109"/>
                  </a:cubicBezTo>
                  <a:cubicBezTo>
                    <a:pt x="112" y="109"/>
                    <a:pt x="112" y="109"/>
                    <a:pt x="112" y="109"/>
                  </a:cubicBezTo>
                  <a:cubicBezTo>
                    <a:pt x="113" y="111"/>
                    <a:pt x="113" y="111"/>
                    <a:pt x="113" y="111"/>
                  </a:cubicBezTo>
                  <a:cubicBezTo>
                    <a:pt x="111" y="113"/>
                    <a:pt x="111" y="113"/>
                    <a:pt x="111" y="113"/>
                  </a:cubicBezTo>
                  <a:cubicBezTo>
                    <a:pt x="110" y="113"/>
                    <a:pt x="109" y="114"/>
                    <a:pt x="108" y="114"/>
                  </a:cubicBezTo>
                  <a:cubicBezTo>
                    <a:pt x="107" y="115"/>
                    <a:pt x="107" y="115"/>
                    <a:pt x="107" y="115"/>
                  </a:cubicBezTo>
                  <a:cubicBezTo>
                    <a:pt x="105" y="115"/>
                    <a:pt x="104" y="116"/>
                    <a:pt x="102" y="117"/>
                  </a:cubicBezTo>
                  <a:cubicBezTo>
                    <a:pt x="101" y="117"/>
                    <a:pt x="101" y="118"/>
                    <a:pt x="101" y="118"/>
                  </a:cubicBezTo>
                  <a:cubicBezTo>
                    <a:pt x="100" y="119"/>
                    <a:pt x="100" y="120"/>
                    <a:pt x="99" y="122"/>
                  </a:cubicBezTo>
                  <a:cubicBezTo>
                    <a:pt x="99" y="123"/>
                    <a:pt x="99" y="123"/>
                    <a:pt x="99" y="123"/>
                  </a:cubicBezTo>
                  <a:cubicBezTo>
                    <a:pt x="99" y="124"/>
                    <a:pt x="99" y="124"/>
                    <a:pt x="99" y="124"/>
                  </a:cubicBezTo>
                  <a:cubicBezTo>
                    <a:pt x="99" y="125"/>
                    <a:pt x="98" y="125"/>
                    <a:pt x="98" y="126"/>
                  </a:cubicBezTo>
                  <a:cubicBezTo>
                    <a:pt x="98" y="127"/>
                    <a:pt x="97" y="128"/>
                    <a:pt x="96" y="129"/>
                  </a:cubicBezTo>
                  <a:cubicBezTo>
                    <a:pt x="96" y="130"/>
                    <a:pt x="96" y="130"/>
                    <a:pt x="96" y="130"/>
                  </a:cubicBezTo>
                  <a:cubicBezTo>
                    <a:pt x="95" y="131"/>
                    <a:pt x="95" y="132"/>
                    <a:pt x="94" y="133"/>
                  </a:cubicBezTo>
                  <a:cubicBezTo>
                    <a:pt x="92" y="136"/>
                    <a:pt x="91" y="137"/>
                    <a:pt x="87" y="139"/>
                  </a:cubicBezTo>
                  <a:cubicBezTo>
                    <a:pt x="87" y="139"/>
                    <a:pt x="87" y="139"/>
                    <a:pt x="87" y="139"/>
                  </a:cubicBezTo>
                  <a:cubicBezTo>
                    <a:pt x="86" y="139"/>
                    <a:pt x="86" y="140"/>
                    <a:pt x="85" y="140"/>
                  </a:cubicBezTo>
                  <a:cubicBezTo>
                    <a:pt x="84" y="141"/>
                    <a:pt x="83" y="141"/>
                    <a:pt x="82" y="143"/>
                  </a:cubicBezTo>
                  <a:cubicBezTo>
                    <a:pt x="84" y="144"/>
                    <a:pt x="84" y="144"/>
                    <a:pt x="84" y="144"/>
                  </a:cubicBezTo>
                  <a:cubicBezTo>
                    <a:pt x="81" y="144"/>
                    <a:pt x="81" y="144"/>
                    <a:pt x="81" y="144"/>
                  </a:cubicBezTo>
                  <a:cubicBezTo>
                    <a:pt x="69" y="160"/>
                    <a:pt x="69" y="160"/>
                    <a:pt x="69" y="160"/>
                  </a:cubicBezTo>
                  <a:cubicBezTo>
                    <a:pt x="68" y="160"/>
                    <a:pt x="68" y="161"/>
                    <a:pt x="67" y="161"/>
                  </a:cubicBezTo>
                  <a:cubicBezTo>
                    <a:pt x="66" y="161"/>
                    <a:pt x="64" y="161"/>
                    <a:pt x="62" y="161"/>
                  </a:cubicBezTo>
                  <a:cubicBezTo>
                    <a:pt x="61" y="161"/>
                    <a:pt x="61" y="161"/>
                    <a:pt x="61" y="161"/>
                  </a:cubicBezTo>
                  <a:cubicBezTo>
                    <a:pt x="61" y="161"/>
                    <a:pt x="61" y="162"/>
                    <a:pt x="60" y="162"/>
                  </a:cubicBezTo>
                  <a:cubicBezTo>
                    <a:pt x="60" y="162"/>
                    <a:pt x="59" y="162"/>
                    <a:pt x="59" y="162"/>
                  </a:cubicBezTo>
                  <a:cubicBezTo>
                    <a:pt x="58" y="162"/>
                    <a:pt x="58" y="162"/>
                    <a:pt x="58" y="162"/>
                  </a:cubicBezTo>
                  <a:cubicBezTo>
                    <a:pt x="58" y="162"/>
                    <a:pt x="58" y="162"/>
                    <a:pt x="58" y="162"/>
                  </a:cubicBezTo>
                  <a:cubicBezTo>
                    <a:pt x="57" y="162"/>
                    <a:pt x="55" y="163"/>
                    <a:pt x="54" y="163"/>
                  </a:cubicBezTo>
                  <a:cubicBezTo>
                    <a:pt x="53" y="164"/>
                    <a:pt x="53" y="164"/>
                    <a:pt x="53" y="164"/>
                  </a:cubicBezTo>
                  <a:cubicBezTo>
                    <a:pt x="52" y="164"/>
                    <a:pt x="52" y="164"/>
                    <a:pt x="51" y="164"/>
                  </a:cubicBezTo>
                  <a:cubicBezTo>
                    <a:pt x="50" y="164"/>
                    <a:pt x="49" y="164"/>
                    <a:pt x="48" y="163"/>
                  </a:cubicBezTo>
                  <a:cubicBezTo>
                    <a:pt x="48" y="163"/>
                    <a:pt x="48" y="163"/>
                    <a:pt x="48" y="163"/>
                  </a:cubicBezTo>
                  <a:cubicBezTo>
                    <a:pt x="47" y="162"/>
                    <a:pt x="47" y="162"/>
                    <a:pt x="47" y="162"/>
                  </a:cubicBezTo>
                  <a:cubicBezTo>
                    <a:pt x="46" y="162"/>
                    <a:pt x="46" y="161"/>
                    <a:pt x="45" y="160"/>
                  </a:cubicBezTo>
                  <a:cubicBezTo>
                    <a:pt x="45" y="159"/>
                    <a:pt x="45" y="159"/>
                    <a:pt x="44" y="158"/>
                  </a:cubicBezTo>
                  <a:cubicBezTo>
                    <a:pt x="44" y="158"/>
                    <a:pt x="44" y="158"/>
                    <a:pt x="44" y="158"/>
                  </a:cubicBezTo>
                  <a:cubicBezTo>
                    <a:pt x="44" y="158"/>
                    <a:pt x="44" y="158"/>
                    <a:pt x="44" y="158"/>
                  </a:cubicBezTo>
                  <a:cubicBezTo>
                    <a:pt x="44" y="158"/>
                    <a:pt x="44" y="158"/>
                    <a:pt x="44" y="158"/>
                  </a:cubicBezTo>
                  <a:cubicBezTo>
                    <a:pt x="43" y="158"/>
                    <a:pt x="43" y="158"/>
                    <a:pt x="43" y="158"/>
                  </a:cubicBezTo>
                  <a:cubicBezTo>
                    <a:pt x="43" y="158"/>
                    <a:pt x="43" y="158"/>
                    <a:pt x="43" y="158"/>
                  </a:cubicBezTo>
                  <a:cubicBezTo>
                    <a:pt x="42" y="158"/>
                    <a:pt x="42" y="158"/>
                    <a:pt x="42" y="158"/>
                  </a:cubicBezTo>
                  <a:cubicBezTo>
                    <a:pt x="42" y="159"/>
                    <a:pt x="42" y="159"/>
                    <a:pt x="42" y="159"/>
                  </a:cubicBezTo>
                  <a:cubicBezTo>
                    <a:pt x="41" y="159"/>
                    <a:pt x="41" y="159"/>
                    <a:pt x="41" y="159"/>
                  </a:cubicBezTo>
                  <a:cubicBezTo>
                    <a:pt x="40" y="160"/>
                    <a:pt x="40" y="160"/>
                    <a:pt x="40" y="160"/>
                  </a:cubicBezTo>
                  <a:cubicBezTo>
                    <a:pt x="39" y="161"/>
                    <a:pt x="39" y="161"/>
                    <a:pt x="39" y="161"/>
                  </a:cubicBezTo>
                  <a:cubicBezTo>
                    <a:pt x="39" y="162"/>
                    <a:pt x="39" y="162"/>
                    <a:pt x="39" y="162"/>
                  </a:cubicBezTo>
                  <a:cubicBezTo>
                    <a:pt x="38" y="162"/>
                    <a:pt x="38" y="162"/>
                    <a:pt x="38" y="162"/>
                  </a:cubicBezTo>
                  <a:cubicBezTo>
                    <a:pt x="38" y="163"/>
                    <a:pt x="37" y="164"/>
                    <a:pt x="37" y="164"/>
                  </a:cubicBezTo>
                  <a:cubicBezTo>
                    <a:pt x="36" y="165"/>
                    <a:pt x="35" y="166"/>
                    <a:pt x="34" y="167"/>
                  </a:cubicBezTo>
                  <a:cubicBezTo>
                    <a:pt x="32" y="169"/>
                    <a:pt x="30" y="172"/>
                    <a:pt x="29" y="174"/>
                  </a:cubicBezTo>
                  <a:cubicBezTo>
                    <a:pt x="27" y="177"/>
                    <a:pt x="26" y="179"/>
                    <a:pt x="27" y="180"/>
                  </a:cubicBezTo>
                  <a:cubicBezTo>
                    <a:pt x="27" y="181"/>
                    <a:pt x="27" y="181"/>
                    <a:pt x="27" y="181"/>
                  </a:cubicBezTo>
                  <a:cubicBezTo>
                    <a:pt x="28" y="181"/>
                    <a:pt x="29" y="182"/>
                    <a:pt x="30" y="182"/>
                  </a:cubicBezTo>
                  <a:cubicBezTo>
                    <a:pt x="31" y="182"/>
                    <a:pt x="31" y="182"/>
                    <a:pt x="31" y="182"/>
                  </a:cubicBezTo>
                  <a:cubicBezTo>
                    <a:pt x="32" y="182"/>
                    <a:pt x="33" y="183"/>
                    <a:pt x="34" y="183"/>
                  </a:cubicBezTo>
                  <a:cubicBezTo>
                    <a:pt x="35" y="183"/>
                    <a:pt x="35" y="183"/>
                    <a:pt x="35" y="183"/>
                  </a:cubicBezTo>
                  <a:cubicBezTo>
                    <a:pt x="36" y="183"/>
                    <a:pt x="37" y="183"/>
                    <a:pt x="38" y="184"/>
                  </a:cubicBezTo>
                  <a:cubicBezTo>
                    <a:pt x="39" y="184"/>
                    <a:pt x="40" y="186"/>
                    <a:pt x="40" y="187"/>
                  </a:cubicBezTo>
                  <a:cubicBezTo>
                    <a:pt x="40" y="188"/>
                    <a:pt x="40" y="190"/>
                    <a:pt x="40" y="191"/>
                  </a:cubicBezTo>
                  <a:cubicBezTo>
                    <a:pt x="39" y="193"/>
                    <a:pt x="39" y="194"/>
                    <a:pt x="40" y="195"/>
                  </a:cubicBezTo>
                  <a:cubicBezTo>
                    <a:pt x="40" y="196"/>
                    <a:pt x="40" y="196"/>
                    <a:pt x="40" y="197"/>
                  </a:cubicBezTo>
                  <a:cubicBezTo>
                    <a:pt x="40" y="197"/>
                    <a:pt x="40" y="197"/>
                    <a:pt x="40" y="197"/>
                  </a:cubicBezTo>
                  <a:cubicBezTo>
                    <a:pt x="40" y="199"/>
                    <a:pt x="41" y="200"/>
                    <a:pt x="41" y="201"/>
                  </a:cubicBezTo>
                  <a:cubicBezTo>
                    <a:pt x="42" y="201"/>
                    <a:pt x="42" y="201"/>
                    <a:pt x="42" y="201"/>
                  </a:cubicBezTo>
                  <a:cubicBezTo>
                    <a:pt x="42" y="201"/>
                    <a:pt x="42" y="201"/>
                    <a:pt x="43" y="201"/>
                  </a:cubicBezTo>
                  <a:cubicBezTo>
                    <a:pt x="43" y="201"/>
                    <a:pt x="43" y="201"/>
                    <a:pt x="43" y="201"/>
                  </a:cubicBezTo>
                  <a:cubicBezTo>
                    <a:pt x="43" y="201"/>
                    <a:pt x="43" y="201"/>
                    <a:pt x="43" y="201"/>
                  </a:cubicBezTo>
                  <a:cubicBezTo>
                    <a:pt x="44" y="201"/>
                    <a:pt x="44" y="201"/>
                    <a:pt x="44" y="201"/>
                  </a:cubicBezTo>
                  <a:cubicBezTo>
                    <a:pt x="44" y="201"/>
                    <a:pt x="44" y="201"/>
                    <a:pt x="44" y="201"/>
                  </a:cubicBezTo>
                  <a:cubicBezTo>
                    <a:pt x="45" y="201"/>
                    <a:pt x="45" y="201"/>
                    <a:pt x="45" y="201"/>
                  </a:cubicBezTo>
                  <a:cubicBezTo>
                    <a:pt x="45" y="201"/>
                    <a:pt x="45" y="201"/>
                    <a:pt x="46" y="201"/>
                  </a:cubicBezTo>
                  <a:cubicBezTo>
                    <a:pt x="46" y="201"/>
                    <a:pt x="46" y="201"/>
                    <a:pt x="47" y="201"/>
                  </a:cubicBezTo>
                  <a:cubicBezTo>
                    <a:pt x="48" y="201"/>
                    <a:pt x="49" y="202"/>
                    <a:pt x="49" y="204"/>
                  </a:cubicBezTo>
                  <a:cubicBezTo>
                    <a:pt x="50" y="204"/>
                    <a:pt x="50" y="205"/>
                    <a:pt x="50" y="206"/>
                  </a:cubicBezTo>
                  <a:cubicBezTo>
                    <a:pt x="50" y="207"/>
                    <a:pt x="50" y="208"/>
                    <a:pt x="51" y="209"/>
                  </a:cubicBezTo>
                  <a:cubicBezTo>
                    <a:pt x="51" y="210"/>
                    <a:pt x="51" y="210"/>
                    <a:pt x="52" y="211"/>
                  </a:cubicBezTo>
                  <a:cubicBezTo>
                    <a:pt x="52" y="212"/>
                    <a:pt x="52" y="212"/>
                    <a:pt x="52" y="212"/>
                  </a:cubicBezTo>
                  <a:cubicBezTo>
                    <a:pt x="52" y="212"/>
                    <a:pt x="52" y="212"/>
                    <a:pt x="52" y="212"/>
                  </a:cubicBezTo>
                  <a:cubicBezTo>
                    <a:pt x="56" y="220"/>
                    <a:pt x="56" y="220"/>
                    <a:pt x="56" y="220"/>
                  </a:cubicBezTo>
                  <a:cubicBezTo>
                    <a:pt x="57" y="222"/>
                    <a:pt x="57" y="223"/>
                    <a:pt x="57" y="224"/>
                  </a:cubicBezTo>
                  <a:cubicBezTo>
                    <a:pt x="57" y="225"/>
                    <a:pt x="56" y="225"/>
                    <a:pt x="56" y="226"/>
                  </a:cubicBezTo>
                  <a:cubicBezTo>
                    <a:pt x="56" y="226"/>
                    <a:pt x="56" y="226"/>
                    <a:pt x="56" y="226"/>
                  </a:cubicBezTo>
                  <a:cubicBezTo>
                    <a:pt x="56" y="227"/>
                    <a:pt x="56" y="227"/>
                    <a:pt x="56" y="227"/>
                  </a:cubicBezTo>
                  <a:cubicBezTo>
                    <a:pt x="56" y="227"/>
                    <a:pt x="56" y="227"/>
                    <a:pt x="56" y="227"/>
                  </a:cubicBezTo>
                  <a:cubicBezTo>
                    <a:pt x="57" y="228"/>
                    <a:pt x="57" y="228"/>
                    <a:pt x="57" y="228"/>
                  </a:cubicBezTo>
                  <a:cubicBezTo>
                    <a:pt x="57" y="229"/>
                    <a:pt x="57" y="229"/>
                    <a:pt x="57" y="229"/>
                  </a:cubicBezTo>
                  <a:cubicBezTo>
                    <a:pt x="57" y="230"/>
                    <a:pt x="56" y="231"/>
                    <a:pt x="56" y="232"/>
                  </a:cubicBezTo>
                  <a:cubicBezTo>
                    <a:pt x="55" y="232"/>
                    <a:pt x="55" y="232"/>
                    <a:pt x="54" y="233"/>
                  </a:cubicBezTo>
                  <a:cubicBezTo>
                    <a:pt x="54" y="233"/>
                    <a:pt x="53" y="233"/>
                    <a:pt x="53" y="233"/>
                  </a:cubicBezTo>
                  <a:cubicBezTo>
                    <a:pt x="53" y="233"/>
                    <a:pt x="53" y="233"/>
                    <a:pt x="53" y="233"/>
                  </a:cubicBezTo>
                  <a:cubicBezTo>
                    <a:pt x="53" y="233"/>
                    <a:pt x="53" y="233"/>
                    <a:pt x="53" y="233"/>
                  </a:cubicBezTo>
                  <a:cubicBezTo>
                    <a:pt x="52" y="234"/>
                    <a:pt x="52" y="234"/>
                    <a:pt x="52" y="234"/>
                  </a:cubicBezTo>
                  <a:cubicBezTo>
                    <a:pt x="52" y="234"/>
                    <a:pt x="52" y="234"/>
                    <a:pt x="52" y="234"/>
                  </a:cubicBezTo>
                  <a:cubicBezTo>
                    <a:pt x="51" y="235"/>
                    <a:pt x="50" y="235"/>
                    <a:pt x="49" y="235"/>
                  </a:cubicBezTo>
                  <a:cubicBezTo>
                    <a:pt x="49" y="235"/>
                    <a:pt x="49" y="235"/>
                    <a:pt x="48" y="235"/>
                  </a:cubicBezTo>
                  <a:cubicBezTo>
                    <a:pt x="47" y="234"/>
                    <a:pt x="46" y="234"/>
                    <a:pt x="45" y="233"/>
                  </a:cubicBezTo>
                  <a:cubicBezTo>
                    <a:pt x="44" y="233"/>
                    <a:pt x="44" y="233"/>
                    <a:pt x="44" y="232"/>
                  </a:cubicBezTo>
                  <a:cubicBezTo>
                    <a:pt x="44" y="232"/>
                    <a:pt x="44" y="232"/>
                    <a:pt x="44" y="232"/>
                  </a:cubicBezTo>
                  <a:cubicBezTo>
                    <a:pt x="44" y="232"/>
                    <a:pt x="44" y="232"/>
                    <a:pt x="44" y="232"/>
                  </a:cubicBezTo>
                  <a:cubicBezTo>
                    <a:pt x="42" y="232"/>
                    <a:pt x="42" y="232"/>
                    <a:pt x="42" y="232"/>
                  </a:cubicBezTo>
                  <a:cubicBezTo>
                    <a:pt x="41" y="233"/>
                    <a:pt x="39" y="233"/>
                    <a:pt x="38" y="234"/>
                  </a:cubicBezTo>
                  <a:cubicBezTo>
                    <a:pt x="38" y="234"/>
                    <a:pt x="38" y="234"/>
                    <a:pt x="38" y="234"/>
                  </a:cubicBezTo>
                  <a:cubicBezTo>
                    <a:pt x="37" y="235"/>
                    <a:pt x="37" y="235"/>
                    <a:pt x="37" y="235"/>
                  </a:cubicBezTo>
                  <a:cubicBezTo>
                    <a:pt x="36" y="236"/>
                    <a:pt x="36" y="236"/>
                    <a:pt x="36" y="236"/>
                  </a:cubicBezTo>
                  <a:cubicBezTo>
                    <a:pt x="35" y="236"/>
                    <a:pt x="34" y="236"/>
                    <a:pt x="33" y="236"/>
                  </a:cubicBezTo>
                  <a:cubicBezTo>
                    <a:pt x="33" y="236"/>
                    <a:pt x="32" y="236"/>
                    <a:pt x="32" y="236"/>
                  </a:cubicBezTo>
                  <a:cubicBezTo>
                    <a:pt x="31" y="236"/>
                    <a:pt x="30" y="236"/>
                    <a:pt x="29" y="236"/>
                  </a:cubicBezTo>
                  <a:cubicBezTo>
                    <a:pt x="29" y="236"/>
                    <a:pt x="28" y="236"/>
                    <a:pt x="28" y="236"/>
                  </a:cubicBezTo>
                  <a:cubicBezTo>
                    <a:pt x="22" y="235"/>
                    <a:pt x="22" y="235"/>
                    <a:pt x="22" y="235"/>
                  </a:cubicBezTo>
                  <a:cubicBezTo>
                    <a:pt x="19" y="234"/>
                    <a:pt x="16" y="234"/>
                    <a:pt x="13" y="234"/>
                  </a:cubicBezTo>
                  <a:cubicBezTo>
                    <a:pt x="13" y="235"/>
                    <a:pt x="13" y="236"/>
                    <a:pt x="13" y="237"/>
                  </a:cubicBezTo>
                  <a:cubicBezTo>
                    <a:pt x="13" y="237"/>
                    <a:pt x="13" y="237"/>
                    <a:pt x="13" y="237"/>
                  </a:cubicBezTo>
                  <a:cubicBezTo>
                    <a:pt x="13" y="238"/>
                    <a:pt x="13" y="238"/>
                    <a:pt x="12" y="239"/>
                  </a:cubicBezTo>
                  <a:cubicBezTo>
                    <a:pt x="12" y="239"/>
                    <a:pt x="12" y="239"/>
                    <a:pt x="12" y="239"/>
                  </a:cubicBezTo>
                  <a:cubicBezTo>
                    <a:pt x="11" y="240"/>
                    <a:pt x="11" y="240"/>
                    <a:pt x="10" y="240"/>
                  </a:cubicBezTo>
                  <a:cubicBezTo>
                    <a:pt x="10" y="241"/>
                    <a:pt x="9" y="241"/>
                    <a:pt x="8" y="241"/>
                  </a:cubicBezTo>
                  <a:cubicBezTo>
                    <a:pt x="8" y="241"/>
                    <a:pt x="8" y="241"/>
                    <a:pt x="8" y="241"/>
                  </a:cubicBezTo>
                  <a:cubicBezTo>
                    <a:pt x="8" y="241"/>
                    <a:pt x="8" y="241"/>
                    <a:pt x="7" y="241"/>
                  </a:cubicBezTo>
                  <a:cubicBezTo>
                    <a:pt x="7" y="240"/>
                    <a:pt x="7" y="240"/>
                    <a:pt x="7" y="240"/>
                  </a:cubicBezTo>
                  <a:cubicBezTo>
                    <a:pt x="0" y="246"/>
                    <a:pt x="0" y="246"/>
                    <a:pt x="0" y="246"/>
                  </a:cubicBezTo>
                  <a:cubicBezTo>
                    <a:pt x="0" y="246"/>
                    <a:pt x="0" y="246"/>
                    <a:pt x="1" y="246"/>
                  </a:cubicBezTo>
                  <a:cubicBezTo>
                    <a:pt x="2" y="246"/>
                    <a:pt x="2" y="245"/>
                    <a:pt x="3" y="245"/>
                  </a:cubicBezTo>
                  <a:cubicBezTo>
                    <a:pt x="5" y="243"/>
                    <a:pt x="8" y="242"/>
                    <a:pt x="11" y="241"/>
                  </a:cubicBezTo>
                  <a:cubicBezTo>
                    <a:pt x="11" y="240"/>
                    <a:pt x="11" y="240"/>
                    <a:pt x="11" y="240"/>
                  </a:cubicBezTo>
                  <a:cubicBezTo>
                    <a:pt x="11" y="241"/>
                    <a:pt x="11" y="241"/>
                    <a:pt x="11" y="241"/>
                  </a:cubicBezTo>
                  <a:cubicBezTo>
                    <a:pt x="10" y="242"/>
                    <a:pt x="9" y="242"/>
                    <a:pt x="8" y="243"/>
                  </a:cubicBezTo>
                  <a:cubicBezTo>
                    <a:pt x="7" y="244"/>
                    <a:pt x="6" y="245"/>
                    <a:pt x="5" y="245"/>
                  </a:cubicBezTo>
                  <a:cubicBezTo>
                    <a:pt x="5" y="245"/>
                    <a:pt x="5" y="245"/>
                    <a:pt x="5" y="245"/>
                  </a:cubicBezTo>
                  <a:cubicBezTo>
                    <a:pt x="5" y="246"/>
                    <a:pt x="5" y="246"/>
                    <a:pt x="5" y="246"/>
                  </a:cubicBezTo>
                  <a:cubicBezTo>
                    <a:pt x="5" y="246"/>
                    <a:pt x="5" y="246"/>
                    <a:pt x="5" y="247"/>
                  </a:cubicBezTo>
                  <a:cubicBezTo>
                    <a:pt x="6" y="248"/>
                    <a:pt x="6" y="250"/>
                    <a:pt x="7" y="252"/>
                  </a:cubicBezTo>
                  <a:cubicBezTo>
                    <a:pt x="8" y="253"/>
                    <a:pt x="9" y="255"/>
                    <a:pt x="11" y="256"/>
                  </a:cubicBezTo>
                  <a:cubicBezTo>
                    <a:pt x="11" y="256"/>
                    <a:pt x="12" y="257"/>
                    <a:pt x="13" y="257"/>
                  </a:cubicBezTo>
                  <a:cubicBezTo>
                    <a:pt x="13" y="258"/>
                    <a:pt x="14" y="258"/>
                    <a:pt x="15" y="259"/>
                  </a:cubicBezTo>
                  <a:cubicBezTo>
                    <a:pt x="17" y="259"/>
                    <a:pt x="18" y="260"/>
                    <a:pt x="20" y="261"/>
                  </a:cubicBezTo>
                  <a:cubicBezTo>
                    <a:pt x="21" y="261"/>
                    <a:pt x="21" y="261"/>
                    <a:pt x="22" y="262"/>
                  </a:cubicBezTo>
                  <a:cubicBezTo>
                    <a:pt x="23" y="262"/>
                    <a:pt x="24" y="262"/>
                    <a:pt x="26" y="263"/>
                  </a:cubicBezTo>
                  <a:cubicBezTo>
                    <a:pt x="27" y="263"/>
                    <a:pt x="27" y="263"/>
                    <a:pt x="28" y="263"/>
                  </a:cubicBezTo>
                  <a:cubicBezTo>
                    <a:pt x="28" y="263"/>
                    <a:pt x="28" y="263"/>
                    <a:pt x="29" y="263"/>
                  </a:cubicBezTo>
                  <a:cubicBezTo>
                    <a:pt x="30" y="262"/>
                    <a:pt x="31" y="261"/>
                    <a:pt x="33" y="260"/>
                  </a:cubicBezTo>
                  <a:cubicBezTo>
                    <a:pt x="34" y="260"/>
                    <a:pt x="37" y="260"/>
                    <a:pt x="37" y="259"/>
                  </a:cubicBezTo>
                  <a:cubicBezTo>
                    <a:pt x="37" y="259"/>
                    <a:pt x="37" y="259"/>
                    <a:pt x="37" y="259"/>
                  </a:cubicBezTo>
                  <a:cubicBezTo>
                    <a:pt x="38" y="259"/>
                    <a:pt x="39" y="259"/>
                    <a:pt x="41" y="259"/>
                  </a:cubicBezTo>
                  <a:cubicBezTo>
                    <a:pt x="41" y="259"/>
                    <a:pt x="41" y="259"/>
                    <a:pt x="41" y="259"/>
                  </a:cubicBezTo>
                  <a:cubicBezTo>
                    <a:pt x="42" y="259"/>
                    <a:pt x="42" y="256"/>
                    <a:pt x="44" y="255"/>
                  </a:cubicBezTo>
                  <a:cubicBezTo>
                    <a:pt x="43" y="257"/>
                    <a:pt x="41" y="261"/>
                    <a:pt x="40" y="263"/>
                  </a:cubicBezTo>
                  <a:cubicBezTo>
                    <a:pt x="39" y="265"/>
                    <a:pt x="38" y="266"/>
                    <a:pt x="37" y="267"/>
                  </a:cubicBezTo>
                  <a:cubicBezTo>
                    <a:pt x="37" y="267"/>
                    <a:pt x="36" y="267"/>
                    <a:pt x="36" y="268"/>
                  </a:cubicBezTo>
                  <a:cubicBezTo>
                    <a:pt x="33" y="269"/>
                    <a:pt x="29" y="270"/>
                    <a:pt x="26" y="271"/>
                  </a:cubicBezTo>
                  <a:cubicBezTo>
                    <a:pt x="26" y="271"/>
                    <a:pt x="26" y="271"/>
                    <a:pt x="25" y="271"/>
                  </a:cubicBezTo>
                  <a:cubicBezTo>
                    <a:pt x="24" y="271"/>
                    <a:pt x="21" y="272"/>
                    <a:pt x="20" y="272"/>
                  </a:cubicBezTo>
                  <a:cubicBezTo>
                    <a:pt x="18" y="272"/>
                    <a:pt x="18" y="271"/>
                    <a:pt x="19" y="270"/>
                  </a:cubicBezTo>
                  <a:cubicBezTo>
                    <a:pt x="19" y="270"/>
                    <a:pt x="19" y="270"/>
                    <a:pt x="19" y="270"/>
                  </a:cubicBezTo>
                  <a:cubicBezTo>
                    <a:pt x="18" y="269"/>
                    <a:pt x="17" y="269"/>
                    <a:pt x="16" y="269"/>
                  </a:cubicBezTo>
                  <a:cubicBezTo>
                    <a:pt x="14" y="269"/>
                    <a:pt x="14" y="271"/>
                    <a:pt x="15" y="273"/>
                  </a:cubicBezTo>
                  <a:cubicBezTo>
                    <a:pt x="15" y="274"/>
                    <a:pt x="16" y="274"/>
                    <a:pt x="16" y="275"/>
                  </a:cubicBezTo>
                  <a:cubicBezTo>
                    <a:pt x="17" y="276"/>
                    <a:pt x="18" y="277"/>
                    <a:pt x="18" y="278"/>
                  </a:cubicBezTo>
                  <a:cubicBezTo>
                    <a:pt x="19" y="278"/>
                    <a:pt x="20" y="279"/>
                    <a:pt x="21" y="280"/>
                  </a:cubicBezTo>
                  <a:cubicBezTo>
                    <a:pt x="21" y="280"/>
                    <a:pt x="22" y="281"/>
                    <a:pt x="22" y="281"/>
                  </a:cubicBezTo>
                  <a:cubicBezTo>
                    <a:pt x="24" y="282"/>
                    <a:pt x="25" y="283"/>
                    <a:pt x="26" y="285"/>
                  </a:cubicBezTo>
                  <a:cubicBezTo>
                    <a:pt x="27" y="286"/>
                    <a:pt x="29" y="287"/>
                    <a:pt x="30" y="288"/>
                  </a:cubicBezTo>
                  <a:cubicBezTo>
                    <a:pt x="31" y="289"/>
                    <a:pt x="32" y="290"/>
                    <a:pt x="33" y="291"/>
                  </a:cubicBezTo>
                  <a:cubicBezTo>
                    <a:pt x="34" y="292"/>
                    <a:pt x="34" y="292"/>
                    <a:pt x="34" y="292"/>
                  </a:cubicBezTo>
                  <a:cubicBezTo>
                    <a:pt x="35" y="293"/>
                    <a:pt x="36" y="294"/>
                    <a:pt x="37" y="296"/>
                  </a:cubicBezTo>
                  <a:cubicBezTo>
                    <a:pt x="38" y="297"/>
                    <a:pt x="39" y="298"/>
                    <a:pt x="41" y="299"/>
                  </a:cubicBezTo>
                  <a:cubicBezTo>
                    <a:pt x="42" y="301"/>
                    <a:pt x="43" y="301"/>
                    <a:pt x="45" y="302"/>
                  </a:cubicBezTo>
                  <a:cubicBezTo>
                    <a:pt x="46" y="302"/>
                    <a:pt x="46" y="302"/>
                    <a:pt x="46" y="302"/>
                  </a:cubicBezTo>
                  <a:cubicBezTo>
                    <a:pt x="47" y="302"/>
                    <a:pt x="50" y="303"/>
                    <a:pt x="52" y="303"/>
                  </a:cubicBezTo>
                  <a:cubicBezTo>
                    <a:pt x="52" y="303"/>
                    <a:pt x="52" y="303"/>
                    <a:pt x="52" y="303"/>
                  </a:cubicBezTo>
                  <a:cubicBezTo>
                    <a:pt x="53" y="303"/>
                    <a:pt x="53" y="303"/>
                    <a:pt x="53" y="303"/>
                  </a:cubicBezTo>
                  <a:cubicBezTo>
                    <a:pt x="56" y="302"/>
                    <a:pt x="59" y="301"/>
                    <a:pt x="62" y="300"/>
                  </a:cubicBezTo>
                  <a:cubicBezTo>
                    <a:pt x="62" y="299"/>
                    <a:pt x="63" y="299"/>
                    <a:pt x="63" y="299"/>
                  </a:cubicBezTo>
                  <a:cubicBezTo>
                    <a:pt x="67" y="298"/>
                    <a:pt x="72" y="296"/>
                    <a:pt x="74" y="293"/>
                  </a:cubicBezTo>
                  <a:cubicBezTo>
                    <a:pt x="76" y="292"/>
                    <a:pt x="77" y="289"/>
                    <a:pt x="77" y="287"/>
                  </a:cubicBezTo>
                  <a:cubicBezTo>
                    <a:pt x="78" y="285"/>
                    <a:pt x="78" y="285"/>
                    <a:pt x="78" y="285"/>
                  </a:cubicBezTo>
                  <a:cubicBezTo>
                    <a:pt x="77" y="284"/>
                    <a:pt x="77" y="284"/>
                    <a:pt x="77" y="284"/>
                  </a:cubicBezTo>
                  <a:cubicBezTo>
                    <a:pt x="76" y="282"/>
                    <a:pt x="75" y="283"/>
                    <a:pt x="73" y="282"/>
                  </a:cubicBezTo>
                  <a:cubicBezTo>
                    <a:pt x="73" y="281"/>
                    <a:pt x="73" y="281"/>
                    <a:pt x="72" y="281"/>
                  </a:cubicBezTo>
                  <a:cubicBezTo>
                    <a:pt x="73" y="280"/>
                    <a:pt x="73" y="280"/>
                    <a:pt x="74" y="280"/>
                  </a:cubicBezTo>
                  <a:cubicBezTo>
                    <a:pt x="74" y="280"/>
                    <a:pt x="75" y="280"/>
                    <a:pt x="75" y="280"/>
                  </a:cubicBezTo>
                  <a:cubicBezTo>
                    <a:pt x="75" y="280"/>
                    <a:pt x="75" y="280"/>
                    <a:pt x="75" y="280"/>
                  </a:cubicBezTo>
                  <a:cubicBezTo>
                    <a:pt x="75" y="280"/>
                    <a:pt x="75" y="280"/>
                    <a:pt x="75" y="280"/>
                  </a:cubicBezTo>
                  <a:cubicBezTo>
                    <a:pt x="75" y="280"/>
                    <a:pt x="75" y="279"/>
                    <a:pt x="74" y="278"/>
                  </a:cubicBezTo>
                  <a:cubicBezTo>
                    <a:pt x="75" y="277"/>
                    <a:pt x="79" y="276"/>
                    <a:pt x="78" y="274"/>
                  </a:cubicBezTo>
                  <a:cubicBezTo>
                    <a:pt x="78" y="273"/>
                    <a:pt x="76" y="273"/>
                    <a:pt x="75" y="272"/>
                  </a:cubicBezTo>
                  <a:cubicBezTo>
                    <a:pt x="75" y="272"/>
                    <a:pt x="75" y="272"/>
                    <a:pt x="75" y="272"/>
                  </a:cubicBezTo>
                  <a:cubicBezTo>
                    <a:pt x="75" y="272"/>
                    <a:pt x="75" y="272"/>
                    <a:pt x="75" y="272"/>
                  </a:cubicBezTo>
                  <a:cubicBezTo>
                    <a:pt x="76" y="272"/>
                    <a:pt x="76" y="272"/>
                    <a:pt x="77" y="272"/>
                  </a:cubicBezTo>
                  <a:cubicBezTo>
                    <a:pt x="79" y="272"/>
                    <a:pt x="81" y="272"/>
                    <a:pt x="83" y="272"/>
                  </a:cubicBezTo>
                  <a:cubicBezTo>
                    <a:pt x="85" y="272"/>
                    <a:pt x="88" y="272"/>
                    <a:pt x="90" y="273"/>
                  </a:cubicBezTo>
                  <a:cubicBezTo>
                    <a:pt x="90" y="273"/>
                    <a:pt x="90" y="273"/>
                    <a:pt x="90" y="273"/>
                  </a:cubicBezTo>
                  <a:cubicBezTo>
                    <a:pt x="91" y="273"/>
                    <a:pt x="90" y="273"/>
                    <a:pt x="89" y="273"/>
                  </a:cubicBezTo>
                  <a:cubicBezTo>
                    <a:pt x="89" y="273"/>
                    <a:pt x="89" y="273"/>
                    <a:pt x="89" y="273"/>
                  </a:cubicBezTo>
                  <a:cubicBezTo>
                    <a:pt x="88" y="273"/>
                    <a:pt x="88" y="273"/>
                    <a:pt x="88" y="273"/>
                  </a:cubicBezTo>
                  <a:cubicBezTo>
                    <a:pt x="86" y="274"/>
                    <a:pt x="83" y="274"/>
                    <a:pt x="82" y="276"/>
                  </a:cubicBezTo>
                  <a:cubicBezTo>
                    <a:pt x="82" y="277"/>
                    <a:pt x="82" y="279"/>
                    <a:pt x="82" y="280"/>
                  </a:cubicBezTo>
                  <a:cubicBezTo>
                    <a:pt x="82" y="282"/>
                    <a:pt x="82" y="284"/>
                    <a:pt x="83" y="284"/>
                  </a:cubicBezTo>
                  <a:cubicBezTo>
                    <a:pt x="83" y="284"/>
                    <a:pt x="84" y="285"/>
                    <a:pt x="85" y="285"/>
                  </a:cubicBezTo>
                  <a:cubicBezTo>
                    <a:pt x="85" y="285"/>
                    <a:pt x="85" y="285"/>
                    <a:pt x="85" y="285"/>
                  </a:cubicBezTo>
                  <a:cubicBezTo>
                    <a:pt x="88" y="285"/>
                    <a:pt x="92" y="283"/>
                    <a:pt x="94" y="283"/>
                  </a:cubicBezTo>
                  <a:cubicBezTo>
                    <a:pt x="90" y="285"/>
                    <a:pt x="86" y="285"/>
                    <a:pt x="84" y="290"/>
                  </a:cubicBezTo>
                  <a:cubicBezTo>
                    <a:pt x="84" y="289"/>
                    <a:pt x="85" y="289"/>
                    <a:pt x="86" y="288"/>
                  </a:cubicBezTo>
                  <a:cubicBezTo>
                    <a:pt x="83" y="290"/>
                    <a:pt x="83" y="291"/>
                    <a:pt x="84" y="293"/>
                  </a:cubicBezTo>
                  <a:cubicBezTo>
                    <a:pt x="84" y="294"/>
                    <a:pt x="84" y="295"/>
                    <a:pt x="84" y="296"/>
                  </a:cubicBezTo>
                  <a:cubicBezTo>
                    <a:pt x="84" y="296"/>
                    <a:pt x="84" y="296"/>
                    <a:pt x="84" y="296"/>
                  </a:cubicBezTo>
                  <a:cubicBezTo>
                    <a:pt x="85" y="296"/>
                    <a:pt x="85" y="295"/>
                    <a:pt x="85" y="295"/>
                  </a:cubicBezTo>
                  <a:cubicBezTo>
                    <a:pt x="86" y="296"/>
                    <a:pt x="86" y="296"/>
                    <a:pt x="86" y="296"/>
                  </a:cubicBezTo>
                  <a:cubicBezTo>
                    <a:pt x="86" y="296"/>
                    <a:pt x="86" y="296"/>
                    <a:pt x="86" y="296"/>
                  </a:cubicBezTo>
                  <a:cubicBezTo>
                    <a:pt x="87" y="296"/>
                    <a:pt x="87" y="297"/>
                    <a:pt x="88" y="297"/>
                  </a:cubicBezTo>
                  <a:cubicBezTo>
                    <a:pt x="88" y="298"/>
                    <a:pt x="89" y="298"/>
                    <a:pt x="89" y="299"/>
                  </a:cubicBezTo>
                  <a:cubicBezTo>
                    <a:pt x="89" y="300"/>
                    <a:pt x="89" y="302"/>
                    <a:pt x="89" y="303"/>
                  </a:cubicBezTo>
                  <a:cubicBezTo>
                    <a:pt x="89" y="305"/>
                    <a:pt x="88" y="306"/>
                    <a:pt x="88" y="308"/>
                  </a:cubicBezTo>
                  <a:cubicBezTo>
                    <a:pt x="88" y="310"/>
                    <a:pt x="87" y="311"/>
                    <a:pt x="87" y="313"/>
                  </a:cubicBezTo>
                  <a:cubicBezTo>
                    <a:pt x="87" y="313"/>
                    <a:pt x="86" y="314"/>
                    <a:pt x="86" y="314"/>
                  </a:cubicBezTo>
                  <a:cubicBezTo>
                    <a:pt x="86" y="316"/>
                    <a:pt x="86" y="318"/>
                    <a:pt x="85" y="320"/>
                  </a:cubicBezTo>
                  <a:cubicBezTo>
                    <a:pt x="85" y="320"/>
                    <a:pt x="85" y="321"/>
                    <a:pt x="85" y="322"/>
                  </a:cubicBezTo>
                  <a:cubicBezTo>
                    <a:pt x="85" y="322"/>
                    <a:pt x="85" y="323"/>
                    <a:pt x="86" y="324"/>
                  </a:cubicBezTo>
                  <a:cubicBezTo>
                    <a:pt x="86" y="326"/>
                    <a:pt x="86" y="327"/>
                    <a:pt x="87" y="327"/>
                  </a:cubicBezTo>
                  <a:cubicBezTo>
                    <a:pt x="88" y="327"/>
                    <a:pt x="88" y="327"/>
                    <a:pt x="89" y="327"/>
                  </a:cubicBezTo>
                  <a:cubicBezTo>
                    <a:pt x="87" y="328"/>
                    <a:pt x="85" y="330"/>
                    <a:pt x="88" y="331"/>
                  </a:cubicBezTo>
                  <a:cubicBezTo>
                    <a:pt x="87" y="331"/>
                    <a:pt x="87" y="332"/>
                    <a:pt x="87" y="333"/>
                  </a:cubicBezTo>
                  <a:cubicBezTo>
                    <a:pt x="88" y="333"/>
                    <a:pt x="88" y="333"/>
                    <a:pt x="88" y="333"/>
                  </a:cubicBezTo>
                  <a:cubicBezTo>
                    <a:pt x="89" y="333"/>
                    <a:pt x="89" y="333"/>
                    <a:pt x="89" y="333"/>
                  </a:cubicBezTo>
                  <a:cubicBezTo>
                    <a:pt x="91" y="333"/>
                    <a:pt x="92" y="334"/>
                    <a:pt x="93" y="336"/>
                  </a:cubicBezTo>
                  <a:cubicBezTo>
                    <a:pt x="93" y="337"/>
                    <a:pt x="93" y="337"/>
                    <a:pt x="93" y="338"/>
                  </a:cubicBezTo>
                  <a:cubicBezTo>
                    <a:pt x="93" y="340"/>
                    <a:pt x="91" y="343"/>
                    <a:pt x="89" y="343"/>
                  </a:cubicBezTo>
                  <a:cubicBezTo>
                    <a:pt x="89" y="344"/>
                    <a:pt x="90" y="345"/>
                    <a:pt x="90" y="346"/>
                  </a:cubicBezTo>
                  <a:cubicBezTo>
                    <a:pt x="91" y="346"/>
                    <a:pt x="91" y="347"/>
                    <a:pt x="91" y="348"/>
                  </a:cubicBezTo>
                  <a:cubicBezTo>
                    <a:pt x="91" y="347"/>
                    <a:pt x="90" y="347"/>
                    <a:pt x="90" y="347"/>
                  </a:cubicBezTo>
                  <a:cubicBezTo>
                    <a:pt x="90" y="347"/>
                    <a:pt x="90" y="347"/>
                    <a:pt x="89" y="347"/>
                  </a:cubicBezTo>
                  <a:cubicBezTo>
                    <a:pt x="89" y="348"/>
                    <a:pt x="91" y="350"/>
                    <a:pt x="92" y="351"/>
                  </a:cubicBezTo>
                  <a:cubicBezTo>
                    <a:pt x="92" y="351"/>
                    <a:pt x="92" y="351"/>
                    <a:pt x="92" y="352"/>
                  </a:cubicBezTo>
                  <a:cubicBezTo>
                    <a:pt x="92" y="352"/>
                    <a:pt x="92" y="352"/>
                    <a:pt x="92" y="352"/>
                  </a:cubicBezTo>
                  <a:cubicBezTo>
                    <a:pt x="92" y="352"/>
                    <a:pt x="92" y="352"/>
                    <a:pt x="91" y="352"/>
                  </a:cubicBezTo>
                  <a:cubicBezTo>
                    <a:pt x="91" y="352"/>
                    <a:pt x="91" y="352"/>
                    <a:pt x="90" y="352"/>
                  </a:cubicBezTo>
                  <a:cubicBezTo>
                    <a:pt x="90" y="352"/>
                    <a:pt x="90" y="353"/>
                    <a:pt x="91" y="353"/>
                  </a:cubicBezTo>
                  <a:cubicBezTo>
                    <a:pt x="91" y="355"/>
                    <a:pt x="91" y="357"/>
                    <a:pt x="92" y="359"/>
                  </a:cubicBezTo>
                  <a:cubicBezTo>
                    <a:pt x="92" y="361"/>
                    <a:pt x="93" y="363"/>
                    <a:pt x="93" y="365"/>
                  </a:cubicBezTo>
                  <a:cubicBezTo>
                    <a:pt x="93" y="365"/>
                    <a:pt x="93" y="365"/>
                    <a:pt x="93" y="365"/>
                  </a:cubicBezTo>
                  <a:cubicBezTo>
                    <a:pt x="94" y="367"/>
                    <a:pt x="94" y="369"/>
                    <a:pt x="95" y="371"/>
                  </a:cubicBezTo>
                  <a:cubicBezTo>
                    <a:pt x="95" y="373"/>
                    <a:pt x="96" y="375"/>
                    <a:pt x="96" y="377"/>
                  </a:cubicBezTo>
                  <a:cubicBezTo>
                    <a:pt x="96" y="379"/>
                    <a:pt x="97" y="381"/>
                    <a:pt x="97" y="383"/>
                  </a:cubicBezTo>
                  <a:cubicBezTo>
                    <a:pt x="97" y="383"/>
                    <a:pt x="97" y="383"/>
                    <a:pt x="97" y="383"/>
                  </a:cubicBezTo>
                  <a:cubicBezTo>
                    <a:pt x="98" y="385"/>
                    <a:pt x="98" y="387"/>
                    <a:pt x="98" y="390"/>
                  </a:cubicBezTo>
                  <a:cubicBezTo>
                    <a:pt x="99" y="392"/>
                    <a:pt x="99" y="394"/>
                    <a:pt x="100" y="395"/>
                  </a:cubicBezTo>
                  <a:cubicBezTo>
                    <a:pt x="100" y="396"/>
                    <a:pt x="100" y="396"/>
                    <a:pt x="100" y="396"/>
                  </a:cubicBezTo>
                  <a:cubicBezTo>
                    <a:pt x="101" y="397"/>
                    <a:pt x="102" y="398"/>
                    <a:pt x="103" y="400"/>
                  </a:cubicBezTo>
                  <a:cubicBezTo>
                    <a:pt x="104" y="400"/>
                    <a:pt x="104" y="401"/>
                    <a:pt x="105" y="402"/>
                  </a:cubicBezTo>
                  <a:cubicBezTo>
                    <a:pt x="105" y="403"/>
                    <a:pt x="106" y="403"/>
                    <a:pt x="106" y="404"/>
                  </a:cubicBezTo>
                  <a:cubicBezTo>
                    <a:pt x="107" y="405"/>
                    <a:pt x="108" y="407"/>
                    <a:pt x="109" y="408"/>
                  </a:cubicBezTo>
                  <a:cubicBezTo>
                    <a:pt x="110" y="409"/>
                    <a:pt x="110" y="409"/>
                    <a:pt x="110" y="409"/>
                  </a:cubicBezTo>
                  <a:cubicBezTo>
                    <a:pt x="109" y="408"/>
                    <a:pt x="109" y="408"/>
                    <a:pt x="109" y="408"/>
                  </a:cubicBezTo>
                  <a:cubicBezTo>
                    <a:pt x="108" y="408"/>
                    <a:pt x="107" y="408"/>
                    <a:pt x="107" y="408"/>
                  </a:cubicBezTo>
                  <a:cubicBezTo>
                    <a:pt x="107" y="409"/>
                    <a:pt x="107" y="409"/>
                    <a:pt x="108" y="410"/>
                  </a:cubicBezTo>
                  <a:cubicBezTo>
                    <a:pt x="108" y="412"/>
                    <a:pt x="109" y="413"/>
                    <a:pt x="110" y="415"/>
                  </a:cubicBezTo>
                  <a:cubicBezTo>
                    <a:pt x="110" y="415"/>
                    <a:pt x="110" y="415"/>
                    <a:pt x="110" y="415"/>
                  </a:cubicBezTo>
                  <a:cubicBezTo>
                    <a:pt x="111" y="416"/>
                    <a:pt x="112" y="418"/>
                    <a:pt x="113" y="418"/>
                  </a:cubicBezTo>
                  <a:cubicBezTo>
                    <a:pt x="113" y="418"/>
                    <a:pt x="113" y="418"/>
                    <a:pt x="113" y="418"/>
                  </a:cubicBezTo>
                  <a:cubicBezTo>
                    <a:pt x="113" y="418"/>
                    <a:pt x="113" y="418"/>
                    <a:pt x="113" y="418"/>
                  </a:cubicBezTo>
                  <a:cubicBezTo>
                    <a:pt x="114" y="418"/>
                    <a:pt x="114" y="418"/>
                    <a:pt x="114" y="418"/>
                  </a:cubicBezTo>
                  <a:cubicBezTo>
                    <a:pt x="115" y="418"/>
                    <a:pt x="115" y="418"/>
                    <a:pt x="115" y="418"/>
                  </a:cubicBezTo>
                  <a:cubicBezTo>
                    <a:pt x="114" y="418"/>
                    <a:pt x="114" y="418"/>
                    <a:pt x="114" y="419"/>
                  </a:cubicBezTo>
                  <a:cubicBezTo>
                    <a:pt x="113" y="419"/>
                    <a:pt x="113" y="419"/>
                    <a:pt x="112" y="420"/>
                  </a:cubicBezTo>
                  <a:cubicBezTo>
                    <a:pt x="113" y="420"/>
                    <a:pt x="113" y="420"/>
                    <a:pt x="113" y="420"/>
                  </a:cubicBezTo>
                  <a:cubicBezTo>
                    <a:pt x="114" y="421"/>
                    <a:pt x="115" y="422"/>
                    <a:pt x="117" y="423"/>
                  </a:cubicBezTo>
                  <a:cubicBezTo>
                    <a:pt x="117" y="424"/>
                    <a:pt x="117" y="424"/>
                    <a:pt x="118" y="425"/>
                  </a:cubicBezTo>
                  <a:cubicBezTo>
                    <a:pt x="118" y="426"/>
                    <a:pt x="119" y="427"/>
                    <a:pt x="119" y="428"/>
                  </a:cubicBezTo>
                  <a:cubicBezTo>
                    <a:pt x="119" y="430"/>
                    <a:pt x="120" y="432"/>
                    <a:pt x="120" y="434"/>
                  </a:cubicBezTo>
                  <a:cubicBezTo>
                    <a:pt x="120" y="435"/>
                    <a:pt x="121" y="436"/>
                    <a:pt x="121" y="436"/>
                  </a:cubicBezTo>
                  <a:cubicBezTo>
                    <a:pt x="121" y="438"/>
                    <a:pt x="122" y="439"/>
                    <a:pt x="122" y="440"/>
                  </a:cubicBezTo>
                  <a:cubicBezTo>
                    <a:pt x="123" y="442"/>
                    <a:pt x="124" y="443"/>
                    <a:pt x="124" y="445"/>
                  </a:cubicBezTo>
                  <a:cubicBezTo>
                    <a:pt x="125" y="447"/>
                    <a:pt x="125" y="449"/>
                    <a:pt x="126" y="451"/>
                  </a:cubicBezTo>
                  <a:cubicBezTo>
                    <a:pt x="126" y="452"/>
                    <a:pt x="127" y="453"/>
                    <a:pt x="127" y="454"/>
                  </a:cubicBezTo>
                  <a:cubicBezTo>
                    <a:pt x="127" y="455"/>
                    <a:pt x="127" y="456"/>
                    <a:pt x="127" y="457"/>
                  </a:cubicBezTo>
                  <a:cubicBezTo>
                    <a:pt x="127" y="458"/>
                    <a:pt x="127" y="459"/>
                    <a:pt x="127" y="459"/>
                  </a:cubicBezTo>
                  <a:cubicBezTo>
                    <a:pt x="127" y="461"/>
                    <a:pt x="128" y="462"/>
                    <a:pt x="129" y="463"/>
                  </a:cubicBezTo>
                  <a:cubicBezTo>
                    <a:pt x="129" y="464"/>
                    <a:pt x="130" y="466"/>
                    <a:pt x="130" y="467"/>
                  </a:cubicBezTo>
                  <a:cubicBezTo>
                    <a:pt x="131" y="467"/>
                    <a:pt x="131" y="467"/>
                    <a:pt x="131" y="468"/>
                  </a:cubicBezTo>
                  <a:cubicBezTo>
                    <a:pt x="132" y="469"/>
                    <a:pt x="133" y="471"/>
                    <a:pt x="134" y="472"/>
                  </a:cubicBezTo>
                  <a:cubicBezTo>
                    <a:pt x="135" y="474"/>
                    <a:pt x="136" y="475"/>
                    <a:pt x="137" y="477"/>
                  </a:cubicBezTo>
                  <a:cubicBezTo>
                    <a:pt x="138" y="478"/>
                    <a:pt x="139" y="479"/>
                    <a:pt x="140" y="481"/>
                  </a:cubicBezTo>
                  <a:cubicBezTo>
                    <a:pt x="140" y="481"/>
                    <a:pt x="140" y="481"/>
                    <a:pt x="140" y="481"/>
                  </a:cubicBezTo>
                  <a:cubicBezTo>
                    <a:pt x="141" y="482"/>
                    <a:pt x="142" y="484"/>
                    <a:pt x="143" y="486"/>
                  </a:cubicBezTo>
                  <a:cubicBezTo>
                    <a:pt x="144" y="487"/>
                    <a:pt x="144" y="489"/>
                    <a:pt x="145" y="491"/>
                  </a:cubicBezTo>
                  <a:cubicBezTo>
                    <a:pt x="145" y="492"/>
                    <a:pt x="146" y="493"/>
                    <a:pt x="146" y="494"/>
                  </a:cubicBezTo>
                  <a:cubicBezTo>
                    <a:pt x="146" y="495"/>
                    <a:pt x="147" y="496"/>
                    <a:pt x="147" y="496"/>
                  </a:cubicBezTo>
                  <a:cubicBezTo>
                    <a:pt x="147" y="498"/>
                    <a:pt x="148" y="500"/>
                    <a:pt x="149" y="502"/>
                  </a:cubicBezTo>
                  <a:cubicBezTo>
                    <a:pt x="150" y="503"/>
                    <a:pt x="150" y="505"/>
                    <a:pt x="151" y="507"/>
                  </a:cubicBezTo>
                  <a:cubicBezTo>
                    <a:pt x="151" y="507"/>
                    <a:pt x="152" y="508"/>
                    <a:pt x="152" y="508"/>
                  </a:cubicBezTo>
                  <a:cubicBezTo>
                    <a:pt x="152" y="509"/>
                    <a:pt x="153" y="510"/>
                    <a:pt x="154" y="512"/>
                  </a:cubicBezTo>
                  <a:cubicBezTo>
                    <a:pt x="155" y="513"/>
                    <a:pt x="156" y="515"/>
                    <a:pt x="156" y="517"/>
                  </a:cubicBezTo>
                  <a:cubicBezTo>
                    <a:pt x="157" y="519"/>
                    <a:pt x="158" y="522"/>
                    <a:pt x="156" y="522"/>
                  </a:cubicBezTo>
                  <a:cubicBezTo>
                    <a:pt x="156" y="521"/>
                    <a:pt x="155" y="519"/>
                    <a:pt x="155" y="518"/>
                  </a:cubicBezTo>
                  <a:cubicBezTo>
                    <a:pt x="154" y="517"/>
                    <a:pt x="154" y="516"/>
                    <a:pt x="154" y="515"/>
                  </a:cubicBezTo>
                  <a:cubicBezTo>
                    <a:pt x="154" y="516"/>
                    <a:pt x="154" y="517"/>
                    <a:pt x="154" y="518"/>
                  </a:cubicBezTo>
                  <a:cubicBezTo>
                    <a:pt x="155" y="520"/>
                    <a:pt x="155" y="522"/>
                    <a:pt x="156" y="524"/>
                  </a:cubicBezTo>
                  <a:cubicBezTo>
                    <a:pt x="156" y="525"/>
                    <a:pt x="156" y="526"/>
                    <a:pt x="157" y="526"/>
                  </a:cubicBezTo>
                  <a:cubicBezTo>
                    <a:pt x="157" y="527"/>
                    <a:pt x="158" y="528"/>
                    <a:pt x="159" y="529"/>
                  </a:cubicBezTo>
                  <a:cubicBezTo>
                    <a:pt x="159" y="529"/>
                    <a:pt x="159" y="530"/>
                    <a:pt x="160" y="530"/>
                  </a:cubicBezTo>
                  <a:cubicBezTo>
                    <a:pt x="160" y="531"/>
                    <a:pt x="162" y="531"/>
                    <a:pt x="161" y="532"/>
                  </a:cubicBezTo>
                  <a:cubicBezTo>
                    <a:pt x="160" y="534"/>
                    <a:pt x="160" y="534"/>
                    <a:pt x="160" y="534"/>
                  </a:cubicBezTo>
                  <a:cubicBezTo>
                    <a:pt x="161" y="534"/>
                    <a:pt x="161" y="534"/>
                    <a:pt x="161" y="534"/>
                  </a:cubicBezTo>
                  <a:cubicBezTo>
                    <a:pt x="162" y="536"/>
                    <a:pt x="163" y="537"/>
                    <a:pt x="164" y="538"/>
                  </a:cubicBezTo>
                  <a:cubicBezTo>
                    <a:pt x="165" y="540"/>
                    <a:pt x="166" y="541"/>
                    <a:pt x="167" y="542"/>
                  </a:cubicBezTo>
                  <a:cubicBezTo>
                    <a:pt x="168" y="543"/>
                    <a:pt x="168" y="544"/>
                    <a:pt x="169" y="545"/>
                  </a:cubicBezTo>
                  <a:cubicBezTo>
                    <a:pt x="169" y="545"/>
                    <a:pt x="170" y="546"/>
                    <a:pt x="171" y="546"/>
                  </a:cubicBezTo>
                  <a:cubicBezTo>
                    <a:pt x="172" y="547"/>
                    <a:pt x="174" y="548"/>
                    <a:pt x="176" y="549"/>
                  </a:cubicBezTo>
                  <a:cubicBezTo>
                    <a:pt x="177" y="549"/>
                    <a:pt x="177" y="549"/>
                    <a:pt x="178" y="550"/>
                  </a:cubicBezTo>
                  <a:cubicBezTo>
                    <a:pt x="179" y="547"/>
                    <a:pt x="183" y="546"/>
                    <a:pt x="185" y="545"/>
                  </a:cubicBezTo>
                  <a:cubicBezTo>
                    <a:pt x="187" y="543"/>
                    <a:pt x="189" y="543"/>
                    <a:pt x="189" y="540"/>
                  </a:cubicBezTo>
                  <a:cubicBezTo>
                    <a:pt x="190" y="538"/>
                    <a:pt x="190" y="536"/>
                    <a:pt x="191" y="534"/>
                  </a:cubicBezTo>
                  <a:cubicBezTo>
                    <a:pt x="191" y="532"/>
                    <a:pt x="192" y="531"/>
                    <a:pt x="195" y="530"/>
                  </a:cubicBezTo>
                  <a:cubicBezTo>
                    <a:pt x="195" y="530"/>
                    <a:pt x="195" y="530"/>
                    <a:pt x="195" y="530"/>
                  </a:cubicBezTo>
                  <a:cubicBezTo>
                    <a:pt x="197" y="529"/>
                    <a:pt x="200" y="528"/>
                    <a:pt x="203" y="527"/>
                  </a:cubicBezTo>
                  <a:cubicBezTo>
                    <a:pt x="203" y="527"/>
                    <a:pt x="203" y="527"/>
                    <a:pt x="204" y="527"/>
                  </a:cubicBezTo>
                  <a:cubicBezTo>
                    <a:pt x="204" y="527"/>
                    <a:pt x="204" y="527"/>
                    <a:pt x="205" y="527"/>
                  </a:cubicBezTo>
                  <a:cubicBezTo>
                    <a:pt x="207" y="527"/>
                    <a:pt x="209" y="528"/>
                    <a:pt x="211" y="528"/>
                  </a:cubicBezTo>
                  <a:cubicBezTo>
                    <a:pt x="212" y="528"/>
                    <a:pt x="213" y="529"/>
                    <a:pt x="214" y="529"/>
                  </a:cubicBezTo>
                  <a:cubicBezTo>
                    <a:pt x="213" y="528"/>
                    <a:pt x="213" y="527"/>
                    <a:pt x="212" y="527"/>
                  </a:cubicBezTo>
                  <a:cubicBezTo>
                    <a:pt x="212" y="527"/>
                    <a:pt x="211" y="526"/>
                    <a:pt x="210" y="526"/>
                  </a:cubicBezTo>
                  <a:cubicBezTo>
                    <a:pt x="210" y="526"/>
                    <a:pt x="209" y="526"/>
                    <a:pt x="209" y="526"/>
                  </a:cubicBezTo>
                  <a:cubicBezTo>
                    <a:pt x="209" y="526"/>
                    <a:pt x="209" y="526"/>
                    <a:pt x="209" y="526"/>
                  </a:cubicBezTo>
                  <a:cubicBezTo>
                    <a:pt x="209" y="526"/>
                    <a:pt x="209" y="526"/>
                    <a:pt x="209" y="526"/>
                  </a:cubicBezTo>
                  <a:cubicBezTo>
                    <a:pt x="208" y="526"/>
                    <a:pt x="208" y="526"/>
                    <a:pt x="207" y="526"/>
                  </a:cubicBezTo>
                  <a:cubicBezTo>
                    <a:pt x="206" y="526"/>
                    <a:pt x="206" y="526"/>
                    <a:pt x="206" y="526"/>
                  </a:cubicBezTo>
                  <a:cubicBezTo>
                    <a:pt x="205" y="525"/>
                    <a:pt x="204" y="524"/>
                    <a:pt x="205" y="522"/>
                  </a:cubicBezTo>
                  <a:cubicBezTo>
                    <a:pt x="205" y="521"/>
                    <a:pt x="206" y="519"/>
                    <a:pt x="207" y="518"/>
                  </a:cubicBezTo>
                  <a:cubicBezTo>
                    <a:pt x="207" y="517"/>
                    <a:pt x="208" y="516"/>
                    <a:pt x="209" y="515"/>
                  </a:cubicBezTo>
                  <a:cubicBezTo>
                    <a:pt x="209" y="514"/>
                    <a:pt x="210" y="509"/>
                    <a:pt x="211" y="509"/>
                  </a:cubicBezTo>
                  <a:cubicBezTo>
                    <a:pt x="212" y="508"/>
                    <a:pt x="215" y="506"/>
                    <a:pt x="217" y="506"/>
                  </a:cubicBezTo>
                  <a:cubicBezTo>
                    <a:pt x="217" y="506"/>
                    <a:pt x="217" y="506"/>
                    <a:pt x="217" y="506"/>
                  </a:cubicBezTo>
                  <a:cubicBezTo>
                    <a:pt x="217" y="506"/>
                    <a:pt x="217" y="506"/>
                    <a:pt x="218" y="507"/>
                  </a:cubicBezTo>
                  <a:cubicBezTo>
                    <a:pt x="218" y="507"/>
                    <a:pt x="218" y="507"/>
                    <a:pt x="218" y="507"/>
                  </a:cubicBezTo>
                  <a:cubicBezTo>
                    <a:pt x="218" y="507"/>
                    <a:pt x="218" y="507"/>
                    <a:pt x="218" y="507"/>
                  </a:cubicBezTo>
                  <a:cubicBezTo>
                    <a:pt x="218" y="507"/>
                    <a:pt x="219" y="507"/>
                    <a:pt x="220" y="507"/>
                  </a:cubicBezTo>
                  <a:cubicBezTo>
                    <a:pt x="220" y="507"/>
                    <a:pt x="221" y="507"/>
                    <a:pt x="221" y="507"/>
                  </a:cubicBezTo>
                  <a:cubicBezTo>
                    <a:pt x="222" y="507"/>
                    <a:pt x="222" y="507"/>
                    <a:pt x="222" y="507"/>
                  </a:cubicBezTo>
                  <a:cubicBezTo>
                    <a:pt x="222" y="505"/>
                    <a:pt x="222" y="504"/>
                    <a:pt x="222" y="502"/>
                  </a:cubicBezTo>
                  <a:cubicBezTo>
                    <a:pt x="222" y="500"/>
                    <a:pt x="222" y="497"/>
                    <a:pt x="222" y="495"/>
                  </a:cubicBezTo>
                  <a:cubicBezTo>
                    <a:pt x="222" y="493"/>
                    <a:pt x="221" y="491"/>
                    <a:pt x="220" y="490"/>
                  </a:cubicBezTo>
                  <a:cubicBezTo>
                    <a:pt x="220" y="489"/>
                    <a:pt x="219" y="488"/>
                    <a:pt x="219" y="488"/>
                  </a:cubicBezTo>
                  <a:cubicBezTo>
                    <a:pt x="222" y="486"/>
                    <a:pt x="221" y="486"/>
                    <a:pt x="220" y="483"/>
                  </a:cubicBezTo>
                  <a:cubicBezTo>
                    <a:pt x="220" y="483"/>
                    <a:pt x="220" y="482"/>
                    <a:pt x="220" y="482"/>
                  </a:cubicBezTo>
                  <a:cubicBezTo>
                    <a:pt x="220" y="480"/>
                    <a:pt x="221" y="478"/>
                    <a:pt x="222" y="476"/>
                  </a:cubicBezTo>
                  <a:cubicBezTo>
                    <a:pt x="222" y="475"/>
                    <a:pt x="222" y="474"/>
                    <a:pt x="223" y="474"/>
                  </a:cubicBezTo>
                  <a:cubicBezTo>
                    <a:pt x="223" y="473"/>
                    <a:pt x="223" y="472"/>
                    <a:pt x="224" y="471"/>
                  </a:cubicBezTo>
                  <a:cubicBezTo>
                    <a:pt x="225" y="468"/>
                    <a:pt x="227" y="465"/>
                    <a:pt x="229" y="462"/>
                  </a:cubicBezTo>
                  <a:cubicBezTo>
                    <a:pt x="229" y="460"/>
                    <a:pt x="230" y="459"/>
                    <a:pt x="230" y="458"/>
                  </a:cubicBezTo>
                  <a:cubicBezTo>
                    <a:pt x="230" y="457"/>
                    <a:pt x="230" y="456"/>
                    <a:pt x="230" y="454"/>
                  </a:cubicBezTo>
                  <a:cubicBezTo>
                    <a:pt x="230" y="453"/>
                    <a:pt x="230" y="452"/>
                    <a:pt x="230" y="450"/>
                  </a:cubicBezTo>
                  <a:cubicBezTo>
                    <a:pt x="230" y="448"/>
                    <a:pt x="230" y="446"/>
                    <a:pt x="229" y="445"/>
                  </a:cubicBezTo>
                  <a:cubicBezTo>
                    <a:pt x="228" y="445"/>
                    <a:pt x="228" y="445"/>
                    <a:pt x="228" y="445"/>
                  </a:cubicBezTo>
                  <a:cubicBezTo>
                    <a:pt x="226" y="444"/>
                    <a:pt x="225" y="442"/>
                    <a:pt x="228" y="441"/>
                  </a:cubicBezTo>
                  <a:cubicBezTo>
                    <a:pt x="228" y="442"/>
                    <a:pt x="229" y="442"/>
                    <a:pt x="229" y="443"/>
                  </a:cubicBezTo>
                  <a:cubicBezTo>
                    <a:pt x="230" y="444"/>
                    <a:pt x="230" y="444"/>
                    <a:pt x="230" y="445"/>
                  </a:cubicBezTo>
                  <a:cubicBezTo>
                    <a:pt x="230" y="444"/>
                    <a:pt x="230" y="444"/>
                    <a:pt x="230" y="443"/>
                  </a:cubicBezTo>
                  <a:cubicBezTo>
                    <a:pt x="229" y="441"/>
                    <a:pt x="229" y="439"/>
                    <a:pt x="228" y="437"/>
                  </a:cubicBezTo>
                  <a:cubicBezTo>
                    <a:pt x="227" y="436"/>
                    <a:pt x="227" y="435"/>
                    <a:pt x="226" y="434"/>
                  </a:cubicBezTo>
                  <a:cubicBezTo>
                    <a:pt x="226" y="433"/>
                    <a:pt x="226" y="432"/>
                    <a:pt x="226" y="432"/>
                  </a:cubicBezTo>
                  <a:cubicBezTo>
                    <a:pt x="226" y="431"/>
                    <a:pt x="226" y="431"/>
                    <a:pt x="226" y="431"/>
                  </a:cubicBezTo>
                  <a:cubicBezTo>
                    <a:pt x="226" y="429"/>
                    <a:pt x="226" y="427"/>
                    <a:pt x="226" y="425"/>
                  </a:cubicBezTo>
                  <a:cubicBezTo>
                    <a:pt x="226" y="422"/>
                    <a:pt x="226" y="420"/>
                    <a:pt x="226" y="417"/>
                  </a:cubicBezTo>
                  <a:cubicBezTo>
                    <a:pt x="226" y="415"/>
                    <a:pt x="226" y="412"/>
                    <a:pt x="227" y="410"/>
                  </a:cubicBezTo>
                  <a:cubicBezTo>
                    <a:pt x="227" y="410"/>
                    <a:pt x="228" y="409"/>
                    <a:pt x="228" y="408"/>
                  </a:cubicBezTo>
                  <a:cubicBezTo>
                    <a:pt x="228" y="406"/>
                    <a:pt x="229" y="404"/>
                    <a:pt x="230" y="402"/>
                  </a:cubicBezTo>
                  <a:cubicBezTo>
                    <a:pt x="231" y="402"/>
                    <a:pt x="231" y="401"/>
                    <a:pt x="232" y="401"/>
                  </a:cubicBezTo>
                  <a:cubicBezTo>
                    <a:pt x="233" y="400"/>
                    <a:pt x="236" y="399"/>
                    <a:pt x="237" y="399"/>
                  </a:cubicBezTo>
                  <a:cubicBezTo>
                    <a:pt x="237" y="399"/>
                    <a:pt x="237" y="399"/>
                    <a:pt x="237" y="399"/>
                  </a:cubicBezTo>
                  <a:cubicBezTo>
                    <a:pt x="239" y="399"/>
                    <a:pt x="240" y="399"/>
                    <a:pt x="240" y="402"/>
                  </a:cubicBezTo>
                  <a:cubicBezTo>
                    <a:pt x="241" y="399"/>
                    <a:pt x="242" y="398"/>
                    <a:pt x="242" y="396"/>
                  </a:cubicBezTo>
                  <a:cubicBezTo>
                    <a:pt x="242" y="397"/>
                    <a:pt x="243" y="398"/>
                    <a:pt x="244" y="399"/>
                  </a:cubicBezTo>
                  <a:cubicBezTo>
                    <a:pt x="244" y="400"/>
                    <a:pt x="244" y="400"/>
                    <a:pt x="244" y="400"/>
                  </a:cubicBezTo>
                  <a:cubicBezTo>
                    <a:pt x="243" y="399"/>
                    <a:pt x="245" y="398"/>
                    <a:pt x="246" y="397"/>
                  </a:cubicBezTo>
                  <a:cubicBezTo>
                    <a:pt x="246" y="397"/>
                    <a:pt x="246" y="397"/>
                    <a:pt x="246" y="397"/>
                  </a:cubicBezTo>
                  <a:cubicBezTo>
                    <a:pt x="247" y="396"/>
                    <a:pt x="247" y="395"/>
                    <a:pt x="247" y="394"/>
                  </a:cubicBezTo>
                  <a:cubicBezTo>
                    <a:pt x="248" y="391"/>
                    <a:pt x="250" y="389"/>
                    <a:pt x="252" y="389"/>
                  </a:cubicBezTo>
                  <a:cubicBezTo>
                    <a:pt x="252" y="389"/>
                    <a:pt x="252" y="389"/>
                    <a:pt x="252" y="389"/>
                  </a:cubicBezTo>
                  <a:cubicBezTo>
                    <a:pt x="253" y="389"/>
                    <a:pt x="253" y="389"/>
                    <a:pt x="254" y="389"/>
                  </a:cubicBezTo>
                  <a:cubicBezTo>
                    <a:pt x="255" y="389"/>
                    <a:pt x="255" y="390"/>
                    <a:pt x="256" y="390"/>
                  </a:cubicBezTo>
                  <a:cubicBezTo>
                    <a:pt x="257" y="390"/>
                    <a:pt x="257" y="390"/>
                    <a:pt x="257" y="390"/>
                  </a:cubicBezTo>
                  <a:cubicBezTo>
                    <a:pt x="259" y="389"/>
                    <a:pt x="261" y="389"/>
                    <a:pt x="263" y="388"/>
                  </a:cubicBezTo>
                  <a:cubicBezTo>
                    <a:pt x="264" y="387"/>
                    <a:pt x="264" y="387"/>
                    <a:pt x="265" y="387"/>
                  </a:cubicBezTo>
                  <a:cubicBezTo>
                    <a:pt x="269" y="385"/>
                    <a:pt x="269" y="384"/>
                    <a:pt x="270" y="381"/>
                  </a:cubicBezTo>
                  <a:cubicBezTo>
                    <a:pt x="270" y="381"/>
                    <a:pt x="270" y="381"/>
                    <a:pt x="270" y="381"/>
                  </a:cubicBezTo>
                  <a:cubicBezTo>
                    <a:pt x="270" y="380"/>
                    <a:pt x="268" y="379"/>
                    <a:pt x="268" y="377"/>
                  </a:cubicBezTo>
                  <a:cubicBezTo>
                    <a:pt x="268" y="377"/>
                    <a:pt x="269" y="376"/>
                    <a:pt x="269" y="376"/>
                  </a:cubicBezTo>
                  <a:cubicBezTo>
                    <a:pt x="273" y="370"/>
                    <a:pt x="280" y="369"/>
                    <a:pt x="285" y="366"/>
                  </a:cubicBezTo>
                  <a:cubicBezTo>
                    <a:pt x="286" y="365"/>
                    <a:pt x="287" y="364"/>
                    <a:pt x="288" y="363"/>
                  </a:cubicBezTo>
                  <a:cubicBezTo>
                    <a:pt x="289" y="362"/>
                    <a:pt x="289" y="361"/>
                    <a:pt x="290" y="361"/>
                  </a:cubicBezTo>
                  <a:cubicBezTo>
                    <a:pt x="291" y="359"/>
                    <a:pt x="293" y="358"/>
                    <a:pt x="294" y="357"/>
                  </a:cubicBezTo>
                  <a:cubicBezTo>
                    <a:pt x="296" y="355"/>
                    <a:pt x="297" y="354"/>
                    <a:pt x="300" y="353"/>
                  </a:cubicBezTo>
                  <a:cubicBezTo>
                    <a:pt x="303" y="351"/>
                    <a:pt x="305" y="349"/>
                    <a:pt x="308" y="346"/>
                  </a:cubicBezTo>
                  <a:cubicBezTo>
                    <a:pt x="307" y="347"/>
                    <a:pt x="307" y="347"/>
                    <a:pt x="307" y="347"/>
                  </a:cubicBezTo>
                  <a:cubicBezTo>
                    <a:pt x="308" y="346"/>
                    <a:pt x="309" y="344"/>
                    <a:pt x="311" y="343"/>
                  </a:cubicBezTo>
                  <a:cubicBezTo>
                    <a:pt x="312" y="340"/>
                    <a:pt x="314" y="337"/>
                    <a:pt x="316" y="335"/>
                  </a:cubicBezTo>
                  <a:cubicBezTo>
                    <a:pt x="321" y="331"/>
                    <a:pt x="326" y="328"/>
                    <a:pt x="331" y="324"/>
                  </a:cubicBezTo>
                  <a:cubicBezTo>
                    <a:pt x="330" y="324"/>
                    <a:pt x="328" y="325"/>
                    <a:pt x="327" y="326"/>
                  </a:cubicBezTo>
                  <a:cubicBezTo>
                    <a:pt x="328" y="325"/>
                    <a:pt x="328" y="324"/>
                    <a:pt x="327" y="324"/>
                  </a:cubicBezTo>
                  <a:cubicBezTo>
                    <a:pt x="327" y="324"/>
                    <a:pt x="327" y="324"/>
                    <a:pt x="327" y="324"/>
                  </a:cubicBezTo>
                  <a:cubicBezTo>
                    <a:pt x="326" y="324"/>
                    <a:pt x="326" y="324"/>
                    <a:pt x="326" y="324"/>
                  </a:cubicBezTo>
                  <a:cubicBezTo>
                    <a:pt x="325" y="326"/>
                    <a:pt x="325" y="326"/>
                    <a:pt x="325" y="326"/>
                  </a:cubicBezTo>
                  <a:cubicBezTo>
                    <a:pt x="325" y="326"/>
                    <a:pt x="324" y="327"/>
                    <a:pt x="324" y="327"/>
                  </a:cubicBezTo>
                  <a:cubicBezTo>
                    <a:pt x="324" y="327"/>
                    <a:pt x="324" y="327"/>
                    <a:pt x="324" y="327"/>
                  </a:cubicBezTo>
                  <a:cubicBezTo>
                    <a:pt x="324" y="324"/>
                    <a:pt x="325" y="322"/>
                    <a:pt x="327" y="321"/>
                  </a:cubicBezTo>
                  <a:cubicBezTo>
                    <a:pt x="328" y="321"/>
                    <a:pt x="329" y="320"/>
                    <a:pt x="330" y="320"/>
                  </a:cubicBezTo>
                  <a:cubicBezTo>
                    <a:pt x="330" y="320"/>
                    <a:pt x="330" y="320"/>
                    <a:pt x="330" y="320"/>
                  </a:cubicBezTo>
                  <a:cubicBezTo>
                    <a:pt x="331" y="321"/>
                    <a:pt x="331" y="321"/>
                    <a:pt x="331" y="321"/>
                  </a:cubicBezTo>
                  <a:cubicBezTo>
                    <a:pt x="332" y="322"/>
                    <a:pt x="329" y="323"/>
                    <a:pt x="329" y="324"/>
                  </a:cubicBezTo>
                  <a:cubicBezTo>
                    <a:pt x="331" y="324"/>
                    <a:pt x="333" y="323"/>
                    <a:pt x="335" y="322"/>
                  </a:cubicBezTo>
                  <a:cubicBezTo>
                    <a:pt x="336" y="322"/>
                    <a:pt x="336" y="322"/>
                    <a:pt x="336" y="322"/>
                  </a:cubicBezTo>
                  <a:cubicBezTo>
                    <a:pt x="339" y="321"/>
                    <a:pt x="343" y="320"/>
                    <a:pt x="346" y="318"/>
                  </a:cubicBezTo>
                  <a:cubicBezTo>
                    <a:pt x="345" y="318"/>
                    <a:pt x="343" y="317"/>
                    <a:pt x="343" y="316"/>
                  </a:cubicBezTo>
                  <a:cubicBezTo>
                    <a:pt x="344" y="316"/>
                    <a:pt x="345" y="317"/>
                    <a:pt x="346" y="317"/>
                  </a:cubicBezTo>
                  <a:cubicBezTo>
                    <a:pt x="348" y="317"/>
                    <a:pt x="349" y="315"/>
                    <a:pt x="351" y="313"/>
                  </a:cubicBezTo>
                  <a:cubicBezTo>
                    <a:pt x="353" y="310"/>
                    <a:pt x="356" y="307"/>
                    <a:pt x="359" y="304"/>
                  </a:cubicBezTo>
                  <a:cubicBezTo>
                    <a:pt x="358" y="304"/>
                    <a:pt x="357" y="303"/>
                    <a:pt x="357" y="301"/>
                  </a:cubicBezTo>
                  <a:cubicBezTo>
                    <a:pt x="357" y="299"/>
                    <a:pt x="356" y="296"/>
                    <a:pt x="356" y="294"/>
                  </a:cubicBezTo>
                  <a:cubicBezTo>
                    <a:pt x="356" y="293"/>
                    <a:pt x="356" y="292"/>
                    <a:pt x="356" y="292"/>
                  </a:cubicBezTo>
                  <a:cubicBezTo>
                    <a:pt x="358" y="288"/>
                    <a:pt x="361" y="287"/>
                    <a:pt x="364" y="286"/>
                  </a:cubicBezTo>
                  <a:cubicBezTo>
                    <a:pt x="366" y="286"/>
                    <a:pt x="367" y="286"/>
                    <a:pt x="368" y="285"/>
                  </a:cubicBezTo>
                  <a:cubicBezTo>
                    <a:pt x="372" y="284"/>
                    <a:pt x="374" y="284"/>
                    <a:pt x="377" y="280"/>
                  </a:cubicBezTo>
                  <a:cubicBezTo>
                    <a:pt x="378" y="279"/>
                    <a:pt x="382" y="276"/>
                    <a:pt x="380" y="274"/>
                  </a:cubicBezTo>
                  <a:cubicBezTo>
                    <a:pt x="379" y="274"/>
                    <a:pt x="378" y="274"/>
                    <a:pt x="377" y="274"/>
                  </a:cubicBezTo>
                  <a:cubicBezTo>
                    <a:pt x="377" y="274"/>
                    <a:pt x="377" y="274"/>
                    <a:pt x="377" y="274"/>
                  </a:cubicBezTo>
                  <a:cubicBezTo>
                    <a:pt x="376" y="273"/>
                    <a:pt x="376" y="271"/>
                    <a:pt x="376" y="269"/>
                  </a:cubicBezTo>
                  <a:cubicBezTo>
                    <a:pt x="377" y="270"/>
                    <a:pt x="377" y="272"/>
                    <a:pt x="378" y="273"/>
                  </a:cubicBezTo>
                  <a:cubicBezTo>
                    <a:pt x="378" y="273"/>
                    <a:pt x="378" y="273"/>
                    <a:pt x="379" y="274"/>
                  </a:cubicBezTo>
                  <a:cubicBezTo>
                    <a:pt x="381" y="274"/>
                    <a:pt x="381" y="275"/>
                    <a:pt x="381" y="277"/>
                  </a:cubicBezTo>
                  <a:cubicBezTo>
                    <a:pt x="382" y="279"/>
                    <a:pt x="380" y="282"/>
                    <a:pt x="381" y="285"/>
                  </a:cubicBezTo>
                  <a:cubicBezTo>
                    <a:pt x="381" y="285"/>
                    <a:pt x="381" y="285"/>
                    <a:pt x="381" y="286"/>
                  </a:cubicBezTo>
                  <a:cubicBezTo>
                    <a:pt x="382" y="286"/>
                    <a:pt x="382" y="287"/>
                    <a:pt x="383" y="287"/>
                  </a:cubicBezTo>
                  <a:cubicBezTo>
                    <a:pt x="383" y="287"/>
                    <a:pt x="383" y="286"/>
                    <a:pt x="383" y="286"/>
                  </a:cubicBezTo>
                  <a:cubicBezTo>
                    <a:pt x="383" y="286"/>
                    <a:pt x="383" y="286"/>
                    <a:pt x="383" y="286"/>
                  </a:cubicBezTo>
                  <a:cubicBezTo>
                    <a:pt x="387" y="286"/>
                    <a:pt x="386" y="282"/>
                    <a:pt x="387" y="279"/>
                  </a:cubicBezTo>
                  <a:cubicBezTo>
                    <a:pt x="387" y="280"/>
                    <a:pt x="387" y="284"/>
                    <a:pt x="387" y="286"/>
                  </a:cubicBezTo>
                  <a:cubicBezTo>
                    <a:pt x="387" y="287"/>
                    <a:pt x="387" y="287"/>
                    <a:pt x="387" y="287"/>
                  </a:cubicBezTo>
                  <a:cubicBezTo>
                    <a:pt x="387" y="287"/>
                    <a:pt x="387" y="287"/>
                    <a:pt x="387" y="287"/>
                  </a:cubicBezTo>
                  <a:cubicBezTo>
                    <a:pt x="388" y="287"/>
                    <a:pt x="389" y="284"/>
                    <a:pt x="389" y="284"/>
                  </a:cubicBezTo>
                  <a:cubicBezTo>
                    <a:pt x="389" y="283"/>
                    <a:pt x="389" y="283"/>
                    <a:pt x="389" y="283"/>
                  </a:cubicBezTo>
                  <a:cubicBezTo>
                    <a:pt x="389" y="282"/>
                    <a:pt x="388" y="283"/>
                    <a:pt x="388" y="281"/>
                  </a:cubicBezTo>
                  <a:cubicBezTo>
                    <a:pt x="388" y="281"/>
                    <a:pt x="388" y="280"/>
                    <a:pt x="389" y="279"/>
                  </a:cubicBezTo>
                  <a:cubicBezTo>
                    <a:pt x="389" y="278"/>
                    <a:pt x="389" y="277"/>
                    <a:pt x="389" y="276"/>
                  </a:cubicBezTo>
                  <a:cubicBezTo>
                    <a:pt x="389" y="275"/>
                    <a:pt x="390" y="275"/>
                    <a:pt x="390" y="274"/>
                  </a:cubicBezTo>
                  <a:cubicBezTo>
                    <a:pt x="390" y="275"/>
                    <a:pt x="390" y="275"/>
                    <a:pt x="390" y="276"/>
                  </a:cubicBezTo>
                  <a:cubicBezTo>
                    <a:pt x="390" y="277"/>
                    <a:pt x="390" y="278"/>
                    <a:pt x="390" y="279"/>
                  </a:cubicBezTo>
                  <a:cubicBezTo>
                    <a:pt x="391" y="278"/>
                    <a:pt x="391" y="277"/>
                    <a:pt x="391" y="277"/>
                  </a:cubicBezTo>
                  <a:cubicBezTo>
                    <a:pt x="392" y="278"/>
                    <a:pt x="391" y="279"/>
                    <a:pt x="391" y="281"/>
                  </a:cubicBezTo>
                  <a:cubicBezTo>
                    <a:pt x="391" y="281"/>
                    <a:pt x="390" y="282"/>
                    <a:pt x="390" y="282"/>
                  </a:cubicBezTo>
                  <a:cubicBezTo>
                    <a:pt x="391" y="283"/>
                    <a:pt x="391" y="283"/>
                    <a:pt x="391" y="284"/>
                  </a:cubicBezTo>
                  <a:cubicBezTo>
                    <a:pt x="391" y="285"/>
                    <a:pt x="392" y="286"/>
                    <a:pt x="392" y="286"/>
                  </a:cubicBezTo>
                  <a:cubicBezTo>
                    <a:pt x="392" y="286"/>
                    <a:pt x="392" y="286"/>
                    <a:pt x="392" y="286"/>
                  </a:cubicBezTo>
                  <a:cubicBezTo>
                    <a:pt x="392" y="286"/>
                    <a:pt x="392" y="286"/>
                    <a:pt x="392" y="286"/>
                  </a:cubicBezTo>
                  <a:cubicBezTo>
                    <a:pt x="393" y="286"/>
                    <a:pt x="394" y="286"/>
                    <a:pt x="394" y="286"/>
                  </a:cubicBezTo>
                  <a:cubicBezTo>
                    <a:pt x="395" y="286"/>
                    <a:pt x="396" y="286"/>
                    <a:pt x="396" y="286"/>
                  </a:cubicBezTo>
                  <a:cubicBezTo>
                    <a:pt x="397" y="286"/>
                    <a:pt x="398" y="286"/>
                    <a:pt x="398" y="285"/>
                  </a:cubicBezTo>
                  <a:cubicBezTo>
                    <a:pt x="398" y="285"/>
                    <a:pt x="397" y="284"/>
                    <a:pt x="397" y="283"/>
                  </a:cubicBezTo>
                  <a:cubicBezTo>
                    <a:pt x="397" y="283"/>
                    <a:pt x="397" y="283"/>
                    <a:pt x="397" y="283"/>
                  </a:cubicBezTo>
                  <a:cubicBezTo>
                    <a:pt x="397" y="282"/>
                    <a:pt x="397" y="280"/>
                    <a:pt x="396" y="280"/>
                  </a:cubicBezTo>
                  <a:cubicBezTo>
                    <a:pt x="396" y="280"/>
                    <a:pt x="396" y="280"/>
                    <a:pt x="396" y="280"/>
                  </a:cubicBezTo>
                  <a:cubicBezTo>
                    <a:pt x="395" y="278"/>
                    <a:pt x="395" y="278"/>
                    <a:pt x="395" y="278"/>
                  </a:cubicBezTo>
                  <a:cubicBezTo>
                    <a:pt x="395" y="277"/>
                    <a:pt x="395" y="276"/>
                    <a:pt x="395" y="276"/>
                  </a:cubicBezTo>
                  <a:cubicBezTo>
                    <a:pt x="395" y="274"/>
                    <a:pt x="395" y="273"/>
                    <a:pt x="394" y="272"/>
                  </a:cubicBezTo>
                  <a:cubicBezTo>
                    <a:pt x="393" y="264"/>
                    <a:pt x="393" y="264"/>
                    <a:pt x="393" y="264"/>
                  </a:cubicBezTo>
                  <a:cubicBezTo>
                    <a:pt x="393" y="263"/>
                    <a:pt x="393" y="263"/>
                    <a:pt x="393" y="263"/>
                  </a:cubicBezTo>
                  <a:cubicBezTo>
                    <a:pt x="393" y="262"/>
                    <a:pt x="393" y="261"/>
                    <a:pt x="393" y="261"/>
                  </a:cubicBezTo>
                  <a:cubicBezTo>
                    <a:pt x="392" y="260"/>
                    <a:pt x="392" y="258"/>
                    <a:pt x="393" y="256"/>
                  </a:cubicBezTo>
                  <a:cubicBezTo>
                    <a:pt x="393" y="255"/>
                    <a:pt x="393" y="255"/>
                    <a:pt x="393" y="255"/>
                  </a:cubicBezTo>
                  <a:cubicBezTo>
                    <a:pt x="393" y="255"/>
                    <a:pt x="393" y="255"/>
                    <a:pt x="393" y="255"/>
                  </a:cubicBezTo>
                  <a:cubicBezTo>
                    <a:pt x="393" y="255"/>
                    <a:pt x="393" y="255"/>
                    <a:pt x="393" y="255"/>
                  </a:cubicBezTo>
                  <a:cubicBezTo>
                    <a:pt x="392" y="254"/>
                    <a:pt x="391" y="254"/>
                    <a:pt x="390" y="253"/>
                  </a:cubicBezTo>
                  <a:cubicBezTo>
                    <a:pt x="390" y="252"/>
                    <a:pt x="390" y="252"/>
                    <a:pt x="390" y="252"/>
                  </a:cubicBezTo>
                  <a:cubicBezTo>
                    <a:pt x="390" y="251"/>
                    <a:pt x="390" y="250"/>
                    <a:pt x="390" y="249"/>
                  </a:cubicBezTo>
                  <a:cubicBezTo>
                    <a:pt x="390" y="249"/>
                    <a:pt x="390" y="249"/>
                    <a:pt x="390" y="249"/>
                  </a:cubicBezTo>
                  <a:cubicBezTo>
                    <a:pt x="387" y="247"/>
                    <a:pt x="387" y="245"/>
                    <a:pt x="387" y="242"/>
                  </a:cubicBezTo>
                  <a:cubicBezTo>
                    <a:pt x="387" y="241"/>
                    <a:pt x="387" y="241"/>
                    <a:pt x="387" y="241"/>
                  </a:cubicBezTo>
                  <a:cubicBezTo>
                    <a:pt x="387" y="239"/>
                    <a:pt x="388" y="238"/>
                    <a:pt x="389" y="238"/>
                  </a:cubicBezTo>
                  <a:cubicBezTo>
                    <a:pt x="389" y="237"/>
                    <a:pt x="389" y="237"/>
                    <a:pt x="389" y="237"/>
                  </a:cubicBezTo>
                  <a:cubicBezTo>
                    <a:pt x="389" y="237"/>
                    <a:pt x="389" y="236"/>
                    <a:pt x="389" y="234"/>
                  </a:cubicBezTo>
                  <a:cubicBezTo>
                    <a:pt x="389" y="234"/>
                    <a:pt x="389" y="234"/>
                    <a:pt x="389" y="234"/>
                  </a:cubicBezTo>
                  <a:cubicBezTo>
                    <a:pt x="389" y="233"/>
                    <a:pt x="389" y="233"/>
                    <a:pt x="389" y="233"/>
                  </a:cubicBezTo>
                  <a:cubicBezTo>
                    <a:pt x="388" y="233"/>
                    <a:pt x="388" y="233"/>
                    <a:pt x="388" y="233"/>
                  </a:cubicBezTo>
                  <a:cubicBezTo>
                    <a:pt x="387" y="233"/>
                    <a:pt x="387" y="233"/>
                    <a:pt x="387" y="233"/>
                  </a:cubicBezTo>
                  <a:cubicBezTo>
                    <a:pt x="387" y="233"/>
                    <a:pt x="387" y="233"/>
                    <a:pt x="386" y="233"/>
                  </a:cubicBezTo>
                  <a:cubicBezTo>
                    <a:pt x="386" y="233"/>
                    <a:pt x="385" y="233"/>
                    <a:pt x="385" y="233"/>
                  </a:cubicBezTo>
                  <a:cubicBezTo>
                    <a:pt x="384" y="232"/>
                    <a:pt x="384" y="232"/>
                    <a:pt x="383" y="232"/>
                  </a:cubicBezTo>
                  <a:cubicBezTo>
                    <a:pt x="382" y="231"/>
                    <a:pt x="382" y="231"/>
                    <a:pt x="381" y="230"/>
                  </a:cubicBezTo>
                  <a:cubicBezTo>
                    <a:pt x="381" y="230"/>
                    <a:pt x="381" y="230"/>
                    <a:pt x="381" y="230"/>
                  </a:cubicBezTo>
                  <a:cubicBezTo>
                    <a:pt x="380" y="230"/>
                    <a:pt x="379" y="230"/>
                    <a:pt x="379" y="229"/>
                  </a:cubicBezTo>
                  <a:cubicBezTo>
                    <a:pt x="378" y="229"/>
                    <a:pt x="378" y="228"/>
                    <a:pt x="378" y="228"/>
                  </a:cubicBezTo>
                  <a:cubicBezTo>
                    <a:pt x="377" y="227"/>
                    <a:pt x="377" y="227"/>
                    <a:pt x="377" y="226"/>
                  </a:cubicBezTo>
                  <a:cubicBezTo>
                    <a:pt x="377" y="225"/>
                    <a:pt x="377" y="223"/>
                    <a:pt x="378" y="221"/>
                  </a:cubicBezTo>
                  <a:cubicBezTo>
                    <a:pt x="378" y="221"/>
                    <a:pt x="378" y="221"/>
                    <a:pt x="378" y="221"/>
                  </a:cubicBezTo>
                  <a:cubicBezTo>
                    <a:pt x="379" y="219"/>
                    <a:pt x="380" y="218"/>
                    <a:pt x="381" y="218"/>
                  </a:cubicBezTo>
                  <a:cubicBezTo>
                    <a:pt x="381" y="218"/>
                    <a:pt x="382" y="217"/>
                    <a:pt x="382" y="217"/>
                  </a:cubicBezTo>
                  <a:cubicBezTo>
                    <a:pt x="382" y="217"/>
                    <a:pt x="382" y="217"/>
                    <a:pt x="382" y="217"/>
                  </a:cubicBezTo>
                  <a:cubicBezTo>
                    <a:pt x="383" y="217"/>
                    <a:pt x="383" y="217"/>
                    <a:pt x="383" y="217"/>
                  </a:cubicBezTo>
                  <a:cubicBezTo>
                    <a:pt x="384" y="212"/>
                    <a:pt x="388" y="211"/>
                    <a:pt x="391" y="211"/>
                  </a:cubicBezTo>
                  <a:cubicBezTo>
                    <a:pt x="391" y="211"/>
                    <a:pt x="391" y="211"/>
                    <a:pt x="392" y="211"/>
                  </a:cubicBezTo>
                  <a:cubicBezTo>
                    <a:pt x="391" y="211"/>
                    <a:pt x="391" y="210"/>
                    <a:pt x="391" y="209"/>
                  </a:cubicBezTo>
                  <a:cubicBezTo>
                    <a:pt x="391" y="209"/>
                    <a:pt x="391" y="209"/>
                    <a:pt x="391" y="209"/>
                  </a:cubicBezTo>
                  <a:cubicBezTo>
                    <a:pt x="390" y="209"/>
                    <a:pt x="390" y="209"/>
                    <a:pt x="390" y="209"/>
                  </a:cubicBezTo>
                  <a:cubicBezTo>
                    <a:pt x="390" y="209"/>
                    <a:pt x="390" y="209"/>
                    <a:pt x="390" y="209"/>
                  </a:cubicBezTo>
                  <a:cubicBezTo>
                    <a:pt x="390" y="209"/>
                    <a:pt x="390" y="209"/>
                    <a:pt x="390" y="209"/>
                  </a:cubicBezTo>
                  <a:cubicBezTo>
                    <a:pt x="387" y="209"/>
                    <a:pt x="386" y="208"/>
                    <a:pt x="385" y="207"/>
                  </a:cubicBezTo>
                  <a:cubicBezTo>
                    <a:pt x="384" y="206"/>
                    <a:pt x="384" y="206"/>
                    <a:pt x="384" y="206"/>
                  </a:cubicBezTo>
                  <a:cubicBezTo>
                    <a:pt x="383" y="205"/>
                    <a:pt x="382" y="204"/>
                    <a:pt x="381" y="203"/>
                  </a:cubicBezTo>
                  <a:cubicBezTo>
                    <a:pt x="381" y="203"/>
                    <a:pt x="381" y="203"/>
                    <a:pt x="381" y="203"/>
                  </a:cubicBezTo>
                  <a:cubicBezTo>
                    <a:pt x="380" y="203"/>
                    <a:pt x="378" y="203"/>
                    <a:pt x="377" y="201"/>
                  </a:cubicBezTo>
                  <a:cubicBezTo>
                    <a:pt x="376" y="199"/>
                    <a:pt x="378" y="197"/>
                    <a:pt x="378" y="196"/>
                  </a:cubicBezTo>
                  <a:cubicBezTo>
                    <a:pt x="379" y="195"/>
                    <a:pt x="379" y="195"/>
                    <a:pt x="379" y="195"/>
                  </a:cubicBezTo>
                  <a:cubicBezTo>
                    <a:pt x="379" y="195"/>
                    <a:pt x="379" y="195"/>
                    <a:pt x="379" y="195"/>
                  </a:cubicBezTo>
                  <a:cubicBezTo>
                    <a:pt x="380" y="192"/>
                    <a:pt x="382" y="191"/>
                    <a:pt x="383" y="189"/>
                  </a:cubicBezTo>
                  <a:cubicBezTo>
                    <a:pt x="383" y="189"/>
                    <a:pt x="383" y="189"/>
                    <a:pt x="383" y="189"/>
                  </a:cubicBezTo>
                  <a:cubicBezTo>
                    <a:pt x="382" y="189"/>
                    <a:pt x="382" y="189"/>
                    <a:pt x="382" y="189"/>
                  </a:cubicBezTo>
                  <a:cubicBezTo>
                    <a:pt x="382" y="189"/>
                    <a:pt x="382" y="188"/>
                    <a:pt x="382" y="188"/>
                  </a:cubicBezTo>
                  <a:cubicBezTo>
                    <a:pt x="382" y="187"/>
                    <a:pt x="382" y="187"/>
                    <a:pt x="382" y="187"/>
                  </a:cubicBezTo>
                  <a:cubicBezTo>
                    <a:pt x="381" y="187"/>
                    <a:pt x="381" y="187"/>
                    <a:pt x="381" y="187"/>
                  </a:cubicBezTo>
                  <a:cubicBezTo>
                    <a:pt x="381" y="187"/>
                    <a:pt x="381" y="187"/>
                    <a:pt x="381" y="187"/>
                  </a:cubicBezTo>
                  <a:cubicBezTo>
                    <a:pt x="381" y="188"/>
                    <a:pt x="381" y="188"/>
                    <a:pt x="381" y="188"/>
                  </a:cubicBezTo>
                  <a:cubicBezTo>
                    <a:pt x="380" y="190"/>
                    <a:pt x="380" y="191"/>
                    <a:pt x="378" y="191"/>
                  </a:cubicBezTo>
                  <a:cubicBezTo>
                    <a:pt x="377" y="192"/>
                    <a:pt x="376" y="192"/>
                    <a:pt x="376" y="192"/>
                  </a:cubicBezTo>
                  <a:cubicBezTo>
                    <a:pt x="375" y="192"/>
                    <a:pt x="375" y="192"/>
                    <a:pt x="375" y="192"/>
                  </a:cubicBezTo>
                  <a:cubicBezTo>
                    <a:pt x="374" y="192"/>
                    <a:pt x="374" y="192"/>
                    <a:pt x="373" y="191"/>
                  </a:cubicBezTo>
                  <a:cubicBezTo>
                    <a:pt x="372" y="191"/>
                    <a:pt x="371" y="191"/>
                    <a:pt x="371" y="191"/>
                  </a:cubicBezTo>
                  <a:cubicBezTo>
                    <a:pt x="368" y="191"/>
                    <a:pt x="368" y="191"/>
                    <a:pt x="368" y="191"/>
                  </a:cubicBezTo>
                  <a:cubicBezTo>
                    <a:pt x="367" y="191"/>
                    <a:pt x="367" y="191"/>
                    <a:pt x="367" y="191"/>
                  </a:cubicBezTo>
                  <a:cubicBezTo>
                    <a:pt x="367" y="191"/>
                    <a:pt x="366" y="191"/>
                    <a:pt x="366" y="191"/>
                  </a:cubicBezTo>
                  <a:cubicBezTo>
                    <a:pt x="364" y="191"/>
                    <a:pt x="362" y="191"/>
                    <a:pt x="360" y="191"/>
                  </a:cubicBezTo>
                  <a:cubicBezTo>
                    <a:pt x="359" y="190"/>
                    <a:pt x="358" y="189"/>
                    <a:pt x="358" y="188"/>
                  </a:cubicBezTo>
                  <a:cubicBezTo>
                    <a:pt x="358" y="189"/>
                    <a:pt x="358" y="189"/>
                    <a:pt x="358" y="189"/>
                  </a:cubicBezTo>
                  <a:cubicBezTo>
                    <a:pt x="357" y="189"/>
                    <a:pt x="356" y="190"/>
                    <a:pt x="355" y="190"/>
                  </a:cubicBezTo>
                  <a:cubicBezTo>
                    <a:pt x="355" y="190"/>
                    <a:pt x="355" y="190"/>
                    <a:pt x="355" y="190"/>
                  </a:cubicBezTo>
                  <a:cubicBezTo>
                    <a:pt x="354" y="190"/>
                    <a:pt x="354" y="190"/>
                    <a:pt x="354" y="190"/>
                  </a:cubicBezTo>
                  <a:cubicBezTo>
                    <a:pt x="354" y="190"/>
                    <a:pt x="354" y="190"/>
                    <a:pt x="354" y="190"/>
                  </a:cubicBezTo>
                  <a:cubicBezTo>
                    <a:pt x="353" y="190"/>
                    <a:pt x="353" y="190"/>
                    <a:pt x="353" y="190"/>
                  </a:cubicBezTo>
                  <a:cubicBezTo>
                    <a:pt x="353" y="190"/>
                    <a:pt x="353" y="190"/>
                    <a:pt x="353" y="190"/>
                  </a:cubicBezTo>
                  <a:cubicBezTo>
                    <a:pt x="352" y="190"/>
                    <a:pt x="352" y="190"/>
                    <a:pt x="351" y="190"/>
                  </a:cubicBezTo>
                  <a:cubicBezTo>
                    <a:pt x="351" y="190"/>
                    <a:pt x="351" y="190"/>
                    <a:pt x="351" y="190"/>
                  </a:cubicBezTo>
                  <a:cubicBezTo>
                    <a:pt x="351" y="190"/>
                    <a:pt x="350" y="190"/>
                    <a:pt x="350" y="190"/>
                  </a:cubicBezTo>
                  <a:cubicBezTo>
                    <a:pt x="348" y="188"/>
                    <a:pt x="348" y="188"/>
                    <a:pt x="348" y="188"/>
                  </a:cubicBezTo>
                  <a:cubicBezTo>
                    <a:pt x="347" y="188"/>
                    <a:pt x="347" y="188"/>
                    <a:pt x="346" y="188"/>
                  </a:cubicBezTo>
                  <a:cubicBezTo>
                    <a:pt x="346" y="188"/>
                    <a:pt x="345" y="187"/>
                    <a:pt x="344" y="187"/>
                  </a:cubicBezTo>
                  <a:cubicBezTo>
                    <a:pt x="344" y="187"/>
                    <a:pt x="344" y="187"/>
                    <a:pt x="344" y="187"/>
                  </a:cubicBezTo>
                  <a:cubicBezTo>
                    <a:pt x="343" y="187"/>
                    <a:pt x="343" y="187"/>
                    <a:pt x="342" y="187"/>
                  </a:cubicBezTo>
                  <a:cubicBezTo>
                    <a:pt x="342" y="187"/>
                    <a:pt x="342" y="187"/>
                    <a:pt x="342" y="187"/>
                  </a:cubicBezTo>
                  <a:cubicBezTo>
                    <a:pt x="342" y="187"/>
                    <a:pt x="341" y="187"/>
                    <a:pt x="341" y="187"/>
                  </a:cubicBezTo>
                  <a:cubicBezTo>
                    <a:pt x="340" y="187"/>
                    <a:pt x="340" y="187"/>
                    <a:pt x="340" y="187"/>
                  </a:cubicBezTo>
                  <a:cubicBezTo>
                    <a:pt x="340" y="188"/>
                    <a:pt x="339" y="188"/>
                    <a:pt x="338" y="188"/>
                  </a:cubicBezTo>
                  <a:cubicBezTo>
                    <a:pt x="338" y="188"/>
                    <a:pt x="337" y="188"/>
                    <a:pt x="337" y="187"/>
                  </a:cubicBezTo>
                  <a:cubicBezTo>
                    <a:pt x="336" y="187"/>
                    <a:pt x="336" y="187"/>
                    <a:pt x="335" y="187"/>
                  </a:cubicBezTo>
                  <a:cubicBezTo>
                    <a:pt x="335" y="187"/>
                    <a:pt x="334" y="186"/>
                    <a:pt x="334" y="186"/>
                  </a:cubicBezTo>
                  <a:cubicBezTo>
                    <a:pt x="333" y="185"/>
                    <a:pt x="333" y="185"/>
                    <a:pt x="333" y="184"/>
                  </a:cubicBezTo>
                  <a:cubicBezTo>
                    <a:pt x="332" y="183"/>
                    <a:pt x="332" y="183"/>
                    <a:pt x="332" y="183"/>
                  </a:cubicBezTo>
                  <a:cubicBezTo>
                    <a:pt x="332" y="183"/>
                    <a:pt x="332" y="183"/>
                    <a:pt x="332" y="183"/>
                  </a:cubicBezTo>
                  <a:cubicBezTo>
                    <a:pt x="331" y="183"/>
                    <a:pt x="331" y="183"/>
                    <a:pt x="330" y="183"/>
                  </a:cubicBezTo>
                  <a:cubicBezTo>
                    <a:pt x="329" y="184"/>
                    <a:pt x="329" y="184"/>
                    <a:pt x="329" y="184"/>
                  </a:cubicBezTo>
                  <a:cubicBezTo>
                    <a:pt x="328" y="184"/>
                    <a:pt x="327" y="184"/>
                    <a:pt x="327" y="184"/>
                  </a:cubicBezTo>
                  <a:cubicBezTo>
                    <a:pt x="326" y="184"/>
                    <a:pt x="326" y="184"/>
                    <a:pt x="326" y="184"/>
                  </a:cubicBezTo>
                  <a:cubicBezTo>
                    <a:pt x="326" y="184"/>
                    <a:pt x="325" y="184"/>
                    <a:pt x="324" y="183"/>
                  </a:cubicBezTo>
                  <a:cubicBezTo>
                    <a:pt x="324" y="183"/>
                    <a:pt x="324" y="183"/>
                    <a:pt x="323" y="182"/>
                  </a:cubicBezTo>
                  <a:cubicBezTo>
                    <a:pt x="323" y="182"/>
                    <a:pt x="323" y="182"/>
                    <a:pt x="323" y="182"/>
                  </a:cubicBezTo>
                  <a:cubicBezTo>
                    <a:pt x="323" y="182"/>
                    <a:pt x="322" y="182"/>
                    <a:pt x="322" y="181"/>
                  </a:cubicBezTo>
                  <a:cubicBezTo>
                    <a:pt x="321" y="181"/>
                    <a:pt x="321" y="181"/>
                    <a:pt x="321" y="181"/>
                  </a:cubicBezTo>
                  <a:cubicBezTo>
                    <a:pt x="320" y="180"/>
                    <a:pt x="319" y="180"/>
                    <a:pt x="317" y="179"/>
                  </a:cubicBezTo>
                  <a:cubicBezTo>
                    <a:pt x="317" y="179"/>
                    <a:pt x="317" y="179"/>
                    <a:pt x="317" y="179"/>
                  </a:cubicBezTo>
                  <a:cubicBezTo>
                    <a:pt x="316" y="179"/>
                    <a:pt x="315" y="179"/>
                    <a:pt x="314" y="178"/>
                  </a:cubicBezTo>
                  <a:cubicBezTo>
                    <a:pt x="313" y="178"/>
                    <a:pt x="312" y="177"/>
                    <a:pt x="311" y="176"/>
                  </a:cubicBezTo>
                  <a:cubicBezTo>
                    <a:pt x="311" y="175"/>
                    <a:pt x="311" y="175"/>
                    <a:pt x="311" y="174"/>
                  </a:cubicBezTo>
                  <a:cubicBezTo>
                    <a:pt x="311" y="173"/>
                    <a:pt x="311" y="173"/>
                    <a:pt x="311" y="172"/>
                  </a:cubicBezTo>
                  <a:cubicBezTo>
                    <a:pt x="310" y="172"/>
                    <a:pt x="310" y="172"/>
                    <a:pt x="310" y="172"/>
                  </a:cubicBezTo>
                  <a:cubicBezTo>
                    <a:pt x="310" y="171"/>
                    <a:pt x="310" y="171"/>
                    <a:pt x="310" y="171"/>
                  </a:cubicBezTo>
                  <a:cubicBezTo>
                    <a:pt x="310" y="171"/>
                    <a:pt x="310" y="171"/>
                    <a:pt x="310" y="171"/>
                  </a:cubicBezTo>
                  <a:cubicBezTo>
                    <a:pt x="309" y="170"/>
                    <a:pt x="308" y="170"/>
                    <a:pt x="306" y="169"/>
                  </a:cubicBezTo>
                  <a:cubicBezTo>
                    <a:pt x="306" y="169"/>
                    <a:pt x="306" y="169"/>
                    <a:pt x="306" y="169"/>
                  </a:cubicBezTo>
                  <a:cubicBezTo>
                    <a:pt x="305" y="169"/>
                    <a:pt x="305" y="169"/>
                    <a:pt x="304" y="169"/>
                  </a:cubicBezTo>
                  <a:cubicBezTo>
                    <a:pt x="304" y="169"/>
                    <a:pt x="304" y="169"/>
                    <a:pt x="304" y="169"/>
                  </a:cubicBezTo>
                  <a:cubicBezTo>
                    <a:pt x="304" y="169"/>
                    <a:pt x="304" y="169"/>
                    <a:pt x="303" y="169"/>
                  </a:cubicBezTo>
                  <a:cubicBezTo>
                    <a:pt x="303" y="169"/>
                    <a:pt x="303" y="169"/>
                    <a:pt x="302" y="169"/>
                  </a:cubicBezTo>
                  <a:cubicBezTo>
                    <a:pt x="303" y="173"/>
                    <a:pt x="303" y="173"/>
                    <a:pt x="303" y="173"/>
                  </a:cubicBezTo>
                  <a:cubicBezTo>
                    <a:pt x="301" y="170"/>
                    <a:pt x="301" y="170"/>
                    <a:pt x="301" y="170"/>
                  </a:cubicBezTo>
                  <a:cubicBezTo>
                    <a:pt x="300" y="170"/>
                    <a:pt x="300" y="171"/>
                    <a:pt x="300" y="171"/>
                  </a:cubicBezTo>
                  <a:cubicBezTo>
                    <a:pt x="299" y="171"/>
                    <a:pt x="299" y="171"/>
                    <a:pt x="299" y="171"/>
                  </a:cubicBezTo>
                  <a:cubicBezTo>
                    <a:pt x="299" y="171"/>
                    <a:pt x="299" y="171"/>
                    <a:pt x="299" y="171"/>
                  </a:cubicBezTo>
                  <a:cubicBezTo>
                    <a:pt x="298" y="172"/>
                    <a:pt x="298" y="172"/>
                    <a:pt x="298" y="172"/>
                  </a:cubicBezTo>
                  <a:cubicBezTo>
                    <a:pt x="297" y="171"/>
                    <a:pt x="297" y="171"/>
                    <a:pt x="297" y="171"/>
                  </a:cubicBezTo>
                  <a:cubicBezTo>
                    <a:pt x="292" y="169"/>
                    <a:pt x="292" y="169"/>
                    <a:pt x="292" y="169"/>
                  </a:cubicBezTo>
                  <a:cubicBezTo>
                    <a:pt x="292" y="170"/>
                    <a:pt x="292" y="170"/>
                    <a:pt x="292" y="170"/>
                  </a:cubicBezTo>
                  <a:cubicBezTo>
                    <a:pt x="291" y="171"/>
                    <a:pt x="291" y="171"/>
                    <a:pt x="291" y="171"/>
                  </a:cubicBezTo>
                  <a:cubicBezTo>
                    <a:pt x="291" y="171"/>
                    <a:pt x="291" y="171"/>
                    <a:pt x="291" y="171"/>
                  </a:cubicBezTo>
                  <a:cubicBezTo>
                    <a:pt x="290" y="171"/>
                    <a:pt x="290" y="171"/>
                    <a:pt x="290" y="172"/>
                  </a:cubicBezTo>
                  <a:cubicBezTo>
                    <a:pt x="289" y="172"/>
                    <a:pt x="289" y="172"/>
                    <a:pt x="289" y="172"/>
                  </a:cubicBezTo>
                  <a:cubicBezTo>
                    <a:pt x="289" y="172"/>
                    <a:pt x="289" y="172"/>
                    <a:pt x="289" y="172"/>
                  </a:cubicBezTo>
                  <a:cubicBezTo>
                    <a:pt x="288" y="172"/>
                    <a:pt x="288" y="172"/>
                    <a:pt x="288" y="172"/>
                  </a:cubicBezTo>
                  <a:cubicBezTo>
                    <a:pt x="288" y="172"/>
                    <a:pt x="288" y="172"/>
                    <a:pt x="287" y="172"/>
                  </a:cubicBezTo>
                  <a:cubicBezTo>
                    <a:pt x="287" y="172"/>
                    <a:pt x="286" y="172"/>
                    <a:pt x="286" y="171"/>
                  </a:cubicBezTo>
                  <a:cubicBezTo>
                    <a:pt x="285" y="171"/>
                    <a:pt x="284" y="170"/>
                    <a:pt x="283" y="170"/>
                  </a:cubicBezTo>
                  <a:cubicBezTo>
                    <a:pt x="282" y="170"/>
                    <a:pt x="281" y="169"/>
                    <a:pt x="281" y="169"/>
                  </a:cubicBezTo>
                  <a:cubicBezTo>
                    <a:pt x="278" y="169"/>
                    <a:pt x="278" y="169"/>
                    <a:pt x="278" y="169"/>
                  </a:cubicBezTo>
                  <a:cubicBezTo>
                    <a:pt x="277" y="169"/>
                    <a:pt x="277" y="168"/>
                    <a:pt x="276" y="168"/>
                  </a:cubicBezTo>
                  <a:cubicBezTo>
                    <a:pt x="275" y="167"/>
                    <a:pt x="275" y="166"/>
                    <a:pt x="275" y="165"/>
                  </a:cubicBezTo>
                  <a:cubicBezTo>
                    <a:pt x="274" y="164"/>
                    <a:pt x="274" y="164"/>
                    <a:pt x="274" y="164"/>
                  </a:cubicBezTo>
                  <a:cubicBezTo>
                    <a:pt x="274" y="164"/>
                    <a:pt x="274" y="164"/>
                    <a:pt x="274" y="164"/>
                  </a:cubicBezTo>
                  <a:cubicBezTo>
                    <a:pt x="269" y="162"/>
                    <a:pt x="269" y="162"/>
                    <a:pt x="269" y="162"/>
                  </a:cubicBezTo>
                  <a:cubicBezTo>
                    <a:pt x="268" y="166"/>
                    <a:pt x="268" y="166"/>
                    <a:pt x="268" y="166"/>
                  </a:cubicBezTo>
                  <a:cubicBezTo>
                    <a:pt x="268" y="162"/>
                    <a:pt x="268" y="162"/>
                    <a:pt x="268" y="162"/>
                  </a:cubicBezTo>
                  <a:cubicBezTo>
                    <a:pt x="268" y="162"/>
                    <a:pt x="268" y="162"/>
                    <a:pt x="268" y="162"/>
                  </a:cubicBezTo>
                  <a:cubicBezTo>
                    <a:pt x="266" y="162"/>
                    <a:pt x="265" y="161"/>
                    <a:pt x="264" y="160"/>
                  </a:cubicBezTo>
                  <a:cubicBezTo>
                    <a:pt x="263" y="161"/>
                    <a:pt x="263" y="161"/>
                    <a:pt x="263" y="161"/>
                  </a:cubicBezTo>
                  <a:cubicBezTo>
                    <a:pt x="263" y="161"/>
                    <a:pt x="262" y="161"/>
                    <a:pt x="261" y="161"/>
                  </a:cubicBezTo>
                  <a:cubicBezTo>
                    <a:pt x="261" y="161"/>
                    <a:pt x="261" y="161"/>
                    <a:pt x="261" y="161"/>
                  </a:cubicBezTo>
                  <a:cubicBezTo>
                    <a:pt x="260" y="161"/>
                    <a:pt x="260" y="161"/>
                    <a:pt x="260" y="161"/>
                  </a:cubicBezTo>
                  <a:cubicBezTo>
                    <a:pt x="259" y="161"/>
                    <a:pt x="258" y="160"/>
                    <a:pt x="256" y="159"/>
                  </a:cubicBezTo>
                  <a:cubicBezTo>
                    <a:pt x="255" y="158"/>
                    <a:pt x="255" y="158"/>
                    <a:pt x="255" y="158"/>
                  </a:cubicBezTo>
                  <a:cubicBezTo>
                    <a:pt x="254" y="158"/>
                    <a:pt x="254" y="157"/>
                    <a:pt x="253" y="157"/>
                  </a:cubicBezTo>
                  <a:cubicBezTo>
                    <a:pt x="253" y="157"/>
                    <a:pt x="252" y="157"/>
                    <a:pt x="252" y="156"/>
                  </a:cubicBezTo>
                  <a:cubicBezTo>
                    <a:pt x="251" y="156"/>
                    <a:pt x="251" y="156"/>
                    <a:pt x="251" y="156"/>
                  </a:cubicBezTo>
                  <a:cubicBezTo>
                    <a:pt x="250" y="155"/>
                    <a:pt x="249" y="153"/>
                    <a:pt x="247" y="152"/>
                  </a:cubicBezTo>
                  <a:cubicBezTo>
                    <a:pt x="247" y="152"/>
                    <a:pt x="247" y="152"/>
                    <a:pt x="247" y="152"/>
                  </a:cubicBezTo>
                  <a:cubicBezTo>
                    <a:pt x="246" y="151"/>
                    <a:pt x="244" y="150"/>
                    <a:pt x="243" y="149"/>
                  </a:cubicBezTo>
                  <a:cubicBezTo>
                    <a:pt x="242" y="148"/>
                    <a:pt x="240" y="147"/>
                    <a:pt x="239" y="147"/>
                  </a:cubicBezTo>
                  <a:cubicBezTo>
                    <a:pt x="237" y="146"/>
                    <a:pt x="237" y="146"/>
                    <a:pt x="237" y="146"/>
                  </a:cubicBezTo>
                  <a:cubicBezTo>
                    <a:pt x="236" y="148"/>
                    <a:pt x="236" y="148"/>
                    <a:pt x="236" y="148"/>
                  </a:cubicBezTo>
                  <a:cubicBezTo>
                    <a:pt x="233" y="146"/>
                    <a:pt x="233" y="146"/>
                    <a:pt x="233" y="146"/>
                  </a:cubicBezTo>
                  <a:cubicBezTo>
                    <a:pt x="232" y="146"/>
                    <a:pt x="229" y="144"/>
                    <a:pt x="227" y="143"/>
                  </a:cubicBezTo>
                  <a:cubicBezTo>
                    <a:pt x="225" y="141"/>
                    <a:pt x="224" y="139"/>
                    <a:pt x="224" y="137"/>
                  </a:cubicBezTo>
                  <a:cubicBezTo>
                    <a:pt x="225" y="136"/>
                    <a:pt x="225" y="135"/>
                    <a:pt x="225" y="134"/>
                  </a:cubicBezTo>
                  <a:cubicBezTo>
                    <a:pt x="225" y="133"/>
                    <a:pt x="226" y="132"/>
                    <a:pt x="227" y="131"/>
                  </a:cubicBezTo>
                  <a:cubicBezTo>
                    <a:pt x="227" y="130"/>
                    <a:pt x="227" y="130"/>
                    <a:pt x="227" y="130"/>
                  </a:cubicBezTo>
                  <a:cubicBezTo>
                    <a:pt x="228" y="129"/>
                    <a:pt x="228" y="129"/>
                    <a:pt x="228" y="129"/>
                  </a:cubicBezTo>
                  <a:cubicBezTo>
                    <a:pt x="228" y="128"/>
                    <a:pt x="228" y="128"/>
                    <a:pt x="228" y="127"/>
                  </a:cubicBezTo>
                  <a:cubicBezTo>
                    <a:pt x="228" y="127"/>
                    <a:pt x="228" y="126"/>
                    <a:pt x="228" y="126"/>
                  </a:cubicBezTo>
                  <a:cubicBezTo>
                    <a:pt x="228" y="125"/>
                    <a:pt x="228" y="124"/>
                    <a:pt x="229" y="124"/>
                  </a:cubicBezTo>
                  <a:cubicBezTo>
                    <a:pt x="230" y="122"/>
                    <a:pt x="230" y="122"/>
                    <a:pt x="230" y="122"/>
                  </a:cubicBezTo>
                  <a:cubicBezTo>
                    <a:pt x="230" y="122"/>
                    <a:pt x="230" y="122"/>
                    <a:pt x="230" y="122"/>
                  </a:cubicBezTo>
                  <a:cubicBezTo>
                    <a:pt x="230" y="122"/>
                    <a:pt x="230" y="122"/>
                    <a:pt x="230" y="122"/>
                  </a:cubicBezTo>
                  <a:cubicBezTo>
                    <a:pt x="231" y="121"/>
                    <a:pt x="231" y="121"/>
                    <a:pt x="231" y="121"/>
                  </a:cubicBezTo>
                  <a:cubicBezTo>
                    <a:pt x="241" y="111"/>
                    <a:pt x="241" y="111"/>
                    <a:pt x="241" y="111"/>
                  </a:cubicBezTo>
                  <a:cubicBezTo>
                    <a:pt x="228" y="105"/>
                    <a:pt x="228" y="105"/>
                    <a:pt x="228" y="105"/>
                  </a:cubicBezTo>
                  <a:cubicBezTo>
                    <a:pt x="227" y="104"/>
                    <a:pt x="227" y="104"/>
                    <a:pt x="227" y="103"/>
                  </a:cubicBezTo>
                  <a:cubicBezTo>
                    <a:pt x="226" y="102"/>
                    <a:pt x="226" y="102"/>
                    <a:pt x="226" y="102"/>
                  </a:cubicBezTo>
                  <a:cubicBezTo>
                    <a:pt x="227" y="101"/>
                    <a:pt x="227" y="101"/>
                    <a:pt x="227" y="101"/>
                  </a:cubicBezTo>
                  <a:cubicBezTo>
                    <a:pt x="227" y="100"/>
                    <a:pt x="227" y="100"/>
                    <a:pt x="227" y="100"/>
                  </a:cubicBezTo>
                  <a:cubicBezTo>
                    <a:pt x="227" y="100"/>
                    <a:pt x="226" y="100"/>
                    <a:pt x="226" y="100"/>
                  </a:cubicBezTo>
                  <a:cubicBezTo>
                    <a:pt x="224" y="98"/>
                    <a:pt x="220" y="97"/>
                    <a:pt x="218" y="97"/>
                  </a:cubicBezTo>
                  <a:cubicBezTo>
                    <a:pt x="217" y="96"/>
                    <a:pt x="217" y="96"/>
                    <a:pt x="217" y="96"/>
                  </a:cubicBezTo>
                  <a:cubicBezTo>
                    <a:pt x="216" y="96"/>
                    <a:pt x="216" y="96"/>
                    <a:pt x="216" y="96"/>
                  </a:cubicBezTo>
                  <a:cubicBezTo>
                    <a:pt x="214" y="96"/>
                    <a:pt x="213" y="95"/>
                    <a:pt x="212" y="94"/>
                  </a:cubicBezTo>
                  <a:cubicBezTo>
                    <a:pt x="212" y="93"/>
                    <a:pt x="212" y="93"/>
                    <a:pt x="212" y="93"/>
                  </a:cubicBezTo>
                  <a:cubicBezTo>
                    <a:pt x="211" y="93"/>
                    <a:pt x="211" y="92"/>
                    <a:pt x="210" y="91"/>
                  </a:cubicBezTo>
                  <a:cubicBezTo>
                    <a:pt x="210" y="91"/>
                    <a:pt x="210" y="91"/>
                    <a:pt x="210" y="91"/>
                  </a:cubicBezTo>
                  <a:cubicBezTo>
                    <a:pt x="209" y="90"/>
                    <a:pt x="209" y="89"/>
                    <a:pt x="209" y="89"/>
                  </a:cubicBezTo>
                  <a:cubicBezTo>
                    <a:pt x="208" y="89"/>
                    <a:pt x="208" y="89"/>
                    <a:pt x="208" y="89"/>
                  </a:cubicBezTo>
                  <a:cubicBezTo>
                    <a:pt x="208" y="89"/>
                    <a:pt x="208" y="89"/>
                    <a:pt x="208" y="89"/>
                  </a:cubicBezTo>
                  <a:cubicBezTo>
                    <a:pt x="208" y="88"/>
                    <a:pt x="208" y="88"/>
                    <a:pt x="208" y="88"/>
                  </a:cubicBezTo>
                  <a:cubicBezTo>
                    <a:pt x="208" y="88"/>
                    <a:pt x="208" y="88"/>
                    <a:pt x="208" y="88"/>
                  </a:cubicBezTo>
                  <a:cubicBezTo>
                    <a:pt x="207" y="87"/>
                    <a:pt x="207" y="87"/>
                    <a:pt x="207" y="87"/>
                  </a:cubicBezTo>
                  <a:cubicBezTo>
                    <a:pt x="207" y="87"/>
                    <a:pt x="207" y="87"/>
                    <a:pt x="207" y="87"/>
                  </a:cubicBezTo>
                  <a:cubicBezTo>
                    <a:pt x="207" y="88"/>
                    <a:pt x="206" y="88"/>
                    <a:pt x="206" y="88"/>
                  </a:cubicBezTo>
                  <a:cubicBezTo>
                    <a:pt x="206" y="89"/>
                    <a:pt x="206" y="89"/>
                    <a:pt x="206" y="89"/>
                  </a:cubicBezTo>
                  <a:cubicBezTo>
                    <a:pt x="205" y="89"/>
                    <a:pt x="205" y="89"/>
                    <a:pt x="205" y="89"/>
                  </a:cubicBezTo>
                  <a:cubicBezTo>
                    <a:pt x="203" y="91"/>
                    <a:pt x="203" y="91"/>
                    <a:pt x="203" y="91"/>
                  </a:cubicBezTo>
                  <a:cubicBezTo>
                    <a:pt x="202" y="89"/>
                    <a:pt x="202" y="89"/>
                    <a:pt x="202" y="89"/>
                  </a:cubicBezTo>
                  <a:cubicBezTo>
                    <a:pt x="201" y="88"/>
                    <a:pt x="201" y="88"/>
                    <a:pt x="201" y="88"/>
                  </a:cubicBezTo>
                  <a:cubicBezTo>
                    <a:pt x="200" y="88"/>
                    <a:pt x="200" y="87"/>
                    <a:pt x="200" y="87"/>
                  </a:cubicBezTo>
                  <a:cubicBezTo>
                    <a:pt x="199" y="86"/>
                    <a:pt x="199" y="85"/>
                    <a:pt x="198" y="84"/>
                  </a:cubicBezTo>
                  <a:cubicBezTo>
                    <a:pt x="198" y="84"/>
                    <a:pt x="198" y="84"/>
                    <a:pt x="198" y="84"/>
                  </a:cubicBezTo>
                  <a:cubicBezTo>
                    <a:pt x="198" y="83"/>
                    <a:pt x="198" y="83"/>
                    <a:pt x="198" y="82"/>
                  </a:cubicBezTo>
                  <a:cubicBezTo>
                    <a:pt x="198" y="81"/>
                    <a:pt x="198" y="81"/>
                    <a:pt x="198" y="81"/>
                  </a:cubicBezTo>
                  <a:cubicBezTo>
                    <a:pt x="198" y="79"/>
                    <a:pt x="199" y="78"/>
                    <a:pt x="198" y="77"/>
                  </a:cubicBezTo>
                  <a:cubicBezTo>
                    <a:pt x="198" y="76"/>
                    <a:pt x="198" y="76"/>
                    <a:pt x="198" y="76"/>
                  </a:cubicBezTo>
                  <a:cubicBezTo>
                    <a:pt x="199" y="75"/>
                    <a:pt x="199" y="75"/>
                    <a:pt x="199" y="75"/>
                  </a:cubicBezTo>
                  <a:cubicBezTo>
                    <a:pt x="198" y="75"/>
                    <a:pt x="198" y="75"/>
                    <a:pt x="198" y="75"/>
                  </a:cubicBezTo>
                  <a:cubicBezTo>
                    <a:pt x="198" y="74"/>
                    <a:pt x="197" y="72"/>
                    <a:pt x="196" y="71"/>
                  </a:cubicBezTo>
                  <a:cubicBezTo>
                    <a:pt x="196" y="71"/>
                    <a:pt x="196" y="71"/>
                    <a:pt x="196" y="71"/>
                  </a:cubicBezTo>
                  <a:cubicBezTo>
                    <a:pt x="194" y="69"/>
                    <a:pt x="193" y="66"/>
                    <a:pt x="192" y="63"/>
                  </a:cubicBezTo>
                  <a:cubicBezTo>
                    <a:pt x="192" y="63"/>
                    <a:pt x="192" y="61"/>
                    <a:pt x="193" y="60"/>
                  </a:cubicBezTo>
                  <a:cubicBezTo>
                    <a:pt x="193" y="59"/>
                    <a:pt x="195" y="58"/>
                    <a:pt x="196" y="58"/>
                  </a:cubicBezTo>
                  <a:cubicBezTo>
                    <a:pt x="196" y="58"/>
                    <a:pt x="197" y="58"/>
                    <a:pt x="197" y="58"/>
                  </a:cubicBezTo>
                  <a:cubicBezTo>
                    <a:pt x="197" y="58"/>
                    <a:pt x="197" y="58"/>
                    <a:pt x="197" y="58"/>
                  </a:cubicBezTo>
                  <a:cubicBezTo>
                    <a:pt x="198" y="58"/>
                    <a:pt x="198" y="58"/>
                    <a:pt x="199" y="57"/>
                  </a:cubicBezTo>
                  <a:cubicBezTo>
                    <a:pt x="206" y="56"/>
                    <a:pt x="206" y="56"/>
                    <a:pt x="206" y="56"/>
                  </a:cubicBezTo>
                  <a:cubicBezTo>
                    <a:pt x="204" y="60"/>
                    <a:pt x="204" y="60"/>
                    <a:pt x="204" y="60"/>
                  </a:cubicBezTo>
                  <a:cubicBezTo>
                    <a:pt x="204" y="60"/>
                    <a:pt x="204" y="60"/>
                    <a:pt x="204" y="60"/>
                  </a:cubicBezTo>
                  <a:cubicBezTo>
                    <a:pt x="204" y="61"/>
                    <a:pt x="204" y="61"/>
                    <a:pt x="204" y="61"/>
                  </a:cubicBezTo>
                  <a:cubicBezTo>
                    <a:pt x="205" y="62"/>
                    <a:pt x="206" y="62"/>
                    <a:pt x="206" y="62"/>
                  </a:cubicBezTo>
                  <a:cubicBezTo>
                    <a:pt x="206" y="63"/>
                    <a:pt x="206" y="63"/>
                    <a:pt x="206" y="63"/>
                  </a:cubicBezTo>
                  <a:cubicBezTo>
                    <a:pt x="207" y="62"/>
                    <a:pt x="210" y="60"/>
                    <a:pt x="213" y="57"/>
                  </a:cubicBezTo>
                  <a:cubicBezTo>
                    <a:pt x="212" y="56"/>
                    <a:pt x="212" y="56"/>
                    <a:pt x="212" y="56"/>
                  </a:cubicBezTo>
                  <a:cubicBezTo>
                    <a:pt x="212" y="55"/>
                    <a:pt x="212" y="55"/>
                    <a:pt x="212" y="55"/>
                  </a:cubicBezTo>
                  <a:cubicBezTo>
                    <a:pt x="212" y="54"/>
                    <a:pt x="212" y="53"/>
                    <a:pt x="212" y="52"/>
                  </a:cubicBezTo>
                  <a:cubicBezTo>
                    <a:pt x="211" y="50"/>
                    <a:pt x="211" y="50"/>
                    <a:pt x="211" y="50"/>
                  </a:cubicBezTo>
                  <a:cubicBezTo>
                    <a:pt x="211" y="50"/>
                    <a:pt x="211" y="50"/>
                    <a:pt x="211" y="50"/>
                  </a:cubicBezTo>
                  <a:cubicBezTo>
                    <a:pt x="211" y="50"/>
                    <a:pt x="211" y="50"/>
                    <a:pt x="211" y="50"/>
                  </a:cubicBezTo>
                  <a:cubicBezTo>
                    <a:pt x="210" y="49"/>
                    <a:pt x="210" y="49"/>
                    <a:pt x="210" y="49"/>
                  </a:cubicBezTo>
                  <a:cubicBezTo>
                    <a:pt x="208" y="48"/>
                    <a:pt x="206" y="47"/>
                    <a:pt x="205" y="46"/>
                  </a:cubicBezTo>
                  <a:cubicBezTo>
                    <a:pt x="204" y="45"/>
                    <a:pt x="204" y="45"/>
                    <a:pt x="204" y="45"/>
                  </a:cubicBezTo>
                  <a:cubicBezTo>
                    <a:pt x="203" y="45"/>
                    <a:pt x="203" y="44"/>
                    <a:pt x="203" y="44"/>
                  </a:cubicBezTo>
                  <a:cubicBezTo>
                    <a:pt x="202" y="43"/>
                    <a:pt x="202" y="43"/>
                    <a:pt x="202" y="43"/>
                  </a:cubicBezTo>
                  <a:cubicBezTo>
                    <a:pt x="202" y="42"/>
                    <a:pt x="202" y="42"/>
                    <a:pt x="202" y="42"/>
                  </a:cubicBezTo>
                  <a:cubicBezTo>
                    <a:pt x="202" y="41"/>
                    <a:pt x="202" y="41"/>
                    <a:pt x="202" y="41"/>
                  </a:cubicBezTo>
                  <a:cubicBezTo>
                    <a:pt x="201" y="38"/>
                    <a:pt x="201" y="38"/>
                    <a:pt x="201" y="38"/>
                  </a:cubicBezTo>
                  <a:cubicBezTo>
                    <a:pt x="196" y="39"/>
                    <a:pt x="196" y="39"/>
                    <a:pt x="196" y="39"/>
                  </a:cubicBezTo>
                  <a:cubicBezTo>
                    <a:pt x="200" y="37"/>
                    <a:pt x="200" y="37"/>
                    <a:pt x="200" y="37"/>
                  </a:cubicBezTo>
                  <a:cubicBezTo>
                    <a:pt x="199" y="33"/>
                    <a:pt x="199" y="33"/>
                    <a:pt x="199" y="33"/>
                  </a:cubicBezTo>
                  <a:cubicBezTo>
                    <a:pt x="199" y="32"/>
                    <a:pt x="199" y="32"/>
                    <a:pt x="199" y="32"/>
                  </a:cubicBezTo>
                  <a:cubicBezTo>
                    <a:pt x="199" y="32"/>
                    <a:pt x="199" y="32"/>
                    <a:pt x="199" y="32"/>
                  </a:cubicBezTo>
                  <a:cubicBezTo>
                    <a:pt x="199" y="31"/>
                    <a:pt x="199" y="31"/>
                    <a:pt x="199" y="31"/>
                  </a:cubicBezTo>
                  <a:cubicBezTo>
                    <a:pt x="198" y="29"/>
                    <a:pt x="199" y="28"/>
                    <a:pt x="199" y="27"/>
                  </a:cubicBezTo>
                  <a:cubicBezTo>
                    <a:pt x="200" y="26"/>
                    <a:pt x="200" y="26"/>
                    <a:pt x="200" y="26"/>
                  </a:cubicBezTo>
                  <a:cubicBezTo>
                    <a:pt x="202" y="24"/>
                    <a:pt x="202" y="24"/>
                    <a:pt x="202" y="24"/>
                  </a:cubicBezTo>
                  <a:cubicBezTo>
                    <a:pt x="201" y="23"/>
                    <a:pt x="201" y="23"/>
                    <a:pt x="201" y="23"/>
                  </a:cubicBezTo>
                  <a:cubicBezTo>
                    <a:pt x="200" y="23"/>
                    <a:pt x="200" y="23"/>
                    <a:pt x="200" y="23"/>
                  </a:cubicBezTo>
                  <a:cubicBezTo>
                    <a:pt x="198" y="22"/>
                    <a:pt x="196" y="22"/>
                    <a:pt x="195" y="21"/>
                  </a:cubicBezTo>
                  <a:cubicBezTo>
                    <a:pt x="193" y="19"/>
                    <a:pt x="191" y="18"/>
                    <a:pt x="190" y="16"/>
                  </a:cubicBezTo>
                  <a:cubicBezTo>
                    <a:pt x="190" y="16"/>
                    <a:pt x="190" y="15"/>
                    <a:pt x="190" y="15"/>
                  </a:cubicBezTo>
                  <a:cubicBezTo>
                    <a:pt x="188" y="9"/>
                    <a:pt x="188" y="9"/>
                    <a:pt x="188" y="9"/>
                  </a:cubicBezTo>
                  <a:cubicBezTo>
                    <a:pt x="187" y="8"/>
                    <a:pt x="187" y="8"/>
                    <a:pt x="187" y="7"/>
                  </a:cubicBezTo>
                  <a:cubicBezTo>
                    <a:pt x="186" y="6"/>
                    <a:pt x="186" y="6"/>
                    <a:pt x="186" y="6"/>
                  </a:cubicBezTo>
                  <a:cubicBezTo>
                    <a:pt x="185" y="5"/>
                    <a:pt x="185" y="4"/>
                    <a:pt x="185" y="2"/>
                  </a:cubicBezTo>
                  <a:cubicBezTo>
                    <a:pt x="185" y="2"/>
                    <a:pt x="185" y="1"/>
                    <a:pt x="1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Rectangle 415"/>
            <p:cNvSpPr>
              <a:spLocks noChangeArrowheads="1"/>
            </p:cNvSpPr>
            <p:nvPr/>
          </p:nvSpPr>
          <p:spPr bwMode="auto">
            <a:xfrm>
              <a:off x="2635365" y="5287196"/>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416"/>
            <p:cNvSpPr/>
            <p:nvPr/>
          </p:nvSpPr>
          <p:spPr bwMode="auto">
            <a:xfrm flipH="1">
              <a:off x="2635365" y="528719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417"/>
            <p:cNvSpPr/>
            <p:nvPr/>
          </p:nvSpPr>
          <p:spPr bwMode="auto">
            <a:xfrm flipH="1">
              <a:off x="2678005" y="4750770"/>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418"/>
            <p:cNvSpPr/>
            <p:nvPr/>
          </p:nvSpPr>
          <p:spPr bwMode="auto">
            <a:xfrm flipH="1">
              <a:off x="2678005" y="4750770"/>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419"/>
            <p:cNvSpPr>
              <a:spLocks noEditPoints="1"/>
            </p:cNvSpPr>
            <p:nvPr/>
          </p:nvSpPr>
          <p:spPr bwMode="auto">
            <a:xfrm>
              <a:off x="2203474" y="4379398"/>
              <a:ext cx="998577" cy="898170"/>
            </a:xfrm>
            <a:custGeom>
              <a:gdLst>
                <a:gd name="T0" fmla="*/ 248 w 307"/>
                <a:gd name="T1" fmla="*/ 4 h 276"/>
                <a:gd name="T2" fmla="*/ 231 w 307"/>
                <a:gd name="T3" fmla="*/ 3 h 276"/>
                <a:gd name="T4" fmla="*/ 203 w 307"/>
                <a:gd name="T5" fmla="*/ 13 h 276"/>
                <a:gd name="T6" fmla="*/ 199 w 307"/>
                <a:gd name="T7" fmla="*/ 27 h 276"/>
                <a:gd name="T8" fmla="*/ 202 w 307"/>
                <a:gd name="T9" fmla="*/ 38 h 276"/>
                <a:gd name="T10" fmla="*/ 191 w 307"/>
                <a:gd name="T11" fmla="*/ 50 h 276"/>
                <a:gd name="T12" fmla="*/ 192 w 307"/>
                <a:gd name="T13" fmla="*/ 60 h 276"/>
                <a:gd name="T14" fmla="*/ 169 w 307"/>
                <a:gd name="T15" fmla="*/ 65 h 276"/>
                <a:gd name="T16" fmla="*/ 168 w 307"/>
                <a:gd name="T17" fmla="*/ 84 h 276"/>
                <a:gd name="T18" fmla="*/ 163 w 307"/>
                <a:gd name="T19" fmla="*/ 85 h 276"/>
                <a:gd name="T20" fmla="*/ 160 w 307"/>
                <a:gd name="T21" fmla="*/ 93 h 276"/>
                <a:gd name="T22" fmla="*/ 149 w 307"/>
                <a:gd name="T23" fmla="*/ 115 h 276"/>
                <a:gd name="T24" fmla="*/ 143 w 307"/>
                <a:gd name="T25" fmla="*/ 114 h 276"/>
                <a:gd name="T26" fmla="*/ 134 w 307"/>
                <a:gd name="T27" fmla="*/ 113 h 276"/>
                <a:gd name="T28" fmla="*/ 120 w 307"/>
                <a:gd name="T29" fmla="*/ 124 h 276"/>
                <a:gd name="T30" fmla="*/ 108 w 307"/>
                <a:gd name="T31" fmla="*/ 124 h 276"/>
                <a:gd name="T32" fmla="*/ 100 w 307"/>
                <a:gd name="T33" fmla="*/ 139 h 276"/>
                <a:gd name="T34" fmla="*/ 94 w 307"/>
                <a:gd name="T35" fmla="*/ 154 h 276"/>
                <a:gd name="T36" fmla="*/ 60 w 307"/>
                <a:gd name="T37" fmla="*/ 161 h 276"/>
                <a:gd name="T38" fmla="*/ 53 w 307"/>
                <a:gd name="T39" fmla="*/ 162 h 276"/>
                <a:gd name="T40" fmla="*/ 37 w 307"/>
                <a:gd name="T41" fmla="*/ 161 h 276"/>
                <a:gd name="T42" fmla="*/ 2 w 307"/>
                <a:gd name="T43" fmla="*/ 157 h 276"/>
                <a:gd name="T44" fmla="*/ 23 w 307"/>
                <a:gd name="T45" fmla="*/ 179 h 276"/>
                <a:gd name="T46" fmla="*/ 33 w 307"/>
                <a:gd name="T47" fmla="*/ 192 h 276"/>
                <a:gd name="T48" fmla="*/ 43 w 307"/>
                <a:gd name="T49" fmla="*/ 204 h 276"/>
                <a:gd name="T50" fmla="*/ 24 w 307"/>
                <a:gd name="T51" fmla="*/ 222 h 276"/>
                <a:gd name="T52" fmla="*/ 12 w 307"/>
                <a:gd name="T53" fmla="*/ 241 h 276"/>
                <a:gd name="T54" fmla="*/ 22 w 307"/>
                <a:gd name="T55" fmla="*/ 249 h 276"/>
                <a:gd name="T56" fmla="*/ 56 w 307"/>
                <a:gd name="T57" fmla="*/ 241 h 276"/>
                <a:gd name="T58" fmla="*/ 94 w 307"/>
                <a:gd name="T59" fmla="*/ 242 h 276"/>
                <a:gd name="T60" fmla="*/ 100 w 307"/>
                <a:gd name="T61" fmla="*/ 240 h 276"/>
                <a:gd name="T62" fmla="*/ 112 w 307"/>
                <a:gd name="T63" fmla="*/ 252 h 276"/>
                <a:gd name="T64" fmla="*/ 132 w 307"/>
                <a:gd name="T65" fmla="*/ 275 h 276"/>
                <a:gd name="T66" fmla="*/ 142 w 307"/>
                <a:gd name="T67" fmla="*/ 269 h 276"/>
                <a:gd name="T68" fmla="*/ 162 w 307"/>
                <a:gd name="T69" fmla="*/ 264 h 276"/>
                <a:gd name="T70" fmla="*/ 175 w 307"/>
                <a:gd name="T71" fmla="*/ 261 h 276"/>
                <a:gd name="T72" fmla="*/ 184 w 307"/>
                <a:gd name="T73" fmla="*/ 262 h 276"/>
                <a:gd name="T74" fmla="*/ 179 w 307"/>
                <a:gd name="T75" fmla="*/ 249 h 276"/>
                <a:gd name="T76" fmla="*/ 175 w 307"/>
                <a:gd name="T77" fmla="*/ 239 h 276"/>
                <a:gd name="T78" fmla="*/ 169 w 307"/>
                <a:gd name="T79" fmla="*/ 230 h 276"/>
                <a:gd name="T80" fmla="*/ 164 w 307"/>
                <a:gd name="T81" fmla="*/ 223 h 276"/>
                <a:gd name="T82" fmla="*/ 167 w 307"/>
                <a:gd name="T83" fmla="*/ 194 h 276"/>
                <a:gd name="T84" fmla="*/ 173 w 307"/>
                <a:gd name="T85" fmla="*/ 188 h 276"/>
                <a:gd name="T86" fmla="*/ 180 w 307"/>
                <a:gd name="T87" fmla="*/ 187 h 276"/>
                <a:gd name="T88" fmla="*/ 186 w 307"/>
                <a:gd name="T89" fmla="*/ 192 h 276"/>
                <a:gd name="T90" fmla="*/ 200 w 307"/>
                <a:gd name="T91" fmla="*/ 189 h 276"/>
                <a:gd name="T92" fmla="*/ 226 w 307"/>
                <a:gd name="T93" fmla="*/ 160 h 276"/>
                <a:gd name="T94" fmla="*/ 240 w 307"/>
                <a:gd name="T95" fmla="*/ 143 h 276"/>
                <a:gd name="T96" fmla="*/ 253 w 307"/>
                <a:gd name="T97" fmla="*/ 127 h 276"/>
                <a:gd name="T98" fmla="*/ 252 w 307"/>
                <a:gd name="T99" fmla="*/ 112 h 276"/>
                <a:gd name="T100" fmla="*/ 263 w 307"/>
                <a:gd name="T101" fmla="*/ 103 h 276"/>
                <a:gd name="T102" fmla="*/ 263 w 307"/>
                <a:gd name="T103" fmla="*/ 99 h 276"/>
                <a:gd name="T104" fmla="*/ 247 w 307"/>
                <a:gd name="T105" fmla="*/ 87 h 276"/>
                <a:gd name="T106" fmla="*/ 245 w 307"/>
                <a:gd name="T107" fmla="*/ 73 h 276"/>
                <a:gd name="T108" fmla="*/ 245 w 307"/>
                <a:gd name="T109" fmla="*/ 65 h 276"/>
                <a:gd name="T110" fmla="*/ 242 w 307"/>
                <a:gd name="T111" fmla="*/ 59 h 276"/>
                <a:gd name="T112" fmla="*/ 252 w 307"/>
                <a:gd name="T113" fmla="*/ 46 h 276"/>
                <a:gd name="T114" fmla="*/ 272 w 307"/>
                <a:gd name="T115" fmla="*/ 48 h 276"/>
                <a:gd name="T116" fmla="*/ 289 w 307"/>
                <a:gd name="T117" fmla="*/ 46 h 276"/>
                <a:gd name="T118" fmla="*/ 305 w 307"/>
                <a:gd name="T119" fmla="*/ 35 h 276"/>
                <a:gd name="T120" fmla="*/ 288 w 307"/>
                <a:gd name="T121" fmla="*/ 26 h 276"/>
                <a:gd name="T122" fmla="*/ 280 w 307"/>
                <a:gd name="T123" fmla="*/ 15 h 276"/>
                <a:gd name="T124" fmla="*/ 264 w 307"/>
                <a:gd name="T125" fmla="*/ 1 h 2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7" h="276">
                  <a:moveTo>
                    <a:pt x="102" y="242"/>
                  </a:moveTo>
                  <a:cubicBezTo>
                    <a:pt x="102" y="242"/>
                    <a:pt x="102" y="242"/>
                    <a:pt x="102" y="242"/>
                  </a:cubicBezTo>
                  <a:cubicBezTo>
                    <a:pt x="102" y="242"/>
                    <a:pt x="102" y="242"/>
                    <a:pt x="102" y="242"/>
                  </a:cubicBezTo>
                  <a:moveTo>
                    <a:pt x="257" y="0"/>
                  </a:moveTo>
                  <a:cubicBezTo>
                    <a:pt x="256" y="0"/>
                    <a:pt x="256" y="0"/>
                    <a:pt x="256" y="0"/>
                  </a:cubicBezTo>
                  <a:cubicBezTo>
                    <a:pt x="255" y="0"/>
                    <a:pt x="254" y="1"/>
                    <a:pt x="253" y="1"/>
                  </a:cubicBezTo>
                  <a:cubicBezTo>
                    <a:pt x="253" y="1"/>
                    <a:pt x="253" y="1"/>
                    <a:pt x="253" y="1"/>
                  </a:cubicBezTo>
                  <a:cubicBezTo>
                    <a:pt x="251" y="2"/>
                    <a:pt x="249" y="3"/>
                    <a:pt x="248" y="4"/>
                  </a:cubicBezTo>
                  <a:cubicBezTo>
                    <a:pt x="247" y="4"/>
                    <a:pt x="247" y="4"/>
                    <a:pt x="247" y="4"/>
                  </a:cubicBezTo>
                  <a:cubicBezTo>
                    <a:pt x="246" y="4"/>
                    <a:pt x="246" y="4"/>
                    <a:pt x="245" y="4"/>
                  </a:cubicBezTo>
                  <a:cubicBezTo>
                    <a:pt x="244" y="4"/>
                    <a:pt x="242" y="4"/>
                    <a:pt x="241" y="3"/>
                  </a:cubicBezTo>
                  <a:cubicBezTo>
                    <a:pt x="241" y="3"/>
                    <a:pt x="241" y="3"/>
                    <a:pt x="241" y="3"/>
                  </a:cubicBezTo>
                  <a:cubicBezTo>
                    <a:pt x="240" y="3"/>
                    <a:pt x="240" y="3"/>
                    <a:pt x="240" y="3"/>
                  </a:cubicBezTo>
                  <a:cubicBezTo>
                    <a:pt x="239" y="3"/>
                    <a:pt x="239" y="3"/>
                    <a:pt x="238" y="3"/>
                  </a:cubicBezTo>
                  <a:cubicBezTo>
                    <a:pt x="237" y="3"/>
                    <a:pt x="236" y="3"/>
                    <a:pt x="234" y="3"/>
                  </a:cubicBezTo>
                  <a:cubicBezTo>
                    <a:pt x="231" y="3"/>
                    <a:pt x="231" y="3"/>
                    <a:pt x="231" y="3"/>
                  </a:cubicBezTo>
                  <a:cubicBezTo>
                    <a:pt x="229" y="3"/>
                    <a:pt x="227" y="4"/>
                    <a:pt x="225" y="4"/>
                  </a:cubicBezTo>
                  <a:cubicBezTo>
                    <a:pt x="222" y="4"/>
                    <a:pt x="222" y="4"/>
                    <a:pt x="222" y="4"/>
                  </a:cubicBezTo>
                  <a:cubicBezTo>
                    <a:pt x="220" y="4"/>
                    <a:pt x="218" y="5"/>
                    <a:pt x="217" y="5"/>
                  </a:cubicBezTo>
                  <a:cubicBezTo>
                    <a:pt x="215" y="6"/>
                    <a:pt x="213" y="8"/>
                    <a:pt x="211" y="9"/>
                  </a:cubicBezTo>
                  <a:cubicBezTo>
                    <a:pt x="210" y="9"/>
                    <a:pt x="210" y="9"/>
                    <a:pt x="210" y="9"/>
                  </a:cubicBezTo>
                  <a:cubicBezTo>
                    <a:pt x="208" y="10"/>
                    <a:pt x="207" y="11"/>
                    <a:pt x="205" y="12"/>
                  </a:cubicBezTo>
                  <a:cubicBezTo>
                    <a:pt x="205" y="13"/>
                    <a:pt x="204" y="13"/>
                    <a:pt x="203" y="13"/>
                  </a:cubicBezTo>
                  <a:cubicBezTo>
                    <a:pt x="203" y="13"/>
                    <a:pt x="203" y="13"/>
                    <a:pt x="203" y="13"/>
                  </a:cubicBezTo>
                  <a:cubicBezTo>
                    <a:pt x="202" y="13"/>
                    <a:pt x="201" y="13"/>
                    <a:pt x="201" y="13"/>
                  </a:cubicBezTo>
                  <a:cubicBezTo>
                    <a:pt x="200" y="12"/>
                    <a:pt x="200" y="12"/>
                    <a:pt x="200" y="12"/>
                  </a:cubicBezTo>
                  <a:cubicBezTo>
                    <a:pt x="198" y="15"/>
                    <a:pt x="196" y="17"/>
                    <a:pt x="194" y="19"/>
                  </a:cubicBezTo>
                  <a:cubicBezTo>
                    <a:pt x="195" y="20"/>
                    <a:pt x="196" y="22"/>
                    <a:pt x="197" y="23"/>
                  </a:cubicBezTo>
                  <a:cubicBezTo>
                    <a:pt x="197" y="23"/>
                    <a:pt x="197" y="24"/>
                    <a:pt x="197" y="24"/>
                  </a:cubicBezTo>
                  <a:cubicBezTo>
                    <a:pt x="198" y="24"/>
                    <a:pt x="198" y="24"/>
                    <a:pt x="198" y="25"/>
                  </a:cubicBezTo>
                  <a:cubicBezTo>
                    <a:pt x="198" y="25"/>
                    <a:pt x="199" y="26"/>
                    <a:pt x="199" y="26"/>
                  </a:cubicBezTo>
                  <a:cubicBezTo>
                    <a:pt x="199" y="27"/>
                    <a:pt x="199" y="27"/>
                    <a:pt x="199" y="27"/>
                  </a:cubicBezTo>
                  <a:cubicBezTo>
                    <a:pt x="202" y="25"/>
                    <a:pt x="202" y="25"/>
                    <a:pt x="202" y="25"/>
                  </a:cubicBezTo>
                  <a:cubicBezTo>
                    <a:pt x="200" y="28"/>
                    <a:pt x="200" y="28"/>
                    <a:pt x="200" y="28"/>
                  </a:cubicBezTo>
                  <a:cubicBezTo>
                    <a:pt x="200" y="29"/>
                    <a:pt x="200" y="29"/>
                    <a:pt x="200" y="29"/>
                  </a:cubicBezTo>
                  <a:cubicBezTo>
                    <a:pt x="201" y="30"/>
                    <a:pt x="201" y="32"/>
                    <a:pt x="201" y="33"/>
                  </a:cubicBezTo>
                  <a:cubicBezTo>
                    <a:pt x="201" y="34"/>
                    <a:pt x="201" y="34"/>
                    <a:pt x="201" y="35"/>
                  </a:cubicBezTo>
                  <a:cubicBezTo>
                    <a:pt x="201" y="35"/>
                    <a:pt x="201" y="35"/>
                    <a:pt x="201" y="35"/>
                  </a:cubicBezTo>
                  <a:cubicBezTo>
                    <a:pt x="201" y="35"/>
                    <a:pt x="201" y="35"/>
                    <a:pt x="201" y="35"/>
                  </a:cubicBezTo>
                  <a:cubicBezTo>
                    <a:pt x="202" y="36"/>
                    <a:pt x="202" y="37"/>
                    <a:pt x="202" y="38"/>
                  </a:cubicBezTo>
                  <a:cubicBezTo>
                    <a:pt x="202" y="38"/>
                    <a:pt x="202" y="38"/>
                    <a:pt x="202" y="38"/>
                  </a:cubicBezTo>
                  <a:cubicBezTo>
                    <a:pt x="202" y="39"/>
                    <a:pt x="201" y="39"/>
                    <a:pt x="201" y="39"/>
                  </a:cubicBezTo>
                  <a:cubicBezTo>
                    <a:pt x="200" y="40"/>
                    <a:pt x="200" y="40"/>
                    <a:pt x="200" y="40"/>
                  </a:cubicBezTo>
                  <a:cubicBezTo>
                    <a:pt x="200" y="41"/>
                    <a:pt x="200" y="41"/>
                    <a:pt x="200" y="41"/>
                  </a:cubicBezTo>
                  <a:cubicBezTo>
                    <a:pt x="199" y="44"/>
                    <a:pt x="197" y="45"/>
                    <a:pt x="196" y="45"/>
                  </a:cubicBezTo>
                  <a:cubicBezTo>
                    <a:pt x="196" y="45"/>
                    <a:pt x="195" y="46"/>
                    <a:pt x="195" y="46"/>
                  </a:cubicBezTo>
                  <a:cubicBezTo>
                    <a:pt x="194" y="46"/>
                    <a:pt x="194" y="47"/>
                    <a:pt x="194" y="47"/>
                  </a:cubicBezTo>
                  <a:cubicBezTo>
                    <a:pt x="193" y="48"/>
                    <a:pt x="193" y="49"/>
                    <a:pt x="191" y="50"/>
                  </a:cubicBezTo>
                  <a:cubicBezTo>
                    <a:pt x="191" y="51"/>
                    <a:pt x="190" y="51"/>
                    <a:pt x="190" y="51"/>
                  </a:cubicBezTo>
                  <a:cubicBezTo>
                    <a:pt x="189" y="52"/>
                    <a:pt x="190" y="52"/>
                    <a:pt x="190" y="52"/>
                  </a:cubicBezTo>
                  <a:cubicBezTo>
                    <a:pt x="190" y="53"/>
                    <a:pt x="190" y="53"/>
                    <a:pt x="191" y="54"/>
                  </a:cubicBezTo>
                  <a:cubicBezTo>
                    <a:pt x="191" y="54"/>
                    <a:pt x="191" y="54"/>
                    <a:pt x="191" y="54"/>
                  </a:cubicBezTo>
                  <a:cubicBezTo>
                    <a:pt x="191" y="54"/>
                    <a:pt x="192" y="55"/>
                    <a:pt x="192" y="55"/>
                  </a:cubicBezTo>
                  <a:cubicBezTo>
                    <a:pt x="192" y="56"/>
                    <a:pt x="192" y="57"/>
                    <a:pt x="192" y="57"/>
                  </a:cubicBezTo>
                  <a:cubicBezTo>
                    <a:pt x="192" y="58"/>
                    <a:pt x="192" y="59"/>
                    <a:pt x="192" y="59"/>
                  </a:cubicBezTo>
                  <a:cubicBezTo>
                    <a:pt x="192" y="60"/>
                    <a:pt x="192" y="60"/>
                    <a:pt x="192" y="60"/>
                  </a:cubicBezTo>
                  <a:cubicBezTo>
                    <a:pt x="191" y="60"/>
                    <a:pt x="191" y="60"/>
                    <a:pt x="191" y="60"/>
                  </a:cubicBezTo>
                  <a:cubicBezTo>
                    <a:pt x="191" y="61"/>
                    <a:pt x="191" y="61"/>
                    <a:pt x="191" y="61"/>
                  </a:cubicBezTo>
                  <a:cubicBezTo>
                    <a:pt x="190" y="63"/>
                    <a:pt x="189" y="64"/>
                    <a:pt x="188" y="64"/>
                  </a:cubicBezTo>
                  <a:cubicBezTo>
                    <a:pt x="186" y="66"/>
                    <a:pt x="182" y="67"/>
                    <a:pt x="179" y="67"/>
                  </a:cubicBezTo>
                  <a:cubicBezTo>
                    <a:pt x="179" y="67"/>
                    <a:pt x="178" y="67"/>
                    <a:pt x="177" y="67"/>
                  </a:cubicBezTo>
                  <a:cubicBezTo>
                    <a:pt x="176" y="66"/>
                    <a:pt x="176" y="66"/>
                    <a:pt x="176" y="66"/>
                  </a:cubicBezTo>
                  <a:cubicBezTo>
                    <a:pt x="176" y="66"/>
                    <a:pt x="175" y="66"/>
                    <a:pt x="174" y="66"/>
                  </a:cubicBezTo>
                  <a:cubicBezTo>
                    <a:pt x="172" y="65"/>
                    <a:pt x="170" y="65"/>
                    <a:pt x="169" y="65"/>
                  </a:cubicBezTo>
                  <a:cubicBezTo>
                    <a:pt x="170" y="66"/>
                    <a:pt x="170" y="66"/>
                    <a:pt x="170" y="66"/>
                  </a:cubicBezTo>
                  <a:cubicBezTo>
                    <a:pt x="171" y="67"/>
                    <a:pt x="171" y="67"/>
                    <a:pt x="171" y="68"/>
                  </a:cubicBezTo>
                  <a:cubicBezTo>
                    <a:pt x="173" y="71"/>
                    <a:pt x="173" y="71"/>
                    <a:pt x="173" y="71"/>
                  </a:cubicBezTo>
                  <a:cubicBezTo>
                    <a:pt x="176" y="75"/>
                    <a:pt x="178" y="78"/>
                    <a:pt x="176" y="79"/>
                  </a:cubicBezTo>
                  <a:cubicBezTo>
                    <a:pt x="175" y="80"/>
                    <a:pt x="175" y="80"/>
                    <a:pt x="175" y="80"/>
                  </a:cubicBezTo>
                  <a:cubicBezTo>
                    <a:pt x="175" y="80"/>
                    <a:pt x="175" y="80"/>
                    <a:pt x="175" y="80"/>
                  </a:cubicBezTo>
                  <a:cubicBezTo>
                    <a:pt x="175" y="80"/>
                    <a:pt x="175" y="80"/>
                    <a:pt x="175" y="80"/>
                  </a:cubicBezTo>
                  <a:cubicBezTo>
                    <a:pt x="173" y="82"/>
                    <a:pt x="170" y="83"/>
                    <a:pt x="168" y="84"/>
                  </a:cubicBezTo>
                  <a:cubicBezTo>
                    <a:pt x="169" y="88"/>
                    <a:pt x="169" y="88"/>
                    <a:pt x="169" y="88"/>
                  </a:cubicBezTo>
                  <a:cubicBezTo>
                    <a:pt x="167" y="85"/>
                    <a:pt x="167" y="85"/>
                    <a:pt x="167" y="85"/>
                  </a:cubicBezTo>
                  <a:cubicBezTo>
                    <a:pt x="167" y="85"/>
                    <a:pt x="167" y="85"/>
                    <a:pt x="167" y="85"/>
                  </a:cubicBezTo>
                  <a:cubicBezTo>
                    <a:pt x="166" y="85"/>
                    <a:pt x="165" y="85"/>
                    <a:pt x="165" y="85"/>
                  </a:cubicBezTo>
                  <a:cubicBezTo>
                    <a:pt x="164" y="85"/>
                    <a:pt x="164" y="85"/>
                    <a:pt x="164" y="85"/>
                  </a:cubicBezTo>
                  <a:cubicBezTo>
                    <a:pt x="164" y="85"/>
                    <a:pt x="164" y="85"/>
                    <a:pt x="164" y="85"/>
                  </a:cubicBezTo>
                  <a:cubicBezTo>
                    <a:pt x="163" y="85"/>
                    <a:pt x="163" y="85"/>
                    <a:pt x="163" y="85"/>
                  </a:cubicBezTo>
                  <a:cubicBezTo>
                    <a:pt x="163" y="85"/>
                    <a:pt x="163" y="85"/>
                    <a:pt x="163" y="85"/>
                  </a:cubicBezTo>
                  <a:cubicBezTo>
                    <a:pt x="162" y="85"/>
                    <a:pt x="162" y="85"/>
                    <a:pt x="162" y="85"/>
                  </a:cubicBezTo>
                  <a:cubicBezTo>
                    <a:pt x="162" y="84"/>
                    <a:pt x="162" y="84"/>
                    <a:pt x="162" y="84"/>
                  </a:cubicBezTo>
                  <a:cubicBezTo>
                    <a:pt x="162" y="85"/>
                    <a:pt x="162" y="85"/>
                    <a:pt x="162" y="85"/>
                  </a:cubicBezTo>
                  <a:cubicBezTo>
                    <a:pt x="161" y="85"/>
                    <a:pt x="161" y="85"/>
                    <a:pt x="161" y="85"/>
                  </a:cubicBezTo>
                  <a:cubicBezTo>
                    <a:pt x="161" y="86"/>
                    <a:pt x="161" y="87"/>
                    <a:pt x="160" y="89"/>
                  </a:cubicBezTo>
                  <a:cubicBezTo>
                    <a:pt x="160" y="90"/>
                    <a:pt x="160" y="90"/>
                    <a:pt x="160" y="91"/>
                  </a:cubicBezTo>
                  <a:cubicBezTo>
                    <a:pt x="160" y="92"/>
                    <a:pt x="160" y="92"/>
                    <a:pt x="160" y="92"/>
                  </a:cubicBezTo>
                  <a:cubicBezTo>
                    <a:pt x="160" y="93"/>
                    <a:pt x="160" y="93"/>
                    <a:pt x="160" y="93"/>
                  </a:cubicBezTo>
                  <a:cubicBezTo>
                    <a:pt x="159" y="94"/>
                    <a:pt x="158" y="95"/>
                    <a:pt x="157" y="96"/>
                  </a:cubicBezTo>
                  <a:cubicBezTo>
                    <a:pt x="157" y="96"/>
                    <a:pt x="157" y="96"/>
                    <a:pt x="157" y="96"/>
                  </a:cubicBezTo>
                  <a:cubicBezTo>
                    <a:pt x="157" y="102"/>
                    <a:pt x="157" y="102"/>
                    <a:pt x="157" y="102"/>
                  </a:cubicBezTo>
                  <a:cubicBezTo>
                    <a:pt x="157" y="102"/>
                    <a:pt x="157" y="102"/>
                    <a:pt x="157" y="102"/>
                  </a:cubicBezTo>
                  <a:cubicBezTo>
                    <a:pt x="158" y="105"/>
                    <a:pt x="158" y="105"/>
                    <a:pt x="158" y="105"/>
                  </a:cubicBezTo>
                  <a:cubicBezTo>
                    <a:pt x="158" y="108"/>
                    <a:pt x="157" y="109"/>
                    <a:pt x="156" y="109"/>
                  </a:cubicBezTo>
                  <a:cubicBezTo>
                    <a:pt x="154" y="111"/>
                    <a:pt x="152" y="113"/>
                    <a:pt x="150" y="115"/>
                  </a:cubicBezTo>
                  <a:cubicBezTo>
                    <a:pt x="149" y="115"/>
                    <a:pt x="149" y="115"/>
                    <a:pt x="149" y="115"/>
                  </a:cubicBezTo>
                  <a:cubicBezTo>
                    <a:pt x="149" y="115"/>
                    <a:pt x="148" y="115"/>
                    <a:pt x="147" y="116"/>
                  </a:cubicBezTo>
                  <a:cubicBezTo>
                    <a:pt x="147" y="116"/>
                    <a:pt x="147" y="116"/>
                    <a:pt x="147" y="116"/>
                  </a:cubicBezTo>
                  <a:cubicBezTo>
                    <a:pt x="147" y="116"/>
                    <a:pt x="147" y="116"/>
                    <a:pt x="147" y="116"/>
                  </a:cubicBezTo>
                  <a:cubicBezTo>
                    <a:pt x="147" y="116"/>
                    <a:pt x="146" y="115"/>
                    <a:pt x="146" y="115"/>
                  </a:cubicBezTo>
                  <a:cubicBezTo>
                    <a:pt x="146" y="115"/>
                    <a:pt x="146" y="115"/>
                    <a:pt x="146" y="115"/>
                  </a:cubicBezTo>
                  <a:cubicBezTo>
                    <a:pt x="145" y="115"/>
                    <a:pt x="145" y="115"/>
                    <a:pt x="145" y="115"/>
                  </a:cubicBezTo>
                  <a:cubicBezTo>
                    <a:pt x="144" y="115"/>
                    <a:pt x="144" y="114"/>
                    <a:pt x="143" y="114"/>
                  </a:cubicBezTo>
                  <a:cubicBezTo>
                    <a:pt x="143" y="114"/>
                    <a:pt x="143" y="114"/>
                    <a:pt x="143" y="114"/>
                  </a:cubicBezTo>
                  <a:cubicBezTo>
                    <a:pt x="142" y="113"/>
                    <a:pt x="141" y="113"/>
                    <a:pt x="141" y="112"/>
                  </a:cubicBezTo>
                  <a:cubicBezTo>
                    <a:pt x="140" y="112"/>
                    <a:pt x="140" y="112"/>
                    <a:pt x="140" y="112"/>
                  </a:cubicBezTo>
                  <a:cubicBezTo>
                    <a:pt x="140" y="112"/>
                    <a:pt x="140" y="112"/>
                    <a:pt x="140" y="112"/>
                  </a:cubicBezTo>
                  <a:cubicBezTo>
                    <a:pt x="139" y="112"/>
                    <a:pt x="139" y="112"/>
                    <a:pt x="139" y="112"/>
                  </a:cubicBezTo>
                  <a:cubicBezTo>
                    <a:pt x="139" y="112"/>
                    <a:pt x="138" y="112"/>
                    <a:pt x="137" y="112"/>
                  </a:cubicBezTo>
                  <a:cubicBezTo>
                    <a:pt x="137" y="112"/>
                    <a:pt x="137" y="112"/>
                    <a:pt x="137" y="112"/>
                  </a:cubicBezTo>
                  <a:cubicBezTo>
                    <a:pt x="136" y="112"/>
                    <a:pt x="136" y="113"/>
                    <a:pt x="135" y="113"/>
                  </a:cubicBezTo>
                  <a:cubicBezTo>
                    <a:pt x="134" y="113"/>
                    <a:pt x="134" y="113"/>
                    <a:pt x="134" y="113"/>
                  </a:cubicBezTo>
                  <a:cubicBezTo>
                    <a:pt x="134" y="113"/>
                    <a:pt x="134" y="113"/>
                    <a:pt x="134" y="113"/>
                  </a:cubicBezTo>
                  <a:cubicBezTo>
                    <a:pt x="133" y="114"/>
                    <a:pt x="132" y="114"/>
                    <a:pt x="132" y="114"/>
                  </a:cubicBezTo>
                  <a:cubicBezTo>
                    <a:pt x="131" y="115"/>
                    <a:pt x="131" y="115"/>
                    <a:pt x="131" y="115"/>
                  </a:cubicBezTo>
                  <a:cubicBezTo>
                    <a:pt x="129" y="116"/>
                    <a:pt x="128" y="116"/>
                    <a:pt x="127" y="117"/>
                  </a:cubicBezTo>
                  <a:cubicBezTo>
                    <a:pt x="131" y="120"/>
                    <a:pt x="131" y="120"/>
                    <a:pt x="131" y="120"/>
                  </a:cubicBezTo>
                  <a:cubicBezTo>
                    <a:pt x="127" y="121"/>
                    <a:pt x="127" y="121"/>
                    <a:pt x="127" y="121"/>
                  </a:cubicBezTo>
                  <a:cubicBezTo>
                    <a:pt x="127" y="121"/>
                    <a:pt x="126" y="122"/>
                    <a:pt x="125" y="122"/>
                  </a:cubicBezTo>
                  <a:cubicBezTo>
                    <a:pt x="124" y="123"/>
                    <a:pt x="122" y="124"/>
                    <a:pt x="120" y="124"/>
                  </a:cubicBezTo>
                  <a:cubicBezTo>
                    <a:pt x="120" y="124"/>
                    <a:pt x="120" y="124"/>
                    <a:pt x="120" y="124"/>
                  </a:cubicBezTo>
                  <a:cubicBezTo>
                    <a:pt x="119" y="124"/>
                    <a:pt x="119" y="125"/>
                    <a:pt x="118" y="125"/>
                  </a:cubicBezTo>
                  <a:cubicBezTo>
                    <a:pt x="116" y="125"/>
                    <a:pt x="114" y="124"/>
                    <a:pt x="112" y="123"/>
                  </a:cubicBezTo>
                  <a:cubicBezTo>
                    <a:pt x="111" y="123"/>
                    <a:pt x="111" y="123"/>
                    <a:pt x="111" y="123"/>
                  </a:cubicBezTo>
                  <a:cubicBezTo>
                    <a:pt x="111" y="123"/>
                    <a:pt x="111" y="123"/>
                    <a:pt x="111" y="123"/>
                  </a:cubicBezTo>
                  <a:cubicBezTo>
                    <a:pt x="111" y="123"/>
                    <a:pt x="110" y="123"/>
                    <a:pt x="110" y="123"/>
                  </a:cubicBezTo>
                  <a:cubicBezTo>
                    <a:pt x="110" y="123"/>
                    <a:pt x="109" y="123"/>
                    <a:pt x="109" y="123"/>
                  </a:cubicBezTo>
                  <a:cubicBezTo>
                    <a:pt x="109" y="124"/>
                    <a:pt x="108" y="124"/>
                    <a:pt x="108" y="124"/>
                  </a:cubicBezTo>
                  <a:cubicBezTo>
                    <a:pt x="108" y="124"/>
                    <a:pt x="108" y="124"/>
                    <a:pt x="108" y="124"/>
                  </a:cubicBezTo>
                  <a:cubicBezTo>
                    <a:pt x="107" y="125"/>
                    <a:pt x="106" y="126"/>
                    <a:pt x="105" y="126"/>
                  </a:cubicBezTo>
                  <a:cubicBezTo>
                    <a:pt x="104" y="127"/>
                    <a:pt x="103" y="128"/>
                    <a:pt x="103" y="129"/>
                  </a:cubicBezTo>
                  <a:cubicBezTo>
                    <a:pt x="102" y="129"/>
                    <a:pt x="102" y="129"/>
                    <a:pt x="102" y="129"/>
                  </a:cubicBezTo>
                  <a:cubicBezTo>
                    <a:pt x="102" y="129"/>
                    <a:pt x="102" y="130"/>
                    <a:pt x="102" y="130"/>
                  </a:cubicBezTo>
                  <a:cubicBezTo>
                    <a:pt x="102" y="131"/>
                    <a:pt x="101" y="131"/>
                    <a:pt x="101" y="131"/>
                  </a:cubicBezTo>
                  <a:cubicBezTo>
                    <a:pt x="101" y="132"/>
                    <a:pt x="101" y="132"/>
                    <a:pt x="101" y="132"/>
                  </a:cubicBezTo>
                  <a:cubicBezTo>
                    <a:pt x="101" y="135"/>
                    <a:pt x="100" y="137"/>
                    <a:pt x="100" y="139"/>
                  </a:cubicBezTo>
                  <a:cubicBezTo>
                    <a:pt x="100" y="139"/>
                    <a:pt x="100" y="140"/>
                    <a:pt x="100" y="141"/>
                  </a:cubicBezTo>
                  <a:cubicBezTo>
                    <a:pt x="100" y="142"/>
                    <a:pt x="100" y="143"/>
                    <a:pt x="100" y="145"/>
                  </a:cubicBezTo>
                  <a:cubicBezTo>
                    <a:pt x="99" y="145"/>
                    <a:pt x="99" y="145"/>
                    <a:pt x="99" y="145"/>
                  </a:cubicBezTo>
                  <a:cubicBezTo>
                    <a:pt x="99" y="145"/>
                    <a:pt x="99" y="145"/>
                    <a:pt x="99" y="145"/>
                  </a:cubicBezTo>
                  <a:cubicBezTo>
                    <a:pt x="100" y="146"/>
                    <a:pt x="100" y="147"/>
                    <a:pt x="100" y="148"/>
                  </a:cubicBezTo>
                  <a:cubicBezTo>
                    <a:pt x="100" y="149"/>
                    <a:pt x="100" y="150"/>
                    <a:pt x="99" y="151"/>
                  </a:cubicBezTo>
                  <a:cubicBezTo>
                    <a:pt x="99" y="153"/>
                    <a:pt x="97" y="153"/>
                    <a:pt x="96" y="153"/>
                  </a:cubicBezTo>
                  <a:cubicBezTo>
                    <a:pt x="94" y="154"/>
                    <a:pt x="94" y="154"/>
                    <a:pt x="94" y="154"/>
                  </a:cubicBezTo>
                  <a:cubicBezTo>
                    <a:pt x="92" y="155"/>
                    <a:pt x="90" y="155"/>
                    <a:pt x="88" y="156"/>
                  </a:cubicBezTo>
                  <a:cubicBezTo>
                    <a:pt x="86" y="156"/>
                    <a:pt x="84" y="157"/>
                    <a:pt x="82" y="157"/>
                  </a:cubicBezTo>
                  <a:cubicBezTo>
                    <a:pt x="77" y="157"/>
                    <a:pt x="77" y="157"/>
                    <a:pt x="77" y="157"/>
                  </a:cubicBezTo>
                  <a:cubicBezTo>
                    <a:pt x="75" y="157"/>
                    <a:pt x="73" y="158"/>
                    <a:pt x="71" y="158"/>
                  </a:cubicBezTo>
                  <a:cubicBezTo>
                    <a:pt x="69" y="158"/>
                    <a:pt x="67" y="158"/>
                    <a:pt x="64" y="159"/>
                  </a:cubicBezTo>
                  <a:cubicBezTo>
                    <a:pt x="64" y="159"/>
                    <a:pt x="63" y="159"/>
                    <a:pt x="63" y="159"/>
                  </a:cubicBezTo>
                  <a:cubicBezTo>
                    <a:pt x="62" y="160"/>
                    <a:pt x="62" y="160"/>
                    <a:pt x="61" y="160"/>
                  </a:cubicBezTo>
                  <a:cubicBezTo>
                    <a:pt x="60" y="161"/>
                    <a:pt x="60" y="161"/>
                    <a:pt x="60" y="161"/>
                  </a:cubicBezTo>
                  <a:cubicBezTo>
                    <a:pt x="59" y="161"/>
                    <a:pt x="59" y="161"/>
                    <a:pt x="59" y="161"/>
                  </a:cubicBezTo>
                  <a:cubicBezTo>
                    <a:pt x="59" y="161"/>
                    <a:pt x="58" y="162"/>
                    <a:pt x="58" y="162"/>
                  </a:cubicBezTo>
                  <a:cubicBezTo>
                    <a:pt x="57" y="162"/>
                    <a:pt x="57" y="162"/>
                    <a:pt x="57" y="162"/>
                  </a:cubicBezTo>
                  <a:cubicBezTo>
                    <a:pt x="57" y="162"/>
                    <a:pt x="57" y="162"/>
                    <a:pt x="56" y="162"/>
                  </a:cubicBezTo>
                  <a:cubicBezTo>
                    <a:pt x="56" y="162"/>
                    <a:pt x="56" y="162"/>
                    <a:pt x="56" y="162"/>
                  </a:cubicBezTo>
                  <a:cubicBezTo>
                    <a:pt x="55" y="162"/>
                    <a:pt x="55" y="162"/>
                    <a:pt x="55" y="162"/>
                  </a:cubicBezTo>
                  <a:cubicBezTo>
                    <a:pt x="55" y="162"/>
                    <a:pt x="54" y="162"/>
                    <a:pt x="54" y="162"/>
                  </a:cubicBezTo>
                  <a:cubicBezTo>
                    <a:pt x="53" y="162"/>
                    <a:pt x="53" y="162"/>
                    <a:pt x="53" y="162"/>
                  </a:cubicBezTo>
                  <a:cubicBezTo>
                    <a:pt x="51" y="162"/>
                    <a:pt x="51" y="162"/>
                    <a:pt x="51" y="162"/>
                  </a:cubicBezTo>
                  <a:cubicBezTo>
                    <a:pt x="50" y="161"/>
                    <a:pt x="49" y="161"/>
                    <a:pt x="48" y="161"/>
                  </a:cubicBezTo>
                  <a:cubicBezTo>
                    <a:pt x="48" y="161"/>
                    <a:pt x="48" y="161"/>
                    <a:pt x="48" y="161"/>
                  </a:cubicBezTo>
                  <a:cubicBezTo>
                    <a:pt x="47" y="161"/>
                    <a:pt x="47" y="161"/>
                    <a:pt x="46" y="161"/>
                  </a:cubicBezTo>
                  <a:cubicBezTo>
                    <a:pt x="46" y="161"/>
                    <a:pt x="46" y="161"/>
                    <a:pt x="46" y="161"/>
                  </a:cubicBezTo>
                  <a:cubicBezTo>
                    <a:pt x="38" y="161"/>
                    <a:pt x="38" y="161"/>
                    <a:pt x="38" y="161"/>
                  </a:cubicBezTo>
                  <a:cubicBezTo>
                    <a:pt x="38" y="165"/>
                    <a:pt x="38" y="165"/>
                    <a:pt x="38" y="165"/>
                  </a:cubicBezTo>
                  <a:cubicBezTo>
                    <a:pt x="37" y="161"/>
                    <a:pt x="37" y="161"/>
                    <a:pt x="37" y="161"/>
                  </a:cubicBezTo>
                  <a:cubicBezTo>
                    <a:pt x="34" y="162"/>
                    <a:pt x="34" y="162"/>
                    <a:pt x="34" y="162"/>
                  </a:cubicBezTo>
                  <a:cubicBezTo>
                    <a:pt x="33" y="162"/>
                    <a:pt x="33" y="162"/>
                    <a:pt x="32" y="162"/>
                  </a:cubicBezTo>
                  <a:cubicBezTo>
                    <a:pt x="32" y="162"/>
                    <a:pt x="32" y="162"/>
                    <a:pt x="32" y="162"/>
                  </a:cubicBezTo>
                  <a:cubicBezTo>
                    <a:pt x="31" y="162"/>
                    <a:pt x="30" y="162"/>
                    <a:pt x="30" y="162"/>
                  </a:cubicBezTo>
                  <a:cubicBezTo>
                    <a:pt x="29" y="162"/>
                    <a:pt x="29" y="162"/>
                    <a:pt x="29" y="162"/>
                  </a:cubicBezTo>
                  <a:cubicBezTo>
                    <a:pt x="28" y="162"/>
                    <a:pt x="27" y="162"/>
                    <a:pt x="27" y="162"/>
                  </a:cubicBezTo>
                  <a:cubicBezTo>
                    <a:pt x="0" y="155"/>
                    <a:pt x="0" y="155"/>
                    <a:pt x="0" y="155"/>
                  </a:cubicBezTo>
                  <a:cubicBezTo>
                    <a:pt x="1" y="155"/>
                    <a:pt x="1" y="156"/>
                    <a:pt x="2" y="157"/>
                  </a:cubicBezTo>
                  <a:cubicBezTo>
                    <a:pt x="2" y="157"/>
                    <a:pt x="2" y="158"/>
                    <a:pt x="3" y="158"/>
                  </a:cubicBezTo>
                  <a:cubicBezTo>
                    <a:pt x="3" y="159"/>
                    <a:pt x="3" y="159"/>
                    <a:pt x="4" y="160"/>
                  </a:cubicBezTo>
                  <a:cubicBezTo>
                    <a:pt x="5" y="162"/>
                    <a:pt x="7" y="164"/>
                    <a:pt x="9" y="167"/>
                  </a:cubicBezTo>
                  <a:cubicBezTo>
                    <a:pt x="11" y="170"/>
                    <a:pt x="13" y="172"/>
                    <a:pt x="15" y="175"/>
                  </a:cubicBezTo>
                  <a:cubicBezTo>
                    <a:pt x="16" y="176"/>
                    <a:pt x="18" y="177"/>
                    <a:pt x="19" y="178"/>
                  </a:cubicBezTo>
                  <a:cubicBezTo>
                    <a:pt x="20" y="178"/>
                    <a:pt x="21" y="178"/>
                    <a:pt x="21" y="179"/>
                  </a:cubicBezTo>
                  <a:cubicBezTo>
                    <a:pt x="22" y="179"/>
                    <a:pt x="22" y="179"/>
                    <a:pt x="22" y="179"/>
                  </a:cubicBezTo>
                  <a:cubicBezTo>
                    <a:pt x="23" y="179"/>
                    <a:pt x="23" y="179"/>
                    <a:pt x="23" y="179"/>
                  </a:cubicBezTo>
                  <a:cubicBezTo>
                    <a:pt x="24" y="180"/>
                    <a:pt x="24" y="180"/>
                    <a:pt x="24" y="180"/>
                  </a:cubicBezTo>
                  <a:cubicBezTo>
                    <a:pt x="24" y="180"/>
                    <a:pt x="25" y="180"/>
                    <a:pt x="26" y="180"/>
                  </a:cubicBezTo>
                  <a:cubicBezTo>
                    <a:pt x="27" y="181"/>
                    <a:pt x="28" y="181"/>
                    <a:pt x="29" y="182"/>
                  </a:cubicBezTo>
                  <a:cubicBezTo>
                    <a:pt x="31" y="182"/>
                    <a:pt x="32" y="183"/>
                    <a:pt x="33" y="184"/>
                  </a:cubicBezTo>
                  <a:cubicBezTo>
                    <a:pt x="34" y="185"/>
                    <a:pt x="34" y="187"/>
                    <a:pt x="33" y="190"/>
                  </a:cubicBezTo>
                  <a:cubicBezTo>
                    <a:pt x="33" y="191"/>
                    <a:pt x="33" y="191"/>
                    <a:pt x="33" y="191"/>
                  </a:cubicBezTo>
                  <a:cubicBezTo>
                    <a:pt x="37" y="191"/>
                    <a:pt x="37" y="191"/>
                    <a:pt x="37" y="191"/>
                  </a:cubicBezTo>
                  <a:cubicBezTo>
                    <a:pt x="33" y="192"/>
                    <a:pt x="33" y="192"/>
                    <a:pt x="33" y="192"/>
                  </a:cubicBezTo>
                  <a:cubicBezTo>
                    <a:pt x="33" y="198"/>
                    <a:pt x="33" y="198"/>
                    <a:pt x="33" y="198"/>
                  </a:cubicBezTo>
                  <a:cubicBezTo>
                    <a:pt x="33" y="199"/>
                    <a:pt x="33" y="199"/>
                    <a:pt x="33" y="200"/>
                  </a:cubicBezTo>
                  <a:cubicBezTo>
                    <a:pt x="33" y="201"/>
                    <a:pt x="33" y="202"/>
                    <a:pt x="33" y="202"/>
                  </a:cubicBezTo>
                  <a:cubicBezTo>
                    <a:pt x="33" y="203"/>
                    <a:pt x="33" y="203"/>
                    <a:pt x="33" y="203"/>
                  </a:cubicBezTo>
                  <a:cubicBezTo>
                    <a:pt x="34" y="203"/>
                    <a:pt x="34" y="203"/>
                    <a:pt x="34" y="203"/>
                  </a:cubicBezTo>
                  <a:cubicBezTo>
                    <a:pt x="36" y="203"/>
                    <a:pt x="36" y="203"/>
                    <a:pt x="36" y="203"/>
                  </a:cubicBezTo>
                  <a:cubicBezTo>
                    <a:pt x="38" y="203"/>
                    <a:pt x="39" y="203"/>
                    <a:pt x="41" y="203"/>
                  </a:cubicBezTo>
                  <a:cubicBezTo>
                    <a:pt x="43" y="204"/>
                    <a:pt x="43" y="204"/>
                    <a:pt x="43" y="204"/>
                  </a:cubicBezTo>
                  <a:cubicBezTo>
                    <a:pt x="43" y="206"/>
                    <a:pt x="43" y="206"/>
                    <a:pt x="43" y="206"/>
                  </a:cubicBezTo>
                  <a:cubicBezTo>
                    <a:pt x="42" y="209"/>
                    <a:pt x="41" y="212"/>
                    <a:pt x="41" y="215"/>
                  </a:cubicBezTo>
                  <a:cubicBezTo>
                    <a:pt x="40" y="217"/>
                    <a:pt x="40" y="217"/>
                    <a:pt x="40" y="217"/>
                  </a:cubicBezTo>
                  <a:cubicBezTo>
                    <a:pt x="40" y="217"/>
                    <a:pt x="40" y="218"/>
                    <a:pt x="38" y="219"/>
                  </a:cubicBezTo>
                  <a:cubicBezTo>
                    <a:pt x="37" y="220"/>
                    <a:pt x="35" y="220"/>
                    <a:pt x="34" y="220"/>
                  </a:cubicBezTo>
                  <a:cubicBezTo>
                    <a:pt x="33" y="220"/>
                    <a:pt x="33" y="220"/>
                    <a:pt x="33" y="220"/>
                  </a:cubicBezTo>
                  <a:cubicBezTo>
                    <a:pt x="32" y="220"/>
                    <a:pt x="32" y="220"/>
                    <a:pt x="32" y="220"/>
                  </a:cubicBezTo>
                  <a:cubicBezTo>
                    <a:pt x="24" y="222"/>
                    <a:pt x="24" y="222"/>
                    <a:pt x="24" y="222"/>
                  </a:cubicBezTo>
                  <a:cubicBezTo>
                    <a:pt x="23" y="222"/>
                    <a:pt x="23" y="222"/>
                    <a:pt x="22" y="223"/>
                  </a:cubicBezTo>
                  <a:cubicBezTo>
                    <a:pt x="21" y="223"/>
                    <a:pt x="21" y="223"/>
                    <a:pt x="20" y="224"/>
                  </a:cubicBezTo>
                  <a:cubicBezTo>
                    <a:pt x="19" y="224"/>
                    <a:pt x="19" y="224"/>
                    <a:pt x="19" y="224"/>
                  </a:cubicBezTo>
                  <a:cubicBezTo>
                    <a:pt x="19" y="225"/>
                    <a:pt x="18" y="226"/>
                    <a:pt x="17" y="226"/>
                  </a:cubicBezTo>
                  <a:cubicBezTo>
                    <a:pt x="16" y="227"/>
                    <a:pt x="16" y="227"/>
                    <a:pt x="16" y="227"/>
                  </a:cubicBezTo>
                  <a:cubicBezTo>
                    <a:pt x="15" y="227"/>
                    <a:pt x="15" y="227"/>
                    <a:pt x="15" y="229"/>
                  </a:cubicBezTo>
                  <a:cubicBezTo>
                    <a:pt x="14" y="233"/>
                    <a:pt x="13" y="237"/>
                    <a:pt x="12" y="240"/>
                  </a:cubicBezTo>
                  <a:cubicBezTo>
                    <a:pt x="12" y="241"/>
                    <a:pt x="12" y="241"/>
                    <a:pt x="12" y="241"/>
                  </a:cubicBezTo>
                  <a:cubicBezTo>
                    <a:pt x="12" y="242"/>
                    <a:pt x="12" y="242"/>
                    <a:pt x="12" y="243"/>
                  </a:cubicBezTo>
                  <a:cubicBezTo>
                    <a:pt x="12" y="244"/>
                    <a:pt x="11" y="245"/>
                    <a:pt x="11" y="246"/>
                  </a:cubicBezTo>
                  <a:cubicBezTo>
                    <a:pt x="11" y="247"/>
                    <a:pt x="11" y="247"/>
                    <a:pt x="11" y="247"/>
                  </a:cubicBezTo>
                  <a:cubicBezTo>
                    <a:pt x="12" y="247"/>
                    <a:pt x="11" y="248"/>
                    <a:pt x="11" y="250"/>
                  </a:cubicBezTo>
                  <a:cubicBezTo>
                    <a:pt x="12" y="250"/>
                    <a:pt x="12" y="250"/>
                    <a:pt x="12" y="250"/>
                  </a:cubicBezTo>
                  <a:cubicBezTo>
                    <a:pt x="13" y="250"/>
                    <a:pt x="14" y="249"/>
                    <a:pt x="16" y="248"/>
                  </a:cubicBezTo>
                  <a:cubicBezTo>
                    <a:pt x="18" y="248"/>
                    <a:pt x="20" y="246"/>
                    <a:pt x="21" y="246"/>
                  </a:cubicBezTo>
                  <a:cubicBezTo>
                    <a:pt x="21" y="246"/>
                    <a:pt x="22" y="247"/>
                    <a:pt x="22" y="249"/>
                  </a:cubicBezTo>
                  <a:cubicBezTo>
                    <a:pt x="25" y="246"/>
                    <a:pt x="27" y="245"/>
                    <a:pt x="30" y="245"/>
                  </a:cubicBezTo>
                  <a:cubicBezTo>
                    <a:pt x="30" y="245"/>
                    <a:pt x="31" y="245"/>
                    <a:pt x="32" y="245"/>
                  </a:cubicBezTo>
                  <a:cubicBezTo>
                    <a:pt x="35" y="246"/>
                    <a:pt x="38" y="246"/>
                    <a:pt x="41" y="246"/>
                  </a:cubicBezTo>
                  <a:cubicBezTo>
                    <a:pt x="41" y="246"/>
                    <a:pt x="42" y="246"/>
                    <a:pt x="43" y="246"/>
                  </a:cubicBezTo>
                  <a:cubicBezTo>
                    <a:pt x="44" y="246"/>
                    <a:pt x="45" y="246"/>
                    <a:pt x="44" y="246"/>
                  </a:cubicBezTo>
                  <a:cubicBezTo>
                    <a:pt x="47" y="244"/>
                    <a:pt x="51" y="243"/>
                    <a:pt x="54" y="243"/>
                  </a:cubicBezTo>
                  <a:cubicBezTo>
                    <a:pt x="54" y="243"/>
                    <a:pt x="55" y="243"/>
                    <a:pt x="55" y="243"/>
                  </a:cubicBezTo>
                  <a:cubicBezTo>
                    <a:pt x="55" y="242"/>
                    <a:pt x="55" y="241"/>
                    <a:pt x="56" y="241"/>
                  </a:cubicBezTo>
                  <a:cubicBezTo>
                    <a:pt x="56" y="241"/>
                    <a:pt x="57" y="241"/>
                    <a:pt x="57" y="241"/>
                  </a:cubicBezTo>
                  <a:cubicBezTo>
                    <a:pt x="56" y="242"/>
                    <a:pt x="55" y="242"/>
                    <a:pt x="56" y="243"/>
                  </a:cubicBezTo>
                  <a:cubicBezTo>
                    <a:pt x="56" y="244"/>
                    <a:pt x="58" y="244"/>
                    <a:pt x="59" y="244"/>
                  </a:cubicBezTo>
                  <a:cubicBezTo>
                    <a:pt x="60" y="245"/>
                    <a:pt x="62" y="245"/>
                    <a:pt x="63" y="245"/>
                  </a:cubicBezTo>
                  <a:cubicBezTo>
                    <a:pt x="65" y="245"/>
                    <a:pt x="66" y="247"/>
                    <a:pt x="67" y="247"/>
                  </a:cubicBezTo>
                  <a:cubicBezTo>
                    <a:pt x="67" y="247"/>
                    <a:pt x="67" y="247"/>
                    <a:pt x="67" y="247"/>
                  </a:cubicBezTo>
                  <a:cubicBezTo>
                    <a:pt x="67" y="246"/>
                    <a:pt x="67" y="246"/>
                    <a:pt x="67" y="246"/>
                  </a:cubicBezTo>
                  <a:cubicBezTo>
                    <a:pt x="76" y="243"/>
                    <a:pt x="84" y="243"/>
                    <a:pt x="94" y="242"/>
                  </a:cubicBezTo>
                  <a:cubicBezTo>
                    <a:pt x="94" y="242"/>
                    <a:pt x="94" y="242"/>
                    <a:pt x="94" y="242"/>
                  </a:cubicBezTo>
                  <a:cubicBezTo>
                    <a:pt x="94" y="242"/>
                    <a:pt x="95" y="243"/>
                    <a:pt x="96" y="243"/>
                  </a:cubicBezTo>
                  <a:cubicBezTo>
                    <a:pt x="97" y="243"/>
                    <a:pt x="97" y="243"/>
                    <a:pt x="98" y="243"/>
                  </a:cubicBezTo>
                  <a:cubicBezTo>
                    <a:pt x="100" y="243"/>
                    <a:pt x="101" y="242"/>
                    <a:pt x="102" y="242"/>
                  </a:cubicBezTo>
                  <a:cubicBezTo>
                    <a:pt x="102" y="242"/>
                    <a:pt x="102" y="242"/>
                    <a:pt x="102" y="242"/>
                  </a:cubicBezTo>
                  <a:cubicBezTo>
                    <a:pt x="101" y="242"/>
                    <a:pt x="101" y="241"/>
                    <a:pt x="101" y="241"/>
                  </a:cubicBezTo>
                  <a:cubicBezTo>
                    <a:pt x="101" y="241"/>
                    <a:pt x="101" y="241"/>
                    <a:pt x="101" y="241"/>
                  </a:cubicBezTo>
                  <a:cubicBezTo>
                    <a:pt x="100" y="241"/>
                    <a:pt x="100" y="240"/>
                    <a:pt x="100" y="240"/>
                  </a:cubicBezTo>
                  <a:cubicBezTo>
                    <a:pt x="100" y="239"/>
                    <a:pt x="100" y="239"/>
                    <a:pt x="100" y="239"/>
                  </a:cubicBezTo>
                  <a:cubicBezTo>
                    <a:pt x="100" y="239"/>
                    <a:pt x="101" y="239"/>
                    <a:pt x="101" y="239"/>
                  </a:cubicBezTo>
                  <a:cubicBezTo>
                    <a:pt x="101" y="239"/>
                    <a:pt x="102" y="240"/>
                    <a:pt x="102" y="241"/>
                  </a:cubicBezTo>
                  <a:cubicBezTo>
                    <a:pt x="104" y="243"/>
                    <a:pt x="102" y="242"/>
                    <a:pt x="104" y="244"/>
                  </a:cubicBezTo>
                  <a:cubicBezTo>
                    <a:pt x="105" y="246"/>
                    <a:pt x="106" y="245"/>
                    <a:pt x="106" y="248"/>
                  </a:cubicBezTo>
                  <a:cubicBezTo>
                    <a:pt x="106" y="249"/>
                    <a:pt x="105" y="252"/>
                    <a:pt x="106" y="253"/>
                  </a:cubicBezTo>
                  <a:cubicBezTo>
                    <a:pt x="106" y="253"/>
                    <a:pt x="106" y="253"/>
                    <a:pt x="107" y="253"/>
                  </a:cubicBezTo>
                  <a:cubicBezTo>
                    <a:pt x="112" y="252"/>
                    <a:pt x="112" y="252"/>
                    <a:pt x="112" y="252"/>
                  </a:cubicBezTo>
                  <a:cubicBezTo>
                    <a:pt x="113" y="256"/>
                    <a:pt x="113" y="256"/>
                    <a:pt x="113" y="256"/>
                  </a:cubicBezTo>
                  <a:cubicBezTo>
                    <a:pt x="115" y="257"/>
                    <a:pt x="115" y="257"/>
                    <a:pt x="115" y="257"/>
                  </a:cubicBezTo>
                  <a:cubicBezTo>
                    <a:pt x="115" y="259"/>
                    <a:pt x="116" y="261"/>
                    <a:pt x="116" y="262"/>
                  </a:cubicBezTo>
                  <a:cubicBezTo>
                    <a:pt x="117" y="267"/>
                    <a:pt x="117" y="269"/>
                    <a:pt x="120" y="269"/>
                  </a:cubicBezTo>
                  <a:cubicBezTo>
                    <a:pt x="121" y="269"/>
                    <a:pt x="121" y="269"/>
                    <a:pt x="122" y="269"/>
                  </a:cubicBezTo>
                  <a:cubicBezTo>
                    <a:pt x="123" y="269"/>
                    <a:pt x="124" y="269"/>
                    <a:pt x="125" y="269"/>
                  </a:cubicBezTo>
                  <a:cubicBezTo>
                    <a:pt x="129" y="269"/>
                    <a:pt x="133" y="271"/>
                    <a:pt x="131" y="276"/>
                  </a:cubicBezTo>
                  <a:cubicBezTo>
                    <a:pt x="132" y="276"/>
                    <a:pt x="132" y="275"/>
                    <a:pt x="132" y="275"/>
                  </a:cubicBezTo>
                  <a:cubicBezTo>
                    <a:pt x="132" y="274"/>
                    <a:pt x="132" y="274"/>
                    <a:pt x="132" y="274"/>
                  </a:cubicBezTo>
                  <a:cubicBezTo>
                    <a:pt x="133" y="274"/>
                    <a:pt x="133" y="274"/>
                    <a:pt x="133" y="274"/>
                  </a:cubicBezTo>
                  <a:cubicBezTo>
                    <a:pt x="133" y="273"/>
                    <a:pt x="133" y="273"/>
                    <a:pt x="133" y="273"/>
                  </a:cubicBezTo>
                  <a:cubicBezTo>
                    <a:pt x="133" y="273"/>
                    <a:pt x="133" y="273"/>
                    <a:pt x="133" y="273"/>
                  </a:cubicBezTo>
                  <a:cubicBezTo>
                    <a:pt x="139" y="269"/>
                    <a:pt x="139" y="269"/>
                    <a:pt x="139" y="269"/>
                  </a:cubicBezTo>
                  <a:cubicBezTo>
                    <a:pt x="140" y="269"/>
                    <a:pt x="140" y="269"/>
                    <a:pt x="140" y="269"/>
                  </a:cubicBezTo>
                  <a:cubicBezTo>
                    <a:pt x="140" y="269"/>
                    <a:pt x="141" y="269"/>
                    <a:pt x="141" y="269"/>
                  </a:cubicBezTo>
                  <a:cubicBezTo>
                    <a:pt x="142" y="269"/>
                    <a:pt x="142" y="269"/>
                    <a:pt x="142" y="269"/>
                  </a:cubicBezTo>
                  <a:cubicBezTo>
                    <a:pt x="142" y="268"/>
                    <a:pt x="142" y="267"/>
                    <a:pt x="142" y="266"/>
                  </a:cubicBezTo>
                  <a:cubicBezTo>
                    <a:pt x="142" y="265"/>
                    <a:pt x="142" y="264"/>
                    <a:pt x="142" y="264"/>
                  </a:cubicBezTo>
                  <a:cubicBezTo>
                    <a:pt x="143" y="261"/>
                    <a:pt x="143" y="261"/>
                    <a:pt x="143" y="261"/>
                  </a:cubicBezTo>
                  <a:cubicBezTo>
                    <a:pt x="145" y="262"/>
                    <a:pt x="145" y="262"/>
                    <a:pt x="145" y="262"/>
                  </a:cubicBezTo>
                  <a:cubicBezTo>
                    <a:pt x="149" y="262"/>
                    <a:pt x="152" y="263"/>
                    <a:pt x="156" y="263"/>
                  </a:cubicBezTo>
                  <a:cubicBezTo>
                    <a:pt x="156" y="260"/>
                    <a:pt x="156" y="260"/>
                    <a:pt x="156" y="260"/>
                  </a:cubicBezTo>
                  <a:cubicBezTo>
                    <a:pt x="157" y="263"/>
                    <a:pt x="157" y="263"/>
                    <a:pt x="157" y="263"/>
                  </a:cubicBezTo>
                  <a:cubicBezTo>
                    <a:pt x="162" y="264"/>
                    <a:pt x="162" y="264"/>
                    <a:pt x="162" y="264"/>
                  </a:cubicBezTo>
                  <a:cubicBezTo>
                    <a:pt x="163" y="264"/>
                    <a:pt x="164" y="264"/>
                    <a:pt x="164" y="264"/>
                  </a:cubicBezTo>
                  <a:cubicBezTo>
                    <a:pt x="165" y="264"/>
                    <a:pt x="166" y="265"/>
                    <a:pt x="167" y="265"/>
                  </a:cubicBezTo>
                  <a:cubicBezTo>
                    <a:pt x="167" y="265"/>
                    <a:pt x="167" y="265"/>
                    <a:pt x="167" y="265"/>
                  </a:cubicBezTo>
                  <a:cubicBezTo>
                    <a:pt x="167" y="265"/>
                    <a:pt x="168" y="265"/>
                    <a:pt x="168" y="265"/>
                  </a:cubicBezTo>
                  <a:cubicBezTo>
                    <a:pt x="168" y="265"/>
                    <a:pt x="168" y="265"/>
                    <a:pt x="168" y="265"/>
                  </a:cubicBezTo>
                  <a:cubicBezTo>
                    <a:pt x="168" y="264"/>
                    <a:pt x="168" y="264"/>
                    <a:pt x="169" y="263"/>
                  </a:cubicBezTo>
                  <a:cubicBezTo>
                    <a:pt x="170" y="262"/>
                    <a:pt x="173" y="261"/>
                    <a:pt x="175" y="261"/>
                  </a:cubicBezTo>
                  <a:cubicBezTo>
                    <a:pt x="175" y="261"/>
                    <a:pt x="175" y="261"/>
                    <a:pt x="175" y="261"/>
                  </a:cubicBezTo>
                  <a:cubicBezTo>
                    <a:pt x="176" y="260"/>
                    <a:pt x="176" y="260"/>
                    <a:pt x="177" y="260"/>
                  </a:cubicBezTo>
                  <a:cubicBezTo>
                    <a:pt x="177" y="260"/>
                    <a:pt x="177" y="260"/>
                    <a:pt x="177" y="260"/>
                  </a:cubicBezTo>
                  <a:cubicBezTo>
                    <a:pt x="178" y="260"/>
                    <a:pt x="179" y="260"/>
                    <a:pt x="179" y="260"/>
                  </a:cubicBezTo>
                  <a:cubicBezTo>
                    <a:pt x="180" y="260"/>
                    <a:pt x="181" y="260"/>
                    <a:pt x="181" y="261"/>
                  </a:cubicBezTo>
                  <a:cubicBezTo>
                    <a:pt x="182" y="261"/>
                    <a:pt x="182" y="262"/>
                    <a:pt x="182" y="262"/>
                  </a:cubicBezTo>
                  <a:cubicBezTo>
                    <a:pt x="183" y="263"/>
                    <a:pt x="183" y="263"/>
                    <a:pt x="183" y="263"/>
                  </a:cubicBezTo>
                  <a:cubicBezTo>
                    <a:pt x="183" y="262"/>
                    <a:pt x="183" y="262"/>
                    <a:pt x="183" y="262"/>
                  </a:cubicBezTo>
                  <a:cubicBezTo>
                    <a:pt x="184" y="262"/>
                    <a:pt x="184" y="262"/>
                    <a:pt x="184" y="262"/>
                  </a:cubicBezTo>
                  <a:cubicBezTo>
                    <a:pt x="184" y="262"/>
                    <a:pt x="185" y="262"/>
                    <a:pt x="185" y="261"/>
                  </a:cubicBezTo>
                  <a:cubicBezTo>
                    <a:pt x="185" y="261"/>
                    <a:pt x="185" y="260"/>
                    <a:pt x="185" y="259"/>
                  </a:cubicBezTo>
                  <a:cubicBezTo>
                    <a:pt x="185" y="259"/>
                    <a:pt x="185" y="258"/>
                    <a:pt x="185" y="258"/>
                  </a:cubicBezTo>
                  <a:cubicBezTo>
                    <a:pt x="185" y="257"/>
                    <a:pt x="186" y="257"/>
                    <a:pt x="186" y="256"/>
                  </a:cubicBezTo>
                  <a:cubicBezTo>
                    <a:pt x="186" y="256"/>
                    <a:pt x="186" y="256"/>
                    <a:pt x="186" y="256"/>
                  </a:cubicBezTo>
                  <a:cubicBezTo>
                    <a:pt x="183" y="249"/>
                    <a:pt x="183" y="249"/>
                    <a:pt x="183" y="249"/>
                  </a:cubicBezTo>
                  <a:cubicBezTo>
                    <a:pt x="182" y="248"/>
                    <a:pt x="182" y="248"/>
                    <a:pt x="182" y="247"/>
                  </a:cubicBezTo>
                  <a:cubicBezTo>
                    <a:pt x="179" y="249"/>
                    <a:pt x="179" y="249"/>
                    <a:pt x="179" y="249"/>
                  </a:cubicBezTo>
                  <a:cubicBezTo>
                    <a:pt x="181" y="246"/>
                    <a:pt x="181" y="246"/>
                    <a:pt x="181" y="246"/>
                  </a:cubicBezTo>
                  <a:cubicBezTo>
                    <a:pt x="181" y="246"/>
                    <a:pt x="181" y="246"/>
                    <a:pt x="181" y="246"/>
                  </a:cubicBezTo>
                  <a:cubicBezTo>
                    <a:pt x="181" y="245"/>
                    <a:pt x="181" y="245"/>
                    <a:pt x="180" y="244"/>
                  </a:cubicBezTo>
                  <a:cubicBezTo>
                    <a:pt x="180" y="243"/>
                    <a:pt x="180" y="241"/>
                    <a:pt x="179" y="240"/>
                  </a:cubicBezTo>
                  <a:cubicBezTo>
                    <a:pt x="179" y="239"/>
                    <a:pt x="179" y="239"/>
                    <a:pt x="179" y="239"/>
                  </a:cubicBezTo>
                  <a:cubicBezTo>
                    <a:pt x="179" y="239"/>
                    <a:pt x="178" y="239"/>
                    <a:pt x="178" y="239"/>
                  </a:cubicBezTo>
                  <a:cubicBezTo>
                    <a:pt x="178" y="239"/>
                    <a:pt x="178" y="239"/>
                    <a:pt x="178" y="239"/>
                  </a:cubicBezTo>
                  <a:cubicBezTo>
                    <a:pt x="177" y="239"/>
                    <a:pt x="176" y="239"/>
                    <a:pt x="175" y="239"/>
                  </a:cubicBezTo>
                  <a:cubicBezTo>
                    <a:pt x="175" y="239"/>
                    <a:pt x="175" y="239"/>
                    <a:pt x="175" y="239"/>
                  </a:cubicBezTo>
                  <a:cubicBezTo>
                    <a:pt x="175" y="239"/>
                    <a:pt x="174" y="238"/>
                    <a:pt x="174" y="238"/>
                  </a:cubicBezTo>
                  <a:cubicBezTo>
                    <a:pt x="174" y="238"/>
                    <a:pt x="174" y="238"/>
                    <a:pt x="174" y="238"/>
                  </a:cubicBezTo>
                  <a:cubicBezTo>
                    <a:pt x="173" y="238"/>
                    <a:pt x="173" y="238"/>
                    <a:pt x="173" y="238"/>
                  </a:cubicBezTo>
                  <a:cubicBezTo>
                    <a:pt x="173" y="238"/>
                    <a:pt x="173" y="238"/>
                    <a:pt x="173" y="238"/>
                  </a:cubicBezTo>
                  <a:cubicBezTo>
                    <a:pt x="173" y="237"/>
                    <a:pt x="172" y="237"/>
                    <a:pt x="172" y="237"/>
                  </a:cubicBezTo>
                  <a:cubicBezTo>
                    <a:pt x="171" y="236"/>
                    <a:pt x="170" y="233"/>
                    <a:pt x="169" y="231"/>
                  </a:cubicBezTo>
                  <a:cubicBezTo>
                    <a:pt x="169" y="231"/>
                    <a:pt x="169" y="230"/>
                    <a:pt x="169" y="230"/>
                  </a:cubicBezTo>
                  <a:cubicBezTo>
                    <a:pt x="168" y="227"/>
                    <a:pt x="169" y="225"/>
                    <a:pt x="169" y="224"/>
                  </a:cubicBezTo>
                  <a:cubicBezTo>
                    <a:pt x="169" y="223"/>
                    <a:pt x="169" y="223"/>
                    <a:pt x="169" y="223"/>
                  </a:cubicBezTo>
                  <a:cubicBezTo>
                    <a:pt x="169" y="222"/>
                    <a:pt x="169" y="221"/>
                    <a:pt x="169" y="221"/>
                  </a:cubicBezTo>
                  <a:cubicBezTo>
                    <a:pt x="169" y="221"/>
                    <a:pt x="169" y="221"/>
                    <a:pt x="169" y="221"/>
                  </a:cubicBezTo>
                  <a:cubicBezTo>
                    <a:pt x="169" y="220"/>
                    <a:pt x="169" y="220"/>
                    <a:pt x="169" y="220"/>
                  </a:cubicBezTo>
                  <a:cubicBezTo>
                    <a:pt x="168" y="220"/>
                    <a:pt x="168" y="220"/>
                    <a:pt x="168" y="220"/>
                  </a:cubicBezTo>
                  <a:cubicBezTo>
                    <a:pt x="167" y="220"/>
                    <a:pt x="166" y="220"/>
                    <a:pt x="165" y="220"/>
                  </a:cubicBezTo>
                  <a:cubicBezTo>
                    <a:pt x="164" y="223"/>
                    <a:pt x="164" y="223"/>
                    <a:pt x="164" y="223"/>
                  </a:cubicBezTo>
                  <a:cubicBezTo>
                    <a:pt x="164" y="220"/>
                    <a:pt x="164" y="220"/>
                    <a:pt x="164" y="220"/>
                  </a:cubicBezTo>
                  <a:cubicBezTo>
                    <a:pt x="163" y="220"/>
                    <a:pt x="163" y="220"/>
                    <a:pt x="163" y="220"/>
                  </a:cubicBezTo>
                  <a:cubicBezTo>
                    <a:pt x="161" y="219"/>
                    <a:pt x="159" y="218"/>
                    <a:pt x="157" y="216"/>
                  </a:cubicBezTo>
                  <a:cubicBezTo>
                    <a:pt x="157" y="216"/>
                    <a:pt x="156" y="215"/>
                    <a:pt x="156" y="214"/>
                  </a:cubicBezTo>
                  <a:cubicBezTo>
                    <a:pt x="156" y="212"/>
                    <a:pt x="156" y="209"/>
                    <a:pt x="159" y="205"/>
                  </a:cubicBezTo>
                  <a:cubicBezTo>
                    <a:pt x="160" y="202"/>
                    <a:pt x="163" y="199"/>
                    <a:pt x="165" y="197"/>
                  </a:cubicBezTo>
                  <a:cubicBezTo>
                    <a:pt x="165" y="196"/>
                    <a:pt x="165" y="196"/>
                    <a:pt x="165" y="196"/>
                  </a:cubicBezTo>
                  <a:cubicBezTo>
                    <a:pt x="166" y="196"/>
                    <a:pt x="167" y="195"/>
                    <a:pt x="167" y="194"/>
                  </a:cubicBezTo>
                  <a:cubicBezTo>
                    <a:pt x="168" y="194"/>
                    <a:pt x="168" y="193"/>
                    <a:pt x="169" y="192"/>
                  </a:cubicBezTo>
                  <a:cubicBezTo>
                    <a:pt x="169" y="192"/>
                    <a:pt x="169" y="192"/>
                    <a:pt x="169" y="192"/>
                  </a:cubicBezTo>
                  <a:cubicBezTo>
                    <a:pt x="169" y="192"/>
                    <a:pt x="169" y="191"/>
                    <a:pt x="170" y="191"/>
                  </a:cubicBezTo>
                  <a:cubicBezTo>
                    <a:pt x="171" y="190"/>
                    <a:pt x="171" y="190"/>
                    <a:pt x="171" y="190"/>
                  </a:cubicBezTo>
                  <a:cubicBezTo>
                    <a:pt x="172" y="189"/>
                    <a:pt x="172" y="189"/>
                    <a:pt x="172" y="189"/>
                  </a:cubicBezTo>
                  <a:cubicBezTo>
                    <a:pt x="172" y="189"/>
                    <a:pt x="172" y="189"/>
                    <a:pt x="172" y="189"/>
                  </a:cubicBezTo>
                  <a:cubicBezTo>
                    <a:pt x="170" y="186"/>
                    <a:pt x="170" y="186"/>
                    <a:pt x="170" y="186"/>
                  </a:cubicBezTo>
                  <a:cubicBezTo>
                    <a:pt x="173" y="188"/>
                    <a:pt x="173" y="188"/>
                    <a:pt x="173" y="188"/>
                  </a:cubicBezTo>
                  <a:cubicBezTo>
                    <a:pt x="173" y="188"/>
                    <a:pt x="173" y="188"/>
                    <a:pt x="173" y="188"/>
                  </a:cubicBezTo>
                  <a:cubicBezTo>
                    <a:pt x="174" y="187"/>
                    <a:pt x="174" y="187"/>
                    <a:pt x="175" y="187"/>
                  </a:cubicBezTo>
                  <a:cubicBezTo>
                    <a:pt x="175" y="187"/>
                    <a:pt x="175" y="187"/>
                    <a:pt x="175" y="187"/>
                  </a:cubicBezTo>
                  <a:cubicBezTo>
                    <a:pt x="176" y="186"/>
                    <a:pt x="176" y="186"/>
                    <a:pt x="177" y="186"/>
                  </a:cubicBezTo>
                  <a:cubicBezTo>
                    <a:pt x="177" y="184"/>
                    <a:pt x="177" y="184"/>
                    <a:pt x="177" y="184"/>
                  </a:cubicBezTo>
                  <a:cubicBezTo>
                    <a:pt x="178" y="186"/>
                    <a:pt x="178" y="186"/>
                    <a:pt x="178" y="186"/>
                  </a:cubicBezTo>
                  <a:cubicBezTo>
                    <a:pt x="179" y="186"/>
                    <a:pt x="179" y="186"/>
                    <a:pt x="179" y="186"/>
                  </a:cubicBezTo>
                  <a:cubicBezTo>
                    <a:pt x="179" y="186"/>
                    <a:pt x="179" y="186"/>
                    <a:pt x="180" y="187"/>
                  </a:cubicBezTo>
                  <a:cubicBezTo>
                    <a:pt x="180" y="187"/>
                    <a:pt x="180" y="187"/>
                    <a:pt x="181" y="187"/>
                  </a:cubicBezTo>
                  <a:cubicBezTo>
                    <a:pt x="181" y="188"/>
                    <a:pt x="182" y="188"/>
                    <a:pt x="182" y="188"/>
                  </a:cubicBezTo>
                  <a:cubicBezTo>
                    <a:pt x="183" y="189"/>
                    <a:pt x="183" y="190"/>
                    <a:pt x="183" y="191"/>
                  </a:cubicBezTo>
                  <a:cubicBezTo>
                    <a:pt x="184" y="191"/>
                    <a:pt x="184" y="191"/>
                    <a:pt x="184" y="191"/>
                  </a:cubicBezTo>
                  <a:cubicBezTo>
                    <a:pt x="184" y="191"/>
                    <a:pt x="184" y="192"/>
                    <a:pt x="184" y="192"/>
                  </a:cubicBezTo>
                  <a:cubicBezTo>
                    <a:pt x="185" y="192"/>
                    <a:pt x="185" y="192"/>
                    <a:pt x="185" y="192"/>
                  </a:cubicBezTo>
                  <a:cubicBezTo>
                    <a:pt x="185" y="192"/>
                    <a:pt x="185" y="192"/>
                    <a:pt x="186" y="192"/>
                  </a:cubicBezTo>
                  <a:cubicBezTo>
                    <a:pt x="186" y="192"/>
                    <a:pt x="186" y="192"/>
                    <a:pt x="186" y="192"/>
                  </a:cubicBezTo>
                  <a:cubicBezTo>
                    <a:pt x="188" y="191"/>
                    <a:pt x="189" y="191"/>
                    <a:pt x="191" y="190"/>
                  </a:cubicBezTo>
                  <a:cubicBezTo>
                    <a:pt x="191" y="190"/>
                    <a:pt x="191" y="190"/>
                    <a:pt x="191" y="190"/>
                  </a:cubicBezTo>
                  <a:cubicBezTo>
                    <a:pt x="191" y="186"/>
                    <a:pt x="191" y="186"/>
                    <a:pt x="191" y="186"/>
                  </a:cubicBezTo>
                  <a:cubicBezTo>
                    <a:pt x="193" y="190"/>
                    <a:pt x="193" y="190"/>
                    <a:pt x="193" y="190"/>
                  </a:cubicBezTo>
                  <a:cubicBezTo>
                    <a:pt x="194" y="190"/>
                    <a:pt x="194" y="190"/>
                    <a:pt x="194" y="190"/>
                  </a:cubicBezTo>
                  <a:cubicBezTo>
                    <a:pt x="194" y="190"/>
                    <a:pt x="194" y="190"/>
                    <a:pt x="195" y="190"/>
                  </a:cubicBezTo>
                  <a:cubicBezTo>
                    <a:pt x="196" y="190"/>
                    <a:pt x="196" y="190"/>
                    <a:pt x="196" y="190"/>
                  </a:cubicBezTo>
                  <a:cubicBezTo>
                    <a:pt x="197" y="190"/>
                    <a:pt x="199" y="189"/>
                    <a:pt x="200" y="189"/>
                  </a:cubicBezTo>
                  <a:cubicBezTo>
                    <a:pt x="200" y="189"/>
                    <a:pt x="200" y="189"/>
                    <a:pt x="200" y="189"/>
                  </a:cubicBezTo>
                  <a:cubicBezTo>
                    <a:pt x="212" y="174"/>
                    <a:pt x="212" y="174"/>
                    <a:pt x="212" y="174"/>
                  </a:cubicBezTo>
                  <a:cubicBezTo>
                    <a:pt x="212" y="173"/>
                    <a:pt x="212" y="173"/>
                    <a:pt x="212" y="173"/>
                  </a:cubicBezTo>
                  <a:cubicBezTo>
                    <a:pt x="213" y="171"/>
                    <a:pt x="215" y="170"/>
                    <a:pt x="217" y="169"/>
                  </a:cubicBezTo>
                  <a:cubicBezTo>
                    <a:pt x="218" y="168"/>
                    <a:pt x="218" y="168"/>
                    <a:pt x="219" y="168"/>
                  </a:cubicBezTo>
                  <a:cubicBezTo>
                    <a:pt x="222" y="166"/>
                    <a:pt x="223" y="166"/>
                    <a:pt x="224" y="163"/>
                  </a:cubicBezTo>
                  <a:cubicBezTo>
                    <a:pt x="225" y="162"/>
                    <a:pt x="225" y="162"/>
                    <a:pt x="226" y="161"/>
                  </a:cubicBezTo>
                  <a:cubicBezTo>
                    <a:pt x="226" y="160"/>
                    <a:pt x="226" y="160"/>
                    <a:pt x="226" y="160"/>
                  </a:cubicBezTo>
                  <a:cubicBezTo>
                    <a:pt x="227" y="159"/>
                    <a:pt x="227" y="158"/>
                    <a:pt x="228" y="157"/>
                  </a:cubicBezTo>
                  <a:cubicBezTo>
                    <a:pt x="228" y="156"/>
                    <a:pt x="228" y="156"/>
                    <a:pt x="228" y="155"/>
                  </a:cubicBezTo>
                  <a:cubicBezTo>
                    <a:pt x="229" y="155"/>
                    <a:pt x="229" y="155"/>
                    <a:pt x="229" y="155"/>
                  </a:cubicBezTo>
                  <a:cubicBezTo>
                    <a:pt x="229" y="155"/>
                    <a:pt x="229" y="154"/>
                    <a:pt x="229" y="154"/>
                  </a:cubicBezTo>
                  <a:cubicBezTo>
                    <a:pt x="229" y="151"/>
                    <a:pt x="230" y="149"/>
                    <a:pt x="231" y="148"/>
                  </a:cubicBezTo>
                  <a:cubicBezTo>
                    <a:pt x="232" y="147"/>
                    <a:pt x="233" y="146"/>
                    <a:pt x="234" y="146"/>
                  </a:cubicBezTo>
                  <a:cubicBezTo>
                    <a:pt x="235" y="145"/>
                    <a:pt x="237" y="144"/>
                    <a:pt x="239" y="143"/>
                  </a:cubicBezTo>
                  <a:cubicBezTo>
                    <a:pt x="239" y="143"/>
                    <a:pt x="240" y="143"/>
                    <a:pt x="240" y="143"/>
                  </a:cubicBezTo>
                  <a:cubicBezTo>
                    <a:pt x="240" y="142"/>
                    <a:pt x="240" y="142"/>
                    <a:pt x="240" y="142"/>
                  </a:cubicBezTo>
                  <a:cubicBezTo>
                    <a:pt x="239" y="140"/>
                    <a:pt x="240" y="139"/>
                    <a:pt x="240" y="138"/>
                  </a:cubicBezTo>
                  <a:cubicBezTo>
                    <a:pt x="241" y="138"/>
                    <a:pt x="241" y="138"/>
                    <a:pt x="241" y="138"/>
                  </a:cubicBezTo>
                  <a:cubicBezTo>
                    <a:pt x="241" y="137"/>
                    <a:pt x="242" y="137"/>
                    <a:pt x="242" y="136"/>
                  </a:cubicBezTo>
                  <a:cubicBezTo>
                    <a:pt x="243" y="135"/>
                    <a:pt x="244" y="134"/>
                    <a:pt x="245" y="133"/>
                  </a:cubicBezTo>
                  <a:cubicBezTo>
                    <a:pt x="245" y="132"/>
                    <a:pt x="246" y="131"/>
                    <a:pt x="248" y="130"/>
                  </a:cubicBezTo>
                  <a:cubicBezTo>
                    <a:pt x="249" y="130"/>
                    <a:pt x="249" y="130"/>
                    <a:pt x="249" y="130"/>
                  </a:cubicBezTo>
                  <a:cubicBezTo>
                    <a:pt x="250" y="129"/>
                    <a:pt x="252" y="128"/>
                    <a:pt x="253" y="127"/>
                  </a:cubicBezTo>
                  <a:cubicBezTo>
                    <a:pt x="253" y="126"/>
                    <a:pt x="254" y="126"/>
                    <a:pt x="254" y="125"/>
                  </a:cubicBezTo>
                  <a:cubicBezTo>
                    <a:pt x="254" y="125"/>
                    <a:pt x="254" y="124"/>
                    <a:pt x="254" y="123"/>
                  </a:cubicBezTo>
                  <a:cubicBezTo>
                    <a:pt x="253" y="119"/>
                    <a:pt x="253" y="119"/>
                    <a:pt x="253" y="119"/>
                  </a:cubicBezTo>
                  <a:cubicBezTo>
                    <a:pt x="253" y="118"/>
                    <a:pt x="253" y="117"/>
                    <a:pt x="252" y="116"/>
                  </a:cubicBezTo>
                  <a:cubicBezTo>
                    <a:pt x="252" y="114"/>
                    <a:pt x="252" y="114"/>
                    <a:pt x="252" y="114"/>
                  </a:cubicBezTo>
                  <a:cubicBezTo>
                    <a:pt x="249" y="114"/>
                    <a:pt x="249" y="114"/>
                    <a:pt x="249" y="114"/>
                  </a:cubicBezTo>
                  <a:cubicBezTo>
                    <a:pt x="252" y="112"/>
                    <a:pt x="252" y="112"/>
                    <a:pt x="252" y="112"/>
                  </a:cubicBezTo>
                  <a:cubicBezTo>
                    <a:pt x="252" y="112"/>
                    <a:pt x="252" y="112"/>
                    <a:pt x="252" y="112"/>
                  </a:cubicBezTo>
                  <a:cubicBezTo>
                    <a:pt x="252" y="111"/>
                    <a:pt x="252" y="111"/>
                    <a:pt x="252" y="110"/>
                  </a:cubicBezTo>
                  <a:cubicBezTo>
                    <a:pt x="253" y="109"/>
                    <a:pt x="254" y="107"/>
                    <a:pt x="256" y="106"/>
                  </a:cubicBezTo>
                  <a:cubicBezTo>
                    <a:pt x="256" y="105"/>
                    <a:pt x="257" y="105"/>
                    <a:pt x="258" y="105"/>
                  </a:cubicBezTo>
                  <a:cubicBezTo>
                    <a:pt x="258" y="105"/>
                    <a:pt x="258" y="105"/>
                    <a:pt x="258" y="105"/>
                  </a:cubicBezTo>
                  <a:cubicBezTo>
                    <a:pt x="259" y="104"/>
                    <a:pt x="259" y="104"/>
                    <a:pt x="259" y="104"/>
                  </a:cubicBezTo>
                  <a:cubicBezTo>
                    <a:pt x="259" y="104"/>
                    <a:pt x="259" y="104"/>
                    <a:pt x="260" y="104"/>
                  </a:cubicBezTo>
                  <a:cubicBezTo>
                    <a:pt x="260" y="104"/>
                    <a:pt x="261" y="104"/>
                    <a:pt x="261" y="103"/>
                  </a:cubicBezTo>
                  <a:cubicBezTo>
                    <a:pt x="262" y="103"/>
                    <a:pt x="263" y="103"/>
                    <a:pt x="263" y="103"/>
                  </a:cubicBezTo>
                  <a:cubicBezTo>
                    <a:pt x="265" y="102"/>
                    <a:pt x="265" y="102"/>
                    <a:pt x="265" y="102"/>
                  </a:cubicBezTo>
                  <a:cubicBezTo>
                    <a:pt x="265" y="102"/>
                    <a:pt x="267" y="101"/>
                    <a:pt x="267" y="101"/>
                  </a:cubicBezTo>
                  <a:cubicBezTo>
                    <a:pt x="267" y="100"/>
                    <a:pt x="267" y="100"/>
                    <a:pt x="267" y="100"/>
                  </a:cubicBezTo>
                  <a:cubicBezTo>
                    <a:pt x="267" y="99"/>
                    <a:pt x="267" y="99"/>
                    <a:pt x="267" y="99"/>
                  </a:cubicBezTo>
                  <a:cubicBezTo>
                    <a:pt x="266" y="99"/>
                    <a:pt x="266" y="99"/>
                    <a:pt x="266" y="99"/>
                  </a:cubicBezTo>
                  <a:cubicBezTo>
                    <a:pt x="266" y="99"/>
                    <a:pt x="266" y="99"/>
                    <a:pt x="266" y="99"/>
                  </a:cubicBezTo>
                  <a:cubicBezTo>
                    <a:pt x="265" y="99"/>
                    <a:pt x="264" y="99"/>
                    <a:pt x="263" y="99"/>
                  </a:cubicBezTo>
                  <a:cubicBezTo>
                    <a:pt x="263" y="99"/>
                    <a:pt x="263" y="99"/>
                    <a:pt x="263" y="99"/>
                  </a:cubicBezTo>
                  <a:cubicBezTo>
                    <a:pt x="262" y="99"/>
                    <a:pt x="262" y="98"/>
                    <a:pt x="261" y="98"/>
                  </a:cubicBezTo>
                  <a:cubicBezTo>
                    <a:pt x="259" y="98"/>
                    <a:pt x="257" y="97"/>
                    <a:pt x="256" y="96"/>
                  </a:cubicBezTo>
                  <a:cubicBezTo>
                    <a:pt x="256" y="96"/>
                    <a:pt x="256" y="96"/>
                    <a:pt x="256" y="95"/>
                  </a:cubicBezTo>
                  <a:cubicBezTo>
                    <a:pt x="255" y="94"/>
                    <a:pt x="255" y="93"/>
                    <a:pt x="255" y="92"/>
                  </a:cubicBezTo>
                  <a:cubicBezTo>
                    <a:pt x="254" y="92"/>
                    <a:pt x="254" y="92"/>
                    <a:pt x="253" y="92"/>
                  </a:cubicBezTo>
                  <a:cubicBezTo>
                    <a:pt x="252" y="92"/>
                    <a:pt x="250" y="91"/>
                    <a:pt x="249" y="90"/>
                  </a:cubicBezTo>
                  <a:cubicBezTo>
                    <a:pt x="248" y="89"/>
                    <a:pt x="248" y="89"/>
                    <a:pt x="248" y="89"/>
                  </a:cubicBezTo>
                  <a:cubicBezTo>
                    <a:pt x="248" y="88"/>
                    <a:pt x="247" y="88"/>
                    <a:pt x="247" y="87"/>
                  </a:cubicBezTo>
                  <a:cubicBezTo>
                    <a:pt x="246" y="86"/>
                    <a:pt x="246" y="86"/>
                    <a:pt x="246" y="86"/>
                  </a:cubicBezTo>
                  <a:cubicBezTo>
                    <a:pt x="245" y="85"/>
                    <a:pt x="244" y="84"/>
                    <a:pt x="244" y="82"/>
                  </a:cubicBezTo>
                  <a:cubicBezTo>
                    <a:pt x="238" y="83"/>
                    <a:pt x="238" y="83"/>
                    <a:pt x="238" y="83"/>
                  </a:cubicBezTo>
                  <a:cubicBezTo>
                    <a:pt x="243" y="81"/>
                    <a:pt x="243" y="81"/>
                    <a:pt x="243" y="81"/>
                  </a:cubicBezTo>
                  <a:cubicBezTo>
                    <a:pt x="243" y="81"/>
                    <a:pt x="243" y="81"/>
                    <a:pt x="243" y="81"/>
                  </a:cubicBezTo>
                  <a:cubicBezTo>
                    <a:pt x="243" y="80"/>
                    <a:pt x="243" y="79"/>
                    <a:pt x="244" y="78"/>
                  </a:cubicBezTo>
                  <a:cubicBezTo>
                    <a:pt x="244" y="78"/>
                    <a:pt x="244" y="77"/>
                    <a:pt x="244" y="76"/>
                  </a:cubicBezTo>
                  <a:cubicBezTo>
                    <a:pt x="245" y="74"/>
                    <a:pt x="245" y="74"/>
                    <a:pt x="245" y="73"/>
                  </a:cubicBezTo>
                  <a:cubicBezTo>
                    <a:pt x="245" y="73"/>
                    <a:pt x="245" y="73"/>
                    <a:pt x="245" y="73"/>
                  </a:cubicBezTo>
                  <a:cubicBezTo>
                    <a:pt x="244" y="72"/>
                    <a:pt x="244" y="72"/>
                    <a:pt x="243" y="71"/>
                  </a:cubicBezTo>
                  <a:cubicBezTo>
                    <a:pt x="243" y="70"/>
                    <a:pt x="243" y="70"/>
                    <a:pt x="243" y="69"/>
                  </a:cubicBezTo>
                  <a:cubicBezTo>
                    <a:pt x="242" y="69"/>
                    <a:pt x="242" y="69"/>
                    <a:pt x="242" y="69"/>
                  </a:cubicBezTo>
                  <a:cubicBezTo>
                    <a:pt x="243" y="69"/>
                    <a:pt x="243" y="69"/>
                    <a:pt x="243" y="69"/>
                  </a:cubicBezTo>
                  <a:cubicBezTo>
                    <a:pt x="242" y="68"/>
                    <a:pt x="243" y="68"/>
                    <a:pt x="243" y="67"/>
                  </a:cubicBezTo>
                  <a:cubicBezTo>
                    <a:pt x="243" y="67"/>
                    <a:pt x="243" y="67"/>
                    <a:pt x="243" y="67"/>
                  </a:cubicBezTo>
                  <a:cubicBezTo>
                    <a:pt x="243" y="66"/>
                    <a:pt x="244" y="66"/>
                    <a:pt x="245" y="65"/>
                  </a:cubicBezTo>
                  <a:cubicBezTo>
                    <a:pt x="245" y="65"/>
                    <a:pt x="245" y="65"/>
                    <a:pt x="245" y="65"/>
                  </a:cubicBezTo>
                  <a:cubicBezTo>
                    <a:pt x="244" y="65"/>
                    <a:pt x="244" y="65"/>
                    <a:pt x="244" y="65"/>
                  </a:cubicBezTo>
                  <a:cubicBezTo>
                    <a:pt x="243" y="64"/>
                    <a:pt x="243" y="64"/>
                    <a:pt x="242" y="64"/>
                  </a:cubicBezTo>
                  <a:cubicBezTo>
                    <a:pt x="240" y="64"/>
                    <a:pt x="240" y="64"/>
                    <a:pt x="240" y="64"/>
                  </a:cubicBezTo>
                  <a:cubicBezTo>
                    <a:pt x="241" y="61"/>
                    <a:pt x="241" y="61"/>
                    <a:pt x="241" y="61"/>
                  </a:cubicBezTo>
                  <a:cubicBezTo>
                    <a:pt x="241" y="61"/>
                    <a:pt x="241" y="61"/>
                    <a:pt x="241" y="60"/>
                  </a:cubicBezTo>
                  <a:cubicBezTo>
                    <a:pt x="241" y="60"/>
                    <a:pt x="241" y="60"/>
                    <a:pt x="241" y="60"/>
                  </a:cubicBezTo>
                  <a:cubicBezTo>
                    <a:pt x="241" y="59"/>
                    <a:pt x="242" y="59"/>
                    <a:pt x="242" y="59"/>
                  </a:cubicBezTo>
                  <a:cubicBezTo>
                    <a:pt x="241" y="59"/>
                    <a:pt x="241" y="59"/>
                    <a:pt x="240" y="58"/>
                  </a:cubicBezTo>
                  <a:cubicBezTo>
                    <a:pt x="240" y="58"/>
                    <a:pt x="240" y="58"/>
                    <a:pt x="240" y="58"/>
                  </a:cubicBezTo>
                  <a:cubicBezTo>
                    <a:pt x="239" y="57"/>
                    <a:pt x="239" y="57"/>
                    <a:pt x="238" y="55"/>
                  </a:cubicBezTo>
                  <a:cubicBezTo>
                    <a:pt x="238" y="54"/>
                    <a:pt x="239" y="53"/>
                    <a:pt x="239" y="52"/>
                  </a:cubicBezTo>
                  <a:cubicBezTo>
                    <a:pt x="240" y="51"/>
                    <a:pt x="240" y="50"/>
                    <a:pt x="241" y="49"/>
                  </a:cubicBezTo>
                  <a:cubicBezTo>
                    <a:pt x="241" y="49"/>
                    <a:pt x="241" y="48"/>
                    <a:pt x="242" y="48"/>
                  </a:cubicBezTo>
                  <a:cubicBezTo>
                    <a:pt x="243" y="47"/>
                    <a:pt x="244" y="47"/>
                    <a:pt x="245" y="47"/>
                  </a:cubicBezTo>
                  <a:cubicBezTo>
                    <a:pt x="247" y="46"/>
                    <a:pt x="250" y="46"/>
                    <a:pt x="252" y="46"/>
                  </a:cubicBezTo>
                  <a:cubicBezTo>
                    <a:pt x="253" y="46"/>
                    <a:pt x="253" y="46"/>
                    <a:pt x="253" y="46"/>
                  </a:cubicBezTo>
                  <a:cubicBezTo>
                    <a:pt x="254" y="45"/>
                    <a:pt x="255" y="45"/>
                    <a:pt x="255" y="45"/>
                  </a:cubicBezTo>
                  <a:cubicBezTo>
                    <a:pt x="256" y="45"/>
                    <a:pt x="256" y="45"/>
                    <a:pt x="257" y="45"/>
                  </a:cubicBezTo>
                  <a:cubicBezTo>
                    <a:pt x="259" y="45"/>
                    <a:pt x="261" y="46"/>
                    <a:pt x="262" y="46"/>
                  </a:cubicBezTo>
                  <a:cubicBezTo>
                    <a:pt x="263" y="46"/>
                    <a:pt x="263" y="46"/>
                    <a:pt x="263" y="46"/>
                  </a:cubicBezTo>
                  <a:cubicBezTo>
                    <a:pt x="264" y="46"/>
                    <a:pt x="264" y="46"/>
                    <a:pt x="265" y="46"/>
                  </a:cubicBezTo>
                  <a:cubicBezTo>
                    <a:pt x="268" y="47"/>
                    <a:pt x="268" y="47"/>
                    <a:pt x="268" y="47"/>
                  </a:cubicBezTo>
                  <a:cubicBezTo>
                    <a:pt x="269" y="47"/>
                    <a:pt x="270" y="48"/>
                    <a:pt x="272" y="48"/>
                  </a:cubicBezTo>
                  <a:cubicBezTo>
                    <a:pt x="272" y="49"/>
                    <a:pt x="272" y="49"/>
                    <a:pt x="272" y="49"/>
                  </a:cubicBezTo>
                  <a:cubicBezTo>
                    <a:pt x="273" y="49"/>
                    <a:pt x="273" y="49"/>
                    <a:pt x="274" y="49"/>
                  </a:cubicBezTo>
                  <a:cubicBezTo>
                    <a:pt x="275" y="49"/>
                    <a:pt x="275" y="49"/>
                    <a:pt x="275" y="49"/>
                  </a:cubicBezTo>
                  <a:cubicBezTo>
                    <a:pt x="276" y="50"/>
                    <a:pt x="276" y="50"/>
                    <a:pt x="277" y="50"/>
                  </a:cubicBezTo>
                  <a:cubicBezTo>
                    <a:pt x="278" y="50"/>
                    <a:pt x="280" y="49"/>
                    <a:pt x="283" y="48"/>
                  </a:cubicBezTo>
                  <a:cubicBezTo>
                    <a:pt x="284" y="47"/>
                    <a:pt x="284" y="47"/>
                    <a:pt x="285" y="47"/>
                  </a:cubicBezTo>
                  <a:cubicBezTo>
                    <a:pt x="285" y="47"/>
                    <a:pt x="286" y="46"/>
                    <a:pt x="287" y="46"/>
                  </a:cubicBezTo>
                  <a:cubicBezTo>
                    <a:pt x="287" y="46"/>
                    <a:pt x="288" y="46"/>
                    <a:pt x="289" y="46"/>
                  </a:cubicBezTo>
                  <a:cubicBezTo>
                    <a:pt x="290" y="45"/>
                    <a:pt x="290" y="45"/>
                    <a:pt x="291" y="45"/>
                  </a:cubicBezTo>
                  <a:cubicBezTo>
                    <a:pt x="291" y="45"/>
                    <a:pt x="291" y="45"/>
                    <a:pt x="291" y="45"/>
                  </a:cubicBezTo>
                  <a:cubicBezTo>
                    <a:pt x="292" y="45"/>
                    <a:pt x="292" y="45"/>
                    <a:pt x="292" y="45"/>
                  </a:cubicBezTo>
                  <a:cubicBezTo>
                    <a:pt x="293" y="45"/>
                    <a:pt x="293" y="45"/>
                    <a:pt x="293" y="45"/>
                  </a:cubicBezTo>
                  <a:cubicBezTo>
                    <a:pt x="295" y="45"/>
                    <a:pt x="295" y="44"/>
                    <a:pt x="296" y="43"/>
                  </a:cubicBezTo>
                  <a:cubicBezTo>
                    <a:pt x="297" y="42"/>
                    <a:pt x="297" y="42"/>
                    <a:pt x="297" y="42"/>
                  </a:cubicBezTo>
                  <a:cubicBezTo>
                    <a:pt x="298" y="40"/>
                    <a:pt x="300" y="38"/>
                    <a:pt x="301" y="37"/>
                  </a:cubicBezTo>
                  <a:cubicBezTo>
                    <a:pt x="305" y="35"/>
                    <a:pt x="305" y="35"/>
                    <a:pt x="305" y="35"/>
                  </a:cubicBezTo>
                  <a:cubicBezTo>
                    <a:pt x="306" y="35"/>
                    <a:pt x="307" y="34"/>
                    <a:pt x="307" y="34"/>
                  </a:cubicBezTo>
                  <a:cubicBezTo>
                    <a:pt x="301" y="34"/>
                    <a:pt x="301" y="34"/>
                    <a:pt x="301" y="34"/>
                  </a:cubicBezTo>
                  <a:cubicBezTo>
                    <a:pt x="306" y="32"/>
                    <a:pt x="306" y="32"/>
                    <a:pt x="306" y="32"/>
                  </a:cubicBezTo>
                  <a:cubicBezTo>
                    <a:pt x="303" y="32"/>
                    <a:pt x="299" y="31"/>
                    <a:pt x="296" y="29"/>
                  </a:cubicBezTo>
                  <a:cubicBezTo>
                    <a:pt x="295" y="29"/>
                    <a:pt x="294" y="28"/>
                    <a:pt x="293" y="27"/>
                  </a:cubicBezTo>
                  <a:cubicBezTo>
                    <a:pt x="292" y="26"/>
                    <a:pt x="292" y="26"/>
                    <a:pt x="292" y="25"/>
                  </a:cubicBezTo>
                  <a:cubicBezTo>
                    <a:pt x="290" y="26"/>
                    <a:pt x="289" y="26"/>
                    <a:pt x="288" y="26"/>
                  </a:cubicBezTo>
                  <a:cubicBezTo>
                    <a:pt x="288" y="26"/>
                    <a:pt x="288" y="26"/>
                    <a:pt x="288" y="26"/>
                  </a:cubicBezTo>
                  <a:cubicBezTo>
                    <a:pt x="287" y="26"/>
                    <a:pt x="287" y="26"/>
                    <a:pt x="287" y="26"/>
                  </a:cubicBezTo>
                  <a:cubicBezTo>
                    <a:pt x="286" y="26"/>
                    <a:pt x="285" y="26"/>
                    <a:pt x="284" y="25"/>
                  </a:cubicBezTo>
                  <a:cubicBezTo>
                    <a:pt x="284" y="25"/>
                    <a:pt x="283" y="24"/>
                    <a:pt x="283" y="24"/>
                  </a:cubicBezTo>
                  <a:cubicBezTo>
                    <a:pt x="283" y="23"/>
                    <a:pt x="283" y="23"/>
                    <a:pt x="283" y="23"/>
                  </a:cubicBezTo>
                  <a:cubicBezTo>
                    <a:pt x="283" y="23"/>
                    <a:pt x="283" y="23"/>
                    <a:pt x="283" y="23"/>
                  </a:cubicBezTo>
                  <a:cubicBezTo>
                    <a:pt x="282" y="23"/>
                    <a:pt x="282" y="22"/>
                    <a:pt x="281" y="22"/>
                  </a:cubicBezTo>
                  <a:cubicBezTo>
                    <a:pt x="280" y="20"/>
                    <a:pt x="280" y="20"/>
                    <a:pt x="280" y="20"/>
                  </a:cubicBezTo>
                  <a:cubicBezTo>
                    <a:pt x="278" y="18"/>
                    <a:pt x="280" y="16"/>
                    <a:pt x="280" y="15"/>
                  </a:cubicBezTo>
                  <a:cubicBezTo>
                    <a:pt x="281" y="15"/>
                    <a:pt x="281" y="14"/>
                    <a:pt x="281" y="14"/>
                  </a:cubicBezTo>
                  <a:cubicBezTo>
                    <a:pt x="281" y="13"/>
                    <a:pt x="281" y="13"/>
                    <a:pt x="281" y="12"/>
                  </a:cubicBezTo>
                  <a:cubicBezTo>
                    <a:pt x="281" y="11"/>
                    <a:pt x="280" y="11"/>
                    <a:pt x="280" y="10"/>
                  </a:cubicBezTo>
                  <a:cubicBezTo>
                    <a:pt x="279" y="8"/>
                    <a:pt x="277" y="7"/>
                    <a:pt x="276" y="6"/>
                  </a:cubicBezTo>
                  <a:cubicBezTo>
                    <a:pt x="276" y="6"/>
                    <a:pt x="275" y="6"/>
                    <a:pt x="275" y="5"/>
                  </a:cubicBezTo>
                  <a:cubicBezTo>
                    <a:pt x="273" y="5"/>
                    <a:pt x="272" y="4"/>
                    <a:pt x="271" y="3"/>
                  </a:cubicBezTo>
                  <a:cubicBezTo>
                    <a:pt x="270" y="3"/>
                    <a:pt x="269" y="2"/>
                    <a:pt x="268" y="2"/>
                  </a:cubicBezTo>
                  <a:cubicBezTo>
                    <a:pt x="267" y="1"/>
                    <a:pt x="266" y="1"/>
                    <a:pt x="264" y="1"/>
                  </a:cubicBezTo>
                  <a:cubicBezTo>
                    <a:pt x="264" y="1"/>
                    <a:pt x="264" y="1"/>
                    <a:pt x="264" y="1"/>
                  </a:cubicBezTo>
                  <a:cubicBezTo>
                    <a:pt x="263" y="1"/>
                    <a:pt x="263" y="1"/>
                    <a:pt x="262" y="1"/>
                  </a:cubicBezTo>
                  <a:cubicBezTo>
                    <a:pt x="262" y="1"/>
                    <a:pt x="261" y="1"/>
                    <a:pt x="261" y="1"/>
                  </a:cubicBezTo>
                  <a:cubicBezTo>
                    <a:pt x="260" y="1"/>
                    <a:pt x="259" y="0"/>
                    <a:pt x="258" y="0"/>
                  </a:cubicBezTo>
                  <a:cubicBezTo>
                    <a:pt x="258" y="0"/>
                    <a:pt x="258" y="0"/>
                    <a:pt x="258" y="0"/>
                  </a:cubicBezTo>
                  <a:cubicBezTo>
                    <a:pt x="258" y="0"/>
                    <a:pt x="258" y="0"/>
                    <a:pt x="258" y="0"/>
                  </a:cubicBezTo>
                  <a:cubicBezTo>
                    <a:pt x="257" y="0"/>
                    <a:pt x="257" y="0"/>
                    <a:pt x="2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420"/>
            <p:cNvSpPr/>
            <p:nvPr/>
          </p:nvSpPr>
          <p:spPr bwMode="auto">
            <a:xfrm>
              <a:off x="2918708" y="4347763"/>
              <a:ext cx="107285" cy="31636"/>
            </a:xfrm>
            <a:custGeom>
              <a:gdLst>
                <a:gd name="T0" fmla="*/ 13 w 33"/>
                <a:gd name="T1" fmla="*/ 0 h 10"/>
                <a:gd name="T2" fmla="*/ 11 w 33"/>
                <a:gd name="T3" fmla="*/ 1 h 10"/>
                <a:gd name="T4" fmla="*/ 10 w 33"/>
                <a:gd name="T5" fmla="*/ 1 h 10"/>
                <a:gd name="T6" fmla="*/ 2 w 33"/>
                <a:gd name="T7" fmla="*/ 8 h 10"/>
                <a:gd name="T8" fmla="*/ 0 w 33"/>
                <a:gd name="T9" fmla="*/ 10 h 10"/>
                <a:gd name="T10" fmla="*/ 1 w 33"/>
                <a:gd name="T11" fmla="*/ 9 h 10"/>
                <a:gd name="T12" fmla="*/ 5 w 33"/>
                <a:gd name="T13" fmla="*/ 9 h 10"/>
                <a:gd name="T14" fmla="*/ 13 w 33"/>
                <a:gd name="T15" fmla="*/ 8 h 10"/>
                <a:gd name="T16" fmla="*/ 14 w 33"/>
                <a:gd name="T17" fmla="*/ 8 h 10"/>
                <a:gd name="T18" fmla="*/ 18 w 33"/>
                <a:gd name="T19" fmla="*/ 8 h 10"/>
                <a:gd name="T20" fmla="*/ 18 w 33"/>
                <a:gd name="T21" fmla="*/ 8 h 10"/>
                <a:gd name="T22" fmla="*/ 20 w 33"/>
                <a:gd name="T23" fmla="*/ 8 h 10"/>
                <a:gd name="T24" fmla="*/ 21 w 33"/>
                <a:gd name="T25" fmla="*/ 9 h 10"/>
                <a:gd name="T26" fmla="*/ 22 w 33"/>
                <a:gd name="T27" fmla="*/ 9 h 10"/>
                <a:gd name="T28" fmla="*/ 23 w 33"/>
                <a:gd name="T29" fmla="*/ 9 h 10"/>
                <a:gd name="T30" fmla="*/ 25 w 33"/>
                <a:gd name="T31" fmla="*/ 10 h 10"/>
                <a:gd name="T32" fmla="*/ 26 w 33"/>
                <a:gd name="T33" fmla="*/ 10 h 10"/>
                <a:gd name="T34" fmla="*/ 26 w 33"/>
                <a:gd name="T35" fmla="*/ 9 h 10"/>
                <a:gd name="T36" fmla="*/ 31 w 33"/>
                <a:gd name="T37" fmla="*/ 7 h 10"/>
                <a:gd name="T38" fmla="*/ 30 w 33"/>
                <a:gd name="T39" fmla="*/ 5 h 10"/>
                <a:gd name="T40" fmla="*/ 31 w 33"/>
                <a:gd name="T41" fmla="*/ 2 h 10"/>
                <a:gd name="T42" fmla="*/ 33 w 33"/>
                <a:gd name="T43" fmla="*/ 2 h 10"/>
                <a:gd name="T44" fmla="*/ 33 w 33"/>
                <a:gd name="T45" fmla="*/ 2 h 10"/>
                <a:gd name="T46" fmla="*/ 32 w 33"/>
                <a:gd name="T47" fmla="*/ 1 h 10"/>
                <a:gd name="T48" fmla="*/ 31 w 33"/>
                <a:gd name="T49" fmla="*/ 1 h 10"/>
                <a:gd name="T50" fmla="*/ 31 w 33"/>
                <a:gd name="T51" fmla="*/ 2 h 10"/>
                <a:gd name="T52" fmla="*/ 30 w 33"/>
                <a:gd name="T53" fmla="*/ 3 h 10"/>
                <a:gd name="T54" fmla="*/ 29 w 33"/>
                <a:gd name="T55" fmla="*/ 3 h 10"/>
                <a:gd name="T56" fmla="*/ 28 w 33"/>
                <a:gd name="T57" fmla="*/ 3 h 10"/>
                <a:gd name="T58" fmla="*/ 28 w 33"/>
                <a:gd name="T59" fmla="*/ 3 h 10"/>
                <a:gd name="T60" fmla="*/ 23 w 33"/>
                <a:gd name="T61" fmla="*/ 4 h 10"/>
                <a:gd name="T62" fmla="*/ 22 w 33"/>
                <a:gd name="T63" fmla="*/ 5 h 10"/>
                <a:gd name="T64" fmla="*/ 19 w 33"/>
                <a:gd name="T65" fmla="*/ 5 h 10"/>
                <a:gd name="T66" fmla="*/ 17 w 33"/>
                <a:gd name="T67" fmla="*/ 5 h 10"/>
                <a:gd name="T68" fmla="*/ 17 w 33"/>
                <a:gd name="T69" fmla="*/ 5 h 10"/>
                <a:gd name="T70" fmla="*/ 16 w 33"/>
                <a:gd name="T71" fmla="*/ 5 h 10"/>
                <a:gd name="T72" fmla="*/ 15 w 33"/>
                <a:gd name="T73" fmla="*/ 2 h 10"/>
                <a:gd name="T74" fmla="*/ 15 w 33"/>
                <a:gd name="T75" fmla="*/ 1 h 10"/>
                <a:gd name="T76" fmla="*/ 13 w 33"/>
                <a:gd name="T7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10">
                  <a:moveTo>
                    <a:pt x="13" y="0"/>
                  </a:moveTo>
                  <a:cubicBezTo>
                    <a:pt x="12" y="0"/>
                    <a:pt x="12" y="0"/>
                    <a:pt x="11" y="1"/>
                  </a:cubicBezTo>
                  <a:cubicBezTo>
                    <a:pt x="11" y="1"/>
                    <a:pt x="10" y="1"/>
                    <a:pt x="10" y="1"/>
                  </a:cubicBezTo>
                  <a:cubicBezTo>
                    <a:pt x="7" y="3"/>
                    <a:pt x="4" y="5"/>
                    <a:pt x="2" y="8"/>
                  </a:cubicBezTo>
                  <a:cubicBezTo>
                    <a:pt x="1" y="9"/>
                    <a:pt x="1" y="9"/>
                    <a:pt x="0" y="10"/>
                  </a:cubicBezTo>
                  <a:cubicBezTo>
                    <a:pt x="1" y="9"/>
                    <a:pt x="1" y="9"/>
                    <a:pt x="1" y="9"/>
                  </a:cubicBezTo>
                  <a:cubicBezTo>
                    <a:pt x="5" y="9"/>
                    <a:pt x="5" y="9"/>
                    <a:pt x="5" y="9"/>
                  </a:cubicBezTo>
                  <a:cubicBezTo>
                    <a:pt x="7" y="9"/>
                    <a:pt x="10" y="9"/>
                    <a:pt x="13" y="8"/>
                  </a:cubicBezTo>
                  <a:cubicBezTo>
                    <a:pt x="14" y="8"/>
                    <a:pt x="14" y="8"/>
                    <a:pt x="14" y="8"/>
                  </a:cubicBezTo>
                  <a:cubicBezTo>
                    <a:pt x="15" y="8"/>
                    <a:pt x="17" y="8"/>
                    <a:pt x="18" y="8"/>
                  </a:cubicBezTo>
                  <a:cubicBezTo>
                    <a:pt x="18" y="8"/>
                    <a:pt x="18" y="8"/>
                    <a:pt x="18" y="8"/>
                  </a:cubicBezTo>
                  <a:cubicBezTo>
                    <a:pt x="19" y="8"/>
                    <a:pt x="19" y="8"/>
                    <a:pt x="20" y="8"/>
                  </a:cubicBezTo>
                  <a:cubicBezTo>
                    <a:pt x="20" y="8"/>
                    <a:pt x="21" y="8"/>
                    <a:pt x="21" y="9"/>
                  </a:cubicBezTo>
                  <a:cubicBezTo>
                    <a:pt x="22" y="9"/>
                    <a:pt x="22" y="9"/>
                    <a:pt x="22" y="9"/>
                  </a:cubicBezTo>
                  <a:cubicBezTo>
                    <a:pt x="23" y="9"/>
                    <a:pt x="23" y="9"/>
                    <a:pt x="23" y="9"/>
                  </a:cubicBezTo>
                  <a:cubicBezTo>
                    <a:pt x="24" y="9"/>
                    <a:pt x="25" y="10"/>
                    <a:pt x="25" y="10"/>
                  </a:cubicBezTo>
                  <a:cubicBezTo>
                    <a:pt x="25" y="10"/>
                    <a:pt x="26" y="10"/>
                    <a:pt x="26" y="10"/>
                  </a:cubicBezTo>
                  <a:cubicBezTo>
                    <a:pt x="26" y="9"/>
                    <a:pt x="26" y="9"/>
                    <a:pt x="26" y="9"/>
                  </a:cubicBezTo>
                  <a:cubicBezTo>
                    <a:pt x="28" y="9"/>
                    <a:pt x="29" y="8"/>
                    <a:pt x="31" y="7"/>
                  </a:cubicBezTo>
                  <a:cubicBezTo>
                    <a:pt x="30" y="7"/>
                    <a:pt x="30" y="6"/>
                    <a:pt x="30" y="5"/>
                  </a:cubicBezTo>
                  <a:cubicBezTo>
                    <a:pt x="30" y="4"/>
                    <a:pt x="30" y="3"/>
                    <a:pt x="31" y="2"/>
                  </a:cubicBezTo>
                  <a:cubicBezTo>
                    <a:pt x="32" y="2"/>
                    <a:pt x="32" y="2"/>
                    <a:pt x="33" y="2"/>
                  </a:cubicBezTo>
                  <a:cubicBezTo>
                    <a:pt x="33" y="2"/>
                    <a:pt x="33" y="2"/>
                    <a:pt x="33" y="2"/>
                  </a:cubicBezTo>
                  <a:cubicBezTo>
                    <a:pt x="32" y="2"/>
                    <a:pt x="32" y="2"/>
                    <a:pt x="32" y="1"/>
                  </a:cubicBezTo>
                  <a:cubicBezTo>
                    <a:pt x="31" y="1"/>
                    <a:pt x="31" y="1"/>
                    <a:pt x="31" y="1"/>
                  </a:cubicBezTo>
                  <a:cubicBezTo>
                    <a:pt x="31" y="2"/>
                    <a:pt x="31" y="2"/>
                    <a:pt x="31" y="2"/>
                  </a:cubicBezTo>
                  <a:cubicBezTo>
                    <a:pt x="30" y="3"/>
                    <a:pt x="30" y="3"/>
                    <a:pt x="30" y="3"/>
                  </a:cubicBezTo>
                  <a:cubicBezTo>
                    <a:pt x="29" y="3"/>
                    <a:pt x="29" y="3"/>
                    <a:pt x="29" y="3"/>
                  </a:cubicBezTo>
                  <a:cubicBezTo>
                    <a:pt x="29" y="3"/>
                    <a:pt x="28" y="3"/>
                    <a:pt x="28" y="3"/>
                  </a:cubicBezTo>
                  <a:cubicBezTo>
                    <a:pt x="28" y="3"/>
                    <a:pt x="28" y="3"/>
                    <a:pt x="28" y="3"/>
                  </a:cubicBezTo>
                  <a:cubicBezTo>
                    <a:pt x="27" y="3"/>
                    <a:pt x="25" y="4"/>
                    <a:pt x="23" y="4"/>
                  </a:cubicBezTo>
                  <a:cubicBezTo>
                    <a:pt x="23" y="5"/>
                    <a:pt x="22" y="5"/>
                    <a:pt x="22" y="5"/>
                  </a:cubicBezTo>
                  <a:cubicBezTo>
                    <a:pt x="20" y="5"/>
                    <a:pt x="19" y="5"/>
                    <a:pt x="19" y="5"/>
                  </a:cubicBezTo>
                  <a:cubicBezTo>
                    <a:pt x="18" y="5"/>
                    <a:pt x="18" y="5"/>
                    <a:pt x="17" y="5"/>
                  </a:cubicBezTo>
                  <a:cubicBezTo>
                    <a:pt x="17" y="5"/>
                    <a:pt x="17" y="5"/>
                    <a:pt x="17" y="5"/>
                  </a:cubicBezTo>
                  <a:cubicBezTo>
                    <a:pt x="16" y="5"/>
                    <a:pt x="16" y="5"/>
                    <a:pt x="16" y="5"/>
                  </a:cubicBezTo>
                  <a:cubicBezTo>
                    <a:pt x="15" y="3"/>
                    <a:pt x="15" y="3"/>
                    <a:pt x="15" y="2"/>
                  </a:cubicBezTo>
                  <a:cubicBezTo>
                    <a:pt x="15" y="1"/>
                    <a:pt x="15" y="1"/>
                    <a:pt x="15" y="1"/>
                  </a:cubicBezTo>
                  <a:cubicBezTo>
                    <a:pt x="14" y="1"/>
                    <a:pt x="14"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421"/>
            <p:cNvSpPr/>
            <p:nvPr/>
          </p:nvSpPr>
          <p:spPr bwMode="auto">
            <a:xfrm>
              <a:off x="2171839" y="4276240"/>
              <a:ext cx="717985" cy="617578"/>
            </a:xfrm>
            <a:custGeom>
              <a:gdLst>
                <a:gd name="T0" fmla="*/ 186 w 221"/>
                <a:gd name="T1" fmla="*/ 9 h 190"/>
                <a:gd name="T2" fmla="*/ 185 w 221"/>
                <a:gd name="T3" fmla="*/ 18 h 190"/>
                <a:gd name="T4" fmla="*/ 180 w 221"/>
                <a:gd name="T5" fmla="*/ 21 h 190"/>
                <a:gd name="T6" fmla="*/ 170 w 221"/>
                <a:gd name="T7" fmla="*/ 22 h 190"/>
                <a:gd name="T8" fmla="*/ 168 w 221"/>
                <a:gd name="T9" fmla="*/ 29 h 190"/>
                <a:gd name="T10" fmla="*/ 158 w 221"/>
                <a:gd name="T11" fmla="*/ 26 h 190"/>
                <a:gd name="T12" fmla="*/ 149 w 221"/>
                <a:gd name="T13" fmla="*/ 29 h 190"/>
                <a:gd name="T14" fmla="*/ 141 w 221"/>
                <a:gd name="T15" fmla="*/ 34 h 190"/>
                <a:gd name="T16" fmla="*/ 134 w 221"/>
                <a:gd name="T17" fmla="*/ 28 h 190"/>
                <a:gd name="T18" fmla="*/ 127 w 221"/>
                <a:gd name="T19" fmla="*/ 28 h 190"/>
                <a:gd name="T20" fmla="*/ 115 w 221"/>
                <a:gd name="T21" fmla="*/ 25 h 190"/>
                <a:gd name="T22" fmla="*/ 111 w 221"/>
                <a:gd name="T23" fmla="*/ 25 h 190"/>
                <a:gd name="T24" fmla="*/ 101 w 221"/>
                <a:gd name="T25" fmla="*/ 23 h 190"/>
                <a:gd name="T26" fmla="*/ 89 w 221"/>
                <a:gd name="T27" fmla="*/ 28 h 190"/>
                <a:gd name="T28" fmla="*/ 75 w 221"/>
                <a:gd name="T29" fmla="*/ 47 h 190"/>
                <a:gd name="T30" fmla="*/ 51 w 221"/>
                <a:gd name="T31" fmla="*/ 58 h 190"/>
                <a:gd name="T32" fmla="*/ 44 w 221"/>
                <a:gd name="T33" fmla="*/ 68 h 190"/>
                <a:gd name="T34" fmla="*/ 32 w 221"/>
                <a:gd name="T35" fmla="*/ 73 h 190"/>
                <a:gd name="T36" fmla="*/ 25 w 221"/>
                <a:gd name="T37" fmla="*/ 67 h 190"/>
                <a:gd name="T38" fmla="*/ 16 w 221"/>
                <a:gd name="T39" fmla="*/ 64 h 190"/>
                <a:gd name="T40" fmla="*/ 10 w 221"/>
                <a:gd name="T41" fmla="*/ 77 h 190"/>
                <a:gd name="T42" fmla="*/ 7 w 221"/>
                <a:gd name="T43" fmla="*/ 87 h 190"/>
                <a:gd name="T44" fmla="*/ 2 w 221"/>
                <a:gd name="T45" fmla="*/ 102 h 190"/>
                <a:gd name="T46" fmla="*/ 7 w 221"/>
                <a:gd name="T47" fmla="*/ 107 h 190"/>
                <a:gd name="T48" fmla="*/ 6 w 221"/>
                <a:gd name="T49" fmla="*/ 129 h 190"/>
                <a:gd name="T50" fmla="*/ 6 w 221"/>
                <a:gd name="T51" fmla="*/ 142 h 190"/>
                <a:gd name="T52" fmla="*/ 7 w 221"/>
                <a:gd name="T53" fmla="*/ 146 h 190"/>
                <a:gd name="T54" fmla="*/ 23 w 221"/>
                <a:gd name="T55" fmla="*/ 164 h 190"/>
                <a:gd name="T56" fmla="*/ 38 w 221"/>
                <a:gd name="T57" fmla="*/ 189 h 190"/>
                <a:gd name="T58" fmla="*/ 47 w 221"/>
                <a:gd name="T59" fmla="*/ 189 h 190"/>
                <a:gd name="T60" fmla="*/ 58 w 221"/>
                <a:gd name="T61" fmla="*/ 188 h 190"/>
                <a:gd name="T62" fmla="*/ 65 w 221"/>
                <a:gd name="T63" fmla="*/ 190 h 190"/>
                <a:gd name="T64" fmla="*/ 91 w 221"/>
                <a:gd name="T65" fmla="*/ 184 h 190"/>
                <a:gd name="T66" fmla="*/ 106 w 221"/>
                <a:gd name="T67" fmla="*/ 180 h 190"/>
                <a:gd name="T68" fmla="*/ 107 w 221"/>
                <a:gd name="T69" fmla="*/ 161 h 190"/>
                <a:gd name="T70" fmla="*/ 115 w 221"/>
                <a:gd name="T71" fmla="*/ 152 h 190"/>
                <a:gd name="T72" fmla="*/ 121 w 221"/>
                <a:gd name="T73" fmla="*/ 150 h 190"/>
                <a:gd name="T74" fmla="*/ 128 w 221"/>
                <a:gd name="T75" fmla="*/ 152 h 190"/>
                <a:gd name="T76" fmla="*/ 138 w 221"/>
                <a:gd name="T77" fmla="*/ 143 h 190"/>
                <a:gd name="T78" fmla="*/ 146 w 221"/>
                <a:gd name="T79" fmla="*/ 140 h 190"/>
                <a:gd name="T80" fmla="*/ 153 w 221"/>
                <a:gd name="T81" fmla="*/ 140 h 190"/>
                <a:gd name="T82" fmla="*/ 158 w 221"/>
                <a:gd name="T83" fmla="*/ 142 h 190"/>
                <a:gd name="T84" fmla="*/ 162 w 221"/>
                <a:gd name="T85" fmla="*/ 126 h 190"/>
                <a:gd name="T86" fmla="*/ 166 w 221"/>
                <a:gd name="T87" fmla="*/ 120 h 190"/>
                <a:gd name="T88" fmla="*/ 173 w 221"/>
                <a:gd name="T89" fmla="*/ 112 h 190"/>
                <a:gd name="T90" fmla="*/ 178 w 221"/>
                <a:gd name="T91" fmla="*/ 102 h 190"/>
                <a:gd name="T92" fmla="*/ 175 w 221"/>
                <a:gd name="T93" fmla="*/ 93 h 190"/>
                <a:gd name="T94" fmla="*/ 189 w 221"/>
                <a:gd name="T95" fmla="*/ 94 h 190"/>
                <a:gd name="T96" fmla="*/ 198 w 221"/>
                <a:gd name="T97" fmla="*/ 89 h 190"/>
                <a:gd name="T98" fmla="*/ 202 w 221"/>
                <a:gd name="T99" fmla="*/ 74 h 190"/>
                <a:gd name="T100" fmla="*/ 206 w 221"/>
                <a:gd name="T101" fmla="*/ 68 h 190"/>
                <a:gd name="T102" fmla="*/ 204 w 221"/>
                <a:gd name="T103" fmla="*/ 60 h 190"/>
                <a:gd name="T104" fmla="*/ 200 w 221"/>
                <a:gd name="T105" fmla="*/ 53 h 190"/>
                <a:gd name="T106" fmla="*/ 210 w 221"/>
                <a:gd name="T107" fmla="*/ 40 h 190"/>
                <a:gd name="T108" fmla="*/ 221 w 221"/>
                <a:gd name="T109" fmla="*/ 35 h 190"/>
                <a:gd name="T110" fmla="*/ 209 w 221"/>
                <a:gd name="T111" fmla="*/ 39 h 190"/>
                <a:gd name="T112" fmla="*/ 204 w 221"/>
                <a:gd name="T113" fmla="*/ 25 h 190"/>
                <a:gd name="T114" fmla="*/ 202 w 221"/>
                <a:gd name="T115" fmla="*/ 11 h 190"/>
                <a:gd name="T116" fmla="*/ 200 w 221"/>
                <a:gd name="T117" fmla="*/ 4 h 1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1" h="190">
                  <a:moveTo>
                    <a:pt x="197" y="0"/>
                  </a:moveTo>
                  <a:cubicBezTo>
                    <a:pt x="196" y="0"/>
                    <a:pt x="196" y="0"/>
                    <a:pt x="196" y="0"/>
                  </a:cubicBezTo>
                  <a:cubicBezTo>
                    <a:pt x="195" y="0"/>
                    <a:pt x="194" y="1"/>
                    <a:pt x="194" y="1"/>
                  </a:cubicBezTo>
                  <a:cubicBezTo>
                    <a:pt x="192" y="2"/>
                    <a:pt x="191" y="4"/>
                    <a:pt x="190" y="5"/>
                  </a:cubicBezTo>
                  <a:cubicBezTo>
                    <a:pt x="189" y="6"/>
                    <a:pt x="188" y="7"/>
                    <a:pt x="187" y="8"/>
                  </a:cubicBezTo>
                  <a:cubicBezTo>
                    <a:pt x="186" y="9"/>
                    <a:pt x="186" y="9"/>
                    <a:pt x="186" y="9"/>
                  </a:cubicBezTo>
                  <a:cubicBezTo>
                    <a:pt x="186" y="10"/>
                    <a:pt x="185" y="10"/>
                    <a:pt x="184" y="11"/>
                  </a:cubicBezTo>
                  <a:cubicBezTo>
                    <a:pt x="184" y="11"/>
                    <a:pt x="184" y="11"/>
                    <a:pt x="184" y="11"/>
                  </a:cubicBezTo>
                  <a:cubicBezTo>
                    <a:pt x="184" y="11"/>
                    <a:pt x="184" y="11"/>
                    <a:pt x="184" y="11"/>
                  </a:cubicBezTo>
                  <a:cubicBezTo>
                    <a:pt x="185" y="12"/>
                    <a:pt x="185" y="13"/>
                    <a:pt x="186" y="14"/>
                  </a:cubicBezTo>
                  <a:cubicBezTo>
                    <a:pt x="186" y="14"/>
                    <a:pt x="186" y="15"/>
                    <a:pt x="186" y="15"/>
                  </a:cubicBezTo>
                  <a:cubicBezTo>
                    <a:pt x="186" y="16"/>
                    <a:pt x="185" y="17"/>
                    <a:pt x="185" y="18"/>
                  </a:cubicBezTo>
                  <a:cubicBezTo>
                    <a:pt x="184" y="19"/>
                    <a:pt x="184" y="19"/>
                    <a:pt x="183" y="20"/>
                  </a:cubicBezTo>
                  <a:cubicBezTo>
                    <a:pt x="183" y="20"/>
                    <a:pt x="183" y="20"/>
                    <a:pt x="183" y="20"/>
                  </a:cubicBezTo>
                  <a:cubicBezTo>
                    <a:pt x="183" y="24"/>
                    <a:pt x="183" y="24"/>
                    <a:pt x="183" y="24"/>
                  </a:cubicBezTo>
                  <a:cubicBezTo>
                    <a:pt x="181" y="20"/>
                    <a:pt x="181" y="20"/>
                    <a:pt x="181" y="20"/>
                  </a:cubicBezTo>
                  <a:cubicBezTo>
                    <a:pt x="181" y="20"/>
                    <a:pt x="181" y="20"/>
                    <a:pt x="181" y="20"/>
                  </a:cubicBezTo>
                  <a:cubicBezTo>
                    <a:pt x="181" y="21"/>
                    <a:pt x="180" y="21"/>
                    <a:pt x="180" y="21"/>
                  </a:cubicBezTo>
                  <a:cubicBezTo>
                    <a:pt x="180" y="21"/>
                    <a:pt x="180" y="21"/>
                    <a:pt x="180" y="21"/>
                  </a:cubicBezTo>
                  <a:cubicBezTo>
                    <a:pt x="179" y="21"/>
                    <a:pt x="177" y="20"/>
                    <a:pt x="176" y="20"/>
                  </a:cubicBezTo>
                  <a:cubicBezTo>
                    <a:pt x="176" y="20"/>
                    <a:pt x="175" y="20"/>
                    <a:pt x="175" y="20"/>
                  </a:cubicBezTo>
                  <a:cubicBezTo>
                    <a:pt x="174" y="20"/>
                    <a:pt x="172" y="20"/>
                    <a:pt x="171" y="20"/>
                  </a:cubicBezTo>
                  <a:cubicBezTo>
                    <a:pt x="171" y="20"/>
                    <a:pt x="171" y="20"/>
                    <a:pt x="171" y="20"/>
                  </a:cubicBezTo>
                  <a:cubicBezTo>
                    <a:pt x="171" y="20"/>
                    <a:pt x="170" y="21"/>
                    <a:pt x="170" y="22"/>
                  </a:cubicBezTo>
                  <a:cubicBezTo>
                    <a:pt x="170" y="24"/>
                    <a:pt x="170" y="24"/>
                    <a:pt x="170" y="24"/>
                  </a:cubicBezTo>
                  <a:cubicBezTo>
                    <a:pt x="170" y="25"/>
                    <a:pt x="170" y="25"/>
                    <a:pt x="170" y="25"/>
                  </a:cubicBezTo>
                  <a:cubicBezTo>
                    <a:pt x="170" y="25"/>
                    <a:pt x="169" y="26"/>
                    <a:pt x="169" y="26"/>
                  </a:cubicBezTo>
                  <a:cubicBezTo>
                    <a:pt x="169" y="27"/>
                    <a:pt x="169" y="28"/>
                    <a:pt x="168" y="28"/>
                  </a:cubicBezTo>
                  <a:cubicBezTo>
                    <a:pt x="172" y="31"/>
                    <a:pt x="172" y="31"/>
                    <a:pt x="172" y="31"/>
                  </a:cubicBezTo>
                  <a:cubicBezTo>
                    <a:pt x="168" y="29"/>
                    <a:pt x="168" y="29"/>
                    <a:pt x="168" y="29"/>
                  </a:cubicBezTo>
                  <a:cubicBezTo>
                    <a:pt x="167" y="29"/>
                    <a:pt x="167" y="30"/>
                    <a:pt x="166" y="30"/>
                  </a:cubicBezTo>
                  <a:cubicBezTo>
                    <a:pt x="165" y="30"/>
                    <a:pt x="165" y="30"/>
                    <a:pt x="165" y="30"/>
                  </a:cubicBezTo>
                  <a:cubicBezTo>
                    <a:pt x="164" y="30"/>
                    <a:pt x="164" y="30"/>
                    <a:pt x="163" y="30"/>
                  </a:cubicBezTo>
                  <a:cubicBezTo>
                    <a:pt x="162" y="29"/>
                    <a:pt x="161" y="28"/>
                    <a:pt x="160" y="28"/>
                  </a:cubicBezTo>
                  <a:cubicBezTo>
                    <a:pt x="158" y="26"/>
                    <a:pt x="158" y="26"/>
                    <a:pt x="158" y="26"/>
                  </a:cubicBezTo>
                  <a:cubicBezTo>
                    <a:pt x="158" y="26"/>
                    <a:pt x="158" y="26"/>
                    <a:pt x="158" y="26"/>
                  </a:cubicBezTo>
                  <a:cubicBezTo>
                    <a:pt x="158" y="26"/>
                    <a:pt x="157" y="26"/>
                    <a:pt x="157" y="26"/>
                  </a:cubicBezTo>
                  <a:cubicBezTo>
                    <a:pt x="156" y="26"/>
                    <a:pt x="156" y="26"/>
                    <a:pt x="156" y="26"/>
                  </a:cubicBezTo>
                  <a:cubicBezTo>
                    <a:pt x="156" y="26"/>
                    <a:pt x="156" y="26"/>
                    <a:pt x="156" y="26"/>
                  </a:cubicBezTo>
                  <a:cubicBezTo>
                    <a:pt x="155" y="27"/>
                    <a:pt x="155" y="27"/>
                    <a:pt x="154" y="27"/>
                  </a:cubicBezTo>
                  <a:cubicBezTo>
                    <a:pt x="153" y="28"/>
                    <a:pt x="151" y="29"/>
                    <a:pt x="149" y="29"/>
                  </a:cubicBezTo>
                  <a:cubicBezTo>
                    <a:pt x="149" y="29"/>
                    <a:pt x="149" y="29"/>
                    <a:pt x="149" y="29"/>
                  </a:cubicBezTo>
                  <a:cubicBezTo>
                    <a:pt x="148" y="30"/>
                    <a:pt x="148" y="30"/>
                    <a:pt x="148" y="30"/>
                  </a:cubicBezTo>
                  <a:cubicBezTo>
                    <a:pt x="146" y="31"/>
                    <a:pt x="145" y="31"/>
                    <a:pt x="145" y="32"/>
                  </a:cubicBezTo>
                  <a:cubicBezTo>
                    <a:pt x="145" y="32"/>
                    <a:pt x="145" y="32"/>
                    <a:pt x="145" y="32"/>
                  </a:cubicBezTo>
                  <a:cubicBezTo>
                    <a:pt x="145" y="33"/>
                    <a:pt x="145" y="33"/>
                    <a:pt x="145" y="33"/>
                  </a:cubicBezTo>
                  <a:cubicBezTo>
                    <a:pt x="144" y="32"/>
                    <a:pt x="144" y="32"/>
                    <a:pt x="144" y="32"/>
                  </a:cubicBezTo>
                  <a:cubicBezTo>
                    <a:pt x="143" y="33"/>
                    <a:pt x="142" y="34"/>
                    <a:pt x="141" y="34"/>
                  </a:cubicBezTo>
                  <a:cubicBezTo>
                    <a:pt x="140" y="34"/>
                    <a:pt x="140" y="34"/>
                    <a:pt x="140" y="34"/>
                  </a:cubicBezTo>
                  <a:cubicBezTo>
                    <a:pt x="139" y="34"/>
                    <a:pt x="139" y="33"/>
                    <a:pt x="138" y="32"/>
                  </a:cubicBezTo>
                  <a:cubicBezTo>
                    <a:pt x="135" y="30"/>
                    <a:pt x="135" y="30"/>
                    <a:pt x="135" y="30"/>
                  </a:cubicBezTo>
                  <a:cubicBezTo>
                    <a:pt x="135" y="30"/>
                    <a:pt x="134" y="29"/>
                    <a:pt x="134" y="29"/>
                  </a:cubicBezTo>
                  <a:cubicBezTo>
                    <a:pt x="134" y="29"/>
                    <a:pt x="134" y="29"/>
                    <a:pt x="134" y="29"/>
                  </a:cubicBezTo>
                  <a:cubicBezTo>
                    <a:pt x="134" y="28"/>
                    <a:pt x="134" y="28"/>
                    <a:pt x="134" y="28"/>
                  </a:cubicBezTo>
                  <a:cubicBezTo>
                    <a:pt x="133" y="28"/>
                    <a:pt x="133" y="28"/>
                    <a:pt x="133" y="28"/>
                  </a:cubicBezTo>
                  <a:cubicBezTo>
                    <a:pt x="133" y="28"/>
                    <a:pt x="132" y="28"/>
                    <a:pt x="132" y="28"/>
                  </a:cubicBezTo>
                  <a:cubicBezTo>
                    <a:pt x="131" y="28"/>
                    <a:pt x="130" y="29"/>
                    <a:pt x="130" y="29"/>
                  </a:cubicBezTo>
                  <a:cubicBezTo>
                    <a:pt x="130" y="29"/>
                    <a:pt x="130" y="29"/>
                    <a:pt x="130" y="29"/>
                  </a:cubicBezTo>
                  <a:cubicBezTo>
                    <a:pt x="129" y="29"/>
                    <a:pt x="128" y="28"/>
                    <a:pt x="127" y="28"/>
                  </a:cubicBezTo>
                  <a:cubicBezTo>
                    <a:pt x="127" y="28"/>
                    <a:pt x="127" y="28"/>
                    <a:pt x="127" y="28"/>
                  </a:cubicBezTo>
                  <a:cubicBezTo>
                    <a:pt x="125" y="28"/>
                    <a:pt x="124" y="27"/>
                    <a:pt x="123" y="27"/>
                  </a:cubicBezTo>
                  <a:cubicBezTo>
                    <a:pt x="122" y="26"/>
                    <a:pt x="122" y="26"/>
                    <a:pt x="122" y="26"/>
                  </a:cubicBezTo>
                  <a:cubicBezTo>
                    <a:pt x="122" y="25"/>
                    <a:pt x="121" y="25"/>
                    <a:pt x="120" y="25"/>
                  </a:cubicBezTo>
                  <a:cubicBezTo>
                    <a:pt x="120" y="25"/>
                    <a:pt x="119" y="25"/>
                    <a:pt x="118" y="25"/>
                  </a:cubicBezTo>
                  <a:cubicBezTo>
                    <a:pt x="115" y="24"/>
                    <a:pt x="115" y="24"/>
                    <a:pt x="115" y="24"/>
                  </a:cubicBezTo>
                  <a:cubicBezTo>
                    <a:pt x="115" y="25"/>
                    <a:pt x="115" y="25"/>
                    <a:pt x="115" y="25"/>
                  </a:cubicBezTo>
                  <a:cubicBezTo>
                    <a:pt x="113" y="25"/>
                    <a:pt x="113" y="25"/>
                    <a:pt x="113" y="25"/>
                  </a:cubicBezTo>
                  <a:cubicBezTo>
                    <a:pt x="113" y="25"/>
                    <a:pt x="113" y="25"/>
                    <a:pt x="113" y="25"/>
                  </a:cubicBezTo>
                  <a:cubicBezTo>
                    <a:pt x="112" y="25"/>
                    <a:pt x="112" y="25"/>
                    <a:pt x="112" y="25"/>
                  </a:cubicBezTo>
                  <a:cubicBezTo>
                    <a:pt x="111" y="25"/>
                    <a:pt x="111" y="25"/>
                    <a:pt x="111" y="25"/>
                  </a:cubicBezTo>
                  <a:cubicBezTo>
                    <a:pt x="111" y="25"/>
                    <a:pt x="111" y="25"/>
                    <a:pt x="111" y="25"/>
                  </a:cubicBezTo>
                  <a:cubicBezTo>
                    <a:pt x="111" y="25"/>
                    <a:pt x="111" y="25"/>
                    <a:pt x="111" y="25"/>
                  </a:cubicBezTo>
                  <a:cubicBezTo>
                    <a:pt x="110" y="25"/>
                    <a:pt x="109" y="25"/>
                    <a:pt x="108" y="25"/>
                  </a:cubicBezTo>
                  <a:cubicBezTo>
                    <a:pt x="108" y="25"/>
                    <a:pt x="108" y="25"/>
                    <a:pt x="108" y="25"/>
                  </a:cubicBezTo>
                  <a:cubicBezTo>
                    <a:pt x="107" y="25"/>
                    <a:pt x="106" y="25"/>
                    <a:pt x="105" y="24"/>
                  </a:cubicBezTo>
                  <a:cubicBezTo>
                    <a:pt x="105" y="24"/>
                    <a:pt x="105" y="24"/>
                    <a:pt x="105" y="24"/>
                  </a:cubicBezTo>
                  <a:cubicBezTo>
                    <a:pt x="104" y="24"/>
                    <a:pt x="104" y="24"/>
                    <a:pt x="103" y="23"/>
                  </a:cubicBezTo>
                  <a:cubicBezTo>
                    <a:pt x="101" y="23"/>
                    <a:pt x="101" y="23"/>
                    <a:pt x="101" y="23"/>
                  </a:cubicBezTo>
                  <a:cubicBezTo>
                    <a:pt x="101" y="22"/>
                    <a:pt x="100" y="22"/>
                    <a:pt x="100" y="22"/>
                  </a:cubicBezTo>
                  <a:cubicBezTo>
                    <a:pt x="99" y="21"/>
                    <a:pt x="99" y="21"/>
                    <a:pt x="99" y="21"/>
                  </a:cubicBezTo>
                  <a:cubicBezTo>
                    <a:pt x="98" y="22"/>
                    <a:pt x="98" y="22"/>
                    <a:pt x="98" y="22"/>
                  </a:cubicBezTo>
                  <a:cubicBezTo>
                    <a:pt x="97" y="24"/>
                    <a:pt x="95" y="26"/>
                    <a:pt x="93" y="27"/>
                  </a:cubicBezTo>
                  <a:cubicBezTo>
                    <a:pt x="93" y="27"/>
                    <a:pt x="92" y="27"/>
                    <a:pt x="91" y="28"/>
                  </a:cubicBezTo>
                  <a:cubicBezTo>
                    <a:pt x="90" y="28"/>
                    <a:pt x="90" y="28"/>
                    <a:pt x="89" y="28"/>
                  </a:cubicBezTo>
                  <a:cubicBezTo>
                    <a:pt x="89" y="28"/>
                    <a:pt x="89" y="28"/>
                    <a:pt x="89" y="28"/>
                  </a:cubicBezTo>
                  <a:cubicBezTo>
                    <a:pt x="78" y="38"/>
                    <a:pt x="78" y="38"/>
                    <a:pt x="78" y="38"/>
                  </a:cubicBezTo>
                  <a:cubicBezTo>
                    <a:pt x="78" y="38"/>
                    <a:pt x="78" y="38"/>
                    <a:pt x="78" y="38"/>
                  </a:cubicBezTo>
                  <a:cubicBezTo>
                    <a:pt x="78" y="39"/>
                    <a:pt x="78" y="39"/>
                    <a:pt x="78" y="40"/>
                  </a:cubicBezTo>
                  <a:cubicBezTo>
                    <a:pt x="78" y="42"/>
                    <a:pt x="78" y="45"/>
                    <a:pt x="75" y="47"/>
                  </a:cubicBezTo>
                  <a:cubicBezTo>
                    <a:pt x="75" y="47"/>
                    <a:pt x="75" y="47"/>
                    <a:pt x="75" y="47"/>
                  </a:cubicBezTo>
                  <a:cubicBezTo>
                    <a:pt x="73" y="49"/>
                    <a:pt x="71" y="50"/>
                    <a:pt x="68" y="51"/>
                  </a:cubicBezTo>
                  <a:cubicBezTo>
                    <a:pt x="67" y="52"/>
                    <a:pt x="65" y="53"/>
                    <a:pt x="62" y="54"/>
                  </a:cubicBezTo>
                  <a:cubicBezTo>
                    <a:pt x="60" y="54"/>
                    <a:pt x="60" y="54"/>
                    <a:pt x="60" y="54"/>
                  </a:cubicBezTo>
                  <a:cubicBezTo>
                    <a:pt x="59" y="55"/>
                    <a:pt x="57" y="56"/>
                    <a:pt x="56" y="56"/>
                  </a:cubicBezTo>
                  <a:cubicBezTo>
                    <a:pt x="55" y="57"/>
                    <a:pt x="53" y="57"/>
                    <a:pt x="52" y="57"/>
                  </a:cubicBezTo>
                  <a:cubicBezTo>
                    <a:pt x="51" y="58"/>
                    <a:pt x="51" y="58"/>
                    <a:pt x="51" y="58"/>
                  </a:cubicBezTo>
                  <a:cubicBezTo>
                    <a:pt x="51" y="58"/>
                    <a:pt x="51" y="58"/>
                    <a:pt x="51" y="58"/>
                  </a:cubicBezTo>
                  <a:cubicBezTo>
                    <a:pt x="52" y="60"/>
                    <a:pt x="50" y="61"/>
                    <a:pt x="49" y="63"/>
                  </a:cubicBezTo>
                  <a:cubicBezTo>
                    <a:pt x="49" y="64"/>
                    <a:pt x="49" y="64"/>
                    <a:pt x="49" y="64"/>
                  </a:cubicBezTo>
                  <a:cubicBezTo>
                    <a:pt x="48" y="65"/>
                    <a:pt x="46" y="67"/>
                    <a:pt x="44" y="68"/>
                  </a:cubicBezTo>
                  <a:cubicBezTo>
                    <a:pt x="44" y="68"/>
                    <a:pt x="44" y="68"/>
                    <a:pt x="44" y="68"/>
                  </a:cubicBezTo>
                  <a:cubicBezTo>
                    <a:pt x="44" y="68"/>
                    <a:pt x="44" y="68"/>
                    <a:pt x="44" y="68"/>
                  </a:cubicBezTo>
                  <a:cubicBezTo>
                    <a:pt x="43" y="69"/>
                    <a:pt x="42" y="69"/>
                    <a:pt x="42" y="69"/>
                  </a:cubicBezTo>
                  <a:cubicBezTo>
                    <a:pt x="41" y="69"/>
                    <a:pt x="40" y="69"/>
                    <a:pt x="40" y="69"/>
                  </a:cubicBezTo>
                  <a:cubicBezTo>
                    <a:pt x="38" y="69"/>
                    <a:pt x="38" y="69"/>
                    <a:pt x="38" y="69"/>
                  </a:cubicBezTo>
                  <a:cubicBezTo>
                    <a:pt x="37" y="70"/>
                    <a:pt x="36" y="70"/>
                    <a:pt x="35" y="71"/>
                  </a:cubicBezTo>
                  <a:cubicBezTo>
                    <a:pt x="35" y="71"/>
                    <a:pt x="35" y="71"/>
                    <a:pt x="35" y="71"/>
                  </a:cubicBezTo>
                  <a:cubicBezTo>
                    <a:pt x="34" y="72"/>
                    <a:pt x="34" y="72"/>
                    <a:pt x="32" y="73"/>
                  </a:cubicBezTo>
                  <a:cubicBezTo>
                    <a:pt x="32" y="73"/>
                    <a:pt x="32" y="73"/>
                    <a:pt x="32" y="73"/>
                  </a:cubicBezTo>
                  <a:cubicBezTo>
                    <a:pt x="31" y="73"/>
                    <a:pt x="30" y="72"/>
                    <a:pt x="28" y="70"/>
                  </a:cubicBezTo>
                  <a:cubicBezTo>
                    <a:pt x="27" y="69"/>
                    <a:pt x="27" y="69"/>
                    <a:pt x="27" y="69"/>
                  </a:cubicBezTo>
                  <a:cubicBezTo>
                    <a:pt x="26" y="68"/>
                    <a:pt x="26" y="68"/>
                    <a:pt x="26" y="68"/>
                  </a:cubicBezTo>
                  <a:cubicBezTo>
                    <a:pt x="26" y="68"/>
                    <a:pt x="26" y="68"/>
                    <a:pt x="26" y="68"/>
                  </a:cubicBezTo>
                  <a:cubicBezTo>
                    <a:pt x="25" y="67"/>
                    <a:pt x="25" y="67"/>
                    <a:pt x="25" y="67"/>
                  </a:cubicBezTo>
                  <a:cubicBezTo>
                    <a:pt x="25" y="67"/>
                    <a:pt x="25" y="67"/>
                    <a:pt x="25" y="67"/>
                  </a:cubicBezTo>
                  <a:cubicBezTo>
                    <a:pt x="24" y="66"/>
                    <a:pt x="23" y="66"/>
                    <a:pt x="22" y="65"/>
                  </a:cubicBezTo>
                  <a:cubicBezTo>
                    <a:pt x="22" y="65"/>
                    <a:pt x="22" y="65"/>
                    <a:pt x="22" y="65"/>
                  </a:cubicBezTo>
                  <a:cubicBezTo>
                    <a:pt x="21" y="65"/>
                    <a:pt x="21" y="65"/>
                    <a:pt x="20" y="65"/>
                  </a:cubicBezTo>
                  <a:cubicBezTo>
                    <a:pt x="19" y="65"/>
                    <a:pt x="18" y="65"/>
                    <a:pt x="17" y="65"/>
                  </a:cubicBezTo>
                  <a:cubicBezTo>
                    <a:pt x="16" y="64"/>
                    <a:pt x="16" y="64"/>
                    <a:pt x="16" y="64"/>
                  </a:cubicBezTo>
                  <a:cubicBezTo>
                    <a:pt x="15" y="64"/>
                    <a:pt x="15" y="64"/>
                    <a:pt x="15" y="64"/>
                  </a:cubicBezTo>
                  <a:cubicBezTo>
                    <a:pt x="13" y="67"/>
                    <a:pt x="13" y="67"/>
                    <a:pt x="13" y="67"/>
                  </a:cubicBezTo>
                  <a:cubicBezTo>
                    <a:pt x="11" y="72"/>
                    <a:pt x="11" y="72"/>
                    <a:pt x="11" y="72"/>
                  </a:cubicBezTo>
                  <a:cubicBezTo>
                    <a:pt x="11" y="73"/>
                    <a:pt x="11" y="73"/>
                    <a:pt x="11" y="74"/>
                  </a:cubicBezTo>
                  <a:cubicBezTo>
                    <a:pt x="11" y="76"/>
                    <a:pt x="11" y="76"/>
                    <a:pt x="11" y="76"/>
                  </a:cubicBezTo>
                  <a:cubicBezTo>
                    <a:pt x="10" y="77"/>
                    <a:pt x="10" y="77"/>
                    <a:pt x="10" y="77"/>
                  </a:cubicBezTo>
                  <a:cubicBezTo>
                    <a:pt x="10" y="77"/>
                    <a:pt x="10" y="77"/>
                    <a:pt x="10" y="77"/>
                  </a:cubicBezTo>
                  <a:cubicBezTo>
                    <a:pt x="10" y="79"/>
                    <a:pt x="9" y="80"/>
                    <a:pt x="7" y="82"/>
                  </a:cubicBezTo>
                  <a:cubicBezTo>
                    <a:pt x="6" y="83"/>
                    <a:pt x="6" y="83"/>
                    <a:pt x="6" y="83"/>
                  </a:cubicBezTo>
                  <a:cubicBezTo>
                    <a:pt x="6" y="83"/>
                    <a:pt x="5" y="84"/>
                    <a:pt x="5" y="84"/>
                  </a:cubicBezTo>
                  <a:cubicBezTo>
                    <a:pt x="5" y="84"/>
                    <a:pt x="6" y="85"/>
                    <a:pt x="6" y="86"/>
                  </a:cubicBezTo>
                  <a:cubicBezTo>
                    <a:pt x="7" y="87"/>
                    <a:pt x="7" y="87"/>
                    <a:pt x="7" y="87"/>
                  </a:cubicBezTo>
                  <a:cubicBezTo>
                    <a:pt x="0" y="95"/>
                    <a:pt x="0" y="95"/>
                    <a:pt x="0" y="95"/>
                  </a:cubicBezTo>
                  <a:cubicBezTo>
                    <a:pt x="0" y="95"/>
                    <a:pt x="0" y="96"/>
                    <a:pt x="0" y="98"/>
                  </a:cubicBezTo>
                  <a:cubicBezTo>
                    <a:pt x="0" y="99"/>
                    <a:pt x="0" y="100"/>
                    <a:pt x="0" y="100"/>
                  </a:cubicBezTo>
                  <a:cubicBezTo>
                    <a:pt x="0" y="101"/>
                    <a:pt x="0" y="101"/>
                    <a:pt x="0" y="101"/>
                  </a:cubicBezTo>
                  <a:cubicBezTo>
                    <a:pt x="0" y="102"/>
                    <a:pt x="0" y="102"/>
                    <a:pt x="0" y="102"/>
                  </a:cubicBezTo>
                  <a:cubicBezTo>
                    <a:pt x="0" y="102"/>
                    <a:pt x="1" y="102"/>
                    <a:pt x="2" y="102"/>
                  </a:cubicBezTo>
                  <a:cubicBezTo>
                    <a:pt x="2" y="102"/>
                    <a:pt x="2" y="102"/>
                    <a:pt x="2" y="102"/>
                  </a:cubicBezTo>
                  <a:cubicBezTo>
                    <a:pt x="3" y="102"/>
                    <a:pt x="3" y="103"/>
                    <a:pt x="4" y="103"/>
                  </a:cubicBezTo>
                  <a:cubicBezTo>
                    <a:pt x="4" y="103"/>
                    <a:pt x="4" y="103"/>
                    <a:pt x="4" y="103"/>
                  </a:cubicBezTo>
                  <a:cubicBezTo>
                    <a:pt x="5" y="103"/>
                    <a:pt x="6" y="103"/>
                    <a:pt x="6" y="103"/>
                  </a:cubicBezTo>
                  <a:cubicBezTo>
                    <a:pt x="10" y="104"/>
                    <a:pt x="10" y="104"/>
                    <a:pt x="10" y="104"/>
                  </a:cubicBezTo>
                  <a:cubicBezTo>
                    <a:pt x="7" y="107"/>
                    <a:pt x="7" y="107"/>
                    <a:pt x="7" y="107"/>
                  </a:cubicBezTo>
                  <a:cubicBezTo>
                    <a:pt x="7" y="108"/>
                    <a:pt x="6" y="108"/>
                    <a:pt x="6" y="109"/>
                  </a:cubicBezTo>
                  <a:cubicBezTo>
                    <a:pt x="5" y="109"/>
                    <a:pt x="5" y="109"/>
                    <a:pt x="5" y="109"/>
                  </a:cubicBezTo>
                  <a:cubicBezTo>
                    <a:pt x="3" y="111"/>
                    <a:pt x="2" y="113"/>
                    <a:pt x="1" y="114"/>
                  </a:cubicBezTo>
                  <a:cubicBezTo>
                    <a:pt x="5" y="126"/>
                    <a:pt x="5" y="126"/>
                    <a:pt x="5" y="126"/>
                  </a:cubicBezTo>
                  <a:cubicBezTo>
                    <a:pt x="5" y="127"/>
                    <a:pt x="5" y="127"/>
                    <a:pt x="5" y="127"/>
                  </a:cubicBezTo>
                  <a:cubicBezTo>
                    <a:pt x="6" y="129"/>
                    <a:pt x="6" y="129"/>
                    <a:pt x="6" y="129"/>
                  </a:cubicBezTo>
                  <a:cubicBezTo>
                    <a:pt x="6" y="130"/>
                    <a:pt x="6" y="131"/>
                    <a:pt x="6" y="131"/>
                  </a:cubicBezTo>
                  <a:cubicBezTo>
                    <a:pt x="6" y="133"/>
                    <a:pt x="6" y="135"/>
                    <a:pt x="6" y="136"/>
                  </a:cubicBezTo>
                  <a:cubicBezTo>
                    <a:pt x="6" y="137"/>
                    <a:pt x="6" y="138"/>
                    <a:pt x="6" y="139"/>
                  </a:cubicBezTo>
                  <a:cubicBezTo>
                    <a:pt x="6" y="140"/>
                    <a:pt x="6" y="140"/>
                    <a:pt x="6" y="140"/>
                  </a:cubicBezTo>
                  <a:cubicBezTo>
                    <a:pt x="6" y="140"/>
                    <a:pt x="6" y="141"/>
                    <a:pt x="6" y="141"/>
                  </a:cubicBezTo>
                  <a:cubicBezTo>
                    <a:pt x="6" y="142"/>
                    <a:pt x="6" y="142"/>
                    <a:pt x="6" y="142"/>
                  </a:cubicBezTo>
                  <a:cubicBezTo>
                    <a:pt x="10" y="141"/>
                    <a:pt x="10" y="141"/>
                    <a:pt x="10" y="141"/>
                  </a:cubicBezTo>
                  <a:cubicBezTo>
                    <a:pt x="6" y="143"/>
                    <a:pt x="6" y="143"/>
                    <a:pt x="6" y="143"/>
                  </a:cubicBezTo>
                  <a:cubicBezTo>
                    <a:pt x="6" y="143"/>
                    <a:pt x="6" y="143"/>
                    <a:pt x="6" y="143"/>
                  </a:cubicBezTo>
                  <a:cubicBezTo>
                    <a:pt x="6" y="144"/>
                    <a:pt x="6" y="144"/>
                    <a:pt x="6" y="145"/>
                  </a:cubicBezTo>
                  <a:cubicBezTo>
                    <a:pt x="6" y="145"/>
                    <a:pt x="6" y="146"/>
                    <a:pt x="6" y="146"/>
                  </a:cubicBezTo>
                  <a:cubicBezTo>
                    <a:pt x="7" y="146"/>
                    <a:pt x="7" y="146"/>
                    <a:pt x="7" y="146"/>
                  </a:cubicBezTo>
                  <a:cubicBezTo>
                    <a:pt x="17" y="148"/>
                    <a:pt x="17" y="148"/>
                    <a:pt x="17" y="148"/>
                  </a:cubicBezTo>
                  <a:cubicBezTo>
                    <a:pt x="19" y="148"/>
                    <a:pt x="20" y="149"/>
                    <a:pt x="21" y="150"/>
                  </a:cubicBezTo>
                  <a:cubicBezTo>
                    <a:pt x="23" y="153"/>
                    <a:pt x="23" y="153"/>
                    <a:pt x="23" y="153"/>
                  </a:cubicBezTo>
                  <a:cubicBezTo>
                    <a:pt x="23" y="153"/>
                    <a:pt x="23" y="154"/>
                    <a:pt x="24" y="154"/>
                  </a:cubicBezTo>
                  <a:cubicBezTo>
                    <a:pt x="24" y="155"/>
                    <a:pt x="25" y="156"/>
                    <a:pt x="25" y="157"/>
                  </a:cubicBezTo>
                  <a:cubicBezTo>
                    <a:pt x="25" y="159"/>
                    <a:pt x="25" y="161"/>
                    <a:pt x="23" y="164"/>
                  </a:cubicBezTo>
                  <a:cubicBezTo>
                    <a:pt x="22" y="166"/>
                    <a:pt x="20" y="167"/>
                    <a:pt x="19" y="169"/>
                  </a:cubicBezTo>
                  <a:cubicBezTo>
                    <a:pt x="19" y="169"/>
                    <a:pt x="18" y="170"/>
                    <a:pt x="18" y="170"/>
                  </a:cubicBezTo>
                  <a:cubicBezTo>
                    <a:pt x="16" y="173"/>
                    <a:pt x="16" y="173"/>
                    <a:pt x="16" y="173"/>
                  </a:cubicBezTo>
                  <a:cubicBezTo>
                    <a:pt x="15" y="174"/>
                    <a:pt x="14" y="175"/>
                    <a:pt x="12" y="177"/>
                  </a:cubicBezTo>
                  <a:cubicBezTo>
                    <a:pt x="8" y="181"/>
                    <a:pt x="8" y="181"/>
                    <a:pt x="8" y="181"/>
                  </a:cubicBezTo>
                  <a:cubicBezTo>
                    <a:pt x="38" y="189"/>
                    <a:pt x="38" y="189"/>
                    <a:pt x="38" y="189"/>
                  </a:cubicBezTo>
                  <a:cubicBezTo>
                    <a:pt x="39" y="190"/>
                    <a:pt x="39" y="190"/>
                    <a:pt x="39" y="190"/>
                  </a:cubicBezTo>
                  <a:cubicBezTo>
                    <a:pt x="39" y="190"/>
                    <a:pt x="39" y="190"/>
                    <a:pt x="39" y="190"/>
                  </a:cubicBezTo>
                  <a:cubicBezTo>
                    <a:pt x="40" y="189"/>
                    <a:pt x="40" y="189"/>
                    <a:pt x="41" y="189"/>
                  </a:cubicBezTo>
                  <a:cubicBezTo>
                    <a:pt x="41" y="189"/>
                    <a:pt x="41" y="189"/>
                    <a:pt x="41" y="189"/>
                  </a:cubicBezTo>
                  <a:cubicBezTo>
                    <a:pt x="42" y="189"/>
                    <a:pt x="43" y="189"/>
                    <a:pt x="43" y="189"/>
                  </a:cubicBezTo>
                  <a:cubicBezTo>
                    <a:pt x="47" y="189"/>
                    <a:pt x="47" y="189"/>
                    <a:pt x="47" y="189"/>
                  </a:cubicBezTo>
                  <a:cubicBezTo>
                    <a:pt x="47" y="189"/>
                    <a:pt x="47" y="189"/>
                    <a:pt x="47" y="189"/>
                  </a:cubicBezTo>
                  <a:cubicBezTo>
                    <a:pt x="55" y="188"/>
                    <a:pt x="55" y="188"/>
                    <a:pt x="55" y="188"/>
                  </a:cubicBezTo>
                  <a:cubicBezTo>
                    <a:pt x="56" y="188"/>
                    <a:pt x="56" y="188"/>
                    <a:pt x="56" y="188"/>
                  </a:cubicBezTo>
                  <a:cubicBezTo>
                    <a:pt x="57" y="188"/>
                    <a:pt x="57" y="188"/>
                    <a:pt x="58" y="188"/>
                  </a:cubicBezTo>
                  <a:cubicBezTo>
                    <a:pt x="58" y="188"/>
                    <a:pt x="58" y="188"/>
                    <a:pt x="58" y="188"/>
                  </a:cubicBezTo>
                  <a:cubicBezTo>
                    <a:pt x="58" y="188"/>
                    <a:pt x="58" y="188"/>
                    <a:pt x="58" y="188"/>
                  </a:cubicBezTo>
                  <a:cubicBezTo>
                    <a:pt x="59" y="188"/>
                    <a:pt x="59" y="188"/>
                    <a:pt x="59" y="188"/>
                  </a:cubicBezTo>
                  <a:cubicBezTo>
                    <a:pt x="60" y="189"/>
                    <a:pt x="61" y="189"/>
                    <a:pt x="62" y="189"/>
                  </a:cubicBezTo>
                  <a:cubicBezTo>
                    <a:pt x="62" y="189"/>
                    <a:pt x="62" y="189"/>
                    <a:pt x="62" y="189"/>
                  </a:cubicBezTo>
                  <a:cubicBezTo>
                    <a:pt x="63" y="189"/>
                    <a:pt x="63" y="189"/>
                    <a:pt x="63" y="189"/>
                  </a:cubicBezTo>
                  <a:cubicBezTo>
                    <a:pt x="64" y="189"/>
                    <a:pt x="64" y="189"/>
                    <a:pt x="65" y="190"/>
                  </a:cubicBezTo>
                  <a:cubicBezTo>
                    <a:pt x="65" y="190"/>
                    <a:pt x="65" y="190"/>
                    <a:pt x="65" y="190"/>
                  </a:cubicBezTo>
                  <a:cubicBezTo>
                    <a:pt x="66" y="190"/>
                    <a:pt x="67" y="189"/>
                    <a:pt x="69" y="188"/>
                  </a:cubicBezTo>
                  <a:cubicBezTo>
                    <a:pt x="69" y="188"/>
                    <a:pt x="70" y="187"/>
                    <a:pt x="71" y="187"/>
                  </a:cubicBezTo>
                  <a:cubicBezTo>
                    <a:pt x="71" y="187"/>
                    <a:pt x="72" y="186"/>
                    <a:pt x="73" y="186"/>
                  </a:cubicBezTo>
                  <a:cubicBezTo>
                    <a:pt x="76" y="185"/>
                    <a:pt x="79" y="185"/>
                    <a:pt x="81" y="185"/>
                  </a:cubicBezTo>
                  <a:cubicBezTo>
                    <a:pt x="83" y="185"/>
                    <a:pt x="85" y="185"/>
                    <a:pt x="87" y="185"/>
                  </a:cubicBezTo>
                  <a:cubicBezTo>
                    <a:pt x="91" y="184"/>
                    <a:pt x="91" y="184"/>
                    <a:pt x="91" y="184"/>
                  </a:cubicBezTo>
                  <a:cubicBezTo>
                    <a:pt x="91" y="184"/>
                    <a:pt x="91" y="184"/>
                    <a:pt x="92" y="184"/>
                  </a:cubicBezTo>
                  <a:cubicBezTo>
                    <a:pt x="94" y="184"/>
                    <a:pt x="96" y="184"/>
                    <a:pt x="97" y="183"/>
                  </a:cubicBezTo>
                  <a:cubicBezTo>
                    <a:pt x="99" y="183"/>
                    <a:pt x="101" y="182"/>
                    <a:pt x="102" y="182"/>
                  </a:cubicBezTo>
                  <a:cubicBezTo>
                    <a:pt x="104" y="181"/>
                    <a:pt x="104" y="181"/>
                    <a:pt x="104" y="181"/>
                  </a:cubicBezTo>
                  <a:cubicBezTo>
                    <a:pt x="105" y="181"/>
                    <a:pt x="105" y="181"/>
                    <a:pt x="105" y="181"/>
                  </a:cubicBezTo>
                  <a:cubicBezTo>
                    <a:pt x="106" y="180"/>
                    <a:pt x="106" y="180"/>
                    <a:pt x="106" y="180"/>
                  </a:cubicBezTo>
                  <a:cubicBezTo>
                    <a:pt x="104" y="179"/>
                    <a:pt x="105" y="177"/>
                    <a:pt x="105" y="176"/>
                  </a:cubicBezTo>
                  <a:cubicBezTo>
                    <a:pt x="105" y="175"/>
                    <a:pt x="105" y="175"/>
                    <a:pt x="105" y="175"/>
                  </a:cubicBezTo>
                  <a:cubicBezTo>
                    <a:pt x="105" y="174"/>
                    <a:pt x="105" y="173"/>
                    <a:pt x="106" y="173"/>
                  </a:cubicBezTo>
                  <a:cubicBezTo>
                    <a:pt x="106" y="172"/>
                    <a:pt x="106" y="171"/>
                    <a:pt x="106" y="171"/>
                  </a:cubicBezTo>
                  <a:cubicBezTo>
                    <a:pt x="106" y="168"/>
                    <a:pt x="106" y="166"/>
                    <a:pt x="107" y="164"/>
                  </a:cubicBezTo>
                  <a:cubicBezTo>
                    <a:pt x="107" y="161"/>
                    <a:pt x="107" y="161"/>
                    <a:pt x="107" y="161"/>
                  </a:cubicBezTo>
                  <a:cubicBezTo>
                    <a:pt x="107" y="161"/>
                    <a:pt x="107" y="161"/>
                    <a:pt x="107" y="160"/>
                  </a:cubicBezTo>
                  <a:cubicBezTo>
                    <a:pt x="108" y="159"/>
                    <a:pt x="108" y="159"/>
                    <a:pt x="109" y="158"/>
                  </a:cubicBezTo>
                  <a:cubicBezTo>
                    <a:pt x="109" y="158"/>
                    <a:pt x="109" y="158"/>
                    <a:pt x="109" y="158"/>
                  </a:cubicBezTo>
                  <a:cubicBezTo>
                    <a:pt x="110" y="157"/>
                    <a:pt x="111" y="156"/>
                    <a:pt x="112" y="155"/>
                  </a:cubicBezTo>
                  <a:cubicBezTo>
                    <a:pt x="113" y="154"/>
                    <a:pt x="114" y="153"/>
                    <a:pt x="115" y="153"/>
                  </a:cubicBezTo>
                  <a:cubicBezTo>
                    <a:pt x="115" y="152"/>
                    <a:pt x="115" y="152"/>
                    <a:pt x="115" y="152"/>
                  </a:cubicBezTo>
                  <a:cubicBezTo>
                    <a:pt x="116" y="152"/>
                    <a:pt x="116" y="152"/>
                    <a:pt x="116" y="152"/>
                  </a:cubicBezTo>
                  <a:cubicBezTo>
                    <a:pt x="113" y="150"/>
                    <a:pt x="113" y="150"/>
                    <a:pt x="113" y="150"/>
                  </a:cubicBezTo>
                  <a:cubicBezTo>
                    <a:pt x="117" y="151"/>
                    <a:pt x="117" y="151"/>
                    <a:pt x="117" y="151"/>
                  </a:cubicBezTo>
                  <a:cubicBezTo>
                    <a:pt x="117" y="151"/>
                    <a:pt x="117" y="151"/>
                    <a:pt x="117" y="151"/>
                  </a:cubicBezTo>
                  <a:cubicBezTo>
                    <a:pt x="118" y="151"/>
                    <a:pt x="119" y="150"/>
                    <a:pt x="120" y="150"/>
                  </a:cubicBezTo>
                  <a:cubicBezTo>
                    <a:pt x="121" y="150"/>
                    <a:pt x="121" y="150"/>
                    <a:pt x="121" y="150"/>
                  </a:cubicBezTo>
                  <a:cubicBezTo>
                    <a:pt x="122" y="150"/>
                    <a:pt x="122" y="150"/>
                    <a:pt x="122" y="150"/>
                  </a:cubicBezTo>
                  <a:cubicBezTo>
                    <a:pt x="124" y="151"/>
                    <a:pt x="124" y="151"/>
                    <a:pt x="124" y="151"/>
                  </a:cubicBezTo>
                  <a:cubicBezTo>
                    <a:pt x="124" y="151"/>
                    <a:pt x="125" y="151"/>
                    <a:pt x="125" y="151"/>
                  </a:cubicBezTo>
                  <a:cubicBezTo>
                    <a:pt x="126" y="151"/>
                    <a:pt x="126" y="151"/>
                    <a:pt x="126" y="151"/>
                  </a:cubicBezTo>
                  <a:cubicBezTo>
                    <a:pt x="126" y="151"/>
                    <a:pt x="126" y="151"/>
                    <a:pt x="126" y="151"/>
                  </a:cubicBezTo>
                  <a:cubicBezTo>
                    <a:pt x="127" y="152"/>
                    <a:pt x="127" y="152"/>
                    <a:pt x="128" y="152"/>
                  </a:cubicBezTo>
                  <a:cubicBezTo>
                    <a:pt x="128" y="152"/>
                    <a:pt x="128" y="152"/>
                    <a:pt x="128" y="152"/>
                  </a:cubicBezTo>
                  <a:cubicBezTo>
                    <a:pt x="129" y="151"/>
                    <a:pt x="129" y="151"/>
                    <a:pt x="129" y="151"/>
                  </a:cubicBezTo>
                  <a:cubicBezTo>
                    <a:pt x="130" y="151"/>
                    <a:pt x="131" y="151"/>
                    <a:pt x="132" y="150"/>
                  </a:cubicBezTo>
                  <a:cubicBezTo>
                    <a:pt x="126" y="146"/>
                    <a:pt x="126" y="146"/>
                    <a:pt x="126" y="146"/>
                  </a:cubicBezTo>
                  <a:cubicBezTo>
                    <a:pt x="132" y="145"/>
                    <a:pt x="132" y="145"/>
                    <a:pt x="132" y="145"/>
                  </a:cubicBezTo>
                  <a:cubicBezTo>
                    <a:pt x="135" y="145"/>
                    <a:pt x="135" y="145"/>
                    <a:pt x="138" y="143"/>
                  </a:cubicBezTo>
                  <a:cubicBezTo>
                    <a:pt x="138" y="143"/>
                    <a:pt x="138" y="143"/>
                    <a:pt x="138" y="143"/>
                  </a:cubicBezTo>
                  <a:cubicBezTo>
                    <a:pt x="139" y="142"/>
                    <a:pt x="139" y="142"/>
                    <a:pt x="139" y="142"/>
                  </a:cubicBezTo>
                  <a:cubicBezTo>
                    <a:pt x="140" y="142"/>
                    <a:pt x="141" y="141"/>
                    <a:pt x="142" y="141"/>
                  </a:cubicBezTo>
                  <a:cubicBezTo>
                    <a:pt x="142" y="141"/>
                    <a:pt x="142" y="141"/>
                    <a:pt x="143" y="141"/>
                  </a:cubicBezTo>
                  <a:cubicBezTo>
                    <a:pt x="144" y="140"/>
                    <a:pt x="144" y="140"/>
                    <a:pt x="145" y="140"/>
                  </a:cubicBezTo>
                  <a:cubicBezTo>
                    <a:pt x="145" y="140"/>
                    <a:pt x="145" y="140"/>
                    <a:pt x="146" y="140"/>
                  </a:cubicBezTo>
                  <a:cubicBezTo>
                    <a:pt x="146" y="140"/>
                    <a:pt x="146" y="140"/>
                    <a:pt x="146" y="140"/>
                  </a:cubicBezTo>
                  <a:cubicBezTo>
                    <a:pt x="147" y="139"/>
                    <a:pt x="148" y="139"/>
                    <a:pt x="149" y="139"/>
                  </a:cubicBezTo>
                  <a:cubicBezTo>
                    <a:pt x="149" y="139"/>
                    <a:pt x="149" y="139"/>
                    <a:pt x="150" y="139"/>
                  </a:cubicBezTo>
                  <a:cubicBezTo>
                    <a:pt x="150" y="139"/>
                    <a:pt x="150" y="139"/>
                    <a:pt x="151" y="139"/>
                  </a:cubicBezTo>
                  <a:cubicBezTo>
                    <a:pt x="151" y="139"/>
                    <a:pt x="151" y="139"/>
                    <a:pt x="151" y="139"/>
                  </a:cubicBezTo>
                  <a:cubicBezTo>
                    <a:pt x="152" y="139"/>
                    <a:pt x="152" y="140"/>
                    <a:pt x="153" y="140"/>
                  </a:cubicBezTo>
                  <a:cubicBezTo>
                    <a:pt x="153" y="140"/>
                    <a:pt x="153" y="140"/>
                    <a:pt x="153" y="140"/>
                  </a:cubicBezTo>
                  <a:cubicBezTo>
                    <a:pt x="154" y="141"/>
                    <a:pt x="155" y="141"/>
                    <a:pt x="156" y="142"/>
                  </a:cubicBezTo>
                  <a:cubicBezTo>
                    <a:pt x="156" y="142"/>
                    <a:pt x="156" y="142"/>
                    <a:pt x="156" y="142"/>
                  </a:cubicBezTo>
                  <a:cubicBezTo>
                    <a:pt x="156" y="142"/>
                    <a:pt x="157" y="143"/>
                    <a:pt x="157" y="143"/>
                  </a:cubicBezTo>
                  <a:cubicBezTo>
                    <a:pt x="157" y="143"/>
                    <a:pt x="157" y="143"/>
                    <a:pt x="157" y="143"/>
                  </a:cubicBezTo>
                  <a:cubicBezTo>
                    <a:pt x="158" y="142"/>
                    <a:pt x="158" y="142"/>
                    <a:pt x="158" y="142"/>
                  </a:cubicBezTo>
                  <a:cubicBezTo>
                    <a:pt x="160" y="140"/>
                    <a:pt x="161" y="139"/>
                    <a:pt x="163" y="138"/>
                  </a:cubicBezTo>
                  <a:cubicBezTo>
                    <a:pt x="163" y="138"/>
                    <a:pt x="163" y="138"/>
                    <a:pt x="163" y="138"/>
                  </a:cubicBezTo>
                  <a:cubicBezTo>
                    <a:pt x="162" y="132"/>
                    <a:pt x="162" y="132"/>
                    <a:pt x="162" y="132"/>
                  </a:cubicBezTo>
                  <a:cubicBezTo>
                    <a:pt x="162" y="132"/>
                    <a:pt x="162" y="132"/>
                    <a:pt x="162" y="132"/>
                  </a:cubicBezTo>
                  <a:cubicBezTo>
                    <a:pt x="162" y="128"/>
                    <a:pt x="162" y="128"/>
                    <a:pt x="162" y="128"/>
                  </a:cubicBezTo>
                  <a:cubicBezTo>
                    <a:pt x="162" y="127"/>
                    <a:pt x="162" y="126"/>
                    <a:pt x="162" y="126"/>
                  </a:cubicBezTo>
                  <a:cubicBezTo>
                    <a:pt x="163" y="125"/>
                    <a:pt x="163" y="125"/>
                    <a:pt x="163" y="125"/>
                  </a:cubicBezTo>
                  <a:cubicBezTo>
                    <a:pt x="163" y="125"/>
                    <a:pt x="164" y="124"/>
                    <a:pt x="164" y="124"/>
                  </a:cubicBezTo>
                  <a:cubicBezTo>
                    <a:pt x="165" y="123"/>
                    <a:pt x="165" y="123"/>
                    <a:pt x="165" y="123"/>
                  </a:cubicBezTo>
                  <a:cubicBezTo>
                    <a:pt x="165" y="123"/>
                    <a:pt x="165" y="123"/>
                    <a:pt x="165" y="123"/>
                  </a:cubicBezTo>
                  <a:cubicBezTo>
                    <a:pt x="165" y="122"/>
                    <a:pt x="165" y="122"/>
                    <a:pt x="165" y="122"/>
                  </a:cubicBezTo>
                  <a:cubicBezTo>
                    <a:pt x="166" y="121"/>
                    <a:pt x="166" y="121"/>
                    <a:pt x="166" y="120"/>
                  </a:cubicBezTo>
                  <a:cubicBezTo>
                    <a:pt x="166" y="118"/>
                    <a:pt x="167" y="116"/>
                    <a:pt x="168" y="114"/>
                  </a:cubicBezTo>
                  <a:cubicBezTo>
                    <a:pt x="169" y="113"/>
                    <a:pt x="169" y="113"/>
                    <a:pt x="169" y="113"/>
                  </a:cubicBezTo>
                  <a:cubicBezTo>
                    <a:pt x="169" y="113"/>
                    <a:pt x="170" y="113"/>
                    <a:pt x="171" y="113"/>
                  </a:cubicBezTo>
                  <a:cubicBezTo>
                    <a:pt x="171" y="113"/>
                    <a:pt x="171" y="113"/>
                    <a:pt x="171" y="113"/>
                  </a:cubicBezTo>
                  <a:cubicBezTo>
                    <a:pt x="171" y="112"/>
                    <a:pt x="172" y="112"/>
                    <a:pt x="172" y="112"/>
                  </a:cubicBezTo>
                  <a:cubicBezTo>
                    <a:pt x="173" y="112"/>
                    <a:pt x="173" y="112"/>
                    <a:pt x="173" y="112"/>
                  </a:cubicBezTo>
                  <a:cubicBezTo>
                    <a:pt x="174" y="112"/>
                    <a:pt x="175" y="112"/>
                    <a:pt x="175" y="112"/>
                  </a:cubicBezTo>
                  <a:cubicBezTo>
                    <a:pt x="176" y="112"/>
                    <a:pt x="176" y="112"/>
                    <a:pt x="176" y="112"/>
                  </a:cubicBezTo>
                  <a:cubicBezTo>
                    <a:pt x="177" y="112"/>
                    <a:pt x="180" y="110"/>
                    <a:pt x="181" y="109"/>
                  </a:cubicBezTo>
                  <a:cubicBezTo>
                    <a:pt x="182" y="109"/>
                    <a:pt x="182" y="109"/>
                    <a:pt x="182" y="109"/>
                  </a:cubicBezTo>
                  <a:cubicBezTo>
                    <a:pt x="181" y="108"/>
                    <a:pt x="180" y="107"/>
                    <a:pt x="179" y="105"/>
                  </a:cubicBezTo>
                  <a:cubicBezTo>
                    <a:pt x="178" y="102"/>
                    <a:pt x="178" y="102"/>
                    <a:pt x="178" y="102"/>
                  </a:cubicBezTo>
                  <a:cubicBezTo>
                    <a:pt x="177" y="102"/>
                    <a:pt x="177" y="102"/>
                    <a:pt x="177" y="102"/>
                  </a:cubicBezTo>
                  <a:cubicBezTo>
                    <a:pt x="177" y="102"/>
                    <a:pt x="177" y="102"/>
                    <a:pt x="177" y="102"/>
                  </a:cubicBezTo>
                  <a:cubicBezTo>
                    <a:pt x="176" y="101"/>
                    <a:pt x="176" y="101"/>
                    <a:pt x="176" y="101"/>
                  </a:cubicBezTo>
                  <a:cubicBezTo>
                    <a:pt x="175" y="99"/>
                    <a:pt x="175" y="99"/>
                    <a:pt x="175" y="99"/>
                  </a:cubicBezTo>
                  <a:cubicBezTo>
                    <a:pt x="173" y="96"/>
                    <a:pt x="174" y="94"/>
                    <a:pt x="175" y="93"/>
                  </a:cubicBezTo>
                  <a:cubicBezTo>
                    <a:pt x="175" y="93"/>
                    <a:pt x="175" y="93"/>
                    <a:pt x="175" y="93"/>
                  </a:cubicBezTo>
                  <a:cubicBezTo>
                    <a:pt x="176" y="92"/>
                    <a:pt x="177" y="92"/>
                    <a:pt x="178" y="92"/>
                  </a:cubicBezTo>
                  <a:cubicBezTo>
                    <a:pt x="180" y="92"/>
                    <a:pt x="182" y="92"/>
                    <a:pt x="185" y="93"/>
                  </a:cubicBezTo>
                  <a:cubicBezTo>
                    <a:pt x="186" y="93"/>
                    <a:pt x="186" y="93"/>
                    <a:pt x="186" y="93"/>
                  </a:cubicBezTo>
                  <a:cubicBezTo>
                    <a:pt x="186" y="94"/>
                    <a:pt x="187" y="94"/>
                    <a:pt x="187" y="94"/>
                  </a:cubicBezTo>
                  <a:cubicBezTo>
                    <a:pt x="188" y="94"/>
                    <a:pt x="188" y="94"/>
                    <a:pt x="188" y="94"/>
                  </a:cubicBezTo>
                  <a:cubicBezTo>
                    <a:pt x="188" y="94"/>
                    <a:pt x="189" y="94"/>
                    <a:pt x="189" y="94"/>
                  </a:cubicBezTo>
                  <a:cubicBezTo>
                    <a:pt x="189" y="94"/>
                    <a:pt x="190" y="94"/>
                    <a:pt x="190" y="94"/>
                  </a:cubicBezTo>
                  <a:cubicBezTo>
                    <a:pt x="192" y="94"/>
                    <a:pt x="194" y="93"/>
                    <a:pt x="195" y="92"/>
                  </a:cubicBezTo>
                  <a:cubicBezTo>
                    <a:pt x="196" y="92"/>
                    <a:pt x="197" y="91"/>
                    <a:pt x="197" y="91"/>
                  </a:cubicBezTo>
                  <a:cubicBezTo>
                    <a:pt x="197" y="90"/>
                    <a:pt x="197" y="90"/>
                    <a:pt x="197" y="90"/>
                  </a:cubicBezTo>
                  <a:cubicBezTo>
                    <a:pt x="197" y="90"/>
                    <a:pt x="197" y="90"/>
                    <a:pt x="197" y="90"/>
                  </a:cubicBezTo>
                  <a:cubicBezTo>
                    <a:pt x="198" y="90"/>
                    <a:pt x="198" y="89"/>
                    <a:pt x="198" y="89"/>
                  </a:cubicBezTo>
                  <a:cubicBezTo>
                    <a:pt x="197" y="89"/>
                    <a:pt x="197" y="89"/>
                    <a:pt x="197" y="89"/>
                  </a:cubicBezTo>
                  <a:cubicBezTo>
                    <a:pt x="197" y="89"/>
                    <a:pt x="196" y="88"/>
                    <a:pt x="196" y="87"/>
                  </a:cubicBezTo>
                  <a:cubicBezTo>
                    <a:pt x="194" y="84"/>
                    <a:pt x="195" y="82"/>
                    <a:pt x="197" y="80"/>
                  </a:cubicBezTo>
                  <a:cubicBezTo>
                    <a:pt x="197" y="80"/>
                    <a:pt x="198" y="79"/>
                    <a:pt x="199" y="78"/>
                  </a:cubicBezTo>
                  <a:cubicBezTo>
                    <a:pt x="199" y="78"/>
                    <a:pt x="199" y="78"/>
                    <a:pt x="200" y="77"/>
                  </a:cubicBezTo>
                  <a:cubicBezTo>
                    <a:pt x="200" y="76"/>
                    <a:pt x="201" y="75"/>
                    <a:pt x="202" y="74"/>
                  </a:cubicBezTo>
                  <a:cubicBezTo>
                    <a:pt x="203" y="74"/>
                    <a:pt x="204" y="73"/>
                    <a:pt x="204" y="73"/>
                  </a:cubicBezTo>
                  <a:cubicBezTo>
                    <a:pt x="205" y="73"/>
                    <a:pt x="205" y="73"/>
                    <a:pt x="205" y="73"/>
                  </a:cubicBezTo>
                  <a:cubicBezTo>
                    <a:pt x="205" y="73"/>
                    <a:pt x="205" y="72"/>
                    <a:pt x="205" y="72"/>
                  </a:cubicBezTo>
                  <a:cubicBezTo>
                    <a:pt x="205" y="71"/>
                    <a:pt x="206" y="70"/>
                    <a:pt x="207" y="69"/>
                  </a:cubicBezTo>
                  <a:cubicBezTo>
                    <a:pt x="206" y="69"/>
                    <a:pt x="206" y="68"/>
                    <a:pt x="206" y="68"/>
                  </a:cubicBezTo>
                  <a:cubicBezTo>
                    <a:pt x="206" y="68"/>
                    <a:pt x="206" y="68"/>
                    <a:pt x="206" y="68"/>
                  </a:cubicBezTo>
                  <a:cubicBezTo>
                    <a:pt x="206" y="67"/>
                    <a:pt x="206" y="66"/>
                    <a:pt x="206" y="65"/>
                  </a:cubicBezTo>
                  <a:cubicBezTo>
                    <a:pt x="206" y="64"/>
                    <a:pt x="206" y="63"/>
                    <a:pt x="206" y="63"/>
                  </a:cubicBezTo>
                  <a:cubicBezTo>
                    <a:pt x="205" y="61"/>
                    <a:pt x="205" y="61"/>
                    <a:pt x="205" y="61"/>
                  </a:cubicBezTo>
                  <a:cubicBezTo>
                    <a:pt x="205" y="61"/>
                    <a:pt x="205" y="61"/>
                    <a:pt x="205" y="61"/>
                  </a:cubicBezTo>
                  <a:cubicBezTo>
                    <a:pt x="205" y="61"/>
                    <a:pt x="205" y="61"/>
                    <a:pt x="205" y="61"/>
                  </a:cubicBezTo>
                  <a:cubicBezTo>
                    <a:pt x="204" y="60"/>
                    <a:pt x="204" y="60"/>
                    <a:pt x="204" y="60"/>
                  </a:cubicBezTo>
                  <a:cubicBezTo>
                    <a:pt x="204" y="59"/>
                    <a:pt x="204" y="59"/>
                    <a:pt x="204" y="58"/>
                  </a:cubicBezTo>
                  <a:cubicBezTo>
                    <a:pt x="203" y="58"/>
                    <a:pt x="203" y="58"/>
                    <a:pt x="203" y="58"/>
                  </a:cubicBezTo>
                  <a:cubicBezTo>
                    <a:pt x="203" y="57"/>
                    <a:pt x="203" y="57"/>
                    <a:pt x="203" y="57"/>
                  </a:cubicBezTo>
                  <a:cubicBezTo>
                    <a:pt x="202" y="56"/>
                    <a:pt x="201" y="54"/>
                    <a:pt x="200" y="54"/>
                  </a:cubicBezTo>
                  <a:cubicBezTo>
                    <a:pt x="200" y="53"/>
                    <a:pt x="200" y="53"/>
                    <a:pt x="200" y="53"/>
                  </a:cubicBezTo>
                  <a:cubicBezTo>
                    <a:pt x="200" y="53"/>
                    <a:pt x="200" y="53"/>
                    <a:pt x="200" y="53"/>
                  </a:cubicBezTo>
                  <a:cubicBezTo>
                    <a:pt x="197" y="52"/>
                    <a:pt x="197" y="52"/>
                    <a:pt x="197" y="52"/>
                  </a:cubicBezTo>
                  <a:cubicBezTo>
                    <a:pt x="199" y="50"/>
                    <a:pt x="199" y="50"/>
                    <a:pt x="199" y="50"/>
                  </a:cubicBezTo>
                  <a:cubicBezTo>
                    <a:pt x="202" y="46"/>
                    <a:pt x="205" y="43"/>
                    <a:pt x="208" y="40"/>
                  </a:cubicBezTo>
                  <a:cubicBezTo>
                    <a:pt x="209" y="40"/>
                    <a:pt x="209" y="40"/>
                    <a:pt x="209" y="40"/>
                  </a:cubicBezTo>
                  <a:cubicBezTo>
                    <a:pt x="210" y="39"/>
                    <a:pt x="210" y="39"/>
                    <a:pt x="210" y="39"/>
                  </a:cubicBezTo>
                  <a:cubicBezTo>
                    <a:pt x="210" y="40"/>
                    <a:pt x="210" y="40"/>
                    <a:pt x="210" y="40"/>
                  </a:cubicBezTo>
                  <a:cubicBezTo>
                    <a:pt x="210" y="40"/>
                    <a:pt x="211" y="40"/>
                    <a:pt x="211" y="40"/>
                  </a:cubicBezTo>
                  <a:cubicBezTo>
                    <a:pt x="212" y="40"/>
                    <a:pt x="212" y="40"/>
                    <a:pt x="212" y="40"/>
                  </a:cubicBezTo>
                  <a:cubicBezTo>
                    <a:pt x="213" y="40"/>
                    <a:pt x="213" y="40"/>
                    <a:pt x="213" y="40"/>
                  </a:cubicBezTo>
                  <a:cubicBezTo>
                    <a:pt x="214" y="40"/>
                    <a:pt x="215" y="39"/>
                    <a:pt x="216" y="38"/>
                  </a:cubicBezTo>
                  <a:cubicBezTo>
                    <a:pt x="219" y="37"/>
                    <a:pt x="219" y="37"/>
                    <a:pt x="219" y="37"/>
                  </a:cubicBezTo>
                  <a:cubicBezTo>
                    <a:pt x="220" y="36"/>
                    <a:pt x="220" y="35"/>
                    <a:pt x="221" y="35"/>
                  </a:cubicBezTo>
                  <a:cubicBezTo>
                    <a:pt x="221" y="35"/>
                    <a:pt x="221" y="35"/>
                    <a:pt x="221" y="35"/>
                  </a:cubicBezTo>
                  <a:cubicBezTo>
                    <a:pt x="219" y="36"/>
                    <a:pt x="216" y="37"/>
                    <a:pt x="214" y="38"/>
                  </a:cubicBezTo>
                  <a:cubicBezTo>
                    <a:pt x="212" y="39"/>
                    <a:pt x="212" y="39"/>
                    <a:pt x="212" y="39"/>
                  </a:cubicBezTo>
                  <a:cubicBezTo>
                    <a:pt x="211" y="39"/>
                    <a:pt x="211" y="39"/>
                    <a:pt x="210" y="39"/>
                  </a:cubicBezTo>
                  <a:cubicBezTo>
                    <a:pt x="210" y="39"/>
                    <a:pt x="210" y="39"/>
                    <a:pt x="210" y="39"/>
                  </a:cubicBezTo>
                  <a:cubicBezTo>
                    <a:pt x="210" y="39"/>
                    <a:pt x="209" y="39"/>
                    <a:pt x="209" y="39"/>
                  </a:cubicBezTo>
                  <a:cubicBezTo>
                    <a:pt x="207" y="38"/>
                    <a:pt x="206" y="36"/>
                    <a:pt x="205" y="35"/>
                  </a:cubicBezTo>
                  <a:cubicBezTo>
                    <a:pt x="205" y="34"/>
                    <a:pt x="205" y="34"/>
                    <a:pt x="205" y="34"/>
                  </a:cubicBezTo>
                  <a:cubicBezTo>
                    <a:pt x="205" y="33"/>
                    <a:pt x="205" y="33"/>
                    <a:pt x="205" y="33"/>
                  </a:cubicBezTo>
                  <a:cubicBezTo>
                    <a:pt x="204" y="32"/>
                    <a:pt x="203" y="30"/>
                    <a:pt x="203" y="29"/>
                  </a:cubicBezTo>
                  <a:cubicBezTo>
                    <a:pt x="203" y="28"/>
                    <a:pt x="203" y="27"/>
                    <a:pt x="204" y="27"/>
                  </a:cubicBezTo>
                  <a:cubicBezTo>
                    <a:pt x="204" y="26"/>
                    <a:pt x="204" y="25"/>
                    <a:pt x="204" y="25"/>
                  </a:cubicBezTo>
                  <a:cubicBezTo>
                    <a:pt x="204" y="24"/>
                    <a:pt x="204" y="24"/>
                    <a:pt x="204" y="24"/>
                  </a:cubicBezTo>
                  <a:cubicBezTo>
                    <a:pt x="205" y="22"/>
                    <a:pt x="205" y="19"/>
                    <a:pt x="205" y="16"/>
                  </a:cubicBezTo>
                  <a:cubicBezTo>
                    <a:pt x="206" y="15"/>
                    <a:pt x="206" y="13"/>
                    <a:pt x="206" y="11"/>
                  </a:cubicBezTo>
                  <a:cubicBezTo>
                    <a:pt x="205" y="11"/>
                    <a:pt x="204" y="11"/>
                    <a:pt x="204" y="11"/>
                  </a:cubicBezTo>
                  <a:cubicBezTo>
                    <a:pt x="203" y="11"/>
                    <a:pt x="203" y="11"/>
                    <a:pt x="203" y="11"/>
                  </a:cubicBezTo>
                  <a:cubicBezTo>
                    <a:pt x="203" y="11"/>
                    <a:pt x="202" y="11"/>
                    <a:pt x="202" y="11"/>
                  </a:cubicBezTo>
                  <a:cubicBezTo>
                    <a:pt x="199" y="10"/>
                    <a:pt x="199" y="10"/>
                    <a:pt x="199" y="10"/>
                  </a:cubicBezTo>
                  <a:cubicBezTo>
                    <a:pt x="201" y="7"/>
                    <a:pt x="201" y="7"/>
                    <a:pt x="201" y="7"/>
                  </a:cubicBezTo>
                  <a:cubicBezTo>
                    <a:pt x="201" y="6"/>
                    <a:pt x="201" y="6"/>
                    <a:pt x="201" y="5"/>
                  </a:cubicBezTo>
                  <a:cubicBezTo>
                    <a:pt x="201" y="5"/>
                    <a:pt x="201" y="5"/>
                    <a:pt x="201" y="5"/>
                  </a:cubicBezTo>
                  <a:cubicBezTo>
                    <a:pt x="201" y="5"/>
                    <a:pt x="200" y="4"/>
                    <a:pt x="200" y="4"/>
                  </a:cubicBezTo>
                  <a:cubicBezTo>
                    <a:pt x="200" y="4"/>
                    <a:pt x="200" y="4"/>
                    <a:pt x="200" y="4"/>
                  </a:cubicBezTo>
                  <a:cubicBezTo>
                    <a:pt x="196" y="7"/>
                    <a:pt x="196" y="7"/>
                    <a:pt x="196" y="7"/>
                  </a:cubicBezTo>
                  <a:cubicBezTo>
                    <a:pt x="199" y="2"/>
                    <a:pt x="199" y="2"/>
                    <a:pt x="199" y="2"/>
                  </a:cubicBezTo>
                  <a:cubicBezTo>
                    <a:pt x="198" y="2"/>
                    <a:pt x="198" y="1"/>
                    <a:pt x="198" y="1"/>
                  </a:cubicBezTo>
                  <a:cubicBezTo>
                    <a:pt x="197" y="1"/>
                    <a:pt x="197" y="1"/>
                    <a:pt x="1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422"/>
            <p:cNvSpPr>
              <a:spLocks noEditPoints="1"/>
            </p:cNvSpPr>
            <p:nvPr/>
          </p:nvSpPr>
          <p:spPr bwMode="auto">
            <a:xfrm>
              <a:off x="1154005" y="4184084"/>
              <a:ext cx="1173260" cy="1002704"/>
            </a:xfrm>
            <a:custGeom>
              <a:gdLst>
                <a:gd name="T0" fmla="*/ 91 w 361"/>
                <a:gd name="T1" fmla="*/ 199 h 308"/>
                <a:gd name="T2" fmla="*/ 5 w 361"/>
                <a:gd name="T3" fmla="*/ 25 h 308"/>
                <a:gd name="T4" fmla="*/ 9 w 361"/>
                <a:gd name="T5" fmla="*/ 41 h 308"/>
                <a:gd name="T6" fmla="*/ 13 w 361"/>
                <a:gd name="T7" fmla="*/ 55 h 308"/>
                <a:gd name="T8" fmla="*/ 17 w 361"/>
                <a:gd name="T9" fmla="*/ 62 h 308"/>
                <a:gd name="T10" fmla="*/ 22 w 361"/>
                <a:gd name="T11" fmla="*/ 70 h 308"/>
                <a:gd name="T12" fmla="*/ 31 w 361"/>
                <a:gd name="T13" fmla="*/ 81 h 308"/>
                <a:gd name="T14" fmla="*/ 42 w 361"/>
                <a:gd name="T15" fmla="*/ 87 h 308"/>
                <a:gd name="T16" fmla="*/ 40 w 361"/>
                <a:gd name="T17" fmla="*/ 97 h 308"/>
                <a:gd name="T18" fmla="*/ 31 w 361"/>
                <a:gd name="T19" fmla="*/ 112 h 308"/>
                <a:gd name="T20" fmla="*/ 25 w 361"/>
                <a:gd name="T21" fmla="*/ 123 h 308"/>
                <a:gd name="T22" fmla="*/ 31 w 361"/>
                <a:gd name="T23" fmla="*/ 129 h 308"/>
                <a:gd name="T24" fmla="*/ 38 w 361"/>
                <a:gd name="T25" fmla="*/ 143 h 308"/>
                <a:gd name="T26" fmla="*/ 63 w 361"/>
                <a:gd name="T27" fmla="*/ 155 h 308"/>
                <a:gd name="T28" fmla="*/ 71 w 361"/>
                <a:gd name="T29" fmla="*/ 173 h 308"/>
                <a:gd name="T30" fmla="*/ 74 w 361"/>
                <a:gd name="T31" fmla="*/ 186 h 308"/>
                <a:gd name="T32" fmla="*/ 82 w 361"/>
                <a:gd name="T33" fmla="*/ 203 h 308"/>
                <a:gd name="T34" fmla="*/ 95 w 361"/>
                <a:gd name="T35" fmla="*/ 202 h 308"/>
                <a:gd name="T36" fmla="*/ 111 w 361"/>
                <a:gd name="T37" fmla="*/ 204 h 308"/>
                <a:gd name="T38" fmla="*/ 128 w 361"/>
                <a:gd name="T39" fmla="*/ 230 h 308"/>
                <a:gd name="T40" fmla="*/ 144 w 361"/>
                <a:gd name="T41" fmla="*/ 252 h 308"/>
                <a:gd name="T42" fmla="*/ 162 w 361"/>
                <a:gd name="T43" fmla="*/ 263 h 308"/>
                <a:gd name="T44" fmla="*/ 185 w 361"/>
                <a:gd name="T45" fmla="*/ 276 h 308"/>
                <a:gd name="T46" fmla="*/ 224 w 361"/>
                <a:gd name="T47" fmla="*/ 267 h 308"/>
                <a:gd name="T48" fmla="*/ 246 w 361"/>
                <a:gd name="T49" fmla="*/ 284 h 308"/>
                <a:gd name="T50" fmla="*/ 277 w 361"/>
                <a:gd name="T51" fmla="*/ 299 h 308"/>
                <a:gd name="T52" fmla="*/ 301 w 361"/>
                <a:gd name="T53" fmla="*/ 301 h 308"/>
                <a:gd name="T54" fmla="*/ 325 w 361"/>
                <a:gd name="T55" fmla="*/ 308 h 308"/>
                <a:gd name="T56" fmla="*/ 333 w 361"/>
                <a:gd name="T57" fmla="*/ 288 h 308"/>
                <a:gd name="T58" fmla="*/ 359 w 361"/>
                <a:gd name="T59" fmla="*/ 275 h 308"/>
                <a:gd name="T60" fmla="*/ 351 w 361"/>
                <a:gd name="T61" fmla="*/ 264 h 308"/>
                <a:gd name="T62" fmla="*/ 345 w 361"/>
                <a:gd name="T63" fmla="*/ 244 h 308"/>
                <a:gd name="T64" fmla="*/ 312 w 361"/>
                <a:gd name="T65" fmla="*/ 211 h 308"/>
                <a:gd name="T66" fmla="*/ 329 w 361"/>
                <a:gd name="T67" fmla="*/ 193 h 308"/>
                <a:gd name="T68" fmla="*/ 315 w 361"/>
                <a:gd name="T69" fmla="*/ 176 h 308"/>
                <a:gd name="T70" fmla="*/ 314 w 361"/>
                <a:gd name="T71" fmla="*/ 157 h 308"/>
                <a:gd name="T72" fmla="*/ 308 w 361"/>
                <a:gd name="T73" fmla="*/ 129 h 308"/>
                <a:gd name="T74" fmla="*/ 316 w 361"/>
                <a:gd name="T75" fmla="*/ 107 h 308"/>
                <a:gd name="T76" fmla="*/ 324 w 361"/>
                <a:gd name="T77" fmla="*/ 90 h 308"/>
                <a:gd name="T78" fmla="*/ 321 w 361"/>
                <a:gd name="T79" fmla="*/ 73 h 308"/>
                <a:gd name="T80" fmla="*/ 310 w 361"/>
                <a:gd name="T81" fmla="*/ 68 h 308"/>
                <a:gd name="T82" fmla="*/ 300 w 361"/>
                <a:gd name="T83" fmla="*/ 59 h 308"/>
                <a:gd name="T84" fmla="*/ 287 w 361"/>
                <a:gd name="T85" fmla="*/ 49 h 308"/>
                <a:gd name="T86" fmla="*/ 269 w 361"/>
                <a:gd name="T87" fmla="*/ 46 h 308"/>
                <a:gd name="T88" fmla="*/ 248 w 361"/>
                <a:gd name="T89" fmla="*/ 37 h 308"/>
                <a:gd name="T90" fmla="*/ 239 w 361"/>
                <a:gd name="T91" fmla="*/ 32 h 308"/>
                <a:gd name="T92" fmla="*/ 226 w 361"/>
                <a:gd name="T93" fmla="*/ 37 h 308"/>
                <a:gd name="T94" fmla="*/ 180 w 361"/>
                <a:gd name="T95" fmla="*/ 61 h 308"/>
                <a:gd name="T96" fmla="*/ 141 w 361"/>
                <a:gd name="T97" fmla="*/ 66 h 308"/>
                <a:gd name="T98" fmla="*/ 109 w 361"/>
                <a:gd name="T99" fmla="*/ 49 h 308"/>
                <a:gd name="T100" fmla="*/ 88 w 361"/>
                <a:gd name="T101" fmla="*/ 29 h 308"/>
                <a:gd name="T102" fmla="*/ 83 w 361"/>
                <a:gd name="T103" fmla="*/ 29 h 308"/>
                <a:gd name="T104" fmla="*/ 74 w 361"/>
                <a:gd name="T105" fmla="*/ 12 h 308"/>
                <a:gd name="T106" fmla="*/ 60 w 361"/>
                <a:gd name="T107" fmla="*/ 7 h 308"/>
                <a:gd name="T108" fmla="*/ 43 w 361"/>
                <a:gd name="T109" fmla="*/ 23 h 308"/>
                <a:gd name="T110" fmla="*/ 40 w 361"/>
                <a:gd name="T111" fmla="*/ 20 h 308"/>
                <a:gd name="T112" fmla="*/ 9 w 361"/>
                <a:gd name="T113" fmla="*/ 3 h 3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1" h="308">
                  <a:moveTo>
                    <a:pt x="91" y="199"/>
                  </a:moveTo>
                  <a:cubicBezTo>
                    <a:pt x="92" y="199"/>
                    <a:pt x="91" y="198"/>
                    <a:pt x="90" y="197"/>
                  </a:cubicBezTo>
                  <a:cubicBezTo>
                    <a:pt x="91" y="197"/>
                    <a:pt x="92" y="197"/>
                    <a:pt x="93" y="197"/>
                  </a:cubicBezTo>
                  <a:cubicBezTo>
                    <a:pt x="93" y="197"/>
                    <a:pt x="94" y="197"/>
                    <a:pt x="94" y="197"/>
                  </a:cubicBezTo>
                  <a:cubicBezTo>
                    <a:pt x="96" y="197"/>
                    <a:pt x="96" y="198"/>
                    <a:pt x="96" y="199"/>
                  </a:cubicBezTo>
                  <a:cubicBezTo>
                    <a:pt x="96" y="200"/>
                    <a:pt x="95" y="200"/>
                    <a:pt x="95" y="200"/>
                  </a:cubicBezTo>
                  <a:cubicBezTo>
                    <a:pt x="94" y="200"/>
                    <a:pt x="93" y="200"/>
                    <a:pt x="92" y="199"/>
                  </a:cubicBezTo>
                  <a:cubicBezTo>
                    <a:pt x="92" y="199"/>
                    <a:pt x="92" y="199"/>
                    <a:pt x="91" y="199"/>
                  </a:cubicBezTo>
                  <a:cubicBezTo>
                    <a:pt x="91" y="199"/>
                    <a:pt x="91" y="199"/>
                    <a:pt x="91" y="199"/>
                  </a:cubicBezTo>
                  <a:moveTo>
                    <a:pt x="7" y="0"/>
                  </a:moveTo>
                  <a:cubicBezTo>
                    <a:pt x="7" y="0"/>
                    <a:pt x="7" y="0"/>
                    <a:pt x="7" y="0"/>
                  </a:cubicBezTo>
                  <a:cubicBezTo>
                    <a:pt x="7" y="0"/>
                    <a:pt x="7" y="0"/>
                    <a:pt x="7" y="0"/>
                  </a:cubicBezTo>
                  <a:cubicBezTo>
                    <a:pt x="7" y="5"/>
                    <a:pt x="5" y="6"/>
                    <a:pt x="4" y="7"/>
                  </a:cubicBezTo>
                  <a:cubicBezTo>
                    <a:pt x="3" y="7"/>
                    <a:pt x="1" y="8"/>
                    <a:pt x="0" y="8"/>
                  </a:cubicBezTo>
                  <a:cubicBezTo>
                    <a:pt x="0" y="9"/>
                    <a:pt x="0" y="9"/>
                    <a:pt x="0" y="9"/>
                  </a:cubicBezTo>
                  <a:cubicBezTo>
                    <a:pt x="0" y="10"/>
                    <a:pt x="0" y="11"/>
                    <a:pt x="1" y="11"/>
                  </a:cubicBezTo>
                  <a:cubicBezTo>
                    <a:pt x="1" y="13"/>
                    <a:pt x="2" y="15"/>
                    <a:pt x="3" y="16"/>
                  </a:cubicBezTo>
                  <a:cubicBezTo>
                    <a:pt x="5" y="18"/>
                    <a:pt x="5" y="22"/>
                    <a:pt x="5" y="25"/>
                  </a:cubicBezTo>
                  <a:cubicBezTo>
                    <a:pt x="6" y="26"/>
                    <a:pt x="6" y="26"/>
                    <a:pt x="7" y="27"/>
                  </a:cubicBezTo>
                  <a:cubicBezTo>
                    <a:pt x="8" y="29"/>
                    <a:pt x="7" y="32"/>
                    <a:pt x="6" y="33"/>
                  </a:cubicBezTo>
                  <a:cubicBezTo>
                    <a:pt x="5" y="34"/>
                    <a:pt x="4" y="36"/>
                    <a:pt x="4" y="36"/>
                  </a:cubicBezTo>
                  <a:cubicBezTo>
                    <a:pt x="3" y="36"/>
                    <a:pt x="3" y="36"/>
                    <a:pt x="3" y="36"/>
                  </a:cubicBezTo>
                  <a:cubicBezTo>
                    <a:pt x="3" y="36"/>
                    <a:pt x="3" y="36"/>
                    <a:pt x="3" y="36"/>
                  </a:cubicBezTo>
                  <a:cubicBezTo>
                    <a:pt x="4" y="37"/>
                    <a:pt x="5" y="37"/>
                    <a:pt x="6" y="38"/>
                  </a:cubicBezTo>
                  <a:cubicBezTo>
                    <a:pt x="6" y="38"/>
                    <a:pt x="7" y="39"/>
                    <a:pt x="8" y="39"/>
                  </a:cubicBezTo>
                  <a:cubicBezTo>
                    <a:pt x="9" y="40"/>
                    <a:pt x="9" y="40"/>
                    <a:pt x="9" y="40"/>
                  </a:cubicBezTo>
                  <a:cubicBezTo>
                    <a:pt x="9" y="41"/>
                    <a:pt x="9" y="41"/>
                    <a:pt x="9" y="41"/>
                  </a:cubicBezTo>
                  <a:cubicBezTo>
                    <a:pt x="10" y="42"/>
                    <a:pt x="10" y="43"/>
                    <a:pt x="10" y="43"/>
                  </a:cubicBezTo>
                  <a:cubicBezTo>
                    <a:pt x="10" y="44"/>
                    <a:pt x="10" y="44"/>
                    <a:pt x="10" y="45"/>
                  </a:cubicBezTo>
                  <a:cubicBezTo>
                    <a:pt x="10" y="45"/>
                    <a:pt x="10" y="45"/>
                    <a:pt x="10" y="45"/>
                  </a:cubicBezTo>
                  <a:cubicBezTo>
                    <a:pt x="10" y="46"/>
                    <a:pt x="10" y="46"/>
                    <a:pt x="9" y="47"/>
                  </a:cubicBezTo>
                  <a:cubicBezTo>
                    <a:pt x="10" y="47"/>
                    <a:pt x="10" y="47"/>
                    <a:pt x="10" y="47"/>
                  </a:cubicBezTo>
                  <a:cubicBezTo>
                    <a:pt x="11" y="48"/>
                    <a:pt x="13" y="49"/>
                    <a:pt x="13" y="50"/>
                  </a:cubicBezTo>
                  <a:cubicBezTo>
                    <a:pt x="14" y="51"/>
                    <a:pt x="14" y="51"/>
                    <a:pt x="14" y="51"/>
                  </a:cubicBezTo>
                  <a:cubicBezTo>
                    <a:pt x="14" y="52"/>
                    <a:pt x="14" y="53"/>
                    <a:pt x="13" y="54"/>
                  </a:cubicBezTo>
                  <a:cubicBezTo>
                    <a:pt x="13" y="55"/>
                    <a:pt x="13" y="55"/>
                    <a:pt x="13" y="55"/>
                  </a:cubicBezTo>
                  <a:cubicBezTo>
                    <a:pt x="14" y="55"/>
                    <a:pt x="14" y="56"/>
                    <a:pt x="14" y="57"/>
                  </a:cubicBezTo>
                  <a:cubicBezTo>
                    <a:pt x="15" y="58"/>
                    <a:pt x="15" y="59"/>
                    <a:pt x="15" y="59"/>
                  </a:cubicBezTo>
                  <a:cubicBezTo>
                    <a:pt x="15" y="60"/>
                    <a:pt x="15" y="60"/>
                    <a:pt x="15" y="61"/>
                  </a:cubicBezTo>
                  <a:cubicBezTo>
                    <a:pt x="15" y="61"/>
                    <a:pt x="15" y="61"/>
                    <a:pt x="15" y="61"/>
                  </a:cubicBezTo>
                  <a:cubicBezTo>
                    <a:pt x="16" y="61"/>
                    <a:pt x="16" y="61"/>
                    <a:pt x="16" y="61"/>
                  </a:cubicBezTo>
                  <a:cubicBezTo>
                    <a:pt x="16" y="60"/>
                    <a:pt x="16" y="60"/>
                    <a:pt x="16" y="60"/>
                  </a:cubicBezTo>
                  <a:cubicBezTo>
                    <a:pt x="16" y="61"/>
                    <a:pt x="16" y="61"/>
                    <a:pt x="16" y="61"/>
                  </a:cubicBezTo>
                  <a:cubicBezTo>
                    <a:pt x="16" y="61"/>
                    <a:pt x="16" y="61"/>
                    <a:pt x="16" y="61"/>
                  </a:cubicBezTo>
                  <a:cubicBezTo>
                    <a:pt x="17" y="62"/>
                    <a:pt x="17" y="62"/>
                    <a:pt x="17" y="62"/>
                  </a:cubicBezTo>
                  <a:cubicBezTo>
                    <a:pt x="18" y="63"/>
                    <a:pt x="18" y="64"/>
                    <a:pt x="18" y="65"/>
                  </a:cubicBezTo>
                  <a:cubicBezTo>
                    <a:pt x="18" y="66"/>
                    <a:pt x="18" y="66"/>
                    <a:pt x="18" y="67"/>
                  </a:cubicBezTo>
                  <a:cubicBezTo>
                    <a:pt x="18" y="67"/>
                    <a:pt x="18" y="67"/>
                    <a:pt x="18" y="67"/>
                  </a:cubicBezTo>
                  <a:cubicBezTo>
                    <a:pt x="18" y="67"/>
                    <a:pt x="18" y="67"/>
                    <a:pt x="18" y="67"/>
                  </a:cubicBezTo>
                  <a:cubicBezTo>
                    <a:pt x="19" y="67"/>
                    <a:pt x="19" y="67"/>
                    <a:pt x="19" y="67"/>
                  </a:cubicBezTo>
                  <a:cubicBezTo>
                    <a:pt x="19" y="68"/>
                    <a:pt x="20" y="68"/>
                    <a:pt x="21" y="69"/>
                  </a:cubicBezTo>
                  <a:cubicBezTo>
                    <a:pt x="25" y="68"/>
                    <a:pt x="25" y="68"/>
                    <a:pt x="25" y="68"/>
                  </a:cubicBezTo>
                  <a:cubicBezTo>
                    <a:pt x="22" y="70"/>
                    <a:pt x="22" y="70"/>
                    <a:pt x="22" y="70"/>
                  </a:cubicBezTo>
                  <a:cubicBezTo>
                    <a:pt x="22" y="70"/>
                    <a:pt x="22" y="70"/>
                    <a:pt x="22" y="70"/>
                  </a:cubicBezTo>
                  <a:cubicBezTo>
                    <a:pt x="22" y="71"/>
                    <a:pt x="22" y="71"/>
                    <a:pt x="22" y="71"/>
                  </a:cubicBezTo>
                  <a:cubicBezTo>
                    <a:pt x="23" y="73"/>
                    <a:pt x="23" y="74"/>
                    <a:pt x="23" y="76"/>
                  </a:cubicBezTo>
                  <a:cubicBezTo>
                    <a:pt x="24" y="77"/>
                    <a:pt x="24" y="77"/>
                    <a:pt x="24" y="77"/>
                  </a:cubicBezTo>
                  <a:cubicBezTo>
                    <a:pt x="24" y="77"/>
                    <a:pt x="24" y="77"/>
                    <a:pt x="24" y="77"/>
                  </a:cubicBezTo>
                  <a:cubicBezTo>
                    <a:pt x="25" y="77"/>
                    <a:pt x="25" y="77"/>
                    <a:pt x="25" y="77"/>
                  </a:cubicBezTo>
                  <a:cubicBezTo>
                    <a:pt x="26" y="78"/>
                    <a:pt x="27" y="78"/>
                    <a:pt x="28" y="79"/>
                  </a:cubicBezTo>
                  <a:cubicBezTo>
                    <a:pt x="29" y="80"/>
                    <a:pt x="29" y="80"/>
                    <a:pt x="30" y="81"/>
                  </a:cubicBezTo>
                  <a:cubicBezTo>
                    <a:pt x="31" y="81"/>
                    <a:pt x="31" y="81"/>
                    <a:pt x="31" y="81"/>
                  </a:cubicBezTo>
                  <a:cubicBezTo>
                    <a:pt x="31" y="81"/>
                    <a:pt x="31" y="81"/>
                    <a:pt x="31" y="81"/>
                  </a:cubicBezTo>
                  <a:cubicBezTo>
                    <a:pt x="32" y="81"/>
                    <a:pt x="32" y="81"/>
                    <a:pt x="33" y="81"/>
                  </a:cubicBezTo>
                  <a:cubicBezTo>
                    <a:pt x="34" y="81"/>
                    <a:pt x="34" y="81"/>
                    <a:pt x="34" y="81"/>
                  </a:cubicBezTo>
                  <a:cubicBezTo>
                    <a:pt x="35" y="81"/>
                    <a:pt x="35" y="81"/>
                    <a:pt x="35" y="81"/>
                  </a:cubicBezTo>
                  <a:cubicBezTo>
                    <a:pt x="35" y="81"/>
                    <a:pt x="35" y="81"/>
                    <a:pt x="35" y="81"/>
                  </a:cubicBezTo>
                  <a:cubicBezTo>
                    <a:pt x="35" y="81"/>
                    <a:pt x="36" y="81"/>
                    <a:pt x="36" y="81"/>
                  </a:cubicBezTo>
                  <a:cubicBezTo>
                    <a:pt x="37" y="81"/>
                    <a:pt x="38" y="81"/>
                    <a:pt x="39" y="81"/>
                  </a:cubicBezTo>
                  <a:cubicBezTo>
                    <a:pt x="39" y="81"/>
                    <a:pt x="39" y="82"/>
                    <a:pt x="40" y="82"/>
                  </a:cubicBezTo>
                  <a:cubicBezTo>
                    <a:pt x="47" y="84"/>
                    <a:pt x="47" y="84"/>
                    <a:pt x="47" y="84"/>
                  </a:cubicBezTo>
                  <a:cubicBezTo>
                    <a:pt x="42" y="87"/>
                    <a:pt x="42" y="87"/>
                    <a:pt x="42" y="87"/>
                  </a:cubicBezTo>
                  <a:cubicBezTo>
                    <a:pt x="41" y="87"/>
                    <a:pt x="40" y="87"/>
                    <a:pt x="40" y="87"/>
                  </a:cubicBezTo>
                  <a:cubicBezTo>
                    <a:pt x="38" y="88"/>
                    <a:pt x="37" y="88"/>
                    <a:pt x="37" y="88"/>
                  </a:cubicBezTo>
                  <a:cubicBezTo>
                    <a:pt x="37" y="89"/>
                    <a:pt x="37" y="89"/>
                    <a:pt x="37" y="89"/>
                  </a:cubicBezTo>
                  <a:cubicBezTo>
                    <a:pt x="37" y="89"/>
                    <a:pt x="37" y="89"/>
                    <a:pt x="37" y="90"/>
                  </a:cubicBezTo>
                  <a:cubicBezTo>
                    <a:pt x="37" y="90"/>
                    <a:pt x="37" y="90"/>
                    <a:pt x="37" y="90"/>
                  </a:cubicBezTo>
                  <a:cubicBezTo>
                    <a:pt x="37" y="91"/>
                    <a:pt x="37" y="91"/>
                    <a:pt x="37" y="91"/>
                  </a:cubicBezTo>
                  <a:cubicBezTo>
                    <a:pt x="37" y="91"/>
                    <a:pt x="37" y="92"/>
                    <a:pt x="37" y="92"/>
                  </a:cubicBezTo>
                  <a:cubicBezTo>
                    <a:pt x="38" y="92"/>
                    <a:pt x="38" y="92"/>
                    <a:pt x="38" y="92"/>
                  </a:cubicBezTo>
                  <a:cubicBezTo>
                    <a:pt x="39" y="93"/>
                    <a:pt x="40" y="95"/>
                    <a:pt x="40" y="97"/>
                  </a:cubicBezTo>
                  <a:cubicBezTo>
                    <a:pt x="40" y="98"/>
                    <a:pt x="40" y="98"/>
                    <a:pt x="40" y="99"/>
                  </a:cubicBezTo>
                  <a:cubicBezTo>
                    <a:pt x="40" y="99"/>
                    <a:pt x="40" y="99"/>
                    <a:pt x="40" y="99"/>
                  </a:cubicBezTo>
                  <a:cubicBezTo>
                    <a:pt x="40" y="101"/>
                    <a:pt x="40" y="101"/>
                    <a:pt x="40" y="101"/>
                  </a:cubicBezTo>
                  <a:cubicBezTo>
                    <a:pt x="38" y="101"/>
                    <a:pt x="38" y="101"/>
                    <a:pt x="38" y="101"/>
                  </a:cubicBezTo>
                  <a:cubicBezTo>
                    <a:pt x="37" y="102"/>
                    <a:pt x="37" y="102"/>
                    <a:pt x="36" y="102"/>
                  </a:cubicBezTo>
                  <a:cubicBezTo>
                    <a:pt x="35" y="102"/>
                    <a:pt x="34" y="102"/>
                    <a:pt x="34" y="103"/>
                  </a:cubicBezTo>
                  <a:cubicBezTo>
                    <a:pt x="32" y="104"/>
                    <a:pt x="32" y="106"/>
                    <a:pt x="32" y="108"/>
                  </a:cubicBezTo>
                  <a:cubicBezTo>
                    <a:pt x="31" y="109"/>
                    <a:pt x="31" y="109"/>
                    <a:pt x="31" y="109"/>
                  </a:cubicBezTo>
                  <a:cubicBezTo>
                    <a:pt x="31" y="110"/>
                    <a:pt x="31" y="111"/>
                    <a:pt x="31" y="112"/>
                  </a:cubicBezTo>
                  <a:cubicBezTo>
                    <a:pt x="31" y="112"/>
                    <a:pt x="30" y="113"/>
                    <a:pt x="28" y="113"/>
                  </a:cubicBezTo>
                  <a:cubicBezTo>
                    <a:pt x="28" y="113"/>
                    <a:pt x="28" y="113"/>
                    <a:pt x="27" y="113"/>
                  </a:cubicBezTo>
                  <a:cubicBezTo>
                    <a:pt x="27" y="113"/>
                    <a:pt x="27" y="113"/>
                    <a:pt x="27" y="113"/>
                  </a:cubicBezTo>
                  <a:cubicBezTo>
                    <a:pt x="27" y="113"/>
                    <a:pt x="27" y="113"/>
                    <a:pt x="27" y="113"/>
                  </a:cubicBezTo>
                  <a:cubicBezTo>
                    <a:pt x="27" y="114"/>
                    <a:pt x="27" y="114"/>
                    <a:pt x="28" y="115"/>
                  </a:cubicBezTo>
                  <a:cubicBezTo>
                    <a:pt x="28" y="115"/>
                    <a:pt x="29" y="117"/>
                    <a:pt x="28" y="118"/>
                  </a:cubicBezTo>
                  <a:cubicBezTo>
                    <a:pt x="28" y="119"/>
                    <a:pt x="28" y="119"/>
                    <a:pt x="28" y="119"/>
                  </a:cubicBezTo>
                  <a:cubicBezTo>
                    <a:pt x="27" y="120"/>
                    <a:pt x="27" y="120"/>
                    <a:pt x="27" y="120"/>
                  </a:cubicBezTo>
                  <a:cubicBezTo>
                    <a:pt x="27" y="121"/>
                    <a:pt x="26" y="122"/>
                    <a:pt x="25" y="123"/>
                  </a:cubicBezTo>
                  <a:cubicBezTo>
                    <a:pt x="26" y="123"/>
                    <a:pt x="26" y="123"/>
                    <a:pt x="26" y="123"/>
                  </a:cubicBezTo>
                  <a:cubicBezTo>
                    <a:pt x="31" y="123"/>
                    <a:pt x="31" y="123"/>
                    <a:pt x="31" y="123"/>
                  </a:cubicBezTo>
                  <a:cubicBezTo>
                    <a:pt x="28" y="126"/>
                    <a:pt x="28" y="126"/>
                    <a:pt x="28" y="126"/>
                  </a:cubicBezTo>
                  <a:cubicBezTo>
                    <a:pt x="29" y="128"/>
                    <a:pt x="29" y="128"/>
                    <a:pt x="29" y="128"/>
                  </a:cubicBezTo>
                  <a:cubicBezTo>
                    <a:pt x="33" y="124"/>
                    <a:pt x="33" y="124"/>
                    <a:pt x="33" y="124"/>
                  </a:cubicBezTo>
                  <a:cubicBezTo>
                    <a:pt x="30" y="129"/>
                    <a:pt x="30" y="129"/>
                    <a:pt x="30" y="129"/>
                  </a:cubicBezTo>
                  <a:cubicBezTo>
                    <a:pt x="30" y="129"/>
                    <a:pt x="30" y="129"/>
                    <a:pt x="30" y="129"/>
                  </a:cubicBezTo>
                  <a:cubicBezTo>
                    <a:pt x="31" y="129"/>
                    <a:pt x="31" y="129"/>
                    <a:pt x="31" y="129"/>
                  </a:cubicBezTo>
                  <a:cubicBezTo>
                    <a:pt x="31" y="129"/>
                    <a:pt x="31" y="129"/>
                    <a:pt x="31" y="129"/>
                  </a:cubicBezTo>
                  <a:cubicBezTo>
                    <a:pt x="33" y="130"/>
                    <a:pt x="34" y="130"/>
                    <a:pt x="35" y="131"/>
                  </a:cubicBezTo>
                  <a:cubicBezTo>
                    <a:pt x="35" y="131"/>
                    <a:pt x="35" y="132"/>
                    <a:pt x="35" y="132"/>
                  </a:cubicBezTo>
                  <a:cubicBezTo>
                    <a:pt x="36" y="133"/>
                    <a:pt x="36" y="134"/>
                    <a:pt x="36" y="135"/>
                  </a:cubicBezTo>
                  <a:cubicBezTo>
                    <a:pt x="36" y="135"/>
                    <a:pt x="36" y="136"/>
                    <a:pt x="36" y="136"/>
                  </a:cubicBezTo>
                  <a:cubicBezTo>
                    <a:pt x="36" y="136"/>
                    <a:pt x="36" y="137"/>
                    <a:pt x="36" y="138"/>
                  </a:cubicBezTo>
                  <a:cubicBezTo>
                    <a:pt x="36" y="139"/>
                    <a:pt x="36" y="139"/>
                    <a:pt x="36" y="139"/>
                  </a:cubicBezTo>
                  <a:cubicBezTo>
                    <a:pt x="37" y="140"/>
                    <a:pt x="37" y="141"/>
                    <a:pt x="37" y="142"/>
                  </a:cubicBezTo>
                  <a:cubicBezTo>
                    <a:pt x="37" y="143"/>
                    <a:pt x="37" y="143"/>
                    <a:pt x="37" y="143"/>
                  </a:cubicBezTo>
                  <a:cubicBezTo>
                    <a:pt x="38" y="143"/>
                    <a:pt x="38" y="143"/>
                    <a:pt x="38" y="143"/>
                  </a:cubicBezTo>
                  <a:cubicBezTo>
                    <a:pt x="39" y="143"/>
                    <a:pt x="39" y="143"/>
                    <a:pt x="40" y="143"/>
                  </a:cubicBezTo>
                  <a:cubicBezTo>
                    <a:pt x="41" y="143"/>
                    <a:pt x="42" y="143"/>
                    <a:pt x="43" y="144"/>
                  </a:cubicBezTo>
                  <a:cubicBezTo>
                    <a:pt x="45" y="145"/>
                    <a:pt x="46" y="145"/>
                    <a:pt x="47" y="146"/>
                  </a:cubicBezTo>
                  <a:cubicBezTo>
                    <a:pt x="56" y="153"/>
                    <a:pt x="56" y="153"/>
                    <a:pt x="56" y="153"/>
                  </a:cubicBezTo>
                  <a:cubicBezTo>
                    <a:pt x="56" y="153"/>
                    <a:pt x="56" y="153"/>
                    <a:pt x="56" y="153"/>
                  </a:cubicBezTo>
                  <a:cubicBezTo>
                    <a:pt x="56" y="153"/>
                    <a:pt x="56" y="153"/>
                    <a:pt x="56" y="153"/>
                  </a:cubicBezTo>
                  <a:cubicBezTo>
                    <a:pt x="57" y="153"/>
                    <a:pt x="57" y="153"/>
                    <a:pt x="58" y="153"/>
                  </a:cubicBezTo>
                  <a:cubicBezTo>
                    <a:pt x="58" y="153"/>
                    <a:pt x="59" y="153"/>
                    <a:pt x="59" y="153"/>
                  </a:cubicBezTo>
                  <a:cubicBezTo>
                    <a:pt x="60" y="153"/>
                    <a:pt x="61" y="154"/>
                    <a:pt x="63" y="155"/>
                  </a:cubicBezTo>
                  <a:cubicBezTo>
                    <a:pt x="64" y="157"/>
                    <a:pt x="65" y="159"/>
                    <a:pt x="66" y="160"/>
                  </a:cubicBezTo>
                  <a:cubicBezTo>
                    <a:pt x="67" y="161"/>
                    <a:pt x="67" y="161"/>
                    <a:pt x="67" y="161"/>
                  </a:cubicBezTo>
                  <a:cubicBezTo>
                    <a:pt x="67" y="162"/>
                    <a:pt x="68" y="163"/>
                    <a:pt x="69" y="164"/>
                  </a:cubicBezTo>
                  <a:cubicBezTo>
                    <a:pt x="71" y="167"/>
                    <a:pt x="72" y="169"/>
                    <a:pt x="72" y="170"/>
                  </a:cubicBezTo>
                  <a:cubicBezTo>
                    <a:pt x="72" y="170"/>
                    <a:pt x="72" y="170"/>
                    <a:pt x="72" y="170"/>
                  </a:cubicBezTo>
                  <a:cubicBezTo>
                    <a:pt x="72" y="171"/>
                    <a:pt x="72" y="171"/>
                    <a:pt x="72" y="171"/>
                  </a:cubicBezTo>
                  <a:cubicBezTo>
                    <a:pt x="72" y="171"/>
                    <a:pt x="72" y="172"/>
                    <a:pt x="71" y="172"/>
                  </a:cubicBezTo>
                  <a:cubicBezTo>
                    <a:pt x="71" y="172"/>
                    <a:pt x="71" y="172"/>
                    <a:pt x="71" y="172"/>
                  </a:cubicBezTo>
                  <a:cubicBezTo>
                    <a:pt x="71" y="173"/>
                    <a:pt x="71" y="173"/>
                    <a:pt x="71" y="173"/>
                  </a:cubicBezTo>
                  <a:cubicBezTo>
                    <a:pt x="71" y="174"/>
                    <a:pt x="70" y="175"/>
                    <a:pt x="70" y="176"/>
                  </a:cubicBezTo>
                  <a:cubicBezTo>
                    <a:pt x="70" y="176"/>
                    <a:pt x="70" y="176"/>
                    <a:pt x="70" y="176"/>
                  </a:cubicBezTo>
                  <a:cubicBezTo>
                    <a:pt x="69" y="177"/>
                    <a:pt x="69" y="177"/>
                    <a:pt x="69" y="177"/>
                  </a:cubicBezTo>
                  <a:cubicBezTo>
                    <a:pt x="69" y="178"/>
                    <a:pt x="69" y="180"/>
                    <a:pt x="69" y="181"/>
                  </a:cubicBezTo>
                  <a:cubicBezTo>
                    <a:pt x="69" y="182"/>
                    <a:pt x="69" y="183"/>
                    <a:pt x="69" y="184"/>
                  </a:cubicBezTo>
                  <a:cubicBezTo>
                    <a:pt x="69" y="184"/>
                    <a:pt x="70" y="184"/>
                    <a:pt x="70" y="184"/>
                  </a:cubicBezTo>
                  <a:cubicBezTo>
                    <a:pt x="72" y="184"/>
                    <a:pt x="73" y="184"/>
                    <a:pt x="73" y="185"/>
                  </a:cubicBezTo>
                  <a:cubicBezTo>
                    <a:pt x="74" y="185"/>
                    <a:pt x="74" y="185"/>
                    <a:pt x="74" y="185"/>
                  </a:cubicBezTo>
                  <a:cubicBezTo>
                    <a:pt x="74" y="186"/>
                    <a:pt x="74" y="186"/>
                    <a:pt x="74" y="186"/>
                  </a:cubicBezTo>
                  <a:cubicBezTo>
                    <a:pt x="75" y="186"/>
                    <a:pt x="75" y="187"/>
                    <a:pt x="75" y="187"/>
                  </a:cubicBezTo>
                  <a:cubicBezTo>
                    <a:pt x="75" y="188"/>
                    <a:pt x="75" y="188"/>
                    <a:pt x="75" y="189"/>
                  </a:cubicBezTo>
                  <a:cubicBezTo>
                    <a:pt x="76" y="190"/>
                    <a:pt x="75" y="192"/>
                    <a:pt x="75" y="194"/>
                  </a:cubicBezTo>
                  <a:cubicBezTo>
                    <a:pt x="75" y="195"/>
                    <a:pt x="75" y="195"/>
                    <a:pt x="75" y="196"/>
                  </a:cubicBezTo>
                  <a:cubicBezTo>
                    <a:pt x="76" y="196"/>
                    <a:pt x="76" y="196"/>
                    <a:pt x="76" y="196"/>
                  </a:cubicBezTo>
                  <a:cubicBezTo>
                    <a:pt x="76" y="197"/>
                    <a:pt x="77" y="197"/>
                    <a:pt x="78" y="198"/>
                  </a:cubicBezTo>
                  <a:cubicBezTo>
                    <a:pt x="79" y="199"/>
                    <a:pt x="80" y="200"/>
                    <a:pt x="81" y="201"/>
                  </a:cubicBezTo>
                  <a:cubicBezTo>
                    <a:pt x="81" y="202"/>
                    <a:pt x="81" y="202"/>
                    <a:pt x="82" y="203"/>
                  </a:cubicBezTo>
                  <a:cubicBezTo>
                    <a:pt x="82" y="203"/>
                    <a:pt x="82" y="203"/>
                    <a:pt x="82" y="203"/>
                  </a:cubicBezTo>
                  <a:cubicBezTo>
                    <a:pt x="82" y="203"/>
                    <a:pt x="84" y="205"/>
                    <a:pt x="86" y="206"/>
                  </a:cubicBezTo>
                  <a:cubicBezTo>
                    <a:pt x="87" y="208"/>
                    <a:pt x="87" y="208"/>
                    <a:pt x="87" y="208"/>
                  </a:cubicBezTo>
                  <a:cubicBezTo>
                    <a:pt x="88" y="207"/>
                    <a:pt x="89" y="207"/>
                    <a:pt x="90" y="207"/>
                  </a:cubicBezTo>
                  <a:cubicBezTo>
                    <a:pt x="90" y="206"/>
                    <a:pt x="90" y="204"/>
                    <a:pt x="90" y="204"/>
                  </a:cubicBezTo>
                  <a:cubicBezTo>
                    <a:pt x="90" y="203"/>
                    <a:pt x="90" y="203"/>
                    <a:pt x="89" y="202"/>
                  </a:cubicBezTo>
                  <a:cubicBezTo>
                    <a:pt x="89" y="202"/>
                    <a:pt x="88" y="201"/>
                    <a:pt x="89" y="201"/>
                  </a:cubicBezTo>
                  <a:cubicBezTo>
                    <a:pt x="90" y="200"/>
                    <a:pt x="90" y="200"/>
                    <a:pt x="91" y="200"/>
                  </a:cubicBezTo>
                  <a:cubicBezTo>
                    <a:pt x="91" y="200"/>
                    <a:pt x="91" y="200"/>
                    <a:pt x="91" y="200"/>
                  </a:cubicBezTo>
                  <a:cubicBezTo>
                    <a:pt x="93" y="200"/>
                    <a:pt x="94" y="201"/>
                    <a:pt x="95" y="202"/>
                  </a:cubicBezTo>
                  <a:cubicBezTo>
                    <a:pt x="96" y="202"/>
                    <a:pt x="96" y="202"/>
                    <a:pt x="97" y="203"/>
                  </a:cubicBezTo>
                  <a:cubicBezTo>
                    <a:pt x="98" y="203"/>
                    <a:pt x="100" y="204"/>
                    <a:pt x="101" y="206"/>
                  </a:cubicBezTo>
                  <a:cubicBezTo>
                    <a:pt x="101" y="206"/>
                    <a:pt x="101" y="206"/>
                    <a:pt x="101" y="206"/>
                  </a:cubicBezTo>
                  <a:cubicBezTo>
                    <a:pt x="102" y="207"/>
                    <a:pt x="102" y="207"/>
                    <a:pt x="102" y="207"/>
                  </a:cubicBezTo>
                  <a:cubicBezTo>
                    <a:pt x="102" y="207"/>
                    <a:pt x="102" y="207"/>
                    <a:pt x="103" y="207"/>
                  </a:cubicBezTo>
                  <a:cubicBezTo>
                    <a:pt x="103" y="207"/>
                    <a:pt x="104" y="206"/>
                    <a:pt x="105" y="206"/>
                  </a:cubicBezTo>
                  <a:cubicBezTo>
                    <a:pt x="106" y="205"/>
                    <a:pt x="108" y="205"/>
                    <a:pt x="109" y="205"/>
                  </a:cubicBezTo>
                  <a:cubicBezTo>
                    <a:pt x="110" y="204"/>
                    <a:pt x="110" y="204"/>
                    <a:pt x="110" y="204"/>
                  </a:cubicBezTo>
                  <a:cubicBezTo>
                    <a:pt x="110" y="204"/>
                    <a:pt x="111" y="204"/>
                    <a:pt x="111" y="204"/>
                  </a:cubicBezTo>
                  <a:cubicBezTo>
                    <a:pt x="112" y="204"/>
                    <a:pt x="113" y="206"/>
                    <a:pt x="114" y="207"/>
                  </a:cubicBezTo>
                  <a:cubicBezTo>
                    <a:pt x="114" y="208"/>
                    <a:pt x="115" y="209"/>
                    <a:pt x="115" y="210"/>
                  </a:cubicBezTo>
                  <a:cubicBezTo>
                    <a:pt x="115" y="211"/>
                    <a:pt x="116" y="212"/>
                    <a:pt x="116" y="212"/>
                  </a:cubicBezTo>
                  <a:cubicBezTo>
                    <a:pt x="117" y="213"/>
                    <a:pt x="119" y="215"/>
                    <a:pt x="120" y="216"/>
                  </a:cubicBezTo>
                  <a:cubicBezTo>
                    <a:pt x="121" y="217"/>
                    <a:pt x="122" y="219"/>
                    <a:pt x="123" y="220"/>
                  </a:cubicBezTo>
                  <a:cubicBezTo>
                    <a:pt x="123" y="222"/>
                    <a:pt x="123" y="223"/>
                    <a:pt x="122" y="225"/>
                  </a:cubicBezTo>
                  <a:cubicBezTo>
                    <a:pt x="123" y="225"/>
                    <a:pt x="124" y="225"/>
                    <a:pt x="125" y="226"/>
                  </a:cubicBezTo>
                  <a:cubicBezTo>
                    <a:pt x="127" y="226"/>
                    <a:pt x="128" y="227"/>
                    <a:pt x="128" y="229"/>
                  </a:cubicBezTo>
                  <a:cubicBezTo>
                    <a:pt x="128" y="230"/>
                    <a:pt x="128" y="230"/>
                    <a:pt x="128" y="230"/>
                  </a:cubicBezTo>
                  <a:cubicBezTo>
                    <a:pt x="128" y="232"/>
                    <a:pt x="129" y="234"/>
                    <a:pt x="130" y="236"/>
                  </a:cubicBezTo>
                  <a:cubicBezTo>
                    <a:pt x="130" y="237"/>
                    <a:pt x="131" y="239"/>
                    <a:pt x="132" y="241"/>
                  </a:cubicBezTo>
                  <a:cubicBezTo>
                    <a:pt x="133" y="243"/>
                    <a:pt x="134" y="244"/>
                    <a:pt x="134" y="246"/>
                  </a:cubicBezTo>
                  <a:cubicBezTo>
                    <a:pt x="134" y="246"/>
                    <a:pt x="134" y="246"/>
                    <a:pt x="134" y="246"/>
                  </a:cubicBezTo>
                  <a:cubicBezTo>
                    <a:pt x="135" y="248"/>
                    <a:pt x="136" y="249"/>
                    <a:pt x="138" y="250"/>
                  </a:cubicBezTo>
                  <a:cubicBezTo>
                    <a:pt x="138" y="251"/>
                    <a:pt x="139" y="251"/>
                    <a:pt x="141" y="252"/>
                  </a:cubicBezTo>
                  <a:cubicBezTo>
                    <a:pt x="141" y="252"/>
                    <a:pt x="142" y="252"/>
                    <a:pt x="143" y="252"/>
                  </a:cubicBezTo>
                  <a:cubicBezTo>
                    <a:pt x="143" y="252"/>
                    <a:pt x="143" y="252"/>
                    <a:pt x="144" y="252"/>
                  </a:cubicBezTo>
                  <a:cubicBezTo>
                    <a:pt x="144" y="252"/>
                    <a:pt x="144" y="252"/>
                    <a:pt x="144" y="252"/>
                  </a:cubicBezTo>
                  <a:cubicBezTo>
                    <a:pt x="145" y="252"/>
                    <a:pt x="145" y="252"/>
                    <a:pt x="145" y="252"/>
                  </a:cubicBezTo>
                  <a:cubicBezTo>
                    <a:pt x="146" y="252"/>
                    <a:pt x="147" y="252"/>
                    <a:pt x="148" y="253"/>
                  </a:cubicBezTo>
                  <a:cubicBezTo>
                    <a:pt x="149" y="253"/>
                    <a:pt x="149" y="253"/>
                    <a:pt x="149" y="253"/>
                  </a:cubicBezTo>
                  <a:cubicBezTo>
                    <a:pt x="151" y="254"/>
                    <a:pt x="153" y="255"/>
                    <a:pt x="154" y="255"/>
                  </a:cubicBezTo>
                  <a:cubicBezTo>
                    <a:pt x="155" y="256"/>
                    <a:pt x="155" y="256"/>
                    <a:pt x="155" y="256"/>
                  </a:cubicBezTo>
                  <a:cubicBezTo>
                    <a:pt x="156" y="256"/>
                    <a:pt x="156" y="256"/>
                    <a:pt x="156" y="256"/>
                  </a:cubicBezTo>
                  <a:cubicBezTo>
                    <a:pt x="157" y="257"/>
                    <a:pt x="157" y="257"/>
                    <a:pt x="158" y="257"/>
                  </a:cubicBezTo>
                  <a:cubicBezTo>
                    <a:pt x="158" y="258"/>
                    <a:pt x="158" y="258"/>
                    <a:pt x="159" y="259"/>
                  </a:cubicBezTo>
                  <a:cubicBezTo>
                    <a:pt x="160" y="260"/>
                    <a:pt x="161" y="261"/>
                    <a:pt x="162" y="263"/>
                  </a:cubicBezTo>
                  <a:cubicBezTo>
                    <a:pt x="163" y="264"/>
                    <a:pt x="164" y="265"/>
                    <a:pt x="166" y="266"/>
                  </a:cubicBezTo>
                  <a:cubicBezTo>
                    <a:pt x="166" y="266"/>
                    <a:pt x="166" y="266"/>
                    <a:pt x="166" y="266"/>
                  </a:cubicBezTo>
                  <a:cubicBezTo>
                    <a:pt x="168" y="267"/>
                    <a:pt x="169" y="268"/>
                    <a:pt x="171" y="268"/>
                  </a:cubicBezTo>
                  <a:cubicBezTo>
                    <a:pt x="171" y="269"/>
                    <a:pt x="171" y="269"/>
                    <a:pt x="171" y="269"/>
                  </a:cubicBezTo>
                  <a:cubicBezTo>
                    <a:pt x="173" y="269"/>
                    <a:pt x="175" y="270"/>
                    <a:pt x="176" y="271"/>
                  </a:cubicBezTo>
                  <a:cubicBezTo>
                    <a:pt x="176" y="271"/>
                    <a:pt x="176" y="271"/>
                    <a:pt x="176" y="271"/>
                  </a:cubicBezTo>
                  <a:cubicBezTo>
                    <a:pt x="177" y="273"/>
                    <a:pt x="178" y="274"/>
                    <a:pt x="180" y="275"/>
                  </a:cubicBezTo>
                  <a:cubicBezTo>
                    <a:pt x="180" y="275"/>
                    <a:pt x="180" y="275"/>
                    <a:pt x="180" y="275"/>
                  </a:cubicBezTo>
                  <a:cubicBezTo>
                    <a:pt x="181" y="276"/>
                    <a:pt x="183" y="276"/>
                    <a:pt x="185" y="276"/>
                  </a:cubicBezTo>
                  <a:cubicBezTo>
                    <a:pt x="187" y="277"/>
                    <a:pt x="189" y="277"/>
                    <a:pt x="192" y="277"/>
                  </a:cubicBezTo>
                  <a:cubicBezTo>
                    <a:pt x="192" y="277"/>
                    <a:pt x="193" y="277"/>
                    <a:pt x="193" y="278"/>
                  </a:cubicBezTo>
                  <a:cubicBezTo>
                    <a:pt x="195" y="278"/>
                    <a:pt x="197" y="278"/>
                    <a:pt x="198" y="279"/>
                  </a:cubicBezTo>
                  <a:cubicBezTo>
                    <a:pt x="198" y="279"/>
                    <a:pt x="198" y="279"/>
                    <a:pt x="198" y="280"/>
                  </a:cubicBezTo>
                  <a:cubicBezTo>
                    <a:pt x="201" y="279"/>
                    <a:pt x="204" y="278"/>
                    <a:pt x="206" y="277"/>
                  </a:cubicBezTo>
                  <a:cubicBezTo>
                    <a:pt x="207" y="277"/>
                    <a:pt x="208" y="277"/>
                    <a:pt x="209" y="276"/>
                  </a:cubicBezTo>
                  <a:cubicBezTo>
                    <a:pt x="211" y="276"/>
                    <a:pt x="213" y="275"/>
                    <a:pt x="215" y="275"/>
                  </a:cubicBezTo>
                  <a:cubicBezTo>
                    <a:pt x="216" y="274"/>
                    <a:pt x="216" y="272"/>
                    <a:pt x="216" y="272"/>
                  </a:cubicBezTo>
                  <a:cubicBezTo>
                    <a:pt x="218" y="270"/>
                    <a:pt x="221" y="268"/>
                    <a:pt x="224" y="267"/>
                  </a:cubicBezTo>
                  <a:cubicBezTo>
                    <a:pt x="226" y="267"/>
                    <a:pt x="229" y="267"/>
                    <a:pt x="231" y="267"/>
                  </a:cubicBezTo>
                  <a:cubicBezTo>
                    <a:pt x="231" y="267"/>
                    <a:pt x="231" y="267"/>
                    <a:pt x="232" y="267"/>
                  </a:cubicBezTo>
                  <a:cubicBezTo>
                    <a:pt x="232" y="267"/>
                    <a:pt x="232" y="267"/>
                    <a:pt x="232" y="267"/>
                  </a:cubicBezTo>
                  <a:cubicBezTo>
                    <a:pt x="234" y="267"/>
                    <a:pt x="237" y="267"/>
                    <a:pt x="239" y="267"/>
                  </a:cubicBezTo>
                  <a:cubicBezTo>
                    <a:pt x="240" y="268"/>
                    <a:pt x="242" y="268"/>
                    <a:pt x="243" y="270"/>
                  </a:cubicBezTo>
                  <a:cubicBezTo>
                    <a:pt x="243" y="270"/>
                    <a:pt x="243" y="270"/>
                    <a:pt x="243" y="270"/>
                  </a:cubicBezTo>
                  <a:cubicBezTo>
                    <a:pt x="244" y="272"/>
                    <a:pt x="244" y="274"/>
                    <a:pt x="245" y="276"/>
                  </a:cubicBezTo>
                  <a:cubicBezTo>
                    <a:pt x="245" y="278"/>
                    <a:pt x="245" y="280"/>
                    <a:pt x="246" y="282"/>
                  </a:cubicBezTo>
                  <a:cubicBezTo>
                    <a:pt x="246" y="283"/>
                    <a:pt x="246" y="283"/>
                    <a:pt x="246" y="284"/>
                  </a:cubicBezTo>
                  <a:cubicBezTo>
                    <a:pt x="246" y="285"/>
                    <a:pt x="247" y="287"/>
                    <a:pt x="247" y="288"/>
                  </a:cubicBezTo>
                  <a:cubicBezTo>
                    <a:pt x="248" y="290"/>
                    <a:pt x="248" y="292"/>
                    <a:pt x="249" y="294"/>
                  </a:cubicBezTo>
                  <a:cubicBezTo>
                    <a:pt x="249" y="294"/>
                    <a:pt x="249" y="294"/>
                    <a:pt x="249" y="294"/>
                  </a:cubicBezTo>
                  <a:cubicBezTo>
                    <a:pt x="250" y="295"/>
                    <a:pt x="252" y="295"/>
                    <a:pt x="255" y="296"/>
                  </a:cubicBezTo>
                  <a:cubicBezTo>
                    <a:pt x="255" y="296"/>
                    <a:pt x="255" y="296"/>
                    <a:pt x="255" y="296"/>
                  </a:cubicBezTo>
                  <a:cubicBezTo>
                    <a:pt x="257" y="296"/>
                    <a:pt x="259" y="296"/>
                    <a:pt x="261" y="296"/>
                  </a:cubicBezTo>
                  <a:cubicBezTo>
                    <a:pt x="263" y="297"/>
                    <a:pt x="265" y="297"/>
                    <a:pt x="268" y="297"/>
                  </a:cubicBezTo>
                  <a:cubicBezTo>
                    <a:pt x="270" y="298"/>
                    <a:pt x="272" y="298"/>
                    <a:pt x="274" y="298"/>
                  </a:cubicBezTo>
                  <a:cubicBezTo>
                    <a:pt x="275" y="299"/>
                    <a:pt x="276" y="299"/>
                    <a:pt x="277" y="299"/>
                  </a:cubicBezTo>
                  <a:cubicBezTo>
                    <a:pt x="278" y="299"/>
                    <a:pt x="278" y="299"/>
                    <a:pt x="279" y="300"/>
                  </a:cubicBezTo>
                  <a:cubicBezTo>
                    <a:pt x="280" y="300"/>
                    <a:pt x="280" y="300"/>
                    <a:pt x="280" y="300"/>
                  </a:cubicBezTo>
                  <a:cubicBezTo>
                    <a:pt x="282" y="301"/>
                    <a:pt x="282" y="302"/>
                    <a:pt x="284" y="302"/>
                  </a:cubicBezTo>
                  <a:cubicBezTo>
                    <a:pt x="284" y="302"/>
                    <a:pt x="285" y="302"/>
                    <a:pt x="285" y="302"/>
                  </a:cubicBezTo>
                  <a:cubicBezTo>
                    <a:pt x="286" y="302"/>
                    <a:pt x="286" y="302"/>
                    <a:pt x="286" y="302"/>
                  </a:cubicBezTo>
                  <a:cubicBezTo>
                    <a:pt x="288" y="301"/>
                    <a:pt x="290" y="301"/>
                    <a:pt x="292" y="301"/>
                  </a:cubicBezTo>
                  <a:cubicBezTo>
                    <a:pt x="292" y="301"/>
                    <a:pt x="293" y="301"/>
                    <a:pt x="294" y="301"/>
                  </a:cubicBezTo>
                  <a:cubicBezTo>
                    <a:pt x="295" y="301"/>
                    <a:pt x="296" y="301"/>
                    <a:pt x="297" y="301"/>
                  </a:cubicBezTo>
                  <a:cubicBezTo>
                    <a:pt x="298" y="301"/>
                    <a:pt x="299" y="301"/>
                    <a:pt x="301" y="301"/>
                  </a:cubicBezTo>
                  <a:cubicBezTo>
                    <a:pt x="303" y="301"/>
                    <a:pt x="306" y="301"/>
                    <a:pt x="308" y="302"/>
                  </a:cubicBezTo>
                  <a:cubicBezTo>
                    <a:pt x="308" y="302"/>
                    <a:pt x="309" y="302"/>
                    <a:pt x="310" y="302"/>
                  </a:cubicBezTo>
                  <a:cubicBezTo>
                    <a:pt x="310" y="302"/>
                    <a:pt x="310" y="302"/>
                    <a:pt x="310" y="302"/>
                  </a:cubicBezTo>
                  <a:cubicBezTo>
                    <a:pt x="311" y="302"/>
                    <a:pt x="311" y="303"/>
                    <a:pt x="313" y="304"/>
                  </a:cubicBezTo>
                  <a:cubicBezTo>
                    <a:pt x="313" y="304"/>
                    <a:pt x="313" y="304"/>
                    <a:pt x="313" y="304"/>
                  </a:cubicBezTo>
                  <a:cubicBezTo>
                    <a:pt x="314" y="305"/>
                    <a:pt x="316" y="306"/>
                    <a:pt x="318" y="306"/>
                  </a:cubicBezTo>
                  <a:cubicBezTo>
                    <a:pt x="320" y="307"/>
                    <a:pt x="322" y="307"/>
                    <a:pt x="323" y="308"/>
                  </a:cubicBezTo>
                  <a:cubicBezTo>
                    <a:pt x="324" y="308"/>
                    <a:pt x="324" y="308"/>
                    <a:pt x="324" y="308"/>
                  </a:cubicBezTo>
                  <a:cubicBezTo>
                    <a:pt x="324" y="308"/>
                    <a:pt x="324" y="308"/>
                    <a:pt x="325" y="308"/>
                  </a:cubicBezTo>
                  <a:cubicBezTo>
                    <a:pt x="326" y="308"/>
                    <a:pt x="328" y="307"/>
                    <a:pt x="329" y="307"/>
                  </a:cubicBezTo>
                  <a:cubicBezTo>
                    <a:pt x="329" y="306"/>
                    <a:pt x="329" y="306"/>
                    <a:pt x="329" y="306"/>
                  </a:cubicBezTo>
                  <a:cubicBezTo>
                    <a:pt x="329" y="305"/>
                    <a:pt x="329" y="305"/>
                    <a:pt x="329" y="305"/>
                  </a:cubicBezTo>
                  <a:cubicBezTo>
                    <a:pt x="330" y="304"/>
                    <a:pt x="330" y="304"/>
                    <a:pt x="330" y="304"/>
                  </a:cubicBezTo>
                  <a:cubicBezTo>
                    <a:pt x="330" y="304"/>
                    <a:pt x="330" y="303"/>
                    <a:pt x="330" y="302"/>
                  </a:cubicBezTo>
                  <a:cubicBezTo>
                    <a:pt x="330" y="302"/>
                    <a:pt x="330" y="302"/>
                    <a:pt x="330" y="302"/>
                  </a:cubicBezTo>
                  <a:cubicBezTo>
                    <a:pt x="330" y="301"/>
                    <a:pt x="330" y="301"/>
                    <a:pt x="331" y="300"/>
                  </a:cubicBezTo>
                  <a:cubicBezTo>
                    <a:pt x="331" y="299"/>
                    <a:pt x="331" y="299"/>
                    <a:pt x="331" y="299"/>
                  </a:cubicBezTo>
                  <a:cubicBezTo>
                    <a:pt x="332" y="295"/>
                    <a:pt x="332" y="292"/>
                    <a:pt x="333" y="288"/>
                  </a:cubicBezTo>
                  <a:cubicBezTo>
                    <a:pt x="334" y="285"/>
                    <a:pt x="334" y="284"/>
                    <a:pt x="337" y="282"/>
                  </a:cubicBezTo>
                  <a:cubicBezTo>
                    <a:pt x="338" y="282"/>
                    <a:pt x="338" y="282"/>
                    <a:pt x="338" y="282"/>
                  </a:cubicBezTo>
                  <a:cubicBezTo>
                    <a:pt x="338" y="282"/>
                    <a:pt x="339" y="281"/>
                    <a:pt x="339" y="281"/>
                  </a:cubicBezTo>
                  <a:cubicBezTo>
                    <a:pt x="340" y="280"/>
                    <a:pt x="340" y="280"/>
                    <a:pt x="340" y="280"/>
                  </a:cubicBezTo>
                  <a:cubicBezTo>
                    <a:pt x="341" y="280"/>
                    <a:pt x="342" y="279"/>
                    <a:pt x="342" y="279"/>
                  </a:cubicBezTo>
                  <a:cubicBezTo>
                    <a:pt x="344" y="278"/>
                    <a:pt x="345" y="277"/>
                    <a:pt x="346" y="277"/>
                  </a:cubicBezTo>
                  <a:cubicBezTo>
                    <a:pt x="354" y="276"/>
                    <a:pt x="354" y="276"/>
                    <a:pt x="354" y="276"/>
                  </a:cubicBezTo>
                  <a:cubicBezTo>
                    <a:pt x="355" y="276"/>
                    <a:pt x="356" y="276"/>
                    <a:pt x="356" y="276"/>
                  </a:cubicBezTo>
                  <a:cubicBezTo>
                    <a:pt x="357" y="275"/>
                    <a:pt x="358" y="275"/>
                    <a:pt x="359" y="275"/>
                  </a:cubicBezTo>
                  <a:cubicBezTo>
                    <a:pt x="360" y="271"/>
                    <a:pt x="360" y="271"/>
                    <a:pt x="360" y="271"/>
                  </a:cubicBezTo>
                  <a:cubicBezTo>
                    <a:pt x="360" y="270"/>
                    <a:pt x="360" y="268"/>
                    <a:pt x="361" y="267"/>
                  </a:cubicBezTo>
                  <a:cubicBezTo>
                    <a:pt x="360" y="267"/>
                    <a:pt x="360" y="267"/>
                    <a:pt x="360" y="267"/>
                  </a:cubicBezTo>
                  <a:cubicBezTo>
                    <a:pt x="360" y="267"/>
                    <a:pt x="359" y="267"/>
                    <a:pt x="359" y="267"/>
                  </a:cubicBezTo>
                  <a:cubicBezTo>
                    <a:pt x="359" y="267"/>
                    <a:pt x="358" y="267"/>
                    <a:pt x="358" y="267"/>
                  </a:cubicBezTo>
                  <a:cubicBezTo>
                    <a:pt x="357" y="267"/>
                    <a:pt x="357" y="267"/>
                    <a:pt x="357" y="267"/>
                  </a:cubicBezTo>
                  <a:cubicBezTo>
                    <a:pt x="357" y="267"/>
                    <a:pt x="356" y="267"/>
                    <a:pt x="356" y="267"/>
                  </a:cubicBezTo>
                  <a:cubicBezTo>
                    <a:pt x="356" y="267"/>
                    <a:pt x="356" y="267"/>
                    <a:pt x="356" y="267"/>
                  </a:cubicBezTo>
                  <a:cubicBezTo>
                    <a:pt x="354" y="267"/>
                    <a:pt x="352" y="266"/>
                    <a:pt x="351" y="264"/>
                  </a:cubicBezTo>
                  <a:cubicBezTo>
                    <a:pt x="351" y="262"/>
                    <a:pt x="351" y="261"/>
                    <a:pt x="351" y="260"/>
                  </a:cubicBezTo>
                  <a:cubicBezTo>
                    <a:pt x="351" y="259"/>
                    <a:pt x="351" y="259"/>
                    <a:pt x="351" y="258"/>
                  </a:cubicBezTo>
                  <a:cubicBezTo>
                    <a:pt x="351" y="251"/>
                    <a:pt x="351" y="251"/>
                    <a:pt x="351" y="251"/>
                  </a:cubicBezTo>
                  <a:cubicBezTo>
                    <a:pt x="351" y="251"/>
                    <a:pt x="351" y="250"/>
                    <a:pt x="352" y="249"/>
                  </a:cubicBezTo>
                  <a:cubicBezTo>
                    <a:pt x="352" y="248"/>
                    <a:pt x="352" y="247"/>
                    <a:pt x="352" y="247"/>
                  </a:cubicBezTo>
                  <a:cubicBezTo>
                    <a:pt x="351" y="246"/>
                    <a:pt x="351" y="246"/>
                    <a:pt x="351" y="246"/>
                  </a:cubicBezTo>
                  <a:cubicBezTo>
                    <a:pt x="350" y="246"/>
                    <a:pt x="350" y="246"/>
                    <a:pt x="350" y="246"/>
                  </a:cubicBezTo>
                  <a:cubicBezTo>
                    <a:pt x="349" y="245"/>
                    <a:pt x="348" y="245"/>
                    <a:pt x="347" y="245"/>
                  </a:cubicBezTo>
                  <a:cubicBezTo>
                    <a:pt x="346" y="244"/>
                    <a:pt x="346" y="244"/>
                    <a:pt x="345" y="244"/>
                  </a:cubicBezTo>
                  <a:cubicBezTo>
                    <a:pt x="344" y="244"/>
                    <a:pt x="344" y="243"/>
                    <a:pt x="343" y="243"/>
                  </a:cubicBezTo>
                  <a:cubicBezTo>
                    <a:pt x="343" y="243"/>
                    <a:pt x="343" y="243"/>
                    <a:pt x="343" y="243"/>
                  </a:cubicBezTo>
                  <a:cubicBezTo>
                    <a:pt x="342" y="243"/>
                    <a:pt x="341" y="242"/>
                    <a:pt x="340" y="242"/>
                  </a:cubicBezTo>
                  <a:cubicBezTo>
                    <a:pt x="338" y="241"/>
                    <a:pt x="336" y="240"/>
                    <a:pt x="334" y="238"/>
                  </a:cubicBezTo>
                  <a:cubicBezTo>
                    <a:pt x="333" y="235"/>
                    <a:pt x="331" y="233"/>
                    <a:pt x="329" y="230"/>
                  </a:cubicBezTo>
                  <a:cubicBezTo>
                    <a:pt x="328" y="230"/>
                    <a:pt x="328" y="230"/>
                    <a:pt x="328" y="230"/>
                  </a:cubicBezTo>
                  <a:cubicBezTo>
                    <a:pt x="324" y="225"/>
                    <a:pt x="320" y="219"/>
                    <a:pt x="316" y="213"/>
                  </a:cubicBezTo>
                  <a:cubicBezTo>
                    <a:pt x="316" y="212"/>
                    <a:pt x="316" y="212"/>
                    <a:pt x="316" y="212"/>
                  </a:cubicBezTo>
                  <a:cubicBezTo>
                    <a:pt x="312" y="211"/>
                    <a:pt x="312" y="211"/>
                    <a:pt x="312" y="211"/>
                  </a:cubicBezTo>
                  <a:cubicBezTo>
                    <a:pt x="315" y="209"/>
                    <a:pt x="315" y="209"/>
                    <a:pt x="315" y="209"/>
                  </a:cubicBezTo>
                  <a:cubicBezTo>
                    <a:pt x="315" y="209"/>
                    <a:pt x="315" y="209"/>
                    <a:pt x="315" y="209"/>
                  </a:cubicBezTo>
                  <a:cubicBezTo>
                    <a:pt x="316" y="209"/>
                    <a:pt x="316" y="209"/>
                    <a:pt x="316" y="209"/>
                  </a:cubicBezTo>
                  <a:cubicBezTo>
                    <a:pt x="317" y="207"/>
                    <a:pt x="318" y="206"/>
                    <a:pt x="319" y="205"/>
                  </a:cubicBezTo>
                  <a:cubicBezTo>
                    <a:pt x="323" y="200"/>
                    <a:pt x="323" y="200"/>
                    <a:pt x="323" y="200"/>
                  </a:cubicBezTo>
                  <a:cubicBezTo>
                    <a:pt x="324" y="200"/>
                    <a:pt x="324" y="199"/>
                    <a:pt x="325" y="198"/>
                  </a:cubicBezTo>
                  <a:cubicBezTo>
                    <a:pt x="326" y="197"/>
                    <a:pt x="326" y="197"/>
                    <a:pt x="326" y="197"/>
                  </a:cubicBezTo>
                  <a:cubicBezTo>
                    <a:pt x="326" y="196"/>
                    <a:pt x="327" y="196"/>
                    <a:pt x="327" y="196"/>
                  </a:cubicBezTo>
                  <a:cubicBezTo>
                    <a:pt x="328" y="195"/>
                    <a:pt x="328" y="194"/>
                    <a:pt x="329" y="193"/>
                  </a:cubicBezTo>
                  <a:cubicBezTo>
                    <a:pt x="330" y="192"/>
                    <a:pt x="331" y="191"/>
                    <a:pt x="332" y="189"/>
                  </a:cubicBezTo>
                  <a:cubicBezTo>
                    <a:pt x="333" y="188"/>
                    <a:pt x="333" y="187"/>
                    <a:pt x="333" y="186"/>
                  </a:cubicBezTo>
                  <a:cubicBezTo>
                    <a:pt x="333" y="185"/>
                    <a:pt x="333" y="185"/>
                    <a:pt x="333" y="185"/>
                  </a:cubicBezTo>
                  <a:cubicBezTo>
                    <a:pt x="332" y="184"/>
                    <a:pt x="332" y="184"/>
                    <a:pt x="332" y="183"/>
                  </a:cubicBezTo>
                  <a:cubicBezTo>
                    <a:pt x="330" y="181"/>
                    <a:pt x="330" y="181"/>
                    <a:pt x="330" y="181"/>
                  </a:cubicBezTo>
                  <a:cubicBezTo>
                    <a:pt x="330" y="181"/>
                    <a:pt x="330" y="181"/>
                    <a:pt x="329" y="180"/>
                  </a:cubicBezTo>
                  <a:cubicBezTo>
                    <a:pt x="319" y="179"/>
                    <a:pt x="319" y="179"/>
                    <a:pt x="319" y="179"/>
                  </a:cubicBezTo>
                  <a:cubicBezTo>
                    <a:pt x="318" y="179"/>
                    <a:pt x="318" y="179"/>
                    <a:pt x="318" y="179"/>
                  </a:cubicBezTo>
                  <a:cubicBezTo>
                    <a:pt x="318" y="179"/>
                    <a:pt x="315" y="179"/>
                    <a:pt x="315" y="176"/>
                  </a:cubicBezTo>
                  <a:cubicBezTo>
                    <a:pt x="314" y="176"/>
                    <a:pt x="314" y="175"/>
                    <a:pt x="314" y="175"/>
                  </a:cubicBezTo>
                  <a:cubicBezTo>
                    <a:pt x="314" y="174"/>
                    <a:pt x="314" y="174"/>
                    <a:pt x="314" y="173"/>
                  </a:cubicBezTo>
                  <a:cubicBezTo>
                    <a:pt x="314" y="172"/>
                    <a:pt x="314" y="172"/>
                    <a:pt x="314" y="172"/>
                  </a:cubicBezTo>
                  <a:cubicBezTo>
                    <a:pt x="314" y="172"/>
                    <a:pt x="314" y="172"/>
                    <a:pt x="314" y="171"/>
                  </a:cubicBezTo>
                  <a:cubicBezTo>
                    <a:pt x="314" y="168"/>
                    <a:pt x="314" y="168"/>
                    <a:pt x="314" y="168"/>
                  </a:cubicBezTo>
                  <a:cubicBezTo>
                    <a:pt x="314" y="166"/>
                    <a:pt x="314" y="164"/>
                    <a:pt x="314" y="163"/>
                  </a:cubicBezTo>
                  <a:cubicBezTo>
                    <a:pt x="314" y="162"/>
                    <a:pt x="314" y="161"/>
                    <a:pt x="314" y="160"/>
                  </a:cubicBezTo>
                  <a:cubicBezTo>
                    <a:pt x="314" y="159"/>
                    <a:pt x="314" y="159"/>
                    <a:pt x="314" y="159"/>
                  </a:cubicBezTo>
                  <a:cubicBezTo>
                    <a:pt x="314" y="157"/>
                    <a:pt x="314" y="157"/>
                    <a:pt x="314" y="157"/>
                  </a:cubicBezTo>
                  <a:cubicBezTo>
                    <a:pt x="313" y="156"/>
                    <a:pt x="313" y="156"/>
                    <a:pt x="313" y="155"/>
                  </a:cubicBezTo>
                  <a:cubicBezTo>
                    <a:pt x="311" y="148"/>
                    <a:pt x="311" y="148"/>
                    <a:pt x="311" y="148"/>
                  </a:cubicBezTo>
                  <a:cubicBezTo>
                    <a:pt x="311" y="148"/>
                    <a:pt x="311" y="148"/>
                    <a:pt x="311" y="147"/>
                  </a:cubicBezTo>
                  <a:cubicBezTo>
                    <a:pt x="310" y="142"/>
                    <a:pt x="310" y="142"/>
                    <a:pt x="310" y="142"/>
                  </a:cubicBezTo>
                  <a:cubicBezTo>
                    <a:pt x="310" y="139"/>
                    <a:pt x="312" y="137"/>
                    <a:pt x="314" y="135"/>
                  </a:cubicBezTo>
                  <a:cubicBezTo>
                    <a:pt x="314" y="135"/>
                    <a:pt x="314" y="135"/>
                    <a:pt x="314" y="135"/>
                  </a:cubicBezTo>
                  <a:cubicBezTo>
                    <a:pt x="312" y="134"/>
                    <a:pt x="311" y="134"/>
                    <a:pt x="310" y="133"/>
                  </a:cubicBezTo>
                  <a:cubicBezTo>
                    <a:pt x="309" y="132"/>
                    <a:pt x="309" y="131"/>
                    <a:pt x="308" y="129"/>
                  </a:cubicBezTo>
                  <a:cubicBezTo>
                    <a:pt x="308" y="129"/>
                    <a:pt x="308" y="129"/>
                    <a:pt x="308" y="129"/>
                  </a:cubicBezTo>
                  <a:cubicBezTo>
                    <a:pt x="308" y="128"/>
                    <a:pt x="308" y="127"/>
                    <a:pt x="308" y="126"/>
                  </a:cubicBezTo>
                  <a:cubicBezTo>
                    <a:pt x="308" y="123"/>
                    <a:pt x="308" y="122"/>
                    <a:pt x="308" y="121"/>
                  </a:cubicBezTo>
                  <a:cubicBezTo>
                    <a:pt x="308" y="121"/>
                    <a:pt x="308" y="121"/>
                    <a:pt x="308" y="121"/>
                  </a:cubicBezTo>
                  <a:cubicBezTo>
                    <a:pt x="307" y="121"/>
                    <a:pt x="307" y="121"/>
                    <a:pt x="307" y="121"/>
                  </a:cubicBezTo>
                  <a:cubicBezTo>
                    <a:pt x="314" y="115"/>
                    <a:pt x="314" y="115"/>
                    <a:pt x="314" y="115"/>
                  </a:cubicBezTo>
                  <a:cubicBezTo>
                    <a:pt x="314" y="114"/>
                    <a:pt x="313" y="114"/>
                    <a:pt x="313" y="114"/>
                  </a:cubicBezTo>
                  <a:cubicBezTo>
                    <a:pt x="311" y="112"/>
                    <a:pt x="311" y="112"/>
                    <a:pt x="311" y="112"/>
                  </a:cubicBezTo>
                  <a:cubicBezTo>
                    <a:pt x="313" y="110"/>
                    <a:pt x="313" y="110"/>
                    <a:pt x="313" y="110"/>
                  </a:cubicBezTo>
                  <a:cubicBezTo>
                    <a:pt x="314" y="109"/>
                    <a:pt x="315" y="108"/>
                    <a:pt x="316" y="107"/>
                  </a:cubicBezTo>
                  <a:cubicBezTo>
                    <a:pt x="317" y="106"/>
                    <a:pt x="317" y="106"/>
                    <a:pt x="317" y="106"/>
                  </a:cubicBezTo>
                  <a:cubicBezTo>
                    <a:pt x="318" y="105"/>
                    <a:pt x="318" y="105"/>
                    <a:pt x="319" y="104"/>
                  </a:cubicBezTo>
                  <a:cubicBezTo>
                    <a:pt x="319" y="102"/>
                    <a:pt x="319" y="102"/>
                    <a:pt x="319" y="102"/>
                  </a:cubicBezTo>
                  <a:cubicBezTo>
                    <a:pt x="319" y="102"/>
                    <a:pt x="319" y="102"/>
                    <a:pt x="319" y="102"/>
                  </a:cubicBezTo>
                  <a:cubicBezTo>
                    <a:pt x="319" y="101"/>
                    <a:pt x="319" y="101"/>
                    <a:pt x="319" y="101"/>
                  </a:cubicBezTo>
                  <a:cubicBezTo>
                    <a:pt x="320" y="101"/>
                    <a:pt x="320" y="100"/>
                    <a:pt x="320" y="99"/>
                  </a:cubicBezTo>
                  <a:cubicBezTo>
                    <a:pt x="322" y="92"/>
                    <a:pt x="322" y="92"/>
                    <a:pt x="322" y="92"/>
                  </a:cubicBezTo>
                  <a:cubicBezTo>
                    <a:pt x="324" y="90"/>
                    <a:pt x="324" y="90"/>
                    <a:pt x="324" y="90"/>
                  </a:cubicBezTo>
                  <a:cubicBezTo>
                    <a:pt x="324" y="90"/>
                    <a:pt x="324" y="90"/>
                    <a:pt x="324" y="90"/>
                  </a:cubicBezTo>
                  <a:cubicBezTo>
                    <a:pt x="324" y="89"/>
                    <a:pt x="323" y="89"/>
                    <a:pt x="323" y="89"/>
                  </a:cubicBezTo>
                  <a:cubicBezTo>
                    <a:pt x="323" y="88"/>
                    <a:pt x="323" y="88"/>
                    <a:pt x="323" y="88"/>
                  </a:cubicBezTo>
                  <a:cubicBezTo>
                    <a:pt x="323" y="87"/>
                    <a:pt x="323" y="87"/>
                    <a:pt x="322" y="86"/>
                  </a:cubicBezTo>
                  <a:cubicBezTo>
                    <a:pt x="322" y="85"/>
                    <a:pt x="322" y="85"/>
                    <a:pt x="322" y="85"/>
                  </a:cubicBezTo>
                  <a:cubicBezTo>
                    <a:pt x="321" y="83"/>
                    <a:pt x="321" y="83"/>
                    <a:pt x="321" y="83"/>
                  </a:cubicBezTo>
                  <a:cubicBezTo>
                    <a:pt x="321" y="81"/>
                    <a:pt x="321" y="78"/>
                    <a:pt x="321" y="76"/>
                  </a:cubicBezTo>
                  <a:cubicBezTo>
                    <a:pt x="321" y="75"/>
                    <a:pt x="321" y="75"/>
                    <a:pt x="321" y="75"/>
                  </a:cubicBezTo>
                  <a:cubicBezTo>
                    <a:pt x="321" y="75"/>
                    <a:pt x="321" y="74"/>
                    <a:pt x="321" y="74"/>
                  </a:cubicBezTo>
                  <a:cubicBezTo>
                    <a:pt x="321" y="73"/>
                    <a:pt x="321" y="73"/>
                    <a:pt x="321" y="73"/>
                  </a:cubicBezTo>
                  <a:cubicBezTo>
                    <a:pt x="321" y="71"/>
                    <a:pt x="321" y="69"/>
                    <a:pt x="321" y="68"/>
                  </a:cubicBezTo>
                  <a:cubicBezTo>
                    <a:pt x="321" y="68"/>
                    <a:pt x="321" y="68"/>
                    <a:pt x="321" y="68"/>
                  </a:cubicBezTo>
                  <a:cubicBezTo>
                    <a:pt x="320" y="68"/>
                    <a:pt x="319" y="68"/>
                    <a:pt x="318" y="68"/>
                  </a:cubicBezTo>
                  <a:cubicBezTo>
                    <a:pt x="317" y="68"/>
                    <a:pt x="317" y="68"/>
                    <a:pt x="316" y="68"/>
                  </a:cubicBezTo>
                  <a:cubicBezTo>
                    <a:pt x="314" y="68"/>
                    <a:pt x="314" y="68"/>
                    <a:pt x="314" y="68"/>
                  </a:cubicBezTo>
                  <a:cubicBezTo>
                    <a:pt x="313" y="68"/>
                    <a:pt x="312" y="68"/>
                    <a:pt x="311" y="68"/>
                  </a:cubicBezTo>
                  <a:cubicBezTo>
                    <a:pt x="311" y="71"/>
                    <a:pt x="311" y="71"/>
                    <a:pt x="311" y="71"/>
                  </a:cubicBezTo>
                  <a:cubicBezTo>
                    <a:pt x="310" y="68"/>
                    <a:pt x="310" y="68"/>
                    <a:pt x="310" y="68"/>
                  </a:cubicBezTo>
                  <a:cubicBezTo>
                    <a:pt x="310" y="68"/>
                    <a:pt x="310" y="68"/>
                    <a:pt x="310" y="68"/>
                  </a:cubicBezTo>
                  <a:cubicBezTo>
                    <a:pt x="309" y="68"/>
                    <a:pt x="308" y="68"/>
                    <a:pt x="307" y="68"/>
                  </a:cubicBezTo>
                  <a:cubicBezTo>
                    <a:pt x="306" y="67"/>
                    <a:pt x="306" y="67"/>
                    <a:pt x="305" y="67"/>
                  </a:cubicBezTo>
                  <a:cubicBezTo>
                    <a:pt x="305" y="66"/>
                    <a:pt x="305" y="66"/>
                    <a:pt x="305" y="66"/>
                  </a:cubicBezTo>
                  <a:cubicBezTo>
                    <a:pt x="304" y="66"/>
                    <a:pt x="304" y="65"/>
                    <a:pt x="303" y="64"/>
                  </a:cubicBezTo>
                  <a:cubicBezTo>
                    <a:pt x="302" y="63"/>
                    <a:pt x="302" y="63"/>
                    <a:pt x="302" y="63"/>
                  </a:cubicBezTo>
                  <a:cubicBezTo>
                    <a:pt x="302" y="62"/>
                    <a:pt x="301" y="61"/>
                    <a:pt x="301" y="61"/>
                  </a:cubicBezTo>
                  <a:cubicBezTo>
                    <a:pt x="301" y="61"/>
                    <a:pt x="301" y="61"/>
                    <a:pt x="301" y="61"/>
                  </a:cubicBezTo>
                  <a:cubicBezTo>
                    <a:pt x="300" y="60"/>
                    <a:pt x="300" y="60"/>
                    <a:pt x="300" y="60"/>
                  </a:cubicBezTo>
                  <a:cubicBezTo>
                    <a:pt x="300" y="59"/>
                    <a:pt x="300" y="59"/>
                    <a:pt x="300" y="59"/>
                  </a:cubicBezTo>
                  <a:cubicBezTo>
                    <a:pt x="298" y="59"/>
                    <a:pt x="297" y="58"/>
                    <a:pt x="295" y="58"/>
                  </a:cubicBezTo>
                  <a:cubicBezTo>
                    <a:pt x="295" y="58"/>
                    <a:pt x="295" y="58"/>
                    <a:pt x="295" y="58"/>
                  </a:cubicBezTo>
                  <a:cubicBezTo>
                    <a:pt x="294" y="58"/>
                    <a:pt x="294" y="58"/>
                    <a:pt x="293" y="57"/>
                  </a:cubicBezTo>
                  <a:cubicBezTo>
                    <a:pt x="293" y="57"/>
                    <a:pt x="293" y="57"/>
                    <a:pt x="293" y="57"/>
                  </a:cubicBezTo>
                  <a:cubicBezTo>
                    <a:pt x="292" y="57"/>
                    <a:pt x="292" y="57"/>
                    <a:pt x="292" y="57"/>
                  </a:cubicBezTo>
                  <a:cubicBezTo>
                    <a:pt x="291" y="56"/>
                    <a:pt x="291" y="56"/>
                    <a:pt x="291" y="56"/>
                  </a:cubicBezTo>
                  <a:cubicBezTo>
                    <a:pt x="291" y="56"/>
                    <a:pt x="291" y="55"/>
                    <a:pt x="290" y="55"/>
                  </a:cubicBezTo>
                  <a:cubicBezTo>
                    <a:pt x="290" y="53"/>
                    <a:pt x="290" y="53"/>
                    <a:pt x="290" y="53"/>
                  </a:cubicBezTo>
                  <a:cubicBezTo>
                    <a:pt x="289" y="52"/>
                    <a:pt x="288" y="51"/>
                    <a:pt x="287" y="49"/>
                  </a:cubicBezTo>
                  <a:cubicBezTo>
                    <a:pt x="287" y="49"/>
                    <a:pt x="287" y="49"/>
                    <a:pt x="287" y="49"/>
                  </a:cubicBezTo>
                  <a:cubicBezTo>
                    <a:pt x="286" y="47"/>
                    <a:pt x="284" y="47"/>
                    <a:pt x="281" y="46"/>
                  </a:cubicBezTo>
                  <a:cubicBezTo>
                    <a:pt x="280" y="46"/>
                    <a:pt x="280" y="46"/>
                    <a:pt x="280" y="46"/>
                  </a:cubicBezTo>
                  <a:cubicBezTo>
                    <a:pt x="279" y="46"/>
                    <a:pt x="278" y="46"/>
                    <a:pt x="277" y="46"/>
                  </a:cubicBezTo>
                  <a:cubicBezTo>
                    <a:pt x="273" y="46"/>
                    <a:pt x="273" y="46"/>
                    <a:pt x="273" y="46"/>
                  </a:cubicBezTo>
                  <a:cubicBezTo>
                    <a:pt x="272" y="46"/>
                    <a:pt x="272" y="46"/>
                    <a:pt x="272" y="46"/>
                  </a:cubicBezTo>
                  <a:cubicBezTo>
                    <a:pt x="270" y="46"/>
                    <a:pt x="270" y="46"/>
                    <a:pt x="270" y="46"/>
                  </a:cubicBezTo>
                  <a:cubicBezTo>
                    <a:pt x="270" y="46"/>
                    <a:pt x="270" y="46"/>
                    <a:pt x="270" y="46"/>
                  </a:cubicBezTo>
                  <a:cubicBezTo>
                    <a:pt x="270" y="46"/>
                    <a:pt x="269" y="46"/>
                    <a:pt x="269" y="46"/>
                  </a:cubicBezTo>
                  <a:cubicBezTo>
                    <a:pt x="268" y="46"/>
                    <a:pt x="267" y="46"/>
                    <a:pt x="267" y="46"/>
                  </a:cubicBezTo>
                  <a:cubicBezTo>
                    <a:pt x="266" y="45"/>
                    <a:pt x="266" y="45"/>
                    <a:pt x="266" y="45"/>
                  </a:cubicBezTo>
                  <a:cubicBezTo>
                    <a:pt x="263" y="43"/>
                    <a:pt x="263" y="43"/>
                    <a:pt x="263" y="43"/>
                  </a:cubicBezTo>
                  <a:cubicBezTo>
                    <a:pt x="262" y="42"/>
                    <a:pt x="261" y="42"/>
                    <a:pt x="261" y="41"/>
                  </a:cubicBezTo>
                  <a:cubicBezTo>
                    <a:pt x="259" y="41"/>
                    <a:pt x="259" y="41"/>
                    <a:pt x="259" y="41"/>
                  </a:cubicBezTo>
                  <a:cubicBezTo>
                    <a:pt x="258" y="41"/>
                    <a:pt x="258" y="41"/>
                    <a:pt x="257" y="40"/>
                  </a:cubicBezTo>
                  <a:cubicBezTo>
                    <a:pt x="256" y="40"/>
                    <a:pt x="255" y="40"/>
                    <a:pt x="253" y="40"/>
                  </a:cubicBezTo>
                  <a:cubicBezTo>
                    <a:pt x="252" y="40"/>
                    <a:pt x="252" y="40"/>
                    <a:pt x="252" y="40"/>
                  </a:cubicBezTo>
                  <a:cubicBezTo>
                    <a:pt x="250" y="39"/>
                    <a:pt x="249" y="38"/>
                    <a:pt x="248" y="37"/>
                  </a:cubicBezTo>
                  <a:cubicBezTo>
                    <a:pt x="248" y="36"/>
                    <a:pt x="248" y="36"/>
                    <a:pt x="248" y="36"/>
                  </a:cubicBezTo>
                  <a:cubicBezTo>
                    <a:pt x="244" y="38"/>
                    <a:pt x="244" y="38"/>
                    <a:pt x="244" y="38"/>
                  </a:cubicBezTo>
                  <a:cubicBezTo>
                    <a:pt x="248" y="35"/>
                    <a:pt x="248" y="35"/>
                    <a:pt x="248" y="35"/>
                  </a:cubicBezTo>
                  <a:cubicBezTo>
                    <a:pt x="248" y="35"/>
                    <a:pt x="248" y="35"/>
                    <a:pt x="248" y="35"/>
                  </a:cubicBezTo>
                  <a:cubicBezTo>
                    <a:pt x="247" y="33"/>
                    <a:pt x="247" y="33"/>
                    <a:pt x="246" y="33"/>
                  </a:cubicBezTo>
                  <a:cubicBezTo>
                    <a:pt x="245" y="33"/>
                    <a:pt x="244" y="33"/>
                    <a:pt x="243" y="33"/>
                  </a:cubicBezTo>
                  <a:cubicBezTo>
                    <a:pt x="243" y="33"/>
                    <a:pt x="243" y="33"/>
                    <a:pt x="243" y="33"/>
                  </a:cubicBezTo>
                  <a:cubicBezTo>
                    <a:pt x="242" y="32"/>
                    <a:pt x="241" y="32"/>
                    <a:pt x="240" y="32"/>
                  </a:cubicBezTo>
                  <a:cubicBezTo>
                    <a:pt x="239" y="32"/>
                    <a:pt x="239" y="32"/>
                    <a:pt x="239" y="32"/>
                  </a:cubicBezTo>
                  <a:cubicBezTo>
                    <a:pt x="239" y="32"/>
                    <a:pt x="239" y="32"/>
                    <a:pt x="238" y="32"/>
                  </a:cubicBezTo>
                  <a:cubicBezTo>
                    <a:pt x="237" y="32"/>
                    <a:pt x="236" y="32"/>
                    <a:pt x="235" y="33"/>
                  </a:cubicBezTo>
                  <a:cubicBezTo>
                    <a:pt x="234" y="33"/>
                    <a:pt x="234" y="33"/>
                    <a:pt x="234" y="33"/>
                  </a:cubicBezTo>
                  <a:cubicBezTo>
                    <a:pt x="234" y="33"/>
                    <a:pt x="234" y="33"/>
                    <a:pt x="234" y="33"/>
                  </a:cubicBezTo>
                  <a:cubicBezTo>
                    <a:pt x="234" y="33"/>
                    <a:pt x="234" y="33"/>
                    <a:pt x="234" y="33"/>
                  </a:cubicBezTo>
                  <a:cubicBezTo>
                    <a:pt x="232" y="35"/>
                    <a:pt x="231" y="36"/>
                    <a:pt x="228" y="37"/>
                  </a:cubicBezTo>
                  <a:cubicBezTo>
                    <a:pt x="227" y="37"/>
                    <a:pt x="227" y="37"/>
                    <a:pt x="227" y="37"/>
                  </a:cubicBezTo>
                  <a:cubicBezTo>
                    <a:pt x="227" y="40"/>
                    <a:pt x="227" y="40"/>
                    <a:pt x="227" y="40"/>
                  </a:cubicBezTo>
                  <a:cubicBezTo>
                    <a:pt x="226" y="37"/>
                    <a:pt x="226" y="37"/>
                    <a:pt x="226" y="37"/>
                  </a:cubicBezTo>
                  <a:cubicBezTo>
                    <a:pt x="225" y="36"/>
                    <a:pt x="224" y="36"/>
                    <a:pt x="223" y="36"/>
                  </a:cubicBezTo>
                  <a:cubicBezTo>
                    <a:pt x="222" y="36"/>
                    <a:pt x="221" y="36"/>
                    <a:pt x="221" y="36"/>
                  </a:cubicBezTo>
                  <a:cubicBezTo>
                    <a:pt x="217" y="37"/>
                    <a:pt x="215" y="37"/>
                    <a:pt x="212" y="38"/>
                  </a:cubicBezTo>
                  <a:cubicBezTo>
                    <a:pt x="188" y="63"/>
                    <a:pt x="188" y="63"/>
                    <a:pt x="188" y="63"/>
                  </a:cubicBezTo>
                  <a:cubicBezTo>
                    <a:pt x="187" y="62"/>
                    <a:pt x="187" y="62"/>
                    <a:pt x="187" y="62"/>
                  </a:cubicBezTo>
                  <a:cubicBezTo>
                    <a:pt x="186" y="62"/>
                    <a:pt x="186" y="62"/>
                    <a:pt x="185" y="62"/>
                  </a:cubicBezTo>
                  <a:cubicBezTo>
                    <a:pt x="185" y="62"/>
                    <a:pt x="184" y="62"/>
                    <a:pt x="184" y="62"/>
                  </a:cubicBezTo>
                  <a:cubicBezTo>
                    <a:pt x="182" y="62"/>
                    <a:pt x="181" y="62"/>
                    <a:pt x="179" y="61"/>
                  </a:cubicBezTo>
                  <a:cubicBezTo>
                    <a:pt x="180" y="61"/>
                    <a:pt x="180" y="61"/>
                    <a:pt x="180" y="61"/>
                  </a:cubicBezTo>
                  <a:cubicBezTo>
                    <a:pt x="181" y="61"/>
                    <a:pt x="183" y="61"/>
                    <a:pt x="184" y="60"/>
                  </a:cubicBezTo>
                  <a:cubicBezTo>
                    <a:pt x="182" y="60"/>
                    <a:pt x="181" y="60"/>
                    <a:pt x="179" y="61"/>
                  </a:cubicBezTo>
                  <a:cubicBezTo>
                    <a:pt x="176" y="61"/>
                    <a:pt x="173" y="61"/>
                    <a:pt x="171" y="62"/>
                  </a:cubicBezTo>
                  <a:cubicBezTo>
                    <a:pt x="167" y="62"/>
                    <a:pt x="164" y="63"/>
                    <a:pt x="161" y="64"/>
                  </a:cubicBezTo>
                  <a:cubicBezTo>
                    <a:pt x="160" y="64"/>
                    <a:pt x="158" y="65"/>
                    <a:pt x="157" y="65"/>
                  </a:cubicBezTo>
                  <a:cubicBezTo>
                    <a:pt x="155" y="65"/>
                    <a:pt x="153" y="66"/>
                    <a:pt x="151" y="66"/>
                  </a:cubicBezTo>
                  <a:cubicBezTo>
                    <a:pt x="150" y="66"/>
                    <a:pt x="148" y="67"/>
                    <a:pt x="147" y="67"/>
                  </a:cubicBezTo>
                  <a:cubicBezTo>
                    <a:pt x="146" y="67"/>
                    <a:pt x="145" y="67"/>
                    <a:pt x="144" y="67"/>
                  </a:cubicBezTo>
                  <a:cubicBezTo>
                    <a:pt x="143" y="66"/>
                    <a:pt x="142" y="66"/>
                    <a:pt x="141" y="66"/>
                  </a:cubicBezTo>
                  <a:cubicBezTo>
                    <a:pt x="140" y="66"/>
                    <a:pt x="139" y="65"/>
                    <a:pt x="138" y="65"/>
                  </a:cubicBezTo>
                  <a:cubicBezTo>
                    <a:pt x="136" y="65"/>
                    <a:pt x="134" y="64"/>
                    <a:pt x="132" y="63"/>
                  </a:cubicBezTo>
                  <a:cubicBezTo>
                    <a:pt x="130" y="63"/>
                    <a:pt x="129" y="62"/>
                    <a:pt x="127" y="61"/>
                  </a:cubicBezTo>
                  <a:cubicBezTo>
                    <a:pt x="127" y="61"/>
                    <a:pt x="127" y="61"/>
                    <a:pt x="127" y="61"/>
                  </a:cubicBezTo>
                  <a:cubicBezTo>
                    <a:pt x="125" y="61"/>
                    <a:pt x="124" y="60"/>
                    <a:pt x="122" y="59"/>
                  </a:cubicBezTo>
                  <a:cubicBezTo>
                    <a:pt x="120" y="58"/>
                    <a:pt x="119" y="57"/>
                    <a:pt x="117" y="56"/>
                  </a:cubicBezTo>
                  <a:cubicBezTo>
                    <a:pt x="117" y="55"/>
                    <a:pt x="116" y="54"/>
                    <a:pt x="115" y="53"/>
                  </a:cubicBezTo>
                  <a:cubicBezTo>
                    <a:pt x="115" y="53"/>
                    <a:pt x="115" y="52"/>
                    <a:pt x="114" y="52"/>
                  </a:cubicBezTo>
                  <a:cubicBezTo>
                    <a:pt x="113" y="51"/>
                    <a:pt x="111" y="50"/>
                    <a:pt x="109" y="49"/>
                  </a:cubicBezTo>
                  <a:cubicBezTo>
                    <a:pt x="107" y="49"/>
                    <a:pt x="105" y="48"/>
                    <a:pt x="104" y="48"/>
                  </a:cubicBezTo>
                  <a:cubicBezTo>
                    <a:pt x="103" y="48"/>
                    <a:pt x="103" y="48"/>
                    <a:pt x="103" y="48"/>
                  </a:cubicBezTo>
                  <a:cubicBezTo>
                    <a:pt x="101" y="47"/>
                    <a:pt x="99" y="47"/>
                    <a:pt x="97" y="46"/>
                  </a:cubicBezTo>
                  <a:cubicBezTo>
                    <a:pt x="96" y="46"/>
                    <a:pt x="94" y="45"/>
                    <a:pt x="93" y="43"/>
                  </a:cubicBezTo>
                  <a:cubicBezTo>
                    <a:pt x="93" y="43"/>
                    <a:pt x="92" y="42"/>
                    <a:pt x="92" y="41"/>
                  </a:cubicBezTo>
                  <a:cubicBezTo>
                    <a:pt x="92" y="40"/>
                    <a:pt x="91" y="39"/>
                    <a:pt x="91" y="38"/>
                  </a:cubicBezTo>
                  <a:cubicBezTo>
                    <a:pt x="90" y="36"/>
                    <a:pt x="90" y="34"/>
                    <a:pt x="90" y="32"/>
                  </a:cubicBezTo>
                  <a:cubicBezTo>
                    <a:pt x="89" y="31"/>
                    <a:pt x="89" y="30"/>
                    <a:pt x="89" y="29"/>
                  </a:cubicBezTo>
                  <a:cubicBezTo>
                    <a:pt x="88" y="29"/>
                    <a:pt x="88" y="29"/>
                    <a:pt x="88" y="29"/>
                  </a:cubicBezTo>
                  <a:cubicBezTo>
                    <a:pt x="88" y="29"/>
                    <a:pt x="87" y="29"/>
                    <a:pt x="87" y="29"/>
                  </a:cubicBezTo>
                  <a:cubicBezTo>
                    <a:pt x="87" y="29"/>
                    <a:pt x="87" y="29"/>
                    <a:pt x="87" y="29"/>
                  </a:cubicBezTo>
                  <a:cubicBezTo>
                    <a:pt x="86" y="29"/>
                    <a:pt x="86" y="29"/>
                    <a:pt x="85" y="29"/>
                  </a:cubicBezTo>
                  <a:cubicBezTo>
                    <a:pt x="85" y="29"/>
                    <a:pt x="85" y="29"/>
                    <a:pt x="85" y="29"/>
                  </a:cubicBezTo>
                  <a:cubicBezTo>
                    <a:pt x="85" y="29"/>
                    <a:pt x="85" y="29"/>
                    <a:pt x="85" y="29"/>
                  </a:cubicBezTo>
                  <a:cubicBezTo>
                    <a:pt x="84" y="29"/>
                    <a:pt x="84" y="29"/>
                    <a:pt x="84" y="29"/>
                  </a:cubicBezTo>
                  <a:cubicBezTo>
                    <a:pt x="84" y="29"/>
                    <a:pt x="84" y="29"/>
                    <a:pt x="84" y="29"/>
                  </a:cubicBezTo>
                  <a:cubicBezTo>
                    <a:pt x="83" y="29"/>
                    <a:pt x="83" y="29"/>
                    <a:pt x="83" y="29"/>
                  </a:cubicBezTo>
                  <a:cubicBezTo>
                    <a:pt x="83" y="29"/>
                    <a:pt x="83" y="29"/>
                    <a:pt x="83" y="29"/>
                  </a:cubicBezTo>
                  <a:cubicBezTo>
                    <a:pt x="81" y="28"/>
                    <a:pt x="81" y="27"/>
                    <a:pt x="80" y="26"/>
                  </a:cubicBezTo>
                  <a:cubicBezTo>
                    <a:pt x="80" y="26"/>
                    <a:pt x="80" y="26"/>
                    <a:pt x="80" y="26"/>
                  </a:cubicBezTo>
                  <a:cubicBezTo>
                    <a:pt x="80" y="25"/>
                    <a:pt x="79" y="25"/>
                    <a:pt x="79" y="25"/>
                  </a:cubicBezTo>
                  <a:cubicBezTo>
                    <a:pt x="78" y="24"/>
                    <a:pt x="77" y="24"/>
                    <a:pt x="76" y="23"/>
                  </a:cubicBezTo>
                  <a:cubicBezTo>
                    <a:pt x="76" y="23"/>
                    <a:pt x="76" y="23"/>
                    <a:pt x="75" y="22"/>
                  </a:cubicBezTo>
                  <a:cubicBezTo>
                    <a:pt x="75" y="22"/>
                    <a:pt x="75" y="22"/>
                    <a:pt x="75" y="22"/>
                  </a:cubicBezTo>
                  <a:cubicBezTo>
                    <a:pt x="75" y="22"/>
                    <a:pt x="75" y="22"/>
                    <a:pt x="75" y="22"/>
                  </a:cubicBezTo>
                  <a:cubicBezTo>
                    <a:pt x="68" y="16"/>
                    <a:pt x="68" y="16"/>
                    <a:pt x="68" y="16"/>
                  </a:cubicBezTo>
                  <a:cubicBezTo>
                    <a:pt x="74" y="12"/>
                    <a:pt x="74" y="12"/>
                    <a:pt x="74" y="12"/>
                  </a:cubicBezTo>
                  <a:cubicBezTo>
                    <a:pt x="74" y="11"/>
                    <a:pt x="73" y="10"/>
                    <a:pt x="74" y="8"/>
                  </a:cubicBezTo>
                  <a:cubicBezTo>
                    <a:pt x="74" y="7"/>
                    <a:pt x="74" y="7"/>
                    <a:pt x="75" y="6"/>
                  </a:cubicBezTo>
                  <a:cubicBezTo>
                    <a:pt x="75" y="5"/>
                    <a:pt x="75" y="5"/>
                    <a:pt x="75" y="5"/>
                  </a:cubicBezTo>
                  <a:cubicBezTo>
                    <a:pt x="75" y="5"/>
                    <a:pt x="75" y="5"/>
                    <a:pt x="75" y="5"/>
                  </a:cubicBezTo>
                  <a:cubicBezTo>
                    <a:pt x="74" y="3"/>
                    <a:pt x="74" y="3"/>
                    <a:pt x="74" y="3"/>
                  </a:cubicBezTo>
                  <a:cubicBezTo>
                    <a:pt x="72" y="1"/>
                    <a:pt x="71" y="1"/>
                    <a:pt x="71" y="0"/>
                  </a:cubicBezTo>
                  <a:cubicBezTo>
                    <a:pt x="71" y="0"/>
                    <a:pt x="70" y="1"/>
                    <a:pt x="68" y="2"/>
                  </a:cubicBezTo>
                  <a:cubicBezTo>
                    <a:pt x="67" y="3"/>
                    <a:pt x="67" y="3"/>
                    <a:pt x="67" y="3"/>
                  </a:cubicBezTo>
                  <a:cubicBezTo>
                    <a:pt x="64" y="4"/>
                    <a:pt x="62" y="6"/>
                    <a:pt x="60" y="7"/>
                  </a:cubicBezTo>
                  <a:cubicBezTo>
                    <a:pt x="58" y="8"/>
                    <a:pt x="58" y="8"/>
                    <a:pt x="58" y="8"/>
                  </a:cubicBezTo>
                  <a:cubicBezTo>
                    <a:pt x="57" y="9"/>
                    <a:pt x="57" y="10"/>
                    <a:pt x="56" y="10"/>
                  </a:cubicBezTo>
                  <a:cubicBezTo>
                    <a:pt x="54" y="11"/>
                    <a:pt x="53" y="12"/>
                    <a:pt x="51" y="13"/>
                  </a:cubicBezTo>
                  <a:cubicBezTo>
                    <a:pt x="51" y="14"/>
                    <a:pt x="51" y="14"/>
                    <a:pt x="50" y="14"/>
                  </a:cubicBezTo>
                  <a:cubicBezTo>
                    <a:pt x="50" y="15"/>
                    <a:pt x="50" y="15"/>
                    <a:pt x="50" y="15"/>
                  </a:cubicBezTo>
                  <a:cubicBezTo>
                    <a:pt x="49" y="16"/>
                    <a:pt x="49" y="16"/>
                    <a:pt x="49" y="16"/>
                  </a:cubicBezTo>
                  <a:cubicBezTo>
                    <a:pt x="48" y="17"/>
                    <a:pt x="47" y="17"/>
                    <a:pt x="46" y="18"/>
                  </a:cubicBezTo>
                  <a:cubicBezTo>
                    <a:pt x="46" y="18"/>
                    <a:pt x="46" y="18"/>
                    <a:pt x="46" y="18"/>
                  </a:cubicBezTo>
                  <a:cubicBezTo>
                    <a:pt x="43" y="23"/>
                    <a:pt x="43" y="23"/>
                    <a:pt x="43" y="23"/>
                  </a:cubicBezTo>
                  <a:cubicBezTo>
                    <a:pt x="43" y="21"/>
                    <a:pt x="43" y="21"/>
                    <a:pt x="43" y="21"/>
                  </a:cubicBezTo>
                  <a:cubicBezTo>
                    <a:pt x="43" y="21"/>
                    <a:pt x="43" y="21"/>
                    <a:pt x="43" y="21"/>
                  </a:cubicBezTo>
                  <a:cubicBezTo>
                    <a:pt x="42" y="19"/>
                    <a:pt x="42" y="19"/>
                    <a:pt x="42" y="19"/>
                  </a:cubicBezTo>
                  <a:cubicBezTo>
                    <a:pt x="42" y="19"/>
                    <a:pt x="42" y="19"/>
                    <a:pt x="42" y="19"/>
                  </a:cubicBezTo>
                  <a:cubicBezTo>
                    <a:pt x="42" y="19"/>
                    <a:pt x="42" y="19"/>
                    <a:pt x="42" y="19"/>
                  </a:cubicBezTo>
                  <a:cubicBezTo>
                    <a:pt x="42" y="19"/>
                    <a:pt x="42" y="19"/>
                    <a:pt x="42" y="19"/>
                  </a:cubicBezTo>
                  <a:cubicBezTo>
                    <a:pt x="42" y="19"/>
                    <a:pt x="41" y="19"/>
                    <a:pt x="41" y="19"/>
                  </a:cubicBezTo>
                  <a:cubicBezTo>
                    <a:pt x="40" y="19"/>
                    <a:pt x="40" y="19"/>
                    <a:pt x="40" y="19"/>
                  </a:cubicBezTo>
                  <a:cubicBezTo>
                    <a:pt x="40" y="20"/>
                    <a:pt x="40" y="20"/>
                    <a:pt x="40" y="20"/>
                  </a:cubicBezTo>
                  <a:cubicBezTo>
                    <a:pt x="38" y="20"/>
                    <a:pt x="38" y="20"/>
                    <a:pt x="38" y="20"/>
                  </a:cubicBezTo>
                  <a:cubicBezTo>
                    <a:pt x="38" y="20"/>
                    <a:pt x="34" y="19"/>
                    <a:pt x="32" y="19"/>
                  </a:cubicBezTo>
                  <a:cubicBezTo>
                    <a:pt x="29" y="19"/>
                    <a:pt x="22" y="17"/>
                    <a:pt x="21" y="15"/>
                  </a:cubicBezTo>
                  <a:cubicBezTo>
                    <a:pt x="21" y="14"/>
                    <a:pt x="19" y="13"/>
                    <a:pt x="18" y="12"/>
                  </a:cubicBezTo>
                  <a:cubicBezTo>
                    <a:pt x="18" y="11"/>
                    <a:pt x="18" y="11"/>
                    <a:pt x="18" y="11"/>
                  </a:cubicBezTo>
                  <a:cubicBezTo>
                    <a:pt x="17" y="11"/>
                    <a:pt x="17" y="10"/>
                    <a:pt x="16" y="10"/>
                  </a:cubicBezTo>
                  <a:cubicBezTo>
                    <a:pt x="13" y="7"/>
                    <a:pt x="11" y="4"/>
                    <a:pt x="10" y="3"/>
                  </a:cubicBezTo>
                  <a:cubicBezTo>
                    <a:pt x="10" y="2"/>
                    <a:pt x="10" y="2"/>
                    <a:pt x="10" y="2"/>
                  </a:cubicBezTo>
                  <a:cubicBezTo>
                    <a:pt x="9" y="3"/>
                    <a:pt x="9" y="3"/>
                    <a:pt x="9" y="3"/>
                  </a:cubicBezTo>
                  <a:cubicBezTo>
                    <a:pt x="9" y="2"/>
                    <a:pt x="9" y="2"/>
                    <a:pt x="9" y="2"/>
                  </a:cubicBezTo>
                  <a:cubicBezTo>
                    <a:pt x="9" y="1"/>
                    <a:pt x="9" y="1"/>
                    <a:pt x="9" y="1"/>
                  </a:cubicBezTo>
                  <a:cubicBezTo>
                    <a:pt x="9" y="1"/>
                    <a:pt x="9" y="1"/>
                    <a:pt x="9" y="1"/>
                  </a:cubicBezTo>
                  <a:cubicBezTo>
                    <a:pt x="9" y="1"/>
                    <a:pt x="9" y="1"/>
                    <a:pt x="9" y="1"/>
                  </a:cubicBezTo>
                  <a:cubicBezTo>
                    <a:pt x="8" y="0"/>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423"/>
            <p:cNvSpPr/>
            <p:nvPr/>
          </p:nvSpPr>
          <p:spPr bwMode="auto">
            <a:xfrm>
              <a:off x="1667048" y="4005276"/>
              <a:ext cx="35762" cy="75650"/>
            </a:xfrm>
            <a:custGeom>
              <a:gdLst>
                <a:gd name="T0" fmla="*/ 11 w 11"/>
                <a:gd name="T1" fmla="*/ 0 h 23"/>
                <a:gd name="T2" fmla="*/ 10 w 11"/>
                <a:gd name="T3" fmla="*/ 1 h 23"/>
                <a:gd name="T4" fmla="*/ 7 w 11"/>
                <a:gd name="T5" fmla="*/ 3 h 23"/>
                <a:gd name="T6" fmla="*/ 3 w 11"/>
                <a:gd name="T7" fmla="*/ 6 h 23"/>
                <a:gd name="T8" fmla="*/ 1 w 11"/>
                <a:gd name="T9" fmla="*/ 8 h 23"/>
                <a:gd name="T10" fmla="*/ 0 w 11"/>
                <a:gd name="T11" fmla="*/ 9 h 23"/>
                <a:gd name="T12" fmla="*/ 7 w 11"/>
                <a:gd name="T13" fmla="*/ 23 h 23"/>
                <a:gd name="T14" fmla="*/ 6 w 11"/>
                <a:gd name="T15" fmla="*/ 16 h 23"/>
                <a:gd name="T16" fmla="*/ 8 w 11"/>
                <a:gd name="T17" fmla="*/ 10 h 23"/>
                <a:gd name="T18" fmla="*/ 7 w 11"/>
                <a:gd name="T19" fmla="*/ 8 h 23"/>
                <a:gd name="T20" fmla="*/ 6 w 11"/>
                <a:gd name="T21" fmla="*/ 9 h 23"/>
                <a:gd name="T22" fmla="*/ 5 w 11"/>
                <a:gd name="T23" fmla="*/ 9 h 23"/>
                <a:gd name="T24" fmla="*/ 7 w 11"/>
                <a:gd name="T25" fmla="*/ 6 h 23"/>
                <a:gd name="T26" fmla="*/ 10 w 11"/>
                <a:gd name="T27" fmla="*/ 1 h 23"/>
                <a:gd name="T28" fmla="*/ 11 w 11"/>
                <a:gd name="T29"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3">
                  <a:moveTo>
                    <a:pt x="11" y="0"/>
                  </a:moveTo>
                  <a:cubicBezTo>
                    <a:pt x="10" y="1"/>
                    <a:pt x="10" y="1"/>
                    <a:pt x="10" y="1"/>
                  </a:cubicBezTo>
                  <a:cubicBezTo>
                    <a:pt x="9" y="1"/>
                    <a:pt x="8" y="2"/>
                    <a:pt x="7" y="3"/>
                  </a:cubicBezTo>
                  <a:cubicBezTo>
                    <a:pt x="5" y="4"/>
                    <a:pt x="4" y="5"/>
                    <a:pt x="3" y="6"/>
                  </a:cubicBezTo>
                  <a:cubicBezTo>
                    <a:pt x="1" y="8"/>
                    <a:pt x="1" y="8"/>
                    <a:pt x="1" y="8"/>
                  </a:cubicBezTo>
                  <a:cubicBezTo>
                    <a:pt x="1" y="9"/>
                    <a:pt x="0" y="9"/>
                    <a:pt x="0" y="9"/>
                  </a:cubicBezTo>
                  <a:cubicBezTo>
                    <a:pt x="2" y="14"/>
                    <a:pt x="5" y="18"/>
                    <a:pt x="7" y="23"/>
                  </a:cubicBezTo>
                  <a:cubicBezTo>
                    <a:pt x="7" y="20"/>
                    <a:pt x="6" y="19"/>
                    <a:pt x="6" y="16"/>
                  </a:cubicBezTo>
                  <a:cubicBezTo>
                    <a:pt x="6" y="14"/>
                    <a:pt x="7" y="13"/>
                    <a:pt x="8" y="10"/>
                  </a:cubicBezTo>
                  <a:cubicBezTo>
                    <a:pt x="8" y="9"/>
                    <a:pt x="8" y="8"/>
                    <a:pt x="7" y="8"/>
                  </a:cubicBezTo>
                  <a:cubicBezTo>
                    <a:pt x="7" y="8"/>
                    <a:pt x="6" y="8"/>
                    <a:pt x="6" y="9"/>
                  </a:cubicBezTo>
                  <a:cubicBezTo>
                    <a:pt x="6" y="9"/>
                    <a:pt x="6" y="9"/>
                    <a:pt x="5" y="9"/>
                  </a:cubicBezTo>
                  <a:cubicBezTo>
                    <a:pt x="4" y="9"/>
                    <a:pt x="6" y="6"/>
                    <a:pt x="7" y="6"/>
                  </a:cubicBezTo>
                  <a:cubicBezTo>
                    <a:pt x="8" y="4"/>
                    <a:pt x="8" y="2"/>
                    <a:pt x="10" y="1"/>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424"/>
            <p:cNvSpPr/>
            <p:nvPr/>
          </p:nvSpPr>
          <p:spPr bwMode="auto">
            <a:xfrm>
              <a:off x="1680802" y="3959886"/>
              <a:ext cx="854156" cy="533675"/>
            </a:xfrm>
            <a:custGeom>
              <a:gdLst>
                <a:gd name="T0" fmla="*/ 109 w 263"/>
                <a:gd name="T1" fmla="*/ 10 h 164"/>
                <a:gd name="T2" fmla="*/ 103 w 263"/>
                <a:gd name="T3" fmla="*/ 6 h 164"/>
                <a:gd name="T4" fmla="*/ 87 w 263"/>
                <a:gd name="T5" fmla="*/ 16 h 164"/>
                <a:gd name="T6" fmla="*/ 84 w 263"/>
                <a:gd name="T7" fmla="*/ 24 h 164"/>
                <a:gd name="T8" fmla="*/ 71 w 263"/>
                <a:gd name="T9" fmla="*/ 33 h 164"/>
                <a:gd name="T10" fmla="*/ 57 w 263"/>
                <a:gd name="T11" fmla="*/ 33 h 164"/>
                <a:gd name="T12" fmla="*/ 49 w 263"/>
                <a:gd name="T13" fmla="*/ 31 h 164"/>
                <a:gd name="T14" fmla="*/ 35 w 263"/>
                <a:gd name="T15" fmla="*/ 16 h 164"/>
                <a:gd name="T16" fmla="*/ 24 w 263"/>
                <a:gd name="T17" fmla="*/ 10 h 164"/>
                <a:gd name="T18" fmla="*/ 20 w 263"/>
                <a:gd name="T19" fmla="*/ 12 h 164"/>
                <a:gd name="T20" fmla="*/ 35 w 263"/>
                <a:gd name="T21" fmla="*/ 41 h 164"/>
                <a:gd name="T22" fmla="*/ 31 w 263"/>
                <a:gd name="T23" fmla="*/ 45 h 164"/>
                <a:gd name="T24" fmla="*/ 20 w 263"/>
                <a:gd name="T25" fmla="*/ 47 h 164"/>
                <a:gd name="T26" fmla="*/ 14 w 263"/>
                <a:gd name="T27" fmla="*/ 44 h 164"/>
                <a:gd name="T28" fmla="*/ 5 w 263"/>
                <a:gd name="T29" fmla="*/ 60 h 164"/>
                <a:gd name="T30" fmla="*/ 11 w 263"/>
                <a:gd name="T31" fmla="*/ 61 h 164"/>
                <a:gd name="T32" fmla="*/ 13 w 263"/>
                <a:gd name="T33" fmla="*/ 61 h 164"/>
                <a:gd name="T34" fmla="*/ 11 w 263"/>
                <a:gd name="T35" fmla="*/ 71 h 164"/>
                <a:gd name="T36" fmla="*/ 9 w 263"/>
                <a:gd name="T37" fmla="*/ 75 h 164"/>
                <a:gd name="T38" fmla="*/ 23 w 263"/>
                <a:gd name="T39" fmla="*/ 123 h 164"/>
                <a:gd name="T40" fmla="*/ 65 w 263"/>
                <a:gd name="T41" fmla="*/ 101 h 164"/>
                <a:gd name="T42" fmla="*/ 72 w 263"/>
                <a:gd name="T43" fmla="*/ 97 h 164"/>
                <a:gd name="T44" fmla="*/ 84 w 263"/>
                <a:gd name="T45" fmla="*/ 97 h 164"/>
                <a:gd name="T46" fmla="*/ 99 w 263"/>
                <a:gd name="T47" fmla="*/ 106 h 164"/>
                <a:gd name="T48" fmla="*/ 107 w 263"/>
                <a:gd name="T49" fmla="*/ 110 h 164"/>
                <a:gd name="T50" fmla="*/ 111 w 263"/>
                <a:gd name="T51" fmla="*/ 111 h 164"/>
                <a:gd name="T52" fmla="*/ 126 w 263"/>
                <a:gd name="T53" fmla="*/ 113 h 164"/>
                <a:gd name="T54" fmla="*/ 134 w 263"/>
                <a:gd name="T55" fmla="*/ 122 h 164"/>
                <a:gd name="T56" fmla="*/ 146 w 263"/>
                <a:gd name="T57" fmla="*/ 132 h 164"/>
                <a:gd name="T58" fmla="*/ 154 w 263"/>
                <a:gd name="T59" fmla="*/ 132 h 164"/>
                <a:gd name="T60" fmla="*/ 163 w 263"/>
                <a:gd name="T61" fmla="*/ 136 h 164"/>
                <a:gd name="T62" fmla="*/ 165 w 263"/>
                <a:gd name="T63" fmla="*/ 156 h 164"/>
                <a:gd name="T64" fmla="*/ 172 w 263"/>
                <a:gd name="T65" fmla="*/ 158 h 164"/>
                <a:gd name="T66" fmla="*/ 183 w 263"/>
                <a:gd name="T67" fmla="*/ 164 h 164"/>
                <a:gd name="T68" fmla="*/ 196 w 263"/>
                <a:gd name="T69" fmla="*/ 158 h 164"/>
                <a:gd name="T70" fmla="*/ 205 w 263"/>
                <a:gd name="T71" fmla="*/ 149 h 164"/>
                <a:gd name="T72" fmla="*/ 224 w 263"/>
                <a:gd name="T73" fmla="*/ 137 h 164"/>
                <a:gd name="T74" fmla="*/ 239 w 263"/>
                <a:gd name="T75" fmla="*/ 120 h 164"/>
                <a:gd name="T76" fmla="*/ 247 w 263"/>
                <a:gd name="T77" fmla="*/ 114 h 164"/>
                <a:gd name="T78" fmla="*/ 253 w 263"/>
                <a:gd name="T79" fmla="*/ 115 h 164"/>
                <a:gd name="T80" fmla="*/ 259 w 263"/>
                <a:gd name="T81" fmla="*/ 117 h 164"/>
                <a:gd name="T82" fmla="*/ 262 w 263"/>
                <a:gd name="T83" fmla="*/ 115 h 164"/>
                <a:gd name="T84" fmla="*/ 260 w 263"/>
                <a:gd name="T85" fmla="*/ 106 h 164"/>
                <a:gd name="T86" fmla="*/ 248 w 263"/>
                <a:gd name="T87" fmla="*/ 102 h 164"/>
                <a:gd name="T88" fmla="*/ 230 w 263"/>
                <a:gd name="T89" fmla="*/ 92 h 164"/>
                <a:gd name="T90" fmla="*/ 197 w 263"/>
                <a:gd name="T91" fmla="*/ 71 h 164"/>
                <a:gd name="T92" fmla="*/ 185 w 263"/>
                <a:gd name="T93" fmla="*/ 62 h 164"/>
                <a:gd name="T94" fmla="*/ 180 w 263"/>
                <a:gd name="T95" fmla="*/ 53 h 164"/>
                <a:gd name="T96" fmla="*/ 162 w 263"/>
                <a:gd name="T97" fmla="*/ 36 h 164"/>
                <a:gd name="T98" fmla="*/ 148 w 263"/>
                <a:gd name="T99" fmla="*/ 35 h 164"/>
                <a:gd name="T100" fmla="*/ 138 w 263"/>
                <a:gd name="T101" fmla="*/ 26 h 164"/>
                <a:gd name="T102" fmla="*/ 136 w 263"/>
                <a:gd name="T103" fmla="*/ 18 h 164"/>
                <a:gd name="T104" fmla="*/ 132 w 263"/>
                <a:gd name="T105" fmla="*/ 11 h 164"/>
                <a:gd name="T106" fmla="*/ 122 w 263"/>
                <a:gd name="T107" fmla="*/ 7 h 164"/>
                <a:gd name="T108" fmla="*/ 119 w 263"/>
                <a:gd name="T109" fmla="*/ 5 h 1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3" h="164">
                  <a:moveTo>
                    <a:pt x="113" y="0"/>
                  </a:moveTo>
                  <a:cubicBezTo>
                    <a:pt x="112" y="1"/>
                    <a:pt x="112" y="1"/>
                    <a:pt x="112" y="1"/>
                  </a:cubicBezTo>
                  <a:cubicBezTo>
                    <a:pt x="110" y="3"/>
                    <a:pt x="110" y="3"/>
                    <a:pt x="110" y="4"/>
                  </a:cubicBezTo>
                  <a:cubicBezTo>
                    <a:pt x="111" y="5"/>
                    <a:pt x="111" y="6"/>
                    <a:pt x="112" y="6"/>
                  </a:cubicBezTo>
                  <a:cubicBezTo>
                    <a:pt x="122" y="18"/>
                    <a:pt x="122" y="18"/>
                    <a:pt x="122" y="18"/>
                  </a:cubicBezTo>
                  <a:cubicBezTo>
                    <a:pt x="109" y="10"/>
                    <a:pt x="109" y="10"/>
                    <a:pt x="109" y="10"/>
                  </a:cubicBezTo>
                  <a:cubicBezTo>
                    <a:pt x="108" y="10"/>
                    <a:pt x="108" y="9"/>
                    <a:pt x="107" y="8"/>
                  </a:cubicBezTo>
                  <a:cubicBezTo>
                    <a:pt x="107" y="8"/>
                    <a:pt x="107" y="8"/>
                    <a:pt x="107" y="8"/>
                  </a:cubicBezTo>
                  <a:cubicBezTo>
                    <a:pt x="106" y="7"/>
                    <a:pt x="106" y="7"/>
                    <a:pt x="105" y="7"/>
                  </a:cubicBezTo>
                  <a:cubicBezTo>
                    <a:pt x="104" y="7"/>
                    <a:pt x="104" y="7"/>
                    <a:pt x="104" y="7"/>
                  </a:cubicBezTo>
                  <a:cubicBezTo>
                    <a:pt x="104" y="6"/>
                    <a:pt x="103" y="6"/>
                    <a:pt x="103" y="6"/>
                  </a:cubicBezTo>
                  <a:cubicBezTo>
                    <a:pt x="103" y="6"/>
                    <a:pt x="103" y="6"/>
                    <a:pt x="103" y="6"/>
                  </a:cubicBezTo>
                  <a:cubicBezTo>
                    <a:pt x="102" y="7"/>
                    <a:pt x="102" y="7"/>
                    <a:pt x="102" y="8"/>
                  </a:cubicBezTo>
                  <a:cubicBezTo>
                    <a:pt x="102" y="9"/>
                    <a:pt x="101" y="9"/>
                    <a:pt x="101" y="10"/>
                  </a:cubicBezTo>
                  <a:cubicBezTo>
                    <a:pt x="100" y="13"/>
                    <a:pt x="98" y="13"/>
                    <a:pt x="95" y="14"/>
                  </a:cubicBezTo>
                  <a:cubicBezTo>
                    <a:pt x="94" y="14"/>
                    <a:pt x="93" y="14"/>
                    <a:pt x="92" y="15"/>
                  </a:cubicBezTo>
                  <a:cubicBezTo>
                    <a:pt x="91" y="15"/>
                    <a:pt x="89" y="15"/>
                    <a:pt x="88" y="16"/>
                  </a:cubicBezTo>
                  <a:cubicBezTo>
                    <a:pt x="87" y="16"/>
                    <a:pt x="87" y="16"/>
                    <a:pt x="87" y="16"/>
                  </a:cubicBezTo>
                  <a:cubicBezTo>
                    <a:pt x="87" y="16"/>
                    <a:pt x="87" y="16"/>
                    <a:pt x="87" y="16"/>
                  </a:cubicBezTo>
                  <a:cubicBezTo>
                    <a:pt x="86" y="17"/>
                    <a:pt x="86" y="19"/>
                    <a:pt x="85" y="20"/>
                  </a:cubicBezTo>
                  <a:cubicBezTo>
                    <a:pt x="85" y="21"/>
                    <a:pt x="84" y="22"/>
                    <a:pt x="84" y="23"/>
                  </a:cubicBezTo>
                  <a:cubicBezTo>
                    <a:pt x="84" y="23"/>
                    <a:pt x="84" y="23"/>
                    <a:pt x="84" y="23"/>
                  </a:cubicBezTo>
                  <a:cubicBezTo>
                    <a:pt x="84" y="24"/>
                    <a:pt x="84" y="24"/>
                    <a:pt x="84" y="24"/>
                  </a:cubicBezTo>
                  <a:cubicBezTo>
                    <a:pt x="84" y="24"/>
                    <a:pt x="84" y="24"/>
                    <a:pt x="84" y="24"/>
                  </a:cubicBezTo>
                  <a:cubicBezTo>
                    <a:pt x="84" y="25"/>
                    <a:pt x="84" y="25"/>
                    <a:pt x="85" y="26"/>
                  </a:cubicBezTo>
                  <a:cubicBezTo>
                    <a:pt x="85" y="27"/>
                    <a:pt x="85" y="27"/>
                    <a:pt x="85" y="27"/>
                  </a:cubicBezTo>
                  <a:cubicBezTo>
                    <a:pt x="85" y="27"/>
                    <a:pt x="85" y="27"/>
                    <a:pt x="85" y="27"/>
                  </a:cubicBezTo>
                  <a:cubicBezTo>
                    <a:pt x="99" y="29"/>
                    <a:pt x="99" y="29"/>
                    <a:pt x="99" y="29"/>
                  </a:cubicBezTo>
                  <a:cubicBezTo>
                    <a:pt x="86" y="32"/>
                    <a:pt x="86" y="32"/>
                    <a:pt x="86" y="32"/>
                  </a:cubicBezTo>
                  <a:cubicBezTo>
                    <a:pt x="81" y="33"/>
                    <a:pt x="76" y="33"/>
                    <a:pt x="71" y="33"/>
                  </a:cubicBezTo>
                  <a:cubicBezTo>
                    <a:pt x="68" y="33"/>
                    <a:pt x="65" y="33"/>
                    <a:pt x="63" y="33"/>
                  </a:cubicBezTo>
                  <a:cubicBezTo>
                    <a:pt x="62" y="33"/>
                    <a:pt x="62" y="33"/>
                    <a:pt x="62" y="33"/>
                  </a:cubicBezTo>
                  <a:cubicBezTo>
                    <a:pt x="61" y="33"/>
                    <a:pt x="61" y="33"/>
                    <a:pt x="61" y="33"/>
                  </a:cubicBezTo>
                  <a:cubicBezTo>
                    <a:pt x="60" y="33"/>
                    <a:pt x="60" y="33"/>
                    <a:pt x="60" y="33"/>
                  </a:cubicBezTo>
                  <a:cubicBezTo>
                    <a:pt x="60" y="33"/>
                    <a:pt x="60" y="33"/>
                    <a:pt x="60" y="33"/>
                  </a:cubicBezTo>
                  <a:cubicBezTo>
                    <a:pt x="59" y="33"/>
                    <a:pt x="58" y="33"/>
                    <a:pt x="57" y="33"/>
                  </a:cubicBezTo>
                  <a:cubicBezTo>
                    <a:pt x="56" y="33"/>
                    <a:pt x="54" y="34"/>
                    <a:pt x="53" y="34"/>
                  </a:cubicBezTo>
                  <a:cubicBezTo>
                    <a:pt x="53" y="34"/>
                    <a:pt x="53" y="34"/>
                    <a:pt x="53" y="34"/>
                  </a:cubicBezTo>
                  <a:cubicBezTo>
                    <a:pt x="52" y="34"/>
                    <a:pt x="52" y="34"/>
                    <a:pt x="52" y="34"/>
                  </a:cubicBezTo>
                  <a:cubicBezTo>
                    <a:pt x="52" y="34"/>
                    <a:pt x="51" y="33"/>
                    <a:pt x="51" y="33"/>
                  </a:cubicBezTo>
                  <a:cubicBezTo>
                    <a:pt x="50" y="33"/>
                    <a:pt x="50" y="33"/>
                    <a:pt x="50" y="33"/>
                  </a:cubicBezTo>
                  <a:cubicBezTo>
                    <a:pt x="50" y="32"/>
                    <a:pt x="50" y="32"/>
                    <a:pt x="49" y="31"/>
                  </a:cubicBezTo>
                  <a:cubicBezTo>
                    <a:pt x="48" y="30"/>
                    <a:pt x="46" y="28"/>
                    <a:pt x="45" y="27"/>
                  </a:cubicBezTo>
                  <a:cubicBezTo>
                    <a:pt x="45" y="26"/>
                    <a:pt x="45" y="26"/>
                    <a:pt x="45" y="26"/>
                  </a:cubicBezTo>
                  <a:cubicBezTo>
                    <a:pt x="44" y="25"/>
                    <a:pt x="44" y="24"/>
                    <a:pt x="43" y="24"/>
                  </a:cubicBezTo>
                  <a:cubicBezTo>
                    <a:pt x="42" y="23"/>
                    <a:pt x="41" y="22"/>
                    <a:pt x="40" y="20"/>
                  </a:cubicBezTo>
                  <a:cubicBezTo>
                    <a:pt x="39" y="19"/>
                    <a:pt x="39" y="19"/>
                    <a:pt x="39" y="19"/>
                  </a:cubicBezTo>
                  <a:cubicBezTo>
                    <a:pt x="37" y="19"/>
                    <a:pt x="36" y="17"/>
                    <a:pt x="35" y="16"/>
                  </a:cubicBezTo>
                  <a:cubicBezTo>
                    <a:pt x="33" y="14"/>
                    <a:pt x="31" y="12"/>
                    <a:pt x="28" y="11"/>
                  </a:cubicBezTo>
                  <a:cubicBezTo>
                    <a:pt x="28" y="11"/>
                    <a:pt x="28" y="11"/>
                    <a:pt x="28" y="11"/>
                  </a:cubicBezTo>
                  <a:cubicBezTo>
                    <a:pt x="27" y="10"/>
                    <a:pt x="27" y="10"/>
                    <a:pt x="27" y="10"/>
                  </a:cubicBezTo>
                  <a:cubicBezTo>
                    <a:pt x="27" y="10"/>
                    <a:pt x="26" y="10"/>
                    <a:pt x="26" y="10"/>
                  </a:cubicBezTo>
                  <a:cubicBezTo>
                    <a:pt x="26" y="10"/>
                    <a:pt x="26" y="10"/>
                    <a:pt x="25" y="10"/>
                  </a:cubicBezTo>
                  <a:cubicBezTo>
                    <a:pt x="25" y="10"/>
                    <a:pt x="24" y="10"/>
                    <a:pt x="24" y="10"/>
                  </a:cubicBezTo>
                  <a:cubicBezTo>
                    <a:pt x="23" y="10"/>
                    <a:pt x="23" y="10"/>
                    <a:pt x="23" y="10"/>
                  </a:cubicBezTo>
                  <a:cubicBezTo>
                    <a:pt x="21" y="10"/>
                    <a:pt x="19" y="11"/>
                    <a:pt x="17" y="11"/>
                  </a:cubicBezTo>
                  <a:cubicBezTo>
                    <a:pt x="14" y="11"/>
                    <a:pt x="11" y="12"/>
                    <a:pt x="8" y="14"/>
                  </a:cubicBezTo>
                  <a:cubicBezTo>
                    <a:pt x="9" y="13"/>
                    <a:pt x="11" y="13"/>
                    <a:pt x="12" y="13"/>
                  </a:cubicBezTo>
                  <a:cubicBezTo>
                    <a:pt x="14" y="13"/>
                    <a:pt x="16" y="12"/>
                    <a:pt x="18" y="12"/>
                  </a:cubicBezTo>
                  <a:cubicBezTo>
                    <a:pt x="19" y="12"/>
                    <a:pt x="19" y="12"/>
                    <a:pt x="20" y="12"/>
                  </a:cubicBezTo>
                  <a:cubicBezTo>
                    <a:pt x="24" y="13"/>
                    <a:pt x="22" y="15"/>
                    <a:pt x="22" y="18"/>
                  </a:cubicBezTo>
                  <a:cubicBezTo>
                    <a:pt x="23" y="19"/>
                    <a:pt x="25" y="20"/>
                    <a:pt x="25" y="23"/>
                  </a:cubicBezTo>
                  <a:cubicBezTo>
                    <a:pt x="25" y="25"/>
                    <a:pt x="25" y="26"/>
                    <a:pt x="26" y="27"/>
                  </a:cubicBezTo>
                  <a:cubicBezTo>
                    <a:pt x="29" y="30"/>
                    <a:pt x="33" y="32"/>
                    <a:pt x="36" y="34"/>
                  </a:cubicBezTo>
                  <a:cubicBezTo>
                    <a:pt x="38" y="35"/>
                    <a:pt x="40" y="37"/>
                    <a:pt x="39" y="40"/>
                  </a:cubicBezTo>
                  <a:cubicBezTo>
                    <a:pt x="38" y="41"/>
                    <a:pt x="37" y="41"/>
                    <a:pt x="35" y="41"/>
                  </a:cubicBezTo>
                  <a:cubicBezTo>
                    <a:pt x="35" y="41"/>
                    <a:pt x="34" y="41"/>
                    <a:pt x="34" y="41"/>
                  </a:cubicBezTo>
                  <a:cubicBezTo>
                    <a:pt x="33" y="41"/>
                    <a:pt x="33" y="41"/>
                    <a:pt x="32" y="41"/>
                  </a:cubicBezTo>
                  <a:cubicBezTo>
                    <a:pt x="31" y="41"/>
                    <a:pt x="30" y="41"/>
                    <a:pt x="30" y="42"/>
                  </a:cubicBezTo>
                  <a:cubicBezTo>
                    <a:pt x="30" y="44"/>
                    <a:pt x="31" y="45"/>
                    <a:pt x="32" y="45"/>
                  </a:cubicBezTo>
                  <a:cubicBezTo>
                    <a:pt x="32" y="45"/>
                    <a:pt x="32" y="45"/>
                    <a:pt x="32" y="45"/>
                  </a:cubicBezTo>
                  <a:cubicBezTo>
                    <a:pt x="31" y="45"/>
                    <a:pt x="31" y="45"/>
                    <a:pt x="31" y="45"/>
                  </a:cubicBezTo>
                  <a:cubicBezTo>
                    <a:pt x="32" y="45"/>
                    <a:pt x="32" y="45"/>
                    <a:pt x="32" y="45"/>
                  </a:cubicBezTo>
                  <a:cubicBezTo>
                    <a:pt x="31" y="46"/>
                    <a:pt x="30" y="46"/>
                    <a:pt x="29" y="46"/>
                  </a:cubicBezTo>
                  <a:cubicBezTo>
                    <a:pt x="28" y="46"/>
                    <a:pt x="28" y="46"/>
                    <a:pt x="28" y="46"/>
                  </a:cubicBezTo>
                  <a:cubicBezTo>
                    <a:pt x="27" y="46"/>
                    <a:pt x="27" y="46"/>
                    <a:pt x="27" y="46"/>
                  </a:cubicBezTo>
                  <a:cubicBezTo>
                    <a:pt x="25" y="46"/>
                    <a:pt x="24" y="46"/>
                    <a:pt x="23" y="46"/>
                  </a:cubicBezTo>
                  <a:cubicBezTo>
                    <a:pt x="22" y="46"/>
                    <a:pt x="21" y="47"/>
                    <a:pt x="20" y="47"/>
                  </a:cubicBezTo>
                  <a:cubicBezTo>
                    <a:pt x="20" y="47"/>
                    <a:pt x="20" y="47"/>
                    <a:pt x="20" y="47"/>
                  </a:cubicBezTo>
                  <a:cubicBezTo>
                    <a:pt x="18" y="46"/>
                    <a:pt x="19" y="43"/>
                    <a:pt x="18" y="42"/>
                  </a:cubicBezTo>
                  <a:cubicBezTo>
                    <a:pt x="17" y="41"/>
                    <a:pt x="17" y="41"/>
                    <a:pt x="17" y="41"/>
                  </a:cubicBezTo>
                  <a:cubicBezTo>
                    <a:pt x="17" y="41"/>
                    <a:pt x="17" y="42"/>
                    <a:pt x="16" y="43"/>
                  </a:cubicBezTo>
                  <a:cubicBezTo>
                    <a:pt x="15" y="44"/>
                    <a:pt x="15" y="44"/>
                    <a:pt x="14" y="44"/>
                  </a:cubicBezTo>
                  <a:cubicBezTo>
                    <a:pt x="14" y="44"/>
                    <a:pt x="14" y="44"/>
                    <a:pt x="14" y="44"/>
                  </a:cubicBezTo>
                  <a:cubicBezTo>
                    <a:pt x="13" y="44"/>
                    <a:pt x="10" y="44"/>
                    <a:pt x="9" y="43"/>
                  </a:cubicBezTo>
                  <a:cubicBezTo>
                    <a:pt x="6" y="43"/>
                    <a:pt x="5" y="39"/>
                    <a:pt x="4" y="37"/>
                  </a:cubicBezTo>
                  <a:cubicBezTo>
                    <a:pt x="3" y="41"/>
                    <a:pt x="3" y="45"/>
                    <a:pt x="1" y="48"/>
                  </a:cubicBezTo>
                  <a:cubicBezTo>
                    <a:pt x="0" y="49"/>
                    <a:pt x="0" y="52"/>
                    <a:pt x="0" y="53"/>
                  </a:cubicBezTo>
                  <a:cubicBezTo>
                    <a:pt x="0" y="55"/>
                    <a:pt x="1" y="56"/>
                    <a:pt x="1" y="57"/>
                  </a:cubicBezTo>
                  <a:cubicBezTo>
                    <a:pt x="1" y="61"/>
                    <a:pt x="0" y="60"/>
                    <a:pt x="5" y="60"/>
                  </a:cubicBezTo>
                  <a:cubicBezTo>
                    <a:pt x="5" y="60"/>
                    <a:pt x="5" y="60"/>
                    <a:pt x="6" y="60"/>
                  </a:cubicBezTo>
                  <a:cubicBezTo>
                    <a:pt x="6" y="60"/>
                    <a:pt x="6" y="60"/>
                    <a:pt x="7" y="60"/>
                  </a:cubicBezTo>
                  <a:cubicBezTo>
                    <a:pt x="7" y="60"/>
                    <a:pt x="7" y="60"/>
                    <a:pt x="8" y="60"/>
                  </a:cubicBezTo>
                  <a:cubicBezTo>
                    <a:pt x="8" y="60"/>
                    <a:pt x="8" y="60"/>
                    <a:pt x="8" y="60"/>
                  </a:cubicBezTo>
                  <a:cubicBezTo>
                    <a:pt x="9" y="61"/>
                    <a:pt x="9" y="61"/>
                    <a:pt x="10" y="61"/>
                  </a:cubicBezTo>
                  <a:cubicBezTo>
                    <a:pt x="11" y="61"/>
                    <a:pt x="11" y="61"/>
                    <a:pt x="11" y="61"/>
                  </a:cubicBezTo>
                  <a:cubicBezTo>
                    <a:pt x="11" y="61"/>
                    <a:pt x="11" y="61"/>
                    <a:pt x="12" y="61"/>
                  </a:cubicBezTo>
                  <a:cubicBezTo>
                    <a:pt x="12" y="61"/>
                    <a:pt x="12" y="61"/>
                    <a:pt x="12" y="61"/>
                  </a:cubicBezTo>
                  <a:cubicBezTo>
                    <a:pt x="12" y="61"/>
                    <a:pt x="12" y="61"/>
                    <a:pt x="12" y="61"/>
                  </a:cubicBezTo>
                  <a:cubicBezTo>
                    <a:pt x="12" y="61"/>
                    <a:pt x="12" y="61"/>
                    <a:pt x="12" y="61"/>
                  </a:cubicBezTo>
                  <a:cubicBezTo>
                    <a:pt x="12" y="61"/>
                    <a:pt x="13" y="61"/>
                    <a:pt x="13" y="61"/>
                  </a:cubicBezTo>
                  <a:cubicBezTo>
                    <a:pt x="13" y="61"/>
                    <a:pt x="13" y="61"/>
                    <a:pt x="13" y="61"/>
                  </a:cubicBezTo>
                  <a:cubicBezTo>
                    <a:pt x="13" y="61"/>
                    <a:pt x="14" y="61"/>
                    <a:pt x="14" y="61"/>
                  </a:cubicBezTo>
                  <a:cubicBezTo>
                    <a:pt x="14" y="62"/>
                    <a:pt x="13" y="64"/>
                    <a:pt x="13" y="65"/>
                  </a:cubicBezTo>
                  <a:cubicBezTo>
                    <a:pt x="14" y="68"/>
                    <a:pt x="16" y="69"/>
                    <a:pt x="19" y="70"/>
                  </a:cubicBezTo>
                  <a:cubicBezTo>
                    <a:pt x="18" y="71"/>
                    <a:pt x="16" y="71"/>
                    <a:pt x="15" y="72"/>
                  </a:cubicBezTo>
                  <a:cubicBezTo>
                    <a:pt x="15" y="71"/>
                    <a:pt x="15" y="70"/>
                    <a:pt x="15" y="69"/>
                  </a:cubicBezTo>
                  <a:cubicBezTo>
                    <a:pt x="14" y="69"/>
                    <a:pt x="12" y="71"/>
                    <a:pt x="11" y="71"/>
                  </a:cubicBezTo>
                  <a:cubicBezTo>
                    <a:pt x="10" y="71"/>
                    <a:pt x="10" y="71"/>
                    <a:pt x="10" y="71"/>
                  </a:cubicBezTo>
                  <a:cubicBezTo>
                    <a:pt x="9" y="70"/>
                    <a:pt x="11" y="68"/>
                    <a:pt x="11" y="67"/>
                  </a:cubicBezTo>
                  <a:cubicBezTo>
                    <a:pt x="10" y="67"/>
                    <a:pt x="8" y="71"/>
                    <a:pt x="8" y="72"/>
                  </a:cubicBezTo>
                  <a:cubicBezTo>
                    <a:pt x="7" y="74"/>
                    <a:pt x="8" y="76"/>
                    <a:pt x="9" y="78"/>
                  </a:cubicBezTo>
                  <a:cubicBezTo>
                    <a:pt x="9" y="77"/>
                    <a:pt x="9" y="75"/>
                    <a:pt x="9" y="75"/>
                  </a:cubicBezTo>
                  <a:cubicBezTo>
                    <a:pt x="9" y="75"/>
                    <a:pt x="9" y="75"/>
                    <a:pt x="9" y="75"/>
                  </a:cubicBezTo>
                  <a:cubicBezTo>
                    <a:pt x="14" y="75"/>
                    <a:pt x="17" y="79"/>
                    <a:pt x="21" y="82"/>
                  </a:cubicBezTo>
                  <a:cubicBezTo>
                    <a:pt x="23" y="84"/>
                    <a:pt x="24" y="84"/>
                    <a:pt x="23" y="86"/>
                  </a:cubicBezTo>
                  <a:cubicBezTo>
                    <a:pt x="22" y="88"/>
                    <a:pt x="22" y="90"/>
                    <a:pt x="21" y="92"/>
                  </a:cubicBezTo>
                  <a:cubicBezTo>
                    <a:pt x="20" y="98"/>
                    <a:pt x="20" y="105"/>
                    <a:pt x="21" y="111"/>
                  </a:cubicBezTo>
                  <a:cubicBezTo>
                    <a:pt x="22" y="113"/>
                    <a:pt x="22" y="119"/>
                    <a:pt x="23" y="119"/>
                  </a:cubicBezTo>
                  <a:cubicBezTo>
                    <a:pt x="23" y="121"/>
                    <a:pt x="23" y="122"/>
                    <a:pt x="23" y="123"/>
                  </a:cubicBezTo>
                  <a:cubicBezTo>
                    <a:pt x="24" y="125"/>
                    <a:pt x="24" y="126"/>
                    <a:pt x="24" y="127"/>
                  </a:cubicBezTo>
                  <a:cubicBezTo>
                    <a:pt x="48" y="103"/>
                    <a:pt x="48" y="103"/>
                    <a:pt x="48" y="103"/>
                  </a:cubicBezTo>
                  <a:cubicBezTo>
                    <a:pt x="51" y="102"/>
                    <a:pt x="54" y="101"/>
                    <a:pt x="59" y="101"/>
                  </a:cubicBezTo>
                  <a:cubicBezTo>
                    <a:pt x="59" y="101"/>
                    <a:pt x="60" y="101"/>
                    <a:pt x="60" y="101"/>
                  </a:cubicBezTo>
                  <a:cubicBezTo>
                    <a:pt x="62" y="101"/>
                    <a:pt x="63" y="101"/>
                    <a:pt x="64" y="101"/>
                  </a:cubicBezTo>
                  <a:cubicBezTo>
                    <a:pt x="65" y="101"/>
                    <a:pt x="65" y="101"/>
                    <a:pt x="65" y="101"/>
                  </a:cubicBezTo>
                  <a:cubicBezTo>
                    <a:pt x="66" y="101"/>
                    <a:pt x="66" y="101"/>
                    <a:pt x="66" y="101"/>
                  </a:cubicBezTo>
                  <a:cubicBezTo>
                    <a:pt x="66" y="101"/>
                    <a:pt x="66" y="101"/>
                    <a:pt x="68" y="99"/>
                  </a:cubicBezTo>
                  <a:cubicBezTo>
                    <a:pt x="69" y="98"/>
                    <a:pt x="69" y="98"/>
                    <a:pt x="69" y="98"/>
                  </a:cubicBezTo>
                  <a:cubicBezTo>
                    <a:pt x="70" y="98"/>
                    <a:pt x="70" y="98"/>
                    <a:pt x="70" y="98"/>
                  </a:cubicBezTo>
                  <a:cubicBezTo>
                    <a:pt x="70" y="97"/>
                    <a:pt x="71" y="97"/>
                    <a:pt x="71" y="97"/>
                  </a:cubicBezTo>
                  <a:cubicBezTo>
                    <a:pt x="72" y="97"/>
                    <a:pt x="72" y="97"/>
                    <a:pt x="72" y="97"/>
                  </a:cubicBezTo>
                  <a:cubicBezTo>
                    <a:pt x="73" y="97"/>
                    <a:pt x="74" y="97"/>
                    <a:pt x="76" y="97"/>
                  </a:cubicBezTo>
                  <a:cubicBezTo>
                    <a:pt x="76" y="97"/>
                    <a:pt x="76" y="97"/>
                    <a:pt x="77" y="97"/>
                  </a:cubicBezTo>
                  <a:cubicBezTo>
                    <a:pt x="78" y="97"/>
                    <a:pt x="78" y="97"/>
                    <a:pt x="78" y="97"/>
                  </a:cubicBezTo>
                  <a:cubicBezTo>
                    <a:pt x="79" y="97"/>
                    <a:pt x="80" y="97"/>
                    <a:pt x="81" y="97"/>
                  </a:cubicBezTo>
                  <a:cubicBezTo>
                    <a:pt x="82" y="97"/>
                    <a:pt x="82" y="97"/>
                    <a:pt x="82" y="97"/>
                  </a:cubicBezTo>
                  <a:cubicBezTo>
                    <a:pt x="83" y="97"/>
                    <a:pt x="84" y="97"/>
                    <a:pt x="84" y="97"/>
                  </a:cubicBezTo>
                  <a:cubicBezTo>
                    <a:pt x="88" y="97"/>
                    <a:pt x="89" y="100"/>
                    <a:pt x="90" y="102"/>
                  </a:cubicBezTo>
                  <a:cubicBezTo>
                    <a:pt x="90" y="102"/>
                    <a:pt x="90" y="102"/>
                    <a:pt x="90" y="102"/>
                  </a:cubicBezTo>
                  <a:cubicBezTo>
                    <a:pt x="91" y="104"/>
                    <a:pt x="91" y="104"/>
                    <a:pt x="91" y="104"/>
                  </a:cubicBezTo>
                  <a:cubicBezTo>
                    <a:pt x="93" y="104"/>
                    <a:pt x="95" y="105"/>
                    <a:pt x="96" y="105"/>
                  </a:cubicBezTo>
                  <a:cubicBezTo>
                    <a:pt x="97" y="105"/>
                    <a:pt x="97" y="105"/>
                    <a:pt x="98" y="105"/>
                  </a:cubicBezTo>
                  <a:cubicBezTo>
                    <a:pt x="99" y="106"/>
                    <a:pt x="99" y="106"/>
                    <a:pt x="99" y="106"/>
                  </a:cubicBezTo>
                  <a:cubicBezTo>
                    <a:pt x="100" y="106"/>
                    <a:pt x="100" y="106"/>
                    <a:pt x="100" y="106"/>
                  </a:cubicBezTo>
                  <a:cubicBezTo>
                    <a:pt x="101" y="106"/>
                    <a:pt x="102" y="107"/>
                    <a:pt x="103" y="108"/>
                  </a:cubicBezTo>
                  <a:cubicBezTo>
                    <a:pt x="104" y="109"/>
                    <a:pt x="104" y="109"/>
                    <a:pt x="104" y="109"/>
                  </a:cubicBezTo>
                  <a:cubicBezTo>
                    <a:pt x="105" y="109"/>
                    <a:pt x="105" y="109"/>
                    <a:pt x="105" y="110"/>
                  </a:cubicBezTo>
                  <a:cubicBezTo>
                    <a:pt x="106" y="110"/>
                    <a:pt x="106" y="110"/>
                    <a:pt x="106" y="110"/>
                  </a:cubicBezTo>
                  <a:cubicBezTo>
                    <a:pt x="107" y="110"/>
                    <a:pt x="107" y="110"/>
                    <a:pt x="107" y="110"/>
                  </a:cubicBezTo>
                  <a:cubicBezTo>
                    <a:pt x="107" y="110"/>
                    <a:pt x="107" y="110"/>
                    <a:pt x="107" y="111"/>
                  </a:cubicBezTo>
                  <a:cubicBezTo>
                    <a:pt x="108" y="111"/>
                    <a:pt x="108" y="111"/>
                    <a:pt x="108" y="111"/>
                  </a:cubicBezTo>
                  <a:cubicBezTo>
                    <a:pt x="109" y="111"/>
                    <a:pt x="109" y="111"/>
                    <a:pt x="109" y="111"/>
                  </a:cubicBezTo>
                  <a:cubicBezTo>
                    <a:pt x="109" y="111"/>
                    <a:pt x="109" y="111"/>
                    <a:pt x="109" y="111"/>
                  </a:cubicBezTo>
                  <a:cubicBezTo>
                    <a:pt x="110" y="110"/>
                    <a:pt x="110" y="110"/>
                    <a:pt x="110" y="110"/>
                  </a:cubicBezTo>
                  <a:cubicBezTo>
                    <a:pt x="110" y="110"/>
                    <a:pt x="111" y="110"/>
                    <a:pt x="111" y="111"/>
                  </a:cubicBezTo>
                  <a:cubicBezTo>
                    <a:pt x="115" y="111"/>
                    <a:pt x="115" y="111"/>
                    <a:pt x="115" y="111"/>
                  </a:cubicBezTo>
                  <a:cubicBezTo>
                    <a:pt x="116" y="111"/>
                    <a:pt x="116" y="111"/>
                    <a:pt x="117" y="111"/>
                  </a:cubicBezTo>
                  <a:cubicBezTo>
                    <a:pt x="119" y="111"/>
                    <a:pt x="122" y="111"/>
                    <a:pt x="124" y="112"/>
                  </a:cubicBezTo>
                  <a:cubicBezTo>
                    <a:pt x="125" y="112"/>
                    <a:pt x="125" y="112"/>
                    <a:pt x="125" y="112"/>
                  </a:cubicBezTo>
                  <a:cubicBezTo>
                    <a:pt x="125" y="112"/>
                    <a:pt x="125" y="112"/>
                    <a:pt x="125" y="112"/>
                  </a:cubicBezTo>
                  <a:cubicBezTo>
                    <a:pt x="126" y="113"/>
                    <a:pt x="126" y="113"/>
                    <a:pt x="126" y="113"/>
                  </a:cubicBezTo>
                  <a:cubicBezTo>
                    <a:pt x="127" y="113"/>
                    <a:pt x="128" y="114"/>
                    <a:pt x="129" y="115"/>
                  </a:cubicBezTo>
                  <a:cubicBezTo>
                    <a:pt x="129" y="116"/>
                    <a:pt x="129" y="116"/>
                    <a:pt x="129" y="116"/>
                  </a:cubicBezTo>
                  <a:cubicBezTo>
                    <a:pt x="130" y="117"/>
                    <a:pt x="131" y="118"/>
                    <a:pt x="132" y="120"/>
                  </a:cubicBezTo>
                  <a:cubicBezTo>
                    <a:pt x="132" y="121"/>
                    <a:pt x="132" y="121"/>
                    <a:pt x="132" y="121"/>
                  </a:cubicBezTo>
                  <a:cubicBezTo>
                    <a:pt x="132" y="121"/>
                    <a:pt x="133" y="122"/>
                    <a:pt x="133" y="122"/>
                  </a:cubicBezTo>
                  <a:cubicBezTo>
                    <a:pt x="134" y="122"/>
                    <a:pt x="134" y="122"/>
                    <a:pt x="134" y="122"/>
                  </a:cubicBezTo>
                  <a:cubicBezTo>
                    <a:pt x="136" y="123"/>
                    <a:pt x="138" y="123"/>
                    <a:pt x="140" y="124"/>
                  </a:cubicBezTo>
                  <a:cubicBezTo>
                    <a:pt x="141" y="125"/>
                    <a:pt x="142" y="125"/>
                    <a:pt x="142" y="126"/>
                  </a:cubicBezTo>
                  <a:cubicBezTo>
                    <a:pt x="142" y="127"/>
                    <a:pt x="142" y="127"/>
                    <a:pt x="142" y="127"/>
                  </a:cubicBezTo>
                  <a:cubicBezTo>
                    <a:pt x="143" y="128"/>
                    <a:pt x="144" y="128"/>
                    <a:pt x="144" y="129"/>
                  </a:cubicBezTo>
                  <a:cubicBezTo>
                    <a:pt x="145" y="130"/>
                    <a:pt x="145" y="130"/>
                    <a:pt x="145" y="130"/>
                  </a:cubicBezTo>
                  <a:cubicBezTo>
                    <a:pt x="146" y="131"/>
                    <a:pt x="146" y="132"/>
                    <a:pt x="146" y="132"/>
                  </a:cubicBezTo>
                  <a:cubicBezTo>
                    <a:pt x="146" y="132"/>
                    <a:pt x="146" y="132"/>
                    <a:pt x="146" y="132"/>
                  </a:cubicBezTo>
                  <a:cubicBezTo>
                    <a:pt x="147" y="132"/>
                    <a:pt x="147" y="132"/>
                    <a:pt x="148" y="132"/>
                  </a:cubicBezTo>
                  <a:cubicBezTo>
                    <a:pt x="149" y="132"/>
                    <a:pt x="149" y="132"/>
                    <a:pt x="149" y="132"/>
                  </a:cubicBezTo>
                  <a:cubicBezTo>
                    <a:pt x="150" y="132"/>
                    <a:pt x="151" y="132"/>
                    <a:pt x="152" y="132"/>
                  </a:cubicBezTo>
                  <a:cubicBezTo>
                    <a:pt x="153" y="132"/>
                    <a:pt x="153" y="132"/>
                    <a:pt x="153" y="132"/>
                  </a:cubicBezTo>
                  <a:cubicBezTo>
                    <a:pt x="153" y="132"/>
                    <a:pt x="154" y="132"/>
                    <a:pt x="154" y="132"/>
                  </a:cubicBezTo>
                  <a:cubicBezTo>
                    <a:pt x="155" y="132"/>
                    <a:pt x="155" y="132"/>
                    <a:pt x="156" y="132"/>
                  </a:cubicBezTo>
                  <a:cubicBezTo>
                    <a:pt x="157" y="132"/>
                    <a:pt x="158" y="132"/>
                    <a:pt x="160" y="132"/>
                  </a:cubicBezTo>
                  <a:cubicBezTo>
                    <a:pt x="160" y="132"/>
                    <a:pt x="160" y="132"/>
                    <a:pt x="160" y="132"/>
                  </a:cubicBezTo>
                  <a:cubicBezTo>
                    <a:pt x="161" y="132"/>
                    <a:pt x="162" y="133"/>
                    <a:pt x="162" y="133"/>
                  </a:cubicBezTo>
                  <a:cubicBezTo>
                    <a:pt x="163" y="134"/>
                    <a:pt x="163" y="134"/>
                    <a:pt x="163" y="135"/>
                  </a:cubicBezTo>
                  <a:cubicBezTo>
                    <a:pt x="163" y="136"/>
                    <a:pt x="163" y="136"/>
                    <a:pt x="163" y="136"/>
                  </a:cubicBezTo>
                  <a:cubicBezTo>
                    <a:pt x="164" y="138"/>
                    <a:pt x="164" y="140"/>
                    <a:pt x="164" y="142"/>
                  </a:cubicBezTo>
                  <a:cubicBezTo>
                    <a:pt x="164" y="143"/>
                    <a:pt x="163" y="144"/>
                    <a:pt x="164" y="144"/>
                  </a:cubicBezTo>
                  <a:cubicBezTo>
                    <a:pt x="164" y="145"/>
                    <a:pt x="164" y="145"/>
                    <a:pt x="164" y="145"/>
                  </a:cubicBezTo>
                  <a:cubicBezTo>
                    <a:pt x="164" y="147"/>
                    <a:pt x="164" y="149"/>
                    <a:pt x="164" y="151"/>
                  </a:cubicBezTo>
                  <a:cubicBezTo>
                    <a:pt x="165" y="154"/>
                    <a:pt x="165" y="154"/>
                    <a:pt x="165" y="154"/>
                  </a:cubicBezTo>
                  <a:cubicBezTo>
                    <a:pt x="165" y="154"/>
                    <a:pt x="165" y="155"/>
                    <a:pt x="165" y="156"/>
                  </a:cubicBezTo>
                  <a:cubicBezTo>
                    <a:pt x="166" y="156"/>
                    <a:pt x="166" y="156"/>
                    <a:pt x="166" y="156"/>
                  </a:cubicBezTo>
                  <a:cubicBezTo>
                    <a:pt x="166" y="156"/>
                    <a:pt x="166" y="156"/>
                    <a:pt x="166" y="156"/>
                  </a:cubicBezTo>
                  <a:cubicBezTo>
                    <a:pt x="168" y="157"/>
                    <a:pt x="168" y="157"/>
                    <a:pt x="168" y="157"/>
                  </a:cubicBezTo>
                  <a:cubicBezTo>
                    <a:pt x="168" y="157"/>
                    <a:pt x="168" y="157"/>
                    <a:pt x="168" y="157"/>
                  </a:cubicBezTo>
                  <a:cubicBezTo>
                    <a:pt x="169" y="157"/>
                    <a:pt x="171" y="157"/>
                    <a:pt x="172" y="158"/>
                  </a:cubicBezTo>
                  <a:cubicBezTo>
                    <a:pt x="172" y="158"/>
                    <a:pt x="172" y="158"/>
                    <a:pt x="172" y="158"/>
                  </a:cubicBezTo>
                  <a:cubicBezTo>
                    <a:pt x="173" y="158"/>
                    <a:pt x="174" y="158"/>
                    <a:pt x="174" y="158"/>
                  </a:cubicBezTo>
                  <a:cubicBezTo>
                    <a:pt x="176" y="159"/>
                    <a:pt x="177" y="159"/>
                    <a:pt x="179" y="160"/>
                  </a:cubicBezTo>
                  <a:cubicBezTo>
                    <a:pt x="179" y="161"/>
                    <a:pt x="179" y="161"/>
                    <a:pt x="180" y="161"/>
                  </a:cubicBezTo>
                  <a:cubicBezTo>
                    <a:pt x="181" y="163"/>
                    <a:pt x="181" y="163"/>
                    <a:pt x="181" y="163"/>
                  </a:cubicBezTo>
                  <a:cubicBezTo>
                    <a:pt x="182" y="163"/>
                    <a:pt x="182" y="164"/>
                    <a:pt x="182" y="164"/>
                  </a:cubicBezTo>
                  <a:cubicBezTo>
                    <a:pt x="183" y="164"/>
                    <a:pt x="183" y="164"/>
                    <a:pt x="183" y="164"/>
                  </a:cubicBezTo>
                  <a:cubicBezTo>
                    <a:pt x="183" y="164"/>
                    <a:pt x="183" y="164"/>
                    <a:pt x="183" y="164"/>
                  </a:cubicBezTo>
                  <a:cubicBezTo>
                    <a:pt x="185" y="162"/>
                    <a:pt x="187" y="162"/>
                    <a:pt x="189" y="162"/>
                  </a:cubicBezTo>
                  <a:cubicBezTo>
                    <a:pt x="190" y="162"/>
                    <a:pt x="190" y="162"/>
                    <a:pt x="190" y="162"/>
                  </a:cubicBezTo>
                  <a:cubicBezTo>
                    <a:pt x="191" y="162"/>
                    <a:pt x="191" y="162"/>
                    <a:pt x="191" y="162"/>
                  </a:cubicBezTo>
                  <a:cubicBezTo>
                    <a:pt x="192" y="161"/>
                    <a:pt x="192" y="161"/>
                    <a:pt x="192" y="161"/>
                  </a:cubicBezTo>
                  <a:cubicBezTo>
                    <a:pt x="193" y="161"/>
                    <a:pt x="194" y="160"/>
                    <a:pt x="196" y="158"/>
                  </a:cubicBezTo>
                  <a:cubicBezTo>
                    <a:pt x="196" y="157"/>
                    <a:pt x="196" y="157"/>
                    <a:pt x="196" y="157"/>
                  </a:cubicBezTo>
                  <a:cubicBezTo>
                    <a:pt x="197" y="157"/>
                    <a:pt x="197" y="156"/>
                    <a:pt x="198" y="155"/>
                  </a:cubicBezTo>
                  <a:cubicBezTo>
                    <a:pt x="197" y="154"/>
                    <a:pt x="197" y="154"/>
                    <a:pt x="197" y="154"/>
                  </a:cubicBezTo>
                  <a:cubicBezTo>
                    <a:pt x="201" y="150"/>
                    <a:pt x="201" y="150"/>
                    <a:pt x="201" y="150"/>
                  </a:cubicBezTo>
                  <a:cubicBezTo>
                    <a:pt x="202" y="149"/>
                    <a:pt x="202" y="149"/>
                    <a:pt x="202" y="149"/>
                  </a:cubicBezTo>
                  <a:cubicBezTo>
                    <a:pt x="203" y="149"/>
                    <a:pt x="204" y="149"/>
                    <a:pt x="205" y="149"/>
                  </a:cubicBezTo>
                  <a:cubicBezTo>
                    <a:pt x="206" y="148"/>
                    <a:pt x="207" y="148"/>
                    <a:pt x="208" y="148"/>
                  </a:cubicBezTo>
                  <a:cubicBezTo>
                    <a:pt x="212" y="146"/>
                    <a:pt x="212" y="146"/>
                    <a:pt x="212" y="146"/>
                  </a:cubicBezTo>
                  <a:cubicBezTo>
                    <a:pt x="214" y="146"/>
                    <a:pt x="216" y="145"/>
                    <a:pt x="217" y="144"/>
                  </a:cubicBezTo>
                  <a:cubicBezTo>
                    <a:pt x="220" y="143"/>
                    <a:pt x="221" y="142"/>
                    <a:pt x="223" y="141"/>
                  </a:cubicBezTo>
                  <a:cubicBezTo>
                    <a:pt x="223" y="140"/>
                    <a:pt x="223" y="140"/>
                    <a:pt x="223" y="140"/>
                  </a:cubicBezTo>
                  <a:cubicBezTo>
                    <a:pt x="224" y="139"/>
                    <a:pt x="224" y="139"/>
                    <a:pt x="224" y="137"/>
                  </a:cubicBezTo>
                  <a:cubicBezTo>
                    <a:pt x="224" y="136"/>
                    <a:pt x="224" y="136"/>
                    <a:pt x="224" y="135"/>
                  </a:cubicBezTo>
                  <a:cubicBezTo>
                    <a:pt x="225" y="134"/>
                    <a:pt x="225" y="134"/>
                    <a:pt x="225" y="134"/>
                  </a:cubicBezTo>
                  <a:cubicBezTo>
                    <a:pt x="225" y="134"/>
                    <a:pt x="225" y="133"/>
                    <a:pt x="225" y="133"/>
                  </a:cubicBezTo>
                  <a:cubicBezTo>
                    <a:pt x="225" y="132"/>
                    <a:pt x="225" y="132"/>
                    <a:pt x="225" y="132"/>
                  </a:cubicBezTo>
                  <a:cubicBezTo>
                    <a:pt x="238" y="120"/>
                    <a:pt x="238" y="120"/>
                    <a:pt x="238" y="120"/>
                  </a:cubicBezTo>
                  <a:cubicBezTo>
                    <a:pt x="239" y="120"/>
                    <a:pt x="239" y="120"/>
                    <a:pt x="239" y="120"/>
                  </a:cubicBezTo>
                  <a:cubicBezTo>
                    <a:pt x="240" y="120"/>
                    <a:pt x="240" y="120"/>
                    <a:pt x="241" y="120"/>
                  </a:cubicBezTo>
                  <a:cubicBezTo>
                    <a:pt x="241" y="120"/>
                    <a:pt x="241" y="120"/>
                    <a:pt x="241" y="120"/>
                  </a:cubicBezTo>
                  <a:cubicBezTo>
                    <a:pt x="242" y="120"/>
                    <a:pt x="242" y="120"/>
                    <a:pt x="242" y="120"/>
                  </a:cubicBezTo>
                  <a:cubicBezTo>
                    <a:pt x="243" y="119"/>
                    <a:pt x="244" y="117"/>
                    <a:pt x="245" y="116"/>
                  </a:cubicBezTo>
                  <a:cubicBezTo>
                    <a:pt x="246" y="115"/>
                    <a:pt x="246" y="115"/>
                    <a:pt x="246" y="115"/>
                  </a:cubicBezTo>
                  <a:cubicBezTo>
                    <a:pt x="247" y="114"/>
                    <a:pt x="247" y="114"/>
                    <a:pt x="247" y="114"/>
                  </a:cubicBezTo>
                  <a:cubicBezTo>
                    <a:pt x="248" y="113"/>
                    <a:pt x="248" y="113"/>
                    <a:pt x="248" y="113"/>
                  </a:cubicBezTo>
                  <a:cubicBezTo>
                    <a:pt x="249" y="113"/>
                    <a:pt x="249" y="113"/>
                    <a:pt x="249" y="113"/>
                  </a:cubicBezTo>
                  <a:cubicBezTo>
                    <a:pt x="249" y="113"/>
                    <a:pt x="249" y="113"/>
                    <a:pt x="249" y="113"/>
                  </a:cubicBezTo>
                  <a:cubicBezTo>
                    <a:pt x="250" y="113"/>
                    <a:pt x="250" y="113"/>
                    <a:pt x="250" y="113"/>
                  </a:cubicBezTo>
                  <a:cubicBezTo>
                    <a:pt x="251" y="114"/>
                    <a:pt x="252" y="114"/>
                    <a:pt x="253" y="114"/>
                  </a:cubicBezTo>
                  <a:cubicBezTo>
                    <a:pt x="253" y="115"/>
                    <a:pt x="253" y="115"/>
                    <a:pt x="253" y="115"/>
                  </a:cubicBezTo>
                  <a:cubicBezTo>
                    <a:pt x="254" y="115"/>
                    <a:pt x="254" y="115"/>
                    <a:pt x="254" y="115"/>
                  </a:cubicBezTo>
                  <a:cubicBezTo>
                    <a:pt x="255" y="115"/>
                    <a:pt x="255" y="116"/>
                    <a:pt x="255" y="116"/>
                  </a:cubicBezTo>
                  <a:cubicBezTo>
                    <a:pt x="257" y="116"/>
                    <a:pt x="257" y="116"/>
                    <a:pt x="257" y="116"/>
                  </a:cubicBezTo>
                  <a:cubicBezTo>
                    <a:pt x="257" y="117"/>
                    <a:pt x="258" y="117"/>
                    <a:pt x="258" y="117"/>
                  </a:cubicBezTo>
                  <a:cubicBezTo>
                    <a:pt x="259" y="117"/>
                    <a:pt x="259" y="117"/>
                    <a:pt x="259" y="117"/>
                  </a:cubicBezTo>
                  <a:cubicBezTo>
                    <a:pt x="259" y="117"/>
                    <a:pt x="259" y="117"/>
                    <a:pt x="259" y="117"/>
                  </a:cubicBezTo>
                  <a:cubicBezTo>
                    <a:pt x="260" y="117"/>
                    <a:pt x="260" y="117"/>
                    <a:pt x="260" y="117"/>
                  </a:cubicBezTo>
                  <a:cubicBezTo>
                    <a:pt x="261" y="117"/>
                    <a:pt x="261" y="117"/>
                    <a:pt x="261" y="117"/>
                  </a:cubicBezTo>
                  <a:cubicBezTo>
                    <a:pt x="261" y="117"/>
                    <a:pt x="261" y="117"/>
                    <a:pt x="261" y="117"/>
                  </a:cubicBezTo>
                  <a:cubicBezTo>
                    <a:pt x="261" y="117"/>
                    <a:pt x="261" y="117"/>
                    <a:pt x="261" y="117"/>
                  </a:cubicBezTo>
                  <a:cubicBezTo>
                    <a:pt x="262" y="116"/>
                    <a:pt x="262" y="116"/>
                    <a:pt x="262" y="115"/>
                  </a:cubicBezTo>
                  <a:cubicBezTo>
                    <a:pt x="262" y="115"/>
                    <a:pt x="262" y="115"/>
                    <a:pt x="262" y="115"/>
                  </a:cubicBezTo>
                  <a:cubicBezTo>
                    <a:pt x="262" y="114"/>
                    <a:pt x="262" y="114"/>
                    <a:pt x="262" y="114"/>
                  </a:cubicBezTo>
                  <a:cubicBezTo>
                    <a:pt x="263" y="111"/>
                    <a:pt x="263" y="111"/>
                    <a:pt x="263" y="111"/>
                  </a:cubicBezTo>
                  <a:cubicBezTo>
                    <a:pt x="263" y="110"/>
                    <a:pt x="263" y="110"/>
                    <a:pt x="263" y="109"/>
                  </a:cubicBezTo>
                  <a:cubicBezTo>
                    <a:pt x="263" y="108"/>
                    <a:pt x="263" y="108"/>
                    <a:pt x="263" y="108"/>
                  </a:cubicBezTo>
                  <a:cubicBezTo>
                    <a:pt x="263" y="108"/>
                    <a:pt x="263" y="107"/>
                    <a:pt x="263" y="107"/>
                  </a:cubicBezTo>
                  <a:cubicBezTo>
                    <a:pt x="260" y="106"/>
                    <a:pt x="260" y="106"/>
                    <a:pt x="260" y="106"/>
                  </a:cubicBezTo>
                  <a:cubicBezTo>
                    <a:pt x="259" y="105"/>
                    <a:pt x="258" y="104"/>
                    <a:pt x="256" y="103"/>
                  </a:cubicBezTo>
                  <a:cubicBezTo>
                    <a:pt x="255" y="103"/>
                    <a:pt x="255" y="103"/>
                    <a:pt x="255" y="103"/>
                  </a:cubicBezTo>
                  <a:cubicBezTo>
                    <a:pt x="252" y="101"/>
                    <a:pt x="252" y="101"/>
                    <a:pt x="251" y="101"/>
                  </a:cubicBezTo>
                  <a:cubicBezTo>
                    <a:pt x="251" y="101"/>
                    <a:pt x="251" y="101"/>
                    <a:pt x="251" y="101"/>
                  </a:cubicBezTo>
                  <a:cubicBezTo>
                    <a:pt x="250" y="102"/>
                    <a:pt x="250" y="102"/>
                    <a:pt x="249" y="102"/>
                  </a:cubicBezTo>
                  <a:cubicBezTo>
                    <a:pt x="249" y="102"/>
                    <a:pt x="248" y="102"/>
                    <a:pt x="248" y="102"/>
                  </a:cubicBezTo>
                  <a:cubicBezTo>
                    <a:pt x="245" y="102"/>
                    <a:pt x="244" y="101"/>
                    <a:pt x="242" y="100"/>
                  </a:cubicBezTo>
                  <a:cubicBezTo>
                    <a:pt x="241" y="99"/>
                    <a:pt x="241" y="99"/>
                    <a:pt x="241" y="99"/>
                  </a:cubicBezTo>
                  <a:cubicBezTo>
                    <a:pt x="240" y="99"/>
                    <a:pt x="240" y="98"/>
                    <a:pt x="239" y="98"/>
                  </a:cubicBezTo>
                  <a:cubicBezTo>
                    <a:pt x="237" y="97"/>
                    <a:pt x="236" y="96"/>
                    <a:pt x="234" y="94"/>
                  </a:cubicBezTo>
                  <a:cubicBezTo>
                    <a:pt x="234" y="94"/>
                    <a:pt x="233" y="94"/>
                    <a:pt x="232" y="94"/>
                  </a:cubicBezTo>
                  <a:cubicBezTo>
                    <a:pt x="232" y="93"/>
                    <a:pt x="231" y="93"/>
                    <a:pt x="230" y="92"/>
                  </a:cubicBezTo>
                  <a:cubicBezTo>
                    <a:pt x="227" y="91"/>
                    <a:pt x="225" y="89"/>
                    <a:pt x="222" y="87"/>
                  </a:cubicBezTo>
                  <a:cubicBezTo>
                    <a:pt x="219" y="84"/>
                    <a:pt x="215" y="83"/>
                    <a:pt x="212" y="81"/>
                  </a:cubicBezTo>
                  <a:cubicBezTo>
                    <a:pt x="210" y="80"/>
                    <a:pt x="210" y="80"/>
                    <a:pt x="210" y="80"/>
                  </a:cubicBezTo>
                  <a:cubicBezTo>
                    <a:pt x="209" y="79"/>
                    <a:pt x="208" y="79"/>
                    <a:pt x="207" y="79"/>
                  </a:cubicBezTo>
                  <a:cubicBezTo>
                    <a:pt x="204" y="77"/>
                    <a:pt x="201" y="74"/>
                    <a:pt x="198" y="72"/>
                  </a:cubicBezTo>
                  <a:cubicBezTo>
                    <a:pt x="197" y="71"/>
                    <a:pt x="197" y="71"/>
                    <a:pt x="197" y="71"/>
                  </a:cubicBezTo>
                  <a:cubicBezTo>
                    <a:pt x="196" y="71"/>
                    <a:pt x="195" y="70"/>
                    <a:pt x="194" y="70"/>
                  </a:cubicBezTo>
                  <a:cubicBezTo>
                    <a:pt x="191" y="67"/>
                    <a:pt x="191" y="67"/>
                    <a:pt x="191" y="67"/>
                  </a:cubicBezTo>
                  <a:cubicBezTo>
                    <a:pt x="191" y="67"/>
                    <a:pt x="190" y="67"/>
                    <a:pt x="190" y="66"/>
                  </a:cubicBezTo>
                  <a:cubicBezTo>
                    <a:pt x="189" y="66"/>
                    <a:pt x="189" y="66"/>
                    <a:pt x="189" y="66"/>
                  </a:cubicBezTo>
                  <a:cubicBezTo>
                    <a:pt x="188" y="65"/>
                    <a:pt x="186" y="64"/>
                    <a:pt x="185" y="63"/>
                  </a:cubicBezTo>
                  <a:cubicBezTo>
                    <a:pt x="185" y="62"/>
                    <a:pt x="185" y="62"/>
                    <a:pt x="185" y="62"/>
                  </a:cubicBezTo>
                  <a:cubicBezTo>
                    <a:pt x="184" y="62"/>
                    <a:pt x="184" y="62"/>
                    <a:pt x="184" y="62"/>
                  </a:cubicBezTo>
                  <a:cubicBezTo>
                    <a:pt x="184" y="61"/>
                    <a:pt x="184" y="61"/>
                    <a:pt x="184" y="61"/>
                  </a:cubicBezTo>
                  <a:cubicBezTo>
                    <a:pt x="183" y="60"/>
                    <a:pt x="183" y="58"/>
                    <a:pt x="183" y="57"/>
                  </a:cubicBezTo>
                  <a:cubicBezTo>
                    <a:pt x="183" y="57"/>
                    <a:pt x="182" y="56"/>
                    <a:pt x="182" y="55"/>
                  </a:cubicBezTo>
                  <a:cubicBezTo>
                    <a:pt x="182" y="55"/>
                    <a:pt x="182" y="55"/>
                    <a:pt x="182" y="55"/>
                  </a:cubicBezTo>
                  <a:cubicBezTo>
                    <a:pt x="182" y="54"/>
                    <a:pt x="181" y="53"/>
                    <a:pt x="180" y="53"/>
                  </a:cubicBezTo>
                  <a:cubicBezTo>
                    <a:pt x="180" y="52"/>
                    <a:pt x="179" y="51"/>
                    <a:pt x="178" y="49"/>
                  </a:cubicBezTo>
                  <a:cubicBezTo>
                    <a:pt x="177" y="48"/>
                    <a:pt x="177" y="47"/>
                    <a:pt x="176" y="46"/>
                  </a:cubicBezTo>
                  <a:cubicBezTo>
                    <a:pt x="175" y="42"/>
                    <a:pt x="173" y="38"/>
                    <a:pt x="170" y="35"/>
                  </a:cubicBezTo>
                  <a:cubicBezTo>
                    <a:pt x="169" y="34"/>
                    <a:pt x="168" y="33"/>
                    <a:pt x="168" y="33"/>
                  </a:cubicBezTo>
                  <a:cubicBezTo>
                    <a:pt x="167" y="34"/>
                    <a:pt x="167" y="34"/>
                    <a:pt x="167" y="34"/>
                  </a:cubicBezTo>
                  <a:cubicBezTo>
                    <a:pt x="166" y="36"/>
                    <a:pt x="164" y="36"/>
                    <a:pt x="162" y="36"/>
                  </a:cubicBezTo>
                  <a:cubicBezTo>
                    <a:pt x="160" y="36"/>
                    <a:pt x="160" y="36"/>
                    <a:pt x="160" y="36"/>
                  </a:cubicBezTo>
                  <a:cubicBezTo>
                    <a:pt x="159" y="36"/>
                    <a:pt x="158" y="36"/>
                    <a:pt x="157" y="35"/>
                  </a:cubicBezTo>
                  <a:cubicBezTo>
                    <a:pt x="156" y="35"/>
                    <a:pt x="154" y="35"/>
                    <a:pt x="152" y="35"/>
                  </a:cubicBezTo>
                  <a:cubicBezTo>
                    <a:pt x="152" y="34"/>
                    <a:pt x="152" y="34"/>
                    <a:pt x="151" y="34"/>
                  </a:cubicBezTo>
                  <a:cubicBezTo>
                    <a:pt x="151" y="34"/>
                    <a:pt x="150" y="35"/>
                    <a:pt x="150" y="35"/>
                  </a:cubicBezTo>
                  <a:cubicBezTo>
                    <a:pt x="149" y="35"/>
                    <a:pt x="149" y="35"/>
                    <a:pt x="148" y="35"/>
                  </a:cubicBezTo>
                  <a:cubicBezTo>
                    <a:pt x="147" y="35"/>
                    <a:pt x="146" y="34"/>
                    <a:pt x="144" y="33"/>
                  </a:cubicBezTo>
                  <a:cubicBezTo>
                    <a:pt x="143" y="33"/>
                    <a:pt x="143" y="33"/>
                    <a:pt x="143" y="33"/>
                  </a:cubicBezTo>
                  <a:cubicBezTo>
                    <a:pt x="143" y="33"/>
                    <a:pt x="142" y="32"/>
                    <a:pt x="142" y="32"/>
                  </a:cubicBezTo>
                  <a:cubicBezTo>
                    <a:pt x="141" y="31"/>
                    <a:pt x="141" y="31"/>
                    <a:pt x="141" y="31"/>
                  </a:cubicBezTo>
                  <a:cubicBezTo>
                    <a:pt x="140" y="31"/>
                    <a:pt x="140" y="31"/>
                    <a:pt x="140" y="31"/>
                  </a:cubicBezTo>
                  <a:cubicBezTo>
                    <a:pt x="139" y="30"/>
                    <a:pt x="137" y="29"/>
                    <a:pt x="138" y="26"/>
                  </a:cubicBezTo>
                  <a:cubicBezTo>
                    <a:pt x="139" y="25"/>
                    <a:pt x="139" y="25"/>
                    <a:pt x="139" y="25"/>
                  </a:cubicBezTo>
                  <a:cubicBezTo>
                    <a:pt x="139" y="24"/>
                    <a:pt x="139" y="24"/>
                    <a:pt x="139" y="24"/>
                  </a:cubicBezTo>
                  <a:cubicBezTo>
                    <a:pt x="139" y="24"/>
                    <a:pt x="139" y="24"/>
                    <a:pt x="138" y="23"/>
                  </a:cubicBezTo>
                  <a:cubicBezTo>
                    <a:pt x="137" y="21"/>
                    <a:pt x="137" y="21"/>
                    <a:pt x="137" y="21"/>
                  </a:cubicBezTo>
                  <a:cubicBezTo>
                    <a:pt x="139" y="20"/>
                    <a:pt x="139" y="20"/>
                    <a:pt x="139" y="20"/>
                  </a:cubicBezTo>
                  <a:cubicBezTo>
                    <a:pt x="139" y="19"/>
                    <a:pt x="138" y="19"/>
                    <a:pt x="136" y="18"/>
                  </a:cubicBezTo>
                  <a:cubicBezTo>
                    <a:pt x="131" y="16"/>
                    <a:pt x="131" y="16"/>
                    <a:pt x="131" y="16"/>
                  </a:cubicBezTo>
                  <a:cubicBezTo>
                    <a:pt x="137" y="14"/>
                    <a:pt x="137" y="14"/>
                    <a:pt x="137" y="14"/>
                  </a:cubicBezTo>
                  <a:cubicBezTo>
                    <a:pt x="137" y="14"/>
                    <a:pt x="137" y="14"/>
                    <a:pt x="137" y="14"/>
                  </a:cubicBezTo>
                  <a:cubicBezTo>
                    <a:pt x="137" y="14"/>
                    <a:pt x="137" y="14"/>
                    <a:pt x="137" y="14"/>
                  </a:cubicBezTo>
                  <a:cubicBezTo>
                    <a:pt x="137" y="13"/>
                    <a:pt x="136" y="13"/>
                    <a:pt x="137" y="12"/>
                  </a:cubicBezTo>
                  <a:cubicBezTo>
                    <a:pt x="135" y="11"/>
                    <a:pt x="133" y="11"/>
                    <a:pt x="132" y="11"/>
                  </a:cubicBezTo>
                  <a:cubicBezTo>
                    <a:pt x="132" y="10"/>
                    <a:pt x="132" y="10"/>
                    <a:pt x="132" y="10"/>
                  </a:cubicBezTo>
                  <a:cubicBezTo>
                    <a:pt x="131" y="10"/>
                    <a:pt x="128" y="10"/>
                    <a:pt x="127" y="10"/>
                  </a:cubicBezTo>
                  <a:cubicBezTo>
                    <a:pt x="126" y="10"/>
                    <a:pt x="126" y="10"/>
                    <a:pt x="126" y="10"/>
                  </a:cubicBezTo>
                  <a:cubicBezTo>
                    <a:pt x="126" y="10"/>
                    <a:pt x="126" y="10"/>
                    <a:pt x="126" y="10"/>
                  </a:cubicBezTo>
                  <a:cubicBezTo>
                    <a:pt x="125" y="10"/>
                    <a:pt x="124" y="9"/>
                    <a:pt x="123" y="9"/>
                  </a:cubicBezTo>
                  <a:cubicBezTo>
                    <a:pt x="123" y="8"/>
                    <a:pt x="123" y="8"/>
                    <a:pt x="122" y="7"/>
                  </a:cubicBezTo>
                  <a:cubicBezTo>
                    <a:pt x="122" y="7"/>
                    <a:pt x="122" y="7"/>
                    <a:pt x="122" y="7"/>
                  </a:cubicBezTo>
                  <a:cubicBezTo>
                    <a:pt x="121" y="6"/>
                    <a:pt x="121" y="6"/>
                    <a:pt x="121" y="6"/>
                  </a:cubicBezTo>
                  <a:cubicBezTo>
                    <a:pt x="121" y="5"/>
                    <a:pt x="121" y="5"/>
                    <a:pt x="121" y="5"/>
                  </a:cubicBezTo>
                  <a:cubicBezTo>
                    <a:pt x="121" y="5"/>
                    <a:pt x="121" y="5"/>
                    <a:pt x="121" y="5"/>
                  </a:cubicBezTo>
                  <a:cubicBezTo>
                    <a:pt x="120" y="5"/>
                    <a:pt x="120" y="5"/>
                    <a:pt x="120" y="5"/>
                  </a:cubicBezTo>
                  <a:cubicBezTo>
                    <a:pt x="120" y="5"/>
                    <a:pt x="120" y="5"/>
                    <a:pt x="119" y="5"/>
                  </a:cubicBezTo>
                  <a:cubicBezTo>
                    <a:pt x="119" y="5"/>
                    <a:pt x="119" y="5"/>
                    <a:pt x="118" y="5"/>
                  </a:cubicBezTo>
                  <a:cubicBezTo>
                    <a:pt x="118" y="5"/>
                    <a:pt x="117" y="5"/>
                    <a:pt x="116" y="4"/>
                  </a:cubicBezTo>
                  <a:cubicBezTo>
                    <a:pt x="115" y="3"/>
                    <a:pt x="114" y="2"/>
                    <a:pt x="113" y="1"/>
                  </a:cubicBezTo>
                  <a:cubicBezTo>
                    <a:pt x="113" y="0"/>
                    <a:pt x="113" y="0"/>
                    <a:pt x="1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425"/>
            <p:cNvSpPr/>
            <p:nvPr/>
          </p:nvSpPr>
          <p:spPr bwMode="auto">
            <a:xfrm>
              <a:off x="2596853" y="4148323"/>
              <a:ext cx="462152" cy="237953"/>
            </a:xfrm>
            <a:custGeom>
              <a:gdLst>
                <a:gd name="T0" fmla="*/ 29 w 142"/>
                <a:gd name="T1" fmla="*/ 3 h 73"/>
                <a:gd name="T2" fmla="*/ 28 w 142"/>
                <a:gd name="T3" fmla="*/ 3 h 73"/>
                <a:gd name="T4" fmla="*/ 27 w 142"/>
                <a:gd name="T5" fmla="*/ 16 h 73"/>
                <a:gd name="T6" fmla="*/ 23 w 142"/>
                <a:gd name="T7" fmla="*/ 8 h 73"/>
                <a:gd name="T8" fmla="*/ 18 w 142"/>
                <a:gd name="T9" fmla="*/ 15 h 73"/>
                <a:gd name="T10" fmla="*/ 12 w 142"/>
                <a:gd name="T11" fmla="*/ 15 h 73"/>
                <a:gd name="T12" fmla="*/ 4 w 142"/>
                <a:gd name="T13" fmla="*/ 14 h 73"/>
                <a:gd name="T14" fmla="*/ 2 w 142"/>
                <a:gd name="T15" fmla="*/ 14 h 73"/>
                <a:gd name="T16" fmla="*/ 0 w 142"/>
                <a:gd name="T17" fmla="*/ 18 h 73"/>
                <a:gd name="T18" fmla="*/ 3 w 142"/>
                <a:gd name="T19" fmla="*/ 21 h 73"/>
                <a:gd name="T20" fmla="*/ 15 w 142"/>
                <a:gd name="T21" fmla="*/ 26 h 73"/>
                <a:gd name="T22" fmla="*/ 14 w 142"/>
                <a:gd name="T23" fmla="*/ 36 h 73"/>
                <a:gd name="T24" fmla="*/ 16 w 142"/>
                <a:gd name="T25" fmla="*/ 38 h 73"/>
                <a:gd name="T26" fmla="*/ 11 w 142"/>
                <a:gd name="T27" fmla="*/ 55 h 73"/>
                <a:gd name="T28" fmla="*/ 8 w 142"/>
                <a:gd name="T29" fmla="*/ 62 h 73"/>
                <a:gd name="T30" fmla="*/ 10 w 142"/>
                <a:gd name="T31" fmla="*/ 68 h 73"/>
                <a:gd name="T32" fmla="*/ 14 w 142"/>
                <a:gd name="T33" fmla="*/ 65 h 73"/>
                <a:gd name="T34" fmla="*/ 23 w 142"/>
                <a:gd name="T35" fmla="*/ 61 h 73"/>
                <a:gd name="T36" fmla="*/ 24 w 142"/>
                <a:gd name="T37" fmla="*/ 61 h 73"/>
                <a:gd name="T38" fmla="*/ 31 w 142"/>
                <a:gd name="T39" fmla="*/ 62 h 73"/>
                <a:gd name="T40" fmla="*/ 34 w 142"/>
                <a:gd name="T41" fmla="*/ 64 h 73"/>
                <a:gd name="T42" fmla="*/ 34 w 142"/>
                <a:gd name="T43" fmla="*/ 61 h 73"/>
                <a:gd name="T44" fmla="*/ 36 w 142"/>
                <a:gd name="T45" fmla="*/ 56 h 73"/>
                <a:gd name="T46" fmla="*/ 46 w 142"/>
                <a:gd name="T47" fmla="*/ 55 h 73"/>
                <a:gd name="T48" fmla="*/ 49 w 142"/>
                <a:gd name="T49" fmla="*/ 55 h 73"/>
                <a:gd name="T50" fmla="*/ 50 w 142"/>
                <a:gd name="T51" fmla="*/ 53 h 73"/>
                <a:gd name="T52" fmla="*/ 50 w 142"/>
                <a:gd name="T53" fmla="*/ 46 h 73"/>
                <a:gd name="T54" fmla="*/ 56 w 142"/>
                <a:gd name="T55" fmla="*/ 42 h 73"/>
                <a:gd name="T56" fmla="*/ 65 w 142"/>
                <a:gd name="T57" fmla="*/ 35 h 73"/>
                <a:gd name="T58" fmla="*/ 70 w 142"/>
                <a:gd name="T59" fmla="*/ 37 h 73"/>
                <a:gd name="T60" fmla="*/ 73 w 142"/>
                <a:gd name="T61" fmla="*/ 36 h 73"/>
                <a:gd name="T62" fmla="*/ 73 w 142"/>
                <a:gd name="T63" fmla="*/ 40 h 73"/>
                <a:gd name="T64" fmla="*/ 78 w 142"/>
                <a:gd name="T65" fmla="*/ 46 h 73"/>
                <a:gd name="T66" fmla="*/ 78 w 142"/>
                <a:gd name="T67" fmla="*/ 64 h 73"/>
                <a:gd name="T68" fmla="*/ 78 w 142"/>
                <a:gd name="T69" fmla="*/ 65 h 73"/>
                <a:gd name="T70" fmla="*/ 78 w 142"/>
                <a:gd name="T71" fmla="*/ 70 h 73"/>
                <a:gd name="T72" fmla="*/ 79 w 142"/>
                <a:gd name="T73" fmla="*/ 73 h 73"/>
                <a:gd name="T74" fmla="*/ 91 w 142"/>
                <a:gd name="T75" fmla="*/ 69 h 73"/>
                <a:gd name="T76" fmla="*/ 109 w 142"/>
                <a:gd name="T77" fmla="*/ 57 h 73"/>
                <a:gd name="T78" fmla="*/ 120 w 142"/>
                <a:gd name="T79" fmla="*/ 60 h 73"/>
                <a:gd name="T80" fmla="*/ 126 w 142"/>
                <a:gd name="T81" fmla="*/ 59 h 73"/>
                <a:gd name="T82" fmla="*/ 130 w 142"/>
                <a:gd name="T83" fmla="*/ 58 h 73"/>
                <a:gd name="T84" fmla="*/ 140 w 142"/>
                <a:gd name="T85" fmla="*/ 61 h 73"/>
                <a:gd name="T86" fmla="*/ 140 w 142"/>
                <a:gd name="T87" fmla="*/ 55 h 73"/>
                <a:gd name="T88" fmla="*/ 138 w 142"/>
                <a:gd name="T89" fmla="*/ 41 h 73"/>
                <a:gd name="T90" fmla="*/ 133 w 142"/>
                <a:gd name="T91" fmla="*/ 37 h 73"/>
                <a:gd name="T92" fmla="*/ 129 w 142"/>
                <a:gd name="T93" fmla="*/ 35 h 73"/>
                <a:gd name="T94" fmla="*/ 124 w 142"/>
                <a:gd name="T95" fmla="*/ 35 h 73"/>
                <a:gd name="T96" fmla="*/ 120 w 142"/>
                <a:gd name="T97" fmla="*/ 36 h 73"/>
                <a:gd name="T98" fmla="*/ 116 w 142"/>
                <a:gd name="T99" fmla="*/ 26 h 73"/>
                <a:gd name="T100" fmla="*/ 112 w 142"/>
                <a:gd name="T101" fmla="*/ 27 h 73"/>
                <a:gd name="T102" fmla="*/ 114 w 142"/>
                <a:gd name="T103" fmla="*/ 20 h 73"/>
                <a:gd name="T104" fmla="*/ 110 w 142"/>
                <a:gd name="T105" fmla="*/ 18 h 73"/>
                <a:gd name="T106" fmla="*/ 97 w 142"/>
                <a:gd name="T107" fmla="*/ 19 h 73"/>
                <a:gd name="T108" fmla="*/ 89 w 142"/>
                <a:gd name="T109" fmla="*/ 22 h 73"/>
                <a:gd name="T110" fmla="*/ 81 w 142"/>
                <a:gd name="T111" fmla="*/ 21 h 73"/>
                <a:gd name="T112" fmla="*/ 78 w 142"/>
                <a:gd name="T113" fmla="*/ 17 h 73"/>
                <a:gd name="T114" fmla="*/ 76 w 142"/>
                <a:gd name="T115" fmla="*/ 17 h 73"/>
                <a:gd name="T116" fmla="*/ 67 w 142"/>
                <a:gd name="T117" fmla="*/ 18 h 73"/>
                <a:gd name="T118" fmla="*/ 67 w 142"/>
                <a:gd name="T119" fmla="*/ 18 h 73"/>
                <a:gd name="T120" fmla="*/ 56 w 142"/>
                <a:gd name="T121" fmla="*/ 15 h 73"/>
                <a:gd name="T122" fmla="*/ 32 w 142"/>
                <a:gd name="T123" fmla="*/ 16 h 73"/>
                <a:gd name="T124" fmla="*/ 32 w 142"/>
                <a:gd name="T125" fmla="*/ 1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2" h="73">
                  <a:moveTo>
                    <a:pt x="31" y="0"/>
                  </a:moveTo>
                  <a:cubicBezTo>
                    <a:pt x="31" y="1"/>
                    <a:pt x="30" y="2"/>
                    <a:pt x="30" y="3"/>
                  </a:cubicBezTo>
                  <a:cubicBezTo>
                    <a:pt x="29" y="3"/>
                    <a:pt x="29" y="3"/>
                    <a:pt x="29" y="3"/>
                  </a:cubicBezTo>
                  <a:cubicBezTo>
                    <a:pt x="28" y="3"/>
                    <a:pt x="28" y="3"/>
                    <a:pt x="28" y="3"/>
                  </a:cubicBezTo>
                  <a:cubicBezTo>
                    <a:pt x="28" y="3"/>
                    <a:pt x="28" y="3"/>
                    <a:pt x="28" y="3"/>
                  </a:cubicBezTo>
                  <a:cubicBezTo>
                    <a:pt x="28" y="3"/>
                    <a:pt x="28" y="3"/>
                    <a:pt x="28" y="3"/>
                  </a:cubicBezTo>
                  <a:cubicBezTo>
                    <a:pt x="28" y="4"/>
                    <a:pt x="28" y="4"/>
                    <a:pt x="28" y="4"/>
                  </a:cubicBezTo>
                  <a:cubicBezTo>
                    <a:pt x="28" y="5"/>
                    <a:pt x="28" y="5"/>
                    <a:pt x="28" y="6"/>
                  </a:cubicBezTo>
                  <a:cubicBezTo>
                    <a:pt x="27" y="16"/>
                    <a:pt x="27" y="16"/>
                    <a:pt x="27" y="16"/>
                  </a:cubicBezTo>
                  <a:cubicBezTo>
                    <a:pt x="24" y="7"/>
                    <a:pt x="24" y="7"/>
                    <a:pt x="24" y="7"/>
                  </a:cubicBezTo>
                  <a:cubicBezTo>
                    <a:pt x="23" y="8"/>
                    <a:pt x="23" y="8"/>
                    <a:pt x="23" y="8"/>
                  </a:cubicBezTo>
                  <a:cubicBezTo>
                    <a:pt x="23" y="8"/>
                    <a:pt x="23" y="8"/>
                    <a:pt x="23" y="8"/>
                  </a:cubicBezTo>
                  <a:cubicBezTo>
                    <a:pt x="22" y="12"/>
                    <a:pt x="22" y="14"/>
                    <a:pt x="20" y="15"/>
                  </a:cubicBezTo>
                  <a:cubicBezTo>
                    <a:pt x="19" y="15"/>
                    <a:pt x="19" y="15"/>
                    <a:pt x="19" y="15"/>
                  </a:cubicBezTo>
                  <a:cubicBezTo>
                    <a:pt x="19" y="15"/>
                    <a:pt x="18" y="15"/>
                    <a:pt x="18" y="15"/>
                  </a:cubicBezTo>
                  <a:cubicBezTo>
                    <a:pt x="17" y="15"/>
                    <a:pt x="17" y="15"/>
                    <a:pt x="17" y="15"/>
                  </a:cubicBezTo>
                  <a:cubicBezTo>
                    <a:pt x="16" y="15"/>
                    <a:pt x="16" y="15"/>
                    <a:pt x="16" y="15"/>
                  </a:cubicBezTo>
                  <a:cubicBezTo>
                    <a:pt x="15" y="15"/>
                    <a:pt x="14" y="15"/>
                    <a:pt x="12" y="15"/>
                  </a:cubicBezTo>
                  <a:cubicBezTo>
                    <a:pt x="11" y="14"/>
                    <a:pt x="8" y="14"/>
                    <a:pt x="6" y="14"/>
                  </a:cubicBezTo>
                  <a:cubicBezTo>
                    <a:pt x="5" y="14"/>
                    <a:pt x="5" y="13"/>
                    <a:pt x="5" y="13"/>
                  </a:cubicBezTo>
                  <a:cubicBezTo>
                    <a:pt x="4" y="13"/>
                    <a:pt x="4" y="13"/>
                    <a:pt x="4" y="14"/>
                  </a:cubicBezTo>
                  <a:cubicBezTo>
                    <a:pt x="4" y="14"/>
                    <a:pt x="4" y="14"/>
                    <a:pt x="4" y="14"/>
                  </a:cubicBezTo>
                  <a:cubicBezTo>
                    <a:pt x="3" y="14"/>
                    <a:pt x="3" y="14"/>
                    <a:pt x="3" y="14"/>
                  </a:cubicBezTo>
                  <a:cubicBezTo>
                    <a:pt x="3" y="14"/>
                    <a:pt x="3" y="14"/>
                    <a:pt x="2" y="14"/>
                  </a:cubicBezTo>
                  <a:cubicBezTo>
                    <a:pt x="2" y="15"/>
                    <a:pt x="2" y="15"/>
                    <a:pt x="2" y="15"/>
                  </a:cubicBezTo>
                  <a:cubicBezTo>
                    <a:pt x="1" y="16"/>
                    <a:pt x="0" y="16"/>
                    <a:pt x="0" y="18"/>
                  </a:cubicBezTo>
                  <a:cubicBezTo>
                    <a:pt x="0" y="18"/>
                    <a:pt x="0" y="18"/>
                    <a:pt x="0" y="18"/>
                  </a:cubicBezTo>
                  <a:cubicBezTo>
                    <a:pt x="0" y="18"/>
                    <a:pt x="1" y="19"/>
                    <a:pt x="1" y="19"/>
                  </a:cubicBezTo>
                  <a:cubicBezTo>
                    <a:pt x="2" y="20"/>
                    <a:pt x="2" y="20"/>
                    <a:pt x="2" y="20"/>
                  </a:cubicBezTo>
                  <a:cubicBezTo>
                    <a:pt x="2" y="20"/>
                    <a:pt x="2" y="20"/>
                    <a:pt x="3" y="21"/>
                  </a:cubicBezTo>
                  <a:cubicBezTo>
                    <a:pt x="4" y="22"/>
                    <a:pt x="4" y="22"/>
                    <a:pt x="7" y="22"/>
                  </a:cubicBezTo>
                  <a:cubicBezTo>
                    <a:pt x="7" y="22"/>
                    <a:pt x="8" y="23"/>
                    <a:pt x="9" y="23"/>
                  </a:cubicBezTo>
                  <a:cubicBezTo>
                    <a:pt x="11" y="23"/>
                    <a:pt x="14" y="24"/>
                    <a:pt x="15" y="26"/>
                  </a:cubicBezTo>
                  <a:cubicBezTo>
                    <a:pt x="15" y="27"/>
                    <a:pt x="15" y="27"/>
                    <a:pt x="15" y="28"/>
                  </a:cubicBezTo>
                  <a:cubicBezTo>
                    <a:pt x="15" y="29"/>
                    <a:pt x="15" y="31"/>
                    <a:pt x="14" y="33"/>
                  </a:cubicBezTo>
                  <a:cubicBezTo>
                    <a:pt x="14" y="36"/>
                    <a:pt x="14" y="36"/>
                    <a:pt x="14" y="36"/>
                  </a:cubicBezTo>
                  <a:cubicBezTo>
                    <a:pt x="14" y="36"/>
                    <a:pt x="14" y="36"/>
                    <a:pt x="14" y="37"/>
                  </a:cubicBezTo>
                  <a:cubicBezTo>
                    <a:pt x="15" y="37"/>
                    <a:pt x="15" y="37"/>
                    <a:pt x="15" y="37"/>
                  </a:cubicBezTo>
                  <a:cubicBezTo>
                    <a:pt x="16" y="38"/>
                    <a:pt x="16" y="38"/>
                    <a:pt x="16" y="38"/>
                  </a:cubicBezTo>
                  <a:cubicBezTo>
                    <a:pt x="17" y="39"/>
                    <a:pt x="17" y="39"/>
                    <a:pt x="18" y="40"/>
                  </a:cubicBezTo>
                  <a:cubicBezTo>
                    <a:pt x="21" y="44"/>
                    <a:pt x="16" y="49"/>
                    <a:pt x="13" y="54"/>
                  </a:cubicBezTo>
                  <a:cubicBezTo>
                    <a:pt x="12" y="54"/>
                    <a:pt x="12" y="55"/>
                    <a:pt x="11" y="55"/>
                  </a:cubicBezTo>
                  <a:cubicBezTo>
                    <a:pt x="10" y="57"/>
                    <a:pt x="10" y="57"/>
                    <a:pt x="10" y="57"/>
                  </a:cubicBezTo>
                  <a:cubicBezTo>
                    <a:pt x="10" y="58"/>
                    <a:pt x="9" y="59"/>
                    <a:pt x="8" y="60"/>
                  </a:cubicBezTo>
                  <a:cubicBezTo>
                    <a:pt x="8" y="60"/>
                    <a:pt x="9" y="61"/>
                    <a:pt x="8" y="62"/>
                  </a:cubicBezTo>
                  <a:cubicBezTo>
                    <a:pt x="8" y="63"/>
                    <a:pt x="8" y="64"/>
                    <a:pt x="7" y="65"/>
                  </a:cubicBezTo>
                  <a:cubicBezTo>
                    <a:pt x="8" y="66"/>
                    <a:pt x="8" y="66"/>
                    <a:pt x="8" y="66"/>
                  </a:cubicBezTo>
                  <a:cubicBezTo>
                    <a:pt x="10" y="68"/>
                    <a:pt x="10" y="68"/>
                    <a:pt x="10" y="68"/>
                  </a:cubicBezTo>
                  <a:cubicBezTo>
                    <a:pt x="10" y="68"/>
                    <a:pt x="10" y="68"/>
                    <a:pt x="10" y="68"/>
                  </a:cubicBezTo>
                  <a:cubicBezTo>
                    <a:pt x="11" y="67"/>
                    <a:pt x="11" y="67"/>
                    <a:pt x="11" y="67"/>
                  </a:cubicBezTo>
                  <a:cubicBezTo>
                    <a:pt x="12" y="66"/>
                    <a:pt x="13" y="65"/>
                    <a:pt x="14" y="65"/>
                  </a:cubicBezTo>
                  <a:cubicBezTo>
                    <a:pt x="15" y="64"/>
                    <a:pt x="15" y="64"/>
                    <a:pt x="16" y="64"/>
                  </a:cubicBezTo>
                  <a:cubicBezTo>
                    <a:pt x="18" y="63"/>
                    <a:pt x="20" y="63"/>
                    <a:pt x="22" y="62"/>
                  </a:cubicBezTo>
                  <a:cubicBezTo>
                    <a:pt x="23" y="61"/>
                    <a:pt x="23" y="61"/>
                    <a:pt x="23" y="61"/>
                  </a:cubicBezTo>
                  <a:cubicBezTo>
                    <a:pt x="23" y="62"/>
                    <a:pt x="23" y="62"/>
                    <a:pt x="23" y="62"/>
                  </a:cubicBezTo>
                  <a:cubicBezTo>
                    <a:pt x="23" y="61"/>
                    <a:pt x="23" y="61"/>
                    <a:pt x="23" y="61"/>
                  </a:cubicBezTo>
                  <a:cubicBezTo>
                    <a:pt x="23" y="61"/>
                    <a:pt x="24" y="61"/>
                    <a:pt x="24" y="61"/>
                  </a:cubicBezTo>
                  <a:cubicBezTo>
                    <a:pt x="25" y="60"/>
                    <a:pt x="26" y="60"/>
                    <a:pt x="27" y="60"/>
                  </a:cubicBezTo>
                  <a:cubicBezTo>
                    <a:pt x="28" y="60"/>
                    <a:pt x="29" y="60"/>
                    <a:pt x="30" y="61"/>
                  </a:cubicBezTo>
                  <a:cubicBezTo>
                    <a:pt x="31" y="62"/>
                    <a:pt x="31" y="62"/>
                    <a:pt x="31" y="62"/>
                  </a:cubicBezTo>
                  <a:cubicBezTo>
                    <a:pt x="32" y="63"/>
                    <a:pt x="32" y="63"/>
                    <a:pt x="32" y="63"/>
                  </a:cubicBezTo>
                  <a:cubicBezTo>
                    <a:pt x="33" y="64"/>
                    <a:pt x="33" y="64"/>
                    <a:pt x="34" y="64"/>
                  </a:cubicBezTo>
                  <a:cubicBezTo>
                    <a:pt x="34" y="64"/>
                    <a:pt x="34" y="64"/>
                    <a:pt x="34" y="64"/>
                  </a:cubicBezTo>
                  <a:cubicBezTo>
                    <a:pt x="34" y="63"/>
                    <a:pt x="34" y="63"/>
                    <a:pt x="34" y="63"/>
                  </a:cubicBezTo>
                  <a:cubicBezTo>
                    <a:pt x="34" y="63"/>
                    <a:pt x="34" y="63"/>
                    <a:pt x="34" y="63"/>
                  </a:cubicBezTo>
                  <a:cubicBezTo>
                    <a:pt x="34" y="62"/>
                    <a:pt x="34" y="62"/>
                    <a:pt x="34" y="61"/>
                  </a:cubicBezTo>
                  <a:cubicBezTo>
                    <a:pt x="35" y="60"/>
                    <a:pt x="35" y="60"/>
                    <a:pt x="35" y="60"/>
                  </a:cubicBezTo>
                  <a:cubicBezTo>
                    <a:pt x="35" y="59"/>
                    <a:pt x="35" y="58"/>
                    <a:pt x="36" y="56"/>
                  </a:cubicBezTo>
                  <a:cubicBezTo>
                    <a:pt x="36" y="56"/>
                    <a:pt x="36" y="56"/>
                    <a:pt x="36" y="56"/>
                  </a:cubicBezTo>
                  <a:cubicBezTo>
                    <a:pt x="37" y="55"/>
                    <a:pt x="38" y="54"/>
                    <a:pt x="41" y="54"/>
                  </a:cubicBezTo>
                  <a:cubicBezTo>
                    <a:pt x="42" y="54"/>
                    <a:pt x="44" y="54"/>
                    <a:pt x="45" y="54"/>
                  </a:cubicBezTo>
                  <a:cubicBezTo>
                    <a:pt x="45" y="54"/>
                    <a:pt x="46" y="54"/>
                    <a:pt x="46" y="55"/>
                  </a:cubicBezTo>
                  <a:cubicBezTo>
                    <a:pt x="47" y="55"/>
                    <a:pt x="48" y="55"/>
                    <a:pt x="49" y="55"/>
                  </a:cubicBezTo>
                  <a:cubicBezTo>
                    <a:pt x="49" y="55"/>
                    <a:pt x="49" y="55"/>
                    <a:pt x="49" y="55"/>
                  </a:cubicBezTo>
                  <a:cubicBezTo>
                    <a:pt x="49" y="55"/>
                    <a:pt x="49" y="55"/>
                    <a:pt x="49" y="55"/>
                  </a:cubicBezTo>
                  <a:cubicBezTo>
                    <a:pt x="50" y="54"/>
                    <a:pt x="50" y="54"/>
                    <a:pt x="50" y="54"/>
                  </a:cubicBezTo>
                  <a:cubicBezTo>
                    <a:pt x="50" y="54"/>
                    <a:pt x="50" y="54"/>
                    <a:pt x="50" y="54"/>
                  </a:cubicBezTo>
                  <a:cubicBezTo>
                    <a:pt x="50" y="53"/>
                    <a:pt x="50" y="53"/>
                    <a:pt x="50" y="53"/>
                  </a:cubicBezTo>
                  <a:cubicBezTo>
                    <a:pt x="49" y="53"/>
                    <a:pt x="49" y="53"/>
                    <a:pt x="49" y="53"/>
                  </a:cubicBezTo>
                  <a:cubicBezTo>
                    <a:pt x="49" y="52"/>
                    <a:pt x="48" y="51"/>
                    <a:pt x="48" y="50"/>
                  </a:cubicBezTo>
                  <a:cubicBezTo>
                    <a:pt x="48" y="50"/>
                    <a:pt x="48" y="48"/>
                    <a:pt x="50" y="46"/>
                  </a:cubicBezTo>
                  <a:cubicBezTo>
                    <a:pt x="50" y="46"/>
                    <a:pt x="52" y="45"/>
                    <a:pt x="53" y="44"/>
                  </a:cubicBezTo>
                  <a:cubicBezTo>
                    <a:pt x="54" y="43"/>
                    <a:pt x="54" y="42"/>
                    <a:pt x="55" y="41"/>
                  </a:cubicBezTo>
                  <a:cubicBezTo>
                    <a:pt x="56" y="42"/>
                    <a:pt x="56" y="42"/>
                    <a:pt x="56" y="42"/>
                  </a:cubicBezTo>
                  <a:cubicBezTo>
                    <a:pt x="55" y="41"/>
                    <a:pt x="55" y="41"/>
                    <a:pt x="55" y="41"/>
                  </a:cubicBezTo>
                  <a:cubicBezTo>
                    <a:pt x="57" y="39"/>
                    <a:pt x="58" y="37"/>
                    <a:pt x="60" y="36"/>
                  </a:cubicBezTo>
                  <a:cubicBezTo>
                    <a:pt x="62" y="35"/>
                    <a:pt x="63" y="35"/>
                    <a:pt x="65" y="35"/>
                  </a:cubicBezTo>
                  <a:cubicBezTo>
                    <a:pt x="66" y="34"/>
                    <a:pt x="66" y="34"/>
                    <a:pt x="66" y="34"/>
                  </a:cubicBezTo>
                  <a:cubicBezTo>
                    <a:pt x="67" y="35"/>
                    <a:pt x="67" y="35"/>
                    <a:pt x="67" y="35"/>
                  </a:cubicBezTo>
                  <a:cubicBezTo>
                    <a:pt x="68" y="35"/>
                    <a:pt x="69" y="36"/>
                    <a:pt x="70" y="37"/>
                  </a:cubicBezTo>
                  <a:cubicBezTo>
                    <a:pt x="70" y="37"/>
                    <a:pt x="71" y="37"/>
                    <a:pt x="71" y="38"/>
                  </a:cubicBezTo>
                  <a:cubicBezTo>
                    <a:pt x="74" y="35"/>
                    <a:pt x="74" y="35"/>
                    <a:pt x="74" y="35"/>
                  </a:cubicBezTo>
                  <a:cubicBezTo>
                    <a:pt x="73" y="36"/>
                    <a:pt x="73" y="36"/>
                    <a:pt x="73" y="36"/>
                  </a:cubicBezTo>
                  <a:cubicBezTo>
                    <a:pt x="74" y="36"/>
                    <a:pt x="74" y="36"/>
                    <a:pt x="74" y="36"/>
                  </a:cubicBezTo>
                  <a:cubicBezTo>
                    <a:pt x="72" y="39"/>
                    <a:pt x="72" y="39"/>
                    <a:pt x="72" y="39"/>
                  </a:cubicBezTo>
                  <a:cubicBezTo>
                    <a:pt x="73" y="40"/>
                    <a:pt x="73" y="40"/>
                    <a:pt x="73" y="40"/>
                  </a:cubicBezTo>
                  <a:cubicBezTo>
                    <a:pt x="73" y="41"/>
                    <a:pt x="74" y="41"/>
                    <a:pt x="74" y="41"/>
                  </a:cubicBezTo>
                  <a:cubicBezTo>
                    <a:pt x="75" y="43"/>
                    <a:pt x="75" y="44"/>
                    <a:pt x="75" y="45"/>
                  </a:cubicBezTo>
                  <a:cubicBezTo>
                    <a:pt x="76" y="46"/>
                    <a:pt x="77" y="46"/>
                    <a:pt x="78" y="46"/>
                  </a:cubicBezTo>
                  <a:cubicBezTo>
                    <a:pt x="79" y="47"/>
                    <a:pt x="79" y="48"/>
                    <a:pt x="79" y="50"/>
                  </a:cubicBezTo>
                  <a:cubicBezTo>
                    <a:pt x="79" y="52"/>
                    <a:pt x="79" y="54"/>
                    <a:pt x="79" y="56"/>
                  </a:cubicBezTo>
                  <a:cubicBezTo>
                    <a:pt x="79" y="59"/>
                    <a:pt x="78" y="61"/>
                    <a:pt x="78" y="64"/>
                  </a:cubicBezTo>
                  <a:cubicBezTo>
                    <a:pt x="83" y="65"/>
                    <a:pt x="83" y="65"/>
                    <a:pt x="83" y="65"/>
                  </a:cubicBezTo>
                  <a:cubicBezTo>
                    <a:pt x="78" y="65"/>
                    <a:pt x="78" y="65"/>
                    <a:pt x="78" y="65"/>
                  </a:cubicBezTo>
                  <a:cubicBezTo>
                    <a:pt x="78" y="65"/>
                    <a:pt x="78" y="65"/>
                    <a:pt x="78" y="65"/>
                  </a:cubicBezTo>
                  <a:cubicBezTo>
                    <a:pt x="77" y="66"/>
                    <a:pt x="77" y="66"/>
                    <a:pt x="77" y="67"/>
                  </a:cubicBezTo>
                  <a:cubicBezTo>
                    <a:pt x="77" y="67"/>
                    <a:pt x="77" y="68"/>
                    <a:pt x="77" y="68"/>
                  </a:cubicBezTo>
                  <a:cubicBezTo>
                    <a:pt x="77" y="69"/>
                    <a:pt x="77" y="69"/>
                    <a:pt x="78" y="70"/>
                  </a:cubicBezTo>
                  <a:cubicBezTo>
                    <a:pt x="78" y="71"/>
                    <a:pt x="78" y="71"/>
                    <a:pt x="79" y="72"/>
                  </a:cubicBezTo>
                  <a:cubicBezTo>
                    <a:pt x="79" y="72"/>
                    <a:pt x="79" y="72"/>
                    <a:pt x="79" y="72"/>
                  </a:cubicBezTo>
                  <a:cubicBezTo>
                    <a:pt x="79" y="72"/>
                    <a:pt x="79" y="73"/>
                    <a:pt x="79" y="73"/>
                  </a:cubicBezTo>
                  <a:cubicBezTo>
                    <a:pt x="88" y="70"/>
                    <a:pt x="88" y="70"/>
                    <a:pt x="88" y="70"/>
                  </a:cubicBezTo>
                  <a:cubicBezTo>
                    <a:pt x="89" y="70"/>
                    <a:pt x="89" y="70"/>
                    <a:pt x="89" y="70"/>
                  </a:cubicBezTo>
                  <a:cubicBezTo>
                    <a:pt x="91" y="69"/>
                    <a:pt x="91" y="69"/>
                    <a:pt x="91" y="69"/>
                  </a:cubicBezTo>
                  <a:cubicBezTo>
                    <a:pt x="93" y="68"/>
                    <a:pt x="96" y="67"/>
                    <a:pt x="97" y="66"/>
                  </a:cubicBezTo>
                  <a:cubicBezTo>
                    <a:pt x="100" y="63"/>
                    <a:pt x="103" y="60"/>
                    <a:pt x="106" y="58"/>
                  </a:cubicBezTo>
                  <a:cubicBezTo>
                    <a:pt x="107" y="58"/>
                    <a:pt x="108" y="57"/>
                    <a:pt x="109" y="57"/>
                  </a:cubicBezTo>
                  <a:cubicBezTo>
                    <a:pt x="110" y="57"/>
                    <a:pt x="111" y="57"/>
                    <a:pt x="112" y="57"/>
                  </a:cubicBezTo>
                  <a:cubicBezTo>
                    <a:pt x="114" y="57"/>
                    <a:pt x="115" y="57"/>
                    <a:pt x="117" y="58"/>
                  </a:cubicBezTo>
                  <a:cubicBezTo>
                    <a:pt x="118" y="59"/>
                    <a:pt x="119" y="60"/>
                    <a:pt x="120" y="60"/>
                  </a:cubicBezTo>
                  <a:cubicBezTo>
                    <a:pt x="121" y="61"/>
                    <a:pt x="121" y="61"/>
                    <a:pt x="121" y="61"/>
                  </a:cubicBezTo>
                  <a:cubicBezTo>
                    <a:pt x="123" y="61"/>
                    <a:pt x="125" y="60"/>
                    <a:pt x="125" y="60"/>
                  </a:cubicBezTo>
                  <a:cubicBezTo>
                    <a:pt x="126" y="59"/>
                    <a:pt x="126" y="59"/>
                    <a:pt x="126" y="59"/>
                  </a:cubicBezTo>
                  <a:cubicBezTo>
                    <a:pt x="126" y="59"/>
                    <a:pt x="127" y="58"/>
                    <a:pt x="127" y="58"/>
                  </a:cubicBezTo>
                  <a:cubicBezTo>
                    <a:pt x="128" y="58"/>
                    <a:pt x="129" y="58"/>
                    <a:pt x="130" y="58"/>
                  </a:cubicBezTo>
                  <a:cubicBezTo>
                    <a:pt x="130" y="58"/>
                    <a:pt x="130" y="58"/>
                    <a:pt x="130" y="58"/>
                  </a:cubicBezTo>
                  <a:cubicBezTo>
                    <a:pt x="131" y="58"/>
                    <a:pt x="131" y="58"/>
                    <a:pt x="131" y="58"/>
                  </a:cubicBezTo>
                  <a:cubicBezTo>
                    <a:pt x="133" y="58"/>
                    <a:pt x="135" y="59"/>
                    <a:pt x="137" y="60"/>
                  </a:cubicBezTo>
                  <a:cubicBezTo>
                    <a:pt x="140" y="61"/>
                    <a:pt x="140" y="61"/>
                    <a:pt x="140" y="61"/>
                  </a:cubicBezTo>
                  <a:cubicBezTo>
                    <a:pt x="141" y="61"/>
                    <a:pt x="142" y="61"/>
                    <a:pt x="142" y="60"/>
                  </a:cubicBezTo>
                  <a:cubicBezTo>
                    <a:pt x="141" y="59"/>
                    <a:pt x="140" y="58"/>
                    <a:pt x="140" y="56"/>
                  </a:cubicBezTo>
                  <a:cubicBezTo>
                    <a:pt x="140" y="55"/>
                    <a:pt x="140" y="55"/>
                    <a:pt x="140" y="55"/>
                  </a:cubicBezTo>
                  <a:cubicBezTo>
                    <a:pt x="140" y="54"/>
                    <a:pt x="140" y="53"/>
                    <a:pt x="140" y="52"/>
                  </a:cubicBezTo>
                  <a:cubicBezTo>
                    <a:pt x="139" y="51"/>
                    <a:pt x="139" y="51"/>
                    <a:pt x="139" y="51"/>
                  </a:cubicBezTo>
                  <a:cubicBezTo>
                    <a:pt x="139" y="47"/>
                    <a:pt x="138" y="44"/>
                    <a:pt x="138" y="41"/>
                  </a:cubicBezTo>
                  <a:cubicBezTo>
                    <a:pt x="138" y="40"/>
                    <a:pt x="138" y="40"/>
                    <a:pt x="136" y="39"/>
                  </a:cubicBezTo>
                  <a:cubicBezTo>
                    <a:pt x="135" y="38"/>
                    <a:pt x="135" y="38"/>
                    <a:pt x="135" y="38"/>
                  </a:cubicBezTo>
                  <a:cubicBezTo>
                    <a:pt x="135" y="38"/>
                    <a:pt x="134" y="37"/>
                    <a:pt x="133" y="37"/>
                  </a:cubicBezTo>
                  <a:cubicBezTo>
                    <a:pt x="133" y="36"/>
                    <a:pt x="133" y="36"/>
                    <a:pt x="133" y="36"/>
                  </a:cubicBezTo>
                  <a:cubicBezTo>
                    <a:pt x="132" y="36"/>
                    <a:pt x="132" y="36"/>
                    <a:pt x="131" y="35"/>
                  </a:cubicBezTo>
                  <a:cubicBezTo>
                    <a:pt x="130" y="35"/>
                    <a:pt x="129" y="35"/>
                    <a:pt x="129" y="35"/>
                  </a:cubicBezTo>
                  <a:cubicBezTo>
                    <a:pt x="128" y="35"/>
                    <a:pt x="128" y="35"/>
                    <a:pt x="128" y="35"/>
                  </a:cubicBezTo>
                  <a:cubicBezTo>
                    <a:pt x="128" y="35"/>
                    <a:pt x="128" y="35"/>
                    <a:pt x="128" y="35"/>
                  </a:cubicBezTo>
                  <a:cubicBezTo>
                    <a:pt x="127" y="35"/>
                    <a:pt x="126" y="35"/>
                    <a:pt x="124" y="35"/>
                  </a:cubicBezTo>
                  <a:cubicBezTo>
                    <a:pt x="124" y="35"/>
                    <a:pt x="124" y="35"/>
                    <a:pt x="124" y="35"/>
                  </a:cubicBezTo>
                  <a:cubicBezTo>
                    <a:pt x="123" y="36"/>
                    <a:pt x="122" y="36"/>
                    <a:pt x="121" y="36"/>
                  </a:cubicBezTo>
                  <a:cubicBezTo>
                    <a:pt x="121" y="36"/>
                    <a:pt x="121" y="36"/>
                    <a:pt x="120" y="36"/>
                  </a:cubicBezTo>
                  <a:cubicBezTo>
                    <a:pt x="119" y="35"/>
                    <a:pt x="118" y="35"/>
                    <a:pt x="118" y="34"/>
                  </a:cubicBezTo>
                  <a:cubicBezTo>
                    <a:pt x="117" y="33"/>
                    <a:pt x="117" y="32"/>
                    <a:pt x="116" y="31"/>
                  </a:cubicBezTo>
                  <a:cubicBezTo>
                    <a:pt x="116" y="30"/>
                    <a:pt x="115" y="28"/>
                    <a:pt x="116" y="26"/>
                  </a:cubicBezTo>
                  <a:cubicBezTo>
                    <a:pt x="117" y="25"/>
                    <a:pt x="117" y="25"/>
                    <a:pt x="117" y="25"/>
                  </a:cubicBezTo>
                  <a:cubicBezTo>
                    <a:pt x="117" y="24"/>
                    <a:pt x="117" y="24"/>
                    <a:pt x="117" y="24"/>
                  </a:cubicBezTo>
                  <a:cubicBezTo>
                    <a:pt x="112" y="27"/>
                    <a:pt x="112" y="27"/>
                    <a:pt x="112" y="27"/>
                  </a:cubicBezTo>
                  <a:cubicBezTo>
                    <a:pt x="116" y="23"/>
                    <a:pt x="116" y="23"/>
                    <a:pt x="116" y="23"/>
                  </a:cubicBezTo>
                  <a:cubicBezTo>
                    <a:pt x="115" y="23"/>
                    <a:pt x="114" y="22"/>
                    <a:pt x="114" y="20"/>
                  </a:cubicBezTo>
                  <a:cubicBezTo>
                    <a:pt x="114" y="20"/>
                    <a:pt x="114" y="20"/>
                    <a:pt x="114" y="20"/>
                  </a:cubicBezTo>
                  <a:cubicBezTo>
                    <a:pt x="114" y="18"/>
                    <a:pt x="114" y="18"/>
                    <a:pt x="114" y="18"/>
                  </a:cubicBezTo>
                  <a:cubicBezTo>
                    <a:pt x="114" y="18"/>
                    <a:pt x="113" y="18"/>
                    <a:pt x="112" y="18"/>
                  </a:cubicBezTo>
                  <a:cubicBezTo>
                    <a:pt x="110" y="18"/>
                    <a:pt x="110" y="18"/>
                    <a:pt x="110" y="18"/>
                  </a:cubicBezTo>
                  <a:cubicBezTo>
                    <a:pt x="109" y="18"/>
                    <a:pt x="108" y="18"/>
                    <a:pt x="107" y="19"/>
                  </a:cubicBezTo>
                  <a:cubicBezTo>
                    <a:pt x="105" y="19"/>
                    <a:pt x="103" y="19"/>
                    <a:pt x="101" y="19"/>
                  </a:cubicBezTo>
                  <a:cubicBezTo>
                    <a:pt x="97" y="19"/>
                    <a:pt x="97" y="19"/>
                    <a:pt x="97" y="19"/>
                  </a:cubicBezTo>
                  <a:cubicBezTo>
                    <a:pt x="95" y="19"/>
                    <a:pt x="94" y="19"/>
                    <a:pt x="93" y="21"/>
                  </a:cubicBezTo>
                  <a:cubicBezTo>
                    <a:pt x="91" y="24"/>
                    <a:pt x="91" y="24"/>
                    <a:pt x="91" y="24"/>
                  </a:cubicBezTo>
                  <a:cubicBezTo>
                    <a:pt x="89" y="22"/>
                    <a:pt x="89" y="22"/>
                    <a:pt x="89" y="22"/>
                  </a:cubicBezTo>
                  <a:cubicBezTo>
                    <a:pt x="88" y="22"/>
                    <a:pt x="85" y="21"/>
                    <a:pt x="84" y="21"/>
                  </a:cubicBezTo>
                  <a:cubicBezTo>
                    <a:pt x="83" y="21"/>
                    <a:pt x="83" y="21"/>
                    <a:pt x="83" y="21"/>
                  </a:cubicBezTo>
                  <a:cubicBezTo>
                    <a:pt x="81" y="21"/>
                    <a:pt x="81" y="21"/>
                    <a:pt x="81" y="21"/>
                  </a:cubicBezTo>
                  <a:cubicBezTo>
                    <a:pt x="80" y="21"/>
                    <a:pt x="80" y="21"/>
                    <a:pt x="80" y="21"/>
                  </a:cubicBezTo>
                  <a:cubicBezTo>
                    <a:pt x="79" y="20"/>
                    <a:pt x="79" y="18"/>
                    <a:pt x="79" y="17"/>
                  </a:cubicBezTo>
                  <a:cubicBezTo>
                    <a:pt x="78" y="17"/>
                    <a:pt x="78" y="17"/>
                    <a:pt x="78" y="17"/>
                  </a:cubicBezTo>
                  <a:cubicBezTo>
                    <a:pt x="78" y="17"/>
                    <a:pt x="78" y="17"/>
                    <a:pt x="78" y="17"/>
                  </a:cubicBezTo>
                  <a:cubicBezTo>
                    <a:pt x="78" y="17"/>
                    <a:pt x="77" y="17"/>
                    <a:pt x="77" y="17"/>
                  </a:cubicBezTo>
                  <a:cubicBezTo>
                    <a:pt x="76" y="17"/>
                    <a:pt x="76" y="17"/>
                    <a:pt x="76" y="17"/>
                  </a:cubicBezTo>
                  <a:cubicBezTo>
                    <a:pt x="76" y="16"/>
                    <a:pt x="75" y="16"/>
                    <a:pt x="75" y="16"/>
                  </a:cubicBezTo>
                  <a:cubicBezTo>
                    <a:pt x="75" y="15"/>
                    <a:pt x="75" y="15"/>
                    <a:pt x="75" y="15"/>
                  </a:cubicBezTo>
                  <a:cubicBezTo>
                    <a:pt x="72" y="17"/>
                    <a:pt x="69" y="18"/>
                    <a:pt x="67" y="18"/>
                  </a:cubicBezTo>
                  <a:cubicBezTo>
                    <a:pt x="67" y="18"/>
                    <a:pt x="67" y="18"/>
                    <a:pt x="67" y="18"/>
                  </a:cubicBezTo>
                  <a:cubicBezTo>
                    <a:pt x="67" y="18"/>
                    <a:pt x="67" y="18"/>
                    <a:pt x="67" y="18"/>
                  </a:cubicBezTo>
                  <a:cubicBezTo>
                    <a:pt x="67" y="18"/>
                    <a:pt x="67" y="18"/>
                    <a:pt x="67" y="18"/>
                  </a:cubicBezTo>
                  <a:cubicBezTo>
                    <a:pt x="66" y="18"/>
                    <a:pt x="66" y="18"/>
                    <a:pt x="66" y="18"/>
                  </a:cubicBezTo>
                  <a:cubicBezTo>
                    <a:pt x="66" y="18"/>
                    <a:pt x="66" y="18"/>
                    <a:pt x="66" y="18"/>
                  </a:cubicBezTo>
                  <a:cubicBezTo>
                    <a:pt x="63" y="17"/>
                    <a:pt x="59" y="16"/>
                    <a:pt x="56" y="15"/>
                  </a:cubicBezTo>
                  <a:cubicBezTo>
                    <a:pt x="53" y="15"/>
                    <a:pt x="50" y="15"/>
                    <a:pt x="47" y="15"/>
                  </a:cubicBezTo>
                  <a:cubicBezTo>
                    <a:pt x="43" y="15"/>
                    <a:pt x="39" y="15"/>
                    <a:pt x="35" y="15"/>
                  </a:cubicBezTo>
                  <a:cubicBezTo>
                    <a:pt x="32" y="16"/>
                    <a:pt x="32" y="16"/>
                    <a:pt x="32" y="16"/>
                  </a:cubicBezTo>
                  <a:cubicBezTo>
                    <a:pt x="32" y="13"/>
                    <a:pt x="32" y="13"/>
                    <a:pt x="32" y="13"/>
                  </a:cubicBezTo>
                  <a:cubicBezTo>
                    <a:pt x="32" y="11"/>
                    <a:pt x="32" y="8"/>
                    <a:pt x="32" y="6"/>
                  </a:cubicBezTo>
                  <a:cubicBezTo>
                    <a:pt x="32" y="1"/>
                    <a:pt x="32" y="1"/>
                    <a:pt x="32" y="1"/>
                  </a:cubicBezTo>
                  <a:cubicBezTo>
                    <a:pt x="32" y="0"/>
                    <a:pt x="32" y="0"/>
                    <a:pt x="32" y="0"/>
                  </a:cubicBezTo>
                  <a:cubicBezTo>
                    <a:pt x="32"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426"/>
            <p:cNvSpPr/>
            <p:nvPr/>
          </p:nvSpPr>
          <p:spPr bwMode="auto">
            <a:xfrm>
              <a:off x="3383611" y="4838799"/>
              <a:ext cx="484159" cy="255834"/>
            </a:xfrm>
            <a:custGeom>
              <a:gdLst>
                <a:gd name="T0" fmla="*/ 25 w 149"/>
                <a:gd name="T1" fmla="*/ 1 h 79"/>
                <a:gd name="T2" fmla="*/ 22 w 149"/>
                <a:gd name="T3" fmla="*/ 7 h 79"/>
                <a:gd name="T4" fmla="*/ 15 w 149"/>
                <a:gd name="T5" fmla="*/ 7 h 79"/>
                <a:gd name="T6" fmla="*/ 4 w 149"/>
                <a:gd name="T7" fmla="*/ 17 h 79"/>
                <a:gd name="T8" fmla="*/ 4 w 149"/>
                <a:gd name="T9" fmla="*/ 21 h 79"/>
                <a:gd name="T10" fmla="*/ 0 w 149"/>
                <a:gd name="T11" fmla="*/ 30 h 79"/>
                <a:gd name="T12" fmla="*/ 7 w 149"/>
                <a:gd name="T13" fmla="*/ 32 h 79"/>
                <a:gd name="T14" fmla="*/ 20 w 149"/>
                <a:gd name="T15" fmla="*/ 40 h 79"/>
                <a:gd name="T16" fmla="*/ 25 w 149"/>
                <a:gd name="T17" fmla="*/ 44 h 79"/>
                <a:gd name="T18" fmla="*/ 29 w 149"/>
                <a:gd name="T19" fmla="*/ 47 h 79"/>
                <a:gd name="T20" fmla="*/ 34 w 149"/>
                <a:gd name="T21" fmla="*/ 48 h 79"/>
                <a:gd name="T22" fmla="*/ 40 w 149"/>
                <a:gd name="T23" fmla="*/ 49 h 79"/>
                <a:gd name="T24" fmla="*/ 49 w 149"/>
                <a:gd name="T25" fmla="*/ 54 h 79"/>
                <a:gd name="T26" fmla="*/ 55 w 149"/>
                <a:gd name="T27" fmla="*/ 57 h 79"/>
                <a:gd name="T28" fmla="*/ 62 w 149"/>
                <a:gd name="T29" fmla="*/ 57 h 79"/>
                <a:gd name="T30" fmla="*/ 64 w 149"/>
                <a:gd name="T31" fmla="*/ 57 h 79"/>
                <a:gd name="T32" fmla="*/ 70 w 149"/>
                <a:gd name="T33" fmla="*/ 57 h 79"/>
                <a:gd name="T34" fmla="*/ 77 w 149"/>
                <a:gd name="T35" fmla="*/ 56 h 79"/>
                <a:gd name="T36" fmla="*/ 84 w 149"/>
                <a:gd name="T37" fmla="*/ 59 h 79"/>
                <a:gd name="T38" fmla="*/ 87 w 149"/>
                <a:gd name="T39" fmla="*/ 65 h 79"/>
                <a:gd name="T40" fmla="*/ 94 w 149"/>
                <a:gd name="T41" fmla="*/ 69 h 79"/>
                <a:gd name="T42" fmla="*/ 97 w 149"/>
                <a:gd name="T43" fmla="*/ 71 h 79"/>
                <a:gd name="T44" fmla="*/ 99 w 149"/>
                <a:gd name="T45" fmla="*/ 71 h 79"/>
                <a:gd name="T46" fmla="*/ 103 w 149"/>
                <a:gd name="T47" fmla="*/ 70 h 79"/>
                <a:gd name="T48" fmla="*/ 106 w 149"/>
                <a:gd name="T49" fmla="*/ 71 h 79"/>
                <a:gd name="T50" fmla="*/ 109 w 149"/>
                <a:gd name="T51" fmla="*/ 75 h 79"/>
                <a:gd name="T52" fmla="*/ 112 w 149"/>
                <a:gd name="T53" fmla="*/ 74 h 79"/>
                <a:gd name="T54" fmla="*/ 119 w 149"/>
                <a:gd name="T55" fmla="*/ 75 h 79"/>
                <a:gd name="T56" fmla="*/ 127 w 149"/>
                <a:gd name="T57" fmla="*/ 76 h 79"/>
                <a:gd name="T58" fmla="*/ 131 w 149"/>
                <a:gd name="T59" fmla="*/ 75 h 79"/>
                <a:gd name="T60" fmla="*/ 133 w 149"/>
                <a:gd name="T61" fmla="*/ 78 h 79"/>
                <a:gd name="T62" fmla="*/ 141 w 149"/>
                <a:gd name="T63" fmla="*/ 79 h 79"/>
                <a:gd name="T64" fmla="*/ 145 w 149"/>
                <a:gd name="T65" fmla="*/ 79 h 79"/>
                <a:gd name="T66" fmla="*/ 148 w 149"/>
                <a:gd name="T67" fmla="*/ 78 h 79"/>
                <a:gd name="T68" fmla="*/ 148 w 149"/>
                <a:gd name="T69" fmla="*/ 72 h 79"/>
                <a:gd name="T70" fmla="*/ 146 w 149"/>
                <a:gd name="T71" fmla="*/ 61 h 79"/>
                <a:gd name="T72" fmla="*/ 137 w 149"/>
                <a:gd name="T73" fmla="*/ 53 h 79"/>
                <a:gd name="T74" fmla="*/ 123 w 149"/>
                <a:gd name="T75" fmla="*/ 49 h 79"/>
                <a:gd name="T76" fmla="*/ 117 w 149"/>
                <a:gd name="T77" fmla="*/ 51 h 79"/>
                <a:gd name="T78" fmla="*/ 108 w 149"/>
                <a:gd name="T79" fmla="*/ 50 h 79"/>
                <a:gd name="T80" fmla="*/ 104 w 149"/>
                <a:gd name="T81" fmla="*/ 44 h 79"/>
                <a:gd name="T82" fmla="*/ 99 w 149"/>
                <a:gd name="T83" fmla="*/ 44 h 79"/>
                <a:gd name="T84" fmla="*/ 91 w 149"/>
                <a:gd name="T85" fmla="*/ 42 h 79"/>
                <a:gd name="T86" fmla="*/ 85 w 149"/>
                <a:gd name="T87" fmla="*/ 38 h 79"/>
                <a:gd name="T88" fmla="*/ 79 w 149"/>
                <a:gd name="T89" fmla="*/ 34 h 79"/>
                <a:gd name="T90" fmla="*/ 74 w 149"/>
                <a:gd name="T91" fmla="*/ 27 h 79"/>
                <a:gd name="T92" fmla="*/ 68 w 149"/>
                <a:gd name="T93" fmla="*/ 26 h 79"/>
                <a:gd name="T94" fmla="*/ 61 w 149"/>
                <a:gd name="T95" fmla="*/ 22 h 79"/>
                <a:gd name="T96" fmla="*/ 58 w 149"/>
                <a:gd name="T97" fmla="*/ 19 h 79"/>
                <a:gd name="T98" fmla="*/ 55 w 149"/>
                <a:gd name="T99" fmla="*/ 22 h 79"/>
                <a:gd name="T100" fmla="*/ 53 w 149"/>
                <a:gd name="T101" fmla="*/ 16 h 79"/>
                <a:gd name="T102" fmla="*/ 43 w 149"/>
                <a:gd name="T103" fmla="*/ 10 h 79"/>
                <a:gd name="T104" fmla="*/ 35 w 149"/>
                <a:gd name="T105" fmla="*/ 6 h 79"/>
                <a:gd name="T106" fmla="*/ 27 w 149"/>
                <a:gd name="T107" fmla="*/ 0 h 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9" h="79">
                  <a:moveTo>
                    <a:pt x="26" y="0"/>
                  </a:moveTo>
                  <a:cubicBezTo>
                    <a:pt x="26" y="0"/>
                    <a:pt x="26" y="0"/>
                    <a:pt x="25" y="1"/>
                  </a:cubicBezTo>
                  <a:cubicBezTo>
                    <a:pt x="25" y="1"/>
                    <a:pt x="25" y="1"/>
                    <a:pt x="25" y="1"/>
                  </a:cubicBezTo>
                  <a:cubicBezTo>
                    <a:pt x="25" y="1"/>
                    <a:pt x="25" y="1"/>
                    <a:pt x="25" y="1"/>
                  </a:cubicBezTo>
                  <a:cubicBezTo>
                    <a:pt x="25" y="1"/>
                    <a:pt x="25" y="1"/>
                    <a:pt x="25" y="1"/>
                  </a:cubicBezTo>
                  <a:cubicBezTo>
                    <a:pt x="25" y="1"/>
                    <a:pt x="25" y="1"/>
                    <a:pt x="25" y="1"/>
                  </a:cubicBezTo>
                  <a:cubicBezTo>
                    <a:pt x="24" y="3"/>
                    <a:pt x="23" y="4"/>
                    <a:pt x="23" y="5"/>
                  </a:cubicBezTo>
                  <a:cubicBezTo>
                    <a:pt x="22" y="7"/>
                    <a:pt x="22" y="7"/>
                    <a:pt x="22" y="7"/>
                  </a:cubicBezTo>
                  <a:cubicBezTo>
                    <a:pt x="21" y="8"/>
                    <a:pt x="21" y="8"/>
                    <a:pt x="21" y="8"/>
                  </a:cubicBezTo>
                  <a:cubicBezTo>
                    <a:pt x="19" y="8"/>
                    <a:pt x="18" y="8"/>
                    <a:pt x="18" y="8"/>
                  </a:cubicBezTo>
                  <a:cubicBezTo>
                    <a:pt x="17" y="8"/>
                    <a:pt x="16" y="8"/>
                    <a:pt x="16" y="7"/>
                  </a:cubicBezTo>
                  <a:cubicBezTo>
                    <a:pt x="15" y="7"/>
                    <a:pt x="15" y="7"/>
                    <a:pt x="15" y="7"/>
                  </a:cubicBezTo>
                  <a:cubicBezTo>
                    <a:pt x="15" y="6"/>
                    <a:pt x="15" y="6"/>
                    <a:pt x="15" y="6"/>
                  </a:cubicBezTo>
                  <a:cubicBezTo>
                    <a:pt x="6" y="16"/>
                    <a:pt x="6" y="16"/>
                    <a:pt x="6" y="16"/>
                  </a:cubicBezTo>
                  <a:cubicBezTo>
                    <a:pt x="5" y="17"/>
                    <a:pt x="5" y="17"/>
                    <a:pt x="5" y="17"/>
                  </a:cubicBezTo>
                  <a:cubicBezTo>
                    <a:pt x="4" y="17"/>
                    <a:pt x="4" y="17"/>
                    <a:pt x="4" y="17"/>
                  </a:cubicBezTo>
                  <a:cubicBezTo>
                    <a:pt x="3" y="18"/>
                    <a:pt x="3" y="18"/>
                    <a:pt x="3" y="18"/>
                  </a:cubicBezTo>
                  <a:cubicBezTo>
                    <a:pt x="3" y="18"/>
                    <a:pt x="3" y="18"/>
                    <a:pt x="3" y="18"/>
                  </a:cubicBezTo>
                  <a:cubicBezTo>
                    <a:pt x="3" y="19"/>
                    <a:pt x="3" y="19"/>
                    <a:pt x="3" y="19"/>
                  </a:cubicBezTo>
                  <a:cubicBezTo>
                    <a:pt x="4" y="19"/>
                    <a:pt x="4" y="20"/>
                    <a:pt x="4" y="21"/>
                  </a:cubicBezTo>
                  <a:cubicBezTo>
                    <a:pt x="4" y="22"/>
                    <a:pt x="3" y="23"/>
                    <a:pt x="2" y="25"/>
                  </a:cubicBezTo>
                  <a:cubicBezTo>
                    <a:pt x="2" y="25"/>
                    <a:pt x="2" y="25"/>
                    <a:pt x="2" y="25"/>
                  </a:cubicBezTo>
                  <a:cubicBezTo>
                    <a:pt x="1" y="26"/>
                    <a:pt x="1" y="27"/>
                    <a:pt x="0" y="28"/>
                  </a:cubicBezTo>
                  <a:cubicBezTo>
                    <a:pt x="0" y="28"/>
                    <a:pt x="0" y="29"/>
                    <a:pt x="0" y="30"/>
                  </a:cubicBezTo>
                  <a:cubicBezTo>
                    <a:pt x="0" y="30"/>
                    <a:pt x="0" y="31"/>
                    <a:pt x="1" y="31"/>
                  </a:cubicBezTo>
                  <a:cubicBezTo>
                    <a:pt x="2" y="32"/>
                    <a:pt x="2" y="32"/>
                    <a:pt x="4" y="33"/>
                  </a:cubicBezTo>
                  <a:cubicBezTo>
                    <a:pt x="4" y="29"/>
                    <a:pt x="4" y="29"/>
                    <a:pt x="4" y="29"/>
                  </a:cubicBezTo>
                  <a:cubicBezTo>
                    <a:pt x="7" y="32"/>
                    <a:pt x="7" y="32"/>
                    <a:pt x="7" y="32"/>
                  </a:cubicBezTo>
                  <a:cubicBezTo>
                    <a:pt x="8" y="33"/>
                    <a:pt x="10" y="33"/>
                    <a:pt x="11" y="34"/>
                  </a:cubicBezTo>
                  <a:cubicBezTo>
                    <a:pt x="12" y="35"/>
                    <a:pt x="12" y="35"/>
                    <a:pt x="12" y="35"/>
                  </a:cubicBezTo>
                  <a:cubicBezTo>
                    <a:pt x="14" y="35"/>
                    <a:pt x="15" y="36"/>
                    <a:pt x="17" y="37"/>
                  </a:cubicBezTo>
                  <a:cubicBezTo>
                    <a:pt x="18" y="38"/>
                    <a:pt x="19" y="39"/>
                    <a:pt x="20" y="40"/>
                  </a:cubicBezTo>
                  <a:cubicBezTo>
                    <a:pt x="22" y="38"/>
                    <a:pt x="22" y="38"/>
                    <a:pt x="22" y="38"/>
                  </a:cubicBezTo>
                  <a:cubicBezTo>
                    <a:pt x="21" y="40"/>
                    <a:pt x="21" y="40"/>
                    <a:pt x="21" y="40"/>
                  </a:cubicBezTo>
                  <a:cubicBezTo>
                    <a:pt x="21" y="41"/>
                    <a:pt x="21" y="41"/>
                    <a:pt x="21" y="41"/>
                  </a:cubicBezTo>
                  <a:cubicBezTo>
                    <a:pt x="23" y="42"/>
                    <a:pt x="24" y="43"/>
                    <a:pt x="25" y="44"/>
                  </a:cubicBezTo>
                  <a:cubicBezTo>
                    <a:pt x="26" y="45"/>
                    <a:pt x="26" y="45"/>
                    <a:pt x="26" y="45"/>
                  </a:cubicBezTo>
                  <a:cubicBezTo>
                    <a:pt x="27" y="45"/>
                    <a:pt x="27" y="45"/>
                    <a:pt x="27" y="45"/>
                  </a:cubicBezTo>
                  <a:cubicBezTo>
                    <a:pt x="27" y="45"/>
                    <a:pt x="27" y="46"/>
                    <a:pt x="28" y="46"/>
                  </a:cubicBezTo>
                  <a:cubicBezTo>
                    <a:pt x="29" y="47"/>
                    <a:pt x="29" y="47"/>
                    <a:pt x="29" y="47"/>
                  </a:cubicBezTo>
                  <a:cubicBezTo>
                    <a:pt x="31" y="48"/>
                    <a:pt x="31" y="48"/>
                    <a:pt x="32" y="49"/>
                  </a:cubicBezTo>
                  <a:cubicBezTo>
                    <a:pt x="32" y="49"/>
                    <a:pt x="32" y="49"/>
                    <a:pt x="32" y="49"/>
                  </a:cubicBezTo>
                  <a:cubicBezTo>
                    <a:pt x="32" y="48"/>
                    <a:pt x="32" y="48"/>
                    <a:pt x="32" y="48"/>
                  </a:cubicBezTo>
                  <a:cubicBezTo>
                    <a:pt x="33" y="48"/>
                    <a:pt x="33" y="48"/>
                    <a:pt x="34" y="48"/>
                  </a:cubicBezTo>
                  <a:cubicBezTo>
                    <a:pt x="35" y="48"/>
                    <a:pt x="35" y="48"/>
                    <a:pt x="35" y="48"/>
                  </a:cubicBezTo>
                  <a:cubicBezTo>
                    <a:pt x="35" y="48"/>
                    <a:pt x="35" y="48"/>
                    <a:pt x="35" y="48"/>
                  </a:cubicBezTo>
                  <a:cubicBezTo>
                    <a:pt x="36" y="48"/>
                    <a:pt x="36" y="48"/>
                    <a:pt x="36" y="48"/>
                  </a:cubicBezTo>
                  <a:cubicBezTo>
                    <a:pt x="38" y="49"/>
                    <a:pt x="39" y="49"/>
                    <a:pt x="40" y="49"/>
                  </a:cubicBezTo>
                  <a:cubicBezTo>
                    <a:pt x="48" y="52"/>
                    <a:pt x="48" y="52"/>
                    <a:pt x="48" y="52"/>
                  </a:cubicBezTo>
                  <a:cubicBezTo>
                    <a:pt x="49" y="53"/>
                    <a:pt x="49" y="53"/>
                    <a:pt x="49" y="53"/>
                  </a:cubicBezTo>
                  <a:cubicBezTo>
                    <a:pt x="49" y="53"/>
                    <a:pt x="49" y="53"/>
                    <a:pt x="49" y="53"/>
                  </a:cubicBezTo>
                  <a:cubicBezTo>
                    <a:pt x="49" y="54"/>
                    <a:pt x="49" y="54"/>
                    <a:pt x="49" y="54"/>
                  </a:cubicBezTo>
                  <a:cubicBezTo>
                    <a:pt x="50" y="54"/>
                    <a:pt x="50" y="55"/>
                    <a:pt x="50" y="55"/>
                  </a:cubicBezTo>
                  <a:cubicBezTo>
                    <a:pt x="50" y="56"/>
                    <a:pt x="50" y="56"/>
                    <a:pt x="50" y="56"/>
                  </a:cubicBezTo>
                  <a:cubicBezTo>
                    <a:pt x="51" y="56"/>
                    <a:pt x="51" y="57"/>
                    <a:pt x="52" y="57"/>
                  </a:cubicBezTo>
                  <a:cubicBezTo>
                    <a:pt x="53" y="57"/>
                    <a:pt x="54" y="57"/>
                    <a:pt x="55" y="57"/>
                  </a:cubicBezTo>
                  <a:cubicBezTo>
                    <a:pt x="56" y="58"/>
                    <a:pt x="58" y="58"/>
                    <a:pt x="59" y="59"/>
                  </a:cubicBezTo>
                  <a:cubicBezTo>
                    <a:pt x="61" y="58"/>
                    <a:pt x="61" y="58"/>
                    <a:pt x="61" y="58"/>
                  </a:cubicBezTo>
                  <a:cubicBezTo>
                    <a:pt x="61" y="58"/>
                    <a:pt x="61" y="57"/>
                    <a:pt x="61" y="57"/>
                  </a:cubicBezTo>
                  <a:cubicBezTo>
                    <a:pt x="62" y="57"/>
                    <a:pt x="62" y="57"/>
                    <a:pt x="62" y="57"/>
                  </a:cubicBezTo>
                  <a:cubicBezTo>
                    <a:pt x="63" y="57"/>
                    <a:pt x="63" y="57"/>
                    <a:pt x="63" y="57"/>
                  </a:cubicBezTo>
                  <a:cubicBezTo>
                    <a:pt x="63" y="57"/>
                    <a:pt x="63" y="57"/>
                    <a:pt x="63" y="57"/>
                  </a:cubicBezTo>
                  <a:cubicBezTo>
                    <a:pt x="63" y="57"/>
                    <a:pt x="63" y="57"/>
                    <a:pt x="63" y="57"/>
                  </a:cubicBezTo>
                  <a:cubicBezTo>
                    <a:pt x="64" y="57"/>
                    <a:pt x="64" y="57"/>
                    <a:pt x="64" y="57"/>
                  </a:cubicBezTo>
                  <a:cubicBezTo>
                    <a:pt x="64" y="57"/>
                    <a:pt x="64" y="57"/>
                    <a:pt x="64" y="57"/>
                  </a:cubicBezTo>
                  <a:cubicBezTo>
                    <a:pt x="68" y="59"/>
                    <a:pt x="68" y="59"/>
                    <a:pt x="68" y="59"/>
                  </a:cubicBezTo>
                  <a:cubicBezTo>
                    <a:pt x="69" y="58"/>
                    <a:pt x="69" y="58"/>
                    <a:pt x="69" y="58"/>
                  </a:cubicBezTo>
                  <a:cubicBezTo>
                    <a:pt x="69" y="58"/>
                    <a:pt x="70" y="57"/>
                    <a:pt x="70" y="57"/>
                  </a:cubicBezTo>
                  <a:cubicBezTo>
                    <a:pt x="70" y="53"/>
                    <a:pt x="70" y="53"/>
                    <a:pt x="70" y="53"/>
                  </a:cubicBezTo>
                  <a:cubicBezTo>
                    <a:pt x="72" y="57"/>
                    <a:pt x="72" y="57"/>
                    <a:pt x="72" y="57"/>
                  </a:cubicBezTo>
                  <a:cubicBezTo>
                    <a:pt x="72" y="56"/>
                    <a:pt x="74" y="56"/>
                    <a:pt x="75" y="56"/>
                  </a:cubicBezTo>
                  <a:cubicBezTo>
                    <a:pt x="76" y="56"/>
                    <a:pt x="76" y="56"/>
                    <a:pt x="77" y="56"/>
                  </a:cubicBezTo>
                  <a:cubicBezTo>
                    <a:pt x="77" y="57"/>
                    <a:pt x="77" y="57"/>
                    <a:pt x="77" y="57"/>
                  </a:cubicBezTo>
                  <a:cubicBezTo>
                    <a:pt x="78" y="57"/>
                    <a:pt x="78" y="57"/>
                    <a:pt x="78" y="57"/>
                  </a:cubicBezTo>
                  <a:cubicBezTo>
                    <a:pt x="79" y="57"/>
                    <a:pt x="79" y="57"/>
                    <a:pt x="79" y="57"/>
                  </a:cubicBezTo>
                  <a:cubicBezTo>
                    <a:pt x="80" y="58"/>
                    <a:pt x="82" y="58"/>
                    <a:pt x="84" y="59"/>
                  </a:cubicBezTo>
                  <a:cubicBezTo>
                    <a:pt x="84" y="60"/>
                    <a:pt x="86" y="61"/>
                    <a:pt x="86" y="62"/>
                  </a:cubicBezTo>
                  <a:cubicBezTo>
                    <a:pt x="86" y="63"/>
                    <a:pt x="86" y="63"/>
                    <a:pt x="86" y="64"/>
                  </a:cubicBezTo>
                  <a:cubicBezTo>
                    <a:pt x="86" y="64"/>
                    <a:pt x="86" y="65"/>
                    <a:pt x="86" y="65"/>
                  </a:cubicBezTo>
                  <a:cubicBezTo>
                    <a:pt x="87" y="65"/>
                    <a:pt x="87" y="65"/>
                    <a:pt x="87" y="65"/>
                  </a:cubicBezTo>
                  <a:cubicBezTo>
                    <a:pt x="87" y="66"/>
                    <a:pt x="87" y="66"/>
                    <a:pt x="87" y="66"/>
                  </a:cubicBezTo>
                  <a:cubicBezTo>
                    <a:pt x="88" y="66"/>
                    <a:pt x="88" y="67"/>
                    <a:pt x="89" y="67"/>
                  </a:cubicBezTo>
                  <a:cubicBezTo>
                    <a:pt x="90" y="67"/>
                    <a:pt x="90" y="67"/>
                    <a:pt x="90" y="67"/>
                  </a:cubicBezTo>
                  <a:cubicBezTo>
                    <a:pt x="91" y="67"/>
                    <a:pt x="93" y="68"/>
                    <a:pt x="94" y="69"/>
                  </a:cubicBezTo>
                  <a:cubicBezTo>
                    <a:pt x="97" y="64"/>
                    <a:pt x="97" y="64"/>
                    <a:pt x="97" y="64"/>
                  </a:cubicBezTo>
                  <a:cubicBezTo>
                    <a:pt x="96" y="70"/>
                    <a:pt x="96" y="70"/>
                    <a:pt x="96" y="70"/>
                  </a:cubicBezTo>
                  <a:cubicBezTo>
                    <a:pt x="96" y="70"/>
                    <a:pt x="96" y="70"/>
                    <a:pt x="96" y="70"/>
                  </a:cubicBezTo>
                  <a:cubicBezTo>
                    <a:pt x="96" y="70"/>
                    <a:pt x="97" y="70"/>
                    <a:pt x="97" y="71"/>
                  </a:cubicBezTo>
                  <a:cubicBezTo>
                    <a:pt x="97" y="71"/>
                    <a:pt x="97" y="71"/>
                    <a:pt x="97" y="71"/>
                  </a:cubicBezTo>
                  <a:cubicBezTo>
                    <a:pt x="98" y="71"/>
                    <a:pt x="98" y="71"/>
                    <a:pt x="98" y="71"/>
                  </a:cubicBezTo>
                  <a:cubicBezTo>
                    <a:pt x="98" y="71"/>
                    <a:pt x="98" y="71"/>
                    <a:pt x="98" y="71"/>
                  </a:cubicBezTo>
                  <a:cubicBezTo>
                    <a:pt x="98" y="71"/>
                    <a:pt x="98" y="71"/>
                    <a:pt x="99" y="71"/>
                  </a:cubicBezTo>
                  <a:cubicBezTo>
                    <a:pt x="99" y="71"/>
                    <a:pt x="99" y="71"/>
                    <a:pt x="99" y="71"/>
                  </a:cubicBezTo>
                  <a:cubicBezTo>
                    <a:pt x="100" y="70"/>
                    <a:pt x="101" y="70"/>
                    <a:pt x="101" y="70"/>
                  </a:cubicBezTo>
                  <a:cubicBezTo>
                    <a:pt x="102" y="70"/>
                    <a:pt x="102" y="70"/>
                    <a:pt x="102" y="70"/>
                  </a:cubicBezTo>
                  <a:cubicBezTo>
                    <a:pt x="102" y="70"/>
                    <a:pt x="103" y="70"/>
                    <a:pt x="103" y="70"/>
                  </a:cubicBezTo>
                  <a:cubicBezTo>
                    <a:pt x="103" y="70"/>
                    <a:pt x="103" y="70"/>
                    <a:pt x="103" y="70"/>
                  </a:cubicBezTo>
                  <a:cubicBezTo>
                    <a:pt x="105" y="70"/>
                    <a:pt x="105" y="70"/>
                    <a:pt x="105" y="70"/>
                  </a:cubicBezTo>
                  <a:cubicBezTo>
                    <a:pt x="105" y="70"/>
                    <a:pt x="105" y="70"/>
                    <a:pt x="105" y="70"/>
                  </a:cubicBezTo>
                  <a:cubicBezTo>
                    <a:pt x="106" y="71"/>
                    <a:pt x="106" y="71"/>
                    <a:pt x="106" y="71"/>
                  </a:cubicBezTo>
                  <a:cubicBezTo>
                    <a:pt x="106" y="71"/>
                    <a:pt x="106" y="71"/>
                    <a:pt x="106" y="71"/>
                  </a:cubicBezTo>
                  <a:cubicBezTo>
                    <a:pt x="106" y="72"/>
                    <a:pt x="106" y="72"/>
                    <a:pt x="106" y="72"/>
                  </a:cubicBezTo>
                  <a:cubicBezTo>
                    <a:pt x="107" y="72"/>
                    <a:pt x="108" y="73"/>
                    <a:pt x="108" y="74"/>
                  </a:cubicBezTo>
                  <a:cubicBezTo>
                    <a:pt x="108" y="74"/>
                    <a:pt x="108" y="74"/>
                    <a:pt x="109" y="75"/>
                  </a:cubicBezTo>
                  <a:cubicBezTo>
                    <a:pt x="109" y="75"/>
                    <a:pt x="109" y="75"/>
                    <a:pt x="109" y="75"/>
                  </a:cubicBezTo>
                  <a:cubicBezTo>
                    <a:pt x="110" y="75"/>
                    <a:pt x="110" y="75"/>
                    <a:pt x="110" y="75"/>
                  </a:cubicBezTo>
                  <a:cubicBezTo>
                    <a:pt x="111" y="75"/>
                    <a:pt x="111" y="75"/>
                    <a:pt x="111" y="75"/>
                  </a:cubicBezTo>
                  <a:cubicBezTo>
                    <a:pt x="112" y="75"/>
                    <a:pt x="112" y="74"/>
                    <a:pt x="112" y="74"/>
                  </a:cubicBezTo>
                  <a:cubicBezTo>
                    <a:pt x="113" y="74"/>
                    <a:pt x="113" y="74"/>
                    <a:pt x="113" y="74"/>
                  </a:cubicBezTo>
                  <a:cubicBezTo>
                    <a:pt x="114" y="74"/>
                    <a:pt x="115" y="74"/>
                    <a:pt x="116" y="75"/>
                  </a:cubicBezTo>
                  <a:cubicBezTo>
                    <a:pt x="116" y="75"/>
                    <a:pt x="116" y="75"/>
                    <a:pt x="116" y="75"/>
                  </a:cubicBezTo>
                  <a:cubicBezTo>
                    <a:pt x="117" y="75"/>
                    <a:pt x="118" y="75"/>
                    <a:pt x="119" y="75"/>
                  </a:cubicBezTo>
                  <a:cubicBezTo>
                    <a:pt x="119" y="75"/>
                    <a:pt x="120" y="76"/>
                    <a:pt x="121" y="76"/>
                  </a:cubicBezTo>
                  <a:cubicBezTo>
                    <a:pt x="124" y="78"/>
                    <a:pt x="124" y="78"/>
                    <a:pt x="124" y="78"/>
                  </a:cubicBezTo>
                  <a:cubicBezTo>
                    <a:pt x="125" y="78"/>
                    <a:pt x="125" y="77"/>
                    <a:pt x="126" y="77"/>
                  </a:cubicBezTo>
                  <a:cubicBezTo>
                    <a:pt x="127" y="76"/>
                    <a:pt x="127" y="76"/>
                    <a:pt x="127" y="76"/>
                  </a:cubicBezTo>
                  <a:cubicBezTo>
                    <a:pt x="127" y="76"/>
                    <a:pt x="128" y="75"/>
                    <a:pt x="129" y="75"/>
                  </a:cubicBezTo>
                  <a:cubicBezTo>
                    <a:pt x="130" y="75"/>
                    <a:pt x="130" y="75"/>
                    <a:pt x="130" y="75"/>
                  </a:cubicBezTo>
                  <a:cubicBezTo>
                    <a:pt x="130" y="75"/>
                    <a:pt x="130" y="75"/>
                    <a:pt x="130" y="75"/>
                  </a:cubicBezTo>
                  <a:cubicBezTo>
                    <a:pt x="131" y="75"/>
                    <a:pt x="131" y="75"/>
                    <a:pt x="131" y="75"/>
                  </a:cubicBezTo>
                  <a:cubicBezTo>
                    <a:pt x="132" y="76"/>
                    <a:pt x="132" y="76"/>
                    <a:pt x="132" y="76"/>
                  </a:cubicBezTo>
                  <a:cubicBezTo>
                    <a:pt x="132" y="76"/>
                    <a:pt x="132" y="76"/>
                    <a:pt x="132" y="76"/>
                  </a:cubicBezTo>
                  <a:cubicBezTo>
                    <a:pt x="132" y="76"/>
                    <a:pt x="133" y="77"/>
                    <a:pt x="133" y="77"/>
                  </a:cubicBezTo>
                  <a:cubicBezTo>
                    <a:pt x="133" y="78"/>
                    <a:pt x="133" y="78"/>
                    <a:pt x="133" y="78"/>
                  </a:cubicBezTo>
                  <a:cubicBezTo>
                    <a:pt x="133" y="78"/>
                    <a:pt x="133" y="78"/>
                    <a:pt x="133" y="78"/>
                  </a:cubicBezTo>
                  <a:cubicBezTo>
                    <a:pt x="133" y="78"/>
                    <a:pt x="133" y="78"/>
                    <a:pt x="133" y="78"/>
                  </a:cubicBezTo>
                  <a:cubicBezTo>
                    <a:pt x="134" y="78"/>
                    <a:pt x="135" y="78"/>
                    <a:pt x="137" y="79"/>
                  </a:cubicBezTo>
                  <a:cubicBezTo>
                    <a:pt x="141" y="79"/>
                    <a:pt x="141" y="79"/>
                    <a:pt x="141" y="79"/>
                  </a:cubicBezTo>
                  <a:cubicBezTo>
                    <a:pt x="142" y="79"/>
                    <a:pt x="142" y="79"/>
                    <a:pt x="142" y="79"/>
                  </a:cubicBezTo>
                  <a:cubicBezTo>
                    <a:pt x="142" y="79"/>
                    <a:pt x="142" y="79"/>
                    <a:pt x="142" y="79"/>
                  </a:cubicBezTo>
                  <a:cubicBezTo>
                    <a:pt x="143" y="79"/>
                    <a:pt x="143" y="79"/>
                    <a:pt x="144" y="79"/>
                  </a:cubicBezTo>
                  <a:cubicBezTo>
                    <a:pt x="145" y="79"/>
                    <a:pt x="145" y="79"/>
                    <a:pt x="145" y="79"/>
                  </a:cubicBezTo>
                  <a:cubicBezTo>
                    <a:pt x="146" y="79"/>
                    <a:pt x="146" y="79"/>
                    <a:pt x="146" y="79"/>
                  </a:cubicBezTo>
                  <a:cubicBezTo>
                    <a:pt x="147" y="79"/>
                    <a:pt x="147" y="79"/>
                    <a:pt x="147" y="79"/>
                  </a:cubicBezTo>
                  <a:cubicBezTo>
                    <a:pt x="147" y="79"/>
                    <a:pt x="147" y="79"/>
                    <a:pt x="147" y="79"/>
                  </a:cubicBezTo>
                  <a:cubicBezTo>
                    <a:pt x="148" y="78"/>
                    <a:pt x="148" y="78"/>
                    <a:pt x="148" y="78"/>
                  </a:cubicBezTo>
                  <a:cubicBezTo>
                    <a:pt x="148" y="77"/>
                    <a:pt x="148" y="77"/>
                    <a:pt x="148" y="77"/>
                  </a:cubicBezTo>
                  <a:cubicBezTo>
                    <a:pt x="149" y="76"/>
                    <a:pt x="149" y="75"/>
                    <a:pt x="149" y="74"/>
                  </a:cubicBezTo>
                  <a:cubicBezTo>
                    <a:pt x="149" y="73"/>
                    <a:pt x="149" y="73"/>
                    <a:pt x="149" y="73"/>
                  </a:cubicBezTo>
                  <a:cubicBezTo>
                    <a:pt x="149" y="73"/>
                    <a:pt x="149" y="72"/>
                    <a:pt x="148" y="72"/>
                  </a:cubicBezTo>
                  <a:cubicBezTo>
                    <a:pt x="148" y="71"/>
                    <a:pt x="148" y="71"/>
                    <a:pt x="147" y="70"/>
                  </a:cubicBezTo>
                  <a:cubicBezTo>
                    <a:pt x="147" y="70"/>
                    <a:pt x="147" y="70"/>
                    <a:pt x="147" y="70"/>
                  </a:cubicBezTo>
                  <a:cubicBezTo>
                    <a:pt x="147" y="69"/>
                    <a:pt x="146" y="68"/>
                    <a:pt x="146" y="67"/>
                  </a:cubicBezTo>
                  <a:cubicBezTo>
                    <a:pt x="146" y="66"/>
                    <a:pt x="146" y="64"/>
                    <a:pt x="146" y="61"/>
                  </a:cubicBezTo>
                  <a:cubicBezTo>
                    <a:pt x="146" y="59"/>
                    <a:pt x="147" y="57"/>
                    <a:pt x="148" y="55"/>
                  </a:cubicBezTo>
                  <a:cubicBezTo>
                    <a:pt x="148" y="53"/>
                    <a:pt x="148" y="53"/>
                    <a:pt x="148" y="53"/>
                  </a:cubicBezTo>
                  <a:cubicBezTo>
                    <a:pt x="147" y="54"/>
                    <a:pt x="145" y="54"/>
                    <a:pt x="144" y="54"/>
                  </a:cubicBezTo>
                  <a:cubicBezTo>
                    <a:pt x="142" y="54"/>
                    <a:pt x="139" y="53"/>
                    <a:pt x="137" y="53"/>
                  </a:cubicBezTo>
                  <a:cubicBezTo>
                    <a:pt x="135" y="53"/>
                    <a:pt x="133" y="52"/>
                    <a:pt x="131" y="52"/>
                  </a:cubicBezTo>
                  <a:cubicBezTo>
                    <a:pt x="129" y="51"/>
                    <a:pt x="127" y="50"/>
                    <a:pt x="125" y="49"/>
                  </a:cubicBezTo>
                  <a:cubicBezTo>
                    <a:pt x="124" y="49"/>
                    <a:pt x="124" y="49"/>
                    <a:pt x="124" y="49"/>
                  </a:cubicBezTo>
                  <a:cubicBezTo>
                    <a:pt x="123" y="49"/>
                    <a:pt x="123" y="49"/>
                    <a:pt x="123" y="49"/>
                  </a:cubicBezTo>
                  <a:cubicBezTo>
                    <a:pt x="123" y="49"/>
                    <a:pt x="123" y="49"/>
                    <a:pt x="123" y="49"/>
                  </a:cubicBezTo>
                  <a:cubicBezTo>
                    <a:pt x="123" y="50"/>
                    <a:pt x="122" y="51"/>
                    <a:pt x="120" y="51"/>
                  </a:cubicBezTo>
                  <a:cubicBezTo>
                    <a:pt x="119" y="51"/>
                    <a:pt x="119" y="51"/>
                    <a:pt x="118" y="51"/>
                  </a:cubicBezTo>
                  <a:cubicBezTo>
                    <a:pt x="117" y="51"/>
                    <a:pt x="117" y="51"/>
                    <a:pt x="117" y="51"/>
                  </a:cubicBezTo>
                  <a:cubicBezTo>
                    <a:pt x="116" y="50"/>
                    <a:pt x="115" y="50"/>
                    <a:pt x="114" y="50"/>
                  </a:cubicBezTo>
                  <a:cubicBezTo>
                    <a:pt x="114" y="50"/>
                    <a:pt x="114" y="50"/>
                    <a:pt x="114" y="50"/>
                  </a:cubicBezTo>
                  <a:cubicBezTo>
                    <a:pt x="112" y="55"/>
                    <a:pt x="112" y="55"/>
                    <a:pt x="112" y="55"/>
                  </a:cubicBezTo>
                  <a:cubicBezTo>
                    <a:pt x="108" y="50"/>
                    <a:pt x="108" y="50"/>
                    <a:pt x="108" y="50"/>
                  </a:cubicBezTo>
                  <a:cubicBezTo>
                    <a:pt x="107" y="49"/>
                    <a:pt x="106" y="47"/>
                    <a:pt x="105" y="46"/>
                  </a:cubicBezTo>
                  <a:cubicBezTo>
                    <a:pt x="104" y="45"/>
                    <a:pt x="104" y="45"/>
                    <a:pt x="104" y="45"/>
                  </a:cubicBezTo>
                  <a:cubicBezTo>
                    <a:pt x="104" y="44"/>
                    <a:pt x="104" y="44"/>
                    <a:pt x="104" y="44"/>
                  </a:cubicBezTo>
                  <a:cubicBezTo>
                    <a:pt x="104" y="44"/>
                    <a:pt x="104" y="44"/>
                    <a:pt x="104" y="44"/>
                  </a:cubicBezTo>
                  <a:cubicBezTo>
                    <a:pt x="103" y="44"/>
                    <a:pt x="103" y="44"/>
                    <a:pt x="102" y="44"/>
                  </a:cubicBezTo>
                  <a:cubicBezTo>
                    <a:pt x="102" y="44"/>
                    <a:pt x="102" y="44"/>
                    <a:pt x="102" y="44"/>
                  </a:cubicBezTo>
                  <a:cubicBezTo>
                    <a:pt x="101" y="44"/>
                    <a:pt x="100" y="44"/>
                    <a:pt x="99" y="44"/>
                  </a:cubicBezTo>
                  <a:cubicBezTo>
                    <a:pt x="99" y="44"/>
                    <a:pt x="99" y="44"/>
                    <a:pt x="99" y="44"/>
                  </a:cubicBezTo>
                  <a:cubicBezTo>
                    <a:pt x="98" y="44"/>
                    <a:pt x="98" y="44"/>
                    <a:pt x="97" y="44"/>
                  </a:cubicBezTo>
                  <a:cubicBezTo>
                    <a:pt x="97" y="44"/>
                    <a:pt x="96" y="44"/>
                    <a:pt x="96" y="44"/>
                  </a:cubicBezTo>
                  <a:cubicBezTo>
                    <a:pt x="95" y="44"/>
                    <a:pt x="95" y="44"/>
                    <a:pt x="94" y="44"/>
                  </a:cubicBezTo>
                  <a:cubicBezTo>
                    <a:pt x="93" y="44"/>
                    <a:pt x="92" y="43"/>
                    <a:pt x="91" y="42"/>
                  </a:cubicBezTo>
                  <a:cubicBezTo>
                    <a:pt x="91" y="41"/>
                    <a:pt x="91" y="40"/>
                    <a:pt x="91" y="39"/>
                  </a:cubicBezTo>
                  <a:cubicBezTo>
                    <a:pt x="91" y="39"/>
                    <a:pt x="90" y="39"/>
                    <a:pt x="90" y="39"/>
                  </a:cubicBezTo>
                  <a:cubicBezTo>
                    <a:pt x="89" y="39"/>
                    <a:pt x="89" y="39"/>
                    <a:pt x="88" y="39"/>
                  </a:cubicBezTo>
                  <a:cubicBezTo>
                    <a:pt x="87" y="39"/>
                    <a:pt x="86" y="38"/>
                    <a:pt x="85" y="38"/>
                  </a:cubicBezTo>
                  <a:cubicBezTo>
                    <a:pt x="84" y="37"/>
                    <a:pt x="83" y="37"/>
                    <a:pt x="82" y="36"/>
                  </a:cubicBezTo>
                  <a:cubicBezTo>
                    <a:pt x="82" y="36"/>
                    <a:pt x="82" y="36"/>
                    <a:pt x="82" y="36"/>
                  </a:cubicBezTo>
                  <a:cubicBezTo>
                    <a:pt x="82" y="36"/>
                    <a:pt x="81" y="35"/>
                    <a:pt x="81" y="35"/>
                  </a:cubicBezTo>
                  <a:cubicBezTo>
                    <a:pt x="79" y="34"/>
                    <a:pt x="79" y="34"/>
                    <a:pt x="79" y="34"/>
                  </a:cubicBezTo>
                  <a:cubicBezTo>
                    <a:pt x="79" y="34"/>
                    <a:pt x="78" y="34"/>
                    <a:pt x="78" y="33"/>
                  </a:cubicBezTo>
                  <a:cubicBezTo>
                    <a:pt x="78" y="33"/>
                    <a:pt x="78" y="33"/>
                    <a:pt x="78" y="33"/>
                  </a:cubicBezTo>
                  <a:cubicBezTo>
                    <a:pt x="77" y="32"/>
                    <a:pt x="74" y="31"/>
                    <a:pt x="74" y="28"/>
                  </a:cubicBezTo>
                  <a:cubicBezTo>
                    <a:pt x="74" y="27"/>
                    <a:pt x="74" y="27"/>
                    <a:pt x="74" y="27"/>
                  </a:cubicBezTo>
                  <a:cubicBezTo>
                    <a:pt x="73" y="26"/>
                    <a:pt x="73" y="25"/>
                    <a:pt x="73" y="25"/>
                  </a:cubicBezTo>
                  <a:cubicBezTo>
                    <a:pt x="73" y="25"/>
                    <a:pt x="73" y="25"/>
                    <a:pt x="73" y="25"/>
                  </a:cubicBezTo>
                  <a:cubicBezTo>
                    <a:pt x="71" y="25"/>
                    <a:pt x="70" y="25"/>
                    <a:pt x="68" y="26"/>
                  </a:cubicBezTo>
                  <a:cubicBezTo>
                    <a:pt x="68" y="26"/>
                    <a:pt x="68" y="26"/>
                    <a:pt x="68" y="26"/>
                  </a:cubicBezTo>
                  <a:cubicBezTo>
                    <a:pt x="67" y="26"/>
                    <a:pt x="67" y="26"/>
                    <a:pt x="66" y="26"/>
                  </a:cubicBezTo>
                  <a:cubicBezTo>
                    <a:pt x="64" y="26"/>
                    <a:pt x="63" y="25"/>
                    <a:pt x="61" y="23"/>
                  </a:cubicBezTo>
                  <a:cubicBezTo>
                    <a:pt x="61" y="23"/>
                    <a:pt x="61" y="23"/>
                    <a:pt x="61" y="23"/>
                  </a:cubicBezTo>
                  <a:cubicBezTo>
                    <a:pt x="61" y="22"/>
                    <a:pt x="61" y="22"/>
                    <a:pt x="61" y="22"/>
                  </a:cubicBezTo>
                  <a:cubicBezTo>
                    <a:pt x="61" y="22"/>
                    <a:pt x="61" y="22"/>
                    <a:pt x="61" y="22"/>
                  </a:cubicBezTo>
                  <a:cubicBezTo>
                    <a:pt x="60" y="21"/>
                    <a:pt x="59" y="20"/>
                    <a:pt x="58" y="19"/>
                  </a:cubicBezTo>
                  <a:cubicBezTo>
                    <a:pt x="58" y="19"/>
                    <a:pt x="58" y="19"/>
                    <a:pt x="58" y="19"/>
                  </a:cubicBezTo>
                  <a:cubicBezTo>
                    <a:pt x="58" y="19"/>
                    <a:pt x="58" y="19"/>
                    <a:pt x="58" y="19"/>
                  </a:cubicBezTo>
                  <a:cubicBezTo>
                    <a:pt x="57" y="18"/>
                    <a:pt x="57" y="18"/>
                    <a:pt x="57" y="18"/>
                  </a:cubicBezTo>
                  <a:cubicBezTo>
                    <a:pt x="57" y="18"/>
                    <a:pt x="57" y="18"/>
                    <a:pt x="57" y="17"/>
                  </a:cubicBezTo>
                  <a:cubicBezTo>
                    <a:pt x="56" y="17"/>
                    <a:pt x="56" y="17"/>
                    <a:pt x="56" y="17"/>
                  </a:cubicBezTo>
                  <a:cubicBezTo>
                    <a:pt x="55" y="22"/>
                    <a:pt x="55" y="22"/>
                    <a:pt x="55" y="22"/>
                  </a:cubicBezTo>
                  <a:cubicBezTo>
                    <a:pt x="55" y="17"/>
                    <a:pt x="55" y="17"/>
                    <a:pt x="55" y="17"/>
                  </a:cubicBezTo>
                  <a:cubicBezTo>
                    <a:pt x="54" y="16"/>
                    <a:pt x="54" y="16"/>
                    <a:pt x="54" y="16"/>
                  </a:cubicBezTo>
                  <a:cubicBezTo>
                    <a:pt x="54" y="16"/>
                    <a:pt x="54" y="16"/>
                    <a:pt x="53" y="16"/>
                  </a:cubicBezTo>
                  <a:cubicBezTo>
                    <a:pt x="53" y="16"/>
                    <a:pt x="53" y="16"/>
                    <a:pt x="53" y="16"/>
                  </a:cubicBezTo>
                  <a:cubicBezTo>
                    <a:pt x="51" y="16"/>
                    <a:pt x="49" y="15"/>
                    <a:pt x="48" y="14"/>
                  </a:cubicBezTo>
                  <a:cubicBezTo>
                    <a:pt x="47" y="13"/>
                    <a:pt x="47" y="13"/>
                    <a:pt x="47" y="13"/>
                  </a:cubicBezTo>
                  <a:cubicBezTo>
                    <a:pt x="46" y="12"/>
                    <a:pt x="45" y="12"/>
                    <a:pt x="44" y="11"/>
                  </a:cubicBezTo>
                  <a:cubicBezTo>
                    <a:pt x="44" y="10"/>
                    <a:pt x="43" y="10"/>
                    <a:pt x="43" y="10"/>
                  </a:cubicBezTo>
                  <a:cubicBezTo>
                    <a:pt x="41" y="9"/>
                    <a:pt x="41" y="9"/>
                    <a:pt x="41" y="9"/>
                  </a:cubicBezTo>
                  <a:cubicBezTo>
                    <a:pt x="41" y="9"/>
                    <a:pt x="40" y="9"/>
                    <a:pt x="39" y="9"/>
                  </a:cubicBezTo>
                  <a:cubicBezTo>
                    <a:pt x="38" y="8"/>
                    <a:pt x="37" y="7"/>
                    <a:pt x="36" y="6"/>
                  </a:cubicBezTo>
                  <a:cubicBezTo>
                    <a:pt x="35" y="6"/>
                    <a:pt x="35" y="6"/>
                    <a:pt x="35" y="6"/>
                  </a:cubicBezTo>
                  <a:cubicBezTo>
                    <a:pt x="35" y="5"/>
                    <a:pt x="34" y="4"/>
                    <a:pt x="34" y="3"/>
                  </a:cubicBezTo>
                  <a:cubicBezTo>
                    <a:pt x="34" y="2"/>
                    <a:pt x="33" y="2"/>
                    <a:pt x="33" y="1"/>
                  </a:cubicBezTo>
                  <a:cubicBezTo>
                    <a:pt x="33" y="1"/>
                    <a:pt x="30" y="0"/>
                    <a:pt x="28" y="0"/>
                  </a:cubicBezTo>
                  <a:cubicBezTo>
                    <a:pt x="27" y="0"/>
                    <a:pt x="27" y="0"/>
                    <a:pt x="27" y="0"/>
                  </a:cubicBezTo>
                  <a:cubicBezTo>
                    <a:pt x="27"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Rectangle 427"/>
            <p:cNvSpPr>
              <a:spLocks noChangeArrowheads="1"/>
            </p:cNvSpPr>
            <p:nvPr/>
          </p:nvSpPr>
          <p:spPr bwMode="auto">
            <a:xfrm>
              <a:off x="3462012" y="4838799"/>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428"/>
            <p:cNvSpPr/>
            <p:nvPr/>
          </p:nvSpPr>
          <p:spPr bwMode="auto">
            <a:xfrm flipH="1">
              <a:off x="3462012" y="483879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429"/>
            <p:cNvSpPr>
              <a:spLocks noEditPoints="1"/>
            </p:cNvSpPr>
            <p:nvPr/>
          </p:nvSpPr>
          <p:spPr bwMode="auto">
            <a:xfrm>
              <a:off x="4082340" y="5287196"/>
              <a:ext cx="64647" cy="159552"/>
            </a:xfrm>
            <a:custGeom>
              <a:gdLst>
                <a:gd name="T0" fmla="*/ 8 w 20"/>
                <a:gd name="T1" fmla="*/ 37 h 49"/>
                <a:gd name="T2" fmla="*/ 7 w 20"/>
                <a:gd name="T3" fmla="*/ 42 h 49"/>
                <a:gd name="T4" fmla="*/ 8 w 20"/>
                <a:gd name="T5" fmla="*/ 37 h 49"/>
                <a:gd name="T6" fmla="*/ 13 w 20"/>
                <a:gd name="T7" fmla="*/ 0 h 49"/>
                <a:gd name="T8" fmla="*/ 12 w 20"/>
                <a:gd name="T9" fmla="*/ 0 h 49"/>
                <a:gd name="T10" fmla="*/ 11 w 20"/>
                <a:gd name="T11" fmla="*/ 1 h 49"/>
                <a:gd name="T12" fmla="*/ 11 w 20"/>
                <a:gd name="T13" fmla="*/ 1 h 49"/>
                <a:gd name="T14" fmla="*/ 9 w 20"/>
                <a:gd name="T15" fmla="*/ 6 h 49"/>
                <a:gd name="T16" fmla="*/ 9 w 20"/>
                <a:gd name="T17" fmla="*/ 7 h 49"/>
                <a:gd name="T18" fmla="*/ 7 w 20"/>
                <a:gd name="T19" fmla="*/ 11 h 49"/>
                <a:gd name="T20" fmla="*/ 6 w 20"/>
                <a:gd name="T21" fmla="*/ 14 h 49"/>
                <a:gd name="T22" fmla="*/ 3 w 20"/>
                <a:gd name="T23" fmla="*/ 15 h 49"/>
                <a:gd name="T24" fmla="*/ 0 w 20"/>
                <a:gd name="T25" fmla="*/ 14 h 49"/>
                <a:gd name="T26" fmla="*/ 0 w 20"/>
                <a:gd name="T27" fmla="*/ 14 h 49"/>
                <a:gd name="T28" fmla="*/ 0 w 20"/>
                <a:gd name="T29" fmla="*/ 14 h 49"/>
                <a:gd name="T30" fmla="*/ 6 w 20"/>
                <a:gd name="T31" fmla="*/ 27 h 49"/>
                <a:gd name="T32" fmla="*/ 7 w 20"/>
                <a:gd name="T33" fmla="*/ 23 h 49"/>
                <a:gd name="T34" fmla="*/ 7 w 20"/>
                <a:gd name="T35" fmla="*/ 28 h 49"/>
                <a:gd name="T36" fmla="*/ 8 w 20"/>
                <a:gd name="T37" fmla="*/ 33 h 49"/>
                <a:gd name="T38" fmla="*/ 8 w 20"/>
                <a:gd name="T39" fmla="*/ 37 h 49"/>
                <a:gd name="T40" fmla="*/ 8 w 20"/>
                <a:gd name="T41" fmla="*/ 37 h 49"/>
                <a:gd name="T42" fmla="*/ 9 w 20"/>
                <a:gd name="T43" fmla="*/ 39 h 49"/>
                <a:gd name="T44" fmla="*/ 9 w 20"/>
                <a:gd name="T45" fmla="*/ 44 h 49"/>
                <a:gd name="T46" fmla="*/ 11 w 20"/>
                <a:gd name="T47" fmla="*/ 49 h 49"/>
                <a:gd name="T48" fmla="*/ 11 w 20"/>
                <a:gd name="T49" fmla="*/ 48 h 49"/>
                <a:gd name="T50" fmla="*/ 11 w 20"/>
                <a:gd name="T51" fmla="*/ 48 h 49"/>
                <a:gd name="T52" fmla="*/ 11 w 20"/>
                <a:gd name="T53" fmla="*/ 47 h 49"/>
                <a:gd name="T54" fmla="*/ 11 w 20"/>
                <a:gd name="T55" fmla="*/ 47 h 49"/>
                <a:gd name="T56" fmla="*/ 14 w 20"/>
                <a:gd name="T57" fmla="*/ 43 h 49"/>
                <a:gd name="T58" fmla="*/ 14 w 20"/>
                <a:gd name="T59" fmla="*/ 41 h 49"/>
                <a:gd name="T60" fmla="*/ 17 w 20"/>
                <a:gd name="T61" fmla="*/ 37 h 49"/>
                <a:gd name="T62" fmla="*/ 19 w 20"/>
                <a:gd name="T63" fmla="*/ 42 h 49"/>
                <a:gd name="T64" fmla="*/ 20 w 20"/>
                <a:gd name="T65" fmla="*/ 42 h 49"/>
                <a:gd name="T66" fmla="*/ 19 w 20"/>
                <a:gd name="T67" fmla="*/ 35 h 49"/>
                <a:gd name="T68" fmla="*/ 19 w 20"/>
                <a:gd name="T69" fmla="*/ 33 h 49"/>
                <a:gd name="T70" fmla="*/ 18 w 20"/>
                <a:gd name="T71" fmla="*/ 23 h 49"/>
                <a:gd name="T72" fmla="*/ 16 w 20"/>
                <a:gd name="T73" fmla="*/ 17 h 49"/>
                <a:gd name="T74" fmla="*/ 16 w 20"/>
                <a:gd name="T75" fmla="*/ 17 h 49"/>
                <a:gd name="T76" fmla="*/ 14 w 20"/>
                <a:gd name="T77" fmla="*/ 11 h 49"/>
                <a:gd name="T78" fmla="*/ 14 w 20"/>
                <a:gd name="T79" fmla="*/ 11 h 49"/>
                <a:gd name="T80" fmla="*/ 14 w 20"/>
                <a:gd name="T81" fmla="*/ 10 h 49"/>
                <a:gd name="T82" fmla="*/ 14 w 20"/>
                <a:gd name="T83" fmla="*/ 4 h 49"/>
                <a:gd name="T84" fmla="*/ 13 w 20"/>
                <a:gd name="T85"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49">
                  <a:moveTo>
                    <a:pt x="8" y="37"/>
                  </a:moveTo>
                  <a:cubicBezTo>
                    <a:pt x="8" y="38"/>
                    <a:pt x="8" y="40"/>
                    <a:pt x="7" y="42"/>
                  </a:cubicBezTo>
                  <a:cubicBezTo>
                    <a:pt x="11" y="41"/>
                    <a:pt x="8" y="39"/>
                    <a:pt x="8" y="37"/>
                  </a:cubicBezTo>
                  <a:moveTo>
                    <a:pt x="13" y="0"/>
                  </a:moveTo>
                  <a:cubicBezTo>
                    <a:pt x="12" y="0"/>
                    <a:pt x="12" y="0"/>
                    <a:pt x="12" y="0"/>
                  </a:cubicBezTo>
                  <a:cubicBezTo>
                    <a:pt x="12" y="1"/>
                    <a:pt x="11" y="1"/>
                    <a:pt x="11" y="1"/>
                  </a:cubicBezTo>
                  <a:cubicBezTo>
                    <a:pt x="11" y="1"/>
                    <a:pt x="11" y="1"/>
                    <a:pt x="11" y="1"/>
                  </a:cubicBezTo>
                  <a:cubicBezTo>
                    <a:pt x="10" y="3"/>
                    <a:pt x="10" y="4"/>
                    <a:pt x="9" y="6"/>
                  </a:cubicBezTo>
                  <a:cubicBezTo>
                    <a:pt x="9" y="7"/>
                    <a:pt x="9" y="7"/>
                    <a:pt x="9" y="7"/>
                  </a:cubicBezTo>
                  <a:cubicBezTo>
                    <a:pt x="8" y="9"/>
                    <a:pt x="8" y="10"/>
                    <a:pt x="7" y="11"/>
                  </a:cubicBezTo>
                  <a:cubicBezTo>
                    <a:pt x="7" y="12"/>
                    <a:pt x="6" y="13"/>
                    <a:pt x="6" y="14"/>
                  </a:cubicBezTo>
                  <a:cubicBezTo>
                    <a:pt x="5" y="15"/>
                    <a:pt x="4" y="15"/>
                    <a:pt x="3" y="15"/>
                  </a:cubicBezTo>
                  <a:cubicBezTo>
                    <a:pt x="2" y="15"/>
                    <a:pt x="1" y="15"/>
                    <a:pt x="0" y="14"/>
                  </a:cubicBezTo>
                  <a:cubicBezTo>
                    <a:pt x="0" y="14"/>
                    <a:pt x="0" y="14"/>
                    <a:pt x="0" y="14"/>
                  </a:cubicBezTo>
                  <a:cubicBezTo>
                    <a:pt x="0" y="14"/>
                    <a:pt x="0" y="14"/>
                    <a:pt x="0" y="14"/>
                  </a:cubicBezTo>
                  <a:cubicBezTo>
                    <a:pt x="1" y="19"/>
                    <a:pt x="4" y="23"/>
                    <a:pt x="6" y="27"/>
                  </a:cubicBezTo>
                  <a:cubicBezTo>
                    <a:pt x="6" y="26"/>
                    <a:pt x="6" y="26"/>
                    <a:pt x="7" y="23"/>
                  </a:cubicBezTo>
                  <a:cubicBezTo>
                    <a:pt x="7" y="25"/>
                    <a:pt x="6" y="26"/>
                    <a:pt x="7" y="28"/>
                  </a:cubicBezTo>
                  <a:cubicBezTo>
                    <a:pt x="7" y="30"/>
                    <a:pt x="7" y="32"/>
                    <a:pt x="8" y="33"/>
                  </a:cubicBezTo>
                  <a:cubicBezTo>
                    <a:pt x="8" y="35"/>
                    <a:pt x="8" y="35"/>
                    <a:pt x="8" y="37"/>
                  </a:cubicBezTo>
                  <a:cubicBezTo>
                    <a:pt x="8" y="37"/>
                    <a:pt x="8" y="37"/>
                    <a:pt x="8" y="37"/>
                  </a:cubicBezTo>
                  <a:cubicBezTo>
                    <a:pt x="8" y="37"/>
                    <a:pt x="9" y="38"/>
                    <a:pt x="9" y="39"/>
                  </a:cubicBezTo>
                  <a:cubicBezTo>
                    <a:pt x="9" y="40"/>
                    <a:pt x="8" y="42"/>
                    <a:pt x="9" y="44"/>
                  </a:cubicBezTo>
                  <a:cubicBezTo>
                    <a:pt x="10" y="45"/>
                    <a:pt x="10" y="47"/>
                    <a:pt x="11" y="49"/>
                  </a:cubicBezTo>
                  <a:cubicBezTo>
                    <a:pt x="11" y="48"/>
                    <a:pt x="11" y="48"/>
                    <a:pt x="11" y="48"/>
                  </a:cubicBezTo>
                  <a:cubicBezTo>
                    <a:pt x="11" y="48"/>
                    <a:pt x="11" y="48"/>
                    <a:pt x="11" y="48"/>
                  </a:cubicBezTo>
                  <a:cubicBezTo>
                    <a:pt x="11" y="47"/>
                    <a:pt x="11" y="47"/>
                    <a:pt x="11" y="47"/>
                  </a:cubicBezTo>
                  <a:cubicBezTo>
                    <a:pt x="11" y="47"/>
                    <a:pt x="11" y="47"/>
                    <a:pt x="11" y="47"/>
                  </a:cubicBezTo>
                  <a:cubicBezTo>
                    <a:pt x="12" y="46"/>
                    <a:pt x="12" y="44"/>
                    <a:pt x="14" y="43"/>
                  </a:cubicBezTo>
                  <a:cubicBezTo>
                    <a:pt x="14" y="42"/>
                    <a:pt x="14" y="42"/>
                    <a:pt x="14" y="41"/>
                  </a:cubicBezTo>
                  <a:cubicBezTo>
                    <a:pt x="17" y="37"/>
                    <a:pt x="17" y="37"/>
                    <a:pt x="17" y="37"/>
                  </a:cubicBezTo>
                  <a:cubicBezTo>
                    <a:pt x="19" y="42"/>
                    <a:pt x="19" y="42"/>
                    <a:pt x="19" y="42"/>
                  </a:cubicBezTo>
                  <a:cubicBezTo>
                    <a:pt x="19" y="42"/>
                    <a:pt x="19" y="42"/>
                    <a:pt x="20" y="42"/>
                  </a:cubicBezTo>
                  <a:cubicBezTo>
                    <a:pt x="19" y="35"/>
                    <a:pt x="19" y="35"/>
                    <a:pt x="19" y="35"/>
                  </a:cubicBezTo>
                  <a:cubicBezTo>
                    <a:pt x="19" y="33"/>
                    <a:pt x="19" y="33"/>
                    <a:pt x="19" y="33"/>
                  </a:cubicBezTo>
                  <a:cubicBezTo>
                    <a:pt x="18" y="23"/>
                    <a:pt x="18" y="23"/>
                    <a:pt x="18" y="23"/>
                  </a:cubicBezTo>
                  <a:cubicBezTo>
                    <a:pt x="17" y="21"/>
                    <a:pt x="17" y="19"/>
                    <a:pt x="16" y="17"/>
                  </a:cubicBezTo>
                  <a:cubicBezTo>
                    <a:pt x="16" y="17"/>
                    <a:pt x="16" y="17"/>
                    <a:pt x="16" y="17"/>
                  </a:cubicBezTo>
                  <a:cubicBezTo>
                    <a:pt x="15" y="15"/>
                    <a:pt x="15" y="13"/>
                    <a:pt x="14" y="11"/>
                  </a:cubicBezTo>
                  <a:cubicBezTo>
                    <a:pt x="14" y="11"/>
                    <a:pt x="14" y="11"/>
                    <a:pt x="14" y="11"/>
                  </a:cubicBezTo>
                  <a:cubicBezTo>
                    <a:pt x="14" y="10"/>
                    <a:pt x="14" y="10"/>
                    <a:pt x="14" y="10"/>
                  </a:cubicBezTo>
                  <a:cubicBezTo>
                    <a:pt x="14" y="8"/>
                    <a:pt x="14" y="6"/>
                    <a:pt x="14" y="4"/>
                  </a:cubicBezTo>
                  <a:cubicBezTo>
                    <a:pt x="13" y="3"/>
                    <a:pt x="13"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430"/>
            <p:cNvSpPr/>
            <p:nvPr/>
          </p:nvSpPr>
          <p:spPr bwMode="auto">
            <a:xfrm>
              <a:off x="3881524" y="5111138"/>
              <a:ext cx="248957" cy="302599"/>
            </a:xfrm>
            <a:custGeom>
              <a:gdLst>
                <a:gd name="T0" fmla="*/ 0 w 77"/>
                <a:gd name="T1" fmla="*/ 6 h 93"/>
                <a:gd name="T2" fmla="*/ 2 w 77"/>
                <a:gd name="T3" fmla="*/ 7 h 93"/>
                <a:gd name="T4" fmla="*/ 8 w 77"/>
                <a:gd name="T5" fmla="*/ 13 h 93"/>
                <a:gd name="T6" fmla="*/ 13 w 77"/>
                <a:gd name="T7" fmla="*/ 16 h 93"/>
                <a:gd name="T8" fmla="*/ 16 w 77"/>
                <a:gd name="T9" fmla="*/ 22 h 93"/>
                <a:gd name="T10" fmla="*/ 10 w 77"/>
                <a:gd name="T11" fmla="*/ 24 h 93"/>
                <a:gd name="T12" fmla="*/ 1 w 77"/>
                <a:gd name="T13" fmla="*/ 30 h 93"/>
                <a:gd name="T14" fmla="*/ 1 w 77"/>
                <a:gd name="T15" fmla="*/ 34 h 93"/>
                <a:gd name="T16" fmla="*/ 5 w 77"/>
                <a:gd name="T17" fmla="*/ 36 h 93"/>
                <a:gd name="T18" fmla="*/ 7 w 77"/>
                <a:gd name="T19" fmla="*/ 37 h 93"/>
                <a:gd name="T20" fmla="*/ 12 w 77"/>
                <a:gd name="T21" fmla="*/ 47 h 93"/>
                <a:gd name="T22" fmla="*/ 10 w 77"/>
                <a:gd name="T23" fmla="*/ 53 h 93"/>
                <a:gd name="T24" fmla="*/ 13 w 77"/>
                <a:gd name="T25" fmla="*/ 57 h 93"/>
                <a:gd name="T26" fmla="*/ 12 w 77"/>
                <a:gd name="T27" fmla="*/ 58 h 93"/>
                <a:gd name="T28" fmla="*/ 16 w 77"/>
                <a:gd name="T29" fmla="*/ 63 h 93"/>
                <a:gd name="T30" fmla="*/ 15 w 77"/>
                <a:gd name="T31" fmla="*/ 68 h 93"/>
                <a:gd name="T32" fmla="*/ 16 w 77"/>
                <a:gd name="T33" fmla="*/ 71 h 93"/>
                <a:gd name="T34" fmla="*/ 18 w 77"/>
                <a:gd name="T35" fmla="*/ 86 h 93"/>
                <a:gd name="T36" fmla="*/ 19 w 77"/>
                <a:gd name="T37" fmla="*/ 93 h 93"/>
                <a:gd name="T38" fmla="*/ 25 w 77"/>
                <a:gd name="T39" fmla="*/ 86 h 93"/>
                <a:gd name="T40" fmla="*/ 29 w 77"/>
                <a:gd name="T41" fmla="*/ 89 h 93"/>
                <a:gd name="T42" fmla="*/ 35 w 77"/>
                <a:gd name="T43" fmla="*/ 83 h 93"/>
                <a:gd name="T44" fmla="*/ 38 w 77"/>
                <a:gd name="T45" fmla="*/ 89 h 93"/>
                <a:gd name="T46" fmla="*/ 44 w 77"/>
                <a:gd name="T47" fmla="*/ 78 h 93"/>
                <a:gd name="T48" fmla="*/ 43 w 77"/>
                <a:gd name="T49" fmla="*/ 68 h 93"/>
                <a:gd name="T50" fmla="*/ 42 w 77"/>
                <a:gd name="T51" fmla="*/ 58 h 93"/>
                <a:gd name="T52" fmla="*/ 45 w 77"/>
                <a:gd name="T53" fmla="*/ 55 h 93"/>
                <a:gd name="T54" fmla="*/ 51 w 77"/>
                <a:gd name="T55" fmla="*/ 68 h 93"/>
                <a:gd name="T56" fmla="*/ 59 w 77"/>
                <a:gd name="T57" fmla="*/ 67 h 93"/>
                <a:gd name="T58" fmla="*/ 55 w 77"/>
                <a:gd name="T59" fmla="*/ 58 h 93"/>
                <a:gd name="T60" fmla="*/ 53 w 77"/>
                <a:gd name="T61" fmla="*/ 54 h 93"/>
                <a:gd name="T62" fmla="*/ 56 w 77"/>
                <a:gd name="T63" fmla="*/ 47 h 93"/>
                <a:gd name="T64" fmla="*/ 63 w 77"/>
                <a:gd name="T65" fmla="*/ 40 h 93"/>
                <a:gd name="T66" fmla="*/ 69 w 77"/>
                <a:gd name="T67" fmla="*/ 37 h 93"/>
                <a:gd name="T68" fmla="*/ 72 w 77"/>
                <a:gd name="T69" fmla="*/ 34 h 93"/>
                <a:gd name="T70" fmla="*/ 74 w 77"/>
                <a:gd name="T71" fmla="*/ 29 h 93"/>
                <a:gd name="T72" fmla="*/ 73 w 77"/>
                <a:gd name="T73" fmla="*/ 25 h 93"/>
                <a:gd name="T74" fmla="*/ 66 w 77"/>
                <a:gd name="T75" fmla="*/ 25 h 93"/>
                <a:gd name="T76" fmla="*/ 54 w 77"/>
                <a:gd name="T77" fmla="*/ 24 h 93"/>
                <a:gd name="T78" fmla="*/ 47 w 77"/>
                <a:gd name="T79" fmla="*/ 24 h 93"/>
                <a:gd name="T80" fmla="*/ 44 w 77"/>
                <a:gd name="T81" fmla="*/ 25 h 93"/>
                <a:gd name="T82" fmla="*/ 39 w 77"/>
                <a:gd name="T83" fmla="*/ 24 h 93"/>
                <a:gd name="T84" fmla="*/ 33 w 77"/>
                <a:gd name="T85" fmla="*/ 22 h 93"/>
                <a:gd name="T86" fmla="*/ 25 w 77"/>
                <a:gd name="T87" fmla="*/ 19 h 93"/>
                <a:gd name="T88" fmla="*/ 27 w 77"/>
                <a:gd name="T89" fmla="*/ 12 h 93"/>
                <a:gd name="T90" fmla="*/ 19 w 77"/>
                <a:gd name="T91" fmla="*/ 7 h 93"/>
                <a:gd name="T92" fmla="*/ 10 w 77"/>
                <a:gd name="T93" fmla="*/ 2 h 93"/>
                <a:gd name="T94" fmla="*/ 5 w 77"/>
                <a:gd name="T95"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 h="93">
                  <a:moveTo>
                    <a:pt x="5" y="0"/>
                  </a:moveTo>
                  <a:cubicBezTo>
                    <a:pt x="5" y="0"/>
                    <a:pt x="3" y="1"/>
                    <a:pt x="1" y="5"/>
                  </a:cubicBezTo>
                  <a:cubicBezTo>
                    <a:pt x="1" y="5"/>
                    <a:pt x="1" y="5"/>
                    <a:pt x="1" y="5"/>
                  </a:cubicBezTo>
                  <a:cubicBezTo>
                    <a:pt x="0" y="6"/>
                    <a:pt x="0" y="6"/>
                    <a:pt x="0" y="6"/>
                  </a:cubicBezTo>
                  <a:cubicBezTo>
                    <a:pt x="0" y="6"/>
                    <a:pt x="0" y="6"/>
                    <a:pt x="0" y="6"/>
                  </a:cubicBezTo>
                  <a:cubicBezTo>
                    <a:pt x="0" y="7"/>
                    <a:pt x="0" y="7"/>
                    <a:pt x="0" y="7"/>
                  </a:cubicBezTo>
                  <a:cubicBezTo>
                    <a:pt x="1" y="7"/>
                    <a:pt x="1" y="7"/>
                    <a:pt x="1" y="7"/>
                  </a:cubicBezTo>
                  <a:cubicBezTo>
                    <a:pt x="2" y="7"/>
                    <a:pt x="2" y="7"/>
                    <a:pt x="2" y="7"/>
                  </a:cubicBezTo>
                  <a:cubicBezTo>
                    <a:pt x="3" y="8"/>
                    <a:pt x="4" y="9"/>
                    <a:pt x="5" y="10"/>
                  </a:cubicBezTo>
                  <a:cubicBezTo>
                    <a:pt x="6" y="11"/>
                    <a:pt x="6" y="11"/>
                    <a:pt x="6" y="11"/>
                  </a:cubicBezTo>
                  <a:cubicBezTo>
                    <a:pt x="6" y="12"/>
                    <a:pt x="6" y="12"/>
                    <a:pt x="6" y="12"/>
                  </a:cubicBezTo>
                  <a:cubicBezTo>
                    <a:pt x="7" y="12"/>
                    <a:pt x="7" y="13"/>
                    <a:pt x="8" y="13"/>
                  </a:cubicBezTo>
                  <a:cubicBezTo>
                    <a:pt x="8" y="13"/>
                    <a:pt x="8" y="13"/>
                    <a:pt x="8" y="13"/>
                  </a:cubicBezTo>
                  <a:cubicBezTo>
                    <a:pt x="8" y="13"/>
                    <a:pt x="9" y="13"/>
                    <a:pt x="9" y="13"/>
                  </a:cubicBezTo>
                  <a:cubicBezTo>
                    <a:pt x="10" y="13"/>
                    <a:pt x="10" y="13"/>
                    <a:pt x="10" y="13"/>
                  </a:cubicBezTo>
                  <a:cubicBezTo>
                    <a:pt x="12" y="13"/>
                    <a:pt x="13" y="15"/>
                    <a:pt x="13" y="16"/>
                  </a:cubicBezTo>
                  <a:cubicBezTo>
                    <a:pt x="13" y="16"/>
                    <a:pt x="13" y="17"/>
                    <a:pt x="14" y="17"/>
                  </a:cubicBezTo>
                  <a:cubicBezTo>
                    <a:pt x="14" y="17"/>
                    <a:pt x="15" y="17"/>
                    <a:pt x="15" y="18"/>
                  </a:cubicBezTo>
                  <a:cubicBezTo>
                    <a:pt x="19" y="19"/>
                    <a:pt x="19" y="19"/>
                    <a:pt x="19" y="19"/>
                  </a:cubicBezTo>
                  <a:cubicBezTo>
                    <a:pt x="16" y="22"/>
                    <a:pt x="16" y="22"/>
                    <a:pt x="16" y="22"/>
                  </a:cubicBezTo>
                  <a:cubicBezTo>
                    <a:pt x="16" y="22"/>
                    <a:pt x="16" y="22"/>
                    <a:pt x="16" y="22"/>
                  </a:cubicBezTo>
                  <a:cubicBezTo>
                    <a:pt x="16" y="25"/>
                    <a:pt x="16" y="25"/>
                    <a:pt x="16" y="25"/>
                  </a:cubicBezTo>
                  <a:cubicBezTo>
                    <a:pt x="12" y="24"/>
                    <a:pt x="12" y="24"/>
                    <a:pt x="12" y="24"/>
                  </a:cubicBezTo>
                  <a:cubicBezTo>
                    <a:pt x="12" y="24"/>
                    <a:pt x="11" y="24"/>
                    <a:pt x="10" y="24"/>
                  </a:cubicBezTo>
                  <a:cubicBezTo>
                    <a:pt x="10" y="24"/>
                    <a:pt x="9" y="24"/>
                    <a:pt x="9" y="24"/>
                  </a:cubicBezTo>
                  <a:cubicBezTo>
                    <a:pt x="6" y="24"/>
                    <a:pt x="6" y="25"/>
                    <a:pt x="5" y="26"/>
                  </a:cubicBezTo>
                  <a:cubicBezTo>
                    <a:pt x="5" y="28"/>
                    <a:pt x="3" y="29"/>
                    <a:pt x="2" y="29"/>
                  </a:cubicBezTo>
                  <a:cubicBezTo>
                    <a:pt x="2" y="30"/>
                    <a:pt x="1" y="30"/>
                    <a:pt x="1" y="30"/>
                  </a:cubicBezTo>
                  <a:cubicBezTo>
                    <a:pt x="0" y="31"/>
                    <a:pt x="0" y="31"/>
                    <a:pt x="0" y="31"/>
                  </a:cubicBezTo>
                  <a:cubicBezTo>
                    <a:pt x="0" y="31"/>
                    <a:pt x="0" y="31"/>
                    <a:pt x="0" y="31"/>
                  </a:cubicBezTo>
                  <a:cubicBezTo>
                    <a:pt x="0" y="31"/>
                    <a:pt x="0" y="33"/>
                    <a:pt x="0" y="33"/>
                  </a:cubicBezTo>
                  <a:cubicBezTo>
                    <a:pt x="0" y="34"/>
                    <a:pt x="1" y="34"/>
                    <a:pt x="1" y="34"/>
                  </a:cubicBezTo>
                  <a:cubicBezTo>
                    <a:pt x="2" y="35"/>
                    <a:pt x="2" y="35"/>
                    <a:pt x="2" y="35"/>
                  </a:cubicBezTo>
                  <a:cubicBezTo>
                    <a:pt x="2" y="35"/>
                    <a:pt x="3" y="35"/>
                    <a:pt x="3" y="36"/>
                  </a:cubicBezTo>
                  <a:cubicBezTo>
                    <a:pt x="4" y="36"/>
                    <a:pt x="4" y="36"/>
                    <a:pt x="5" y="36"/>
                  </a:cubicBezTo>
                  <a:cubicBezTo>
                    <a:pt x="5" y="36"/>
                    <a:pt x="5" y="36"/>
                    <a:pt x="5" y="36"/>
                  </a:cubicBezTo>
                  <a:cubicBezTo>
                    <a:pt x="5" y="36"/>
                    <a:pt x="5" y="36"/>
                    <a:pt x="5" y="36"/>
                  </a:cubicBezTo>
                  <a:cubicBezTo>
                    <a:pt x="6" y="33"/>
                    <a:pt x="6" y="33"/>
                    <a:pt x="6" y="33"/>
                  </a:cubicBezTo>
                  <a:cubicBezTo>
                    <a:pt x="7" y="37"/>
                    <a:pt x="7" y="37"/>
                    <a:pt x="7" y="37"/>
                  </a:cubicBezTo>
                  <a:cubicBezTo>
                    <a:pt x="7" y="37"/>
                    <a:pt x="7" y="37"/>
                    <a:pt x="7" y="37"/>
                  </a:cubicBezTo>
                  <a:cubicBezTo>
                    <a:pt x="7" y="37"/>
                    <a:pt x="8" y="37"/>
                    <a:pt x="9" y="37"/>
                  </a:cubicBezTo>
                  <a:cubicBezTo>
                    <a:pt x="10" y="38"/>
                    <a:pt x="11" y="39"/>
                    <a:pt x="12" y="40"/>
                  </a:cubicBezTo>
                  <a:cubicBezTo>
                    <a:pt x="12" y="40"/>
                    <a:pt x="12" y="41"/>
                    <a:pt x="12" y="42"/>
                  </a:cubicBezTo>
                  <a:cubicBezTo>
                    <a:pt x="12" y="46"/>
                    <a:pt x="12" y="47"/>
                    <a:pt x="12" y="47"/>
                  </a:cubicBezTo>
                  <a:cubicBezTo>
                    <a:pt x="11" y="48"/>
                    <a:pt x="10" y="49"/>
                    <a:pt x="10" y="49"/>
                  </a:cubicBezTo>
                  <a:cubicBezTo>
                    <a:pt x="10" y="49"/>
                    <a:pt x="10" y="49"/>
                    <a:pt x="10" y="49"/>
                  </a:cubicBezTo>
                  <a:cubicBezTo>
                    <a:pt x="10" y="50"/>
                    <a:pt x="10" y="50"/>
                    <a:pt x="10" y="50"/>
                  </a:cubicBezTo>
                  <a:cubicBezTo>
                    <a:pt x="10" y="52"/>
                    <a:pt x="10" y="52"/>
                    <a:pt x="10" y="53"/>
                  </a:cubicBezTo>
                  <a:cubicBezTo>
                    <a:pt x="11" y="53"/>
                    <a:pt x="11" y="54"/>
                    <a:pt x="12" y="54"/>
                  </a:cubicBezTo>
                  <a:cubicBezTo>
                    <a:pt x="12" y="55"/>
                    <a:pt x="12" y="55"/>
                    <a:pt x="12" y="55"/>
                  </a:cubicBezTo>
                  <a:cubicBezTo>
                    <a:pt x="13" y="56"/>
                    <a:pt x="13" y="56"/>
                    <a:pt x="13" y="56"/>
                  </a:cubicBezTo>
                  <a:cubicBezTo>
                    <a:pt x="13" y="57"/>
                    <a:pt x="13" y="57"/>
                    <a:pt x="13" y="57"/>
                  </a:cubicBezTo>
                  <a:cubicBezTo>
                    <a:pt x="12" y="57"/>
                    <a:pt x="12" y="57"/>
                    <a:pt x="12" y="57"/>
                  </a:cubicBezTo>
                  <a:cubicBezTo>
                    <a:pt x="12" y="57"/>
                    <a:pt x="12" y="57"/>
                    <a:pt x="12" y="57"/>
                  </a:cubicBezTo>
                  <a:cubicBezTo>
                    <a:pt x="12" y="58"/>
                    <a:pt x="12" y="58"/>
                    <a:pt x="12" y="58"/>
                  </a:cubicBezTo>
                  <a:cubicBezTo>
                    <a:pt x="12" y="58"/>
                    <a:pt x="12" y="58"/>
                    <a:pt x="12" y="58"/>
                  </a:cubicBezTo>
                  <a:cubicBezTo>
                    <a:pt x="13" y="58"/>
                    <a:pt x="13" y="58"/>
                    <a:pt x="13" y="58"/>
                  </a:cubicBezTo>
                  <a:cubicBezTo>
                    <a:pt x="14" y="59"/>
                    <a:pt x="14" y="59"/>
                    <a:pt x="15" y="60"/>
                  </a:cubicBezTo>
                  <a:cubicBezTo>
                    <a:pt x="15" y="60"/>
                    <a:pt x="15" y="61"/>
                    <a:pt x="15" y="61"/>
                  </a:cubicBezTo>
                  <a:cubicBezTo>
                    <a:pt x="16" y="62"/>
                    <a:pt x="16" y="62"/>
                    <a:pt x="16" y="63"/>
                  </a:cubicBezTo>
                  <a:cubicBezTo>
                    <a:pt x="16" y="64"/>
                    <a:pt x="16" y="64"/>
                    <a:pt x="16" y="64"/>
                  </a:cubicBezTo>
                  <a:cubicBezTo>
                    <a:pt x="15" y="64"/>
                    <a:pt x="15" y="64"/>
                    <a:pt x="15" y="64"/>
                  </a:cubicBezTo>
                  <a:cubicBezTo>
                    <a:pt x="15" y="65"/>
                    <a:pt x="15" y="65"/>
                    <a:pt x="15" y="65"/>
                  </a:cubicBezTo>
                  <a:cubicBezTo>
                    <a:pt x="15" y="66"/>
                    <a:pt x="15" y="67"/>
                    <a:pt x="15" y="68"/>
                  </a:cubicBezTo>
                  <a:cubicBezTo>
                    <a:pt x="16" y="68"/>
                    <a:pt x="16" y="69"/>
                    <a:pt x="16" y="70"/>
                  </a:cubicBezTo>
                  <a:cubicBezTo>
                    <a:pt x="16" y="70"/>
                    <a:pt x="16" y="70"/>
                    <a:pt x="16" y="70"/>
                  </a:cubicBezTo>
                  <a:cubicBezTo>
                    <a:pt x="16" y="71"/>
                    <a:pt x="16" y="71"/>
                    <a:pt x="16" y="71"/>
                  </a:cubicBezTo>
                  <a:cubicBezTo>
                    <a:pt x="16" y="71"/>
                    <a:pt x="16" y="71"/>
                    <a:pt x="16" y="71"/>
                  </a:cubicBezTo>
                  <a:cubicBezTo>
                    <a:pt x="16" y="72"/>
                    <a:pt x="16" y="72"/>
                    <a:pt x="16" y="72"/>
                  </a:cubicBezTo>
                  <a:cubicBezTo>
                    <a:pt x="17" y="79"/>
                    <a:pt x="17" y="79"/>
                    <a:pt x="17" y="79"/>
                  </a:cubicBezTo>
                  <a:cubicBezTo>
                    <a:pt x="17" y="80"/>
                    <a:pt x="18" y="81"/>
                    <a:pt x="18" y="83"/>
                  </a:cubicBezTo>
                  <a:cubicBezTo>
                    <a:pt x="18" y="83"/>
                    <a:pt x="18" y="85"/>
                    <a:pt x="18" y="86"/>
                  </a:cubicBezTo>
                  <a:cubicBezTo>
                    <a:pt x="18" y="88"/>
                    <a:pt x="18" y="88"/>
                    <a:pt x="18" y="88"/>
                  </a:cubicBezTo>
                  <a:cubicBezTo>
                    <a:pt x="16" y="88"/>
                    <a:pt x="16" y="88"/>
                    <a:pt x="16" y="88"/>
                  </a:cubicBezTo>
                  <a:cubicBezTo>
                    <a:pt x="17" y="91"/>
                    <a:pt x="18" y="93"/>
                    <a:pt x="19" y="93"/>
                  </a:cubicBezTo>
                  <a:cubicBezTo>
                    <a:pt x="19" y="93"/>
                    <a:pt x="19" y="93"/>
                    <a:pt x="19" y="93"/>
                  </a:cubicBezTo>
                  <a:cubicBezTo>
                    <a:pt x="20" y="93"/>
                    <a:pt x="21" y="87"/>
                    <a:pt x="21" y="87"/>
                  </a:cubicBezTo>
                  <a:cubicBezTo>
                    <a:pt x="21" y="88"/>
                    <a:pt x="21" y="90"/>
                    <a:pt x="22" y="91"/>
                  </a:cubicBezTo>
                  <a:cubicBezTo>
                    <a:pt x="25" y="90"/>
                    <a:pt x="24" y="83"/>
                    <a:pt x="24" y="80"/>
                  </a:cubicBezTo>
                  <a:cubicBezTo>
                    <a:pt x="24" y="82"/>
                    <a:pt x="24" y="84"/>
                    <a:pt x="25" y="86"/>
                  </a:cubicBezTo>
                  <a:cubicBezTo>
                    <a:pt x="25" y="83"/>
                    <a:pt x="25" y="82"/>
                    <a:pt x="26" y="79"/>
                  </a:cubicBezTo>
                  <a:cubicBezTo>
                    <a:pt x="26" y="82"/>
                    <a:pt x="24" y="88"/>
                    <a:pt x="26" y="91"/>
                  </a:cubicBezTo>
                  <a:cubicBezTo>
                    <a:pt x="26" y="89"/>
                    <a:pt x="26" y="88"/>
                    <a:pt x="27" y="87"/>
                  </a:cubicBezTo>
                  <a:cubicBezTo>
                    <a:pt x="28" y="88"/>
                    <a:pt x="28" y="89"/>
                    <a:pt x="29" y="89"/>
                  </a:cubicBezTo>
                  <a:cubicBezTo>
                    <a:pt x="30" y="89"/>
                    <a:pt x="31" y="88"/>
                    <a:pt x="31" y="86"/>
                  </a:cubicBezTo>
                  <a:cubicBezTo>
                    <a:pt x="31" y="82"/>
                    <a:pt x="31" y="80"/>
                    <a:pt x="33" y="76"/>
                  </a:cubicBezTo>
                  <a:cubicBezTo>
                    <a:pt x="31" y="79"/>
                    <a:pt x="31" y="83"/>
                    <a:pt x="33" y="86"/>
                  </a:cubicBezTo>
                  <a:cubicBezTo>
                    <a:pt x="33" y="85"/>
                    <a:pt x="34" y="84"/>
                    <a:pt x="35" y="83"/>
                  </a:cubicBezTo>
                  <a:cubicBezTo>
                    <a:pt x="34" y="84"/>
                    <a:pt x="34" y="85"/>
                    <a:pt x="34" y="86"/>
                  </a:cubicBezTo>
                  <a:cubicBezTo>
                    <a:pt x="35" y="84"/>
                    <a:pt x="37" y="83"/>
                    <a:pt x="38" y="82"/>
                  </a:cubicBezTo>
                  <a:cubicBezTo>
                    <a:pt x="37" y="84"/>
                    <a:pt x="35" y="86"/>
                    <a:pt x="36" y="88"/>
                  </a:cubicBezTo>
                  <a:cubicBezTo>
                    <a:pt x="37" y="89"/>
                    <a:pt x="37" y="89"/>
                    <a:pt x="38" y="89"/>
                  </a:cubicBezTo>
                  <a:cubicBezTo>
                    <a:pt x="38" y="89"/>
                    <a:pt x="38" y="89"/>
                    <a:pt x="38" y="89"/>
                  </a:cubicBezTo>
                  <a:cubicBezTo>
                    <a:pt x="40" y="88"/>
                    <a:pt x="40" y="82"/>
                    <a:pt x="41" y="80"/>
                  </a:cubicBezTo>
                  <a:cubicBezTo>
                    <a:pt x="42" y="82"/>
                    <a:pt x="43" y="82"/>
                    <a:pt x="43" y="82"/>
                  </a:cubicBezTo>
                  <a:cubicBezTo>
                    <a:pt x="44" y="82"/>
                    <a:pt x="45" y="80"/>
                    <a:pt x="44" y="78"/>
                  </a:cubicBezTo>
                  <a:cubicBezTo>
                    <a:pt x="44" y="76"/>
                    <a:pt x="44" y="74"/>
                    <a:pt x="43" y="74"/>
                  </a:cubicBezTo>
                  <a:cubicBezTo>
                    <a:pt x="43" y="74"/>
                    <a:pt x="43" y="74"/>
                    <a:pt x="42" y="75"/>
                  </a:cubicBezTo>
                  <a:cubicBezTo>
                    <a:pt x="43" y="73"/>
                    <a:pt x="42" y="73"/>
                    <a:pt x="40" y="71"/>
                  </a:cubicBezTo>
                  <a:cubicBezTo>
                    <a:pt x="41" y="70"/>
                    <a:pt x="44" y="68"/>
                    <a:pt x="43" y="68"/>
                  </a:cubicBezTo>
                  <a:cubicBezTo>
                    <a:pt x="42" y="65"/>
                    <a:pt x="42" y="65"/>
                    <a:pt x="44" y="63"/>
                  </a:cubicBezTo>
                  <a:cubicBezTo>
                    <a:pt x="46" y="61"/>
                    <a:pt x="39" y="58"/>
                    <a:pt x="38" y="57"/>
                  </a:cubicBezTo>
                  <a:cubicBezTo>
                    <a:pt x="38" y="57"/>
                    <a:pt x="38" y="57"/>
                    <a:pt x="38" y="57"/>
                  </a:cubicBezTo>
                  <a:cubicBezTo>
                    <a:pt x="40" y="57"/>
                    <a:pt x="41" y="57"/>
                    <a:pt x="42" y="58"/>
                  </a:cubicBezTo>
                  <a:cubicBezTo>
                    <a:pt x="42" y="57"/>
                    <a:pt x="42" y="57"/>
                    <a:pt x="42" y="56"/>
                  </a:cubicBezTo>
                  <a:cubicBezTo>
                    <a:pt x="43" y="55"/>
                    <a:pt x="43" y="55"/>
                    <a:pt x="43" y="55"/>
                  </a:cubicBezTo>
                  <a:cubicBezTo>
                    <a:pt x="45" y="54"/>
                    <a:pt x="45" y="54"/>
                    <a:pt x="45" y="54"/>
                  </a:cubicBezTo>
                  <a:cubicBezTo>
                    <a:pt x="45" y="55"/>
                    <a:pt x="45" y="55"/>
                    <a:pt x="45" y="55"/>
                  </a:cubicBezTo>
                  <a:cubicBezTo>
                    <a:pt x="47" y="55"/>
                    <a:pt x="47" y="55"/>
                    <a:pt x="47" y="55"/>
                  </a:cubicBezTo>
                  <a:cubicBezTo>
                    <a:pt x="47" y="56"/>
                    <a:pt x="46" y="58"/>
                    <a:pt x="45" y="59"/>
                  </a:cubicBezTo>
                  <a:cubicBezTo>
                    <a:pt x="47" y="60"/>
                    <a:pt x="46" y="63"/>
                    <a:pt x="46" y="65"/>
                  </a:cubicBezTo>
                  <a:cubicBezTo>
                    <a:pt x="46" y="68"/>
                    <a:pt x="48" y="68"/>
                    <a:pt x="51" y="68"/>
                  </a:cubicBezTo>
                  <a:cubicBezTo>
                    <a:pt x="52" y="69"/>
                    <a:pt x="55" y="70"/>
                    <a:pt x="58" y="70"/>
                  </a:cubicBezTo>
                  <a:cubicBezTo>
                    <a:pt x="60" y="70"/>
                    <a:pt x="61" y="69"/>
                    <a:pt x="62" y="68"/>
                  </a:cubicBezTo>
                  <a:cubicBezTo>
                    <a:pt x="61" y="67"/>
                    <a:pt x="61" y="67"/>
                    <a:pt x="61" y="67"/>
                  </a:cubicBezTo>
                  <a:cubicBezTo>
                    <a:pt x="59" y="67"/>
                    <a:pt x="59" y="67"/>
                    <a:pt x="59" y="67"/>
                  </a:cubicBezTo>
                  <a:cubicBezTo>
                    <a:pt x="58" y="66"/>
                    <a:pt x="57" y="65"/>
                    <a:pt x="56" y="63"/>
                  </a:cubicBezTo>
                  <a:cubicBezTo>
                    <a:pt x="56" y="62"/>
                    <a:pt x="56" y="61"/>
                    <a:pt x="56" y="60"/>
                  </a:cubicBezTo>
                  <a:cubicBezTo>
                    <a:pt x="56" y="60"/>
                    <a:pt x="55" y="58"/>
                    <a:pt x="55" y="58"/>
                  </a:cubicBezTo>
                  <a:cubicBezTo>
                    <a:pt x="55" y="58"/>
                    <a:pt x="55" y="58"/>
                    <a:pt x="55" y="58"/>
                  </a:cubicBezTo>
                  <a:cubicBezTo>
                    <a:pt x="55" y="57"/>
                    <a:pt x="55" y="57"/>
                    <a:pt x="54" y="56"/>
                  </a:cubicBezTo>
                  <a:cubicBezTo>
                    <a:pt x="54" y="56"/>
                    <a:pt x="54" y="56"/>
                    <a:pt x="54" y="56"/>
                  </a:cubicBezTo>
                  <a:cubicBezTo>
                    <a:pt x="54" y="55"/>
                    <a:pt x="54" y="55"/>
                    <a:pt x="54" y="55"/>
                  </a:cubicBezTo>
                  <a:cubicBezTo>
                    <a:pt x="53" y="54"/>
                    <a:pt x="53" y="54"/>
                    <a:pt x="53" y="54"/>
                  </a:cubicBezTo>
                  <a:cubicBezTo>
                    <a:pt x="53" y="52"/>
                    <a:pt x="54" y="51"/>
                    <a:pt x="54" y="50"/>
                  </a:cubicBezTo>
                  <a:cubicBezTo>
                    <a:pt x="54" y="49"/>
                    <a:pt x="54" y="49"/>
                    <a:pt x="54" y="49"/>
                  </a:cubicBezTo>
                  <a:cubicBezTo>
                    <a:pt x="54" y="46"/>
                    <a:pt x="54" y="46"/>
                    <a:pt x="54" y="46"/>
                  </a:cubicBezTo>
                  <a:cubicBezTo>
                    <a:pt x="56" y="47"/>
                    <a:pt x="56" y="47"/>
                    <a:pt x="56" y="47"/>
                  </a:cubicBezTo>
                  <a:cubicBezTo>
                    <a:pt x="63" y="40"/>
                    <a:pt x="63" y="40"/>
                    <a:pt x="63" y="40"/>
                  </a:cubicBezTo>
                  <a:cubicBezTo>
                    <a:pt x="62" y="40"/>
                    <a:pt x="62" y="40"/>
                    <a:pt x="62" y="40"/>
                  </a:cubicBezTo>
                  <a:cubicBezTo>
                    <a:pt x="63" y="40"/>
                    <a:pt x="63" y="40"/>
                    <a:pt x="63" y="40"/>
                  </a:cubicBezTo>
                  <a:cubicBezTo>
                    <a:pt x="63" y="40"/>
                    <a:pt x="63" y="40"/>
                    <a:pt x="63" y="40"/>
                  </a:cubicBezTo>
                  <a:cubicBezTo>
                    <a:pt x="64" y="40"/>
                    <a:pt x="64" y="40"/>
                    <a:pt x="64" y="40"/>
                  </a:cubicBezTo>
                  <a:cubicBezTo>
                    <a:pt x="65" y="39"/>
                    <a:pt x="65" y="39"/>
                    <a:pt x="66" y="39"/>
                  </a:cubicBezTo>
                  <a:cubicBezTo>
                    <a:pt x="67" y="39"/>
                    <a:pt x="67" y="39"/>
                    <a:pt x="67" y="39"/>
                  </a:cubicBezTo>
                  <a:cubicBezTo>
                    <a:pt x="68" y="38"/>
                    <a:pt x="68" y="37"/>
                    <a:pt x="69" y="37"/>
                  </a:cubicBezTo>
                  <a:cubicBezTo>
                    <a:pt x="67" y="33"/>
                    <a:pt x="67" y="33"/>
                    <a:pt x="67" y="33"/>
                  </a:cubicBezTo>
                  <a:cubicBezTo>
                    <a:pt x="70" y="36"/>
                    <a:pt x="70" y="36"/>
                    <a:pt x="70" y="36"/>
                  </a:cubicBezTo>
                  <a:cubicBezTo>
                    <a:pt x="71" y="35"/>
                    <a:pt x="71" y="35"/>
                    <a:pt x="71" y="35"/>
                  </a:cubicBezTo>
                  <a:cubicBezTo>
                    <a:pt x="71" y="35"/>
                    <a:pt x="72" y="34"/>
                    <a:pt x="72" y="34"/>
                  </a:cubicBezTo>
                  <a:cubicBezTo>
                    <a:pt x="73" y="34"/>
                    <a:pt x="73" y="34"/>
                    <a:pt x="73" y="34"/>
                  </a:cubicBezTo>
                  <a:cubicBezTo>
                    <a:pt x="73" y="33"/>
                    <a:pt x="73" y="33"/>
                    <a:pt x="73" y="33"/>
                  </a:cubicBezTo>
                  <a:cubicBezTo>
                    <a:pt x="73" y="33"/>
                    <a:pt x="73" y="31"/>
                    <a:pt x="73" y="31"/>
                  </a:cubicBezTo>
                  <a:cubicBezTo>
                    <a:pt x="74" y="29"/>
                    <a:pt x="74" y="29"/>
                    <a:pt x="74" y="29"/>
                  </a:cubicBezTo>
                  <a:cubicBezTo>
                    <a:pt x="77" y="26"/>
                    <a:pt x="77" y="26"/>
                    <a:pt x="77" y="26"/>
                  </a:cubicBezTo>
                  <a:cubicBezTo>
                    <a:pt x="76" y="26"/>
                    <a:pt x="76" y="26"/>
                    <a:pt x="75" y="26"/>
                  </a:cubicBezTo>
                  <a:cubicBezTo>
                    <a:pt x="75" y="25"/>
                    <a:pt x="75" y="25"/>
                    <a:pt x="75" y="25"/>
                  </a:cubicBezTo>
                  <a:cubicBezTo>
                    <a:pt x="74" y="25"/>
                    <a:pt x="74" y="25"/>
                    <a:pt x="73" y="25"/>
                  </a:cubicBezTo>
                  <a:cubicBezTo>
                    <a:pt x="73" y="24"/>
                    <a:pt x="72" y="24"/>
                    <a:pt x="71" y="24"/>
                  </a:cubicBezTo>
                  <a:cubicBezTo>
                    <a:pt x="71" y="24"/>
                    <a:pt x="70" y="24"/>
                    <a:pt x="70" y="24"/>
                  </a:cubicBezTo>
                  <a:cubicBezTo>
                    <a:pt x="69" y="25"/>
                    <a:pt x="69" y="25"/>
                    <a:pt x="69" y="25"/>
                  </a:cubicBezTo>
                  <a:cubicBezTo>
                    <a:pt x="68" y="25"/>
                    <a:pt x="67" y="25"/>
                    <a:pt x="66" y="25"/>
                  </a:cubicBezTo>
                  <a:cubicBezTo>
                    <a:pt x="66" y="25"/>
                    <a:pt x="66" y="25"/>
                    <a:pt x="65" y="25"/>
                  </a:cubicBezTo>
                  <a:cubicBezTo>
                    <a:pt x="62" y="25"/>
                    <a:pt x="59" y="24"/>
                    <a:pt x="56" y="24"/>
                  </a:cubicBezTo>
                  <a:cubicBezTo>
                    <a:pt x="55" y="24"/>
                    <a:pt x="55" y="24"/>
                    <a:pt x="55" y="24"/>
                  </a:cubicBezTo>
                  <a:cubicBezTo>
                    <a:pt x="54" y="24"/>
                    <a:pt x="54" y="24"/>
                    <a:pt x="54" y="24"/>
                  </a:cubicBezTo>
                  <a:cubicBezTo>
                    <a:pt x="53" y="24"/>
                    <a:pt x="52" y="24"/>
                    <a:pt x="51" y="24"/>
                  </a:cubicBezTo>
                  <a:cubicBezTo>
                    <a:pt x="50" y="24"/>
                    <a:pt x="50" y="24"/>
                    <a:pt x="50" y="24"/>
                  </a:cubicBezTo>
                  <a:cubicBezTo>
                    <a:pt x="50" y="24"/>
                    <a:pt x="49" y="24"/>
                    <a:pt x="49" y="24"/>
                  </a:cubicBezTo>
                  <a:cubicBezTo>
                    <a:pt x="48" y="24"/>
                    <a:pt x="48" y="24"/>
                    <a:pt x="47" y="24"/>
                  </a:cubicBezTo>
                  <a:cubicBezTo>
                    <a:pt x="47" y="24"/>
                    <a:pt x="47" y="24"/>
                    <a:pt x="46" y="24"/>
                  </a:cubicBezTo>
                  <a:cubicBezTo>
                    <a:pt x="46" y="24"/>
                    <a:pt x="46" y="24"/>
                    <a:pt x="46" y="24"/>
                  </a:cubicBezTo>
                  <a:cubicBezTo>
                    <a:pt x="46" y="24"/>
                    <a:pt x="45" y="24"/>
                    <a:pt x="45" y="25"/>
                  </a:cubicBezTo>
                  <a:cubicBezTo>
                    <a:pt x="44" y="25"/>
                    <a:pt x="44" y="25"/>
                    <a:pt x="44" y="25"/>
                  </a:cubicBezTo>
                  <a:cubicBezTo>
                    <a:pt x="44" y="25"/>
                    <a:pt x="43" y="25"/>
                    <a:pt x="42" y="25"/>
                  </a:cubicBezTo>
                  <a:cubicBezTo>
                    <a:pt x="42" y="25"/>
                    <a:pt x="42" y="25"/>
                    <a:pt x="41" y="25"/>
                  </a:cubicBezTo>
                  <a:cubicBezTo>
                    <a:pt x="41" y="25"/>
                    <a:pt x="41" y="25"/>
                    <a:pt x="41" y="25"/>
                  </a:cubicBezTo>
                  <a:cubicBezTo>
                    <a:pt x="40" y="25"/>
                    <a:pt x="40" y="24"/>
                    <a:pt x="39" y="24"/>
                  </a:cubicBezTo>
                  <a:cubicBezTo>
                    <a:pt x="38" y="24"/>
                    <a:pt x="38" y="24"/>
                    <a:pt x="38" y="24"/>
                  </a:cubicBezTo>
                  <a:cubicBezTo>
                    <a:pt x="38" y="24"/>
                    <a:pt x="38" y="24"/>
                    <a:pt x="37" y="24"/>
                  </a:cubicBezTo>
                  <a:cubicBezTo>
                    <a:pt x="35" y="23"/>
                    <a:pt x="34" y="23"/>
                    <a:pt x="33" y="22"/>
                  </a:cubicBezTo>
                  <a:cubicBezTo>
                    <a:pt x="33" y="22"/>
                    <a:pt x="33" y="22"/>
                    <a:pt x="33" y="22"/>
                  </a:cubicBezTo>
                  <a:cubicBezTo>
                    <a:pt x="32" y="22"/>
                    <a:pt x="32" y="22"/>
                    <a:pt x="32" y="22"/>
                  </a:cubicBezTo>
                  <a:cubicBezTo>
                    <a:pt x="31" y="22"/>
                    <a:pt x="31" y="22"/>
                    <a:pt x="30" y="21"/>
                  </a:cubicBezTo>
                  <a:cubicBezTo>
                    <a:pt x="29" y="21"/>
                    <a:pt x="28" y="21"/>
                    <a:pt x="28" y="19"/>
                  </a:cubicBezTo>
                  <a:cubicBezTo>
                    <a:pt x="25" y="19"/>
                    <a:pt x="25" y="19"/>
                    <a:pt x="25" y="19"/>
                  </a:cubicBezTo>
                  <a:cubicBezTo>
                    <a:pt x="28" y="18"/>
                    <a:pt x="28" y="18"/>
                    <a:pt x="28" y="18"/>
                  </a:cubicBezTo>
                  <a:cubicBezTo>
                    <a:pt x="28" y="17"/>
                    <a:pt x="28" y="17"/>
                    <a:pt x="28" y="17"/>
                  </a:cubicBezTo>
                  <a:cubicBezTo>
                    <a:pt x="28" y="16"/>
                    <a:pt x="28" y="14"/>
                    <a:pt x="28" y="13"/>
                  </a:cubicBezTo>
                  <a:cubicBezTo>
                    <a:pt x="27" y="12"/>
                    <a:pt x="27" y="12"/>
                    <a:pt x="27" y="12"/>
                  </a:cubicBezTo>
                  <a:cubicBezTo>
                    <a:pt x="27" y="11"/>
                    <a:pt x="27" y="11"/>
                    <a:pt x="27" y="10"/>
                  </a:cubicBezTo>
                  <a:cubicBezTo>
                    <a:pt x="27" y="8"/>
                    <a:pt x="27" y="7"/>
                    <a:pt x="27" y="6"/>
                  </a:cubicBezTo>
                  <a:cubicBezTo>
                    <a:pt x="26" y="7"/>
                    <a:pt x="24" y="8"/>
                    <a:pt x="22" y="8"/>
                  </a:cubicBezTo>
                  <a:cubicBezTo>
                    <a:pt x="21" y="8"/>
                    <a:pt x="20" y="7"/>
                    <a:pt x="19" y="7"/>
                  </a:cubicBezTo>
                  <a:cubicBezTo>
                    <a:pt x="19" y="6"/>
                    <a:pt x="19" y="6"/>
                    <a:pt x="19" y="6"/>
                  </a:cubicBezTo>
                  <a:cubicBezTo>
                    <a:pt x="17" y="6"/>
                    <a:pt x="16" y="4"/>
                    <a:pt x="16" y="3"/>
                  </a:cubicBezTo>
                  <a:cubicBezTo>
                    <a:pt x="15" y="3"/>
                    <a:pt x="15" y="3"/>
                    <a:pt x="15" y="3"/>
                  </a:cubicBezTo>
                  <a:cubicBezTo>
                    <a:pt x="13" y="3"/>
                    <a:pt x="12" y="2"/>
                    <a:pt x="10" y="2"/>
                  </a:cubicBezTo>
                  <a:cubicBezTo>
                    <a:pt x="10" y="1"/>
                    <a:pt x="10" y="1"/>
                    <a:pt x="10" y="1"/>
                  </a:cubicBezTo>
                  <a:cubicBezTo>
                    <a:pt x="10" y="1"/>
                    <a:pt x="9" y="1"/>
                    <a:pt x="9" y="1"/>
                  </a:cubicBezTo>
                  <a:cubicBezTo>
                    <a:pt x="8" y="1"/>
                    <a:pt x="7" y="1"/>
                    <a:pt x="7"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431"/>
            <p:cNvSpPr/>
            <p:nvPr/>
          </p:nvSpPr>
          <p:spPr bwMode="auto">
            <a:xfrm flipH="1">
              <a:off x="4118101" y="5446748"/>
              <a:ext cx="0" cy="2751"/>
            </a:xfrm>
            <a:custGeom>
              <a:gdLst>
                <a:gd name="T0" fmla="*/ 0 h 2"/>
                <a:gd name="T1" fmla="*/ 0 h 2"/>
                <a:gd name="T2" fmla="*/ 0 h 2"/>
                <a:gd name="T3" fmla="*/ 2 h 2"/>
                <a:gd name="T4" fmla="*/ 2 h 2"/>
                <a:gd name="T5" fmla="*/ 2 h 2"/>
                <a:gd name="T6" fmla="*/ 2 h 2"/>
                <a:gd name="T7" fmla="*/ 0 h 2"/>
                <a:gd name="T8" fmla="*/ 0 h 2"/>
              </a:gd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432"/>
            <p:cNvSpPr/>
            <p:nvPr/>
          </p:nvSpPr>
          <p:spPr bwMode="auto">
            <a:xfrm flipH="1">
              <a:off x="4118101" y="5446748"/>
              <a:ext cx="0" cy="2751"/>
            </a:xfrm>
            <a:custGeom>
              <a:gdLst>
                <a:gd name="T0" fmla="*/ 0 h 2"/>
                <a:gd name="T1" fmla="*/ 0 h 2"/>
                <a:gd name="T2" fmla="*/ 0 h 2"/>
                <a:gd name="T3" fmla="*/ 2 h 2"/>
                <a:gd name="T4" fmla="*/ 2 h 2"/>
                <a:gd name="T5" fmla="*/ 2 h 2"/>
                <a:gd name="T6" fmla="*/ 2 h 2"/>
                <a:gd name="T7" fmla="*/ 0 h 2"/>
                <a:gd name="T8" fmla="*/ 0 h 2"/>
              </a:gd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2"/>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433"/>
            <p:cNvSpPr/>
            <p:nvPr/>
          </p:nvSpPr>
          <p:spPr bwMode="auto">
            <a:xfrm>
              <a:off x="4120852" y="5453626"/>
              <a:ext cx="13755" cy="19256"/>
            </a:xfrm>
            <a:custGeom>
              <a:gdLst>
                <a:gd name="T0" fmla="*/ 2 w 4"/>
                <a:gd name="T1" fmla="*/ 0 h 6"/>
                <a:gd name="T2" fmla="*/ 0 w 4"/>
                <a:gd name="T3" fmla="*/ 1 h 6"/>
                <a:gd name="T4" fmla="*/ 4 w 4"/>
                <a:gd name="T5" fmla="*/ 6 h 6"/>
                <a:gd name="T6" fmla="*/ 3 w 4"/>
                <a:gd name="T7" fmla="*/ 3 h 6"/>
                <a:gd name="T8" fmla="*/ 2 w 4"/>
                <a:gd name="T9" fmla="*/ 2 h 6"/>
                <a:gd name="T10" fmla="*/ 2 w 4"/>
                <a:gd name="T11" fmla="*/ 2 h 6"/>
                <a:gd name="T12" fmla="*/ 2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0" y="1"/>
                    <a:pt x="0" y="1"/>
                    <a:pt x="0" y="1"/>
                  </a:cubicBezTo>
                  <a:cubicBezTo>
                    <a:pt x="1" y="3"/>
                    <a:pt x="3" y="4"/>
                    <a:pt x="4" y="6"/>
                  </a:cubicBezTo>
                  <a:cubicBezTo>
                    <a:pt x="4" y="5"/>
                    <a:pt x="3" y="4"/>
                    <a:pt x="3" y="3"/>
                  </a:cubicBezTo>
                  <a:cubicBezTo>
                    <a:pt x="3" y="3"/>
                    <a:pt x="3" y="2"/>
                    <a:pt x="2" y="2"/>
                  </a:cubicBezTo>
                  <a:cubicBezTo>
                    <a:pt x="2" y="2"/>
                    <a:pt x="2" y="2"/>
                    <a:pt x="2" y="2"/>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434"/>
            <p:cNvSpPr/>
            <p:nvPr/>
          </p:nvSpPr>
          <p:spPr bwMode="auto">
            <a:xfrm>
              <a:off x="4130481" y="4968091"/>
              <a:ext cx="526798" cy="1174635"/>
            </a:xfrm>
            <a:custGeom>
              <a:gdLst>
                <a:gd name="T0" fmla="*/ 95 w 162"/>
                <a:gd name="T1" fmla="*/ 13 h 361"/>
                <a:gd name="T2" fmla="*/ 75 w 162"/>
                <a:gd name="T3" fmla="*/ 27 h 361"/>
                <a:gd name="T4" fmla="*/ 57 w 162"/>
                <a:gd name="T5" fmla="*/ 49 h 361"/>
                <a:gd name="T6" fmla="*/ 40 w 162"/>
                <a:gd name="T7" fmla="*/ 88 h 361"/>
                <a:gd name="T8" fmla="*/ 20 w 162"/>
                <a:gd name="T9" fmla="*/ 111 h 361"/>
                <a:gd name="T10" fmla="*/ 9 w 162"/>
                <a:gd name="T11" fmla="*/ 134 h 361"/>
                <a:gd name="T12" fmla="*/ 1 w 162"/>
                <a:gd name="T13" fmla="*/ 146 h 361"/>
                <a:gd name="T14" fmla="*/ 2 w 162"/>
                <a:gd name="T15" fmla="*/ 153 h 361"/>
                <a:gd name="T16" fmla="*/ 10 w 162"/>
                <a:gd name="T17" fmla="*/ 164 h 361"/>
                <a:gd name="T18" fmla="*/ 13 w 162"/>
                <a:gd name="T19" fmla="*/ 168 h 361"/>
                <a:gd name="T20" fmla="*/ 27 w 162"/>
                <a:gd name="T21" fmla="*/ 172 h 361"/>
                <a:gd name="T22" fmla="*/ 32 w 162"/>
                <a:gd name="T23" fmla="*/ 182 h 361"/>
                <a:gd name="T24" fmla="*/ 26 w 162"/>
                <a:gd name="T25" fmla="*/ 188 h 361"/>
                <a:gd name="T26" fmla="*/ 33 w 162"/>
                <a:gd name="T27" fmla="*/ 182 h 361"/>
                <a:gd name="T28" fmla="*/ 42 w 162"/>
                <a:gd name="T29" fmla="*/ 210 h 361"/>
                <a:gd name="T30" fmla="*/ 43 w 162"/>
                <a:gd name="T31" fmla="*/ 245 h 361"/>
                <a:gd name="T32" fmla="*/ 45 w 162"/>
                <a:gd name="T33" fmla="*/ 249 h 361"/>
                <a:gd name="T34" fmla="*/ 49 w 162"/>
                <a:gd name="T35" fmla="*/ 246 h 361"/>
                <a:gd name="T36" fmla="*/ 55 w 162"/>
                <a:gd name="T37" fmla="*/ 247 h 361"/>
                <a:gd name="T38" fmla="*/ 65 w 162"/>
                <a:gd name="T39" fmla="*/ 245 h 361"/>
                <a:gd name="T40" fmla="*/ 76 w 162"/>
                <a:gd name="T41" fmla="*/ 238 h 361"/>
                <a:gd name="T42" fmla="*/ 88 w 162"/>
                <a:gd name="T43" fmla="*/ 222 h 361"/>
                <a:gd name="T44" fmla="*/ 102 w 162"/>
                <a:gd name="T45" fmla="*/ 237 h 361"/>
                <a:gd name="T46" fmla="*/ 104 w 162"/>
                <a:gd name="T47" fmla="*/ 257 h 361"/>
                <a:gd name="T48" fmla="*/ 109 w 162"/>
                <a:gd name="T49" fmla="*/ 275 h 361"/>
                <a:gd name="T50" fmla="*/ 112 w 162"/>
                <a:gd name="T51" fmla="*/ 287 h 361"/>
                <a:gd name="T52" fmla="*/ 120 w 162"/>
                <a:gd name="T53" fmla="*/ 319 h 361"/>
                <a:gd name="T54" fmla="*/ 117 w 162"/>
                <a:gd name="T55" fmla="*/ 325 h 361"/>
                <a:gd name="T56" fmla="*/ 122 w 162"/>
                <a:gd name="T57" fmla="*/ 332 h 361"/>
                <a:gd name="T58" fmla="*/ 118 w 162"/>
                <a:gd name="T59" fmla="*/ 354 h 361"/>
                <a:gd name="T60" fmla="*/ 137 w 162"/>
                <a:gd name="T61" fmla="*/ 330 h 361"/>
                <a:gd name="T62" fmla="*/ 131 w 162"/>
                <a:gd name="T63" fmla="*/ 312 h 361"/>
                <a:gd name="T64" fmla="*/ 129 w 162"/>
                <a:gd name="T65" fmla="*/ 298 h 361"/>
                <a:gd name="T66" fmla="*/ 122 w 162"/>
                <a:gd name="T67" fmla="*/ 285 h 361"/>
                <a:gd name="T68" fmla="*/ 118 w 162"/>
                <a:gd name="T69" fmla="*/ 259 h 361"/>
                <a:gd name="T70" fmla="*/ 118 w 162"/>
                <a:gd name="T71" fmla="*/ 235 h 361"/>
                <a:gd name="T72" fmla="*/ 112 w 162"/>
                <a:gd name="T73" fmla="*/ 227 h 361"/>
                <a:gd name="T74" fmla="*/ 100 w 162"/>
                <a:gd name="T75" fmla="*/ 206 h 361"/>
                <a:gd name="T76" fmla="*/ 102 w 162"/>
                <a:gd name="T77" fmla="*/ 196 h 361"/>
                <a:gd name="T78" fmla="*/ 110 w 162"/>
                <a:gd name="T79" fmla="*/ 171 h 361"/>
                <a:gd name="T80" fmla="*/ 121 w 162"/>
                <a:gd name="T81" fmla="*/ 173 h 361"/>
                <a:gd name="T82" fmla="*/ 126 w 162"/>
                <a:gd name="T83" fmla="*/ 171 h 361"/>
                <a:gd name="T84" fmla="*/ 139 w 162"/>
                <a:gd name="T85" fmla="*/ 160 h 361"/>
                <a:gd name="T86" fmla="*/ 148 w 162"/>
                <a:gd name="T87" fmla="*/ 158 h 361"/>
                <a:gd name="T88" fmla="*/ 160 w 162"/>
                <a:gd name="T89" fmla="*/ 141 h 361"/>
                <a:gd name="T90" fmla="*/ 146 w 162"/>
                <a:gd name="T91" fmla="*/ 138 h 361"/>
                <a:gd name="T92" fmla="*/ 128 w 162"/>
                <a:gd name="T93" fmla="*/ 129 h 361"/>
                <a:gd name="T94" fmla="*/ 133 w 162"/>
                <a:gd name="T95" fmla="*/ 114 h 361"/>
                <a:gd name="T96" fmla="*/ 134 w 162"/>
                <a:gd name="T97" fmla="*/ 110 h 361"/>
                <a:gd name="T98" fmla="*/ 121 w 162"/>
                <a:gd name="T99" fmla="*/ 98 h 361"/>
                <a:gd name="T100" fmla="*/ 120 w 162"/>
                <a:gd name="T101" fmla="*/ 91 h 361"/>
                <a:gd name="T102" fmla="*/ 112 w 162"/>
                <a:gd name="T103" fmla="*/ 90 h 361"/>
                <a:gd name="T104" fmla="*/ 99 w 162"/>
                <a:gd name="T105" fmla="*/ 89 h 361"/>
                <a:gd name="T106" fmla="*/ 98 w 162"/>
                <a:gd name="T107" fmla="*/ 78 h 361"/>
                <a:gd name="T108" fmla="*/ 103 w 162"/>
                <a:gd name="T109" fmla="*/ 67 h 361"/>
                <a:gd name="T110" fmla="*/ 109 w 162"/>
                <a:gd name="T111" fmla="*/ 60 h 361"/>
                <a:gd name="T112" fmla="*/ 117 w 162"/>
                <a:gd name="T113" fmla="*/ 53 h 361"/>
                <a:gd name="T114" fmla="*/ 119 w 162"/>
                <a:gd name="T115" fmla="*/ 45 h 361"/>
                <a:gd name="T116" fmla="*/ 120 w 162"/>
                <a:gd name="T117" fmla="*/ 19 h 361"/>
                <a:gd name="T118" fmla="*/ 108 w 162"/>
                <a:gd name="T119" fmla="*/ 5 h 3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2" h="361">
                  <a:moveTo>
                    <a:pt x="102" y="0"/>
                  </a:moveTo>
                  <a:cubicBezTo>
                    <a:pt x="101" y="1"/>
                    <a:pt x="100" y="2"/>
                    <a:pt x="99" y="3"/>
                  </a:cubicBezTo>
                  <a:cubicBezTo>
                    <a:pt x="99" y="4"/>
                    <a:pt x="99" y="4"/>
                    <a:pt x="99" y="4"/>
                  </a:cubicBezTo>
                  <a:cubicBezTo>
                    <a:pt x="99" y="4"/>
                    <a:pt x="99" y="4"/>
                    <a:pt x="99" y="4"/>
                  </a:cubicBezTo>
                  <a:cubicBezTo>
                    <a:pt x="99" y="5"/>
                    <a:pt x="99" y="5"/>
                    <a:pt x="99" y="5"/>
                  </a:cubicBezTo>
                  <a:cubicBezTo>
                    <a:pt x="99" y="7"/>
                    <a:pt x="99" y="7"/>
                    <a:pt x="99" y="7"/>
                  </a:cubicBezTo>
                  <a:cubicBezTo>
                    <a:pt x="100" y="10"/>
                    <a:pt x="97" y="12"/>
                    <a:pt x="95" y="13"/>
                  </a:cubicBezTo>
                  <a:cubicBezTo>
                    <a:pt x="95" y="13"/>
                    <a:pt x="95" y="13"/>
                    <a:pt x="95" y="13"/>
                  </a:cubicBezTo>
                  <a:cubicBezTo>
                    <a:pt x="94" y="14"/>
                    <a:pt x="93" y="14"/>
                    <a:pt x="93" y="15"/>
                  </a:cubicBezTo>
                  <a:cubicBezTo>
                    <a:pt x="91" y="16"/>
                    <a:pt x="90" y="17"/>
                    <a:pt x="90" y="17"/>
                  </a:cubicBezTo>
                  <a:cubicBezTo>
                    <a:pt x="91" y="18"/>
                    <a:pt x="92" y="19"/>
                    <a:pt x="92" y="19"/>
                  </a:cubicBezTo>
                  <a:cubicBezTo>
                    <a:pt x="92" y="21"/>
                    <a:pt x="92" y="21"/>
                    <a:pt x="92" y="21"/>
                  </a:cubicBezTo>
                  <a:cubicBezTo>
                    <a:pt x="86" y="30"/>
                    <a:pt x="86" y="30"/>
                    <a:pt x="86" y="30"/>
                  </a:cubicBezTo>
                  <a:cubicBezTo>
                    <a:pt x="85" y="24"/>
                    <a:pt x="85" y="24"/>
                    <a:pt x="85" y="24"/>
                  </a:cubicBezTo>
                  <a:cubicBezTo>
                    <a:pt x="84" y="24"/>
                    <a:pt x="84" y="24"/>
                    <a:pt x="83" y="24"/>
                  </a:cubicBezTo>
                  <a:cubicBezTo>
                    <a:pt x="81" y="24"/>
                    <a:pt x="78" y="25"/>
                    <a:pt x="75" y="27"/>
                  </a:cubicBezTo>
                  <a:cubicBezTo>
                    <a:pt x="73" y="28"/>
                    <a:pt x="71" y="29"/>
                    <a:pt x="70" y="30"/>
                  </a:cubicBezTo>
                  <a:cubicBezTo>
                    <a:pt x="68" y="31"/>
                    <a:pt x="66" y="32"/>
                    <a:pt x="65" y="33"/>
                  </a:cubicBezTo>
                  <a:cubicBezTo>
                    <a:pt x="63" y="35"/>
                    <a:pt x="62" y="36"/>
                    <a:pt x="60" y="37"/>
                  </a:cubicBezTo>
                  <a:cubicBezTo>
                    <a:pt x="59" y="37"/>
                    <a:pt x="59" y="37"/>
                    <a:pt x="59" y="37"/>
                  </a:cubicBezTo>
                  <a:cubicBezTo>
                    <a:pt x="56" y="38"/>
                    <a:pt x="56" y="39"/>
                    <a:pt x="56" y="40"/>
                  </a:cubicBezTo>
                  <a:cubicBezTo>
                    <a:pt x="56" y="40"/>
                    <a:pt x="56" y="41"/>
                    <a:pt x="56" y="42"/>
                  </a:cubicBezTo>
                  <a:cubicBezTo>
                    <a:pt x="56" y="43"/>
                    <a:pt x="56" y="43"/>
                    <a:pt x="56" y="43"/>
                  </a:cubicBezTo>
                  <a:cubicBezTo>
                    <a:pt x="57" y="45"/>
                    <a:pt x="57" y="47"/>
                    <a:pt x="57" y="49"/>
                  </a:cubicBezTo>
                  <a:cubicBezTo>
                    <a:pt x="57" y="50"/>
                    <a:pt x="57" y="50"/>
                    <a:pt x="56" y="51"/>
                  </a:cubicBezTo>
                  <a:cubicBezTo>
                    <a:pt x="56" y="51"/>
                    <a:pt x="56" y="51"/>
                    <a:pt x="56" y="51"/>
                  </a:cubicBezTo>
                  <a:cubicBezTo>
                    <a:pt x="55" y="52"/>
                    <a:pt x="55" y="53"/>
                    <a:pt x="55" y="53"/>
                  </a:cubicBezTo>
                  <a:cubicBezTo>
                    <a:pt x="55" y="55"/>
                    <a:pt x="54" y="57"/>
                    <a:pt x="51" y="59"/>
                  </a:cubicBezTo>
                  <a:cubicBezTo>
                    <a:pt x="47" y="62"/>
                    <a:pt x="47" y="62"/>
                    <a:pt x="48" y="63"/>
                  </a:cubicBezTo>
                  <a:cubicBezTo>
                    <a:pt x="49" y="68"/>
                    <a:pt x="48" y="73"/>
                    <a:pt x="44" y="80"/>
                  </a:cubicBezTo>
                  <a:cubicBezTo>
                    <a:pt x="41" y="83"/>
                    <a:pt x="40" y="88"/>
                    <a:pt x="40" y="88"/>
                  </a:cubicBezTo>
                  <a:cubicBezTo>
                    <a:pt x="40" y="88"/>
                    <a:pt x="40" y="88"/>
                    <a:pt x="40" y="88"/>
                  </a:cubicBezTo>
                  <a:cubicBezTo>
                    <a:pt x="39" y="89"/>
                    <a:pt x="39" y="89"/>
                    <a:pt x="39" y="89"/>
                  </a:cubicBezTo>
                  <a:cubicBezTo>
                    <a:pt x="39" y="89"/>
                    <a:pt x="38" y="91"/>
                    <a:pt x="35" y="94"/>
                  </a:cubicBezTo>
                  <a:cubicBezTo>
                    <a:pt x="34" y="95"/>
                    <a:pt x="34" y="95"/>
                    <a:pt x="34" y="95"/>
                  </a:cubicBezTo>
                  <a:cubicBezTo>
                    <a:pt x="32" y="94"/>
                    <a:pt x="32" y="94"/>
                    <a:pt x="32" y="94"/>
                  </a:cubicBezTo>
                  <a:cubicBezTo>
                    <a:pt x="29" y="93"/>
                    <a:pt x="25" y="92"/>
                    <a:pt x="23" y="92"/>
                  </a:cubicBezTo>
                  <a:cubicBezTo>
                    <a:pt x="23" y="93"/>
                    <a:pt x="23" y="93"/>
                    <a:pt x="23" y="93"/>
                  </a:cubicBezTo>
                  <a:cubicBezTo>
                    <a:pt x="25" y="96"/>
                    <a:pt x="24" y="103"/>
                    <a:pt x="23" y="108"/>
                  </a:cubicBezTo>
                  <a:cubicBezTo>
                    <a:pt x="22" y="110"/>
                    <a:pt x="21" y="111"/>
                    <a:pt x="20" y="111"/>
                  </a:cubicBezTo>
                  <a:cubicBezTo>
                    <a:pt x="20" y="111"/>
                    <a:pt x="19" y="111"/>
                    <a:pt x="19" y="111"/>
                  </a:cubicBezTo>
                  <a:cubicBezTo>
                    <a:pt x="19" y="111"/>
                    <a:pt x="18" y="111"/>
                    <a:pt x="18" y="111"/>
                  </a:cubicBezTo>
                  <a:cubicBezTo>
                    <a:pt x="18" y="114"/>
                    <a:pt x="18" y="114"/>
                    <a:pt x="18" y="114"/>
                  </a:cubicBezTo>
                  <a:cubicBezTo>
                    <a:pt x="18" y="118"/>
                    <a:pt x="18" y="118"/>
                    <a:pt x="18" y="118"/>
                  </a:cubicBezTo>
                  <a:cubicBezTo>
                    <a:pt x="19" y="127"/>
                    <a:pt x="19" y="127"/>
                    <a:pt x="19" y="127"/>
                  </a:cubicBezTo>
                  <a:cubicBezTo>
                    <a:pt x="14" y="132"/>
                    <a:pt x="14" y="132"/>
                    <a:pt x="14" y="132"/>
                  </a:cubicBezTo>
                  <a:cubicBezTo>
                    <a:pt x="12" y="131"/>
                    <a:pt x="12" y="131"/>
                    <a:pt x="12" y="131"/>
                  </a:cubicBezTo>
                  <a:cubicBezTo>
                    <a:pt x="9" y="134"/>
                    <a:pt x="9" y="134"/>
                    <a:pt x="9" y="134"/>
                  </a:cubicBezTo>
                  <a:cubicBezTo>
                    <a:pt x="9" y="140"/>
                    <a:pt x="9" y="140"/>
                    <a:pt x="9" y="140"/>
                  </a:cubicBezTo>
                  <a:cubicBezTo>
                    <a:pt x="10" y="141"/>
                    <a:pt x="10" y="142"/>
                    <a:pt x="10" y="143"/>
                  </a:cubicBezTo>
                  <a:cubicBezTo>
                    <a:pt x="10" y="143"/>
                    <a:pt x="9" y="144"/>
                    <a:pt x="10" y="144"/>
                  </a:cubicBezTo>
                  <a:cubicBezTo>
                    <a:pt x="10" y="149"/>
                    <a:pt x="10" y="149"/>
                    <a:pt x="10" y="149"/>
                  </a:cubicBezTo>
                  <a:cubicBezTo>
                    <a:pt x="6" y="146"/>
                    <a:pt x="6" y="146"/>
                    <a:pt x="6" y="146"/>
                  </a:cubicBezTo>
                  <a:cubicBezTo>
                    <a:pt x="5" y="145"/>
                    <a:pt x="5" y="145"/>
                    <a:pt x="4" y="145"/>
                  </a:cubicBezTo>
                  <a:cubicBezTo>
                    <a:pt x="3" y="145"/>
                    <a:pt x="3" y="145"/>
                    <a:pt x="2" y="144"/>
                  </a:cubicBezTo>
                  <a:cubicBezTo>
                    <a:pt x="2" y="145"/>
                    <a:pt x="1" y="146"/>
                    <a:pt x="1" y="146"/>
                  </a:cubicBezTo>
                  <a:cubicBezTo>
                    <a:pt x="1" y="146"/>
                    <a:pt x="1" y="146"/>
                    <a:pt x="1" y="146"/>
                  </a:cubicBezTo>
                  <a:cubicBezTo>
                    <a:pt x="1" y="147"/>
                    <a:pt x="1" y="147"/>
                    <a:pt x="1" y="147"/>
                  </a:cubicBezTo>
                  <a:cubicBezTo>
                    <a:pt x="2" y="148"/>
                    <a:pt x="2" y="148"/>
                    <a:pt x="2" y="148"/>
                  </a:cubicBezTo>
                  <a:cubicBezTo>
                    <a:pt x="1" y="148"/>
                    <a:pt x="1" y="148"/>
                    <a:pt x="1" y="148"/>
                  </a:cubicBezTo>
                  <a:cubicBezTo>
                    <a:pt x="2" y="149"/>
                    <a:pt x="2" y="149"/>
                    <a:pt x="2" y="149"/>
                  </a:cubicBezTo>
                  <a:cubicBezTo>
                    <a:pt x="0" y="150"/>
                    <a:pt x="0" y="150"/>
                    <a:pt x="0" y="150"/>
                  </a:cubicBezTo>
                  <a:cubicBezTo>
                    <a:pt x="1" y="151"/>
                    <a:pt x="1" y="152"/>
                    <a:pt x="2" y="153"/>
                  </a:cubicBezTo>
                  <a:cubicBezTo>
                    <a:pt x="2" y="153"/>
                    <a:pt x="2" y="153"/>
                    <a:pt x="2" y="153"/>
                  </a:cubicBezTo>
                  <a:cubicBezTo>
                    <a:pt x="3" y="154"/>
                    <a:pt x="3" y="156"/>
                    <a:pt x="4" y="158"/>
                  </a:cubicBezTo>
                  <a:cubicBezTo>
                    <a:pt x="5" y="159"/>
                    <a:pt x="6" y="161"/>
                    <a:pt x="7" y="162"/>
                  </a:cubicBezTo>
                  <a:cubicBezTo>
                    <a:pt x="7" y="163"/>
                    <a:pt x="8" y="164"/>
                    <a:pt x="9" y="164"/>
                  </a:cubicBezTo>
                  <a:cubicBezTo>
                    <a:pt x="8" y="163"/>
                    <a:pt x="8" y="162"/>
                    <a:pt x="8" y="161"/>
                  </a:cubicBezTo>
                  <a:cubicBezTo>
                    <a:pt x="8" y="160"/>
                    <a:pt x="8" y="158"/>
                    <a:pt x="8" y="157"/>
                  </a:cubicBezTo>
                  <a:cubicBezTo>
                    <a:pt x="8" y="158"/>
                    <a:pt x="9" y="159"/>
                    <a:pt x="9" y="160"/>
                  </a:cubicBezTo>
                  <a:cubicBezTo>
                    <a:pt x="10" y="161"/>
                    <a:pt x="10" y="162"/>
                    <a:pt x="11" y="163"/>
                  </a:cubicBezTo>
                  <a:cubicBezTo>
                    <a:pt x="11" y="163"/>
                    <a:pt x="10" y="164"/>
                    <a:pt x="10" y="164"/>
                  </a:cubicBezTo>
                  <a:cubicBezTo>
                    <a:pt x="10" y="165"/>
                    <a:pt x="11" y="165"/>
                    <a:pt x="11" y="166"/>
                  </a:cubicBezTo>
                  <a:cubicBezTo>
                    <a:pt x="12" y="166"/>
                    <a:pt x="12" y="166"/>
                    <a:pt x="12" y="166"/>
                  </a:cubicBezTo>
                  <a:cubicBezTo>
                    <a:pt x="12" y="165"/>
                    <a:pt x="12" y="165"/>
                    <a:pt x="13" y="164"/>
                  </a:cubicBezTo>
                  <a:cubicBezTo>
                    <a:pt x="13" y="163"/>
                    <a:pt x="14" y="161"/>
                    <a:pt x="14" y="160"/>
                  </a:cubicBezTo>
                  <a:cubicBezTo>
                    <a:pt x="15" y="161"/>
                    <a:pt x="15" y="161"/>
                    <a:pt x="14" y="162"/>
                  </a:cubicBezTo>
                  <a:cubicBezTo>
                    <a:pt x="14" y="162"/>
                    <a:pt x="14" y="162"/>
                    <a:pt x="14" y="162"/>
                  </a:cubicBezTo>
                  <a:cubicBezTo>
                    <a:pt x="15" y="162"/>
                    <a:pt x="15" y="162"/>
                    <a:pt x="15" y="162"/>
                  </a:cubicBezTo>
                  <a:cubicBezTo>
                    <a:pt x="15" y="164"/>
                    <a:pt x="13" y="167"/>
                    <a:pt x="13" y="168"/>
                  </a:cubicBezTo>
                  <a:cubicBezTo>
                    <a:pt x="13" y="169"/>
                    <a:pt x="14" y="169"/>
                    <a:pt x="14" y="170"/>
                  </a:cubicBezTo>
                  <a:cubicBezTo>
                    <a:pt x="14" y="170"/>
                    <a:pt x="14" y="170"/>
                    <a:pt x="14" y="170"/>
                  </a:cubicBezTo>
                  <a:cubicBezTo>
                    <a:pt x="15" y="171"/>
                    <a:pt x="15" y="172"/>
                    <a:pt x="16" y="173"/>
                  </a:cubicBezTo>
                  <a:cubicBezTo>
                    <a:pt x="15" y="170"/>
                    <a:pt x="16" y="169"/>
                    <a:pt x="18" y="169"/>
                  </a:cubicBezTo>
                  <a:cubicBezTo>
                    <a:pt x="18" y="169"/>
                    <a:pt x="19" y="169"/>
                    <a:pt x="20" y="169"/>
                  </a:cubicBezTo>
                  <a:cubicBezTo>
                    <a:pt x="20" y="169"/>
                    <a:pt x="21" y="169"/>
                    <a:pt x="22" y="169"/>
                  </a:cubicBezTo>
                  <a:cubicBezTo>
                    <a:pt x="24" y="170"/>
                    <a:pt x="27" y="170"/>
                    <a:pt x="27" y="171"/>
                  </a:cubicBezTo>
                  <a:cubicBezTo>
                    <a:pt x="27" y="172"/>
                    <a:pt x="27" y="172"/>
                    <a:pt x="27" y="172"/>
                  </a:cubicBezTo>
                  <a:cubicBezTo>
                    <a:pt x="27" y="172"/>
                    <a:pt x="27" y="172"/>
                    <a:pt x="27" y="172"/>
                  </a:cubicBezTo>
                  <a:cubicBezTo>
                    <a:pt x="26" y="172"/>
                    <a:pt x="26" y="172"/>
                    <a:pt x="26" y="172"/>
                  </a:cubicBezTo>
                  <a:cubicBezTo>
                    <a:pt x="26" y="173"/>
                    <a:pt x="26" y="173"/>
                    <a:pt x="26" y="173"/>
                  </a:cubicBezTo>
                  <a:cubicBezTo>
                    <a:pt x="25" y="175"/>
                    <a:pt x="27" y="175"/>
                    <a:pt x="29" y="175"/>
                  </a:cubicBezTo>
                  <a:cubicBezTo>
                    <a:pt x="27" y="177"/>
                    <a:pt x="28" y="177"/>
                    <a:pt x="28" y="178"/>
                  </a:cubicBezTo>
                  <a:cubicBezTo>
                    <a:pt x="29" y="178"/>
                    <a:pt x="29" y="178"/>
                    <a:pt x="29" y="179"/>
                  </a:cubicBezTo>
                  <a:cubicBezTo>
                    <a:pt x="30" y="179"/>
                    <a:pt x="31" y="181"/>
                    <a:pt x="32" y="182"/>
                  </a:cubicBezTo>
                  <a:cubicBezTo>
                    <a:pt x="32" y="182"/>
                    <a:pt x="32" y="182"/>
                    <a:pt x="32" y="182"/>
                  </a:cubicBezTo>
                  <a:cubicBezTo>
                    <a:pt x="31" y="183"/>
                    <a:pt x="30" y="184"/>
                    <a:pt x="30" y="185"/>
                  </a:cubicBezTo>
                  <a:cubicBezTo>
                    <a:pt x="30" y="185"/>
                    <a:pt x="30" y="185"/>
                    <a:pt x="29" y="184"/>
                  </a:cubicBezTo>
                  <a:cubicBezTo>
                    <a:pt x="29" y="184"/>
                    <a:pt x="28" y="184"/>
                    <a:pt x="27" y="184"/>
                  </a:cubicBezTo>
                  <a:cubicBezTo>
                    <a:pt x="26" y="183"/>
                    <a:pt x="26" y="183"/>
                    <a:pt x="26" y="182"/>
                  </a:cubicBezTo>
                  <a:cubicBezTo>
                    <a:pt x="25" y="181"/>
                    <a:pt x="25" y="181"/>
                    <a:pt x="25" y="181"/>
                  </a:cubicBezTo>
                  <a:cubicBezTo>
                    <a:pt x="24" y="181"/>
                    <a:pt x="24" y="181"/>
                    <a:pt x="24" y="181"/>
                  </a:cubicBezTo>
                  <a:cubicBezTo>
                    <a:pt x="23" y="181"/>
                    <a:pt x="23" y="182"/>
                    <a:pt x="24" y="183"/>
                  </a:cubicBezTo>
                  <a:cubicBezTo>
                    <a:pt x="24" y="184"/>
                    <a:pt x="26" y="187"/>
                    <a:pt x="26" y="188"/>
                  </a:cubicBezTo>
                  <a:cubicBezTo>
                    <a:pt x="26" y="188"/>
                    <a:pt x="26" y="188"/>
                    <a:pt x="26" y="188"/>
                  </a:cubicBezTo>
                  <a:cubicBezTo>
                    <a:pt x="27" y="189"/>
                    <a:pt x="29" y="190"/>
                    <a:pt x="30" y="191"/>
                  </a:cubicBezTo>
                  <a:cubicBezTo>
                    <a:pt x="30" y="192"/>
                    <a:pt x="31" y="192"/>
                    <a:pt x="31" y="192"/>
                  </a:cubicBezTo>
                  <a:cubicBezTo>
                    <a:pt x="31" y="191"/>
                    <a:pt x="31" y="191"/>
                    <a:pt x="31" y="190"/>
                  </a:cubicBezTo>
                  <a:cubicBezTo>
                    <a:pt x="31" y="189"/>
                    <a:pt x="31" y="187"/>
                    <a:pt x="31" y="186"/>
                  </a:cubicBezTo>
                  <a:cubicBezTo>
                    <a:pt x="31" y="186"/>
                    <a:pt x="31" y="185"/>
                    <a:pt x="30" y="185"/>
                  </a:cubicBezTo>
                  <a:cubicBezTo>
                    <a:pt x="31" y="185"/>
                    <a:pt x="31" y="185"/>
                    <a:pt x="31" y="185"/>
                  </a:cubicBezTo>
                  <a:cubicBezTo>
                    <a:pt x="32" y="184"/>
                    <a:pt x="33" y="183"/>
                    <a:pt x="33" y="182"/>
                  </a:cubicBezTo>
                  <a:cubicBezTo>
                    <a:pt x="34" y="184"/>
                    <a:pt x="34" y="186"/>
                    <a:pt x="34" y="187"/>
                  </a:cubicBezTo>
                  <a:cubicBezTo>
                    <a:pt x="33" y="189"/>
                    <a:pt x="33" y="190"/>
                    <a:pt x="33" y="191"/>
                  </a:cubicBezTo>
                  <a:cubicBezTo>
                    <a:pt x="33" y="193"/>
                    <a:pt x="34" y="192"/>
                    <a:pt x="35" y="193"/>
                  </a:cubicBezTo>
                  <a:cubicBezTo>
                    <a:pt x="35" y="194"/>
                    <a:pt x="35" y="194"/>
                    <a:pt x="35" y="194"/>
                  </a:cubicBezTo>
                  <a:cubicBezTo>
                    <a:pt x="36" y="195"/>
                    <a:pt x="37" y="197"/>
                    <a:pt x="38" y="198"/>
                  </a:cubicBezTo>
                  <a:cubicBezTo>
                    <a:pt x="38" y="200"/>
                    <a:pt x="39" y="202"/>
                    <a:pt x="40" y="203"/>
                  </a:cubicBezTo>
                  <a:cubicBezTo>
                    <a:pt x="40" y="205"/>
                    <a:pt x="41" y="207"/>
                    <a:pt x="41" y="209"/>
                  </a:cubicBezTo>
                  <a:cubicBezTo>
                    <a:pt x="42" y="210"/>
                    <a:pt x="42" y="210"/>
                    <a:pt x="42" y="210"/>
                  </a:cubicBezTo>
                  <a:cubicBezTo>
                    <a:pt x="42" y="211"/>
                    <a:pt x="42" y="213"/>
                    <a:pt x="43" y="215"/>
                  </a:cubicBezTo>
                  <a:cubicBezTo>
                    <a:pt x="43" y="217"/>
                    <a:pt x="44" y="219"/>
                    <a:pt x="43" y="220"/>
                  </a:cubicBezTo>
                  <a:cubicBezTo>
                    <a:pt x="43" y="221"/>
                    <a:pt x="42" y="222"/>
                    <a:pt x="42" y="223"/>
                  </a:cubicBezTo>
                  <a:cubicBezTo>
                    <a:pt x="41" y="225"/>
                    <a:pt x="41" y="227"/>
                    <a:pt x="41" y="230"/>
                  </a:cubicBezTo>
                  <a:cubicBezTo>
                    <a:pt x="40" y="231"/>
                    <a:pt x="40" y="232"/>
                    <a:pt x="40" y="232"/>
                  </a:cubicBezTo>
                  <a:cubicBezTo>
                    <a:pt x="40" y="235"/>
                    <a:pt x="39" y="238"/>
                    <a:pt x="39" y="241"/>
                  </a:cubicBezTo>
                  <a:cubicBezTo>
                    <a:pt x="38" y="244"/>
                    <a:pt x="38" y="247"/>
                    <a:pt x="37" y="249"/>
                  </a:cubicBezTo>
                  <a:cubicBezTo>
                    <a:pt x="39" y="248"/>
                    <a:pt x="41" y="246"/>
                    <a:pt x="43" y="245"/>
                  </a:cubicBezTo>
                  <a:cubicBezTo>
                    <a:pt x="44" y="244"/>
                    <a:pt x="44" y="244"/>
                    <a:pt x="44" y="244"/>
                  </a:cubicBezTo>
                  <a:cubicBezTo>
                    <a:pt x="44" y="243"/>
                    <a:pt x="44" y="243"/>
                    <a:pt x="44" y="243"/>
                  </a:cubicBezTo>
                  <a:cubicBezTo>
                    <a:pt x="45" y="242"/>
                    <a:pt x="45" y="240"/>
                    <a:pt x="46" y="238"/>
                  </a:cubicBezTo>
                  <a:cubicBezTo>
                    <a:pt x="46" y="239"/>
                    <a:pt x="46" y="241"/>
                    <a:pt x="46" y="242"/>
                  </a:cubicBezTo>
                  <a:cubicBezTo>
                    <a:pt x="46" y="243"/>
                    <a:pt x="46" y="243"/>
                    <a:pt x="45" y="244"/>
                  </a:cubicBezTo>
                  <a:cubicBezTo>
                    <a:pt x="45" y="245"/>
                    <a:pt x="43" y="248"/>
                    <a:pt x="43" y="249"/>
                  </a:cubicBezTo>
                  <a:cubicBezTo>
                    <a:pt x="44" y="249"/>
                    <a:pt x="44" y="250"/>
                    <a:pt x="44" y="250"/>
                  </a:cubicBezTo>
                  <a:cubicBezTo>
                    <a:pt x="44" y="250"/>
                    <a:pt x="44" y="249"/>
                    <a:pt x="45" y="249"/>
                  </a:cubicBezTo>
                  <a:cubicBezTo>
                    <a:pt x="46" y="248"/>
                    <a:pt x="46" y="247"/>
                    <a:pt x="48" y="245"/>
                  </a:cubicBezTo>
                  <a:cubicBezTo>
                    <a:pt x="47" y="246"/>
                    <a:pt x="47" y="247"/>
                    <a:pt x="47" y="248"/>
                  </a:cubicBezTo>
                  <a:cubicBezTo>
                    <a:pt x="46" y="249"/>
                    <a:pt x="46" y="250"/>
                    <a:pt x="46" y="251"/>
                  </a:cubicBezTo>
                  <a:cubicBezTo>
                    <a:pt x="47" y="251"/>
                    <a:pt x="48" y="250"/>
                    <a:pt x="48" y="249"/>
                  </a:cubicBezTo>
                  <a:cubicBezTo>
                    <a:pt x="48" y="248"/>
                    <a:pt x="49" y="248"/>
                    <a:pt x="49" y="248"/>
                  </a:cubicBezTo>
                  <a:cubicBezTo>
                    <a:pt x="49" y="247"/>
                    <a:pt x="49" y="247"/>
                    <a:pt x="49" y="246"/>
                  </a:cubicBezTo>
                  <a:cubicBezTo>
                    <a:pt x="49" y="246"/>
                    <a:pt x="49" y="246"/>
                    <a:pt x="49" y="246"/>
                  </a:cubicBezTo>
                  <a:cubicBezTo>
                    <a:pt x="49" y="246"/>
                    <a:pt x="49" y="246"/>
                    <a:pt x="49" y="246"/>
                  </a:cubicBezTo>
                  <a:cubicBezTo>
                    <a:pt x="50" y="248"/>
                    <a:pt x="50" y="250"/>
                    <a:pt x="51" y="252"/>
                  </a:cubicBezTo>
                  <a:cubicBezTo>
                    <a:pt x="51" y="252"/>
                    <a:pt x="51" y="253"/>
                    <a:pt x="51" y="253"/>
                  </a:cubicBezTo>
                  <a:cubicBezTo>
                    <a:pt x="52" y="252"/>
                    <a:pt x="52" y="252"/>
                    <a:pt x="53" y="250"/>
                  </a:cubicBezTo>
                  <a:cubicBezTo>
                    <a:pt x="53" y="250"/>
                    <a:pt x="53" y="250"/>
                    <a:pt x="53" y="249"/>
                  </a:cubicBezTo>
                  <a:cubicBezTo>
                    <a:pt x="53" y="249"/>
                    <a:pt x="53" y="249"/>
                    <a:pt x="53" y="249"/>
                  </a:cubicBezTo>
                  <a:cubicBezTo>
                    <a:pt x="53" y="248"/>
                    <a:pt x="54" y="246"/>
                    <a:pt x="55" y="246"/>
                  </a:cubicBezTo>
                  <a:cubicBezTo>
                    <a:pt x="55" y="246"/>
                    <a:pt x="55" y="246"/>
                    <a:pt x="55" y="247"/>
                  </a:cubicBezTo>
                  <a:cubicBezTo>
                    <a:pt x="55" y="247"/>
                    <a:pt x="55" y="247"/>
                    <a:pt x="55" y="247"/>
                  </a:cubicBezTo>
                  <a:cubicBezTo>
                    <a:pt x="54" y="249"/>
                    <a:pt x="53" y="253"/>
                    <a:pt x="55" y="253"/>
                  </a:cubicBezTo>
                  <a:cubicBezTo>
                    <a:pt x="55" y="253"/>
                    <a:pt x="55" y="253"/>
                    <a:pt x="55" y="253"/>
                  </a:cubicBezTo>
                  <a:cubicBezTo>
                    <a:pt x="57" y="251"/>
                    <a:pt x="57" y="251"/>
                    <a:pt x="57" y="251"/>
                  </a:cubicBezTo>
                  <a:cubicBezTo>
                    <a:pt x="58" y="250"/>
                    <a:pt x="58" y="248"/>
                    <a:pt x="58" y="246"/>
                  </a:cubicBezTo>
                  <a:cubicBezTo>
                    <a:pt x="59" y="248"/>
                    <a:pt x="58" y="250"/>
                    <a:pt x="58" y="252"/>
                  </a:cubicBezTo>
                  <a:cubicBezTo>
                    <a:pt x="58" y="253"/>
                    <a:pt x="58" y="254"/>
                    <a:pt x="58" y="254"/>
                  </a:cubicBezTo>
                  <a:cubicBezTo>
                    <a:pt x="59" y="254"/>
                    <a:pt x="59" y="254"/>
                    <a:pt x="59" y="254"/>
                  </a:cubicBezTo>
                  <a:cubicBezTo>
                    <a:pt x="62" y="252"/>
                    <a:pt x="63" y="248"/>
                    <a:pt x="65" y="245"/>
                  </a:cubicBezTo>
                  <a:cubicBezTo>
                    <a:pt x="65" y="244"/>
                    <a:pt x="66" y="244"/>
                    <a:pt x="67" y="244"/>
                  </a:cubicBezTo>
                  <a:cubicBezTo>
                    <a:pt x="67" y="244"/>
                    <a:pt x="67" y="244"/>
                    <a:pt x="68" y="244"/>
                  </a:cubicBezTo>
                  <a:cubicBezTo>
                    <a:pt x="68" y="244"/>
                    <a:pt x="69" y="244"/>
                    <a:pt x="69" y="244"/>
                  </a:cubicBezTo>
                  <a:cubicBezTo>
                    <a:pt x="69" y="244"/>
                    <a:pt x="70" y="244"/>
                    <a:pt x="70" y="244"/>
                  </a:cubicBezTo>
                  <a:cubicBezTo>
                    <a:pt x="72" y="243"/>
                    <a:pt x="72" y="242"/>
                    <a:pt x="71" y="241"/>
                  </a:cubicBezTo>
                  <a:cubicBezTo>
                    <a:pt x="72" y="241"/>
                    <a:pt x="77" y="241"/>
                    <a:pt x="77" y="240"/>
                  </a:cubicBezTo>
                  <a:cubicBezTo>
                    <a:pt x="77" y="239"/>
                    <a:pt x="76" y="239"/>
                    <a:pt x="76" y="239"/>
                  </a:cubicBezTo>
                  <a:cubicBezTo>
                    <a:pt x="76" y="239"/>
                    <a:pt x="76" y="238"/>
                    <a:pt x="76" y="238"/>
                  </a:cubicBezTo>
                  <a:cubicBezTo>
                    <a:pt x="77" y="237"/>
                    <a:pt x="77" y="237"/>
                    <a:pt x="77" y="237"/>
                  </a:cubicBezTo>
                  <a:cubicBezTo>
                    <a:pt x="77" y="238"/>
                    <a:pt x="78" y="238"/>
                    <a:pt x="79" y="238"/>
                  </a:cubicBezTo>
                  <a:cubicBezTo>
                    <a:pt x="79" y="238"/>
                    <a:pt x="79" y="238"/>
                    <a:pt x="79" y="238"/>
                  </a:cubicBezTo>
                  <a:cubicBezTo>
                    <a:pt x="80" y="238"/>
                    <a:pt x="80" y="238"/>
                    <a:pt x="81" y="238"/>
                  </a:cubicBezTo>
                  <a:cubicBezTo>
                    <a:pt x="83" y="237"/>
                    <a:pt x="84" y="236"/>
                    <a:pt x="85" y="234"/>
                  </a:cubicBezTo>
                  <a:cubicBezTo>
                    <a:pt x="86" y="233"/>
                    <a:pt x="86" y="233"/>
                    <a:pt x="86" y="231"/>
                  </a:cubicBezTo>
                  <a:cubicBezTo>
                    <a:pt x="86" y="231"/>
                    <a:pt x="86" y="231"/>
                    <a:pt x="86" y="231"/>
                  </a:cubicBezTo>
                  <a:cubicBezTo>
                    <a:pt x="87" y="228"/>
                    <a:pt x="88" y="225"/>
                    <a:pt x="88" y="222"/>
                  </a:cubicBezTo>
                  <a:cubicBezTo>
                    <a:pt x="88" y="221"/>
                    <a:pt x="88" y="221"/>
                    <a:pt x="87" y="220"/>
                  </a:cubicBezTo>
                  <a:cubicBezTo>
                    <a:pt x="88" y="220"/>
                    <a:pt x="88" y="221"/>
                    <a:pt x="89" y="221"/>
                  </a:cubicBezTo>
                  <a:cubicBezTo>
                    <a:pt x="90" y="223"/>
                    <a:pt x="91" y="224"/>
                    <a:pt x="92" y="225"/>
                  </a:cubicBezTo>
                  <a:cubicBezTo>
                    <a:pt x="93" y="226"/>
                    <a:pt x="93" y="228"/>
                    <a:pt x="94" y="229"/>
                  </a:cubicBezTo>
                  <a:cubicBezTo>
                    <a:pt x="94" y="231"/>
                    <a:pt x="94" y="231"/>
                    <a:pt x="94" y="231"/>
                  </a:cubicBezTo>
                  <a:cubicBezTo>
                    <a:pt x="94" y="232"/>
                    <a:pt x="95" y="234"/>
                    <a:pt x="96" y="236"/>
                  </a:cubicBezTo>
                  <a:cubicBezTo>
                    <a:pt x="96" y="237"/>
                    <a:pt x="96" y="238"/>
                    <a:pt x="97" y="239"/>
                  </a:cubicBezTo>
                  <a:cubicBezTo>
                    <a:pt x="98" y="238"/>
                    <a:pt x="100" y="237"/>
                    <a:pt x="102" y="237"/>
                  </a:cubicBezTo>
                  <a:cubicBezTo>
                    <a:pt x="102" y="237"/>
                    <a:pt x="103" y="237"/>
                    <a:pt x="103" y="237"/>
                  </a:cubicBezTo>
                  <a:cubicBezTo>
                    <a:pt x="103" y="237"/>
                    <a:pt x="104" y="237"/>
                    <a:pt x="104" y="237"/>
                  </a:cubicBezTo>
                  <a:cubicBezTo>
                    <a:pt x="101" y="238"/>
                    <a:pt x="101" y="243"/>
                    <a:pt x="101" y="245"/>
                  </a:cubicBezTo>
                  <a:cubicBezTo>
                    <a:pt x="101" y="246"/>
                    <a:pt x="101" y="246"/>
                    <a:pt x="101" y="246"/>
                  </a:cubicBezTo>
                  <a:cubicBezTo>
                    <a:pt x="101" y="248"/>
                    <a:pt x="102" y="250"/>
                    <a:pt x="103" y="251"/>
                  </a:cubicBezTo>
                  <a:cubicBezTo>
                    <a:pt x="103" y="252"/>
                    <a:pt x="103" y="253"/>
                    <a:pt x="104" y="254"/>
                  </a:cubicBezTo>
                  <a:cubicBezTo>
                    <a:pt x="104" y="255"/>
                    <a:pt x="104" y="255"/>
                    <a:pt x="104" y="256"/>
                  </a:cubicBezTo>
                  <a:cubicBezTo>
                    <a:pt x="104" y="256"/>
                    <a:pt x="104" y="257"/>
                    <a:pt x="104" y="257"/>
                  </a:cubicBezTo>
                  <a:cubicBezTo>
                    <a:pt x="104" y="260"/>
                    <a:pt x="104" y="262"/>
                    <a:pt x="104" y="264"/>
                  </a:cubicBezTo>
                  <a:cubicBezTo>
                    <a:pt x="105" y="266"/>
                    <a:pt x="105" y="267"/>
                    <a:pt x="105" y="269"/>
                  </a:cubicBezTo>
                  <a:cubicBezTo>
                    <a:pt x="105" y="270"/>
                    <a:pt x="105" y="270"/>
                    <a:pt x="105" y="271"/>
                  </a:cubicBezTo>
                  <a:cubicBezTo>
                    <a:pt x="106" y="272"/>
                    <a:pt x="108" y="273"/>
                    <a:pt x="109" y="275"/>
                  </a:cubicBezTo>
                  <a:cubicBezTo>
                    <a:pt x="109" y="275"/>
                    <a:pt x="109" y="275"/>
                    <a:pt x="109" y="275"/>
                  </a:cubicBezTo>
                  <a:cubicBezTo>
                    <a:pt x="109" y="275"/>
                    <a:pt x="109" y="275"/>
                    <a:pt x="109" y="275"/>
                  </a:cubicBezTo>
                  <a:cubicBezTo>
                    <a:pt x="109" y="275"/>
                    <a:pt x="109" y="275"/>
                    <a:pt x="109" y="275"/>
                  </a:cubicBezTo>
                  <a:cubicBezTo>
                    <a:pt x="109" y="275"/>
                    <a:pt x="109" y="275"/>
                    <a:pt x="109" y="275"/>
                  </a:cubicBezTo>
                  <a:cubicBezTo>
                    <a:pt x="109" y="277"/>
                    <a:pt x="109" y="279"/>
                    <a:pt x="109" y="282"/>
                  </a:cubicBezTo>
                  <a:cubicBezTo>
                    <a:pt x="109" y="284"/>
                    <a:pt x="110" y="286"/>
                    <a:pt x="110" y="288"/>
                  </a:cubicBezTo>
                  <a:cubicBezTo>
                    <a:pt x="110" y="290"/>
                    <a:pt x="111" y="292"/>
                    <a:pt x="111" y="294"/>
                  </a:cubicBezTo>
                  <a:cubicBezTo>
                    <a:pt x="111" y="295"/>
                    <a:pt x="111" y="296"/>
                    <a:pt x="112" y="296"/>
                  </a:cubicBezTo>
                  <a:cubicBezTo>
                    <a:pt x="112" y="296"/>
                    <a:pt x="112" y="296"/>
                    <a:pt x="112" y="296"/>
                  </a:cubicBezTo>
                  <a:cubicBezTo>
                    <a:pt x="112" y="295"/>
                    <a:pt x="112" y="294"/>
                    <a:pt x="112" y="293"/>
                  </a:cubicBezTo>
                  <a:cubicBezTo>
                    <a:pt x="112" y="293"/>
                    <a:pt x="112" y="293"/>
                    <a:pt x="112" y="293"/>
                  </a:cubicBezTo>
                  <a:cubicBezTo>
                    <a:pt x="113" y="291"/>
                    <a:pt x="112" y="289"/>
                    <a:pt x="112" y="287"/>
                  </a:cubicBezTo>
                  <a:cubicBezTo>
                    <a:pt x="113" y="287"/>
                    <a:pt x="114" y="289"/>
                    <a:pt x="115" y="291"/>
                  </a:cubicBezTo>
                  <a:cubicBezTo>
                    <a:pt x="116" y="293"/>
                    <a:pt x="116" y="295"/>
                    <a:pt x="117" y="296"/>
                  </a:cubicBezTo>
                  <a:cubicBezTo>
                    <a:pt x="117" y="298"/>
                    <a:pt x="118" y="299"/>
                    <a:pt x="118" y="300"/>
                  </a:cubicBezTo>
                  <a:cubicBezTo>
                    <a:pt x="118" y="301"/>
                    <a:pt x="118" y="301"/>
                    <a:pt x="119" y="302"/>
                  </a:cubicBezTo>
                  <a:cubicBezTo>
                    <a:pt x="119" y="304"/>
                    <a:pt x="120" y="305"/>
                    <a:pt x="121" y="307"/>
                  </a:cubicBezTo>
                  <a:cubicBezTo>
                    <a:pt x="121" y="309"/>
                    <a:pt x="122" y="311"/>
                    <a:pt x="122" y="312"/>
                  </a:cubicBezTo>
                  <a:cubicBezTo>
                    <a:pt x="122" y="313"/>
                    <a:pt x="122" y="313"/>
                    <a:pt x="122" y="313"/>
                  </a:cubicBezTo>
                  <a:cubicBezTo>
                    <a:pt x="121" y="315"/>
                    <a:pt x="120" y="317"/>
                    <a:pt x="120" y="319"/>
                  </a:cubicBezTo>
                  <a:cubicBezTo>
                    <a:pt x="120" y="320"/>
                    <a:pt x="120" y="321"/>
                    <a:pt x="119" y="321"/>
                  </a:cubicBezTo>
                  <a:cubicBezTo>
                    <a:pt x="120" y="321"/>
                    <a:pt x="121" y="321"/>
                    <a:pt x="121" y="321"/>
                  </a:cubicBezTo>
                  <a:cubicBezTo>
                    <a:pt x="122" y="322"/>
                    <a:pt x="122" y="322"/>
                    <a:pt x="122" y="322"/>
                  </a:cubicBezTo>
                  <a:cubicBezTo>
                    <a:pt x="122" y="322"/>
                    <a:pt x="121" y="325"/>
                    <a:pt x="121" y="325"/>
                  </a:cubicBezTo>
                  <a:cubicBezTo>
                    <a:pt x="121" y="326"/>
                    <a:pt x="121" y="327"/>
                    <a:pt x="121" y="327"/>
                  </a:cubicBezTo>
                  <a:cubicBezTo>
                    <a:pt x="120" y="326"/>
                    <a:pt x="119" y="325"/>
                    <a:pt x="118" y="325"/>
                  </a:cubicBezTo>
                  <a:cubicBezTo>
                    <a:pt x="118" y="325"/>
                    <a:pt x="118" y="325"/>
                    <a:pt x="118" y="325"/>
                  </a:cubicBezTo>
                  <a:cubicBezTo>
                    <a:pt x="117" y="325"/>
                    <a:pt x="117" y="325"/>
                    <a:pt x="117" y="325"/>
                  </a:cubicBezTo>
                  <a:cubicBezTo>
                    <a:pt x="117" y="326"/>
                    <a:pt x="117" y="326"/>
                    <a:pt x="117" y="326"/>
                  </a:cubicBezTo>
                  <a:cubicBezTo>
                    <a:pt x="117" y="328"/>
                    <a:pt x="118" y="328"/>
                    <a:pt x="118" y="328"/>
                  </a:cubicBezTo>
                  <a:cubicBezTo>
                    <a:pt x="119" y="328"/>
                    <a:pt x="120" y="327"/>
                    <a:pt x="121" y="327"/>
                  </a:cubicBezTo>
                  <a:cubicBezTo>
                    <a:pt x="121" y="328"/>
                    <a:pt x="121" y="328"/>
                    <a:pt x="121" y="328"/>
                  </a:cubicBezTo>
                  <a:cubicBezTo>
                    <a:pt x="120" y="328"/>
                    <a:pt x="120" y="328"/>
                    <a:pt x="120" y="328"/>
                  </a:cubicBezTo>
                  <a:cubicBezTo>
                    <a:pt x="120" y="328"/>
                    <a:pt x="120" y="329"/>
                    <a:pt x="120" y="330"/>
                  </a:cubicBezTo>
                  <a:cubicBezTo>
                    <a:pt x="120" y="331"/>
                    <a:pt x="120" y="331"/>
                    <a:pt x="120" y="331"/>
                  </a:cubicBezTo>
                  <a:cubicBezTo>
                    <a:pt x="121" y="332"/>
                    <a:pt x="121" y="332"/>
                    <a:pt x="122" y="332"/>
                  </a:cubicBezTo>
                  <a:cubicBezTo>
                    <a:pt x="123" y="332"/>
                    <a:pt x="123" y="331"/>
                    <a:pt x="124" y="329"/>
                  </a:cubicBezTo>
                  <a:cubicBezTo>
                    <a:pt x="126" y="332"/>
                    <a:pt x="124" y="331"/>
                    <a:pt x="124" y="332"/>
                  </a:cubicBezTo>
                  <a:cubicBezTo>
                    <a:pt x="123" y="333"/>
                    <a:pt x="123" y="333"/>
                    <a:pt x="123" y="335"/>
                  </a:cubicBezTo>
                  <a:cubicBezTo>
                    <a:pt x="123" y="335"/>
                    <a:pt x="123" y="335"/>
                    <a:pt x="123" y="335"/>
                  </a:cubicBezTo>
                  <a:cubicBezTo>
                    <a:pt x="123" y="337"/>
                    <a:pt x="123" y="340"/>
                    <a:pt x="123" y="342"/>
                  </a:cubicBezTo>
                  <a:cubicBezTo>
                    <a:pt x="123" y="343"/>
                    <a:pt x="123" y="344"/>
                    <a:pt x="122" y="345"/>
                  </a:cubicBezTo>
                  <a:cubicBezTo>
                    <a:pt x="122" y="347"/>
                    <a:pt x="120" y="349"/>
                    <a:pt x="118" y="350"/>
                  </a:cubicBezTo>
                  <a:cubicBezTo>
                    <a:pt x="117" y="351"/>
                    <a:pt x="118" y="353"/>
                    <a:pt x="118" y="354"/>
                  </a:cubicBezTo>
                  <a:cubicBezTo>
                    <a:pt x="118" y="356"/>
                    <a:pt x="119" y="357"/>
                    <a:pt x="119" y="357"/>
                  </a:cubicBezTo>
                  <a:cubicBezTo>
                    <a:pt x="119" y="359"/>
                    <a:pt x="119" y="360"/>
                    <a:pt x="118" y="361"/>
                  </a:cubicBezTo>
                  <a:cubicBezTo>
                    <a:pt x="119" y="361"/>
                    <a:pt x="119" y="361"/>
                    <a:pt x="119" y="361"/>
                  </a:cubicBezTo>
                  <a:cubicBezTo>
                    <a:pt x="122" y="353"/>
                    <a:pt x="122" y="353"/>
                    <a:pt x="122" y="353"/>
                  </a:cubicBezTo>
                  <a:cubicBezTo>
                    <a:pt x="123" y="350"/>
                    <a:pt x="125" y="347"/>
                    <a:pt x="127" y="345"/>
                  </a:cubicBezTo>
                  <a:cubicBezTo>
                    <a:pt x="128" y="344"/>
                    <a:pt x="130" y="342"/>
                    <a:pt x="131" y="340"/>
                  </a:cubicBezTo>
                  <a:cubicBezTo>
                    <a:pt x="132" y="338"/>
                    <a:pt x="134" y="336"/>
                    <a:pt x="135" y="334"/>
                  </a:cubicBezTo>
                  <a:cubicBezTo>
                    <a:pt x="136" y="332"/>
                    <a:pt x="137" y="331"/>
                    <a:pt x="137" y="330"/>
                  </a:cubicBezTo>
                  <a:cubicBezTo>
                    <a:pt x="137" y="329"/>
                    <a:pt x="137" y="327"/>
                    <a:pt x="137" y="326"/>
                  </a:cubicBezTo>
                  <a:cubicBezTo>
                    <a:pt x="137" y="326"/>
                    <a:pt x="137" y="326"/>
                    <a:pt x="137" y="326"/>
                  </a:cubicBezTo>
                  <a:cubicBezTo>
                    <a:pt x="136" y="326"/>
                    <a:pt x="136" y="326"/>
                    <a:pt x="136" y="326"/>
                  </a:cubicBezTo>
                  <a:cubicBezTo>
                    <a:pt x="135" y="324"/>
                    <a:pt x="135" y="324"/>
                    <a:pt x="135" y="324"/>
                  </a:cubicBezTo>
                  <a:cubicBezTo>
                    <a:pt x="135" y="322"/>
                    <a:pt x="134" y="320"/>
                    <a:pt x="134" y="319"/>
                  </a:cubicBezTo>
                  <a:cubicBezTo>
                    <a:pt x="134" y="318"/>
                    <a:pt x="134" y="318"/>
                    <a:pt x="134" y="318"/>
                  </a:cubicBezTo>
                  <a:cubicBezTo>
                    <a:pt x="134" y="317"/>
                    <a:pt x="134" y="317"/>
                    <a:pt x="134" y="317"/>
                  </a:cubicBezTo>
                  <a:cubicBezTo>
                    <a:pt x="134" y="315"/>
                    <a:pt x="133" y="313"/>
                    <a:pt x="131" y="312"/>
                  </a:cubicBezTo>
                  <a:cubicBezTo>
                    <a:pt x="131" y="311"/>
                    <a:pt x="130" y="311"/>
                    <a:pt x="130" y="310"/>
                  </a:cubicBezTo>
                  <a:cubicBezTo>
                    <a:pt x="130" y="309"/>
                    <a:pt x="130" y="309"/>
                    <a:pt x="130" y="309"/>
                  </a:cubicBezTo>
                  <a:cubicBezTo>
                    <a:pt x="129" y="308"/>
                    <a:pt x="128" y="307"/>
                    <a:pt x="128" y="305"/>
                  </a:cubicBezTo>
                  <a:cubicBezTo>
                    <a:pt x="128" y="304"/>
                    <a:pt x="129" y="303"/>
                    <a:pt x="129" y="302"/>
                  </a:cubicBezTo>
                  <a:cubicBezTo>
                    <a:pt x="129" y="302"/>
                    <a:pt x="129" y="302"/>
                    <a:pt x="129" y="302"/>
                  </a:cubicBezTo>
                  <a:cubicBezTo>
                    <a:pt x="129" y="302"/>
                    <a:pt x="129" y="301"/>
                    <a:pt x="129" y="301"/>
                  </a:cubicBezTo>
                  <a:cubicBezTo>
                    <a:pt x="129" y="300"/>
                    <a:pt x="129" y="300"/>
                    <a:pt x="129" y="300"/>
                  </a:cubicBezTo>
                  <a:cubicBezTo>
                    <a:pt x="129" y="299"/>
                    <a:pt x="129" y="299"/>
                    <a:pt x="129" y="298"/>
                  </a:cubicBezTo>
                  <a:cubicBezTo>
                    <a:pt x="129" y="296"/>
                    <a:pt x="129" y="294"/>
                    <a:pt x="129" y="294"/>
                  </a:cubicBezTo>
                  <a:cubicBezTo>
                    <a:pt x="129" y="293"/>
                    <a:pt x="129" y="293"/>
                    <a:pt x="129" y="293"/>
                  </a:cubicBezTo>
                  <a:cubicBezTo>
                    <a:pt x="129" y="293"/>
                    <a:pt x="128" y="293"/>
                    <a:pt x="128" y="292"/>
                  </a:cubicBezTo>
                  <a:cubicBezTo>
                    <a:pt x="128" y="292"/>
                    <a:pt x="127" y="291"/>
                    <a:pt x="127" y="291"/>
                  </a:cubicBezTo>
                  <a:cubicBezTo>
                    <a:pt x="127" y="291"/>
                    <a:pt x="127" y="291"/>
                    <a:pt x="127" y="291"/>
                  </a:cubicBezTo>
                  <a:cubicBezTo>
                    <a:pt x="126" y="290"/>
                    <a:pt x="126" y="290"/>
                    <a:pt x="126" y="290"/>
                  </a:cubicBezTo>
                  <a:cubicBezTo>
                    <a:pt x="123" y="287"/>
                    <a:pt x="123" y="287"/>
                    <a:pt x="123" y="287"/>
                  </a:cubicBezTo>
                  <a:cubicBezTo>
                    <a:pt x="123" y="286"/>
                    <a:pt x="122" y="286"/>
                    <a:pt x="122" y="285"/>
                  </a:cubicBezTo>
                  <a:cubicBezTo>
                    <a:pt x="121" y="284"/>
                    <a:pt x="121" y="284"/>
                    <a:pt x="121" y="284"/>
                  </a:cubicBezTo>
                  <a:cubicBezTo>
                    <a:pt x="118" y="280"/>
                    <a:pt x="115" y="277"/>
                    <a:pt x="112" y="272"/>
                  </a:cubicBezTo>
                  <a:cubicBezTo>
                    <a:pt x="111" y="270"/>
                    <a:pt x="111" y="268"/>
                    <a:pt x="110" y="266"/>
                  </a:cubicBezTo>
                  <a:cubicBezTo>
                    <a:pt x="111" y="261"/>
                    <a:pt x="113" y="261"/>
                    <a:pt x="115" y="260"/>
                  </a:cubicBezTo>
                  <a:cubicBezTo>
                    <a:pt x="116" y="260"/>
                    <a:pt x="116" y="260"/>
                    <a:pt x="116" y="260"/>
                  </a:cubicBezTo>
                  <a:cubicBezTo>
                    <a:pt x="116" y="260"/>
                    <a:pt x="117" y="260"/>
                    <a:pt x="117" y="260"/>
                  </a:cubicBezTo>
                  <a:cubicBezTo>
                    <a:pt x="118" y="259"/>
                    <a:pt x="118" y="259"/>
                    <a:pt x="118" y="259"/>
                  </a:cubicBezTo>
                  <a:cubicBezTo>
                    <a:pt x="118" y="259"/>
                    <a:pt x="118" y="259"/>
                    <a:pt x="118" y="259"/>
                  </a:cubicBezTo>
                  <a:cubicBezTo>
                    <a:pt x="118" y="258"/>
                    <a:pt x="118" y="257"/>
                    <a:pt x="118" y="256"/>
                  </a:cubicBezTo>
                  <a:cubicBezTo>
                    <a:pt x="118" y="253"/>
                    <a:pt x="118" y="253"/>
                    <a:pt x="118" y="253"/>
                  </a:cubicBezTo>
                  <a:cubicBezTo>
                    <a:pt x="118" y="252"/>
                    <a:pt x="117" y="250"/>
                    <a:pt x="117" y="248"/>
                  </a:cubicBezTo>
                  <a:cubicBezTo>
                    <a:pt x="118" y="246"/>
                    <a:pt x="119" y="245"/>
                    <a:pt x="121" y="244"/>
                  </a:cubicBezTo>
                  <a:cubicBezTo>
                    <a:pt x="120" y="244"/>
                    <a:pt x="120" y="244"/>
                    <a:pt x="120" y="244"/>
                  </a:cubicBezTo>
                  <a:cubicBezTo>
                    <a:pt x="120" y="243"/>
                    <a:pt x="119" y="241"/>
                    <a:pt x="119" y="240"/>
                  </a:cubicBezTo>
                  <a:cubicBezTo>
                    <a:pt x="119" y="240"/>
                    <a:pt x="119" y="239"/>
                    <a:pt x="119" y="238"/>
                  </a:cubicBezTo>
                  <a:cubicBezTo>
                    <a:pt x="118" y="237"/>
                    <a:pt x="118" y="236"/>
                    <a:pt x="118" y="235"/>
                  </a:cubicBezTo>
                  <a:cubicBezTo>
                    <a:pt x="118" y="234"/>
                    <a:pt x="117" y="233"/>
                    <a:pt x="117" y="232"/>
                  </a:cubicBezTo>
                  <a:cubicBezTo>
                    <a:pt x="117" y="232"/>
                    <a:pt x="117" y="232"/>
                    <a:pt x="117" y="232"/>
                  </a:cubicBezTo>
                  <a:cubicBezTo>
                    <a:pt x="116" y="231"/>
                    <a:pt x="116" y="231"/>
                    <a:pt x="116" y="231"/>
                  </a:cubicBezTo>
                  <a:cubicBezTo>
                    <a:pt x="116" y="230"/>
                    <a:pt x="116" y="230"/>
                    <a:pt x="116" y="230"/>
                  </a:cubicBezTo>
                  <a:cubicBezTo>
                    <a:pt x="116" y="230"/>
                    <a:pt x="116" y="230"/>
                    <a:pt x="116" y="230"/>
                  </a:cubicBezTo>
                  <a:cubicBezTo>
                    <a:pt x="115" y="230"/>
                    <a:pt x="115" y="230"/>
                    <a:pt x="115" y="230"/>
                  </a:cubicBezTo>
                  <a:cubicBezTo>
                    <a:pt x="114" y="229"/>
                    <a:pt x="113" y="229"/>
                    <a:pt x="112" y="228"/>
                  </a:cubicBezTo>
                  <a:cubicBezTo>
                    <a:pt x="112" y="227"/>
                    <a:pt x="112" y="227"/>
                    <a:pt x="112" y="227"/>
                  </a:cubicBezTo>
                  <a:cubicBezTo>
                    <a:pt x="110" y="225"/>
                    <a:pt x="109" y="224"/>
                    <a:pt x="108" y="222"/>
                  </a:cubicBezTo>
                  <a:cubicBezTo>
                    <a:pt x="106" y="219"/>
                    <a:pt x="104" y="217"/>
                    <a:pt x="101" y="214"/>
                  </a:cubicBezTo>
                  <a:cubicBezTo>
                    <a:pt x="100" y="213"/>
                    <a:pt x="101" y="211"/>
                    <a:pt x="101" y="210"/>
                  </a:cubicBezTo>
                  <a:cubicBezTo>
                    <a:pt x="102" y="209"/>
                    <a:pt x="102" y="209"/>
                    <a:pt x="102" y="209"/>
                  </a:cubicBezTo>
                  <a:cubicBezTo>
                    <a:pt x="101" y="209"/>
                    <a:pt x="101" y="209"/>
                    <a:pt x="101" y="209"/>
                  </a:cubicBezTo>
                  <a:cubicBezTo>
                    <a:pt x="101" y="208"/>
                    <a:pt x="101" y="208"/>
                    <a:pt x="101" y="208"/>
                  </a:cubicBezTo>
                  <a:cubicBezTo>
                    <a:pt x="100" y="207"/>
                    <a:pt x="100" y="206"/>
                    <a:pt x="100" y="206"/>
                  </a:cubicBezTo>
                  <a:cubicBezTo>
                    <a:pt x="100" y="206"/>
                    <a:pt x="100" y="206"/>
                    <a:pt x="100" y="206"/>
                  </a:cubicBezTo>
                  <a:cubicBezTo>
                    <a:pt x="99" y="206"/>
                    <a:pt x="99" y="206"/>
                    <a:pt x="99" y="206"/>
                  </a:cubicBezTo>
                  <a:cubicBezTo>
                    <a:pt x="97" y="204"/>
                    <a:pt x="96" y="202"/>
                    <a:pt x="95" y="200"/>
                  </a:cubicBezTo>
                  <a:cubicBezTo>
                    <a:pt x="93" y="196"/>
                    <a:pt x="93" y="196"/>
                    <a:pt x="93" y="196"/>
                  </a:cubicBezTo>
                  <a:cubicBezTo>
                    <a:pt x="97" y="196"/>
                    <a:pt x="97" y="196"/>
                    <a:pt x="97" y="196"/>
                  </a:cubicBezTo>
                  <a:cubicBezTo>
                    <a:pt x="97" y="196"/>
                    <a:pt x="98" y="196"/>
                    <a:pt x="99" y="196"/>
                  </a:cubicBezTo>
                  <a:cubicBezTo>
                    <a:pt x="99" y="196"/>
                    <a:pt x="100" y="196"/>
                    <a:pt x="101" y="196"/>
                  </a:cubicBezTo>
                  <a:cubicBezTo>
                    <a:pt x="101" y="196"/>
                    <a:pt x="102" y="196"/>
                    <a:pt x="102" y="196"/>
                  </a:cubicBezTo>
                  <a:cubicBezTo>
                    <a:pt x="102" y="196"/>
                    <a:pt x="102" y="196"/>
                    <a:pt x="102" y="196"/>
                  </a:cubicBezTo>
                  <a:cubicBezTo>
                    <a:pt x="102" y="195"/>
                    <a:pt x="102" y="195"/>
                    <a:pt x="102" y="195"/>
                  </a:cubicBezTo>
                  <a:cubicBezTo>
                    <a:pt x="102" y="194"/>
                    <a:pt x="102" y="194"/>
                    <a:pt x="102" y="194"/>
                  </a:cubicBezTo>
                  <a:cubicBezTo>
                    <a:pt x="102" y="193"/>
                    <a:pt x="102" y="192"/>
                    <a:pt x="102" y="191"/>
                  </a:cubicBezTo>
                  <a:cubicBezTo>
                    <a:pt x="102" y="190"/>
                    <a:pt x="102" y="190"/>
                    <a:pt x="102" y="189"/>
                  </a:cubicBezTo>
                  <a:cubicBezTo>
                    <a:pt x="103" y="187"/>
                    <a:pt x="103" y="185"/>
                    <a:pt x="104" y="183"/>
                  </a:cubicBezTo>
                  <a:cubicBezTo>
                    <a:pt x="104" y="178"/>
                    <a:pt x="104" y="177"/>
                    <a:pt x="107" y="173"/>
                  </a:cubicBezTo>
                  <a:cubicBezTo>
                    <a:pt x="107" y="173"/>
                    <a:pt x="108" y="172"/>
                    <a:pt x="108" y="172"/>
                  </a:cubicBezTo>
                  <a:cubicBezTo>
                    <a:pt x="109" y="172"/>
                    <a:pt x="110" y="171"/>
                    <a:pt x="110" y="171"/>
                  </a:cubicBezTo>
                  <a:cubicBezTo>
                    <a:pt x="111" y="171"/>
                    <a:pt x="112" y="172"/>
                    <a:pt x="112" y="172"/>
                  </a:cubicBezTo>
                  <a:cubicBezTo>
                    <a:pt x="113" y="172"/>
                    <a:pt x="113" y="172"/>
                    <a:pt x="113" y="172"/>
                  </a:cubicBezTo>
                  <a:cubicBezTo>
                    <a:pt x="115" y="173"/>
                    <a:pt x="116" y="173"/>
                    <a:pt x="117" y="173"/>
                  </a:cubicBezTo>
                  <a:cubicBezTo>
                    <a:pt x="117" y="173"/>
                    <a:pt x="118" y="173"/>
                    <a:pt x="118" y="173"/>
                  </a:cubicBezTo>
                  <a:cubicBezTo>
                    <a:pt x="118" y="173"/>
                    <a:pt x="118" y="173"/>
                    <a:pt x="118" y="173"/>
                  </a:cubicBezTo>
                  <a:cubicBezTo>
                    <a:pt x="119" y="173"/>
                    <a:pt x="119" y="173"/>
                    <a:pt x="120" y="173"/>
                  </a:cubicBezTo>
                  <a:cubicBezTo>
                    <a:pt x="119" y="168"/>
                    <a:pt x="119" y="168"/>
                    <a:pt x="119" y="168"/>
                  </a:cubicBezTo>
                  <a:cubicBezTo>
                    <a:pt x="121" y="173"/>
                    <a:pt x="121" y="173"/>
                    <a:pt x="121" y="173"/>
                  </a:cubicBezTo>
                  <a:cubicBezTo>
                    <a:pt x="121" y="173"/>
                    <a:pt x="121" y="173"/>
                    <a:pt x="121" y="173"/>
                  </a:cubicBezTo>
                  <a:cubicBezTo>
                    <a:pt x="122" y="173"/>
                    <a:pt x="122" y="173"/>
                    <a:pt x="123" y="173"/>
                  </a:cubicBezTo>
                  <a:cubicBezTo>
                    <a:pt x="124" y="172"/>
                    <a:pt x="124" y="172"/>
                    <a:pt x="124" y="172"/>
                  </a:cubicBezTo>
                  <a:cubicBezTo>
                    <a:pt x="125" y="172"/>
                    <a:pt x="125" y="172"/>
                    <a:pt x="126" y="172"/>
                  </a:cubicBezTo>
                  <a:cubicBezTo>
                    <a:pt x="126" y="172"/>
                    <a:pt x="126" y="172"/>
                    <a:pt x="126" y="172"/>
                  </a:cubicBezTo>
                  <a:cubicBezTo>
                    <a:pt x="126" y="171"/>
                    <a:pt x="126" y="171"/>
                    <a:pt x="126" y="171"/>
                  </a:cubicBezTo>
                  <a:cubicBezTo>
                    <a:pt x="127" y="171"/>
                    <a:pt x="127" y="171"/>
                    <a:pt x="127" y="171"/>
                  </a:cubicBezTo>
                  <a:cubicBezTo>
                    <a:pt x="126" y="171"/>
                    <a:pt x="126" y="171"/>
                    <a:pt x="126" y="171"/>
                  </a:cubicBezTo>
                  <a:cubicBezTo>
                    <a:pt x="127" y="171"/>
                    <a:pt x="127" y="170"/>
                    <a:pt x="127" y="169"/>
                  </a:cubicBezTo>
                  <a:cubicBezTo>
                    <a:pt x="128" y="168"/>
                    <a:pt x="128" y="168"/>
                    <a:pt x="128" y="167"/>
                  </a:cubicBezTo>
                  <a:cubicBezTo>
                    <a:pt x="129" y="165"/>
                    <a:pt x="131" y="165"/>
                    <a:pt x="133" y="164"/>
                  </a:cubicBezTo>
                  <a:cubicBezTo>
                    <a:pt x="133" y="164"/>
                    <a:pt x="134" y="164"/>
                    <a:pt x="135" y="164"/>
                  </a:cubicBezTo>
                  <a:cubicBezTo>
                    <a:pt x="134" y="164"/>
                    <a:pt x="134" y="163"/>
                    <a:pt x="134" y="162"/>
                  </a:cubicBezTo>
                  <a:cubicBezTo>
                    <a:pt x="134" y="157"/>
                    <a:pt x="134" y="157"/>
                    <a:pt x="134" y="157"/>
                  </a:cubicBezTo>
                  <a:cubicBezTo>
                    <a:pt x="138" y="160"/>
                    <a:pt x="138" y="160"/>
                    <a:pt x="138" y="160"/>
                  </a:cubicBezTo>
                  <a:cubicBezTo>
                    <a:pt x="138" y="160"/>
                    <a:pt x="138" y="160"/>
                    <a:pt x="139" y="160"/>
                  </a:cubicBezTo>
                  <a:cubicBezTo>
                    <a:pt x="139" y="160"/>
                    <a:pt x="139" y="160"/>
                    <a:pt x="139" y="160"/>
                  </a:cubicBezTo>
                  <a:cubicBezTo>
                    <a:pt x="140" y="161"/>
                    <a:pt x="140" y="161"/>
                    <a:pt x="140" y="161"/>
                  </a:cubicBezTo>
                  <a:cubicBezTo>
                    <a:pt x="141" y="160"/>
                    <a:pt x="141" y="160"/>
                    <a:pt x="141" y="160"/>
                  </a:cubicBezTo>
                  <a:cubicBezTo>
                    <a:pt x="141" y="160"/>
                    <a:pt x="141" y="160"/>
                    <a:pt x="141" y="160"/>
                  </a:cubicBezTo>
                  <a:cubicBezTo>
                    <a:pt x="142" y="160"/>
                    <a:pt x="143" y="160"/>
                    <a:pt x="144" y="159"/>
                  </a:cubicBezTo>
                  <a:cubicBezTo>
                    <a:pt x="144" y="159"/>
                    <a:pt x="145" y="159"/>
                    <a:pt x="145" y="159"/>
                  </a:cubicBezTo>
                  <a:cubicBezTo>
                    <a:pt x="141" y="147"/>
                    <a:pt x="141" y="147"/>
                    <a:pt x="141" y="147"/>
                  </a:cubicBezTo>
                  <a:cubicBezTo>
                    <a:pt x="148" y="158"/>
                    <a:pt x="148" y="158"/>
                    <a:pt x="148" y="158"/>
                  </a:cubicBezTo>
                  <a:cubicBezTo>
                    <a:pt x="149" y="155"/>
                    <a:pt x="150" y="154"/>
                    <a:pt x="151" y="152"/>
                  </a:cubicBezTo>
                  <a:cubicBezTo>
                    <a:pt x="152" y="152"/>
                    <a:pt x="152" y="152"/>
                    <a:pt x="152" y="152"/>
                  </a:cubicBezTo>
                  <a:cubicBezTo>
                    <a:pt x="153" y="151"/>
                    <a:pt x="154" y="151"/>
                    <a:pt x="155" y="151"/>
                  </a:cubicBezTo>
                  <a:cubicBezTo>
                    <a:pt x="155" y="150"/>
                    <a:pt x="155" y="149"/>
                    <a:pt x="156" y="148"/>
                  </a:cubicBezTo>
                  <a:cubicBezTo>
                    <a:pt x="156" y="148"/>
                    <a:pt x="156" y="148"/>
                    <a:pt x="156" y="148"/>
                  </a:cubicBezTo>
                  <a:cubicBezTo>
                    <a:pt x="156" y="147"/>
                    <a:pt x="156" y="147"/>
                    <a:pt x="156" y="147"/>
                  </a:cubicBezTo>
                  <a:cubicBezTo>
                    <a:pt x="157" y="145"/>
                    <a:pt x="157" y="145"/>
                    <a:pt x="157" y="145"/>
                  </a:cubicBezTo>
                  <a:cubicBezTo>
                    <a:pt x="158" y="143"/>
                    <a:pt x="159" y="142"/>
                    <a:pt x="160" y="141"/>
                  </a:cubicBezTo>
                  <a:cubicBezTo>
                    <a:pt x="161" y="141"/>
                    <a:pt x="161" y="140"/>
                    <a:pt x="162" y="140"/>
                  </a:cubicBezTo>
                  <a:cubicBezTo>
                    <a:pt x="161" y="140"/>
                    <a:pt x="160" y="141"/>
                    <a:pt x="159" y="141"/>
                  </a:cubicBezTo>
                  <a:cubicBezTo>
                    <a:pt x="152" y="143"/>
                    <a:pt x="152" y="143"/>
                    <a:pt x="152" y="143"/>
                  </a:cubicBezTo>
                  <a:cubicBezTo>
                    <a:pt x="152" y="143"/>
                    <a:pt x="151" y="143"/>
                    <a:pt x="151" y="143"/>
                  </a:cubicBezTo>
                  <a:cubicBezTo>
                    <a:pt x="150" y="143"/>
                    <a:pt x="149" y="143"/>
                    <a:pt x="149" y="142"/>
                  </a:cubicBezTo>
                  <a:cubicBezTo>
                    <a:pt x="148" y="141"/>
                    <a:pt x="148" y="141"/>
                    <a:pt x="147" y="140"/>
                  </a:cubicBezTo>
                  <a:cubicBezTo>
                    <a:pt x="147" y="139"/>
                    <a:pt x="147" y="139"/>
                    <a:pt x="147" y="139"/>
                  </a:cubicBezTo>
                  <a:cubicBezTo>
                    <a:pt x="146" y="138"/>
                    <a:pt x="146" y="138"/>
                    <a:pt x="146" y="138"/>
                  </a:cubicBezTo>
                  <a:cubicBezTo>
                    <a:pt x="146" y="137"/>
                    <a:pt x="146" y="137"/>
                    <a:pt x="146" y="137"/>
                  </a:cubicBezTo>
                  <a:cubicBezTo>
                    <a:pt x="145" y="136"/>
                    <a:pt x="145" y="136"/>
                    <a:pt x="144" y="135"/>
                  </a:cubicBezTo>
                  <a:cubicBezTo>
                    <a:pt x="144" y="134"/>
                    <a:pt x="144" y="134"/>
                    <a:pt x="144" y="134"/>
                  </a:cubicBezTo>
                  <a:cubicBezTo>
                    <a:pt x="144" y="134"/>
                    <a:pt x="144" y="134"/>
                    <a:pt x="144" y="133"/>
                  </a:cubicBezTo>
                  <a:cubicBezTo>
                    <a:pt x="144" y="133"/>
                    <a:pt x="144" y="132"/>
                    <a:pt x="144" y="132"/>
                  </a:cubicBezTo>
                  <a:cubicBezTo>
                    <a:pt x="144" y="131"/>
                    <a:pt x="144" y="131"/>
                    <a:pt x="144" y="131"/>
                  </a:cubicBezTo>
                  <a:cubicBezTo>
                    <a:pt x="144" y="131"/>
                    <a:pt x="144" y="131"/>
                    <a:pt x="144" y="131"/>
                  </a:cubicBezTo>
                  <a:cubicBezTo>
                    <a:pt x="128" y="129"/>
                    <a:pt x="128" y="129"/>
                    <a:pt x="128" y="129"/>
                  </a:cubicBezTo>
                  <a:cubicBezTo>
                    <a:pt x="129" y="126"/>
                    <a:pt x="129" y="126"/>
                    <a:pt x="129" y="126"/>
                  </a:cubicBezTo>
                  <a:cubicBezTo>
                    <a:pt x="130" y="124"/>
                    <a:pt x="130" y="122"/>
                    <a:pt x="131" y="121"/>
                  </a:cubicBezTo>
                  <a:cubicBezTo>
                    <a:pt x="131" y="120"/>
                    <a:pt x="131" y="120"/>
                    <a:pt x="131" y="120"/>
                  </a:cubicBezTo>
                  <a:cubicBezTo>
                    <a:pt x="131" y="120"/>
                    <a:pt x="131" y="119"/>
                    <a:pt x="131" y="119"/>
                  </a:cubicBezTo>
                  <a:cubicBezTo>
                    <a:pt x="131" y="118"/>
                    <a:pt x="131" y="118"/>
                    <a:pt x="131" y="118"/>
                  </a:cubicBezTo>
                  <a:cubicBezTo>
                    <a:pt x="132" y="118"/>
                    <a:pt x="132" y="117"/>
                    <a:pt x="132" y="116"/>
                  </a:cubicBezTo>
                  <a:cubicBezTo>
                    <a:pt x="132" y="115"/>
                    <a:pt x="132" y="115"/>
                    <a:pt x="132" y="114"/>
                  </a:cubicBezTo>
                  <a:cubicBezTo>
                    <a:pt x="133" y="114"/>
                    <a:pt x="133" y="114"/>
                    <a:pt x="133" y="114"/>
                  </a:cubicBezTo>
                  <a:cubicBezTo>
                    <a:pt x="133" y="113"/>
                    <a:pt x="133" y="113"/>
                    <a:pt x="133" y="113"/>
                  </a:cubicBezTo>
                  <a:cubicBezTo>
                    <a:pt x="134" y="112"/>
                    <a:pt x="134" y="112"/>
                    <a:pt x="134" y="111"/>
                  </a:cubicBezTo>
                  <a:cubicBezTo>
                    <a:pt x="135" y="111"/>
                    <a:pt x="135" y="111"/>
                    <a:pt x="135" y="111"/>
                  </a:cubicBezTo>
                  <a:cubicBezTo>
                    <a:pt x="135" y="111"/>
                    <a:pt x="135" y="111"/>
                    <a:pt x="136" y="110"/>
                  </a:cubicBezTo>
                  <a:cubicBezTo>
                    <a:pt x="136" y="110"/>
                    <a:pt x="136" y="110"/>
                    <a:pt x="136" y="110"/>
                  </a:cubicBezTo>
                  <a:cubicBezTo>
                    <a:pt x="136" y="110"/>
                    <a:pt x="136" y="110"/>
                    <a:pt x="136" y="110"/>
                  </a:cubicBezTo>
                  <a:cubicBezTo>
                    <a:pt x="135" y="110"/>
                    <a:pt x="135" y="110"/>
                    <a:pt x="135" y="110"/>
                  </a:cubicBezTo>
                  <a:cubicBezTo>
                    <a:pt x="135" y="110"/>
                    <a:pt x="134" y="110"/>
                    <a:pt x="134" y="110"/>
                  </a:cubicBezTo>
                  <a:cubicBezTo>
                    <a:pt x="131" y="110"/>
                    <a:pt x="131" y="110"/>
                    <a:pt x="131" y="110"/>
                  </a:cubicBezTo>
                  <a:cubicBezTo>
                    <a:pt x="131" y="110"/>
                    <a:pt x="131" y="110"/>
                    <a:pt x="131" y="110"/>
                  </a:cubicBezTo>
                  <a:cubicBezTo>
                    <a:pt x="130" y="110"/>
                    <a:pt x="130" y="110"/>
                    <a:pt x="129" y="109"/>
                  </a:cubicBezTo>
                  <a:cubicBezTo>
                    <a:pt x="126" y="109"/>
                    <a:pt x="125" y="107"/>
                    <a:pt x="124" y="105"/>
                  </a:cubicBezTo>
                  <a:cubicBezTo>
                    <a:pt x="123" y="103"/>
                    <a:pt x="123" y="103"/>
                    <a:pt x="123" y="103"/>
                  </a:cubicBezTo>
                  <a:cubicBezTo>
                    <a:pt x="123" y="102"/>
                    <a:pt x="122" y="101"/>
                    <a:pt x="122" y="100"/>
                  </a:cubicBezTo>
                  <a:cubicBezTo>
                    <a:pt x="122" y="99"/>
                    <a:pt x="122" y="99"/>
                    <a:pt x="122" y="99"/>
                  </a:cubicBezTo>
                  <a:cubicBezTo>
                    <a:pt x="121" y="98"/>
                    <a:pt x="121" y="98"/>
                    <a:pt x="121" y="98"/>
                  </a:cubicBezTo>
                  <a:cubicBezTo>
                    <a:pt x="121" y="98"/>
                    <a:pt x="121" y="97"/>
                    <a:pt x="121" y="97"/>
                  </a:cubicBezTo>
                  <a:cubicBezTo>
                    <a:pt x="120" y="98"/>
                    <a:pt x="120" y="98"/>
                    <a:pt x="120" y="98"/>
                  </a:cubicBezTo>
                  <a:cubicBezTo>
                    <a:pt x="121" y="96"/>
                    <a:pt x="121" y="96"/>
                    <a:pt x="121" y="96"/>
                  </a:cubicBezTo>
                  <a:cubicBezTo>
                    <a:pt x="121" y="96"/>
                    <a:pt x="121" y="96"/>
                    <a:pt x="121" y="96"/>
                  </a:cubicBezTo>
                  <a:cubicBezTo>
                    <a:pt x="120" y="96"/>
                    <a:pt x="120" y="95"/>
                    <a:pt x="120" y="95"/>
                  </a:cubicBezTo>
                  <a:cubicBezTo>
                    <a:pt x="120" y="95"/>
                    <a:pt x="120" y="95"/>
                    <a:pt x="120" y="95"/>
                  </a:cubicBezTo>
                  <a:cubicBezTo>
                    <a:pt x="120" y="94"/>
                    <a:pt x="120" y="93"/>
                    <a:pt x="120" y="93"/>
                  </a:cubicBezTo>
                  <a:cubicBezTo>
                    <a:pt x="120" y="92"/>
                    <a:pt x="120" y="92"/>
                    <a:pt x="120" y="91"/>
                  </a:cubicBezTo>
                  <a:cubicBezTo>
                    <a:pt x="121" y="90"/>
                    <a:pt x="121" y="90"/>
                    <a:pt x="121" y="90"/>
                  </a:cubicBezTo>
                  <a:cubicBezTo>
                    <a:pt x="120" y="90"/>
                    <a:pt x="119" y="90"/>
                    <a:pt x="118" y="90"/>
                  </a:cubicBezTo>
                  <a:cubicBezTo>
                    <a:pt x="118" y="90"/>
                    <a:pt x="118" y="90"/>
                    <a:pt x="118" y="90"/>
                  </a:cubicBezTo>
                  <a:cubicBezTo>
                    <a:pt x="117" y="90"/>
                    <a:pt x="117" y="90"/>
                    <a:pt x="117" y="90"/>
                  </a:cubicBezTo>
                  <a:cubicBezTo>
                    <a:pt x="116" y="90"/>
                    <a:pt x="116" y="90"/>
                    <a:pt x="116" y="90"/>
                  </a:cubicBezTo>
                  <a:cubicBezTo>
                    <a:pt x="115" y="90"/>
                    <a:pt x="114" y="89"/>
                    <a:pt x="113" y="89"/>
                  </a:cubicBezTo>
                  <a:cubicBezTo>
                    <a:pt x="113" y="89"/>
                    <a:pt x="113" y="90"/>
                    <a:pt x="113" y="90"/>
                  </a:cubicBezTo>
                  <a:cubicBezTo>
                    <a:pt x="112" y="90"/>
                    <a:pt x="112" y="90"/>
                    <a:pt x="112" y="90"/>
                  </a:cubicBezTo>
                  <a:cubicBezTo>
                    <a:pt x="112" y="90"/>
                    <a:pt x="112" y="90"/>
                    <a:pt x="112" y="90"/>
                  </a:cubicBezTo>
                  <a:cubicBezTo>
                    <a:pt x="112" y="90"/>
                    <a:pt x="111" y="90"/>
                    <a:pt x="110" y="91"/>
                  </a:cubicBezTo>
                  <a:cubicBezTo>
                    <a:pt x="107" y="93"/>
                    <a:pt x="104" y="94"/>
                    <a:pt x="102" y="94"/>
                  </a:cubicBezTo>
                  <a:cubicBezTo>
                    <a:pt x="102" y="94"/>
                    <a:pt x="101" y="94"/>
                    <a:pt x="101" y="94"/>
                  </a:cubicBezTo>
                  <a:cubicBezTo>
                    <a:pt x="101" y="94"/>
                    <a:pt x="101" y="94"/>
                    <a:pt x="101" y="94"/>
                  </a:cubicBezTo>
                  <a:cubicBezTo>
                    <a:pt x="100" y="94"/>
                    <a:pt x="100" y="94"/>
                    <a:pt x="100" y="94"/>
                  </a:cubicBezTo>
                  <a:cubicBezTo>
                    <a:pt x="99" y="93"/>
                    <a:pt x="98" y="92"/>
                    <a:pt x="98" y="90"/>
                  </a:cubicBezTo>
                  <a:cubicBezTo>
                    <a:pt x="99" y="89"/>
                    <a:pt x="99" y="89"/>
                    <a:pt x="99" y="89"/>
                  </a:cubicBezTo>
                  <a:cubicBezTo>
                    <a:pt x="99" y="88"/>
                    <a:pt x="99" y="88"/>
                    <a:pt x="99" y="88"/>
                  </a:cubicBezTo>
                  <a:cubicBezTo>
                    <a:pt x="101" y="85"/>
                    <a:pt x="101" y="85"/>
                    <a:pt x="101" y="85"/>
                  </a:cubicBezTo>
                  <a:cubicBezTo>
                    <a:pt x="101" y="85"/>
                    <a:pt x="101" y="84"/>
                    <a:pt x="101" y="84"/>
                  </a:cubicBezTo>
                  <a:cubicBezTo>
                    <a:pt x="100" y="83"/>
                    <a:pt x="100" y="83"/>
                    <a:pt x="100" y="83"/>
                  </a:cubicBezTo>
                  <a:cubicBezTo>
                    <a:pt x="100" y="83"/>
                    <a:pt x="100" y="83"/>
                    <a:pt x="100" y="83"/>
                  </a:cubicBezTo>
                  <a:cubicBezTo>
                    <a:pt x="99" y="83"/>
                    <a:pt x="98" y="82"/>
                    <a:pt x="98" y="80"/>
                  </a:cubicBezTo>
                  <a:cubicBezTo>
                    <a:pt x="98" y="80"/>
                    <a:pt x="98" y="80"/>
                    <a:pt x="98" y="80"/>
                  </a:cubicBezTo>
                  <a:cubicBezTo>
                    <a:pt x="98" y="79"/>
                    <a:pt x="98" y="79"/>
                    <a:pt x="98" y="78"/>
                  </a:cubicBezTo>
                  <a:cubicBezTo>
                    <a:pt x="98" y="77"/>
                    <a:pt x="98" y="74"/>
                    <a:pt x="101" y="72"/>
                  </a:cubicBezTo>
                  <a:cubicBezTo>
                    <a:pt x="102" y="72"/>
                    <a:pt x="102" y="72"/>
                    <a:pt x="102" y="72"/>
                  </a:cubicBezTo>
                  <a:cubicBezTo>
                    <a:pt x="102" y="71"/>
                    <a:pt x="102" y="71"/>
                    <a:pt x="102" y="71"/>
                  </a:cubicBezTo>
                  <a:cubicBezTo>
                    <a:pt x="102" y="71"/>
                    <a:pt x="102" y="71"/>
                    <a:pt x="102" y="71"/>
                  </a:cubicBezTo>
                  <a:cubicBezTo>
                    <a:pt x="102" y="71"/>
                    <a:pt x="102" y="71"/>
                    <a:pt x="102" y="71"/>
                  </a:cubicBezTo>
                  <a:cubicBezTo>
                    <a:pt x="102" y="71"/>
                    <a:pt x="102" y="71"/>
                    <a:pt x="102" y="71"/>
                  </a:cubicBezTo>
                  <a:cubicBezTo>
                    <a:pt x="102" y="70"/>
                    <a:pt x="102" y="70"/>
                    <a:pt x="102" y="70"/>
                  </a:cubicBezTo>
                  <a:cubicBezTo>
                    <a:pt x="102" y="69"/>
                    <a:pt x="102" y="68"/>
                    <a:pt x="103" y="67"/>
                  </a:cubicBezTo>
                  <a:cubicBezTo>
                    <a:pt x="103" y="65"/>
                    <a:pt x="103" y="64"/>
                    <a:pt x="105" y="62"/>
                  </a:cubicBezTo>
                  <a:cubicBezTo>
                    <a:pt x="106" y="62"/>
                    <a:pt x="106" y="62"/>
                    <a:pt x="106" y="62"/>
                  </a:cubicBezTo>
                  <a:cubicBezTo>
                    <a:pt x="106" y="61"/>
                    <a:pt x="106" y="61"/>
                    <a:pt x="106" y="61"/>
                  </a:cubicBezTo>
                  <a:cubicBezTo>
                    <a:pt x="106" y="61"/>
                    <a:pt x="106" y="61"/>
                    <a:pt x="106" y="61"/>
                  </a:cubicBezTo>
                  <a:cubicBezTo>
                    <a:pt x="107" y="61"/>
                    <a:pt x="107" y="61"/>
                    <a:pt x="107" y="61"/>
                  </a:cubicBezTo>
                  <a:cubicBezTo>
                    <a:pt x="107" y="61"/>
                    <a:pt x="107" y="61"/>
                    <a:pt x="107" y="61"/>
                  </a:cubicBezTo>
                  <a:cubicBezTo>
                    <a:pt x="108" y="61"/>
                    <a:pt x="108" y="60"/>
                    <a:pt x="109" y="60"/>
                  </a:cubicBezTo>
                  <a:cubicBezTo>
                    <a:pt x="109" y="60"/>
                    <a:pt x="109" y="60"/>
                    <a:pt x="109" y="60"/>
                  </a:cubicBezTo>
                  <a:cubicBezTo>
                    <a:pt x="109" y="59"/>
                    <a:pt x="109" y="59"/>
                    <a:pt x="109" y="59"/>
                  </a:cubicBezTo>
                  <a:cubicBezTo>
                    <a:pt x="109" y="59"/>
                    <a:pt x="109" y="59"/>
                    <a:pt x="109" y="59"/>
                  </a:cubicBezTo>
                  <a:cubicBezTo>
                    <a:pt x="109" y="58"/>
                    <a:pt x="110" y="56"/>
                    <a:pt x="111" y="56"/>
                  </a:cubicBezTo>
                  <a:cubicBezTo>
                    <a:pt x="112" y="55"/>
                    <a:pt x="112" y="55"/>
                    <a:pt x="112" y="55"/>
                  </a:cubicBezTo>
                  <a:cubicBezTo>
                    <a:pt x="113" y="55"/>
                    <a:pt x="114" y="55"/>
                    <a:pt x="114" y="56"/>
                  </a:cubicBezTo>
                  <a:cubicBezTo>
                    <a:pt x="114" y="56"/>
                    <a:pt x="115" y="56"/>
                    <a:pt x="115" y="56"/>
                  </a:cubicBezTo>
                  <a:cubicBezTo>
                    <a:pt x="115" y="56"/>
                    <a:pt x="115" y="56"/>
                    <a:pt x="115" y="56"/>
                  </a:cubicBezTo>
                  <a:cubicBezTo>
                    <a:pt x="115" y="56"/>
                    <a:pt x="117" y="54"/>
                    <a:pt x="117" y="53"/>
                  </a:cubicBezTo>
                  <a:cubicBezTo>
                    <a:pt x="118" y="53"/>
                    <a:pt x="118" y="53"/>
                    <a:pt x="119" y="52"/>
                  </a:cubicBezTo>
                  <a:cubicBezTo>
                    <a:pt x="119" y="52"/>
                    <a:pt x="119" y="52"/>
                    <a:pt x="119" y="52"/>
                  </a:cubicBezTo>
                  <a:cubicBezTo>
                    <a:pt x="119" y="52"/>
                    <a:pt x="119" y="52"/>
                    <a:pt x="119" y="52"/>
                  </a:cubicBezTo>
                  <a:cubicBezTo>
                    <a:pt x="119" y="51"/>
                    <a:pt x="119" y="51"/>
                    <a:pt x="119" y="50"/>
                  </a:cubicBezTo>
                  <a:cubicBezTo>
                    <a:pt x="118" y="49"/>
                    <a:pt x="118" y="49"/>
                    <a:pt x="118" y="49"/>
                  </a:cubicBezTo>
                  <a:cubicBezTo>
                    <a:pt x="118" y="48"/>
                    <a:pt x="118" y="47"/>
                    <a:pt x="118" y="46"/>
                  </a:cubicBezTo>
                  <a:cubicBezTo>
                    <a:pt x="118" y="45"/>
                    <a:pt x="118" y="45"/>
                    <a:pt x="118" y="45"/>
                  </a:cubicBezTo>
                  <a:cubicBezTo>
                    <a:pt x="119" y="45"/>
                    <a:pt x="119" y="45"/>
                    <a:pt x="119" y="45"/>
                  </a:cubicBezTo>
                  <a:cubicBezTo>
                    <a:pt x="119" y="44"/>
                    <a:pt x="119" y="43"/>
                    <a:pt x="120" y="42"/>
                  </a:cubicBezTo>
                  <a:cubicBezTo>
                    <a:pt x="120" y="41"/>
                    <a:pt x="120" y="41"/>
                    <a:pt x="120" y="41"/>
                  </a:cubicBezTo>
                  <a:cubicBezTo>
                    <a:pt x="120" y="41"/>
                    <a:pt x="120" y="40"/>
                    <a:pt x="121" y="40"/>
                  </a:cubicBezTo>
                  <a:cubicBezTo>
                    <a:pt x="121" y="39"/>
                    <a:pt x="121" y="39"/>
                    <a:pt x="121" y="38"/>
                  </a:cubicBezTo>
                  <a:cubicBezTo>
                    <a:pt x="121" y="36"/>
                    <a:pt x="121" y="34"/>
                    <a:pt x="121" y="31"/>
                  </a:cubicBezTo>
                  <a:cubicBezTo>
                    <a:pt x="121" y="30"/>
                    <a:pt x="121" y="30"/>
                    <a:pt x="121" y="29"/>
                  </a:cubicBezTo>
                  <a:cubicBezTo>
                    <a:pt x="121" y="27"/>
                    <a:pt x="121" y="27"/>
                    <a:pt x="121" y="27"/>
                  </a:cubicBezTo>
                  <a:cubicBezTo>
                    <a:pt x="121" y="25"/>
                    <a:pt x="121" y="21"/>
                    <a:pt x="120" y="19"/>
                  </a:cubicBezTo>
                  <a:cubicBezTo>
                    <a:pt x="120" y="18"/>
                    <a:pt x="120" y="18"/>
                    <a:pt x="120" y="18"/>
                  </a:cubicBezTo>
                  <a:cubicBezTo>
                    <a:pt x="120" y="18"/>
                    <a:pt x="120" y="18"/>
                    <a:pt x="120" y="18"/>
                  </a:cubicBezTo>
                  <a:cubicBezTo>
                    <a:pt x="120" y="18"/>
                    <a:pt x="120" y="18"/>
                    <a:pt x="120" y="18"/>
                  </a:cubicBezTo>
                  <a:cubicBezTo>
                    <a:pt x="116" y="18"/>
                    <a:pt x="116" y="18"/>
                    <a:pt x="116" y="18"/>
                  </a:cubicBezTo>
                  <a:cubicBezTo>
                    <a:pt x="114" y="17"/>
                    <a:pt x="113" y="16"/>
                    <a:pt x="112" y="15"/>
                  </a:cubicBezTo>
                  <a:cubicBezTo>
                    <a:pt x="111" y="13"/>
                    <a:pt x="110" y="11"/>
                    <a:pt x="110" y="10"/>
                  </a:cubicBezTo>
                  <a:cubicBezTo>
                    <a:pt x="110" y="8"/>
                    <a:pt x="109" y="6"/>
                    <a:pt x="108" y="5"/>
                  </a:cubicBezTo>
                  <a:cubicBezTo>
                    <a:pt x="108" y="5"/>
                    <a:pt x="108" y="5"/>
                    <a:pt x="108" y="5"/>
                  </a:cubicBezTo>
                  <a:cubicBezTo>
                    <a:pt x="108" y="4"/>
                    <a:pt x="107" y="4"/>
                    <a:pt x="107" y="3"/>
                  </a:cubicBezTo>
                  <a:cubicBezTo>
                    <a:pt x="106" y="3"/>
                    <a:pt x="106" y="2"/>
                    <a:pt x="106" y="2"/>
                  </a:cubicBezTo>
                  <a:cubicBezTo>
                    <a:pt x="105" y="2"/>
                    <a:pt x="105" y="2"/>
                    <a:pt x="105" y="2"/>
                  </a:cubicBezTo>
                  <a:cubicBezTo>
                    <a:pt x="105" y="2"/>
                    <a:pt x="105" y="2"/>
                    <a:pt x="105" y="2"/>
                  </a:cubicBezTo>
                  <a:cubicBezTo>
                    <a:pt x="104" y="2"/>
                    <a:pt x="103" y="1"/>
                    <a:pt x="102" y="1"/>
                  </a:cubicBezTo>
                  <a:cubicBezTo>
                    <a:pt x="102" y="0"/>
                    <a:pt x="102" y="0"/>
                    <a:pt x="102" y="0"/>
                  </a:cubicBezTo>
                  <a:cubicBezTo>
                    <a:pt x="102" y="0"/>
                    <a:pt x="102" y="0"/>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435"/>
            <p:cNvSpPr/>
            <p:nvPr/>
          </p:nvSpPr>
          <p:spPr bwMode="auto">
            <a:xfrm>
              <a:off x="4628394" y="5504517"/>
              <a:ext cx="6878" cy="20632"/>
            </a:xfrm>
            <a:custGeom>
              <a:gdLst>
                <a:gd name="T0" fmla="*/ 0 w 2"/>
                <a:gd name="T1" fmla="*/ 0 h 6"/>
                <a:gd name="T2" fmla="*/ 0 w 2"/>
                <a:gd name="T3" fmla="*/ 0 h 6"/>
                <a:gd name="T4" fmla="*/ 0 w 2"/>
                <a:gd name="T5" fmla="*/ 0 h 6"/>
                <a:gd name="T6" fmla="*/ 1 w 2"/>
                <a:gd name="T7" fmla="*/ 6 h 6"/>
                <a:gd name="T8" fmla="*/ 2 w 2"/>
                <a:gd name="T9" fmla="*/ 3 h 6"/>
                <a:gd name="T10" fmla="*/ 2 w 2"/>
                <a:gd name="T11" fmla="*/ 2 h 6"/>
                <a:gd name="T12" fmla="*/ 1 w 2"/>
                <a:gd name="T13" fmla="*/ 1 h 6"/>
                <a:gd name="T14" fmla="*/ 1 w 2"/>
                <a:gd name="T15" fmla="*/ 0 h 6"/>
                <a:gd name="T16" fmla="*/ 0 w 2"/>
                <a:gd name="T17" fmla="*/ 0 h 6"/>
                <a:gd name="T18" fmla="*/ 0 w 2"/>
                <a:gd name="T19" fmla="*/ 0 h 6"/>
                <a:gd name="T20" fmla="*/ 0 w 2"/>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0"/>
                  </a:moveTo>
                  <a:cubicBezTo>
                    <a:pt x="0" y="0"/>
                    <a:pt x="0" y="0"/>
                    <a:pt x="0" y="0"/>
                  </a:cubicBezTo>
                  <a:cubicBezTo>
                    <a:pt x="0" y="0"/>
                    <a:pt x="0" y="0"/>
                    <a:pt x="0" y="0"/>
                  </a:cubicBezTo>
                  <a:cubicBezTo>
                    <a:pt x="1" y="6"/>
                    <a:pt x="1" y="6"/>
                    <a:pt x="1" y="6"/>
                  </a:cubicBezTo>
                  <a:cubicBezTo>
                    <a:pt x="2" y="5"/>
                    <a:pt x="2" y="4"/>
                    <a:pt x="2" y="3"/>
                  </a:cubicBezTo>
                  <a:cubicBezTo>
                    <a:pt x="2" y="3"/>
                    <a:pt x="2" y="2"/>
                    <a:pt x="2" y="2"/>
                  </a:cubicBezTo>
                  <a:cubicBezTo>
                    <a:pt x="2" y="2"/>
                    <a:pt x="2" y="1"/>
                    <a:pt x="1" y="1"/>
                  </a:cubicBezTo>
                  <a:cubicBezTo>
                    <a:pt x="1" y="0"/>
                    <a:pt x="1" y="0"/>
                    <a:pt x="1"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Rectangle 436"/>
            <p:cNvSpPr>
              <a:spLocks noChangeArrowheads="1"/>
            </p:cNvSpPr>
            <p:nvPr/>
          </p:nvSpPr>
          <p:spPr bwMode="auto">
            <a:xfrm>
              <a:off x="4676535" y="5687453"/>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437"/>
            <p:cNvSpPr/>
            <p:nvPr/>
          </p:nvSpPr>
          <p:spPr bwMode="auto">
            <a:xfrm flipH="1">
              <a:off x="4676535" y="568745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438"/>
            <p:cNvSpPr/>
            <p:nvPr/>
          </p:nvSpPr>
          <p:spPr bwMode="auto">
            <a:xfrm>
              <a:off x="4456462" y="5499016"/>
              <a:ext cx="493787" cy="916050"/>
            </a:xfrm>
            <a:custGeom>
              <a:gdLst>
                <a:gd name="T0" fmla="*/ 40 w 152"/>
                <a:gd name="T1" fmla="*/ 3 h 282"/>
                <a:gd name="T2" fmla="*/ 33 w 152"/>
                <a:gd name="T3" fmla="*/ 6 h 282"/>
                <a:gd name="T4" fmla="*/ 29 w 152"/>
                <a:gd name="T5" fmla="*/ 12 h 282"/>
                <a:gd name="T6" fmla="*/ 23 w 152"/>
                <a:gd name="T7" fmla="*/ 19 h 282"/>
                <a:gd name="T8" fmla="*/ 12 w 152"/>
                <a:gd name="T9" fmla="*/ 14 h 282"/>
                <a:gd name="T10" fmla="*/ 6 w 152"/>
                <a:gd name="T11" fmla="*/ 28 h 282"/>
                <a:gd name="T12" fmla="*/ 7 w 152"/>
                <a:gd name="T13" fmla="*/ 34 h 282"/>
                <a:gd name="T14" fmla="*/ 1 w 152"/>
                <a:gd name="T15" fmla="*/ 38 h 282"/>
                <a:gd name="T16" fmla="*/ 5 w 152"/>
                <a:gd name="T17" fmla="*/ 43 h 282"/>
                <a:gd name="T18" fmla="*/ 16 w 152"/>
                <a:gd name="T19" fmla="*/ 62 h 282"/>
                <a:gd name="T20" fmla="*/ 21 w 152"/>
                <a:gd name="T21" fmla="*/ 66 h 282"/>
                <a:gd name="T22" fmla="*/ 25 w 152"/>
                <a:gd name="T23" fmla="*/ 72 h 282"/>
                <a:gd name="T24" fmla="*/ 27 w 152"/>
                <a:gd name="T25" fmla="*/ 84 h 282"/>
                <a:gd name="T26" fmla="*/ 22 w 152"/>
                <a:gd name="T27" fmla="*/ 96 h 282"/>
                <a:gd name="T28" fmla="*/ 24 w 152"/>
                <a:gd name="T29" fmla="*/ 118 h 282"/>
                <a:gd name="T30" fmla="*/ 32 w 152"/>
                <a:gd name="T31" fmla="*/ 126 h 282"/>
                <a:gd name="T32" fmla="*/ 33 w 152"/>
                <a:gd name="T33" fmla="*/ 142 h 282"/>
                <a:gd name="T34" fmla="*/ 35 w 152"/>
                <a:gd name="T35" fmla="*/ 146 h 282"/>
                <a:gd name="T36" fmla="*/ 42 w 152"/>
                <a:gd name="T37" fmla="*/ 164 h 282"/>
                <a:gd name="T38" fmla="*/ 27 w 152"/>
                <a:gd name="T39" fmla="*/ 192 h 282"/>
                <a:gd name="T40" fmla="*/ 14 w 152"/>
                <a:gd name="T41" fmla="*/ 218 h 282"/>
                <a:gd name="T42" fmla="*/ 14 w 152"/>
                <a:gd name="T43" fmla="*/ 235 h 282"/>
                <a:gd name="T44" fmla="*/ 29 w 152"/>
                <a:gd name="T45" fmla="*/ 242 h 282"/>
                <a:gd name="T46" fmla="*/ 38 w 152"/>
                <a:gd name="T47" fmla="*/ 252 h 282"/>
                <a:gd name="T48" fmla="*/ 48 w 152"/>
                <a:gd name="T49" fmla="*/ 265 h 282"/>
                <a:gd name="T50" fmla="*/ 63 w 152"/>
                <a:gd name="T51" fmla="*/ 268 h 282"/>
                <a:gd name="T52" fmla="*/ 71 w 152"/>
                <a:gd name="T53" fmla="*/ 277 h 282"/>
                <a:gd name="T54" fmla="*/ 76 w 152"/>
                <a:gd name="T55" fmla="*/ 278 h 282"/>
                <a:gd name="T56" fmla="*/ 83 w 152"/>
                <a:gd name="T57" fmla="*/ 270 h 282"/>
                <a:gd name="T58" fmla="*/ 68 w 152"/>
                <a:gd name="T59" fmla="*/ 262 h 282"/>
                <a:gd name="T60" fmla="*/ 54 w 152"/>
                <a:gd name="T61" fmla="*/ 253 h 282"/>
                <a:gd name="T62" fmla="*/ 46 w 152"/>
                <a:gd name="T63" fmla="*/ 224 h 282"/>
                <a:gd name="T64" fmla="*/ 34 w 152"/>
                <a:gd name="T65" fmla="*/ 213 h 282"/>
                <a:gd name="T66" fmla="*/ 46 w 152"/>
                <a:gd name="T67" fmla="*/ 161 h 282"/>
                <a:gd name="T68" fmla="*/ 55 w 152"/>
                <a:gd name="T69" fmla="*/ 134 h 282"/>
                <a:gd name="T70" fmla="*/ 63 w 152"/>
                <a:gd name="T71" fmla="*/ 148 h 282"/>
                <a:gd name="T72" fmla="*/ 90 w 152"/>
                <a:gd name="T73" fmla="*/ 157 h 282"/>
                <a:gd name="T74" fmla="*/ 98 w 152"/>
                <a:gd name="T75" fmla="*/ 157 h 282"/>
                <a:gd name="T76" fmla="*/ 93 w 152"/>
                <a:gd name="T77" fmla="*/ 151 h 282"/>
                <a:gd name="T78" fmla="*/ 92 w 152"/>
                <a:gd name="T79" fmla="*/ 131 h 282"/>
                <a:gd name="T80" fmla="*/ 114 w 152"/>
                <a:gd name="T81" fmla="*/ 114 h 282"/>
                <a:gd name="T82" fmla="*/ 133 w 152"/>
                <a:gd name="T83" fmla="*/ 115 h 282"/>
                <a:gd name="T84" fmla="*/ 144 w 152"/>
                <a:gd name="T85" fmla="*/ 116 h 282"/>
                <a:gd name="T86" fmla="*/ 149 w 152"/>
                <a:gd name="T87" fmla="*/ 101 h 282"/>
                <a:gd name="T88" fmla="*/ 151 w 152"/>
                <a:gd name="T89" fmla="*/ 93 h 282"/>
                <a:gd name="T90" fmla="*/ 139 w 152"/>
                <a:gd name="T91" fmla="*/ 81 h 282"/>
                <a:gd name="T92" fmla="*/ 135 w 152"/>
                <a:gd name="T93" fmla="*/ 73 h 282"/>
                <a:gd name="T94" fmla="*/ 136 w 152"/>
                <a:gd name="T95" fmla="*/ 61 h 282"/>
                <a:gd name="T96" fmla="*/ 125 w 152"/>
                <a:gd name="T97" fmla="*/ 48 h 282"/>
                <a:gd name="T98" fmla="*/ 114 w 152"/>
                <a:gd name="T99" fmla="*/ 40 h 282"/>
                <a:gd name="T100" fmla="*/ 108 w 152"/>
                <a:gd name="T101" fmla="*/ 44 h 282"/>
                <a:gd name="T102" fmla="*/ 101 w 152"/>
                <a:gd name="T103" fmla="*/ 50 h 282"/>
                <a:gd name="T104" fmla="*/ 87 w 152"/>
                <a:gd name="T105" fmla="*/ 45 h 282"/>
                <a:gd name="T106" fmla="*/ 69 w 152"/>
                <a:gd name="T107" fmla="*/ 59 h 282"/>
                <a:gd name="T108" fmla="*/ 64 w 152"/>
                <a:gd name="T109" fmla="*/ 57 h 282"/>
                <a:gd name="T110" fmla="*/ 65 w 152"/>
                <a:gd name="T111" fmla="*/ 48 h 282"/>
                <a:gd name="T112" fmla="*/ 65 w 152"/>
                <a:gd name="T113" fmla="*/ 38 h 282"/>
                <a:gd name="T114" fmla="*/ 69 w 152"/>
                <a:gd name="T115" fmla="*/ 26 h 282"/>
                <a:gd name="T116" fmla="*/ 68 w 152"/>
                <a:gd name="T117" fmla="*/ 18 h 282"/>
                <a:gd name="T118" fmla="*/ 57 w 152"/>
                <a:gd name="T119" fmla="*/ 19 h 282"/>
                <a:gd name="T120" fmla="*/ 53 w 152"/>
                <a:gd name="T121" fmla="*/ 10 h 282"/>
                <a:gd name="T122" fmla="*/ 46 w 152"/>
                <a:gd name="T123" fmla="*/ 1 h 28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282">
                  <a:moveTo>
                    <a:pt x="46" y="0"/>
                  </a:moveTo>
                  <a:cubicBezTo>
                    <a:pt x="45" y="1"/>
                    <a:pt x="44" y="1"/>
                    <a:pt x="43" y="2"/>
                  </a:cubicBezTo>
                  <a:cubicBezTo>
                    <a:pt x="42" y="2"/>
                    <a:pt x="42" y="2"/>
                    <a:pt x="41" y="2"/>
                  </a:cubicBezTo>
                  <a:cubicBezTo>
                    <a:pt x="41" y="3"/>
                    <a:pt x="41" y="3"/>
                    <a:pt x="41" y="3"/>
                  </a:cubicBezTo>
                  <a:cubicBezTo>
                    <a:pt x="40" y="3"/>
                    <a:pt x="40" y="3"/>
                    <a:pt x="40" y="3"/>
                  </a:cubicBezTo>
                  <a:cubicBezTo>
                    <a:pt x="40" y="3"/>
                    <a:pt x="40" y="3"/>
                    <a:pt x="40" y="3"/>
                  </a:cubicBezTo>
                  <a:cubicBezTo>
                    <a:pt x="41" y="6"/>
                    <a:pt x="41" y="6"/>
                    <a:pt x="41" y="6"/>
                  </a:cubicBezTo>
                  <a:cubicBezTo>
                    <a:pt x="38" y="6"/>
                    <a:pt x="38" y="6"/>
                    <a:pt x="38" y="6"/>
                  </a:cubicBezTo>
                  <a:cubicBezTo>
                    <a:pt x="37" y="6"/>
                    <a:pt x="37" y="6"/>
                    <a:pt x="37" y="6"/>
                  </a:cubicBezTo>
                  <a:cubicBezTo>
                    <a:pt x="35" y="6"/>
                    <a:pt x="35" y="6"/>
                    <a:pt x="35" y="6"/>
                  </a:cubicBezTo>
                  <a:cubicBezTo>
                    <a:pt x="35" y="6"/>
                    <a:pt x="35" y="6"/>
                    <a:pt x="35" y="6"/>
                  </a:cubicBezTo>
                  <a:cubicBezTo>
                    <a:pt x="34" y="6"/>
                    <a:pt x="34" y="6"/>
                    <a:pt x="33" y="6"/>
                  </a:cubicBezTo>
                  <a:cubicBezTo>
                    <a:pt x="33" y="6"/>
                    <a:pt x="32" y="6"/>
                    <a:pt x="32" y="6"/>
                  </a:cubicBezTo>
                  <a:cubicBezTo>
                    <a:pt x="32" y="6"/>
                    <a:pt x="32" y="6"/>
                    <a:pt x="32" y="6"/>
                  </a:cubicBezTo>
                  <a:cubicBezTo>
                    <a:pt x="32" y="7"/>
                    <a:pt x="32" y="7"/>
                    <a:pt x="32" y="8"/>
                  </a:cubicBezTo>
                  <a:cubicBezTo>
                    <a:pt x="31" y="9"/>
                    <a:pt x="31" y="10"/>
                    <a:pt x="31" y="10"/>
                  </a:cubicBezTo>
                  <a:cubicBezTo>
                    <a:pt x="30" y="11"/>
                    <a:pt x="30" y="11"/>
                    <a:pt x="30" y="11"/>
                  </a:cubicBezTo>
                  <a:cubicBezTo>
                    <a:pt x="30" y="11"/>
                    <a:pt x="30" y="12"/>
                    <a:pt x="29" y="12"/>
                  </a:cubicBezTo>
                  <a:cubicBezTo>
                    <a:pt x="29" y="12"/>
                    <a:pt x="29" y="12"/>
                    <a:pt x="29" y="12"/>
                  </a:cubicBezTo>
                  <a:cubicBezTo>
                    <a:pt x="28" y="13"/>
                    <a:pt x="28" y="13"/>
                    <a:pt x="28" y="13"/>
                  </a:cubicBezTo>
                  <a:cubicBezTo>
                    <a:pt x="27" y="14"/>
                    <a:pt x="26" y="14"/>
                    <a:pt x="25" y="14"/>
                  </a:cubicBezTo>
                  <a:cubicBezTo>
                    <a:pt x="24" y="14"/>
                    <a:pt x="24" y="14"/>
                    <a:pt x="24" y="14"/>
                  </a:cubicBezTo>
                  <a:cubicBezTo>
                    <a:pt x="23" y="14"/>
                    <a:pt x="23" y="14"/>
                    <a:pt x="23" y="14"/>
                  </a:cubicBezTo>
                  <a:cubicBezTo>
                    <a:pt x="23" y="19"/>
                    <a:pt x="23" y="19"/>
                    <a:pt x="23" y="19"/>
                  </a:cubicBezTo>
                  <a:cubicBezTo>
                    <a:pt x="21" y="14"/>
                    <a:pt x="21" y="14"/>
                    <a:pt x="21" y="14"/>
                  </a:cubicBezTo>
                  <a:cubicBezTo>
                    <a:pt x="21" y="14"/>
                    <a:pt x="21" y="14"/>
                    <a:pt x="21" y="14"/>
                  </a:cubicBezTo>
                  <a:cubicBezTo>
                    <a:pt x="20" y="15"/>
                    <a:pt x="20" y="15"/>
                    <a:pt x="19" y="15"/>
                  </a:cubicBezTo>
                  <a:cubicBezTo>
                    <a:pt x="18" y="15"/>
                    <a:pt x="18" y="15"/>
                    <a:pt x="18" y="15"/>
                  </a:cubicBezTo>
                  <a:cubicBezTo>
                    <a:pt x="17" y="15"/>
                    <a:pt x="17" y="15"/>
                    <a:pt x="17" y="15"/>
                  </a:cubicBezTo>
                  <a:cubicBezTo>
                    <a:pt x="15" y="14"/>
                    <a:pt x="14" y="14"/>
                    <a:pt x="12" y="14"/>
                  </a:cubicBezTo>
                  <a:cubicBezTo>
                    <a:pt x="12" y="17"/>
                    <a:pt x="12" y="17"/>
                    <a:pt x="12" y="17"/>
                  </a:cubicBezTo>
                  <a:cubicBezTo>
                    <a:pt x="11" y="14"/>
                    <a:pt x="11" y="14"/>
                    <a:pt x="11" y="14"/>
                  </a:cubicBezTo>
                  <a:cubicBezTo>
                    <a:pt x="11" y="13"/>
                    <a:pt x="11" y="13"/>
                    <a:pt x="11" y="13"/>
                  </a:cubicBezTo>
                  <a:cubicBezTo>
                    <a:pt x="9" y="16"/>
                    <a:pt x="8" y="17"/>
                    <a:pt x="8" y="20"/>
                  </a:cubicBezTo>
                  <a:cubicBezTo>
                    <a:pt x="8" y="23"/>
                    <a:pt x="7" y="25"/>
                    <a:pt x="7" y="27"/>
                  </a:cubicBezTo>
                  <a:cubicBezTo>
                    <a:pt x="6" y="28"/>
                    <a:pt x="6" y="28"/>
                    <a:pt x="6" y="28"/>
                  </a:cubicBezTo>
                  <a:cubicBezTo>
                    <a:pt x="6" y="29"/>
                    <a:pt x="6" y="29"/>
                    <a:pt x="7" y="30"/>
                  </a:cubicBezTo>
                  <a:cubicBezTo>
                    <a:pt x="7" y="31"/>
                    <a:pt x="7" y="31"/>
                    <a:pt x="7" y="31"/>
                  </a:cubicBezTo>
                  <a:cubicBezTo>
                    <a:pt x="7" y="32"/>
                    <a:pt x="7" y="32"/>
                    <a:pt x="7" y="32"/>
                  </a:cubicBezTo>
                  <a:cubicBezTo>
                    <a:pt x="7" y="32"/>
                    <a:pt x="7" y="32"/>
                    <a:pt x="7" y="33"/>
                  </a:cubicBezTo>
                  <a:cubicBezTo>
                    <a:pt x="7" y="33"/>
                    <a:pt x="7" y="33"/>
                    <a:pt x="7" y="33"/>
                  </a:cubicBezTo>
                  <a:cubicBezTo>
                    <a:pt x="7" y="34"/>
                    <a:pt x="7" y="34"/>
                    <a:pt x="7" y="34"/>
                  </a:cubicBezTo>
                  <a:cubicBezTo>
                    <a:pt x="7" y="34"/>
                    <a:pt x="7" y="34"/>
                    <a:pt x="7" y="34"/>
                  </a:cubicBezTo>
                  <a:cubicBezTo>
                    <a:pt x="7" y="36"/>
                    <a:pt x="6" y="37"/>
                    <a:pt x="4" y="37"/>
                  </a:cubicBezTo>
                  <a:cubicBezTo>
                    <a:pt x="4" y="37"/>
                    <a:pt x="4" y="37"/>
                    <a:pt x="4" y="37"/>
                  </a:cubicBezTo>
                  <a:cubicBezTo>
                    <a:pt x="3" y="37"/>
                    <a:pt x="2" y="38"/>
                    <a:pt x="1" y="38"/>
                  </a:cubicBezTo>
                  <a:cubicBezTo>
                    <a:pt x="1" y="38"/>
                    <a:pt x="1" y="38"/>
                    <a:pt x="0" y="37"/>
                  </a:cubicBezTo>
                  <a:cubicBezTo>
                    <a:pt x="1" y="38"/>
                    <a:pt x="1" y="38"/>
                    <a:pt x="1" y="38"/>
                  </a:cubicBezTo>
                  <a:cubicBezTo>
                    <a:pt x="1" y="38"/>
                    <a:pt x="1" y="38"/>
                    <a:pt x="2" y="38"/>
                  </a:cubicBezTo>
                  <a:cubicBezTo>
                    <a:pt x="2" y="38"/>
                    <a:pt x="2" y="38"/>
                    <a:pt x="3" y="39"/>
                  </a:cubicBezTo>
                  <a:cubicBezTo>
                    <a:pt x="3" y="39"/>
                    <a:pt x="4" y="40"/>
                    <a:pt x="4" y="40"/>
                  </a:cubicBezTo>
                  <a:cubicBezTo>
                    <a:pt x="4" y="41"/>
                    <a:pt x="5" y="41"/>
                    <a:pt x="5" y="42"/>
                  </a:cubicBezTo>
                  <a:cubicBezTo>
                    <a:pt x="5" y="42"/>
                    <a:pt x="5" y="42"/>
                    <a:pt x="5" y="42"/>
                  </a:cubicBezTo>
                  <a:cubicBezTo>
                    <a:pt x="5" y="43"/>
                    <a:pt x="5" y="43"/>
                    <a:pt x="5" y="43"/>
                  </a:cubicBezTo>
                  <a:cubicBezTo>
                    <a:pt x="6" y="44"/>
                    <a:pt x="6" y="44"/>
                    <a:pt x="6" y="44"/>
                  </a:cubicBezTo>
                  <a:cubicBezTo>
                    <a:pt x="6" y="45"/>
                    <a:pt x="6" y="46"/>
                    <a:pt x="6" y="47"/>
                  </a:cubicBezTo>
                  <a:cubicBezTo>
                    <a:pt x="6" y="47"/>
                    <a:pt x="6" y="48"/>
                    <a:pt x="6" y="49"/>
                  </a:cubicBezTo>
                  <a:cubicBezTo>
                    <a:pt x="6" y="49"/>
                    <a:pt x="6" y="49"/>
                    <a:pt x="6" y="49"/>
                  </a:cubicBezTo>
                  <a:cubicBezTo>
                    <a:pt x="8" y="52"/>
                    <a:pt x="10" y="54"/>
                    <a:pt x="12" y="56"/>
                  </a:cubicBezTo>
                  <a:cubicBezTo>
                    <a:pt x="13" y="58"/>
                    <a:pt x="15" y="60"/>
                    <a:pt x="16" y="62"/>
                  </a:cubicBezTo>
                  <a:cubicBezTo>
                    <a:pt x="17" y="62"/>
                    <a:pt x="17" y="62"/>
                    <a:pt x="17" y="62"/>
                  </a:cubicBezTo>
                  <a:cubicBezTo>
                    <a:pt x="17" y="62"/>
                    <a:pt x="18" y="63"/>
                    <a:pt x="19" y="63"/>
                  </a:cubicBezTo>
                  <a:cubicBezTo>
                    <a:pt x="19" y="64"/>
                    <a:pt x="19" y="64"/>
                    <a:pt x="20" y="64"/>
                  </a:cubicBezTo>
                  <a:cubicBezTo>
                    <a:pt x="20" y="65"/>
                    <a:pt x="20" y="65"/>
                    <a:pt x="20" y="65"/>
                  </a:cubicBezTo>
                  <a:cubicBezTo>
                    <a:pt x="20" y="65"/>
                    <a:pt x="20" y="65"/>
                    <a:pt x="20" y="65"/>
                  </a:cubicBezTo>
                  <a:cubicBezTo>
                    <a:pt x="21" y="66"/>
                    <a:pt x="21" y="66"/>
                    <a:pt x="21" y="66"/>
                  </a:cubicBezTo>
                  <a:cubicBezTo>
                    <a:pt x="21" y="67"/>
                    <a:pt x="21" y="67"/>
                    <a:pt x="21" y="67"/>
                  </a:cubicBezTo>
                  <a:cubicBezTo>
                    <a:pt x="22" y="68"/>
                    <a:pt x="22" y="69"/>
                    <a:pt x="22" y="70"/>
                  </a:cubicBezTo>
                  <a:cubicBezTo>
                    <a:pt x="23" y="71"/>
                    <a:pt x="23" y="72"/>
                    <a:pt x="23" y="73"/>
                  </a:cubicBezTo>
                  <a:cubicBezTo>
                    <a:pt x="23" y="74"/>
                    <a:pt x="23" y="74"/>
                    <a:pt x="23" y="74"/>
                  </a:cubicBezTo>
                  <a:cubicBezTo>
                    <a:pt x="23" y="75"/>
                    <a:pt x="23" y="75"/>
                    <a:pt x="23" y="75"/>
                  </a:cubicBezTo>
                  <a:cubicBezTo>
                    <a:pt x="25" y="72"/>
                    <a:pt x="25" y="72"/>
                    <a:pt x="25" y="72"/>
                  </a:cubicBezTo>
                  <a:cubicBezTo>
                    <a:pt x="27" y="75"/>
                    <a:pt x="27" y="75"/>
                    <a:pt x="27" y="75"/>
                  </a:cubicBezTo>
                  <a:cubicBezTo>
                    <a:pt x="28" y="76"/>
                    <a:pt x="28" y="77"/>
                    <a:pt x="28" y="78"/>
                  </a:cubicBezTo>
                  <a:cubicBezTo>
                    <a:pt x="29" y="79"/>
                    <a:pt x="28" y="80"/>
                    <a:pt x="28" y="80"/>
                  </a:cubicBezTo>
                  <a:cubicBezTo>
                    <a:pt x="28" y="81"/>
                    <a:pt x="28" y="82"/>
                    <a:pt x="27" y="83"/>
                  </a:cubicBezTo>
                  <a:cubicBezTo>
                    <a:pt x="27" y="83"/>
                    <a:pt x="27" y="83"/>
                    <a:pt x="27" y="83"/>
                  </a:cubicBezTo>
                  <a:cubicBezTo>
                    <a:pt x="27" y="84"/>
                    <a:pt x="27" y="84"/>
                    <a:pt x="27" y="84"/>
                  </a:cubicBezTo>
                  <a:cubicBezTo>
                    <a:pt x="26" y="84"/>
                    <a:pt x="26" y="84"/>
                    <a:pt x="26" y="84"/>
                  </a:cubicBezTo>
                  <a:cubicBezTo>
                    <a:pt x="25" y="86"/>
                    <a:pt x="24" y="86"/>
                    <a:pt x="22" y="86"/>
                  </a:cubicBezTo>
                  <a:cubicBezTo>
                    <a:pt x="22" y="86"/>
                    <a:pt x="22" y="86"/>
                    <a:pt x="22" y="86"/>
                  </a:cubicBezTo>
                  <a:cubicBezTo>
                    <a:pt x="22" y="87"/>
                    <a:pt x="22" y="89"/>
                    <a:pt x="22" y="90"/>
                  </a:cubicBezTo>
                  <a:cubicBezTo>
                    <a:pt x="22" y="93"/>
                    <a:pt x="22" y="93"/>
                    <a:pt x="22" y="93"/>
                  </a:cubicBezTo>
                  <a:cubicBezTo>
                    <a:pt x="23" y="94"/>
                    <a:pt x="23" y="95"/>
                    <a:pt x="22" y="96"/>
                  </a:cubicBezTo>
                  <a:cubicBezTo>
                    <a:pt x="22" y="98"/>
                    <a:pt x="22" y="99"/>
                    <a:pt x="20" y="100"/>
                  </a:cubicBezTo>
                  <a:cubicBezTo>
                    <a:pt x="19" y="101"/>
                    <a:pt x="18" y="101"/>
                    <a:pt x="17" y="102"/>
                  </a:cubicBezTo>
                  <a:cubicBezTo>
                    <a:pt x="16" y="102"/>
                    <a:pt x="15" y="102"/>
                    <a:pt x="15" y="102"/>
                  </a:cubicBezTo>
                  <a:cubicBezTo>
                    <a:pt x="15" y="102"/>
                    <a:pt x="15" y="102"/>
                    <a:pt x="15" y="102"/>
                  </a:cubicBezTo>
                  <a:cubicBezTo>
                    <a:pt x="15" y="104"/>
                    <a:pt x="16" y="105"/>
                    <a:pt x="17" y="107"/>
                  </a:cubicBezTo>
                  <a:cubicBezTo>
                    <a:pt x="19" y="111"/>
                    <a:pt x="21" y="114"/>
                    <a:pt x="24" y="118"/>
                  </a:cubicBezTo>
                  <a:cubicBezTo>
                    <a:pt x="26" y="119"/>
                    <a:pt x="26" y="119"/>
                    <a:pt x="26" y="119"/>
                  </a:cubicBezTo>
                  <a:cubicBezTo>
                    <a:pt x="26" y="120"/>
                    <a:pt x="26" y="120"/>
                    <a:pt x="27" y="121"/>
                  </a:cubicBezTo>
                  <a:cubicBezTo>
                    <a:pt x="29" y="123"/>
                    <a:pt x="29" y="123"/>
                    <a:pt x="29" y="123"/>
                  </a:cubicBezTo>
                  <a:cubicBezTo>
                    <a:pt x="30" y="124"/>
                    <a:pt x="30" y="124"/>
                    <a:pt x="30" y="124"/>
                  </a:cubicBezTo>
                  <a:cubicBezTo>
                    <a:pt x="30" y="125"/>
                    <a:pt x="30" y="125"/>
                    <a:pt x="30" y="125"/>
                  </a:cubicBezTo>
                  <a:cubicBezTo>
                    <a:pt x="31" y="125"/>
                    <a:pt x="31" y="126"/>
                    <a:pt x="32" y="126"/>
                  </a:cubicBezTo>
                  <a:cubicBezTo>
                    <a:pt x="32" y="127"/>
                    <a:pt x="33" y="128"/>
                    <a:pt x="33" y="129"/>
                  </a:cubicBezTo>
                  <a:cubicBezTo>
                    <a:pt x="34" y="130"/>
                    <a:pt x="34" y="132"/>
                    <a:pt x="34" y="135"/>
                  </a:cubicBezTo>
                  <a:cubicBezTo>
                    <a:pt x="34" y="136"/>
                    <a:pt x="34" y="136"/>
                    <a:pt x="34" y="136"/>
                  </a:cubicBezTo>
                  <a:cubicBezTo>
                    <a:pt x="34" y="136"/>
                    <a:pt x="34" y="136"/>
                    <a:pt x="34" y="137"/>
                  </a:cubicBezTo>
                  <a:cubicBezTo>
                    <a:pt x="34" y="138"/>
                    <a:pt x="34" y="138"/>
                    <a:pt x="34" y="138"/>
                  </a:cubicBezTo>
                  <a:cubicBezTo>
                    <a:pt x="34" y="139"/>
                    <a:pt x="34" y="140"/>
                    <a:pt x="33" y="142"/>
                  </a:cubicBezTo>
                  <a:cubicBezTo>
                    <a:pt x="33" y="142"/>
                    <a:pt x="33" y="142"/>
                    <a:pt x="33" y="142"/>
                  </a:cubicBezTo>
                  <a:cubicBezTo>
                    <a:pt x="33" y="142"/>
                    <a:pt x="33" y="142"/>
                    <a:pt x="33" y="142"/>
                  </a:cubicBezTo>
                  <a:cubicBezTo>
                    <a:pt x="33" y="143"/>
                    <a:pt x="33" y="143"/>
                    <a:pt x="33" y="143"/>
                  </a:cubicBezTo>
                  <a:cubicBezTo>
                    <a:pt x="33" y="144"/>
                    <a:pt x="33" y="144"/>
                    <a:pt x="33" y="144"/>
                  </a:cubicBezTo>
                  <a:cubicBezTo>
                    <a:pt x="34" y="144"/>
                    <a:pt x="34" y="144"/>
                    <a:pt x="34" y="144"/>
                  </a:cubicBezTo>
                  <a:cubicBezTo>
                    <a:pt x="34" y="145"/>
                    <a:pt x="35" y="145"/>
                    <a:pt x="35" y="146"/>
                  </a:cubicBezTo>
                  <a:cubicBezTo>
                    <a:pt x="37" y="148"/>
                    <a:pt x="38" y="150"/>
                    <a:pt x="39" y="153"/>
                  </a:cubicBezTo>
                  <a:cubicBezTo>
                    <a:pt x="39" y="153"/>
                    <a:pt x="39" y="154"/>
                    <a:pt x="39" y="155"/>
                  </a:cubicBezTo>
                  <a:cubicBezTo>
                    <a:pt x="39" y="155"/>
                    <a:pt x="39" y="155"/>
                    <a:pt x="39" y="155"/>
                  </a:cubicBezTo>
                  <a:cubicBezTo>
                    <a:pt x="39" y="156"/>
                    <a:pt x="39" y="157"/>
                    <a:pt x="39" y="158"/>
                  </a:cubicBezTo>
                  <a:cubicBezTo>
                    <a:pt x="41" y="159"/>
                    <a:pt x="41" y="161"/>
                    <a:pt x="41" y="163"/>
                  </a:cubicBezTo>
                  <a:cubicBezTo>
                    <a:pt x="41" y="163"/>
                    <a:pt x="41" y="164"/>
                    <a:pt x="42" y="164"/>
                  </a:cubicBezTo>
                  <a:cubicBezTo>
                    <a:pt x="44" y="165"/>
                    <a:pt x="44" y="165"/>
                    <a:pt x="44" y="165"/>
                  </a:cubicBezTo>
                  <a:cubicBezTo>
                    <a:pt x="42" y="167"/>
                    <a:pt x="42" y="167"/>
                    <a:pt x="42" y="167"/>
                  </a:cubicBezTo>
                  <a:cubicBezTo>
                    <a:pt x="41" y="169"/>
                    <a:pt x="40" y="171"/>
                    <a:pt x="39" y="174"/>
                  </a:cubicBezTo>
                  <a:cubicBezTo>
                    <a:pt x="38" y="176"/>
                    <a:pt x="36" y="178"/>
                    <a:pt x="35" y="180"/>
                  </a:cubicBezTo>
                  <a:cubicBezTo>
                    <a:pt x="33" y="182"/>
                    <a:pt x="32" y="184"/>
                    <a:pt x="31" y="185"/>
                  </a:cubicBezTo>
                  <a:cubicBezTo>
                    <a:pt x="29" y="187"/>
                    <a:pt x="28" y="189"/>
                    <a:pt x="27" y="192"/>
                  </a:cubicBezTo>
                  <a:cubicBezTo>
                    <a:pt x="21" y="204"/>
                    <a:pt x="21" y="204"/>
                    <a:pt x="21" y="204"/>
                  </a:cubicBezTo>
                  <a:cubicBezTo>
                    <a:pt x="20" y="203"/>
                    <a:pt x="20" y="203"/>
                    <a:pt x="20" y="203"/>
                  </a:cubicBezTo>
                  <a:cubicBezTo>
                    <a:pt x="20" y="204"/>
                    <a:pt x="20" y="204"/>
                    <a:pt x="20" y="204"/>
                  </a:cubicBezTo>
                  <a:cubicBezTo>
                    <a:pt x="18" y="208"/>
                    <a:pt x="16" y="213"/>
                    <a:pt x="15" y="217"/>
                  </a:cubicBezTo>
                  <a:cubicBezTo>
                    <a:pt x="15" y="218"/>
                    <a:pt x="15" y="219"/>
                    <a:pt x="15" y="219"/>
                  </a:cubicBezTo>
                  <a:cubicBezTo>
                    <a:pt x="14" y="219"/>
                    <a:pt x="14" y="218"/>
                    <a:pt x="14" y="218"/>
                  </a:cubicBezTo>
                  <a:cubicBezTo>
                    <a:pt x="14" y="218"/>
                    <a:pt x="14" y="218"/>
                    <a:pt x="14" y="218"/>
                  </a:cubicBezTo>
                  <a:cubicBezTo>
                    <a:pt x="14" y="218"/>
                    <a:pt x="14" y="219"/>
                    <a:pt x="15" y="219"/>
                  </a:cubicBezTo>
                  <a:cubicBezTo>
                    <a:pt x="15" y="221"/>
                    <a:pt x="14" y="222"/>
                    <a:pt x="14" y="224"/>
                  </a:cubicBezTo>
                  <a:cubicBezTo>
                    <a:pt x="13" y="225"/>
                    <a:pt x="13" y="228"/>
                    <a:pt x="13" y="230"/>
                  </a:cubicBezTo>
                  <a:cubicBezTo>
                    <a:pt x="13" y="229"/>
                    <a:pt x="13" y="229"/>
                    <a:pt x="13" y="229"/>
                  </a:cubicBezTo>
                  <a:cubicBezTo>
                    <a:pt x="12" y="230"/>
                    <a:pt x="13" y="233"/>
                    <a:pt x="14" y="235"/>
                  </a:cubicBezTo>
                  <a:cubicBezTo>
                    <a:pt x="15" y="236"/>
                    <a:pt x="16" y="237"/>
                    <a:pt x="16" y="237"/>
                  </a:cubicBezTo>
                  <a:cubicBezTo>
                    <a:pt x="17" y="237"/>
                    <a:pt x="18" y="236"/>
                    <a:pt x="17" y="234"/>
                  </a:cubicBezTo>
                  <a:cubicBezTo>
                    <a:pt x="18" y="234"/>
                    <a:pt x="19" y="233"/>
                    <a:pt x="20" y="233"/>
                  </a:cubicBezTo>
                  <a:cubicBezTo>
                    <a:pt x="22" y="233"/>
                    <a:pt x="22" y="234"/>
                    <a:pt x="24" y="236"/>
                  </a:cubicBezTo>
                  <a:cubicBezTo>
                    <a:pt x="25" y="237"/>
                    <a:pt x="28" y="242"/>
                    <a:pt x="29" y="242"/>
                  </a:cubicBezTo>
                  <a:cubicBezTo>
                    <a:pt x="29" y="242"/>
                    <a:pt x="29" y="242"/>
                    <a:pt x="29" y="242"/>
                  </a:cubicBezTo>
                  <a:cubicBezTo>
                    <a:pt x="29" y="242"/>
                    <a:pt x="28" y="245"/>
                    <a:pt x="29" y="246"/>
                  </a:cubicBezTo>
                  <a:cubicBezTo>
                    <a:pt x="30" y="246"/>
                    <a:pt x="32" y="246"/>
                    <a:pt x="33" y="247"/>
                  </a:cubicBezTo>
                  <a:cubicBezTo>
                    <a:pt x="33" y="248"/>
                    <a:pt x="34" y="251"/>
                    <a:pt x="34" y="252"/>
                  </a:cubicBezTo>
                  <a:cubicBezTo>
                    <a:pt x="35" y="253"/>
                    <a:pt x="35" y="253"/>
                    <a:pt x="36" y="253"/>
                  </a:cubicBezTo>
                  <a:cubicBezTo>
                    <a:pt x="36" y="253"/>
                    <a:pt x="36" y="253"/>
                    <a:pt x="37" y="252"/>
                  </a:cubicBezTo>
                  <a:cubicBezTo>
                    <a:pt x="37" y="252"/>
                    <a:pt x="38" y="252"/>
                    <a:pt x="38" y="252"/>
                  </a:cubicBezTo>
                  <a:cubicBezTo>
                    <a:pt x="39" y="252"/>
                    <a:pt x="39" y="252"/>
                    <a:pt x="39" y="252"/>
                  </a:cubicBezTo>
                  <a:cubicBezTo>
                    <a:pt x="38" y="255"/>
                    <a:pt x="38" y="256"/>
                    <a:pt x="42" y="257"/>
                  </a:cubicBezTo>
                  <a:cubicBezTo>
                    <a:pt x="41" y="258"/>
                    <a:pt x="41" y="259"/>
                    <a:pt x="41" y="261"/>
                  </a:cubicBezTo>
                  <a:cubicBezTo>
                    <a:pt x="41" y="263"/>
                    <a:pt x="45" y="266"/>
                    <a:pt x="47" y="268"/>
                  </a:cubicBezTo>
                  <a:cubicBezTo>
                    <a:pt x="48" y="267"/>
                    <a:pt x="48" y="267"/>
                    <a:pt x="48" y="267"/>
                  </a:cubicBezTo>
                  <a:cubicBezTo>
                    <a:pt x="48" y="267"/>
                    <a:pt x="48" y="266"/>
                    <a:pt x="48" y="265"/>
                  </a:cubicBezTo>
                  <a:cubicBezTo>
                    <a:pt x="50" y="260"/>
                    <a:pt x="50" y="260"/>
                    <a:pt x="50" y="260"/>
                  </a:cubicBezTo>
                  <a:cubicBezTo>
                    <a:pt x="52" y="263"/>
                    <a:pt x="52" y="263"/>
                    <a:pt x="52" y="263"/>
                  </a:cubicBezTo>
                  <a:cubicBezTo>
                    <a:pt x="55" y="265"/>
                    <a:pt x="55" y="265"/>
                    <a:pt x="57" y="266"/>
                  </a:cubicBezTo>
                  <a:cubicBezTo>
                    <a:pt x="58" y="266"/>
                    <a:pt x="60" y="266"/>
                    <a:pt x="61" y="267"/>
                  </a:cubicBezTo>
                  <a:cubicBezTo>
                    <a:pt x="62" y="267"/>
                    <a:pt x="62" y="267"/>
                    <a:pt x="62" y="267"/>
                  </a:cubicBezTo>
                  <a:cubicBezTo>
                    <a:pt x="62" y="267"/>
                    <a:pt x="63" y="267"/>
                    <a:pt x="63" y="268"/>
                  </a:cubicBezTo>
                  <a:cubicBezTo>
                    <a:pt x="64" y="268"/>
                    <a:pt x="64" y="268"/>
                    <a:pt x="64" y="268"/>
                  </a:cubicBezTo>
                  <a:cubicBezTo>
                    <a:pt x="65" y="269"/>
                    <a:pt x="65" y="270"/>
                    <a:pt x="65" y="271"/>
                  </a:cubicBezTo>
                  <a:cubicBezTo>
                    <a:pt x="65" y="271"/>
                    <a:pt x="65" y="271"/>
                    <a:pt x="65" y="271"/>
                  </a:cubicBezTo>
                  <a:cubicBezTo>
                    <a:pt x="66" y="271"/>
                    <a:pt x="66" y="271"/>
                    <a:pt x="67" y="271"/>
                  </a:cubicBezTo>
                  <a:cubicBezTo>
                    <a:pt x="68" y="271"/>
                    <a:pt x="69" y="271"/>
                    <a:pt x="70" y="272"/>
                  </a:cubicBezTo>
                  <a:cubicBezTo>
                    <a:pt x="71" y="273"/>
                    <a:pt x="71" y="275"/>
                    <a:pt x="71" y="277"/>
                  </a:cubicBezTo>
                  <a:cubicBezTo>
                    <a:pt x="70" y="278"/>
                    <a:pt x="70" y="279"/>
                    <a:pt x="69" y="280"/>
                  </a:cubicBezTo>
                  <a:cubicBezTo>
                    <a:pt x="69" y="281"/>
                    <a:pt x="69" y="281"/>
                    <a:pt x="68" y="282"/>
                  </a:cubicBezTo>
                  <a:cubicBezTo>
                    <a:pt x="69" y="282"/>
                    <a:pt x="69" y="282"/>
                    <a:pt x="69" y="282"/>
                  </a:cubicBezTo>
                  <a:cubicBezTo>
                    <a:pt x="69" y="282"/>
                    <a:pt x="70" y="282"/>
                    <a:pt x="70" y="281"/>
                  </a:cubicBezTo>
                  <a:cubicBezTo>
                    <a:pt x="71" y="280"/>
                    <a:pt x="71" y="280"/>
                    <a:pt x="71" y="280"/>
                  </a:cubicBezTo>
                  <a:cubicBezTo>
                    <a:pt x="72" y="279"/>
                    <a:pt x="73" y="278"/>
                    <a:pt x="76" y="278"/>
                  </a:cubicBezTo>
                  <a:cubicBezTo>
                    <a:pt x="77" y="278"/>
                    <a:pt x="78" y="279"/>
                    <a:pt x="79" y="280"/>
                  </a:cubicBezTo>
                  <a:cubicBezTo>
                    <a:pt x="80" y="280"/>
                    <a:pt x="80" y="280"/>
                    <a:pt x="80" y="280"/>
                  </a:cubicBezTo>
                  <a:cubicBezTo>
                    <a:pt x="82" y="280"/>
                    <a:pt x="82" y="279"/>
                    <a:pt x="83" y="277"/>
                  </a:cubicBezTo>
                  <a:cubicBezTo>
                    <a:pt x="84" y="276"/>
                    <a:pt x="84" y="274"/>
                    <a:pt x="85" y="273"/>
                  </a:cubicBezTo>
                  <a:cubicBezTo>
                    <a:pt x="85" y="272"/>
                    <a:pt x="85" y="272"/>
                    <a:pt x="85" y="272"/>
                  </a:cubicBezTo>
                  <a:cubicBezTo>
                    <a:pt x="84" y="272"/>
                    <a:pt x="84" y="271"/>
                    <a:pt x="83" y="270"/>
                  </a:cubicBezTo>
                  <a:cubicBezTo>
                    <a:pt x="82" y="269"/>
                    <a:pt x="80" y="268"/>
                    <a:pt x="79" y="266"/>
                  </a:cubicBezTo>
                  <a:cubicBezTo>
                    <a:pt x="77" y="263"/>
                    <a:pt x="75" y="260"/>
                    <a:pt x="71" y="260"/>
                  </a:cubicBezTo>
                  <a:cubicBezTo>
                    <a:pt x="72" y="260"/>
                    <a:pt x="72" y="261"/>
                    <a:pt x="73" y="261"/>
                  </a:cubicBezTo>
                  <a:cubicBezTo>
                    <a:pt x="72" y="261"/>
                    <a:pt x="72" y="261"/>
                    <a:pt x="72" y="261"/>
                  </a:cubicBezTo>
                  <a:cubicBezTo>
                    <a:pt x="71" y="261"/>
                    <a:pt x="71" y="261"/>
                    <a:pt x="70" y="262"/>
                  </a:cubicBezTo>
                  <a:cubicBezTo>
                    <a:pt x="69" y="262"/>
                    <a:pt x="69" y="262"/>
                    <a:pt x="68" y="262"/>
                  </a:cubicBezTo>
                  <a:cubicBezTo>
                    <a:pt x="68" y="262"/>
                    <a:pt x="67" y="262"/>
                    <a:pt x="67" y="262"/>
                  </a:cubicBezTo>
                  <a:cubicBezTo>
                    <a:pt x="66" y="261"/>
                    <a:pt x="60" y="255"/>
                    <a:pt x="58" y="255"/>
                  </a:cubicBezTo>
                  <a:cubicBezTo>
                    <a:pt x="58" y="255"/>
                    <a:pt x="58" y="255"/>
                    <a:pt x="58" y="255"/>
                  </a:cubicBezTo>
                  <a:cubicBezTo>
                    <a:pt x="57" y="256"/>
                    <a:pt x="57" y="256"/>
                    <a:pt x="56" y="256"/>
                  </a:cubicBezTo>
                  <a:cubicBezTo>
                    <a:pt x="55" y="256"/>
                    <a:pt x="55" y="256"/>
                    <a:pt x="55" y="256"/>
                  </a:cubicBezTo>
                  <a:cubicBezTo>
                    <a:pt x="54" y="255"/>
                    <a:pt x="54" y="254"/>
                    <a:pt x="54" y="253"/>
                  </a:cubicBezTo>
                  <a:cubicBezTo>
                    <a:pt x="53" y="252"/>
                    <a:pt x="52" y="251"/>
                    <a:pt x="51" y="250"/>
                  </a:cubicBezTo>
                  <a:cubicBezTo>
                    <a:pt x="49" y="248"/>
                    <a:pt x="50" y="247"/>
                    <a:pt x="51" y="244"/>
                  </a:cubicBezTo>
                  <a:cubicBezTo>
                    <a:pt x="53" y="248"/>
                    <a:pt x="55" y="252"/>
                    <a:pt x="58" y="255"/>
                  </a:cubicBezTo>
                  <a:cubicBezTo>
                    <a:pt x="58" y="254"/>
                    <a:pt x="57" y="254"/>
                    <a:pt x="57" y="253"/>
                  </a:cubicBezTo>
                  <a:cubicBezTo>
                    <a:pt x="55" y="249"/>
                    <a:pt x="55" y="245"/>
                    <a:pt x="53" y="241"/>
                  </a:cubicBezTo>
                  <a:cubicBezTo>
                    <a:pt x="51" y="235"/>
                    <a:pt x="49" y="230"/>
                    <a:pt x="46" y="224"/>
                  </a:cubicBezTo>
                  <a:cubicBezTo>
                    <a:pt x="45" y="221"/>
                    <a:pt x="44" y="218"/>
                    <a:pt x="43" y="215"/>
                  </a:cubicBezTo>
                  <a:cubicBezTo>
                    <a:pt x="43" y="215"/>
                    <a:pt x="42" y="215"/>
                    <a:pt x="41" y="215"/>
                  </a:cubicBezTo>
                  <a:cubicBezTo>
                    <a:pt x="40" y="215"/>
                    <a:pt x="38" y="216"/>
                    <a:pt x="37" y="216"/>
                  </a:cubicBezTo>
                  <a:cubicBezTo>
                    <a:pt x="36" y="216"/>
                    <a:pt x="35" y="216"/>
                    <a:pt x="34" y="216"/>
                  </a:cubicBezTo>
                  <a:cubicBezTo>
                    <a:pt x="33" y="216"/>
                    <a:pt x="32" y="216"/>
                    <a:pt x="32" y="215"/>
                  </a:cubicBezTo>
                  <a:cubicBezTo>
                    <a:pt x="32" y="214"/>
                    <a:pt x="33" y="213"/>
                    <a:pt x="34" y="213"/>
                  </a:cubicBezTo>
                  <a:cubicBezTo>
                    <a:pt x="33" y="212"/>
                    <a:pt x="32" y="211"/>
                    <a:pt x="32" y="210"/>
                  </a:cubicBezTo>
                  <a:cubicBezTo>
                    <a:pt x="31" y="208"/>
                    <a:pt x="30" y="207"/>
                    <a:pt x="31" y="205"/>
                  </a:cubicBezTo>
                  <a:cubicBezTo>
                    <a:pt x="31" y="201"/>
                    <a:pt x="33" y="198"/>
                    <a:pt x="31" y="194"/>
                  </a:cubicBezTo>
                  <a:cubicBezTo>
                    <a:pt x="32" y="194"/>
                    <a:pt x="33" y="191"/>
                    <a:pt x="34" y="190"/>
                  </a:cubicBezTo>
                  <a:cubicBezTo>
                    <a:pt x="35" y="186"/>
                    <a:pt x="37" y="183"/>
                    <a:pt x="39" y="180"/>
                  </a:cubicBezTo>
                  <a:cubicBezTo>
                    <a:pt x="41" y="174"/>
                    <a:pt x="44" y="167"/>
                    <a:pt x="46" y="161"/>
                  </a:cubicBezTo>
                  <a:cubicBezTo>
                    <a:pt x="47" y="159"/>
                    <a:pt x="47" y="159"/>
                    <a:pt x="47" y="158"/>
                  </a:cubicBezTo>
                  <a:cubicBezTo>
                    <a:pt x="47" y="156"/>
                    <a:pt x="46" y="153"/>
                    <a:pt x="46" y="151"/>
                  </a:cubicBezTo>
                  <a:cubicBezTo>
                    <a:pt x="46" y="148"/>
                    <a:pt x="49" y="145"/>
                    <a:pt x="48" y="142"/>
                  </a:cubicBezTo>
                  <a:cubicBezTo>
                    <a:pt x="48" y="140"/>
                    <a:pt x="46" y="138"/>
                    <a:pt x="47" y="137"/>
                  </a:cubicBezTo>
                  <a:cubicBezTo>
                    <a:pt x="49" y="135"/>
                    <a:pt x="51" y="135"/>
                    <a:pt x="54" y="134"/>
                  </a:cubicBezTo>
                  <a:cubicBezTo>
                    <a:pt x="54" y="134"/>
                    <a:pt x="55" y="134"/>
                    <a:pt x="55" y="134"/>
                  </a:cubicBezTo>
                  <a:cubicBezTo>
                    <a:pt x="53" y="133"/>
                    <a:pt x="52" y="131"/>
                    <a:pt x="52" y="129"/>
                  </a:cubicBezTo>
                  <a:cubicBezTo>
                    <a:pt x="52" y="126"/>
                    <a:pt x="54" y="124"/>
                    <a:pt x="57" y="124"/>
                  </a:cubicBezTo>
                  <a:cubicBezTo>
                    <a:pt x="60" y="124"/>
                    <a:pt x="62" y="126"/>
                    <a:pt x="62" y="129"/>
                  </a:cubicBezTo>
                  <a:cubicBezTo>
                    <a:pt x="62" y="131"/>
                    <a:pt x="62" y="132"/>
                    <a:pt x="60" y="133"/>
                  </a:cubicBezTo>
                  <a:cubicBezTo>
                    <a:pt x="62" y="134"/>
                    <a:pt x="64" y="135"/>
                    <a:pt x="65" y="135"/>
                  </a:cubicBezTo>
                  <a:cubicBezTo>
                    <a:pt x="65" y="139"/>
                    <a:pt x="64" y="144"/>
                    <a:pt x="63" y="148"/>
                  </a:cubicBezTo>
                  <a:cubicBezTo>
                    <a:pt x="63" y="150"/>
                    <a:pt x="64" y="151"/>
                    <a:pt x="65" y="151"/>
                  </a:cubicBezTo>
                  <a:cubicBezTo>
                    <a:pt x="65" y="151"/>
                    <a:pt x="66" y="151"/>
                    <a:pt x="67" y="151"/>
                  </a:cubicBezTo>
                  <a:cubicBezTo>
                    <a:pt x="70" y="150"/>
                    <a:pt x="73" y="150"/>
                    <a:pt x="77" y="150"/>
                  </a:cubicBezTo>
                  <a:cubicBezTo>
                    <a:pt x="78" y="150"/>
                    <a:pt x="79" y="150"/>
                    <a:pt x="80" y="150"/>
                  </a:cubicBezTo>
                  <a:cubicBezTo>
                    <a:pt x="80" y="150"/>
                    <a:pt x="81" y="150"/>
                    <a:pt x="82" y="150"/>
                  </a:cubicBezTo>
                  <a:cubicBezTo>
                    <a:pt x="83" y="152"/>
                    <a:pt x="87" y="157"/>
                    <a:pt x="90" y="157"/>
                  </a:cubicBezTo>
                  <a:cubicBezTo>
                    <a:pt x="91" y="157"/>
                    <a:pt x="91" y="157"/>
                    <a:pt x="92" y="156"/>
                  </a:cubicBezTo>
                  <a:cubicBezTo>
                    <a:pt x="90" y="160"/>
                    <a:pt x="90" y="159"/>
                    <a:pt x="93" y="160"/>
                  </a:cubicBezTo>
                  <a:cubicBezTo>
                    <a:pt x="94" y="160"/>
                    <a:pt x="95" y="162"/>
                    <a:pt x="96" y="162"/>
                  </a:cubicBezTo>
                  <a:cubicBezTo>
                    <a:pt x="96" y="162"/>
                    <a:pt x="97" y="162"/>
                    <a:pt x="97" y="162"/>
                  </a:cubicBezTo>
                  <a:cubicBezTo>
                    <a:pt x="97" y="162"/>
                    <a:pt x="98" y="162"/>
                    <a:pt x="98" y="162"/>
                  </a:cubicBezTo>
                  <a:cubicBezTo>
                    <a:pt x="98" y="161"/>
                    <a:pt x="98" y="159"/>
                    <a:pt x="98" y="157"/>
                  </a:cubicBezTo>
                  <a:cubicBezTo>
                    <a:pt x="98" y="156"/>
                    <a:pt x="98" y="156"/>
                    <a:pt x="98" y="156"/>
                  </a:cubicBezTo>
                  <a:cubicBezTo>
                    <a:pt x="97" y="156"/>
                    <a:pt x="97" y="156"/>
                    <a:pt x="97" y="156"/>
                  </a:cubicBezTo>
                  <a:cubicBezTo>
                    <a:pt x="97" y="155"/>
                    <a:pt x="97" y="155"/>
                    <a:pt x="97" y="155"/>
                  </a:cubicBezTo>
                  <a:cubicBezTo>
                    <a:pt x="97" y="155"/>
                    <a:pt x="97" y="155"/>
                    <a:pt x="96" y="154"/>
                  </a:cubicBezTo>
                  <a:cubicBezTo>
                    <a:pt x="94" y="153"/>
                    <a:pt x="94" y="153"/>
                    <a:pt x="94" y="153"/>
                  </a:cubicBezTo>
                  <a:cubicBezTo>
                    <a:pt x="94" y="152"/>
                    <a:pt x="93" y="152"/>
                    <a:pt x="93" y="151"/>
                  </a:cubicBezTo>
                  <a:cubicBezTo>
                    <a:pt x="92" y="150"/>
                    <a:pt x="92" y="148"/>
                    <a:pt x="92" y="146"/>
                  </a:cubicBezTo>
                  <a:cubicBezTo>
                    <a:pt x="93" y="146"/>
                    <a:pt x="93" y="146"/>
                    <a:pt x="93" y="146"/>
                  </a:cubicBezTo>
                  <a:cubicBezTo>
                    <a:pt x="92" y="145"/>
                    <a:pt x="92" y="144"/>
                    <a:pt x="92" y="143"/>
                  </a:cubicBezTo>
                  <a:cubicBezTo>
                    <a:pt x="91" y="142"/>
                    <a:pt x="91" y="142"/>
                    <a:pt x="91" y="142"/>
                  </a:cubicBezTo>
                  <a:cubicBezTo>
                    <a:pt x="90" y="139"/>
                    <a:pt x="87" y="135"/>
                    <a:pt x="91" y="132"/>
                  </a:cubicBezTo>
                  <a:cubicBezTo>
                    <a:pt x="92" y="131"/>
                    <a:pt x="92" y="131"/>
                    <a:pt x="92" y="131"/>
                  </a:cubicBezTo>
                  <a:cubicBezTo>
                    <a:pt x="92" y="131"/>
                    <a:pt x="93" y="130"/>
                    <a:pt x="93" y="130"/>
                  </a:cubicBezTo>
                  <a:cubicBezTo>
                    <a:pt x="95" y="128"/>
                    <a:pt x="97" y="126"/>
                    <a:pt x="99" y="123"/>
                  </a:cubicBezTo>
                  <a:cubicBezTo>
                    <a:pt x="99" y="122"/>
                    <a:pt x="100" y="121"/>
                    <a:pt x="101" y="119"/>
                  </a:cubicBezTo>
                  <a:cubicBezTo>
                    <a:pt x="101" y="119"/>
                    <a:pt x="102" y="119"/>
                    <a:pt x="102" y="118"/>
                  </a:cubicBezTo>
                  <a:cubicBezTo>
                    <a:pt x="104" y="116"/>
                    <a:pt x="107" y="115"/>
                    <a:pt x="111" y="115"/>
                  </a:cubicBezTo>
                  <a:cubicBezTo>
                    <a:pt x="112" y="114"/>
                    <a:pt x="113" y="114"/>
                    <a:pt x="114" y="114"/>
                  </a:cubicBezTo>
                  <a:cubicBezTo>
                    <a:pt x="114" y="114"/>
                    <a:pt x="115" y="114"/>
                    <a:pt x="115" y="114"/>
                  </a:cubicBezTo>
                  <a:cubicBezTo>
                    <a:pt x="118" y="114"/>
                    <a:pt x="120" y="114"/>
                    <a:pt x="122" y="115"/>
                  </a:cubicBezTo>
                  <a:cubicBezTo>
                    <a:pt x="122" y="115"/>
                    <a:pt x="122" y="115"/>
                    <a:pt x="122" y="115"/>
                  </a:cubicBezTo>
                  <a:cubicBezTo>
                    <a:pt x="124" y="115"/>
                    <a:pt x="126" y="115"/>
                    <a:pt x="127" y="115"/>
                  </a:cubicBezTo>
                  <a:cubicBezTo>
                    <a:pt x="127" y="115"/>
                    <a:pt x="128" y="115"/>
                    <a:pt x="128" y="115"/>
                  </a:cubicBezTo>
                  <a:cubicBezTo>
                    <a:pt x="130" y="115"/>
                    <a:pt x="132" y="115"/>
                    <a:pt x="133" y="115"/>
                  </a:cubicBezTo>
                  <a:cubicBezTo>
                    <a:pt x="135" y="114"/>
                    <a:pt x="135" y="114"/>
                    <a:pt x="135" y="114"/>
                  </a:cubicBezTo>
                  <a:cubicBezTo>
                    <a:pt x="136" y="114"/>
                    <a:pt x="138" y="114"/>
                    <a:pt x="139" y="114"/>
                  </a:cubicBezTo>
                  <a:cubicBezTo>
                    <a:pt x="139" y="114"/>
                    <a:pt x="139" y="114"/>
                    <a:pt x="140" y="114"/>
                  </a:cubicBezTo>
                  <a:cubicBezTo>
                    <a:pt x="140" y="114"/>
                    <a:pt x="140" y="114"/>
                    <a:pt x="140" y="114"/>
                  </a:cubicBezTo>
                  <a:cubicBezTo>
                    <a:pt x="141" y="114"/>
                    <a:pt x="142" y="114"/>
                    <a:pt x="143" y="115"/>
                  </a:cubicBezTo>
                  <a:cubicBezTo>
                    <a:pt x="144" y="115"/>
                    <a:pt x="144" y="115"/>
                    <a:pt x="144" y="116"/>
                  </a:cubicBezTo>
                  <a:cubicBezTo>
                    <a:pt x="147" y="115"/>
                    <a:pt x="147" y="115"/>
                    <a:pt x="147" y="115"/>
                  </a:cubicBezTo>
                  <a:cubicBezTo>
                    <a:pt x="147" y="115"/>
                    <a:pt x="147" y="115"/>
                    <a:pt x="147" y="115"/>
                  </a:cubicBezTo>
                  <a:cubicBezTo>
                    <a:pt x="148" y="114"/>
                    <a:pt x="149" y="114"/>
                    <a:pt x="149" y="114"/>
                  </a:cubicBezTo>
                  <a:cubicBezTo>
                    <a:pt x="150" y="113"/>
                    <a:pt x="150" y="113"/>
                    <a:pt x="150" y="113"/>
                  </a:cubicBezTo>
                  <a:cubicBezTo>
                    <a:pt x="150" y="111"/>
                    <a:pt x="150" y="109"/>
                    <a:pt x="149" y="107"/>
                  </a:cubicBezTo>
                  <a:cubicBezTo>
                    <a:pt x="149" y="105"/>
                    <a:pt x="148" y="103"/>
                    <a:pt x="149" y="101"/>
                  </a:cubicBezTo>
                  <a:cubicBezTo>
                    <a:pt x="149" y="99"/>
                    <a:pt x="149" y="98"/>
                    <a:pt x="149" y="97"/>
                  </a:cubicBezTo>
                  <a:cubicBezTo>
                    <a:pt x="150" y="96"/>
                    <a:pt x="151" y="95"/>
                    <a:pt x="151" y="95"/>
                  </a:cubicBezTo>
                  <a:cubicBezTo>
                    <a:pt x="151" y="95"/>
                    <a:pt x="151" y="95"/>
                    <a:pt x="152" y="94"/>
                  </a:cubicBezTo>
                  <a:cubicBezTo>
                    <a:pt x="152" y="94"/>
                    <a:pt x="152" y="93"/>
                    <a:pt x="152" y="93"/>
                  </a:cubicBezTo>
                  <a:cubicBezTo>
                    <a:pt x="152" y="93"/>
                    <a:pt x="152" y="93"/>
                    <a:pt x="152" y="93"/>
                  </a:cubicBezTo>
                  <a:cubicBezTo>
                    <a:pt x="151" y="93"/>
                    <a:pt x="151" y="93"/>
                    <a:pt x="151" y="93"/>
                  </a:cubicBezTo>
                  <a:cubicBezTo>
                    <a:pt x="150" y="93"/>
                    <a:pt x="149" y="92"/>
                    <a:pt x="148" y="91"/>
                  </a:cubicBezTo>
                  <a:cubicBezTo>
                    <a:pt x="147" y="90"/>
                    <a:pt x="147" y="89"/>
                    <a:pt x="147" y="88"/>
                  </a:cubicBezTo>
                  <a:cubicBezTo>
                    <a:pt x="147" y="87"/>
                    <a:pt x="147" y="87"/>
                    <a:pt x="147" y="87"/>
                  </a:cubicBezTo>
                  <a:cubicBezTo>
                    <a:pt x="145" y="87"/>
                    <a:pt x="144" y="86"/>
                    <a:pt x="143" y="85"/>
                  </a:cubicBezTo>
                  <a:cubicBezTo>
                    <a:pt x="142" y="84"/>
                    <a:pt x="141" y="83"/>
                    <a:pt x="141" y="82"/>
                  </a:cubicBezTo>
                  <a:cubicBezTo>
                    <a:pt x="140" y="82"/>
                    <a:pt x="140" y="81"/>
                    <a:pt x="139" y="81"/>
                  </a:cubicBezTo>
                  <a:cubicBezTo>
                    <a:pt x="139" y="80"/>
                    <a:pt x="139" y="80"/>
                    <a:pt x="139" y="80"/>
                  </a:cubicBezTo>
                  <a:cubicBezTo>
                    <a:pt x="138" y="80"/>
                    <a:pt x="138" y="79"/>
                    <a:pt x="137" y="78"/>
                  </a:cubicBezTo>
                  <a:cubicBezTo>
                    <a:pt x="136" y="77"/>
                    <a:pt x="136" y="77"/>
                    <a:pt x="136" y="77"/>
                  </a:cubicBezTo>
                  <a:cubicBezTo>
                    <a:pt x="136" y="77"/>
                    <a:pt x="136" y="77"/>
                    <a:pt x="136" y="77"/>
                  </a:cubicBezTo>
                  <a:cubicBezTo>
                    <a:pt x="136" y="76"/>
                    <a:pt x="135" y="76"/>
                    <a:pt x="135" y="75"/>
                  </a:cubicBezTo>
                  <a:cubicBezTo>
                    <a:pt x="135" y="74"/>
                    <a:pt x="135" y="73"/>
                    <a:pt x="135" y="73"/>
                  </a:cubicBezTo>
                  <a:cubicBezTo>
                    <a:pt x="135" y="73"/>
                    <a:pt x="135" y="73"/>
                    <a:pt x="135" y="73"/>
                  </a:cubicBezTo>
                  <a:cubicBezTo>
                    <a:pt x="135" y="70"/>
                    <a:pt x="135" y="67"/>
                    <a:pt x="135" y="65"/>
                  </a:cubicBezTo>
                  <a:cubicBezTo>
                    <a:pt x="136" y="64"/>
                    <a:pt x="136" y="64"/>
                    <a:pt x="136" y="64"/>
                  </a:cubicBezTo>
                  <a:cubicBezTo>
                    <a:pt x="136" y="64"/>
                    <a:pt x="136" y="63"/>
                    <a:pt x="136" y="63"/>
                  </a:cubicBezTo>
                  <a:cubicBezTo>
                    <a:pt x="136" y="62"/>
                    <a:pt x="136" y="62"/>
                    <a:pt x="136" y="62"/>
                  </a:cubicBezTo>
                  <a:cubicBezTo>
                    <a:pt x="136" y="62"/>
                    <a:pt x="136" y="62"/>
                    <a:pt x="136" y="61"/>
                  </a:cubicBezTo>
                  <a:cubicBezTo>
                    <a:pt x="136" y="60"/>
                    <a:pt x="136" y="60"/>
                    <a:pt x="136" y="60"/>
                  </a:cubicBezTo>
                  <a:cubicBezTo>
                    <a:pt x="136" y="60"/>
                    <a:pt x="136" y="60"/>
                    <a:pt x="136" y="60"/>
                  </a:cubicBezTo>
                  <a:cubicBezTo>
                    <a:pt x="136" y="60"/>
                    <a:pt x="136" y="60"/>
                    <a:pt x="136" y="59"/>
                  </a:cubicBezTo>
                  <a:cubicBezTo>
                    <a:pt x="135" y="59"/>
                    <a:pt x="134" y="58"/>
                    <a:pt x="134" y="57"/>
                  </a:cubicBezTo>
                  <a:cubicBezTo>
                    <a:pt x="133" y="56"/>
                    <a:pt x="133" y="56"/>
                    <a:pt x="133" y="56"/>
                  </a:cubicBezTo>
                  <a:cubicBezTo>
                    <a:pt x="130" y="54"/>
                    <a:pt x="127" y="51"/>
                    <a:pt x="125" y="48"/>
                  </a:cubicBezTo>
                  <a:cubicBezTo>
                    <a:pt x="125" y="47"/>
                    <a:pt x="125" y="47"/>
                    <a:pt x="124" y="46"/>
                  </a:cubicBezTo>
                  <a:cubicBezTo>
                    <a:pt x="124" y="45"/>
                    <a:pt x="124" y="45"/>
                    <a:pt x="124" y="45"/>
                  </a:cubicBezTo>
                  <a:cubicBezTo>
                    <a:pt x="123" y="45"/>
                    <a:pt x="123" y="44"/>
                    <a:pt x="123" y="44"/>
                  </a:cubicBezTo>
                  <a:cubicBezTo>
                    <a:pt x="121" y="42"/>
                    <a:pt x="121" y="42"/>
                    <a:pt x="118" y="41"/>
                  </a:cubicBezTo>
                  <a:cubicBezTo>
                    <a:pt x="117" y="41"/>
                    <a:pt x="116" y="41"/>
                    <a:pt x="115" y="41"/>
                  </a:cubicBezTo>
                  <a:cubicBezTo>
                    <a:pt x="114" y="40"/>
                    <a:pt x="114" y="40"/>
                    <a:pt x="114" y="40"/>
                  </a:cubicBezTo>
                  <a:cubicBezTo>
                    <a:pt x="114" y="40"/>
                    <a:pt x="114" y="40"/>
                    <a:pt x="114" y="40"/>
                  </a:cubicBezTo>
                  <a:cubicBezTo>
                    <a:pt x="113" y="40"/>
                    <a:pt x="113" y="40"/>
                    <a:pt x="113" y="40"/>
                  </a:cubicBezTo>
                  <a:cubicBezTo>
                    <a:pt x="113" y="40"/>
                    <a:pt x="113" y="40"/>
                    <a:pt x="112" y="40"/>
                  </a:cubicBezTo>
                  <a:cubicBezTo>
                    <a:pt x="112" y="41"/>
                    <a:pt x="112" y="41"/>
                    <a:pt x="112" y="41"/>
                  </a:cubicBezTo>
                  <a:cubicBezTo>
                    <a:pt x="112" y="41"/>
                    <a:pt x="112" y="41"/>
                    <a:pt x="112" y="41"/>
                  </a:cubicBezTo>
                  <a:cubicBezTo>
                    <a:pt x="108" y="44"/>
                    <a:pt x="108" y="44"/>
                    <a:pt x="108" y="44"/>
                  </a:cubicBezTo>
                  <a:cubicBezTo>
                    <a:pt x="108" y="45"/>
                    <a:pt x="108" y="46"/>
                    <a:pt x="108" y="46"/>
                  </a:cubicBezTo>
                  <a:cubicBezTo>
                    <a:pt x="107" y="47"/>
                    <a:pt x="107" y="47"/>
                    <a:pt x="107" y="47"/>
                  </a:cubicBezTo>
                  <a:cubicBezTo>
                    <a:pt x="106" y="49"/>
                    <a:pt x="104" y="49"/>
                    <a:pt x="103" y="49"/>
                  </a:cubicBezTo>
                  <a:cubicBezTo>
                    <a:pt x="103" y="49"/>
                    <a:pt x="103" y="49"/>
                    <a:pt x="103" y="49"/>
                  </a:cubicBezTo>
                  <a:cubicBezTo>
                    <a:pt x="102" y="49"/>
                    <a:pt x="102" y="49"/>
                    <a:pt x="102" y="49"/>
                  </a:cubicBezTo>
                  <a:cubicBezTo>
                    <a:pt x="102" y="49"/>
                    <a:pt x="101" y="50"/>
                    <a:pt x="101" y="50"/>
                  </a:cubicBezTo>
                  <a:cubicBezTo>
                    <a:pt x="100" y="50"/>
                    <a:pt x="100" y="50"/>
                    <a:pt x="100" y="50"/>
                  </a:cubicBezTo>
                  <a:cubicBezTo>
                    <a:pt x="103" y="57"/>
                    <a:pt x="103" y="57"/>
                    <a:pt x="103" y="57"/>
                  </a:cubicBezTo>
                  <a:cubicBezTo>
                    <a:pt x="97" y="52"/>
                    <a:pt x="97" y="52"/>
                    <a:pt x="97" y="52"/>
                  </a:cubicBezTo>
                  <a:cubicBezTo>
                    <a:pt x="94" y="50"/>
                    <a:pt x="91" y="48"/>
                    <a:pt x="88" y="46"/>
                  </a:cubicBezTo>
                  <a:cubicBezTo>
                    <a:pt x="87" y="45"/>
                    <a:pt x="87" y="45"/>
                    <a:pt x="87" y="45"/>
                  </a:cubicBezTo>
                  <a:cubicBezTo>
                    <a:pt x="87" y="45"/>
                    <a:pt x="87" y="45"/>
                    <a:pt x="87" y="45"/>
                  </a:cubicBezTo>
                  <a:cubicBezTo>
                    <a:pt x="85" y="46"/>
                    <a:pt x="84" y="47"/>
                    <a:pt x="83" y="48"/>
                  </a:cubicBezTo>
                  <a:cubicBezTo>
                    <a:pt x="81" y="49"/>
                    <a:pt x="81" y="49"/>
                    <a:pt x="81" y="49"/>
                  </a:cubicBezTo>
                  <a:cubicBezTo>
                    <a:pt x="81" y="50"/>
                    <a:pt x="80" y="50"/>
                    <a:pt x="80" y="50"/>
                  </a:cubicBezTo>
                  <a:cubicBezTo>
                    <a:pt x="77" y="52"/>
                    <a:pt x="75" y="54"/>
                    <a:pt x="72" y="56"/>
                  </a:cubicBezTo>
                  <a:cubicBezTo>
                    <a:pt x="71" y="58"/>
                    <a:pt x="71" y="59"/>
                    <a:pt x="70" y="59"/>
                  </a:cubicBezTo>
                  <a:cubicBezTo>
                    <a:pt x="69" y="59"/>
                    <a:pt x="69" y="59"/>
                    <a:pt x="69" y="59"/>
                  </a:cubicBezTo>
                  <a:cubicBezTo>
                    <a:pt x="69" y="59"/>
                    <a:pt x="68" y="59"/>
                    <a:pt x="68" y="59"/>
                  </a:cubicBezTo>
                  <a:cubicBezTo>
                    <a:pt x="68" y="58"/>
                    <a:pt x="68" y="58"/>
                    <a:pt x="68" y="58"/>
                  </a:cubicBezTo>
                  <a:cubicBezTo>
                    <a:pt x="68" y="59"/>
                    <a:pt x="68" y="59"/>
                    <a:pt x="68" y="59"/>
                  </a:cubicBezTo>
                  <a:cubicBezTo>
                    <a:pt x="67" y="59"/>
                    <a:pt x="67" y="58"/>
                    <a:pt x="66" y="58"/>
                  </a:cubicBezTo>
                  <a:cubicBezTo>
                    <a:pt x="66" y="58"/>
                    <a:pt x="65" y="58"/>
                    <a:pt x="65" y="57"/>
                  </a:cubicBezTo>
                  <a:cubicBezTo>
                    <a:pt x="64" y="57"/>
                    <a:pt x="64" y="57"/>
                    <a:pt x="64" y="57"/>
                  </a:cubicBezTo>
                  <a:cubicBezTo>
                    <a:pt x="64" y="57"/>
                    <a:pt x="64" y="57"/>
                    <a:pt x="64" y="57"/>
                  </a:cubicBezTo>
                  <a:cubicBezTo>
                    <a:pt x="63" y="56"/>
                    <a:pt x="63" y="56"/>
                    <a:pt x="63" y="56"/>
                  </a:cubicBezTo>
                  <a:cubicBezTo>
                    <a:pt x="63" y="55"/>
                    <a:pt x="63" y="55"/>
                    <a:pt x="63" y="55"/>
                  </a:cubicBezTo>
                  <a:cubicBezTo>
                    <a:pt x="63" y="54"/>
                    <a:pt x="63" y="54"/>
                    <a:pt x="63" y="54"/>
                  </a:cubicBezTo>
                  <a:cubicBezTo>
                    <a:pt x="62" y="52"/>
                    <a:pt x="64" y="50"/>
                    <a:pt x="65" y="48"/>
                  </a:cubicBezTo>
                  <a:cubicBezTo>
                    <a:pt x="65" y="48"/>
                    <a:pt x="65" y="48"/>
                    <a:pt x="65" y="48"/>
                  </a:cubicBezTo>
                  <a:cubicBezTo>
                    <a:pt x="65" y="47"/>
                    <a:pt x="65" y="47"/>
                    <a:pt x="65" y="47"/>
                  </a:cubicBezTo>
                  <a:cubicBezTo>
                    <a:pt x="65" y="47"/>
                    <a:pt x="65" y="47"/>
                    <a:pt x="65" y="47"/>
                  </a:cubicBezTo>
                  <a:cubicBezTo>
                    <a:pt x="66" y="45"/>
                    <a:pt x="66" y="45"/>
                    <a:pt x="66" y="45"/>
                  </a:cubicBezTo>
                  <a:cubicBezTo>
                    <a:pt x="67" y="44"/>
                    <a:pt x="67" y="44"/>
                    <a:pt x="67" y="44"/>
                  </a:cubicBezTo>
                  <a:cubicBezTo>
                    <a:pt x="67" y="44"/>
                    <a:pt x="66" y="43"/>
                    <a:pt x="66" y="43"/>
                  </a:cubicBezTo>
                  <a:cubicBezTo>
                    <a:pt x="66" y="41"/>
                    <a:pt x="65" y="40"/>
                    <a:pt x="65" y="38"/>
                  </a:cubicBezTo>
                  <a:cubicBezTo>
                    <a:pt x="65" y="36"/>
                    <a:pt x="66" y="35"/>
                    <a:pt x="67" y="34"/>
                  </a:cubicBezTo>
                  <a:cubicBezTo>
                    <a:pt x="68" y="33"/>
                    <a:pt x="68" y="33"/>
                    <a:pt x="68" y="33"/>
                  </a:cubicBezTo>
                  <a:cubicBezTo>
                    <a:pt x="68" y="32"/>
                    <a:pt x="68" y="32"/>
                    <a:pt x="68" y="31"/>
                  </a:cubicBezTo>
                  <a:cubicBezTo>
                    <a:pt x="68" y="31"/>
                    <a:pt x="68" y="30"/>
                    <a:pt x="68" y="30"/>
                  </a:cubicBezTo>
                  <a:cubicBezTo>
                    <a:pt x="68" y="29"/>
                    <a:pt x="69" y="28"/>
                    <a:pt x="69" y="27"/>
                  </a:cubicBezTo>
                  <a:cubicBezTo>
                    <a:pt x="69" y="26"/>
                    <a:pt x="69" y="26"/>
                    <a:pt x="69" y="26"/>
                  </a:cubicBezTo>
                  <a:cubicBezTo>
                    <a:pt x="70" y="26"/>
                    <a:pt x="70" y="25"/>
                    <a:pt x="70" y="25"/>
                  </a:cubicBezTo>
                  <a:cubicBezTo>
                    <a:pt x="70" y="25"/>
                    <a:pt x="70" y="25"/>
                    <a:pt x="70" y="25"/>
                  </a:cubicBezTo>
                  <a:cubicBezTo>
                    <a:pt x="69" y="24"/>
                    <a:pt x="69" y="24"/>
                    <a:pt x="69" y="24"/>
                  </a:cubicBezTo>
                  <a:cubicBezTo>
                    <a:pt x="69" y="24"/>
                    <a:pt x="69" y="23"/>
                    <a:pt x="69" y="22"/>
                  </a:cubicBezTo>
                  <a:cubicBezTo>
                    <a:pt x="68" y="22"/>
                    <a:pt x="68" y="22"/>
                    <a:pt x="68" y="22"/>
                  </a:cubicBezTo>
                  <a:cubicBezTo>
                    <a:pt x="68" y="21"/>
                    <a:pt x="68" y="19"/>
                    <a:pt x="68" y="18"/>
                  </a:cubicBezTo>
                  <a:cubicBezTo>
                    <a:pt x="67" y="18"/>
                    <a:pt x="67" y="18"/>
                    <a:pt x="67" y="18"/>
                  </a:cubicBezTo>
                  <a:cubicBezTo>
                    <a:pt x="66" y="18"/>
                    <a:pt x="65" y="19"/>
                    <a:pt x="64" y="19"/>
                  </a:cubicBezTo>
                  <a:cubicBezTo>
                    <a:pt x="62" y="19"/>
                    <a:pt x="61" y="19"/>
                    <a:pt x="60" y="19"/>
                  </a:cubicBezTo>
                  <a:cubicBezTo>
                    <a:pt x="60" y="19"/>
                    <a:pt x="59" y="19"/>
                    <a:pt x="58" y="19"/>
                  </a:cubicBezTo>
                  <a:cubicBezTo>
                    <a:pt x="58" y="18"/>
                    <a:pt x="58" y="18"/>
                    <a:pt x="58" y="18"/>
                  </a:cubicBezTo>
                  <a:cubicBezTo>
                    <a:pt x="57" y="19"/>
                    <a:pt x="57" y="19"/>
                    <a:pt x="57" y="19"/>
                  </a:cubicBezTo>
                  <a:cubicBezTo>
                    <a:pt x="57" y="18"/>
                    <a:pt x="56" y="18"/>
                    <a:pt x="56" y="17"/>
                  </a:cubicBezTo>
                  <a:cubicBezTo>
                    <a:pt x="55" y="17"/>
                    <a:pt x="55" y="17"/>
                    <a:pt x="55" y="16"/>
                  </a:cubicBezTo>
                  <a:cubicBezTo>
                    <a:pt x="55" y="16"/>
                    <a:pt x="55" y="16"/>
                    <a:pt x="55" y="16"/>
                  </a:cubicBezTo>
                  <a:cubicBezTo>
                    <a:pt x="54" y="15"/>
                    <a:pt x="54" y="15"/>
                    <a:pt x="53" y="14"/>
                  </a:cubicBezTo>
                  <a:cubicBezTo>
                    <a:pt x="53" y="13"/>
                    <a:pt x="53" y="13"/>
                    <a:pt x="53" y="13"/>
                  </a:cubicBezTo>
                  <a:cubicBezTo>
                    <a:pt x="52" y="12"/>
                    <a:pt x="52" y="11"/>
                    <a:pt x="53" y="10"/>
                  </a:cubicBezTo>
                  <a:cubicBezTo>
                    <a:pt x="49" y="4"/>
                    <a:pt x="49" y="4"/>
                    <a:pt x="49" y="4"/>
                  </a:cubicBezTo>
                  <a:cubicBezTo>
                    <a:pt x="49" y="4"/>
                    <a:pt x="49" y="4"/>
                    <a:pt x="49" y="4"/>
                  </a:cubicBezTo>
                  <a:cubicBezTo>
                    <a:pt x="48" y="4"/>
                    <a:pt x="48" y="3"/>
                    <a:pt x="48" y="2"/>
                  </a:cubicBezTo>
                  <a:cubicBezTo>
                    <a:pt x="47" y="2"/>
                    <a:pt x="47" y="2"/>
                    <a:pt x="47" y="2"/>
                  </a:cubicBezTo>
                  <a:cubicBezTo>
                    <a:pt x="47" y="1"/>
                    <a:pt x="47" y="1"/>
                    <a:pt x="47" y="1"/>
                  </a:cubicBezTo>
                  <a:cubicBezTo>
                    <a:pt x="46" y="1"/>
                    <a:pt x="46" y="1"/>
                    <a:pt x="46" y="1"/>
                  </a:cubicBezTo>
                  <a:cubicBezTo>
                    <a:pt x="46" y="1"/>
                    <a:pt x="46" y="1"/>
                    <a:pt x="46" y="1"/>
                  </a:cubicBezTo>
                  <a:cubicBezTo>
                    <a:pt x="46" y="0"/>
                    <a:pt x="46"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439"/>
            <p:cNvSpPr/>
            <p:nvPr/>
          </p:nvSpPr>
          <p:spPr bwMode="auto">
            <a:xfrm>
              <a:off x="4625643" y="5365597"/>
              <a:ext cx="448397" cy="532300"/>
            </a:xfrm>
            <a:custGeom>
              <a:gdLst>
                <a:gd name="T0" fmla="*/ 28 w 138"/>
                <a:gd name="T1" fmla="*/ 5 h 164"/>
                <a:gd name="T2" fmla="*/ 31 w 138"/>
                <a:gd name="T3" fmla="*/ 20 h 164"/>
                <a:gd name="T4" fmla="*/ 24 w 138"/>
                <a:gd name="T5" fmla="*/ 26 h 164"/>
                <a:gd name="T6" fmla="*/ 19 w 138"/>
                <a:gd name="T7" fmla="*/ 26 h 164"/>
                <a:gd name="T8" fmla="*/ 8 w 138"/>
                <a:gd name="T9" fmla="*/ 29 h 164"/>
                <a:gd name="T10" fmla="*/ 2 w 138"/>
                <a:gd name="T11" fmla="*/ 34 h 164"/>
                <a:gd name="T12" fmla="*/ 6 w 138"/>
                <a:gd name="T13" fmla="*/ 41 h 164"/>
                <a:gd name="T14" fmla="*/ 6 w 138"/>
                <a:gd name="T15" fmla="*/ 52 h 164"/>
                <a:gd name="T16" fmla="*/ 15 w 138"/>
                <a:gd name="T17" fmla="*/ 55 h 164"/>
                <a:gd name="T18" fmla="*/ 21 w 138"/>
                <a:gd name="T19" fmla="*/ 59 h 164"/>
                <a:gd name="T20" fmla="*/ 22 w 138"/>
                <a:gd name="T21" fmla="*/ 69 h 164"/>
                <a:gd name="T22" fmla="*/ 19 w 138"/>
                <a:gd name="T23" fmla="*/ 77 h 164"/>
                <a:gd name="T24" fmla="*/ 21 w 138"/>
                <a:gd name="T25" fmla="*/ 90 h 164"/>
                <a:gd name="T26" fmla="*/ 25 w 138"/>
                <a:gd name="T27" fmla="*/ 88 h 164"/>
                <a:gd name="T28" fmla="*/ 37 w 138"/>
                <a:gd name="T29" fmla="*/ 82 h 164"/>
                <a:gd name="T30" fmla="*/ 51 w 138"/>
                <a:gd name="T31" fmla="*/ 85 h 164"/>
                <a:gd name="T32" fmla="*/ 61 w 138"/>
                <a:gd name="T33" fmla="*/ 76 h 164"/>
                <a:gd name="T34" fmla="*/ 75 w 138"/>
                <a:gd name="T35" fmla="*/ 83 h 164"/>
                <a:gd name="T36" fmla="*/ 87 w 138"/>
                <a:gd name="T37" fmla="*/ 97 h 164"/>
                <a:gd name="T38" fmla="*/ 89 w 138"/>
                <a:gd name="T39" fmla="*/ 104 h 164"/>
                <a:gd name="T40" fmla="*/ 88 w 138"/>
                <a:gd name="T41" fmla="*/ 115 h 164"/>
                <a:gd name="T42" fmla="*/ 94 w 138"/>
                <a:gd name="T43" fmla="*/ 123 h 164"/>
                <a:gd name="T44" fmla="*/ 99 w 138"/>
                <a:gd name="T45" fmla="*/ 128 h 164"/>
                <a:gd name="T46" fmla="*/ 104 w 138"/>
                <a:gd name="T47" fmla="*/ 136 h 164"/>
                <a:gd name="T48" fmla="*/ 102 w 138"/>
                <a:gd name="T49" fmla="*/ 157 h 164"/>
                <a:gd name="T50" fmla="*/ 101 w 138"/>
                <a:gd name="T51" fmla="*/ 161 h 164"/>
                <a:gd name="T52" fmla="*/ 108 w 138"/>
                <a:gd name="T53" fmla="*/ 164 h 164"/>
                <a:gd name="T54" fmla="*/ 110 w 138"/>
                <a:gd name="T55" fmla="*/ 164 h 164"/>
                <a:gd name="T56" fmla="*/ 112 w 138"/>
                <a:gd name="T57" fmla="*/ 155 h 164"/>
                <a:gd name="T58" fmla="*/ 120 w 138"/>
                <a:gd name="T59" fmla="*/ 151 h 164"/>
                <a:gd name="T60" fmla="*/ 128 w 138"/>
                <a:gd name="T61" fmla="*/ 156 h 164"/>
                <a:gd name="T62" fmla="*/ 136 w 138"/>
                <a:gd name="T63" fmla="*/ 149 h 164"/>
                <a:gd name="T64" fmla="*/ 136 w 138"/>
                <a:gd name="T65" fmla="*/ 138 h 164"/>
                <a:gd name="T66" fmla="*/ 134 w 138"/>
                <a:gd name="T67" fmla="*/ 126 h 164"/>
                <a:gd name="T68" fmla="*/ 129 w 138"/>
                <a:gd name="T69" fmla="*/ 123 h 164"/>
                <a:gd name="T70" fmla="*/ 125 w 138"/>
                <a:gd name="T71" fmla="*/ 119 h 164"/>
                <a:gd name="T72" fmla="*/ 119 w 138"/>
                <a:gd name="T73" fmla="*/ 118 h 164"/>
                <a:gd name="T74" fmla="*/ 118 w 138"/>
                <a:gd name="T75" fmla="*/ 113 h 164"/>
                <a:gd name="T76" fmla="*/ 115 w 138"/>
                <a:gd name="T77" fmla="*/ 107 h 164"/>
                <a:gd name="T78" fmla="*/ 109 w 138"/>
                <a:gd name="T79" fmla="*/ 100 h 164"/>
                <a:gd name="T80" fmla="*/ 99 w 138"/>
                <a:gd name="T81" fmla="*/ 88 h 164"/>
                <a:gd name="T82" fmla="*/ 91 w 138"/>
                <a:gd name="T83" fmla="*/ 76 h 164"/>
                <a:gd name="T84" fmla="*/ 69 w 138"/>
                <a:gd name="T85" fmla="*/ 58 h 164"/>
                <a:gd name="T86" fmla="*/ 70 w 138"/>
                <a:gd name="T87" fmla="*/ 52 h 164"/>
                <a:gd name="T88" fmla="*/ 77 w 138"/>
                <a:gd name="T89" fmla="*/ 52 h 164"/>
                <a:gd name="T90" fmla="*/ 82 w 138"/>
                <a:gd name="T91" fmla="*/ 52 h 164"/>
                <a:gd name="T92" fmla="*/ 85 w 138"/>
                <a:gd name="T93" fmla="*/ 44 h 164"/>
                <a:gd name="T94" fmla="*/ 77 w 138"/>
                <a:gd name="T95" fmla="*/ 36 h 164"/>
                <a:gd name="T96" fmla="*/ 76 w 138"/>
                <a:gd name="T97" fmla="*/ 37 h 164"/>
                <a:gd name="T98" fmla="*/ 75 w 138"/>
                <a:gd name="T99" fmla="*/ 32 h 164"/>
                <a:gd name="T100" fmla="*/ 69 w 138"/>
                <a:gd name="T101" fmla="*/ 34 h 164"/>
                <a:gd name="T102" fmla="*/ 65 w 138"/>
                <a:gd name="T103" fmla="*/ 37 h 164"/>
                <a:gd name="T104" fmla="*/ 61 w 138"/>
                <a:gd name="T105" fmla="*/ 35 h 164"/>
                <a:gd name="T106" fmla="*/ 49 w 138"/>
                <a:gd name="T107" fmla="*/ 25 h 164"/>
                <a:gd name="T108" fmla="*/ 48 w 138"/>
                <a:gd name="T109" fmla="*/ 21 h 164"/>
                <a:gd name="T110" fmla="*/ 49 w 138"/>
                <a:gd name="T111" fmla="*/ 16 h 164"/>
                <a:gd name="T112" fmla="*/ 43 w 138"/>
                <a:gd name="T113" fmla="*/ 14 h 164"/>
                <a:gd name="T114" fmla="*/ 34 w 138"/>
                <a:gd name="T115" fmla="*/ 2 h 1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64">
                  <a:moveTo>
                    <a:pt x="29" y="0"/>
                  </a:moveTo>
                  <a:cubicBezTo>
                    <a:pt x="29" y="1"/>
                    <a:pt x="29" y="1"/>
                    <a:pt x="29" y="1"/>
                  </a:cubicBezTo>
                  <a:cubicBezTo>
                    <a:pt x="28" y="2"/>
                    <a:pt x="28" y="2"/>
                    <a:pt x="28" y="2"/>
                  </a:cubicBezTo>
                  <a:cubicBezTo>
                    <a:pt x="28" y="2"/>
                    <a:pt x="27" y="3"/>
                    <a:pt x="27" y="3"/>
                  </a:cubicBezTo>
                  <a:cubicBezTo>
                    <a:pt x="27" y="4"/>
                    <a:pt x="27" y="4"/>
                    <a:pt x="27" y="4"/>
                  </a:cubicBezTo>
                  <a:cubicBezTo>
                    <a:pt x="27" y="4"/>
                    <a:pt x="28" y="5"/>
                    <a:pt x="28" y="5"/>
                  </a:cubicBezTo>
                  <a:cubicBezTo>
                    <a:pt x="28" y="6"/>
                    <a:pt x="28" y="6"/>
                    <a:pt x="28" y="6"/>
                  </a:cubicBezTo>
                  <a:cubicBezTo>
                    <a:pt x="29" y="7"/>
                    <a:pt x="29" y="7"/>
                    <a:pt x="29" y="8"/>
                  </a:cubicBezTo>
                  <a:cubicBezTo>
                    <a:pt x="31" y="10"/>
                    <a:pt x="31" y="12"/>
                    <a:pt x="31" y="15"/>
                  </a:cubicBezTo>
                  <a:cubicBezTo>
                    <a:pt x="31" y="16"/>
                    <a:pt x="31" y="16"/>
                    <a:pt x="31" y="16"/>
                  </a:cubicBezTo>
                  <a:cubicBezTo>
                    <a:pt x="30" y="19"/>
                    <a:pt x="30" y="20"/>
                    <a:pt x="30" y="20"/>
                  </a:cubicBezTo>
                  <a:cubicBezTo>
                    <a:pt x="31" y="20"/>
                    <a:pt x="31" y="20"/>
                    <a:pt x="31" y="20"/>
                  </a:cubicBezTo>
                  <a:cubicBezTo>
                    <a:pt x="31" y="21"/>
                    <a:pt x="31" y="21"/>
                    <a:pt x="31" y="21"/>
                  </a:cubicBezTo>
                  <a:cubicBezTo>
                    <a:pt x="34" y="22"/>
                    <a:pt x="34" y="22"/>
                    <a:pt x="34" y="22"/>
                  </a:cubicBezTo>
                  <a:cubicBezTo>
                    <a:pt x="32" y="25"/>
                    <a:pt x="32" y="25"/>
                    <a:pt x="32" y="25"/>
                  </a:cubicBezTo>
                  <a:cubicBezTo>
                    <a:pt x="30" y="26"/>
                    <a:pt x="29" y="27"/>
                    <a:pt x="27" y="27"/>
                  </a:cubicBezTo>
                  <a:cubicBezTo>
                    <a:pt x="27" y="27"/>
                    <a:pt x="26" y="27"/>
                    <a:pt x="25" y="26"/>
                  </a:cubicBezTo>
                  <a:cubicBezTo>
                    <a:pt x="24" y="26"/>
                    <a:pt x="24" y="26"/>
                    <a:pt x="24" y="26"/>
                  </a:cubicBezTo>
                  <a:cubicBezTo>
                    <a:pt x="23" y="26"/>
                    <a:pt x="23" y="26"/>
                    <a:pt x="22" y="26"/>
                  </a:cubicBezTo>
                  <a:cubicBezTo>
                    <a:pt x="22" y="26"/>
                    <a:pt x="22" y="26"/>
                    <a:pt x="22" y="26"/>
                  </a:cubicBezTo>
                  <a:cubicBezTo>
                    <a:pt x="22" y="26"/>
                    <a:pt x="22" y="26"/>
                    <a:pt x="22" y="26"/>
                  </a:cubicBezTo>
                  <a:cubicBezTo>
                    <a:pt x="21" y="26"/>
                    <a:pt x="21" y="26"/>
                    <a:pt x="21" y="26"/>
                  </a:cubicBezTo>
                  <a:cubicBezTo>
                    <a:pt x="20" y="27"/>
                    <a:pt x="20" y="27"/>
                    <a:pt x="20" y="27"/>
                  </a:cubicBezTo>
                  <a:cubicBezTo>
                    <a:pt x="19" y="26"/>
                    <a:pt x="19" y="26"/>
                    <a:pt x="19" y="26"/>
                  </a:cubicBezTo>
                  <a:cubicBezTo>
                    <a:pt x="17" y="26"/>
                    <a:pt x="16" y="23"/>
                    <a:pt x="15" y="20"/>
                  </a:cubicBezTo>
                  <a:cubicBezTo>
                    <a:pt x="15" y="20"/>
                    <a:pt x="15" y="20"/>
                    <a:pt x="15" y="20"/>
                  </a:cubicBezTo>
                  <a:cubicBezTo>
                    <a:pt x="14" y="21"/>
                    <a:pt x="12" y="22"/>
                    <a:pt x="11" y="23"/>
                  </a:cubicBezTo>
                  <a:cubicBezTo>
                    <a:pt x="10" y="23"/>
                    <a:pt x="10" y="24"/>
                    <a:pt x="10" y="25"/>
                  </a:cubicBezTo>
                  <a:cubicBezTo>
                    <a:pt x="8" y="28"/>
                    <a:pt x="8" y="28"/>
                    <a:pt x="8" y="28"/>
                  </a:cubicBezTo>
                  <a:cubicBezTo>
                    <a:pt x="8" y="28"/>
                    <a:pt x="8" y="28"/>
                    <a:pt x="8" y="29"/>
                  </a:cubicBezTo>
                  <a:cubicBezTo>
                    <a:pt x="8" y="29"/>
                    <a:pt x="8" y="29"/>
                    <a:pt x="8" y="29"/>
                  </a:cubicBezTo>
                  <a:cubicBezTo>
                    <a:pt x="9" y="30"/>
                    <a:pt x="9" y="30"/>
                    <a:pt x="9" y="30"/>
                  </a:cubicBezTo>
                  <a:cubicBezTo>
                    <a:pt x="10" y="33"/>
                    <a:pt x="10" y="33"/>
                    <a:pt x="10" y="33"/>
                  </a:cubicBezTo>
                  <a:cubicBezTo>
                    <a:pt x="7" y="33"/>
                    <a:pt x="7" y="33"/>
                    <a:pt x="7" y="33"/>
                  </a:cubicBezTo>
                  <a:cubicBezTo>
                    <a:pt x="6" y="33"/>
                    <a:pt x="5" y="33"/>
                    <a:pt x="5" y="33"/>
                  </a:cubicBezTo>
                  <a:cubicBezTo>
                    <a:pt x="4" y="33"/>
                    <a:pt x="3" y="34"/>
                    <a:pt x="2" y="34"/>
                  </a:cubicBezTo>
                  <a:cubicBezTo>
                    <a:pt x="2" y="34"/>
                    <a:pt x="2" y="34"/>
                    <a:pt x="2" y="34"/>
                  </a:cubicBezTo>
                  <a:cubicBezTo>
                    <a:pt x="1" y="35"/>
                    <a:pt x="0" y="37"/>
                    <a:pt x="0" y="38"/>
                  </a:cubicBezTo>
                  <a:cubicBezTo>
                    <a:pt x="1" y="38"/>
                    <a:pt x="1" y="38"/>
                    <a:pt x="1" y="38"/>
                  </a:cubicBezTo>
                  <a:cubicBezTo>
                    <a:pt x="1" y="38"/>
                    <a:pt x="1" y="38"/>
                    <a:pt x="1" y="38"/>
                  </a:cubicBezTo>
                  <a:cubicBezTo>
                    <a:pt x="3" y="38"/>
                    <a:pt x="4" y="39"/>
                    <a:pt x="5" y="40"/>
                  </a:cubicBezTo>
                  <a:cubicBezTo>
                    <a:pt x="6" y="41"/>
                    <a:pt x="6" y="41"/>
                    <a:pt x="6" y="41"/>
                  </a:cubicBezTo>
                  <a:cubicBezTo>
                    <a:pt x="7" y="42"/>
                    <a:pt x="7" y="42"/>
                    <a:pt x="7" y="42"/>
                  </a:cubicBezTo>
                  <a:cubicBezTo>
                    <a:pt x="8" y="43"/>
                    <a:pt x="8" y="45"/>
                    <a:pt x="8" y="47"/>
                  </a:cubicBezTo>
                  <a:cubicBezTo>
                    <a:pt x="8" y="48"/>
                    <a:pt x="7" y="50"/>
                    <a:pt x="7" y="51"/>
                  </a:cubicBezTo>
                  <a:cubicBezTo>
                    <a:pt x="6" y="51"/>
                    <a:pt x="6" y="51"/>
                    <a:pt x="6" y="51"/>
                  </a:cubicBezTo>
                  <a:cubicBezTo>
                    <a:pt x="6" y="52"/>
                    <a:pt x="6" y="52"/>
                    <a:pt x="6" y="52"/>
                  </a:cubicBezTo>
                  <a:cubicBezTo>
                    <a:pt x="6" y="52"/>
                    <a:pt x="6" y="52"/>
                    <a:pt x="6" y="52"/>
                  </a:cubicBezTo>
                  <a:cubicBezTo>
                    <a:pt x="6" y="53"/>
                    <a:pt x="6" y="53"/>
                    <a:pt x="6" y="53"/>
                  </a:cubicBezTo>
                  <a:cubicBezTo>
                    <a:pt x="5" y="53"/>
                    <a:pt x="5" y="53"/>
                    <a:pt x="5" y="53"/>
                  </a:cubicBezTo>
                  <a:cubicBezTo>
                    <a:pt x="6" y="53"/>
                    <a:pt x="6" y="54"/>
                    <a:pt x="6" y="54"/>
                  </a:cubicBezTo>
                  <a:cubicBezTo>
                    <a:pt x="7" y="54"/>
                    <a:pt x="7" y="55"/>
                    <a:pt x="7" y="55"/>
                  </a:cubicBezTo>
                  <a:cubicBezTo>
                    <a:pt x="8" y="55"/>
                    <a:pt x="8" y="55"/>
                    <a:pt x="8" y="55"/>
                  </a:cubicBezTo>
                  <a:cubicBezTo>
                    <a:pt x="10" y="55"/>
                    <a:pt x="13" y="55"/>
                    <a:pt x="15" y="55"/>
                  </a:cubicBezTo>
                  <a:cubicBezTo>
                    <a:pt x="17" y="54"/>
                    <a:pt x="18" y="54"/>
                    <a:pt x="19" y="54"/>
                  </a:cubicBezTo>
                  <a:cubicBezTo>
                    <a:pt x="21" y="54"/>
                    <a:pt x="21" y="54"/>
                    <a:pt x="21" y="54"/>
                  </a:cubicBezTo>
                  <a:cubicBezTo>
                    <a:pt x="22" y="56"/>
                    <a:pt x="22" y="56"/>
                    <a:pt x="22" y="56"/>
                  </a:cubicBezTo>
                  <a:cubicBezTo>
                    <a:pt x="22" y="56"/>
                    <a:pt x="22" y="57"/>
                    <a:pt x="22" y="57"/>
                  </a:cubicBezTo>
                  <a:cubicBezTo>
                    <a:pt x="21" y="58"/>
                    <a:pt x="21" y="59"/>
                    <a:pt x="21" y="59"/>
                  </a:cubicBezTo>
                  <a:cubicBezTo>
                    <a:pt x="21" y="59"/>
                    <a:pt x="21" y="59"/>
                    <a:pt x="21" y="59"/>
                  </a:cubicBezTo>
                  <a:cubicBezTo>
                    <a:pt x="20" y="59"/>
                    <a:pt x="20" y="59"/>
                    <a:pt x="20" y="59"/>
                  </a:cubicBezTo>
                  <a:cubicBezTo>
                    <a:pt x="20" y="60"/>
                    <a:pt x="21" y="61"/>
                    <a:pt x="21" y="61"/>
                  </a:cubicBezTo>
                  <a:cubicBezTo>
                    <a:pt x="21" y="62"/>
                    <a:pt x="21" y="62"/>
                    <a:pt x="21" y="62"/>
                  </a:cubicBezTo>
                  <a:cubicBezTo>
                    <a:pt x="21" y="62"/>
                    <a:pt x="21" y="63"/>
                    <a:pt x="22" y="63"/>
                  </a:cubicBezTo>
                  <a:cubicBezTo>
                    <a:pt x="22" y="64"/>
                    <a:pt x="23" y="66"/>
                    <a:pt x="23" y="68"/>
                  </a:cubicBezTo>
                  <a:cubicBezTo>
                    <a:pt x="23" y="68"/>
                    <a:pt x="22" y="69"/>
                    <a:pt x="22" y="69"/>
                  </a:cubicBezTo>
                  <a:cubicBezTo>
                    <a:pt x="21" y="70"/>
                    <a:pt x="21" y="70"/>
                    <a:pt x="21" y="70"/>
                  </a:cubicBezTo>
                  <a:cubicBezTo>
                    <a:pt x="21" y="70"/>
                    <a:pt x="21" y="71"/>
                    <a:pt x="21" y="71"/>
                  </a:cubicBezTo>
                  <a:cubicBezTo>
                    <a:pt x="21" y="72"/>
                    <a:pt x="21" y="72"/>
                    <a:pt x="21" y="72"/>
                  </a:cubicBezTo>
                  <a:cubicBezTo>
                    <a:pt x="21" y="72"/>
                    <a:pt x="21" y="72"/>
                    <a:pt x="21" y="72"/>
                  </a:cubicBezTo>
                  <a:cubicBezTo>
                    <a:pt x="21" y="73"/>
                    <a:pt x="21" y="74"/>
                    <a:pt x="20" y="76"/>
                  </a:cubicBezTo>
                  <a:cubicBezTo>
                    <a:pt x="20" y="76"/>
                    <a:pt x="19" y="77"/>
                    <a:pt x="19" y="77"/>
                  </a:cubicBezTo>
                  <a:cubicBezTo>
                    <a:pt x="19" y="78"/>
                    <a:pt x="19" y="78"/>
                    <a:pt x="19" y="78"/>
                  </a:cubicBezTo>
                  <a:cubicBezTo>
                    <a:pt x="18" y="79"/>
                    <a:pt x="18" y="79"/>
                    <a:pt x="18" y="80"/>
                  </a:cubicBezTo>
                  <a:cubicBezTo>
                    <a:pt x="18" y="80"/>
                    <a:pt x="18" y="81"/>
                    <a:pt x="19" y="82"/>
                  </a:cubicBezTo>
                  <a:cubicBezTo>
                    <a:pt x="19" y="83"/>
                    <a:pt x="19" y="85"/>
                    <a:pt x="19" y="86"/>
                  </a:cubicBezTo>
                  <a:cubicBezTo>
                    <a:pt x="19" y="87"/>
                    <a:pt x="19" y="88"/>
                    <a:pt x="18" y="88"/>
                  </a:cubicBezTo>
                  <a:cubicBezTo>
                    <a:pt x="21" y="90"/>
                    <a:pt x="21" y="90"/>
                    <a:pt x="21" y="90"/>
                  </a:cubicBezTo>
                  <a:cubicBezTo>
                    <a:pt x="18" y="89"/>
                    <a:pt x="18" y="89"/>
                    <a:pt x="18" y="89"/>
                  </a:cubicBezTo>
                  <a:cubicBezTo>
                    <a:pt x="17" y="91"/>
                    <a:pt x="17" y="91"/>
                    <a:pt x="17" y="91"/>
                  </a:cubicBezTo>
                  <a:cubicBezTo>
                    <a:pt x="16" y="93"/>
                    <a:pt x="15" y="94"/>
                    <a:pt x="15" y="94"/>
                  </a:cubicBezTo>
                  <a:cubicBezTo>
                    <a:pt x="16" y="95"/>
                    <a:pt x="16" y="95"/>
                    <a:pt x="16" y="95"/>
                  </a:cubicBezTo>
                  <a:cubicBezTo>
                    <a:pt x="17" y="94"/>
                    <a:pt x="17" y="94"/>
                    <a:pt x="17" y="94"/>
                  </a:cubicBezTo>
                  <a:cubicBezTo>
                    <a:pt x="20" y="92"/>
                    <a:pt x="22" y="90"/>
                    <a:pt x="25" y="88"/>
                  </a:cubicBezTo>
                  <a:cubicBezTo>
                    <a:pt x="25" y="87"/>
                    <a:pt x="26" y="87"/>
                    <a:pt x="26" y="86"/>
                  </a:cubicBezTo>
                  <a:cubicBezTo>
                    <a:pt x="28" y="85"/>
                    <a:pt x="28" y="85"/>
                    <a:pt x="28" y="85"/>
                  </a:cubicBezTo>
                  <a:cubicBezTo>
                    <a:pt x="30" y="84"/>
                    <a:pt x="31" y="83"/>
                    <a:pt x="33" y="82"/>
                  </a:cubicBezTo>
                  <a:cubicBezTo>
                    <a:pt x="33" y="81"/>
                    <a:pt x="34" y="81"/>
                    <a:pt x="34" y="81"/>
                  </a:cubicBezTo>
                  <a:cubicBezTo>
                    <a:pt x="35" y="81"/>
                    <a:pt x="35" y="81"/>
                    <a:pt x="35" y="81"/>
                  </a:cubicBezTo>
                  <a:cubicBezTo>
                    <a:pt x="36" y="81"/>
                    <a:pt x="37" y="81"/>
                    <a:pt x="37" y="82"/>
                  </a:cubicBezTo>
                  <a:cubicBezTo>
                    <a:pt x="37" y="82"/>
                    <a:pt x="37" y="82"/>
                    <a:pt x="37" y="82"/>
                  </a:cubicBezTo>
                  <a:cubicBezTo>
                    <a:pt x="39" y="83"/>
                    <a:pt x="39" y="83"/>
                    <a:pt x="39" y="83"/>
                  </a:cubicBezTo>
                  <a:cubicBezTo>
                    <a:pt x="41" y="85"/>
                    <a:pt x="43" y="86"/>
                    <a:pt x="45" y="88"/>
                  </a:cubicBezTo>
                  <a:cubicBezTo>
                    <a:pt x="46" y="87"/>
                    <a:pt x="46" y="87"/>
                    <a:pt x="46" y="87"/>
                  </a:cubicBezTo>
                  <a:cubicBezTo>
                    <a:pt x="46" y="87"/>
                    <a:pt x="47" y="86"/>
                    <a:pt x="48" y="86"/>
                  </a:cubicBezTo>
                  <a:cubicBezTo>
                    <a:pt x="49" y="85"/>
                    <a:pt x="50" y="85"/>
                    <a:pt x="51" y="85"/>
                  </a:cubicBezTo>
                  <a:cubicBezTo>
                    <a:pt x="51" y="85"/>
                    <a:pt x="51" y="85"/>
                    <a:pt x="51" y="85"/>
                  </a:cubicBezTo>
                  <a:cubicBezTo>
                    <a:pt x="51" y="85"/>
                    <a:pt x="51" y="85"/>
                    <a:pt x="51" y="85"/>
                  </a:cubicBezTo>
                  <a:cubicBezTo>
                    <a:pt x="51" y="84"/>
                    <a:pt x="51" y="83"/>
                    <a:pt x="53" y="82"/>
                  </a:cubicBezTo>
                  <a:cubicBezTo>
                    <a:pt x="54" y="81"/>
                    <a:pt x="55" y="80"/>
                    <a:pt x="56" y="79"/>
                  </a:cubicBezTo>
                  <a:cubicBezTo>
                    <a:pt x="56" y="79"/>
                    <a:pt x="56" y="79"/>
                    <a:pt x="56" y="79"/>
                  </a:cubicBezTo>
                  <a:cubicBezTo>
                    <a:pt x="58" y="77"/>
                    <a:pt x="59" y="76"/>
                    <a:pt x="61" y="76"/>
                  </a:cubicBezTo>
                  <a:cubicBezTo>
                    <a:pt x="61" y="76"/>
                    <a:pt x="61" y="76"/>
                    <a:pt x="61" y="76"/>
                  </a:cubicBezTo>
                  <a:cubicBezTo>
                    <a:pt x="62" y="76"/>
                    <a:pt x="62" y="77"/>
                    <a:pt x="63" y="77"/>
                  </a:cubicBezTo>
                  <a:cubicBezTo>
                    <a:pt x="64" y="77"/>
                    <a:pt x="64" y="77"/>
                    <a:pt x="64" y="77"/>
                  </a:cubicBezTo>
                  <a:cubicBezTo>
                    <a:pt x="66" y="77"/>
                    <a:pt x="67" y="78"/>
                    <a:pt x="67" y="78"/>
                  </a:cubicBezTo>
                  <a:cubicBezTo>
                    <a:pt x="70" y="78"/>
                    <a:pt x="72" y="79"/>
                    <a:pt x="75" y="82"/>
                  </a:cubicBezTo>
                  <a:cubicBezTo>
                    <a:pt x="75" y="83"/>
                    <a:pt x="75" y="83"/>
                    <a:pt x="75" y="83"/>
                  </a:cubicBezTo>
                  <a:cubicBezTo>
                    <a:pt x="78" y="81"/>
                    <a:pt x="78" y="81"/>
                    <a:pt x="78" y="81"/>
                  </a:cubicBezTo>
                  <a:cubicBezTo>
                    <a:pt x="75" y="84"/>
                    <a:pt x="75" y="84"/>
                    <a:pt x="75" y="84"/>
                  </a:cubicBezTo>
                  <a:cubicBezTo>
                    <a:pt x="76" y="85"/>
                    <a:pt x="76" y="85"/>
                    <a:pt x="76" y="85"/>
                  </a:cubicBezTo>
                  <a:cubicBezTo>
                    <a:pt x="77" y="86"/>
                    <a:pt x="77" y="86"/>
                    <a:pt x="77" y="87"/>
                  </a:cubicBezTo>
                  <a:cubicBezTo>
                    <a:pt x="79" y="89"/>
                    <a:pt x="81" y="92"/>
                    <a:pt x="84" y="94"/>
                  </a:cubicBezTo>
                  <a:cubicBezTo>
                    <a:pt x="85" y="95"/>
                    <a:pt x="86" y="96"/>
                    <a:pt x="87" y="97"/>
                  </a:cubicBezTo>
                  <a:cubicBezTo>
                    <a:pt x="88" y="98"/>
                    <a:pt x="89" y="99"/>
                    <a:pt x="89" y="100"/>
                  </a:cubicBezTo>
                  <a:cubicBezTo>
                    <a:pt x="93" y="99"/>
                    <a:pt x="93" y="99"/>
                    <a:pt x="93" y="99"/>
                  </a:cubicBezTo>
                  <a:cubicBezTo>
                    <a:pt x="89" y="101"/>
                    <a:pt x="89" y="101"/>
                    <a:pt x="89" y="101"/>
                  </a:cubicBezTo>
                  <a:cubicBezTo>
                    <a:pt x="89" y="102"/>
                    <a:pt x="89" y="102"/>
                    <a:pt x="89" y="102"/>
                  </a:cubicBezTo>
                  <a:cubicBezTo>
                    <a:pt x="89" y="103"/>
                    <a:pt x="89" y="103"/>
                    <a:pt x="89" y="103"/>
                  </a:cubicBezTo>
                  <a:cubicBezTo>
                    <a:pt x="89" y="103"/>
                    <a:pt x="89" y="104"/>
                    <a:pt x="89" y="104"/>
                  </a:cubicBezTo>
                  <a:cubicBezTo>
                    <a:pt x="89" y="104"/>
                    <a:pt x="89" y="104"/>
                    <a:pt x="89" y="104"/>
                  </a:cubicBezTo>
                  <a:cubicBezTo>
                    <a:pt x="88" y="105"/>
                    <a:pt x="88" y="106"/>
                    <a:pt x="88" y="106"/>
                  </a:cubicBezTo>
                  <a:cubicBezTo>
                    <a:pt x="88" y="107"/>
                    <a:pt x="88" y="107"/>
                    <a:pt x="88" y="107"/>
                  </a:cubicBezTo>
                  <a:cubicBezTo>
                    <a:pt x="87" y="109"/>
                    <a:pt x="87" y="111"/>
                    <a:pt x="88" y="113"/>
                  </a:cubicBezTo>
                  <a:cubicBezTo>
                    <a:pt x="88" y="114"/>
                    <a:pt x="88" y="114"/>
                    <a:pt x="88" y="114"/>
                  </a:cubicBezTo>
                  <a:cubicBezTo>
                    <a:pt x="88" y="115"/>
                    <a:pt x="88" y="115"/>
                    <a:pt x="88" y="115"/>
                  </a:cubicBezTo>
                  <a:cubicBezTo>
                    <a:pt x="88" y="115"/>
                    <a:pt x="88" y="115"/>
                    <a:pt x="88" y="116"/>
                  </a:cubicBezTo>
                  <a:cubicBezTo>
                    <a:pt x="89" y="116"/>
                    <a:pt x="89" y="116"/>
                    <a:pt x="89" y="116"/>
                  </a:cubicBezTo>
                  <a:cubicBezTo>
                    <a:pt x="89" y="117"/>
                    <a:pt x="90" y="118"/>
                    <a:pt x="90" y="118"/>
                  </a:cubicBezTo>
                  <a:cubicBezTo>
                    <a:pt x="91" y="119"/>
                    <a:pt x="92" y="120"/>
                    <a:pt x="93" y="121"/>
                  </a:cubicBezTo>
                  <a:cubicBezTo>
                    <a:pt x="93" y="121"/>
                    <a:pt x="93" y="121"/>
                    <a:pt x="93" y="121"/>
                  </a:cubicBezTo>
                  <a:cubicBezTo>
                    <a:pt x="93" y="122"/>
                    <a:pt x="93" y="123"/>
                    <a:pt x="94" y="123"/>
                  </a:cubicBezTo>
                  <a:cubicBezTo>
                    <a:pt x="94" y="123"/>
                    <a:pt x="96" y="123"/>
                    <a:pt x="97" y="124"/>
                  </a:cubicBezTo>
                  <a:cubicBezTo>
                    <a:pt x="97" y="124"/>
                    <a:pt x="97" y="124"/>
                    <a:pt x="97" y="124"/>
                  </a:cubicBezTo>
                  <a:cubicBezTo>
                    <a:pt x="98" y="124"/>
                    <a:pt x="98" y="124"/>
                    <a:pt x="99" y="124"/>
                  </a:cubicBezTo>
                  <a:cubicBezTo>
                    <a:pt x="104" y="125"/>
                    <a:pt x="104" y="125"/>
                    <a:pt x="104" y="125"/>
                  </a:cubicBezTo>
                  <a:cubicBezTo>
                    <a:pt x="100" y="128"/>
                    <a:pt x="100" y="128"/>
                    <a:pt x="100" y="128"/>
                  </a:cubicBezTo>
                  <a:cubicBezTo>
                    <a:pt x="99" y="128"/>
                    <a:pt x="99" y="128"/>
                    <a:pt x="99" y="128"/>
                  </a:cubicBezTo>
                  <a:cubicBezTo>
                    <a:pt x="100" y="129"/>
                    <a:pt x="100" y="129"/>
                    <a:pt x="100" y="129"/>
                  </a:cubicBezTo>
                  <a:cubicBezTo>
                    <a:pt x="100" y="129"/>
                    <a:pt x="101" y="130"/>
                    <a:pt x="101" y="130"/>
                  </a:cubicBezTo>
                  <a:cubicBezTo>
                    <a:pt x="101" y="130"/>
                    <a:pt x="101" y="130"/>
                    <a:pt x="101" y="130"/>
                  </a:cubicBezTo>
                  <a:cubicBezTo>
                    <a:pt x="102" y="130"/>
                    <a:pt x="102" y="131"/>
                    <a:pt x="103" y="131"/>
                  </a:cubicBezTo>
                  <a:cubicBezTo>
                    <a:pt x="103" y="132"/>
                    <a:pt x="104" y="132"/>
                    <a:pt x="104" y="132"/>
                  </a:cubicBezTo>
                  <a:cubicBezTo>
                    <a:pt x="104" y="134"/>
                    <a:pt x="104" y="134"/>
                    <a:pt x="104" y="136"/>
                  </a:cubicBezTo>
                  <a:cubicBezTo>
                    <a:pt x="104" y="138"/>
                    <a:pt x="103" y="139"/>
                    <a:pt x="102" y="140"/>
                  </a:cubicBezTo>
                  <a:cubicBezTo>
                    <a:pt x="102" y="140"/>
                    <a:pt x="101" y="140"/>
                    <a:pt x="101" y="140"/>
                  </a:cubicBezTo>
                  <a:cubicBezTo>
                    <a:pt x="101" y="140"/>
                    <a:pt x="101" y="141"/>
                    <a:pt x="101" y="142"/>
                  </a:cubicBezTo>
                  <a:cubicBezTo>
                    <a:pt x="101" y="143"/>
                    <a:pt x="102" y="145"/>
                    <a:pt x="102" y="147"/>
                  </a:cubicBezTo>
                  <a:cubicBezTo>
                    <a:pt x="103" y="150"/>
                    <a:pt x="103" y="153"/>
                    <a:pt x="102" y="156"/>
                  </a:cubicBezTo>
                  <a:cubicBezTo>
                    <a:pt x="102" y="156"/>
                    <a:pt x="102" y="156"/>
                    <a:pt x="102" y="157"/>
                  </a:cubicBezTo>
                  <a:cubicBezTo>
                    <a:pt x="101" y="157"/>
                    <a:pt x="101" y="158"/>
                    <a:pt x="100" y="158"/>
                  </a:cubicBezTo>
                  <a:cubicBezTo>
                    <a:pt x="99" y="159"/>
                    <a:pt x="99" y="159"/>
                    <a:pt x="98" y="159"/>
                  </a:cubicBezTo>
                  <a:cubicBezTo>
                    <a:pt x="98" y="159"/>
                    <a:pt x="98" y="159"/>
                    <a:pt x="98" y="159"/>
                  </a:cubicBezTo>
                  <a:cubicBezTo>
                    <a:pt x="98" y="160"/>
                    <a:pt x="99" y="161"/>
                    <a:pt x="99" y="161"/>
                  </a:cubicBezTo>
                  <a:cubicBezTo>
                    <a:pt x="99" y="161"/>
                    <a:pt x="99" y="161"/>
                    <a:pt x="99" y="161"/>
                  </a:cubicBezTo>
                  <a:cubicBezTo>
                    <a:pt x="100" y="161"/>
                    <a:pt x="100" y="161"/>
                    <a:pt x="101" y="161"/>
                  </a:cubicBezTo>
                  <a:cubicBezTo>
                    <a:pt x="101" y="161"/>
                    <a:pt x="102" y="161"/>
                    <a:pt x="102" y="161"/>
                  </a:cubicBezTo>
                  <a:cubicBezTo>
                    <a:pt x="102" y="161"/>
                    <a:pt x="103" y="161"/>
                    <a:pt x="103" y="161"/>
                  </a:cubicBezTo>
                  <a:cubicBezTo>
                    <a:pt x="103" y="161"/>
                    <a:pt x="103" y="161"/>
                    <a:pt x="104" y="161"/>
                  </a:cubicBezTo>
                  <a:cubicBezTo>
                    <a:pt x="105" y="161"/>
                    <a:pt x="106" y="161"/>
                    <a:pt x="107" y="163"/>
                  </a:cubicBezTo>
                  <a:cubicBezTo>
                    <a:pt x="108" y="163"/>
                    <a:pt x="108" y="163"/>
                    <a:pt x="108" y="163"/>
                  </a:cubicBezTo>
                  <a:cubicBezTo>
                    <a:pt x="108" y="164"/>
                    <a:pt x="108" y="164"/>
                    <a:pt x="108" y="164"/>
                  </a:cubicBezTo>
                  <a:cubicBezTo>
                    <a:pt x="108" y="164"/>
                    <a:pt x="108" y="164"/>
                    <a:pt x="108" y="164"/>
                  </a:cubicBezTo>
                  <a:cubicBezTo>
                    <a:pt x="109" y="164"/>
                    <a:pt x="109" y="164"/>
                    <a:pt x="109" y="164"/>
                  </a:cubicBezTo>
                  <a:cubicBezTo>
                    <a:pt x="109" y="164"/>
                    <a:pt x="109" y="164"/>
                    <a:pt x="109" y="164"/>
                  </a:cubicBezTo>
                  <a:cubicBezTo>
                    <a:pt x="110" y="164"/>
                    <a:pt x="110" y="164"/>
                    <a:pt x="110" y="164"/>
                  </a:cubicBezTo>
                  <a:cubicBezTo>
                    <a:pt x="110" y="164"/>
                    <a:pt x="110" y="164"/>
                    <a:pt x="110" y="164"/>
                  </a:cubicBezTo>
                  <a:cubicBezTo>
                    <a:pt x="110" y="164"/>
                    <a:pt x="110" y="164"/>
                    <a:pt x="110" y="164"/>
                  </a:cubicBezTo>
                  <a:cubicBezTo>
                    <a:pt x="110" y="164"/>
                    <a:pt x="110" y="163"/>
                    <a:pt x="108" y="161"/>
                  </a:cubicBezTo>
                  <a:cubicBezTo>
                    <a:pt x="108" y="160"/>
                    <a:pt x="107" y="160"/>
                    <a:pt x="107" y="159"/>
                  </a:cubicBezTo>
                  <a:cubicBezTo>
                    <a:pt x="104" y="153"/>
                    <a:pt x="104" y="153"/>
                    <a:pt x="104" y="153"/>
                  </a:cubicBezTo>
                  <a:cubicBezTo>
                    <a:pt x="110" y="156"/>
                    <a:pt x="110" y="156"/>
                    <a:pt x="110" y="156"/>
                  </a:cubicBezTo>
                  <a:cubicBezTo>
                    <a:pt x="110" y="156"/>
                    <a:pt x="110" y="156"/>
                    <a:pt x="110" y="156"/>
                  </a:cubicBezTo>
                  <a:cubicBezTo>
                    <a:pt x="110" y="156"/>
                    <a:pt x="111" y="156"/>
                    <a:pt x="112" y="155"/>
                  </a:cubicBezTo>
                  <a:cubicBezTo>
                    <a:pt x="113" y="154"/>
                    <a:pt x="113" y="154"/>
                    <a:pt x="113" y="154"/>
                  </a:cubicBezTo>
                  <a:cubicBezTo>
                    <a:pt x="114" y="154"/>
                    <a:pt x="115" y="153"/>
                    <a:pt x="117" y="152"/>
                  </a:cubicBezTo>
                  <a:cubicBezTo>
                    <a:pt x="117" y="152"/>
                    <a:pt x="118" y="152"/>
                    <a:pt x="118" y="151"/>
                  </a:cubicBezTo>
                  <a:cubicBezTo>
                    <a:pt x="118" y="151"/>
                    <a:pt x="118" y="151"/>
                    <a:pt x="118" y="151"/>
                  </a:cubicBezTo>
                  <a:cubicBezTo>
                    <a:pt x="119" y="151"/>
                    <a:pt x="119" y="151"/>
                    <a:pt x="119" y="151"/>
                  </a:cubicBezTo>
                  <a:cubicBezTo>
                    <a:pt x="120" y="151"/>
                    <a:pt x="120" y="151"/>
                    <a:pt x="120" y="151"/>
                  </a:cubicBezTo>
                  <a:cubicBezTo>
                    <a:pt x="121" y="152"/>
                    <a:pt x="122" y="153"/>
                    <a:pt x="122" y="154"/>
                  </a:cubicBezTo>
                  <a:cubicBezTo>
                    <a:pt x="123" y="154"/>
                    <a:pt x="123" y="154"/>
                    <a:pt x="123" y="154"/>
                  </a:cubicBezTo>
                  <a:cubicBezTo>
                    <a:pt x="127" y="156"/>
                    <a:pt x="127" y="156"/>
                    <a:pt x="127" y="156"/>
                  </a:cubicBezTo>
                  <a:cubicBezTo>
                    <a:pt x="127" y="156"/>
                    <a:pt x="127" y="156"/>
                    <a:pt x="127" y="156"/>
                  </a:cubicBezTo>
                  <a:cubicBezTo>
                    <a:pt x="128" y="156"/>
                    <a:pt x="128" y="156"/>
                    <a:pt x="128" y="156"/>
                  </a:cubicBezTo>
                  <a:cubicBezTo>
                    <a:pt x="128" y="156"/>
                    <a:pt x="128" y="156"/>
                    <a:pt x="128" y="156"/>
                  </a:cubicBezTo>
                  <a:cubicBezTo>
                    <a:pt x="129" y="155"/>
                    <a:pt x="131" y="154"/>
                    <a:pt x="132" y="153"/>
                  </a:cubicBezTo>
                  <a:cubicBezTo>
                    <a:pt x="134" y="151"/>
                    <a:pt x="134" y="151"/>
                    <a:pt x="134" y="151"/>
                  </a:cubicBezTo>
                  <a:cubicBezTo>
                    <a:pt x="135" y="151"/>
                    <a:pt x="135" y="151"/>
                    <a:pt x="136" y="151"/>
                  </a:cubicBezTo>
                  <a:cubicBezTo>
                    <a:pt x="136" y="150"/>
                    <a:pt x="136" y="150"/>
                    <a:pt x="136" y="150"/>
                  </a:cubicBezTo>
                  <a:cubicBezTo>
                    <a:pt x="136" y="150"/>
                    <a:pt x="136" y="150"/>
                    <a:pt x="136" y="150"/>
                  </a:cubicBezTo>
                  <a:cubicBezTo>
                    <a:pt x="136" y="149"/>
                    <a:pt x="136" y="149"/>
                    <a:pt x="136" y="149"/>
                  </a:cubicBezTo>
                  <a:cubicBezTo>
                    <a:pt x="136" y="148"/>
                    <a:pt x="136" y="148"/>
                    <a:pt x="136" y="148"/>
                  </a:cubicBezTo>
                  <a:cubicBezTo>
                    <a:pt x="135" y="148"/>
                    <a:pt x="135" y="148"/>
                    <a:pt x="135" y="147"/>
                  </a:cubicBezTo>
                  <a:cubicBezTo>
                    <a:pt x="135" y="145"/>
                    <a:pt x="137" y="143"/>
                    <a:pt x="138" y="142"/>
                  </a:cubicBezTo>
                  <a:cubicBezTo>
                    <a:pt x="138" y="141"/>
                    <a:pt x="138" y="141"/>
                    <a:pt x="138" y="141"/>
                  </a:cubicBezTo>
                  <a:cubicBezTo>
                    <a:pt x="138" y="140"/>
                    <a:pt x="137" y="139"/>
                    <a:pt x="136" y="138"/>
                  </a:cubicBezTo>
                  <a:cubicBezTo>
                    <a:pt x="136" y="138"/>
                    <a:pt x="136" y="138"/>
                    <a:pt x="136" y="138"/>
                  </a:cubicBezTo>
                  <a:cubicBezTo>
                    <a:pt x="134" y="137"/>
                    <a:pt x="132" y="135"/>
                    <a:pt x="131" y="133"/>
                  </a:cubicBezTo>
                  <a:cubicBezTo>
                    <a:pt x="130" y="132"/>
                    <a:pt x="129" y="131"/>
                    <a:pt x="129" y="130"/>
                  </a:cubicBezTo>
                  <a:cubicBezTo>
                    <a:pt x="129" y="128"/>
                    <a:pt x="130" y="127"/>
                    <a:pt x="132" y="127"/>
                  </a:cubicBezTo>
                  <a:cubicBezTo>
                    <a:pt x="132" y="127"/>
                    <a:pt x="132" y="127"/>
                    <a:pt x="133" y="127"/>
                  </a:cubicBezTo>
                  <a:cubicBezTo>
                    <a:pt x="133" y="126"/>
                    <a:pt x="133" y="126"/>
                    <a:pt x="133" y="126"/>
                  </a:cubicBezTo>
                  <a:cubicBezTo>
                    <a:pt x="134" y="126"/>
                    <a:pt x="134" y="126"/>
                    <a:pt x="134" y="126"/>
                  </a:cubicBezTo>
                  <a:cubicBezTo>
                    <a:pt x="134" y="126"/>
                    <a:pt x="134" y="126"/>
                    <a:pt x="134" y="126"/>
                  </a:cubicBezTo>
                  <a:cubicBezTo>
                    <a:pt x="133" y="126"/>
                    <a:pt x="133" y="125"/>
                    <a:pt x="132" y="125"/>
                  </a:cubicBezTo>
                  <a:cubicBezTo>
                    <a:pt x="132" y="125"/>
                    <a:pt x="131" y="124"/>
                    <a:pt x="131" y="124"/>
                  </a:cubicBezTo>
                  <a:cubicBezTo>
                    <a:pt x="130" y="124"/>
                    <a:pt x="130" y="123"/>
                    <a:pt x="129" y="123"/>
                  </a:cubicBezTo>
                  <a:cubicBezTo>
                    <a:pt x="129" y="123"/>
                    <a:pt x="129" y="123"/>
                    <a:pt x="129" y="123"/>
                  </a:cubicBezTo>
                  <a:cubicBezTo>
                    <a:pt x="129" y="123"/>
                    <a:pt x="129" y="123"/>
                    <a:pt x="129" y="123"/>
                  </a:cubicBezTo>
                  <a:cubicBezTo>
                    <a:pt x="128" y="123"/>
                    <a:pt x="128" y="123"/>
                    <a:pt x="127" y="122"/>
                  </a:cubicBezTo>
                  <a:cubicBezTo>
                    <a:pt x="127" y="122"/>
                    <a:pt x="127" y="122"/>
                    <a:pt x="127" y="122"/>
                  </a:cubicBezTo>
                  <a:cubicBezTo>
                    <a:pt x="127" y="122"/>
                    <a:pt x="127" y="122"/>
                    <a:pt x="127" y="122"/>
                  </a:cubicBezTo>
                  <a:cubicBezTo>
                    <a:pt x="126" y="122"/>
                    <a:pt x="126" y="121"/>
                    <a:pt x="125" y="121"/>
                  </a:cubicBezTo>
                  <a:cubicBezTo>
                    <a:pt x="125" y="120"/>
                    <a:pt x="125" y="120"/>
                    <a:pt x="125" y="120"/>
                  </a:cubicBezTo>
                  <a:cubicBezTo>
                    <a:pt x="125" y="120"/>
                    <a:pt x="125" y="120"/>
                    <a:pt x="125" y="119"/>
                  </a:cubicBezTo>
                  <a:cubicBezTo>
                    <a:pt x="125" y="119"/>
                    <a:pt x="125" y="119"/>
                    <a:pt x="125" y="119"/>
                  </a:cubicBezTo>
                  <a:cubicBezTo>
                    <a:pt x="124" y="119"/>
                    <a:pt x="124" y="119"/>
                    <a:pt x="123" y="119"/>
                  </a:cubicBezTo>
                  <a:cubicBezTo>
                    <a:pt x="123" y="119"/>
                    <a:pt x="123" y="119"/>
                    <a:pt x="123" y="119"/>
                  </a:cubicBezTo>
                  <a:cubicBezTo>
                    <a:pt x="123" y="119"/>
                    <a:pt x="123" y="119"/>
                    <a:pt x="123" y="119"/>
                  </a:cubicBezTo>
                  <a:cubicBezTo>
                    <a:pt x="121" y="119"/>
                    <a:pt x="120" y="119"/>
                    <a:pt x="119" y="118"/>
                  </a:cubicBezTo>
                  <a:cubicBezTo>
                    <a:pt x="119" y="118"/>
                    <a:pt x="119" y="118"/>
                    <a:pt x="119" y="118"/>
                  </a:cubicBezTo>
                  <a:cubicBezTo>
                    <a:pt x="119" y="117"/>
                    <a:pt x="119" y="117"/>
                    <a:pt x="119" y="117"/>
                  </a:cubicBezTo>
                  <a:cubicBezTo>
                    <a:pt x="119" y="117"/>
                    <a:pt x="118" y="116"/>
                    <a:pt x="118" y="116"/>
                  </a:cubicBezTo>
                  <a:cubicBezTo>
                    <a:pt x="119" y="115"/>
                    <a:pt x="119" y="115"/>
                    <a:pt x="119" y="115"/>
                  </a:cubicBezTo>
                  <a:cubicBezTo>
                    <a:pt x="119" y="115"/>
                    <a:pt x="119" y="115"/>
                    <a:pt x="119" y="115"/>
                  </a:cubicBezTo>
                  <a:cubicBezTo>
                    <a:pt x="118" y="115"/>
                    <a:pt x="118" y="115"/>
                    <a:pt x="118" y="115"/>
                  </a:cubicBezTo>
                  <a:cubicBezTo>
                    <a:pt x="118" y="114"/>
                    <a:pt x="118" y="114"/>
                    <a:pt x="118" y="113"/>
                  </a:cubicBezTo>
                  <a:cubicBezTo>
                    <a:pt x="117" y="112"/>
                    <a:pt x="117" y="112"/>
                    <a:pt x="117" y="111"/>
                  </a:cubicBezTo>
                  <a:cubicBezTo>
                    <a:pt x="117" y="111"/>
                    <a:pt x="117" y="111"/>
                    <a:pt x="117" y="111"/>
                  </a:cubicBezTo>
                  <a:cubicBezTo>
                    <a:pt x="117" y="110"/>
                    <a:pt x="117" y="110"/>
                    <a:pt x="117" y="109"/>
                  </a:cubicBezTo>
                  <a:cubicBezTo>
                    <a:pt x="117" y="109"/>
                    <a:pt x="116" y="108"/>
                    <a:pt x="115" y="107"/>
                  </a:cubicBezTo>
                  <a:cubicBezTo>
                    <a:pt x="115" y="107"/>
                    <a:pt x="115" y="107"/>
                    <a:pt x="115" y="107"/>
                  </a:cubicBezTo>
                  <a:cubicBezTo>
                    <a:pt x="115" y="107"/>
                    <a:pt x="115" y="107"/>
                    <a:pt x="115" y="107"/>
                  </a:cubicBezTo>
                  <a:cubicBezTo>
                    <a:pt x="115" y="106"/>
                    <a:pt x="115" y="106"/>
                    <a:pt x="115" y="106"/>
                  </a:cubicBezTo>
                  <a:cubicBezTo>
                    <a:pt x="114" y="104"/>
                    <a:pt x="114" y="104"/>
                    <a:pt x="114" y="104"/>
                  </a:cubicBezTo>
                  <a:cubicBezTo>
                    <a:pt x="114" y="104"/>
                    <a:pt x="114" y="103"/>
                    <a:pt x="114" y="103"/>
                  </a:cubicBezTo>
                  <a:cubicBezTo>
                    <a:pt x="113" y="103"/>
                    <a:pt x="113" y="102"/>
                    <a:pt x="112" y="102"/>
                  </a:cubicBezTo>
                  <a:cubicBezTo>
                    <a:pt x="111" y="101"/>
                    <a:pt x="111" y="101"/>
                    <a:pt x="111" y="101"/>
                  </a:cubicBezTo>
                  <a:cubicBezTo>
                    <a:pt x="110" y="101"/>
                    <a:pt x="110" y="100"/>
                    <a:pt x="109" y="100"/>
                  </a:cubicBezTo>
                  <a:cubicBezTo>
                    <a:pt x="109" y="100"/>
                    <a:pt x="109" y="100"/>
                    <a:pt x="109" y="100"/>
                  </a:cubicBezTo>
                  <a:cubicBezTo>
                    <a:pt x="107" y="99"/>
                    <a:pt x="105" y="97"/>
                    <a:pt x="104" y="96"/>
                  </a:cubicBezTo>
                  <a:cubicBezTo>
                    <a:pt x="103" y="96"/>
                    <a:pt x="103" y="96"/>
                    <a:pt x="103" y="96"/>
                  </a:cubicBezTo>
                  <a:cubicBezTo>
                    <a:pt x="103" y="95"/>
                    <a:pt x="102" y="94"/>
                    <a:pt x="102" y="93"/>
                  </a:cubicBezTo>
                  <a:cubicBezTo>
                    <a:pt x="102" y="93"/>
                    <a:pt x="102" y="93"/>
                    <a:pt x="102" y="93"/>
                  </a:cubicBezTo>
                  <a:cubicBezTo>
                    <a:pt x="101" y="90"/>
                    <a:pt x="100" y="89"/>
                    <a:pt x="99" y="88"/>
                  </a:cubicBezTo>
                  <a:cubicBezTo>
                    <a:pt x="99" y="88"/>
                    <a:pt x="99" y="88"/>
                    <a:pt x="99" y="88"/>
                  </a:cubicBezTo>
                  <a:cubicBezTo>
                    <a:pt x="96" y="86"/>
                    <a:pt x="92" y="84"/>
                    <a:pt x="91" y="81"/>
                  </a:cubicBezTo>
                  <a:cubicBezTo>
                    <a:pt x="91" y="80"/>
                    <a:pt x="90" y="79"/>
                    <a:pt x="90" y="79"/>
                  </a:cubicBezTo>
                  <a:cubicBezTo>
                    <a:pt x="90" y="79"/>
                    <a:pt x="90" y="78"/>
                    <a:pt x="90" y="78"/>
                  </a:cubicBezTo>
                  <a:cubicBezTo>
                    <a:pt x="90" y="77"/>
                    <a:pt x="90" y="77"/>
                    <a:pt x="91" y="76"/>
                  </a:cubicBezTo>
                  <a:cubicBezTo>
                    <a:pt x="91" y="76"/>
                    <a:pt x="91" y="76"/>
                    <a:pt x="91" y="76"/>
                  </a:cubicBezTo>
                  <a:cubicBezTo>
                    <a:pt x="89" y="75"/>
                    <a:pt x="88" y="75"/>
                    <a:pt x="87" y="74"/>
                  </a:cubicBezTo>
                  <a:cubicBezTo>
                    <a:pt x="86" y="73"/>
                    <a:pt x="86" y="73"/>
                    <a:pt x="86" y="73"/>
                  </a:cubicBezTo>
                  <a:cubicBezTo>
                    <a:pt x="80" y="71"/>
                    <a:pt x="73" y="67"/>
                    <a:pt x="67" y="63"/>
                  </a:cubicBezTo>
                  <a:cubicBezTo>
                    <a:pt x="64" y="61"/>
                    <a:pt x="64" y="61"/>
                    <a:pt x="64" y="61"/>
                  </a:cubicBezTo>
                  <a:cubicBezTo>
                    <a:pt x="68" y="59"/>
                    <a:pt x="68" y="59"/>
                    <a:pt x="68" y="59"/>
                  </a:cubicBezTo>
                  <a:cubicBezTo>
                    <a:pt x="68" y="59"/>
                    <a:pt x="69" y="59"/>
                    <a:pt x="69" y="58"/>
                  </a:cubicBezTo>
                  <a:cubicBezTo>
                    <a:pt x="69" y="58"/>
                    <a:pt x="69" y="58"/>
                    <a:pt x="69" y="58"/>
                  </a:cubicBezTo>
                  <a:cubicBezTo>
                    <a:pt x="69" y="57"/>
                    <a:pt x="69" y="57"/>
                    <a:pt x="69" y="57"/>
                  </a:cubicBezTo>
                  <a:cubicBezTo>
                    <a:pt x="69" y="56"/>
                    <a:pt x="69" y="56"/>
                    <a:pt x="69" y="56"/>
                  </a:cubicBezTo>
                  <a:cubicBezTo>
                    <a:pt x="69" y="56"/>
                    <a:pt x="69" y="55"/>
                    <a:pt x="69" y="55"/>
                  </a:cubicBezTo>
                  <a:cubicBezTo>
                    <a:pt x="69" y="54"/>
                    <a:pt x="69" y="53"/>
                    <a:pt x="70" y="53"/>
                  </a:cubicBezTo>
                  <a:cubicBezTo>
                    <a:pt x="70" y="52"/>
                    <a:pt x="70" y="52"/>
                    <a:pt x="70" y="52"/>
                  </a:cubicBezTo>
                  <a:cubicBezTo>
                    <a:pt x="72" y="52"/>
                    <a:pt x="72" y="52"/>
                    <a:pt x="72" y="52"/>
                  </a:cubicBezTo>
                  <a:cubicBezTo>
                    <a:pt x="73" y="51"/>
                    <a:pt x="73" y="51"/>
                    <a:pt x="73" y="51"/>
                  </a:cubicBezTo>
                  <a:cubicBezTo>
                    <a:pt x="73" y="51"/>
                    <a:pt x="73" y="51"/>
                    <a:pt x="74" y="51"/>
                  </a:cubicBezTo>
                  <a:cubicBezTo>
                    <a:pt x="74" y="51"/>
                    <a:pt x="74" y="51"/>
                    <a:pt x="74" y="51"/>
                  </a:cubicBezTo>
                  <a:cubicBezTo>
                    <a:pt x="75" y="51"/>
                    <a:pt x="76" y="51"/>
                    <a:pt x="76" y="52"/>
                  </a:cubicBezTo>
                  <a:cubicBezTo>
                    <a:pt x="77" y="52"/>
                    <a:pt x="77" y="52"/>
                    <a:pt x="77" y="52"/>
                  </a:cubicBezTo>
                  <a:cubicBezTo>
                    <a:pt x="78" y="52"/>
                    <a:pt x="78" y="52"/>
                    <a:pt x="79" y="52"/>
                  </a:cubicBezTo>
                  <a:cubicBezTo>
                    <a:pt x="80" y="53"/>
                    <a:pt x="80" y="53"/>
                    <a:pt x="80" y="53"/>
                  </a:cubicBezTo>
                  <a:cubicBezTo>
                    <a:pt x="81" y="53"/>
                    <a:pt x="81" y="53"/>
                    <a:pt x="82" y="53"/>
                  </a:cubicBezTo>
                  <a:cubicBezTo>
                    <a:pt x="82" y="52"/>
                    <a:pt x="82" y="52"/>
                    <a:pt x="82" y="52"/>
                  </a:cubicBezTo>
                  <a:cubicBezTo>
                    <a:pt x="82" y="52"/>
                    <a:pt x="82" y="52"/>
                    <a:pt x="82" y="52"/>
                  </a:cubicBezTo>
                  <a:cubicBezTo>
                    <a:pt x="82" y="52"/>
                    <a:pt x="82" y="52"/>
                    <a:pt x="82" y="52"/>
                  </a:cubicBezTo>
                  <a:cubicBezTo>
                    <a:pt x="83" y="51"/>
                    <a:pt x="84" y="51"/>
                    <a:pt x="84" y="50"/>
                  </a:cubicBezTo>
                  <a:cubicBezTo>
                    <a:pt x="85" y="50"/>
                    <a:pt x="85" y="50"/>
                    <a:pt x="85" y="50"/>
                  </a:cubicBezTo>
                  <a:cubicBezTo>
                    <a:pt x="85" y="49"/>
                    <a:pt x="86" y="49"/>
                    <a:pt x="86" y="48"/>
                  </a:cubicBezTo>
                  <a:cubicBezTo>
                    <a:pt x="87" y="48"/>
                    <a:pt x="87" y="47"/>
                    <a:pt x="87" y="45"/>
                  </a:cubicBezTo>
                  <a:cubicBezTo>
                    <a:pt x="87" y="45"/>
                    <a:pt x="85" y="44"/>
                    <a:pt x="85" y="44"/>
                  </a:cubicBezTo>
                  <a:cubicBezTo>
                    <a:pt x="85" y="44"/>
                    <a:pt x="85" y="44"/>
                    <a:pt x="85" y="44"/>
                  </a:cubicBezTo>
                  <a:cubicBezTo>
                    <a:pt x="84" y="43"/>
                    <a:pt x="84" y="43"/>
                    <a:pt x="84" y="43"/>
                  </a:cubicBezTo>
                  <a:cubicBezTo>
                    <a:pt x="82" y="42"/>
                    <a:pt x="82" y="42"/>
                    <a:pt x="80" y="41"/>
                  </a:cubicBezTo>
                  <a:cubicBezTo>
                    <a:pt x="79" y="41"/>
                    <a:pt x="79" y="41"/>
                    <a:pt x="78" y="41"/>
                  </a:cubicBezTo>
                  <a:cubicBezTo>
                    <a:pt x="74" y="40"/>
                    <a:pt x="74" y="40"/>
                    <a:pt x="74" y="40"/>
                  </a:cubicBezTo>
                  <a:cubicBezTo>
                    <a:pt x="77" y="37"/>
                    <a:pt x="77" y="37"/>
                    <a:pt x="77" y="37"/>
                  </a:cubicBezTo>
                  <a:cubicBezTo>
                    <a:pt x="77" y="36"/>
                    <a:pt x="77" y="36"/>
                    <a:pt x="77" y="36"/>
                  </a:cubicBezTo>
                  <a:cubicBezTo>
                    <a:pt x="78" y="36"/>
                    <a:pt x="79" y="35"/>
                    <a:pt x="80" y="35"/>
                  </a:cubicBezTo>
                  <a:cubicBezTo>
                    <a:pt x="80" y="35"/>
                    <a:pt x="80" y="35"/>
                    <a:pt x="80" y="35"/>
                  </a:cubicBezTo>
                  <a:cubicBezTo>
                    <a:pt x="80" y="35"/>
                    <a:pt x="80" y="35"/>
                    <a:pt x="80" y="35"/>
                  </a:cubicBezTo>
                  <a:cubicBezTo>
                    <a:pt x="79" y="35"/>
                    <a:pt x="79" y="35"/>
                    <a:pt x="79" y="35"/>
                  </a:cubicBezTo>
                  <a:cubicBezTo>
                    <a:pt x="79" y="35"/>
                    <a:pt x="78" y="34"/>
                    <a:pt x="78" y="34"/>
                  </a:cubicBezTo>
                  <a:cubicBezTo>
                    <a:pt x="76" y="37"/>
                    <a:pt x="76" y="37"/>
                    <a:pt x="76" y="37"/>
                  </a:cubicBezTo>
                  <a:cubicBezTo>
                    <a:pt x="77" y="34"/>
                    <a:pt x="77" y="34"/>
                    <a:pt x="77" y="34"/>
                  </a:cubicBezTo>
                  <a:cubicBezTo>
                    <a:pt x="75" y="36"/>
                    <a:pt x="75" y="36"/>
                    <a:pt x="75" y="36"/>
                  </a:cubicBezTo>
                  <a:cubicBezTo>
                    <a:pt x="76" y="33"/>
                    <a:pt x="76" y="33"/>
                    <a:pt x="76" y="33"/>
                  </a:cubicBezTo>
                  <a:cubicBezTo>
                    <a:pt x="76" y="33"/>
                    <a:pt x="76" y="33"/>
                    <a:pt x="76" y="33"/>
                  </a:cubicBezTo>
                  <a:cubicBezTo>
                    <a:pt x="75" y="32"/>
                    <a:pt x="75" y="32"/>
                    <a:pt x="75" y="32"/>
                  </a:cubicBezTo>
                  <a:cubicBezTo>
                    <a:pt x="75" y="32"/>
                    <a:pt x="75" y="32"/>
                    <a:pt x="75" y="32"/>
                  </a:cubicBezTo>
                  <a:cubicBezTo>
                    <a:pt x="75" y="31"/>
                    <a:pt x="75" y="31"/>
                    <a:pt x="74" y="31"/>
                  </a:cubicBezTo>
                  <a:cubicBezTo>
                    <a:pt x="74" y="31"/>
                    <a:pt x="74" y="31"/>
                    <a:pt x="73" y="31"/>
                  </a:cubicBezTo>
                  <a:cubicBezTo>
                    <a:pt x="73" y="31"/>
                    <a:pt x="73" y="31"/>
                    <a:pt x="73" y="31"/>
                  </a:cubicBezTo>
                  <a:cubicBezTo>
                    <a:pt x="72" y="32"/>
                    <a:pt x="72" y="32"/>
                    <a:pt x="72" y="32"/>
                  </a:cubicBezTo>
                  <a:cubicBezTo>
                    <a:pt x="71" y="32"/>
                    <a:pt x="70" y="33"/>
                    <a:pt x="69" y="33"/>
                  </a:cubicBezTo>
                  <a:cubicBezTo>
                    <a:pt x="69" y="34"/>
                    <a:pt x="69" y="34"/>
                    <a:pt x="69" y="34"/>
                  </a:cubicBezTo>
                  <a:cubicBezTo>
                    <a:pt x="68" y="36"/>
                    <a:pt x="68" y="36"/>
                    <a:pt x="68" y="36"/>
                  </a:cubicBezTo>
                  <a:cubicBezTo>
                    <a:pt x="68" y="36"/>
                    <a:pt x="68" y="36"/>
                    <a:pt x="68" y="36"/>
                  </a:cubicBezTo>
                  <a:cubicBezTo>
                    <a:pt x="67" y="36"/>
                    <a:pt x="67" y="36"/>
                    <a:pt x="67" y="36"/>
                  </a:cubicBezTo>
                  <a:cubicBezTo>
                    <a:pt x="67" y="36"/>
                    <a:pt x="67" y="36"/>
                    <a:pt x="67" y="36"/>
                  </a:cubicBezTo>
                  <a:cubicBezTo>
                    <a:pt x="67" y="36"/>
                    <a:pt x="67" y="37"/>
                    <a:pt x="66" y="37"/>
                  </a:cubicBezTo>
                  <a:cubicBezTo>
                    <a:pt x="65" y="37"/>
                    <a:pt x="65" y="37"/>
                    <a:pt x="65" y="37"/>
                  </a:cubicBezTo>
                  <a:cubicBezTo>
                    <a:pt x="65" y="37"/>
                    <a:pt x="65" y="37"/>
                    <a:pt x="65" y="37"/>
                  </a:cubicBezTo>
                  <a:cubicBezTo>
                    <a:pt x="64" y="37"/>
                    <a:pt x="64" y="37"/>
                    <a:pt x="64" y="37"/>
                  </a:cubicBezTo>
                  <a:cubicBezTo>
                    <a:pt x="63" y="36"/>
                    <a:pt x="63" y="36"/>
                    <a:pt x="63" y="36"/>
                  </a:cubicBezTo>
                  <a:cubicBezTo>
                    <a:pt x="62" y="36"/>
                    <a:pt x="62" y="36"/>
                    <a:pt x="62" y="36"/>
                  </a:cubicBezTo>
                  <a:cubicBezTo>
                    <a:pt x="61" y="36"/>
                    <a:pt x="61" y="36"/>
                    <a:pt x="61" y="36"/>
                  </a:cubicBezTo>
                  <a:cubicBezTo>
                    <a:pt x="61" y="35"/>
                    <a:pt x="61" y="35"/>
                    <a:pt x="61" y="35"/>
                  </a:cubicBezTo>
                  <a:cubicBezTo>
                    <a:pt x="60" y="35"/>
                    <a:pt x="60" y="35"/>
                    <a:pt x="59" y="35"/>
                  </a:cubicBezTo>
                  <a:cubicBezTo>
                    <a:pt x="59" y="34"/>
                    <a:pt x="59" y="34"/>
                    <a:pt x="59" y="34"/>
                  </a:cubicBezTo>
                  <a:cubicBezTo>
                    <a:pt x="59" y="34"/>
                    <a:pt x="58" y="34"/>
                    <a:pt x="58" y="34"/>
                  </a:cubicBezTo>
                  <a:cubicBezTo>
                    <a:pt x="57" y="34"/>
                    <a:pt x="57" y="34"/>
                    <a:pt x="57" y="34"/>
                  </a:cubicBezTo>
                  <a:cubicBezTo>
                    <a:pt x="56" y="34"/>
                    <a:pt x="56" y="34"/>
                    <a:pt x="55" y="33"/>
                  </a:cubicBezTo>
                  <a:cubicBezTo>
                    <a:pt x="52" y="31"/>
                    <a:pt x="50" y="29"/>
                    <a:pt x="49" y="25"/>
                  </a:cubicBezTo>
                  <a:cubicBezTo>
                    <a:pt x="49" y="25"/>
                    <a:pt x="49" y="25"/>
                    <a:pt x="49" y="25"/>
                  </a:cubicBezTo>
                  <a:cubicBezTo>
                    <a:pt x="46" y="26"/>
                    <a:pt x="46" y="26"/>
                    <a:pt x="46" y="26"/>
                  </a:cubicBezTo>
                  <a:cubicBezTo>
                    <a:pt x="48" y="24"/>
                    <a:pt x="48" y="24"/>
                    <a:pt x="48" y="24"/>
                  </a:cubicBezTo>
                  <a:cubicBezTo>
                    <a:pt x="48" y="24"/>
                    <a:pt x="48" y="24"/>
                    <a:pt x="48" y="24"/>
                  </a:cubicBezTo>
                  <a:cubicBezTo>
                    <a:pt x="48" y="23"/>
                    <a:pt x="48" y="22"/>
                    <a:pt x="48" y="21"/>
                  </a:cubicBezTo>
                  <a:cubicBezTo>
                    <a:pt x="48" y="21"/>
                    <a:pt x="48" y="21"/>
                    <a:pt x="48" y="21"/>
                  </a:cubicBezTo>
                  <a:cubicBezTo>
                    <a:pt x="48" y="21"/>
                    <a:pt x="48" y="20"/>
                    <a:pt x="48" y="20"/>
                  </a:cubicBezTo>
                  <a:cubicBezTo>
                    <a:pt x="48" y="19"/>
                    <a:pt x="48" y="19"/>
                    <a:pt x="48" y="19"/>
                  </a:cubicBezTo>
                  <a:cubicBezTo>
                    <a:pt x="48" y="18"/>
                    <a:pt x="48" y="18"/>
                    <a:pt x="49" y="17"/>
                  </a:cubicBezTo>
                  <a:cubicBezTo>
                    <a:pt x="49" y="17"/>
                    <a:pt x="49" y="17"/>
                    <a:pt x="49" y="17"/>
                  </a:cubicBezTo>
                  <a:cubicBezTo>
                    <a:pt x="49" y="16"/>
                    <a:pt x="49" y="16"/>
                    <a:pt x="49" y="16"/>
                  </a:cubicBezTo>
                  <a:cubicBezTo>
                    <a:pt x="49" y="16"/>
                    <a:pt x="49" y="16"/>
                    <a:pt x="49" y="16"/>
                  </a:cubicBezTo>
                  <a:cubicBezTo>
                    <a:pt x="48" y="17"/>
                    <a:pt x="48" y="17"/>
                    <a:pt x="47" y="17"/>
                  </a:cubicBezTo>
                  <a:cubicBezTo>
                    <a:pt x="47" y="17"/>
                    <a:pt x="47" y="17"/>
                    <a:pt x="47" y="17"/>
                  </a:cubicBezTo>
                  <a:cubicBezTo>
                    <a:pt x="47" y="17"/>
                    <a:pt x="46" y="17"/>
                    <a:pt x="46" y="17"/>
                  </a:cubicBezTo>
                  <a:cubicBezTo>
                    <a:pt x="44" y="17"/>
                    <a:pt x="44" y="17"/>
                    <a:pt x="44" y="17"/>
                  </a:cubicBezTo>
                  <a:cubicBezTo>
                    <a:pt x="44" y="15"/>
                    <a:pt x="44" y="15"/>
                    <a:pt x="44" y="15"/>
                  </a:cubicBezTo>
                  <a:cubicBezTo>
                    <a:pt x="44" y="15"/>
                    <a:pt x="43" y="14"/>
                    <a:pt x="43" y="14"/>
                  </a:cubicBezTo>
                  <a:cubicBezTo>
                    <a:pt x="43" y="13"/>
                    <a:pt x="43" y="13"/>
                    <a:pt x="43" y="13"/>
                  </a:cubicBezTo>
                  <a:cubicBezTo>
                    <a:pt x="43" y="12"/>
                    <a:pt x="42" y="10"/>
                    <a:pt x="41" y="9"/>
                  </a:cubicBezTo>
                  <a:cubicBezTo>
                    <a:pt x="40" y="8"/>
                    <a:pt x="40" y="8"/>
                    <a:pt x="40" y="8"/>
                  </a:cubicBezTo>
                  <a:cubicBezTo>
                    <a:pt x="40" y="8"/>
                    <a:pt x="40" y="8"/>
                    <a:pt x="40" y="8"/>
                  </a:cubicBezTo>
                  <a:cubicBezTo>
                    <a:pt x="39" y="7"/>
                    <a:pt x="38" y="5"/>
                    <a:pt x="36" y="4"/>
                  </a:cubicBezTo>
                  <a:cubicBezTo>
                    <a:pt x="34" y="2"/>
                    <a:pt x="34" y="2"/>
                    <a:pt x="34" y="2"/>
                  </a:cubicBezTo>
                  <a:cubicBezTo>
                    <a:pt x="34" y="2"/>
                    <a:pt x="34" y="2"/>
                    <a:pt x="34" y="2"/>
                  </a:cubicBezTo>
                  <a:cubicBezTo>
                    <a:pt x="33" y="2"/>
                    <a:pt x="33" y="1"/>
                    <a:pt x="32" y="1"/>
                  </a:cubicBezTo>
                  <a:cubicBezTo>
                    <a:pt x="31" y="1"/>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440"/>
            <p:cNvSpPr/>
            <p:nvPr/>
          </p:nvSpPr>
          <p:spPr bwMode="auto">
            <a:xfrm>
              <a:off x="4752185" y="5310579"/>
              <a:ext cx="441520" cy="825271"/>
            </a:xfrm>
            <a:custGeom>
              <a:gdLst>
                <a:gd name="T0" fmla="*/ 49 w 136"/>
                <a:gd name="T1" fmla="*/ 9 h 254"/>
                <a:gd name="T2" fmla="*/ 37 w 136"/>
                <a:gd name="T3" fmla="*/ 12 h 254"/>
                <a:gd name="T4" fmla="*/ 27 w 136"/>
                <a:gd name="T5" fmla="*/ 13 h 254"/>
                <a:gd name="T6" fmla="*/ 20 w 136"/>
                <a:gd name="T7" fmla="*/ 13 h 254"/>
                <a:gd name="T8" fmla="*/ 14 w 136"/>
                <a:gd name="T9" fmla="*/ 18 h 254"/>
                <a:gd name="T10" fmla="*/ 4 w 136"/>
                <a:gd name="T11" fmla="*/ 12 h 254"/>
                <a:gd name="T12" fmla="*/ 9 w 136"/>
                <a:gd name="T13" fmla="*/ 29 h 254"/>
                <a:gd name="T14" fmla="*/ 13 w 136"/>
                <a:gd name="T15" fmla="*/ 28 h 254"/>
                <a:gd name="T16" fmla="*/ 14 w 136"/>
                <a:gd name="T17" fmla="*/ 38 h 254"/>
                <a:gd name="T18" fmla="*/ 19 w 136"/>
                <a:gd name="T19" fmla="*/ 46 h 254"/>
                <a:gd name="T20" fmla="*/ 25 w 136"/>
                <a:gd name="T21" fmla="*/ 49 h 254"/>
                <a:gd name="T22" fmla="*/ 30 w 136"/>
                <a:gd name="T23" fmla="*/ 45 h 254"/>
                <a:gd name="T24" fmla="*/ 37 w 136"/>
                <a:gd name="T25" fmla="*/ 44 h 254"/>
                <a:gd name="T26" fmla="*/ 42 w 136"/>
                <a:gd name="T27" fmla="*/ 47 h 254"/>
                <a:gd name="T28" fmla="*/ 46 w 136"/>
                <a:gd name="T29" fmla="*/ 52 h 254"/>
                <a:gd name="T30" fmla="*/ 49 w 136"/>
                <a:gd name="T31" fmla="*/ 57 h 254"/>
                <a:gd name="T32" fmla="*/ 47 w 136"/>
                <a:gd name="T33" fmla="*/ 72 h 254"/>
                <a:gd name="T34" fmla="*/ 41 w 136"/>
                <a:gd name="T35" fmla="*/ 74 h 254"/>
                <a:gd name="T36" fmla="*/ 34 w 136"/>
                <a:gd name="T37" fmla="*/ 77 h 254"/>
                <a:gd name="T38" fmla="*/ 59 w 136"/>
                <a:gd name="T39" fmla="*/ 91 h 254"/>
                <a:gd name="T40" fmla="*/ 63 w 136"/>
                <a:gd name="T41" fmla="*/ 101 h 254"/>
                <a:gd name="T42" fmla="*/ 75 w 136"/>
                <a:gd name="T43" fmla="*/ 115 h 254"/>
                <a:gd name="T44" fmla="*/ 83 w 136"/>
                <a:gd name="T45" fmla="*/ 125 h 254"/>
                <a:gd name="T46" fmla="*/ 84 w 136"/>
                <a:gd name="T47" fmla="*/ 131 h 254"/>
                <a:gd name="T48" fmla="*/ 89 w 136"/>
                <a:gd name="T49" fmla="*/ 131 h 254"/>
                <a:gd name="T50" fmla="*/ 92 w 136"/>
                <a:gd name="T51" fmla="*/ 136 h 254"/>
                <a:gd name="T52" fmla="*/ 99 w 136"/>
                <a:gd name="T53" fmla="*/ 141 h 254"/>
                <a:gd name="T54" fmla="*/ 100 w 136"/>
                <a:gd name="T55" fmla="*/ 151 h 254"/>
                <a:gd name="T56" fmla="*/ 101 w 136"/>
                <a:gd name="T57" fmla="*/ 163 h 254"/>
                <a:gd name="T58" fmla="*/ 102 w 136"/>
                <a:gd name="T59" fmla="*/ 170 h 254"/>
                <a:gd name="T60" fmla="*/ 101 w 136"/>
                <a:gd name="T61" fmla="*/ 185 h 254"/>
                <a:gd name="T62" fmla="*/ 102 w 136"/>
                <a:gd name="T63" fmla="*/ 202 h 254"/>
                <a:gd name="T64" fmla="*/ 103 w 136"/>
                <a:gd name="T65" fmla="*/ 212 h 254"/>
                <a:gd name="T66" fmla="*/ 94 w 136"/>
                <a:gd name="T67" fmla="*/ 218 h 254"/>
                <a:gd name="T68" fmla="*/ 81 w 136"/>
                <a:gd name="T69" fmla="*/ 225 h 254"/>
                <a:gd name="T70" fmla="*/ 69 w 136"/>
                <a:gd name="T71" fmla="*/ 230 h 254"/>
                <a:gd name="T72" fmla="*/ 76 w 136"/>
                <a:gd name="T73" fmla="*/ 244 h 254"/>
                <a:gd name="T74" fmla="*/ 65 w 136"/>
                <a:gd name="T75" fmla="*/ 243 h 254"/>
                <a:gd name="T76" fmla="*/ 72 w 136"/>
                <a:gd name="T77" fmla="*/ 254 h 254"/>
                <a:gd name="T78" fmla="*/ 83 w 136"/>
                <a:gd name="T79" fmla="*/ 250 h 254"/>
                <a:gd name="T80" fmla="*/ 88 w 136"/>
                <a:gd name="T81" fmla="*/ 245 h 254"/>
                <a:gd name="T82" fmla="*/ 91 w 136"/>
                <a:gd name="T83" fmla="*/ 253 h 254"/>
                <a:gd name="T84" fmla="*/ 133 w 136"/>
                <a:gd name="T85" fmla="*/ 223 h 254"/>
                <a:gd name="T86" fmla="*/ 134 w 136"/>
                <a:gd name="T87" fmla="*/ 213 h 254"/>
                <a:gd name="T88" fmla="*/ 135 w 136"/>
                <a:gd name="T89" fmla="*/ 206 h 254"/>
                <a:gd name="T90" fmla="*/ 132 w 136"/>
                <a:gd name="T91" fmla="*/ 182 h 254"/>
                <a:gd name="T92" fmla="*/ 115 w 136"/>
                <a:gd name="T93" fmla="*/ 143 h 254"/>
                <a:gd name="T94" fmla="*/ 112 w 136"/>
                <a:gd name="T95" fmla="*/ 139 h 254"/>
                <a:gd name="T96" fmla="*/ 76 w 136"/>
                <a:gd name="T97" fmla="*/ 109 h 254"/>
                <a:gd name="T98" fmla="*/ 63 w 136"/>
                <a:gd name="T99" fmla="*/ 84 h 254"/>
                <a:gd name="T100" fmla="*/ 81 w 136"/>
                <a:gd name="T101" fmla="*/ 59 h 254"/>
                <a:gd name="T102" fmla="*/ 88 w 136"/>
                <a:gd name="T103" fmla="*/ 47 h 254"/>
                <a:gd name="T104" fmla="*/ 93 w 136"/>
                <a:gd name="T105" fmla="*/ 46 h 254"/>
                <a:gd name="T106" fmla="*/ 101 w 136"/>
                <a:gd name="T107" fmla="*/ 41 h 254"/>
                <a:gd name="T108" fmla="*/ 99 w 136"/>
                <a:gd name="T109" fmla="*/ 34 h 254"/>
                <a:gd name="T110" fmla="*/ 89 w 136"/>
                <a:gd name="T111" fmla="*/ 28 h 254"/>
                <a:gd name="T112" fmla="*/ 81 w 136"/>
                <a:gd name="T113" fmla="*/ 25 h 254"/>
                <a:gd name="T114" fmla="*/ 80 w 136"/>
                <a:gd name="T115" fmla="*/ 19 h 254"/>
                <a:gd name="T116" fmla="*/ 82 w 136"/>
                <a:gd name="T117" fmla="*/ 10 h 254"/>
                <a:gd name="T118" fmla="*/ 64 w 136"/>
                <a:gd name="T119" fmla="*/ 7 h 254"/>
                <a:gd name="T120" fmla="*/ 57 w 136"/>
                <a:gd name="T121" fmla="*/ 0 h 2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254">
                  <a:moveTo>
                    <a:pt x="56" y="0"/>
                  </a:moveTo>
                  <a:cubicBezTo>
                    <a:pt x="56" y="1"/>
                    <a:pt x="54" y="1"/>
                    <a:pt x="54" y="2"/>
                  </a:cubicBezTo>
                  <a:cubicBezTo>
                    <a:pt x="53" y="3"/>
                    <a:pt x="53" y="3"/>
                    <a:pt x="53" y="3"/>
                  </a:cubicBezTo>
                  <a:cubicBezTo>
                    <a:pt x="53" y="3"/>
                    <a:pt x="53" y="3"/>
                    <a:pt x="52" y="4"/>
                  </a:cubicBezTo>
                  <a:cubicBezTo>
                    <a:pt x="52" y="5"/>
                    <a:pt x="51" y="6"/>
                    <a:pt x="50" y="8"/>
                  </a:cubicBezTo>
                  <a:cubicBezTo>
                    <a:pt x="49" y="8"/>
                    <a:pt x="49" y="9"/>
                    <a:pt x="49" y="9"/>
                  </a:cubicBezTo>
                  <a:cubicBezTo>
                    <a:pt x="48" y="10"/>
                    <a:pt x="48" y="10"/>
                    <a:pt x="48" y="10"/>
                  </a:cubicBezTo>
                  <a:cubicBezTo>
                    <a:pt x="47" y="10"/>
                    <a:pt x="46" y="11"/>
                    <a:pt x="45" y="11"/>
                  </a:cubicBezTo>
                  <a:cubicBezTo>
                    <a:pt x="44" y="11"/>
                    <a:pt x="44" y="11"/>
                    <a:pt x="44" y="11"/>
                  </a:cubicBezTo>
                  <a:cubicBezTo>
                    <a:pt x="41" y="13"/>
                    <a:pt x="41" y="13"/>
                    <a:pt x="41" y="13"/>
                  </a:cubicBezTo>
                  <a:cubicBezTo>
                    <a:pt x="41" y="13"/>
                    <a:pt x="40" y="13"/>
                    <a:pt x="40" y="13"/>
                  </a:cubicBezTo>
                  <a:cubicBezTo>
                    <a:pt x="39" y="13"/>
                    <a:pt x="38" y="12"/>
                    <a:pt x="37" y="12"/>
                  </a:cubicBezTo>
                  <a:cubicBezTo>
                    <a:pt x="34" y="15"/>
                    <a:pt x="34" y="15"/>
                    <a:pt x="34" y="15"/>
                  </a:cubicBezTo>
                  <a:cubicBezTo>
                    <a:pt x="33" y="16"/>
                    <a:pt x="32" y="17"/>
                    <a:pt x="31" y="17"/>
                  </a:cubicBezTo>
                  <a:cubicBezTo>
                    <a:pt x="29" y="17"/>
                    <a:pt x="28" y="16"/>
                    <a:pt x="28" y="15"/>
                  </a:cubicBezTo>
                  <a:cubicBezTo>
                    <a:pt x="27" y="14"/>
                    <a:pt x="27" y="14"/>
                    <a:pt x="27" y="14"/>
                  </a:cubicBezTo>
                  <a:cubicBezTo>
                    <a:pt x="27" y="14"/>
                    <a:pt x="27" y="14"/>
                    <a:pt x="27" y="14"/>
                  </a:cubicBezTo>
                  <a:cubicBezTo>
                    <a:pt x="27" y="13"/>
                    <a:pt x="27" y="13"/>
                    <a:pt x="27" y="13"/>
                  </a:cubicBezTo>
                  <a:cubicBezTo>
                    <a:pt x="26" y="13"/>
                    <a:pt x="26" y="13"/>
                    <a:pt x="26" y="13"/>
                  </a:cubicBezTo>
                  <a:cubicBezTo>
                    <a:pt x="26" y="14"/>
                    <a:pt x="25" y="14"/>
                    <a:pt x="25" y="15"/>
                  </a:cubicBezTo>
                  <a:cubicBezTo>
                    <a:pt x="23" y="17"/>
                    <a:pt x="23" y="17"/>
                    <a:pt x="23" y="17"/>
                  </a:cubicBezTo>
                  <a:cubicBezTo>
                    <a:pt x="21" y="15"/>
                    <a:pt x="21" y="15"/>
                    <a:pt x="21" y="15"/>
                  </a:cubicBezTo>
                  <a:cubicBezTo>
                    <a:pt x="21" y="14"/>
                    <a:pt x="21" y="14"/>
                    <a:pt x="20" y="13"/>
                  </a:cubicBezTo>
                  <a:cubicBezTo>
                    <a:pt x="20" y="13"/>
                    <a:pt x="20" y="13"/>
                    <a:pt x="20" y="13"/>
                  </a:cubicBezTo>
                  <a:cubicBezTo>
                    <a:pt x="20" y="12"/>
                    <a:pt x="20" y="12"/>
                    <a:pt x="20" y="12"/>
                  </a:cubicBezTo>
                  <a:cubicBezTo>
                    <a:pt x="18" y="15"/>
                    <a:pt x="18" y="15"/>
                    <a:pt x="18" y="15"/>
                  </a:cubicBezTo>
                  <a:cubicBezTo>
                    <a:pt x="18" y="15"/>
                    <a:pt x="17" y="16"/>
                    <a:pt x="17" y="16"/>
                  </a:cubicBezTo>
                  <a:cubicBezTo>
                    <a:pt x="16" y="18"/>
                    <a:pt x="16" y="18"/>
                    <a:pt x="16" y="18"/>
                  </a:cubicBezTo>
                  <a:cubicBezTo>
                    <a:pt x="14" y="18"/>
                    <a:pt x="14" y="18"/>
                    <a:pt x="14" y="18"/>
                  </a:cubicBezTo>
                  <a:cubicBezTo>
                    <a:pt x="14" y="18"/>
                    <a:pt x="14" y="18"/>
                    <a:pt x="14" y="18"/>
                  </a:cubicBezTo>
                  <a:cubicBezTo>
                    <a:pt x="13" y="18"/>
                    <a:pt x="11" y="17"/>
                    <a:pt x="10" y="16"/>
                  </a:cubicBezTo>
                  <a:cubicBezTo>
                    <a:pt x="10" y="16"/>
                    <a:pt x="10" y="16"/>
                    <a:pt x="10" y="16"/>
                  </a:cubicBezTo>
                  <a:cubicBezTo>
                    <a:pt x="9" y="15"/>
                    <a:pt x="9" y="15"/>
                    <a:pt x="9" y="15"/>
                  </a:cubicBezTo>
                  <a:cubicBezTo>
                    <a:pt x="9" y="14"/>
                    <a:pt x="8" y="14"/>
                    <a:pt x="7" y="14"/>
                  </a:cubicBezTo>
                  <a:cubicBezTo>
                    <a:pt x="6" y="13"/>
                    <a:pt x="6" y="13"/>
                    <a:pt x="6" y="13"/>
                  </a:cubicBezTo>
                  <a:cubicBezTo>
                    <a:pt x="5" y="13"/>
                    <a:pt x="5" y="12"/>
                    <a:pt x="4" y="12"/>
                  </a:cubicBezTo>
                  <a:cubicBezTo>
                    <a:pt x="4" y="13"/>
                    <a:pt x="4" y="13"/>
                    <a:pt x="4" y="13"/>
                  </a:cubicBezTo>
                  <a:cubicBezTo>
                    <a:pt x="3" y="14"/>
                    <a:pt x="1" y="16"/>
                    <a:pt x="0" y="17"/>
                  </a:cubicBezTo>
                  <a:cubicBezTo>
                    <a:pt x="1" y="18"/>
                    <a:pt x="1" y="18"/>
                    <a:pt x="1" y="18"/>
                  </a:cubicBezTo>
                  <a:cubicBezTo>
                    <a:pt x="2" y="19"/>
                    <a:pt x="3" y="20"/>
                    <a:pt x="4" y="22"/>
                  </a:cubicBezTo>
                  <a:cubicBezTo>
                    <a:pt x="5" y="22"/>
                    <a:pt x="5" y="22"/>
                    <a:pt x="5" y="23"/>
                  </a:cubicBezTo>
                  <a:cubicBezTo>
                    <a:pt x="7" y="25"/>
                    <a:pt x="8" y="27"/>
                    <a:pt x="9" y="29"/>
                  </a:cubicBezTo>
                  <a:cubicBezTo>
                    <a:pt x="9" y="28"/>
                    <a:pt x="9" y="28"/>
                    <a:pt x="9" y="28"/>
                  </a:cubicBezTo>
                  <a:cubicBezTo>
                    <a:pt x="10" y="28"/>
                    <a:pt x="10" y="28"/>
                    <a:pt x="10" y="28"/>
                  </a:cubicBezTo>
                  <a:cubicBezTo>
                    <a:pt x="10" y="28"/>
                    <a:pt x="10" y="28"/>
                    <a:pt x="10" y="28"/>
                  </a:cubicBezTo>
                  <a:cubicBezTo>
                    <a:pt x="10" y="28"/>
                    <a:pt x="11" y="28"/>
                    <a:pt x="11" y="28"/>
                  </a:cubicBezTo>
                  <a:cubicBezTo>
                    <a:pt x="12" y="28"/>
                    <a:pt x="12" y="28"/>
                    <a:pt x="13" y="28"/>
                  </a:cubicBezTo>
                  <a:cubicBezTo>
                    <a:pt x="13" y="28"/>
                    <a:pt x="13" y="28"/>
                    <a:pt x="13" y="28"/>
                  </a:cubicBezTo>
                  <a:cubicBezTo>
                    <a:pt x="14" y="29"/>
                    <a:pt x="15" y="29"/>
                    <a:pt x="15" y="30"/>
                  </a:cubicBezTo>
                  <a:cubicBezTo>
                    <a:pt x="16" y="32"/>
                    <a:pt x="15" y="33"/>
                    <a:pt x="15" y="34"/>
                  </a:cubicBezTo>
                  <a:cubicBezTo>
                    <a:pt x="14" y="36"/>
                    <a:pt x="14" y="36"/>
                    <a:pt x="14" y="36"/>
                  </a:cubicBezTo>
                  <a:cubicBezTo>
                    <a:pt x="14" y="36"/>
                    <a:pt x="14" y="37"/>
                    <a:pt x="14" y="37"/>
                  </a:cubicBezTo>
                  <a:cubicBezTo>
                    <a:pt x="14" y="38"/>
                    <a:pt x="14" y="38"/>
                    <a:pt x="14" y="38"/>
                  </a:cubicBezTo>
                  <a:cubicBezTo>
                    <a:pt x="14" y="38"/>
                    <a:pt x="14" y="38"/>
                    <a:pt x="14" y="38"/>
                  </a:cubicBezTo>
                  <a:cubicBezTo>
                    <a:pt x="14" y="38"/>
                    <a:pt x="14" y="38"/>
                    <a:pt x="14" y="38"/>
                  </a:cubicBezTo>
                  <a:cubicBezTo>
                    <a:pt x="14" y="39"/>
                    <a:pt x="14" y="39"/>
                    <a:pt x="14" y="39"/>
                  </a:cubicBezTo>
                  <a:cubicBezTo>
                    <a:pt x="14" y="40"/>
                    <a:pt x="14" y="40"/>
                    <a:pt x="14" y="40"/>
                  </a:cubicBezTo>
                  <a:cubicBezTo>
                    <a:pt x="14" y="41"/>
                    <a:pt x="14" y="41"/>
                    <a:pt x="14" y="41"/>
                  </a:cubicBezTo>
                  <a:cubicBezTo>
                    <a:pt x="15" y="43"/>
                    <a:pt x="17" y="45"/>
                    <a:pt x="18" y="46"/>
                  </a:cubicBezTo>
                  <a:cubicBezTo>
                    <a:pt x="19" y="46"/>
                    <a:pt x="19" y="46"/>
                    <a:pt x="19" y="46"/>
                  </a:cubicBezTo>
                  <a:cubicBezTo>
                    <a:pt x="19" y="46"/>
                    <a:pt x="19" y="46"/>
                    <a:pt x="19" y="46"/>
                  </a:cubicBezTo>
                  <a:cubicBezTo>
                    <a:pt x="20" y="46"/>
                    <a:pt x="20" y="46"/>
                    <a:pt x="21" y="47"/>
                  </a:cubicBezTo>
                  <a:cubicBezTo>
                    <a:pt x="21" y="47"/>
                    <a:pt x="22" y="47"/>
                    <a:pt x="23" y="47"/>
                  </a:cubicBezTo>
                  <a:cubicBezTo>
                    <a:pt x="23" y="48"/>
                    <a:pt x="23" y="48"/>
                    <a:pt x="23" y="48"/>
                  </a:cubicBezTo>
                  <a:cubicBezTo>
                    <a:pt x="24" y="48"/>
                    <a:pt x="24" y="48"/>
                    <a:pt x="24" y="48"/>
                  </a:cubicBezTo>
                  <a:cubicBezTo>
                    <a:pt x="24" y="48"/>
                    <a:pt x="24" y="48"/>
                    <a:pt x="25" y="49"/>
                  </a:cubicBezTo>
                  <a:cubicBezTo>
                    <a:pt x="25" y="48"/>
                    <a:pt x="25" y="48"/>
                    <a:pt x="25" y="48"/>
                  </a:cubicBezTo>
                  <a:cubicBezTo>
                    <a:pt x="26" y="49"/>
                    <a:pt x="26" y="49"/>
                    <a:pt x="26" y="49"/>
                  </a:cubicBezTo>
                  <a:cubicBezTo>
                    <a:pt x="26" y="49"/>
                    <a:pt x="26" y="49"/>
                    <a:pt x="26" y="49"/>
                  </a:cubicBezTo>
                  <a:cubicBezTo>
                    <a:pt x="26" y="49"/>
                    <a:pt x="26" y="49"/>
                    <a:pt x="26" y="49"/>
                  </a:cubicBezTo>
                  <a:cubicBezTo>
                    <a:pt x="26" y="48"/>
                    <a:pt x="26" y="48"/>
                    <a:pt x="26" y="48"/>
                  </a:cubicBezTo>
                  <a:cubicBezTo>
                    <a:pt x="27" y="46"/>
                    <a:pt x="29" y="45"/>
                    <a:pt x="30" y="45"/>
                  </a:cubicBezTo>
                  <a:cubicBezTo>
                    <a:pt x="31" y="44"/>
                    <a:pt x="31" y="44"/>
                    <a:pt x="31" y="44"/>
                  </a:cubicBezTo>
                  <a:cubicBezTo>
                    <a:pt x="32" y="44"/>
                    <a:pt x="32" y="44"/>
                    <a:pt x="32" y="44"/>
                  </a:cubicBezTo>
                  <a:cubicBezTo>
                    <a:pt x="32" y="44"/>
                    <a:pt x="32" y="44"/>
                    <a:pt x="32" y="44"/>
                  </a:cubicBezTo>
                  <a:cubicBezTo>
                    <a:pt x="33" y="43"/>
                    <a:pt x="34" y="43"/>
                    <a:pt x="34" y="43"/>
                  </a:cubicBezTo>
                  <a:cubicBezTo>
                    <a:pt x="35" y="43"/>
                    <a:pt x="36" y="43"/>
                    <a:pt x="36" y="44"/>
                  </a:cubicBezTo>
                  <a:cubicBezTo>
                    <a:pt x="37" y="44"/>
                    <a:pt x="37" y="44"/>
                    <a:pt x="37" y="44"/>
                  </a:cubicBezTo>
                  <a:cubicBezTo>
                    <a:pt x="38" y="44"/>
                    <a:pt x="39" y="45"/>
                    <a:pt x="40" y="46"/>
                  </a:cubicBezTo>
                  <a:cubicBezTo>
                    <a:pt x="40" y="46"/>
                    <a:pt x="40" y="46"/>
                    <a:pt x="40" y="46"/>
                  </a:cubicBezTo>
                  <a:cubicBezTo>
                    <a:pt x="40" y="46"/>
                    <a:pt x="40" y="46"/>
                    <a:pt x="40" y="46"/>
                  </a:cubicBezTo>
                  <a:cubicBezTo>
                    <a:pt x="41" y="47"/>
                    <a:pt x="41" y="47"/>
                    <a:pt x="41" y="47"/>
                  </a:cubicBezTo>
                  <a:cubicBezTo>
                    <a:pt x="41" y="47"/>
                    <a:pt x="41" y="47"/>
                    <a:pt x="41" y="47"/>
                  </a:cubicBezTo>
                  <a:cubicBezTo>
                    <a:pt x="42" y="47"/>
                    <a:pt x="42" y="47"/>
                    <a:pt x="42" y="47"/>
                  </a:cubicBezTo>
                  <a:cubicBezTo>
                    <a:pt x="42" y="47"/>
                    <a:pt x="43" y="48"/>
                    <a:pt x="44" y="48"/>
                  </a:cubicBezTo>
                  <a:cubicBezTo>
                    <a:pt x="44" y="49"/>
                    <a:pt x="44" y="49"/>
                    <a:pt x="44" y="49"/>
                  </a:cubicBezTo>
                  <a:cubicBezTo>
                    <a:pt x="45" y="49"/>
                    <a:pt x="45" y="49"/>
                    <a:pt x="45" y="49"/>
                  </a:cubicBezTo>
                  <a:cubicBezTo>
                    <a:pt x="45" y="49"/>
                    <a:pt x="45" y="49"/>
                    <a:pt x="45" y="49"/>
                  </a:cubicBezTo>
                  <a:cubicBezTo>
                    <a:pt x="46" y="50"/>
                    <a:pt x="46" y="50"/>
                    <a:pt x="46" y="51"/>
                  </a:cubicBezTo>
                  <a:cubicBezTo>
                    <a:pt x="46" y="51"/>
                    <a:pt x="46" y="52"/>
                    <a:pt x="46" y="52"/>
                  </a:cubicBezTo>
                  <a:cubicBezTo>
                    <a:pt x="46" y="53"/>
                    <a:pt x="46" y="53"/>
                    <a:pt x="46" y="54"/>
                  </a:cubicBezTo>
                  <a:cubicBezTo>
                    <a:pt x="45" y="54"/>
                    <a:pt x="45" y="54"/>
                    <a:pt x="45" y="54"/>
                  </a:cubicBezTo>
                  <a:cubicBezTo>
                    <a:pt x="45" y="55"/>
                    <a:pt x="45" y="55"/>
                    <a:pt x="45" y="55"/>
                  </a:cubicBezTo>
                  <a:cubicBezTo>
                    <a:pt x="46" y="55"/>
                    <a:pt x="47" y="56"/>
                    <a:pt x="48" y="56"/>
                  </a:cubicBezTo>
                  <a:cubicBezTo>
                    <a:pt x="48" y="57"/>
                    <a:pt x="48" y="57"/>
                    <a:pt x="48" y="57"/>
                  </a:cubicBezTo>
                  <a:cubicBezTo>
                    <a:pt x="49" y="57"/>
                    <a:pt x="49" y="57"/>
                    <a:pt x="49" y="57"/>
                  </a:cubicBezTo>
                  <a:cubicBezTo>
                    <a:pt x="50" y="58"/>
                    <a:pt x="52" y="59"/>
                    <a:pt x="52" y="61"/>
                  </a:cubicBezTo>
                  <a:cubicBezTo>
                    <a:pt x="52" y="62"/>
                    <a:pt x="52" y="62"/>
                    <a:pt x="52" y="62"/>
                  </a:cubicBezTo>
                  <a:cubicBezTo>
                    <a:pt x="53" y="65"/>
                    <a:pt x="52" y="67"/>
                    <a:pt x="51" y="68"/>
                  </a:cubicBezTo>
                  <a:cubicBezTo>
                    <a:pt x="50" y="69"/>
                    <a:pt x="49" y="70"/>
                    <a:pt x="48" y="71"/>
                  </a:cubicBezTo>
                  <a:cubicBezTo>
                    <a:pt x="48" y="71"/>
                    <a:pt x="47" y="71"/>
                    <a:pt x="47" y="72"/>
                  </a:cubicBezTo>
                  <a:cubicBezTo>
                    <a:pt x="47" y="72"/>
                    <a:pt x="47" y="72"/>
                    <a:pt x="47" y="72"/>
                  </a:cubicBezTo>
                  <a:cubicBezTo>
                    <a:pt x="47" y="72"/>
                    <a:pt x="47" y="73"/>
                    <a:pt x="46" y="74"/>
                  </a:cubicBezTo>
                  <a:cubicBezTo>
                    <a:pt x="45" y="74"/>
                    <a:pt x="45" y="74"/>
                    <a:pt x="44" y="74"/>
                  </a:cubicBezTo>
                  <a:cubicBezTo>
                    <a:pt x="44" y="74"/>
                    <a:pt x="44" y="74"/>
                    <a:pt x="44" y="74"/>
                  </a:cubicBezTo>
                  <a:cubicBezTo>
                    <a:pt x="44" y="74"/>
                    <a:pt x="43" y="74"/>
                    <a:pt x="43" y="74"/>
                  </a:cubicBezTo>
                  <a:cubicBezTo>
                    <a:pt x="42" y="74"/>
                    <a:pt x="42" y="74"/>
                    <a:pt x="42" y="74"/>
                  </a:cubicBezTo>
                  <a:cubicBezTo>
                    <a:pt x="41" y="74"/>
                    <a:pt x="41" y="74"/>
                    <a:pt x="41" y="74"/>
                  </a:cubicBezTo>
                  <a:cubicBezTo>
                    <a:pt x="41" y="74"/>
                    <a:pt x="41" y="74"/>
                    <a:pt x="40" y="74"/>
                  </a:cubicBezTo>
                  <a:cubicBezTo>
                    <a:pt x="40" y="74"/>
                    <a:pt x="40" y="74"/>
                    <a:pt x="40" y="74"/>
                  </a:cubicBezTo>
                  <a:cubicBezTo>
                    <a:pt x="39" y="74"/>
                    <a:pt x="39" y="74"/>
                    <a:pt x="39" y="74"/>
                  </a:cubicBezTo>
                  <a:cubicBezTo>
                    <a:pt x="38" y="73"/>
                    <a:pt x="36" y="73"/>
                    <a:pt x="35" y="73"/>
                  </a:cubicBezTo>
                  <a:cubicBezTo>
                    <a:pt x="35" y="73"/>
                    <a:pt x="35" y="73"/>
                    <a:pt x="35" y="73"/>
                  </a:cubicBezTo>
                  <a:cubicBezTo>
                    <a:pt x="35" y="74"/>
                    <a:pt x="35" y="75"/>
                    <a:pt x="34" y="77"/>
                  </a:cubicBezTo>
                  <a:cubicBezTo>
                    <a:pt x="34" y="77"/>
                    <a:pt x="34" y="78"/>
                    <a:pt x="34" y="78"/>
                  </a:cubicBezTo>
                  <a:cubicBezTo>
                    <a:pt x="34" y="78"/>
                    <a:pt x="34" y="78"/>
                    <a:pt x="34" y="78"/>
                  </a:cubicBezTo>
                  <a:cubicBezTo>
                    <a:pt x="38" y="81"/>
                    <a:pt x="44" y="84"/>
                    <a:pt x="49" y="86"/>
                  </a:cubicBezTo>
                  <a:cubicBezTo>
                    <a:pt x="50" y="87"/>
                    <a:pt x="50" y="87"/>
                    <a:pt x="50" y="87"/>
                  </a:cubicBezTo>
                  <a:cubicBezTo>
                    <a:pt x="52" y="88"/>
                    <a:pt x="54" y="89"/>
                    <a:pt x="56" y="90"/>
                  </a:cubicBezTo>
                  <a:cubicBezTo>
                    <a:pt x="59" y="91"/>
                    <a:pt x="59" y="91"/>
                    <a:pt x="59" y="91"/>
                  </a:cubicBezTo>
                  <a:cubicBezTo>
                    <a:pt x="57" y="93"/>
                    <a:pt x="57" y="93"/>
                    <a:pt x="57" y="93"/>
                  </a:cubicBezTo>
                  <a:cubicBezTo>
                    <a:pt x="56" y="94"/>
                    <a:pt x="56" y="94"/>
                    <a:pt x="56" y="94"/>
                  </a:cubicBezTo>
                  <a:cubicBezTo>
                    <a:pt x="56" y="95"/>
                    <a:pt x="56" y="95"/>
                    <a:pt x="56" y="95"/>
                  </a:cubicBezTo>
                  <a:cubicBezTo>
                    <a:pt x="56" y="95"/>
                    <a:pt x="56" y="96"/>
                    <a:pt x="56" y="96"/>
                  </a:cubicBezTo>
                  <a:cubicBezTo>
                    <a:pt x="57" y="98"/>
                    <a:pt x="60" y="100"/>
                    <a:pt x="62" y="101"/>
                  </a:cubicBezTo>
                  <a:cubicBezTo>
                    <a:pt x="63" y="101"/>
                    <a:pt x="63" y="101"/>
                    <a:pt x="63" y="101"/>
                  </a:cubicBezTo>
                  <a:cubicBezTo>
                    <a:pt x="65" y="104"/>
                    <a:pt x="66" y="105"/>
                    <a:pt x="67" y="108"/>
                  </a:cubicBezTo>
                  <a:cubicBezTo>
                    <a:pt x="67" y="108"/>
                    <a:pt x="67" y="108"/>
                    <a:pt x="67" y="108"/>
                  </a:cubicBezTo>
                  <a:cubicBezTo>
                    <a:pt x="67" y="109"/>
                    <a:pt x="67" y="109"/>
                    <a:pt x="68" y="109"/>
                  </a:cubicBezTo>
                  <a:cubicBezTo>
                    <a:pt x="68" y="110"/>
                    <a:pt x="68" y="110"/>
                    <a:pt x="68" y="110"/>
                  </a:cubicBezTo>
                  <a:cubicBezTo>
                    <a:pt x="69" y="111"/>
                    <a:pt x="71" y="112"/>
                    <a:pt x="72" y="113"/>
                  </a:cubicBezTo>
                  <a:cubicBezTo>
                    <a:pt x="75" y="115"/>
                    <a:pt x="75" y="115"/>
                    <a:pt x="75" y="115"/>
                  </a:cubicBezTo>
                  <a:cubicBezTo>
                    <a:pt x="76" y="115"/>
                    <a:pt x="77" y="116"/>
                    <a:pt x="78" y="118"/>
                  </a:cubicBezTo>
                  <a:cubicBezTo>
                    <a:pt x="79" y="118"/>
                    <a:pt x="79" y="119"/>
                    <a:pt x="79" y="119"/>
                  </a:cubicBezTo>
                  <a:cubicBezTo>
                    <a:pt x="80" y="121"/>
                    <a:pt x="80" y="121"/>
                    <a:pt x="80" y="121"/>
                  </a:cubicBezTo>
                  <a:cubicBezTo>
                    <a:pt x="80" y="122"/>
                    <a:pt x="80" y="122"/>
                    <a:pt x="80" y="122"/>
                  </a:cubicBezTo>
                  <a:cubicBezTo>
                    <a:pt x="80" y="122"/>
                    <a:pt x="80" y="122"/>
                    <a:pt x="80" y="122"/>
                  </a:cubicBezTo>
                  <a:cubicBezTo>
                    <a:pt x="83" y="122"/>
                    <a:pt x="83" y="124"/>
                    <a:pt x="83" y="125"/>
                  </a:cubicBezTo>
                  <a:cubicBezTo>
                    <a:pt x="83" y="126"/>
                    <a:pt x="83" y="126"/>
                    <a:pt x="83" y="126"/>
                  </a:cubicBezTo>
                  <a:cubicBezTo>
                    <a:pt x="83" y="126"/>
                    <a:pt x="83" y="127"/>
                    <a:pt x="83" y="128"/>
                  </a:cubicBezTo>
                  <a:cubicBezTo>
                    <a:pt x="83" y="128"/>
                    <a:pt x="83" y="128"/>
                    <a:pt x="83" y="129"/>
                  </a:cubicBezTo>
                  <a:cubicBezTo>
                    <a:pt x="83" y="129"/>
                    <a:pt x="83" y="129"/>
                    <a:pt x="83" y="129"/>
                  </a:cubicBezTo>
                  <a:cubicBezTo>
                    <a:pt x="83" y="129"/>
                    <a:pt x="83" y="130"/>
                    <a:pt x="83" y="130"/>
                  </a:cubicBezTo>
                  <a:cubicBezTo>
                    <a:pt x="84" y="131"/>
                    <a:pt x="84" y="131"/>
                    <a:pt x="84" y="131"/>
                  </a:cubicBezTo>
                  <a:cubicBezTo>
                    <a:pt x="84" y="131"/>
                    <a:pt x="84" y="131"/>
                    <a:pt x="84" y="131"/>
                  </a:cubicBezTo>
                  <a:cubicBezTo>
                    <a:pt x="84" y="132"/>
                    <a:pt x="84" y="132"/>
                    <a:pt x="84" y="132"/>
                  </a:cubicBezTo>
                  <a:cubicBezTo>
                    <a:pt x="84" y="131"/>
                    <a:pt x="84" y="131"/>
                    <a:pt x="84" y="131"/>
                  </a:cubicBezTo>
                  <a:cubicBezTo>
                    <a:pt x="86" y="130"/>
                    <a:pt x="86" y="130"/>
                    <a:pt x="86" y="130"/>
                  </a:cubicBezTo>
                  <a:cubicBezTo>
                    <a:pt x="87" y="131"/>
                    <a:pt x="87" y="131"/>
                    <a:pt x="87" y="131"/>
                  </a:cubicBezTo>
                  <a:cubicBezTo>
                    <a:pt x="88" y="131"/>
                    <a:pt x="88" y="131"/>
                    <a:pt x="89" y="131"/>
                  </a:cubicBezTo>
                  <a:cubicBezTo>
                    <a:pt x="89" y="132"/>
                    <a:pt x="89" y="132"/>
                    <a:pt x="89" y="132"/>
                  </a:cubicBezTo>
                  <a:cubicBezTo>
                    <a:pt x="89" y="133"/>
                    <a:pt x="90" y="133"/>
                    <a:pt x="90" y="134"/>
                  </a:cubicBezTo>
                  <a:cubicBezTo>
                    <a:pt x="90" y="135"/>
                    <a:pt x="90" y="135"/>
                    <a:pt x="90" y="135"/>
                  </a:cubicBezTo>
                  <a:cubicBezTo>
                    <a:pt x="91" y="135"/>
                    <a:pt x="91" y="135"/>
                    <a:pt x="91" y="135"/>
                  </a:cubicBezTo>
                  <a:cubicBezTo>
                    <a:pt x="91" y="135"/>
                    <a:pt x="91" y="135"/>
                    <a:pt x="91" y="135"/>
                  </a:cubicBezTo>
                  <a:cubicBezTo>
                    <a:pt x="92" y="136"/>
                    <a:pt x="92" y="136"/>
                    <a:pt x="92" y="136"/>
                  </a:cubicBezTo>
                  <a:cubicBezTo>
                    <a:pt x="93" y="136"/>
                    <a:pt x="93" y="136"/>
                    <a:pt x="93" y="136"/>
                  </a:cubicBezTo>
                  <a:cubicBezTo>
                    <a:pt x="93" y="137"/>
                    <a:pt x="93" y="137"/>
                    <a:pt x="93" y="137"/>
                  </a:cubicBezTo>
                  <a:cubicBezTo>
                    <a:pt x="94" y="137"/>
                    <a:pt x="94" y="137"/>
                    <a:pt x="94" y="137"/>
                  </a:cubicBezTo>
                  <a:cubicBezTo>
                    <a:pt x="94" y="137"/>
                    <a:pt x="95" y="138"/>
                    <a:pt x="95" y="138"/>
                  </a:cubicBezTo>
                  <a:cubicBezTo>
                    <a:pt x="96" y="138"/>
                    <a:pt x="96" y="138"/>
                    <a:pt x="96" y="138"/>
                  </a:cubicBezTo>
                  <a:cubicBezTo>
                    <a:pt x="97" y="139"/>
                    <a:pt x="98" y="139"/>
                    <a:pt x="99" y="141"/>
                  </a:cubicBezTo>
                  <a:cubicBezTo>
                    <a:pt x="100" y="142"/>
                    <a:pt x="100" y="144"/>
                    <a:pt x="100" y="144"/>
                  </a:cubicBezTo>
                  <a:cubicBezTo>
                    <a:pt x="100" y="145"/>
                    <a:pt x="99" y="145"/>
                    <a:pt x="99" y="146"/>
                  </a:cubicBezTo>
                  <a:cubicBezTo>
                    <a:pt x="98" y="146"/>
                    <a:pt x="98" y="147"/>
                    <a:pt x="97" y="147"/>
                  </a:cubicBezTo>
                  <a:cubicBezTo>
                    <a:pt x="96" y="148"/>
                    <a:pt x="96" y="148"/>
                    <a:pt x="96" y="148"/>
                  </a:cubicBezTo>
                  <a:cubicBezTo>
                    <a:pt x="96" y="148"/>
                    <a:pt x="96" y="148"/>
                    <a:pt x="96" y="148"/>
                  </a:cubicBezTo>
                  <a:cubicBezTo>
                    <a:pt x="97" y="149"/>
                    <a:pt x="99" y="150"/>
                    <a:pt x="100" y="151"/>
                  </a:cubicBezTo>
                  <a:cubicBezTo>
                    <a:pt x="101" y="152"/>
                    <a:pt x="101" y="152"/>
                    <a:pt x="101" y="152"/>
                  </a:cubicBezTo>
                  <a:cubicBezTo>
                    <a:pt x="102" y="153"/>
                    <a:pt x="103" y="154"/>
                    <a:pt x="104" y="157"/>
                  </a:cubicBezTo>
                  <a:cubicBezTo>
                    <a:pt x="104" y="157"/>
                    <a:pt x="104" y="157"/>
                    <a:pt x="104" y="157"/>
                  </a:cubicBezTo>
                  <a:cubicBezTo>
                    <a:pt x="104" y="159"/>
                    <a:pt x="104" y="160"/>
                    <a:pt x="103" y="161"/>
                  </a:cubicBezTo>
                  <a:cubicBezTo>
                    <a:pt x="102" y="162"/>
                    <a:pt x="102" y="162"/>
                    <a:pt x="102" y="162"/>
                  </a:cubicBezTo>
                  <a:cubicBezTo>
                    <a:pt x="101" y="163"/>
                    <a:pt x="101" y="163"/>
                    <a:pt x="101" y="163"/>
                  </a:cubicBezTo>
                  <a:cubicBezTo>
                    <a:pt x="101" y="164"/>
                    <a:pt x="101" y="164"/>
                    <a:pt x="101" y="164"/>
                  </a:cubicBezTo>
                  <a:cubicBezTo>
                    <a:pt x="101" y="165"/>
                    <a:pt x="101" y="165"/>
                    <a:pt x="101" y="165"/>
                  </a:cubicBezTo>
                  <a:cubicBezTo>
                    <a:pt x="101" y="165"/>
                    <a:pt x="101" y="165"/>
                    <a:pt x="101" y="165"/>
                  </a:cubicBezTo>
                  <a:cubicBezTo>
                    <a:pt x="102" y="168"/>
                    <a:pt x="102" y="168"/>
                    <a:pt x="102" y="168"/>
                  </a:cubicBezTo>
                  <a:cubicBezTo>
                    <a:pt x="103" y="169"/>
                    <a:pt x="103" y="169"/>
                    <a:pt x="103" y="169"/>
                  </a:cubicBezTo>
                  <a:cubicBezTo>
                    <a:pt x="102" y="170"/>
                    <a:pt x="102" y="170"/>
                    <a:pt x="102" y="170"/>
                  </a:cubicBezTo>
                  <a:cubicBezTo>
                    <a:pt x="101" y="171"/>
                    <a:pt x="101" y="171"/>
                    <a:pt x="101" y="171"/>
                  </a:cubicBezTo>
                  <a:cubicBezTo>
                    <a:pt x="101" y="173"/>
                    <a:pt x="100" y="175"/>
                    <a:pt x="99" y="177"/>
                  </a:cubicBezTo>
                  <a:cubicBezTo>
                    <a:pt x="98" y="180"/>
                    <a:pt x="98" y="180"/>
                    <a:pt x="98" y="180"/>
                  </a:cubicBezTo>
                  <a:cubicBezTo>
                    <a:pt x="99" y="180"/>
                    <a:pt x="99" y="181"/>
                    <a:pt x="99" y="181"/>
                  </a:cubicBezTo>
                  <a:cubicBezTo>
                    <a:pt x="100" y="182"/>
                    <a:pt x="100" y="182"/>
                    <a:pt x="100" y="182"/>
                  </a:cubicBezTo>
                  <a:cubicBezTo>
                    <a:pt x="100" y="183"/>
                    <a:pt x="101" y="184"/>
                    <a:pt x="101" y="185"/>
                  </a:cubicBezTo>
                  <a:cubicBezTo>
                    <a:pt x="100" y="186"/>
                    <a:pt x="101" y="186"/>
                    <a:pt x="101" y="187"/>
                  </a:cubicBezTo>
                  <a:cubicBezTo>
                    <a:pt x="102" y="188"/>
                    <a:pt x="102" y="188"/>
                    <a:pt x="102" y="188"/>
                  </a:cubicBezTo>
                  <a:cubicBezTo>
                    <a:pt x="103" y="190"/>
                    <a:pt x="104" y="192"/>
                    <a:pt x="103" y="195"/>
                  </a:cubicBezTo>
                  <a:cubicBezTo>
                    <a:pt x="103" y="196"/>
                    <a:pt x="103" y="196"/>
                    <a:pt x="103" y="196"/>
                  </a:cubicBezTo>
                  <a:cubicBezTo>
                    <a:pt x="103" y="197"/>
                    <a:pt x="103" y="199"/>
                    <a:pt x="102" y="201"/>
                  </a:cubicBezTo>
                  <a:cubicBezTo>
                    <a:pt x="102" y="202"/>
                    <a:pt x="102" y="202"/>
                    <a:pt x="102" y="202"/>
                  </a:cubicBezTo>
                  <a:cubicBezTo>
                    <a:pt x="102" y="203"/>
                    <a:pt x="102" y="205"/>
                    <a:pt x="102" y="206"/>
                  </a:cubicBezTo>
                  <a:cubicBezTo>
                    <a:pt x="102" y="206"/>
                    <a:pt x="102" y="206"/>
                    <a:pt x="102" y="206"/>
                  </a:cubicBezTo>
                  <a:cubicBezTo>
                    <a:pt x="102" y="208"/>
                    <a:pt x="103" y="209"/>
                    <a:pt x="103" y="211"/>
                  </a:cubicBezTo>
                  <a:cubicBezTo>
                    <a:pt x="103" y="211"/>
                    <a:pt x="103" y="211"/>
                    <a:pt x="103" y="211"/>
                  </a:cubicBezTo>
                  <a:cubicBezTo>
                    <a:pt x="107" y="211"/>
                    <a:pt x="107" y="211"/>
                    <a:pt x="107" y="211"/>
                  </a:cubicBezTo>
                  <a:cubicBezTo>
                    <a:pt x="103" y="212"/>
                    <a:pt x="103" y="212"/>
                    <a:pt x="103" y="212"/>
                  </a:cubicBezTo>
                  <a:cubicBezTo>
                    <a:pt x="102" y="213"/>
                    <a:pt x="102" y="213"/>
                    <a:pt x="102" y="213"/>
                  </a:cubicBezTo>
                  <a:cubicBezTo>
                    <a:pt x="102" y="217"/>
                    <a:pt x="100" y="218"/>
                    <a:pt x="98" y="218"/>
                  </a:cubicBezTo>
                  <a:cubicBezTo>
                    <a:pt x="98" y="218"/>
                    <a:pt x="98" y="218"/>
                    <a:pt x="97" y="218"/>
                  </a:cubicBezTo>
                  <a:cubicBezTo>
                    <a:pt x="96" y="218"/>
                    <a:pt x="96" y="218"/>
                    <a:pt x="95" y="218"/>
                  </a:cubicBezTo>
                  <a:cubicBezTo>
                    <a:pt x="94" y="218"/>
                    <a:pt x="94" y="218"/>
                    <a:pt x="94" y="218"/>
                  </a:cubicBezTo>
                  <a:cubicBezTo>
                    <a:pt x="94" y="218"/>
                    <a:pt x="94" y="218"/>
                    <a:pt x="94" y="218"/>
                  </a:cubicBezTo>
                  <a:cubicBezTo>
                    <a:pt x="93" y="218"/>
                    <a:pt x="93" y="218"/>
                    <a:pt x="93" y="219"/>
                  </a:cubicBezTo>
                  <a:cubicBezTo>
                    <a:pt x="92" y="220"/>
                    <a:pt x="92" y="220"/>
                    <a:pt x="92" y="220"/>
                  </a:cubicBezTo>
                  <a:cubicBezTo>
                    <a:pt x="91" y="221"/>
                    <a:pt x="89" y="221"/>
                    <a:pt x="87" y="222"/>
                  </a:cubicBezTo>
                  <a:cubicBezTo>
                    <a:pt x="86" y="222"/>
                    <a:pt x="86" y="222"/>
                    <a:pt x="86" y="222"/>
                  </a:cubicBezTo>
                  <a:cubicBezTo>
                    <a:pt x="85" y="222"/>
                    <a:pt x="83" y="223"/>
                    <a:pt x="81" y="223"/>
                  </a:cubicBezTo>
                  <a:cubicBezTo>
                    <a:pt x="81" y="224"/>
                    <a:pt x="81" y="225"/>
                    <a:pt x="81" y="225"/>
                  </a:cubicBezTo>
                  <a:cubicBezTo>
                    <a:pt x="81" y="226"/>
                    <a:pt x="81" y="226"/>
                    <a:pt x="81" y="226"/>
                  </a:cubicBezTo>
                  <a:cubicBezTo>
                    <a:pt x="81" y="227"/>
                    <a:pt x="81" y="227"/>
                    <a:pt x="81" y="227"/>
                  </a:cubicBezTo>
                  <a:cubicBezTo>
                    <a:pt x="82" y="230"/>
                    <a:pt x="82" y="230"/>
                    <a:pt x="82" y="230"/>
                  </a:cubicBezTo>
                  <a:cubicBezTo>
                    <a:pt x="71" y="228"/>
                    <a:pt x="71" y="228"/>
                    <a:pt x="71" y="228"/>
                  </a:cubicBezTo>
                  <a:cubicBezTo>
                    <a:pt x="70" y="228"/>
                    <a:pt x="70" y="229"/>
                    <a:pt x="69" y="229"/>
                  </a:cubicBezTo>
                  <a:cubicBezTo>
                    <a:pt x="69" y="230"/>
                    <a:pt x="69" y="230"/>
                    <a:pt x="69" y="230"/>
                  </a:cubicBezTo>
                  <a:cubicBezTo>
                    <a:pt x="70" y="232"/>
                    <a:pt x="70" y="234"/>
                    <a:pt x="71" y="235"/>
                  </a:cubicBezTo>
                  <a:cubicBezTo>
                    <a:pt x="71" y="235"/>
                    <a:pt x="72" y="236"/>
                    <a:pt x="73" y="237"/>
                  </a:cubicBezTo>
                  <a:cubicBezTo>
                    <a:pt x="74" y="238"/>
                    <a:pt x="75" y="238"/>
                    <a:pt x="76" y="239"/>
                  </a:cubicBezTo>
                  <a:cubicBezTo>
                    <a:pt x="81" y="244"/>
                    <a:pt x="81" y="244"/>
                    <a:pt x="81" y="244"/>
                  </a:cubicBezTo>
                  <a:cubicBezTo>
                    <a:pt x="76" y="244"/>
                    <a:pt x="76" y="244"/>
                    <a:pt x="76" y="244"/>
                  </a:cubicBezTo>
                  <a:cubicBezTo>
                    <a:pt x="76" y="244"/>
                    <a:pt x="76" y="244"/>
                    <a:pt x="76" y="244"/>
                  </a:cubicBezTo>
                  <a:cubicBezTo>
                    <a:pt x="77" y="248"/>
                    <a:pt x="77" y="248"/>
                    <a:pt x="77" y="248"/>
                  </a:cubicBezTo>
                  <a:cubicBezTo>
                    <a:pt x="74" y="247"/>
                    <a:pt x="74" y="247"/>
                    <a:pt x="74" y="247"/>
                  </a:cubicBezTo>
                  <a:cubicBezTo>
                    <a:pt x="71" y="246"/>
                    <a:pt x="69" y="245"/>
                    <a:pt x="66" y="243"/>
                  </a:cubicBezTo>
                  <a:cubicBezTo>
                    <a:pt x="66" y="243"/>
                    <a:pt x="66" y="243"/>
                    <a:pt x="66" y="243"/>
                  </a:cubicBezTo>
                  <a:cubicBezTo>
                    <a:pt x="66" y="243"/>
                    <a:pt x="66" y="243"/>
                    <a:pt x="66" y="243"/>
                  </a:cubicBezTo>
                  <a:cubicBezTo>
                    <a:pt x="66" y="243"/>
                    <a:pt x="66" y="243"/>
                    <a:pt x="65" y="243"/>
                  </a:cubicBezTo>
                  <a:cubicBezTo>
                    <a:pt x="64" y="243"/>
                    <a:pt x="64" y="243"/>
                    <a:pt x="64" y="243"/>
                  </a:cubicBezTo>
                  <a:cubicBezTo>
                    <a:pt x="63" y="243"/>
                    <a:pt x="61" y="243"/>
                    <a:pt x="60" y="244"/>
                  </a:cubicBezTo>
                  <a:cubicBezTo>
                    <a:pt x="60" y="244"/>
                    <a:pt x="60" y="244"/>
                    <a:pt x="60" y="244"/>
                  </a:cubicBezTo>
                  <a:cubicBezTo>
                    <a:pt x="59" y="244"/>
                    <a:pt x="58" y="244"/>
                    <a:pt x="57" y="244"/>
                  </a:cubicBezTo>
                  <a:cubicBezTo>
                    <a:pt x="60" y="247"/>
                    <a:pt x="63" y="250"/>
                    <a:pt x="66" y="252"/>
                  </a:cubicBezTo>
                  <a:cubicBezTo>
                    <a:pt x="67" y="254"/>
                    <a:pt x="70" y="254"/>
                    <a:pt x="72" y="254"/>
                  </a:cubicBezTo>
                  <a:cubicBezTo>
                    <a:pt x="73" y="254"/>
                    <a:pt x="75" y="254"/>
                    <a:pt x="76" y="254"/>
                  </a:cubicBezTo>
                  <a:cubicBezTo>
                    <a:pt x="76" y="254"/>
                    <a:pt x="77" y="254"/>
                    <a:pt x="77" y="254"/>
                  </a:cubicBezTo>
                  <a:cubicBezTo>
                    <a:pt x="79" y="254"/>
                    <a:pt x="80" y="254"/>
                    <a:pt x="82" y="254"/>
                  </a:cubicBezTo>
                  <a:cubicBezTo>
                    <a:pt x="82" y="254"/>
                    <a:pt x="82" y="254"/>
                    <a:pt x="83" y="254"/>
                  </a:cubicBezTo>
                  <a:cubicBezTo>
                    <a:pt x="87" y="254"/>
                    <a:pt x="85" y="253"/>
                    <a:pt x="82" y="251"/>
                  </a:cubicBezTo>
                  <a:cubicBezTo>
                    <a:pt x="82" y="251"/>
                    <a:pt x="83" y="251"/>
                    <a:pt x="83" y="250"/>
                  </a:cubicBezTo>
                  <a:cubicBezTo>
                    <a:pt x="83" y="250"/>
                    <a:pt x="83" y="250"/>
                    <a:pt x="83" y="250"/>
                  </a:cubicBezTo>
                  <a:cubicBezTo>
                    <a:pt x="81" y="249"/>
                    <a:pt x="81" y="249"/>
                    <a:pt x="81" y="249"/>
                  </a:cubicBezTo>
                  <a:cubicBezTo>
                    <a:pt x="82" y="247"/>
                    <a:pt x="82" y="247"/>
                    <a:pt x="82" y="247"/>
                  </a:cubicBezTo>
                  <a:cubicBezTo>
                    <a:pt x="85" y="245"/>
                    <a:pt x="85" y="245"/>
                    <a:pt x="85" y="245"/>
                  </a:cubicBezTo>
                  <a:cubicBezTo>
                    <a:pt x="86" y="246"/>
                    <a:pt x="86" y="246"/>
                    <a:pt x="86" y="246"/>
                  </a:cubicBezTo>
                  <a:cubicBezTo>
                    <a:pt x="88" y="245"/>
                    <a:pt x="88" y="245"/>
                    <a:pt x="88" y="245"/>
                  </a:cubicBezTo>
                  <a:cubicBezTo>
                    <a:pt x="88" y="246"/>
                    <a:pt x="88" y="247"/>
                    <a:pt x="87" y="248"/>
                  </a:cubicBezTo>
                  <a:cubicBezTo>
                    <a:pt x="88" y="249"/>
                    <a:pt x="89" y="250"/>
                    <a:pt x="90" y="250"/>
                  </a:cubicBezTo>
                  <a:cubicBezTo>
                    <a:pt x="90" y="249"/>
                    <a:pt x="90" y="248"/>
                    <a:pt x="90" y="247"/>
                  </a:cubicBezTo>
                  <a:cubicBezTo>
                    <a:pt x="90" y="250"/>
                    <a:pt x="89" y="251"/>
                    <a:pt x="92" y="252"/>
                  </a:cubicBezTo>
                  <a:cubicBezTo>
                    <a:pt x="92" y="252"/>
                    <a:pt x="90" y="253"/>
                    <a:pt x="91" y="253"/>
                  </a:cubicBezTo>
                  <a:cubicBezTo>
                    <a:pt x="91" y="253"/>
                    <a:pt x="91" y="253"/>
                    <a:pt x="91" y="253"/>
                  </a:cubicBezTo>
                  <a:cubicBezTo>
                    <a:pt x="93" y="253"/>
                    <a:pt x="97" y="251"/>
                    <a:pt x="98" y="250"/>
                  </a:cubicBezTo>
                  <a:cubicBezTo>
                    <a:pt x="103" y="247"/>
                    <a:pt x="108" y="244"/>
                    <a:pt x="113" y="242"/>
                  </a:cubicBezTo>
                  <a:cubicBezTo>
                    <a:pt x="118" y="239"/>
                    <a:pt x="124" y="236"/>
                    <a:pt x="127" y="231"/>
                  </a:cubicBezTo>
                  <a:cubicBezTo>
                    <a:pt x="128" y="230"/>
                    <a:pt x="133" y="227"/>
                    <a:pt x="131" y="225"/>
                  </a:cubicBezTo>
                  <a:cubicBezTo>
                    <a:pt x="129" y="224"/>
                    <a:pt x="130" y="220"/>
                    <a:pt x="131" y="219"/>
                  </a:cubicBezTo>
                  <a:cubicBezTo>
                    <a:pt x="131" y="220"/>
                    <a:pt x="131" y="222"/>
                    <a:pt x="133" y="223"/>
                  </a:cubicBezTo>
                  <a:cubicBezTo>
                    <a:pt x="133" y="222"/>
                    <a:pt x="132" y="222"/>
                    <a:pt x="132" y="221"/>
                  </a:cubicBezTo>
                  <a:cubicBezTo>
                    <a:pt x="132" y="220"/>
                    <a:pt x="132" y="217"/>
                    <a:pt x="132" y="216"/>
                  </a:cubicBezTo>
                  <a:cubicBezTo>
                    <a:pt x="132" y="215"/>
                    <a:pt x="131" y="214"/>
                    <a:pt x="130" y="213"/>
                  </a:cubicBezTo>
                  <a:cubicBezTo>
                    <a:pt x="130" y="212"/>
                    <a:pt x="130" y="212"/>
                    <a:pt x="130" y="212"/>
                  </a:cubicBezTo>
                  <a:cubicBezTo>
                    <a:pt x="131" y="212"/>
                    <a:pt x="131" y="213"/>
                    <a:pt x="132" y="213"/>
                  </a:cubicBezTo>
                  <a:cubicBezTo>
                    <a:pt x="133" y="213"/>
                    <a:pt x="134" y="213"/>
                    <a:pt x="134" y="213"/>
                  </a:cubicBezTo>
                  <a:cubicBezTo>
                    <a:pt x="134" y="213"/>
                    <a:pt x="134" y="213"/>
                    <a:pt x="134" y="213"/>
                  </a:cubicBezTo>
                  <a:cubicBezTo>
                    <a:pt x="134" y="213"/>
                    <a:pt x="133" y="213"/>
                    <a:pt x="133" y="212"/>
                  </a:cubicBezTo>
                  <a:cubicBezTo>
                    <a:pt x="133" y="209"/>
                    <a:pt x="131" y="208"/>
                    <a:pt x="134" y="206"/>
                  </a:cubicBezTo>
                  <a:cubicBezTo>
                    <a:pt x="134" y="207"/>
                    <a:pt x="135" y="209"/>
                    <a:pt x="136" y="210"/>
                  </a:cubicBezTo>
                  <a:cubicBezTo>
                    <a:pt x="136" y="208"/>
                    <a:pt x="136" y="209"/>
                    <a:pt x="135" y="207"/>
                  </a:cubicBezTo>
                  <a:cubicBezTo>
                    <a:pt x="135" y="207"/>
                    <a:pt x="135" y="207"/>
                    <a:pt x="135" y="206"/>
                  </a:cubicBezTo>
                  <a:cubicBezTo>
                    <a:pt x="135" y="206"/>
                    <a:pt x="134" y="205"/>
                    <a:pt x="135" y="205"/>
                  </a:cubicBezTo>
                  <a:cubicBezTo>
                    <a:pt x="136" y="204"/>
                    <a:pt x="136" y="204"/>
                    <a:pt x="136" y="204"/>
                  </a:cubicBezTo>
                  <a:cubicBezTo>
                    <a:pt x="135" y="201"/>
                    <a:pt x="135" y="199"/>
                    <a:pt x="134" y="197"/>
                  </a:cubicBezTo>
                  <a:cubicBezTo>
                    <a:pt x="133" y="194"/>
                    <a:pt x="133" y="191"/>
                    <a:pt x="132" y="188"/>
                  </a:cubicBezTo>
                  <a:cubicBezTo>
                    <a:pt x="132" y="187"/>
                    <a:pt x="133" y="186"/>
                    <a:pt x="133" y="185"/>
                  </a:cubicBezTo>
                  <a:cubicBezTo>
                    <a:pt x="133" y="184"/>
                    <a:pt x="133" y="183"/>
                    <a:pt x="132" y="182"/>
                  </a:cubicBezTo>
                  <a:cubicBezTo>
                    <a:pt x="132" y="178"/>
                    <a:pt x="130" y="172"/>
                    <a:pt x="128" y="168"/>
                  </a:cubicBezTo>
                  <a:cubicBezTo>
                    <a:pt x="127" y="164"/>
                    <a:pt x="126" y="163"/>
                    <a:pt x="126" y="159"/>
                  </a:cubicBezTo>
                  <a:cubicBezTo>
                    <a:pt x="126" y="158"/>
                    <a:pt x="126" y="158"/>
                    <a:pt x="125" y="157"/>
                  </a:cubicBezTo>
                  <a:cubicBezTo>
                    <a:pt x="121" y="154"/>
                    <a:pt x="118" y="149"/>
                    <a:pt x="114" y="144"/>
                  </a:cubicBezTo>
                  <a:cubicBezTo>
                    <a:pt x="114" y="144"/>
                    <a:pt x="114" y="144"/>
                    <a:pt x="114" y="144"/>
                  </a:cubicBezTo>
                  <a:cubicBezTo>
                    <a:pt x="115" y="143"/>
                    <a:pt x="115" y="143"/>
                    <a:pt x="115" y="143"/>
                  </a:cubicBezTo>
                  <a:cubicBezTo>
                    <a:pt x="114" y="143"/>
                    <a:pt x="114" y="143"/>
                    <a:pt x="114" y="143"/>
                  </a:cubicBezTo>
                  <a:cubicBezTo>
                    <a:pt x="115" y="142"/>
                    <a:pt x="115" y="141"/>
                    <a:pt x="115" y="140"/>
                  </a:cubicBezTo>
                  <a:cubicBezTo>
                    <a:pt x="114" y="140"/>
                    <a:pt x="114" y="140"/>
                    <a:pt x="114" y="140"/>
                  </a:cubicBezTo>
                  <a:cubicBezTo>
                    <a:pt x="113" y="140"/>
                    <a:pt x="113" y="141"/>
                    <a:pt x="112" y="142"/>
                  </a:cubicBezTo>
                  <a:cubicBezTo>
                    <a:pt x="112" y="142"/>
                    <a:pt x="112" y="142"/>
                    <a:pt x="112" y="142"/>
                  </a:cubicBezTo>
                  <a:cubicBezTo>
                    <a:pt x="112" y="141"/>
                    <a:pt x="111" y="140"/>
                    <a:pt x="112" y="139"/>
                  </a:cubicBezTo>
                  <a:cubicBezTo>
                    <a:pt x="109" y="137"/>
                    <a:pt x="104" y="136"/>
                    <a:pt x="101" y="133"/>
                  </a:cubicBezTo>
                  <a:cubicBezTo>
                    <a:pt x="100" y="132"/>
                    <a:pt x="98" y="130"/>
                    <a:pt x="97" y="129"/>
                  </a:cubicBezTo>
                  <a:cubicBezTo>
                    <a:pt x="95" y="128"/>
                    <a:pt x="93" y="127"/>
                    <a:pt x="92" y="126"/>
                  </a:cubicBezTo>
                  <a:cubicBezTo>
                    <a:pt x="90" y="124"/>
                    <a:pt x="91" y="122"/>
                    <a:pt x="89" y="121"/>
                  </a:cubicBezTo>
                  <a:cubicBezTo>
                    <a:pt x="88" y="119"/>
                    <a:pt x="86" y="118"/>
                    <a:pt x="84" y="116"/>
                  </a:cubicBezTo>
                  <a:cubicBezTo>
                    <a:pt x="81" y="114"/>
                    <a:pt x="78" y="111"/>
                    <a:pt x="76" y="109"/>
                  </a:cubicBezTo>
                  <a:cubicBezTo>
                    <a:pt x="76" y="109"/>
                    <a:pt x="76" y="109"/>
                    <a:pt x="76" y="109"/>
                  </a:cubicBezTo>
                  <a:cubicBezTo>
                    <a:pt x="77" y="109"/>
                    <a:pt x="78" y="109"/>
                    <a:pt x="79" y="110"/>
                  </a:cubicBezTo>
                  <a:cubicBezTo>
                    <a:pt x="79" y="108"/>
                    <a:pt x="78" y="107"/>
                    <a:pt x="80" y="105"/>
                  </a:cubicBezTo>
                  <a:cubicBezTo>
                    <a:pt x="80" y="105"/>
                    <a:pt x="70" y="95"/>
                    <a:pt x="69" y="94"/>
                  </a:cubicBezTo>
                  <a:cubicBezTo>
                    <a:pt x="65" y="91"/>
                    <a:pt x="64" y="88"/>
                    <a:pt x="63" y="84"/>
                  </a:cubicBezTo>
                  <a:cubicBezTo>
                    <a:pt x="63" y="84"/>
                    <a:pt x="63" y="84"/>
                    <a:pt x="63" y="84"/>
                  </a:cubicBezTo>
                  <a:cubicBezTo>
                    <a:pt x="63" y="83"/>
                    <a:pt x="65" y="81"/>
                    <a:pt x="66" y="79"/>
                  </a:cubicBezTo>
                  <a:cubicBezTo>
                    <a:pt x="67" y="78"/>
                    <a:pt x="66" y="74"/>
                    <a:pt x="66" y="72"/>
                  </a:cubicBezTo>
                  <a:cubicBezTo>
                    <a:pt x="67" y="71"/>
                    <a:pt x="68" y="69"/>
                    <a:pt x="69" y="68"/>
                  </a:cubicBezTo>
                  <a:cubicBezTo>
                    <a:pt x="71" y="65"/>
                    <a:pt x="72" y="64"/>
                    <a:pt x="74" y="62"/>
                  </a:cubicBezTo>
                  <a:cubicBezTo>
                    <a:pt x="76" y="61"/>
                    <a:pt x="78" y="59"/>
                    <a:pt x="80" y="59"/>
                  </a:cubicBezTo>
                  <a:cubicBezTo>
                    <a:pt x="81" y="59"/>
                    <a:pt x="81" y="59"/>
                    <a:pt x="81" y="59"/>
                  </a:cubicBezTo>
                  <a:cubicBezTo>
                    <a:pt x="81" y="57"/>
                    <a:pt x="81" y="54"/>
                    <a:pt x="81" y="52"/>
                  </a:cubicBezTo>
                  <a:cubicBezTo>
                    <a:pt x="81" y="51"/>
                    <a:pt x="85" y="51"/>
                    <a:pt x="86" y="51"/>
                  </a:cubicBezTo>
                  <a:cubicBezTo>
                    <a:pt x="85" y="50"/>
                    <a:pt x="85" y="50"/>
                    <a:pt x="85" y="50"/>
                  </a:cubicBezTo>
                  <a:cubicBezTo>
                    <a:pt x="84" y="47"/>
                    <a:pt x="85" y="47"/>
                    <a:pt x="82" y="44"/>
                  </a:cubicBezTo>
                  <a:cubicBezTo>
                    <a:pt x="84" y="45"/>
                    <a:pt x="85" y="47"/>
                    <a:pt x="87" y="47"/>
                  </a:cubicBezTo>
                  <a:cubicBezTo>
                    <a:pt x="87" y="47"/>
                    <a:pt x="88" y="47"/>
                    <a:pt x="88" y="47"/>
                  </a:cubicBezTo>
                  <a:cubicBezTo>
                    <a:pt x="88" y="46"/>
                    <a:pt x="88" y="46"/>
                    <a:pt x="88" y="46"/>
                  </a:cubicBezTo>
                  <a:cubicBezTo>
                    <a:pt x="89" y="46"/>
                    <a:pt x="89" y="46"/>
                    <a:pt x="90" y="45"/>
                  </a:cubicBezTo>
                  <a:cubicBezTo>
                    <a:pt x="90" y="45"/>
                    <a:pt x="90" y="45"/>
                    <a:pt x="91" y="45"/>
                  </a:cubicBezTo>
                  <a:cubicBezTo>
                    <a:pt x="91" y="45"/>
                    <a:pt x="91" y="45"/>
                    <a:pt x="92" y="46"/>
                  </a:cubicBezTo>
                  <a:cubicBezTo>
                    <a:pt x="92" y="46"/>
                    <a:pt x="92" y="46"/>
                    <a:pt x="93" y="46"/>
                  </a:cubicBezTo>
                  <a:cubicBezTo>
                    <a:pt x="93" y="46"/>
                    <a:pt x="93" y="46"/>
                    <a:pt x="93" y="46"/>
                  </a:cubicBezTo>
                  <a:cubicBezTo>
                    <a:pt x="93" y="46"/>
                    <a:pt x="96" y="45"/>
                    <a:pt x="96" y="45"/>
                  </a:cubicBezTo>
                  <a:cubicBezTo>
                    <a:pt x="96" y="44"/>
                    <a:pt x="96" y="44"/>
                    <a:pt x="96" y="43"/>
                  </a:cubicBezTo>
                  <a:cubicBezTo>
                    <a:pt x="96" y="42"/>
                    <a:pt x="97" y="42"/>
                    <a:pt x="96" y="41"/>
                  </a:cubicBezTo>
                  <a:cubicBezTo>
                    <a:pt x="97" y="41"/>
                    <a:pt x="97" y="40"/>
                    <a:pt x="98" y="40"/>
                  </a:cubicBezTo>
                  <a:cubicBezTo>
                    <a:pt x="97" y="41"/>
                    <a:pt x="97" y="42"/>
                    <a:pt x="96" y="44"/>
                  </a:cubicBezTo>
                  <a:cubicBezTo>
                    <a:pt x="98" y="43"/>
                    <a:pt x="99" y="42"/>
                    <a:pt x="101" y="41"/>
                  </a:cubicBezTo>
                  <a:cubicBezTo>
                    <a:pt x="100" y="40"/>
                    <a:pt x="99" y="40"/>
                    <a:pt x="99" y="40"/>
                  </a:cubicBezTo>
                  <a:cubicBezTo>
                    <a:pt x="101" y="38"/>
                    <a:pt x="103" y="37"/>
                    <a:pt x="105" y="36"/>
                  </a:cubicBezTo>
                  <a:cubicBezTo>
                    <a:pt x="105" y="36"/>
                    <a:pt x="105" y="36"/>
                    <a:pt x="105" y="36"/>
                  </a:cubicBezTo>
                  <a:cubicBezTo>
                    <a:pt x="105" y="35"/>
                    <a:pt x="105" y="35"/>
                    <a:pt x="105" y="35"/>
                  </a:cubicBezTo>
                  <a:cubicBezTo>
                    <a:pt x="103" y="35"/>
                    <a:pt x="101" y="34"/>
                    <a:pt x="100" y="34"/>
                  </a:cubicBezTo>
                  <a:cubicBezTo>
                    <a:pt x="99" y="34"/>
                    <a:pt x="99" y="34"/>
                    <a:pt x="99" y="34"/>
                  </a:cubicBezTo>
                  <a:cubicBezTo>
                    <a:pt x="98" y="34"/>
                    <a:pt x="98" y="34"/>
                    <a:pt x="98" y="34"/>
                  </a:cubicBezTo>
                  <a:cubicBezTo>
                    <a:pt x="98" y="35"/>
                    <a:pt x="97" y="35"/>
                    <a:pt x="96" y="35"/>
                  </a:cubicBezTo>
                  <a:cubicBezTo>
                    <a:pt x="94" y="35"/>
                    <a:pt x="93" y="33"/>
                    <a:pt x="92" y="32"/>
                  </a:cubicBezTo>
                  <a:cubicBezTo>
                    <a:pt x="91" y="31"/>
                    <a:pt x="91" y="31"/>
                    <a:pt x="91" y="31"/>
                  </a:cubicBezTo>
                  <a:cubicBezTo>
                    <a:pt x="90" y="30"/>
                    <a:pt x="90" y="30"/>
                    <a:pt x="90" y="30"/>
                  </a:cubicBezTo>
                  <a:cubicBezTo>
                    <a:pt x="89" y="28"/>
                    <a:pt x="89" y="28"/>
                    <a:pt x="89" y="28"/>
                  </a:cubicBezTo>
                  <a:cubicBezTo>
                    <a:pt x="88" y="28"/>
                    <a:pt x="88" y="28"/>
                    <a:pt x="87" y="28"/>
                  </a:cubicBezTo>
                  <a:cubicBezTo>
                    <a:pt x="87" y="28"/>
                    <a:pt x="87" y="28"/>
                    <a:pt x="87" y="28"/>
                  </a:cubicBezTo>
                  <a:cubicBezTo>
                    <a:pt x="85" y="28"/>
                    <a:pt x="84" y="28"/>
                    <a:pt x="82" y="27"/>
                  </a:cubicBezTo>
                  <a:cubicBezTo>
                    <a:pt x="82" y="27"/>
                    <a:pt x="82" y="27"/>
                    <a:pt x="82" y="27"/>
                  </a:cubicBezTo>
                  <a:cubicBezTo>
                    <a:pt x="82" y="27"/>
                    <a:pt x="82" y="27"/>
                    <a:pt x="82" y="27"/>
                  </a:cubicBezTo>
                  <a:cubicBezTo>
                    <a:pt x="81" y="25"/>
                    <a:pt x="81" y="25"/>
                    <a:pt x="81" y="25"/>
                  </a:cubicBezTo>
                  <a:cubicBezTo>
                    <a:pt x="81" y="25"/>
                    <a:pt x="81" y="25"/>
                    <a:pt x="81" y="25"/>
                  </a:cubicBezTo>
                  <a:cubicBezTo>
                    <a:pt x="81" y="25"/>
                    <a:pt x="81" y="25"/>
                    <a:pt x="81" y="25"/>
                  </a:cubicBezTo>
                  <a:cubicBezTo>
                    <a:pt x="81" y="23"/>
                    <a:pt x="81" y="23"/>
                    <a:pt x="81" y="23"/>
                  </a:cubicBezTo>
                  <a:cubicBezTo>
                    <a:pt x="81" y="23"/>
                    <a:pt x="81" y="23"/>
                    <a:pt x="81" y="23"/>
                  </a:cubicBezTo>
                  <a:cubicBezTo>
                    <a:pt x="81" y="23"/>
                    <a:pt x="81" y="22"/>
                    <a:pt x="81" y="22"/>
                  </a:cubicBezTo>
                  <a:cubicBezTo>
                    <a:pt x="80" y="21"/>
                    <a:pt x="80" y="20"/>
                    <a:pt x="80" y="19"/>
                  </a:cubicBezTo>
                  <a:cubicBezTo>
                    <a:pt x="79" y="19"/>
                    <a:pt x="79" y="19"/>
                    <a:pt x="79" y="19"/>
                  </a:cubicBezTo>
                  <a:cubicBezTo>
                    <a:pt x="78" y="16"/>
                    <a:pt x="79" y="14"/>
                    <a:pt x="81" y="12"/>
                  </a:cubicBezTo>
                  <a:cubicBezTo>
                    <a:pt x="81" y="11"/>
                    <a:pt x="81" y="11"/>
                    <a:pt x="81" y="11"/>
                  </a:cubicBezTo>
                  <a:cubicBezTo>
                    <a:pt x="82" y="11"/>
                    <a:pt x="82" y="10"/>
                    <a:pt x="82" y="10"/>
                  </a:cubicBezTo>
                  <a:cubicBezTo>
                    <a:pt x="82" y="10"/>
                    <a:pt x="82" y="10"/>
                    <a:pt x="82" y="10"/>
                  </a:cubicBezTo>
                  <a:cubicBezTo>
                    <a:pt x="82" y="10"/>
                    <a:pt x="82" y="10"/>
                    <a:pt x="82" y="10"/>
                  </a:cubicBezTo>
                  <a:cubicBezTo>
                    <a:pt x="81" y="9"/>
                    <a:pt x="80" y="9"/>
                    <a:pt x="79" y="9"/>
                  </a:cubicBezTo>
                  <a:cubicBezTo>
                    <a:pt x="78" y="9"/>
                    <a:pt x="78" y="9"/>
                    <a:pt x="77" y="9"/>
                  </a:cubicBezTo>
                  <a:cubicBezTo>
                    <a:pt x="77" y="9"/>
                    <a:pt x="77" y="9"/>
                    <a:pt x="76" y="9"/>
                  </a:cubicBezTo>
                  <a:cubicBezTo>
                    <a:pt x="76" y="9"/>
                    <a:pt x="75" y="9"/>
                    <a:pt x="75" y="9"/>
                  </a:cubicBezTo>
                  <a:cubicBezTo>
                    <a:pt x="74" y="9"/>
                    <a:pt x="74" y="9"/>
                    <a:pt x="74" y="9"/>
                  </a:cubicBezTo>
                  <a:cubicBezTo>
                    <a:pt x="71" y="9"/>
                    <a:pt x="68" y="9"/>
                    <a:pt x="64" y="7"/>
                  </a:cubicBezTo>
                  <a:cubicBezTo>
                    <a:pt x="64" y="6"/>
                    <a:pt x="64" y="6"/>
                    <a:pt x="64" y="6"/>
                  </a:cubicBezTo>
                  <a:cubicBezTo>
                    <a:pt x="62" y="5"/>
                    <a:pt x="61" y="4"/>
                    <a:pt x="60" y="3"/>
                  </a:cubicBezTo>
                  <a:cubicBezTo>
                    <a:pt x="59" y="2"/>
                    <a:pt x="59" y="2"/>
                    <a:pt x="59" y="2"/>
                  </a:cubicBezTo>
                  <a:cubicBezTo>
                    <a:pt x="58" y="1"/>
                    <a:pt x="58" y="1"/>
                    <a:pt x="58" y="1"/>
                  </a:cubicBezTo>
                  <a:cubicBezTo>
                    <a:pt x="58" y="1"/>
                    <a:pt x="58" y="1"/>
                    <a:pt x="58" y="1"/>
                  </a:cubicBezTo>
                  <a:cubicBezTo>
                    <a:pt x="57" y="0"/>
                    <a:pt x="57" y="0"/>
                    <a:pt x="57" y="0"/>
                  </a:cubicBezTo>
                  <a:cubicBezTo>
                    <a:pt x="56" y="0"/>
                    <a:pt x="56" y="0"/>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441"/>
            <p:cNvSpPr/>
            <p:nvPr/>
          </p:nvSpPr>
          <p:spPr bwMode="auto">
            <a:xfrm>
              <a:off x="4888354" y="6102839"/>
              <a:ext cx="104534" cy="137545"/>
            </a:xfrm>
            <a:custGeom>
              <a:gdLst>
                <a:gd name="T0" fmla="*/ 14 w 32"/>
                <a:gd name="T1" fmla="*/ 0 h 42"/>
                <a:gd name="T2" fmla="*/ 12 w 32"/>
                <a:gd name="T3" fmla="*/ 0 h 42"/>
                <a:gd name="T4" fmla="*/ 12 w 32"/>
                <a:gd name="T5" fmla="*/ 0 h 42"/>
                <a:gd name="T6" fmla="*/ 12 w 32"/>
                <a:gd name="T7" fmla="*/ 1 h 42"/>
                <a:gd name="T8" fmla="*/ 4 w 32"/>
                <a:gd name="T9" fmla="*/ 8 h 42"/>
                <a:gd name="T10" fmla="*/ 0 w 32"/>
                <a:gd name="T11" fmla="*/ 9 h 42"/>
                <a:gd name="T12" fmla="*/ 2 w 32"/>
                <a:gd name="T13" fmla="*/ 13 h 42"/>
                <a:gd name="T14" fmla="*/ 11 w 32"/>
                <a:gd name="T15" fmla="*/ 18 h 42"/>
                <a:gd name="T16" fmla="*/ 10 w 32"/>
                <a:gd name="T17" fmla="*/ 17 h 42"/>
                <a:gd name="T18" fmla="*/ 7 w 32"/>
                <a:gd name="T19" fmla="*/ 19 h 42"/>
                <a:gd name="T20" fmla="*/ 6 w 32"/>
                <a:gd name="T21" fmla="*/ 31 h 42"/>
                <a:gd name="T22" fmla="*/ 7 w 32"/>
                <a:gd name="T23" fmla="*/ 41 h 42"/>
                <a:gd name="T24" fmla="*/ 8 w 32"/>
                <a:gd name="T25" fmla="*/ 40 h 42"/>
                <a:gd name="T26" fmla="*/ 4 w 32"/>
                <a:gd name="T27" fmla="*/ 42 h 42"/>
                <a:gd name="T28" fmla="*/ 13 w 32"/>
                <a:gd name="T29" fmla="*/ 40 h 42"/>
                <a:gd name="T30" fmla="*/ 17 w 32"/>
                <a:gd name="T31" fmla="*/ 36 h 42"/>
                <a:gd name="T32" fmla="*/ 28 w 32"/>
                <a:gd name="T33" fmla="*/ 29 h 42"/>
                <a:gd name="T34" fmla="*/ 30 w 32"/>
                <a:gd name="T35" fmla="*/ 25 h 42"/>
                <a:gd name="T36" fmla="*/ 26 w 32"/>
                <a:gd name="T37" fmla="*/ 17 h 42"/>
                <a:gd name="T38" fmla="*/ 25 w 32"/>
                <a:gd name="T39" fmla="*/ 15 h 42"/>
                <a:gd name="T40" fmla="*/ 25 w 32"/>
                <a:gd name="T41" fmla="*/ 15 h 42"/>
                <a:gd name="T42" fmla="*/ 21 w 32"/>
                <a:gd name="T43" fmla="*/ 12 h 42"/>
                <a:gd name="T44" fmla="*/ 21 w 32"/>
                <a:gd name="T45" fmla="*/ 12 h 42"/>
                <a:gd name="T46" fmla="*/ 17 w 32"/>
                <a:gd name="T47" fmla="*/ 8 h 42"/>
                <a:gd name="T48" fmla="*/ 14 w 32"/>
                <a:gd name="T49" fmla="*/ 5 h 42"/>
                <a:gd name="T50" fmla="*/ 15 w 32"/>
                <a:gd name="T51" fmla="*/ 5 h 42"/>
                <a:gd name="T52" fmla="*/ 15 w 32"/>
                <a:gd name="T53" fmla="*/ 5 h 42"/>
                <a:gd name="T54" fmla="*/ 14 w 32"/>
                <a:gd name="T55" fmla="*/ 0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42">
                  <a:moveTo>
                    <a:pt x="14" y="0"/>
                  </a:moveTo>
                  <a:cubicBezTo>
                    <a:pt x="14" y="0"/>
                    <a:pt x="13" y="0"/>
                    <a:pt x="12" y="0"/>
                  </a:cubicBezTo>
                  <a:cubicBezTo>
                    <a:pt x="12" y="0"/>
                    <a:pt x="12" y="0"/>
                    <a:pt x="12" y="0"/>
                  </a:cubicBezTo>
                  <a:cubicBezTo>
                    <a:pt x="12" y="1"/>
                    <a:pt x="12" y="1"/>
                    <a:pt x="12" y="1"/>
                  </a:cubicBezTo>
                  <a:cubicBezTo>
                    <a:pt x="12" y="4"/>
                    <a:pt x="8" y="7"/>
                    <a:pt x="4" y="8"/>
                  </a:cubicBezTo>
                  <a:cubicBezTo>
                    <a:pt x="2" y="8"/>
                    <a:pt x="0" y="9"/>
                    <a:pt x="0" y="9"/>
                  </a:cubicBezTo>
                  <a:cubicBezTo>
                    <a:pt x="0" y="11"/>
                    <a:pt x="1" y="12"/>
                    <a:pt x="2" y="13"/>
                  </a:cubicBezTo>
                  <a:cubicBezTo>
                    <a:pt x="4" y="14"/>
                    <a:pt x="11" y="14"/>
                    <a:pt x="11" y="18"/>
                  </a:cubicBezTo>
                  <a:cubicBezTo>
                    <a:pt x="11" y="17"/>
                    <a:pt x="11" y="17"/>
                    <a:pt x="10" y="17"/>
                  </a:cubicBezTo>
                  <a:cubicBezTo>
                    <a:pt x="9" y="17"/>
                    <a:pt x="8" y="19"/>
                    <a:pt x="7" y="19"/>
                  </a:cubicBezTo>
                  <a:cubicBezTo>
                    <a:pt x="5" y="23"/>
                    <a:pt x="6" y="28"/>
                    <a:pt x="6" y="31"/>
                  </a:cubicBezTo>
                  <a:cubicBezTo>
                    <a:pt x="6" y="33"/>
                    <a:pt x="4" y="41"/>
                    <a:pt x="7" y="41"/>
                  </a:cubicBezTo>
                  <a:cubicBezTo>
                    <a:pt x="8" y="41"/>
                    <a:pt x="8" y="41"/>
                    <a:pt x="8" y="40"/>
                  </a:cubicBezTo>
                  <a:cubicBezTo>
                    <a:pt x="7" y="41"/>
                    <a:pt x="6" y="42"/>
                    <a:pt x="4" y="42"/>
                  </a:cubicBezTo>
                  <a:cubicBezTo>
                    <a:pt x="8" y="42"/>
                    <a:pt x="10" y="42"/>
                    <a:pt x="13" y="40"/>
                  </a:cubicBezTo>
                  <a:cubicBezTo>
                    <a:pt x="15" y="39"/>
                    <a:pt x="15" y="39"/>
                    <a:pt x="17" y="36"/>
                  </a:cubicBezTo>
                  <a:cubicBezTo>
                    <a:pt x="18" y="32"/>
                    <a:pt x="24" y="31"/>
                    <a:pt x="28" y="29"/>
                  </a:cubicBezTo>
                  <a:cubicBezTo>
                    <a:pt x="30" y="27"/>
                    <a:pt x="32" y="28"/>
                    <a:pt x="30" y="25"/>
                  </a:cubicBezTo>
                  <a:cubicBezTo>
                    <a:pt x="29" y="22"/>
                    <a:pt x="28" y="20"/>
                    <a:pt x="26" y="17"/>
                  </a:cubicBezTo>
                  <a:cubicBezTo>
                    <a:pt x="26" y="16"/>
                    <a:pt x="25" y="16"/>
                    <a:pt x="25" y="15"/>
                  </a:cubicBezTo>
                  <a:cubicBezTo>
                    <a:pt x="25" y="15"/>
                    <a:pt x="25" y="15"/>
                    <a:pt x="25" y="15"/>
                  </a:cubicBezTo>
                  <a:cubicBezTo>
                    <a:pt x="24" y="14"/>
                    <a:pt x="23" y="13"/>
                    <a:pt x="21" y="12"/>
                  </a:cubicBezTo>
                  <a:cubicBezTo>
                    <a:pt x="21" y="12"/>
                    <a:pt x="21" y="12"/>
                    <a:pt x="21" y="12"/>
                  </a:cubicBezTo>
                  <a:cubicBezTo>
                    <a:pt x="20" y="10"/>
                    <a:pt x="18" y="9"/>
                    <a:pt x="17" y="8"/>
                  </a:cubicBezTo>
                  <a:cubicBezTo>
                    <a:pt x="16" y="6"/>
                    <a:pt x="15" y="5"/>
                    <a:pt x="14" y="5"/>
                  </a:cubicBezTo>
                  <a:cubicBezTo>
                    <a:pt x="14" y="5"/>
                    <a:pt x="15" y="5"/>
                    <a:pt x="15" y="5"/>
                  </a:cubicBezTo>
                  <a:cubicBezTo>
                    <a:pt x="15" y="5"/>
                    <a:pt x="15" y="5"/>
                    <a:pt x="15" y="5"/>
                  </a:cubicBezTo>
                  <a:cubicBezTo>
                    <a:pt x="17" y="5"/>
                    <a:pt x="16" y="2"/>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442"/>
            <p:cNvSpPr/>
            <p:nvPr/>
          </p:nvSpPr>
          <p:spPr bwMode="auto">
            <a:xfrm flipH="1">
              <a:off x="4787946" y="6045070"/>
              <a:ext cx="0" cy="6878"/>
            </a:xfrm>
            <a:custGeom>
              <a:gdLst>
                <a:gd name="T0" fmla="*/ 0 h 2"/>
                <a:gd name="T1" fmla="*/ 0 h 2"/>
                <a:gd name="T2" fmla="*/ 0 h 2"/>
                <a:gd name="T3" fmla="*/ 2 h 2"/>
                <a:gd name="T4" fmla="*/ 0 h 2"/>
              </a:gd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0"/>
                    <a:pt x="0" y="0"/>
                    <a:pt x="0" y="0"/>
                  </a:cubicBezTo>
                  <a:cubicBezTo>
                    <a:pt x="0" y="1"/>
                    <a:pt x="0" y="2"/>
                    <a:pt x="0" y="2"/>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443"/>
            <p:cNvSpPr>
              <a:spLocks noEditPoints="1"/>
            </p:cNvSpPr>
            <p:nvPr/>
          </p:nvSpPr>
          <p:spPr bwMode="auto">
            <a:xfrm>
              <a:off x="4759062" y="5873138"/>
              <a:ext cx="314979" cy="250332"/>
            </a:xfrm>
            <a:custGeom>
              <a:gdLst>
                <a:gd name="T0" fmla="*/ 11 w 97"/>
                <a:gd name="T1" fmla="*/ 57 h 77"/>
                <a:gd name="T2" fmla="*/ 74 w 97"/>
                <a:gd name="T3" fmla="*/ 2 h 77"/>
                <a:gd name="T4" fmla="*/ 74 w 97"/>
                <a:gd name="T5" fmla="*/ 8 h 77"/>
                <a:gd name="T6" fmla="*/ 69 w 97"/>
                <a:gd name="T7" fmla="*/ 16 h 77"/>
                <a:gd name="T8" fmla="*/ 67 w 97"/>
                <a:gd name="T9" fmla="*/ 13 h 77"/>
                <a:gd name="T10" fmla="*/ 64 w 97"/>
                <a:gd name="T11" fmla="*/ 12 h 77"/>
                <a:gd name="T12" fmla="*/ 62 w 97"/>
                <a:gd name="T13" fmla="*/ 9 h 77"/>
                <a:gd name="T14" fmla="*/ 61 w 97"/>
                <a:gd name="T15" fmla="*/ 9 h 77"/>
                <a:gd name="T16" fmla="*/ 58 w 97"/>
                <a:gd name="T17" fmla="*/ 10 h 77"/>
                <a:gd name="T18" fmla="*/ 53 w 97"/>
                <a:gd name="T19" fmla="*/ 6 h 77"/>
                <a:gd name="T20" fmla="*/ 48 w 97"/>
                <a:gd name="T21" fmla="*/ 5 h 77"/>
                <a:gd name="T22" fmla="*/ 47 w 97"/>
                <a:gd name="T23" fmla="*/ 4 h 77"/>
                <a:gd name="T24" fmla="*/ 41 w 97"/>
                <a:gd name="T25" fmla="*/ 4 h 77"/>
                <a:gd name="T26" fmla="*/ 30 w 97"/>
                <a:gd name="T27" fmla="*/ 4 h 77"/>
                <a:gd name="T28" fmla="*/ 21 w 97"/>
                <a:gd name="T29" fmla="*/ 4 h 77"/>
                <a:gd name="T30" fmla="*/ 11 w 97"/>
                <a:gd name="T31" fmla="*/ 8 h 77"/>
                <a:gd name="T32" fmla="*/ 2 w 97"/>
                <a:gd name="T33" fmla="*/ 19 h 77"/>
                <a:gd name="T34" fmla="*/ 3 w 97"/>
                <a:gd name="T35" fmla="*/ 26 h 77"/>
                <a:gd name="T36" fmla="*/ 4 w 97"/>
                <a:gd name="T37" fmla="*/ 34 h 77"/>
                <a:gd name="T38" fmla="*/ 8 w 97"/>
                <a:gd name="T39" fmla="*/ 38 h 77"/>
                <a:gd name="T40" fmla="*/ 9 w 97"/>
                <a:gd name="T41" fmla="*/ 40 h 77"/>
                <a:gd name="T42" fmla="*/ 10 w 97"/>
                <a:gd name="T43" fmla="*/ 51 h 77"/>
                <a:gd name="T44" fmla="*/ 11 w 97"/>
                <a:gd name="T45" fmla="*/ 57 h 77"/>
                <a:gd name="T46" fmla="*/ 14 w 97"/>
                <a:gd name="T47" fmla="*/ 70 h 77"/>
                <a:gd name="T48" fmla="*/ 22 w 97"/>
                <a:gd name="T49" fmla="*/ 64 h 77"/>
                <a:gd name="T50" fmla="*/ 22 w 97"/>
                <a:gd name="T51" fmla="*/ 76 h 77"/>
                <a:gd name="T52" fmla="*/ 36 w 97"/>
                <a:gd name="T53" fmla="*/ 77 h 77"/>
                <a:gd name="T54" fmla="*/ 47 w 97"/>
                <a:gd name="T55" fmla="*/ 72 h 77"/>
                <a:gd name="T56" fmla="*/ 51 w 97"/>
                <a:gd name="T57" fmla="*/ 66 h 77"/>
                <a:gd name="T58" fmla="*/ 57 w 97"/>
                <a:gd name="T59" fmla="*/ 66 h 77"/>
                <a:gd name="T60" fmla="*/ 63 w 97"/>
                <a:gd name="T61" fmla="*/ 65 h 77"/>
                <a:gd name="T62" fmla="*/ 63 w 97"/>
                <a:gd name="T63" fmla="*/ 58 h 77"/>
                <a:gd name="T64" fmla="*/ 67 w 97"/>
                <a:gd name="T65" fmla="*/ 51 h 77"/>
                <a:gd name="T66" fmla="*/ 74 w 97"/>
                <a:gd name="T67" fmla="*/ 51 h 77"/>
                <a:gd name="T68" fmla="*/ 84 w 97"/>
                <a:gd name="T69" fmla="*/ 44 h 77"/>
                <a:gd name="T70" fmla="*/ 89 w 97"/>
                <a:gd name="T71" fmla="*/ 41 h 77"/>
                <a:gd name="T72" fmla="*/ 95 w 97"/>
                <a:gd name="T73" fmla="*/ 40 h 77"/>
                <a:gd name="T74" fmla="*/ 96 w 97"/>
                <a:gd name="T75" fmla="*/ 39 h 77"/>
                <a:gd name="T76" fmla="*/ 96 w 97"/>
                <a:gd name="T77" fmla="*/ 38 h 77"/>
                <a:gd name="T78" fmla="*/ 95 w 97"/>
                <a:gd name="T79" fmla="*/ 27 h 77"/>
                <a:gd name="T80" fmla="*/ 96 w 97"/>
                <a:gd name="T81" fmla="*/ 18 h 77"/>
                <a:gd name="T82" fmla="*/ 94 w 97"/>
                <a:gd name="T83" fmla="*/ 12 h 77"/>
                <a:gd name="T84" fmla="*/ 93 w 97"/>
                <a:gd name="T85" fmla="*/ 3 h 77"/>
                <a:gd name="T86" fmla="*/ 89 w 97"/>
                <a:gd name="T87" fmla="*/ 4 h 77"/>
                <a:gd name="T88" fmla="*/ 84 w 97"/>
                <a:gd name="T89" fmla="*/ 4 h 77"/>
                <a:gd name="T90" fmla="*/ 77 w 97"/>
                <a:gd name="T91" fmla="*/ 0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77">
                  <a:moveTo>
                    <a:pt x="11" y="57"/>
                  </a:moveTo>
                  <a:cubicBezTo>
                    <a:pt x="11" y="57"/>
                    <a:pt x="11" y="57"/>
                    <a:pt x="11" y="57"/>
                  </a:cubicBezTo>
                  <a:cubicBezTo>
                    <a:pt x="11" y="57"/>
                    <a:pt x="11" y="57"/>
                    <a:pt x="11" y="57"/>
                  </a:cubicBezTo>
                  <a:moveTo>
                    <a:pt x="77" y="0"/>
                  </a:moveTo>
                  <a:cubicBezTo>
                    <a:pt x="76" y="1"/>
                    <a:pt x="76" y="1"/>
                    <a:pt x="75" y="2"/>
                  </a:cubicBezTo>
                  <a:cubicBezTo>
                    <a:pt x="74" y="2"/>
                    <a:pt x="74" y="2"/>
                    <a:pt x="74" y="2"/>
                  </a:cubicBezTo>
                  <a:cubicBezTo>
                    <a:pt x="74" y="3"/>
                    <a:pt x="73" y="3"/>
                    <a:pt x="73" y="3"/>
                  </a:cubicBezTo>
                  <a:cubicBezTo>
                    <a:pt x="72" y="4"/>
                    <a:pt x="72" y="4"/>
                    <a:pt x="72" y="4"/>
                  </a:cubicBezTo>
                  <a:cubicBezTo>
                    <a:pt x="73" y="5"/>
                    <a:pt x="74" y="7"/>
                    <a:pt x="74" y="8"/>
                  </a:cubicBezTo>
                  <a:cubicBezTo>
                    <a:pt x="74" y="9"/>
                    <a:pt x="73" y="10"/>
                    <a:pt x="73" y="10"/>
                  </a:cubicBezTo>
                  <a:cubicBezTo>
                    <a:pt x="72" y="12"/>
                    <a:pt x="71" y="13"/>
                    <a:pt x="69" y="13"/>
                  </a:cubicBezTo>
                  <a:cubicBezTo>
                    <a:pt x="69" y="16"/>
                    <a:pt x="69" y="16"/>
                    <a:pt x="69" y="16"/>
                  </a:cubicBezTo>
                  <a:cubicBezTo>
                    <a:pt x="68" y="13"/>
                    <a:pt x="68" y="13"/>
                    <a:pt x="68" y="13"/>
                  </a:cubicBezTo>
                  <a:cubicBezTo>
                    <a:pt x="68" y="13"/>
                    <a:pt x="67" y="13"/>
                    <a:pt x="67" y="13"/>
                  </a:cubicBezTo>
                  <a:cubicBezTo>
                    <a:pt x="67" y="13"/>
                    <a:pt x="67" y="13"/>
                    <a:pt x="67" y="13"/>
                  </a:cubicBezTo>
                  <a:cubicBezTo>
                    <a:pt x="66" y="13"/>
                    <a:pt x="66" y="13"/>
                    <a:pt x="66" y="13"/>
                  </a:cubicBezTo>
                  <a:cubicBezTo>
                    <a:pt x="65" y="12"/>
                    <a:pt x="65" y="12"/>
                    <a:pt x="65" y="12"/>
                  </a:cubicBezTo>
                  <a:cubicBezTo>
                    <a:pt x="65" y="12"/>
                    <a:pt x="65" y="12"/>
                    <a:pt x="64" y="12"/>
                  </a:cubicBezTo>
                  <a:cubicBezTo>
                    <a:pt x="64" y="11"/>
                    <a:pt x="64" y="11"/>
                    <a:pt x="63" y="10"/>
                  </a:cubicBezTo>
                  <a:cubicBezTo>
                    <a:pt x="63" y="10"/>
                    <a:pt x="63" y="10"/>
                    <a:pt x="63" y="10"/>
                  </a:cubicBezTo>
                  <a:cubicBezTo>
                    <a:pt x="62" y="9"/>
                    <a:pt x="62" y="9"/>
                    <a:pt x="62" y="9"/>
                  </a:cubicBezTo>
                  <a:cubicBezTo>
                    <a:pt x="62" y="9"/>
                    <a:pt x="62" y="9"/>
                    <a:pt x="62" y="9"/>
                  </a:cubicBezTo>
                  <a:cubicBezTo>
                    <a:pt x="62" y="9"/>
                    <a:pt x="62" y="9"/>
                    <a:pt x="62" y="9"/>
                  </a:cubicBezTo>
                  <a:cubicBezTo>
                    <a:pt x="61" y="9"/>
                    <a:pt x="61" y="9"/>
                    <a:pt x="61" y="9"/>
                  </a:cubicBezTo>
                  <a:cubicBezTo>
                    <a:pt x="60" y="10"/>
                    <a:pt x="60" y="10"/>
                    <a:pt x="60" y="10"/>
                  </a:cubicBezTo>
                  <a:cubicBezTo>
                    <a:pt x="60" y="10"/>
                    <a:pt x="59" y="10"/>
                    <a:pt x="58" y="10"/>
                  </a:cubicBezTo>
                  <a:cubicBezTo>
                    <a:pt x="58" y="10"/>
                    <a:pt x="58" y="10"/>
                    <a:pt x="58" y="10"/>
                  </a:cubicBezTo>
                  <a:cubicBezTo>
                    <a:pt x="57" y="10"/>
                    <a:pt x="57" y="10"/>
                    <a:pt x="57" y="9"/>
                  </a:cubicBezTo>
                  <a:cubicBezTo>
                    <a:pt x="57" y="9"/>
                    <a:pt x="55" y="9"/>
                    <a:pt x="55" y="8"/>
                  </a:cubicBezTo>
                  <a:cubicBezTo>
                    <a:pt x="54" y="8"/>
                    <a:pt x="54" y="7"/>
                    <a:pt x="53" y="6"/>
                  </a:cubicBezTo>
                  <a:cubicBezTo>
                    <a:pt x="53" y="7"/>
                    <a:pt x="52" y="7"/>
                    <a:pt x="51" y="7"/>
                  </a:cubicBezTo>
                  <a:cubicBezTo>
                    <a:pt x="50" y="7"/>
                    <a:pt x="49" y="6"/>
                    <a:pt x="49" y="6"/>
                  </a:cubicBezTo>
                  <a:cubicBezTo>
                    <a:pt x="48" y="5"/>
                    <a:pt x="48" y="5"/>
                    <a:pt x="48" y="5"/>
                  </a:cubicBezTo>
                  <a:cubicBezTo>
                    <a:pt x="47" y="4"/>
                    <a:pt x="47" y="4"/>
                    <a:pt x="47" y="4"/>
                  </a:cubicBezTo>
                  <a:cubicBezTo>
                    <a:pt x="47" y="4"/>
                    <a:pt x="47" y="4"/>
                    <a:pt x="47" y="4"/>
                  </a:cubicBezTo>
                  <a:cubicBezTo>
                    <a:pt x="47" y="4"/>
                    <a:pt x="47" y="4"/>
                    <a:pt x="47" y="4"/>
                  </a:cubicBezTo>
                  <a:cubicBezTo>
                    <a:pt x="47" y="4"/>
                    <a:pt x="46" y="4"/>
                    <a:pt x="46" y="4"/>
                  </a:cubicBezTo>
                  <a:cubicBezTo>
                    <a:pt x="45" y="4"/>
                    <a:pt x="44" y="4"/>
                    <a:pt x="42" y="4"/>
                  </a:cubicBezTo>
                  <a:cubicBezTo>
                    <a:pt x="42" y="4"/>
                    <a:pt x="41" y="4"/>
                    <a:pt x="41" y="4"/>
                  </a:cubicBezTo>
                  <a:cubicBezTo>
                    <a:pt x="39" y="4"/>
                    <a:pt x="37" y="5"/>
                    <a:pt x="35" y="5"/>
                  </a:cubicBezTo>
                  <a:cubicBezTo>
                    <a:pt x="35" y="5"/>
                    <a:pt x="34" y="5"/>
                    <a:pt x="34" y="5"/>
                  </a:cubicBezTo>
                  <a:cubicBezTo>
                    <a:pt x="33" y="5"/>
                    <a:pt x="31" y="5"/>
                    <a:pt x="30" y="4"/>
                  </a:cubicBezTo>
                  <a:cubicBezTo>
                    <a:pt x="29" y="4"/>
                    <a:pt x="29" y="4"/>
                    <a:pt x="29" y="4"/>
                  </a:cubicBezTo>
                  <a:cubicBezTo>
                    <a:pt x="27" y="4"/>
                    <a:pt x="25" y="4"/>
                    <a:pt x="22" y="4"/>
                  </a:cubicBezTo>
                  <a:cubicBezTo>
                    <a:pt x="22" y="4"/>
                    <a:pt x="21" y="4"/>
                    <a:pt x="21" y="4"/>
                  </a:cubicBezTo>
                  <a:cubicBezTo>
                    <a:pt x="20" y="4"/>
                    <a:pt x="19" y="4"/>
                    <a:pt x="19" y="4"/>
                  </a:cubicBezTo>
                  <a:cubicBezTo>
                    <a:pt x="16" y="5"/>
                    <a:pt x="14" y="5"/>
                    <a:pt x="12" y="7"/>
                  </a:cubicBezTo>
                  <a:cubicBezTo>
                    <a:pt x="12" y="7"/>
                    <a:pt x="12" y="7"/>
                    <a:pt x="11" y="8"/>
                  </a:cubicBezTo>
                  <a:cubicBezTo>
                    <a:pt x="11" y="8"/>
                    <a:pt x="10" y="9"/>
                    <a:pt x="10" y="11"/>
                  </a:cubicBezTo>
                  <a:cubicBezTo>
                    <a:pt x="8" y="14"/>
                    <a:pt x="6" y="16"/>
                    <a:pt x="3" y="19"/>
                  </a:cubicBezTo>
                  <a:cubicBezTo>
                    <a:pt x="3" y="19"/>
                    <a:pt x="2" y="19"/>
                    <a:pt x="2" y="19"/>
                  </a:cubicBezTo>
                  <a:cubicBezTo>
                    <a:pt x="1" y="21"/>
                    <a:pt x="1" y="21"/>
                    <a:pt x="1" y="21"/>
                  </a:cubicBezTo>
                  <a:cubicBezTo>
                    <a:pt x="0" y="21"/>
                    <a:pt x="1" y="22"/>
                    <a:pt x="2" y="25"/>
                  </a:cubicBezTo>
                  <a:cubicBezTo>
                    <a:pt x="3" y="26"/>
                    <a:pt x="3" y="26"/>
                    <a:pt x="3" y="26"/>
                  </a:cubicBezTo>
                  <a:cubicBezTo>
                    <a:pt x="4" y="28"/>
                    <a:pt x="4" y="29"/>
                    <a:pt x="4" y="31"/>
                  </a:cubicBezTo>
                  <a:cubicBezTo>
                    <a:pt x="4" y="32"/>
                    <a:pt x="4" y="32"/>
                    <a:pt x="4" y="32"/>
                  </a:cubicBezTo>
                  <a:cubicBezTo>
                    <a:pt x="4" y="33"/>
                    <a:pt x="4" y="34"/>
                    <a:pt x="4" y="34"/>
                  </a:cubicBezTo>
                  <a:cubicBezTo>
                    <a:pt x="5" y="34"/>
                    <a:pt x="5" y="34"/>
                    <a:pt x="5" y="34"/>
                  </a:cubicBezTo>
                  <a:cubicBezTo>
                    <a:pt x="6" y="36"/>
                    <a:pt x="6" y="36"/>
                    <a:pt x="6" y="36"/>
                  </a:cubicBezTo>
                  <a:cubicBezTo>
                    <a:pt x="7" y="36"/>
                    <a:pt x="8" y="37"/>
                    <a:pt x="8" y="38"/>
                  </a:cubicBezTo>
                  <a:cubicBezTo>
                    <a:pt x="9" y="38"/>
                    <a:pt x="9" y="38"/>
                    <a:pt x="9" y="38"/>
                  </a:cubicBezTo>
                  <a:cubicBezTo>
                    <a:pt x="9" y="39"/>
                    <a:pt x="9" y="39"/>
                    <a:pt x="9" y="39"/>
                  </a:cubicBezTo>
                  <a:cubicBezTo>
                    <a:pt x="9" y="40"/>
                    <a:pt x="9" y="40"/>
                    <a:pt x="9" y="40"/>
                  </a:cubicBezTo>
                  <a:cubicBezTo>
                    <a:pt x="9" y="41"/>
                    <a:pt x="9" y="41"/>
                    <a:pt x="9" y="41"/>
                  </a:cubicBezTo>
                  <a:cubicBezTo>
                    <a:pt x="9" y="41"/>
                    <a:pt x="9" y="42"/>
                    <a:pt x="9" y="42"/>
                  </a:cubicBezTo>
                  <a:cubicBezTo>
                    <a:pt x="9" y="45"/>
                    <a:pt x="10" y="48"/>
                    <a:pt x="10" y="51"/>
                  </a:cubicBezTo>
                  <a:cubicBezTo>
                    <a:pt x="11" y="52"/>
                    <a:pt x="11" y="52"/>
                    <a:pt x="11" y="52"/>
                  </a:cubicBezTo>
                  <a:cubicBezTo>
                    <a:pt x="10" y="52"/>
                    <a:pt x="10" y="52"/>
                    <a:pt x="10" y="52"/>
                  </a:cubicBezTo>
                  <a:cubicBezTo>
                    <a:pt x="11" y="54"/>
                    <a:pt x="12" y="55"/>
                    <a:pt x="11" y="57"/>
                  </a:cubicBezTo>
                  <a:cubicBezTo>
                    <a:pt x="11" y="56"/>
                    <a:pt x="12" y="56"/>
                    <a:pt x="12" y="56"/>
                  </a:cubicBezTo>
                  <a:cubicBezTo>
                    <a:pt x="14" y="56"/>
                    <a:pt x="15" y="61"/>
                    <a:pt x="14" y="62"/>
                  </a:cubicBezTo>
                  <a:cubicBezTo>
                    <a:pt x="11" y="64"/>
                    <a:pt x="14" y="67"/>
                    <a:pt x="14" y="70"/>
                  </a:cubicBezTo>
                  <a:cubicBezTo>
                    <a:pt x="14" y="70"/>
                    <a:pt x="15" y="70"/>
                    <a:pt x="15" y="70"/>
                  </a:cubicBezTo>
                  <a:cubicBezTo>
                    <a:pt x="16" y="70"/>
                    <a:pt x="19" y="69"/>
                    <a:pt x="19" y="69"/>
                  </a:cubicBezTo>
                  <a:cubicBezTo>
                    <a:pt x="20" y="68"/>
                    <a:pt x="21" y="65"/>
                    <a:pt x="22" y="64"/>
                  </a:cubicBezTo>
                  <a:cubicBezTo>
                    <a:pt x="22" y="67"/>
                    <a:pt x="23" y="69"/>
                    <a:pt x="24" y="72"/>
                  </a:cubicBezTo>
                  <a:cubicBezTo>
                    <a:pt x="24" y="73"/>
                    <a:pt x="23" y="73"/>
                    <a:pt x="22" y="73"/>
                  </a:cubicBezTo>
                  <a:cubicBezTo>
                    <a:pt x="21" y="73"/>
                    <a:pt x="22" y="75"/>
                    <a:pt x="22" y="76"/>
                  </a:cubicBezTo>
                  <a:cubicBezTo>
                    <a:pt x="24" y="75"/>
                    <a:pt x="26" y="75"/>
                    <a:pt x="28" y="75"/>
                  </a:cubicBezTo>
                  <a:cubicBezTo>
                    <a:pt x="31" y="75"/>
                    <a:pt x="34" y="76"/>
                    <a:pt x="37" y="77"/>
                  </a:cubicBezTo>
                  <a:cubicBezTo>
                    <a:pt x="36" y="77"/>
                    <a:pt x="36" y="77"/>
                    <a:pt x="36" y="77"/>
                  </a:cubicBezTo>
                  <a:cubicBezTo>
                    <a:pt x="37" y="76"/>
                    <a:pt x="37" y="76"/>
                    <a:pt x="37" y="76"/>
                  </a:cubicBezTo>
                  <a:cubicBezTo>
                    <a:pt x="39" y="76"/>
                    <a:pt x="41" y="75"/>
                    <a:pt x="43" y="74"/>
                  </a:cubicBezTo>
                  <a:cubicBezTo>
                    <a:pt x="45" y="74"/>
                    <a:pt x="47" y="72"/>
                    <a:pt x="47" y="72"/>
                  </a:cubicBezTo>
                  <a:cubicBezTo>
                    <a:pt x="47" y="70"/>
                    <a:pt x="47" y="68"/>
                    <a:pt x="49" y="67"/>
                  </a:cubicBezTo>
                  <a:cubicBezTo>
                    <a:pt x="49" y="67"/>
                    <a:pt x="49" y="67"/>
                    <a:pt x="50" y="66"/>
                  </a:cubicBezTo>
                  <a:cubicBezTo>
                    <a:pt x="50" y="66"/>
                    <a:pt x="51" y="66"/>
                    <a:pt x="51" y="66"/>
                  </a:cubicBezTo>
                  <a:cubicBezTo>
                    <a:pt x="51" y="66"/>
                    <a:pt x="52" y="66"/>
                    <a:pt x="52" y="67"/>
                  </a:cubicBezTo>
                  <a:cubicBezTo>
                    <a:pt x="52" y="67"/>
                    <a:pt x="52" y="67"/>
                    <a:pt x="53" y="67"/>
                  </a:cubicBezTo>
                  <a:cubicBezTo>
                    <a:pt x="54" y="67"/>
                    <a:pt x="56" y="66"/>
                    <a:pt x="57" y="66"/>
                  </a:cubicBezTo>
                  <a:cubicBezTo>
                    <a:pt x="57" y="66"/>
                    <a:pt x="57" y="66"/>
                    <a:pt x="57" y="66"/>
                  </a:cubicBezTo>
                  <a:cubicBezTo>
                    <a:pt x="59" y="66"/>
                    <a:pt x="63" y="65"/>
                    <a:pt x="63" y="65"/>
                  </a:cubicBezTo>
                  <a:cubicBezTo>
                    <a:pt x="63" y="65"/>
                    <a:pt x="63" y="65"/>
                    <a:pt x="63" y="65"/>
                  </a:cubicBezTo>
                  <a:cubicBezTo>
                    <a:pt x="64" y="65"/>
                    <a:pt x="65" y="65"/>
                    <a:pt x="66" y="66"/>
                  </a:cubicBezTo>
                  <a:cubicBezTo>
                    <a:pt x="66" y="66"/>
                    <a:pt x="66" y="65"/>
                    <a:pt x="65" y="65"/>
                  </a:cubicBezTo>
                  <a:cubicBezTo>
                    <a:pt x="63" y="63"/>
                    <a:pt x="63" y="60"/>
                    <a:pt x="63" y="58"/>
                  </a:cubicBezTo>
                  <a:cubicBezTo>
                    <a:pt x="63" y="58"/>
                    <a:pt x="63" y="58"/>
                    <a:pt x="63" y="58"/>
                  </a:cubicBezTo>
                  <a:cubicBezTo>
                    <a:pt x="63" y="57"/>
                    <a:pt x="63" y="57"/>
                    <a:pt x="62" y="56"/>
                  </a:cubicBezTo>
                  <a:cubicBezTo>
                    <a:pt x="62" y="54"/>
                    <a:pt x="65" y="52"/>
                    <a:pt x="67" y="51"/>
                  </a:cubicBezTo>
                  <a:cubicBezTo>
                    <a:pt x="67" y="50"/>
                    <a:pt x="68" y="50"/>
                    <a:pt x="69" y="50"/>
                  </a:cubicBezTo>
                  <a:cubicBezTo>
                    <a:pt x="69" y="50"/>
                    <a:pt x="69" y="50"/>
                    <a:pt x="69" y="50"/>
                  </a:cubicBezTo>
                  <a:cubicBezTo>
                    <a:pt x="74" y="51"/>
                    <a:pt x="74" y="51"/>
                    <a:pt x="74" y="51"/>
                  </a:cubicBezTo>
                  <a:cubicBezTo>
                    <a:pt x="74" y="49"/>
                    <a:pt x="74" y="47"/>
                    <a:pt x="76" y="46"/>
                  </a:cubicBezTo>
                  <a:cubicBezTo>
                    <a:pt x="79" y="46"/>
                    <a:pt x="81" y="45"/>
                    <a:pt x="84" y="44"/>
                  </a:cubicBezTo>
                  <a:cubicBezTo>
                    <a:pt x="84" y="44"/>
                    <a:pt x="84" y="44"/>
                    <a:pt x="84" y="44"/>
                  </a:cubicBezTo>
                  <a:cubicBezTo>
                    <a:pt x="86" y="44"/>
                    <a:pt x="86" y="44"/>
                    <a:pt x="87" y="44"/>
                  </a:cubicBezTo>
                  <a:cubicBezTo>
                    <a:pt x="87" y="43"/>
                    <a:pt x="87" y="43"/>
                    <a:pt x="87" y="43"/>
                  </a:cubicBezTo>
                  <a:cubicBezTo>
                    <a:pt x="88" y="42"/>
                    <a:pt x="88" y="41"/>
                    <a:pt x="89" y="41"/>
                  </a:cubicBezTo>
                  <a:cubicBezTo>
                    <a:pt x="90" y="40"/>
                    <a:pt x="90" y="40"/>
                    <a:pt x="90" y="40"/>
                  </a:cubicBezTo>
                  <a:cubicBezTo>
                    <a:pt x="91" y="40"/>
                    <a:pt x="92" y="40"/>
                    <a:pt x="92" y="40"/>
                  </a:cubicBezTo>
                  <a:cubicBezTo>
                    <a:pt x="93" y="40"/>
                    <a:pt x="94" y="40"/>
                    <a:pt x="95" y="40"/>
                  </a:cubicBezTo>
                  <a:cubicBezTo>
                    <a:pt x="95" y="41"/>
                    <a:pt x="95" y="41"/>
                    <a:pt x="95" y="41"/>
                  </a:cubicBezTo>
                  <a:cubicBezTo>
                    <a:pt x="95" y="41"/>
                    <a:pt x="95" y="41"/>
                    <a:pt x="95" y="41"/>
                  </a:cubicBezTo>
                  <a:cubicBezTo>
                    <a:pt x="95" y="41"/>
                    <a:pt x="96" y="41"/>
                    <a:pt x="96" y="39"/>
                  </a:cubicBezTo>
                  <a:cubicBezTo>
                    <a:pt x="96" y="39"/>
                    <a:pt x="96" y="39"/>
                    <a:pt x="96" y="39"/>
                  </a:cubicBezTo>
                  <a:cubicBezTo>
                    <a:pt x="96" y="38"/>
                    <a:pt x="96" y="38"/>
                    <a:pt x="96" y="38"/>
                  </a:cubicBezTo>
                  <a:cubicBezTo>
                    <a:pt x="96" y="38"/>
                    <a:pt x="96" y="38"/>
                    <a:pt x="96" y="38"/>
                  </a:cubicBezTo>
                  <a:cubicBezTo>
                    <a:pt x="96" y="36"/>
                    <a:pt x="96" y="35"/>
                    <a:pt x="95" y="34"/>
                  </a:cubicBezTo>
                  <a:cubicBezTo>
                    <a:pt x="95" y="31"/>
                    <a:pt x="95" y="30"/>
                    <a:pt x="95" y="28"/>
                  </a:cubicBezTo>
                  <a:cubicBezTo>
                    <a:pt x="95" y="27"/>
                    <a:pt x="95" y="27"/>
                    <a:pt x="95" y="27"/>
                  </a:cubicBezTo>
                  <a:cubicBezTo>
                    <a:pt x="96" y="25"/>
                    <a:pt x="96" y="23"/>
                    <a:pt x="97" y="22"/>
                  </a:cubicBezTo>
                  <a:cubicBezTo>
                    <a:pt x="97" y="20"/>
                    <a:pt x="97" y="20"/>
                    <a:pt x="97" y="20"/>
                  </a:cubicBezTo>
                  <a:cubicBezTo>
                    <a:pt x="97" y="20"/>
                    <a:pt x="96" y="18"/>
                    <a:pt x="96" y="18"/>
                  </a:cubicBezTo>
                  <a:cubicBezTo>
                    <a:pt x="95" y="17"/>
                    <a:pt x="95" y="17"/>
                    <a:pt x="95" y="16"/>
                  </a:cubicBezTo>
                  <a:cubicBezTo>
                    <a:pt x="94" y="15"/>
                    <a:pt x="94" y="14"/>
                    <a:pt x="94" y="12"/>
                  </a:cubicBezTo>
                  <a:cubicBezTo>
                    <a:pt x="94" y="12"/>
                    <a:pt x="94" y="12"/>
                    <a:pt x="94" y="12"/>
                  </a:cubicBezTo>
                  <a:cubicBezTo>
                    <a:pt x="94" y="11"/>
                    <a:pt x="94" y="11"/>
                    <a:pt x="94" y="11"/>
                  </a:cubicBezTo>
                  <a:cubicBezTo>
                    <a:pt x="92" y="9"/>
                    <a:pt x="91" y="8"/>
                    <a:pt x="92" y="6"/>
                  </a:cubicBezTo>
                  <a:cubicBezTo>
                    <a:pt x="93" y="3"/>
                    <a:pt x="93" y="3"/>
                    <a:pt x="93" y="3"/>
                  </a:cubicBezTo>
                  <a:cubicBezTo>
                    <a:pt x="93" y="3"/>
                    <a:pt x="93" y="2"/>
                    <a:pt x="93" y="1"/>
                  </a:cubicBezTo>
                  <a:cubicBezTo>
                    <a:pt x="93" y="1"/>
                    <a:pt x="92" y="2"/>
                    <a:pt x="92" y="2"/>
                  </a:cubicBezTo>
                  <a:cubicBezTo>
                    <a:pt x="91" y="3"/>
                    <a:pt x="90" y="3"/>
                    <a:pt x="89" y="4"/>
                  </a:cubicBezTo>
                  <a:cubicBezTo>
                    <a:pt x="89" y="4"/>
                    <a:pt x="89" y="4"/>
                    <a:pt x="89" y="4"/>
                  </a:cubicBezTo>
                  <a:cubicBezTo>
                    <a:pt x="88" y="4"/>
                    <a:pt x="87" y="5"/>
                    <a:pt x="87" y="5"/>
                  </a:cubicBezTo>
                  <a:cubicBezTo>
                    <a:pt x="86" y="5"/>
                    <a:pt x="85" y="4"/>
                    <a:pt x="84" y="4"/>
                  </a:cubicBezTo>
                  <a:cubicBezTo>
                    <a:pt x="79" y="2"/>
                    <a:pt x="79" y="2"/>
                    <a:pt x="79" y="2"/>
                  </a:cubicBezTo>
                  <a:cubicBezTo>
                    <a:pt x="78" y="2"/>
                    <a:pt x="78" y="1"/>
                    <a:pt x="78" y="1"/>
                  </a:cubicBezTo>
                  <a:cubicBezTo>
                    <a:pt x="77" y="0"/>
                    <a:pt x="77" y="0"/>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444"/>
            <p:cNvSpPr/>
            <p:nvPr/>
          </p:nvSpPr>
          <p:spPr bwMode="auto">
            <a:xfrm>
              <a:off x="2717892" y="3928250"/>
              <a:ext cx="658841" cy="279217"/>
            </a:xfrm>
            <a:custGeom>
              <a:gdLst>
                <a:gd name="T0" fmla="*/ 83 w 203"/>
                <a:gd name="T1" fmla="*/ 2 h 86"/>
                <a:gd name="T2" fmla="*/ 77 w 203"/>
                <a:gd name="T3" fmla="*/ 18 h 86"/>
                <a:gd name="T4" fmla="*/ 52 w 203"/>
                <a:gd name="T5" fmla="*/ 10 h 86"/>
                <a:gd name="T6" fmla="*/ 38 w 203"/>
                <a:gd name="T7" fmla="*/ 10 h 86"/>
                <a:gd name="T8" fmla="*/ 34 w 203"/>
                <a:gd name="T9" fmla="*/ 12 h 86"/>
                <a:gd name="T10" fmla="*/ 31 w 203"/>
                <a:gd name="T11" fmla="*/ 17 h 86"/>
                <a:gd name="T12" fmla="*/ 33 w 203"/>
                <a:gd name="T13" fmla="*/ 24 h 86"/>
                <a:gd name="T14" fmla="*/ 20 w 203"/>
                <a:gd name="T15" fmla="*/ 36 h 86"/>
                <a:gd name="T16" fmla="*/ 28 w 203"/>
                <a:gd name="T17" fmla="*/ 40 h 86"/>
                <a:gd name="T18" fmla="*/ 39 w 203"/>
                <a:gd name="T19" fmla="*/ 34 h 86"/>
                <a:gd name="T20" fmla="*/ 51 w 203"/>
                <a:gd name="T21" fmla="*/ 41 h 86"/>
                <a:gd name="T22" fmla="*/ 56 w 203"/>
                <a:gd name="T23" fmla="*/ 45 h 86"/>
                <a:gd name="T24" fmla="*/ 71 w 203"/>
                <a:gd name="T25" fmla="*/ 49 h 86"/>
                <a:gd name="T26" fmla="*/ 69 w 203"/>
                <a:gd name="T27" fmla="*/ 56 h 86"/>
                <a:gd name="T28" fmla="*/ 65 w 203"/>
                <a:gd name="T29" fmla="*/ 58 h 86"/>
                <a:gd name="T30" fmla="*/ 59 w 203"/>
                <a:gd name="T31" fmla="*/ 61 h 86"/>
                <a:gd name="T32" fmla="*/ 52 w 203"/>
                <a:gd name="T33" fmla="*/ 64 h 86"/>
                <a:gd name="T34" fmla="*/ 38 w 203"/>
                <a:gd name="T35" fmla="*/ 67 h 86"/>
                <a:gd name="T36" fmla="*/ 35 w 203"/>
                <a:gd name="T37" fmla="*/ 66 h 86"/>
                <a:gd name="T38" fmla="*/ 30 w 203"/>
                <a:gd name="T39" fmla="*/ 67 h 86"/>
                <a:gd name="T40" fmla="*/ 25 w 203"/>
                <a:gd name="T41" fmla="*/ 71 h 86"/>
                <a:gd name="T42" fmla="*/ 22 w 203"/>
                <a:gd name="T43" fmla="*/ 73 h 86"/>
                <a:gd name="T44" fmla="*/ 19 w 203"/>
                <a:gd name="T45" fmla="*/ 74 h 86"/>
                <a:gd name="T46" fmla="*/ 5 w 203"/>
                <a:gd name="T47" fmla="*/ 69 h 86"/>
                <a:gd name="T48" fmla="*/ 1 w 203"/>
                <a:gd name="T49" fmla="*/ 73 h 86"/>
                <a:gd name="T50" fmla="*/ 29 w 203"/>
                <a:gd name="T51" fmla="*/ 81 h 86"/>
                <a:gd name="T52" fmla="*/ 38 w 203"/>
                <a:gd name="T53" fmla="*/ 77 h 86"/>
                <a:gd name="T54" fmla="*/ 47 w 203"/>
                <a:gd name="T55" fmla="*/ 84 h 86"/>
                <a:gd name="T56" fmla="*/ 64 w 203"/>
                <a:gd name="T57" fmla="*/ 82 h 86"/>
                <a:gd name="T58" fmla="*/ 78 w 203"/>
                <a:gd name="T59" fmla="*/ 80 h 86"/>
                <a:gd name="T60" fmla="*/ 83 w 203"/>
                <a:gd name="T61" fmla="*/ 78 h 86"/>
                <a:gd name="T62" fmla="*/ 84 w 203"/>
                <a:gd name="T63" fmla="*/ 72 h 86"/>
                <a:gd name="T64" fmla="*/ 101 w 203"/>
                <a:gd name="T65" fmla="*/ 62 h 86"/>
                <a:gd name="T66" fmla="*/ 103 w 203"/>
                <a:gd name="T67" fmla="*/ 57 h 86"/>
                <a:gd name="T68" fmla="*/ 112 w 203"/>
                <a:gd name="T69" fmla="*/ 56 h 86"/>
                <a:gd name="T70" fmla="*/ 117 w 203"/>
                <a:gd name="T71" fmla="*/ 54 h 86"/>
                <a:gd name="T72" fmla="*/ 121 w 203"/>
                <a:gd name="T73" fmla="*/ 61 h 86"/>
                <a:gd name="T74" fmla="*/ 126 w 203"/>
                <a:gd name="T75" fmla="*/ 60 h 86"/>
                <a:gd name="T76" fmla="*/ 132 w 203"/>
                <a:gd name="T77" fmla="*/ 59 h 86"/>
                <a:gd name="T78" fmla="*/ 135 w 203"/>
                <a:gd name="T79" fmla="*/ 52 h 86"/>
                <a:gd name="T80" fmla="*/ 154 w 203"/>
                <a:gd name="T81" fmla="*/ 43 h 86"/>
                <a:gd name="T82" fmla="*/ 168 w 203"/>
                <a:gd name="T83" fmla="*/ 40 h 86"/>
                <a:gd name="T84" fmla="*/ 176 w 203"/>
                <a:gd name="T85" fmla="*/ 33 h 86"/>
                <a:gd name="T86" fmla="*/ 202 w 203"/>
                <a:gd name="T87" fmla="*/ 23 h 86"/>
                <a:gd name="T88" fmla="*/ 202 w 203"/>
                <a:gd name="T89" fmla="*/ 21 h 86"/>
                <a:gd name="T90" fmla="*/ 194 w 203"/>
                <a:gd name="T91" fmla="*/ 17 h 86"/>
                <a:gd name="T92" fmla="*/ 184 w 203"/>
                <a:gd name="T93" fmla="*/ 9 h 86"/>
                <a:gd name="T94" fmla="*/ 173 w 203"/>
                <a:gd name="T95" fmla="*/ 8 h 86"/>
                <a:gd name="T96" fmla="*/ 166 w 203"/>
                <a:gd name="T97" fmla="*/ 7 h 86"/>
                <a:gd name="T98" fmla="*/ 152 w 203"/>
                <a:gd name="T99" fmla="*/ 7 h 86"/>
                <a:gd name="T100" fmla="*/ 132 w 203"/>
                <a:gd name="T101" fmla="*/ 6 h 86"/>
                <a:gd name="T102" fmla="*/ 113 w 203"/>
                <a:gd name="T103" fmla="*/ 8 h 86"/>
                <a:gd name="T104" fmla="*/ 104 w 203"/>
                <a:gd name="T105" fmla="*/ 6 h 86"/>
                <a:gd name="T106" fmla="*/ 95 w 203"/>
                <a:gd name="T107" fmla="*/ 1 h 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3" h="86">
                  <a:moveTo>
                    <a:pt x="89" y="0"/>
                  </a:moveTo>
                  <a:cubicBezTo>
                    <a:pt x="87" y="0"/>
                    <a:pt x="86" y="1"/>
                    <a:pt x="84" y="2"/>
                  </a:cubicBezTo>
                  <a:cubicBezTo>
                    <a:pt x="84" y="2"/>
                    <a:pt x="84" y="2"/>
                    <a:pt x="84" y="2"/>
                  </a:cubicBezTo>
                  <a:cubicBezTo>
                    <a:pt x="83" y="2"/>
                    <a:pt x="83" y="2"/>
                    <a:pt x="83" y="2"/>
                  </a:cubicBezTo>
                  <a:cubicBezTo>
                    <a:pt x="83" y="2"/>
                    <a:pt x="83" y="2"/>
                    <a:pt x="83" y="2"/>
                  </a:cubicBezTo>
                  <a:cubicBezTo>
                    <a:pt x="79" y="4"/>
                    <a:pt x="78" y="8"/>
                    <a:pt x="79" y="12"/>
                  </a:cubicBezTo>
                  <a:cubicBezTo>
                    <a:pt x="79" y="12"/>
                    <a:pt x="79" y="12"/>
                    <a:pt x="79" y="12"/>
                  </a:cubicBezTo>
                  <a:cubicBezTo>
                    <a:pt x="79" y="13"/>
                    <a:pt x="79" y="14"/>
                    <a:pt x="80" y="14"/>
                  </a:cubicBezTo>
                  <a:cubicBezTo>
                    <a:pt x="83" y="20"/>
                    <a:pt x="83" y="20"/>
                    <a:pt x="83" y="20"/>
                  </a:cubicBezTo>
                  <a:cubicBezTo>
                    <a:pt x="77" y="18"/>
                    <a:pt x="77" y="18"/>
                    <a:pt x="77" y="18"/>
                  </a:cubicBezTo>
                  <a:cubicBezTo>
                    <a:pt x="74" y="17"/>
                    <a:pt x="72" y="16"/>
                    <a:pt x="69" y="15"/>
                  </a:cubicBezTo>
                  <a:cubicBezTo>
                    <a:pt x="64" y="14"/>
                    <a:pt x="60" y="12"/>
                    <a:pt x="56" y="11"/>
                  </a:cubicBezTo>
                  <a:cubicBezTo>
                    <a:pt x="55" y="11"/>
                    <a:pt x="54" y="11"/>
                    <a:pt x="53" y="11"/>
                  </a:cubicBezTo>
                  <a:cubicBezTo>
                    <a:pt x="53" y="10"/>
                    <a:pt x="53" y="10"/>
                    <a:pt x="53" y="10"/>
                  </a:cubicBezTo>
                  <a:cubicBezTo>
                    <a:pt x="52" y="10"/>
                    <a:pt x="52" y="10"/>
                    <a:pt x="52" y="10"/>
                  </a:cubicBezTo>
                  <a:cubicBezTo>
                    <a:pt x="52" y="10"/>
                    <a:pt x="51" y="10"/>
                    <a:pt x="51" y="10"/>
                  </a:cubicBezTo>
                  <a:cubicBezTo>
                    <a:pt x="41" y="10"/>
                    <a:pt x="41" y="10"/>
                    <a:pt x="41" y="10"/>
                  </a:cubicBezTo>
                  <a:cubicBezTo>
                    <a:pt x="41" y="10"/>
                    <a:pt x="41" y="10"/>
                    <a:pt x="41" y="10"/>
                  </a:cubicBezTo>
                  <a:cubicBezTo>
                    <a:pt x="41" y="10"/>
                    <a:pt x="40" y="10"/>
                    <a:pt x="40" y="10"/>
                  </a:cubicBezTo>
                  <a:cubicBezTo>
                    <a:pt x="39" y="10"/>
                    <a:pt x="39" y="10"/>
                    <a:pt x="38" y="10"/>
                  </a:cubicBezTo>
                  <a:cubicBezTo>
                    <a:pt x="38" y="10"/>
                    <a:pt x="37" y="10"/>
                    <a:pt x="37" y="10"/>
                  </a:cubicBezTo>
                  <a:cubicBezTo>
                    <a:pt x="37" y="10"/>
                    <a:pt x="37" y="10"/>
                    <a:pt x="37" y="10"/>
                  </a:cubicBezTo>
                  <a:cubicBezTo>
                    <a:pt x="37" y="10"/>
                    <a:pt x="37" y="10"/>
                    <a:pt x="37" y="10"/>
                  </a:cubicBezTo>
                  <a:cubicBezTo>
                    <a:pt x="36" y="11"/>
                    <a:pt x="36" y="12"/>
                    <a:pt x="35" y="13"/>
                  </a:cubicBezTo>
                  <a:cubicBezTo>
                    <a:pt x="34" y="12"/>
                    <a:pt x="34" y="12"/>
                    <a:pt x="34" y="12"/>
                  </a:cubicBezTo>
                  <a:cubicBezTo>
                    <a:pt x="35" y="13"/>
                    <a:pt x="35" y="13"/>
                    <a:pt x="35" y="13"/>
                  </a:cubicBezTo>
                  <a:cubicBezTo>
                    <a:pt x="35" y="13"/>
                    <a:pt x="34" y="14"/>
                    <a:pt x="34" y="14"/>
                  </a:cubicBezTo>
                  <a:cubicBezTo>
                    <a:pt x="33" y="15"/>
                    <a:pt x="33" y="15"/>
                    <a:pt x="33" y="15"/>
                  </a:cubicBezTo>
                  <a:cubicBezTo>
                    <a:pt x="32" y="16"/>
                    <a:pt x="31" y="17"/>
                    <a:pt x="31" y="17"/>
                  </a:cubicBezTo>
                  <a:cubicBezTo>
                    <a:pt x="31" y="17"/>
                    <a:pt x="31" y="17"/>
                    <a:pt x="31" y="17"/>
                  </a:cubicBezTo>
                  <a:cubicBezTo>
                    <a:pt x="31" y="17"/>
                    <a:pt x="31" y="17"/>
                    <a:pt x="31" y="17"/>
                  </a:cubicBezTo>
                  <a:cubicBezTo>
                    <a:pt x="31" y="17"/>
                    <a:pt x="32" y="18"/>
                    <a:pt x="34" y="18"/>
                  </a:cubicBezTo>
                  <a:cubicBezTo>
                    <a:pt x="34" y="18"/>
                    <a:pt x="34" y="18"/>
                    <a:pt x="35" y="18"/>
                  </a:cubicBezTo>
                  <a:cubicBezTo>
                    <a:pt x="41" y="19"/>
                    <a:pt x="41" y="19"/>
                    <a:pt x="41" y="19"/>
                  </a:cubicBezTo>
                  <a:cubicBezTo>
                    <a:pt x="33" y="24"/>
                    <a:pt x="33" y="24"/>
                    <a:pt x="33" y="24"/>
                  </a:cubicBezTo>
                  <a:cubicBezTo>
                    <a:pt x="30" y="26"/>
                    <a:pt x="22" y="31"/>
                    <a:pt x="18" y="34"/>
                  </a:cubicBezTo>
                  <a:cubicBezTo>
                    <a:pt x="18" y="34"/>
                    <a:pt x="18" y="34"/>
                    <a:pt x="18" y="34"/>
                  </a:cubicBezTo>
                  <a:cubicBezTo>
                    <a:pt x="18" y="34"/>
                    <a:pt x="18" y="35"/>
                    <a:pt x="19" y="35"/>
                  </a:cubicBezTo>
                  <a:cubicBezTo>
                    <a:pt x="19" y="35"/>
                    <a:pt x="19" y="35"/>
                    <a:pt x="19" y="35"/>
                  </a:cubicBezTo>
                  <a:cubicBezTo>
                    <a:pt x="20" y="36"/>
                    <a:pt x="20" y="36"/>
                    <a:pt x="20" y="36"/>
                  </a:cubicBezTo>
                  <a:cubicBezTo>
                    <a:pt x="25" y="34"/>
                    <a:pt x="25" y="34"/>
                    <a:pt x="25" y="34"/>
                  </a:cubicBezTo>
                  <a:cubicBezTo>
                    <a:pt x="26" y="36"/>
                    <a:pt x="26" y="36"/>
                    <a:pt x="26" y="36"/>
                  </a:cubicBezTo>
                  <a:cubicBezTo>
                    <a:pt x="26" y="37"/>
                    <a:pt x="26" y="38"/>
                    <a:pt x="26" y="38"/>
                  </a:cubicBezTo>
                  <a:cubicBezTo>
                    <a:pt x="27" y="39"/>
                    <a:pt x="27" y="40"/>
                    <a:pt x="27" y="40"/>
                  </a:cubicBezTo>
                  <a:cubicBezTo>
                    <a:pt x="28" y="40"/>
                    <a:pt x="28" y="40"/>
                    <a:pt x="28" y="40"/>
                  </a:cubicBezTo>
                  <a:cubicBezTo>
                    <a:pt x="30" y="42"/>
                    <a:pt x="33" y="42"/>
                    <a:pt x="35" y="42"/>
                  </a:cubicBezTo>
                  <a:cubicBezTo>
                    <a:pt x="35" y="41"/>
                    <a:pt x="35" y="40"/>
                    <a:pt x="36" y="40"/>
                  </a:cubicBezTo>
                  <a:cubicBezTo>
                    <a:pt x="36" y="37"/>
                    <a:pt x="36" y="37"/>
                    <a:pt x="36" y="37"/>
                  </a:cubicBezTo>
                  <a:cubicBezTo>
                    <a:pt x="39" y="38"/>
                    <a:pt x="39" y="38"/>
                    <a:pt x="39" y="38"/>
                  </a:cubicBezTo>
                  <a:cubicBezTo>
                    <a:pt x="39" y="34"/>
                    <a:pt x="39" y="34"/>
                    <a:pt x="39" y="34"/>
                  </a:cubicBezTo>
                  <a:cubicBezTo>
                    <a:pt x="42" y="35"/>
                    <a:pt x="42" y="35"/>
                    <a:pt x="42" y="35"/>
                  </a:cubicBezTo>
                  <a:cubicBezTo>
                    <a:pt x="46" y="36"/>
                    <a:pt x="47" y="38"/>
                    <a:pt x="49" y="41"/>
                  </a:cubicBezTo>
                  <a:cubicBezTo>
                    <a:pt x="49" y="41"/>
                    <a:pt x="49" y="41"/>
                    <a:pt x="49" y="41"/>
                  </a:cubicBezTo>
                  <a:cubicBezTo>
                    <a:pt x="49" y="41"/>
                    <a:pt x="49" y="41"/>
                    <a:pt x="49" y="41"/>
                  </a:cubicBezTo>
                  <a:cubicBezTo>
                    <a:pt x="50" y="41"/>
                    <a:pt x="50" y="41"/>
                    <a:pt x="51" y="41"/>
                  </a:cubicBezTo>
                  <a:cubicBezTo>
                    <a:pt x="52" y="41"/>
                    <a:pt x="52" y="41"/>
                    <a:pt x="53" y="42"/>
                  </a:cubicBezTo>
                  <a:cubicBezTo>
                    <a:pt x="54" y="42"/>
                    <a:pt x="54" y="44"/>
                    <a:pt x="54" y="45"/>
                  </a:cubicBezTo>
                  <a:cubicBezTo>
                    <a:pt x="55" y="45"/>
                    <a:pt x="55" y="45"/>
                    <a:pt x="55" y="45"/>
                  </a:cubicBezTo>
                  <a:cubicBezTo>
                    <a:pt x="56" y="41"/>
                    <a:pt x="56" y="41"/>
                    <a:pt x="56" y="41"/>
                  </a:cubicBezTo>
                  <a:cubicBezTo>
                    <a:pt x="56" y="45"/>
                    <a:pt x="56" y="45"/>
                    <a:pt x="56" y="45"/>
                  </a:cubicBezTo>
                  <a:cubicBezTo>
                    <a:pt x="58" y="46"/>
                    <a:pt x="58" y="46"/>
                    <a:pt x="58" y="46"/>
                  </a:cubicBezTo>
                  <a:cubicBezTo>
                    <a:pt x="59" y="46"/>
                    <a:pt x="60" y="46"/>
                    <a:pt x="60" y="47"/>
                  </a:cubicBezTo>
                  <a:cubicBezTo>
                    <a:pt x="61" y="47"/>
                    <a:pt x="62" y="48"/>
                    <a:pt x="62" y="48"/>
                  </a:cubicBezTo>
                  <a:cubicBezTo>
                    <a:pt x="63" y="49"/>
                    <a:pt x="66" y="49"/>
                    <a:pt x="67" y="49"/>
                  </a:cubicBezTo>
                  <a:cubicBezTo>
                    <a:pt x="69" y="49"/>
                    <a:pt x="70" y="49"/>
                    <a:pt x="71" y="49"/>
                  </a:cubicBezTo>
                  <a:cubicBezTo>
                    <a:pt x="73" y="49"/>
                    <a:pt x="73" y="49"/>
                    <a:pt x="73" y="49"/>
                  </a:cubicBezTo>
                  <a:cubicBezTo>
                    <a:pt x="73" y="52"/>
                    <a:pt x="73" y="52"/>
                    <a:pt x="73" y="52"/>
                  </a:cubicBezTo>
                  <a:cubicBezTo>
                    <a:pt x="72" y="53"/>
                    <a:pt x="72" y="54"/>
                    <a:pt x="71" y="55"/>
                  </a:cubicBezTo>
                  <a:cubicBezTo>
                    <a:pt x="70" y="55"/>
                    <a:pt x="70" y="55"/>
                    <a:pt x="70" y="55"/>
                  </a:cubicBezTo>
                  <a:cubicBezTo>
                    <a:pt x="70" y="55"/>
                    <a:pt x="70" y="56"/>
                    <a:pt x="69" y="56"/>
                  </a:cubicBezTo>
                  <a:cubicBezTo>
                    <a:pt x="68" y="56"/>
                    <a:pt x="68" y="57"/>
                    <a:pt x="67" y="57"/>
                  </a:cubicBezTo>
                  <a:cubicBezTo>
                    <a:pt x="66" y="57"/>
                    <a:pt x="66" y="57"/>
                    <a:pt x="66" y="57"/>
                  </a:cubicBezTo>
                  <a:cubicBezTo>
                    <a:pt x="66" y="57"/>
                    <a:pt x="66" y="57"/>
                    <a:pt x="66" y="57"/>
                  </a:cubicBezTo>
                  <a:cubicBezTo>
                    <a:pt x="65" y="58"/>
                    <a:pt x="65" y="58"/>
                    <a:pt x="65" y="58"/>
                  </a:cubicBezTo>
                  <a:cubicBezTo>
                    <a:pt x="65" y="58"/>
                    <a:pt x="65" y="58"/>
                    <a:pt x="65" y="58"/>
                  </a:cubicBezTo>
                  <a:cubicBezTo>
                    <a:pt x="64" y="59"/>
                    <a:pt x="63" y="61"/>
                    <a:pt x="61" y="61"/>
                  </a:cubicBezTo>
                  <a:cubicBezTo>
                    <a:pt x="61" y="61"/>
                    <a:pt x="61" y="61"/>
                    <a:pt x="61" y="61"/>
                  </a:cubicBezTo>
                  <a:cubicBezTo>
                    <a:pt x="61" y="61"/>
                    <a:pt x="61" y="61"/>
                    <a:pt x="60" y="61"/>
                  </a:cubicBezTo>
                  <a:cubicBezTo>
                    <a:pt x="60" y="61"/>
                    <a:pt x="59" y="61"/>
                    <a:pt x="59" y="61"/>
                  </a:cubicBezTo>
                  <a:cubicBezTo>
                    <a:pt x="59" y="61"/>
                    <a:pt x="59" y="61"/>
                    <a:pt x="59" y="61"/>
                  </a:cubicBezTo>
                  <a:cubicBezTo>
                    <a:pt x="59" y="66"/>
                    <a:pt x="59" y="66"/>
                    <a:pt x="59" y="66"/>
                  </a:cubicBezTo>
                  <a:cubicBezTo>
                    <a:pt x="55" y="64"/>
                    <a:pt x="55" y="64"/>
                    <a:pt x="55" y="64"/>
                  </a:cubicBezTo>
                  <a:cubicBezTo>
                    <a:pt x="54" y="64"/>
                    <a:pt x="53" y="63"/>
                    <a:pt x="52" y="63"/>
                  </a:cubicBezTo>
                  <a:cubicBezTo>
                    <a:pt x="52" y="63"/>
                    <a:pt x="52" y="63"/>
                    <a:pt x="52" y="63"/>
                  </a:cubicBezTo>
                  <a:cubicBezTo>
                    <a:pt x="52" y="64"/>
                    <a:pt x="52" y="64"/>
                    <a:pt x="52" y="64"/>
                  </a:cubicBezTo>
                  <a:cubicBezTo>
                    <a:pt x="51" y="65"/>
                    <a:pt x="51" y="66"/>
                    <a:pt x="49" y="67"/>
                  </a:cubicBezTo>
                  <a:cubicBezTo>
                    <a:pt x="48" y="68"/>
                    <a:pt x="48" y="68"/>
                    <a:pt x="48" y="68"/>
                  </a:cubicBezTo>
                  <a:cubicBezTo>
                    <a:pt x="47" y="68"/>
                    <a:pt x="45" y="69"/>
                    <a:pt x="44" y="69"/>
                  </a:cubicBezTo>
                  <a:cubicBezTo>
                    <a:pt x="42" y="69"/>
                    <a:pt x="41" y="69"/>
                    <a:pt x="40" y="68"/>
                  </a:cubicBezTo>
                  <a:cubicBezTo>
                    <a:pt x="39" y="68"/>
                    <a:pt x="38" y="67"/>
                    <a:pt x="38" y="67"/>
                  </a:cubicBezTo>
                  <a:cubicBezTo>
                    <a:pt x="37" y="67"/>
                    <a:pt x="37" y="67"/>
                    <a:pt x="37" y="67"/>
                  </a:cubicBezTo>
                  <a:cubicBezTo>
                    <a:pt x="36" y="66"/>
                    <a:pt x="36" y="66"/>
                    <a:pt x="36" y="66"/>
                  </a:cubicBezTo>
                  <a:cubicBezTo>
                    <a:pt x="36" y="66"/>
                    <a:pt x="36" y="66"/>
                    <a:pt x="36" y="66"/>
                  </a:cubicBezTo>
                  <a:cubicBezTo>
                    <a:pt x="36" y="66"/>
                    <a:pt x="36" y="66"/>
                    <a:pt x="35" y="66"/>
                  </a:cubicBezTo>
                  <a:cubicBezTo>
                    <a:pt x="35" y="66"/>
                    <a:pt x="35" y="66"/>
                    <a:pt x="35" y="66"/>
                  </a:cubicBezTo>
                  <a:cubicBezTo>
                    <a:pt x="34" y="66"/>
                    <a:pt x="34" y="66"/>
                    <a:pt x="33" y="66"/>
                  </a:cubicBezTo>
                  <a:cubicBezTo>
                    <a:pt x="33" y="66"/>
                    <a:pt x="32" y="66"/>
                    <a:pt x="32" y="66"/>
                  </a:cubicBezTo>
                  <a:cubicBezTo>
                    <a:pt x="31" y="67"/>
                    <a:pt x="31" y="67"/>
                    <a:pt x="31" y="67"/>
                  </a:cubicBezTo>
                  <a:cubicBezTo>
                    <a:pt x="31" y="67"/>
                    <a:pt x="30" y="67"/>
                    <a:pt x="30" y="67"/>
                  </a:cubicBezTo>
                  <a:cubicBezTo>
                    <a:pt x="30" y="67"/>
                    <a:pt x="30" y="67"/>
                    <a:pt x="30" y="67"/>
                  </a:cubicBezTo>
                  <a:cubicBezTo>
                    <a:pt x="28" y="69"/>
                    <a:pt x="28" y="69"/>
                    <a:pt x="28" y="69"/>
                  </a:cubicBezTo>
                  <a:cubicBezTo>
                    <a:pt x="27" y="69"/>
                    <a:pt x="27" y="69"/>
                    <a:pt x="27" y="69"/>
                  </a:cubicBezTo>
                  <a:cubicBezTo>
                    <a:pt x="27" y="70"/>
                    <a:pt x="27" y="70"/>
                    <a:pt x="27" y="70"/>
                  </a:cubicBezTo>
                  <a:cubicBezTo>
                    <a:pt x="26" y="70"/>
                    <a:pt x="26" y="70"/>
                    <a:pt x="26" y="71"/>
                  </a:cubicBezTo>
                  <a:cubicBezTo>
                    <a:pt x="25" y="71"/>
                    <a:pt x="25" y="71"/>
                    <a:pt x="25" y="71"/>
                  </a:cubicBezTo>
                  <a:cubicBezTo>
                    <a:pt x="25" y="71"/>
                    <a:pt x="25" y="71"/>
                    <a:pt x="25" y="71"/>
                  </a:cubicBezTo>
                  <a:cubicBezTo>
                    <a:pt x="24" y="72"/>
                    <a:pt x="24" y="72"/>
                    <a:pt x="24" y="72"/>
                  </a:cubicBezTo>
                  <a:cubicBezTo>
                    <a:pt x="23" y="72"/>
                    <a:pt x="23" y="72"/>
                    <a:pt x="23" y="72"/>
                  </a:cubicBezTo>
                  <a:cubicBezTo>
                    <a:pt x="23" y="73"/>
                    <a:pt x="23" y="73"/>
                    <a:pt x="23" y="73"/>
                  </a:cubicBezTo>
                  <a:cubicBezTo>
                    <a:pt x="22" y="73"/>
                    <a:pt x="22" y="73"/>
                    <a:pt x="22" y="73"/>
                  </a:cubicBezTo>
                  <a:cubicBezTo>
                    <a:pt x="22" y="73"/>
                    <a:pt x="22" y="73"/>
                    <a:pt x="22" y="73"/>
                  </a:cubicBezTo>
                  <a:cubicBezTo>
                    <a:pt x="22" y="73"/>
                    <a:pt x="22" y="73"/>
                    <a:pt x="22" y="73"/>
                  </a:cubicBezTo>
                  <a:cubicBezTo>
                    <a:pt x="22" y="73"/>
                    <a:pt x="22" y="73"/>
                    <a:pt x="22" y="73"/>
                  </a:cubicBezTo>
                  <a:cubicBezTo>
                    <a:pt x="21" y="74"/>
                    <a:pt x="21" y="74"/>
                    <a:pt x="21" y="74"/>
                  </a:cubicBezTo>
                  <a:cubicBezTo>
                    <a:pt x="20" y="74"/>
                    <a:pt x="20" y="74"/>
                    <a:pt x="19" y="74"/>
                  </a:cubicBezTo>
                  <a:cubicBezTo>
                    <a:pt x="18" y="74"/>
                    <a:pt x="18" y="74"/>
                    <a:pt x="18" y="74"/>
                  </a:cubicBezTo>
                  <a:cubicBezTo>
                    <a:pt x="17" y="72"/>
                    <a:pt x="17" y="72"/>
                    <a:pt x="17" y="72"/>
                  </a:cubicBezTo>
                  <a:cubicBezTo>
                    <a:pt x="17" y="72"/>
                    <a:pt x="17" y="71"/>
                    <a:pt x="17" y="71"/>
                  </a:cubicBezTo>
                  <a:cubicBezTo>
                    <a:pt x="14" y="70"/>
                    <a:pt x="11" y="68"/>
                    <a:pt x="10" y="68"/>
                  </a:cubicBezTo>
                  <a:cubicBezTo>
                    <a:pt x="8" y="68"/>
                    <a:pt x="7" y="69"/>
                    <a:pt x="5" y="69"/>
                  </a:cubicBezTo>
                  <a:cubicBezTo>
                    <a:pt x="5" y="69"/>
                    <a:pt x="5" y="69"/>
                    <a:pt x="5" y="69"/>
                  </a:cubicBezTo>
                  <a:cubicBezTo>
                    <a:pt x="4" y="70"/>
                    <a:pt x="4" y="70"/>
                    <a:pt x="3" y="70"/>
                  </a:cubicBezTo>
                  <a:cubicBezTo>
                    <a:pt x="3" y="70"/>
                    <a:pt x="3" y="70"/>
                    <a:pt x="3" y="70"/>
                  </a:cubicBezTo>
                  <a:cubicBezTo>
                    <a:pt x="3" y="70"/>
                    <a:pt x="3" y="70"/>
                    <a:pt x="2" y="72"/>
                  </a:cubicBezTo>
                  <a:cubicBezTo>
                    <a:pt x="1" y="73"/>
                    <a:pt x="1" y="73"/>
                    <a:pt x="1" y="73"/>
                  </a:cubicBezTo>
                  <a:cubicBezTo>
                    <a:pt x="0" y="75"/>
                    <a:pt x="0" y="75"/>
                    <a:pt x="0" y="75"/>
                  </a:cubicBezTo>
                  <a:cubicBezTo>
                    <a:pt x="0" y="79"/>
                    <a:pt x="0" y="79"/>
                    <a:pt x="0" y="79"/>
                  </a:cubicBezTo>
                  <a:cubicBezTo>
                    <a:pt x="3" y="78"/>
                    <a:pt x="6" y="78"/>
                    <a:pt x="10" y="78"/>
                  </a:cubicBezTo>
                  <a:cubicBezTo>
                    <a:pt x="13" y="78"/>
                    <a:pt x="16" y="78"/>
                    <a:pt x="19" y="79"/>
                  </a:cubicBezTo>
                  <a:cubicBezTo>
                    <a:pt x="23" y="79"/>
                    <a:pt x="26" y="80"/>
                    <a:pt x="29" y="81"/>
                  </a:cubicBezTo>
                  <a:cubicBezTo>
                    <a:pt x="30" y="77"/>
                    <a:pt x="30" y="77"/>
                    <a:pt x="30" y="77"/>
                  </a:cubicBezTo>
                  <a:cubicBezTo>
                    <a:pt x="30" y="81"/>
                    <a:pt x="30" y="81"/>
                    <a:pt x="30" y="81"/>
                  </a:cubicBezTo>
                  <a:cubicBezTo>
                    <a:pt x="31" y="81"/>
                    <a:pt x="34" y="80"/>
                    <a:pt x="36" y="79"/>
                  </a:cubicBezTo>
                  <a:cubicBezTo>
                    <a:pt x="36" y="79"/>
                    <a:pt x="36" y="79"/>
                    <a:pt x="36" y="79"/>
                  </a:cubicBezTo>
                  <a:cubicBezTo>
                    <a:pt x="37" y="78"/>
                    <a:pt x="38" y="78"/>
                    <a:pt x="38" y="77"/>
                  </a:cubicBezTo>
                  <a:cubicBezTo>
                    <a:pt x="41" y="76"/>
                    <a:pt x="41" y="76"/>
                    <a:pt x="41" y="76"/>
                  </a:cubicBezTo>
                  <a:cubicBezTo>
                    <a:pt x="42" y="80"/>
                    <a:pt x="42" y="80"/>
                    <a:pt x="42" y="80"/>
                  </a:cubicBezTo>
                  <a:cubicBezTo>
                    <a:pt x="42" y="80"/>
                    <a:pt x="42" y="80"/>
                    <a:pt x="42" y="80"/>
                  </a:cubicBezTo>
                  <a:cubicBezTo>
                    <a:pt x="46" y="81"/>
                    <a:pt x="46" y="83"/>
                    <a:pt x="46" y="84"/>
                  </a:cubicBezTo>
                  <a:cubicBezTo>
                    <a:pt x="47" y="84"/>
                    <a:pt x="47" y="84"/>
                    <a:pt x="47" y="84"/>
                  </a:cubicBezTo>
                  <a:cubicBezTo>
                    <a:pt x="48" y="84"/>
                    <a:pt x="48" y="84"/>
                    <a:pt x="48" y="84"/>
                  </a:cubicBezTo>
                  <a:cubicBezTo>
                    <a:pt x="49" y="85"/>
                    <a:pt x="51" y="85"/>
                    <a:pt x="53" y="86"/>
                  </a:cubicBezTo>
                  <a:cubicBezTo>
                    <a:pt x="54" y="84"/>
                    <a:pt x="56" y="82"/>
                    <a:pt x="60" y="82"/>
                  </a:cubicBezTo>
                  <a:cubicBezTo>
                    <a:pt x="60" y="82"/>
                    <a:pt x="60" y="82"/>
                    <a:pt x="60" y="82"/>
                  </a:cubicBezTo>
                  <a:cubicBezTo>
                    <a:pt x="64" y="82"/>
                    <a:pt x="64" y="82"/>
                    <a:pt x="64" y="82"/>
                  </a:cubicBezTo>
                  <a:cubicBezTo>
                    <a:pt x="66" y="82"/>
                    <a:pt x="67" y="82"/>
                    <a:pt x="69" y="82"/>
                  </a:cubicBezTo>
                  <a:cubicBezTo>
                    <a:pt x="70" y="82"/>
                    <a:pt x="71" y="82"/>
                    <a:pt x="72" y="82"/>
                  </a:cubicBezTo>
                  <a:cubicBezTo>
                    <a:pt x="74" y="81"/>
                    <a:pt x="74" y="81"/>
                    <a:pt x="74" y="81"/>
                  </a:cubicBezTo>
                  <a:cubicBezTo>
                    <a:pt x="76" y="81"/>
                    <a:pt x="77" y="81"/>
                    <a:pt x="78" y="81"/>
                  </a:cubicBezTo>
                  <a:cubicBezTo>
                    <a:pt x="78" y="80"/>
                    <a:pt x="78" y="80"/>
                    <a:pt x="78" y="80"/>
                  </a:cubicBezTo>
                  <a:cubicBezTo>
                    <a:pt x="79" y="80"/>
                    <a:pt x="79" y="80"/>
                    <a:pt x="79" y="80"/>
                  </a:cubicBezTo>
                  <a:cubicBezTo>
                    <a:pt x="81" y="80"/>
                    <a:pt x="81" y="80"/>
                    <a:pt x="81" y="80"/>
                  </a:cubicBezTo>
                  <a:cubicBezTo>
                    <a:pt x="81" y="80"/>
                    <a:pt x="81" y="79"/>
                    <a:pt x="82" y="79"/>
                  </a:cubicBezTo>
                  <a:cubicBezTo>
                    <a:pt x="83" y="79"/>
                    <a:pt x="83" y="79"/>
                    <a:pt x="83" y="79"/>
                  </a:cubicBezTo>
                  <a:cubicBezTo>
                    <a:pt x="83" y="78"/>
                    <a:pt x="83" y="78"/>
                    <a:pt x="83" y="78"/>
                  </a:cubicBezTo>
                  <a:cubicBezTo>
                    <a:pt x="83" y="77"/>
                    <a:pt x="83" y="77"/>
                    <a:pt x="83" y="76"/>
                  </a:cubicBezTo>
                  <a:cubicBezTo>
                    <a:pt x="84" y="75"/>
                    <a:pt x="84" y="75"/>
                    <a:pt x="84" y="75"/>
                  </a:cubicBezTo>
                  <a:cubicBezTo>
                    <a:pt x="84" y="74"/>
                    <a:pt x="84" y="74"/>
                    <a:pt x="84" y="73"/>
                  </a:cubicBezTo>
                  <a:cubicBezTo>
                    <a:pt x="84" y="73"/>
                    <a:pt x="84" y="73"/>
                    <a:pt x="84" y="73"/>
                  </a:cubicBezTo>
                  <a:cubicBezTo>
                    <a:pt x="84" y="72"/>
                    <a:pt x="84" y="72"/>
                    <a:pt x="84" y="72"/>
                  </a:cubicBezTo>
                  <a:cubicBezTo>
                    <a:pt x="84" y="70"/>
                    <a:pt x="85" y="67"/>
                    <a:pt x="87" y="67"/>
                  </a:cubicBezTo>
                  <a:cubicBezTo>
                    <a:pt x="93" y="65"/>
                    <a:pt x="93" y="65"/>
                    <a:pt x="93" y="65"/>
                  </a:cubicBezTo>
                  <a:cubicBezTo>
                    <a:pt x="93" y="64"/>
                    <a:pt x="93" y="64"/>
                    <a:pt x="94" y="64"/>
                  </a:cubicBezTo>
                  <a:cubicBezTo>
                    <a:pt x="95" y="64"/>
                    <a:pt x="95" y="64"/>
                    <a:pt x="95" y="64"/>
                  </a:cubicBezTo>
                  <a:cubicBezTo>
                    <a:pt x="96" y="64"/>
                    <a:pt x="99" y="63"/>
                    <a:pt x="101" y="62"/>
                  </a:cubicBezTo>
                  <a:cubicBezTo>
                    <a:pt x="101" y="62"/>
                    <a:pt x="101" y="62"/>
                    <a:pt x="101" y="62"/>
                  </a:cubicBezTo>
                  <a:cubicBezTo>
                    <a:pt x="101" y="61"/>
                    <a:pt x="101" y="61"/>
                    <a:pt x="101" y="61"/>
                  </a:cubicBezTo>
                  <a:cubicBezTo>
                    <a:pt x="100" y="60"/>
                    <a:pt x="100" y="60"/>
                    <a:pt x="100" y="59"/>
                  </a:cubicBezTo>
                  <a:cubicBezTo>
                    <a:pt x="100" y="56"/>
                    <a:pt x="100" y="56"/>
                    <a:pt x="100" y="56"/>
                  </a:cubicBezTo>
                  <a:cubicBezTo>
                    <a:pt x="103" y="57"/>
                    <a:pt x="103" y="57"/>
                    <a:pt x="103" y="57"/>
                  </a:cubicBezTo>
                  <a:cubicBezTo>
                    <a:pt x="104" y="57"/>
                    <a:pt x="104" y="57"/>
                    <a:pt x="105" y="57"/>
                  </a:cubicBezTo>
                  <a:cubicBezTo>
                    <a:pt x="105" y="57"/>
                    <a:pt x="106" y="57"/>
                    <a:pt x="106" y="58"/>
                  </a:cubicBezTo>
                  <a:cubicBezTo>
                    <a:pt x="107" y="58"/>
                    <a:pt x="107" y="58"/>
                    <a:pt x="108" y="58"/>
                  </a:cubicBezTo>
                  <a:cubicBezTo>
                    <a:pt x="109" y="58"/>
                    <a:pt x="110" y="58"/>
                    <a:pt x="112" y="57"/>
                  </a:cubicBezTo>
                  <a:cubicBezTo>
                    <a:pt x="112" y="56"/>
                    <a:pt x="112" y="56"/>
                    <a:pt x="112" y="56"/>
                  </a:cubicBezTo>
                  <a:cubicBezTo>
                    <a:pt x="112" y="56"/>
                    <a:pt x="112" y="56"/>
                    <a:pt x="112" y="56"/>
                  </a:cubicBezTo>
                  <a:cubicBezTo>
                    <a:pt x="113" y="55"/>
                    <a:pt x="115" y="54"/>
                    <a:pt x="116" y="54"/>
                  </a:cubicBezTo>
                  <a:cubicBezTo>
                    <a:pt x="116" y="54"/>
                    <a:pt x="116" y="54"/>
                    <a:pt x="116" y="54"/>
                  </a:cubicBezTo>
                  <a:cubicBezTo>
                    <a:pt x="117" y="54"/>
                    <a:pt x="117" y="54"/>
                    <a:pt x="117" y="54"/>
                  </a:cubicBezTo>
                  <a:cubicBezTo>
                    <a:pt x="117" y="54"/>
                    <a:pt x="117" y="54"/>
                    <a:pt x="117" y="54"/>
                  </a:cubicBezTo>
                  <a:cubicBezTo>
                    <a:pt x="118" y="54"/>
                    <a:pt x="118" y="54"/>
                    <a:pt x="118" y="54"/>
                  </a:cubicBezTo>
                  <a:cubicBezTo>
                    <a:pt x="118" y="55"/>
                    <a:pt x="118" y="55"/>
                    <a:pt x="118" y="55"/>
                  </a:cubicBezTo>
                  <a:cubicBezTo>
                    <a:pt x="120" y="55"/>
                    <a:pt x="120" y="57"/>
                    <a:pt x="120" y="57"/>
                  </a:cubicBezTo>
                  <a:cubicBezTo>
                    <a:pt x="120" y="58"/>
                    <a:pt x="120" y="59"/>
                    <a:pt x="121" y="60"/>
                  </a:cubicBezTo>
                  <a:cubicBezTo>
                    <a:pt x="121" y="61"/>
                    <a:pt x="121" y="61"/>
                    <a:pt x="121" y="61"/>
                  </a:cubicBezTo>
                  <a:cubicBezTo>
                    <a:pt x="121" y="62"/>
                    <a:pt x="121" y="62"/>
                    <a:pt x="121" y="62"/>
                  </a:cubicBezTo>
                  <a:cubicBezTo>
                    <a:pt x="122" y="62"/>
                    <a:pt x="122" y="62"/>
                    <a:pt x="122" y="62"/>
                  </a:cubicBezTo>
                  <a:cubicBezTo>
                    <a:pt x="122" y="61"/>
                    <a:pt x="122" y="61"/>
                    <a:pt x="122" y="61"/>
                  </a:cubicBezTo>
                  <a:cubicBezTo>
                    <a:pt x="123" y="61"/>
                    <a:pt x="123" y="60"/>
                    <a:pt x="124" y="60"/>
                  </a:cubicBezTo>
                  <a:cubicBezTo>
                    <a:pt x="125" y="60"/>
                    <a:pt x="125" y="60"/>
                    <a:pt x="126" y="60"/>
                  </a:cubicBezTo>
                  <a:cubicBezTo>
                    <a:pt x="127" y="59"/>
                    <a:pt x="128" y="59"/>
                    <a:pt x="128" y="59"/>
                  </a:cubicBezTo>
                  <a:cubicBezTo>
                    <a:pt x="129" y="59"/>
                    <a:pt x="129" y="59"/>
                    <a:pt x="129" y="59"/>
                  </a:cubicBezTo>
                  <a:cubicBezTo>
                    <a:pt x="130" y="59"/>
                    <a:pt x="131" y="60"/>
                    <a:pt x="131" y="60"/>
                  </a:cubicBezTo>
                  <a:cubicBezTo>
                    <a:pt x="131" y="60"/>
                    <a:pt x="131" y="60"/>
                    <a:pt x="131" y="60"/>
                  </a:cubicBezTo>
                  <a:cubicBezTo>
                    <a:pt x="132" y="59"/>
                    <a:pt x="132" y="59"/>
                    <a:pt x="132" y="59"/>
                  </a:cubicBezTo>
                  <a:cubicBezTo>
                    <a:pt x="132" y="59"/>
                    <a:pt x="133" y="59"/>
                    <a:pt x="133" y="58"/>
                  </a:cubicBezTo>
                  <a:cubicBezTo>
                    <a:pt x="134" y="57"/>
                    <a:pt x="134" y="56"/>
                    <a:pt x="135" y="56"/>
                  </a:cubicBezTo>
                  <a:cubicBezTo>
                    <a:pt x="134" y="56"/>
                    <a:pt x="134" y="56"/>
                    <a:pt x="134" y="56"/>
                  </a:cubicBezTo>
                  <a:cubicBezTo>
                    <a:pt x="134" y="55"/>
                    <a:pt x="134" y="54"/>
                    <a:pt x="135" y="53"/>
                  </a:cubicBezTo>
                  <a:cubicBezTo>
                    <a:pt x="135" y="52"/>
                    <a:pt x="135" y="52"/>
                    <a:pt x="135" y="52"/>
                  </a:cubicBezTo>
                  <a:cubicBezTo>
                    <a:pt x="136" y="51"/>
                    <a:pt x="137" y="51"/>
                    <a:pt x="137" y="50"/>
                  </a:cubicBezTo>
                  <a:cubicBezTo>
                    <a:pt x="138" y="50"/>
                    <a:pt x="138" y="49"/>
                    <a:pt x="138" y="49"/>
                  </a:cubicBezTo>
                  <a:cubicBezTo>
                    <a:pt x="140" y="47"/>
                    <a:pt x="141" y="45"/>
                    <a:pt x="143" y="45"/>
                  </a:cubicBezTo>
                  <a:cubicBezTo>
                    <a:pt x="146" y="44"/>
                    <a:pt x="148" y="44"/>
                    <a:pt x="151" y="44"/>
                  </a:cubicBezTo>
                  <a:cubicBezTo>
                    <a:pt x="152" y="43"/>
                    <a:pt x="153" y="43"/>
                    <a:pt x="154" y="43"/>
                  </a:cubicBezTo>
                  <a:cubicBezTo>
                    <a:pt x="156" y="43"/>
                    <a:pt x="156" y="43"/>
                    <a:pt x="156" y="43"/>
                  </a:cubicBezTo>
                  <a:cubicBezTo>
                    <a:pt x="158" y="43"/>
                    <a:pt x="159" y="43"/>
                    <a:pt x="161" y="43"/>
                  </a:cubicBezTo>
                  <a:cubicBezTo>
                    <a:pt x="166" y="42"/>
                    <a:pt x="166" y="42"/>
                    <a:pt x="166" y="42"/>
                  </a:cubicBezTo>
                  <a:cubicBezTo>
                    <a:pt x="167" y="42"/>
                    <a:pt x="167" y="42"/>
                    <a:pt x="167" y="42"/>
                  </a:cubicBezTo>
                  <a:cubicBezTo>
                    <a:pt x="167" y="41"/>
                    <a:pt x="167" y="41"/>
                    <a:pt x="168" y="40"/>
                  </a:cubicBezTo>
                  <a:cubicBezTo>
                    <a:pt x="169" y="40"/>
                    <a:pt x="169" y="40"/>
                    <a:pt x="169" y="40"/>
                  </a:cubicBezTo>
                  <a:cubicBezTo>
                    <a:pt x="169" y="39"/>
                    <a:pt x="169" y="39"/>
                    <a:pt x="169" y="39"/>
                  </a:cubicBezTo>
                  <a:cubicBezTo>
                    <a:pt x="170" y="38"/>
                    <a:pt x="170" y="38"/>
                    <a:pt x="171" y="37"/>
                  </a:cubicBezTo>
                  <a:cubicBezTo>
                    <a:pt x="172" y="36"/>
                    <a:pt x="173" y="34"/>
                    <a:pt x="175" y="33"/>
                  </a:cubicBezTo>
                  <a:cubicBezTo>
                    <a:pt x="176" y="33"/>
                    <a:pt x="176" y="33"/>
                    <a:pt x="176" y="33"/>
                  </a:cubicBezTo>
                  <a:cubicBezTo>
                    <a:pt x="178" y="32"/>
                    <a:pt x="181" y="31"/>
                    <a:pt x="184" y="30"/>
                  </a:cubicBezTo>
                  <a:cubicBezTo>
                    <a:pt x="184" y="30"/>
                    <a:pt x="184" y="30"/>
                    <a:pt x="184" y="30"/>
                  </a:cubicBezTo>
                  <a:cubicBezTo>
                    <a:pt x="185" y="29"/>
                    <a:pt x="186" y="29"/>
                    <a:pt x="187" y="28"/>
                  </a:cubicBezTo>
                  <a:cubicBezTo>
                    <a:pt x="191" y="27"/>
                    <a:pt x="195" y="25"/>
                    <a:pt x="199" y="24"/>
                  </a:cubicBezTo>
                  <a:cubicBezTo>
                    <a:pt x="202" y="23"/>
                    <a:pt x="202" y="23"/>
                    <a:pt x="202" y="23"/>
                  </a:cubicBezTo>
                  <a:cubicBezTo>
                    <a:pt x="203" y="23"/>
                    <a:pt x="203" y="23"/>
                    <a:pt x="203" y="23"/>
                  </a:cubicBezTo>
                  <a:cubicBezTo>
                    <a:pt x="203" y="22"/>
                    <a:pt x="203" y="22"/>
                    <a:pt x="203" y="22"/>
                  </a:cubicBezTo>
                  <a:cubicBezTo>
                    <a:pt x="203" y="22"/>
                    <a:pt x="203" y="22"/>
                    <a:pt x="203" y="22"/>
                  </a:cubicBezTo>
                  <a:cubicBezTo>
                    <a:pt x="203" y="22"/>
                    <a:pt x="203" y="22"/>
                    <a:pt x="203" y="22"/>
                  </a:cubicBezTo>
                  <a:cubicBezTo>
                    <a:pt x="202" y="21"/>
                    <a:pt x="202" y="21"/>
                    <a:pt x="202" y="21"/>
                  </a:cubicBezTo>
                  <a:cubicBezTo>
                    <a:pt x="202" y="21"/>
                    <a:pt x="202" y="21"/>
                    <a:pt x="201" y="20"/>
                  </a:cubicBezTo>
                  <a:cubicBezTo>
                    <a:pt x="201" y="19"/>
                    <a:pt x="200" y="19"/>
                    <a:pt x="200" y="18"/>
                  </a:cubicBezTo>
                  <a:cubicBezTo>
                    <a:pt x="199" y="18"/>
                    <a:pt x="199" y="18"/>
                    <a:pt x="198" y="18"/>
                  </a:cubicBezTo>
                  <a:cubicBezTo>
                    <a:pt x="198" y="18"/>
                    <a:pt x="197" y="17"/>
                    <a:pt x="196" y="17"/>
                  </a:cubicBezTo>
                  <a:cubicBezTo>
                    <a:pt x="195" y="17"/>
                    <a:pt x="195" y="17"/>
                    <a:pt x="194" y="17"/>
                  </a:cubicBezTo>
                  <a:cubicBezTo>
                    <a:pt x="191" y="17"/>
                    <a:pt x="189" y="16"/>
                    <a:pt x="186" y="13"/>
                  </a:cubicBezTo>
                  <a:cubicBezTo>
                    <a:pt x="186" y="12"/>
                    <a:pt x="186" y="12"/>
                    <a:pt x="186" y="12"/>
                  </a:cubicBezTo>
                  <a:cubicBezTo>
                    <a:pt x="186" y="12"/>
                    <a:pt x="185" y="11"/>
                    <a:pt x="185" y="10"/>
                  </a:cubicBezTo>
                  <a:cubicBezTo>
                    <a:pt x="184" y="9"/>
                    <a:pt x="184" y="9"/>
                    <a:pt x="184" y="9"/>
                  </a:cubicBezTo>
                  <a:cubicBezTo>
                    <a:pt x="184" y="9"/>
                    <a:pt x="184" y="9"/>
                    <a:pt x="184" y="9"/>
                  </a:cubicBezTo>
                  <a:cubicBezTo>
                    <a:pt x="184" y="9"/>
                    <a:pt x="183" y="9"/>
                    <a:pt x="183" y="9"/>
                  </a:cubicBezTo>
                  <a:cubicBezTo>
                    <a:pt x="183" y="10"/>
                    <a:pt x="182" y="10"/>
                    <a:pt x="181" y="10"/>
                  </a:cubicBezTo>
                  <a:cubicBezTo>
                    <a:pt x="180" y="10"/>
                    <a:pt x="179" y="9"/>
                    <a:pt x="177" y="9"/>
                  </a:cubicBezTo>
                  <a:cubicBezTo>
                    <a:pt x="175" y="8"/>
                    <a:pt x="175" y="8"/>
                    <a:pt x="175" y="8"/>
                  </a:cubicBezTo>
                  <a:cubicBezTo>
                    <a:pt x="175" y="8"/>
                    <a:pt x="174" y="8"/>
                    <a:pt x="173" y="8"/>
                  </a:cubicBezTo>
                  <a:cubicBezTo>
                    <a:pt x="173" y="7"/>
                    <a:pt x="172" y="7"/>
                    <a:pt x="172" y="7"/>
                  </a:cubicBezTo>
                  <a:cubicBezTo>
                    <a:pt x="171" y="7"/>
                    <a:pt x="171" y="7"/>
                    <a:pt x="171" y="7"/>
                  </a:cubicBezTo>
                  <a:cubicBezTo>
                    <a:pt x="171" y="7"/>
                    <a:pt x="170" y="7"/>
                    <a:pt x="170" y="7"/>
                  </a:cubicBezTo>
                  <a:cubicBezTo>
                    <a:pt x="169" y="7"/>
                    <a:pt x="169" y="7"/>
                    <a:pt x="169" y="7"/>
                  </a:cubicBezTo>
                  <a:cubicBezTo>
                    <a:pt x="168" y="7"/>
                    <a:pt x="167" y="7"/>
                    <a:pt x="166" y="7"/>
                  </a:cubicBezTo>
                  <a:cubicBezTo>
                    <a:pt x="163" y="7"/>
                    <a:pt x="159" y="7"/>
                    <a:pt x="156" y="7"/>
                  </a:cubicBezTo>
                  <a:cubicBezTo>
                    <a:pt x="155" y="7"/>
                    <a:pt x="155" y="7"/>
                    <a:pt x="155" y="7"/>
                  </a:cubicBezTo>
                  <a:cubicBezTo>
                    <a:pt x="154" y="7"/>
                    <a:pt x="154" y="7"/>
                    <a:pt x="153" y="7"/>
                  </a:cubicBezTo>
                  <a:cubicBezTo>
                    <a:pt x="153" y="10"/>
                    <a:pt x="153" y="10"/>
                    <a:pt x="153" y="10"/>
                  </a:cubicBezTo>
                  <a:cubicBezTo>
                    <a:pt x="152" y="7"/>
                    <a:pt x="152" y="7"/>
                    <a:pt x="152" y="7"/>
                  </a:cubicBezTo>
                  <a:cubicBezTo>
                    <a:pt x="151" y="7"/>
                    <a:pt x="151" y="7"/>
                    <a:pt x="151" y="7"/>
                  </a:cubicBezTo>
                  <a:cubicBezTo>
                    <a:pt x="147" y="6"/>
                    <a:pt x="143" y="6"/>
                    <a:pt x="138" y="6"/>
                  </a:cubicBezTo>
                  <a:cubicBezTo>
                    <a:pt x="137" y="6"/>
                    <a:pt x="137" y="6"/>
                    <a:pt x="137" y="6"/>
                  </a:cubicBezTo>
                  <a:cubicBezTo>
                    <a:pt x="136" y="6"/>
                    <a:pt x="134" y="6"/>
                    <a:pt x="132" y="6"/>
                  </a:cubicBezTo>
                  <a:cubicBezTo>
                    <a:pt x="132" y="6"/>
                    <a:pt x="132" y="6"/>
                    <a:pt x="132" y="6"/>
                  </a:cubicBezTo>
                  <a:cubicBezTo>
                    <a:pt x="130" y="6"/>
                    <a:pt x="128" y="6"/>
                    <a:pt x="126" y="6"/>
                  </a:cubicBezTo>
                  <a:cubicBezTo>
                    <a:pt x="124" y="6"/>
                    <a:pt x="123" y="6"/>
                    <a:pt x="122" y="6"/>
                  </a:cubicBezTo>
                  <a:cubicBezTo>
                    <a:pt x="121" y="6"/>
                    <a:pt x="121" y="6"/>
                    <a:pt x="121" y="6"/>
                  </a:cubicBezTo>
                  <a:cubicBezTo>
                    <a:pt x="120" y="6"/>
                    <a:pt x="120" y="6"/>
                    <a:pt x="119" y="7"/>
                  </a:cubicBezTo>
                  <a:cubicBezTo>
                    <a:pt x="117" y="7"/>
                    <a:pt x="115" y="8"/>
                    <a:pt x="113" y="8"/>
                  </a:cubicBezTo>
                  <a:cubicBezTo>
                    <a:pt x="112" y="8"/>
                    <a:pt x="112" y="8"/>
                    <a:pt x="111" y="8"/>
                  </a:cubicBezTo>
                  <a:cubicBezTo>
                    <a:pt x="110" y="8"/>
                    <a:pt x="110" y="8"/>
                    <a:pt x="110" y="8"/>
                  </a:cubicBezTo>
                  <a:cubicBezTo>
                    <a:pt x="109" y="7"/>
                    <a:pt x="109" y="7"/>
                    <a:pt x="108" y="7"/>
                  </a:cubicBezTo>
                  <a:cubicBezTo>
                    <a:pt x="106" y="7"/>
                    <a:pt x="106" y="7"/>
                    <a:pt x="106" y="7"/>
                  </a:cubicBezTo>
                  <a:cubicBezTo>
                    <a:pt x="106" y="6"/>
                    <a:pt x="105" y="6"/>
                    <a:pt x="104" y="6"/>
                  </a:cubicBezTo>
                  <a:cubicBezTo>
                    <a:pt x="103" y="5"/>
                    <a:pt x="103" y="5"/>
                    <a:pt x="103" y="5"/>
                  </a:cubicBezTo>
                  <a:cubicBezTo>
                    <a:pt x="102" y="5"/>
                    <a:pt x="100" y="5"/>
                    <a:pt x="99" y="4"/>
                  </a:cubicBezTo>
                  <a:cubicBezTo>
                    <a:pt x="98" y="3"/>
                    <a:pt x="98" y="3"/>
                    <a:pt x="98" y="3"/>
                  </a:cubicBezTo>
                  <a:cubicBezTo>
                    <a:pt x="98" y="3"/>
                    <a:pt x="98" y="3"/>
                    <a:pt x="98" y="3"/>
                  </a:cubicBezTo>
                  <a:cubicBezTo>
                    <a:pt x="97" y="3"/>
                    <a:pt x="96" y="2"/>
                    <a:pt x="95" y="1"/>
                  </a:cubicBezTo>
                  <a:cubicBezTo>
                    <a:pt x="94" y="1"/>
                    <a:pt x="92" y="0"/>
                    <a:pt x="90" y="0"/>
                  </a:cubicBezTo>
                  <a:cubicBezTo>
                    <a:pt x="90" y="0"/>
                    <a:pt x="89"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Rectangle 445"/>
            <p:cNvSpPr>
              <a:spLocks noChangeArrowheads="1"/>
            </p:cNvSpPr>
            <p:nvPr/>
          </p:nvSpPr>
          <p:spPr bwMode="auto">
            <a:xfrm>
              <a:off x="2837557" y="3957135"/>
              <a:ext cx="1376" cy="27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Rectangle 446"/>
            <p:cNvSpPr>
              <a:spLocks noChangeArrowheads="1"/>
            </p:cNvSpPr>
            <p:nvPr/>
          </p:nvSpPr>
          <p:spPr bwMode="auto">
            <a:xfrm>
              <a:off x="2837557" y="3957135"/>
              <a:ext cx="1376" cy="27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447"/>
            <p:cNvSpPr>
              <a:spLocks noEditPoints="1"/>
            </p:cNvSpPr>
            <p:nvPr/>
          </p:nvSpPr>
          <p:spPr bwMode="auto">
            <a:xfrm>
              <a:off x="1891247" y="3723309"/>
              <a:ext cx="1030213" cy="629957"/>
            </a:xfrm>
            <a:custGeom>
              <a:gdLst>
                <a:gd name="T0" fmla="*/ 61 w 317"/>
                <a:gd name="T1" fmla="*/ 8 h 194"/>
                <a:gd name="T2" fmla="*/ 55 w 317"/>
                <a:gd name="T3" fmla="*/ 1 h 194"/>
                <a:gd name="T4" fmla="*/ 50 w 317"/>
                <a:gd name="T5" fmla="*/ 7 h 194"/>
                <a:gd name="T6" fmla="*/ 49 w 317"/>
                <a:gd name="T7" fmla="*/ 20 h 194"/>
                <a:gd name="T8" fmla="*/ 49 w 317"/>
                <a:gd name="T9" fmla="*/ 26 h 194"/>
                <a:gd name="T10" fmla="*/ 42 w 317"/>
                <a:gd name="T11" fmla="*/ 33 h 194"/>
                <a:gd name="T12" fmla="*/ 46 w 317"/>
                <a:gd name="T13" fmla="*/ 8 h 194"/>
                <a:gd name="T14" fmla="*/ 0 w 317"/>
                <a:gd name="T15" fmla="*/ 20 h 194"/>
                <a:gd name="T16" fmla="*/ 7 w 317"/>
                <a:gd name="T17" fmla="*/ 102 h 194"/>
                <a:gd name="T18" fmla="*/ 15 w 317"/>
                <a:gd name="T19" fmla="*/ 101 h 194"/>
                <a:gd name="T20" fmla="*/ 27 w 317"/>
                <a:gd name="T21" fmla="*/ 83 h 194"/>
                <a:gd name="T22" fmla="*/ 41 w 317"/>
                <a:gd name="T23" fmla="*/ 75 h 194"/>
                <a:gd name="T24" fmla="*/ 55 w 317"/>
                <a:gd name="T25" fmla="*/ 74 h 194"/>
                <a:gd name="T26" fmla="*/ 68 w 317"/>
                <a:gd name="T27" fmla="*/ 79 h 194"/>
                <a:gd name="T28" fmla="*/ 80 w 317"/>
                <a:gd name="T29" fmla="*/ 95 h 194"/>
                <a:gd name="T30" fmla="*/ 80 w 317"/>
                <a:gd name="T31" fmla="*/ 102 h 194"/>
                <a:gd name="T32" fmla="*/ 97 w 317"/>
                <a:gd name="T33" fmla="*/ 105 h 194"/>
                <a:gd name="T34" fmla="*/ 117 w 317"/>
                <a:gd name="T35" fmla="*/ 120 h 194"/>
                <a:gd name="T36" fmla="*/ 127 w 317"/>
                <a:gd name="T37" fmla="*/ 135 h 194"/>
                <a:gd name="T38" fmla="*/ 167 w 317"/>
                <a:gd name="T39" fmla="*/ 161 h 194"/>
                <a:gd name="T40" fmla="*/ 183 w 317"/>
                <a:gd name="T41" fmla="*/ 171 h 194"/>
                <a:gd name="T42" fmla="*/ 203 w 317"/>
                <a:gd name="T43" fmla="*/ 179 h 194"/>
                <a:gd name="T44" fmla="*/ 207 w 317"/>
                <a:gd name="T45" fmla="*/ 190 h 194"/>
                <a:gd name="T46" fmla="*/ 217 w 317"/>
                <a:gd name="T47" fmla="*/ 194 h 194"/>
                <a:gd name="T48" fmla="*/ 221 w 317"/>
                <a:gd name="T49" fmla="*/ 189 h 194"/>
                <a:gd name="T50" fmla="*/ 230 w 317"/>
                <a:gd name="T51" fmla="*/ 173 h 194"/>
                <a:gd name="T52" fmla="*/ 224 w 317"/>
                <a:gd name="T53" fmla="*/ 158 h 194"/>
                <a:gd name="T54" fmla="*/ 217 w 317"/>
                <a:gd name="T55" fmla="*/ 142 h 194"/>
                <a:gd name="T56" fmla="*/ 234 w 317"/>
                <a:gd name="T57" fmla="*/ 141 h 194"/>
                <a:gd name="T58" fmla="*/ 245 w 317"/>
                <a:gd name="T59" fmla="*/ 126 h 194"/>
                <a:gd name="T60" fmla="*/ 252 w 317"/>
                <a:gd name="T61" fmla="*/ 114 h 194"/>
                <a:gd name="T62" fmla="*/ 258 w 317"/>
                <a:gd name="T63" fmla="*/ 116 h 194"/>
                <a:gd name="T64" fmla="*/ 267 w 317"/>
                <a:gd name="T65" fmla="*/ 112 h 194"/>
                <a:gd name="T66" fmla="*/ 275 w 317"/>
                <a:gd name="T67" fmla="*/ 124 h 194"/>
                <a:gd name="T68" fmla="*/ 285 w 317"/>
                <a:gd name="T69" fmla="*/ 125 h 194"/>
                <a:gd name="T70" fmla="*/ 300 w 317"/>
                <a:gd name="T71" fmla="*/ 127 h 194"/>
                <a:gd name="T72" fmla="*/ 305 w 317"/>
                <a:gd name="T73" fmla="*/ 122 h 194"/>
                <a:gd name="T74" fmla="*/ 310 w 317"/>
                <a:gd name="T75" fmla="*/ 118 h 194"/>
                <a:gd name="T76" fmla="*/ 316 w 317"/>
                <a:gd name="T77" fmla="*/ 117 h 194"/>
                <a:gd name="T78" fmla="*/ 310 w 317"/>
                <a:gd name="T79" fmla="*/ 113 h 194"/>
                <a:gd name="T80" fmla="*/ 304 w 317"/>
                <a:gd name="T81" fmla="*/ 111 h 194"/>
                <a:gd name="T82" fmla="*/ 297 w 317"/>
                <a:gd name="T83" fmla="*/ 104 h 194"/>
                <a:gd name="T84" fmla="*/ 290 w 317"/>
                <a:gd name="T85" fmla="*/ 110 h 194"/>
                <a:gd name="T86" fmla="*/ 274 w 317"/>
                <a:gd name="T87" fmla="*/ 104 h 194"/>
                <a:gd name="T88" fmla="*/ 266 w 317"/>
                <a:gd name="T89" fmla="*/ 100 h 194"/>
                <a:gd name="T90" fmla="*/ 251 w 317"/>
                <a:gd name="T91" fmla="*/ 104 h 194"/>
                <a:gd name="T92" fmla="*/ 239 w 317"/>
                <a:gd name="T93" fmla="*/ 121 h 194"/>
                <a:gd name="T94" fmla="*/ 236 w 317"/>
                <a:gd name="T95" fmla="*/ 121 h 194"/>
                <a:gd name="T96" fmla="*/ 226 w 317"/>
                <a:gd name="T97" fmla="*/ 111 h 194"/>
                <a:gd name="T98" fmla="*/ 203 w 317"/>
                <a:gd name="T99" fmla="*/ 110 h 194"/>
                <a:gd name="T100" fmla="*/ 196 w 317"/>
                <a:gd name="T101" fmla="*/ 92 h 194"/>
                <a:gd name="T102" fmla="*/ 191 w 317"/>
                <a:gd name="T103" fmla="*/ 91 h 194"/>
                <a:gd name="T104" fmla="*/ 189 w 317"/>
                <a:gd name="T105" fmla="*/ 69 h 194"/>
                <a:gd name="T106" fmla="*/ 174 w 317"/>
                <a:gd name="T107" fmla="*/ 57 h 194"/>
                <a:gd name="T108" fmla="*/ 164 w 317"/>
                <a:gd name="T109" fmla="*/ 53 h 194"/>
                <a:gd name="T110" fmla="*/ 124 w 317"/>
                <a:gd name="T111" fmla="*/ 55 h 194"/>
                <a:gd name="T112" fmla="*/ 107 w 317"/>
                <a:gd name="T113" fmla="*/ 51 h 194"/>
                <a:gd name="T114" fmla="*/ 71 w 317"/>
                <a:gd name="T115" fmla="*/ 38 h 194"/>
                <a:gd name="T116" fmla="*/ 63 w 317"/>
                <a:gd name="T117" fmla="*/ 37 h 194"/>
                <a:gd name="T118" fmla="*/ 64 w 317"/>
                <a:gd name="T119" fmla="*/ 14 h 194"/>
                <a:gd name="T120" fmla="*/ 61 w 317"/>
                <a:gd name="T121" fmla="*/ 4 h 1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7" h="194">
                  <a:moveTo>
                    <a:pt x="61" y="8"/>
                  </a:moveTo>
                  <a:cubicBezTo>
                    <a:pt x="61" y="8"/>
                    <a:pt x="61" y="8"/>
                    <a:pt x="61" y="8"/>
                  </a:cubicBezTo>
                  <a:cubicBezTo>
                    <a:pt x="61" y="8"/>
                    <a:pt x="61" y="8"/>
                    <a:pt x="61" y="8"/>
                  </a:cubicBezTo>
                  <a:cubicBezTo>
                    <a:pt x="61" y="8"/>
                    <a:pt x="61" y="8"/>
                    <a:pt x="61" y="8"/>
                  </a:cubicBezTo>
                  <a:moveTo>
                    <a:pt x="61" y="10"/>
                  </a:moveTo>
                  <a:cubicBezTo>
                    <a:pt x="61" y="10"/>
                    <a:pt x="61" y="10"/>
                    <a:pt x="61" y="10"/>
                  </a:cubicBezTo>
                  <a:cubicBezTo>
                    <a:pt x="61" y="9"/>
                    <a:pt x="61" y="8"/>
                    <a:pt x="61" y="6"/>
                  </a:cubicBezTo>
                  <a:cubicBezTo>
                    <a:pt x="62" y="7"/>
                    <a:pt x="61" y="7"/>
                    <a:pt x="61" y="8"/>
                  </a:cubicBezTo>
                  <a:cubicBezTo>
                    <a:pt x="61" y="8"/>
                    <a:pt x="61" y="9"/>
                    <a:pt x="61" y="9"/>
                  </a:cubicBezTo>
                  <a:cubicBezTo>
                    <a:pt x="61" y="10"/>
                    <a:pt x="61" y="10"/>
                    <a:pt x="61" y="10"/>
                  </a:cubicBezTo>
                  <a:moveTo>
                    <a:pt x="57" y="0"/>
                  </a:moveTo>
                  <a:cubicBezTo>
                    <a:pt x="56" y="0"/>
                    <a:pt x="56" y="1"/>
                    <a:pt x="56" y="1"/>
                  </a:cubicBezTo>
                  <a:cubicBezTo>
                    <a:pt x="56" y="2"/>
                    <a:pt x="56" y="3"/>
                    <a:pt x="56" y="3"/>
                  </a:cubicBezTo>
                  <a:cubicBezTo>
                    <a:pt x="55" y="3"/>
                    <a:pt x="55" y="3"/>
                    <a:pt x="55" y="3"/>
                  </a:cubicBezTo>
                  <a:cubicBezTo>
                    <a:pt x="55" y="3"/>
                    <a:pt x="56" y="1"/>
                    <a:pt x="55" y="1"/>
                  </a:cubicBezTo>
                  <a:cubicBezTo>
                    <a:pt x="55" y="1"/>
                    <a:pt x="55" y="1"/>
                    <a:pt x="55" y="1"/>
                  </a:cubicBezTo>
                  <a:cubicBezTo>
                    <a:pt x="54" y="1"/>
                    <a:pt x="54" y="3"/>
                    <a:pt x="54" y="3"/>
                  </a:cubicBezTo>
                  <a:cubicBezTo>
                    <a:pt x="54" y="5"/>
                    <a:pt x="53" y="6"/>
                    <a:pt x="52" y="6"/>
                  </a:cubicBezTo>
                  <a:cubicBezTo>
                    <a:pt x="52" y="6"/>
                    <a:pt x="52" y="6"/>
                    <a:pt x="52" y="6"/>
                  </a:cubicBezTo>
                  <a:cubicBezTo>
                    <a:pt x="50" y="7"/>
                    <a:pt x="50" y="7"/>
                    <a:pt x="50" y="7"/>
                  </a:cubicBezTo>
                  <a:cubicBezTo>
                    <a:pt x="50" y="7"/>
                    <a:pt x="50" y="7"/>
                    <a:pt x="50" y="7"/>
                  </a:cubicBezTo>
                  <a:cubicBezTo>
                    <a:pt x="50" y="7"/>
                    <a:pt x="50" y="7"/>
                    <a:pt x="50" y="7"/>
                  </a:cubicBezTo>
                  <a:cubicBezTo>
                    <a:pt x="50" y="7"/>
                    <a:pt x="50" y="7"/>
                    <a:pt x="50" y="7"/>
                  </a:cubicBezTo>
                  <a:cubicBezTo>
                    <a:pt x="50" y="7"/>
                    <a:pt x="50" y="7"/>
                    <a:pt x="50" y="7"/>
                  </a:cubicBezTo>
                  <a:cubicBezTo>
                    <a:pt x="50" y="7"/>
                    <a:pt x="50" y="7"/>
                    <a:pt x="50" y="7"/>
                  </a:cubicBezTo>
                  <a:cubicBezTo>
                    <a:pt x="49" y="8"/>
                    <a:pt x="49" y="8"/>
                    <a:pt x="49" y="8"/>
                  </a:cubicBezTo>
                  <a:cubicBezTo>
                    <a:pt x="49" y="9"/>
                    <a:pt x="49" y="9"/>
                    <a:pt x="49" y="9"/>
                  </a:cubicBezTo>
                  <a:cubicBezTo>
                    <a:pt x="49" y="10"/>
                    <a:pt x="48" y="11"/>
                    <a:pt x="49" y="13"/>
                  </a:cubicBezTo>
                  <a:cubicBezTo>
                    <a:pt x="49" y="14"/>
                    <a:pt x="50" y="15"/>
                    <a:pt x="50" y="15"/>
                  </a:cubicBezTo>
                  <a:cubicBezTo>
                    <a:pt x="50" y="16"/>
                    <a:pt x="49" y="17"/>
                    <a:pt x="48" y="18"/>
                  </a:cubicBezTo>
                  <a:cubicBezTo>
                    <a:pt x="48" y="19"/>
                    <a:pt x="47" y="20"/>
                    <a:pt x="48" y="20"/>
                  </a:cubicBezTo>
                  <a:cubicBezTo>
                    <a:pt x="48" y="20"/>
                    <a:pt x="49" y="20"/>
                    <a:pt x="49" y="20"/>
                  </a:cubicBezTo>
                  <a:cubicBezTo>
                    <a:pt x="50" y="19"/>
                    <a:pt x="51" y="18"/>
                    <a:pt x="51" y="18"/>
                  </a:cubicBezTo>
                  <a:cubicBezTo>
                    <a:pt x="51" y="18"/>
                    <a:pt x="51" y="19"/>
                    <a:pt x="50" y="19"/>
                  </a:cubicBezTo>
                  <a:cubicBezTo>
                    <a:pt x="51" y="20"/>
                    <a:pt x="50" y="20"/>
                    <a:pt x="50" y="21"/>
                  </a:cubicBezTo>
                  <a:cubicBezTo>
                    <a:pt x="50" y="21"/>
                    <a:pt x="50" y="22"/>
                    <a:pt x="50" y="23"/>
                  </a:cubicBezTo>
                  <a:cubicBezTo>
                    <a:pt x="50" y="25"/>
                    <a:pt x="51" y="24"/>
                    <a:pt x="51" y="26"/>
                  </a:cubicBezTo>
                  <a:cubicBezTo>
                    <a:pt x="51" y="26"/>
                    <a:pt x="51" y="26"/>
                    <a:pt x="51" y="26"/>
                  </a:cubicBezTo>
                  <a:cubicBezTo>
                    <a:pt x="50" y="26"/>
                    <a:pt x="50" y="26"/>
                    <a:pt x="50" y="26"/>
                  </a:cubicBezTo>
                  <a:cubicBezTo>
                    <a:pt x="50" y="26"/>
                    <a:pt x="50" y="26"/>
                    <a:pt x="49" y="26"/>
                  </a:cubicBezTo>
                  <a:cubicBezTo>
                    <a:pt x="49" y="26"/>
                    <a:pt x="49" y="26"/>
                    <a:pt x="49" y="26"/>
                  </a:cubicBezTo>
                  <a:cubicBezTo>
                    <a:pt x="49" y="26"/>
                    <a:pt x="48" y="25"/>
                    <a:pt x="48" y="25"/>
                  </a:cubicBezTo>
                  <a:cubicBezTo>
                    <a:pt x="47" y="25"/>
                    <a:pt x="47" y="25"/>
                    <a:pt x="47" y="26"/>
                  </a:cubicBezTo>
                  <a:cubicBezTo>
                    <a:pt x="47" y="27"/>
                    <a:pt x="47" y="27"/>
                    <a:pt x="47" y="27"/>
                  </a:cubicBezTo>
                  <a:cubicBezTo>
                    <a:pt x="47" y="27"/>
                    <a:pt x="47" y="27"/>
                    <a:pt x="48" y="27"/>
                  </a:cubicBezTo>
                  <a:cubicBezTo>
                    <a:pt x="48" y="27"/>
                    <a:pt x="48" y="27"/>
                    <a:pt x="48" y="27"/>
                  </a:cubicBezTo>
                  <a:cubicBezTo>
                    <a:pt x="48" y="27"/>
                    <a:pt x="48" y="27"/>
                    <a:pt x="48" y="29"/>
                  </a:cubicBezTo>
                  <a:cubicBezTo>
                    <a:pt x="47" y="31"/>
                    <a:pt x="44" y="33"/>
                    <a:pt x="42" y="33"/>
                  </a:cubicBezTo>
                  <a:cubicBezTo>
                    <a:pt x="40" y="33"/>
                    <a:pt x="40" y="32"/>
                    <a:pt x="40" y="30"/>
                  </a:cubicBezTo>
                  <a:cubicBezTo>
                    <a:pt x="40" y="29"/>
                    <a:pt x="42" y="29"/>
                    <a:pt x="41" y="28"/>
                  </a:cubicBezTo>
                  <a:cubicBezTo>
                    <a:pt x="41" y="26"/>
                    <a:pt x="40" y="26"/>
                    <a:pt x="40" y="25"/>
                  </a:cubicBezTo>
                  <a:cubicBezTo>
                    <a:pt x="39" y="22"/>
                    <a:pt x="40" y="21"/>
                    <a:pt x="41" y="19"/>
                  </a:cubicBezTo>
                  <a:cubicBezTo>
                    <a:pt x="41" y="18"/>
                    <a:pt x="42" y="15"/>
                    <a:pt x="43" y="14"/>
                  </a:cubicBezTo>
                  <a:cubicBezTo>
                    <a:pt x="43" y="13"/>
                    <a:pt x="43" y="12"/>
                    <a:pt x="44" y="12"/>
                  </a:cubicBezTo>
                  <a:cubicBezTo>
                    <a:pt x="44" y="11"/>
                    <a:pt x="45" y="10"/>
                    <a:pt x="46" y="9"/>
                  </a:cubicBezTo>
                  <a:cubicBezTo>
                    <a:pt x="46" y="9"/>
                    <a:pt x="46" y="8"/>
                    <a:pt x="46" y="8"/>
                  </a:cubicBezTo>
                  <a:cubicBezTo>
                    <a:pt x="46" y="8"/>
                    <a:pt x="46" y="8"/>
                    <a:pt x="46" y="8"/>
                  </a:cubicBezTo>
                  <a:cubicBezTo>
                    <a:pt x="44" y="8"/>
                    <a:pt x="44" y="8"/>
                    <a:pt x="44" y="8"/>
                  </a:cubicBezTo>
                  <a:cubicBezTo>
                    <a:pt x="43" y="8"/>
                    <a:pt x="41" y="9"/>
                    <a:pt x="40" y="9"/>
                  </a:cubicBezTo>
                  <a:cubicBezTo>
                    <a:pt x="38" y="10"/>
                    <a:pt x="38" y="10"/>
                    <a:pt x="38" y="10"/>
                  </a:cubicBezTo>
                  <a:cubicBezTo>
                    <a:pt x="33" y="11"/>
                    <a:pt x="33" y="11"/>
                    <a:pt x="33" y="11"/>
                  </a:cubicBezTo>
                  <a:cubicBezTo>
                    <a:pt x="24" y="14"/>
                    <a:pt x="15" y="16"/>
                    <a:pt x="6" y="18"/>
                  </a:cubicBezTo>
                  <a:cubicBezTo>
                    <a:pt x="6" y="19"/>
                    <a:pt x="5" y="19"/>
                    <a:pt x="4" y="19"/>
                  </a:cubicBezTo>
                  <a:cubicBezTo>
                    <a:pt x="3" y="19"/>
                    <a:pt x="1" y="20"/>
                    <a:pt x="0" y="20"/>
                  </a:cubicBezTo>
                  <a:cubicBezTo>
                    <a:pt x="0" y="20"/>
                    <a:pt x="0" y="20"/>
                    <a:pt x="0" y="20"/>
                  </a:cubicBezTo>
                  <a:cubicBezTo>
                    <a:pt x="0" y="20"/>
                    <a:pt x="0" y="20"/>
                    <a:pt x="0" y="20"/>
                  </a:cubicBezTo>
                  <a:cubicBezTo>
                    <a:pt x="0" y="33"/>
                    <a:pt x="0" y="46"/>
                    <a:pt x="0" y="59"/>
                  </a:cubicBezTo>
                  <a:cubicBezTo>
                    <a:pt x="0" y="101"/>
                    <a:pt x="0" y="101"/>
                    <a:pt x="0" y="101"/>
                  </a:cubicBezTo>
                  <a:cubicBezTo>
                    <a:pt x="5" y="101"/>
                    <a:pt x="5" y="101"/>
                    <a:pt x="5" y="101"/>
                  </a:cubicBezTo>
                  <a:cubicBezTo>
                    <a:pt x="4" y="102"/>
                    <a:pt x="4" y="102"/>
                    <a:pt x="4" y="102"/>
                  </a:cubicBezTo>
                  <a:cubicBezTo>
                    <a:pt x="4" y="102"/>
                    <a:pt x="4" y="102"/>
                    <a:pt x="4" y="102"/>
                  </a:cubicBezTo>
                  <a:cubicBezTo>
                    <a:pt x="5" y="102"/>
                    <a:pt x="6" y="102"/>
                    <a:pt x="7" y="102"/>
                  </a:cubicBezTo>
                  <a:cubicBezTo>
                    <a:pt x="7" y="102"/>
                    <a:pt x="7" y="102"/>
                    <a:pt x="8" y="102"/>
                  </a:cubicBezTo>
                  <a:cubicBezTo>
                    <a:pt x="8" y="102"/>
                    <a:pt x="8" y="102"/>
                    <a:pt x="8" y="102"/>
                  </a:cubicBezTo>
                  <a:cubicBezTo>
                    <a:pt x="8" y="102"/>
                    <a:pt x="8" y="102"/>
                    <a:pt x="8" y="102"/>
                  </a:cubicBezTo>
                  <a:cubicBezTo>
                    <a:pt x="8" y="102"/>
                    <a:pt x="8" y="102"/>
                    <a:pt x="8" y="102"/>
                  </a:cubicBezTo>
                  <a:cubicBezTo>
                    <a:pt x="9" y="102"/>
                    <a:pt x="10" y="101"/>
                    <a:pt x="11" y="101"/>
                  </a:cubicBezTo>
                  <a:cubicBezTo>
                    <a:pt x="13" y="101"/>
                    <a:pt x="13" y="101"/>
                    <a:pt x="13" y="101"/>
                  </a:cubicBezTo>
                  <a:cubicBezTo>
                    <a:pt x="14" y="101"/>
                    <a:pt x="15" y="101"/>
                    <a:pt x="15" y="101"/>
                  </a:cubicBezTo>
                  <a:cubicBezTo>
                    <a:pt x="15" y="101"/>
                    <a:pt x="15" y="101"/>
                    <a:pt x="15" y="101"/>
                  </a:cubicBezTo>
                  <a:cubicBezTo>
                    <a:pt x="15" y="100"/>
                    <a:pt x="15" y="99"/>
                    <a:pt x="14" y="97"/>
                  </a:cubicBezTo>
                  <a:cubicBezTo>
                    <a:pt x="14" y="96"/>
                    <a:pt x="14" y="95"/>
                    <a:pt x="15" y="94"/>
                  </a:cubicBezTo>
                  <a:cubicBezTo>
                    <a:pt x="15" y="93"/>
                    <a:pt x="15" y="93"/>
                    <a:pt x="16" y="92"/>
                  </a:cubicBezTo>
                  <a:cubicBezTo>
                    <a:pt x="16" y="89"/>
                    <a:pt x="17" y="87"/>
                    <a:pt x="19" y="86"/>
                  </a:cubicBezTo>
                  <a:cubicBezTo>
                    <a:pt x="20" y="85"/>
                    <a:pt x="20" y="85"/>
                    <a:pt x="20" y="85"/>
                  </a:cubicBezTo>
                  <a:cubicBezTo>
                    <a:pt x="20" y="85"/>
                    <a:pt x="21" y="84"/>
                    <a:pt x="21" y="84"/>
                  </a:cubicBezTo>
                  <a:cubicBezTo>
                    <a:pt x="23" y="84"/>
                    <a:pt x="25" y="83"/>
                    <a:pt x="27" y="83"/>
                  </a:cubicBezTo>
                  <a:cubicBezTo>
                    <a:pt x="27" y="83"/>
                    <a:pt x="27" y="83"/>
                    <a:pt x="27" y="83"/>
                  </a:cubicBezTo>
                  <a:cubicBezTo>
                    <a:pt x="28" y="83"/>
                    <a:pt x="28" y="83"/>
                    <a:pt x="29" y="83"/>
                  </a:cubicBezTo>
                  <a:cubicBezTo>
                    <a:pt x="31" y="82"/>
                    <a:pt x="31" y="82"/>
                    <a:pt x="32" y="81"/>
                  </a:cubicBezTo>
                  <a:cubicBezTo>
                    <a:pt x="32" y="80"/>
                    <a:pt x="32" y="80"/>
                    <a:pt x="32" y="79"/>
                  </a:cubicBezTo>
                  <a:cubicBezTo>
                    <a:pt x="33" y="78"/>
                    <a:pt x="34" y="75"/>
                    <a:pt x="36" y="74"/>
                  </a:cubicBezTo>
                  <a:cubicBezTo>
                    <a:pt x="37" y="74"/>
                    <a:pt x="37" y="74"/>
                    <a:pt x="37" y="74"/>
                  </a:cubicBezTo>
                  <a:cubicBezTo>
                    <a:pt x="38" y="74"/>
                    <a:pt x="38" y="74"/>
                    <a:pt x="39" y="75"/>
                  </a:cubicBezTo>
                  <a:cubicBezTo>
                    <a:pt x="39" y="75"/>
                    <a:pt x="40" y="75"/>
                    <a:pt x="40" y="75"/>
                  </a:cubicBezTo>
                  <a:cubicBezTo>
                    <a:pt x="41" y="75"/>
                    <a:pt x="41" y="75"/>
                    <a:pt x="41" y="75"/>
                  </a:cubicBezTo>
                  <a:cubicBezTo>
                    <a:pt x="41" y="73"/>
                    <a:pt x="43" y="71"/>
                    <a:pt x="44" y="70"/>
                  </a:cubicBezTo>
                  <a:cubicBezTo>
                    <a:pt x="45" y="70"/>
                    <a:pt x="45" y="69"/>
                    <a:pt x="46" y="68"/>
                  </a:cubicBezTo>
                  <a:cubicBezTo>
                    <a:pt x="47" y="67"/>
                    <a:pt x="47" y="67"/>
                    <a:pt x="47" y="67"/>
                  </a:cubicBezTo>
                  <a:cubicBezTo>
                    <a:pt x="49" y="68"/>
                    <a:pt x="49" y="68"/>
                    <a:pt x="49" y="68"/>
                  </a:cubicBezTo>
                  <a:cubicBezTo>
                    <a:pt x="49" y="69"/>
                    <a:pt x="50" y="69"/>
                    <a:pt x="50" y="69"/>
                  </a:cubicBezTo>
                  <a:cubicBezTo>
                    <a:pt x="51" y="70"/>
                    <a:pt x="51" y="70"/>
                    <a:pt x="51" y="70"/>
                  </a:cubicBezTo>
                  <a:cubicBezTo>
                    <a:pt x="52" y="71"/>
                    <a:pt x="53" y="73"/>
                    <a:pt x="54" y="73"/>
                  </a:cubicBezTo>
                  <a:cubicBezTo>
                    <a:pt x="55" y="74"/>
                    <a:pt x="55" y="74"/>
                    <a:pt x="55" y="74"/>
                  </a:cubicBezTo>
                  <a:cubicBezTo>
                    <a:pt x="56" y="74"/>
                    <a:pt x="56" y="74"/>
                    <a:pt x="56" y="74"/>
                  </a:cubicBezTo>
                  <a:cubicBezTo>
                    <a:pt x="56" y="74"/>
                    <a:pt x="56" y="73"/>
                    <a:pt x="57" y="73"/>
                  </a:cubicBezTo>
                  <a:cubicBezTo>
                    <a:pt x="58" y="73"/>
                    <a:pt x="59" y="74"/>
                    <a:pt x="60" y="75"/>
                  </a:cubicBezTo>
                  <a:cubicBezTo>
                    <a:pt x="61" y="77"/>
                    <a:pt x="61" y="77"/>
                    <a:pt x="61" y="77"/>
                  </a:cubicBezTo>
                  <a:cubicBezTo>
                    <a:pt x="62" y="78"/>
                    <a:pt x="62" y="78"/>
                    <a:pt x="62" y="78"/>
                  </a:cubicBezTo>
                  <a:cubicBezTo>
                    <a:pt x="62" y="78"/>
                    <a:pt x="62" y="78"/>
                    <a:pt x="62" y="78"/>
                  </a:cubicBezTo>
                  <a:cubicBezTo>
                    <a:pt x="62" y="79"/>
                    <a:pt x="62" y="79"/>
                    <a:pt x="62" y="79"/>
                  </a:cubicBezTo>
                  <a:cubicBezTo>
                    <a:pt x="64" y="79"/>
                    <a:pt x="66" y="79"/>
                    <a:pt x="68" y="79"/>
                  </a:cubicBezTo>
                  <a:cubicBezTo>
                    <a:pt x="68" y="79"/>
                    <a:pt x="68" y="79"/>
                    <a:pt x="68" y="79"/>
                  </a:cubicBezTo>
                  <a:cubicBezTo>
                    <a:pt x="71" y="79"/>
                    <a:pt x="74" y="81"/>
                    <a:pt x="76" y="82"/>
                  </a:cubicBezTo>
                  <a:cubicBezTo>
                    <a:pt x="80" y="84"/>
                    <a:pt x="80" y="84"/>
                    <a:pt x="80" y="84"/>
                  </a:cubicBezTo>
                  <a:cubicBezTo>
                    <a:pt x="76" y="86"/>
                    <a:pt x="76" y="86"/>
                    <a:pt x="76" y="86"/>
                  </a:cubicBezTo>
                  <a:cubicBezTo>
                    <a:pt x="76" y="86"/>
                    <a:pt x="76" y="87"/>
                    <a:pt x="76" y="88"/>
                  </a:cubicBezTo>
                  <a:cubicBezTo>
                    <a:pt x="78" y="89"/>
                    <a:pt x="79" y="90"/>
                    <a:pt x="81" y="91"/>
                  </a:cubicBezTo>
                  <a:cubicBezTo>
                    <a:pt x="83" y="94"/>
                    <a:pt x="83" y="94"/>
                    <a:pt x="83" y="94"/>
                  </a:cubicBezTo>
                  <a:cubicBezTo>
                    <a:pt x="80" y="95"/>
                    <a:pt x="80" y="95"/>
                    <a:pt x="80" y="95"/>
                  </a:cubicBezTo>
                  <a:cubicBezTo>
                    <a:pt x="80" y="95"/>
                    <a:pt x="79" y="96"/>
                    <a:pt x="79" y="96"/>
                  </a:cubicBezTo>
                  <a:cubicBezTo>
                    <a:pt x="79" y="97"/>
                    <a:pt x="79" y="97"/>
                    <a:pt x="79" y="98"/>
                  </a:cubicBezTo>
                  <a:cubicBezTo>
                    <a:pt x="79" y="98"/>
                    <a:pt x="79" y="98"/>
                    <a:pt x="79" y="98"/>
                  </a:cubicBezTo>
                  <a:cubicBezTo>
                    <a:pt x="79" y="99"/>
                    <a:pt x="79" y="99"/>
                    <a:pt x="78" y="99"/>
                  </a:cubicBezTo>
                  <a:cubicBezTo>
                    <a:pt x="78" y="100"/>
                    <a:pt x="78" y="100"/>
                    <a:pt x="78" y="100"/>
                  </a:cubicBezTo>
                  <a:cubicBezTo>
                    <a:pt x="78" y="100"/>
                    <a:pt x="78" y="100"/>
                    <a:pt x="78" y="100"/>
                  </a:cubicBezTo>
                  <a:cubicBezTo>
                    <a:pt x="79" y="101"/>
                    <a:pt x="79" y="101"/>
                    <a:pt x="79" y="101"/>
                  </a:cubicBezTo>
                  <a:cubicBezTo>
                    <a:pt x="80" y="101"/>
                    <a:pt x="80" y="102"/>
                    <a:pt x="80" y="102"/>
                  </a:cubicBezTo>
                  <a:cubicBezTo>
                    <a:pt x="81" y="102"/>
                    <a:pt x="81" y="102"/>
                    <a:pt x="81" y="102"/>
                  </a:cubicBezTo>
                  <a:cubicBezTo>
                    <a:pt x="82" y="103"/>
                    <a:pt x="83" y="103"/>
                    <a:pt x="83" y="103"/>
                  </a:cubicBezTo>
                  <a:cubicBezTo>
                    <a:pt x="84" y="103"/>
                    <a:pt x="84" y="103"/>
                    <a:pt x="85" y="103"/>
                  </a:cubicBezTo>
                  <a:cubicBezTo>
                    <a:pt x="85" y="103"/>
                    <a:pt x="86" y="103"/>
                    <a:pt x="86" y="103"/>
                  </a:cubicBezTo>
                  <a:cubicBezTo>
                    <a:pt x="87" y="103"/>
                    <a:pt x="87" y="103"/>
                    <a:pt x="87" y="103"/>
                  </a:cubicBezTo>
                  <a:cubicBezTo>
                    <a:pt x="89" y="103"/>
                    <a:pt x="92" y="103"/>
                    <a:pt x="94" y="104"/>
                  </a:cubicBezTo>
                  <a:cubicBezTo>
                    <a:pt x="94" y="104"/>
                    <a:pt x="95" y="104"/>
                    <a:pt x="96" y="104"/>
                  </a:cubicBezTo>
                  <a:cubicBezTo>
                    <a:pt x="97" y="105"/>
                    <a:pt x="97" y="105"/>
                    <a:pt x="97" y="105"/>
                  </a:cubicBezTo>
                  <a:cubicBezTo>
                    <a:pt x="98" y="104"/>
                    <a:pt x="98" y="104"/>
                    <a:pt x="98" y="104"/>
                  </a:cubicBezTo>
                  <a:cubicBezTo>
                    <a:pt x="98" y="104"/>
                    <a:pt x="99" y="103"/>
                    <a:pt x="99" y="103"/>
                  </a:cubicBezTo>
                  <a:cubicBezTo>
                    <a:pt x="100" y="102"/>
                    <a:pt x="100" y="102"/>
                    <a:pt x="101" y="102"/>
                  </a:cubicBezTo>
                  <a:cubicBezTo>
                    <a:pt x="101" y="102"/>
                    <a:pt x="102" y="102"/>
                    <a:pt x="102" y="102"/>
                  </a:cubicBezTo>
                  <a:cubicBezTo>
                    <a:pt x="105" y="102"/>
                    <a:pt x="107" y="103"/>
                    <a:pt x="109" y="105"/>
                  </a:cubicBezTo>
                  <a:cubicBezTo>
                    <a:pt x="112" y="108"/>
                    <a:pt x="114" y="113"/>
                    <a:pt x="116" y="117"/>
                  </a:cubicBezTo>
                  <a:cubicBezTo>
                    <a:pt x="116" y="118"/>
                    <a:pt x="116" y="118"/>
                    <a:pt x="116" y="118"/>
                  </a:cubicBezTo>
                  <a:cubicBezTo>
                    <a:pt x="116" y="119"/>
                    <a:pt x="117" y="120"/>
                    <a:pt x="117" y="120"/>
                  </a:cubicBezTo>
                  <a:cubicBezTo>
                    <a:pt x="117" y="121"/>
                    <a:pt x="118" y="122"/>
                    <a:pt x="119" y="122"/>
                  </a:cubicBezTo>
                  <a:cubicBezTo>
                    <a:pt x="120" y="123"/>
                    <a:pt x="121" y="124"/>
                    <a:pt x="122" y="126"/>
                  </a:cubicBezTo>
                  <a:cubicBezTo>
                    <a:pt x="122" y="127"/>
                    <a:pt x="122" y="127"/>
                    <a:pt x="122" y="127"/>
                  </a:cubicBezTo>
                  <a:cubicBezTo>
                    <a:pt x="122" y="128"/>
                    <a:pt x="122" y="128"/>
                    <a:pt x="122" y="129"/>
                  </a:cubicBezTo>
                  <a:cubicBezTo>
                    <a:pt x="122" y="129"/>
                    <a:pt x="122" y="129"/>
                    <a:pt x="122" y="129"/>
                  </a:cubicBezTo>
                  <a:cubicBezTo>
                    <a:pt x="123" y="130"/>
                    <a:pt x="123" y="131"/>
                    <a:pt x="123" y="132"/>
                  </a:cubicBezTo>
                  <a:cubicBezTo>
                    <a:pt x="124" y="133"/>
                    <a:pt x="124" y="133"/>
                    <a:pt x="124" y="133"/>
                  </a:cubicBezTo>
                  <a:cubicBezTo>
                    <a:pt x="124" y="134"/>
                    <a:pt x="126" y="135"/>
                    <a:pt x="127" y="135"/>
                  </a:cubicBezTo>
                  <a:cubicBezTo>
                    <a:pt x="128" y="136"/>
                    <a:pt x="128" y="136"/>
                    <a:pt x="129" y="137"/>
                  </a:cubicBezTo>
                  <a:cubicBezTo>
                    <a:pt x="132" y="139"/>
                    <a:pt x="132" y="139"/>
                    <a:pt x="132" y="139"/>
                  </a:cubicBezTo>
                  <a:cubicBezTo>
                    <a:pt x="133" y="140"/>
                    <a:pt x="134" y="140"/>
                    <a:pt x="135" y="141"/>
                  </a:cubicBezTo>
                  <a:cubicBezTo>
                    <a:pt x="138" y="143"/>
                    <a:pt x="141" y="146"/>
                    <a:pt x="144" y="147"/>
                  </a:cubicBezTo>
                  <a:cubicBezTo>
                    <a:pt x="145" y="148"/>
                    <a:pt x="146" y="148"/>
                    <a:pt x="147" y="149"/>
                  </a:cubicBezTo>
                  <a:cubicBezTo>
                    <a:pt x="149" y="150"/>
                    <a:pt x="149" y="150"/>
                    <a:pt x="149" y="150"/>
                  </a:cubicBezTo>
                  <a:cubicBezTo>
                    <a:pt x="153" y="152"/>
                    <a:pt x="157" y="154"/>
                    <a:pt x="160" y="157"/>
                  </a:cubicBezTo>
                  <a:cubicBezTo>
                    <a:pt x="162" y="158"/>
                    <a:pt x="165" y="160"/>
                    <a:pt x="167" y="161"/>
                  </a:cubicBezTo>
                  <a:cubicBezTo>
                    <a:pt x="170" y="162"/>
                    <a:pt x="170" y="162"/>
                    <a:pt x="170" y="162"/>
                  </a:cubicBezTo>
                  <a:cubicBezTo>
                    <a:pt x="170" y="163"/>
                    <a:pt x="171" y="163"/>
                    <a:pt x="172" y="164"/>
                  </a:cubicBezTo>
                  <a:cubicBezTo>
                    <a:pt x="173" y="165"/>
                    <a:pt x="175" y="166"/>
                    <a:pt x="176" y="167"/>
                  </a:cubicBezTo>
                  <a:cubicBezTo>
                    <a:pt x="177" y="167"/>
                    <a:pt x="177" y="167"/>
                    <a:pt x="177" y="167"/>
                  </a:cubicBezTo>
                  <a:cubicBezTo>
                    <a:pt x="178" y="168"/>
                    <a:pt x="178" y="168"/>
                    <a:pt x="179" y="169"/>
                  </a:cubicBezTo>
                  <a:cubicBezTo>
                    <a:pt x="180" y="169"/>
                    <a:pt x="180" y="169"/>
                    <a:pt x="180" y="169"/>
                  </a:cubicBezTo>
                  <a:cubicBezTo>
                    <a:pt x="181" y="170"/>
                    <a:pt x="182" y="171"/>
                    <a:pt x="183" y="171"/>
                  </a:cubicBezTo>
                  <a:cubicBezTo>
                    <a:pt x="183" y="171"/>
                    <a:pt x="183" y="171"/>
                    <a:pt x="183" y="171"/>
                  </a:cubicBezTo>
                  <a:cubicBezTo>
                    <a:pt x="184" y="170"/>
                    <a:pt x="184" y="170"/>
                    <a:pt x="184" y="170"/>
                  </a:cubicBezTo>
                  <a:cubicBezTo>
                    <a:pt x="185" y="170"/>
                    <a:pt x="185" y="170"/>
                    <a:pt x="185" y="170"/>
                  </a:cubicBezTo>
                  <a:cubicBezTo>
                    <a:pt x="185" y="170"/>
                    <a:pt x="186" y="170"/>
                    <a:pt x="186" y="170"/>
                  </a:cubicBezTo>
                  <a:cubicBezTo>
                    <a:pt x="189" y="170"/>
                    <a:pt x="191" y="171"/>
                    <a:pt x="193" y="172"/>
                  </a:cubicBezTo>
                  <a:cubicBezTo>
                    <a:pt x="193" y="172"/>
                    <a:pt x="193" y="172"/>
                    <a:pt x="193" y="172"/>
                  </a:cubicBezTo>
                  <a:cubicBezTo>
                    <a:pt x="195" y="173"/>
                    <a:pt x="196" y="174"/>
                    <a:pt x="197" y="174"/>
                  </a:cubicBezTo>
                  <a:cubicBezTo>
                    <a:pt x="202" y="176"/>
                    <a:pt x="202" y="176"/>
                    <a:pt x="202" y="176"/>
                  </a:cubicBezTo>
                  <a:cubicBezTo>
                    <a:pt x="203" y="177"/>
                    <a:pt x="203" y="179"/>
                    <a:pt x="203" y="179"/>
                  </a:cubicBezTo>
                  <a:cubicBezTo>
                    <a:pt x="203" y="180"/>
                    <a:pt x="203" y="180"/>
                    <a:pt x="203" y="180"/>
                  </a:cubicBezTo>
                  <a:cubicBezTo>
                    <a:pt x="203" y="181"/>
                    <a:pt x="203" y="182"/>
                    <a:pt x="203" y="182"/>
                  </a:cubicBezTo>
                  <a:cubicBezTo>
                    <a:pt x="203" y="183"/>
                    <a:pt x="203" y="183"/>
                    <a:pt x="203" y="183"/>
                  </a:cubicBezTo>
                  <a:cubicBezTo>
                    <a:pt x="202" y="184"/>
                    <a:pt x="202" y="184"/>
                    <a:pt x="202" y="185"/>
                  </a:cubicBezTo>
                  <a:cubicBezTo>
                    <a:pt x="202" y="189"/>
                    <a:pt x="202" y="189"/>
                    <a:pt x="202" y="189"/>
                  </a:cubicBezTo>
                  <a:cubicBezTo>
                    <a:pt x="201" y="189"/>
                    <a:pt x="201" y="189"/>
                    <a:pt x="201" y="190"/>
                  </a:cubicBezTo>
                  <a:cubicBezTo>
                    <a:pt x="204" y="190"/>
                    <a:pt x="204" y="190"/>
                    <a:pt x="204" y="190"/>
                  </a:cubicBezTo>
                  <a:cubicBezTo>
                    <a:pt x="205" y="190"/>
                    <a:pt x="206" y="190"/>
                    <a:pt x="207" y="190"/>
                  </a:cubicBezTo>
                  <a:cubicBezTo>
                    <a:pt x="209" y="190"/>
                    <a:pt x="210" y="191"/>
                    <a:pt x="212" y="193"/>
                  </a:cubicBezTo>
                  <a:cubicBezTo>
                    <a:pt x="212" y="193"/>
                    <a:pt x="212" y="193"/>
                    <a:pt x="212" y="193"/>
                  </a:cubicBezTo>
                  <a:cubicBezTo>
                    <a:pt x="213" y="194"/>
                    <a:pt x="213" y="194"/>
                    <a:pt x="213" y="194"/>
                  </a:cubicBezTo>
                  <a:cubicBezTo>
                    <a:pt x="213" y="194"/>
                    <a:pt x="213" y="194"/>
                    <a:pt x="213" y="194"/>
                  </a:cubicBezTo>
                  <a:cubicBezTo>
                    <a:pt x="213" y="194"/>
                    <a:pt x="213" y="194"/>
                    <a:pt x="213" y="194"/>
                  </a:cubicBezTo>
                  <a:cubicBezTo>
                    <a:pt x="214" y="194"/>
                    <a:pt x="214" y="194"/>
                    <a:pt x="214" y="194"/>
                  </a:cubicBezTo>
                  <a:cubicBezTo>
                    <a:pt x="214" y="194"/>
                    <a:pt x="215" y="194"/>
                    <a:pt x="216" y="194"/>
                  </a:cubicBezTo>
                  <a:cubicBezTo>
                    <a:pt x="216" y="194"/>
                    <a:pt x="217" y="194"/>
                    <a:pt x="217" y="194"/>
                  </a:cubicBezTo>
                  <a:cubicBezTo>
                    <a:pt x="218" y="194"/>
                    <a:pt x="219" y="194"/>
                    <a:pt x="220" y="194"/>
                  </a:cubicBezTo>
                  <a:cubicBezTo>
                    <a:pt x="220" y="192"/>
                    <a:pt x="220" y="192"/>
                    <a:pt x="220" y="192"/>
                  </a:cubicBezTo>
                  <a:cubicBezTo>
                    <a:pt x="221" y="193"/>
                    <a:pt x="221" y="193"/>
                    <a:pt x="221" y="193"/>
                  </a:cubicBezTo>
                  <a:cubicBezTo>
                    <a:pt x="221" y="192"/>
                    <a:pt x="221" y="192"/>
                    <a:pt x="221" y="192"/>
                  </a:cubicBezTo>
                  <a:cubicBezTo>
                    <a:pt x="221" y="191"/>
                    <a:pt x="221" y="191"/>
                    <a:pt x="221" y="191"/>
                  </a:cubicBezTo>
                  <a:cubicBezTo>
                    <a:pt x="221" y="191"/>
                    <a:pt x="221" y="191"/>
                    <a:pt x="221" y="191"/>
                  </a:cubicBezTo>
                  <a:cubicBezTo>
                    <a:pt x="221" y="190"/>
                    <a:pt x="221" y="190"/>
                    <a:pt x="221" y="189"/>
                  </a:cubicBezTo>
                  <a:cubicBezTo>
                    <a:pt x="221" y="189"/>
                    <a:pt x="221" y="189"/>
                    <a:pt x="221" y="189"/>
                  </a:cubicBezTo>
                  <a:cubicBezTo>
                    <a:pt x="221" y="188"/>
                    <a:pt x="221" y="188"/>
                    <a:pt x="221" y="188"/>
                  </a:cubicBezTo>
                  <a:cubicBezTo>
                    <a:pt x="222" y="187"/>
                    <a:pt x="223" y="186"/>
                    <a:pt x="224" y="185"/>
                  </a:cubicBezTo>
                  <a:cubicBezTo>
                    <a:pt x="225" y="184"/>
                    <a:pt x="225" y="184"/>
                    <a:pt x="225" y="184"/>
                  </a:cubicBezTo>
                  <a:cubicBezTo>
                    <a:pt x="225" y="183"/>
                    <a:pt x="225" y="183"/>
                    <a:pt x="225" y="183"/>
                  </a:cubicBezTo>
                  <a:cubicBezTo>
                    <a:pt x="226" y="182"/>
                    <a:pt x="226" y="182"/>
                    <a:pt x="226" y="182"/>
                  </a:cubicBezTo>
                  <a:cubicBezTo>
                    <a:pt x="230" y="176"/>
                    <a:pt x="231" y="175"/>
                    <a:pt x="231" y="174"/>
                  </a:cubicBezTo>
                  <a:cubicBezTo>
                    <a:pt x="231" y="174"/>
                    <a:pt x="231" y="174"/>
                    <a:pt x="231" y="174"/>
                  </a:cubicBezTo>
                  <a:cubicBezTo>
                    <a:pt x="230" y="173"/>
                    <a:pt x="230" y="173"/>
                    <a:pt x="230" y="173"/>
                  </a:cubicBezTo>
                  <a:cubicBezTo>
                    <a:pt x="230" y="173"/>
                    <a:pt x="229" y="172"/>
                    <a:pt x="229" y="172"/>
                  </a:cubicBezTo>
                  <a:cubicBezTo>
                    <a:pt x="228" y="171"/>
                    <a:pt x="228" y="171"/>
                    <a:pt x="228" y="171"/>
                  </a:cubicBezTo>
                  <a:cubicBezTo>
                    <a:pt x="228" y="171"/>
                    <a:pt x="228" y="171"/>
                    <a:pt x="228" y="171"/>
                  </a:cubicBezTo>
                  <a:cubicBezTo>
                    <a:pt x="227" y="170"/>
                    <a:pt x="227" y="169"/>
                    <a:pt x="226" y="168"/>
                  </a:cubicBezTo>
                  <a:cubicBezTo>
                    <a:pt x="226" y="167"/>
                    <a:pt x="226" y="167"/>
                    <a:pt x="226" y="166"/>
                  </a:cubicBezTo>
                  <a:cubicBezTo>
                    <a:pt x="227" y="163"/>
                    <a:pt x="227" y="163"/>
                    <a:pt x="227" y="163"/>
                  </a:cubicBezTo>
                  <a:cubicBezTo>
                    <a:pt x="228" y="160"/>
                    <a:pt x="227" y="159"/>
                    <a:pt x="227" y="159"/>
                  </a:cubicBezTo>
                  <a:cubicBezTo>
                    <a:pt x="227" y="159"/>
                    <a:pt x="225" y="158"/>
                    <a:pt x="224" y="158"/>
                  </a:cubicBezTo>
                  <a:cubicBezTo>
                    <a:pt x="220" y="158"/>
                    <a:pt x="219" y="158"/>
                    <a:pt x="216" y="155"/>
                  </a:cubicBezTo>
                  <a:cubicBezTo>
                    <a:pt x="216" y="154"/>
                    <a:pt x="216" y="154"/>
                    <a:pt x="216" y="154"/>
                  </a:cubicBezTo>
                  <a:cubicBezTo>
                    <a:pt x="215" y="154"/>
                    <a:pt x="215" y="154"/>
                    <a:pt x="215" y="154"/>
                  </a:cubicBezTo>
                  <a:cubicBezTo>
                    <a:pt x="214" y="153"/>
                    <a:pt x="214" y="153"/>
                    <a:pt x="214" y="153"/>
                  </a:cubicBezTo>
                  <a:cubicBezTo>
                    <a:pt x="213" y="151"/>
                    <a:pt x="212" y="150"/>
                    <a:pt x="212" y="148"/>
                  </a:cubicBezTo>
                  <a:cubicBezTo>
                    <a:pt x="212" y="148"/>
                    <a:pt x="212" y="148"/>
                    <a:pt x="212" y="148"/>
                  </a:cubicBezTo>
                  <a:cubicBezTo>
                    <a:pt x="213" y="145"/>
                    <a:pt x="214" y="144"/>
                    <a:pt x="216" y="142"/>
                  </a:cubicBezTo>
                  <a:cubicBezTo>
                    <a:pt x="217" y="142"/>
                    <a:pt x="217" y="142"/>
                    <a:pt x="217" y="142"/>
                  </a:cubicBezTo>
                  <a:cubicBezTo>
                    <a:pt x="218" y="141"/>
                    <a:pt x="219" y="140"/>
                    <a:pt x="220" y="140"/>
                  </a:cubicBezTo>
                  <a:cubicBezTo>
                    <a:pt x="220" y="140"/>
                    <a:pt x="220" y="140"/>
                    <a:pt x="220" y="140"/>
                  </a:cubicBezTo>
                  <a:cubicBezTo>
                    <a:pt x="220" y="140"/>
                    <a:pt x="221" y="140"/>
                    <a:pt x="222" y="140"/>
                  </a:cubicBezTo>
                  <a:cubicBezTo>
                    <a:pt x="222" y="140"/>
                    <a:pt x="223" y="140"/>
                    <a:pt x="224" y="140"/>
                  </a:cubicBezTo>
                  <a:cubicBezTo>
                    <a:pt x="226" y="140"/>
                    <a:pt x="228" y="141"/>
                    <a:pt x="230" y="141"/>
                  </a:cubicBezTo>
                  <a:cubicBezTo>
                    <a:pt x="231" y="141"/>
                    <a:pt x="232" y="141"/>
                    <a:pt x="233" y="141"/>
                  </a:cubicBezTo>
                  <a:cubicBezTo>
                    <a:pt x="234" y="141"/>
                    <a:pt x="234" y="141"/>
                    <a:pt x="234" y="141"/>
                  </a:cubicBezTo>
                  <a:cubicBezTo>
                    <a:pt x="234" y="141"/>
                    <a:pt x="234" y="141"/>
                    <a:pt x="234" y="141"/>
                  </a:cubicBezTo>
                  <a:cubicBezTo>
                    <a:pt x="235" y="141"/>
                    <a:pt x="235" y="141"/>
                    <a:pt x="235" y="141"/>
                  </a:cubicBezTo>
                  <a:cubicBezTo>
                    <a:pt x="235" y="141"/>
                    <a:pt x="235" y="140"/>
                    <a:pt x="236" y="138"/>
                  </a:cubicBezTo>
                  <a:cubicBezTo>
                    <a:pt x="236" y="137"/>
                    <a:pt x="236" y="137"/>
                    <a:pt x="236" y="137"/>
                  </a:cubicBezTo>
                  <a:cubicBezTo>
                    <a:pt x="236" y="136"/>
                    <a:pt x="237" y="135"/>
                    <a:pt x="238" y="134"/>
                  </a:cubicBezTo>
                  <a:cubicBezTo>
                    <a:pt x="238" y="133"/>
                    <a:pt x="239" y="133"/>
                    <a:pt x="239" y="133"/>
                  </a:cubicBezTo>
                  <a:cubicBezTo>
                    <a:pt x="238" y="132"/>
                    <a:pt x="237" y="132"/>
                    <a:pt x="236" y="130"/>
                  </a:cubicBezTo>
                  <a:cubicBezTo>
                    <a:pt x="235" y="127"/>
                    <a:pt x="235" y="127"/>
                    <a:pt x="235" y="127"/>
                  </a:cubicBezTo>
                  <a:cubicBezTo>
                    <a:pt x="245" y="126"/>
                    <a:pt x="245" y="126"/>
                    <a:pt x="245" y="126"/>
                  </a:cubicBezTo>
                  <a:cubicBezTo>
                    <a:pt x="246" y="126"/>
                    <a:pt x="246" y="126"/>
                    <a:pt x="246" y="126"/>
                  </a:cubicBezTo>
                  <a:cubicBezTo>
                    <a:pt x="247" y="126"/>
                    <a:pt x="247" y="126"/>
                    <a:pt x="248" y="126"/>
                  </a:cubicBezTo>
                  <a:cubicBezTo>
                    <a:pt x="247" y="124"/>
                    <a:pt x="247" y="122"/>
                    <a:pt x="247" y="120"/>
                  </a:cubicBezTo>
                  <a:cubicBezTo>
                    <a:pt x="248" y="119"/>
                    <a:pt x="248" y="118"/>
                    <a:pt x="249" y="117"/>
                  </a:cubicBezTo>
                  <a:cubicBezTo>
                    <a:pt x="249" y="116"/>
                    <a:pt x="249" y="116"/>
                    <a:pt x="249" y="116"/>
                  </a:cubicBezTo>
                  <a:cubicBezTo>
                    <a:pt x="250" y="115"/>
                    <a:pt x="250" y="115"/>
                    <a:pt x="250" y="115"/>
                  </a:cubicBezTo>
                  <a:cubicBezTo>
                    <a:pt x="250" y="114"/>
                    <a:pt x="250" y="114"/>
                    <a:pt x="250" y="114"/>
                  </a:cubicBezTo>
                  <a:cubicBezTo>
                    <a:pt x="252" y="114"/>
                    <a:pt x="252" y="114"/>
                    <a:pt x="252" y="114"/>
                  </a:cubicBezTo>
                  <a:cubicBezTo>
                    <a:pt x="252" y="114"/>
                    <a:pt x="252" y="114"/>
                    <a:pt x="252" y="114"/>
                  </a:cubicBezTo>
                  <a:cubicBezTo>
                    <a:pt x="253" y="114"/>
                    <a:pt x="253" y="114"/>
                    <a:pt x="253" y="114"/>
                  </a:cubicBezTo>
                  <a:cubicBezTo>
                    <a:pt x="253" y="114"/>
                    <a:pt x="253" y="114"/>
                    <a:pt x="253" y="114"/>
                  </a:cubicBezTo>
                  <a:cubicBezTo>
                    <a:pt x="254" y="114"/>
                    <a:pt x="254" y="114"/>
                    <a:pt x="255" y="115"/>
                  </a:cubicBezTo>
                  <a:cubicBezTo>
                    <a:pt x="255" y="115"/>
                    <a:pt x="255" y="115"/>
                    <a:pt x="255" y="115"/>
                  </a:cubicBezTo>
                  <a:cubicBezTo>
                    <a:pt x="256" y="115"/>
                    <a:pt x="256" y="115"/>
                    <a:pt x="256" y="115"/>
                  </a:cubicBezTo>
                  <a:cubicBezTo>
                    <a:pt x="256" y="115"/>
                    <a:pt x="257" y="116"/>
                    <a:pt x="257" y="116"/>
                  </a:cubicBezTo>
                  <a:cubicBezTo>
                    <a:pt x="258" y="116"/>
                    <a:pt x="258" y="116"/>
                    <a:pt x="258" y="116"/>
                  </a:cubicBezTo>
                  <a:cubicBezTo>
                    <a:pt x="259" y="116"/>
                    <a:pt x="259" y="116"/>
                    <a:pt x="259" y="116"/>
                  </a:cubicBezTo>
                  <a:cubicBezTo>
                    <a:pt x="259" y="116"/>
                    <a:pt x="259" y="116"/>
                    <a:pt x="259" y="116"/>
                  </a:cubicBezTo>
                  <a:cubicBezTo>
                    <a:pt x="259" y="116"/>
                    <a:pt x="260" y="116"/>
                    <a:pt x="260" y="116"/>
                  </a:cubicBezTo>
                  <a:cubicBezTo>
                    <a:pt x="261" y="115"/>
                    <a:pt x="262" y="115"/>
                    <a:pt x="263" y="114"/>
                  </a:cubicBezTo>
                  <a:cubicBezTo>
                    <a:pt x="263" y="114"/>
                    <a:pt x="263" y="114"/>
                    <a:pt x="263" y="114"/>
                  </a:cubicBezTo>
                  <a:cubicBezTo>
                    <a:pt x="264" y="114"/>
                    <a:pt x="264" y="114"/>
                    <a:pt x="264" y="114"/>
                  </a:cubicBezTo>
                  <a:cubicBezTo>
                    <a:pt x="265" y="114"/>
                    <a:pt x="266" y="113"/>
                    <a:pt x="267" y="112"/>
                  </a:cubicBezTo>
                  <a:cubicBezTo>
                    <a:pt x="267" y="112"/>
                    <a:pt x="267" y="112"/>
                    <a:pt x="267" y="112"/>
                  </a:cubicBezTo>
                  <a:cubicBezTo>
                    <a:pt x="268" y="111"/>
                    <a:pt x="268" y="111"/>
                    <a:pt x="269" y="111"/>
                  </a:cubicBezTo>
                  <a:cubicBezTo>
                    <a:pt x="269" y="110"/>
                    <a:pt x="269" y="110"/>
                    <a:pt x="270" y="110"/>
                  </a:cubicBezTo>
                  <a:cubicBezTo>
                    <a:pt x="270" y="109"/>
                    <a:pt x="271" y="109"/>
                    <a:pt x="271" y="108"/>
                  </a:cubicBezTo>
                  <a:cubicBezTo>
                    <a:pt x="272" y="108"/>
                    <a:pt x="272" y="108"/>
                    <a:pt x="272" y="108"/>
                  </a:cubicBezTo>
                  <a:cubicBezTo>
                    <a:pt x="273" y="107"/>
                    <a:pt x="273" y="107"/>
                    <a:pt x="273" y="107"/>
                  </a:cubicBezTo>
                  <a:cubicBezTo>
                    <a:pt x="283" y="118"/>
                    <a:pt x="283" y="118"/>
                    <a:pt x="283" y="118"/>
                  </a:cubicBezTo>
                  <a:cubicBezTo>
                    <a:pt x="281" y="119"/>
                    <a:pt x="281" y="119"/>
                    <a:pt x="281" y="119"/>
                  </a:cubicBezTo>
                  <a:cubicBezTo>
                    <a:pt x="279" y="121"/>
                    <a:pt x="277" y="122"/>
                    <a:pt x="275" y="124"/>
                  </a:cubicBezTo>
                  <a:cubicBezTo>
                    <a:pt x="276" y="125"/>
                    <a:pt x="277" y="125"/>
                    <a:pt x="278" y="126"/>
                  </a:cubicBezTo>
                  <a:cubicBezTo>
                    <a:pt x="278" y="126"/>
                    <a:pt x="279" y="126"/>
                    <a:pt x="280" y="126"/>
                  </a:cubicBezTo>
                  <a:cubicBezTo>
                    <a:pt x="280" y="126"/>
                    <a:pt x="280" y="126"/>
                    <a:pt x="280" y="126"/>
                  </a:cubicBezTo>
                  <a:cubicBezTo>
                    <a:pt x="281" y="126"/>
                    <a:pt x="281" y="126"/>
                    <a:pt x="282" y="126"/>
                  </a:cubicBezTo>
                  <a:cubicBezTo>
                    <a:pt x="283" y="125"/>
                    <a:pt x="283" y="125"/>
                    <a:pt x="283" y="125"/>
                  </a:cubicBezTo>
                  <a:cubicBezTo>
                    <a:pt x="283" y="125"/>
                    <a:pt x="283" y="125"/>
                    <a:pt x="283" y="125"/>
                  </a:cubicBezTo>
                  <a:cubicBezTo>
                    <a:pt x="284" y="125"/>
                    <a:pt x="284" y="125"/>
                    <a:pt x="285" y="125"/>
                  </a:cubicBezTo>
                  <a:cubicBezTo>
                    <a:pt x="285" y="125"/>
                    <a:pt x="285" y="125"/>
                    <a:pt x="285" y="125"/>
                  </a:cubicBezTo>
                  <a:cubicBezTo>
                    <a:pt x="286" y="125"/>
                    <a:pt x="288" y="124"/>
                    <a:pt x="289" y="124"/>
                  </a:cubicBezTo>
                  <a:cubicBezTo>
                    <a:pt x="290" y="124"/>
                    <a:pt x="290" y="124"/>
                    <a:pt x="290" y="124"/>
                  </a:cubicBezTo>
                  <a:cubicBezTo>
                    <a:pt x="291" y="124"/>
                    <a:pt x="291" y="125"/>
                    <a:pt x="292" y="125"/>
                  </a:cubicBezTo>
                  <a:cubicBezTo>
                    <a:pt x="292" y="125"/>
                    <a:pt x="293" y="125"/>
                    <a:pt x="294" y="126"/>
                  </a:cubicBezTo>
                  <a:cubicBezTo>
                    <a:pt x="294" y="126"/>
                    <a:pt x="295" y="126"/>
                    <a:pt x="296" y="127"/>
                  </a:cubicBezTo>
                  <a:cubicBezTo>
                    <a:pt x="297" y="127"/>
                    <a:pt x="297" y="127"/>
                    <a:pt x="298" y="127"/>
                  </a:cubicBezTo>
                  <a:cubicBezTo>
                    <a:pt x="298" y="127"/>
                    <a:pt x="299" y="127"/>
                    <a:pt x="300" y="127"/>
                  </a:cubicBezTo>
                  <a:cubicBezTo>
                    <a:pt x="300" y="127"/>
                    <a:pt x="300" y="127"/>
                    <a:pt x="300" y="127"/>
                  </a:cubicBezTo>
                  <a:cubicBezTo>
                    <a:pt x="301" y="126"/>
                    <a:pt x="301" y="126"/>
                    <a:pt x="301" y="126"/>
                  </a:cubicBezTo>
                  <a:cubicBezTo>
                    <a:pt x="301" y="126"/>
                    <a:pt x="301" y="126"/>
                    <a:pt x="301" y="126"/>
                  </a:cubicBezTo>
                  <a:cubicBezTo>
                    <a:pt x="301" y="125"/>
                    <a:pt x="301" y="125"/>
                    <a:pt x="302" y="124"/>
                  </a:cubicBezTo>
                  <a:cubicBezTo>
                    <a:pt x="302" y="123"/>
                    <a:pt x="303" y="123"/>
                    <a:pt x="303" y="122"/>
                  </a:cubicBezTo>
                  <a:cubicBezTo>
                    <a:pt x="304" y="122"/>
                    <a:pt x="304" y="122"/>
                    <a:pt x="304" y="122"/>
                  </a:cubicBezTo>
                  <a:cubicBezTo>
                    <a:pt x="305" y="121"/>
                    <a:pt x="305" y="121"/>
                    <a:pt x="305" y="121"/>
                  </a:cubicBezTo>
                  <a:cubicBezTo>
                    <a:pt x="305" y="121"/>
                    <a:pt x="305" y="121"/>
                    <a:pt x="305" y="121"/>
                  </a:cubicBezTo>
                  <a:cubicBezTo>
                    <a:pt x="305" y="122"/>
                    <a:pt x="305" y="122"/>
                    <a:pt x="305" y="122"/>
                  </a:cubicBezTo>
                  <a:cubicBezTo>
                    <a:pt x="305" y="121"/>
                    <a:pt x="305" y="121"/>
                    <a:pt x="305" y="121"/>
                  </a:cubicBezTo>
                  <a:cubicBezTo>
                    <a:pt x="306" y="121"/>
                    <a:pt x="306" y="121"/>
                    <a:pt x="306" y="121"/>
                  </a:cubicBezTo>
                  <a:cubicBezTo>
                    <a:pt x="306" y="121"/>
                    <a:pt x="306" y="121"/>
                    <a:pt x="306" y="121"/>
                  </a:cubicBezTo>
                  <a:cubicBezTo>
                    <a:pt x="307" y="121"/>
                    <a:pt x="307" y="121"/>
                    <a:pt x="307" y="121"/>
                  </a:cubicBezTo>
                  <a:cubicBezTo>
                    <a:pt x="307" y="121"/>
                    <a:pt x="307" y="121"/>
                    <a:pt x="307" y="121"/>
                  </a:cubicBezTo>
                  <a:cubicBezTo>
                    <a:pt x="307" y="120"/>
                    <a:pt x="307" y="120"/>
                    <a:pt x="307" y="120"/>
                  </a:cubicBezTo>
                  <a:cubicBezTo>
                    <a:pt x="307" y="119"/>
                    <a:pt x="308" y="118"/>
                    <a:pt x="309" y="118"/>
                  </a:cubicBezTo>
                  <a:cubicBezTo>
                    <a:pt x="310" y="118"/>
                    <a:pt x="310" y="118"/>
                    <a:pt x="310" y="118"/>
                  </a:cubicBezTo>
                  <a:cubicBezTo>
                    <a:pt x="310" y="118"/>
                    <a:pt x="310" y="118"/>
                    <a:pt x="310" y="118"/>
                  </a:cubicBezTo>
                  <a:cubicBezTo>
                    <a:pt x="311" y="118"/>
                    <a:pt x="311" y="118"/>
                    <a:pt x="312" y="118"/>
                  </a:cubicBezTo>
                  <a:cubicBezTo>
                    <a:pt x="312" y="118"/>
                    <a:pt x="312" y="118"/>
                    <a:pt x="312" y="118"/>
                  </a:cubicBezTo>
                  <a:cubicBezTo>
                    <a:pt x="313" y="118"/>
                    <a:pt x="313" y="119"/>
                    <a:pt x="313" y="119"/>
                  </a:cubicBezTo>
                  <a:cubicBezTo>
                    <a:pt x="314" y="119"/>
                    <a:pt x="314" y="119"/>
                    <a:pt x="314" y="119"/>
                  </a:cubicBezTo>
                  <a:cubicBezTo>
                    <a:pt x="315" y="119"/>
                    <a:pt x="315" y="119"/>
                    <a:pt x="315" y="119"/>
                  </a:cubicBezTo>
                  <a:cubicBezTo>
                    <a:pt x="315" y="119"/>
                    <a:pt x="315" y="119"/>
                    <a:pt x="315" y="119"/>
                  </a:cubicBezTo>
                  <a:cubicBezTo>
                    <a:pt x="315" y="118"/>
                    <a:pt x="316" y="118"/>
                    <a:pt x="316" y="117"/>
                  </a:cubicBezTo>
                  <a:cubicBezTo>
                    <a:pt x="317" y="117"/>
                    <a:pt x="317" y="117"/>
                    <a:pt x="317" y="117"/>
                  </a:cubicBezTo>
                  <a:cubicBezTo>
                    <a:pt x="317" y="116"/>
                    <a:pt x="317" y="116"/>
                    <a:pt x="317" y="116"/>
                  </a:cubicBezTo>
                  <a:cubicBezTo>
                    <a:pt x="315" y="116"/>
                    <a:pt x="314" y="116"/>
                    <a:pt x="313" y="115"/>
                  </a:cubicBezTo>
                  <a:cubicBezTo>
                    <a:pt x="313" y="115"/>
                    <a:pt x="313" y="115"/>
                    <a:pt x="313" y="115"/>
                  </a:cubicBezTo>
                  <a:cubicBezTo>
                    <a:pt x="312" y="115"/>
                    <a:pt x="312" y="115"/>
                    <a:pt x="312" y="115"/>
                  </a:cubicBezTo>
                  <a:cubicBezTo>
                    <a:pt x="312" y="114"/>
                    <a:pt x="312" y="114"/>
                    <a:pt x="312" y="114"/>
                  </a:cubicBezTo>
                  <a:cubicBezTo>
                    <a:pt x="311" y="114"/>
                    <a:pt x="311" y="114"/>
                    <a:pt x="311" y="114"/>
                  </a:cubicBezTo>
                  <a:cubicBezTo>
                    <a:pt x="310" y="113"/>
                    <a:pt x="310" y="113"/>
                    <a:pt x="310" y="113"/>
                  </a:cubicBezTo>
                  <a:cubicBezTo>
                    <a:pt x="309" y="116"/>
                    <a:pt x="309" y="116"/>
                    <a:pt x="309" y="116"/>
                  </a:cubicBezTo>
                  <a:cubicBezTo>
                    <a:pt x="309" y="113"/>
                    <a:pt x="309" y="113"/>
                    <a:pt x="309" y="113"/>
                  </a:cubicBezTo>
                  <a:cubicBezTo>
                    <a:pt x="309" y="113"/>
                    <a:pt x="309" y="113"/>
                    <a:pt x="309" y="113"/>
                  </a:cubicBezTo>
                  <a:cubicBezTo>
                    <a:pt x="309" y="113"/>
                    <a:pt x="308" y="113"/>
                    <a:pt x="308" y="113"/>
                  </a:cubicBezTo>
                  <a:cubicBezTo>
                    <a:pt x="308" y="113"/>
                    <a:pt x="308" y="113"/>
                    <a:pt x="308" y="113"/>
                  </a:cubicBezTo>
                  <a:cubicBezTo>
                    <a:pt x="307" y="113"/>
                    <a:pt x="307" y="113"/>
                    <a:pt x="307" y="113"/>
                  </a:cubicBezTo>
                  <a:cubicBezTo>
                    <a:pt x="304" y="114"/>
                    <a:pt x="304" y="114"/>
                    <a:pt x="304" y="114"/>
                  </a:cubicBezTo>
                  <a:cubicBezTo>
                    <a:pt x="304" y="111"/>
                    <a:pt x="304" y="111"/>
                    <a:pt x="304" y="111"/>
                  </a:cubicBezTo>
                  <a:cubicBezTo>
                    <a:pt x="304" y="111"/>
                    <a:pt x="304" y="110"/>
                    <a:pt x="304" y="110"/>
                  </a:cubicBezTo>
                  <a:cubicBezTo>
                    <a:pt x="304" y="109"/>
                    <a:pt x="304" y="109"/>
                    <a:pt x="304" y="109"/>
                  </a:cubicBezTo>
                  <a:cubicBezTo>
                    <a:pt x="303" y="109"/>
                    <a:pt x="303" y="109"/>
                    <a:pt x="303" y="109"/>
                  </a:cubicBezTo>
                  <a:cubicBezTo>
                    <a:pt x="303" y="109"/>
                    <a:pt x="303" y="109"/>
                    <a:pt x="303" y="109"/>
                  </a:cubicBezTo>
                  <a:cubicBezTo>
                    <a:pt x="302" y="109"/>
                    <a:pt x="302" y="109"/>
                    <a:pt x="302" y="109"/>
                  </a:cubicBezTo>
                  <a:cubicBezTo>
                    <a:pt x="301" y="109"/>
                    <a:pt x="300" y="108"/>
                    <a:pt x="300" y="108"/>
                  </a:cubicBezTo>
                  <a:cubicBezTo>
                    <a:pt x="299" y="107"/>
                    <a:pt x="299" y="106"/>
                    <a:pt x="299" y="106"/>
                  </a:cubicBezTo>
                  <a:cubicBezTo>
                    <a:pt x="298" y="105"/>
                    <a:pt x="298" y="104"/>
                    <a:pt x="297" y="104"/>
                  </a:cubicBezTo>
                  <a:cubicBezTo>
                    <a:pt x="297" y="106"/>
                    <a:pt x="297" y="106"/>
                    <a:pt x="297" y="106"/>
                  </a:cubicBezTo>
                  <a:cubicBezTo>
                    <a:pt x="295" y="106"/>
                    <a:pt x="295" y="106"/>
                    <a:pt x="295" y="106"/>
                  </a:cubicBezTo>
                  <a:cubicBezTo>
                    <a:pt x="294" y="106"/>
                    <a:pt x="294" y="106"/>
                    <a:pt x="294" y="106"/>
                  </a:cubicBezTo>
                  <a:cubicBezTo>
                    <a:pt x="294" y="107"/>
                    <a:pt x="294" y="107"/>
                    <a:pt x="294" y="107"/>
                  </a:cubicBezTo>
                  <a:cubicBezTo>
                    <a:pt x="294" y="107"/>
                    <a:pt x="294" y="108"/>
                    <a:pt x="294" y="108"/>
                  </a:cubicBezTo>
                  <a:cubicBezTo>
                    <a:pt x="294" y="111"/>
                    <a:pt x="294" y="111"/>
                    <a:pt x="294" y="111"/>
                  </a:cubicBezTo>
                  <a:cubicBezTo>
                    <a:pt x="291" y="110"/>
                    <a:pt x="291" y="110"/>
                    <a:pt x="291" y="110"/>
                  </a:cubicBezTo>
                  <a:cubicBezTo>
                    <a:pt x="291" y="110"/>
                    <a:pt x="291" y="110"/>
                    <a:pt x="290" y="110"/>
                  </a:cubicBezTo>
                  <a:cubicBezTo>
                    <a:pt x="290" y="110"/>
                    <a:pt x="290" y="110"/>
                    <a:pt x="289" y="110"/>
                  </a:cubicBezTo>
                  <a:cubicBezTo>
                    <a:pt x="288" y="110"/>
                    <a:pt x="288" y="110"/>
                    <a:pt x="288" y="110"/>
                  </a:cubicBezTo>
                  <a:cubicBezTo>
                    <a:pt x="288" y="110"/>
                    <a:pt x="287" y="110"/>
                    <a:pt x="287" y="110"/>
                  </a:cubicBezTo>
                  <a:cubicBezTo>
                    <a:pt x="285" y="109"/>
                    <a:pt x="282" y="109"/>
                    <a:pt x="280" y="108"/>
                  </a:cubicBezTo>
                  <a:cubicBezTo>
                    <a:pt x="277" y="107"/>
                    <a:pt x="277" y="105"/>
                    <a:pt x="276" y="104"/>
                  </a:cubicBezTo>
                  <a:cubicBezTo>
                    <a:pt x="276" y="103"/>
                    <a:pt x="276" y="103"/>
                    <a:pt x="276" y="103"/>
                  </a:cubicBezTo>
                  <a:cubicBezTo>
                    <a:pt x="275" y="104"/>
                    <a:pt x="275" y="104"/>
                    <a:pt x="275" y="104"/>
                  </a:cubicBezTo>
                  <a:cubicBezTo>
                    <a:pt x="275" y="104"/>
                    <a:pt x="274" y="104"/>
                    <a:pt x="274" y="104"/>
                  </a:cubicBezTo>
                  <a:cubicBezTo>
                    <a:pt x="273" y="104"/>
                    <a:pt x="272" y="103"/>
                    <a:pt x="271" y="102"/>
                  </a:cubicBezTo>
                  <a:cubicBezTo>
                    <a:pt x="271" y="102"/>
                    <a:pt x="271" y="102"/>
                    <a:pt x="271" y="102"/>
                  </a:cubicBezTo>
                  <a:cubicBezTo>
                    <a:pt x="270" y="102"/>
                    <a:pt x="270" y="102"/>
                    <a:pt x="270" y="102"/>
                  </a:cubicBezTo>
                  <a:cubicBezTo>
                    <a:pt x="270" y="102"/>
                    <a:pt x="270" y="102"/>
                    <a:pt x="270" y="102"/>
                  </a:cubicBezTo>
                  <a:cubicBezTo>
                    <a:pt x="269" y="102"/>
                    <a:pt x="269" y="102"/>
                    <a:pt x="269" y="102"/>
                  </a:cubicBezTo>
                  <a:cubicBezTo>
                    <a:pt x="269" y="102"/>
                    <a:pt x="268" y="102"/>
                    <a:pt x="268" y="101"/>
                  </a:cubicBezTo>
                  <a:cubicBezTo>
                    <a:pt x="267" y="101"/>
                    <a:pt x="267" y="101"/>
                    <a:pt x="267" y="101"/>
                  </a:cubicBezTo>
                  <a:cubicBezTo>
                    <a:pt x="267" y="101"/>
                    <a:pt x="266" y="101"/>
                    <a:pt x="266" y="100"/>
                  </a:cubicBezTo>
                  <a:cubicBezTo>
                    <a:pt x="265" y="98"/>
                    <a:pt x="267" y="96"/>
                    <a:pt x="268" y="94"/>
                  </a:cubicBezTo>
                  <a:cubicBezTo>
                    <a:pt x="270" y="93"/>
                    <a:pt x="273" y="91"/>
                    <a:pt x="276" y="89"/>
                  </a:cubicBezTo>
                  <a:cubicBezTo>
                    <a:pt x="265" y="95"/>
                    <a:pt x="265" y="95"/>
                    <a:pt x="265" y="95"/>
                  </a:cubicBezTo>
                  <a:cubicBezTo>
                    <a:pt x="262" y="96"/>
                    <a:pt x="260" y="98"/>
                    <a:pt x="257" y="100"/>
                  </a:cubicBezTo>
                  <a:cubicBezTo>
                    <a:pt x="256" y="101"/>
                    <a:pt x="256" y="101"/>
                    <a:pt x="256" y="101"/>
                  </a:cubicBezTo>
                  <a:cubicBezTo>
                    <a:pt x="255" y="102"/>
                    <a:pt x="254" y="103"/>
                    <a:pt x="252" y="104"/>
                  </a:cubicBezTo>
                  <a:cubicBezTo>
                    <a:pt x="255" y="108"/>
                    <a:pt x="255" y="108"/>
                    <a:pt x="255" y="108"/>
                  </a:cubicBezTo>
                  <a:cubicBezTo>
                    <a:pt x="251" y="104"/>
                    <a:pt x="251" y="104"/>
                    <a:pt x="251" y="104"/>
                  </a:cubicBezTo>
                  <a:cubicBezTo>
                    <a:pt x="251" y="104"/>
                    <a:pt x="251" y="104"/>
                    <a:pt x="251" y="104"/>
                  </a:cubicBezTo>
                  <a:cubicBezTo>
                    <a:pt x="250" y="105"/>
                    <a:pt x="249" y="106"/>
                    <a:pt x="248" y="107"/>
                  </a:cubicBezTo>
                  <a:cubicBezTo>
                    <a:pt x="248" y="107"/>
                    <a:pt x="248" y="108"/>
                    <a:pt x="247" y="109"/>
                  </a:cubicBezTo>
                  <a:cubicBezTo>
                    <a:pt x="244" y="110"/>
                    <a:pt x="244" y="110"/>
                    <a:pt x="244" y="110"/>
                  </a:cubicBezTo>
                  <a:cubicBezTo>
                    <a:pt x="242" y="112"/>
                    <a:pt x="241" y="113"/>
                    <a:pt x="241" y="114"/>
                  </a:cubicBezTo>
                  <a:cubicBezTo>
                    <a:pt x="241" y="115"/>
                    <a:pt x="241" y="115"/>
                    <a:pt x="241" y="115"/>
                  </a:cubicBezTo>
                  <a:cubicBezTo>
                    <a:pt x="241" y="116"/>
                    <a:pt x="241" y="116"/>
                    <a:pt x="241" y="116"/>
                  </a:cubicBezTo>
                  <a:cubicBezTo>
                    <a:pt x="241" y="118"/>
                    <a:pt x="241" y="120"/>
                    <a:pt x="239" y="121"/>
                  </a:cubicBezTo>
                  <a:cubicBezTo>
                    <a:pt x="239" y="122"/>
                    <a:pt x="238" y="122"/>
                    <a:pt x="238" y="122"/>
                  </a:cubicBezTo>
                  <a:cubicBezTo>
                    <a:pt x="237" y="122"/>
                    <a:pt x="237" y="122"/>
                    <a:pt x="237" y="122"/>
                  </a:cubicBezTo>
                  <a:cubicBezTo>
                    <a:pt x="237" y="121"/>
                    <a:pt x="237" y="121"/>
                    <a:pt x="237" y="121"/>
                  </a:cubicBezTo>
                  <a:cubicBezTo>
                    <a:pt x="237" y="122"/>
                    <a:pt x="237" y="122"/>
                    <a:pt x="237" y="122"/>
                  </a:cubicBezTo>
                  <a:cubicBezTo>
                    <a:pt x="237" y="122"/>
                    <a:pt x="237" y="122"/>
                    <a:pt x="237" y="122"/>
                  </a:cubicBezTo>
                  <a:cubicBezTo>
                    <a:pt x="236" y="122"/>
                    <a:pt x="236" y="122"/>
                    <a:pt x="236" y="122"/>
                  </a:cubicBezTo>
                  <a:cubicBezTo>
                    <a:pt x="236" y="122"/>
                    <a:pt x="236" y="122"/>
                    <a:pt x="236" y="122"/>
                  </a:cubicBezTo>
                  <a:cubicBezTo>
                    <a:pt x="236" y="121"/>
                    <a:pt x="236" y="121"/>
                    <a:pt x="236" y="121"/>
                  </a:cubicBezTo>
                  <a:cubicBezTo>
                    <a:pt x="235" y="122"/>
                    <a:pt x="235" y="122"/>
                    <a:pt x="235" y="122"/>
                  </a:cubicBezTo>
                  <a:cubicBezTo>
                    <a:pt x="235" y="122"/>
                    <a:pt x="234" y="122"/>
                    <a:pt x="234" y="122"/>
                  </a:cubicBezTo>
                  <a:cubicBezTo>
                    <a:pt x="231" y="120"/>
                    <a:pt x="228" y="119"/>
                    <a:pt x="225" y="117"/>
                  </a:cubicBezTo>
                  <a:cubicBezTo>
                    <a:pt x="223" y="115"/>
                    <a:pt x="223" y="115"/>
                    <a:pt x="223" y="115"/>
                  </a:cubicBezTo>
                  <a:cubicBezTo>
                    <a:pt x="225" y="113"/>
                    <a:pt x="225" y="113"/>
                    <a:pt x="225" y="113"/>
                  </a:cubicBezTo>
                  <a:cubicBezTo>
                    <a:pt x="225" y="113"/>
                    <a:pt x="226" y="112"/>
                    <a:pt x="226" y="112"/>
                  </a:cubicBezTo>
                  <a:cubicBezTo>
                    <a:pt x="226" y="111"/>
                    <a:pt x="226" y="111"/>
                    <a:pt x="226" y="111"/>
                  </a:cubicBezTo>
                  <a:cubicBezTo>
                    <a:pt x="226" y="111"/>
                    <a:pt x="226" y="111"/>
                    <a:pt x="226" y="111"/>
                  </a:cubicBezTo>
                  <a:cubicBezTo>
                    <a:pt x="226" y="111"/>
                    <a:pt x="226" y="111"/>
                    <a:pt x="226" y="111"/>
                  </a:cubicBezTo>
                  <a:cubicBezTo>
                    <a:pt x="225" y="110"/>
                    <a:pt x="225" y="110"/>
                    <a:pt x="225" y="110"/>
                  </a:cubicBezTo>
                  <a:cubicBezTo>
                    <a:pt x="224" y="110"/>
                    <a:pt x="224" y="109"/>
                    <a:pt x="224" y="109"/>
                  </a:cubicBezTo>
                  <a:cubicBezTo>
                    <a:pt x="223" y="109"/>
                    <a:pt x="223" y="109"/>
                    <a:pt x="223" y="109"/>
                  </a:cubicBezTo>
                  <a:cubicBezTo>
                    <a:pt x="222" y="109"/>
                    <a:pt x="221" y="109"/>
                    <a:pt x="221" y="109"/>
                  </a:cubicBezTo>
                  <a:cubicBezTo>
                    <a:pt x="220" y="109"/>
                    <a:pt x="220" y="109"/>
                    <a:pt x="220" y="109"/>
                  </a:cubicBezTo>
                  <a:cubicBezTo>
                    <a:pt x="220" y="109"/>
                    <a:pt x="220" y="109"/>
                    <a:pt x="219" y="109"/>
                  </a:cubicBezTo>
                  <a:cubicBezTo>
                    <a:pt x="203" y="110"/>
                    <a:pt x="203" y="110"/>
                    <a:pt x="203" y="110"/>
                  </a:cubicBezTo>
                  <a:cubicBezTo>
                    <a:pt x="203" y="110"/>
                    <a:pt x="203" y="110"/>
                    <a:pt x="203" y="110"/>
                  </a:cubicBezTo>
                  <a:cubicBezTo>
                    <a:pt x="201" y="109"/>
                    <a:pt x="200" y="109"/>
                    <a:pt x="200" y="108"/>
                  </a:cubicBezTo>
                  <a:cubicBezTo>
                    <a:pt x="200" y="107"/>
                    <a:pt x="200" y="106"/>
                    <a:pt x="199" y="105"/>
                  </a:cubicBezTo>
                  <a:cubicBezTo>
                    <a:pt x="199" y="104"/>
                    <a:pt x="199" y="104"/>
                    <a:pt x="199" y="104"/>
                  </a:cubicBezTo>
                  <a:cubicBezTo>
                    <a:pt x="199" y="103"/>
                    <a:pt x="199" y="103"/>
                    <a:pt x="199" y="103"/>
                  </a:cubicBezTo>
                  <a:cubicBezTo>
                    <a:pt x="198" y="100"/>
                    <a:pt x="198" y="100"/>
                    <a:pt x="198" y="100"/>
                  </a:cubicBezTo>
                  <a:cubicBezTo>
                    <a:pt x="197" y="98"/>
                    <a:pt x="197" y="95"/>
                    <a:pt x="196" y="93"/>
                  </a:cubicBezTo>
                  <a:cubicBezTo>
                    <a:pt x="196" y="92"/>
                    <a:pt x="196" y="92"/>
                    <a:pt x="196" y="92"/>
                  </a:cubicBezTo>
                  <a:cubicBezTo>
                    <a:pt x="196" y="91"/>
                    <a:pt x="196" y="91"/>
                    <a:pt x="196" y="91"/>
                  </a:cubicBezTo>
                  <a:cubicBezTo>
                    <a:pt x="196" y="90"/>
                    <a:pt x="196" y="90"/>
                    <a:pt x="196" y="90"/>
                  </a:cubicBezTo>
                  <a:cubicBezTo>
                    <a:pt x="196" y="90"/>
                    <a:pt x="196" y="90"/>
                    <a:pt x="196" y="90"/>
                  </a:cubicBezTo>
                  <a:cubicBezTo>
                    <a:pt x="195" y="90"/>
                    <a:pt x="194" y="90"/>
                    <a:pt x="194" y="90"/>
                  </a:cubicBezTo>
                  <a:cubicBezTo>
                    <a:pt x="193" y="90"/>
                    <a:pt x="193" y="91"/>
                    <a:pt x="192" y="91"/>
                  </a:cubicBezTo>
                  <a:cubicBezTo>
                    <a:pt x="192" y="91"/>
                    <a:pt x="192" y="91"/>
                    <a:pt x="191" y="90"/>
                  </a:cubicBezTo>
                  <a:cubicBezTo>
                    <a:pt x="191" y="91"/>
                    <a:pt x="191" y="91"/>
                    <a:pt x="191" y="91"/>
                  </a:cubicBezTo>
                  <a:cubicBezTo>
                    <a:pt x="191" y="91"/>
                    <a:pt x="191" y="91"/>
                    <a:pt x="191" y="91"/>
                  </a:cubicBezTo>
                  <a:cubicBezTo>
                    <a:pt x="189" y="90"/>
                    <a:pt x="187" y="90"/>
                    <a:pt x="187" y="88"/>
                  </a:cubicBezTo>
                  <a:cubicBezTo>
                    <a:pt x="187" y="87"/>
                    <a:pt x="186" y="86"/>
                    <a:pt x="186" y="84"/>
                  </a:cubicBezTo>
                  <a:cubicBezTo>
                    <a:pt x="187" y="83"/>
                    <a:pt x="187" y="82"/>
                    <a:pt x="187" y="81"/>
                  </a:cubicBezTo>
                  <a:cubicBezTo>
                    <a:pt x="187" y="81"/>
                    <a:pt x="187" y="81"/>
                    <a:pt x="187" y="80"/>
                  </a:cubicBezTo>
                  <a:cubicBezTo>
                    <a:pt x="187" y="79"/>
                    <a:pt x="187" y="77"/>
                    <a:pt x="187" y="76"/>
                  </a:cubicBezTo>
                  <a:cubicBezTo>
                    <a:pt x="188" y="74"/>
                    <a:pt x="188" y="73"/>
                    <a:pt x="188" y="72"/>
                  </a:cubicBezTo>
                  <a:cubicBezTo>
                    <a:pt x="188" y="71"/>
                    <a:pt x="188" y="71"/>
                    <a:pt x="188" y="71"/>
                  </a:cubicBezTo>
                  <a:cubicBezTo>
                    <a:pt x="188" y="70"/>
                    <a:pt x="188" y="69"/>
                    <a:pt x="189" y="69"/>
                  </a:cubicBezTo>
                  <a:cubicBezTo>
                    <a:pt x="188" y="69"/>
                    <a:pt x="188" y="69"/>
                    <a:pt x="187" y="69"/>
                  </a:cubicBezTo>
                  <a:cubicBezTo>
                    <a:pt x="185" y="69"/>
                    <a:pt x="183" y="67"/>
                    <a:pt x="183" y="66"/>
                  </a:cubicBezTo>
                  <a:cubicBezTo>
                    <a:pt x="182" y="66"/>
                    <a:pt x="182" y="66"/>
                    <a:pt x="182" y="66"/>
                  </a:cubicBezTo>
                  <a:cubicBezTo>
                    <a:pt x="182" y="65"/>
                    <a:pt x="182" y="65"/>
                    <a:pt x="182" y="65"/>
                  </a:cubicBezTo>
                  <a:cubicBezTo>
                    <a:pt x="181" y="65"/>
                    <a:pt x="181" y="65"/>
                    <a:pt x="181" y="65"/>
                  </a:cubicBezTo>
                  <a:cubicBezTo>
                    <a:pt x="181" y="64"/>
                    <a:pt x="181" y="64"/>
                    <a:pt x="181" y="64"/>
                  </a:cubicBezTo>
                  <a:cubicBezTo>
                    <a:pt x="179" y="62"/>
                    <a:pt x="177" y="60"/>
                    <a:pt x="175" y="58"/>
                  </a:cubicBezTo>
                  <a:cubicBezTo>
                    <a:pt x="174" y="57"/>
                    <a:pt x="174" y="57"/>
                    <a:pt x="174" y="57"/>
                  </a:cubicBezTo>
                  <a:cubicBezTo>
                    <a:pt x="173" y="57"/>
                    <a:pt x="173" y="56"/>
                    <a:pt x="173" y="56"/>
                  </a:cubicBezTo>
                  <a:cubicBezTo>
                    <a:pt x="171" y="54"/>
                    <a:pt x="171" y="54"/>
                    <a:pt x="171" y="54"/>
                  </a:cubicBezTo>
                  <a:cubicBezTo>
                    <a:pt x="170" y="53"/>
                    <a:pt x="169" y="52"/>
                    <a:pt x="168" y="52"/>
                  </a:cubicBezTo>
                  <a:cubicBezTo>
                    <a:pt x="168" y="51"/>
                    <a:pt x="167" y="51"/>
                    <a:pt x="167" y="51"/>
                  </a:cubicBezTo>
                  <a:cubicBezTo>
                    <a:pt x="166" y="51"/>
                    <a:pt x="165" y="52"/>
                    <a:pt x="165" y="52"/>
                  </a:cubicBezTo>
                  <a:cubicBezTo>
                    <a:pt x="165" y="52"/>
                    <a:pt x="165" y="52"/>
                    <a:pt x="165" y="52"/>
                  </a:cubicBezTo>
                  <a:cubicBezTo>
                    <a:pt x="167" y="56"/>
                    <a:pt x="167" y="56"/>
                    <a:pt x="167" y="56"/>
                  </a:cubicBezTo>
                  <a:cubicBezTo>
                    <a:pt x="164" y="53"/>
                    <a:pt x="164" y="53"/>
                    <a:pt x="164" y="53"/>
                  </a:cubicBezTo>
                  <a:cubicBezTo>
                    <a:pt x="163" y="53"/>
                    <a:pt x="163" y="53"/>
                    <a:pt x="163" y="53"/>
                  </a:cubicBezTo>
                  <a:cubicBezTo>
                    <a:pt x="162" y="54"/>
                    <a:pt x="160" y="54"/>
                    <a:pt x="158" y="54"/>
                  </a:cubicBezTo>
                  <a:cubicBezTo>
                    <a:pt x="158" y="54"/>
                    <a:pt x="158" y="54"/>
                    <a:pt x="158" y="54"/>
                  </a:cubicBezTo>
                  <a:cubicBezTo>
                    <a:pt x="153" y="54"/>
                    <a:pt x="153" y="54"/>
                    <a:pt x="153" y="54"/>
                  </a:cubicBezTo>
                  <a:cubicBezTo>
                    <a:pt x="150" y="54"/>
                    <a:pt x="149" y="53"/>
                    <a:pt x="147" y="53"/>
                  </a:cubicBezTo>
                  <a:cubicBezTo>
                    <a:pt x="144" y="53"/>
                    <a:pt x="140" y="53"/>
                    <a:pt x="138" y="53"/>
                  </a:cubicBezTo>
                  <a:cubicBezTo>
                    <a:pt x="137" y="53"/>
                    <a:pt x="136" y="53"/>
                    <a:pt x="135" y="53"/>
                  </a:cubicBezTo>
                  <a:cubicBezTo>
                    <a:pt x="131" y="53"/>
                    <a:pt x="128" y="54"/>
                    <a:pt x="124" y="55"/>
                  </a:cubicBezTo>
                  <a:cubicBezTo>
                    <a:pt x="121" y="55"/>
                    <a:pt x="118" y="56"/>
                    <a:pt x="115" y="56"/>
                  </a:cubicBezTo>
                  <a:cubicBezTo>
                    <a:pt x="115" y="56"/>
                    <a:pt x="114" y="56"/>
                    <a:pt x="114" y="56"/>
                  </a:cubicBezTo>
                  <a:cubicBezTo>
                    <a:pt x="113" y="56"/>
                    <a:pt x="113" y="56"/>
                    <a:pt x="112" y="56"/>
                  </a:cubicBezTo>
                  <a:cubicBezTo>
                    <a:pt x="112" y="56"/>
                    <a:pt x="112" y="56"/>
                    <a:pt x="112" y="56"/>
                  </a:cubicBezTo>
                  <a:cubicBezTo>
                    <a:pt x="111" y="55"/>
                    <a:pt x="110" y="55"/>
                    <a:pt x="109" y="54"/>
                  </a:cubicBezTo>
                  <a:cubicBezTo>
                    <a:pt x="109" y="54"/>
                    <a:pt x="109" y="54"/>
                    <a:pt x="109" y="54"/>
                  </a:cubicBezTo>
                  <a:cubicBezTo>
                    <a:pt x="108" y="53"/>
                    <a:pt x="108" y="53"/>
                    <a:pt x="107" y="52"/>
                  </a:cubicBezTo>
                  <a:cubicBezTo>
                    <a:pt x="107" y="51"/>
                    <a:pt x="107" y="51"/>
                    <a:pt x="107" y="51"/>
                  </a:cubicBezTo>
                  <a:cubicBezTo>
                    <a:pt x="106" y="51"/>
                    <a:pt x="106" y="51"/>
                    <a:pt x="106" y="51"/>
                  </a:cubicBezTo>
                  <a:cubicBezTo>
                    <a:pt x="103" y="48"/>
                    <a:pt x="101" y="46"/>
                    <a:pt x="99" y="44"/>
                  </a:cubicBezTo>
                  <a:cubicBezTo>
                    <a:pt x="99" y="44"/>
                    <a:pt x="95" y="39"/>
                    <a:pt x="93" y="36"/>
                  </a:cubicBezTo>
                  <a:cubicBezTo>
                    <a:pt x="92" y="34"/>
                    <a:pt x="82" y="28"/>
                    <a:pt x="78" y="26"/>
                  </a:cubicBezTo>
                  <a:cubicBezTo>
                    <a:pt x="76" y="25"/>
                    <a:pt x="76" y="25"/>
                    <a:pt x="76" y="25"/>
                  </a:cubicBezTo>
                  <a:cubicBezTo>
                    <a:pt x="76" y="28"/>
                    <a:pt x="76" y="31"/>
                    <a:pt x="76" y="34"/>
                  </a:cubicBezTo>
                  <a:cubicBezTo>
                    <a:pt x="76" y="35"/>
                    <a:pt x="75" y="36"/>
                    <a:pt x="75" y="36"/>
                  </a:cubicBezTo>
                  <a:cubicBezTo>
                    <a:pt x="74" y="37"/>
                    <a:pt x="72" y="38"/>
                    <a:pt x="71" y="38"/>
                  </a:cubicBezTo>
                  <a:cubicBezTo>
                    <a:pt x="71" y="39"/>
                    <a:pt x="72" y="41"/>
                    <a:pt x="72" y="41"/>
                  </a:cubicBezTo>
                  <a:cubicBezTo>
                    <a:pt x="72" y="41"/>
                    <a:pt x="71" y="41"/>
                    <a:pt x="71" y="41"/>
                  </a:cubicBezTo>
                  <a:cubicBezTo>
                    <a:pt x="71" y="41"/>
                    <a:pt x="70" y="40"/>
                    <a:pt x="70" y="40"/>
                  </a:cubicBezTo>
                  <a:cubicBezTo>
                    <a:pt x="70" y="40"/>
                    <a:pt x="70" y="40"/>
                    <a:pt x="69" y="40"/>
                  </a:cubicBezTo>
                  <a:cubicBezTo>
                    <a:pt x="69" y="40"/>
                    <a:pt x="69" y="40"/>
                    <a:pt x="68" y="40"/>
                  </a:cubicBezTo>
                  <a:cubicBezTo>
                    <a:pt x="68" y="40"/>
                    <a:pt x="67" y="41"/>
                    <a:pt x="66" y="41"/>
                  </a:cubicBezTo>
                  <a:cubicBezTo>
                    <a:pt x="66" y="41"/>
                    <a:pt x="66" y="41"/>
                    <a:pt x="66" y="40"/>
                  </a:cubicBezTo>
                  <a:cubicBezTo>
                    <a:pt x="63" y="40"/>
                    <a:pt x="65" y="38"/>
                    <a:pt x="63" y="37"/>
                  </a:cubicBezTo>
                  <a:cubicBezTo>
                    <a:pt x="61" y="35"/>
                    <a:pt x="59" y="32"/>
                    <a:pt x="58" y="28"/>
                  </a:cubicBezTo>
                  <a:cubicBezTo>
                    <a:pt x="57" y="24"/>
                    <a:pt x="61" y="20"/>
                    <a:pt x="63" y="16"/>
                  </a:cubicBezTo>
                  <a:cubicBezTo>
                    <a:pt x="63" y="16"/>
                    <a:pt x="63" y="16"/>
                    <a:pt x="63" y="16"/>
                  </a:cubicBezTo>
                  <a:cubicBezTo>
                    <a:pt x="64" y="15"/>
                    <a:pt x="64" y="15"/>
                    <a:pt x="64" y="15"/>
                  </a:cubicBezTo>
                  <a:cubicBezTo>
                    <a:pt x="64" y="15"/>
                    <a:pt x="64" y="15"/>
                    <a:pt x="64" y="15"/>
                  </a:cubicBezTo>
                  <a:cubicBezTo>
                    <a:pt x="67" y="17"/>
                    <a:pt x="70" y="19"/>
                    <a:pt x="74" y="21"/>
                  </a:cubicBezTo>
                  <a:cubicBezTo>
                    <a:pt x="70" y="19"/>
                    <a:pt x="67" y="17"/>
                    <a:pt x="64" y="15"/>
                  </a:cubicBezTo>
                  <a:cubicBezTo>
                    <a:pt x="64" y="15"/>
                    <a:pt x="64" y="14"/>
                    <a:pt x="64" y="14"/>
                  </a:cubicBezTo>
                  <a:cubicBezTo>
                    <a:pt x="64" y="14"/>
                    <a:pt x="64" y="14"/>
                    <a:pt x="64" y="14"/>
                  </a:cubicBezTo>
                  <a:cubicBezTo>
                    <a:pt x="64" y="13"/>
                    <a:pt x="64" y="13"/>
                    <a:pt x="64" y="13"/>
                  </a:cubicBezTo>
                  <a:cubicBezTo>
                    <a:pt x="64" y="13"/>
                    <a:pt x="64" y="12"/>
                    <a:pt x="64" y="12"/>
                  </a:cubicBezTo>
                  <a:cubicBezTo>
                    <a:pt x="63" y="13"/>
                    <a:pt x="63" y="13"/>
                    <a:pt x="63" y="13"/>
                  </a:cubicBezTo>
                  <a:cubicBezTo>
                    <a:pt x="62" y="12"/>
                    <a:pt x="62" y="10"/>
                    <a:pt x="62" y="8"/>
                  </a:cubicBezTo>
                  <a:cubicBezTo>
                    <a:pt x="62" y="7"/>
                    <a:pt x="63" y="6"/>
                    <a:pt x="62" y="6"/>
                  </a:cubicBezTo>
                  <a:cubicBezTo>
                    <a:pt x="62" y="6"/>
                    <a:pt x="61" y="6"/>
                    <a:pt x="61" y="6"/>
                  </a:cubicBezTo>
                  <a:cubicBezTo>
                    <a:pt x="61" y="5"/>
                    <a:pt x="61" y="5"/>
                    <a:pt x="61" y="4"/>
                  </a:cubicBezTo>
                  <a:cubicBezTo>
                    <a:pt x="60" y="3"/>
                    <a:pt x="59" y="4"/>
                    <a:pt x="59" y="3"/>
                  </a:cubicBezTo>
                  <a:cubicBezTo>
                    <a:pt x="58" y="2"/>
                    <a:pt x="59" y="1"/>
                    <a:pt x="58" y="0"/>
                  </a:cubicBezTo>
                  <a:cubicBezTo>
                    <a:pt x="57" y="0"/>
                    <a:pt x="57" y="0"/>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448"/>
            <p:cNvSpPr/>
            <p:nvPr/>
          </p:nvSpPr>
          <p:spPr bwMode="auto">
            <a:xfrm>
              <a:off x="3858142" y="3225395"/>
              <a:ext cx="1976524" cy="806014"/>
            </a:xfrm>
            <a:custGeom>
              <a:gdLst>
                <a:gd name="T0" fmla="*/ 201 w 608"/>
                <a:gd name="T1" fmla="*/ 9 h 248"/>
                <a:gd name="T2" fmla="*/ 194 w 608"/>
                <a:gd name="T3" fmla="*/ 22 h 248"/>
                <a:gd name="T4" fmla="*/ 200 w 608"/>
                <a:gd name="T5" fmla="*/ 43 h 248"/>
                <a:gd name="T6" fmla="*/ 187 w 608"/>
                <a:gd name="T7" fmla="*/ 55 h 248"/>
                <a:gd name="T8" fmla="*/ 164 w 608"/>
                <a:gd name="T9" fmla="*/ 55 h 248"/>
                <a:gd name="T10" fmla="*/ 148 w 608"/>
                <a:gd name="T11" fmla="*/ 54 h 248"/>
                <a:gd name="T12" fmla="*/ 123 w 608"/>
                <a:gd name="T13" fmla="*/ 44 h 248"/>
                <a:gd name="T14" fmla="*/ 100 w 608"/>
                <a:gd name="T15" fmla="*/ 36 h 248"/>
                <a:gd name="T16" fmla="*/ 87 w 608"/>
                <a:gd name="T17" fmla="*/ 32 h 248"/>
                <a:gd name="T18" fmla="*/ 71 w 608"/>
                <a:gd name="T19" fmla="*/ 38 h 248"/>
                <a:gd name="T20" fmla="*/ 37 w 608"/>
                <a:gd name="T21" fmla="*/ 58 h 248"/>
                <a:gd name="T22" fmla="*/ 9 w 608"/>
                <a:gd name="T23" fmla="*/ 66 h 248"/>
                <a:gd name="T24" fmla="*/ 7 w 608"/>
                <a:gd name="T25" fmla="*/ 70 h 248"/>
                <a:gd name="T26" fmla="*/ 2 w 608"/>
                <a:gd name="T27" fmla="*/ 79 h 248"/>
                <a:gd name="T28" fmla="*/ 16 w 608"/>
                <a:gd name="T29" fmla="*/ 91 h 248"/>
                <a:gd name="T30" fmla="*/ 34 w 608"/>
                <a:gd name="T31" fmla="*/ 98 h 248"/>
                <a:gd name="T32" fmla="*/ 51 w 608"/>
                <a:gd name="T33" fmla="*/ 113 h 248"/>
                <a:gd name="T34" fmla="*/ 62 w 608"/>
                <a:gd name="T35" fmla="*/ 146 h 248"/>
                <a:gd name="T36" fmla="*/ 60 w 608"/>
                <a:gd name="T37" fmla="*/ 165 h 248"/>
                <a:gd name="T38" fmla="*/ 126 w 608"/>
                <a:gd name="T39" fmla="*/ 181 h 248"/>
                <a:gd name="T40" fmla="*/ 146 w 608"/>
                <a:gd name="T41" fmla="*/ 190 h 248"/>
                <a:gd name="T42" fmla="*/ 161 w 608"/>
                <a:gd name="T43" fmla="*/ 218 h 248"/>
                <a:gd name="T44" fmla="*/ 176 w 608"/>
                <a:gd name="T45" fmla="*/ 221 h 248"/>
                <a:gd name="T46" fmla="*/ 223 w 608"/>
                <a:gd name="T47" fmla="*/ 225 h 248"/>
                <a:gd name="T48" fmla="*/ 266 w 608"/>
                <a:gd name="T49" fmla="*/ 229 h 248"/>
                <a:gd name="T50" fmla="*/ 301 w 608"/>
                <a:gd name="T51" fmla="*/ 243 h 248"/>
                <a:gd name="T52" fmla="*/ 318 w 608"/>
                <a:gd name="T53" fmla="*/ 245 h 248"/>
                <a:gd name="T54" fmla="*/ 326 w 608"/>
                <a:gd name="T55" fmla="*/ 248 h 248"/>
                <a:gd name="T56" fmla="*/ 358 w 608"/>
                <a:gd name="T57" fmla="*/ 233 h 248"/>
                <a:gd name="T58" fmla="*/ 399 w 608"/>
                <a:gd name="T59" fmla="*/ 229 h 248"/>
                <a:gd name="T60" fmla="*/ 431 w 608"/>
                <a:gd name="T61" fmla="*/ 219 h 248"/>
                <a:gd name="T62" fmla="*/ 456 w 608"/>
                <a:gd name="T63" fmla="*/ 199 h 248"/>
                <a:gd name="T64" fmla="*/ 451 w 608"/>
                <a:gd name="T65" fmla="*/ 175 h 248"/>
                <a:gd name="T66" fmla="*/ 486 w 608"/>
                <a:gd name="T67" fmla="*/ 174 h 248"/>
                <a:gd name="T68" fmla="*/ 503 w 608"/>
                <a:gd name="T69" fmla="*/ 162 h 248"/>
                <a:gd name="T70" fmla="*/ 513 w 608"/>
                <a:gd name="T71" fmla="*/ 159 h 248"/>
                <a:gd name="T72" fmla="*/ 534 w 608"/>
                <a:gd name="T73" fmla="*/ 155 h 248"/>
                <a:gd name="T74" fmla="*/ 555 w 608"/>
                <a:gd name="T75" fmla="*/ 137 h 248"/>
                <a:gd name="T76" fmla="*/ 598 w 608"/>
                <a:gd name="T77" fmla="*/ 129 h 248"/>
                <a:gd name="T78" fmla="*/ 593 w 608"/>
                <a:gd name="T79" fmla="*/ 110 h 248"/>
                <a:gd name="T80" fmla="*/ 582 w 608"/>
                <a:gd name="T81" fmla="*/ 103 h 248"/>
                <a:gd name="T82" fmla="*/ 562 w 608"/>
                <a:gd name="T83" fmla="*/ 110 h 248"/>
                <a:gd name="T84" fmla="*/ 535 w 608"/>
                <a:gd name="T85" fmla="*/ 110 h 248"/>
                <a:gd name="T86" fmla="*/ 529 w 608"/>
                <a:gd name="T87" fmla="*/ 93 h 248"/>
                <a:gd name="T88" fmla="*/ 545 w 608"/>
                <a:gd name="T89" fmla="*/ 55 h 248"/>
                <a:gd name="T90" fmla="*/ 524 w 608"/>
                <a:gd name="T91" fmla="*/ 54 h 248"/>
                <a:gd name="T92" fmla="*/ 495 w 608"/>
                <a:gd name="T93" fmla="*/ 50 h 248"/>
                <a:gd name="T94" fmla="*/ 436 w 608"/>
                <a:gd name="T95" fmla="*/ 74 h 248"/>
                <a:gd name="T96" fmla="*/ 393 w 608"/>
                <a:gd name="T97" fmla="*/ 69 h 248"/>
                <a:gd name="T98" fmla="*/ 375 w 608"/>
                <a:gd name="T99" fmla="*/ 53 h 248"/>
                <a:gd name="T100" fmla="*/ 349 w 608"/>
                <a:gd name="T101" fmla="*/ 45 h 248"/>
                <a:gd name="T102" fmla="*/ 317 w 608"/>
                <a:gd name="T103" fmla="*/ 45 h 248"/>
                <a:gd name="T104" fmla="*/ 277 w 608"/>
                <a:gd name="T105" fmla="*/ 41 h 248"/>
                <a:gd name="T106" fmla="*/ 270 w 608"/>
                <a:gd name="T107" fmla="*/ 24 h 248"/>
                <a:gd name="T108" fmla="*/ 243 w 608"/>
                <a:gd name="T109" fmla="*/ 10 h 248"/>
                <a:gd name="T110" fmla="*/ 212 w 608"/>
                <a:gd name="T111" fmla="*/ 0 h 2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8" h="248">
                  <a:moveTo>
                    <a:pt x="211" y="0"/>
                  </a:moveTo>
                  <a:cubicBezTo>
                    <a:pt x="208" y="3"/>
                    <a:pt x="208" y="3"/>
                    <a:pt x="208" y="3"/>
                  </a:cubicBezTo>
                  <a:cubicBezTo>
                    <a:pt x="206" y="4"/>
                    <a:pt x="205" y="6"/>
                    <a:pt x="203" y="7"/>
                  </a:cubicBezTo>
                  <a:cubicBezTo>
                    <a:pt x="203" y="8"/>
                    <a:pt x="203" y="8"/>
                    <a:pt x="203" y="8"/>
                  </a:cubicBezTo>
                  <a:cubicBezTo>
                    <a:pt x="202" y="8"/>
                    <a:pt x="202" y="8"/>
                    <a:pt x="202" y="8"/>
                  </a:cubicBezTo>
                  <a:cubicBezTo>
                    <a:pt x="202" y="8"/>
                    <a:pt x="202" y="8"/>
                    <a:pt x="202" y="8"/>
                  </a:cubicBezTo>
                  <a:cubicBezTo>
                    <a:pt x="201" y="9"/>
                    <a:pt x="201" y="9"/>
                    <a:pt x="201" y="9"/>
                  </a:cubicBezTo>
                  <a:cubicBezTo>
                    <a:pt x="201" y="9"/>
                    <a:pt x="201" y="9"/>
                    <a:pt x="201" y="9"/>
                  </a:cubicBezTo>
                  <a:cubicBezTo>
                    <a:pt x="201" y="9"/>
                    <a:pt x="201" y="9"/>
                    <a:pt x="201" y="9"/>
                  </a:cubicBezTo>
                  <a:cubicBezTo>
                    <a:pt x="201" y="10"/>
                    <a:pt x="201" y="10"/>
                    <a:pt x="201" y="10"/>
                  </a:cubicBezTo>
                  <a:cubicBezTo>
                    <a:pt x="200" y="10"/>
                    <a:pt x="200" y="11"/>
                    <a:pt x="200" y="11"/>
                  </a:cubicBezTo>
                  <a:cubicBezTo>
                    <a:pt x="200" y="13"/>
                    <a:pt x="199" y="15"/>
                    <a:pt x="196" y="16"/>
                  </a:cubicBezTo>
                  <a:cubicBezTo>
                    <a:pt x="195" y="16"/>
                    <a:pt x="195" y="16"/>
                    <a:pt x="195" y="16"/>
                  </a:cubicBezTo>
                  <a:cubicBezTo>
                    <a:pt x="195" y="17"/>
                    <a:pt x="195" y="19"/>
                    <a:pt x="194" y="20"/>
                  </a:cubicBezTo>
                  <a:cubicBezTo>
                    <a:pt x="194" y="20"/>
                    <a:pt x="194" y="20"/>
                    <a:pt x="194" y="20"/>
                  </a:cubicBezTo>
                  <a:cubicBezTo>
                    <a:pt x="194" y="21"/>
                    <a:pt x="194" y="21"/>
                    <a:pt x="194" y="22"/>
                  </a:cubicBezTo>
                  <a:cubicBezTo>
                    <a:pt x="194" y="22"/>
                    <a:pt x="194" y="22"/>
                    <a:pt x="193" y="23"/>
                  </a:cubicBezTo>
                  <a:cubicBezTo>
                    <a:pt x="193" y="23"/>
                    <a:pt x="193" y="24"/>
                    <a:pt x="193" y="24"/>
                  </a:cubicBezTo>
                  <a:cubicBezTo>
                    <a:pt x="193" y="25"/>
                    <a:pt x="193" y="25"/>
                    <a:pt x="193" y="25"/>
                  </a:cubicBezTo>
                  <a:cubicBezTo>
                    <a:pt x="193" y="27"/>
                    <a:pt x="193" y="28"/>
                    <a:pt x="194" y="30"/>
                  </a:cubicBezTo>
                  <a:cubicBezTo>
                    <a:pt x="195" y="32"/>
                    <a:pt x="195" y="33"/>
                    <a:pt x="196" y="33"/>
                  </a:cubicBezTo>
                  <a:cubicBezTo>
                    <a:pt x="197" y="34"/>
                    <a:pt x="197" y="34"/>
                    <a:pt x="198" y="34"/>
                  </a:cubicBezTo>
                  <a:cubicBezTo>
                    <a:pt x="200" y="35"/>
                    <a:pt x="202" y="37"/>
                    <a:pt x="200" y="41"/>
                  </a:cubicBezTo>
                  <a:cubicBezTo>
                    <a:pt x="200" y="42"/>
                    <a:pt x="200" y="42"/>
                    <a:pt x="200" y="43"/>
                  </a:cubicBezTo>
                  <a:cubicBezTo>
                    <a:pt x="198" y="48"/>
                    <a:pt x="198" y="48"/>
                    <a:pt x="198" y="48"/>
                  </a:cubicBezTo>
                  <a:cubicBezTo>
                    <a:pt x="198" y="48"/>
                    <a:pt x="198" y="48"/>
                    <a:pt x="198" y="49"/>
                  </a:cubicBezTo>
                  <a:cubicBezTo>
                    <a:pt x="196" y="52"/>
                    <a:pt x="193" y="53"/>
                    <a:pt x="191" y="53"/>
                  </a:cubicBezTo>
                  <a:cubicBezTo>
                    <a:pt x="190" y="53"/>
                    <a:pt x="189" y="54"/>
                    <a:pt x="189" y="54"/>
                  </a:cubicBezTo>
                  <a:cubicBezTo>
                    <a:pt x="188" y="54"/>
                    <a:pt x="188" y="54"/>
                    <a:pt x="188" y="54"/>
                  </a:cubicBezTo>
                  <a:cubicBezTo>
                    <a:pt x="188" y="54"/>
                    <a:pt x="188" y="54"/>
                    <a:pt x="188" y="54"/>
                  </a:cubicBezTo>
                  <a:cubicBezTo>
                    <a:pt x="187" y="54"/>
                    <a:pt x="187" y="54"/>
                    <a:pt x="187" y="54"/>
                  </a:cubicBezTo>
                  <a:cubicBezTo>
                    <a:pt x="187" y="55"/>
                    <a:pt x="187" y="55"/>
                    <a:pt x="187" y="55"/>
                  </a:cubicBezTo>
                  <a:cubicBezTo>
                    <a:pt x="186" y="56"/>
                    <a:pt x="186" y="56"/>
                    <a:pt x="186" y="56"/>
                  </a:cubicBezTo>
                  <a:cubicBezTo>
                    <a:pt x="185" y="57"/>
                    <a:pt x="185" y="58"/>
                    <a:pt x="183" y="59"/>
                  </a:cubicBezTo>
                  <a:cubicBezTo>
                    <a:pt x="182" y="59"/>
                    <a:pt x="181" y="59"/>
                    <a:pt x="180" y="59"/>
                  </a:cubicBezTo>
                  <a:cubicBezTo>
                    <a:pt x="178" y="59"/>
                    <a:pt x="177" y="58"/>
                    <a:pt x="175" y="58"/>
                  </a:cubicBezTo>
                  <a:cubicBezTo>
                    <a:pt x="174" y="57"/>
                    <a:pt x="174" y="57"/>
                    <a:pt x="173" y="57"/>
                  </a:cubicBezTo>
                  <a:cubicBezTo>
                    <a:pt x="172" y="57"/>
                    <a:pt x="171" y="57"/>
                    <a:pt x="169" y="56"/>
                  </a:cubicBezTo>
                  <a:cubicBezTo>
                    <a:pt x="165" y="55"/>
                    <a:pt x="165" y="55"/>
                    <a:pt x="165" y="55"/>
                  </a:cubicBezTo>
                  <a:cubicBezTo>
                    <a:pt x="164" y="55"/>
                    <a:pt x="164" y="55"/>
                    <a:pt x="164" y="55"/>
                  </a:cubicBezTo>
                  <a:cubicBezTo>
                    <a:pt x="164" y="55"/>
                    <a:pt x="164" y="55"/>
                    <a:pt x="164" y="55"/>
                  </a:cubicBezTo>
                  <a:cubicBezTo>
                    <a:pt x="163" y="55"/>
                    <a:pt x="162" y="54"/>
                    <a:pt x="160" y="54"/>
                  </a:cubicBezTo>
                  <a:cubicBezTo>
                    <a:pt x="160" y="54"/>
                    <a:pt x="160" y="54"/>
                    <a:pt x="160" y="54"/>
                  </a:cubicBezTo>
                  <a:cubicBezTo>
                    <a:pt x="159" y="54"/>
                    <a:pt x="157" y="53"/>
                    <a:pt x="156" y="53"/>
                  </a:cubicBezTo>
                  <a:cubicBezTo>
                    <a:pt x="156" y="53"/>
                    <a:pt x="155" y="53"/>
                    <a:pt x="154" y="53"/>
                  </a:cubicBezTo>
                  <a:cubicBezTo>
                    <a:pt x="154" y="53"/>
                    <a:pt x="154" y="53"/>
                    <a:pt x="153" y="53"/>
                  </a:cubicBezTo>
                  <a:cubicBezTo>
                    <a:pt x="152" y="53"/>
                    <a:pt x="150" y="53"/>
                    <a:pt x="149" y="54"/>
                  </a:cubicBezTo>
                  <a:cubicBezTo>
                    <a:pt x="148" y="54"/>
                    <a:pt x="148" y="54"/>
                    <a:pt x="148" y="54"/>
                  </a:cubicBezTo>
                  <a:cubicBezTo>
                    <a:pt x="147" y="55"/>
                    <a:pt x="147" y="55"/>
                    <a:pt x="146" y="55"/>
                  </a:cubicBezTo>
                  <a:cubicBezTo>
                    <a:pt x="146" y="55"/>
                    <a:pt x="145" y="55"/>
                    <a:pt x="144" y="55"/>
                  </a:cubicBezTo>
                  <a:cubicBezTo>
                    <a:pt x="144" y="55"/>
                    <a:pt x="144" y="55"/>
                    <a:pt x="143" y="55"/>
                  </a:cubicBezTo>
                  <a:cubicBezTo>
                    <a:pt x="143" y="55"/>
                    <a:pt x="142" y="55"/>
                    <a:pt x="142" y="55"/>
                  </a:cubicBezTo>
                  <a:cubicBezTo>
                    <a:pt x="131" y="53"/>
                    <a:pt x="131" y="53"/>
                    <a:pt x="131" y="53"/>
                  </a:cubicBezTo>
                  <a:cubicBezTo>
                    <a:pt x="127" y="52"/>
                    <a:pt x="126" y="51"/>
                    <a:pt x="124" y="48"/>
                  </a:cubicBezTo>
                  <a:cubicBezTo>
                    <a:pt x="124" y="47"/>
                    <a:pt x="124" y="47"/>
                    <a:pt x="124" y="47"/>
                  </a:cubicBezTo>
                  <a:cubicBezTo>
                    <a:pt x="123" y="46"/>
                    <a:pt x="123" y="45"/>
                    <a:pt x="123" y="44"/>
                  </a:cubicBezTo>
                  <a:cubicBezTo>
                    <a:pt x="122" y="43"/>
                    <a:pt x="122" y="43"/>
                    <a:pt x="122" y="43"/>
                  </a:cubicBezTo>
                  <a:cubicBezTo>
                    <a:pt x="122" y="42"/>
                    <a:pt x="121" y="40"/>
                    <a:pt x="121" y="39"/>
                  </a:cubicBezTo>
                  <a:cubicBezTo>
                    <a:pt x="120" y="39"/>
                    <a:pt x="120" y="39"/>
                    <a:pt x="120" y="39"/>
                  </a:cubicBezTo>
                  <a:cubicBezTo>
                    <a:pt x="120" y="39"/>
                    <a:pt x="120" y="39"/>
                    <a:pt x="119" y="39"/>
                  </a:cubicBezTo>
                  <a:cubicBezTo>
                    <a:pt x="111" y="38"/>
                    <a:pt x="111" y="38"/>
                    <a:pt x="111" y="38"/>
                  </a:cubicBezTo>
                  <a:cubicBezTo>
                    <a:pt x="109" y="38"/>
                    <a:pt x="106" y="37"/>
                    <a:pt x="104" y="37"/>
                  </a:cubicBezTo>
                  <a:cubicBezTo>
                    <a:pt x="104" y="37"/>
                    <a:pt x="103" y="37"/>
                    <a:pt x="103" y="37"/>
                  </a:cubicBezTo>
                  <a:cubicBezTo>
                    <a:pt x="102" y="36"/>
                    <a:pt x="101" y="36"/>
                    <a:pt x="100" y="36"/>
                  </a:cubicBezTo>
                  <a:cubicBezTo>
                    <a:pt x="99" y="35"/>
                    <a:pt x="98" y="35"/>
                    <a:pt x="98" y="34"/>
                  </a:cubicBezTo>
                  <a:cubicBezTo>
                    <a:pt x="97" y="34"/>
                    <a:pt x="96" y="34"/>
                    <a:pt x="96" y="33"/>
                  </a:cubicBezTo>
                  <a:cubicBezTo>
                    <a:pt x="96" y="33"/>
                    <a:pt x="96" y="33"/>
                    <a:pt x="96" y="33"/>
                  </a:cubicBezTo>
                  <a:cubicBezTo>
                    <a:pt x="94" y="33"/>
                    <a:pt x="94" y="33"/>
                    <a:pt x="94" y="33"/>
                  </a:cubicBezTo>
                  <a:cubicBezTo>
                    <a:pt x="92" y="33"/>
                    <a:pt x="91" y="33"/>
                    <a:pt x="90" y="33"/>
                  </a:cubicBezTo>
                  <a:cubicBezTo>
                    <a:pt x="90" y="33"/>
                    <a:pt x="90" y="33"/>
                    <a:pt x="90" y="33"/>
                  </a:cubicBezTo>
                  <a:cubicBezTo>
                    <a:pt x="89" y="33"/>
                    <a:pt x="89" y="33"/>
                    <a:pt x="88" y="33"/>
                  </a:cubicBezTo>
                  <a:cubicBezTo>
                    <a:pt x="88" y="32"/>
                    <a:pt x="87" y="32"/>
                    <a:pt x="87" y="32"/>
                  </a:cubicBezTo>
                  <a:cubicBezTo>
                    <a:pt x="86" y="32"/>
                    <a:pt x="86" y="32"/>
                    <a:pt x="86" y="32"/>
                  </a:cubicBezTo>
                  <a:cubicBezTo>
                    <a:pt x="86" y="33"/>
                    <a:pt x="85" y="34"/>
                    <a:pt x="84" y="35"/>
                  </a:cubicBezTo>
                  <a:cubicBezTo>
                    <a:pt x="84" y="35"/>
                    <a:pt x="84" y="35"/>
                    <a:pt x="84" y="35"/>
                  </a:cubicBezTo>
                  <a:cubicBezTo>
                    <a:pt x="83" y="35"/>
                    <a:pt x="82" y="36"/>
                    <a:pt x="81" y="36"/>
                  </a:cubicBezTo>
                  <a:cubicBezTo>
                    <a:pt x="80" y="36"/>
                    <a:pt x="79" y="36"/>
                    <a:pt x="78" y="36"/>
                  </a:cubicBezTo>
                  <a:cubicBezTo>
                    <a:pt x="77" y="36"/>
                    <a:pt x="77" y="36"/>
                    <a:pt x="77" y="36"/>
                  </a:cubicBezTo>
                  <a:cubicBezTo>
                    <a:pt x="76" y="36"/>
                    <a:pt x="74" y="36"/>
                    <a:pt x="73" y="37"/>
                  </a:cubicBezTo>
                  <a:cubicBezTo>
                    <a:pt x="71" y="38"/>
                    <a:pt x="71" y="38"/>
                    <a:pt x="71" y="38"/>
                  </a:cubicBezTo>
                  <a:cubicBezTo>
                    <a:pt x="69" y="39"/>
                    <a:pt x="67" y="40"/>
                    <a:pt x="65" y="40"/>
                  </a:cubicBezTo>
                  <a:cubicBezTo>
                    <a:pt x="58" y="44"/>
                    <a:pt x="58" y="44"/>
                    <a:pt x="58" y="44"/>
                  </a:cubicBezTo>
                  <a:cubicBezTo>
                    <a:pt x="55" y="45"/>
                    <a:pt x="51" y="47"/>
                    <a:pt x="48" y="49"/>
                  </a:cubicBezTo>
                  <a:cubicBezTo>
                    <a:pt x="48" y="49"/>
                    <a:pt x="47" y="50"/>
                    <a:pt x="47" y="50"/>
                  </a:cubicBezTo>
                  <a:cubicBezTo>
                    <a:pt x="44" y="51"/>
                    <a:pt x="44" y="51"/>
                    <a:pt x="44" y="51"/>
                  </a:cubicBezTo>
                  <a:cubicBezTo>
                    <a:pt x="44" y="52"/>
                    <a:pt x="43" y="52"/>
                    <a:pt x="42" y="53"/>
                  </a:cubicBezTo>
                  <a:cubicBezTo>
                    <a:pt x="37" y="56"/>
                    <a:pt x="37" y="56"/>
                    <a:pt x="37" y="56"/>
                  </a:cubicBezTo>
                  <a:cubicBezTo>
                    <a:pt x="37" y="56"/>
                    <a:pt x="37" y="57"/>
                    <a:pt x="37" y="58"/>
                  </a:cubicBezTo>
                  <a:cubicBezTo>
                    <a:pt x="37" y="59"/>
                    <a:pt x="35" y="60"/>
                    <a:pt x="34" y="61"/>
                  </a:cubicBezTo>
                  <a:cubicBezTo>
                    <a:pt x="29" y="63"/>
                    <a:pt x="25" y="64"/>
                    <a:pt x="21" y="65"/>
                  </a:cubicBezTo>
                  <a:cubicBezTo>
                    <a:pt x="16" y="65"/>
                    <a:pt x="16" y="65"/>
                    <a:pt x="16" y="65"/>
                  </a:cubicBezTo>
                  <a:cubicBezTo>
                    <a:pt x="16" y="65"/>
                    <a:pt x="15" y="65"/>
                    <a:pt x="15" y="66"/>
                  </a:cubicBezTo>
                  <a:cubicBezTo>
                    <a:pt x="13" y="66"/>
                    <a:pt x="13" y="66"/>
                    <a:pt x="12" y="66"/>
                  </a:cubicBezTo>
                  <a:cubicBezTo>
                    <a:pt x="11" y="66"/>
                    <a:pt x="11" y="66"/>
                    <a:pt x="11" y="66"/>
                  </a:cubicBezTo>
                  <a:cubicBezTo>
                    <a:pt x="11" y="66"/>
                    <a:pt x="10" y="66"/>
                    <a:pt x="10" y="66"/>
                  </a:cubicBezTo>
                  <a:cubicBezTo>
                    <a:pt x="9" y="66"/>
                    <a:pt x="9" y="66"/>
                    <a:pt x="9" y="66"/>
                  </a:cubicBezTo>
                  <a:cubicBezTo>
                    <a:pt x="9" y="66"/>
                    <a:pt x="9" y="66"/>
                    <a:pt x="9" y="66"/>
                  </a:cubicBezTo>
                  <a:cubicBezTo>
                    <a:pt x="8" y="66"/>
                    <a:pt x="8" y="66"/>
                    <a:pt x="8" y="66"/>
                  </a:cubicBezTo>
                  <a:cubicBezTo>
                    <a:pt x="8" y="67"/>
                    <a:pt x="8" y="67"/>
                    <a:pt x="8" y="67"/>
                  </a:cubicBezTo>
                  <a:cubicBezTo>
                    <a:pt x="8" y="67"/>
                    <a:pt x="8" y="67"/>
                    <a:pt x="8" y="67"/>
                  </a:cubicBezTo>
                  <a:cubicBezTo>
                    <a:pt x="9" y="70"/>
                    <a:pt x="9" y="70"/>
                    <a:pt x="9" y="70"/>
                  </a:cubicBezTo>
                  <a:cubicBezTo>
                    <a:pt x="8" y="69"/>
                    <a:pt x="8" y="69"/>
                    <a:pt x="8" y="69"/>
                  </a:cubicBezTo>
                  <a:cubicBezTo>
                    <a:pt x="8" y="69"/>
                    <a:pt x="8" y="69"/>
                    <a:pt x="8" y="69"/>
                  </a:cubicBezTo>
                  <a:cubicBezTo>
                    <a:pt x="7" y="70"/>
                    <a:pt x="7" y="70"/>
                    <a:pt x="7" y="70"/>
                  </a:cubicBezTo>
                  <a:cubicBezTo>
                    <a:pt x="5" y="71"/>
                    <a:pt x="5" y="71"/>
                    <a:pt x="5" y="71"/>
                  </a:cubicBezTo>
                  <a:cubicBezTo>
                    <a:pt x="2" y="72"/>
                    <a:pt x="2" y="72"/>
                    <a:pt x="2" y="72"/>
                  </a:cubicBezTo>
                  <a:cubicBezTo>
                    <a:pt x="3" y="74"/>
                    <a:pt x="3" y="74"/>
                    <a:pt x="3" y="74"/>
                  </a:cubicBezTo>
                  <a:cubicBezTo>
                    <a:pt x="2" y="74"/>
                    <a:pt x="2" y="74"/>
                    <a:pt x="2" y="74"/>
                  </a:cubicBezTo>
                  <a:cubicBezTo>
                    <a:pt x="2" y="75"/>
                    <a:pt x="1" y="76"/>
                    <a:pt x="1" y="76"/>
                  </a:cubicBezTo>
                  <a:cubicBezTo>
                    <a:pt x="1" y="77"/>
                    <a:pt x="0" y="78"/>
                    <a:pt x="0" y="78"/>
                  </a:cubicBezTo>
                  <a:cubicBezTo>
                    <a:pt x="1" y="79"/>
                    <a:pt x="1" y="79"/>
                    <a:pt x="1" y="79"/>
                  </a:cubicBezTo>
                  <a:cubicBezTo>
                    <a:pt x="1" y="79"/>
                    <a:pt x="1" y="79"/>
                    <a:pt x="2" y="79"/>
                  </a:cubicBezTo>
                  <a:cubicBezTo>
                    <a:pt x="4" y="80"/>
                    <a:pt x="6" y="81"/>
                    <a:pt x="6" y="83"/>
                  </a:cubicBezTo>
                  <a:cubicBezTo>
                    <a:pt x="6" y="84"/>
                    <a:pt x="6" y="84"/>
                    <a:pt x="6" y="85"/>
                  </a:cubicBezTo>
                  <a:cubicBezTo>
                    <a:pt x="6" y="85"/>
                    <a:pt x="6" y="85"/>
                    <a:pt x="6" y="85"/>
                  </a:cubicBezTo>
                  <a:cubicBezTo>
                    <a:pt x="7" y="85"/>
                    <a:pt x="7" y="85"/>
                    <a:pt x="7" y="85"/>
                  </a:cubicBezTo>
                  <a:cubicBezTo>
                    <a:pt x="7" y="86"/>
                    <a:pt x="7" y="86"/>
                    <a:pt x="7" y="86"/>
                  </a:cubicBezTo>
                  <a:cubicBezTo>
                    <a:pt x="7" y="85"/>
                    <a:pt x="7" y="85"/>
                    <a:pt x="7" y="85"/>
                  </a:cubicBezTo>
                  <a:cubicBezTo>
                    <a:pt x="8" y="86"/>
                    <a:pt x="9" y="86"/>
                    <a:pt x="9" y="86"/>
                  </a:cubicBezTo>
                  <a:cubicBezTo>
                    <a:pt x="12" y="87"/>
                    <a:pt x="15" y="89"/>
                    <a:pt x="16" y="91"/>
                  </a:cubicBezTo>
                  <a:cubicBezTo>
                    <a:pt x="17" y="94"/>
                    <a:pt x="19" y="95"/>
                    <a:pt x="21" y="96"/>
                  </a:cubicBezTo>
                  <a:cubicBezTo>
                    <a:pt x="22" y="97"/>
                    <a:pt x="22" y="97"/>
                    <a:pt x="22" y="97"/>
                  </a:cubicBezTo>
                  <a:cubicBezTo>
                    <a:pt x="23" y="97"/>
                    <a:pt x="23" y="97"/>
                    <a:pt x="23" y="97"/>
                  </a:cubicBezTo>
                  <a:cubicBezTo>
                    <a:pt x="23" y="97"/>
                    <a:pt x="23" y="97"/>
                    <a:pt x="24" y="97"/>
                  </a:cubicBezTo>
                  <a:cubicBezTo>
                    <a:pt x="24" y="98"/>
                    <a:pt x="24" y="98"/>
                    <a:pt x="25" y="98"/>
                  </a:cubicBezTo>
                  <a:cubicBezTo>
                    <a:pt x="26" y="98"/>
                    <a:pt x="26" y="98"/>
                    <a:pt x="27" y="97"/>
                  </a:cubicBezTo>
                  <a:cubicBezTo>
                    <a:pt x="28" y="97"/>
                    <a:pt x="29" y="97"/>
                    <a:pt x="30" y="97"/>
                  </a:cubicBezTo>
                  <a:cubicBezTo>
                    <a:pt x="31" y="97"/>
                    <a:pt x="33" y="98"/>
                    <a:pt x="34" y="98"/>
                  </a:cubicBezTo>
                  <a:cubicBezTo>
                    <a:pt x="34" y="99"/>
                    <a:pt x="34" y="99"/>
                    <a:pt x="34" y="99"/>
                  </a:cubicBezTo>
                  <a:cubicBezTo>
                    <a:pt x="36" y="101"/>
                    <a:pt x="37" y="102"/>
                    <a:pt x="39" y="102"/>
                  </a:cubicBezTo>
                  <a:cubicBezTo>
                    <a:pt x="39" y="102"/>
                    <a:pt x="40" y="101"/>
                    <a:pt x="40" y="101"/>
                  </a:cubicBezTo>
                  <a:cubicBezTo>
                    <a:pt x="40" y="101"/>
                    <a:pt x="40" y="101"/>
                    <a:pt x="40" y="101"/>
                  </a:cubicBezTo>
                  <a:cubicBezTo>
                    <a:pt x="44" y="101"/>
                    <a:pt x="46" y="103"/>
                    <a:pt x="47" y="105"/>
                  </a:cubicBezTo>
                  <a:cubicBezTo>
                    <a:pt x="47" y="105"/>
                    <a:pt x="47" y="105"/>
                    <a:pt x="47" y="105"/>
                  </a:cubicBezTo>
                  <a:cubicBezTo>
                    <a:pt x="48" y="106"/>
                    <a:pt x="48" y="106"/>
                    <a:pt x="48" y="106"/>
                  </a:cubicBezTo>
                  <a:cubicBezTo>
                    <a:pt x="50" y="108"/>
                    <a:pt x="51" y="111"/>
                    <a:pt x="51" y="113"/>
                  </a:cubicBezTo>
                  <a:cubicBezTo>
                    <a:pt x="52" y="114"/>
                    <a:pt x="52" y="114"/>
                    <a:pt x="52" y="114"/>
                  </a:cubicBezTo>
                  <a:cubicBezTo>
                    <a:pt x="52" y="115"/>
                    <a:pt x="53" y="116"/>
                    <a:pt x="54" y="118"/>
                  </a:cubicBezTo>
                  <a:cubicBezTo>
                    <a:pt x="62" y="129"/>
                    <a:pt x="62" y="129"/>
                    <a:pt x="62" y="129"/>
                  </a:cubicBezTo>
                  <a:cubicBezTo>
                    <a:pt x="63" y="131"/>
                    <a:pt x="62" y="134"/>
                    <a:pt x="62" y="136"/>
                  </a:cubicBezTo>
                  <a:cubicBezTo>
                    <a:pt x="62" y="136"/>
                    <a:pt x="62" y="136"/>
                    <a:pt x="62" y="136"/>
                  </a:cubicBezTo>
                  <a:cubicBezTo>
                    <a:pt x="62" y="139"/>
                    <a:pt x="62" y="142"/>
                    <a:pt x="62" y="145"/>
                  </a:cubicBezTo>
                  <a:cubicBezTo>
                    <a:pt x="62" y="145"/>
                    <a:pt x="62" y="145"/>
                    <a:pt x="62" y="145"/>
                  </a:cubicBezTo>
                  <a:cubicBezTo>
                    <a:pt x="62" y="146"/>
                    <a:pt x="62" y="146"/>
                    <a:pt x="62" y="146"/>
                  </a:cubicBezTo>
                  <a:cubicBezTo>
                    <a:pt x="62" y="147"/>
                    <a:pt x="62" y="148"/>
                    <a:pt x="62" y="148"/>
                  </a:cubicBezTo>
                  <a:cubicBezTo>
                    <a:pt x="62" y="149"/>
                    <a:pt x="62" y="149"/>
                    <a:pt x="61" y="150"/>
                  </a:cubicBezTo>
                  <a:cubicBezTo>
                    <a:pt x="61" y="151"/>
                    <a:pt x="60" y="152"/>
                    <a:pt x="59" y="153"/>
                  </a:cubicBezTo>
                  <a:cubicBezTo>
                    <a:pt x="59" y="155"/>
                    <a:pt x="59" y="155"/>
                    <a:pt x="59" y="155"/>
                  </a:cubicBezTo>
                  <a:cubicBezTo>
                    <a:pt x="58" y="156"/>
                    <a:pt x="58" y="156"/>
                    <a:pt x="57" y="157"/>
                  </a:cubicBezTo>
                  <a:cubicBezTo>
                    <a:pt x="56" y="159"/>
                    <a:pt x="56" y="159"/>
                    <a:pt x="56" y="160"/>
                  </a:cubicBezTo>
                  <a:cubicBezTo>
                    <a:pt x="57" y="162"/>
                    <a:pt x="58" y="163"/>
                    <a:pt x="59" y="164"/>
                  </a:cubicBezTo>
                  <a:cubicBezTo>
                    <a:pt x="60" y="165"/>
                    <a:pt x="60" y="165"/>
                    <a:pt x="60" y="165"/>
                  </a:cubicBezTo>
                  <a:cubicBezTo>
                    <a:pt x="60" y="165"/>
                    <a:pt x="60" y="165"/>
                    <a:pt x="60" y="165"/>
                  </a:cubicBezTo>
                  <a:cubicBezTo>
                    <a:pt x="63" y="166"/>
                    <a:pt x="65" y="166"/>
                    <a:pt x="68" y="166"/>
                  </a:cubicBezTo>
                  <a:cubicBezTo>
                    <a:pt x="72" y="167"/>
                    <a:pt x="76" y="167"/>
                    <a:pt x="79" y="167"/>
                  </a:cubicBezTo>
                  <a:cubicBezTo>
                    <a:pt x="86" y="168"/>
                    <a:pt x="94" y="168"/>
                    <a:pt x="101" y="169"/>
                  </a:cubicBezTo>
                  <a:cubicBezTo>
                    <a:pt x="104" y="170"/>
                    <a:pt x="104" y="170"/>
                    <a:pt x="104" y="170"/>
                  </a:cubicBezTo>
                  <a:cubicBezTo>
                    <a:pt x="105" y="170"/>
                    <a:pt x="108" y="170"/>
                    <a:pt x="110" y="171"/>
                  </a:cubicBezTo>
                  <a:cubicBezTo>
                    <a:pt x="123" y="179"/>
                    <a:pt x="123" y="179"/>
                    <a:pt x="123" y="179"/>
                  </a:cubicBezTo>
                  <a:cubicBezTo>
                    <a:pt x="124" y="180"/>
                    <a:pt x="125" y="180"/>
                    <a:pt x="126" y="181"/>
                  </a:cubicBezTo>
                  <a:cubicBezTo>
                    <a:pt x="129" y="183"/>
                    <a:pt x="132" y="185"/>
                    <a:pt x="135" y="186"/>
                  </a:cubicBezTo>
                  <a:cubicBezTo>
                    <a:pt x="136" y="186"/>
                    <a:pt x="137" y="186"/>
                    <a:pt x="138" y="186"/>
                  </a:cubicBezTo>
                  <a:cubicBezTo>
                    <a:pt x="139" y="186"/>
                    <a:pt x="140" y="186"/>
                    <a:pt x="141" y="186"/>
                  </a:cubicBezTo>
                  <a:cubicBezTo>
                    <a:pt x="146" y="185"/>
                    <a:pt x="146" y="185"/>
                    <a:pt x="146" y="185"/>
                  </a:cubicBezTo>
                  <a:cubicBezTo>
                    <a:pt x="146" y="189"/>
                    <a:pt x="146" y="189"/>
                    <a:pt x="146" y="189"/>
                  </a:cubicBezTo>
                  <a:cubicBezTo>
                    <a:pt x="146" y="190"/>
                    <a:pt x="145" y="190"/>
                    <a:pt x="145" y="191"/>
                  </a:cubicBezTo>
                  <a:cubicBezTo>
                    <a:pt x="145" y="192"/>
                    <a:pt x="145" y="192"/>
                    <a:pt x="145" y="192"/>
                  </a:cubicBezTo>
                  <a:cubicBezTo>
                    <a:pt x="146" y="190"/>
                    <a:pt x="146" y="190"/>
                    <a:pt x="146" y="190"/>
                  </a:cubicBezTo>
                  <a:cubicBezTo>
                    <a:pt x="146" y="193"/>
                    <a:pt x="146" y="193"/>
                    <a:pt x="146" y="193"/>
                  </a:cubicBezTo>
                  <a:cubicBezTo>
                    <a:pt x="146" y="193"/>
                    <a:pt x="146" y="193"/>
                    <a:pt x="146" y="193"/>
                  </a:cubicBezTo>
                  <a:cubicBezTo>
                    <a:pt x="147" y="194"/>
                    <a:pt x="148" y="195"/>
                    <a:pt x="149" y="196"/>
                  </a:cubicBezTo>
                  <a:cubicBezTo>
                    <a:pt x="149" y="198"/>
                    <a:pt x="149" y="198"/>
                    <a:pt x="149" y="198"/>
                  </a:cubicBezTo>
                  <a:cubicBezTo>
                    <a:pt x="150" y="199"/>
                    <a:pt x="150" y="199"/>
                    <a:pt x="150" y="200"/>
                  </a:cubicBezTo>
                  <a:cubicBezTo>
                    <a:pt x="154" y="209"/>
                    <a:pt x="154" y="209"/>
                    <a:pt x="154" y="209"/>
                  </a:cubicBezTo>
                  <a:cubicBezTo>
                    <a:pt x="155" y="212"/>
                    <a:pt x="157" y="214"/>
                    <a:pt x="159" y="216"/>
                  </a:cubicBezTo>
                  <a:cubicBezTo>
                    <a:pt x="160" y="217"/>
                    <a:pt x="161" y="217"/>
                    <a:pt x="161" y="218"/>
                  </a:cubicBezTo>
                  <a:cubicBezTo>
                    <a:pt x="162" y="219"/>
                    <a:pt x="162" y="219"/>
                    <a:pt x="162" y="219"/>
                  </a:cubicBezTo>
                  <a:cubicBezTo>
                    <a:pt x="162" y="219"/>
                    <a:pt x="162" y="219"/>
                    <a:pt x="162" y="219"/>
                  </a:cubicBezTo>
                  <a:cubicBezTo>
                    <a:pt x="162" y="219"/>
                    <a:pt x="162" y="219"/>
                    <a:pt x="163" y="220"/>
                  </a:cubicBezTo>
                  <a:cubicBezTo>
                    <a:pt x="163" y="220"/>
                    <a:pt x="164" y="221"/>
                    <a:pt x="164" y="222"/>
                  </a:cubicBezTo>
                  <a:cubicBezTo>
                    <a:pt x="164" y="222"/>
                    <a:pt x="164" y="222"/>
                    <a:pt x="164" y="222"/>
                  </a:cubicBezTo>
                  <a:cubicBezTo>
                    <a:pt x="168" y="222"/>
                    <a:pt x="168" y="222"/>
                    <a:pt x="168" y="222"/>
                  </a:cubicBezTo>
                  <a:cubicBezTo>
                    <a:pt x="170" y="221"/>
                    <a:pt x="171" y="221"/>
                    <a:pt x="173" y="221"/>
                  </a:cubicBezTo>
                  <a:cubicBezTo>
                    <a:pt x="174" y="221"/>
                    <a:pt x="175" y="221"/>
                    <a:pt x="176" y="221"/>
                  </a:cubicBezTo>
                  <a:cubicBezTo>
                    <a:pt x="180" y="221"/>
                    <a:pt x="183" y="222"/>
                    <a:pt x="186" y="222"/>
                  </a:cubicBezTo>
                  <a:cubicBezTo>
                    <a:pt x="189" y="223"/>
                    <a:pt x="189" y="223"/>
                    <a:pt x="189" y="223"/>
                  </a:cubicBezTo>
                  <a:cubicBezTo>
                    <a:pt x="190" y="223"/>
                    <a:pt x="191" y="223"/>
                    <a:pt x="192" y="223"/>
                  </a:cubicBezTo>
                  <a:cubicBezTo>
                    <a:pt x="195" y="223"/>
                    <a:pt x="195" y="223"/>
                    <a:pt x="195" y="223"/>
                  </a:cubicBezTo>
                  <a:cubicBezTo>
                    <a:pt x="196" y="224"/>
                    <a:pt x="197" y="224"/>
                    <a:pt x="199" y="224"/>
                  </a:cubicBezTo>
                  <a:cubicBezTo>
                    <a:pt x="206" y="225"/>
                    <a:pt x="214" y="225"/>
                    <a:pt x="222" y="225"/>
                  </a:cubicBezTo>
                  <a:cubicBezTo>
                    <a:pt x="223" y="225"/>
                    <a:pt x="223" y="225"/>
                    <a:pt x="223" y="225"/>
                  </a:cubicBezTo>
                  <a:cubicBezTo>
                    <a:pt x="223" y="225"/>
                    <a:pt x="223" y="225"/>
                    <a:pt x="223" y="225"/>
                  </a:cubicBezTo>
                  <a:cubicBezTo>
                    <a:pt x="224" y="225"/>
                    <a:pt x="225" y="225"/>
                    <a:pt x="226" y="224"/>
                  </a:cubicBezTo>
                  <a:cubicBezTo>
                    <a:pt x="227" y="224"/>
                    <a:pt x="229" y="223"/>
                    <a:pt x="231" y="223"/>
                  </a:cubicBezTo>
                  <a:cubicBezTo>
                    <a:pt x="231" y="223"/>
                    <a:pt x="231" y="223"/>
                    <a:pt x="231" y="223"/>
                  </a:cubicBezTo>
                  <a:cubicBezTo>
                    <a:pt x="232" y="223"/>
                    <a:pt x="232" y="223"/>
                    <a:pt x="232" y="223"/>
                  </a:cubicBezTo>
                  <a:cubicBezTo>
                    <a:pt x="232" y="223"/>
                    <a:pt x="233" y="223"/>
                    <a:pt x="234" y="224"/>
                  </a:cubicBezTo>
                  <a:cubicBezTo>
                    <a:pt x="260" y="228"/>
                    <a:pt x="260" y="228"/>
                    <a:pt x="260" y="228"/>
                  </a:cubicBezTo>
                  <a:cubicBezTo>
                    <a:pt x="260" y="228"/>
                    <a:pt x="261" y="228"/>
                    <a:pt x="261" y="228"/>
                  </a:cubicBezTo>
                  <a:cubicBezTo>
                    <a:pt x="263" y="228"/>
                    <a:pt x="265" y="228"/>
                    <a:pt x="266" y="229"/>
                  </a:cubicBezTo>
                  <a:cubicBezTo>
                    <a:pt x="267" y="230"/>
                    <a:pt x="267" y="230"/>
                    <a:pt x="268" y="231"/>
                  </a:cubicBezTo>
                  <a:cubicBezTo>
                    <a:pt x="268" y="231"/>
                    <a:pt x="269" y="233"/>
                    <a:pt x="270" y="234"/>
                  </a:cubicBezTo>
                  <a:cubicBezTo>
                    <a:pt x="270" y="234"/>
                    <a:pt x="270" y="234"/>
                    <a:pt x="270" y="234"/>
                  </a:cubicBezTo>
                  <a:cubicBezTo>
                    <a:pt x="270" y="234"/>
                    <a:pt x="270" y="234"/>
                    <a:pt x="270" y="234"/>
                  </a:cubicBezTo>
                  <a:cubicBezTo>
                    <a:pt x="279" y="236"/>
                    <a:pt x="279" y="236"/>
                    <a:pt x="279" y="236"/>
                  </a:cubicBezTo>
                  <a:cubicBezTo>
                    <a:pt x="282" y="237"/>
                    <a:pt x="285" y="238"/>
                    <a:pt x="287" y="238"/>
                  </a:cubicBezTo>
                  <a:cubicBezTo>
                    <a:pt x="290" y="239"/>
                    <a:pt x="293" y="240"/>
                    <a:pt x="295" y="241"/>
                  </a:cubicBezTo>
                  <a:cubicBezTo>
                    <a:pt x="297" y="242"/>
                    <a:pt x="299" y="243"/>
                    <a:pt x="301" y="243"/>
                  </a:cubicBezTo>
                  <a:cubicBezTo>
                    <a:pt x="302" y="243"/>
                    <a:pt x="303" y="243"/>
                    <a:pt x="304" y="243"/>
                  </a:cubicBezTo>
                  <a:cubicBezTo>
                    <a:pt x="305" y="243"/>
                    <a:pt x="306" y="243"/>
                    <a:pt x="307" y="243"/>
                  </a:cubicBezTo>
                  <a:cubicBezTo>
                    <a:pt x="307" y="243"/>
                    <a:pt x="307" y="243"/>
                    <a:pt x="308" y="243"/>
                  </a:cubicBezTo>
                  <a:cubicBezTo>
                    <a:pt x="308" y="243"/>
                    <a:pt x="308" y="243"/>
                    <a:pt x="308" y="243"/>
                  </a:cubicBezTo>
                  <a:cubicBezTo>
                    <a:pt x="309" y="243"/>
                    <a:pt x="311" y="242"/>
                    <a:pt x="313" y="242"/>
                  </a:cubicBezTo>
                  <a:cubicBezTo>
                    <a:pt x="316" y="242"/>
                    <a:pt x="317" y="243"/>
                    <a:pt x="317" y="244"/>
                  </a:cubicBezTo>
                  <a:cubicBezTo>
                    <a:pt x="318" y="245"/>
                    <a:pt x="318" y="245"/>
                    <a:pt x="318" y="245"/>
                  </a:cubicBezTo>
                  <a:cubicBezTo>
                    <a:pt x="318" y="245"/>
                    <a:pt x="318" y="245"/>
                    <a:pt x="318" y="245"/>
                  </a:cubicBezTo>
                  <a:cubicBezTo>
                    <a:pt x="319" y="246"/>
                    <a:pt x="319" y="246"/>
                    <a:pt x="319" y="246"/>
                  </a:cubicBezTo>
                  <a:cubicBezTo>
                    <a:pt x="319" y="247"/>
                    <a:pt x="319" y="247"/>
                    <a:pt x="319" y="247"/>
                  </a:cubicBezTo>
                  <a:cubicBezTo>
                    <a:pt x="319" y="247"/>
                    <a:pt x="319" y="247"/>
                    <a:pt x="319" y="247"/>
                  </a:cubicBezTo>
                  <a:cubicBezTo>
                    <a:pt x="320" y="247"/>
                    <a:pt x="320" y="247"/>
                    <a:pt x="320" y="247"/>
                  </a:cubicBezTo>
                  <a:cubicBezTo>
                    <a:pt x="321" y="247"/>
                    <a:pt x="321" y="247"/>
                    <a:pt x="321" y="247"/>
                  </a:cubicBezTo>
                  <a:cubicBezTo>
                    <a:pt x="322" y="247"/>
                    <a:pt x="324" y="248"/>
                    <a:pt x="325" y="248"/>
                  </a:cubicBezTo>
                  <a:cubicBezTo>
                    <a:pt x="325" y="248"/>
                    <a:pt x="325" y="248"/>
                    <a:pt x="325" y="248"/>
                  </a:cubicBezTo>
                  <a:cubicBezTo>
                    <a:pt x="326" y="248"/>
                    <a:pt x="326" y="248"/>
                    <a:pt x="326" y="248"/>
                  </a:cubicBezTo>
                  <a:cubicBezTo>
                    <a:pt x="327" y="246"/>
                    <a:pt x="329" y="245"/>
                    <a:pt x="330" y="244"/>
                  </a:cubicBezTo>
                  <a:cubicBezTo>
                    <a:pt x="333" y="243"/>
                    <a:pt x="337" y="241"/>
                    <a:pt x="340" y="240"/>
                  </a:cubicBezTo>
                  <a:cubicBezTo>
                    <a:pt x="341" y="240"/>
                    <a:pt x="343" y="239"/>
                    <a:pt x="344" y="238"/>
                  </a:cubicBezTo>
                  <a:cubicBezTo>
                    <a:pt x="347" y="237"/>
                    <a:pt x="347" y="237"/>
                    <a:pt x="347" y="237"/>
                  </a:cubicBezTo>
                  <a:cubicBezTo>
                    <a:pt x="349" y="236"/>
                    <a:pt x="353" y="235"/>
                    <a:pt x="356" y="233"/>
                  </a:cubicBezTo>
                  <a:cubicBezTo>
                    <a:pt x="355" y="230"/>
                    <a:pt x="355" y="230"/>
                    <a:pt x="355" y="230"/>
                  </a:cubicBezTo>
                  <a:cubicBezTo>
                    <a:pt x="357" y="233"/>
                    <a:pt x="357" y="233"/>
                    <a:pt x="357" y="233"/>
                  </a:cubicBezTo>
                  <a:cubicBezTo>
                    <a:pt x="358" y="233"/>
                    <a:pt x="358" y="233"/>
                    <a:pt x="358" y="233"/>
                  </a:cubicBezTo>
                  <a:cubicBezTo>
                    <a:pt x="358" y="233"/>
                    <a:pt x="359" y="232"/>
                    <a:pt x="359" y="232"/>
                  </a:cubicBezTo>
                  <a:cubicBezTo>
                    <a:pt x="363" y="231"/>
                    <a:pt x="368" y="231"/>
                    <a:pt x="372" y="230"/>
                  </a:cubicBezTo>
                  <a:cubicBezTo>
                    <a:pt x="374" y="230"/>
                    <a:pt x="376" y="230"/>
                    <a:pt x="378" y="230"/>
                  </a:cubicBezTo>
                  <a:cubicBezTo>
                    <a:pt x="383" y="229"/>
                    <a:pt x="383" y="229"/>
                    <a:pt x="383" y="229"/>
                  </a:cubicBezTo>
                  <a:cubicBezTo>
                    <a:pt x="386" y="229"/>
                    <a:pt x="389" y="229"/>
                    <a:pt x="391" y="229"/>
                  </a:cubicBezTo>
                  <a:cubicBezTo>
                    <a:pt x="396" y="229"/>
                    <a:pt x="396" y="229"/>
                    <a:pt x="396" y="229"/>
                  </a:cubicBezTo>
                  <a:cubicBezTo>
                    <a:pt x="396" y="229"/>
                    <a:pt x="397" y="229"/>
                    <a:pt x="398" y="229"/>
                  </a:cubicBezTo>
                  <a:cubicBezTo>
                    <a:pt x="399" y="229"/>
                    <a:pt x="399" y="229"/>
                    <a:pt x="399" y="229"/>
                  </a:cubicBezTo>
                  <a:cubicBezTo>
                    <a:pt x="400" y="229"/>
                    <a:pt x="401" y="229"/>
                    <a:pt x="402" y="229"/>
                  </a:cubicBezTo>
                  <a:cubicBezTo>
                    <a:pt x="403" y="229"/>
                    <a:pt x="404" y="229"/>
                    <a:pt x="405" y="229"/>
                  </a:cubicBezTo>
                  <a:cubicBezTo>
                    <a:pt x="407" y="229"/>
                    <a:pt x="410" y="229"/>
                    <a:pt x="412" y="228"/>
                  </a:cubicBezTo>
                  <a:cubicBezTo>
                    <a:pt x="413" y="227"/>
                    <a:pt x="415" y="227"/>
                    <a:pt x="417" y="226"/>
                  </a:cubicBezTo>
                  <a:cubicBezTo>
                    <a:pt x="419" y="225"/>
                    <a:pt x="419" y="225"/>
                    <a:pt x="419" y="225"/>
                  </a:cubicBezTo>
                  <a:cubicBezTo>
                    <a:pt x="422" y="224"/>
                    <a:pt x="422" y="224"/>
                    <a:pt x="422" y="224"/>
                  </a:cubicBezTo>
                  <a:cubicBezTo>
                    <a:pt x="424" y="223"/>
                    <a:pt x="425" y="222"/>
                    <a:pt x="427" y="221"/>
                  </a:cubicBezTo>
                  <a:cubicBezTo>
                    <a:pt x="428" y="221"/>
                    <a:pt x="429" y="220"/>
                    <a:pt x="431" y="219"/>
                  </a:cubicBezTo>
                  <a:cubicBezTo>
                    <a:pt x="431" y="218"/>
                    <a:pt x="432" y="217"/>
                    <a:pt x="432" y="216"/>
                  </a:cubicBezTo>
                  <a:cubicBezTo>
                    <a:pt x="433" y="216"/>
                    <a:pt x="433" y="216"/>
                    <a:pt x="433" y="216"/>
                  </a:cubicBezTo>
                  <a:cubicBezTo>
                    <a:pt x="434" y="214"/>
                    <a:pt x="436" y="211"/>
                    <a:pt x="439" y="209"/>
                  </a:cubicBezTo>
                  <a:cubicBezTo>
                    <a:pt x="441" y="208"/>
                    <a:pt x="444" y="207"/>
                    <a:pt x="446" y="205"/>
                  </a:cubicBezTo>
                  <a:cubicBezTo>
                    <a:pt x="447" y="205"/>
                    <a:pt x="447" y="205"/>
                    <a:pt x="447" y="205"/>
                  </a:cubicBezTo>
                  <a:cubicBezTo>
                    <a:pt x="450" y="203"/>
                    <a:pt x="453" y="202"/>
                    <a:pt x="455" y="200"/>
                  </a:cubicBezTo>
                  <a:cubicBezTo>
                    <a:pt x="456" y="200"/>
                    <a:pt x="456" y="200"/>
                    <a:pt x="456" y="199"/>
                  </a:cubicBezTo>
                  <a:cubicBezTo>
                    <a:pt x="456" y="199"/>
                    <a:pt x="456" y="199"/>
                    <a:pt x="456" y="199"/>
                  </a:cubicBezTo>
                  <a:cubicBezTo>
                    <a:pt x="456" y="199"/>
                    <a:pt x="456" y="199"/>
                    <a:pt x="456" y="199"/>
                  </a:cubicBezTo>
                  <a:cubicBezTo>
                    <a:pt x="455" y="198"/>
                    <a:pt x="455" y="198"/>
                    <a:pt x="454" y="197"/>
                  </a:cubicBezTo>
                  <a:cubicBezTo>
                    <a:pt x="453" y="197"/>
                    <a:pt x="453" y="196"/>
                    <a:pt x="452" y="196"/>
                  </a:cubicBezTo>
                  <a:cubicBezTo>
                    <a:pt x="451" y="195"/>
                    <a:pt x="450" y="194"/>
                    <a:pt x="450" y="193"/>
                  </a:cubicBezTo>
                  <a:cubicBezTo>
                    <a:pt x="449" y="191"/>
                    <a:pt x="447" y="189"/>
                    <a:pt x="447" y="187"/>
                  </a:cubicBezTo>
                  <a:cubicBezTo>
                    <a:pt x="446" y="185"/>
                    <a:pt x="447" y="184"/>
                    <a:pt x="447" y="183"/>
                  </a:cubicBezTo>
                  <a:cubicBezTo>
                    <a:pt x="448" y="182"/>
                    <a:pt x="448" y="182"/>
                    <a:pt x="448" y="182"/>
                  </a:cubicBezTo>
                  <a:cubicBezTo>
                    <a:pt x="449" y="180"/>
                    <a:pt x="450" y="178"/>
                    <a:pt x="451" y="175"/>
                  </a:cubicBezTo>
                  <a:cubicBezTo>
                    <a:pt x="452" y="173"/>
                    <a:pt x="453" y="172"/>
                    <a:pt x="455" y="170"/>
                  </a:cubicBezTo>
                  <a:cubicBezTo>
                    <a:pt x="456" y="169"/>
                    <a:pt x="456" y="169"/>
                    <a:pt x="457" y="168"/>
                  </a:cubicBezTo>
                  <a:cubicBezTo>
                    <a:pt x="458" y="167"/>
                    <a:pt x="460" y="167"/>
                    <a:pt x="461" y="167"/>
                  </a:cubicBezTo>
                  <a:cubicBezTo>
                    <a:pt x="462" y="167"/>
                    <a:pt x="463" y="167"/>
                    <a:pt x="464" y="167"/>
                  </a:cubicBezTo>
                  <a:cubicBezTo>
                    <a:pt x="466" y="167"/>
                    <a:pt x="468" y="167"/>
                    <a:pt x="470" y="168"/>
                  </a:cubicBezTo>
                  <a:cubicBezTo>
                    <a:pt x="473" y="169"/>
                    <a:pt x="476" y="171"/>
                    <a:pt x="479" y="172"/>
                  </a:cubicBezTo>
                  <a:cubicBezTo>
                    <a:pt x="480" y="173"/>
                    <a:pt x="481" y="173"/>
                    <a:pt x="482" y="174"/>
                  </a:cubicBezTo>
                  <a:cubicBezTo>
                    <a:pt x="483" y="174"/>
                    <a:pt x="484" y="174"/>
                    <a:pt x="486" y="174"/>
                  </a:cubicBezTo>
                  <a:cubicBezTo>
                    <a:pt x="486" y="175"/>
                    <a:pt x="486" y="175"/>
                    <a:pt x="487" y="175"/>
                  </a:cubicBezTo>
                  <a:cubicBezTo>
                    <a:pt x="487" y="175"/>
                    <a:pt x="487" y="175"/>
                    <a:pt x="487" y="175"/>
                  </a:cubicBezTo>
                  <a:cubicBezTo>
                    <a:pt x="488" y="175"/>
                    <a:pt x="488" y="175"/>
                    <a:pt x="489" y="175"/>
                  </a:cubicBezTo>
                  <a:cubicBezTo>
                    <a:pt x="490" y="175"/>
                    <a:pt x="491" y="174"/>
                    <a:pt x="493" y="174"/>
                  </a:cubicBezTo>
                  <a:cubicBezTo>
                    <a:pt x="493" y="173"/>
                    <a:pt x="493" y="173"/>
                    <a:pt x="493" y="173"/>
                  </a:cubicBezTo>
                  <a:cubicBezTo>
                    <a:pt x="494" y="172"/>
                    <a:pt x="495" y="172"/>
                    <a:pt x="495" y="172"/>
                  </a:cubicBezTo>
                  <a:cubicBezTo>
                    <a:pt x="499" y="169"/>
                    <a:pt x="502" y="167"/>
                    <a:pt x="505" y="164"/>
                  </a:cubicBezTo>
                  <a:cubicBezTo>
                    <a:pt x="503" y="162"/>
                    <a:pt x="503" y="162"/>
                    <a:pt x="503" y="162"/>
                  </a:cubicBezTo>
                  <a:cubicBezTo>
                    <a:pt x="506" y="163"/>
                    <a:pt x="506" y="163"/>
                    <a:pt x="506" y="163"/>
                  </a:cubicBezTo>
                  <a:cubicBezTo>
                    <a:pt x="506" y="163"/>
                    <a:pt x="506" y="163"/>
                    <a:pt x="506" y="163"/>
                  </a:cubicBezTo>
                  <a:cubicBezTo>
                    <a:pt x="506" y="163"/>
                    <a:pt x="506" y="163"/>
                    <a:pt x="506" y="163"/>
                  </a:cubicBezTo>
                  <a:cubicBezTo>
                    <a:pt x="506" y="162"/>
                    <a:pt x="506" y="162"/>
                    <a:pt x="506" y="162"/>
                  </a:cubicBezTo>
                  <a:cubicBezTo>
                    <a:pt x="507" y="162"/>
                    <a:pt x="507" y="162"/>
                    <a:pt x="507" y="162"/>
                  </a:cubicBezTo>
                  <a:cubicBezTo>
                    <a:pt x="507" y="162"/>
                    <a:pt x="508" y="161"/>
                    <a:pt x="509" y="160"/>
                  </a:cubicBezTo>
                  <a:cubicBezTo>
                    <a:pt x="509" y="160"/>
                    <a:pt x="509" y="160"/>
                    <a:pt x="509" y="160"/>
                  </a:cubicBezTo>
                  <a:cubicBezTo>
                    <a:pt x="510" y="159"/>
                    <a:pt x="511" y="159"/>
                    <a:pt x="513" y="159"/>
                  </a:cubicBezTo>
                  <a:cubicBezTo>
                    <a:pt x="514" y="159"/>
                    <a:pt x="515" y="159"/>
                    <a:pt x="515" y="159"/>
                  </a:cubicBezTo>
                  <a:cubicBezTo>
                    <a:pt x="516" y="159"/>
                    <a:pt x="516" y="159"/>
                    <a:pt x="516" y="159"/>
                  </a:cubicBezTo>
                  <a:cubicBezTo>
                    <a:pt x="516" y="159"/>
                    <a:pt x="516" y="159"/>
                    <a:pt x="516" y="159"/>
                  </a:cubicBezTo>
                  <a:cubicBezTo>
                    <a:pt x="528" y="158"/>
                    <a:pt x="528" y="158"/>
                    <a:pt x="528" y="158"/>
                  </a:cubicBezTo>
                  <a:cubicBezTo>
                    <a:pt x="529" y="158"/>
                    <a:pt x="529" y="158"/>
                    <a:pt x="530" y="158"/>
                  </a:cubicBezTo>
                  <a:cubicBezTo>
                    <a:pt x="530" y="157"/>
                    <a:pt x="530" y="157"/>
                    <a:pt x="530" y="157"/>
                  </a:cubicBezTo>
                  <a:cubicBezTo>
                    <a:pt x="531" y="157"/>
                    <a:pt x="532" y="157"/>
                    <a:pt x="532" y="156"/>
                  </a:cubicBezTo>
                  <a:cubicBezTo>
                    <a:pt x="533" y="156"/>
                    <a:pt x="533" y="156"/>
                    <a:pt x="534" y="155"/>
                  </a:cubicBezTo>
                  <a:cubicBezTo>
                    <a:pt x="535" y="154"/>
                    <a:pt x="535" y="154"/>
                    <a:pt x="535" y="154"/>
                  </a:cubicBezTo>
                  <a:cubicBezTo>
                    <a:pt x="536" y="154"/>
                    <a:pt x="536" y="154"/>
                    <a:pt x="536" y="154"/>
                  </a:cubicBezTo>
                  <a:cubicBezTo>
                    <a:pt x="537" y="154"/>
                    <a:pt x="537" y="153"/>
                    <a:pt x="538" y="153"/>
                  </a:cubicBezTo>
                  <a:cubicBezTo>
                    <a:pt x="538" y="153"/>
                    <a:pt x="538" y="153"/>
                    <a:pt x="538" y="153"/>
                  </a:cubicBezTo>
                  <a:cubicBezTo>
                    <a:pt x="538" y="152"/>
                    <a:pt x="538" y="152"/>
                    <a:pt x="538" y="151"/>
                  </a:cubicBezTo>
                  <a:cubicBezTo>
                    <a:pt x="538" y="150"/>
                    <a:pt x="538" y="150"/>
                    <a:pt x="538" y="150"/>
                  </a:cubicBezTo>
                  <a:cubicBezTo>
                    <a:pt x="538" y="146"/>
                    <a:pt x="544" y="141"/>
                    <a:pt x="544" y="140"/>
                  </a:cubicBezTo>
                  <a:cubicBezTo>
                    <a:pt x="547" y="137"/>
                    <a:pt x="552" y="137"/>
                    <a:pt x="555" y="137"/>
                  </a:cubicBezTo>
                  <a:cubicBezTo>
                    <a:pt x="557" y="137"/>
                    <a:pt x="558" y="137"/>
                    <a:pt x="560" y="137"/>
                  </a:cubicBezTo>
                  <a:cubicBezTo>
                    <a:pt x="561" y="137"/>
                    <a:pt x="561" y="137"/>
                    <a:pt x="561" y="137"/>
                  </a:cubicBezTo>
                  <a:cubicBezTo>
                    <a:pt x="561" y="137"/>
                    <a:pt x="562" y="137"/>
                    <a:pt x="562" y="137"/>
                  </a:cubicBezTo>
                  <a:cubicBezTo>
                    <a:pt x="569" y="134"/>
                    <a:pt x="575" y="132"/>
                    <a:pt x="582" y="129"/>
                  </a:cubicBezTo>
                  <a:cubicBezTo>
                    <a:pt x="583" y="129"/>
                    <a:pt x="585" y="129"/>
                    <a:pt x="588" y="129"/>
                  </a:cubicBezTo>
                  <a:cubicBezTo>
                    <a:pt x="590" y="129"/>
                    <a:pt x="591" y="129"/>
                    <a:pt x="593" y="129"/>
                  </a:cubicBezTo>
                  <a:cubicBezTo>
                    <a:pt x="594" y="129"/>
                    <a:pt x="594" y="129"/>
                    <a:pt x="594" y="129"/>
                  </a:cubicBezTo>
                  <a:cubicBezTo>
                    <a:pt x="595" y="129"/>
                    <a:pt x="597" y="129"/>
                    <a:pt x="598" y="129"/>
                  </a:cubicBezTo>
                  <a:cubicBezTo>
                    <a:pt x="608" y="130"/>
                    <a:pt x="608" y="130"/>
                    <a:pt x="608" y="130"/>
                  </a:cubicBezTo>
                  <a:cubicBezTo>
                    <a:pt x="608" y="127"/>
                    <a:pt x="607" y="125"/>
                    <a:pt x="605" y="122"/>
                  </a:cubicBezTo>
                  <a:cubicBezTo>
                    <a:pt x="605" y="122"/>
                    <a:pt x="604" y="121"/>
                    <a:pt x="603" y="120"/>
                  </a:cubicBezTo>
                  <a:cubicBezTo>
                    <a:pt x="603" y="120"/>
                    <a:pt x="603" y="120"/>
                    <a:pt x="603" y="120"/>
                  </a:cubicBezTo>
                  <a:cubicBezTo>
                    <a:pt x="602" y="119"/>
                    <a:pt x="601" y="118"/>
                    <a:pt x="600" y="117"/>
                  </a:cubicBezTo>
                  <a:cubicBezTo>
                    <a:pt x="599" y="116"/>
                    <a:pt x="598" y="115"/>
                    <a:pt x="597" y="114"/>
                  </a:cubicBezTo>
                  <a:cubicBezTo>
                    <a:pt x="596" y="114"/>
                    <a:pt x="595" y="113"/>
                    <a:pt x="594" y="112"/>
                  </a:cubicBezTo>
                  <a:cubicBezTo>
                    <a:pt x="594" y="111"/>
                    <a:pt x="593" y="111"/>
                    <a:pt x="593" y="110"/>
                  </a:cubicBezTo>
                  <a:cubicBezTo>
                    <a:pt x="592" y="110"/>
                    <a:pt x="591" y="109"/>
                    <a:pt x="590" y="108"/>
                  </a:cubicBezTo>
                  <a:cubicBezTo>
                    <a:pt x="589" y="108"/>
                    <a:pt x="587" y="107"/>
                    <a:pt x="586" y="106"/>
                  </a:cubicBezTo>
                  <a:cubicBezTo>
                    <a:pt x="585" y="105"/>
                    <a:pt x="585" y="105"/>
                    <a:pt x="585" y="104"/>
                  </a:cubicBezTo>
                  <a:cubicBezTo>
                    <a:pt x="585" y="104"/>
                    <a:pt x="585" y="104"/>
                    <a:pt x="585" y="104"/>
                  </a:cubicBezTo>
                  <a:cubicBezTo>
                    <a:pt x="584" y="104"/>
                    <a:pt x="584" y="103"/>
                    <a:pt x="584" y="103"/>
                  </a:cubicBezTo>
                  <a:cubicBezTo>
                    <a:pt x="584" y="103"/>
                    <a:pt x="584" y="103"/>
                    <a:pt x="584" y="103"/>
                  </a:cubicBezTo>
                  <a:cubicBezTo>
                    <a:pt x="583" y="103"/>
                    <a:pt x="583" y="103"/>
                    <a:pt x="583" y="103"/>
                  </a:cubicBezTo>
                  <a:cubicBezTo>
                    <a:pt x="583" y="103"/>
                    <a:pt x="583" y="103"/>
                    <a:pt x="582" y="103"/>
                  </a:cubicBezTo>
                  <a:cubicBezTo>
                    <a:pt x="581" y="103"/>
                    <a:pt x="579" y="103"/>
                    <a:pt x="577" y="103"/>
                  </a:cubicBezTo>
                  <a:cubicBezTo>
                    <a:pt x="576" y="103"/>
                    <a:pt x="575" y="103"/>
                    <a:pt x="574" y="103"/>
                  </a:cubicBezTo>
                  <a:cubicBezTo>
                    <a:pt x="573" y="104"/>
                    <a:pt x="572" y="104"/>
                    <a:pt x="571" y="104"/>
                  </a:cubicBezTo>
                  <a:cubicBezTo>
                    <a:pt x="569" y="104"/>
                    <a:pt x="568" y="105"/>
                    <a:pt x="566" y="107"/>
                  </a:cubicBezTo>
                  <a:cubicBezTo>
                    <a:pt x="566" y="107"/>
                    <a:pt x="566" y="107"/>
                    <a:pt x="566" y="107"/>
                  </a:cubicBezTo>
                  <a:cubicBezTo>
                    <a:pt x="565" y="109"/>
                    <a:pt x="564" y="110"/>
                    <a:pt x="563" y="110"/>
                  </a:cubicBezTo>
                  <a:cubicBezTo>
                    <a:pt x="562" y="110"/>
                    <a:pt x="562" y="110"/>
                    <a:pt x="562" y="110"/>
                  </a:cubicBezTo>
                  <a:cubicBezTo>
                    <a:pt x="562" y="110"/>
                    <a:pt x="562" y="110"/>
                    <a:pt x="562" y="110"/>
                  </a:cubicBezTo>
                  <a:cubicBezTo>
                    <a:pt x="560" y="110"/>
                    <a:pt x="558" y="109"/>
                    <a:pt x="555" y="107"/>
                  </a:cubicBezTo>
                  <a:cubicBezTo>
                    <a:pt x="555" y="107"/>
                    <a:pt x="554" y="106"/>
                    <a:pt x="554" y="106"/>
                  </a:cubicBezTo>
                  <a:cubicBezTo>
                    <a:pt x="553" y="106"/>
                    <a:pt x="553" y="106"/>
                    <a:pt x="552" y="106"/>
                  </a:cubicBezTo>
                  <a:cubicBezTo>
                    <a:pt x="552" y="106"/>
                    <a:pt x="552" y="106"/>
                    <a:pt x="552" y="106"/>
                  </a:cubicBezTo>
                  <a:cubicBezTo>
                    <a:pt x="544" y="107"/>
                    <a:pt x="544" y="107"/>
                    <a:pt x="544" y="107"/>
                  </a:cubicBezTo>
                  <a:cubicBezTo>
                    <a:pt x="542" y="107"/>
                    <a:pt x="540" y="107"/>
                    <a:pt x="538" y="108"/>
                  </a:cubicBezTo>
                  <a:cubicBezTo>
                    <a:pt x="538" y="108"/>
                    <a:pt x="538" y="108"/>
                    <a:pt x="538" y="108"/>
                  </a:cubicBezTo>
                  <a:cubicBezTo>
                    <a:pt x="538" y="108"/>
                    <a:pt x="537" y="109"/>
                    <a:pt x="535" y="110"/>
                  </a:cubicBezTo>
                  <a:cubicBezTo>
                    <a:pt x="535" y="110"/>
                    <a:pt x="535" y="110"/>
                    <a:pt x="535" y="110"/>
                  </a:cubicBezTo>
                  <a:cubicBezTo>
                    <a:pt x="533" y="110"/>
                    <a:pt x="531" y="108"/>
                    <a:pt x="529" y="106"/>
                  </a:cubicBezTo>
                  <a:cubicBezTo>
                    <a:pt x="528" y="105"/>
                    <a:pt x="527" y="104"/>
                    <a:pt x="526" y="102"/>
                  </a:cubicBezTo>
                  <a:cubicBezTo>
                    <a:pt x="526" y="102"/>
                    <a:pt x="526" y="102"/>
                    <a:pt x="526" y="101"/>
                  </a:cubicBezTo>
                  <a:cubicBezTo>
                    <a:pt x="525" y="101"/>
                    <a:pt x="525" y="101"/>
                    <a:pt x="525" y="101"/>
                  </a:cubicBezTo>
                  <a:cubicBezTo>
                    <a:pt x="525" y="100"/>
                    <a:pt x="525" y="100"/>
                    <a:pt x="525" y="100"/>
                  </a:cubicBezTo>
                  <a:cubicBezTo>
                    <a:pt x="525" y="100"/>
                    <a:pt x="525" y="99"/>
                    <a:pt x="525" y="98"/>
                  </a:cubicBezTo>
                  <a:cubicBezTo>
                    <a:pt x="524" y="95"/>
                    <a:pt x="527" y="94"/>
                    <a:pt x="529" y="93"/>
                  </a:cubicBezTo>
                  <a:cubicBezTo>
                    <a:pt x="529" y="93"/>
                    <a:pt x="530" y="93"/>
                    <a:pt x="530" y="92"/>
                  </a:cubicBezTo>
                  <a:cubicBezTo>
                    <a:pt x="530" y="92"/>
                    <a:pt x="530" y="92"/>
                    <a:pt x="530" y="91"/>
                  </a:cubicBezTo>
                  <a:cubicBezTo>
                    <a:pt x="530" y="90"/>
                    <a:pt x="529" y="88"/>
                    <a:pt x="530" y="87"/>
                  </a:cubicBezTo>
                  <a:cubicBezTo>
                    <a:pt x="537" y="73"/>
                    <a:pt x="537" y="73"/>
                    <a:pt x="537" y="73"/>
                  </a:cubicBezTo>
                  <a:cubicBezTo>
                    <a:pt x="539" y="70"/>
                    <a:pt x="540" y="67"/>
                    <a:pt x="542" y="64"/>
                  </a:cubicBezTo>
                  <a:cubicBezTo>
                    <a:pt x="546" y="56"/>
                    <a:pt x="546" y="56"/>
                    <a:pt x="546" y="56"/>
                  </a:cubicBezTo>
                  <a:cubicBezTo>
                    <a:pt x="545" y="55"/>
                    <a:pt x="545" y="55"/>
                    <a:pt x="545" y="55"/>
                  </a:cubicBezTo>
                  <a:cubicBezTo>
                    <a:pt x="545" y="55"/>
                    <a:pt x="545" y="55"/>
                    <a:pt x="545" y="55"/>
                  </a:cubicBezTo>
                  <a:cubicBezTo>
                    <a:pt x="541" y="53"/>
                    <a:pt x="541" y="52"/>
                    <a:pt x="540" y="52"/>
                  </a:cubicBezTo>
                  <a:cubicBezTo>
                    <a:pt x="540" y="52"/>
                    <a:pt x="540" y="52"/>
                    <a:pt x="540" y="52"/>
                  </a:cubicBezTo>
                  <a:cubicBezTo>
                    <a:pt x="528" y="55"/>
                    <a:pt x="528" y="55"/>
                    <a:pt x="528" y="55"/>
                  </a:cubicBezTo>
                  <a:cubicBezTo>
                    <a:pt x="528" y="55"/>
                    <a:pt x="528" y="55"/>
                    <a:pt x="527" y="55"/>
                  </a:cubicBezTo>
                  <a:cubicBezTo>
                    <a:pt x="527" y="55"/>
                    <a:pt x="527" y="55"/>
                    <a:pt x="527" y="55"/>
                  </a:cubicBezTo>
                  <a:cubicBezTo>
                    <a:pt x="526" y="55"/>
                    <a:pt x="526" y="55"/>
                    <a:pt x="526" y="55"/>
                  </a:cubicBezTo>
                  <a:cubicBezTo>
                    <a:pt x="526" y="55"/>
                    <a:pt x="526" y="55"/>
                    <a:pt x="526" y="55"/>
                  </a:cubicBezTo>
                  <a:cubicBezTo>
                    <a:pt x="525" y="55"/>
                    <a:pt x="525" y="55"/>
                    <a:pt x="524" y="54"/>
                  </a:cubicBezTo>
                  <a:cubicBezTo>
                    <a:pt x="512" y="47"/>
                    <a:pt x="512" y="47"/>
                    <a:pt x="512" y="47"/>
                  </a:cubicBezTo>
                  <a:cubicBezTo>
                    <a:pt x="511" y="47"/>
                    <a:pt x="511" y="47"/>
                    <a:pt x="511" y="47"/>
                  </a:cubicBezTo>
                  <a:cubicBezTo>
                    <a:pt x="510" y="47"/>
                    <a:pt x="509" y="47"/>
                    <a:pt x="508" y="47"/>
                  </a:cubicBezTo>
                  <a:cubicBezTo>
                    <a:pt x="506" y="47"/>
                    <a:pt x="505" y="47"/>
                    <a:pt x="504" y="47"/>
                  </a:cubicBezTo>
                  <a:cubicBezTo>
                    <a:pt x="503" y="47"/>
                    <a:pt x="502" y="47"/>
                    <a:pt x="501" y="47"/>
                  </a:cubicBezTo>
                  <a:cubicBezTo>
                    <a:pt x="501" y="47"/>
                    <a:pt x="501" y="47"/>
                    <a:pt x="501" y="47"/>
                  </a:cubicBezTo>
                  <a:cubicBezTo>
                    <a:pt x="500" y="47"/>
                    <a:pt x="497" y="49"/>
                    <a:pt x="496" y="49"/>
                  </a:cubicBezTo>
                  <a:cubicBezTo>
                    <a:pt x="495" y="50"/>
                    <a:pt x="495" y="50"/>
                    <a:pt x="495" y="50"/>
                  </a:cubicBezTo>
                  <a:cubicBezTo>
                    <a:pt x="495" y="50"/>
                    <a:pt x="494" y="51"/>
                    <a:pt x="494" y="51"/>
                  </a:cubicBezTo>
                  <a:cubicBezTo>
                    <a:pt x="491" y="52"/>
                    <a:pt x="491" y="52"/>
                    <a:pt x="491" y="52"/>
                  </a:cubicBezTo>
                  <a:cubicBezTo>
                    <a:pt x="487" y="55"/>
                    <a:pt x="487" y="55"/>
                    <a:pt x="487" y="55"/>
                  </a:cubicBezTo>
                  <a:cubicBezTo>
                    <a:pt x="478" y="64"/>
                    <a:pt x="478" y="64"/>
                    <a:pt x="478" y="64"/>
                  </a:cubicBezTo>
                  <a:cubicBezTo>
                    <a:pt x="477" y="64"/>
                    <a:pt x="477" y="64"/>
                    <a:pt x="476" y="65"/>
                  </a:cubicBezTo>
                  <a:cubicBezTo>
                    <a:pt x="462" y="67"/>
                    <a:pt x="462" y="67"/>
                    <a:pt x="462" y="67"/>
                  </a:cubicBezTo>
                  <a:cubicBezTo>
                    <a:pt x="440" y="73"/>
                    <a:pt x="440" y="73"/>
                    <a:pt x="440" y="73"/>
                  </a:cubicBezTo>
                  <a:cubicBezTo>
                    <a:pt x="438" y="74"/>
                    <a:pt x="437" y="74"/>
                    <a:pt x="436" y="74"/>
                  </a:cubicBezTo>
                  <a:cubicBezTo>
                    <a:pt x="426" y="72"/>
                    <a:pt x="426" y="72"/>
                    <a:pt x="426" y="72"/>
                  </a:cubicBezTo>
                  <a:cubicBezTo>
                    <a:pt x="409" y="70"/>
                    <a:pt x="409" y="70"/>
                    <a:pt x="409" y="70"/>
                  </a:cubicBezTo>
                  <a:cubicBezTo>
                    <a:pt x="409" y="70"/>
                    <a:pt x="409" y="70"/>
                    <a:pt x="408" y="70"/>
                  </a:cubicBezTo>
                  <a:cubicBezTo>
                    <a:pt x="406" y="69"/>
                    <a:pt x="406" y="69"/>
                    <a:pt x="406" y="69"/>
                  </a:cubicBezTo>
                  <a:cubicBezTo>
                    <a:pt x="394" y="69"/>
                    <a:pt x="394" y="69"/>
                    <a:pt x="394" y="69"/>
                  </a:cubicBezTo>
                  <a:cubicBezTo>
                    <a:pt x="394" y="69"/>
                    <a:pt x="394" y="69"/>
                    <a:pt x="394" y="69"/>
                  </a:cubicBezTo>
                  <a:cubicBezTo>
                    <a:pt x="394" y="68"/>
                    <a:pt x="394" y="68"/>
                    <a:pt x="394" y="68"/>
                  </a:cubicBezTo>
                  <a:cubicBezTo>
                    <a:pt x="393" y="69"/>
                    <a:pt x="393" y="69"/>
                    <a:pt x="393" y="69"/>
                  </a:cubicBezTo>
                  <a:cubicBezTo>
                    <a:pt x="393" y="69"/>
                    <a:pt x="392" y="69"/>
                    <a:pt x="392" y="69"/>
                  </a:cubicBezTo>
                  <a:cubicBezTo>
                    <a:pt x="383" y="62"/>
                    <a:pt x="383" y="62"/>
                    <a:pt x="383" y="62"/>
                  </a:cubicBezTo>
                  <a:cubicBezTo>
                    <a:pt x="383" y="62"/>
                    <a:pt x="382" y="62"/>
                    <a:pt x="382" y="61"/>
                  </a:cubicBezTo>
                  <a:cubicBezTo>
                    <a:pt x="382" y="61"/>
                    <a:pt x="382" y="61"/>
                    <a:pt x="382" y="61"/>
                  </a:cubicBezTo>
                  <a:cubicBezTo>
                    <a:pt x="381" y="54"/>
                    <a:pt x="381" y="54"/>
                    <a:pt x="381" y="54"/>
                  </a:cubicBezTo>
                  <a:cubicBezTo>
                    <a:pt x="380" y="54"/>
                    <a:pt x="380" y="54"/>
                    <a:pt x="380" y="54"/>
                  </a:cubicBezTo>
                  <a:cubicBezTo>
                    <a:pt x="380" y="54"/>
                    <a:pt x="379" y="54"/>
                    <a:pt x="379" y="53"/>
                  </a:cubicBezTo>
                  <a:cubicBezTo>
                    <a:pt x="377" y="53"/>
                    <a:pt x="376" y="53"/>
                    <a:pt x="375" y="53"/>
                  </a:cubicBezTo>
                  <a:cubicBezTo>
                    <a:pt x="374" y="53"/>
                    <a:pt x="374" y="53"/>
                    <a:pt x="374" y="53"/>
                  </a:cubicBezTo>
                  <a:cubicBezTo>
                    <a:pt x="370" y="53"/>
                    <a:pt x="367" y="51"/>
                    <a:pt x="364" y="48"/>
                  </a:cubicBezTo>
                  <a:cubicBezTo>
                    <a:pt x="363" y="47"/>
                    <a:pt x="361" y="46"/>
                    <a:pt x="359" y="45"/>
                  </a:cubicBezTo>
                  <a:cubicBezTo>
                    <a:pt x="359" y="45"/>
                    <a:pt x="358" y="45"/>
                    <a:pt x="358" y="45"/>
                  </a:cubicBezTo>
                  <a:cubicBezTo>
                    <a:pt x="357" y="45"/>
                    <a:pt x="357" y="45"/>
                    <a:pt x="356" y="45"/>
                  </a:cubicBezTo>
                  <a:cubicBezTo>
                    <a:pt x="356" y="45"/>
                    <a:pt x="356" y="45"/>
                    <a:pt x="356" y="45"/>
                  </a:cubicBezTo>
                  <a:cubicBezTo>
                    <a:pt x="354" y="45"/>
                    <a:pt x="354" y="45"/>
                    <a:pt x="354" y="45"/>
                  </a:cubicBezTo>
                  <a:cubicBezTo>
                    <a:pt x="349" y="45"/>
                    <a:pt x="349" y="45"/>
                    <a:pt x="349" y="45"/>
                  </a:cubicBezTo>
                  <a:cubicBezTo>
                    <a:pt x="347" y="45"/>
                    <a:pt x="346" y="44"/>
                    <a:pt x="346" y="43"/>
                  </a:cubicBezTo>
                  <a:cubicBezTo>
                    <a:pt x="345" y="43"/>
                    <a:pt x="345" y="43"/>
                    <a:pt x="345" y="43"/>
                  </a:cubicBezTo>
                  <a:cubicBezTo>
                    <a:pt x="343" y="42"/>
                    <a:pt x="340" y="42"/>
                    <a:pt x="339" y="42"/>
                  </a:cubicBezTo>
                  <a:cubicBezTo>
                    <a:pt x="337" y="42"/>
                    <a:pt x="335" y="41"/>
                    <a:pt x="334" y="41"/>
                  </a:cubicBezTo>
                  <a:cubicBezTo>
                    <a:pt x="333" y="41"/>
                    <a:pt x="333" y="41"/>
                    <a:pt x="333" y="41"/>
                  </a:cubicBezTo>
                  <a:cubicBezTo>
                    <a:pt x="331" y="41"/>
                    <a:pt x="328" y="42"/>
                    <a:pt x="326" y="43"/>
                  </a:cubicBezTo>
                  <a:cubicBezTo>
                    <a:pt x="325" y="43"/>
                    <a:pt x="325" y="43"/>
                    <a:pt x="325" y="43"/>
                  </a:cubicBezTo>
                  <a:cubicBezTo>
                    <a:pt x="322" y="43"/>
                    <a:pt x="319" y="44"/>
                    <a:pt x="317" y="45"/>
                  </a:cubicBezTo>
                  <a:cubicBezTo>
                    <a:pt x="316" y="45"/>
                    <a:pt x="316" y="46"/>
                    <a:pt x="316" y="46"/>
                  </a:cubicBezTo>
                  <a:cubicBezTo>
                    <a:pt x="315" y="46"/>
                    <a:pt x="315" y="46"/>
                    <a:pt x="315" y="46"/>
                  </a:cubicBezTo>
                  <a:cubicBezTo>
                    <a:pt x="315" y="46"/>
                    <a:pt x="314" y="46"/>
                    <a:pt x="314" y="47"/>
                  </a:cubicBezTo>
                  <a:cubicBezTo>
                    <a:pt x="313" y="47"/>
                    <a:pt x="313" y="47"/>
                    <a:pt x="313" y="47"/>
                  </a:cubicBezTo>
                  <a:cubicBezTo>
                    <a:pt x="311" y="48"/>
                    <a:pt x="309" y="49"/>
                    <a:pt x="307" y="49"/>
                  </a:cubicBezTo>
                  <a:cubicBezTo>
                    <a:pt x="306" y="49"/>
                    <a:pt x="306" y="49"/>
                    <a:pt x="305" y="49"/>
                  </a:cubicBezTo>
                  <a:cubicBezTo>
                    <a:pt x="283" y="43"/>
                    <a:pt x="283" y="43"/>
                    <a:pt x="283" y="43"/>
                  </a:cubicBezTo>
                  <a:cubicBezTo>
                    <a:pt x="281" y="43"/>
                    <a:pt x="279" y="42"/>
                    <a:pt x="277" y="41"/>
                  </a:cubicBezTo>
                  <a:cubicBezTo>
                    <a:pt x="276" y="40"/>
                    <a:pt x="275" y="39"/>
                    <a:pt x="274" y="38"/>
                  </a:cubicBezTo>
                  <a:cubicBezTo>
                    <a:pt x="274" y="37"/>
                    <a:pt x="274" y="37"/>
                    <a:pt x="274" y="37"/>
                  </a:cubicBezTo>
                  <a:cubicBezTo>
                    <a:pt x="273" y="36"/>
                    <a:pt x="272" y="35"/>
                    <a:pt x="272" y="34"/>
                  </a:cubicBezTo>
                  <a:cubicBezTo>
                    <a:pt x="272" y="33"/>
                    <a:pt x="272" y="32"/>
                    <a:pt x="271" y="31"/>
                  </a:cubicBezTo>
                  <a:cubicBezTo>
                    <a:pt x="271" y="30"/>
                    <a:pt x="271" y="30"/>
                    <a:pt x="271" y="30"/>
                  </a:cubicBezTo>
                  <a:cubicBezTo>
                    <a:pt x="271" y="28"/>
                    <a:pt x="271" y="28"/>
                    <a:pt x="271" y="28"/>
                  </a:cubicBezTo>
                  <a:cubicBezTo>
                    <a:pt x="271" y="28"/>
                    <a:pt x="271" y="27"/>
                    <a:pt x="271" y="27"/>
                  </a:cubicBezTo>
                  <a:cubicBezTo>
                    <a:pt x="270" y="26"/>
                    <a:pt x="270" y="25"/>
                    <a:pt x="270" y="24"/>
                  </a:cubicBezTo>
                  <a:cubicBezTo>
                    <a:pt x="270" y="23"/>
                    <a:pt x="270" y="22"/>
                    <a:pt x="270" y="21"/>
                  </a:cubicBezTo>
                  <a:cubicBezTo>
                    <a:pt x="270" y="20"/>
                    <a:pt x="270" y="19"/>
                    <a:pt x="270" y="19"/>
                  </a:cubicBezTo>
                  <a:cubicBezTo>
                    <a:pt x="269" y="18"/>
                    <a:pt x="268" y="18"/>
                    <a:pt x="267" y="18"/>
                  </a:cubicBezTo>
                  <a:cubicBezTo>
                    <a:pt x="266" y="18"/>
                    <a:pt x="266" y="18"/>
                    <a:pt x="266" y="18"/>
                  </a:cubicBezTo>
                  <a:cubicBezTo>
                    <a:pt x="265" y="17"/>
                    <a:pt x="263" y="17"/>
                    <a:pt x="261" y="16"/>
                  </a:cubicBezTo>
                  <a:cubicBezTo>
                    <a:pt x="256" y="15"/>
                    <a:pt x="256" y="15"/>
                    <a:pt x="256" y="15"/>
                  </a:cubicBezTo>
                  <a:cubicBezTo>
                    <a:pt x="254" y="14"/>
                    <a:pt x="252" y="14"/>
                    <a:pt x="250" y="13"/>
                  </a:cubicBezTo>
                  <a:cubicBezTo>
                    <a:pt x="247" y="11"/>
                    <a:pt x="245" y="10"/>
                    <a:pt x="243" y="10"/>
                  </a:cubicBezTo>
                  <a:cubicBezTo>
                    <a:pt x="242" y="10"/>
                    <a:pt x="241" y="10"/>
                    <a:pt x="241" y="10"/>
                  </a:cubicBezTo>
                  <a:cubicBezTo>
                    <a:pt x="240" y="10"/>
                    <a:pt x="240" y="10"/>
                    <a:pt x="240" y="10"/>
                  </a:cubicBezTo>
                  <a:cubicBezTo>
                    <a:pt x="240" y="10"/>
                    <a:pt x="240" y="10"/>
                    <a:pt x="239" y="10"/>
                  </a:cubicBezTo>
                  <a:cubicBezTo>
                    <a:pt x="239" y="10"/>
                    <a:pt x="239" y="10"/>
                    <a:pt x="239" y="10"/>
                  </a:cubicBezTo>
                  <a:cubicBezTo>
                    <a:pt x="239" y="10"/>
                    <a:pt x="239" y="10"/>
                    <a:pt x="239" y="10"/>
                  </a:cubicBezTo>
                  <a:cubicBezTo>
                    <a:pt x="233" y="9"/>
                    <a:pt x="228" y="9"/>
                    <a:pt x="223" y="6"/>
                  </a:cubicBezTo>
                  <a:cubicBezTo>
                    <a:pt x="212" y="0"/>
                    <a:pt x="212" y="0"/>
                    <a:pt x="212" y="0"/>
                  </a:cubicBezTo>
                  <a:cubicBezTo>
                    <a:pt x="212" y="0"/>
                    <a:pt x="212" y="0"/>
                    <a:pt x="212" y="0"/>
                  </a:cubicBezTo>
                  <a:cubicBezTo>
                    <a:pt x="211" y="0"/>
                    <a:pt x="211" y="0"/>
                    <a:pt x="2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449"/>
            <p:cNvSpPr/>
            <p:nvPr/>
          </p:nvSpPr>
          <p:spPr bwMode="auto">
            <a:xfrm>
              <a:off x="6113881" y="3944756"/>
              <a:ext cx="383751" cy="379625"/>
            </a:xfrm>
            <a:custGeom>
              <a:gdLst>
                <a:gd name="T0" fmla="*/ 108 w 118"/>
                <a:gd name="T1" fmla="*/ 0 h 117"/>
                <a:gd name="T2" fmla="*/ 106 w 118"/>
                <a:gd name="T3" fmla="*/ 5 h 117"/>
                <a:gd name="T4" fmla="*/ 104 w 118"/>
                <a:gd name="T5" fmla="*/ 10 h 117"/>
                <a:gd name="T6" fmla="*/ 96 w 118"/>
                <a:gd name="T7" fmla="*/ 14 h 117"/>
                <a:gd name="T8" fmla="*/ 91 w 118"/>
                <a:gd name="T9" fmla="*/ 20 h 117"/>
                <a:gd name="T10" fmla="*/ 81 w 118"/>
                <a:gd name="T11" fmla="*/ 22 h 117"/>
                <a:gd name="T12" fmla="*/ 76 w 118"/>
                <a:gd name="T13" fmla="*/ 26 h 117"/>
                <a:gd name="T14" fmla="*/ 78 w 118"/>
                <a:gd name="T15" fmla="*/ 31 h 117"/>
                <a:gd name="T16" fmla="*/ 72 w 118"/>
                <a:gd name="T17" fmla="*/ 36 h 117"/>
                <a:gd name="T18" fmla="*/ 66 w 118"/>
                <a:gd name="T19" fmla="*/ 36 h 117"/>
                <a:gd name="T20" fmla="*/ 55 w 118"/>
                <a:gd name="T21" fmla="*/ 34 h 117"/>
                <a:gd name="T22" fmla="*/ 51 w 118"/>
                <a:gd name="T23" fmla="*/ 30 h 117"/>
                <a:gd name="T24" fmla="*/ 49 w 118"/>
                <a:gd name="T25" fmla="*/ 28 h 117"/>
                <a:gd name="T26" fmla="*/ 48 w 118"/>
                <a:gd name="T27" fmla="*/ 28 h 117"/>
                <a:gd name="T28" fmla="*/ 46 w 118"/>
                <a:gd name="T29" fmla="*/ 30 h 117"/>
                <a:gd name="T30" fmla="*/ 36 w 118"/>
                <a:gd name="T31" fmla="*/ 44 h 117"/>
                <a:gd name="T32" fmla="*/ 32 w 118"/>
                <a:gd name="T33" fmla="*/ 48 h 117"/>
                <a:gd name="T34" fmla="*/ 26 w 118"/>
                <a:gd name="T35" fmla="*/ 49 h 117"/>
                <a:gd name="T36" fmla="*/ 21 w 118"/>
                <a:gd name="T37" fmla="*/ 54 h 117"/>
                <a:gd name="T38" fmla="*/ 3 w 118"/>
                <a:gd name="T39" fmla="*/ 66 h 117"/>
                <a:gd name="T40" fmla="*/ 1 w 118"/>
                <a:gd name="T41" fmla="*/ 66 h 117"/>
                <a:gd name="T42" fmla="*/ 0 w 118"/>
                <a:gd name="T43" fmla="*/ 67 h 117"/>
                <a:gd name="T44" fmla="*/ 8 w 118"/>
                <a:gd name="T45" fmla="*/ 71 h 117"/>
                <a:gd name="T46" fmla="*/ 19 w 118"/>
                <a:gd name="T47" fmla="*/ 75 h 117"/>
                <a:gd name="T48" fmla="*/ 19 w 118"/>
                <a:gd name="T49" fmla="*/ 84 h 117"/>
                <a:gd name="T50" fmla="*/ 26 w 118"/>
                <a:gd name="T51" fmla="*/ 96 h 117"/>
                <a:gd name="T52" fmla="*/ 21 w 118"/>
                <a:gd name="T53" fmla="*/ 95 h 117"/>
                <a:gd name="T54" fmla="*/ 15 w 118"/>
                <a:gd name="T55" fmla="*/ 96 h 117"/>
                <a:gd name="T56" fmla="*/ 12 w 118"/>
                <a:gd name="T57" fmla="*/ 105 h 117"/>
                <a:gd name="T58" fmla="*/ 7 w 118"/>
                <a:gd name="T59" fmla="*/ 107 h 117"/>
                <a:gd name="T60" fmla="*/ 14 w 118"/>
                <a:gd name="T61" fmla="*/ 111 h 117"/>
                <a:gd name="T62" fmla="*/ 18 w 118"/>
                <a:gd name="T63" fmla="*/ 114 h 117"/>
                <a:gd name="T64" fmla="*/ 18 w 118"/>
                <a:gd name="T65" fmla="*/ 114 h 117"/>
                <a:gd name="T66" fmla="*/ 22 w 118"/>
                <a:gd name="T67" fmla="*/ 113 h 117"/>
                <a:gd name="T68" fmla="*/ 20 w 118"/>
                <a:gd name="T69" fmla="*/ 115 h 117"/>
                <a:gd name="T70" fmla="*/ 20 w 118"/>
                <a:gd name="T71" fmla="*/ 117 h 117"/>
                <a:gd name="T72" fmla="*/ 27 w 118"/>
                <a:gd name="T73" fmla="*/ 111 h 117"/>
                <a:gd name="T74" fmla="*/ 32 w 118"/>
                <a:gd name="T75" fmla="*/ 114 h 117"/>
                <a:gd name="T76" fmla="*/ 37 w 118"/>
                <a:gd name="T77" fmla="*/ 115 h 117"/>
                <a:gd name="T78" fmla="*/ 43 w 118"/>
                <a:gd name="T79" fmla="*/ 113 h 117"/>
                <a:gd name="T80" fmla="*/ 43 w 118"/>
                <a:gd name="T81" fmla="*/ 112 h 117"/>
                <a:gd name="T82" fmla="*/ 47 w 118"/>
                <a:gd name="T83" fmla="*/ 107 h 117"/>
                <a:gd name="T84" fmla="*/ 51 w 118"/>
                <a:gd name="T85" fmla="*/ 103 h 117"/>
                <a:gd name="T86" fmla="*/ 58 w 118"/>
                <a:gd name="T87" fmla="*/ 102 h 117"/>
                <a:gd name="T88" fmla="*/ 71 w 118"/>
                <a:gd name="T89" fmla="*/ 101 h 117"/>
                <a:gd name="T90" fmla="*/ 73 w 118"/>
                <a:gd name="T91" fmla="*/ 99 h 117"/>
                <a:gd name="T92" fmla="*/ 75 w 118"/>
                <a:gd name="T93" fmla="*/ 96 h 117"/>
                <a:gd name="T94" fmla="*/ 76 w 118"/>
                <a:gd name="T95" fmla="*/ 95 h 117"/>
                <a:gd name="T96" fmla="*/ 71 w 118"/>
                <a:gd name="T97" fmla="*/ 90 h 117"/>
                <a:gd name="T98" fmla="*/ 60 w 118"/>
                <a:gd name="T99" fmla="*/ 84 h 117"/>
                <a:gd name="T100" fmla="*/ 62 w 118"/>
                <a:gd name="T101" fmla="*/ 81 h 117"/>
                <a:gd name="T102" fmla="*/ 62 w 118"/>
                <a:gd name="T103" fmla="*/ 75 h 117"/>
                <a:gd name="T104" fmla="*/ 76 w 118"/>
                <a:gd name="T105" fmla="*/ 65 h 117"/>
                <a:gd name="T106" fmla="*/ 104 w 118"/>
                <a:gd name="T107" fmla="*/ 45 h 117"/>
                <a:gd name="T108" fmla="*/ 103 w 118"/>
                <a:gd name="T109" fmla="*/ 39 h 117"/>
                <a:gd name="T110" fmla="*/ 104 w 118"/>
                <a:gd name="T111" fmla="*/ 34 h 117"/>
                <a:gd name="T112" fmla="*/ 116 w 118"/>
                <a:gd name="T113" fmla="*/ 13 h 117"/>
                <a:gd name="T114" fmla="*/ 118 w 118"/>
                <a:gd name="T115" fmla="*/ 13 h 117"/>
                <a:gd name="T116" fmla="*/ 116 w 118"/>
                <a:gd name="T117" fmla="*/ 11 h 117"/>
                <a:gd name="T118" fmla="*/ 110 w 118"/>
                <a:gd name="T119" fmla="*/ 5 h 117"/>
                <a:gd name="T120" fmla="*/ 111 w 118"/>
                <a:gd name="T121" fmla="*/ 2 h 117"/>
                <a:gd name="T122" fmla="*/ 108 w 118"/>
                <a:gd name="T123" fmla="*/ 0 h 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117">
                  <a:moveTo>
                    <a:pt x="108" y="0"/>
                  </a:moveTo>
                  <a:cubicBezTo>
                    <a:pt x="108" y="0"/>
                    <a:pt x="108" y="0"/>
                    <a:pt x="108" y="0"/>
                  </a:cubicBezTo>
                  <a:cubicBezTo>
                    <a:pt x="107" y="0"/>
                    <a:pt x="107" y="2"/>
                    <a:pt x="107" y="4"/>
                  </a:cubicBezTo>
                  <a:cubicBezTo>
                    <a:pt x="106" y="5"/>
                    <a:pt x="106" y="5"/>
                    <a:pt x="106" y="5"/>
                  </a:cubicBezTo>
                  <a:cubicBezTo>
                    <a:pt x="106" y="6"/>
                    <a:pt x="106" y="7"/>
                    <a:pt x="105" y="8"/>
                  </a:cubicBezTo>
                  <a:cubicBezTo>
                    <a:pt x="105" y="9"/>
                    <a:pt x="104" y="9"/>
                    <a:pt x="104" y="10"/>
                  </a:cubicBezTo>
                  <a:cubicBezTo>
                    <a:pt x="103" y="11"/>
                    <a:pt x="101" y="11"/>
                    <a:pt x="99" y="12"/>
                  </a:cubicBezTo>
                  <a:cubicBezTo>
                    <a:pt x="97" y="12"/>
                    <a:pt x="96" y="13"/>
                    <a:pt x="96" y="14"/>
                  </a:cubicBezTo>
                  <a:cubicBezTo>
                    <a:pt x="96" y="14"/>
                    <a:pt x="96" y="14"/>
                    <a:pt x="96" y="14"/>
                  </a:cubicBezTo>
                  <a:cubicBezTo>
                    <a:pt x="95" y="17"/>
                    <a:pt x="92" y="20"/>
                    <a:pt x="91" y="20"/>
                  </a:cubicBezTo>
                  <a:cubicBezTo>
                    <a:pt x="89" y="21"/>
                    <a:pt x="86" y="21"/>
                    <a:pt x="83" y="21"/>
                  </a:cubicBezTo>
                  <a:cubicBezTo>
                    <a:pt x="82" y="21"/>
                    <a:pt x="82" y="22"/>
                    <a:pt x="81" y="22"/>
                  </a:cubicBezTo>
                  <a:cubicBezTo>
                    <a:pt x="74" y="23"/>
                    <a:pt x="74" y="23"/>
                    <a:pt x="74" y="23"/>
                  </a:cubicBezTo>
                  <a:cubicBezTo>
                    <a:pt x="74" y="24"/>
                    <a:pt x="75" y="25"/>
                    <a:pt x="76" y="26"/>
                  </a:cubicBezTo>
                  <a:cubicBezTo>
                    <a:pt x="76" y="26"/>
                    <a:pt x="76" y="26"/>
                    <a:pt x="76" y="26"/>
                  </a:cubicBezTo>
                  <a:cubicBezTo>
                    <a:pt x="77" y="27"/>
                    <a:pt x="79" y="28"/>
                    <a:pt x="78" y="31"/>
                  </a:cubicBezTo>
                  <a:cubicBezTo>
                    <a:pt x="78" y="33"/>
                    <a:pt x="77" y="34"/>
                    <a:pt x="76" y="35"/>
                  </a:cubicBezTo>
                  <a:cubicBezTo>
                    <a:pt x="75" y="36"/>
                    <a:pt x="73" y="36"/>
                    <a:pt x="72" y="36"/>
                  </a:cubicBezTo>
                  <a:cubicBezTo>
                    <a:pt x="72" y="36"/>
                    <a:pt x="71" y="37"/>
                    <a:pt x="71" y="37"/>
                  </a:cubicBezTo>
                  <a:cubicBezTo>
                    <a:pt x="70" y="37"/>
                    <a:pt x="68" y="36"/>
                    <a:pt x="66" y="36"/>
                  </a:cubicBezTo>
                  <a:cubicBezTo>
                    <a:pt x="65" y="36"/>
                    <a:pt x="65" y="36"/>
                    <a:pt x="65" y="36"/>
                  </a:cubicBezTo>
                  <a:cubicBezTo>
                    <a:pt x="62" y="36"/>
                    <a:pt x="57" y="36"/>
                    <a:pt x="55" y="34"/>
                  </a:cubicBezTo>
                  <a:cubicBezTo>
                    <a:pt x="55" y="34"/>
                    <a:pt x="55" y="34"/>
                    <a:pt x="55" y="34"/>
                  </a:cubicBezTo>
                  <a:cubicBezTo>
                    <a:pt x="53" y="32"/>
                    <a:pt x="52" y="31"/>
                    <a:pt x="51" y="30"/>
                  </a:cubicBezTo>
                  <a:cubicBezTo>
                    <a:pt x="51" y="29"/>
                    <a:pt x="50" y="28"/>
                    <a:pt x="49" y="28"/>
                  </a:cubicBezTo>
                  <a:cubicBezTo>
                    <a:pt x="49" y="28"/>
                    <a:pt x="49" y="28"/>
                    <a:pt x="49" y="28"/>
                  </a:cubicBezTo>
                  <a:cubicBezTo>
                    <a:pt x="48" y="28"/>
                    <a:pt x="48" y="28"/>
                    <a:pt x="48" y="28"/>
                  </a:cubicBezTo>
                  <a:cubicBezTo>
                    <a:pt x="48" y="28"/>
                    <a:pt x="48" y="28"/>
                    <a:pt x="48" y="28"/>
                  </a:cubicBezTo>
                  <a:cubicBezTo>
                    <a:pt x="48" y="28"/>
                    <a:pt x="48" y="28"/>
                    <a:pt x="48" y="28"/>
                  </a:cubicBezTo>
                  <a:cubicBezTo>
                    <a:pt x="47" y="29"/>
                    <a:pt x="46" y="30"/>
                    <a:pt x="46" y="30"/>
                  </a:cubicBezTo>
                  <a:cubicBezTo>
                    <a:pt x="44" y="35"/>
                    <a:pt x="41" y="39"/>
                    <a:pt x="37" y="43"/>
                  </a:cubicBezTo>
                  <a:cubicBezTo>
                    <a:pt x="37" y="43"/>
                    <a:pt x="37" y="44"/>
                    <a:pt x="36" y="44"/>
                  </a:cubicBezTo>
                  <a:cubicBezTo>
                    <a:pt x="35" y="46"/>
                    <a:pt x="34" y="47"/>
                    <a:pt x="32" y="48"/>
                  </a:cubicBezTo>
                  <a:cubicBezTo>
                    <a:pt x="32" y="48"/>
                    <a:pt x="32" y="48"/>
                    <a:pt x="32" y="48"/>
                  </a:cubicBezTo>
                  <a:cubicBezTo>
                    <a:pt x="31" y="48"/>
                    <a:pt x="30" y="48"/>
                    <a:pt x="29" y="48"/>
                  </a:cubicBezTo>
                  <a:cubicBezTo>
                    <a:pt x="28" y="49"/>
                    <a:pt x="27" y="49"/>
                    <a:pt x="26" y="49"/>
                  </a:cubicBezTo>
                  <a:cubicBezTo>
                    <a:pt x="25" y="50"/>
                    <a:pt x="25" y="50"/>
                    <a:pt x="25" y="50"/>
                  </a:cubicBezTo>
                  <a:cubicBezTo>
                    <a:pt x="24" y="51"/>
                    <a:pt x="23" y="53"/>
                    <a:pt x="21" y="54"/>
                  </a:cubicBezTo>
                  <a:cubicBezTo>
                    <a:pt x="15" y="57"/>
                    <a:pt x="10" y="61"/>
                    <a:pt x="4" y="65"/>
                  </a:cubicBezTo>
                  <a:cubicBezTo>
                    <a:pt x="4" y="65"/>
                    <a:pt x="3" y="66"/>
                    <a:pt x="3" y="66"/>
                  </a:cubicBezTo>
                  <a:cubicBezTo>
                    <a:pt x="2" y="67"/>
                    <a:pt x="2" y="67"/>
                    <a:pt x="2" y="67"/>
                  </a:cubicBezTo>
                  <a:cubicBezTo>
                    <a:pt x="1" y="66"/>
                    <a:pt x="1" y="66"/>
                    <a:pt x="1" y="66"/>
                  </a:cubicBezTo>
                  <a:cubicBezTo>
                    <a:pt x="1" y="67"/>
                    <a:pt x="1" y="67"/>
                    <a:pt x="1" y="67"/>
                  </a:cubicBezTo>
                  <a:cubicBezTo>
                    <a:pt x="1" y="67"/>
                    <a:pt x="0" y="67"/>
                    <a:pt x="0" y="67"/>
                  </a:cubicBezTo>
                  <a:cubicBezTo>
                    <a:pt x="1" y="70"/>
                    <a:pt x="8" y="71"/>
                    <a:pt x="6" y="74"/>
                  </a:cubicBezTo>
                  <a:cubicBezTo>
                    <a:pt x="7" y="74"/>
                    <a:pt x="9" y="72"/>
                    <a:pt x="8" y="71"/>
                  </a:cubicBezTo>
                  <a:cubicBezTo>
                    <a:pt x="10" y="72"/>
                    <a:pt x="12" y="73"/>
                    <a:pt x="14" y="74"/>
                  </a:cubicBezTo>
                  <a:cubicBezTo>
                    <a:pt x="16" y="75"/>
                    <a:pt x="17" y="75"/>
                    <a:pt x="19" y="75"/>
                  </a:cubicBezTo>
                  <a:cubicBezTo>
                    <a:pt x="20" y="75"/>
                    <a:pt x="21" y="75"/>
                    <a:pt x="22" y="75"/>
                  </a:cubicBezTo>
                  <a:cubicBezTo>
                    <a:pt x="21" y="78"/>
                    <a:pt x="20" y="81"/>
                    <a:pt x="19" y="84"/>
                  </a:cubicBezTo>
                  <a:cubicBezTo>
                    <a:pt x="18" y="86"/>
                    <a:pt x="17" y="88"/>
                    <a:pt x="17" y="90"/>
                  </a:cubicBezTo>
                  <a:cubicBezTo>
                    <a:pt x="16" y="95"/>
                    <a:pt x="24" y="93"/>
                    <a:pt x="26" y="96"/>
                  </a:cubicBezTo>
                  <a:cubicBezTo>
                    <a:pt x="24" y="96"/>
                    <a:pt x="23" y="95"/>
                    <a:pt x="21" y="95"/>
                  </a:cubicBezTo>
                  <a:cubicBezTo>
                    <a:pt x="21" y="95"/>
                    <a:pt x="21" y="95"/>
                    <a:pt x="21" y="95"/>
                  </a:cubicBezTo>
                  <a:cubicBezTo>
                    <a:pt x="20" y="95"/>
                    <a:pt x="18" y="95"/>
                    <a:pt x="17" y="96"/>
                  </a:cubicBezTo>
                  <a:cubicBezTo>
                    <a:pt x="16" y="96"/>
                    <a:pt x="16" y="95"/>
                    <a:pt x="15" y="96"/>
                  </a:cubicBezTo>
                  <a:cubicBezTo>
                    <a:pt x="14" y="98"/>
                    <a:pt x="13" y="101"/>
                    <a:pt x="12" y="102"/>
                  </a:cubicBezTo>
                  <a:cubicBezTo>
                    <a:pt x="12" y="103"/>
                    <a:pt x="11" y="105"/>
                    <a:pt x="12" y="105"/>
                  </a:cubicBezTo>
                  <a:cubicBezTo>
                    <a:pt x="12" y="105"/>
                    <a:pt x="13" y="105"/>
                    <a:pt x="13" y="105"/>
                  </a:cubicBezTo>
                  <a:cubicBezTo>
                    <a:pt x="11" y="106"/>
                    <a:pt x="9" y="107"/>
                    <a:pt x="7" y="107"/>
                  </a:cubicBezTo>
                  <a:cubicBezTo>
                    <a:pt x="10" y="108"/>
                    <a:pt x="13" y="110"/>
                    <a:pt x="16" y="111"/>
                  </a:cubicBezTo>
                  <a:cubicBezTo>
                    <a:pt x="15" y="111"/>
                    <a:pt x="15" y="111"/>
                    <a:pt x="14" y="111"/>
                  </a:cubicBezTo>
                  <a:cubicBezTo>
                    <a:pt x="13" y="111"/>
                    <a:pt x="13" y="111"/>
                    <a:pt x="13" y="112"/>
                  </a:cubicBezTo>
                  <a:cubicBezTo>
                    <a:pt x="14" y="113"/>
                    <a:pt x="17" y="113"/>
                    <a:pt x="18" y="114"/>
                  </a:cubicBezTo>
                  <a:cubicBezTo>
                    <a:pt x="18" y="114"/>
                    <a:pt x="18" y="114"/>
                    <a:pt x="18" y="114"/>
                  </a:cubicBezTo>
                  <a:cubicBezTo>
                    <a:pt x="18" y="114"/>
                    <a:pt x="18" y="114"/>
                    <a:pt x="18" y="114"/>
                  </a:cubicBezTo>
                  <a:cubicBezTo>
                    <a:pt x="19" y="114"/>
                    <a:pt x="19" y="114"/>
                    <a:pt x="20" y="113"/>
                  </a:cubicBezTo>
                  <a:cubicBezTo>
                    <a:pt x="20" y="113"/>
                    <a:pt x="21" y="113"/>
                    <a:pt x="22" y="113"/>
                  </a:cubicBezTo>
                  <a:cubicBezTo>
                    <a:pt x="22" y="113"/>
                    <a:pt x="22" y="113"/>
                    <a:pt x="23" y="114"/>
                  </a:cubicBezTo>
                  <a:cubicBezTo>
                    <a:pt x="23" y="114"/>
                    <a:pt x="21" y="114"/>
                    <a:pt x="20" y="115"/>
                  </a:cubicBezTo>
                  <a:cubicBezTo>
                    <a:pt x="21" y="115"/>
                    <a:pt x="21" y="115"/>
                    <a:pt x="21" y="115"/>
                  </a:cubicBezTo>
                  <a:cubicBezTo>
                    <a:pt x="20" y="115"/>
                    <a:pt x="19" y="116"/>
                    <a:pt x="20" y="117"/>
                  </a:cubicBezTo>
                  <a:cubicBezTo>
                    <a:pt x="22" y="116"/>
                    <a:pt x="24" y="115"/>
                    <a:pt x="25" y="113"/>
                  </a:cubicBezTo>
                  <a:cubicBezTo>
                    <a:pt x="26" y="113"/>
                    <a:pt x="25" y="112"/>
                    <a:pt x="27" y="111"/>
                  </a:cubicBezTo>
                  <a:cubicBezTo>
                    <a:pt x="26" y="111"/>
                    <a:pt x="24" y="111"/>
                    <a:pt x="24" y="110"/>
                  </a:cubicBezTo>
                  <a:cubicBezTo>
                    <a:pt x="27" y="111"/>
                    <a:pt x="30" y="113"/>
                    <a:pt x="32" y="114"/>
                  </a:cubicBezTo>
                  <a:cubicBezTo>
                    <a:pt x="34" y="115"/>
                    <a:pt x="34" y="116"/>
                    <a:pt x="35" y="116"/>
                  </a:cubicBezTo>
                  <a:cubicBezTo>
                    <a:pt x="35" y="116"/>
                    <a:pt x="36" y="115"/>
                    <a:pt x="37" y="115"/>
                  </a:cubicBezTo>
                  <a:cubicBezTo>
                    <a:pt x="39" y="113"/>
                    <a:pt x="40" y="113"/>
                    <a:pt x="41" y="113"/>
                  </a:cubicBezTo>
                  <a:cubicBezTo>
                    <a:pt x="41" y="113"/>
                    <a:pt x="42" y="113"/>
                    <a:pt x="43" y="113"/>
                  </a:cubicBezTo>
                  <a:cubicBezTo>
                    <a:pt x="43" y="113"/>
                    <a:pt x="43" y="113"/>
                    <a:pt x="43" y="113"/>
                  </a:cubicBezTo>
                  <a:cubicBezTo>
                    <a:pt x="43" y="112"/>
                    <a:pt x="43" y="112"/>
                    <a:pt x="43" y="112"/>
                  </a:cubicBezTo>
                  <a:cubicBezTo>
                    <a:pt x="44" y="111"/>
                    <a:pt x="45" y="110"/>
                    <a:pt x="46" y="108"/>
                  </a:cubicBezTo>
                  <a:cubicBezTo>
                    <a:pt x="47" y="108"/>
                    <a:pt x="47" y="107"/>
                    <a:pt x="47" y="107"/>
                  </a:cubicBezTo>
                  <a:cubicBezTo>
                    <a:pt x="48" y="106"/>
                    <a:pt x="48" y="106"/>
                    <a:pt x="48" y="106"/>
                  </a:cubicBezTo>
                  <a:cubicBezTo>
                    <a:pt x="49" y="105"/>
                    <a:pt x="50" y="104"/>
                    <a:pt x="51" y="103"/>
                  </a:cubicBezTo>
                  <a:cubicBezTo>
                    <a:pt x="53" y="102"/>
                    <a:pt x="55" y="102"/>
                    <a:pt x="56" y="102"/>
                  </a:cubicBezTo>
                  <a:cubicBezTo>
                    <a:pt x="57" y="102"/>
                    <a:pt x="58" y="102"/>
                    <a:pt x="58" y="102"/>
                  </a:cubicBezTo>
                  <a:cubicBezTo>
                    <a:pt x="70" y="101"/>
                    <a:pt x="70" y="101"/>
                    <a:pt x="70" y="101"/>
                  </a:cubicBezTo>
                  <a:cubicBezTo>
                    <a:pt x="71" y="101"/>
                    <a:pt x="71" y="101"/>
                    <a:pt x="71" y="101"/>
                  </a:cubicBezTo>
                  <a:cubicBezTo>
                    <a:pt x="72" y="100"/>
                    <a:pt x="72" y="100"/>
                    <a:pt x="72" y="100"/>
                  </a:cubicBezTo>
                  <a:cubicBezTo>
                    <a:pt x="72" y="100"/>
                    <a:pt x="72" y="100"/>
                    <a:pt x="73" y="99"/>
                  </a:cubicBezTo>
                  <a:cubicBezTo>
                    <a:pt x="75" y="97"/>
                    <a:pt x="75" y="97"/>
                    <a:pt x="75" y="97"/>
                  </a:cubicBezTo>
                  <a:cubicBezTo>
                    <a:pt x="75" y="96"/>
                    <a:pt x="75" y="96"/>
                    <a:pt x="75" y="96"/>
                  </a:cubicBezTo>
                  <a:cubicBezTo>
                    <a:pt x="75" y="95"/>
                    <a:pt x="75" y="95"/>
                    <a:pt x="75" y="95"/>
                  </a:cubicBezTo>
                  <a:cubicBezTo>
                    <a:pt x="76" y="95"/>
                    <a:pt x="76" y="95"/>
                    <a:pt x="76" y="95"/>
                  </a:cubicBezTo>
                  <a:cubicBezTo>
                    <a:pt x="76" y="94"/>
                    <a:pt x="76" y="94"/>
                    <a:pt x="76" y="94"/>
                  </a:cubicBezTo>
                  <a:cubicBezTo>
                    <a:pt x="74" y="93"/>
                    <a:pt x="72" y="91"/>
                    <a:pt x="71" y="90"/>
                  </a:cubicBezTo>
                  <a:cubicBezTo>
                    <a:pt x="69" y="89"/>
                    <a:pt x="68" y="87"/>
                    <a:pt x="66" y="86"/>
                  </a:cubicBezTo>
                  <a:cubicBezTo>
                    <a:pt x="65" y="84"/>
                    <a:pt x="61" y="84"/>
                    <a:pt x="60" y="84"/>
                  </a:cubicBezTo>
                  <a:cubicBezTo>
                    <a:pt x="57" y="83"/>
                    <a:pt x="59" y="81"/>
                    <a:pt x="60" y="79"/>
                  </a:cubicBezTo>
                  <a:cubicBezTo>
                    <a:pt x="61" y="80"/>
                    <a:pt x="61" y="81"/>
                    <a:pt x="62" y="81"/>
                  </a:cubicBezTo>
                  <a:cubicBezTo>
                    <a:pt x="62" y="80"/>
                    <a:pt x="61" y="79"/>
                    <a:pt x="61" y="77"/>
                  </a:cubicBezTo>
                  <a:cubicBezTo>
                    <a:pt x="61" y="77"/>
                    <a:pt x="62" y="75"/>
                    <a:pt x="62" y="75"/>
                  </a:cubicBezTo>
                  <a:cubicBezTo>
                    <a:pt x="62" y="73"/>
                    <a:pt x="61" y="74"/>
                    <a:pt x="61" y="72"/>
                  </a:cubicBezTo>
                  <a:cubicBezTo>
                    <a:pt x="61" y="69"/>
                    <a:pt x="73" y="66"/>
                    <a:pt x="76" y="65"/>
                  </a:cubicBezTo>
                  <a:cubicBezTo>
                    <a:pt x="83" y="62"/>
                    <a:pt x="87" y="57"/>
                    <a:pt x="93" y="53"/>
                  </a:cubicBezTo>
                  <a:cubicBezTo>
                    <a:pt x="95" y="51"/>
                    <a:pt x="103" y="48"/>
                    <a:pt x="104" y="45"/>
                  </a:cubicBezTo>
                  <a:cubicBezTo>
                    <a:pt x="104" y="44"/>
                    <a:pt x="103" y="43"/>
                    <a:pt x="103" y="42"/>
                  </a:cubicBezTo>
                  <a:cubicBezTo>
                    <a:pt x="103" y="41"/>
                    <a:pt x="103" y="40"/>
                    <a:pt x="103" y="39"/>
                  </a:cubicBezTo>
                  <a:cubicBezTo>
                    <a:pt x="104" y="38"/>
                    <a:pt x="104" y="37"/>
                    <a:pt x="104" y="36"/>
                  </a:cubicBezTo>
                  <a:cubicBezTo>
                    <a:pt x="105" y="35"/>
                    <a:pt x="104" y="34"/>
                    <a:pt x="104" y="34"/>
                  </a:cubicBezTo>
                  <a:cubicBezTo>
                    <a:pt x="105" y="27"/>
                    <a:pt x="107" y="21"/>
                    <a:pt x="113" y="16"/>
                  </a:cubicBezTo>
                  <a:cubicBezTo>
                    <a:pt x="114" y="15"/>
                    <a:pt x="116" y="13"/>
                    <a:pt x="116" y="13"/>
                  </a:cubicBezTo>
                  <a:cubicBezTo>
                    <a:pt x="117" y="13"/>
                    <a:pt x="117" y="13"/>
                    <a:pt x="118" y="13"/>
                  </a:cubicBezTo>
                  <a:cubicBezTo>
                    <a:pt x="118" y="13"/>
                    <a:pt x="118" y="13"/>
                    <a:pt x="118" y="13"/>
                  </a:cubicBezTo>
                  <a:cubicBezTo>
                    <a:pt x="118" y="12"/>
                    <a:pt x="117" y="11"/>
                    <a:pt x="117" y="11"/>
                  </a:cubicBezTo>
                  <a:cubicBezTo>
                    <a:pt x="116" y="11"/>
                    <a:pt x="116" y="11"/>
                    <a:pt x="116" y="11"/>
                  </a:cubicBezTo>
                  <a:cubicBezTo>
                    <a:pt x="115" y="9"/>
                    <a:pt x="113" y="8"/>
                    <a:pt x="112" y="6"/>
                  </a:cubicBezTo>
                  <a:cubicBezTo>
                    <a:pt x="110" y="5"/>
                    <a:pt x="110" y="5"/>
                    <a:pt x="110" y="5"/>
                  </a:cubicBezTo>
                  <a:cubicBezTo>
                    <a:pt x="111" y="4"/>
                    <a:pt x="111" y="4"/>
                    <a:pt x="111" y="4"/>
                  </a:cubicBezTo>
                  <a:cubicBezTo>
                    <a:pt x="111" y="4"/>
                    <a:pt x="111" y="3"/>
                    <a:pt x="111" y="2"/>
                  </a:cubicBezTo>
                  <a:cubicBezTo>
                    <a:pt x="111" y="2"/>
                    <a:pt x="111" y="1"/>
                    <a:pt x="111" y="1"/>
                  </a:cubicBezTo>
                  <a:cubicBezTo>
                    <a:pt x="110" y="1"/>
                    <a:pt x="110" y="0"/>
                    <a:pt x="108" y="0"/>
                  </a:cubicBezTo>
                  <a:cubicBezTo>
                    <a:pt x="108" y="0"/>
                    <a:pt x="108" y="0"/>
                    <a:pt x="1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450"/>
            <p:cNvSpPr>
              <a:spLocks noEditPoints="1"/>
            </p:cNvSpPr>
            <p:nvPr/>
          </p:nvSpPr>
          <p:spPr bwMode="auto">
            <a:xfrm>
              <a:off x="6228043" y="4266611"/>
              <a:ext cx="210444" cy="298473"/>
            </a:xfrm>
            <a:custGeom>
              <a:gdLst>
                <a:gd name="T0" fmla="*/ 44 w 65"/>
                <a:gd name="T1" fmla="*/ 79 h 92"/>
                <a:gd name="T2" fmla="*/ 44 w 65"/>
                <a:gd name="T3" fmla="*/ 0 h 92"/>
                <a:gd name="T4" fmla="*/ 42 w 65"/>
                <a:gd name="T5" fmla="*/ 2 h 92"/>
                <a:gd name="T6" fmla="*/ 40 w 65"/>
                <a:gd name="T7" fmla="*/ 4 h 92"/>
                <a:gd name="T8" fmla="*/ 36 w 65"/>
                <a:gd name="T9" fmla="*/ 7 h 92"/>
                <a:gd name="T10" fmla="*/ 22 w 65"/>
                <a:gd name="T11" fmla="*/ 8 h 92"/>
                <a:gd name="T12" fmla="*/ 17 w 65"/>
                <a:gd name="T13" fmla="*/ 10 h 92"/>
                <a:gd name="T14" fmla="*/ 15 w 65"/>
                <a:gd name="T15" fmla="*/ 12 h 92"/>
                <a:gd name="T16" fmla="*/ 13 w 65"/>
                <a:gd name="T17" fmla="*/ 15 h 92"/>
                <a:gd name="T18" fmla="*/ 12 w 65"/>
                <a:gd name="T19" fmla="*/ 16 h 92"/>
                <a:gd name="T20" fmla="*/ 11 w 65"/>
                <a:gd name="T21" fmla="*/ 19 h 92"/>
                <a:gd name="T22" fmla="*/ 8 w 65"/>
                <a:gd name="T23" fmla="*/ 17 h 92"/>
                <a:gd name="T24" fmla="*/ 8 w 65"/>
                <a:gd name="T25" fmla="*/ 17 h 92"/>
                <a:gd name="T26" fmla="*/ 9 w 65"/>
                <a:gd name="T27" fmla="*/ 20 h 92"/>
                <a:gd name="T28" fmla="*/ 13 w 65"/>
                <a:gd name="T29" fmla="*/ 27 h 92"/>
                <a:gd name="T30" fmla="*/ 10 w 65"/>
                <a:gd name="T31" fmla="*/ 30 h 92"/>
                <a:gd name="T32" fmla="*/ 11 w 65"/>
                <a:gd name="T33" fmla="*/ 30 h 92"/>
                <a:gd name="T34" fmla="*/ 14 w 65"/>
                <a:gd name="T35" fmla="*/ 30 h 92"/>
                <a:gd name="T36" fmla="*/ 14 w 65"/>
                <a:gd name="T37" fmla="*/ 33 h 92"/>
                <a:gd name="T38" fmla="*/ 13 w 65"/>
                <a:gd name="T39" fmla="*/ 38 h 92"/>
                <a:gd name="T40" fmla="*/ 12 w 65"/>
                <a:gd name="T41" fmla="*/ 36 h 92"/>
                <a:gd name="T42" fmla="*/ 11 w 65"/>
                <a:gd name="T43" fmla="*/ 34 h 92"/>
                <a:gd name="T44" fmla="*/ 9 w 65"/>
                <a:gd name="T45" fmla="*/ 35 h 92"/>
                <a:gd name="T46" fmla="*/ 7 w 65"/>
                <a:gd name="T47" fmla="*/ 32 h 92"/>
                <a:gd name="T48" fmla="*/ 5 w 65"/>
                <a:gd name="T49" fmla="*/ 33 h 92"/>
                <a:gd name="T50" fmla="*/ 3 w 65"/>
                <a:gd name="T51" fmla="*/ 38 h 92"/>
                <a:gd name="T52" fmla="*/ 0 w 65"/>
                <a:gd name="T53" fmla="*/ 37 h 92"/>
                <a:gd name="T54" fmla="*/ 0 w 65"/>
                <a:gd name="T55" fmla="*/ 38 h 92"/>
                <a:gd name="T56" fmla="*/ 6 w 65"/>
                <a:gd name="T57" fmla="*/ 39 h 92"/>
                <a:gd name="T58" fmla="*/ 7 w 65"/>
                <a:gd name="T59" fmla="*/ 46 h 92"/>
                <a:gd name="T60" fmla="*/ 14 w 65"/>
                <a:gd name="T61" fmla="*/ 54 h 92"/>
                <a:gd name="T62" fmla="*/ 9 w 65"/>
                <a:gd name="T63" fmla="*/ 57 h 92"/>
                <a:gd name="T64" fmla="*/ 10 w 65"/>
                <a:gd name="T65" fmla="*/ 57 h 92"/>
                <a:gd name="T66" fmla="*/ 12 w 65"/>
                <a:gd name="T67" fmla="*/ 60 h 92"/>
                <a:gd name="T68" fmla="*/ 6 w 65"/>
                <a:gd name="T69" fmla="*/ 64 h 92"/>
                <a:gd name="T70" fmla="*/ 4 w 65"/>
                <a:gd name="T71" fmla="*/ 71 h 92"/>
                <a:gd name="T72" fmla="*/ 2 w 65"/>
                <a:gd name="T73" fmla="*/ 74 h 92"/>
                <a:gd name="T74" fmla="*/ 5 w 65"/>
                <a:gd name="T75" fmla="*/ 81 h 92"/>
                <a:gd name="T76" fmla="*/ 7 w 65"/>
                <a:gd name="T77" fmla="*/ 81 h 92"/>
                <a:gd name="T78" fmla="*/ 10 w 65"/>
                <a:gd name="T79" fmla="*/ 81 h 92"/>
                <a:gd name="T80" fmla="*/ 4 w 65"/>
                <a:gd name="T81" fmla="*/ 83 h 92"/>
                <a:gd name="T82" fmla="*/ 9 w 65"/>
                <a:gd name="T83" fmla="*/ 85 h 92"/>
                <a:gd name="T84" fmla="*/ 7 w 65"/>
                <a:gd name="T85" fmla="*/ 85 h 92"/>
                <a:gd name="T86" fmla="*/ 2 w 65"/>
                <a:gd name="T87" fmla="*/ 84 h 92"/>
                <a:gd name="T88" fmla="*/ 4 w 65"/>
                <a:gd name="T89" fmla="*/ 86 h 92"/>
                <a:gd name="T90" fmla="*/ 15 w 65"/>
                <a:gd name="T91" fmla="*/ 84 h 92"/>
                <a:gd name="T92" fmla="*/ 23 w 65"/>
                <a:gd name="T93" fmla="*/ 82 h 92"/>
                <a:gd name="T94" fmla="*/ 24 w 65"/>
                <a:gd name="T95" fmla="*/ 88 h 92"/>
                <a:gd name="T96" fmla="*/ 25 w 65"/>
                <a:gd name="T97" fmla="*/ 84 h 92"/>
                <a:gd name="T98" fmla="*/ 28 w 65"/>
                <a:gd name="T99" fmla="*/ 85 h 92"/>
                <a:gd name="T100" fmla="*/ 31 w 65"/>
                <a:gd name="T101" fmla="*/ 78 h 92"/>
                <a:gd name="T102" fmla="*/ 40 w 65"/>
                <a:gd name="T103" fmla="*/ 78 h 92"/>
                <a:gd name="T104" fmla="*/ 44 w 65"/>
                <a:gd name="T105" fmla="*/ 79 h 92"/>
                <a:gd name="T106" fmla="*/ 44 w 65"/>
                <a:gd name="T107" fmla="*/ 77 h 92"/>
                <a:gd name="T108" fmla="*/ 47 w 65"/>
                <a:gd name="T109" fmla="*/ 72 h 92"/>
                <a:gd name="T110" fmla="*/ 55 w 65"/>
                <a:gd name="T111" fmla="*/ 75 h 92"/>
                <a:gd name="T112" fmla="*/ 59 w 65"/>
                <a:gd name="T113" fmla="*/ 72 h 92"/>
                <a:gd name="T114" fmla="*/ 62 w 65"/>
                <a:gd name="T115" fmla="*/ 54 h 92"/>
                <a:gd name="T116" fmla="*/ 61 w 65"/>
                <a:gd name="T117" fmla="*/ 31 h 92"/>
                <a:gd name="T118" fmla="*/ 53 w 65"/>
                <a:gd name="T119" fmla="*/ 15 h 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 h="92">
                  <a:moveTo>
                    <a:pt x="44" y="79"/>
                  </a:moveTo>
                  <a:cubicBezTo>
                    <a:pt x="44" y="79"/>
                    <a:pt x="44" y="79"/>
                    <a:pt x="44" y="79"/>
                  </a:cubicBezTo>
                  <a:cubicBezTo>
                    <a:pt x="44" y="79"/>
                    <a:pt x="44" y="79"/>
                    <a:pt x="44" y="79"/>
                  </a:cubicBezTo>
                  <a:moveTo>
                    <a:pt x="44" y="0"/>
                  </a:moveTo>
                  <a:cubicBezTo>
                    <a:pt x="44" y="0"/>
                    <a:pt x="44" y="0"/>
                    <a:pt x="44" y="0"/>
                  </a:cubicBezTo>
                  <a:cubicBezTo>
                    <a:pt x="43" y="1"/>
                    <a:pt x="43" y="1"/>
                    <a:pt x="42" y="2"/>
                  </a:cubicBezTo>
                  <a:cubicBezTo>
                    <a:pt x="41" y="4"/>
                    <a:pt x="41" y="4"/>
                    <a:pt x="41" y="4"/>
                  </a:cubicBezTo>
                  <a:cubicBezTo>
                    <a:pt x="40" y="4"/>
                    <a:pt x="40" y="4"/>
                    <a:pt x="40" y="4"/>
                  </a:cubicBezTo>
                  <a:cubicBezTo>
                    <a:pt x="40" y="5"/>
                    <a:pt x="39" y="6"/>
                    <a:pt x="38" y="6"/>
                  </a:cubicBezTo>
                  <a:cubicBezTo>
                    <a:pt x="37" y="6"/>
                    <a:pt x="37" y="7"/>
                    <a:pt x="36" y="7"/>
                  </a:cubicBezTo>
                  <a:cubicBezTo>
                    <a:pt x="24" y="8"/>
                    <a:pt x="24" y="8"/>
                    <a:pt x="24" y="8"/>
                  </a:cubicBezTo>
                  <a:cubicBezTo>
                    <a:pt x="23" y="8"/>
                    <a:pt x="22" y="8"/>
                    <a:pt x="22" y="8"/>
                  </a:cubicBezTo>
                  <a:cubicBezTo>
                    <a:pt x="20" y="8"/>
                    <a:pt x="19" y="8"/>
                    <a:pt x="18" y="8"/>
                  </a:cubicBezTo>
                  <a:cubicBezTo>
                    <a:pt x="18" y="8"/>
                    <a:pt x="17" y="9"/>
                    <a:pt x="17" y="10"/>
                  </a:cubicBezTo>
                  <a:cubicBezTo>
                    <a:pt x="17" y="10"/>
                    <a:pt x="16" y="10"/>
                    <a:pt x="16" y="11"/>
                  </a:cubicBezTo>
                  <a:cubicBezTo>
                    <a:pt x="16" y="11"/>
                    <a:pt x="16" y="12"/>
                    <a:pt x="15" y="12"/>
                  </a:cubicBezTo>
                  <a:cubicBezTo>
                    <a:pt x="15" y="12"/>
                    <a:pt x="15" y="12"/>
                    <a:pt x="15" y="12"/>
                  </a:cubicBezTo>
                  <a:cubicBezTo>
                    <a:pt x="14" y="13"/>
                    <a:pt x="13" y="15"/>
                    <a:pt x="13" y="15"/>
                  </a:cubicBezTo>
                  <a:cubicBezTo>
                    <a:pt x="12" y="16"/>
                    <a:pt x="12" y="16"/>
                    <a:pt x="12" y="16"/>
                  </a:cubicBezTo>
                  <a:cubicBezTo>
                    <a:pt x="12" y="16"/>
                    <a:pt x="12" y="16"/>
                    <a:pt x="12" y="16"/>
                  </a:cubicBezTo>
                  <a:cubicBezTo>
                    <a:pt x="12" y="17"/>
                    <a:pt x="11" y="17"/>
                    <a:pt x="11" y="17"/>
                  </a:cubicBezTo>
                  <a:cubicBezTo>
                    <a:pt x="11" y="18"/>
                    <a:pt x="11" y="19"/>
                    <a:pt x="11" y="19"/>
                  </a:cubicBezTo>
                  <a:cubicBezTo>
                    <a:pt x="11" y="19"/>
                    <a:pt x="10" y="18"/>
                    <a:pt x="9" y="18"/>
                  </a:cubicBezTo>
                  <a:cubicBezTo>
                    <a:pt x="8" y="17"/>
                    <a:pt x="8" y="17"/>
                    <a:pt x="8" y="17"/>
                  </a:cubicBezTo>
                  <a:cubicBezTo>
                    <a:pt x="9" y="17"/>
                    <a:pt x="9" y="17"/>
                    <a:pt x="9" y="17"/>
                  </a:cubicBezTo>
                  <a:cubicBezTo>
                    <a:pt x="8" y="17"/>
                    <a:pt x="8" y="17"/>
                    <a:pt x="8" y="17"/>
                  </a:cubicBezTo>
                  <a:cubicBezTo>
                    <a:pt x="8" y="17"/>
                    <a:pt x="8" y="17"/>
                    <a:pt x="7" y="17"/>
                  </a:cubicBezTo>
                  <a:cubicBezTo>
                    <a:pt x="7" y="19"/>
                    <a:pt x="8" y="20"/>
                    <a:pt x="9" y="20"/>
                  </a:cubicBezTo>
                  <a:cubicBezTo>
                    <a:pt x="10" y="21"/>
                    <a:pt x="11" y="23"/>
                    <a:pt x="11" y="25"/>
                  </a:cubicBezTo>
                  <a:cubicBezTo>
                    <a:pt x="12" y="26"/>
                    <a:pt x="13" y="26"/>
                    <a:pt x="13" y="27"/>
                  </a:cubicBezTo>
                  <a:cubicBezTo>
                    <a:pt x="13" y="27"/>
                    <a:pt x="13" y="27"/>
                    <a:pt x="13" y="27"/>
                  </a:cubicBezTo>
                  <a:cubicBezTo>
                    <a:pt x="13" y="27"/>
                    <a:pt x="10" y="29"/>
                    <a:pt x="10" y="30"/>
                  </a:cubicBezTo>
                  <a:cubicBezTo>
                    <a:pt x="10" y="30"/>
                    <a:pt x="10" y="30"/>
                    <a:pt x="10" y="30"/>
                  </a:cubicBezTo>
                  <a:cubicBezTo>
                    <a:pt x="10" y="30"/>
                    <a:pt x="11" y="30"/>
                    <a:pt x="11" y="30"/>
                  </a:cubicBezTo>
                  <a:cubicBezTo>
                    <a:pt x="12" y="30"/>
                    <a:pt x="12" y="30"/>
                    <a:pt x="13" y="30"/>
                  </a:cubicBezTo>
                  <a:cubicBezTo>
                    <a:pt x="13" y="30"/>
                    <a:pt x="14" y="30"/>
                    <a:pt x="14" y="30"/>
                  </a:cubicBezTo>
                  <a:cubicBezTo>
                    <a:pt x="13" y="31"/>
                    <a:pt x="12" y="31"/>
                    <a:pt x="12" y="32"/>
                  </a:cubicBezTo>
                  <a:cubicBezTo>
                    <a:pt x="12" y="32"/>
                    <a:pt x="13" y="33"/>
                    <a:pt x="14" y="33"/>
                  </a:cubicBezTo>
                  <a:cubicBezTo>
                    <a:pt x="12" y="34"/>
                    <a:pt x="15" y="35"/>
                    <a:pt x="16" y="35"/>
                  </a:cubicBezTo>
                  <a:cubicBezTo>
                    <a:pt x="14" y="36"/>
                    <a:pt x="14" y="36"/>
                    <a:pt x="13" y="38"/>
                  </a:cubicBezTo>
                  <a:cubicBezTo>
                    <a:pt x="13" y="37"/>
                    <a:pt x="13" y="35"/>
                    <a:pt x="13" y="35"/>
                  </a:cubicBezTo>
                  <a:cubicBezTo>
                    <a:pt x="13" y="35"/>
                    <a:pt x="12" y="35"/>
                    <a:pt x="12" y="36"/>
                  </a:cubicBezTo>
                  <a:cubicBezTo>
                    <a:pt x="12" y="35"/>
                    <a:pt x="12" y="34"/>
                    <a:pt x="12" y="34"/>
                  </a:cubicBezTo>
                  <a:cubicBezTo>
                    <a:pt x="12" y="34"/>
                    <a:pt x="11" y="34"/>
                    <a:pt x="11" y="34"/>
                  </a:cubicBezTo>
                  <a:cubicBezTo>
                    <a:pt x="11" y="34"/>
                    <a:pt x="11" y="34"/>
                    <a:pt x="10" y="33"/>
                  </a:cubicBezTo>
                  <a:cubicBezTo>
                    <a:pt x="10" y="34"/>
                    <a:pt x="10" y="35"/>
                    <a:pt x="9" y="35"/>
                  </a:cubicBezTo>
                  <a:cubicBezTo>
                    <a:pt x="9" y="34"/>
                    <a:pt x="9" y="33"/>
                    <a:pt x="8" y="33"/>
                  </a:cubicBezTo>
                  <a:cubicBezTo>
                    <a:pt x="8" y="32"/>
                    <a:pt x="7" y="32"/>
                    <a:pt x="7" y="32"/>
                  </a:cubicBezTo>
                  <a:cubicBezTo>
                    <a:pt x="6" y="32"/>
                    <a:pt x="6" y="35"/>
                    <a:pt x="6" y="36"/>
                  </a:cubicBezTo>
                  <a:cubicBezTo>
                    <a:pt x="6" y="35"/>
                    <a:pt x="6" y="33"/>
                    <a:pt x="5" y="33"/>
                  </a:cubicBezTo>
                  <a:cubicBezTo>
                    <a:pt x="5" y="33"/>
                    <a:pt x="5" y="33"/>
                    <a:pt x="5" y="33"/>
                  </a:cubicBezTo>
                  <a:cubicBezTo>
                    <a:pt x="3" y="33"/>
                    <a:pt x="4" y="37"/>
                    <a:pt x="3" y="38"/>
                  </a:cubicBezTo>
                  <a:cubicBezTo>
                    <a:pt x="3" y="37"/>
                    <a:pt x="3" y="35"/>
                    <a:pt x="3" y="34"/>
                  </a:cubicBezTo>
                  <a:cubicBezTo>
                    <a:pt x="2" y="37"/>
                    <a:pt x="1" y="34"/>
                    <a:pt x="0" y="37"/>
                  </a:cubicBezTo>
                  <a:cubicBezTo>
                    <a:pt x="0" y="37"/>
                    <a:pt x="0" y="37"/>
                    <a:pt x="0" y="37"/>
                  </a:cubicBezTo>
                  <a:cubicBezTo>
                    <a:pt x="0" y="38"/>
                    <a:pt x="0" y="38"/>
                    <a:pt x="0" y="38"/>
                  </a:cubicBezTo>
                  <a:cubicBezTo>
                    <a:pt x="2" y="39"/>
                    <a:pt x="4" y="38"/>
                    <a:pt x="6" y="40"/>
                  </a:cubicBezTo>
                  <a:cubicBezTo>
                    <a:pt x="6" y="39"/>
                    <a:pt x="6" y="39"/>
                    <a:pt x="6" y="39"/>
                  </a:cubicBezTo>
                  <a:cubicBezTo>
                    <a:pt x="6" y="39"/>
                    <a:pt x="6" y="40"/>
                    <a:pt x="6" y="41"/>
                  </a:cubicBezTo>
                  <a:cubicBezTo>
                    <a:pt x="6" y="43"/>
                    <a:pt x="6" y="44"/>
                    <a:pt x="7" y="46"/>
                  </a:cubicBezTo>
                  <a:cubicBezTo>
                    <a:pt x="7" y="47"/>
                    <a:pt x="9" y="51"/>
                    <a:pt x="7" y="52"/>
                  </a:cubicBezTo>
                  <a:cubicBezTo>
                    <a:pt x="9" y="53"/>
                    <a:pt x="11" y="53"/>
                    <a:pt x="14" y="54"/>
                  </a:cubicBezTo>
                  <a:cubicBezTo>
                    <a:pt x="13" y="54"/>
                    <a:pt x="9" y="56"/>
                    <a:pt x="9" y="57"/>
                  </a:cubicBezTo>
                  <a:cubicBezTo>
                    <a:pt x="9" y="57"/>
                    <a:pt x="9" y="57"/>
                    <a:pt x="9" y="57"/>
                  </a:cubicBezTo>
                  <a:cubicBezTo>
                    <a:pt x="9" y="57"/>
                    <a:pt x="9" y="57"/>
                    <a:pt x="9" y="57"/>
                  </a:cubicBezTo>
                  <a:cubicBezTo>
                    <a:pt x="9" y="57"/>
                    <a:pt x="10" y="57"/>
                    <a:pt x="10" y="57"/>
                  </a:cubicBezTo>
                  <a:cubicBezTo>
                    <a:pt x="10" y="57"/>
                    <a:pt x="10" y="57"/>
                    <a:pt x="10" y="57"/>
                  </a:cubicBezTo>
                  <a:cubicBezTo>
                    <a:pt x="12" y="60"/>
                    <a:pt x="12" y="60"/>
                    <a:pt x="12" y="60"/>
                  </a:cubicBezTo>
                  <a:cubicBezTo>
                    <a:pt x="12" y="60"/>
                    <a:pt x="12" y="60"/>
                    <a:pt x="12" y="60"/>
                  </a:cubicBezTo>
                  <a:cubicBezTo>
                    <a:pt x="10" y="60"/>
                    <a:pt x="6" y="63"/>
                    <a:pt x="6" y="64"/>
                  </a:cubicBezTo>
                  <a:cubicBezTo>
                    <a:pt x="7" y="64"/>
                    <a:pt x="9" y="64"/>
                    <a:pt x="10" y="65"/>
                  </a:cubicBezTo>
                  <a:cubicBezTo>
                    <a:pt x="7" y="66"/>
                    <a:pt x="4" y="68"/>
                    <a:pt x="4" y="71"/>
                  </a:cubicBezTo>
                  <a:cubicBezTo>
                    <a:pt x="3" y="73"/>
                    <a:pt x="5" y="74"/>
                    <a:pt x="5" y="76"/>
                  </a:cubicBezTo>
                  <a:cubicBezTo>
                    <a:pt x="5" y="75"/>
                    <a:pt x="3" y="74"/>
                    <a:pt x="2" y="74"/>
                  </a:cubicBezTo>
                  <a:cubicBezTo>
                    <a:pt x="3" y="76"/>
                    <a:pt x="3" y="77"/>
                    <a:pt x="4" y="79"/>
                  </a:cubicBezTo>
                  <a:cubicBezTo>
                    <a:pt x="4" y="81"/>
                    <a:pt x="4" y="81"/>
                    <a:pt x="5" y="81"/>
                  </a:cubicBezTo>
                  <a:cubicBezTo>
                    <a:pt x="6" y="81"/>
                    <a:pt x="6" y="81"/>
                    <a:pt x="6" y="81"/>
                  </a:cubicBezTo>
                  <a:cubicBezTo>
                    <a:pt x="7" y="81"/>
                    <a:pt x="7" y="81"/>
                    <a:pt x="7" y="81"/>
                  </a:cubicBezTo>
                  <a:cubicBezTo>
                    <a:pt x="8" y="81"/>
                    <a:pt x="8" y="80"/>
                    <a:pt x="8" y="80"/>
                  </a:cubicBezTo>
                  <a:cubicBezTo>
                    <a:pt x="9" y="80"/>
                    <a:pt x="9" y="81"/>
                    <a:pt x="10" y="81"/>
                  </a:cubicBezTo>
                  <a:cubicBezTo>
                    <a:pt x="9" y="81"/>
                    <a:pt x="8" y="81"/>
                    <a:pt x="8" y="82"/>
                  </a:cubicBezTo>
                  <a:cubicBezTo>
                    <a:pt x="7" y="82"/>
                    <a:pt x="5" y="82"/>
                    <a:pt x="4" y="83"/>
                  </a:cubicBezTo>
                  <a:cubicBezTo>
                    <a:pt x="5" y="82"/>
                    <a:pt x="5" y="82"/>
                    <a:pt x="5" y="82"/>
                  </a:cubicBezTo>
                  <a:cubicBezTo>
                    <a:pt x="7" y="82"/>
                    <a:pt x="8" y="84"/>
                    <a:pt x="9" y="85"/>
                  </a:cubicBezTo>
                  <a:cubicBezTo>
                    <a:pt x="8" y="85"/>
                    <a:pt x="8" y="85"/>
                    <a:pt x="8" y="85"/>
                  </a:cubicBezTo>
                  <a:cubicBezTo>
                    <a:pt x="8" y="85"/>
                    <a:pt x="7" y="85"/>
                    <a:pt x="7" y="85"/>
                  </a:cubicBezTo>
                  <a:cubicBezTo>
                    <a:pt x="6" y="86"/>
                    <a:pt x="6" y="86"/>
                    <a:pt x="6" y="86"/>
                  </a:cubicBezTo>
                  <a:cubicBezTo>
                    <a:pt x="4" y="86"/>
                    <a:pt x="4" y="84"/>
                    <a:pt x="2" y="84"/>
                  </a:cubicBezTo>
                  <a:cubicBezTo>
                    <a:pt x="2" y="84"/>
                    <a:pt x="2" y="84"/>
                    <a:pt x="2" y="84"/>
                  </a:cubicBezTo>
                  <a:cubicBezTo>
                    <a:pt x="2" y="86"/>
                    <a:pt x="4" y="85"/>
                    <a:pt x="4" y="86"/>
                  </a:cubicBezTo>
                  <a:cubicBezTo>
                    <a:pt x="5" y="88"/>
                    <a:pt x="6" y="90"/>
                    <a:pt x="7" y="92"/>
                  </a:cubicBezTo>
                  <a:cubicBezTo>
                    <a:pt x="10" y="88"/>
                    <a:pt x="11" y="86"/>
                    <a:pt x="15" y="84"/>
                  </a:cubicBezTo>
                  <a:cubicBezTo>
                    <a:pt x="16" y="84"/>
                    <a:pt x="20" y="82"/>
                    <a:pt x="22" y="82"/>
                  </a:cubicBezTo>
                  <a:cubicBezTo>
                    <a:pt x="22" y="82"/>
                    <a:pt x="23" y="82"/>
                    <a:pt x="23" y="82"/>
                  </a:cubicBezTo>
                  <a:cubicBezTo>
                    <a:pt x="23" y="83"/>
                    <a:pt x="18" y="85"/>
                    <a:pt x="19" y="86"/>
                  </a:cubicBezTo>
                  <a:cubicBezTo>
                    <a:pt x="24" y="88"/>
                    <a:pt x="24" y="88"/>
                    <a:pt x="24" y="88"/>
                  </a:cubicBezTo>
                  <a:cubicBezTo>
                    <a:pt x="24" y="88"/>
                    <a:pt x="26" y="85"/>
                    <a:pt x="26" y="85"/>
                  </a:cubicBezTo>
                  <a:cubicBezTo>
                    <a:pt x="26" y="85"/>
                    <a:pt x="25" y="84"/>
                    <a:pt x="25" y="84"/>
                  </a:cubicBezTo>
                  <a:cubicBezTo>
                    <a:pt x="24" y="82"/>
                    <a:pt x="25" y="81"/>
                    <a:pt x="26" y="79"/>
                  </a:cubicBezTo>
                  <a:cubicBezTo>
                    <a:pt x="26" y="81"/>
                    <a:pt x="27" y="84"/>
                    <a:pt x="28" y="85"/>
                  </a:cubicBezTo>
                  <a:cubicBezTo>
                    <a:pt x="28" y="83"/>
                    <a:pt x="31" y="82"/>
                    <a:pt x="31" y="81"/>
                  </a:cubicBezTo>
                  <a:cubicBezTo>
                    <a:pt x="31" y="80"/>
                    <a:pt x="31" y="79"/>
                    <a:pt x="31" y="78"/>
                  </a:cubicBezTo>
                  <a:cubicBezTo>
                    <a:pt x="31" y="77"/>
                    <a:pt x="35" y="75"/>
                    <a:pt x="37" y="75"/>
                  </a:cubicBezTo>
                  <a:cubicBezTo>
                    <a:pt x="36" y="77"/>
                    <a:pt x="39" y="78"/>
                    <a:pt x="40" y="78"/>
                  </a:cubicBezTo>
                  <a:cubicBezTo>
                    <a:pt x="41" y="79"/>
                    <a:pt x="42" y="80"/>
                    <a:pt x="43" y="80"/>
                  </a:cubicBezTo>
                  <a:cubicBezTo>
                    <a:pt x="44" y="80"/>
                    <a:pt x="44" y="80"/>
                    <a:pt x="44" y="79"/>
                  </a:cubicBezTo>
                  <a:cubicBezTo>
                    <a:pt x="44" y="79"/>
                    <a:pt x="44" y="79"/>
                    <a:pt x="44" y="79"/>
                  </a:cubicBezTo>
                  <a:cubicBezTo>
                    <a:pt x="44" y="79"/>
                    <a:pt x="44" y="78"/>
                    <a:pt x="44" y="77"/>
                  </a:cubicBezTo>
                  <a:cubicBezTo>
                    <a:pt x="44" y="77"/>
                    <a:pt x="47" y="76"/>
                    <a:pt x="48" y="75"/>
                  </a:cubicBezTo>
                  <a:cubicBezTo>
                    <a:pt x="47" y="75"/>
                    <a:pt x="47" y="73"/>
                    <a:pt x="47" y="72"/>
                  </a:cubicBezTo>
                  <a:cubicBezTo>
                    <a:pt x="48" y="73"/>
                    <a:pt x="52" y="73"/>
                    <a:pt x="54" y="74"/>
                  </a:cubicBezTo>
                  <a:cubicBezTo>
                    <a:pt x="54" y="74"/>
                    <a:pt x="54" y="75"/>
                    <a:pt x="55" y="75"/>
                  </a:cubicBezTo>
                  <a:cubicBezTo>
                    <a:pt x="55" y="75"/>
                    <a:pt x="55" y="75"/>
                    <a:pt x="55" y="75"/>
                  </a:cubicBezTo>
                  <a:cubicBezTo>
                    <a:pt x="56" y="74"/>
                    <a:pt x="59" y="73"/>
                    <a:pt x="59" y="72"/>
                  </a:cubicBezTo>
                  <a:cubicBezTo>
                    <a:pt x="62" y="66"/>
                    <a:pt x="64" y="60"/>
                    <a:pt x="65" y="53"/>
                  </a:cubicBezTo>
                  <a:cubicBezTo>
                    <a:pt x="64" y="54"/>
                    <a:pt x="63" y="54"/>
                    <a:pt x="62" y="54"/>
                  </a:cubicBezTo>
                  <a:cubicBezTo>
                    <a:pt x="62" y="54"/>
                    <a:pt x="62" y="54"/>
                    <a:pt x="62" y="54"/>
                  </a:cubicBezTo>
                  <a:cubicBezTo>
                    <a:pt x="63" y="46"/>
                    <a:pt x="62" y="38"/>
                    <a:pt x="61" y="31"/>
                  </a:cubicBezTo>
                  <a:cubicBezTo>
                    <a:pt x="61" y="29"/>
                    <a:pt x="60" y="27"/>
                    <a:pt x="59" y="26"/>
                  </a:cubicBezTo>
                  <a:cubicBezTo>
                    <a:pt x="57" y="22"/>
                    <a:pt x="55" y="19"/>
                    <a:pt x="53" y="15"/>
                  </a:cubicBezTo>
                  <a:cubicBezTo>
                    <a:pt x="50" y="10"/>
                    <a:pt x="47" y="5"/>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451"/>
            <p:cNvSpPr/>
            <p:nvPr/>
          </p:nvSpPr>
          <p:spPr bwMode="auto">
            <a:xfrm>
              <a:off x="1645040" y="5201918"/>
              <a:ext cx="477282" cy="530924"/>
            </a:xfrm>
            <a:custGeom>
              <a:gdLst>
                <a:gd name="T0" fmla="*/ 79 w 147"/>
                <a:gd name="T1" fmla="*/ 3 h 163"/>
                <a:gd name="T2" fmla="*/ 73 w 147"/>
                <a:gd name="T3" fmla="*/ 7 h 163"/>
                <a:gd name="T4" fmla="*/ 73 w 147"/>
                <a:gd name="T5" fmla="*/ 5 h 163"/>
                <a:gd name="T6" fmla="*/ 72 w 147"/>
                <a:gd name="T7" fmla="*/ 12 h 163"/>
                <a:gd name="T8" fmla="*/ 76 w 147"/>
                <a:gd name="T9" fmla="*/ 15 h 163"/>
                <a:gd name="T10" fmla="*/ 73 w 147"/>
                <a:gd name="T11" fmla="*/ 19 h 163"/>
                <a:gd name="T12" fmla="*/ 69 w 147"/>
                <a:gd name="T13" fmla="*/ 19 h 163"/>
                <a:gd name="T14" fmla="*/ 67 w 147"/>
                <a:gd name="T15" fmla="*/ 19 h 163"/>
                <a:gd name="T16" fmla="*/ 65 w 147"/>
                <a:gd name="T17" fmla="*/ 23 h 163"/>
                <a:gd name="T18" fmla="*/ 65 w 147"/>
                <a:gd name="T19" fmla="*/ 26 h 163"/>
                <a:gd name="T20" fmla="*/ 62 w 147"/>
                <a:gd name="T21" fmla="*/ 39 h 163"/>
                <a:gd name="T22" fmla="*/ 61 w 147"/>
                <a:gd name="T23" fmla="*/ 41 h 163"/>
                <a:gd name="T24" fmla="*/ 63 w 147"/>
                <a:gd name="T25" fmla="*/ 46 h 163"/>
                <a:gd name="T26" fmla="*/ 65 w 147"/>
                <a:gd name="T27" fmla="*/ 50 h 163"/>
                <a:gd name="T28" fmla="*/ 66 w 147"/>
                <a:gd name="T29" fmla="*/ 54 h 163"/>
                <a:gd name="T30" fmla="*/ 68 w 147"/>
                <a:gd name="T31" fmla="*/ 59 h 163"/>
                <a:gd name="T32" fmla="*/ 66 w 147"/>
                <a:gd name="T33" fmla="*/ 70 h 163"/>
                <a:gd name="T34" fmla="*/ 61 w 147"/>
                <a:gd name="T35" fmla="*/ 85 h 163"/>
                <a:gd name="T36" fmla="*/ 60 w 147"/>
                <a:gd name="T37" fmla="*/ 87 h 163"/>
                <a:gd name="T38" fmla="*/ 60 w 147"/>
                <a:gd name="T39" fmla="*/ 89 h 163"/>
                <a:gd name="T40" fmla="*/ 59 w 147"/>
                <a:gd name="T41" fmla="*/ 92 h 163"/>
                <a:gd name="T42" fmla="*/ 57 w 147"/>
                <a:gd name="T43" fmla="*/ 97 h 163"/>
                <a:gd name="T44" fmla="*/ 56 w 147"/>
                <a:gd name="T45" fmla="*/ 102 h 163"/>
                <a:gd name="T46" fmla="*/ 51 w 147"/>
                <a:gd name="T47" fmla="*/ 101 h 163"/>
                <a:gd name="T48" fmla="*/ 3 w 147"/>
                <a:gd name="T49" fmla="*/ 118 h 163"/>
                <a:gd name="T50" fmla="*/ 7 w 147"/>
                <a:gd name="T51" fmla="*/ 132 h 163"/>
                <a:gd name="T52" fmla="*/ 29 w 147"/>
                <a:gd name="T53" fmla="*/ 160 h 163"/>
                <a:gd name="T54" fmla="*/ 43 w 147"/>
                <a:gd name="T55" fmla="*/ 156 h 163"/>
                <a:gd name="T56" fmla="*/ 52 w 147"/>
                <a:gd name="T57" fmla="*/ 157 h 163"/>
                <a:gd name="T58" fmla="*/ 55 w 147"/>
                <a:gd name="T59" fmla="*/ 156 h 163"/>
                <a:gd name="T60" fmla="*/ 70 w 147"/>
                <a:gd name="T61" fmla="*/ 139 h 163"/>
                <a:gd name="T62" fmla="*/ 83 w 147"/>
                <a:gd name="T63" fmla="*/ 135 h 163"/>
                <a:gd name="T64" fmla="*/ 85 w 147"/>
                <a:gd name="T65" fmla="*/ 130 h 163"/>
                <a:gd name="T66" fmla="*/ 95 w 147"/>
                <a:gd name="T67" fmla="*/ 121 h 163"/>
                <a:gd name="T68" fmla="*/ 108 w 147"/>
                <a:gd name="T69" fmla="*/ 114 h 163"/>
                <a:gd name="T70" fmla="*/ 107 w 147"/>
                <a:gd name="T71" fmla="*/ 109 h 163"/>
                <a:gd name="T72" fmla="*/ 108 w 147"/>
                <a:gd name="T73" fmla="*/ 98 h 163"/>
                <a:gd name="T74" fmla="*/ 116 w 147"/>
                <a:gd name="T75" fmla="*/ 86 h 163"/>
                <a:gd name="T76" fmla="*/ 117 w 147"/>
                <a:gd name="T77" fmla="*/ 90 h 163"/>
                <a:gd name="T78" fmla="*/ 122 w 147"/>
                <a:gd name="T79" fmla="*/ 88 h 163"/>
                <a:gd name="T80" fmla="*/ 132 w 147"/>
                <a:gd name="T81" fmla="*/ 73 h 163"/>
                <a:gd name="T82" fmla="*/ 143 w 147"/>
                <a:gd name="T83" fmla="*/ 58 h 163"/>
                <a:gd name="T84" fmla="*/ 143 w 147"/>
                <a:gd name="T85" fmla="*/ 47 h 163"/>
                <a:gd name="T86" fmla="*/ 136 w 147"/>
                <a:gd name="T87" fmla="*/ 41 h 163"/>
                <a:gd name="T88" fmla="*/ 127 w 147"/>
                <a:gd name="T89" fmla="*/ 30 h 163"/>
                <a:gd name="T90" fmla="*/ 122 w 147"/>
                <a:gd name="T91" fmla="*/ 25 h 163"/>
                <a:gd name="T92" fmla="*/ 120 w 147"/>
                <a:gd name="T93" fmla="*/ 25 h 163"/>
                <a:gd name="T94" fmla="*/ 108 w 147"/>
                <a:gd name="T95" fmla="*/ 22 h 163"/>
                <a:gd name="T96" fmla="*/ 89 w 147"/>
                <a:gd name="T97" fmla="*/ 12 h 163"/>
                <a:gd name="T98" fmla="*/ 83 w 147"/>
                <a:gd name="T99" fmla="*/ 4 h 163"/>
                <a:gd name="T100" fmla="*/ 82 w 147"/>
                <a:gd name="T101" fmla="*/ 0 h 1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 h="163">
                  <a:moveTo>
                    <a:pt x="82" y="0"/>
                  </a:moveTo>
                  <a:cubicBezTo>
                    <a:pt x="81" y="2"/>
                    <a:pt x="80" y="3"/>
                    <a:pt x="79" y="3"/>
                  </a:cubicBezTo>
                  <a:cubicBezTo>
                    <a:pt x="79" y="3"/>
                    <a:pt x="78" y="4"/>
                    <a:pt x="77" y="4"/>
                  </a:cubicBezTo>
                  <a:cubicBezTo>
                    <a:pt x="73" y="7"/>
                    <a:pt x="73" y="7"/>
                    <a:pt x="73" y="7"/>
                  </a:cubicBezTo>
                  <a:cubicBezTo>
                    <a:pt x="73" y="5"/>
                    <a:pt x="73" y="5"/>
                    <a:pt x="73" y="5"/>
                  </a:cubicBezTo>
                  <a:cubicBezTo>
                    <a:pt x="73" y="5"/>
                    <a:pt x="73" y="5"/>
                    <a:pt x="73" y="5"/>
                  </a:cubicBezTo>
                  <a:cubicBezTo>
                    <a:pt x="72" y="7"/>
                    <a:pt x="72" y="9"/>
                    <a:pt x="72" y="11"/>
                  </a:cubicBezTo>
                  <a:cubicBezTo>
                    <a:pt x="72" y="12"/>
                    <a:pt x="72" y="12"/>
                    <a:pt x="72" y="12"/>
                  </a:cubicBezTo>
                  <a:cubicBezTo>
                    <a:pt x="73" y="12"/>
                    <a:pt x="73" y="12"/>
                    <a:pt x="73" y="12"/>
                  </a:cubicBezTo>
                  <a:cubicBezTo>
                    <a:pt x="74" y="13"/>
                    <a:pt x="75" y="14"/>
                    <a:pt x="76" y="15"/>
                  </a:cubicBezTo>
                  <a:cubicBezTo>
                    <a:pt x="78" y="18"/>
                    <a:pt x="78" y="18"/>
                    <a:pt x="78" y="18"/>
                  </a:cubicBezTo>
                  <a:cubicBezTo>
                    <a:pt x="73" y="19"/>
                    <a:pt x="73" y="19"/>
                    <a:pt x="73" y="19"/>
                  </a:cubicBezTo>
                  <a:cubicBezTo>
                    <a:pt x="72" y="19"/>
                    <a:pt x="70" y="19"/>
                    <a:pt x="69" y="19"/>
                  </a:cubicBezTo>
                  <a:cubicBezTo>
                    <a:pt x="69" y="19"/>
                    <a:pt x="69" y="19"/>
                    <a:pt x="69" y="19"/>
                  </a:cubicBezTo>
                  <a:cubicBezTo>
                    <a:pt x="69" y="23"/>
                    <a:pt x="69" y="23"/>
                    <a:pt x="69" y="23"/>
                  </a:cubicBezTo>
                  <a:cubicBezTo>
                    <a:pt x="67" y="19"/>
                    <a:pt x="67" y="19"/>
                    <a:pt x="67" y="19"/>
                  </a:cubicBezTo>
                  <a:cubicBezTo>
                    <a:pt x="67" y="19"/>
                    <a:pt x="67" y="19"/>
                    <a:pt x="67" y="19"/>
                  </a:cubicBezTo>
                  <a:cubicBezTo>
                    <a:pt x="66" y="20"/>
                    <a:pt x="65" y="21"/>
                    <a:pt x="65" y="23"/>
                  </a:cubicBezTo>
                  <a:cubicBezTo>
                    <a:pt x="65" y="24"/>
                    <a:pt x="65" y="24"/>
                    <a:pt x="65" y="24"/>
                  </a:cubicBezTo>
                  <a:cubicBezTo>
                    <a:pt x="65" y="24"/>
                    <a:pt x="65" y="25"/>
                    <a:pt x="65" y="26"/>
                  </a:cubicBezTo>
                  <a:cubicBezTo>
                    <a:pt x="64" y="28"/>
                    <a:pt x="64" y="31"/>
                    <a:pt x="63" y="33"/>
                  </a:cubicBezTo>
                  <a:cubicBezTo>
                    <a:pt x="62" y="39"/>
                    <a:pt x="62" y="39"/>
                    <a:pt x="62" y="39"/>
                  </a:cubicBezTo>
                  <a:cubicBezTo>
                    <a:pt x="62" y="39"/>
                    <a:pt x="62" y="40"/>
                    <a:pt x="62" y="40"/>
                  </a:cubicBezTo>
                  <a:cubicBezTo>
                    <a:pt x="61" y="41"/>
                    <a:pt x="61" y="41"/>
                    <a:pt x="61" y="41"/>
                  </a:cubicBezTo>
                  <a:cubicBezTo>
                    <a:pt x="61" y="41"/>
                    <a:pt x="61" y="43"/>
                    <a:pt x="61" y="43"/>
                  </a:cubicBezTo>
                  <a:cubicBezTo>
                    <a:pt x="62" y="44"/>
                    <a:pt x="62" y="45"/>
                    <a:pt x="63" y="46"/>
                  </a:cubicBezTo>
                  <a:cubicBezTo>
                    <a:pt x="63" y="46"/>
                    <a:pt x="63" y="46"/>
                    <a:pt x="63" y="46"/>
                  </a:cubicBezTo>
                  <a:cubicBezTo>
                    <a:pt x="63" y="48"/>
                    <a:pt x="64" y="49"/>
                    <a:pt x="65" y="50"/>
                  </a:cubicBezTo>
                  <a:cubicBezTo>
                    <a:pt x="65" y="51"/>
                    <a:pt x="65" y="51"/>
                    <a:pt x="65" y="51"/>
                  </a:cubicBezTo>
                  <a:cubicBezTo>
                    <a:pt x="66" y="52"/>
                    <a:pt x="66" y="53"/>
                    <a:pt x="66" y="54"/>
                  </a:cubicBezTo>
                  <a:cubicBezTo>
                    <a:pt x="67" y="55"/>
                    <a:pt x="67" y="55"/>
                    <a:pt x="67" y="55"/>
                  </a:cubicBezTo>
                  <a:cubicBezTo>
                    <a:pt x="67" y="57"/>
                    <a:pt x="68" y="58"/>
                    <a:pt x="68" y="59"/>
                  </a:cubicBezTo>
                  <a:cubicBezTo>
                    <a:pt x="68" y="61"/>
                    <a:pt x="68" y="62"/>
                    <a:pt x="67" y="63"/>
                  </a:cubicBezTo>
                  <a:cubicBezTo>
                    <a:pt x="67" y="66"/>
                    <a:pt x="66" y="68"/>
                    <a:pt x="66" y="70"/>
                  </a:cubicBezTo>
                  <a:cubicBezTo>
                    <a:pt x="63" y="78"/>
                    <a:pt x="63" y="78"/>
                    <a:pt x="63" y="78"/>
                  </a:cubicBezTo>
                  <a:cubicBezTo>
                    <a:pt x="62" y="80"/>
                    <a:pt x="62" y="83"/>
                    <a:pt x="61" y="85"/>
                  </a:cubicBezTo>
                  <a:cubicBezTo>
                    <a:pt x="61" y="86"/>
                    <a:pt x="61" y="86"/>
                    <a:pt x="61" y="86"/>
                  </a:cubicBezTo>
                  <a:cubicBezTo>
                    <a:pt x="60" y="87"/>
                    <a:pt x="60" y="87"/>
                    <a:pt x="60" y="87"/>
                  </a:cubicBezTo>
                  <a:cubicBezTo>
                    <a:pt x="60" y="87"/>
                    <a:pt x="60" y="87"/>
                    <a:pt x="60" y="87"/>
                  </a:cubicBezTo>
                  <a:cubicBezTo>
                    <a:pt x="60" y="89"/>
                    <a:pt x="60" y="89"/>
                    <a:pt x="60" y="89"/>
                  </a:cubicBezTo>
                  <a:cubicBezTo>
                    <a:pt x="60" y="90"/>
                    <a:pt x="59" y="90"/>
                    <a:pt x="59" y="91"/>
                  </a:cubicBezTo>
                  <a:cubicBezTo>
                    <a:pt x="59" y="92"/>
                    <a:pt x="59" y="92"/>
                    <a:pt x="59" y="92"/>
                  </a:cubicBezTo>
                  <a:cubicBezTo>
                    <a:pt x="59" y="92"/>
                    <a:pt x="59" y="92"/>
                    <a:pt x="59" y="92"/>
                  </a:cubicBezTo>
                  <a:cubicBezTo>
                    <a:pt x="58" y="94"/>
                    <a:pt x="58" y="96"/>
                    <a:pt x="57" y="97"/>
                  </a:cubicBezTo>
                  <a:cubicBezTo>
                    <a:pt x="57" y="98"/>
                    <a:pt x="56" y="99"/>
                    <a:pt x="56" y="100"/>
                  </a:cubicBezTo>
                  <a:cubicBezTo>
                    <a:pt x="56" y="102"/>
                    <a:pt x="56" y="102"/>
                    <a:pt x="56" y="102"/>
                  </a:cubicBezTo>
                  <a:cubicBezTo>
                    <a:pt x="55" y="100"/>
                    <a:pt x="55" y="100"/>
                    <a:pt x="55" y="100"/>
                  </a:cubicBezTo>
                  <a:cubicBezTo>
                    <a:pt x="51" y="101"/>
                    <a:pt x="51" y="101"/>
                    <a:pt x="51" y="101"/>
                  </a:cubicBezTo>
                  <a:cubicBezTo>
                    <a:pt x="45" y="103"/>
                    <a:pt x="39" y="105"/>
                    <a:pt x="33" y="107"/>
                  </a:cubicBezTo>
                  <a:cubicBezTo>
                    <a:pt x="3" y="118"/>
                    <a:pt x="3" y="118"/>
                    <a:pt x="3" y="118"/>
                  </a:cubicBezTo>
                  <a:cubicBezTo>
                    <a:pt x="2" y="118"/>
                    <a:pt x="1" y="118"/>
                    <a:pt x="0" y="119"/>
                  </a:cubicBezTo>
                  <a:cubicBezTo>
                    <a:pt x="7" y="132"/>
                    <a:pt x="7" y="132"/>
                    <a:pt x="7" y="132"/>
                  </a:cubicBezTo>
                  <a:cubicBezTo>
                    <a:pt x="11" y="142"/>
                    <a:pt x="16" y="153"/>
                    <a:pt x="21" y="163"/>
                  </a:cubicBezTo>
                  <a:cubicBezTo>
                    <a:pt x="24" y="162"/>
                    <a:pt x="28" y="160"/>
                    <a:pt x="29" y="160"/>
                  </a:cubicBezTo>
                  <a:cubicBezTo>
                    <a:pt x="34" y="158"/>
                    <a:pt x="38" y="156"/>
                    <a:pt x="43" y="156"/>
                  </a:cubicBezTo>
                  <a:cubicBezTo>
                    <a:pt x="43" y="156"/>
                    <a:pt x="43" y="156"/>
                    <a:pt x="43" y="156"/>
                  </a:cubicBezTo>
                  <a:cubicBezTo>
                    <a:pt x="45" y="156"/>
                    <a:pt x="46" y="156"/>
                    <a:pt x="48" y="157"/>
                  </a:cubicBezTo>
                  <a:cubicBezTo>
                    <a:pt x="49" y="157"/>
                    <a:pt x="51" y="157"/>
                    <a:pt x="52" y="157"/>
                  </a:cubicBezTo>
                  <a:cubicBezTo>
                    <a:pt x="53" y="157"/>
                    <a:pt x="54" y="157"/>
                    <a:pt x="54" y="157"/>
                  </a:cubicBezTo>
                  <a:cubicBezTo>
                    <a:pt x="55" y="156"/>
                    <a:pt x="55" y="156"/>
                    <a:pt x="55" y="156"/>
                  </a:cubicBezTo>
                  <a:cubicBezTo>
                    <a:pt x="61" y="153"/>
                    <a:pt x="57" y="142"/>
                    <a:pt x="65" y="140"/>
                  </a:cubicBezTo>
                  <a:cubicBezTo>
                    <a:pt x="67" y="139"/>
                    <a:pt x="69" y="139"/>
                    <a:pt x="70" y="139"/>
                  </a:cubicBezTo>
                  <a:cubicBezTo>
                    <a:pt x="72" y="139"/>
                    <a:pt x="74" y="139"/>
                    <a:pt x="76" y="138"/>
                  </a:cubicBezTo>
                  <a:cubicBezTo>
                    <a:pt x="78" y="137"/>
                    <a:pt x="82" y="136"/>
                    <a:pt x="83" y="135"/>
                  </a:cubicBezTo>
                  <a:cubicBezTo>
                    <a:pt x="84" y="134"/>
                    <a:pt x="84" y="134"/>
                    <a:pt x="84" y="133"/>
                  </a:cubicBezTo>
                  <a:cubicBezTo>
                    <a:pt x="85" y="132"/>
                    <a:pt x="85" y="131"/>
                    <a:pt x="85" y="130"/>
                  </a:cubicBezTo>
                  <a:cubicBezTo>
                    <a:pt x="87" y="127"/>
                    <a:pt x="88" y="125"/>
                    <a:pt x="89" y="123"/>
                  </a:cubicBezTo>
                  <a:cubicBezTo>
                    <a:pt x="89" y="122"/>
                    <a:pt x="94" y="121"/>
                    <a:pt x="95" y="121"/>
                  </a:cubicBezTo>
                  <a:cubicBezTo>
                    <a:pt x="98" y="120"/>
                    <a:pt x="108" y="119"/>
                    <a:pt x="108" y="117"/>
                  </a:cubicBezTo>
                  <a:cubicBezTo>
                    <a:pt x="108" y="114"/>
                    <a:pt x="108" y="114"/>
                    <a:pt x="108" y="114"/>
                  </a:cubicBezTo>
                  <a:cubicBezTo>
                    <a:pt x="108" y="113"/>
                    <a:pt x="107" y="113"/>
                    <a:pt x="107" y="112"/>
                  </a:cubicBezTo>
                  <a:cubicBezTo>
                    <a:pt x="107" y="111"/>
                    <a:pt x="107" y="110"/>
                    <a:pt x="107" y="109"/>
                  </a:cubicBezTo>
                  <a:cubicBezTo>
                    <a:pt x="107" y="107"/>
                    <a:pt x="106" y="106"/>
                    <a:pt x="106" y="104"/>
                  </a:cubicBezTo>
                  <a:cubicBezTo>
                    <a:pt x="106" y="102"/>
                    <a:pt x="107" y="100"/>
                    <a:pt x="108" y="98"/>
                  </a:cubicBezTo>
                  <a:cubicBezTo>
                    <a:pt x="109" y="95"/>
                    <a:pt x="111" y="86"/>
                    <a:pt x="115" y="86"/>
                  </a:cubicBezTo>
                  <a:cubicBezTo>
                    <a:pt x="115" y="86"/>
                    <a:pt x="115" y="86"/>
                    <a:pt x="116" y="86"/>
                  </a:cubicBezTo>
                  <a:cubicBezTo>
                    <a:pt x="117" y="86"/>
                    <a:pt x="117" y="86"/>
                    <a:pt x="116" y="88"/>
                  </a:cubicBezTo>
                  <a:cubicBezTo>
                    <a:pt x="115" y="90"/>
                    <a:pt x="116" y="90"/>
                    <a:pt x="117" y="90"/>
                  </a:cubicBezTo>
                  <a:cubicBezTo>
                    <a:pt x="118" y="90"/>
                    <a:pt x="119" y="90"/>
                    <a:pt x="119" y="90"/>
                  </a:cubicBezTo>
                  <a:cubicBezTo>
                    <a:pt x="122" y="89"/>
                    <a:pt x="121" y="89"/>
                    <a:pt x="122" y="88"/>
                  </a:cubicBezTo>
                  <a:cubicBezTo>
                    <a:pt x="123" y="86"/>
                    <a:pt x="124" y="84"/>
                    <a:pt x="125" y="83"/>
                  </a:cubicBezTo>
                  <a:cubicBezTo>
                    <a:pt x="128" y="79"/>
                    <a:pt x="128" y="75"/>
                    <a:pt x="132" y="73"/>
                  </a:cubicBezTo>
                  <a:cubicBezTo>
                    <a:pt x="135" y="71"/>
                    <a:pt x="137" y="69"/>
                    <a:pt x="139" y="66"/>
                  </a:cubicBezTo>
                  <a:cubicBezTo>
                    <a:pt x="140" y="64"/>
                    <a:pt x="143" y="60"/>
                    <a:pt x="143" y="58"/>
                  </a:cubicBezTo>
                  <a:cubicBezTo>
                    <a:pt x="145" y="55"/>
                    <a:pt x="147" y="53"/>
                    <a:pt x="147" y="50"/>
                  </a:cubicBezTo>
                  <a:cubicBezTo>
                    <a:pt x="146" y="47"/>
                    <a:pt x="146" y="47"/>
                    <a:pt x="143" y="47"/>
                  </a:cubicBezTo>
                  <a:cubicBezTo>
                    <a:pt x="141" y="47"/>
                    <a:pt x="140" y="46"/>
                    <a:pt x="139" y="45"/>
                  </a:cubicBezTo>
                  <a:cubicBezTo>
                    <a:pt x="138" y="44"/>
                    <a:pt x="137" y="42"/>
                    <a:pt x="136" y="41"/>
                  </a:cubicBezTo>
                  <a:cubicBezTo>
                    <a:pt x="135" y="39"/>
                    <a:pt x="133" y="38"/>
                    <a:pt x="132" y="36"/>
                  </a:cubicBezTo>
                  <a:cubicBezTo>
                    <a:pt x="130" y="34"/>
                    <a:pt x="129" y="32"/>
                    <a:pt x="127" y="30"/>
                  </a:cubicBezTo>
                  <a:cubicBezTo>
                    <a:pt x="126" y="28"/>
                    <a:pt x="124" y="25"/>
                    <a:pt x="123" y="25"/>
                  </a:cubicBezTo>
                  <a:cubicBezTo>
                    <a:pt x="122" y="25"/>
                    <a:pt x="122" y="25"/>
                    <a:pt x="122" y="25"/>
                  </a:cubicBezTo>
                  <a:cubicBezTo>
                    <a:pt x="121" y="25"/>
                    <a:pt x="121" y="25"/>
                    <a:pt x="120" y="25"/>
                  </a:cubicBezTo>
                  <a:cubicBezTo>
                    <a:pt x="120" y="25"/>
                    <a:pt x="120" y="25"/>
                    <a:pt x="120" y="25"/>
                  </a:cubicBezTo>
                  <a:cubicBezTo>
                    <a:pt x="118" y="25"/>
                    <a:pt x="117" y="25"/>
                    <a:pt x="115" y="24"/>
                  </a:cubicBezTo>
                  <a:cubicBezTo>
                    <a:pt x="113" y="23"/>
                    <a:pt x="111" y="23"/>
                    <a:pt x="108" y="22"/>
                  </a:cubicBezTo>
                  <a:cubicBezTo>
                    <a:pt x="103" y="20"/>
                    <a:pt x="97" y="20"/>
                    <a:pt x="93" y="17"/>
                  </a:cubicBezTo>
                  <a:cubicBezTo>
                    <a:pt x="91" y="15"/>
                    <a:pt x="90" y="14"/>
                    <a:pt x="89" y="12"/>
                  </a:cubicBezTo>
                  <a:cubicBezTo>
                    <a:pt x="88" y="11"/>
                    <a:pt x="86" y="9"/>
                    <a:pt x="85" y="8"/>
                  </a:cubicBezTo>
                  <a:cubicBezTo>
                    <a:pt x="84" y="6"/>
                    <a:pt x="84" y="5"/>
                    <a:pt x="83" y="4"/>
                  </a:cubicBezTo>
                  <a:cubicBezTo>
                    <a:pt x="83" y="3"/>
                    <a:pt x="82" y="2"/>
                    <a:pt x="82" y="1"/>
                  </a:cubicBezTo>
                  <a:cubicBezTo>
                    <a:pt x="82" y="0"/>
                    <a:pt x="82" y="0"/>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452"/>
            <p:cNvSpPr/>
            <p:nvPr/>
          </p:nvSpPr>
          <p:spPr bwMode="auto">
            <a:xfrm>
              <a:off x="1053596" y="5592546"/>
              <a:ext cx="643711" cy="393379"/>
            </a:xfrm>
            <a:custGeom>
              <a:gdLst>
                <a:gd name="T0" fmla="*/ 170 w 198"/>
                <a:gd name="T1" fmla="*/ 1 h 121"/>
                <a:gd name="T2" fmla="*/ 142 w 198"/>
                <a:gd name="T3" fmla="*/ 5 h 121"/>
                <a:gd name="T4" fmla="*/ 117 w 198"/>
                <a:gd name="T5" fmla="*/ 11 h 121"/>
                <a:gd name="T6" fmla="*/ 108 w 198"/>
                <a:gd name="T7" fmla="*/ 16 h 121"/>
                <a:gd name="T8" fmla="*/ 91 w 198"/>
                <a:gd name="T9" fmla="*/ 38 h 121"/>
                <a:gd name="T10" fmla="*/ 87 w 198"/>
                <a:gd name="T11" fmla="*/ 39 h 121"/>
                <a:gd name="T12" fmla="*/ 85 w 198"/>
                <a:gd name="T13" fmla="*/ 40 h 121"/>
                <a:gd name="T14" fmla="*/ 81 w 198"/>
                <a:gd name="T15" fmla="*/ 37 h 121"/>
                <a:gd name="T16" fmla="*/ 78 w 198"/>
                <a:gd name="T17" fmla="*/ 33 h 121"/>
                <a:gd name="T18" fmla="*/ 77 w 198"/>
                <a:gd name="T19" fmla="*/ 33 h 121"/>
                <a:gd name="T20" fmla="*/ 66 w 198"/>
                <a:gd name="T21" fmla="*/ 32 h 121"/>
                <a:gd name="T22" fmla="*/ 45 w 198"/>
                <a:gd name="T23" fmla="*/ 31 h 121"/>
                <a:gd name="T24" fmla="*/ 35 w 198"/>
                <a:gd name="T25" fmla="*/ 32 h 121"/>
                <a:gd name="T26" fmla="*/ 32 w 198"/>
                <a:gd name="T27" fmla="*/ 32 h 121"/>
                <a:gd name="T28" fmla="*/ 28 w 198"/>
                <a:gd name="T29" fmla="*/ 33 h 121"/>
                <a:gd name="T30" fmla="*/ 23 w 198"/>
                <a:gd name="T31" fmla="*/ 32 h 121"/>
                <a:gd name="T32" fmla="*/ 19 w 198"/>
                <a:gd name="T33" fmla="*/ 30 h 121"/>
                <a:gd name="T34" fmla="*/ 16 w 198"/>
                <a:gd name="T35" fmla="*/ 30 h 121"/>
                <a:gd name="T36" fmla="*/ 15 w 198"/>
                <a:gd name="T37" fmla="*/ 30 h 121"/>
                <a:gd name="T38" fmla="*/ 13 w 198"/>
                <a:gd name="T39" fmla="*/ 36 h 121"/>
                <a:gd name="T40" fmla="*/ 13 w 198"/>
                <a:gd name="T41" fmla="*/ 36 h 121"/>
                <a:gd name="T42" fmla="*/ 13 w 198"/>
                <a:gd name="T43" fmla="*/ 38 h 121"/>
                <a:gd name="T44" fmla="*/ 13 w 198"/>
                <a:gd name="T45" fmla="*/ 40 h 121"/>
                <a:gd name="T46" fmla="*/ 11 w 198"/>
                <a:gd name="T47" fmla="*/ 47 h 121"/>
                <a:gd name="T48" fmla="*/ 7 w 198"/>
                <a:gd name="T49" fmla="*/ 49 h 121"/>
                <a:gd name="T50" fmla="*/ 4 w 198"/>
                <a:gd name="T51" fmla="*/ 52 h 121"/>
                <a:gd name="T52" fmla="*/ 5 w 198"/>
                <a:gd name="T53" fmla="*/ 58 h 121"/>
                <a:gd name="T54" fmla="*/ 4 w 198"/>
                <a:gd name="T55" fmla="*/ 66 h 121"/>
                <a:gd name="T56" fmla="*/ 3 w 198"/>
                <a:gd name="T57" fmla="*/ 70 h 121"/>
                <a:gd name="T58" fmla="*/ 2 w 198"/>
                <a:gd name="T59" fmla="*/ 72 h 121"/>
                <a:gd name="T60" fmla="*/ 3 w 198"/>
                <a:gd name="T61" fmla="*/ 72 h 121"/>
                <a:gd name="T62" fmla="*/ 6 w 198"/>
                <a:gd name="T63" fmla="*/ 81 h 121"/>
                <a:gd name="T64" fmla="*/ 12 w 198"/>
                <a:gd name="T65" fmla="*/ 99 h 121"/>
                <a:gd name="T66" fmla="*/ 12 w 198"/>
                <a:gd name="T67" fmla="*/ 110 h 121"/>
                <a:gd name="T68" fmla="*/ 22 w 198"/>
                <a:gd name="T69" fmla="*/ 121 h 121"/>
                <a:gd name="T70" fmla="*/ 34 w 198"/>
                <a:gd name="T71" fmla="*/ 121 h 121"/>
                <a:gd name="T72" fmla="*/ 34 w 198"/>
                <a:gd name="T73" fmla="*/ 121 h 121"/>
                <a:gd name="T74" fmla="*/ 40 w 198"/>
                <a:gd name="T75" fmla="*/ 119 h 121"/>
                <a:gd name="T76" fmla="*/ 46 w 198"/>
                <a:gd name="T77" fmla="*/ 119 h 121"/>
                <a:gd name="T78" fmla="*/ 56 w 198"/>
                <a:gd name="T79" fmla="*/ 110 h 121"/>
                <a:gd name="T80" fmla="*/ 87 w 198"/>
                <a:gd name="T81" fmla="*/ 103 h 121"/>
                <a:gd name="T82" fmla="*/ 104 w 198"/>
                <a:gd name="T83" fmla="*/ 95 h 121"/>
                <a:gd name="T84" fmla="*/ 110 w 198"/>
                <a:gd name="T85" fmla="*/ 95 h 121"/>
                <a:gd name="T86" fmla="*/ 122 w 198"/>
                <a:gd name="T87" fmla="*/ 87 h 121"/>
                <a:gd name="T88" fmla="*/ 138 w 198"/>
                <a:gd name="T89" fmla="*/ 80 h 121"/>
                <a:gd name="T90" fmla="*/ 167 w 198"/>
                <a:gd name="T91" fmla="*/ 71 h 121"/>
                <a:gd name="T92" fmla="*/ 184 w 198"/>
                <a:gd name="T93" fmla="*/ 64 h 121"/>
                <a:gd name="T94" fmla="*/ 184 w 198"/>
                <a:gd name="T95" fmla="*/ 60 h 121"/>
                <a:gd name="T96" fmla="*/ 187 w 198"/>
                <a:gd name="T97" fmla="*/ 51 h 121"/>
                <a:gd name="T98" fmla="*/ 198 w 198"/>
                <a:gd name="T99" fmla="*/ 45 h 121"/>
                <a:gd name="T100" fmla="*/ 178 w 198"/>
                <a:gd name="T101" fmla="*/ 0 h 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8" h="120">
                  <a:moveTo>
                    <a:pt x="178" y="0"/>
                  </a:moveTo>
                  <a:cubicBezTo>
                    <a:pt x="175" y="1"/>
                    <a:pt x="172" y="1"/>
                    <a:pt x="170" y="1"/>
                  </a:cubicBezTo>
                  <a:cubicBezTo>
                    <a:pt x="161" y="3"/>
                    <a:pt x="152" y="4"/>
                    <a:pt x="145" y="5"/>
                  </a:cubicBezTo>
                  <a:cubicBezTo>
                    <a:pt x="142" y="5"/>
                    <a:pt x="142" y="5"/>
                    <a:pt x="142" y="5"/>
                  </a:cubicBezTo>
                  <a:cubicBezTo>
                    <a:pt x="135" y="6"/>
                    <a:pt x="127" y="6"/>
                    <a:pt x="121" y="9"/>
                  </a:cubicBezTo>
                  <a:cubicBezTo>
                    <a:pt x="120" y="10"/>
                    <a:pt x="119" y="10"/>
                    <a:pt x="117" y="11"/>
                  </a:cubicBezTo>
                  <a:cubicBezTo>
                    <a:pt x="114" y="12"/>
                    <a:pt x="111" y="14"/>
                    <a:pt x="109" y="15"/>
                  </a:cubicBezTo>
                  <a:cubicBezTo>
                    <a:pt x="108" y="16"/>
                    <a:pt x="108" y="16"/>
                    <a:pt x="108" y="16"/>
                  </a:cubicBezTo>
                  <a:cubicBezTo>
                    <a:pt x="96" y="34"/>
                    <a:pt x="96" y="34"/>
                    <a:pt x="96" y="34"/>
                  </a:cubicBezTo>
                  <a:cubicBezTo>
                    <a:pt x="95" y="35"/>
                    <a:pt x="93" y="37"/>
                    <a:pt x="91" y="38"/>
                  </a:cubicBezTo>
                  <a:cubicBezTo>
                    <a:pt x="90" y="39"/>
                    <a:pt x="89" y="39"/>
                    <a:pt x="88" y="39"/>
                  </a:cubicBezTo>
                  <a:cubicBezTo>
                    <a:pt x="87" y="39"/>
                    <a:pt x="87" y="39"/>
                    <a:pt x="87" y="39"/>
                  </a:cubicBezTo>
                  <a:cubicBezTo>
                    <a:pt x="87" y="39"/>
                    <a:pt x="86" y="39"/>
                    <a:pt x="86" y="40"/>
                  </a:cubicBezTo>
                  <a:cubicBezTo>
                    <a:pt x="85" y="40"/>
                    <a:pt x="85" y="40"/>
                    <a:pt x="85" y="40"/>
                  </a:cubicBezTo>
                  <a:cubicBezTo>
                    <a:pt x="85" y="40"/>
                    <a:pt x="85" y="40"/>
                    <a:pt x="85" y="40"/>
                  </a:cubicBezTo>
                  <a:cubicBezTo>
                    <a:pt x="83" y="39"/>
                    <a:pt x="82" y="39"/>
                    <a:pt x="81" y="37"/>
                  </a:cubicBezTo>
                  <a:cubicBezTo>
                    <a:pt x="81" y="37"/>
                    <a:pt x="80" y="37"/>
                    <a:pt x="80" y="36"/>
                  </a:cubicBezTo>
                  <a:cubicBezTo>
                    <a:pt x="79" y="34"/>
                    <a:pt x="78" y="34"/>
                    <a:pt x="78" y="33"/>
                  </a:cubicBezTo>
                  <a:cubicBezTo>
                    <a:pt x="77" y="33"/>
                    <a:pt x="77" y="33"/>
                    <a:pt x="77" y="33"/>
                  </a:cubicBezTo>
                  <a:cubicBezTo>
                    <a:pt x="77" y="33"/>
                    <a:pt x="77" y="33"/>
                    <a:pt x="77" y="33"/>
                  </a:cubicBezTo>
                  <a:cubicBezTo>
                    <a:pt x="74" y="33"/>
                    <a:pt x="70" y="33"/>
                    <a:pt x="67" y="32"/>
                  </a:cubicBezTo>
                  <a:cubicBezTo>
                    <a:pt x="66" y="32"/>
                    <a:pt x="66" y="32"/>
                    <a:pt x="66" y="32"/>
                  </a:cubicBezTo>
                  <a:cubicBezTo>
                    <a:pt x="61" y="31"/>
                    <a:pt x="55" y="31"/>
                    <a:pt x="49" y="31"/>
                  </a:cubicBezTo>
                  <a:cubicBezTo>
                    <a:pt x="48" y="31"/>
                    <a:pt x="47" y="31"/>
                    <a:pt x="45" y="31"/>
                  </a:cubicBezTo>
                  <a:cubicBezTo>
                    <a:pt x="43" y="31"/>
                    <a:pt x="40" y="31"/>
                    <a:pt x="37" y="32"/>
                  </a:cubicBezTo>
                  <a:cubicBezTo>
                    <a:pt x="35" y="32"/>
                    <a:pt x="35" y="32"/>
                    <a:pt x="35" y="32"/>
                  </a:cubicBezTo>
                  <a:cubicBezTo>
                    <a:pt x="35" y="32"/>
                    <a:pt x="34" y="32"/>
                    <a:pt x="33" y="32"/>
                  </a:cubicBezTo>
                  <a:cubicBezTo>
                    <a:pt x="33" y="32"/>
                    <a:pt x="33" y="32"/>
                    <a:pt x="32" y="32"/>
                  </a:cubicBezTo>
                  <a:cubicBezTo>
                    <a:pt x="31" y="33"/>
                    <a:pt x="31" y="33"/>
                    <a:pt x="31" y="33"/>
                  </a:cubicBezTo>
                  <a:cubicBezTo>
                    <a:pt x="30" y="33"/>
                    <a:pt x="29" y="33"/>
                    <a:pt x="28" y="33"/>
                  </a:cubicBezTo>
                  <a:cubicBezTo>
                    <a:pt x="26" y="33"/>
                    <a:pt x="25" y="33"/>
                    <a:pt x="24" y="33"/>
                  </a:cubicBezTo>
                  <a:cubicBezTo>
                    <a:pt x="23" y="32"/>
                    <a:pt x="23" y="32"/>
                    <a:pt x="23" y="32"/>
                  </a:cubicBezTo>
                  <a:cubicBezTo>
                    <a:pt x="22" y="32"/>
                    <a:pt x="20" y="31"/>
                    <a:pt x="19" y="30"/>
                  </a:cubicBezTo>
                  <a:cubicBezTo>
                    <a:pt x="19" y="30"/>
                    <a:pt x="19" y="30"/>
                    <a:pt x="19" y="30"/>
                  </a:cubicBezTo>
                  <a:cubicBezTo>
                    <a:pt x="19" y="29"/>
                    <a:pt x="18" y="29"/>
                    <a:pt x="18" y="29"/>
                  </a:cubicBezTo>
                  <a:cubicBezTo>
                    <a:pt x="17" y="29"/>
                    <a:pt x="17" y="29"/>
                    <a:pt x="16" y="30"/>
                  </a:cubicBezTo>
                  <a:cubicBezTo>
                    <a:pt x="16" y="30"/>
                    <a:pt x="16" y="30"/>
                    <a:pt x="16" y="30"/>
                  </a:cubicBezTo>
                  <a:cubicBezTo>
                    <a:pt x="15" y="30"/>
                    <a:pt x="15" y="30"/>
                    <a:pt x="15" y="30"/>
                  </a:cubicBezTo>
                  <a:cubicBezTo>
                    <a:pt x="15" y="30"/>
                    <a:pt x="14" y="32"/>
                    <a:pt x="14" y="34"/>
                  </a:cubicBezTo>
                  <a:cubicBezTo>
                    <a:pt x="13" y="35"/>
                    <a:pt x="13" y="35"/>
                    <a:pt x="13" y="36"/>
                  </a:cubicBezTo>
                  <a:cubicBezTo>
                    <a:pt x="13" y="36"/>
                    <a:pt x="13" y="36"/>
                    <a:pt x="13" y="36"/>
                  </a:cubicBezTo>
                  <a:cubicBezTo>
                    <a:pt x="13" y="36"/>
                    <a:pt x="13" y="36"/>
                    <a:pt x="13" y="36"/>
                  </a:cubicBezTo>
                  <a:cubicBezTo>
                    <a:pt x="13" y="37"/>
                    <a:pt x="13" y="37"/>
                    <a:pt x="13" y="37"/>
                  </a:cubicBezTo>
                  <a:cubicBezTo>
                    <a:pt x="13" y="38"/>
                    <a:pt x="13" y="38"/>
                    <a:pt x="13" y="38"/>
                  </a:cubicBezTo>
                  <a:cubicBezTo>
                    <a:pt x="13" y="38"/>
                    <a:pt x="13" y="39"/>
                    <a:pt x="13" y="39"/>
                  </a:cubicBezTo>
                  <a:cubicBezTo>
                    <a:pt x="13" y="40"/>
                    <a:pt x="13" y="40"/>
                    <a:pt x="13" y="40"/>
                  </a:cubicBezTo>
                  <a:cubicBezTo>
                    <a:pt x="14" y="41"/>
                    <a:pt x="14" y="44"/>
                    <a:pt x="12" y="46"/>
                  </a:cubicBezTo>
                  <a:cubicBezTo>
                    <a:pt x="12" y="46"/>
                    <a:pt x="12" y="46"/>
                    <a:pt x="11" y="47"/>
                  </a:cubicBezTo>
                  <a:cubicBezTo>
                    <a:pt x="11" y="47"/>
                    <a:pt x="11" y="47"/>
                    <a:pt x="11" y="47"/>
                  </a:cubicBezTo>
                  <a:cubicBezTo>
                    <a:pt x="7" y="49"/>
                    <a:pt x="7" y="49"/>
                    <a:pt x="7" y="49"/>
                  </a:cubicBezTo>
                  <a:cubicBezTo>
                    <a:pt x="7" y="50"/>
                    <a:pt x="7" y="50"/>
                    <a:pt x="7" y="50"/>
                  </a:cubicBezTo>
                  <a:cubicBezTo>
                    <a:pt x="4" y="52"/>
                    <a:pt x="4" y="52"/>
                    <a:pt x="4" y="52"/>
                  </a:cubicBezTo>
                  <a:cubicBezTo>
                    <a:pt x="4" y="51"/>
                    <a:pt x="4" y="51"/>
                    <a:pt x="4" y="51"/>
                  </a:cubicBezTo>
                  <a:cubicBezTo>
                    <a:pt x="4" y="54"/>
                    <a:pt x="4" y="56"/>
                    <a:pt x="5" y="58"/>
                  </a:cubicBezTo>
                  <a:cubicBezTo>
                    <a:pt x="5" y="59"/>
                    <a:pt x="4" y="59"/>
                    <a:pt x="4" y="60"/>
                  </a:cubicBezTo>
                  <a:cubicBezTo>
                    <a:pt x="4" y="62"/>
                    <a:pt x="4" y="64"/>
                    <a:pt x="4" y="66"/>
                  </a:cubicBezTo>
                  <a:cubicBezTo>
                    <a:pt x="4" y="68"/>
                    <a:pt x="4" y="70"/>
                    <a:pt x="4" y="72"/>
                  </a:cubicBezTo>
                  <a:cubicBezTo>
                    <a:pt x="3" y="70"/>
                    <a:pt x="3" y="70"/>
                    <a:pt x="3" y="70"/>
                  </a:cubicBezTo>
                  <a:cubicBezTo>
                    <a:pt x="1" y="71"/>
                    <a:pt x="0" y="71"/>
                    <a:pt x="2" y="72"/>
                  </a:cubicBezTo>
                  <a:cubicBezTo>
                    <a:pt x="2" y="72"/>
                    <a:pt x="2" y="72"/>
                    <a:pt x="2" y="72"/>
                  </a:cubicBezTo>
                  <a:cubicBezTo>
                    <a:pt x="2" y="72"/>
                    <a:pt x="2" y="72"/>
                    <a:pt x="2" y="72"/>
                  </a:cubicBezTo>
                  <a:cubicBezTo>
                    <a:pt x="2" y="72"/>
                    <a:pt x="3" y="72"/>
                    <a:pt x="3" y="72"/>
                  </a:cubicBezTo>
                  <a:cubicBezTo>
                    <a:pt x="3" y="72"/>
                    <a:pt x="4" y="72"/>
                    <a:pt x="4" y="72"/>
                  </a:cubicBezTo>
                  <a:cubicBezTo>
                    <a:pt x="5" y="74"/>
                    <a:pt x="6" y="79"/>
                    <a:pt x="6" y="81"/>
                  </a:cubicBezTo>
                  <a:cubicBezTo>
                    <a:pt x="7" y="83"/>
                    <a:pt x="7" y="85"/>
                    <a:pt x="8" y="88"/>
                  </a:cubicBezTo>
                  <a:cubicBezTo>
                    <a:pt x="9" y="92"/>
                    <a:pt x="10" y="95"/>
                    <a:pt x="12" y="99"/>
                  </a:cubicBezTo>
                  <a:cubicBezTo>
                    <a:pt x="14" y="102"/>
                    <a:pt x="13" y="104"/>
                    <a:pt x="13" y="107"/>
                  </a:cubicBezTo>
                  <a:cubicBezTo>
                    <a:pt x="12" y="108"/>
                    <a:pt x="12" y="109"/>
                    <a:pt x="12" y="110"/>
                  </a:cubicBezTo>
                  <a:cubicBezTo>
                    <a:pt x="13" y="114"/>
                    <a:pt x="15" y="117"/>
                    <a:pt x="17" y="121"/>
                  </a:cubicBezTo>
                  <a:cubicBezTo>
                    <a:pt x="17" y="121"/>
                    <a:pt x="19" y="121"/>
                    <a:pt x="22" y="121"/>
                  </a:cubicBezTo>
                  <a:cubicBezTo>
                    <a:pt x="24" y="121"/>
                    <a:pt x="27" y="121"/>
                    <a:pt x="29" y="121"/>
                  </a:cubicBezTo>
                  <a:cubicBezTo>
                    <a:pt x="32" y="121"/>
                    <a:pt x="33" y="121"/>
                    <a:pt x="34" y="121"/>
                  </a:cubicBezTo>
                  <a:cubicBezTo>
                    <a:pt x="34" y="121"/>
                    <a:pt x="34" y="121"/>
                    <a:pt x="34" y="121"/>
                  </a:cubicBezTo>
                  <a:cubicBezTo>
                    <a:pt x="34" y="121"/>
                    <a:pt x="34" y="121"/>
                    <a:pt x="34" y="121"/>
                  </a:cubicBezTo>
                  <a:cubicBezTo>
                    <a:pt x="35" y="121"/>
                    <a:pt x="36" y="120"/>
                    <a:pt x="37" y="120"/>
                  </a:cubicBezTo>
                  <a:cubicBezTo>
                    <a:pt x="38" y="119"/>
                    <a:pt x="39" y="119"/>
                    <a:pt x="40" y="119"/>
                  </a:cubicBezTo>
                  <a:cubicBezTo>
                    <a:pt x="40" y="119"/>
                    <a:pt x="41" y="119"/>
                    <a:pt x="41" y="119"/>
                  </a:cubicBezTo>
                  <a:cubicBezTo>
                    <a:pt x="42" y="119"/>
                    <a:pt x="44" y="119"/>
                    <a:pt x="46" y="119"/>
                  </a:cubicBezTo>
                  <a:cubicBezTo>
                    <a:pt x="46" y="119"/>
                    <a:pt x="47" y="119"/>
                    <a:pt x="47" y="119"/>
                  </a:cubicBezTo>
                  <a:cubicBezTo>
                    <a:pt x="47" y="115"/>
                    <a:pt x="53" y="113"/>
                    <a:pt x="56" y="110"/>
                  </a:cubicBezTo>
                  <a:cubicBezTo>
                    <a:pt x="58" y="108"/>
                    <a:pt x="60" y="108"/>
                    <a:pt x="64" y="107"/>
                  </a:cubicBezTo>
                  <a:cubicBezTo>
                    <a:pt x="71" y="106"/>
                    <a:pt x="79" y="104"/>
                    <a:pt x="87" y="103"/>
                  </a:cubicBezTo>
                  <a:cubicBezTo>
                    <a:pt x="92" y="102"/>
                    <a:pt x="95" y="99"/>
                    <a:pt x="100" y="96"/>
                  </a:cubicBezTo>
                  <a:cubicBezTo>
                    <a:pt x="102" y="95"/>
                    <a:pt x="103" y="95"/>
                    <a:pt x="104" y="95"/>
                  </a:cubicBezTo>
                  <a:cubicBezTo>
                    <a:pt x="105" y="95"/>
                    <a:pt x="106" y="95"/>
                    <a:pt x="108" y="95"/>
                  </a:cubicBezTo>
                  <a:cubicBezTo>
                    <a:pt x="109" y="95"/>
                    <a:pt x="109" y="95"/>
                    <a:pt x="110" y="95"/>
                  </a:cubicBezTo>
                  <a:cubicBezTo>
                    <a:pt x="113" y="95"/>
                    <a:pt x="115" y="95"/>
                    <a:pt x="116" y="94"/>
                  </a:cubicBezTo>
                  <a:cubicBezTo>
                    <a:pt x="118" y="92"/>
                    <a:pt x="120" y="90"/>
                    <a:pt x="122" y="87"/>
                  </a:cubicBezTo>
                  <a:cubicBezTo>
                    <a:pt x="124" y="85"/>
                    <a:pt x="127" y="84"/>
                    <a:pt x="130" y="82"/>
                  </a:cubicBezTo>
                  <a:cubicBezTo>
                    <a:pt x="133" y="81"/>
                    <a:pt x="135" y="81"/>
                    <a:pt x="138" y="80"/>
                  </a:cubicBezTo>
                  <a:cubicBezTo>
                    <a:pt x="143" y="78"/>
                    <a:pt x="148" y="77"/>
                    <a:pt x="154" y="75"/>
                  </a:cubicBezTo>
                  <a:cubicBezTo>
                    <a:pt x="158" y="74"/>
                    <a:pt x="163" y="73"/>
                    <a:pt x="167" y="71"/>
                  </a:cubicBezTo>
                  <a:cubicBezTo>
                    <a:pt x="171" y="70"/>
                    <a:pt x="174" y="68"/>
                    <a:pt x="178" y="66"/>
                  </a:cubicBezTo>
                  <a:cubicBezTo>
                    <a:pt x="179" y="66"/>
                    <a:pt x="183" y="65"/>
                    <a:pt x="184" y="64"/>
                  </a:cubicBezTo>
                  <a:cubicBezTo>
                    <a:pt x="184" y="63"/>
                    <a:pt x="184" y="62"/>
                    <a:pt x="183" y="61"/>
                  </a:cubicBezTo>
                  <a:cubicBezTo>
                    <a:pt x="183" y="61"/>
                    <a:pt x="184" y="60"/>
                    <a:pt x="184" y="60"/>
                  </a:cubicBezTo>
                  <a:cubicBezTo>
                    <a:pt x="184" y="59"/>
                    <a:pt x="183" y="59"/>
                    <a:pt x="183" y="59"/>
                  </a:cubicBezTo>
                  <a:cubicBezTo>
                    <a:pt x="183" y="56"/>
                    <a:pt x="185" y="53"/>
                    <a:pt x="187" y="51"/>
                  </a:cubicBezTo>
                  <a:cubicBezTo>
                    <a:pt x="189" y="48"/>
                    <a:pt x="189" y="48"/>
                    <a:pt x="192" y="47"/>
                  </a:cubicBezTo>
                  <a:cubicBezTo>
                    <a:pt x="194" y="46"/>
                    <a:pt x="196" y="45"/>
                    <a:pt x="198" y="45"/>
                  </a:cubicBezTo>
                  <a:cubicBezTo>
                    <a:pt x="194" y="35"/>
                    <a:pt x="189" y="23"/>
                    <a:pt x="184" y="13"/>
                  </a:cubicBezTo>
                  <a:cubicBezTo>
                    <a:pt x="178" y="0"/>
                    <a:pt x="178" y="0"/>
                    <a:pt x="17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453"/>
            <p:cNvSpPr/>
            <p:nvPr/>
          </p:nvSpPr>
          <p:spPr bwMode="auto">
            <a:xfrm>
              <a:off x="1625784" y="5130395"/>
              <a:ext cx="281968" cy="204943"/>
            </a:xfrm>
            <a:custGeom>
              <a:gdLst>
                <a:gd name="T0" fmla="*/ 79 w 87"/>
                <a:gd name="T1" fmla="*/ 0 h 63"/>
                <a:gd name="T2" fmla="*/ 75 w 87"/>
                <a:gd name="T3" fmla="*/ 6 h 63"/>
                <a:gd name="T4" fmla="*/ 70 w 87"/>
                <a:gd name="T5" fmla="*/ 10 h 63"/>
                <a:gd name="T6" fmla="*/ 57 w 87"/>
                <a:gd name="T7" fmla="*/ 23 h 63"/>
                <a:gd name="T8" fmla="*/ 53 w 87"/>
                <a:gd name="T9" fmla="*/ 28 h 63"/>
                <a:gd name="T10" fmla="*/ 49 w 87"/>
                <a:gd name="T11" fmla="*/ 34 h 63"/>
                <a:gd name="T12" fmla="*/ 47 w 87"/>
                <a:gd name="T13" fmla="*/ 35 h 63"/>
                <a:gd name="T14" fmla="*/ 43 w 87"/>
                <a:gd name="T15" fmla="*/ 34 h 63"/>
                <a:gd name="T16" fmla="*/ 37 w 87"/>
                <a:gd name="T17" fmla="*/ 38 h 63"/>
                <a:gd name="T18" fmla="*/ 36 w 87"/>
                <a:gd name="T19" fmla="*/ 39 h 63"/>
                <a:gd name="T20" fmla="*/ 32 w 87"/>
                <a:gd name="T21" fmla="*/ 38 h 63"/>
                <a:gd name="T22" fmla="*/ 25 w 87"/>
                <a:gd name="T23" fmla="*/ 37 h 63"/>
                <a:gd name="T24" fmla="*/ 18 w 87"/>
                <a:gd name="T25" fmla="*/ 38 h 63"/>
                <a:gd name="T26" fmla="*/ 4 w 87"/>
                <a:gd name="T27" fmla="*/ 41 h 63"/>
                <a:gd name="T28" fmla="*/ 0 w 87"/>
                <a:gd name="T29" fmla="*/ 40 h 63"/>
                <a:gd name="T30" fmla="*/ 2 w 87"/>
                <a:gd name="T31" fmla="*/ 42 h 63"/>
                <a:gd name="T32" fmla="*/ 4 w 87"/>
                <a:gd name="T33" fmla="*/ 44 h 63"/>
                <a:gd name="T34" fmla="*/ 6 w 87"/>
                <a:gd name="T35" fmla="*/ 47 h 63"/>
                <a:gd name="T36" fmla="*/ 9 w 87"/>
                <a:gd name="T37" fmla="*/ 50 h 63"/>
                <a:gd name="T38" fmla="*/ 16 w 87"/>
                <a:gd name="T39" fmla="*/ 59 h 63"/>
                <a:gd name="T40" fmla="*/ 62 w 87"/>
                <a:gd name="T41" fmla="*/ 63 h 63"/>
                <a:gd name="T42" fmla="*/ 63 w 87"/>
                <a:gd name="T43" fmla="*/ 61 h 63"/>
                <a:gd name="T44" fmla="*/ 63 w 87"/>
                <a:gd name="T45" fmla="*/ 60 h 63"/>
                <a:gd name="T46" fmla="*/ 64 w 87"/>
                <a:gd name="T47" fmla="*/ 55 h 63"/>
                <a:gd name="T48" fmla="*/ 66 w 87"/>
                <a:gd name="T49" fmla="*/ 47 h 63"/>
                <a:gd name="T50" fmla="*/ 66 w 87"/>
                <a:gd name="T51" fmla="*/ 45 h 63"/>
                <a:gd name="T52" fmla="*/ 66 w 87"/>
                <a:gd name="T53" fmla="*/ 45 h 63"/>
                <a:gd name="T54" fmla="*/ 66 w 87"/>
                <a:gd name="T55" fmla="*/ 44 h 63"/>
                <a:gd name="T56" fmla="*/ 71 w 87"/>
                <a:gd name="T57" fmla="*/ 37 h 63"/>
                <a:gd name="T58" fmla="*/ 73 w 87"/>
                <a:gd name="T59" fmla="*/ 37 h 63"/>
                <a:gd name="T60" fmla="*/ 73 w 87"/>
                <a:gd name="T61" fmla="*/ 37 h 63"/>
                <a:gd name="T62" fmla="*/ 74 w 87"/>
                <a:gd name="T63" fmla="*/ 37 h 63"/>
                <a:gd name="T64" fmla="*/ 74 w 87"/>
                <a:gd name="T65" fmla="*/ 37 h 63"/>
                <a:gd name="T66" fmla="*/ 74 w 87"/>
                <a:gd name="T67" fmla="*/ 37 h 63"/>
                <a:gd name="T68" fmla="*/ 73 w 87"/>
                <a:gd name="T69" fmla="*/ 35 h 63"/>
                <a:gd name="T70" fmla="*/ 75 w 87"/>
                <a:gd name="T71" fmla="*/ 23 h 63"/>
                <a:gd name="T72" fmla="*/ 76 w 87"/>
                <a:gd name="T73" fmla="*/ 22 h 63"/>
                <a:gd name="T74" fmla="*/ 81 w 87"/>
                <a:gd name="T75" fmla="*/ 22 h 63"/>
                <a:gd name="T76" fmla="*/ 84 w 87"/>
                <a:gd name="T77" fmla="*/ 20 h 63"/>
                <a:gd name="T78" fmla="*/ 85 w 87"/>
                <a:gd name="T79" fmla="*/ 18 h 63"/>
                <a:gd name="T80" fmla="*/ 85 w 87"/>
                <a:gd name="T81" fmla="*/ 17 h 63"/>
                <a:gd name="T82" fmla="*/ 86 w 87"/>
                <a:gd name="T83" fmla="*/ 18 h 63"/>
                <a:gd name="T84" fmla="*/ 86 w 87"/>
                <a:gd name="T85" fmla="*/ 17 h 63"/>
                <a:gd name="T86" fmla="*/ 87 w 87"/>
                <a:gd name="T87" fmla="*/ 17 h 63"/>
                <a:gd name="T88" fmla="*/ 87 w 87"/>
                <a:gd name="T89" fmla="*/ 13 h 63"/>
                <a:gd name="T90" fmla="*/ 85 w 87"/>
                <a:gd name="T91" fmla="*/ 9 h 63"/>
                <a:gd name="T92" fmla="*/ 84 w 87"/>
                <a:gd name="T93" fmla="*/ 9 h 63"/>
                <a:gd name="T94" fmla="*/ 82 w 87"/>
                <a:gd name="T95" fmla="*/ 9 h 63"/>
                <a:gd name="T96" fmla="*/ 79 w 87"/>
                <a:gd name="T97" fmla="*/ 0 h 63"/>
                <a:gd name="T98" fmla="*/ 79 w 87"/>
                <a:gd name="T99" fmla="*/ 0 h 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7" h="62">
                  <a:moveTo>
                    <a:pt x="79" y="0"/>
                  </a:moveTo>
                  <a:cubicBezTo>
                    <a:pt x="78" y="2"/>
                    <a:pt x="76" y="4"/>
                    <a:pt x="75" y="6"/>
                  </a:cubicBezTo>
                  <a:cubicBezTo>
                    <a:pt x="74" y="7"/>
                    <a:pt x="71" y="9"/>
                    <a:pt x="70" y="10"/>
                  </a:cubicBezTo>
                  <a:cubicBezTo>
                    <a:pt x="65" y="15"/>
                    <a:pt x="62" y="19"/>
                    <a:pt x="57" y="23"/>
                  </a:cubicBezTo>
                  <a:cubicBezTo>
                    <a:pt x="54" y="24"/>
                    <a:pt x="54" y="25"/>
                    <a:pt x="53" y="28"/>
                  </a:cubicBezTo>
                  <a:cubicBezTo>
                    <a:pt x="52" y="30"/>
                    <a:pt x="51" y="33"/>
                    <a:pt x="49" y="34"/>
                  </a:cubicBezTo>
                  <a:cubicBezTo>
                    <a:pt x="48" y="35"/>
                    <a:pt x="48" y="35"/>
                    <a:pt x="47" y="35"/>
                  </a:cubicBezTo>
                  <a:cubicBezTo>
                    <a:pt x="46" y="35"/>
                    <a:pt x="44" y="34"/>
                    <a:pt x="43" y="34"/>
                  </a:cubicBezTo>
                  <a:cubicBezTo>
                    <a:pt x="46" y="36"/>
                    <a:pt x="39" y="38"/>
                    <a:pt x="37" y="38"/>
                  </a:cubicBezTo>
                  <a:cubicBezTo>
                    <a:pt x="37" y="39"/>
                    <a:pt x="36" y="39"/>
                    <a:pt x="36" y="39"/>
                  </a:cubicBezTo>
                  <a:cubicBezTo>
                    <a:pt x="34" y="39"/>
                    <a:pt x="34" y="38"/>
                    <a:pt x="32" y="38"/>
                  </a:cubicBezTo>
                  <a:cubicBezTo>
                    <a:pt x="30" y="37"/>
                    <a:pt x="27" y="37"/>
                    <a:pt x="25" y="37"/>
                  </a:cubicBezTo>
                  <a:cubicBezTo>
                    <a:pt x="22" y="37"/>
                    <a:pt x="20" y="37"/>
                    <a:pt x="18" y="38"/>
                  </a:cubicBezTo>
                  <a:cubicBezTo>
                    <a:pt x="15" y="38"/>
                    <a:pt x="9" y="41"/>
                    <a:pt x="4" y="41"/>
                  </a:cubicBezTo>
                  <a:cubicBezTo>
                    <a:pt x="2" y="41"/>
                    <a:pt x="1" y="41"/>
                    <a:pt x="0" y="40"/>
                  </a:cubicBezTo>
                  <a:cubicBezTo>
                    <a:pt x="1" y="41"/>
                    <a:pt x="2" y="42"/>
                    <a:pt x="2" y="42"/>
                  </a:cubicBezTo>
                  <a:cubicBezTo>
                    <a:pt x="4" y="44"/>
                    <a:pt x="4" y="44"/>
                    <a:pt x="4" y="44"/>
                  </a:cubicBezTo>
                  <a:cubicBezTo>
                    <a:pt x="4" y="44"/>
                    <a:pt x="6" y="47"/>
                    <a:pt x="6" y="47"/>
                  </a:cubicBezTo>
                  <a:cubicBezTo>
                    <a:pt x="9" y="50"/>
                    <a:pt x="9" y="50"/>
                    <a:pt x="9" y="50"/>
                  </a:cubicBezTo>
                  <a:cubicBezTo>
                    <a:pt x="11" y="53"/>
                    <a:pt x="13" y="56"/>
                    <a:pt x="16" y="59"/>
                  </a:cubicBezTo>
                  <a:cubicBezTo>
                    <a:pt x="62" y="63"/>
                    <a:pt x="62" y="63"/>
                    <a:pt x="62" y="63"/>
                  </a:cubicBezTo>
                  <a:cubicBezTo>
                    <a:pt x="63" y="62"/>
                    <a:pt x="63" y="62"/>
                    <a:pt x="63" y="61"/>
                  </a:cubicBezTo>
                  <a:cubicBezTo>
                    <a:pt x="63" y="61"/>
                    <a:pt x="63" y="60"/>
                    <a:pt x="63" y="60"/>
                  </a:cubicBezTo>
                  <a:cubicBezTo>
                    <a:pt x="64" y="55"/>
                    <a:pt x="64" y="55"/>
                    <a:pt x="64" y="55"/>
                  </a:cubicBezTo>
                  <a:cubicBezTo>
                    <a:pt x="65" y="52"/>
                    <a:pt x="65" y="50"/>
                    <a:pt x="66" y="47"/>
                  </a:cubicBezTo>
                  <a:cubicBezTo>
                    <a:pt x="66" y="46"/>
                    <a:pt x="66" y="46"/>
                    <a:pt x="66" y="45"/>
                  </a:cubicBezTo>
                  <a:cubicBezTo>
                    <a:pt x="66" y="45"/>
                    <a:pt x="66" y="45"/>
                    <a:pt x="66" y="45"/>
                  </a:cubicBezTo>
                  <a:cubicBezTo>
                    <a:pt x="66" y="44"/>
                    <a:pt x="66" y="44"/>
                    <a:pt x="66" y="44"/>
                  </a:cubicBezTo>
                  <a:cubicBezTo>
                    <a:pt x="67" y="41"/>
                    <a:pt x="68" y="39"/>
                    <a:pt x="71" y="37"/>
                  </a:cubicBezTo>
                  <a:cubicBezTo>
                    <a:pt x="72" y="37"/>
                    <a:pt x="72" y="37"/>
                    <a:pt x="73" y="37"/>
                  </a:cubicBezTo>
                  <a:cubicBezTo>
                    <a:pt x="73" y="37"/>
                    <a:pt x="73" y="37"/>
                    <a:pt x="73" y="37"/>
                  </a:cubicBezTo>
                  <a:cubicBezTo>
                    <a:pt x="74" y="37"/>
                    <a:pt x="74" y="37"/>
                    <a:pt x="74" y="37"/>
                  </a:cubicBezTo>
                  <a:cubicBezTo>
                    <a:pt x="74" y="37"/>
                    <a:pt x="74" y="37"/>
                    <a:pt x="74" y="37"/>
                  </a:cubicBezTo>
                  <a:cubicBezTo>
                    <a:pt x="74" y="37"/>
                    <a:pt x="74" y="37"/>
                    <a:pt x="74" y="37"/>
                  </a:cubicBezTo>
                  <a:cubicBezTo>
                    <a:pt x="73" y="36"/>
                    <a:pt x="73" y="35"/>
                    <a:pt x="73" y="35"/>
                  </a:cubicBezTo>
                  <a:cubicBezTo>
                    <a:pt x="73" y="30"/>
                    <a:pt x="74" y="27"/>
                    <a:pt x="75" y="23"/>
                  </a:cubicBezTo>
                  <a:cubicBezTo>
                    <a:pt x="76" y="22"/>
                    <a:pt x="76" y="22"/>
                    <a:pt x="76" y="22"/>
                  </a:cubicBezTo>
                  <a:cubicBezTo>
                    <a:pt x="81" y="22"/>
                    <a:pt x="81" y="22"/>
                    <a:pt x="81" y="22"/>
                  </a:cubicBezTo>
                  <a:cubicBezTo>
                    <a:pt x="82" y="21"/>
                    <a:pt x="83" y="21"/>
                    <a:pt x="84" y="20"/>
                  </a:cubicBezTo>
                  <a:cubicBezTo>
                    <a:pt x="84" y="20"/>
                    <a:pt x="84" y="19"/>
                    <a:pt x="85" y="18"/>
                  </a:cubicBezTo>
                  <a:cubicBezTo>
                    <a:pt x="85" y="17"/>
                    <a:pt x="85" y="17"/>
                    <a:pt x="85" y="17"/>
                  </a:cubicBezTo>
                  <a:cubicBezTo>
                    <a:pt x="86" y="18"/>
                    <a:pt x="86" y="18"/>
                    <a:pt x="86" y="18"/>
                  </a:cubicBezTo>
                  <a:cubicBezTo>
                    <a:pt x="86" y="17"/>
                    <a:pt x="86" y="17"/>
                    <a:pt x="86" y="17"/>
                  </a:cubicBezTo>
                  <a:cubicBezTo>
                    <a:pt x="87" y="17"/>
                    <a:pt x="87" y="17"/>
                    <a:pt x="87" y="17"/>
                  </a:cubicBezTo>
                  <a:cubicBezTo>
                    <a:pt x="87" y="15"/>
                    <a:pt x="87" y="13"/>
                    <a:pt x="87" y="13"/>
                  </a:cubicBezTo>
                  <a:cubicBezTo>
                    <a:pt x="86" y="11"/>
                    <a:pt x="86" y="10"/>
                    <a:pt x="85" y="9"/>
                  </a:cubicBezTo>
                  <a:cubicBezTo>
                    <a:pt x="85" y="9"/>
                    <a:pt x="84" y="9"/>
                    <a:pt x="84" y="9"/>
                  </a:cubicBezTo>
                  <a:cubicBezTo>
                    <a:pt x="83" y="9"/>
                    <a:pt x="83" y="9"/>
                    <a:pt x="82" y="9"/>
                  </a:cubicBezTo>
                  <a:cubicBezTo>
                    <a:pt x="80" y="7"/>
                    <a:pt x="79" y="4"/>
                    <a:pt x="79" y="0"/>
                  </a:cubicBezTo>
                  <a:cubicBezTo>
                    <a:pt x="79" y="0"/>
                    <a:pt x="79" y="0"/>
                    <a:pt x="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454"/>
            <p:cNvSpPr/>
            <p:nvPr/>
          </p:nvSpPr>
          <p:spPr bwMode="auto">
            <a:xfrm>
              <a:off x="552932" y="4721886"/>
              <a:ext cx="1297051" cy="1020585"/>
            </a:xfrm>
            <a:custGeom>
              <a:gdLst>
                <a:gd name="T0" fmla="*/ 78 w 399"/>
                <a:gd name="T1" fmla="*/ 5 h 314"/>
                <a:gd name="T2" fmla="*/ 64 w 399"/>
                <a:gd name="T3" fmla="*/ 25 h 314"/>
                <a:gd name="T4" fmla="*/ 67 w 399"/>
                <a:gd name="T5" fmla="*/ 29 h 314"/>
                <a:gd name="T6" fmla="*/ 52 w 399"/>
                <a:gd name="T7" fmla="*/ 46 h 314"/>
                <a:gd name="T8" fmla="*/ 47 w 399"/>
                <a:gd name="T9" fmla="*/ 47 h 314"/>
                <a:gd name="T10" fmla="*/ 36 w 399"/>
                <a:gd name="T11" fmla="*/ 57 h 314"/>
                <a:gd name="T12" fmla="*/ 24 w 399"/>
                <a:gd name="T13" fmla="*/ 61 h 314"/>
                <a:gd name="T14" fmla="*/ 9 w 399"/>
                <a:gd name="T15" fmla="*/ 59 h 314"/>
                <a:gd name="T16" fmla="*/ 2 w 399"/>
                <a:gd name="T17" fmla="*/ 84 h 314"/>
                <a:gd name="T18" fmla="*/ 5 w 399"/>
                <a:gd name="T19" fmla="*/ 82 h 314"/>
                <a:gd name="T20" fmla="*/ 8 w 399"/>
                <a:gd name="T21" fmla="*/ 82 h 314"/>
                <a:gd name="T22" fmla="*/ 27 w 399"/>
                <a:gd name="T23" fmla="*/ 104 h 314"/>
                <a:gd name="T24" fmla="*/ 52 w 399"/>
                <a:gd name="T25" fmla="*/ 143 h 314"/>
                <a:gd name="T26" fmla="*/ 73 w 399"/>
                <a:gd name="T27" fmla="*/ 168 h 314"/>
                <a:gd name="T28" fmla="*/ 88 w 399"/>
                <a:gd name="T29" fmla="*/ 198 h 314"/>
                <a:gd name="T30" fmla="*/ 94 w 399"/>
                <a:gd name="T31" fmla="*/ 230 h 314"/>
                <a:gd name="T32" fmla="*/ 112 w 399"/>
                <a:gd name="T33" fmla="*/ 244 h 314"/>
                <a:gd name="T34" fmla="*/ 146 w 399"/>
                <a:gd name="T35" fmla="*/ 293 h 314"/>
                <a:gd name="T36" fmla="*/ 162 w 399"/>
                <a:gd name="T37" fmla="*/ 311 h 314"/>
                <a:gd name="T38" fmla="*/ 162 w 399"/>
                <a:gd name="T39" fmla="*/ 304 h 314"/>
                <a:gd name="T40" fmla="*/ 169 w 399"/>
                <a:gd name="T41" fmla="*/ 293 h 314"/>
                <a:gd name="T42" fmla="*/ 179 w 399"/>
                <a:gd name="T43" fmla="*/ 296 h 314"/>
                <a:gd name="T44" fmla="*/ 184 w 399"/>
                <a:gd name="T45" fmla="*/ 296 h 314"/>
                <a:gd name="T46" fmla="*/ 199 w 399"/>
                <a:gd name="T47" fmla="*/ 294 h 314"/>
                <a:gd name="T48" fmla="*/ 232 w 399"/>
                <a:gd name="T49" fmla="*/ 297 h 314"/>
                <a:gd name="T50" fmla="*/ 238 w 399"/>
                <a:gd name="T51" fmla="*/ 302 h 314"/>
                <a:gd name="T52" fmla="*/ 240 w 399"/>
                <a:gd name="T53" fmla="*/ 303 h 314"/>
                <a:gd name="T54" fmla="*/ 260 w 399"/>
                <a:gd name="T55" fmla="*/ 280 h 314"/>
                <a:gd name="T56" fmla="*/ 295 w 399"/>
                <a:gd name="T57" fmla="*/ 269 h 314"/>
                <a:gd name="T58" fmla="*/ 333 w 399"/>
                <a:gd name="T59" fmla="*/ 263 h 314"/>
                <a:gd name="T60" fmla="*/ 389 w 399"/>
                <a:gd name="T61" fmla="*/ 244 h 314"/>
                <a:gd name="T62" fmla="*/ 391 w 399"/>
                <a:gd name="T63" fmla="*/ 237 h 314"/>
                <a:gd name="T64" fmla="*/ 397 w 399"/>
                <a:gd name="T65" fmla="*/ 217 h 314"/>
                <a:gd name="T66" fmla="*/ 398 w 399"/>
                <a:gd name="T67" fmla="*/ 204 h 314"/>
                <a:gd name="T68" fmla="*/ 395 w 399"/>
                <a:gd name="T69" fmla="*/ 197 h 314"/>
                <a:gd name="T70" fmla="*/ 344 w 399"/>
                <a:gd name="T71" fmla="*/ 189 h 314"/>
                <a:gd name="T72" fmla="*/ 329 w 399"/>
                <a:gd name="T73" fmla="*/ 172 h 314"/>
                <a:gd name="T74" fmla="*/ 320 w 399"/>
                <a:gd name="T75" fmla="*/ 157 h 314"/>
                <a:gd name="T76" fmla="*/ 323 w 399"/>
                <a:gd name="T77" fmla="*/ 153 h 314"/>
                <a:gd name="T78" fmla="*/ 319 w 399"/>
                <a:gd name="T79" fmla="*/ 153 h 314"/>
                <a:gd name="T80" fmla="*/ 315 w 399"/>
                <a:gd name="T81" fmla="*/ 154 h 314"/>
                <a:gd name="T82" fmla="*/ 311 w 399"/>
                <a:gd name="T83" fmla="*/ 150 h 314"/>
                <a:gd name="T84" fmla="*/ 295 w 399"/>
                <a:gd name="T85" fmla="*/ 125 h 314"/>
                <a:gd name="T86" fmla="*/ 299 w 399"/>
                <a:gd name="T87" fmla="*/ 117 h 314"/>
                <a:gd name="T88" fmla="*/ 294 w 399"/>
                <a:gd name="T89" fmla="*/ 108 h 314"/>
                <a:gd name="T90" fmla="*/ 286 w 399"/>
                <a:gd name="T91" fmla="*/ 102 h 314"/>
                <a:gd name="T92" fmla="*/ 279 w 399"/>
                <a:gd name="T93" fmla="*/ 94 h 314"/>
                <a:gd name="T94" fmla="*/ 272 w 399"/>
                <a:gd name="T95" fmla="*/ 91 h 314"/>
                <a:gd name="T96" fmla="*/ 265 w 399"/>
                <a:gd name="T97" fmla="*/ 75 h 314"/>
                <a:gd name="T98" fmla="*/ 261 w 399"/>
                <a:gd name="T99" fmla="*/ 75 h 314"/>
                <a:gd name="T100" fmla="*/ 247 w 399"/>
                <a:gd name="T101" fmla="*/ 70 h 314"/>
                <a:gd name="T102" fmla="*/ 247 w 399"/>
                <a:gd name="T103" fmla="*/ 69 h 314"/>
                <a:gd name="T104" fmla="*/ 246 w 399"/>
                <a:gd name="T105" fmla="*/ 68 h 314"/>
                <a:gd name="T106" fmla="*/ 229 w 399"/>
                <a:gd name="T107" fmla="*/ 64 h 314"/>
                <a:gd name="T108" fmla="*/ 224 w 399"/>
                <a:gd name="T109" fmla="*/ 64 h 314"/>
                <a:gd name="T110" fmla="*/ 184 w 399"/>
                <a:gd name="T111" fmla="*/ 54 h 314"/>
                <a:gd name="T112" fmla="*/ 143 w 399"/>
                <a:gd name="T113" fmla="*/ 22 h 314"/>
                <a:gd name="T114" fmla="*/ 116 w 399"/>
                <a:gd name="T115" fmla="*/ 7 h 3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9" h="314">
                  <a:moveTo>
                    <a:pt x="89" y="0"/>
                  </a:moveTo>
                  <a:cubicBezTo>
                    <a:pt x="88" y="1"/>
                    <a:pt x="88" y="1"/>
                    <a:pt x="88" y="1"/>
                  </a:cubicBezTo>
                  <a:cubicBezTo>
                    <a:pt x="85" y="2"/>
                    <a:pt x="82" y="3"/>
                    <a:pt x="78" y="4"/>
                  </a:cubicBezTo>
                  <a:cubicBezTo>
                    <a:pt x="78" y="5"/>
                    <a:pt x="78" y="5"/>
                    <a:pt x="78" y="5"/>
                  </a:cubicBezTo>
                  <a:cubicBezTo>
                    <a:pt x="76" y="5"/>
                    <a:pt x="75" y="5"/>
                    <a:pt x="73" y="6"/>
                  </a:cubicBezTo>
                  <a:cubicBezTo>
                    <a:pt x="67" y="8"/>
                    <a:pt x="60" y="10"/>
                    <a:pt x="54" y="12"/>
                  </a:cubicBezTo>
                  <a:cubicBezTo>
                    <a:pt x="52" y="12"/>
                    <a:pt x="52" y="12"/>
                    <a:pt x="52" y="12"/>
                  </a:cubicBezTo>
                  <a:cubicBezTo>
                    <a:pt x="56" y="16"/>
                    <a:pt x="60" y="21"/>
                    <a:pt x="64" y="25"/>
                  </a:cubicBezTo>
                  <a:cubicBezTo>
                    <a:pt x="64" y="26"/>
                    <a:pt x="64" y="26"/>
                    <a:pt x="65" y="26"/>
                  </a:cubicBezTo>
                  <a:cubicBezTo>
                    <a:pt x="65" y="27"/>
                    <a:pt x="65" y="27"/>
                    <a:pt x="65" y="27"/>
                  </a:cubicBezTo>
                  <a:cubicBezTo>
                    <a:pt x="66" y="27"/>
                    <a:pt x="66" y="28"/>
                    <a:pt x="66" y="28"/>
                  </a:cubicBezTo>
                  <a:cubicBezTo>
                    <a:pt x="67" y="29"/>
                    <a:pt x="67" y="29"/>
                    <a:pt x="67" y="29"/>
                  </a:cubicBezTo>
                  <a:cubicBezTo>
                    <a:pt x="68" y="30"/>
                    <a:pt x="69" y="31"/>
                    <a:pt x="69" y="32"/>
                  </a:cubicBezTo>
                  <a:cubicBezTo>
                    <a:pt x="69" y="33"/>
                    <a:pt x="69" y="35"/>
                    <a:pt x="60" y="42"/>
                  </a:cubicBezTo>
                  <a:cubicBezTo>
                    <a:pt x="59" y="44"/>
                    <a:pt x="59" y="44"/>
                    <a:pt x="58" y="44"/>
                  </a:cubicBezTo>
                  <a:cubicBezTo>
                    <a:pt x="57" y="46"/>
                    <a:pt x="54" y="46"/>
                    <a:pt x="52" y="46"/>
                  </a:cubicBezTo>
                  <a:cubicBezTo>
                    <a:pt x="52" y="46"/>
                    <a:pt x="52" y="46"/>
                    <a:pt x="52" y="46"/>
                  </a:cubicBezTo>
                  <a:cubicBezTo>
                    <a:pt x="51" y="46"/>
                    <a:pt x="51" y="46"/>
                    <a:pt x="50" y="46"/>
                  </a:cubicBezTo>
                  <a:cubicBezTo>
                    <a:pt x="49" y="47"/>
                    <a:pt x="49" y="47"/>
                    <a:pt x="48" y="47"/>
                  </a:cubicBezTo>
                  <a:cubicBezTo>
                    <a:pt x="47" y="47"/>
                    <a:pt x="47" y="47"/>
                    <a:pt x="47" y="47"/>
                  </a:cubicBezTo>
                  <a:cubicBezTo>
                    <a:pt x="47" y="47"/>
                    <a:pt x="46" y="47"/>
                    <a:pt x="45" y="47"/>
                  </a:cubicBezTo>
                  <a:cubicBezTo>
                    <a:pt x="43" y="48"/>
                    <a:pt x="42" y="50"/>
                    <a:pt x="40" y="52"/>
                  </a:cubicBezTo>
                  <a:cubicBezTo>
                    <a:pt x="39" y="53"/>
                    <a:pt x="39" y="53"/>
                    <a:pt x="38" y="54"/>
                  </a:cubicBezTo>
                  <a:cubicBezTo>
                    <a:pt x="36" y="57"/>
                    <a:pt x="36" y="57"/>
                    <a:pt x="36" y="57"/>
                  </a:cubicBezTo>
                  <a:cubicBezTo>
                    <a:pt x="34" y="59"/>
                    <a:pt x="32" y="61"/>
                    <a:pt x="31" y="61"/>
                  </a:cubicBezTo>
                  <a:cubicBezTo>
                    <a:pt x="31" y="62"/>
                    <a:pt x="30" y="62"/>
                    <a:pt x="29" y="62"/>
                  </a:cubicBezTo>
                  <a:cubicBezTo>
                    <a:pt x="28" y="62"/>
                    <a:pt x="27" y="62"/>
                    <a:pt x="24" y="61"/>
                  </a:cubicBezTo>
                  <a:cubicBezTo>
                    <a:pt x="24" y="61"/>
                    <a:pt x="24" y="61"/>
                    <a:pt x="24" y="61"/>
                  </a:cubicBezTo>
                  <a:cubicBezTo>
                    <a:pt x="23" y="61"/>
                    <a:pt x="23" y="61"/>
                    <a:pt x="23" y="61"/>
                  </a:cubicBezTo>
                  <a:cubicBezTo>
                    <a:pt x="11" y="59"/>
                    <a:pt x="11" y="59"/>
                    <a:pt x="11" y="59"/>
                  </a:cubicBezTo>
                  <a:cubicBezTo>
                    <a:pt x="10" y="59"/>
                    <a:pt x="10" y="59"/>
                    <a:pt x="10" y="59"/>
                  </a:cubicBezTo>
                  <a:cubicBezTo>
                    <a:pt x="10" y="59"/>
                    <a:pt x="10" y="59"/>
                    <a:pt x="9" y="59"/>
                  </a:cubicBezTo>
                  <a:cubicBezTo>
                    <a:pt x="9" y="60"/>
                    <a:pt x="9" y="60"/>
                    <a:pt x="9" y="60"/>
                  </a:cubicBezTo>
                  <a:cubicBezTo>
                    <a:pt x="8" y="59"/>
                    <a:pt x="8" y="59"/>
                    <a:pt x="8" y="59"/>
                  </a:cubicBezTo>
                  <a:cubicBezTo>
                    <a:pt x="7" y="65"/>
                    <a:pt x="5" y="70"/>
                    <a:pt x="4" y="75"/>
                  </a:cubicBezTo>
                  <a:cubicBezTo>
                    <a:pt x="3" y="76"/>
                    <a:pt x="0" y="83"/>
                    <a:pt x="2" y="84"/>
                  </a:cubicBezTo>
                  <a:cubicBezTo>
                    <a:pt x="2" y="84"/>
                    <a:pt x="2" y="84"/>
                    <a:pt x="2" y="84"/>
                  </a:cubicBezTo>
                  <a:cubicBezTo>
                    <a:pt x="3" y="84"/>
                    <a:pt x="3" y="82"/>
                    <a:pt x="3" y="82"/>
                  </a:cubicBezTo>
                  <a:cubicBezTo>
                    <a:pt x="3" y="82"/>
                    <a:pt x="3" y="82"/>
                    <a:pt x="4" y="82"/>
                  </a:cubicBezTo>
                  <a:cubicBezTo>
                    <a:pt x="4" y="82"/>
                    <a:pt x="4" y="82"/>
                    <a:pt x="5" y="82"/>
                  </a:cubicBezTo>
                  <a:cubicBezTo>
                    <a:pt x="5" y="82"/>
                    <a:pt x="5" y="82"/>
                    <a:pt x="6" y="82"/>
                  </a:cubicBezTo>
                  <a:cubicBezTo>
                    <a:pt x="6" y="82"/>
                    <a:pt x="6" y="82"/>
                    <a:pt x="6" y="82"/>
                  </a:cubicBezTo>
                  <a:cubicBezTo>
                    <a:pt x="6" y="82"/>
                    <a:pt x="7" y="82"/>
                    <a:pt x="7" y="82"/>
                  </a:cubicBezTo>
                  <a:cubicBezTo>
                    <a:pt x="7" y="82"/>
                    <a:pt x="8" y="82"/>
                    <a:pt x="8" y="82"/>
                  </a:cubicBezTo>
                  <a:cubicBezTo>
                    <a:pt x="8" y="82"/>
                    <a:pt x="9" y="82"/>
                    <a:pt x="9" y="82"/>
                  </a:cubicBezTo>
                  <a:cubicBezTo>
                    <a:pt x="9" y="82"/>
                    <a:pt x="9" y="82"/>
                    <a:pt x="9" y="82"/>
                  </a:cubicBezTo>
                  <a:cubicBezTo>
                    <a:pt x="11" y="82"/>
                    <a:pt x="12" y="83"/>
                    <a:pt x="14" y="85"/>
                  </a:cubicBezTo>
                  <a:cubicBezTo>
                    <a:pt x="18" y="91"/>
                    <a:pt x="22" y="98"/>
                    <a:pt x="27" y="104"/>
                  </a:cubicBezTo>
                  <a:cubicBezTo>
                    <a:pt x="31" y="111"/>
                    <a:pt x="34" y="120"/>
                    <a:pt x="41" y="125"/>
                  </a:cubicBezTo>
                  <a:cubicBezTo>
                    <a:pt x="42" y="125"/>
                    <a:pt x="42" y="126"/>
                    <a:pt x="42" y="127"/>
                  </a:cubicBezTo>
                  <a:cubicBezTo>
                    <a:pt x="42" y="130"/>
                    <a:pt x="43" y="131"/>
                    <a:pt x="45" y="133"/>
                  </a:cubicBezTo>
                  <a:cubicBezTo>
                    <a:pt x="47" y="136"/>
                    <a:pt x="51" y="140"/>
                    <a:pt x="52" y="143"/>
                  </a:cubicBezTo>
                  <a:cubicBezTo>
                    <a:pt x="53" y="145"/>
                    <a:pt x="53" y="148"/>
                    <a:pt x="54" y="151"/>
                  </a:cubicBezTo>
                  <a:cubicBezTo>
                    <a:pt x="55" y="154"/>
                    <a:pt x="56" y="156"/>
                    <a:pt x="58" y="159"/>
                  </a:cubicBezTo>
                  <a:cubicBezTo>
                    <a:pt x="59" y="161"/>
                    <a:pt x="61" y="161"/>
                    <a:pt x="64" y="161"/>
                  </a:cubicBezTo>
                  <a:cubicBezTo>
                    <a:pt x="67" y="161"/>
                    <a:pt x="71" y="166"/>
                    <a:pt x="73" y="168"/>
                  </a:cubicBezTo>
                  <a:cubicBezTo>
                    <a:pt x="74" y="169"/>
                    <a:pt x="75" y="170"/>
                    <a:pt x="76" y="172"/>
                  </a:cubicBezTo>
                  <a:cubicBezTo>
                    <a:pt x="78" y="176"/>
                    <a:pt x="80" y="179"/>
                    <a:pt x="82" y="183"/>
                  </a:cubicBezTo>
                  <a:cubicBezTo>
                    <a:pt x="84" y="187"/>
                    <a:pt x="85" y="191"/>
                    <a:pt x="87" y="195"/>
                  </a:cubicBezTo>
                  <a:cubicBezTo>
                    <a:pt x="88" y="196"/>
                    <a:pt x="88" y="197"/>
                    <a:pt x="88" y="198"/>
                  </a:cubicBezTo>
                  <a:cubicBezTo>
                    <a:pt x="88" y="199"/>
                    <a:pt x="87" y="200"/>
                    <a:pt x="87" y="200"/>
                  </a:cubicBezTo>
                  <a:cubicBezTo>
                    <a:pt x="86" y="203"/>
                    <a:pt x="87" y="206"/>
                    <a:pt x="87" y="210"/>
                  </a:cubicBezTo>
                  <a:cubicBezTo>
                    <a:pt x="88" y="214"/>
                    <a:pt x="87" y="221"/>
                    <a:pt x="90" y="225"/>
                  </a:cubicBezTo>
                  <a:cubicBezTo>
                    <a:pt x="91" y="227"/>
                    <a:pt x="93" y="228"/>
                    <a:pt x="94" y="230"/>
                  </a:cubicBezTo>
                  <a:cubicBezTo>
                    <a:pt x="96" y="234"/>
                    <a:pt x="99" y="238"/>
                    <a:pt x="103" y="240"/>
                  </a:cubicBezTo>
                  <a:cubicBezTo>
                    <a:pt x="103" y="240"/>
                    <a:pt x="103" y="240"/>
                    <a:pt x="103" y="240"/>
                  </a:cubicBezTo>
                  <a:cubicBezTo>
                    <a:pt x="104" y="240"/>
                    <a:pt x="105" y="240"/>
                    <a:pt x="107" y="240"/>
                  </a:cubicBezTo>
                  <a:cubicBezTo>
                    <a:pt x="108" y="241"/>
                    <a:pt x="110" y="243"/>
                    <a:pt x="112" y="244"/>
                  </a:cubicBezTo>
                  <a:cubicBezTo>
                    <a:pt x="113" y="245"/>
                    <a:pt x="113" y="246"/>
                    <a:pt x="114" y="248"/>
                  </a:cubicBezTo>
                  <a:cubicBezTo>
                    <a:pt x="118" y="254"/>
                    <a:pt x="122" y="260"/>
                    <a:pt x="126" y="267"/>
                  </a:cubicBezTo>
                  <a:cubicBezTo>
                    <a:pt x="129" y="272"/>
                    <a:pt x="132" y="277"/>
                    <a:pt x="135" y="282"/>
                  </a:cubicBezTo>
                  <a:cubicBezTo>
                    <a:pt x="137" y="286"/>
                    <a:pt x="143" y="290"/>
                    <a:pt x="146" y="293"/>
                  </a:cubicBezTo>
                  <a:cubicBezTo>
                    <a:pt x="150" y="297"/>
                    <a:pt x="148" y="299"/>
                    <a:pt x="150" y="304"/>
                  </a:cubicBezTo>
                  <a:cubicBezTo>
                    <a:pt x="150" y="304"/>
                    <a:pt x="150" y="304"/>
                    <a:pt x="150" y="304"/>
                  </a:cubicBezTo>
                  <a:cubicBezTo>
                    <a:pt x="155" y="304"/>
                    <a:pt x="156" y="310"/>
                    <a:pt x="157" y="314"/>
                  </a:cubicBezTo>
                  <a:cubicBezTo>
                    <a:pt x="158" y="313"/>
                    <a:pt x="160" y="312"/>
                    <a:pt x="162" y="311"/>
                  </a:cubicBezTo>
                  <a:cubicBezTo>
                    <a:pt x="163" y="310"/>
                    <a:pt x="163" y="310"/>
                    <a:pt x="163" y="310"/>
                  </a:cubicBezTo>
                  <a:cubicBezTo>
                    <a:pt x="163" y="310"/>
                    <a:pt x="163" y="310"/>
                    <a:pt x="163" y="309"/>
                  </a:cubicBezTo>
                  <a:cubicBezTo>
                    <a:pt x="162" y="308"/>
                    <a:pt x="162" y="307"/>
                    <a:pt x="162" y="307"/>
                  </a:cubicBezTo>
                  <a:cubicBezTo>
                    <a:pt x="162" y="306"/>
                    <a:pt x="162" y="305"/>
                    <a:pt x="162" y="304"/>
                  </a:cubicBezTo>
                  <a:cubicBezTo>
                    <a:pt x="162" y="304"/>
                    <a:pt x="162" y="303"/>
                    <a:pt x="162" y="303"/>
                  </a:cubicBezTo>
                  <a:cubicBezTo>
                    <a:pt x="162" y="302"/>
                    <a:pt x="163" y="301"/>
                    <a:pt x="163" y="300"/>
                  </a:cubicBezTo>
                  <a:cubicBezTo>
                    <a:pt x="165" y="294"/>
                    <a:pt x="167" y="293"/>
                    <a:pt x="169" y="293"/>
                  </a:cubicBezTo>
                  <a:cubicBezTo>
                    <a:pt x="169" y="293"/>
                    <a:pt x="169" y="293"/>
                    <a:pt x="169" y="293"/>
                  </a:cubicBezTo>
                  <a:cubicBezTo>
                    <a:pt x="170" y="293"/>
                    <a:pt x="171" y="293"/>
                    <a:pt x="172" y="293"/>
                  </a:cubicBezTo>
                  <a:cubicBezTo>
                    <a:pt x="173" y="293"/>
                    <a:pt x="174" y="293"/>
                    <a:pt x="175" y="293"/>
                  </a:cubicBezTo>
                  <a:cubicBezTo>
                    <a:pt x="176" y="294"/>
                    <a:pt x="176" y="294"/>
                    <a:pt x="177" y="295"/>
                  </a:cubicBezTo>
                  <a:cubicBezTo>
                    <a:pt x="177" y="295"/>
                    <a:pt x="178" y="296"/>
                    <a:pt x="179" y="296"/>
                  </a:cubicBezTo>
                  <a:cubicBezTo>
                    <a:pt x="179" y="296"/>
                    <a:pt x="179" y="296"/>
                    <a:pt x="179" y="296"/>
                  </a:cubicBezTo>
                  <a:cubicBezTo>
                    <a:pt x="179" y="296"/>
                    <a:pt x="179" y="296"/>
                    <a:pt x="180" y="296"/>
                  </a:cubicBezTo>
                  <a:cubicBezTo>
                    <a:pt x="180" y="296"/>
                    <a:pt x="181" y="296"/>
                    <a:pt x="182" y="296"/>
                  </a:cubicBezTo>
                  <a:cubicBezTo>
                    <a:pt x="182" y="296"/>
                    <a:pt x="183" y="296"/>
                    <a:pt x="184" y="296"/>
                  </a:cubicBezTo>
                  <a:cubicBezTo>
                    <a:pt x="184" y="296"/>
                    <a:pt x="184" y="296"/>
                    <a:pt x="184" y="296"/>
                  </a:cubicBezTo>
                  <a:cubicBezTo>
                    <a:pt x="185" y="296"/>
                    <a:pt x="186" y="296"/>
                    <a:pt x="187" y="295"/>
                  </a:cubicBezTo>
                  <a:cubicBezTo>
                    <a:pt x="188" y="295"/>
                    <a:pt x="189" y="295"/>
                    <a:pt x="190" y="295"/>
                  </a:cubicBezTo>
                  <a:cubicBezTo>
                    <a:pt x="193" y="295"/>
                    <a:pt x="196" y="294"/>
                    <a:pt x="199" y="294"/>
                  </a:cubicBezTo>
                  <a:cubicBezTo>
                    <a:pt x="201" y="294"/>
                    <a:pt x="202" y="294"/>
                    <a:pt x="203" y="294"/>
                  </a:cubicBezTo>
                  <a:cubicBezTo>
                    <a:pt x="209" y="294"/>
                    <a:pt x="215" y="295"/>
                    <a:pt x="221" y="296"/>
                  </a:cubicBezTo>
                  <a:cubicBezTo>
                    <a:pt x="225" y="296"/>
                    <a:pt x="228" y="296"/>
                    <a:pt x="231" y="297"/>
                  </a:cubicBezTo>
                  <a:cubicBezTo>
                    <a:pt x="232" y="297"/>
                    <a:pt x="232" y="297"/>
                    <a:pt x="232" y="297"/>
                  </a:cubicBezTo>
                  <a:cubicBezTo>
                    <a:pt x="232" y="297"/>
                    <a:pt x="232" y="297"/>
                    <a:pt x="233" y="297"/>
                  </a:cubicBezTo>
                  <a:cubicBezTo>
                    <a:pt x="233" y="297"/>
                    <a:pt x="233" y="297"/>
                    <a:pt x="233" y="297"/>
                  </a:cubicBezTo>
                  <a:cubicBezTo>
                    <a:pt x="235" y="297"/>
                    <a:pt x="237" y="300"/>
                    <a:pt x="238" y="301"/>
                  </a:cubicBezTo>
                  <a:cubicBezTo>
                    <a:pt x="238" y="302"/>
                    <a:pt x="238" y="302"/>
                    <a:pt x="238" y="302"/>
                  </a:cubicBezTo>
                  <a:cubicBezTo>
                    <a:pt x="239" y="303"/>
                    <a:pt x="239" y="303"/>
                    <a:pt x="239" y="303"/>
                  </a:cubicBezTo>
                  <a:cubicBezTo>
                    <a:pt x="239" y="303"/>
                    <a:pt x="239" y="303"/>
                    <a:pt x="239" y="303"/>
                  </a:cubicBezTo>
                  <a:cubicBezTo>
                    <a:pt x="240" y="303"/>
                    <a:pt x="240" y="303"/>
                    <a:pt x="240" y="303"/>
                  </a:cubicBezTo>
                  <a:cubicBezTo>
                    <a:pt x="240" y="303"/>
                    <a:pt x="240" y="303"/>
                    <a:pt x="240" y="303"/>
                  </a:cubicBezTo>
                  <a:cubicBezTo>
                    <a:pt x="241" y="302"/>
                    <a:pt x="242" y="302"/>
                    <a:pt x="243" y="302"/>
                  </a:cubicBezTo>
                  <a:cubicBezTo>
                    <a:pt x="244" y="301"/>
                    <a:pt x="245" y="300"/>
                    <a:pt x="246" y="299"/>
                  </a:cubicBezTo>
                  <a:cubicBezTo>
                    <a:pt x="259" y="281"/>
                    <a:pt x="259" y="281"/>
                    <a:pt x="259" y="281"/>
                  </a:cubicBezTo>
                  <a:cubicBezTo>
                    <a:pt x="259" y="281"/>
                    <a:pt x="259" y="280"/>
                    <a:pt x="260" y="280"/>
                  </a:cubicBezTo>
                  <a:cubicBezTo>
                    <a:pt x="262" y="278"/>
                    <a:pt x="266" y="276"/>
                    <a:pt x="269" y="275"/>
                  </a:cubicBezTo>
                  <a:cubicBezTo>
                    <a:pt x="270" y="274"/>
                    <a:pt x="270" y="274"/>
                    <a:pt x="270" y="274"/>
                  </a:cubicBezTo>
                  <a:cubicBezTo>
                    <a:pt x="271" y="274"/>
                    <a:pt x="272" y="273"/>
                    <a:pt x="273" y="273"/>
                  </a:cubicBezTo>
                  <a:cubicBezTo>
                    <a:pt x="280" y="270"/>
                    <a:pt x="288" y="269"/>
                    <a:pt x="295" y="269"/>
                  </a:cubicBezTo>
                  <a:cubicBezTo>
                    <a:pt x="299" y="268"/>
                    <a:pt x="299" y="268"/>
                    <a:pt x="299" y="268"/>
                  </a:cubicBezTo>
                  <a:cubicBezTo>
                    <a:pt x="305" y="268"/>
                    <a:pt x="314" y="266"/>
                    <a:pt x="323" y="265"/>
                  </a:cubicBezTo>
                  <a:cubicBezTo>
                    <a:pt x="326" y="264"/>
                    <a:pt x="329" y="264"/>
                    <a:pt x="332" y="263"/>
                  </a:cubicBezTo>
                  <a:cubicBezTo>
                    <a:pt x="333" y="263"/>
                    <a:pt x="333" y="263"/>
                    <a:pt x="333" y="263"/>
                  </a:cubicBezTo>
                  <a:cubicBezTo>
                    <a:pt x="335" y="262"/>
                    <a:pt x="336" y="262"/>
                    <a:pt x="337" y="261"/>
                  </a:cubicBezTo>
                  <a:cubicBezTo>
                    <a:pt x="366" y="251"/>
                    <a:pt x="366" y="251"/>
                    <a:pt x="366" y="251"/>
                  </a:cubicBezTo>
                  <a:cubicBezTo>
                    <a:pt x="373" y="249"/>
                    <a:pt x="379" y="247"/>
                    <a:pt x="386" y="245"/>
                  </a:cubicBezTo>
                  <a:cubicBezTo>
                    <a:pt x="389" y="244"/>
                    <a:pt x="389" y="244"/>
                    <a:pt x="389" y="244"/>
                  </a:cubicBezTo>
                  <a:cubicBezTo>
                    <a:pt x="389" y="243"/>
                    <a:pt x="389" y="243"/>
                    <a:pt x="389" y="243"/>
                  </a:cubicBezTo>
                  <a:cubicBezTo>
                    <a:pt x="389" y="242"/>
                    <a:pt x="390" y="241"/>
                    <a:pt x="390" y="240"/>
                  </a:cubicBezTo>
                  <a:cubicBezTo>
                    <a:pt x="390" y="239"/>
                    <a:pt x="390" y="239"/>
                    <a:pt x="390" y="239"/>
                  </a:cubicBezTo>
                  <a:cubicBezTo>
                    <a:pt x="390" y="238"/>
                    <a:pt x="391" y="238"/>
                    <a:pt x="391" y="237"/>
                  </a:cubicBezTo>
                  <a:cubicBezTo>
                    <a:pt x="391" y="236"/>
                    <a:pt x="391" y="235"/>
                    <a:pt x="392" y="234"/>
                  </a:cubicBezTo>
                  <a:cubicBezTo>
                    <a:pt x="392" y="234"/>
                    <a:pt x="392" y="233"/>
                    <a:pt x="392" y="233"/>
                  </a:cubicBezTo>
                  <a:cubicBezTo>
                    <a:pt x="393" y="231"/>
                    <a:pt x="393" y="229"/>
                    <a:pt x="394" y="228"/>
                  </a:cubicBezTo>
                  <a:cubicBezTo>
                    <a:pt x="397" y="217"/>
                    <a:pt x="397" y="217"/>
                    <a:pt x="397" y="217"/>
                  </a:cubicBezTo>
                  <a:cubicBezTo>
                    <a:pt x="398" y="215"/>
                    <a:pt x="398" y="213"/>
                    <a:pt x="399" y="211"/>
                  </a:cubicBezTo>
                  <a:cubicBezTo>
                    <a:pt x="399" y="210"/>
                    <a:pt x="399" y="209"/>
                    <a:pt x="399" y="207"/>
                  </a:cubicBezTo>
                  <a:cubicBezTo>
                    <a:pt x="399" y="207"/>
                    <a:pt x="399" y="206"/>
                    <a:pt x="398" y="205"/>
                  </a:cubicBezTo>
                  <a:cubicBezTo>
                    <a:pt x="398" y="204"/>
                    <a:pt x="398" y="204"/>
                    <a:pt x="398" y="204"/>
                  </a:cubicBezTo>
                  <a:cubicBezTo>
                    <a:pt x="398" y="204"/>
                    <a:pt x="398" y="204"/>
                    <a:pt x="398" y="204"/>
                  </a:cubicBezTo>
                  <a:cubicBezTo>
                    <a:pt x="398" y="203"/>
                    <a:pt x="397" y="202"/>
                    <a:pt x="397" y="201"/>
                  </a:cubicBezTo>
                  <a:cubicBezTo>
                    <a:pt x="397" y="200"/>
                    <a:pt x="397" y="200"/>
                    <a:pt x="397" y="200"/>
                  </a:cubicBezTo>
                  <a:cubicBezTo>
                    <a:pt x="396" y="199"/>
                    <a:pt x="395" y="198"/>
                    <a:pt x="395" y="197"/>
                  </a:cubicBezTo>
                  <a:cubicBezTo>
                    <a:pt x="395" y="196"/>
                    <a:pt x="395" y="196"/>
                    <a:pt x="395" y="196"/>
                  </a:cubicBezTo>
                  <a:cubicBezTo>
                    <a:pt x="394" y="196"/>
                    <a:pt x="394" y="195"/>
                    <a:pt x="393" y="194"/>
                  </a:cubicBezTo>
                  <a:cubicBezTo>
                    <a:pt x="392" y="194"/>
                    <a:pt x="392" y="194"/>
                    <a:pt x="392" y="194"/>
                  </a:cubicBezTo>
                  <a:cubicBezTo>
                    <a:pt x="344" y="189"/>
                    <a:pt x="344" y="189"/>
                    <a:pt x="344" y="189"/>
                  </a:cubicBezTo>
                  <a:cubicBezTo>
                    <a:pt x="343" y="189"/>
                    <a:pt x="343" y="188"/>
                    <a:pt x="342" y="188"/>
                  </a:cubicBezTo>
                  <a:cubicBezTo>
                    <a:pt x="340" y="185"/>
                    <a:pt x="337" y="182"/>
                    <a:pt x="335" y="178"/>
                  </a:cubicBezTo>
                  <a:cubicBezTo>
                    <a:pt x="330" y="173"/>
                    <a:pt x="330" y="173"/>
                    <a:pt x="330" y="173"/>
                  </a:cubicBezTo>
                  <a:cubicBezTo>
                    <a:pt x="329" y="172"/>
                    <a:pt x="329" y="172"/>
                    <a:pt x="329" y="172"/>
                  </a:cubicBezTo>
                  <a:cubicBezTo>
                    <a:pt x="326" y="169"/>
                    <a:pt x="324" y="166"/>
                    <a:pt x="323" y="163"/>
                  </a:cubicBezTo>
                  <a:cubicBezTo>
                    <a:pt x="322" y="160"/>
                    <a:pt x="322" y="160"/>
                    <a:pt x="322" y="160"/>
                  </a:cubicBezTo>
                  <a:cubicBezTo>
                    <a:pt x="322" y="160"/>
                    <a:pt x="321" y="160"/>
                    <a:pt x="320" y="159"/>
                  </a:cubicBezTo>
                  <a:cubicBezTo>
                    <a:pt x="319" y="159"/>
                    <a:pt x="320" y="157"/>
                    <a:pt x="320" y="157"/>
                  </a:cubicBezTo>
                  <a:cubicBezTo>
                    <a:pt x="321" y="156"/>
                    <a:pt x="322" y="156"/>
                    <a:pt x="323" y="155"/>
                  </a:cubicBezTo>
                  <a:cubicBezTo>
                    <a:pt x="323" y="154"/>
                    <a:pt x="323" y="154"/>
                    <a:pt x="323" y="154"/>
                  </a:cubicBezTo>
                  <a:cubicBezTo>
                    <a:pt x="323" y="153"/>
                    <a:pt x="323" y="153"/>
                    <a:pt x="323" y="153"/>
                  </a:cubicBezTo>
                  <a:cubicBezTo>
                    <a:pt x="323" y="153"/>
                    <a:pt x="323" y="153"/>
                    <a:pt x="323" y="153"/>
                  </a:cubicBezTo>
                  <a:cubicBezTo>
                    <a:pt x="322" y="153"/>
                    <a:pt x="321" y="153"/>
                    <a:pt x="321" y="153"/>
                  </a:cubicBezTo>
                  <a:cubicBezTo>
                    <a:pt x="321" y="153"/>
                    <a:pt x="321" y="153"/>
                    <a:pt x="321" y="153"/>
                  </a:cubicBezTo>
                  <a:cubicBezTo>
                    <a:pt x="320" y="153"/>
                    <a:pt x="320" y="153"/>
                    <a:pt x="320" y="153"/>
                  </a:cubicBezTo>
                  <a:cubicBezTo>
                    <a:pt x="319" y="153"/>
                    <a:pt x="319" y="153"/>
                    <a:pt x="319" y="153"/>
                  </a:cubicBezTo>
                  <a:cubicBezTo>
                    <a:pt x="318" y="153"/>
                    <a:pt x="318" y="153"/>
                    <a:pt x="317" y="153"/>
                  </a:cubicBezTo>
                  <a:cubicBezTo>
                    <a:pt x="316" y="154"/>
                    <a:pt x="316" y="154"/>
                    <a:pt x="315" y="154"/>
                  </a:cubicBezTo>
                  <a:cubicBezTo>
                    <a:pt x="315" y="154"/>
                    <a:pt x="315" y="154"/>
                    <a:pt x="315" y="154"/>
                  </a:cubicBezTo>
                  <a:cubicBezTo>
                    <a:pt x="315" y="154"/>
                    <a:pt x="315" y="154"/>
                    <a:pt x="315" y="154"/>
                  </a:cubicBezTo>
                  <a:cubicBezTo>
                    <a:pt x="314" y="154"/>
                    <a:pt x="314" y="154"/>
                    <a:pt x="314" y="154"/>
                  </a:cubicBezTo>
                  <a:cubicBezTo>
                    <a:pt x="314" y="154"/>
                    <a:pt x="314" y="154"/>
                    <a:pt x="314" y="154"/>
                  </a:cubicBezTo>
                  <a:cubicBezTo>
                    <a:pt x="314" y="153"/>
                    <a:pt x="314" y="153"/>
                    <a:pt x="314" y="153"/>
                  </a:cubicBezTo>
                  <a:cubicBezTo>
                    <a:pt x="312" y="153"/>
                    <a:pt x="312" y="152"/>
                    <a:pt x="311" y="150"/>
                  </a:cubicBezTo>
                  <a:cubicBezTo>
                    <a:pt x="311" y="149"/>
                    <a:pt x="311" y="149"/>
                    <a:pt x="311" y="149"/>
                  </a:cubicBezTo>
                  <a:cubicBezTo>
                    <a:pt x="310" y="149"/>
                    <a:pt x="310" y="149"/>
                    <a:pt x="310" y="149"/>
                  </a:cubicBezTo>
                  <a:cubicBezTo>
                    <a:pt x="308" y="145"/>
                    <a:pt x="305" y="141"/>
                    <a:pt x="303" y="137"/>
                  </a:cubicBezTo>
                  <a:cubicBezTo>
                    <a:pt x="300" y="133"/>
                    <a:pt x="296" y="129"/>
                    <a:pt x="295" y="125"/>
                  </a:cubicBezTo>
                  <a:cubicBezTo>
                    <a:pt x="295" y="124"/>
                    <a:pt x="295" y="122"/>
                    <a:pt x="295" y="122"/>
                  </a:cubicBezTo>
                  <a:cubicBezTo>
                    <a:pt x="295" y="122"/>
                    <a:pt x="296" y="121"/>
                    <a:pt x="296" y="121"/>
                  </a:cubicBezTo>
                  <a:cubicBezTo>
                    <a:pt x="297" y="121"/>
                    <a:pt x="297" y="123"/>
                    <a:pt x="298" y="124"/>
                  </a:cubicBezTo>
                  <a:cubicBezTo>
                    <a:pt x="298" y="123"/>
                    <a:pt x="300" y="119"/>
                    <a:pt x="299" y="117"/>
                  </a:cubicBezTo>
                  <a:cubicBezTo>
                    <a:pt x="298" y="114"/>
                    <a:pt x="294" y="114"/>
                    <a:pt x="295" y="110"/>
                  </a:cubicBezTo>
                  <a:cubicBezTo>
                    <a:pt x="296" y="111"/>
                    <a:pt x="297" y="111"/>
                    <a:pt x="298" y="111"/>
                  </a:cubicBezTo>
                  <a:cubicBezTo>
                    <a:pt x="298" y="111"/>
                    <a:pt x="298" y="111"/>
                    <a:pt x="298" y="111"/>
                  </a:cubicBezTo>
                  <a:cubicBezTo>
                    <a:pt x="296" y="110"/>
                    <a:pt x="296" y="109"/>
                    <a:pt x="294" y="108"/>
                  </a:cubicBezTo>
                  <a:cubicBezTo>
                    <a:pt x="293" y="107"/>
                    <a:pt x="292" y="107"/>
                    <a:pt x="291" y="106"/>
                  </a:cubicBezTo>
                  <a:cubicBezTo>
                    <a:pt x="289" y="105"/>
                    <a:pt x="288" y="101"/>
                    <a:pt x="286" y="101"/>
                  </a:cubicBezTo>
                  <a:cubicBezTo>
                    <a:pt x="286" y="101"/>
                    <a:pt x="286" y="101"/>
                    <a:pt x="286" y="101"/>
                  </a:cubicBezTo>
                  <a:cubicBezTo>
                    <a:pt x="286" y="102"/>
                    <a:pt x="286" y="102"/>
                    <a:pt x="286" y="102"/>
                  </a:cubicBezTo>
                  <a:cubicBezTo>
                    <a:pt x="283" y="101"/>
                    <a:pt x="282" y="97"/>
                    <a:pt x="279" y="96"/>
                  </a:cubicBezTo>
                  <a:cubicBezTo>
                    <a:pt x="280" y="96"/>
                    <a:pt x="281" y="95"/>
                    <a:pt x="282" y="95"/>
                  </a:cubicBezTo>
                  <a:cubicBezTo>
                    <a:pt x="281" y="94"/>
                    <a:pt x="281" y="94"/>
                    <a:pt x="280" y="94"/>
                  </a:cubicBezTo>
                  <a:cubicBezTo>
                    <a:pt x="280" y="94"/>
                    <a:pt x="280" y="94"/>
                    <a:pt x="279" y="94"/>
                  </a:cubicBezTo>
                  <a:cubicBezTo>
                    <a:pt x="279" y="94"/>
                    <a:pt x="279" y="94"/>
                    <a:pt x="279" y="94"/>
                  </a:cubicBezTo>
                  <a:cubicBezTo>
                    <a:pt x="279" y="94"/>
                    <a:pt x="278" y="94"/>
                    <a:pt x="278" y="93"/>
                  </a:cubicBezTo>
                  <a:cubicBezTo>
                    <a:pt x="277" y="93"/>
                    <a:pt x="276" y="92"/>
                    <a:pt x="276" y="92"/>
                  </a:cubicBezTo>
                  <a:cubicBezTo>
                    <a:pt x="274" y="91"/>
                    <a:pt x="273" y="93"/>
                    <a:pt x="272" y="91"/>
                  </a:cubicBezTo>
                  <a:cubicBezTo>
                    <a:pt x="271" y="89"/>
                    <a:pt x="271" y="86"/>
                    <a:pt x="270" y="84"/>
                  </a:cubicBezTo>
                  <a:cubicBezTo>
                    <a:pt x="269" y="81"/>
                    <a:pt x="267" y="78"/>
                    <a:pt x="266" y="75"/>
                  </a:cubicBezTo>
                  <a:cubicBezTo>
                    <a:pt x="266" y="76"/>
                    <a:pt x="266" y="76"/>
                    <a:pt x="266" y="76"/>
                  </a:cubicBezTo>
                  <a:cubicBezTo>
                    <a:pt x="265" y="75"/>
                    <a:pt x="265" y="75"/>
                    <a:pt x="265" y="75"/>
                  </a:cubicBezTo>
                  <a:cubicBezTo>
                    <a:pt x="264" y="75"/>
                    <a:pt x="264" y="75"/>
                    <a:pt x="264" y="75"/>
                  </a:cubicBezTo>
                  <a:cubicBezTo>
                    <a:pt x="264" y="75"/>
                    <a:pt x="264" y="75"/>
                    <a:pt x="264" y="75"/>
                  </a:cubicBezTo>
                  <a:cubicBezTo>
                    <a:pt x="263" y="75"/>
                    <a:pt x="262" y="75"/>
                    <a:pt x="262" y="75"/>
                  </a:cubicBezTo>
                  <a:cubicBezTo>
                    <a:pt x="261" y="75"/>
                    <a:pt x="261" y="75"/>
                    <a:pt x="261" y="75"/>
                  </a:cubicBezTo>
                  <a:cubicBezTo>
                    <a:pt x="260" y="76"/>
                    <a:pt x="258" y="76"/>
                    <a:pt x="257" y="76"/>
                  </a:cubicBezTo>
                  <a:cubicBezTo>
                    <a:pt x="254" y="76"/>
                    <a:pt x="252" y="75"/>
                    <a:pt x="251" y="75"/>
                  </a:cubicBezTo>
                  <a:cubicBezTo>
                    <a:pt x="249" y="74"/>
                    <a:pt x="248" y="73"/>
                    <a:pt x="247" y="72"/>
                  </a:cubicBezTo>
                  <a:cubicBezTo>
                    <a:pt x="247" y="71"/>
                    <a:pt x="247" y="71"/>
                    <a:pt x="247" y="70"/>
                  </a:cubicBezTo>
                  <a:cubicBezTo>
                    <a:pt x="247" y="70"/>
                    <a:pt x="247" y="70"/>
                    <a:pt x="247" y="70"/>
                  </a:cubicBezTo>
                  <a:cubicBezTo>
                    <a:pt x="247" y="70"/>
                    <a:pt x="247" y="70"/>
                    <a:pt x="247" y="70"/>
                  </a:cubicBezTo>
                  <a:cubicBezTo>
                    <a:pt x="247" y="69"/>
                    <a:pt x="247" y="69"/>
                    <a:pt x="247" y="69"/>
                  </a:cubicBezTo>
                  <a:cubicBezTo>
                    <a:pt x="247" y="69"/>
                    <a:pt x="247" y="69"/>
                    <a:pt x="247" y="69"/>
                  </a:cubicBezTo>
                  <a:cubicBezTo>
                    <a:pt x="246" y="68"/>
                    <a:pt x="246" y="68"/>
                    <a:pt x="246" y="68"/>
                  </a:cubicBezTo>
                  <a:cubicBezTo>
                    <a:pt x="246" y="68"/>
                    <a:pt x="246" y="68"/>
                    <a:pt x="246" y="68"/>
                  </a:cubicBezTo>
                  <a:cubicBezTo>
                    <a:pt x="246" y="68"/>
                    <a:pt x="246" y="68"/>
                    <a:pt x="246" y="68"/>
                  </a:cubicBezTo>
                  <a:cubicBezTo>
                    <a:pt x="246" y="68"/>
                    <a:pt x="246" y="68"/>
                    <a:pt x="246" y="68"/>
                  </a:cubicBezTo>
                  <a:cubicBezTo>
                    <a:pt x="230" y="64"/>
                    <a:pt x="230" y="64"/>
                    <a:pt x="230" y="64"/>
                  </a:cubicBezTo>
                  <a:cubicBezTo>
                    <a:pt x="230" y="64"/>
                    <a:pt x="230" y="64"/>
                    <a:pt x="230" y="64"/>
                  </a:cubicBezTo>
                  <a:cubicBezTo>
                    <a:pt x="229" y="64"/>
                    <a:pt x="229" y="64"/>
                    <a:pt x="229" y="64"/>
                  </a:cubicBezTo>
                  <a:cubicBezTo>
                    <a:pt x="229" y="64"/>
                    <a:pt x="229" y="64"/>
                    <a:pt x="229" y="64"/>
                  </a:cubicBezTo>
                  <a:cubicBezTo>
                    <a:pt x="228" y="64"/>
                    <a:pt x="228" y="64"/>
                    <a:pt x="227" y="64"/>
                  </a:cubicBezTo>
                  <a:cubicBezTo>
                    <a:pt x="227" y="64"/>
                    <a:pt x="227" y="64"/>
                    <a:pt x="227" y="64"/>
                  </a:cubicBezTo>
                  <a:cubicBezTo>
                    <a:pt x="226" y="64"/>
                    <a:pt x="225" y="64"/>
                    <a:pt x="224" y="64"/>
                  </a:cubicBezTo>
                  <a:cubicBezTo>
                    <a:pt x="224" y="64"/>
                    <a:pt x="224" y="64"/>
                    <a:pt x="224" y="64"/>
                  </a:cubicBezTo>
                  <a:cubicBezTo>
                    <a:pt x="224" y="64"/>
                    <a:pt x="224" y="64"/>
                    <a:pt x="224" y="64"/>
                  </a:cubicBezTo>
                  <a:cubicBezTo>
                    <a:pt x="197" y="62"/>
                    <a:pt x="197" y="62"/>
                    <a:pt x="197" y="62"/>
                  </a:cubicBezTo>
                  <a:cubicBezTo>
                    <a:pt x="196" y="62"/>
                    <a:pt x="194" y="62"/>
                    <a:pt x="192" y="60"/>
                  </a:cubicBezTo>
                  <a:cubicBezTo>
                    <a:pt x="189" y="58"/>
                    <a:pt x="186" y="56"/>
                    <a:pt x="184" y="54"/>
                  </a:cubicBezTo>
                  <a:cubicBezTo>
                    <a:pt x="181" y="52"/>
                    <a:pt x="179" y="50"/>
                    <a:pt x="176" y="48"/>
                  </a:cubicBezTo>
                  <a:cubicBezTo>
                    <a:pt x="164" y="38"/>
                    <a:pt x="164" y="38"/>
                    <a:pt x="164" y="38"/>
                  </a:cubicBezTo>
                  <a:cubicBezTo>
                    <a:pt x="161" y="36"/>
                    <a:pt x="158" y="34"/>
                    <a:pt x="156" y="32"/>
                  </a:cubicBezTo>
                  <a:cubicBezTo>
                    <a:pt x="152" y="28"/>
                    <a:pt x="148" y="25"/>
                    <a:pt x="143" y="22"/>
                  </a:cubicBezTo>
                  <a:cubicBezTo>
                    <a:pt x="139" y="19"/>
                    <a:pt x="139" y="19"/>
                    <a:pt x="139" y="19"/>
                  </a:cubicBezTo>
                  <a:cubicBezTo>
                    <a:pt x="137" y="19"/>
                    <a:pt x="135" y="18"/>
                    <a:pt x="134" y="17"/>
                  </a:cubicBezTo>
                  <a:cubicBezTo>
                    <a:pt x="129" y="14"/>
                    <a:pt x="123" y="11"/>
                    <a:pt x="118" y="8"/>
                  </a:cubicBezTo>
                  <a:cubicBezTo>
                    <a:pt x="117" y="7"/>
                    <a:pt x="117" y="7"/>
                    <a:pt x="116" y="7"/>
                  </a:cubicBezTo>
                  <a:cubicBezTo>
                    <a:pt x="115" y="6"/>
                    <a:pt x="113" y="4"/>
                    <a:pt x="112" y="4"/>
                  </a:cubicBezTo>
                  <a:cubicBezTo>
                    <a:pt x="89" y="0"/>
                    <a:pt x="89"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455"/>
            <p:cNvSpPr/>
            <p:nvPr/>
          </p:nvSpPr>
          <p:spPr bwMode="auto">
            <a:xfrm>
              <a:off x="4618766" y="6373802"/>
              <a:ext cx="259961" cy="321856"/>
            </a:xfrm>
            <a:custGeom>
              <a:gdLst>
                <a:gd name="T0" fmla="*/ 1 w 80"/>
                <a:gd name="T1" fmla="*/ 3 h 99"/>
                <a:gd name="T2" fmla="*/ 0 w 80"/>
                <a:gd name="T3" fmla="*/ 4 h 99"/>
                <a:gd name="T4" fmla="*/ 4 w 80"/>
                <a:gd name="T5" fmla="*/ 17 h 99"/>
                <a:gd name="T6" fmla="*/ 7 w 80"/>
                <a:gd name="T7" fmla="*/ 33 h 99"/>
                <a:gd name="T8" fmla="*/ 12 w 80"/>
                <a:gd name="T9" fmla="*/ 47 h 99"/>
                <a:gd name="T10" fmla="*/ 14 w 80"/>
                <a:gd name="T11" fmla="*/ 51 h 99"/>
                <a:gd name="T12" fmla="*/ 22 w 80"/>
                <a:gd name="T13" fmla="*/ 65 h 99"/>
                <a:gd name="T14" fmla="*/ 28 w 80"/>
                <a:gd name="T15" fmla="*/ 74 h 99"/>
                <a:gd name="T16" fmla="*/ 46 w 80"/>
                <a:gd name="T17" fmla="*/ 85 h 99"/>
                <a:gd name="T18" fmla="*/ 64 w 80"/>
                <a:gd name="T19" fmla="*/ 99 h 99"/>
                <a:gd name="T20" fmla="*/ 69 w 80"/>
                <a:gd name="T21" fmla="*/ 96 h 99"/>
                <a:gd name="T22" fmla="*/ 72 w 80"/>
                <a:gd name="T23" fmla="*/ 96 h 99"/>
                <a:gd name="T24" fmla="*/ 75 w 80"/>
                <a:gd name="T25" fmla="*/ 98 h 99"/>
                <a:gd name="T26" fmla="*/ 78 w 80"/>
                <a:gd name="T27" fmla="*/ 97 h 99"/>
                <a:gd name="T28" fmla="*/ 66 w 80"/>
                <a:gd name="T29" fmla="*/ 73 h 99"/>
                <a:gd name="T30" fmla="*/ 62 w 80"/>
                <a:gd name="T31" fmla="*/ 57 h 99"/>
                <a:gd name="T32" fmla="*/ 59 w 80"/>
                <a:gd name="T33" fmla="*/ 26 h 99"/>
                <a:gd name="T34" fmla="*/ 43 w 80"/>
                <a:gd name="T35" fmla="*/ 9 h 99"/>
                <a:gd name="T36" fmla="*/ 39 w 80"/>
                <a:gd name="T37" fmla="*/ 6 h 99"/>
                <a:gd name="T38" fmla="*/ 38 w 80"/>
                <a:gd name="T39" fmla="*/ 8 h 99"/>
                <a:gd name="T40" fmla="*/ 31 w 80"/>
                <a:gd name="T41" fmla="*/ 16 h 99"/>
                <a:gd name="T42" fmla="*/ 26 w 80"/>
                <a:gd name="T43" fmla="*/ 14 h 99"/>
                <a:gd name="T44" fmla="*/ 24 w 80"/>
                <a:gd name="T45" fmla="*/ 15 h 99"/>
                <a:gd name="T46" fmla="*/ 23 w 80"/>
                <a:gd name="T47" fmla="*/ 16 h 99"/>
                <a:gd name="T48" fmla="*/ 21 w 80"/>
                <a:gd name="T49" fmla="*/ 18 h 99"/>
                <a:gd name="T50" fmla="*/ 19 w 80"/>
                <a:gd name="T51" fmla="*/ 18 h 99"/>
                <a:gd name="T52" fmla="*/ 15 w 80"/>
                <a:gd name="T53" fmla="*/ 16 h 99"/>
                <a:gd name="T54" fmla="*/ 16 w 80"/>
                <a:gd name="T55" fmla="*/ 7 h 99"/>
                <a:gd name="T56" fmla="*/ 15 w 80"/>
                <a:gd name="T57" fmla="*/ 7 h 99"/>
                <a:gd name="T58" fmla="*/ 11 w 80"/>
                <a:gd name="T59" fmla="*/ 3 h 99"/>
                <a:gd name="T60" fmla="*/ 10 w 80"/>
                <a:gd name="T61" fmla="*/ 2 h 99"/>
                <a:gd name="T62" fmla="*/ 7 w 80"/>
                <a:gd name="T63" fmla="*/ 1 h 99"/>
                <a:gd name="T64" fmla="*/ 2 w 80"/>
                <a:gd name="T65" fmla="*/ 0 h 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9">
                  <a:moveTo>
                    <a:pt x="2" y="0"/>
                  </a:moveTo>
                  <a:cubicBezTo>
                    <a:pt x="1" y="3"/>
                    <a:pt x="1" y="3"/>
                    <a:pt x="1" y="3"/>
                  </a:cubicBezTo>
                  <a:cubicBezTo>
                    <a:pt x="0" y="3"/>
                    <a:pt x="0" y="3"/>
                    <a:pt x="0" y="3"/>
                  </a:cubicBezTo>
                  <a:cubicBezTo>
                    <a:pt x="0" y="4"/>
                    <a:pt x="0" y="4"/>
                    <a:pt x="0" y="4"/>
                  </a:cubicBezTo>
                  <a:cubicBezTo>
                    <a:pt x="1" y="6"/>
                    <a:pt x="3" y="7"/>
                    <a:pt x="4" y="10"/>
                  </a:cubicBezTo>
                  <a:cubicBezTo>
                    <a:pt x="4" y="12"/>
                    <a:pt x="4" y="15"/>
                    <a:pt x="4" y="17"/>
                  </a:cubicBezTo>
                  <a:cubicBezTo>
                    <a:pt x="3" y="20"/>
                    <a:pt x="4" y="23"/>
                    <a:pt x="5" y="26"/>
                  </a:cubicBezTo>
                  <a:cubicBezTo>
                    <a:pt x="5" y="28"/>
                    <a:pt x="6" y="30"/>
                    <a:pt x="7" y="33"/>
                  </a:cubicBezTo>
                  <a:cubicBezTo>
                    <a:pt x="8" y="36"/>
                    <a:pt x="9" y="36"/>
                    <a:pt x="8" y="40"/>
                  </a:cubicBezTo>
                  <a:cubicBezTo>
                    <a:pt x="8" y="43"/>
                    <a:pt x="10" y="44"/>
                    <a:pt x="12" y="47"/>
                  </a:cubicBezTo>
                  <a:cubicBezTo>
                    <a:pt x="11" y="47"/>
                    <a:pt x="10" y="48"/>
                    <a:pt x="10" y="49"/>
                  </a:cubicBezTo>
                  <a:cubicBezTo>
                    <a:pt x="11" y="50"/>
                    <a:pt x="13" y="50"/>
                    <a:pt x="14" y="51"/>
                  </a:cubicBezTo>
                  <a:cubicBezTo>
                    <a:pt x="15" y="53"/>
                    <a:pt x="16" y="55"/>
                    <a:pt x="18" y="57"/>
                  </a:cubicBezTo>
                  <a:cubicBezTo>
                    <a:pt x="19" y="60"/>
                    <a:pt x="22" y="62"/>
                    <a:pt x="22" y="65"/>
                  </a:cubicBezTo>
                  <a:cubicBezTo>
                    <a:pt x="22" y="68"/>
                    <a:pt x="21" y="68"/>
                    <a:pt x="23" y="70"/>
                  </a:cubicBezTo>
                  <a:cubicBezTo>
                    <a:pt x="24" y="71"/>
                    <a:pt x="26" y="73"/>
                    <a:pt x="28" y="74"/>
                  </a:cubicBezTo>
                  <a:cubicBezTo>
                    <a:pt x="31" y="75"/>
                    <a:pt x="33" y="77"/>
                    <a:pt x="36" y="79"/>
                  </a:cubicBezTo>
                  <a:cubicBezTo>
                    <a:pt x="40" y="82"/>
                    <a:pt x="43" y="83"/>
                    <a:pt x="46" y="85"/>
                  </a:cubicBezTo>
                  <a:cubicBezTo>
                    <a:pt x="49" y="88"/>
                    <a:pt x="53" y="90"/>
                    <a:pt x="56" y="92"/>
                  </a:cubicBezTo>
                  <a:cubicBezTo>
                    <a:pt x="59" y="94"/>
                    <a:pt x="61" y="97"/>
                    <a:pt x="64" y="99"/>
                  </a:cubicBezTo>
                  <a:cubicBezTo>
                    <a:pt x="65" y="98"/>
                    <a:pt x="67" y="96"/>
                    <a:pt x="69" y="96"/>
                  </a:cubicBezTo>
                  <a:cubicBezTo>
                    <a:pt x="69" y="96"/>
                    <a:pt x="69" y="96"/>
                    <a:pt x="69" y="96"/>
                  </a:cubicBezTo>
                  <a:cubicBezTo>
                    <a:pt x="70" y="96"/>
                    <a:pt x="70" y="96"/>
                    <a:pt x="71" y="96"/>
                  </a:cubicBezTo>
                  <a:cubicBezTo>
                    <a:pt x="71" y="96"/>
                    <a:pt x="72" y="96"/>
                    <a:pt x="72" y="96"/>
                  </a:cubicBezTo>
                  <a:cubicBezTo>
                    <a:pt x="73" y="96"/>
                    <a:pt x="73" y="96"/>
                    <a:pt x="73" y="93"/>
                  </a:cubicBezTo>
                  <a:cubicBezTo>
                    <a:pt x="77" y="95"/>
                    <a:pt x="75" y="95"/>
                    <a:pt x="75" y="98"/>
                  </a:cubicBezTo>
                  <a:cubicBezTo>
                    <a:pt x="76" y="98"/>
                    <a:pt x="76" y="98"/>
                    <a:pt x="76" y="98"/>
                  </a:cubicBezTo>
                  <a:cubicBezTo>
                    <a:pt x="77" y="98"/>
                    <a:pt x="78" y="97"/>
                    <a:pt x="78" y="97"/>
                  </a:cubicBezTo>
                  <a:cubicBezTo>
                    <a:pt x="80" y="94"/>
                    <a:pt x="76" y="89"/>
                    <a:pt x="75" y="87"/>
                  </a:cubicBezTo>
                  <a:cubicBezTo>
                    <a:pt x="73" y="82"/>
                    <a:pt x="69" y="77"/>
                    <a:pt x="66" y="73"/>
                  </a:cubicBezTo>
                  <a:cubicBezTo>
                    <a:pt x="65" y="71"/>
                    <a:pt x="62" y="69"/>
                    <a:pt x="62" y="67"/>
                  </a:cubicBezTo>
                  <a:cubicBezTo>
                    <a:pt x="62" y="64"/>
                    <a:pt x="62" y="60"/>
                    <a:pt x="62" y="57"/>
                  </a:cubicBezTo>
                  <a:cubicBezTo>
                    <a:pt x="61" y="52"/>
                    <a:pt x="62" y="47"/>
                    <a:pt x="63" y="42"/>
                  </a:cubicBezTo>
                  <a:cubicBezTo>
                    <a:pt x="63" y="36"/>
                    <a:pt x="62" y="31"/>
                    <a:pt x="59" y="26"/>
                  </a:cubicBezTo>
                  <a:cubicBezTo>
                    <a:pt x="56" y="20"/>
                    <a:pt x="52" y="18"/>
                    <a:pt x="48" y="15"/>
                  </a:cubicBezTo>
                  <a:cubicBezTo>
                    <a:pt x="46" y="13"/>
                    <a:pt x="44" y="11"/>
                    <a:pt x="43" y="9"/>
                  </a:cubicBezTo>
                  <a:cubicBezTo>
                    <a:pt x="43" y="8"/>
                    <a:pt x="41" y="7"/>
                    <a:pt x="39" y="6"/>
                  </a:cubicBezTo>
                  <a:cubicBezTo>
                    <a:pt x="39" y="6"/>
                    <a:pt x="39" y="6"/>
                    <a:pt x="39" y="6"/>
                  </a:cubicBezTo>
                  <a:cubicBezTo>
                    <a:pt x="39" y="7"/>
                    <a:pt x="39" y="7"/>
                    <a:pt x="38" y="8"/>
                  </a:cubicBezTo>
                  <a:cubicBezTo>
                    <a:pt x="38" y="8"/>
                    <a:pt x="38" y="8"/>
                    <a:pt x="38" y="8"/>
                  </a:cubicBezTo>
                  <a:cubicBezTo>
                    <a:pt x="38" y="9"/>
                    <a:pt x="38" y="9"/>
                    <a:pt x="37" y="10"/>
                  </a:cubicBezTo>
                  <a:cubicBezTo>
                    <a:pt x="36" y="12"/>
                    <a:pt x="35" y="15"/>
                    <a:pt x="31" y="16"/>
                  </a:cubicBezTo>
                  <a:cubicBezTo>
                    <a:pt x="30" y="16"/>
                    <a:pt x="30" y="16"/>
                    <a:pt x="30" y="16"/>
                  </a:cubicBezTo>
                  <a:cubicBezTo>
                    <a:pt x="28" y="16"/>
                    <a:pt x="27" y="15"/>
                    <a:pt x="26" y="14"/>
                  </a:cubicBezTo>
                  <a:cubicBezTo>
                    <a:pt x="25" y="14"/>
                    <a:pt x="25" y="14"/>
                    <a:pt x="25" y="14"/>
                  </a:cubicBezTo>
                  <a:cubicBezTo>
                    <a:pt x="25" y="14"/>
                    <a:pt x="25" y="14"/>
                    <a:pt x="24" y="15"/>
                  </a:cubicBezTo>
                  <a:cubicBezTo>
                    <a:pt x="23" y="16"/>
                    <a:pt x="23" y="16"/>
                    <a:pt x="23" y="16"/>
                  </a:cubicBezTo>
                  <a:cubicBezTo>
                    <a:pt x="23" y="16"/>
                    <a:pt x="23" y="16"/>
                    <a:pt x="23" y="16"/>
                  </a:cubicBezTo>
                  <a:cubicBezTo>
                    <a:pt x="22" y="17"/>
                    <a:pt x="22" y="17"/>
                    <a:pt x="22" y="17"/>
                  </a:cubicBezTo>
                  <a:cubicBezTo>
                    <a:pt x="22" y="17"/>
                    <a:pt x="21" y="17"/>
                    <a:pt x="21" y="18"/>
                  </a:cubicBezTo>
                  <a:cubicBezTo>
                    <a:pt x="20" y="18"/>
                    <a:pt x="20" y="18"/>
                    <a:pt x="20" y="18"/>
                  </a:cubicBezTo>
                  <a:cubicBezTo>
                    <a:pt x="20" y="18"/>
                    <a:pt x="19" y="18"/>
                    <a:pt x="19" y="18"/>
                  </a:cubicBezTo>
                  <a:cubicBezTo>
                    <a:pt x="18" y="18"/>
                    <a:pt x="18" y="18"/>
                    <a:pt x="18" y="18"/>
                  </a:cubicBezTo>
                  <a:cubicBezTo>
                    <a:pt x="17" y="18"/>
                    <a:pt x="16" y="17"/>
                    <a:pt x="15" y="16"/>
                  </a:cubicBezTo>
                  <a:cubicBezTo>
                    <a:pt x="13" y="14"/>
                    <a:pt x="14" y="11"/>
                    <a:pt x="15" y="9"/>
                  </a:cubicBezTo>
                  <a:cubicBezTo>
                    <a:pt x="15" y="8"/>
                    <a:pt x="16" y="7"/>
                    <a:pt x="16" y="7"/>
                  </a:cubicBezTo>
                  <a:cubicBezTo>
                    <a:pt x="16" y="7"/>
                    <a:pt x="15" y="7"/>
                    <a:pt x="15" y="7"/>
                  </a:cubicBezTo>
                  <a:cubicBezTo>
                    <a:pt x="15" y="7"/>
                    <a:pt x="15" y="7"/>
                    <a:pt x="15" y="7"/>
                  </a:cubicBezTo>
                  <a:cubicBezTo>
                    <a:pt x="12" y="7"/>
                    <a:pt x="11" y="6"/>
                    <a:pt x="11" y="5"/>
                  </a:cubicBezTo>
                  <a:cubicBezTo>
                    <a:pt x="11" y="4"/>
                    <a:pt x="11" y="4"/>
                    <a:pt x="11" y="3"/>
                  </a:cubicBezTo>
                  <a:cubicBezTo>
                    <a:pt x="10" y="2"/>
                    <a:pt x="10" y="2"/>
                    <a:pt x="10" y="2"/>
                  </a:cubicBezTo>
                  <a:cubicBezTo>
                    <a:pt x="10" y="2"/>
                    <a:pt x="10" y="2"/>
                    <a:pt x="10" y="2"/>
                  </a:cubicBezTo>
                  <a:cubicBezTo>
                    <a:pt x="9" y="2"/>
                    <a:pt x="9" y="2"/>
                    <a:pt x="9" y="2"/>
                  </a:cubicBezTo>
                  <a:cubicBezTo>
                    <a:pt x="9" y="2"/>
                    <a:pt x="8" y="2"/>
                    <a:pt x="7" y="1"/>
                  </a:cubicBezTo>
                  <a:cubicBezTo>
                    <a:pt x="6" y="1"/>
                    <a:pt x="6" y="1"/>
                    <a:pt x="6" y="1"/>
                  </a:cubicBezTo>
                  <a:cubicBezTo>
                    <a:pt x="5" y="1"/>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456"/>
            <p:cNvSpPr/>
            <p:nvPr/>
          </p:nvSpPr>
          <p:spPr bwMode="auto">
            <a:xfrm>
              <a:off x="1891247" y="5105637"/>
              <a:ext cx="23383" cy="41264"/>
            </a:xfrm>
            <a:custGeom>
              <a:gdLst>
                <a:gd name="T0" fmla="*/ 5 w 7"/>
                <a:gd name="T1" fmla="*/ 0 h 13"/>
                <a:gd name="T2" fmla="*/ 0 w 7"/>
                <a:gd name="T3" fmla="*/ 4 h 13"/>
                <a:gd name="T4" fmla="*/ 2 w 7"/>
                <a:gd name="T5" fmla="*/ 4 h 13"/>
                <a:gd name="T6" fmla="*/ 2 w 7"/>
                <a:gd name="T7" fmla="*/ 5 h 13"/>
                <a:gd name="T8" fmla="*/ 2 w 7"/>
                <a:gd name="T9" fmla="*/ 6 h 13"/>
                <a:gd name="T10" fmla="*/ 2 w 7"/>
                <a:gd name="T11" fmla="*/ 8 h 13"/>
                <a:gd name="T12" fmla="*/ 2 w 7"/>
                <a:gd name="T13" fmla="*/ 12 h 13"/>
                <a:gd name="T14" fmla="*/ 3 w 7"/>
                <a:gd name="T15" fmla="*/ 12 h 13"/>
                <a:gd name="T16" fmla="*/ 4 w 7"/>
                <a:gd name="T17" fmla="*/ 13 h 13"/>
                <a:gd name="T18" fmla="*/ 6 w 7"/>
                <a:gd name="T19" fmla="*/ 5 h 13"/>
                <a:gd name="T20" fmla="*/ 4 w 7"/>
                <a:gd name="T21" fmla="*/ 4 h 13"/>
                <a:gd name="T22" fmla="*/ 7 w 7"/>
                <a:gd name="T23" fmla="*/ 1 h 13"/>
                <a:gd name="T24" fmla="*/ 5 w 7"/>
                <a:gd name="T2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3">
                  <a:moveTo>
                    <a:pt x="5" y="0"/>
                  </a:moveTo>
                  <a:cubicBezTo>
                    <a:pt x="3" y="0"/>
                    <a:pt x="1" y="2"/>
                    <a:pt x="0" y="4"/>
                  </a:cubicBezTo>
                  <a:cubicBezTo>
                    <a:pt x="2" y="4"/>
                    <a:pt x="2" y="4"/>
                    <a:pt x="2" y="4"/>
                  </a:cubicBezTo>
                  <a:cubicBezTo>
                    <a:pt x="2" y="5"/>
                    <a:pt x="2" y="5"/>
                    <a:pt x="2" y="5"/>
                  </a:cubicBezTo>
                  <a:cubicBezTo>
                    <a:pt x="2" y="5"/>
                    <a:pt x="2" y="6"/>
                    <a:pt x="2" y="6"/>
                  </a:cubicBezTo>
                  <a:cubicBezTo>
                    <a:pt x="2" y="8"/>
                    <a:pt x="2" y="8"/>
                    <a:pt x="2" y="8"/>
                  </a:cubicBezTo>
                  <a:cubicBezTo>
                    <a:pt x="2" y="10"/>
                    <a:pt x="2" y="11"/>
                    <a:pt x="2" y="12"/>
                  </a:cubicBezTo>
                  <a:cubicBezTo>
                    <a:pt x="3" y="12"/>
                    <a:pt x="3" y="12"/>
                    <a:pt x="3" y="12"/>
                  </a:cubicBezTo>
                  <a:cubicBezTo>
                    <a:pt x="4" y="13"/>
                    <a:pt x="4" y="13"/>
                    <a:pt x="4" y="13"/>
                  </a:cubicBezTo>
                  <a:cubicBezTo>
                    <a:pt x="5" y="11"/>
                    <a:pt x="6" y="7"/>
                    <a:pt x="6" y="5"/>
                  </a:cubicBezTo>
                  <a:cubicBezTo>
                    <a:pt x="5" y="5"/>
                    <a:pt x="4" y="4"/>
                    <a:pt x="4" y="4"/>
                  </a:cubicBezTo>
                  <a:cubicBezTo>
                    <a:pt x="5" y="3"/>
                    <a:pt x="6" y="2"/>
                    <a:pt x="7"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457"/>
            <p:cNvSpPr/>
            <p:nvPr/>
          </p:nvSpPr>
          <p:spPr bwMode="auto">
            <a:xfrm>
              <a:off x="1" y="1514334"/>
              <a:ext cx="360368" cy="988950"/>
            </a:xfrm>
            <a:custGeom>
              <a:gdLst>
                <a:gd name="T0" fmla="*/ 39 w 111"/>
                <a:gd name="T1" fmla="*/ 1 h 304"/>
                <a:gd name="T2" fmla="*/ 31 w 111"/>
                <a:gd name="T3" fmla="*/ 4 h 304"/>
                <a:gd name="T4" fmla="*/ 26 w 111"/>
                <a:gd name="T5" fmla="*/ 4 h 304"/>
                <a:gd name="T6" fmla="*/ 17 w 111"/>
                <a:gd name="T7" fmla="*/ 8 h 304"/>
                <a:gd name="T8" fmla="*/ 10 w 111"/>
                <a:gd name="T9" fmla="*/ 13 h 304"/>
                <a:gd name="T10" fmla="*/ 8 w 111"/>
                <a:gd name="T11" fmla="*/ 20 h 304"/>
                <a:gd name="T12" fmla="*/ 4 w 111"/>
                <a:gd name="T13" fmla="*/ 38 h 304"/>
                <a:gd name="T14" fmla="*/ 0 w 111"/>
                <a:gd name="T15" fmla="*/ 41 h 304"/>
                <a:gd name="T16" fmla="*/ 7 w 111"/>
                <a:gd name="T17" fmla="*/ 304 h 304"/>
                <a:gd name="T18" fmla="*/ 10 w 111"/>
                <a:gd name="T19" fmla="*/ 301 h 304"/>
                <a:gd name="T20" fmla="*/ 11 w 111"/>
                <a:gd name="T21" fmla="*/ 299 h 304"/>
                <a:gd name="T22" fmla="*/ 26 w 111"/>
                <a:gd name="T23" fmla="*/ 296 h 304"/>
                <a:gd name="T24" fmla="*/ 35 w 111"/>
                <a:gd name="T25" fmla="*/ 295 h 304"/>
                <a:gd name="T26" fmla="*/ 65 w 111"/>
                <a:gd name="T27" fmla="*/ 275 h 304"/>
                <a:gd name="T28" fmla="*/ 99 w 111"/>
                <a:gd name="T29" fmla="*/ 243 h 304"/>
                <a:gd name="T30" fmla="*/ 108 w 111"/>
                <a:gd name="T31" fmla="*/ 232 h 304"/>
                <a:gd name="T32" fmla="*/ 110 w 111"/>
                <a:gd name="T33" fmla="*/ 225 h 304"/>
                <a:gd name="T34" fmla="*/ 90 w 111"/>
                <a:gd name="T35" fmla="*/ 208 h 304"/>
                <a:gd name="T36" fmla="*/ 83 w 111"/>
                <a:gd name="T37" fmla="*/ 199 h 304"/>
                <a:gd name="T38" fmla="*/ 93 w 111"/>
                <a:gd name="T39" fmla="*/ 188 h 304"/>
                <a:gd name="T40" fmla="*/ 83 w 111"/>
                <a:gd name="T41" fmla="*/ 178 h 304"/>
                <a:gd name="T42" fmla="*/ 81 w 111"/>
                <a:gd name="T43" fmla="*/ 174 h 304"/>
                <a:gd name="T44" fmla="*/ 85 w 111"/>
                <a:gd name="T45" fmla="*/ 173 h 304"/>
                <a:gd name="T46" fmla="*/ 75 w 111"/>
                <a:gd name="T47" fmla="*/ 165 h 304"/>
                <a:gd name="T48" fmla="*/ 77 w 111"/>
                <a:gd name="T49" fmla="*/ 158 h 304"/>
                <a:gd name="T50" fmla="*/ 76 w 111"/>
                <a:gd name="T51" fmla="*/ 151 h 304"/>
                <a:gd name="T52" fmla="*/ 77 w 111"/>
                <a:gd name="T53" fmla="*/ 145 h 304"/>
                <a:gd name="T54" fmla="*/ 83 w 111"/>
                <a:gd name="T55" fmla="*/ 140 h 304"/>
                <a:gd name="T56" fmla="*/ 68 w 111"/>
                <a:gd name="T57" fmla="*/ 110 h 304"/>
                <a:gd name="T58" fmla="*/ 65 w 111"/>
                <a:gd name="T59" fmla="*/ 106 h 304"/>
                <a:gd name="T60" fmla="*/ 81 w 111"/>
                <a:gd name="T61" fmla="*/ 78 h 304"/>
                <a:gd name="T62" fmla="*/ 73 w 111"/>
                <a:gd name="T63" fmla="*/ 71 h 304"/>
                <a:gd name="T64" fmla="*/ 66 w 111"/>
                <a:gd name="T65" fmla="*/ 66 h 304"/>
                <a:gd name="T66" fmla="*/ 55 w 111"/>
                <a:gd name="T67" fmla="*/ 56 h 304"/>
                <a:gd name="T68" fmla="*/ 55 w 111"/>
                <a:gd name="T69" fmla="*/ 46 h 304"/>
                <a:gd name="T70" fmla="*/ 56 w 111"/>
                <a:gd name="T71" fmla="*/ 44 h 304"/>
                <a:gd name="T72" fmla="*/ 53 w 111"/>
                <a:gd name="T73" fmla="*/ 40 h 304"/>
                <a:gd name="T74" fmla="*/ 58 w 111"/>
                <a:gd name="T75" fmla="*/ 34 h 304"/>
                <a:gd name="T76" fmla="*/ 62 w 111"/>
                <a:gd name="T77" fmla="*/ 33 h 304"/>
                <a:gd name="T78" fmla="*/ 62 w 111"/>
                <a:gd name="T79" fmla="*/ 32 h 304"/>
                <a:gd name="T80" fmla="*/ 62 w 111"/>
                <a:gd name="T81" fmla="*/ 29 h 304"/>
                <a:gd name="T82" fmla="*/ 64 w 111"/>
                <a:gd name="T83" fmla="*/ 23 h 304"/>
                <a:gd name="T84" fmla="*/ 68 w 111"/>
                <a:gd name="T85" fmla="*/ 18 h 304"/>
                <a:gd name="T86" fmla="*/ 58 w 111"/>
                <a:gd name="T87" fmla="*/ 10 h 304"/>
                <a:gd name="T88" fmla="*/ 48 w 111"/>
                <a:gd name="T89" fmla="*/ 5 h 304"/>
                <a:gd name="T90" fmla="*/ 41 w 111"/>
                <a:gd name="T91" fmla="*/ 0 h 3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304">
                  <a:moveTo>
                    <a:pt x="41" y="0"/>
                  </a:moveTo>
                  <a:cubicBezTo>
                    <a:pt x="41" y="0"/>
                    <a:pt x="40" y="1"/>
                    <a:pt x="40" y="1"/>
                  </a:cubicBezTo>
                  <a:cubicBezTo>
                    <a:pt x="39" y="1"/>
                    <a:pt x="39" y="1"/>
                    <a:pt x="39" y="1"/>
                  </a:cubicBezTo>
                  <a:cubicBezTo>
                    <a:pt x="38" y="2"/>
                    <a:pt x="37" y="3"/>
                    <a:pt x="36" y="3"/>
                  </a:cubicBezTo>
                  <a:cubicBezTo>
                    <a:pt x="36" y="3"/>
                    <a:pt x="35" y="4"/>
                    <a:pt x="33" y="4"/>
                  </a:cubicBezTo>
                  <a:cubicBezTo>
                    <a:pt x="33" y="4"/>
                    <a:pt x="32" y="4"/>
                    <a:pt x="31" y="4"/>
                  </a:cubicBezTo>
                  <a:cubicBezTo>
                    <a:pt x="31" y="4"/>
                    <a:pt x="31" y="4"/>
                    <a:pt x="31" y="4"/>
                  </a:cubicBezTo>
                  <a:cubicBezTo>
                    <a:pt x="30" y="4"/>
                    <a:pt x="29" y="4"/>
                    <a:pt x="28" y="4"/>
                  </a:cubicBezTo>
                  <a:cubicBezTo>
                    <a:pt x="26" y="4"/>
                    <a:pt x="26" y="4"/>
                    <a:pt x="26" y="4"/>
                  </a:cubicBezTo>
                  <a:cubicBezTo>
                    <a:pt x="26" y="4"/>
                    <a:pt x="25" y="4"/>
                    <a:pt x="25" y="5"/>
                  </a:cubicBezTo>
                  <a:cubicBezTo>
                    <a:pt x="21" y="5"/>
                    <a:pt x="19" y="5"/>
                    <a:pt x="17" y="8"/>
                  </a:cubicBezTo>
                  <a:cubicBezTo>
                    <a:pt x="17" y="8"/>
                    <a:pt x="17" y="8"/>
                    <a:pt x="17" y="8"/>
                  </a:cubicBezTo>
                  <a:cubicBezTo>
                    <a:pt x="16" y="9"/>
                    <a:pt x="15" y="10"/>
                    <a:pt x="13" y="11"/>
                  </a:cubicBezTo>
                  <a:cubicBezTo>
                    <a:pt x="13" y="11"/>
                    <a:pt x="13" y="11"/>
                    <a:pt x="13" y="11"/>
                  </a:cubicBezTo>
                  <a:cubicBezTo>
                    <a:pt x="12" y="12"/>
                    <a:pt x="11" y="12"/>
                    <a:pt x="10" y="13"/>
                  </a:cubicBezTo>
                  <a:cubicBezTo>
                    <a:pt x="10" y="13"/>
                    <a:pt x="10" y="13"/>
                    <a:pt x="10" y="13"/>
                  </a:cubicBezTo>
                  <a:cubicBezTo>
                    <a:pt x="10" y="14"/>
                    <a:pt x="9" y="15"/>
                    <a:pt x="9" y="17"/>
                  </a:cubicBezTo>
                  <a:cubicBezTo>
                    <a:pt x="8" y="20"/>
                    <a:pt x="8" y="20"/>
                    <a:pt x="8" y="20"/>
                  </a:cubicBezTo>
                  <a:cubicBezTo>
                    <a:pt x="7" y="22"/>
                    <a:pt x="7" y="24"/>
                    <a:pt x="7" y="27"/>
                  </a:cubicBezTo>
                  <a:cubicBezTo>
                    <a:pt x="7" y="29"/>
                    <a:pt x="6" y="32"/>
                    <a:pt x="6" y="34"/>
                  </a:cubicBezTo>
                  <a:cubicBezTo>
                    <a:pt x="5" y="35"/>
                    <a:pt x="5" y="37"/>
                    <a:pt x="4" y="38"/>
                  </a:cubicBezTo>
                  <a:cubicBezTo>
                    <a:pt x="4" y="38"/>
                    <a:pt x="4" y="38"/>
                    <a:pt x="4" y="38"/>
                  </a:cubicBezTo>
                  <a:cubicBezTo>
                    <a:pt x="3" y="40"/>
                    <a:pt x="2" y="41"/>
                    <a:pt x="1" y="41"/>
                  </a:cubicBezTo>
                  <a:cubicBezTo>
                    <a:pt x="0" y="41"/>
                    <a:pt x="0" y="41"/>
                    <a:pt x="0" y="41"/>
                  </a:cubicBezTo>
                  <a:cubicBezTo>
                    <a:pt x="0" y="303"/>
                    <a:pt x="0" y="303"/>
                    <a:pt x="0" y="303"/>
                  </a:cubicBezTo>
                  <a:cubicBezTo>
                    <a:pt x="1" y="302"/>
                    <a:pt x="1" y="301"/>
                    <a:pt x="2" y="301"/>
                  </a:cubicBezTo>
                  <a:cubicBezTo>
                    <a:pt x="3" y="302"/>
                    <a:pt x="6" y="303"/>
                    <a:pt x="7" y="304"/>
                  </a:cubicBezTo>
                  <a:cubicBezTo>
                    <a:pt x="7" y="303"/>
                    <a:pt x="7" y="302"/>
                    <a:pt x="7" y="301"/>
                  </a:cubicBezTo>
                  <a:cubicBezTo>
                    <a:pt x="8" y="301"/>
                    <a:pt x="9" y="301"/>
                    <a:pt x="10" y="301"/>
                  </a:cubicBezTo>
                  <a:cubicBezTo>
                    <a:pt x="10" y="301"/>
                    <a:pt x="10" y="301"/>
                    <a:pt x="10" y="301"/>
                  </a:cubicBezTo>
                  <a:cubicBezTo>
                    <a:pt x="9" y="301"/>
                    <a:pt x="9" y="300"/>
                    <a:pt x="9" y="299"/>
                  </a:cubicBezTo>
                  <a:cubicBezTo>
                    <a:pt x="8" y="299"/>
                    <a:pt x="8" y="298"/>
                    <a:pt x="9" y="298"/>
                  </a:cubicBezTo>
                  <a:cubicBezTo>
                    <a:pt x="9" y="298"/>
                    <a:pt x="10" y="299"/>
                    <a:pt x="11" y="299"/>
                  </a:cubicBezTo>
                  <a:cubicBezTo>
                    <a:pt x="12" y="299"/>
                    <a:pt x="12" y="299"/>
                    <a:pt x="13" y="299"/>
                  </a:cubicBezTo>
                  <a:cubicBezTo>
                    <a:pt x="14" y="299"/>
                    <a:pt x="14" y="299"/>
                    <a:pt x="14" y="299"/>
                  </a:cubicBezTo>
                  <a:cubicBezTo>
                    <a:pt x="18" y="297"/>
                    <a:pt x="22" y="296"/>
                    <a:pt x="26" y="296"/>
                  </a:cubicBezTo>
                  <a:cubicBezTo>
                    <a:pt x="29" y="296"/>
                    <a:pt x="31" y="297"/>
                    <a:pt x="34" y="297"/>
                  </a:cubicBezTo>
                  <a:cubicBezTo>
                    <a:pt x="34" y="295"/>
                    <a:pt x="34" y="295"/>
                    <a:pt x="34" y="295"/>
                  </a:cubicBezTo>
                  <a:cubicBezTo>
                    <a:pt x="35" y="295"/>
                    <a:pt x="35" y="295"/>
                    <a:pt x="35" y="295"/>
                  </a:cubicBezTo>
                  <a:cubicBezTo>
                    <a:pt x="35" y="295"/>
                    <a:pt x="35" y="295"/>
                    <a:pt x="35" y="295"/>
                  </a:cubicBezTo>
                  <a:cubicBezTo>
                    <a:pt x="37" y="295"/>
                    <a:pt x="40" y="294"/>
                    <a:pt x="42" y="292"/>
                  </a:cubicBezTo>
                  <a:cubicBezTo>
                    <a:pt x="49" y="286"/>
                    <a:pt x="58" y="280"/>
                    <a:pt x="65" y="275"/>
                  </a:cubicBezTo>
                  <a:cubicBezTo>
                    <a:pt x="72" y="270"/>
                    <a:pt x="77" y="265"/>
                    <a:pt x="82" y="260"/>
                  </a:cubicBezTo>
                  <a:cubicBezTo>
                    <a:pt x="84" y="257"/>
                    <a:pt x="87" y="255"/>
                    <a:pt x="88" y="253"/>
                  </a:cubicBezTo>
                  <a:cubicBezTo>
                    <a:pt x="92" y="250"/>
                    <a:pt x="95" y="246"/>
                    <a:pt x="99" y="243"/>
                  </a:cubicBezTo>
                  <a:cubicBezTo>
                    <a:pt x="100" y="242"/>
                    <a:pt x="101" y="241"/>
                    <a:pt x="102" y="241"/>
                  </a:cubicBezTo>
                  <a:cubicBezTo>
                    <a:pt x="104" y="239"/>
                    <a:pt x="106" y="238"/>
                    <a:pt x="107" y="236"/>
                  </a:cubicBezTo>
                  <a:cubicBezTo>
                    <a:pt x="107" y="235"/>
                    <a:pt x="108" y="234"/>
                    <a:pt x="108" y="232"/>
                  </a:cubicBezTo>
                  <a:cubicBezTo>
                    <a:pt x="109" y="232"/>
                    <a:pt x="109" y="232"/>
                    <a:pt x="109" y="232"/>
                  </a:cubicBezTo>
                  <a:cubicBezTo>
                    <a:pt x="109" y="231"/>
                    <a:pt x="110" y="229"/>
                    <a:pt x="111" y="228"/>
                  </a:cubicBezTo>
                  <a:cubicBezTo>
                    <a:pt x="111" y="226"/>
                    <a:pt x="111" y="226"/>
                    <a:pt x="110" y="225"/>
                  </a:cubicBezTo>
                  <a:cubicBezTo>
                    <a:pt x="110" y="225"/>
                    <a:pt x="110" y="224"/>
                    <a:pt x="109" y="223"/>
                  </a:cubicBezTo>
                  <a:cubicBezTo>
                    <a:pt x="104" y="217"/>
                    <a:pt x="97" y="213"/>
                    <a:pt x="90" y="208"/>
                  </a:cubicBezTo>
                  <a:cubicBezTo>
                    <a:pt x="90" y="208"/>
                    <a:pt x="90" y="208"/>
                    <a:pt x="90" y="208"/>
                  </a:cubicBezTo>
                  <a:cubicBezTo>
                    <a:pt x="87" y="206"/>
                    <a:pt x="85" y="205"/>
                    <a:pt x="83" y="203"/>
                  </a:cubicBezTo>
                  <a:cubicBezTo>
                    <a:pt x="79" y="201"/>
                    <a:pt x="79" y="201"/>
                    <a:pt x="79" y="201"/>
                  </a:cubicBezTo>
                  <a:cubicBezTo>
                    <a:pt x="83" y="199"/>
                    <a:pt x="83" y="199"/>
                    <a:pt x="83" y="199"/>
                  </a:cubicBezTo>
                  <a:cubicBezTo>
                    <a:pt x="86" y="198"/>
                    <a:pt x="88" y="196"/>
                    <a:pt x="91" y="193"/>
                  </a:cubicBezTo>
                  <a:cubicBezTo>
                    <a:pt x="92" y="192"/>
                    <a:pt x="92" y="192"/>
                    <a:pt x="92" y="192"/>
                  </a:cubicBezTo>
                  <a:cubicBezTo>
                    <a:pt x="93" y="191"/>
                    <a:pt x="94" y="189"/>
                    <a:pt x="93" y="188"/>
                  </a:cubicBezTo>
                  <a:cubicBezTo>
                    <a:pt x="93" y="187"/>
                    <a:pt x="90" y="186"/>
                    <a:pt x="89" y="186"/>
                  </a:cubicBezTo>
                  <a:cubicBezTo>
                    <a:pt x="88" y="186"/>
                    <a:pt x="88" y="185"/>
                    <a:pt x="87" y="185"/>
                  </a:cubicBezTo>
                  <a:cubicBezTo>
                    <a:pt x="85" y="184"/>
                    <a:pt x="84" y="181"/>
                    <a:pt x="83" y="178"/>
                  </a:cubicBezTo>
                  <a:cubicBezTo>
                    <a:pt x="82" y="178"/>
                    <a:pt x="82" y="178"/>
                    <a:pt x="82" y="178"/>
                  </a:cubicBezTo>
                  <a:cubicBezTo>
                    <a:pt x="82" y="177"/>
                    <a:pt x="82" y="177"/>
                    <a:pt x="82" y="177"/>
                  </a:cubicBezTo>
                  <a:cubicBezTo>
                    <a:pt x="81" y="174"/>
                    <a:pt x="81" y="174"/>
                    <a:pt x="81" y="174"/>
                  </a:cubicBezTo>
                  <a:cubicBezTo>
                    <a:pt x="83" y="173"/>
                    <a:pt x="83" y="173"/>
                    <a:pt x="83" y="173"/>
                  </a:cubicBezTo>
                  <a:cubicBezTo>
                    <a:pt x="83" y="173"/>
                    <a:pt x="84" y="173"/>
                    <a:pt x="84" y="173"/>
                  </a:cubicBezTo>
                  <a:cubicBezTo>
                    <a:pt x="85" y="173"/>
                    <a:pt x="85" y="173"/>
                    <a:pt x="85" y="173"/>
                  </a:cubicBezTo>
                  <a:cubicBezTo>
                    <a:pt x="85" y="173"/>
                    <a:pt x="85" y="173"/>
                    <a:pt x="85" y="173"/>
                  </a:cubicBezTo>
                  <a:cubicBezTo>
                    <a:pt x="84" y="172"/>
                    <a:pt x="83" y="172"/>
                    <a:pt x="82" y="172"/>
                  </a:cubicBezTo>
                  <a:cubicBezTo>
                    <a:pt x="78" y="171"/>
                    <a:pt x="75" y="168"/>
                    <a:pt x="75" y="165"/>
                  </a:cubicBezTo>
                  <a:cubicBezTo>
                    <a:pt x="74" y="161"/>
                    <a:pt x="77" y="159"/>
                    <a:pt x="78" y="159"/>
                  </a:cubicBezTo>
                  <a:cubicBezTo>
                    <a:pt x="78" y="158"/>
                    <a:pt x="78" y="158"/>
                    <a:pt x="78" y="158"/>
                  </a:cubicBezTo>
                  <a:cubicBezTo>
                    <a:pt x="77" y="158"/>
                    <a:pt x="77" y="158"/>
                    <a:pt x="77" y="158"/>
                  </a:cubicBezTo>
                  <a:cubicBezTo>
                    <a:pt x="74" y="157"/>
                    <a:pt x="75" y="154"/>
                    <a:pt x="75" y="152"/>
                  </a:cubicBezTo>
                  <a:cubicBezTo>
                    <a:pt x="75" y="151"/>
                    <a:pt x="75" y="151"/>
                    <a:pt x="75" y="151"/>
                  </a:cubicBezTo>
                  <a:cubicBezTo>
                    <a:pt x="76" y="151"/>
                    <a:pt x="76" y="151"/>
                    <a:pt x="76" y="151"/>
                  </a:cubicBezTo>
                  <a:cubicBezTo>
                    <a:pt x="76" y="150"/>
                    <a:pt x="76" y="150"/>
                    <a:pt x="76" y="150"/>
                  </a:cubicBezTo>
                  <a:cubicBezTo>
                    <a:pt x="76" y="149"/>
                    <a:pt x="77" y="147"/>
                    <a:pt x="77" y="145"/>
                  </a:cubicBezTo>
                  <a:cubicBezTo>
                    <a:pt x="77" y="145"/>
                    <a:pt x="77" y="145"/>
                    <a:pt x="77" y="145"/>
                  </a:cubicBezTo>
                  <a:cubicBezTo>
                    <a:pt x="75" y="142"/>
                    <a:pt x="75" y="142"/>
                    <a:pt x="75" y="142"/>
                  </a:cubicBezTo>
                  <a:cubicBezTo>
                    <a:pt x="78" y="141"/>
                    <a:pt x="78" y="141"/>
                    <a:pt x="78" y="141"/>
                  </a:cubicBezTo>
                  <a:cubicBezTo>
                    <a:pt x="80" y="140"/>
                    <a:pt x="81" y="140"/>
                    <a:pt x="83" y="140"/>
                  </a:cubicBezTo>
                  <a:cubicBezTo>
                    <a:pt x="74" y="118"/>
                    <a:pt x="74" y="118"/>
                    <a:pt x="74" y="118"/>
                  </a:cubicBezTo>
                  <a:cubicBezTo>
                    <a:pt x="73" y="116"/>
                    <a:pt x="71" y="113"/>
                    <a:pt x="70" y="111"/>
                  </a:cubicBezTo>
                  <a:cubicBezTo>
                    <a:pt x="69" y="111"/>
                    <a:pt x="69" y="110"/>
                    <a:pt x="68" y="110"/>
                  </a:cubicBezTo>
                  <a:cubicBezTo>
                    <a:pt x="68" y="109"/>
                    <a:pt x="68" y="109"/>
                    <a:pt x="68" y="109"/>
                  </a:cubicBezTo>
                  <a:cubicBezTo>
                    <a:pt x="67" y="109"/>
                    <a:pt x="67" y="109"/>
                    <a:pt x="67" y="109"/>
                  </a:cubicBezTo>
                  <a:cubicBezTo>
                    <a:pt x="67" y="108"/>
                    <a:pt x="65" y="107"/>
                    <a:pt x="65" y="106"/>
                  </a:cubicBezTo>
                  <a:cubicBezTo>
                    <a:pt x="64" y="105"/>
                    <a:pt x="64" y="104"/>
                    <a:pt x="64" y="103"/>
                  </a:cubicBezTo>
                  <a:cubicBezTo>
                    <a:pt x="64" y="101"/>
                    <a:pt x="64" y="100"/>
                    <a:pt x="65" y="99"/>
                  </a:cubicBezTo>
                  <a:cubicBezTo>
                    <a:pt x="81" y="78"/>
                    <a:pt x="81" y="78"/>
                    <a:pt x="81" y="78"/>
                  </a:cubicBezTo>
                  <a:cubicBezTo>
                    <a:pt x="80" y="78"/>
                    <a:pt x="79" y="77"/>
                    <a:pt x="78" y="76"/>
                  </a:cubicBezTo>
                  <a:cubicBezTo>
                    <a:pt x="78" y="76"/>
                    <a:pt x="78" y="76"/>
                    <a:pt x="77" y="76"/>
                  </a:cubicBezTo>
                  <a:cubicBezTo>
                    <a:pt x="76" y="74"/>
                    <a:pt x="74" y="72"/>
                    <a:pt x="73" y="71"/>
                  </a:cubicBezTo>
                  <a:cubicBezTo>
                    <a:pt x="72" y="69"/>
                    <a:pt x="71" y="67"/>
                    <a:pt x="68" y="66"/>
                  </a:cubicBezTo>
                  <a:cubicBezTo>
                    <a:pt x="67" y="66"/>
                    <a:pt x="67" y="66"/>
                    <a:pt x="67" y="66"/>
                  </a:cubicBezTo>
                  <a:cubicBezTo>
                    <a:pt x="67" y="66"/>
                    <a:pt x="67" y="66"/>
                    <a:pt x="66" y="66"/>
                  </a:cubicBezTo>
                  <a:cubicBezTo>
                    <a:pt x="66" y="66"/>
                    <a:pt x="66" y="66"/>
                    <a:pt x="66" y="66"/>
                  </a:cubicBezTo>
                  <a:cubicBezTo>
                    <a:pt x="63" y="65"/>
                    <a:pt x="60" y="64"/>
                    <a:pt x="58" y="63"/>
                  </a:cubicBezTo>
                  <a:cubicBezTo>
                    <a:pt x="56" y="61"/>
                    <a:pt x="56" y="59"/>
                    <a:pt x="55" y="56"/>
                  </a:cubicBezTo>
                  <a:cubicBezTo>
                    <a:pt x="55" y="56"/>
                    <a:pt x="55" y="56"/>
                    <a:pt x="55" y="56"/>
                  </a:cubicBezTo>
                  <a:cubicBezTo>
                    <a:pt x="54" y="55"/>
                    <a:pt x="54" y="55"/>
                    <a:pt x="54" y="54"/>
                  </a:cubicBezTo>
                  <a:cubicBezTo>
                    <a:pt x="53" y="51"/>
                    <a:pt x="54" y="49"/>
                    <a:pt x="55" y="46"/>
                  </a:cubicBezTo>
                  <a:cubicBezTo>
                    <a:pt x="55" y="46"/>
                    <a:pt x="55" y="46"/>
                    <a:pt x="55" y="46"/>
                  </a:cubicBezTo>
                  <a:cubicBezTo>
                    <a:pt x="55" y="46"/>
                    <a:pt x="56" y="45"/>
                    <a:pt x="56" y="45"/>
                  </a:cubicBezTo>
                  <a:cubicBezTo>
                    <a:pt x="56" y="44"/>
                    <a:pt x="56" y="44"/>
                    <a:pt x="56" y="44"/>
                  </a:cubicBezTo>
                  <a:cubicBezTo>
                    <a:pt x="56" y="43"/>
                    <a:pt x="57" y="42"/>
                    <a:pt x="57" y="41"/>
                  </a:cubicBezTo>
                  <a:cubicBezTo>
                    <a:pt x="57" y="41"/>
                    <a:pt x="57" y="41"/>
                    <a:pt x="57" y="41"/>
                  </a:cubicBezTo>
                  <a:cubicBezTo>
                    <a:pt x="56" y="41"/>
                    <a:pt x="54" y="41"/>
                    <a:pt x="53" y="40"/>
                  </a:cubicBezTo>
                  <a:cubicBezTo>
                    <a:pt x="49" y="38"/>
                    <a:pt x="49" y="38"/>
                    <a:pt x="49" y="38"/>
                  </a:cubicBezTo>
                  <a:cubicBezTo>
                    <a:pt x="53" y="36"/>
                    <a:pt x="53" y="36"/>
                    <a:pt x="53" y="36"/>
                  </a:cubicBezTo>
                  <a:cubicBezTo>
                    <a:pt x="55" y="35"/>
                    <a:pt x="56" y="35"/>
                    <a:pt x="58" y="34"/>
                  </a:cubicBezTo>
                  <a:cubicBezTo>
                    <a:pt x="61" y="33"/>
                    <a:pt x="61" y="33"/>
                    <a:pt x="61" y="33"/>
                  </a:cubicBezTo>
                  <a:cubicBezTo>
                    <a:pt x="61" y="33"/>
                    <a:pt x="62" y="33"/>
                    <a:pt x="62" y="33"/>
                  </a:cubicBezTo>
                  <a:cubicBezTo>
                    <a:pt x="62" y="33"/>
                    <a:pt x="62" y="33"/>
                    <a:pt x="62" y="33"/>
                  </a:cubicBezTo>
                  <a:cubicBezTo>
                    <a:pt x="63" y="33"/>
                    <a:pt x="63" y="33"/>
                    <a:pt x="63" y="33"/>
                  </a:cubicBezTo>
                  <a:cubicBezTo>
                    <a:pt x="62" y="32"/>
                    <a:pt x="62" y="32"/>
                    <a:pt x="62" y="32"/>
                  </a:cubicBezTo>
                  <a:cubicBezTo>
                    <a:pt x="62" y="32"/>
                    <a:pt x="62" y="32"/>
                    <a:pt x="62" y="32"/>
                  </a:cubicBezTo>
                  <a:cubicBezTo>
                    <a:pt x="62" y="32"/>
                    <a:pt x="62" y="32"/>
                    <a:pt x="62" y="32"/>
                  </a:cubicBezTo>
                  <a:cubicBezTo>
                    <a:pt x="62" y="31"/>
                    <a:pt x="62" y="31"/>
                    <a:pt x="62" y="31"/>
                  </a:cubicBezTo>
                  <a:cubicBezTo>
                    <a:pt x="62" y="31"/>
                    <a:pt x="62" y="30"/>
                    <a:pt x="62" y="29"/>
                  </a:cubicBezTo>
                  <a:cubicBezTo>
                    <a:pt x="62" y="29"/>
                    <a:pt x="62" y="28"/>
                    <a:pt x="62" y="27"/>
                  </a:cubicBezTo>
                  <a:cubicBezTo>
                    <a:pt x="62" y="27"/>
                    <a:pt x="62" y="26"/>
                    <a:pt x="63" y="25"/>
                  </a:cubicBezTo>
                  <a:cubicBezTo>
                    <a:pt x="64" y="23"/>
                    <a:pt x="64" y="23"/>
                    <a:pt x="64" y="23"/>
                  </a:cubicBezTo>
                  <a:cubicBezTo>
                    <a:pt x="65" y="23"/>
                    <a:pt x="66" y="22"/>
                    <a:pt x="66" y="21"/>
                  </a:cubicBezTo>
                  <a:cubicBezTo>
                    <a:pt x="67" y="20"/>
                    <a:pt x="68" y="19"/>
                    <a:pt x="68" y="19"/>
                  </a:cubicBezTo>
                  <a:cubicBezTo>
                    <a:pt x="68" y="18"/>
                    <a:pt x="68" y="18"/>
                    <a:pt x="68" y="18"/>
                  </a:cubicBezTo>
                  <a:cubicBezTo>
                    <a:pt x="69" y="18"/>
                    <a:pt x="69" y="17"/>
                    <a:pt x="69" y="17"/>
                  </a:cubicBezTo>
                  <a:cubicBezTo>
                    <a:pt x="68" y="16"/>
                    <a:pt x="65" y="14"/>
                    <a:pt x="62" y="12"/>
                  </a:cubicBezTo>
                  <a:cubicBezTo>
                    <a:pt x="61" y="11"/>
                    <a:pt x="59" y="11"/>
                    <a:pt x="58" y="10"/>
                  </a:cubicBezTo>
                  <a:cubicBezTo>
                    <a:pt x="55" y="9"/>
                    <a:pt x="55" y="9"/>
                    <a:pt x="55" y="9"/>
                  </a:cubicBezTo>
                  <a:cubicBezTo>
                    <a:pt x="52" y="7"/>
                    <a:pt x="51" y="7"/>
                    <a:pt x="50" y="6"/>
                  </a:cubicBezTo>
                  <a:cubicBezTo>
                    <a:pt x="49" y="5"/>
                    <a:pt x="49" y="5"/>
                    <a:pt x="48" y="5"/>
                  </a:cubicBezTo>
                  <a:cubicBezTo>
                    <a:pt x="48" y="4"/>
                    <a:pt x="48" y="4"/>
                    <a:pt x="48" y="4"/>
                  </a:cubicBezTo>
                  <a:cubicBezTo>
                    <a:pt x="47" y="4"/>
                    <a:pt x="47" y="4"/>
                    <a:pt x="47" y="4"/>
                  </a:cubicBezTo>
                  <a:cubicBezTo>
                    <a:pt x="45" y="2"/>
                    <a:pt x="43"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458"/>
            <p:cNvSpPr/>
            <p:nvPr/>
          </p:nvSpPr>
          <p:spPr bwMode="auto">
            <a:xfrm>
              <a:off x="900922" y="3897990"/>
              <a:ext cx="396130" cy="169181"/>
            </a:xfrm>
            <a:custGeom>
              <a:gdLst>
                <a:gd name="T0" fmla="*/ 0 w 122"/>
                <a:gd name="T1" fmla="*/ 3 h 52"/>
                <a:gd name="T2" fmla="*/ 8 w 122"/>
                <a:gd name="T3" fmla="*/ 8 h 52"/>
                <a:gd name="T4" fmla="*/ 27 w 122"/>
                <a:gd name="T5" fmla="*/ 22 h 52"/>
                <a:gd name="T6" fmla="*/ 31 w 122"/>
                <a:gd name="T7" fmla="*/ 38 h 52"/>
                <a:gd name="T8" fmla="*/ 28 w 122"/>
                <a:gd name="T9" fmla="*/ 43 h 52"/>
                <a:gd name="T10" fmla="*/ 33 w 122"/>
                <a:gd name="T11" fmla="*/ 43 h 52"/>
                <a:gd name="T12" fmla="*/ 37 w 122"/>
                <a:gd name="T13" fmla="*/ 43 h 52"/>
                <a:gd name="T14" fmla="*/ 44 w 122"/>
                <a:gd name="T15" fmla="*/ 44 h 52"/>
                <a:gd name="T16" fmla="*/ 49 w 122"/>
                <a:gd name="T17" fmla="*/ 41 h 52"/>
                <a:gd name="T18" fmla="*/ 55 w 122"/>
                <a:gd name="T19" fmla="*/ 45 h 52"/>
                <a:gd name="T20" fmla="*/ 56 w 122"/>
                <a:gd name="T21" fmla="*/ 45 h 52"/>
                <a:gd name="T22" fmla="*/ 57 w 122"/>
                <a:gd name="T23" fmla="*/ 46 h 52"/>
                <a:gd name="T24" fmla="*/ 61 w 122"/>
                <a:gd name="T25" fmla="*/ 49 h 52"/>
                <a:gd name="T26" fmla="*/ 64 w 122"/>
                <a:gd name="T27" fmla="*/ 51 h 52"/>
                <a:gd name="T28" fmla="*/ 65 w 122"/>
                <a:gd name="T29" fmla="*/ 52 h 52"/>
                <a:gd name="T30" fmla="*/ 67 w 122"/>
                <a:gd name="T31" fmla="*/ 52 h 52"/>
                <a:gd name="T32" fmla="*/ 83 w 122"/>
                <a:gd name="T33" fmla="*/ 50 h 52"/>
                <a:gd name="T34" fmla="*/ 86 w 122"/>
                <a:gd name="T35" fmla="*/ 50 h 52"/>
                <a:gd name="T36" fmla="*/ 88 w 122"/>
                <a:gd name="T37" fmla="*/ 50 h 52"/>
                <a:gd name="T38" fmla="*/ 88 w 122"/>
                <a:gd name="T39" fmla="*/ 49 h 52"/>
                <a:gd name="T40" fmla="*/ 95 w 122"/>
                <a:gd name="T41" fmla="*/ 47 h 52"/>
                <a:gd name="T42" fmla="*/ 99 w 122"/>
                <a:gd name="T43" fmla="*/ 44 h 52"/>
                <a:gd name="T44" fmla="*/ 106 w 122"/>
                <a:gd name="T45" fmla="*/ 47 h 52"/>
                <a:gd name="T46" fmla="*/ 109 w 122"/>
                <a:gd name="T47" fmla="*/ 49 h 52"/>
                <a:gd name="T48" fmla="*/ 120 w 122"/>
                <a:gd name="T49" fmla="*/ 52 h 52"/>
                <a:gd name="T50" fmla="*/ 122 w 122"/>
                <a:gd name="T51" fmla="*/ 50 h 52"/>
                <a:gd name="T52" fmla="*/ 115 w 122"/>
                <a:gd name="T53" fmla="*/ 45 h 52"/>
                <a:gd name="T54" fmla="*/ 117 w 122"/>
                <a:gd name="T55" fmla="*/ 38 h 52"/>
                <a:gd name="T56" fmla="*/ 105 w 122"/>
                <a:gd name="T57" fmla="*/ 32 h 52"/>
                <a:gd name="T58" fmla="*/ 104 w 122"/>
                <a:gd name="T59" fmla="*/ 25 h 52"/>
                <a:gd name="T60" fmla="*/ 92 w 122"/>
                <a:gd name="T61" fmla="*/ 20 h 52"/>
                <a:gd name="T62" fmla="*/ 90 w 122"/>
                <a:gd name="T63" fmla="*/ 27 h 52"/>
                <a:gd name="T64" fmla="*/ 85 w 122"/>
                <a:gd name="T65" fmla="*/ 20 h 52"/>
                <a:gd name="T66" fmla="*/ 80 w 122"/>
                <a:gd name="T67" fmla="*/ 21 h 52"/>
                <a:gd name="T68" fmla="*/ 72 w 122"/>
                <a:gd name="T69" fmla="*/ 23 h 52"/>
                <a:gd name="T70" fmla="*/ 66 w 122"/>
                <a:gd name="T71" fmla="*/ 19 h 52"/>
                <a:gd name="T72" fmla="*/ 67 w 122"/>
                <a:gd name="T73" fmla="*/ 18 h 52"/>
                <a:gd name="T74" fmla="*/ 44 w 122"/>
                <a:gd name="T75" fmla="*/ 8 h 52"/>
                <a:gd name="T76" fmla="*/ 37 w 122"/>
                <a:gd name="T77" fmla="*/ 9 h 52"/>
                <a:gd name="T78" fmla="*/ 9 w 122"/>
                <a:gd name="T79" fmla="*/ 1 h 52"/>
                <a:gd name="T80" fmla="*/ 7 w 122"/>
                <a:gd name="T81" fmla="*/ 2 h 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2" h="52">
                  <a:moveTo>
                    <a:pt x="1" y="0"/>
                  </a:moveTo>
                  <a:cubicBezTo>
                    <a:pt x="1" y="1"/>
                    <a:pt x="0" y="2"/>
                    <a:pt x="0" y="3"/>
                  </a:cubicBezTo>
                  <a:cubicBezTo>
                    <a:pt x="0" y="4"/>
                    <a:pt x="0" y="4"/>
                    <a:pt x="0" y="4"/>
                  </a:cubicBezTo>
                  <a:cubicBezTo>
                    <a:pt x="2" y="6"/>
                    <a:pt x="5" y="7"/>
                    <a:pt x="8" y="8"/>
                  </a:cubicBezTo>
                  <a:cubicBezTo>
                    <a:pt x="12" y="9"/>
                    <a:pt x="17" y="10"/>
                    <a:pt x="19" y="14"/>
                  </a:cubicBezTo>
                  <a:cubicBezTo>
                    <a:pt x="20" y="18"/>
                    <a:pt x="26" y="17"/>
                    <a:pt x="27" y="22"/>
                  </a:cubicBezTo>
                  <a:cubicBezTo>
                    <a:pt x="27" y="24"/>
                    <a:pt x="28" y="31"/>
                    <a:pt x="31" y="31"/>
                  </a:cubicBezTo>
                  <a:cubicBezTo>
                    <a:pt x="29" y="33"/>
                    <a:pt x="32" y="35"/>
                    <a:pt x="31" y="38"/>
                  </a:cubicBezTo>
                  <a:cubicBezTo>
                    <a:pt x="30" y="40"/>
                    <a:pt x="30" y="41"/>
                    <a:pt x="28" y="43"/>
                  </a:cubicBezTo>
                  <a:cubicBezTo>
                    <a:pt x="28" y="43"/>
                    <a:pt x="28" y="43"/>
                    <a:pt x="28" y="43"/>
                  </a:cubicBezTo>
                  <a:cubicBezTo>
                    <a:pt x="29" y="43"/>
                    <a:pt x="30" y="44"/>
                    <a:pt x="31" y="44"/>
                  </a:cubicBezTo>
                  <a:cubicBezTo>
                    <a:pt x="31" y="44"/>
                    <a:pt x="32" y="43"/>
                    <a:pt x="33" y="43"/>
                  </a:cubicBezTo>
                  <a:cubicBezTo>
                    <a:pt x="34" y="43"/>
                    <a:pt x="34" y="43"/>
                    <a:pt x="35" y="43"/>
                  </a:cubicBezTo>
                  <a:cubicBezTo>
                    <a:pt x="36" y="43"/>
                    <a:pt x="36" y="43"/>
                    <a:pt x="37" y="43"/>
                  </a:cubicBezTo>
                  <a:cubicBezTo>
                    <a:pt x="38" y="44"/>
                    <a:pt x="38" y="44"/>
                    <a:pt x="38" y="44"/>
                  </a:cubicBezTo>
                  <a:cubicBezTo>
                    <a:pt x="40" y="44"/>
                    <a:pt x="42" y="44"/>
                    <a:pt x="44" y="44"/>
                  </a:cubicBezTo>
                  <a:cubicBezTo>
                    <a:pt x="45" y="43"/>
                    <a:pt x="46" y="42"/>
                    <a:pt x="47" y="42"/>
                  </a:cubicBezTo>
                  <a:cubicBezTo>
                    <a:pt x="48" y="41"/>
                    <a:pt x="48" y="41"/>
                    <a:pt x="49" y="41"/>
                  </a:cubicBezTo>
                  <a:cubicBezTo>
                    <a:pt x="51" y="41"/>
                    <a:pt x="54" y="42"/>
                    <a:pt x="55" y="45"/>
                  </a:cubicBezTo>
                  <a:cubicBezTo>
                    <a:pt x="55" y="45"/>
                    <a:pt x="55" y="45"/>
                    <a:pt x="55" y="45"/>
                  </a:cubicBezTo>
                  <a:cubicBezTo>
                    <a:pt x="55" y="45"/>
                    <a:pt x="55" y="45"/>
                    <a:pt x="55" y="45"/>
                  </a:cubicBezTo>
                  <a:cubicBezTo>
                    <a:pt x="56" y="45"/>
                    <a:pt x="56" y="45"/>
                    <a:pt x="56" y="45"/>
                  </a:cubicBezTo>
                  <a:cubicBezTo>
                    <a:pt x="56" y="45"/>
                    <a:pt x="56" y="46"/>
                    <a:pt x="57" y="46"/>
                  </a:cubicBezTo>
                  <a:cubicBezTo>
                    <a:pt x="57" y="46"/>
                    <a:pt x="57" y="46"/>
                    <a:pt x="57" y="46"/>
                  </a:cubicBezTo>
                  <a:cubicBezTo>
                    <a:pt x="58" y="47"/>
                    <a:pt x="58" y="47"/>
                    <a:pt x="58" y="47"/>
                  </a:cubicBezTo>
                  <a:cubicBezTo>
                    <a:pt x="59" y="48"/>
                    <a:pt x="60" y="48"/>
                    <a:pt x="61" y="49"/>
                  </a:cubicBezTo>
                  <a:cubicBezTo>
                    <a:pt x="62" y="50"/>
                    <a:pt x="62" y="50"/>
                    <a:pt x="62" y="50"/>
                  </a:cubicBezTo>
                  <a:cubicBezTo>
                    <a:pt x="63" y="50"/>
                    <a:pt x="63" y="51"/>
                    <a:pt x="64" y="51"/>
                  </a:cubicBezTo>
                  <a:cubicBezTo>
                    <a:pt x="65" y="52"/>
                    <a:pt x="65" y="52"/>
                    <a:pt x="65" y="52"/>
                  </a:cubicBezTo>
                  <a:cubicBezTo>
                    <a:pt x="65" y="52"/>
                    <a:pt x="65" y="52"/>
                    <a:pt x="65" y="52"/>
                  </a:cubicBezTo>
                  <a:cubicBezTo>
                    <a:pt x="65" y="52"/>
                    <a:pt x="65" y="52"/>
                    <a:pt x="65" y="52"/>
                  </a:cubicBezTo>
                  <a:cubicBezTo>
                    <a:pt x="67" y="52"/>
                    <a:pt x="67" y="52"/>
                    <a:pt x="67" y="52"/>
                  </a:cubicBezTo>
                  <a:cubicBezTo>
                    <a:pt x="71" y="51"/>
                    <a:pt x="75" y="51"/>
                    <a:pt x="79" y="50"/>
                  </a:cubicBezTo>
                  <a:cubicBezTo>
                    <a:pt x="80" y="50"/>
                    <a:pt x="81" y="50"/>
                    <a:pt x="83" y="50"/>
                  </a:cubicBezTo>
                  <a:cubicBezTo>
                    <a:pt x="84" y="50"/>
                    <a:pt x="84" y="50"/>
                    <a:pt x="85" y="50"/>
                  </a:cubicBezTo>
                  <a:cubicBezTo>
                    <a:pt x="86" y="50"/>
                    <a:pt x="86" y="50"/>
                    <a:pt x="86" y="50"/>
                  </a:cubicBezTo>
                  <a:cubicBezTo>
                    <a:pt x="86" y="50"/>
                    <a:pt x="87" y="50"/>
                    <a:pt x="88" y="50"/>
                  </a:cubicBezTo>
                  <a:cubicBezTo>
                    <a:pt x="88" y="50"/>
                    <a:pt x="88" y="50"/>
                    <a:pt x="88" y="50"/>
                  </a:cubicBezTo>
                  <a:cubicBezTo>
                    <a:pt x="89" y="50"/>
                    <a:pt x="89" y="50"/>
                    <a:pt x="89" y="50"/>
                  </a:cubicBezTo>
                  <a:cubicBezTo>
                    <a:pt x="88" y="49"/>
                    <a:pt x="88" y="49"/>
                    <a:pt x="88" y="49"/>
                  </a:cubicBezTo>
                  <a:cubicBezTo>
                    <a:pt x="92" y="48"/>
                    <a:pt x="92" y="48"/>
                    <a:pt x="92" y="48"/>
                  </a:cubicBezTo>
                  <a:cubicBezTo>
                    <a:pt x="93" y="48"/>
                    <a:pt x="94" y="47"/>
                    <a:pt x="95" y="47"/>
                  </a:cubicBezTo>
                  <a:cubicBezTo>
                    <a:pt x="96" y="45"/>
                    <a:pt x="96" y="45"/>
                    <a:pt x="96" y="45"/>
                  </a:cubicBezTo>
                  <a:cubicBezTo>
                    <a:pt x="97" y="45"/>
                    <a:pt x="98" y="44"/>
                    <a:pt x="99" y="44"/>
                  </a:cubicBezTo>
                  <a:cubicBezTo>
                    <a:pt x="100" y="44"/>
                    <a:pt x="100" y="44"/>
                    <a:pt x="100" y="45"/>
                  </a:cubicBezTo>
                  <a:cubicBezTo>
                    <a:pt x="103" y="45"/>
                    <a:pt x="104" y="46"/>
                    <a:pt x="106" y="47"/>
                  </a:cubicBezTo>
                  <a:cubicBezTo>
                    <a:pt x="106" y="48"/>
                    <a:pt x="106" y="48"/>
                    <a:pt x="106" y="48"/>
                  </a:cubicBezTo>
                  <a:cubicBezTo>
                    <a:pt x="107" y="48"/>
                    <a:pt x="108" y="49"/>
                    <a:pt x="109" y="49"/>
                  </a:cubicBezTo>
                  <a:cubicBezTo>
                    <a:pt x="109" y="49"/>
                    <a:pt x="109" y="50"/>
                    <a:pt x="110" y="50"/>
                  </a:cubicBezTo>
                  <a:cubicBezTo>
                    <a:pt x="113" y="51"/>
                    <a:pt x="117" y="51"/>
                    <a:pt x="120" y="52"/>
                  </a:cubicBezTo>
                  <a:cubicBezTo>
                    <a:pt x="121" y="52"/>
                    <a:pt x="121" y="52"/>
                    <a:pt x="122" y="52"/>
                  </a:cubicBezTo>
                  <a:cubicBezTo>
                    <a:pt x="122" y="50"/>
                    <a:pt x="122" y="50"/>
                    <a:pt x="122" y="50"/>
                  </a:cubicBezTo>
                  <a:cubicBezTo>
                    <a:pt x="120" y="49"/>
                    <a:pt x="119" y="48"/>
                    <a:pt x="118" y="47"/>
                  </a:cubicBezTo>
                  <a:cubicBezTo>
                    <a:pt x="117" y="46"/>
                    <a:pt x="116" y="45"/>
                    <a:pt x="115" y="45"/>
                  </a:cubicBezTo>
                  <a:cubicBezTo>
                    <a:pt x="113" y="44"/>
                    <a:pt x="113" y="44"/>
                    <a:pt x="113" y="44"/>
                  </a:cubicBezTo>
                  <a:cubicBezTo>
                    <a:pt x="117" y="38"/>
                    <a:pt x="117" y="38"/>
                    <a:pt x="117" y="38"/>
                  </a:cubicBezTo>
                  <a:cubicBezTo>
                    <a:pt x="116" y="37"/>
                    <a:pt x="116" y="37"/>
                    <a:pt x="116" y="37"/>
                  </a:cubicBezTo>
                  <a:cubicBezTo>
                    <a:pt x="112" y="36"/>
                    <a:pt x="105" y="32"/>
                    <a:pt x="105" y="32"/>
                  </a:cubicBezTo>
                  <a:cubicBezTo>
                    <a:pt x="104" y="32"/>
                    <a:pt x="104" y="31"/>
                    <a:pt x="103" y="30"/>
                  </a:cubicBezTo>
                  <a:cubicBezTo>
                    <a:pt x="103" y="28"/>
                    <a:pt x="103" y="27"/>
                    <a:pt x="104" y="25"/>
                  </a:cubicBezTo>
                  <a:cubicBezTo>
                    <a:pt x="100" y="24"/>
                    <a:pt x="95" y="22"/>
                    <a:pt x="93" y="20"/>
                  </a:cubicBezTo>
                  <a:cubicBezTo>
                    <a:pt x="92" y="20"/>
                    <a:pt x="92" y="20"/>
                    <a:pt x="92" y="20"/>
                  </a:cubicBezTo>
                  <a:cubicBezTo>
                    <a:pt x="92" y="20"/>
                    <a:pt x="92" y="20"/>
                    <a:pt x="92" y="21"/>
                  </a:cubicBezTo>
                  <a:cubicBezTo>
                    <a:pt x="90" y="27"/>
                    <a:pt x="90" y="27"/>
                    <a:pt x="90" y="27"/>
                  </a:cubicBezTo>
                  <a:cubicBezTo>
                    <a:pt x="87" y="21"/>
                    <a:pt x="87" y="21"/>
                    <a:pt x="87" y="21"/>
                  </a:cubicBezTo>
                  <a:cubicBezTo>
                    <a:pt x="87" y="20"/>
                    <a:pt x="86" y="20"/>
                    <a:pt x="85" y="20"/>
                  </a:cubicBezTo>
                  <a:cubicBezTo>
                    <a:pt x="85" y="20"/>
                    <a:pt x="85" y="20"/>
                    <a:pt x="85" y="20"/>
                  </a:cubicBezTo>
                  <a:cubicBezTo>
                    <a:pt x="83" y="20"/>
                    <a:pt x="82" y="20"/>
                    <a:pt x="80" y="21"/>
                  </a:cubicBezTo>
                  <a:cubicBezTo>
                    <a:pt x="78" y="23"/>
                    <a:pt x="75" y="23"/>
                    <a:pt x="74" y="23"/>
                  </a:cubicBezTo>
                  <a:cubicBezTo>
                    <a:pt x="73" y="23"/>
                    <a:pt x="72" y="23"/>
                    <a:pt x="72" y="23"/>
                  </a:cubicBezTo>
                  <a:cubicBezTo>
                    <a:pt x="72" y="23"/>
                    <a:pt x="68" y="22"/>
                    <a:pt x="67" y="20"/>
                  </a:cubicBezTo>
                  <a:cubicBezTo>
                    <a:pt x="66" y="19"/>
                    <a:pt x="66" y="19"/>
                    <a:pt x="66" y="19"/>
                  </a:cubicBezTo>
                  <a:cubicBezTo>
                    <a:pt x="67" y="18"/>
                    <a:pt x="67" y="18"/>
                    <a:pt x="67" y="18"/>
                  </a:cubicBezTo>
                  <a:cubicBezTo>
                    <a:pt x="67" y="18"/>
                    <a:pt x="67" y="18"/>
                    <a:pt x="67" y="18"/>
                  </a:cubicBezTo>
                  <a:cubicBezTo>
                    <a:pt x="63" y="17"/>
                    <a:pt x="54" y="13"/>
                    <a:pt x="52" y="11"/>
                  </a:cubicBezTo>
                  <a:cubicBezTo>
                    <a:pt x="52" y="10"/>
                    <a:pt x="48" y="8"/>
                    <a:pt x="44" y="8"/>
                  </a:cubicBezTo>
                  <a:cubicBezTo>
                    <a:pt x="43" y="8"/>
                    <a:pt x="42" y="8"/>
                    <a:pt x="41" y="9"/>
                  </a:cubicBezTo>
                  <a:cubicBezTo>
                    <a:pt x="40" y="9"/>
                    <a:pt x="39" y="9"/>
                    <a:pt x="37" y="9"/>
                  </a:cubicBezTo>
                  <a:cubicBezTo>
                    <a:pt x="30" y="9"/>
                    <a:pt x="17" y="5"/>
                    <a:pt x="14" y="3"/>
                  </a:cubicBezTo>
                  <a:cubicBezTo>
                    <a:pt x="13" y="2"/>
                    <a:pt x="10" y="1"/>
                    <a:pt x="9" y="1"/>
                  </a:cubicBezTo>
                  <a:cubicBezTo>
                    <a:pt x="9" y="1"/>
                    <a:pt x="9" y="1"/>
                    <a:pt x="9" y="1"/>
                  </a:cubicBezTo>
                  <a:cubicBezTo>
                    <a:pt x="9" y="2"/>
                    <a:pt x="8" y="2"/>
                    <a:pt x="7" y="2"/>
                  </a:cubicBezTo>
                  <a:cubicBezTo>
                    <a:pt x="5" y="2"/>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459"/>
            <p:cNvSpPr/>
            <p:nvPr/>
          </p:nvSpPr>
          <p:spPr bwMode="auto">
            <a:xfrm>
              <a:off x="2229608" y="3134616"/>
              <a:ext cx="13755" cy="2751"/>
            </a:xfrm>
            <a:custGeom>
              <a:gdLst>
                <a:gd name="T0" fmla="*/ 0 w 4"/>
                <a:gd name="T1" fmla="*/ 0 h 1"/>
                <a:gd name="T2" fmla="*/ 0 w 4"/>
                <a:gd name="T3" fmla="*/ 1 h 1"/>
                <a:gd name="T4" fmla="*/ 1 w 4"/>
                <a:gd name="T5" fmla="*/ 1 h 1"/>
                <a:gd name="T6" fmla="*/ 2 w 4"/>
                <a:gd name="T7" fmla="*/ 1 h 1"/>
                <a:gd name="T8" fmla="*/ 2 w 4"/>
                <a:gd name="T9" fmla="*/ 1 h 1"/>
                <a:gd name="T10" fmla="*/ 3 w 4"/>
                <a:gd name="T11" fmla="*/ 1 h 1"/>
                <a:gd name="T12" fmla="*/ 3 w 4"/>
                <a:gd name="T13" fmla="*/ 1 h 1"/>
                <a:gd name="T14" fmla="*/ 4 w 4"/>
                <a:gd name="T15" fmla="*/ 1 h 1"/>
                <a:gd name="T16" fmla="*/ 2 w 4"/>
                <a:gd name="T17" fmla="*/ 0 h 1"/>
                <a:gd name="T18" fmla="*/ 0 w 4"/>
                <a:gd name="T19"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
                  <a:moveTo>
                    <a:pt x="0" y="0"/>
                  </a:moveTo>
                  <a:cubicBezTo>
                    <a:pt x="0" y="1"/>
                    <a:pt x="0" y="1"/>
                    <a:pt x="0" y="1"/>
                  </a:cubicBezTo>
                  <a:cubicBezTo>
                    <a:pt x="1" y="1"/>
                    <a:pt x="1" y="1"/>
                    <a:pt x="1" y="1"/>
                  </a:cubicBezTo>
                  <a:cubicBezTo>
                    <a:pt x="2" y="1"/>
                    <a:pt x="2" y="1"/>
                    <a:pt x="2" y="1"/>
                  </a:cubicBezTo>
                  <a:cubicBezTo>
                    <a:pt x="2" y="1"/>
                    <a:pt x="2" y="1"/>
                    <a:pt x="2" y="1"/>
                  </a:cubicBezTo>
                  <a:cubicBezTo>
                    <a:pt x="2" y="1"/>
                    <a:pt x="3" y="1"/>
                    <a:pt x="3" y="1"/>
                  </a:cubicBezTo>
                  <a:cubicBezTo>
                    <a:pt x="3" y="1"/>
                    <a:pt x="3" y="1"/>
                    <a:pt x="3" y="1"/>
                  </a:cubicBezTo>
                  <a:cubicBezTo>
                    <a:pt x="4" y="1"/>
                    <a:pt x="4" y="1"/>
                    <a:pt x="4" y="1"/>
                  </a:cubicBezTo>
                  <a:cubicBezTo>
                    <a:pt x="2" y="0"/>
                    <a:pt x="2" y="0"/>
                    <a:pt x="2" y="0"/>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460"/>
            <p:cNvSpPr/>
            <p:nvPr/>
          </p:nvSpPr>
          <p:spPr bwMode="auto">
            <a:xfrm>
              <a:off x="2486816" y="2998445"/>
              <a:ext cx="2751"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461"/>
            <p:cNvSpPr/>
            <p:nvPr/>
          </p:nvSpPr>
          <p:spPr bwMode="auto">
            <a:xfrm>
              <a:off x="2486816" y="2998445"/>
              <a:ext cx="2751"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462"/>
            <p:cNvSpPr/>
            <p:nvPr/>
          </p:nvSpPr>
          <p:spPr bwMode="auto">
            <a:xfrm>
              <a:off x="1466232" y="3683420"/>
              <a:ext cx="2751" cy="4127"/>
            </a:xfrm>
            <a:custGeom>
              <a:gdLst>
                <a:gd name="T0" fmla="*/ 0 w 1"/>
                <a:gd name="T1" fmla="*/ 0 h 1"/>
                <a:gd name="T2" fmla="*/ 0 w 1"/>
                <a:gd name="T3" fmla="*/ 0 h 1"/>
                <a:gd name="T4" fmla="*/ 1 w 1"/>
                <a:gd name="T5" fmla="*/ 1 h 1"/>
                <a:gd name="T6" fmla="*/ 0 w 1"/>
                <a:gd name="T7" fmla="*/ 0 h 1"/>
              </a:gd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Rectangle 463"/>
            <p:cNvSpPr>
              <a:spLocks noChangeArrowheads="1"/>
            </p:cNvSpPr>
            <p:nvPr/>
          </p:nvSpPr>
          <p:spPr bwMode="auto">
            <a:xfrm>
              <a:off x="1442850" y="3647658"/>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464"/>
            <p:cNvSpPr/>
            <p:nvPr/>
          </p:nvSpPr>
          <p:spPr bwMode="auto">
            <a:xfrm flipH="1">
              <a:off x="1442850" y="364765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468"/>
            <p:cNvSpPr>
              <a:spLocks noEditPoints="1"/>
            </p:cNvSpPr>
            <p:nvPr/>
          </p:nvSpPr>
          <p:spPr bwMode="auto">
            <a:xfrm>
              <a:off x="686351" y="2493655"/>
              <a:ext cx="8298096" cy="1265415"/>
            </a:xfrm>
            <a:custGeom>
              <a:gdLst>
                <a:gd name="T0" fmla="*/ 0 w 2553"/>
                <a:gd name="T1" fmla="*/ 389 h 389"/>
                <a:gd name="T2" fmla="*/ 0 w 2553"/>
                <a:gd name="T3" fmla="*/ 389 h 389"/>
                <a:gd name="T4" fmla="*/ 0 w 2553"/>
                <a:gd name="T5" fmla="*/ 389 h 389"/>
                <a:gd name="T6" fmla="*/ 397 w 2553"/>
                <a:gd name="T7" fmla="*/ 252 h 389"/>
                <a:gd name="T8" fmla="*/ 397 w 2553"/>
                <a:gd name="T9" fmla="*/ 252 h 389"/>
                <a:gd name="T10" fmla="*/ 397 w 2553"/>
                <a:gd name="T11" fmla="*/ 252 h 389"/>
                <a:gd name="T12" fmla="*/ 2553 w 2553"/>
                <a:gd name="T13" fmla="*/ 0 h 389"/>
                <a:gd name="T14" fmla="*/ 2553 w 2553"/>
                <a:gd name="T15" fmla="*/ 0 h 389"/>
                <a:gd name="T16" fmla="*/ 2553 w 2553"/>
                <a:gd name="T17" fmla="*/ 0 h 3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3" h="389">
                  <a:moveTo>
                    <a:pt x="0" y="389"/>
                  </a:moveTo>
                  <a:cubicBezTo>
                    <a:pt x="0" y="389"/>
                    <a:pt x="0" y="389"/>
                    <a:pt x="0" y="389"/>
                  </a:cubicBezTo>
                  <a:cubicBezTo>
                    <a:pt x="0" y="389"/>
                    <a:pt x="0" y="389"/>
                    <a:pt x="0" y="389"/>
                  </a:cubicBezTo>
                  <a:moveTo>
                    <a:pt x="397" y="252"/>
                  </a:moveTo>
                  <a:cubicBezTo>
                    <a:pt x="397" y="252"/>
                    <a:pt x="397" y="252"/>
                    <a:pt x="397" y="252"/>
                  </a:cubicBezTo>
                  <a:cubicBezTo>
                    <a:pt x="397" y="252"/>
                    <a:pt x="397" y="252"/>
                    <a:pt x="397" y="252"/>
                  </a:cubicBezTo>
                  <a:moveTo>
                    <a:pt x="2553" y="0"/>
                  </a:moveTo>
                  <a:cubicBezTo>
                    <a:pt x="2553" y="0"/>
                    <a:pt x="2553" y="0"/>
                    <a:pt x="2553" y="0"/>
                  </a:cubicBezTo>
                  <a:cubicBezTo>
                    <a:pt x="2553" y="0"/>
                    <a:pt x="2553" y="0"/>
                    <a:pt x="25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469"/>
            <p:cNvSpPr>
              <a:spLocks noEditPoints="1"/>
            </p:cNvSpPr>
            <p:nvPr/>
          </p:nvSpPr>
          <p:spPr bwMode="auto">
            <a:xfrm>
              <a:off x="314980" y="6844207"/>
              <a:ext cx="231076" cy="16505"/>
            </a:xfrm>
            <a:custGeom>
              <a:gdLst>
                <a:gd name="T0" fmla="*/ 64 w 71"/>
                <a:gd name="T1" fmla="*/ 1 h 5"/>
                <a:gd name="T2" fmla="*/ 63 w 71"/>
                <a:gd name="T3" fmla="*/ 5 h 5"/>
                <a:gd name="T4" fmla="*/ 60 w 71"/>
                <a:gd name="T5" fmla="*/ 4 h 5"/>
                <a:gd name="T6" fmla="*/ 60 w 71"/>
                <a:gd name="T7" fmla="*/ 4 h 5"/>
                <a:gd name="T8" fmla="*/ 60 w 71"/>
                <a:gd name="T9" fmla="*/ 5 h 5"/>
                <a:gd name="T10" fmla="*/ 71 w 71"/>
                <a:gd name="T11" fmla="*/ 5 h 5"/>
                <a:gd name="T12" fmla="*/ 64 w 71"/>
                <a:gd name="T13" fmla="*/ 1 h 5"/>
                <a:gd name="T14" fmla="*/ 22 w 71"/>
                <a:gd name="T15" fmla="*/ 0 h 5"/>
                <a:gd name="T16" fmla="*/ 21 w 71"/>
                <a:gd name="T17" fmla="*/ 0 h 5"/>
                <a:gd name="T18" fmla="*/ 0 w 71"/>
                <a:gd name="T19" fmla="*/ 1 h 5"/>
                <a:gd name="T20" fmla="*/ 2 w 71"/>
                <a:gd name="T21" fmla="*/ 5 h 5"/>
                <a:gd name="T22" fmla="*/ 21 w 71"/>
                <a:gd name="T23" fmla="*/ 5 h 5"/>
                <a:gd name="T24" fmla="*/ 22 w 71"/>
                <a:gd name="T25"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5">
                  <a:moveTo>
                    <a:pt x="64" y="1"/>
                  </a:moveTo>
                  <a:cubicBezTo>
                    <a:pt x="63" y="2"/>
                    <a:pt x="63" y="3"/>
                    <a:pt x="63" y="5"/>
                  </a:cubicBezTo>
                  <a:cubicBezTo>
                    <a:pt x="62" y="4"/>
                    <a:pt x="61" y="4"/>
                    <a:pt x="60" y="4"/>
                  </a:cubicBezTo>
                  <a:cubicBezTo>
                    <a:pt x="60" y="4"/>
                    <a:pt x="60" y="4"/>
                    <a:pt x="60" y="4"/>
                  </a:cubicBezTo>
                  <a:cubicBezTo>
                    <a:pt x="60" y="4"/>
                    <a:pt x="60" y="4"/>
                    <a:pt x="60" y="5"/>
                  </a:cubicBezTo>
                  <a:cubicBezTo>
                    <a:pt x="71" y="5"/>
                    <a:pt x="71" y="5"/>
                    <a:pt x="71" y="5"/>
                  </a:cubicBezTo>
                  <a:cubicBezTo>
                    <a:pt x="69" y="3"/>
                    <a:pt x="66" y="2"/>
                    <a:pt x="64" y="1"/>
                  </a:cubicBezTo>
                  <a:moveTo>
                    <a:pt x="22" y="0"/>
                  </a:moveTo>
                  <a:cubicBezTo>
                    <a:pt x="21" y="0"/>
                    <a:pt x="21" y="0"/>
                    <a:pt x="21" y="0"/>
                  </a:cubicBezTo>
                  <a:cubicBezTo>
                    <a:pt x="13" y="0"/>
                    <a:pt x="6" y="1"/>
                    <a:pt x="0" y="1"/>
                  </a:cubicBezTo>
                  <a:cubicBezTo>
                    <a:pt x="2" y="5"/>
                    <a:pt x="2" y="5"/>
                    <a:pt x="2" y="5"/>
                  </a:cubicBezTo>
                  <a:cubicBezTo>
                    <a:pt x="21" y="5"/>
                    <a:pt x="21" y="5"/>
                    <a:pt x="21" y="5"/>
                  </a:cubicBezTo>
                  <a:cubicBezTo>
                    <a:pt x="22" y="3"/>
                    <a:pt x="22" y="2"/>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470"/>
            <p:cNvSpPr/>
            <p:nvPr/>
          </p:nvSpPr>
          <p:spPr bwMode="auto">
            <a:xfrm>
              <a:off x="519921" y="6496218"/>
              <a:ext cx="474531" cy="364495"/>
            </a:xfrm>
            <a:custGeom>
              <a:gdLst>
                <a:gd name="T0" fmla="*/ 9 w 146"/>
                <a:gd name="T1" fmla="*/ 0 h 112"/>
                <a:gd name="T2" fmla="*/ 5 w 146"/>
                <a:gd name="T3" fmla="*/ 4 h 112"/>
                <a:gd name="T4" fmla="*/ 3 w 146"/>
                <a:gd name="T5" fmla="*/ 6 h 112"/>
                <a:gd name="T6" fmla="*/ 5 w 146"/>
                <a:gd name="T7" fmla="*/ 11 h 112"/>
                <a:gd name="T8" fmla="*/ 7 w 146"/>
                <a:gd name="T9" fmla="*/ 13 h 112"/>
                <a:gd name="T10" fmla="*/ 11 w 146"/>
                <a:gd name="T11" fmla="*/ 15 h 112"/>
                <a:gd name="T12" fmla="*/ 12 w 146"/>
                <a:gd name="T13" fmla="*/ 16 h 112"/>
                <a:gd name="T14" fmla="*/ 15 w 146"/>
                <a:gd name="T15" fmla="*/ 29 h 112"/>
                <a:gd name="T16" fmla="*/ 21 w 146"/>
                <a:gd name="T17" fmla="*/ 38 h 112"/>
                <a:gd name="T18" fmla="*/ 22 w 146"/>
                <a:gd name="T19" fmla="*/ 48 h 112"/>
                <a:gd name="T20" fmla="*/ 22 w 146"/>
                <a:gd name="T21" fmla="*/ 48 h 112"/>
                <a:gd name="T22" fmla="*/ 18 w 146"/>
                <a:gd name="T23" fmla="*/ 58 h 112"/>
                <a:gd name="T24" fmla="*/ 18 w 146"/>
                <a:gd name="T25" fmla="*/ 60 h 112"/>
                <a:gd name="T26" fmla="*/ 14 w 146"/>
                <a:gd name="T27" fmla="*/ 66 h 112"/>
                <a:gd name="T28" fmla="*/ 11 w 146"/>
                <a:gd name="T29" fmla="*/ 68 h 112"/>
                <a:gd name="T30" fmla="*/ 9 w 146"/>
                <a:gd name="T31" fmla="*/ 72 h 112"/>
                <a:gd name="T32" fmla="*/ 5 w 146"/>
                <a:gd name="T33" fmla="*/ 78 h 112"/>
                <a:gd name="T34" fmla="*/ 3 w 146"/>
                <a:gd name="T35" fmla="*/ 82 h 112"/>
                <a:gd name="T36" fmla="*/ 1 w 146"/>
                <a:gd name="T37" fmla="*/ 84 h 112"/>
                <a:gd name="T38" fmla="*/ 1 w 146"/>
                <a:gd name="T39" fmla="*/ 86 h 112"/>
                <a:gd name="T40" fmla="*/ 6 w 146"/>
                <a:gd name="T41" fmla="*/ 92 h 112"/>
                <a:gd name="T42" fmla="*/ 17 w 146"/>
                <a:gd name="T43" fmla="*/ 91 h 112"/>
                <a:gd name="T44" fmla="*/ 15 w 146"/>
                <a:gd name="T45" fmla="*/ 91 h 112"/>
                <a:gd name="T46" fmla="*/ 13 w 146"/>
                <a:gd name="T47" fmla="*/ 92 h 112"/>
                <a:gd name="T48" fmla="*/ 11 w 146"/>
                <a:gd name="T49" fmla="*/ 92 h 112"/>
                <a:gd name="T50" fmla="*/ 10 w 146"/>
                <a:gd name="T51" fmla="*/ 92 h 112"/>
                <a:gd name="T52" fmla="*/ 9 w 146"/>
                <a:gd name="T53" fmla="*/ 96 h 112"/>
                <a:gd name="T54" fmla="*/ 7 w 146"/>
                <a:gd name="T55" fmla="*/ 94 h 112"/>
                <a:gd name="T56" fmla="*/ 6 w 146"/>
                <a:gd name="T57" fmla="*/ 95 h 112"/>
                <a:gd name="T58" fmla="*/ 5 w 146"/>
                <a:gd name="T59" fmla="*/ 94 h 112"/>
                <a:gd name="T60" fmla="*/ 4 w 146"/>
                <a:gd name="T61" fmla="*/ 103 h 112"/>
                <a:gd name="T62" fmla="*/ 137 w 146"/>
                <a:gd name="T63" fmla="*/ 112 h 112"/>
                <a:gd name="T64" fmla="*/ 131 w 146"/>
                <a:gd name="T65" fmla="*/ 93 h 112"/>
                <a:gd name="T66" fmla="*/ 131 w 146"/>
                <a:gd name="T67" fmla="*/ 68 h 112"/>
                <a:gd name="T68" fmla="*/ 131 w 146"/>
                <a:gd name="T69" fmla="*/ 38 h 112"/>
                <a:gd name="T70" fmla="*/ 132 w 146"/>
                <a:gd name="T71" fmla="*/ 29 h 112"/>
                <a:gd name="T72" fmla="*/ 132 w 146"/>
                <a:gd name="T73" fmla="*/ 23 h 112"/>
                <a:gd name="T74" fmla="*/ 146 w 146"/>
                <a:gd name="T75" fmla="*/ 13 h 112"/>
                <a:gd name="T76" fmla="*/ 139 w 146"/>
                <a:gd name="T77" fmla="*/ 13 h 112"/>
                <a:gd name="T78" fmla="*/ 130 w 146"/>
                <a:gd name="T79" fmla="*/ 8 h 112"/>
                <a:gd name="T80" fmla="*/ 112 w 146"/>
                <a:gd name="T81" fmla="*/ 17 h 112"/>
                <a:gd name="T82" fmla="*/ 106 w 146"/>
                <a:gd name="T83" fmla="*/ 23 h 112"/>
                <a:gd name="T84" fmla="*/ 104 w 146"/>
                <a:gd name="T85" fmla="*/ 23 h 112"/>
                <a:gd name="T86" fmla="*/ 96 w 146"/>
                <a:gd name="T87" fmla="*/ 21 h 112"/>
                <a:gd name="T88" fmla="*/ 91 w 146"/>
                <a:gd name="T89" fmla="*/ 21 h 112"/>
                <a:gd name="T90" fmla="*/ 73 w 146"/>
                <a:gd name="T91" fmla="*/ 16 h 112"/>
                <a:gd name="T92" fmla="*/ 61 w 146"/>
                <a:gd name="T93" fmla="*/ 8 h 112"/>
                <a:gd name="T94" fmla="*/ 57 w 146"/>
                <a:gd name="T95" fmla="*/ 6 h 112"/>
                <a:gd name="T96" fmla="*/ 55 w 146"/>
                <a:gd name="T97" fmla="*/ 5 h 112"/>
                <a:gd name="T98" fmla="*/ 40 w 146"/>
                <a:gd name="T99" fmla="*/ 3 h 1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6" h="112">
                  <a:moveTo>
                    <a:pt x="36" y="0"/>
                  </a:moveTo>
                  <a:cubicBezTo>
                    <a:pt x="33" y="0"/>
                    <a:pt x="33" y="0"/>
                    <a:pt x="33" y="0"/>
                  </a:cubicBezTo>
                  <a:cubicBezTo>
                    <a:pt x="9" y="0"/>
                    <a:pt x="9" y="0"/>
                    <a:pt x="9" y="0"/>
                  </a:cubicBezTo>
                  <a:cubicBezTo>
                    <a:pt x="9" y="0"/>
                    <a:pt x="8" y="0"/>
                    <a:pt x="7" y="1"/>
                  </a:cubicBezTo>
                  <a:cubicBezTo>
                    <a:pt x="7" y="2"/>
                    <a:pt x="7" y="2"/>
                    <a:pt x="6" y="2"/>
                  </a:cubicBezTo>
                  <a:cubicBezTo>
                    <a:pt x="6" y="3"/>
                    <a:pt x="6" y="3"/>
                    <a:pt x="5" y="4"/>
                  </a:cubicBezTo>
                  <a:cubicBezTo>
                    <a:pt x="5" y="4"/>
                    <a:pt x="5" y="4"/>
                    <a:pt x="5" y="4"/>
                  </a:cubicBezTo>
                  <a:cubicBezTo>
                    <a:pt x="3" y="6"/>
                    <a:pt x="3" y="6"/>
                    <a:pt x="3" y="6"/>
                  </a:cubicBezTo>
                  <a:cubicBezTo>
                    <a:pt x="3" y="6"/>
                    <a:pt x="3" y="6"/>
                    <a:pt x="3" y="6"/>
                  </a:cubicBezTo>
                  <a:cubicBezTo>
                    <a:pt x="3" y="7"/>
                    <a:pt x="4" y="7"/>
                    <a:pt x="4" y="8"/>
                  </a:cubicBezTo>
                  <a:cubicBezTo>
                    <a:pt x="4" y="8"/>
                    <a:pt x="4" y="8"/>
                    <a:pt x="4" y="8"/>
                  </a:cubicBezTo>
                  <a:cubicBezTo>
                    <a:pt x="4" y="9"/>
                    <a:pt x="5" y="10"/>
                    <a:pt x="5" y="11"/>
                  </a:cubicBezTo>
                  <a:cubicBezTo>
                    <a:pt x="5" y="12"/>
                    <a:pt x="5" y="12"/>
                    <a:pt x="6" y="12"/>
                  </a:cubicBezTo>
                  <a:cubicBezTo>
                    <a:pt x="6" y="12"/>
                    <a:pt x="6" y="12"/>
                    <a:pt x="6" y="12"/>
                  </a:cubicBezTo>
                  <a:cubicBezTo>
                    <a:pt x="7" y="13"/>
                    <a:pt x="7" y="13"/>
                    <a:pt x="7" y="13"/>
                  </a:cubicBezTo>
                  <a:cubicBezTo>
                    <a:pt x="8" y="13"/>
                    <a:pt x="8" y="13"/>
                    <a:pt x="9" y="13"/>
                  </a:cubicBezTo>
                  <a:cubicBezTo>
                    <a:pt x="9" y="13"/>
                    <a:pt x="9" y="13"/>
                    <a:pt x="9" y="13"/>
                  </a:cubicBezTo>
                  <a:cubicBezTo>
                    <a:pt x="10" y="14"/>
                    <a:pt x="11" y="14"/>
                    <a:pt x="11" y="15"/>
                  </a:cubicBezTo>
                  <a:cubicBezTo>
                    <a:pt x="11" y="15"/>
                    <a:pt x="11" y="15"/>
                    <a:pt x="11" y="15"/>
                  </a:cubicBezTo>
                  <a:cubicBezTo>
                    <a:pt x="12" y="16"/>
                    <a:pt x="12" y="16"/>
                    <a:pt x="12" y="16"/>
                  </a:cubicBezTo>
                  <a:cubicBezTo>
                    <a:pt x="12" y="16"/>
                    <a:pt x="12" y="16"/>
                    <a:pt x="12" y="16"/>
                  </a:cubicBezTo>
                  <a:cubicBezTo>
                    <a:pt x="12" y="18"/>
                    <a:pt x="12" y="21"/>
                    <a:pt x="13" y="23"/>
                  </a:cubicBezTo>
                  <a:cubicBezTo>
                    <a:pt x="13" y="25"/>
                    <a:pt x="13" y="25"/>
                    <a:pt x="13" y="25"/>
                  </a:cubicBezTo>
                  <a:cubicBezTo>
                    <a:pt x="13" y="26"/>
                    <a:pt x="14" y="27"/>
                    <a:pt x="15" y="29"/>
                  </a:cubicBezTo>
                  <a:cubicBezTo>
                    <a:pt x="16" y="30"/>
                    <a:pt x="16" y="30"/>
                    <a:pt x="16" y="30"/>
                  </a:cubicBezTo>
                  <a:cubicBezTo>
                    <a:pt x="16" y="30"/>
                    <a:pt x="17" y="31"/>
                    <a:pt x="17" y="31"/>
                  </a:cubicBezTo>
                  <a:cubicBezTo>
                    <a:pt x="19" y="34"/>
                    <a:pt x="21" y="36"/>
                    <a:pt x="21" y="38"/>
                  </a:cubicBezTo>
                  <a:cubicBezTo>
                    <a:pt x="20" y="41"/>
                    <a:pt x="21" y="43"/>
                    <a:pt x="21" y="46"/>
                  </a:cubicBezTo>
                  <a:cubicBezTo>
                    <a:pt x="26" y="45"/>
                    <a:pt x="26" y="45"/>
                    <a:pt x="26" y="45"/>
                  </a:cubicBezTo>
                  <a:cubicBezTo>
                    <a:pt x="22" y="48"/>
                    <a:pt x="22" y="48"/>
                    <a:pt x="22" y="48"/>
                  </a:cubicBezTo>
                  <a:cubicBezTo>
                    <a:pt x="22" y="48"/>
                    <a:pt x="22" y="48"/>
                    <a:pt x="22" y="48"/>
                  </a:cubicBezTo>
                  <a:cubicBezTo>
                    <a:pt x="22" y="48"/>
                    <a:pt x="22" y="48"/>
                    <a:pt x="22" y="48"/>
                  </a:cubicBezTo>
                  <a:cubicBezTo>
                    <a:pt x="22" y="48"/>
                    <a:pt x="22" y="48"/>
                    <a:pt x="22" y="48"/>
                  </a:cubicBezTo>
                  <a:cubicBezTo>
                    <a:pt x="22" y="50"/>
                    <a:pt x="21" y="53"/>
                    <a:pt x="20" y="56"/>
                  </a:cubicBezTo>
                  <a:cubicBezTo>
                    <a:pt x="19" y="57"/>
                    <a:pt x="19" y="57"/>
                    <a:pt x="19" y="57"/>
                  </a:cubicBezTo>
                  <a:cubicBezTo>
                    <a:pt x="19" y="58"/>
                    <a:pt x="19" y="58"/>
                    <a:pt x="18" y="58"/>
                  </a:cubicBezTo>
                  <a:cubicBezTo>
                    <a:pt x="18" y="59"/>
                    <a:pt x="18" y="59"/>
                    <a:pt x="18" y="60"/>
                  </a:cubicBezTo>
                  <a:cubicBezTo>
                    <a:pt x="18" y="60"/>
                    <a:pt x="18" y="60"/>
                    <a:pt x="18" y="60"/>
                  </a:cubicBezTo>
                  <a:cubicBezTo>
                    <a:pt x="18" y="60"/>
                    <a:pt x="18" y="60"/>
                    <a:pt x="18" y="60"/>
                  </a:cubicBezTo>
                  <a:cubicBezTo>
                    <a:pt x="18" y="61"/>
                    <a:pt x="19" y="62"/>
                    <a:pt x="18" y="64"/>
                  </a:cubicBezTo>
                  <a:cubicBezTo>
                    <a:pt x="17" y="65"/>
                    <a:pt x="15" y="65"/>
                    <a:pt x="14" y="66"/>
                  </a:cubicBezTo>
                  <a:cubicBezTo>
                    <a:pt x="14" y="66"/>
                    <a:pt x="14" y="66"/>
                    <a:pt x="14" y="66"/>
                  </a:cubicBezTo>
                  <a:cubicBezTo>
                    <a:pt x="13" y="68"/>
                    <a:pt x="13" y="68"/>
                    <a:pt x="13" y="68"/>
                  </a:cubicBezTo>
                  <a:cubicBezTo>
                    <a:pt x="11" y="67"/>
                    <a:pt x="11" y="67"/>
                    <a:pt x="11" y="67"/>
                  </a:cubicBezTo>
                  <a:cubicBezTo>
                    <a:pt x="11" y="68"/>
                    <a:pt x="11" y="68"/>
                    <a:pt x="11" y="68"/>
                  </a:cubicBezTo>
                  <a:cubicBezTo>
                    <a:pt x="11" y="68"/>
                    <a:pt x="10" y="69"/>
                    <a:pt x="10" y="70"/>
                  </a:cubicBezTo>
                  <a:cubicBezTo>
                    <a:pt x="9" y="71"/>
                    <a:pt x="9" y="71"/>
                    <a:pt x="9" y="71"/>
                  </a:cubicBezTo>
                  <a:cubicBezTo>
                    <a:pt x="9" y="71"/>
                    <a:pt x="9" y="72"/>
                    <a:pt x="9" y="72"/>
                  </a:cubicBezTo>
                  <a:cubicBezTo>
                    <a:pt x="8" y="73"/>
                    <a:pt x="8" y="73"/>
                    <a:pt x="7" y="74"/>
                  </a:cubicBezTo>
                  <a:cubicBezTo>
                    <a:pt x="7" y="74"/>
                    <a:pt x="7" y="74"/>
                    <a:pt x="7" y="74"/>
                  </a:cubicBezTo>
                  <a:cubicBezTo>
                    <a:pt x="6" y="75"/>
                    <a:pt x="5" y="76"/>
                    <a:pt x="5" y="78"/>
                  </a:cubicBezTo>
                  <a:cubicBezTo>
                    <a:pt x="4" y="78"/>
                    <a:pt x="4" y="78"/>
                    <a:pt x="4" y="79"/>
                  </a:cubicBezTo>
                  <a:cubicBezTo>
                    <a:pt x="4" y="79"/>
                    <a:pt x="3" y="80"/>
                    <a:pt x="3" y="81"/>
                  </a:cubicBezTo>
                  <a:cubicBezTo>
                    <a:pt x="3" y="82"/>
                    <a:pt x="3" y="82"/>
                    <a:pt x="3" y="82"/>
                  </a:cubicBezTo>
                  <a:cubicBezTo>
                    <a:pt x="3" y="82"/>
                    <a:pt x="3" y="82"/>
                    <a:pt x="2" y="83"/>
                  </a:cubicBezTo>
                  <a:cubicBezTo>
                    <a:pt x="2" y="84"/>
                    <a:pt x="2" y="84"/>
                    <a:pt x="2" y="84"/>
                  </a:cubicBezTo>
                  <a:cubicBezTo>
                    <a:pt x="1" y="84"/>
                    <a:pt x="1" y="84"/>
                    <a:pt x="1" y="84"/>
                  </a:cubicBezTo>
                  <a:cubicBezTo>
                    <a:pt x="1" y="85"/>
                    <a:pt x="1" y="85"/>
                    <a:pt x="1" y="85"/>
                  </a:cubicBezTo>
                  <a:cubicBezTo>
                    <a:pt x="0" y="85"/>
                    <a:pt x="0" y="85"/>
                    <a:pt x="0" y="85"/>
                  </a:cubicBezTo>
                  <a:cubicBezTo>
                    <a:pt x="0" y="85"/>
                    <a:pt x="0" y="86"/>
                    <a:pt x="1" y="86"/>
                  </a:cubicBezTo>
                  <a:cubicBezTo>
                    <a:pt x="2" y="88"/>
                    <a:pt x="3" y="90"/>
                    <a:pt x="5" y="92"/>
                  </a:cubicBezTo>
                  <a:cubicBezTo>
                    <a:pt x="5" y="92"/>
                    <a:pt x="5" y="93"/>
                    <a:pt x="6" y="93"/>
                  </a:cubicBezTo>
                  <a:cubicBezTo>
                    <a:pt x="6" y="93"/>
                    <a:pt x="6" y="93"/>
                    <a:pt x="6" y="92"/>
                  </a:cubicBezTo>
                  <a:cubicBezTo>
                    <a:pt x="8" y="91"/>
                    <a:pt x="7" y="90"/>
                    <a:pt x="7" y="90"/>
                  </a:cubicBezTo>
                  <a:cubicBezTo>
                    <a:pt x="7" y="89"/>
                    <a:pt x="13" y="88"/>
                    <a:pt x="14" y="88"/>
                  </a:cubicBezTo>
                  <a:cubicBezTo>
                    <a:pt x="14" y="89"/>
                    <a:pt x="17" y="90"/>
                    <a:pt x="17" y="91"/>
                  </a:cubicBezTo>
                  <a:cubicBezTo>
                    <a:pt x="17" y="92"/>
                    <a:pt x="16" y="92"/>
                    <a:pt x="16" y="92"/>
                  </a:cubicBezTo>
                  <a:cubicBezTo>
                    <a:pt x="16" y="92"/>
                    <a:pt x="16" y="92"/>
                    <a:pt x="16" y="91"/>
                  </a:cubicBezTo>
                  <a:cubicBezTo>
                    <a:pt x="15" y="91"/>
                    <a:pt x="15" y="91"/>
                    <a:pt x="15" y="91"/>
                  </a:cubicBezTo>
                  <a:cubicBezTo>
                    <a:pt x="15" y="91"/>
                    <a:pt x="15" y="91"/>
                    <a:pt x="15" y="91"/>
                  </a:cubicBezTo>
                  <a:cubicBezTo>
                    <a:pt x="14" y="92"/>
                    <a:pt x="15" y="92"/>
                    <a:pt x="13" y="92"/>
                  </a:cubicBezTo>
                  <a:cubicBezTo>
                    <a:pt x="13" y="92"/>
                    <a:pt x="13" y="92"/>
                    <a:pt x="13" y="92"/>
                  </a:cubicBezTo>
                  <a:cubicBezTo>
                    <a:pt x="13" y="92"/>
                    <a:pt x="13" y="92"/>
                    <a:pt x="12" y="92"/>
                  </a:cubicBezTo>
                  <a:cubicBezTo>
                    <a:pt x="12" y="92"/>
                    <a:pt x="12" y="92"/>
                    <a:pt x="12" y="92"/>
                  </a:cubicBezTo>
                  <a:cubicBezTo>
                    <a:pt x="12" y="92"/>
                    <a:pt x="12" y="92"/>
                    <a:pt x="11" y="92"/>
                  </a:cubicBezTo>
                  <a:cubicBezTo>
                    <a:pt x="11" y="92"/>
                    <a:pt x="11" y="92"/>
                    <a:pt x="11" y="92"/>
                  </a:cubicBezTo>
                  <a:cubicBezTo>
                    <a:pt x="11" y="92"/>
                    <a:pt x="11" y="92"/>
                    <a:pt x="11" y="92"/>
                  </a:cubicBezTo>
                  <a:cubicBezTo>
                    <a:pt x="11" y="92"/>
                    <a:pt x="10" y="92"/>
                    <a:pt x="10" y="92"/>
                  </a:cubicBezTo>
                  <a:cubicBezTo>
                    <a:pt x="10" y="92"/>
                    <a:pt x="10" y="92"/>
                    <a:pt x="10" y="93"/>
                  </a:cubicBezTo>
                  <a:cubicBezTo>
                    <a:pt x="10" y="94"/>
                    <a:pt x="10" y="95"/>
                    <a:pt x="9" y="95"/>
                  </a:cubicBezTo>
                  <a:cubicBezTo>
                    <a:pt x="9" y="95"/>
                    <a:pt x="9" y="96"/>
                    <a:pt x="9" y="96"/>
                  </a:cubicBezTo>
                  <a:cubicBezTo>
                    <a:pt x="8" y="96"/>
                    <a:pt x="8" y="94"/>
                    <a:pt x="8" y="94"/>
                  </a:cubicBezTo>
                  <a:cubicBezTo>
                    <a:pt x="8" y="94"/>
                    <a:pt x="8" y="94"/>
                    <a:pt x="7" y="94"/>
                  </a:cubicBezTo>
                  <a:cubicBezTo>
                    <a:pt x="7" y="94"/>
                    <a:pt x="7" y="94"/>
                    <a:pt x="7" y="94"/>
                  </a:cubicBezTo>
                  <a:cubicBezTo>
                    <a:pt x="7" y="94"/>
                    <a:pt x="7" y="95"/>
                    <a:pt x="7" y="95"/>
                  </a:cubicBezTo>
                  <a:cubicBezTo>
                    <a:pt x="7" y="95"/>
                    <a:pt x="7" y="95"/>
                    <a:pt x="6" y="94"/>
                  </a:cubicBezTo>
                  <a:cubicBezTo>
                    <a:pt x="6" y="95"/>
                    <a:pt x="6" y="95"/>
                    <a:pt x="6" y="95"/>
                  </a:cubicBezTo>
                  <a:cubicBezTo>
                    <a:pt x="6" y="95"/>
                    <a:pt x="6" y="94"/>
                    <a:pt x="6" y="94"/>
                  </a:cubicBezTo>
                  <a:cubicBezTo>
                    <a:pt x="5" y="94"/>
                    <a:pt x="5" y="94"/>
                    <a:pt x="5" y="94"/>
                  </a:cubicBezTo>
                  <a:cubicBezTo>
                    <a:pt x="5" y="94"/>
                    <a:pt x="5" y="94"/>
                    <a:pt x="5" y="94"/>
                  </a:cubicBezTo>
                  <a:cubicBezTo>
                    <a:pt x="4" y="94"/>
                    <a:pt x="4" y="94"/>
                    <a:pt x="4" y="95"/>
                  </a:cubicBezTo>
                  <a:cubicBezTo>
                    <a:pt x="3" y="96"/>
                    <a:pt x="1" y="99"/>
                    <a:pt x="1" y="100"/>
                  </a:cubicBezTo>
                  <a:cubicBezTo>
                    <a:pt x="2" y="101"/>
                    <a:pt x="4" y="101"/>
                    <a:pt x="4" y="103"/>
                  </a:cubicBezTo>
                  <a:cubicBezTo>
                    <a:pt x="4" y="103"/>
                    <a:pt x="3" y="103"/>
                    <a:pt x="3" y="104"/>
                  </a:cubicBezTo>
                  <a:cubicBezTo>
                    <a:pt x="8" y="106"/>
                    <a:pt x="13" y="109"/>
                    <a:pt x="18" y="112"/>
                  </a:cubicBezTo>
                  <a:cubicBezTo>
                    <a:pt x="137" y="112"/>
                    <a:pt x="137" y="112"/>
                    <a:pt x="137" y="112"/>
                  </a:cubicBezTo>
                  <a:cubicBezTo>
                    <a:pt x="136" y="110"/>
                    <a:pt x="135" y="108"/>
                    <a:pt x="134" y="106"/>
                  </a:cubicBezTo>
                  <a:cubicBezTo>
                    <a:pt x="133" y="105"/>
                    <a:pt x="132" y="104"/>
                    <a:pt x="132" y="103"/>
                  </a:cubicBezTo>
                  <a:cubicBezTo>
                    <a:pt x="131" y="100"/>
                    <a:pt x="131" y="96"/>
                    <a:pt x="131" y="93"/>
                  </a:cubicBezTo>
                  <a:cubicBezTo>
                    <a:pt x="131" y="92"/>
                    <a:pt x="131" y="92"/>
                    <a:pt x="131" y="92"/>
                  </a:cubicBezTo>
                  <a:cubicBezTo>
                    <a:pt x="131" y="91"/>
                    <a:pt x="131" y="90"/>
                    <a:pt x="131" y="89"/>
                  </a:cubicBezTo>
                  <a:cubicBezTo>
                    <a:pt x="131" y="82"/>
                    <a:pt x="131" y="75"/>
                    <a:pt x="131" y="68"/>
                  </a:cubicBezTo>
                  <a:cubicBezTo>
                    <a:pt x="131" y="66"/>
                    <a:pt x="131" y="66"/>
                    <a:pt x="131" y="66"/>
                  </a:cubicBezTo>
                  <a:cubicBezTo>
                    <a:pt x="131" y="59"/>
                    <a:pt x="131" y="53"/>
                    <a:pt x="131" y="47"/>
                  </a:cubicBezTo>
                  <a:cubicBezTo>
                    <a:pt x="131" y="38"/>
                    <a:pt x="131" y="38"/>
                    <a:pt x="131" y="38"/>
                  </a:cubicBezTo>
                  <a:cubicBezTo>
                    <a:pt x="131" y="38"/>
                    <a:pt x="131" y="37"/>
                    <a:pt x="131" y="37"/>
                  </a:cubicBezTo>
                  <a:cubicBezTo>
                    <a:pt x="131" y="34"/>
                    <a:pt x="131" y="32"/>
                    <a:pt x="132" y="30"/>
                  </a:cubicBezTo>
                  <a:cubicBezTo>
                    <a:pt x="132" y="29"/>
                    <a:pt x="132" y="29"/>
                    <a:pt x="132" y="29"/>
                  </a:cubicBezTo>
                  <a:cubicBezTo>
                    <a:pt x="133" y="29"/>
                    <a:pt x="134" y="28"/>
                    <a:pt x="134" y="27"/>
                  </a:cubicBezTo>
                  <a:cubicBezTo>
                    <a:pt x="135" y="26"/>
                    <a:pt x="135" y="26"/>
                    <a:pt x="135" y="26"/>
                  </a:cubicBezTo>
                  <a:cubicBezTo>
                    <a:pt x="132" y="23"/>
                    <a:pt x="132" y="23"/>
                    <a:pt x="132" y="23"/>
                  </a:cubicBezTo>
                  <a:cubicBezTo>
                    <a:pt x="136" y="25"/>
                    <a:pt x="136" y="25"/>
                    <a:pt x="136" y="25"/>
                  </a:cubicBezTo>
                  <a:cubicBezTo>
                    <a:pt x="138" y="22"/>
                    <a:pt x="138" y="22"/>
                    <a:pt x="138" y="22"/>
                  </a:cubicBezTo>
                  <a:cubicBezTo>
                    <a:pt x="138" y="22"/>
                    <a:pt x="142" y="17"/>
                    <a:pt x="146" y="13"/>
                  </a:cubicBezTo>
                  <a:cubicBezTo>
                    <a:pt x="144" y="13"/>
                    <a:pt x="143" y="13"/>
                    <a:pt x="141" y="13"/>
                  </a:cubicBezTo>
                  <a:cubicBezTo>
                    <a:pt x="141" y="13"/>
                    <a:pt x="140" y="13"/>
                    <a:pt x="140" y="13"/>
                  </a:cubicBezTo>
                  <a:cubicBezTo>
                    <a:pt x="139" y="13"/>
                    <a:pt x="139" y="13"/>
                    <a:pt x="139" y="13"/>
                  </a:cubicBezTo>
                  <a:cubicBezTo>
                    <a:pt x="138" y="13"/>
                    <a:pt x="138" y="13"/>
                    <a:pt x="137" y="13"/>
                  </a:cubicBezTo>
                  <a:cubicBezTo>
                    <a:pt x="137" y="13"/>
                    <a:pt x="136" y="12"/>
                    <a:pt x="135" y="12"/>
                  </a:cubicBezTo>
                  <a:cubicBezTo>
                    <a:pt x="134" y="11"/>
                    <a:pt x="132" y="9"/>
                    <a:pt x="130" y="8"/>
                  </a:cubicBezTo>
                  <a:cubicBezTo>
                    <a:pt x="129" y="7"/>
                    <a:pt x="129" y="7"/>
                    <a:pt x="129" y="7"/>
                  </a:cubicBezTo>
                  <a:cubicBezTo>
                    <a:pt x="115" y="13"/>
                    <a:pt x="115" y="13"/>
                    <a:pt x="115" y="13"/>
                  </a:cubicBezTo>
                  <a:cubicBezTo>
                    <a:pt x="114" y="14"/>
                    <a:pt x="113" y="16"/>
                    <a:pt x="112" y="17"/>
                  </a:cubicBezTo>
                  <a:cubicBezTo>
                    <a:pt x="111" y="19"/>
                    <a:pt x="109" y="21"/>
                    <a:pt x="107" y="22"/>
                  </a:cubicBezTo>
                  <a:cubicBezTo>
                    <a:pt x="107" y="23"/>
                    <a:pt x="107" y="23"/>
                    <a:pt x="107" y="23"/>
                  </a:cubicBezTo>
                  <a:cubicBezTo>
                    <a:pt x="106" y="23"/>
                    <a:pt x="106" y="23"/>
                    <a:pt x="106" y="23"/>
                  </a:cubicBezTo>
                  <a:cubicBezTo>
                    <a:pt x="106" y="23"/>
                    <a:pt x="106" y="23"/>
                    <a:pt x="105" y="23"/>
                  </a:cubicBezTo>
                  <a:cubicBezTo>
                    <a:pt x="104" y="23"/>
                    <a:pt x="104" y="23"/>
                    <a:pt x="104" y="23"/>
                  </a:cubicBezTo>
                  <a:cubicBezTo>
                    <a:pt x="104" y="23"/>
                    <a:pt x="104" y="23"/>
                    <a:pt x="104" y="23"/>
                  </a:cubicBezTo>
                  <a:cubicBezTo>
                    <a:pt x="103" y="23"/>
                    <a:pt x="103" y="23"/>
                    <a:pt x="103" y="23"/>
                  </a:cubicBezTo>
                  <a:cubicBezTo>
                    <a:pt x="103" y="22"/>
                    <a:pt x="103" y="22"/>
                    <a:pt x="103" y="22"/>
                  </a:cubicBezTo>
                  <a:cubicBezTo>
                    <a:pt x="101" y="22"/>
                    <a:pt x="98" y="22"/>
                    <a:pt x="96" y="21"/>
                  </a:cubicBezTo>
                  <a:cubicBezTo>
                    <a:pt x="93" y="21"/>
                    <a:pt x="93" y="21"/>
                    <a:pt x="93" y="21"/>
                  </a:cubicBezTo>
                  <a:cubicBezTo>
                    <a:pt x="93" y="21"/>
                    <a:pt x="92" y="21"/>
                    <a:pt x="92" y="21"/>
                  </a:cubicBezTo>
                  <a:cubicBezTo>
                    <a:pt x="91" y="21"/>
                    <a:pt x="91" y="21"/>
                    <a:pt x="91" y="21"/>
                  </a:cubicBezTo>
                  <a:cubicBezTo>
                    <a:pt x="86" y="21"/>
                    <a:pt x="80" y="20"/>
                    <a:pt x="77" y="18"/>
                  </a:cubicBezTo>
                  <a:cubicBezTo>
                    <a:pt x="76" y="17"/>
                    <a:pt x="75" y="17"/>
                    <a:pt x="74" y="16"/>
                  </a:cubicBezTo>
                  <a:cubicBezTo>
                    <a:pt x="73" y="16"/>
                    <a:pt x="73" y="16"/>
                    <a:pt x="73" y="16"/>
                  </a:cubicBezTo>
                  <a:cubicBezTo>
                    <a:pt x="71" y="14"/>
                    <a:pt x="69" y="12"/>
                    <a:pt x="66" y="11"/>
                  </a:cubicBezTo>
                  <a:cubicBezTo>
                    <a:pt x="65" y="10"/>
                    <a:pt x="65" y="10"/>
                    <a:pt x="65" y="10"/>
                  </a:cubicBezTo>
                  <a:cubicBezTo>
                    <a:pt x="63" y="10"/>
                    <a:pt x="62" y="9"/>
                    <a:pt x="61" y="8"/>
                  </a:cubicBezTo>
                  <a:cubicBezTo>
                    <a:pt x="60" y="8"/>
                    <a:pt x="60" y="8"/>
                    <a:pt x="60" y="8"/>
                  </a:cubicBezTo>
                  <a:cubicBezTo>
                    <a:pt x="59" y="7"/>
                    <a:pt x="58" y="7"/>
                    <a:pt x="57" y="6"/>
                  </a:cubicBezTo>
                  <a:cubicBezTo>
                    <a:pt x="57" y="6"/>
                    <a:pt x="57" y="6"/>
                    <a:pt x="57" y="6"/>
                  </a:cubicBezTo>
                  <a:cubicBezTo>
                    <a:pt x="56" y="5"/>
                    <a:pt x="56" y="5"/>
                    <a:pt x="56" y="5"/>
                  </a:cubicBezTo>
                  <a:cubicBezTo>
                    <a:pt x="56" y="5"/>
                    <a:pt x="56" y="5"/>
                    <a:pt x="56" y="5"/>
                  </a:cubicBezTo>
                  <a:cubicBezTo>
                    <a:pt x="55" y="5"/>
                    <a:pt x="55" y="5"/>
                    <a:pt x="55" y="5"/>
                  </a:cubicBezTo>
                  <a:cubicBezTo>
                    <a:pt x="54" y="4"/>
                    <a:pt x="53" y="4"/>
                    <a:pt x="53" y="4"/>
                  </a:cubicBezTo>
                  <a:cubicBezTo>
                    <a:pt x="52" y="4"/>
                    <a:pt x="51" y="3"/>
                    <a:pt x="51" y="3"/>
                  </a:cubicBezTo>
                  <a:cubicBezTo>
                    <a:pt x="40" y="3"/>
                    <a:pt x="40" y="3"/>
                    <a:pt x="40" y="3"/>
                  </a:cubicBezTo>
                  <a:cubicBezTo>
                    <a:pt x="38" y="3"/>
                    <a:pt x="37" y="2"/>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471"/>
            <p:cNvSpPr/>
            <p:nvPr/>
          </p:nvSpPr>
          <p:spPr bwMode="auto">
            <a:xfrm>
              <a:off x="257211" y="3761821"/>
              <a:ext cx="2751" cy="2751"/>
            </a:xfrm>
            <a:custGeom>
              <a:gdLst>
                <a:gd name="T0" fmla="*/ 2 w 2"/>
                <a:gd name="T1" fmla="*/ 0 h 2"/>
                <a:gd name="T2" fmla="*/ 0 w 2"/>
                <a:gd name="T3" fmla="*/ 2 h 2"/>
                <a:gd name="T4" fmla="*/ 0 w 2"/>
                <a:gd name="T5" fmla="*/ 2 h 2"/>
                <a:gd name="T6" fmla="*/ 2 w 2"/>
                <a:gd name="T7" fmla="*/ 0 h 2"/>
                <a:gd name="T8" fmla="*/ 2 w 2"/>
                <a:gd name="T9" fmla="*/ 0 h 2"/>
              </a:gd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472"/>
            <p:cNvSpPr/>
            <p:nvPr/>
          </p:nvSpPr>
          <p:spPr bwMode="auto">
            <a:xfrm>
              <a:off x="257211" y="3761821"/>
              <a:ext cx="2751" cy="2751"/>
            </a:xfrm>
            <a:custGeom>
              <a:gdLst>
                <a:gd name="T0" fmla="*/ 2 w 2"/>
                <a:gd name="T1" fmla="*/ 0 h 2"/>
                <a:gd name="T2" fmla="*/ 0 w 2"/>
                <a:gd name="T3" fmla="*/ 2 h 2"/>
                <a:gd name="T4" fmla="*/ 0 w 2"/>
                <a:gd name="T5" fmla="*/ 2 h 2"/>
                <a:gd name="T6" fmla="*/ 2 w 2"/>
                <a:gd name="T7" fmla="*/ 0 h 2"/>
                <a:gd name="T8" fmla="*/ 2 w 2"/>
                <a:gd name="T9" fmla="*/ 0 h 2"/>
              </a:gd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473"/>
            <p:cNvSpPr/>
            <p:nvPr/>
          </p:nvSpPr>
          <p:spPr bwMode="auto">
            <a:xfrm>
              <a:off x="1" y="3199261"/>
              <a:ext cx="900921" cy="627206"/>
            </a:xfrm>
            <a:custGeom>
              <a:gdLst>
                <a:gd name="T0" fmla="*/ 129 w 277"/>
                <a:gd name="T1" fmla="*/ 6 h 193"/>
                <a:gd name="T2" fmla="*/ 114 w 277"/>
                <a:gd name="T3" fmla="*/ 7 h 193"/>
                <a:gd name="T4" fmla="*/ 106 w 277"/>
                <a:gd name="T5" fmla="*/ 8 h 193"/>
                <a:gd name="T6" fmla="*/ 97 w 277"/>
                <a:gd name="T7" fmla="*/ 16 h 193"/>
                <a:gd name="T8" fmla="*/ 88 w 277"/>
                <a:gd name="T9" fmla="*/ 23 h 193"/>
                <a:gd name="T10" fmla="*/ 70 w 277"/>
                <a:gd name="T11" fmla="*/ 23 h 193"/>
                <a:gd name="T12" fmla="*/ 66 w 277"/>
                <a:gd name="T13" fmla="*/ 19 h 193"/>
                <a:gd name="T14" fmla="*/ 59 w 277"/>
                <a:gd name="T15" fmla="*/ 24 h 193"/>
                <a:gd name="T16" fmla="*/ 33 w 277"/>
                <a:gd name="T17" fmla="*/ 30 h 193"/>
                <a:gd name="T18" fmla="*/ 0 w 277"/>
                <a:gd name="T19" fmla="*/ 108 h 193"/>
                <a:gd name="T20" fmla="*/ 27 w 277"/>
                <a:gd name="T21" fmla="*/ 97 h 193"/>
                <a:gd name="T22" fmla="*/ 39 w 277"/>
                <a:gd name="T23" fmla="*/ 96 h 193"/>
                <a:gd name="T24" fmla="*/ 66 w 277"/>
                <a:gd name="T25" fmla="*/ 107 h 193"/>
                <a:gd name="T26" fmla="*/ 69 w 277"/>
                <a:gd name="T27" fmla="*/ 119 h 193"/>
                <a:gd name="T28" fmla="*/ 78 w 277"/>
                <a:gd name="T29" fmla="*/ 126 h 193"/>
                <a:gd name="T30" fmla="*/ 82 w 277"/>
                <a:gd name="T31" fmla="*/ 134 h 193"/>
                <a:gd name="T32" fmla="*/ 87 w 277"/>
                <a:gd name="T33" fmla="*/ 145 h 193"/>
                <a:gd name="T34" fmla="*/ 81 w 277"/>
                <a:gd name="T35" fmla="*/ 149 h 193"/>
                <a:gd name="T36" fmla="*/ 78 w 277"/>
                <a:gd name="T37" fmla="*/ 148 h 193"/>
                <a:gd name="T38" fmla="*/ 70 w 277"/>
                <a:gd name="T39" fmla="*/ 148 h 193"/>
                <a:gd name="T40" fmla="*/ 66 w 277"/>
                <a:gd name="T41" fmla="*/ 146 h 193"/>
                <a:gd name="T42" fmla="*/ 65 w 277"/>
                <a:gd name="T43" fmla="*/ 155 h 193"/>
                <a:gd name="T44" fmla="*/ 59 w 277"/>
                <a:gd name="T45" fmla="*/ 162 h 193"/>
                <a:gd name="T46" fmla="*/ 56 w 277"/>
                <a:gd name="T47" fmla="*/ 171 h 193"/>
                <a:gd name="T48" fmla="*/ 79 w 277"/>
                <a:gd name="T49" fmla="*/ 170 h 193"/>
                <a:gd name="T50" fmla="*/ 85 w 277"/>
                <a:gd name="T51" fmla="*/ 160 h 193"/>
                <a:gd name="T52" fmla="*/ 88 w 277"/>
                <a:gd name="T53" fmla="*/ 147 h 193"/>
                <a:gd name="T54" fmla="*/ 90 w 277"/>
                <a:gd name="T55" fmla="*/ 147 h 193"/>
                <a:gd name="T56" fmla="*/ 102 w 277"/>
                <a:gd name="T57" fmla="*/ 142 h 193"/>
                <a:gd name="T58" fmla="*/ 111 w 277"/>
                <a:gd name="T59" fmla="*/ 140 h 193"/>
                <a:gd name="T60" fmla="*/ 121 w 277"/>
                <a:gd name="T61" fmla="*/ 134 h 193"/>
                <a:gd name="T62" fmla="*/ 120 w 277"/>
                <a:gd name="T63" fmla="*/ 132 h 193"/>
                <a:gd name="T64" fmla="*/ 119 w 277"/>
                <a:gd name="T65" fmla="*/ 128 h 193"/>
                <a:gd name="T66" fmla="*/ 122 w 277"/>
                <a:gd name="T67" fmla="*/ 135 h 193"/>
                <a:gd name="T68" fmla="*/ 128 w 277"/>
                <a:gd name="T69" fmla="*/ 145 h 193"/>
                <a:gd name="T70" fmla="*/ 117 w 277"/>
                <a:gd name="T71" fmla="*/ 145 h 193"/>
                <a:gd name="T72" fmla="*/ 118 w 277"/>
                <a:gd name="T73" fmla="*/ 148 h 193"/>
                <a:gd name="T74" fmla="*/ 133 w 277"/>
                <a:gd name="T75" fmla="*/ 153 h 193"/>
                <a:gd name="T76" fmla="*/ 149 w 277"/>
                <a:gd name="T77" fmla="*/ 155 h 193"/>
                <a:gd name="T78" fmla="*/ 149 w 277"/>
                <a:gd name="T79" fmla="*/ 160 h 193"/>
                <a:gd name="T80" fmla="*/ 138 w 277"/>
                <a:gd name="T81" fmla="*/ 166 h 193"/>
                <a:gd name="T82" fmla="*/ 152 w 277"/>
                <a:gd name="T83" fmla="*/ 178 h 193"/>
                <a:gd name="T84" fmla="*/ 150 w 277"/>
                <a:gd name="T85" fmla="*/ 191 h 193"/>
                <a:gd name="T86" fmla="*/ 190 w 277"/>
                <a:gd name="T87" fmla="*/ 177 h 193"/>
                <a:gd name="T88" fmla="*/ 203 w 277"/>
                <a:gd name="T89" fmla="*/ 179 h 193"/>
                <a:gd name="T90" fmla="*/ 208 w 277"/>
                <a:gd name="T91" fmla="*/ 171 h 193"/>
                <a:gd name="T92" fmla="*/ 195 w 277"/>
                <a:gd name="T93" fmla="*/ 171 h 193"/>
                <a:gd name="T94" fmla="*/ 176 w 277"/>
                <a:gd name="T95" fmla="*/ 154 h 193"/>
                <a:gd name="T96" fmla="*/ 185 w 277"/>
                <a:gd name="T97" fmla="*/ 147 h 193"/>
                <a:gd name="T98" fmla="*/ 198 w 277"/>
                <a:gd name="T99" fmla="*/ 140 h 193"/>
                <a:gd name="T100" fmla="*/ 213 w 277"/>
                <a:gd name="T101" fmla="*/ 138 h 193"/>
                <a:gd name="T102" fmla="*/ 234 w 277"/>
                <a:gd name="T103" fmla="*/ 130 h 193"/>
                <a:gd name="T104" fmla="*/ 241 w 277"/>
                <a:gd name="T105" fmla="*/ 129 h 193"/>
                <a:gd name="T106" fmla="*/ 266 w 277"/>
                <a:gd name="T107" fmla="*/ 110 h 193"/>
                <a:gd name="T108" fmla="*/ 269 w 277"/>
                <a:gd name="T109" fmla="*/ 95 h 193"/>
                <a:gd name="T110" fmla="*/ 266 w 277"/>
                <a:gd name="T111" fmla="*/ 84 h 193"/>
                <a:gd name="T112" fmla="*/ 263 w 277"/>
                <a:gd name="T113" fmla="*/ 65 h 193"/>
                <a:gd name="T114" fmla="*/ 251 w 277"/>
                <a:gd name="T115" fmla="*/ 62 h 193"/>
                <a:gd name="T116" fmla="*/ 236 w 277"/>
                <a:gd name="T117" fmla="*/ 62 h 193"/>
                <a:gd name="T118" fmla="*/ 197 w 277"/>
                <a:gd name="T119" fmla="*/ 50 h 193"/>
                <a:gd name="T120" fmla="*/ 178 w 277"/>
                <a:gd name="T121" fmla="*/ 30 h 193"/>
                <a:gd name="T122" fmla="*/ 164 w 277"/>
                <a:gd name="T123" fmla="*/ 28 h 193"/>
                <a:gd name="T124" fmla="*/ 161 w 277"/>
                <a:gd name="T125" fmla="*/ 5 h 1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193">
                  <a:moveTo>
                    <a:pt x="154" y="0"/>
                  </a:moveTo>
                  <a:cubicBezTo>
                    <a:pt x="153" y="0"/>
                    <a:pt x="151" y="0"/>
                    <a:pt x="148" y="1"/>
                  </a:cubicBezTo>
                  <a:cubicBezTo>
                    <a:pt x="145" y="1"/>
                    <a:pt x="142" y="2"/>
                    <a:pt x="140" y="2"/>
                  </a:cubicBezTo>
                  <a:cubicBezTo>
                    <a:pt x="138" y="2"/>
                    <a:pt x="136" y="2"/>
                    <a:pt x="135" y="1"/>
                  </a:cubicBezTo>
                  <a:cubicBezTo>
                    <a:pt x="135" y="1"/>
                    <a:pt x="134" y="1"/>
                    <a:pt x="134" y="1"/>
                  </a:cubicBezTo>
                  <a:cubicBezTo>
                    <a:pt x="132" y="1"/>
                    <a:pt x="131" y="3"/>
                    <a:pt x="129" y="5"/>
                  </a:cubicBezTo>
                  <a:cubicBezTo>
                    <a:pt x="129" y="6"/>
                    <a:pt x="129" y="6"/>
                    <a:pt x="129" y="6"/>
                  </a:cubicBezTo>
                  <a:cubicBezTo>
                    <a:pt x="128" y="8"/>
                    <a:pt x="126" y="8"/>
                    <a:pt x="123" y="8"/>
                  </a:cubicBezTo>
                  <a:cubicBezTo>
                    <a:pt x="121" y="8"/>
                    <a:pt x="119" y="8"/>
                    <a:pt x="118" y="7"/>
                  </a:cubicBezTo>
                  <a:cubicBezTo>
                    <a:pt x="117" y="7"/>
                    <a:pt x="117" y="7"/>
                    <a:pt x="117" y="7"/>
                  </a:cubicBezTo>
                  <a:cubicBezTo>
                    <a:pt x="117" y="6"/>
                    <a:pt x="117" y="6"/>
                    <a:pt x="117" y="6"/>
                  </a:cubicBezTo>
                  <a:cubicBezTo>
                    <a:pt x="115" y="7"/>
                    <a:pt x="115" y="7"/>
                    <a:pt x="115" y="7"/>
                  </a:cubicBezTo>
                  <a:cubicBezTo>
                    <a:pt x="115" y="7"/>
                    <a:pt x="115" y="7"/>
                    <a:pt x="115" y="7"/>
                  </a:cubicBezTo>
                  <a:cubicBezTo>
                    <a:pt x="115" y="7"/>
                    <a:pt x="114" y="7"/>
                    <a:pt x="114" y="7"/>
                  </a:cubicBezTo>
                  <a:cubicBezTo>
                    <a:pt x="113" y="7"/>
                    <a:pt x="113" y="6"/>
                    <a:pt x="112" y="6"/>
                  </a:cubicBezTo>
                  <a:cubicBezTo>
                    <a:pt x="112" y="6"/>
                    <a:pt x="112" y="6"/>
                    <a:pt x="112" y="6"/>
                  </a:cubicBezTo>
                  <a:cubicBezTo>
                    <a:pt x="111" y="6"/>
                    <a:pt x="111" y="7"/>
                    <a:pt x="110" y="7"/>
                  </a:cubicBezTo>
                  <a:cubicBezTo>
                    <a:pt x="110" y="7"/>
                    <a:pt x="110" y="7"/>
                    <a:pt x="110" y="7"/>
                  </a:cubicBezTo>
                  <a:cubicBezTo>
                    <a:pt x="109" y="7"/>
                    <a:pt x="109" y="8"/>
                    <a:pt x="108" y="8"/>
                  </a:cubicBezTo>
                  <a:cubicBezTo>
                    <a:pt x="108" y="8"/>
                    <a:pt x="108" y="8"/>
                    <a:pt x="107" y="8"/>
                  </a:cubicBezTo>
                  <a:cubicBezTo>
                    <a:pt x="107" y="8"/>
                    <a:pt x="107" y="8"/>
                    <a:pt x="106" y="8"/>
                  </a:cubicBezTo>
                  <a:cubicBezTo>
                    <a:pt x="105" y="7"/>
                    <a:pt x="105" y="7"/>
                    <a:pt x="105" y="7"/>
                  </a:cubicBezTo>
                  <a:cubicBezTo>
                    <a:pt x="103" y="8"/>
                    <a:pt x="102" y="8"/>
                    <a:pt x="100" y="11"/>
                  </a:cubicBezTo>
                  <a:cubicBezTo>
                    <a:pt x="99" y="13"/>
                    <a:pt x="99" y="13"/>
                    <a:pt x="99" y="13"/>
                  </a:cubicBezTo>
                  <a:cubicBezTo>
                    <a:pt x="98" y="14"/>
                    <a:pt x="98" y="14"/>
                    <a:pt x="98" y="14"/>
                  </a:cubicBezTo>
                  <a:cubicBezTo>
                    <a:pt x="98" y="14"/>
                    <a:pt x="98" y="14"/>
                    <a:pt x="98" y="14"/>
                  </a:cubicBezTo>
                  <a:cubicBezTo>
                    <a:pt x="97" y="15"/>
                    <a:pt x="97" y="15"/>
                    <a:pt x="97" y="15"/>
                  </a:cubicBezTo>
                  <a:cubicBezTo>
                    <a:pt x="97" y="15"/>
                    <a:pt x="97" y="16"/>
                    <a:pt x="97" y="16"/>
                  </a:cubicBezTo>
                  <a:cubicBezTo>
                    <a:pt x="96" y="17"/>
                    <a:pt x="96" y="18"/>
                    <a:pt x="96" y="19"/>
                  </a:cubicBezTo>
                  <a:cubicBezTo>
                    <a:pt x="96" y="20"/>
                    <a:pt x="96" y="21"/>
                    <a:pt x="96" y="21"/>
                  </a:cubicBezTo>
                  <a:cubicBezTo>
                    <a:pt x="97" y="23"/>
                    <a:pt x="97" y="25"/>
                    <a:pt x="96" y="28"/>
                  </a:cubicBezTo>
                  <a:cubicBezTo>
                    <a:pt x="95" y="29"/>
                    <a:pt x="95" y="29"/>
                    <a:pt x="95" y="29"/>
                  </a:cubicBezTo>
                  <a:cubicBezTo>
                    <a:pt x="94" y="28"/>
                    <a:pt x="94" y="28"/>
                    <a:pt x="94" y="28"/>
                  </a:cubicBezTo>
                  <a:cubicBezTo>
                    <a:pt x="93" y="27"/>
                    <a:pt x="92" y="27"/>
                    <a:pt x="92" y="26"/>
                  </a:cubicBezTo>
                  <a:cubicBezTo>
                    <a:pt x="90" y="25"/>
                    <a:pt x="89" y="24"/>
                    <a:pt x="88" y="23"/>
                  </a:cubicBezTo>
                  <a:cubicBezTo>
                    <a:pt x="88" y="23"/>
                    <a:pt x="87" y="23"/>
                    <a:pt x="87" y="23"/>
                  </a:cubicBezTo>
                  <a:cubicBezTo>
                    <a:pt x="85" y="23"/>
                    <a:pt x="83" y="23"/>
                    <a:pt x="80" y="24"/>
                  </a:cubicBezTo>
                  <a:cubicBezTo>
                    <a:pt x="78" y="25"/>
                    <a:pt x="76" y="25"/>
                    <a:pt x="74" y="25"/>
                  </a:cubicBezTo>
                  <a:cubicBezTo>
                    <a:pt x="73" y="25"/>
                    <a:pt x="73" y="25"/>
                    <a:pt x="72" y="25"/>
                  </a:cubicBezTo>
                  <a:cubicBezTo>
                    <a:pt x="71" y="25"/>
                    <a:pt x="71" y="24"/>
                    <a:pt x="70" y="24"/>
                  </a:cubicBezTo>
                  <a:cubicBezTo>
                    <a:pt x="70" y="24"/>
                    <a:pt x="70" y="24"/>
                    <a:pt x="70" y="24"/>
                  </a:cubicBezTo>
                  <a:cubicBezTo>
                    <a:pt x="70" y="23"/>
                    <a:pt x="70" y="23"/>
                    <a:pt x="70" y="23"/>
                  </a:cubicBezTo>
                  <a:cubicBezTo>
                    <a:pt x="70" y="22"/>
                    <a:pt x="70" y="22"/>
                    <a:pt x="70" y="22"/>
                  </a:cubicBezTo>
                  <a:cubicBezTo>
                    <a:pt x="70" y="22"/>
                    <a:pt x="70" y="22"/>
                    <a:pt x="70" y="22"/>
                  </a:cubicBezTo>
                  <a:cubicBezTo>
                    <a:pt x="69" y="23"/>
                    <a:pt x="69" y="23"/>
                    <a:pt x="69" y="23"/>
                  </a:cubicBezTo>
                  <a:cubicBezTo>
                    <a:pt x="69" y="22"/>
                    <a:pt x="69" y="22"/>
                    <a:pt x="68" y="21"/>
                  </a:cubicBezTo>
                  <a:cubicBezTo>
                    <a:pt x="68" y="21"/>
                    <a:pt x="68" y="20"/>
                    <a:pt x="67" y="20"/>
                  </a:cubicBezTo>
                  <a:cubicBezTo>
                    <a:pt x="67" y="19"/>
                    <a:pt x="67" y="19"/>
                    <a:pt x="67" y="19"/>
                  </a:cubicBezTo>
                  <a:cubicBezTo>
                    <a:pt x="66" y="19"/>
                    <a:pt x="66" y="19"/>
                    <a:pt x="66" y="19"/>
                  </a:cubicBezTo>
                  <a:cubicBezTo>
                    <a:pt x="66" y="19"/>
                    <a:pt x="66" y="19"/>
                    <a:pt x="66" y="19"/>
                  </a:cubicBezTo>
                  <a:cubicBezTo>
                    <a:pt x="66" y="19"/>
                    <a:pt x="66" y="19"/>
                    <a:pt x="66" y="19"/>
                  </a:cubicBezTo>
                  <a:cubicBezTo>
                    <a:pt x="65" y="20"/>
                    <a:pt x="65" y="20"/>
                    <a:pt x="65" y="20"/>
                  </a:cubicBezTo>
                  <a:cubicBezTo>
                    <a:pt x="65" y="20"/>
                    <a:pt x="64" y="21"/>
                    <a:pt x="64" y="21"/>
                  </a:cubicBezTo>
                  <a:cubicBezTo>
                    <a:pt x="63" y="21"/>
                    <a:pt x="63" y="21"/>
                    <a:pt x="61" y="24"/>
                  </a:cubicBezTo>
                  <a:cubicBezTo>
                    <a:pt x="61" y="25"/>
                    <a:pt x="61" y="25"/>
                    <a:pt x="61" y="25"/>
                  </a:cubicBezTo>
                  <a:cubicBezTo>
                    <a:pt x="59" y="24"/>
                    <a:pt x="59" y="24"/>
                    <a:pt x="59" y="24"/>
                  </a:cubicBezTo>
                  <a:cubicBezTo>
                    <a:pt x="58" y="23"/>
                    <a:pt x="57" y="23"/>
                    <a:pt x="56" y="23"/>
                  </a:cubicBezTo>
                  <a:cubicBezTo>
                    <a:pt x="54" y="22"/>
                    <a:pt x="52" y="21"/>
                    <a:pt x="51" y="19"/>
                  </a:cubicBezTo>
                  <a:cubicBezTo>
                    <a:pt x="50" y="19"/>
                    <a:pt x="50" y="19"/>
                    <a:pt x="50" y="19"/>
                  </a:cubicBezTo>
                  <a:cubicBezTo>
                    <a:pt x="50" y="19"/>
                    <a:pt x="50" y="19"/>
                    <a:pt x="50" y="19"/>
                  </a:cubicBezTo>
                  <a:cubicBezTo>
                    <a:pt x="49" y="19"/>
                    <a:pt x="48" y="19"/>
                    <a:pt x="47" y="19"/>
                  </a:cubicBezTo>
                  <a:cubicBezTo>
                    <a:pt x="44" y="19"/>
                    <a:pt x="44" y="19"/>
                    <a:pt x="41" y="22"/>
                  </a:cubicBezTo>
                  <a:cubicBezTo>
                    <a:pt x="33" y="30"/>
                    <a:pt x="33" y="30"/>
                    <a:pt x="33" y="30"/>
                  </a:cubicBezTo>
                  <a:cubicBezTo>
                    <a:pt x="39" y="20"/>
                    <a:pt x="39" y="20"/>
                    <a:pt x="39" y="20"/>
                  </a:cubicBezTo>
                  <a:cubicBezTo>
                    <a:pt x="39" y="20"/>
                    <a:pt x="39" y="20"/>
                    <a:pt x="39" y="20"/>
                  </a:cubicBezTo>
                  <a:cubicBezTo>
                    <a:pt x="39" y="19"/>
                    <a:pt x="37" y="19"/>
                    <a:pt x="34" y="18"/>
                  </a:cubicBezTo>
                  <a:cubicBezTo>
                    <a:pt x="33" y="18"/>
                    <a:pt x="33" y="18"/>
                    <a:pt x="32" y="18"/>
                  </a:cubicBezTo>
                  <a:cubicBezTo>
                    <a:pt x="8" y="13"/>
                    <a:pt x="8" y="13"/>
                    <a:pt x="8" y="13"/>
                  </a:cubicBezTo>
                  <a:cubicBezTo>
                    <a:pt x="5" y="13"/>
                    <a:pt x="2" y="12"/>
                    <a:pt x="0" y="12"/>
                  </a:cubicBezTo>
                  <a:cubicBezTo>
                    <a:pt x="0" y="108"/>
                    <a:pt x="0" y="108"/>
                    <a:pt x="0" y="108"/>
                  </a:cubicBezTo>
                  <a:cubicBezTo>
                    <a:pt x="1" y="108"/>
                    <a:pt x="1" y="108"/>
                    <a:pt x="2" y="108"/>
                  </a:cubicBezTo>
                  <a:cubicBezTo>
                    <a:pt x="4" y="108"/>
                    <a:pt x="7" y="107"/>
                    <a:pt x="9" y="107"/>
                  </a:cubicBezTo>
                  <a:cubicBezTo>
                    <a:pt x="10" y="106"/>
                    <a:pt x="10" y="106"/>
                    <a:pt x="10" y="106"/>
                  </a:cubicBezTo>
                  <a:cubicBezTo>
                    <a:pt x="19" y="101"/>
                    <a:pt x="19" y="101"/>
                    <a:pt x="19" y="101"/>
                  </a:cubicBezTo>
                  <a:cubicBezTo>
                    <a:pt x="20" y="99"/>
                    <a:pt x="20" y="99"/>
                    <a:pt x="20" y="99"/>
                  </a:cubicBezTo>
                  <a:cubicBezTo>
                    <a:pt x="22" y="98"/>
                    <a:pt x="23" y="97"/>
                    <a:pt x="25" y="97"/>
                  </a:cubicBezTo>
                  <a:cubicBezTo>
                    <a:pt x="25" y="97"/>
                    <a:pt x="26" y="97"/>
                    <a:pt x="27" y="97"/>
                  </a:cubicBezTo>
                  <a:cubicBezTo>
                    <a:pt x="27" y="97"/>
                    <a:pt x="28" y="97"/>
                    <a:pt x="29" y="97"/>
                  </a:cubicBezTo>
                  <a:cubicBezTo>
                    <a:pt x="29" y="97"/>
                    <a:pt x="30" y="97"/>
                    <a:pt x="30" y="97"/>
                  </a:cubicBezTo>
                  <a:cubicBezTo>
                    <a:pt x="32" y="97"/>
                    <a:pt x="34" y="96"/>
                    <a:pt x="36" y="95"/>
                  </a:cubicBezTo>
                  <a:cubicBezTo>
                    <a:pt x="37" y="95"/>
                    <a:pt x="37" y="95"/>
                    <a:pt x="37" y="95"/>
                  </a:cubicBezTo>
                  <a:cubicBezTo>
                    <a:pt x="37" y="95"/>
                    <a:pt x="37" y="95"/>
                    <a:pt x="37" y="95"/>
                  </a:cubicBezTo>
                  <a:cubicBezTo>
                    <a:pt x="38" y="95"/>
                    <a:pt x="38" y="95"/>
                    <a:pt x="39" y="95"/>
                  </a:cubicBezTo>
                  <a:cubicBezTo>
                    <a:pt x="39" y="96"/>
                    <a:pt x="39" y="96"/>
                    <a:pt x="39" y="96"/>
                  </a:cubicBezTo>
                  <a:cubicBezTo>
                    <a:pt x="40" y="96"/>
                    <a:pt x="40" y="96"/>
                    <a:pt x="41" y="96"/>
                  </a:cubicBezTo>
                  <a:cubicBezTo>
                    <a:pt x="45" y="97"/>
                    <a:pt x="48" y="99"/>
                    <a:pt x="52" y="101"/>
                  </a:cubicBezTo>
                  <a:cubicBezTo>
                    <a:pt x="53" y="101"/>
                    <a:pt x="53" y="102"/>
                    <a:pt x="54" y="102"/>
                  </a:cubicBezTo>
                  <a:cubicBezTo>
                    <a:pt x="56" y="103"/>
                    <a:pt x="57" y="104"/>
                    <a:pt x="59" y="104"/>
                  </a:cubicBezTo>
                  <a:cubicBezTo>
                    <a:pt x="59" y="104"/>
                    <a:pt x="60" y="105"/>
                    <a:pt x="61" y="105"/>
                  </a:cubicBezTo>
                  <a:cubicBezTo>
                    <a:pt x="62" y="106"/>
                    <a:pt x="62" y="106"/>
                    <a:pt x="62" y="106"/>
                  </a:cubicBezTo>
                  <a:cubicBezTo>
                    <a:pt x="63" y="106"/>
                    <a:pt x="65" y="107"/>
                    <a:pt x="66" y="107"/>
                  </a:cubicBezTo>
                  <a:cubicBezTo>
                    <a:pt x="66" y="107"/>
                    <a:pt x="66" y="107"/>
                    <a:pt x="66" y="107"/>
                  </a:cubicBezTo>
                  <a:cubicBezTo>
                    <a:pt x="66" y="107"/>
                    <a:pt x="67" y="106"/>
                    <a:pt x="67" y="106"/>
                  </a:cubicBezTo>
                  <a:cubicBezTo>
                    <a:pt x="68" y="106"/>
                    <a:pt x="68" y="107"/>
                    <a:pt x="68" y="107"/>
                  </a:cubicBezTo>
                  <a:cubicBezTo>
                    <a:pt x="70" y="107"/>
                    <a:pt x="70" y="108"/>
                    <a:pt x="70" y="109"/>
                  </a:cubicBezTo>
                  <a:cubicBezTo>
                    <a:pt x="71" y="109"/>
                    <a:pt x="71" y="109"/>
                    <a:pt x="71" y="110"/>
                  </a:cubicBezTo>
                  <a:cubicBezTo>
                    <a:pt x="72" y="113"/>
                    <a:pt x="71" y="116"/>
                    <a:pt x="70" y="117"/>
                  </a:cubicBezTo>
                  <a:cubicBezTo>
                    <a:pt x="70" y="118"/>
                    <a:pt x="70" y="118"/>
                    <a:pt x="69" y="119"/>
                  </a:cubicBezTo>
                  <a:cubicBezTo>
                    <a:pt x="70" y="119"/>
                    <a:pt x="70" y="120"/>
                    <a:pt x="71" y="121"/>
                  </a:cubicBezTo>
                  <a:cubicBezTo>
                    <a:pt x="72" y="121"/>
                    <a:pt x="73" y="122"/>
                    <a:pt x="73" y="123"/>
                  </a:cubicBezTo>
                  <a:cubicBezTo>
                    <a:pt x="74" y="122"/>
                    <a:pt x="74" y="122"/>
                    <a:pt x="74" y="122"/>
                  </a:cubicBezTo>
                  <a:cubicBezTo>
                    <a:pt x="74" y="122"/>
                    <a:pt x="75" y="122"/>
                    <a:pt x="75" y="122"/>
                  </a:cubicBezTo>
                  <a:cubicBezTo>
                    <a:pt x="75" y="122"/>
                    <a:pt x="75" y="122"/>
                    <a:pt x="75" y="122"/>
                  </a:cubicBezTo>
                  <a:cubicBezTo>
                    <a:pt x="76" y="122"/>
                    <a:pt x="76" y="122"/>
                    <a:pt x="76" y="122"/>
                  </a:cubicBezTo>
                  <a:cubicBezTo>
                    <a:pt x="77" y="123"/>
                    <a:pt x="78" y="124"/>
                    <a:pt x="78" y="126"/>
                  </a:cubicBezTo>
                  <a:cubicBezTo>
                    <a:pt x="78" y="127"/>
                    <a:pt x="77" y="128"/>
                    <a:pt x="77" y="129"/>
                  </a:cubicBezTo>
                  <a:cubicBezTo>
                    <a:pt x="77" y="129"/>
                    <a:pt x="77" y="129"/>
                    <a:pt x="77" y="129"/>
                  </a:cubicBezTo>
                  <a:cubicBezTo>
                    <a:pt x="78" y="131"/>
                    <a:pt x="79" y="132"/>
                    <a:pt x="81" y="133"/>
                  </a:cubicBezTo>
                  <a:cubicBezTo>
                    <a:pt x="80" y="135"/>
                    <a:pt x="80" y="135"/>
                    <a:pt x="80" y="135"/>
                  </a:cubicBezTo>
                  <a:cubicBezTo>
                    <a:pt x="81" y="134"/>
                    <a:pt x="81" y="134"/>
                    <a:pt x="81" y="134"/>
                  </a:cubicBezTo>
                  <a:cubicBezTo>
                    <a:pt x="81" y="134"/>
                    <a:pt x="81" y="134"/>
                    <a:pt x="81" y="134"/>
                  </a:cubicBezTo>
                  <a:cubicBezTo>
                    <a:pt x="82" y="134"/>
                    <a:pt x="82" y="134"/>
                    <a:pt x="82" y="134"/>
                  </a:cubicBezTo>
                  <a:cubicBezTo>
                    <a:pt x="83" y="134"/>
                    <a:pt x="83" y="134"/>
                    <a:pt x="83" y="134"/>
                  </a:cubicBezTo>
                  <a:cubicBezTo>
                    <a:pt x="83" y="134"/>
                    <a:pt x="83" y="134"/>
                    <a:pt x="83" y="134"/>
                  </a:cubicBezTo>
                  <a:cubicBezTo>
                    <a:pt x="84" y="135"/>
                    <a:pt x="84" y="135"/>
                    <a:pt x="84" y="136"/>
                  </a:cubicBezTo>
                  <a:cubicBezTo>
                    <a:pt x="85" y="138"/>
                    <a:pt x="85" y="140"/>
                    <a:pt x="84" y="141"/>
                  </a:cubicBezTo>
                  <a:cubicBezTo>
                    <a:pt x="84" y="142"/>
                    <a:pt x="84" y="142"/>
                    <a:pt x="85" y="143"/>
                  </a:cubicBezTo>
                  <a:cubicBezTo>
                    <a:pt x="85" y="143"/>
                    <a:pt x="85" y="143"/>
                    <a:pt x="85" y="143"/>
                  </a:cubicBezTo>
                  <a:cubicBezTo>
                    <a:pt x="87" y="144"/>
                    <a:pt x="87" y="144"/>
                    <a:pt x="87" y="145"/>
                  </a:cubicBezTo>
                  <a:cubicBezTo>
                    <a:pt x="88" y="145"/>
                    <a:pt x="88" y="145"/>
                    <a:pt x="88" y="145"/>
                  </a:cubicBezTo>
                  <a:cubicBezTo>
                    <a:pt x="88" y="146"/>
                    <a:pt x="88" y="146"/>
                    <a:pt x="88" y="146"/>
                  </a:cubicBezTo>
                  <a:cubicBezTo>
                    <a:pt x="88" y="147"/>
                    <a:pt x="87" y="148"/>
                    <a:pt x="86" y="148"/>
                  </a:cubicBezTo>
                  <a:cubicBezTo>
                    <a:pt x="85" y="148"/>
                    <a:pt x="85" y="148"/>
                    <a:pt x="85" y="148"/>
                  </a:cubicBezTo>
                  <a:cubicBezTo>
                    <a:pt x="85" y="148"/>
                    <a:pt x="84" y="149"/>
                    <a:pt x="83" y="149"/>
                  </a:cubicBezTo>
                  <a:cubicBezTo>
                    <a:pt x="83" y="149"/>
                    <a:pt x="82" y="149"/>
                    <a:pt x="82" y="149"/>
                  </a:cubicBezTo>
                  <a:cubicBezTo>
                    <a:pt x="82" y="149"/>
                    <a:pt x="82" y="149"/>
                    <a:pt x="81" y="149"/>
                  </a:cubicBezTo>
                  <a:cubicBezTo>
                    <a:pt x="81" y="149"/>
                    <a:pt x="81" y="149"/>
                    <a:pt x="81" y="149"/>
                  </a:cubicBezTo>
                  <a:cubicBezTo>
                    <a:pt x="80" y="148"/>
                    <a:pt x="80" y="148"/>
                    <a:pt x="80" y="148"/>
                  </a:cubicBezTo>
                  <a:cubicBezTo>
                    <a:pt x="80" y="148"/>
                    <a:pt x="80" y="148"/>
                    <a:pt x="80" y="148"/>
                  </a:cubicBezTo>
                  <a:cubicBezTo>
                    <a:pt x="80" y="148"/>
                    <a:pt x="80" y="148"/>
                    <a:pt x="80" y="148"/>
                  </a:cubicBezTo>
                  <a:cubicBezTo>
                    <a:pt x="80" y="148"/>
                    <a:pt x="80" y="148"/>
                    <a:pt x="80" y="148"/>
                  </a:cubicBezTo>
                  <a:cubicBezTo>
                    <a:pt x="79" y="148"/>
                    <a:pt x="79" y="148"/>
                    <a:pt x="79" y="148"/>
                  </a:cubicBezTo>
                  <a:cubicBezTo>
                    <a:pt x="79" y="148"/>
                    <a:pt x="79" y="148"/>
                    <a:pt x="78" y="148"/>
                  </a:cubicBezTo>
                  <a:cubicBezTo>
                    <a:pt x="77" y="148"/>
                    <a:pt x="76" y="148"/>
                    <a:pt x="75" y="147"/>
                  </a:cubicBezTo>
                  <a:cubicBezTo>
                    <a:pt x="75" y="147"/>
                    <a:pt x="75" y="147"/>
                    <a:pt x="75" y="147"/>
                  </a:cubicBezTo>
                  <a:cubicBezTo>
                    <a:pt x="74" y="146"/>
                    <a:pt x="74" y="146"/>
                    <a:pt x="74" y="146"/>
                  </a:cubicBezTo>
                  <a:cubicBezTo>
                    <a:pt x="74" y="146"/>
                    <a:pt x="74" y="146"/>
                    <a:pt x="74" y="146"/>
                  </a:cubicBezTo>
                  <a:cubicBezTo>
                    <a:pt x="73" y="146"/>
                    <a:pt x="72" y="147"/>
                    <a:pt x="71" y="148"/>
                  </a:cubicBezTo>
                  <a:cubicBezTo>
                    <a:pt x="71" y="148"/>
                    <a:pt x="71" y="148"/>
                    <a:pt x="71" y="148"/>
                  </a:cubicBezTo>
                  <a:cubicBezTo>
                    <a:pt x="70" y="148"/>
                    <a:pt x="70" y="148"/>
                    <a:pt x="70" y="148"/>
                  </a:cubicBezTo>
                  <a:cubicBezTo>
                    <a:pt x="70" y="148"/>
                    <a:pt x="70" y="148"/>
                    <a:pt x="70" y="148"/>
                  </a:cubicBezTo>
                  <a:cubicBezTo>
                    <a:pt x="69" y="148"/>
                    <a:pt x="68" y="148"/>
                    <a:pt x="68" y="147"/>
                  </a:cubicBezTo>
                  <a:cubicBezTo>
                    <a:pt x="68" y="147"/>
                    <a:pt x="68" y="147"/>
                    <a:pt x="68" y="147"/>
                  </a:cubicBezTo>
                  <a:cubicBezTo>
                    <a:pt x="67" y="146"/>
                    <a:pt x="67" y="146"/>
                    <a:pt x="67" y="146"/>
                  </a:cubicBezTo>
                  <a:cubicBezTo>
                    <a:pt x="67" y="146"/>
                    <a:pt x="67" y="146"/>
                    <a:pt x="67" y="146"/>
                  </a:cubicBezTo>
                  <a:cubicBezTo>
                    <a:pt x="66" y="146"/>
                    <a:pt x="66" y="146"/>
                    <a:pt x="66" y="146"/>
                  </a:cubicBezTo>
                  <a:cubicBezTo>
                    <a:pt x="66" y="146"/>
                    <a:pt x="66" y="146"/>
                    <a:pt x="66" y="146"/>
                  </a:cubicBezTo>
                  <a:cubicBezTo>
                    <a:pt x="66" y="147"/>
                    <a:pt x="66" y="147"/>
                    <a:pt x="66" y="147"/>
                  </a:cubicBezTo>
                  <a:cubicBezTo>
                    <a:pt x="66" y="148"/>
                    <a:pt x="66" y="149"/>
                    <a:pt x="66" y="149"/>
                  </a:cubicBezTo>
                  <a:cubicBezTo>
                    <a:pt x="66" y="150"/>
                    <a:pt x="67" y="151"/>
                    <a:pt x="66" y="152"/>
                  </a:cubicBezTo>
                  <a:cubicBezTo>
                    <a:pt x="66" y="152"/>
                    <a:pt x="66" y="153"/>
                    <a:pt x="66" y="153"/>
                  </a:cubicBezTo>
                  <a:cubicBezTo>
                    <a:pt x="66" y="154"/>
                    <a:pt x="66" y="154"/>
                    <a:pt x="66" y="154"/>
                  </a:cubicBezTo>
                  <a:cubicBezTo>
                    <a:pt x="65" y="154"/>
                    <a:pt x="65" y="154"/>
                    <a:pt x="65" y="155"/>
                  </a:cubicBezTo>
                  <a:cubicBezTo>
                    <a:pt x="65" y="155"/>
                    <a:pt x="65" y="155"/>
                    <a:pt x="65" y="155"/>
                  </a:cubicBezTo>
                  <a:cubicBezTo>
                    <a:pt x="65" y="157"/>
                    <a:pt x="64" y="157"/>
                    <a:pt x="63" y="157"/>
                  </a:cubicBezTo>
                  <a:cubicBezTo>
                    <a:pt x="63" y="157"/>
                    <a:pt x="63" y="157"/>
                    <a:pt x="63" y="157"/>
                  </a:cubicBezTo>
                  <a:cubicBezTo>
                    <a:pt x="62" y="158"/>
                    <a:pt x="62" y="159"/>
                    <a:pt x="61" y="160"/>
                  </a:cubicBezTo>
                  <a:cubicBezTo>
                    <a:pt x="61" y="160"/>
                    <a:pt x="61" y="160"/>
                    <a:pt x="61" y="160"/>
                  </a:cubicBezTo>
                  <a:cubicBezTo>
                    <a:pt x="61" y="160"/>
                    <a:pt x="61" y="160"/>
                    <a:pt x="61" y="160"/>
                  </a:cubicBezTo>
                  <a:cubicBezTo>
                    <a:pt x="60" y="161"/>
                    <a:pt x="60" y="161"/>
                    <a:pt x="60" y="161"/>
                  </a:cubicBezTo>
                  <a:cubicBezTo>
                    <a:pt x="60" y="161"/>
                    <a:pt x="59" y="162"/>
                    <a:pt x="59" y="162"/>
                  </a:cubicBezTo>
                  <a:cubicBezTo>
                    <a:pt x="58" y="163"/>
                    <a:pt x="57" y="163"/>
                    <a:pt x="57" y="164"/>
                  </a:cubicBezTo>
                  <a:cubicBezTo>
                    <a:pt x="57" y="164"/>
                    <a:pt x="57" y="164"/>
                    <a:pt x="57" y="164"/>
                  </a:cubicBezTo>
                  <a:cubicBezTo>
                    <a:pt x="59" y="166"/>
                    <a:pt x="59" y="166"/>
                    <a:pt x="59" y="166"/>
                  </a:cubicBezTo>
                  <a:cubicBezTo>
                    <a:pt x="57" y="167"/>
                    <a:pt x="57" y="167"/>
                    <a:pt x="57" y="167"/>
                  </a:cubicBezTo>
                  <a:cubicBezTo>
                    <a:pt x="55" y="167"/>
                    <a:pt x="54" y="168"/>
                    <a:pt x="53" y="169"/>
                  </a:cubicBezTo>
                  <a:cubicBezTo>
                    <a:pt x="53" y="169"/>
                    <a:pt x="53" y="169"/>
                    <a:pt x="53" y="169"/>
                  </a:cubicBezTo>
                  <a:cubicBezTo>
                    <a:pt x="54" y="170"/>
                    <a:pt x="55" y="170"/>
                    <a:pt x="56" y="171"/>
                  </a:cubicBezTo>
                  <a:cubicBezTo>
                    <a:pt x="57" y="171"/>
                    <a:pt x="57" y="172"/>
                    <a:pt x="58" y="172"/>
                  </a:cubicBezTo>
                  <a:cubicBezTo>
                    <a:pt x="60" y="172"/>
                    <a:pt x="60" y="172"/>
                    <a:pt x="60" y="172"/>
                  </a:cubicBezTo>
                  <a:cubicBezTo>
                    <a:pt x="63" y="171"/>
                    <a:pt x="63" y="171"/>
                    <a:pt x="64" y="171"/>
                  </a:cubicBezTo>
                  <a:cubicBezTo>
                    <a:pt x="65" y="170"/>
                    <a:pt x="65" y="170"/>
                    <a:pt x="65" y="170"/>
                  </a:cubicBezTo>
                  <a:cubicBezTo>
                    <a:pt x="67" y="169"/>
                    <a:pt x="71" y="168"/>
                    <a:pt x="73" y="168"/>
                  </a:cubicBezTo>
                  <a:cubicBezTo>
                    <a:pt x="73" y="168"/>
                    <a:pt x="73" y="168"/>
                    <a:pt x="73" y="168"/>
                  </a:cubicBezTo>
                  <a:cubicBezTo>
                    <a:pt x="75" y="168"/>
                    <a:pt x="77" y="169"/>
                    <a:pt x="79" y="170"/>
                  </a:cubicBezTo>
                  <a:cubicBezTo>
                    <a:pt x="79" y="171"/>
                    <a:pt x="79" y="171"/>
                    <a:pt x="79" y="171"/>
                  </a:cubicBezTo>
                  <a:cubicBezTo>
                    <a:pt x="79" y="167"/>
                    <a:pt x="78" y="164"/>
                    <a:pt x="77" y="160"/>
                  </a:cubicBezTo>
                  <a:cubicBezTo>
                    <a:pt x="79" y="161"/>
                    <a:pt x="78" y="164"/>
                    <a:pt x="79" y="164"/>
                  </a:cubicBezTo>
                  <a:cubicBezTo>
                    <a:pt x="79" y="164"/>
                    <a:pt x="79" y="163"/>
                    <a:pt x="81" y="162"/>
                  </a:cubicBezTo>
                  <a:cubicBezTo>
                    <a:pt x="81" y="162"/>
                    <a:pt x="83" y="160"/>
                    <a:pt x="84" y="160"/>
                  </a:cubicBezTo>
                  <a:cubicBezTo>
                    <a:pt x="84" y="160"/>
                    <a:pt x="84" y="160"/>
                    <a:pt x="85" y="160"/>
                  </a:cubicBezTo>
                  <a:cubicBezTo>
                    <a:pt x="85" y="160"/>
                    <a:pt x="85" y="160"/>
                    <a:pt x="85" y="160"/>
                  </a:cubicBezTo>
                  <a:cubicBezTo>
                    <a:pt x="86" y="160"/>
                    <a:pt x="86" y="160"/>
                    <a:pt x="86" y="160"/>
                  </a:cubicBezTo>
                  <a:cubicBezTo>
                    <a:pt x="87" y="160"/>
                    <a:pt x="87" y="160"/>
                    <a:pt x="88" y="159"/>
                  </a:cubicBezTo>
                  <a:cubicBezTo>
                    <a:pt x="88" y="159"/>
                    <a:pt x="92" y="156"/>
                    <a:pt x="92" y="155"/>
                  </a:cubicBezTo>
                  <a:cubicBezTo>
                    <a:pt x="91" y="153"/>
                    <a:pt x="90" y="151"/>
                    <a:pt x="88" y="150"/>
                  </a:cubicBezTo>
                  <a:cubicBezTo>
                    <a:pt x="88" y="149"/>
                    <a:pt x="87" y="148"/>
                    <a:pt x="87" y="148"/>
                  </a:cubicBezTo>
                  <a:cubicBezTo>
                    <a:pt x="87" y="147"/>
                    <a:pt x="88" y="147"/>
                    <a:pt x="88" y="147"/>
                  </a:cubicBezTo>
                  <a:cubicBezTo>
                    <a:pt x="88" y="147"/>
                    <a:pt x="88" y="147"/>
                    <a:pt x="88" y="147"/>
                  </a:cubicBezTo>
                  <a:cubicBezTo>
                    <a:pt x="88" y="147"/>
                    <a:pt x="88" y="147"/>
                    <a:pt x="89" y="147"/>
                  </a:cubicBezTo>
                  <a:cubicBezTo>
                    <a:pt x="89" y="147"/>
                    <a:pt x="89" y="147"/>
                    <a:pt x="89" y="147"/>
                  </a:cubicBezTo>
                  <a:cubicBezTo>
                    <a:pt x="89" y="148"/>
                    <a:pt x="89" y="148"/>
                    <a:pt x="89" y="148"/>
                  </a:cubicBezTo>
                  <a:cubicBezTo>
                    <a:pt x="89" y="148"/>
                    <a:pt x="89" y="148"/>
                    <a:pt x="89" y="148"/>
                  </a:cubicBezTo>
                  <a:cubicBezTo>
                    <a:pt x="89" y="148"/>
                    <a:pt x="89" y="148"/>
                    <a:pt x="89" y="148"/>
                  </a:cubicBezTo>
                  <a:cubicBezTo>
                    <a:pt x="89" y="148"/>
                    <a:pt x="89" y="148"/>
                    <a:pt x="89" y="148"/>
                  </a:cubicBezTo>
                  <a:cubicBezTo>
                    <a:pt x="90" y="148"/>
                    <a:pt x="90" y="148"/>
                    <a:pt x="90" y="147"/>
                  </a:cubicBezTo>
                  <a:cubicBezTo>
                    <a:pt x="90" y="148"/>
                    <a:pt x="90" y="148"/>
                    <a:pt x="91" y="148"/>
                  </a:cubicBezTo>
                  <a:cubicBezTo>
                    <a:pt x="91" y="149"/>
                    <a:pt x="91" y="149"/>
                    <a:pt x="92" y="150"/>
                  </a:cubicBezTo>
                  <a:cubicBezTo>
                    <a:pt x="92" y="151"/>
                    <a:pt x="92" y="151"/>
                    <a:pt x="92" y="151"/>
                  </a:cubicBezTo>
                  <a:cubicBezTo>
                    <a:pt x="92" y="151"/>
                    <a:pt x="92" y="151"/>
                    <a:pt x="92" y="151"/>
                  </a:cubicBezTo>
                  <a:cubicBezTo>
                    <a:pt x="93" y="150"/>
                    <a:pt x="94" y="149"/>
                    <a:pt x="94" y="148"/>
                  </a:cubicBezTo>
                  <a:cubicBezTo>
                    <a:pt x="95" y="148"/>
                    <a:pt x="96" y="147"/>
                    <a:pt x="96" y="146"/>
                  </a:cubicBezTo>
                  <a:cubicBezTo>
                    <a:pt x="98" y="144"/>
                    <a:pt x="99" y="143"/>
                    <a:pt x="102" y="142"/>
                  </a:cubicBezTo>
                  <a:cubicBezTo>
                    <a:pt x="102" y="142"/>
                    <a:pt x="103" y="142"/>
                    <a:pt x="103" y="142"/>
                  </a:cubicBezTo>
                  <a:cubicBezTo>
                    <a:pt x="104" y="142"/>
                    <a:pt x="104" y="142"/>
                    <a:pt x="105" y="141"/>
                  </a:cubicBezTo>
                  <a:cubicBezTo>
                    <a:pt x="105" y="141"/>
                    <a:pt x="106" y="141"/>
                    <a:pt x="106" y="141"/>
                  </a:cubicBezTo>
                  <a:cubicBezTo>
                    <a:pt x="107" y="141"/>
                    <a:pt x="107" y="141"/>
                    <a:pt x="108" y="141"/>
                  </a:cubicBezTo>
                  <a:cubicBezTo>
                    <a:pt x="108" y="141"/>
                    <a:pt x="108" y="141"/>
                    <a:pt x="108" y="141"/>
                  </a:cubicBezTo>
                  <a:cubicBezTo>
                    <a:pt x="109" y="141"/>
                    <a:pt x="109" y="141"/>
                    <a:pt x="110" y="141"/>
                  </a:cubicBezTo>
                  <a:cubicBezTo>
                    <a:pt x="111" y="140"/>
                    <a:pt x="111" y="140"/>
                    <a:pt x="111" y="140"/>
                  </a:cubicBezTo>
                  <a:cubicBezTo>
                    <a:pt x="112" y="139"/>
                    <a:pt x="113" y="138"/>
                    <a:pt x="115" y="136"/>
                  </a:cubicBezTo>
                  <a:cubicBezTo>
                    <a:pt x="114" y="138"/>
                    <a:pt x="114" y="138"/>
                    <a:pt x="114" y="138"/>
                  </a:cubicBezTo>
                  <a:cubicBezTo>
                    <a:pt x="114" y="138"/>
                    <a:pt x="113" y="138"/>
                    <a:pt x="115" y="139"/>
                  </a:cubicBezTo>
                  <a:cubicBezTo>
                    <a:pt x="117" y="139"/>
                    <a:pt x="119" y="140"/>
                    <a:pt x="121" y="140"/>
                  </a:cubicBezTo>
                  <a:cubicBezTo>
                    <a:pt x="120" y="138"/>
                    <a:pt x="120" y="137"/>
                    <a:pt x="121" y="135"/>
                  </a:cubicBezTo>
                  <a:cubicBezTo>
                    <a:pt x="122" y="135"/>
                    <a:pt x="122" y="134"/>
                    <a:pt x="121" y="134"/>
                  </a:cubicBezTo>
                  <a:cubicBezTo>
                    <a:pt x="121" y="134"/>
                    <a:pt x="121" y="134"/>
                    <a:pt x="121" y="134"/>
                  </a:cubicBezTo>
                  <a:cubicBezTo>
                    <a:pt x="121" y="134"/>
                    <a:pt x="121" y="134"/>
                    <a:pt x="121" y="134"/>
                  </a:cubicBezTo>
                  <a:cubicBezTo>
                    <a:pt x="121" y="134"/>
                    <a:pt x="121" y="134"/>
                    <a:pt x="121" y="134"/>
                  </a:cubicBezTo>
                  <a:cubicBezTo>
                    <a:pt x="121" y="133"/>
                    <a:pt x="121" y="133"/>
                    <a:pt x="121" y="133"/>
                  </a:cubicBezTo>
                  <a:cubicBezTo>
                    <a:pt x="121" y="133"/>
                    <a:pt x="121" y="133"/>
                    <a:pt x="121" y="133"/>
                  </a:cubicBezTo>
                  <a:cubicBezTo>
                    <a:pt x="121" y="132"/>
                    <a:pt x="121" y="132"/>
                    <a:pt x="121" y="132"/>
                  </a:cubicBezTo>
                  <a:cubicBezTo>
                    <a:pt x="121" y="132"/>
                    <a:pt x="121" y="132"/>
                    <a:pt x="121" y="132"/>
                  </a:cubicBezTo>
                  <a:cubicBezTo>
                    <a:pt x="121" y="132"/>
                    <a:pt x="120" y="132"/>
                    <a:pt x="120" y="132"/>
                  </a:cubicBezTo>
                  <a:cubicBezTo>
                    <a:pt x="120" y="132"/>
                    <a:pt x="120" y="132"/>
                    <a:pt x="120" y="132"/>
                  </a:cubicBezTo>
                  <a:cubicBezTo>
                    <a:pt x="119" y="132"/>
                    <a:pt x="120" y="131"/>
                    <a:pt x="120" y="130"/>
                  </a:cubicBezTo>
                  <a:cubicBezTo>
                    <a:pt x="120" y="130"/>
                    <a:pt x="119" y="129"/>
                    <a:pt x="119" y="129"/>
                  </a:cubicBezTo>
                  <a:cubicBezTo>
                    <a:pt x="119" y="129"/>
                    <a:pt x="119" y="128"/>
                    <a:pt x="119" y="128"/>
                  </a:cubicBezTo>
                  <a:cubicBezTo>
                    <a:pt x="119" y="128"/>
                    <a:pt x="119" y="128"/>
                    <a:pt x="118" y="127"/>
                  </a:cubicBezTo>
                  <a:cubicBezTo>
                    <a:pt x="119" y="127"/>
                    <a:pt x="119" y="127"/>
                    <a:pt x="119" y="127"/>
                  </a:cubicBezTo>
                  <a:cubicBezTo>
                    <a:pt x="119" y="128"/>
                    <a:pt x="119" y="128"/>
                    <a:pt x="119" y="128"/>
                  </a:cubicBezTo>
                  <a:cubicBezTo>
                    <a:pt x="120" y="129"/>
                    <a:pt x="120" y="131"/>
                    <a:pt x="120" y="131"/>
                  </a:cubicBezTo>
                  <a:cubicBezTo>
                    <a:pt x="120" y="132"/>
                    <a:pt x="120" y="132"/>
                    <a:pt x="120" y="132"/>
                  </a:cubicBezTo>
                  <a:cubicBezTo>
                    <a:pt x="122" y="132"/>
                    <a:pt x="122" y="132"/>
                    <a:pt x="122" y="132"/>
                  </a:cubicBezTo>
                  <a:cubicBezTo>
                    <a:pt x="122" y="132"/>
                    <a:pt x="122" y="132"/>
                    <a:pt x="122" y="132"/>
                  </a:cubicBezTo>
                  <a:cubicBezTo>
                    <a:pt x="122" y="133"/>
                    <a:pt x="121" y="133"/>
                    <a:pt x="121" y="133"/>
                  </a:cubicBezTo>
                  <a:cubicBezTo>
                    <a:pt x="122" y="134"/>
                    <a:pt x="122" y="134"/>
                    <a:pt x="122" y="134"/>
                  </a:cubicBezTo>
                  <a:cubicBezTo>
                    <a:pt x="122" y="134"/>
                    <a:pt x="122" y="134"/>
                    <a:pt x="122" y="135"/>
                  </a:cubicBezTo>
                  <a:cubicBezTo>
                    <a:pt x="122" y="135"/>
                    <a:pt x="122" y="135"/>
                    <a:pt x="122" y="135"/>
                  </a:cubicBezTo>
                  <a:cubicBezTo>
                    <a:pt x="122" y="136"/>
                    <a:pt x="120" y="137"/>
                    <a:pt x="122" y="139"/>
                  </a:cubicBezTo>
                  <a:cubicBezTo>
                    <a:pt x="124" y="141"/>
                    <a:pt x="125" y="142"/>
                    <a:pt x="127" y="143"/>
                  </a:cubicBezTo>
                  <a:cubicBezTo>
                    <a:pt x="127" y="143"/>
                    <a:pt x="127" y="143"/>
                    <a:pt x="128" y="143"/>
                  </a:cubicBezTo>
                  <a:cubicBezTo>
                    <a:pt x="128" y="143"/>
                    <a:pt x="128" y="143"/>
                    <a:pt x="129" y="143"/>
                  </a:cubicBezTo>
                  <a:cubicBezTo>
                    <a:pt x="131" y="142"/>
                    <a:pt x="133" y="141"/>
                    <a:pt x="135" y="141"/>
                  </a:cubicBezTo>
                  <a:cubicBezTo>
                    <a:pt x="132" y="143"/>
                    <a:pt x="131" y="145"/>
                    <a:pt x="128" y="145"/>
                  </a:cubicBezTo>
                  <a:cubicBezTo>
                    <a:pt x="127" y="145"/>
                    <a:pt x="127" y="145"/>
                    <a:pt x="127" y="145"/>
                  </a:cubicBezTo>
                  <a:cubicBezTo>
                    <a:pt x="125" y="144"/>
                    <a:pt x="122" y="144"/>
                    <a:pt x="120" y="143"/>
                  </a:cubicBezTo>
                  <a:cubicBezTo>
                    <a:pt x="118" y="143"/>
                    <a:pt x="115" y="142"/>
                    <a:pt x="113" y="142"/>
                  </a:cubicBezTo>
                  <a:cubicBezTo>
                    <a:pt x="114" y="143"/>
                    <a:pt x="114" y="144"/>
                    <a:pt x="115" y="144"/>
                  </a:cubicBezTo>
                  <a:cubicBezTo>
                    <a:pt x="116" y="145"/>
                    <a:pt x="116" y="145"/>
                    <a:pt x="116" y="145"/>
                  </a:cubicBezTo>
                  <a:cubicBezTo>
                    <a:pt x="116" y="145"/>
                    <a:pt x="116" y="145"/>
                    <a:pt x="116" y="145"/>
                  </a:cubicBezTo>
                  <a:cubicBezTo>
                    <a:pt x="117" y="145"/>
                    <a:pt x="117" y="145"/>
                    <a:pt x="117" y="145"/>
                  </a:cubicBezTo>
                  <a:cubicBezTo>
                    <a:pt x="118" y="145"/>
                    <a:pt x="118" y="145"/>
                    <a:pt x="118" y="145"/>
                  </a:cubicBezTo>
                  <a:cubicBezTo>
                    <a:pt x="119" y="145"/>
                    <a:pt x="119" y="145"/>
                    <a:pt x="119" y="145"/>
                  </a:cubicBezTo>
                  <a:cubicBezTo>
                    <a:pt x="120" y="146"/>
                    <a:pt x="121" y="147"/>
                    <a:pt x="122" y="148"/>
                  </a:cubicBezTo>
                  <a:cubicBezTo>
                    <a:pt x="121" y="148"/>
                    <a:pt x="121" y="148"/>
                    <a:pt x="121" y="148"/>
                  </a:cubicBezTo>
                  <a:cubicBezTo>
                    <a:pt x="121" y="148"/>
                    <a:pt x="121" y="148"/>
                    <a:pt x="121" y="148"/>
                  </a:cubicBezTo>
                  <a:cubicBezTo>
                    <a:pt x="121" y="148"/>
                    <a:pt x="120" y="148"/>
                    <a:pt x="120" y="148"/>
                  </a:cubicBezTo>
                  <a:cubicBezTo>
                    <a:pt x="119" y="148"/>
                    <a:pt x="118" y="148"/>
                    <a:pt x="118" y="148"/>
                  </a:cubicBezTo>
                  <a:cubicBezTo>
                    <a:pt x="118" y="149"/>
                    <a:pt x="119" y="150"/>
                    <a:pt x="121" y="150"/>
                  </a:cubicBezTo>
                  <a:cubicBezTo>
                    <a:pt x="124" y="151"/>
                    <a:pt x="126" y="151"/>
                    <a:pt x="127" y="152"/>
                  </a:cubicBezTo>
                  <a:cubicBezTo>
                    <a:pt x="127" y="152"/>
                    <a:pt x="127" y="152"/>
                    <a:pt x="128" y="153"/>
                  </a:cubicBezTo>
                  <a:cubicBezTo>
                    <a:pt x="128" y="153"/>
                    <a:pt x="128" y="153"/>
                    <a:pt x="128" y="153"/>
                  </a:cubicBezTo>
                  <a:cubicBezTo>
                    <a:pt x="129" y="154"/>
                    <a:pt x="130" y="154"/>
                    <a:pt x="131" y="154"/>
                  </a:cubicBezTo>
                  <a:cubicBezTo>
                    <a:pt x="131" y="154"/>
                    <a:pt x="131" y="154"/>
                    <a:pt x="131" y="154"/>
                  </a:cubicBezTo>
                  <a:cubicBezTo>
                    <a:pt x="131" y="154"/>
                    <a:pt x="132" y="154"/>
                    <a:pt x="133" y="153"/>
                  </a:cubicBezTo>
                  <a:cubicBezTo>
                    <a:pt x="134" y="153"/>
                    <a:pt x="136" y="153"/>
                    <a:pt x="137" y="153"/>
                  </a:cubicBezTo>
                  <a:cubicBezTo>
                    <a:pt x="137" y="152"/>
                    <a:pt x="137" y="152"/>
                    <a:pt x="137" y="152"/>
                  </a:cubicBezTo>
                  <a:cubicBezTo>
                    <a:pt x="140" y="152"/>
                    <a:pt x="142" y="152"/>
                    <a:pt x="144" y="151"/>
                  </a:cubicBezTo>
                  <a:cubicBezTo>
                    <a:pt x="144" y="151"/>
                    <a:pt x="144" y="151"/>
                    <a:pt x="145" y="151"/>
                  </a:cubicBezTo>
                  <a:cubicBezTo>
                    <a:pt x="146" y="151"/>
                    <a:pt x="146" y="152"/>
                    <a:pt x="146" y="152"/>
                  </a:cubicBezTo>
                  <a:cubicBezTo>
                    <a:pt x="146" y="153"/>
                    <a:pt x="146" y="153"/>
                    <a:pt x="147" y="154"/>
                  </a:cubicBezTo>
                  <a:cubicBezTo>
                    <a:pt x="148" y="154"/>
                    <a:pt x="148" y="154"/>
                    <a:pt x="149" y="155"/>
                  </a:cubicBezTo>
                  <a:cubicBezTo>
                    <a:pt x="149" y="155"/>
                    <a:pt x="149" y="155"/>
                    <a:pt x="149" y="155"/>
                  </a:cubicBezTo>
                  <a:cubicBezTo>
                    <a:pt x="150" y="155"/>
                    <a:pt x="151" y="154"/>
                    <a:pt x="152" y="154"/>
                  </a:cubicBezTo>
                  <a:cubicBezTo>
                    <a:pt x="152" y="154"/>
                    <a:pt x="153" y="153"/>
                    <a:pt x="153" y="153"/>
                  </a:cubicBezTo>
                  <a:cubicBezTo>
                    <a:pt x="153" y="153"/>
                    <a:pt x="153" y="154"/>
                    <a:pt x="153" y="155"/>
                  </a:cubicBezTo>
                  <a:cubicBezTo>
                    <a:pt x="153" y="156"/>
                    <a:pt x="153" y="158"/>
                    <a:pt x="155" y="158"/>
                  </a:cubicBezTo>
                  <a:cubicBezTo>
                    <a:pt x="155" y="160"/>
                    <a:pt x="153" y="159"/>
                    <a:pt x="151" y="160"/>
                  </a:cubicBezTo>
                  <a:cubicBezTo>
                    <a:pt x="151" y="160"/>
                    <a:pt x="150" y="160"/>
                    <a:pt x="149" y="160"/>
                  </a:cubicBezTo>
                  <a:cubicBezTo>
                    <a:pt x="149" y="160"/>
                    <a:pt x="148" y="161"/>
                    <a:pt x="147" y="161"/>
                  </a:cubicBezTo>
                  <a:cubicBezTo>
                    <a:pt x="147" y="162"/>
                    <a:pt x="147" y="162"/>
                    <a:pt x="146" y="162"/>
                  </a:cubicBezTo>
                  <a:cubicBezTo>
                    <a:pt x="146" y="162"/>
                    <a:pt x="146" y="162"/>
                    <a:pt x="146" y="162"/>
                  </a:cubicBezTo>
                  <a:cubicBezTo>
                    <a:pt x="145" y="162"/>
                    <a:pt x="145" y="162"/>
                    <a:pt x="145" y="162"/>
                  </a:cubicBezTo>
                  <a:cubicBezTo>
                    <a:pt x="144" y="163"/>
                    <a:pt x="141" y="163"/>
                    <a:pt x="140" y="164"/>
                  </a:cubicBezTo>
                  <a:cubicBezTo>
                    <a:pt x="140" y="164"/>
                    <a:pt x="139" y="165"/>
                    <a:pt x="139" y="165"/>
                  </a:cubicBezTo>
                  <a:cubicBezTo>
                    <a:pt x="138" y="166"/>
                    <a:pt x="138" y="166"/>
                    <a:pt x="138" y="166"/>
                  </a:cubicBezTo>
                  <a:cubicBezTo>
                    <a:pt x="137" y="167"/>
                    <a:pt x="136" y="167"/>
                    <a:pt x="135" y="167"/>
                  </a:cubicBezTo>
                  <a:cubicBezTo>
                    <a:pt x="135" y="168"/>
                    <a:pt x="134" y="168"/>
                    <a:pt x="134" y="168"/>
                  </a:cubicBezTo>
                  <a:cubicBezTo>
                    <a:pt x="133" y="169"/>
                    <a:pt x="132" y="169"/>
                    <a:pt x="132" y="170"/>
                  </a:cubicBezTo>
                  <a:cubicBezTo>
                    <a:pt x="132" y="170"/>
                    <a:pt x="132" y="170"/>
                    <a:pt x="132" y="170"/>
                  </a:cubicBezTo>
                  <a:cubicBezTo>
                    <a:pt x="132" y="173"/>
                    <a:pt x="139" y="174"/>
                    <a:pt x="143" y="175"/>
                  </a:cubicBezTo>
                  <a:cubicBezTo>
                    <a:pt x="144" y="175"/>
                    <a:pt x="145" y="175"/>
                    <a:pt x="146" y="175"/>
                  </a:cubicBezTo>
                  <a:cubicBezTo>
                    <a:pt x="148" y="176"/>
                    <a:pt x="151" y="176"/>
                    <a:pt x="152" y="178"/>
                  </a:cubicBezTo>
                  <a:cubicBezTo>
                    <a:pt x="153" y="179"/>
                    <a:pt x="153" y="180"/>
                    <a:pt x="153" y="181"/>
                  </a:cubicBezTo>
                  <a:cubicBezTo>
                    <a:pt x="153" y="183"/>
                    <a:pt x="152" y="183"/>
                    <a:pt x="152" y="184"/>
                  </a:cubicBezTo>
                  <a:cubicBezTo>
                    <a:pt x="152" y="184"/>
                    <a:pt x="151" y="184"/>
                    <a:pt x="151" y="185"/>
                  </a:cubicBezTo>
                  <a:cubicBezTo>
                    <a:pt x="151" y="185"/>
                    <a:pt x="151" y="186"/>
                    <a:pt x="151" y="187"/>
                  </a:cubicBezTo>
                  <a:cubicBezTo>
                    <a:pt x="152" y="188"/>
                    <a:pt x="152" y="189"/>
                    <a:pt x="152" y="189"/>
                  </a:cubicBezTo>
                  <a:cubicBezTo>
                    <a:pt x="151" y="189"/>
                    <a:pt x="150" y="189"/>
                    <a:pt x="148" y="190"/>
                  </a:cubicBezTo>
                  <a:cubicBezTo>
                    <a:pt x="149" y="190"/>
                    <a:pt x="149" y="190"/>
                    <a:pt x="150" y="191"/>
                  </a:cubicBezTo>
                  <a:cubicBezTo>
                    <a:pt x="150" y="191"/>
                    <a:pt x="150" y="191"/>
                    <a:pt x="151" y="192"/>
                  </a:cubicBezTo>
                  <a:cubicBezTo>
                    <a:pt x="153" y="193"/>
                    <a:pt x="154" y="193"/>
                    <a:pt x="155" y="193"/>
                  </a:cubicBezTo>
                  <a:cubicBezTo>
                    <a:pt x="155" y="193"/>
                    <a:pt x="155" y="193"/>
                    <a:pt x="155" y="193"/>
                  </a:cubicBezTo>
                  <a:cubicBezTo>
                    <a:pt x="156" y="193"/>
                    <a:pt x="157" y="193"/>
                    <a:pt x="157" y="193"/>
                  </a:cubicBezTo>
                  <a:cubicBezTo>
                    <a:pt x="162" y="190"/>
                    <a:pt x="167" y="188"/>
                    <a:pt x="172" y="185"/>
                  </a:cubicBezTo>
                  <a:cubicBezTo>
                    <a:pt x="177" y="183"/>
                    <a:pt x="182" y="181"/>
                    <a:pt x="187" y="178"/>
                  </a:cubicBezTo>
                  <a:cubicBezTo>
                    <a:pt x="188" y="178"/>
                    <a:pt x="189" y="177"/>
                    <a:pt x="190" y="177"/>
                  </a:cubicBezTo>
                  <a:cubicBezTo>
                    <a:pt x="192" y="177"/>
                    <a:pt x="193" y="178"/>
                    <a:pt x="195" y="179"/>
                  </a:cubicBezTo>
                  <a:cubicBezTo>
                    <a:pt x="196" y="179"/>
                    <a:pt x="196" y="179"/>
                    <a:pt x="196" y="180"/>
                  </a:cubicBezTo>
                  <a:cubicBezTo>
                    <a:pt x="197" y="180"/>
                    <a:pt x="197" y="180"/>
                    <a:pt x="197" y="180"/>
                  </a:cubicBezTo>
                  <a:cubicBezTo>
                    <a:pt x="197" y="180"/>
                    <a:pt x="197" y="180"/>
                    <a:pt x="197" y="180"/>
                  </a:cubicBezTo>
                  <a:cubicBezTo>
                    <a:pt x="198" y="180"/>
                    <a:pt x="200" y="179"/>
                    <a:pt x="201" y="179"/>
                  </a:cubicBezTo>
                  <a:cubicBezTo>
                    <a:pt x="202" y="179"/>
                    <a:pt x="202" y="179"/>
                    <a:pt x="202" y="179"/>
                  </a:cubicBezTo>
                  <a:cubicBezTo>
                    <a:pt x="203" y="179"/>
                    <a:pt x="203" y="179"/>
                    <a:pt x="203" y="179"/>
                  </a:cubicBezTo>
                  <a:cubicBezTo>
                    <a:pt x="203" y="179"/>
                    <a:pt x="203" y="179"/>
                    <a:pt x="203" y="179"/>
                  </a:cubicBezTo>
                  <a:cubicBezTo>
                    <a:pt x="204" y="179"/>
                    <a:pt x="204" y="179"/>
                    <a:pt x="204" y="179"/>
                  </a:cubicBezTo>
                  <a:cubicBezTo>
                    <a:pt x="206" y="178"/>
                    <a:pt x="206" y="177"/>
                    <a:pt x="206" y="175"/>
                  </a:cubicBezTo>
                  <a:cubicBezTo>
                    <a:pt x="207" y="174"/>
                    <a:pt x="207" y="173"/>
                    <a:pt x="208" y="173"/>
                  </a:cubicBezTo>
                  <a:cubicBezTo>
                    <a:pt x="208" y="172"/>
                    <a:pt x="209" y="172"/>
                    <a:pt x="209" y="172"/>
                  </a:cubicBezTo>
                  <a:cubicBezTo>
                    <a:pt x="210" y="172"/>
                    <a:pt x="210" y="172"/>
                    <a:pt x="211" y="171"/>
                  </a:cubicBezTo>
                  <a:cubicBezTo>
                    <a:pt x="210" y="171"/>
                    <a:pt x="209" y="171"/>
                    <a:pt x="208" y="171"/>
                  </a:cubicBezTo>
                  <a:cubicBezTo>
                    <a:pt x="208" y="171"/>
                    <a:pt x="208" y="171"/>
                    <a:pt x="208" y="171"/>
                  </a:cubicBezTo>
                  <a:cubicBezTo>
                    <a:pt x="207" y="171"/>
                    <a:pt x="206" y="171"/>
                    <a:pt x="204" y="171"/>
                  </a:cubicBezTo>
                  <a:cubicBezTo>
                    <a:pt x="204" y="171"/>
                    <a:pt x="203" y="171"/>
                    <a:pt x="203" y="171"/>
                  </a:cubicBezTo>
                  <a:cubicBezTo>
                    <a:pt x="202" y="171"/>
                    <a:pt x="201" y="171"/>
                    <a:pt x="200" y="171"/>
                  </a:cubicBezTo>
                  <a:cubicBezTo>
                    <a:pt x="199" y="171"/>
                    <a:pt x="199" y="171"/>
                    <a:pt x="198" y="171"/>
                  </a:cubicBezTo>
                  <a:cubicBezTo>
                    <a:pt x="198" y="171"/>
                    <a:pt x="197" y="171"/>
                    <a:pt x="196" y="171"/>
                  </a:cubicBezTo>
                  <a:cubicBezTo>
                    <a:pt x="196" y="171"/>
                    <a:pt x="195" y="171"/>
                    <a:pt x="195" y="171"/>
                  </a:cubicBezTo>
                  <a:cubicBezTo>
                    <a:pt x="195" y="171"/>
                    <a:pt x="195" y="171"/>
                    <a:pt x="195" y="171"/>
                  </a:cubicBezTo>
                  <a:cubicBezTo>
                    <a:pt x="194" y="171"/>
                    <a:pt x="194" y="171"/>
                    <a:pt x="194" y="171"/>
                  </a:cubicBezTo>
                  <a:cubicBezTo>
                    <a:pt x="193" y="171"/>
                    <a:pt x="192" y="173"/>
                    <a:pt x="190" y="173"/>
                  </a:cubicBezTo>
                  <a:cubicBezTo>
                    <a:pt x="190" y="173"/>
                    <a:pt x="190" y="173"/>
                    <a:pt x="190" y="173"/>
                  </a:cubicBezTo>
                  <a:cubicBezTo>
                    <a:pt x="188" y="173"/>
                    <a:pt x="187" y="170"/>
                    <a:pt x="185" y="169"/>
                  </a:cubicBezTo>
                  <a:cubicBezTo>
                    <a:pt x="182" y="165"/>
                    <a:pt x="179" y="162"/>
                    <a:pt x="178" y="158"/>
                  </a:cubicBezTo>
                  <a:cubicBezTo>
                    <a:pt x="177" y="157"/>
                    <a:pt x="177" y="155"/>
                    <a:pt x="176" y="154"/>
                  </a:cubicBezTo>
                  <a:cubicBezTo>
                    <a:pt x="176" y="153"/>
                    <a:pt x="176" y="152"/>
                    <a:pt x="176" y="152"/>
                  </a:cubicBezTo>
                  <a:cubicBezTo>
                    <a:pt x="176" y="151"/>
                    <a:pt x="177" y="151"/>
                    <a:pt x="177" y="151"/>
                  </a:cubicBezTo>
                  <a:cubicBezTo>
                    <a:pt x="178" y="150"/>
                    <a:pt x="178" y="150"/>
                    <a:pt x="179" y="150"/>
                  </a:cubicBezTo>
                  <a:cubicBezTo>
                    <a:pt x="179" y="150"/>
                    <a:pt x="180" y="150"/>
                    <a:pt x="181" y="149"/>
                  </a:cubicBezTo>
                  <a:cubicBezTo>
                    <a:pt x="182" y="148"/>
                    <a:pt x="183" y="145"/>
                    <a:pt x="183" y="144"/>
                  </a:cubicBezTo>
                  <a:cubicBezTo>
                    <a:pt x="183" y="145"/>
                    <a:pt x="184" y="145"/>
                    <a:pt x="185" y="146"/>
                  </a:cubicBezTo>
                  <a:cubicBezTo>
                    <a:pt x="184" y="146"/>
                    <a:pt x="184" y="147"/>
                    <a:pt x="185" y="147"/>
                  </a:cubicBezTo>
                  <a:cubicBezTo>
                    <a:pt x="187" y="148"/>
                    <a:pt x="180" y="153"/>
                    <a:pt x="179" y="154"/>
                  </a:cubicBezTo>
                  <a:cubicBezTo>
                    <a:pt x="182" y="152"/>
                    <a:pt x="185" y="150"/>
                    <a:pt x="188" y="147"/>
                  </a:cubicBezTo>
                  <a:cubicBezTo>
                    <a:pt x="189" y="147"/>
                    <a:pt x="189" y="146"/>
                    <a:pt x="190" y="146"/>
                  </a:cubicBezTo>
                  <a:cubicBezTo>
                    <a:pt x="190" y="145"/>
                    <a:pt x="191" y="144"/>
                    <a:pt x="192" y="144"/>
                  </a:cubicBezTo>
                  <a:cubicBezTo>
                    <a:pt x="193" y="143"/>
                    <a:pt x="194" y="142"/>
                    <a:pt x="195" y="141"/>
                  </a:cubicBezTo>
                  <a:cubicBezTo>
                    <a:pt x="196" y="141"/>
                    <a:pt x="196" y="141"/>
                    <a:pt x="196" y="141"/>
                  </a:cubicBezTo>
                  <a:cubicBezTo>
                    <a:pt x="197" y="140"/>
                    <a:pt x="197" y="140"/>
                    <a:pt x="198" y="140"/>
                  </a:cubicBezTo>
                  <a:cubicBezTo>
                    <a:pt x="199" y="140"/>
                    <a:pt x="200" y="140"/>
                    <a:pt x="200" y="140"/>
                  </a:cubicBezTo>
                  <a:cubicBezTo>
                    <a:pt x="202" y="140"/>
                    <a:pt x="204" y="139"/>
                    <a:pt x="206" y="139"/>
                  </a:cubicBezTo>
                  <a:cubicBezTo>
                    <a:pt x="207" y="138"/>
                    <a:pt x="208" y="138"/>
                    <a:pt x="208" y="138"/>
                  </a:cubicBezTo>
                  <a:cubicBezTo>
                    <a:pt x="209" y="138"/>
                    <a:pt x="210" y="137"/>
                    <a:pt x="210" y="137"/>
                  </a:cubicBezTo>
                  <a:cubicBezTo>
                    <a:pt x="211" y="137"/>
                    <a:pt x="211" y="138"/>
                    <a:pt x="211" y="138"/>
                  </a:cubicBezTo>
                  <a:cubicBezTo>
                    <a:pt x="212" y="138"/>
                    <a:pt x="212" y="138"/>
                    <a:pt x="212" y="138"/>
                  </a:cubicBezTo>
                  <a:cubicBezTo>
                    <a:pt x="213" y="138"/>
                    <a:pt x="213" y="138"/>
                    <a:pt x="213" y="138"/>
                  </a:cubicBezTo>
                  <a:cubicBezTo>
                    <a:pt x="213" y="139"/>
                    <a:pt x="213" y="140"/>
                    <a:pt x="213" y="141"/>
                  </a:cubicBezTo>
                  <a:cubicBezTo>
                    <a:pt x="214" y="139"/>
                    <a:pt x="216" y="138"/>
                    <a:pt x="217" y="136"/>
                  </a:cubicBezTo>
                  <a:cubicBezTo>
                    <a:pt x="218" y="136"/>
                    <a:pt x="218" y="135"/>
                    <a:pt x="219" y="135"/>
                  </a:cubicBezTo>
                  <a:cubicBezTo>
                    <a:pt x="220" y="135"/>
                    <a:pt x="222" y="135"/>
                    <a:pt x="223" y="135"/>
                  </a:cubicBezTo>
                  <a:cubicBezTo>
                    <a:pt x="224" y="134"/>
                    <a:pt x="225" y="134"/>
                    <a:pt x="225" y="133"/>
                  </a:cubicBezTo>
                  <a:cubicBezTo>
                    <a:pt x="227" y="132"/>
                    <a:pt x="228" y="130"/>
                    <a:pt x="230" y="130"/>
                  </a:cubicBezTo>
                  <a:cubicBezTo>
                    <a:pt x="231" y="130"/>
                    <a:pt x="233" y="130"/>
                    <a:pt x="234" y="130"/>
                  </a:cubicBezTo>
                  <a:cubicBezTo>
                    <a:pt x="234" y="130"/>
                    <a:pt x="235" y="130"/>
                    <a:pt x="235" y="130"/>
                  </a:cubicBezTo>
                  <a:cubicBezTo>
                    <a:pt x="235" y="130"/>
                    <a:pt x="235" y="130"/>
                    <a:pt x="236" y="130"/>
                  </a:cubicBezTo>
                  <a:cubicBezTo>
                    <a:pt x="237" y="130"/>
                    <a:pt x="238" y="130"/>
                    <a:pt x="238" y="130"/>
                  </a:cubicBezTo>
                  <a:cubicBezTo>
                    <a:pt x="239" y="130"/>
                    <a:pt x="239" y="130"/>
                    <a:pt x="239" y="130"/>
                  </a:cubicBezTo>
                  <a:cubicBezTo>
                    <a:pt x="239" y="129"/>
                    <a:pt x="240" y="129"/>
                    <a:pt x="240" y="129"/>
                  </a:cubicBezTo>
                  <a:cubicBezTo>
                    <a:pt x="241" y="130"/>
                    <a:pt x="241" y="130"/>
                    <a:pt x="241" y="130"/>
                  </a:cubicBezTo>
                  <a:cubicBezTo>
                    <a:pt x="241" y="129"/>
                    <a:pt x="241" y="129"/>
                    <a:pt x="241" y="129"/>
                  </a:cubicBezTo>
                  <a:cubicBezTo>
                    <a:pt x="240" y="129"/>
                    <a:pt x="240" y="129"/>
                    <a:pt x="240" y="129"/>
                  </a:cubicBezTo>
                  <a:cubicBezTo>
                    <a:pt x="240" y="128"/>
                    <a:pt x="240" y="127"/>
                    <a:pt x="240" y="126"/>
                  </a:cubicBezTo>
                  <a:cubicBezTo>
                    <a:pt x="240" y="125"/>
                    <a:pt x="240" y="124"/>
                    <a:pt x="240" y="122"/>
                  </a:cubicBezTo>
                  <a:cubicBezTo>
                    <a:pt x="240" y="118"/>
                    <a:pt x="243" y="114"/>
                    <a:pt x="248" y="114"/>
                  </a:cubicBezTo>
                  <a:cubicBezTo>
                    <a:pt x="250" y="113"/>
                    <a:pt x="253" y="112"/>
                    <a:pt x="254" y="111"/>
                  </a:cubicBezTo>
                  <a:cubicBezTo>
                    <a:pt x="255" y="110"/>
                    <a:pt x="256" y="109"/>
                    <a:pt x="258" y="109"/>
                  </a:cubicBezTo>
                  <a:cubicBezTo>
                    <a:pt x="260" y="109"/>
                    <a:pt x="263" y="110"/>
                    <a:pt x="266" y="110"/>
                  </a:cubicBezTo>
                  <a:cubicBezTo>
                    <a:pt x="266" y="110"/>
                    <a:pt x="267" y="110"/>
                    <a:pt x="267" y="110"/>
                  </a:cubicBezTo>
                  <a:cubicBezTo>
                    <a:pt x="268" y="110"/>
                    <a:pt x="269" y="110"/>
                    <a:pt x="269" y="110"/>
                  </a:cubicBezTo>
                  <a:cubicBezTo>
                    <a:pt x="269" y="110"/>
                    <a:pt x="269" y="110"/>
                    <a:pt x="269" y="110"/>
                  </a:cubicBezTo>
                  <a:cubicBezTo>
                    <a:pt x="269" y="109"/>
                    <a:pt x="269" y="109"/>
                    <a:pt x="269" y="109"/>
                  </a:cubicBezTo>
                  <a:cubicBezTo>
                    <a:pt x="269" y="109"/>
                    <a:pt x="271" y="103"/>
                    <a:pt x="272" y="101"/>
                  </a:cubicBezTo>
                  <a:cubicBezTo>
                    <a:pt x="273" y="101"/>
                    <a:pt x="273" y="100"/>
                    <a:pt x="271" y="97"/>
                  </a:cubicBezTo>
                  <a:cubicBezTo>
                    <a:pt x="271" y="96"/>
                    <a:pt x="270" y="95"/>
                    <a:pt x="269" y="95"/>
                  </a:cubicBezTo>
                  <a:cubicBezTo>
                    <a:pt x="268" y="95"/>
                    <a:pt x="268" y="95"/>
                    <a:pt x="268" y="95"/>
                  </a:cubicBezTo>
                  <a:cubicBezTo>
                    <a:pt x="268" y="95"/>
                    <a:pt x="268" y="95"/>
                    <a:pt x="268" y="95"/>
                  </a:cubicBezTo>
                  <a:cubicBezTo>
                    <a:pt x="267" y="94"/>
                    <a:pt x="266" y="92"/>
                    <a:pt x="267" y="91"/>
                  </a:cubicBezTo>
                  <a:cubicBezTo>
                    <a:pt x="267" y="90"/>
                    <a:pt x="269" y="88"/>
                    <a:pt x="271" y="87"/>
                  </a:cubicBezTo>
                  <a:cubicBezTo>
                    <a:pt x="270" y="87"/>
                    <a:pt x="269" y="86"/>
                    <a:pt x="269" y="86"/>
                  </a:cubicBezTo>
                  <a:cubicBezTo>
                    <a:pt x="268" y="85"/>
                    <a:pt x="268" y="85"/>
                    <a:pt x="268" y="85"/>
                  </a:cubicBezTo>
                  <a:cubicBezTo>
                    <a:pt x="266" y="84"/>
                    <a:pt x="266" y="84"/>
                    <a:pt x="266" y="84"/>
                  </a:cubicBezTo>
                  <a:cubicBezTo>
                    <a:pt x="268" y="83"/>
                    <a:pt x="268" y="83"/>
                    <a:pt x="268" y="83"/>
                  </a:cubicBezTo>
                  <a:cubicBezTo>
                    <a:pt x="271" y="80"/>
                    <a:pt x="275" y="77"/>
                    <a:pt x="276" y="76"/>
                  </a:cubicBezTo>
                  <a:cubicBezTo>
                    <a:pt x="276" y="76"/>
                    <a:pt x="276" y="76"/>
                    <a:pt x="276" y="76"/>
                  </a:cubicBezTo>
                  <a:cubicBezTo>
                    <a:pt x="276" y="75"/>
                    <a:pt x="277" y="73"/>
                    <a:pt x="276" y="70"/>
                  </a:cubicBezTo>
                  <a:cubicBezTo>
                    <a:pt x="275" y="71"/>
                    <a:pt x="273" y="71"/>
                    <a:pt x="272" y="71"/>
                  </a:cubicBezTo>
                  <a:cubicBezTo>
                    <a:pt x="268" y="71"/>
                    <a:pt x="266" y="68"/>
                    <a:pt x="264" y="66"/>
                  </a:cubicBezTo>
                  <a:cubicBezTo>
                    <a:pt x="264" y="66"/>
                    <a:pt x="263" y="66"/>
                    <a:pt x="263" y="65"/>
                  </a:cubicBezTo>
                  <a:cubicBezTo>
                    <a:pt x="261" y="64"/>
                    <a:pt x="260" y="63"/>
                    <a:pt x="259" y="63"/>
                  </a:cubicBezTo>
                  <a:cubicBezTo>
                    <a:pt x="258" y="63"/>
                    <a:pt x="258" y="63"/>
                    <a:pt x="257" y="64"/>
                  </a:cubicBezTo>
                  <a:cubicBezTo>
                    <a:pt x="257" y="64"/>
                    <a:pt x="256" y="64"/>
                    <a:pt x="255" y="64"/>
                  </a:cubicBezTo>
                  <a:cubicBezTo>
                    <a:pt x="255" y="64"/>
                    <a:pt x="255" y="64"/>
                    <a:pt x="255" y="64"/>
                  </a:cubicBezTo>
                  <a:cubicBezTo>
                    <a:pt x="255" y="64"/>
                    <a:pt x="255" y="64"/>
                    <a:pt x="255" y="64"/>
                  </a:cubicBezTo>
                  <a:cubicBezTo>
                    <a:pt x="254" y="64"/>
                    <a:pt x="254" y="64"/>
                    <a:pt x="254" y="64"/>
                  </a:cubicBezTo>
                  <a:cubicBezTo>
                    <a:pt x="252" y="64"/>
                    <a:pt x="251" y="63"/>
                    <a:pt x="251" y="62"/>
                  </a:cubicBezTo>
                  <a:cubicBezTo>
                    <a:pt x="250" y="61"/>
                    <a:pt x="249" y="59"/>
                    <a:pt x="247" y="59"/>
                  </a:cubicBezTo>
                  <a:cubicBezTo>
                    <a:pt x="246" y="59"/>
                    <a:pt x="245" y="59"/>
                    <a:pt x="244" y="58"/>
                  </a:cubicBezTo>
                  <a:cubicBezTo>
                    <a:pt x="243" y="58"/>
                    <a:pt x="243" y="58"/>
                    <a:pt x="242" y="58"/>
                  </a:cubicBezTo>
                  <a:cubicBezTo>
                    <a:pt x="242" y="58"/>
                    <a:pt x="242" y="58"/>
                    <a:pt x="242" y="58"/>
                  </a:cubicBezTo>
                  <a:cubicBezTo>
                    <a:pt x="242" y="58"/>
                    <a:pt x="240" y="60"/>
                    <a:pt x="238" y="62"/>
                  </a:cubicBezTo>
                  <a:cubicBezTo>
                    <a:pt x="237" y="63"/>
                    <a:pt x="237" y="63"/>
                    <a:pt x="237" y="63"/>
                  </a:cubicBezTo>
                  <a:cubicBezTo>
                    <a:pt x="236" y="62"/>
                    <a:pt x="236" y="62"/>
                    <a:pt x="236" y="62"/>
                  </a:cubicBezTo>
                  <a:cubicBezTo>
                    <a:pt x="236" y="61"/>
                    <a:pt x="231" y="54"/>
                    <a:pt x="229" y="52"/>
                  </a:cubicBezTo>
                  <a:cubicBezTo>
                    <a:pt x="227" y="50"/>
                    <a:pt x="226" y="49"/>
                    <a:pt x="226" y="49"/>
                  </a:cubicBezTo>
                  <a:cubicBezTo>
                    <a:pt x="224" y="49"/>
                    <a:pt x="220" y="51"/>
                    <a:pt x="217" y="52"/>
                  </a:cubicBezTo>
                  <a:cubicBezTo>
                    <a:pt x="215" y="52"/>
                    <a:pt x="213" y="53"/>
                    <a:pt x="211" y="53"/>
                  </a:cubicBezTo>
                  <a:cubicBezTo>
                    <a:pt x="208" y="53"/>
                    <a:pt x="205" y="52"/>
                    <a:pt x="204" y="51"/>
                  </a:cubicBezTo>
                  <a:cubicBezTo>
                    <a:pt x="202" y="50"/>
                    <a:pt x="201" y="50"/>
                    <a:pt x="199" y="50"/>
                  </a:cubicBezTo>
                  <a:cubicBezTo>
                    <a:pt x="198" y="50"/>
                    <a:pt x="197" y="50"/>
                    <a:pt x="197" y="50"/>
                  </a:cubicBezTo>
                  <a:cubicBezTo>
                    <a:pt x="196" y="51"/>
                    <a:pt x="195" y="51"/>
                    <a:pt x="194" y="51"/>
                  </a:cubicBezTo>
                  <a:cubicBezTo>
                    <a:pt x="192" y="51"/>
                    <a:pt x="191" y="50"/>
                    <a:pt x="189" y="49"/>
                  </a:cubicBezTo>
                  <a:cubicBezTo>
                    <a:pt x="188" y="48"/>
                    <a:pt x="186" y="46"/>
                    <a:pt x="187" y="44"/>
                  </a:cubicBezTo>
                  <a:cubicBezTo>
                    <a:pt x="187" y="43"/>
                    <a:pt x="186" y="41"/>
                    <a:pt x="185" y="38"/>
                  </a:cubicBezTo>
                  <a:cubicBezTo>
                    <a:pt x="184" y="36"/>
                    <a:pt x="184" y="34"/>
                    <a:pt x="185" y="33"/>
                  </a:cubicBezTo>
                  <a:cubicBezTo>
                    <a:pt x="184" y="33"/>
                    <a:pt x="183" y="32"/>
                    <a:pt x="181" y="31"/>
                  </a:cubicBezTo>
                  <a:cubicBezTo>
                    <a:pt x="180" y="30"/>
                    <a:pt x="179" y="30"/>
                    <a:pt x="178" y="30"/>
                  </a:cubicBezTo>
                  <a:cubicBezTo>
                    <a:pt x="178" y="30"/>
                    <a:pt x="178" y="30"/>
                    <a:pt x="178" y="30"/>
                  </a:cubicBezTo>
                  <a:cubicBezTo>
                    <a:pt x="177" y="30"/>
                    <a:pt x="176" y="30"/>
                    <a:pt x="175" y="30"/>
                  </a:cubicBezTo>
                  <a:cubicBezTo>
                    <a:pt x="173" y="30"/>
                    <a:pt x="172" y="30"/>
                    <a:pt x="171" y="29"/>
                  </a:cubicBezTo>
                  <a:cubicBezTo>
                    <a:pt x="170" y="29"/>
                    <a:pt x="169" y="29"/>
                    <a:pt x="169" y="29"/>
                  </a:cubicBezTo>
                  <a:cubicBezTo>
                    <a:pt x="168" y="29"/>
                    <a:pt x="167" y="29"/>
                    <a:pt x="166" y="29"/>
                  </a:cubicBezTo>
                  <a:cubicBezTo>
                    <a:pt x="166" y="29"/>
                    <a:pt x="166" y="29"/>
                    <a:pt x="166" y="29"/>
                  </a:cubicBezTo>
                  <a:cubicBezTo>
                    <a:pt x="165" y="29"/>
                    <a:pt x="164" y="29"/>
                    <a:pt x="164" y="28"/>
                  </a:cubicBezTo>
                  <a:cubicBezTo>
                    <a:pt x="163" y="27"/>
                    <a:pt x="163" y="25"/>
                    <a:pt x="163" y="23"/>
                  </a:cubicBezTo>
                  <a:cubicBezTo>
                    <a:pt x="164" y="21"/>
                    <a:pt x="162" y="19"/>
                    <a:pt x="161" y="18"/>
                  </a:cubicBezTo>
                  <a:cubicBezTo>
                    <a:pt x="160" y="17"/>
                    <a:pt x="160" y="17"/>
                    <a:pt x="160" y="17"/>
                  </a:cubicBezTo>
                  <a:cubicBezTo>
                    <a:pt x="161" y="16"/>
                    <a:pt x="161" y="16"/>
                    <a:pt x="161" y="16"/>
                  </a:cubicBezTo>
                  <a:cubicBezTo>
                    <a:pt x="161" y="16"/>
                    <a:pt x="162" y="14"/>
                    <a:pt x="166" y="13"/>
                  </a:cubicBezTo>
                  <a:cubicBezTo>
                    <a:pt x="166" y="13"/>
                    <a:pt x="165" y="12"/>
                    <a:pt x="164" y="12"/>
                  </a:cubicBezTo>
                  <a:cubicBezTo>
                    <a:pt x="162" y="11"/>
                    <a:pt x="160" y="8"/>
                    <a:pt x="161" y="5"/>
                  </a:cubicBezTo>
                  <a:cubicBezTo>
                    <a:pt x="161" y="5"/>
                    <a:pt x="160" y="4"/>
                    <a:pt x="156" y="0"/>
                  </a:cubicBezTo>
                  <a:cubicBezTo>
                    <a:pt x="156" y="0"/>
                    <a:pt x="156" y="0"/>
                    <a:pt x="156" y="0"/>
                  </a:cubicBezTo>
                  <a:cubicBezTo>
                    <a:pt x="156" y="0"/>
                    <a:pt x="155" y="0"/>
                    <a:pt x="1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581"/>
            <p:cNvSpPr>
              <a:spLocks noEditPoints="1"/>
            </p:cNvSpPr>
            <p:nvPr/>
          </p:nvSpPr>
          <p:spPr bwMode="auto">
            <a:xfrm>
              <a:off x="106504" y="565227"/>
              <a:ext cx="10091352" cy="3490408"/>
            </a:xfrm>
            <a:custGeom>
              <a:gdLst>
                <a:gd name="T0" fmla="*/ 2725 w 3101"/>
                <a:gd name="T1" fmla="*/ 301 h 1070"/>
                <a:gd name="T2" fmla="*/ 2271 w 3101"/>
                <a:gd name="T3" fmla="*/ 211 h 1070"/>
                <a:gd name="T4" fmla="*/ 1965 w 3101"/>
                <a:gd name="T5" fmla="*/ 258 h 1070"/>
                <a:gd name="T6" fmla="*/ 1937 w 3101"/>
                <a:gd name="T7" fmla="*/ 225 h 1070"/>
                <a:gd name="T8" fmla="*/ 1934 w 3101"/>
                <a:gd name="T9" fmla="*/ 181 h 1070"/>
                <a:gd name="T10" fmla="*/ 1854 w 3101"/>
                <a:gd name="T11" fmla="*/ 156 h 1070"/>
                <a:gd name="T12" fmla="*/ 1733 w 3101"/>
                <a:gd name="T13" fmla="*/ 165 h 1070"/>
                <a:gd name="T14" fmla="*/ 1628 w 3101"/>
                <a:gd name="T15" fmla="*/ 153 h 1070"/>
                <a:gd name="T16" fmla="*/ 1570 w 3101"/>
                <a:gd name="T17" fmla="*/ 134 h 1070"/>
                <a:gd name="T18" fmla="*/ 1626 w 3101"/>
                <a:gd name="T19" fmla="*/ 81 h 1070"/>
                <a:gd name="T20" fmla="*/ 1632 w 3101"/>
                <a:gd name="T21" fmla="*/ 63 h 1070"/>
                <a:gd name="T22" fmla="*/ 1566 w 3101"/>
                <a:gd name="T23" fmla="*/ 41 h 1070"/>
                <a:gd name="T24" fmla="*/ 1501 w 3101"/>
                <a:gd name="T25" fmla="*/ 28 h 1070"/>
                <a:gd name="T26" fmla="*/ 1486 w 3101"/>
                <a:gd name="T27" fmla="*/ 18 h 1070"/>
                <a:gd name="T28" fmla="*/ 1403 w 3101"/>
                <a:gd name="T29" fmla="*/ 41 h 1070"/>
                <a:gd name="T30" fmla="*/ 1362 w 3101"/>
                <a:gd name="T31" fmla="*/ 53 h 1070"/>
                <a:gd name="T32" fmla="*/ 1314 w 3101"/>
                <a:gd name="T33" fmla="*/ 73 h 1070"/>
                <a:gd name="T34" fmla="*/ 1167 w 3101"/>
                <a:gd name="T35" fmla="*/ 93 h 1070"/>
                <a:gd name="T36" fmla="*/ 1131 w 3101"/>
                <a:gd name="T37" fmla="*/ 122 h 1070"/>
                <a:gd name="T38" fmla="*/ 1134 w 3101"/>
                <a:gd name="T39" fmla="*/ 132 h 1070"/>
                <a:gd name="T40" fmla="*/ 1010 w 3101"/>
                <a:gd name="T41" fmla="*/ 161 h 1070"/>
                <a:gd name="T42" fmla="*/ 1019 w 3101"/>
                <a:gd name="T43" fmla="*/ 203 h 1070"/>
                <a:gd name="T44" fmla="*/ 946 w 3101"/>
                <a:gd name="T45" fmla="*/ 240 h 1070"/>
                <a:gd name="T46" fmla="*/ 965 w 3101"/>
                <a:gd name="T47" fmla="*/ 255 h 1070"/>
                <a:gd name="T48" fmla="*/ 912 w 3101"/>
                <a:gd name="T49" fmla="*/ 232 h 1070"/>
                <a:gd name="T50" fmla="*/ 916 w 3101"/>
                <a:gd name="T51" fmla="*/ 202 h 1070"/>
                <a:gd name="T52" fmla="*/ 892 w 3101"/>
                <a:gd name="T53" fmla="*/ 266 h 1070"/>
                <a:gd name="T54" fmla="*/ 937 w 3101"/>
                <a:gd name="T55" fmla="*/ 317 h 1070"/>
                <a:gd name="T56" fmla="*/ 969 w 3101"/>
                <a:gd name="T57" fmla="*/ 366 h 1070"/>
                <a:gd name="T58" fmla="*/ 945 w 3101"/>
                <a:gd name="T59" fmla="*/ 335 h 1070"/>
                <a:gd name="T60" fmla="*/ 880 w 3101"/>
                <a:gd name="T61" fmla="*/ 389 h 1070"/>
                <a:gd name="T62" fmla="*/ 819 w 3101"/>
                <a:gd name="T63" fmla="*/ 397 h 1070"/>
                <a:gd name="T64" fmla="*/ 877 w 3101"/>
                <a:gd name="T65" fmla="*/ 336 h 1070"/>
                <a:gd name="T66" fmla="*/ 863 w 3101"/>
                <a:gd name="T67" fmla="*/ 260 h 1070"/>
                <a:gd name="T68" fmla="*/ 830 w 3101"/>
                <a:gd name="T69" fmla="*/ 186 h 1070"/>
                <a:gd name="T70" fmla="*/ 782 w 3101"/>
                <a:gd name="T71" fmla="*/ 219 h 1070"/>
                <a:gd name="T72" fmla="*/ 746 w 3101"/>
                <a:gd name="T73" fmla="*/ 261 h 1070"/>
                <a:gd name="T74" fmla="*/ 757 w 3101"/>
                <a:gd name="T75" fmla="*/ 300 h 1070"/>
                <a:gd name="T76" fmla="*/ 790 w 3101"/>
                <a:gd name="T77" fmla="*/ 325 h 1070"/>
                <a:gd name="T78" fmla="*/ 567 w 3101"/>
                <a:gd name="T79" fmla="*/ 336 h 1070"/>
                <a:gd name="T80" fmla="*/ 303 w 3101"/>
                <a:gd name="T81" fmla="*/ 414 h 1070"/>
                <a:gd name="T82" fmla="*/ 244 w 3101"/>
                <a:gd name="T83" fmla="*/ 360 h 1070"/>
                <a:gd name="T84" fmla="*/ 53 w 3101"/>
                <a:gd name="T85" fmla="*/ 461 h 1070"/>
                <a:gd name="T86" fmla="*/ 26 w 3101"/>
                <a:gd name="T87" fmla="*/ 708 h 1070"/>
                <a:gd name="T88" fmla="*/ 189 w 3101"/>
                <a:gd name="T89" fmla="*/ 851 h 1070"/>
                <a:gd name="T90" fmla="*/ 392 w 3101"/>
                <a:gd name="T91" fmla="*/ 1064 h 1070"/>
                <a:gd name="T92" fmla="*/ 367 w 3101"/>
                <a:gd name="T93" fmla="*/ 870 h 1070"/>
                <a:gd name="T94" fmla="*/ 519 w 3101"/>
                <a:gd name="T95" fmla="*/ 836 h 1070"/>
                <a:gd name="T96" fmla="*/ 636 w 3101"/>
                <a:gd name="T97" fmla="*/ 788 h 1070"/>
                <a:gd name="T98" fmla="*/ 715 w 3101"/>
                <a:gd name="T99" fmla="*/ 748 h 1070"/>
                <a:gd name="T100" fmla="*/ 880 w 3101"/>
                <a:gd name="T101" fmla="*/ 764 h 1070"/>
                <a:gd name="T102" fmla="*/ 1098 w 3101"/>
                <a:gd name="T103" fmla="*/ 862 h 1070"/>
                <a:gd name="T104" fmla="*/ 1275 w 3101"/>
                <a:gd name="T105" fmla="*/ 850 h 1070"/>
                <a:gd name="T106" fmla="*/ 1489 w 3101"/>
                <a:gd name="T107" fmla="*/ 850 h 1070"/>
                <a:gd name="T108" fmla="*/ 1779 w 3101"/>
                <a:gd name="T109" fmla="*/ 778 h 1070"/>
                <a:gd name="T110" fmla="*/ 1970 w 3101"/>
                <a:gd name="T111" fmla="*/ 913 h 1070"/>
                <a:gd name="T112" fmla="*/ 1976 w 3101"/>
                <a:gd name="T113" fmla="*/ 1041 h 1070"/>
                <a:gd name="T114" fmla="*/ 2151 w 3101"/>
                <a:gd name="T115" fmla="*/ 660 h 1070"/>
                <a:gd name="T116" fmla="*/ 2528 w 3101"/>
                <a:gd name="T117" fmla="*/ 576 h 1070"/>
                <a:gd name="T118" fmla="*/ 2552 w 3101"/>
                <a:gd name="T119" fmla="*/ 748 h 1070"/>
                <a:gd name="T120" fmla="*/ 2853 w 3101"/>
                <a:gd name="T121" fmla="*/ 523 h 1070"/>
                <a:gd name="T122" fmla="*/ 3031 w 3101"/>
                <a:gd name="T123" fmla="*/ 462 h 1070"/>
                <a:gd name="T124" fmla="*/ 1567 w 3101"/>
                <a:gd name="T125" fmla="*/ 734 h 107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1" h="1070">
                  <a:moveTo>
                    <a:pt x="3047" y="442"/>
                  </a:moveTo>
                  <a:cubicBezTo>
                    <a:pt x="3047" y="442"/>
                    <a:pt x="3049" y="442"/>
                    <a:pt x="3049" y="442"/>
                  </a:cubicBezTo>
                  <a:cubicBezTo>
                    <a:pt x="3051" y="441"/>
                    <a:pt x="3051" y="442"/>
                    <a:pt x="3052" y="441"/>
                  </a:cubicBezTo>
                  <a:cubicBezTo>
                    <a:pt x="3053" y="440"/>
                    <a:pt x="3054" y="436"/>
                    <a:pt x="3054" y="435"/>
                  </a:cubicBezTo>
                  <a:cubicBezTo>
                    <a:pt x="3052" y="436"/>
                    <a:pt x="3051" y="437"/>
                    <a:pt x="3049" y="435"/>
                  </a:cubicBezTo>
                  <a:cubicBezTo>
                    <a:pt x="3052" y="435"/>
                    <a:pt x="3051" y="433"/>
                    <a:pt x="3049" y="431"/>
                  </a:cubicBezTo>
                  <a:cubicBezTo>
                    <a:pt x="3047" y="430"/>
                    <a:pt x="3044" y="429"/>
                    <a:pt x="3042" y="428"/>
                  </a:cubicBezTo>
                  <a:cubicBezTo>
                    <a:pt x="3044" y="429"/>
                    <a:pt x="3046" y="428"/>
                    <a:pt x="3048" y="429"/>
                  </a:cubicBezTo>
                  <a:cubicBezTo>
                    <a:pt x="3050" y="429"/>
                    <a:pt x="3052" y="430"/>
                    <a:pt x="3052" y="432"/>
                  </a:cubicBezTo>
                  <a:cubicBezTo>
                    <a:pt x="3058" y="433"/>
                    <a:pt x="3064" y="434"/>
                    <a:pt x="3070" y="434"/>
                  </a:cubicBezTo>
                  <a:cubicBezTo>
                    <a:pt x="3072" y="435"/>
                    <a:pt x="3078" y="436"/>
                    <a:pt x="3076" y="432"/>
                  </a:cubicBezTo>
                  <a:cubicBezTo>
                    <a:pt x="3075" y="430"/>
                    <a:pt x="3072" y="430"/>
                    <a:pt x="3071" y="428"/>
                  </a:cubicBezTo>
                  <a:cubicBezTo>
                    <a:pt x="3070" y="428"/>
                    <a:pt x="3070" y="428"/>
                    <a:pt x="3069" y="427"/>
                  </a:cubicBezTo>
                  <a:cubicBezTo>
                    <a:pt x="3068" y="426"/>
                    <a:pt x="3067" y="425"/>
                    <a:pt x="3067" y="424"/>
                  </a:cubicBezTo>
                  <a:cubicBezTo>
                    <a:pt x="3069" y="424"/>
                    <a:pt x="3070" y="426"/>
                    <a:pt x="3072" y="428"/>
                  </a:cubicBezTo>
                  <a:cubicBezTo>
                    <a:pt x="3075" y="429"/>
                    <a:pt x="3081" y="431"/>
                    <a:pt x="3084" y="430"/>
                  </a:cubicBezTo>
                  <a:cubicBezTo>
                    <a:pt x="3086" y="430"/>
                    <a:pt x="3085" y="429"/>
                    <a:pt x="3085" y="428"/>
                  </a:cubicBezTo>
                  <a:cubicBezTo>
                    <a:pt x="3086" y="426"/>
                    <a:pt x="3088" y="425"/>
                    <a:pt x="3090" y="424"/>
                  </a:cubicBezTo>
                  <a:cubicBezTo>
                    <a:pt x="3092" y="423"/>
                    <a:pt x="3101" y="420"/>
                    <a:pt x="3101" y="416"/>
                  </a:cubicBezTo>
                  <a:cubicBezTo>
                    <a:pt x="3101" y="413"/>
                    <a:pt x="3098" y="414"/>
                    <a:pt x="3097" y="414"/>
                  </a:cubicBezTo>
                  <a:cubicBezTo>
                    <a:pt x="3095" y="414"/>
                    <a:pt x="3094" y="413"/>
                    <a:pt x="3092" y="414"/>
                  </a:cubicBezTo>
                  <a:cubicBezTo>
                    <a:pt x="3095" y="410"/>
                    <a:pt x="3087" y="409"/>
                    <a:pt x="3085" y="408"/>
                  </a:cubicBezTo>
                  <a:cubicBezTo>
                    <a:pt x="3084" y="407"/>
                    <a:pt x="3082" y="405"/>
                    <a:pt x="3081" y="404"/>
                  </a:cubicBezTo>
                  <a:cubicBezTo>
                    <a:pt x="3079" y="402"/>
                    <a:pt x="3076" y="401"/>
                    <a:pt x="3074" y="400"/>
                  </a:cubicBezTo>
                  <a:cubicBezTo>
                    <a:pt x="3070" y="396"/>
                    <a:pt x="3066" y="391"/>
                    <a:pt x="3061" y="389"/>
                  </a:cubicBezTo>
                  <a:cubicBezTo>
                    <a:pt x="3059" y="388"/>
                    <a:pt x="3059" y="388"/>
                    <a:pt x="3057" y="388"/>
                  </a:cubicBezTo>
                  <a:cubicBezTo>
                    <a:pt x="3056" y="388"/>
                    <a:pt x="3056" y="388"/>
                    <a:pt x="3055" y="388"/>
                  </a:cubicBezTo>
                  <a:cubicBezTo>
                    <a:pt x="3050" y="388"/>
                    <a:pt x="3043" y="386"/>
                    <a:pt x="3038" y="385"/>
                  </a:cubicBezTo>
                  <a:cubicBezTo>
                    <a:pt x="3041" y="386"/>
                    <a:pt x="3045" y="386"/>
                    <a:pt x="3048" y="388"/>
                  </a:cubicBezTo>
                  <a:cubicBezTo>
                    <a:pt x="3051" y="390"/>
                    <a:pt x="3046" y="389"/>
                    <a:pt x="3045" y="389"/>
                  </a:cubicBezTo>
                  <a:cubicBezTo>
                    <a:pt x="3043" y="388"/>
                    <a:pt x="3037" y="386"/>
                    <a:pt x="3035" y="387"/>
                  </a:cubicBezTo>
                  <a:cubicBezTo>
                    <a:pt x="3034" y="388"/>
                    <a:pt x="3033" y="390"/>
                    <a:pt x="3032" y="392"/>
                  </a:cubicBezTo>
                  <a:cubicBezTo>
                    <a:pt x="3032" y="390"/>
                    <a:pt x="3031" y="389"/>
                    <a:pt x="3032" y="387"/>
                  </a:cubicBezTo>
                  <a:cubicBezTo>
                    <a:pt x="3033" y="386"/>
                    <a:pt x="3036" y="386"/>
                    <a:pt x="3035" y="385"/>
                  </a:cubicBezTo>
                  <a:cubicBezTo>
                    <a:pt x="3034" y="384"/>
                    <a:pt x="3030" y="384"/>
                    <a:pt x="3029" y="383"/>
                  </a:cubicBezTo>
                  <a:cubicBezTo>
                    <a:pt x="3027" y="383"/>
                    <a:pt x="3026" y="383"/>
                    <a:pt x="3025" y="383"/>
                  </a:cubicBezTo>
                  <a:cubicBezTo>
                    <a:pt x="3023" y="384"/>
                    <a:pt x="3023" y="384"/>
                    <a:pt x="3021" y="384"/>
                  </a:cubicBezTo>
                  <a:cubicBezTo>
                    <a:pt x="3018" y="384"/>
                    <a:pt x="3010" y="382"/>
                    <a:pt x="3007" y="385"/>
                  </a:cubicBezTo>
                  <a:cubicBezTo>
                    <a:pt x="3008" y="385"/>
                    <a:pt x="3010" y="384"/>
                    <a:pt x="3011" y="384"/>
                  </a:cubicBezTo>
                  <a:cubicBezTo>
                    <a:pt x="3011" y="385"/>
                    <a:pt x="3010" y="385"/>
                    <a:pt x="3009" y="386"/>
                  </a:cubicBezTo>
                  <a:cubicBezTo>
                    <a:pt x="3010" y="386"/>
                    <a:pt x="3013" y="384"/>
                    <a:pt x="3014" y="385"/>
                  </a:cubicBezTo>
                  <a:cubicBezTo>
                    <a:pt x="3015" y="386"/>
                    <a:pt x="3014" y="387"/>
                    <a:pt x="3013" y="387"/>
                  </a:cubicBezTo>
                  <a:cubicBezTo>
                    <a:pt x="3016" y="388"/>
                    <a:pt x="3017" y="386"/>
                    <a:pt x="3018" y="389"/>
                  </a:cubicBezTo>
                  <a:cubicBezTo>
                    <a:pt x="3018" y="390"/>
                    <a:pt x="3019" y="392"/>
                    <a:pt x="3019" y="393"/>
                  </a:cubicBezTo>
                  <a:cubicBezTo>
                    <a:pt x="3019" y="394"/>
                    <a:pt x="3020" y="396"/>
                    <a:pt x="3020" y="397"/>
                  </a:cubicBezTo>
                  <a:cubicBezTo>
                    <a:pt x="3019" y="398"/>
                    <a:pt x="3016" y="398"/>
                    <a:pt x="3015" y="399"/>
                  </a:cubicBezTo>
                  <a:cubicBezTo>
                    <a:pt x="3013" y="401"/>
                    <a:pt x="3014" y="401"/>
                    <a:pt x="3016" y="401"/>
                  </a:cubicBezTo>
                  <a:cubicBezTo>
                    <a:pt x="3018" y="402"/>
                    <a:pt x="3020" y="402"/>
                    <a:pt x="3021" y="403"/>
                  </a:cubicBezTo>
                  <a:cubicBezTo>
                    <a:pt x="3023" y="404"/>
                    <a:pt x="3025" y="405"/>
                    <a:pt x="3024" y="406"/>
                  </a:cubicBezTo>
                  <a:cubicBezTo>
                    <a:pt x="3023" y="407"/>
                    <a:pt x="3021" y="407"/>
                    <a:pt x="3021" y="408"/>
                  </a:cubicBezTo>
                  <a:cubicBezTo>
                    <a:pt x="3020" y="408"/>
                    <a:pt x="3019" y="411"/>
                    <a:pt x="3019" y="412"/>
                  </a:cubicBezTo>
                  <a:cubicBezTo>
                    <a:pt x="3019" y="410"/>
                    <a:pt x="3020" y="404"/>
                    <a:pt x="3019" y="403"/>
                  </a:cubicBezTo>
                  <a:cubicBezTo>
                    <a:pt x="3018" y="403"/>
                    <a:pt x="3016" y="404"/>
                    <a:pt x="3015" y="404"/>
                  </a:cubicBezTo>
                  <a:cubicBezTo>
                    <a:pt x="3016" y="405"/>
                    <a:pt x="3012" y="408"/>
                    <a:pt x="3010" y="409"/>
                  </a:cubicBezTo>
                  <a:cubicBezTo>
                    <a:pt x="3011" y="407"/>
                    <a:pt x="3010" y="404"/>
                    <a:pt x="3010" y="403"/>
                  </a:cubicBezTo>
                  <a:cubicBezTo>
                    <a:pt x="3010" y="400"/>
                    <a:pt x="3002" y="398"/>
                    <a:pt x="3000" y="397"/>
                  </a:cubicBezTo>
                  <a:cubicBezTo>
                    <a:pt x="3001" y="397"/>
                    <a:pt x="3002" y="397"/>
                    <a:pt x="3002" y="396"/>
                  </a:cubicBezTo>
                  <a:cubicBezTo>
                    <a:pt x="3002" y="396"/>
                    <a:pt x="3004" y="395"/>
                    <a:pt x="3004" y="395"/>
                  </a:cubicBezTo>
                  <a:cubicBezTo>
                    <a:pt x="3007" y="392"/>
                    <a:pt x="3002" y="388"/>
                    <a:pt x="3002" y="384"/>
                  </a:cubicBezTo>
                  <a:cubicBezTo>
                    <a:pt x="3001" y="381"/>
                    <a:pt x="3004" y="378"/>
                    <a:pt x="3003" y="375"/>
                  </a:cubicBezTo>
                  <a:cubicBezTo>
                    <a:pt x="3003" y="374"/>
                    <a:pt x="3000" y="372"/>
                    <a:pt x="2999" y="372"/>
                  </a:cubicBezTo>
                  <a:cubicBezTo>
                    <a:pt x="3001" y="375"/>
                    <a:pt x="2996" y="376"/>
                    <a:pt x="2993" y="375"/>
                  </a:cubicBezTo>
                  <a:cubicBezTo>
                    <a:pt x="2995" y="373"/>
                    <a:pt x="2996" y="369"/>
                    <a:pt x="2994" y="366"/>
                  </a:cubicBezTo>
                  <a:cubicBezTo>
                    <a:pt x="2993" y="364"/>
                    <a:pt x="2990" y="363"/>
                    <a:pt x="2988" y="362"/>
                  </a:cubicBezTo>
                  <a:cubicBezTo>
                    <a:pt x="2984" y="360"/>
                    <a:pt x="2980" y="359"/>
                    <a:pt x="2976" y="357"/>
                  </a:cubicBezTo>
                  <a:cubicBezTo>
                    <a:pt x="2972" y="355"/>
                    <a:pt x="2968" y="353"/>
                    <a:pt x="2964" y="351"/>
                  </a:cubicBezTo>
                  <a:cubicBezTo>
                    <a:pt x="2962" y="350"/>
                    <a:pt x="2960" y="349"/>
                    <a:pt x="2958" y="348"/>
                  </a:cubicBezTo>
                  <a:cubicBezTo>
                    <a:pt x="2956" y="346"/>
                    <a:pt x="2954" y="347"/>
                    <a:pt x="2951" y="346"/>
                  </a:cubicBezTo>
                  <a:cubicBezTo>
                    <a:pt x="2950" y="346"/>
                    <a:pt x="2949" y="346"/>
                    <a:pt x="2948" y="346"/>
                  </a:cubicBezTo>
                  <a:cubicBezTo>
                    <a:pt x="2949" y="346"/>
                    <a:pt x="2951" y="346"/>
                    <a:pt x="2953" y="345"/>
                  </a:cubicBezTo>
                  <a:cubicBezTo>
                    <a:pt x="2950" y="344"/>
                    <a:pt x="2948" y="342"/>
                    <a:pt x="2945" y="341"/>
                  </a:cubicBezTo>
                  <a:cubicBezTo>
                    <a:pt x="2942" y="339"/>
                    <a:pt x="2939" y="338"/>
                    <a:pt x="2936" y="336"/>
                  </a:cubicBezTo>
                  <a:cubicBezTo>
                    <a:pt x="2940" y="339"/>
                    <a:pt x="2945" y="341"/>
                    <a:pt x="2949" y="343"/>
                  </a:cubicBezTo>
                  <a:cubicBezTo>
                    <a:pt x="2944" y="342"/>
                    <a:pt x="2939" y="340"/>
                    <a:pt x="2935" y="339"/>
                  </a:cubicBezTo>
                  <a:cubicBezTo>
                    <a:pt x="2933" y="338"/>
                    <a:pt x="2931" y="337"/>
                    <a:pt x="2929" y="337"/>
                  </a:cubicBezTo>
                  <a:cubicBezTo>
                    <a:pt x="2929" y="337"/>
                    <a:pt x="2927" y="333"/>
                    <a:pt x="2927" y="333"/>
                  </a:cubicBezTo>
                  <a:cubicBezTo>
                    <a:pt x="2924" y="330"/>
                    <a:pt x="2921" y="328"/>
                    <a:pt x="2917" y="325"/>
                  </a:cubicBezTo>
                  <a:cubicBezTo>
                    <a:pt x="2914" y="322"/>
                    <a:pt x="2909" y="322"/>
                    <a:pt x="2905" y="322"/>
                  </a:cubicBezTo>
                  <a:cubicBezTo>
                    <a:pt x="2894" y="316"/>
                    <a:pt x="2884" y="311"/>
                    <a:pt x="2873" y="306"/>
                  </a:cubicBezTo>
                  <a:cubicBezTo>
                    <a:pt x="2869" y="304"/>
                    <a:pt x="2864" y="303"/>
                    <a:pt x="2859" y="302"/>
                  </a:cubicBezTo>
                  <a:cubicBezTo>
                    <a:pt x="2856" y="302"/>
                    <a:pt x="2852" y="301"/>
                    <a:pt x="2848" y="300"/>
                  </a:cubicBezTo>
                  <a:cubicBezTo>
                    <a:pt x="2847" y="300"/>
                    <a:pt x="2844" y="300"/>
                    <a:pt x="2843" y="299"/>
                  </a:cubicBezTo>
                  <a:cubicBezTo>
                    <a:pt x="2839" y="296"/>
                    <a:pt x="2833" y="292"/>
                    <a:pt x="2829" y="291"/>
                  </a:cubicBezTo>
                  <a:cubicBezTo>
                    <a:pt x="2826" y="291"/>
                    <a:pt x="2824" y="291"/>
                    <a:pt x="2821" y="291"/>
                  </a:cubicBezTo>
                  <a:cubicBezTo>
                    <a:pt x="2819" y="291"/>
                    <a:pt x="2818" y="293"/>
                    <a:pt x="2815" y="293"/>
                  </a:cubicBezTo>
                  <a:cubicBezTo>
                    <a:pt x="2811" y="293"/>
                    <a:pt x="2806" y="292"/>
                    <a:pt x="2802" y="292"/>
                  </a:cubicBezTo>
                  <a:cubicBezTo>
                    <a:pt x="2795" y="291"/>
                    <a:pt x="2788" y="290"/>
                    <a:pt x="2781" y="289"/>
                  </a:cubicBezTo>
                  <a:cubicBezTo>
                    <a:pt x="2779" y="289"/>
                    <a:pt x="2777" y="290"/>
                    <a:pt x="2776" y="290"/>
                  </a:cubicBezTo>
                  <a:cubicBezTo>
                    <a:pt x="2776" y="290"/>
                    <a:pt x="2778" y="291"/>
                    <a:pt x="2779" y="292"/>
                  </a:cubicBezTo>
                  <a:cubicBezTo>
                    <a:pt x="2779" y="293"/>
                    <a:pt x="2778" y="293"/>
                    <a:pt x="2777" y="294"/>
                  </a:cubicBezTo>
                  <a:cubicBezTo>
                    <a:pt x="2776" y="295"/>
                    <a:pt x="2776" y="295"/>
                    <a:pt x="2775" y="294"/>
                  </a:cubicBezTo>
                  <a:cubicBezTo>
                    <a:pt x="2772" y="293"/>
                    <a:pt x="2770" y="291"/>
                    <a:pt x="2768" y="289"/>
                  </a:cubicBezTo>
                  <a:cubicBezTo>
                    <a:pt x="2766" y="288"/>
                    <a:pt x="2766" y="289"/>
                    <a:pt x="2764" y="289"/>
                  </a:cubicBezTo>
                  <a:cubicBezTo>
                    <a:pt x="2751" y="287"/>
                    <a:pt x="2739" y="286"/>
                    <a:pt x="2726" y="284"/>
                  </a:cubicBezTo>
                  <a:cubicBezTo>
                    <a:pt x="2725" y="284"/>
                    <a:pt x="2722" y="283"/>
                    <a:pt x="2722" y="284"/>
                  </a:cubicBezTo>
                  <a:cubicBezTo>
                    <a:pt x="2722" y="284"/>
                    <a:pt x="2725" y="284"/>
                    <a:pt x="2725" y="285"/>
                  </a:cubicBezTo>
                  <a:cubicBezTo>
                    <a:pt x="2726" y="286"/>
                    <a:pt x="2724" y="288"/>
                    <a:pt x="2724" y="289"/>
                  </a:cubicBezTo>
                  <a:cubicBezTo>
                    <a:pt x="2725" y="290"/>
                    <a:pt x="2725" y="291"/>
                    <a:pt x="2725" y="292"/>
                  </a:cubicBezTo>
                  <a:cubicBezTo>
                    <a:pt x="2725" y="294"/>
                    <a:pt x="2722" y="295"/>
                    <a:pt x="2721" y="296"/>
                  </a:cubicBezTo>
                  <a:cubicBezTo>
                    <a:pt x="2719" y="297"/>
                    <a:pt x="2716" y="300"/>
                    <a:pt x="2718" y="301"/>
                  </a:cubicBezTo>
                  <a:cubicBezTo>
                    <a:pt x="2719" y="303"/>
                    <a:pt x="2723" y="300"/>
                    <a:pt x="2725" y="301"/>
                  </a:cubicBezTo>
                  <a:cubicBezTo>
                    <a:pt x="2727" y="302"/>
                    <a:pt x="2727" y="304"/>
                    <a:pt x="2728" y="305"/>
                  </a:cubicBezTo>
                  <a:cubicBezTo>
                    <a:pt x="2728" y="307"/>
                    <a:pt x="2729" y="308"/>
                    <a:pt x="2730" y="309"/>
                  </a:cubicBezTo>
                  <a:cubicBezTo>
                    <a:pt x="2731" y="311"/>
                    <a:pt x="2732" y="311"/>
                    <a:pt x="2732" y="313"/>
                  </a:cubicBezTo>
                  <a:cubicBezTo>
                    <a:pt x="2732" y="314"/>
                    <a:pt x="2732" y="315"/>
                    <a:pt x="2732" y="315"/>
                  </a:cubicBezTo>
                  <a:cubicBezTo>
                    <a:pt x="2732" y="316"/>
                    <a:pt x="2733" y="316"/>
                    <a:pt x="2733" y="317"/>
                  </a:cubicBezTo>
                  <a:cubicBezTo>
                    <a:pt x="2734" y="319"/>
                    <a:pt x="2733" y="320"/>
                    <a:pt x="2731" y="321"/>
                  </a:cubicBezTo>
                  <a:cubicBezTo>
                    <a:pt x="2727" y="324"/>
                    <a:pt x="2728" y="324"/>
                    <a:pt x="2728" y="328"/>
                  </a:cubicBezTo>
                  <a:cubicBezTo>
                    <a:pt x="2727" y="326"/>
                    <a:pt x="2724" y="326"/>
                    <a:pt x="2723" y="326"/>
                  </a:cubicBezTo>
                  <a:cubicBezTo>
                    <a:pt x="2724" y="327"/>
                    <a:pt x="2725" y="328"/>
                    <a:pt x="2726" y="329"/>
                  </a:cubicBezTo>
                  <a:cubicBezTo>
                    <a:pt x="2723" y="328"/>
                    <a:pt x="2721" y="327"/>
                    <a:pt x="2717" y="328"/>
                  </a:cubicBezTo>
                  <a:cubicBezTo>
                    <a:pt x="2714" y="328"/>
                    <a:pt x="2709" y="330"/>
                    <a:pt x="2706" y="329"/>
                  </a:cubicBezTo>
                  <a:cubicBezTo>
                    <a:pt x="2702" y="327"/>
                    <a:pt x="2706" y="320"/>
                    <a:pt x="2701" y="318"/>
                  </a:cubicBezTo>
                  <a:cubicBezTo>
                    <a:pt x="2699" y="317"/>
                    <a:pt x="2697" y="317"/>
                    <a:pt x="2695" y="316"/>
                  </a:cubicBezTo>
                  <a:cubicBezTo>
                    <a:pt x="2693" y="315"/>
                    <a:pt x="2691" y="315"/>
                    <a:pt x="2689" y="314"/>
                  </a:cubicBezTo>
                  <a:cubicBezTo>
                    <a:pt x="2684" y="314"/>
                    <a:pt x="2680" y="314"/>
                    <a:pt x="2680" y="308"/>
                  </a:cubicBezTo>
                  <a:cubicBezTo>
                    <a:pt x="2680" y="306"/>
                    <a:pt x="2682" y="304"/>
                    <a:pt x="2680" y="302"/>
                  </a:cubicBezTo>
                  <a:cubicBezTo>
                    <a:pt x="2680" y="302"/>
                    <a:pt x="2678" y="301"/>
                    <a:pt x="2677" y="301"/>
                  </a:cubicBezTo>
                  <a:cubicBezTo>
                    <a:pt x="2677" y="300"/>
                    <a:pt x="2676" y="300"/>
                    <a:pt x="2676" y="300"/>
                  </a:cubicBezTo>
                  <a:cubicBezTo>
                    <a:pt x="2675" y="299"/>
                    <a:pt x="2676" y="300"/>
                    <a:pt x="2676" y="299"/>
                  </a:cubicBezTo>
                  <a:cubicBezTo>
                    <a:pt x="2672" y="290"/>
                    <a:pt x="2664" y="302"/>
                    <a:pt x="2660" y="302"/>
                  </a:cubicBezTo>
                  <a:cubicBezTo>
                    <a:pt x="2653" y="302"/>
                    <a:pt x="2646" y="302"/>
                    <a:pt x="2638" y="302"/>
                  </a:cubicBezTo>
                  <a:cubicBezTo>
                    <a:pt x="2634" y="302"/>
                    <a:pt x="2629" y="302"/>
                    <a:pt x="2625" y="301"/>
                  </a:cubicBezTo>
                  <a:cubicBezTo>
                    <a:pt x="2618" y="300"/>
                    <a:pt x="2611" y="298"/>
                    <a:pt x="2604" y="296"/>
                  </a:cubicBezTo>
                  <a:cubicBezTo>
                    <a:pt x="2603" y="296"/>
                    <a:pt x="2601" y="296"/>
                    <a:pt x="2600" y="296"/>
                  </a:cubicBezTo>
                  <a:cubicBezTo>
                    <a:pt x="2599" y="296"/>
                    <a:pt x="2598" y="297"/>
                    <a:pt x="2597" y="297"/>
                  </a:cubicBezTo>
                  <a:cubicBezTo>
                    <a:pt x="2589" y="297"/>
                    <a:pt x="2582" y="298"/>
                    <a:pt x="2575" y="299"/>
                  </a:cubicBezTo>
                  <a:cubicBezTo>
                    <a:pt x="2573" y="299"/>
                    <a:pt x="2571" y="299"/>
                    <a:pt x="2569" y="299"/>
                  </a:cubicBezTo>
                  <a:cubicBezTo>
                    <a:pt x="2569" y="299"/>
                    <a:pt x="2569" y="299"/>
                    <a:pt x="2569" y="299"/>
                  </a:cubicBezTo>
                  <a:cubicBezTo>
                    <a:pt x="2569" y="299"/>
                    <a:pt x="2569" y="299"/>
                    <a:pt x="2569" y="299"/>
                  </a:cubicBezTo>
                  <a:cubicBezTo>
                    <a:pt x="2560" y="300"/>
                    <a:pt x="2552" y="301"/>
                    <a:pt x="2543" y="302"/>
                  </a:cubicBezTo>
                  <a:cubicBezTo>
                    <a:pt x="2540" y="302"/>
                    <a:pt x="2535" y="300"/>
                    <a:pt x="2532" y="299"/>
                  </a:cubicBezTo>
                  <a:cubicBezTo>
                    <a:pt x="2528" y="298"/>
                    <a:pt x="2524" y="297"/>
                    <a:pt x="2519" y="296"/>
                  </a:cubicBezTo>
                  <a:cubicBezTo>
                    <a:pt x="2521" y="295"/>
                    <a:pt x="2518" y="292"/>
                    <a:pt x="2518" y="290"/>
                  </a:cubicBezTo>
                  <a:cubicBezTo>
                    <a:pt x="2519" y="290"/>
                    <a:pt x="2520" y="289"/>
                    <a:pt x="2520" y="289"/>
                  </a:cubicBezTo>
                  <a:cubicBezTo>
                    <a:pt x="2521" y="287"/>
                    <a:pt x="2519" y="286"/>
                    <a:pt x="2519" y="283"/>
                  </a:cubicBezTo>
                  <a:cubicBezTo>
                    <a:pt x="2519" y="283"/>
                    <a:pt x="2521" y="283"/>
                    <a:pt x="2521" y="283"/>
                  </a:cubicBezTo>
                  <a:cubicBezTo>
                    <a:pt x="2523" y="283"/>
                    <a:pt x="2523" y="284"/>
                    <a:pt x="2524" y="282"/>
                  </a:cubicBezTo>
                  <a:cubicBezTo>
                    <a:pt x="2526" y="280"/>
                    <a:pt x="2524" y="277"/>
                    <a:pt x="2523" y="274"/>
                  </a:cubicBezTo>
                  <a:cubicBezTo>
                    <a:pt x="2522" y="271"/>
                    <a:pt x="2521" y="266"/>
                    <a:pt x="2517" y="264"/>
                  </a:cubicBezTo>
                  <a:cubicBezTo>
                    <a:pt x="2516" y="263"/>
                    <a:pt x="2514" y="262"/>
                    <a:pt x="2513" y="261"/>
                  </a:cubicBezTo>
                  <a:cubicBezTo>
                    <a:pt x="2510" y="259"/>
                    <a:pt x="2507" y="258"/>
                    <a:pt x="2504" y="257"/>
                  </a:cubicBezTo>
                  <a:cubicBezTo>
                    <a:pt x="2494" y="254"/>
                    <a:pt x="2485" y="251"/>
                    <a:pt x="2475" y="251"/>
                  </a:cubicBezTo>
                  <a:cubicBezTo>
                    <a:pt x="2469" y="250"/>
                    <a:pt x="2462" y="250"/>
                    <a:pt x="2456" y="250"/>
                  </a:cubicBezTo>
                  <a:cubicBezTo>
                    <a:pt x="2453" y="250"/>
                    <a:pt x="2450" y="250"/>
                    <a:pt x="2447" y="250"/>
                  </a:cubicBezTo>
                  <a:cubicBezTo>
                    <a:pt x="2443" y="250"/>
                    <a:pt x="2440" y="251"/>
                    <a:pt x="2436" y="251"/>
                  </a:cubicBezTo>
                  <a:cubicBezTo>
                    <a:pt x="2430" y="252"/>
                    <a:pt x="2423" y="253"/>
                    <a:pt x="2417" y="254"/>
                  </a:cubicBezTo>
                  <a:cubicBezTo>
                    <a:pt x="2414" y="255"/>
                    <a:pt x="2411" y="256"/>
                    <a:pt x="2408" y="257"/>
                  </a:cubicBezTo>
                  <a:cubicBezTo>
                    <a:pt x="2405" y="258"/>
                    <a:pt x="2402" y="257"/>
                    <a:pt x="2398" y="258"/>
                  </a:cubicBezTo>
                  <a:cubicBezTo>
                    <a:pt x="2396" y="258"/>
                    <a:pt x="2392" y="258"/>
                    <a:pt x="2389" y="259"/>
                  </a:cubicBezTo>
                  <a:cubicBezTo>
                    <a:pt x="2385" y="259"/>
                    <a:pt x="2383" y="261"/>
                    <a:pt x="2379" y="260"/>
                  </a:cubicBezTo>
                  <a:cubicBezTo>
                    <a:pt x="2375" y="258"/>
                    <a:pt x="2370" y="256"/>
                    <a:pt x="2365" y="254"/>
                  </a:cubicBezTo>
                  <a:cubicBezTo>
                    <a:pt x="2367" y="254"/>
                    <a:pt x="2368" y="254"/>
                    <a:pt x="2370" y="254"/>
                  </a:cubicBezTo>
                  <a:cubicBezTo>
                    <a:pt x="2369" y="251"/>
                    <a:pt x="2366" y="248"/>
                    <a:pt x="2364" y="245"/>
                  </a:cubicBezTo>
                  <a:cubicBezTo>
                    <a:pt x="2361" y="242"/>
                    <a:pt x="2360" y="241"/>
                    <a:pt x="2357" y="240"/>
                  </a:cubicBezTo>
                  <a:cubicBezTo>
                    <a:pt x="2351" y="239"/>
                    <a:pt x="2350" y="241"/>
                    <a:pt x="2345" y="243"/>
                  </a:cubicBezTo>
                  <a:cubicBezTo>
                    <a:pt x="2345" y="243"/>
                    <a:pt x="2347" y="239"/>
                    <a:pt x="2347" y="240"/>
                  </a:cubicBezTo>
                  <a:cubicBezTo>
                    <a:pt x="2345" y="240"/>
                    <a:pt x="2345" y="241"/>
                    <a:pt x="2344" y="242"/>
                  </a:cubicBezTo>
                  <a:cubicBezTo>
                    <a:pt x="2341" y="244"/>
                    <a:pt x="2337" y="244"/>
                    <a:pt x="2334" y="246"/>
                  </a:cubicBezTo>
                  <a:cubicBezTo>
                    <a:pt x="2334" y="244"/>
                    <a:pt x="2339" y="242"/>
                    <a:pt x="2340" y="241"/>
                  </a:cubicBezTo>
                  <a:cubicBezTo>
                    <a:pt x="2342" y="239"/>
                    <a:pt x="2344" y="238"/>
                    <a:pt x="2346" y="236"/>
                  </a:cubicBezTo>
                  <a:cubicBezTo>
                    <a:pt x="2345" y="235"/>
                    <a:pt x="2342" y="235"/>
                    <a:pt x="2341" y="235"/>
                  </a:cubicBezTo>
                  <a:cubicBezTo>
                    <a:pt x="2340" y="236"/>
                    <a:pt x="2338" y="235"/>
                    <a:pt x="2337" y="235"/>
                  </a:cubicBezTo>
                  <a:cubicBezTo>
                    <a:pt x="2336" y="235"/>
                    <a:pt x="2332" y="237"/>
                    <a:pt x="2331" y="236"/>
                  </a:cubicBezTo>
                  <a:cubicBezTo>
                    <a:pt x="2330" y="235"/>
                    <a:pt x="2333" y="232"/>
                    <a:pt x="2335" y="232"/>
                  </a:cubicBezTo>
                  <a:cubicBezTo>
                    <a:pt x="2333" y="229"/>
                    <a:pt x="2327" y="231"/>
                    <a:pt x="2324" y="230"/>
                  </a:cubicBezTo>
                  <a:cubicBezTo>
                    <a:pt x="2322" y="230"/>
                    <a:pt x="2321" y="230"/>
                    <a:pt x="2319" y="229"/>
                  </a:cubicBezTo>
                  <a:cubicBezTo>
                    <a:pt x="2317" y="229"/>
                    <a:pt x="2314" y="230"/>
                    <a:pt x="2311" y="229"/>
                  </a:cubicBezTo>
                  <a:cubicBezTo>
                    <a:pt x="2313" y="228"/>
                    <a:pt x="2312" y="226"/>
                    <a:pt x="2311" y="225"/>
                  </a:cubicBezTo>
                  <a:cubicBezTo>
                    <a:pt x="2313" y="226"/>
                    <a:pt x="2314" y="226"/>
                    <a:pt x="2316" y="226"/>
                  </a:cubicBezTo>
                  <a:cubicBezTo>
                    <a:pt x="2318" y="227"/>
                    <a:pt x="2319" y="223"/>
                    <a:pt x="2320" y="222"/>
                  </a:cubicBezTo>
                  <a:cubicBezTo>
                    <a:pt x="2324" y="220"/>
                    <a:pt x="2325" y="228"/>
                    <a:pt x="2329" y="226"/>
                  </a:cubicBezTo>
                  <a:cubicBezTo>
                    <a:pt x="2331" y="225"/>
                    <a:pt x="2335" y="223"/>
                    <a:pt x="2334" y="220"/>
                  </a:cubicBezTo>
                  <a:cubicBezTo>
                    <a:pt x="2334" y="219"/>
                    <a:pt x="2332" y="218"/>
                    <a:pt x="2331" y="217"/>
                  </a:cubicBezTo>
                  <a:cubicBezTo>
                    <a:pt x="2329" y="215"/>
                    <a:pt x="2326" y="213"/>
                    <a:pt x="2323" y="212"/>
                  </a:cubicBezTo>
                  <a:cubicBezTo>
                    <a:pt x="2319" y="210"/>
                    <a:pt x="2315" y="210"/>
                    <a:pt x="2310" y="209"/>
                  </a:cubicBezTo>
                  <a:cubicBezTo>
                    <a:pt x="2306" y="208"/>
                    <a:pt x="2302" y="207"/>
                    <a:pt x="2298" y="206"/>
                  </a:cubicBezTo>
                  <a:cubicBezTo>
                    <a:pt x="2294" y="206"/>
                    <a:pt x="2291" y="206"/>
                    <a:pt x="2288" y="206"/>
                  </a:cubicBezTo>
                  <a:cubicBezTo>
                    <a:pt x="2285" y="206"/>
                    <a:pt x="2281" y="206"/>
                    <a:pt x="2278" y="207"/>
                  </a:cubicBezTo>
                  <a:cubicBezTo>
                    <a:pt x="2275" y="209"/>
                    <a:pt x="2273" y="213"/>
                    <a:pt x="2270" y="215"/>
                  </a:cubicBezTo>
                  <a:cubicBezTo>
                    <a:pt x="2268" y="216"/>
                    <a:pt x="2266" y="220"/>
                    <a:pt x="2264" y="222"/>
                  </a:cubicBezTo>
                  <a:cubicBezTo>
                    <a:pt x="2262" y="223"/>
                    <a:pt x="2261" y="224"/>
                    <a:pt x="2260" y="225"/>
                  </a:cubicBezTo>
                  <a:cubicBezTo>
                    <a:pt x="2258" y="226"/>
                    <a:pt x="2257" y="226"/>
                    <a:pt x="2255" y="226"/>
                  </a:cubicBezTo>
                  <a:cubicBezTo>
                    <a:pt x="2253" y="227"/>
                    <a:pt x="2252" y="227"/>
                    <a:pt x="2249" y="227"/>
                  </a:cubicBezTo>
                  <a:cubicBezTo>
                    <a:pt x="2245" y="228"/>
                    <a:pt x="2241" y="229"/>
                    <a:pt x="2236" y="229"/>
                  </a:cubicBezTo>
                  <a:cubicBezTo>
                    <a:pt x="2237" y="226"/>
                    <a:pt x="2236" y="226"/>
                    <a:pt x="2239" y="226"/>
                  </a:cubicBezTo>
                  <a:cubicBezTo>
                    <a:pt x="2239" y="226"/>
                    <a:pt x="2240" y="225"/>
                    <a:pt x="2241" y="225"/>
                  </a:cubicBezTo>
                  <a:cubicBezTo>
                    <a:pt x="2243" y="225"/>
                    <a:pt x="2240" y="223"/>
                    <a:pt x="2239" y="223"/>
                  </a:cubicBezTo>
                  <a:cubicBezTo>
                    <a:pt x="2236" y="220"/>
                    <a:pt x="2238" y="219"/>
                    <a:pt x="2241" y="221"/>
                  </a:cubicBezTo>
                  <a:cubicBezTo>
                    <a:pt x="2244" y="222"/>
                    <a:pt x="2245" y="223"/>
                    <a:pt x="2248" y="222"/>
                  </a:cubicBezTo>
                  <a:cubicBezTo>
                    <a:pt x="2249" y="221"/>
                    <a:pt x="2251" y="222"/>
                    <a:pt x="2253" y="221"/>
                  </a:cubicBezTo>
                  <a:cubicBezTo>
                    <a:pt x="2256" y="220"/>
                    <a:pt x="2251" y="217"/>
                    <a:pt x="2251" y="216"/>
                  </a:cubicBezTo>
                  <a:cubicBezTo>
                    <a:pt x="2250" y="215"/>
                    <a:pt x="2252" y="210"/>
                    <a:pt x="2253" y="210"/>
                  </a:cubicBezTo>
                  <a:cubicBezTo>
                    <a:pt x="2255" y="208"/>
                    <a:pt x="2256" y="214"/>
                    <a:pt x="2256" y="215"/>
                  </a:cubicBezTo>
                  <a:cubicBezTo>
                    <a:pt x="2257" y="215"/>
                    <a:pt x="2257" y="215"/>
                    <a:pt x="2257" y="216"/>
                  </a:cubicBezTo>
                  <a:cubicBezTo>
                    <a:pt x="2258" y="213"/>
                    <a:pt x="2262" y="212"/>
                    <a:pt x="2264" y="214"/>
                  </a:cubicBezTo>
                  <a:cubicBezTo>
                    <a:pt x="2262" y="214"/>
                    <a:pt x="2261" y="216"/>
                    <a:pt x="2259" y="217"/>
                  </a:cubicBezTo>
                  <a:cubicBezTo>
                    <a:pt x="2257" y="217"/>
                    <a:pt x="2258" y="217"/>
                    <a:pt x="2257" y="219"/>
                  </a:cubicBezTo>
                  <a:cubicBezTo>
                    <a:pt x="2257" y="220"/>
                    <a:pt x="2256" y="222"/>
                    <a:pt x="2257" y="223"/>
                  </a:cubicBezTo>
                  <a:cubicBezTo>
                    <a:pt x="2257" y="224"/>
                    <a:pt x="2258" y="223"/>
                    <a:pt x="2259" y="222"/>
                  </a:cubicBezTo>
                  <a:cubicBezTo>
                    <a:pt x="2260" y="221"/>
                    <a:pt x="2261" y="220"/>
                    <a:pt x="2263" y="219"/>
                  </a:cubicBezTo>
                  <a:cubicBezTo>
                    <a:pt x="2266" y="217"/>
                    <a:pt x="2269" y="213"/>
                    <a:pt x="2271" y="211"/>
                  </a:cubicBezTo>
                  <a:cubicBezTo>
                    <a:pt x="2273" y="209"/>
                    <a:pt x="2276" y="207"/>
                    <a:pt x="2272" y="207"/>
                  </a:cubicBezTo>
                  <a:cubicBezTo>
                    <a:pt x="2271" y="207"/>
                    <a:pt x="2269" y="207"/>
                    <a:pt x="2268" y="207"/>
                  </a:cubicBezTo>
                  <a:cubicBezTo>
                    <a:pt x="2253" y="207"/>
                    <a:pt x="2238" y="210"/>
                    <a:pt x="2223" y="210"/>
                  </a:cubicBezTo>
                  <a:cubicBezTo>
                    <a:pt x="2224" y="209"/>
                    <a:pt x="2225" y="209"/>
                    <a:pt x="2227" y="208"/>
                  </a:cubicBezTo>
                  <a:cubicBezTo>
                    <a:pt x="2226" y="208"/>
                    <a:pt x="2226" y="208"/>
                    <a:pt x="2226" y="208"/>
                  </a:cubicBezTo>
                  <a:cubicBezTo>
                    <a:pt x="2226" y="208"/>
                    <a:pt x="2226" y="208"/>
                    <a:pt x="2226" y="208"/>
                  </a:cubicBezTo>
                  <a:cubicBezTo>
                    <a:pt x="2227" y="208"/>
                    <a:pt x="2228" y="207"/>
                    <a:pt x="2229" y="207"/>
                  </a:cubicBezTo>
                  <a:cubicBezTo>
                    <a:pt x="2231" y="206"/>
                    <a:pt x="2232" y="205"/>
                    <a:pt x="2233" y="204"/>
                  </a:cubicBezTo>
                  <a:cubicBezTo>
                    <a:pt x="2233" y="204"/>
                    <a:pt x="2233" y="205"/>
                    <a:pt x="2233" y="205"/>
                  </a:cubicBezTo>
                  <a:cubicBezTo>
                    <a:pt x="2236" y="203"/>
                    <a:pt x="2237" y="203"/>
                    <a:pt x="2240" y="203"/>
                  </a:cubicBezTo>
                  <a:cubicBezTo>
                    <a:pt x="2242" y="203"/>
                    <a:pt x="2243" y="205"/>
                    <a:pt x="2245" y="205"/>
                  </a:cubicBezTo>
                  <a:cubicBezTo>
                    <a:pt x="2254" y="205"/>
                    <a:pt x="2264" y="205"/>
                    <a:pt x="2273" y="206"/>
                  </a:cubicBezTo>
                  <a:cubicBezTo>
                    <a:pt x="2261" y="202"/>
                    <a:pt x="2250" y="199"/>
                    <a:pt x="2238" y="197"/>
                  </a:cubicBezTo>
                  <a:cubicBezTo>
                    <a:pt x="2238" y="197"/>
                    <a:pt x="2238" y="197"/>
                    <a:pt x="2237" y="197"/>
                  </a:cubicBezTo>
                  <a:cubicBezTo>
                    <a:pt x="2237" y="197"/>
                    <a:pt x="2237" y="197"/>
                    <a:pt x="2236" y="197"/>
                  </a:cubicBezTo>
                  <a:cubicBezTo>
                    <a:pt x="2232" y="197"/>
                    <a:pt x="2229" y="195"/>
                    <a:pt x="2225" y="195"/>
                  </a:cubicBezTo>
                  <a:cubicBezTo>
                    <a:pt x="2218" y="195"/>
                    <a:pt x="2211" y="193"/>
                    <a:pt x="2204" y="193"/>
                  </a:cubicBezTo>
                  <a:cubicBezTo>
                    <a:pt x="2201" y="193"/>
                    <a:pt x="2198" y="193"/>
                    <a:pt x="2195" y="193"/>
                  </a:cubicBezTo>
                  <a:cubicBezTo>
                    <a:pt x="2191" y="193"/>
                    <a:pt x="2188" y="193"/>
                    <a:pt x="2185" y="193"/>
                  </a:cubicBezTo>
                  <a:cubicBezTo>
                    <a:pt x="2180" y="192"/>
                    <a:pt x="2175" y="190"/>
                    <a:pt x="2171" y="188"/>
                  </a:cubicBezTo>
                  <a:cubicBezTo>
                    <a:pt x="2166" y="186"/>
                    <a:pt x="2160" y="187"/>
                    <a:pt x="2154" y="186"/>
                  </a:cubicBezTo>
                  <a:cubicBezTo>
                    <a:pt x="2157" y="190"/>
                    <a:pt x="2161" y="193"/>
                    <a:pt x="2163" y="198"/>
                  </a:cubicBezTo>
                  <a:cubicBezTo>
                    <a:pt x="2161" y="198"/>
                    <a:pt x="2158" y="199"/>
                    <a:pt x="2156" y="200"/>
                  </a:cubicBezTo>
                  <a:cubicBezTo>
                    <a:pt x="2154" y="201"/>
                    <a:pt x="2151" y="201"/>
                    <a:pt x="2149" y="201"/>
                  </a:cubicBezTo>
                  <a:cubicBezTo>
                    <a:pt x="2147" y="201"/>
                    <a:pt x="2145" y="201"/>
                    <a:pt x="2143" y="201"/>
                  </a:cubicBezTo>
                  <a:cubicBezTo>
                    <a:pt x="2140" y="201"/>
                    <a:pt x="2138" y="203"/>
                    <a:pt x="2136" y="204"/>
                  </a:cubicBezTo>
                  <a:cubicBezTo>
                    <a:pt x="2132" y="206"/>
                    <a:pt x="2129" y="208"/>
                    <a:pt x="2126" y="210"/>
                  </a:cubicBezTo>
                  <a:cubicBezTo>
                    <a:pt x="2128" y="213"/>
                    <a:pt x="2131" y="212"/>
                    <a:pt x="2133" y="211"/>
                  </a:cubicBezTo>
                  <a:cubicBezTo>
                    <a:pt x="2135" y="209"/>
                    <a:pt x="2139" y="210"/>
                    <a:pt x="2141" y="210"/>
                  </a:cubicBezTo>
                  <a:cubicBezTo>
                    <a:pt x="2143" y="210"/>
                    <a:pt x="2144" y="209"/>
                    <a:pt x="2145" y="211"/>
                  </a:cubicBezTo>
                  <a:cubicBezTo>
                    <a:pt x="2147" y="213"/>
                    <a:pt x="2145" y="213"/>
                    <a:pt x="2143" y="213"/>
                  </a:cubicBezTo>
                  <a:cubicBezTo>
                    <a:pt x="2143" y="213"/>
                    <a:pt x="2142" y="213"/>
                    <a:pt x="2141" y="214"/>
                  </a:cubicBezTo>
                  <a:cubicBezTo>
                    <a:pt x="2140" y="215"/>
                    <a:pt x="2138" y="217"/>
                    <a:pt x="2137" y="219"/>
                  </a:cubicBezTo>
                  <a:cubicBezTo>
                    <a:pt x="2135" y="221"/>
                    <a:pt x="2133" y="220"/>
                    <a:pt x="2131" y="220"/>
                  </a:cubicBezTo>
                  <a:cubicBezTo>
                    <a:pt x="2136" y="221"/>
                    <a:pt x="2137" y="221"/>
                    <a:pt x="2137" y="226"/>
                  </a:cubicBezTo>
                  <a:cubicBezTo>
                    <a:pt x="2137" y="228"/>
                    <a:pt x="2138" y="230"/>
                    <a:pt x="2139" y="232"/>
                  </a:cubicBezTo>
                  <a:cubicBezTo>
                    <a:pt x="2140" y="234"/>
                    <a:pt x="2142" y="234"/>
                    <a:pt x="2143" y="237"/>
                  </a:cubicBezTo>
                  <a:cubicBezTo>
                    <a:pt x="2141" y="236"/>
                    <a:pt x="2139" y="238"/>
                    <a:pt x="2137" y="237"/>
                  </a:cubicBezTo>
                  <a:cubicBezTo>
                    <a:pt x="2134" y="235"/>
                    <a:pt x="2133" y="236"/>
                    <a:pt x="2131" y="238"/>
                  </a:cubicBezTo>
                  <a:cubicBezTo>
                    <a:pt x="2127" y="242"/>
                    <a:pt x="2126" y="235"/>
                    <a:pt x="2124" y="233"/>
                  </a:cubicBezTo>
                  <a:cubicBezTo>
                    <a:pt x="2124" y="233"/>
                    <a:pt x="2120" y="231"/>
                    <a:pt x="2120" y="231"/>
                  </a:cubicBezTo>
                  <a:cubicBezTo>
                    <a:pt x="2119" y="231"/>
                    <a:pt x="2115" y="236"/>
                    <a:pt x="2113" y="234"/>
                  </a:cubicBezTo>
                  <a:cubicBezTo>
                    <a:pt x="2112" y="233"/>
                    <a:pt x="2115" y="232"/>
                    <a:pt x="2113" y="232"/>
                  </a:cubicBezTo>
                  <a:cubicBezTo>
                    <a:pt x="2111" y="232"/>
                    <a:pt x="2109" y="233"/>
                    <a:pt x="2107" y="233"/>
                  </a:cubicBezTo>
                  <a:cubicBezTo>
                    <a:pt x="2105" y="234"/>
                    <a:pt x="2104" y="236"/>
                    <a:pt x="2103" y="237"/>
                  </a:cubicBezTo>
                  <a:cubicBezTo>
                    <a:pt x="2102" y="239"/>
                    <a:pt x="2101" y="241"/>
                    <a:pt x="2104" y="240"/>
                  </a:cubicBezTo>
                  <a:cubicBezTo>
                    <a:pt x="2104" y="242"/>
                    <a:pt x="2109" y="241"/>
                    <a:pt x="2111" y="242"/>
                  </a:cubicBezTo>
                  <a:cubicBezTo>
                    <a:pt x="2109" y="242"/>
                    <a:pt x="2107" y="242"/>
                    <a:pt x="2105" y="243"/>
                  </a:cubicBezTo>
                  <a:cubicBezTo>
                    <a:pt x="2107" y="243"/>
                    <a:pt x="2110" y="244"/>
                    <a:pt x="2107" y="245"/>
                  </a:cubicBezTo>
                  <a:cubicBezTo>
                    <a:pt x="2105" y="246"/>
                    <a:pt x="2102" y="245"/>
                    <a:pt x="2100" y="246"/>
                  </a:cubicBezTo>
                  <a:cubicBezTo>
                    <a:pt x="2101" y="246"/>
                    <a:pt x="2101" y="246"/>
                    <a:pt x="2102" y="247"/>
                  </a:cubicBezTo>
                  <a:cubicBezTo>
                    <a:pt x="2104" y="246"/>
                    <a:pt x="2104" y="248"/>
                    <a:pt x="2104" y="249"/>
                  </a:cubicBezTo>
                  <a:cubicBezTo>
                    <a:pt x="2103" y="249"/>
                    <a:pt x="2103" y="249"/>
                    <a:pt x="2102" y="249"/>
                  </a:cubicBezTo>
                  <a:cubicBezTo>
                    <a:pt x="2101" y="249"/>
                    <a:pt x="2101" y="248"/>
                    <a:pt x="2100" y="248"/>
                  </a:cubicBezTo>
                  <a:cubicBezTo>
                    <a:pt x="2099" y="247"/>
                    <a:pt x="2099" y="247"/>
                    <a:pt x="2098" y="246"/>
                  </a:cubicBezTo>
                  <a:cubicBezTo>
                    <a:pt x="2098" y="246"/>
                    <a:pt x="2099" y="245"/>
                    <a:pt x="2100" y="245"/>
                  </a:cubicBezTo>
                  <a:cubicBezTo>
                    <a:pt x="2097" y="244"/>
                    <a:pt x="2093" y="245"/>
                    <a:pt x="2095" y="241"/>
                  </a:cubicBezTo>
                  <a:cubicBezTo>
                    <a:pt x="2093" y="241"/>
                    <a:pt x="2092" y="241"/>
                    <a:pt x="2090" y="241"/>
                  </a:cubicBezTo>
                  <a:cubicBezTo>
                    <a:pt x="2092" y="239"/>
                    <a:pt x="2087" y="239"/>
                    <a:pt x="2086" y="238"/>
                  </a:cubicBezTo>
                  <a:cubicBezTo>
                    <a:pt x="2085" y="238"/>
                    <a:pt x="2084" y="237"/>
                    <a:pt x="2083" y="237"/>
                  </a:cubicBezTo>
                  <a:cubicBezTo>
                    <a:pt x="2081" y="236"/>
                    <a:pt x="2080" y="237"/>
                    <a:pt x="2077" y="236"/>
                  </a:cubicBezTo>
                  <a:cubicBezTo>
                    <a:pt x="2076" y="234"/>
                    <a:pt x="2076" y="233"/>
                    <a:pt x="2073" y="233"/>
                  </a:cubicBezTo>
                  <a:cubicBezTo>
                    <a:pt x="2071" y="233"/>
                    <a:pt x="2069" y="231"/>
                    <a:pt x="2066" y="231"/>
                  </a:cubicBezTo>
                  <a:cubicBezTo>
                    <a:pt x="2064" y="231"/>
                    <a:pt x="2062" y="232"/>
                    <a:pt x="2059" y="233"/>
                  </a:cubicBezTo>
                  <a:cubicBezTo>
                    <a:pt x="2054" y="234"/>
                    <a:pt x="2049" y="235"/>
                    <a:pt x="2045" y="236"/>
                  </a:cubicBezTo>
                  <a:cubicBezTo>
                    <a:pt x="2043" y="237"/>
                    <a:pt x="2042" y="239"/>
                    <a:pt x="2042" y="239"/>
                  </a:cubicBezTo>
                  <a:cubicBezTo>
                    <a:pt x="2042" y="240"/>
                    <a:pt x="2043" y="241"/>
                    <a:pt x="2043" y="241"/>
                  </a:cubicBezTo>
                  <a:cubicBezTo>
                    <a:pt x="2043" y="242"/>
                    <a:pt x="2041" y="243"/>
                    <a:pt x="2041" y="244"/>
                  </a:cubicBezTo>
                  <a:cubicBezTo>
                    <a:pt x="2041" y="242"/>
                    <a:pt x="2043" y="242"/>
                    <a:pt x="2042" y="241"/>
                  </a:cubicBezTo>
                  <a:cubicBezTo>
                    <a:pt x="2042" y="239"/>
                    <a:pt x="2039" y="240"/>
                    <a:pt x="2038" y="240"/>
                  </a:cubicBezTo>
                  <a:cubicBezTo>
                    <a:pt x="2036" y="240"/>
                    <a:pt x="2034" y="240"/>
                    <a:pt x="2033" y="240"/>
                  </a:cubicBezTo>
                  <a:cubicBezTo>
                    <a:pt x="2029" y="240"/>
                    <a:pt x="2026" y="239"/>
                    <a:pt x="2023" y="238"/>
                  </a:cubicBezTo>
                  <a:cubicBezTo>
                    <a:pt x="2020" y="237"/>
                    <a:pt x="2016" y="236"/>
                    <a:pt x="2014" y="234"/>
                  </a:cubicBezTo>
                  <a:cubicBezTo>
                    <a:pt x="2010" y="231"/>
                    <a:pt x="2009" y="228"/>
                    <a:pt x="2005" y="227"/>
                  </a:cubicBezTo>
                  <a:cubicBezTo>
                    <a:pt x="2003" y="226"/>
                    <a:pt x="2005" y="224"/>
                    <a:pt x="2004" y="223"/>
                  </a:cubicBezTo>
                  <a:cubicBezTo>
                    <a:pt x="2003" y="220"/>
                    <a:pt x="2002" y="221"/>
                    <a:pt x="2000" y="223"/>
                  </a:cubicBezTo>
                  <a:cubicBezTo>
                    <a:pt x="1998" y="225"/>
                    <a:pt x="1996" y="228"/>
                    <a:pt x="1995" y="231"/>
                  </a:cubicBezTo>
                  <a:cubicBezTo>
                    <a:pt x="1993" y="234"/>
                    <a:pt x="1992" y="237"/>
                    <a:pt x="1991" y="240"/>
                  </a:cubicBezTo>
                  <a:cubicBezTo>
                    <a:pt x="1991" y="241"/>
                    <a:pt x="1990" y="242"/>
                    <a:pt x="1990" y="243"/>
                  </a:cubicBezTo>
                  <a:cubicBezTo>
                    <a:pt x="1988" y="248"/>
                    <a:pt x="1988" y="248"/>
                    <a:pt x="1988" y="248"/>
                  </a:cubicBezTo>
                  <a:cubicBezTo>
                    <a:pt x="1976" y="260"/>
                    <a:pt x="1976" y="260"/>
                    <a:pt x="1976" y="260"/>
                  </a:cubicBezTo>
                  <a:cubicBezTo>
                    <a:pt x="1975" y="261"/>
                    <a:pt x="1975" y="261"/>
                    <a:pt x="1975" y="261"/>
                  </a:cubicBezTo>
                  <a:cubicBezTo>
                    <a:pt x="1973" y="262"/>
                    <a:pt x="1973" y="262"/>
                    <a:pt x="1973" y="262"/>
                  </a:cubicBezTo>
                  <a:cubicBezTo>
                    <a:pt x="1973" y="262"/>
                    <a:pt x="1970" y="262"/>
                    <a:pt x="1969" y="261"/>
                  </a:cubicBezTo>
                  <a:cubicBezTo>
                    <a:pt x="1969" y="261"/>
                    <a:pt x="1969" y="261"/>
                    <a:pt x="1969" y="261"/>
                  </a:cubicBezTo>
                  <a:cubicBezTo>
                    <a:pt x="1969" y="261"/>
                    <a:pt x="1969" y="261"/>
                    <a:pt x="1969" y="261"/>
                  </a:cubicBezTo>
                  <a:cubicBezTo>
                    <a:pt x="1969" y="261"/>
                    <a:pt x="1969" y="261"/>
                    <a:pt x="1969" y="261"/>
                  </a:cubicBezTo>
                  <a:cubicBezTo>
                    <a:pt x="1969" y="261"/>
                    <a:pt x="1969" y="261"/>
                    <a:pt x="1969" y="261"/>
                  </a:cubicBezTo>
                  <a:cubicBezTo>
                    <a:pt x="1969" y="260"/>
                    <a:pt x="1969" y="260"/>
                    <a:pt x="1969" y="260"/>
                  </a:cubicBezTo>
                  <a:cubicBezTo>
                    <a:pt x="1970" y="260"/>
                    <a:pt x="1970" y="260"/>
                    <a:pt x="1970" y="260"/>
                  </a:cubicBezTo>
                  <a:cubicBezTo>
                    <a:pt x="1970" y="260"/>
                    <a:pt x="1970" y="260"/>
                    <a:pt x="1970" y="260"/>
                  </a:cubicBezTo>
                  <a:cubicBezTo>
                    <a:pt x="1969" y="259"/>
                    <a:pt x="1969" y="259"/>
                    <a:pt x="1969" y="259"/>
                  </a:cubicBezTo>
                  <a:cubicBezTo>
                    <a:pt x="1969" y="259"/>
                    <a:pt x="1969" y="259"/>
                    <a:pt x="1969" y="259"/>
                  </a:cubicBezTo>
                  <a:cubicBezTo>
                    <a:pt x="1969" y="259"/>
                    <a:pt x="1969" y="259"/>
                    <a:pt x="1969" y="259"/>
                  </a:cubicBezTo>
                  <a:cubicBezTo>
                    <a:pt x="1969" y="259"/>
                    <a:pt x="1969" y="259"/>
                    <a:pt x="1969" y="259"/>
                  </a:cubicBezTo>
                  <a:cubicBezTo>
                    <a:pt x="1969" y="259"/>
                    <a:pt x="1969" y="259"/>
                    <a:pt x="1969" y="259"/>
                  </a:cubicBezTo>
                  <a:cubicBezTo>
                    <a:pt x="1969" y="258"/>
                    <a:pt x="1969" y="258"/>
                    <a:pt x="1969" y="258"/>
                  </a:cubicBezTo>
                  <a:cubicBezTo>
                    <a:pt x="1969" y="258"/>
                    <a:pt x="1969" y="258"/>
                    <a:pt x="1969" y="258"/>
                  </a:cubicBezTo>
                  <a:cubicBezTo>
                    <a:pt x="1968" y="258"/>
                    <a:pt x="1968" y="258"/>
                    <a:pt x="1968" y="258"/>
                  </a:cubicBezTo>
                  <a:cubicBezTo>
                    <a:pt x="1968" y="258"/>
                    <a:pt x="1968" y="258"/>
                    <a:pt x="1968" y="258"/>
                  </a:cubicBezTo>
                  <a:cubicBezTo>
                    <a:pt x="1965" y="258"/>
                    <a:pt x="1965" y="258"/>
                    <a:pt x="1965" y="258"/>
                  </a:cubicBezTo>
                  <a:cubicBezTo>
                    <a:pt x="1964" y="258"/>
                    <a:pt x="1964" y="258"/>
                    <a:pt x="1964" y="258"/>
                  </a:cubicBezTo>
                  <a:cubicBezTo>
                    <a:pt x="1963" y="258"/>
                    <a:pt x="1963" y="258"/>
                    <a:pt x="1963" y="258"/>
                  </a:cubicBezTo>
                  <a:cubicBezTo>
                    <a:pt x="1963" y="258"/>
                    <a:pt x="1963" y="258"/>
                    <a:pt x="1963" y="258"/>
                  </a:cubicBezTo>
                  <a:cubicBezTo>
                    <a:pt x="1963" y="257"/>
                    <a:pt x="1963" y="257"/>
                    <a:pt x="1963" y="257"/>
                  </a:cubicBezTo>
                  <a:cubicBezTo>
                    <a:pt x="1962" y="257"/>
                    <a:pt x="1962" y="257"/>
                    <a:pt x="1962" y="257"/>
                  </a:cubicBezTo>
                  <a:cubicBezTo>
                    <a:pt x="1962" y="257"/>
                    <a:pt x="1962" y="257"/>
                    <a:pt x="1962" y="257"/>
                  </a:cubicBezTo>
                  <a:cubicBezTo>
                    <a:pt x="1962" y="257"/>
                    <a:pt x="1962" y="257"/>
                    <a:pt x="1962" y="257"/>
                  </a:cubicBezTo>
                  <a:cubicBezTo>
                    <a:pt x="1962" y="257"/>
                    <a:pt x="1962" y="257"/>
                    <a:pt x="1962" y="257"/>
                  </a:cubicBezTo>
                  <a:cubicBezTo>
                    <a:pt x="1962" y="257"/>
                    <a:pt x="1962" y="257"/>
                    <a:pt x="1962" y="257"/>
                  </a:cubicBezTo>
                  <a:cubicBezTo>
                    <a:pt x="1962" y="256"/>
                    <a:pt x="1962" y="256"/>
                    <a:pt x="1962" y="256"/>
                  </a:cubicBezTo>
                  <a:cubicBezTo>
                    <a:pt x="1960" y="256"/>
                    <a:pt x="1959" y="256"/>
                    <a:pt x="1957" y="255"/>
                  </a:cubicBezTo>
                  <a:cubicBezTo>
                    <a:pt x="1956" y="255"/>
                    <a:pt x="1956" y="255"/>
                    <a:pt x="1956" y="255"/>
                  </a:cubicBezTo>
                  <a:cubicBezTo>
                    <a:pt x="1956" y="255"/>
                    <a:pt x="1956" y="255"/>
                    <a:pt x="1956" y="255"/>
                  </a:cubicBezTo>
                  <a:cubicBezTo>
                    <a:pt x="1956" y="255"/>
                    <a:pt x="1956" y="255"/>
                    <a:pt x="1956" y="255"/>
                  </a:cubicBezTo>
                  <a:cubicBezTo>
                    <a:pt x="1956" y="254"/>
                    <a:pt x="1956" y="254"/>
                    <a:pt x="1956" y="254"/>
                  </a:cubicBezTo>
                  <a:cubicBezTo>
                    <a:pt x="1956" y="254"/>
                    <a:pt x="1956" y="254"/>
                    <a:pt x="1956" y="254"/>
                  </a:cubicBezTo>
                  <a:cubicBezTo>
                    <a:pt x="1957" y="254"/>
                    <a:pt x="1957" y="254"/>
                    <a:pt x="1957" y="254"/>
                  </a:cubicBezTo>
                  <a:cubicBezTo>
                    <a:pt x="1957" y="254"/>
                    <a:pt x="1957" y="254"/>
                    <a:pt x="1957" y="254"/>
                  </a:cubicBezTo>
                  <a:cubicBezTo>
                    <a:pt x="1957" y="253"/>
                    <a:pt x="1957" y="253"/>
                    <a:pt x="1957" y="253"/>
                  </a:cubicBezTo>
                  <a:cubicBezTo>
                    <a:pt x="1955" y="253"/>
                    <a:pt x="1955" y="253"/>
                    <a:pt x="1955" y="253"/>
                  </a:cubicBezTo>
                  <a:cubicBezTo>
                    <a:pt x="1953" y="252"/>
                    <a:pt x="1953" y="252"/>
                    <a:pt x="1953" y="252"/>
                  </a:cubicBezTo>
                  <a:cubicBezTo>
                    <a:pt x="1948" y="251"/>
                    <a:pt x="1948" y="251"/>
                    <a:pt x="1948" y="251"/>
                  </a:cubicBezTo>
                  <a:cubicBezTo>
                    <a:pt x="1947" y="250"/>
                    <a:pt x="1947" y="250"/>
                    <a:pt x="1947" y="250"/>
                  </a:cubicBezTo>
                  <a:cubicBezTo>
                    <a:pt x="1946" y="250"/>
                    <a:pt x="1946" y="250"/>
                    <a:pt x="1946" y="250"/>
                  </a:cubicBezTo>
                  <a:cubicBezTo>
                    <a:pt x="1946" y="250"/>
                    <a:pt x="1946" y="250"/>
                    <a:pt x="1946" y="250"/>
                  </a:cubicBezTo>
                  <a:cubicBezTo>
                    <a:pt x="1946" y="250"/>
                    <a:pt x="1946" y="250"/>
                    <a:pt x="1946" y="250"/>
                  </a:cubicBezTo>
                  <a:cubicBezTo>
                    <a:pt x="1947" y="250"/>
                    <a:pt x="1947" y="250"/>
                    <a:pt x="1947" y="250"/>
                  </a:cubicBezTo>
                  <a:cubicBezTo>
                    <a:pt x="1947" y="249"/>
                    <a:pt x="1947" y="249"/>
                    <a:pt x="1947" y="249"/>
                  </a:cubicBezTo>
                  <a:cubicBezTo>
                    <a:pt x="1947" y="249"/>
                    <a:pt x="1947" y="249"/>
                    <a:pt x="1947" y="249"/>
                  </a:cubicBezTo>
                  <a:cubicBezTo>
                    <a:pt x="1948" y="249"/>
                    <a:pt x="1948" y="249"/>
                    <a:pt x="1948" y="249"/>
                  </a:cubicBezTo>
                  <a:cubicBezTo>
                    <a:pt x="1948" y="249"/>
                    <a:pt x="1948" y="249"/>
                    <a:pt x="1948" y="249"/>
                  </a:cubicBezTo>
                  <a:cubicBezTo>
                    <a:pt x="1948" y="249"/>
                    <a:pt x="1948" y="249"/>
                    <a:pt x="1948" y="249"/>
                  </a:cubicBezTo>
                  <a:cubicBezTo>
                    <a:pt x="1948" y="248"/>
                    <a:pt x="1948" y="248"/>
                    <a:pt x="1948" y="248"/>
                  </a:cubicBezTo>
                  <a:cubicBezTo>
                    <a:pt x="1948" y="248"/>
                    <a:pt x="1948" y="248"/>
                    <a:pt x="1948" y="248"/>
                  </a:cubicBezTo>
                  <a:cubicBezTo>
                    <a:pt x="1948" y="248"/>
                    <a:pt x="1948" y="248"/>
                    <a:pt x="1948" y="248"/>
                  </a:cubicBezTo>
                  <a:cubicBezTo>
                    <a:pt x="1947" y="248"/>
                    <a:pt x="1947" y="248"/>
                    <a:pt x="1947" y="248"/>
                  </a:cubicBezTo>
                  <a:cubicBezTo>
                    <a:pt x="1947" y="247"/>
                    <a:pt x="1947" y="247"/>
                    <a:pt x="1947" y="247"/>
                  </a:cubicBezTo>
                  <a:cubicBezTo>
                    <a:pt x="1947" y="247"/>
                    <a:pt x="1947" y="247"/>
                    <a:pt x="1947" y="247"/>
                  </a:cubicBezTo>
                  <a:cubicBezTo>
                    <a:pt x="1947" y="247"/>
                    <a:pt x="1947" y="247"/>
                    <a:pt x="1947" y="247"/>
                  </a:cubicBezTo>
                  <a:cubicBezTo>
                    <a:pt x="1947" y="247"/>
                    <a:pt x="1947" y="247"/>
                    <a:pt x="1947" y="247"/>
                  </a:cubicBezTo>
                  <a:cubicBezTo>
                    <a:pt x="1947" y="246"/>
                    <a:pt x="1947" y="246"/>
                    <a:pt x="1947" y="246"/>
                  </a:cubicBezTo>
                  <a:cubicBezTo>
                    <a:pt x="1947" y="246"/>
                    <a:pt x="1947" y="246"/>
                    <a:pt x="1947" y="246"/>
                  </a:cubicBezTo>
                  <a:cubicBezTo>
                    <a:pt x="1947" y="246"/>
                    <a:pt x="1947" y="246"/>
                    <a:pt x="1947" y="246"/>
                  </a:cubicBezTo>
                  <a:cubicBezTo>
                    <a:pt x="1947" y="245"/>
                    <a:pt x="1947" y="245"/>
                    <a:pt x="1947" y="245"/>
                  </a:cubicBezTo>
                  <a:cubicBezTo>
                    <a:pt x="1946" y="245"/>
                    <a:pt x="1946" y="245"/>
                    <a:pt x="1946" y="245"/>
                  </a:cubicBezTo>
                  <a:cubicBezTo>
                    <a:pt x="1946" y="245"/>
                    <a:pt x="1946" y="245"/>
                    <a:pt x="1946" y="245"/>
                  </a:cubicBezTo>
                  <a:cubicBezTo>
                    <a:pt x="1944" y="244"/>
                    <a:pt x="1944" y="244"/>
                    <a:pt x="1944" y="244"/>
                  </a:cubicBezTo>
                  <a:cubicBezTo>
                    <a:pt x="1944" y="243"/>
                    <a:pt x="1944" y="243"/>
                    <a:pt x="1944" y="243"/>
                  </a:cubicBezTo>
                  <a:cubicBezTo>
                    <a:pt x="1943" y="243"/>
                    <a:pt x="1943" y="243"/>
                    <a:pt x="1943" y="243"/>
                  </a:cubicBezTo>
                  <a:cubicBezTo>
                    <a:pt x="1943" y="243"/>
                    <a:pt x="1943" y="243"/>
                    <a:pt x="1943" y="243"/>
                  </a:cubicBezTo>
                  <a:cubicBezTo>
                    <a:pt x="1943" y="243"/>
                    <a:pt x="1943" y="243"/>
                    <a:pt x="1943" y="243"/>
                  </a:cubicBezTo>
                  <a:cubicBezTo>
                    <a:pt x="1942" y="243"/>
                    <a:pt x="1942" y="243"/>
                    <a:pt x="1942" y="243"/>
                  </a:cubicBezTo>
                  <a:cubicBezTo>
                    <a:pt x="1942" y="242"/>
                    <a:pt x="1942" y="242"/>
                    <a:pt x="1942" y="242"/>
                  </a:cubicBezTo>
                  <a:cubicBezTo>
                    <a:pt x="1942" y="242"/>
                    <a:pt x="1942" y="242"/>
                    <a:pt x="1942" y="242"/>
                  </a:cubicBezTo>
                  <a:cubicBezTo>
                    <a:pt x="1940" y="241"/>
                    <a:pt x="1941" y="241"/>
                    <a:pt x="1940" y="240"/>
                  </a:cubicBezTo>
                  <a:cubicBezTo>
                    <a:pt x="1940" y="239"/>
                    <a:pt x="1940" y="239"/>
                    <a:pt x="1940" y="239"/>
                  </a:cubicBezTo>
                  <a:cubicBezTo>
                    <a:pt x="1940" y="239"/>
                    <a:pt x="1940" y="239"/>
                    <a:pt x="1940" y="239"/>
                  </a:cubicBezTo>
                  <a:cubicBezTo>
                    <a:pt x="1939" y="236"/>
                    <a:pt x="1939" y="237"/>
                    <a:pt x="1936" y="235"/>
                  </a:cubicBezTo>
                  <a:cubicBezTo>
                    <a:pt x="1932" y="233"/>
                    <a:pt x="1932" y="233"/>
                    <a:pt x="1932" y="233"/>
                  </a:cubicBezTo>
                  <a:cubicBezTo>
                    <a:pt x="1931" y="232"/>
                    <a:pt x="1931" y="232"/>
                    <a:pt x="1931" y="232"/>
                  </a:cubicBezTo>
                  <a:cubicBezTo>
                    <a:pt x="1930" y="232"/>
                    <a:pt x="1930" y="232"/>
                    <a:pt x="1930" y="232"/>
                  </a:cubicBezTo>
                  <a:cubicBezTo>
                    <a:pt x="1930" y="231"/>
                    <a:pt x="1930" y="231"/>
                    <a:pt x="1930" y="231"/>
                  </a:cubicBezTo>
                  <a:cubicBezTo>
                    <a:pt x="1930" y="231"/>
                    <a:pt x="1930" y="231"/>
                    <a:pt x="1930" y="231"/>
                  </a:cubicBezTo>
                  <a:cubicBezTo>
                    <a:pt x="1930" y="231"/>
                    <a:pt x="1930" y="231"/>
                    <a:pt x="1930" y="231"/>
                  </a:cubicBezTo>
                  <a:cubicBezTo>
                    <a:pt x="1930" y="230"/>
                    <a:pt x="1930" y="230"/>
                    <a:pt x="1930" y="229"/>
                  </a:cubicBezTo>
                  <a:cubicBezTo>
                    <a:pt x="1931" y="229"/>
                    <a:pt x="1931" y="229"/>
                    <a:pt x="1931" y="229"/>
                  </a:cubicBezTo>
                  <a:cubicBezTo>
                    <a:pt x="1931" y="229"/>
                    <a:pt x="1931" y="229"/>
                    <a:pt x="1931" y="229"/>
                  </a:cubicBezTo>
                  <a:cubicBezTo>
                    <a:pt x="1932" y="228"/>
                    <a:pt x="1933" y="228"/>
                    <a:pt x="1934" y="228"/>
                  </a:cubicBezTo>
                  <a:cubicBezTo>
                    <a:pt x="1934" y="228"/>
                    <a:pt x="1934" y="228"/>
                    <a:pt x="1934" y="228"/>
                  </a:cubicBezTo>
                  <a:cubicBezTo>
                    <a:pt x="1935" y="228"/>
                    <a:pt x="1935" y="228"/>
                    <a:pt x="1935" y="228"/>
                  </a:cubicBezTo>
                  <a:cubicBezTo>
                    <a:pt x="1935" y="228"/>
                    <a:pt x="1935" y="228"/>
                    <a:pt x="1935" y="228"/>
                  </a:cubicBezTo>
                  <a:cubicBezTo>
                    <a:pt x="1941" y="227"/>
                    <a:pt x="1937" y="226"/>
                    <a:pt x="1942" y="228"/>
                  </a:cubicBezTo>
                  <a:cubicBezTo>
                    <a:pt x="1943" y="228"/>
                    <a:pt x="1943" y="228"/>
                    <a:pt x="1943" y="228"/>
                  </a:cubicBezTo>
                  <a:cubicBezTo>
                    <a:pt x="1943" y="228"/>
                    <a:pt x="1943" y="228"/>
                    <a:pt x="1943" y="228"/>
                  </a:cubicBezTo>
                  <a:cubicBezTo>
                    <a:pt x="1943" y="228"/>
                    <a:pt x="1943" y="228"/>
                    <a:pt x="1943" y="228"/>
                  </a:cubicBezTo>
                  <a:cubicBezTo>
                    <a:pt x="1943" y="227"/>
                    <a:pt x="1943" y="227"/>
                    <a:pt x="1943" y="227"/>
                  </a:cubicBezTo>
                  <a:cubicBezTo>
                    <a:pt x="1942" y="227"/>
                    <a:pt x="1942" y="227"/>
                    <a:pt x="1942" y="227"/>
                  </a:cubicBezTo>
                  <a:cubicBezTo>
                    <a:pt x="1942" y="227"/>
                    <a:pt x="1942" y="227"/>
                    <a:pt x="1942" y="227"/>
                  </a:cubicBezTo>
                  <a:cubicBezTo>
                    <a:pt x="1942" y="227"/>
                    <a:pt x="1942" y="227"/>
                    <a:pt x="1942" y="227"/>
                  </a:cubicBezTo>
                  <a:cubicBezTo>
                    <a:pt x="1941" y="226"/>
                    <a:pt x="1941" y="226"/>
                    <a:pt x="1941" y="226"/>
                  </a:cubicBezTo>
                  <a:cubicBezTo>
                    <a:pt x="1940" y="226"/>
                    <a:pt x="1940" y="226"/>
                    <a:pt x="1940" y="226"/>
                  </a:cubicBezTo>
                  <a:cubicBezTo>
                    <a:pt x="1939" y="225"/>
                    <a:pt x="1939" y="225"/>
                    <a:pt x="1939" y="225"/>
                  </a:cubicBezTo>
                  <a:cubicBezTo>
                    <a:pt x="1939" y="225"/>
                    <a:pt x="1939" y="225"/>
                    <a:pt x="1939" y="225"/>
                  </a:cubicBezTo>
                  <a:cubicBezTo>
                    <a:pt x="1938" y="223"/>
                    <a:pt x="1937" y="221"/>
                    <a:pt x="1936" y="219"/>
                  </a:cubicBezTo>
                  <a:cubicBezTo>
                    <a:pt x="1935" y="218"/>
                    <a:pt x="1935" y="218"/>
                    <a:pt x="1935"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9"/>
                    <a:pt x="1934" y="219"/>
                  </a:cubicBezTo>
                  <a:cubicBezTo>
                    <a:pt x="1935" y="219"/>
                    <a:pt x="1935" y="219"/>
                    <a:pt x="1935" y="219"/>
                  </a:cubicBezTo>
                  <a:cubicBezTo>
                    <a:pt x="1935" y="220"/>
                    <a:pt x="1935" y="220"/>
                    <a:pt x="1935" y="220"/>
                  </a:cubicBezTo>
                  <a:cubicBezTo>
                    <a:pt x="1935" y="220"/>
                    <a:pt x="1935" y="220"/>
                    <a:pt x="1935" y="221"/>
                  </a:cubicBezTo>
                  <a:cubicBezTo>
                    <a:pt x="1935" y="221"/>
                    <a:pt x="1935" y="221"/>
                    <a:pt x="1935" y="221"/>
                  </a:cubicBezTo>
                  <a:cubicBezTo>
                    <a:pt x="1935" y="221"/>
                    <a:pt x="1935" y="221"/>
                    <a:pt x="1935" y="221"/>
                  </a:cubicBezTo>
                  <a:cubicBezTo>
                    <a:pt x="1935" y="221"/>
                    <a:pt x="1935" y="221"/>
                    <a:pt x="1935" y="221"/>
                  </a:cubicBezTo>
                  <a:cubicBezTo>
                    <a:pt x="1936" y="222"/>
                    <a:pt x="1937" y="223"/>
                    <a:pt x="1937" y="224"/>
                  </a:cubicBezTo>
                  <a:cubicBezTo>
                    <a:pt x="1937" y="225"/>
                    <a:pt x="1937" y="225"/>
                    <a:pt x="1937" y="225"/>
                  </a:cubicBezTo>
                  <a:cubicBezTo>
                    <a:pt x="1937" y="225"/>
                    <a:pt x="1937" y="225"/>
                    <a:pt x="1937" y="225"/>
                  </a:cubicBezTo>
                  <a:cubicBezTo>
                    <a:pt x="1936" y="225"/>
                    <a:pt x="1936" y="225"/>
                    <a:pt x="1936" y="225"/>
                  </a:cubicBezTo>
                  <a:cubicBezTo>
                    <a:pt x="1934" y="225"/>
                    <a:pt x="1934" y="225"/>
                    <a:pt x="1934" y="225"/>
                  </a:cubicBezTo>
                  <a:cubicBezTo>
                    <a:pt x="1930" y="226"/>
                    <a:pt x="1930" y="226"/>
                    <a:pt x="1930" y="226"/>
                  </a:cubicBezTo>
                  <a:cubicBezTo>
                    <a:pt x="1928" y="226"/>
                    <a:pt x="1928" y="226"/>
                    <a:pt x="1928" y="226"/>
                  </a:cubicBezTo>
                  <a:cubicBezTo>
                    <a:pt x="1927" y="225"/>
                    <a:pt x="1927" y="225"/>
                    <a:pt x="1927" y="225"/>
                  </a:cubicBezTo>
                  <a:cubicBezTo>
                    <a:pt x="1927" y="225"/>
                    <a:pt x="1927" y="225"/>
                    <a:pt x="1927" y="225"/>
                  </a:cubicBezTo>
                  <a:cubicBezTo>
                    <a:pt x="1927" y="225"/>
                    <a:pt x="1927" y="225"/>
                    <a:pt x="1927" y="225"/>
                  </a:cubicBezTo>
                  <a:cubicBezTo>
                    <a:pt x="1927" y="224"/>
                    <a:pt x="1927" y="224"/>
                    <a:pt x="1926" y="223"/>
                  </a:cubicBezTo>
                  <a:cubicBezTo>
                    <a:pt x="1926" y="223"/>
                    <a:pt x="1926" y="223"/>
                    <a:pt x="1926" y="223"/>
                  </a:cubicBezTo>
                  <a:cubicBezTo>
                    <a:pt x="1926" y="222"/>
                    <a:pt x="1926" y="222"/>
                    <a:pt x="1926" y="222"/>
                  </a:cubicBezTo>
                  <a:cubicBezTo>
                    <a:pt x="1923" y="221"/>
                    <a:pt x="1924" y="221"/>
                    <a:pt x="1922" y="219"/>
                  </a:cubicBezTo>
                  <a:cubicBezTo>
                    <a:pt x="1919" y="214"/>
                    <a:pt x="1919" y="214"/>
                    <a:pt x="1919" y="214"/>
                  </a:cubicBezTo>
                  <a:cubicBezTo>
                    <a:pt x="1918" y="210"/>
                    <a:pt x="1918" y="210"/>
                    <a:pt x="1918" y="210"/>
                  </a:cubicBezTo>
                  <a:cubicBezTo>
                    <a:pt x="1920" y="210"/>
                    <a:pt x="1920" y="210"/>
                    <a:pt x="1920" y="210"/>
                  </a:cubicBezTo>
                  <a:cubicBezTo>
                    <a:pt x="1921" y="210"/>
                    <a:pt x="1921" y="210"/>
                    <a:pt x="1921" y="210"/>
                  </a:cubicBezTo>
                  <a:cubicBezTo>
                    <a:pt x="1921" y="211"/>
                    <a:pt x="1921" y="211"/>
                    <a:pt x="1921" y="211"/>
                  </a:cubicBezTo>
                  <a:cubicBezTo>
                    <a:pt x="1922" y="211"/>
                    <a:pt x="1922" y="211"/>
                    <a:pt x="1922" y="211"/>
                  </a:cubicBezTo>
                  <a:cubicBezTo>
                    <a:pt x="1922" y="211"/>
                    <a:pt x="1923" y="211"/>
                    <a:pt x="1924" y="211"/>
                  </a:cubicBezTo>
                  <a:cubicBezTo>
                    <a:pt x="1924" y="212"/>
                    <a:pt x="1924" y="212"/>
                    <a:pt x="1924" y="212"/>
                  </a:cubicBezTo>
                  <a:cubicBezTo>
                    <a:pt x="1924" y="212"/>
                    <a:pt x="1924" y="212"/>
                    <a:pt x="1924" y="212"/>
                  </a:cubicBezTo>
                  <a:cubicBezTo>
                    <a:pt x="1925" y="212"/>
                    <a:pt x="1925" y="212"/>
                    <a:pt x="1925" y="212"/>
                  </a:cubicBezTo>
                  <a:cubicBezTo>
                    <a:pt x="1925" y="213"/>
                    <a:pt x="1925" y="213"/>
                    <a:pt x="1925" y="213"/>
                  </a:cubicBezTo>
                  <a:cubicBezTo>
                    <a:pt x="1925" y="214"/>
                    <a:pt x="1925" y="214"/>
                    <a:pt x="1925" y="214"/>
                  </a:cubicBezTo>
                  <a:cubicBezTo>
                    <a:pt x="1926" y="214"/>
                    <a:pt x="1926" y="214"/>
                    <a:pt x="1926" y="214"/>
                  </a:cubicBezTo>
                  <a:cubicBezTo>
                    <a:pt x="1926" y="214"/>
                    <a:pt x="1926" y="214"/>
                    <a:pt x="1926" y="214"/>
                  </a:cubicBezTo>
                  <a:cubicBezTo>
                    <a:pt x="1926" y="214"/>
                    <a:pt x="1926" y="214"/>
                    <a:pt x="1926" y="214"/>
                  </a:cubicBezTo>
                  <a:cubicBezTo>
                    <a:pt x="1927" y="215"/>
                    <a:pt x="1927" y="215"/>
                    <a:pt x="1927" y="215"/>
                  </a:cubicBezTo>
                  <a:cubicBezTo>
                    <a:pt x="1927" y="215"/>
                    <a:pt x="1927" y="215"/>
                    <a:pt x="1927" y="215"/>
                  </a:cubicBezTo>
                  <a:cubicBezTo>
                    <a:pt x="1928" y="215"/>
                    <a:pt x="1928" y="215"/>
                    <a:pt x="1928" y="215"/>
                  </a:cubicBezTo>
                  <a:cubicBezTo>
                    <a:pt x="1928" y="215"/>
                    <a:pt x="1928" y="215"/>
                    <a:pt x="1928" y="215"/>
                  </a:cubicBezTo>
                  <a:cubicBezTo>
                    <a:pt x="1928" y="216"/>
                    <a:pt x="1929" y="215"/>
                    <a:pt x="1930" y="215"/>
                  </a:cubicBezTo>
                  <a:cubicBezTo>
                    <a:pt x="1930" y="215"/>
                    <a:pt x="1930" y="215"/>
                    <a:pt x="1930" y="215"/>
                  </a:cubicBezTo>
                  <a:cubicBezTo>
                    <a:pt x="1931" y="215"/>
                    <a:pt x="1931" y="215"/>
                    <a:pt x="1931" y="215"/>
                  </a:cubicBezTo>
                  <a:cubicBezTo>
                    <a:pt x="1932" y="216"/>
                    <a:pt x="1932" y="216"/>
                    <a:pt x="1933" y="216"/>
                  </a:cubicBezTo>
                  <a:cubicBezTo>
                    <a:pt x="1934" y="216"/>
                    <a:pt x="1934" y="216"/>
                    <a:pt x="1934" y="216"/>
                  </a:cubicBezTo>
                  <a:cubicBezTo>
                    <a:pt x="1934" y="215"/>
                    <a:pt x="1934" y="215"/>
                    <a:pt x="1934" y="215"/>
                  </a:cubicBezTo>
                  <a:cubicBezTo>
                    <a:pt x="1934" y="215"/>
                    <a:pt x="1934" y="215"/>
                    <a:pt x="1934" y="215"/>
                  </a:cubicBezTo>
                  <a:cubicBezTo>
                    <a:pt x="1935" y="215"/>
                    <a:pt x="1935" y="215"/>
                    <a:pt x="1935" y="215"/>
                  </a:cubicBezTo>
                  <a:cubicBezTo>
                    <a:pt x="1935" y="215"/>
                    <a:pt x="1935" y="215"/>
                    <a:pt x="1935" y="215"/>
                  </a:cubicBezTo>
                  <a:cubicBezTo>
                    <a:pt x="1935" y="215"/>
                    <a:pt x="1935" y="215"/>
                    <a:pt x="1935" y="215"/>
                  </a:cubicBezTo>
                  <a:cubicBezTo>
                    <a:pt x="1936" y="214"/>
                    <a:pt x="1937" y="215"/>
                    <a:pt x="1937" y="215"/>
                  </a:cubicBezTo>
                  <a:cubicBezTo>
                    <a:pt x="1938" y="215"/>
                    <a:pt x="1938" y="215"/>
                    <a:pt x="1938" y="215"/>
                  </a:cubicBezTo>
                  <a:cubicBezTo>
                    <a:pt x="1938" y="215"/>
                    <a:pt x="1938" y="215"/>
                    <a:pt x="1938" y="215"/>
                  </a:cubicBezTo>
                  <a:cubicBezTo>
                    <a:pt x="1939" y="215"/>
                    <a:pt x="1940" y="215"/>
                    <a:pt x="1940" y="215"/>
                  </a:cubicBezTo>
                  <a:cubicBezTo>
                    <a:pt x="1941" y="214"/>
                    <a:pt x="1941" y="214"/>
                    <a:pt x="1941" y="214"/>
                  </a:cubicBezTo>
                  <a:cubicBezTo>
                    <a:pt x="1941" y="214"/>
                    <a:pt x="1941" y="214"/>
                    <a:pt x="1941" y="214"/>
                  </a:cubicBezTo>
                  <a:cubicBezTo>
                    <a:pt x="1941" y="214"/>
                    <a:pt x="1941" y="214"/>
                    <a:pt x="1941" y="214"/>
                  </a:cubicBezTo>
                  <a:cubicBezTo>
                    <a:pt x="1942" y="214"/>
                    <a:pt x="1942" y="214"/>
                    <a:pt x="1942" y="214"/>
                  </a:cubicBezTo>
                  <a:cubicBezTo>
                    <a:pt x="1942" y="214"/>
                    <a:pt x="1942" y="214"/>
                    <a:pt x="1942" y="214"/>
                  </a:cubicBezTo>
                  <a:cubicBezTo>
                    <a:pt x="1942" y="213"/>
                    <a:pt x="1942" y="213"/>
                    <a:pt x="1942" y="213"/>
                  </a:cubicBezTo>
                  <a:cubicBezTo>
                    <a:pt x="1943" y="213"/>
                    <a:pt x="1943" y="213"/>
                    <a:pt x="1943" y="213"/>
                  </a:cubicBezTo>
                  <a:cubicBezTo>
                    <a:pt x="1944" y="211"/>
                    <a:pt x="1944" y="211"/>
                    <a:pt x="1944" y="211"/>
                  </a:cubicBezTo>
                  <a:cubicBezTo>
                    <a:pt x="1944" y="210"/>
                    <a:pt x="1944" y="210"/>
                    <a:pt x="1944" y="210"/>
                  </a:cubicBezTo>
                  <a:cubicBezTo>
                    <a:pt x="1944" y="209"/>
                    <a:pt x="1944" y="209"/>
                    <a:pt x="1944" y="209"/>
                  </a:cubicBezTo>
                  <a:cubicBezTo>
                    <a:pt x="1943" y="207"/>
                    <a:pt x="1943" y="207"/>
                    <a:pt x="1943" y="207"/>
                  </a:cubicBezTo>
                  <a:cubicBezTo>
                    <a:pt x="1942" y="206"/>
                    <a:pt x="1942" y="206"/>
                    <a:pt x="1942" y="206"/>
                  </a:cubicBezTo>
                  <a:cubicBezTo>
                    <a:pt x="1942" y="205"/>
                    <a:pt x="1942" y="205"/>
                    <a:pt x="1942" y="205"/>
                  </a:cubicBezTo>
                  <a:cubicBezTo>
                    <a:pt x="1942" y="205"/>
                    <a:pt x="1942" y="205"/>
                    <a:pt x="1942" y="205"/>
                  </a:cubicBezTo>
                  <a:cubicBezTo>
                    <a:pt x="1942" y="205"/>
                    <a:pt x="1942" y="205"/>
                    <a:pt x="1942" y="205"/>
                  </a:cubicBezTo>
                  <a:cubicBezTo>
                    <a:pt x="1941" y="204"/>
                    <a:pt x="1941" y="204"/>
                    <a:pt x="1941" y="204"/>
                  </a:cubicBezTo>
                  <a:cubicBezTo>
                    <a:pt x="1940" y="204"/>
                    <a:pt x="1940" y="204"/>
                    <a:pt x="1940" y="204"/>
                  </a:cubicBezTo>
                  <a:cubicBezTo>
                    <a:pt x="1939" y="203"/>
                    <a:pt x="1939" y="203"/>
                    <a:pt x="1939" y="203"/>
                  </a:cubicBezTo>
                  <a:cubicBezTo>
                    <a:pt x="1939" y="203"/>
                    <a:pt x="1939" y="203"/>
                    <a:pt x="1939" y="203"/>
                  </a:cubicBezTo>
                  <a:cubicBezTo>
                    <a:pt x="1939" y="202"/>
                    <a:pt x="1939" y="202"/>
                    <a:pt x="1939" y="202"/>
                  </a:cubicBezTo>
                  <a:cubicBezTo>
                    <a:pt x="1939" y="202"/>
                    <a:pt x="1939" y="202"/>
                    <a:pt x="1939" y="202"/>
                  </a:cubicBezTo>
                  <a:cubicBezTo>
                    <a:pt x="1939" y="202"/>
                    <a:pt x="1939" y="202"/>
                    <a:pt x="1939" y="202"/>
                  </a:cubicBezTo>
                  <a:cubicBezTo>
                    <a:pt x="1937" y="201"/>
                    <a:pt x="1937" y="201"/>
                    <a:pt x="1937" y="201"/>
                  </a:cubicBezTo>
                  <a:cubicBezTo>
                    <a:pt x="1936" y="201"/>
                    <a:pt x="1936" y="201"/>
                    <a:pt x="1936" y="201"/>
                  </a:cubicBezTo>
                  <a:cubicBezTo>
                    <a:pt x="1921" y="199"/>
                    <a:pt x="1921" y="199"/>
                    <a:pt x="1921" y="199"/>
                  </a:cubicBezTo>
                  <a:cubicBezTo>
                    <a:pt x="1922" y="198"/>
                    <a:pt x="1922" y="198"/>
                    <a:pt x="1922" y="198"/>
                  </a:cubicBezTo>
                  <a:cubicBezTo>
                    <a:pt x="1923" y="198"/>
                    <a:pt x="1923" y="198"/>
                    <a:pt x="1923" y="198"/>
                  </a:cubicBezTo>
                  <a:cubicBezTo>
                    <a:pt x="1924" y="198"/>
                    <a:pt x="1924" y="198"/>
                    <a:pt x="1924" y="198"/>
                  </a:cubicBezTo>
                  <a:cubicBezTo>
                    <a:pt x="1924" y="198"/>
                    <a:pt x="1924" y="198"/>
                    <a:pt x="1924" y="198"/>
                  </a:cubicBezTo>
                  <a:cubicBezTo>
                    <a:pt x="1926" y="199"/>
                    <a:pt x="1926" y="199"/>
                    <a:pt x="1927" y="199"/>
                  </a:cubicBezTo>
                  <a:cubicBezTo>
                    <a:pt x="1928" y="199"/>
                    <a:pt x="1928" y="199"/>
                    <a:pt x="1928" y="199"/>
                  </a:cubicBezTo>
                  <a:cubicBezTo>
                    <a:pt x="1928" y="199"/>
                    <a:pt x="1928" y="199"/>
                    <a:pt x="1928" y="199"/>
                  </a:cubicBezTo>
                  <a:cubicBezTo>
                    <a:pt x="1929" y="199"/>
                    <a:pt x="1929" y="198"/>
                    <a:pt x="1930" y="197"/>
                  </a:cubicBezTo>
                  <a:cubicBezTo>
                    <a:pt x="1931" y="197"/>
                    <a:pt x="1931" y="197"/>
                    <a:pt x="1931" y="197"/>
                  </a:cubicBezTo>
                  <a:cubicBezTo>
                    <a:pt x="1931" y="197"/>
                    <a:pt x="1931" y="197"/>
                    <a:pt x="1931" y="197"/>
                  </a:cubicBezTo>
                  <a:cubicBezTo>
                    <a:pt x="1931" y="197"/>
                    <a:pt x="1931" y="197"/>
                    <a:pt x="1931" y="197"/>
                  </a:cubicBezTo>
                  <a:cubicBezTo>
                    <a:pt x="1932" y="197"/>
                    <a:pt x="1932" y="197"/>
                    <a:pt x="1932" y="197"/>
                  </a:cubicBezTo>
                  <a:cubicBezTo>
                    <a:pt x="1934" y="197"/>
                    <a:pt x="1932" y="194"/>
                    <a:pt x="1935" y="194"/>
                  </a:cubicBezTo>
                  <a:cubicBezTo>
                    <a:pt x="1935" y="194"/>
                    <a:pt x="1935" y="194"/>
                    <a:pt x="1935" y="194"/>
                  </a:cubicBezTo>
                  <a:cubicBezTo>
                    <a:pt x="1936" y="195"/>
                    <a:pt x="1936" y="195"/>
                    <a:pt x="1936" y="195"/>
                  </a:cubicBezTo>
                  <a:cubicBezTo>
                    <a:pt x="1938" y="195"/>
                    <a:pt x="1937" y="194"/>
                    <a:pt x="1938" y="193"/>
                  </a:cubicBezTo>
                  <a:cubicBezTo>
                    <a:pt x="1939" y="193"/>
                    <a:pt x="1939" y="193"/>
                    <a:pt x="1939" y="193"/>
                  </a:cubicBezTo>
                  <a:cubicBezTo>
                    <a:pt x="1939" y="193"/>
                    <a:pt x="1939" y="193"/>
                    <a:pt x="1939" y="193"/>
                  </a:cubicBezTo>
                  <a:cubicBezTo>
                    <a:pt x="1940" y="193"/>
                    <a:pt x="1940" y="193"/>
                    <a:pt x="1940" y="193"/>
                  </a:cubicBezTo>
                  <a:cubicBezTo>
                    <a:pt x="1938" y="192"/>
                    <a:pt x="1938" y="192"/>
                    <a:pt x="1938" y="192"/>
                  </a:cubicBezTo>
                  <a:cubicBezTo>
                    <a:pt x="1937" y="192"/>
                    <a:pt x="1937" y="192"/>
                    <a:pt x="1937" y="192"/>
                  </a:cubicBezTo>
                  <a:cubicBezTo>
                    <a:pt x="1923" y="186"/>
                    <a:pt x="1923" y="186"/>
                    <a:pt x="1923" y="186"/>
                  </a:cubicBezTo>
                  <a:cubicBezTo>
                    <a:pt x="1923" y="185"/>
                    <a:pt x="1923" y="185"/>
                    <a:pt x="1923" y="185"/>
                  </a:cubicBezTo>
                  <a:cubicBezTo>
                    <a:pt x="1928" y="184"/>
                    <a:pt x="1928" y="184"/>
                    <a:pt x="1928" y="184"/>
                  </a:cubicBezTo>
                  <a:cubicBezTo>
                    <a:pt x="1930" y="183"/>
                    <a:pt x="1932" y="183"/>
                    <a:pt x="1933" y="182"/>
                  </a:cubicBezTo>
                  <a:cubicBezTo>
                    <a:pt x="1934" y="182"/>
                    <a:pt x="1934" y="182"/>
                    <a:pt x="1934" y="182"/>
                  </a:cubicBezTo>
                  <a:cubicBezTo>
                    <a:pt x="1934" y="182"/>
                    <a:pt x="1934" y="182"/>
                    <a:pt x="1934" y="182"/>
                  </a:cubicBezTo>
                  <a:cubicBezTo>
                    <a:pt x="1934" y="182"/>
                    <a:pt x="1934" y="182"/>
                    <a:pt x="1934" y="182"/>
                  </a:cubicBezTo>
                  <a:cubicBezTo>
                    <a:pt x="1934" y="182"/>
                    <a:pt x="1934" y="182"/>
                    <a:pt x="1934" y="182"/>
                  </a:cubicBezTo>
                  <a:cubicBezTo>
                    <a:pt x="1934" y="181"/>
                    <a:pt x="1934" y="181"/>
                    <a:pt x="1934" y="181"/>
                  </a:cubicBezTo>
                  <a:cubicBezTo>
                    <a:pt x="1934" y="181"/>
                    <a:pt x="1934" y="181"/>
                    <a:pt x="1934" y="181"/>
                  </a:cubicBezTo>
                  <a:cubicBezTo>
                    <a:pt x="1935" y="181"/>
                    <a:pt x="1935" y="181"/>
                    <a:pt x="1935" y="181"/>
                  </a:cubicBezTo>
                  <a:cubicBezTo>
                    <a:pt x="1935" y="181"/>
                    <a:pt x="1935" y="181"/>
                    <a:pt x="1935" y="181"/>
                  </a:cubicBezTo>
                  <a:cubicBezTo>
                    <a:pt x="1935" y="181"/>
                    <a:pt x="1935" y="181"/>
                    <a:pt x="1935" y="181"/>
                  </a:cubicBezTo>
                  <a:cubicBezTo>
                    <a:pt x="1935" y="180"/>
                    <a:pt x="1935" y="180"/>
                    <a:pt x="1935" y="180"/>
                  </a:cubicBezTo>
                  <a:cubicBezTo>
                    <a:pt x="1935" y="180"/>
                    <a:pt x="1935" y="180"/>
                    <a:pt x="1935" y="180"/>
                  </a:cubicBezTo>
                  <a:cubicBezTo>
                    <a:pt x="1935" y="180"/>
                    <a:pt x="1935" y="180"/>
                    <a:pt x="1935" y="180"/>
                  </a:cubicBezTo>
                  <a:cubicBezTo>
                    <a:pt x="1935" y="180"/>
                    <a:pt x="1935" y="180"/>
                    <a:pt x="1935" y="180"/>
                  </a:cubicBezTo>
                  <a:cubicBezTo>
                    <a:pt x="1935" y="179"/>
                    <a:pt x="1935" y="179"/>
                    <a:pt x="1935" y="179"/>
                  </a:cubicBezTo>
                  <a:cubicBezTo>
                    <a:pt x="1935" y="179"/>
                    <a:pt x="1935" y="179"/>
                    <a:pt x="1935" y="179"/>
                  </a:cubicBezTo>
                  <a:cubicBezTo>
                    <a:pt x="1936" y="179"/>
                    <a:pt x="1936" y="179"/>
                    <a:pt x="1936" y="179"/>
                  </a:cubicBezTo>
                  <a:cubicBezTo>
                    <a:pt x="1936" y="179"/>
                    <a:pt x="1936" y="179"/>
                    <a:pt x="1936" y="179"/>
                  </a:cubicBezTo>
                  <a:cubicBezTo>
                    <a:pt x="1936" y="178"/>
                    <a:pt x="1936" y="178"/>
                    <a:pt x="1936" y="178"/>
                  </a:cubicBezTo>
                  <a:cubicBezTo>
                    <a:pt x="1936" y="178"/>
                    <a:pt x="1936" y="178"/>
                    <a:pt x="1936" y="178"/>
                  </a:cubicBezTo>
                  <a:cubicBezTo>
                    <a:pt x="1935" y="178"/>
                    <a:pt x="1935" y="178"/>
                    <a:pt x="1935" y="178"/>
                  </a:cubicBezTo>
                  <a:cubicBezTo>
                    <a:pt x="1935" y="177"/>
                    <a:pt x="1935" y="177"/>
                    <a:pt x="1935" y="177"/>
                  </a:cubicBezTo>
                  <a:cubicBezTo>
                    <a:pt x="1935" y="177"/>
                    <a:pt x="1935" y="177"/>
                    <a:pt x="1935" y="177"/>
                  </a:cubicBezTo>
                  <a:cubicBezTo>
                    <a:pt x="1933" y="176"/>
                    <a:pt x="1933" y="176"/>
                    <a:pt x="1933" y="176"/>
                  </a:cubicBezTo>
                  <a:cubicBezTo>
                    <a:pt x="1933" y="176"/>
                    <a:pt x="1933" y="176"/>
                    <a:pt x="1933" y="176"/>
                  </a:cubicBezTo>
                  <a:cubicBezTo>
                    <a:pt x="1933" y="176"/>
                    <a:pt x="1933" y="176"/>
                    <a:pt x="1933" y="176"/>
                  </a:cubicBezTo>
                  <a:cubicBezTo>
                    <a:pt x="1932" y="175"/>
                    <a:pt x="1932" y="175"/>
                    <a:pt x="1932" y="175"/>
                  </a:cubicBezTo>
                  <a:cubicBezTo>
                    <a:pt x="1931" y="174"/>
                    <a:pt x="1931" y="174"/>
                    <a:pt x="1931" y="174"/>
                  </a:cubicBezTo>
                  <a:cubicBezTo>
                    <a:pt x="1929" y="173"/>
                    <a:pt x="1929" y="173"/>
                    <a:pt x="1929" y="173"/>
                  </a:cubicBezTo>
                  <a:cubicBezTo>
                    <a:pt x="1924" y="171"/>
                    <a:pt x="1924" y="171"/>
                    <a:pt x="1924" y="171"/>
                  </a:cubicBezTo>
                  <a:cubicBezTo>
                    <a:pt x="1921" y="169"/>
                    <a:pt x="1921" y="169"/>
                    <a:pt x="1921" y="169"/>
                  </a:cubicBezTo>
                  <a:cubicBezTo>
                    <a:pt x="1919" y="168"/>
                    <a:pt x="1919" y="168"/>
                    <a:pt x="1919" y="168"/>
                  </a:cubicBezTo>
                  <a:cubicBezTo>
                    <a:pt x="1916" y="166"/>
                    <a:pt x="1916" y="166"/>
                    <a:pt x="1916" y="166"/>
                  </a:cubicBezTo>
                  <a:cubicBezTo>
                    <a:pt x="1914" y="164"/>
                    <a:pt x="1902" y="163"/>
                    <a:pt x="1897" y="162"/>
                  </a:cubicBezTo>
                  <a:cubicBezTo>
                    <a:pt x="1897" y="162"/>
                    <a:pt x="1897" y="162"/>
                    <a:pt x="1897" y="162"/>
                  </a:cubicBezTo>
                  <a:cubicBezTo>
                    <a:pt x="1897" y="162"/>
                    <a:pt x="1897" y="162"/>
                    <a:pt x="1897" y="162"/>
                  </a:cubicBezTo>
                  <a:cubicBezTo>
                    <a:pt x="1896" y="162"/>
                    <a:pt x="1896" y="162"/>
                    <a:pt x="1896" y="162"/>
                  </a:cubicBezTo>
                  <a:cubicBezTo>
                    <a:pt x="1896" y="162"/>
                    <a:pt x="1896" y="162"/>
                    <a:pt x="1896" y="162"/>
                  </a:cubicBezTo>
                  <a:cubicBezTo>
                    <a:pt x="1895" y="162"/>
                    <a:pt x="1895" y="162"/>
                    <a:pt x="1895" y="162"/>
                  </a:cubicBezTo>
                  <a:cubicBezTo>
                    <a:pt x="1895" y="162"/>
                    <a:pt x="1895" y="162"/>
                    <a:pt x="1895" y="162"/>
                  </a:cubicBezTo>
                  <a:cubicBezTo>
                    <a:pt x="1894" y="163"/>
                    <a:pt x="1894" y="163"/>
                    <a:pt x="1894" y="163"/>
                  </a:cubicBezTo>
                  <a:cubicBezTo>
                    <a:pt x="1894" y="163"/>
                    <a:pt x="1894" y="163"/>
                    <a:pt x="1894" y="163"/>
                  </a:cubicBezTo>
                  <a:cubicBezTo>
                    <a:pt x="1894" y="164"/>
                    <a:pt x="1894" y="164"/>
                    <a:pt x="1894" y="164"/>
                  </a:cubicBezTo>
                  <a:cubicBezTo>
                    <a:pt x="1893" y="166"/>
                    <a:pt x="1893" y="166"/>
                    <a:pt x="1893" y="166"/>
                  </a:cubicBezTo>
                  <a:cubicBezTo>
                    <a:pt x="1892" y="167"/>
                    <a:pt x="1892" y="167"/>
                    <a:pt x="1892" y="167"/>
                  </a:cubicBezTo>
                  <a:cubicBezTo>
                    <a:pt x="1891" y="168"/>
                    <a:pt x="1891" y="168"/>
                    <a:pt x="1891" y="168"/>
                  </a:cubicBezTo>
                  <a:cubicBezTo>
                    <a:pt x="1887" y="168"/>
                    <a:pt x="1887" y="168"/>
                    <a:pt x="1887" y="168"/>
                  </a:cubicBezTo>
                  <a:cubicBezTo>
                    <a:pt x="1884" y="169"/>
                    <a:pt x="1884" y="169"/>
                    <a:pt x="1884" y="169"/>
                  </a:cubicBezTo>
                  <a:cubicBezTo>
                    <a:pt x="1880" y="166"/>
                    <a:pt x="1880" y="166"/>
                    <a:pt x="1880" y="166"/>
                  </a:cubicBezTo>
                  <a:cubicBezTo>
                    <a:pt x="1880" y="166"/>
                    <a:pt x="1880" y="166"/>
                    <a:pt x="1880" y="166"/>
                  </a:cubicBezTo>
                  <a:cubicBezTo>
                    <a:pt x="1880" y="165"/>
                    <a:pt x="1880" y="165"/>
                    <a:pt x="1880" y="165"/>
                  </a:cubicBezTo>
                  <a:cubicBezTo>
                    <a:pt x="1881" y="165"/>
                    <a:pt x="1881" y="165"/>
                    <a:pt x="1881" y="165"/>
                  </a:cubicBezTo>
                  <a:cubicBezTo>
                    <a:pt x="1882" y="165"/>
                    <a:pt x="1882" y="165"/>
                    <a:pt x="1882" y="165"/>
                  </a:cubicBezTo>
                  <a:cubicBezTo>
                    <a:pt x="1883" y="165"/>
                    <a:pt x="1883" y="165"/>
                    <a:pt x="1883" y="165"/>
                  </a:cubicBezTo>
                  <a:cubicBezTo>
                    <a:pt x="1884" y="164"/>
                    <a:pt x="1884" y="164"/>
                    <a:pt x="1884" y="164"/>
                  </a:cubicBezTo>
                  <a:cubicBezTo>
                    <a:pt x="1884" y="164"/>
                    <a:pt x="1884" y="164"/>
                    <a:pt x="1884" y="164"/>
                  </a:cubicBezTo>
                  <a:cubicBezTo>
                    <a:pt x="1884" y="164"/>
                    <a:pt x="1884" y="164"/>
                    <a:pt x="1884" y="164"/>
                  </a:cubicBezTo>
                  <a:cubicBezTo>
                    <a:pt x="1884" y="164"/>
                    <a:pt x="1884" y="164"/>
                    <a:pt x="1884" y="164"/>
                  </a:cubicBezTo>
                  <a:cubicBezTo>
                    <a:pt x="1884" y="163"/>
                    <a:pt x="1884" y="163"/>
                    <a:pt x="1884" y="163"/>
                  </a:cubicBezTo>
                  <a:cubicBezTo>
                    <a:pt x="1883" y="163"/>
                    <a:pt x="1883" y="163"/>
                    <a:pt x="1883" y="163"/>
                  </a:cubicBezTo>
                  <a:cubicBezTo>
                    <a:pt x="1883" y="163"/>
                    <a:pt x="1883" y="163"/>
                    <a:pt x="1883" y="163"/>
                  </a:cubicBezTo>
                  <a:cubicBezTo>
                    <a:pt x="1883" y="163"/>
                    <a:pt x="1883" y="163"/>
                    <a:pt x="1883" y="163"/>
                  </a:cubicBezTo>
                  <a:cubicBezTo>
                    <a:pt x="1882" y="162"/>
                    <a:pt x="1881" y="162"/>
                    <a:pt x="1879" y="162"/>
                  </a:cubicBezTo>
                  <a:cubicBezTo>
                    <a:pt x="1876" y="162"/>
                    <a:pt x="1876" y="162"/>
                    <a:pt x="1876" y="162"/>
                  </a:cubicBezTo>
                  <a:cubicBezTo>
                    <a:pt x="1874" y="162"/>
                    <a:pt x="1874" y="162"/>
                    <a:pt x="1874" y="162"/>
                  </a:cubicBezTo>
                  <a:cubicBezTo>
                    <a:pt x="1871" y="163"/>
                    <a:pt x="1871" y="163"/>
                    <a:pt x="1871" y="163"/>
                  </a:cubicBezTo>
                  <a:cubicBezTo>
                    <a:pt x="1870" y="163"/>
                    <a:pt x="1870" y="163"/>
                    <a:pt x="1870" y="163"/>
                  </a:cubicBezTo>
                  <a:cubicBezTo>
                    <a:pt x="1869" y="163"/>
                    <a:pt x="1869" y="163"/>
                    <a:pt x="1869" y="163"/>
                  </a:cubicBezTo>
                  <a:cubicBezTo>
                    <a:pt x="1869" y="163"/>
                    <a:pt x="1869" y="163"/>
                    <a:pt x="1869" y="163"/>
                  </a:cubicBezTo>
                  <a:cubicBezTo>
                    <a:pt x="1868" y="162"/>
                    <a:pt x="1868" y="162"/>
                    <a:pt x="1868" y="162"/>
                  </a:cubicBezTo>
                  <a:cubicBezTo>
                    <a:pt x="1868" y="162"/>
                    <a:pt x="1868" y="162"/>
                    <a:pt x="1868" y="162"/>
                  </a:cubicBezTo>
                  <a:cubicBezTo>
                    <a:pt x="1868" y="162"/>
                    <a:pt x="1868" y="162"/>
                    <a:pt x="1868" y="162"/>
                  </a:cubicBezTo>
                  <a:cubicBezTo>
                    <a:pt x="1867" y="162"/>
                    <a:pt x="1867" y="162"/>
                    <a:pt x="1867" y="162"/>
                  </a:cubicBezTo>
                  <a:cubicBezTo>
                    <a:pt x="1867" y="162"/>
                    <a:pt x="1867" y="162"/>
                    <a:pt x="1867" y="162"/>
                  </a:cubicBezTo>
                  <a:cubicBezTo>
                    <a:pt x="1866" y="162"/>
                    <a:pt x="1866" y="162"/>
                    <a:pt x="1866" y="162"/>
                  </a:cubicBezTo>
                  <a:cubicBezTo>
                    <a:pt x="1866" y="162"/>
                    <a:pt x="1866" y="162"/>
                    <a:pt x="1866" y="162"/>
                  </a:cubicBezTo>
                  <a:cubicBezTo>
                    <a:pt x="1866" y="162"/>
                    <a:pt x="1866" y="162"/>
                    <a:pt x="1866" y="162"/>
                  </a:cubicBezTo>
                  <a:cubicBezTo>
                    <a:pt x="1866" y="161"/>
                    <a:pt x="1866" y="161"/>
                    <a:pt x="1866" y="161"/>
                  </a:cubicBezTo>
                  <a:cubicBezTo>
                    <a:pt x="1866" y="161"/>
                    <a:pt x="1866" y="161"/>
                    <a:pt x="1866" y="161"/>
                  </a:cubicBezTo>
                  <a:cubicBezTo>
                    <a:pt x="1865" y="161"/>
                    <a:pt x="1865" y="161"/>
                    <a:pt x="1865" y="161"/>
                  </a:cubicBezTo>
                  <a:cubicBezTo>
                    <a:pt x="1864" y="161"/>
                    <a:pt x="1864" y="161"/>
                    <a:pt x="1864" y="161"/>
                  </a:cubicBezTo>
                  <a:cubicBezTo>
                    <a:pt x="1863" y="161"/>
                    <a:pt x="1863" y="161"/>
                    <a:pt x="1863" y="161"/>
                  </a:cubicBezTo>
                  <a:cubicBezTo>
                    <a:pt x="1862" y="161"/>
                    <a:pt x="1862" y="161"/>
                    <a:pt x="1862" y="161"/>
                  </a:cubicBezTo>
                  <a:cubicBezTo>
                    <a:pt x="1861" y="161"/>
                    <a:pt x="1861" y="161"/>
                    <a:pt x="1861" y="161"/>
                  </a:cubicBezTo>
                  <a:cubicBezTo>
                    <a:pt x="1861" y="161"/>
                    <a:pt x="1861" y="161"/>
                    <a:pt x="1861" y="161"/>
                  </a:cubicBezTo>
                  <a:cubicBezTo>
                    <a:pt x="1861" y="161"/>
                    <a:pt x="1861" y="161"/>
                    <a:pt x="1861" y="161"/>
                  </a:cubicBezTo>
                  <a:cubicBezTo>
                    <a:pt x="1861" y="160"/>
                    <a:pt x="1861" y="160"/>
                    <a:pt x="1861" y="160"/>
                  </a:cubicBezTo>
                  <a:cubicBezTo>
                    <a:pt x="1861" y="159"/>
                    <a:pt x="1861" y="159"/>
                    <a:pt x="1861" y="159"/>
                  </a:cubicBezTo>
                  <a:cubicBezTo>
                    <a:pt x="1861" y="159"/>
                    <a:pt x="1861" y="159"/>
                    <a:pt x="1861" y="159"/>
                  </a:cubicBezTo>
                  <a:cubicBezTo>
                    <a:pt x="1861" y="159"/>
                    <a:pt x="1861" y="159"/>
                    <a:pt x="1861" y="159"/>
                  </a:cubicBezTo>
                  <a:cubicBezTo>
                    <a:pt x="1861" y="159"/>
                    <a:pt x="1861" y="159"/>
                    <a:pt x="1861" y="159"/>
                  </a:cubicBezTo>
                  <a:cubicBezTo>
                    <a:pt x="1861" y="159"/>
                    <a:pt x="1861" y="159"/>
                    <a:pt x="1861" y="159"/>
                  </a:cubicBezTo>
                  <a:cubicBezTo>
                    <a:pt x="1861" y="159"/>
                    <a:pt x="1861" y="159"/>
                    <a:pt x="1861" y="159"/>
                  </a:cubicBezTo>
                  <a:cubicBezTo>
                    <a:pt x="1861" y="158"/>
                    <a:pt x="1861" y="158"/>
                    <a:pt x="1861" y="158"/>
                  </a:cubicBezTo>
                  <a:cubicBezTo>
                    <a:pt x="1860" y="158"/>
                    <a:pt x="1860" y="158"/>
                    <a:pt x="1860" y="158"/>
                  </a:cubicBezTo>
                  <a:cubicBezTo>
                    <a:pt x="1860" y="158"/>
                    <a:pt x="1860" y="158"/>
                    <a:pt x="1860" y="158"/>
                  </a:cubicBezTo>
                  <a:cubicBezTo>
                    <a:pt x="1860" y="158"/>
                    <a:pt x="1860" y="158"/>
                    <a:pt x="1860" y="158"/>
                  </a:cubicBezTo>
                  <a:cubicBezTo>
                    <a:pt x="1860" y="158"/>
                    <a:pt x="1860" y="158"/>
                    <a:pt x="1860" y="158"/>
                  </a:cubicBezTo>
                  <a:cubicBezTo>
                    <a:pt x="1860" y="158"/>
                    <a:pt x="1860" y="158"/>
                    <a:pt x="1860" y="158"/>
                  </a:cubicBezTo>
                  <a:cubicBezTo>
                    <a:pt x="1860" y="157"/>
                    <a:pt x="1860" y="157"/>
                    <a:pt x="1860" y="157"/>
                  </a:cubicBezTo>
                  <a:cubicBezTo>
                    <a:pt x="1860" y="157"/>
                    <a:pt x="1860" y="157"/>
                    <a:pt x="1860" y="157"/>
                  </a:cubicBezTo>
                  <a:cubicBezTo>
                    <a:pt x="1860" y="157"/>
                    <a:pt x="1860" y="157"/>
                    <a:pt x="1860" y="157"/>
                  </a:cubicBezTo>
                  <a:cubicBezTo>
                    <a:pt x="1858" y="156"/>
                    <a:pt x="1856" y="157"/>
                    <a:pt x="1855" y="157"/>
                  </a:cubicBezTo>
                  <a:cubicBezTo>
                    <a:pt x="1854" y="157"/>
                    <a:pt x="1854" y="157"/>
                    <a:pt x="1854" y="157"/>
                  </a:cubicBezTo>
                  <a:cubicBezTo>
                    <a:pt x="1854" y="156"/>
                    <a:pt x="1854" y="156"/>
                    <a:pt x="1854" y="156"/>
                  </a:cubicBezTo>
                  <a:cubicBezTo>
                    <a:pt x="1854" y="156"/>
                    <a:pt x="1854" y="156"/>
                    <a:pt x="1854" y="156"/>
                  </a:cubicBezTo>
                  <a:cubicBezTo>
                    <a:pt x="1854" y="156"/>
                    <a:pt x="1854" y="156"/>
                    <a:pt x="1854" y="156"/>
                  </a:cubicBezTo>
                  <a:cubicBezTo>
                    <a:pt x="1854" y="156"/>
                    <a:pt x="1854" y="156"/>
                    <a:pt x="1854" y="156"/>
                  </a:cubicBezTo>
                  <a:cubicBezTo>
                    <a:pt x="1853" y="156"/>
                    <a:pt x="1853" y="156"/>
                    <a:pt x="1853" y="156"/>
                  </a:cubicBezTo>
                  <a:cubicBezTo>
                    <a:pt x="1850" y="156"/>
                    <a:pt x="1853" y="155"/>
                    <a:pt x="1850" y="155"/>
                  </a:cubicBezTo>
                  <a:cubicBezTo>
                    <a:pt x="1849" y="155"/>
                    <a:pt x="1849" y="155"/>
                    <a:pt x="1849" y="155"/>
                  </a:cubicBezTo>
                  <a:cubicBezTo>
                    <a:pt x="1849" y="155"/>
                    <a:pt x="1849" y="155"/>
                    <a:pt x="1849" y="155"/>
                  </a:cubicBezTo>
                  <a:cubicBezTo>
                    <a:pt x="1847" y="154"/>
                    <a:pt x="1848" y="154"/>
                    <a:pt x="1846" y="154"/>
                  </a:cubicBezTo>
                  <a:cubicBezTo>
                    <a:pt x="1846" y="153"/>
                    <a:pt x="1846" y="153"/>
                    <a:pt x="1846" y="153"/>
                  </a:cubicBezTo>
                  <a:cubicBezTo>
                    <a:pt x="1845" y="153"/>
                    <a:pt x="1845" y="153"/>
                    <a:pt x="1845" y="153"/>
                  </a:cubicBezTo>
                  <a:cubicBezTo>
                    <a:pt x="1845" y="153"/>
                    <a:pt x="1845" y="153"/>
                    <a:pt x="1845" y="153"/>
                  </a:cubicBezTo>
                  <a:cubicBezTo>
                    <a:pt x="1846" y="153"/>
                    <a:pt x="1846" y="153"/>
                    <a:pt x="1846" y="153"/>
                  </a:cubicBezTo>
                  <a:cubicBezTo>
                    <a:pt x="1846" y="153"/>
                    <a:pt x="1846" y="153"/>
                    <a:pt x="1846" y="153"/>
                  </a:cubicBezTo>
                  <a:cubicBezTo>
                    <a:pt x="1845" y="153"/>
                    <a:pt x="1845" y="153"/>
                    <a:pt x="1845" y="153"/>
                  </a:cubicBezTo>
                  <a:cubicBezTo>
                    <a:pt x="1843" y="154"/>
                    <a:pt x="1843" y="154"/>
                    <a:pt x="1843" y="154"/>
                  </a:cubicBezTo>
                  <a:cubicBezTo>
                    <a:pt x="1840" y="156"/>
                    <a:pt x="1840" y="156"/>
                    <a:pt x="1840" y="156"/>
                  </a:cubicBezTo>
                  <a:cubicBezTo>
                    <a:pt x="1839" y="156"/>
                    <a:pt x="1839" y="156"/>
                    <a:pt x="1839" y="156"/>
                  </a:cubicBezTo>
                  <a:cubicBezTo>
                    <a:pt x="1838" y="157"/>
                    <a:pt x="1838" y="157"/>
                    <a:pt x="1838" y="157"/>
                  </a:cubicBezTo>
                  <a:cubicBezTo>
                    <a:pt x="1838" y="157"/>
                    <a:pt x="1838" y="157"/>
                    <a:pt x="1838" y="157"/>
                  </a:cubicBezTo>
                  <a:cubicBezTo>
                    <a:pt x="1838" y="156"/>
                    <a:pt x="1839" y="156"/>
                    <a:pt x="1838" y="155"/>
                  </a:cubicBezTo>
                  <a:cubicBezTo>
                    <a:pt x="1838" y="155"/>
                    <a:pt x="1838" y="155"/>
                    <a:pt x="1838" y="155"/>
                  </a:cubicBezTo>
                  <a:cubicBezTo>
                    <a:pt x="1838" y="155"/>
                    <a:pt x="1838" y="155"/>
                    <a:pt x="1838" y="155"/>
                  </a:cubicBezTo>
                  <a:cubicBezTo>
                    <a:pt x="1838" y="155"/>
                    <a:pt x="1838" y="155"/>
                    <a:pt x="1838" y="155"/>
                  </a:cubicBezTo>
                  <a:cubicBezTo>
                    <a:pt x="1838" y="154"/>
                    <a:pt x="1838" y="154"/>
                    <a:pt x="1837" y="154"/>
                  </a:cubicBezTo>
                  <a:cubicBezTo>
                    <a:pt x="1836" y="154"/>
                    <a:pt x="1836" y="154"/>
                    <a:pt x="1836" y="154"/>
                  </a:cubicBezTo>
                  <a:cubicBezTo>
                    <a:pt x="1836" y="154"/>
                    <a:pt x="1836" y="154"/>
                    <a:pt x="1836" y="154"/>
                  </a:cubicBezTo>
                  <a:cubicBezTo>
                    <a:pt x="1836" y="155"/>
                    <a:pt x="1836" y="155"/>
                    <a:pt x="1836" y="155"/>
                  </a:cubicBezTo>
                  <a:cubicBezTo>
                    <a:pt x="1837" y="157"/>
                    <a:pt x="1837" y="157"/>
                    <a:pt x="1837" y="157"/>
                  </a:cubicBezTo>
                  <a:cubicBezTo>
                    <a:pt x="1837" y="158"/>
                    <a:pt x="1837" y="158"/>
                    <a:pt x="1837" y="158"/>
                  </a:cubicBezTo>
                  <a:cubicBezTo>
                    <a:pt x="1837" y="158"/>
                    <a:pt x="1837" y="158"/>
                    <a:pt x="1837" y="158"/>
                  </a:cubicBezTo>
                  <a:cubicBezTo>
                    <a:pt x="1838" y="158"/>
                    <a:pt x="1838" y="158"/>
                    <a:pt x="1838" y="158"/>
                  </a:cubicBezTo>
                  <a:cubicBezTo>
                    <a:pt x="1838" y="159"/>
                    <a:pt x="1838" y="159"/>
                    <a:pt x="1838" y="159"/>
                  </a:cubicBezTo>
                  <a:cubicBezTo>
                    <a:pt x="1837" y="159"/>
                    <a:pt x="1837" y="159"/>
                    <a:pt x="1837" y="159"/>
                  </a:cubicBezTo>
                  <a:cubicBezTo>
                    <a:pt x="1836" y="159"/>
                    <a:pt x="1834" y="159"/>
                    <a:pt x="1833" y="160"/>
                  </a:cubicBezTo>
                  <a:cubicBezTo>
                    <a:pt x="1833" y="160"/>
                    <a:pt x="1833" y="160"/>
                    <a:pt x="1833" y="160"/>
                  </a:cubicBezTo>
                  <a:cubicBezTo>
                    <a:pt x="1832" y="160"/>
                    <a:pt x="1832" y="160"/>
                    <a:pt x="1832" y="160"/>
                  </a:cubicBezTo>
                  <a:cubicBezTo>
                    <a:pt x="1832" y="160"/>
                    <a:pt x="1832" y="160"/>
                    <a:pt x="1832" y="160"/>
                  </a:cubicBezTo>
                  <a:cubicBezTo>
                    <a:pt x="1832" y="160"/>
                    <a:pt x="1832" y="160"/>
                    <a:pt x="1832" y="160"/>
                  </a:cubicBezTo>
                  <a:cubicBezTo>
                    <a:pt x="1831" y="160"/>
                    <a:pt x="1831" y="160"/>
                    <a:pt x="1831" y="160"/>
                  </a:cubicBezTo>
                  <a:cubicBezTo>
                    <a:pt x="1831" y="160"/>
                    <a:pt x="1831" y="160"/>
                    <a:pt x="1831" y="160"/>
                  </a:cubicBezTo>
                  <a:cubicBezTo>
                    <a:pt x="1831" y="160"/>
                    <a:pt x="1831" y="160"/>
                    <a:pt x="1831" y="160"/>
                  </a:cubicBezTo>
                  <a:cubicBezTo>
                    <a:pt x="1831" y="159"/>
                    <a:pt x="1831" y="159"/>
                    <a:pt x="1831" y="159"/>
                  </a:cubicBezTo>
                  <a:cubicBezTo>
                    <a:pt x="1831" y="159"/>
                    <a:pt x="1831" y="159"/>
                    <a:pt x="1831" y="159"/>
                  </a:cubicBezTo>
                  <a:cubicBezTo>
                    <a:pt x="1831" y="159"/>
                    <a:pt x="1831" y="159"/>
                    <a:pt x="1831" y="159"/>
                  </a:cubicBezTo>
                  <a:cubicBezTo>
                    <a:pt x="1830" y="159"/>
                    <a:pt x="1830" y="159"/>
                    <a:pt x="1830" y="159"/>
                  </a:cubicBezTo>
                  <a:cubicBezTo>
                    <a:pt x="1830" y="159"/>
                    <a:pt x="1830" y="159"/>
                    <a:pt x="1830" y="159"/>
                  </a:cubicBezTo>
                  <a:cubicBezTo>
                    <a:pt x="1830" y="158"/>
                    <a:pt x="1830" y="158"/>
                    <a:pt x="1830" y="158"/>
                  </a:cubicBezTo>
                  <a:cubicBezTo>
                    <a:pt x="1830" y="158"/>
                    <a:pt x="1830" y="158"/>
                    <a:pt x="1830" y="158"/>
                  </a:cubicBezTo>
                  <a:cubicBezTo>
                    <a:pt x="1830" y="157"/>
                    <a:pt x="1830" y="157"/>
                    <a:pt x="1830" y="157"/>
                  </a:cubicBezTo>
                  <a:cubicBezTo>
                    <a:pt x="1830" y="157"/>
                    <a:pt x="1830" y="157"/>
                    <a:pt x="1830" y="157"/>
                  </a:cubicBezTo>
                  <a:cubicBezTo>
                    <a:pt x="1830" y="156"/>
                    <a:pt x="1830" y="156"/>
                    <a:pt x="1830" y="156"/>
                  </a:cubicBezTo>
                  <a:cubicBezTo>
                    <a:pt x="1830" y="156"/>
                    <a:pt x="1830" y="156"/>
                    <a:pt x="1830" y="156"/>
                  </a:cubicBezTo>
                  <a:cubicBezTo>
                    <a:pt x="1830" y="156"/>
                    <a:pt x="1830" y="156"/>
                    <a:pt x="1830" y="156"/>
                  </a:cubicBezTo>
                  <a:cubicBezTo>
                    <a:pt x="1829" y="156"/>
                    <a:pt x="1829" y="156"/>
                    <a:pt x="1829" y="156"/>
                  </a:cubicBezTo>
                  <a:cubicBezTo>
                    <a:pt x="1829" y="157"/>
                    <a:pt x="1829" y="157"/>
                    <a:pt x="1829" y="157"/>
                  </a:cubicBezTo>
                  <a:cubicBezTo>
                    <a:pt x="1828" y="157"/>
                    <a:pt x="1828" y="157"/>
                    <a:pt x="1828" y="157"/>
                  </a:cubicBezTo>
                  <a:cubicBezTo>
                    <a:pt x="1828" y="157"/>
                    <a:pt x="1828" y="157"/>
                    <a:pt x="1828" y="157"/>
                  </a:cubicBezTo>
                  <a:cubicBezTo>
                    <a:pt x="1827" y="157"/>
                    <a:pt x="1827" y="157"/>
                    <a:pt x="1827" y="157"/>
                  </a:cubicBezTo>
                  <a:cubicBezTo>
                    <a:pt x="1827" y="158"/>
                    <a:pt x="1827" y="158"/>
                    <a:pt x="1827" y="158"/>
                  </a:cubicBezTo>
                  <a:cubicBezTo>
                    <a:pt x="1826" y="158"/>
                    <a:pt x="1826" y="158"/>
                    <a:pt x="1826" y="158"/>
                  </a:cubicBezTo>
                  <a:cubicBezTo>
                    <a:pt x="1826" y="159"/>
                    <a:pt x="1826" y="159"/>
                    <a:pt x="1826" y="159"/>
                  </a:cubicBezTo>
                  <a:cubicBezTo>
                    <a:pt x="1825" y="161"/>
                    <a:pt x="1825" y="161"/>
                    <a:pt x="1825" y="161"/>
                  </a:cubicBezTo>
                  <a:cubicBezTo>
                    <a:pt x="1825" y="162"/>
                    <a:pt x="1825" y="162"/>
                    <a:pt x="1825" y="162"/>
                  </a:cubicBezTo>
                  <a:cubicBezTo>
                    <a:pt x="1826" y="164"/>
                    <a:pt x="1826" y="164"/>
                    <a:pt x="1826" y="164"/>
                  </a:cubicBezTo>
                  <a:cubicBezTo>
                    <a:pt x="1826" y="165"/>
                    <a:pt x="1826" y="165"/>
                    <a:pt x="1826" y="165"/>
                  </a:cubicBezTo>
                  <a:cubicBezTo>
                    <a:pt x="1827" y="165"/>
                    <a:pt x="1827" y="165"/>
                    <a:pt x="1827" y="165"/>
                  </a:cubicBezTo>
                  <a:cubicBezTo>
                    <a:pt x="1826" y="166"/>
                    <a:pt x="1826" y="166"/>
                    <a:pt x="1826" y="166"/>
                  </a:cubicBezTo>
                  <a:cubicBezTo>
                    <a:pt x="1825" y="165"/>
                    <a:pt x="1825" y="165"/>
                    <a:pt x="1825" y="165"/>
                  </a:cubicBezTo>
                  <a:cubicBezTo>
                    <a:pt x="1825" y="165"/>
                    <a:pt x="1825" y="165"/>
                    <a:pt x="1825" y="165"/>
                  </a:cubicBezTo>
                  <a:cubicBezTo>
                    <a:pt x="1824" y="165"/>
                    <a:pt x="1824" y="165"/>
                    <a:pt x="1824" y="165"/>
                  </a:cubicBezTo>
                  <a:cubicBezTo>
                    <a:pt x="1824" y="166"/>
                    <a:pt x="1824" y="166"/>
                    <a:pt x="1824" y="166"/>
                  </a:cubicBezTo>
                  <a:cubicBezTo>
                    <a:pt x="1824" y="167"/>
                    <a:pt x="1824" y="167"/>
                    <a:pt x="1824" y="167"/>
                  </a:cubicBezTo>
                  <a:cubicBezTo>
                    <a:pt x="1824" y="167"/>
                    <a:pt x="1824" y="167"/>
                    <a:pt x="1824" y="167"/>
                  </a:cubicBezTo>
                  <a:cubicBezTo>
                    <a:pt x="1824" y="167"/>
                    <a:pt x="1824" y="167"/>
                    <a:pt x="1824" y="167"/>
                  </a:cubicBezTo>
                  <a:cubicBezTo>
                    <a:pt x="1825" y="168"/>
                    <a:pt x="1825" y="168"/>
                    <a:pt x="1825" y="168"/>
                  </a:cubicBezTo>
                  <a:cubicBezTo>
                    <a:pt x="1826" y="168"/>
                    <a:pt x="1826" y="168"/>
                    <a:pt x="1826" y="168"/>
                  </a:cubicBezTo>
                  <a:cubicBezTo>
                    <a:pt x="1827" y="168"/>
                    <a:pt x="1827" y="168"/>
                    <a:pt x="1827" y="168"/>
                  </a:cubicBezTo>
                  <a:cubicBezTo>
                    <a:pt x="1827" y="169"/>
                    <a:pt x="1827" y="169"/>
                    <a:pt x="1827" y="169"/>
                  </a:cubicBezTo>
                  <a:cubicBezTo>
                    <a:pt x="1828" y="171"/>
                    <a:pt x="1828" y="171"/>
                    <a:pt x="1828" y="171"/>
                  </a:cubicBezTo>
                  <a:cubicBezTo>
                    <a:pt x="1829" y="172"/>
                    <a:pt x="1829" y="172"/>
                    <a:pt x="1829" y="172"/>
                  </a:cubicBezTo>
                  <a:cubicBezTo>
                    <a:pt x="1829" y="174"/>
                    <a:pt x="1829" y="174"/>
                    <a:pt x="1829" y="174"/>
                  </a:cubicBezTo>
                  <a:cubicBezTo>
                    <a:pt x="1830" y="174"/>
                    <a:pt x="1830" y="174"/>
                    <a:pt x="1830" y="174"/>
                  </a:cubicBezTo>
                  <a:cubicBezTo>
                    <a:pt x="1830" y="174"/>
                    <a:pt x="1830" y="174"/>
                    <a:pt x="1830" y="174"/>
                  </a:cubicBezTo>
                  <a:cubicBezTo>
                    <a:pt x="1830" y="174"/>
                    <a:pt x="1830" y="174"/>
                    <a:pt x="1830" y="174"/>
                  </a:cubicBezTo>
                  <a:cubicBezTo>
                    <a:pt x="1831" y="174"/>
                    <a:pt x="1831" y="174"/>
                    <a:pt x="1831" y="174"/>
                  </a:cubicBezTo>
                  <a:cubicBezTo>
                    <a:pt x="1831" y="174"/>
                    <a:pt x="1831" y="174"/>
                    <a:pt x="1831" y="174"/>
                  </a:cubicBezTo>
                  <a:cubicBezTo>
                    <a:pt x="1831" y="175"/>
                    <a:pt x="1831" y="175"/>
                    <a:pt x="1831" y="175"/>
                  </a:cubicBezTo>
                  <a:cubicBezTo>
                    <a:pt x="1831" y="175"/>
                    <a:pt x="1831" y="175"/>
                    <a:pt x="1831" y="175"/>
                  </a:cubicBezTo>
                  <a:cubicBezTo>
                    <a:pt x="1826" y="176"/>
                    <a:pt x="1826" y="176"/>
                    <a:pt x="1826" y="176"/>
                  </a:cubicBezTo>
                  <a:cubicBezTo>
                    <a:pt x="1826" y="177"/>
                    <a:pt x="1826" y="177"/>
                    <a:pt x="1826" y="177"/>
                  </a:cubicBezTo>
                  <a:cubicBezTo>
                    <a:pt x="1827" y="180"/>
                    <a:pt x="1827" y="180"/>
                    <a:pt x="1827" y="180"/>
                  </a:cubicBezTo>
                  <a:cubicBezTo>
                    <a:pt x="1826" y="181"/>
                    <a:pt x="1823" y="186"/>
                    <a:pt x="1820" y="185"/>
                  </a:cubicBezTo>
                  <a:cubicBezTo>
                    <a:pt x="1820" y="185"/>
                    <a:pt x="1820" y="185"/>
                    <a:pt x="1820" y="185"/>
                  </a:cubicBezTo>
                  <a:cubicBezTo>
                    <a:pt x="1820" y="185"/>
                    <a:pt x="1820" y="185"/>
                    <a:pt x="1820" y="185"/>
                  </a:cubicBezTo>
                  <a:cubicBezTo>
                    <a:pt x="1816" y="183"/>
                    <a:pt x="1812" y="184"/>
                    <a:pt x="1808" y="183"/>
                  </a:cubicBezTo>
                  <a:cubicBezTo>
                    <a:pt x="1799" y="184"/>
                    <a:pt x="1799" y="184"/>
                    <a:pt x="1799" y="184"/>
                  </a:cubicBezTo>
                  <a:cubicBezTo>
                    <a:pt x="1762" y="182"/>
                    <a:pt x="1762" y="182"/>
                    <a:pt x="1762" y="182"/>
                  </a:cubicBezTo>
                  <a:cubicBezTo>
                    <a:pt x="1757" y="182"/>
                    <a:pt x="1757" y="182"/>
                    <a:pt x="1757" y="182"/>
                  </a:cubicBezTo>
                  <a:cubicBezTo>
                    <a:pt x="1756" y="182"/>
                    <a:pt x="1756" y="182"/>
                    <a:pt x="1756" y="182"/>
                  </a:cubicBezTo>
                  <a:cubicBezTo>
                    <a:pt x="1733" y="175"/>
                    <a:pt x="1733" y="175"/>
                    <a:pt x="1733" y="175"/>
                  </a:cubicBezTo>
                  <a:cubicBezTo>
                    <a:pt x="1732" y="174"/>
                    <a:pt x="1732" y="174"/>
                    <a:pt x="1732" y="174"/>
                  </a:cubicBezTo>
                  <a:cubicBezTo>
                    <a:pt x="1732" y="174"/>
                    <a:pt x="1732" y="174"/>
                    <a:pt x="1732" y="174"/>
                  </a:cubicBezTo>
                  <a:cubicBezTo>
                    <a:pt x="1731" y="170"/>
                    <a:pt x="1731" y="170"/>
                    <a:pt x="1731" y="170"/>
                  </a:cubicBezTo>
                  <a:cubicBezTo>
                    <a:pt x="1733" y="165"/>
                    <a:pt x="1733" y="165"/>
                    <a:pt x="1733" y="165"/>
                  </a:cubicBezTo>
                  <a:cubicBezTo>
                    <a:pt x="1734" y="165"/>
                    <a:pt x="1734" y="165"/>
                    <a:pt x="1734" y="165"/>
                  </a:cubicBezTo>
                  <a:cubicBezTo>
                    <a:pt x="1736" y="165"/>
                    <a:pt x="1736" y="165"/>
                    <a:pt x="1736" y="165"/>
                  </a:cubicBezTo>
                  <a:cubicBezTo>
                    <a:pt x="1740" y="164"/>
                    <a:pt x="1740" y="164"/>
                    <a:pt x="1740" y="164"/>
                  </a:cubicBezTo>
                  <a:cubicBezTo>
                    <a:pt x="1742" y="164"/>
                    <a:pt x="1742" y="164"/>
                    <a:pt x="1742" y="164"/>
                  </a:cubicBezTo>
                  <a:cubicBezTo>
                    <a:pt x="1742" y="164"/>
                    <a:pt x="1742" y="164"/>
                    <a:pt x="1742" y="164"/>
                  </a:cubicBezTo>
                  <a:cubicBezTo>
                    <a:pt x="1742" y="164"/>
                    <a:pt x="1742" y="164"/>
                    <a:pt x="1742" y="164"/>
                  </a:cubicBezTo>
                  <a:cubicBezTo>
                    <a:pt x="1742" y="164"/>
                    <a:pt x="1742" y="164"/>
                    <a:pt x="1742" y="164"/>
                  </a:cubicBezTo>
                  <a:cubicBezTo>
                    <a:pt x="1742" y="163"/>
                    <a:pt x="1742" y="163"/>
                    <a:pt x="1742" y="163"/>
                  </a:cubicBezTo>
                  <a:cubicBezTo>
                    <a:pt x="1741" y="163"/>
                    <a:pt x="1741" y="163"/>
                    <a:pt x="1741" y="163"/>
                  </a:cubicBezTo>
                  <a:cubicBezTo>
                    <a:pt x="1741" y="163"/>
                    <a:pt x="1741" y="163"/>
                    <a:pt x="1741" y="163"/>
                  </a:cubicBezTo>
                  <a:cubicBezTo>
                    <a:pt x="1740" y="162"/>
                    <a:pt x="1738" y="162"/>
                    <a:pt x="1737" y="161"/>
                  </a:cubicBezTo>
                  <a:cubicBezTo>
                    <a:pt x="1736" y="161"/>
                    <a:pt x="1736" y="161"/>
                    <a:pt x="1736" y="161"/>
                  </a:cubicBezTo>
                  <a:cubicBezTo>
                    <a:pt x="1735" y="161"/>
                    <a:pt x="1735" y="161"/>
                    <a:pt x="1735" y="161"/>
                  </a:cubicBezTo>
                  <a:cubicBezTo>
                    <a:pt x="1734" y="161"/>
                    <a:pt x="1733" y="161"/>
                    <a:pt x="1732" y="161"/>
                  </a:cubicBezTo>
                  <a:cubicBezTo>
                    <a:pt x="1731" y="161"/>
                    <a:pt x="1731" y="161"/>
                    <a:pt x="1731" y="161"/>
                  </a:cubicBezTo>
                  <a:cubicBezTo>
                    <a:pt x="1731" y="161"/>
                    <a:pt x="1731" y="161"/>
                    <a:pt x="1731" y="161"/>
                  </a:cubicBezTo>
                  <a:cubicBezTo>
                    <a:pt x="1731" y="161"/>
                    <a:pt x="1731" y="161"/>
                    <a:pt x="1731" y="161"/>
                  </a:cubicBezTo>
                  <a:cubicBezTo>
                    <a:pt x="1728" y="161"/>
                    <a:pt x="1725" y="161"/>
                    <a:pt x="1723" y="161"/>
                  </a:cubicBezTo>
                  <a:cubicBezTo>
                    <a:pt x="1722" y="161"/>
                    <a:pt x="1722" y="161"/>
                    <a:pt x="1722" y="161"/>
                  </a:cubicBezTo>
                  <a:cubicBezTo>
                    <a:pt x="1722" y="161"/>
                    <a:pt x="1722" y="161"/>
                    <a:pt x="1722" y="161"/>
                  </a:cubicBezTo>
                  <a:cubicBezTo>
                    <a:pt x="1722" y="161"/>
                    <a:pt x="1722" y="161"/>
                    <a:pt x="1722" y="161"/>
                  </a:cubicBezTo>
                  <a:cubicBezTo>
                    <a:pt x="1721" y="161"/>
                    <a:pt x="1721" y="161"/>
                    <a:pt x="1721" y="161"/>
                  </a:cubicBezTo>
                  <a:cubicBezTo>
                    <a:pt x="1718" y="161"/>
                    <a:pt x="1716" y="161"/>
                    <a:pt x="1712" y="161"/>
                  </a:cubicBezTo>
                  <a:cubicBezTo>
                    <a:pt x="1712" y="161"/>
                    <a:pt x="1712" y="161"/>
                    <a:pt x="1712" y="161"/>
                  </a:cubicBezTo>
                  <a:cubicBezTo>
                    <a:pt x="1711" y="161"/>
                    <a:pt x="1711" y="161"/>
                    <a:pt x="1711" y="161"/>
                  </a:cubicBezTo>
                  <a:cubicBezTo>
                    <a:pt x="1709" y="160"/>
                    <a:pt x="1707" y="160"/>
                    <a:pt x="1705" y="159"/>
                  </a:cubicBezTo>
                  <a:cubicBezTo>
                    <a:pt x="1705" y="159"/>
                    <a:pt x="1705" y="159"/>
                    <a:pt x="1705" y="159"/>
                  </a:cubicBezTo>
                  <a:cubicBezTo>
                    <a:pt x="1705" y="159"/>
                    <a:pt x="1705" y="159"/>
                    <a:pt x="1705" y="159"/>
                  </a:cubicBezTo>
                  <a:cubicBezTo>
                    <a:pt x="1705" y="159"/>
                    <a:pt x="1705" y="159"/>
                    <a:pt x="1705" y="159"/>
                  </a:cubicBezTo>
                  <a:cubicBezTo>
                    <a:pt x="1704" y="159"/>
                    <a:pt x="1704" y="159"/>
                    <a:pt x="1704" y="159"/>
                  </a:cubicBezTo>
                  <a:cubicBezTo>
                    <a:pt x="1703" y="159"/>
                    <a:pt x="1703" y="159"/>
                    <a:pt x="1703" y="159"/>
                  </a:cubicBezTo>
                  <a:cubicBezTo>
                    <a:pt x="1701" y="159"/>
                    <a:pt x="1701" y="159"/>
                    <a:pt x="1701" y="159"/>
                  </a:cubicBezTo>
                  <a:cubicBezTo>
                    <a:pt x="1699" y="158"/>
                    <a:pt x="1699" y="158"/>
                    <a:pt x="1699" y="158"/>
                  </a:cubicBezTo>
                  <a:cubicBezTo>
                    <a:pt x="1698" y="158"/>
                    <a:pt x="1698" y="158"/>
                    <a:pt x="1698" y="158"/>
                  </a:cubicBezTo>
                  <a:cubicBezTo>
                    <a:pt x="1697" y="158"/>
                    <a:pt x="1697" y="158"/>
                    <a:pt x="1697" y="158"/>
                  </a:cubicBezTo>
                  <a:cubicBezTo>
                    <a:pt x="1675" y="156"/>
                    <a:pt x="1675" y="156"/>
                    <a:pt x="1675" y="156"/>
                  </a:cubicBezTo>
                  <a:cubicBezTo>
                    <a:pt x="1674" y="156"/>
                    <a:pt x="1674" y="156"/>
                    <a:pt x="1674" y="156"/>
                  </a:cubicBezTo>
                  <a:cubicBezTo>
                    <a:pt x="1673" y="157"/>
                    <a:pt x="1673" y="157"/>
                    <a:pt x="1673" y="157"/>
                  </a:cubicBezTo>
                  <a:cubicBezTo>
                    <a:pt x="1672" y="157"/>
                    <a:pt x="1672" y="157"/>
                    <a:pt x="1672" y="157"/>
                  </a:cubicBezTo>
                  <a:cubicBezTo>
                    <a:pt x="1672" y="157"/>
                    <a:pt x="1672" y="157"/>
                    <a:pt x="1672" y="157"/>
                  </a:cubicBezTo>
                  <a:cubicBezTo>
                    <a:pt x="1671" y="157"/>
                    <a:pt x="1671" y="157"/>
                    <a:pt x="1671" y="157"/>
                  </a:cubicBezTo>
                  <a:cubicBezTo>
                    <a:pt x="1671" y="157"/>
                    <a:pt x="1671" y="157"/>
                    <a:pt x="1671" y="157"/>
                  </a:cubicBezTo>
                  <a:cubicBezTo>
                    <a:pt x="1669" y="157"/>
                    <a:pt x="1666" y="158"/>
                    <a:pt x="1665" y="159"/>
                  </a:cubicBezTo>
                  <a:cubicBezTo>
                    <a:pt x="1665" y="160"/>
                    <a:pt x="1665" y="160"/>
                    <a:pt x="1665" y="160"/>
                  </a:cubicBezTo>
                  <a:cubicBezTo>
                    <a:pt x="1665" y="160"/>
                    <a:pt x="1665" y="160"/>
                    <a:pt x="1665" y="160"/>
                  </a:cubicBezTo>
                  <a:cubicBezTo>
                    <a:pt x="1664" y="160"/>
                    <a:pt x="1664" y="160"/>
                    <a:pt x="1664" y="160"/>
                  </a:cubicBezTo>
                  <a:cubicBezTo>
                    <a:pt x="1659" y="160"/>
                    <a:pt x="1654" y="160"/>
                    <a:pt x="1650" y="161"/>
                  </a:cubicBezTo>
                  <a:cubicBezTo>
                    <a:pt x="1649" y="161"/>
                    <a:pt x="1649" y="161"/>
                    <a:pt x="1649" y="161"/>
                  </a:cubicBezTo>
                  <a:cubicBezTo>
                    <a:pt x="1649" y="161"/>
                    <a:pt x="1649" y="161"/>
                    <a:pt x="1649" y="161"/>
                  </a:cubicBezTo>
                  <a:cubicBezTo>
                    <a:pt x="1648" y="161"/>
                    <a:pt x="1648" y="161"/>
                    <a:pt x="1647" y="161"/>
                  </a:cubicBezTo>
                  <a:cubicBezTo>
                    <a:pt x="1647" y="161"/>
                    <a:pt x="1647" y="161"/>
                    <a:pt x="1647" y="161"/>
                  </a:cubicBezTo>
                  <a:cubicBezTo>
                    <a:pt x="1647" y="161"/>
                    <a:pt x="1647" y="161"/>
                    <a:pt x="1647" y="161"/>
                  </a:cubicBezTo>
                  <a:cubicBezTo>
                    <a:pt x="1647" y="162"/>
                    <a:pt x="1647" y="162"/>
                    <a:pt x="1647" y="162"/>
                  </a:cubicBezTo>
                  <a:cubicBezTo>
                    <a:pt x="1646" y="162"/>
                    <a:pt x="1646" y="162"/>
                    <a:pt x="1646" y="162"/>
                  </a:cubicBezTo>
                  <a:cubicBezTo>
                    <a:pt x="1646" y="162"/>
                    <a:pt x="1646" y="162"/>
                    <a:pt x="1646" y="162"/>
                  </a:cubicBezTo>
                  <a:cubicBezTo>
                    <a:pt x="1643" y="163"/>
                    <a:pt x="1640" y="163"/>
                    <a:pt x="1638" y="164"/>
                  </a:cubicBezTo>
                  <a:cubicBezTo>
                    <a:pt x="1637" y="164"/>
                    <a:pt x="1637" y="164"/>
                    <a:pt x="1637" y="164"/>
                  </a:cubicBezTo>
                  <a:cubicBezTo>
                    <a:pt x="1637" y="164"/>
                    <a:pt x="1637" y="164"/>
                    <a:pt x="1637" y="164"/>
                  </a:cubicBezTo>
                  <a:cubicBezTo>
                    <a:pt x="1638" y="164"/>
                    <a:pt x="1638" y="164"/>
                    <a:pt x="1638" y="164"/>
                  </a:cubicBezTo>
                  <a:cubicBezTo>
                    <a:pt x="1638" y="165"/>
                    <a:pt x="1638" y="166"/>
                    <a:pt x="1638" y="166"/>
                  </a:cubicBezTo>
                  <a:cubicBezTo>
                    <a:pt x="1639" y="166"/>
                    <a:pt x="1639" y="166"/>
                    <a:pt x="1639" y="166"/>
                  </a:cubicBezTo>
                  <a:cubicBezTo>
                    <a:pt x="1639" y="166"/>
                    <a:pt x="1639" y="166"/>
                    <a:pt x="1639" y="166"/>
                  </a:cubicBezTo>
                  <a:cubicBezTo>
                    <a:pt x="1640" y="167"/>
                    <a:pt x="1640" y="167"/>
                    <a:pt x="1641" y="168"/>
                  </a:cubicBezTo>
                  <a:cubicBezTo>
                    <a:pt x="1641" y="168"/>
                    <a:pt x="1641" y="168"/>
                    <a:pt x="1641" y="168"/>
                  </a:cubicBezTo>
                  <a:cubicBezTo>
                    <a:pt x="1642" y="168"/>
                    <a:pt x="1642" y="168"/>
                    <a:pt x="1642" y="168"/>
                  </a:cubicBezTo>
                  <a:cubicBezTo>
                    <a:pt x="1642" y="168"/>
                    <a:pt x="1642" y="168"/>
                    <a:pt x="1642" y="168"/>
                  </a:cubicBezTo>
                  <a:cubicBezTo>
                    <a:pt x="1642" y="169"/>
                    <a:pt x="1642" y="169"/>
                    <a:pt x="1642" y="169"/>
                  </a:cubicBezTo>
                  <a:cubicBezTo>
                    <a:pt x="1643" y="169"/>
                    <a:pt x="1643" y="169"/>
                    <a:pt x="1643" y="169"/>
                  </a:cubicBezTo>
                  <a:cubicBezTo>
                    <a:pt x="1642" y="169"/>
                    <a:pt x="1642" y="169"/>
                    <a:pt x="1642" y="169"/>
                  </a:cubicBezTo>
                  <a:cubicBezTo>
                    <a:pt x="1642" y="170"/>
                    <a:pt x="1642" y="170"/>
                    <a:pt x="1642" y="170"/>
                  </a:cubicBezTo>
                  <a:cubicBezTo>
                    <a:pt x="1639" y="173"/>
                    <a:pt x="1639" y="173"/>
                    <a:pt x="1639" y="173"/>
                  </a:cubicBezTo>
                  <a:cubicBezTo>
                    <a:pt x="1638" y="173"/>
                    <a:pt x="1638" y="173"/>
                    <a:pt x="1638" y="173"/>
                  </a:cubicBezTo>
                  <a:cubicBezTo>
                    <a:pt x="1633" y="167"/>
                    <a:pt x="1633" y="167"/>
                    <a:pt x="1633" y="167"/>
                  </a:cubicBezTo>
                  <a:cubicBezTo>
                    <a:pt x="1633" y="166"/>
                    <a:pt x="1633" y="166"/>
                    <a:pt x="1633" y="166"/>
                  </a:cubicBezTo>
                  <a:cubicBezTo>
                    <a:pt x="1633" y="165"/>
                    <a:pt x="1633" y="165"/>
                    <a:pt x="1633" y="165"/>
                  </a:cubicBezTo>
                  <a:cubicBezTo>
                    <a:pt x="1633" y="164"/>
                    <a:pt x="1633" y="164"/>
                    <a:pt x="1633" y="164"/>
                  </a:cubicBezTo>
                  <a:cubicBezTo>
                    <a:pt x="1633" y="164"/>
                    <a:pt x="1633" y="164"/>
                    <a:pt x="1633" y="164"/>
                  </a:cubicBezTo>
                  <a:cubicBezTo>
                    <a:pt x="1633" y="163"/>
                    <a:pt x="1633" y="163"/>
                    <a:pt x="1633" y="163"/>
                  </a:cubicBezTo>
                  <a:cubicBezTo>
                    <a:pt x="1633" y="162"/>
                    <a:pt x="1634" y="162"/>
                    <a:pt x="1634" y="162"/>
                  </a:cubicBezTo>
                  <a:cubicBezTo>
                    <a:pt x="1634" y="161"/>
                    <a:pt x="1634" y="161"/>
                    <a:pt x="1634" y="161"/>
                  </a:cubicBezTo>
                  <a:cubicBezTo>
                    <a:pt x="1635" y="161"/>
                    <a:pt x="1635" y="161"/>
                    <a:pt x="1635" y="161"/>
                  </a:cubicBezTo>
                  <a:cubicBezTo>
                    <a:pt x="1635" y="161"/>
                    <a:pt x="1635" y="161"/>
                    <a:pt x="1635" y="161"/>
                  </a:cubicBezTo>
                  <a:cubicBezTo>
                    <a:pt x="1636" y="160"/>
                    <a:pt x="1636" y="160"/>
                    <a:pt x="1636" y="160"/>
                  </a:cubicBezTo>
                  <a:cubicBezTo>
                    <a:pt x="1637" y="159"/>
                    <a:pt x="1637" y="159"/>
                    <a:pt x="1637" y="159"/>
                  </a:cubicBezTo>
                  <a:cubicBezTo>
                    <a:pt x="1637" y="158"/>
                    <a:pt x="1637" y="158"/>
                    <a:pt x="1637" y="158"/>
                  </a:cubicBezTo>
                  <a:cubicBezTo>
                    <a:pt x="1636" y="157"/>
                    <a:pt x="1636" y="157"/>
                    <a:pt x="1636" y="157"/>
                  </a:cubicBezTo>
                  <a:cubicBezTo>
                    <a:pt x="1636" y="156"/>
                    <a:pt x="1636" y="156"/>
                    <a:pt x="1636" y="156"/>
                  </a:cubicBezTo>
                  <a:cubicBezTo>
                    <a:pt x="1635" y="156"/>
                    <a:pt x="1635" y="156"/>
                    <a:pt x="1635" y="156"/>
                  </a:cubicBezTo>
                  <a:cubicBezTo>
                    <a:pt x="1635" y="155"/>
                    <a:pt x="1635" y="155"/>
                    <a:pt x="1635" y="155"/>
                  </a:cubicBezTo>
                  <a:cubicBezTo>
                    <a:pt x="1634" y="155"/>
                    <a:pt x="1634" y="155"/>
                    <a:pt x="1634" y="155"/>
                  </a:cubicBezTo>
                  <a:cubicBezTo>
                    <a:pt x="1634" y="154"/>
                    <a:pt x="1634" y="154"/>
                    <a:pt x="1634" y="154"/>
                  </a:cubicBezTo>
                  <a:cubicBezTo>
                    <a:pt x="1632" y="151"/>
                    <a:pt x="1632" y="150"/>
                    <a:pt x="1629" y="148"/>
                  </a:cubicBezTo>
                  <a:cubicBezTo>
                    <a:pt x="1627" y="146"/>
                    <a:pt x="1627" y="146"/>
                    <a:pt x="1627" y="146"/>
                  </a:cubicBezTo>
                  <a:cubicBezTo>
                    <a:pt x="1626" y="145"/>
                    <a:pt x="1626" y="145"/>
                    <a:pt x="1626" y="145"/>
                  </a:cubicBezTo>
                  <a:cubicBezTo>
                    <a:pt x="1625" y="145"/>
                    <a:pt x="1625" y="145"/>
                    <a:pt x="1625" y="145"/>
                  </a:cubicBezTo>
                  <a:cubicBezTo>
                    <a:pt x="1625" y="145"/>
                    <a:pt x="1625" y="145"/>
                    <a:pt x="1625" y="145"/>
                  </a:cubicBezTo>
                  <a:cubicBezTo>
                    <a:pt x="1625" y="145"/>
                    <a:pt x="1625" y="145"/>
                    <a:pt x="1625" y="145"/>
                  </a:cubicBezTo>
                  <a:cubicBezTo>
                    <a:pt x="1625" y="147"/>
                    <a:pt x="1627" y="150"/>
                    <a:pt x="1628" y="152"/>
                  </a:cubicBezTo>
                  <a:cubicBezTo>
                    <a:pt x="1628" y="152"/>
                    <a:pt x="1628" y="152"/>
                    <a:pt x="1628" y="152"/>
                  </a:cubicBezTo>
                  <a:cubicBezTo>
                    <a:pt x="1628" y="153"/>
                    <a:pt x="1628" y="153"/>
                    <a:pt x="1628" y="153"/>
                  </a:cubicBezTo>
                  <a:cubicBezTo>
                    <a:pt x="1628" y="153"/>
                    <a:pt x="1628" y="153"/>
                    <a:pt x="1628" y="153"/>
                  </a:cubicBezTo>
                  <a:cubicBezTo>
                    <a:pt x="1628" y="154"/>
                    <a:pt x="1628" y="154"/>
                    <a:pt x="1628" y="154"/>
                  </a:cubicBezTo>
                  <a:cubicBezTo>
                    <a:pt x="1627" y="154"/>
                    <a:pt x="1627" y="154"/>
                    <a:pt x="1627" y="154"/>
                  </a:cubicBezTo>
                  <a:cubicBezTo>
                    <a:pt x="1627" y="154"/>
                    <a:pt x="1627" y="154"/>
                    <a:pt x="1627" y="154"/>
                  </a:cubicBezTo>
                  <a:cubicBezTo>
                    <a:pt x="1627" y="154"/>
                    <a:pt x="1627" y="154"/>
                    <a:pt x="1627" y="154"/>
                  </a:cubicBezTo>
                  <a:cubicBezTo>
                    <a:pt x="1627" y="155"/>
                    <a:pt x="1627" y="155"/>
                    <a:pt x="1627" y="155"/>
                  </a:cubicBezTo>
                  <a:cubicBezTo>
                    <a:pt x="1626" y="155"/>
                    <a:pt x="1626" y="155"/>
                    <a:pt x="1626" y="155"/>
                  </a:cubicBezTo>
                  <a:cubicBezTo>
                    <a:pt x="1626" y="155"/>
                    <a:pt x="1626" y="155"/>
                    <a:pt x="1626" y="155"/>
                  </a:cubicBezTo>
                  <a:cubicBezTo>
                    <a:pt x="1626" y="156"/>
                    <a:pt x="1626" y="156"/>
                    <a:pt x="1626" y="156"/>
                  </a:cubicBezTo>
                  <a:cubicBezTo>
                    <a:pt x="1625" y="156"/>
                    <a:pt x="1625" y="156"/>
                    <a:pt x="1625" y="156"/>
                  </a:cubicBezTo>
                  <a:cubicBezTo>
                    <a:pt x="1624" y="156"/>
                    <a:pt x="1624" y="156"/>
                    <a:pt x="1624" y="156"/>
                  </a:cubicBezTo>
                  <a:cubicBezTo>
                    <a:pt x="1622" y="156"/>
                    <a:pt x="1619" y="156"/>
                    <a:pt x="1617" y="156"/>
                  </a:cubicBezTo>
                  <a:cubicBezTo>
                    <a:pt x="1616" y="157"/>
                    <a:pt x="1616" y="157"/>
                    <a:pt x="1616" y="157"/>
                  </a:cubicBezTo>
                  <a:cubicBezTo>
                    <a:pt x="1615" y="157"/>
                    <a:pt x="1615" y="157"/>
                    <a:pt x="1615" y="157"/>
                  </a:cubicBezTo>
                  <a:cubicBezTo>
                    <a:pt x="1596" y="151"/>
                    <a:pt x="1596" y="151"/>
                    <a:pt x="1596" y="151"/>
                  </a:cubicBezTo>
                  <a:cubicBezTo>
                    <a:pt x="1596" y="151"/>
                    <a:pt x="1596" y="151"/>
                    <a:pt x="1596" y="151"/>
                  </a:cubicBezTo>
                  <a:cubicBezTo>
                    <a:pt x="1596" y="150"/>
                    <a:pt x="1596" y="150"/>
                    <a:pt x="1596" y="150"/>
                  </a:cubicBezTo>
                  <a:cubicBezTo>
                    <a:pt x="1597" y="149"/>
                    <a:pt x="1600" y="146"/>
                    <a:pt x="1599" y="144"/>
                  </a:cubicBezTo>
                  <a:cubicBezTo>
                    <a:pt x="1598" y="143"/>
                    <a:pt x="1596" y="143"/>
                    <a:pt x="1595" y="144"/>
                  </a:cubicBezTo>
                  <a:cubicBezTo>
                    <a:pt x="1593" y="144"/>
                    <a:pt x="1593" y="146"/>
                    <a:pt x="1591" y="146"/>
                  </a:cubicBezTo>
                  <a:cubicBezTo>
                    <a:pt x="1584" y="146"/>
                    <a:pt x="1578" y="145"/>
                    <a:pt x="1571" y="145"/>
                  </a:cubicBezTo>
                  <a:cubicBezTo>
                    <a:pt x="1570" y="145"/>
                    <a:pt x="1562" y="151"/>
                    <a:pt x="1562" y="153"/>
                  </a:cubicBezTo>
                  <a:cubicBezTo>
                    <a:pt x="1561" y="154"/>
                    <a:pt x="1564" y="158"/>
                    <a:pt x="1565" y="158"/>
                  </a:cubicBezTo>
                  <a:cubicBezTo>
                    <a:pt x="1566" y="157"/>
                    <a:pt x="1567" y="156"/>
                    <a:pt x="1568" y="156"/>
                  </a:cubicBezTo>
                  <a:cubicBezTo>
                    <a:pt x="1569" y="157"/>
                    <a:pt x="1571" y="156"/>
                    <a:pt x="1572" y="156"/>
                  </a:cubicBezTo>
                  <a:cubicBezTo>
                    <a:pt x="1575" y="156"/>
                    <a:pt x="1579" y="155"/>
                    <a:pt x="1582" y="155"/>
                  </a:cubicBezTo>
                  <a:cubicBezTo>
                    <a:pt x="1584" y="155"/>
                    <a:pt x="1587" y="154"/>
                    <a:pt x="1588" y="154"/>
                  </a:cubicBezTo>
                  <a:cubicBezTo>
                    <a:pt x="1588" y="156"/>
                    <a:pt x="1588" y="156"/>
                    <a:pt x="1588" y="156"/>
                  </a:cubicBezTo>
                  <a:cubicBezTo>
                    <a:pt x="1588" y="157"/>
                    <a:pt x="1588" y="157"/>
                    <a:pt x="1588" y="157"/>
                  </a:cubicBezTo>
                  <a:cubicBezTo>
                    <a:pt x="1571" y="164"/>
                    <a:pt x="1571" y="164"/>
                    <a:pt x="1571" y="164"/>
                  </a:cubicBezTo>
                  <a:cubicBezTo>
                    <a:pt x="1558" y="163"/>
                    <a:pt x="1558" y="163"/>
                    <a:pt x="1558" y="163"/>
                  </a:cubicBezTo>
                  <a:cubicBezTo>
                    <a:pt x="1556" y="163"/>
                    <a:pt x="1556" y="163"/>
                    <a:pt x="1556" y="163"/>
                  </a:cubicBezTo>
                  <a:cubicBezTo>
                    <a:pt x="1555" y="163"/>
                    <a:pt x="1555" y="163"/>
                    <a:pt x="1555" y="163"/>
                  </a:cubicBezTo>
                  <a:cubicBezTo>
                    <a:pt x="1555" y="163"/>
                    <a:pt x="1555" y="163"/>
                    <a:pt x="1555" y="163"/>
                  </a:cubicBezTo>
                  <a:cubicBezTo>
                    <a:pt x="1555" y="163"/>
                    <a:pt x="1555" y="163"/>
                    <a:pt x="1555" y="163"/>
                  </a:cubicBezTo>
                  <a:cubicBezTo>
                    <a:pt x="1555" y="164"/>
                    <a:pt x="1555" y="164"/>
                    <a:pt x="1555" y="164"/>
                  </a:cubicBezTo>
                  <a:cubicBezTo>
                    <a:pt x="1556" y="167"/>
                    <a:pt x="1556" y="167"/>
                    <a:pt x="1556" y="167"/>
                  </a:cubicBezTo>
                  <a:cubicBezTo>
                    <a:pt x="1556" y="168"/>
                    <a:pt x="1556" y="168"/>
                    <a:pt x="1556" y="168"/>
                  </a:cubicBezTo>
                  <a:cubicBezTo>
                    <a:pt x="1532" y="174"/>
                    <a:pt x="1532" y="174"/>
                    <a:pt x="1532" y="174"/>
                  </a:cubicBezTo>
                  <a:cubicBezTo>
                    <a:pt x="1531" y="175"/>
                    <a:pt x="1531" y="175"/>
                    <a:pt x="1531" y="175"/>
                  </a:cubicBezTo>
                  <a:cubicBezTo>
                    <a:pt x="1497" y="179"/>
                    <a:pt x="1497" y="179"/>
                    <a:pt x="1497" y="179"/>
                  </a:cubicBezTo>
                  <a:cubicBezTo>
                    <a:pt x="1497" y="181"/>
                    <a:pt x="1497" y="181"/>
                    <a:pt x="1497" y="181"/>
                  </a:cubicBezTo>
                  <a:cubicBezTo>
                    <a:pt x="1498" y="183"/>
                    <a:pt x="1498" y="183"/>
                    <a:pt x="1498" y="183"/>
                  </a:cubicBezTo>
                  <a:cubicBezTo>
                    <a:pt x="1498" y="183"/>
                    <a:pt x="1498" y="183"/>
                    <a:pt x="1498" y="183"/>
                  </a:cubicBezTo>
                  <a:cubicBezTo>
                    <a:pt x="1498" y="184"/>
                    <a:pt x="1498" y="184"/>
                    <a:pt x="1498" y="184"/>
                  </a:cubicBezTo>
                  <a:cubicBezTo>
                    <a:pt x="1476" y="191"/>
                    <a:pt x="1476" y="191"/>
                    <a:pt x="1476" y="191"/>
                  </a:cubicBezTo>
                  <a:cubicBezTo>
                    <a:pt x="1475" y="191"/>
                    <a:pt x="1475" y="191"/>
                    <a:pt x="1475" y="191"/>
                  </a:cubicBezTo>
                  <a:cubicBezTo>
                    <a:pt x="1475" y="190"/>
                    <a:pt x="1475" y="190"/>
                    <a:pt x="1475" y="190"/>
                  </a:cubicBezTo>
                  <a:cubicBezTo>
                    <a:pt x="1485" y="186"/>
                    <a:pt x="1485" y="186"/>
                    <a:pt x="1485" y="186"/>
                  </a:cubicBezTo>
                  <a:cubicBezTo>
                    <a:pt x="1488" y="185"/>
                    <a:pt x="1488" y="185"/>
                    <a:pt x="1490" y="182"/>
                  </a:cubicBezTo>
                  <a:cubicBezTo>
                    <a:pt x="1490" y="182"/>
                    <a:pt x="1490" y="182"/>
                    <a:pt x="1490" y="182"/>
                  </a:cubicBezTo>
                  <a:cubicBezTo>
                    <a:pt x="1490" y="182"/>
                    <a:pt x="1490" y="182"/>
                    <a:pt x="1490" y="182"/>
                  </a:cubicBezTo>
                  <a:cubicBezTo>
                    <a:pt x="1490" y="182"/>
                    <a:pt x="1490" y="182"/>
                    <a:pt x="1490" y="182"/>
                  </a:cubicBezTo>
                  <a:cubicBezTo>
                    <a:pt x="1490" y="182"/>
                    <a:pt x="1490" y="182"/>
                    <a:pt x="1490" y="182"/>
                  </a:cubicBezTo>
                  <a:cubicBezTo>
                    <a:pt x="1490" y="181"/>
                    <a:pt x="1490" y="181"/>
                    <a:pt x="1490" y="181"/>
                  </a:cubicBezTo>
                  <a:cubicBezTo>
                    <a:pt x="1490" y="181"/>
                    <a:pt x="1490" y="181"/>
                    <a:pt x="1490" y="181"/>
                  </a:cubicBezTo>
                  <a:cubicBezTo>
                    <a:pt x="1490" y="181"/>
                    <a:pt x="1490" y="181"/>
                    <a:pt x="1490" y="181"/>
                  </a:cubicBezTo>
                  <a:cubicBezTo>
                    <a:pt x="1491" y="180"/>
                    <a:pt x="1491" y="180"/>
                    <a:pt x="1491" y="180"/>
                  </a:cubicBezTo>
                  <a:cubicBezTo>
                    <a:pt x="1492" y="178"/>
                    <a:pt x="1492" y="178"/>
                    <a:pt x="1492" y="178"/>
                  </a:cubicBezTo>
                  <a:cubicBezTo>
                    <a:pt x="1494" y="174"/>
                    <a:pt x="1494" y="174"/>
                    <a:pt x="1494" y="174"/>
                  </a:cubicBezTo>
                  <a:cubicBezTo>
                    <a:pt x="1495" y="173"/>
                    <a:pt x="1495" y="173"/>
                    <a:pt x="1495" y="173"/>
                  </a:cubicBezTo>
                  <a:cubicBezTo>
                    <a:pt x="1495" y="172"/>
                    <a:pt x="1495" y="172"/>
                    <a:pt x="1495" y="172"/>
                  </a:cubicBezTo>
                  <a:cubicBezTo>
                    <a:pt x="1496" y="172"/>
                    <a:pt x="1496" y="172"/>
                    <a:pt x="1496" y="172"/>
                  </a:cubicBezTo>
                  <a:cubicBezTo>
                    <a:pt x="1497" y="171"/>
                    <a:pt x="1497" y="171"/>
                    <a:pt x="1497" y="171"/>
                  </a:cubicBezTo>
                  <a:cubicBezTo>
                    <a:pt x="1497" y="171"/>
                    <a:pt x="1497" y="171"/>
                    <a:pt x="1497" y="171"/>
                  </a:cubicBezTo>
                  <a:cubicBezTo>
                    <a:pt x="1498" y="171"/>
                    <a:pt x="1498" y="171"/>
                    <a:pt x="1498" y="171"/>
                  </a:cubicBezTo>
                  <a:cubicBezTo>
                    <a:pt x="1498" y="171"/>
                    <a:pt x="1498" y="171"/>
                    <a:pt x="1498" y="171"/>
                  </a:cubicBezTo>
                  <a:cubicBezTo>
                    <a:pt x="1499" y="171"/>
                    <a:pt x="1499" y="171"/>
                    <a:pt x="1499" y="171"/>
                  </a:cubicBezTo>
                  <a:cubicBezTo>
                    <a:pt x="1499" y="171"/>
                    <a:pt x="1499" y="171"/>
                    <a:pt x="1499" y="171"/>
                  </a:cubicBezTo>
                  <a:cubicBezTo>
                    <a:pt x="1499" y="171"/>
                    <a:pt x="1499" y="171"/>
                    <a:pt x="1499" y="171"/>
                  </a:cubicBezTo>
                  <a:cubicBezTo>
                    <a:pt x="1501" y="171"/>
                    <a:pt x="1501" y="171"/>
                    <a:pt x="1501" y="171"/>
                  </a:cubicBezTo>
                  <a:cubicBezTo>
                    <a:pt x="1503" y="170"/>
                    <a:pt x="1503" y="170"/>
                    <a:pt x="1503" y="170"/>
                  </a:cubicBezTo>
                  <a:cubicBezTo>
                    <a:pt x="1507" y="170"/>
                    <a:pt x="1507" y="170"/>
                    <a:pt x="1507" y="170"/>
                  </a:cubicBezTo>
                  <a:cubicBezTo>
                    <a:pt x="1508" y="170"/>
                    <a:pt x="1508" y="170"/>
                    <a:pt x="1508" y="170"/>
                  </a:cubicBezTo>
                  <a:cubicBezTo>
                    <a:pt x="1509" y="169"/>
                    <a:pt x="1509" y="169"/>
                    <a:pt x="1509" y="169"/>
                  </a:cubicBezTo>
                  <a:cubicBezTo>
                    <a:pt x="1509" y="169"/>
                    <a:pt x="1509" y="169"/>
                    <a:pt x="1509" y="169"/>
                  </a:cubicBezTo>
                  <a:cubicBezTo>
                    <a:pt x="1509" y="169"/>
                    <a:pt x="1509" y="169"/>
                    <a:pt x="1509" y="169"/>
                  </a:cubicBezTo>
                  <a:cubicBezTo>
                    <a:pt x="1510" y="168"/>
                    <a:pt x="1510" y="168"/>
                    <a:pt x="1510" y="168"/>
                  </a:cubicBezTo>
                  <a:cubicBezTo>
                    <a:pt x="1511" y="166"/>
                    <a:pt x="1511" y="166"/>
                    <a:pt x="1511" y="166"/>
                  </a:cubicBezTo>
                  <a:cubicBezTo>
                    <a:pt x="1514" y="162"/>
                    <a:pt x="1514" y="162"/>
                    <a:pt x="1514" y="162"/>
                  </a:cubicBezTo>
                  <a:cubicBezTo>
                    <a:pt x="1515" y="160"/>
                    <a:pt x="1515" y="160"/>
                    <a:pt x="1515" y="160"/>
                  </a:cubicBezTo>
                  <a:cubicBezTo>
                    <a:pt x="1516" y="160"/>
                    <a:pt x="1516" y="160"/>
                    <a:pt x="1516" y="160"/>
                  </a:cubicBezTo>
                  <a:cubicBezTo>
                    <a:pt x="1517" y="160"/>
                    <a:pt x="1517" y="160"/>
                    <a:pt x="1517" y="160"/>
                  </a:cubicBezTo>
                  <a:cubicBezTo>
                    <a:pt x="1517" y="160"/>
                    <a:pt x="1517" y="160"/>
                    <a:pt x="1517" y="160"/>
                  </a:cubicBezTo>
                  <a:cubicBezTo>
                    <a:pt x="1518" y="160"/>
                    <a:pt x="1518" y="160"/>
                    <a:pt x="1518" y="160"/>
                  </a:cubicBezTo>
                  <a:cubicBezTo>
                    <a:pt x="1518" y="159"/>
                    <a:pt x="1518" y="159"/>
                    <a:pt x="1518" y="159"/>
                  </a:cubicBezTo>
                  <a:cubicBezTo>
                    <a:pt x="1519" y="159"/>
                    <a:pt x="1519" y="159"/>
                    <a:pt x="1519" y="159"/>
                  </a:cubicBezTo>
                  <a:cubicBezTo>
                    <a:pt x="1520" y="159"/>
                    <a:pt x="1520" y="159"/>
                    <a:pt x="1520" y="159"/>
                  </a:cubicBezTo>
                  <a:cubicBezTo>
                    <a:pt x="1520" y="159"/>
                    <a:pt x="1520" y="159"/>
                    <a:pt x="1520" y="159"/>
                  </a:cubicBezTo>
                  <a:cubicBezTo>
                    <a:pt x="1520" y="159"/>
                    <a:pt x="1520" y="159"/>
                    <a:pt x="1520" y="159"/>
                  </a:cubicBezTo>
                  <a:cubicBezTo>
                    <a:pt x="1521" y="159"/>
                    <a:pt x="1521" y="159"/>
                    <a:pt x="1521" y="159"/>
                  </a:cubicBezTo>
                  <a:cubicBezTo>
                    <a:pt x="1522" y="159"/>
                    <a:pt x="1523" y="159"/>
                    <a:pt x="1524" y="159"/>
                  </a:cubicBezTo>
                  <a:cubicBezTo>
                    <a:pt x="1524" y="159"/>
                    <a:pt x="1524" y="159"/>
                    <a:pt x="1524" y="159"/>
                  </a:cubicBezTo>
                  <a:cubicBezTo>
                    <a:pt x="1568" y="139"/>
                    <a:pt x="1568" y="139"/>
                    <a:pt x="1568" y="139"/>
                  </a:cubicBezTo>
                  <a:cubicBezTo>
                    <a:pt x="1569" y="138"/>
                    <a:pt x="1569" y="138"/>
                    <a:pt x="1569" y="137"/>
                  </a:cubicBezTo>
                  <a:cubicBezTo>
                    <a:pt x="1570" y="137"/>
                    <a:pt x="1570" y="137"/>
                    <a:pt x="1570" y="137"/>
                  </a:cubicBezTo>
                  <a:cubicBezTo>
                    <a:pt x="1570" y="137"/>
                    <a:pt x="1570" y="137"/>
                    <a:pt x="1570" y="137"/>
                  </a:cubicBezTo>
                  <a:cubicBezTo>
                    <a:pt x="1570" y="136"/>
                    <a:pt x="1570" y="136"/>
                    <a:pt x="1570" y="136"/>
                  </a:cubicBezTo>
                  <a:cubicBezTo>
                    <a:pt x="1570" y="136"/>
                    <a:pt x="1570" y="136"/>
                    <a:pt x="1570" y="136"/>
                  </a:cubicBezTo>
                  <a:cubicBezTo>
                    <a:pt x="1570" y="136"/>
                    <a:pt x="1570" y="135"/>
                    <a:pt x="1570" y="135"/>
                  </a:cubicBezTo>
                  <a:cubicBezTo>
                    <a:pt x="1570" y="134"/>
                    <a:pt x="1570" y="134"/>
                    <a:pt x="1570" y="134"/>
                  </a:cubicBezTo>
                  <a:cubicBezTo>
                    <a:pt x="1570" y="134"/>
                    <a:pt x="1570" y="134"/>
                    <a:pt x="1570" y="134"/>
                  </a:cubicBezTo>
                  <a:cubicBezTo>
                    <a:pt x="1570" y="134"/>
                    <a:pt x="1570" y="134"/>
                    <a:pt x="1570" y="134"/>
                  </a:cubicBezTo>
                  <a:cubicBezTo>
                    <a:pt x="1569" y="134"/>
                    <a:pt x="1569" y="134"/>
                    <a:pt x="1569" y="134"/>
                  </a:cubicBezTo>
                  <a:cubicBezTo>
                    <a:pt x="1569" y="134"/>
                    <a:pt x="1569" y="134"/>
                    <a:pt x="1569" y="134"/>
                  </a:cubicBezTo>
                  <a:cubicBezTo>
                    <a:pt x="1568" y="134"/>
                    <a:pt x="1568" y="134"/>
                    <a:pt x="1568" y="134"/>
                  </a:cubicBezTo>
                  <a:cubicBezTo>
                    <a:pt x="1568" y="134"/>
                    <a:pt x="1568" y="134"/>
                    <a:pt x="1568" y="134"/>
                  </a:cubicBezTo>
                  <a:cubicBezTo>
                    <a:pt x="1567" y="134"/>
                    <a:pt x="1567" y="134"/>
                    <a:pt x="1567" y="134"/>
                  </a:cubicBezTo>
                  <a:cubicBezTo>
                    <a:pt x="1566" y="134"/>
                    <a:pt x="1566" y="134"/>
                    <a:pt x="1566" y="134"/>
                  </a:cubicBezTo>
                  <a:cubicBezTo>
                    <a:pt x="1564" y="134"/>
                    <a:pt x="1564" y="134"/>
                    <a:pt x="1564" y="134"/>
                  </a:cubicBezTo>
                  <a:cubicBezTo>
                    <a:pt x="1564" y="134"/>
                    <a:pt x="1564" y="134"/>
                    <a:pt x="1564" y="134"/>
                  </a:cubicBezTo>
                  <a:cubicBezTo>
                    <a:pt x="1564" y="133"/>
                    <a:pt x="1564" y="133"/>
                    <a:pt x="1564" y="133"/>
                  </a:cubicBezTo>
                  <a:cubicBezTo>
                    <a:pt x="1564" y="133"/>
                    <a:pt x="1564" y="133"/>
                    <a:pt x="1564" y="133"/>
                  </a:cubicBezTo>
                  <a:cubicBezTo>
                    <a:pt x="1565" y="133"/>
                    <a:pt x="1565" y="133"/>
                    <a:pt x="1565" y="133"/>
                  </a:cubicBezTo>
                  <a:cubicBezTo>
                    <a:pt x="1566" y="133"/>
                    <a:pt x="1566" y="133"/>
                    <a:pt x="1566" y="133"/>
                  </a:cubicBezTo>
                  <a:cubicBezTo>
                    <a:pt x="1568" y="132"/>
                    <a:pt x="1568" y="132"/>
                    <a:pt x="1568" y="132"/>
                  </a:cubicBezTo>
                  <a:cubicBezTo>
                    <a:pt x="1574" y="129"/>
                    <a:pt x="1574" y="129"/>
                    <a:pt x="1574" y="129"/>
                  </a:cubicBezTo>
                  <a:cubicBezTo>
                    <a:pt x="1576" y="128"/>
                    <a:pt x="1576" y="128"/>
                    <a:pt x="1576" y="128"/>
                  </a:cubicBezTo>
                  <a:cubicBezTo>
                    <a:pt x="1577" y="127"/>
                    <a:pt x="1577" y="127"/>
                    <a:pt x="1577" y="127"/>
                  </a:cubicBezTo>
                  <a:cubicBezTo>
                    <a:pt x="1578" y="127"/>
                    <a:pt x="1578" y="127"/>
                    <a:pt x="1578" y="127"/>
                  </a:cubicBezTo>
                  <a:cubicBezTo>
                    <a:pt x="1578" y="127"/>
                    <a:pt x="1578" y="127"/>
                    <a:pt x="1578" y="127"/>
                  </a:cubicBezTo>
                  <a:cubicBezTo>
                    <a:pt x="1579" y="127"/>
                    <a:pt x="1579" y="127"/>
                    <a:pt x="1579" y="127"/>
                  </a:cubicBezTo>
                  <a:cubicBezTo>
                    <a:pt x="1579" y="127"/>
                    <a:pt x="1579" y="127"/>
                    <a:pt x="1579" y="127"/>
                  </a:cubicBezTo>
                  <a:cubicBezTo>
                    <a:pt x="1579" y="127"/>
                    <a:pt x="1579" y="127"/>
                    <a:pt x="1579" y="127"/>
                  </a:cubicBezTo>
                  <a:cubicBezTo>
                    <a:pt x="1580" y="128"/>
                    <a:pt x="1580" y="128"/>
                    <a:pt x="1580" y="128"/>
                  </a:cubicBezTo>
                  <a:cubicBezTo>
                    <a:pt x="1580" y="128"/>
                    <a:pt x="1580" y="128"/>
                    <a:pt x="1580" y="128"/>
                  </a:cubicBezTo>
                  <a:cubicBezTo>
                    <a:pt x="1581" y="128"/>
                    <a:pt x="1581" y="128"/>
                    <a:pt x="1581" y="128"/>
                  </a:cubicBezTo>
                  <a:cubicBezTo>
                    <a:pt x="1636" y="100"/>
                    <a:pt x="1636" y="100"/>
                    <a:pt x="1636" y="100"/>
                  </a:cubicBezTo>
                  <a:cubicBezTo>
                    <a:pt x="1637" y="100"/>
                    <a:pt x="1637" y="100"/>
                    <a:pt x="1637" y="100"/>
                  </a:cubicBezTo>
                  <a:cubicBezTo>
                    <a:pt x="1637" y="99"/>
                    <a:pt x="1637" y="99"/>
                    <a:pt x="1637" y="99"/>
                  </a:cubicBezTo>
                  <a:cubicBezTo>
                    <a:pt x="1639" y="98"/>
                    <a:pt x="1639" y="98"/>
                    <a:pt x="1639" y="98"/>
                  </a:cubicBezTo>
                  <a:cubicBezTo>
                    <a:pt x="1639" y="97"/>
                    <a:pt x="1639" y="97"/>
                    <a:pt x="1639" y="97"/>
                  </a:cubicBezTo>
                  <a:cubicBezTo>
                    <a:pt x="1640" y="97"/>
                    <a:pt x="1640" y="97"/>
                    <a:pt x="1640" y="97"/>
                  </a:cubicBezTo>
                  <a:cubicBezTo>
                    <a:pt x="1640" y="97"/>
                    <a:pt x="1640" y="97"/>
                    <a:pt x="1640" y="97"/>
                  </a:cubicBezTo>
                  <a:cubicBezTo>
                    <a:pt x="1640" y="96"/>
                    <a:pt x="1640" y="96"/>
                    <a:pt x="1640" y="96"/>
                  </a:cubicBezTo>
                  <a:cubicBezTo>
                    <a:pt x="1640" y="96"/>
                    <a:pt x="1641" y="95"/>
                    <a:pt x="1641" y="94"/>
                  </a:cubicBezTo>
                  <a:cubicBezTo>
                    <a:pt x="1641" y="94"/>
                    <a:pt x="1641" y="94"/>
                    <a:pt x="1641" y="94"/>
                  </a:cubicBezTo>
                  <a:cubicBezTo>
                    <a:pt x="1641" y="94"/>
                    <a:pt x="1641" y="94"/>
                    <a:pt x="1641" y="94"/>
                  </a:cubicBezTo>
                  <a:cubicBezTo>
                    <a:pt x="1641" y="92"/>
                    <a:pt x="1642" y="93"/>
                    <a:pt x="1642" y="91"/>
                  </a:cubicBezTo>
                  <a:cubicBezTo>
                    <a:pt x="1642" y="91"/>
                    <a:pt x="1642" y="91"/>
                    <a:pt x="1642" y="91"/>
                  </a:cubicBezTo>
                  <a:cubicBezTo>
                    <a:pt x="1642" y="91"/>
                    <a:pt x="1642" y="91"/>
                    <a:pt x="1642" y="91"/>
                  </a:cubicBezTo>
                  <a:cubicBezTo>
                    <a:pt x="1642" y="91"/>
                    <a:pt x="1642" y="91"/>
                    <a:pt x="1642" y="91"/>
                  </a:cubicBezTo>
                  <a:cubicBezTo>
                    <a:pt x="1642" y="90"/>
                    <a:pt x="1642" y="90"/>
                    <a:pt x="1642" y="90"/>
                  </a:cubicBezTo>
                  <a:cubicBezTo>
                    <a:pt x="1642" y="90"/>
                    <a:pt x="1642" y="90"/>
                    <a:pt x="1642" y="90"/>
                  </a:cubicBezTo>
                  <a:cubicBezTo>
                    <a:pt x="1642" y="90"/>
                    <a:pt x="1642" y="90"/>
                    <a:pt x="1642" y="90"/>
                  </a:cubicBezTo>
                  <a:cubicBezTo>
                    <a:pt x="1642" y="90"/>
                    <a:pt x="1642" y="90"/>
                    <a:pt x="1642" y="90"/>
                  </a:cubicBezTo>
                  <a:cubicBezTo>
                    <a:pt x="1642" y="89"/>
                    <a:pt x="1642" y="89"/>
                    <a:pt x="1642" y="89"/>
                  </a:cubicBezTo>
                  <a:cubicBezTo>
                    <a:pt x="1641" y="89"/>
                    <a:pt x="1641" y="89"/>
                    <a:pt x="1641" y="89"/>
                  </a:cubicBezTo>
                  <a:cubicBezTo>
                    <a:pt x="1641" y="89"/>
                    <a:pt x="1641" y="89"/>
                    <a:pt x="1641" y="89"/>
                  </a:cubicBezTo>
                  <a:cubicBezTo>
                    <a:pt x="1641" y="89"/>
                    <a:pt x="1641" y="89"/>
                    <a:pt x="1641" y="89"/>
                  </a:cubicBezTo>
                  <a:cubicBezTo>
                    <a:pt x="1641" y="88"/>
                    <a:pt x="1641" y="88"/>
                    <a:pt x="1641" y="88"/>
                  </a:cubicBezTo>
                  <a:cubicBezTo>
                    <a:pt x="1641" y="88"/>
                    <a:pt x="1641" y="88"/>
                    <a:pt x="1641" y="88"/>
                  </a:cubicBezTo>
                  <a:cubicBezTo>
                    <a:pt x="1641" y="88"/>
                    <a:pt x="1641" y="88"/>
                    <a:pt x="1641" y="88"/>
                  </a:cubicBezTo>
                  <a:cubicBezTo>
                    <a:pt x="1641" y="88"/>
                    <a:pt x="1641" y="88"/>
                    <a:pt x="1641" y="88"/>
                  </a:cubicBezTo>
                  <a:cubicBezTo>
                    <a:pt x="1640" y="88"/>
                    <a:pt x="1639" y="89"/>
                    <a:pt x="1638" y="88"/>
                  </a:cubicBezTo>
                  <a:cubicBezTo>
                    <a:pt x="1638" y="88"/>
                    <a:pt x="1638" y="88"/>
                    <a:pt x="1638" y="88"/>
                  </a:cubicBezTo>
                  <a:cubicBezTo>
                    <a:pt x="1637" y="88"/>
                    <a:pt x="1637" y="88"/>
                    <a:pt x="1637" y="88"/>
                  </a:cubicBezTo>
                  <a:cubicBezTo>
                    <a:pt x="1637" y="88"/>
                    <a:pt x="1637" y="88"/>
                    <a:pt x="1637" y="88"/>
                  </a:cubicBezTo>
                  <a:cubicBezTo>
                    <a:pt x="1636" y="88"/>
                    <a:pt x="1636" y="88"/>
                    <a:pt x="1636" y="88"/>
                  </a:cubicBezTo>
                  <a:cubicBezTo>
                    <a:pt x="1635" y="87"/>
                    <a:pt x="1635" y="87"/>
                    <a:pt x="1634" y="86"/>
                  </a:cubicBezTo>
                  <a:cubicBezTo>
                    <a:pt x="1634" y="86"/>
                    <a:pt x="1634" y="86"/>
                    <a:pt x="1634" y="86"/>
                  </a:cubicBezTo>
                  <a:cubicBezTo>
                    <a:pt x="1633" y="86"/>
                    <a:pt x="1633" y="86"/>
                    <a:pt x="1633" y="86"/>
                  </a:cubicBezTo>
                  <a:cubicBezTo>
                    <a:pt x="1633" y="86"/>
                    <a:pt x="1633" y="86"/>
                    <a:pt x="1633" y="86"/>
                  </a:cubicBezTo>
                  <a:cubicBezTo>
                    <a:pt x="1633" y="86"/>
                    <a:pt x="1633" y="86"/>
                    <a:pt x="1633" y="86"/>
                  </a:cubicBezTo>
                  <a:cubicBezTo>
                    <a:pt x="1634" y="85"/>
                    <a:pt x="1634" y="85"/>
                    <a:pt x="1634" y="85"/>
                  </a:cubicBezTo>
                  <a:cubicBezTo>
                    <a:pt x="1634" y="85"/>
                    <a:pt x="1634" y="85"/>
                    <a:pt x="1634" y="85"/>
                  </a:cubicBezTo>
                  <a:cubicBezTo>
                    <a:pt x="1634" y="85"/>
                    <a:pt x="1634" y="85"/>
                    <a:pt x="1634" y="85"/>
                  </a:cubicBezTo>
                  <a:cubicBezTo>
                    <a:pt x="1634" y="84"/>
                    <a:pt x="1634" y="84"/>
                    <a:pt x="1634" y="84"/>
                  </a:cubicBezTo>
                  <a:cubicBezTo>
                    <a:pt x="1634" y="84"/>
                    <a:pt x="1634" y="84"/>
                    <a:pt x="1634" y="84"/>
                  </a:cubicBezTo>
                  <a:cubicBezTo>
                    <a:pt x="1634" y="83"/>
                    <a:pt x="1634" y="83"/>
                    <a:pt x="1634" y="83"/>
                  </a:cubicBezTo>
                  <a:cubicBezTo>
                    <a:pt x="1634" y="83"/>
                    <a:pt x="1634" y="83"/>
                    <a:pt x="1634" y="83"/>
                  </a:cubicBezTo>
                  <a:cubicBezTo>
                    <a:pt x="1633" y="83"/>
                    <a:pt x="1633" y="83"/>
                    <a:pt x="1633" y="83"/>
                  </a:cubicBezTo>
                  <a:cubicBezTo>
                    <a:pt x="1632" y="84"/>
                    <a:pt x="1632" y="84"/>
                    <a:pt x="1632" y="84"/>
                  </a:cubicBezTo>
                  <a:cubicBezTo>
                    <a:pt x="1630" y="86"/>
                    <a:pt x="1630" y="86"/>
                    <a:pt x="1630" y="86"/>
                  </a:cubicBezTo>
                  <a:cubicBezTo>
                    <a:pt x="1629" y="86"/>
                    <a:pt x="1629" y="86"/>
                    <a:pt x="1629" y="86"/>
                  </a:cubicBezTo>
                  <a:cubicBezTo>
                    <a:pt x="1629" y="87"/>
                    <a:pt x="1629" y="87"/>
                    <a:pt x="1629" y="87"/>
                  </a:cubicBezTo>
                  <a:cubicBezTo>
                    <a:pt x="1628" y="87"/>
                    <a:pt x="1628" y="87"/>
                    <a:pt x="1628" y="87"/>
                  </a:cubicBezTo>
                  <a:cubicBezTo>
                    <a:pt x="1628" y="87"/>
                    <a:pt x="1628" y="87"/>
                    <a:pt x="1628" y="87"/>
                  </a:cubicBezTo>
                  <a:cubicBezTo>
                    <a:pt x="1628" y="87"/>
                    <a:pt x="1628" y="87"/>
                    <a:pt x="1628" y="87"/>
                  </a:cubicBezTo>
                  <a:cubicBezTo>
                    <a:pt x="1628" y="87"/>
                    <a:pt x="1628" y="87"/>
                    <a:pt x="1628" y="87"/>
                  </a:cubicBezTo>
                  <a:cubicBezTo>
                    <a:pt x="1628" y="87"/>
                    <a:pt x="1628" y="87"/>
                    <a:pt x="1628" y="87"/>
                  </a:cubicBezTo>
                  <a:cubicBezTo>
                    <a:pt x="1627" y="87"/>
                    <a:pt x="1627" y="87"/>
                    <a:pt x="1627" y="87"/>
                  </a:cubicBezTo>
                  <a:cubicBezTo>
                    <a:pt x="1627" y="87"/>
                    <a:pt x="1627" y="87"/>
                    <a:pt x="1627" y="87"/>
                  </a:cubicBezTo>
                  <a:cubicBezTo>
                    <a:pt x="1626" y="87"/>
                    <a:pt x="1626" y="87"/>
                    <a:pt x="1626" y="87"/>
                  </a:cubicBezTo>
                  <a:cubicBezTo>
                    <a:pt x="1626" y="87"/>
                    <a:pt x="1626" y="87"/>
                    <a:pt x="1626" y="87"/>
                  </a:cubicBezTo>
                  <a:cubicBezTo>
                    <a:pt x="1625" y="87"/>
                    <a:pt x="1625" y="87"/>
                    <a:pt x="1625" y="87"/>
                  </a:cubicBezTo>
                  <a:cubicBezTo>
                    <a:pt x="1625" y="87"/>
                    <a:pt x="1625" y="87"/>
                    <a:pt x="1625" y="87"/>
                  </a:cubicBezTo>
                  <a:cubicBezTo>
                    <a:pt x="1625" y="86"/>
                    <a:pt x="1625" y="86"/>
                    <a:pt x="1625" y="86"/>
                  </a:cubicBezTo>
                  <a:cubicBezTo>
                    <a:pt x="1625" y="86"/>
                    <a:pt x="1625" y="86"/>
                    <a:pt x="1625" y="86"/>
                  </a:cubicBezTo>
                  <a:cubicBezTo>
                    <a:pt x="1625" y="86"/>
                    <a:pt x="1625" y="86"/>
                    <a:pt x="1625" y="86"/>
                  </a:cubicBezTo>
                  <a:cubicBezTo>
                    <a:pt x="1624" y="86"/>
                    <a:pt x="1624" y="86"/>
                    <a:pt x="1624" y="86"/>
                  </a:cubicBezTo>
                  <a:cubicBezTo>
                    <a:pt x="1625" y="85"/>
                    <a:pt x="1625" y="85"/>
                    <a:pt x="1625" y="85"/>
                  </a:cubicBezTo>
                  <a:cubicBezTo>
                    <a:pt x="1625" y="85"/>
                    <a:pt x="1625" y="85"/>
                    <a:pt x="1625" y="85"/>
                  </a:cubicBezTo>
                  <a:cubicBezTo>
                    <a:pt x="1625" y="84"/>
                    <a:pt x="1625" y="84"/>
                    <a:pt x="1625" y="84"/>
                  </a:cubicBezTo>
                  <a:cubicBezTo>
                    <a:pt x="1626" y="84"/>
                    <a:pt x="1626" y="83"/>
                    <a:pt x="1626" y="83"/>
                  </a:cubicBezTo>
                  <a:cubicBezTo>
                    <a:pt x="1625" y="82"/>
                    <a:pt x="1625" y="82"/>
                    <a:pt x="1625" y="82"/>
                  </a:cubicBezTo>
                  <a:cubicBezTo>
                    <a:pt x="1625" y="82"/>
                    <a:pt x="1625" y="82"/>
                    <a:pt x="1625" y="82"/>
                  </a:cubicBezTo>
                  <a:cubicBezTo>
                    <a:pt x="1625" y="82"/>
                    <a:pt x="1625" y="82"/>
                    <a:pt x="1625" y="82"/>
                  </a:cubicBezTo>
                  <a:cubicBezTo>
                    <a:pt x="1625" y="82"/>
                    <a:pt x="1625" y="82"/>
                    <a:pt x="1625" y="82"/>
                  </a:cubicBezTo>
                  <a:cubicBezTo>
                    <a:pt x="1625" y="81"/>
                    <a:pt x="1625" y="81"/>
                    <a:pt x="1625" y="81"/>
                  </a:cubicBezTo>
                  <a:cubicBezTo>
                    <a:pt x="1625" y="81"/>
                    <a:pt x="1625" y="81"/>
                    <a:pt x="1625" y="81"/>
                  </a:cubicBezTo>
                  <a:cubicBezTo>
                    <a:pt x="1626" y="81"/>
                    <a:pt x="1626" y="81"/>
                    <a:pt x="1626" y="81"/>
                  </a:cubicBezTo>
                  <a:cubicBezTo>
                    <a:pt x="1626" y="81"/>
                    <a:pt x="1626" y="81"/>
                    <a:pt x="1626" y="81"/>
                  </a:cubicBezTo>
                  <a:cubicBezTo>
                    <a:pt x="1626" y="81"/>
                    <a:pt x="1626" y="81"/>
                    <a:pt x="1626" y="81"/>
                  </a:cubicBezTo>
                  <a:cubicBezTo>
                    <a:pt x="1626" y="81"/>
                    <a:pt x="1626" y="81"/>
                    <a:pt x="1626" y="81"/>
                  </a:cubicBezTo>
                  <a:cubicBezTo>
                    <a:pt x="1626" y="80"/>
                    <a:pt x="1626" y="80"/>
                    <a:pt x="1626" y="80"/>
                  </a:cubicBezTo>
                  <a:cubicBezTo>
                    <a:pt x="1625" y="80"/>
                    <a:pt x="1625" y="80"/>
                    <a:pt x="1625" y="80"/>
                  </a:cubicBezTo>
                  <a:cubicBezTo>
                    <a:pt x="1625" y="80"/>
                    <a:pt x="1625" y="80"/>
                    <a:pt x="1625" y="80"/>
                  </a:cubicBezTo>
                  <a:cubicBezTo>
                    <a:pt x="1625" y="80"/>
                    <a:pt x="1625" y="80"/>
                    <a:pt x="1625" y="80"/>
                  </a:cubicBezTo>
                  <a:cubicBezTo>
                    <a:pt x="1625" y="79"/>
                    <a:pt x="1625" y="79"/>
                    <a:pt x="1625" y="79"/>
                  </a:cubicBezTo>
                  <a:cubicBezTo>
                    <a:pt x="1624" y="79"/>
                    <a:pt x="1624" y="79"/>
                    <a:pt x="1624" y="79"/>
                  </a:cubicBezTo>
                  <a:cubicBezTo>
                    <a:pt x="1624" y="79"/>
                    <a:pt x="1624" y="79"/>
                    <a:pt x="1624" y="79"/>
                  </a:cubicBezTo>
                  <a:cubicBezTo>
                    <a:pt x="1623" y="79"/>
                    <a:pt x="1623" y="79"/>
                    <a:pt x="1623" y="79"/>
                  </a:cubicBezTo>
                  <a:cubicBezTo>
                    <a:pt x="1623" y="79"/>
                    <a:pt x="1623" y="79"/>
                    <a:pt x="1623" y="79"/>
                  </a:cubicBezTo>
                  <a:cubicBezTo>
                    <a:pt x="1623" y="78"/>
                    <a:pt x="1623" y="78"/>
                    <a:pt x="1623" y="78"/>
                  </a:cubicBezTo>
                  <a:cubicBezTo>
                    <a:pt x="1622" y="78"/>
                    <a:pt x="1622" y="78"/>
                    <a:pt x="1622" y="78"/>
                  </a:cubicBezTo>
                  <a:cubicBezTo>
                    <a:pt x="1622" y="78"/>
                    <a:pt x="1622" y="78"/>
                    <a:pt x="1622" y="78"/>
                  </a:cubicBezTo>
                  <a:cubicBezTo>
                    <a:pt x="1619" y="78"/>
                    <a:pt x="1620" y="78"/>
                    <a:pt x="1618" y="77"/>
                  </a:cubicBezTo>
                  <a:cubicBezTo>
                    <a:pt x="1617" y="76"/>
                    <a:pt x="1617" y="76"/>
                    <a:pt x="1617" y="76"/>
                  </a:cubicBezTo>
                  <a:cubicBezTo>
                    <a:pt x="1616" y="75"/>
                    <a:pt x="1616" y="75"/>
                    <a:pt x="1616" y="75"/>
                  </a:cubicBezTo>
                  <a:cubicBezTo>
                    <a:pt x="1616" y="75"/>
                    <a:pt x="1616" y="75"/>
                    <a:pt x="1616" y="75"/>
                  </a:cubicBezTo>
                  <a:cubicBezTo>
                    <a:pt x="1617" y="75"/>
                    <a:pt x="1617" y="75"/>
                    <a:pt x="1617" y="75"/>
                  </a:cubicBezTo>
                  <a:cubicBezTo>
                    <a:pt x="1618" y="75"/>
                    <a:pt x="1618" y="75"/>
                    <a:pt x="1618" y="75"/>
                  </a:cubicBezTo>
                  <a:cubicBezTo>
                    <a:pt x="1621" y="75"/>
                    <a:pt x="1622" y="76"/>
                    <a:pt x="1625" y="77"/>
                  </a:cubicBezTo>
                  <a:cubicBezTo>
                    <a:pt x="1625" y="77"/>
                    <a:pt x="1625" y="77"/>
                    <a:pt x="1625" y="77"/>
                  </a:cubicBezTo>
                  <a:cubicBezTo>
                    <a:pt x="1625" y="77"/>
                    <a:pt x="1625" y="77"/>
                    <a:pt x="1625" y="77"/>
                  </a:cubicBezTo>
                  <a:cubicBezTo>
                    <a:pt x="1627" y="78"/>
                    <a:pt x="1628" y="79"/>
                    <a:pt x="1630" y="80"/>
                  </a:cubicBezTo>
                  <a:cubicBezTo>
                    <a:pt x="1630" y="80"/>
                    <a:pt x="1630" y="80"/>
                    <a:pt x="1630" y="80"/>
                  </a:cubicBezTo>
                  <a:cubicBezTo>
                    <a:pt x="1630" y="80"/>
                    <a:pt x="1630" y="80"/>
                    <a:pt x="1630" y="80"/>
                  </a:cubicBezTo>
                  <a:cubicBezTo>
                    <a:pt x="1631" y="80"/>
                    <a:pt x="1631" y="80"/>
                    <a:pt x="1631" y="80"/>
                  </a:cubicBezTo>
                  <a:cubicBezTo>
                    <a:pt x="1630" y="81"/>
                    <a:pt x="1630" y="81"/>
                    <a:pt x="1630" y="81"/>
                  </a:cubicBezTo>
                  <a:cubicBezTo>
                    <a:pt x="1630" y="81"/>
                    <a:pt x="1630" y="81"/>
                    <a:pt x="1630" y="81"/>
                  </a:cubicBezTo>
                  <a:cubicBezTo>
                    <a:pt x="1630" y="82"/>
                    <a:pt x="1630" y="82"/>
                    <a:pt x="1630" y="82"/>
                  </a:cubicBezTo>
                  <a:cubicBezTo>
                    <a:pt x="1630" y="82"/>
                    <a:pt x="1630" y="82"/>
                    <a:pt x="1630" y="82"/>
                  </a:cubicBezTo>
                  <a:cubicBezTo>
                    <a:pt x="1630" y="82"/>
                    <a:pt x="1630" y="82"/>
                    <a:pt x="1630" y="82"/>
                  </a:cubicBezTo>
                  <a:cubicBezTo>
                    <a:pt x="1631" y="81"/>
                    <a:pt x="1632" y="81"/>
                    <a:pt x="1633" y="81"/>
                  </a:cubicBezTo>
                  <a:cubicBezTo>
                    <a:pt x="1634" y="81"/>
                    <a:pt x="1634" y="81"/>
                    <a:pt x="1634" y="81"/>
                  </a:cubicBezTo>
                  <a:cubicBezTo>
                    <a:pt x="1634" y="81"/>
                    <a:pt x="1634" y="81"/>
                    <a:pt x="1634" y="81"/>
                  </a:cubicBezTo>
                  <a:cubicBezTo>
                    <a:pt x="1635" y="81"/>
                    <a:pt x="1635" y="81"/>
                    <a:pt x="1635" y="81"/>
                  </a:cubicBezTo>
                  <a:cubicBezTo>
                    <a:pt x="1636" y="82"/>
                    <a:pt x="1636" y="82"/>
                    <a:pt x="1636" y="82"/>
                  </a:cubicBezTo>
                  <a:cubicBezTo>
                    <a:pt x="1636" y="82"/>
                    <a:pt x="1636" y="82"/>
                    <a:pt x="1636" y="82"/>
                  </a:cubicBezTo>
                  <a:cubicBezTo>
                    <a:pt x="1637" y="82"/>
                    <a:pt x="1637" y="82"/>
                    <a:pt x="1637" y="82"/>
                  </a:cubicBezTo>
                  <a:cubicBezTo>
                    <a:pt x="1637" y="82"/>
                    <a:pt x="1637" y="82"/>
                    <a:pt x="1637" y="82"/>
                  </a:cubicBezTo>
                  <a:cubicBezTo>
                    <a:pt x="1638" y="82"/>
                    <a:pt x="1638" y="82"/>
                    <a:pt x="1638" y="82"/>
                  </a:cubicBezTo>
                  <a:cubicBezTo>
                    <a:pt x="1638" y="82"/>
                    <a:pt x="1638" y="82"/>
                    <a:pt x="1638" y="82"/>
                  </a:cubicBezTo>
                  <a:cubicBezTo>
                    <a:pt x="1639" y="83"/>
                    <a:pt x="1639" y="83"/>
                    <a:pt x="1639" y="83"/>
                  </a:cubicBezTo>
                  <a:cubicBezTo>
                    <a:pt x="1639" y="83"/>
                    <a:pt x="1639" y="83"/>
                    <a:pt x="1639" y="83"/>
                  </a:cubicBezTo>
                  <a:cubicBezTo>
                    <a:pt x="1640" y="85"/>
                    <a:pt x="1640" y="85"/>
                    <a:pt x="1640" y="85"/>
                  </a:cubicBezTo>
                  <a:cubicBezTo>
                    <a:pt x="1641" y="85"/>
                    <a:pt x="1641" y="85"/>
                    <a:pt x="1641" y="85"/>
                  </a:cubicBezTo>
                  <a:cubicBezTo>
                    <a:pt x="1642" y="85"/>
                    <a:pt x="1642" y="85"/>
                    <a:pt x="1642" y="85"/>
                  </a:cubicBezTo>
                  <a:cubicBezTo>
                    <a:pt x="1642" y="84"/>
                    <a:pt x="1642" y="84"/>
                    <a:pt x="1642" y="84"/>
                  </a:cubicBezTo>
                  <a:cubicBezTo>
                    <a:pt x="1642" y="84"/>
                    <a:pt x="1642" y="84"/>
                    <a:pt x="1642" y="84"/>
                  </a:cubicBezTo>
                  <a:cubicBezTo>
                    <a:pt x="1642" y="84"/>
                    <a:pt x="1642" y="83"/>
                    <a:pt x="1642" y="83"/>
                  </a:cubicBezTo>
                  <a:cubicBezTo>
                    <a:pt x="1642" y="83"/>
                    <a:pt x="1642" y="83"/>
                    <a:pt x="1642" y="83"/>
                  </a:cubicBezTo>
                  <a:cubicBezTo>
                    <a:pt x="1642" y="82"/>
                    <a:pt x="1642" y="82"/>
                    <a:pt x="1642" y="82"/>
                  </a:cubicBezTo>
                  <a:cubicBezTo>
                    <a:pt x="1643" y="80"/>
                    <a:pt x="1644" y="78"/>
                    <a:pt x="1645" y="76"/>
                  </a:cubicBezTo>
                  <a:cubicBezTo>
                    <a:pt x="1645" y="75"/>
                    <a:pt x="1645" y="75"/>
                    <a:pt x="1645" y="75"/>
                  </a:cubicBezTo>
                  <a:cubicBezTo>
                    <a:pt x="1645" y="75"/>
                    <a:pt x="1645" y="75"/>
                    <a:pt x="1645" y="75"/>
                  </a:cubicBezTo>
                  <a:cubicBezTo>
                    <a:pt x="1645" y="74"/>
                    <a:pt x="1645" y="74"/>
                    <a:pt x="1645" y="74"/>
                  </a:cubicBezTo>
                  <a:cubicBezTo>
                    <a:pt x="1645" y="74"/>
                    <a:pt x="1645" y="74"/>
                    <a:pt x="1645" y="74"/>
                  </a:cubicBezTo>
                  <a:cubicBezTo>
                    <a:pt x="1645" y="73"/>
                    <a:pt x="1645" y="72"/>
                    <a:pt x="1644" y="72"/>
                  </a:cubicBezTo>
                  <a:cubicBezTo>
                    <a:pt x="1644" y="72"/>
                    <a:pt x="1644" y="72"/>
                    <a:pt x="1644" y="72"/>
                  </a:cubicBezTo>
                  <a:cubicBezTo>
                    <a:pt x="1643" y="72"/>
                    <a:pt x="1643" y="72"/>
                    <a:pt x="1643" y="72"/>
                  </a:cubicBezTo>
                  <a:cubicBezTo>
                    <a:pt x="1643" y="72"/>
                    <a:pt x="1643" y="72"/>
                    <a:pt x="1643" y="72"/>
                  </a:cubicBezTo>
                  <a:cubicBezTo>
                    <a:pt x="1643" y="72"/>
                    <a:pt x="1643" y="72"/>
                    <a:pt x="1643" y="72"/>
                  </a:cubicBezTo>
                  <a:cubicBezTo>
                    <a:pt x="1643" y="72"/>
                    <a:pt x="1643" y="72"/>
                    <a:pt x="1643" y="72"/>
                  </a:cubicBezTo>
                  <a:cubicBezTo>
                    <a:pt x="1642" y="72"/>
                    <a:pt x="1642" y="72"/>
                    <a:pt x="1642" y="72"/>
                  </a:cubicBezTo>
                  <a:cubicBezTo>
                    <a:pt x="1642" y="72"/>
                    <a:pt x="1642" y="72"/>
                    <a:pt x="1642" y="72"/>
                  </a:cubicBezTo>
                  <a:cubicBezTo>
                    <a:pt x="1642" y="72"/>
                    <a:pt x="1642" y="72"/>
                    <a:pt x="1642" y="72"/>
                  </a:cubicBezTo>
                  <a:cubicBezTo>
                    <a:pt x="1641" y="73"/>
                    <a:pt x="1641" y="73"/>
                    <a:pt x="1641" y="73"/>
                  </a:cubicBezTo>
                  <a:cubicBezTo>
                    <a:pt x="1641" y="74"/>
                    <a:pt x="1641" y="74"/>
                    <a:pt x="1641" y="74"/>
                  </a:cubicBezTo>
                  <a:cubicBezTo>
                    <a:pt x="1641" y="74"/>
                    <a:pt x="1641" y="74"/>
                    <a:pt x="1641" y="74"/>
                  </a:cubicBezTo>
                  <a:cubicBezTo>
                    <a:pt x="1640" y="74"/>
                    <a:pt x="1640" y="74"/>
                    <a:pt x="1640" y="74"/>
                  </a:cubicBezTo>
                  <a:cubicBezTo>
                    <a:pt x="1640" y="74"/>
                    <a:pt x="1640" y="74"/>
                    <a:pt x="1640" y="74"/>
                  </a:cubicBezTo>
                  <a:cubicBezTo>
                    <a:pt x="1639" y="74"/>
                    <a:pt x="1639" y="74"/>
                    <a:pt x="1639" y="74"/>
                  </a:cubicBezTo>
                  <a:cubicBezTo>
                    <a:pt x="1639" y="74"/>
                    <a:pt x="1639" y="74"/>
                    <a:pt x="1639" y="74"/>
                  </a:cubicBezTo>
                  <a:cubicBezTo>
                    <a:pt x="1639" y="74"/>
                    <a:pt x="1639" y="74"/>
                    <a:pt x="1639" y="74"/>
                  </a:cubicBezTo>
                  <a:cubicBezTo>
                    <a:pt x="1639" y="74"/>
                    <a:pt x="1639" y="74"/>
                    <a:pt x="1639" y="74"/>
                  </a:cubicBezTo>
                  <a:cubicBezTo>
                    <a:pt x="1639" y="73"/>
                    <a:pt x="1639" y="73"/>
                    <a:pt x="1639" y="73"/>
                  </a:cubicBezTo>
                  <a:cubicBezTo>
                    <a:pt x="1639" y="73"/>
                    <a:pt x="1639" y="73"/>
                    <a:pt x="1639" y="73"/>
                  </a:cubicBezTo>
                  <a:cubicBezTo>
                    <a:pt x="1639" y="72"/>
                    <a:pt x="1639" y="72"/>
                    <a:pt x="1639" y="72"/>
                  </a:cubicBezTo>
                  <a:cubicBezTo>
                    <a:pt x="1639" y="71"/>
                    <a:pt x="1639" y="71"/>
                    <a:pt x="1639" y="71"/>
                  </a:cubicBezTo>
                  <a:cubicBezTo>
                    <a:pt x="1639" y="70"/>
                    <a:pt x="1639" y="68"/>
                    <a:pt x="1638" y="68"/>
                  </a:cubicBezTo>
                  <a:cubicBezTo>
                    <a:pt x="1637" y="68"/>
                    <a:pt x="1637" y="68"/>
                    <a:pt x="1637" y="68"/>
                  </a:cubicBezTo>
                  <a:cubicBezTo>
                    <a:pt x="1637" y="67"/>
                    <a:pt x="1637" y="67"/>
                    <a:pt x="1637" y="67"/>
                  </a:cubicBezTo>
                  <a:cubicBezTo>
                    <a:pt x="1637" y="66"/>
                    <a:pt x="1637" y="66"/>
                    <a:pt x="1637" y="66"/>
                  </a:cubicBezTo>
                  <a:cubicBezTo>
                    <a:pt x="1637" y="65"/>
                    <a:pt x="1637" y="65"/>
                    <a:pt x="1637" y="65"/>
                  </a:cubicBezTo>
                  <a:cubicBezTo>
                    <a:pt x="1637" y="63"/>
                    <a:pt x="1637" y="64"/>
                    <a:pt x="1637" y="63"/>
                  </a:cubicBezTo>
                  <a:cubicBezTo>
                    <a:pt x="1636" y="62"/>
                    <a:pt x="1636" y="62"/>
                    <a:pt x="1636" y="62"/>
                  </a:cubicBezTo>
                  <a:cubicBezTo>
                    <a:pt x="1636" y="62"/>
                    <a:pt x="1635" y="61"/>
                    <a:pt x="1635" y="61"/>
                  </a:cubicBezTo>
                  <a:cubicBezTo>
                    <a:pt x="1634" y="61"/>
                    <a:pt x="1634" y="61"/>
                    <a:pt x="1634" y="61"/>
                  </a:cubicBezTo>
                  <a:cubicBezTo>
                    <a:pt x="1634" y="61"/>
                    <a:pt x="1634" y="61"/>
                    <a:pt x="1634" y="61"/>
                  </a:cubicBezTo>
                  <a:cubicBezTo>
                    <a:pt x="1634" y="61"/>
                    <a:pt x="1634" y="61"/>
                    <a:pt x="1634" y="61"/>
                  </a:cubicBezTo>
                  <a:cubicBezTo>
                    <a:pt x="1633" y="61"/>
                    <a:pt x="1633" y="61"/>
                    <a:pt x="1633" y="61"/>
                  </a:cubicBezTo>
                  <a:cubicBezTo>
                    <a:pt x="1633" y="61"/>
                    <a:pt x="1633" y="61"/>
                    <a:pt x="1633" y="61"/>
                  </a:cubicBezTo>
                  <a:cubicBezTo>
                    <a:pt x="1633" y="61"/>
                    <a:pt x="1633" y="61"/>
                    <a:pt x="1633" y="61"/>
                  </a:cubicBezTo>
                  <a:cubicBezTo>
                    <a:pt x="1636" y="58"/>
                    <a:pt x="1628" y="59"/>
                    <a:pt x="1628" y="59"/>
                  </a:cubicBezTo>
                  <a:cubicBezTo>
                    <a:pt x="1627" y="59"/>
                    <a:pt x="1627" y="59"/>
                    <a:pt x="1627" y="59"/>
                  </a:cubicBezTo>
                  <a:cubicBezTo>
                    <a:pt x="1627" y="60"/>
                    <a:pt x="1627" y="60"/>
                    <a:pt x="1627" y="60"/>
                  </a:cubicBezTo>
                  <a:cubicBezTo>
                    <a:pt x="1628" y="63"/>
                    <a:pt x="1630" y="59"/>
                    <a:pt x="1634" y="64"/>
                  </a:cubicBezTo>
                  <a:cubicBezTo>
                    <a:pt x="1633" y="64"/>
                    <a:pt x="1633" y="64"/>
                    <a:pt x="1633" y="64"/>
                  </a:cubicBezTo>
                  <a:cubicBezTo>
                    <a:pt x="1633" y="64"/>
                    <a:pt x="1633" y="64"/>
                    <a:pt x="1633" y="64"/>
                  </a:cubicBezTo>
                  <a:cubicBezTo>
                    <a:pt x="1633" y="64"/>
                    <a:pt x="1633" y="64"/>
                    <a:pt x="1633" y="64"/>
                  </a:cubicBezTo>
                  <a:cubicBezTo>
                    <a:pt x="1632" y="63"/>
                    <a:pt x="1632" y="63"/>
                    <a:pt x="1632" y="63"/>
                  </a:cubicBezTo>
                  <a:cubicBezTo>
                    <a:pt x="1631" y="63"/>
                    <a:pt x="1631" y="63"/>
                    <a:pt x="1630" y="64"/>
                  </a:cubicBezTo>
                  <a:cubicBezTo>
                    <a:pt x="1629" y="65"/>
                    <a:pt x="1629" y="65"/>
                    <a:pt x="1629" y="65"/>
                  </a:cubicBezTo>
                  <a:cubicBezTo>
                    <a:pt x="1629" y="66"/>
                    <a:pt x="1629" y="66"/>
                    <a:pt x="1629" y="66"/>
                  </a:cubicBezTo>
                  <a:cubicBezTo>
                    <a:pt x="1629" y="66"/>
                    <a:pt x="1629" y="66"/>
                    <a:pt x="1628" y="66"/>
                  </a:cubicBezTo>
                  <a:cubicBezTo>
                    <a:pt x="1628" y="66"/>
                    <a:pt x="1628" y="66"/>
                    <a:pt x="1628" y="66"/>
                  </a:cubicBezTo>
                  <a:cubicBezTo>
                    <a:pt x="1628" y="67"/>
                    <a:pt x="1628" y="67"/>
                    <a:pt x="1628" y="67"/>
                  </a:cubicBezTo>
                  <a:cubicBezTo>
                    <a:pt x="1628" y="67"/>
                    <a:pt x="1628" y="67"/>
                    <a:pt x="1628" y="67"/>
                  </a:cubicBezTo>
                  <a:cubicBezTo>
                    <a:pt x="1627" y="67"/>
                    <a:pt x="1627" y="67"/>
                    <a:pt x="1627" y="67"/>
                  </a:cubicBezTo>
                  <a:cubicBezTo>
                    <a:pt x="1627" y="67"/>
                    <a:pt x="1627" y="67"/>
                    <a:pt x="1627" y="67"/>
                  </a:cubicBezTo>
                  <a:cubicBezTo>
                    <a:pt x="1626" y="67"/>
                    <a:pt x="1626" y="67"/>
                    <a:pt x="1626" y="67"/>
                  </a:cubicBezTo>
                  <a:cubicBezTo>
                    <a:pt x="1626" y="67"/>
                    <a:pt x="1626" y="67"/>
                    <a:pt x="1626" y="67"/>
                  </a:cubicBezTo>
                  <a:cubicBezTo>
                    <a:pt x="1625" y="66"/>
                    <a:pt x="1625" y="66"/>
                    <a:pt x="1625" y="66"/>
                  </a:cubicBezTo>
                  <a:cubicBezTo>
                    <a:pt x="1625" y="64"/>
                    <a:pt x="1625" y="64"/>
                    <a:pt x="1625" y="64"/>
                  </a:cubicBezTo>
                  <a:cubicBezTo>
                    <a:pt x="1625" y="64"/>
                    <a:pt x="1625" y="64"/>
                    <a:pt x="1625" y="64"/>
                  </a:cubicBezTo>
                  <a:cubicBezTo>
                    <a:pt x="1625" y="63"/>
                    <a:pt x="1625" y="63"/>
                    <a:pt x="1625" y="63"/>
                  </a:cubicBezTo>
                  <a:cubicBezTo>
                    <a:pt x="1624" y="62"/>
                    <a:pt x="1625" y="63"/>
                    <a:pt x="1625" y="62"/>
                  </a:cubicBezTo>
                  <a:cubicBezTo>
                    <a:pt x="1624" y="62"/>
                    <a:pt x="1624" y="62"/>
                    <a:pt x="1624" y="62"/>
                  </a:cubicBezTo>
                  <a:cubicBezTo>
                    <a:pt x="1624" y="62"/>
                    <a:pt x="1624" y="62"/>
                    <a:pt x="1624" y="62"/>
                  </a:cubicBezTo>
                  <a:cubicBezTo>
                    <a:pt x="1624" y="61"/>
                    <a:pt x="1624" y="61"/>
                    <a:pt x="1624" y="61"/>
                  </a:cubicBezTo>
                  <a:cubicBezTo>
                    <a:pt x="1623" y="61"/>
                    <a:pt x="1623" y="61"/>
                    <a:pt x="1623" y="61"/>
                  </a:cubicBezTo>
                  <a:cubicBezTo>
                    <a:pt x="1623" y="59"/>
                    <a:pt x="1623" y="59"/>
                    <a:pt x="1623" y="59"/>
                  </a:cubicBezTo>
                  <a:cubicBezTo>
                    <a:pt x="1624" y="56"/>
                    <a:pt x="1623" y="56"/>
                    <a:pt x="1620" y="54"/>
                  </a:cubicBezTo>
                  <a:cubicBezTo>
                    <a:pt x="1620" y="54"/>
                    <a:pt x="1620" y="54"/>
                    <a:pt x="1620" y="54"/>
                  </a:cubicBezTo>
                  <a:cubicBezTo>
                    <a:pt x="1619" y="54"/>
                    <a:pt x="1619" y="54"/>
                    <a:pt x="1619" y="54"/>
                  </a:cubicBezTo>
                  <a:cubicBezTo>
                    <a:pt x="1618" y="53"/>
                    <a:pt x="1615" y="51"/>
                    <a:pt x="1614" y="51"/>
                  </a:cubicBezTo>
                  <a:cubicBezTo>
                    <a:pt x="1613" y="52"/>
                    <a:pt x="1613" y="52"/>
                    <a:pt x="1613" y="52"/>
                  </a:cubicBezTo>
                  <a:cubicBezTo>
                    <a:pt x="1613" y="52"/>
                    <a:pt x="1613" y="52"/>
                    <a:pt x="1613" y="52"/>
                  </a:cubicBezTo>
                  <a:cubicBezTo>
                    <a:pt x="1613" y="52"/>
                    <a:pt x="1613" y="52"/>
                    <a:pt x="1613" y="52"/>
                  </a:cubicBezTo>
                  <a:cubicBezTo>
                    <a:pt x="1613" y="51"/>
                    <a:pt x="1613" y="51"/>
                    <a:pt x="1613" y="51"/>
                  </a:cubicBezTo>
                  <a:cubicBezTo>
                    <a:pt x="1613" y="51"/>
                    <a:pt x="1613" y="51"/>
                    <a:pt x="1613" y="51"/>
                  </a:cubicBezTo>
                  <a:cubicBezTo>
                    <a:pt x="1612" y="50"/>
                    <a:pt x="1612" y="50"/>
                    <a:pt x="1612" y="50"/>
                  </a:cubicBezTo>
                  <a:cubicBezTo>
                    <a:pt x="1611" y="49"/>
                    <a:pt x="1612" y="49"/>
                    <a:pt x="1609" y="49"/>
                  </a:cubicBezTo>
                  <a:cubicBezTo>
                    <a:pt x="1609" y="49"/>
                    <a:pt x="1609" y="49"/>
                    <a:pt x="1609" y="49"/>
                  </a:cubicBezTo>
                  <a:cubicBezTo>
                    <a:pt x="1609" y="48"/>
                    <a:pt x="1609" y="48"/>
                    <a:pt x="1609" y="48"/>
                  </a:cubicBezTo>
                  <a:cubicBezTo>
                    <a:pt x="1608" y="48"/>
                    <a:pt x="1608" y="47"/>
                    <a:pt x="1607" y="46"/>
                  </a:cubicBezTo>
                  <a:cubicBezTo>
                    <a:pt x="1606" y="46"/>
                    <a:pt x="1606" y="46"/>
                    <a:pt x="1606" y="46"/>
                  </a:cubicBezTo>
                  <a:cubicBezTo>
                    <a:pt x="1606" y="46"/>
                    <a:pt x="1606" y="46"/>
                    <a:pt x="1606" y="46"/>
                  </a:cubicBezTo>
                  <a:cubicBezTo>
                    <a:pt x="1606" y="46"/>
                    <a:pt x="1606" y="46"/>
                    <a:pt x="1606" y="46"/>
                  </a:cubicBezTo>
                  <a:cubicBezTo>
                    <a:pt x="1605" y="46"/>
                    <a:pt x="1605" y="46"/>
                    <a:pt x="1605" y="46"/>
                  </a:cubicBezTo>
                  <a:cubicBezTo>
                    <a:pt x="1605" y="46"/>
                    <a:pt x="1605" y="46"/>
                    <a:pt x="1605" y="46"/>
                  </a:cubicBezTo>
                  <a:cubicBezTo>
                    <a:pt x="1605" y="45"/>
                    <a:pt x="1605" y="45"/>
                    <a:pt x="1605" y="45"/>
                  </a:cubicBezTo>
                  <a:cubicBezTo>
                    <a:pt x="1604" y="45"/>
                    <a:pt x="1604" y="45"/>
                    <a:pt x="1604" y="45"/>
                  </a:cubicBezTo>
                  <a:cubicBezTo>
                    <a:pt x="1604" y="45"/>
                    <a:pt x="1604" y="45"/>
                    <a:pt x="1604" y="45"/>
                  </a:cubicBezTo>
                  <a:cubicBezTo>
                    <a:pt x="1603" y="45"/>
                    <a:pt x="1603" y="45"/>
                    <a:pt x="1603" y="45"/>
                  </a:cubicBezTo>
                  <a:cubicBezTo>
                    <a:pt x="1603" y="45"/>
                    <a:pt x="1603" y="45"/>
                    <a:pt x="1603" y="45"/>
                  </a:cubicBezTo>
                  <a:cubicBezTo>
                    <a:pt x="1602" y="45"/>
                    <a:pt x="1602" y="45"/>
                    <a:pt x="1602" y="45"/>
                  </a:cubicBezTo>
                  <a:cubicBezTo>
                    <a:pt x="1602" y="45"/>
                    <a:pt x="1602" y="45"/>
                    <a:pt x="1602" y="45"/>
                  </a:cubicBezTo>
                  <a:cubicBezTo>
                    <a:pt x="1601" y="45"/>
                    <a:pt x="1601" y="45"/>
                    <a:pt x="1601" y="45"/>
                  </a:cubicBezTo>
                  <a:cubicBezTo>
                    <a:pt x="1601" y="45"/>
                    <a:pt x="1601" y="45"/>
                    <a:pt x="1601" y="45"/>
                  </a:cubicBezTo>
                  <a:cubicBezTo>
                    <a:pt x="1601" y="44"/>
                    <a:pt x="1601" y="44"/>
                    <a:pt x="1601" y="44"/>
                  </a:cubicBezTo>
                  <a:cubicBezTo>
                    <a:pt x="1600" y="43"/>
                    <a:pt x="1600" y="43"/>
                    <a:pt x="1600" y="43"/>
                  </a:cubicBezTo>
                  <a:cubicBezTo>
                    <a:pt x="1600" y="42"/>
                    <a:pt x="1600" y="42"/>
                    <a:pt x="1600" y="42"/>
                  </a:cubicBezTo>
                  <a:cubicBezTo>
                    <a:pt x="1600" y="42"/>
                    <a:pt x="1600" y="42"/>
                    <a:pt x="1600" y="42"/>
                  </a:cubicBezTo>
                  <a:cubicBezTo>
                    <a:pt x="1599" y="42"/>
                    <a:pt x="1599" y="42"/>
                    <a:pt x="1599" y="42"/>
                  </a:cubicBezTo>
                  <a:cubicBezTo>
                    <a:pt x="1598" y="42"/>
                    <a:pt x="1598" y="42"/>
                    <a:pt x="1598" y="42"/>
                  </a:cubicBezTo>
                  <a:cubicBezTo>
                    <a:pt x="1598" y="42"/>
                    <a:pt x="1598" y="42"/>
                    <a:pt x="1598" y="42"/>
                  </a:cubicBezTo>
                  <a:cubicBezTo>
                    <a:pt x="1597" y="42"/>
                    <a:pt x="1597" y="42"/>
                    <a:pt x="1597" y="42"/>
                  </a:cubicBezTo>
                  <a:cubicBezTo>
                    <a:pt x="1597" y="42"/>
                    <a:pt x="1597" y="42"/>
                    <a:pt x="1597" y="42"/>
                  </a:cubicBezTo>
                  <a:cubicBezTo>
                    <a:pt x="1596" y="42"/>
                    <a:pt x="1596" y="42"/>
                    <a:pt x="1596" y="42"/>
                  </a:cubicBezTo>
                  <a:cubicBezTo>
                    <a:pt x="1595" y="42"/>
                    <a:pt x="1595" y="42"/>
                    <a:pt x="1595" y="42"/>
                  </a:cubicBezTo>
                  <a:cubicBezTo>
                    <a:pt x="1595" y="41"/>
                    <a:pt x="1595" y="41"/>
                    <a:pt x="1595" y="41"/>
                  </a:cubicBezTo>
                  <a:cubicBezTo>
                    <a:pt x="1594" y="41"/>
                    <a:pt x="1594" y="41"/>
                    <a:pt x="1594" y="41"/>
                  </a:cubicBezTo>
                  <a:cubicBezTo>
                    <a:pt x="1594" y="41"/>
                    <a:pt x="1594" y="41"/>
                    <a:pt x="1594" y="41"/>
                  </a:cubicBezTo>
                  <a:cubicBezTo>
                    <a:pt x="1593" y="41"/>
                    <a:pt x="1593" y="41"/>
                    <a:pt x="1593" y="41"/>
                  </a:cubicBezTo>
                  <a:cubicBezTo>
                    <a:pt x="1593" y="42"/>
                    <a:pt x="1593" y="42"/>
                    <a:pt x="1593" y="42"/>
                  </a:cubicBezTo>
                  <a:cubicBezTo>
                    <a:pt x="1593" y="42"/>
                    <a:pt x="1593" y="42"/>
                    <a:pt x="1593" y="42"/>
                  </a:cubicBezTo>
                  <a:cubicBezTo>
                    <a:pt x="1593" y="42"/>
                    <a:pt x="1593" y="42"/>
                    <a:pt x="1593" y="42"/>
                  </a:cubicBezTo>
                  <a:cubicBezTo>
                    <a:pt x="1593" y="42"/>
                    <a:pt x="1593" y="42"/>
                    <a:pt x="1593" y="42"/>
                  </a:cubicBezTo>
                  <a:cubicBezTo>
                    <a:pt x="1592" y="40"/>
                    <a:pt x="1592" y="40"/>
                    <a:pt x="1592" y="40"/>
                  </a:cubicBezTo>
                  <a:cubicBezTo>
                    <a:pt x="1592" y="40"/>
                    <a:pt x="1592" y="40"/>
                    <a:pt x="1592" y="40"/>
                  </a:cubicBezTo>
                  <a:cubicBezTo>
                    <a:pt x="1592" y="39"/>
                    <a:pt x="1592" y="39"/>
                    <a:pt x="1592" y="39"/>
                  </a:cubicBezTo>
                  <a:cubicBezTo>
                    <a:pt x="1591" y="39"/>
                    <a:pt x="1591" y="39"/>
                    <a:pt x="1591" y="39"/>
                  </a:cubicBezTo>
                  <a:cubicBezTo>
                    <a:pt x="1589" y="39"/>
                    <a:pt x="1590" y="39"/>
                    <a:pt x="1588" y="40"/>
                  </a:cubicBezTo>
                  <a:cubicBezTo>
                    <a:pt x="1588" y="40"/>
                    <a:pt x="1588" y="40"/>
                    <a:pt x="1588" y="40"/>
                  </a:cubicBezTo>
                  <a:cubicBezTo>
                    <a:pt x="1587" y="40"/>
                    <a:pt x="1587" y="40"/>
                    <a:pt x="1587" y="40"/>
                  </a:cubicBezTo>
                  <a:cubicBezTo>
                    <a:pt x="1587" y="40"/>
                    <a:pt x="1587" y="40"/>
                    <a:pt x="1587" y="40"/>
                  </a:cubicBezTo>
                  <a:cubicBezTo>
                    <a:pt x="1586" y="40"/>
                    <a:pt x="1586" y="40"/>
                    <a:pt x="1586" y="40"/>
                  </a:cubicBezTo>
                  <a:cubicBezTo>
                    <a:pt x="1586" y="40"/>
                    <a:pt x="1586" y="40"/>
                    <a:pt x="1586" y="40"/>
                  </a:cubicBezTo>
                  <a:cubicBezTo>
                    <a:pt x="1585" y="40"/>
                    <a:pt x="1585" y="40"/>
                    <a:pt x="1585" y="40"/>
                  </a:cubicBezTo>
                  <a:cubicBezTo>
                    <a:pt x="1585" y="41"/>
                    <a:pt x="1585" y="41"/>
                    <a:pt x="1585" y="41"/>
                  </a:cubicBezTo>
                  <a:cubicBezTo>
                    <a:pt x="1584" y="40"/>
                    <a:pt x="1584" y="40"/>
                    <a:pt x="1584" y="40"/>
                  </a:cubicBezTo>
                  <a:cubicBezTo>
                    <a:pt x="1584" y="40"/>
                    <a:pt x="1584" y="40"/>
                    <a:pt x="1584" y="40"/>
                  </a:cubicBezTo>
                  <a:cubicBezTo>
                    <a:pt x="1583" y="40"/>
                    <a:pt x="1583" y="40"/>
                    <a:pt x="1583" y="40"/>
                  </a:cubicBezTo>
                  <a:cubicBezTo>
                    <a:pt x="1583" y="40"/>
                    <a:pt x="1583" y="40"/>
                    <a:pt x="1583" y="40"/>
                  </a:cubicBezTo>
                  <a:cubicBezTo>
                    <a:pt x="1583" y="39"/>
                    <a:pt x="1583" y="39"/>
                    <a:pt x="1583" y="39"/>
                  </a:cubicBezTo>
                  <a:cubicBezTo>
                    <a:pt x="1582" y="39"/>
                    <a:pt x="1582" y="39"/>
                    <a:pt x="1582" y="39"/>
                  </a:cubicBezTo>
                  <a:cubicBezTo>
                    <a:pt x="1582" y="39"/>
                    <a:pt x="1582" y="39"/>
                    <a:pt x="1582" y="39"/>
                  </a:cubicBezTo>
                  <a:cubicBezTo>
                    <a:pt x="1581" y="39"/>
                    <a:pt x="1581" y="39"/>
                    <a:pt x="1581" y="39"/>
                  </a:cubicBezTo>
                  <a:cubicBezTo>
                    <a:pt x="1581" y="39"/>
                    <a:pt x="1581" y="39"/>
                    <a:pt x="1581" y="39"/>
                  </a:cubicBezTo>
                  <a:cubicBezTo>
                    <a:pt x="1580" y="39"/>
                    <a:pt x="1580" y="39"/>
                    <a:pt x="1580" y="39"/>
                  </a:cubicBezTo>
                  <a:cubicBezTo>
                    <a:pt x="1579" y="40"/>
                    <a:pt x="1577" y="40"/>
                    <a:pt x="1576" y="40"/>
                  </a:cubicBezTo>
                  <a:cubicBezTo>
                    <a:pt x="1575" y="40"/>
                    <a:pt x="1575" y="40"/>
                    <a:pt x="1575" y="40"/>
                  </a:cubicBezTo>
                  <a:cubicBezTo>
                    <a:pt x="1575" y="41"/>
                    <a:pt x="1575" y="41"/>
                    <a:pt x="1575" y="41"/>
                  </a:cubicBezTo>
                  <a:cubicBezTo>
                    <a:pt x="1574" y="41"/>
                    <a:pt x="1573" y="42"/>
                    <a:pt x="1571" y="42"/>
                  </a:cubicBezTo>
                  <a:cubicBezTo>
                    <a:pt x="1571" y="42"/>
                    <a:pt x="1571" y="42"/>
                    <a:pt x="1571" y="42"/>
                  </a:cubicBezTo>
                  <a:cubicBezTo>
                    <a:pt x="1571" y="42"/>
                    <a:pt x="1571" y="42"/>
                    <a:pt x="1571" y="42"/>
                  </a:cubicBezTo>
                  <a:cubicBezTo>
                    <a:pt x="1571" y="42"/>
                    <a:pt x="1571" y="42"/>
                    <a:pt x="1571" y="42"/>
                  </a:cubicBezTo>
                  <a:cubicBezTo>
                    <a:pt x="1571" y="42"/>
                    <a:pt x="1571" y="42"/>
                    <a:pt x="1571" y="42"/>
                  </a:cubicBezTo>
                  <a:cubicBezTo>
                    <a:pt x="1570" y="42"/>
                    <a:pt x="1570" y="42"/>
                    <a:pt x="1570" y="42"/>
                  </a:cubicBezTo>
                  <a:cubicBezTo>
                    <a:pt x="1570" y="41"/>
                    <a:pt x="1570" y="41"/>
                    <a:pt x="1570" y="41"/>
                  </a:cubicBezTo>
                  <a:cubicBezTo>
                    <a:pt x="1567" y="42"/>
                    <a:pt x="1569" y="41"/>
                    <a:pt x="1566" y="41"/>
                  </a:cubicBezTo>
                  <a:cubicBezTo>
                    <a:pt x="1565" y="41"/>
                    <a:pt x="1565" y="41"/>
                    <a:pt x="1565" y="41"/>
                  </a:cubicBezTo>
                  <a:cubicBezTo>
                    <a:pt x="1565" y="41"/>
                    <a:pt x="1565" y="41"/>
                    <a:pt x="1565" y="41"/>
                  </a:cubicBezTo>
                  <a:cubicBezTo>
                    <a:pt x="1564" y="41"/>
                    <a:pt x="1564" y="41"/>
                    <a:pt x="1564" y="41"/>
                  </a:cubicBezTo>
                  <a:cubicBezTo>
                    <a:pt x="1564" y="41"/>
                    <a:pt x="1564" y="41"/>
                    <a:pt x="1564" y="41"/>
                  </a:cubicBezTo>
                  <a:cubicBezTo>
                    <a:pt x="1564" y="40"/>
                    <a:pt x="1564" y="40"/>
                    <a:pt x="1564" y="40"/>
                  </a:cubicBezTo>
                  <a:cubicBezTo>
                    <a:pt x="1563" y="40"/>
                    <a:pt x="1563" y="40"/>
                    <a:pt x="1563" y="40"/>
                  </a:cubicBezTo>
                  <a:cubicBezTo>
                    <a:pt x="1563" y="40"/>
                    <a:pt x="1563" y="40"/>
                    <a:pt x="1563" y="40"/>
                  </a:cubicBezTo>
                  <a:cubicBezTo>
                    <a:pt x="1562" y="40"/>
                    <a:pt x="1562" y="40"/>
                    <a:pt x="1562" y="40"/>
                  </a:cubicBezTo>
                  <a:cubicBezTo>
                    <a:pt x="1562" y="40"/>
                    <a:pt x="1562" y="40"/>
                    <a:pt x="1562" y="40"/>
                  </a:cubicBezTo>
                  <a:cubicBezTo>
                    <a:pt x="1561" y="40"/>
                    <a:pt x="1561" y="40"/>
                    <a:pt x="1561" y="40"/>
                  </a:cubicBezTo>
                  <a:cubicBezTo>
                    <a:pt x="1561" y="40"/>
                    <a:pt x="1561" y="40"/>
                    <a:pt x="1561" y="40"/>
                  </a:cubicBezTo>
                  <a:cubicBezTo>
                    <a:pt x="1560" y="40"/>
                    <a:pt x="1560" y="40"/>
                    <a:pt x="1560" y="40"/>
                  </a:cubicBezTo>
                  <a:cubicBezTo>
                    <a:pt x="1560" y="40"/>
                    <a:pt x="1560" y="40"/>
                    <a:pt x="1560" y="40"/>
                  </a:cubicBezTo>
                  <a:cubicBezTo>
                    <a:pt x="1559" y="40"/>
                    <a:pt x="1559" y="40"/>
                    <a:pt x="1559" y="40"/>
                  </a:cubicBezTo>
                  <a:cubicBezTo>
                    <a:pt x="1559" y="40"/>
                    <a:pt x="1559" y="40"/>
                    <a:pt x="1559" y="40"/>
                  </a:cubicBezTo>
                  <a:cubicBezTo>
                    <a:pt x="1559" y="39"/>
                    <a:pt x="1559" y="39"/>
                    <a:pt x="1559" y="39"/>
                  </a:cubicBezTo>
                  <a:cubicBezTo>
                    <a:pt x="1559" y="39"/>
                    <a:pt x="1559" y="39"/>
                    <a:pt x="1559" y="39"/>
                  </a:cubicBezTo>
                  <a:cubicBezTo>
                    <a:pt x="1557" y="40"/>
                    <a:pt x="1556" y="40"/>
                    <a:pt x="1554" y="41"/>
                  </a:cubicBezTo>
                  <a:cubicBezTo>
                    <a:pt x="1554" y="40"/>
                    <a:pt x="1554" y="40"/>
                    <a:pt x="1554" y="40"/>
                  </a:cubicBezTo>
                  <a:cubicBezTo>
                    <a:pt x="1554" y="40"/>
                    <a:pt x="1554" y="40"/>
                    <a:pt x="1554" y="40"/>
                  </a:cubicBezTo>
                  <a:cubicBezTo>
                    <a:pt x="1552" y="40"/>
                    <a:pt x="1552" y="40"/>
                    <a:pt x="1551" y="41"/>
                  </a:cubicBezTo>
                  <a:cubicBezTo>
                    <a:pt x="1550" y="41"/>
                    <a:pt x="1550" y="41"/>
                    <a:pt x="1550" y="41"/>
                  </a:cubicBezTo>
                  <a:cubicBezTo>
                    <a:pt x="1550" y="41"/>
                    <a:pt x="1550" y="41"/>
                    <a:pt x="1550" y="41"/>
                  </a:cubicBezTo>
                  <a:cubicBezTo>
                    <a:pt x="1549" y="41"/>
                    <a:pt x="1549" y="41"/>
                    <a:pt x="1549" y="41"/>
                  </a:cubicBezTo>
                  <a:cubicBezTo>
                    <a:pt x="1549" y="41"/>
                    <a:pt x="1549" y="41"/>
                    <a:pt x="1549" y="41"/>
                  </a:cubicBezTo>
                  <a:cubicBezTo>
                    <a:pt x="1548" y="41"/>
                    <a:pt x="1548" y="41"/>
                    <a:pt x="1548" y="41"/>
                  </a:cubicBezTo>
                  <a:cubicBezTo>
                    <a:pt x="1548" y="41"/>
                    <a:pt x="1548" y="41"/>
                    <a:pt x="1548" y="41"/>
                  </a:cubicBezTo>
                  <a:cubicBezTo>
                    <a:pt x="1547" y="41"/>
                    <a:pt x="1547" y="41"/>
                    <a:pt x="1547" y="41"/>
                  </a:cubicBezTo>
                  <a:cubicBezTo>
                    <a:pt x="1546" y="41"/>
                    <a:pt x="1546" y="41"/>
                    <a:pt x="1546" y="41"/>
                  </a:cubicBezTo>
                  <a:cubicBezTo>
                    <a:pt x="1544" y="41"/>
                    <a:pt x="1543" y="41"/>
                    <a:pt x="1541" y="41"/>
                  </a:cubicBezTo>
                  <a:cubicBezTo>
                    <a:pt x="1540" y="41"/>
                    <a:pt x="1540" y="41"/>
                    <a:pt x="1540" y="41"/>
                  </a:cubicBezTo>
                  <a:cubicBezTo>
                    <a:pt x="1540" y="41"/>
                    <a:pt x="1540" y="41"/>
                    <a:pt x="1540" y="41"/>
                  </a:cubicBezTo>
                  <a:cubicBezTo>
                    <a:pt x="1538" y="42"/>
                    <a:pt x="1539" y="39"/>
                    <a:pt x="1536" y="40"/>
                  </a:cubicBezTo>
                  <a:cubicBezTo>
                    <a:pt x="1535" y="40"/>
                    <a:pt x="1535" y="40"/>
                    <a:pt x="1535" y="40"/>
                  </a:cubicBezTo>
                  <a:cubicBezTo>
                    <a:pt x="1535" y="40"/>
                    <a:pt x="1535" y="40"/>
                    <a:pt x="1535" y="40"/>
                  </a:cubicBezTo>
                  <a:cubicBezTo>
                    <a:pt x="1534" y="40"/>
                    <a:pt x="1534" y="40"/>
                    <a:pt x="1534" y="40"/>
                  </a:cubicBezTo>
                  <a:cubicBezTo>
                    <a:pt x="1534" y="40"/>
                    <a:pt x="1534" y="40"/>
                    <a:pt x="1534" y="40"/>
                  </a:cubicBezTo>
                  <a:cubicBezTo>
                    <a:pt x="1533" y="40"/>
                    <a:pt x="1533" y="40"/>
                    <a:pt x="1533" y="40"/>
                  </a:cubicBezTo>
                  <a:cubicBezTo>
                    <a:pt x="1533" y="40"/>
                    <a:pt x="1533" y="40"/>
                    <a:pt x="1533" y="40"/>
                  </a:cubicBezTo>
                  <a:cubicBezTo>
                    <a:pt x="1531" y="41"/>
                    <a:pt x="1531" y="41"/>
                    <a:pt x="1531" y="41"/>
                  </a:cubicBezTo>
                  <a:cubicBezTo>
                    <a:pt x="1531" y="41"/>
                    <a:pt x="1531" y="41"/>
                    <a:pt x="1531" y="41"/>
                  </a:cubicBezTo>
                  <a:cubicBezTo>
                    <a:pt x="1531" y="42"/>
                    <a:pt x="1531" y="42"/>
                    <a:pt x="1531" y="42"/>
                  </a:cubicBezTo>
                  <a:cubicBezTo>
                    <a:pt x="1532" y="43"/>
                    <a:pt x="1532" y="43"/>
                    <a:pt x="1532" y="43"/>
                  </a:cubicBezTo>
                  <a:cubicBezTo>
                    <a:pt x="1532" y="44"/>
                    <a:pt x="1532" y="44"/>
                    <a:pt x="1532" y="44"/>
                  </a:cubicBezTo>
                  <a:cubicBezTo>
                    <a:pt x="1532" y="44"/>
                    <a:pt x="1532" y="44"/>
                    <a:pt x="1532" y="44"/>
                  </a:cubicBezTo>
                  <a:cubicBezTo>
                    <a:pt x="1532" y="45"/>
                    <a:pt x="1532" y="45"/>
                    <a:pt x="1532" y="45"/>
                  </a:cubicBezTo>
                  <a:cubicBezTo>
                    <a:pt x="1532" y="45"/>
                    <a:pt x="1532" y="45"/>
                    <a:pt x="1532" y="45"/>
                  </a:cubicBezTo>
                  <a:cubicBezTo>
                    <a:pt x="1531" y="45"/>
                    <a:pt x="1531" y="45"/>
                    <a:pt x="1531" y="45"/>
                  </a:cubicBezTo>
                  <a:cubicBezTo>
                    <a:pt x="1531" y="46"/>
                    <a:pt x="1531" y="46"/>
                    <a:pt x="1531" y="46"/>
                  </a:cubicBezTo>
                  <a:cubicBezTo>
                    <a:pt x="1530" y="47"/>
                    <a:pt x="1530" y="48"/>
                    <a:pt x="1528" y="48"/>
                  </a:cubicBezTo>
                  <a:cubicBezTo>
                    <a:pt x="1528" y="48"/>
                    <a:pt x="1528" y="48"/>
                    <a:pt x="1528" y="48"/>
                  </a:cubicBezTo>
                  <a:cubicBezTo>
                    <a:pt x="1528" y="49"/>
                    <a:pt x="1528" y="49"/>
                    <a:pt x="1528" y="49"/>
                  </a:cubicBezTo>
                  <a:cubicBezTo>
                    <a:pt x="1527" y="49"/>
                    <a:pt x="1527" y="49"/>
                    <a:pt x="1527" y="49"/>
                  </a:cubicBezTo>
                  <a:cubicBezTo>
                    <a:pt x="1527" y="49"/>
                    <a:pt x="1527" y="49"/>
                    <a:pt x="1527" y="49"/>
                  </a:cubicBezTo>
                  <a:cubicBezTo>
                    <a:pt x="1526" y="49"/>
                    <a:pt x="1526" y="49"/>
                    <a:pt x="1526" y="49"/>
                  </a:cubicBezTo>
                  <a:cubicBezTo>
                    <a:pt x="1521" y="50"/>
                    <a:pt x="1523" y="47"/>
                    <a:pt x="1514" y="49"/>
                  </a:cubicBezTo>
                  <a:cubicBezTo>
                    <a:pt x="1514" y="49"/>
                    <a:pt x="1514" y="49"/>
                    <a:pt x="1514" y="49"/>
                  </a:cubicBezTo>
                  <a:cubicBezTo>
                    <a:pt x="1514" y="49"/>
                    <a:pt x="1514" y="49"/>
                    <a:pt x="1514" y="49"/>
                  </a:cubicBezTo>
                  <a:cubicBezTo>
                    <a:pt x="1514" y="49"/>
                    <a:pt x="1514" y="49"/>
                    <a:pt x="1514" y="49"/>
                  </a:cubicBezTo>
                  <a:cubicBezTo>
                    <a:pt x="1512" y="50"/>
                    <a:pt x="1511" y="49"/>
                    <a:pt x="1510" y="50"/>
                  </a:cubicBezTo>
                  <a:cubicBezTo>
                    <a:pt x="1510" y="51"/>
                    <a:pt x="1510" y="51"/>
                    <a:pt x="1510" y="51"/>
                  </a:cubicBezTo>
                  <a:cubicBezTo>
                    <a:pt x="1509" y="51"/>
                    <a:pt x="1509" y="51"/>
                    <a:pt x="1509" y="51"/>
                  </a:cubicBezTo>
                  <a:cubicBezTo>
                    <a:pt x="1507" y="50"/>
                    <a:pt x="1509" y="50"/>
                    <a:pt x="1505" y="50"/>
                  </a:cubicBezTo>
                  <a:cubicBezTo>
                    <a:pt x="1504" y="50"/>
                    <a:pt x="1504" y="50"/>
                    <a:pt x="1504" y="50"/>
                  </a:cubicBezTo>
                  <a:cubicBezTo>
                    <a:pt x="1504" y="50"/>
                    <a:pt x="1504" y="50"/>
                    <a:pt x="1504" y="50"/>
                  </a:cubicBezTo>
                  <a:cubicBezTo>
                    <a:pt x="1503" y="49"/>
                    <a:pt x="1503" y="49"/>
                    <a:pt x="1503" y="49"/>
                  </a:cubicBezTo>
                  <a:cubicBezTo>
                    <a:pt x="1503" y="49"/>
                    <a:pt x="1503" y="49"/>
                    <a:pt x="1503" y="49"/>
                  </a:cubicBezTo>
                  <a:cubicBezTo>
                    <a:pt x="1501" y="48"/>
                    <a:pt x="1501" y="48"/>
                    <a:pt x="1501" y="48"/>
                  </a:cubicBezTo>
                  <a:cubicBezTo>
                    <a:pt x="1522" y="33"/>
                    <a:pt x="1522" y="33"/>
                    <a:pt x="1522" y="33"/>
                  </a:cubicBezTo>
                  <a:cubicBezTo>
                    <a:pt x="1522" y="33"/>
                    <a:pt x="1522" y="33"/>
                    <a:pt x="1522" y="33"/>
                  </a:cubicBezTo>
                  <a:cubicBezTo>
                    <a:pt x="1522" y="33"/>
                    <a:pt x="1522" y="33"/>
                    <a:pt x="1522" y="33"/>
                  </a:cubicBezTo>
                  <a:cubicBezTo>
                    <a:pt x="1522" y="33"/>
                    <a:pt x="1522" y="33"/>
                    <a:pt x="1522" y="33"/>
                  </a:cubicBezTo>
                  <a:cubicBezTo>
                    <a:pt x="1522" y="32"/>
                    <a:pt x="1522" y="32"/>
                    <a:pt x="1522" y="32"/>
                  </a:cubicBezTo>
                  <a:cubicBezTo>
                    <a:pt x="1521" y="32"/>
                    <a:pt x="1521" y="32"/>
                    <a:pt x="1521" y="32"/>
                  </a:cubicBezTo>
                  <a:cubicBezTo>
                    <a:pt x="1521" y="32"/>
                    <a:pt x="1521" y="32"/>
                    <a:pt x="1521" y="32"/>
                  </a:cubicBezTo>
                  <a:cubicBezTo>
                    <a:pt x="1520" y="32"/>
                    <a:pt x="1520" y="32"/>
                    <a:pt x="1520" y="32"/>
                  </a:cubicBezTo>
                  <a:cubicBezTo>
                    <a:pt x="1520" y="32"/>
                    <a:pt x="1520" y="32"/>
                    <a:pt x="1520" y="32"/>
                  </a:cubicBezTo>
                  <a:cubicBezTo>
                    <a:pt x="1519" y="31"/>
                    <a:pt x="1519" y="31"/>
                    <a:pt x="1519" y="31"/>
                  </a:cubicBezTo>
                  <a:cubicBezTo>
                    <a:pt x="1518" y="29"/>
                    <a:pt x="1518" y="29"/>
                    <a:pt x="1515" y="29"/>
                  </a:cubicBezTo>
                  <a:cubicBezTo>
                    <a:pt x="1515" y="29"/>
                    <a:pt x="1515" y="29"/>
                    <a:pt x="1515" y="29"/>
                  </a:cubicBezTo>
                  <a:cubicBezTo>
                    <a:pt x="1514" y="29"/>
                    <a:pt x="1514" y="29"/>
                    <a:pt x="1514" y="29"/>
                  </a:cubicBezTo>
                  <a:cubicBezTo>
                    <a:pt x="1514" y="29"/>
                    <a:pt x="1514" y="29"/>
                    <a:pt x="1514" y="29"/>
                  </a:cubicBezTo>
                  <a:cubicBezTo>
                    <a:pt x="1514" y="29"/>
                    <a:pt x="1514" y="29"/>
                    <a:pt x="1514" y="29"/>
                  </a:cubicBezTo>
                  <a:cubicBezTo>
                    <a:pt x="1513" y="29"/>
                    <a:pt x="1512" y="28"/>
                    <a:pt x="1511" y="28"/>
                  </a:cubicBezTo>
                  <a:cubicBezTo>
                    <a:pt x="1511" y="28"/>
                    <a:pt x="1511" y="28"/>
                    <a:pt x="1511" y="28"/>
                  </a:cubicBezTo>
                  <a:cubicBezTo>
                    <a:pt x="1510" y="28"/>
                    <a:pt x="1510" y="28"/>
                    <a:pt x="1510" y="28"/>
                  </a:cubicBezTo>
                  <a:cubicBezTo>
                    <a:pt x="1508" y="28"/>
                    <a:pt x="1509" y="28"/>
                    <a:pt x="1508" y="28"/>
                  </a:cubicBezTo>
                  <a:cubicBezTo>
                    <a:pt x="1507" y="28"/>
                    <a:pt x="1507" y="28"/>
                    <a:pt x="1507" y="28"/>
                  </a:cubicBezTo>
                  <a:cubicBezTo>
                    <a:pt x="1506" y="28"/>
                    <a:pt x="1506" y="28"/>
                    <a:pt x="1506" y="28"/>
                  </a:cubicBezTo>
                  <a:cubicBezTo>
                    <a:pt x="1506" y="29"/>
                    <a:pt x="1506" y="29"/>
                    <a:pt x="1506" y="29"/>
                  </a:cubicBezTo>
                  <a:cubicBezTo>
                    <a:pt x="1507" y="29"/>
                    <a:pt x="1507" y="29"/>
                    <a:pt x="1507" y="29"/>
                  </a:cubicBezTo>
                  <a:cubicBezTo>
                    <a:pt x="1508" y="29"/>
                    <a:pt x="1508" y="29"/>
                    <a:pt x="1508" y="29"/>
                  </a:cubicBezTo>
                  <a:cubicBezTo>
                    <a:pt x="1508" y="29"/>
                    <a:pt x="1508" y="29"/>
                    <a:pt x="1508" y="29"/>
                  </a:cubicBezTo>
                  <a:cubicBezTo>
                    <a:pt x="1508" y="30"/>
                    <a:pt x="1508" y="30"/>
                    <a:pt x="1508" y="30"/>
                  </a:cubicBezTo>
                  <a:cubicBezTo>
                    <a:pt x="1508" y="30"/>
                    <a:pt x="1508" y="30"/>
                    <a:pt x="1508" y="30"/>
                  </a:cubicBezTo>
                  <a:cubicBezTo>
                    <a:pt x="1508" y="30"/>
                    <a:pt x="1508" y="30"/>
                    <a:pt x="1508" y="30"/>
                  </a:cubicBezTo>
                  <a:cubicBezTo>
                    <a:pt x="1508" y="30"/>
                    <a:pt x="1508" y="30"/>
                    <a:pt x="1508" y="30"/>
                  </a:cubicBezTo>
                  <a:cubicBezTo>
                    <a:pt x="1508" y="30"/>
                    <a:pt x="1508" y="30"/>
                    <a:pt x="1508" y="30"/>
                  </a:cubicBezTo>
                  <a:cubicBezTo>
                    <a:pt x="1507" y="30"/>
                    <a:pt x="1507" y="30"/>
                    <a:pt x="1507" y="30"/>
                  </a:cubicBezTo>
                  <a:cubicBezTo>
                    <a:pt x="1506" y="30"/>
                    <a:pt x="1506" y="30"/>
                    <a:pt x="1506" y="30"/>
                  </a:cubicBezTo>
                  <a:cubicBezTo>
                    <a:pt x="1505" y="29"/>
                    <a:pt x="1503" y="28"/>
                    <a:pt x="1501" y="28"/>
                  </a:cubicBezTo>
                  <a:cubicBezTo>
                    <a:pt x="1500" y="28"/>
                    <a:pt x="1500" y="28"/>
                    <a:pt x="1500" y="28"/>
                  </a:cubicBezTo>
                  <a:cubicBezTo>
                    <a:pt x="1500" y="28"/>
                    <a:pt x="1500" y="28"/>
                    <a:pt x="1500" y="28"/>
                  </a:cubicBezTo>
                  <a:cubicBezTo>
                    <a:pt x="1499" y="27"/>
                    <a:pt x="1499" y="27"/>
                    <a:pt x="1499" y="27"/>
                  </a:cubicBezTo>
                  <a:cubicBezTo>
                    <a:pt x="1498" y="27"/>
                    <a:pt x="1498" y="27"/>
                    <a:pt x="1498" y="27"/>
                  </a:cubicBezTo>
                  <a:cubicBezTo>
                    <a:pt x="1498" y="27"/>
                    <a:pt x="1498" y="27"/>
                    <a:pt x="1498" y="27"/>
                  </a:cubicBezTo>
                  <a:cubicBezTo>
                    <a:pt x="1497" y="27"/>
                    <a:pt x="1497" y="27"/>
                    <a:pt x="1497" y="27"/>
                  </a:cubicBezTo>
                  <a:cubicBezTo>
                    <a:pt x="1497" y="27"/>
                    <a:pt x="1497" y="27"/>
                    <a:pt x="1497" y="27"/>
                  </a:cubicBezTo>
                  <a:cubicBezTo>
                    <a:pt x="1496" y="28"/>
                    <a:pt x="1496" y="28"/>
                    <a:pt x="1496" y="28"/>
                  </a:cubicBezTo>
                  <a:cubicBezTo>
                    <a:pt x="1496" y="28"/>
                    <a:pt x="1496" y="28"/>
                    <a:pt x="1496" y="28"/>
                  </a:cubicBezTo>
                  <a:cubicBezTo>
                    <a:pt x="1496" y="28"/>
                    <a:pt x="1496" y="28"/>
                    <a:pt x="1496" y="28"/>
                  </a:cubicBezTo>
                  <a:cubicBezTo>
                    <a:pt x="1495" y="28"/>
                    <a:pt x="1495" y="28"/>
                    <a:pt x="1495" y="28"/>
                  </a:cubicBezTo>
                  <a:cubicBezTo>
                    <a:pt x="1494" y="29"/>
                    <a:pt x="1493" y="29"/>
                    <a:pt x="1492" y="30"/>
                  </a:cubicBezTo>
                  <a:cubicBezTo>
                    <a:pt x="1492" y="30"/>
                    <a:pt x="1492" y="30"/>
                    <a:pt x="1492" y="30"/>
                  </a:cubicBezTo>
                  <a:cubicBezTo>
                    <a:pt x="1492" y="30"/>
                    <a:pt x="1492" y="30"/>
                    <a:pt x="1492" y="30"/>
                  </a:cubicBezTo>
                  <a:cubicBezTo>
                    <a:pt x="1492" y="30"/>
                    <a:pt x="1492" y="30"/>
                    <a:pt x="1492" y="30"/>
                  </a:cubicBezTo>
                  <a:cubicBezTo>
                    <a:pt x="1491" y="30"/>
                    <a:pt x="1491" y="30"/>
                    <a:pt x="1491" y="30"/>
                  </a:cubicBezTo>
                  <a:cubicBezTo>
                    <a:pt x="1490" y="30"/>
                    <a:pt x="1490" y="30"/>
                    <a:pt x="1490" y="30"/>
                  </a:cubicBezTo>
                  <a:cubicBezTo>
                    <a:pt x="1489" y="30"/>
                    <a:pt x="1489" y="30"/>
                    <a:pt x="1487" y="31"/>
                  </a:cubicBezTo>
                  <a:cubicBezTo>
                    <a:pt x="1486" y="31"/>
                    <a:pt x="1486" y="31"/>
                    <a:pt x="1486" y="31"/>
                  </a:cubicBezTo>
                  <a:cubicBezTo>
                    <a:pt x="1484" y="30"/>
                    <a:pt x="1484" y="30"/>
                    <a:pt x="1484" y="30"/>
                  </a:cubicBezTo>
                  <a:cubicBezTo>
                    <a:pt x="1483" y="30"/>
                    <a:pt x="1483" y="30"/>
                    <a:pt x="1483" y="30"/>
                  </a:cubicBezTo>
                  <a:cubicBezTo>
                    <a:pt x="1482" y="30"/>
                    <a:pt x="1482" y="30"/>
                    <a:pt x="1482" y="30"/>
                  </a:cubicBezTo>
                  <a:cubicBezTo>
                    <a:pt x="1482" y="30"/>
                    <a:pt x="1482" y="30"/>
                    <a:pt x="1482" y="30"/>
                  </a:cubicBezTo>
                  <a:cubicBezTo>
                    <a:pt x="1482" y="30"/>
                    <a:pt x="1482" y="30"/>
                    <a:pt x="1482" y="30"/>
                  </a:cubicBezTo>
                  <a:cubicBezTo>
                    <a:pt x="1482" y="30"/>
                    <a:pt x="1482" y="30"/>
                    <a:pt x="1482" y="30"/>
                  </a:cubicBezTo>
                  <a:cubicBezTo>
                    <a:pt x="1482" y="29"/>
                    <a:pt x="1482" y="29"/>
                    <a:pt x="1482" y="29"/>
                  </a:cubicBezTo>
                  <a:cubicBezTo>
                    <a:pt x="1482" y="29"/>
                    <a:pt x="1482" y="29"/>
                    <a:pt x="1482" y="29"/>
                  </a:cubicBezTo>
                  <a:cubicBezTo>
                    <a:pt x="1482" y="29"/>
                    <a:pt x="1482" y="29"/>
                    <a:pt x="1482" y="29"/>
                  </a:cubicBezTo>
                  <a:cubicBezTo>
                    <a:pt x="1483" y="28"/>
                    <a:pt x="1484" y="28"/>
                    <a:pt x="1485" y="29"/>
                  </a:cubicBezTo>
                  <a:cubicBezTo>
                    <a:pt x="1486" y="29"/>
                    <a:pt x="1486" y="29"/>
                    <a:pt x="1486" y="29"/>
                  </a:cubicBezTo>
                  <a:cubicBezTo>
                    <a:pt x="1487" y="29"/>
                    <a:pt x="1487" y="29"/>
                    <a:pt x="1487" y="29"/>
                  </a:cubicBezTo>
                  <a:cubicBezTo>
                    <a:pt x="1489" y="29"/>
                    <a:pt x="1487" y="27"/>
                    <a:pt x="1489" y="27"/>
                  </a:cubicBezTo>
                  <a:cubicBezTo>
                    <a:pt x="1490" y="27"/>
                    <a:pt x="1490" y="27"/>
                    <a:pt x="1490" y="27"/>
                  </a:cubicBezTo>
                  <a:cubicBezTo>
                    <a:pt x="1490" y="26"/>
                    <a:pt x="1490" y="26"/>
                    <a:pt x="1490" y="26"/>
                  </a:cubicBezTo>
                  <a:cubicBezTo>
                    <a:pt x="1491" y="25"/>
                    <a:pt x="1491" y="25"/>
                    <a:pt x="1491" y="25"/>
                  </a:cubicBezTo>
                  <a:cubicBezTo>
                    <a:pt x="1491" y="24"/>
                    <a:pt x="1491" y="24"/>
                    <a:pt x="1491" y="24"/>
                  </a:cubicBezTo>
                  <a:cubicBezTo>
                    <a:pt x="1491" y="24"/>
                    <a:pt x="1491" y="24"/>
                    <a:pt x="1491" y="24"/>
                  </a:cubicBezTo>
                  <a:cubicBezTo>
                    <a:pt x="1491" y="24"/>
                    <a:pt x="1491" y="24"/>
                    <a:pt x="1491" y="24"/>
                  </a:cubicBezTo>
                  <a:cubicBezTo>
                    <a:pt x="1491" y="25"/>
                    <a:pt x="1491" y="25"/>
                    <a:pt x="1491" y="25"/>
                  </a:cubicBezTo>
                  <a:cubicBezTo>
                    <a:pt x="1490" y="25"/>
                    <a:pt x="1490" y="25"/>
                    <a:pt x="1490" y="25"/>
                  </a:cubicBezTo>
                  <a:cubicBezTo>
                    <a:pt x="1489" y="26"/>
                    <a:pt x="1487" y="25"/>
                    <a:pt x="1485" y="25"/>
                  </a:cubicBezTo>
                  <a:cubicBezTo>
                    <a:pt x="1485" y="25"/>
                    <a:pt x="1485" y="25"/>
                    <a:pt x="1485" y="25"/>
                  </a:cubicBezTo>
                  <a:cubicBezTo>
                    <a:pt x="1484" y="26"/>
                    <a:pt x="1484" y="26"/>
                    <a:pt x="1484" y="26"/>
                  </a:cubicBezTo>
                  <a:cubicBezTo>
                    <a:pt x="1482" y="26"/>
                    <a:pt x="1480" y="27"/>
                    <a:pt x="1478" y="26"/>
                  </a:cubicBezTo>
                  <a:cubicBezTo>
                    <a:pt x="1478" y="26"/>
                    <a:pt x="1478" y="26"/>
                    <a:pt x="1478" y="26"/>
                  </a:cubicBezTo>
                  <a:cubicBezTo>
                    <a:pt x="1477" y="26"/>
                    <a:pt x="1477" y="26"/>
                    <a:pt x="1477" y="26"/>
                  </a:cubicBezTo>
                  <a:cubicBezTo>
                    <a:pt x="1477" y="25"/>
                    <a:pt x="1477" y="25"/>
                    <a:pt x="1477" y="25"/>
                  </a:cubicBezTo>
                  <a:cubicBezTo>
                    <a:pt x="1476" y="26"/>
                    <a:pt x="1476" y="26"/>
                    <a:pt x="1476" y="26"/>
                  </a:cubicBezTo>
                  <a:cubicBezTo>
                    <a:pt x="1476" y="26"/>
                    <a:pt x="1476" y="26"/>
                    <a:pt x="1476" y="26"/>
                  </a:cubicBezTo>
                  <a:cubicBezTo>
                    <a:pt x="1476" y="26"/>
                    <a:pt x="1476" y="26"/>
                    <a:pt x="1476" y="26"/>
                  </a:cubicBezTo>
                  <a:cubicBezTo>
                    <a:pt x="1476" y="26"/>
                    <a:pt x="1476" y="26"/>
                    <a:pt x="1476" y="26"/>
                  </a:cubicBezTo>
                  <a:cubicBezTo>
                    <a:pt x="1476" y="26"/>
                    <a:pt x="1476" y="26"/>
                    <a:pt x="1476" y="26"/>
                  </a:cubicBezTo>
                  <a:cubicBezTo>
                    <a:pt x="1475" y="26"/>
                    <a:pt x="1475" y="26"/>
                    <a:pt x="1475" y="26"/>
                  </a:cubicBezTo>
                  <a:cubicBezTo>
                    <a:pt x="1475" y="26"/>
                    <a:pt x="1475" y="26"/>
                    <a:pt x="1475" y="26"/>
                  </a:cubicBezTo>
                  <a:cubicBezTo>
                    <a:pt x="1474" y="26"/>
                    <a:pt x="1474" y="26"/>
                    <a:pt x="1474" y="26"/>
                  </a:cubicBezTo>
                  <a:cubicBezTo>
                    <a:pt x="1474" y="26"/>
                    <a:pt x="1474" y="26"/>
                    <a:pt x="1474" y="26"/>
                  </a:cubicBezTo>
                  <a:cubicBezTo>
                    <a:pt x="1474" y="26"/>
                    <a:pt x="1474" y="26"/>
                    <a:pt x="1474" y="26"/>
                  </a:cubicBezTo>
                  <a:cubicBezTo>
                    <a:pt x="1473" y="26"/>
                    <a:pt x="1473" y="26"/>
                    <a:pt x="1473" y="26"/>
                  </a:cubicBezTo>
                  <a:cubicBezTo>
                    <a:pt x="1473" y="26"/>
                    <a:pt x="1473" y="26"/>
                    <a:pt x="1473" y="26"/>
                  </a:cubicBezTo>
                  <a:cubicBezTo>
                    <a:pt x="1472" y="26"/>
                    <a:pt x="1472" y="26"/>
                    <a:pt x="1472" y="26"/>
                  </a:cubicBezTo>
                  <a:cubicBezTo>
                    <a:pt x="1470" y="25"/>
                    <a:pt x="1470" y="25"/>
                    <a:pt x="1470" y="25"/>
                  </a:cubicBezTo>
                  <a:cubicBezTo>
                    <a:pt x="1469" y="25"/>
                    <a:pt x="1469" y="25"/>
                    <a:pt x="1469" y="25"/>
                  </a:cubicBezTo>
                  <a:cubicBezTo>
                    <a:pt x="1468" y="25"/>
                    <a:pt x="1468" y="25"/>
                    <a:pt x="1468" y="25"/>
                  </a:cubicBezTo>
                  <a:cubicBezTo>
                    <a:pt x="1468" y="25"/>
                    <a:pt x="1468" y="25"/>
                    <a:pt x="1468" y="25"/>
                  </a:cubicBezTo>
                  <a:cubicBezTo>
                    <a:pt x="1468" y="25"/>
                    <a:pt x="1468" y="25"/>
                    <a:pt x="1468" y="25"/>
                  </a:cubicBezTo>
                  <a:cubicBezTo>
                    <a:pt x="1468" y="25"/>
                    <a:pt x="1468" y="25"/>
                    <a:pt x="1468" y="25"/>
                  </a:cubicBezTo>
                  <a:cubicBezTo>
                    <a:pt x="1467" y="26"/>
                    <a:pt x="1467" y="26"/>
                    <a:pt x="1467" y="26"/>
                  </a:cubicBezTo>
                  <a:cubicBezTo>
                    <a:pt x="1466" y="26"/>
                    <a:pt x="1466" y="26"/>
                    <a:pt x="1466" y="26"/>
                  </a:cubicBezTo>
                  <a:cubicBezTo>
                    <a:pt x="1466" y="26"/>
                    <a:pt x="1466" y="26"/>
                    <a:pt x="1466" y="26"/>
                  </a:cubicBezTo>
                  <a:cubicBezTo>
                    <a:pt x="1465" y="26"/>
                    <a:pt x="1465" y="26"/>
                    <a:pt x="1465" y="26"/>
                  </a:cubicBezTo>
                  <a:cubicBezTo>
                    <a:pt x="1464" y="26"/>
                    <a:pt x="1464" y="26"/>
                    <a:pt x="1464" y="26"/>
                  </a:cubicBezTo>
                  <a:cubicBezTo>
                    <a:pt x="1462" y="26"/>
                    <a:pt x="1462" y="26"/>
                    <a:pt x="1462" y="26"/>
                  </a:cubicBezTo>
                  <a:cubicBezTo>
                    <a:pt x="1459" y="26"/>
                    <a:pt x="1459" y="26"/>
                    <a:pt x="1459" y="26"/>
                  </a:cubicBezTo>
                  <a:cubicBezTo>
                    <a:pt x="1457" y="26"/>
                    <a:pt x="1457" y="26"/>
                    <a:pt x="1457" y="26"/>
                  </a:cubicBezTo>
                  <a:cubicBezTo>
                    <a:pt x="1457" y="26"/>
                    <a:pt x="1457" y="26"/>
                    <a:pt x="1457" y="26"/>
                  </a:cubicBezTo>
                  <a:cubicBezTo>
                    <a:pt x="1457" y="26"/>
                    <a:pt x="1457" y="26"/>
                    <a:pt x="1457" y="26"/>
                  </a:cubicBezTo>
                  <a:cubicBezTo>
                    <a:pt x="1457" y="26"/>
                    <a:pt x="1457" y="26"/>
                    <a:pt x="1457" y="26"/>
                  </a:cubicBezTo>
                  <a:cubicBezTo>
                    <a:pt x="1457" y="25"/>
                    <a:pt x="1457" y="25"/>
                    <a:pt x="1457" y="25"/>
                  </a:cubicBezTo>
                  <a:cubicBezTo>
                    <a:pt x="1458" y="25"/>
                    <a:pt x="1458" y="25"/>
                    <a:pt x="1458" y="25"/>
                  </a:cubicBezTo>
                  <a:cubicBezTo>
                    <a:pt x="1459" y="25"/>
                    <a:pt x="1460" y="25"/>
                    <a:pt x="1461" y="24"/>
                  </a:cubicBezTo>
                  <a:cubicBezTo>
                    <a:pt x="1462" y="24"/>
                    <a:pt x="1462" y="24"/>
                    <a:pt x="1462" y="24"/>
                  </a:cubicBezTo>
                  <a:cubicBezTo>
                    <a:pt x="1462" y="25"/>
                    <a:pt x="1462" y="25"/>
                    <a:pt x="1462" y="25"/>
                  </a:cubicBezTo>
                  <a:cubicBezTo>
                    <a:pt x="1465" y="25"/>
                    <a:pt x="1464" y="24"/>
                    <a:pt x="1466" y="23"/>
                  </a:cubicBezTo>
                  <a:cubicBezTo>
                    <a:pt x="1466" y="23"/>
                    <a:pt x="1466" y="23"/>
                    <a:pt x="1466" y="23"/>
                  </a:cubicBezTo>
                  <a:cubicBezTo>
                    <a:pt x="1467" y="23"/>
                    <a:pt x="1467" y="23"/>
                    <a:pt x="1467" y="23"/>
                  </a:cubicBezTo>
                  <a:cubicBezTo>
                    <a:pt x="1467" y="23"/>
                    <a:pt x="1467" y="23"/>
                    <a:pt x="1467" y="23"/>
                  </a:cubicBezTo>
                  <a:cubicBezTo>
                    <a:pt x="1468" y="23"/>
                    <a:pt x="1468" y="23"/>
                    <a:pt x="1468" y="23"/>
                  </a:cubicBezTo>
                  <a:cubicBezTo>
                    <a:pt x="1469" y="22"/>
                    <a:pt x="1470" y="23"/>
                    <a:pt x="1472" y="23"/>
                  </a:cubicBezTo>
                  <a:cubicBezTo>
                    <a:pt x="1472" y="23"/>
                    <a:pt x="1472" y="23"/>
                    <a:pt x="1472" y="23"/>
                  </a:cubicBezTo>
                  <a:cubicBezTo>
                    <a:pt x="1473" y="23"/>
                    <a:pt x="1473" y="23"/>
                    <a:pt x="1473" y="23"/>
                  </a:cubicBezTo>
                  <a:cubicBezTo>
                    <a:pt x="1474" y="22"/>
                    <a:pt x="1475" y="22"/>
                    <a:pt x="1476" y="22"/>
                  </a:cubicBezTo>
                  <a:cubicBezTo>
                    <a:pt x="1476" y="22"/>
                    <a:pt x="1476" y="22"/>
                    <a:pt x="1476" y="22"/>
                  </a:cubicBezTo>
                  <a:cubicBezTo>
                    <a:pt x="1476" y="22"/>
                    <a:pt x="1476" y="22"/>
                    <a:pt x="1476" y="22"/>
                  </a:cubicBezTo>
                  <a:cubicBezTo>
                    <a:pt x="1477" y="22"/>
                    <a:pt x="1477" y="22"/>
                    <a:pt x="1477" y="22"/>
                  </a:cubicBezTo>
                  <a:cubicBezTo>
                    <a:pt x="1477" y="22"/>
                    <a:pt x="1477" y="22"/>
                    <a:pt x="1477" y="22"/>
                  </a:cubicBezTo>
                  <a:cubicBezTo>
                    <a:pt x="1477" y="22"/>
                    <a:pt x="1477" y="22"/>
                    <a:pt x="1477" y="22"/>
                  </a:cubicBezTo>
                  <a:cubicBezTo>
                    <a:pt x="1478" y="22"/>
                    <a:pt x="1478" y="22"/>
                    <a:pt x="1478" y="22"/>
                  </a:cubicBezTo>
                  <a:cubicBezTo>
                    <a:pt x="1480" y="21"/>
                    <a:pt x="1479" y="20"/>
                    <a:pt x="1481" y="20"/>
                  </a:cubicBezTo>
                  <a:cubicBezTo>
                    <a:pt x="1481" y="20"/>
                    <a:pt x="1481" y="20"/>
                    <a:pt x="1481" y="20"/>
                  </a:cubicBezTo>
                  <a:cubicBezTo>
                    <a:pt x="1482" y="20"/>
                    <a:pt x="1482" y="20"/>
                    <a:pt x="1482" y="20"/>
                  </a:cubicBezTo>
                  <a:cubicBezTo>
                    <a:pt x="1483" y="18"/>
                    <a:pt x="1484" y="18"/>
                    <a:pt x="1486" y="18"/>
                  </a:cubicBezTo>
                  <a:cubicBezTo>
                    <a:pt x="1486" y="17"/>
                    <a:pt x="1486" y="17"/>
                    <a:pt x="1486" y="17"/>
                  </a:cubicBezTo>
                  <a:cubicBezTo>
                    <a:pt x="1486" y="17"/>
                    <a:pt x="1486" y="17"/>
                    <a:pt x="1486" y="17"/>
                  </a:cubicBezTo>
                  <a:cubicBezTo>
                    <a:pt x="1487" y="17"/>
                    <a:pt x="1487" y="17"/>
                    <a:pt x="1487" y="17"/>
                  </a:cubicBezTo>
                  <a:cubicBezTo>
                    <a:pt x="1487" y="17"/>
                    <a:pt x="1487" y="17"/>
                    <a:pt x="1487" y="17"/>
                  </a:cubicBezTo>
                  <a:cubicBezTo>
                    <a:pt x="1489" y="15"/>
                    <a:pt x="1488" y="15"/>
                    <a:pt x="1491" y="15"/>
                  </a:cubicBezTo>
                  <a:cubicBezTo>
                    <a:pt x="1492" y="15"/>
                    <a:pt x="1492" y="15"/>
                    <a:pt x="1492" y="15"/>
                  </a:cubicBezTo>
                  <a:cubicBezTo>
                    <a:pt x="1492" y="15"/>
                    <a:pt x="1492" y="15"/>
                    <a:pt x="1492" y="15"/>
                  </a:cubicBezTo>
                  <a:cubicBezTo>
                    <a:pt x="1494" y="15"/>
                    <a:pt x="1494" y="15"/>
                    <a:pt x="1495" y="15"/>
                  </a:cubicBezTo>
                  <a:cubicBezTo>
                    <a:pt x="1495" y="15"/>
                    <a:pt x="1495" y="15"/>
                    <a:pt x="1495" y="15"/>
                  </a:cubicBezTo>
                  <a:cubicBezTo>
                    <a:pt x="1496" y="15"/>
                    <a:pt x="1496" y="15"/>
                    <a:pt x="1496" y="15"/>
                  </a:cubicBezTo>
                  <a:cubicBezTo>
                    <a:pt x="1496" y="15"/>
                    <a:pt x="1496" y="15"/>
                    <a:pt x="1496" y="15"/>
                  </a:cubicBezTo>
                  <a:cubicBezTo>
                    <a:pt x="1499" y="15"/>
                    <a:pt x="1499" y="15"/>
                    <a:pt x="1499" y="15"/>
                  </a:cubicBezTo>
                  <a:cubicBezTo>
                    <a:pt x="1491" y="7"/>
                    <a:pt x="1491" y="7"/>
                    <a:pt x="1491" y="7"/>
                  </a:cubicBezTo>
                  <a:cubicBezTo>
                    <a:pt x="1469" y="1"/>
                    <a:pt x="1469" y="1"/>
                    <a:pt x="1469" y="1"/>
                  </a:cubicBezTo>
                  <a:cubicBezTo>
                    <a:pt x="1466" y="1"/>
                    <a:pt x="1466" y="1"/>
                    <a:pt x="1466" y="1"/>
                  </a:cubicBezTo>
                  <a:cubicBezTo>
                    <a:pt x="1462" y="1"/>
                    <a:pt x="1462" y="1"/>
                    <a:pt x="1462" y="1"/>
                  </a:cubicBezTo>
                  <a:cubicBezTo>
                    <a:pt x="1459" y="0"/>
                    <a:pt x="1458" y="0"/>
                    <a:pt x="1455" y="0"/>
                  </a:cubicBezTo>
                  <a:cubicBezTo>
                    <a:pt x="1455" y="0"/>
                    <a:pt x="1455" y="0"/>
                    <a:pt x="1455" y="0"/>
                  </a:cubicBezTo>
                  <a:cubicBezTo>
                    <a:pt x="1454" y="0"/>
                    <a:pt x="1454" y="0"/>
                    <a:pt x="1454" y="0"/>
                  </a:cubicBezTo>
                  <a:cubicBezTo>
                    <a:pt x="1454" y="1"/>
                    <a:pt x="1453" y="1"/>
                    <a:pt x="1452" y="1"/>
                  </a:cubicBezTo>
                  <a:cubicBezTo>
                    <a:pt x="1452" y="1"/>
                    <a:pt x="1452" y="1"/>
                    <a:pt x="1452" y="1"/>
                  </a:cubicBezTo>
                  <a:cubicBezTo>
                    <a:pt x="1451" y="1"/>
                    <a:pt x="1451" y="1"/>
                    <a:pt x="1451" y="1"/>
                  </a:cubicBezTo>
                  <a:cubicBezTo>
                    <a:pt x="1451" y="2"/>
                    <a:pt x="1451" y="2"/>
                    <a:pt x="1451" y="2"/>
                  </a:cubicBezTo>
                  <a:cubicBezTo>
                    <a:pt x="1451" y="2"/>
                    <a:pt x="1451" y="2"/>
                    <a:pt x="1451" y="2"/>
                  </a:cubicBezTo>
                  <a:cubicBezTo>
                    <a:pt x="1450" y="2"/>
                    <a:pt x="1450" y="2"/>
                    <a:pt x="1450" y="2"/>
                  </a:cubicBezTo>
                  <a:cubicBezTo>
                    <a:pt x="1449" y="3"/>
                    <a:pt x="1449" y="3"/>
                    <a:pt x="1449" y="3"/>
                  </a:cubicBezTo>
                  <a:cubicBezTo>
                    <a:pt x="1446" y="3"/>
                    <a:pt x="1446" y="3"/>
                    <a:pt x="1446" y="3"/>
                  </a:cubicBezTo>
                  <a:cubicBezTo>
                    <a:pt x="1439" y="4"/>
                    <a:pt x="1439" y="4"/>
                    <a:pt x="1439" y="4"/>
                  </a:cubicBezTo>
                  <a:cubicBezTo>
                    <a:pt x="1436" y="5"/>
                    <a:pt x="1436" y="5"/>
                    <a:pt x="1436" y="5"/>
                  </a:cubicBezTo>
                  <a:cubicBezTo>
                    <a:pt x="1433" y="6"/>
                    <a:pt x="1433" y="6"/>
                    <a:pt x="1433" y="6"/>
                  </a:cubicBezTo>
                  <a:cubicBezTo>
                    <a:pt x="1432" y="7"/>
                    <a:pt x="1432" y="7"/>
                    <a:pt x="1432" y="7"/>
                  </a:cubicBezTo>
                  <a:cubicBezTo>
                    <a:pt x="1430" y="7"/>
                    <a:pt x="1430" y="7"/>
                    <a:pt x="1430" y="7"/>
                  </a:cubicBezTo>
                  <a:cubicBezTo>
                    <a:pt x="1427" y="9"/>
                    <a:pt x="1427" y="9"/>
                    <a:pt x="1427" y="9"/>
                  </a:cubicBezTo>
                  <a:cubicBezTo>
                    <a:pt x="1424" y="10"/>
                    <a:pt x="1424" y="10"/>
                    <a:pt x="1424" y="10"/>
                  </a:cubicBezTo>
                  <a:cubicBezTo>
                    <a:pt x="1422" y="11"/>
                    <a:pt x="1422" y="11"/>
                    <a:pt x="1422" y="11"/>
                  </a:cubicBezTo>
                  <a:cubicBezTo>
                    <a:pt x="1417" y="13"/>
                    <a:pt x="1417" y="13"/>
                    <a:pt x="1417" y="13"/>
                  </a:cubicBezTo>
                  <a:cubicBezTo>
                    <a:pt x="1415" y="14"/>
                    <a:pt x="1415" y="14"/>
                    <a:pt x="1415" y="14"/>
                  </a:cubicBezTo>
                  <a:cubicBezTo>
                    <a:pt x="1414" y="15"/>
                    <a:pt x="1414" y="15"/>
                    <a:pt x="1414" y="15"/>
                  </a:cubicBezTo>
                  <a:cubicBezTo>
                    <a:pt x="1414" y="15"/>
                    <a:pt x="1414" y="15"/>
                    <a:pt x="1414" y="15"/>
                  </a:cubicBezTo>
                  <a:cubicBezTo>
                    <a:pt x="1414" y="15"/>
                    <a:pt x="1414" y="15"/>
                    <a:pt x="1414" y="15"/>
                  </a:cubicBezTo>
                  <a:cubicBezTo>
                    <a:pt x="1414" y="16"/>
                    <a:pt x="1414" y="16"/>
                    <a:pt x="1414" y="16"/>
                  </a:cubicBezTo>
                  <a:cubicBezTo>
                    <a:pt x="1414" y="16"/>
                    <a:pt x="1414" y="16"/>
                    <a:pt x="1414" y="16"/>
                  </a:cubicBezTo>
                  <a:cubicBezTo>
                    <a:pt x="1414" y="16"/>
                    <a:pt x="1414" y="16"/>
                    <a:pt x="1414" y="16"/>
                  </a:cubicBezTo>
                  <a:cubicBezTo>
                    <a:pt x="1414" y="16"/>
                    <a:pt x="1414" y="16"/>
                    <a:pt x="1414" y="16"/>
                  </a:cubicBezTo>
                  <a:cubicBezTo>
                    <a:pt x="1415" y="16"/>
                    <a:pt x="1415" y="16"/>
                    <a:pt x="1415" y="16"/>
                  </a:cubicBezTo>
                  <a:cubicBezTo>
                    <a:pt x="1417" y="16"/>
                    <a:pt x="1417" y="16"/>
                    <a:pt x="1417" y="16"/>
                  </a:cubicBezTo>
                  <a:cubicBezTo>
                    <a:pt x="1418" y="16"/>
                    <a:pt x="1418" y="16"/>
                    <a:pt x="1418" y="16"/>
                  </a:cubicBezTo>
                  <a:cubicBezTo>
                    <a:pt x="1418" y="16"/>
                    <a:pt x="1418" y="16"/>
                    <a:pt x="1418" y="16"/>
                  </a:cubicBezTo>
                  <a:cubicBezTo>
                    <a:pt x="1418" y="17"/>
                    <a:pt x="1418" y="17"/>
                    <a:pt x="1418" y="17"/>
                  </a:cubicBezTo>
                  <a:cubicBezTo>
                    <a:pt x="1418" y="17"/>
                    <a:pt x="1418" y="17"/>
                    <a:pt x="1418" y="17"/>
                  </a:cubicBezTo>
                  <a:cubicBezTo>
                    <a:pt x="1415" y="19"/>
                    <a:pt x="1412" y="19"/>
                    <a:pt x="1409" y="23"/>
                  </a:cubicBezTo>
                  <a:cubicBezTo>
                    <a:pt x="1408" y="23"/>
                    <a:pt x="1408" y="23"/>
                    <a:pt x="1408" y="23"/>
                  </a:cubicBezTo>
                  <a:cubicBezTo>
                    <a:pt x="1408" y="23"/>
                    <a:pt x="1408" y="23"/>
                    <a:pt x="1408" y="23"/>
                  </a:cubicBezTo>
                  <a:cubicBezTo>
                    <a:pt x="1408" y="24"/>
                    <a:pt x="1408" y="24"/>
                    <a:pt x="1408" y="24"/>
                  </a:cubicBezTo>
                  <a:cubicBezTo>
                    <a:pt x="1407" y="24"/>
                    <a:pt x="1406" y="24"/>
                    <a:pt x="1405" y="25"/>
                  </a:cubicBezTo>
                  <a:cubicBezTo>
                    <a:pt x="1405" y="25"/>
                    <a:pt x="1405" y="25"/>
                    <a:pt x="1405" y="25"/>
                  </a:cubicBezTo>
                  <a:cubicBezTo>
                    <a:pt x="1405" y="25"/>
                    <a:pt x="1405" y="25"/>
                    <a:pt x="1405" y="25"/>
                  </a:cubicBezTo>
                  <a:cubicBezTo>
                    <a:pt x="1404" y="25"/>
                    <a:pt x="1404" y="26"/>
                    <a:pt x="1403" y="27"/>
                  </a:cubicBezTo>
                  <a:cubicBezTo>
                    <a:pt x="1403" y="27"/>
                    <a:pt x="1403" y="27"/>
                    <a:pt x="1403" y="27"/>
                  </a:cubicBezTo>
                  <a:cubicBezTo>
                    <a:pt x="1403" y="27"/>
                    <a:pt x="1403" y="27"/>
                    <a:pt x="1403" y="27"/>
                  </a:cubicBezTo>
                  <a:cubicBezTo>
                    <a:pt x="1404" y="27"/>
                    <a:pt x="1404" y="27"/>
                    <a:pt x="1404" y="27"/>
                  </a:cubicBezTo>
                  <a:cubicBezTo>
                    <a:pt x="1403" y="28"/>
                    <a:pt x="1403" y="28"/>
                    <a:pt x="1403" y="28"/>
                  </a:cubicBezTo>
                  <a:cubicBezTo>
                    <a:pt x="1403" y="28"/>
                    <a:pt x="1403" y="28"/>
                    <a:pt x="1403" y="28"/>
                  </a:cubicBezTo>
                  <a:cubicBezTo>
                    <a:pt x="1400" y="29"/>
                    <a:pt x="1400" y="29"/>
                    <a:pt x="1400" y="29"/>
                  </a:cubicBezTo>
                  <a:cubicBezTo>
                    <a:pt x="1399" y="30"/>
                    <a:pt x="1399" y="30"/>
                    <a:pt x="1399" y="30"/>
                  </a:cubicBezTo>
                  <a:cubicBezTo>
                    <a:pt x="1398" y="31"/>
                    <a:pt x="1398" y="31"/>
                    <a:pt x="1398" y="31"/>
                  </a:cubicBezTo>
                  <a:cubicBezTo>
                    <a:pt x="1398" y="31"/>
                    <a:pt x="1398" y="31"/>
                    <a:pt x="1398" y="31"/>
                  </a:cubicBezTo>
                  <a:cubicBezTo>
                    <a:pt x="1398" y="31"/>
                    <a:pt x="1398" y="31"/>
                    <a:pt x="1398" y="31"/>
                  </a:cubicBezTo>
                  <a:cubicBezTo>
                    <a:pt x="1398" y="31"/>
                    <a:pt x="1398" y="31"/>
                    <a:pt x="1398" y="31"/>
                  </a:cubicBezTo>
                  <a:cubicBezTo>
                    <a:pt x="1398" y="32"/>
                    <a:pt x="1398" y="32"/>
                    <a:pt x="1398" y="32"/>
                  </a:cubicBezTo>
                  <a:cubicBezTo>
                    <a:pt x="1398" y="32"/>
                    <a:pt x="1398" y="32"/>
                    <a:pt x="1398" y="32"/>
                  </a:cubicBezTo>
                  <a:cubicBezTo>
                    <a:pt x="1398" y="32"/>
                    <a:pt x="1398" y="32"/>
                    <a:pt x="1398" y="32"/>
                  </a:cubicBezTo>
                  <a:cubicBezTo>
                    <a:pt x="1398" y="33"/>
                    <a:pt x="1398" y="33"/>
                    <a:pt x="1397" y="34"/>
                  </a:cubicBezTo>
                  <a:cubicBezTo>
                    <a:pt x="1397" y="34"/>
                    <a:pt x="1397" y="34"/>
                    <a:pt x="1397" y="34"/>
                  </a:cubicBezTo>
                  <a:cubicBezTo>
                    <a:pt x="1397" y="34"/>
                    <a:pt x="1397" y="34"/>
                    <a:pt x="1397" y="34"/>
                  </a:cubicBezTo>
                  <a:cubicBezTo>
                    <a:pt x="1397" y="35"/>
                    <a:pt x="1397" y="35"/>
                    <a:pt x="1397" y="35"/>
                  </a:cubicBezTo>
                  <a:cubicBezTo>
                    <a:pt x="1397" y="35"/>
                    <a:pt x="1397" y="35"/>
                    <a:pt x="1397" y="35"/>
                  </a:cubicBezTo>
                  <a:cubicBezTo>
                    <a:pt x="1398" y="35"/>
                    <a:pt x="1398" y="35"/>
                    <a:pt x="1398" y="35"/>
                  </a:cubicBezTo>
                  <a:cubicBezTo>
                    <a:pt x="1398" y="35"/>
                    <a:pt x="1398" y="35"/>
                    <a:pt x="1398" y="35"/>
                  </a:cubicBezTo>
                  <a:cubicBezTo>
                    <a:pt x="1398" y="35"/>
                    <a:pt x="1398" y="35"/>
                    <a:pt x="1398" y="35"/>
                  </a:cubicBezTo>
                  <a:cubicBezTo>
                    <a:pt x="1398" y="36"/>
                    <a:pt x="1398" y="36"/>
                    <a:pt x="1398" y="36"/>
                  </a:cubicBezTo>
                  <a:cubicBezTo>
                    <a:pt x="1397" y="36"/>
                    <a:pt x="1397" y="36"/>
                    <a:pt x="1397" y="36"/>
                  </a:cubicBezTo>
                  <a:cubicBezTo>
                    <a:pt x="1397" y="36"/>
                    <a:pt x="1397" y="36"/>
                    <a:pt x="1397" y="36"/>
                  </a:cubicBezTo>
                  <a:cubicBezTo>
                    <a:pt x="1398" y="36"/>
                    <a:pt x="1398" y="36"/>
                    <a:pt x="1398" y="36"/>
                  </a:cubicBezTo>
                  <a:cubicBezTo>
                    <a:pt x="1398" y="37"/>
                    <a:pt x="1398" y="37"/>
                    <a:pt x="1399" y="37"/>
                  </a:cubicBezTo>
                  <a:cubicBezTo>
                    <a:pt x="1399" y="38"/>
                    <a:pt x="1399" y="38"/>
                    <a:pt x="1399" y="38"/>
                  </a:cubicBezTo>
                  <a:cubicBezTo>
                    <a:pt x="1399" y="38"/>
                    <a:pt x="1399" y="38"/>
                    <a:pt x="1399" y="38"/>
                  </a:cubicBezTo>
                  <a:cubicBezTo>
                    <a:pt x="1399" y="38"/>
                    <a:pt x="1399" y="38"/>
                    <a:pt x="1399" y="38"/>
                  </a:cubicBezTo>
                  <a:cubicBezTo>
                    <a:pt x="1400" y="38"/>
                    <a:pt x="1400" y="38"/>
                    <a:pt x="1400" y="38"/>
                  </a:cubicBezTo>
                  <a:cubicBezTo>
                    <a:pt x="1400" y="38"/>
                    <a:pt x="1400" y="38"/>
                    <a:pt x="1400" y="38"/>
                  </a:cubicBezTo>
                  <a:cubicBezTo>
                    <a:pt x="1400" y="38"/>
                    <a:pt x="1400" y="38"/>
                    <a:pt x="1400" y="38"/>
                  </a:cubicBezTo>
                  <a:cubicBezTo>
                    <a:pt x="1400" y="38"/>
                    <a:pt x="1401" y="38"/>
                    <a:pt x="1401" y="38"/>
                  </a:cubicBezTo>
                  <a:cubicBezTo>
                    <a:pt x="1402" y="38"/>
                    <a:pt x="1402" y="38"/>
                    <a:pt x="1402" y="38"/>
                  </a:cubicBezTo>
                  <a:cubicBezTo>
                    <a:pt x="1402" y="38"/>
                    <a:pt x="1402" y="38"/>
                    <a:pt x="1402" y="38"/>
                  </a:cubicBezTo>
                  <a:cubicBezTo>
                    <a:pt x="1403" y="38"/>
                    <a:pt x="1403" y="38"/>
                    <a:pt x="1403" y="38"/>
                  </a:cubicBezTo>
                  <a:cubicBezTo>
                    <a:pt x="1403" y="39"/>
                    <a:pt x="1403" y="39"/>
                    <a:pt x="1403" y="39"/>
                  </a:cubicBezTo>
                  <a:cubicBezTo>
                    <a:pt x="1404" y="39"/>
                    <a:pt x="1404" y="39"/>
                    <a:pt x="1404" y="39"/>
                  </a:cubicBezTo>
                  <a:cubicBezTo>
                    <a:pt x="1404" y="39"/>
                    <a:pt x="1404" y="39"/>
                    <a:pt x="1404" y="39"/>
                  </a:cubicBezTo>
                  <a:cubicBezTo>
                    <a:pt x="1404" y="39"/>
                    <a:pt x="1404" y="39"/>
                    <a:pt x="1404" y="39"/>
                  </a:cubicBezTo>
                  <a:cubicBezTo>
                    <a:pt x="1403" y="40"/>
                    <a:pt x="1403" y="40"/>
                    <a:pt x="1403" y="40"/>
                  </a:cubicBezTo>
                  <a:cubicBezTo>
                    <a:pt x="1403" y="41"/>
                    <a:pt x="1403" y="41"/>
                    <a:pt x="1403" y="41"/>
                  </a:cubicBezTo>
                  <a:cubicBezTo>
                    <a:pt x="1402" y="41"/>
                    <a:pt x="1402" y="41"/>
                    <a:pt x="1402" y="41"/>
                  </a:cubicBezTo>
                  <a:cubicBezTo>
                    <a:pt x="1402" y="41"/>
                    <a:pt x="1402" y="41"/>
                    <a:pt x="1402" y="41"/>
                  </a:cubicBezTo>
                  <a:cubicBezTo>
                    <a:pt x="1402" y="41"/>
                    <a:pt x="1402" y="41"/>
                    <a:pt x="1402" y="41"/>
                  </a:cubicBezTo>
                  <a:cubicBezTo>
                    <a:pt x="1402" y="42"/>
                    <a:pt x="1402" y="42"/>
                    <a:pt x="1402" y="42"/>
                  </a:cubicBezTo>
                  <a:cubicBezTo>
                    <a:pt x="1402" y="42"/>
                    <a:pt x="1402" y="42"/>
                    <a:pt x="1402" y="42"/>
                  </a:cubicBezTo>
                  <a:cubicBezTo>
                    <a:pt x="1402" y="42"/>
                    <a:pt x="1402" y="42"/>
                    <a:pt x="1402" y="42"/>
                  </a:cubicBezTo>
                  <a:cubicBezTo>
                    <a:pt x="1402" y="43"/>
                    <a:pt x="1402" y="43"/>
                    <a:pt x="1402" y="43"/>
                  </a:cubicBezTo>
                  <a:cubicBezTo>
                    <a:pt x="1402" y="43"/>
                    <a:pt x="1402" y="43"/>
                    <a:pt x="1402" y="43"/>
                  </a:cubicBezTo>
                  <a:cubicBezTo>
                    <a:pt x="1402" y="44"/>
                    <a:pt x="1402" y="44"/>
                    <a:pt x="1401" y="45"/>
                  </a:cubicBezTo>
                  <a:cubicBezTo>
                    <a:pt x="1401" y="46"/>
                    <a:pt x="1401" y="46"/>
                    <a:pt x="1401" y="46"/>
                  </a:cubicBezTo>
                  <a:cubicBezTo>
                    <a:pt x="1399" y="47"/>
                    <a:pt x="1399" y="47"/>
                    <a:pt x="1399" y="47"/>
                  </a:cubicBezTo>
                  <a:cubicBezTo>
                    <a:pt x="1398" y="47"/>
                    <a:pt x="1398" y="47"/>
                    <a:pt x="1398" y="47"/>
                  </a:cubicBezTo>
                  <a:cubicBezTo>
                    <a:pt x="1398" y="48"/>
                    <a:pt x="1398" y="48"/>
                    <a:pt x="1398" y="48"/>
                  </a:cubicBezTo>
                  <a:cubicBezTo>
                    <a:pt x="1399" y="48"/>
                    <a:pt x="1399" y="48"/>
                    <a:pt x="1399" y="48"/>
                  </a:cubicBezTo>
                  <a:cubicBezTo>
                    <a:pt x="1399" y="48"/>
                    <a:pt x="1399" y="48"/>
                    <a:pt x="1399"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2" y="49"/>
                    <a:pt x="1404" y="48"/>
                    <a:pt x="1405" y="49"/>
                  </a:cubicBezTo>
                  <a:cubicBezTo>
                    <a:pt x="1406" y="49"/>
                    <a:pt x="1406" y="49"/>
                    <a:pt x="1406" y="49"/>
                  </a:cubicBezTo>
                  <a:cubicBezTo>
                    <a:pt x="1407" y="49"/>
                    <a:pt x="1407" y="49"/>
                    <a:pt x="1407" y="49"/>
                  </a:cubicBezTo>
                  <a:cubicBezTo>
                    <a:pt x="1407" y="49"/>
                    <a:pt x="1407" y="49"/>
                    <a:pt x="1407" y="49"/>
                  </a:cubicBezTo>
                  <a:cubicBezTo>
                    <a:pt x="1408" y="49"/>
                    <a:pt x="1408" y="49"/>
                    <a:pt x="1408" y="49"/>
                  </a:cubicBezTo>
                  <a:cubicBezTo>
                    <a:pt x="1408" y="49"/>
                    <a:pt x="1408" y="49"/>
                    <a:pt x="1408" y="49"/>
                  </a:cubicBezTo>
                  <a:cubicBezTo>
                    <a:pt x="1409" y="49"/>
                    <a:pt x="1409" y="49"/>
                    <a:pt x="1409" y="49"/>
                  </a:cubicBezTo>
                  <a:cubicBezTo>
                    <a:pt x="1409" y="49"/>
                    <a:pt x="1409" y="49"/>
                    <a:pt x="1409" y="49"/>
                  </a:cubicBezTo>
                  <a:cubicBezTo>
                    <a:pt x="1410" y="50"/>
                    <a:pt x="1410" y="50"/>
                    <a:pt x="1410" y="50"/>
                  </a:cubicBezTo>
                  <a:cubicBezTo>
                    <a:pt x="1410" y="50"/>
                    <a:pt x="1410" y="50"/>
                    <a:pt x="1410" y="50"/>
                  </a:cubicBezTo>
                  <a:cubicBezTo>
                    <a:pt x="1410" y="50"/>
                    <a:pt x="1410" y="50"/>
                    <a:pt x="1410" y="50"/>
                  </a:cubicBezTo>
                  <a:cubicBezTo>
                    <a:pt x="1410" y="50"/>
                    <a:pt x="1410" y="50"/>
                    <a:pt x="1410" y="50"/>
                  </a:cubicBezTo>
                  <a:cubicBezTo>
                    <a:pt x="1410" y="50"/>
                    <a:pt x="1410" y="50"/>
                    <a:pt x="1410" y="50"/>
                  </a:cubicBezTo>
                  <a:cubicBezTo>
                    <a:pt x="1411" y="51"/>
                    <a:pt x="1411" y="51"/>
                    <a:pt x="1411" y="51"/>
                  </a:cubicBezTo>
                  <a:cubicBezTo>
                    <a:pt x="1411" y="51"/>
                    <a:pt x="1411" y="51"/>
                    <a:pt x="1411" y="51"/>
                  </a:cubicBezTo>
                  <a:cubicBezTo>
                    <a:pt x="1412" y="51"/>
                    <a:pt x="1412" y="51"/>
                    <a:pt x="1412" y="51"/>
                  </a:cubicBezTo>
                  <a:cubicBezTo>
                    <a:pt x="1415" y="50"/>
                    <a:pt x="1414" y="51"/>
                    <a:pt x="1416" y="51"/>
                  </a:cubicBezTo>
                  <a:cubicBezTo>
                    <a:pt x="1416" y="51"/>
                    <a:pt x="1416" y="51"/>
                    <a:pt x="1416" y="51"/>
                  </a:cubicBezTo>
                  <a:cubicBezTo>
                    <a:pt x="1417" y="51"/>
                    <a:pt x="1417" y="51"/>
                    <a:pt x="1417" y="51"/>
                  </a:cubicBezTo>
                  <a:cubicBezTo>
                    <a:pt x="1418" y="52"/>
                    <a:pt x="1418" y="52"/>
                    <a:pt x="1419" y="53"/>
                  </a:cubicBezTo>
                  <a:cubicBezTo>
                    <a:pt x="1420" y="53"/>
                    <a:pt x="1420" y="53"/>
                    <a:pt x="1420" y="53"/>
                  </a:cubicBezTo>
                  <a:cubicBezTo>
                    <a:pt x="1422" y="54"/>
                    <a:pt x="1422" y="54"/>
                    <a:pt x="1422" y="54"/>
                  </a:cubicBezTo>
                  <a:cubicBezTo>
                    <a:pt x="1423" y="54"/>
                    <a:pt x="1423" y="54"/>
                    <a:pt x="1423" y="54"/>
                  </a:cubicBezTo>
                  <a:cubicBezTo>
                    <a:pt x="1422" y="54"/>
                    <a:pt x="1422" y="54"/>
                    <a:pt x="1422" y="54"/>
                  </a:cubicBezTo>
                  <a:cubicBezTo>
                    <a:pt x="1422" y="54"/>
                    <a:pt x="1422" y="54"/>
                    <a:pt x="1422" y="54"/>
                  </a:cubicBezTo>
                  <a:cubicBezTo>
                    <a:pt x="1421" y="54"/>
                    <a:pt x="1421" y="54"/>
                    <a:pt x="1421" y="54"/>
                  </a:cubicBezTo>
                  <a:cubicBezTo>
                    <a:pt x="1421" y="54"/>
                    <a:pt x="1421" y="54"/>
                    <a:pt x="1421" y="54"/>
                  </a:cubicBezTo>
                  <a:cubicBezTo>
                    <a:pt x="1420" y="54"/>
                    <a:pt x="1419" y="54"/>
                    <a:pt x="1418" y="54"/>
                  </a:cubicBezTo>
                  <a:cubicBezTo>
                    <a:pt x="1418" y="54"/>
                    <a:pt x="1418" y="54"/>
                    <a:pt x="1418" y="54"/>
                  </a:cubicBezTo>
                  <a:cubicBezTo>
                    <a:pt x="1417" y="54"/>
                    <a:pt x="1417" y="54"/>
                    <a:pt x="1417" y="54"/>
                  </a:cubicBezTo>
                  <a:cubicBezTo>
                    <a:pt x="1417" y="54"/>
                    <a:pt x="1417" y="54"/>
                    <a:pt x="1417" y="54"/>
                  </a:cubicBezTo>
                  <a:cubicBezTo>
                    <a:pt x="1416" y="53"/>
                    <a:pt x="1416" y="53"/>
                    <a:pt x="1416" y="53"/>
                  </a:cubicBezTo>
                  <a:cubicBezTo>
                    <a:pt x="1416" y="53"/>
                    <a:pt x="1416" y="53"/>
                    <a:pt x="1416" y="53"/>
                  </a:cubicBezTo>
                  <a:cubicBezTo>
                    <a:pt x="1416" y="53"/>
                    <a:pt x="1416" y="53"/>
                    <a:pt x="1416" y="53"/>
                  </a:cubicBezTo>
                  <a:cubicBezTo>
                    <a:pt x="1415" y="53"/>
                    <a:pt x="1415" y="53"/>
                    <a:pt x="1415" y="53"/>
                  </a:cubicBezTo>
                  <a:cubicBezTo>
                    <a:pt x="1415" y="53"/>
                    <a:pt x="1415" y="53"/>
                    <a:pt x="1415" y="53"/>
                  </a:cubicBezTo>
                  <a:cubicBezTo>
                    <a:pt x="1415" y="53"/>
                    <a:pt x="1415" y="53"/>
                    <a:pt x="1415" y="53"/>
                  </a:cubicBezTo>
                  <a:cubicBezTo>
                    <a:pt x="1415" y="53"/>
                    <a:pt x="1415" y="53"/>
                    <a:pt x="1415" y="53"/>
                  </a:cubicBezTo>
                  <a:cubicBezTo>
                    <a:pt x="1415" y="52"/>
                    <a:pt x="1415" y="52"/>
                    <a:pt x="1415" y="52"/>
                  </a:cubicBezTo>
                  <a:cubicBezTo>
                    <a:pt x="1415" y="52"/>
                    <a:pt x="1415" y="52"/>
                    <a:pt x="1415" y="52"/>
                  </a:cubicBezTo>
                  <a:cubicBezTo>
                    <a:pt x="1415" y="52"/>
                    <a:pt x="1415" y="52"/>
                    <a:pt x="1415" y="52"/>
                  </a:cubicBezTo>
                  <a:cubicBezTo>
                    <a:pt x="1414" y="52"/>
                    <a:pt x="1414" y="52"/>
                    <a:pt x="1414" y="52"/>
                  </a:cubicBezTo>
                  <a:cubicBezTo>
                    <a:pt x="1414" y="52"/>
                    <a:pt x="1414" y="52"/>
                    <a:pt x="1414" y="52"/>
                  </a:cubicBezTo>
                  <a:cubicBezTo>
                    <a:pt x="1413" y="51"/>
                    <a:pt x="1411" y="51"/>
                    <a:pt x="1410" y="51"/>
                  </a:cubicBezTo>
                  <a:cubicBezTo>
                    <a:pt x="1409" y="51"/>
                    <a:pt x="1409" y="51"/>
                    <a:pt x="1409" y="51"/>
                  </a:cubicBezTo>
                  <a:cubicBezTo>
                    <a:pt x="1409" y="51"/>
                    <a:pt x="1409" y="51"/>
                    <a:pt x="1409" y="51"/>
                  </a:cubicBezTo>
                  <a:cubicBezTo>
                    <a:pt x="1406" y="50"/>
                    <a:pt x="1405" y="51"/>
                    <a:pt x="1403" y="51"/>
                  </a:cubicBezTo>
                  <a:cubicBezTo>
                    <a:pt x="1401" y="51"/>
                    <a:pt x="1401" y="51"/>
                    <a:pt x="1401" y="51"/>
                  </a:cubicBezTo>
                  <a:cubicBezTo>
                    <a:pt x="1401" y="51"/>
                    <a:pt x="1401" y="51"/>
                    <a:pt x="1401" y="51"/>
                  </a:cubicBezTo>
                  <a:cubicBezTo>
                    <a:pt x="1400" y="51"/>
                    <a:pt x="1400" y="51"/>
                    <a:pt x="1400" y="51"/>
                  </a:cubicBezTo>
                  <a:cubicBezTo>
                    <a:pt x="1400" y="51"/>
                    <a:pt x="1400" y="51"/>
                    <a:pt x="1400" y="51"/>
                  </a:cubicBezTo>
                  <a:cubicBezTo>
                    <a:pt x="1401" y="51"/>
                    <a:pt x="1401" y="51"/>
                    <a:pt x="1401" y="51"/>
                  </a:cubicBezTo>
                  <a:cubicBezTo>
                    <a:pt x="1401" y="50"/>
                    <a:pt x="1400" y="50"/>
                    <a:pt x="1399" y="49"/>
                  </a:cubicBezTo>
                  <a:cubicBezTo>
                    <a:pt x="1399" y="49"/>
                    <a:pt x="1399" y="49"/>
                    <a:pt x="1399" y="49"/>
                  </a:cubicBezTo>
                  <a:cubicBezTo>
                    <a:pt x="1399" y="49"/>
                    <a:pt x="1399" y="49"/>
                    <a:pt x="1399" y="49"/>
                  </a:cubicBezTo>
                  <a:cubicBezTo>
                    <a:pt x="1396" y="49"/>
                    <a:pt x="1390" y="50"/>
                    <a:pt x="1387" y="51"/>
                  </a:cubicBezTo>
                  <a:cubicBezTo>
                    <a:pt x="1386" y="51"/>
                    <a:pt x="1386" y="51"/>
                    <a:pt x="1386" y="51"/>
                  </a:cubicBezTo>
                  <a:cubicBezTo>
                    <a:pt x="1386" y="51"/>
                    <a:pt x="1386" y="51"/>
                    <a:pt x="1386" y="51"/>
                  </a:cubicBezTo>
                  <a:cubicBezTo>
                    <a:pt x="1386" y="50"/>
                    <a:pt x="1386" y="50"/>
                    <a:pt x="1386" y="50"/>
                  </a:cubicBezTo>
                  <a:cubicBezTo>
                    <a:pt x="1386" y="50"/>
                    <a:pt x="1386" y="50"/>
                    <a:pt x="1386" y="50"/>
                  </a:cubicBezTo>
                  <a:cubicBezTo>
                    <a:pt x="1381" y="50"/>
                    <a:pt x="1377" y="51"/>
                    <a:pt x="1373" y="51"/>
                  </a:cubicBezTo>
                  <a:cubicBezTo>
                    <a:pt x="1372" y="51"/>
                    <a:pt x="1372" y="51"/>
                    <a:pt x="1372" y="51"/>
                  </a:cubicBezTo>
                  <a:cubicBezTo>
                    <a:pt x="1372" y="51"/>
                    <a:pt x="1372" y="51"/>
                    <a:pt x="1372" y="51"/>
                  </a:cubicBezTo>
                  <a:cubicBezTo>
                    <a:pt x="1371" y="51"/>
                    <a:pt x="1371" y="51"/>
                    <a:pt x="1371" y="51"/>
                  </a:cubicBezTo>
                  <a:cubicBezTo>
                    <a:pt x="1371" y="51"/>
                    <a:pt x="1371" y="51"/>
                    <a:pt x="1371" y="51"/>
                  </a:cubicBezTo>
                  <a:cubicBezTo>
                    <a:pt x="1370" y="51"/>
                    <a:pt x="1370" y="51"/>
                    <a:pt x="1370" y="51"/>
                  </a:cubicBezTo>
                  <a:cubicBezTo>
                    <a:pt x="1369" y="50"/>
                    <a:pt x="1369" y="50"/>
                    <a:pt x="1369" y="50"/>
                  </a:cubicBezTo>
                  <a:cubicBezTo>
                    <a:pt x="1367" y="50"/>
                    <a:pt x="1367" y="50"/>
                    <a:pt x="1367" y="50"/>
                  </a:cubicBezTo>
                  <a:cubicBezTo>
                    <a:pt x="1362" y="49"/>
                    <a:pt x="1362" y="49"/>
                    <a:pt x="1362" y="49"/>
                  </a:cubicBezTo>
                  <a:cubicBezTo>
                    <a:pt x="1360" y="49"/>
                    <a:pt x="1360" y="49"/>
                    <a:pt x="1360" y="49"/>
                  </a:cubicBezTo>
                  <a:cubicBezTo>
                    <a:pt x="1359" y="49"/>
                    <a:pt x="1359" y="49"/>
                    <a:pt x="1359" y="49"/>
                  </a:cubicBezTo>
                  <a:cubicBezTo>
                    <a:pt x="1359" y="49"/>
                    <a:pt x="1359" y="49"/>
                    <a:pt x="1359" y="49"/>
                  </a:cubicBezTo>
                  <a:cubicBezTo>
                    <a:pt x="1358" y="50"/>
                    <a:pt x="1358" y="50"/>
                    <a:pt x="1358" y="50"/>
                  </a:cubicBezTo>
                  <a:cubicBezTo>
                    <a:pt x="1358" y="50"/>
                    <a:pt x="1358" y="50"/>
                    <a:pt x="1358" y="50"/>
                  </a:cubicBezTo>
                  <a:cubicBezTo>
                    <a:pt x="1358" y="50"/>
                    <a:pt x="1358" y="50"/>
                    <a:pt x="1358" y="50"/>
                  </a:cubicBezTo>
                  <a:cubicBezTo>
                    <a:pt x="1358" y="51"/>
                    <a:pt x="1358" y="51"/>
                    <a:pt x="1358" y="51"/>
                  </a:cubicBezTo>
                  <a:cubicBezTo>
                    <a:pt x="1359" y="51"/>
                    <a:pt x="1359" y="51"/>
                    <a:pt x="1359" y="51"/>
                  </a:cubicBezTo>
                  <a:cubicBezTo>
                    <a:pt x="1361" y="52"/>
                    <a:pt x="1360" y="51"/>
                    <a:pt x="1362" y="53"/>
                  </a:cubicBezTo>
                  <a:cubicBezTo>
                    <a:pt x="1362" y="53"/>
                    <a:pt x="1362" y="53"/>
                    <a:pt x="1362" y="53"/>
                  </a:cubicBezTo>
                  <a:cubicBezTo>
                    <a:pt x="1362" y="53"/>
                    <a:pt x="1362" y="53"/>
                    <a:pt x="1362" y="53"/>
                  </a:cubicBezTo>
                  <a:cubicBezTo>
                    <a:pt x="1362" y="53"/>
                    <a:pt x="1362" y="53"/>
                    <a:pt x="1362" y="53"/>
                  </a:cubicBezTo>
                  <a:cubicBezTo>
                    <a:pt x="1362" y="53"/>
                    <a:pt x="1362" y="53"/>
                    <a:pt x="1362" y="53"/>
                  </a:cubicBezTo>
                  <a:cubicBezTo>
                    <a:pt x="1362" y="54"/>
                    <a:pt x="1362" y="54"/>
                    <a:pt x="1362" y="54"/>
                  </a:cubicBezTo>
                  <a:cubicBezTo>
                    <a:pt x="1362" y="54"/>
                    <a:pt x="1362" y="54"/>
                    <a:pt x="1362" y="54"/>
                  </a:cubicBezTo>
                  <a:cubicBezTo>
                    <a:pt x="1362" y="54"/>
                    <a:pt x="1362" y="54"/>
                    <a:pt x="1362" y="54"/>
                  </a:cubicBezTo>
                  <a:cubicBezTo>
                    <a:pt x="1362" y="54"/>
                    <a:pt x="1362" y="54"/>
                    <a:pt x="1362" y="54"/>
                  </a:cubicBezTo>
                  <a:cubicBezTo>
                    <a:pt x="1362" y="55"/>
                    <a:pt x="1362" y="55"/>
                    <a:pt x="1362" y="55"/>
                  </a:cubicBezTo>
                  <a:cubicBezTo>
                    <a:pt x="1362" y="55"/>
                    <a:pt x="1362" y="55"/>
                    <a:pt x="1362" y="55"/>
                  </a:cubicBezTo>
                  <a:cubicBezTo>
                    <a:pt x="1362" y="55"/>
                    <a:pt x="1362" y="55"/>
                    <a:pt x="1362" y="55"/>
                  </a:cubicBezTo>
                  <a:cubicBezTo>
                    <a:pt x="1363" y="55"/>
                    <a:pt x="1363" y="55"/>
                    <a:pt x="1363" y="55"/>
                  </a:cubicBezTo>
                  <a:cubicBezTo>
                    <a:pt x="1363" y="55"/>
                    <a:pt x="1363" y="55"/>
                    <a:pt x="1363" y="55"/>
                  </a:cubicBezTo>
                  <a:cubicBezTo>
                    <a:pt x="1363" y="56"/>
                    <a:pt x="1363" y="56"/>
                    <a:pt x="1363" y="56"/>
                  </a:cubicBezTo>
                  <a:cubicBezTo>
                    <a:pt x="1364" y="55"/>
                    <a:pt x="1364" y="55"/>
                    <a:pt x="1364" y="55"/>
                  </a:cubicBezTo>
                  <a:cubicBezTo>
                    <a:pt x="1364" y="55"/>
                    <a:pt x="1364" y="55"/>
                    <a:pt x="1364" y="55"/>
                  </a:cubicBezTo>
                  <a:cubicBezTo>
                    <a:pt x="1365" y="55"/>
                    <a:pt x="1365" y="55"/>
                    <a:pt x="1365" y="55"/>
                  </a:cubicBezTo>
                  <a:cubicBezTo>
                    <a:pt x="1365" y="55"/>
                    <a:pt x="1365" y="55"/>
                    <a:pt x="1365" y="55"/>
                  </a:cubicBezTo>
                  <a:cubicBezTo>
                    <a:pt x="1366" y="55"/>
                    <a:pt x="1366" y="55"/>
                    <a:pt x="1366" y="55"/>
                  </a:cubicBezTo>
                  <a:cubicBezTo>
                    <a:pt x="1367" y="56"/>
                    <a:pt x="1368" y="56"/>
                    <a:pt x="1369" y="58"/>
                  </a:cubicBezTo>
                  <a:cubicBezTo>
                    <a:pt x="1369" y="58"/>
                    <a:pt x="1369" y="58"/>
                    <a:pt x="1369" y="58"/>
                  </a:cubicBezTo>
                  <a:cubicBezTo>
                    <a:pt x="1369" y="58"/>
                    <a:pt x="1369" y="58"/>
                    <a:pt x="1369" y="58"/>
                  </a:cubicBezTo>
                  <a:cubicBezTo>
                    <a:pt x="1370" y="58"/>
                    <a:pt x="1370" y="58"/>
                    <a:pt x="1370" y="58"/>
                  </a:cubicBezTo>
                  <a:cubicBezTo>
                    <a:pt x="1370" y="58"/>
                    <a:pt x="1370" y="58"/>
                    <a:pt x="1370" y="58"/>
                  </a:cubicBezTo>
                  <a:cubicBezTo>
                    <a:pt x="1371" y="58"/>
                    <a:pt x="1371" y="58"/>
                    <a:pt x="1371" y="58"/>
                  </a:cubicBezTo>
                  <a:cubicBezTo>
                    <a:pt x="1372" y="58"/>
                    <a:pt x="1372" y="58"/>
                    <a:pt x="1372" y="58"/>
                  </a:cubicBezTo>
                  <a:cubicBezTo>
                    <a:pt x="1372" y="58"/>
                    <a:pt x="1372" y="58"/>
                    <a:pt x="1372" y="58"/>
                  </a:cubicBezTo>
                  <a:cubicBezTo>
                    <a:pt x="1373" y="58"/>
                    <a:pt x="1373" y="58"/>
                    <a:pt x="1373" y="58"/>
                  </a:cubicBezTo>
                  <a:cubicBezTo>
                    <a:pt x="1373" y="59"/>
                    <a:pt x="1373" y="59"/>
                    <a:pt x="1373" y="59"/>
                  </a:cubicBezTo>
                  <a:cubicBezTo>
                    <a:pt x="1373" y="59"/>
                    <a:pt x="1373" y="59"/>
                    <a:pt x="1373" y="59"/>
                  </a:cubicBezTo>
                  <a:cubicBezTo>
                    <a:pt x="1374" y="59"/>
                    <a:pt x="1374" y="59"/>
                    <a:pt x="1374" y="59"/>
                  </a:cubicBezTo>
                  <a:cubicBezTo>
                    <a:pt x="1374" y="59"/>
                    <a:pt x="1374" y="59"/>
                    <a:pt x="1374" y="59"/>
                  </a:cubicBezTo>
                  <a:cubicBezTo>
                    <a:pt x="1374" y="60"/>
                    <a:pt x="1374" y="60"/>
                    <a:pt x="1374" y="60"/>
                  </a:cubicBezTo>
                  <a:cubicBezTo>
                    <a:pt x="1374" y="60"/>
                    <a:pt x="1374" y="60"/>
                    <a:pt x="1374" y="60"/>
                  </a:cubicBezTo>
                  <a:cubicBezTo>
                    <a:pt x="1374" y="60"/>
                    <a:pt x="1374" y="60"/>
                    <a:pt x="1374" y="60"/>
                  </a:cubicBezTo>
                  <a:cubicBezTo>
                    <a:pt x="1374" y="61"/>
                    <a:pt x="1374" y="61"/>
                    <a:pt x="1374" y="61"/>
                  </a:cubicBezTo>
                  <a:cubicBezTo>
                    <a:pt x="1374" y="61"/>
                    <a:pt x="1374" y="61"/>
                    <a:pt x="1374" y="61"/>
                  </a:cubicBezTo>
                  <a:cubicBezTo>
                    <a:pt x="1374" y="61"/>
                    <a:pt x="1374" y="61"/>
                    <a:pt x="1374" y="61"/>
                  </a:cubicBezTo>
                  <a:cubicBezTo>
                    <a:pt x="1374" y="61"/>
                    <a:pt x="1374" y="61"/>
                    <a:pt x="1374" y="61"/>
                  </a:cubicBezTo>
                  <a:cubicBezTo>
                    <a:pt x="1374" y="62"/>
                    <a:pt x="1374" y="62"/>
                    <a:pt x="1374" y="62"/>
                  </a:cubicBezTo>
                  <a:cubicBezTo>
                    <a:pt x="1374" y="62"/>
                    <a:pt x="1374" y="62"/>
                    <a:pt x="1374" y="62"/>
                  </a:cubicBezTo>
                  <a:cubicBezTo>
                    <a:pt x="1375" y="62"/>
                    <a:pt x="1375" y="62"/>
                    <a:pt x="1375" y="62"/>
                  </a:cubicBezTo>
                  <a:cubicBezTo>
                    <a:pt x="1375" y="62"/>
                    <a:pt x="1375" y="62"/>
                    <a:pt x="1375" y="62"/>
                  </a:cubicBezTo>
                  <a:cubicBezTo>
                    <a:pt x="1376" y="62"/>
                    <a:pt x="1376" y="62"/>
                    <a:pt x="1376" y="62"/>
                  </a:cubicBezTo>
                  <a:cubicBezTo>
                    <a:pt x="1376" y="62"/>
                    <a:pt x="1376" y="62"/>
                    <a:pt x="1376" y="62"/>
                  </a:cubicBezTo>
                  <a:cubicBezTo>
                    <a:pt x="1376" y="63"/>
                    <a:pt x="1376" y="63"/>
                    <a:pt x="1376" y="63"/>
                  </a:cubicBezTo>
                  <a:cubicBezTo>
                    <a:pt x="1377" y="63"/>
                    <a:pt x="1377" y="63"/>
                    <a:pt x="1377" y="63"/>
                  </a:cubicBezTo>
                  <a:cubicBezTo>
                    <a:pt x="1377" y="63"/>
                    <a:pt x="1377" y="63"/>
                    <a:pt x="1377" y="63"/>
                  </a:cubicBezTo>
                  <a:cubicBezTo>
                    <a:pt x="1377" y="64"/>
                    <a:pt x="1377" y="64"/>
                    <a:pt x="1377" y="64"/>
                  </a:cubicBezTo>
                  <a:cubicBezTo>
                    <a:pt x="1377" y="64"/>
                    <a:pt x="1377" y="64"/>
                    <a:pt x="1377" y="64"/>
                  </a:cubicBezTo>
                  <a:cubicBezTo>
                    <a:pt x="1378" y="67"/>
                    <a:pt x="1378" y="67"/>
                    <a:pt x="1378" y="67"/>
                  </a:cubicBezTo>
                  <a:cubicBezTo>
                    <a:pt x="1376" y="67"/>
                    <a:pt x="1376" y="67"/>
                    <a:pt x="1376" y="67"/>
                  </a:cubicBezTo>
                  <a:cubicBezTo>
                    <a:pt x="1361" y="60"/>
                    <a:pt x="1361" y="60"/>
                    <a:pt x="1361" y="60"/>
                  </a:cubicBezTo>
                  <a:cubicBezTo>
                    <a:pt x="1359" y="60"/>
                    <a:pt x="1359" y="60"/>
                    <a:pt x="1359" y="60"/>
                  </a:cubicBezTo>
                  <a:cubicBezTo>
                    <a:pt x="1357" y="59"/>
                    <a:pt x="1357" y="59"/>
                    <a:pt x="1357" y="59"/>
                  </a:cubicBezTo>
                  <a:cubicBezTo>
                    <a:pt x="1357" y="59"/>
                    <a:pt x="1357" y="59"/>
                    <a:pt x="1357" y="59"/>
                  </a:cubicBezTo>
                  <a:cubicBezTo>
                    <a:pt x="1356" y="59"/>
                    <a:pt x="1356" y="59"/>
                    <a:pt x="1356" y="59"/>
                  </a:cubicBezTo>
                  <a:cubicBezTo>
                    <a:pt x="1356" y="59"/>
                    <a:pt x="1356" y="59"/>
                    <a:pt x="1356" y="59"/>
                  </a:cubicBezTo>
                  <a:cubicBezTo>
                    <a:pt x="1356" y="59"/>
                    <a:pt x="1356" y="59"/>
                    <a:pt x="1356" y="59"/>
                  </a:cubicBezTo>
                  <a:cubicBezTo>
                    <a:pt x="1355" y="60"/>
                    <a:pt x="1355" y="60"/>
                    <a:pt x="1355" y="60"/>
                  </a:cubicBezTo>
                  <a:cubicBezTo>
                    <a:pt x="1355" y="60"/>
                    <a:pt x="1355" y="60"/>
                    <a:pt x="1355" y="60"/>
                  </a:cubicBezTo>
                  <a:cubicBezTo>
                    <a:pt x="1354" y="60"/>
                    <a:pt x="1353" y="60"/>
                    <a:pt x="1353" y="61"/>
                  </a:cubicBezTo>
                  <a:cubicBezTo>
                    <a:pt x="1352" y="61"/>
                    <a:pt x="1352" y="61"/>
                    <a:pt x="1352" y="61"/>
                  </a:cubicBezTo>
                  <a:cubicBezTo>
                    <a:pt x="1352" y="61"/>
                    <a:pt x="1352" y="61"/>
                    <a:pt x="1352" y="61"/>
                  </a:cubicBezTo>
                  <a:cubicBezTo>
                    <a:pt x="1352" y="61"/>
                    <a:pt x="1352" y="61"/>
                    <a:pt x="1352" y="61"/>
                  </a:cubicBezTo>
                  <a:cubicBezTo>
                    <a:pt x="1352" y="62"/>
                    <a:pt x="1352" y="62"/>
                    <a:pt x="1352" y="62"/>
                  </a:cubicBezTo>
                  <a:cubicBezTo>
                    <a:pt x="1349" y="62"/>
                    <a:pt x="1347" y="62"/>
                    <a:pt x="1344" y="63"/>
                  </a:cubicBezTo>
                  <a:cubicBezTo>
                    <a:pt x="1344" y="63"/>
                    <a:pt x="1344" y="63"/>
                    <a:pt x="1344" y="63"/>
                  </a:cubicBezTo>
                  <a:cubicBezTo>
                    <a:pt x="1343" y="63"/>
                    <a:pt x="1343" y="63"/>
                    <a:pt x="1343" y="63"/>
                  </a:cubicBezTo>
                  <a:cubicBezTo>
                    <a:pt x="1343" y="63"/>
                    <a:pt x="1342" y="64"/>
                    <a:pt x="1342" y="64"/>
                  </a:cubicBezTo>
                  <a:cubicBezTo>
                    <a:pt x="1342" y="64"/>
                    <a:pt x="1342" y="64"/>
                    <a:pt x="1342" y="64"/>
                  </a:cubicBezTo>
                  <a:cubicBezTo>
                    <a:pt x="1342" y="64"/>
                    <a:pt x="1342" y="64"/>
                    <a:pt x="1342" y="64"/>
                  </a:cubicBezTo>
                  <a:cubicBezTo>
                    <a:pt x="1341" y="64"/>
                    <a:pt x="1341" y="64"/>
                    <a:pt x="1341" y="64"/>
                  </a:cubicBezTo>
                  <a:cubicBezTo>
                    <a:pt x="1342" y="65"/>
                    <a:pt x="1342" y="65"/>
                    <a:pt x="1342" y="65"/>
                  </a:cubicBezTo>
                  <a:cubicBezTo>
                    <a:pt x="1341" y="65"/>
                    <a:pt x="1341" y="65"/>
                    <a:pt x="1341" y="65"/>
                  </a:cubicBezTo>
                  <a:cubicBezTo>
                    <a:pt x="1341" y="65"/>
                    <a:pt x="1341" y="65"/>
                    <a:pt x="1341" y="65"/>
                  </a:cubicBezTo>
                  <a:cubicBezTo>
                    <a:pt x="1340" y="65"/>
                    <a:pt x="1337" y="65"/>
                    <a:pt x="1336" y="66"/>
                  </a:cubicBezTo>
                  <a:cubicBezTo>
                    <a:pt x="1336" y="66"/>
                    <a:pt x="1336" y="66"/>
                    <a:pt x="1336" y="66"/>
                  </a:cubicBezTo>
                  <a:cubicBezTo>
                    <a:pt x="1336" y="66"/>
                    <a:pt x="1336" y="66"/>
                    <a:pt x="1336" y="66"/>
                  </a:cubicBezTo>
                  <a:cubicBezTo>
                    <a:pt x="1334" y="67"/>
                    <a:pt x="1333" y="68"/>
                    <a:pt x="1332" y="68"/>
                  </a:cubicBezTo>
                  <a:cubicBezTo>
                    <a:pt x="1329" y="71"/>
                    <a:pt x="1329" y="71"/>
                    <a:pt x="1329" y="71"/>
                  </a:cubicBezTo>
                  <a:cubicBezTo>
                    <a:pt x="1328" y="71"/>
                    <a:pt x="1328" y="71"/>
                    <a:pt x="1328" y="71"/>
                  </a:cubicBezTo>
                  <a:cubicBezTo>
                    <a:pt x="1328" y="70"/>
                    <a:pt x="1328" y="70"/>
                    <a:pt x="1328" y="70"/>
                  </a:cubicBezTo>
                  <a:cubicBezTo>
                    <a:pt x="1330" y="68"/>
                    <a:pt x="1330" y="68"/>
                    <a:pt x="1330" y="68"/>
                  </a:cubicBezTo>
                  <a:cubicBezTo>
                    <a:pt x="1330" y="68"/>
                    <a:pt x="1330" y="68"/>
                    <a:pt x="1330" y="68"/>
                  </a:cubicBezTo>
                  <a:cubicBezTo>
                    <a:pt x="1330" y="67"/>
                    <a:pt x="1330" y="67"/>
                    <a:pt x="1330" y="67"/>
                  </a:cubicBezTo>
                  <a:cubicBezTo>
                    <a:pt x="1329" y="68"/>
                    <a:pt x="1329" y="68"/>
                    <a:pt x="1329" y="68"/>
                  </a:cubicBezTo>
                  <a:cubicBezTo>
                    <a:pt x="1329" y="68"/>
                    <a:pt x="1329" y="68"/>
                    <a:pt x="1329" y="68"/>
                  </a:cubicBezTo>
                  <a:cubicBezTo>
                    <a:pt x="1328" y="68"/>
                    <a:pt x="1328" y="68"/>
                    <a:pt x="1328" y="68"/>
                  </a:cubicBezTo>
                  <a:cubicBezTo>
                    <a:pt x="1328" y="68"/>
                    <a:pt x="1328" y="68"/>
                    <a:pt x="1328" y="68"/>
                  </a:cubicBezTo>
                  <a:cubicBezTo>
                    <a:pt x="1328" y="68"/>
                    <a:pt x="1328" y="68"/>
                    <a:pt x="1328" y="68"/>
                  </a:cubicBezTo>
                  <a:cubicBezTo>
                    <a:pt x="1327" y="68"/>
                    <a:pt x="1327" y="68"/>
                    <a:pt x="1327" y="68"/>
                  </a:cubicBezTo>
                  <a:cubicBezTo>
                    <a:pt x="1327" y="68"/>
                    <a:pt x="1327" y="68"/>
                    <a:pt x="1327" y="68"/>
                  </a:cubicBezTo>
                  <a:cubicBezTo>
                    <a:pt x="1326" y="69"/>
                    <a:pt x="1326" y="69"/>
                    <a:pt x="1326" y="69"/>
                  </a:cubicBezTo>
                  <a:cubicBezTo>
                    <a:pt x="1323" y="70"/>
                    <a:pt x="1323" y="70"/>
                    <a:pt x="1323" y="70"/>
                  </a:cubicBezTo>
                  <a:cubicBezTo>
                    <a:pt x="1317" y="73"/>
                    <a:pt x="1317" y="73"/>
                    <a:pt x="1317" y="73"/>
                  </a:cubicBezTo>
                  <a:cubicBezTo>
                    <a:pt x="1314" y="74"/>
                    <a:pt x="1314" y="74"/>
                    <a:pt x="1314" y="74"/>
                  </a:cubicBezTo>
                  <a:cubicBezTo>
                    <a:pt x="1313" y="74"/>
                    <a:pt x="1313" y="74"/>
                    <a:pt x="1313" y="74"/>
                  </a:cubicBezTo>
                  <a:cubicBezTo>
                    <a:pt x="1313" y="74"/>
                    <a:pt x="1313" y="74"/>
                    <a:pt x="1313" y="74"/>
                  </a:cubicBezTo>
                  <a:cubicBezTo>
                    <a:pt x="1314" y="74"/>
                    <a:pt x="1314" y="74"/>
                    <a:pt x="1314" y="74"/>
                  </a:cubicBezTo>
                  <a:cubicBezTo>
                    <a:pt x="1314" y="73"/>
                    <a:pt x="1314" y="73"/>
                    <a:pt x="1314" y="73"/>
                  </a:cubicBezTo>
                  <a:cubicBezTo>
                    <a:pt x="1314" y="73"/>
                    <a:pt x="1314" y="73"/>
                    <a:pt x="1314" y="73"/>
                  </a:cubicBezTo>
                  <a:cubicBezTo>
                    <a:pt x="1314" y="73"/>
                    <a:pt x="1314" y="73"/>
                    <a:pt x="1314" y="73"/>
                  </a:cubicBezTo>
                  <a:cubicBezTo>
                    <a:pt x="1314" y="72"/>
                    <a:pt x="1314" y="72"/>
                    <a:pt x="1314" y="72"/>
                  </a:cubicBezTo>
                  <a:cubicBezTo>
                    <a:pt x="1314" y="70"/>
                    <a:pt x="1314" y="70"/>
                    <a:pt x="1314" y="70"/>
                  </a:cubicBezTo>
                  <a:cubicBezTo>
                    <a:pt x="1314" y="69"/>
                    <a:pt x="1314" y="69"/>
                    <a:pt x="1314" y="69"/>
                  </a:cubicBezTo>
                  <a:cubicBezTo>
                    <a:pt x="1313" y="69"/>
                    <a:pt x="1313" y="69"/>
                    <a:pt x="1313" y="69"/>
                  </a:cubicBezTo>
                  <a:cubicBezTo>
                    <a:pt x="1312" y="69"/>
                    <a:pt x="1312" y="69"/>
                    <a:pt x="1312" y="69"/>
                  </a:cubicBezTo>
                  <a:cubicBezTo>
                    <a:pt x="1311" y="69"/>
                    <a:pt x="1311" y="69"/>
                    <a:pt x="1311" y="69"/>
                  </a:cubicBezTo>
                  <a:cubicBezTo>
                    <a:pt x="1310" y="69"/>
                    <a:pt x="1310" y="69"/>
                    <a:pt x="1310" y="69"/>
                  </a:cubicBezTo>
                  <a:cubicBezTo>
                    <a:pt x="1309" y="70"/>
                    <a:pt x="1309" y="70"/>
                    <a:pt x="1309" y="70"/>
                  </a:cubicBezTo>
                  <a:cubicBezTo>
                    <a:pt x="1307" y="71"/>
                    <a:pt x="1307" y="71"/>
                    <a:pt x="1307" y="71"/>
                  </a:cubicBezTo>
                  <a:cubicBezTo>
                    <a:pt x="1302" y="74"/>
                    <a:pt x="1302" y="74"/>
                    <a:pt x="1302" y="74"/>
                  </a:cubicBezTo>
                  <a:cubicBezTo>
                    <a:pt x="1300" y="74"/>
                    <a:pt x="1300" y="74"/>
                    <a:pt x="1300" y="74"/>
                  </a:cubicBezTo>
                  <a:cubicBezTo>
                    <a:pt x="1299" y="75"/>
                    <a:pt x="1299" y="75"/>
                    <a:pt x="1299" y="75"/>
                  </a:cubicBezTo>
                  <a:cubicBezTo>
                    <a:pt x="1298" y="75"/>
                    <a:pt x="1298" y="75"/>
                    <a:pt x="1298" y="75"/>
                  </a:cubicBezTo>
                  <a:cubicBezTo>
                    <a:pt x="1298" y="74"/>
                    <a:pt x="1298" y="74"/>
                    <a:pt x="1298" y="74"/>
                  </a:cubicBezTo>
                  <a:cubicBezTo>
                    <a:pt x="1298" y="74"/>
                    <a:pt x="1298" y="74"/>
                    <a:pt x="1298" y="74"/>
                  </a:cubicBezTo>
                  <a:cubicBezTo>
                    <a:pt x="1297" y="74"/>
                    <a:pt x="1297" y="74"/>
                    <a:pt x="1297" y="74"/>
                  </a:cubicBezTo>
                  <a:cubicBezTo>
                    <a:pt x="1297" y="74"/>
                    <a:pt x="1297" y="74"/>
                    <a:pt x="1297" y="74"/>
                  </a:cubicBezTo>
                  <a:cubicBezTo>
                    <a:pt x="1297" y="74"/>
                    <a:pt x="1297" y="74"/>
                    <a:pt x="1297" y="74"/>
                  </a:cubicBezTo>
                  <a:cubicBezTo>
                    <a:pt x="1297" y="74"/>
                    <a:pt x="1297" y="74"/>
                    <a:pt x="1297" y="74"/>
                  </a:cubicBezTo>
                  <a:cubicBezTo>
                    <a:pt x="1297" y="73"/>
                    <a:pt x="1297" y="73"/>
                    <a:pt x="1297" y="73"/>
                  </a:cubicBezTo>
                  <a:cubicBezTo>
                    <a:pt x="1300" y="73"/>
                    <a:pt x="1299" y="72"/>
                    <a:pt x="1302" y="70"/>
                  </a:cubicBezTo>
                  <a:cubicBezTo>
                    <a:pt x="1302" y="70"/>
                    <a:pt x="1302" y="70"/>
                    <a:pt x="1302" y="70"/>
                  </a:cubicBezTo>
                  <a:cubicBezTo>
                    <a:pt x="1251" y="65"/>
                    <a:pt x="1251" y="65"/>
                    <a:pt x="1251" y="65"/>
                  </a:cubicBezTo>
                  <a:cubicBezTo>
                    <a:pt x="1250" y="65"/>
                    <a:pt x="1250" y="65"/>
                    <a:pt x="1250" y="65"/>
                  </a:cubicBezTo>
                  <a:cubicBezTo>
                    <a:pt x="1250" y="65"/>
                    <a:pt x="1250" y="65"/>
                    <a:pt x="1250" y="65"/>
                  </a:cubicBezTo>
                  <a:cubicBezTo>
                    <a:pt x="1250" y="66"/>
                    <a:pt x="1250" y="66"/>
                    <a:pt x="1250" y="66"/>
                  </a:cubicBezTo>
                  <a:cubicBezTo>
                    <a:pt x="1250" y="66"/>
                    <a:pt x="1250" y="66"/>
                    <a:pt x="1250" y="66"/>
                  </a:cubicBezTo>
                  <a:cubicBezTo>
                    <a:pt x="1249" y="66"/>
                    <a:pt x="1249" y="66"/>
                    <a:pt x="1249" y="66"/>
                  </a:cubicBezTo>
                  <a:cubicBezTo>
                    <a:pt x="1248" y="66"/>
                    <a:pt x="1248" y="66"/>
                    <a:pt x="1248" y="66"/>
                  </a:cubicBezTo>
                  <a:cubicBezTo>
                    <a:pt x="1248" y="66"/>
                    <a:pt x="1248" y="66"/>
                    <a:pt x="1248" y="66"/>
                  </a:cubicBezTo>
                  <a:cubicBezTo>
                    <a:pt x="1248" y="67"/>
                    <a:pt x="1248" y="67"/>
                    <a:pt x="1248" y="67"/>
                  </a:cubicBezTo>
                  <a:cubicBezTo>
                    <a:pt x="1247" y="67"/>
                    <a:pt x="1247" y="67"/>
                    <a:pt x="1246" y="67"/>
                  </a:cubicBezTo>
                  <a:cubicBezTo>
                    <a:pt x="1246" y="67"/>
                    <a:pt x="1246" y="67"/>
                    <a:pt x="1246" y="67"/>
                  </a:cubicBezTo>
                  <a:cubicBezTo>
                    <a:pt x="1246" y="67"/>
                    <a:pt x="1246" y="67"/>
                    <a:pt x="1246" y="67"/>
                  </a:cubicBezTo>
                  <a:cubicBezTo>
                    <a:pt x="1246" y="68"/>
                    <a:pt x="1246" y="68"/>
                    <a:pt x="1246" y="68"/>
                  </a:cubicBezTo>
                  <a:cubicBezTo>
                    <a:pt x="1246" y="68"/>
                    <a:pt x="1246" y="68"/>
                    <a:pt x="1246" y="68"/>
                  </a:cubicBezTo>
                  <a:cubicBezTo>
                    <a:pt x="1246" y="68"/>
                    <a:pt x="1246" y="69"/>
                    <a:pt x="1246" y="69"/>
                  </a:cubicBezTo>
                  <a:cubicBezTo>
                    <a:pt x="1246" y="69"/>
                    <a:pt x="1246" y="69"/>
                    <a:pt x="1246" y="69"/>
                  </a:cubicBezTo>
                  <a:cubicBezTo>
                    <a:pt x="1246" y="69"/>
                    <a:pt x="1246" y="69"/>
                    <a:pt x="1246" y="69"/>
                  </a:cubicBezTo>
                  <a:cubicBezTo>
                    <a:pt x="1246" y="70"/>
                    <a:pt x="1246" y="70"/>
                    <a:pt x="1245" y="70"/>
                  </a:cubicBezTo>
                  <a:cubicBezTo>
                    <a:pt x="1245" y="70"/>
                    <a:pt x="1245" y="70"/>
                    <a:pt x="1245" y="70"/>
                  </a:cubicBezTo>
                  <a:cubicBezTo>
                    <a:pt x="1245" y="70"/>
                    <a:pt x="1245" y="70"/>
                    <a:pt x="1245" y="70"/>
                  </a:cubicBezTo>
                  <a:cubicBezTo>
                    <a:pt x="1244" y="70"/>
                    <a:pt x="1244" y="70"/>
                    <a:pt x="1244" y="70"/>
                  </a:cubicBezTo>
                  <a:cubicBezTo>
                    <a:pt x="1244" y="71"/>
                    <a:pt x="1244" y="71"/>
                    <a:pt x="1244" y="71"/>
                  </a:cubicBezTo>
                  <a:cubicBezTo>
                    <a:pt x="1245" y="71"/>
                    <a:pt x="1245" y="71"/>
                    <a:pt x="1245" y="71"/>
                  </a:cubicBezTo>
                  <a:cubicBezTo>
                    <a:pt x="1247" y="71"/>
                    <a:pt x="1247" y="71"/>
                    <a:pt x="1247" y="71"/>
                  </a:cubicBezTo>
                  <a:cubicBezTo>
                    <a:pt x="1251" y="70"/>
                    <a:pt x="1251" y="70"/>
                    <a:pt x="1251" y="70"/>
                  </a:cubicBezTo>
                  <a:cubicBezTo>
                    <a:pt x="1252" y="70"/>
                    <a:pt x="1252" y="70"/>
                    <a:pt x="1252" y="70"/>
                  </a:cubicBezTo>
                  <a:cubicBezTo>
                    <a:pt x="1253" y="70"/>
                    <a:pt x="1253" y="70"/>
                    <a:pt x="1253" y="70"/>
                  </a:cubicBezTo>
                  <a:cubicBezTo>
                    <a:pt x="1253" y="70"/>
                    <a:pt x="1253" y="70"/>
                    <a:pt x="1253" y="70"/>
                  </a:cubicBezTo>
                  <a:cubicBezTo>
                    <a:pt x="1253" y="71"/>
                    <a:pt x="1253" y="71"/>
                    <a:pt x="1253" y="71"/>
                  </a:cubicBezTo>
                  <a:cubicBezTo>
                    <a:pt x="1253" y="71"/>
                    <a:pt x="1253" y="71"/>
                    <a:pt x="1253" y="71"/>
                  </a:cubicBezTo>
                  <a:cubicBezTo>
                    <a:pt x="1253" y="71"/>
                    <a:pt x="1253" y="71"/>
                    <a:pt x="1253" y="71"/>
                  </a:cubicBezTo>
                  <a:cubicBezTo>
                    <a:pt x="1253" y="71"/>
                    <a:pt x="1253" y="71"/>
                    <a:pt x="1253" y="71"/>
                  </a:cubicBezTo>
                  <a:cubicBezTo>
                    <a:pt x="1253" y="71"/>
                    <a:pt x="1253" y="71"/>
                    <a:pt x="1253" y="71"/>
                  </a:cubicBezTo>
                  <a:cubicBezTo>
                    <a:pt x="1255" y="72"/>
                    <a:pt x="1258" y="71"/>
                    <a:pt x="1259" y="71"/>
                  </a:cubicBezTo>
                  <a:cubicBezTo>
                    <a:pt x="1259" y="72"/>
                    <a:pt x="1259" y="72"/>
                    <a:pt x="1259" y="72"/>
                  </a:cubicBezTo>
                  <a:cubicBezTo>
                    <a:pt x="1259" y="72"/>
                    <a:pt x="1259" y="72"/>
                    <a:pt x="1259" y="72"/>
                  </a:cubicBezTo>
                  <a:cubicBezTo>
                    <a:pt x="1260" y="72"/>
                    <a:pt x="1260" y="72"/>
                    <a:pt x="1260" y="72"/>
                  </a:cubicBezTo>
                  <a:cubicBezTo>
                    <a:pt x="1262" y="72"/>
                    <a:pt x="1262" y="72"/>
                    <a:pt x="1262" y="72"/>
                  </a:cubicBezTo>
                  <a:cubicBezTo>
                    <a:pt x="1267" y="71"/>
                    <a:pt x="1267" y="71"/>
                    <a:pt x="1267" y="71"/>
                  </a:cubicBezTo>
                  <a:cubicBezTo>
                    <a:pt x="1268" y="71"/>
                    <a:pt x="1268" y="71"/>
                    <a:pt x="1268" y="71"/>
                  </a:cubicBezTo>
                  <a:cubicBezTo>
                    <a:pt x="1269" y="71"/>
                    <a:pt x="1269" y="71"/>
                    <a:pt x="1269" y="71"/>
                  </a:cubicBezTo>
                  <a:cubicBezTo>
                    <a:pt x="1269" y="72"/>
                    <a:pt x="1269" y="72"/>
                    <a:pt x="1269" y="72"/>
                  </a:cubicBezTo>
                  <a:cubicBezTo>
                    <a:pt x="1269" y="72"/>
                    <a:pt x="1269" y="72"/>
                    <a:pt x="1269" y="72"/>
                  </a:cubicBezTo>
                  <a:cubicBezTo>
                    <a:pt x="1269" y="72"/>
                    <a:pt x="1269" y="72"/>
                    <a:pt x="1269" y="72"/>
                  </a:cubicBezTo>
                  <a:cubicBezTo>
                    <a:pt x="1266" y="73"/>
                    <a:pt x="1263" y="74"/>
                    <a:pt x="1259" y="74"/>
                  </a:cubicBezTo>
                  <a:cubicBezTo>
                    <a:pt x="1223" y="79"/>
                    <a:pt x="1223" y="79"/>
                    <a:pt x="1223" y="79"/>
                  </a:cubicBezTo>
                  <a:cubicBezTo>
                    <a:pt x="1223" y="79"/>
                    <a:pt x="1223" y="79"/>
                    <a:pt x="1223" y="79"/>
                  </a:cubicBezTo>
                  <a:cubicBezTo>
                    <a:pt x="1216" y="81"/>
                    <a:pt x="1210" y="81"/>
                    <a:pt x="1203" y="83"/>
                  </a:cubicBezTo>
                  <a:cubicBezTo>
                    <a:pt x="1201" y="84"/>
                    <a:pt x="1201" y="84"/>
                    <a:pt x="1201" y="84"/>
                  </a:cubicBezTo>
                  <a:cubicBezTo>
                    <a:pt x="1195" y="84"/>
                    <a:pt x="1195" y="84"/>
                    <a:pt x="1195" y="84"/>
                  </a:cubicBezTo>
                  <a:cubicBezTo>
                    <a:pt x="1193" y="85"/>
                    <a:pt x="1193" y="85"/>
                    <a:pt x="1193" y="85"/>
                  </a:cubicBezTo>
                  <a:cubicBezTo>
                    <a:pt x="1191" y="85"/>
                    <a:pt x="1191" y="85"/>
                    <a:pt x="1191" y="85"/>
                  </a:cubicBezTo>
                  <a:cubicBezTo>
                    <a:pt x="1190" y="86"/>
                    <a:pt x="1189" y="86"/>
                    <a:pt x="1188" y="86"/>
                  </a:cubicBezTo>
                  <a:cubicBezTo>
                    <a:pt x="1185" y="87"/>
                    <a:pt x="1185" y="87"/>
                    <a:pt x="1185" y="87"/>
                  </a:cubicBezTo>
                  <a:cubicBezTo>
                    <a:pt x="1179" y="88"/>
                    <a:pt x="1179" y="88"/>
                    <a:pt x="1179" y="88"/>
                  </a:cubicBezTo>
                  <a:cubicBezTo>
                    <a:pt x="1177" y="88"/>
                    <a:pt x="1177" y="88"/>
                    <a:pt x="1177" y="88"/>
                  </a:cubicBezTo>
                  <a:cubicBezTo>
                    <a:pt x="1176" y="89"/>
                    <a:pt x="1176" y="89"/>
                    <a:pt x="1176" y="89"/>
                  </a:cubicBezTo>
                  <a:cubicBezTo>
                    <a:pt x="1175" y="89"/>
                    <a:pt x="1175" y="89"/>
                    <a:pt x="1175" y="89"/>
                  </a:cubicBezTo>
                  <a:cubicBezTo>
                    <a:pt x="1175" y="89"/>
                    <a:pt x="1175" y="89"/>
                    <a:pt x="1175" y="89"/>
                  </a:cubicBezTo>
                  <a:cubicBezTo>
                    <a:pt x="1175" y="89"/>
                    <a:pt x="1175" y="89"/>
                    <a:pt x="1175" y="89"/>
                  </a:cubicBezTo>
                  <a:cubicBezTo>
                    <a:pt x="1175" y="90"/>
                    <a:pt x="1175" y="90"/>
                    <a:pt x="1175" y="90"/>
                  </a:cubicBezTo>
                  <a:cubicBezTo>
                    <a:pt x="1174" y="90"/>
                    <a:pt x="1174" y="90"/>
                    <a:pt x="1174" y="90"/>
                  </a:cubicBezTo>
                  <a:cubicBezTo>
                    <a:pt x="1174" y="90"/>
                    <a:pt x="1174" y="90"/>
                    <a:pt x="1174" y="90"/>
                  </a:cubicBezTo>
                  <a:cubicBezTo>
                    <a:pt x="1172" y="91"/>
                    <a:pt x="1172" y="91"/>
                    <a:pt x="1172" y="91"/>
                  </a:cubicBezTo>
                  <a:cubicBezTo>
                    <a:pt x="1172" y="91"/>
                    <a:pt x="1172" y="91"/>
                    <a:pt x="1172" y="91"/>
                  </a:cubicBezTo>
                  <a:cubicBezTo>
                    <a:pt x="1171" y="91"/>
                    <a:pt x="1171" y="91"/>
                    <a:pt x="1171" y="91"/>
                  </a:cubicBezTo>
                  <a:cubicBezTo>
                    <a:pt x="1171" y="91"/>
                    <a:pt x="1171" y="91"/>
                    <a:pt x="1171" y="91"/>
                  </a:cubicBezTo>
                  <a:cubicBezTo>
                    <a:pt x="1171" y="91"/>
                    <a:pt x="1171" y="91"/>
                    <a:pt x="1171" y="91"/>
                  </a:cubicBezTo>
                  <a:cubicBezTo>
                    <a:pt x="1170" y="91"/>
                    <a:pt x="1170" y="91"/>
                    <a:pt x="1170" y="91"/>
                  </a:cubicBezTo>
                  <a:cubicBezTo>
                    <a:pt x="1171" y="91"/>
                    <a:pt x="1171" y="91"/>
                    <a:pt x="1171" y="91"/>
                  </a:cubicBezTo>
                  <a:cubicBezTo>
                    <a:pt x="1171" y="91"/>
                    <a:pt x="1171" y="91"/>
                    <a:pt x="1171" y="91"/>
                  </a:cubicBezTo>
                  <a:cubicBezTo>
                    <a:pt x="1171" y="91"/>
                    <a:pt x="1171" y="91"/>
                    <a:pt x="1171" y="91"/>
                  </a:cubicBezTo>
                  <a:cubicBezTo>
                    <a:pt x="1171" y="91"/>
                    <a:pt x="1171" y="91"/>
                    <a:pt x="1171" y="91"/>
                  </a:cubicBezTo>
                  <a:cubicBezTo>
                    <a:pt x="1172" y="91"/>
                    <a:pt x="1172" y="91"/>
                    <a:pt x="1172" y="91"/>
                  </a:cubicBezTo>
                  <a:cubicBezTo>
                    <a:pt x="1172" y="92"/>
                    <a:pt x="1172" y="92"/>
                    <a:pt x="1172" y="92"/>
                  </a:cubicBezTo>
                  <a:cubicBezTo>
                    <a:pt x="1172" y="92"/>
                    <a:pt x="1172" y="92"/>
                    <a:pt x="1172" y="92"/>
                  </a:cubicBezTo>
                  <a:cubicBezTo>
                    <a:pt x="1169" y="92"/>
                    <a:pt x="1169" y="92"/>
                    <a:pt x="1167" y="93"/>
                  </a:cubicBezTo>
                  <a:cubicBezTo>
                    <a:pt x="1167" y="93"/>
                    <a:pt x="1167" y="93"/>
                    <a:pt x="1167" y="93"/>
                  </a:cubicBezTo>
                  <a:cubicBezTo>
                    <a:pt x="1167" y="94"/>
                    <a:pt x="1167" y="94"/>
                    <a:pt x="1167" y="94"/>
                  </a:cubicBezTo>
                  <a:cubicBezTo>
                    <a:pt x="1167" y="94"/>
                    <a:pt x="1167" y="94"/>
                    <a:pt x="1167" y="94"/>
                  </a:cubicBezTo>
                  <a:cubicBezTo>
                    <a:pt x="1167" y="94"/>
                    <a:pt x="1167" y="94"/>
                    <a:pt x="1167" y="94"/>
                  </a:cubicBezTo>
                  <a:cubicBezTo>
                    <a:pt x="1166" y="94"/>
                    <a:pt x="1166" y="94"/>
                    <a:pt x="1166" y="94"/>
                  </a:cubicBezTo>
                  <a:cubicBezTo>
                    <a:pt x="1165" y="94"/>
                    <a:pt x="1165" y="94"/>
                    <a:pt x="1165" y="94"/>
                  </a:cubicBezTo>
                  <a:cubicBezTo>
                    <a:pt x="1165" y="94"/>
                    <a:pt x="1165" y="94"/>
                    <a:pt x="1165" y="94"/>
                  </a:cubicBezTo>
                  <a:cubicBezTo>
                    <a:pt x="1164" y="95"/>
                    <a:pt x="1164" y="95"/>
                    <a:pt x="1164" y="95"/>
                  </a:cubicBezTo>
                  <a:cubicBezTo>
                    <a:pt x="1164" y="95"/>
                    <a:pt x="1164" y="95"/>
                    <a:pt x="1164" y="95"/>
                  </a:cubicBezTo>
                  <a:cubicBezTo>
                    <a:pt x="1164" y="95"/>
                    <a:pt x="1164" y="95"/>
                    <a:pt x="1164" y="95"/>
                  </a:cubicBezTo>
                  <a:cubicBezTo>
                    <a:pt x="1163" y="95"/>
                    <a:pt x="1163" y="95"/>
                    <a:pt x="1163" y="95"/>
                  </a:cubicBezTo>
                  <a:cubicBezTo>
                    <a:pt x="1163" y="95"/>
                    <a:pt x="1163" y="95"/>
                    <a:pt x="1163" y="95"/>
                  </a:cubicBezTo>
                  <a:cubicBezTo>
                    <a:pt x="1163" y="95"/>
                    <a:pt x="1163" y="95"/>
                    <a:pt x="1163" y="95"/>
                  </a:cubicBezTo>
                  <a:cubicBezTo>
                    <a:pt x="1163" y="96"/>
                    <a:pt x="1163" y="96"/>
                    <a:pt x="1163" y="96"/>
                  </a:cubicBezTo>
                  <a:cubicBezTo>
                    <a:pt x="1163" y="96"/>
                    <a:pt x="1163" y="96"/>
                    <a:pt x="1163" y="96"/>
                  </a:cubicBezTo>
                  <a:cubicBezTo>
                    <a:pt x="1163" y="96"/>
                    <a:pt x="1163" y="96"/>
                    <a:pt x="1163" y="96"/>
                  </a:cubicBezTo>
                  <a:cubicBezTo>
                    <a:pt x="1163" y="96"/>
                    <a:pt x="1163" y="96"/>
                    <a:pt x="1163" y="96"/>
                  </a:cubicBezTo>
                  <a:cubicBezTo>
                    <a:pt x="1162" y="97"/>
                    <a:pt x="1162" y="97"/>
                    <a:pt x="1162" y="97"/>
                  </a:cubicBezTo>
                  <a:cubicBezTo>
                    <a:pt x="1162" y="97"/>
                    <a:pt x="1162" y="97"/>
                    <a:pt x="1162" y="97"/>
                  </a:cubicBezTo>
                  <a:cubicBezTo>
                    <a:pt x="1161" y="97"/>
                    <a:pt x="1161" y="97"/>
                    <a:pt x="1161" y="97"/>
                  </a:cubicBezTo>
                  <a:cubicBezTo>
                    <a:pt x="1161" y="97"/>
                    <a:pt x="1161" y="97"/>
                    <a:pt x="1161" y="97"/>
                  </a:cubicBezTo>
                  <a:cubicBezTo>
                    <a:pt x="1161" y="98"/>
                    <a:pt x="1161" y="98"/>
                    <a:pt x="1161" y="98"/>
                  </a:cubicBezTo>
                  <a:cubicBezTo>
                    <a:pt x="1160" y="98"/>
                    <a:pt x="1160" y="98"/>
                    <a:pt x="1159" y="98"/>
                  </a:cubicBezTo>
                  <a:cubicBezTo>
                    <a:pt x="1159" y="99"/>
                    <a:pt x="1159" y="99"/>
                    <a:pt x="1159" y="99"/>
                  </a:cubicBezTo>
                  <a:cubicBezTo>
                    <a:pt x="1158" y="99"/>
                    <a:pt x="1158" y="99"/>
                    <a:pt x="1158" y="99"/>
                  </a:cubicBezTo>
                  <a:cubicBezTo>
                    <a:pt x="1157" y="100"/>
                    <a:pt x="1157" y="100"/>
                    <a:pt x="1157" y="100"/>
                  </a:cubicBezTo>
                  <a:cubicBezTo>
                    <a:pt x="1153" y="103"/>
                    <a:pt x="1153" y="103"/>
                    <a:pt x="1153" y="103"/>
                  </a:cubicBezTo>
                  <a:cubicBezTo>
                    <a:pt x="1152" y="103"/>
                    <a:pt x="1152" y="103"/>
                    <a:pt x="1152" y="103"/>
                  </a:cubicBezTo>
                  <a:cubicBezTo>
                    <a:pt x="1151" y="104"/>
                    <a:pt x="1151" y="104"/>
                    <a:pt x="1151" y="104"/>
                  </a:cubicBezTo>
                  <a:cubicBezTo>
                    <a:pt x="1150" y="104"/>
                    <a:pt x="1150" y="104"/>
                    <a:pt x="1150" y="104"/>
                  </a:cubicBezTo>
                  <a:cubicBezTo>
                    <a:pt x="1148" y="103"/>
                    <a:pt x="1148" y="103"/>
                    <a:pt x="1148" y="103"/>
                  </a:cubicBezTo>
                  <a:cubicBezTo>
                    <a:pt x="1145" y="103"/>
                    <a:pt x="1145" y="103"/>
                    <a:pt x="1145" y="103"/>
                  </a:cubicBezTo>
                  <a:cubicBezTo>
                    <a:pt x="1137" y="102"/>
                    <a:pt x="1137" y="102"/>
                    <a:pt x="1137" y="102"/>
                  </a:cubicBezTo>
                  <a:cubicBezTo>
                    <a:pt x="1134" y="102"/>
                    <a:pt x="1134" y="102"/>
                    <a:pt x="1134" y="102"/>
                  </a:cubicBezTo>
                  <a:cubicBezTo>
                    <a:pt x="1132" y="102"/>
                    <a:pt x="1132" y="102"/>
                    <a:pt x="1132" y="102"/>
                  </a:cubicBezTo>
                  <a:cubicBezTo>
                    <a:pt x="1132" y="102"/>
                    <a:pt x="1132" y="102"/>
                    <a:pt x="1132" y="102"/>
                  </a:cubicBezTo>
                  <a:cubicBezTo>
                    <a:pt x="1132" y="103"/>
                    <a:pt x="1132" y="103"/>
                    <a:pt x="1131" y="104"/>
                  </a:cubicBezTo>
                  <a:cubicBezTo>
                    <a:pt x="1131" y="104"/>
                    <a:pt x="1131" y="104"/>
                    <a:pt x="1131" y="104"/>
                  </a:cubicBezTo>
                  <a:cubicBezTo>
                    <a:pt x="1131" y="104"/>
                    <a:pt x="1131" y="104"/>
                    <a:pt x="1131" y="104"/>
                  </a:cubicBezTo>
                  <a:cubicBezTo>
                    <a:pt x="1132" y="104"/>
                    <a:pt x="1132" y="104"/>
                    <a:pt x="1132" y="104"/>
                  </a:cubicBezTo>
                  <a:cubicBezTo>
                    <a:pt x="1132" y="105"/>
                    <a:pt x="1132" y="105"/>
                    <a:pt x="1132" y="105"/>
                  </a:cubicBezTo>
                  <a:cubicBezTo>
                    <a:pt x="1133" y="104"/>
                    <a:pt x="1133" y="104"/>
                    <a:pt x="1133" y="104"/>
                  </a:cubicBezTo>
                  <a:cubicBezTo>
                    <a:pt x="1134" y="104"/>
                    <a:pt x="1134" y="104"/>
                    <a:pt x="1134" y="104"/>
                  </a:cubicBezTo>
                  <a:cubicBezTo>
                    <a:pt x="1134" y="104"/>
                    <a:pt x="1134" y="104"/>
                    <a:pt x="1134" y="104"/>
                  </a:cubicBezTo>
                  <a:cubicBezTo>
                    <a:pt x="1135" y="104"/>
                    <a:pt x="1135" y="104"/>
                    <a:pt x="1135" y="104"/>
                  </a:cubicBezTo>
                  <a:cubicBezTo>
                    <a:pt x="1135" y="104"/>
                    <a:pt x="1135" y="104"/>
                    <a:pt x="1135" y="104"/>
                  </a:cubicBezTo>
                  <a:cubicBezTo>
                    <a:pt x="1136" y="105"/>
                    <a:pt x="1136" y="105"/>
                    <a:pt x="1136" y="105"/>
                  </a:cubicBezTo>
                  <a:cubicBezTo>
                    <a:pt x="1136" y="105"/>
                    <a:pt x="1136" y="105"/>
                    <a:pt x="1136" y="105"/>
                  </a:cubicBezTo>
                  <a:cubicBezTo>
                    <a:pt x="1137" y="105"/>
                    <a:pt x="1138" y="105"/>
                    <a:pt x="1138" y="105"/>
                  </a:cubicBezTo>
                  <a:cubicBezTo>
                    <a:pt x="1139" y="105"/>
                    <a:pt x="1139" y="105"/>
                    <a:pt x="1139" y="105"/>
                  </a:cubicBezTo>
                  <a:cubicBezTo>
                    <a:pt x="1139" y="105"/>
                    <a:pt x="1139" y="105"/>
                    <a:pt x="1139" y="105"/>
                  </a:cubicBezTo>
                  <a:cubicBezTo>
                    <a:pt x="1139" y="106"/>
                    <a:pt x="1139" y="106"/>
                    <a:pt x="1139" y="106"/>
                  </a:cubicBezTo>
                  <a:cubicBezTo>
                    <a:pt x="1140" y="106"/>
                    <a:pt x="1140" y="106"/>
                    <a:pt x="1140" y="106"/>
                  </a:cubicBezTo>
                  <a:cubicBezTo>
                    <a:pt x="1140" y="106"/>
                    <a:pt x="1140" y="106"/>
                    <a:pt x="1140" y="106"/>
                  </a:cubicBezTo>
                  <a:cubicBezTo>
                    <a:pt x="1140" y="106"/>
                    <a:pt x="1140" y="106"/>
                    <a:pt x="1140" y="106"/>
                  </a:cubicBezTo>
                  <a:cubicBezTo>
                    <a:pt x="1141" y="106"/>
                    <a:pt x="1141" y="106"/>
                    <a:pt x="1141" y="106"/>
                  </a:cubicBezTo>
                  <a:cubicBezTo>
                    <a:pt x="1142" y="106"/>
                    <a:pt x="1142" y="106"/>
                    <a:pt x="1142" y="106"/>
                  </a:cubicBezTo>
                  <a:cubicBezTo>
                    <a:pt x="1142" y="106"/>
                    <a:pt x="1142" y="106"/>
                    <a:pt x="1142" y="106"/>
                  </a:cubicBezTo>
                  <a:cubicBezTo>
                    <a:pt x="1143" y="106"/>
                    <a:pt x="1143" y="106"/>
                    <a:pt x="1143" y="106"/>
                  </a:cubicBezTo>
                  <a:cubicBezTo>
                    <a:pt x="1143" y="106"/>
                    <a:pt x="1143" y="106"/>
                    <a:pt x="1143" y="106"/>
                  </a:cubicBezTo>
                  <a:cubicBezTo>
                    <a:pt x="1143" y="106"/>
                    <a:pt x="1143" y="106"/>
                    <a:pt x="1143" y="106"/>
                  </a:cubicBezTo>
                  <a:cubicBezTo>
                    <a:pt x="1141" y="107"/>
                    <a:pt x="1139" y="107"/>
                    <a:pt x="1137" y="108"/>
                  </a:cubicBezTo>
                  <a:cubicBezTo>
                    <a:pt x="1137" y="108"/>
                    <a:pt x="1137" y="108"/>
                    <a:pt x="1137" y="108"/>
                  </a:cubicBezTo>
                  <a:cubicBezTo>
                    <a:pt x="1137" y="108"/>
                    <a:pt x="1137" y="108"/>
                    <a:pt x="1137" y="108"/>
                  </a:cubicBezTo>
                  <a:cubicBezTo>
                    <a:pt x="1137" y="109"/>
                    <a:pt x="1137" y="109"/>
                    <a:pt x="1137" y="109"/>
                  </a:cubicBezTo>
                  <a:cubicBezTo>
                    <a:pt x="1137" y="109"/>
                    <a:pt x="1137" y="109"/>
                    <a:pt x="1137" y="109"/>
                  </a:cubicBezTo>
                  <a:cubicBezTo>
                    <a:pt x="1138" y="109"/>
                    <a:pt x="1138" y="109"/>
                    <a:pt x="1140" y="109"/>
                  </a:cubicBezTo>
                  <a:cubicBezTo>
                    <a:pt x="1140" y="109"/>
                    <a:pt x="1140" y="109"/>
                    <a:pt x="1140" y="109"/>
                  </a:cubicBezTo>
                  <a:cubicBezTo>
                    <a:pt x="1140" y="110"/>
                    <a:pt x="1140" y="110"/>
                    <a:pt x="1140" y="110"/>
                  </a:cubicBezTo>
                  <a:cubicBezTo>
                    <a:pt x="1140" y="110"/>
                    <a:pt x="1140" y="110"/>
                    <a:pt x="1140" y="110"/>
                  </a:cubicBezTo>
                  <a:cubicBezTo>
                    <a:pt x="1140" y="110"/>
                    <a:pt x="1140" y="110"/>
                    <a:pt x="1140" y="110"/>
                  </a:cubicBezTo>
                  <a:cubicBezTo>
                    <a:pt x="1140" y="110"/>
                    <a:pt x="1140" y="110"/>
                    <a:pt x="1140" y="110"/>
                  </a:cubicBezTo>
                  <a:cubicBezTo>
                    <a:pt x="1140" y="110"/>
                    <a:pt x="1140" y="110"/>
                    <a:pt x="1140" y="110"/>
                  </a:cubicBezTo>
                  <a:cubicBezTo>
                    <a:pt x="1139" y="111"/>
                    <a:pt x="1139" y="111"/>
                    <a:pt x="1139" y="111"/>
                  </a:cubicBezTo>
                  <a:cubicBezTo>
                    <a:pt x="1139" y="111"/>
                    <a:pt x="1139" y="111"/>
                    <a:pt x="1139" y="111"/>
                  </a:cubicBezTo>
                  <a:cubicBezTo>
                    <a:pt x="1139" y="111"/>
                    <a:pt x="1139" y="111"/>
                    <a:pt x="1139" y="111"/>
                  </a:cubicBezTo>
                  <a:cubicBezTo>
                    <a:pt x="1139" y="111"/>
                    <a:pt x="1139" y="111"/>
                    <a:pt x="1139" y="111"/>
                  </a:cubicBezTo>
                  <a:cubicBezTo>
                    <a:pt x="1138" y="111"/>
                    <a:pt x="1138" y="111"/>
                    <a:pt x="1138" y="111"/>
                  </a:cubicBezTo>
                  <a:cubicBezTo>
                    <a:pt x="1138" y="111"/>
                    <a:pt x="1138" y="111"/>
                    <a:pt x="1138" y="111"/>
                  </a:cubicBezTo>
                  <a:cubicBezTo>
                    <a:pt x="1138" y="112"/>
                    <a:pt x="1138" y="112"/>
                    <a:pt x="1138" y="112"/>
                  </a:cubicBezTo>
                  <a:cubicBezTo>
                    <a:pt x="1137" y="112"/>
                    <a:pt x="1136" y="112"/>
                    <a:pt x="1136" y="113"/>
                  </a:cubicBezTo>
                  <a:cubicBezTo>
                    <a:pt x="1135" y="113"/>
                    <a:pt x="1135" y="113"/>
                    <a:pt x="1135" y="113"/>
                  </a:cubicBezTo>
                  <a:cubicBezTo>
                    <a:pt x="1135" y="113"/>
                    <a:pt x="1135" y="113"/>
                    <a:pt x="1135" y="113"/>
                  </a:cubicBezTo>
                  <a:cubicBezTo>
                    <a:pt x="1135" y="113"/>
                    <a:pt x="1135" y="113"/>
                    <a:pt x="1135" y="113"/>
                  </a:cubicBezTo>
                  <a:cubicBezTo>
                    <a:pt x="1134" y="114"/>
                    <a:pt x="1134" y="114"/>
                    <a:pt x="1134" y="114"/>
                  </a:cubicBezTo>
                  <a:cubicBezTo>
                    <a:pt x="1134" y="114"/>
                    <a:pt x="1134" y="114"/>
                    <a:pt x="1134" y="114"/>
                  </a:cubicBezTo>
                  <a:cubicBezTo>
                    <a:pt x="1134" y="114"/>
                    <a:pt x="1134" y="114"/>
                    <a:pt x="1134" y="114"/>
                  </a:cubicBezTo>
                  <a:cubicBezTo>
                    <a:pt x="1134" y="114"/>
                    <a:pt x="1134" y="114"/>
                    <a:pt x="1134" y="114"/>
                  </a:cubicBezTo>
                  <a:cubicBezTo>
                    <a:pt x="1134" y="115"/>
                    <a:pt x="1134" y="115"/>
                    <a:pt x="1134" y="115"/>
                  </a:cubicBezTo>
                  <a:cubicBezTo>
                    <a:pt x="1134" y="115"/>
                    <a:pt x="1134" y="115"/>
                    <a:pt x="1134" y="115"/>
                  </a:cubicBezTo>
                  <a:cubicBezTo>
                    <a:pt x="1134" y="115"/>
                    <a:pt x="1134" y="115"/>
                    <a:pt x="1134" y="115"/>
                  </a:cubicBezTo>
                  <a:cubicBezTo>
                    <a:pt x="1134" y="116"/>
                    <a:pt x="1134" y="116"/>
                    <a:pt x="1134" y="116"/>
                  </a:cubicBezTo>
                  <a:cubicBezTo>
                    <a:pt x="1134" y="116"/>
                    <a:pt x="1134" y="116"/>
                    <a:pt x="1134" y="116"/>
                  </a:cubicBezTo>
                  <a:cubicBezTo>
                    <a:pt x="1134" y="116"/>
                    <a:pt x="1134" y="116"/>
                    <a:pt x="1134" y="116"/>
                  </a:cubicBezTo>
                  <a:cubicBezTo>
                    <a:pt x="1132" y="117"/>
                    <a:pt x="1131" y="117"/>
                    <a:pt x="1129" y="119"/>
                  </a:cubicBezTo>
                  <a:cubicBezTo>
                    <a:pt x="1129" y="119"/>
                    <a:pt x="1129" y="119"/>
                    <a:pt x="1129" y="119"/>
                  </a:cubicBezTo>
                  <a:cubicBezTo>
                    <a:pt x="1129" y="119"/>
                    <a:pt x="1129" y="119"/>
                    <a:pt x="1129" y="119"/>
                  </a:cubicBezTo>
                  <a:cubicBezTo>
                    <a:pt x="1130" y="120"/>
                    <a:pt x="1130" y="120"/>
                    <a:pt x="1130" y="120"/>
                  </a:cubicBezTo>
                  <a:cubicBezTo>
                    <a:pt x="1131" y="122"/>
                    <a:pt x="1131" y="122"/>
                    <a:pt x="1131" y="122"/>
                  </a:cubicBezTo>
                  <a:cubicBezTo>
                    <a:pt x="1132" y="122"/>
                    <a:pt x="1132" y="122"/>
                    <a:pt x="1132" y="122"/>
                  </a:cubicBezTo>
                  <a:cubicBezTo>
                    <a:pt x="1132" y="122"/>
                    <a:pt x="1132" y="122"/>
                    <a:pt x="1132" y="122"/>
                  </a:cubicBezTo>
                  <a:cubicBezTo>
                    <a:pt x="1131" y="122"/>
                    <a:pt x="1131" y="122"/>
                    <a:pt x="1131" y="122"/>
                  </a:cubicBezTo>
                  <a:cubicBezTo>
                    <a:pt x="1131" y="122"/>
                    <a:pt x="1131" y="122"/>
                    <a:pt x="1131" y="122"/>
                  </a:cubicBezTo>
                  <a:cubicBezTo>
                    <a:pt x="1130" y="122"/>
                    <a:pt x="1130" y="122"/>
                    <a:pt x="1130" y="122"/>
                  </a:cubicBezTo>
                  <a:cubicBezTo>
                    <a:pt x="1129" y="122"/>
                    <a:pt x="1129" y="122"/>
                    <a:pt x="1129" y="122"/>
                  </a:cubicBezTo>
                  <a:cubicBezTo>
                    <a:pt x="1128" y="122"/>
                    <a:pt x="1128" y="122"/>
                    <a:pt x="1128" y="122"/>
                  </a:cubicBezTo>
                  <a:cubicBezTo>
                    <a:pt x="1127" y="122"/>
                    <a:pt x="1127" y="122"/>
                    <a:pt x="1127" y="122"/>
                  </a:cubicBezTo>
                  <a:cubicBezTo>
                    <a:pt x="1127" y="122"/>
                    <a:pt x="1127" y="122"/>
                    <a:pt x="1127" y="122"/>
                  </a:cubicBezTo>
                  <a:cubicBezTo>
                    <a:pt x="1127" y="122"/>
                    <a:pt x="1127" y="122"/>
                    <a:pt x="1127" y="122"/>
                  </a:cubicBezTo>
                  <a:cubicBezTo>
                    <a:pt x="1127" y="121"/>
                    <a:pt x="1127" y="121"/>
                    <a:pt x="1127" y="121"/>
                  </a:cubicBezTo>
                  <a:cubicBezTo>
                    <a:pt x="1127" y="121"/>
                    <a:pt x="1127" y="121"/>
                    <a:pt x="1127" y="121"/>
                  </a:cubicBezTo>
                  <a:cubicBezTo>
                    <a:pt x="1126" y="121"/>
                    <a:pt x="1126" y="121"/>
                    <a:pt x="1126" y="121"/>
                  </a:cubicBezTo>
                  <a:cubicBezTo>
                    <a:pt x="1124" y="120"/>
                    <a:pt x="1128" y="119"/>
                    <a:pt x="1125" y="119"/>
                  </a:cubicBezTo>
                  <a:cubicBezTo>
                    <a:pt x="1125" y="119"/>
                    <a:pt x="1125" y="119"/>
                    <a:pt x="1125" y="119"/>
                  </a:cubicBezTo>
                  <a:cubicBezTo>
                    <a:pt x="1124" y="119"/>
                    <a:pt x="1124" y="119"/>
                    <a:pt x="1124" y="119"/>
                  </a:cubicBezTo>
                  <a:cubicBezTo>
                    <a:pt x="1118" y="119"/>
                    <a:pt x="1122" y="119"/>
                    <a:pt x="1116" y="116"/>
                  </a:cubicBezTo>
                  <a:cubicBezTo>
                    <a:pt x="1115" y="115"/>
                    <a:pt x="1115" y="115"/>
                    <a:pt x="1115" y="115"/>
                  </a:cubicBezTo>
                  <a:cubicBezTo>
                    <a:pt x="1115" y="115"/>
                    <a:pt x="1115" y="115"/>
                    <a:pt x="1115" y="115"/>
                  </a:cubicBezTo>
                  <a:cubicBezTo>
                    <a:pt x="1115" y="115"/>
                    <a:pt x="1115" y="115"/>
                    <a:pt x="1115" y="115"/>
                  </a:cubicBezTo>
                  <a:cubicBezTo>
                    <a:pt x="1115" y="115"/>
                    <a:pt x="1115" y="115"/>
                    <a:pt x="1115" y="115"/>
                  </a:cubicBezTo>
                  <a:cubicBezTo>
                    <a:pt x="1116" y="116"/>
                    <a:pt x="1116" y="116"/>
                    <a:pt x="1116" y="116"/>
                  </a:cubicBezTo>
                  <a:cubicBezTo>
                    <a:pt x="1116" y="116"/>
                    <a:pt x="1116" y="116"/>
                    <a:pt x="1116" y="116"/>
                  </a:cubicBezTo>
                  <a:cubicBezTo>
                    <a:pt x="1116" y="116"/>
                    <a:pt x="1116" y="116"/>
                    <a:pt x="1116" y="116"/>
                  </a:cubicBezTo>
                  <a:cubicBezTo>
                    <a:pt x="1116" y="116"/>
                    <a:pt x="1116" y="116"/>
                    <a:pt x="1116" y="116"/>
                  </a:cubicBezTo>
                  <a:cubicBezTo>
                    <a:pt x="1116" y="117"/>
                    <a:pt x="1116" y="117"/>
                    <a:pt x="1116" y="117"/>
                  </a:cubicBezTo>
                  <a:cubicBezTo>
                    <a:pt x="1115" y="117"/>
                    <a:pt x="1115" y="117"/>
                    <a:pt x="1115" y="117"/>
                  </a:cubicBezTo>
                  <a:cubicBezTo>
                    <a:pt x="1113" y="118"/>
                    <a:pt x="1113" y="118"/>
                    <a:pt x="1113" y="118"/>
                  </a:cubicBezTo>
                  <a:cubicBezTo>
                    <a:pt x="1112" y="118"/>
                    <a:pt x="1112" y="118"/>
                    <a:pt x="1112" y="118"/>
                  </a:cubicBezTo>
                  <a:cubicBezTo>
                    <a:pt x="1112" y="119"/>
                    <a:pt x="1112" y="119"/>
                    <a:pt x="1112" y="119"/>
                  </a:cubicBezTo>
                  <a:cubicBezTo>
                    <a:pt x="1111" y="119"/>
                    <a:pt x="1111" y="119"/>
                    <a:pt x="1111" y="119"/>
                  </a:cubicBezTo>
                  <a:cubicBezTo>
                    <a:pt x="1111" y="119"/>
                    <a:pt x="1111" y="119"/>
                    <a:pt x="1111" y="119"/>
                  </a:cubicBezTo>
                  <a:cubicBezTo>
                    <a:pt x="1111" y="119"/>
                    <a:pt x="1111" y="119"/>
                    <a:pt x="1111" y="119"/>
                  </a:cubicBezTo>
                  <a:cubicBezTo>
                    <a:pt x="1111" y="120"/>
                    <a:pt x="1111" y="120"/>
                    <a:pt x="1111" y="120"/>
                  </a:cubicBezTo>
                  <a:cubicBezTo>
                    <a:pt x="1111" y="120"/>
                    <a:pt x="1111" y="120"/>
                    <a:pt x="1111" y="120"/>
                  </a:cubicBezTo>
                  <a:cubicBezTo>
                    <a:pt x="1111" y="120"/>
                    <a:pt x="1111" y="120"/>
                    <a:pt x="1111" y="120"/>
                  </a:cubicBezTo>
                  <a:cubicBezTo>
                    <a:pt x="1111" y="120"/>
                    <a:pt x="1111" y="120"/>
                    <a:pt x="1111" y="120"/>
                  </a:cubicBezTo>
                  <a:cubicBezTo>
                    <a:pt x="1111" y="120"/>
                    <a:pt x="1111" y="120"/>
                    <a:pt x="1111" y="120"/>
                  </a:cubicBezTo>
                  <a:cubicBezTo>
                    <a:pt x="1111" y="121"/>
                    <a:pt x="1111" y="121"/>
                    <a:pt x="1111" y="121"/>
                  </a:cubicBezTo>
                  <a:cubicBezTo>
                    <a:pt x="1110" y="121"/>
                    <a:pt x="1110" y="121"/>
                    <a:pt x="1110" y="121"/>
                  </a:cubicBezTo>
                  <a:cubicBezTo>
                    <a:pt x="1110" y="121"/>
                    <a:pt x="1110" y="121"/>
                    <a:pt x="1110" y="121"/>
                  </a:cubicBezTo>
                  <a:cubicBezTo>
                    <a:pt x="1110" y="121"/>
                    <a:pt x="1110" y="121"/>
                    <a:pt x="1110" y="121"/>
                  </a:cubicBezTo>
                  <a:cubicBezTo>
                    <a:pt x="1109" y="121"/>
                    <a:pt x="1109" y="121"/>
                    <a:pt x="1109" y="121"/>
                  </a:cubicBezTo>
                  <a:cubicBezTo>
                    <a:pt x="1109" y="121"/>
                    <a:pt x="1109" y="121"/>
                    <a:pt x="1109" y="121"/>
                  </a:cubicBezTo>
                  <a:cubicBezTo>
                    <a:pt x="1110" y="122"/>
                    <a:pt x="1110" y="122"/>
                    <a:pt x="1110" y="122"/>
                  </a:cubicBezTo>
                  <a:cubicBezTo>
                    <a:pt x="1110" y="122"/>
                    <a:pt x="1110" y="122"/>
                    <a:pt x="1110" y="122"/>
                  </a:cubicBezTo>
                  <a:cubicBezTo>
                    <a:pt x="1111" y="122"/>
                    <a:pt x="1111" y="122"/>
                    <a:pt x="1111" y="122"/>
                  </a:cubicBezTo>
                  <a:cubicBezTo>
                    <a:pt x="1112" y="122"/>
                    <a:pt x="1112" y="123"/>
                    <a:pt x="1114" y="122"/>
                  </a:cubicBezTo>
                  <a:cubicBezTo>
                    <a:pt x="1114" y="122"/>
                    <a:pt x="1114" y="122"/>
                    <a:pt x="1114" y="122"/>
                  </a:cubicBezTo>
                  <a:cubicBezTo>
                    <a:pt x="1115" y="122"/>
                    <a:pt x="1115" y="122"/>
                    <a:pt x="1115" y="122"/>
                  </a:cubicBezTo>
                  <a:cubicBezTo>
                    <a:pt x="1116" y="122"/>
                    <a:pt x="1116" y="122"/>
                    <a:pt x="1118" y="122"/>
                  </a:cubicBezTo>
                  <a:cubicBezTo>
                    <a:pt x="1118" y="122"/>
                    <a:pt x="1118" y="122"/>
                    <a:pt x="1118" y="122"/>
                  </a:cubicBezTo>
                  <a:cubicBezTo>
                    <a:pt x="1119" y="122"/>
                    <a:pt x="1119" y="122"/>
                    <a:pt x="1119" y="122"/>
                  </a:cubicBezTo>
                  <a:cubicBezTo>
                    <a:pt x="1119" y="123"/>
                    <a:pt x="1119" y="123"/>
                    <a:pt x="1119" y="123"/>
                  </a:cubicBezTo>
                  <a:cubicBezTo>
                    <a:pt x="1120" y="123"/>
                    <a:pt x="1120" y="123"/>
                    <a:pt x="1120" y="123"/>
                  </a:cubicBezTo>
                  <a:cubicBezTo>
                    <a:pt x="1121" y="123"/>
                    <a:pt x="1121" y="124"/>
                    <a:pt x="1122" y="124"/>
                  </a:cubicBezTo>
                  <a:cubicBezTo>
                    <a:pt x="1122" y="124"/>
                    <a:pt x="1122" y="124"/>
                    <a:pt x="1122" y="124"/>
                  </a:cubicBezTo>
                  <a:cubicBezTo>
                    <a:pt x="1123" y="124"/>
                    <a:pt x="1123" y="124"/>
                    <a:pt x="1123" y="124"/>
                  </a:cubicBezTo>
                  <a:cubicBezTo>
                    <a:pt x="1124" y="125"/>
                    <a:pt x="1125" y="124"/>
                    <a:pt x="1126" y="124"/>
                  </a:cubicBezTo>
                  <a:cubicBezTo>
                    <a:pt x="1127" y="124"/>
                    <a:pt x="1127" y="124"/>
                    <a:pt x="1127" y="124"/>
                  </a:cubicBezTo>
                  <a:cubicBezTo>
                    <a:pt x="1128" y="124"/>
                    <a:pt x="1128" y="124"/>
                    <a:pt x="1128" y="124"/>
                  </a:cubicBezTo>
                  <a:cubicBezTo>
                    <a:pt x="1128" y="124"/>
                    <a:pt x="1128" y="124"/>
                    <a:pt x="1128" y="124"/>
                  </a:cubicBezTo>
                  <a:cubicBezTo>
                    <a:pt x="1128" y="125"/>
                    <a:pt x="1128" y="125"/>
                    <a:pt x="1128" y="125"/>
                  </a:cubicBezTo>
                  <a:cubicBezTo>
                    <a:pt x="1126" y="125"/>
                    <a:pt x="1126" y="125"/>
                    <a:pt x="1126" y="125"/>
                  </a:cubicBezTo>
                  <a:cubicBezTo>
                    <a:pt x="1126" y="125"/>
                    <a:pt x="1126" y="125"/>
                    <a:pt x="1126" y="125"/>
                  </a:cubicBezTo>
                  <a:cubicBezTo>
                    <a:pt x="1125" y="126"/>
                    <a:pt x="1125" y="126"/>
                    <a:pt x="1125" y="126"/>
                  </a:cubicBezTo>
                  <a:cubicBezTo>
                    <a:pt x="1125" y="126"/>
                    <a:pt x="1125" y="126"/>
                    <a:pt x="1125" y="126"/>
                  </a:cubicBezTo>
                  <a:cubicBezTo>
                    <a:pt x="1125" y="126"/>
                    <a:pt x="1125" y="126"/>
                    <a:pt x="1125" y="126"/>
                  </a:cubicBezTo>
                  <a:cubicBezTo>
                    <a:pt x="1125" y="126"/>
                    <a:pt x="1125" y="126"/>
                    <a:pt x="1125" y="126"/>
                  </a:cubicBezTo>
                  <a:cubicBezTo>
                    <a:pt x="1125" y="126"/>
                    <a:pt x="1125" y="126"/>
                    <a:pt x="1125" y="126"/>
                  </a:cubicBezTo>
                  <a:cubicBezTo>
                    <a:pt x="1125" y="127"/>
                    <a:pt x="1125" y="127"/>
                    <a:pt x="1125" y="127"/>
                  </a:cubicBezTo>
                  <a:cubicBezTo>
                    <a:pt x="1125" y="127"/>
                    <a:pt x="1125" y="127"/>
                    <a:pt x="1125" y="127"/>
                  </a:cubicBezTo>
                  <a:cubicBezTo>
                    <a:pt x="1126" y="127"/>
                    <a:pt x="1126" y="127"/>
                    <a:pt x="1126" y="127"/>
                  </a:cubicBezTo>
                  <a:cubicBezTo>
                    <a:pt x="1126" y="127"/>
                    <a:pt x="1126" y="127"/>
                    <a:pt x="1126" y="127"/>
                  </a:cubicBezTo>
                  <a:cubicBezTo>
                    <a:pt x="1126" y="127"/>
                    <a:pt x="1126" y="127"/>
                    <a:pt x="1126" y="127"/>
                  </a:cubicBezTo>
                  <a:cubicBezTo>
                    <a:pt x="1126" y="127"/>
                    <a:pt x="1126" y="127"/>
                    <a:pt x="1126" y="127"/>
                  </a:cubicBezTo>
                  <a:cubicBezTo>
                    <a:pt x="1127" y="128"/>
                    <a:pt x="1127" y="128"/>
                    <a:pt x="1127" y="128"/>
                  </a:cubicBezTo>
                  <a:cubicBezTo>
                    <a:pt x="1127" y="128"/>
                    <a:pt x="1127" y="128"/>
                    <a:pt x="1127" y="128"/>
                  </a:cubicBezTo>
                  <a:cubicBezTo>
                    <a:pt x="1127" y="128"/>
                    <a:pt x="1127" y="128"/>
                    <a:pt x="1127" y="128"/>
                  </a:cubicBezTo>
                  <a:cubicBezTo>
                    <a:pt x="1128" y="128"/>
                    <a:pt x="1128" y="128"/>
                    <a:pt x="1128" y="128"/>
                  </a:cubicBezTo>
                  <a:cubicBezTo>
                    <a:pt x="1128" y="128"/>
                    <a:pt x="1128" y="128"/>
                    <a:pt x="1128" y="128"/>
                  </a:cubicBezTo>
                  <a:cubicBezTo>
                    <a:pt x="1128" y="129"/>
                    <a:pt x="1128" y="129"/>
                    <a:pt x="1128" y="129"/>
                  </a:cubicBezTo>
                  <a:cubicBezTo>
                    <a:pt x="1128" y="129"/>
                    <a:pt x="1128" y="129"/>
                    <a:pt x="1128" y="129"/>
                  </a:cubicBezTo>
                  <a:cubicBezTo>
                    <a:pt x="1129" y="129"/>
                    <a:pt x="1129" y="129"/>
                    <a:pt x="1129" y="129"/>
                  </a:cubicBezTo>
                  <a:cubicBezTo>
                    <a:pt x="1129" y="129"/>
                    <a:pt x="1129" y="129"/>
                    <a:pt x="1129" y="129"/>
                  </a:cubicBezTo>
                  <a:cubicBezTo>
                    <a:pt x="1129" y="129"/>
                    <a:pt x="1129" y="129"/>
                    <a:pt x="1129" y="129"/>
                  </a:cubicBezTo>
                  <a:cubicBezTo>
                    <a:pt x="1129" y="129"/>
                    <a:pt x="1129" y="129"/>
                    <a:pt x="1129" y="129"/>
                  </a:cubicBezTo>
                  <a:cubicBezTo>
                    <a:pt x="1130" y="130"/>
                    <a:pt x="1130" y="130"/>
                    <a:pt x="1130" y="130"/>
                  </a:cubicBezTo>
                  <a:cubicBezTo>
                    <a:pt x="1130" y="130"/>
                    <a:pt x="1130" y="130"/>
                    <a:pt x="1130" y="130"/>
                  </a:cubicBezTo>
                  <a:cubicBezTo>
                    <a:pt x="1131" y="129"/>
                    <a:pt x="1131" y="129"/>
                    <a:pt x="1131" y="129"/>
                  </a:cubicBezTo>
                  <a:cubicBezTo>
                    <a:pt x="1131" y="129"/>
                    <a:pt x="1131" y="129"/>
                    <a:pt x="1131" y="129"/>
                  </a:cubicBezTo>
                  <a:cubicBezTo>
                    <a:pt x="1132" y="129"/>
                    <a:pt x="1132" y="129"/>
                    <a:pt x="1132" y="129"/>
                  </a:cubicBezTo>
                  <a:cubicBezTo>
                    <a:pt x="1134" y="129"/>
                    <a:pt x="1134" y="129"/>
                    <a:pt x="1134" y="129"/>
                  </a:cubicBezTo>
                  <a:cubicBezTo>
                    <a:pt x="1134" y="129"/>
                    <a:pt x="1134" y="129"/>
                    <a:pt x="1134" y="129"/>
                  </a:cubicBezTo>
                  <a:cubicBezTo>
                    <a:pt x="1135" y="129"/>
                    <a:pt x="1135" y="129"/>
                    <a:pt x="1135" y="129"/>
                  </a:cubicBezTo>
                  <a:cubicBezTo>
                    <a:pt x="1135" y="129"/>
                    <a:pt x="1135" y="129"/>
                    <a:pt x="1135" y="129"/>
                  </a:cubicBezTo>
                  <a:cubicBezTo>
                    <a:pt x="1135" y="129"/>
                    <a:pt x="1135" y="129"/>
                    <a:pt x="1135" y="129"/>
                  </a:cubicBezTo>
                  <a:cubicBezTo>
                    <a:pt x="1135" y="130"/>
                    <a:pt x="1135" y="130"/>
                    <a:pt x="1135" y="130"/>
                  </a:cubicBezTo>
                  <a:cubicBezTo>
                    <a:pt x="1134" y="130"/>
                    <a:pt x="1134" y="130"/>
                    <a:pt x="1134" y="130"/>
                  </a:cubicBezTo>
                  <a:cubicBezTo>
                    <a:pt x="1134" y="130"/>
                    <a:pt x="1134" y="130"/>
                    <a:pt x="1134" y="130"/>
                  </a:cubicBezTo>
                  <a:cubicBezTo>
                    <a:pt x="1134" y="130"/>
                    <a:pt x="1134" y="130"/>
                    <a:pt x="1134" y="130"/>
                  </a:cubicBezTo>
                  <a:cubicBezTo>
                    <a:pt x="1134" y="131"/>
                    <a:pt x="1134" y="131"/>
                    <a:pt x="1134" y="131"/>
                  </a:cubicBezTo>
                  <a:cubicBezTo>
                    <a:pt x="1134" y="131"/>
                    <a:pt x="1134" y="131"/>
                    <a:pt x="1134" y="131"/>
                  </a:cubicBezTo>
                  <a:cubicBezTo>
                    <a:pt x="1134" y="132"/>
                    <a:pt x="1134" y="132"/>
                    <a:pt x="1134" y="132"/>
                  </a:cubicBezTo>
                  <a:cubicBezTo>
                    <a:pt x="1134" y="134"/>
                    <a:pt x="1134" y="134"/>
                    <a:pt x="1134" y="134"/>
                  </a:cubicBezTo>
                  <a:cubicBezTo>
                    <a:pt x="1133" y="135"/>
                    <a:pt x="1133" y="135"/>
                    <a:pt x="1133" y="135"/>
                  </a:cubicBezTo>
                  <a:cubicBezTo>
                    <a:pt x="1133" y="135"/>
                    <a:pt x="1133" y="135"/>
                    <a:pt x="1133" y="135"/>
                  </a:cubicBezTo>
                  <a:cubicBezTo>
                    <a:pt x="1133" y="135"/>
                    <a:pt x="1133" y="135"/>
                    <a:pt x="1133" y="135"/>
                  </a:cubicBezTo>
                  <a:cubicBezTo>
                    <a:pt x="1133" y="135"/>
                    <a:pt x="1133" y="135"/>
                    <a:pt x="1133" y="135"/>
                  </a:cubicBezTo>
                  <a:cubicBezTo>
                    <a:pt x="1133" y="135"/>
                    <a:pt x="1133" y="135"/>
                    <a:pt x="1133" y="135"/>
                  </a:cubicBezTo>
                  <a:cubicBezTo>
                    <a:pt x="1133" y="134"/>
                    <a:pt x="1133" y="134"/>
                    <a:pt x="1133" y="134"/>
                  </a:cubicBezTo>
                  <a:cubicBezTo>
                    <a:pt x="1133" y="134"/>
                    <a:pt x="1133" y="134"/>
                    <a:pt x="1133" y="134"/>
                  </a:cubicBezTo>
                  <a:cubicBezTo>
                    <a:pt x="1133" y="134"/>
                    <a:pt x="1133" y="134"/>
                    <a:pt x="1133" y="134"/>
                  </a:cubicBezTo>
                  <a:cubicBezTo>
                    <a:pt x="1132" y="134"/>
                    <a:pt x="1129" y="134"/>
                    <a:pt x="1128" y="134"/>
                  </a:cubicBezTo>
                  <a:cubicBezTo>
                    <a:pt x="1128" y="134"/>
                    <a:pt x="1128" y="134"/>
                    <a:pt x="1128" y="134"/>
                  </a:cubicBezTo>
                  <a:cubicBezTo>
                    <a:pt x="1128" y="134"/>
                    <a:pt x="1128" y="134"/>
                    <a:pt x="1128" y="134"/>
                  </a:cubicBezTo>
                  <a:cubicBezTo>
                    <a:pt x="1128" y="134"/>
                    <a:pt x="1128" y="134"/>
                    <a:pt x="1128" y="134"/>
                  </a:cubicBezTo>
                  <a:cubicBezTo>
                    <a:pt x="1129" y="133"/>
                    <a:pt x="1129" y="133"/>
                    <a:pt x="1129" y="133"/>
                  </a:cubicBezTo>
                  <a:cubicBezTo>
                    <a:pt x="1129" y="133"/>
                    <a:pt x="1129" y="133"/>
                    <a:pt x="1129" y="133"/>
                  </a:cubicBezTo>
                  <a:cubicBezTo>
                    <a:pt x="1129" y="133"/>
                    <a:pt x="1129" y="133"/>
                    <a:pt x="1129" y="133"/>
                  </a:cubicBezTo>
                  <a:cubicBezTo>
                    <a:pt x="1130" y="133"/>
                    <a:pt x="1130" y="133"/>
                    <a:pt x="1130" y="133"/>
                  </a:cubicBezTo>
                  <a:cubicBezTo>
                    <a:pt x="1130" y="133"/>
                    <a:pt x="1130" y="133"/>
                    <a:pt x="1130" y="133"/>
                  </a:cubicBezTo>
                  <a:cubicBezTo>
                    <a:pt x="1130" y="132"/>
                    <a:pt x="1130" y="132"/>
                    <a:pt x="1130" y="132"/>
                  </a:cubicBezTo>
                  <a:cubicBezTo>
                    <a:pt x="1131" y="132"/>
                    <a:pt x="1131" y="132"/>
                    <a:pt x="1131" y="132"/>
                  </a:cubicBezTo>
                  <a:cubicBezTo>
                    <a:pt x="1131" y="132"/>
                    <a:pt x="1131" y="132"/>
                    <a:pt x="1131" y="132"/>
                  </a:cubicBezTo>
                  <a:cubicBezTo>
                    <a:pt x="1131" y="132"/>
                    <a:pt x="1131" y="132"/>
                    <a:pt x="1131" y="132"/>
                  </a:cubicBezTo>
                  <a:cubicBezTo>
                    <a:pt x="1132" y="132"/>
                    <a:pt x="1132" y="132"/>
                    <a:pt x="1132" y="132"/>
                  </a:cubicBezTo>
                  <a:cubicBezTo>
                    <a:pt x="1132" y="132"/>
                    <a:pt x="1132" y="132"/>
                    <a:pt x="1132" y="132"/>
                  </a:cubicBezTo>
                  <a:cubicBezTo>
                    <a:pt x="1132" y="131"/>
                    <a:pt x="1132" y="131"/>
                    <a:pt x="1132" y="131"/>
                  </a:cubicBezTo>
                  <a:cubicBezTo>
                    <a:pt x="1132" y="131"/>
                    <a:pt x="1132" y="131"/>
                    <a:pt x="1132" y="131"/>
                  </a:cubicBezTo>
                  <a:cubicBezTo>
                    <a:pt x="1132" y="131"/>
                    <a:pt x="1132" y="131"/>
                    <a:pt x="1132" y="131"/>
                  </a:cubicBezTo>
                  <a:cubicBezTo>
                    <a:pt x="1131" y="131"/>
                    <a:pt x="1131" y="131"/>
                    <a:pt x="1131" y="131"/>
                  </a:cubicBezTo>
                  <a:cubicBezTo>
                    <a:pt x="1130" y="131"/>
                    <a:pt x="1130" y="131"/>
                    <a:pt x="1130" y="131"/>
                  </a:cubicBezTo>
                  <a:cubicBezTo>
                    <a:pt x="1129" y="131"/>
                    <a:pt x="1129" y="131"/>
                    <a:pt x="1129" y="131"/>
                  </a:cubicBezTo>
                  <a:cubicBezTo>
                    <a:pt x="1129" y="131"/>
                    <a:pt x="1129" y="131"/>
                    <a:pt x="1129" y="131"/>
                  </a:cubicBezTo>
                  <a:cubicBezTo>
                    <a:pt x="1129" y="131"/>
                    <a:pt x="1129" y="131"/>
                    <a:pt x="1129" y="131"/>
                  </a:cubicBezTo>
                  <a:cubicBezTo>
                    <a:pt x="1128" y="131"/>
                    <a:pt x="1128" y="131"/>
                    <a:pt x="1128" y="131"/>
                  </a:cubicBezTo>
                  <a:cubicBezTo>
                    <a:pt x="1126" y="131"/>
                    <a:pt x="1126" y="131"/>
                    <a:pt x="1126" y="131"/>
                  </a:cubicBezTo>
                  <a:cubicBezTo>
                    <a:pt x="1124" y="131"/>
                    <a:pt x="1124" y="131"/>
                    <a:pt x="1124" y="131"/>
                  </a:cubicBezTo>
                  <a:cubicBezTo>
                    <a:pt x="1118" y="130"/>
                    <a:pt x="1118" y="130"/>
                    <a:pt x="1118" y="130"/>
                  </a:cubicBezTo>
                  <a:cubicBezTo>
                    <a:pt x="1116" y="130"/>
                    <a:pt x="1116" y="130"/>
                    <a:pt x="1116" y="130"/>
                  </a:cubicBezTo>
                  <a:cubicBezTo>
                    <a:pt x="1115" y="130"/>
                    <a:pt x="1115" y="130"/>
                    <a:pt x="1115" y="130"/>
                  </a:cubicBezTo>
                  <a:cubicBezTo>
                    <a:pt x="1116" y="130"/>
                    <a:pt x="1116" y="130"/>
                    <a:pt x="1116" y="130"/>
                  </a:cubicBezTo>
                  <a:cubicBezTo>
                    <a:pt x="1116" y="130"/>
                    <a:pt x="1116" y="130"/>
                    <a:pt x="1116" y="130"/>
                  </a:cubicBezTo>
                  <a:cubicBezTo>
                    <a:pt x="1115" y="131"/>
                    <a:pt x="1115" y="131"/>
                    <a:pt x="1115" y="131"/>
                  </a:cubicBezTo>
                  <a:cubicBezTo>
                    <a:pt x="1114" y="131"/>
                    <a:pt x="1114" y="131"/>
                    <a:pt x="1114" y="131"/>
                  </a:cubicBezTo>
                  <a:cubicBezTo>
                    <a:pt x="1113" y="132"/>
                    <a:pt x="1113" y="132"/>
                    <a:pt x="1113" y="132"/>
                  </a:cubicBezTo>
                  <a:cubicBezTo>
                    <a:pt x="1112" y="132"/>
                    <a:pt x="1112" y="132"/>
                    <a:pt x="1112" y="132"/>
                  </a:cubicBezTo>
                  <a:cubicBezTo>
                    <a:pt x="1112" y="133"/>
                    <a:pt x="1112" y="133"/>
                    <a:pt x="1112" y="133"/>
                  </a:cubicBezTo>
                  <a:cubicBezTo>
                    <a:pt x="1113" y="133"/>
                    <a:pt x="1113" y="133"/>
                    <a:pt x="1113" y="133"/>
                  </a:cubicBezTo>
                  <a:cubicBezTo>
                    <a:pt x="1113" y="133"/>
                    <a:pt x="1113" y="133"/>
                    <a:pt x="1113" y="133"/>
                  </a:cubicBezTo>
                  <a:cubicBezTo>
                    <a:pt x="1113" y="133"/>
                    <a:pt x="1113" y="133"/>
                    <a:pt x="1113" y="133"/>
                  </a:cubicBezTo>
                  <a:cubicBezTo>
                    <a:pt x="1113" y="133"/>
                    <a:pt x="1113" y="133"/>
                    <a:pt x="1113" y="133"/>
                  </a:cubicBezTo>
                  <a:cubicBezTo>
                    <a:pt x="1113" y="134"/>
                    <a:pt x="1113" y="134"/>
                    <a:pt x="1113" y="134"/>
                  </a:cubicBezTo>
                  <a:cubicBezTo>
                    <a:pt x="1113" y="134"/>
                    <a:pt x="1113" y="134"/>
                    <a:pt x="1113" y="134"/>
                  </a:cubicBezTo>
                  <a:cubicBezTo>
                    <a:pt x="1113" y="134"/>
                    <a:pt x="1113" y="134"/>
                    <a:pt x="1113" y="134"/>
                  </a:cubicBezTo>
                  <a:cubicBezTo>
                    <a:pt x="1113" y="134"/>
                    <a:pt x="1113" y="134"/>
                    <a:pt x="1113" y="134"/>
                  </a:cubicBezTo>
                  <a:cubicBezTo>
                    <a:pt x="1113" y="135"/>
                    <a:pt x="1113" y="135"/>
                    <a:pt x="1113" y="135"/>
                  </a:cubicBezTo>
                  <a:cubicBezTo>
                    <a:pt x="1113" y="135"/>
                    <a:pt x="1113" y="135"/>
                    <a:pt x="1113" y="135"/>
                  </a:cubicBezTo>
                  <a:cubicBezTo>
                    <a:pt x="1113" y="135"/>
                    <a:pt x="1113" y="135"/>
                    <a:pt x="1113" y="135"/>
                  </a:cubicBezTo>
                  <a:cubicBezTo>
                    <a:pt x="1114" y="135"/>
                    <a:pt x="1114" y="135"/>
                    <a:pt x="1114" y="135"/>
                  </a:cubicBezTo>
                  <a:cubicBezTo>
                    <a:pt x="1115" y="136"/>
                    <a:pt x="1118" y="136"/>
                    <a:pt x="1120" y="136"/>
                  </a:cubicBezTo>
                  <a:cubicBezTo>
                    <a:pt x="1120" y="136"/>
                    <a:pt x="1120" y="136"/>
                    <a:pt x="1120" y="136"/>
                  </a:cubicBezTo>
                  <a:cubicBezTo>
                    <a:pt x="1121" y="136"/>
                    <a:pt x="1121" y="136"/>
                    <a:pt x="1121" y="136"/>
                  </a:cubicBezTo>
                  <a:cubicBezTo>
                    <a:pt x="1121" y="136"/>
                    <a:pt x="1121" y="136"/>
                    <a:pt x="1121" y="136"/>
                  </a:cubicBezTo>
                  <a:cubicBezTo>
                    <a:pt x="1122" y="136"/>
                    <a:pt x="1122" y="136"/>
                    <a:pt x="1122" y="136"/>
                  </a:cubicBezTo>
                  <a:cubicBezTo>
                    <a:pt x="1125" y="136"/>
                    <a:pt x="1124" y="135"/>
                    <a:pt x="1127" y="137"/>
                  </a:cubicBezTo>
                  <a:cubicBezTo>
                    <a:pt x="1127" y="137"/>
                    <a:pt x="1127" y="137"/>
                    <a:pt x="1127" y="137"/>
                  </a:cubicBezTo>
                  <a:cubicBezTo>
                    <a:pt x="1128" y="137"/>
                    <a:pt x="1128" y="137"/>
                    <a:pt x="1128" y="137"/>
                  </a:cubicBezTo>
                  <a:cubicBezTo>
                    <a:pt x="1128" y="137"/>
                    <a:pt x="1128" y="137"/>
                    <a:pt x="1128" y="137"/>
                  </a:cubicBezTo>
                  <a:cubicBezTo>
                    <a:pt x="1128" y="137"/>
                    <a:pt x="1128" y="137"/>
                    <a:pt x="1128" y="137"/>
                  </a:cubicBezTo>
                  <a:cubicBezTo>
                    <a:pt x="1129" y="138"/>
                    <a:pt x="1129" y="138"/>
                    <a:pt x="1129" y="138"/>
                  </a:cubicBezTo>
                  <a:cubicBezTo>
                    <a:pt x="1129" y="138"/>
                    <a:pt x="1129" y="138"/>
                    <a:pt x="1129" y="138"/>
                  </a:cubicBezTo>
                  <a:cubicBezTo>
                    <a:pt x="1129" y="138"/>
                    <a:pt x="1129" y="138"/>
                    <a:pt x="1129" y="138"/>
                  </a:cubicBezTo>
                  <a:cubicBezTo>
                    <a:pt x="1129" y="138"/>
                    <a:pt x="1129" y="138"/>
                    <a:pt x="1129" y="138"/>
                  </a:cubicBezTo>
                  <a:cubicBezTo>
                    <a:pt x="1129" y="138"/>
                    <a:pt x="1129" y="138"/>
                    <a:pt x="1129" y="138"/>
                  </a:cubicBezTo>
                  <a:cubicBezTo>
                    <a:pt x="1129" y="139"/>
                    <a:pt x="1129" y="139"/>
                    <a:pt x="1129" y="139"/>
                  </a:cubicBezTo>
                  <a:cubicBezTo>
                    <a:pt x="1129" y="139"/>
                    <a:pt x="1129" y="139"/>
                    <a:pt x="1129" y="139"/>
                  </a:cubicBezTo>
                  <a:cubicBezTo>
                    <a:pt x="1129" y="139"/>
                    <a:pt x="1129" y="139"/>
                    <a:pt x="1129" y="139"/>
                  </a:cubicBezTo>
                  <a:cubicBezTo>
                    <a:pt x="1129" y="139"/>
                    <a:pt x="1129" y="139"/>
                    <a:pt x="1129" y="139"/>
                  </a:cubicBezTo>
                  <a:cubicBezTo>
                    <a:pt x="1129" y="139"/>
                    <a:pt x="1129" y="139"/>
                    <a:pt x="1129" y="139"/>
                  </a:cubicBezTo>
                  <a:cubicBezTo>
                    <a:pt x="1128" y="140"/>
                    <a:pt x="1128" y="140"/>
                    <a:pt x="1128" y="140"/>
                  </a:cubicBezTo>
                  <a:cubicBezTo>
                    <a:pt x="1128" y="140"/>
                    <a:pt x="1128" y="140"/>
                    <a:pt x="1128" y="140"/>
                  </a:cubicBezTo>
                  <a:cubicBezTo>
                    <a:pt x="1128" y="140"/>
                    <a:pt x="1128" y="140"/>
                    <a:pt x="1128" y="140"/>
                  </a:cubicBezTo>
                  <a:cubicBezTo>
                    <a:pt x="1128" y="140"/>
                    <a:pt x="1128" y="140"/>
                    <a:pt x="1128" y="140"/>
                  </a:cubicBezTo>
                  <a:cubicBezTo>
                    <a:pt x="1128" y="140"/>
                    <a:pt x="1128" y="140"/>
                    <a:pt x="1128" y="140"/>
                  </a:cubicBezTo>
                  <a:cubicBezTo>
                    <a:pt x="1129" y="141"/>
                    <a:pt x="1130" y="141"/>
                    <a:pt x="1130" y="141"/>
                  </a:cubicBezTo>
                  <a:cubicBezTo>
                    <a:pt x="1130" y="141"/>
                    <a:pt x="1130" y="141"/>
                    <a:pt x="1130" y="141"/>
                  </a:cubicBezTo>
                  <a:cubicBezTo>
                    <a:pt x="1130" y="142"/>
                    <a:pt x="1130" y="142"/>
                    <a:pt x="1130" y="142"/>
                  </a:cubicBezTo>
                  <a:cubicBezTo>
                    <a:pt x="1130" y="143"/>
                    <a:pt x="1131" y="143"/>
                    <a:pt x="1132" y="143"/>
                  </a:cubicBezTo>
                  <a:cubicBezTo>
                    <a:pt x="1132" y="143"/>
                    <a:pt x="1132" y="143"/>
                    <a:pt x="1132" y="143"/>
                  </a:cubicBezTo>
                  <a:cubicBezTo>
                    <a:pt x="1133" y="143"/>
                    <a:pt x="1133" y="143"/>
                    <a:pt x="1133" y="143"/>
                  </a:cubicBezTo>
                  <a:cubicBezTo>
                    <a:pt x="1134" y="143"/>
                    <a:pt x="1135" y="143"/>
                    <a:pt x="1136" y="143"/>
                  </a:cubicBezTo>
                  <a:cubicBezTo>
                    <a:pt x="1137" y="144"/>
                    <a:pt x="1137" y="144"/>
                    <a:pt x="1137" y="144"/>
                  </a:cubicBezTo>
                  <a:cubicBezTo>
                    <a:pt x="1139" y="144"/>
                    <a:pt x="1139" y="144"/>
                    <a:pt x="1139" y="144"/>
                  </a:cubicBezTo>
                  <a:cubicBezTo>
                    <a:pt x="1138" y="145"/>
                    <a:pt x="1138" y="145"/>
                    <a:pt x="1138" y="145"/>
                  </a:cubicBezTo>
                  <a:cubicBezTo>
                    <a:pt x="1135" y="144"/>
                    <a:pt x="1135" y="144"/>
                    <a:pt x="1135" y="144"/>
                  </a:cubicBezTo>
                  <a:cubicBezTo>
                    <a:pt x="1133" y="144"/>
                    <a:pt x="1133" y="144"/>
                    <a:pt x="1133" y="144"/>
                  </a:cubicBezTo>
                  <a:cubicBezTo>
                    <a:pt x="1132" y="144"/>
                    <a:pt x="1132" y="144"/>
                    <a:pt x="1132" y="144"/>
                  </a:cubicBezTo>
                  <a:cubicBezTo>
                    <a:pt x="1132" y="144"/>
                    <a:pt x="1132" y="144"/>
                    <a:pt x="1132" y="144"/>
                  </a:cubicBezTo>
                  <a:cubicBezTo>
                    <a:pt x="1133" y="145"/>
                    <a:pt x="1134" y="145"/>
                    <a:pt x="1134" y="147"/>
                  </a:cubicBezTo>
                  <a:cubicBezTo>
                    <a:pt x="1136" y="149"/>
                    <a:pt x="1136" y="149"/>
                    <a:pt x="1136" y="149"/>
                  </a:cubicBezTo>
                  <a:cubicBezTo>
                    <a:pt x="1134" y="150"/>
                    <a:pt x="1134" y="150"/>
                    <a:pt x="1134" y="150"/>
                  </a:cubicBezTo>
                  <a:cubicBezTo>
                    <a:pt x="1010" y="161"/>
                    <a:pt x="1010" y="161"/>
                    <a:pt x="1010" y="161"/>
                  </a:cubicBezTo>
                  <a:cubicBezTo>
                    <a:pt x="1010" y="161"/>
                    <a:pt x="1010" y="161"/>
                    <a:pt x="1010" y="161"/>
                  </a:cubicBezTo>
                  <a:cubicBezTo>
                    <a:pt x="1010" y="162"/>
                    <a:pt x="1010" y="162"/>
                    <a:pt x="1010" y="162"/>
                  </a:cubicBezTo>
                  <a:cubicBezTo>
                    <a:pt x="1010" y="162"/>
                    <a:pt x="1010" y="162"/>
                    <a:pt x="1010" y="163"/>
                  </a:cubicBezTo>
                  <a:cubicBezTo>
                    <a:pt x="1010" y="163"/>
                    <a:pt x="1010" y="163"/>
                    <a:pt x="1010" y="163"/>
                  </a:cubicBezTo>
                  <a:cubicBezTo>
                    <a:pt x="1010" y="164"/>
                    <a:pt x="1010" y="164"/>
                    <a:pt x="1010" y="164"/>
                  </a:cubicBezTo>
                  <a:cubicBezTo>
                    <a:pt x="1010" y="164"/>
                    <a:pt x="1010" y="164"/>
                    <a:pt x="1010" y="164"/>
                  </a:cubicBezTo>
                  <a:cubicBezTo>
                    <a:pt x="1010" y="164"/>
                    <a:pt x="1010" y="164"/>
                    <a:pt x="1010" y="164"/>
                  </a:cubicBezTo>
                  <a:cubicBezTo>
                    <a:pt x="1010" y="164"/>
                    <a:pt x="1010" y="164"/>
                    <a:pt x="1010" y="164"/>
                  </a:cubicBezTo>
                  <a:cubicBezTo>
                    <a:pt x="1011" y="164"/>
                    <a:pt x="1011" y="164"/>
                    <a:pt x="1011" y="164"/>
                  </a:cubicBezTo>
                  <a:cubicBezTo>
                    <a:pt x="1011" y="164"/>
                    <a:pt x="1011" y="164"/>
                    <a:pt x="1011" y="164"/>
                  </a:cubicBezTo>
                  <a:cubicBezTo>
                    <a:pt x="1012" y="164"/>
                    <a:pt x="1012" y="164"/>
                    <a:pt x="1012" y="164"/>
                  </a:cubicBezTo>
                  <a:cubicBezTo>
                    <a:pt x="1012" y="164"/>
                    <a:pt x="1012" y="164"/>
                    <a:pt x="1012" y="164"/>
                  </a:cubicBezTo>
                  <a:cubicBezTo>
                    <a:pt x="1012" y="164"/>
                    <a:pt x="1012" y="164"/>
                    <a:pt x="1012" y="164"/>
                  </a:cubicBezTo>
                  <a:cubicBezTo>
                    <a:pt x="1012" y="164"/>
                    <a:pt x="1012" y="164"/>
                    <a:pt x="1012" y="164"/>
                  </a:cubicBezTo>
                  <a:cubicBezTo>
                    <a:pt x="1012" y="164"/>
                    <a:pt x="1012" y="164"/>
                    <a:pt x="1012" y="164"/>
                  </a:cubicBezTo>
                  <a:cubicBezTo>
                    <a:pt x="1012" y="165"/>
                    <a:pt x="1012" y="165"/>
                    <a:pt x="1012" y="165"/>
                  </a:cubicBezTo>
                  <a:cubicBezTo>
                    <a:pt x="1011" y="166"/>
                    <a:pt x="1011" y="166"/>
                    <a:pt x="1009" y="167"/>
                  </a:cubicBezTo>
                  <a:cubicBezTo>
                    <a:pt x="1009" y="167"/>
                    <a:pt x="1009" y="167"/>
                    <a:pt x="1009" y="167"/>
                  </a:cubicBezTo>
                  <a:cubicBezTo>
                    <a:pt x="1007" y="168"/>
                    <a:pt x="1007" y="168"/>
                    <a:pt x="1007" y="168"/>
                  </a:cubicBezTo>
                  <a:cubicBezTo>
                    <a:pt x="1006" y="169"/>
                    <a:pt x="1006" y="169"/>
                    <a:pt x="1006" y="169"/>
                  </a:cubicBezTo>
                  <a:cubicBezTo>
                    <a:pt x="1005" y="170"/>
                    <a:pt x="1005" y="170"/>
                    <a:pt x="1005" y="170"/>
                  </a:cubicBezTo>
                  <a:cubicBezTo>
                    <a:pt x="1005" y="170"/>
                    <a:pt x="1005" y="170"/>
                    <a:pt x="1005" y="170"/>
                  </a:cubicBezTo>
                  <a:cubicBezTo>
                    <a:pt x="1005" y="170"/>
                    <a:pt x="1005" y="170"/>
                    <a:pt x="1005" y="170"/>
                  </a:cubicBezTo>
                  <a:cubicBezTo>
                    <a:pt x="1005" y="170"/>
                    <a:pt x="1005" y="170"/>
                    <a:pt x="1005" y="170"/>
                  </a:cubicBezTo>
                  <a:cubicBezTo>
                    <a:pt x="1005" y="170"/>
                    <a:pt x="1005" y="170"/>
                    <a:pt x="1005" y="170"/>
                  </a:cubicBezTo>
                  <a:cubicBezTo>
                    <a:pt x="1005" y="171"/>
                    <a:pt x="1005" y="171"/>
                    <a:pt x="1005" y="171"/>
                  </a:cubicBezTo>
                  <a:cubicBezTo>
                    <a:pt x="1005" y="171"/>
                    <a:pt x="1005" y="171"/>
                    <a:pt x="1005" y="171"/>
                  </a:cubicBezTo>
                  <a:cubicBezTo>
                    <a:pt x="1005" y="171"/>
                    <a:pt x="1005" y="171"/>
                    <a:pt x="1005" y="171"/>
                  </a:cubicBezTo>
                  <a:cubicBezTo>
                    <a:pt x="1005" y="171"/>
                    <a:pt x="1005" y="171"/>
                    <a:pt x="1005" y="171"/>
                  </a:cubicBezTo>
                  <a:cubicBezTo>
                    <a:pt x="1006" y="171"/>
                    <a:pt x="1006" y="171"/>
                    <a:pt x="1006" y="171"/>
                  </a:cubicBezTo>
                  <a:cubicBezTo>
                    <a:pt x="1006" y="171"/>
                    <a:pt x="1006" y="171"/>
                    <a:pt x="1006" y="171"/>
                  </a:cubicBezTo>
                  <a:cubicBezTo>
                    <a:pt x="1006" y="172"/>
                    <a:pt x="1006" y="172"/>
                    <a:pt x="1006" y="172"/>
                  </a:cubicBezTo>
                  <a:cubicBezTo>
                    <a:pt x="1007" y="172"/>
                    <a:pt x="1008" y="171"/>
                    <a:pt x="1009" y="172"/>
                  </a:cubicBezTo>
                  <a:cubicBezTo>
                    <a:pt x="1009" y="172"/>
                    <a:pt x="1009" y="172"/>
                    <a:pt x="1009" y="172"/>
                  </a:cubicBezTo>
                  <a:cubicBezTo>
                    <a:pt x="1010" y="172"/>
                    <a:pt x="1010" y="172"/>
                    <a:pt x="1010" y="172"/>
                  </a:cubicBezTo>
                  <a:cubicBezTo>
                    <a:pt x="1010" y="172"/>
                    <a:pt x="1010" y="172"/>
                    <a:pt x="1010" y="172"/>
                  </a:cubicBezTo>
                  <a:cubicBezTo>
                    <a:pt x="1010" y="173"/>
                    <a:pt x="1010" y="173"/>
                    <a:pt x="1010" y="173"/>
                  </a:cubicBezTo>
                  <a:cubicBezTo>
                    <a:pt x="1009" y="173"/>
                    <a:pt x="1009" y="173"/>
                    <a:pt x="1009" y="173"/>
                  </a:cubicBezTo>
                  <a:cubicBezTo>
                    <a:pt x="1006" y="175"/>
                    <a:pt x="1006" y="175"/>
                    <a:pt x="1006" y="175"/>
                  </a:cubicBezTo>
                  <a:cubicBezTo>
                    <a:pt x="1005" y="175"/>
                    <a:pt x="1005" y="175"/>
                    <a:pt x="1005" y="175"/>
                  </a:cubicBezTo>
                  <a:cubicBezTo>
                    <a:pt x="1005" y="176"/>
                    <a:pt x="1005" y="176"/>
                    <a:pt x="1005" y="176"/>
                  </a:cubicBezTo>
                  <a:cubicBezTo>
                    <a:pt x="1005" y="176"/>
                    <a:pt x="1005" y="176"/>
                    <a:pt x="1005" y="176"/>
                  </a:cubicBezTo>
                  <a:cubicBezTo>
                    <a:pt x="1005" y="176"/>
                    <a:pt x="1005" y="176"/>
                    <a:pt x="1005" y="176"/>
                  </a:cubicBezTo>
                  <a:cubicBezTo>
                    <a:pt x="1005" y="176"/>
                    <a:pt x="1005" y="176"/>
                    <a:pt x="1005" y="176"/>
                  </a:cubicBezTo>
                  <a:cubicBezTo>
                    <a:pt x="1006" y="176"/>
                    <a:pt x="1006" y="176"/>
                    <a:pt x="1006" y="176"/>
                  </a:cubicBezTo>
                  <a:cubicBezTo>
                    <a:pt x="1006" y="176"/>
                    <a:pt x="1006" y="176"/>
                    <a:pt x="1006" y="176"/>
                  </a:cubicBezTo>
                  <a:cubicBezTo>
                    <a:pt x="1006" y="176"/>
                    <a:pt x="1006" y="176"/>
                    <a:pt x="1006" y="176"/>
                  </a:cubicBezTo>
                  <a:cubicBezTo>
                    <a:pt x="1007" y="176"/>
                    <a:pt x="1007" y="176"/>
                    <a:pt x="1007" y="176"/>
                  </a:cubicBezTo>
                  <a:cubicBezTo>
                    <a:pt x="1007" y="176"/>
                    <a:pt x="1007" y="176"/>
                    <a:pt x="1007" y="176"/>
                  </a:cubicBezTo>
                  <a:cubicBezTo>
                    <a:pt x="1008" y="176"/>
                    <a:pt x="1008" y="176"/>
                    <a:pt x="1008" y="176"/>
                  </a:cubicBezTo>
                  <a:cubicBezTo>
                    <a:pt x="1008" y="176"/>
                    <a:pt x="1008" y="176"/>
                    <a:pt x="1008" y="176"/>
                  </a:cubicBezTo>
                  <a:cubicBezTo>
                    <a:pt x="1009" y="176"/>
                    <a:pt x="1009" y="176"/>
                    <a:pt x="1009" y="176"/>
                  </a:cubicBezTo>
                  <a:cubicBezTo>
                    <a:pt x="1009" y="176"/>
                    <a:pt x="1009" y="176"/>
                    <a:pt x="1009" y="176"/>
                  </a:cubicBezTo>
                  <a:cubicBezTo>
                    <a:pt x="1009" y="177"/>
                    <a:pt x="1009" y="177"/>
                    <a:pt x="1009" y="177"/>
                  </a:cubicBezTo>
                  <a:cubicBezTo>
                    <a:pt x="1010" y="177"/>
                    <a:pt x="1010" y="177"/>
                    <a:pt x="1010" y="177"/>
                  </a:cubicBezTo>
                  <a:cubicBezTo>
                    <a:pt x="1010" y="177"/>
                    <a:pt x="1010" y="177"/>
                    <a:pt x="1010" y="177"/>
                  </a:cubicBezTo>
                  <a:cubicBezTo>
                    <a:pt x="1010" y="177"/>
                    <a:pt x="1010" y="177"/>
                    <a:pt x="1010" y="177"/>
                  </a:cubicBezTo>
                  <a:cubicBezTo>
                    <a:pt x="1010" y="177"/>
                    <a:pt x="1010" y="177"/>
                    <a:pt x="1010" y="177"/>
                  </a:cubicBezTo>
                  <a:cubicBezTo>
                    <a:pt x="1009" y="178"/>
                    <a:pt x="1009" y="178"/>
                    <a:pt x="1009" y="178"/>
                  </a:cubicBezTo>
                  <a:cubicBezTo>
                    <a:pt x="1008" y="179"/>
                    <a:pt x="1008" y="179"/>
                    <a:pt x="1008" y="179"/>
                  </a:cubicBezTo>
                  <a:cubicBezTo>
                    <a:pt x="1008" y="179"/>
                    <a:pt x="1008" y="179"/>
                    <a:pt x="1008" y="179"/>
                  </a:cubicBezTo>
                  <a:cubicBezTo>
                    <a:pt x="1009" y="179"/>
                    <a:pt x="1009" y="179"/>
                    <a:pt x="1009" y="179"/>
                  </a:cubicBezTo>
                  <a:cubicBezTo>
                    <a:pt x="1009" y="179"/>
                    <a:pt x="1009" y="179"/>
                    <a:pt x="1009" y="179"/>
                  </a:cubicBezTo>
                  <a:cubicBezTo>
                    <a:pt x="1009" y="179"/>
                    <a:pt x="1009" y="179"/>
                    <a:pt x="1009" y="179"/>
                  </a:cubicBezTo>
                  <a:cubicBezTo>
                    <a:pt x="1010" y="179"/>
                    <a:pt x="1010" y="179"/>
                    <a:pt x="1010" y="179"/>
                  </a:cubicBezTo>
                  <a:cubicBezTo>
                    <a:pt x="1011" y="180"/>
                    <a:pt x="1012" y="180"/>
                    <a:pt x="1013" y="180"/>
                  </a:cubicBezTo>
                  <a:cubicBezTo>
                    <a:pt x="1013" y="180"/>
                    <a:pt x="1013" y="180"/>
                    <a:pt x="1013" y="180"/>
                  </a:cubicBezTo>
                  <a:cubicBezTo>
                    <a:pt x="1014" y="181"/>
                    <a:pt x="1014" y="181"/>
                    <a:pt x="1014" y="181"/>
                  </a:cubicBezTo>
                  <a:cubicBezTo>
                    <a:pt x="1015" y="182"/>
                    <a:pt x="1014" y="181"/>
                    <a:pt x="1015" y="182"/>
                  </a:cubicBezTo>
                  <a:cubicBezTo>
                    <a:pt x="1015" y="183"/>
                    <a:pt x="1015" y="183"/>
                    <a:pt x="1015" y="183"/>
                  </a:cubicBezTo>
                  <a:cubicBezTo>
                    <a:pt x="1015" y="183"/>
                    <a:pt x="1015" y="183"/>
                    <a:pt x="1015" y="183"/>
                  </a:cubicBezTo>
                  <a:cubicBezTo>
                    <a:pt x="1015" y="183"/>
                    <a:pt x="1015" y="183"/>
                    <a:pt x="1015" y="183"/>
                  </a:cubicBezTo>
                  <a:cubicBezTo>
                    <a:pt x="1016" y="186"/>
                    <a:pt x="1015" y="187"/>
                    <a:pt x="1014" y="189"/>
                  </a:cubicBezTo>
                  <a:cubicBezTo>
                    <a:pt x="1014" y="190"/>
                    <a:pt x="1014" y="190"/>
                    <a:pt x="1014" y="190"/>
                  </a:cubicBezTo>
                  <a:cubicBezTo>
                    <a:pt x="1014" y="190"/>
                    <a:pt x="1014" y="190"/>
                    <a:pt x="1014" y="190"/>
                  </a:cubicBezTo>
                  <a:cubicBezTo>
                    <a:pt x="1014" y="190"/>
                    <a:pt x="1014" y="190"/>
                    <a:pt x="1014" y="190"/>
                  </a:cubicBezTo>
                  <a:cubicBezTo>
                    <a:pt x="1014" y="190"/>
                    <a:pt x="1014" y="190"/>
                    <a:pt x="1014" y="190"/>
                  </a:cubicBezTo>
                  <a:cubicBezTo>
                    <a:pt x="1014" y="190"/>
                    <a:pt x="1014" y="190"/>
                    <a:pt x="1014" y="190"/>
                  </a:cubicBezTo>
                  <a:cubicBezTo>
                    <a:pt x="1013" y="191"/>
                    <a:pt x="1012" y="191"/>
                    <a:pt x="1012" y="193"/>
                  </a:cubicBezTo>
                  <a:cubicBezTo>
                    <a:pt x="1012" y="193"/>
                    <a:pt x="1012" y="193"/>
                    <a:pt x="1012" y="193"/>
                  </a:cubicBezTo>
                  <a:cubicBezTo>
                    <a:pt x="1012" y="193"/>
                    <a:pt x="1012" y="193"/>
                    <a:pt x="1012" y="193"/>
                  </a:cubicBezTo>
                  <a:cubicBezTo>
                    <a:pt x="1013" y="194"/>
                    <a:pt x="1012" y="195"/>
                    <a:pt x="1014" y="195"/>
                  </a:cubicBezTo>
                  <a:cubicBezTo>
                    <a:pt x="1014" y="195"/>
                    <a:pt x="1014" y="195"/>
                    <a:pt x="1014" y="195"/>
                  </a:cubicBezTo>
                  <a:cubicBezTo>
                    <a:pt x="1015" y="195"/>
                    <a:pt x="1015" y="195"/>
                    <a:pt x="1015" y="195"/>
                  </a:cubicBezTo>
                  <a:cubicBezTo>
                    <a:pt x="1015" y="195"/>
                    <a:pt x="1015" y="195"/>
                    <a:pt x="1015" y="195"/>
                  </a:cubicBezTo>
                  <a:cubicBezTo>
                    <a:pt x="1015" y="196"/>
                    <a:pt x="1015" y="196"/>
                    <a:pt x="1015" y="196"/>
                  </a:cubicBezTo>
                  <a:cubicBezTo>
                    <a:pt x="1015" y="196"/>
                    <a:pt x="1015" y="196"/>
                    <a:pt x="1015" y="196"/>
                  </a:cubicBezTo>
                  <a:cubicBezTo>
                    <a:pt x="1016" y="196"/>
                    <a:pt x="1016" y="196"/>
                    <a:pt x="1016" y="196"/>
                  </a:cubicBezTo>
                  <a:cubicBezTo>
                    <a:pt x="1015" y="196"/>
                    <a:pt x="1015" y="196"/>
                    <a:pt x="1015" y="196"/>
                  </a:cubicBezTo>
                  <a:cubicBezTo>
                    <a:pt x="1015" y="196"/>
                    <a:pt x="1015" y="196"/>
                    <a:pt x="1015" y="196"/>
                  </a:cubicBezTo>
                  <a:cubicBezTo>
                    <a:pt x="1015" y="197"/>
                    <a:pt x="1015" y="197"/>
                    <a:pt x="1015" y="197"/>
                  </a:cubicBezTo>
                  <a:cubicBezTo>
                    <a:pt x="1015" y="197"/>
                    <a:pt x="1015" y="197"/>
                    <a:pt x="1015" y="197"/>
                  </a:cubicBezTo>
                  <a:cubicBezTo>
                    <a:pt x="1015" y="197"/>
                    <a:pt x="1015" y="197"/>
                    <a:pt x="1015" y="197"/>
                  </a:cubicBezTo>
                  <a:cubicBezTo>
                    <a:pt x="1014" y="197"/>
                    <a:pt x="1014" y="197"/>
                    <a:pt x="1014" y="197"/>
                  </a:cubicBezTo>
                  <a:cubicBezTo>
                    <a:pt x="1014" y="198"/>
                    <a:pt x="1014" y="198"/>
                    <a:pt x="1014" y="198"/>
                  </a:cubicBezTo>
                  <a:cubicBezTo>
                    <a:pt x="1014" y="198"/>
                    <a:pt x="1014" y="198"/>
                    <a:pt x="1014" y="198"/>
                  </a:cubicBezTo>
                  <a:cubicBezTo>
                    <a:pt x="1013" y="198"/>
                    <a:pt x="1013" y="198"/>
                    <a:pt x="1013" y="198"/>
                  </a:cubicBezTo>
                  <a:cubicBezTo>
                    <a:pt x="1013" y="199"/>
                    <a:pt x="1013" y="199"/>
                    <a:pt x="1013" y="199"/>
                  </a:cubicBezTo>
                  <a:cubicBezTo>
                    <a:pt x="1013" y="199"/>
                    <a:pt x="1015" y="200"/>
                    <a:pt x="1015" y="200"/>
                  </a:cubicBezTo>
                  <a:cubicBezTo>
                    <a:pt x="1016" y="201"/>
                    <a:pt x="1016" y="201"/>
                    <a:pt x="1016" y="201"/>
                  </a:cubicBezTo>
                  <a:cubicBezTo>
                    <a:pt x="1016" y="201"/>
                    <a:pt x="1016" y="201"/>
                    <a:pt x="1016" y="201"/>
                  </a:cubicBezTo>
                  <a:cubicBezTo>
                    <a:pt x="1019" y="203"/>
                    <a:pt x="1019" y="203"/>
                    <a:pt x="1019" y="203"/>
                  </a:cubicBezTo>
                  <a:cubicBezTo>
                    <a:pt x="1041" y="208"/>
                    <a:pt x="1041" y="208"/>
                    <a:pt x="1041" y="208"/>
                  </a:cubicBezTo>
                  <a:cubicBezTo>
                    <a:pt x="1042" y="213"/>
                    <a:pt x="1042" y="213"/>
                    <a:pt x="1042" y="213"/>
                  </a:cubicBezTo>
                  <a:cubicBezTo>
                    <a:pt x="1042" y="214"/>
                    <a:pt x="1042" y="214"/>
                    <a:pt x="1042" y="214"/>
                  </a:cubicBezTo>
                  <a:cubicBezTo>
                    <a:pt x="1043" y="215"/>
                    <a:pt x="1043" y="215"/>
                    <a:pt x="1043" y="215"/>
                  </a:cubicBezTo>
                  <a:cubicBezTo>
                    <a:pt x="1043" y="216"/>
                    <a:pt x="1043" y="216"/>
                    <a:pt x="1043" y="216"/>
                  </a:cubicBezTo>
                  <a:cubicBezTo>
                    <a:pt x="1051" y="223"/>
                    <a:pt x="1051" y="223"/>
                    <a:pt x="1051" y="223"/>
                  </a:cubicBezTo>
                  <a:cubicBezTo>
                    <a:pt x="1051" y="226"/>
                    <a:pt x="1051" y="226"/>
                    <a:pt x="1051" y="226"/>
                  </a:cubicBezTo>
                  <a:cubicBezTo>
                    <a:pt x="1045" y="228"/>
                    <a:pt x="1045" y="228"/>
                    <a:pt x="1045" y="228"/>
                  </a:cubicBezTo>
                  <a:cubicBezTo>
                    <a:pt x="1044" y="228"/>
                    <a:pt x="1044" y="228"/>
                    <a:pt x="1044" y="228"/>
                  </a:cubicBezTo>
                  <a:cubicBezTo>
                    <a:pt x="1042" y="228"/>
                    <a:pt x="1041" y="229"/>
                    <a:pt x="1038" y="229"/>
                  </a:cubicBezTo>
                  <a:cubicBezTo>
                    <a:pt x="1038" y="229"/>
                    <a:pt x="1038" y="229"/>
                    <a:pt x="1038" y="229"/>
                  </a:cubicBezTo>
                  <a:cubicBezTo>
                    <a:pt x="1038" y="229"/>
                    <a:pt x="1038" y="229"/>
                    <a:pt x="1038" y="229"/>
                  </a:cubicBezTo>
                  <a:cubicBezTo>
                    <a:pt x="1037" y="229"/>
                    <a:pt x="1037" y="229"/>
                    <a:pt x="1037" y="229"/>
                  </a:cubicBezTo>
                  <a:cubicBezTo>
                    <a:pt x="1036" y="229"/>
                    <a:pt x="1036" y="228"/>
                    <a:pt x="1035" y="229"/>
                  </a:cubicBezTo>
                  <a:cubicBezTo>
                    <a:pt x="1035" y="229"/>
                    <a:pt x="1035" y="229"/>
                    <a:pt x="1035" y="229"/>
                  </a:cubicBezTo>
                  <a:cubicBezTo>
                    <a:pt x="1034" y="229"/>
                    <a:pt x="1034" y="229"/>
                    <a:pt x="1034" y="229"/>
                  </a:cubicBezTo>
                  <a:cubicBezTo>
                    <a:pt x="1034" y="229"/>
                    <a:pt x="1034" y="229"/>
                    <a:pt x="1034" y="229"/>
                  </a:cubicBezTo>
                  <a:cubicBezTo>
                    <a:pt x="1033" y="229"/>
                    <a:pt x="1033" y="229"/>
                    <a:pt x="1033" y="229"/>
                  </a:cubicBezTo>
                  <a:cubicBezTo>
                    <a:pt x="1033" y="229"/>
                    <a:pt x="1033" y="229"/>
                    <a:pt x="1033" y="229"/>
                  </a:cubicBezTo>
                  <a:cubicBezTo>
                    <a:pt x="1033" y="229"/>
                    <a:pt x="1033" y="229"/>
                    <a:pt x="1033" y="229"/>
                  </a:cubicBezTo>
                  <a:cubicBezTo>
                    <a:pt x="1031" y="228"/>
                    <a:pt x="1031" y="228"/>
                    <a:pt x="1031" y="228"/>
                  </a:cubicBezTo>
                  <a:cubicBezTo>
                    <a:pt x="1028" y="225"/>
                    <a:pt x="1028" y="225"/>
                    <a:pt x="1028" y="225"/>
                  </a:cubicBezTo>
                  <a:cubicBezTo>
                    <a:pt x="1020" y="219"/>
                    <a:pt x="1020" y="219"/>
                    <a:pt x="1020" y="219"/>
                  </a:cubicBezTo>
                  <a:cubicBezTo>
                    <a:pt x="1017" y="217"/>
                    <a:pt x="1017" y="217"/>
                    <a:pt x="1017" y="217"/>
                  </a:cubicBezTo>
                  <a:cubicBezTo>
                    <a:pt x="1016" y="216"/>
                    <a:pt x="1016" y="216"/>
                    <a:pt x="1016" y="216"/>
                  </a:cubicBezTo>
                  <a:cubicBezTo>
                    <a:pt x="1016" y="216"/>
                    <a:pt x="1016" y="216"/>
                    <a:pt x="1016" y="216"/>
                  </a:cubicBezTo>
                  <a:cubicBezTo>
                    <a:pt x="1014" y="215"/>
                    <a:pt x="1014" y="215"/>
                    <a:pt x="1014" y="215"/>
                  </a:cubicBezTo>
                  <a:cubicBezTo>
                    <a:pt x="1013" y="214"/>
                    <a:pt x="1013" y="214"/>
                    <a:pt x="1013" y="214"/>
                  </a:cubicBezTo>
                  <a:cubicBezTo>
                    <a:pt x="1000" y="210"/>
                    <a:pt x="1000" y="210"/>
                    <a:pt x="1000" y="210"/>
                  </a:cubicBezTo>
                  <a:cubicBezTo>
                    <a:pt x="971" y="205"/>
                    <a:pt x="971" y="205"/>
                    <a:pt x="971" y="205"/>
                  </a:cubicBezTo>
                  <a:cubicBezTo>
                    <a:pt x="971" y="205"/>
                    <a:pt x="971" y="205"/>
                    <a:pt x="971" y="205"/>
                  </a:cubicBezTo>
                  <a:cubicBezTo>
                    <a:pt x="951" y="211"/>
                    <a:pt x="951" y="211"/>
                    <a:pt x="951" y="211"/>
                  </a:cubicBezTo>
                  <a:cubicBezTo>
                    <a:pt x="951" y="212"/>
                    <a:pt x="951" y="212"/>
                    <a:pt x="951" y="212"/>
                  </a:cubicBezTo>
                  <a:cubicBezTo>
                    <a:pt x="950" y="213"/>
                    <a:pt x="950" y="213"/>
                    <a:pt x="950" y="213"/>
                  </a:cubicBezTo>
                  <a:cubicBezTo>
                    <a:pt x="950" y="214"/>
                    <a:pt x="950" y="214"/>
                    <a:pt x="950" y="214"/>
                  </a:cubicBezTo>
                  <a:cubicBezTo>
                    <a:pt x="950" y="215"/>
                    <a:pt x="950" y="215"/>
                    <a:pt x="950" y="215"/>
                  </a:cubicBezTo>
                  <a:cubicBezTo>
                    <a:pt x="950" y="215"/>
                    <a:pt x="950" y="215"/>
                    <a:pt x="950" y="215"/>
                  </a:cubicBezTo>
                  <a:cubicBezTo>
                    <a:pt x="950" y="215"/>
                    <a:pt x="950" y="215"/>
                    <a:pt x="950" y="215"/>
                  </a:cubicBezTo>
                  <a:cubicBezTo>
                    <a:pt x="950" y="215"/>
                    <a:pt x="950" y="215"/>
                    <a:pt x="950" y="215"/>
                  </a:cubicBezTo>
                  <a:cubicBezTo>
                    <a:pt x="950" y="215"/>
                    <a:pt x="950" y="215"/>
                    <a:pt x="950" y="215"/>
                  </a:cubicBezTo>
                  <a:cubicBezTo>
                    <a:pt x="951" y="216"/>
                    <a:pt x="951" y="216"/>
                    <a:pt x="951" y="216"/>
                  </a:cubicBezTo>
                  <a:cubicBezTo>
                    <a:pt x="951" y="216"/>
                    <a:pt x="951" y="216"/>
                    <a:pt x="951" y="216"/>
                  </a:cubicBezTo>
                  <a:cubicBezTo>
                    <a:pt x="952" y="216"/>
                    <a:pt x="952" y="216"/>
                    <a:pt x="952" y="216"/>
                  </a:cubicBezTo>
                  <a:cubicBezTo>
                    <a:pt x="952" y="216"/>
                    <a:pt x="952" y="216"/>
                    <a:pt x="952" y="216"/>
                  </a:cubicBezTo>
                  <a:cubicBezTo>
                    <a:pt x="952" y="216"/>
                    <a:pt x="952" y="216"/>
                    <a:pt x="952" y="216"/>
                  </a:cubicBezTo>
                  <a:cubicBezTo>
                    <a:pt x="953" y="216"/>
                    <a:pt x="953" y="216"/>
                    <a:pt x="953" y="216"/>
                  </a:cubicBezTo>
                  <a:cubicBezTo>
                    <a:pt x="954" y="216"/>
                    <a:pt x="954" y="215"/>
                    <a:pt x="956" y="214"/>
                  </a:cubicBezTo>
                  <a:cubicBezTo>
                    <a:pt x="956" y="214"/>
                    <a:pt x="956" y="214"/>
                    <a:pt x="956" y="214"/>
                  </a:cubicBezTo>
                  <a:cubicBezTo>
                    <a:pt x="957" y="214"/>
                    <a:pt x="957" y="214"/>
                    <a:pt x="957" y="214"/>
                  </a:cubicBezTo>
                  <a:cubicBezTo>
                    <a:pt x="957" y="214"/>
                    <a:pt x="957" y="214"/>
                    <a:pt x="957" y="214"/>
                  </a:cubicBezTo>
                  <a:cubicBezTo>
                    <a:pt x="957" y="214"/>
                    <a:pt x="957" y="214"/>
                    <a:pt x="957" y="214"/>
                  </a:cubicBezTo>
                  <a:cubicBezTo>
                    <a:pt x="958" y="214"/>
                    <a:pt x="960" y="214"/>
                    <a:pt x="961" y="214"/>
                  </a:cubicBezTo>
                  <a:cubicBezTo>
                    <a:pt x="961" y="214"/>
                    <a:pt x="961" y="214"/>
                    <a:pt x="961" y="214"/>
                  </a:cubicBezTo>
                  <a:cubicBezTo>
                    <a:pt x="962" y="214"/>
                    <a:pt x="962" y="214"/>
                    <a:pt x="962" y="214"/>
                  </a:cubicBezTo>
                  <a:cubicBezTo>
                    <a:pt x="962" y="215"/>
                    <a:pt x="963" y="215"/>
                    <a:pt x="964" y="216"/>
                  </a:cubicBezTo>
                  <a:cubicBezTo>
                    <a:pt x="964" y="217"/>
                    <a:pt x="964" y="217"/>
                    <a:pt x="964" y="217"/>
                  </a:cubicBezTo>
                  <a:cubicBezTo>
                    <a:pt x="964" y="218"/>
                    <a:pt x="964" y="218"/>
                    <a:pt x="964" y="218"/>
                  </a:cubicBezTo>
                  <a:cubicBezTo>
                    <a:pt x="964" y="221"/>
                    <a:pt x="964" y="221"/>
                    <a:pt x="964" y="221"/>
                  </a:cubicBezTo>
                  <a:cubicBezTo>
                    <a:pt x="964" y="222"/>
                    <a:pt x="964" y="222"/>
                    <a:pt x="964" y="222"/>
                  </a:cubicBezTo>
                  <a:cubicBezTo>
                    <a:pt x="963" y="223"/>
                    <a:pt x="963" y="223"/>
                    <a:pt x="963" y="223"/>
                  </a:cubicBezTo>
                  <a:cubicBezTo>
                    <a:pt x="961" y="223"/>
                    <a:pt x="958" y="224"/>
                    <a:pt x="956" y="224"/>
                  </a:cubicBezTo>
                  <a:cubicBezTo>
                    <a:pt x="955" y="224"/>
                    <a:pt x="955" y="224"/>
                    <a:pt x="955" y="224"/>
                  </a:cubicBezTo>
                  <a:cubicBezTo>
                    <a:pt x="955" y="224"/>
                    <a:pt x="955" y="224"/>
                    <a:pt x="955" y="224"/>
                  </a:cubicBezTo>
                  <a:cubicBezTo>
                    <a:pt x="954" y="224"/>
                    <a:pt x="954" y="224"/>
                    <a:pt x="954" y="224"/>
                  </a:cubicBezTo>
                  <a:cubicBezTo>
                    <a:pt x="953" y="224"/>
                    <a:pt x="952" y="224"/>
                    <a:pt x="951" y="223"/>
                  </a:cubicBezTo>
                  <a:cubicBezTo>
                    <a:pt x="951" y="223"/>
                    <a:pt x="951" y="223"/>
                    <a:pt x="951" y="223"/>
                  </a:cubicBezTo>
                  <a:cubicBezTo>
                    <a:pt x="951" y="222"/>
                    <a:pt x="951" y="222"/>
                    <a:pt x="951" y="222"/>
                  </a:cubicBezTo>
                  <a:cubicBezTo>
                    <a:pt x="949" y="221"/>
                    <a:pt x="950" y="222"/>
                    <a:pt x="948" y="220"/>
                  </a:cubicBezTo>
                  <a:cubicBezTo>
                    <a:pt x="948" y="220"/>
                    <a:pt x="948" y="220"/>
                    <a:pt x="948" y="220"/>
                  </a:cubicBezTo>
                  <a:cubicBezTo>
                    <a:pt x="947" y="220"/>
                    <a:pt x="947" y="220"/>
                    <a:pt x="947" y="220"/>
                  </a:cubicBezTo>
                  <a:cubicBezTo>
                    <a:pt x="944" y="218"/>
                    <a:pt x="944" y="218"/>
                    <a:pt x="944" y="218"/>
                  </a:cubicBezTo>
                  <a:cubicBezTo>
                    <a:pt x="924" y="221"/>
                    <a:pt x="924" y="221"/>
                    <a:pt x="924" y="221"/>
                  </a:cubicBezTo>
                  <a:cubicBezTo>
                    <a:pt x="924" y="221"/>
                    <a:pt x="924" y="221"/>
                    <a:pt x="924" y="221"/>
                  </a:cubicBezTo>
                  <a:cubicBezTo>
                    <a:pt x="924" y="221"/>
                    <a:pt x="924" y="221"/>
                    <a:pt x="924" y="221"/>
                  </a:cubicBezTo>
                  <a:cubicBezTo>
                    <a:pt x="924" y="222"/>
                    <a:pt x="924" y="222"/>
                    <a:pt x="924" y="222"/>
                  </a:cubicBezTo>
                  <a:cubicBezTo>
                    <a:pt x="924" y="222"/>
                    <a:pt x="924" y="222"/>
                    <a:pt x="924" y="222"/>
                  </a:cubicBezTo>
                  <a:cubicBezTo>
                    <a:pt x="924" y="222"/>
                    <a:pt x="924" y="222"/>
                    <a:pt x="924" y="222"/>
                  </a:cubicBezTo>
                  <a:cubicBezTo>
                    <a:pt x="924" y="222"/>
                    <a:pt x="924" y="222"/>
                    <a:pt x="924" y="222"/>
                  </a:cubicBezTo>
                  <a:cubicBezTo>
                    <a:pt x="924" y="222"/>
                    <a:pt x="924" y="222"/>
                    <a:pt x="924" y="222"/>
                  </a:cubicBezTo>
                  <a:cubicBezTo>
                    <a:pt x="925" y="222"/>
                    <a:pt x="925" y="222"/>
                    <a:pt x="925" y="222"/>
                  </a:cubicBezTo>
                  <a:cubicBezTo>
                    <a:pt x="925" y="223"/>
                    <a:pt x="925" y="223"/>
                    <a:pt x="925" y="223"/>
                  </a:cubicBezTo>
                  <a:cubicBezTo>
                    <a:pt x="925" y="223"/>
                    <a:pt x="925" y="223"/>
                    <a:pt x="925" y="223"/>
                  </a:cubicBezTo>
                  <a:cubicBezTo>
                    <a:pt x="925" y="224"/>
                    <a:pt x="926" y="225"/>
                    <a:pt x="926" y="225"/>
                  </a:cubicBezTo>
                  <a:cubicBezTo>
                    <a:pt x="926" y="225"/>
                    <a:pt x="926" y="225"/>
                    <a:pt x="926" y="225"/>
                  </a:cubicBezTo>
                  <a:cubicBezTo>
                    <a:pt x="926" y="226"/>
                    <a:pt x="926" y="226"/>
                    <a:pt x="926" y="226"/>
                  </a:cubicBezTo>
                  <a:cubicBezTo>
                    <a:pt x="926" y="226"/>
                    <a:pt x="926" y="226"/>
                    <a:pt x="926" y="226"/>
                  </a:cubicBezTo>
                  <a:cubicBezTo>
                    <a:pt x="926" y="226"/>
                    <a:pt x="926" y="226"/>
                    <a:pt x="926" y="226"/>
                  </a:cubicBezTo>
                  <a:cubicBezTo>
                    <a:pt x="927" y="227"/>
                    <a:pt x="927" y="227"/>
                    <a:pt x="927" y="228"/>
                  </a:cubicBezTo>
                  <a:cubicBezTo>
                    <a:pt x="927" y="228"/>
                    <a:pt x="927" y="228"/>
                    <a:pt x="927" y="228"/>
                  </a:cubicBezTo>
                  <a:cubicBezTo>
                    <a:pt x="927" y="228"/>
                    <a:pt x="927" y="228"/>
                    <a:pt x="927" y="228"/>
                  </a:cubicBezTo>
                  <a:cubicBezTo>
                    <a:pt x="928" y="230"/>
                    <a:pt x="928" y="232"/>
                    <a:pt x="929" y="233"/>
                  </a:cubicBezTo>
                  <a:cubicBezTo>
                    <a:pt x="930" y="234"/>
                    <a:pt x="930" y="234"/>
                    <a:pt x="930" y="234"/>
                  </a:cubicBezTo>
                  <a:cubicBezTo>
                    <a:pt x="930" y="234"/>
                    <a:pt x="930" y="234"/>
                    <a:pt x="930" y="234"/>
                  </a:cubicBezTo>
                  <a:cubicBezTo>
                    <a:pt x="930" y="234"/>
                    <a:pt x="930" y="234"/>
                    <a:pt x="930" y="234"/>
                  </a:cubicBezTo>
                  <a:cubicBezTo>
                    <a:pt x="931" y="234"/>
                    <a:pt x="931" y="234"/>
                    <a:pt x="931" y="234"/>
                  </a:cubicBezTo>
                  <a:cubicBezTo>
                    <a:pt x="931" y="234"/>
                    <a:pt x="931" y="234"/>
                    <a:pt x="931" y="234"/>
                  </a:cubicBezTo>
                  <a:cubicBezTo>
                    <a:pt x="936" y="235"/>
                    <a:pt x="935" y="237"/>
                    <a:pt x="940" y="238"/>
                  </a:cubicBezTo>
                  <a:cubicBezTo>
                    <a:pt x="941" y="238"/>
                    <a:pt x="941" y="238"/>
                    <a:pt x="941" y="238"/>
                  </a:cubicBezTo>
                  <a:cubicBezTo>
                    <a:pt x="941" y="238"/>
                    <a:pt x="941" y="238"/>
                    <a:pt x="941" y="238"/>
                  </a:cubicBezTo>
                  <a:cubicBezTo>
                    <a:pt x="943" y="239"/>
                    <a:pt x="943" y="238"/>
                    <a:pt x="944" y="239"/>
                  </a:cubicBezTo>
                  <a:cubicBezTo>
                    <a:pt x="946" y="240"/>
                    <a:pt x="946" y="240"/>
                    <a:pt x="946" y="240"/>
                  </a:cubicBezTo>
                  <a:cubicBezTo>
                    <a:pt x="946" y="240"/>
                    <a:pt x="946" y="240"/>
                    <a:pt x="946" y="240"/>
                  </a:cubicBezTo>
                  <a:cubicBezTo>
                    <a:pt x="947" y="241"/>
                    <a:pt x="948" y="242"/>
                    <a:pt x="950" y="242"/>
                  </a:cubicBezTo>
                  <a:cubicBezTo>
                    <a:pt x="950" y="242"/>
                    <a:pt x="950" y="242"/>
                    <a:pt x="950" y="242"/>
                  </a:cubicBezTo>
                  <a:cubicBezTo>
                    <a:pt x="950" y="242"/>
                    <a:pt x="950" y="242"/>
                    <a:pt x="950" y="242"/>
                  </a:cubicBezTo>
                  <a:cubicBezTo>
                    <a:pt x="951" y="242"/>
                    <a:pt x="951" y="242"/>
                    <a:pt x="951" y="242"/>
                  </a:cubicBezTo>
                  <a:cubicBezTo>
                    <a:pt x="951" y="242"/>
                    <a:pt x="951" y="242"/>
                    <a:pt x="951" y="242"/>
                  </a:cubicBezTo>
                  <a:cubicBezTo>
                    <a:pt x="951" y="242"/>
                    <a:pt x="951" y="242"/>
                    <a:pt x="951" y="242"/>
                  </a:cubicBezTo>
                  <a:cubicBezTo>
                    <a:pt x="951" y="242"/>
                    <a:pt x="951" y="242"/>
                    <a:pt x="951" y="242"/>
                  </a:cubicBezTo>
                  <a:cubicBezTo>
                    <a:pt x="951" y="242"/>
                    <a:pt x="951" y="242"/>
                    <a:pt x="951" y="242"/>
                  </a:cubicBezTo>
                  <a:cubicBezTo>
                    <a:pt x="954" y="242"/>
                    <a:pt x="954" y="244"/>
                    <a:pt x="957" y="243"/>
                  </a:cubicBezTo>
                  <a:cubicBezTo>
                    <a:pt x="957" y="243"/>
                    <a:pt x="957" y="243"/>
                    <a:pt x="957" y="243"/>
                  </a:cubicBezTo>
                  <a:cubicBezTo>
                    <a:pt x="957" y="243"/>
                    <a:pt x="957" y="243"/>
                    <a:pt x="957" y="243"/>
                  </a:cubicBezTo>
                  <a:cubicBezTo>
                    <a:pt x="957" y="243"/>
                    <a:pt x="957" y="243"/>
                    <a:pt x="957" y="243"/>
                  </a:cubicBezTo>
                  <a:cubicBezTo>
                    <a:pt x="956" y="242"/>
                    <a:pt x="957" y="242"/>
                    <a:pt x="958" y="242"/>
                  </a:cubicBezTo>
                  <a:cubicBezTo>
                    <a:pt x="958" y="242"/>
                    <a:pt x="958" y="242"/>
                    <a:pt x="958" y="242"/>
                  </a:cubicBezTo>
                  <a:cubicBezTo>
                    <a:pt x="958" y="242"/>
                    <a:pt x="958" y="242"/>
                    <a:pt x="958" y="242"/>
                  </a:cubicBezTo>
                  <a:cubicBezTo>
                    <a:pt x="959" y="242"/>
                    <a:pt x="959" y="242"/>
                    <a:pt x="959" y="242"/>
                  </a:cubicBezTo>
                  <a:cubicBezTo>
                    <a:pt x="959" y="242"/>
                    <a:pt x="959" y="242"/>
                    <a:pt x="959" y="242"/>
                  </a:cubicBezTo>
                  <a:cubicBezTo>
                    <a:pt x="959" y="242"/>
                    <a:pt x="959" y="242"/>
                    <a:pt x="959" y="242"/>
                  </a:cubicBezTo>
                  <a:cubicBezTo>
                    <a:pt x="959" y="241"/>
                    <a:pt x="959" y="241"/>
                    <a:pt x="959" y="241"/>
                  </a:cubicBezTo>
                  <a:cubicBezTo>
                    <a:pt x="960" y="241"/>
                    <a:pt x="960" y="241"/>
                    <a:pt x="960" y="241"/>
                  </a:cubicBezTo>
                  <a:cubicBezTo>
                    <a:pt x="961" y="241"/>
                    <a:pt x="961" y="241"/>
                    <a:pt x="961" y="241"/>
                  </a:cubicBezTo>
                  <a:cubicBezTo>
                    <a:pt x="962" y="241"/>
                    <a:pt x="962" y="241"/>
                    <a:pt x="962" y="241"/>
                  </a:cubicBezTo>
                  <a:cubicBezTo>
                    <a:pt x="962" y="241"/>
                    <a:pt x="962" y="241"/>
                    <a:pt x="962" y="241"/>
                  </a:cubicBezTo>
                  <a:cubicBezTo>
                    <a:pt x="962" y="241"/>
                    <a:pt x="962" y="241"/>
                    <a:pt x="962" y="241"/>
                  </a:cubicBezTo>
                  <a:cubicBezTo>
                    <a:pt x="962" y="241"/>
                    <a:pt x="962" y="241"/>
                    <a:pt x="962" y="241"/>
                  </a:cubicBezTo>
                  <a:cubicBezTo>
                    <a:pt x="961" y="242"/>
                    <a:pt x="961" y="242"/>
                    <a:pt x="961" y="242"/>
                  </a:cubicBezTo>
                  <a:cubicBezTo>
                    <a:pt x="961" y="244"/>
                    <a:pt x="961" y="244"/>
                    <a:pt x="961" y="244"/>
                  </a:cubicBezTo>
                  <a:cubicBezTo>
                    <a:pt x="961" y="244"/>
                    <a:pt x="961" y="244"/>
                    <a:pt x="961" y="244"/>
                  </a:cubicBezTo>
                  <a:cubicBezTo>
                    <a:pt x="961" y="244"/>
                    <a:pt x="961" y="244"/>
                    <a:pt x="961" y="244"/>
                  </a:cubicBezTo>
                  <a:cubicBezTo>
                    <a:pt x="961" y="244"/>
                    <a:pt x="961" y="244"/>
                    <a:pt x="961" y="244"/>
                  </a:cubicBezTo>
                  <a:cubicBezTo>
                    <a:pt x="961" y="244"/>
                    <a:pt x="961" y="244"/>
                    <a:pt x="961" y="244"/>
                  </a:cubicBezTo>
                  <a:cubicBezTo>
                    <a:pt x="962" y="244"/>
                    <a:pt x="962" y="244"/>
                    <a:pt x="962" y="244"/>
                  </a:cubicBezTo>
                  <a:cubicBezTo>
                    <a:pt x="962" y="244"/>
                    <a:pt x="962" y="244"/>
                    <a:pt x="962" y="244"/>
                  </a:cubicBezTo>
                  <a:cubicBezTo>
                    <a:pt x="962" y="244"/>
                    <a:pt x="962" y="244"/>
                    <a:pt x="962" y="244"/>
                  </a:cubicBezTo>
                  <a:cubicBezTo>
                    <a:pt x="962" y="244"/>
                    <a:pt x="962" y="244"/>
                    <a:pt x="962" y="244"/>
                  </a:cubicBezTo>
                  <a:cubicBezTo>
                    <a:pt x="963" y="244"/>
                    <a:pt x="963" y="244"/>
                    <a:pt x="963" y="244"/>
                  </a:cubicBezTo>
                  <a:cubicBezTo>
                    <a:pt x="964" y="244"/>
                    <a:pt x="964" y="244"/>
                    <a:pt x="964" y="244"/>
                  </a:cubicBezTo>
                  <a:cubicBezTo>
                    <a:pt x="966" y="244"/>
                    <a:pt x="966" y="244"/>
                    <a:pt x="966" y="244"/>
                  </a:cubicBezTo>
                  <a:cubicBezTo>
                    <a:pt x="967" y="245"/>
                    <a:pt x="967" y="245"/>
                    <a:pt x="967" y="245"/>
                  </a:cubicBezTo>
                  <a:cubicBezTo>
                    <a:pt x="968" y="245"/>
                    <a:pt x="968" y="245"/>
                    <a:pt x="968" y="245"/>
                  </a:cubicBezTo>
                  <a:cubicBezTo>
                    <a:pt x="968" y="245"/>
                    <a:pt x="968" y="245"/>
                    <a:pt x="968" y="245"/>
                  </a:cubicBezTo>
                  <a:cubicBezTo>
                    <a:pt x="968" y="246"/>
                    <a:pt x="968" y="246"/>
                    <a:pt x="968" y="246"/>
                  </a:cubicBezTo>
                  <a:cubicBezTo>
                    <a:pt x="968" y="246"/>
                    <a:pt x="968" y="246"/>
                    <a:pt x="968" y="246"/>
                  </a:cubicBezTo>
                  <a:cubicBezTo>
                    <a:pt x="966" y="251"/>
                    <a:pt x="966" y="249"/>
                    <a:pt x="969" y="252"/>
                  </a:cubicBezTo>
                  <a:cubicBezTo>
                    <a:pt x="969" y="252"/>
                    <a:pt x="969" y="252"/>
                    <a:pt x="969" y="252"/>
                  </a:cubicBezTo>
                  <a:cubicBezTo>
                    <a:pt x="970" y="251"/>
                    <a:pt x="970" y="251"/>
                    <a:pt x="970" y="251"/>
                  </a:cubicBezTo>
                  <a:cubicBezTo>
                    <a:pt x="970" y="251"/>
                    <a:pt x="970" y="251"/>
                    <a:pt x="970" y="251"/>
                  </a:cubicBezTo>
                  <a:cubicBezTo>
                    <a:pt x="971" y="250"/>
                    <a:pt x="971" y="250"/>
                    <a:pt x="971" y="250"/>
                  </a:cubicBezTo>
                  <a:cubicBezTo>
                    <a:pt x="971" y="250"/>
                    <a:pt x="971" y="250"/>
                    <a:pt x="971" y="250"/>
                  </a:cubicBezTo>
                  <a:cubicBezTo>
                    <a:pt x="972" y="251"/>
                    <a:pt x="972" y="251"/>
                    <a:pt x="972" y="251"/>
                  </a:cubicBezTo>
                  <a:cubicBezTo>
                    <a:pt x="972" y="251"/>
                    <a:pt x="972" y="251"/>
                    <a:pt x="972" y="251"/>
                  </a:cubicBezTo>
                  <a:cubicBezTo>
                    <a:pt x="972" y="252"/>
                    <a:pt x="972" y="252"/>
                    <a:pt x="972" y="252"/>
                  </a:cubicBezTo>
                  <a:cubicBezTo>
                    <a:pt x="972" y="252"/>
                    <a:pt x="972" y="252"/>
                    <a:pt x="972" y="252"/>
                  </a:cubicBezTo>
                  <a:cubicBezTo>
                    <a:pt x="972" y="252"/>
                    <a:pt x="972" y="252"/>
                    <a:pt x="972" y="252"/>
                  </a:cubicBezTo>
                  <a:cubicBezTo>
                    <a:pt x="971" y="252"/>
                    <a:pt x="971" y="252"/>
                    <a:pt x="971" y="252"/>
                  </a:cubicBezTo>
                  <a:cubicBezTo>
                    <a:pt x="971" y="252"/>
                    <a:pt x="971" y="252"/>
                    <a:pt x="971" y="252"/>
                  </a:cubicBezTo>
                  <a:cubicBezTo>
                    <a:pt x="971" y="252"/>
                    <a:pt x="971" y="252"/>
                    <a:pt x="971" y="252"/>
                  </a:cubicBezTo>
                  <a:cubicBezTo>
                    <a:pt x="971" y="253"/>
                    <a:pt x="971" y="253"/>
                    <a:pt x="971" y="253"/>
                  </a:cubicBezTo>
                  <a:cubicBezTo>
                    <a:pt x="971" y="254"/>
                    <a:pt x="971" y="254"/>
                    <a:pt x="971" y="254"/>
                  </a:cubicBezTo>
                  <a:cubicBezTo>
                    <a:pt x="970" y="255"/>
                    <a:pt x="970" y="255"/>
                    <a:pt x="970" y="255"/>
                  </a:cubicBezTo>
                  <a:cubicBezTo>
                    <a:pt x="971" y="256"/>
                    <a:pt x="971" y="256"/>
                    <a:pt x="971" y="256"/>
                  </a:cubicBezTo>
                  <a:cubicBezTo>
                    <a:pt x="971" y="256"/>
                    <a:pt x="971" y="256"/>
                    <a:pt x="971" y="256"/>
                  </a:cubicBezTo>
                  <a:cubicBezTo>
                    <a:pt x="971" y="256"/>
                    <a:pt x="971" y="256"/>
                    <a:pt x="971" y="256"/>
                  </a:cubicBezTo>
                  <a:cubicBezTo>
                    <a:pt x="971" y="256"/>
                    <a:pt x="971" y="256"/>
                    <a:pt x="971" y="256"/>
                  </a:cubicBezTo>
                  <a:cubicBezTo>
                    <a:pt x="973" y="253"/>
                    <a:pt x="974" y="256"/>
                    <a:pt x="976" y="256"/>
                  </a:cubicBezTo>
                  <a:cubicBezTo>
                    <a:pt x="976" y="255"/>
                    <a:pt x="976" y="255"/>
                    <a:pt x="976" y="255"/>
                  </a:cubicBezTo>
                  <a:cubicBezTo>
                    <a:pt x="977" y="255"/>
                    <a:pt x="977" y="255"/>
                    <a:pt x="977" y="255"/>
                  </a:cubicBezTo>
                  <a:cubicBezTo>
                    <a:pt x="977" y="255"/>
                    <a:pt x="977" y="255"/>
                    <a:pt x="977" y="255"/>
                  </a:cubicBezTo>
                  <a:cubicBezTo>
                    <a:pt x="977" y="255"/>
                    <a:pt x="977" y="255"/>
                    <a:pt x="977" y="255"/>
                  </a:cubicBezTo>
                  <a:cubicBezTo>
                    <a:pt x="977" y="255"/>
                    <a:pt x="977" y="255"/>
                    <a:pt x="977" y="255"/>
                  </a:cubicBezTo>
                  <a:cubicBezTo>
                    <a:pt x="977" y="254"/>
                    <a:pt x="977" y="254"/>
                    <a:pt x="977" y="254"/>
                  </a:cubicBezTo>
                  <a:cubicBezTo>
                    <a:pt x="977" y="254"/>
                    <a:pt x="977" y="254"/>
                    <a:pt x="977" y="254"/>
                  </a:cubicBezTo>
                  <a:cubicBezTo>
                    <a:pt x="977" y="253"/>
                    <a:pt x="977" y="253"/>
                    <a:pt x="977" y="253"/>
                  </a:cubicBezTo>
                  <a:cubicBezTo>
                    <a:pt x="977" y="253"/>
                    <a:pt x="977" y="253"/>
                    <a:pt x="977" y="253"/>
                  </a:cubicBezTo>
                  <a:cubicBezTo>
                    <a:pt x="977" y="253"/>
                    <a:pt x="977" y="253"/>
                    <a:pt x="977" y="253"/>
                  </a:cubicBezTo>
                  <a:cubicBezTo>
                    <a:pt x="978" y="253"/>
                    <a:pt x="978" y="253"/>
                    <a:pt x="978" y="253"/>
                  </a:cubicBezTo>
                  <a:cubicBezTo>
                    <a:pt x="978" y="253"/>
                    <a:pt x="978" y="253"/>
                    <a:pt x="978" y="253"/>
                  </a:cubicBezTo>
                  <a:cubicBezTo>
                    <a:pt x="979" y="253"/>
                    <a:pt x="979" y="253"/>
                    <a:pt x="979" y="253"/>
                  </a:cubicBezTo>
                  <a:cubicBezTo>
                    <a:pt x="979" y="253"/>
                    <a:pt x="979" y="253"/>
                    <a:pt x="979" y="253"/>
                  </a:cubicBezTo>
                  <a:cubicBezTo>
                    <a:pt x="980" y="253"/>
                    <a:pt x="980" y="253"/>
                    <a:pt x="980" y="253"/>
                  </a:cubicBezTo>
                  <a:cubicBezTo>
                    <a:pt x="982" y="253"/>
                    <a:pt x="982" y="253"/>
                    <a:pt x="982" y="253"/>
                  </a:cubicBezTo>
                  <a:cubicBezTo>
                    <a:pt x="983" y="253"/>
                    <a:pt x="983" y="253"/>
                    <a:pt x="983" y="253"/>
                  </a:cubicBezTo>
                  <a:cubicBezTo>
                    <a:pt x="983" y="253"/>
                    <a:pt x="983" y="253"/>
                    <a:pt x="983" y="253"/>
                  </a:cubicBezTo>
                  <a:cubicBezTo>
                    <a:pt x="983" y="253"/>
                    <a:pt x="983" y="253"/>
                    <a:pt x="983" y="253"/>
                  </a:cubicBezTo>
                  <a:cubicBezTo>
                    <a:pt x="983" y="253"/>
                    <a:pt x="983" y="253"/>
                    <a:pt x="983" y="253"/>
                  </a:cubicBezTo>
                  <a:cubicBezTo>
                    <a:pt x="983" y="254"/>
                    <a:pt x="983" y="254"/>
                    <a:pt x="983" y="254"/>
                  </a:cubicBezTo>
                  <a:cubicBezTo>
                    <a:pt x="982" y="254"/>
                    <a:pt x="982" y="254"/>
                    <a:pt x="982" y="254"/>
                  </a:cubicBezTo>
                  <a:cubicBezTo>
                    <a:pt x="981" y="256"/>
                    <a:pt x="978" y="256"/>
                    <a:pt x="975" y="256"/>
                  </a:cubicBezTo>
                  <a:cubicBezTo>
                    <a:pt x="975" y="256"/>
                    <a:pt x="975" y="256"/>
                    <a:pt x="975" y="256"/>
                  </a:cubicBezTo>
                  <a:cubicBezTo>
                    <a:pt x="975" y="256"/>
                    <a:pt x="975" y="256"/>
                    <a:pt x="975" y="256"/>
                  </a:cubicBezTo>
                  <a:cubicBezTo>
                    <a:pt x="972" y="256"/>
                    <a:pt x="970" y="258"/>
                    <a:pt x="969" y="257"/>
                  </a:cubicBezTo>
                  <a:cubicBezTo>
                    <a:pt x="968" y="256"/>
                    <a:pt x="968" y="256"/>
                    <a:pt x="968" y="256"/>
                  </a:cubicBezTo>
                  <a:cubicBezTo>
                    <a:pt x="968" y="256"/>
                    <a:pt x="968" y="256"/>
                    <a:pt x="968" y="256"/>
                  </a:cubicBezTo>
                  <a:cubicBezTo>
                    <a:pt x="968" y="256"/>
                    <a:pt x="968" y="256"/>
                    <a:pt x="968" y="256"/>
                  </a:cubicBezTo>
                  <a:cubicBezTo>
                    <a:pt x="967" y="256"/>
                    <a:pt x="967" y="256"/>
                    <a:pt x="967" y="256"/>
                  </a:cubicBezTo>
                  <a:cubicBezTo>
                    <a:pt x="967" y="255"/>
                    <a:pt x="967" y="255"/>
                    <a:pt x="967" y="255"/>
                  </a:cubicBezTo>
                  <a:cubicBezTo>
                    <a:pt x="967" y="255"/>
                    <a:pt x="967" y="255"/>
                    <a:pt x="967" y="255"/>
                  </a:cubicBezTo>
                  <a:cubicBezTo>
                    <a:pt x="966" y="255"/>
                    <a:pt x="966" y="255"/>
                    <a:pt x="966" y="255"/>
                  </a:cubicBezTo>
                  <a:cubicBezTo>
                    <a:pt x="966" y="255"/>
                    <a:pt x="966" y="255"/>
                    <a:pt x="966" y="255"/>
                  </a:cubicBezTo>
                  <a:cubicBezTo>
                    <a:pt x="965" y="255"/>
                    <a:pt x="965" y="255"/>
                    <a:pt x="965" y="255"/>
                  </a:cubicBezTo>
                  <a:cubicBezTo>
                    <a:pt x="965" y="255"/>
                    <a:pt x="965" y="255"/>
                    <a:pt x="965" y="255"/>
                  </a:cubicBezTo>
                  <a:cubicBezTo>
                    <a:pt x="965" y="255"/>
                    <a:pt x="965" y="255"/>
                    <a:pt x="965" y="255"/>
                  </a:cubicBezTo>
                  <a:cubicBezTo>
                    <a:pt x="964" y="255"/>
                    <a:pt x="964" y="255"/>
                    <a:pt x="964" y="255"/>
                  </a:cubicBezTo>
                  <a:cubicBezTo>
                    <a:pt x="964" y="255"/>
                    <a:pt x="964" y="255"/>
                    <a:pt x="964" y="255"/>
                  </a:cubicBezTo>
                  <a:cubicBezTo>
                    <a:pt x="964" y="255"/>
                    <a:pt x="964" y="255"/>
                    <a:pt x="964" y="255"/>
                  </a:cubicBezTo>
                  <a:cubicBezTo>
                    <a:pt x="963" y="255"/>
                    <a:pt x="963" y="255"/>
                    <a:pt x="963" y="255"/>
                  </a:cubicBezTo>
                  <a:cubicBezTo>
                    <a:pt x="963" y="255"/>
                    <a:pt x="963" y="255"/>
                    <a:pt x="963" y="255"/>
                  </a:cubicBezTo>
                  <a:cubicBezTo>
                    <a:pt x="962" y="255"/>
                    <a:pt x="960" y="254"/>
                    <a:pt x="960" y="253"/>
                  </a:cubicBezTo>
                  <a:cubicBezTo>
                    <a:pt x="960" y="253"/>
                    <a:pt x="960" y="253"/>
                    <a:pt x="960" y="253"/>
                  </a:cubicBezTo>
                  <a:cubicBezTo>
                    <a:pt x="960" y="253"/>
                    <a:pt x="960" y="253"/>
                    <a:pt x="960" y="253"/>
                  </a:cubicBezTo>
                  <a:cubicBezTo>
                    <a:pt x="960" y="253"/>
                    <a:pt x="960" y="253"/>
                    <a:pt x="960" y="253"/>
                  </a:cubicBezTo>
                  <a:cubicBezTo>
                    <a:pt x="960" y="253"/>
                    <a:pt x="960" y="253"/>
                    <a:pt x="960" y="253"/>
                  </a:cubicBezTo>
                  <a:cubicBezTo>
                    <a:pt x="960" y="252"/>
                    <a:pt x="960" y="252"/>
                    <a:pt x="960" y="252"/>
                  </a:cubicBezTo>
                  <a:cubicBezTo>
                    <a:pt x="960" y="252"/>
                    <a:pt x="960" y="252"/>
                    <a:pt x="960" y="252"/>
                  </a:cubicBezTo>
                  <a:cubicBezTo>
                    <a:pt x="960" y="252"/>
                    <a:pt x="960" y="252"/>
                    <a:pt x="960" y="252"/>
                  </a:cubicBezTo>
                  <a:cubicBezTo>
                    <a:pt x="960" y="252"/>
                    <a:pt x="960" y="252"/>
                    <a:pt x="960" y="252"/>
                  </a:cubicBezTo>
                  <a:cubicBezTo>
                    <a:pt x="960" y="251"/>
                    <a:pt x="960" y="251"/>
                    <a:pt x="960" y="251"/>
                  </a:cubicBezTo>
                  <a:cubicBezTo>
                    <a:pt x="960" y="251"/>
                    <a:pt x="960" y="251"/>
                    <a:pt x="960" y="251"/>
                  </a:cubicBezTo>
                  <a:cubicBezTo>
                    <a:pt x="960" y="250"/>
                    <a:pt x="960" y="250"/>
                    <a:pt x="960" y="250"/>
                  </a:cubicBezTo>
                  <a:cubicBezTo>
                    <a:pt x="959" y="250"/>
                    <a:pt x="959" y="250"/>
                    <a:pt x="959" y="250"/>
                  </a:cubicBezTo>
                  <a:cubicBezTo>
                    <a:pt x="959" y="250"/>
                    <a:pt x="959" y="250"/>
                    <a:pt x="959" y="250"/>
                  </a:cubicBezTo>
                  <a:cubicBezTo>
                    <a:pt x="959" y="250"/>
                    <a:pt x="959" y="250"/>
                    <a:pt x="959" y="250"/>
                  </a:cubicBezTo>
                  <a:cubicBezTo>
                    <a:pt x="959" y="249"/>
                    <a:pt x="959" y="249"/>
                    <a:pt x="959" y="249"/>
                  </a:cubicBezTo>
                  <a:cubicBezTo>
                    <a:pt x="958" y="248"/>
                    <a:pt x="956" y="248"/>
                    <a:pt x="955" y="248"/>
                  </a:cubicBezTo>
                  <a:cubicBezTo>
                    <a:pt x="955" y="248"/>
                    <a:pt x="955" y="248"/>
                    <a:pt x="955" y="248"/>
                  </a:cubicBezTo>
                  <a:cubicBezTo>
                    <a:pt x="954" y="248"/>
                    <a:pt x="954" y="248"/>
                    <a:pt x="954" y="248"/>
                  </a:cubicBezTo>
                  <a:cubicBezTo>
                    <a:pt x="954" y="248"/>
                    <a:pt x="954" y="248"/>
                    <a:pt x="954" y="248"/>
                  </a:cubicBezTo>
                  <a:cubicBezTo>
                    <a:pt x="953" y="248"/>
                    <a:pt x="953" y="248"/>
                    <a:pt x="953" y="248"/>
                  </a:cubicBezTo>
                  <a:cubicBezTo>
                    <a:pt x="952" y="248"/>
                    <a:pt x="951" y="247"/>
                    <a:pt x="949" y="247"/>
                  </a:cubicBezTo>
                  <a:cubicBezTo>
                    <a:pt x="949" y="247"/>
                    <a:pt x="949" y="247"/>
                    <a:pt x="949" y="247"/>
                  </a:cubicBezTo>
                  <a:cubicBezTo>
                    <a:pt x="948" y="247"/>
                    <a:pt x="948" y="247"/>
                    <a:pt x="948" y="247"/>
                  </a:cubicBezTo>
                  <a:cubicBezTo>
                    <a:pt x="948" y="247"/>
                    <a:pt x="948" y="247"/>
                    <a:pt x="948" y="247"/>
                  </a:cubicBezTo>
                  <a:cubicBezTo>
                    <a:pt x="948" y="247"/>
                    <a:pt x="948" y="247"/>
                    <a:pt x="948" y="247"/>
                  </a:cubicBezTo>
                  <a:cubicBezTo>
                    <a:pt x="947" y="247"/>
                    <a:pt x="947" y="247"/>
                    <a:pt x="947" y="247"/>
                  </a:cubicBezTo>
                  <a:cubicBezTo>
                    <a:pt x="947" y="247"/>
                    <a:pt x="947" y="247"/>
                    <a:pt x="947" y="247"/>
                  </a:cubicBezTo>
                  <a:cubicBezTo>
                    <a:pt x="947" y="247"/>
                    <a:pt x="947" y="247"/>
                    <a:pt x="947" y="247"/>
                  </a:cubicBezTo>
                  <a:cubicBezTo>
                    <a:pt x="946" y="247"/>
                    <a:pt x="946" y="247"/>
                    <a:pt x="946" y="247"/>
                  </a:cubicBezTo>
                  <a:cubicBezTo>
                    <a:pt x="946" y="247"/>
                    <a:pt x="946" y="247"/>
                    <a:pt x="946" y="247"/>
                  </a:cubicBezTo>
                  <a:cubicBezTo>
                    <a:pt x="946" y="247"/>
                    <a:pt x="946" y="247"/>
                    <a:pt x="946" y="247"/>
                  </a:cubicBezTo>
                  <a:cubicBezTo>
                    <a:pt x="945" y="247"/>
                    <a:pt x="945" y="247"/>
                    <a:pt x="945" y="247"/>
                  </a:cubicBezTo>
                  <a:cubicBezTo>
                    <a:pt x="945" y="247"/>
                    <a:pt x="945" y="247"/>
                    <a:pt x="945" y="247"/>
                  </a:cubicBezTo>
                  <a:cubicBezTo>
                    <a:pt x="944" y="247"/>
                    <a:pt x="944" y="247"/>
                    <a:pt x="944" y="247"/>
                  </a:cubicBezTo>
                  <a:cubicBezTo>
                    <a:pt x="944" y="247"/>
                    <a:pt x="944" y="247"/>
                    <a:pt x="944" y="247"/>
                  </a:cubicBezTo>
                  <a:cubicBezTo>
                    <a:pt x="943" y="248"/>
                    <a:pt x="943" y="248"/>
                    <a:pt x="943" y="248"/>
                  </a:cubicBezTo>
                  <a:cubicBezTo>
                    <a:pt x="942" y="250"/>
                    <a:pt x="942" y="250"/>
                    <a:pt x="942" y="250"/>
                  </a:cubicBezTo>
                  <a:cubicBezTo>
                    <a:pt x="941" y="250"/>
                    <a:pt x="941" y="250"/>
                    <a:pt x="941" y="250"/>
                  </a:cubicBezTo>
                  <a:cubicBezTo>
                    <a:pt x="941" y="251"/>
                    <a:pt x="941" y="251"/>
                    <a:pt x="941" y="251"/>
                  </a:cubicBezTo>
                  <a:cubicBezTo>
                    <a:pt x="941" y="250"/>
                    <a:pt x="941" y="250"/>
                    <a:pt x="941" y="250"/>
                  </a:cubicBezTo>
                  <a:cubicBezTo>
                    <a:pt x="942" y="249"/>
                    <a:pt x="939" y="249"/>
                    <a:pt x="941" y="247"/>
                  </a:cubicBezTo>
                  <a:cubicBezTo>
                    <a:pt x="941" y="247"/>
                    <a:pt x="941" y="247"/>
                    <a:pt x="941" y="247"/>
                  </a:cubicBezTo>
                  <a:cubicBezTo>
                    <a:pt x="941" y="247"/>
                    <a:pt x="941" y="247"/>
                    <a:pt x="941" y="247"/>
                  </a:cubicBezTo>
                  <a:cubicBezTo>
                    <a:pt x="940" y="247"/>
                    <a:pt x="940" y="247"/>
                    <a:pt x="940" y="247"/>
                  </a:cubicBezTo>
                  <a:cubicBezTo>
                    <a:pt x="940" y="247"/>
                    <a:pt x="940" y="247"/>
                    <a:pt x="940" y="247"/>
                  </a:cubicBezTo>
                  <a:cubicBezTo>
                    <a:pt x="935" y="245"/>
                    <a:pt x="935" y="246"/>
                    <a:pt x="930" y="246"/>
                  </a:cubicBezTo>
                  <a:cubicBezTo>
                    <a:pt x="930" y="246"/>
                    <a:pt x="930" y="246"/>
                    <a:pt x="930" y="246"/>
                  </a:cubicBezTo>
                  <a:cubicBezTo>
                    <a:pt x="929" y="246"/>
                    <a:pt x="929" y="246"/>
                    <a:pt x="929" y="246"/>
                  </a:cubicBezTo>
                  <a:cubicBezTo>
                    <a:pt x="929" y="246"/>
                    <a:pt x="929" y="246"/>
                    <a:pt x="929" y="246"/>
                  </a:cubicBezTo>
                  <a:cubicBezTo>
                    <a:pt x="929" y="246"/>
                    <a:pt x="929" y="246"/>
                    <a:pt x="929" y="246"/>
                  </a:cubicBezTo>
                  <a:cubicBezTo>
                    <a:pt x="928" y="246"/>
                    <a:pt x="928" y="246"/>
                    <a:pt x="928" y="246"/>
                  </a:cubicBezTo>
                  <a:cubicBezTo>
                    <a:pt x="927" y="246"/>
                    <a:pt x="927" y="246"/>
                    <a:pt x="927" y="246"/>
                  </a:cubicBezTo>
                  <a:cubicBezTo>
                    <a:pt x="926" y="246"/>
                    <a:pt x="926" y="246"/>
                    <a:pt x="926" y="246"/>
                  </a:cubicBezTo>
                  <a:cubicBezTo>
                    <a:pt x="926" y="246"/>
                    <a:pt x="926" y="246"/>
                    <a:pt x="926" y="246"/>
                  </a:cubicBezTo>
                  <a:cubicBezTo>
                    <a:pt x="925" y="246"/>
                    <a:pt x="925" y="246"/>
                    <a:pt x="925" y="246"/>
                  </a:cubicBezTo>
                  <a:cubicBezTo>
                    <a:pt x="925" y="246"/>
                    <a:pt x="925" y="246"/>
                    <a:pt x="925" y="246"/>
                  </a:cubicBezTo>
                  <a:cubicBezTo>
                    <a:pt x="925" y="246"/>
                    <a:pt x="925" y="246"/>
                    <a:pt x="925" y="246"/>
                  </a:cubicBezTo>
                  <a:cubicBezTo>
                    <a:pt x="925" y="245"/>
                    <a:pt x="925" y="245"/>
                    <a:pt x="925" y="245"/>
                  </a:cubicBezTo>
                  <a:cubicBezTo>
                    <a:pt x="925" y="245"/>
                    <a:pt x="925" y="245"/>
                    <a:pt x="925" y="245"/>
                  </a:cubicBezTo>
                  <a:cubicBezTo>
                    <a:pt x="924" y="245"/>
                    <a:pt x="924" y="245"/>
                    <a:pt x="924" y="245"/>
                  </a:cubicBezTo>
                  <a:cubicBezTo>
                    <a:pt x="924" y="245"/>
                    <a:pt x="924" y="245"/>
                    <a:pt x="924" y="245"/>
                  </a:cubicBezTo>
                  <a:cubicBezTo>
                    <a:pt x="924" y="245"/>
                    <a:pt x="924" y="245"/>
                    <a:pt x="924" y="245"/>
                  </a:cubicBezTo>
                  <a:cubicBezTo>
                    <a:pt x="922" y="245"/>
                    <a:pt x="921" y="245"/>
                    <a:pt x="919" y="244"/>
                  </a:cubicBezTo>
                  <a:cubicBezTo>
                    <a:pt x="919" y="244"/>
                    <a:pt x="919" y="244"/>
                    <a:pt x="919" y="244"/>
                  </a:cubicBezTo>
                  <a:cubicBezTo>
                    <a:pt x="918" y="244"/>
                    <a:pt x="918" y="244"/>
                    <a:pt x="918" y="244"/>
                  </a:cubicBezTo>
                  <a:cubicBezTo>
                    <a:pt x="918" y="244"/>
                    <a:pt x="918" y="244"/>
                    <a:pt x="918" y="244"/>
                  </a:cubicBezTo>
                  <a:cubicBezTo>
                    <a:pt x="918" y="244"/>
                    <a:pt x="918" y="244"/>
                    <a:pt x="918" y="244"/>
                  </a:cubicBezTo>
                  <a:cubicBezTo>
                    <a:pt x="917" y="243"/>
                    <a:pt x="917" y="243"/>
                    <a:pt x="917" y="243"/>
                  </a:cubicBezTo>
                  <a:cubicBezTo>
                    <a:pt x="917" y="243"/>
                    <a:pt x="917" y="243"/>
                    <a:pt x="917" y="243"/>
                  </a:cubicBezTo>
                  <a:cubicBezTo>
                    <a:pt x="914" y="242"/>
                    <a:pt x="914" y="243"/>
                    <a:pt x="911" y="241"/>
                  </a:cubicBezTo>
                  <a:cubicBezTo>
                    <a:pt x="910" y="241"/>
                    <a:pt x="910" y="241"/>
                    <a:pt x="910" y="241"/>
                  </a:cubicBezTo>
                  <a:cubicBezTo>
                    <a:pt x="909" y="240"/>
                    <a:pt x="909" y="240"/>
                    <a:pt x="909" y="240"/>
                  </a:cubicBezTo>
                  <a:cubicBezTo>
                    <a:pt x="909" y="239"/>
                    <a:pt x="909" y="239"/>
                    <a:pt x="909" y="238"/>
                  </a:cubicBezTo>
                  <a:cubicBezTo>
                    <a:pt x="909" y="237"/>
                    <a:pt x="909" y="237"/>
                    <a:pt x="909" y="237"/>
                  </a:cubicBezTo>
                  <a:cubicBezTo>
                    <a:pt x="909" y="237"/>
                    <a:pt x="909" y="237"/>
                    <a:pt x="909" y="237"/>
                  </a:cubicBezTo>
                  <a:cubicBezTo>
                    <a:pt x="910" y="237"/>
                    <a:pt x="910" y="237"/>
                    <a:pt x="910" y="237"/>
                  </a:cubicBezTo>
                  <a:cubicBezTo>
                    <a:pt x="910" y="237"/>
                    <a:pt x="910" y="237"/>
                    <a:pt x="910" y="237"/>
                  </a:cubicBezTo>
                  <a:cubicBezTo>
                    <a:pt x="911" y="237"/>
                    <a:pt x="911" y="237"/>
                    <a:pt x="911" y="237"/>
                  </a:cubicBezTo>
                  <a:cubicBezTo>
                    <a:pt x="911" y="237"/>
                    <a:pt x="911" y="237"/>
                    <a:pt x="911" y="237"/>
                  </a:cubicBezTo>
                  <a:cubicBezTo>
                    <a:pt x="911" y="237"/>
                    <a:pt x="911" y="237"/>
                    <a:pt x="911" y="237"/>
                  </a:cubicBezTo>
                  <a:cubicBezTo>
                    <a:pt x="912" y="237"/>
                    <a:pt x="912" y="237"/>
                    <a:pt x="912" y="237"/>
                  </a:cubicBezTo>
                  <a:cubicBezTo>
                    <a:pt x="912" y="237"/>
                    <a:pt x="912" y="237"/>
                    <a:pt x="912" y="237"/>
                  </a:cubicBezTo>
                  <a:cubicBezTo>
                    <a:pt x="912" y="237"/>
                    <a:pt x="912" y="237"/>
                    <a:pt x="912" y="237"/>
                  </a:cubicBezTo>
                  <a:cubicBezTo>
                    <a:pt x="913" y="237"/>
                    <a:pt x="913" y="237"/>
                    <a:pt x="913" y="237"/>
                  </a:cubicBezTo>
                  <a:cubicBezTo>
                    <a:pt x="913" y="237"/>
                    <a:pt x="913" y="237"/>
                    <a:pt x="913" y="237"/>
                  </a:cubicBezTo>
                  <a:cubicBezTo>
                    <a:pt x="913" y="237"/>
                    <a:pt x="913" y="237"/>
                    <a:pt x="913" y="237"/>
                  </a:cubicBezTo>
                  <a:cubicBezTo>
                    <a:pt x="913" y="237"/>
                    <a:pt x="913" y="237"/>
                    <a:pt x="913" y="237"/>
                  </a:cubicBezTo>
                  <a:cubicBezTo>
                    <a:pt x="913" y="237"/>
                    <a:pt x="913" y="237"/>
                    <a:pt x="913" y="237"/>
                  </a:cubicBezTo>
                  <a:cubicBezTo>
                    <a:pt x="913" y="236"/>
                    <a:pt x="913" y="236"/>
                    <a:pt x="913" y="236"/>
                  </a:cubicBezTo>
                  <a:cubicBezTo>
                    <a:pt x="913" y="236"/>
                    <a:pt x="913" y="236"/>
                    <a:pt x="913" y="236"/>
                  </a:cubicBezTo>
                  <a:cubicBezTo>
                    <a:pt x="913" y="235"/>
                    <a:pt x="916" y="235"/>
                    <a:pt x="914" y="233"/>
                  </a:cubicBezTo>
                  <a:cubicBezTo>
                    <a:pt x="912" y="232"/>
                    <a:pt x="912" y="232"/>
                    <a:pt x="912" y="232"/>
                  </a:cubicBezTo>
                  <a:cubicBezTo>
                    <a:pt x="912" y="232"/>
                    <a:pt x="912" y="232"/>
                    <a:pt x="912" y="232"/>
                  </a:cubicBezTo>
                  <a:cubicBezTo>
                    <a:pt x="912" y="232"/>
                    <a:pt x="912" y="232"/>
                    <a:pt x="912" y="232"/>
                  </a:cubicBezTo>
                  <a:cubicBezTo>
                    <a:pt x="912" y="232"/>
                    <a:pt x="912" y="232"/>
                    <a:pt x="912" y="232"/>
                  </a:cubicBezTo>
                  <a:cubicBezTo>
                    <a:pt x="913" y="231"/>
                    <a:pt x="913" y="231"/>
                    <a:pt x="913" y="231"/>
                  </a:cubicBezTo>
                  <a:cubicBezTo>
                    <a:pt x="913" y="231"/>
                    <a:pt x="913" y="231"/>
                    <a:pt x="913" y="231"/>
                  </a:cubicBezTo>
                  <a:cubicBezTo>
                    <a:pt x="913" y="231"/>
                    <a:pt x="913" y="231"/>
                    <a:pt x="913" y="231"/>
                  </a:cubicBezTo>
                  <a:cubicBezTo>
                    <a:pt x="914" y="231"/>
                    <a:pt x="914" y="231"/>
                    <a:pt x="914" y="231"/>
                  </a:cubicBezTo>
                  <a:cubicBezTo>
                    <a:pt x="914" y="231"/>
                    <a:pt x="914" y="231"/>
                    <a:pt x="914" y="231"/>
                  </a:cubicBezTo>
                  <a:cubicBezTo>
                    <a:pt x="914" y="231"/>
                    <a:pt x="914" y="231"/>
                    <a:pt x="914" y="231"/>
                  </a:cubicBezTo>
                  <a:cubicBezTo>
                    <a:pt x="914" y="230"/>
                    <a:pt x="914" y="230"/>
                    <a:pt x="914" y="230"/>
                  </a:cubicBezTo>
                  <a:cubicBezTo>
                    <a:pt x="913" y="230"/>
                    <a:pt x="913" y="230"/>
                    <a:pt x="913" y="230"/>
                  </a:cubicBezTo>
                  <a:cubicBezTo>
                    <a:pt x="911" y="228"/>
                    <a:pt x="911" y="228"/>
                    <a:pt x="911" y="228"/>
                  </a:cubicBezTo>
                  <a:cubicBezTo>
                    <a:pt x="910" y="228"/>
                    <a:pt x="910" y="228"/>
                    <a:pt x="910" y="228"/>
                  </a:cubicBezTo>
                  <a:cubicBezTo>
                    <a:pt x="910" y="227"/>
                    <a:pt x="910" y="227"/>
                    <a:pt x="910" y="227"/>
                  </a:cubicBezTo>
                  <a:cubicBezTo>
                    <a:pt x="910" y="227"/>
                    <a:pt x="910" y="227"/>
                    <a:pt x="910" y="227"/>
                  </a:cubicBezTo>
                  <a:cubicBezTo>
                    <a:pt x="909" y="227"/>
                    <a:pt x="909" y="227"/>
                    <a:pt x="909" y="227"/>
                  </a:cubicBezTo>
                  <a:cubicBezTo>
                    <a:pt x="909" y="227"/>
                    <a:pt x="909" y="227"/>
                    <a:pt x="909" y="227"/>
                  </a:cubicBezTo>
                  <a:cubicBezTo>
                    <a:pt x="909" y="226"/>
                    <a:pt x="909" y="226"/>
                    <a:pt x="909" y="226"/>
                  </a:cubicBezTo>
                  <a:cubicBezTo>
                    <a:pt x="909" y="226"/>
                    <a:pt x="909" y="226"/>
                    <a:pt x="909" y="226"/>
                  </a:cubicBezTo>
                  <a:cubicBezTo>
                    <a:pt x="909" y="226"/>
                    <a:pt x="909" y="226"/>
                    <a:pt x="909" y="226"/>
                  </a:cubicBezTo>
                  <a:cubicBezTo>
                    <a:pt x="909" y="226"/>
                    <a:pt x="909" y="226"/>
                    <a:pt x="909" y="226"/>
                  </a:cubicBezTo>
                  <a:cubicBezTo>
                    <a:pt x="909" y="226"/>
                    <a:pt x="909" y="226"/>
                    <a:pt x="909" y="226"/>
                  </a:cubicBezTo>
                  <a:cubicBezTo>
                    <a:pt x="909" y="225"/>
                    <a:pt x="909" y="225"/>
                    <a:pt x="909" y="225"/>
                  </a:cubicBezTo>
                  <a:cubicBezTo>
                    <a:pt x="909" y="225"/>
                    <a:pt x="909" y="225"/>
                    <a:pt x="909" y="225"/>
                  </a:cubicBezTo>
                  <a:cubicBezTo>
                    <a:pt x="909" y="225"/>
                    <a:pt x="909" y="225"/>
                    <a:pt x="909" y="225"/>
                  </a:cubicBezTo>
                  <a:cubicBezTo>
                    <a:pt x="909" y="225"/>
                    <a:pt x="909" y="225"/>
                    <a:pt x="909" y="225"/>
                  </a:cubicBezTo>
                  <a:cubicBezTo>
                    <a:pt x="909" y="224"/>
                    <a:pt x="909" y="224"/>
                    <a:pt x="909" y="224"/>
                  </a:cubicBezTo>
                  <a:cubicBezTo>
                    <a:pt x="909" y="224"/>
                    <a:pt x="909" y="224"/>
                    <a:pt x="909" y="224"/>
                  </a:cubicBezTo>
                  <a:cubicBezTo>
                    <a:pt x="908" y="223"/>
                    <a:pt x="910" y="222"/>
                    <a:pt x="910" y="221"/>
                  </a:cubicBezTo>
                  <a:cubicBezTo>
                    <a:pt x="910" y="221"/>
                    <a:pt x="910" y="221"/>
                    <a:pt x="910" y="221"/>
                  </a:cubicBezTo>
                  <a:cubicBezTo>
                    <a:pt x="909" y="221"/>
                    <a:pt x="909" y="221"/>
                    <a:pt x="909" y="221"/>
                  </a:cubicBezTo>
                  <a:cubicBezTo>
                    <a:pt x="909" y="221"/>
                    <a:pt x="909" y="221"/>
                    <a:pt x="909" y="221"/>
                  </a:cubicBezTo>
                  <a:cubicBezTo>
                    <a:pt x="909" y="220"/>
                    <a:pt x="909" y="220"/>
                    <a:pt x="909" y="220"/>
                  </a:cubicBezTo>
                  <a:cubicBezTo>
                    <a:pt x="910" y="220"/>
                    <a:pt x="910" y="220"/>
                    <a:pt x="910" y="220"/>
                  </a:cubicBezTo>
                  <a:cubicBezTo>
                    <a:pt x="910" y="220"/>
                    <a:pt x="910" y="220"/>
                    <a:pt x="910" y="220"/>
                  </a:cubicBezTo>
                  <a:cubicBezTo>
                    <a:pt x="910" y="220"/>
                    <a:pt x="910" y="220"/>
                    <a:pt x="910" y="220"/>
                  </a:cubicBezTo>
                  <a:cubicBezTo>
                    <a:pt x="910" y="220"/>
                    <a:pt x="910" y="220"/>
                    <a:pt x="910" y="220"/>
                  </a:cubicBezTo>
                  <a:cubicBezTo>
                    <a:pt x="911" y="220"/>
                    <a:pt x="911" y="220"/>
                    <a:pt x="911" y="220"/>
                  </a:cubicBezTo>
                  <a:cubicBezTo>
                    <a:pt x="911" y="220"/>
                    <a:pt x="911" y="220"/>
                    <a:pt x="911" y="220"/>
                  </a:cubicBezTo>
                  <a:cubicBezTo>
                    <a:pt x="911" y="219"/>
                    <a:pt x="911" y="219"/>
                    <a:pt x="911" y="219"/>
                  </a:cubicBezTo>
                  <a:cubicBezTo>
                    <a:pt x="912" y="219"/>
                    <a:pt x="912" y="219"/>
                    <a:pt x="912" y="219"/>
                  </a:cubicBezTo>
                  <a:cubicBezTo>
                    <a:pt x="912" y="219"/>
                    <a:pt x="912" y="219"/>
                    <a:pt x="912" y="219"/>
                  </a:cubicBezTo>
                  <a:cubicBezTo>
                    <a:pt x="913" y="219"/>
                    <a:pt x="913" y="219"/>
                    <a:pt x="913" y="219"/>
                  </a:cubicBezTo>
                  <a:cubicBezTo>
                    <a:pt x="913" y="219"/>
                    <a:pt x="913" y="219"/>
                    <a:pt x="913" y="219"/>
                  </a:cubicBezTo>
                  <a:cubicBezTo>
                    <a:pt x="913" y="219"/>
                    <a:pt x="913" y="219"/>
                    <a:pt x="913" y="219"/>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7"/>
                    <a:pt x="913" y="217"/>
                    <a:pt x="913" y="217"/>
                  </a:cubicBezTo>
                  <a:cubicBezTo>
                    <a:pt x="913" y="217"/>
                    <a:pt x="913" y="217"/>
                    <a:pt x="913" y="217"/>
                  </a:cubicBezTo>
                  <a:cubicBezTo>
                    <a:pt x="913" y="217"/>
                    <a:pt x="913" y="217"/>
                    <a:pt x="913" y="217"/>
                  </a:cubicBezTo>
                  <a:cubicBezTo>
                    <a:pt x="913" y="216"/>
                    <a:pt x="914" y="216"/>
                    <a:pt x="914" y="216"/>
                  </a:cubicBezTo>
                  <a:cubicBezTo>
                    <a:pt x="914" y="216"/>
                    <a:pt x="914" y="216"/>
                    <a:pt x="914" y="216"/>
                  </a:cubicBezTo>
                  <a:cubicBezTo>
                    <a:pt x="914" y="215"/>
                    <a:pt x="914" y="215"/>
                    <a:pt x="914" y="215"/>
                  </a:cubicBezTo>
                  <a:cubicBezTo>
                    <a:pt x="915" y="215"/>
                    <a:pt x="915" y="215"/>
                    <a:pt x="915" y="215"/>
                  </a:cubicBezTo>
                  <a:cubicBezTo>
                    <a:pt x="915" y="215"/>
                    <a:pt x="915" y="215"/>
                    <a:pt x="915" y="215"/>
                  </a:cubicBezTo>
                  <a:cubicBezTo>
                    <a:pt x="914" y="214"/>
                    <a:pt x="914" y="214"/>
                    <a:pt x="914" y="214"/>
                  </a:cubicBezTo>
                  <a:cubicBezTo>
                    <a:pt x="914" y="214"/>
                    <a:pt x="914" y="214"/>
                    <a:pt x="914" y="214"/>
                  </a:cubicBezTo>
                  <a:cubicBezTo>
                    <a:pt x="914" y="214"/>
                    <a:pt x="914" y="214"/>
                    <a:pt x="914" y="214"/>
                  </a:cubicBezTo>
                  <a:cubicBezTo>
                    <a:pt x="914" y="214"/>
                    <a:pt x="914" y="214"/>
                    <a:pt x="914" y="214"/>
                  </a:cubicBezTo>
                  <a:cubicBezTo>
                    <a:pt x="914" y="214"/>
                    <a:pt x="914" y="214"/>
                    <a:pt x="914" y="214"/>
                  </a:cubicBezTo>
                  <a:cubicBezTo>
                    <a:pt x="914" y="213"/>
                    <a:pt x="914" y="213"/>
                    <a:pt x="914" y="213"/>
                  </a:cubicBezTo>
                  <a:cubicBezTo>
                    <a:pt x="914" y="213"/>
                    <a:pt x="914" y="213"/>
                    <a:pt x="914" y="213"/>
                  </a:cubicBezTo>
                  <a:cubicBezTo>
                    <a:pt x="914" y="213"/>
                    <a:pt x="914" y="213"/>
                    <a:pt x="914" y="213"/>
                  </a:cubicBezTo>
                  <a:cubicBezTo>
                    <a:pt x="915" y="212"/>
                    <a:pt x="915" y="212"/>
                    <a:pt x="915" y="211"/>
                  </a:cubicBezTo>
                  <a:cubicBezTo>
                    <a:pt x="916" y="211"/>
                    <a:pt x="916" y="211"/>
                    <a:pt x="916" y="211"/>
                  </a:cubicBezTo>
                  <a:cubicBezTo>
                    <a:pt x="916" y="211"/>
                    <a:pt x="916" y="211"/>
                    <a:pt x="916" y="211"/>
                  </a:cubicBezTo>
                  <a:cubicBezTo>
                    <a:pt x="916" y="211"/>
                    <a:pt x="916" y="211"/>
                    <a:pt x="916" y="211"/>
                  </a:cubicBezTo>
                  <a:cubicBezTo>
                    <a:pt x="916" y="210"/>
                    <a:pt x="917" y="210"/>
                    <a:pt x="917" y="210"/>
                  </a:cubicBezTo>
                  <a:cubicBezTo>
                    <a:pt x="918" y="210"/>
                    <a:pt x="918" y="210"/>
                    <a:pt x="918" y="210"/>
                  </a:cubicBezTo>
                  <a:cubicBezTo>
                    <a:pt x="918" y="209"/>
                    <a:pt x="918" y="209"/>
                    <a:pt x="918" y="209"/>
                  </a:cubicBezTo>
                  <a:cubicBezTo>
                    <a:pt x="918" y="209"/>
                    <a:pt x="918" y="209"/>
                    <a:pt x="918" y="209"/>
                  </a:cubicBezTo>
                  <a:cubicBezTo>
                    <a:pt x="918" y="209"/>
                    <a:pt x="918" y="209"/>
                    <a:pt x="918" y="209"/>
                  </a:cubicBezTo>
                  <a:cubicBezTo>
                    <a:pt x="919" y="209"/>
                    <a:pt x="919" y="209"/>
                    <a:pt x="919" y="209"/>
                  </a:cubicBezTo>
                  <a:cubicBezTo>
                    <a:pt x="919" y="208"/>
                    <a:pt x="919" y="208"/>
                    <a:pt x="919" y="208"/>
                  </a:cubicBezTo>
                  <a:cubicBezTo>
                    <a:pt x="919" y="208"/>
                    <a:pt x="919" y="208"/>
                    <a:pt x="919" y="208"/>
                  </a:cubicBezTo>
                  <a:cubicBezTo>
                    <a:pt x="918" y="208"/>
                    <a:pt x="918" y="208"/>
                    <a:pt x="918" y="208"/>
                  </a:cubicBezTo>
                  <a:cubicBezTo>
                    <a:pt x="918" y="207"/>
                    <a:pt x="918" y="207"/>
                    <a:pt x="918" y="207"/>
                  </a:cubicBezTo>
                  <a:cubicBezTo>
                    <a:pt x="917" y="207"/>
                    <a:pt x="917" y="207"/>
                    <a:pt x="917" y="207"/>
                  </a:cubicBezTo>
                  <a:cubicBezTo>
                    <a:pt x="917" y="206"/>
                    <a:pt x="917" y="206"/>
                    <a:pt x="917" y="206"/>
                  </a:cubicBezTo>
                  <a:cubicBezTo>
                    <a:pt x="917" y="206"/>
                    <a:pt x="917" y="206"/>
                    <a:pt x="917" y="206"/>
                  </a:cubicBezTo>
                  <a:cubicBezTo>
                    <a:pt x="917" y="206"/>
                    <a:pt x="917" y="206"/>
                    <a:pt x="917" y="206"/>
                  </a:cubicBezTo>
                  <a:cubicBezTo>
                    <a:pt x="917" y="206"/>
                    <a:pt x="917" y="206"/>
                    <a:pt x="917" y="206"/>
                  </a:cubicBezTo>
                  <a:cubicBezTo>
                    <a:pt x="917" y="205"/>
                    <a:pt x="917" y="205"/>
                    <a:pt x="917" y="205"/>
                  </a:cubicBezTo>
                  <a:cubicBezTo>
                    <a:pt x="917" y="205"/>
                    <a:pt x="917" y="205"/>
                    <a:pt x="917" y="205"/>
                  </a:cubicBezTo>
                  <a:cubicBezTo>
                    <a:pt x="917" y="205"/>
                    <a:pt x="917" y="205"/>
                    <a:pt x="917" y="205"/>
                  </a:cubicBezTo>
                  <a:cubicBezTo>
                    <a:pt x="917" y="205"/>
                    <a:pt x="917" y="205"/>
                    <a:pt x="917" y="205"/>
                  </a:cubicBezTo>
                  <a:cubicBezTo>
                    <a:pt x="917" y="204"/>
                    <a:pt x="917" y="204"/>
                    <a:pt x="917" y="204"/>
                  </a:cubicBezTo>
                  <a:cubicBezTo>
                    <a:pt x="917" y="204"/>
                    <a:pt x="917" y="204"/>
                    <a:pt x="917" y="204"/>
                  </a:cubicBezTo>
                  <a:cubicBezTo>
                    <a:pt x="916" y="204"/>
                    <a:pt x="916" y="204"/>
                    <a:pt x="916" y="204"/>
                  </a:cubicBezTo>
                  <a:cubicBezTo>
                    <a:pt x="916" y="204"/>
                    <a:pt x="916" y="204"/>
                    <a:pt x="916" y="204"/>
                  </a:cubicBezTo>
                  <a:cubicBezTo>
                    <a:pt x="916" y="203"/>
                    <a:pt x="916" y="203"/>
                    <a:pt x="916" y="203"/>
                  </a:cubicBezTo>
                  <a:cubicBezTo>
                    <a:pt x="916" y="203"/>
                    <a:pt x="916" y="203"/>
                    <a:pt x="916" y="203"/>
                  </a:cubicBezTo>
                  <a:cubicBezTo>
                    <a:pt x="916" y="203"/>
                    <a:pt x="916" y="203"/>
                    <a:pt x="916" y="203"/>
                  </a:cubicBezTo>
                  <a:cubicBezTo>
                    <a:pt x="916" y="203"/>
                    <a:pt x="916" y="203"/>
                    <a:pt x="916" y="203"/>
                  </a:cubicBezTo>
                  <a:cubicBezTo>
                    <a:pt x="916" y="202"/>
                    <a:pt x="916" y="202"/>
                    <a:pt x="916" y="202"/>
                  </a:cubicBezTo>
                  <a:cubicBezTo>
                    <a:pt x="916" y="202"/>
                    <a:pt x="916" y="202"/>
                    <a:pt x="916" y="202"/>
                  </a:cubicBezTo>
                  <a:cubicBezTo>
                    <a:pt x="916" y="202"/>
                    <a:pt x="916" y="202"/>
                    <a:pt x="916" y="202"/>
                  </a:cubicBezTo>
                  <a:cubicBezTo>
                    <a:pt x="916" y="202"/>
                    <a:pt x="916" y="202"/>
                    <a:pt x="916" y="202"/>
                  </a:cubicBezTo>
                  <a:cubicBezTo>
                    <a:pt x="915" y="202"/>
                    <a:pt x="915" y="202"/>
                    <a:pt x="915" y="202"/>
                  </a:cubicBezTo>
                  <a:cubicBezTo>
                    <a:pt x="915" y="201"/>
                    <a:pt x="915" y="201"/>
                    <a:pt x="915" y="201"/>
                  </a:cubicBezTo>
                  <a:cubicBezTo>
                    <a:pt x="915" y="201"/>
                    <a:pt x="915" y="201"/>
                    <a:pt x="915" y="201"/>
                  </a:cubicBezTo>
                  <a:cubicBezTo>
                    <a:pt x="915" y="201"/>
                    <a:pt x="915" y="201"/>
                    <a:pt x="915" y="201"/>
                  </a:cubicBezTo>
                  <a:cubicBezTo>
                    <a:pt x="915" y="201"/>
                    <a:pt x="915" y="201"/>
                    <a:pt x="915" y="201"/>
                  </a:cubicBezTo>
                  <a:cubicBezTo>
                    <a:pt x="915" y="201"/>
                    <a:pt x="915" y="201"/>
                    <a:pt x="915" y="201"/>
                  </a:cubicBezTo>
                  <a:cubicBezTo>
                    <a:pt x="915" y="200"/>
                    <a:pt x="915" y="200"/>
                    <a:pt x="915" y="200"/>
                  </a:cubicBezTo>
                  <a:cubicBezTo>
                    <a:pt x="915" y="200"/>
                    <a:pt x="915" y="200"/>
                    <a:pt x="915" y="200"/>
                  </a:cubicBezTo>
                  <a:cubicBezTo>
                    <a:pt x="915" y="200"/>
                    <a:pt x="915" y="200"/>
                    <a:pt x="915" y="200"/>
                  </a:cubicBezTo>
                  <a:cubicBezTo>
                    <a:pt x="914" y="198"/>
                    <a:pt x="914" y="198"/>
                    <a:pt x="914" y="198"/>
                  </a:cubicBezTo>
                  <a:cubicBezTo>
                    <a:pt x="912" y="196"/>
                    <a:pt x="912" y="196"/>
                    <a:pt x="912" y="196"/>
                  </a:cubicBezTo>
                  <a:cubicBezTo>
                    <a:pt x="907" y="190"/>
                    <a:pt x="907" y="190"/>
                    <a:pt x="907" y="190"/>
                  </a:cubicBezTo>
                  <a:cubicBezTo>
                    <a:pt x="905" y="188"/>
                    <a:pt x="905" y="188"/>
                    <a:pt x="905" y="188"/>
                  </a:cubicBezTo>
                  <a:cubicBezTo>
                    <a:pt x="904" y="187"/>
                    <a:pt x="904" y="187"/>
                    <a:pt x="904" y="187"/>
                  </a:cubicBezTo>
                  <a:cubicBezTo>
                    <a:pt x="903" y="187"/>
                    <a:pt x="903" y="187"/>
                    <a:pt x="903" y="187"/>
                  </a:cubicBezTo>
                  <a:cubicBezTo>
                    <a:pt x="903" y="187"/>
                    <a:pt x="903" y="187"/>
                    <a:pt x="903" y="187"/>
                  </a:cubicBezTo>
                  <a:cubicBezTo>
                    <a:pt x="902" y="188"/>
                    <a:pt x="902" y="188"/>
                    <a:pt x="902" y="188"/>
                  </a:cubicBezTo>
                  <a:cubicBezTo>
                    <a:pt x="902" y="188"/>
                    <a:pt x="902" y="188"/>
                    <a:pt x="902" y="188"/>
                  </a:cubicBezTo>
                  <a:cubicBezTo>
                    <a:pt x="902" y="188"/>
                    <a:pt x="902" y="188"/>
                    <a:pt x="902" y="188"/>
                  </a:cubicBezTo>
                  <a:cubicBezTo>
                    <a:pt x="901" y="188"/>
                    <a:pt x="898" y="189"/>
                    <a:pt x="900" y="190"/>
                  </a:cubicBezTo>
                  <a:cubicBezTo>
                    <a:pt x="901" y="190"/>
                    <a:pt x="901" y="190"/>
                    <a:pt x="901" y="190"/>
                  </a:cubicBezTo>
                  <a:cubicBezTo>
                    <a:pt x="901" y="190"/>
                    <a:pt x="901" y="190"/>
                    <a:pt x="901" y="190"/>
                  </a:cubicBezTo>
                  <a:cubicBezTo>
                    <a:pt x="902" y="191"/>
                    <a:pt x="902" y="192"/>
                    <a:pt x="903" y="192"/>
                  </a:cubicBezTo>
                  <a:cubicBezTo>
                    <a:pt x="903" y="193"/>
                    <a:pt x="903" y="193"/>
                    <a:pt x="903" y="193"/>
                  </a:cubicBezTo>
                  <a:cubicBezTo>
                    <a:pt x="903" y="193"/>
                    <a:pt x="903" y="193"/>
                    <a:pt x="903" y="193"/>
                  </a:cubicBezTo>
                  <a:cubicBezTo>
                    <a:pt x="904" y="193"/>
                    <a:pt x="904" y="193"/>
                    <a:pt x="904" y="193"/>
                  </a:cubicBezTo>
                  <a:cubicBezTo>
                    <a:pt x="904" y="193"/>
                    <a:pt x="904" y="193"/>
                    <a:pt x="904" y="193"/>
                  </a:cubicBezTo>
                  <a:cubicBezTo>
                    <a:pt x="904" y="194"/>
                    <a:pt x="905" y="194"/>
                    <a:pt x="905" y="195"/>
                  </a:cubicBezTo>
                  <a:cubicBezTo>
                    <a:pt x="905" y="195"/>
                    <a:pt x="905" y="195"/>
                    <a:pt x="905" y="195"/>
                  </a:cubicBezTo>
                  <a:cubicBezTo>
                    <a:pt x="905" y="196"/>
                    <a:pt x="905" y="196"/>
                    <a:pt x="905" y="196"/>
                  </a:cubicBezTo>
                  <a:cubicBezTo>
                    <a:pt x="906" y="197"/>
                    <a:pt x="906" y="197"/>
                    <a:pt x="906" y="198"/>
                  </a:cubicBezTo>
                  <a:cubicBezTo>
                    <a:pt x="906" y="199"/>
                    <a:pt x="906" y="199"/>
                    <a:pt x="906" y="199"/>
                  </a:cubicBezTo>
                  <a:cubicBezTo>
                    <a:pt x="906" y="199"/>
                    <a:pt x="906" y="199"/>
                    <a:pt x="906" y="199"/>
                  </a:cubicBezTo>
                  <a:cubicBezTo>
                    <a:pt x="906" y="201"/>
                    <a:pt x="906" y="202"/>
                    <a:pt x="907" y="204"/>
                  </a:cubicBezTo>
                  <a:cubicBezTo>
                    <a:pt x="907" y="205"/>
                    <a:pt x="907" y="205"/>
                    <a:pt x="907" y="205"/>
                  </a:cubicBezTo>
                  <a:cubicBezTo>
                    <a:pt x="907" y="205"/>
                    <a:pt x="907" y="205"/>
                    <a:pt x="907" y="205"/>
                  </a:cubicBezTo>
                  <a:cubicBezTo>
                    <a:pt x="907" y="206"/>
                    <a:pt x="906" y="206"/>
                    <a:pt x="907" y="207"/>
                  </a:cubicBezTo>
                  <a:cubicBezTo>
                    <a:pt x="907" y="207"/>
                    <a:pt x="907" y="207"/>
                    <a:pt x="907" y="207"/>
                  </a:cubicBezTo>
                  <a:cubicBezTo>
                    <a:pt x="906" y="208"/>
                    <a:pt x="906" y="208"/>
                    <a:pt x="906" y="208"/>
                  </a:cubicBezTo>
                  <a:cubicBezTo>
                    <a:pt x="906" y="208"/>
                    <a:pt x="906" y="209"/>
                    <a:pt x="906" y="210"/>
                  </a:cubicBezTo>
                  <a:cubicBezTo>
                    <a:pt x="906" y="210"/>
                    <a:pt x="906" y="210"/>
                    <a:pt x="906" y="210"/>
                  </a:cubicBezTo>
                  <a:cubicBezTo>
                    <a:pt x="906" y="211"/>
                    <a:pt x="906" y="211"/>
                    <a:pt x="906" y="211"/>
                  </a:cubicBezTo>
                  <a:cubicBezTo>
                    <a:pt x="906" y="211"/>
                    <a:pt x="906" y="211"/>
                    <a:pt x="906" y="211"/>
                  </a:cubicBezTo>
                  <a:cubicBezTo>
                    <a:pt x="906" y="211"/>
                    <a:pt x="906" y="211"/>
                    <a:pt x="906" y="211"/>
                  </a:cubicBezTo>
                  <a:cubicBezTo>
                    <a:pt x="905" y="211"/>
                    <a:pt x="905" y="211"/>
                    <a:pt x="905" y="211"/>
                  </a:cubicBezTo>
                  <a:cubicBezTo>
                    <a:pt x="903" y="215"/>
                    <a:pt x="904" y="215"/>
                    <a:pt x="900" y="216"/>
                  </a:cubicBezTo>
                  <a:cubicBezTo>
                    <a:pt x="900" y="216"/>
                    <a:pt x="900" y="216"/>
                    <a:pt x="900" y="216"/>
                  </a:cubicBezTo>
                  <a:cubicBezTo>
                    <a:pt x="899" y="216"/>
                    <a:pt x="899" y="216"/>
                    <a:pt x="899" y="216"/>
                  </a:cubicBezTo>
                  <a:cubicBezTo>
                    <a:pt x="899" y="216"/>
                    <a:pt x="899" y="216"/>
                    <a:pt x="899" y="216"/>
                  </a:cubicBezTo>
                  <a:cubicBezTo>
                    <a:pt x="897" y="217"/>
                    <a:pt x="897" y="217"/>
                    <a:pt x="895" y="218"/>
                  </a:cubicBezTo>
                  <a:cubicBezTo>
                    <a:pt x="895" y="218"/>
                    <a:pt x="895" y="218"/>
                    <a:pt x="895" y="218"/>
                  </a:cubicBezTo>
                  <a:cubicBezTo>
                    <a:pt x="894" y="218"/>
                    <a:pt x="894" y="218"/>
                    <a:pt x="894" y="218"/>
                  </a:cubicBezTo>
                  <a:cubicBezTo>
                    <a:pt x="890" y="220"/>
                    <a:pt x="886" y="221"/>
                    <a:pt x="882" y="222"/>
                  </a:cubicBezTo>
                  <a:cubicBezTo>
                    <a:pt x="882" y="222"/>
                    <a:pt x="882" y="222"/>
                    <a:pt x="882" y="222"/>
                  </a:cubicBezTo>
                  <a:cubicBezTo>
                    <a:pt x="882" y="222"/>
                    <a:pt x="882" y="222"/>
                    <a:pt x="882" y="222"/>
                  </a:cubicBezTo>
                  <a:cubicBezTo>
                    <a:pt x="881" y="222"/>
                    <a:pt x="881" y="222"/>
                    <a:pt x="881" y="222"/>
                  </a:cubicBezTo>
                  <a:cubicBezTo>
                    <a:pt x="881" y="223"/>
                    <a:pt x="881" y="223"/>
                    <a:pt x="881" y="223"/>
                  </a:cubicBezTo>
                  <a:cubicBezTo>
                    <a:pt x="880" y="223"/>
                    <a:pt x="880" y="223"/>
                    <a:pt x="880" y="223"/>
                  </a:cubicBezTo>
                  <a:cubicBezTo>
                    <a:pt x="880" y="223"/>
                    <a:pt x="880" y="223"/>
                    <a:pt x="880" y="223"/>
                  </a:cubicBezTo>
                  <a:cubicBezTo>
                    <a:pt x="879" y="223"/>
                    <a:pt x="878" y="224"/>
                    <a:pt x="877" y="224"/>
                  </a:cubicBezTo>
                  <a:cubicBezTo>
                    <a:pt x="876" y="225"/>
                    <a:pt x="876" y="225"/>
                    <a:pt x="876" y="225"/>
                  </a:cubicBezTo>
                  <a:cubicBezTo>
                    <a:pt x="876" y="225"/>
                    <a:pt x="876" y="225"/>
                    <a:pt x="876" y="225"/>
                  </a:cubicBezTo>
                  <a:cubicBezTo>
                    <a:pt x="875" y="226"/>
                    <a:pt x="875" y="226"/>
                    <a:pt x="876" y="227"/>
                  </a:cubicBezTo>
                  <a:cubicBezTo>
                    <a:pt x="876" y="227"/>
                    <a:pt x="876" y="227"/>
                    <a:pt x="876" y="227"/>
                  </a:cubicBezTo>
                  <a:cubicBezTo>
                    <a:pt x="876" y="228"/>
                    <a:pt x="876" y="228"/>
                    <a:pt x="876" y="228"/>
                  </a:cubicBezTo>
                  <a:cubicBezTo>
                    <a:pt x="876" y="228"/>
                    <a:pt x="876" y="228"/>
                    <a:pt x="876" y="228"/>
                  </a:cubicBezTo>
                  <a:cubicBezTo>
                    <a:pt x="877" y="229"/>
                    <a:pt x="876" y="230"/>
                    <a:pt x="876" y="230"/>
                  </a:cubicBezTo>
                  <a:cubicBezTo>
                    <a:pt x="876" y="230"/>
                    <a:pt x="876" y="230"/>
                    <a:pt x="876" y="230"/>
                  </a:cubicBezTo>
                  <a:cubicBezTo>
                    <a:pt x="875" y="231"/>
                    <a:pt x="875" y="231"/>
                    <a:pt x="875" y="231"/>
                  </a:cubicBezTo>
                  <a:cubicBezTo>
                    <a:pt x="874" y="232"/>
                    <a:pt x="874" y="232"/>
                    <a:pt x="873" y="233"/>
                  </a:cubicBezTo>
                  <a:cubicBezTo>
                    <a:pt x="872" y="234"/>
                    <a:pt x="872" y="234"/>
                    <a:pt x="872" y="234"/>
                  </a:cubicBezTo>
                  <a:cubicBezTo>
                    <a:pt x="871" y="235"/>
                    <a:pt x="871" y="235"/>
                    <a:pt x="871" y="235"/>
                  </a:cubicBezTo>
                  <a:cubicBezTo>
                    <a:pt x="868" y="237"/>
                    <a:pt x="868" y="237"/>
                    <a:pt x="868" y="237"/>
                  </a:cubicBezTo>
                  <a:cubicBezTo>
                    <a:pt x="867" y="238"/>
                    <a:pt x="867" y="238"/>
                    <a:pt x="867" y="238"/>
                  </a:cubicBezTo>
                  <a:cubicBezTo>
                    <a:pt x="867" y="239"/>
                    <a:pt x="867" y="239"/>
                    <a:pt x="867" y="239"/>
                  </a:cubicBezTo>
                  <a:cubicBezTo>
                    <a:pt x="867" y="239"/>
                    <a:pt x="867" y="239"/>
                    <a:pt x="867" y="239"/>
                  </a:cubicBezTo>
                  <a:cubicBezTo>
                    <a:pt x="868" y="239"/>
                    <a:pt x="868" y="239"/>
                    <a:pt x="868" y="239"/>
                  </a:cubicBezTo>
                  <a:cubicBezTo>
                    <a:pt x="868" y="240"/>
                    <a:pt x="868" y="240"/>
                    <a:pt x="868" y="240"/>
                  </a:cubicBezTo>
                  <a:cubicBezTo>
                    <a:pt x="868" y="240"/>
                    <a:pt x="868" y="240"/>
                    <a:pt x="868" y="240"/>
                  </a:cubicBezTo>
                  <a:cubicBezTo>
                    <a:pt x="876" y="243"/>
                    <a:pt x="877" y="243"/>
                    <a:pt x="880" y="251"/>
                  </a:cubicBezTo>
                  <a:cubicBezTo>
                    <a:pt x="880" y="251"/>
                    <a:pt x="880" y="251"/>
                    <a:pt x="880" y="251"/>
                  </a:cubicBezTo>
                  <a:cubicBezTo>
                    <a:pt x="880" y="251"/>
                    <a:pt x="880" y="251"/>
                    <a:pt x="880" y="251"/>
                  </a:cubicBezTo>
                  <a:cubicBezTo>
                    <a:pt x="880" y="251"/>
                    <a:pt x="880" y="251"/>
                    <a:pt x="880" y="251"/>
                  </a:cubicBezTo>
                  <a:cubicBezTo>
                    <a:pt x="882" y="254"/>
                    <a:pt x="884" y="253"/>
                    <a:pt x="884" y="256"/>
                  </a:cubicBezTo>
                  <a:cubicBezTo>
                    <a:pt x="884" y="257"/>
                    <a:pt x="884" y="257"/>
                    <a:pt x="884" y="257"/>
                  </a:cubicBezTo>
                  <a:cubicBezTo>
                    <a:pt x="884" y="258"/>
                    <a:pt x="884" y="259"/>
                    <a:pt x="885" y="259"/>
                  </a:cubicBezTo>
                  <a:cubicBezTo>
                    <a:pt x="885" y="259"/>
                    <a:pt x="885" y="259"/>
                    <a:pt x="885" y="259"/>
                  </a:cubicBezTo>
                  <a:cubicBezTo>
                    <a:pt x="885" y="260"/>
                    <a:pt x="885" y="260"/>
                    <a:pt x="885" y="260"/>
                  </a:cubicBezTo>
                  <a:cubicBezTo>
                    <a:pt x="886" y="260"/>
                    <a:pt x="887" y="261"/>
                    <a:pt x="888" y="262"/>
                  </a:cubicBezTo>
                  <a:cubicBezTo>
                    <a:pt x="889" y="262"/>
                    <a:pt x="889" y="262"/>
                    <a:pt x="889" y="262"/>
                  </a:cubicBezTo>
                  <a:cubicBezTo>
                    <a:pt x="889" y="262"/>
                    <a:pt x="889" y="262"/>
                    <a:pt x="889" y="262"/>
                  </a:cubicBezTo>
                  <a:cubicBezTo>
                    <a:pt x="889" y="262"/>
                    <a:pt x="889" y="262"/>
                    <a:pt x="889" y="262"/>
                  </a:cubicBezTo>
                  <a:cubicBezTo>
                    <a:pt x="889" y="262"/>
                    <a:pt x="889" y="262"/>
                    <a:pt x="889" y="262"/>
                  </a:cubicBezTo>
                  <a:cubicBezTo>
                    <a:pt x="890" y="263"/>
                    <a:pt x="890" y="263"/>
                    <a:pt x="890" y="263"/>
                  </a:cubicBezTo>
                  <a:cubicBezTo>
                    <a:pt x="890" y="263"/>
                    <a:pt x="890" y="263"/>
                    <a:pt x="890" y="263"/>
                  </a:cubicBezTo>
                  <a:cubicBezTo>
                    <a:pt x="890" y="263"/>
                    <a:pt x="890" y="263"/>
                    <a:pt x="890" y="263"/>
                  </a:cubicBezTo>
                  <a:cubicBezTo>
                    <a:pt x="890" y="263"/>
                    <a:pt x="890" y="263"/>
                    <a:pt x="890" y="263"/>
                  </a:cubicBezTo>
                  <a:cubicBezTo>
                    <a:pt x="891" y="264"/>
                    <a:pt x="891" y="264"/>
                    <a:pt x="892" y="266"/>
                  </a:cubicBezTo>
                  <a:cubicBezTo>
                    <a:pt x="892" y="266"/>
                    <a:pt x="892" y="266"/>
                    <a:pt x="892" y="266"/>
                  </a:cubicBezTo>
                  <a:cubicBezTo>
                    <a:pt x="892" y="266"/>
                    <a:pt x="892" y="266"/>
                    <a:pt x="892" y="266"/>
                  </a:cubicBezTo>
                  <a:cubicBezTo>
                    <a:pt x="892" y="267"/>
                    <a:pt x="892" y="267"/>
                    <a:pt x="892" y="267"/>
                  </a:cubicBezTo>
                  <a:cubicBezTo>
                    <a:pt x="892" y="267"/>
                    <a:pt x="892" y="267"/>
                    <a:pt x="892" y="267"/>
                  </a:cubicBezTo>
                  <a:cubicBezTo>
                    <a:pt x="892" y="267"/>
                    <a:pt x="892" y="267"/>
                    <a:pt x="892" y="267"/>
                  </a:cubicBezTo>
                  <a:cubicBezTo>
                    <a:pt x="892" y="267"/>
                    <a:pt x="892" y="267"/>
                    <a:pt x="892" y="267"/>
                  </a:cubicBezTo>
                  <a:cubicBezTo>
                    <a:pt x="892" y="268"/>
                    <a:pt x="892" y="268"/>
                    <a:pt x="892" y="268"/>
                  </a:cubicBezTo>
                  <a:cubicBezTo>
                    <a:pt x="892" y="268"/>
                    <a:pt x="892" y="268"/>
                    <a:pt x="892" y="268"/>
                  </a:cubicBezTo>
                  <a:cubicBezTo>
                    <a:pt x="891" y="270"/>
                    <a:pt x="891" y="270"/>
                    <a:pt x="891" y="270"/>
                  </a:cubicBezTo>
                  <a:cubicBezTo>
                    <a:pt x="889" y="272"/>
                    <a:pt x="889" y="272"/>
                    <a:pt x="889" y="272"/>
                  </a:cubicBezTo>
                  <a:cubicBezTo>
                    <a:pt x="883" y="279"/>
                    <a:pt x="883" y="279"/>
                    <a:pt x="883" y="279"/>
                  </a:cubicBezTo>
                  <a:cubicBezTo>
                    <a:pt x="881" y="281"/>
                    <a:pt x="881" y="281"/>
                    <a:pt x="881" y="281"/>
                  </a:cubicBezTo>
                  <a:cubicBezTo>
                    <a:pt x="880" y="283"/>
                    <a:pt x="880" y="283"/>
                    <a:pt x="880" y="283"/>
                  </a:cubicBezTo>
                  <a:cubicBezTo>
                    <a:pt x="879" y="284"/>
                    <a:pt x="881" y="283"/>
                    <a:pt x="881" y="285"/>
                  </a:cubicBezTo>
                  <a:cubicBezTo>
                    <a:pt x="881" y="285"/>
                    <a:pt x="881" y="285"/>
                    <a:pt x="881" y="285"/>
                  </a:cubicBezTo>
                  <a:cubicBezTo>
                    <a:pt x="881" y="285"/>
                    <a:pt x="881" y="285"/>
                    <a:pt x="881" y="285"/>
                  </a:cubicBezTo>
                  <a:cubicBezTo>
                    <a:pt x="881" y="286"/>
                    <a:pt x="880" y="287"/>
                    <a:pt x="880" y="288"/>
                  </a:cubicBezTo>
                  <a:cubicBezTo>
                    <a:pt x="880" y="288"/>
                    <a:pt x="880" y="288"/>
                    <a:pt x="880" y="288"/>
                  </a:cubicBezTo>
                  <a:cubicBezTo>
                    <a:pt x="880" y="288"/>
                    <a:pt x="880" y="288"/>
                    <a:pt x="880" y="288"/>
                  </a:cubicBezTo>
                  <a:cubicBezTo>
                    <a:pt x="880" y="289"/>
                    <a:pt x="880" y="289"/>
                    <a:pt x="880" y="289"/>
                  </a:cubicBezTo>
                  <a:cubicBezTo>
                    <a:pt x="879" y="290"/>
                    <a:pt x="879" y="290"/>
                    <a:pt x="879" y="290"/>
                  </a:cubicBezTo>
                  <a:cubicBezTo>
                    <a:pt x="877" y="294"/>
                    <a:pt x="877" y="294"/>
                    <a:pt x="877" y="294"/>
                  </a:cubicBezTo>
                  <a:cubicBezTo>
                    <a:pt x="877" y="296"/>
                    <a:pt x="877" y="296"/>
                    <a:pt x="877" y="296"/>
                  </a:cubicBezTo>
                  <a:cubicBezTo>
                    <a:pt x="876" y="297"/>
                    <a:pt x="876" y="297"/>
                    <a:pt x="876" y="297"/>
                  </a:cubicBezTo>
                  <a:cubicBezTo>
                    <a:pt x="877" y="297"/>
                    <a:pt x="877" y="297"/>
                    <a:pt x="877" y="297"/>
                  </a:cubicBezTo>
                  <a:cubicBezTo>
                    <a:pt x="877" y="298"/>
                    <a:pt x="877" y="298"/>
                    <a:pt x="877" y="298"/>
                  </a:cubicBezTo>
                  <a:cubicBezTo>
                    <a:pt x="877" y="298"/>
                    <a:pt x="877" y="298"/>
                    <a:pt x="877" y="298"/>
                  </a:cubicBezTo>
                  <a:cubicBezTo>
                    <a:pt x="877" y="298"/>
                    <a:pt x="877" y="298"/>
                    <a:pt x="877" y="298"/>
                  </a:cubicBezTo>
                  <a:cubicBezTo>
                    <a:pt x="877" y="298"/>
                    <a:pt x="877" y="298"/>
                    <a:pt x="877" y="298"/>
                  </a:cubicBezTo>
                  <a:cubicBezTo>
                    <a:pt x="877" y="298"/>
                    <a:pt x="877" y="298"/>
                    <a:pt x="877" y="298"/>
                  </a:cubicBezTo>
                  <a:cubicBezTo>
                    <a:pt x="877" y="299"/>
                    <a:pt x="877" y="299"/>
                    <a:pt x="877" y="299"/>
                  </a:cubicBezTo>
                  <a:cubicBezTo>
                    <a:pt x="878" y="299"/>
                    <a:pt x="878" y="299"/>
                    <a:pt x="878" y="299"/>
                  </a:cubicBezTo>
                  <a:cubicBezTo>
                    <a:pt x="878" y="299"/>
                    <a:pt x="878" y="299"/>
                    <a:pt x="878" y="299"/>
                  </a:cubicBezTo>
                  <a:cubicBezTo>
                    <a:pt x="878" y="299"/>
                    <a:pt x="878" y="299"/>
                    <a:pt x="878" y="299"/>
                  </a:cubicBezTo>
                  <a:cubicBezTo>
                    <a:pt x="878" y="299"/>
                    <a:pt x="878" y="299"/>
                    <a:pt x="878" y="299"/>
                  </a:cubicBezTo>
                  <a:cubicBezTo>
                    <a:pt x="879" y="301"/>
                    <a:pt x="879" y="301"/>
                    <a:pt x="880" y="302"/>
                  </a:cubicBezTo>
                  <a:cubicBezTo>
                    <a:pt x="880" y="302"/>
                    <a:pt x="880" y="302"/>
                    <a:pt x="880" y="302"/>
                  </a:cubicBezTo>
                  <a:cubicBezTo>
                    <a:pt x="880" y="302"/>
                    <a:pt x="880" y="302"/>
                    <a:pt x="880" y="302"/>
                  </a:cubicBezTo>
                  <a:cubicBezTo>
                    <a:pt x="881" y="302"/>
                    <a:pt x="881" y="302"/>
                    <a:pt x="881" y="302"/>
                  </a:cubicBezTo>
                  <a:cubicBezTo>
                    <a:pt x="881" y="302"/>
                    <a:pt x="881" y="302"/>
                    <a:pt x="881" y="302"/>
                  </a:cubicBezTo>
                  <a:cubicBezTo>
                    <a:pt x="881" y="303"/>
                    <a:pt x="882" y="304"/>
                    <a:pt x="882" y="305"/>
                  </a:cubicBezTo>
                  <a:cubicBezTo>
                    <a:pt x="883" y="305"/>
                    <a:pt x="883" y="305"/>
                    <a:pt x="883" y="305"/>
                  </a:cubicBezTo>
                  <a:cubicBezTo>
                    <a:pt x="883" y="305"/>
                    <a:pt x="883" y="305"/>
                    <a:pt x="883" y="305"/>
                  </a:cubicBezTo>
                  <a:cubicBezTo>
                    <a:pt x="883" y="305"/>
                    <a:pt x="883" y="305"/>
                    <a:pt x="883" y="305"/>
                  </a:cubicBezTo>
                  <a:cubicBezTo>
                    <a:pt x="883" y="305"/>
                    <a:pt x="883" y="305"/>
                    <a:pt x="883" y="305"/>
                  </a:cubicBezTo>
                  <a:cubicBezTo>
                    <a:pt x="883" y="306"/>
                    <a:pt x="883" y="306"/>
                    <a:pt x="883" y="306"/>
                  </a:cubicBezTo>
                  <a:cubicBezTo>
                    <a:pt x="883" y="306"/>
                    <a:pt x="883" y="306"/>
                    <a:pt x="883" y="306"/>
                  </a:cubicBezTo>
                  <a:cubicBezTo>
                    <a:pt x="883" y="306"/>
                    <a:pt x="883" y="306"/>
                    <a:pt x="883" y="306"/>
                  </a:cubicBezTo>
                  <a:cubicBezTo>
                    <a:pt x="883" y="306"/>
                    <a:pt x="883" y="306"/>
                    <a:pt x="883" y="306"/>
                  </a:cubicBezTo>
                  <a:cubicBezTo>
                    <a:pt x="883" y="306"/>
                    <a:pt x="883" y="306"/>
                    <a:pt x="883" y="306"/>
                  </a:cubicBezTo>
                  <a:cubicBezTo>
                    <a:pt x="883" y="307"/>
                    <a:pt x="883" y="307"/>
                    <a:pt x="883" y="307"/>
                  </a:cubicBezTo>
                  <a:cubicBezTo>
                    <a:pt x="883" y="309"/>
                    <a:pt x="883" y="309"/>
                    <a:pt x="883" y="309"/>
                  </a:cubicBezTo>
                  <a:cubicBezTo>
                    <a:pt x="881" y="313"/>
                    <a:pt x="881" y="313"/>
                    <a:pt x="881" y="313"/>
                  </a:cubicBezTo>
                  <a:cubicBezTo>
                    <a:pt x="881" y="315"/>
                    <a:pt x="881" y="315"/>
                    <a:pt x="881" y="315"/>
                  </a:cubicBezTo>
                  <a:cubicBezTo>
                    <a:pt x="881" y="316"/>
                    <a:pt x="881" y="316"/>
                    <a:pt x="881" y="316"/>
                  </a:cubicBezTo>
                  <a:cubicBezTo>
                    <a:pt x="881" y="316"/>
                    <a:pt x="881" y="316"/>
                    <a:pt x="881" y="316"/>
                  </a:cubicBezTo>
                  <a:cubicBezTo>
                    <a:pt x="881" y="316"/>
                    <a:pt x="881" y="316"/>
                    <a:pt x="881" y="316"/>
                  </a:cubicBezTo>
                  <a:cubicBezTo>
                    <a:pt x="881" y="317"/>
                    <a:pt x="881" y="317"/>
                    <a:pt x="881" y="317"/>
                  </a:cubicBezTo>
                  <a:cubicBezTo>
                    <a:pt x="882" y="317"/>
                    <a:pt x="882" y="317"/>
                    <a:pt x="882" y="317"/>
                  </a:cubicBezTo>
                  <a:cubicBezTo>
                    <a:pt x="882" y="317"/>
                    <a:pt x="882" y="317"/>
                    <a:pt x="882" y="317"/>
                  </a:cubicBezTo>
                  <a:cubicBezTo>
                    <a:pt x="882" y="317"/>
                    <a:pt x="882" y="317"/>
                    <a:pt x="882" y="317"/>
                  </a:cubicBezTo>
                  <a:cubicBezTo>
                    <a:pt x="882" y="317"/>
                    <a:pt x="882" y="317"/>
                    <a:pt x="882" y="317"/>
                  </a:cubicBezTo>
                  <a:cubicBezTo>
                    <a:pt x="882" y="318"/>
                    <a:pt x="882" y="318"/>
                    <a:pt x="882" y="318"/>
                  </a:cubicBezTo>
                  <a:cubicBezTo>
                    <a:pt x="883" y="318"/>
                    <a:pt x="883" y="318"/>
                    <a:pt x="883" y="318"/>
                  </a:cubicBezTo>
                  <a:cubicBezTo>
                    <a:pt x="884" y="319"/>
                    <a:pt x="884" y="319"/>
                    <a:pt x="886" y="318"/>
                  </a:cubicBezTo>
                  <a:cubicBezTo>
                    <a:pt x="886" y="318"/>
                    <a:pt x="886" y="318"/>
                    <a:pt x="886" y="318"/>
                  </a:cubicBezTo>
                  <a:cubicBezTo>
                    <a:pt x="886" y="318"/>
                    <a:pt x="886" y="318"/>
                    <a:pt x="886" y="318"/>
                  </a:cubicBezTo>
                  <a:cubicBezTo>
                    <a:pt x="888" y="318"/>
                    <a:pt x="889" y="317"/>
                    <a:pt x="890" y="317"/>
                  </a:cubicBezTo>
                  <a:cubicBezTo>
                    <a:pt x="890" y="317"/>
                    <a:pt x="890" y="317"/>
                    <a:pt x="890" y="317"/>
                  </a:cubicBezTo>
                  <a:cubicBezTo>
                    <a:pt x="890" y="317"/>
                    <a:pt x="890" y="317"/>
                    <a:pt x="890" y="317"/>
                  </a:cubicBezTo>
                  <a:cubicBezTo>
                    <a:pt x="891" y="317"/>
                    <a:pt x="891" y="317"/>
                    <a:pt x="891" y="317"/>
                  </a:cubicBezTo>
                  <a:cubicBezTo>
                    <a:pt x="894" y="316"/>
                    <a:pt x="896" y="317"/>
                    <a:pt x="899" y="319"/>
                  </a:cubicBezTo>
                  <a:cubicBezTo>
                    <a:pt x="900" y="319"/>
                    <a:pt x="900" y="319"/>
                    <a:pt x="900" y="319"/>
                  </a:cubicBezTo>
                  <a:cubicBezTo>
                    <a:pt x="900" y="319"/>
                    <a:pt x="900" y="319"/>
                    <a:pt x="900" y="319"/>
                  </a:cubicBezTo>
                  <a:cubicBezTo>
                    <a:pt x="900" y="319"/>
                    <a:pt x="900" y="319"/>
                    <a:pt x="900" y="319"/>
                  </a:cubicBezTo>
                  <a:cubicBezTo>
                    <a:pt x="901" y="319"/>
                    <a:pt x="901" y="319"/>
                    <a:pt x="901" y="319"/>
                  </a:cubicBezTo>
                  <a:cubicBezTo>
                    <a:pt x="901" y="319"/>
                    <a:pt x="901" y="319"/>
                    <a:pt x="901" y="319"/>
                  </a:cubicBezTo>
                  <a:cubicBezTo>
                    <a:pt x="903" y="318"/>
                    <a:pt x="903" y="318"/>
                    <a:pt x="905" y="318"/>
                  </a:cubicBezTo>
                  <a:cubicBezTo>
                    <a:pt x="905" y="318"/>
                    <a:pt x="905" y="318"/>
                    <a:pt x="905" y="318"/>
                  </a:cubicBezTo>
                  <a:cubicBezTo>
                    <a:pt x="905" y="318"/>
                    <a:pt x="905" y="318"/>
                    <a:pt x="905" y="318"/>
                  </a:cubicBezTo>
                  <a:cubicBezTo>
                    <a:pt x="907" y="318"/>
                    <a:pt x="905" y="317"/>
                    <a:pt x="908" y="316"/>
                  </a:cubicBezTo>
                  <a:cubicBezTo>
                    <a:pt x="908" y="316"/>
                    <a:pt x="908" y="316"/>
                    <a:pt x="908" y="316"/>
                  </a:cubicBezTo>
                  <a:cubicBezTo>
                    <a:pt x="909" y="315"/>
                    <a:pt x="909" y="315"/>
                    <a:pt x="909" y="315"/>
                  </a:cubicBezTo>
                  <a:cubicBezTo>
                    <a:pt x="909" y="315"/>
                    <a:pt x="909" y="315"/>
                    <a:pt x="909" y="315"/>
                  </a:cubicBezTo>
                  <a:cubicBezTo>
                    <a:pt x="909" y="315"/>
                    <a:pt x="909" y="315"/>
                    <a:pt x="909" y="315"/>
                  </a:cubicBezTo>
                  <a:cubicBezTo>
                    <a:pt x="911" y="315"/>
                    <a:pt x="910" y="314"/>
                    <a:pt x="913" y="314"/>
                  </a:cubicBezTo>
                  <a:cubicBezTo>
                    <a:pt x="913" y="313"/>
                    <a:pt x="913" y="313"/>
                    <a:pt x="913" y="313"/>
                  </a:cubicBezTo>
                  <a:cubicBezTo>
                    <a:pt x="913" y="313"/>
                    <a:pt x="913" y="313"/>
                    <a:pt x="913" y="313"/>
                  </a:cubicBezTo>
                  <a:cubicBezTo>
                    <a:pt x="914" y="313"/>
                    <a:pt x="916" y="313"/>
                    <a:pt x="917" y="313"/>
                  </a:cubicBezTo>
                  <a:cubicBezTo>
                    <a:pt x="918" y="313"/>
                    <a:pt x="918" y="313"/>
                    <a:pt x="918" y="313"/>
                  </a:cubicBezTo>
                  <a:cubicBezTo>
                    <a:pt x="918" y="313"/>
                    <a:pt x="918" y="313"/>
                    <a:pt x="918" y="313"/>
                  </a:cubicBezTo>
                  <a:cubicBezTo>
                    <a:pt x="918" y="313"/>
                    <a:pt x="918" y="313"/>
                    <a:pt x="918" y="313"/>
                  </a:cubicBezTo>
                  <a:cubicBezTo>
                    <a:pt x="919" y="314"/>
                    <a:pt x="919" y="314"/>
                    <a:pt x="919" y="314"/>
                  </a:cubicBezTo>
                  <a:cubicBezTo>
                    <a:pt x="919" y="314"/>
                    <a:pt x="919" y="314"/>
                    <a:pt x="919" y="314"/>
                  </a:cubicBezTo>
                  <a:cubicBezTo>
                    <a:pt x="919" y="314"/>
                    <a:pt x="919" y="314"/>
                    <a:pt x="919" y="314"/>
                  </a:cubicBezTo>
                  <a:cubicBezTo>
                    <a:pt x="925" y="314"/>
                    <a:pt x="922" y="312"/>
                    <a:pt x="928" y="315"/>
                  </a:cubicBezTo>
                  <a:cubicBezTo>
                    <a:pt x="928" y="315"/>
                    <a:pt x="928" y="315"/>
                    <a:pt x="928" y="315"/>
                  </a:cubicBezTo>
                  <a:cubicBezTo>
                    <a:pt x="928" y="315"/>
                    <a:pt x="928" y="315"/>
                    <a:pt x="928" y="315"/>
                  </a:cubicBezTo>
                  <a:cubicBezTo>
                    <a:pt x="929" y="315"/>
                    <a:pt x="929" y="315"/>
                    <a:pt x="929" y="315"/>
                  </a:cubicBezTo>
                  <a:cubicBezTo>
                    <a:pt x="930" y="316"/>
                    <a:pt x="930" y="316"/>
                    <a:pt x="932" y="317"/>
                  </a:cubicBezTo>
                  <a:cubicBezTo>
                    <a:pt x="933" y="317"/>
                    <a:pt x="933" y="317"/>
                    <a:pt x="933" y="317"/>
                  </a:cubicBezTo>
                  <a:cubicBezTo>
                    <a:pt x="935" y="317"/>
                    <a:pt x="934" y="316"/>
                    <a:pt x="937" y="317"/>
                  </a:cubicBezTo>
                  <a:cubicBezTo>
                    <a:pt x="937" y="317"/>
                    <a:pt x="937" y="317"/>
                    <a:pt x="937" y="317"/>
                  </a:cubicBezTo>
                  <a:cubicBezTo>
                    <a:pt x="937" y="317"/>
                    <a:pt x="937" y="317"/>
                    <a:pt x="937" y="317"/>
                  </a:cubicBezTo>
                  <a:cubicBezTo>
                    <a:pt x="938" y="317"/>
                    <a:pt x="938" y="317"/>
                    <a:pt x="938" y="317"/>
                  </a:cubicBezTo>
                  <a:cubicBezTo>
                    <a:pt x="938" y="317"/>
                    <a:pt x="938" y="317"/>
                    <a:pt x="938" y="317"/>
                  </a:cubicBezTo>
                  <a:cubicBezTo>
                    <a:pt x="938" y="318"/>
                    <a:pt x="938" y="318"/>
                    <a:pt x="938" y="318"/>
                  </a:cubicBezTo>
                  <a:cubicBezTo>
                    <a:pt x="939" y="318"/>
                    <a:pt x="939" y="318"/>
                    <a:pt x="939" y="318"/>
                  </a:cubicBezTo>
                  <a:cubicBezTo>
                    <a:pt x="940" y="318"/>
                    <a:pt x="939" y="319"/>
                    <a:pt x="940" y="320"/>
                  </a:cubicBezTo>
                  <a:cubicBezTo>
                    <a:pt x="940" y="320"/>
                    <a:pt x="940" y="320"/>
                    <a:pt x="940" y="320"/>
                  </a:cubicBezTo>
                  <a:cubicBezTo>
                    <a:pt x="941" y="321"/>
                    <a:pt x="941" y="321"/>
                    <a:pt x="941" y="321"/>
                  </a:cubicBezTo>
                  <a:cubicBezTo>
                    <a:pt x="941" y="321"/>
                    <a:pt x="942" y="321"/>
                    <a:pt x="943" y="321"/>
                  </a:cubicBezTo>
                  <a:cubicBezTo>
                    <a:pt x="943" y="321"/>
                    <a:pt x="943" y="321"/>
                    <a:pt x="943" y="321"/>
                  </a:cubicBezTo>
                  <a:cubicBezTo>
                    <a:pt x="943" y="321"/>
                    <a:pt x="943" y="321"/>
                    <a:pt x="943" y="321"/>
                  </a:cubicBezTo>
                  <a:cubicBezTo>
                    <a:pt x="944" y="322"/>
                    <a:pt x="944" y="322"/>
                    <a:pt x="944" y="322"/>
                  </a:cubicBezTo>
                  <a:cubicBezTo>
                    <a:pt x="949" y="322"/>
                    <a:pt x="948" y="324"/>
                    <a:pt x="952" y="324"/>
                  </a:cubicBezTo>
                  <a:cubicBezTo>
                    <a:pt x="952" y="324"/>
                    <a:pt x="952" y="324"/>
                    <a:pt x="952" y="324"/>
                  </a:cubicBezTo>
                  <a:cubicBezTo>
                    <a:pt x="953" y="324"/>
                    <a:pt x="953" y="324"/>
                    <a:pt x="953" y="324"/>
                  </a:cubicBezTo>
                  <a:cubicBezTo>
                    <a:pt x="953" y="324"/>
                    <a:pt x="953" y="324"/>
                    <a:pt x="953" y="324"/>
                  </a:cubicBezTo>
                  <a:cubicBezTo>
                    <a:pt x="953" y="324"/>
                    <a:pt x="953" y="324"/>
                    <a:pt x="953" y="324"/>
                  </a:cubicBezTo>
                  <a:cubicBezTo>
                    <a:pt x="954" y="324"/>
                    <a:pt x="954" y="324"/>
                    <a:pt x="954" y="324"/>
                  </a:cubicBezTo>
                  <a:cubicBezTo>
                    <a:pt x="954" y="325"/>
                    <a:pt x="954" y="325"/>
                    <a:pt x="954" y="325"/>
                  </a:cubicBezTo>
                  <a:cubicBezTo>
                    <a:pt x="955" y="327"/>
                    <a:pt x="955" y="327"/>
                    <a:pt x="955" y="327"/>
                  </a:cubicBezTo>
                  <a:cubicBezTo>
                    <a:pt x="956" y="332"/>
                    <a:pt x="956" y="332"/>
                    <a:pt x="956" y="332"/>
                  </a:cubicBezTo>
                  <a:cubicBezTo>
                    <a:pt x="956" y="333"/>
                    <a:pt x="956" y="333"/>
                    <a:pt x="956" y="333"/>
                  </a:cubicBezTo>
                  <a:cubicBezTo>
                    <a:pt x="956" y="335"/>
                    <a:pt x="956" y="335"/>
                    <a:pt x="956" y="335"/>
                  </a:cubicBezTo>
                  <a:cubicBezTo>
                    <a:pt x="957" y="335"/>
                    <a:pt x="957" y="335"/>
                    <a:pt x="957" y="335"/>
                  </a:cubicBezTo>
                  <a:cubicBezTo>
                    <a:pt x="957" y="335"/>
                    <a:pt x="957" y="335"/>
                    <a:pt x="957" y="335"/>
                  </a:cubicBezTo>
                  <a:cubicBezTo>
                    <a:pt x="957" y="336"/>
                    <a:pt x="957" y="336"/>
                    <a:pt x="957" y="336"/>
                  </a:cubicBezTo>
                  <a:cubicBezTo>
                    <a:pt x="957" y="337"/>
                    <a:pt x="957" y="337"/>
                    <a:pt x="957" y="337"/>
                  </a:cubicBezTo>
                  <a:cubicBezTo>
                    <a:pt x="958" y="337"/>
                    <a:pt x="958" y="337"/>
                    <a:pt x="958" y="337"/>
                  </a:cubicBezTo>
                  <a:cubicBezTo>
                    <a:pt x="958" y="338"/>
                    <a:pt x="958" y="338"/>
                    <a:pt x="958" y="338"/>
                  </a:cubicBezTo>
                  <a:cubicBezTo>
                    <a:pt x="958" y="338"/>
                    <a:pt x="958" y="338"/>
                    <a:pt x="958" y="338"/>
                  </a:cubicBezTo>
                  <a:cubicBezTo>
                    <a:pt x="959" y="337"/>
                    <a:pt x="959" y="337"/>
                    <a:pt x="959" y="337"/>
                  </a:cubicBezTo>
                  <a:cubicBezTo>
                    <a:pt x="959" y="338"/>
                    <a:pt x="959" y="338"/>
                    <a:pt x="959" y="338"/>
                  </a:cubicBezTo>
                  <a:cubicBezTo>
                    <a:pt x="959" y="338"/>
                    <a:pt x="959" y="338"/>
                    <a:pt x="959" y="338"/>
                  </a:cubicBezTo>
                  <a:cubicBezTo>
                    <a:pt x="960" y="339"/>
                    <a:pt x="960" y="339"/>
                    <a:pt x="960" y="339"/>
                  </a:cubicBezTo>
                  <a:cubicBezTo>
                    <a:pt x="960" y="339"/>
                    <a:pt x="960" y="339"/>
                    <a:pt x="960" y="339"/>
                  </a:cubicBezTo>
                  <a:cubicBezTo>
                    <a:pt x="960" y="340"/>
                    <a:pt x="960" y="340"/>
                    <a:pt x="960" y="340"/>
                  </a:cubicBezTo>
                  <a:cubicBezTo>
                    <a:pt x="960" y="340"/>
                    <a:pt x="960" y="340"/>
                    <a:pt x="960" y="340"/>
                  </a:cubicBezTo>
                  <a:cubicBezTo>
                    <a:pt x="961" y="341"/>
                    <a:pt x="961" y="341"/>
                    <a:pt x="961" y="341"/>
                  </a:cubicBezTo>
                  <a:cubicBezTo>
                    <a:pt x="961" y="341"/>
                    <a:pt x="961" y="341"/>
                    <a:pt x="961" y="341"/>
                  </a:cubicBezTo>
                  <a:cubicBezTo>
                    <a:pt x="961" y="342"/>
                    <a:pt x="961" y="342"/>
                    <a:pt x="961" y="342"/>
                  </a:cubicBezTo>
                  <a:cubicBezTo>
                    <a:pt x="961" y="342"/>
                    <a:pt x="961" y="342"/>
                    <a:pt x="961" y="342"/>
                  </a:cubicBezTo>
                  <a:cubicBezTo>
                    <a:pt x="962" y="342"/>
                    <a:pt x="962" y="342"/>
                    <a:pt x="963" y="343"/>
                  </a:cubicBezTo>
                  <a:cubicBezTo>
                    <a:pt x="964" y="345"/>
                    <a:pt x="964" y="345"/>
                    <a:pt x="964" y="345"/>
                  </a:cubicBezTo>
                  <a:cubicBezTo>
                    <a:pt x="965" y="346"/>
                    <a:pt x="965" y="346"/>
                    <a:pt x="965" y="346"/>
                  </a:cubicBezTo>
                  <a:cubicBezTo>
                    <a:pt x="965" y="346"/>
                    <a:pt x="965" y="346"/>
                    <a:pt x="965" y="346"/>
                  </a:cubicBezTo>
                  <a:cubicBezTo>
                    <a:pt x="964" y="346"/>
                    <a:pt x="964" y="346"/>
                    <a:pt x="964" y="346"/>
                  </a:cubicBezTo>
                  <a:cubicBezTo>
                    <a:pt x="964" y="346"/>
                    <a:pt x="964" y="346"/>
                    <a:pt x="964" y="346"/>
                  </a:cubicBezTo>
                  <a:cubicBezTo>
                    <a:pt x="962" y="347"/>
                    <a:pt x="960" y="347"/>
                    <a:pt x="958" y="347"/>
                  </a:cubicBezTo>
                  <a:cubicBezTo>
                    <a:pt x="958" y="347"/>
                    <a:pt x="958" y="347"/>
                    <a:pt x="958" y="347"/>
                  </a:cubicBezTo>
                  <a:cubicBezTo>
                    <a:pt x="958" y="347"/>
                    <a:pt x="958" y="347"/>
                    <a:pt x="958" y="347"/>
                  </a:cubicBezTo>
                  <a:cubicBezTo>
                    <a:pt x="954" y="347"/>
                    <a:pt x="952" y="352"/>
                    <a:pt x="952" y="355"/>
                  </a:cubicBezTo>
                  <a:cubicBezTo>
                    <a:pt x="952" y="356"/>
                    <a:pt x="952" y="356"/>
                    <a:pt x="952" y="356"/>
                  </a:cubicBezTo>
                  <a:cubicBezTo>
                    <a:pt x="953" y="356"/>
                    <a:pt x="953" y="356"/>
                    <a:pt x="953" y="356"/>
                  </a:cubicBezTo>
                  <a:cubicBezTo>
                    <a:pt x="953" y="357"/>
                    <a:pt x="953" y="357"/>
                    <a:pt x="953" y="357"/>
                  </a:cubicBezTo>
                  <a:cubicBezTo>
                    <a:pt x="953" y="358"/>
                    <a:pt x="953" y="358"/>
                    <a:pt x="953" y="358"/>
                  </a:cubicBezTo>
                  <a:cubicBezTo>
                    <a:pt x="952" y="361"/>
                    <a:pt x="952" y="361"/>
                    <a:pt x="952" y="361"/>
                  </a:cubicBezTo>
                  <a:cubicBezTo>
                    <a:pt x="952" y="362"/>
                    <a:pt x="952" y="362"/>
                    <a:pt x="952" y="362"/>
                  </a:cubicBezTo>
                  <a:cubicBezTo>
                    <a:pt x="952" y="362"/>
                    <a:pt x="952" y="362"/>
                    <a:pt x="952" y="362"/>
                  </a:cubicBezTo>
                  <a:cubicBezTo>
                    <a:pt x="952" y="362"/>
                    <a:pt x="952" y="362"/>
                    <a:pt x="952" y="362"/>
                  </a:cubicBezTo>
                  <a:cubicBezTo>
                    <a:pt x="952" y="363"/>
                    <a:pt x="952" y="363"/>
                    <a:pt x="952" y="363"/>
                  </a:cubicBezTo>
                  <a:cubicBezTo>
                    <a:pt x="952" y="363"/>
                    <a:pt x="952" y="363"/>
                    <a:pt x="952" y="363"/>
                  </a:cubicBezTo>
                  <a:cubicBezTo>
                    <a:pt x="952" y="363"/>
                    <a:pt x="952" y="363"/>
                    <a:pt x="952" y="363"/>
                  </a:cubicBezTo>
                  <a:cubicBezTo>
                    <a:pt x="953" y="363"/>
                    <a:pt x="953" y="363"/>
                    <a:pt x="953" y="363"/>
                  </a:cubicBezTo>
                  <a:cubicBezTo>
                    <a:pt x="953" y="363"/>
                    <a:pt x="953" y="363"/>
                    <a:pt x="953" y="363"/>
                  </a:cubicBezTo>
                  <a:cubicBezTo>
                    <a:pt x="953" y="363"/>
                    <a:pt x="953" y="363"/>
                    <a:pt x="953" y="363"/>
                  </a:cubicBezTo>
                  <a:cubicBezTo>
                    <a:pt x="954" y="363"/>
                    <a:pt x="954" y="363"/>
                    <a:pt x="954" y="363"/>
                  </a:cubicBezTo>
                  <a:cubicBezTo>
                    <a:pt x="954" y="363"/>
                    <a:pt x="954" y="363"/>
                    <a:pt x="954" y="363"/>
                  </a:cubicBezTo>
                  <a:cubicBezTo>
                    <a:pt x="954" y="363"/>
                    <a:pt x="954" y="363"/>
                    <a:pt x="954" y="363"/>
                  </a:cubicBezTo>
                  <a:cubicBezTo>
                    <a:pt x="955" y="363"/>
                    <a:pt x="955" y="363"/>
                    <a:pt x="955" y="363"/>
                  </a:cubicBezTo>
                  <a:cubicBezTo>
                    <a:pt x="955" y="363"/>
                    <a:pt x="955" y="363"/>
                    <a:pt x="955" y="363"/>
                  </a:cubicBezTo>
                  <a:cubicBezTo>
                    <a:pt x="955" y="363"/>
                    <a:pt x="955" y="363"/>
                    <a:pt x="955" y="363"/>
                  </a:cubicBezTo>
                  <a:cubicBezTo>
                    <a:pt x="956" y="363"/>
                    <a:pt x="956" y="363"/>
                    <a:pt x="956" y="363"/>
                  </a:cubicBezTo>
                  <a:cubicBezTo>
                    <a:pt x="956" y="363"/>
                    <a:pt x="956" y="363"/>
                    <a:pt x="956" y="363"/>
                  </a:cubicBezTo>
                  <a:cubicBezTo>
                    <a:pt x="956" y="363"/>
                    <a:pt x="956" y="363"/>
                    <a:pt x="956" y="363"/>
                  </a:cubicBezTo>
                  <a:cubicBezTo>
                    <a:pt x="957" y="363"/>
                    <a:pt x="957" y="363"/>
                    <a:pt x="957" y="363"/>
                  </a:cubicBezTo>
                  <a:cubicBezTo>
                    <a:pt x="957" y="363"/>
                    <a:pt x="957" y="363"/>
                    <a:pt x="957" y="363"/>
                  </a:cubicBezTo>
                  <a:cubicBezTo>
                    <a:pt x="957" y="363"/>
                    <a:pt x="957" y="363"/>
                    <a:pt x="957" y="363"/>
                  </a:cubicBezTo>
                  <a:cubicBezTo>
                    <a:pt x="957" y="362"/>
                    <a:pt x="957" y="362"/>
                    <a:pt x="957" y="362"/>
                  </a:cubicBezTo>
                  <a:cubicBezTo>
                    <a:pt x="957" y="362"/>
                    <a:pt x="957" y="362"/>
                    <a:pt x="957" y="362"/>
                  </a:cubicBezTo>
                  <a:cubicBezTo>
                    <a:pt x="957" y="362"/>
                    <a:pt x="957" y="362"/>
                    <a:pt x="957" y="362"/>
                  </a:cubicBezTo>
                  <a:cubicBezTo>
                    <a:pt x="958" y="362"/>
                    <a:pt x="958" y="362"/>
                    <a:pt x="958" y="362"/>
                  </a:cubicBezTo>
                  <a:cubicBezTo>
                    <a:pt x="958" y="362"/>
                    <a:pt x="958" y="362"/>
                    <a:pt x="958" y="362"/>
                  </a:cubicBezTo>
                  <a:cubicBezTo>
                    <a:pt x="958" y="362"/>
                    <a:pt x="958" y="362"/>
                    <a:pt x="958" y="362"/>
                  </a:cubicBezTo>
                  <a:cubicBezTo>
                    <a:pt x="960" y="365"/>
                    <a:pt x="959" y="365"/>
                    <a:pt x="961" y="364"/>
                  </a:cubicBezTo>
                  <a:cubicBezTo>
                    <a:pt x="961" y="364"/>
                    <a:pt x="961" y="364"/>
                    <a:pt x="961" y="364"/>
                  </a:cubicBezTo>
                  <a:cubicBezTo>
                    <a:pt x="962" y="364"/>
                    <a:pt x="962" y="364"/>
                    <a:pt x="962" y="364"/>
                  </a:cubicBezTo>
                  <a:cubicBezTo>
                    <a:pt x="962" y="364"/>
                    <a:pt x="962" y="364"/>
                    <a:pt x="962" y="364"/>
                  </a:cubicBezTo>
                  <a:cubicBezTo>
                    <a:pt x="963" y="365"/>
                    <a:pt x="962" y="365"/>
                    <a:pt x="963" y="365"/>
                  </a:cubicBezTo>
                  <a:cubicBezTo>
                    <a:pt x="963" y="365"/>
                    <a:pt x="963" y="365"/>
                    <a:pt x="963" y="365"/>
                  </a:cubicBezTo>
                  <a:cubicBezTo>
                    <a:pt x="964" y="366"/>
                    <a:pt x="964" y="366"/>
                    <a:pt x="964" y="366"/>
                  </a:cubicBezTo>
                  <a:cubicBezTo>
                    <a:pt x="964" y="366"/>
                    <a:pt x="965" y="366"/>
                    <a:pt x="965" y="365"/>
                  </a:cubicBezTo>
                  <a:cubicBezTo>
                    <a:pt x="965" y="365"/>
                    <a:pt x="965" y="365"/>
                    <a:pt x="965" y="365"/>
                  </a:cubicBezTo>
                  <a:cubicBezTo>
                    <a:pt x="966" y="365"/>
                    <a:pt x="966" y="365"/>
                    <a:pt x="966" y="365"/>
                  </a:cubicBezTo>
                  <a:cubicBezTo>
                    <a:pt x="966" y="365"/>
                    <a:pt x="966" y="365"/>
                    <a:pt x="966" y="365"/>
                  </a:cubicBezTo>
                  <a:cubicBezTo>
                    <a:pt x="966" y="366"/>
                    <a:pt x="966" y="366"/>
                    <a:pt x="966" y="366"/>
                  </a:cubicBezTo>
                  <a:cubicBezTo>
                    <a:pt x="967" y="366"/>
                    <a:pt x="967" y="366"/>
                    <a:pt x="967" y="366"/>
                  </a:cubicBezTo>
                  <a:cubicBezTo>
                    <a:pt x="967" y="365"/>
                    <a:pt x="967" y="365"/>
                    <a:pt x="967" y="365"/>
                  </a:cubicBezTo>
                  <a:cubicBezTo>
                    <a:pt x="967" y="365"/>
                    <a:pt x="968" y="365"/>
                    <a:pt x="968" y="365"/>
                  </a:cubicBezTo>
                  <a:cubicBezTo>
                    <a:pt x="968" y="366"/>
                    <a:pt x="968" y="366"/>
                    <a:pt x="968"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5"/>
                    <a:pt x="969" y="365"/>
                    <a:pt x="969" y="365"/>
                  </a:cubicBezTo>
                  <a:cubicBezTo>
                    <a:pt x="970" y="365"/>
                    <a:pt x="970" y="365"/>
                    <a:pt x="970" y="365"/>
                  </a:cubicBezTo>
                  <a:cubicBezTo>
                    <a:pt x="970" y="365"/>
                    <a:pt x="970" y="365"/>
                    <a:pt x="970" y="365"/>
                  </a:cubicBezTo>
                  <a:cubicBezTo>
                    <a:pt x="970" y="365"/>
                    <a:pt x="970" y="365"/>
                    <a:pt x="970" y="365"/>
                  </a:cubicBezTo>
                  <a:cubicBezTo>
                    <a:pt x="970" y="364"/>
                    <a:pt x="970" y="364"/>
                    <a:pt x="970" y="364"/>
                  </a:cubicBezTo>
                  <a:cubicBezTo>
                    <a:pt x="970" y="364"/>
                    <a:pt x="970" y="364"/>
                    <a:pt x="970" y="364"/>
                  </a:cubicBezTo>
                  <a:cubicBezTo>
                    <a:pt x="970" y="364"/>
                    <a:pt x="970" y="364"/>
                    <a:pt x="970" y="364"/>
                  </a:cubicBezTo>
                  <a:cubicBezTo>
                    <a:pt x="970" y="364"/>
                    <a:pt x="970" y="364"/>
                    <a:pt x="970" y="364"/>
                  </a:cubicBezTo>
                  <a:cubicBezTo>
                    <a:pt x="970" y="365"/>
                    <a:pt x="970" y="365"/>
                    <a:pt x="970" y="365"/>
                  </a:cubicBezTo>
                  <a:cubicBezTo>
                    <a:pt x="970" y="365"/>
                    <a:pt x="970" y="365"/>
                    <a:pt x="970" y="365"/>
                  </a:cubicBezTo>
                  <a:cubicBezTo>
                    <a:pt x="971" y="365"/>
                    <a:pt x="971" y="365"/>
                    <a:pt x="971" y="365"/>
                  </a:cubicBezTo>
                  <a:cubicBezTo>
                    <a:pt x="971" y="365"/>
                    <a:pt x="971" y="365"/>
                    <a:pt x="971" y="365"/>
                  </a:cubicBezTo>
                  <a:cubicBezTo>
                    <a:pt x="971" y="365"/>
                    <a:pt x="971" y="365"/>
                    <a:pt x="971" y="365"/>
                  </a:cubicBezTo>
                  <a:cubicBezTo>
                    <a:pt x="971" y="366"/>
                    <a:pt x="971" y="366"/>
                    <a:pt x="971" y="366"/>
                  </a:cubicBezTo>
                  <a:cubicBezTo>
                    <a:pt x="972" y="366"/>
                    <a:pt x="972" y="366"/>
                    <a:pt x="972" y="366"/>
                  </a:cubicBezTo>
                  <a:cubicBezTo>
                    <a:pt x="973" y="366"/>
                    <a:pt x="973" y="366"/>
                    <a:pt x="973" y="366"/>
                  </a:cubicBezTo>
                  <a:cubicBezTo>
                    <a:pt x="973" y="366"/>
                    <a:pt x="973" y="366"/>
                    <a:pt x="973" y="366"/>
                  </a:cubicBezTo>
                  <a:cubicBezTo>
                    <a:pt x="973" y="366"/>
                    <a:pt x="973" y="366"/>
                    <a:pt x="973" y="366"/>
                  </a:cubicBezTo>
                  <a:cubicBezTo>
                    <a:pt x="973" y="366"/>
                    <a:pt x="973" y="366"/>
                    <a:pt x="973" y="366"/>
                  </a:cubicBezTo>
                  <a:cubicBezTo>
                    <a:pt x="972" y="367"/>
                    <a:pt x="972" y="367"/>
                    <a:pt x="972" y="367"/>
                  </a:cubicBezTo>
                  <a:cubicBezTo>
                    <a:pt x="971" y="367"/>
                    <a:pt x="971" y="367"/>
                    <a:pt x="971" y="367"/>
                  </a:cubicBezTo>
                  <a:cubicBezTo>
                    <a:pt x="971" y="367"/>
                    <a:pt x="971" y="367"/>
                    <a:pt x="971" y="367"/>
                  </a:cubicBezTo>
                  <a:cubicBezTo>
                    <a:pt x="971" y="367"/>
                    <a:pt x="971" y="367"/>
                    <a:pt x="971" y="367"/>
                  </a:cubicBezTo>
                  <a:cubicBezTo>
                    <a:pt x="971" y="367"/>
                    <a:pt x="971" y="367"/>
                    <a:pt x="971" y="367"/>
                  </a:cubicBezTo>
                  <a:cubicBezTo>
                    <a:pt x="973" y="367"/>
                    <a:pt x="974" y="368"/>
                    <a:pt x="975" y="367"/>
                  </a:cubicBezTo>
                  <a:cubicBezTo>
                    <a:pt x="975" y="366"/>
                    <a:pt x="975" y="366"/>
                    <a:pt x="975" y="366"/>
                  </a:cubicBezTo>
                  <a:cubicBezTo>
                    <a:pt x="975" y="366"/>
                    <a:pt x="975" y="366"/>
                    <a:pt x="975" y="366"/>
                  </a:cubicBezTo>
                  <a:cubicBezTo>
                    <a:pt x="975" y="366"/>
                    <a:pt x="975" y="366"/>
                    <a:pt x="975" y="366"/>
                  </a:cubicBezTo>
                  <a:cubicBezTo>
                    <a:pt x="976" y="366"/>
                    <a:pt x="976" y="366"/>
                    <a:pt x="976" y="366"/>
                  </a:cubicBezTo>
                  <a:cubicBezTo>
                    <a:pt x="976" y="366"/>
                    <a:pt x="976" y="366"/>
                    <a:pt x="976" y="366"/>
                  </a:cubicBezTo>
                  <a:cubicBezTo>
                    <a:pt x="976" y="366"/>
                    <a:pt x="976" y="366"/>
                    <a:pt x="976" y="366"/>
                  </a:cubicBezTo>
                  <a:cubicBezTo>
                    <a:pt x="977" y="366"/>
                    <a:pt x="977" y="366"/>
                    <a:pt x="977" y="366"/>
                  </a:cubicBezTo>
                  <a:cubicBezTo>
                    <a:pt x="977" y="367"/>
                    <a:pt x="977" y="367"/>
                    <a:pt x="977" y="367"/>
                  </a:cubicBezTo>
                  <a:cubicBezTo>
                    <a:pt x="977" y="367"/>
                    <a:pt x="977" y="367"/>
                    <a:pt x="977" y="367"/>
                  </a:cubicBezTo>
                  <a:cubicBezTo>
                    <a:pt x="978" y="367"/>
                    <a:pt x="978" y="367"/>
                    <a:pt x="978" y="367"/>
                  </a:cubicBezTo>
                  <a:cubicBezTo>
                    <a:pt x="978" y="367"/>
                    <a:pt x="978" y="367"/>
                    <a:pt x="978" y="367"/>
                  </a:cubicBezTo>
                  <a:cubicBezTo>
                    <a:pt x="978" y="367"/>
                    <a:pt x="978" y="367"/>
                    <a:pt x="978" y="367"/>
                  </a:cubicBezTo>
                  <a:cubicBezTo>
                    <a:pt x="979" y="367"/>
                    <a:pt x="979" y="367"/>
                    <a:pt x="979" y="367"/>
                  </a:cubicBezTo>
                  <a:cubicBezTo>
                    <a:pt x="979" y="368"/>
                    <a:pt x="979" y="368"/>
                    <a:pt x="979" y="368"/>
                  </a:cubicBezTo>
                  <a:cubicBezTo>
                    <a:pt x="981" y="368"/>
                    <a:pt x="981" y="368"/>
                    <a:pt x="981" y="368"/>
                  </a:cubicBezTo>
                  <a:cubicBezTo>
                    <a:pt x="981" y="368"/>
                    <a:pt x="981" y="368"/>
                    <a:pt x="981" y="368"/>
                  </a:cubicBezTo>
                  <a:cubicBezTo>
                    <a:pt x="981" y="369"/>
                    <a:pt x="981" y="369"/>
                    <a:pt x="981" y="369"/>
                  </a:cubicBezTo>
                  <a:cubicBezTo>
                    <a:pt x="981" y="369"/>
                    <a:pt x="981" y="369"/>
                    <a:pt x="981" y="369"/>
                  </a:cubicBezTo>
                  <a:cubicBezTo>
                    <a:pt x="981" y="369"/>
                    <a:pt x="981" y="369"/>
                    <a:pt x="981" y="369"/>
                  </a:cubicBezTo>
                  <a:cubicBezTo>
                    <a:pt x="979" y="369"/>
                    <a:pt x="977" y="368"/>
                    <a:pt x="975" y="368"/>
                  </a:cubicBezTo>
                  <a:cubicBezTo>
                    <a:pt x="975" y="368"/>
                    <a:pt x="975" y="368"/>
                    <a:pt x="975" y="368"/>
                  </a:cubicBezTo>
                  <a:cubicBezTo>
                    <a:pt x="975" y="368"/>
                    <a:pt x="975" y="368"/>
                    <a:pt x="975" y="368"/>
                  </a:cubicBezTo>
                  <a:cubicBezTo>
                    <a:pt x="974" y="368"/>
                    <a:pt x="974" y="368"/>
                    <a:pt x="974" y="368"/>
                  </a:cubicBezTo>
                  <a:cubicBezTo>
                    <a:pt x="974" y="368"/>
                    <a:pt x="973" y="368"/>
                    <a:pt x="973" y="368"/>
                  </a:cubicBezTo>
                  <a:cubicBezTo>
                    <a:pt x="972" y="368"/>
                    <a:pt x="972" y="368"/>
                    <a:pt x="972" y="368"/>
                  </a:cubicBezTo>
                  <a:cubicBezTo>
                    <a:pt x="972" y="368"/>
                    <a:pt x="972" y="368"/>
                    <a:pt x="972" y="368"/>
                  </a:cubicBezTo>
                  <a:cubicBezTo>
                    <a:pt x="971" y="369"/>
                    <a:pt x="971" y="369"/>
                    <a:pt x="970" y="369"/>
                  </a:cubicBezTo>
                  <a:cubicBezTo>
                    <a:pt x="970" y="369"/>
                    <a:pt x="970" y="369"/>
                    <a:pt x="970" y="369"/>
                  </a:cubicBezTo>
                  <a:cubicBezTo>
                    <a:pt x="968" y="369"/>
                    <a:pt x="968" y="369"/>
                    <a:pt x="968" y="369"/>
                  </a:cubicBezTo>
                  <a:cubicBezTo>
                    <a:pt x="956" y="369"/>
                    <a:pt x="956" y="369"/>
                    <a:pt x="956" y="369"/>
                  </a:cubicBezTo>
                  <a:cubicBezTo>
                    <a:pt x="949" y="364"/>
                    <a:pt x="949" y="364"/>
                    <a:pt x="949" y="364"/>
                  </a:cubicBezTo>
                  <a:cubicBezTo>
                    <a:pt x="945" y="362"/>
                    <a:pt x="945" y="362"/>
                    <a:pt x="945" y="362"/>
                  </a:cubicBezTo>
                  <a:cubicBezTo>
                    <a:pt x="945" y="361"/>
                    <a:pt x="945" y="361"/>
                    <a:pt x="945" y="361"/>
                  </a:cubicBezTo>
                  <a:cubicBezTo>
                    <a:pt x="944" y="361"/>
                    <a:pt x="944" y="361"/>
                    <a:pt x="944" y="361"/>
                  </a:cubicBezTo>
                  <a:cubicBezTo>
                    <a:pt x="944" y="360"/>
                    <a:pt x="944" y="360"/>
                    <a:pt x="944" y="360"/>
                  </a:cubicBezTo>
                  <a:cubicBezTo>
                    <a:pt x="944" y="360"/>
                    <a:pt x="944" y="360"/>
                    <a:pt x="944" y="360"/>
                  </a:cubicBezTo>
                  <a:cubicBezTo>
                    <a:pt x="944" y="360"/>
                    <a:pt x="944" y="360"/>
                    <a:pt x="944" y="360"/>
                  </a:cubicBezTo>
                  <a:cubicBezTo>
                    <a:pt x="945" y="360"/>
                    <a:pt x="945" y="360"/>
                    <a:pt x="945" y="360"/>
                  </a:cubicBezTo>
                  <a:cubicBezTo>
                    <a:pt x="945" y="360"/>
                    <a:pt x="945" y="360"/>
                    <a:pt x="945" y="360"/>
                  </a:cubicBezTo>
                  <a:cubicBezTo>
                    <a:pt x="945" y="360"/>
                    <a:pt x="945" y="360"/>
                    <a:pt x="945" y="360"/>
                  </a:cubicBezTo>
                  <a:cubicBezTo>
                    <a:pt x="945" y="360"/>
                    <a:pt x="945" y="360"/>
                    <a:pt x="945" y="360"/>
                  </a:cubicBezTo>
                  <a:cubicBezTo>
                    <a:pt x="946" y="360"/>
                    <a:pt x="946" y="360"/>
                    <a:pt x="946" y="360"/>
                  </a:cubicBezTo>
                  <a:cubicBezTo>
                    <a:pt x="946" y="360"/>
                    <a:pt x="946" y="360"/>
                    <a:pt x="946" y="360"/>
                  </a:cubicBezTo>
                  <a:cubicBezTo>
                    <a:pt x="946" y="360"/>
                    <a:pt x="946" y="360"/>
                    <a:pt x="946" y="360"/>
                  </a:cubicBezTo>
                  <a:cubicBezTo>
                    <a:pt x="946" y="360"/>
                    <a:pt x="946" y="360"/>
                    <a:pt x="946" y="360"/>
                  </a:cubicBezTo>
                  <a:cubicBezTo>
                    <a:pt x="948" y="359"/>
                    <a:pt x="948" y="359"/>
                    <a:pt x="948" y="359"/>
                  </a:cubicBezTo>
                  <a:cubicBezTo>
                    <a:pt x="947" y="352"/>
                    <a:pt x="947" y="352"/>
                    <a:pt x="947" y="352"/>
                  </a:cubicBezTo>
                  <a:cubicBezTo>
                    <a:pt x="947" y="351"/>
                    <a:pt x="947" y="351"/>
                    <a:pt x="947" y="351"/>
                  </a:cubicBezTo>
                  <a:cubicBezTo>
                    <a:pt x="948" y="350"/>
                    <a:pt x="948" y="350"/>
                    <a:pt x="948" y="350"/>
                  </a:cubicBezTo>
                  <a:cubicBezTo>
                    <a:pt x="949" y="348"/>
                    <a:pt x="949" y="348"/>
                    <a:pt x="949" y="348"/>
                  </a:cubicBezTo>
                  <a:cubicBezTo>
                    <a:pt x="949" y="347"/>
                    <a:pt x="949" y="347"/>
                    <a:pt x="949" y="347"/>
                  </a:cubicBezTo>
                  <a:cubicBezTo>
                    <a:pt x="949" y="347"/>
                    <a:pt x="949" y="347"/>
                    <a:pt x="949" y="347"/>
                  </a:cubicBezTo>
                  <a:cubicBezTo>
                    <a:pt x="948" y="346"/>
                    <a:pt x="948" y="346"/>
                    <a:pt x="948" y="346"/>
                  </a:cubicBezTo>
                  <a:cubicBezTo>
                    <a:pt x="948" y="346"/>
                    <a:pt x="948" y="346"/>
                    <a:pt x="948" y="346"/>
                  </a:cubicBezTo>
                  <a:cubicBezTo>
                    <a:pt x="946" y="345"/>
                    <a:pt x="946" y="345"/>
                    <a:pt x="946" y="345"/>
                  </a:cubicBezTo>
                  <a:cubicBezTo>
                    <a:pt x="946" y="345"/>
                    <a:pt x="946" y="345"/>
                    <a:pt x="946" y="345"/>
                  </a:cubicBezTo>
                  <a:cubicBezTo>
                    <a:pt x="946" y="344"/>
                    <a:pt x="946" y="344"/>
                    <a:pt x="946" y="344"/>
                  </a:cubicBezTo>
                  <a:cubicBezTo>
                    <a:pt x="946" y="344"/>
                    <a:pt x="946" y="344"/>
                    <a:pt x="946" y="344"/>
                  </a:cubicBezTo>
                  <a:cubicBezTo>
                    <a:pt x="946" y="343"/>
                    <a:pt x="946" y="343"/>
                    <a:pt x="946" y="343"/>
                  </a:cubicBezTo>
                  <a:cubicBezTo>
                    <a:pt x="947" y="342"/>
                    <a:pt x="947" y="342"/>
                    <a:pt x="947" y="342"/>
                  </a:cubicBezTo>
                  <a:cubicBezTo>
                    <a:pt x="948" y="339"/>
                    <a:pt x="948" y="339"/>
                    <a:pt x="948" y="339"/>
                  </a:cubicBezTo>
                  <a:cubicBezTo>
                    <a:pt x="948" y="338"/>
                    <a:pt x="948" y="338"/>
                    <a:pt x="948" y="338"/>
                  </a:cubicBezTo>
                  <a:cubicBezTo>
                    <a:pt x="948" y="337"/>
                    <a:pt x="948" y="337"/>
                    <a:pt x="948" y="337"/>
                  </a:cubicBezTo>
                  <a:cubicBezTo>
                    <a:pt x="948" y="337"/>
                    <a:pt x="948" y="337"/>
                    <a:pt x="948" y="337"/>
                  </a:cubicBezTo>
                  <a:cubicBezTo>
                    <a:pt x="948" y="336"/>
                    <a:pt x="948" y="336"/>
                    <a:pt x="948" y="336"/>
                  </a:cubicBezTo>
                  <a:cubicBezTo>
                    <a:pt x="948" y="336"/>
                    <a:pt x="948" y="336"/>
                    <a:pt x="948" y="336"/>
                  </a:cubicBezTo>
                  <a:cubicBezTo>
                    <a:pt x="947" y="336"/>
                    <a:pt x="947" y="336"/>
                    <a:pt x="947" y="336"/>
                  </a:cubicBezTo>
                  <a:cubicBezTo>
                    <a:pt x="947" y="336"/>
                    <a:pt x="946" y="335"/>
                    <a:pt x="946" y="335"/>
                  </a:cubicBezTo>
                  <a:cubicBezTo>
                    <a:pt x="946" y="335"/>
                    <a:pt x="946" y="335"/>
                    <a:pt x="946" y="335"/>
                  </a:cubicBezTo>
                  <a:cubicBezTo>
                    <a:pt x="945" y="335"/>
                    <a:pt x="945" y="335"/>
                    <a:pt x="945" y="335"/>
                  </a:cubicBezTo>
                  <a:cubicBezTo>
                    <a:pt x="945" y="335"/>
                    <a:pt x="945" y="335"/>
                    <a:pt x="945" y="335"/>
                  </a:cubicBezTo>
                  <a:cubicBezTo>
                    <a:pt x="945" y="336"/>
                    <a:pt x="945" y="336"/>
                    <a:pt x="945" y="336"/>
                  </a:cubicBezTo>
                  <a:cubicBezTo>
                    <a:pt x="945" y="336"/>
                    <a:pt x="945" y="336"/>
                    <a:pt x="945" y="336"/>
                  </a:cubicBezTo>
                  <a:cubicBezTo>
                    <a:pt x="945" y="336"/>
                    <a:pt x="945" y="336"/>
                    <a:pt x="945" y="336"/>
                  </a:cubicBezTo>
                  <a:cubicBezTo>
                    <a:pt x="944" y="335"/>
                    <a:pt x="944" y="335"/>
                    <a:pt x="944" y="335"/>
                  </a:cubicBezTo>
                  <a:cubicBezTo>
                    <a:pt x="944" y="335"/>
                    <a:pt x="944" y="335"/>
                    <a:pt x="944" y="335"/>
                  </a:cubicBezTo>
                  <a:cubicBezTo>
                    <a:pt x="944" y="334"/>
                    <a:pt x="944" y="334"/>
                    <a:pt x="944" y="334"/>
                  </a:cubicBezTo>
                  <a:cubicBezTo>
                    <a:pt x="944" y="334"/>
                    <a:pt x="944" y="334"/>
                    <a:pt x="944" y="334"/>
                  </a:cubicBezTo>
                  <a:cubicBezTo>
                    <a:pt x="943" y="333"/>
                    <a:pt x="942" y="333"/>
                    <a:pt x="942" y="333"/>
                  </a:cubicBezTo>
                  <a:cubicBezTo>
                    <a:pt x="942" y="332"/>
                    <a:pt x="942" y="332"/>
                    <a:pt x="942" y="332"/>
                  </a:cubicBezTo>
                  <a:cubicBezTo>
                    <a:pt x="941" y="331"/>
                    <a:pt x="941" y="331"/>
                    <a:pt x="941" y="331"/>
                  </a:cubicBezTo>
                  <a:cubicBezTo>
                    <a:pt x="939" y="330"/>
                    <a:pt x="939" y="330"/>
                    <a:pt x="939" y="330"/>
                  </a:cubicBezTo>
                  <a:cubicBezTo>
                    <a:pt x="937" y="325"/>
                    <a:pt x="937" y="325"/>
                    <a:pt x="937" y="325"/>
                  </a:cubicBezTo>
                  <a:cubicBezTo>
                    <a:pt x="935" y="323"/>
                    <a:pt x="935" y="323"/>
                    <a:pt x="935" y="323"/>
                  </a:cubicBezTo>
                  <a:cubicBezTo>
                    <a:pt x="935" y="322"/>
                    <a:pt x="935" y="322"/>
                    <a:pt x="935" y="322"/>
                  </a:cubicBezTo>
                  <a:cubicBezTo>
                    <a:pt x="934" y="322"/>
                    <a:pt x="934" y="322"/>
                    <a:pt x="934" y="322"/>
                  </a:cubicBezTo>
                  <a:cubicBezTo>
                    <a:pt x="934" y="322"/>
                    <a:pt x="934" y="322"/>
                    <a:pt x="934" y="322"/>
                  </a:cubicBezTo>
                  <a:cubicBezTo>
                    <a:pt x="933" y="322"/>
                    <a:pt x="933" y="322"/>
                    <a:pt x="933" y="322"/>
                  </a:cubicBezTo>
                  <a:cubicBezTo>
                    <a:pt x="933" y="322"/>
                    <a:pt x="933" y="322"/>
                    <a:pt x="933" y="322"/>
                  </a:cubicBezTo>
                  <a:cubicBezTo>
                    <a:pt x="933" y="322"/>
                    <a:pt x="933" y="322"/>
                    <a:pt x="933" y="322"/>
                  </a:cubicBezTo>
                  <a:cubicBezTo>
                    <a:pt x="932" y="322"/>
                    <a:pt x="932" y="322"/>
                    <a:pt x="932" y="322"/>
                  </a:cubicBezTo>
                  <a:cubicBezTo>
                    <a:pt x="932" y="322"/>
                    <a:pt x="932" y="322"/>
                    <a:pt x="932" y="322"/>
                  </a:cubicBezTo>
                  <a:cubicBezTo>
                    <a:pt x="932" y="322"/>
                    <a:pt x="932" y="322"/>
                    <a:pt x="932" y="322"/>
                  </a:cubicBezTo>
                  <a:cubicBezTo>
                    <a:pt x="930" y="322"/>
                    <a:pt x="927" y="322"/>
                    <a:pt x="925" y="323"/>
                  </a:cubicBezTo>
                  <a:cubicBezTo>
                    <a:pt x="924" y="323"/>
                    <a:pt x="924" y="323"/>
                    <a:pt x="924" y="323"/>
                  </a:cubicBezTo>
                  <a:cubicBezTo>
                    <a:pt x="924" y="323"/>
                    <a:pt x="924" y="323"/>
                    <a:pt x="924" y="323"/>
                  </a:cubicBezTo>
                  <a:cubicBezTo>
                    <a:pt x="924" y="323"/>
                    <a:pt x="924" y="323"/>
                    <a:pt x="924" y="323"/>
                  </a:cubicBezTo>
                  <a:cubicBezTo>
                    <a:pt x="923" y="323"/>
                    <a:pt x="923" y="323"/>
                    <a:pt x="923" y="323"/>
                  </a:cubicBezTo>
                  <a:cubicBezTo>
                    <a:pt x="923" y="323"/>
                    <a:pt x="923" y="323"/>
                    <a:pt x="923" y="323"/>
                  </a:cubicBezTo>
                  <a:cubicBezTo>
                    <a:pt x="923" y="323"/>
                    <a:pt x="923" y="323"/>
                    <a:pt x="923" y="323"/>
                  </a:cubicBezTo>
                  <a:cubicBezTo>
                    <a:pt x="922" y="323"/>
                    <a:pt x="922" y="323"/>
                    <a:pt x="922" y="323"/>
                  </a:cubicBezTo>
                  <a:cubicBezTo>
                    <a:pt x="920" y="324"/>
                    <a:pt x="920" y="324"/>
                    <a:pt x="920" y="324"/>
                  </a:cubicBezTo>
                  <a:cubicBezTo>
                    <a:pt x="894" y="331"/>
                    <a:pt x="894" y="331"/>
                    <a:pt x="894" y="331"/>
                  </a:cubicBezTo>
                  <a:cubicBezTo>
                    <a:pt x="894" y="332"/>
                    <a:pt x="894" y="332"/>
                    <a:pt x="894" y="332"/>
                  </a:cubicBezTo>
                  <a:cubicBezTo>
                    <a:pt x="894" y="332"/>
                    <a:pt x="894" y="332"/>
                    <a:pt x="894" y="332"/>
                  </a:cubicBezTo>
                  <a:cubicBezTo>
                    <a:pt x="894" y="332"/>
                    <a:pt x="894" y="332"/>
                    <a:pt x="894" y="332"/>
                  </a:cubicBezTo>
                  <a:cubicBezTo>
                    <a:pt x="894" y="332"/>
                    <a:pt x="894" y="332"/>
                    <a:pt x="894" y="332"/>
                  </a:cubicBezTo>
                  <a:cubicBezTo>
                    <a:pt x="894" y="332"/>
                    <a:pt x="894" y="332"/>
                    <a:pt x="894" y="332"/>
                  </a:cubicBezTo>
                  <a:cubicBezTo>
                    <a:pt x="894" y="333"/>
                    <a:pt x="894" y="333"/>
                    <a:pt x="894" y="333"/>
                  </a:cubicBezTo>
                  <a:cubicBezTo>
                    <a:pt x="894" y="334"/>
                    <a:pt x="893" y="334"/>
                    <a:pt x="893" y="335"/>
                  </a:cubicBezTo>
                  <a:cubicBezTo>
                    <a:pt x="894" y="335"/>
                    <a:pt x="894" y="335"/>
                    <a:pt x="894" y="335"/>
                  </a:cubicBezTo>
                  <a:cubicBezTo>
                    <a:pt x="894" y="335"/>
                    <a:pt x="894" y="335"/>
                    <a:pt x="894" y="335"/>
                  </a:cubicBezTo>
                  <a:cubicBezTo>
                    <a:pt x="894" y="336"/>
                    <a:pt x="894" y="336"/>
                    <a:pt x="894" y="336"/>
                  </a:cubicBezTo>
                  <a:cubicBezTo>
                    <a:pt x="896" y="338"/>
                    <a:pt x="891" y="341"/>
                    <a:pt x="892" y="342"/>
                  </a:cubicBezTo>
                  <a:cubicBezTo>
                    <a:pt x="892" y="342"/>
                    <a:pt x="892" y="342"/>
                    <a:pt x="892" y="342"/>
                  </a:cubicBezTo>
                  <a:cubicBezTo>
                    <a:pt x="892" y="343"/>
                    <a:pt x="892" y="343"/>
                    <a:pt x="892" y="343"/>
                  </a:cubicBezTo>
                  <a:cubicBezTo>
                    <a:pt x="892" y="343"/>
                    <a:pt x="892" y="343"/>
                    <a:pt x="892" y="343"/>
                  </a:cubicBezTo>
                  <a:cubicBezTo>
                    <a:pt x="893" y="343"/>
                    <a:pt x="893" y="343"/>
                    <a:pt x="893" y="343"/>
                  </a:cubicBezTo>
                  <a:cubicBezTo>
                    <a:pt x="893" y="343"/>
                    <a:pt x="893" y="343"/>
                    <a:pt x="893" y="343"/>
                  </a:cubicBezTo>
                  <a:cubicBezTo>
                    <a:pt x="893" y="343"/>
                    <a:pt x="893" y="343"/>
                    <a:pt x="893" y="343"/>
                  </a:cubicBezTo>
                  <a:cubicBezTo>
                    <a:pt x="895" y="345"/>
                    <a:pt x="897" y="346"/>
                    <a:pt x="898" y="348"/>
                  </a:cubicBezTo>
                  <a:cubicBezTo>
                    <a:pt x="898" y="348"/>
                    <a:pt x="898" y="348"/>
                    <a:pt x="898" y="348"/>
                  </a:cubicBezTo>
                  <a:cubicBezTo>
                    <a:pt x="898" y="348"/>
                    <a:pt x="898" y="348"/>
                    <a:pt x="898" y="348"/>
                  </a:cubicBezTo>
                  <a:cubicBezTo>
                    <a:pt x="900" y="351"/>
                    <a:pt x="899" y="350"/>
                    <a:pt x="900" y="352"/>
                  </a:cubicBezTo>
                  <a:cubicBezTo>
                    <a:pt x="900" y="353"/>
                    <a:pt x="900" y="353"/>
                    <a:pt x="900" y="353"/>
                  </a:cubicBezTo>
                  <a:cubicBezTo>
                    <a:pt x="900" y="353"/>
                    <a:pt x="900" y="353"/>
                    <a:pt x="900" y="353"/>
                  </a:cubicBezTo>
                  <a:cubicBezTo>
                    <a:pt x="900" y="353"/>
                    <a:pt x="900" y="353"/>
                    <a:pt x="900" y="353"/>
                  </a:cubicBezTo>
                  <a:cubicBezTo>
                    <a:pt x="900" y="353"/>
                    <a:pt x="900" y="353"/>
                    <a:pt x="900" y="353"/>
                  </a:cubicBezTo>
                  <a:cubicBezTo>
                    <a:pt x="900" y="353"/>
                    <a:pt x="900" y="353"/>
                    <a:pt x="900" y="353"/>
                  </a:cubicBezTo>
                  <a:cubicBezTo>
                    <a:pt x="900" y="354"/>
                    <a:pt x="900" y="354"/>
                    <a:pt x="900" y="354"/>
                  </a:cubicBezTo>
                  <a:cubicBezTo>
                    <a:pt x="900" y="354"/>
                    <a:pt x="900" y="354"/>
                    <a:pt x="900" y="354"/>
                  </a:cubicBezTo>
                  <a:cubicBezTo>
                    <a:pt x="901" y="354"/>
                    <a:pt x="901" y="354"/>
                    <a:pt x="901" y="354"/>
                  </a:cubicBezTo>
                  <a:cubicBezTo>
                    <a:pt x="901" y="354"/>
                    <a:pt x="901" y="354"/>
                    <a:pt x="901" y="354"/>
                  </a:cubicBezTo>
                  <a:cubicBezTo>
                    <a:pt x="901" y="354"/>
                    <a:pt x="901" y="354"/>
                    <a:pt x="901" y="354"/>
                  </a:cubicBezTo>
                  <a:cubicBezTo>
                    <a:pt x="901" y="354"/>
                    <a:pt x="901" y="354"/>
                    <a:pt x="901" y="354"/>
                  </a:cubicBezTo>
                  <a:cubicBezTo>
                    <a:pt x="901" y="355"/>
                    <a:pt x="901" y="355"/>
                    <a:pt x="901" y="355"/>
                  </a:cubicBezTo>
                  <a:cubicBezTo>
                    <a:pt x="901" y="355"/>
                    <a:pt x="901" y="355"/>
                    <a:pt x="901" y="355"/>
                  </a:cubicBezTo>
                  <a:cubicBezTo>
                    <a:pt x="901" y="355"/>
                    <a:pt x="901" y="355"/>
                    <a:pt x="901" y="355"/>
                  </a:cubicBezTo>
                  <a:cubicBezTo>
                    <a:pt x="901" y="355"/>
                    <a:pt x="901" y="355"/>
                    <a:pt x="901" y="355"/>
                  </a:cubicBezTo>
                  <a:cubicBezTo>
                    <a:pt x="901" y="355"/>
                    <a:pt x="901" y="355"/>
                    <a:pt x="901" y="355"/>
                  </a:cubicBezTo>
                  <a:cubicBezTo>
                    <a:pt x="901" y="355"/>
                    <a:pt x="901" y="355"/>
                    <a:pt x="901" y="355"/>
                  </a:cubicBezTo>
                  <a:cubicBezTo>
                    <a:pt x="901" y="356"/>
                    <a:pt x="901" y="356"/>
                    <a:pt x="901" y="356"/>
                  </a:cubicBezTo>
                  <a:cubicBezTo>
                    <a:pt x="901" y="356"/>
                    <a:pt x="901" y="356"/>
                    <a:pt x="901" y="356"/>
                  </a:cubicBezTo>
                  <a:cubicBezTo>
                    <a:pt x="901" y="357"/>
                    <a:pt x="901" y="357"/>
                    <a:pt x="901" y="357"/>
                  </a:cubicBezTo>
                  <a:cubicBezTo>
                    <a:pt x="901" y="358"/>
                    <a:pt x="901" y="358"/>
                    <a:pt x="901" y="358"/>
                  </a:cubicBezTo>
                  <a:cubicBezTo>
                    <a:pt x="900" y="362"/>
                    <a:pt x="900" y="362"/>
                    <a:pt x="900" y="362"/>
                  </a:cubicBezTo>
                  <a:cubicBezTo>
                    <a:pt x="899" y="364"/>
                    <a:pt x="899" y="364"/>
                    <a:pt x="899" y="364"/>
                  </a:cubicBezTo>
                  <a:cubicBezTo>
                    <a:pt x="899" y="365"/>
                    <a:pt x="899" y="365"/>
                    <a:pt x="899" y="365"/>
                  </a:cubicBezTo>
                  <a:cubicBezTo>
                    <a:pt x="899" y="365"/>
                    <a:pt x="899" y="365"/>
                    <a:pt x="899" y="365"/>
                  </a:cubicBezTo>
                  <a:cubicBezTo>
                    <a:pt x="899" y="365"/>
                    <a:pt x="899" y="365"/>
                    <a:pt x="899" y="365"/>
                  </a:cubicBezTo>
                  <a:cubicBezTo>
                    <a:pt x="898" y="366"/>
                    <a:pt x="898" y="366"/>
                    <a:pt x="898" y="366"/>
                  </a:cubicBezTo>
                  <a:cubicBezTo>
                    <a:pt x="896" y="367"/>
                    <a:pt x="893" y="369"/>
                    <a:pt x="891" y="371"/>
                  </a:cubicBezTo>
                  <a:cubicBezTo>
                    <a:pt x="889" y="372"/>
                    <a:pt x="889" y="372"/>
                    <a:pt x="889" y="372"/>
                  </a:cubicBezTo>
                  <a:cubicBezTo>
                    <a:pt x="886" y="376"/>
                    <a:pt x="886" y="376"/>
                    <a:pt x="886" y="376"/>
                  </a:cubicBezTo>
                  <a:cubicBezTo>
                    <a:pt x="884" y="377"/>
                    <a:pt x="884" y="377"/>
                    <a:pt x="884" y="377"/>
                  </a:cubicBezTo>
                  <a:cubicBezTo>
                    <a:pt x="884" y="378"/>
                    <a:pt x="884" y="378"/>
                    <a:pt x="884" y="378"/>
                  </a:cubicBezTo>
                  <a:cubicBezTo>
                    <a:pt x="884" y="378"/>
                    <a:pt x="884" y="378"/>
                    <a:pt x="884" y="378"/>
                  </a:cubicBezTo>
                  <a:cubicBezTo>
                    <a:pt x="884" y="378"/>
                    <a:pt x="884" y="378"/>
                    <a:pt x="884" y="378"/>
                  </a:cubicBezTo>
                  <a:cubicBezTo>
                    <a:pt x="884" y="378"/>
                    <a:pt x="884" y="378"/>
                    <a:pt x="884" y="378"/>
                  </a:cubicBezTo>
                  <a:cubicBezTo>
                    <a:pt x="884" y="379"/>
                    <a:pt x="884" y="379"/>
                    <a:pt x="884" y="379"/>
                  </a:cubicBezTo>
                  <a:cubicBezTo>
                    <a:pt x="885" y="380"/>
                    <a:pt x="884" y="381"/>
                    <a:pt x="884" y="382"/>
                  </a:cubicBezTo>
                  <a:cubicBezTo>
                    <a:pt x="883" y="385"/>
                    <a:pt x="883" y="385"/>
                    <a:pt x="883" y="385"/>
                  </a:cubicBezTo>
                  <a:cubicBezTo>
                    <a:pt x="883" y="387"/>
                    <a:pt x="883" y="387"/>
                    <a:pt x="883" y="387"/>
                  </a:cubicBezTo>
                  <a:cubicBezTo>
                    <a:pt x="882" y="388"/>
                    <a:pt x="882" y="388"/>
                    <a:pt x="882" y="388"/>
                  </a:cubicBezTo>
                  <a:cubicBezTo>
                    <a:pt x="882" y="388"/>
                    <a:pt x="882" y="388"/>
                    <a:pt x="882" y="388"/>
                  </a:cubicBezTo>
                  <a:cubicBezTo>
                    <a:pt x="882" y="388"/>
                    <a:pt x="882" y="388"/>
                    <a:pt x="882" y="388"/>
                  </a:cubicBezTo>
                  <a:cubicBezTo>
                    <a:pt x="881" y="388"/>
                    <a:pt x="881" y="388"/>
                    <a:pt x="881" y="388"/>
                  </a:cubicBezTo>
                  <a:cubicBezTo>
                    <a:pt x="881" y="388"/>
                    <a:pt x="881" y="388"/>
                    <a:pt x="881" y="388"/>
                  </a:cubicBezTo>
                  <a:cubicBezTo>
                    <a:pt x="881" y="388"/>
                    <a:pt x="881" y="388"/>
                    <a:pt x="881" y="388"/>
                  </a:cubicBezTo>
                  <a:cubicBezTo>
                    <a:pt x="881" y="389"/>
                    <a:pt x="881" y="389"/>
                    <a:pt x="881" y="389"/>
                  </a:cubicBezTo>
                  <a:cubicBezTo>
                    <a:pt x="880" y="389"/>
                    <a:pt x="880" y="389"/>
                    <a:pt x="880" y="389"/>
                  </a:cubicBezTo>
                  <a:cubicBezTo>
                    <a:pt x="880" y="389"/>
                    <a:pt x="880" y="389"/>
                    <a:pt x="880" y="389"/>
                  </a:cubicBezTo>
                  <a:cubicBezTo>
                    <a:pt x="880" y="389"/>
                    <a:pt x="880" y="389"/>
                    <a:pt x="880" y="389"/>
                  </a:cubicBezTo>
                  <a:cubicBezTo>
                    <a:pt x="878" y="390"/>
                    <a:pt x="877" y="392"/>
                    <a:pt x="876" y="392"/>
                  </a:cubicBezTo>
                  <a:cubicBezTo>
                    <a:pt x="875" y="393"/>
                    <a:pt x="875" y="393"/>
                    <a:pt x="875" y="393"/>
                  </a:cubicBezTo>
                  <a:cubicBezTo>
                    <a:pt x="875" y="393"/>
                    <a:pt x="875" y="393"/>
                    <a:pt x="875" y="393"/>
                  </a:cubicBezTo>
                  <a:cubicBezTo>
                    <a:pt x="874" y="393"/>
                    <a:pt x="874" y="393"/>
                    <a:pt x="873" y="393"/>
                  </a:cubicBezTo>
                  <a:cubicBezTo>
                    <a:pt x="873" y="393"/>
                    <a:pt x="873" y="393"/>
                    <a:pt x="873" y="393"/>
                  </a:cubicBezTo>
                  <a:cubicBezTo>
                    <a:pt x="873" y="393"/>
                    <a:pt x="873" y="393"/>
                    <a:pt x="873" y="393"/>
                  </a:cubicBezTo>
                  <a:cubicBezTo>
                    <a:pt x="872" y="393"/>
                    <a:pt x="872" y="393"/>
                    <a:pt x="872" y="393"/>
                  </a:cubicBezTo>
                  <a:cubicBezTo>
                    <a:pt x="872" y="393"/>
                    <a:pt x="872" y="393"/>
                    <a:pt x="872" y="393"/>
                  </a:cubicBezTo>
                  <a:cubicBezTo>
                    <a:pt x="872" y="394"/>
                    <a:pt x="872" y="394"/>
                    <a:pt x="872" y="394"/>
                  </a:cubicBezTo>
                  <a:cubicBezTo>
                    <a:pt x="869" y="394"/>
                    <a:pt x="868" y="396"/>
                    <a:pt x="866" y="398"/>
                  </a:cubicBezTo>
                  <a:cubicBezTo>
                    <a:pt x="865" y="398"/>
                    <a:pt x="865" y="398"/>
                    <a:pt x="865" y="398"/>
                  </a:cubicBezTo>
                  <a:cubicBezTo>
                    <a:pt x="865" y="398"/>
                    <a:pt x="865" y="398"/>
                    <a:pt x="865" y="398"/>
                  </a:cubicBezTo>
                  <a:cubicBezTo>
                    <a:pt x="864" y="398"/>
                    <a:pt x="864" y="398"/>
                    <a:pt x="864" y="398"/>
                  </a:cubicBezTo>
                  <a:cubicBezTo>
                    <a:pt x="864" y="398"/>
                    <a:pt x="864" y="398"/>
                    <a:pt x="863" y="399"/>
                  </a:cubicBezTo>
                  <a:cubicBezTo>
                    <a:pt x="862" y="399"/>
                    <a:pt x="862" y="399"/>
                    <a:pt x="862" y="399"/>
                  </a:cubicBezTo>
                  <a:cubicBezTo>
                    <a:pt x="862" y="399"/>
                    <a:pt x="862" y="399"/>
                    <a:pt x="862" y="399"/>
                  </a:cubicBezTo>
                  <a:cubicBezTo>
                    <a:pt x="862" y="399"/>
                    <a:pt x="862" y="399"/>
                    <a:pt x="862" y="399"/>
                  </a:cubicBezTo>
                  <a:cubicBezTo>
                    <a:pt x="861" y="399"/>
                    <a:pt x="861" y="399"/>
                    <a:pt x="861" y="399"/>
                  </a:cubicBezTo>
                  <a:cubicBezTo>
                    <a:pt x="861" y="399"/>
                    <a:pt x="861" y="399"/>
                    <a:pt x="861" y="399"/>
                  </a:cubicBezTo>
                  <a:cubicBezTo>
                    <a:pt x="861" y="399"/>
                    <a:pt x="861" y="399"/>
                    <a:pt x="861" y="399"/>
                  </a:cubicBezTo>
                  <a:cubicBezTo>
                    <a:pt x="861" y="399"/>
                    <a:pt x="861" y="399"/>
                    <a:pt x="861" y="399"/>
                  </a:cubicBezTo>
                  <a:cubicBezTo>
                    <a:pt x="860" y="399"/>
                    <a:pt x="860" y="399"/>
                    <a:pt x="860" y="399"/>
                  </a:cubicBezTo>
                  <a:cubicBezTo>
                    <a:pt x="858" y="400"/>
                    <a:pt x="858" y="400"/>
                    <a:pt x="858" y="400"/>
                  </a:cubicBezTo>
                  <a:cubicBezTo>
                    <a:pt x="855" y="402"/>
                    <a:pt x="855" y="402"/>
                    <a:pt x="855" y="402"/>
                  </a:cubicBezTo>
                  <a:cubicBezTo>
                    <a:pt x="854" y="402"/>
                    <a:pt x="854" y="402"/>
                    <a:pt x="854" y="402"/>
                  </a:cubicBezTo>
                  <a:cubicBezTo>
                    <a:pt x="853" y="403"/>
                    <a:pt x="853" y="403"/>
                    <a:pt x="853" y="403"/>
                  </a:cubicBezTo>
                  <a:cubicBezTo>
                    <a:pt x="853" y="403"/>
                    <a:pt x="853" y="403"/>
                    <a:pt x="853" y="403"/>
                  </a:cubicBezTo>
                  <a:cubicBezTo>
                    <a:pt x="854" y="403"/>
                    <a:pt x="854" y="403"/>
                    <a:pt x="854" y="403"/>
                  </a:cubicBezTo>
                  <a:cubicBezTo>
                    <a:pt x="854" y="403"/>
                    <a:pt x="854" y="403"/>
                    <a:pt x="854" y="403"/>
                  </a:cubicBezTo>
                  <a:cubicBezTo>
                    <a:pt x="854" y="403"/>
                    <a:pt x="854" y="403"/>
                    <a:pt x="854" y="403"/>
                  </a:cubicBezTo>
                  <a:cubicBezTo>
                    <a:pt x="855" y="403"/>
                    <a:pt x="855" y="403"/>
                    <a:pt x="855" y="403"/>
                  </a:cubicBezTo>
                  <a:cubicBezTo>
                    <a:pt x="855" y="403"/>
                    <a:pt x="855" y="403"/>
                    <a:pt x="855" y="403"/>
                  </a:cubicBezTo>
                  <a:cubicBezTo>
                    <a:pt x="854" y="403"/>
                    <a:pt x="854" y="403"/>
                    <a:pt x="854" y="403"/>
                  </a:cubicBezTo>
                  <a:cubicBezTo>
                    <a:pt x="854" y="404"/>
                    <a:pt x="854" y="404"/>
                    <a:pt x="854" y="404"/>
                  </a:cubicBezTo>
                  <a:cubicBezTo>
                    <a:pt x="854" y="404"/>
                    <a:pt x="854" y="404"/>
                    <a:pt x="854" y="404"/>
                  </a:cubicBezTo>
                  <a:cubicBezTo>
                    <a:pt x="854" y="405"/>
                    <a:pt x="854" y="405"/>
                    <a:pt x="854" y="405"/>
                  </a:cubicBezTo>
                  <a:cubicBezTo>
                    <a:pt x="854" y="406"/>
                    <a:pt x="854" y="406"/>
                    <a:pt x="854" y="406"/>
                  </a:cubicBezTo>
                  <a:cubicBezTo>
                    <a:pt x="854" y="408"/>
                    <a:pt x="854" y="408"/>
                    <a:pt x="854" y="408"/>
                  </a:cubicBezTo>
                  <a:cubicBezTo>
                    <a:pt x="854" y="409"/>
                    <a:pt x="854" y="409"/>
                    <a:pt x="854" y="409"/>
                  </a:cubicBezTo>
                  <a:cubicBezTo>
                    <a:pt x="853" y="410"/>
                    <a:pt x="853" y="410"/>
                    <a:pt x="853" y="410"/>
                  </a:cubicBezTo>
                  <a:cubicBezTo>
                    <a:pt x="853" y="410"/>
                    <a:pt x="853" y="410"/>
                    <a:pt x="853" y="410"/>
                  </a:cubicBezTo>
                  <a:cubicBezTo>
                    <a:pt x="852" y="410"/>
                    <a:pt x="852" y="410"/>
                    <a:pt x="852" y="410"/>
                  </a:cubicBezTo>
                  <a:cubicBezTo>
                    <a:pt x="851" y="410"/>
                    <a:pt x="851" y="410"/>
                    <a:pt x="851" y="410"/>
                  </a:cubicBezTo>
                  <a:cubicBezTo>
                    <a:pt x="851" y="411"/>
                    <a:pt x="851" y="411"/>
                    <a:pt x="851" y="411"/>
                  </a:cubicBezTo>
                  <a:cubicBezTo>
                    <a:pt x="850" y="411"/>
                    <a:pt x="850" y="411"/>
                    <a:pt x="850" y="411"/>
                  </a:cubicBezTo>
                  <a:cubicBezTo>
                    <a:pt x="849" y="411"/>
                    <a:pt x="849" y="411"/>
                    <a:pt x="849" y="411"/>
                  </a:cubicBezTo>
                  <a:cubicBezTo>
                    <a:pt x="848" y="411"/>
                    <a:pt x="848" y="411"/>
                    <a:pt x="848" y="411"/>
                  </a:cubicBezTo>
                  <a:cubicBezTo>
                    <a:pt x="848" y="412"/>
                    <a:pt x="848" y="412"/>
                    <a:pt x="848" y="412"/>
                  </a:cubicBezTo>
                  <a:cubicBezTo>
                    <a:pt x="847" y="412"/>
                    <a:pt x="847" y="412"/>
                    <a:pt x="847" y="412"/>
                  </a:cubicBezTo>
                  <a:cubicBezTo>
                    <a:pt x="847" y="412"/>
                    <a:pt x="847" y="412"/>
                    <a:pt x="847" y="412"/>
                  </a:cubicBezTo>
                  <a:cubicBezTo>
                    <a:pt x="847" y="411"/>
                    <a:pt x="847" y="411"/>
                    <a:pt x="847" y="411"/>
                  </a:cubicBezTo>
                  <a:cubicBezTo>
                    <a:pt x="847" y="411"/>
                    <a:pt x="847" y="411"/>
                    <a:pt x="847" y="411"/>
                  </a:cubicBezTo>
                  <a:cubicBezTo>
                    <a:pt x="847" y="411"/>
                    <a:pt x="847" y="411"/>
                    <a:pt x="847" y="411"/>
                  </a:cubicBezTo>
                  <a:cubicBezTo>
                    <a:pt x="846" y="411"/>
                    <a:pt x="846" y="411"/>
                    <a:pt x="846" y="411"/>
                  </a:cubicBezTo>
                  <a:cubicBezTo>
                    <a:pt x="846" y="411"/>
                    <a:pt x="845" y="412"/>
                    <a:pt x="844" y="411"/>
                  </a:cubicBezTo>
                  <a:cubicBezTo>
                    <a:pt x="844" y="411"/>
                    <a:pt x="844" y="411"/>
                    <a:pt x="844" y="411"/>
                  </a:cubicBezTo>
                  <a:cubicBezTo>
                    <a:pt x="843" y="411"/>
                    <a:pt x="843" y="411"/>
                    <a:pt x="843" y="411"/>
                  </a:cubicBezTo>
                  <a:cubicBezTo>
                    <a:pt x="843" y="410"/>
                    <a:pt x="843" y="409"/>
                    <a:pt x="842" y="409"/>
                  </a:cubicBezTo>
                  <a:cubicBezTo>
                    <a:pt x="842" y="409"/>
                    <a:pt x="842" y="409"/>
                    <a:pt x="842" y="409"/>
                  </a:cubicBezTo>
                  <a:cubicBezTo>
                    <a:pt x="842" y="409"/>
                    <a:pt x="842" y="409"/>
                    <a:pt x="842" y="409"/>
                  </a:cubicBezTo>
                  <a:cubicBezTo>
                    <a:pt x="841" y="409"/>
                    <a:pt x="841" y="409"/>
                    <a:pt x="841" y="409"/>
                  </a:cubicBezTo>
                  <a:cubicBezTo>
                    <a:pt x="841" y="409"/>
                    <a:pt x="841" y="409"/>
                    <a:pt x="841" y="409"/>
                  </a:cubicBezTo>
                  <a:cubicBezTo>
                    <a:pt x="841" y="408"/>
                    <a:pt x="841" y="408"/>
                    <a:pt x="841" y="408"/>
                  </a:cubicBezTo>
                  <a:cubicBezTo>
                    <a:pt x="838" y="408"/>
                    <a:pt x="837" y="407"/>
                    <a:pt x="834" y="407"/>
                  </a:cubicBezTo>
                  <a:cubicBezTo>
                    <a:pt x="833" y="407"/>
                    <a:pt x="833" y="407"/>
                    <a:pt x="833" y="407"/>
                  </a:cubicBezTo>
                  <a:cubicBezTo>
                    <a:pt x="833" y="407"/>
                    <a:pt x="833" y="407"/>
                    <a:pt x="833" y="407"/>
                  </a:cubicBezTo>
                  <a:cubicBezTo>
                    <a:pt x="831" y="407"/>
                    <a:pt x="829" y="407"/>
                    <a:pt x="827" y="407"/>
                  </a:cubicBezTo>
                  <a:cubicBezTo>
                    <a:pt x="826" y="407"/>
                    <a:pt x="826" y="407"/>
                    <a:pt x="826" y="407"/>
                  </a:cubicBezTo>
                  <a:cubicBezTo>
                    <a:pt x="826" y="407"/>
                    <a:pt x="826" y="407"/>
                    <a:pt x="826" y="407"/>
                  </a:cubicBezTo>
                  <a:cubicBezTo>
                    <a:pt x="826" y="407"/>
                    <a:pt x="826" y="407"/>
                    <a:pt x="826" y="407"/>
                  </a:cubicBezTo>
                  <a:cubicBezTo>
                    <a:pt x="825" y="407"/>
                    <a:pt x="825" y="407"/>
                    <a:pt x="825" y="407"/>
                  </a:cubicBezTo>
                  <a:cubicBezTo>
                    <a:pt x="825" y="407"/>
                    <a:pt x="825" y="407"/>
                    <a:pt x="825" y="407"/>
                  </a:cubicBezTo>
                  <a:cubicBezTo>
                    <a:pt x="817" y="408"/>
                    <a:pt x="818" y="409"/>
                    <a:pt x="810" y="406"/>
                  </a:cubicBezTo>
                  <a:cubicBezTo>
                    <a:pt x="810" y="406"/>
                    <a:pt x="810" y="406"/>
                    <a:pt x="810" y="406"/>
                  </a:cubicBezTo>
                  <a:cubicBezTo>
                    <a:pt x="810" y="406"/>
                    <a:pt x="810" y="406"/>
                    <a:pt x="810" y="406"/>
                  </a:cubicBezTo>
                  <a:cubicBezTo>
                    <a:pt x="810" y="406"/>
                    <a:pt x="810" y="406"/>
                    <a:pt x="810" y="406"/>
                  </a:cubicBezTo>
                  <a:cubicBezTo>
                    <a:pt x="806" y="406"/>
                    <a:pt x="807" y="404"/>
                    <a:pt x="803" y="403"/>
                  </a:cubicBezTo>
                  <a:cubicBezTo>
                    <a:pt x="803" y="403"/>
                    <a:pt x="803" y="403"/>
                    <a:pt x="803" y="403"/>
                  </a:cubicBezTo>
                  <a:cubicBezTo>
                    <a:pt x="803" y="403"/>
                    <a:pt x="803" y="403"/>
                    <a:pt x="803" y="403"/>
                  </a:cubicBezTo>
                  <a:cubicBezTo>
                    <a:pt x="800" y="403"/>
                    <a:pt x="798" y="403"/>
                    <a:pt x="796" y="401"/>
                  </a:cubicBezTo>
                  <a:cubicBezTo>
                    <a:pt x="795" y="401"/>
                    <a:pt x="795" y="401"/>
                    <a:pt x="795" y="401"/>
                  </a:cubicBezTo>
                  <a:cubicBezTo>
                    <a:pt x="792" y="399"/>
                    <a:pt x="792" y="399"/>
                    <a:pt x="792" y="399"/>
                  </a:cubicBezTo>
                  <a:cubicBezTo>
                    <a:pt x="790" y="394"/>
                    <a:pt x="790" y="394"/>
                    <a:pt x="790" y="394"/>
                  </a:cubicBezTo>
                  <a:cubicBezTo>
                    <a:pt x="790" y="393"/>
                    <a:pt x="790" y="393"/>
                    <a:pt x="790" y="393"/>
                  </a:cubicBezTo>
                  <a:cubicBezTo>
                    <a:pt x="796" y="393"/>
                    <a:pt x="796" y="393"/>
                    <a:pt x="796" y="393"/>
                  </a:cubicBezTo>
                  <a:cubicBezTo>
                    <a:pt x="806" y="391"/>
                    <a:pt x="806" y="391"/>
                    <a:pt x="806" y="391"/>
                  </a:cubicBezTo>
                  <a:cubicBezTo>
                    <a:pt x="807" y="391"/>
                    <a:pt x="807" y="391"/>
                    <a:pt x="807" y="391"/>
                  </a:cubicBezTo>
                  <a:cubicBezTo>
                    <a:pt x="808" y="391"/>
                    <a:pt x="808" y="391"/>
                    <a:pt x="808" y="391"/>
                  </a:cubicBezTo>
                  <a:cubicBezTo>
                    <a:pt x="808" y="392"/>
                    <a:pt x="808" y="392"/>
                    <a:pt x="808" y="392"/>
                  </a:cubicBezTo>
                  <a:cubicBezTo>
                    <a:pt x="808" y="392"/>
                    <a:pt x="808" y="392"/>
                    <a:pt x="808" y="392"/>
                  </a:cubicBezTo>
                  <a:cubicBezTo>
                    <a:pt x="809" y="392"/>
                    <a:pt x="809" y="392"/>
                    <a:pt x="809" y="392"/>
                  </a:cubicBezTo>
                  <a:cubicBezTo>
                    <a:pt x="809" y="393"/>
                    <a:pt x="809" y="393"/>
                    <a:pt x="809" y="393"/>
                  </a:cubicBezTo>
                  <a:cubicBezTo>
                    <a:pt x="811" y="394"/>
                    <a:pt x="811" y="394"/>
                    <a:pt x="811" y="394"/>
                  </a:cubicBezTo>
                  <a:cubicBezTo>
                    <a:pt x="814" y="396"/>
                    <a:pt x="814" y="396"/>
                    <a:pt x="814" y="396"/>
                  </a:cubicBezTo>
                  <a:cubicBezTo>
                    <a:pt x="815" y="397"/>
                    <a:pt x="815" y="397"/>
                    <a:pt x="815" y="397"/>
                  </a:cubicBezTo>
                  <a:cubicBezTo>
                    <a:pt x="816" y="397"/>
                    <a:pt x="816" y="397"/>
                    <a:pt x="816" y="397"/>
                  </a:cubicBezTo>
                  <a:cubicBezTo>
                    <a:pt x="817" y="397"/>
                    <a:pt x="817" y="397"/>
                    <a:pt x="817" y="397"/>
                  </a:cubicBezTo>
                  <a:cubicBezTo>
                    <a:pt x="817" y="397"/>
                    <a:pt x="817" y="397"/>
                    <a:pt x="817" y="397"/>
                  </a:cubicBezTo>
                  <a:cubicBezTo>
                    <a:pt x="818" y="397"/>
                    <a:pt x="818" y="397"/>
                    <a:pt x="818" y="397"/>
                  </a:cubicBezTo>
                  <a:cubicBezTo>
                    <a:pt x="819" y="397"/>
                    <a:pt x="819" y="397"/>
                    <a:pt x="819" y="397"/>
                  </a:cubicBezTo>
                  <a:cubicBezTo>
                    <a:pt x="819" y="397"/>
                    <a:pt x="819" y="397"/>
                    <a:pt x="819" y="397"/>
                  </a:cubicBezTo>
                  <a:cubicBezTo>
                    <a:pt x="820" y="397"/>
                    <a:pt x="820" y="397"/>
                    <a:pt x="820" y="397"/>
                  </a:cubicBezTo>
                  <a:cubicBezTo>
                    <a:pt x="820" y="396"/>
                    <a:pt x="820" y="396"/>
                    <a:pt x="820" y="396"/>
                  </a:cubicBezTo>
                  <a:cubicBezTo>
                    <a:pt x="819" y="396"/>
                    <a:pt x="819" y="396"/>
                    <a:pt x="819" y="396"/>
                  </a:cubicBezTo>
                  <a:cubicBezTo>
                    <a:pt x="819" y="396"/>
                    <a:pt x="819" y="396"/>
                    <a:pt x="819" y="396"/>
                  </a:cubicBezTo>
                  <a:cubicBezTo>
                    <a:pt x="819" y="396"/>
                    <a:pt x="819" y="396"/>
                    <a:pt x="819" y="396"/>
                  </a:cubicBezTo>
                  <a:cubicBezTo>
                    <a:pt x="818" y="396"/>
                    <a:pt x="818" y="396"/>
                    <a:pt x="818" y="396"/>
                  </a:cubicBezTo>
                  <a:cubicBezTo>
                    <a:pt x="818" y="396"/>
                    <a:pt x="818" y="396"/>
                    <a:pt x="818" y="396"/>
                  </a:cubicBezTo>
                  <a:cubicBezTo>
                    <a:pt x="818" y="396"/>
                    <a:pt x="818" y="396"/>
                    <a:pt x="818" y="396"/>
                  </a:cubicBezTo>
                  <a:cubicBezTo>
                    <a:pt x="819" y="396"/>
                    <a:pt x="820" y="396"/>
                    <a:pt x="821" y="395"/>
                  </a:cubicBezTo>
                  <a:cubicBezTo>
                    <a:pt x="821" y="395"/>
                    <a:pt x="821" y="395"/>
                    <a:pt x="821" y="395"/>
                  </a:cubicBezTo>
                  <a:cubicBezTo>
                    <a:pt x="820" y="395"/>
                    <a:pt x="820" y="395"/>
                    <a:pt x="820" y="395"/>
                  </a:cubicBezTo>
                  <a:cubicBezTo>
                    <a:pt x="820" y="395"/>
                    <a:pt x="820" y="395"/>
                    <a:pt x="820" y="395"/>
                  </a:cubicBezTo>
                  <a:cubicBezTo>
                    <a:pt x="820" y="395"/>
                    <a:pt x="820" y="395"/>
                    <a:pt x="820" y="395"/>
                  </a:cubicBezTo>
                  <a:cubicBezTo>
                    <a:pt x="820" y="395"/>
                    <a:pt x="820" y="395"/>
                    <a:pt x="820" y="395"/>
                  </a:cubicBezTo>
                  <a:cubicBezTo>
                    <a:pt x="820" y="395"/>
                    <a:pt x="820" y="395"/>
                    <a:pt x="820" y="395"/>
                  </a:cubicBezTo>
                  <a:cubicBezTo>
                    <a:pt x="820" y="395"/>
                    <a:pt x="820" y="395"/>
                    <a:pt x="820" y="395"/>
                  </a:cubicBezTo>
                  <a:cubicBezTo>
                    <a:pt x="821" y="395"/>
                    <a:pt x="821" y="395"/>
                    <a:pt x="821" y="395"/>
                  </a:cubicBezTo>
                  <a:cubicBezTo>
                    <a:pt x="822" y="395"/>
                    <a:pt x="822" y="395"/>
                    <a:pt x="822" y="395"/>
                  </a:cubicBezTo>
                  <a:cubicBezTo>
                    <a:pt x="822" y="395"/>
                    <a:pt x="822" y="395"/>
                    <a:pt x="822" y="395"/>
                  </a:cubicBezTo>
                  <a:cubicBezTo>
                    <a:pt x="823" y="395"/>
                    <a:pt x="823" y="395"/>
                    <a:pt x="823" y="395"/>
                  </a:cubicBezTo>
                  <a:cubicBezTo>
                    <a:pt x="823" y="394"/>
                    <a:pt x="823" y="394"/>
                    <a:pt x="823" y="394"/>
                  </a:cubicBezTo>
                  <a:cubicBezTo>
                    <a:pt x="823" y="394"/>
                    <a:pt x="823" y="394"/>
                    <a:pt x="823" y="394"/>
                  </a:cubicBezTo>
                  <a:cubicBezTo>
                    <a:pt x="824" y="394"/>
                    <a:pt x="824" y="394"/>
                    <a:pt x="824" y="394"/>
                  </a:cubicBezTo>
                  <a:cubicBezTo>
                    <a:pt x="843" y="390"/>
                    <a:pt x="843" y="390"/>
                    <a:pt x="843" y="390"/>
                  </a:cubicBezTo>
                  <a:cubicBezTo>
                    <a:pt x="843" y="389"/>
                    <a:pt x="843" y="389"/>
                    <a:pt x="843" y="389"/>
                  </a:cubicBezTo>
                  <a:cubicBezTo>
                    <a:pt x="843" y="389"/>
                    <a:pt x="843" y="389"/>
                    <a:pt x="843" y="389"/>
                  </a:cubicBezTo>
                  <a:cubicBezTo>
                    <a:pt x="843" y="388"/>
                    <a:pt x="845" y="388"/>
                    <a:pt x="845" y="387"/>
                  </a:cubicBezTo>
                  <a:cubicBezTo>
                    <a:pt x="845" y="387"/>
                    <a:pt x="845" y="387"/>
                    <a:pt x="845" y="387"/>
                  </a:cubicBezTo>
                  <a:cubicBezTo>
                    <a:pt x="845" y="387"/>
                    <a:pt x="845" y="387"/>
                    <a:pt x="845" y="387"/>
                  </a:cubicBezTo>
                  <a:cubicBezTo>
                    <a:pt x="845" y="387"/>
                    <a:pt x="845" y="387"/>
                    <a:pt x="845" y="387"/>
                  </a:cubicBezTo>
                  <a:cubicBezTo>
                    <a:pt x="845" y="387"/>
                    <a:pt x="845" y="387"/>
                    <a:pt x="845" y="387"/>
                  </a:cubicBezTo>
                  <a:cubicBezTo>
                    <a:pt x="846" y="386"/>
                    <a:pt x="848" y="385"/>
                    <a:pt x="849" y="384"/>
                  </a:cubicBezTo>
                  <a:cubicBezTo>
                    <a:pt x="851" y="383"/>
                    <a:pt x="851" y="383"/>
                    <a:pt x="851" y="383"/>
                  </a:cubicBezTo>
                  <a:cubicBezTo>
                    <a:pt x="851" y="382"/>
                    <a:pt x="851" y="382"/>
                    <a:pt x="851" y="382"/>
                  </a:cubicBezTo>
                  <a:cubicBezTo>
                    <a:pt x="852" y="381"/>
                    <a:pt x="852" y="381"/>
                    <a:pt x="852" y="381"/>
                  </a:cubicBezTo>
                  <a:cubicBezTo>
                    <a:pt x="852" y="381"/>
                    <a:pt x="852" y="381"/>
                    <a:pt x="852" y="381"/>
                  </a:cubicBezTo>
                  <a:cubicBezTo>
                    <a:pt x="852" y="381"/>
                    <a:pt x="852" y="381"/>
                    <a:pt x="852" y="381"/>
                  </a:cubicBezTo>
                  <a:cubicBezTo>
                    <a:pt x="852" y="381"/>
                    <a:pt x="852" y="381"/>
                    <a:pt x="852" y="381"/>
                  </a:cubicBezTo>
                  <a:cubicBezTo>
                    <a:pt x="852" y="380"/>
                    <a:pt x="852" y="380"/>
                    <a:pt x="852" y="380"/>
                  </a:cubicBezTo>
                  <a:cubicBezTo>
                    <a:pt x="851" y="380"/>
                    <a:pt x="851" y="380"/>
                    <a:pt x="851" y="380"/>
                  </a:cubicBezTo>
                  <a:cubicBezTo>
                    <a:pt x="851" y="380"/>
                    <a:pt x="851" y="380"/>
                    <a:pt x="851" y="380"/>
                  </a:cubicBezTo>
                  <a:cubicBezTo>
                    <a:pt x="851" y="380"/>
                    <a:pt x="851" y="380"/>
                    <a:pt x="851" y="380"/>
                  </a:cubicBezTo>
                  <a:cubicBezTo>
                    <a:pt x="852" y="379"/>
                    <a:pt x="852" y="379"/>
                    <a:pt x="852" y="379"/>
                  </a:cubicBezTo>
                  <a:cubicBezTo>
                    <a:pt x="852" y="379"/>
                    <a:pt x="852" y="379"/>
                    <a:pt x="852" y="379"/>
                  </a:cubicBezTo>
                  <a:cubicBezTo>
                    <a:pt x="854" y="377"/>
                    <a:pt x="854" y="377"/>
                    <a:pt x="854" y="377"/>
                  </a:cubicBezTo>
                  <a:cubicBezTo>
                    <a:pt x="855" y="377"/>
                    <a:pt x="855" y="377"/>
                    <a:pt x="855" y="377"/>
                  </a:cubicBezTo>
                  <a:cubicBezTo>
                    <a:pt x="855" y="376"/>
                    <a:pt x="855" y="376"/>
                    <a:pt x="855" y="376"/>
                  </a:cubicBezTo>
                  <a:cubicBezTo>
                    <a:pt x="855" y="376"/>
                    <a:pt x="855" y="376"/>
                    <a:pt x="855" y="376"/>
                  </a:cubicBezTo>
                  <a:cubicBezTo>
                    <a:pt x="855" y="376"/>
                    <a:pt x="855" y="376"/>
                    <a:pt x="855" y="376"/>
                  </a:cubicBezTo>
                  <a:cubicBezTo>
                    <a:pt x="856" y="376"/>
                    <a:pt x="856" y="376"/>
                    <a:pt x="856" y="376"/>
                  </a:cubicBezTo>
                  <a:cubicBezTo>
                    <a:pt x="856" y="375"/>
                    <a:pt x="856" y="375"/>
                    <a:pt x="856" y="375"/>
                  </a:cubicBezTo>
                  <a:cubicBezTo>
                    <a:pt x="856" y="375"/>
                    <a:pt x="856" y="375"/>
                    <a:pt x="856" y="375"/>
                  </a:cubicBezTo>
                  <a:cubicBezTo>
                    <a:pt x="856" y="374"/>
                    <a:pt x="856" y="375"/>
                    <a:pt x="856" y="374"/>
                  </a:cubicBezTo>
                  <a:cubicBezTo>
                    <a:pt x="856" y="373"/>
                    <a:pt x="856" y="373"/>
                    <a:pt x="856" y="373"/>
                  </a:cubicBezTo>
                  <a:cubicBezTo>
                    <a:pt x="857" y="372"/>
                    <a:pt x="857" y="372"/>
                    <a:pt x="857" y="372"/>
                  </a:cubicBezTo>
                  <a:cubicBezTo>
                    <a:pt x="859" y="371"/>
                    <a:pt x="859" y="371"/>
                    <a:pt x="859" y="371"/>
                  </a:cubicBezTo>
                  <a:cubicBezTo>
                    <a:pt x="865" y="367"/>
                    <a:pt x="865" y="367"/>
                    <a:pt x="865" y="367"/>
                  </a:cubicBezTo>
                  <a:cubicBezTo>
                    <a:pt x="868" y="365"/>
                    <a:pt x="868" y="365"/>
                    <a:pt x="868" y="365"/>
                  </a:cubicBezTo>
                  <a:cubicBezTo>
                    <a:pt x="869" y="364"/>
                    <a:pt x="869" y="364"/>
                    <a:pt x="869" y="364"/>
                  </a:cubicBezTo>
                  <a:cubicBezTo>
                    <a:pt x="869" y="364"/>
                    <a:pt x="869" y="364"/>
                    <a:pt x="869" y="364"/>
                  </a:cubicBezTo>
                  <a:cubicBezTo>
                    <a:pt x="869" y="364"/>
                    <a:pt x="869" y="363"/>
                    <a:pt x="869" y="363"/>
                  </a:cubicBezTo>
                  <a:cubicBezTo>
                    <a:pt x="869" y="363"/>
                    <a:pt x="869" y="363"/>
                    <a:pt x="869" y="363"/>
                  </a:cubicBezTo>
                  <a:cubicBezTo>
                    <a:pt x="869" y="362"/>
                    <a:pt x="869" y="362"/>
                    <a:pt x="869" y="362"/>
                  </a:cubicBezTo>
                  <a:cubicBezTo>
                    <a:pt x="869" y="362"/>
                    <a:pt x="868" y="362"/>
                    <a:pt x="868" y="362"/>
                  </a:cubicBezTo>
                  <a:cubicBezTo>
                    <a:pt x="868" y="361"/>
                    <a:pt x="868" y="361"/>
                    <a:pt x="868" y="361"/>
                  </a:cubicBezTo>
                  <a:cubicBezTo>
                    <a:pt x="868" y="361"/>
                    <a:pt x="868" y="361"/>
                    <a:pt x="868" y="361"/>
                  </a:cubicBezTo>
                  <a:cubicBezTo>
                    <a:pt x="869" y="360"/>
                    <a:pt x="869" y="360"/>
                    <a:pt x="869" y="360"/>
                  </a:cubicBezTo>
                  <a:cubicBezTo>
                    <a:pt x="870" y="360"/>
                    <a:pt x="870" y="360"/>
                    <a:pt x="870" y="360"/>
                  </a:cubicBezTo>
                  <a:cubicBezTo>
                    <a:pt x="871" y="359"/>
                    <a:pt x="870" y="359"/>
                    <a:pt x="870" y="358"/>
                  </a:cubicBezTo>
                  <a:cubicBezTo>
                    <a:pt x="870" y="358"/>
                    <a:pt x="870" y="358"/>
                    <a:pt x="870" y="358"/>
                  </a:cubicBezTo>
                  <a:cubicBezTo>
                    <a:pt x="870" y="358"/>
                    <a:pt x="870" y="358"/>
                    <a:pt x="870" y="358"/>
                  </a:cubicBezTo>
                  <a:cubicBezTo>
                    <a:pt x="870" y="358"/>
                    <a:pt x="870" y="357"/>
                    <a:pt x="870" y="357"/>
                  </a:cubicBezTo>
                  <a:cubicBezTo>
                    <a:pt x="870" y="357"/>
                    <a:pt x="870" y="357"/>
                    <a:pt x="870" y="357"/>
                  </a:cubicBezTo>
                  <a:cubicBezTo>
                    <a:pt x="870" y="357"/>
                    <a:pt x="870" y="357"/>
                    <a:pt x="870" y="357"/>
                  </a:cubicBezTo>
                  <a:cubicBezTo>
                    <a:pt x="870" y="356"/>
                    <a:pt x="870" y="356"/>
                    <a:pt x="870" y="356"/>
                  </a:cubicBezTo>
                  <a:cubicBezTo>
                    <a:pt x="870" y="356"/>
                    <a:pt x="870" y="356"/>
                    <a:pt x="870" y="356"/>
                  </a:cubicBezTo>
                  <a:cubicBezTo>
                    <a:pt x="870" y="355"/>
                    <a:pt x="870" y="355"/>
                    <a:pt x="870" y="355"/>
                  </a:cubicBezTo>
                  <a:cubicBezTo>
                    <a:pt x="870" y="355"/>
                    <a:pt x="870" y="355"/>
                    <a:pt x="870" y="355"/>
                  </a:cubicBezTo>
                  <a:cubicBezTo>
                    <a:pt x="870" y="355"/>
                    <a:pt x="870" y="355"/>
                    <a:pt x="870" y="355"/>
                  </a:cubicBezTo>
                  <a:cubicBezTo>
                    <a:pt x="870" y="355"/>
                    <a:pt x="870" y="355"/>
                    <a:pt x="870" y="355"/>
                  </a:cubicBezTo>
                  <a:cubicBezTo>
                    <a:pt x="870" y="355"/>
                    <a:pt x="870" y="355"/>
                    <a:pt x="870" y="355"/>
                  </a:cubicBezTo>
                  <a:cubicBezTo>
                    <a:pt x="870" y="355"/>
                    <a:pt x="870" y="355"/>
                    <a:pt x="870" y="355"/>
                  </a:cubicBezTo>
                  <a:cubicBezTo>
                    <a:pt x="870" y="354"/>
                    <a:pt x="870" y="354"/>
                    <a:pt x="870" y="354"/>
                  </a:cubicBezTo>
                  <a:cubicBezTo>
                    <a:pt x="870" y="354"/>
                    <a:pt x="870" y="354"/>
                    <a:pt x="870" y="354"/>
                  </a:cubicBezTo>
                  <a:cubicBezTo>
                    <a:pt x="870" y="354"/>
                    <a:pt x="870" y="354"/>
                    <a:pt x="870" y="354"/>
                  </a:cubicBezTo>
                  <a:cubicBezTo>
                    <a:pt x="870" y="354"/>
                    <a:pt x="870" y="354"/>
                    <a:pt x="870" y="354"/>
                  </a:cubicBezTo>
                  <a:cubicBezTo>
                    <a:pt x="870" y="354"/>
                    <a:pt x="870" y="354"/>
                    <a:pt x="870" y="354"/>
                  </a:cubicBezTo>
                  <a:cubicBezTo>
                    <a:pt x="870" y="354"/>
                    <a:pt x="870" y="354"/>
                    <a:pt x="870" y="354"/>
                  </a:cubicBezTo>
                  <a:cubicBezTo>
                    <a:pt x="869" y="354"/>
                    <a:pt x="869" y="354"/>
                    <a:pt x="869" y="354"/>
                  </a:cubicBezTo>
                  <a:cubicBezTo>
                    <a:pt x="869" y="353"/>
                    <a:pt x="869" y="353"/>
                    <a:pt x="869" y="353"/>
                  </a:cubicBezTo>
                  <a:cubicBezTo>
                    <a:pt x="869" y="353"/>
                    <a:pt x="869" y="353"/>
                    <a:pt x="869" y="353"/>
                  </a:cubicBezTo>
                  <a:cubicBezTo>
                    <a:pt x="869" y="352"/>
                    <a:pt x="867" y="352"/>
                    <a:pt x="868" y="350"/>
                  </a:cubicBezTo>
                  <a:cubicBezTo>
                    <a:pt x="868" y="350"/>
                    <a:pt x="868" y="350"/>
                    <a:pt x="868" y="350"/>
                  </a:cubicBezTo>
                  <a:cubicBezTo>
                    <a:pt x="870" y="349"/>
                    <a:pt x="870" y="349"/>
                    <a:pt x="870" y="349"/>
                  </a:cubicBezTo>
                  <a:cubicBezTo>
                    <a:pt x="871" y="347"/>
                    <a:pt x="871" y="347"/>
                    <a:pt x="871" y="347"/>
                  </a:cubicBezTo>
                  <a:cubicBezTo>
                    <a:pt x="876" y="342"/>
                    <a:pt x="876" y="342"/>
                    <a:pt x="876" y="342"/>
                  </a:cubicBezTo>
                  <a:cubicBezTo>
                    <a:pt x="878" y="340"/>
                    <a:pt x="878" y="340"/>
                    <a:pt x="878" y="340"/>
                  </a:cubicBezTo>
                  <a:cubicBezTo>
                    <a:pt x="879" y="339"/>
                    <a:pt x="879" y="339"/>
                    <a:pt x="879" y="339"/>
                  </a:cubicBezTo>
                  <a:cubicBezTo>
                    <a:pt x="879" y="338"/>
                    <a:pt x="878" y="337"/>
                    <a:pt x="878" y="336"/>
                  </a:cubicBezTo>
                  <a:cubicBezTo>
                    <a:pt x="877" y="336"/>
                    <a:pt x="877" y="336"/>
                    <a:pt x="877" y="336"/>
                  </a:cubicBezTo>
                  <a:cubicBezTo>
                    <a:pt x="877" y="336"/>
                    <a:pt x="877" y="336"/>
                    <a:pt x="877" y="336"/>
                  </a:cubicBezTo>
                  <a:cubicBezTo>
                    <a:pt x="875" y="334"/>
                    <a:pt x="875" y="335"/>
                    <a:pt x="873" y="333"/>
                  </a:cubicBezTo>
                  <a:cubicBezTo>
                    <a:pt x="873" y="333"/>
                    <a:pt x="873" y="333"/>
                    <a:pt x="873" y="333"/>
                  </a:cubicBezTo>
                  <a:cubicBezTo>
                    <a:pt x="872" y="333"/>
                    <a:pt x="872" y="333"/>
                    <a:pt x="872" y="333"/>
                  </a:cubicBezTo>
                  <a:cubicBezTo>
                    <a:pt x="872" y="333"/>
                    <a:pt x="872" y="333"/>
                    <a:pt x="872" y="333"/>
                  </a:cubicBezTo>
                  <a:cubicBezTo>
                    <a:pt x="867" y="329"/>
                    <a:pt x="867" y="330"/>
                    <a:pt x="862" y="327"/>
                  </a:cubicBezTo>
                  <a:cubicBezTo>
                    <a:pt x="862" y="327"/>
                    <a:pt x="862" y="327"/>
                    <a:pt x="862" y="327"/>
                  </a:cubicBezTo>
                  <a:cubicBezTo>
                    <a:pt x="862" y="327"/>
                    <a:pt x="862" y="327"/>
                    <a:pt x="862" y="327"/>
                  </a:cubicBezTo>
                  <a:cubicBezTo>
                    <a:pt x="861" y="327"/>
                    <a:pt x="861" y="327"/>
                    <a:pt x="861" y="327"/>
                  </a:cubicBezTo>
                  <a:cubicBezTo>
                    <a:pt x="861" y="327"/>
                    <a:pt x="861" y="327"/>
                    <a:pt x="861" y="327"/>
                  </a:cubicBezTo>
                  <a:cubicBezTo>
                    <a:pt x="861" y="326"/>
                    <a:pt x="861" y="326"/>
                    <a:pt x="861" y="326"/>
                  </a:cubicBezTo>
                  <a:cubicBezTo>
                    <a:pt x="861" y="326"/>
                    <a:pt x="861" y="326"/>
                    <a:pt x="861" y="326"/>
                  </a:cubicBezTo>
                  <a:cubicBezTo>
                    <a:pt x="860" y="326"/>
                    <a:pt x="860" y="326"/>
                    <a:pt x="860" y="326"/>
                  </a:cubicBezTo>
                  <a:cubicBezTo>
                    <a:pt x="860" y="326"/>
                    <a:pt x="858" y="324"/>
                    <a:pt x="858" y="323"/>
                  </a:cubicBezTo>
                  <a:cubicBezTo>
                    <a:pt x="858" y="323"/>
                    <a:pt x="858" y="323"/>
                    <a:pt x="858" y="323"/>
                  </a:cubicBezTo>
                  <a:cubicBezTo>
                    <a:pt x="858" y="323"/>
                    <a:pt x="858" y="323"/>
                    <a:pt x="858" y="323"/>
                  </a:cubicBezTo>
                  <a:cubicBezTo>
                    <a:pt x="858" y="322"/>
                    <a:pt x="858" y="321"/>
                    <a:pt x="858" y="320"/>
                  </a:cubicBezTo>
                  <a:cubicBezTo>
                    <a:pt x="858" y="320"/>
                    <a:pt x="858" y="320"/>
                    <a:pt x="858" y="320"/>
                  </a:cubicBezTo>
                  <a:cubicBezTo>
                    <a:pt x="858" y="320"/>
                    <a:pt x="858" y="320"/>
                    <a:pt x="858" y="320"/>
                  </a:cubicBezTo>
                  <a:cubicBezTo>
                    <a:pt x="858" y="320"/>
                    <a:pt x="858" y="320"/>
                    <a:pt x="858" y="320"/>
                  </a:cubicBezTo>
                  <a:cubicBezTo>
                    <a:pt x="858" y="320"/>
                    <a:pt x="858" y="320"/>
                    <a:pt x="858" y="320"/>
                  </a:cubicBezTo>
                  <a:cubicBezTo>
                    <a:pt x="857" y="319"/>
                    <a:pt x="857" y="319"/>
                    <a:pt x="857" y="319"/>
                  </a:cubicBezTo>
                  <a:cubicBezTo>
                    <a:pt x="858" y="317"/>
                    <a:pt x="859" y="314"/>
                    <a:pt x="860" y="311"/>
                  </a:cubicBezTo>
                  <a:cubicBezTo>
                    <a:pt x="860" y="311"/>
                    <a:pt x="860" y="311"/>
                    <a:pt x="860" y="311"/>
                  </a:cubicBezTo>
                  <a:cubicBezTo>
                    <a:pt x="859" y="311"/>
                    <a:pt x="859" y="311"/>
                    <a:pt x="859" y="311"/>
                  </a:cubicBezTo>
                  <a:cubicBezTo>
                    <a:pt x="859" y="311"/>
                    <a:pt x="859" y="310"/>
                    <a:pt x="859" y="310"/>
                  </a:cubicBezTo>
                  <a:cubicBezTo>
                    <a:pt x="859" y="310"/>
                    <a:pt x="859" y="310"/>
                    <a:pt x="859" y="310"/>
                  </a:cubicBezTo>
                  <a:cubicBezTo>
                    <a:pt x="859" y="309"/>
                    <a:pt x="859" y="309"/>
                    <a:pt x="859" y="309"/>
                  </a:cubicBezTo>
                  <a:cubicBezTo>
                    <a:pt x="859" y="309"/>
                    <a:pt x="859" y="309"/>
                    <a:pt x="859" y="309"/>
                  </a:cubicBezTo>
                  <a:cubicBezTo>
                    <a:pt x="859" y="307"/>
                    <a:pt x="860" y="305"/>
                    <a:pt x="859" y="304"/>
                  </a:cubicBezTo>
                  <a:cubicBezTo>
                    <a:pt x="859" y="304"/>
                    <a:pt x="859" y="304"/>
                    <a:pt x="859" y="304"/>
                  </a:cubicBezTo>
                  <a:cubicBezTo>
                    <a:pt x="859" y="303"/>
                    <a:pt x="859" y="303"/>
                    <a:pt x="859" y="303"/>
                  </a:cubicBezTo>
                  <a:cubicBezTo>
                    <a:pt x="859" y="303"/>
                    <a:pt x="859" y="303"/>
                    <a:pt x="859" y="303"/>
                  </a:cubicBezTo>
                  <a:cubicBezTo>
                    <a:pt x="859" y="303"/>
                    <a:pt x="859" y="303"/>
                    <a:pt x="859" y="303"/>
                  </a:cubicBezTo>
                  <a:cubicBezTo>
                    <a:pt x="859" y="303"/>
                    <a:pt x="859" y="303"/>
                    <a:pt x="859" y="303"/>
                  </a:cubicBezTo>
                  <a:cubicBezTo>
                    <a:pt x="859" y="303"/>
                    <a:pt x="859" y="303"/>
                    <a:pt x="859" y="303"/>
                  </a:cubicBezTo>
                  <a:cubicBezTo>
                    <a:pt x="859" y="302"/>
                    <a:pt x="859" y="302"/>
                    <a:pt x="859" y="302"/>
                  </a:cubicBezTo>
                  <a:cubicBezTo>
                    <a:pt x="858" y="302"/>
                    <a:pt x="858" y="302"/>
                    <a:pt x="858" y="302"/>
                  </a:cubicBezTo>
                  <a:cubicBezTo>
                    <a:pt x="858" y="302"/>
                    <a:pt x="858" y="302"/>
                    <a:pt x="858" y="302"/>
                  </a:cubicBezTo>
                  <a:cubicBezTo>
                    <a:pt x="858" y="301"/>
                    <a:pt x="858" y="301"/>
                    <a:pt x="858" y="301"/>
                  </a:cubicBezTo>
                  <a:cubicBezTo>
                    <a:pt x="859" y="300"/>
                    <a:pt x="859" y="300"/>
                    <a:pt x="859" y="300"/>
                  </a:cubicBezTo>
                  <a:cubicBezTo>
                    <a:pt x="859" y="297"/>
                    <a:pt x="859" y="297"/>
                    <a:pt x="859" y="297"/>
                  </a:cubicBezTo>
                  <a:cubicBezTo>
                    <a:pt x="860" y="296"/>
                    <a:pt x="860" y="296"/>
                    <a:pt x="860" y="296"/>
                  </a:cubicBezTo>
                  <a:cubicBezTo>
                    <a:pt x="860" y="295"/>
                    <a:pt x="860" y="295"/>
                    <a:pt x="860" y="295"/>
                  </a:cubicBezTo>
                  <a:cubicBezTo>
                    <a:pt x="860" y="295"/>
                    <a:pt x="860" y="294"/>
                    <a:pt x="860" y="294"/>
                  </a:cubicBezTo>
                  <a:cubicBezTo>
                    <a:pt x="860" y="294"/>
                    <a:pt x="860" y="294"/>
                    <a:pt x="860" y="294"/>
                  </a:cubicBezTo>
                  <a:cubicBezTo>
                    <a:pt x="860" y="293"/>
                    <a:pt x="860" y="293"/>
                    <a:pt x="860" y="293"/>
                  </a:cubicBezTo>
                  <a:cubicBezTo>
                    <a:pt x="860" y="293"/>
                    <a:pt x="860" y="293"/>
                    <a:pt x="860" y="293"/>
                  </a:cubicBezTo>
                  <a:cubicBezTo>
                    <a:pt x="860" y="292"/>
                    <a:pt x="860" y="291"/>
                    <a:pt x="859" y="290"/>
                  </a:cubicBezTo>
                  <a:cubicBezTo>
                    <a:pt x="859" y="290"/>
                    <a:pt x="859" y="290"/>
                    <a:pt x="859" y="290"/>
                  </a:cubicBezTo>
                  <a:cubicBezTo>
                    <a:pt x="859" y="290"/>
                    <a:pt x="859" y="290"/>
                    <a:pt x="859" y="290"/>
                  </a:cubicBezTo>
                  <a:cubicBezTo>
                    <a:pt x="859" y="290"/>
                    <a:pt x="859" y="290"/>
                    <a:pt x="859" y="290"/>
                  </a:cubicBezTo>
                  <a:cubicBezTo>
                    <a:pt x="858" y="289"/>
                    <a:pt x="858" y="289"/>
                    <a:pt x="858" y="289"/>
                  </a:cubicBezTo>
                  <a:cubicBezTo>
                    <a:pt x="858" y="289"/>
                    <a:pt x="858" y="289"/>
                    <a:pt x="858" y="289"/>
                  </a:cubicBezTo>
                  <a:cubicBezTo>
                    <a:pt x="858" y="289"/>
                    <a:pt x="858" y="289"/>
                    <a:pt x="858" y="289"/>
                  </a:cubicBezTo>
                  <a:cubicBezTo>
                    <a:pt x="858" y="289"/>
                    <a:pt x="858" y="289"/>
                    <a:pt x="858" y="289"/>
                  </a:cubicBezTo>
                  <a:cubicBezTo>
                    <a:pt x="858" y="289"/>
                    <a:pt x="858" y="289"/>
                    <a:pt x="858" y="289"/>
                  </a:cubicBezTo>
                  <a:cubicBezTo>
                    <a:pt x="857" y="288"/>
                    <a:pt x="857" y="288"/>
                    <a:pt x="857" y="288"/>
                  </a:cubicBezTo>
                  <a:cubicBezTo>
                    <a:pt x="858" y="288"/>
                    <a:pt x="858" y="288"/>
                    <a:pt x="858" y="288"/>
                  </a:cubicBezTo>
                  <a:cubicBezTo>
                    <a:pt x="858" y="287"/>
                    <a:pt x="858" y="287"/>
                    <a:pt x="858" y="287"/>
                  </a:cubicBezTo>
                  <a:cubicBezTo>
                    <a:pt x="859" y="284"/>
                    <a:pt x="859" y="284"/>
                    <a:pt x="859" y="284"/>
                  </a:cubicBezTo>
                  <a:cubicBezTo>
                    <a:pt x="859" y="283"/>
                    <a:pt x="859" y="282"/>
                    <a:pt x="859" y="282"/>
                  </a:cubicBezTo>
                  <a:cubicBezTo>
                    <a:pt x="859" y="281"/>
                    <a:pt x="859" y="281"/>
                    <a:pt x="859" y="281"/>
                  </a:cubicBezTo>
                  <a:cubicBezTo>
                    <a:pt x="859" y="281"/>
                    <a:pt x="859" y="281"/>
                    <a:pt x="859" y="281"/>
                  </a:cubicBezTo>
                  <a:cubicBezTo>
                    <a:pt x="859" y="281"/>
                    <a:pt x="859" y="281"/>
                    <a:pt x="859" y="281"/>
                  </a:cubicBezTo>
                  <a:cubicBezTo>
                    <a:pt x="858" y="281"/>
                    <a:pt x="858" y="281"/>
                    <a:pt x="858" y="281"/>
                  </a:cubicBezTo>
                  <a:cubicBezTo>
                    <a:pt x="858" y="281"/>
                    <a:pt x="858" y="281"/>
                    <a:pt x="858" y="281"/>
                  </a:cubicBezTo>
                  <a:cubicBezTo>
                    <a:pt x="857" y="280"/>
                    <a:pt x="857" y="280"/>
                    <a:pt x="857" y="280"/>
                  </a:cubicBezTo>
                  <a:cubicBezTo>
                    <a:pt x="857" y="280"/>
                    <a:pt x="857" y="280"/>
                    <a:pt x="857" y="280"/>
                  </a:cubicBezTo>
                  <a:cubicBezTo>
                    <a:pt x="856" y="278"/>
                    <a:pt x="856" y="278"/>
                    <a:pt x="856" y="278"/>
                  </a:cubicBezTo>
                  <a:cubicBezTo>
                    <a:pt x="856" y="278"/>
                    <a:pt x="856" y="278"/>
                    <a:pt x="856" y="278"/>
                  </a:cubicBezTo>
                  <a:cubicBezTo>
                    <a:pt x="856" y="277"/>
                    <a:pt x="856" y="277"/>
                    <a:pt x="856" y="277"/>
                  </a:cubicBezTo>
                  <a:cubicBezTo>
                    <a:pt x="856" y="277"/>
                    <a:pt x="856" y="277"/>
                    <a:pt x="856" y="277"/>
                  </a:cubicBezTo>
                  <a:cubicBezTo>
                    <a:pt x="857" y="277"/>
                    <a:pt x="857" y="276"/>
                    <a:pt x="858" y="276"/>
                  </a:cubicBezTo>
                  <a:cubicBezTo>
                    <a:pt x="858" y="275"/>
                    <a:pt x="858" y="275"/>
                    <a:pt x="858" y="275"/>
                  </a:cubicBezTo>
                  <a:cubicBezTo>
                    <a:pt x="859" y="275"/>
                    <a:pt x="859" y="275"/>
                    <a:pt x="859" y="275"/>
                  </a:cubicBezTo>
                  <a:cubicBezTo>
                    <a:pt x="859" y="275"/>
                    <a:pt x="859" y="275"/>
                    <a:pt x="859" y="275"/>
                  </a:cubicBezTo>
                  <a:cubicBezTo>
                    <a:pt x="861" y="274"/>
                    <a:pt x="861" y="274"/>
                    <a:pt x="861" y="274"/>
                  </a:cubicBezTo>
                  <a:cubicBezTo>
                    <a:pt x="862" y="273"/>
                    <a:pt x="862" y="273"/>
                    <a:pt x="862" y="273"/>
                  </a:cubicBezTo>
                  <a:cubicBezTo>
                    <a:pt x="862" y="273"/>
                    <a:pt x="862" y="273"/>
                    <a:pt x="862" y="273"/>
                  </a:cubicBezTo>
                  <a:cubicBezTo>
                    <a:pt x="862" y="273"/>
                    <a:pt x="862" y="273"/>
                    <a:pt x="862" y="273"/>
                  </a:cubicBezTo>
                  <a:cubicBezTo>
                    <a:pt x="862" y="272"/>
                    <a:pt x="862" y="272"/>
                    <a:pt x="862" y="272"/>
                  </a:cubicBezTo>
                  <a:cubicBezTo>
                    <a:pt x="862" y="272"/>
                    <a:pt x="862" y="272"/>
                    <a:pt x="862" y="272"/>
                  </a:cubicBezTo>
                  <a:cubicBezTo>
                    <a:pt x="862" y="272"/>
                    <a:pt x="862" y="272"/>
                    <a:pt x="862" y="272"/>
                  </a:cubicBezTo>
                  <a:cubicBezTo>
                    <a:pt x="862" y="272"/>
                    <a:pt x="862" y="272"/>
                    <a:pt x="862" y="272"/>
                  </a:cubicBezTo>
                  <a:cubicBezTo>
                    <a:pt x="862" y="271"/>
                    <a:pt x="862" y="270"/>
                    <a:pt x="862" y="269"/>
                  </a:cubicBezTo>
                  <a:cubicBezTo>
                    <a:pt x="862" y="269"/>
                    <a:pt x="862" y="269"/>
                    <a:pt x="862" y="269"/>
                  </a:cubicBezTo>
                  <a:cubicBezTo>
                    <a:pt x="862" y="269"/>
                    <a:pt x="862" y="269"/>
                    <a:pt x="862" y="269"/>
                  </a:cubicBezTo>
                  <a:cubicBezTo>
                    <a:pt x="861" y="268"/>
                    <a:pt x="861" y="268"/>
                    <a:pt x="861" y="268"/>
                  </a:cubicBezTo>
                  <a:cubicBezTo>
                    <a:pt x="861" y="268"/>
                    <a:pt x="861" y="268"/>
                    <a:pt x="861" y="268"/>
                  </a:cubicBezTo>
                  <a:cubicBezTo>
                    <a:pt x="861" y="268"/>
                    <a:pt x="861" y="268"/>
                    <a:pt x="861" y="268"/>
                  </a:cubicBezTo>
                  <a:cubicBezTo>
                    <a:pt x="861" y="267"/>
                    <a:pt x="861" y="267"/>
                    <a:pt x="861" y="267"/>
                  </a:cubicBezTo>
                  <a:cubicBezTo>
                    <a:pt x="862" y="265"/>
                    <a:pt x="862" y="265"/>
                    <a:pt x="862" y="265"/>
                  </a:cubicBezTo>
                  <a:cubicBezTo>
                    <a:pt x="862" y="264"/>
                    <a:pt x="862" y="264"/>
                    <a:pt x="862" y="264"/>
                  </a:cubicBezTo>
                  <a:cubicBezTo>
                    <a:pt x="862" y="263"/>
                    <a:pt x="862" y="263"/>
                    <a:pt x="862" y="263"/>
                  </a:cubicBezTo>
                  <a:cubicBezTo>
                    <a:pt x="862" y="263"/>
                    <a:pt x="862" y="263"/>
                    <a:pt x="862" y="263"/>
                  </a:cubicBezTo>
                  <a:cubicBezTo>
                    <a:pt x="862" y="262"/>
                    <a:pt x="862" y="262"/>
                    <a:pt x="862" y="262"/>
                  </a:cubicBezTo>
                  <a:cubicBezTo>
                    <a:pt x="862" y="262"/>
                    <a:pt x="862" y="262"/>
                    <a:pt x="862" y="262"/>
                  </a:cubicBezTo>
                  <a:cubicBezTo>
                    <a:pt x="863" y="261"/>
                    <a:pt x="863" y="261"/>
                    <a:pt x="863" y="261"/>
                  </a:cubicBezTo>
                  <a:cubicBezTo>
                    <a:pt x="863" y="260"/>
                    <a:pt x="863" y="260"/>
                    <a:pt x="863" y="260"/>
                  </a:cubicBezTo>
                  <a:cubicBezTo>
                    <a:pt x="863" y="260"/>
                    <a:pt x="863" y="260"/>
                    <a:pt x="863" y="260"/>
                  </a:cubicBezTo>
                  <a:cubicBezTo>
                    <a:pt x="863" y="258"/>
                    <a:pt x="864" y="258"/>
                    <a:pt x="863" y="257"/>
                  </a:cubicBezTo>
                  <a:cubicBezTo>
                    <a:pt x="863" y="257"/>
                    <a:pt x="863" y="257"/>
                    <a:pt x="863" y="257"/>
                  </a:cubicBezTo>
                  <a:cubicBezTo>
                    <a:pt x="862" y="256"/>
                    <a:pt x="862" y="256"/>
                    <a:pt x="862" y="256"/>
                  </a:cubicBezTo>
                  <a:cubicBezTo>
                    <a:pt x="861" y="255"/>
                    <a:pt x="861" y="256"/>
                    <a:pt x="861" y="254"/>
                  </a:cubicBezTo>
                  <a:cubicBezTo>
                    <a:pt x="861" y="254"/>
                    <a:pt x="861" y="254"/>
                    <a:pt x="861" y="254"/>
                  </a:cubicBezTo>
                  <a:cubicBezTo>
                    <a:pt x="860" y="254"/>
                    <a:pt x="860" y="254"/>
                    <a:pt x="860" y="254"/>
                  </a:cubicBezTo>
                  <a:cubicBezTo>
                    <a:pt x="860" y="254"/>
                    <a:pt x="860" y="254"/>
                    <a:pt x="860" y="254"/>
                  </a:cubicBezTo>
                  <a:cubicBezTo>
                    <a:pt x="860" y="253"/>
                    <a:pt x="860" y="253"/>
                    <a:pt x="860" y="253"/>
                  </a:cubicBezTo>
                  <a:cubicBezTo>
                    <a:pt x="860" y="253"/>
                    <a:pt x="860" y="253"/>
                    <a:pt x="860" y="253"/>
                  </a:cubicBezTo>
                  <a:cubicBezTo>
                    <a:pt x="860" y="253"/>
                    <a:pt x="860" y="253"/>
                    <a:pt x="860" y="253"/>
                  </a:cubicBezTo>
                  <a:cubicBezTo>
                    <a:pt x="859" y="251"/>
                    <a:pt x="861" y="250"/>
                    <a:pt x="859" y="248"/>
                  </a:cubicBezTo>
                  <a:cubicBezTo>
                    <a:pt x="859" y="248"/>
                    <a:pt x="859" y="248"/>
                    <a:pt x="859" y="248"/>
                  </a:cubicBezTo>
                  <a:cubicBezTo>
                    <a:pt x="859" y="248"/>
                    <a:pt x="859" y="248"/>
                    <a:pt x="859" y="248"/>
                  </a:cubicBezTo>
                  <a:cubicBezTo>
                    <a:pt x="858" y="247"/>
                    <a:pt x="856" y="247"/>
                    <a:pt x="855" y="246"/>
                  </a:cubicBezTo>
                  <a:cubicBezTo>
                    <a:pt x="854" y="246"/>
                    <a:pt x="854" y="246"/>
                    <a:pt x="854" y="246"/>
                  </a:cubicBezTo>
                  <a:cubicBezTo>
                    <a:pt x="854" y="246"/>
                    <a:pt x="854" y="246"/>
                    <a:pt x="854" y="246"/>
                  </a:cubicBezTo>
                  <a:cubicBezTo>
                    <a:pt x="854" y="246"/>
                    <a:pt x="854" y="246"/>
                    <a:pt x="854" y="246"/>
                  </a:cubicBezTo>
                  <a:cubicBezTo>
                    <a:pt x="850" y="244"/>
                    <a:pt x="849" y="244"/>
                    <a:pt x="847" y="241"/>
                  </a:cubicBezTo>
                  <a:cubicBezTo>
                    <a:pt x="847" y="241"/>
                    <a:pt x="847" y="241"/>
                    <a:pt x="847" y="241"/>
                  </a:cubicBezTo>
                  <a:cubicBezTo>
                    <a:pt x="846" y="240"/>
                    <a:pt x="846" y="240"/>
                    <a:pt x="846" y="240"/>
                  </a:cubicBezTo>
                  <a:cubicBezTo>
                    <a:pt x="846" y="240"/>
                    <a:pt x="846" y="240"/>
                    <a:pt x="846" y="240"/>
                  </a:cubicBezTo>
                  <a:cubicBezTo>
                    <a:pt x="846" y="240"/>
                    <a:pt x="846" y="240"/>
                    <a:pt x="846" y="240"/>
                  </a:cubicBezTo>
                  <a:cubicBezTo>
                    <a:pt x="846" y="240"/>
                    <a:pt x="846" y="240"/>
                    <a:pt x="846" y="240"/>
                  </a:cubicBezTo>
                  <a:cubicBezTo>
                    <a:pt x="846" y="240"/>
                    <a:pt x="846" y="240"/>
                    <a:pt x="846" y="240"/>
                  </a:cubicBezTo>
                  <a:cubicBezTo>
                    <a:pt x="845" y="239"/>
                    <a:pt x="845" y="239"/>
                    <a:pt x="845" y="239"/>
                  </a:cubicBezTo>
                  <a:cubicBezTo>
                    <a:pt x="844" y="237"/>
                    <a:pt x="843" y="235"/>
                    <a:pt x="846" y="234"/>
                  </a:cubicBezTo>
                  <a:cubicBezTo>
                    <a:pt x="846" y="234"/>
                    <a:pt x="846" y="234"/>
                    <a:pt x="846" y="234"/>
                  </a:cubicBezTo>
                  <a:cubicBezTo>
                    <a:pt x="846" y="234"/>
                    <a:pt x="846" y="234"/>
                    <a:pt x="846" y="234"/>
                  </a:cubicBezTo>
                  <a:cubicBezTo>
                    <a:pt x="847" y="233"/>
                    <a:pt x="847" y="234"/>
                    <a:pt x="850" y="233"/>
                  </a:cubicBezTo>
                  <a:cubicBezTo>
                    <a:pt x="850" y="232"/>
                    <a:pt x="850" y="232"/>
                    <a:pt x="850" y="232"/>
                  </a:cubicBezTo>
                  <a:cubicBezTo>
                    <a:pt x="851" y="231"/>
                    <a:pt x="851" y="231"/>
                    <a:pt x="851" y="231"/>
                  </a:cubicBezTo>
                  <a:cubicBezTo>
                    <a:pt x="853" y="228"/>
                    <a:pt x="853" y="228"/>
                    <a:pt x="853" y="228"/>
                  </a:cubicBezTo>
                  <a:cubicBezTo>
                    <a:pt x="853" y="225"/>
                    <a:pt x="853" y="225"/>
                    <a:pt x="853" y="225"/>
                  </a:cubicBezTo>
                  <a:cubicBezTo>
                    <a:pt x="854" y="224"/>
                    <a:pt x="854" y="224"/>
                    <a:pt x="854" y="224"/>
                  </a:cubicBezTo>
                  <a:cubicBezTo>
                    <a:pt x="854" y="223"/>
                    <a:pt x="854" y="223"/>
                    <a:pt x="854" y="223"/>
                  </a:cubicBezTo>
                  <a:cubicBezTo>
                    <a:pt x="854" y="223"/>
                    <a:pt x="854" y="223"/>
                    <a:pt x="854" y="223"/>
                  </a:cubicBezTo>
                  <a:cubicBezTo>
                    <a:pt x="854" y="223"/>
                    <a:pt x="854" y="223"/>
                    <a:pt x="854" y="223"/>
                  </a:cubicBezTo>
                  <a:cubicBezTo>
                    <a:pt x="854" y="223"/>
                    <a:pt x="854" y="223"/>
                    <a:pt x="854" y="223"/>
                  </a:cubicBezTo>
                  <a:cubicBezTo>
                    <a:pt x="854" y="223"/>
                    <a:pt x="854" y="223"/>
                    <a:pt x="854" y="223"/>
                  </a:cubicBezTo>
                  <a:cubicBezTo>
                    <a:pt x="855" y="222"/>
                    <a:pt x="855" y="222"/>
                    <a:pt x="855" y="222"/>
                  </a:cubicBezTo>
                  <a:cubicBezTo>
                    <a:pt x="855" y="222"/>
                    <a:pt x="855" y="222"/>
                    <a:pt x="855" y="222"/>
                  </a:cubicBezTo>
                  <a:cubicBezTo>
                    <a:pt x="856" y="222"/>
                    <a:pt x="856" y="222"/>
                    <a:pt x="856" y="222"/>
                  </a:cubicBezTo>
                  <a:cubicBezTo>
                    <a:pt x="856" y="222"/>
                    <a:pt x="856" y="222"/>
                    <a:pt x="856" y="222"/>
                  </a:cubicBezTo>
                  <a:cubicBezTo>
                    <a:pt x="857" y="221"/>
                    <a:pt x="857" y="221"/>
                    <a:pt x="857" y="221"/>
                  </a:cubicBezTo>
                  <a:cubicBezTo>
                    <a:pt x="858" y="218"/>
                    <a:pt x="858" y="218"/>
                    <a:pt x="858" y="218"/>
                  </a:cubicBezTo>
                  <a:cubicBezTo>
                    <a:pt x="858" y="217"/>
                    <a:pt x="858" y="217"/>
                    <a:pt x="858" y="217"/>
                  </a:cubicBezTo>
                  <a:cubicBezTo>
                    <a:pt x="859" y="216"/>
                    <a:pt x="859" y="216"/>
                    <a:pt x="859" y="216"/>
                  </a:cubicBezTo>
                  <a:cubicBezTo>
                    <a:pt x="859" y="215"/>
                    <a:pt x="859" y="215"/>
                    <a:pt x="859" y="215"/>
                  </a:cubicBezTo>
                  <a:cubicBezTo>
                    <a:pt x="860" y="214"/>
                    <a:pt x="860" y="214"/>
                    <a:pt x="860" y="214"/>
                  </a:cubicBezTo>
                  <a:cubicBezTo>
                    <a:pt x="863" y="210"/>
                    <a:pt x="863" y="210"/>
                    <a:pt x="863" y="210"/>
                  </a:cubicBezTo>
                  <a:cubicBezTo>
                    <a:pt x="864" y="208"/>
                    <a:pt x="864" y="208"/>
                    <a:pt x="864" y="208"/>
                  </a:cubicBezTo>
                  <a:cubicBezTo>
                    <a:pt x="864" y="208"/>
                    <a:pt x="864" y="208"/>
                    <a:pt x="864" y="208"/>
                  </a:cubicBezTo>
                  <a:cubicBezTo>
                    <a:pt x="864" y="207"/>
                    <a:pt x="864" y="207"/>
                    <a:pt x="864" y="207"/>
                  </a:cubicBezTo>
                  <a:cubicBezTo>
                    <a:pt x="864" y="207"/>
                    <a:pt x="864" y="207"/>
                    <a:pt x="864" y="207"/>
                  </a:cubicBezTo>
                  <a:cubicBezTo>
                    <a:pt x="864" y="207"/>
                    <a:pt x="864" y="207"/>
                    <a:pt x="864" y="207"/>
                  </a:cubicBezTo>
                  <a:cubicBezTo>
                    <a:pt x="864" y="207"/>
                    <a:pt x="864" y="207"/>
                    <a:pt x="864" y="207"/>
                  </a:cubicBezTo>
                  <a:cubicBezTo>
                    <a:pt x="864" y="207"/>
                    <a:pt x="864" y="207"/>
                    <a:pt x="864" y="207"/>
                  </a:cubicBezTo>
                  <a:cubicBezTo>
                    <a:pt x="863" y="206"/>
                    <a:pt x="863" y="206"/>
                    <a:pt x="863" y="206"/>
                  </a:cubicBezTo>
                  <a:cubicBezTo>
                    <a:pt x="863" y="206"/>
                    <a:pt x="863" y="206"/>
                    <a:pt x="863" y="206"/>
                  </a:cubicBezTo>
                  <a:cubicBezTo>
                    <a:pt x="863" y="205"/>
                    <a:pt x="863" y="205"/>
                    <a:pt x="863" y="205"/>
                  </a:cubicBezTo>
                  <a:cubicBezTo>
                    <a:pt x="863" y="205"/>
                    <a:pt x="863" y="205"/>
                    <a:pt x="863" y="205"/>
                  </a:cubicBezTo>
                  <a:cubicBezTo>
                    <a:pt x="863" y="205"/>
                    <a:pt x="863" y="205"/>
                    <a:pt x="863" y="205"/>
                  </a:cubicBezTo>
                  <a:cubicBezTo>
                    <a:pt x="863" y="205"/>
                    <a:pt x="863" y="205"/>
                    <a:pt x="863" y="205"/>
                  </a:cubicBezTo>
                  <a:cubicBezTo>
                    <a:pt x="863" y="204"/>
                    <a:pt x="863" y="204"/>
                    <a:pt x="863" y="204"/>
                  </a:cubicBezTo>
                  <a:cubicBezTo>
                    <a:pt x="863" y="204"/>
                    <a:pt x="863" y="204"/>
                    <a:pt x="863" y="204"/>
                  </a:cubicBezTo>
                  <a:cubicBezTo>
                    <a:pt x="863" y="204"/>
                    <a:pt x="863" y="204"/>
                    <a:pt x="863" y="204"/>
                  </a:cubicBezTo>
                  <a:cubicBezTo>
                    <a:pt x="863" y="203"/>
                    <a:pt x="863" y="203"/>
                    <a:pt x="863" y="203"/>
                  </a:cubicBezTo>
                  <a:cubicBezTo>
                    <a:pt x="863" y="203"/>
                    <a:pt x="863" y="203"/>
                    <a:pt x="863" y="203"/>
                  </a:cubicBezTo>
                  <a:cubicBezTo>
                    <a:pt x="863" y="200"/>
                    <a:pt x="863" y="200"/>
                    <a:pt x="863" y="200"/>
                  </a:cubicBezTo>
                  <a:cubicBezTo>
                    <a:pt x="863" y="198"/>
                    <a:pt x="863" y="198"/>
                    <a:pt x="863" y="198"/>
                  </a:cubicBezTo>
                  <a:cubicBezTo>
                    <a:pt x="863" y="194"/>
                    <a:pt x="863" y="194"/>
                    <a:pt x="863" y="194"/>
                  </a:cubicBezTo>
                  <a:cubicBezTo>
                    <a:pt x="863" y="193"/>
                    <a:pt x="863" y="193"/>
                    <a:pt x="863" y="193"/>
                  </a:cubicBezTo>
                  <a:cubicBezTo>
                    <a:pt x="862" y="192"/>
                    <a:pt x="862" y="192"/>
                    <a:pt x="862" y="192"/>
                  </a:cubicBezTo>
                  <a:cubicBezTo>
                    <a:pt x="861" y="192"/>
                    <a:pt x="859" y="191"/>
                    <a:pt x="858" y="191"/>
                  </a:cubicBezTo>
                  <a:cubicBezTo>
                    <a:pt x="857" y="191"/>
                    <a:pt x="857" y="191"/>
                    <a:pt x="857" y="191"/>
                  </a:cubicBezTo>
                  <a:cubicBezTo>
                    <a:pt x="857" y="190"/>
                    <a:pt x="857" y="190"/>
                    <a:pt x="857" y="190"/>
                  </a:cubicBezTo>
                  <a:cubicBezTo>
                    <a:pt x="857" y="190"/>
                    <a:pt x="857" y="190"/>
                    <a:pt x="857" y="190"/>
                  </a:cubicBezTo>
                  <a:cubicBezTo>
                    <a:pt x="856" y="190"/>
                    <a:pt x="856" y="190"/>
                    <a:pt x="856" y="190"/>
                  </a:cubicBezTo>
                  <a:cubicBezTo>
                    <a:pt x="855" y="190"/>
                    <a:pt x="853" y="189"/>
                    <a:pt x="851" y="189"/>
                  </a:cubicBezTo>
                  <a:cubicBezTo>
                    <a:pt x="851" y="189"/>
                    <a:pt x="851" y="189"/>
                    <a:pt x="851" y="189"/>
                  </a:cubicBezTo>
                  <a:cubicBezTo>
                    <a:pt x="851" y="189"/>
                    <a:pt x="851" y="189"/>
                    <a:pt x="851" y="189"/>
                  </a:cubicBezTo>
                  <a:cubicBezTo>
                    <a:pt x="848" y="188"/>
                    <a:pt x="849" y="189"/>
                    <a:pt x="847" y="189"/>
                  </a:cubicBezTo>
                  <a:cubicBezTo>
                    <a:pt x="847" y="189"/>
                    <a:pt x="847" y="189"/>
                    <a:pt x="847" y="189"/>
                  </a:cubicBezTo>
                  <a:cubicBezTo>
                    <a:pt x="846" y="189"/>
                    <a:pt x="846" y="189"/>
                    <a:pt x="846" y="189"/>
                  </a:cubicBezTo>
                  <a:cubicBezTo>
                    <a:pt x="846" y="189"/>
                    <a:pt x="846" y="189"/>
                    <a:pt x="846" y="189"/>
                  </a:cubicBezTo>
                  <a:cubicBezTo>
                    <a:pt x="845" y="189"/>
                    <a:pt x="845" y="189"/>
                    <a:pt x="845" y="189"/>
                  </a:cubicBezTo>
                  <a:cubicBezTo>
                    <a:pt x="844" y="189"/>
                    <a:pt x="844" y="189"/>
                    <a:pt x="844" y="189"/>
                  </a:cubicBezTo>
                  <a:cubicBezTo>
                    <a:pt x="845" y="189"/>
                    <a:pt x="845" y="189"/>
                    <a:pt x="845" y="189"/>
                  </a:cubicBezTo>
                  <a:cubicBezTo>
                    <a:pt x="845" y="189"/>
                    <a:pt x="845" y="189"/>
                    <a:pt x="845" y="189"/>
                  </a:cubicBezTo>
                  <a:cubicBezTo>
                    <a:pt x="847" y="188"/>
                    <a:pt x="847" y="188"/>
                    <a:pt x="847" y="188"/>
                  </a:cubicBezTo>
                  <a:cubicBezTo>
                    <a:pt x="847" y="188"/>
                    <a:pt x="847" y="188"/>
                    <a:pt x="847" y="188"/>
                  </a:cubicBezTo>
                  <a:cubicBezTo>
                    <a:pt x="847" y="188"/>
                    <a:pt x="847" y="188"/>
                    <a:pt x="847" y="188"/>
                  </a:cubicBezTo>
                  <a:cubicBezTo>
                    <a:pt x="847" y="188"/>
                    <a:pt x="847" y="188"/>
                    <a:pt x="847" y="188"/>
                  </a:cubicBezTo>
                  <a:cubicBezTo>
                    <a:pt x="846" y="188"/>
                    <a:pt x="846" y="188"/>
                    <a:pt x="846" y="188"/>
                  </a:cubicBezTo>
                  <a:cubicBezTo>
                    <a:pt x="846" y="187"/>
                    <a:pt x="846" y="187"/>
                    <a:pt x="846" y="187"/>
                  </a:cubicBezTo>
                  <a:cubicBezTo>
                    <a:pt x="840" y="187"/>
                    <a:pt x="841" y="185"/>
                    <a:pt x="835" y="186"/>
                  </a:cubicBezTo>
                  <a:cubicBezTo>
                    <a:pt x="835" y="186"/>
                    <a:pt x="835" y="186"/>
                    <a:pt x="835" y="186"/>
                  </a:cubicBezTo>
                  <a:cubicBezTo>
                    <a:pt x="835" y="186"/>
                    <a:pt x="835" y="186"/>
                    <a:pt x="835" y="186"/>
                  </a:cubicBezTo>
                  <a:cubicBezTo>
                    <a:pt x="834" y="186"/>
                    <a:pt x="834" y="186"/>
                    <a:pt x="834" y="186"/>
                  </a:cubicBezTo>
                  <a:cubicBezTo>
                    <a:pt x="832" y="186"/>
                    <a:pt x="832" y="185"/>
                    <a:pt x="830" y="186"/>
                  </a:cubicBezTo>
                  <a:cubicBezTo>
                    <a:pt x="830" y="186"/>
                    <a:pt x="830" y="186"/>
                    <a:pt x="830" y="186"/>
                  </a:cubicBezTo>
                  <a:cubicBezTo>
                    <a:pt x="829" y="186"/>
                    <a:pt x="829" y="186"/>
                    <a:pt x="829" y="186"/>
                  </a:cubicBezTo>
                  <a:cubicBezTo>
                    <a:pt x="827" y="185"/>
                    <a:pt x="827" y="186"/>
                    <a:pt x="825" y="186"/>
                  </a:cubicBezTo>
                  <a:cubicBezTo>
                    <a:pt x="825" y="186"/>
                    <a:pt x="825" y="186"/>
                    <a:pt x="825" y="186"/>
                  </a:cubicBezTo>
                  <a:cubicBezTo>
                    <a:pt x="824" y="186"/>
                    <a:pt x="824" y="186"/>
                    <a:pt x="824" y="186"/>
                  </a:cubicBezTo>
                  <a:cubicBezTo>
                    <a:pt x="824" y="186"/>
                    <a:pt x="824" y="186"/>
                    <a:pt x="824" y="186"/>
                  </a:cubicBezTo>
                  <a:cubicBezTo>
                    <a:pt x="824" y="186"/>
                    <a:pt x="824" y="186"/>
                    <a:pt x="824" y="186"/>
                  </a:cubicBezTo>
                  <a:cubicBezTo>
                    <a:pt x="823" y="186"/>
                    <a:pt x="823" y="186"/>
                    <a:pt x="823" y="186"/>
                  </a:cubicBezTo>
                  <a:cubicBezTo>
                    <a:pt x="820" y="186"/>
                    <a:pt x="817" y="185"/>
                    <a:pt x="813" y="186"/>
                  </a:cubicBezTo>
                  <a:cubicBezTo>
                    <a:pt x="812" y="186"/>
                    <a:pt x="812" y="186"/>
                    <a:pt x="812" y="186"/>
                  </a:cubicBezTo>
                  <a:cubicBezTo>
                    <a:pt x="812" y="186"/>
                    <a:pt x="812" y="186"/>
                    <a:pt x="812" y="186"/>
                  </a:cubicBezTo>
                  <a:cubicBezTo>
                    <a:pt x="812" y="186"/>
                    <a:pt x="812" y="186"/>
                    <a:pt x="812" y="186"/>
                  </a:cubicBezTo>
                  <a:cubicBezTo>
                    <a:pt x="810" y="186"/>
                    <a:pt x="809" y="186"/>
                    <a:pt x="808" y="186"/>
                  </a:cubicBezTo>
                  <a:cubicBezTo>
                    <a:pt x="807" y="186"/>
                    <a:pt x="807" y="186"/>
                    <a:pt x="807" y="186"/>
                  </a:cubicBezTo>
                  <a:cubicBezTo>
                    <a:pt x="806" y="186"/>
                    <a:pt x="805" y="187"/>
                    <a:pt x="803" y="187"/>
                  </a:cubicBezTo>
                  <a:cubicBezTo>
                    <a:pt x="802" y="186"/>
                    <a:pt x="802" y="186"/>
                    <a:pt x="802" y="186"/>
                  </a:cubicBezTo>
                  <a:cubicBezTo>
                    <a:pt x="801" y="186"/>
                    <a:pt x="801" y="186"/>
                    <a:pt x="801" y="186"/>
                  </a:cubicBezTo>
                  <a:cubicBezTo>
                    <a:pt x="801" y="186"/>
                    <a:pt x="801" y="186"/>
                    <a:pt x="801" y="186"/>
                  </a:cubicBezTo>
                  <a:cubicBezTo>
                    <a:pt x="801" y="185"/>
                    <a:pt x="801" y="185"/>
                    <a:pt x="801" y="185"/>
                  </a:cubicBezTo>
                  <a:cubicBezTo>
                    <a:pt x="801" y="185"/>
                    <a:pt x="801" y="185"/>
                    <a:pt x="801" y="185"/>
                  </a:cubicBezTo>
                  <a:cubicBezTo>
                    <a:pt x="803" y="185"/>
                    <a:pt x="803" y="185"/>
                    <a:pt x="805" y="184"/>
                  </a:cubicBezTo>
                  <a:cubicBezTo>
                    <a:pt x="805" y="184"/>
                    <a:pt x="805" y="184"/>
                    <a:pt x="805" y="184"/>
                  </a:cubicBezTo>
                  <a:cubicBezTo>
                    <a:pt x="805" y="183"/>
                    <a:pt x="805" y="183"/>
                    <a:pt x="805" y="183"/>
                  </a:cubicBezTo>
                  <a:cubicBezTo>
                    <a:pt x="804" y="183"/>
                    <a:pt x="804" y="183"/>
                    <a:pt x="804" y="183"/>
                  </a:cubicBezTo>
                  <a:cubicBezTo>
                    <a:pt x="804" y="183"/>
                    <a:pt x="804" y="183"/>
                    <a:pt x="804" y="183"/>
                  </a:cubicBezTo>
                  <a:cubicBezTo>
                    <a:pt x="803" y="183"/>
                    <a:pt x="803" y="183"/>
                    <a:pt x="803" y="183"/>
                  </a:cubicBezTo>
                  <a:cubicBezTo>
                    <a:pt x="802" y="183"/>
                    <a:pt x="796" y="183"/>
                    <a:pt x="796" y="185"/>
                  </a:cubicBezTo>
                  <a:cubicBezTo>
                    <a:pt x="796" y="185"/>
                    <a:pt x="796" y="185"/>
                    <a:pt x="796" y="185"/>
                  </a:cubicBezTo>
                  <a:cubicBezTo>
                    <a:pt x="796" y="186"/>
                    <a:pt x="796" y="186"/>
                    <a:pt x="796" y="186"/>
                  </a:cubicBezTo>
                  <a:cubicBezTo>
                    <a:pt x="796" y="186"/>
                    <a:pt x="796" y="186"/>
                    <a:pt x="796" y="186"/>
                  </a:cubicBezTo>
                  <a:cubicBezTo>
                    <a:pt x="796" y="187"/>
                    <a:pt x="796" y="187"/>
                    <a:pt x="795" y="188"/>
                  </a:cubicBezTo>
                  <a:cubicBezTo>
                    <a:pt x="795" y="188"/>
                    <a:pt x="795" y="188"/>
                    <a:pt x="795" y="188"/>
                  </a:cubicBezTo>
                  <a:cubicBezTo>
                    <a:pt x="795" y="188"/>
                    <a:pt x="795" y="188"/>
                    <a:pt x="795" y="188"/>
                  </a:cubicBezTo>
                  <a:cubicBezTo>
                    <a:pt x="795" y="189"/>
                    <a:pt x="794" y="190"/>
                    <a:pt x="793" y="191"/>
                  </a:cubicBezTo>
                  <a:cubicBezTo>
                    <a:pt x="793" y="191"/>
                    <a:pt x="793" y="191"/>
                    <a:pt x="793" y="191"/>
                  </a:cubicBezTo>
                  <a:cubicBezTo>
                    <a:pt x="793" y="191"/>
                    <a:pt x="793" y="191"/>
                    <a:pt x="793" y="191"/>
                  </a:cubicBezTo>
                  <a:cubicBezTo>
                    <a:pt x="792" y="191"/>
                    <a:pt x="792" y="191"/>
                    <a:pt x="792" y="191"/>
                  </a:cubicBezTo>
                  <a:cubicBezTo>
                    <a:pt x="792" y="191"/>
                    <a:pt x="792" y="191"/>
                    <a:pt x="792" y="191"/>
                  </a:cubicBezTo>
                  <a:cubicBezTo>
                    <a:pt x="791" y="192"/>
                    <a:pt x="791" y="192"/>
                    <a:pt x="791" y="192"/>
                  </a:cubicBezTo>
                  <a:cubicBezTo>
                    <a:pt x="791" y="192"/>
                    <a:pt x="791" y="192"/>
                    <a:pt x="791" y="192"/>
                  </a:cubicBezTo>
                  <a:cubicBezTo>
                    <a:pt x="791" y="193"/>
                    <a:pt x="791" y="193"/>
                    <a:pt x="791" y="193"/>
                  </a:cubicBezTo>
                  <a:cubicBezTo>
                    <a:pt x="791" y="194"/>
                    <a:pt x="791" y="194"/>
                    <a:pt x="791" y="194"/>
                  </a:cubicBezTo>
                  <a:cubicBezTo>
                    <a:pt x="791" y="194"/>
                    <a:pt x="791" y="194"/>
                    <a:pt x="791" y="194"/>
                  </a:cubicBezTo>
                  <a:cubicBezTo>
                    <a:pt x="791" y="195"/>
                    <a:pt x="791" y="195"/>
                    <a:pt x="791" y="195"/>
                  </a:cubicBezTo>
                  <a:cubicBezTo>
                    <a:pt x="790" y="195"/>
                    <a:pt x="790" y="195"/>
                    <a:pt x="790" y="195"/>
                  </a:cubicBezTo>
                  <a:cubicBezTo>
                    <a:pt x="790" y="195"/>
                    <a:pt x="790" y="195"/>
                    <a:pt x="790" y="195"/>
                  </a:cubicBezTo>
                  <a:cubicBezTo>
                    <a:pt x="790" y="195"/>
                    <a:pt x="790" y="195"/>
                    <a:pt x="790" y="195"/>
                  </a:cubicBezTo>
                  <a:cubicBezTo>
                    <a:pt x="790" y="195"/>
                    <a:pt x="790" y="195"/>
                    <a:pt x="790" y="195"/>
                  </a:cubicBezTo>
                  <a:cubicBezTo>
                    <a:pt x="790" y="195"/>
                    <a:pt x="790" y="195"/>
                    <a:pt x="790" y="195"/>
                  </a:cubicBezTo>
                  <a:cubicBezTo>
                    <a:pt x="790" y="195"/>
                    <a:pt x="790" y="195"/>
                    <a:pt x="790" y="195"/>
                  </a:cubicBezTo>
                  <a:cubicBezTo>
                    <a:pt x="789" y="196"/>
                    <a:pt x="789" y="197"/>
                    <a:pt x="789" y="197"/>
                  </a:cubicBezTo>
                  <a:cubicBezTo>
                    <a:pt x="789" y="197"/>
                    <a:pt x="789" y="197"/>
                    <a:pt x="789" y="197"/>
                  </a:cubicBezTo>
                  <a:cubicBezTo>
                    <a:pt x="789" y="198"/>
                    <a:pt x="789" y="198"/>
                    <a:pt x="789" y="198"/>
                  </a:cubicBezTo>
                  <a:cubicBezTo>
                    <a:pt x="789" y="198"/>
                    <a:pt x="789" y="198"/>
                    <a:pt x="789" y="198"/>
                  </a:cubicBezTo>
                  <a:cubicBezTo>
                    <a:pt x="789" y="198"/>
                    <a:pt x="789" y="198"/>
                    <a:pt x="789" y="198"/>
                  </a:cubicBezTo>
                  <a:cubicBezTo>
                    <a:pt x="788" y="199"/>
                    <a:pt x="788" y="199"/>
                    <a:pt x="788" y="199"/>
                  </a:cubicBezTo>
                  <a:cubicBezTo>
                    <a:pt x="788" y="199"/>
                    <a:pt x="788" y="199"/>
                    <a:pt x="788" y="199"/>
                  </a:cubicBezTo>
                  <a:cubicBezTo>
                    <a:pt x="788" y="200"/>
                    <a:pt x="788" y="200"/>
                    <a:pt x="788" y="200"/>
                  </a:cubicBezTo>
                  <a:cubicBezTo>
                    <a:pt x="788" y="201"/>
                    <a:pt x="788" y="201"/>
                    <a:pt x="788" y="201"/>
                  </a:cubicBezTo>
                  <a:cubicBezTo>
                    <a:pt x="788" y="201"/>
                    <a:pt x="788" y="201"/>
                    <a:pt x="788" y="201"/>
                  </a:cubicBezTo>
                  <a:cubicBezTo>
                    <a:pt x="788" y="201"/>
                    <a:pt x="788" y="201"/>
                    <a:pt x="788" y="201"/>
                  </a:cubicBezTo>
                  <a:cubicBezTo>
                    <a:pt x="788" y="201"/>
                    <a:pt x="788" y="201"/>
                    <a:pt x="788" y="201"/>
                  </a:cubicBezTo>
                  <a:cubicBezTo>
                    <a:pt x="788" y="202"/>
                    <a:pt x="788" y="202"/>
                    <a:pt x="788" y="202"/>
                  </a:cubicBezTo>
                  <a:cubicBezTo>
                    <a:pt x="787" y="202"/>
                    <a:pt x="787" y="202"/>
                    <a:pt x="787" y="202"/>
                  </a:cubicBezTo>
                  <a:cubicBezTo>
                    <a:pt x="787" y="202"/>
                    <a:pt x="787" y="202"/>
                    <a:pt x="787" y="202"/>
                  </a:cubicBezTo>
                  <a:cubicBezTo>
                    <a:pt x="787" y="202"/>
                    <a:pt x="787" y="202"/>
                    <a:pt x="787" y="202"/>
                  </a:cubicBezTo>
                  <a:cubicBezTo>
                    <a:pt x="787" y="202"/>
                    <a:pt x="787" y="202"/>
                    <a:pt x="787" y="202"/>
                  </a:cubicBezTo>
                  <a:cubicBezTo>
                    <a:pt x="787" y="203"/>
                    <a:pt x="787" y="203"/>
                    <a:pt x="787" y="203"/>
                  </a:cubicBezTo>
                  <a:cubicBezTo>
                    <a:pt x="787" y="203"/>
                    <a:pt x="787" y="203"/>
                    <a:pt x="787" y="203"/>
                  </a:cubicBezTo>
                  <a:cubicBezTo>
                    <a:pt x="787" y="203"/>
                    <a:pt x="787" y="203"/>
                    <a:pt x="787" y="203"/>
                  </a:cubicBezTo>
                  <a:cubicBezTo>
                    <a:pt x="787" y="203"/>
                    <a:pt x="787" y="203"/>
                    <a:pt x="787" y="203"/>
                  </a:cubicBezTo>
                  <a:cubicBezTo>
                    <a:pt x="787" y="204"/>
                    <a:pt x="787" y="204"/>
                    <a:pt x="787" y="204"/>
                  </a:cubicBezTo>
                  <a:cubicBezTo>
                    <a:pt x="787" y="204"/>
                    <a:pt x="787" y="204"/>
                    <a:pt x="787" y="204"/>
                  </a:cubicBezTo>
                  <a:cubicBezTo>
                    <a:pt x="787" y="204"/>
                    <a:pt x="787" y="204"/>
                    <a:pt x="787" y="204"/>
                  </a:cubicBezTo>
                  <a:cubicBezTo>
                    <a:pt x="787" y="204"/>
                    <a:pt x="787" y="204"/>
                    <a:pt x="787" y="204"/>
                  </a:cubicBezTo>
                  <a:cubicBezTo>
                    <a:pt x="787" y="204"/>
                    <a:pt x="787" y="204"/>
                    <a:pt x="787" y="204"/>
                  </a:cubicBezTo>
                  <a:cubicBezTo>
                    <a:pt x="787" y="205"/>
                    <a:pt x="787" y="205"/>
                    <a:pt x="787" y="205"/>
                  </a:cubicBezTo>
                  <a:cubicBezTo>
                    <a:pt x="787" y="205"/>
                    <a:pt x="787" y="205"/>
                    <a:pt x="787" y="205"/>
                  </a:cubicBezTo>
                  <a:cubicBezTo>
                    <a:pt x="787" y="205"/>
                    <a:pt x="787" y="205"/>
                    <a:pt x="787" y="205"/>
                  </a:cubicBezTo>
                  <a:cubicBezTo>
                    <a:pt x="787" y="205"/>
                    <a:pt x="787" y="205"/>
                    <a:pt x="787" y="205"/>
                  </a:cubicBezTo>
                  <a:cubicBezTo>
                    <a:pt x="787" y="206"/>
                    <a:pt x="787" y="206"/>
                    <a:pt x="787" y="206"/>
                  </a:cubicBezTo>
                  <a:cubicBezTo>
                    <a:pt x="787" y="206"/>
                    <a:pt x="787" y="206"/>
                    <a:pt x="787" y="206"/>
                  </a:cubicBezTo>
                  <a:cubicBezTo>
                    <a:pt x="787" y="206"/>
                    <a:pt x="787" y="206"/>
                    <a:pt x="787" y="206"/>
                  </a:cubicBezTo>
                  <a:cubicBezTo>
                    <a:pt x="787" y="207"/>
                    <a:pt x="786" y="206"/>
                    <a:pt x="786" y="208"/>
                  </a:cubicBezTo>
                  <a:cubicBezTo>
                    <a:pt x="786" y="208"/>
                    <a:pt x="786" y="208"/>
                    <a:pt x="786" y="208"/>
                  </a:cubicBezTo>
                  <a:cubicBezTo>
                    <a:pt x="786" y="208"/>
                    <a:pt x="786" y="208"/>
                    <a:pt x="786" y="208"/>
                  </a:cubicBezTo>
                  <a:cubicBezTo>
                    <a:pt x="785" y="209"/>
                    <a:pt x="785" y="209"/>
                    <a:pt x="785" y="210"/>
                  </a:cubicBezTo>
                  <a:cubicBezTo>
                    <a:pt x="785" y="211"/>
                    <a:pt x="785" y="211"/>
                    <a:pt x="785" y="211"/>
                  </a:cubicBezTo>
                  <a:cubicBezTo>
                    <a:pt x="785" y="211"/>
                    <a:pt x="785" y="211"/>
                    <a:pt x="785" y="211"/>
                  </a:cubicBezTo>
                  <a:cubicBezTo>
                    <a:pt x="785" y="211"/>
                    <a:pt x="785" y="211"/>
                    <a:pt x="785" y="211"/>
                  </a:cubicBezTo>
                  <a:cubicBezTo>
                    <a:pt x="785" y="211"/>
                    <a:pt x="785" y="211"/>
                    <a:pt x="785" y="211"/>
                  </a:cubicBezTo>
                  <a:cubicBezTo>
                    <a:pt x="785" y="212"/>
                    <a:pt x="784" y="213"/>
                    <a:pt x="784" y="213"/>
                  </a:cubicBezTo>
                  <a:cubicBezTo>
                    <a:pt x="784" y="214"/>
                    <a:pt x="784" y="214"/>
                    <a:pt x="784" y="214"/>
                  </a:cubicBezTo>
                  <a:cubicBezTo>
                    <a:pt x="784" y="215"/>
                    <a:pt x="784" y="215"/>
                    <a:pt x="784" y="216"/>
                  </a:cubicBezTo>
                  <a:cubicBezTo>
                    <a:pt x="784" y="216"/>
                    <a:pt x="784" y="216"/>
                    <a:pt x="784" y="216"/>
                  </a:cubicBezTo>
                  <a:cubicBezTo>
                    <a:pt x="784" y="216"/>
                    <a:pt x="784" y="216"/>
                    <a:pt x="784" y="216"/>
                  </a:cubicBezTo>
                  <a:cubicBezTo>
                    <a:pt x="784" y="217"/>
                    <a:pt x="784" y="217"/>
                    <a:pt x="784" y="217"/>
                  </a:cubicBezTo>
                  <a:cubicBezTo>
                    <a:pt x="783" y="217"/>
                    <a:pt x="783" y="217"/>
                    <a:pt x="783" y="217"/>
                  </a:cubicBezTo>
                  <a:cubicBezTo>
                    <a:pt x="783" y="217"/>
                    <a:pt x="783" y="217"/>
                    <a:pt x="783" y="217"/>
                  </a:cubicBezTo>
                  <a:cubicBezTo>
                    <a:pt x="783" y="218"/>
                    <a:pt x="782" y="218"/>
                    <a:pt x="782" y="219"/>
                  </a:cubicBezTo>
                  <a:cubicBezTo>
                    <a:pt x="782" y="219"/>
                    <a:pt x="782" y="219"/>
                    <a:pt x="782" y="219"/>
                  </a:cubicBezTo>
                  <a:cubicBezTo>
                    <a:pt x="782" y="219"/>
                    <a:pt x="782" y="219"/>
                    <a:pt x="782" y="219"/>
                  </a:cubicBezTo>
                  <a:cubicBezTo>
                    <a:pt x="782" y="221"/>
                    <a:pt x="782" y="221"/>
                    <a:pt x="781" y="221"/>
                  </a:cubicBezTo>
                  <a:cubicBezTo>
                    <a:pt x="781" y="222"/>
                    <a:pt x="781" y="222"/>
                    <a:pt x="781" y="222"/>
                  </a:cubicBezTo>
                  <a:cubicBezTo>
                    <a:pt x="781" y="222"/>
                    <a:pt x="781" y="222"/>
                    <a:pt x="781" y="222"/>
                  </a:cubicBezTo>
                  <a:cubicBezTo>
                    <a:pt x="781" y="222"/>
                    <a:pt x="781" y="222"/>
                    <a:pt x="781" y="222"/>
                  </a:cubicBezTo>
                  <a:cubicBezTo>
                    <a:pt x="780" y="226"/>
                    <a:pt x="780" y="224"/>
                    <a:pt x="778" y="227"/>
                  </a:cubicBezTo>
                  <a:cubicBezTo>
                    <a:pt x="778" y="228"/>
                    <a:pt x="778" y="228"/>
                    <a:pt x="778" y="228"/>
                  </a:cubicBezTo>
                  <a:cubicBezTo>
                    <a:pt x="778" y="228"/>
                    <a:pt x="778" y="228"/>
                    <a:pt x="778" y="228"/>
                  </a:cubicBezTo>
                  <a:cubicBezTo>
                    <a:pt x="778" y="229"/>
                    <a:pt x="778" y="229"/>
                    <a:pt x="778" y="229"/>
                  </a:cubicBezTo>
                  <a:cubicBezTo>
                    <a:pt x="778" y="229"/>
                    <a:pt x="778" y="229"/>
                    <a:pt x="778" y="229"/>
                  </a:cubicBezTo>
                  <a:cubicBezTo>
                    <a:pt x="778" y="229"/>
                    <a:pt x="778" y="229"/>
                    <a:pt x="778" y="229"/>
                  </a:cubicBezTo>
                  <a:cubicBezTo>
                    <a:pt x="777" y="229"/>
                    <a:pt x="777" y="229"/>
                    <a:pt x="777" y="229"/>
                  </a:cubicBezTo>
                  <a:cubicBezTo>
                    <a:pt x="777" y="229"/>
                    <a:pt x="777" y="229"/>
                    <a:pt x="777" y="229"/>
                  </a:cubicBezTo>
                  <a:cubicBezTo>
                    <a:pt x="777" y="229"/>
                    <a:pt x="777" y="229"/>
                    <a:pt x="777" y="229"/>
                  </a:cubicBezTo>
                  <a:cubicBezTo>
                    <a:pt x="776" y="229"/>
                    <a:pt x="776" y="229"/>
                    <a:pt x="776" y="229"/>
                  </a:cubicBezTo>
                  <a:cubicBezTo>
                    <a:pt x="775" y="230"/>
                    <a:pt x="774" y="232"/>
                    <a:pt x="773" y="232"/>
                  </a:cubicBezTo>
                  <a:cubicBezTo>
                    <a:pt x="773" y="233"/>
                    <a:pt x="773" y="233"/>
                    <a:pt x="773" y="233"/>
                  </a:cubicBezTo>
                  <a:cubicBezTo>
                    <a:pt x="772" y="233"/>
                    <a:pt x="772" y="233"/>
                    <a:pt x="772" y="233"/>
                  </a:cubicBezTo>
                  <a:cubicBezTo>
                    <a:pt x="772" y="233"/>
                    <a:pt x="772" y="233"/>
                    <a:pt x="772" y="233"/>
                  </a:cubicBezTo>
                  <a:cubicBezTo>
                    <a:pt x="772" y="233"/>
                    <a:pt x="771" y="234"/>
                    <a:pt x="771" y="234"/>
                  </a:cubicBezTo>
                  <a:cubicBezTo>
                    <a:pt x="771" y="234"/>
                    <a:pt x="771" y="234"/>
                    <a:pt x="771" y="234"/>
                  </a:cubicBezTo>
                  <a:cubicBezTo>
                    <a:pt x="771" y="234"/>
                    <a:pt x="771" y="234"/>
                    <a:pt x="771" y="234"/>
                  </a:cubicBezTo>
                  <a:cubicBezTo>
                    <a:pt x="770" y="235"/>
                    <a:pt x="770" y="235"/>
                    <a:pt x="769" y="235"/>
                  </a:cubicBezTo>
                  <a:cubicBezTo>
                    <a:pt x="769" y="235"/>
                    <a:pt x="769" y="235"/>
                    <a:pt x="769" y="235"/>
                  </a:cubicBezTo>
                  <a:cubicBezTo>
                    <a:pt x="768" y="235"/>
                    <a:pt x="768" y="235"/>
                    <a:pt x="768" y="235"/>
                  </a:cubicBezTo>
                  <a:cubicBezTo>
                    <a:pt x="768" y="236"/>
                    <a:pt x="768" y="236"/>
                    <a:pt x="768" y="236"/>
                  </a:cubicBezTo>
                  <a:cubicBezTo>
                    <a:pt x="768" y="236"/>
                    <a:pt x="768" y="236"/>
                    <a:pt x="768" y="236"/>
                  </a:cubicBezTo>
                  <a:cubicBezTo>
                    <a:pt x="768" y="236"/>
                    <a:pt x="768" y="236"/>
                    <a:pt x="768" y="236"/>
                  </a:cubicBezTo>
                  <a:cubicBezTo>
                    <a:pt x="767" y="236"/>
                    <a:pt x="767" y="236"/>
                    <a:pt x="767" y="236"/>
                  </a:cubicBezTo>
                  <a:cubicBezTo>
                    <a:pt x="767" y="237"/>
                    <a:pt x="766" y="237"/>
                    <a:pt x="766" y="237"/>
                  </a:cubicBezTo>
                  <a:cubicBezTo>
                    <a:pt x="765" y="237"/>
                    <a:pt x="765" y="237"/>
                    <a:pt x="765" y="237"/>
                  </a:cubicBezTo>
                  <a:cubicBezTo>
                    <a:pt x="765" y="237"/>
                    <a:pt x="765" y="237"/>
                    <a:pt x="765" y="237"/>
                  </a:cubicBezTo>
                  <a:cubicBezTo>
                    <a:pt x="764" y="238"/>
                    <a:pt x="764" y="238"/>
                    <a:pt x="763" y="238"/>
                  </a:cubicBezTo>
                  <a:cubicBezTo>
                    <a:pt x="763" y="238"/>
                    <a:pt x="763" y="238"/>
                    <a:pt x="763" y="238"/>
                  </a:cubicBezTo>
                  <a:cubicBezTo>
                    <a:pt x="763" y="239"/>
                    <a:pt x="763" y="239"/>
                    <a:pt x="763" y="239"/>
                  </a:cubicBezTo>
                  <a:cubicBezTo>
                    <a:pt x="763" y="239"/>
                    <a:pt x="763" y="239"/>
                    <a:pt x="763" y="239"/>
                  </a:cubicBezTo>
                  <a:cubicBezTo>
                    <a:pt x="763" y="239"/>
                    <a:pt x="763" y="239"/>
                    <a:pt x="763" y="239"/>
                  </a:cubicBezTo>
                  <a:cubicBezTo>
                    <a:pt x="762" y="239"/>
                    <a:pt x="762" y="239"/>
                    <a:pt x="761" y="239"/>
                  </a:cubicBezTo>
                  <a:cubicBezTo>
                    <a:pt x="761" y="240"/>
                    <a:pt x="761" y="240"/>
                    <a:pt x="761" y="240"/>
                  </a:cubicBezTo>
                  <a:cubicBezTo>
                    <a:pt x="761" y="240"/>
                    <a:pt x="761" y="240"/>
                    <a:pt x="761" y="240"/>
                  </a:cubicBezTo>
                  <a:cubicBezTo>
                    <a:pt x="760" y="240"/>
                    <a:pt x="760" y="240"/>
                    <a:pt x="759" y="241"/>
                  </a:cubicBezTo>
                  <a:cubicBezTo>
                    <a:pt x="758" y="241"/>
                    <a:pt x="758" y="241"/>
                    <a:pt x="758" y="241"/>
                  </a:cubicBezTo>
                  <a:cubicBezTo>
                    <a:pt x="758" y="241"/>
                    <a:pt x="758" y="241"/>
                    <a:pt x="758" y="241"/>
                  </a:cubicBezTo>
                  <a:cubicBezTo>
                    <a:pt x="758" y="241"/>
                    <a:pt x="758" y="241"/>
                    <a:pt x="758" y="241"/>
                  </a:cubicBezTo>
                  <a:cubicBezTo>
                    <a:pt x="757" y="241"/>
                    <a:pt x="757" y="241"/>
                    <a:pt x="757" y="241"/>
                  </a:cubicBezTo>
                  <a:cubicBezTo>
                    <a:pt x="757" y="241"/>
                    <a:pt x="757" y="241"/>
                    <a:pt x="757" y="241"/>
                  </a:cubicBezTo>
                  <a:cubicBezTo>
                    <a:pt x="757" y="241"/>
                    <a:pt x="757" y="241"/>
                    <a:pt x="757" y="241"/>
                  </a:cubicBezTo>
                  <a:cubicBezTo>
                    <a:pt x="756" y="242"/>
                    <a:pt x="756" y="242"/>
                    <a:pt x="756" y="242"/>
                  </a:cubicBezTo>
                  <a:cubicBezTo>
                    <a:pt x="755" y="242"/>
                    <a:pt x="754" y="243"/>
                    <a:pt x="752" y="243"/>
                  </a:cubicBezTo>
                  <a:cubicBezTo>
                    <a:pt x="752" y="243"/>
                    <a:pt x="752" y="243"/>
                    <a:pt x="752" y="243"/>
                  </a:cubicBezTo>
                  <a:cubicBezTo>
                    <a:pt x="752" y="243"/>
                    <a:pt x="752" y="243"/>
                    <a:pt x="752" y="243"/>
                  </a:cubicBezTo>
                  <a:cubicBezTo>
                    <a:pt x="750" y="243"/>
                    <a:pt x="750" y="244"/>
                    <a:pt x="749" y="246"/>
                  </a:cubicBezTo>
                  <a:cubicBezTo>
                    <a:pt x="749" y="246"/>
                    <a:pt x="749" y="246"/>
                    <a:pt x="749" y="246"/>
                  </a:cubicBezTo>
                  <a:cubicBezTo>
                    <a:pt x="749" y="246"/>
                    <a:pt x="749" y="246"/>
                    <a:pt x="749" y="246"/>
                  </a:cubicBezTo>
                  <a:cubicBezTo>
                    <a:pt x="749" y="246"/>
                    <a:pt x="749" y="246"/>
                    <a:pt x="749" y="246"/>
                  </a:cubicBezTo>
                  <a:cubicBezTo>
                    <a:pt x="749" y="247"/>
                    <a:pt x="749" y="247"/>
                    <a:pt x="749" y="247"/>
                  </a:cubicBezTo>
                  <a:cubicBezTo>
                    <a:pt x="749" y="247"/>
                    <a:pt x="749" y="247"/>
                    <a:pt x="749" y="247"/>
                  </a:cubicBezTo>
                  <a:cubicBezTo>
                    <a:pt x="749" y="247"/>
                    <a:pt x="749" y="247"/>
                    <a:pt x="749" y="247"/>
                  </a:cubicBezTo>
                  <a:cubicBezTo>
                    <a:pt x="749" y="247"/>
                    <a:pt x="749" y="247"/>
                    <a:pt x="749" y="247"/>
                  </a:cubicBezTo>
                  <a:cubicBezTo>
                    <a:pt x="749" y="248"/>
                    <a:pt x="749" y="248"/>
                    <a:pt x="749" y="248"/>
                  </a:cubicBezTo>
                  <a:cubicBezTo>
                    <a:pt x="748" y="248"/>
                    <a:pt x="748" y="248"/>
                    <a:pt x="748" y="248"/>
                  </a:cubicBezTo>
                  <a:cubicBezTo>
                    <a:pt x="748" y="248"/>
                    <a:pt x="748" y="248"/>
                    <a:pt x="748" y="248"/>
                  </a:cubicBezTo>
                  <a:cubicBezTo>
                    <a:pt x="748" y="248"/>
                    <a:pt x="748" y="248"/>
                    <a:pt x="748" y="248"/>
                  </a:cubicBezTo>
                  <a:cubicBezTo>
                    <a:pt x="748" y="248"/>
                    <a:pt x="748" y="248"/>
                    <a:pt x="748" y="248"/>
                  </a:cubicBezTo>
                  <a:cubicBezTo>
                    <a:pt x="747" y="249"/>
                    <a:pt x="747" y="249"/>
                    <a:pt x="746" y="250"/>
                  </a:cubicBezTo>
                  <a:cubicBezTo>
                    <a:pt x="745" y="252"/>
                    <a:pt x="745" y="252"/>
                    <a:pt x="745" y="252"/>
                  </a:cubicBezTo>
                  <a:cubicBezTo>
                    <a:pt x="745" y="252"/>
                    <a:pt x="745" y="252"/>
                    <a:pt x="745" y="252"/>
                  </a:cubicBezTo>
                  <a:cubicBezTo>
                    <a:pt x="745" y="253"/>
                    <a:pt x="745" y="253"/>
                    <a:pt x="745" y="253"/>
                  </a:cubicBezTo>
                  <a:cubicBezTo>
                    <a:pt x="745" y="253"/>
                    <a:pt x="745" y="253"/>
                    <a:pt x="745" y="253"/>
                  </a:cubicBezTo>
                  <a:cubicBezTo>
                    <a:pt x="746" y="253"/>
                    <a:pt x="746" y="253"/>
                    <a:pt x="746" y="253"/>
                  </a:cubicBezTo>
                  <a:cubicBezTo>
                    <a:pt x="746" y="253"/>
                    <a:pt x="746" y="253"/>
                    <a:pt x="746" y="253"/>
                  </a:cubicBezTo>
                  <a:cubicBezTo>
                    <a:pt x="747" y="253"/>
                    <a:pt x="747" y="253"/>
                    <a:pt x="747" y="253"/>
                  </a:cubicBezTo>
                  <a:cubicBezTo>
                    <a:pt x="747" y="253"/>
                    <a:pt x="747" y="253"/>
                    <a:pt x="747" y="253"/>
                  </a:cubicBezTo>
                  <a:cubicBezTo>
                    <a:pt x="747" y="253"/>
                    <a:pt x="747" y="253"/>
                    <a:pt x="747" y="253"/>
                  </a:cubicBezTo>
                  <a:cubicBezTo>
                    <a:pt x="747" y="253"/>
                    <a:pt x="747" y="253"/>
                    <a:pt x="747" y="253"/>
                  </a:cubicBezTo>
                  <a:cubicBezTo>
                    <a:pt x="747" y="253"/>
                    <a:pt x="747" y="253"/>
                    <a:pt x="747" y="253"/>
                  </a:cubicBezTo>
                  <a:cubicBezTo>
                    <a:pt x="747" y="253"/>
                    <a:pt x="747" y="253"/>
                    <a:pt x="747" y="253"/>
                  </a:cubicBezTo>
                  <a:cubicBezTo>
                    <a:pt x="747" y="252"/>
                    <a:pt x="747" y="252"/>
                    <a:pt x="747" y="252"/>
                  </a:cubicBezTo>
                  <a:cubicBezTo>
                    <a:pt x="747" y="251"/>
                    <a:pt x="747" y="251"/>
                    <a:pt x="747" y="251"/>
                  </a:cubicBezTo>
                  <a:cubicBezTo>
                    <a:pt x="748" y="251"/>
                    <a:pt x="748" y="251"/>
                    <a:pt x="748" y="251"/>
                  </a:cubicBezTo>
                  <a:cubicBezTo>
                    <a:pt x="748" y="251"/>
                    <a:pt x="748" y="251"/>
                    <a:pt x="748" y="251"/>
                  </a:cubicBezTo>
                  <a:cubicBezTo>
                    <a:pt x="749" y="251"/>
                    <a:pt x="749" y="251"/>
                    <a:pt x="749" y="251"/>
                  </a:cubicBezTo>
                  <a:cubicBezTo>
                    <a:pt x="750" y="251"/>
                    <a:pt x="750" y="251"/>
                    <a:pt x="750" y="251"/>
                  </a:cubicBezTo>
                  <a:cubicBezTo>
                    <a:pt x="750" y="251"/>
                    <a:pt x="750" y="251"/>
                    <a:pt x="750" y="251"/>
                  </a:cubicBezTo>
                  <a:cubicBezTo>
                    <a:pt x="749" y="251"/>
                    <a:pt x="749" y="251"/>
                    <a:pt x="749" y="251"/>
                  </a:cubicBezTo>
                  <a:cubicBezTo>
                    <a:pt x="749" y="251"/>
                    <a:pt x="749" y="251"/>
                    <a:pt x="749" y="251"/>
                  </a:cubicBezTo>
                  <a:cubicBezTo>
                    <a:pt x="749" y="252"/>
                    <a:pt x="749" y="252"/>
                    <a:pt x="749" y="252"/>
                  </a:cubicBezTo>
                  <a:cubicBezTo>
                    <a:pt x="749" y="252"/>
                    <a:pt x="749" y="252"/>
                    <a:pt x="749" y="252"/>
                  </a:cubicBezTo>
                  <a:cubicBezTo>
                    <a:pt x="749" y="252"/>
                    <a:pt x="749" y="253"/>
                    <a:pt x="749" y="253"/>
                  </a:cubicBezTo>
                  <a:cubicBezTo>
                    <a:pt x="749" y="254"/>
                    <a:pt x="749" y="254"/>
                    <a:pt x="749" y="254"/>
                  </a:cubicBezTo>
                  <a:cubicBezTo>
                    <a:pt x="748" y="254"/>
                    <a:pt x="748" y="254"/>
                    <a:pt x="748" y="254"/>
                  </a:cubicBezTo>
                  <a:cubicBezTo>
                    <a:pt x="747" y="256"/>
                    <a:pt x="747" y="255"/>
                    <a:pt x="745" y="257"/>
                  </a:cubicBezTo>
                  <a:cubicBezTo>
                    <a:pt x="745" y="258"/>
                    <a:pt x="745" y="258"/>
                    <a:pt x="745" y="258"/>
                  </a:cubicBezTo>
                  <a:cubicBezTo>
                    <a:pt x="745" y="258"/>
                    <a:pt x="745" y="258"/>
                    <a:pt x="745" y="258"/>
                  </a:cubicBezTo>
                  <a:cubicBezTo>
                    <a:pt x="745" y="258"/>
                    <a:pt x="745" y="258"/>
                    <a:pt x="745" y="258"/>
                  </a:cubicBezTo>
                  <a:cubicBezTo>
                    <a:pt x="745" y="259"/>
                    <a:pt x="745" y="259"/>
                    <a:pt x="745" y="259"/>
                  </a:cubicBezTo>
                  <a:cubicBezTo>
                    <a:pt x="745" y="259"/>
                    <a:pt x="745" y="259"/>
                    <a:pt x="745" y="259"/>
                  </a:cubicBezTo>
                  <a:cubicBezTo>
                    <a:pt x="746" y="259"/>
                    <a:pt x="746" y="259"/>
                    <a:pt x="746" y="259"/>
                  </a:cubicBezTo>
                  <a:cubicBezTo>
                    <a:pt x="746" y="259"/>
                    <a:pt x="746" y="259"/>
                    <a:pt x="746" y="259"/>
                  </a:cubicBezTo>
                  <a:cubicBezTo>
                    <a:pt x="746" y="260"/>
                    <a:pt x="746" y="260"/>
                    <a:pt x="746" y="260"/>
                  </a:cubicBezTo>
                  <a:cubicBezTo>
                    <a:pt x="746" y="260"/>
                    <a:pt x="746" y="260"/>
                    <a:pt x="746" y="260"/>
                  </a:cubicBezTo>
                  <a:cubicBezTo>
                    <a:pt x="746" y="261"/>
                    <a:pt x="746" y="261"/>
                    <a:pt x="746" y="261"/>
                  </a:cubicBezTo>
                  <a:cubicBezTo>
                    <a:pt x="746" y="261"/>
                    <a:pt x="746" y="261"/>
                    <a:pt x="746" y="261"/>
                  </a:cubicBezTo>
                  <a:cubicBezTo>
                    <a:pt x="746" y="261"/>
                    <a:pt x="746" y="261"/>
                    <a:pt x="746" y="261"/>
                  </a:cubicBezTo>
                  <a:cubicBezTo>
                    <a:pt x="747" y="261"/>
                    <a:pt x="747" y="261"/>
                    <a:pt x="747" y="261"/>
                  </a:cubicBezTo>
                  <a:cubicBezTo>
                    <a:pt x="747" y="261"/>
                    <a:pt x="747" y="261"/>
                    <a:pt x="747" y="261"/>
                  </a:cubicBezTo>
                  <a:cubicBezTo>
                    <a:pt x="747" y="261"/>
                    <a:pt x="747" y="261"/>
                    <a:pt x="747" y="261"/>
                  </a:cubicBezTo>
                  <a:cubicBezTo>
                    <a:pt x="748" y="260"/>
                    <a:pt x="750" y="261"/>
                    <a:pt x="751" y="260"/>
                  </a:cubicBezTo>
                  <a:cubicBezTo>
                    <a:pt x="751" y="260"/>
                    <a:pt x="751" y="260"/>
                    <a:pt x="751" y="260"/>
                  </a:cubicBezTo>
                  <a:cubicBezTo>
                    <a:pt x="751" y="260"/>
                    <a:pt x="751" y="260"/>
                    <a:pt x="751" y="260"/>
                  </a:cubicBezTo>
                  <a:cubicBezTo>
                    <a:pt x="752" y="260"/>
                    <a:pt x="752" y="260"/>
                    <a:pt x="752" y="260"/>
                  </a:cubicBezTo>
                  <a:cubicBezTo>
                    <a:pt x="752" y="260"/>
                    <a:pt x="752" y="260"/>
                    <a:pt x="752" y="260"/>
                  </a:cubicBezTo>
                  <a:cubicBezTo>
                    <a:pt x="752" y="260"/>
                    <a:pt x="752" y="260"/>
                    <a:pt x="752" y="260"/>
                  </a:cubicBezTo>
                  <a:cubicBezTo>
                    <a:pt x="752" y="260"/>
                    <a:pt x="752" y="260"/>
                    <a:pt x="752" y="260"/>
                  </a:cubicBezTo>
                  <a:cubicBezTo>
                    <a:pt x="754" y="260"/>
                    <a:pt x="754" y="259"/>
                    <a:pt x="755" y="259"/>
                  </a:cubicBezTo>
                  <a:cubicBezTo>
                    <a:pt x="756" y="259"/>
                    <a:pt x="756" y="259"/>
                    <a:pt x="756" y="259"/>
                  </a:cubicBezTo>
                  <a:cubicBezTo>
                    <a:pt x="756" y="260"/>
                    <a:pt x="756" y="260"/>
                    <a:pt x="756" y="260"/>
                  </a:cubicBezTo>
                  <a:cubicBezTo>
                    <a:pt x="758" y="261"/>
                    <a:pt x="759" y="261"/>
                    <a:pt x="758" y="263"/>
                  </a:cubicBezTo>
                  <a:cubicBezTo>
                    <a:pt x="758" y="263"/>
                    <a:pt x="758" y="263"/>
                    <a:pt x="758" y="263"/>
                  </a:cubicBezTo>
                  <a:cubicBezTo>
                    <a:pt x="758" y="264"/>
                    <a:pt x="758" y="264"/>
                    <a:pt x="758" y="264"/>
                  </a:cubicBezTo>
                  <a:cubicBezTo>
                    <a:pt x="758" y="264"/>
                    <a:pt x="758" y="264"/>
                    <a:pt x="758" y="264"/>
                  </a:cubicBezTo>
                  <a:cubicBezTo>
                    <a:pt x="758" y="264"/>
                    <a:pt x="758" y="264"/>
                    <a:pt x="758" y="264"/>
                  </a:cubicBezTo>
                  <a:cubicBezTo>
                    <a:pt x="757" y="265"/>
                    <a:pt x="758" y="265"/>
                    <a:pt x="757" y="266"/>
                  </a:cubicBezTo>
                  <a:cubicBezTo>
                    <a:pt x="757" y="266"/>
                    <a:pt x="757" y="266"/>
                    <a:pt x="757" y="266"/>
                  </a:cubicBezTo>
                  <a:cubicBezTo>
                    <a:pt x="757" y="267"/>
                    <a:pt x="757" y="267"/>
                    <a:pt x="757" y="267"/>
                  </a:cubicBezTo>
                  <a:cubicBezTo>
                    <a:pt x="757" y="268"/>
                    <a:pt x="756" y="268"/>
                    <a:pt x="757" y="269"/>
                  </a:cubicBezTo>
                  <a:cubicBezTo>
                    <a:pt x="757" y="271"/>
                    <a:pt x="757" y="271"/>
                    <a:pt x="757" y="271"/>
                  </a:cubicBezTo>
                  <a:cubicBezTo>
                    <a:pt x="757" y="271"/>
                    <a:pt x="757" y="271"/>
                    <a:pt x="757" y="271"/>
                  </a:cubicBezTo>
                  <a:cubicBezTo>
                    <a:pt x="757" y="272"/>
                    <a:pt x="757" y="272"/>
                    <a:pt x="757" y="272"/>
                  </a:cubicBezTo>
                  <a:cubicBezTo>
                    <a:pt x="757" y="272"/>
                    <a:pt x="757" y="272"/>
                    <a:pt x="757" y="272"/>
                  </a:cubicBezTo>
                  <a:cubicBezTo>
                    <a:pt x="757" y="272"/>
                    <a:pt x="757" y="272"/>
                    <a:pt x="757" y="272"/>
                  </a:cubicBezTo>
                  <a:cubicBezTo>
                    <a:pt x="757" y="272"/>
                    <a:pt x="757" y="272"/>
                    <a:pt x="757" y="272"/>
                  </a:cubicBezTo>
                  <a:cubicBezTo>
                    <a:pt x="757" y="273"/>
                    <a:pt x="757" y="273"/>
                    <a:pt x="757" y="273"/>
                  </a:cubicBezTo>
                  <a:cubicBezTo>
                    <a:pt x="757" y="274"/>
                    <a:pt x="756" y="273"/>
                    <a:pt x="756" y="275"/>
                  </a:cubicBezTo>
                  <a:cubicBezTo>
                    <a:pt x="756" y="275"/>
                    <a:pt x="756" y="275"/>
                    <a:pt x="756" y="275"/>
                  </a:cubicBezTo>
                  <a:cubicBezTo>
                    <a:pt x="756" y="275"/>
                    <a:pt x="756" y="275"/>
                    <a:pt x="756" y="275"/>
                  </a:cubicBezTo>
                  <a:cubicBezTo>
                    <a:pt x="755" y="276"/>
                    <a:pt x="755" y="277"/>
                    <a:pt x="755" y="278"/>
                  </a:cubicBezTo>
                  <a:cubicBezTo>
                    <a:pt x="754" y="280"/>
                    <a:pt x="754" y="280"/>
                    <a:pt x="754" y="280"/>
                  </a:cubicBezTo>
                  <a:cubicBezTo>
                    <a:pt x="754" y="280"/>
                    <a:pt x="754" y="280"/>
                    <a:pt x="754" y="280"/>
                  </a:cubicBezTo>
                  <a:cubicBezTo>
                    <a:pt x="754" y="281"/>
                    <a:pt x="754" y="281"/>
                    <a:pt x="754" y="281"/>
                  </a:cubicBezTo>
                  <a:cubicBezTo>
                    <a:pt x="754" y="281"/>
                    <a:pt x="754" y="281"/>
                    <a:pt x="754" y="281"/>
                  </a:cubicBezTo>
                  <a:cubicBezTo>
                    <a:pt x="755" y="281"/>
                    <a:pt x="755" y="281"/>
                    <a:pt x="755" y="281"/>
                  </a:cubicBezTo>
                  <a:cubicBezTo>
                    <a:pt x="755" y="281"/>
                    <a:pt x="755" y="281"/>
                    <a:pt x="755" y="281"/>
                  </a:cubicBezTo>
                  <a:cubicBezTo>
                    <a:pt x="756" y="282"/>
                    <a:pt x="756" y="282"/>
                    <a:pt x="756" y="282"/>
                  </a:cubicBezTo>
                  <a:cubicBezTo>
                    <a:pt x="757" y="282"/>
                    <a:pt x="757" y="282"/>
                    <a:pt x="757" y="282"/>
                  </a:cubicBezTo>
                  <a:cubicBezTo>
                    <a:pt x="758" y="283"/>
                    <a:pt x="758" y="283"/>
                    <a:pt x="758" y="283"/>
                  </a:cubicBezTo>
                  <a:cubicBezTo>
                    <a:pt x="758" y="284"/>
                    <a:pt x="758" y="284"/>
                    <a:pt x="758" y="284"/>
                  </a:cubicBezTo>
                  <a:cubicBezTo>
                    <a:pt x="758" y="284"/>
                    <a:pt x="758" y="284"/>
                    <a:pt x="758" y="284"/>
                  </a:cubicBezTo>
                  <a:cubicBezTo>
                    <a:pt x="758" y="285"/>
                    <a:pt x="758" y="285"/>
                    <a:pt x="758" y="285"/>
                  </a:cubicBezTo>
                  <a:cubicBezTo>
                    <a:pt x="758" y="285"/>
                    <a:pt x="758" y="285"/>
                    <a:pt x="758" y="285"/>
                  </a:cubicBezTo>
                  <a:cubicBezTo>
                    <a:pt x="758" y="285"/>
                    <a:pt x="758" y="285"/>
                    <a:pt x="758" y="285"/>
                  </a:cubicBezTo>
                  <a:cubicBezTo>
                    <a:pt x="758" y="285"/>
                    <a:pt x="758" y="285"/>
                    <a:pt x="758" y="285"/>
                  </a:cubicBezTo>
                  <a:cubicBezTo>
                    <a:pt x="757" y="286"/>
                    <a:pt x="757" y="287"/>
                    <a:pt x="756" y="288"/>
                  </a:cubicBezTo>
                  <a:cubicBezTo>
                    <a:pt x="756" y="288"/>
                    <a:pt x="756" y="288"/>
                    <a:pt x="756" y="288"/>
                  </a:cubicBezTo>
                  <a:cubicBezTo>
                    <a:pt x="756" y="288"/>
                    <a:pt x="756" y="288"/>
                    <a:pt x="756" y="288"/>
                  </a:cubicBezTo>
                  <a:cubicBezTo>
                    <a:pt x="756" y="288"/>
                    <a:pt x="756" y="288"/>
                    <a:pt x="756" y="288"/>
                  </a:cubicBezTo>
                  <a:cubicBezTo>
                    <a:pt x="756" y="288"/>
                    <a:pt x="756" y="288"/>
                    <a:pt x="756" y="288"/>
                  </a:cubicBezTo>
                  <a:cubicBezTo>
                    <a:pt x="756" y="288"/>
                    <a:pt x="756" y="288"/>
                    <a:pt x="756" y="288"/>
                  </a:cubicBezTo>
                  <a:cubicBezTo>
                    <a:pt x="755" y="288"/>
                    <a:pt x="755" y="288"/>
                    <a:pt x="755" y="288"/>
                  </a:cubicBezTo>
                  <a:cubicBezTo>
                    <a:pt x="753" y="289"/>
                    <a:pt x="753" y="287"/>
                    <a:pt x="752" y="286"/>
                  </a:cubicBezTo>
                  <a:cubicBezTo>
                    <a:pt x="751" y="286"/>
                    <a:pt x="751" y="286"/>
                    <a:pt x="751" y="286"/>
                  </a:cubicBezTo>
                  <a:cubicBezTo>
                    <a:pt x="751" y="286"/>
                    <a:pt x="751" y="286"/>
                    <a:pt x="751" y="286"/>
                  </a:cubicBezTo>
                  <a:cubicBezTo>
                    <a:pt x="751" y="286"/>
                    <a:pt x="751" y="286"/>
                    <a:pt x="751" y="286"/>
                  </a:cubicBezTo>
                  <a:cubicBezTo>
                    <a:pt x="750" y="287"/>
                    <a:pt x="750" y="287"/>
                    <a:pt x="750" y="287"/>
                  </a:cubicBezTo>
                  <a:cubicBezTo>
                    <a:pt x="750" y="287"/>
                    <a:pt x="750" y="287"/>
                    <a:pt x="750" y="287"/>
                  </a:cubicBezTo>
                  <a:cubicBezTo>
                    <a:pt x="750" y="287"/>
                    <a:pt x="750" y="287"/>
                    <a:pt x="750" y="287"/>
                  </a:cubicBezTo>
                  <a:cubicBezTo>
                    <a:pt x="750" y="287"/>
                    <a:pt x="750" y="287"/>
                    <a:pt x="750" y="287"/>
                  </a:cubicBezTo>
                  <a:cubicBezTo>
                    <a:pt x="750" y="287"/>
                    <a:pt x="750" y="287"/>
                    <a:pt x="750" y="287"/>
                  </a:cubicBezTo>
                  <a:cubicBezTo>
                    <a:pt x="750" y="288"/>
                    <a:pt x="750" y="288"/>
                    <a:pt x="750" y="288"/>
                  </a:cubicBezTo>
                  <a:cubicBezTo>
                    <a:pt x="750" y="288"/>
                    <a:pt x="750" y="288"/>
                    <a:pt x="750" y="288"/>
                  </a:cubicBezTo>
                  <a:cubicBezTo>
                    <a:pt x="750" y="288"/>
                    <a:pt x="750" y="288"/>
                    <a:pt x="750" y="288"/>
                  </a:cubicBezTo>
                  <a:cubicBezTo>
                    <a:pt x="750" y="288"/>
                    <a:pt x="750" y="288"/>
                    <a:pt x="750" y="288"/>
                  </a:cubicBezTo>
                  <a:cubicBezTo>
                    <a:pt x="750" y="288"/>
                    <a:pt x="750" y="288"/>
                    <a:pt x="750" y="288"/>
                  </a:cubicBezTo>
                  <a:cubicBezTo>
                    <a:pt x="750" y="288"/>
                    <a:pt x="750" y="288"/>
                    <a:pt x="750" y="288"/>
                  </a:cubicBezTo>
                  <a:cubicBezTo>
                    <a:pt x="749" y="293"/>
                    <a:pt x="747" y="294"/>
                    <a:pt x="748" y="301"/>
                  </a:cubicBezTo>
                  <a:cubicBezTo>
                    <a:pt x="748" y="302"/>
                    <a:pt x="748" y="302"/>
                    <a:pt x="748" y="302"/>
                  </a:cubicBezTo>
                  <a:cubicBezTo>
                    <a:pt x="748" y="302"/>
                    <a:pt x="748" y="302"/>
                    <a:pt x="748" y="302"/>
                  </a:cubicBezTo>
                  <a:cubicBezTo>
                    <a:pt x="749" y="302"/>
                    <a:pt x="749" y="302"/>
                    <a:pt x="749" y="302"/>
                  </a:cubicBezTo>
                  <a:cubicBezTo>
                    <a:pt x="749" y="302"/>
                    <a:pt x="749" y="302"/>
                    <a:pt x="749" y="302"/>
                  </a:cubicBezTo>
                  <a:cubicBezTo>
                    <a:pt x="749" y="302"/>
                    <a:pt x="749" y="302"/>
                    <a:pt x="749" y="302"/>
                  </a:cubicBezTo>
                  <a:cubicBezTo>
                    <a:pt x="749" y="302"/>
                    <a:pt x="749" y="302"/>
                    <a:pt x="749" y="302"/>
                  </a:cubicBezTo>
                  <a:cubicBezTo>
                    <a:pt x="749" y="301"/>
                    <a:pt x="749" y="301"/>
                    <a:pt x="749" y="301"/>
                  </a:cubicBezTo>
                  <a:cubicBezTo>
                    <a:pt x="749" y="300"/>
                    <a:pt x="749" y="300"/>
                    <a:pt x="749" y="300"/>
                  </a:cubicBezTo>
                  <a:cubicBezTo>
                    <a:pt x="750" y="300"/>
                    <a:pt x="750" y="300"/>
                    <a:pt x="750" y="300"/>
                  </a:cubicBezTo>
                  <a:cubicBezTo>
                    <a:pt x="750" y="300"/>
                    <a:pt x="750" y="300"/>
                    <a:pt x="750" y="300"/>
                  </a:cubicBezTo>
                  <a:cubicBezTo>
                    <a:pt x="750" y="300"/>
                    <a:pt x="750" y="300"/>
                    <a:pt x="750" y="300"/>
                  </a:cubicBezTo>
                  <a:cubicBezTo>
                    <a:pt x="750" y="300"/>
                    <a:pt x="750" y="300"/>
                    <a:pt x="750" y="300"/>
                  </a:cubicBezTo>
                  <a:cubicBezTo>
                    <a:pt x="751" y="300"/>
                    <a:pt x="751" y="300"/>
                    <a:pt x="751" y="300"/>
                  </a:cubicBezTo>
                  <a:cubicBezTo>
                    <a:pt x="751" y="300"/>
                    <a:pt x="751" y="300"/>
                    <a:pt x="751" y="300"/>
                  </a:cubicBezTo>
                  <a:cubicBezTo>
                    <a:pt x="751" y="300"/>
                    <a:pt x="751" y="300"/>
                    <a:pt x="751" y="300"/>
                  </a:cubicBezTo>
                  <a:cubicBezTo>
                    <a:pt x="751" y="299"/>
                    <a:pt x="751" y="299"/>
                    <a:pt x="751" y="299"/>
                  </a:cubicBezTo>
                  <a:cubicBezTo>
                    <a:pt x="752" y="299"/>
                    <a:pt x="752" y="299"/>
                    <a:pt x="752" y="299"/>
                  </a:cubicBezTo>
                  <a:cubicBezTo>
                    <a:pt x="752" y="298"/>
                    <a:pt x="752" y="298"/>
                    <a:pt x="752" y="298"/>
                  </a:cubicBezTo>
                  <a:cubicBezTo>
                    <a:pt x="752" y="298"/>
                    <a:pt x="752" y="298"/>
                    <a:pt x="752" y="298"/>
                  </a:cubicBezTo>
                  <a:cubicBezTo>
                    <a:pt x="752" y="298"/>
                    <a:pt x="752" y="298"/>
                    <a:pt x="752" y="298"/>
                  </a:cubicBezTo>
                  <a:cubicBezTo>
                    <a:pt x="752" y="298"/>
                    <a:pt x="752" y="298"/>
                    <a:pt x="752" y="298"/>
                  </a:cubicBezTo>
                  <a:cubicBezTo>
                    <a:pt x="753" y="298"/>
                    <a:pt x="753" y="298"/>
                    <a:pt x="753" y="298"/>
                  </a:cubicBezTo>
                  <a:cubicBezTo>
                    <a:pt x="753" y="298"/>
                    <a:pt x="753" y="298"/>
                    <a:pt x="753" y="298"/>
                  </a:cubicBezTo>
                  <a:cubicBezTo>
                    <a:pt x="753" y="298"/>
                    <a:pt x="753" y="298"/>
                    <a:pt x="753" y="298"/>
                  </a:cubicBezTo>
                  <a:cubicBezTo>
                    <a:pt x="754" y="298"/>
                    <a:pt x="755" y="299"/>
                    <a:pt x="756" y="299"/>
                  </a:cubicBezTo>
                  <a:cubicBezTo>
                    <a:pt x="757" y="300"/>
                    <a:pt x="757" y="300"/>
                    <a:pt x="757" y="300"/>
                  </a:cubicBezTo>
                  <a:cubicBezTo>
                    <a:pt x="757" y="300"/>
                    <a:pt x="757" y="300"/>
                    <a:pt x="757" y="300"/>
                  </a:cubicBezTo>
                  <a:cubicBezTo>
                    <a:pt x="757" y="300"/>
                    <a:pt x="757" y="300"/>
                    <a:pt x="757" y="300"/>
                  </a:cubicBezTo>
                  <a:cubicBezTo>
                    <a:pt x="758" y="300"/>
                    <a:pt x="758" y="300"/>
                    <a:pt x="758" y="300"/>
                  </a:cubicBezTo>
                  <a:cubicBezTo>
                    <a:pt x="759" y="301"/>
                    <a:pt x="759" y="301"/>
                    <a:pt x="760" y="301"/>
                  </a:cubicBezTo>
                  <a:cubicBezTo>
                    <a:pt x="761" y="301"/>
                    <a:pt x="761" y="301"/>
                    <a:pt x="761" y="301"/>
                  </a:cubicBezTo>
                  <a:cubicBezTo>
                    <a:pt x="761" y="301"/>
                    <a:pt x="761" y="301"/>
                    <a:pt x="761" y="301"/>
                  </a:cubicBezTo>
                  <a:cubicBezTo>
                    <a:pt x="763" y="301"/>
                    <a:pt x="762" y="301"/>
                    <a:pt x="764" y="302"/>
                  </a:cubicBezTo>
                  <a:cubicBezTo>
                    <a:pt x="764" y="302"/>
                    <a:pt x="764" y="302"/>
                    <a:pt x="764" y="302"/>
                  </a:cubicBezTo>
                  <a:cubicBezTo>
                    <a:pt x="765" y="302"/>
                    <a:pt x="765" y="302"/>
                    <a:pt x="765" y="302"/>
                  </a:cubicBezTo>
                  <a:cubicBezTo>
                    <a:pt x="765" y="302"/>
                    <a:pt x="765" y="302"/>
                    <a:pt x="765" y="302"/>
                  </a:cubicBezTo>
                  <a:cubicBezTo>
                    <a:pt x="765" y="302"/>
                    <a:pt x="765" y="302"/>
                    <a:pt x="765" y="302"/>
                  </a:cubicBezTo>
                  <a:cubicBezTo>
                    <a:pt x="765" y="303"/>
                    <a:pt x="765" y="303"/>
                    <a:pt x="765" y="303"/>
                  </a:cubicBezTo>
                  <a:cubicBezTo>
                    <a:pt x="765" y="303"/>
                    <a:pt x="765" y="303"/>
                    <a:pt x="765" y="303"/>
                  </a:cubicBezTo>
                  <a:cubicBezTo>
                    <a:pt x="765" y="303"/>
                    <a:pt x="765" y="303"/>
                    <a:pt x="765" y="303"/>
                  </a:cubicBezTo>
                  <a:cubicBezTo>
                    <a:pt x="766" y="303"/>
                    <a:pt x="766" y="303"/>
                    <a:pt x="766" y="303"/>
                  </a:cubicBezTo>
                  <a:cubicBezTo>
                    <a:pt x="766" y="303"/>
                    <a:pt x="766" y="303"/>
                    <a:pt x="766" y="303"/>
                  </a:cubicBezTo>
                  <a:cubicBezTo>
                    <a:pt x="766" y="303"/>
                    <a:pt x="766" y="303"/>
                    <a:pt x="766" y="303"/>
                  </a:cubicBezTo>
                  <a:cubicBezTo>
                    <a:pt x="767" y="304"/>
                    <a:pt x="767" y="304"/>
                    <a:pt x="767" y="304"/>
                  </a:cubicBezTo>
                  <a:cubicBezTo>
                    <a:pt x="767" y="304"/>
                    <a:pt x="767" y="304"/>
                    <a:pt x="767" y="304"/>
                  </a:cubicBezTo>
                  <a:cubicBezTo>
                    <a:pt x="767" y="304"/>
                    <a:pt x="767" y="304"/>
                    <a:pt x="767" y="304"/>
                  </a:cubicBezTo>
                  <a:cubicBezTo>
                    <a:pt x="768" y="304"/>
                    <a:pt x="768" y="304"/>
                    <a:pt x="768" y="304"/>
                  </a:cubicBezTo>
                  <a:cubicBezTo>
                    <a:pt x="768" y="304"/>
                    <a:pt x="768" y="304"/>
                    <a:pt x="768" y="304"/>
                  </a:cubicBezTo>
                  <a:cubicBezTo>
                    <a:pt x="768" y="304"/>
                    <a:pt x="768" y="304"/>
                    <a:pt x="768" y="304"/>
                  </a:cubicBezTo>
                  <a:cubicBezTo>
                    <a:pt x="769" y="305"/>
                    <a:pt x="769" y="305"/>
                    <a:pt x="769" y="305"/>
                  </a:cubicBezTo>
                  <a:cubicBezTo>
                    <a:pt x="769" y="305"/>
                    <a:pt x="769" y="305"/>
                    <a:pt x="769" y="305"/>
                  </a:cubicBezTo>
                  <a:cubicBezTo>
                    <a:pt x="769" y="305"/>
                    <a:pt x="769" y="305"/>
                    <a:pt x="769" y="305"/>
                  </a:cubicBezTo>
                  <a:cubicBezTo>
                    <a:pt x="770" y="305"/>
                    <a:pt x="770" y="305"/>
                    <a:pt x="770" y="305"/>
                  </a:cubicBezTo>
                  <a:cubicBezTo>
                    <a:pt x="770" y="305"/>
                    <a:pt x="770" y="305"/>
                    <a:pt x="770" y="305"/>
                  </a:cubicBezTo>
                  <a:cubicBezTo>
                    <a:pt x="771" y="305"/>
                    <a:pt x="771" y="305"/>
                    <a:pt x="771" y="305"/>
                  </a:cubicBezTo>
                  <a:cubicBezTo>
                    <a:pt x="771" y="305"/>
                    <a:pt x="771" y="305"/>
                    <a:pt x="771" y="305"/>
                  </a:cubicBezTo>
                  <a:cubicBezTo>
                    <a:pt x="771" y="305"/>
                    <a:pt x="771" y="305"/>
                    <a:pt x="771" y="305"/>
                  </a:cubicBezTo>
                  <a:cubicBezTo>
                    <a:pt x="771" y="305"/>
                    <a:pt x="771" y="305"/>
                    <a:pt x="771" y="305"/>
                  </a:cubicBezTo>
                  <a:cubicBezTo>
                    <a:pt x="771" y="304"/>
                    <a:pt x="771" y="304"/>
                    <a:pt x="771" y="304"/>
                  </a:cubicBezTo>
                  <a:cubicBezTo>
                    <a:pt x="772" y="304"/>
                    <a:pt x="772" y="304"/>
                    <a:pt x="772" y="304"/>
                  </a:cubicBezTo>
                  <a:cubicBezTo>
                    <a:pt x="773" y="304"/>
                    <a:pt x="773" y="304"/>
                    <a:pt x="773" y="304"/>
                  </a:cubicBezTo>
                  <a:cubicBezTo>
                    <a:pt x="773" y="304"/>
                    <a:pt x="773" y="304"/>
                    <a:pt x="773" y="304"/>
                  </a:cubicBezTo>
                  <a:cubicBezTo>
                    <a:pt x="773" y="304"/>
                    <a:pt x="773" y="304"/>
                    <a:pt x="773" y="304"/>
                  </a:cubicBezTo>
                  <a:cubicBezTo>
                    <a:pt x="773" y="304"/>
                    <a:pt x="773" y="304"/>
                    <a:pt x="773" y="304"/>
                  </a:cubicBezTo>
                  <a:cubicBezTo>
                    <a:pt x="773" y="305"/>
                    <a:pt x="773" y="305"/>
                    <a:pt x="773" y="305"/>
                  </a:cubicBezTo>
                  <a:cubicBezTo>
                    <a:pt x="773" y="305"/>
                    <a:pt x="773" y="305"/>
                    <a:pt x="773" y="305"/>
                  </a:cubicBezTo>
                  <a:cubicBezTo>
                    <a:pt x="773" y="306"/>
                    <a:pt x="773" y="306"/>
                    <a:pt x="773" y="306"/>
                  </a:cubicBezTo>
                  <a:cubicBezTo>
                    <a:pt x="773" y="306"/>
                    <a:pt x="773" y="306"/>
                    <a:pt x="773" y="306"/>
                  </a:cubicBezTo>
                  <a:cubicBezTo>
                    <a:pt x="773" y="306"/>
                    <a:pt x="773" y="306"/>
                    <a:pt x="773" y="306"/>
                  </a:cubicBezTo>
                  <a:cubicBezTo>
                    <a:pt x="773" y="306"/>
                    <a:pt x="773" y="306"/>
                    <a:pt x="773" y="306"/>
                  </a:cubicBezTo>
                  <a:cubicBezTo>
                    <a:pt x="773" y="306"/>
                    <a:pt x="773" y="306"/>
                    <a:pt x="773" y="306"/>
                  </a:cubicBezTo>
                  <a:cubicBezTo>
                    <a:pt x="773" y="307"/>
                    <a:pt x="773" y="307"/>
                    <a:pt x="773" y="307"/>
                  </a:cubicBezTo>
                  <a:cubicBezTo>
                    <a:pt x="773" y="307"/>
                    <a:pt x="773" y="307"/>
                    <a:pt x="773" y="307"/>
                  </a:cubicBezTo>
                  <a:cubicBezTo>
                    <a:pt x="773" y="308"/>
                    <a:pt x="773" y="308"/>
                    <a:pt x="773" y="308"/>
                  </a:cubicBezTo>
                  <a:cubicBezTo>
                    <a:pt x="773" y="309"/>
                    <a:pt x="773" y="309"/>
                    <a:pt x="773" y="309"/>
                  </a:cubicBezTo>
                  <a:cubicBezTo>
                    <a:pt x="772" y="310"/>
                    <a:pt x="772" y="310"/>
                    <a:pt x="772" y="310"/>
                  </a:cubicBezTo>
                  <a:cubicBezTo>
                    <a:pt x="772" y="310"/>
                    <a:pt x="772" y="310"/>
                    <a:pt x="772" y="310"/>
                  </a:cubicBezTo>
                  <a:cubicBezTo>
                    <a:pt x="772" y="311"/>
                    <a:pt x="772" y="311"/>
                    <a:pt x="772" y="311"/>
                  </a:cubicBezTo>
                  <a:cubicBezTo>
                    <a:pt x="772" y="311"/>
                    <a:pt x="772" y="311"/>
                    <a:pt x="772" y="311"/>
                  </a:cubicBezTo>
                  <a:cubicBezTo>
                    <a:pt x="772" y="311"/>
                    <a:pt x="772" y="311"/>
                    <a:pt x="772" y="311"/>
                  </a:cubicBezTo>
                  <a:cubicBezTo>
                    <a:pt x="772" y="311"/>
                    <a:pt x="772" y="311"/>
                    <a:pt x="772" y="311"/>
                  </a:cubicBezTo>
                  <a:cubicBezTo>
                    <a:pt x="772" y="312"/>
                    <a:pt x="772" y="312"/>
                    <a:pt x="772" y="312"/>
                  </a:cubicBezTo>
                  <a:cubicBezTo>
                    <a:pt x="772" y="312"/>
                    <a:pt x="772" y="312"/>
                    <a:pt x="772" y="312"/>
                  </a:cubicBezTo>
                  <a:cubicBezTo>
                    <a:pt x="772" y="312"/>
                    <a:pt x="772" y="312"/>
                    <a:pt x="772" y="312"/>
                  </a:cubicBezTo>
                  <a:cubicBezTo>
                    <a:pt x="772" y="312"/>
                    <a:pt x="772" y="312"/>
                    <a:pt x="772" y="312"/>
                  </a:cubicBezTo>
                  <a:cubicBezTo>
                    <a:pt x="773" y="314"/>
                    <a:pt x="775" y="315"/>
                    <a:pt x="775" y="316"/>
                  </a:cubicBezTo>
                  <a:cubicBezTo>
                    <a:pt x="776" y="316"/>
                    <a:pt x="776" y="316"/>
                    <a:pt x="776" y="316"/>
                  </a:cubicBezTo>
                  <a:cubicBezTo>
                    <a:pt x="776" y="317"/>
                    <a:pt x="776" y="317"/>
                    <a:pt x="776" y="317"/>
                  </a:cubicBezTo>
                  <a:cubicBezTo>
                    <a:pt x="777" y="318"/>
                    <a:pt x="778" y="318"/>
                    <a:pt x="779" y="321"/>
                  </a:cubicBezTo>
                  <a:cubicBezTo>
                    <a:pt x="779" y="321"/>
                    <a:pt x="779" y="321"/>
                    <a:pt x="779" y="321"/>
                  </a:cubicBezTo>
                  <a:cubicBezTo>
                    <a:pt x="779" y="321"/>
                    <a:pt x="779" y="321"/>
                    <a:pt x="779" y="321"/>
                  </a:cubicBezTo>
                  <a:cubicBezTo>
                    <a:pt x="779" y="321"/>
                    <a:pt x="779" y="321"/>
                    <a:pt x="779" y="321"/>
                  </a:cubicBezTo>
                  <a:cubicBezTo>
                    <a:pt x="779" y="321"/>
                    <a:pt x="779" y="321"/>
                    <a:pt x="779" y="321"/>
                  </a:cubicBezTo>
                  <a:cubicBezTo>
                    <a:pt x="779" y="321"/>
                    <a:pt x="779" y="321"/>
                    <a:pt x="779" y="321"/>
                  </a:cubicBezTo>
                  <a:cubicBezTo>
                    <a:pt x="779" y="321"/>
                    <a:pt x="779" y="321"/>
                    <a:pt x="779" y="321"/>
                  </a:cubicBezTo>
                  <a:cubicBezTo>
                    <a:pt x="780" y="322"/>
                    <a:pt x="780" y="322"/>
                    <a:pt x="780" y="322"/>
                  </a:cubicBezTo>
                  <a:cubicBezTo>
                    <a:pt x="780" y="322"/>
                    <a:pt x="780" y="322"/>
                    <a:pt x="780" y="322"/>
                  </a:cubicBezTo>
                  <a:cubicBezTo>
                    <a:pt x="780" y="322"/>
                    <a:pt x="780" y="322"/>
                    <a:pt x="780" y="322"/>
                  </a:cubicBezTo>
                  <a:cubicBezTo>
                    <a:pt x="780" y="322"/>
                    <a:pt x="780" y="322"/>
                    <a:pt x="780" y="322"/>
                  </a:cubicBezTo>
                  <a:cubicBezTo>
                    <a:pt x="780" y="322"/>
                    <a:pt x="780" y="322"/>
                    <a:pt x="780" y="322"/>
                  </a:cubicBezTo>
                  <a:cubicBezTo>
                    <a:pt x="781" y="322"/>
                    <a:pt x="781" y="322"/>
                    <a:pt x="781" y="322"/>
                  </a:cubicBezTo>
                  <a:cubicBezTo>
                    <a:pt x="781" y="323"/>
                    <a:pt x="781" y="323"/>
                    <a:pt x="781" y="323"/>
                  </a:cubicBezTo>
                  <a:cubicBezTo>
                    <a:pt x="781" y="323"/>
                    <a:pt x="781" y="323"/>
                    <a:pt x="781" y="323"/>
                  </a:cubicBezTo>
                  <a:cubicBezTo>
                    <a:pt x="781" y="323"/>
                    <a:pt x="781" y="323"/>
                    <a:pt x="781" y="323"/>
                  </a:cubicBezTo>
                  <a:cubicBezTo>
                    <a:pt x="783" y="323"/>
                    <a:pt x="784" y="324"/>
                    <a:pt x="785" y="324"/>
                  </a:cubicBezTo>
                  <a:cubicBezTo>
                    <a:pt x="785" y="324"/>
                    <a:pt x="785" y="324"/>
                    <a:pt x="785" y="324"/>
                  </a:cubicBezTo>
                  <a:cubicBezTo>
                    <a:pt x="785" y="324"/>
                    <a:pt x="785" y="324"/>
                    <a:pt x="785" y="324"/>
                  </a:cubicBezTo>
                  <a:cubicBezTo>
                    <a:pt x="786" y="324"/>
                    <a:pt x="786" y="324"/>
                    <a:pt x="786" y="324"/>
                  </a:cubicBezTo>
                  <a:cubicBezTo>
                    <a:pt x="786" y="324"/>
                    <a:pt x="786" y="324"/>
                    <a:pt x="786" y="324"/>
                  </a:cubicBezTo>
                  <a:cubicBezTo>
                    <a:pt x="787" y="324"/>
                    <a:pt x="788" y="324"/>
                    <a:pt x="788" y="323"/>
                  </a:cubicBezTo>
                  <a:cubicBezTo>
                    <a:pt x="789" y="323"/>
                    <a:pt x="789" y="323"/>
                    <a:pt x="789" y="323"/>
                  </a:cubicBezTo>
                  <a:cubicBezTo>
                    <a:pt x="789" y="323"/>
                    <a:pt x="789" y="323"/>
                    <a:pt x="789" y="323"/>
                  </a:cubicBezTo>
                  <a:cubicBezTo>
                    <a:pt x="789" y="323"/>
                    <a:pt x="789" y="323"/>
                    <a:pt x="789" y="323"/>
                  </a:cubicBezTo>
                  <a:cubicBezTo>
                    <a:pt x="790" y="323"/>
                    <a:pt x="790" y="323"/>
                    <a:pt x="790" y="323"/>
                  </a:cubicBezTo>
                  <a:cubicBezTo>
                    <a:pt x="790" y="323"/>
                    <a:pt x="790" y="323"/>
                    <a:pt x="790" y="323"/>
                  </a:cubicBezTo>
                  <a:cubicBezTo>
                    <a:pt x="790" y="323"/>
                    <a:pt x="790" y="323"/>
                    <a:pt x="790" y="323"/>
                  </a:cubicBezTo>
                  <a:cubicBezTo>
                    <a:pt x="790" y="323"/>
                    <a:pt x="790" y="323"/>
                    <a:pt x="790" y="323"/>
                  </a:cubicBezTo>
                  <a:cubicBezTo>
                    <a:pt x="791" y="323"/>
                    <a:pt x="791" y="323"/>
                    <a:pt x="791" y="323"/>
                  </a:cubicBezTo>
                  <a:cubicBezTo>
                    <a:pt x="791" y="323"/>
                    <a:pt x="791" y="323"/>
                    <a:pt x="791" y="323"/>
                  </a:cubicBezTo>
                  <a:cubicBezTo>
                    <a:pt x="791" y="323"/>
                    <a:pt x="791" y="323"/>
                    <a:pt x="791" y="323"/>
                  </a:cubicBezTo>
                  <a:cubicBezTo>
                    <a:pt x="791" y="323"/>
                    <a:pt x="791" y="323"/>
                    <a:pt x="791" y="323"/>
                  </a:cubicBezTo>
                  <a:cubicBezTo>
                    <a:pt x="792" y="323"/>
                    <a:pt x="792" y="323"/>
                    <a:pt x="792" y="323"/>
                  </a:cubicBezTo>
                  <a:cubicBezTo>
                    <a:pt x="792" y="323"/>
                    <a:pt x="792" y="323"/>
                    <a:pt x="792" y="323"/>
                  </a:cubicBezTo>
                  <a:cubicBezTo>
                    <a:pt x="793" y="323"/>
                    <a:pt x="793" y="323"/>
                    <a:pt x="793" y="323"/>
                  </a:cubicBezTo>
                  <a:cubicBezTo>
                    <a:pt x="794" y="323"/>
                    <a:pt x="794" y="323"/>
                    <a:pt x="794" y="323"/>
                  </a:cubicBezTo>
                  <a:cubicBezTo>
                    <a:pt x="794" y="323"/>
                    <a:pt x="794" y="323"/>
                    <a:pt x="794" y="323"/>
                  </a:cubicBezTo>
                  <a:cubicBezTo>
                    <a:pt x="794" y="323"/>
                    <a:pt x="794" y="323"/>
                    <a:pt x="794" y="323"/>
                  </a:cubicBezTo>
                  <a:cubicBezTo>
                    <a:pt x="791" y="324"/>
                    <a:pt x="795" y="324"/>
                    <a:pt x="790" y="325"/>
                  </a:cubicBezTo>
                  <a:cubicBezTo>
                    <a:pt x="790" y="325"/>
                    <a:pt x="790" y="325"/>
                    <a:pt x="790" y="325"/>
                  </a:cubicBezTo>
                  <a:cubicBezTo>
                    <a:pt x="790" y="325"/>
                    <a:pt x="790" y="325"/>
                    <a:pt x="790" y="325"/>
                  </a:cubicBezTo>
                  <a:cubicBezTo>
                    <a:pt x="790" y="325"/>
                    <a:pt x="790" y="325"/>
                    <a:pt x="790" y="325"/>
                  </a:cubicBezTo>
                  <a:cubicBezTo>
                    <a:pt x="790" y="326"/>
                    <a:pt x="790" y="326"/>
                    <a:pt x="790" y="326"/>
                  </a:cubicBezTo>
                  <a:cubicBezTo>
                    <a:pt x="791" y="326"/>
                    <a:pt x="791" y="326"/>
                    <a:pt x="791" y="326"/>
                  </a:cubicBezTo>
                  <a:cubicBezTo>
                    <a:pt x="792" y="326"/>
                    <a:pt x="792" y="326"/>
                    <a:pt x="792" y="326"/>
                  </a:cubicBezTo>
                  <a:cubicBezTo>
                    <a:pt x="792" y="326"/>
                    <a:pt x="792" y="326"/>
                    <a:pt x="792" y="326"/>
                  </a:cubicBezTo>
                  <a:cubicBezTo>
                    <a:pt x="792" y="326"/>
                    <a:pt x="792" y="326"/>
                    <a:pt x="792" y="326"/>
                  </a:cubicBezTo>
                  <a:cubicBezTo>
                    <a:pt x="792" y="326"/>
                    <a:pt x="792" y="326"/>
                    <a:pt x="792" y="326"/>
                  </a:cubicBezTo>
                  <a:cubicBezTo>
                    <a:pt x="792" y="327"/>
                    <a:pt x="792" y="327"/>
                    <a:pt x="792" y="327"/>
                  </a:cubicBezTo>
                  <a:cubicBezTo>
                    <a:pt x="792" y="327"/>
                    <a:pt x="792" y="327"/>
                    <a:pt x="792" y="327"/>
                  </a:cubicBezTo>
                  <a:cubicBezTo>
                    <a:pt x="792" y="327"/>
                    <a:pt x="792" y="327"/>
                    <a:pt x="792" y="327"/>
                  </a:cubicBezTo>
                  <a:cubicBezTo>
                    <a:pt x="792" y="327"/>
                    <a:pt x="792" y="327"/>
                    <a:pt x="792" y="327"/>
                  </a:cubicBezTo>
                  <a:cubicBezTo>
                    <a:pt x="791" y="327"/>
                    <a:pt x="791" y="327"/>
                    <a:pt x="791" y="327"/>
                  </a:cubicBezTo>
                  <a:cubicBezTo>
                    <a:pt x="791" y="328"/>
                    <a:pt x="791" y="328"/>
                    <a:pt x="791" y="328"/>
                  </a:cubicBezTo>
                  <a:cubicBezTo>
                    <a:pt x="791" y="328"/>
                    <a:pt x="791" y="328"/>
                    <a:pt x="791" y="328"/>
                  </a:cubicBezTo>
                  <a:cubicBezTo>
                    <a:pt x="791" y="328"/>
                    <a:pt x="791" y="328"/>
                    <a:pt x="791" y="328"/>
                  </a:cubicBezTo>
                  <a:cubicBezTo>
                    <a:pt x="790" y="328"/>
                    <a:pt x="790" y="328"/>
                    <a:pt x="790" y="328"/>
                  </a:cubicBezTo>
                  <a:cubicBezTo>
                    <a:pt x="790" y="328"/>
                    <a:pt x="790" y="328"/>
                    <a:pt x="790" y="328"/>
                  </a:cubicBezTo>
                  <a:cubicBezTo>
                    <a:pt x="790" y="328"/>
                    <a:pt x="790" y="328"/>
                    <a:pt x="790" y="328"/>
                  </a:cubicBezTo>
                  <a:cubicBezTo>
                    <a:pt x="790" y="329"/>
                    <a:pt x="791" y="329"/>
                    <a:pt x="790" y="330"/>
                  </a:cubicBezTo>
                  <a:cubicBezTo>
                    <a:pt x="790" y="330"/>
                    <a:pt x="790" y="330"/>
                    <a:pt x="790" y="330"/>
                  </a:cubicBezTo>
                  <a:cubicBezTo>
                    <a:pt x="790" y="330"/>
                    <a:pt x="790" y="330"/>
                    <a:pt x="790" y="330"/>
                  </a:cubicBezTo>
                  <a:cubicBezTo>
                    <a:pt x="790" y="330"/>
                    <a:pt x="790" y="330"/>
                    <a:pt x="790" y="330"/>
                  </a:cubicBezTo>
                  <a:cubicBezTo>
                    <a:pt x="790" y="331"/>
                    <a:pt x="789" y="334"/>
                    <a:pt x="788" y="335"/>
                  </a:cubicBezTo>
                  <a:cubicBezTo>
                    <a:pt x="788" y="335"/>
                    <a:pt x="788" y="335"/>
                    <a:pt x="788" y="335"/>
                  </a:cubicBezTo>
                  <a:cubicBezTo>
                    <a:pt x="788" y="335"/>
                    <a:pt x="788" y="335"/>
                    <a:pt x="788" y="335"/>
                  </a:cubicBezTo>
                  <a:cubicBezTo>
                    <a:pt x="788" y="335"/>
                    <a:pt x="788" y="335"/>
                    <a:pt x="788" y="335"/>
                  </a:cubicBezTo>
                  <a:cubicBezTo>
                    <a:pt x="787" y="336"/>
                    <a:pt x="787" y="336"/>
                    <a:pt x="787" y="336"/>
                  </a:cubicBezTo>
                  <a:cubicBezTo>
                    <a:pt x="786" y="338"/>
                    <a:pt x="786" y="338"/>
                    <a:pt x="784" y="340"/>
                  </a:cubicBezTo>
                  <a:cubicBezTo>
                    <a:pt x="784" y="340"/>
                    <a:pt x="784" y="340"/>
                    <a:pt x="784" y="340"/>
                  </a:cubicBezTo>
                  <a:cubicBezTo>
                    <a:pt x="784" y="340"/>
                    <a:pt x="784" y="340"/>
                    <a:pt x="784" y="340"/>
                  </a:cubicBezTo>
                  <a:cubicBezTo>
                    <a:pt x="783" y="340"/>
                    <a:pt x="783" y="340"/>
                    <a:pt x="783" y="340"/>
                  </a:cubicBezTo>
                  <a:cubicBezTo>
                    <a:pt x="783" y="341"/>
                    <a:pt x="783" y="341"/>
                    <a:pt x="783" y="341"/>
                  </a:cubicBezTo>
                  <a:cubicBezTo>
                    <a:pt x="783" y="341"/>
                    <a:pt x="783" y="341"/>
                    <a:pt x="783" y="341"/>
                  </a:cubicBezTo>
                  <a:cubicBezTo>
                    <a:pt x="783" y="341"/>
                    <a:pt x="783" y="341"/>
                    <a:pt x="783" y="341"/>
                  </a:cubicBezTo>
                  <a:cubicBezTo>
                    <a:pt x="783" y="342"/>
                    <a:pt x="783" y="342"/>
                    <a:pt x="783" y="342"/>
                  </a:cubicBezTo>
                  <a:cubicBezTo>
                    <a:pt x="783" y="343"/>
                    <a:pt x="783" y="343"/>
                    <a:pt x="783" y="343"/>
                  </a:cubicBezTo>
                  <a:cubicBezTo>
                    <a:pt x="783" y="344"/>
                    <a:pt x="783" y="344"/>
                    <a:pt x="783" y="344"/>
                  </a:cubicBezTo>
                  <a:cubicBezTo>
                    <a:pt x="783" y="344"/>
                    <a:pt x="783" y="344"/>
                    <a:pt x="783" y="344"/>
                  </a:cubicBezTo>
                  <a:cubicBezTo>
                    <a:pt x="783" y="344"/>
                    <a:pt x="783" y="344"/>
                    <a:pt x="783" y="344"/>
                  </a:cubicBezTo>
                  <a:cubicBezTo>
                    <a:pt x="782" y="344"/>
                    <a:pt x="782" y="344"/>
                    <a:pt x="782" y="344"/>
                  </a:cubicBezTo>
                  <a:cubicBezTo>
                    <a:pt x="781" y="344"/>
                    <a:pt x="782" y="345"/>
                    <a:pt x="781" y="346"/>
                  </a:cubicBezTo>
                  <a:cubicBezTo>
                    <a:pt x="781" y="346"/>
                    <a:pt x="781" y="346"/>
                    <a:pt x="781" y="346"/>
                  </a:cubicBezTo>
                  <a:cubicBezTo>
                    <a:pt x="780" y="346"/>
                    <a:pt x="780" y="346"/>
                    <a:pt x="780" y="346"/>
                  </a:cubicBezTo>
                  <a:cubicBezTo>
                    <a:pt x="780" y="346"/>
                    <a:pt x="780" y="346"/>
                    <a:pt x="780" y="346"/>
                  </a:cubicBezTo>
                  <a:cubicBezTo>
                    <a:pt x="778" y="347"/>
                    <a:pt x="778" y="347"/>
                    <a:pt x="778" y="347"/>
                  </a:cubicBezTo>
                  <a:cubicBezTo>
                    <a:pt x="754" y="327"/>
                    <a:pt x="754" y="327"/>
                    <a:pt x="754" y="327"/>
                  </a:cubicBezTo>
                  <a:cubicBezTo>
                    <a:pt x="754" y="326"/>
                    <a:pt x="754" y="326"/>
                    <a:pt x="754" y="326"/>
                  </a:cubicBezTo>
                  <a:cubicBezTo>
                    <a:pt x="752" y="326"/>
                    <a:pt x="751" y="325"/>
                    <a:pt x="749" y="325"/>
                  </a:cubicBezTo>
                  <a:cubicBezTo>
                    <a:pt x="749" y="325"/>
                    <a:pt x="749" y="325"/>
                    <a:pt x="749" y="325"/>
                  </a:cubicBezTo>
                  <a:cubicBezTo>
                    <a:pt x="748" y="325"/>
                    <a:pt x="748" y="325"/>
                    <a:pt x="748" y="325"/>
                  </a:cubicBezTo>
                  <a:cubicBezTo>
                    <a:pt x="745" y="325"/>
                    <a:pt x="742" y="324"/>
                    <a:pt x="739" y="323"/>
                  </a:cubicBezTo>
                  <a:cubicBezTo>
                    <a:pt x="732" y="320"/>
                    <a:pt x="732" y="320"/>
                    <a:pt x="732" y="320"/>
                  </a:cubicBezTo>
                  <a:cubicBezTo>
                    <a:pt x="729" y="319"/>
                    <a:pt x="729" y="319"/>
                    <a:pt x="729" y="319"/>
                  </a:cubicBezTo>
                  <a:cubicBezTo>
                    <a:pt x="729" y="317"/>
                    <a:pt x="729" y="317"/>
                    <a:pt x="729" y="317"/>
                  </a:cubicBezTo>
                  <a:cubicBezTo>
                    <a:pt x="730" y="317"/>
                    <a:pt x="730" y="317"/>
                    <a:pt x="730" y="317"/>
                  </a:cubicBezTo>
                  <a:cubicBezTo>
                    <a:pt x="729" y="317"/>
                    <a:pt x="729" y="317"/>
                    <a:pt x="729" y="317"/>
                  </a:cubicBezTo>
                  <a:cubicBezTo>
                    <a:pt x="727" y="316"/>
                    <a:pt x="727" y="316"/>
                    <a:pt x="727" y="316"/>
                  </a:cubicBezTo>
                  <a:cubicBezTo>
                    <a:pt x="715" y="312"/>
                    <a:pt x="715" y="312"/>
                    <a:pt x="715" y="312"/>
                  </a:cubicBezTo>
                  <a:cubicBezTo>
                    <a:pt x="715" y="312"/>
                    <a:pt x="715" y="312"/>
                    <a:pt x="715" y="312"/>
                  </a:cubicBezTo>
                  <a:cubicBezTo>
                    <a:pt x="715" y="313"/>
                    <a:pt x="715" y="313"/>
                    <a:pt x="715" y="313"/>
                  </a:cubicBezTo>
                  <a:cubicBezTo>
                    <a:pt x="714" y="313"/>
                    <a:pt x="714" y="313"/>
                    <a:pt x="714" y="313"/>
                  </a:cubicBezTo>
                  <a:cubicBezTo>
                    <a:pt x="714" y="313"/>
                    <a:pt x="715" y="313"/>
                    <a:pt x="715" y="312"/>
                  </a:cubicBezTo>
                  <a:cubicBezTo>
                    <a:pt x="714" y="313"/>
                    <a:pt x="712" y="315"/>
                    <a:pt x="712" y="315"/>
                  </a:cubicBezTo>
                  <a:cubicBezTo>
                    <a:pt x="712" y="315"/>
                    <a:pt x="712" y="315"/>
                    <a:pt x="712" y="315"/>
                  </a:cubicBezTo>
                  <a:cubicBezTo>
                    <a:pt x="712" y="315"/>
                    <a:pt x="712" y="315"/>
                    <a:pt x="712" y="315"/>
                  </a:cubicBezTo>
                  <a:cubicBezTo>
                    <a:pt x="711" y="316"/>
                    <a:pt x="711" y="316"/>
                    <a:pt x="711" y="316"/>
                  </a:cubicBezTo>
                  <a:cubicBezTo>
                    <a:pt x="711" y="316"/>
                    <a:pt x="710" y="313"/>
                    <a:pt x="711" y="312"/>
                  </a:cubicBezTo>
                  <a:cubicBezTo>
                    <a:pt x="712" y="311"/>
                    <a:pt x="714" y="313"/>
                    <a:pt x="714" y="311"/>
                  </a:cubicBezTo>
                  <a:cubicBezTo>
                    <a:pt x="714" y="311"/>
                    <a:pt x="710" y="309"/>
                    <a:pt x="710" y="309"/>
                  </a:cubicBezTo>
                  <a:cubicBezTo>
                    <a:pt x="706" y="307"/>
                    <a:pt x="703" y="305"/>
                    <a:pt x="700" y="304"/>
                  </a:cubicBezTo>
                  <a:cubicBezTo>
                    <a:pt x="689" y="300"/>
                    <a:pt x="679" y="298"/>
                    <a:pt x="668" y="297"/>
                  </a:cubicBezTo>
                  <a:cubicBezTo>
                    <a:pt x="661" y="296"/>
                    <a:pt x="653" y="295"/>
                    <a:pt x="646" y="294"/>
                  </a:cubicBezTo>
                  <a:cubicBezTo>
                    <a:pt x="644" y="294"/>
                    <a:pt x="641" y="292"/>
                    <a:pt x="640" y="293"/>
                  </a:cubicBezTo>
                  <a:cubicBezTo>
                    <a:pt x="635" y="294"/>
                    <a:pt x="631" y="298"/>
                    <a:pt x="627" y="299"/>
                  </a:cubicBezTo>
                  <a:cubicBezTo>
                    <a:pt x="625" y="299"/>
                    <a:pt x="621" y="298"/>
                    <a:pt x="622" y="302"/>
                  </a:cubicBezTo>
                  <a:cubicBezTo>
                    <a:pt x="624" y="305"/>
                    <a:pt x="625" y="306"/>
                    <a:pt x="627" y="308"/>
                  </a:cubicBezTo>
                  <a:cubicBezTo>
                    <a:pt x="628" y="309"/>
                    <a:pt x="630" y="311"/>
                    <a:pt x="630" y="313"/>
                  </a:cubicBezTo>
                  <a:cubicBezTo>
                    <a:pt x="630" y="314"/>
                    <a:pt x="631" y="321"/>
                    <a:pt x="633" y="317"/>
                  </a:cubicBezTo>
                  <a:cubicBezTo>
                    <a:pt x="635" y="315"/>
                    <a:pt x="636" y="318"/>
                    <a:pt x="636" y="320"/>
                  </a:cubicBezTo>
                  <a:cubicBezTo>
                    <a:pt x="637" y="322"/>
                    <a:pt x="637" y="324"/>
                    <a:pt x="635" y="325"/>
                  </a:cubicBezTo>
                  <a:cubicBezTo>
                    <a:pt x="631" y="328"/>
                    <a:pt x="624" y="329"/>
                    <a:pt x="619" y="331"/>
                  </a:cubicBezTo>
                  <a:cubicBezTo>
                    <a:pt x="619" y="331"/>
                    <a:pt x="619" y="332"/>
                    <a:pt x="619" y="332"/>
                  </a:cubicBezTo>
                  <a:cubicBezTo>
                    <a:pt x="619" y="332"/>
                    <a:pt x="619" y="332"/>
                    <a:pt x="619" y="331"/>
                  </a:cubicBezTo>
                  <a:cubicBezTo>
                    <a:pt x="618" y="333"/>
                    <a:pt x="616" y="334"/>
                    <a:pt x="617" y="336"/>
                  </a:cubicBezTo>
                  <a:cubicBezTo>
                    <a:pt x="617" y="337"/>
                    <a:pt x="618" y="337"/>
                    <a:pt x="618" y="338"/>
                  </a:cubicBezTo>
                  <a:cubicBezTo>
                    <a:pt x="618" y="340"/>
                    <a:pt x="617" y="341"/>
                    <a:pt x="615" y="342"/>
                  </a:cubicBezTo>
                  <a:cubicBezTo>
                    <a:pt x="612" y="344"/>
                    <a:pt x="607" y="342"/>
                    <a:pt x="604" y="341"/>
                  </a:cubicBezTo>
                  <a:cubicBezTo>
                    <a:pt x="600" y="340"/>
                    <a:pt x="602" y="340"/>
                    <a:pt x="602" y="337"/>
                  </a:cubicBezTo>
                  <a:cubicBezTo>
                    <a:pt x="602" y="336"/>
                    <a:pt x="601" y="336"/>
                    <a:pt x="601" y="335"/>
                  </a:cubicBezTo>
                  <a:cubicBezTo>
                    <a:pt x="601" y="334"/>
                    <a:pt x="602" y="332"/>
                    <a:pt x="603" y="332"/>
                  </a:cubicBezTo>
                  <a:cubicBezTo>
                    <a:pt x="604" y="331"/>
                    <a:pt x="608" y="331"/>
                    <a:pt x="607" y="329"/>
                  </a:cubicBezTo>
                  <a:cubicBezTo>
                    <a:pt x="607" y="328"/>
                    <a:pt x="604" y="326"/>
                    <a:pt x="603" y="325"/>
                  </a:cubicBezTo>
                  <a:cubicBezTo>
                    <a:pt x="601" y="324"/>
                    <a:pt x="600" y="324"/>
                    <a:pt x="598" y="324"/>
                  </a:cubicBezTo>
                  <a:cubicBezTo>
                    <a:pt x="599" y="322"/>
                    <a:pt x="602" y="322"/>
                    <a:pt x="604" y="322"/>
                  </a:cubicBezTo>
                  <a:cubicBezTo>
                    <a:pt x="597" y="321"/>
                    <a:pt x="591" y="324"/>
                    <a:pt x="586" y="328"/>
                  </a:cubicBezTo>
                  <a:cubicBezTo>
                    <a:pt x="587" y="329"/>
                    <a:pt x="589" y="329"/>
                    <a:pt x="589" y="330"/>
                  </a:cubicBezTo>
                  <a:cubicBezTo>
                    <a:pt x="587" y="330"/>
                    <a:pt x="585" y="328"/>
                    <a:pt x="585" y="327"/>
                  </a:cubicBezTo>
                  <a:cubicBezTo>
                    <a:pt x="584" y="326"/>
                    <a:pt x="587" y="324"/>
                    <a:pt x="583" y="326"/>
                  </a:cubicBezTo>
                  <a:cubicBezTo>
                    <a:pt x="579" y="328"/>
                    <a:pt x="573" y="330"/>
                    <a:pt x="570" y="333"/>
                  </a:cubicBezTo>
                  <a:cubicBezTo>
                    <a:pt x="569" y="335"/>
                    <a:pt x="570" y="335"/>
                    <a:pt x="567" y="336"/>
                  </a:cubicBezTo>
                  <a:cubicBezTo>
                    <a:pt x="565" y="336"/>
                    <a:pt x="562" y="335"/>
                    <a:pt x="560" y="335"/>
                  </a:cubicBezTo>
                  <a:cubicBezTo>
                    <a:pt x="556" y="334"/>
                    <a:pt x="554" y="333"/>
                    <a:pt x="550" y="334"/>
                  </a:cubicBezTo>
                  <a:cubicBezTo>
                    <a:pt x="547" y="335"/>
                    <a:pt x="546" y="334"/>
                    <a:pt x="543" y="333"/>
                  </a:cubicBezTo>
                  <a:cubicBezTo>
                    <a:pt x="540" y="332"/>
                    <a:pt x="534" y="338"/>
                    <a:pt x="532" y="339"/>
                  </a:cubicBezTo>
                  <a:cubicBezTo>
                    <a:pt x="529" y="341"/>
                    <a:pt x="526" y="343"/>
                    <a:pt x="523" y="345"/>
                  </a:cubicBezTo>
                  <a:cubicBezTo>
                    <a:pt x="522" y="345"/>
                    <a:pt x="523" y="346"/>
                    <a:pt x="522" y="347"/>
                  </a:cubicBezTo>
                  <a:cubicBezTo>
                    <a:pt x="520" y="349"/>
                    <a:pt x="520" y="349"/>
                    <a:pt x="518" y="347"/>
                  </a:cubicBezTo>
                  <a:cubicBezTo>
                    <a:pt x="516" y="346"/>
                    <a:pt x="515" y="344"/>
                    <a:pt x="512" y="345"/>
                  </a:cubicBezTo>
                  <a:cubicBezTo>
                    <a:pt x="510" y="347"/>
                    <a:pt x="508" y="349"/>
                    <a:pt x="508" y="345"/>
                  </a:cubicBezTo>
                  <a:cubicBezTo>
                    <a:pt x="505" y="346"/>
                    <a:pt x="505" y="348"/>
                    <a:pt x="502" y="347"/>
                  </a:cubicBezTo>
                  <a:cubicBezTo>
                    <a:pt x="499" y="346"/>
                    <a:pt x="495" y="345"/>
                    <a:pt x="492" y="343"/>
                  </a:cubicBezTo>
                  <a:cubicBezTo>
                    <a:pt x="494" y="342"/>
                    <a:pt x="496" y="343"/>
                    <a:pt x="498" y="342"/>
                  </a:cubicBezTo>
                  <a:cubicBezTo>
                    <a:pt x="497" y="342"/>
                    <a:pt x="497" y="342"/>
                    <a:pt x="496" y="341"/>
                  </a:cubicBezTo>
                  <a:cubicBezTo>
                    <a:pt x="498" y="341"/>
                    <a:pt x="501" y="341"/>
                    <a:pt x="503" y="341"/>
                  </a:cubicBezTo>
                  <a:cubicBezTo>
                    <a:pt x="503" y="339"/>
                    <a:pt x="502" y="338"/>
                    <a:pt x="501" y="336"/>
                  </a:cubicBezTo>
                  <a:cubicBezTo>
                    <a:pt x="498" y="333"/>
                    <a:pt x="500" y="333"/>
                    <a:pt x="501" y="330"/>
                  </a:cubicBezTo>
                  <a:cubicBezTo>
                    <a:pt x="502" y="329"/>
                    <a:pt x="502" y="329"/>
                    <a:pt x="503" y="328"/>
                  </a:cubicBezTo>
                  <a:cubicBezTo>
                    <a:pt x="504" y="327"/>
                    <a:pt x="506" y="327"/>
                    <a:pt x="504" y="326"/>
                  </a:cubicBezTo>
                  <a:cubicBezTo>
                    <a:pt x="502" y="325"/>
                    <a:pt x="499" y="326"/>
                    <a:pt x="497" y="324"/>
                  </a:cubicBezTo>
                  <a:cubicBezTo>
                    <a:pt x="498" y="324"/>
                    <a:pt x="499" y="324"/>
                    <a:pt x="499" y="324"/>
                  </a:cubicBezTo>
                  <a:cubicBezTo>
                    <a:pt x="493" y="325"/>
                    <a:pt x="488" y="327"/>
                    <a:pt x="482" y="329"/>
                  </a:cubicBezTo>
                  <a:cubicBezTo>
                    <a:pt x="480" y="330"/>
                    <a:pt x="478" y="331"/>
                    <a:pt x="476" y="332"/>
                  </a:cubicBezTo>
                  <a:cubicBezTo>
                    <a:pt x="474" y="333"/>
                    <a:pt x="470" y="334"/>
                    <a:pt x="473" y="335"/>
                  </a:cubicBezTo>
                  <a:cubicBezTo>
                    <a:pt x="474" y="336"/>
                    <a:pt x="475" y="335"/>
                    <a:pt x="476" y="336"/>
                  </a:cubicBezTo>
                  <a:cubicBezTo>
                    <a:pt x="477" y="336"/>
                    <a:pt x="478" y="337"/>
                    <a:pt x="478" y="338"/>
                  </a:cubicBezTo>
                  <a:cubicBezTo>
                    <a:pt x="480" y="339"/>
                    <a:pt x="481" y="339"/>
                    <a:pt x="479" y="341"/>
                  </a:cubicBezTo>
                  <a:cubicBezTo>
                    <a:pt x="478" y="342"/>
                    <a:pt x="474" y="344"/>
                    <a:pt x="473" y="344"/>
                  </a:cubicBezTo>
                  <a:cubicBezTo>
                    <a:pt x="471" y="344"/>
                    <a:pt x="471" y="343"/>
                    <a:pt x="472" y="341"/>
                  </a:cubicBezTo>
                  <a:cubicBezTo>
                    <a:pt x="472" y="340"/>
                    <a:pt x="472" y="339"/>
                    <a:pt x="473" y="339"/>
                  </a:cubicBezTo>
                  <a:cubicBezTo>
                    <a:pt x="472" y="338"/>
                    <a:pt x="469" y="338"/>
                    <a:pt x="468" y="338"/>
                  </a:cubicBezTo>
                  <a:cubicBezTo>
                    <a:pt x="469" y="337"/>
                    <a:pt x="470" y="337"/>
                    <a:pt x="470" y="336"/>
                  </a:cubicBezTo>
                  <a:cubicBezTo>
                    <a:pt x="467" y="336"/>
                    <a:pt x="460" y="337"/>
                    <a:pt x="458" y="339"/>
                  </a:cubicBezTo>
                  <a:cubicBezTo>
                    <a:pt x="457" y="340"/>
                    <a:pt x="459" y="340"/>
                    <a:pt x="458" y="340"/>
                  </a:cubicBezTo>
                  <a:cubicBezTo>
                    <a:pt x="458" y="341"/>
                    <a:pt x="457" y="341"/>
                    <a:pt x="456" y="341"/>
                  </a:cubicBezTo>
                  <a:cubicBezTo>
                    <a:pt x="455" y="341"/>
                    <a:pt x="454" y="342"/>
                    <a:pt x="452" y="342"/>
                  </a:cubicBezTo>
                  <a:cubicBezTo>
                    <a:pt x="450" y="342"/>
                    <a:pt x="448" y="343"/>
                    <a:pt x="446" y="343"/>
                  </a:cubicBezTo>
                  <a:cubicBezTo>
                    <a:pt x="442" y="344"/>
                    <a:pt x="441" y="344"/>
                    <a:pt x="438" y="346"/>
                  </a:cubicBezTo>
                  <a:cubicBezTo>
                    <a:pt x="436" y="347"/>
                    <a:pt x="434" y="348"/>
                    <a:pt x="432" y="349"/>
                  </a:cubicBezTo>
                  <a:cubicBezTo>
                    <a:pt x="430" y="351"/>
                    <a:pt x="429" y="353"/>
                    <a:pt x="427" y="353"/>
                  </a:cubicBezTo>
                  <a:cubicBezTo>
                    <a:pt x="425" y="354"/>
                    <a:pt x="423" y="355"/>
                    <a:pt x="420" y="356"/>
                  </a:cubicBezTo>
                  <a:cubicBezTo>
                    <a:pt x="418" y="356"/>
                    <a:pt x="416" y="357"/>
                    <a:pt x="414" y="358"/>
                  </a:cubicBezTo>
                  <a:cubicBezTo>
                    <a:pt x="413" y="359"/>
                    <a:pt x="411" y="359"/>
                    <a:pt x="409" y="359"/>
                  </a:cubicBezTo>
                  <a:cubicBezTo>
                    <a:pt x="409" y="359"/>
                    <a:pt x="408" y="359"/>
                    <a:pt x="407" y="360"/>
                  </a:cubicBezTo>
                  <a:cubicBezTo>
                    <a:pt x="405" y="360"/>
                    <a:pt x="406" y="360"/>
                    <a:pt x="405" y="361"/>
                  </a:cubicBezTo>
                  <a:cubicBezTo>
                    <a:pt x="404" y="364"/>
                    <a:pt x="405" y="363"/>
                    <a:pt x="408" y="364"/>
                  </a:cubicBezTo>
                  <a:cubicBezTo>
                    <a:pt x="409" y="364"/>
                    <a:pt x="410" y="365"/>
                    <a:pt x="411" y="366"/>
                  </a:cubicBezTo>
                  <a:cubicBezTo>
                    <a:pt x="406" y="367"/>
                    <a:pt x="401" y="365"/>
                    <a:pt x="396" y="365"/>
                  </a:cubicBezTo>
                  <a:cubicBezTo>
                    <a:pt x="394" y="366"/>
                    <a:pt x="394" y="366"/>
                    <a:pt x="392" y="367"/>
                  </a:cubicBezTo>
                  <a:cubicBezTo>
                    <a:pt x="391" y="368"/>
                    <a:pt x="387" y="367"/>
                    <a:pt x="387" y="368"/>
                  </a:cubicBezTo>
                  <a:cubicBezTo>
                    <a:pt x="386" y="369"/>
                    <a:pt x="389" y="371"/>
                    <a:pt x="389" y="372"/>
                  </a:cubicBezTo>
                  <a:cubicBezTo>
                    <a:pt x="389" y="374"/>
                    <a:pt x="386" y="375"/>
                    <a:pt x="386" y="377"/>
                  </a:cubicBezTo>
                  <a:cubicBezTo>
                    <a:pt x="386" y="378"/>
                    <a:pt x="386" y="379"/>
                    <a:pt x="386" y="380"/>
                  </a:cubicBezTo>
                  <a:cubicBezTo>
                    <a:pt x="385" y="380"/>
                    <a:pt x="384" y="380"/>
                    <a:pt x="384" y="381"/>
                  </a:cubicBezTo>
                  <a:cubicBezTo>
                    <a:pt x="384" y="381"/>
                    <a:pt x="385" y="381"/>
                    <a:pt x="385" y="382"/>
                  </a:cubicBezTo>
                  <a:cubicBezTo>
                    <a:pt x="385" y="384"/>
                    <a:pt x="386" y="385"/>
                    <a:pt x="385" y="387"/>
                  </a:cubicBezTo>
                  <a:cubicBezTo>
                    <a:pt x="384" y="388"/>
                    <a:pt x="383" y="388"/>
                    <a:pt x="382" y="389"/>
                  </a:cubicBezTo>
                  <a:cubicBezTo>
                    <a:pt x="381" y="390"/>
                    <a:pt x="383" y="391"/>
                    <a:pt x="380" y="391"/>
                  </a:cubicBezTo>
                  <a:cubicBezTo>
                    <a:pt x="376" y="390"/>
                    <a:pt x="374" y="391"/>
                    <a:pt x="370" y="392"/>
                  </a:cubicBezTo>
                  <a:cubicBezTo>
                    <a:pt x="368" y="392"/>
                    <a:pt x="366" y="392"/>
                    <a:pt x="365" y="393"/>
                  </a:cubicBezTo>
                  <a:cubicBezTo>
                    <a:pt x="363" y="393"/>
                    <a:pt x="362" y="395"/>
                    <a:pt x="360" y="395"/>
                  </a:cubicBezTo>
                  <a:cubicBezTo>
                    <a:pt x="362" y="393"/>
                    <a:pt x="365" y="391"/>
                    <a:pt x="360" y="392"/>
                  </a:cubicBezTo>
                  <a:cubicBezTo>
                    <a:pt x="358" y="392"/>
                    <a:pt x="355" y="393"/>
                    <a:pt x="353" y="392"/>
                  </a:cubicBezTo>
                  <a:cubicBezTo>
                    <a:pt x="350" y="392"/>
                    <a:pt x="348" y="389"/>
                    <a:pt x="346" y="386"/>
                  </a:cubicBezTo>
                  <a:cubicBezTo>
                    <a:pt x="344" y="382"/>
                    <a:pt x="340" y="380"/>
                    <a:pt x="336" y="378"/>
                  </a:cubicBezTo>
                  <a:cubicBezTo>
                    <a:pt x="333" y="377"/>
                    <a:pt x="331" y="375"/>
                    <a:pt x="332" y="372"/>
                  </a:cubicBezTo>
                  <a:cubicBezTo>
                    <a:pt x="333" y="370"/>
                    <a:pt x="335" y="369"/>
                    <a:pt x="337" y="368"/>
                  </a:cubicBezTo>
                  <a:cubicBezTo>
                    <a:pt x="339" y="367"/>
                    <a:pt x="341" y="367"/>
                    <a:pt x="339" y="364"/>
                  </a:cubicBezTo>
                  <a:cubicBezTo>
                    <a:pt x="339" y="363"/>
                    <a:pt x="345" y="362"/>
                    <a:pt x="345" y="362"/>
                  </a:cubicBezTo>
                  <a:cubicBezTo>
                    <a:pt x="349" y="362"/>
                    <a:pt x="353" y="361"/>
                    <a:pt x="357" y="361"/>
                  </a:cubicBezTo>
                  <a:cubicBezTo>
                    <a:pt x="359" y="360"/>
                    <a:pt x="359" y="360"/>
                    <a:pt x="361" y="360"/>
                  </a:cubicBezTo>
                  <a:cubicBezTo>
                    <a:pt x="362" y="361"/>
                    <a:pt x="365" y="361"/>
                    <a:pt x="366" y="360"/>
                  </a:cubicBezTo>
                  <a:cubicBezTo>
                    <a:pt x="367" y="359"/>
                    <a:pt x="364" y="355"/>
                    <a:pt x="363" y="354"/>
                  </a:cubicBezTo>
                  <a:cubicBezTo>
                    <a:pt x="362" y="352"/>
                    <a:pt x="363" y="350"/>
                    <a:pt x="360" y="349"/>
                  </a:cubicBezTo>
                  <a:cubicBezTo>
                    <a:pt x="357" y="347"/>
                    <a:pt x="354" y="345"/>
                    <a:pt x="352" y="342"/>
                  </a:cubicBezTo>
                  <a:cubicBezTo>
                    <a:pt x="351" y="341"/>
                    <a:pt x="350" y="339"/>
                    <a:pt x="353" y="339"/>
                  </a:cubicBezTo>
                  <a:cubicBezTo>
                    <a:pt x="335" y="337"/>
                    <a:pt x="317" y="335"/>
                    <a:pt x="300" y="333"/>
                  </a:cubicBezTo>
                  <a:cubicBezTo>
                    <a:pt x="303" y="336"/>
                    <a:pt x="307" y="339"/>
                    <a:pt x="312" y="341"/>
                  </a:cubicBezTo>
                  <a:cubicBezTo>
                    <a:pt x="314" y="341"/>
                    <a:pt x="316" y="343"/>
                    <a:pt x="317" y="344"/>
                  </a:cubicBezTo>
                  <a:cubicBezTo>
                    <a:pt x="318" y="345"/>
                    <a:pt x="319" y="346"/>
                    <a:pt x="319" y="348"/>
                  </a:cubicBezTo>
                  <a:cubicBezTo>
                    <a:pt x="320" y="349"/>
                    <a:pt x="321" y="351"/>
                    <a:pt x="321" y="352"/>
                  </a:cubicBezTo>
                  <a:cubicBezTo>
                    <a:pt x="321" y="353"/>
                    <a:pt x="321" y="352"/>
                    <a:pt x="320" y="353"/>
                  </a:cubicBezTo>
                  <a:cubicBezTo>
                    <a:pt x="319" y="354"/>
                    <a:pt x="317" y="354"/>
                    <a:pt x="317" y="354"/>
                  </a:cubicBezTo>
                  <a:cubicBezTo>
                    <a:pt x="316" y="356"/>
                    <a:pt x="318" y="356"/>
                    <a:pt x="318" y="357"/>
                  </a:cubicBezTo>
                  <a:cubicBezTo>
                    <a:pt x="318" y="358"/>
                    <a:pt x="317" y="357"/>
                    <a:pt x="316" y="359"/>
                  </a:cubicBezTo>
                  <a:cubicBezTo>
                    <a:pt x="315" y="360"/>
                    <a:pt x="315" y="364"/>
                    <a:pt x="315" y="365"/>
                  </a:cubicBezTo>
                  <a:cubicBezTo>
                    <a:pt x="313" y="368"/>
                    <a:pt x="309" y="373"/>
                    <a:pt x="309" y="376"/>
                  </a:cubicBezTo>
                  <a:cubicBezTo>
                    <a:pt x="310" y="379"/>
                    <a:pt x="313" y="380"/>
                    <a:pt x="315" y="381"/>
                  </a:cubicBezTo>
                  <a:cubicBezTo>
                    <a:pt x="317" y="382"/>
                    <a:pt x="318" y="383"/>
                    <a:pt x="319" y="384"/>
                  </a:cubicBezTo>
                  <a:cubicBezTo>
                    <a:pt x="320" y="385"/>
                    <a:pt x="321" y="383"/>
                    <a:pt x="322" y="385"/>
                  </a:cubicBezTo>
                  <a:cubicBezTo>
                    <a:pt x="322" y="386"/>
                    <a:pt x="323" y="388"/>
                    <a:pt x="323" y="389"/>
                  </a:cubicBezTo>
                  <a:cubicBezTo>
                    <a:pt x="324" y="392"/>
                    <a:pt x="325" y="397"/>
                    <a:pt x="323" y="399"/>
                  </a:cubicBezTo>
                  <a:cubicBezTo>
                    <a:pt x="320" y="403"/>
                    <a:pt x="314" y="409"/>
                    <a:pt x="316" y="415"/>
                  </a:cubicBezTo>
                  <a:cubicBezTo>
                    <a:pt x="316" y="415"/>
                    <a:pt x="317" y="415"/>
                    <a:pt x="317" y="416"/>
                  </a:cubicBezTo>
                  <a:cubicBezTo>
                    <a:pt x="317" y="417"/>
                    <a:pt x="316" y="418"/>
                    <a:pt x="316" y="419"/>
                  </a:cubicBezTo>
                  <a:cubicBezTo>
                    <a:pt x="316" y="420"/>
                    <a:pt x="318" y="421"/>
                    <a:pt x="317" y="423"/>
                  </a:cubicBezTo>
                  <a:cubicBezTo>
                    <a:pt x="317" y="422"/>
                    <a:pt x="315" y="420"/>
                    <a:pt x="315" y="419"/>
                  </a:cubicBezTo>
                  <a:cubicBezTo>
                    <a:pt x="314" y="417"/>
                    <a:pt x="315" y="417"/>
                    <a:pt x="314" y="416"/>
                  </a:cubicBezTo>
                  <a:cubicBezTo>
                    <a:pt x="312" y="411"/>
                    <a:pt x="307" y="414"/>
                    <a:pt x="304" y="417"/>
                  </a:cubicBezTo>
                  <a:cubicBezTo>
                    <a:pt x="305" y="417"/>
                    <a:pt x="305" y="418"/>
                    <a:pt x="305" y="419"/>
                  </a:cubicBezTo>
                  <a:cubicBezTo>
                    <a:pt x="304" y="419"/>
                    <a:pt x="300" y="417"/>
                    <a:pt x="301" y="416"/>
                  </a:cubicBezTo>
                  <a:cubicBezTo>
                    <a:pt x="301" y="416"/>
                    <a:pt x="302" y="415"/>
                    <a:pt x="303" y="414"/>
                  </a:cubicBezTo>
                  <a:cubicBezTo>
                    <a:pt x="304" y="414"/>
                    <a:pt x="308" y="412"/>
                    <a:pt x="308" y="411"/>
                  </a:cubicBezTo>
                  <a:cubicBezTo>
                    <a:pt x="308" y="409"/>
                    <a:pt x="305" y="409"/>
                    <a:pt x="303" y="408"/>
                  </a:cubicBezTo>
                  <a:cubicBezTo>
                    <a:pt x="303" y="408"/>
                    <a:pt x="302" y="408"/>
                    <a:pt x="302" y="407"/>
                  </a:cubicBezTo>
                  <a:cubicBezTo>
                    <a:pt x="301" y="407"/>
                    <a:pt x="302" y="406"/>
                    <a:pt x="301" y="406"/>
                  </a:cubicBezTo>
                  <a:cubicBezTo>
                    <a:pt x="300" y="405"/>
                    <a:pt x="299" y="405"/>
                    <a:pt x="297" y="405"/>
                  </a:cubicBezTo>
                  <a:cubicBezTo>
                    <a:pt x="292" y="405"/>
                    <a:pt x="289" y="405"/>
                    <a:pt x="285" y="403"/>
                  </a:cubicBezTo>
                  <a:cubicBezTo>
                    <a:pt x="284" y="403"/>
                    <a:pt x="281" y="402"/>
                    <a:pt x="280" y="402"/>
                  </a:cubicBezTo>
                  <a:cubicBezTo>
                    <a:pt x="277" y="405"/>
                    <a:pt x="274" y="408"/>
                    <a:pt x="271" y="411"/>
                  </a:cubicBezTo>
                  <a:cubicBezTo>
                    <a:pt x="268" y="414"/>
                    <a:pt x="265" y="415"/>
                    <a:pt x="261" y="416"/>
                  </a:cubicBezTo>
                  <a:cubicBezTo>
                    <a:pt x="256" y="418"/>
                    <a:pt x="251" y="419"/>
                    <a:pt x="247" y="423"/>
                  </a:cubicBezTo>
                  <a:cubicBezTo>
                    <a:pt x="243" y="426"/>
                    <a:pt x="238" y="428"/>
                    <a:pt x="235" y="431"/>
                  </a:cubicBezTo>
                  <a:cubicBezTo>
                    <a:pt x="228" y="436"/>
                    <a:pt x="237" y="444"/>
                    <a:pt x="241" y="448"/>
                  </a:cubicBezTo>
                  <a:cubicBezTo>
                    <a:pt x="244" y="451"/>
                    <a:pt x="245" y="453"/>
                    <a:pt x="246" y="457"/>
                  </a:cubicBezTo>
                  <a:cubicBezTo>
                    <a:pt x="246" y="458"/>
                    <a:pt x="248" y="464"/>
                    <a:pt x="248" y="464"/>
                  </a:cubicBezTo>
                  <a:cubicBezTo>
                    <a:pt x="246" y="464"/>
                    <a:pt x="244" y="464"/>
                    <a:pt x="242" y="463"/>
                  </a:cubicBezTo>
                  <a:cubicBezTo>
                    <a:pt x="230" y="462"/>
                    <a:pt x="217" y="460"/>
                    <a:pt x="204" y="458"/>
                  </a:cubicBezTo>
                  <a:cubicBezTo>
                    <a:pt x="202" y="458"/>
                    <a:pt x="203" y="460"/>
                    <a:pt x="202" y="460"/>
                  </a:cubicBezTo>
                  <a:cubicBezTo>
                    <a:pt x="201" y="461"/>
                    <a:pt x="199" y="460"/>
                    <a:pt x="200" y="458"/>
                  </a:cubicBezTo>
                  <a:cubicBezTo>
                    <a:pt x="201" y="456"/>
                    <a:pt x="206" y="456"/>
                    <a:pt x="207" y="456"/>
                  </a:cubicBezTo>
                  <a:cubicBezTo>
                    <a:pt x="207" y="455"/>
                    <a:pt x="207" y="456"/>
                    <a:pt x="207" y="455"/>
                  </a:cubicBezTo>
                  <a:cubicBezTo>
                    <a:pt x="203" y="452"/>
                    <a:pt x="198" y="450"/>
                    <a:pt x="193" y="448"/>
                  </a:cubicBezTo>
                  <a:cubicBezTo>
                    <a:pt x="191" y="447"/>
                    <a:pt x="188" y="446"/>
                    <a:pt x="185" y="445"/>
                  </a:cubicBezTo>
                  <a:cubicBezTo>
                    <a:pt x="184" y="444"/>
                    <a:pt x="183" y="444"/>
                    <a:pt x="181" y="444"/>
                  </a:cubicBezTo>
                  <a:cubicBezTo>
                    <a:pt x="177" y="444"/>
                    <a:pt x="177" y="446"/>
                    <a:pt x="177" y="449"/>
                  </a:cubicBezTo>
                  <a:cubicBezTo>
                    <a:pt x="177" y="450"/>
                    <a:pt x="175" y="452"/>
                    <a:pt x="174" y="452"/>
                  </a:cubicBezTo>
                  <a:cubicBezTo>
                    <a:pt x="172" y="453"/>
                    <a:pt x="171" y="451"/>
                    <a:pt x="170" y="452"/>
                  </a:cubicBezTo>
                  <a:cubicBezTo>
                    <a:pt x="173" y="457"/>
                    <a:pt x="178" y="462"/>
                    <a:pt x="182" y="466"/>
                  </a:cubicBezTo>
                  <a:cubicBezTo>
                    <a:pt x="183" y="468"/>
                    <a:pt x="185" y="470"/>
                    <a:pt x="187" y="470"/>
                  </a:cubicBezTo>
                  <a:cubicBezTo>
                    <a:pt x="188" y="470"/>
                    <a:pt x="189" y="469"/>
                    <a:pt x="190" y="469"/>
                  </a:cubicBezTo>
                  <a:cubicBezTo>
                    <a:pt x="191" y="469"/>
                    <a:pt x="192" y="469"/>
                    <a:pt x="193" y="469"/>
                  </a:cubicBezTo>
                  <a:cubicBezTo>
                    <a:pt x="194" y="468"/>
                    <a:pt x="193" y="467"/>
                    <a:pt x="195" y="467"/>
                  </a:cubicBezTo>
                  <a:cubicBezTo>
                    <a:pt x="196" y="467"/>
                    <a:pt x="196" y="468"/>
                    <a:pt x="196" y="469"/>
                  </a:cubicBezTo>
                  <a:cubicBezTo>
                    <a:pt x="197" y="470"/>
                    <a:pt x="198" y="470"/>
                    <a:pt x="199" y="471"/>
                  </a:cubicBezTo>
                  <a:cubicBezTo>
                    <a:pt x="200" y="472"/>
                    <a:pt x="199" y="473"/>
                    <a:pt x="200" y="475"/>
                  </a:cubicBezTo>
                  <a:cubicBezTo>
                    <a:pt x="200" y="477"/>
                    <a:pt x="202" y="478"/>
                    <a:pt x="201" y="480"/>
                  </a:cubicBezTo>
                  <a:cubicBezTo>
                    <a:pt x="200" y="481"/>
                    <a:pt x="198" y="483"/>
                    <a:pt x="196" y="483"/>
                  </a:cubicBezTo>
                  <a:cubicBezTo>
                    <a:pt x="195" y="484"/>
                    <a:pt x="194" y="483"/>
                    <a:pt x="193" y="484"/>
                  </a:cubicBezTo>
                  <a:cubicBezTo>
                    <a:pt x="192" y="484"/>
                    <a:pt x="192" y="484"/>
                    <a:pt x="192" y="485"/>
                  </a:cubicBezTo>
                  <a:cubicBezTo>
                    <a:pt x="190" y="486"/>
                    <a:pt x="190" y="487"/>
                    <a:pt x="187" y="486"/>
                  </a:cubicBezTo>
                  <a:cubicBezTo>
                    <a:pt x="184" y="485"/>
                    <a:pt x="180" y="484"/>
                    <a:pt x="177" y="483"/>
                  </a:cubicBezTo>
                  <a:cubicBezTo>
                    <a:pt x="172" y="482"/>
                    <a:pt x="171" y="481"/>
                    <a:pt x="167" y="477"/>
                  </a:cubicBezTo>
                  <a:cubicBezTo>
                    <a:pt x="166" y="476"/>
                    <a:pt x="165" y="474"/>
                    <a:pt x="163" y="473"/>
                  </a:cubicBezTo>
                  <a:cubicBezTo>
                    <a:pt x="157" y="468"/>
                    <a:pt x="149" y="470"/>
                    <a:pt x="142" y="467"/>
                  </a:cubicBezTo>
                  <a:cubicBezTo>
                    <a:pt x="142" y="467"/>
                    <a:pt x="139" y="465"/>
                    <a:pt x="138" y="464"/>
                  </a:cubicBezTo>
                  <a:cubicBezTo>
                    <a:pt x="138" y="463"/>
                    <a:pt x="138" y="463"/>
                    <a:pt x="139" y="462"/>
                  </a:cubicBezTo>
                  <a:cubicBezTo>
                    <a:pt x="139" y="460"/>
                    <a:pt x="139" y="459"/>
                    <a:pt x="140" y="458"/>
                  </a:cubicBezTo>
                  <a:cubicBezTo>
                    <a:pt x="141" y="458"/>
                    <a:pt x="142" y="458"/>
                    <a:pt x="142" y="457"/>
                  </a:cubicBezTo>
                  <a:cubicBezTo>
                    <a:pt x="141" y="456"/>
                    <a:pt x="140" y="457"/>
                    <a:pt x="138" y="457"/>
                  </a:cubicBezTo>
                  <a:cubicBezTo>
                    <a:pt x="139" y="456"/>
                    <a:pt x="140" y="456"/>
                    <a:pt x="141" y="455"/>
                  </a:cubicBezTo>
                  <a:cubicBezTo>
                    <a:pt x="138" y="451"/>
                    <a:pt x="137" y="449"/>
                    <a:pt x="136" y="445"/>
                  </a:cubicBezTo>
                  <a:cubicBezTo>
                    <a:pt x="135" y="441"/>
                    <a:pt x="132" y="440"/>
                    <a:pt x="129" y="438"/>
                  </a:cubicBezTo>
                  <a:cubicBezTo>
                    <a:pt x="130" y="437"/>
                    <a:pt x="131" y="437"/>
                    <a:pt x="131" y="437"/>
                  </a:cubicBezTo>
                  <a:cubicBezTo>
                    <a:pt x="132" y="437"/>
                    <a:pt x="133" y="436"/>
                    <a:pt x="133" y="436"/>
                  </a:cubicBezTo>
                  <a:cubicBezTo>
                    <a:pt x="134" y="436"/>
                    <a:pt x="134" y="436"/>
                    <a:pt x="135" y="436"/>
                  </a:cubicBezTo>
                  <a:cubicBezTo>
                    <a:pt x="136" y="435"/>
                    <a:pt x="136" y="432"/>
                    <a:pt x="136" y="431"/>
                  </a:cubicBezTo>
                  <a:cubicBezTo>
                    <a:pt x="136" y="429"/>
                    <a:pt x="136" y="428"/>
                    <a:pt x="136" y="426"/>
                  </a:cubicBezTo>
                  <a:cubicBezTo>
                    <a:pt x="137" y="424"/>
                    <a:pt x="137" y="425"/>
                    <a:pt x="138" y="426"/>
                  </a:cubicBezTo>
                  <a:cubicBezTo>
                    <a:pt x="139" y="426"/>
                    <a:pt x="142" y="429"/>
                    <a:pt x="141" y="426"/>
                  </a:cubicBezTo>
                  <a:cubicBezTo>
                    <a:pt x="140" y="422"/>
                    <a:pt x="137" y="419"/>
                    <a:pt x="134" y="416"/>
                  </a:cubicBezTo>
                  <a:cubicBezTo>
                    <a:pt x="132" y="414"/>
                    <a:pt x="125" y="413"/>
                    <a:pt x="123" y="412"/>
                  </a:cubicBezTo>
                  <a:cubicBezTo>
                    <a:pt x="119" y="411"/>
                    <a:pt x="114" y="410"/>
                    <a:pt x="110" y="409"/>
                  </a:cubicBezTo>
                  <a:cubicBezTo>
                    <a:pt x="112" y="408"/>
                    <a:pt x="119" y="407"/>
                    <a:pt x="117" y="404"/>
                  </a:cubicBezTo>
                  <a:cubicBezTo>
                    <a:pt x="116" y="402"/>
                    <a:pt x="107" y="403"/>
                    <a:pt x="104" y="402"/>
                  </a:cubicBezTo>
                  <a:cubicBezTo>
                    <a:pt x="105" y="402"/>
                    <a:pt x="107" y="401"/>
                    <a:pt x="108" y="401"/>
                  </a:cubicBezTo>
                  <a:cubicBezTo>
                    <a:pt x="106" y="401"/>
                    <a:pt x="104" y="400"/>
                    <a:pt x="102" y="400"/>
                  </a:cubicBezTo>
                  <a:cubicBezTo>
                    <a:pt x="104" y="399"/>
                    <a:pt x="107" y="399"/>
                    <a:pt x="110" y="398"/>
                  </a:cubicBezTo>
                  <a:cubicBezTo>
                    <a:pt x="108" y="396"/>
                    <a:pt x="106" y="397"/>
                    <a:pt x="104" y="397"/>
                  </a:cubicBezTo>
                  <a:cubicBezTo>
                    <a:pt x="103" y="397"/>
                    <a:pt x="102" y="396"/>
                    <a:pt x="101" y="396"/>
                  </a:cubicBezTo>
                  <a:cubicBezTo>
                    <a:pt x="100" y="395"/>
                    <a:pt x="102" y="395"/>
                    <a:pt x="102" y="394"/>
                  </a:cubicBezTo>
                  <a:cubicBezTo>
                    <a:pt x="101" y="394"/>
                    <a:pt x="99" y="393"/>
                    <a:pt x="98" y="393"/>
                  </a:cubicBezTo>
                  <a:cubicBezTo>
                    <a:pt x="97" y="392"/>
                    <a:pt x="92" y="390"/>
                    <a:pt x="93" y="388"/>
                  </a:cubicBezTo>
                  <a:cubicBezTo>
                    <a:pt x="95" y="386"/>
                    <a:pt x="95" y="387"/>
                    <a:pt x="93" y="385"/>
                  </a:cubicBezTo>
                  <a:cubicBezTo>
                    <a:pt x="90" y="382"/>
                    <a:pt x="87" y="384"/>
                    <a:pt x="83" y="382"/>
                  </a:cubicBezTo>
                  <a:cubicBezTo>
                    <a:pt x="84" y="382"/>
                    <a:pt x="86" y="382"/>
                    <a:pt x="87" y="382"/>
                  </a:cubicBezTo>
                  <a:cubicBezTo>
                    <a:pt x="89" y="382"/>
                    <a:pt x="91" y="382"/>
                    <a:pt x="93" y="382"/>
                  </a:cubicBezTo>
                  <a:cubicBezTo>
                    <a:pt x="94" y="382"/>
                    <a:pt x="96" y="383"/>
                    <a:pt x="98" y="383"/>
                  </a:cubicBezTo>
                  <a:cubicBezTo>
                    <a:pt x="99" y="383"/>
                    <a:pt x="102" y="384"/>
                    <a:pt x="103" y="384"/>
                  </a:cubicBezTo>
                  <a:cubicBezTo>
                    <a:pt x="100" y="385"/>
                    <a:pt x="100" y="386"/>
                    <a:pt x="102" y="388"/>
                  </a:cubicBezTo>
                  <a:cubicBezTo>
                    <a:pt x="103" y="389"/>
                    <a:pt x="105" y="390"/>
                    <a:pt x="106" y="391"/>
                  </a:cubicBezTo>
                  <a:cubicBezTo>
                    <a:pt x="109" y="393"/>
                    <a:pt x="111" y="395"/>
                    <a:pt x="114" y="396"/>
                  </a:cubicBezTo>
                  <a:cubicBezTo>
                    <a:pt x="116" y="396"/>
                    <a:pt x="119" y="396"/>
                    <a:pt x="121" y="397"/>
                  </a:cubicBezTo>
                  <a:cubicBezTo>
                    <a:pt x="124" y="397"/>
                    <a:pt x="123" y="396"/>
                    <a:pt x="125" y="395"/>
                  </a:cubicBezTo>
                  <a:cubicBezTo>
                    <a:pt x="127" y="394"/>
                    <a:pt x="130" y="396"/>
                    <a:pt x="131" y="397"/>
                  </a:cubicBezTo>
                  <a:cubicBezTo>
                    <a:pt x="134" y="398"/>
                    <a:pt x="133" y="398"/>
                    <a:pt x="133" y="399"/>
                  </a:cubicBezTo>
                  <a:cubicBezTo>
                    <a:pt x="133" y="402"/>
                    <a:pt x="132" y="402"/>
                    <a:pt x="135" y="402"/>
                  </a:cubicBezTo>
                  <a:cubicBezTo>
                    <a:pt x="137" y="402"/>
                    <a:pt x="140" y="401"/>
                    <a:pt x="143" y="401"/>
                  </a:cubicBezTo>
                  <a:cubicBezTo>
                    <a:pt x="146" y="402"/>
                    <a:pt x="150" y="403"/>
                    <a:pt x="154" y="404"/>
                  </a:cubicBezTo>
                  <a:cubicBezTo>
                    <a:pt x="170" y="408"/>
                    <a:pt x="185" y="411"/>
                    <a:pt x="200" y="415"/>
                  </a:cubicBezTo>
                  <a:cubicBezTo>
                    <a:pt x="207" y="416"/>
                    <a:pt x="210" y="417"/>
                    <a:pt x="216" y="416"/>
                  </a:cubicBezTo>
                  <a:cubicBezTo>
                    <a:pt x="219" y="415"/>
                    <a:pt x="221" y="415"/>
                    <a:pt x="223" y="415"/>
                  </a:cubicBezTo>
                  <a:cubicBezTo>
                    <a:pt x="226" y="414"/>
                    <a:pt x="227" y="413"/>
                    <a:pt x="229" y="413"/>
                  </a:cubicBezTo>
                  <a:cubicBezTo>
                    <a:pt x="235" y="411"/>
                    <a:pt x="241" y="410"/>
                    <a:pt x="245" y="406"/>
                  </a:cubicBezTo>
                  <a:cubicBezTo>
                    <a:pt x="250" y="403"/>
                    <a:pt x="254" y="397"/>
                    <a:pt x="258" y="393"/>
                  </a:cubicBezTo>
                  <a:cubicBezTo>
                    <a:pt x="261" y="390"/>
                    <a:pt x="264" y="387"/>
                    <a:pt x="264" y="383"/>
                  </a:cubicBezTo>
                  <a:cubicBezTo>
                    <a:pt x="264" y="381"/>
                    <a:pt x="263" y="380"/>
                    <a:pt x="262" y="380"/>
                  </a:cubicBezTo>
                  <a:cubicBezTo>
                    <a:pt x="260" y="379"/>
                    <a:pt x="259" y="380"/>
                    <a:pt x="259" y="377"/>
                  </a:cubicBezTo>
                  <a:cubicBezTo>
                    <a:pt x="260" y="375"/>
                    <a:pt x="260" y="374"/>
                    <a:pt x="259" y="372"/>
                  </a:cubicBezTo>
                  <a:cubicBezTo>
                    <a:pt x="257" y="370"/>
                    <a:pt x="257" y="373"/>
                    <a:pt x="257" y="369"/>
                  </a:cubicBezTo>
                  <a:cubicBezTo>
                    <a:pt x="257" y="369"/>
                    <a:pt x="257" y="364"/>
                    <a:pt x="257" y="364"/>
                  </a:cubicBezTo>
                  <a:cubicBezTo>
                    <a:pt x="254" y="363"/>
                    <a:pt x="251" y="363"/>
                    <a:pt x="249" y="363"/>
                  </a:cubicBezTo>
                  <a:cubicBezTo>
                    <a:pt x="246" y="362"/>
                    <a:pt x="246" y="361"/>
                    <a:pt x="244" y="360"/>
                  </a:cubicBezTo>
                  <a:cubicBezTo>
                    <a:pt x="241" y="357"/>
                    <a:pt x="239" y="354"/>
                    <a:pt x="236" y="352"/>
                  </a:cubicBezTo>
                  <a:cubicBezTo>
                    <a:pt x="235" y="351"/>
                    <a:pt x="232" y="348"/>
                    <a:pt x="232" y="349"/>
                  </a:cubicBezTo>
                  <a:cubicBezTo>
                    <a:pt x="232" y="349"/>
                    <a:pt x="234" y="351"/>
                    <a:pt x="234" y="351"/>
                  </a:cubicBezTo>
                  <a:cubicBezTo>
                    <a:pt x="228" y="349"/>
                    <a:pt x="222" y="348"/>
                    <a:pt x="216" y="346"/>
                  </a:cubicBezTo>
                  <a:cubicBezTo>
                    <a:pt x="214" y="345"/>
                    <a:pt x="211" y="344"/>
                    <a:pt x="208" y="344"/>
                  </a:cubicBezTo>
                  <a:cubicBezTo>
                    <a:pt x="206" y="343"/>
                    <a:pt x="205" y="341"/>
                    <a:pt x="204" y="340"/>
                  </a:cubicBezTo>
                  <a:cubicBezTo>
                    <a:pt x="201" y="337"/>
                    <a:pt x="199" y="335"/>
                    <a:pt x="195" y="333"/>
                  </a:cubicBezTo>
                  <a:cubicBezTo>
                    <a:pt x="188" y="330"/>
                    <a:pt x="181" y="327"/>
                    <a:pt x="175" y="324"/>
                  </a:cubicBezTo>
                  <a:cubicBezTo>
                    <a:pt x="168" y="321"/>
                    <a:pt x="161" y="318"/>
                    <a:pt x="154" y="315"/>
                  </a:cubicBezTo>
                  <a:cubicBezTo>
                    <a:pt x="151" y="314"/>
                    <a:pt x="149" y="312"/>
                    <a:pt x="146" y="312"/>
                  </a:cubicBezTo>
                  <a:cubicBezTo>
                    <a:pt x="138" y="312"/>
                    <a:pt x="129" y="310"/>
                    <a:pt x="120" y="310"/>
                  </a:cubicBezTo>
                  <a:cubicBezTo>
                    <a:pt x="118" y="310"/>
                    <a:pt x="116" y="310"/>
                    <a:pt x="115" y="312"/>
                  </a:cubicBezTo>
                  <a:cubicBezTo>
                    <a:pt x="115" y="315"/>
                    <a:pt x="115" y="315"/>
                    <a:pt x="113" y="317"/>
                  </a:cubicBezTo>
                  <a:cubicBezTo>
                    <a:pt x="112" y="317"/>
                    <a:pt x="113" y="318"/>
                    <a:pt x="111" y="318"/>
                  </a:cubicBezTo>
                  <a:cubicBezTo>
                    <a:pt x="111" y="318"/>
                    <a:pt x="109" y="319"/>
                    <a:pt x="108" y="319"/>
                  </a:cubicBezTo>
                  <a:cubicBezTo>
                    <a:pt x="105" y="319"/>
                    <a:pt x="106" y="320"/>
                    <a:pt x="105" y="323"/>
                  </a:cubicBezTo>
                  <a:cubicBezTo>
                    <a:pt x="105" y="320"/>
                    <a:pt x="105" y="319"/>
                    <a:pt x="108" y="318"/>
                  </a:cubicBezTo>
                  <a:cubicBezTo>
                    <a:pt x="110" y="318"/>
                    <a:pt x="111" y="316"/>
                    <a:pt x="114" y="316"/>
                  </a:cubicBezTo>
                  <a:cubicBezTo>
                    <a:pt x="113" y="315"/>
                    <a:pt x="109" y="313"/>
                    <a:pt x="109" y="312"/>
                  </a:cubicBezTo>
                  <a:cubicBezTo>
                    <a:pt x="110" y="311"/>
                    <a:pt x="111" y="312"/>
                    <a:pt x="111" y="311"/>
                  </a:cubicBezTo>
                  <a:cubicBezTo>
                    <a:pt x="112" y="310"/>
                    <a:pt x="112" y="308"/>
                    <a:pt x="112" y="307"/>
                  </a:cubicBezTo>
                  <a:cubicBezTo>
                    <a:pt x="108" y="308"/>
                    <a:pt x="105" y="310"/>
                    <a:pt x="101" y="311"/>
                  </a:cubicBezTo>
                  <a:cubicBezTo>
                    <a:pt x="102" y="309"/>
                    <a:pt x="99" y="309"/>
                    <a:pt x="98" y="309"/>
                  </a:cubicBezTo>
                  <a:cubicBezTo>
                    <a:pt x="95" y="308"/>
                    <a:pt x="92" y="308"/>
                    <a:pt x="89" y="307"/>
                  </a:cubicBezTo>
                  <a:cubicBezTo>
                    <a:pt x="90" y="305"/>
                    <a:pt x="86" y="304"/>
                    <a:pt x="86" y="302"/>
                  </a:cubicBezTo>
                  <a:cubicBezTo>
                    <a:pt x="85" y="301"/>
                    <a:pt x="87" y="297"/>
                    <a:pt x="88" y="296"/>
                  </a:cubicBezTo>
                  <a:cubicBezTo>
                    <a:pt x="89" y="297"/>
                    <a:pt x="88" y="298"/>
                    <a:pt x="89" y="299"/>
                  </a:cubicBezTo>
                  <a:cubicBezTo>
                    <a:pt x="90" y="300"/>
                    <a:pt x="96" y="300"/>
                    <a:pt x="97" y="301"/>
                  </a:cubicBezTo>
                  <a:cubicBezTo>
                    <a:pt x="99" y="301"/>
                    <a:pt x="102" y="302"/>
                    <a:pt x="103" y="301"/>
                  </a:cubicBezTo>
                  <a:cubicBezTo>
                    <a:pt x="104" y="301"/>
                    <a:pt x="107" y="297"/>
                    <a:pt x="106" y="296"/>
                  </a:cubicBezTo>
                  <a:cubicBezTo>
                    <a:pt x="106" y="296"/>
                    <a:pt x="102" y="295"/>
                    <a:pt x="101" y="295"/>
                  </a:cubicBezTo>
                  <a:cubicBezTo>
                    <a:pt x="99" y="295"/>
                    <a:pt x="97" y="296"/>
                    <a:pt x="96" y="295"/>
                  </a:cubicBezTo>
                  <a:cubicBezTo>
                    <a:pt x="95" y="294"/>
                    <a:pt x="95" y="293"/>
                    <a:pt x="94" y="293"/>
                  </a:cubicBezTo>
                  <a:cubicBezTo>
                    <a:pt x="93" y="292"/>
                    <a:pt x="92" y="292"/>
                    <a:pt x="91" y="292"/>
                  </a:cubicBezTo>
                  <a:cubicBezTo>
                    <a:pt x="89" y="292"/>
                    <a:pt x="87" y="288"/>
                    <a:pt x="85" y="289"/>
                  </a:cubicBezTo>
                  <a:cubicBezTo>
                    <a:pt x="82" y="289"/>
                    <a:pt x="85" y="292"/>
                    <a:pt x="86" y="293"/>
                  </a:cubicBezTo>
                  <a:cubicBezTo>
                    <a:pt x="86" y="294"/>
                    <a:pt x="87" y="294"/>
                    <a:pt x="87" y="295"/>
                  </a:cubicBezTo>
                  <a:cubicBezTo>
                    <a:pt x="87" y="296"/>
                    <a:pt x="86" y="295"/>
                    <a:pt x="85" y="295"/>
                  </a:cubicBezTo>
                  <a:cubicBezTo>
                    <a:pt x="84" y="294"/>
                    <a:pt x="83" y="293"/>
                    <a:pt x="81" y="293"/>
                  </a:cubicBezTo>
                  <a:cubicBezTo>
                    <a:pt x="79" y="293"/>
                    <a:pt x="81" y="295"/>
                    <a:pt x="80" y="296"/>
                  </a:cubicBezTo>
                  <a:cubicBezTo>
                    <a:pt x="78" y="298"/>
                    <a:pt x="70" y="296"/>
                    <a:pt x="65" y="295"/>
                  </a:cubicBezTo>
                  <a:cubicBezTo>
                    <a:pt x="66" y="296"/>
                    <a:pt x="66" y="296"/>
                    <a:pt x="66" y="296"/>
                  </a:cubicBezTo>
                  <a:cubicBezTo>
                    <a:pt x="66" y="298"/>
                    <a:pt x="66" y="301"/>
                    <a:pt x="65" y="302"/>
                  </a:cubicBezTo>
                  <a:cubicBezTo>
                    <a:pt x="64" y="303"/>
                    <a:pt x="63" y="304"/>
                    <a:pt x="62" y="304"/>
                  </a:cubicBezTo>
                  <a:cubicBezTo>
                    <a:pt x="61" y="304"/>
                    <a:pt x="61" y="304"/>
                    <a:pt x="61" y="304"/>
                  </a:cubicBezTo>
                  <a:cubicBezTo>
                    <a:pt x="61" y="304"/>
                    <a:pt x="61" y="304"/>
                    <a:pt x="61" y="304"/>
                  </a:cubicBezTo>
                  <a:cubicBezTo>
                    <a:pt x="60" y="304"/>
                    <a:pt x="60" y="304"/>
                    <a:pt x="59" y="304"/>
                  </a:cubicBezTo>
                  <a:cubicBezTo>
                    <a:pt x="59" y="304"/>
                    <a:pt x="59" y="304"/>
                    <a:pt x="59" y="304"/>
                  </a:cubicBezTo>
                  <a:cubicBezTo>
                    <a:pt x="59" y="304"/>
                    <a:pt x="59" y="304"/>
                    <a:pt x="59" y="304"/>
                  </a:cubicBezTo>
                  <a:cubicBezTo>
                    <a:pt x="57" y="304"/>
                    <a:pt x="55" y="303"/>
                    <a:pt x="53" y="302"/>
                  </a:cubicBezTo>
                  <a:cubicBezTo>
                    <a:pt x="52" y="302"/>
                    <a:pt x="52" y="302"/>
                    <a:pt x="52" y="302"/>
                  </a:cubicBezTo>
                  <a:cubicBezTo>
                    <a:pt x="52" y="302"/>
                    <a:pt x="52" y="302"/>
                    <a:pt x="52" y="302"/>
                  </a:cubicBezTo>
                  <a:cubicBezTo>
                    <a:pt x="51" y="303"/>
                    <a:pt x="51" y="303"/>
                    <a:pt x="51" y="304"/>
                  </a:cubicBezTo>
                  <a:cubicBezTo>
                    <a:pt x="49" y="307"/>
                    <a:pt x="47" y="309"/>
                    <a:pt x="43" y="310"/>
                  </a:cubicBezTo>
                  <a:cubicBezTo>
                    <a:pt x="41" y="310"/>
                    <a:pt x="41" y="310"/>
                    <a:pt x="41" y="310"/>
                  </a:cubicBezTo>
                  <a:cubicBezTo>
                    <a:pt x="40" y="311"/>
                    <a:pt x="39" y="311"/>
                    <a:pt x="37" y="311"/>
                  </a:cubicBezTo>
                  <a:cubicBezTo>
                    <a:pt x="37" y="312"/>
                    <a:pt x="37" y="312"/>
                    <a:pt x="37" y="312"/>
                  </a:cubicBezTo>
                  <a:cubicBezTo>
                    <a:pt x="37" y="312"/>
                    <a:pt x="37" y="312"/>
                    <a:pt x="36" y="312"/>
                  </a:cubicBezTo>
                  <a:cubicBezTo>
                    <a:pt x="35" y="312"/>
                    <a:pt x="33" y="316"/>
                    <a:pt x="32" y="318"/>
                  </a:cubicBezTo>
                  <a:cubicBezTo>
                    <a:pt x="30" y="320"/>
                    <a:pt x="30" y="320"/>
                    <a:pt x="30" y="320"/>
                  </a:cubicBezTo>
                  <a:cubicBezTo>
                    <a:pt x="31" y="323"/>
                    <a:pt x="28" y="324"/>
                    <a:pt x="27" y="324"/>
                  </a:cubicBezTo>
                  <a:cubicBezTo>
                    <a:pt x="26" y="324"/>
                    <a:pt x="26" y="324"/>
                    <a:pt x="25" y="325"/>
                  </a:cubicBezTo>
                  <a:cubicBezTo>
                    <a:pt x="25" y="326"/>
                    <a:pt x="25" y="326"/>
                    <a:pt x="25" y="326"/>
                  </a:cubicBezTo>
                  <a:cubicBezTo>
                    <a:pt x="25" y="328"/>
                    <a:pt x="24" y="330"/>
                    <a:pt x="23" y="332"/>
                  </a:cubicBezTo>
                  <a:cubicBezTo>
                    <a:pt x="23" y="333"/>
                    <a:pt x="23" y="333"/>
                    <a:pt x="23" y="333"/>
                  </a:cubicBezTo>
                  <a:cubicBezTo>
                    <a:pt x="23" y="334"/>
                    <a:pt x="23" y="335"/>
                    <a:pt x="22" y="335"/>
                  </a:cubicBezTo>
                  <a:cubicBezTo>
                    <a:pt x="22" y="336"/>
                    <a:pt x="21" y="339"/>
                    <a:pt x="21" y="339"/>
                  </a:cubicBezTo>
                  <a:cubicBezTo>
                    <a:pt x="22" y="340"/>
                    <a:pt x="22" y="341"/>
                    <a:pt x="22" y="342"/>
                  </a:cubicBezTo>
                  <a:cubicBezTo>
                    <a:pt x="23" y="343"/>
                    <a:pt x="23" y="346"/>
                    <a:pt x="24" y="346"/>
                  </a:cubicBezTo>
                  <a:cubicBezTo>
                    <a:pt x="25" y="347"/>
                    <a:pt x="29" y="348"/>
                    <a:pt x="30" y="348"/>
                  </a:cubicBezTo>
                  <a:cubicBezTo>
                    <a:pt x="30" y="348"/>
                    <a:pt x="31" y="348"/>
                    <a:pt x="31" y="348"/>
                  </a:cubicBezTo>
                  <a:cubicBezTo>
                    <a:pt x="32" y="348"/>
                    <a:pt x="32" y="349"/>
                    <a:pt x="33" y="349"/>
                  </a:cubicBezTo>
                  <a:cubicBezTo>
                    <a:pt x="37" y="350"/>
                    <a:pt x="39" y="353"/>
                    <a:pt x="40" y="355"/>
                  </a:cubicBezTo>
                  <a:cubicBezTo>
                    <a:pt x="41" y="357"/>
                    <a:pt x="42" y="358"/>
                    <a:pt x="43" y="359"/>
                  </a:cubicBezTo>
                  <a:cubicBezTo>
                    <a:pt x="44" y="359"/>
                    <a:pt x="44" y="359"/>
                    <a:pt x="44" y="360"/>
                  </a:cubicBezTo>
                  <a:cubicBezTo>
                    <a:pt x="47" y="362"/>
                    <a:pt x="49" y="363"/>
                    <a:pt x="49" y="365"/>
                  </a:cubicBezTo>
                  <a:cubicBezTo>
                    <a:pt x="49" y="366"/>
                    <a:pt x="49" y="366"/>
                    <a:pt x="49" y="366"/>
                  </a:cubicBezTo>
                  <a:cubicBezTo>
                    <a:pt x="49" y="367"/>
                    <a:pt x="49" y="367"/>
                    <a:pt x="49" y="367"/>
                  </a:cubicBezTo>
                  <a:cubicBezTo>
                    <a:pt x="32" y="389"/>
                    <a:pt x="32" y="389"/>
                    <a:pt x="32" y="389"/>
                  </a:cubicBezTo>
                  <a:cubicBezTo>
                    <a:pt x="32" y="389"/>
                    <a:pt x="32" y="389"/>
                    <a:pt x="32" y="390"/>
                  </a:cubicBezTo>
                  <a:cubicBezTo>
                    <a:pt x="32" y="390"/>
                    <a:pt x="32" y="391"/>
                    <a:pt x="32" y="391"/>
                  </a:cubicBezTo>
                  <a:cubicBezTo>
                    <a:pt x="32" y="391"/>
                    <a:pt x="33" y="392"/>
                    <a:pt x="33" y="392"/>
                  </a:cubicBezTo>
                  <a:cubicBezTo>
                    <a:pt x="34" y="392"/>
                    <a:pt x="34" y="393"/>
                    <a:pt x="35" y="393"/>
                  </a:cubicBezTo>
                  <a:cubicBezTo>
                    <a:pt x="35" y="394"/>
                    <a:pt x="36" y="395"/>
                    <a:pt x="37" y="396"/>
                  </a:cubicBezTo>
                  <a:cubicBezTo>
                    <a:pt x="38" y="398"/>
                    <a:pt x="40" y="401"/>
                    <a:pt x="41" y="404"/>
                  </a:cubicBezTo>
                  <a:cubicBezTo>
                    <a:pt x="53" y="431"/>
                    <a:pt x="53" y="431"/>
                    <a:pt x="53" y="431"/>
                  </a:cubicBezTo>
                  <a:cubicBezTo>
                    <a:pt x="50" y="432"/>
                    <a:pt x="50" y="432"/>
                    <a:pt x="50" y="432"/>
                  </a:cubicBezTo>
                  <a:cubicBezTo>
                    <a:pt x="49" y="432"/>
                    <a:pt x="48" y="432"/>
                    <a:pt x="48" y="432"/>
                  </a:cubicBezTo>
                  <a:cubicBezTo>
                    <a:pt x="47" y="432"/>
                    <a:pt x="47" y="432"/>
                    <a:pt x="47" y="432"/>
                  </a:cubicBezTo>
                  <a:cubicBezTo>
                    <a:pt x="47" y="432"/>
                    <a:pt x="46" y="432"/>
                    <a:pt x="45" y="432"/>
                  </a:cubicBezTo>
                  <a:cubicBezTo>
                    <a:pt x="45" y="432"/>
                    <a:pt x="45" y="432"/>
                    <a:pt x="45" y="432"/>
                  </a:cubicBezTo>
                  <a:cubicBezTo>
                    <a:pt x="45" y="435"/>
                    <a:pt x="44" y="437"/>
                    <a:pt x="43" y="439"/>
                  </a:cubicBezTo>
                  <a:cubicBezTo>
                    <a:pt x="43" y="440"/>
                    <a:pt x="43" y="440"/>
                    <a:pt x="43" y="440"/>
                  </a:cubicBezTo>
                  <a:cubicBezTo>
                    <a:pt x="43" y="441"/>
                    <a:pt x="43" y="441"/>
                    <a:pt x="43" y="441"/>
                  </a:cubicBezTo>
                  <a:cubicBezTo>
                    <a:pt x="43" y="441"/>
                    <a:pt x="43" y="441"/>
                    <a:pt x="44" y="442"/>
                  </a:cubicBezTo>
                  <a:cubicBezTo>
                    <a:pt x="45" y="443"/>
                    <a:pt x="46" y="444"/>
                    <a:pt x="46" y="446"/>
                  </a:cubicBezTo>
                  <a:cubicBezTo>
                    <a:pt x="46" y="448"/>
                    <a:pt x="45" y="449"/>
                    <a:pt x="44" y="449"/>
                  </a:cubicBezTo>
                  <a:cubicBezTo>
                    <a:pt x="42" y="450"/>
                    <a:pt x="42" y="450"/>
                    <a:pt x="42" y="451"/>
                  </a:cubicBezTo>
                  <a:cubicBezTo>
                    <a:pt x="43" y="452"/>
                    <a:pt x="44" y="454"/>
                    <a:pt x="45" y="454"/>
                  </a:cubicBezTo>
                  <a:cubicBezTo>
                    <a:pt x="49" y="455"/>
                    <a:pt x="50" y="455"/>
                    <a:pt x="52" y="458"/>
                  </a:cubicBezTo>
                  <a:cubicBezTo>
                    <a:pt x="53" y="459"/>
                    <a:pt x="53" y="461"/>
                    <a:pt x="53" y="461"/>
                  </a:cubicBezTo>
                  <a:cubicBezTo>
                    <a:pt x="53" y="463"/>
                    <a:pt x="51" y="464"/>
                    <a:pt x="50" y="464"/>
                  </a:cubicBezTo>
                  <a:cubicBezTo>
                    <a:pt x="51" y="466"/>
                    <a:pt x="52" y="468"/>
                    <a:pt x="52" y="468"/>
                  </a:cubicBezTo>
                  <a:cubicBezTo>
                    <a:pt x="52" y="468"/>
                    <a:pt x="53" y="468"/>
                    <a:pt x="53" y="468"/>
                  </a:cubicBezTo>
                  <a:cubicBezTo>
                    <a:pt x="54" y="469"/>
                    <a:pt x="54" y="469"/>
                    <a:pt x="54" y="469"/>
                  </a:cubicBezTo>
                  <a:cubicBezTo>
                    <a:pt x="56" y="469"/>
                    <a:pt x="59" y="470"/>
                    <a:pt x="60" y="472"/>
                  </a:cubicBezTo>
                  <a:cubicBezTo>
                    <a:pt x="62" y="476"/>
                    <a:pt x="61" y="480"/>
                    <a:pt x="58" y="483"/>
                  </a:cubicBezTo>
                  <a:cubicBezTo>
                    <a:pt x="57" y="484"/>
                    <a:pt x="57" y="484"/>
                    <a:pt x="57" y="484"/>
                  </a:cubicBezTo>
                  <a:cubicBezTo>
                    <a:pt x="55" y="486"/>
                    <a:pt x="54" y="487"/>
                    <a:pt x="52" y="489"/>
                  </a:cubicBezTo>
                  <a:cubicBezTo>
                    <a:pt x="53" y="489"/>
                    <a:pt x="54" y="490"/>
                    <a:pt x="56" y="491"/>
                  </a:cubicBezTo>
                  <a:cubicBezTo>
                    <a:pt x="63" y="496"/>
                    <a:pt x="71" y="501"/>
                    <a:pt x="76" y="508"/>
                  </a:cubicBezTo>
                  <a:cubicBezTo>
                    <a:pt x="76" y="508"/>
                    <a:pt x="77" y="509"/>
                    <a:pt x="77" y="509"/>
                  </a:cubicBezTo>
                  <a:cubicBezTo>
                    <a:pt x="77" y="509"/>
                    <a:pt x="77" y="509"/>
                    <a:pt x="77" y="509"/>
                  </a:cubicBezTo>
                  <a:cubicBezTo>
                    <a:pt x="79" y="511"/>
                    <a:pt x="80" y="513"/>
                    <a:pt x="78" y="517"/>
                  </a:cubicBezTo>
                  <a:cubicBezTo>
                    <a:pt x="77" y="518"/>
                    <a:pt x="76" y="519"/>
                    <a:pt x="76" y="521"/>
                  </a:cubicBezTo>
                  <a:cubicBezTo>
                    <a:pt x="75" y="522"/>
                    <a:pt x="75" y="524"/>
                    <a:pt x="74" y="526"/>
                  </a:cubicBezTo>
                  <a:cubicBezTo>
                    <a:pt x="72" y="528"/>
                    <a:pt x="70" y="530"/>
                    <a:pt x="68" y="532"/>
                  </a:cubicBezTo>
                  <a:cubicBezTo>
                    <a:pt x="67" y="532"/>
                    <a:pt x="66" y="533"/>
                    <a:pt x="65" y="533"/>
                  </a:cubicBezTo>
                  <a:cubicBezTo>
                    <a:pt x="62" y="537"/>
                    <a:pt x="58" y="540"/>
                    <a:pt x="55" y="543"/>
                  </a:cubicBezTo>
                  <a:cubicBezTo>
                    <a:pt x="53" y="545"/>
                    <a:pt x="51" y="548"/>
                    <a:pt x="48" y="550"/>
                  </a:cubicBezTo>
                  <a:cubicBezTo>
                    <a:pt x="43" y="555"/>
                    <a:pt x="38" y="561"/>
                    <a:pt x="31" y="565"/>
                  </a:cubicBezTo>
                  <a:cubicBezTo>
                    <a:pt x="24" y="570"/>
                    <a:pt x="16" y="576"/>
                    <a:pt x="9" y="582"/>
                  </a:cubicBezTo>
                  <a:cubicBezTo>
                    <a:pt x="12" y="582"/>
                    <a:pt x="14" y="581"/>
                    <a:pt x="16" y="581"/>
                  </a:cubicBezTo>
                  <a:cubicBezTo>
                    <a:pt x="16" y="579"/>
                    <a:pt x="20" y="579"/>
                    <a:pt x="22" y="577"/>
                  </a:cubicBezTo>
                  <a:cubicBezTo>
                    <a:pt x="24" y="582"/>
                    <a:pt x="17" y="578"/>
                    <a:pt x="21" y="583"/>
                  </a:cubicBezTo>
                  <a:cubicBezTo>
                    <a:pt x="25" y="588"/>
                    <a:pt x="19" y="583"/>
                    <a:pt x="18" y="582"/>
                  </a:cubicBezTo>
                  <a:cubicBezTo>
                    <a:pt x="20" y="589"/>
                    <a:pt x="29" y="590"/>
                    <a:pt x="36" y="593"/>
                  </a:cubicBezTo>
                  <a:cubicBezTo>
                    <a:pt x="38" y="594"/>
                    <a:pt x="40" y="594"/>
                    <a:pt x="42" y="595"/>
                  </a:cubicBezTo>
                  <a:cubicBezTo>
                    <a:pt x="44" y="596"/>
                    <a:pt x="46" y="597"/>
                    <a:pt x="48" y="598"/>
                  </a:cubicBezTo>
                  <a:cubicBezTo>
                    <a:pt x="50" y="601"/>
                    <a:pt x="50" y="601"/>
                    <a:pt x="50" y="601"/>
                  </a:cubicBezTo>
                  <a:cubicBezTo>
                    <a:pt x="47" y="601"/>
                    <a:pt x="47" y="601"/>
                    <a:pt x="47" y="601"/>
                  </a:cubicBezTo>
                  <a:cubicBezTo>
                    <a:pt x="45" y="601"/>
                    <a:pt x="43" y="600"/>
                    <a:pt x="41" y="600"/>
                  </a:cubicBezTo>
                  <a:cubicBezTo>
                    <a:pt x="38" y="599"/>
                    <a:pt x="34" y="598"/>
                    <a:pt x="31" y="599"/>
                  </a:cubicBezTo>
                  <a:cubicBezTo>
                    <a:pt x="29" y="600"/>
                    <a:pt x="27" y="603"/>
                    <a:pt x="25" y="604"/>
                  </a:cubicBezTo>
                  <a:cubicBezTo>
                    <a:pt x="24" y="605"/>
                    <a:pt x="21" y="603"/>
                    <a:pt x="20" y="603"/>
                  </a:cubicBezTo>
                  <a:cubicBezTo>
                    <a:pt x="17" y="602"/>
                    <a:pt x="14" y="606"/>
                    <a:pt x="11" y="604"/>
                  </a:cubicBezTo>
                  <a:cubicBezTo>
                    <a:pt x="10" y="606"/>
                    <a:pt x="10" y="608"/>
                    <a:pt x="10" y="611"/>
                  </a:cubicBezTo>
                  <a:cubicBezTo>
                    <a:pt x="15" y="614"/>
                    <a:pt x="15" y="614"/>
                    <a:pt x="15" y="614"/>
                  </a:cubicBezTo>
                  <a:cubicBezTo>
                    <a:pt x="14" y="616"/>
                    <a:pt x="14" y="616"/>
                    <a:pt x="14" y="616"/>
                  </a:cubicBezTo>
                  <a:cubicBezTo>
                    <a:pt x="14" y="616"/>
                    <a:pt x="13" y="616"/>
                    <a:pt x="13" y="617"/>
                  </a:cubicBezTo>
                  <a:cubicBezTo>
                    <a:pt x="16" y="619"/>
                    <a:pt x="16" y="619"/>
                    <a:pt x="16" y="619"/>
                  </a:cubicBezTo>
                  <a:cubicBezTo>
                    <a:pt x="11" y="620"/>
                    <a:pt x="11" y="620"/>
                    <a:pt x="11" y="620"/>
                  </a:cubicBezTo>
                  <a:cubicBezTo>
                    <a:pt x="11" y="620"/>
                    <a:pt x="9" y="621"/>
                    <a:pt x="8" y="624"/>
                  </a:cubicBezTo>
                  <a:cubicBezTo>
                    <a:pt x="6" y="628"/>
                    <a:pt x="3" y="632"/>
                    <a:pt x="1" y="633"/>
                  </a:cubicBezTo>
                  <a:cubicBezTo>
                    <a:pt x="1" y="633"/>
                    <a:pt x="1" y="634"/>
                    <a:pt x="1" y="635"/>
                  </a:cubicBezTo>
                  <a:cubicBezTo>
                    <a:pt x="2" y="638"/>
                    <a:pt x="1" y="641"/>
                    <a:pt x="1" y="643"/>
                  </a:cubicBezTo>
                  <a:cubicBezTo>
                    <a:pt x="1" y="644"/>
                    <a:pt x="1" y="644"/>
                    <a:pt x="1" y="644"/>
                  </a:cubicBezTo>
                  <a:cubicBezTo>
                    <a:pt x="1" y="645"/>
                    <a:pt x="1" y="648"/>
                    <a:pt x="3" y="650"/>
                  </a:cubicBezTo>
                  <a:cubicBezTo>
                    <a:pt x="6" y="653"/>
                    <a:pt x="7" y="656"/>
                    <a:pt x="7" y="657"/>
                  </a:cubicBezTo>
                  <a:cubicBezTo>
                    <a:pt x="8" y="659"/>
                    <a:pt x="7" y="660"/>
                    <a:pt x="7" y="660"/>
                  </a:cubicBezTo>
                  <a:cubicBezTo>
                    <a:pt x="6" y="661"/>
                    <a:pt x="6" y="661"/>
                    <a:pt x="6" y="661"/>
                  </a:cubicBezTo>
                  <a:cubicBezTo>
                    <a:pt x="5" y="661"/>
                    <a:pt x="5" y="661"/>
                    <a:pt x="5" y="661"/>
                  </a:cubicBezTo>
                  <a:cubicBezTo>
                    <a:pt x="5" y="661"/>
                    <a:pt x="5" y="661"/>
                    <a:pt x="4" y="661"/>
                  </a:cubicBezTo>
                  <a:cubicBezTo>
                    <a:pt x="4" y="661"/>
                    <a:pt x="4" y="661"/>
                    <a:pt x="4" y="661"/>
                  </a:cubicBezTo>
                  <a:cubicBezTo>
                    <a:pt x="3" y="661"/>
                    <a:pt x="3" y="661"/>
                    <a:pt x="3" y="661"/>
                  </a:cubicBezTo>
                  <a:cubicBezTo>
                    <a:pt x="3" y="661"/>
                    <a:pt x="3" y="661"/>
                    <a:pt x="3" y="661"/>
                  </a:cubicBezTo>
                  <a:cubicBezTo>
                    <a:pt x="3" y="661"/>
                    <a:pt x="3" y="661"/>
                    <a:pt x="3" y="661"/>
                  </a:cubicBezTo>
                  <a:cubicBezTo>
                    <a:pt x="2" y="661"/>
                    <a:pt x="2" y="661"/>
                    <a:pt x="2" y="662"/>
                  </a:cubicBezTo>
                  <a:cubicBezTo>
                    <a:pt x="2" y="662"/>
                    <a:pt x="2" y="662"/>
                    <a:pt x="2" y="662"/>
                  </a:cubicBezTo>
                  <a:cubicBezTo>
                    <a:pt x="2" y="662"/>
                    <a:pt x="2" y="662"/>
                    <a:pt x="1" y="662"/>
                  </a:cubicBezTo>
                  <a:cubicBezTo>
                    <a:pt x="1" y="663"/>
                    <a:pt x="1" y="663"/>
                    <a:pt x="1" y="663"/>
                  </a:cubicBezTo>
                  <a:cubicBezTo>
                    <a:pt x="1" y="663"/>
                    <a:pt x="1" y="663"/>
                    <a:pt x="1" y="663"/>
                  </a:cubicBezTo>
                  <a:cubicBezTo>
                    <a:pt x="1" y="664"/>
                    <a:pt x="1" y="664"/>
                    <a:pt x="1" y="664"/>
                  </a:cubicBezTo>
                  <a:cubicBezTo>
                    <a:pt x="1" y="664"/>
                    <a:pt x="0" y="664"/>
                    <a:pt x="0" y="664"/>
                  </a:cubicBezTo>
                  <a:cubicBezTo>
                    <a:pt x="0" y="664"/>
                    <a:pt x="0" y="664"/>
                    <a:pt x="0" y="664"/>
                  </a:cubicBezTo>
                  <a:cubicBezTo>
                    <a:pt x="0" y="664"/>
                    <a:pt x="0" y="665"/>
                    <a:pt x="0" y="665"/>
                  </a:cubicBezTo>
                  <a:cubicBezTo>
                    <a:pt x="0" y="665"/>
                    <a:pt x="0" y="665"/>
                    <a:pt x="0" y="665"/>
                  </a:cubicBezTo>
                  <a:cubicBezTo>
                    <a:pt x="0" y="666"/>
                    <a:pt x="0" y="666"/>
                    <a:pt x="0" y="666"/>
                  </a:cubicBezTo>
                  <a:cubicBezTo>
                    <a:pt x="0" y="666"/>
                    <a:pt x="0" y="666"/>
                    <a:pt x="0" y="666"/>
                  </a:cubicBezTo>
                  <a:cubicBezTo>
                    <a:pt x="0" y="667"/>
                    <a:pt x="0" y="667"/>
                    <a:pt x="0" y="667"/>
                  </a:cubicBezTo>
                  <a:cubicBezTo>
                    <a:pt x="0" y="667"/>
                    <a:pt x="0" y="667"/>
                    <a:pt x="1" y="667"/>
                  </a:cubicBezTo>
                  <a:cubicBezTo>
                    <a:pt x="1" y="667"/>
                    <a:pt x="1" y="667"/>
                    <a:pt x="1" y="667"/>
                  </a:cubicBezTo>
                  <a:cubicBezTo>
                    <a:pt x="1" y="667"/>
                    <a:pt x="1" y="667"/>
                    <a:pt x="1" y="667"/>
                  </a:cubicBezTo>
                  <a:cubicBezTo>
                    <a:pt x="1" y="667"/>
                    <a:pt x="1" y="667"/>
                    <a:pt x="1" y="668"/>
                  </a:cubicBezTo>
                  <a:cubicBezTo>
                    <a:pt x="3" y="669"/>
                    <a:pt x="5" y="670"/>
                    <a:pt x="6" y="670"/>
                  </a:cubicBezTo>
                  <a:cubicBezTo>
                    <a:pt x="7" y="671"/>
                    <a:pt x="8" y="671"/>
                    <a:pt x="8" y="672"/>
                  </a:cubicBezTo>
                  <a:cubicBezTo>
                    <a:pt x="9" y="674"/>
                    <a:pt x="7" y="678"/>
                    <a:pt x="6" y="679"/>
                  </a:cubicBezTo>
                  <a:cubicBezTo>
                    <a:pt x="6" y="679"/>
                    <a:pt x="6" y="679"/>
                    <a:pt x="6" y="679"/>
                  </a:cubicBezTo>
                  <a:cubicBezTo>
                    <a:pt x="7" y="680"/>
                    <a:pt x="7" y="681"/>
                    <a:pt x="6" y="683"/>
                  </a:cubicBezTo>
                  <a:cubicBezTo>
                    <a:pt x="6" y="683"/>
                    <a:pt x="6" y="683"/>
                    <a:pt x="6" y="683"/>
                  </a:cubicBezTo>
                  <a:cubicBezTo>
                    <a:pt x="6" y="683"/>
                    <a:pt x="6" y="683"/>
                    <a:pt x="6" y="683"/>
                  </a:cubicBezTo>
                  <a:cubicBezTo>
                    <a:pt x="9" y="684"/>
                    <a:pt x="11" y="687"/>
                    <a:pt x="12" y="690"/>
                  </a:cubicBezTo>
                  <a:cubicBezTo>
                    <a:pt x="13" y="694"/>
                    <a:pt x="13" y="694"/>
                    <a:pt x="13" y="695"/>
                  </a:cubicBezTo>
                  <a:cubicBezTo>
                    <a:pt x="14" y="695"/>
                    <a:pt x="14" y="695"/>
                    <a:pt x="14" y="695"/>
                  </a:cubicBezTo>
                  <a:cubicBezTo>
                    <a:pt x="14" y="695"/>
                    <a:pt x="14" y="696"/>
                    <a:pt x="14" y="696"/>
                  </a:cubicBezTo>
                  <a:cubicBezTo>
                    <a:pt x="14" y="696"/>
                    <a:pt x="14" y="696"/>
                    <a:pt x="14" y="697"/>
                  </a:cubicBezTo>
                  <a:cubicBezTo>
                    <a:pt x="14" y="697"/>
                    <a:pt x="14" y="697"/>
                    <a:pt x="14" y="697"/>
                  </a:cubicBezTo>
                  <a:cubicBezTo>
                    <a:pt x="14" y="697"/>
                    <a:pt x="15" y="698"/>
                    <a:pt x="15" y="698"/>
                  </a:cubicBezTo>
                  <a:cubicBezTo>
                    <a:pt x="15" y="699"/>
                    <a:pt x="15" y="699"/>
                    <a:pt x="15" y="699"/>
                  </a:cubicBezTo>
                  <a:cubicBezTo>
                    <a:pt x="15" y="699"/>
                    <a:pt x="15" y="699"/>
                    <a:pt x="15" y="699"/>
                  </a:cubicBezTo>
                  <a:cubicBezTo>
                    <a:pt x="15" y="703"/>
                    <a:pt x="15" y="703"/>
                    <a:pt x="15" y="703"/>
                  </a:cubicBezTo>
                  <a:cubicBezTo>
                    <a:pt x="15" y="703"/>
                    <a:pt x="15" y="703"/>
                    <a:pt x="15" y="703"/>
                  </a:cubicBezTo>
                  <a:cubicBezTo>
                    <a:pt x="15" y="703"/>
                    <a:pt x="15" y="704"/>
                    <a:pt x="16" y="704"/>
                  </a:cubicBezTo>
                  <a:cubicBezTo>
                    <a:pt x="16" y="704"/>
                    <a:pt x="16" y="704"/>
                    <a:pt x="17" y="704"/>
                  </a:cubicBezTo>
                  <a:cubicBezTo>
                    <a:pt x="17" y="704"/>
                    <a:pt x="17" y="705"/>
                    <a:pt x="17" y="705"/>
                  </a:cubicBezTo>
                  <a:cubicBezTo>
                    <a:pt x="18" y="705"/>
                    <a:pt x="18" y="705"/>
                    <a:pt x="19" y="705"/>
                  </a:cubicBezTo>
                  <a:cubicBezTo>
                    <a:pt x="19" y="706"/>
                    <a:pt x="19" y="706"/>
                    <a:pt x="19" y="706"/>
                  </a:cubicBezTo>
                  <a:cubicBezTo>
                    <a:pt x="22" y="707"/>
                    <a:pt x="22" y="707"/>
                    <a:pt x="22" y="707"/>
                  </a:cubicBezTo>
                  <a:cubicBezTo>
                    <a:pt x="23" y="707"/>
                    <a:pt x="23" y="707"/>
                    <a:pt x="23" y="707"/>
                  </a:cubicBezTo>
                  <a:cubicBezTo>
                    <a:pt x="24" y="707"/>
                    <a:pt x="24" y="707"/>
                    <a:pt x="24" y="708"/>
                  </a:cubicBezTo>
                  <a:cubicBezTo>
                    <a:pt x="25" y="708"/>
                    <a:pt x="25" y="708"/>
                    <a:pt x="25" y="708"/>
                  </a:cubicBezTo>
                  <a:cubicBezTo>
                    <a:pt x="25" y="708"/>
                    <a:pt x="25" y="708"/>
                    <a:pt x="26" y="708"/>
                  </a:cubicBezTo>
                  <a:cubicBezTo>
                    <a:pt x="26" y="708"/>
                    <a:pt x="26" y="708"/>
                    <a:pt x="26" y="708"/>
                  </a:cubicBezTo>
                  <a:cubicBezTo>
                    <a:pt x="27" y="708"/>
                    <a:pt x="27" y="708"/>
                    <a:pt x="28" y="707"/>
                  </a:cubicBezTo>
                  <a:cubicBezTo>
                    <a:pt x="28" y="707"/>
                    <a:pt x="28" y="707"/>
                    <a:pt x="28" y="707"/>
                  </a:cubicBezTo>
                  <a:cubicBezTo>
                    <a:pt x="29" y="707"/>
                    <a:pt x="30" y="707"/>
                    <a:pt x="31" y="707"/>
                  </a:cubicBezTo>
                  <a:cubicBezTo>
                    <a:pt x="31" y="707"/>
                    <a:pt x="32" y="707"/>
                    <a:pt x="33" y="707"/>
                  </a:cubicBezTo>
                  <a:cubicBezTo>
                    <a:pt x="33" y="707"/>
                    <a:pt x="33" y="707"/>
                    <a:pt x="33" y="707"/>
                  </a:cubicBezTo>
                  <a:cubicBezTo>
                    <a:pt x="34" y="707"/>
                    <a:pt x="35" y="708"/>
                    <a:pt x="36" y="709"/>
                  </a:cubicBezTo>
                  <a:cubicBezTo>
                    <a:pt x="36" y="710"/>
                    <a:pt x="36" y="710"/>
                    <a:pt x="36" y="710"/>
                  </a:cubicBezTo>
                  <a:cubicBezTo>
                    <a:pt x="36" y="709"/>
                    <a:pt x="36" y="709"/>
                    <a:pt x="36" y="709"/>
                  </a:cubicBezTo>
                  <a:cubicBezTo>
                    <a:pt x="37" y="710"/>
                    <a:pt x="38" y="711"/>
                    <a:pt x="38" y="713"/>
                  </a:cubicBezTo>
                  <a:cubicBezTo>
                    <a:pt x="38" y="713"/>
                    <a:pt x="38" y="713"/>
                    <a:pt x="38" y="713"/>
                  </a:cubicBezTo>
                  <a:cubicBezTo>
                    <a:pt x="38" y="713"/>
                    <a:pt x="38" y="714"/>
                    <a:pt x="38" y="714"/>
                  </a:cubicBezTo>
                  <a:cubicBezTo>
                    <a:pt x="39" y="714"/>
                    <a:pt x="39" y="713"/>
                    <a:pt x="40" y="713"/>
                  </a:cubicBezTo>
                  <a:cubicBezTo>
                    <a:pt x="40" y="713"/>
                    <a:pt x="41" y="712"/>
                    <a:pt x="42" y="712"/>
                  </a:cubicBezTo>
                  <a:cubicBezTo>
                    <a:pt x="42" y="712"/>
                    <a:pt x="43" y="711"/>
                    <a:pt x="43" y="711"/>
                  </a:cubicBezTo>
                  <a:cubicBezTo>
                    <a:pt x="44" y="711"/>
                    <a:pt x="44" y="711"/>
                    <a:pt x="44" y="711"/>
                  </a:cubicBezTo>
                  <a:cubicBezTo>
                    <a:pt x="44" y="711"/>
                    <a:pt x="44" y="711"/>
                    <a:pt x="44" y="711"/>
                  </a:cubicBezTo>
                  <a:cubicBezTo>
                    <a:pt x="45" y="711"/>
                    <a:pt x="45" y="711"/>
                    <a:pt x="45" y="711"/>
                  </a:cubicBezTo>
                  <a:cubicBezTo>
                    <a:pt x="46" y="710"/>
                    <a:pt x="46" y="710"/>
                    <a:pt x="46" y="710"/>
                  </a:cubicBezTo>
                  <a:cubicBezTo>
                    <a:pt x="47" y="710"/>
                    <a:pt x="47" y="710"/>
                    <a:pt x="48" y="710"/>
                  </a:cubicBezTo>
                  <a:cubicBezTo>
                    <a:pt x="48" y="710"/>
                    <a:pt x="48" y="710"/>
                    <a:pt x="49" y="710"/>
                  </a:cubicBezTo>
                  <a:cubicBezTo>
                    <a:pt x="50" y="710"/>
                    <a:pt x="51" y="710"/>
                    <a:pt x="52" y="711"/>
                  </a:cubicBezTo>
                  <a:cubicBezTo>
                    <a:pt x="53" y="711"/>
                    <a:pt x="53" y="711"/>
                    <a:pt x="53" y="711"/>
                  </a:cubicBezTo>
                  <a:cubicBezTo>
                    <a:pt x="54" y="711"/>
                    <a:pt x="56" y="712"/>
                    <a:pt x="57" y="712"/>
                  </a:cubicBezTo>
                  <a:cubicBezTo>
                    <a:pt x="64" y="715"/>
                    <a:pt x="66" y="717"/>
                    <a:pt x="66" y="718"/>
                  </a:cubicBezTo>
                  <a:cubicBezTo>
                    <a:pt x="67" y="718"/>
                    <a:pt x="67" y="718"/>
                    <a:pt x="67" y="718"/>
                  </a:cubicBezTo>
                  <a:cubicBezTo>
                    <a:pt x="67" y="726"/>
                    <a:pt x="67" y="726"/>
                    <a:pt x="67" y="726"/>
                  </a:cubicBezTo>
                  <a:cubicBezTo>
                    <a:pt x="66" y="728"/>
                    <a:pt x="66" y="728"/>
                    <a:pt x="66" y="728"/>
                  </a:cubicBezTo>
                  <a:cubicBezTo>
                    <a:pt x="66" y="728"/>
                    <a:pt x="66" y="728"/>
                    <a:pt x="66" y="728"/>
                  </a:cubicBezTo>
                  <a:cubicBezTo>
                    <a:pt x="67" y="729"/>
                    <a:pt x="70" y="733"/>
                    <a:pt x="69" y="736"/>
                  </a:cubicBezTo>
                  <a:cubicBezTo>
                    <a:pt x="68" y="736"/>
                    <a:pt x="68" y="736"/>
                    <a:pt x="68" y="736"/>
                  </a:cubicBezTo>
                  <a:cubicBezTo>
                    <a:pt x="68" y="737"/>
                    <a:pt x="66" y="738"/>
                    <a:pt x="65" y="740"/>
                  </a:cubicBezTo>
                  <a:cubicBezTo>
                    <a:pt x="69" y="741"/>
                    <a:pt x="72" y="743"/>
                    <a:pt x="72" y="747"/>
                  </a:cubicBezTo>
                  <a:cubicBezTo>
                    <a:pt x="72" y="748"/>
                    <a:pt x="74" y="752"/>
                    <a:pt x="79" y="755"/>
                  </a:cubicBezTo>
                  <a:cubicBezTo>
                    <a:pt x="83" y="757"/>
                    <a:pt x="84" y="760"/>
                    <a:pt x="84" y="762"/>
                  </a:cubicBezTo>
                  <a:cubicBezTo>
                    <a:pt x="85" y="763"/>
                    <a:pt x="84" y="764"/>
                    <a:pt x="84" y="765"/>
                  </a:cubicBezTo>
                  <a:cubicBezTo>
                    <a:pt x="86" y="766"/>
                    <a:pt x="89" y="767"/>
                    <a:pt x="95" y="767"/>
                  </a:cubicBezTo>
                  <a:cubicBezTo>
                    <a:pt x="101" y="768"/>
                    <a:pt x="101" y="768"/>
                    <a:pt x="101" y="768"/>
                  </a:cubicBezTo>
                  <a:cubicBezTo>
                    <a:pt x="96" y="771"/>
                    <a:pt x="96" y="771"/>
                    <a:pt x="96" y="771"/>
                  </a:cubicBezTo>
                  <a:cubicBezTo>
                    <a:pt x="96" y="771"/>
                    <a:pt x="96" y="771"/>
                    <a:pt x="96" y="771"/>
                  </a:cubicBezTo>
                  <a:cubicBezTo>
                    <a:pt x="96" y="771"/>
                    <a:pt x="97" y="772"/>
                    <a:pt x="98" y="773"/>
                  </a:cubicBezTo>
                  <a:cubicBezTo>
                    <a:pt x="98" y="773"/>
                    <a:pt x="99" y="773"/>
                    <a:pt x="99" y="774"/>
                  </a:cubicBezTo>
                  <a:cubicBezTo>
                    <a:pt x="101" y="775"/>
                    <a:pt x="102" y="776"/>
                    <a:pt x="102" y="778"/>
                  </a:cubicBezTo>
                  <a:cubicBezTo>
                    <a:pt x="102" y="779"/>
                    <a:pt x="102" y="780"/>
                    <a:pt x="101" y="780"/>
                  </a:cubicBezTo>
                  <a:cubicBezTo>
                    <a:pt x="101" y="781"/>
                    <a:pt x="100" y="781"/>
                    <a:pt x="100" y="781"/>
                  </a:cubicBezTo>
                  <a:cubicBezTo>
                    <a:pt x="99" y="782"/>
                    <a:pt x="98" y="782"/>
                    <a:pt x="97" y="783"/>
                  </a:cubicBezTo>
                  <a:cubicBezTo>
                    <a:pt x="97" y="783"/>
                    <a:pt x="96" y="783"/>
                    <a:pt x="96" y="784"/>
                  </a:cubicBezTo>
                  <a:cubicBezTo>
                    <a:pt x="96" y="784"/>
                    <a:pt x="96" y="784"/>
                    <a:pt x="96" y="784"/>
                  </a:cubicBezTo>
                  <a:cubicBezTo>
                    <a:pt x="95" y="785"/>
                    <a:pt x="95" y="785"/>
                    <a:pt x="95" y="785"/>
                  </a:cubicBezTo>
                  <a:cubicBezTo>
                    <a:pt x="94" y="785"/>
                    <a:pt x="94" y="785"/>
                    <a:pt x="94" y="785"/>
                  </a:cubicBezTo>
                  <a:cubicBezTo>
                    <a:pt x="92" y="786"/>
                    <a:pt x="92" y="786"/>
                    <a:pt x="92" y="786"/>
                  </a:cubicBezTo>
                  <a:cubicBezTo>
                    <a:pt x="92" y="786"/>
                    <a:pt x="92" y="786"/>
                    <a:pt x="91" y="786"/>
                  </a:cubicBezTo>
                  <a:cubicBezTo>
                    <a:pt x="91" y="786"/>
                    <a:pt x="91" y="786"/>
                    <a:pt x="91" y="787"/>
                  </a:cubicBezTo>
                  <a:cubicBezTo>
                    <a:pt x="90" y="787"/>
                    <a:pt x="90" y="787"/>
                    <a:pt x="90" y="787"/>
                  </a:cubicBezTo>
                  <a:cubicBezTo>
                    <a:pt x="90" y="787"/>
                    <a:pt x="89" y="787"/>
                    <a:pt x="89" y="787"/>
                  </a:cubicBezTo>
                  <a:cubicBezTo>
                    <a:pt x="87" y="788"/>
                    <a:pt x="85" y="788"/>
                    <a:pt x="84" y="787"/>
                  </a:cubicBezTo>
                  <a:cubicBezTo>
                    <a:pt x="82" y="787"/>
                    <a:pt x="81" y="787"/>
                    <a:pt x="80" y="787"/>
                  </a:cubicBezTo>
                  <a:cubicBezTo>
                    <a:pt x="79" y="787"/>
                    <a:pt x="79" y="787"/>
                    <a:pt x="79" y="787"/>
                  </a:cubicBezTo>
                  <a:cubicBezTo>
                    <a:pt x="78" y="787"/>
                    <a:pt x="78" y="787"/>
                    <a:pt x="77" y="787"/>
                  </a:cubicBezTo>
                  <a:cubicBezTo>
                    <a:pt x="76" y="787"/>
                    <a:pt x="76" y="787"/>
                    <a:pt x="76" y="787"/>
                  </a:cubicBezTo>
                  <a:cubicBezTo>
                    <a:pt x="76" y="787"/>
                    <a:pt x="75" y="787"/>
                    <a:pt x="75" y="787"/>
                  </a:cubicBezTo>
                  <a:cubicBezTo>
                    <a:pt x="75" y="787"/>
                    <a:pt x="75" y="787"/>
                    <a:pt x="75" y="787"/>
                  </a:cubicBezTo>
                  <a:cubicBezTo>
                    <a:pt x="75" y="787"/>
                    <a:pt x="75" y="787"/>
                    <a:pt x="75" y="787"/>
                  </a:cubicBezTo>
                  <a:cubicBezTo>
                    <a:pt x="75" y="788"/>
                    <a:pt x="76" y="789"/>
                    <a:pt x="77" y="790"/>
                  </a:cubicBezTo>
                  <a:cubicBezTo>
                    <a:pt x="79" y="791"/>
                    <a:pt x="81" y="793"/>
                    <a:pt x="80" y="802"/>
                  </a:cubicBezTo>
                  <a:cubicBezTo>
                    <a:pt x="79" y="804"/>
                    <a:pt x="80" y="805"/>
                    <a:pt x="81" y="806"/>
                  </a:cubicBezTo>
                  <a:cubicBezTo>
                    <a:pt x="81" y="806"/>
                    <a:pt x="81" y="806"/>
                    <a:pt x="81" y="806"/>
                  </a:cubicBezTo>
                  <a:cubicBezTo>
                    <a:pt x="81" y="806"/>
                    <a:pt x="82" y="806"/>
                    <a:pt x="82" y="807"/>
                  </a:cubicBezTo>
                  <a:cubicBezTo>
                    <a:pt x="82" y="807"/>
                    <a:pt x="82" y="807"/>
                    <a:pt x="82" y="807"/>
                  </a:cubicBezTo>
                  <a:cubicBezTo>
                    <a:pt x="82" y="807"/>
                    <a:pt x="82" y="807"/>
                    <a:pt x="82" y="807"/>
                  </a:cubicBezTo>
                  <a:cubicBezTo>
                    <a:pt x="83" y="809"/>
                    <a:pt x="83" y="809"/>
                    <a:pt x="83" y="809"/>
                  </a:cubicBezTo>
                  <a:cubicBezTo>
                    <a:pt x="86" y="810"/>
                    <a:pt x="88" y="810"/>
                    <a:pt x="89" y="809"/>
                  </a:cubicBezTo>
                  <a:cubicBezTo>
                    <a:pt x="89" y="809"/>
                    <a:pt x="89" y="809"/>
                    <a:pt x="89" y="809"/>
                  </a:cubicBezTo>
                  <a:cubicBezTo>
                    <a:pt x="91" y="806"/>
                    <a:pt x="93" y="802"/>
                    <a:pt x="99" y="803"/>
                  </a:cubicBezTo>
                  <a:cubicBezTo>
                    <a:pt x="102" y="804"/>
                    <a:pt x="106" y="803"/>
                    <a:pt x="111" y="802"/>
                  </a:cubicBezTo>
                  <a:cubicBezTo>
                    <a:pt x="114" y="801"/>
                    <a:pt x="119" y="801"/>
                    <a:pt x="121" y="803"/>
                  </a:cubicBezTo>
                  <a:cubicBezTo>
                    <a:pt x="122" y="803"/>
                    <a:pt x="122" y="803"/>
                    <a:pt x="122" y="803"/>
                  </a:cubicBezTo>
                  <a:cubicBezTo>
                    <a:pt x="127" y="807"/>
                    <a:pt x="128" y="809"/>
                    <a:pt x="128" y="811"/>
                  </a:cubicBezTo>
                  <a:cubicBezTo>
                    <a:pt x="128" y="812"/>
                    <a:pt x="128" y="812"/>
                    <a:pt x="128" y="812"/>
                  </a:cubicBezTo>
                  <a:cubicBezTo>
                    <a:pt x="128" y="813"/>
                    <a:pt x="128" y="813"/>
                    <a:pt x="129" y="814"/>
                  </a:cubicBezTo>
                  <a:cubicBezTo>
                    <a:pt x="130" y="814"/>
                    <a:pt x="132" y="815"/>
                    <a:pt x="133" y="817"/>
                  </a:cubicBezTo>
                  <a:cubicBezTo>
                    <a:pt x="134" y="818"/>
                    <a:pt x="134" y="819"/>
                    <a:pt x="134" y="819"/>
                  </a:cubicBezTo>
                  <a:cubicBezTo>
                    <a:pt x="134" y="821"/>
                    <a:pt x="134" y="821"/>
                    <a:pt x="134" y="821"/>
                  </a:cubicBezTo>
                  <a:cubicBezTo>
                    <a:pt x="132" y="822"/>
                    <a:pt x="132" y="822"/>
                    <a:pt x="132" y="822"/>
                  </a:cubicBezTo>
                  <a:cubicBezTo>
                    <a:pt x="131" y="822"/>
                    <a:pt x="129" y="822"/>
                    <a:pt x="129" y="823"/>
                  </a:cubicBezTo>
                  <a:cubicBezTo>
                    <a:pt x="130" y="825"/>
                    <a:pt x="130" y="827"/>
                    <a:pt x="130" y="829"/>
                  </a:cubicBezTo>
                  <a:cubicBezTo>
                    <a:pt x="130" y="829"/>
                    <a:pt x="130" y="830"/>
                    <a:pt x="130" y="830"/>
                  </a:cubicBezTo>
                  <a:cubicBezTo>
                    <a:pt x="132" y="830"/>
                    <a:pt x="134" y="830"/>
                    <a:pt x="136" y="831"/>
                  </a:cubicBezTo>
                  <a:cubicBezTo>
                    <a:pt x="137" y="832"/>
                    <a:pt x="139" y="832"/>
                    <a:pt x="139" y="832"/>
                  </a:cubicBezTo>
                  <a:cubicBezTo>
                    <a:pt x="141" y="831"/>
                    <a:pt x="143" y="831"/>
                    <a:pt x="147" y="833"/>
                  </a:cubicBezTo>
                  <a:cubicBezTo>
                    <a:pt x="149" y="835"/>
                    <a:pt x="150" y="836"/>
                    <a:pt x="151" y="836"/>
                  </a:cubicBezTo>
                  <a:cubicBezTo>
                    <a:pt x="153" y="837"/>
                    <a:pt x="153" y="837"/>
                    <a:pt x="153" y="837"/>
                  </a:cubicBezTo>
                  <a:cubicBezTo>
                    <a:pt x="151" y="839"/>
                    <a:pt x="151" y="839"/>
                    <a:pt x="151" y="839"/>
                  </a:cubicBezTo>
                  <a:cubicBezTo>
                    <a:pt x="151" y="839"/>
                    <a:pt x="150" y="840"/>
                    <a:pt x="151" y="841"/>
                  </a:cubicBezTo>
                  <a:cubicBezTo>
                    <a:pt x="153" y="844"/>
                    <a:pt x="154" y="848"/>
                    <a:pt x="153" y="850"/>
                  </a:cubicBezTo>
                  <a:cubicBezTo>
                    <a:pt x="153" y="850"/>
                    <a:pt x="154" y="851"/>
                    <a:pt x="155" y="852"/>
                  </a:cubicBezTo>
                  <a:cubicBezTo>
                    <a:pt x="155" y="852"/>
                    <a:pt x="156" y="853"/>
                    <a:pt x="158" y="852"/>
                  </a:cubicBezTo>
                  <a:cubicBezTo>
                    <a:pt x="161" y="850"/>
                    <a:pt x="165" y="851"/>
                    <a:pt x="169" y="853"/>
                  </a:cubicBezTo>
                  <a:cubicBezTo>
                    <a:pt x="170" y="854"/>
                    <a:pt x="175" y="855"/>
                    <a:pt x="178" y="854"/>
                  </a:cubicBezTo>
                  <a:cubicBezTo>
                    <a:pt x="183" y="852"/>
                    <a:pt x="188" y="851"/>
                    <a:pt x="188" y="851"/>
                  </a:cubicBezTo>
                  <a:cubicBezTo>
                    <a:pt x="189" y="851"/>
                    <a:pt x="189" y="851"/>
                    <a:pt x="189" y="851"/>
                  </a:cubicBezTo>
                  <a:cubicBezTo>
                    <a:pt x="189" y="851"/>
                    <a:pt x="192" y="851"/>
                    <a:pt x="194" y="854"/>
                  </a:cubicBezTo>
                  <a:cubicBezTo>
                    <a:pt x="196" y="857"/>
                    <a:pt x="199" y="860"/>
                    <a:pt x="200" y="862"/>
                  </a:cubicBezTo>
                  <a:cubicBezTo>
                    <a:pt x="202" y="861"/>
                    <a:pt x="203" y="860"/>
                    <a:pt x="205" y="860"/>
                  </a:cubicBezTo>
                  <a:cubicBezTo>
                    <a:pt x="206" y="859"/>
                    <a:pt x="207" y="860"/>
                    <a:pt x="208" y="860"/>
                  </a:cubicBezTo>
                  <a:cubicBezTo>
                    <a:pt x="209" y="861"/>
                    <a:pt x="209" y="861"/>
                    <a:pt x="210" y="861"/>
                  </a:cubicBezTo>
                  <a:cubicBezTo>
                    <a:pt x="214" y="861"/>
                    <a:pt x="216" y="864"/>
                    <a:pt x="217" y="865"/>
                  </a:cubicBezTo>
                  <a:cubicBezTo>
                    <a:pt x="217" y="866"/>
                    <a:pt x="218" y="866"/>
                    <a:pt x="218" y="866"/>
                  </a:cubicBezTo>
                  <a:cubicBezTo>
                    <a:pt x="218" y="866"/>
                    <a:pt x="218" y="866"/>
                    <a:pt x="218" y="866"/>
                  </a:cubicBezTo>
                  <a:cubicBezTo>
                    <a:pt x="220" y="865"/>
                    <a:pt x="224" y="863"/>
                    <a:pt x="229" y="868"/>
                  </a:cubicBezTo>
                  <a:cubicBezTo>
                    <a:pt x="229" y="868"/>
                    <a:pt x="229" y="869"/>
                    <a:pt x="230" y="869"/>
                  </a:cubicBezTo>
                  <a:cubicBezTo>
                    <a:pt x="232" y="872"/>
                    <a:pt x="234" y="874"/>
                    <a:pt x="239" y="872"/>
                  </a:cubicBezTo>
                  <a:cubicBezTo>
                    <a:pt x="242" y="870"/>
                    <a:pt x="242" y="870"/>
                    <a:pt x="242" y="870"/>
                  </a:cubicBezTo>
                  <a:cubicBezTo>
                    <a:pt x="242" y="873"/>
                    <a:pt x="242" y="873"/>
                    <a:pt x="242" y="873"/>
                  </a:cubicBezTo>
                  <a:cubicBezTo>
                    <a:pt x="244" y="878"/>
                    <a:pt x="243" y="881"/>
                    <a:pt x="242" y="882"/>
                  </a:cubicBezTo>
                  <a:cubicBezTo>
                    <a:pt x="242" y="883"/>
                    <a:pt x="242" y="883"/>
                    <a:pt x="242" y="883"/>
                  </a:cubicBezTo>
                  <a:cubicBezTo>
                    <a:pt x="241" y="885"/>
                    <a:pt x="238" y="887"/>
                    <a:pt x="236" y="889"/>
                  </a:cubicBezTo>
                  <a:cubicBezTo>
                    <a:pt x="237" y="890"/>
                    <a:pt x="239" y="890"/>
                    <a:pt x="239" y="890"/>
                  </a:cubicBezTo>
                  <a:cubicBezTo>
                    <a:pt x="253" y="893"/>
                    <a:pt x="253" y="893"/>
                    <a:pt x="253" y="893"/>
                  </a:cubicBezTo>
                  <a:cubicBezTo>
                    <a:pt x="239" y="895"/>
                    <a:pt x="239" y="895"/>
                    <a:pt x="239" y="895"/>
                  </a:cubicBezTo>
                  <a:cubicBezTo>
                    <a:pt x="237" y="895"/>
                    <a:pt x="235" y="896"/>
                    <a:pt x="234" y="897"/>
                  </a:cubicBezTo>
                  <a:cubicBezTo>
                    <a:pt x="236" y="898"/>
                    <a:pt x="237" y="900"/>
                    <a:pt x="238" y="900"/>
                  </a:cubicBezTo>
                  <a:cubicBezTo>
                    <a:pt x="238" y="902"/>
                    <a:pt x="239" y="904"/>
                    <a:pt x="239" y="907"/>
                  </a:cubicBezTo>
                  <a:cubicBezTo>
                    <a:pt x="239" y="907"/>
                    <a:pt x="239" y="908"/>
                    <a:pt x="239" y="909"/>
                  </a:cubicBezTo>
                  <a:cubicBezTo>
                    <a:pt x="238" y="910"/>
                    <a:pt x="236" y="913"/>
                    <a:pt x="236" y="915"/>
                  </a:cubicBezTo>
                  <a:cubicBezTo>
                    <a:pt x="235" y="916"/>
                    <a:pt x="235" y="917"/>
                    <a:pt x="234" y="918"/>
                  </a:cubicBezTo>
                  <a:cubicBezTo>
                    <a:pt x="233" y="919"/>
                    <a:pt x="231" y="920"/>
                    <a:pt x="228" y="919"/>
                  </a:cubicBezTo>
                  <a:cubicBezTo>
                    <a:pt x="226" y="919"/>
                    <a:pt x="221" y="918"/>
                    <a:pt x="220" y="919"/>
                  </a:cubicBezTo>
                  <a:cubicBezTo>
                    <a:pt x="218" y="920"/>
                    <a:pt x="215" y="922"/>
                    <a:pt x="212" y="923"/>
                  </a:cubicBezTo>
                  <a:cubicBezTo>
                    <a:pt x="210" y="923"/>
                    <a:pt x="207" y="924"/>
                    <a:pt x="207" y="928"/>
                  </a:cubicBezTo>
                  <a:cubicBezTo>
                    <a:pt x="207" y="928"/>
                    <a:pt x="207" y="929"/>
                    <a:pt x="207" y="930"/>
                  </a:cubicBezTo>
                  <a:cubicBezTo>
                    <a:pt x="207" y="931"/>
                    <a:pt x="207" y="931"/>
                    <a:pt x="207" y="931"/>
                  </a:cubicBezTo>
                  <a:cubicBezTo>
                    <a:pt x="207" y="932"/>
                    <a:pt x="207" y="933"/>
                    <a:pt x="206" y="934"/>
                  </a:cubicBezTo>
                  <a:cubicBezTo>
                    <a:pt x="208" y="933"/>
                    <a:pt x="209" y="933"/>
                    <a:pt x="210" y="932"/>
                  </a:cubicBezTo>
                  <a:cubicBezTo>
                    <a:pt x="210" y="933"/>
                    <a:pt x="209" y="933"/>
                    <a:pt x="209" y="934"/>
                  </a:cubicBezTo>
                  <a:cubicBezTo>
                    <a:pt x="211" y="934"/>
                    <a:pt x="214" y="934"/>
                    <a:pt x="216" y="933"/>
                  </a:cubicBezTo>
                  <a:cubicBezTo>
                    <a:pt x="217" y="932"/>
                    <a:pt x="217" y="931"/>
                    <a:pt x="219" y="931"/>
                  </a:cubicBezTo>
                  <a:cubicBezTo>
                    <a:pt x="220" y="931"/>
                    <a:pt x="222" y="931"/>
                    <a:pt x="224" y="932"/>
                  </a:cubicBezTo>
                  <a:cubicBezTo>
                    <a:pt x="224" y="934"/>
                    <a:pt x="223" y="936"/>
                    <a:pt x="226" y="934"/>
                  </a:cubicBezTo>
                  <a:cubicBezTo>
                    <a:pt x="222" y="936"/>
                    <a:pt x="216" y="940"/>
                    <a:pt x="211" y="940"/>
                  </a:cubicBezTo>
                  <a:cubicBezTo>
                    <a:pt x="210" y="941"/>
                    <a:pt x="209" y="940"/>
                    <a:pt x="208" y="941"/>
                  </a:cubicBezTo>
                  <a:cubicBezTo>
                    <a:pt x="208" y="942"/>
                    <a:pt x="211" y="944"/>
                    <a:pt x="211" y="945"/>
                  </a:cubicBezTo>
                  <a:cubicBezTo>
                    <a:pt x="210" y="946"/>
                    <a:pt x="201" y="946"/>
                    <a:pt x="199" y="946"/>
                  </a:cubicBezTo>
                  <a:cubicBezTo>
                    <a:pt x="198" y="946"/>
                    <a:pt x="196" y="945"/>
                    <a:pt x="195" y="945"/>
                  </a:cubicBezTo>
                  <a:cubicBezTo>
                    <a:pt x="195" y="945"/>
                    <a:pt x="195" y="947"/>
                    <a:pt x="196" y="948"/>
                  </a:cubicBezTo>
                  <a:cubicBezTo>
                    <a:pt x="197" y="950"/>
                    <a:pt x="197" y="950"/>
                    <a:pt x="199" y="951"/>
                  </a:cubicBezTo>
                  <a:cubicBezTo>
                    <a:pt x="202" y="953"/>
                    <a:pt x="211" y="957"/>
                    <a:pt x="210" y="960"/>
                  </a:cubicBezTo>
                  <a:cubicBezTo>
                    <a:pt x="209" y="960"/>
                    <a:pt x="207" y="960"/>
                    <a:pt x="206" y="959"/>
                  </a:cubicBezTo>
                  <a:cubicBezTo>
                    <a:pt x="206" y="959"/>
                    <a:pt x="205" y="958"/>
                    <a:pt x="205" y="958"/>
                  </a:cubicBezTo>
                  <a:cubicBezTo>
                    <a:pt x="202" y="958"/>
                    <a:pt x="201" y="963"/>
                    <a:pt x="201" y="965"/>
                  </a:cubicBezTo>
                  <a:cubicBezTo>
                    <a:pt x="201" y="964"/>
                    <a:pt x="201" y="961"/>
                    <a:pt x="200" y="960"/>
                  </a:cubicBezTo>
                  <a:cubicBezTo>
                    <a:pt x="201" y="960"/>
                    <a:pt x="201" y="960"/>
                    <a:pt x="201" y="960"/>
                  </a:cubicBezTo>
                  <a:cubicBezTo>
                    <a:pt x="200" y="959"/>
                    <a:pt x="199" y="960"/>
                    <a:pt x="199" y="961"/>
                  </a:cubicBezTo>
                  <a:cubicBezTo>
                    <a:pt x="198" y="961"/>
                    <a:pt x="193" y="972"/>
                    <a:pt x="192" y="969"/>
                  </a:cubicBezTo>
                  <a:cubicBezTo>
                    <a:pt x="191" y="970"/>
                    <a:pt x="198" y="977"/>
                    <a:pt x="192" y="977"/>
                  </a:cubicBezTo>
                  <a:cubicBezTo>
                    <a:pt x="188" y="977"/>
                    <a:pt x="185" y="976"/>
                    <a:pt x="181" y="975"/>
                  </a:cubicBezTo>
                  <a:cubicBezTo>
                    <a:pt x="178" y="974"/>
                    <a:pt x="177" y="975"/>
                    <a:pt x="174" y="977"/>
                  </a:cubicBezTo>
                  <a:cubicBezTo>
                    <a:pt x="177" y="974"/>
                    <a:pt x="177" y="978"/>
                    <a:pt x="180" y="977"/>
                  </a:cubicBezTo>
                  <a:cubicBezTo>
                    <a:pt x="178" y="980"/>
                    <a:pt x="175" y="980"/>
                    <a:pt x="173" y="980"/>
                  </a:cubicBezTo>
                  <a:cubicBezTo>
                    <a:pt x="175" y="982"/>
                    <a:pt x="178" y="983"/>
                    <a:pt x="181" y="984"/>
                  </a:cubicBezTo>
                  <a:cubicBezTo>
                    <a:pt x="184" y="985"/>
                    <a:pt x="187" y="990"/>
                    <a:pt x="189" y="992"/>
                  </a:cubicBezTo>
                  <a:cubicBezTo>
                    <a:pt x="190" y="993"/>
                    <a:pt x="194" y="992"/>
                    <a:pt x="195" y="992"/>
                  </a:cubicBezTo>
                  <a:cubicBezTo>
                    <a:pt x="197" y="992"/>
                    <a:pt x="197" y="992"/>
                    <a:pt x="199" y="994"/>
                  </a:cubicBezTo>
                  <a:cubicBezTo>
                    <a:pt x="200" y="995"/>
                    <a:pt x="202" y="998"/>
                    <a:pt x="203" y="998"/>
                  </a:cubicBezTo>
                  <a:cubicBezTo>
                    <a:pt x="205" y="1000"/>
                    <a:pt x="208" y="1000"/>
                    <a:pt x="210" y="1000"/>
                  </a:cubicBezTo>
                  <a:cubicBezTo>
                    <a:pt x="214" y="1001"/>
                    <a:pt x="217" y="1005"/>
                    <a:pt x="220" y="1007"/>
                  </a:cubicBezTo>
                  <a:cubicBezTo>
                    <a:pt x="226" y="1011"/>
                    <a:pt x="231" y="1016"/>
                    <a:pt x="236" y="1021"/>
                  </a:cubicBezTo>
                  <a:cubicBezTo>
                    <a:pt x="237" y="1018"/>
                    <a:pt x="238" y="1016"/>
                    <a:pt x="239" y="1016"/>
                  </a:cubicBezTo>
                  <a:cubicBezTo>
                    <a:pt x="240" y="1015"/>
                    <a:pt x="241" y="1015"/>
                    <a:pt x="242" y="1016"/>
                  </a:cubicBezTo>
                  <a:cubicBezTo>
                    <a:pt x="242" y="1016"/>
                    <a:pt x="242" y="1016"/>
                    <a:pt x="242" y="1016"/>
                  </a:cubicBezTo>
                  <a:cubicBezTo>
                    <a:pt x="245" y="1017"/>
                    <a:pt x="247" y="1017"/>
                    <a:pt x="248" y="1017"/>
                  </a:cubicBezTo>
                  <a:cubicBezTo>
                    <a:pt x="251" y="1016"/>
                    <a:pt x="255" y="1018"/>
                    <a:pt x="257" y="1019"/>
                  </a:cubicBezTo>
                  <a:cubicBezTo>
                    <a:pt x="257" y="1019"/>
                    <a:pt x="258" y="1020"/>
                    <a:pt x="259" y="1020"/>
                  </a:cubicBezTo>
                  <a:cubicBezTo>
                    <a:pt x="264" y="1022"/>
                    <a:pt x="276" y="1025"/>
                    <a:pt x="280" y="1024"/>
                  </a:cubicBezTo>
                  <a:cubicBezTo>
                    <a:pt x="286" y="1022"/>
                    <a:pt x="294" y="1025"/>
                    <a:pt x="296" y="1028"/>
                  </a:cubicBezTo>
                  <a:cubicBezTo>
                    <a:pt x="297" y="1029"/>
                    <a:pt x="306" y="1033"/>
                    <a:pt x="308" y="1033"/>
                  </a:cubicBezTo>
                  <a:cubicBezTo>
                    <a:pt x="309" y="1033"/>
                    <a:pt x="310" y="1034"/>
                    <a:pt x="311" y="1035"/>
                  </a:cubicBezTo>
                  <a:cubicBezTo>
                    <a:pt x="312" y="1036"/>
                    <a:pt x="312" y="1037"/>
                    <a:pt x="312" y="1038"/>
                  </a:cubicBezTo>
                  <a:cubicBezTo>
                    <a:pt x="312" y="1038"/>
                    <a:pt x="312" y="1038"/>
                    <a:pt x="313" y="1038"/>
                  </a:cubicBezTo>
                  <a:cubicBezTo>
                    <a:pt x="314" y="1039"/>
                    <a:pt x="315" y="1039"/>
                    <a:pt x="318" y="1037"/>
                  </a:cubicBezTo>
                  <a:cubicBezTo>
                    <a:pt x="321" y="1035"/>
                    <a:pt x="324" y="1034"/>
                    <a:pt x="326" y="1035"/>
                  </a:cubicBezTo>
                  <a:cubicBezTo>
                    <a:pt x="327" y="1035"/>
                    <a:pt x="328" y="1036"/>
                    <a:pt x="329" y="1036"/>
                  </a:cubicBezTo>
                  <a:cubicBezTo>
                    <a:pt x="329" y="1036"/>
                    <a:pt x="330" y="1035"/>
                    <a:pt x="330" y="1035"/>
                  </a:cubicBezTo>
                  <a:cubicBezTo>
                    <a:pt x="332" y="1035"/>
                    <a:pt x="333" y="1035"/>
                    <a:pt x="335" y="1036"/>
                  </a:cubicBezTo>
                  <a:cubicBezTo>
                    <a:pt x="338" y="1038"/>
                    <a:pt x="346" y="1041"/>
                    <a:pt x="347" y="1041"/>
                  </a:cubicBezTo>
                  <a:cubicBezTo>
                    <a:pt x="352" y="1041"/>
                    <a:pt x="352" y="1041"/>
                    <a:pt x="352" y="1041"/>
                  </a:cubicBezTo>
                  <a:cubicBezTo>
                    <a:pt x="349" y="1045"/>
                    <a:pt x="349" y="1045"/>
                    <a:pt x="349" y="1045"/>
                  </a:cubicBezTo>
                  <a:cubicBezTo>
                    <a:pt x="348" y="1046"/>
                    <a:pt x="348" y="1048"/>
                    <a:pt x="348" y="1048"/>
                  </a:cubicBezTo>
                  <a:cubicBezTo>
                    <a:pt x="350" y="1050"/>
                    <a:pt x="355" y="1052"/>
                    <a:pt x="356" y="1052"/>
                  </a:cubicBezTo>
                  <a:cubicBezTo>
                    <a:pt x="357" y="1052"/>
                    <a:pt x="357" y="1052"/>
                    <a:pt x="357" y="1052"/>
                  </a:cubicBezTo>
                  <a:cubicBezTo>
                    <a:pt x="358" y="1052"/>
                    <a:pt x="358" y="1052"/>
                    <a:pt x="358" y="1052"/>
                  </a:cubicBezTo>
                  <a:cubicBezTo>
                    <a:pt x="358" y="1053"/>
                    <a:pt x="359" y="1053"/>
                    <a:pt x="360" y="1054"/>
                  </a:cubicBezTo>
                  <a:cubicBezTo>
                    <a:pt x="360" y="1054"/>
                    <a:pt x="360" y="1054"/>
                    <a:pt x="360" y="1054"/>
                  </a:cubicBezTo>
                  <a:cubicBezTo>
                    <a:pt x="361" y="1054"/>
                    <a:pt x="361" y="1054"/>
                    <a:pt x="361" y="1054"/>
                  </a:cubicBezTo>
                  <a:cubicBezTo>
                    <a:pt x="362" y="1054"/>
                    <a:pt x="363" y="1054"/>
                    <a:pt x="364" y="1054"/>
                  </a:cubicBezTo>
                  <a:cubicBezTo>
                    <a:pt x="364" y="1054"/>
                    <a:pt x="364" y="1055"/>
                    <a:pt x="365" y="1055"/>
                  </a:cubicBezTo>
                  <a:cubicBezTo>
                    <a:pt x="368" y="1055"/>
                    <a:pt x="371" y="1057"/>
                    <a:pt x="372" y="1060"/>
                  </a:cubicBezTo>
                  <a:cubicBezTo>
                    <a:pt x="372" y="1062"/>
                    <a:pt x="374" y="1063"/>
                    <a:pt x="374" y="1063"/>
                  </a:cubicBezTo>
                  <a:cubicBezTo>
                    <a:pt x="376" y="1063"/>
                    <a:pt x="378" y="1067"/>
                    <a:pt x="378" y="1067"/>
                  </a:cubicBezTo>
                  <a:cubicBezTo>
                    <a:pt x="378" y="1067"/>
                    <a:pt x="379" y="1069"/>
                    <a:pt x="382" y="1069"/>
                  </a:cubicBezTo>
                  <a:cubicBezTo>
                    <a:pt x="387" y="1070"/>
                    <a:pt x="387" y="1070"/>
                    <a:pt x="388" y="1068"/>
                  </a:cubicBezTo>
                  <a:cubicBezTo>
                    <a:pt x="389" y="1065"/>
                    <a:pt x="391" y="1064"/>
                    <a:pt x="392" y="1064"/>
                  </a:cubicBezTo>
                  <a:cubicBezTo>
                    <a:pt x="392" y="1063"/>
                    <a:pt x="392" y="1063"/>
                    <a:pt x="393" y="1063"/>
                  </a:cubicBezTo>
                  <a:cubicBezTo>
                    <a:pt x="393" y="1063"/>
                    <a:pt x="393" y="1062"/>
                    <a:pt x="394" y="1062"/>
                  </a:cubicBezTo>
                  <a:cubicBezTo>
                    <a:pt x="396" y="1061"/>
                    <a:pt x="399" y="1058"/>
                    <a:pt x="399" y="1057"/>
                  </a:cubicBezTo>
                  <a:cubicBezTo>
                    <a:pt x="399" y="1056"/>
                    <a:pt x="399" y="1056"/>
                    <a:pt x="399" y="1056"/>
                  </a:cubicBezTo>
                  <a:cubicBezTo>
                    <a:pt x="399" y="1056"/>
                    <a:pt x="399" y="1056"/>
                    <a:pt x="399" y="1056"/>
                  </a:cubicBezTo>
                  <a:cubicBezTo>
                    <a:pt x="395" y="1053"/>
                    <a:pt x="393" y="1048"/>
                    <a:pt x="390" y="1044"/>
                  </a:cubicBezTo>
                  <a:cubicBezTo>
                    <a:pt x="388" y="1042"/>
                    <a:pt x="386" y="1040"/>
                    <a:pt x="385" y="1037"/>
                  </a:cubicBezTo>
                  <a:cubicBezTo>
                    <a:pt x="385" y="1036"/>
                    <a:pt x="384" y="1035"/>
                    <a:pt x="384" y="1034"/>
                  </a:cubicBezTo>
                  <a:cubicBezTo>
                    <a:pt x="383" y="1033"/>
                    <a:pt x="381" y="1033"/>
                    <a:pt x="381" y="1032"/>
                  </a:cubicBezTo>
                  <a:cubicBezTo>
                    <a:pt x="382" y="1026"/>
                    <a:pt x="383" y="1020"/>
                    <a:pt x="383" y="1015"/>
                  </a:cubicBezTo>
                  <a:cubicBezTo>
                    <a:pt x="383" y="1014"/>
                    <a:pt x="383" y="1012"/>
                    <a:pt x="384" y="1011"/>
                  </a:cubicBezTo>
                  <a:cubicBezTo>
                    <a:pt x="380" y="1010"/>
                    <a:pt x="380" y="1016"/>
                    <a:pt x="380" y="1019"/>
                  </a:cubicBezTo>
                  <a:cubicBezTo>
                    <a:pt x="379" y="1018"/>
                    <a:pt x="378" y="1018"/>
                    <a:pt x="378" y="1017"/>
                  </a:cubicBezTo>
                  <a:cubicBezTo>
                    <a:pt x="379" y="1017"/>
                    <a:pt x="380" y="1014"/>
                    <a:pt x="380" y="1014"/>
                  </a:cubicBezTo>
                  <a:cubicBezTo>
                    <a:pt x="380" y="1012"/>
                    <a:pt x="380" y="1011"/>
                    <a:pt x="379" y="1009"/>
                  </a:cubicBezTo>
                  <a:cubicBezTo>
                    <a:pt x="377" y="1005"/>
                    <a:pt x="376" y="1003"/>
                    <a:pt x="372" y="1001"/>
                  </a:cubicBezTo>
                  <a:cubicBezTo>
                    <a:pt x="370" y="1000"/>
                    <a:pt x="368" y="1000"/>
                    <a:pt x="366" y="999"/>
                  </a:cubicBezTo>
                  <a:cubicBezTo>
                    <a:pt x="363" y="996"/>
                    <a:pt x="368" y="992"/>
                    <a:pt x="370" y="990"/>
                  </a:cubicBezTo>
                  <a:cubicBezTo>
                    <a:pt x="374" y="986"/>
                    <a:pt x="375" y="984"/>
                    <a:pt x="377" y="980"/>
                  </a:cubicBezTo>
                  <a:cubicBezTo>
                    <a:pt x="378" y="977"/>
                    <a:pt x="379" y="974"/>
                    <a:pt x="380" y="972"/>
                  </a:cubicBezTo>
                  <a:cubicBezTo>
                    <a:pt x="380" y="971"/>
                    <a:pt x="380" y="971"/>
                    <a:pt x="380" y="971"/>
                  </a:cubicBezTo>
                  <a:cubicBezTo>
                    <a:pt x="380" y="971"/>
                    <a:pt x="380" y="971"/>
                    <a:pt x="380" y="971"/>
                  </a:cubicBezTo>
                  <a:cubicBezTo>
                    <a:pt x="380" y="971"/>
                    <a:pt x="380" y="971"/>
                    <a:pt x="380" y="971"/>
                  </a:cubicBezTo>
                  <a:cubicBezTo>
                    <a:pt x="381" y="969"/>
                    <a:pt x="381" y="969"/>
                    <a:pt x="381" y="969"/>
                  </a:cubicBezTo>
                  <a:cubicBezTo>
                    <a:pt x="382" y="970"/>
                    <a:pt x="383" y="971"/>
                    <a:pt x="383" y="971"/>
                  </a:cubicBezTo>
                  <a:cubicBezTo>
                    <a:pt x="384" y="970"/>
                    <a:pt x="383" y="968"/>
                    <a:pt x="383" y="967"/>
                  </a:cubicBezTo>
                  <a:cubicBezTo>
                    <a:pt x="384" y="968"/>
                    <a:pt x="385" y="969"/>
                    <a:pt x="387" y="970"/>
                  </a:cubicBezTo>
                  <a:cubicBezTo>
                    <a:pt x="388" y="967"/>
                    <a:pt x="389" y="968"/>
                    <a:pt x="392" y="968"/>
                  </a:cubicBezTo>
                  <a:cubicBezTo>
                    <a:pt x="394" y="968"/>
                    <a:pt x="394" y="968"/>
                    <a:pt x="396" y="967"/>
                  </a:cubicBezTo>
                  <a:cubicBezTo>
                    <a:pt x="397" y="965"/>
                    <a:pt x="399" y="963"/>
                    <a:pt x="401" y="962"/>
                  </a:cubicBezTo>
                  <a:cubicBezTo>
                    <a:pt x="401" y="962"/>
                    <a:pt x="404" y="964"/>
                    <a:pt x="405" y="965"/>
                  </a:cubicBezTo>
                  <a:cubicBezTo>
                    <a:pt x="404" y="964"/>
                    <a:pt x="404" y="961"/>
                    <a:pt x="404" y="959"/>
                  </a:cubicBezTo>
                  <a:cubicBezTo>
                    <a:pt x="404" y="956"/>
                    <a:pt x="409" y="959"/>
                    <a:pt x="411" y="957"/>
                  </a:cubicBezTo>
                  <a:cubicBezTo>
                    <a:pt x="412" y="957"/>
                    <a:pt x="412" y="956"/>
                    <a:pt x="412" y="954"/>
                  </a:cubicBezTo>
                  <a:cubicBezTo>
                    <a:pt x="411" y="954"/>
                    <a:pt x="411" y="954"/>
                    <a:pt x="410" y="954"/>
                  </a:cubicBezTo>
                  <a:cubicBezTo>
                    <a:pt x="409" y="953"/>
                    <a:pt x="408" y="953"/>
                    <a:pt x="407" y="952"/>
                  </a:cubicBezTo>
                  <a:cubicBezTo>
                    <a:pt x="405" y="955"/>
                    <a:pt x="405" y="955"/>
                    <a:pt x="405" y="955"/>
                  </a:cubicBezTo>
                  <a:cubicBezTo>
                    <a:pt x="406" y="952"/>
                    <a:pt x="406" y="952"/>
                    <a:pt x="406" y="952"/>
                  </a:cubicBezTo>
                  <a:cubicBezTo>
                    <a:pt x="405" y="951"/>
                    <a:pt x="405" y="951"/>
                    <a:pt x="405" y="951"/>
                  </a:cubicBezTo>
                  <a:cubicBezTo>
                    <a:pt x="404" y="951"/>
                    <a:pt x="403" y="950"/>
                    <a:pt x="403" y="950"/>
                  </a:cubicBezTo>
                  <a:cubicBezTo>
                    <a:pt x="402" y="950"/>
                    <a:pt x="402" y="950"/>
                    <a:pt x="402" y="950"/>
                  </a:cubicBezTo>
                  <a:cubicBezTo>
                    <a:pt x="402" y="950"/>
                    <a:pt x="402" y="950"/>
                    <a:pt x="402" y="950"/>
                  </a:cubicBezTo>
                  <a:cubicBezTo>
                    <a:pt x="402" y="950"/>
                    <a:pt x="402" y="950"/>
                    <a:pt x="402" y="950"/>
                  </a:cubicBezTo>
                  <a:cubicBezTo>
                    <a:pt x="401" y="950"/>
                    <a:pt x="401" y="950"/>
                    <a:pt x="401" y="950"/>
                  </a:cubicBezTo>
                  <a:cubicBezTo>
                    <a:pt x="400" y="950"/>
                    <a:pt x="400" y="950"/>
                    <a:pt x="400" y="950"/>
                  </a:cubicBezTo>
                  <a:cubicBezTo>
                    <a:pt x="399" y="949"/>
                    <a:pt x="399" y="948"/>
                    <a:pt x="398" y="947"/>
                  </a:cubicBezTo>
                  <a:cubicBezTo>
                    <a:pt x="398" y="947"/>
                    <a:pt x="398" y="947"/>
                    <a:pt x="398" y="947"/>
                  </a:cubicBezTo>
                  <a:cubicBezTo>
                    <a:pt x="396" y="946"/>
                    <a:pt x="396" y="946"/>
                    <a:pt x="396" y="946"/>
                  </a:cubicBezTo>
                  <a:cubicBezTo>
                    <a:pt x="397" y="944"/>
                    <a:pt x="397" y="944"/>
                    <a:pt x="397" y="944"/>
                  </a:cubicBezTo>
                  <a:cubicBezTo>
                    <a:pt x="398" y="943"/>
                    <a:pt x="398" y="943"/>
                    <a:pt x="398" y="942"/>
                  </a:cubicBezTo>
                  <a:cubicBezTo>
                    <a:pt x="399" y="942"/>
                    <a:pt x="399" y="941"/>
                    <a:pt x="400" y="941"/>
                  </a:cubicBezTo>
                  <a:cubicBezTo>
                    <a:pt x="402" y="939"/>
                    <a:pt x="404" y="941"/>
                    <a:pt x="405" y="941"/>
                  </a:cubicBezTo>
                  <a:cubicBezTo>
                    <a:pt x="405" y="941"/>
                    <a:pt x="406" y="942"/>
                    <a:pt x="406" y="942"/>
                  </a:cubicBezTo>
                  <a:cubicBezTo>
                    <a:pt x="406" y="942"/>
                    <a:pt x="406" y="942"/>
                    <a:pt x="407" y="942"/>
                  </a:cubicBezTo>
                  <a:cubicBezTo>
                    <a:pt x="407" y="942"/>
                    <a:pt x="407" y="942"/>
                    <a:pt x="407" y="942"/>
                  </a:cubicBezTo>
                  <a:cubicBezTo>
                    <a:pt x="407" y="942"/>
                    <a:pt x="407" y="942"/>
                    <a:pt x="407" y="942"/>
                  </a:cubicBezTo>
                  <a:cubicBezTo>
                    <a:pt x="407" y="942"/>
                    <a:pt x="407" y="942"/>
                    <a:pt x="407" y="942"/>
                  </a:cubicBezTo>
                  <a:cubicBezTo>
                    <a:pt x="407" y="941"/>
                    <a:pt x="406" y="941"/>
                    <a:pt x="406" y="941"/>
                  </a:cubicBezTo>
                  <a:cubicBezTo>
                    <a:pt x="406" y="941"/>
                    <a:pt x="406" y="941"/>
                    <a:pt x="406" y="941"/>
                  </a:cubicBezTo>
                  <a:cubicBezTo>
                    <a:pt x="406" y="941"/>
                    <a:pt x="406" y="941"/>
                    <a:pt x="406" y="940"/>
                  </a:cubicBezTo>
                  <a:cubicBezTo>
                    <a:pt x="406" y="940"/>
                    <a:pt x="406" y="940"/>
                    <a:pt x="405" y="940"/>
                  </a:cubicBezTo>
                  <a:cubicBezTo>
                    <a:pt x="405" y="939"/>
                    <a:pt x="405" y="939"/>
                    <a:pt x="405" y="939"/>
                  </a:cubicBezTo>
                  <a:cubicBezTo>
                    <a:pt x="405" y="939"/>
                    <a:pt x="404" y="939"/>
                    <a:pt x="404" y="938"/>
                  </a:cubicBezTo>
                  <a:cubicBezTo>
                    <a:pt x="403" y="937"/>
                    <a:pt x="403" y="937"/>
                    <a:pt x="402" y="936"/>
                  </a:cubicBezTo>
                  <a:cubicBezTo>
                    <a:pt x="401" y="935"/>
                    <a:pt x="400" y="933"/>
                    <a:pt x="399" y="931"/>
                  </a:cubicBezTo>
                  <a:cubicBezTo>
                    <a:pt x="396" y="927"/>
                    <a:pt x="396" y="927"/>
                    <a:pt x="396" y="927"/>
                  </a:cubicBezTo>
                  <a:cubicBezTo>
                    <a:pt x="395" y="926"/>
                    <a:pt x="395" y="925"/>
                    <a:pt x="394" y="924"/>
                  </a:cubicBezTo>
                  <a:cubicBezTo>
                    <a:pt x="393" y="923"/>
                    <a:pt x="392" y="921"/>
                    <a:pt x="392" y="921"/>
                  </a:cubicBezTo>
                  <a:cubicBezTo>
                    <a:pt x="392" y="921"/>
                    <a:pt x="392" y="921"/>
                    <a:pt x="392" y="921"/>
                  </a:cubicBezTo>
                  <a:cubicBezTo>
                    <a:pt x="391" y="921"/>
                    <a:pt x="391" y="921"/>
                    <a:pt x="391" y="921"/>
                  </a:cubicBezTo>
                  <a:cubicBezTo>
                    <a:pt x="391" y="920"/>
                    <a:pt x="390" y="921"/>
                    <a:pt x="389" y="921"/>
                  </a:cubicBezTo>
                  <a:cubicBezTo>
                    <a:pt x="387" y="921"/>
                    <a:pt x="386" y="921"/>
                    <a:pt x="385" y="922"/>
                  </a:cubicBezTo>
                  <a:cubicBezTo>
                    <a:pt x="384" y="922"/>
                    <a:pt x="383" y="922"/>
                    <a:pt x="383" y="922"/>
                  </a:cubicBezTo>
                  <a:cubicBezTo>
                    <a:pt x="379" y="923"/>
                    <a:pt x="377" y="922"/>
                    <a:pt x="375" y="921"/>
                  </a:cubicBezTo>
                  <a:cubicBezTo>
                    <a:pt x="372" y="919"/>
                    <a:pt x="372" y="917"/>
                    <a:pt x="372" y="914"/>
                  </a:cubicBezTo>
                  <a:cubicBezTo>
                    <a:pt x="371" y="913"/>
                    <a:pt x="372" y="912"/>
                    <a:pt x="372" y="911"/>
                  </a:cubicBezTo>
                  <a:cubicBezTo>
                    <a:pt x="372" y="910"/>
                    <a:pt x="372" y="909"/>
                    <a:pt x="371" y="909"/>
                  </a:cubicBezTo>
                  <a:cubicBezTo>
                    <a:pt x="371" y="908"/>
                    <a:pt x="371" y="908"/>
                    <a:pt x="371" y="908"/>
                  </a:cubicBezTo>
                  <a:cubicBezTo>
                    <a:pt x="371" y="908"/>
                    <a:pt x="370" y="908"/>
                    <a:pt x="370" y="908"/>
                  </a:cubicBezTo>
                  <a:cubicBezTo>
                    <a:pt x="369" y="907"/>
                    <a:pt x="369" y="907"/>
                    <a:pt x="369" y="907"/>
                  </a:cubicBezTo>
                  <a:cubicBezTo>
                    <a:pt x="368" y="907"/>
                    <a:pt x="366" y="907"/>
                    <a:pt x="365" y="906"/>
                  </a:cubicBezTo>
                  <a:cubicBezTo>
                    <a:pt x="363" y="906"/>
                    <a:pt x="363" y="906"/>
                    <a:pt x="363" y="906"/>
                  </a:cubicBezTo>
                  <a:cubicBezTo>
                    <a:pt x="363" y="906"/>
                    <a:pt x="363" y="906"/>
                    <a:pt x="363" y="906"/>
                  </a:cubicBezTo>
                  <a:cubicBezTo>
                    <a:pt x="363" y="905"/>
                    <a:pt x="363" y="905"/>
                    <a:pt x="363" y="905"/>
                  </a:cubicBezTo>
                  <a:cubicBezTo>
                    <a:pt x="361" y="905"/>
                    <a:pt x="360" y="904"/>
                    <a:pt x="360" y="902"/>
                  </a:cubicBezTo>
                  <a:cubicBezTo>
                    <a:pt x="360" y="902"/>
                    <a:pt x="360" y="902"/>
                    <a:pt x="360" y="902"/>
                  </a:cubicBezTo>
                  <a:cubicBezTo>
                    <a:pt x="360" y="901"/>
                    <a:pt x="360" y="901"/>
                    <a:pt x="360" y="901"/>
                  </a:cubicBezTo>
                  <a:cubicBezTo>
                    <a:pt x="360" y="899"/>
                    <a:pt x="361" y="897"/>
                    <a:pt x="362" y="895"/>
                  </a:cubicBezTo>
                  <a:cubicBezTo>
                    <a:pt x="362" y="895"/>
                    <a:pt x="362" y="895"/>
                    <a:pt x="362" y="895"/>
                  </a:cubicBezTo>
                  <a:cubicBezTo>
                    <a:pt x="364" y="892"/>
                    <a:pt x="366" y="889"/>
                    <a:pt x="368" y="887"/>
                  </a:cubicBezTo>
                  <a:cubicBezTo>
                    <a:pt x="368" y="887"/>
                    <a:pt x="368" y="886"/>
                    <a:pt x="368" y="886"/>
                  </a:cubicBezTo>
                  <a:cubicBezTo>
                    <a:pt x="369" y="886"/>
                    <a:pt x="369" y="886"/>
                    <a:pt x="369" y="886"/>
                  </a:cubicBezTo>
                  <a:cubicBezTo>
                    <a:pt x="370" y="885"/>
                    <a:pt x="370" y="885"/>
                    <a:pt x="369" y="883"/>
                  </a:cubicBezTo>
                  <a:cubicBezTo>
                    <a:pt x="368" y="883"/>
                    <a:pt x="368" y="883"/>
                    <a:pt x="368" y="883"/>
                  </a:cubicBezTo>
                  <a:cubicBezTo>
                    <a:pt x="367" y="882"/>
                    <a:pt x="367" y="882"/>
                    <a:pt x="367" y="882"/>
                  </a:cubicBezTo>
                  <a:cubicBezTo>
                    <a:pt x="366" y="882"/>
                    <a:pt x="366" y="881"/>
                    <a:pt x="366" y="881"/>
                  </a:cubicBezTo>
                  <a:cubicBezTo>
                    <a:pt x="365" y="880"/>
                    <a:pt x="365" y="879"/>
                    <a:pt x="365" y="878"/>
                  </a:cubicBezTo>
                  <a:cubicBezTo>
                    <a:pt x="365" y="878"/>
                    <a:pt x="365" y="878"/>
                    <a:pt x="365" y="877"/>
                  </a:cubicBezTo>
                  <a:cubicBezTo>
                    <a:pt x="366" y="876"/>
                    <a:pt x="366" y="876"/>
                    <a:pt x="366" y="875"/>
                  </a:cubicBezTo>
                  <a:cubicBezTo>
                    <a:pt x="367" y="871"/>
                    <a:pt x="367" y="871"/>
                    <a:pt x="367" y="871"/>
                  </a:cubicBezTo>
                  <a:cubicBezTo>
                    <a:pt x="367" y="871"/>
                    <a:pt x="367" y="870"/>
                    <a:pt x="367" y="870"/>
                  </a:cubicBezTo>
                  <a:cubicBezTo>
                    <a:pt x="367" y="869"/>
                    <a:pt x="367" y="869"/>
                    <a:pt x="367" y="869"/>
                  </a:cubicBezTo>
                  <a:cubicBezTo>
                    <a:pt x="367" y="868"/>
                    <a:pt x="367" y="868"/>
                    <a:pt x="367" y="867"/>
                  </a:cubicBezTo>
                  <a:cubicBezTo>
                    <a:pt x="369" y="865"/>
                    <a:pt x="370" y="864"/>
                    <a:pt x="372" y="864"/>
                  </a:cubicBezTo>
                  <a:cubicBezTo>
                    <a:pt x="373" y="863"/>
                    <a:pt x="373" y="863"/>
                    <a:pt x="374" y="863"/>
                  </a:cubicBezTo>
                  <a:cubicBezTo>
                    <a:pt x="374" y="863"/>
                    <a:pt x="374" y="863"/>
                    <a:pt x="374" y="863"/>
                  </a:cubicBezTo>
                  <a:cubicBezTo>
                    <a:pt x="374" y="862"/>
                    <a:pt x="374" y="862"/>
                    <a:pt x="374" y="862"/>
                  </a:cubicBezTo>
                  <a:cubicBezTo>
                    <a:pt x="375" y="861"/>
                    <a:pt x="375" y="861"/>
                    <a:pt x="375" y="861"/>
                  </a:cubicBezTo>
                  <a:cubicBezTo>
                    <a:pt x="375" y="860"/>
                    <a:pt x="376" y="859"/>
                    <a:pt x="376" y="857"/>
                  </a:cubicBezTo>
                  <a:cubicBezTo>
                    <a:pt x="376" y="857"/>
                    <a:pt x="376" y="857"/>
                    <a:pt x="376" y="857"/>
                  </a:cubicBezTo>
                  <a:cubicBezTo>
                    <a:pt x="376" y="856"/>
                    <a:pt x="377" y="856"/>
                    <a:pt x="377" y="855"/>
                  </a:cubicBezTo>
                  <a:cubicBezTo>
                    <a:pt x="377" y="855"/>
                    <a:pt x="377" y="855"/>
                    <a:pt x="377" y="854"/>
                  </a:cubicBezTo>
                  <a:cubicBezTo>
                    <a:pt x="379" y="852"/>
                    <a:pt x="380" y="852"/>
                    <a:pt x="383" y="852"/>
                  </a:cubicBezTo>
                  <a:cubicBezTo>
                    <a:pt x="383" y="852"/>
                    <a:pt x="384" y="852"/>
                    <a:pt x="384" y="852"/>
                  </a:cubicBezTo>
                  <a:cubicBezTo>
                    <a:pt x="385" y="852"/>
                    <a:pt x="385" y="852"/>
                    <a:pt x="385" y="852"/>
                  </a:cubicBezTo>
                  <a:cubicBezTo>
                    <a:pt x="388" y="853"/>
                    <a:pt x="390" y="856"/>
                    <a:pt x="392" y="858"/>
                  </a:cubicBezTo>
                  <a:cubicBezTo>
                    <a:pt x="393" y="859"/>
                    <a:pt x="393" y="859"/>
                    <a:pt x="393" y="859"/>
                  </a:cubicBezTo>
                  <a:cubicBezTo>
                    <a:pt x="393" y="859"/>
                    <a:pt x="394" y="860"/>
                    <a:pt x="394" y="861"/>
                  </a:cubicBezTo>
                  <a:cubicBezTo>
                    <a:pt x="395" y="861"/>
                    <a:pt x="395" y="861"/>
                    <a:pt x="395" y="861"/>
                  </a:cubicBezTo>
                  <a:cubicBezTo>
                    <a:pt x="396" y="862"/>
                    <a:pt x="397" y="864"/>
                    <a:pt x="398" y="865"/>
                  </a:cubicBezTo>
                  <a:cubicBezTo>
                    <a:pt x="398" y="865"/>
                    <a:pt x="399" y="865"/>
                    <a:pt x="399" y="865"/>
                  </a:cubicBezTo>
                  <a:cubicBezTo>
                    <a:pt x="399" y="865"/>
                    <a:pt x="399" y="865"/>
                    <a:pt x="399" y="865"/>
                  </a:cubicBezTo>
                  <a:cubicBezTo>
                    <a:pt x="399" y="865"/>
                    <a:pt x="400" y="865"/>
                    <a:pt x="401" y="865"/>
                  </a:cubicBezTo>
                  <a:cubicBezTo>
                    <a:pt x="401" y="864"/>
                    <a:pt x="401" y="864"/>
                    <a:pt x="401" y="864"/>
                  </a:cubicBezTo>
                  <a:cubicBezTo>
                    <a:pt x="402" y="864"/>
                    <a:pt x="404" y="864"/>
                    <a:pt x="404" y="863"/>
                  </a:cubicBezTo>
                  <a:cubicBezTo>
                    <a:pt x="404" y="863"/>
                    <a:pt x="404" y="863"/>
                    <a:pt x="404" y="863"/>
                  </a:cubicBezTo>
                  <a:cubicBezTo>
                    <a:pt x="404" y="863"/>
                    <a:pt x="404" y="863"/>
                    <a:pt x="404" y="863"/>
                  </a:cubicBezTo>
                  <a:cubicBezTo>
                    <a:pt x="404" y="862"/>
                    <a:pt x="404" y="862"/>
                    <a:pt x="404" y="862"/>
                  </a:cubicBezTo>
                  <a:cubicBezTo>
                    <a:pt x="403" y="861"/>
                    <a:pt x="403" y="860"/>
                    <a:pt x="403" y="860"/>
                  </a:cubicBezTo>
                  <a:cubicBezTo>
                    <a:pt x="403" y="860"/>
                    <a:pt x="403" y="860"/>
                    <a:pt x="403" y="860"/>
                  </a:cubicBezTo>
                  <a:cubicBezTo>
                    <a:pt x="403" y="859"/>
                    <a:pt x="403" y="859"/>
                    <a:pt x="403" y="859"/>
                  </a:cubicBezTo>
                  <a:cubicBezTo>
                    <a:pt x="403" y="859"/>
                    <a:pt x="403" y="858"/>
                    <a:pt x="402" y="858"/>
                  </a:cubicBezTo>
                  <a:cubicBezTo>
                    <a:pt x="402" y="857"/>
                    <a:pt x="402" y="856"/>
                    <a:pt x="402" y="855"/>
                  </a:cubicBezTo>
                  <a:cubicBezTo>
                    <a:pt x="402" y="854"/>
                    <a:pt x="401" y="853"/>
                    <a:pt x="401" y="852"/>
                  </a:cubicBezTo>
                  <a:cubicBezTo>
                    <a:pt x="401" y="852"/>
                    <a:pt x="401" y="852"/>
                    <a:pt x="401" y="851"/>
                  </a:cubicBezTo>
                  <a:cubicBezTo>
                    <a:pt x="400" y="850"/>
                    <a:pt x="400" y="849"/>
                    <a:pt x="400" y="847"/>
                  </a:cubicBezTo>
                  <a:cubicBezTo>
                    <a:pt x="399" y="844"/>
                    <a:pt x="399" y="844"/>
                    <a:pt x="399" y="844"/>
                  </a:cubicBezTo>
                  <a:cubicBezTo>
                    <a:pt x="401" y="844"/>
                    <a:pt x="401" y="844"/>
                    <a:pt x="401" y="844"/>
                  </a:cubicBezTo>
                  <a:cubicBezTo>
                    <a:pt x="403" y="845"/>
                    <a:pt x="403" y="845"/>
                    <a:pt x="403" y="845"/>
                  </a:cubicBezTo>
                  <a:cubicBezTo>
                    <a:pt x="404" y="846"/>
                    <a:pt x="405" y="846"/>
                    <a:pt x="407" y="844"/>
                  </a:cubicBezTo>
                  <a:cubicBezTo>
                    <a:pt x="408" y="844"/>
                    <a:pt x="408" y="844"/>
                    <a:pt x="409" y="843"/>
                  </a:cubicBezTo>
                  <a:cubicBezTo>
                    <a:pt x="409" y="843"/>
                    <a:pt x="409" y="843"/>
                    <a:pt x="410" y="843"/>
                  </a:cubicBezTo>
                  <a:cubicBezTo>
                    <a:pt x="410" y="843"/>
                    <a:pt x="410" y="843"/>
                    <a:pt x="410" y="843"/>
                  </a:cubicBezTo>
                  <a:cubicBezTo>
                    <a:pt x="411" y="842"/>
                    <a:pt x="411" y="842"/>
                    <a:pt x="412" y="842"/>
                  </a:cubicBezTo>
                  <a:cubicBezTo>
                    <a:pt x="412" y="842"/>
                    <a:pt x="412" y="842"/>
                    <a:pt x="412" y="842"/>
                  </a:cubicBezTo>
                  <a:cubicBezTo>
                    <a:pt x="413" y="842"/>
                    <a:pt x="414" y="841"/>
                    <a:pt x="415" y="841"/>
                  </a:cubicBezTo>
                  <a:cubicBezTo>
                    <a:pt x="415" y="841"/>
                    <a:pt x="415" y="841"/>
                    <a:pt x="415" y="841"/>
                  </a:cubicBezTo>
                  <a:cubicBezTo>
                    <a:pt x="413" y="838"/>
                    <a:pt x="413" y="838"/>
                    <a:pt x="413" y="838"/>
                  </a:cubicBezTo>
                  <a:cubicBezTo>
                    <a:pt x="429" y="831"/>
                    <a:pt x="429" y="831"/>
                    <a:pt x="429" y="831"/>
                  </a:cubicBezTo>
                  <a:cubicBezTo>
                    <a:pt x="430" y="830"/>
                    <a:pt x="430" y="830"/>
                    <a:pt x="430" y="830"/>
                  </a:cubicBezTo>
                  <a:cubicBezTo>
                    <a:pt x="431" y="830"/>
                    <a:pt x="431" y="830"/>
                    <a:pt x="431" y="830"/>
                  </a:cubicBezTo>
                  <a:cubicBezTo>
                    <a:pt x="432" y="830"/>
                    <a:pt x="433" y="830"/>
                    <a:pt x="433" y="829"/>
                  </a:cubicBezTo>
                  <a:cubicBezTo>
                    <a:pt x="433" y="829"/>
                    <a:pt x="433" y="829"/>
                    <a:pt x="433" y="829"/>
                  </a:cubicBezTo>
                  <a:cubicBezTo>
                    <a:pt x="434" y="828"/>
                    <a:pt x="434" y="828"/>
                    <a:pt x="434" y="828"/>
                  </a:cubicBezTo>
                  <a:cubicBezTo>
                    <a:pt x="434" y="827"/>
                    <a:pt x="434" y="827"/>
                    <a:pt x="434" y="827"/>
                  </a:cubicBezTo>
                  <a:cubicBezTo>
                    <a:pt x="435" y="826"/>
                    <a:pt x="435" y="826"/>
                    <a:pt x="435" y="826"/>
                  </a:cubicBezTo>
                  <a:cubicBezTo>
                    <a:pt x="437" y="823"/>
                    <a:pt x="437" y="822"/>
                    <a:pt x="441" y="822"/>
                  </a:cubicBezTo>
                  <a:cubicBezTo>
                    <a:pt x="442" y="821"/>
                    <a:pt x="442" y="821"/>
                    <a:pt x="442" y="821"/>
                  </a:cubicBezTo>
                  <a:cubicBezTo>
                    <a:pt x="442" y="821"/>
                    <a:pt x="442" y="821"/>
                    <a:pt x="442" y="821"/>
                  </a:cubicBezTo>
                  <a:cubicBezTo>
                    <a:pt x="442" y="821"/>
                    <a:pt x="441" y="821"/>
                    <a:pt x="441" y="820"/>
                  </a:cubicBezTo>
                  <a:cubicBezTo>
                    <a:pt x="440" y="816"/>
                    <a:pt x="440" y="816"/>
                    <a:pt x="440" y="816"/>
                  </a:cubicBezTo>
                  <a:cubicBezTo>
                    <a:pt x="445" y="817"/>
                    <a:pt x="445" y="817"/>
                    <a:pt x="445" y="817"/>
                  </a:cubicBezTo>
                  <a:cubicBezTo>
                    <a:pt x="446" y="817"/>
                    <a:pt x="447" y="818"/>
                    <a:pt x="449" y="818"/>
                  </a:cubicBezTo>
                  <a:cubicBezTo>
                    <a:pt x="449" y="818"/>
                    <a:pt x="450" y="818"/>
                    <a:pt x="450" y="819"/>
                  </a:cubicBezTo>
                  <a:cubicBezTo>
                    <a:pt x="452" y="819"/>
                    <a:pt x="453" y="819"/>
                    <a:pt x="454" y="820"/>
                  </a:cubicBezTo>
                  <a:cubicBezTo>
                    <a:pt x="454" y="820"/>
                    <a:pt x="456" y="821"/>
                    <a:pt x="457" y="823"/>
                  </a:cubicBezTo>
                  <a:cubicBezTo>
                    <a:pt x="458" y="820"/>
                    <a:pt x="458" y="820"/>
                    <a:pt x="458" y="820"/>
                  </a:cubicBezTo>
                  <a:cubicBezTo>
                    <a:pt x="458" y="824"/>
                    <a:pt x="458" y="824"/>
                    <a:pt x="458" y="824"/>
                  </a:cubicBezTo>
                  <a:cubicBezTo>
                    <a:pt x="458" y="824"/>
                    <a:pt x="458" y="824"/>
                    <a:pt x="458" y="824"/>
                  </a:cubicBezTo>
                  <a:cubicBezTo>
                    <a:pt x="458" y="825"/>
                    <a:pt x="459" y="825"/>
                    <a:pt x="459" y="825"/>
                  </a:cubicBezTo>
                  <a:cubicBezTo>
                    <a:pt x="459" y="825"/>
                    <a:pt x="459" y="825"/>
                    <a:pt x="460" y="825"/>
                  </a:cubicBezTo>
                  <a:cubicBezTo>
                    <a:pt x="460" y="825"/>
                    <a:pt x="460" y="825"/>
                    <a:pt x="460" y="825"/>
                  </a:cubicBezTo>
                  <a:cubicBezTo>
                    <a:pt x="460" y="825"/>
                    <a:pt x="460" y="825"/>
                    <a:pt x="460" y="825"/>
                  </a:cubicBezTo>
                  <a:cubicBezTo>
                    <a:pt x="460" y="824"/>
                    <a:pt x="460" y="824"/>
                    <a:pt x="460" y="824"/>
                  </a:cubicBezTo>
                  <a:cubicBezTo>
                    <a:pt x="460" y="823"/>
                    <a:pt x="460" y="823"/>
                    <a:pt x="460" y="823"/>
                  </a:cubicBezTo>
                  <a:cubicBezTo>
                    <a:pt x="460" y="822"/>
                    <a:pt x="461" y="820"/>
                    <a:pt x="464" y="820"/>
                  </a:cubicBezTo>
                  <a:cubicBezTo>
                    <a:pt x="468" y="819"/>
                    <a:pt x="468" y="819"/>
                    <a:pt x="472" y="817"/>
                  </a:cubicBezTo>
                  <a:cubicBezTo>
                    <a:pt x="474" y="816"/>
                    <a:pt x="474" y="816"/>
                    <a:pt x="474" y="816"/>
                  </a:cubicBezTo>
                  <a:cubicBezTo>
                    <a:pt x="475" y="818"/>
                    <a:pt x="475" y="818"/>
                    <a:pt x="475" y="818"/>
                  </a:cubicBezTo>
                  <a:cubicBezTo>
                    <a:pt x="475" y="818"/>
                    <a:pt x="476" y="819"/>
                    <a:pt x="476" y="820"/>
                  </a:cubicBezTo>
                  <a:cubicBezTo>
                    <a:pt x="476" y="821"/>
                    <a:pt x="477" y="822"/>
                    <a:pt x="477" y="823"/>
                  </a:cubicBezTo>
                  <a:cubicBezTo>
                    <a:pt x="477" y="823"/>
                    <a:pt x="477" y="823"/>
                    <a:pt x="477" y="823"/>
                  </a:cubicBezTo>
                  <a:cubicBezTo>
                    <a:pt x="478" y="824"/>
                    <a:pt x="478" y="824"/>
                    <a:pt x="478" y="824"/>
                  </a:cubicBezTo>
                  <a:cubicBezTo>
                    <a:pt x="478" y="825"/>
                    <a:pt x="478" y="825"/>
                    <a:pt x="478" y="825"/>
                  </a:cubicBezTo>
                  <a:cubicBezTo>
                    <a:pt x="478" y="825"/>
                    <a:pt x="478" y="825"/>
                    <a:pt x="478" y="825"/>
                  </a:cubicBezTo>
                  <a:cubicBezTo>
                    <a:pt x="478" y="825"/>
                    <a:pt x="478" y="825"/>
                    <a:pt x="478" y="825"/>
                  </a:cubicBezTo>
                  <a:cubicBezTo>
                    <a:pt x="478" y="825"/>
                    <a:pt x="478" y="825"/>
                    <a:pt x="478" y="825"/>
                  </a:cubicBezTo>
                  <a:cubicBezTo>
                    <a:pt x="479" y="825"/>
                    <a:pt x="479" y="825"/>
                    <a:pt x="479" y="825"/>
                  </a:cubicBezTo>
                  <a:cubicBezTo>
                    <a:pt x="478" y="820"/>
                    <a:pt x="478" y="820"/>
                    <a:pt x="478" y="820"/>
                  </a:cubicBezTo>
                  <a:cubicBezTo>
                    <a:pt x="480" y="824"/>
                    <a:pt x="480" y="824"/>
                    <a:pt x="480" y="824"/>
                  </a:cubicBezTo>
                  <a:cubicBezTo>
                    <a:pt x="480" y="824"/>
                    <a:pt x="480" y="824"/>
                    <a:pt x="480" y="824"/>
                  </a:cubicBezTo>
                  <a:cubicBezTo>
                    <a:pt x="482" y="824"/>
                    <a:pt x="484" y="824"/>
                    <a:pt x="486" y="824"/>
                  </a:cubicBezTo>
                  <a:cubicBezTo>
                    <a:pt x="489" y="823"/>
                    <a:pt x="492" y="824"/>
                    <a:pt x="495" y="825"/>
                  </a:cubicBezTo>
                  <a:cubicBezTo>
                    <a:pt x="500" y="827"/>
                    <a:pt x="505" y="831"/>
                    <a:pt x="509" y="835"/>
                  </a:cubicBezTo>
                  <a:cubicBezTo>
                    <a:pt x="509" y="835"/>
                    <a:pt x="509" y="835"/>
                    <a:pt x="509" y="835"/>
                  </a:cubicBezTo>
                  <a:cubicBezTo>
                    <a:pt x="510" y="836"/>
                    <a:pt x="512" y="837"/>
                    <a:pt x="513" y="838"/>
                  </a:cubicBezTo>
                  <a:cubicBezTo>
                    <a:pt x="513" y="838"/>
                    <a:pt x="513" y="838"/>
                    <a:pt x="513" y="838"/>
                  </a:cubicBezTo>
                  <a:cubicBezTo>
                    <a:pt x="513" y="837"/>
                    <a:pt x="513" y="837"/>
                    <a:pt x="513" y="837"/>
                  </a:cubicBezTo>
                  <a:cubicBezTo>
                    <a:pt x="514" y="836"/>
                    <a:pt x="514" y="836"/>
                    <a:pt x="514" y="836"/>
                  </a:cubicBezTo>
                  <a:cubicBezTo>
                    <a:pt x="515" y="836"/>
                    <a:pt x="516" y="836"/>
                    <a:pt x="516" y="836"/>
                  </a:cubicBezTo>
                  <a:cubicBezTo>
                    <a:pt x="517" y="836"/>
                    <a:pt x="518" y="836"/>
                    <a:pt x="518" y="836"/>
                  </a:cubicBezTo>
                  <a:cubicBezTo>
                    <a:pt x="518" y="836"/>
                    <a:pt x="519" y="836"/>
                    <a:pt x="519" y="836"/>
                  </a:cubicBezTo>
                  <a:cubicBezTo>
                    <a:pt x="519" y="836"/>
                    <a:pt x="519" y="836"/>
                    <a:pt x="519" y="836"/>
                  </a:cubicBezTo>
                  <a:cubicBezTo>
                    <a:pt x="519" y="836"/>
                    <a:pt x="519" y="836"/>
                    <a:pt x="519" y="836"/>
                  </a:cubicBezTo>
                  <a:cubicBezTo>
                    <a:pt x="521" y="837"/>
                    <a:pt x="522" y="838"/>
                    <a:pt x="523" y="838"/>
                  </a:cubicBezTo>
                  <a:cubicBezTo>
                    <a:pt x="525" y="840"/>
                    <a:pt x="525" y="840"/>
                    <a:pt x="525" y="840"/>
                  </a:cubicBezTo>
                  <a:cubicBezTo>
                    <a:pt x="528" y="842"/>
                    <a:pt x="530" y="844"/>
                    <a:pt x="533" y="845"/>
                  </a:cubicBezTo>
                  <a:cubicBezTo>
                    <a:pt x="535" y="847"/>
                    <a:pt x="537" y="847"/>
                    <a:pt x="537" y="848"/>
                  </a:cubicBezTo>
                  <a:cubicBezTo>
                    <a:pt x="537" y="847"/>
                    <a:pt x="537" y="847"/>
                    <a:pt x="538" y="847"/>
                  </a:cubicBezTo>
                  <a:cubicBezTo>
                    <a:pt x="538" y="847"/>
                    <a:pt x="538" y="847"/>
                    <a:pt x="538" y="847"/>
                  </a:cubicBezTo>
                  <a:cubicBezTo>
                    <a:pt x="539" y="846"/>
                    <a:pt x="539" y="846"/>
                    <a:pt x="539" y="846"/>
                  </a:cubicBezTo>
                  <a:cubicBezTo>
                    <a:pt x="540" y="846"/>
                    <a:pt x="540" y="845"/>
                    <a:pt x="541" y="845"/>
                  </a:cubicBezTo>
                  <a:cubicBezTo>
                    <a:pt x="541" y="845"/>
                    <a:pt x="542" y="845"/>
                    <a:pt x="542" y="845"/>
                  </a:cubicBezTo>
                  <a:cubicBezTo>
                    <a:pt x="542" y="844"/>
                    <a:pt x="542" y="844"/>
                    <a:pt x="542" y="844"/>
                  </a:cubicBezTo>
                  <a:cubicBezTo>
                    <a:pt x="542" y="844"/>
                    <a:pt x="542" y="844"/>
                    <a:pt x="543" y="844"/>
                  </a:cubicBezTo>
                  <a:cubicBezTo>
                    <a:pt x="543" y="843"/>
                    <a:pt x="543" y="843"/>
                    <a:pt x="543" y="843"/>
                  </a:cubicBezTo>
                  <a:cubicBezTo>
                    <a:pt x="543" y="842"/>
                    <a:pt x="543" y="842"/>
                    <a:pt x="543" y="842"/>
                  </a:cubicBezTo>
                  <a:cubicBezTo>
                    <a:pt x="544" y="840"/>
                    <a:pt x="546" y="840"/>
                    <a:pt x="547" y="840"/>
                  </a:cubicBezTo>
                  <a:cubicBezTo>
                    <a:pt x="547" y="840"/>
                    <a:pt x="548" y="839"/>
                    <a:pt x="548" y="839"/>
                  </a:cubicBezTo>
                  <a:cubicBezTo>
                    <a:pt x="548" y="839"/>
                    <a:pt x="548" y="839"/>
                    <a:pt x="549" y="838"/>
                  </a:cubicBezTo>
                  <a:cubicBezTo>
                    <a:pt x="549" y="836"/>
                    <a:pt x="551" y="835"/>
                    <a:pt x="553" y="835"/>
                  </a:cubicBezTo>
                  <a:cubicBezTo>
                    <a:pt x="556" y="835"/>
                    <a:pt x="559" y="834"/>
                    <a:pt x="562" y="834"/>
                  </a:cubicBezTo>
                  <a:cubicBezTo>
                    <a:pt x="565" y="834"/>
                    <a:pt x="566" y="834"/>
                    <a:pt x="568" y="836"/>
                  </a:cubicBezTo>
                  <a:cubicBezTo>
                    <a:pt x="568" y="836"/>
                    <a:pt x="568" y="837"/>
                    <a:pt x="569" y="837"/>
                  </a:cubicBezTo>
                  <a:cubicBezTo>
                    <a:pt x="569" y="838"/>
                    <a:pt x="569" y="838"/>
                    <a:pt x="569" y="838"/>
                  </a:cubicBezTo>
                  <a:cubicBezTo>
                    <a:pt x="570" y="838"/>
                    <a:pt x="571" y="840"/>
                    <a:pt x="571" y="840"/>
                  </a:cubicBezTo>
                  <a:cubicBezTo>
                    <a:pt x="571" y="840"/>
                    <a:pt x="572" y="840"/>
                    <a:pt x="572" y="840"/>
                  </a:cubicBezTo>
                  <a:cubicBezTo>
                    <a:pt x="573" y="840"/>
                    <a:pt x="573" y="839"/>
                    <a:pt x="574" y="839"/>
                  </a:cubicBezTo>
                  <a:cubicBezTo>
                    <a:pt x="574" y="839"/>
                    <a:pt x="574" y="839"/>
                    <a:pt x="574" y="839"/>
                  </a:cubicBezTo>
                  <a:cubicBezTo>
                    <a:pt x="574" y="839"/>
                    <a:pt x="574" y="839"/>
                    <a:pt x="574" y="839"/>
                  </a:cubicBezTo>
                  <a:cubicBezTo>
                    <a:pt x="574" y="838"/>
                    <a:pt x="574" y="838"/>
                    <a:pt x="574" y="838"/>
                  </a:cubicBezTo>
                  <a:cubicBezTo>
                    <a:pt x="574" y="835"/>
                    <a:pt x="576" y="833"/>
                    <a:pt x="579" y="833"/>
                  </a:cubicBezTo>
                  <a:cubicBezTo>
                    <a:pt x="580" y="833"/>
                    <a:pt x="580" y="833"/>
                    <a:pt x="580" y="833"/>
                  </a:cubicBezTo>
                  <a:cubicBezTo>
                    <a:pt x="585" y="833"/>
                    <a:pt x="594" y="833"/>
                    <a:pt x="595" y="841"/>
                  </a:cubicBezTo>
                  <a:cubicBezTo>
                    <a:pt x="595" y="841"/>
                    <a:pt x="595" y="841"/>
                    <a:pt x="595" y="841"/>
                  </a:cubicBezTo>
                  <a:cubicBezTo>
                    <a:pt x="595" y="841"/>
                    <a:pt x="595" y="842"/>
                    <a:pt x="595" y="842"/>
                  </a:cubicBezTo>
                  <a:cubicBezTo>
                    <a:pt x="596" y="842"/>
                    <a:pt x="596" y="843"/>
                    <a:pt x="597" y="843"/>
                  </a:cubicBezTo>
                  <a:cubicBezTo>
                    <a:pt x="598" y="844"/>
                    <a:pt x="598" y="844"/>
                    <a:pt x="599" y="844"/>
                  </a:cubicBezTo>
                  <a:cubicBezTo>
                    <a:pt x="599" y="844"/>
                    <a:pt x="599" y="844"/>
                    <a:pt x="599" y="844"/>
                  </a:cubicBezTo>
                  <a:cubicBezTo>
                    <a:pt x="599" y="844"/>
                    <a:pt x="599" y="844"/>
                    <a:pt x="599" y="844"/>
                  </a:cubicBezTo>
                  <a:cubicBezTo>
                    <a:pt x="600" y="844"/>
                    <a:pt x="600" y="844"/>
                    <a:pt x="600" y="844"/>
                  </a:cubicBezTo>
                  <a:cubicBezTo>
                    <a:pt x="600" y="845"/>
                    <a:pt x="601" y="845"/>
                    <a:pt x="601" y="845"/>
                  </a:cubicBezTo>
                  <a:cubicBezTo>
                    <a:pt x="602" y="845"/>
                    <a:pt x="602" y="845"/>
                    <a:pt x="602" y="845"/>
                  </a:cubicBezTo>
                  <a:cubicBezTo>
                    <a:pt x="602" y="845"/>
                    <a:pt x="603" y="845"/>
                    <a:pt x="603" y="845"/>
                  </a:cubicBezTo>
                  <a:cubicBezTo>
                    <a:pt x="606" y="845"/>
                    <a:pt x="608" y="846"/>
                    <a:pt x="610" y="846"/>
                  </a:cubicBezTo>
                  <a:cubicBezTo>
                    <a:pt x="611" y="847"/>
                    <a:pt x="612" y="847"/>
                    <a:pt x="613" y="848"/>
                  </a:cubicBezTo>
                  <a:cubicBezTo>
                    <a:pt x="613" y="848"/>
                    <a:pt x="613" y="848"/>
                    <a:pt x="613" y="848"/>
                  </a:cubicBezTo>
                  <a:cubicBezTo>
                    <a:pt x="613" y="848"/>
                    <a:pt x="613" y="848"/>
                    <a:pt x="613" y="848"/>
                  </a:cubicBezTo>
                  <a:cubicBezTo>
                    <a:pt x="613" y="848"/>
                    <a:pt x="614" y="848"/>
                    <a:pt x="614" y="848"/>
                  </a:cubicBezTo>
                  <a:cubicBezTo>
                    <a:pt x="614" y="847"/>
                    <a:pt x="614" y="847"/>
                    <a:pt x="614" y="847"/>
                  </a:cubicBezTo>
                  <a:cubicBezTo>
                    <a:pt x="615" y="847"/>
                    <a:pt x="615" y="847"/>
                    <a:pt x="615" y="846"/>
                  </a:cubicBezTo>
                  <a:cubicBezTo>
                    <a:pt x="616" y="845"/>
                    <a:pt x="616" y="844"/>
                    <a:pt x="616" y="842"/>
                  </a:cubicBezTo>
                  <a:cubicBezTo>
                    <a:pt x="616" y="842"/>
                    <a:pt x="616" y="842"/>
                    <a:pt x="616" y="842"/>
                  </a:cubicBezTo>
                  <a:cubicBezTo>
                    <a:pt x="616" y="842"/>
                    <a:pt x="617" y="842"/>
                    <a:pt x="617" y="841"/>
                  </a:cubicBezTo>
                  <a:cubicBezTo>
                    <a:pt x="618" y="839"/>
                    <a:pt x="618" y="839"/>
                    <a:pt x="618" y="839"/>
                  </a:cubicBezTo>
                  <a:cubicBezTo>
                    <a:pt x="623" y="842"/>
                    <a:pt x="623" y="842"/>
                    <a:pt x="623" y="842"/>
                  </a:cubicBezTo>
                  <a:cubicBezTo>
                    <a:pt x="625" y="843"/>
                    <a:pt x="625" y="843"/>
                    <a:pt x="625" y="843"/>
                  </a:cubicBezTo>
                  <a:cubicBezTo>
                    <a:pt x="627" y="844"/>
                    <a:pt x="630" y="844"/>
                    <a:pt x="632" y="845"/>
                  </a:cubicBezTo>
                  <a:cubicBezTo>
                    <a:pt x="633" y="845"/>
                    <a:pt x="633" y="845"/>
                    <a:pt x="633" y="845"/>
                  </a:cubicBezTo>
                  <a:cubicBezTo>
                    <a:pt x="634" y="845"/>
                    <a:pt x="634" y="845"/>
                    <a:pt x="634" y="845"/>
                  </a:cubicBezTo>
                  <a:cubicBezTo>
                    <a:pt x="635" y="845"/>
                    <a:pt x="635" y="844"/>
                    <a:pt x="636" y="844"/>
                  </a:cubicBezTo>
                  <a:cubicBezTo>
                    <a:pt x="638" y="844"/>
                    <a:pt x="642" y="843"/>
                    <a:pt x="643" y="842"/>
                  </a:cubicBezTo>
                  <a:cubicBezTo>
                    <a:pt x="644" y="842"/>
                    <a:pt x="644" y="842"/>
                    <a:pt x="644" y="842"/>
                  </a:cubicBezTo>
                  <a:cubicBezTo>
                    <a:pt x="644" y="842"/>
                    <a:pt x="644" y="842"/>
                    <a:pt x="644" y="842"/>
                  </a:cubicBezTo>
                  <a:cubicBezTo>
                    <a:pt x="644" y="841"/>
                    <a:pt x="644" y="841"/>
                    <a:pt x="644" y="841"/>
                  </a:cubicBezTo>
                  <a:cubicBezTo>
                    <a:pt x="645" y="840"/>
                    <a:pt x="645" y="840"/>
                    <a:pt x="645" y="840"/>
                  </a:cubicBezTo>
                  <a:cubicBezTo>
                    <a:pt x="645" y="839"/>
                    <a:pt x="645" y="839"/>
                    <a:pt x="645" y="838"/>
                  </a:cubicBezTo>
                  <a:cubicBezTo>
                    <a:pt x="645" y="837"/>
                    <a:pt x="645" y="837"/>
                    <a:pt x="645" y="837"/>
                  </a:cubicBezTo>
                  <a:cubicBezTo>
                    <a:pt x="646" y="836"/>
                    <a:pt x="646" y="834"/>
                    <a:pt x="647" y="833"/>
                  </a:cubicBezTo>
                  <a:cubicBezTo>
                    <a:pt x="637" y="828"/>
                    <a:pt x="637" y="828"/>
                    <a:pt x="637" y="828"/>
                  </a:cubicBezTo>
                  <a:cubicBezTo>
                    <a:pt x="631" y="825"/>
                    <a:pt x="631" y="825"/>
                    <a:pt x="631" y="825"/>
                  </a:cubicBezTo>
                  <a:cubicBezTo>
                    <a:pt x="628" y="825"/>
                    <a:pt x="628" y="825"/>
                    <a:pt x="628" y="825"/>
                  </a:cubicBezTo>
                  <a:cubicBezTo>
                    <a:pt x="628" y="824"/>
                    <a:pt x="627" y="824"/>
                    <a:pt x="627" y="824"/>
                  </a:cubicBezTo>
                  <a:cubicBezTo>
                    <a:pt x="624" y="823"/>
                    <a:pt x="624" y="823"/>
                    <a:pt x="624" y="823"/>
                  </a:cubicBezTo>
                  <a:cubicBezTo>
                    <a:pt x="623" y="821"/>
                    <a:pt x="623" y="821"/>
                    <a:pt x="623" y="821"/>
                  </a:cubicBezTo>
                  <a:cubicBezTo>
                    <a:pt x="623" y="821"/>
                    <a:pt x="623" y="821"/>
                    <a:pt x="623" y="821"/>
                  </a:cubicBezTo>
                  <a:cubicBezTo>
                    <a:pt x="622" y="820"/>
                    <a:pt x="621" y="820"/>
                    <a:pt x="620" y="819"/>
                  </a:cubicBezTo>
                  <a:cubicBezTo>
                    <a:pt x="619" y="819"/>
                    <a:pt x="619" y="819"/>
                    <a:pt x="619" y="819"/>
                  </a:cubicBezTo>
                  <a:cubicBezTo>
                    <a:pt x="618" y="817"/>
                    <a:pt x="618" y="817"/>
                    <a:pt x="618" y="817"/>
                  </a:cubicBezTo>
                  <a:cubicBezTo>
                    <a:pt x="618" y="817"/>
                    <a:pt x="618" y="816"/>
                    <a:pt x="617" y="816"/>
                  </a:cubicBezTo>
                  <a:cubicBezTo>
                    <a:pt x="616" y="815"/>
                    <a:pt x="616" y="815"/>
                    <a:pt x="616" y="815"/>
                  </a:cubicBezTo>
                  <a:cubicBezTo>
                    <a:pt x="617" y="812"/>
                    <a:pt x="617" y="812"/>
                    <a:pt x="617" y="812"/>
                  </a:cubicBezTo>
                  <a:cubicBezTo>
                    <a:pt x="617" y="811"/>
                    <a:pt x="617" y="811"/>
                    <a:pt x="617" y="811"/>
                  </a:cubicBezTo>
                  <a:cubicBezTo>
                    <a:pt x="619" y="811"/>
                    <a:pt x="619" y="811"/>
                    <a:pt x="619" y="811"/>
                  </a:cubicBezTo>
                  <a:cubicBezTo>
                    <a:pt x="622" y="811"/>
                    <a:pt x="622" y="811"/>
                    <a:pt x="622" y="811"/>
                  </a:cubicBezTo>
                  <a:cubicBezTo>
                    <a:pt x="622" y="811"/>
                    <a:pt x="622" y="811"/>
                    <a:pt x="622" y="811"/>
                  </a:cubicBezTo>
                  <a:cubicBezTo>
                    <a:pt x="623" y="810"/>
                    <a:pt x="623" y="810"/>
                    <a:pt x="623" y="810"/>
                  </a:cubicBezTo>
                  <a:cubicBezTo>
                    <a:pt x="624" y="810"/>
                    <a:pt x="624" y="809"/>
                    <a:pt x="625" y="809"/>
                  </a:cubicBezTo>
                  <a:cubicBezTo>
                    <a:pt x="627" y="807"/>
                    <a:pt x="627" y="807"/>
                    <a:pt x="627" y="807"/>
                  </a:cubicBezTo>
                  <a:cubicBezTo>
                    <a:pt x="628" y="807"/>
                    <a:pt x="629" y="807"/>
                    <a:pt x="630" y="807"/>
                  </a:cubicBezTo>
                  <a:cubicBezTo>
                    <a:pt x="631" y="807"/>
                    <a:pt x="631" y="807"/>
                    <a:pt x="632" y="806"/>
                  </a:cubicBezTo>
                  <a:cubicBezTo>
                    <a:pt x="632" y="806"/>
                    <a:pt x="632" y="806"/>
                    <a:pt x="633" y="806"/>
                  </a:cubicBezTo>
                  <a:cubicBezTo>
                    <a:pt x="633" y="806"/>
                    <a:pt x="633" y="805"/>
                    <a:pt x="633" y="805"/>
                  </a:cubicBezTo>
                  <a:cubicBezTo>
                    <a:pt x="634" y="805"/>
                    <a:pt x="635" y="804"/>
                    <a:pt x="635" y="804"/>
                  </a:cubicBezTo>
                  <a:cubicBezTo>
                    <a:pt x="635" y="803"/>
                    <a:pt x="635" y="803"/>
                    <a:pt x="635" y="803"/>
                  </a:cubicBezTo>
                  <a:cubicBezTo>
                    <a:pt x="631" y="798"/>
                    <a:pt x="631" y="798"/>
                    <a:pt x="631" y="798"/>
                  </a:cubicBezTo>
                  <a:cubicBezTo>
                    <a:pt x="615" y="795"/>
                    <a:pt x="615" y="795"/>
                    <a:pt x="615" y="795"/>
                  </a:cubicBezTo>
                  <a:cubicBezTo>
                    <a:pt x="630" y="793"/>
                    <a:pt x="630" y="793"/>
                    <a:pt x="630" y="793"/>
                  </a:cubicBezTo>
                  <a:cubicBezTo>
                    <a:pt x="630" y="793"/>
                    <a:pt x="631" y="793"/>
                    <a:pt x="631" y="793"/>
                  </a:cubicBezTo>
                  <a:cubicBezTo>
                    <a:pt x="631" y="793"/>
                    <a:pt x="631" y="793"/>
                    <a:pt x="631" y="793"/>
                  </a:cubicBezTo>
                  <a:cubicBezTo>
                    <a:pt x="632" y="792"/>
                    <a:pt x="632" y="792"/>
                    <a:pt x="632" y="792"/>
                  </a:cubicBezTo>
                  <a:cubicBezTo>
                    <a:pt x="633" y="791"/>
                    <a:pt x="634" y="790"/>
                    <a:pt x="635" y="789"/>
                  </a:cubicBezTo>
                  <a:cubicBezTo>
                    <a:pt x="636" y="788"/>
                    <a:pt x="636" y="788"/>
                    <a:pt x="636" y="788"/>
                  </a:cubicBezTo>
                  <a:cubicBezTo>
                    <a:pt x="636" y="787"/>
                    <a:pt x="636" y="787"/>
                    <a:pt x="636" y="787"/>
                  </a:cubicBezTo>
                  <a:cubicBezTo>
                    <a:pt x="638" y="786"/>
                    <a:pt x="638" y="786"/>
                    <a:pt x="638" y="786"/>
                  </a:cubicBezTo>
                  <a:cubicBezTo>
                    <a:pt x="638" y="786"/>
                    <a:pt x="638" y="786"/>
                    <a:pt x="638" y="786"/>
                  </a:cubicBezTo>
                  <a:cubicBezTo>
                    <a:pt x="639" y="786"/>
                    <a:pt x="639" y="785"/>
                    <a:pt x="640" y="785"/>
                  </a:cubicBezTo>
                  <a:cubicBezTo>
                    <a:pt x="640" y="785"/>
                    <a:pt x="640" y="785"/>
                    <a:pt x="640" y="785"/>
                  </a:cubicBezTo>
                  <a:cubicBezTo>
                    <a:pt x="641" y="785"/>
                    <a:pt x="641" y="785"/>
                    <a:pt x="642" y="785"/>
                  </a:cubicBezTo>
                  <a:cubicBezTo>
                    <a:pt x="642" y="785"/>
                    <a:pt x="643" y="785"/>
                    <a:pt x="644" y="785"/>
                  </a:cubicBezTo>
                  <a:cubicBezTo>
                    <a:pt x="644" y="785"/>
                    <a:pt x="644" y="785"/>
                    <a:pt x="645" y="785"/>
                  </a:cubicBezTo>
                  <a:cubicBezTo>
                    <a:pt x="645" y="785"/>
                    <a:pt x="646" y="785"/>
                    <a:pt x="646" y="785"/>
                  </a:cubicBezTo>
                  <a:cubicBezTo>
                    <a:pt x="647" y="784"/>
                    <a:pt x="647" y="784"/>
                    <a:pt x="647" y="784"/>
                  </a:cubicBezTo>
                  <a:cubicBezTo>
                    <a:pt x="648" y="785"/>
                    <a:pt x="648" y="785"/>
                    <a:pt x="648" y="785"/>
                  </a:cubicBezTo>
                  <a:cubicBezTo>
                    <a:pt x="648" y="785"/>
                    <a:pt x="648" y="785"/>
                    <a:pt x="648" y="785"/>
                  </a:cubicBezTo>
                  <a:cubicBezTo>
                    <a:pt x="648" y="784"/>
                    <a:pt x="648" y="784"/>
                    <a:pt x="648" y="784"/>
                  </a:cubicBezTo>
                  <a:cubicBezTo>
                    <a:pt x="648" y="784"/>
                    <a:pt x="648" y="784"/>
                    <a:pt x="648" y="784"/>
                  </a:cubicBezTo>
                  <a:cubicBezTo>
                    <a:pt x="647" y="784"/>
                    <a:pt x="647" y="784"/>
                    <a:pt x="646" y="784"/>
                  </a:cubicBezTo>
                  <a:cubicBezTo>
                    <a:pt x="645" y="783"/>
                    <a:pt x="645" y="783"/>
                    <a:pt x="645" y="783"/>
                  </a:cubicBezTo>
                  <a:cubicBezTo>
                    <a:pt x="645" y="783"/>
                    <a:pt x="644" y="783"/>
                    <a:pt x="644" y="783"/>
                  </a:cubicBezTo>
                  <a:cubicBezTo>
                    <a:pt x="643" y="783"/>
                    <a:pt x="643" y="783"/>
                    <a:pt x="642" y="783"/>
                  </a:cubicBezTo>
                  <a:cubicBezTo>
                    <a:pt x="642" y="783"/>
                    <a:pt x="642" y="783"/>
                    <a:pt x="642" y="783"/>
                  </a:cubicBezTo>
                  <a:cubicBezTo>
                    <a:pt x="641" y="782"/>
                    <a:pt x="641" y="782"/>
                    <a:pt x="641" y="782"/>
                  </a:cubicBezTo>
                  <a:cubicBezTo>
                    <a:pt x="640" y="781"/>
                    <a:pt x="640" y="781"/>
                    <a:pt x="640" y="781"/>
                  </a:cubicBezTo>
                  <a:cubicBezTo>
                    <a:pt x="635" y="784"/>
                    <a:pt x="635" y="784"/>
                    <a:pt x="635" y="784"/>
                  </a:cubicBezTo>
                  <a:cubicBezTo>
                    <a:pt x="638" y="781"/>
                    <a:pt x="638" y="781"/>
                    <a:pt x="638" y="781"/>
                  </a:cubicBezTo>
                  <a:cubicBezTo>
                    <a:pt x="634" y="783"/>
                    <a:pt x="634" y="783"/>
                    <a:pt x="634" y="783"/>
                  </a:cubicBezTo>
                  <a:cubicBezTo>
                    <a:pt x="639" y="779"/>
                    <a:pt x="639" y="779"/>
                    <a:pt x="639" y="779"/>
                  </a:cubicBezTo>
                  <a:cubicBezTo>
                    <a:pt x="638" y="778"/>
                    <a:pt x="638" y="778"/>
                    <a:pt x="638" y="778"/>
                  </a:cubicBezTo>
                  <a:cubicBezTo>
                    <a:pt x="639" y="776"/>
                    <a:pt x="639" y="776"/>
                    <a:pt x="639" y="776"/>
                  </a:cubicBezTo>
                  <a:cubicBezTo>
                    <a:pt x="639" y="776"/>
                    <a:pt x="639" y="776"/>
                    <a:pt x="640" y="775"/>
                  </a:cubicBezTo>
                  <a:cubicBezTo>
                    <a:pt x="640" y="775"/>
                    <a:pt x="640" y="775"/>
                    <a:pt x="640" y="775"/>
                  </a:cubicBezTo>
                  <a:cubicBezTo>
                    <a:pt x="640" y="775"/>
                    <a:pt x="640" y="775"/>
                    <a:pt x="640" y="775"/>
                  </a:cubicBezTo>
                  <a:cubicBezTo>
                    <a:pt x="639" y="774"/>
                    <a:pt x="639" y="774"/>
                    <a:pt x="639" y="774"/>
                  </a:cubicBezTo>
                  <a:cubicBezTo>
                    <a:pt x="638" y="774"/>
                    <a:pt x="638" y="774"/>
                    <a:pt x="637" y="774"/>
                  </a:cubicBezTo>
                  <a:cubicBezTo>
                    <a:pt x="635" y="773"/>
                    <a:pt x="635" y="773"/>
                    <a:pt x="635" y="773"/>
                  </a:cubicBezTo>
                  <a:cubicBezTo>
                    <a:pt x="634" y="773"/>
                    <a:pt x="634" y="773"/>
                    <a:pt x="634" y="773"/>
                  </a:cubicBezTo>
                  <a:cubicBezTo>
                    <a:pt x="633" y="770"/>
                    <a:pt x="633" y="770"/>
                    <a:pt x="633" y="770"/>
                  </a:cubicBezTo>
                  <a:cubicBezTo>
                    <a:pt x="635" y="769"/>
                    <a:pt x="635" y="769"/>
                    <a:pt x="635" y="769"/>
                  </a:cubicBezTo>
                  <a:cubicBezTo>
                    <a:pt x="635" y="768"/>
                    <a:pt x="635" y="768"/>
                    <a:pt x="635" y="768"/>
                  </a:cubicBezTo>
                  <a:cubicBezTo>
                    <a:pt x="636" y="768"/>
                    <a:pt x="636" y="768"/>
                    <a:pt x="637" y="768"/>
                  </a:cubicBezTo>
                  <a:cubicBezTo>
                    <a:pt x="637" y="768"/>
                    <a:pt x="637" y="768"/>
                    <a:pt x="637" y="768"/>
                  </a:cubicBezTo>
                  <a:cubicBezTo>
                    <a:pt x="639" y="767"/>
                    <a:pt x="639" y="767"/>
                    <a:pt x="639" y="767"/>
                  </a:cubicBezTo>
                  <a:cubicBezTo>
                    <a:pt x="633" y="763"/>
                    <a:pt x="633" y="763"/>
                    <a:pt x="633" y="763"/>
                  </a:cubicBezTo>
                  <a:cubicBezTo>
                    <a:pt x="636" y="762"/>
                    <a:pt x="636" y="762"/>
                    <a:pt x="636" y="762"/>
                  </a:cubicBezTo>
                  <a:cubicBezTo>
                    <a:pt x="637" y="761"/>
                    <a:pt x="637" y="761"/>
                    <a:pt x="637" y="761"/>
                  </a:cubicBezTo>
                  <a:cubicBezTo>
                    <a:pt x="638" y="761"/>
                    <a:pt x="638" y="761"/>
                    <a:pt x="639" y="760"/>
                  </a:cubicBezTo>
                  <a:cubicBezTo>
                    <a:pt x="639" y="760"/>
                    <a:pt x="639" y="760"/>
                    <a:pt x="639" y="760"/>
                  </a:cubicBezTo>
                  <a:cubicBezTo>
                    <a:pt x="641" y="759"/>
                    <a:pt x="642" y="758"/>
                    <a:pt x="644" y="758"/>
                  </a:cubicBezTo>
                  <a:cubicBezTo>
                    <a:pt x="644" y="758"/>
                    <a:pt x="645" y="758"/>
                    <a:pt x="645" y="758"/>
                  </a:cubicBezTo>
                  <a:cubicBezTo>
                    <a:pt x="645" y="758"/>
                    <a:pt x="646" y="758"/>
                    <a:pt x="646" y="758"/>
                  </a:cubicBezTo>
                  <a:cubicBezTo>
                    <a:pt x="646" y="757"/>
                    <a:pt x="646" y="757"/>
                    <a:pt x="646" y="757"/>
                  </a:cubicBezTo>
                  <a:cubicBezTo>
                    <a:pt x="647" y="758"/>
                    <a:pt x="647" y="758"/>
                    <a:pt x="647" y="758"/>
                  </a:cubicBezTo>
                  <a:cubicBezTo>
                    <a:pt x="650" y="759"/>
                    <a:pt x="651" y="759"/>
                    <a:pt x="653" y="759"/>
                  </a:cubicBezTo>
                  <a:cubicBezTo>
                    <a:pt x="653" y="759"/>
                    <a:pt x="653" y="759"/>
                    <a:pt x="653" y="759"/>
                  </a:cubicBezTo>
                  <a:cubicBezTo>
                    <a:pt x="654" y="759"/>
                    <a:pt x="654" y="759"/>
                    <a:pt x="654" y="759"/>
                  </a:cubicBezTo>
                  <a:cubicBezTo>
                    <a:pt x="659" y="759"/>
                    <a:pt x="659" y="759"/>
                    <a:pt x="659" y="759"/>
                  </a:cubicBezTo>
                  <a:cubicBezTo>
                    <a:pt x="659" y="756"/>
                    <a:pt x="659" y="756"/>
                    <a:pt x="659" y="756"/>
                  </a:cubicBezTo>
                  <a:cubicBezTo>
                    <a:pt x="660" y="759"/>
                    <a:pt x="660" y="759"/>
                    <a:pt x="660" y="759"/>
                  </a:cubicBezTo>
                  <a:cubicBezTo>
                    <a:pt x="660" y="759"/>
                    <a:pt x="660" y="759"/>
                    <a:pt x="660" y="759"/>
                  </a:cubicBezTo>
                  <a:cubicBezTo>
                    <a:pt x="661" y="759"/>
                    <a:pt x="661" y="759"/>
                    <a:pt x="662" y="759"/>
                  </a:cubicBezTo>
                  <a:cubicBezTo>
                    <a:pt x="663" y="759"/>
                    <a:pt x="663" y="759"/>
                    <a:pt x="663" y="759"/>
                  </a:cubicBezTo>
                  <a:cubicBezTo>
                    <a:pt x="663" y="759"/>
                    <a:pt x="663" y="759"/>
                    <a:pt x="663" y="759"/>
                  </a:cubicBezTo>
                  <a:cubicBezTo>
                    <a:pt x="663" y="759"/>
                    <a:pt x="664" y="759"/>
                    <a:pt x="664" y="759"/>
                  </a:cubicBezTo>
                  <a:cubicBezTo>
                    <a:pt x="665" y="758"/>
                    <a:pt x="665" y="758"/>
                    <a:pt x="665" y="758"/>
                  </a:cubicBezTo>
                  <a:cubicBezTo>
                    <a:pt x="666" y="758"/>
                    <a:pt x="666" y="758"/>
                    <a:pt x="666" y="758"/>
                  </a:cubicBezTo>
                  <a:cubicBezTo>
                    <a:pt x="667" y="757"/>
                    <a:pt x="667" y="757"/>
                    <a:pt x="667" y="757"/>
                  </a:cubicBezTo>
                  <a:cubicBezTo>
                    <a:pt x="668" y="758"/>
                    <a:pt x="668" y="758"/>
                    <a:pt x="668" y="758"/>
                  </a:cubicBezTo>
                  <a:cubicBezTo>
                    <a:pt x="668" y="758"/>
                    <a:pt x="668" y="758"/>
                    <a:pt x="668" y="758"/>
                  </a:cubicBezTo>
                  <a:cubicBezTo>
                    <a:pt x="669" y="757"/>
                    <a:pt x="669" y="757"/>
                    <a:pt x="670" y="757"/>
                  </a:cubicBezTo>
                  <a:cubicBezTo>
                    <a:pt x="670" y="757"/>
                    <a:pt x="670" y="757"/>
                    <a:pt x="670" y="757"/>
                  </a:cubicBezTo>
                  <a:cubicBezTo>
                    <a:pt x="671" y="757"/>
                    <a:pt x="671" y="757"/>
                    <a:pt x="671" y="757"/>
                  </a:cubicBezTo>
                  <a:cubicBezTo>
                    <a:pt x="671" y="757"/>
                    <a:pt x="671" y="757"/>
                    <a:pt x="671" y="757"/>
                  </a:cubicBezTo>
                  <a:cubicBezTo>
                    <a:pt x="672" y="756"/>
                    <a:pt x="672" y="756"/>
                    <a:pt x="672" y="756"/>
                  </a:cubicBezTo>
                  <a:cubicBezTo>
                    <a:pt x="668" y="756"/>
                    <a:pt x="668" y="756"/>
                    <a:pt x="668" y="756"/>
                  </a:cubicBezTo>
                  <a:cubicBezTo>
                    <a:pt x="679" y="755"/>
                    <a:pt x="679" y="755"/>
                    <a:pt x="679" y="755"/>
                  </a:cubicBezTo>
                  <a:cubicBezTo>
                    <a:pt x="679" y="750"/>
                    <a:pt x="679" y="750"/>
                    <a:pt x="679" y="750"/>
                  </a:cubicBezTo>
                  <a:cubicBezTo>
                    <a:pt x="680" y="754"/>
                    <a:pt x="680" y="754"/>
                    <a:pt x="680" y="754"/>
                  </a:cubicBezTo>
                  <a:cubicBezTo>
                    <a:pt x="689" y="753"/>
                    <a:pt x="689" y="753"/>
                    <a:pt x="689" y="753"/>
                  </a:cubicBezTo>
                  <a:cubicBezTo>
                    <a:pt x="689" y="753"/>
                    <a:pt x="689" y="753"/>
                    <a:pt x="689" y="753"/>
                  </a:cubicBezTo>
                  <a:cubicBezTo>
                    <a:pt x="691" y="752"/>
                    <a:pt x="691" y="752"/>
                    <a:pt x="691" y="752"/>
                  </a:cubicBezTo>
                  <a:cubicBezTo>
                    <a:pt x="691" y="752"/>
                    <a:pt x="691" y="752"/>
                    <a:pt x="691" y="752"/>
                  </a:cubicBezTo>
                  <a:cubicBezTo>
                    <a:pt x="693" y="752"/>
                    <a:pt x="693" y="752"/>
                    <a:pt x="693" y="752"/>
                  </a:cubicBezTo>
                  <a:cubicBezTo>
                    <a:pt x="694" y="751"/>
                    <a:pt x="694" y="751"/>
                    <a:pt x="694" y="751"/>
                  </a:cubicBezTo>
                  <a:cubicBezTo>
                    <a:pt x="695" y="751"/>
                    <a:pt x="695" y="751"/>
                    <a:pt x="695" y="751"/>
                  </a:cubicBezTo>
                  <a:cubicBezTo>
                    <a:pt x="696" y="751"/>
                    <a:pt x="696" y="751"/>
                    <a:pt x="696" y="751"/>
                  </a:cubicBezTo>
                  <a:cubicBezTo>
                    <a:pt x="696" y="751"/>
                    <a:pt x="696" y="751"/>
                    <a:pt x="696" y="751"/>
                  </a:cubicBezTo>
                  <a:cubicBezTo>
                    <a:pt x="698" y="750"/>
                    <a:pt x="698" y="750"/>
                    <a:pt x="698" y="750"/>
                  </a:cubicBezTo>
                  <a:cubicBezTo>
                    <a:pt x="698" y="751"/>
                    <a:pt x="698" y="751"/>
                    <a:pt x="698" y="751"/>
                  </a:cubicBezTo>
                  <a:cubicBezTo>
                    <a:pt x="701" y="750"/>
                    <a:pt x="701" y="750"/>
                    <a:pt x="701" y="750"/>
                  </a:cubicBezTo>
                  <a:cubicBezTo>
                    <a:pt x="701" y="750"/>
                    <a:pt x="701" y="750"/>
                    <a:pt x="701" y="750"/>
                  </a:cubicBezTo>
                  <a:cubicBezTo>
                    <a:pt x="702" y="750"/>
                    <a:pt x="702" y="750"/>
                    <a:pt x="702" y="750"/>
                  </a:cubicBezTo>
                  <a:cubicBezTo>
                    <a:pt x="703" y="750"/>
                    <a:pt x="703" y="750"/>
                    <a:pt x="704" y="750"/>
                  </a:cubicBezTo>
                  <a:cubicBezTo>
                    <a:pt x="704" y="750"/>
                    <a:pt x="704" y="750"/>
                    <a:pt x="704" y="750"/>
                  </a:cubicBezTo>
                  <a:cubicBezTo>
                    <a:pt x="704" y="750"/>
                    <a:pt x="705" y="750"/>
                    <a:pt x="705" y="750"/>
                  </a:cubicBezTo>
                  <a:cubicBezTo>
                    <a:pt x="705" y="749"/>
                    <a:pt x="706" y="749"/>
                    <a:pt x="706" y="749"/>
                  </a:cubicBezTo>
                  <a:cubicBezTo>
                    <a:pt x="706" y="749"/>
                    <a:pt x="707" y="749"/>
                    <a:pt x="707" y="749"/>
                  </a:cubicBezTo>
                  <a:cubicBezTo>
                    <a:pt x="707" y="749"/>
                    <a:pt x="708" y="749"/>
                    <a:pt x="708" y="750"/>
                  </a:cubicBezTo>
                  <a:cubicBezTo>
                    <a:pt x="709" y="750"/>
                    <a:pt x="709" y="750"/>
                    <a:pt x="709" y="750"/>
                  </a:cubicBezTo>
                  <a:cubicBezTo>
                    <a:pt x="709" y="750"/>
                    <a:pt x="709" y="750"/>
                    <a:pt x="709" y="750"/>
                  </a:cubicBezTo>
                  <a:cubicBezTo>
                    <a:pt x="710" y="750"/>
                    <a:pt x="710" y="750"/>
                    <a:pt x="710" y="750"/>
                  </a:cubicBezTo>
                  <a:cubicBezTo>
                    <a:pt x="711" y="749"/>
                    <a:pt x="712" y="748"/>
                    <a:pt x="715" y="749"/>
                  </a:cubicBezTo>
                  <a:cubicBezTo>
                    <a:pt x="715" y="749"/>
                    <a:pt x="715" y="748"/>
                    <a:pt x="715" y="748"/>
                  </a:cubicBezTo>
                  <a:cubicBezTo>
                    <a:pt x="715" y="748"/>
                    <a:pt x="715" y="748"/>
                    <a:pt x="715" y="748"/>
                  </a:cubicBezTo>
                  <a:cubicBezTo>
                    <a:pt x="716" y="747"/>
                    <a:pt x="716" y="747"/>
                    <a:pt x="716" y="747"/>
                  </a:cubicBezTo>
                  <a:cubicBezTo>
                    <a:pt x="716" y="747"/>
                    <a:pt x="716" y="747"/>
                    <a:pt x="716" y="747"/>
                  </a:cubicBezTo>
                  <a:cubicBezTo>
                    <a:pt x="717" y="746"/>
                    <a:pt x="717" y="746"/>
                    <a:pt x="717" y="746"/>
                  </a:cubicBezTo>
                  <a:cubicBezTo>
                    <a:pt x="711" y="745"/>
                    <a:pt x="711" y="745"/>
                    <a:pt x="711" y="745"/>
                  </a:cubicBezTo>
                  <a:cubicBezTo>
                    <a:pt x="724" y="743"/>
                    <a:pt x="724" y="743"/>
                    <a:pt x="724" y="743"/>
                  </a:cubicBezTo>
                  <a:cubicBezTo>
                    <a:pt x="725" y="743"/>
                    <a:pt x="725" y="743"/>
                    <a:pt x="725" y="743"/>
                  </a:cubicBezTo>
                  <a:cubicBezTo>
                    <a:pt x="728" y="742"/>
                    <a:pt x="728" y="742"/>
                    <a:pt x="728" y="742"/>
                  </a:cubicBezTo>
                  <a:cubicBezTo>
                    <a:pt x="730" y="741"/>
                    <a:pt x="730" y="741"/>
                    <a:pt x="730" y="741"/>
                  </a:cubicBezTo>
                  <a:cubicBezTo>
                    <a:pt x="730" y="741"/>
                    <a:pt x="731" y="741"/>
                    <a:pt x="731" y="741"/>
                  </a:cubicBezTo>
                  <a:cubicBezTo>
                    <a:pt x="732" y="741"/>
                    <a:pt x="732" y="741"/>
                    <a:pt x="732" y="741"/>
                  </a:cubicBezTo>
                  <a:cubicBezTo>
                    <a:pt x="733" y="741"/>
                    <a:pt x="733" y="741"/>
                    <a:pt x="734" y="741"/>
                  </a:cubicBezTo>
                  <a:cubicBezTo>
                    <a:pt x="734" y="741"/>
                    <a:pt x="735" y="742"/>
                    <a:pt x="735" y="742"/>
                  </a:cubicBezTo>
                  <a:cubicBezTo>
                    <a:pt x="737" y="742"/>
                    <a:pt x="737" y="742"/>
                    <a:pt x="737" y="742"/>
                  </a:cubicBezTo>
                  <a:cubicBezTo>
                    <a:pt x="738" y="742"/>
                    <a:pt x="739" y="741"/>
                    <a:pt x="740" y="741"/>
                  </a:cubicBezTo>
                  <a:cubicBezTo>
                    <a:pt x="741" y="741"/>
                    <a:pt x="741" y="741"/>
                    <a:pt x="741" y="741"/>
                  </a:cubicBezTo>
                  <a:cubicBezTo>
                    <a:pt x="742" y="740"/>
                    <a:pt x="744" y="740"/>
                    <a:pt x="745" y="740"/>
                  </a:cubicBezTo>
                  <a:cubicBezTo>
                    <a:pt x="743" y="739"/>
                    <a:pt x="743" y="739"/>
                    <a:pt x="743" y="739"/>
                  </a:cubicBezTo>
                  <a:cubicBezTo>
                    <a:pt x="750" y="739"/>
                    <a:pt x="750" y="739"/>
                    <a:pt x="750" y="739"/>
                  </a:cubicBezTo>
                  <a:cubicBezTo>
                    <a:pt x="752" y="738"/>
                    <a:pt x="752" y="738"/>
                    <a:pt x="752" y="738"/>
                  </a:cubicBezTo>
                  <a:cubicBezTo>
                    <a:pt x="753" y="738"/>
                    <a:pt x="754" y="738"/>
                    <a:pt x="755" y="737"/>
                  </a:cubicBezTo>
                  <a:cubicBezTo>
                    <a:pt x="756" y="737"/>
                    <a:pt x="756" y="737"/>
                    <a:pt x="756" y="737"/>
                  </a:cubicBezTo>
                  <a:cubicBezTo>
                    <a:pt x="758" y="736"/>
                    <a:pt x="758" y="736"/>
                    <a:pt x="758" y="736"/>
                  </a:cubicBezTo>
                  <a:cubicBezTo>
                    <a:pt x="759" y="737"/>
                    <a:pt x="759" y="737"/>
                    <a:pt x="759" y="737"/>
                  </a:cubicBezTo>
                  <a:cubicBezTo>
                    <a:pt x="766" y="735"/>
                    <a:pt x="766" y="735"/>
                    <a:pt x="766" y="735"/>
                  </a:cubicBezTo>
                  <a:cubicBezTo>
                    <a:pt x="766" y="735"/>
                    <a:pt x="766" y="735"/>
                    <a:pt x="766" y="735"/>
                  </a:cubicBezTo>
                  <a:cubicBezTo>
                    <a:pt x="767" y="734"/>
                    <a:pt x="767" y="734"/>
                    <a:pt x="767" y="734"/>
                  </a:cubicBezTo>
                  <a:cubicBezTo>
                    <a:pt x="768" y="734"/>
                    <a:pt x="768" y="734"/>
                    <a:pt x="769" y="734"/>
                  </a:cubicBezTo>
                  <a:cubicBezTo>
                    <a:pt x="770" y="733"/>
                    <a:pt x="770" y="733"/>
                    <a:pt x="771" y="734"/>
                  </a:cubicBezTo>
                  <a:cubicBezTo>
                    <a:pt x="772" y="734"/>
                    <a:pt x="772" y="734"/>
                    <a:pt x="772" y="734"/>
                  </a:cubicBezTo>
                  <a:cubicBezTo>
                    <a:pt x="772" y="734"/>
                    <a:pt x="772" y="734"/>
                    <a:pt x="772" y="734"/>
                  </a:cubicBezTo>
                  <a:cubicBezTo>
                    <a:pt x="772" y="734"/>
                    <a:pt x="773" y="734"/>
                    <a:pt x="773" y="734"/>
                  </a:cubicBezTo>
                  <a:cubicBezTo>
                    <a:pt x="775" y="733"/>
                    <a:pt x="775" y="733"/>
                    <a:pt x="775" y="733"/>
                  </a:cubicBezTo>
                  <a:cubicBezTo>
                    <a:pt x="775" y="733"/>
                    <a:pt x="775" y="733"/>
                    <a:pt x="775" y="733"/>
                  </a:cubicBezTo>
                  <a:cubicBezTo>
                    <a:pt x="776" y="732"/>
                    <a:pt x="776" y="732"/>
                    <a:pt x="776" y="732"/>
                  </a:cubicBezTo>
                  <a:cubicBezTo>
                    <a:pt x="776" y="732"/>
                    <a:pt x="777" y="731"/>
                    <a:pt x="778" y="731"/>
                  </a:cubicBezTo>
                  <a:cubicBezTo>
                    <a:pt x="779" y="730"/>
                    <a:pt x="781" y="729"/>
                    <a:pt x="781" y="729"/>
                  </a:cubicBezTo>
                  <a:cubicBezTo>
                    <a:pt x="782" y="728"/>
                    <a:pt x="782" y="727"/>
                    <a:pt x="782" y="726"/>
                  </a:cubicBezTo>
                  <a:cubicBezTo>
                    <a:pt x="783" y="725"/>
                    <a:pt x="783" y="725"/>
                    <a:pt x="783" y="725"/>
                  </a:cubicBezTo>
                  <a:cubicBezTo>
                    <a:pt x="784" y="724"/>
                    <a:pt x="785" y="724"/>
                    <a:pt x="786" y="724"/>
                  </a:cubicBezTo>
                  <a:cubicBezTo>
                    <a:pt x="786" y="724"/>
                    <a:pt x="786" y="724"/>
                    <a:pt x="787" y="724"/>
                  </a:cubicBezTo>
                  <a:cubicBezTo>
                    <a:pt x="786" y="723"/>
                    <a:pt x="786" y="723"/>
                    <a:pt x="786" y="723"/>
                  </a:cubicBezTo>
                  <a:cubicBezTo>
                    <a:pt x="791" y="724"/>
                    <a:pt x="791" y="724"/>
                    <a:pt x="791" y="724"/>
                  </a:cubicBezTo>
                  <a:cubicBezTo>
                    <a:pt x="792" y="724"/>
                    <a:pt x="792" y="724"/>
                    <a:pt x="792" y="724"/>
                  </a:cubicBezTo>
                  <a:cubicBezTo>
                    <a:pt x="792" y="723"/>
                    <a:pt x="792" y="723"/>
                    <a:pt x="792" y="723"/>
                  </a:cubicBezTo>
                  <a:cubicBezTo>
                    <a:pt x="795" y="724"/>
                    <a:pt x="795" y="724"/>
                    <a:pt x="795" y="724"/>
                  </a:cubicBezTo>
                  <a:cubicBezTo>
                    <a:pt x="795" y="724"/>
                    <a:pt x="795" y="724"/>
                    <a:pt x="795" y="724"/>
                  </a:cubicBezTo>
                  <a:cubicBezTo>
                    <a:pt x="795" y="724"/>
                    <a:pt x="795" y="724"/>
                    <a:pt x="795" y="724"/>
                  </a:cubicBezTo>
                  <a:cubicBezTo>
                    <a:pt x="795" y="724"/>
                    <a:pt x="795" y="724"/>
                    <a:pt x="796" y="724"/>
                  </a:cubicBezTo>
                  <a:cubicBezTo>
                    <a:pt x="803" y="724"/>
                    <a:pt x="803" y="724"/>
                    <a:pt x="803" y="724"/>
                  </a:cubicBezTo>
                  <a:cubicBezTo>
                    <a:pt x="804" y="724"/>
                    <a:pt x="805" y="724"/>
                    <a:pt x="805" y="725"/>
                  </a:cubicBezTo>
                  <a:cubicBezTo>
                    <a:pt x="807" y="726"/>
                    <a:pt x="807" y="726"/>
                    <a:pt x="807" y="726"/>
                  </a:cubicBezTo>
                  <a:cubicBezTo>
                    <a:pt x="807" y="726"/>
                    <a:pt x="808" y="727"/>
                    <a:pt x="809" y="728"/>
                  </a:cubicBezTo>
                  <a:cubicBezTo>
                    <a:pt x="810" y="728"/>
                    <a:pt x="810" y="728"/>
                    <a:pt x="810" y="728"/>
                  </a:cubicBezTo>
                  <a:cubicBezTo>
                    <a:pt x="810" y="728"/>
                    <a:pt x="810" y="728"/>
                    <a:pt x="810" y="728"/>
                  </a:cubicBezTo>
                  <a:cubicBezTo>
                    <a:pt x="811" y="728"/>
                    <a:pt x="812" y="729"/>
                    <a:pt x="813" y="729"/>
                  </a:cubicBezTo>
                  <a:cubicBezTo>
                    <a:pt x="813" y="729"/>
                    <a:pt x="813" y="729"/>
                    <a:pt x="813" y="729"/>
                  </a:cubicBezTo>
                  <a:cubicBezTo>
                    <a:pt x="814" y="728"/>
                    <a:pt x="817" y="726"/>
                    <a:pt x="819" y="725"/>
                  </a:cubicBezTo>
                  <a:cubicBezTo>
                    <a:pt x="819" y="725"/>
                    <a:pt x="819" y="725"/>
                    <a:pt x="819" y="725"/>
                  </a:cubicBezTo>
                  <a:cubicBezTo>
                    <a:pt x="824" y="725"/>
                    <a:pt x="824" y="725"/>
                    <a:pt x="824" y="725"/>
                  </a:cubicBezTo>
                  <a:cubicBezTo>
                    <a:pt x="824" y="725"/>
                    <a:pt x="824" y="725"/>
                    <a:pt x="824" y="725"/>
                  </a:cubicBezTo>
                  <a:cubicBezTo>
                    <a:pt x="826" y="725"/>
                    <a:pt x="827" y="726"/>
                    <a:pt x="827" y="727"/>
                  </a:cubicBezTo>
                  <a:cubicBezTo>
                    <a:pt x="829" y="730"/>
                    <a:pt x="830" y="733"/>
                    <a:pt x="831" y="735"/>
                  </a:cubicBezTo>
                  <a:cubicBezTo>
                    <a:pt x="835" y="743"/>
                    <a:pt x="835" y="743"/>
                    <a:pt x="835" y="743"/>
                  </a:cubicBezTo>
                  <a:cubicBezTo>
                    <a:pt x="835" y="744"/>
                    <a:pt x="835" y="744"/>
                    <a:pt x="835" y="745"/>
                  </a:cubicBezTo>
                  <a:cubicBezTo>
                    <a:pt x="835" y="746"/>
                    <a:pt x="835" y="746"/>
                    <a:pt x="835" y="746"/>
                  </a:cubicBezTo>
                  <a:cubicBezTo>
                    <a:pt x="834" y="747"/>
                    <a:pt x="834" y="747"/>
                    <a:pt x="834" y="747"/>
                  </a:cubicBezTo>
                  <a:cubicBezTo>
                    <a:pt x="834" y="748"/>
                    <a:pt x="834" y="748"/>
                    <a:pt x="834" y="748"/>
                  </a:cubicBezTo>
                  <a:cubicBezTo>
                    <a:pt x="834" y="748"/>
                    <a:pt x="834" y="749"/>
                    <a:pt x="834" y="749"/>
                  </a:cubicBezTo>
                  <a:cubicBezTo>
                    <a:pt x="834" y="749"/>
                    <a:pt x="834" y="749"/>
                    <a:pt x="834" y="749"/>
                  </a:cubicBezTo>
                  <a:cubicBezTo>
                    <a:pt x="834" y="750"/>
                    <a:pt x="834" y="750"/>
                    <a:pt x="834" y="750"/>
                  </a:cubicBezTo>
                  <a:cubicBezTo>
                    <a:pt x="835" y="750"/>
                    <a:pt x="835" y="750"/>
                    <a:pt x="835" y="750"/>
                  </a:cubicBezTo>
                  <a:cubicBezTo>
                    <a:pt x="835" y="751"/>
                    <a:pt x="835" y="751"/>
                    <a:pt x="835" y="751"/>
                  </a:cubicBezTo>
                  <a:cubicBezTo>
                    <a:pt x="835" y="753"/>
                    <a:pt x="834" y="754"/>
                    <a:pt x="833" y="755"/>
                  </a:cubicBezTo>
                  <a:cubicBezTo>
                    <a:pt x="833" y="755"/>
                    <a:pt x="832" y="755"/>
                    <a:pt x="832" y="755"/>
                  </a:cubicBezTo>
                  <a:cubicBezTo>
                    <a:pt x="833" y="756"/>
                    <a:pt x="833" y="756"/>
                    <a:pt x="833" y="756"/>
                  </a:cubicBezTo>
                  <a:cubicBezTo>
                    <a:pt x="834" y="756"/>
                    <a:pt x="834" y="756"/>
                    <a:pt x="834" y="756"/>
                  </a:cubicBezTo>
                  <a:cubicBezTo>
                    <a:pt x="835" y="756"/>
                    <a:pt x="835" y="756"/>
                    <a:pt x="835" y="756"/>
                  </a:cubicBezTo>
                  <a:cubicBezTo>
                    <a:pt x="836" y="756"/>
                    <a:pt x="837" y="756"/>
                    <a:pt x="838" y="756"/>
                  </a:cubicBezTo>
                  <a:cubicBezTo>
                    <a:pt x="842" y="756"/>
                    <a:pt x="842" y="756"/>
                    <a:pt x="842" y="756"/>
                  </a:cubicBezTo>
                  <a:cubicBezTo>
                    <a:pt x="846" y="755"/>
                    <a:pt x="846" y="755"/>
                    <a:pt x="846" y="755"/>
                  </a:cubicBezTo>
                  <a:cubicBezTo>
                    <a:pt x="847" y="755"/>
                    <a:pt x="847" y="754"/>
                    <a:pt x="847" y="754"/>
                  </a:cubicBezTo>
                  <a:cubicBezTo>
                    <a:pt x="847" y="754"/>
                    <a:pt x="846" y="753"/>
                    <a:pt x="846" y="753"/>
                  </a:cubicBezTo>
                  <a:cubicBezTo>
                    <a:pt x="846" y="750"/>
                    <a:pt x="846" y="750"/>
                    <a:pt x="846" y="750"/>
                  </a:cubicBezTo>
                  <a:cubicBezTo>
                    <a:pt x="850" y="749"/>
                    <a:pt x="850" y="749"/>
                    <a:pt x="850" y="749"/>
                  </a:cubicBezTo>
                  <a:cubicBezTo>
                    <a:pt x="852" y="750"/>
                    <a:pt x="852" y="750"/>
                    <a:pt x="852" y="750"/>
                  </a:cubicBezTo>
                  <a:cubicBezTo>
                    <a:pt x="852" y="750"/>
                    <a:pt x="852" y="750"/>
                    <a:pt x="852" y="750"/>
                  </a:cubicBezTo>
                  <a:cubicBezTo>
                    <a:pt x="856" y="754"/>
                    <a:pt x="856" y="754"/>
                    <a:pt x="856" y="754"/>
                  </a:cubicBezTo>
                  <a:cubicBezTo>
                    <a:pt x="856" y="755"/>
                    <a:pt x="857" y="756"/>
                    <a:pt x="857" y="757"/>
                  </a:cubicBezTo>
                  <a:cubicBezTo>
                    <a:pt x="857" y="757"/>
                    <a:pt x="857" y="757"/>
                    <a:pt x="857" y="756"/>
                  </a:cubicBezTo>
                  <a:cubicBezTo>
                    <a:pt x="858" y="756"/>
                    <a:pt x="858" y="756"/>
                    <a:pt x="858" y="756"/>
                  </a:cubicBezTo>
                  <a:cubicBezTo>
                    <a:pt x="859" y="756"/>
                    <a:pt x="859" y="756"/>
                    <a:pt x="860" y="756"/>
                  </a:cubicBezTo>
                  <a:cubicBezTo>
                    <a:pt x="861" y="756"/>
                    <a:pt x="861" y="756"/>
                    <a:pt x="861" y="756"/>
                  </a:cubicBezTo>
                  <a:cubicBezTo>
                    <a:pt x="862" y="757"/>
                    <a:pt x="862" y="757"/>
                    <a:pt x="862" y="757"/>
                  </a:cubicBezTo>
                  <a:cubicBezTo>
                    <a:pt x="862" y="757"/>
                    <a:pt x="863" y="757"/>
                    <a:pt x="864" y="758"/>
                  </a:cubicBezTo>
                  <a:cubicBezTo>
                    <a:pt x="864" y="758"/>
                    <a:pt x="864" y="758"/>
                    <a:pt x="864" y="758"/>
                  </a:cubicBezTo>
                  <a:cubicBezTo>
                    <a:pt x="866" y="759"/>
                    <a:pt x="868" y="760"/>
                    <a:pt x="869" y="760"/>
                  </a:cubicBezTo>
                  <a:cubicBezTo>
                    <a:pt x="869" y="760"/>
                    <a:pt x="869" y="760"/>
                    <a:pt x="869" y="760"/>
                  </a:cubicBezTo>
                  <a:cubicBezTo>
                    <a:pt x="885" y="757"/>
                    <a:pt x="885" y="757"/>
                    <a:pt x="885" y="757"/>
                  </a:cubicBezTo>
                  <a:cubicBezTo>
                    <a:pt x="883" y="761"/>
                    <a:pt x="883" y="761"/>
                    <a:pt x="883" y="761"/>
                  </a:cubicBezTo>
                  <a:cubicBezTo>
                    <a:pt x="883" y="762"/>
                    <a:pt x="882" y="762"/>
                    <a:pt x="882" y="762"/>
                  </a:cubicBezTo>
                  <a:cubicBezTo>
                    <a:pt x="880" y="764"/>
                    <a:pt x="880" y="764"/>
                    <a:pt x="880" y="764"/>
                  </a:cubicBezTo>
                  <a:cubicBezTo>
                    <a:pt x="879" y="765"/>
                    <a:pt x="878" y="766"/>
                    <a:pt x="878" y="766"/>
                  </a:cubicBezTo>
                  <a:cubicBezTo>
                    <a:pt x="876" y="767"/>
                    <a:pt x="876" y="767"/>
                    <a:pt x="876" y="767"/>
                  </a:cubicBezTo>
                  <a:cubicBezTo>
                    <a:pt x="876" y="768"/>
                    <a:pt x="876" y="768"/>
                    <a:pt x="876" y="768"/>
                  </a:cubicBezTo>
                  <a:cubicBezTo>
                    <a:pt x="875" y="769"/>
                    <a:pt x="874" y="769"/>
                    <a:pt x="874" y="770"/>
                  </a:cubicBezTo>
                  <a:cubicBezTo>
                    <a:pt x="874" y="771"/>
                    <a:pt x="874" y="771"/>
                    <a:pt x="874" y="771"/>
                  </a:cubicBezTo>
                  <a:cubicBezTo>
                    <a:pt x="875" y="773"/>
                    <a:pt x="875" y="773"/>
                    <a:pt x="875" y="773"/>
                  </a:cubicBezTo>
                  <a:cubicBezTo>
                    <a:pt x="877" y="772"/>
                    <a:pt x="877" y="772"/>
                    <a:pt x="877" y="772"/>
                  </a:cubicBezTo>
                  <a:cubicBezTo>
                    <a:pt x="879" y="771"/>
                    <a:pt x="881" y="770"/>
                    <a:pt x="883" y="770"/>
                  </a:cubicBezTo>
                  <a:cubicBezTo>
                    <a:pt x="888" y="770"/>
                    <a:pt x="888" y="770"/>
                    <a:pt x="888" y="770"/>
                  </a:cubicBezTo>
                  <a:cubicBezTo>
                    <a:pt x="890" y="771"/>
                    <a:pt x="890" y="771"/>
                    <a:pt x="890" y="771"/>
                  </a:cubicBezTo>
                  <a:cubicBezTo>
                    <a:pt x="891" y="771"/>
                    <a:pt x="891" y="771"/>
                    <a:pt x="892" y="772"/>
                  </a:cubicBezTo>
                  <a:cubicBezTo>
                    <a:pt x="892" y="771"/>
                    <a:pt x="892" y="771"/>
                    <a:pt x="892" y="771"/>
                  </a:cubicBezTo>
                  <a:cubicBezTo>
                    <a:pt x="892" y="770"/>
                    <a:pt x="892" y="770"/>
                    <a:pt x="892" y="770"/>
                  </a:cubicBezTo>
                  <a:cubicBezTo>
                    <a:pt x="892" y="769"/>
                    <a:pt x="893" y="768"/>
                    <a:pt x="894" y="768"/>
                  </a:cubicBezTo>
                  <a:cubicBezTo>
                    <a:pt x="894" y="767"/>
                    <a:pt x="894" y="767"/>
                    <a:pt x="894" y="767"/>
                  </a:cubicBezTo>
                  <a:cubicBezTo>
                    <a:pt x="902" y="764"/>
                    <a:pt x="902" y="764"/>
                    <a:pt x="902" y="764"/>
                  </a:cubicBezTo>
                  <a:cubicBezTo>
                    <a:pt x="905" y="763"/>
                    <a:pt x="908" y="761"/>
                    <a:pt x="910" y="760"/>
                  </a:cubicBezTo>
                  <a:cubicBezTo>
                    <a:pt x="913" y="759"/>
                    <a:pt x="916" y="757"/>
                    <a:pt x="918" y="756"/>
                  </a:cubicBezTo>
                  <a:cubicBezTo>
                    <a:pt x="954" y="741"/>
                    <a:pt x="954" y="741"/>
                    <a:pt x="954" y="741"/>
                  </a:cubicBezTo>
                  <a:cubicBezTo>
                    <a:pt x="941" y="753"/>
                    <a:pt x="941" y="753"/>
                    <a:pt x="941" y="753"/>
                  </a:cubicBezTo>
                  <a:cubicBezTo>
                    <a:pt x="941" y="755"/>
                    <a:pt x="941" y="755"/>
                    <a:pt x="941" y="755"/>
                  </a:cubicBezTo>
                  <a:cubicBezTo>
                    <a:pt x="941" y="756"/>
                    <a:pt x="941" y="757"/>
                    <a:pt x="940" y="758"/>
                  </a:cubicBezTo>
                  <a:cubicBezTo>
                    <a:pt x="940" y="758"/>
                    <a:pt x="940" y="758"/>
                    <a:pt x="940" y="758"/>
                  </a:cubicBezTo>
                  <a:cubicBezTo>
                    <a:pt x="940" y="759"/>
                    <a:pt x="940" y="759"/>
                    <a:pt x="940" y="759"/>
                  </a:cubicBezTo>
                  <a:cubicBezTo>
                    <a:pt x="940" y="759"/>
                    <a:pt x="939" y="759"/>
                    <a:pt x="939" y="759"/>
                  </a:cubicBezTo>
                  <a:cubicBezTo>
                    <a:pt x="939" y="759"/>
                    <a:pt x="939" y="759"/>
                    <a:pt x="939" y="759"/>
                  </a:cubicBezTo>
                  <a:cubicBezTo>
                    <a:pt x="939" y="759"/>
                    <a:pt x="938" y="760"/>
                    <a:pt x="938" y="760"/>
                  </a:cubicBezTo>
                  <a:cubicBezTo>
                    <a:pt x="938" y="760"/>
                    <a:pt x="938" y="760"/>
                    <a:pt x="937" y="760"/>
                  </a:cubicBezTo>
                  <a:cubicBezTo>
                    <a:pt x="938" y="761"/>
                    <a:pt x="939" y="762"/>
                    <a:pt x="940" y="762"/>
                  </a:cubicBezTo>
                  <a:cubicBezTo>
                    <a:pt x="944" y="766"/>
                    <a:pt x="944" y="766"/>
                    <a:pt x="944" y="766"/>
                  </a:cubicBezTo>
                  <a:cubicBezTo>
                    <a:pt x="955" y="774"/>
                    <a:pt x="955" y="774"/>
                    <a:pt x="955" y="774"/>
                  </a:cubicBezTo>
                  <a:cubicBezTo>
                    <a:pt x="958" y="776"/>
                    <a:pt x="961" y="779"/>
                    <a:pt x="962" y="781"/>
                  </a:cubicBezTo>
                  <a:cubicBezTo>
                    <a:pt x="971" y="793"/>
                    <a:pt x="971" y="793"/>
                    <a:pt x="971" y="793"/>
                  </a:cubicBezTo>
                  <a:cubicBezTo>
                    <a:pt x="974" y="798"/>
                    <a:pt x="974" y="798"/>
                    <a:pt x="974" y="798"/>
                  </a:cubicBezTo>
                  <a:cubicBezTo>
                    <a:pt x="979" y="805"/>
                    <a:pt x="984" y="813"/>
                    <a:pt x="988" y="819"/>
                  </a:cubicBezTo>
                  <a:cubicBezTo>
                    <a:pt x="992" y="826"/>
                    <a:pt x="996" y="833"/>
                    <a:pt x="1001" y="839"/>
                  </a:cubicBezTo>
                  <a:cubicBezTo>
                    <a:pt x="1002" y="841"/>
                    <a:pt x="1002" y="841"/>
                    <a:pt x="1002" y="841"/>
                  </a:cubicBezTo>
                  <a:cubicBezTo>
                    <a:pt x="1002" y="840"/>
                    <a:pt x="1003" y="840"/>
                    <a:pt x="1003" y="839"/>
                  </a:cubicBezTo>
                  <a:cubicBezTo>
                    <a:pt x="1003" y="839"/>
                    <a:pt x="1003" y="839"/>
                    <a:pt x="1003" y="839"/>
                  </a:cubicBezTo>
                  <a:cubicBezTo>
                    <a:pt x="1004" y="839"/>
                    <a:pt x="1005" y="839"/>
                    <a:pt x="1006" y="838"/>
                  </a:cubicBezTo>
                  <a:cubicBezTo>
                    <a:pt x="1006" y="838"/>
                    <a:pt x="1006" y="838"/>
                    <a:pt x="1006" y="838"/>
                  </a:cubicBezTo>
                  <a:cubicBezTo>
                    <a:pt x="1007" y="838"/>
                    <a:pt x="1007" y="838"/>
                    <a:pt x="1007" y="838"/>
                  </a:cubicBezTo>
                  <a:cubicBezTo>
                    <a:pt x="1006" y="837"/>
                    <a:pt x="1006" y="837"/>
                    <a:pt x="1006" y="837"/>
                  </a:cubicBezTo>
                  <a:cubicBezTo>
                    <a:pt x="1006" y="837"/>
                    <a:pt x="1006" y="837"/>
                    <a:pt x="1006" y="837"/>
                  </a:cubicBezTo>
                  <a:cubicBezTo>
                    <a:pt x="1006" y="837"/>
                    <a:pt x="1006" y="836"/>
                    <a:pt x="1006" y="836"/>
                  </a:cubicBezTo>
                  <a:cubicBezTo>
                    <a:pt x="1006" y="835"/>
                    <a:pt x="1006" y="835"/>
                    <a:pt x="1006" y="835"/>
                  </a:cubicBezTo>
                  <a:cubicBezTo>
                    <a:pt x="1006" y="835"/>
                    <a:pt x="1006" y="835"/>
                    <a:pt x="1006" y="835"/>
                  </a:cubicBezTo>
                  <a:cubicBezTo>
                    <a:pt x="1006" y="835"/>
                    <a:pt x="1006" y="835"/>
                    <a:pt x="1006" y="834"/>
                  </a:cubicBezTo>
                  <a:cubicBezTo>
                    <a:pt x="1006" y="834"/>
                    <a:pt x="1006" y="834"/>
                    <a:pt x="1006" y="834"/>
                  </a:cubicBezTo>
                  <a:cubicBezTo>
                    <a:pt x="1006" y="833"/>
                    <a:pt x="1006" y="833"/>
                    <a:pt x="1006" y="833"/>
                  </a:cubicBezTo>
                  <a:cubicBezTo>
                    <a:pt x="1006" y="832"/>
                    <a:pt x="1007" y="832"/>
                    <a:pt x="1007" y="832"/>
                  </a:cubicBezTo>
                  <a:cubicBezTo>
                    <a:pt x="1008" y="831"/>
                    <a:pt x="1008" y="831"/>
                    <a:pt x="1009" y="831"/>
                  </a:cubicBezTo>
                  <a:cubicBezTo>
                    <a:pt x="1010" y="831"/>
                    <a:pt x="1010" y="831"/>
                    <a:pt x="1010" y="831"/>
                  </a:cubicBezTo>
                  <a:cubicBezTo>
                    <a:pt x="1010" y="831"/>
                    <a:pt x="1010" y="831"/>
                    <a:pt x="1010" y="831"/>
                  </a:cubicBezTo>
                  <a:cubicBezTo>
                    <a:pt x="1010" y="831"/>
                    <a:pt x="1010" y="831"/>
                    <a:pt x="1010" y="831"/>
                  </a:cubicBezTo>
                  <a:cubicBezTo>
                    <a:pt x="1010" y="831"/>
                    <a:pt x="1010" y="831"/>
                    <a:pt x="1010" y="831"/>
                  </a:cubicBezTo>
                  <a:cubicBezTo>
                    <a:pt x="1011" y="830"/>
                    <a:pt x="1012" y="828"/>
                    <a:pt x="1014" y="829"/>
                  </a:cubicBezTo>
                  <a:cubicBezTo>
                    <a:pt x="1021" y="831"/>
                    <a:pt x="1021" y="831"/>
                    <a:pt x="1021" y="831"/>
                  </a:cubicBezTo>
                  <a:cubicBezTo>
                    <a:pt x="1024" y="832"/>
                    <a:pt x="1024" y="833"/>
                    <a:pt x="1024" y="834"/>
                  </a:cubicBezTo>
                  <a:cubicBezTo>
                    <a:pt x="1024" y="836"/>
                    <a:pt x="1024" y="836"/>
                    <a:pt x="1024" y="836"/>
                  </a:cubicBezTo>
                  <a:cubicBezTo>
                    <a:pt x="1024" y="836"/>
                    <a:pt x="1023" y="837"/>
                    <a:pt x="1023" y="837"/>
                  </a:cubicBezTo>
                  <a:cubicBezTo>
                    <a:pt x="1023" y="837"/>
                    <a:pt x="1023" y="837"/>
                    <a:pt x="1023" y="838"/>
                  </a:cubicBezTo>
                  <a:cubicBezTo>
                    <a:pt x="1023" y="838"/>
                    <a:pt x="1023" y="838"/>
                    <a:pt x="1023" y="838"/>
                  </a:cubicBezTo>
                  <a:cubicBezTo>
                    <a:pt x="1024" y="838"/>
                    <a:pt x="1024" y="838"/>
                    <a:pt x="1024" y="838"/>
                  </a:cubicBezTo>
                  <a:cubicBezTo>
                    <a:pt x="1024" y="839"/>
                    <a:pt x="1025" y="839"/>
                    <a:pt x="1026" y="840"/>
                  </a:cubicBezTo>
                  <a:cubicBezTo>
                    <a:pt x="1026" y="840"/>
                    <a:pt x="1026" y="840"/>
                    <a:pt x="1026" y="840"/>
                  </a:cubicBezTo>
                  <a:cubicBezTo>
                    <a:pt x="1027" y="841"/>
                    <a:pt x="1028" y="842"/>
                    <a:pt x="1028" y="843"/>
                  </a:cubicBezTo>
                  <a:cubicBezTo>
                    <a:pt x="1029" y="843"/>
                    <a:pt x="1029" y="843"/>
                    <a:pt x="1029" y="843"/>
                  </a:cubicBezTo>
                  <a:cubicBezTo>
                    <a:pt x="1030" y="843"/>
                    <a:pt x="1030" y="843"/>
                    <a:pt x="1030" y="843"/>
                  </a:cubicBezTo>
                  <a:cubicBezTo>
                    <a:pt x="1030" y="843"/>
                    <a:pt x="1030" y="843"/>
                    <a:pt x="1031" y="843"/>
                  </a:cubicBezTo>
                  <a:cubicBezTo>
                    <a:pt x="1031" y="843"/>
                    <a:pt x="1031" y="843"/>
                    <a:pt x="1031" y="843"/>
                  </a:cubicBezTo>
                  <a:cubicBezTo>
                    <a:pt x="1032" y="843"/>
                    <a:pt x="1032" y="843"/>
                    <a:pt x="1032" y="843"/>
                  </a:cubicBezTo>
                  <a:cubicBezTo>
                    <a:pt x="1032" y="843"/>
                    <a:pt x="1032" y="843"/>
                    <a:pt x="1032" y="843"/>
                  </a:cubicBezTo>
                  <a:cubicBezTo>
                    <a:pt x="1034" y="842"/>
                    <a:pt x="1035" y="842"/>
                    <a:pt x="1037" y="842"/>
                  </a:cubicBezTo>
                  <a:cubicBezTo>
                    <a:pt x="1047" y="843"/>
                    <a:pt x="1047" y="843"/>
                    <a:pt x="1047" y="843"/>
                  </a:cubicBezTo>
                  <a:cubicBezTo>
                    <a:pt x="1048" y="843"/>
                    <a:pt x="1048" y="843"/>
                    <a:pt x="1048" y="843"/>
                  </a:cubicBezTo>
                  <a:cubicBezTo>
                    <a:pt x="1048" y="843"/>
                    <a:pt x="1048" y="843"/>
                    <a:pt x="1049" y="842"/>
                  </a:cubicBezTo>
                  <a:cubicBezTo>
                    <a:pt x="1049" y="842"/>
                    <a:pt x="1049" y="842"/>
                    <a:pt x="1049" y="842"/>
                  </a:cubicBezTo>
                  <a:cubicBezTo>
                    <a:pt x="1050" y="842"/>
                    <a:pt x="1050" y="842"/>
                    <a:pt x="1050" y="842"/>
                  </a:cubicBezTo>
                  <a:cubicBezTo>
                    <a:pt x="1050" y="841"/>
                    <a:pt x="1050" y="841"/>
                    <a:pt x="1050" y="841"/>
                  </a:cubicBezTo>
                  <a:cubicBezTo>
                    <a:pt x="1050" y="840"/>
                    <a:pt x="1051" y="839"/>
                    <a:pt x="1052" y="839"/>
                  </a:cubicBezTo>
                  <a:cubicBezTo>
                    <a:pt x="1053" y="838"/>
                    <a:pt x="1053" y="838"/>
                    <a:pt x="1053" y="838"/>
                  </a:cubicBezTo>
                  <a:cubicBezTo>
                    <a:pt x="1059" y="837"/>
                    <a:pt x="1059" y="837"/>
                    <a:pt x="1059" y="837"/>
                  </a:cubicBezTo>
                  <a:cubicBezTo>
                    <a:pt x="1060" y="836"/>
                    <a:pt x="1060" y="836"/>
                    <a:pt x="1060" y="836"/>
                  </a:cubicBezTo>
                  <a:cubicBezTo>
                    <a:pt x="1061" y="836"/>
                    <a:pt x="1061" y="836"/>
                    <a:pt x="1061" y="836"/>
                  </a:cubicBezTo>
                  <a:cubicBezTo>
                    <a:pt x="1070" y="838"/>
                    <a:pt x="1070" y="838"/>
                    <a:pt x="1070" y="838"/>
                  </a:cubicBezTo>
                  <a:cubicBezTo>
                    <a:pt x="1070" y="839"/>
                    <a:pt x="1071" y="839"/>
                    <a:pt x="1072" y="839"/>
                  </a:cubicBezTo>
                  <a:cubicBezTo>
                    <a:pt x="1073" y="839"/>
                    <a:pt x="1074" y="840"/>
                    <a:pt x="1075" y="840"/>
                  </a:cubicBezTo>
                  <a:cubicBezTo>
                    <a:pt x="1075" y="840"/>
                    <a:pt x="1075" y="840"/>
                    <a:pt x="1075" y="840"/>
                  </a:cubicBezTo>
                  <a:cubicBezTo>
                    <a:pt x="1076" y="841"/>
                    <a:pt x="1076" y="841"/>
                    <a:pt x="1076" y="841"/>
                  </a:cubicBezTo>
                  <a:cubicBezTo>
                    <a:pt x="1077" y="843"/>
                    <a:pt x="1077" y="843"/>
                    <a:pt x="1077" y="843"/>
                  </a:cubicBezTo>
                  <a:cubicBezTo>
                    <a:pt x="1079" y="846"/>
                    <a:pt x="1079" y="846"/>
                    <a:pt x="1079" y="846"/>
                  </a:cubicBezTo>
                  <a:cubicBezTo>
                    <a:pt x="1080" y="847"/>
                    <a:pt x="1081" y="849"/>
                    <a:pt x="1082" y="850"/>
                  </a:cubicBezTo>
                  <a:cubicBezTo>
                    <a:pt x="1082" y="851"/>
                    <a:pt x="1082" y="851"/>
                    <a:pt x="1082" y="851"/>
                  </a:cubicBezTo>
                  <a:cubicBezTo>
                    <a:pt x="1082" y="852"/>
                    <a:pt x="1082" y="853"/>
                    <a:pt x="1083" y="853"/>
                  </a:cubicBezTo>
                  <a:cubicBezTo>
                    <a:pt x="1083" y="854"/>
                    <a:pt x="1083" y="854"/>
                    <a:pt x="1083" y="854"/>
                  </a:cubicBezTo>
                  <a:cubicBezTo>
                    <a:pt x="1083" y="854"/>
                    <a:pt x="1083" y="854"/>
                    <a:pt x="1083" y="855"/>
                  </a:cubicBezTo>
                  <a:cubicBezTo>
                    <a:pt x="1083" y="855"/>
                    <a:pt x="1083" y="855"/>
                    <a:pt x="1083" y="855"/>
                  </a:cubicBezTo>
                  <a:cubicBezTo>
                    <a:pt x="1085" y="855"/>
                    <a:pt x="1085" y="855"/>
                    <a:pt x="1085" y="855"/>
                  </a:cubicBezTo>
                  <a:cubicBezTo>
                    <a:pt x="1086" y="855"/>
                    <a:pt x="1086" y="855"/>
                    <a:pt x="1086" y="855"/>
                  </a:cubicBezTo>
                  <a:cubicBezTo>
                    <a:pt x="1098" y="862"/>
                    <a:pt x="1098" y="862"/>
                    <a:pt x="1098" y="862"/>
                  </a:cubicBezTo>
                  <a:cubicBezTo>
                    <a:pt x="1098" y="863"/>
                    <a:pt x="1098" y="863"/>
                    <a:pt x="1098" y="863"/>
                  </a:cubicBezTo>
                  <a:cubicBezTo>
                    <a:pt x="1098" y="863"/>
                    <a:pt x="1098" y="863"/>
                    <a:pt x="1098" y="863"/>
                  </a:cubicBezTo>
                  <a:cubicBezTo>
                    <a:pt x="1102" y="863"/>
                    <a:pt x="1102" y="863"/>
                    <a:pt x="1102" y="863"/>
                  </a:cubicBezTo>
                  <a:cubicBezTo>
                    <a:pt x="1098" y="864"/>
                    <a:pt x="1098" y="864"/>
                    <a:pt x="1098" y="864"/>
                  </a:cubicBezTo>
                  <a:cubicBezTo>
                    <a:pt x="1098" y="864"/>
                    <a:pt x="1098" y="865"/>
                    <a:pt x="1098" y="865"/>
                  </a:cubicBezTo>
                  <a:cubicBezTo>
                    <a:pt x="1098" y="865"/>
                    <a:pt x="1098" y="865"/>
                    <a:pt x="1098" y="865"/>
                  </a:cubicBezTo>
                  <a:cubicBezTo>
                    <a:pt x="1098" y="865"/>
                    <a:pt x="1098" y="865"/>
                    <a:pt x="1099" y="866"/>
                  </a:cubicBezTo>
                  <a:cubicBezTo>
                    <a:pt x="1099" y="867"/>
                    <a:pt x="1099" y="867"/>
                    <a:pt x="1099" y="867"/>
                  </a:cubicBezTo>
                  <a:cubicBezTo>
                    <a:pt x="1099" y="867"/>
                    <a:pt x="1099" y="867"/>
                    <a:pt x="1099" y="867"/>
                  </a:cubicBezTo>
                  <a:cubicBezTo>
                    <a:pt x="1100" y="868"/>
                    <a:pt x="1100" y="868"/>
                    <a:pt x="1100" y="868"/>
                  </a:cubicBezTo>
                  <a:cubicBezTo>
                    <a:pt x="1100" y="868"/>
                    <a:pt x="1100" y="868"/>
                    <a:pt x="1100" y="868"/>
                  </a:cubicBezTo>
                  <a:cubicBezTo>
                    <a:pt x="1100" y="868"/>
                    <a:pt x="1100" y="868"/>
                    <a:pt x="1100" y="868"/>
                  </a:cubicBezTo>
                  <a:cubicBezTo>
                    <a:pt x="1100" y="869"/>
                    <a:pt x="1101" y="869"/>
                    <a:pt x="1101" y="870"/>
                  </a:cubicBezTo>
                  <a:cubicBezTo>
                    <a:pt x="1101" y="871"/>
                    <a:pt x="1101" y="871"/>
                    <a:pt x="1101" y="871"/>
                  </a:cubicBezTo>
                  <a:cubicBezTo>
                    <a:pt x="1101" y="871"/>
                    <a:pt x="1101" y="871"/>
                    <a:pt x="1101" y="871"/>
                  </a:cubicBezTo>
                  <a:cubicBezTo>
                    <a:pt x="1104" y="870"/>
                    <a:pt x="1104" y="870"/>
                    <a:pt x="1104" y="870"/>
                  </a:cubicBezTo>
                  <a:cubicBezTo>
                    <a:pt x="1103" y="872"/>
                    <a:pt x="1103" y="872"/>
                    <a:pt x="1103" y="872"/>
                  </a:cubicBezTo>
                  <a:cubicBezTo>
                    <a:pt x="1111" y="873"/>
                    <a:pt x="1111" y="873"/>
                    <a:pt x="1111" y="873"/>
                  </a:cubicBezTo>
                  <a:cubicBezTo>
                    <a:pt x="1112" y="872"/>
                    <a:pt x="1112" y="872"/>
                    <a:pt x="1112" y="872"/>
                  </a:cubicBezTo>
                  <a:cubicBezTo>
                    <a:pt x="1117" y="873"/>
                    <a:pt x="1117" y="873"/>
                    <a:pt x="1117" y="873"/>
                  </a:cubicBezTo>
                  <a:cubicBezTo>
                    <a:pt x="1116" y="874"/>
                    <a:pt x="1116" y="874"/>
                    <a:pt x="1116" y="874"/>
                  </a:cubicBezTo>
                  <a:cubicBezTo>
                    <a:pt x="1117" y="874"/>
                    <a:pt x="1117" y="874"/>
                    <a:pt x="1117" y="874"/>
                  </a:cubicBezTo>
                  <a:cubicBezTo>
                    <a:pt x="1119" y="872"/>
                    <a:pt x="1119" y="872"/>
                    <a:pt x="1119" y="872"/>
                  </a:cubicBezTo>
                  <a:cubicBezTo>
                    <a:pt x="1120" y="871"/>
                    <a:pt x="1121" y="870"/>
                    <a:pt x="1123" y="869"/>
                  </a:cubicBezTo>
                  <a:cubicBezTo>
                    <a:pt x="1128" y="863"/>
                    <a:pt x="1128" y="863"/>
                    <a:pt x="1128" y="863"/>
                  </a:cubicBezTo>
                  <a:cubicBezTo>
                    <a:pt x="1129" y="869"/>
                    <a:pt x="1129" y="869"/>
                    <a:pt x="1129" y="869"/>
                  </a:cubicBezTo>
                  <a:cubicBezTo>
                    <a:pt x="1129" y="869"/>
                    <a:pt x="1128" y="870"/>
                    <a:pt x="1128" y="871"/>
                  </a:cubicBezTo>
                  <a:cubicBezTo>
                    <a:pt x="1128" y="871"/>
                    <a:pt x="1128" y="872"/>
                    <a:pt x="1128" y="873"/>
                  </a:cubicBezTo>
                  <a:cubicBezTo>
                    <a:pt x="1128" y="873"/>
                    <a:pt x="1128" y="873"/>
                    <a:pt x="1128" y="873"/>
                  </a:cubicBezTo>
                  <a:cubicBezTo>
                    <a:pt x="1129" y="874"/>
                    <a:pt x="1129" y="874"/>
                    <a:pt x="1129" y="874"/>
                  </a:cubicBezTo>
                  <a:cubicBezTo>
                    <a:pt x="1132" y="876"/>
                    <a:pt x="1135" y="879"/>
                    <a:pt x="1138" y="882"/>
                  </a:cubicBezTo>
                  <a:cubicBezTo>
                    <a:pt x="1140" y="883"/>
                    <a:pt x="1140" y="883"/>
                    <a:pt x="1140" y="883"/>
                  </a:cubicBezTo>
                  <a:cubicBezTo>
                    <a:pt x="1141" y="883"/>
                    <a:pt x="1143" y="883"/>
                    <a:pt x="1143" y="883"/>
                  </a:cubicBezTo>
                  <a:cubicBezTo>
                    <a:pt x="1144" y="883"/>
                    <a:pt x="1145" y="883"/>
                    <a:pt x="1146" y="882"/>
                  </a:cubicBezTo>
                  <a:cubicBezTo>
                    <a:pt x="1146" y="882"/>
                    <a:pt x="1146" y="882"/>
                    <a:pt x="1146" y="882"/>
                  </a:cubicBezTo>
                  <a:cubicBezTo>
                    <a:pt x="1148" y="882"/>
                    <a:pt x="1148" y="882"/>
                    <a:pt x="1148" y="882"/>
                  </a:cubicBezTo>
                  <a:cubicBezTo>
                    <a:pt x="1154" y="880"/>
                    <a:pt x="1154" y="880"/>
                    <a:pt x="1154" y="880"/>
                  </a:cubicBezTo>
                  <a:cubicBezTo>
                    <a:pt x="1154" y="879"/>
                    <a:pt x="1154" y="879"/>
                    <a:pt x="1154" y="879"/>
                  </a:cubicBezTo>
                  <a:cubicBezTo>
                    <a:pt x="1154" y="877"/>
                    <a:pt x="1154" y="877"/>
                    <a:pt x="1154" y="877"/>
                  </a:cubicBezTo>
                  <a:cubicBezTo>
                    <a:pt x="1155" y="876"/>
                    <a:pt x="1155" y="876"/>
                    <a:pt x="1155" y="875"/>
                  </a:cubicBezTo>
                  <a:cubicBezTo>
                    <a:pt x="1156" y="875"/>
                    <a:pt x="1156" y="875"/>
                    <a:pt x="1156" y="875"/>
                  </a:cubicBezTo>
                  <a:cubicBezTo>
                    <a:pt x="1156" y="875"/>
                    <a:pt x="1156" y="875"/>
                    <a:pt x="1156" y="875"/>
                  </a:cubicBezTo>
                  <a:cubicBezTo>
                    <a:pt x="1157" y="874"/>
                    <a:pt x="1157" y="874"/>
                    <a:pt x="1157" y="874"/>
                  </a:cubicBezTo>
                  <a:cubicBezTo>
                    <a:pt x="1157" y="875"/>
                    <a:pt x="1157" y="875"/>
                    <a:pt x="1157" y="875"/>
                  </a:cubicBezTo>
                  <a:cubicBezTo>
                    <a:pt x="1157" y="875"/>
                    <a:pt x="1157" y="875"/>
                    <a:pt x="1157" y="874"/>
                  </a:cubicBezTo>
                  <a:cubicBezTo>
                    <a:pt x="1158" y="874"/>
                    <a:pt x="1158" y="874"/>
                    <a:pt x="1159" y="874"/>
                  </a:cubicBezTo>
                  <a:cubicBezTo>
                    <a:pt x="1159" y="874"/>
                    <a:pt x="1159" y="874"/>
                    <a:pt x="1159" y="874"/>
                  </a:cubicBezTo>
                  <a:cubicBezTo>
                    <a:pt x="1159" y="874"/>
                    <a:pt x="1159" y="874"/>
                    <a:pt x="1159" y="874"/>
                  </a:cubicBezTo>
                  <a:cubicBezTo>
                    <a:pt x="1159" y="874"/>
                    <a:pt x="1159" y="874"/>
                    <a:pt x="1159" y="874"/>
                  </a:cubicBezTo>
                  <a:cubicBezTo>
                    <a:pt x="1160" y="874"/>
                    <a:pt x="1160" y="874"/>
                    <a:pt x="1160" y="874"/>
                  </a:cubicBezTo>
                  <a:cubicBezTo>
                    <a:pt x="1161" y="874"/>
                    <a:pt x="1161" y="874"/>
                    <a:pt x="1161" y="874"/>
                  </a:cubicBezTo>
                  <a:cubicBezTo>
                    <a:pt x="1162" y="874"/>
                    <a:pt x="1163" y="874"/>
                    <a:pt x="1163" y="874"/>
                  </a:cubicBezTo>
                  <a:cubicBezTo>
                    <a:pt x="1164" y="874"/>
                    <a:pt x="1165" y="874"/>
                    <a:pt x="1166" y="874"/>
                  </a:cubicBezTo>
                  <a:cubicBezTo>
                    <a:pt x="1170" y="873"/>
                    <a:pt x="1170" y="873"/>
                    <a:pt x="1170" y="873"/>
                  </a:cubicBezTo>
                  <a:cubicBezTo>
                    <a:pt x="1174" y="873"/>
                    <a:pt x="1177" y="872"/>
                    <a:pt x="1181" y="870"/>
                  </a:cubicBezTo>
                  <a:cubicBezTo>
                    <a:pt x="1182" y="870"/>
                    <a:pt x="1182" y="870"/>
                    <a:pt x="1182" y="870"/>
                  </a:cubicBezTo>
                  <a:cubicBezTo>
                    <a:pt x="1182" y="870"/>
                    <a:pt x="1182" y="870"/>
                    <a:pt x="1182" y="870"/>
                  </a:cubicBezTo>
                  <a:cubicBezTo>
                    <a:pt x="1182" y="870"/>
                    <a:pt x="1182" y="870"/>
                    <a:pt x="1182" y="870"/>
                  </a:cubicBezTo>
                  <a:cubicBezTo>
                    <a:pt x="1182" y="869"/>
                    <a:pt x="1182" y="869"/>
                    <a:pt x="1182" y="869"/>
                  </a:cubicBezTo>
                  <a:cubicBezTo>
                    <a:pt x="1182" y="869"/>
                    <a:pt x="1182" y="869"/>
                    <a:pt x="1182" y="869"/>
                  </a:cubicBezTo>
                  <a:cubicBezTo>
                    <a:pt x="1181" y="866"/>
                    <a:pt x="1181" y="866"/>
                    <a:pt x="1181" y="866"/>
                  </a:cubicBezTo>
                  <a:cubicBezTo>
                    <a:pt x="1178" y="859"/>
                    <a:pt x="1178" y="859"/>
                    <a:pt x="1178" y="859"/>
                  </a:cubicBezTo>
                  <a:cubicBezTo>
                    <a:pt x="1184" y="863"/>
                    <a:pt x="1184" y="863"/>
                    <a:pt x="1184" y="863"/>
                  </a:cubicBezTo>
                  <a:cubicBezTo>
                    <a:pt x="1185" y="863"/>
                    <a:pt x="1187" y="863"/>
                    <a:pt x="1188" y="862"/>
                  </a:cubicBezTo>
                  <a:cubicBezTo>
                    <a:pt x="1188" y="862"/>
                    <a:pt x="1189" y="862"/>
                    <a:pt x="1189" y="862"/>
                  </a:cubicBezTo>
                  <a:cubicBezTo>
                    <a:pt x="1190" y="861"/>
                    <a:pt x="1190" y="861"/>
                    <a:pt x="1191" y="861"/>
                  </a:cubicBezTo>
                  <a:cubicBezTo>
                    <a:pt x="1192" y="861"/>
                    <a:pt x="1192" y="861"/>
                    <a:pt x="1192" y="861"/>
                  </a:cubicBezTo>
                  <a:cubicBezTo>
                    <a:pt x="1191" y="860"/>
                    <a:pt x="1191" y="860"/>
                    <a:pt x="1191" y="860"/>
                  </a:cubicBezTo>
                  <a:cubicBezTo>
                    <a:pt x="1192" y="859"/>
                    <a:pt x="1192" y="859"/>
                    <a:pt x="1192" y="859"/>
                  </a:cubicBezTo>
                  <a:cubicBezTo>
                    <a:pt x="1193" y="860"/>
                    <a:pt x="1193" y="860"/>
                    <a:pt x="1193" y="860"/>
                  </a:cubicBezTo>
                  <a:cubicBezTo>
                    <a:pt x="1194" y="859"/>
                    <a:pt x="1194" y="859"/>
                    <a:pt x="1194" y="859"/>
                  </a:cubicBezTo>
                  <a:cubicBezTo>
                    <a:pt x="1195" y="859"/>
                    <a:pt x="1195" y="858"/>
                    <a:pt x="1196" y="858"/>
                  </a:cubicBezTo>
                  <a:cubicBezTo>
                    <a:pt x="1199" y="856"/>
                    <a:pt x="1203" y="854"/>
                    <a:pt x="1206" y="852"/>
                  </a:cubicBezTo>
                  <a:cubicBezTo>
                    <a:pt x="1213" y="849"/>
                    <a:pt x="1213" y="849"/>
                    <a:pt x="1213" y="849"/>
                  </a:cubicBezTo>
                  <a:cubicBezTo>
                    <a:pt x="1215" y="848"/>
                    <a:pt x="1217" y="847"/>
                    <a:pt x="1219" y="847"/>
                  </a:cubicBezTo>
                  <a:cubicBezTo>
                    <a:pt x="1221" y="845"/>
                    <a:pt x="1221" y="845"/>
                    <a:pt x="1221" y="845"/>
                  </a:cubicBezTo>
                  <a:cubicBezTo>
                    <a:pt x="1223" y="844"/>
                    <a:pt x="1225" y="844"/>
                    <a:pt x="1227" y="844"/>
                  </a:cubicBezTo>
                  <a:cubicBezTo>
                    <a:pt x="1228" y="844"/>
                    <a:pt x="1228" y="844"/>
                    <a:pt x="1228" y="844"/>
                  </a:cubicBezTo>
                  <a:cubicBezTo>
                    <a:pt x="1229" y="844"/>
                    <a:pt x="1230" y="844"/>
                    <a:pt x="1230" y="844"/>
                  </a:cubicBezTo>
                  <a:cubicBezTo>
                    <a:pt x="1231" y="844"/>
                    <a:pt x="1231" y="844"/>
                    <a:pt x="1232" y="844"/>
                  </a:cubicBezTo>
                  <a:cubicBezTo>
                    <a:pt x="1232" y="844"/>
                    <a:pt x="1232" y="843"/>
                    <a:pt x="1232" y="843"/>
                  </a:cubicBezTo>
                  <a:cubicBezTo>
                    <a:pt x="1233" y="842"/>
                    <a:pt x="1233" y="842"/>
                    <a:pt x="1233" y="841"/>
                  </a:cubicBezTo>
                  <a:cubicBezTo>
                    <a:pt x="1234" y="840"/>
                    <a:pt x="1235" y="840"/>
                    <a:pt x="1236" y="840"/>
                  </a:cubicBezTo>
                  <a:cubicBezTo>
                    <a:pt x="1237" y="839"/>
                    <a:pt x="1238" y="840"/>
                    <a:pt x="1238" y="841"/>
                  </a:cubicBezTo>
                  <a:cubicBezTo>
                    <a:pt x="1239" y="841"/>
                    <a:pt x="1239" y="841"/>
                    <a:pt x="1239" y="841"/>
                  </a:cubicBezTo>
                  <a:cubicBezTo>
                    <a:pt x="1239" y="841"/>
                    <a:pt x="1240" y="841"/>
                    <a:pt x="1240" y="841"/>
                  </a:cubicBezTo>
                  <a:cubicBezTo>
                    <a:pt x="1241" y="841"/>
                    <a:pt x="1241" y="841"/>
                    <a:pt x="1241" y="841"/>
                  </a:cubicBezTo>
                  <a:cubicBezTo>
                    <a:pt x="1242" y="841"/>
                    <a:pt x="1243" y="841"/>
                    <a:pt x="1243" y="841"/>
                  </a:cubicBezTo>
                  <a:cubicBezTo>
                    <a:pt x="1244" y="841"/>
                    <a:pt x="1244" y="841"/>
                    <a:pt x="1244" y="841"/>
                  </a:cubicBezTo>
                  <a:cubicBezTo>
                    <a:pt x="1244" y="841"/>
                    <a:pt x="1245" y="841"/>
                    <a:pt x="1245" y="841"/>
                  </a:cubicBezTo>
                  <a:cubicBezTo>
                    <a:pt x="1246" y="841"/>
                    <a:pt x="1246" y="841"/>
                    <a:pt x="1246" y="841"/>
                  </a:cubicBezTo>
                  <a:cubicBezTo>
                    <a:pt x="1247" y="841"/>
                    <a:pt x="1248" y="842"/>
                    <a:pt x="1248" y="842"/>
                  </a:cubicBezTo>
                  <a:cubicBezTo>
                    <a:pt x="1249" y="843"/>
                    <a:pt x="1249" y="843"/>
                    <a:pt x="1250" y="843"/>
                  </a:cubicBezTo>
                  <a:cubicBezTo>
                    <a:pt x="1251" y="844"/>
                    <a:pt x="1251" y="844"/>
                    <a:pt x="1252" y="844"/>
                  </a:cubicBezTo>
                  <a:cubicBezTo>
                    <a:pt x="1253" y="845"/>
                    <a:pt x="1253" y="845"/>
                    <a:pt x="1254" y="845"/>
                  </a:cubicBezTo>
                  <a:cubicBezTo>
                    <a:pt x="1254" y="845"/>
                    <a:pt x="1254" y="845"/>
                    <a:pt x="1254" y="845"/>
                  </a:cubicBezTo>
                  <a:cubicBezTo>
                    <a:pt x="1255" y="845"/>
                    <a:pt x="1255" y="845"/>
                    <a:pt x="1255" y="845"/>
                  </a:cubicBezTo>
                  <a:cubicBezTo>
                    <a:pt x="1257" y="846"/>
                    <a:pt x="1259" y="846"/>
                    <a:pt x="1261" y="846"/>
                  </a:cubicBezTo>
                  <a:cubicBezTo>
                    <a:pt x="1269" y="847"/>
                    <a:pt x="1269" y="847"/>
                    <a:pt x="1269" y="847"/>
                  </a:cubicBezTo>
                  <a:cubicBezTo>
                    <a:pt x="1271" y="847"/>
                    <a:pt x="1271" y="847"/>
                    <a:pt x="1272" y="847"/>
                  </a:cubicBezTo>
                  <a:cubicBezTo>
                    <a:pt x="1273" y="848"/>
                    <a:pt x="1274" y="848"/>
                    <a:pt x="1275" y="850"/>
                  </a:cubicBezTo>
                  <a:cubicBezTo>
                    <a:pt x="1275" y="851"/>
                    <a:pt x="1276" y="853"/>
                    <a:pt x="1277" y="855"/>
                  </a:cubicBezTo>
                  <a:cubicBezTo>
                    <a:pt x="1277" y="855"/>
                    <a:pt x="1277" y="855"/>
                    <a:pt x="1277" y="855"/>
                  </a:cubicBezTo>
                  <a:cubicBezTo>
                    <a:pt x="1277" y="856"/>
                    <a:pt x="1278" y="857"/>
                    <a:pt x="1278" y="858"/>
                  </a:cubicBezTo>
                  <a:cubicBezTo>
                    <a:pt x="1278" y="859"/>
                    <a:pt x="1278" y="859"/>
                    <a:pt x="1278" y="859"/>
                  </a:cubicBezTo>
                  <a:cubicBezTo>
                    <a:pt x="1279" y="861"/>
                    <a:pt x="1279" y="861"/>
                    <a:pt x="1282" y="861"/>
                  </a:cubicBezTo>
                  <a:cubicBezTo>
                    <a:pt x="1293" y="863"/>
                    <a:pt x="1293" y="863"/>
                    <a:pt x="1293" y="863"/>
                  </a:cubicBezTo>
                  <a:cubicBezTo>
                    <a:pt x="1293" y="863"/>
                    <a:pt x="1294" y="863"/>
                    <a:pt x="1294" y="863"/>
                  </a:cubicBezTo>
                  <a:cubicBezTo>
                    <a:pt x="1295" y="863"/>
                    <a:pt x="1295" y="863"/>
                    <a:pt x="1295" y="863"/>
                  </a:cubicBezTo>
                  <a:cubicBezTo>
                    <a:pt x="1295" y="863"/>
                    <a:pt x="1296" y="863"/>
                    <a:pt x="1296" y="863"/>
                  </a:cubicBezTo>
                  <a:cubicBezTo>
                    <a:pt x="1296" y="863"/>
                    <a:pt x="1296" y="863"/>
                    <a:pt x="1296" y="863"/>
                  </a:cubicBezTo>
                  <a:cubicBezTo>
                    <a:pt x="1297" y="863"/>
                    <a:pt x="1297" y="863"/>
                    <a:pt x="1297" y="863"/>
                  </a:cubicBezTo>
                  <a:cubicBezTo>
                    <a:pt x="1299" y="862"/>
                    <a:pt x="1301" y="861"/>
                    <a:pt x="1303" y="861"/>
                  </a:cubicBezTo>
                  <a:cubicBezTo>
                    <a:pt x="1303" y="861"/>
                    <a:pt x="1303" y="861"/>
                    <a:pt x="1303" y="861"/>
                  </a:cubicBezTo>
                  <a:cubicBezTo>
                    <a:pt x="1304" y="861"/>
                    <a:pt x="1304" y="861"/>
                    <a:pt x="1304" y="861"/>
                  </a:cubicBezTo>
                  <a:cubicBezTo>
                    <a:pt x="1304" y="861"/>
                    <a:pt x="1305" y="861"/>
                    <a:pt x="1305" y="861"/>
                  </a:cubicBezTo>
                  <a:cubicBezTo>
                    <a:pt x="1306" y="861"/>
                    <a:pt x="1306" y="861"/>
                    <a:pt x="1307" y="861"/>
                  </a:cubicBezTo>
                  <a:cubicBezTo>
                    <a:pt x="1309" y="862"/>
                    <a:pt x="1310" y="862"/>
                    <a:pt x="1311" y="862"/>
                  </a:cubicBezTo>
                  <a:cubicBezTo>
                    <a:pt x="1311" y="862"/>
                    <a:pt x="1311" y="862"/>
                    <a:pt x="1311" y="862"/>
                  </a:cubicBezTo>
                  <a:cubicBezTo>
                    <a:pt x="1313" y="863"/>
                    <a:pt x="1314" y="863"/>
                    <a:pt x="1315" y="863"/>
                  </a:cubicBezTo>
                  <a:cubicBezTo>
                    <a:pt x="1315" y="864"/>
                    <a:pt x="1316" y="864"/>
                    <a:pt x="1316" y="864"/>
                  </a:cubicBezTo>
                  <a:cubicBezTo>
                    <a:pt x="1319" y="864"/>
                    <a:pt x="1319" y="864"/>
                    <a:pt x="1319" y="864"/>
                  </a:cubicBezTo>
                  <a:cubicBezTo>
                    <a:pt x="1321" y="865"/>
                    <a:pt x="1322" y="865"/>
                    <a:pt x="1324" y="865"/>
                  </a:cubicBezTo>
                  <a:cubicBezTo>
                    <a:pt x="1325" y="866"/>
                    <a:pt x="1326" y="866"/>
                    <a:pt x="1327" y="866"/>
                  </a:cubicBezTo>
                  <a:cubicBezTo>
                    <a:pt x="1327" y="867"/>
                    <a:pt x="1327" y="867"/>
                    <a:pt x="1327" y="867"/>
                  </a:cubicBezTo>
                  <a:cubicBezTo>
                    <a:pt x="1329" y="867"/>
                    <a:pt x="1330" y="868"/>
                    <a:pt x="1331" y="867"/>
                  </a:cubicBezTo>
                  <a:cubicBezTo>
                    <a:pt x="1331" y="867"/>
                    <a:pt x="1332" y="867"/>
                    <a:pt x="1332" y="866"/>
                  </a:cubicBezTo>
                  <a:cubicBezTo>
                    <a:pt x="1333" y="865"/>
                    <a:pt x="1333" y="865"/>
                    <a:pt x="1333" y="865"/>
                  </a:cubicBezTo>
                  <a:cubicBezTo>
                    <a:pt x="1333" y="864"/>
                    <a:pt x="1334" y="864"/>
                    <a:pt x="1334" y="864"/>
                  </a:cubicBezTo>
                  <a:cubicBezTo>
                    <a:pt x="1334" y="864"/>
                    <a:pt x="1335" y="863"/>
                    <a:pt x="1335" y="863"/>
                  </a:cubicBezTo>
                  <a:cubicBezTo>
                    <a:pt x="1335" y="863"/>
                    <a:pt x="1335" y="863"/>
                    <a:pt x="1336" y="863"/>
                  </a:cubicBezTo>
                  <a:cubicBezTo>
                    <a:pt x="1336" y="863"/>
                    <a:pt x="1336" y="863"/>
                    <a:pt x="1336" y="863"/>
                  </a:cubicBezTo>
                  <a:cubicBezTo>
                    <a:pt x="1337" y="863"/>
                    <a:pt x="1337" y="862"/>
                    <a:pt x="1337" y="862"/>
                  </a:cubicBezTo>
                  <a:cubicBezTo>
                    <a:pt x="1338" y="862"/>
                    <a:pt x="1339" y="862"/>
                    <a:pt x="1339" y="862"/>
                  </a:cubicBezTo>
                  <a:cubicBezTo>
                    <a:pt x="1342" y="861"/>
                    <a:pt x="1343" y="861"/>
                    <a:pt x="1344" y="860"/>
                  </a:cubicBezTo>
                  <a:cubicBezTo>
                    <a:pt x="1345" y="856"/>
                    <a:pt x="1345" y="856"/>
                    <a:pt x="1345" y="856"/>
                  </a:cubicBezTo>
                  <a:cubicBezTo>
                    <a:pt x="1345" y="855"/>
                    <a:pt x="1345" y="855"/>
                    <a:pt x="1345" y="854"/>
                  </a:cubicBezTo>
                  <a:cubicBezTo>
                    <a:pt x="1346" y="852"/>
                    <a:pt x="1346" y="852"/>
                    <a:pt x="1346" y="852"/>
                  </a:cubicBezTo>
                  <a:cubicBezTo>
                    <a:pt x="1346" y="852"/>
                    <a:pt x="1346" y="852"/>
                    <a:pt x="1346" y="852"/>
                  </a:cubicBezTo>
                  <a:cubicBezTo>
                    <a:pt x="1346" y="852"/>
                    <a:pt x="1346" y="852"/>
                    <a:pt x="1346" y="852"/>
                  </a:cubicBezTo>
                  <a:cubicBezTo>
                    <a:pt x="1345" y="851"/>
                    <a:pt x="1344" y="851"/>
                    <a:pt x="1343" y="850"/>
                  </a:cubicBezTo>
                  <a:cubicBezTo>
                    <a:pt x="1342" y="849"/>
                    <a:pt x="1341" y="847"/>
                    <a:pt x="1340" y="845"/>
                  </a:cubicBezTo>
                  <a:cubicBezTo>
                    <a:pt x="1339" y="842"/>
                    <a:pt x="1338" y="840"/>
                    <a:pt x="1339" y="838"/>
                  </a:cubicBezTo>
                  <a:cubicBezTo>
                    <a:pt x="1339" y="837"/>
                    <a:pt x="1339" y="837"/>
                    <a:pt x="1339" y="837"/>
                  </a:cubicBezTo>
                  <a:cubicBezTo>
                    <a:pt x="1339" y="836"/>
                    <a:pt x="1339" y="836"/>
                    <a:pt x="1339" y="835"/>
                  </a:cubicBezTo>
                  <a:cubicBezTo>
                    <a:pt x="1339" y="834"/>
                    <a:pt x="1339" y="834"/>
                    <a:pt x="1339" y="833"/>
                  </a:cubicBezTo>
                  <a:cubicBezTo>
                    <a:pt x="1339" y="833"/>
                    <a:pt x="1339" y="833"/>
                    <a:pt x="1340" y="832"/>
                  </a:cubicBezTo>
                  <a:cubicBezTo>
                    <a:pt x="1340" y="832"/>
                    <a:pt x="1340" y="832"/>
                    <a:pt x="1340" y="832"/>
                  </a:cubicBezTo>
                  <a:cubicBezTo>
                    <a:pt x="1340" y="830"/>
                    <a:pt x="1341" y="828"/>
                    <a:pt x="1342" y="827"/>
                  </a:cubicBezTo>
                  <a:cubicBezTo>
                    <a:pt x="1342" y="826"/>
                    <a:pt x="1342" y="826"/>
                    <a:pt x="1342" y="826"/>
                  </a:cubicBezTo>
                  <a:cubicBezTo>
                    <a:pt x="1343" y="825"/>
                    <a:pt x="1344" y="824"/>
                    <a:pt x="1345" y="824"/>
                  </a:cubicBezTo>
                  <a:cubicBezTo>
                    <a:pt x="1345" y="824"/>
                    <a:pt x="1345" y="824"/>
                    <a:pt x="1346" y="824"/>
                  </a:cubicBezTo>
                  <a:cubicBezTo>
                    <a:pt x="1346" y="824"/>
                    <a:pt x="1346" y="824"/>
                    <a:pt x="1346" y="824"/>
                  </a:cubicBezTo>
                  <a:cubicBezTo>
                    <a:pt x="1346" y="823"/>
                    <a:pt x="1346" y="822"/>
                    <a:pt x="1346" y="821"/>
                  </a:cubicBezTo>
                  <a:cubicBezTo>
                    <a:pt x="1346" y="821"/>
                    <a:pt x="1347" y="820"/>
                    <a:pt x="1347" y="820"/>
                  </a:cubicBezTo>
                  <a:cubicBezTo>
                    <a:pt x="1347" y="820"/>
                    <a:pt x="1347" y="819"/>
                    <a:pt x="1347" y="819"/>
                  </a:cubicBezTo>
                  <a:cubicBezTo>
                    <a:pt x="1348" y="819"/>
                    <a:pt x="1348" y="819"/>
                    <a:pt x="1348" y="819"/>
                  </a:cubicBezTo>
                  <a:cubicBezTo>
                    <a:pt x="1348" y="819"/>
                    <a:pt x="1348" y="819"/>
                    <a:pt x="1348" y="818"/>
                  </a:cubicBezTo>
                  <a:cubicBezTo>
                    <a:pt x="1348" y="818"/>
                    <a:pt x="1349" y="818"/>
                    <a:pt x="1349" y="817"/>
                  </a:cubicBezTo>
                  <a:cubicBezTo>
                    <a:pt x="1350" y="817"/>
                    <a:pt x="1350" y="817"/>
                    <a:pt x="1350" y="817"/>
                  </a:cubicBezTo>
                  <a:cubicBezTo>
                    <a:pt x="1351" y="815"/>
                    <a:pt x="1353" y="814"/>
                    <a:pt x="1355" y="812"/>
                  </a:cubicBezTo>
                  <a:cubicBezTo>
                    <a:pt x="1360" y="807"/>
                    <a:pt x="1360" y="807"/>
                    <a:pt x="1360" y="807"/>
                  </a:cubicBezTo>
                  <a:cubicBezTo>
                    <a:pt x="1363" y="808"/>
                    <a:pt x="1363" y="808"/>
                    <a:pt x="1363" y="808"/>
                  </a:cubicBezTo>
                  <a:cubicBezTo>
                    <a:pt x="1365" y="805"/>
                    <a:pt x="1365" y="805"/>
                    <a:pt x="1365" y="805"/>
                  </a:cubicBezTo>
                  <a:cubicBezTo>
                    <a:pt x="1364" y="809"/>
                    <a:pt x="1364" y="809"/>
                    <a:pt x="1364" y="809"/>
                  </a:cubicBezTo>
                  <a:cubicBezTo>
                    <a:pt x="1375" y="814"/>
                    <a:pt x="1375" y="814"/>
                    <a:pt x="1375" y="814"/>
                  </a:cubicBezTo>
                  <a:cubicBezTo>
                    <a:pt x="1380" y="817"/>
                    <a:pt x="1383" y="817"/>
                    <a:pt x="1389" y="818"/>
                  </a:cubicBezTo>
                  <a:cubicBezTo>
                    <a:pt x="1390" y="818"/>
                    <a:pt x="1390" y="818"/>
                    <a:pt x="1390" y="818"/>
                  </a:cubicBezTo>
                  <a:cubicBezTo>
                    <a:pt x="1390" y="818"/>
                    <a:pt x="1390" y="818"/>
                    <a:pt x="1390" y="818"/>
                  </a:cubicBezTo>
                  <a:cubicBezTo>
                    <a:pt x="1392" y="818"/>
                    <a:pt x="1392" y="818"/>
                    <a:pt x="1392" y="818"/>
                  </a:cubicBezTo>
                  <a:cubicBezTo>
                    <a:pt x="1392" y="818"/>
                    <a:pt x="1393" y="818"/>
                    <a:pt x="1393" y="819"/>
                  </a:cubicBezTo>
                  <a:cubicBezTo>
                    <a:pt x="1396" y="819"/>
                    <a:pt x="1399" y="820"/>
                    <a:pt x="1401" y="821"/>
                  </a:cubicBezTo>
                  <a:cubicBezTo>
                    <a:pt x="1403" y="822"/>
                    <a:pt x="1405" y="823"/>
                    <a:pt x="1407" y="824"/>
                  </a:cubicBezTo>
                  <a:cubicBezTo>
                    <a:pt x="1417" y="826"/>
                    <a:pt x="1417" y="826"/>
                    <a:pt x="1417" y="826"/>
                  </a:cubicBezTo>
                  <a:cubicBezTo>
                    <a:pt x="1418" y="826"/>
                    <a:pt x="1418" y="826"/>
                    <a:pt x="1418" y="827"/>
                  </a:cubicBezTo>
                  <a:cubicBezTo>
                    <a:pt x="1423" y="828"/>
                    <a:pt x="1425" y="828"/>
                    <a:pt x="1425" y="829"/>
                  </a:cubicBezTo>
                  <a:cubicBezTo>
                    <a:pt x="1425" y="829"/>
                    <a:pt x="1425" y="830"/>
                    <a:pt x="1426" y="830"/>
                  </a:cubicBezTo>
                  <a:cubicBezTo>
                    <a:pt x="1426" y="832"/>
                    <a:pt x="1425" y="833"/>
                    <a:pt x="1425" y="833"/>
                  </a:cubicBezTo>
                  <a:cubicBezTo>
                    <a:pt x="1425" y="833"/>
                    <a:pt x="1425" y="833"/>
                    <a:pt x="1425" y="833"/>
                  </a:cubicBezTo>
                  <a:cubicBezTo>
                    <a:pt x="1425" y="834"/>
                    <a:pt x="1425" y="835"/>
                    <a:pt x="1425" y="836"/>
                  </a:cubicBezTo>
                  <a:cubicBezTo>
                    <a:pt x="1425" y="837"/>
                    <a:pt x="1425" y="838"/>
                    <a:pt x="1425" y="839"/>
                  </a:cubicBezTo>
                  <a:cubicBezTo>
                    <a:pt x="1425" y="839"/>
                    <a:pt x="1425" y="840"/>
                    <a:pt x="1426" y="841"/>
                  </a:cubicBezTo>
                  <a:cubicBezTo>
                    <a:pt x="1426" y="843"/>
                    <a:pt x="1426" y="843"/>
                    <a:pt x="1426" y="843"/>
                  </a:cubicBezTo>
                  <a:cubicBezTo>
                    <a:pt x="1426" y="844"/>
                    <a:pt x="1426" y="845"/>
                    <a:pt x="1427" y="846"/>
                  </a:cubicBezTo>
                  <a:cubicBezTo>
                    <a:pt x="1427" y="847"/>
                    <a:pt x="1427" y="847"/>
                    <a:pt x="1427" y="847"/>
                  </a:cubicBezTo>
                  <a:cubicBezTo>
                    <a:pt x="1428" y="848"/>
                    <a:pt x="1428" y="848"/>
                    <a:pt x="1428" y="848"/>
                  </a:cubicBezTo>
                  <a:cubicBezTo>
                    <a:pt x="1428" y="849"/>
                    <a:pt x="1429" y="849"/>
                    <a:pt x="1430" y="850"/>
                  </a:cubicBezTo>
                  <a:cubicBezTo>
                    <a:pt x="1431" y="851"/>
                    <a:pt x="1433" y="851"/>
                    <a:pt x="1434" y="852"/>
                  </a:cubicBezTo>
                  <a:cubicBezTo>
                    <a:pt x="1456" y="857"/>
                    <a:pt x="1456" y="857"/>
                    <a:pt x="1456" y="857"/>
                  </a:cubicBezTo>
                  <a:cubicBezTo>
                    <a:pt x="1456" y="857"/>
                    <a:pt x="1457" y="857"/>
                    <a:pt x="1457" y="857"/>
                  </a:cubicBezTo>
                  <a:cubicBezTo>
                    <a:pt x="1457" y="857"/>
                    <a:pt x="1457" y="857"/>
                    <a:pt x="1457" y="857"/>
                  </a:cubicBezTo>
                  <a:cubicBezTo>
                    <a:pt x="1458" y="857"/>
                    <a:pt x="1458" y="857"/>
                    <a:pt x="1458" y="857"/>
                  </a:cubicBezTo>
                  <a:cubicBezTo>
                    <a:pt x="1458" y="857"/>
                    <a:pt x="1459" y="857"/>
                    <a:pt x="1459" y="857"/>
                  </a:cubicBezTo>
                  <a:cubicBezTo>
                    <a:pt x="1459" y="857"/>
                    <a:pt x="1459" y="857"/>
                    <a:pt x="1459" y="857"/>
                  </a:cubicBezTo>
                  <a:cubicBezTo>
                    <a:pt x="1460" y="857"/>
                    <a:pt x="1460" y="856"/>
                    <a:pt x="1461" y="856"/>
                  </a:cubicBezTo>
                  <a:cubicBezTo>
                    <a:pt x="1461" y="856"/>
                    <a:pt x="1461" y="856"/>
                    <a:pt x="1461" y="856"/>
                  </a:cubicBezTo>
                  <a:cubicBezTo>
                    <a:pt x="1462" y="855"/>
                    <a:pt x="1462" y="855"/>
                    <a:pt x="1463" y="855"/>
                  </a:cubicBezTo>
                  <a:cubicBezTo>
                    <a:pt x="1464" y="854"/>
                    <a:pt x="1464" y="854"/>
                    <a:pt x="1464" y="854"/>
                  </a:cubicBezTo>
                  <a:cubicBezTo>
                    <a:pt x="1464" y="854"/>
                    <a:pt x="1464" y="854"/>
                    <a:pt x="1465" y="854"/>
                  </a:cubicBezTo>
                  <a:cubicBezTo>
                    <a:pt x="1468" y="852"/>
                    <a:pt x="1471" y="852"/>
                    <a:pt x="1474" y="851"/>
                  </a:cubicBezTo>
                  <a:cubicBezTo>
                    <a:pt x="1478" y="850"/>
                    <a:pt x="1481" y="849"/>
                    <a:pt x="1484" y="850"/>
                  </a:cubicBezTo>
                  <a:cubicBezTo>
                    <a:pt x="1486" y="850"/>
                    <a:pt x="1488" y="850"/>
                    <a:pt x="1489" y="850"/>
                  </a:cubicBezTo>
                  <a:cubicBezTo>
                    <a:pt x="1492" y="850"/>
                    <a:pt x="1495" y="851"/>
                    <a:pt x="1497" y="852"/>
                  </a:cubicBezTo>
                  <a:cubicBezTo>
                    <a:pt x="1498" y="852"/>
                    <a:pt x="1498" y="853"/>
                    <a:pt x="1499" y="853"/>
                  </a:cubicBezTo>
                  <a:cubicBezTo>
                    <a:pt x="1504" y="853"/>
                    <a:pt x="1504" y="853"/>
                    <a:pt x="1504" y="853"/>
                  </a:cubicBezTo>
                  <a:cubicBezTo>
                    <a:pt x="1505" y="853"/>
                    <a:pt x="1505" y="853"/>
                    <a:pt x="1506" y="853"/>
                  </a:cubicBezTo>
                  <a:cubicBezTo>
                    <a:pt x="1507" y="853"/>
                    <a:pt x="1507" y="853"/>
                    <a:pt x="1507" y="853"/>
                  </a:cubicBezTo>
                  <a:cubicBezTo>
                    <a:pt x="1507" y="853"/>
                    <a:pt x="1507" y="853"/>
                    <a:pt x="1507" y="853"/>
                  </a:cubicBezTo>
                  <a:cubicBezTo>
                    <a:pt x="1508" y="853"/>
                    <a:pt x="1508" y="853"/>
                    <a:pt x="1508" y="853"/>
                  </a:cubicBezTo>
                  <a:cubicBezTo>
                    <a:pt x="1509" y="853"/>
                    <a:pt x="1510" y="853"/>
                    <a:pt x="1511" y="854"/>
                  </a:cubicBezTo>
                  <a:cubicBezTo>
                    <a:pt x="1514" y="855"/>
                    <a:pt x="1516" y="856"/>
                    <a:pt x="1517" y="858"/>
                  </a:cubicBezTo>
                  <a:cubicBezTo>
                    <a:pt x="1519" y="860"/>
                    <a:pt x="1521" y="861"/>
                    <a:pt x="1524" y="862"/>
                  </a:cubicBezTo>
                  <a:cubicBezTo>
                    <a:pt x="1525" y="862"/>
                    <a:pt x="1525" y="862"/>
                    <a:pt x="1525" y="862"/>
                  </a:cubicBezTo>
                  <a:cubicBezTo>
                    <a:pt x="1526" y="862"/>
                    <a:pt x="1526" y="862"/>
                    <a:pt x="1527" y="862"/>
                  </a:cubicBezTo>
                  <a:cubicBezTo>
                    <a:pt x="1527" y="861"/>
                    <a:pt x="1527" y="861"/>
                    <a:pt x="1527" y="861"/>
                  </a:cubicBezTo>
                  <a:cubicBezTo>
                    <a:pt x="1532" y="862"/>
                    <a:pt x="1532" y="862"/>
                    <a:pt x="1532" y="862"/>
                  </a:cubicBezTo>
                  <a:cubicBezTo>
                    <a:pt x="1532" y="862"/>
                    <a:pt x="1532" y="862"/>
                    <a:pt x="1532" y="862"/>
                  </a:cubicBezTo>
                  <a:cubicBezTo>
                    <a:pt x="1532" y="863"/>
                    <a:pt x="1532" y="863"/>
                    <a:pt x="1533" y="863"/>
                  </a:cubicBezTo>
                  <a:cubicBezTo>
                    <a:pt x="1533" y="863"/>
                    <a:pt x="1533" y="863"/>
                    <a:pt x="1533" y="863"/>
                  </a:cubicBezTo>
                  <a:cubicBezTo>
                    <a:pt x="1534" y="863"/>
                    <a:pt x="1534" y="863"/>
                    <a:pt x="1534" y="863"/>
                  </a:cubicBezTo>
                  <a:cubicBezTo>
                    <a:pt x="1535" y="864"/>
                    <a:pt x="1535" y="864"/>
                    <a:pt x="1535" y="864"/>
                  </a:cubicBezTo>
                  <a:cubicBezTo>
                    <a:pt x="1536" y="867"/>
                    <a:pt x="1536" y="867"/>
                    <a:pt x="1536" y="867"/>
                  </a:cubicBezTo>
                  <a:cubicBezTo>
                    <a:pt x="1536" y="872"/>
                    <a:pt x="1536" y="872"/>
                    <a:pt x="1536" y="872"/>
                  </a:cubicBezTo>
                  <a:cubicBezTo>
                    <a:pt x="1544" y="878"/>
                    <a:pt x="1544" y="878"/>
                    <a:pt x="1544" y="878"/>
                  </a:cubicBezTo>
                  <a:cubicBezTo>
                    <a:pt x="1556" y="877"/>
                    <a:pt x="1556" y="877"/>
                    <a:pt x="1556" y="877"/>
                  </a:cubicBezTo>
                  <a:cubicBezTo>
                    <a:pt x="1560" y="878"/>
                    <a:pt x="1560" y="878"/>
                    <a:pt x="1560" y="878"/>
                  </a:cubicBezTo>
                  <a:cubicBezTo>
                    <a:pt x="1560" y="878"/>
                    <a:pt x="1560" y="878"/>
                    <a:pt x="1560" y="878"/>
                  </a:cubicBezTo>
                  <a:cubicBezTo>
                    <a:pt x="1561" y="878"/>
                    <a:pt x="1561" y="878"/>
                    <a:pt x="1561" y="878"/>
                  </a:cubicBezTo>
                  <a:cubicBezTo>
                    <a:pt x="1587" y="882"/>
                    <a:pt x="1587" y="882"/>
                    <a:pt x="1587" y="882"/>
                  </a:cubicBezTo>
                  <a:cubicBezTo>
                    <a:pt x="1587" y="882"/>
                    <a:pt x="1588" y="882"/>
                    <a:pt x="1588" y="882"/>
                  </a:cubicBezTo>
                  <a:cubicBezTo>
                    <a:pt x="1611" y="875"/>
                    <a:pt x="1611" y="875"/>
                    <a:pt x="1611" y="875"/>
                  </a:cubicBezTo>
                  <a:cubicBezTo>
                    <a:pt x="1625" y="873"/>
                    <a:pt x="1625" y="873"/>
                    <a:pt x="1625" y="873"/>
                  </a:cubicBezTo>
                  <a:cubicBezTo>
                    <a:pt x="1625" y="873"/>
                    <a:pt x="1625" y="873"/>
                    <a:pt x="1626" y="873"/>
                  </a:cubicBezTo>
                  <a:cubicBezTo>
                    <a:pt x="1634" y="864"/>
                    <a:pt x="1634" y="864"/>
                    <a:pt x="1634" y="864"/>
                  </a:cubicBezTo>
                  <a:cubicBezTo>
                    <a:pt x="1638" y="861"/>
                    <a:pt x="1638" y="861"/>
                    <a:pt x="1638" y="861"/>
                  </a:cubicBezTo>
                  <a:cubicBezTo>
                    <a:pt x="1641" y="860"/>
                    <a:pt x="1641" y="860"/>
                    <a:pt x="1641" y="860"/>
                  </a:cubicBezTo>
                  <a:cubicBezTo>
                    <a:pt x="1642" y="860"/>
                    <a:pt x="1642" y="859"/>
                    <a:pt x="1643" y="859"/>
                  </a:cubicBezTo>
                  <a:cubicBezTo>
                    <a:pt x="1643" y="859"/>
                    <a:pt x="1643" y="859"/>
                    <a:pt x="1643" y="859"/>
                  </a:cubicBezTo>
                  <a:cubicBezTo>
                    <a:pt x="1644" y="858"/>
                    <a:pt x="1644" y="858"/>
                    <a:pt x="1645" y="858"/>
                  </a:cubicBezTo>
                  <a:cubicBezTo>
                    <a:pt x="1646" y="857"/>
                    <a:pt x="1648" y="856"/>
                    <a:pt x="1650" y="856"/>
                  </a:cubicBezTo>
                  <a:cubicBezTo>
                    <a:pt x="1650" y="855"/>
                    <a:pt x="1650" y="855"/>
                    <a:pt x="1650" y="855"/>
                  </a:cubicBezTo>
                  <a:cubicBezTo>
                    <a:pt x="1651" y="855"/>
                    <a:pt x="1652" y="855"/>
                    <a:pt x="1653" y="855"/>
                  </a:cubicBezTo>
                  <a:cubicBezTo>
                    <a:pt x="1654" y="855"/>
                    <a:pt x="1654" y="855"/>
                    <a:pt x="1654" y="855"/>
                  </a:cubicBezTo>
                  <a:cubicBezTo>
                    <a:pt x="1657" y="855"/>
                    <a:pt x="1659" y="855"/>
                    <a:pt x="1661" y="855"/>
                  </a:cubicBezTo>
                  <a:cubicBezTo>
                    <a:pt x="1664" y="855"/>
                    <a:pt x="1664" y="855"/>
                    <a:pt x="1664" y="855"/>
                  </a:cubicBezTo>
                  <a:cubicBezTo>
                    <a:pt x="1676" y="863"/>
                    <a:pt x="1676" y="863"/>
                    <a:pt x="1676" y="863"/>
                  </a:cubicBezTo>
                  <a:cubicBezTo>
                    <a:pt x="1677" y="863"/>
                    <a:pt x="1677" y="864"/>
                    <a:pt x="1677" y="864"/>
                  </a:cubicBezTo>
                  <a:cubicBezTo>
                    <a:pt x="1677" y="864"/>
                    <a:pt x="1677" y="864"/>
                    <a:pt x="1677" y="864"/>
                  </a:cubicBezTo>
                  <a:cubicBezTo>
                    <a:pt x="1677" y="864"/>
                    <a:pt x="1677" y="864"/>
                    <a:pt x="1677" y="864"/>
                  </a:cubicBezTo>
                  <a:cubicBezTo>
                    <a:pt x="1677" y="864"/>
                    <a:pt x="1677" y="864"/>
                    <a:pt x="1677" y="864"/>
                  </a:cubicBezTo>
                  <a:cubicBezTo>
                    <a:pt x="1690" y="860"/>
                    <a:pt x="1690" y="860"/>
                    <a:pt x="1690" y="860"/>
                  </a:cubicBezTo>
                  <a:cubicBezTo>
                    <a:pt x="1691" y="861"/>
                    <a:pt x="1691" y="861"/>
                    <a:pt x="1691" y="861"/>
                  </a:cubicBezTo>
                  <a:cubicBezTo>
                    <a:pt x="1693" y="861"/>
                    <a:pt x="1695" y="862"/>
                    <a:pt x="1697" y="864"/>
                  </a:cubicBezTo>
                  <a:cubicBezTo>
                    <a:pt x="1698" y="864"/>
                    <a:pt x="1698" y="864"/>
                    <a:pt x="1698" y="864"/>
                  </a:cubicBezTo>
                  <a:cubicBezTo>
                    <a:pt x="1698" y="865"/>
                    <a:pt x="1699" y="865"/>
                    <a:pt x="1699" y="865"/>
                  </a:cubicBezTo>
                  <a:cubicBezTo>
                    <a:pt x="1699" y="865"/>
                    <a:pt x="1699" y="865"/>
                    <a:pt x="1699" y="865"/>
                  </a:cubicBezTo>
                  <a:cubicBezTo>
                    <a:pt x="1700" y="865"/>
                    <a:pt x="1700" y="866"/>
                    <a:pt x="1700" y="866"/>
                  </a:cubicBezTo>
                  <a:cubicBezTo>
                    <a:pt x="1702" y="866"/>
                    <a:pt x="1703" y="867"/>
                    <a:pt x="1704" y="867"/>
                  </a:cubicBezTo>
                  <a:cubicBezTo>
                    <a:pt x="1715" y="870"/>
                    <a:pt x="1715" y="870"/>
                    <a:pt x="1715" y="870"/>
                  </a:cubicBezTo>
                  <a:cubicBezTo>
                    <a:pt x="1715" y="870"/>
                    <a:pt x="1715" y="870"/>
                    <a:pt x="1715" y="870"/>
                  </a:cubicBezTo>
                  <a:cubicBezTo>
                    <a:pt x="1721" y="872"/>
                    <a:pt x="1721" y="872"/>
                    <a:pt x="1721" y="872"/>
                  </a:cubicBezTo>
                  <a:cubicBezTo>
                    <a:pt x="1727" y="868"/>
                    <a:pt x="1727" y="868"/>
                    <a:pt x="1727" y="868"/>
                  </a:cubicBezTo>
                  <a:cubicBezTo>
                    <a:pt x="1729" y="867"/>
                    <a:pt x="1731" y="864"/>
                    <a:pt x="1734" y="863"/>
                  </a:cubicBezTo>
                  <a:cubicBezTo>
                    <a:pt x="1734" y="863"/>
                    <a:pt x="1734" y="863"/>
                    <a:pt x="1734" y="863"/>
                  </a:cubicBezTo>
                  <a:cubicBezTo>
                    <a:pt x="1742" y="862"/>
                    <a:pt x="1742" y="862"/>
                    <a:pt x="1742" y="862"/>
                  </a:cubicBezTo>
                  <a:cubicBezTo>
                    <a:pt x="1747" y="859"/>
                    <a:pt x="1747" y="859"/>
                    <a:pt x="1747" y="859"/>
                  </a:cubicBezTo>
                  <a:cubicBezTo>
                    <a:pt x="1747" y="859"/>
                    <a:pt x="1747" y="859"/>
                    <a:pt x="1747" y="859"/>
                  </a:cubicBezTo>
                  <a:cubicBezTo>
                    <a:pt x="1747" y="858"/>
                    <a:pt x="1747" y="858"/>
                    <a:pt x="1747" y="857"/>
                  </a:cubicBezTo>
                  <a:cubicBezTo>
                    <a:pt x="1747" y="857"/>
                    <a:pt x="1747" y="857"/>
                    <a:pt x="1747" y="857"/>
                  </a:cubicBezTo>
                  <a:cubicBezTo>
                    <a:pt x="1747" y="854"/>
                    <a:pt x="1747" y="854"/>
                    <a:pt x="1747" y="854"/>
                  </a:cubicBezTo>
                  <a:cubicBezTo>
                    <a:pt x="1748" y="846"/>
                    <a:pt x="1748" y="846"/>
                    <a:pt x="1748" y="846"/>
                  </a:cubicBezTo>
                  <a:cubicBezTo>
                    <a:pt x="1751" y="840"/>
                    <a:pt x="1751" y="840"/>
                    <a:pt x="1751" y="840"/>
                  </a:cubicBezTo>
                  <a:cubicBezTo>
                    <a:pt x="1755" y="834"/>
                    <a:pt x="1755" y="834"/>
                    <a:pt x="1755" y="834"/>
                  </a:cubicBezTo>
                  <a:cubicBezTo>
                    <a:pt x="1756" y="831"/>
                    <a:pt x="1757" y="829"/>
                    <a:pt x="1759" y="827"/>
                  </a:cubicBezTo>
                  <a:cubicBezTo>
                    <a:pt x="1760" y="824"/>
                    <a:pt x="1760" y="824"/>
                    <a:pt x="1760" y="824"/>
                  </a:cubicBezTo>
                  <a:cubicBezTo>
                    <a:pt x="1770" y="814"/>
                    <a:pt x="1770" y="814"/>
                    <a:pt x="1770" y="814"/>
                  </a:cubicBezTo>
                  <a:cubicBezTo>
                    <a:pt x="1772" y="812"/>
                    <a:pt x="1773" y="811"/>
                    <a:pt x="1774" y="809"/>
                  </a:cubicBezTo>
                  <a:cubicBezTo>
                    <a:pt x="1774" y="809"/>
                    <a:pt x="1774" y="809"/>
                    <a:pt x="1774" y="809"/>
                  </a:cubicBezTo>
                  <a:cubicBezTo>
                    <a:pt x="1774" y="808"/>
                    <a:pt x="1774" y="808"/>
                    <a:pt x="1774" y="808"/>
                  </a:cubicBezTo>
                  <a:cubicBezTo>
                    <a:pt x="1772" y="807"/>
                    <a:pt x="1772" y="807"/>
                    <a:pt x="1772" y="807"/>
                  </a:cubicBezTo>
                  <a:cubicBezTo>
                    <a:pt x="1772" y="806"/>
                    <a:pt x="1772" y="806"/>
                    <a:pt x="1772" y="806"/>
                  </a:cubicBezTo>
                  <a:cubicBezTo>
                    <a:pt x="1772" y="804"/>
                    <a:pt x="1772" y="804"/>
                    <a:pt x="1772" y="804"/>
                  </a:cubicBezTo>
                  <a:cubicBezTo>
                    <a:pt x="1773" y="801"/>
                    <a:pt x="1773" y="801"/>
                    <a:pt x="1773" y="801"/>
                  </a:cubicBezTo>
                  <a:cubicBezTo>
                    <a:pt x="1773" y="801"/>
                    <a:pt x="1772" y="801"/>
                    <a:pt x="1772" y="800"/>
                  </a:cubicBezTo>
                  <a:cubicBezTo>
                    <a:pt x="1771" y="800"/>
                    <a:pt x="1771" y="800"/>
                    <a:pt x="1771" y="800"/>
                  </a:cubicBezTo>
                  <a:cubicBezTo>
                    <a:pt x="1771" y="800"/>
                    <a:pt x="1771" y="800"/>
                    <a:pt x="1771" y="800"/>
                  </a:cubicBezTo>
                  <a:cubicBezTo>
                    <a:pt x="1770" y="800"/>
                    <a:pt x="1770" y="800"/>
                    <a:pt x="1770" y="800"/>
                  </a:cubicBezTo>
                  <a:cubicBezTo>
                    <a:pt x="1770" y="800"/>
                    <a:pt x="1769" y="800"/>
                    <a:pt x="1768" y="800"/>
                  </a:cubicBezTo>
                  <a:cubicBezTo>
                    <a:pt x="1768" y="800"/>
                    <a:pt x="1768" y="800"/>
                    <a:pt x="1768" y="800"/>
                  </a:cubicBezTo>
                  <a:cubicBezTo>
                    <a:pt x="1767" y="800"/>
                    <a:pt x="1766" y="800"/>
                    <a:pt x="1765" y="800"/>
                  </a:cubicBezTo>
                  <a:cubicBezTo>
                    <a:pt x="1762" y="801"/>
                    <a:pt x="1762" y="801"/>
                    <a:pt x="1762" y="801"/>
                  </a:cubicBezTo>
                  <a:cubicBezTo>
                    <a:pt x="1761" y="799"/>
                    <a:pt x="1761" y="799"/>
                    <a:pt x="1761" y="799"/>
                  </a:cubicBezTo>
                  <a:cubicBezTo>
                    <a:pt x="1761" y="798"/>
                    <a:pt x="1760" y="797"/>
                    <a:pt x="1760" y="794"/>
                  </a:cubicBezTo>
                  <a:cubicBezTo>
                    <a:pt x="1760" y="792"/>
                    <a:pt x="1760" y="792"/>
                    <a:pt x="1760" y="792"/>
                  </a:cubicBezTo>
                  <a:cubicBezTo>
                    <a:pt x="1763" y="791"/>
                    <a:pt x="1763" y="791"/>
                    <a:pt x="1763" y="791"/>
                  </a:cubicBezTo>
                  <a:cubicBezTo>
                    <a:pt x="1763" y="790"/>
                    <a:pt x="1764" y="790"/>
                    <a:pt x="1766" y="789"/>
                  </a:cubicBezTo>
                  <a:cubicBezTo>
                    <a:pt x="1766" y="788"/>
                    <a:pt x="1767" y="788"/>
                    <a:pt x="1767" y="788"/>
                  </a:cubicBezTo>
                  <a:cubicBezTo>
                    <a:pt x="1771" y="784"/>
                    <a:pt x="1771" y="784"/>
                    <a:pt x="1771" y="784"/>
                  </a:cubicBezTo>
                  <a:cubicBezTo>
                    <a:pt x="1772" y="783"/>
                    <a:pt x="1773" y="782"/>
                    <a:pt x="1775" y="780"/>
                  </a:cubicBezTo>
                  <a:cubicBezTo>
                    <a:pt x="1776" y="779"/>
                    <a:pt x="1776" y="779"/>
                    <a:pt x="1776" y="779"/>
                  </a:cubicBezTo>
                  <a:cubicBezTo>
                    <a:pt x="1777" y="779"/>
                    <a:pt x="1777" y="779"/>
                    <a:pt x="1777" y="779"/>
                  </a:cubicBezTo>
                  <a:cubicBezTo>
                    <a:pt x="1778" y="778"/>
                    <a:pt x="1778" y="778"/>
                    <a:pt x="1778" y="778"/>
                  </a:cubicBezTo>
                  <a:cubicBezTo>
                    <a:pt x="1779" y="778"/>
                    <a:pt x="1779" y="778"/>
                    <a:pt x="1779" y="778"/>
                  </a:cubicBezTo>
                  <a:cubicBezTo>
                    <a:pt x="1780" y="778"/>
                    <a:pt x="1780" y="778"/>
                    <a:pt x="1780" y="778"/>
                  </a:cubicBezTo>
                  <a:cubicBezTo>
                    <a:pt x="1781" y="778"/>
                    <a:pt x="1782" y="778"/>
                    <a:pt x="1783" y="778"/>
                  </a:cubicBezTo>
                  <a:cubicBezTo>
                    <a:pt x="1784" y="778"/>
                    <a:pt x="1784" y="778"/>
                    <a:pt x="1785" y="778"/>
                  </a:cubicBezTo>
                  <a:cubicBezTo>
                    <a:pt x="1789" y="777"/>
                    <a:pt x="1793" y="776"/>
                    <a:pt x="1797" y="775"/>
                  </a:cubicBezTo>
                  <a:cubicBezTo>
                    <a:pt x="1800" y="775"/>
                    <a:pt x="1800" y="775"/>
                    <a:pt x="1800" y="775"/>
                  </a:cubicBezTo>
                  <a:cubicBezTo>
                    <a:pt x="1810" y="774"/>
                    <a:pt x="1810" y="774"/>
                    <a:pt x="1810" y="774"/>
                  </a:cubicBezTo>
                  <a:cubicBezTo>
                    <a:pt x="1813" y="774"/>
                    <a:pt x="1816" y="773"/>
                    <a:pt x="1818" y="773"/>
                  </a:cubicBezTo>
                  <a:cubicBezTo>
                    <a:pt x="1820" y="772"/>
                    <a:pt x="1820" y="772"/>
                    <a:pt x="1820" y="772"/>
                  </a:cubicBezTo>
                  <a:cubicBezTo>
                    <a:pt x="1820" y="772"/>
                    <a:pt x="1821" y="772"/>
                    <a:pt x="1822" y="772"/>
                  </a:cubicBezTo>
                  <a:cubicBezTo>
                    <a:pt x="1823" y="771"/>
                    <a:pt x="1824" y="771"/>
                    <a:pt x="1825" y="771"/>
                  </a:cubicBezTo>
                  <a:cubicBezTo>
                    <a:pt x="1827" y="771"/>
                    <a:pt x="1827" y="771"/>
                    <a:pt x="1827" y="771"/>
                  </a:cubicBezTo>
                  <a:cubicBezTo>
                    <a:pt x="1829" y="771"/>
                    <a:pt x="1829" y="771"/>
                    <a:pt x="1829" y="771"/>
                  </a:cubicBezTo>
                  <a:cubicBezTo>
                    <a:pt x="1832" y="771"/>
                    <a:pt x="1832" y="771"/>
                    <a:pt x="1832" y="771"/>
                  </a:cubicBezTo>
                  <a:cubicBezTo>
                    <a:pt x="1833" y="772"/>
                    <a:pt x="1833" y="772"/>
                    <a:pt x="1833" y="772"/>
                  </a:cubicBezTo>
                  <a:cubicBezTo>
                    <a:pt x="1836" y="773"/>
                    <a:pt x="1839" y="775"/>
                    <a:pt x="1841" y="776"/>
                  </a:cubicBezTo>
                  <a:cubicBezTo>
                    <a:pt x="1851" y="780"/>
                    <a:pt x="1851" y="780"/>
                    <a:pt x="1851" y="780"/>
                  </a:cubicBezTo>
                  <a:cubicBezTo>
                    <a:pt x="1855" y="781"/>
                    <a:pt x="1855" y="781"/>
                    <a:pt x="1855" y="781"/>
                  </a:cubicBezTo>
                  <a:cubicBezTo>
                    <a:pt x="1855" y="781"/>
                    <a:pt x="1855" y="781"/>
                    <a:pt x="1855" y="781"/>
                  </a:cubicBezTo>
                  <a:cubicBezTo>
                    <a:pt x="1856" y="781"/>
                    <a:pt x="1856" y="781"/>
                    <a:pt x="1856" y="781"/>
                  </a:cubicBezTo>
                  <a:cubicBezTo>
                    <a:pt x="1857" y="780"/>
                    <a:pt x="1859" y="780"/>
                    <a:pt x="1860" y="780"/>
                  </a:cubicBezTo>
                  <a:cubicBezTo>
                    <a:pt x="1861" y="780"/>
                    <a:pt x="1861" y="780"/>
                    <a:pt x="1861" y="780"/>
                  </a:cubicBezTo>
                  <a:cubicBezTo>
                    <a:pt x="1862" y="781"/>
                    <a:pt x="1862" y="781"/>
                    <a:pt x="1862" y="781"/>
                  </a:cubicBezTo>
                  <a:cubicBezTo>
                    <a:pt x="1862" y="781"/>
                    <a:pt x="1862" y="781"/>
                    <a:pt x="1862" y="781"/>
                  </a:cubicBezTo>
                  <a:cubicBezTo>
                    <a:pt x="1863" y="781"/>
                    <a:pt x="1863" y="781"/>
                    <a:pt x="1863" y="782"/>
                  </a:cubicBezTo>
                  <a:cubicBezTo>
                    <a:pt x="1863" y="782"/>
                    <a:pt x="1863" y="782"/>
                    <a:pt x="1863" y="782"/>
                  </a:cubicBezTo>
                  <a:cubicBezTo>
                    <a:pt x="1863" y="782"/>
                    <a:pt x="1863" y="782"/>
                    <a:pt x="1864" y="782"/>
                  </a:cubicBezTo>
                  <a:cubicBezTo>
                    <a:pt x="1865" y="783"/>
                    <a:pt x="1865" y="783"/>
                    <a:pt x="1865" y="783"/>
                  </a:cubicBezTo>
                  <a:cubicBezTo>
                    <a:pt x="1865" y="783"/>
                    <a:pt x="1866" y="783"/>
                    <a:pt x="1866" y="783"/>
                  </a:cubicBezTo>
                  <a:cubicBezTo>
                    <a:pt x="1867" y="783"/>
                    <a:pt x="1867" y="783"/>
                    <a:pt x="1867" y="783"/>
                  </a:cubicBezTo>
                  <a:cubicBezTo>
                    <a:pt x="1868" y="784"/>
                    <a:pt x="1868" y="784"/>
                    <a:pt x="1868" y="784"/>
                  </a:cubicBezTo>
                  <a:cubicBezTo>
                    <a:pt x="1868" y="784"/>
                    <a:pt x="1868" y="784"/>
                    <a:pt x="1868" y="784"/>
                  </a:cubicBezTo>
                  <a:cubicBezTo>
                    <a:pt x="1869" y="784"/>
                    <a:pt x="1869" y="784"/>
                    <a:pt x="1869" y="784"/>
                  </a:cubicBezTo>
                  <a:cubicBezTo>
                    <a:pt x="1870" y="784"/>
                    <a:pt x="1870" y="784"/>
                    <a:pt x="1870" y="784"/>
                  </a:cubicBezTo>
                  <a:cubicBezTo>
                    <a:pt x="1875" y="789"/>
                    <a:pt x="1875" y="789"/>
                    <a:pt x="1875" y="789"/>
                  </a:cubicBezTo>
                  <a:cubicBezTo>
                    <a:pt x="1877" y="786"/>
                    <a:pt x="1877" y="786"/>
                    <a:pt x="1877" y="786"/>
                  </a:cubicBezTo>
                  <a:cubicBezTo>
                    <a:pt x="1876" y="789"/>
                    <a:pt x="1876" y="789"/>
                    <a:pt x="1876" y="789"/>
                  </a:cubicBezTo>
                  <a:cubicBezTo>
                    <a:pt x="1876" y="790"/>
                    <a:pt x="1876" y="790"/>
                    <a:pt x="1876" y="790"/>
                  </a:cubicBezTo>
                  <a:cubicBezTo>
                    <a:pt x="1876" y="790"/>
                    <a:pt x="1877" y="790"/>
                    <a:pt x="1877" y="790"/>
                  </a:cubicBezTo>
                  <a:cubicBezTo>
                    <a:pt x="1878" y="791"/>
                    <a:pt x="1878" y="791"/>
                    <a:pt x="1878" y="791"/>
                  </a:cubicBezTo>
                  <a:cubicBezTo>
                    <a:pt x="1878" y="791"/>
                    <a:pt x="1878" y="791"/>
                    <a:pt x="1878" y="791"/>
                  </a:cubicBezTo>
                  <a:cubicBezTo>
                    <a:pt x="1880" y="792"/>
                    <a:pt x="1880" y="792"/>
                    <a:pt x="1880" y="792"/>
                  </a:cubicBezTo>
                  <a:cubicBezTo>
                    <a:pt x="1880" y="794"/>
                    <a:pt x="1880" y="794"/>
                    <a:pt x="1880" y="794"/>
                  </a:cubicBezTo>
                  <a:cubicBezTo>
                    <a:pt x="1880" y="795"/>
                    <a:pt x="1880" y="795"/>
                    <a:pt x="1880" y="795"/>
                  </a:cubicBezTo>
                  <a:cubicBezTo>
                    <a:pt x="1880" y="796"/>
                    <a:pt x="1879" y="797"/>
                    <a:pt x="1879" y="797"/>
                  </a:cubicBezTo>
                  <a:cubicBezTo>
                    <a:pt x="1879" y="798"/>
                    <a:pt x="1879" y="798"/>
                    <a:pt x="1879" y="798"/>
                  </a:cubicBezTo>
                  <a:cubicBezTo>
                    <a:pt x="1879" y="799"/>
                    <a:pt x="1879" y="799"/>
                    <a:pt x="1879" y="799"/>
                  </a:cubicBezTo>
                  <a:cubicBezTo>
                    <a:pt x="1880" y="799"/>
                    <a:pt x="1880" y="799"/>
                    <a:pt x="1881" y="800"/>
                  </a:cubicBezTo>
                  <a:cubicBezTo>
                    <a:pt x="1883" y="802"/>
                    <a:pt x="1886" y="805"/>
                    <a:pt x="1887" y="808"/>
                  </a:cubicBezTo>
                  <a:cubicBezTo>
                    <a:pt x="1888" y="809"/>
                    <a:pt x="1888" y="809"/>
                    <a:pt x="1888" y="809"/>
                  </a:cubicBezTo>
                  <a:cubicBezTo>
                    <a:pt x="1888" y="811"/>
                    <a:pt x="1888" y="811"/>
                    <a:pt x="1888" y="811"/>
                  </a:cubicBezTo>
                  <a:cubicBezTo>
                    <a:pt x="1888" y="813"/>
                    <a:pt x="1888" y="813"/>
                    <a:pt x="1888" y="813"/>
                  </a:cubicBezTo>
                  <a:cubicBezTo>
                    <a:pt x="1887" y="814"/>
                    <a:pt x="1887" y="814"/>
                    <a:pt x="1887" y="814"/>
                  </a:cubicBezTo>
                  <a:cubicBezTo>
                    <a:pt x="1887" y="814"/>
                    <a:pt x="1887" y="814"/>
                    <a:pt x="1887" y="814"/>
                  </a:cubicBezTo>
                  <a:cubicBezTo>
                    <a:pt x="1888" y="815"/>
                    <a:pt x="1888" y="815"/>
                    <a:pt x="1888" y="815"/>
                  </a:cubicBezTo>
                  <a:cubicBezTo>
                    <a:pt x="1889" y="819"/>
                    <a:pt x="1891" y="823"/>
                    <a:pt x="1893" y="826"/>
                  </a:cubicBezTo>
                  <a:cubicBezTo>
                    <a:pt x="1894" y="829"/>
                    <a:pt x="1894" y="829"/>
                    <a:pt x="1894" y="829"/>
                  </a:cubicBezTo>
                  <a:cubicBezTo>
                    <a:pt x="1894" y="829"/>
                    <a:pt x="1894" y="829"/>
                    <a:pt x="1894" y="829"/>
                  </a:cubicBezTo>
                  <a:cubicBezTo>
                    <a:pt x="1897" y="828"/>
                    <a:pt x="1897" y="828"/>
                    <a:pt x="1897" y="828"/>
                  </a:cubicBezTo>
                  <a:cubicBezTo>
                    <a:pt x="1898" y="838"/>
                    <a:pt x="1898" y="838"/>
                    <a:pt x="1898" y="838"/>
                  </a:cubicBezTo>
                  <a:cubicBezTo>
                    <a:pt x="1899" y="839"/>
                    <a:pt x="1899" y="839"/>
                    <a:pt x="1899" y="839"/>
                  </a:cubicBezTo>
                  <a:cubicBezTo>
                    <a:pt x="1899" y="839"/>
                    <a:pt x="1899" y="839"/>
                    <a:pt x="1899" y="839"/>
                  </a:cubicBezTo>
                  <a:cubicBezTo>
                    <a:pt x="1899" y="839"/>
                    <a:pt x="1899" y="839"/>
                    <a:pt x="1899" y="839"/>
                  </a:cubicBezTo>
                  <a:cubicBezTo>
                    <a:pt x="1900" y="840"/>
                    <a:pt x="1900" y="840"/>
                    <a:pt x="1900" y="840"/>
                  </a:cubicBezTo>
                  <a:cubicBezTo>
                    <a:pt x="1906" y="853"/>
                    <a:pt x="1906" y="853"/>
                    <a:pt x="1906" y="853"/>
                  </a:cubicBezTo>
                  <a:cubicBezTo>
                    <a:pt x="1906" y="854"/>
                    <a:pt x="1906" y="854"/>
                    <a:pt x="1907" y="855"/>
                  </a:cubicBezTo>
                  <a:cubicBezTo>
                    <a:pt x="1906" y="856"/>
                    <a:pt x="1906" y="856"/>
                    <a:pt x="1906" y="856"/>
                  </a:cubicBezTo>
                  <a:cubicBezTo>
                    <a:pt x="1907" y="855"/>
                    <a:pt x="1907" y="855"/>
                    <a:pt x="1907" y="855"/>
                  </a:cubicBezTo>
                  <a:cubicBezTo>
                    <a:pt x="1907" y="856"/>
                    <a:pt x="1908" y="856"/>
                    <a:pt x="1908" y="857"/>
                  </a:cubicBezTo>
                  <a:cubicBezTo>
                    <a:pt x="1908" y="857"/>
                    <a:pt x="1908" y="857"/>
                    <a:pt x="1908" y="857"/>
                  </a:cubicBezTo>
                  <a:cubicBezTo>
                    <a:pt x="1909" y="858"/>
                    <a:pt x="1909" y="858"/>
                    <a:pt x="1909" y="858"/>
                  </a:cubicBezTo>
                  <a:cubicBezTo>
                    <a:pt x="1908" y="861"/>
                    <a:pt x="1908" y="861"/>
                    <a:pt x="1908" y="861"/>
                  </a:cubicBezTo>
                  <a:cubicBezTo>
                    <a:pt x="1908" y="861"/>
                    <a:pt x="1908" y="862"/>
                    <a:pt x="1908" y="862"/>
                  </a:cubicBezTo>
                  <a:cubicBezTo>
                    <a:pt x="1908" y="863"/>
                    <a:pt x="1908" y="863"/>
                    <a:pt x="1908" y="863"/>
                  </a:cubicBezTo>
                  <a:cubicBezTo>
                    <a:pt x="1908" y="864"/>
                    <a:pt x="1908" y="865"/>
                    <a:pt x="1908" y="865"/>
                  </a:cubicBezTo>
                  <a:cubicBezTo>
                    <a:pt x="1912" y="871"/>
                    <a:pt x="1912" y="871"/>
                    <a:pt x="1912" y="871"/>
                  </a:cubicBezTo>
                  <a:cubicBezTo>
                    <a:pt x="1912" y="871"/>
                    <a:pt x="1912" y="872"/>
                    <a:pt x="1914" y="872"/>
                  </a:cubicBezTo>
                  <a:cubicBezTo>
                    <a:pt x="1924" y="872"/>
                    <a:pt x="1924" y="872"/>
                    <a:pt x="1924" y="872"/>
                  </a:cubicBezTo>
                  <a:cubicBezTo>
                    <a:pt x="1926" y="872"/>
                    <a:pt x="1928" y="873"/>
                    <a:pt x="1930" y="874"/>
                  </a:cubicBezTo>
                  <a:cubicBezTo>
                    <a:pt x="1931" y="874"/>
                    <a:pt x="1931" y="874"/>
                    <a:pt x="1931" y="874"/>
                  </a:cubicBezTo>
                  <a:cubicBezTo>
                    <a:pt x="1931" y="874"/>
                    <a:pt x="1932" y="874"/>
                    <a:pt x="1932" y="875"/>
                  </a:cubicBezTo>
                  <a:cubicBezTo>
                    <a:pt x="1938" y="877"/>
                    <a:pt x="1938" y="877"/>
                    <a:pt x="1938" y="877"/>
                  </a:cubicBezTo>
                  <a:cubicBezTo>
                    <a:pt x="1941" y="875"/>
                    <a:pt x="1941" y="875"/>
                    <a:pt x="1941" y="875"/>
                  </a:cubicBezTo>
                  <a:cubicBezTo>
                    <a:pt x="1944" y="876"/>
                    <a:pt x="1944" y="876"/>
                    <a:pt x="1944" y="876"/>
                  </a:cubicBezTo>
                  <a:cubicBezTo>
                    <a:pt x="1958" y="889"/>
                    <a:pt x="1958" y="889"/>
                    <a:pt x="1958" y="889"/>
                  </a:cubicBezTo>
                  <a:cubicBezTo>
                    <a:pt x="1958" y="889"/>
                    <a:pt x="1958" y="889"/>
                    <a:pt x="1958" y="889"/>
                  </a:cubicBezTo>
                  <a:cubicBezTo>
                    <a:pt x="1959" y="889"/>
                    <a:pt x="1959" y="889"/>
                    <a:pt x="1959" y="889"/>
                  </a:cubicBezTo>
                  <a:cubicBezTo>
                    <a:pt x="1960" y="889"/>
                    <a:pt x="1960" y="889"/>
                    <a:pt x="1960" y="889"/>
                  </a:cubicBezTo>
                  <a:cubicBezTo>
                    <a:pt x="1967" y="889"/>
                    <a:pt x="1967" y="889"/>
                    <a:pt x="1967" y="889"/>
                  </a:cubicBezTo>
                  <a:cubicBezTo>
                    <a:pt x="1965" y="897"/>
                    <a:pt x="1965" y="897"/>
                    <a:pt x="1965" y="897"/>
                  </a:cubicBezTo>
                  <a:cubicBezTo>
                    <a:pt x="1965" y="897"/>
                    <a:pt x="1965" y="897"/>
                    <a:pt x="1965" y="897"/>
                  </a:cubicBezTo>
                  <a:cubicBezTo>
                    <a:pt x="1966" y="898"/>
                    <a:pt x="1966" y="898"/>
                    <a:pt x="1966" y="898"/>
                  </a:cubicBezTo>
                  <a:cubicBezTo>
                    <a:pt x="1967" y="898"/>
                    <a:pt x="1968" y="899"/>
                    <a:pt x="1968" y="899"/>
                  </a:cubicBezTo>
                  <a:cubicBezTo>
                    <a:pt x="1968" y="899"/>
                    <a:pt x="1969" y="900"/>
                    <a:pt x="1969" y="900"/>
                  </a:cubicBezTo>
                  <a:cubicBezTo>
                    <a:pt x="1970" y="901"/>
                    <a:pt x="1970" y="902"/>
                    <a:pt x="1970" y="903"/>
                  </a:cubicBezTo>
                  <a:cubicBezTo>
                    <a:pt x="1970" y="903"/>
                    <a:pt x="1970" y="904"/>
                    <a:pt x="1970" y="904"/>
                  </a:cubicBezTo>
                  <a:cubicBezTo>
                    <a:pt x="1971" y="905"/>
                    <a:pt x="1971" y="907"/>
                    <a:pt x="1969" y="908"/>
                  </a:cubicBezTo>
                  <a:cubicBezTo>
                    <a:pt x="1969" y="909"/>
                    <a:pt x="1969" y="909"/>
                    <a:pt x="1969" y="909"/>
                  </a:cubicBezTo>
                  <a:cubicBezTo>
                    <a:pt x="1968" y="910"/>
                    <a:pt x="1968" y="911"/>
                    <a:pt x="1968" y="911"/>
                  </a:cubicBezTo>
                  <a:cubicBezTo>
                    <a:pt x="1968" y="911"/>
                    <a:pt x="1969" y="911"/>
                    <a:pt x="1969" y="912"/>
                  </a:cubicBezTo>
                  <a:cubicBezTo>
                    <a:pt x="1969" y="912"/>
                    <a:pt x="1969" y="912"/>
                    <a:pt x="1970" y="912"/>
                  </a:cubicBezTo>
                  <a:cubicBezTo>
                    <a:pt x="1970" y="913"/>
                    <a:pt x="1970" y="913"/>
                    <a:pt x="1970" y="913"/>
                  </a:cubicBezTo>
                  <a:cubicBezTo>
                    <a:pt x="1970" y="913"/>
                    <a:pt x="1971" y="913"/>
                    <a:pt x="1971" y="914"/>
                  </a:cubicBezTo>
                  <a:cubicBezTo>
                    <a:pt x="1971" y="914"/>
                    <a:pt x="1971" y="914"/>
                    <a:pt x="1971" y="914"/>
                  </a:cubicBezTo>
                  <a:cubicBezTo>
                    <a:pt x="1972" y="915"/>
                    <a:pt x="1972" y="915"/>
                    <a:pt x="1972" y="915"/>
                  </a:cubicBezTo>
                  <a:cubicBezTo>
                    <a:pt x="1972" y="916"/>
                    <a:pt x="1972" y="916"/>
                    <a:pt x="1973" y="916"/>
                  </a:cubicBezTo>
                  <a:cubicBezTo>
                    <a:pt x="1973" y="917"/>
                    <a:pt x="1973" y="917"/>
                    <a:pt x="1973" y="918"/>
                  </a:cubicBezTo>
                  <a:cubicBezTo>
                    <a:pt x="1973" y="918"/>
                    <a:pt x="1973" y="918"/>
                    <a:pt x="1973" y="918"/>
                  </a:cubicBezTo>
                  <a:cubicBezTo>
                    <a:pt x="1975" y="918"/>
                    <a:pt x="1978" y="918"/>
                    <a:pt x="1980" y="918"/>
                  </a:cubicBezTo>
                  <a:cubicBezTo>
                    <a:pt x="1986" y="918"/>
                    <a:pt x="1991" y="918"/>
                    <a:pt x="1998" y="918"/>
                  </a:cubicBezTo>
                  <a:cubicBezTo>
                    <a:pt x="1999" y="918"/>
                    <a:pt x="1999" y="918"/>
                    <a:pt x="1999" y="917"/>
                  </a:cubicBezTo>
                  <a:cubicBezTo>
                    <a:pt x="2000" y="916"/>
                    <a:pt x="2000" y="915"/>
                    <a:pt x="2001" y="914"/>
                  </a:cubicBezTo>
                  <a:cubicBezTo>
                    <a:pt x="2002" y="912"/>
                    <a:pt x="2004" y="911"/>
                    <a:pt x="2006" y="910"/>
                  </a:cubicBezTo>
                  <a:cubicBezTo>
                    <a:pt x="2008" y="909"/>
                    <a:pt x="2010" y="908"/>
                    <a:pt x="2012" y="908"/>
                  </a:cubicBezTo>
                  <a:cubicBezTo>
                    <a:pt x="2014" y="908"/>
                    <a:pt x="2015" y="908"/>
                    <a:pt x="2017" y="907"/>
                  </a:cubicBezTo>
                  <a:cubicBezTo>
                    <a:pt x="2022" y="905"/>
                    <a:pt x="2022" y="905"/>
                    <a:pt x="2022" y="905"/>
                  </a:cubicBezTo>
                  <a:cubicBezTo>
                    <a:pt x="2025" y="904"/>
                    <a:pt x="2027" y="903"/>
                    <a:pt x="2030" y="903"/>
                  </a:cubicBezTo>
                  <a:cubicBezTo>
                    <a:pt x="2028" y="902"/>
                    <a:pt x="2028" y="902"/>
                    <a:pt x="2028" y="902"/>
                  </a:cubicBezTo>
                  <a:cubicBezTo>
                    <a:pt x="2038" y="901"/>
                    <a:pt x="2038" y="901"/>
                    <a:pt x="2038" y="901"/>
                  </a:cubicBezTo>
                  <a:cubicBezTo>
                    <a:pt x="2041" y="900"/>
                    <a:pt x="2043" y="900"/>
                    <a:pt x="2046" y="900"/>
                  </a:cubicBezTo>
                  <a:cubicBezTo>
                    <a:pt x="2046" y="900"/>
                    <a:pt x="2047" y="900"/>
                    <a:pt x="2047" y="900"/>
                  </a:cubicBezTo>
                  <a:cubicBezTo>
                    <a:pt x="2048" y="900"/>
                    <a:pt x="2048" y="900"/>
                    <a:pt x="2048" y="900"/>
                  </a:cubicBezTo>
                  <a:cubicBezTo>
                    <a:pt x="2054" y="900"/>
                    <a:pt x="2054" y="900"/>
                    <a:pt x="2054" y="900"/>
                  </a:cubicBezTo>
                  <a:cubicBezTo>
                    <a:pt x="2049" y="904"/>
                    <a:pt x="2049" y="904"/>
                    <a:pt x="2049" y="904"/>
                  </a:cubicBezTo>
                  <a:cubicBezTo>
                    <a:pt x="2049" y="904"/>
                    <a:pt x="2049" y="905"/>
                    <a:pt x="2048" y="905"/>
                  </a:cubicBezTo>
                  <a:cubicBezTo>
                    <a:pt x="2047" y="907"/>
                    <a:pt x="2045" y="908"/>
                    <a:pt x="2044" y="908"/>
                  </a:cubicBezTo>
                  <a:cubicBezTo>
                    <a:pt x="2044" y="908"/>
                    <a:pt x="2044" y="908"/>
                    <a:pt x="2044" y="908"/>
                  </a:cubicBezTo>
                  <a:cubicBezTo>
                    <a:pt x="2043" y="910"/>
                    <a:pt x="2042" y="912"/>
                    <a:pt x="2042" y="913"/>
                  </a:cubicBezTo>
                  <a:cubicBezTo>
                    <a:pt x="2042" y="913"/>
                    <a:pt x="2043" y="914"/>
                    <a:pt x="2043" y="915"/>
                  </a:cubicBezTo>
                  <a:cubicBezTo>
                    <a:pt x="2044" y="916"/>
                    <a:pt x="2045" y="916"/>
                    <a:pt x="2045" y="917"/>
                  </a:cubicBezTo>
                  <a:cubicBezTo>
                    <a:pt x="2045" y="917"/>
                    <a:pt x="2045" y="918"/>
                    <a:pt x="2045" y="918"/>
                  </a:cubicBezTo>
                  <a:cubicBezTo>
                    <a:pt x="2045" y="919"/>
                    <a:pt x="2045" y="919"/>
                    <a:pt x="2045" y="919"/>
                  </a:cubicBezTo>
                  <a:cubicBezTo>
                    <a:pt x="2046" y="919"/>
                    <a:pt x="2046" y="920"/>
                    <a:pt x="2045" y="920"/>
                  </a:cubicBezTo>
                  <a:cubicBezTo>
                    <a:pt x="2045" y="924"/>
                    <a:pt x="2041" y="926"/>
                    <a:pt x="2039" y="927"/>
                  </a:cubicBezTo>
                  <a:cubicBezTo>
                    <a:pt x="2038" y="928"/>
                    <a:pt x="2038" y="928"/>
                    <a:pt x="2038" y="928"/>
                  </a:cubicBezTo>
                  <a:cubicBezTo>
                    <a:pt x="2038" y="928"/>
                    <a:pt x="2037" y="928"/>
                    <a:pt x="2037" y="928"/>
                  </a:cubicBezTo>
                  <a:cubicBezTo>
                    <a:pt x="2036" y="929"/>
                    <a:pt x="2036" y="929"/>
                    <a:pt x="2036" y="929"/>
                  </a:cubicBezTo>
                  <a:cubicBezTo>
                    <a:pt x="2035" y="929"/>
                    <a:pt x="2035" y="929"/>
                    <a:pt x="2035" y="930"/>
                  </a:cubicBezTo>
                  <a:cubicBezTo>
                    <a:pt x="2035" y="930"/>
                    <a:pt x="2035" y="930"/>
                    <a:pt x="2035" y="931"/>
                  </a:cubicBezTo>
                  <a:cubicBezTo>
                    <a:pt x="2035" y="932"/>
                    <a:pt x="2035" y="933"/>
                    <a:pt x="2035" y="934"/>
                  </a:cubicBezTo>
                  <a:cubicBezTo>
                    <a:pt x="2034" y="934"/>
                    <a:pt x="2034" y="934"/>
                    <a:pt x="2034" y="934"/>
                  </a:cubicBezTo>
                  <a:cubicBezTo>
                    <a:pt x="2034" y="936"/>
                    <a:pt x="2034" y="937"/>
                    <a:pt x="2033" y="939"/>
                  </a:cubicBezTo>
                  <a:cubicBezTo>
                    <a:pt x="2033" y="939"/>
                    <a:pt x="2033" y="939"/>
                    <a:pt x="2033" y="939"/>
                  </a:cubicBezTo>
                  <a:cubicBezTo>
                    <a:pt x="2033" y="939"/>
                    <a:pt x="2033" y="940"/>
                    <a:pt x="2033" y="941"/>
                  </a:cubicBezTo>
                  <a:cubicBezTo>
                    <a:pt x="2032" y="942"/>
                    <a:pt x="2032" y="942"/>
                    <a:pt x="2032" y="942"/>
                  </a:cubicBezTo>
                  <a:cubicBezTo>
                    <a:pt x="2032" y="943"/>
                    <a:pt x="2032" y="944"/>
                    <a:pt x="2031" y="945"/>
                  </a:cubicBezTo>
                  <a:cubicBezTo>
                    <a:pt x="2031" y="945"/>
                    <a:pt x="2031" y="946"/>
                    <a:pt x="2031" y="946"/>
                  </a:cubicBezTo>
                  <a:cubicBezTo>
                    <a:pt x="2031" y="947"/>
                    <a:pt x="2030" y="948"/>
                    <a:pt x="2029" y="949"/>
                  </a:cubicBezTo>
                  <a:cubicBezTo>
                    <a:pt x="2029" y="949"/>
                    <a:pt x="2029" y="949"/>
                    <a:pt x="2029" y="949"/>
                  </a:cubicBezTo>
                  <a:cubicBezTo>
                    <a:pt x="2029" y="949"/>
                    <a:pt x="2029" y="949"/>
                    <a:pt x="2029" y="949"/>
                  </a:cubicBezTo>
                  <a:cubicBezTo>
                    <a:pt x="2029" y="950"/>
                    <a:pt x="2029" y="950"/>
                    <a:pt x="2029" y="950"/>
                  </a:cubicBezTo>
                  <a:cubicBezTo>
                    <a:pt x="2029" y="951"/>
                    <a:pt x="2029" y="951"/>
                    <a:pt x="2029" y="951"/>
                  </a:cubicBezTo>
                  <a:cubicBezTo>
                    <a:pt x="2029" y="953"/>
                    <a:pt x="2029" y="955"/>
                    <a:pt x="2028" y="957"/>
                  </a:cubicBezTo>
                  <a:cubicBezTo>
                    <a:pt x="2027" y="959"/>
                    <a:pt x="2025" y="961"/>
                    <a:pt x="2024" y="963"/>
                  </a:cubicBezTo>
                  <a:cubicBezTo>
                    <a:pt x="2023" y="963"/>
                    <a:pt x="2023" y="964"/>
                    <a:pt x="2022" y="964"/>
                  </a:cubicBezTo>
                  <a:cubicBezTo>
                    <a:pt x="2022" y="965"/>
                    <a:pt x="2022" y="966"/>
                    <a:pt x="2021" y="968"/>
                  </a:cubicBezTo>
                  <a:cubicBezTo>
                    <a:pt x="2021" y="968"/>
                    <a:pt x="2021" y="968"/>
                    <a:pt x="2021" y="968"/>
                  </a:cubicBezTo>
                  <a:cubicBezTo>
                    <a:pt x="2025" y="968"/>
                    <a:pt x="2025" y="968"/>
                    <a:pt x="2025" y="968"/>
                  </a:cubicBezTo>
                  <a:cubicBezTo>
                    <a:pt x="2021" y="969"/>
                    <a:pt x="2021" y="969"/>
                    <a:pt x="2021" y="969"/>
                  </a:cubicBezTo>
                  <a:cubicBezTo>
                    <a:pt x="2021" y="969"/>
                    <a:pt x="2021" y="969"/>
                    <a:pt x="2021" y="969"/>
                  </a:cubicBezTo>
                  <a:cubicBezTo>
                    <a:pt x="2021" y="969"/>
                    <a:pt x="2021" y="970"/>
                    <a:pt x="2021" y="970"/>
                  </a:cubicBezTo>
                  <a:cubicBezTo>
                    <a:pt x="2021" y="970"/>
                    <a:pt x="2021" y="970"/>
                    <a:pt x="2021" y="970"/>
                  </a:cubicBezTo>
                  <a:cubicBezTo>
                    <a:pt x="2021" y="971"/>
                    <a:pt x="2021" y="971"/>
                    <a:pt x="2020" y="971"/>
                  </a:cubicBezTo>
                  <a:cubicBezTo>
                    <a:pt x="2020" y="971"/>
                    <a:pt x="2020" y="972"/>
                    <a:pt x="2020" y="972"/>
                  </a:cubicBezTo>
                  <a:cubicBezTo>
                    <a:pt x="2019" y="973"/>
                    <a:pt x="2017" y="974"/>
                    <a:pt x="2016" y="975"/>
                  </a:cubicBezTo>
                  <a:cubicBezTo>
                    <a:pt x="2015" y="975"/>
                    <a:pt x="2015" y="975"/>
                    <a:pt x="2015" y="975"/>
                  </a:cubicBezTo>
                  <a:cubicBezTo>
                    <a:pt x="2015" y="976"/>
                    <a:pt x="2014" y="976"/>
                    <a:pt x="2014" y="977"/>
                  </a:cubicBezTo>
                  <a:cubicBezTo>
                    <a:pt x="2014" y="978"/>
                    <a:pt x="2014" y="978"/>
                    <a:pt x="2014" y="979"/>
                  </a:cubicBezTo>
                  <a:cubicBezTo>
                    <a:pt x="2014" y="980"/>
                    <a:pt x="2014" y="980"/>
                    <a:pt x="2014" y="980"/>
                  </a:cubicBezTo>
                  <a:cubicBezTo>
                    <a:pt x="2014" y="981"/>
                    <a:pt x="2014" y="982"/>
                    <a:pt x="2013" y="983"/>
                  </a:cubicBezTo>
                  <a:cubicBezTo>
                    <a:pt x="2012" y="985"/>
                    <a:pt x="2008" y="986"/>
                    <a:pt x="2006" y="986"/>
                  </a:cubicBezTo>
                  <a:cubicBezTo>
                    <a:pt x="2005" y="986"/>
                    <a:pt x="2003" y="985"/>
                    <a:pt x="2000" y="984"/>
                  </a:cubicBezTo>
                  <a:cubicBezTo>
                    <a:pt x="2000" y="984"/>
                    <a:pt x="2000" y="984"/>
                    <a:pt x="2000" y="984"/>
                  </a:cubicBezTo>
                  <a:cubicBezTo>
                    <a:pt x="1999" y="984"/>
                    <a:pt x="1999" y="984"/>
                    <a:pt x="1998" y="984"/>
                  </a:cubicBezTo>
                  <a:cubicBezTo>
                    <a:pt x="1998" y="983"/>
                    <a:pt x="1997" y="983"/>
                    <a:pt x="1996" y="983"/>
                  </a:cubicBezTo>
                  <a:cubicBezTo>
                    <a:pt x="1993" y="983"/>
                    <a:pt x="1990" y="982"/>
                    <a:pt x="1989" y="980"/>
                  </a:cubicBezTo>
                  <a:cubicBezTo>
                    <a:pt x="1988" y="980"/>
                    <a:pt x="1988" y="980"/>
                    <a:pt x="1988" y="980"/>
                  </a:cubicBezTo>
                  <a:cubicBezTo>
                    <a:pt x="1988" y="980"/>
                    <a:pt x="1988" y="980"/>
                    <a:pt x="1988" y="981"/>
                  </a:cubicBezTo>
                  <a:cubicBezTo>
                    <a:pt x="1991" y="984"/>
                    <a:pt x="1991" y="984"/>
                    <a:pt x="1991" y="984"/>
                  </a:cubicBezTo>
                  <a:cubicBezTo>
                    <a:pt x="1987" y="982"/>
                    <a:pt x="1987" y="982"/>
                    <a:pt x="1987" y="982"/>
                  </a:cubicBezTo>
                  <a:cubicBezTo>
                    <a:pt x="1986" y="983"/>
                    <a:pt x="1985" y="985"/>
                    <a:pt x="1983" y="986"/>
                  </a:cubicBezTo>
                  <a:cubicBezTo>
                    <a:pt x="1983" y="986"/>
                    <a:pt x="1983" y="986"/>
                    <a:pt x="1983" y="986"/>
                  </a:cubicBezTo>
                  <a:cubicBezTo>
                    <a:pt x="1981" y="988"/>
                    <a:pt x="1977" y="989"/>
                    <a:pt x="1974" y="990"/>
                  </a:cubicBezTo>
                  <a:cubicBezTo>
                    <a:pt x="1974" y="990"/>
                    <a:pt x="1974" y="990"/>
                    <a:pt x="1974" y="990"/>
                  </a:cubicBezTo>
                  <a:cubicBezTo>
                    <a:pt x="1976" y="995"/>
                    <a:pt x="1978" y="1001"/>
                    <a:pt x="1978" y="1008"/>
                  </a:cubicBezTo>
                  <a:cubicBezTo>
                    <a:pt x="1978" y="1010"/>
                    <a:pt x="1978" y="1013"/>
                    <a:pt x="1979" y="1015"/>
                  </a:cubicBezTo>
                  <a:cubicBezTo>
                    <a:pt x="1979" y="1017"/>
                    <a:pt x="1979" y="1018"/>
                    <a:pt x="1979" y="1019"/>
                  </a:cubicBezTo>
                  <a:cubicBezTo>
                    <a:pt x="1979" y="1023"/>
                    <a:pt x="1978" y="1026"/>
                    <a:pt x="1978" y="1029"/>
                  </a:cubicBezTo>
                  <a:cubicBezTo>
                    <a:pt x="1977" y="1030"/>
                    <a:pt x="1977" y="1030"/>
                    <a:pt x="1977" y="1030"/>
                  </a:cubicBezTo>
                  <a:cubicBezTo>
                    <a:pt x="1976" y="1034"/>
                    <a:pt x="1975" y="1037"/>
                    <a:pt x="1970" y="1037"/>
                  </a:cubicBezTo>
                  <a:cubicBezTo>
                    <a:pt x="1968" y="1037"/>
                    <a:pt x="1967" y="1037"/>
                    <a:pt x="1965" y="1038"/>
                  </a:cubicBezTo>
                  <a:cubicBezTo>
                    <a:pt x="1966" y="1039"/>
                    <a:pt x="1966" y="1040"/>
                    <a:pt x="1966" y="1041"/>
                  </a:cubicBezTo>
                  <a:cubicBezTo>
                    <a:pt x="1966" y="1042"/>
                    <a:pt x="1966" y="1042"/>
                    <a:pt x="1966" y="1042"/>
                  </a:cubicBezTo>
                  <a:cubicBezTo>
                    <a:pt x="1964" y="1042"/>
                    <a:pt x="1964" y="1042"/>
                    <a:pt x="1964" y="1042"/>
                  </a:cubicBezTo>
                  <a:cubicBezTo>
                    <a:pt x="1965" y="1043"/>
                    <a:pt x="1966" y="1044"/>
                    <a:pt x="1967" y="1046"/>
                  </a:cubicBezTo>
                  <a:cubicBezTo>
                    <a:pt x="1968" y="1045"/>
                    <a:pt x="1969" y="1043"/>
                    <a:pt x="1969" y="1042"/>
                  </a:cubicBezTo>
                  <a:cubicBezTo>
                    <a:pt x="1968" y="1041"/>
                    <a:pt x="1966" y="1040"/>
                    <a:pt x="1966" y="1039"/>
                  </a:cubicBezTo>
                  <a:cubicBezTo>
                    <a:pt x="1966" y="1038"/>
                    <a:pt x="1967" y="1038"/>
                    <a:pt x="1968" y="1039"/>
                  </a:cubicBezTo>
                  <a:cubicBezTo>
                    <a:pt x="1968" y="1039"/>
                    <a:pt x="1968" y="1039"/>
                    <a:pt x="1967" y="1039"/>
                  </a:cubicBezTo>
                  <a:cubicBezTo>
                    <a:pt x="1968" y="1039"/>
                    <a:pt x="1970" y="1039"/>
                    <a:pt x="1970" y="1040"/>
                  </a:cubicBezTo>
                  <a:cubicBezTo>
                    <a:pt x="1970" y="1040"/>
                    <a:pt x="1969" y="1040"/>
                    <a:pt x="1968" y="1040"/>
                  </a:cubicBezTo>
                  <a:cubicBezTo>
                    <a:pt x="1969" y="1041"/>
                    <a:pt x="1970" y="1040"/>
                    <a:pt x="1972" y="1040"/>
                  </a:cubicBezTo>
                  <a:cubicBezTo>
                    <a:pt x="1974" y="1039"/>
                    <a:pt x="1974" y="1040"/>
                    <a:pt x="1976" y="1041"/>
                  </a:cubicBezTo>
                  <a:cubicBezTo>
                    <a:pt x="1975" y="1039"/>
                    <a:pt x="1979" y="1036"/>
                    <a:pt x="1981" y="1034"/>
                  </a:cubicBezTo>
                  <a:cubicBezTo>
                    <a:pt x="1982" y="1032"/>
                    <a:pt x="1983" y="1031"/>
                    <a:pt x="1984" y="1029"/>
                  </a:cubicBezTo>
                  <a:cubicBezTo>
                    <a:pt x="1984" y="1029"/>
                    <a:pt x="1983" y="1028"/>
                    <a:pt x="1983" y="1028"/>
                  </a:cubicBezTo>
                  <a:cubicBezTo>
                    <a:pt x="1983" y="1025"/>
                    <a:pt x="1986" y="1023"/>
                    <a:pt x="1989" y="1023"/>
                  </a:cubicBezTo>
                  <a:cubicBezTo>
                    <a:pt x="1990" y="1023"/>
                    <a:pt x="1991" y="1023"/>
                    <a:pt x="1991" y="1024"/>
                  </a:cubicBezTo>
                  <a:cubicBezTo>
                    <a:pt x="1991" y="1024"/>
                    <a:pt x="1991" y="1024"/>
                    <a:pt x="1991" y="1024"/>
                  </a:cubicBezTo>
                  <a:cubicBezTo>
                    <a:pt x="1993" y="1025"/>
                    <a:pt x="1993" y="1026"/>
                    <a:pt x="1994" y="1027"/>
                  </a:cubicBezTo>
                  <a:cubicBezTo>
                    <a:pt x="1995" y="1026"/>
                    <a:pt x="1996" y="1025"/>
                    <a:pt x="1996" y="1024"/>
                  </a:cubicBezTo>
                  <a:cubicBezTo>
                    <a:pt x="1996" y="1026"/>
                    <a:pt x="1995" y="1034"/>
                    <a:pt x="1997" y="1035"/>
                  </a:cubicBezTo>
                  <a:cubicBezTo>
                    <a:pt x="1997" y="1035"/>
                    <a:pt x="1997" y="1033"/>
                    <a:pt x="1997" y="1033"/>
                  </a:cubicBezTo>
                  <a:cubicBezTo>
                    <a:pt x="1998" y="1033"/>
                    <a:pt x="1999" y="1034"/>
                    <a:pt x="2000" y="1034"/>
                  </a:cubicBezTo>
                  <a:cubicBezTo>
                    <a:pt x="2001" y="1035"/>
                    <a:pt x="2003" y="1034"/>
                    <a:pt x="2004" y="1033"/>
                  </a:cubicBezTo>
                  <a:cubicBezTo>
                    <a:pt x="2006" y="1033"/>
                    <a:pt x="2009" y="1039"/>
                    <a:pt x="2012" y="1039"/>
                  </a:cubicBezTo>
                  <a:cubicBezTo>
                    <a:pt x="2013" y="1038"/>
                    <a:pt x="2014" y="1037"/>
                    <a:pt x="2016" y="1037"/>
                  </a:cubicBezTo>
                  <a:cubicBezTo>
                    <a:pt x="2018" y="1036"/>
                    <a:pt x="2022" y="1035"/>
                    <a:pt x="2025" y="1035"/>
                  </a:cubicBezTo>
                  <a:cubicBezTo>
                    <a:pt x="2029" y="1034"/>
                    <a:pt x="2034" y="1029"/>
                    <a:pt x="2038" y="1027"/>
                  </a:cubicBezTo>
                  <a:cubicBezTo>
                    <a:pt x="2042" y="1024"/>
                    <a:pt x="2047" y="1023"/>
                    <a:pt x="2050" y="1020"/>
                  </a:cubicBezTo>
                  <a:cubicBezTo>
                    <a:pt x="2053" y="1017"/>
                    <a:pt x="2056" y="1013"/>
                    <a:pt x="2058" y="1010"/>
                  </a:cubicBezTo>
                  <a:cubicBezTo>
                    <a:pt x="2059" y="1008"/>
                    <a:pt x="2060" y="1004"/>
                    <a:pt x="2061" y="1003"/>
                  </a:cubicBezTo>
                  <a:cubicBezTo>
                    <a:pt x="2064" y="1001"/>
                    <a:pt x="2066" y="999"/>
                    <a:pt x="2069" y="997"/>
                  </a:cubicBezTo>
                  <a:cubicBezTo>
                    <a:pt x="2073" y="993"/>
                    <a:pt x="2075" y="988"/>
                    <a:pt x="2079" y="985"/>
                  </a:cubicBezTo>
                  <a:cubicBezTo>
                    <a:pt x="2083" y="980"/>
                    <a:pt x="2088" y="976"/>
                    <a:pt x="2092" y="972"/>
                  </a:cubicBezTo>
                  <a:cubicBezTo>
                    <a:pt x="2096" y="968"/>
                    <a:pt x="2099" y="965"/>
                    <a:pt x="2102" y="961"/>
                  </a:cubicBezTo>
                  <a:cubicBezTo>
                    <a:pt x="2105" y="957"/>
                    <a:pt x="2109" y="952"/>
                    <a:pt x="2112" y="947"/>
                  </a:cubicBezTo>
                  <a:cubicBezTo>
                    <a:pt x="2114" y="943"/>
                    <a:pt x="2114" y="938"/>
                    <a:pt x="2117" y="935"/>
                  </a:cubicBezTo>
                  <a:cubicBezTo>
                    <a:pt x="2120" y="931"/>
                    <a:pt x="2124" y="929"/>
                    <a:pt x="2126" y="924"/>
                  </a:cubicBezTo>
                  <a:cubicBezTo>
                    <a:pt x="2128" y="921"/>
                    <a:pt x="2129" y="917"/>
                    <a:pt x="2132" y="915"/>
                  </a:cubicBezTo>
                  <a:cubicBezTo>
                    <a:pt x="2135" y="912"/>
                    <a:pt x="2140" y="909"/>
                    <a:pt x="2143" y="905"/>
                  </a:cubicBezTo>
                  <a:cubicBezTo>
                    <a:pt x="2146" y="901"/>
                    <a:pt x="2147" y="896"/>
                    <a:pt x="2149" y="892"/>
                  </a:cubicBezTo>
                  <a:cubicBezTo>
                    <a:pt x="2150" y="890"/>
                    <a:pt x="2151" y="887"/>
                    <a:pt x="2148" y="888"/>
                  </a:cubicBezTo>
                  <a:cubicBezTo>
                    <a:pt x="2150" y="884"/>
                    <a:pt x="2153" y="879"/>
                    <a:pt x="2154" y="874"/>
                  </a:cubicBezTo>
                  <a:cubicBezTo>
                    <a:pt x="2154" y="873"/>
                    <a:pt x="2153" y="872"/>
                    <a:pt x="2153" y="870"/>
                  </a:cubicBezTo>
                  <a:cubicBezTo>
                    <a:pt x="2153" y="868"/>
                    <a:pt x="2151" y="868"/>
                    <a:pt x="2152" y="866"/>
                  </a:cubicBezTo>
                  <a:cubicBezTo>
                    <a:pt x="2153" y="864"/>
                    <a:pt x="2155" y="863"/>
                    <a:pt x="2156" y="861"/>
                  </a:cubicBezTo>
                  <a:cubicBezTo>
                    <a:pt x="2154" y="862"/>
                    <a:pt x="2153" y="861"/>
                    <a:pt x="2153" y="858"/>
                  </a:cubicBezTo>
                  <a:cubicBezTo>
                    <a:pt x="2153" y="856"/>
                    <a:pt x="2153" y="854"/>
                    <a:pt x="2153" y="852"/>
                  </a:cubicBezTo>
                  <a:cubicBezTo>
                    <a:pt x="2152" y="848"/>
                    <a:pt x="2152" y="846"/>
                    <a:pt x="2154" y="842"/>
                  </a:cubicBezTo>
                  <a:cubicBezTo>
                    <a:pt x="2156" y="839"/>
                    <a:pt x="2155" y="835"/>
                    <a:pt x="2156" y="831"/>
                  </a:cubicBezTo>
                  <a:cubicBezTo>
                    <a:pt x="2156" y="830"/>
                    <a:pt x="2158" y="829"/>
                    <a:pt x="2159" y="829"/>
                  </a:cubicBezTo>
                  <a:cubicBezTo>
                    <a:pt x="2161" y="828"/>
                    <a:pt x="2158" y="828"/>
                    <a:pt x="2158" y="827"/>
                  </a:cubicBezTo>
                  <a:cubicBezTo>
                    <a:pt x="2159" y="822"/>
                    <a:pt x="2167" y="818"/>
                    <a:pt x="2170" y="815"/>
                  </a:cubicBezTo>
                  <a:cubicBezTo>
                    <a:pt x="2166" y="812"/>
                    <a:pt x="2169" y="811"/>
                    <a:pt x="2172" y="808"/>
                  </a:cubicBezTo>
                  <a:cubicBezTo>
                    <a:pt x="2169" y="809"/>
                    <a:pt x="2166" y="804"/>
                    <a:pt x="2165" y="802"/>
                  </a:cubicBezTo>
                  <a:cubicBezTo>
                    <a:pt x="2164" y="801"/>
                    <a:pt x="2166" y="801"/>
                    <a:pt x="2166" y="801"/>
                  </a:cubicBezTo>
                  <a:cubicBezTo>
                    <a:pt x="2167" y="798"/>
                    <a:pt x="2167" y="794"/>
                    <a:pt x="2167" y="791"/>
                  </a:cubicBezTo>
                  <a:cubicBezTo>
                    <a:pt x="2165" y="792"/>
                    <a:pt x="2164" y="791"/>
                    <a:pt x="2163" y="790"/>
                  </a:cubicBezTo>
                  <a:cubicBezTo>
                    <a:pt x="2162" y="789"/>
                    <a:pt x="2161" y="788"/>
                    <a:pt x="2160" y="787"/>
                  </a:cubicBezTo>
                  <a:cubicBezTo>
                    <a:pt x="2159" y="786"/>
                    <a:pt x="2157" y="786"/>
                    <a:pt x="2157" y="785"/>
                  </a:cubicBezTo>
                  <a:cubicBezTo>
                    <a:pt x="2160" y="786"/>
                    <a:pt x="2163" y="787"/>
                    <a:pt x="2166" y="788"/>
                  </a:cubicBezTo>
                  <a:cubicBezTo>
                    <a:pt x="2166" y="788"/>
                    <a:pt x="2167" y="787"/>
                    <a:pt x="2166" y="787"/>
                  </a:cubicBezTo>
                  <a:cubicBezTo>
                    <a:pt x="2169" y="786"/>
                    <a:pt x="2170" y="785"/>
                    <a:pt x="2170" y="782"/>
                  </a:cubicBezTo>
                  <a:cubicBezTo>
                    <a:pt x="2170" y="778"/>
                    <a:pt x="2163" y="776"/>
                    <a:pt x="2160" y="774"/>
                  </a:cubicBezTo>
                  <a:cubicBezTo>
                    <a:pt x="2157" y="773"/>
                    <a:pt x="2154" y="771"/>
                    <a:pt x="2152" y="769"/>
                  </a:cubicBezTo>
                  <a:cubicBezTo>
                    <a:pt x="2147" y="765"/>
                    <a:pt x="2144" y="760"/>
                    <a:pt x="2140" y="755"/>
                  </a:cubicBezTo>
                  <a:cubicBezTo>
                    <a:pt x="2139" y="754"/>
                    <a:pt x="2133" y="755"/>
                    <a:pt x="2131" y="755"/>
                  </a:cubicBezTo>
                  <a:cubicBezTo>
                    <a:pt x="2126" y="754"/>
                    <a:pt x="2122" y="754"/>
                    <a:pt x="2117" y="754"/>
                  </a:cubicBezTo>
                  <a:cubicBezTo>
                    <a:pt x="2120" y="755"/>
                    <a:pt x="2119" y="758"/>
                    <a:pt x="2118" y="760"/>
                  </a:cubicBezTo>
                  <a:cubicBezTo>
                    <a:pt x="2122" y="757"/>
                    <a:pt x="2118" y="764"/>
                    <a:pt x="2118" y="765"/>
                  </a:cubicBezTo>
                  <a:cubicBezTo>
                    <a:pt x="2118" y="766"/>
                    <a:pt x="2118" y="766"/>
                    <a:pt x="2118" y="767"/>
                  </a:cubicBezTo>
                  <a:cubicBezTo>
                    <a:pt x="2118" y="768"/>
                    <a:pt x="2116" y="770"/>
                    <a:pt x="2115" y="772"/>
                  </a:cubicBezTo>
                  <a:cubicBezTo>
                    <a:pt x="2113" y="775"/>
                    <a:pt x="2112" y="774"/>
                    <a:pt x="2109" y="775"/>
                  </a:cubicBezTo>
                  <a:cubicBezTo>
                    <a:pt x="2109" y="774"/>
                    <a:pt x="2111" y="772"/>
                    <a:pt x="2111" y="771"/>
                  </a:cubicBezTo>
                  <a:cubicBezTo>
                    <a:pt x="2112" y="770"/>
                    <a:pt x="2114" y="769"/>
                    <a:pt x="2115" y="767"/>
                  </a:cubicBezTo>
                  <a:cubicBezTo>
                    <a:pt x="2116" y="766"/>
                    <a:pt x="2117" y="763"/>
                    <a:pt x="2115" y="762"/>
                  </a:cubicBezTo>
                  <a:cubicBezTo>
                    <a:pt x="2113" y="762"/>
                    <a:pt x="2107" y="769"/>
                    <a:pt x="2106" y="770"/>
                  </a:cubicBezTo>
                  <a:cubicBezTo>
                    <a:pt x="2104" y="772"/>
                    <a:pt x="2102" y="773"/>
                    <a:pt x="2099" y="774"/>
                  </a:cubicBezTo>
                  <a:cubicBezTo>
                    <a:pt x="2097" y="774"/>
                    <a:pt x="2090" y="774"/>
                    <a:pt x="2090" y="772"/>
                  </a:cubicBezTo>
                  <a:cubicBezTo>
                    <a:pt x="2090" y="771"/>
                    <a:pt x="2095" y="770"/>
                    <a:pt x="2095" y="770"/>
                  </a:cubicBezTo>
                  <a:cubicBezTo>
                    <a:pt x="2097" y="769"/>
                    <a:pt x="2096" y="767"/>
                    <a:pt x="2097" y="766"/>
                  </a:cubicBezTo>
                  <a:cubicBezTo>
                    <a:pt x="2098" y="766"/>
                    <a:pt x="2102" y="764"/>
                    <a:pt x="2101" y="763"/>
                  </a:cubicBezTo>
                  <a:cubicBezTo>
                    <a:pt x="2098" y="763"/>
                    <a:pt x="2097" y="763"/>
                    <a:pt x="2095" y="762"/>
                  </a:cubicBezTo>
                  <a:cubicBezTo>
                    <a:pt x="2093" y="761"/>
                    <a:pt x="2089" y="760"/>
                    <a:pt x="2094" y="760"/>
                  </a:cubicBezTo>
                  <a:cubicBezTo>
                    <a:pt x="2095" y="760"/>
                    <a:pt x="2097" y="757"/>
                    <a:pt x="2096" y="756"/>
                  </a:cubicBezTo>
                  <a:cubicBezTo>
                    <a:pt x="2093" y="753"/>
                    <a:pt x="2093" y="755"/>
                    <a:pt x="2090" y="756"/>
                  </a:cubicBezTo>
                  <a:cubicBezTo>
                    <a:pt x="2088" y="757"/>
                    <a:pt x="2087" y="758"/>
                    <a:pt x="2088" y="760"/>
                  </a:cubicBezTo>
                  <a:cubicBezTo>
                    <a:pt x="2090" y="761"/>
                    <a:pt x="2091" y="760"/>
                    <a:pt x="2091" y="762"/>
                  </a:cubicBezTo>
                  <a:cubicBezTo>
                    <a:pt x="2090" y="764"/>
                    <a:pt x="2082" y="768"/>
                    <a:pt x="2080" y="767"/>
                  </a:cubicBezTo>
                  <a:cubicBezTo>
                    <a:pt x="2077" y="765"/>
                    <a:pt x="2081" y="762"/>
                    <a:pt x="2081" y="760"/>
                  </a:cubicBezTo>
                  <a:cubicBezTo>
                    <a:pt x="2082" y="758"/>
                    <a:pt x="2082" y="757"/>
                    <a:pt x="2081" y="756"/>
                  </a:cubicBezTo>
                  <a:cubicBezTo>
                    <a:pt x="2081" y="756"/>
                    <a:pt x="2082" y="755"/>
                    <a:pt x="2082" y="755"/>
                  </a:cubicBezTo>
                  <a:cubicBezTo>
                    <a:pt x="2082" y="755"/>
                    <a:pt x="2081" y="755"/>
                    <a:pt x="2081" y="754"/>
                  </a:cubicBezTo>
                  <a:cubicBezTo>
                    <a:pt x="2081" y="754"/>
                    <a:pt x="2082" y="754"/>
                    <a:pt x="2082" y="754"/>
                  </a:cubicBezTo>
                  <a:cubicBezTo>
                    <a:pt x="2082" y="754"/>
                    <a:pt x="2082" y="753"/>
                    <a:pt x="2082" y="753"/>
                  </a:cubicBezTo>
                  <a:cubicBezTo>
                    <a:pt x="2082" y="753"/>
                    <a:pt x="2081" y="752"/>
                    <a:pt x="2081" y="751"/>
                  </a:cubicBezTo>
                  <a:cubicBezTo>
                    <a:pt x="2081" y="750"/>
                    <a:pt x="2082" y="751"/>
                    <a:pt x="2082" y="751"/>
                  </a:cubicBezTo>
                  <a:cubicBezTo>
                    <a:pt x="2082" y="751"/>
                    <a:pt x="2082" y="750"/>
                    <a:pt x="2082" y="750"/>
                  </a:cubicBezTo>
                  <a:cubicBezTo>
                    <a:pt x="2083" y="748"/>
                    <a:pt x="2082" y="747"/>
                    <a:pt x="2081" y="745"/>
                  </a:cubicBezTo>
                  <a:cubicBezTo>
                    <a:pt x="2079" y="743"/>
                    <a:pt x="2073" y="744"/>
                    <a:pt x="2069" y="744"/>
                  </a:cubicBezTo>
                  <a:cubicBezTo>
                    <a:pt x="2064" y="744"/>
                    <a:pt x="2058" y="744"/>
                    <a:pt x="2052" y="743"/>
                  </a:cubicBezTo>
                  <a:cubicBezTo>
                    <a:pt x="2053" y="742"/>
                    <a:pt x="2051" y="741"/>
                    <a:pt x="2051" y="739"/>
                  </a:cubicBezTo>
                  <a:cubicBezTo>
                    <a:pt x="2051" y="738"/>
                    <a:pt x="2053" y="736"/>
                    <a:pt x="2054" y="735"/>
                  </a:cubicBezTo>
                  <a:cubicBezTo>
                    <a:pt x="2057" y="733"/>
                    <a:pt x="2060" y="732"/>
                    <a:pt x="2063" y="730"/>
                  </a:cubicBezTo>
                  <a:cubicBezTo>
                    <a:pt x="2067" y="728"/>
                    <a:pt x="2069" y="727"/>
                    <a:pt x="2072" y="724"/>
                  </a:cubicBezTo>
                  <a:cubicBezTo>
                    <a:pt x="2076" y="720"/>
                    <a:pt x="2083" y="717"/>
                    <a:pt x="2088" y="714"/>
                  </a:cubicBezTo>
                  <a:cubicBezTo>
                    <a:pt x="2092" y="712"/>
                    <a:pt x="2096" y="709"/>
                    <a:pt x="2099" y="706"/>
                  </a:cubicBezTo>
                  <a:cubicBezTo>
                    <a:pt x="2101" y="704"/>
                    <a:pt x="2110" y="699"/>
                    <a:pt x="2109" y="696"/>
                  </a:cubicBezTo>
                  <a:cubicBezTo>
                    <a:pt x="2109" y="696"/>
                    <a:pt x="2108" y="696"/>
                    <a:pt x="2108" y="695"/>
                  </a:cubicBezTo>
                  <a:cubicBezTo>
                    <a:pt x="2107" y="694"/>
                    <a:pt x="2111" y="691"/>
                    <a:pt x="2111" y="690"/>
                  </a:cubicBezTo>
                  <a:cubicBezTo>
                    <a:pt x="2115" y="686"/>
                    <a:pt x="2117" y="682"/>
                    <a:pt x="2121" y="679"/>
                  </a:cubicBezTo>
                  <a:cubicBezTo>
                    <a:pt x="2127" y="675"/>
                    <a:pt x="2133" y="670"/>
                    <a:pt x="2140" y="665"/>
                  </a:cubicBezTo>
                  <a:cubicBezTo>
                    <a:pt x="2143" y="663"/>
                    <a:pt x="2147" y="662"/>
                    <a:pt x="2151" y="660"/>
                  </a:cubicBezTo>
                  <a:cubicBezTo>
                    <a:pt x="2153" y="659"/>
                    <a:pt x="2153" y="657"/>
                    <a:pt x="2153" y="656"/>
                  </a:cubicBezTo>
                  <a:cubicBezTo>
                    <a:pt x="2154" y="653"/>
                    <a:pt x="2156" y="650"/>
                    <a:pt x="2157" y="648"/>
                  </a:cubicBezTo>
                  <a:cubicBezTo>
                    <a:pt x="2158" y="645"/>
                    <a:pt x="2160" y="644"/>
                    <a:pt x="2162" y="642"/>
                  </a:cubicBezTo>
                  <a:cubicBezTo>
                    <a:pt x="2168" y="638"/>
                    <a:pt x="2174" y="633"/>
                    <a:pt x="2179" y="628"/>
                  </a:cubicBezTo>
                  <a:cubicBezTo>
                    <a:pt x="2183" y="626"/>
                    <a:pt x="2186" y="623"/>
                    <a:pt x="2190" y="621"/>
                  </a:cubicBezTo>
                  <a:cubicBezTo>
                    <a:pt x="2194" y="619"/>
                    <a:pt x="2200" y="616"/>
                    <a:pt x="2205" y="616"/>
                  </a:cubicBezTo>
                  <a:cubicBezTo>
                    <a:pt x="2206" y="616"/>
                    <a:pt x="2208" y="617"/>
                    <a:pt x="2209" y="617"/>
                  </a:cubicBezTo>
                  <a:cubicBezTo>
                    <a:pt x="2212" y="617"/>
                    <a:pt x="2215" y="615"/>
                    <a:pt x="2217" y="615"/>
                  </a:cubicBezTo>
                  <a:cubicBezTo>
                    <a:pt x="2220" y="615"/>
                    <a:pt x="2224" y="615"/>
                    <a:pt x="2227" y="615"/>
                  </a:cubicBezTo>
                  <a:cubicBezTo>
                    <a:pt x="2226" y="617"/>
                    <a:pt x="2231" y="616"/>
                    <a:pt x="2232" y="615"/>
                  </a:cubicBezTo>
                  <a:cubicBezTo>
                    <a:pt x="2234" y="615"/>
                    <a:pt x="2234" y="616"/>
                    <a:pt x="2237" y="616"/>
                  </a:cubicBezTo>
                  <a:cubicBezTo>
                    <a:pt x="2239" y="616"/>
                    <a:pt x="2241" y="615"/>
                    <a:pt x="2244" y="615"/>
                  </a:cubicBezTo>
                  <a:cubicBezTo>
                    <a:pt x="2244" y="615"/>
                    <a:pt x="2245" y="615"/>
                    <a:pt x="2246" y="615"/>
                  </a:cubicBezTo>
                  <a:cubicBezTo>
                    <a:pt x="2247" y="615"/>
                    <a:pt x="2248" y="615"/>
                    <a:pt x="2249" y="615"/>
                  </a:cubicBezTo>
                  <a:cubicBezTo>
                    <a:pt x="2250" y="615"/>
                    <a:pt x="2255" y="615"/>
                    <a:pt x="2256" y="615"/>
                  </a:cubicBezTo>
                  <a:cubicBezTo>
                    <a:pt x="2257" y="617"/>
                    <a:pt x="2253" y="618"/>
                    <a:pt x="2254" y="619"/>
                  </a:cubicBezTo>
                  <a:cubicBezTo>
                    <a:pt x="2254" y="621"/>
                    <a:pt x="2263" y="622"/>
                    <a:pt x="2264" y="621"/>
                  </a:cubicBezTo>
                  <a:cubicBezTo>
                    <a:pt x="2264" y="620"/>
                    <a:pt x="2263" y="620"/>
                    <a:pt x="2264" y="619"/>
                  </a:cubicBezTo>
                  <a:cubicBezTo>
                    <a:pt x="2264" y="618"/>
                    <a:pt x="2265" y="617"/>
                    <a:pt x="2266" y="615"/>
                  </a:cubicBezTo>
                  <a:cubicBezTo>
                    <a:pt x="2267" y="613"/>
                    <a:pt x="2271" y="614"/>
                    <a:pt x="2274" y="616"/>
                  </a:cubicBezTo>
                  <a:cubicBezTo>
                    <a:pt x="2280" y="618"/>
                    <a:pt x="2286" y="621"/>
                    <a:pt x="2292" y="619"/>
                  </a:cubicBezTo>
                  <a:cubicBezTo>
                    <a:pt x="2295" y="618"/>
                    <a:pt x="2297" y="616"/>
                    <a:pt x="2300" y="615"/>
                  </a:cubicBezTo>
                  <a:cubicBezTo>
                    <a:pt x="2302" y="614"/>
                    <a:pt x="2305" y="617"/>
                    <a:pt x="2307" y="617"/>
                  </a:cubicBezTo>
                  <a:cubicBezTo>
                    <a:pt x="2308" y="618"/>
                    <a:pt x="2310" y="619"/>
                    <a:pt x="2312" y="619"/>
                  </a:cubicBezTo>
                  <a:cubicBezTo>
                    <a:pt x="2314" y="619"/>
                    <a:pt x="2313" y="619"/>
                    <a:pt x="2313" y="618"/>
                  </a:cubicBezTo>
                  <a:cubicBezTo>
                    <a:pt x="2313" y="616"/>
                    <a:pt x="2312" y="617"/>
                    <a:pt x="2311" y="616"/>
                  </a:cubicBezTo>
                  <a:cubicBezTo>
                    <a:pt x="2309" y="616"/>
                    <a:pt x="2308" y="616"/>
                    <a:pt x="2309" y="614"/>
                  </a:cubicBezTo>
                  <a:cubicBezTo>
                    <a:pt x="2312" y="611"/>
                    <a:pt x="2315" y="613"/>
                    <a:pt x="2319" y="613"/>
                  </a:cubicBezTo>
                  <a:cubicBezTo>
                    <a:pt x="2319" y="611"/>
                    <a:pt x="2317" y="612"/>
                    <a:pt x="2316" y="610"/>
                  </a:cubicBezTo>
                  <a:cubicBezTo>
                    <a:pt x="2316" y="608"/>
                    <a:pt x="2321" y="605"/>
                    <a:pt x="2324" y="605"/>
                  </a:cubicBezTo>
                  <a:cubicBezTo>
                    <a:pt x="2326" y="605"/>
                    <a:pt x="2329" y="605"/>
                    <a:pt x="2331" y="606"/>
                  </a:cubicBezTo>
                  <a:cubicBezTo>
                    <a:pt x="2333" y="607"/>
                    <a:pt x="2335" y="607"/>
                    <a:pt x="2337" y="608"/>
                  </a:cubicBezTo>
                  <a:cubicBezTo>
                    <a:pt x="2339" y="609"/>
                    <a:pt x="2342" y="609"/>
                    <a:pt x="2344" y="610"/>
                  </a:cubicBezTo>
                  <a:cubicBezTo>
                    <a:pt x="2344" y="610"/>
                    <a:pt x="2345" y="612"/>
                    <a:pt x="2346" y="613"/>
                  </a:cubicBezTo>
                  <a:cubicBezTo>
                    <a:pt x="2347" y="614"/>
                    <a:pt x="2350" y="615"/>
                    <a:pt x="2354" y="610"/>
                  </a:cubicBezTo>
                  <a:cubicBezTo>
                    <a:pt x="2354" y="610"/>
                    <a:pt x="2355" y="611"/>
                    <a:pt x="2356" y="611"/>
                  </a:cubicBezTo>
                  <a:cubicBezTo>
                    <a:pt x="2359" y="612"/>
                    <a:pt x="2361" y="613"/>
                    <a:pt x="2364" y="614"/>
                  </a:cubicBezTo>
                  <a:cubicBezTo>
                    <a:pt x="2365" y="615"/>
                    <a:pt x="2365" y="615"/>
                    <a:pt x="2366" y="616"/>
                  </a:cubicBezTo>
                  <a:cubicBezTo>
                    <a:pt x="2366" y="617"/>
                    <a:pt x="2365" y="617"/>
                    <a:pt x="2366" y="618"/>
                  </a:cubicBezTo>
                  <a:cubicBezTo>
                    <a:pt x="2368" y="620"/>
                    <a:pt x="2374" y="619"/>
                    <a:pt x="2377" y="620"/>
                  </a:cubicBezTo>
                  <a:cubicBezTo>
                    <a:pt x="2374" y="622"/>
                    <a:pt x="2370" y="622"/>
                    <a:pt x="2367" y="622"/>
                  </a:cubicBezTo>
                  <a:cubicBezTo>
                    <a:pt x="2365" y="622"/>
                    <a:pt x="2362" y="622"/>
                    <a:pt x="2359" y="622"/>
                  </a:cubicBezTo>
                  <a:cubicBezTo>
                    <a:pt x="2358" y="623"/>
                    <a:pt x="2356" y="624"/>
                    <a:pt x="2354" y="624"/>
                  </a:cubicBezTo>
                  <a:cubicBezTo>
                    <a:pt x="2355" y="626"/>
                    <a:pt x="2359" y="628"/>
                    <a:pt x="2358" y="631"/>
                  </a:cubicBezTo>
                  <a:cubicBezTo>
                    <a:pt x="2365" y="629"/>
                    <a:pt x="2372" y="627"/>
                    <a:pt x="2378" y="626"/>
                  </a:cubicBezTo>
                  <a:cubicBezTo>
                    <a:pt x="2378" y="625"/>
                    <a:pt x="2378" y="625"/>
                    <a:pt x="2378" y="625"/>
                  </a:cubicBezTo>
                  <a:cubicBezTo>
                    <a:pt x="2380" y="626"/>
                    <a:pt x="2386" y="631"/>
                    <a:pt x="2389" y="629"/>
                  </a:cubicBezTo>
                  <a:cubicBezTo>
                    <a:pt x="2389" y="628"/>
                    <a:pt x="2389" y="626"/>
                    <a:pt x="2390" y="625"/>
                  </a:cubicBezTo>
                  <a:cubicBezTo>
                    <a:pt x="2392" y="623"/>
                    <a:pt x="2394" y="624"/>
                    <a:pt x="2396" y="623"/>
                  </a:cubicBezTo>
                  <a:cubicBezTo>
                    <a:pt x="2396" y="622"/>
                    <a:pt x="2397" y="620"/>
                    <a:pt x="2399" y="620"/>
                  </a:cubicBezTo>
                  <a:cubicBezTo>
                    <a:pt x="2401" y="621"/>
                    <a:pt x="2403" y="622"/>
                    <a:pt x="2405" y="622"/>
                  </a:cubicBezTo>
                  <a:cubicBezTo>
                    <a:pt x="2406" y="623"/>
                    <a:pt x="2408" y="624"/>
                    <a:pt x="2409" y="625"/>
                  </a:cubicBezTo>
                  <a:cubicBezTo>
                    <a:pt x="2412" y="625"/>
                    <a:pt x="2414" y="621"/>
                    <a:pt x="2418" y="621"/>
                  </a:cubicBezTo>
                  <a:cubicBezTo>
                    <a:pt x="2422" y="620"/>
                    <a:pt x="2427" y="621"/>
                    <a:pt x="2432" y="622"/>
                  </a:cubicBezTo>
                  <a:cubicBezTo>
                    <a:pt x="2432" y="621"/>
                    <a:pt x="2433" y="617"/>
                    <a:pt x="2432" y="616"/>
                  </a:cubicBezTo>
                  <a:cubicBezTo>
                    <a:pt x="2431" y="615"/>
                    <a:pt x="2429" y="614"/>
                    <a:pt x="2427" y="613"/>
                  </a:cubicBezTo>
                  <a:cubicBezTo>
                    <a:pt x="2426" y="613"/>
                    <a:pt x="2426" y="613"/>
                    <a:pt x="2425" y="613"/>
                  </a:cubicBezTo>
                  <a:cubicBezTo>
                    <a:pt x="2424" y="613"/>
                    <a:pt x="2423" y="612"/>
                    <a:pt x="2422" y="612"/>
                  </a:cubicBezTo>
                  <a:cubicBezTo>
                    <a:pt x="2421" y="611"/>
                    <a:pt x="2418" y="611"/>
                    <a:pt x="2418" y="612"/>
                  </a:cubicBezTo>
                  <a:cubicBezTo>
                    <a:pt x="2417" y="612"/>
                    <a:pt x="2419" y="614"/>
                    <a:pt x="2418" y="614"/>
                  </a:cubicBezTo>
                  <a:cubicBezTo>
                    <a:pt x="2418" y="615"/>
                    <a:pt x="2417" y="613"/>
                    <a:pt x="2416" y="613"/>
                  </a:cubicBezTo>
                  <a:cubicBezTo>
                    <a:pt x="2416" y="614"/>
                    <a:pt x="2414" y="614"/>
                    <a:pt x="2413" y="614"/>
                  </a:cubicBezTo>
                  <a:cubicBezTo>
                    <a:pt x="2410" y="612"/>
                    <a:pt x="2415" y="610"/>
                    <a:pt x="2416" y="610"/>
                  </a:cubicBezTo>
                  <a:cubicBezTo>
                    <a:pt x="2416" y="608"/>
                    <a:pt x="2414" y="607"/>
                    <a:pt x="2414" y="605"/>
                  </a:cubicBezTo>
                  <a:cubicBezTo>
                    <a:pt x="2414" y="604"/>
                    <a:pt x="2414" y="602"/>
                    <a:pt x="2414" y="602"/>
                  </a:cubicBezTo>
                  <a:cubicBezTo>
                    <a:pt x="2415" y="602"/>
                    <a:pt x="2417" y="602"/>
                    <a:pt x="2417" y="602"/>
                  </a:cubicBezTo>
                  <a:cubicBezTo>
                    <a:pt x="2417" y="602"/>
                    <a:pt x="2419" y="599"/>
                    <a:pt x="2420" y="598"/>
                  </a:cubicBezTo>
                  <a:cubicBezTo>
                    <a:pt x="2420" y="598"/>
                    <a:pt x="2420" y="597"/>
                    <a:pt x="2420" y="597"/>
                  </a:cubicBezTo>
                  <a:cubicBezTo>
                    <a:pt x="2426" y="593"/>
                    <a:pt x="2432" y="588"/>
                    <a:pt x="2437" y="583"/>
                  </a:cubicBezTo>
                  <a:cubicBezTo>
                    <a:pt x="2439" y="582"/>
                    <a:pt x="2441" y="580"/>
                    <a:pt x="2443" y="579"/>
                  </a:cubicBezTo>
                  <a:cubicBezTo>
                    <a:pt x="2444" y="578"/>
                    <a:pt x="2445" y="578"/>
                    <a:pt x="2446" y="577"/>
                  </a:cubicBezTo>
                  <a:cubicBezTo>
                    <a:pt x="2447" y="575"/>
                    <a:pt x="2448" y="572"/>
                    <a:pt x="2449" y="570"/>
                  </a:cubicBezTo>
                  <a:cubicBezTo>
                    <a:pt x="2450" y="568"/>
                    <a:pt x="2454" y="567"/>
                    <a:pt x="2456" y="566"/>
                  </a:cubicBezTo>
                  <a:cubicBezTo>
                    <a:pt x="2458" y="564"/>
                    <a:pt x="2460" y="564"/>
                    <a:pt x="2460" y="561"/>
                  </a:cubicBezTo>
                  <a:cubicBezTo>
                    <a:pt x="2460" y="560"/>
                    <a:pt x="2460" y="559"/>
                    <a:pt x="2460" y="558"/>
                  </a:cubicBezTo>
                  <a:cubicBezTo>
                    <a:pt x="2460" y="555"/>
                    <a:pt x="2462" y="554"/>
                    <a:pt x="2465" y="552"/>
                  </a:cubicBezTo>
                  <a:cubicBezTo>
                    <a:pt x="2474" y="548"/>
                    <a:pt x="2485" y="546"/>
                    <a:pt x="2495" y="545"/>
                  </a:cubicBezTo>
                  <a:cubicBezTo>
                    <a:pt x="2497" y="545"/>
                    <a:pt x="2500" y="546"/>
                    <a:pt x="2501" y="545"/>
                  </a:cubicBezTo>
                  <a:cubicBezTo>
                    <a:pt x="2502" y="545"/>
                    <a:pt x="2503" y="544"/>
                    <a:pt x="2504" y="543"/>
                  </a:cubicBezTo>
                  <a:cubicBezTo>
                    <a:pt x="2507" y="543"/>
                    <a:pt x="2508" y="542"/>
                    <a:pt x="2511" y="545"/>
                  </a:cubicBezTo>
                  <a:cubicBezTo>
                    <a:pt x="2512" y="546"/>
                    <a:pt x="2513" y="546"/>
                    <a:pt x="2514" y="547"/>
                  </a:cubicBezTo>
                  <a:cubicBezTo>
                    <a:pt x="2514" y="547"/>
                    <a:pt x="2514" y="548"/>
                    <a:pt x="2515" y="548"/>
                  </a:cubicBezTo>
                  <a:cubicBezTo>
                    <a:pt x="2515" y="548"/>
                    <a:pt x="2514" y="549"/>
                    <a:pt x="2514" y="549"/>
                  </a:cubicBezTo>
                  <a:cubicBezTo>
                    <a:pt x="2516" y="551"/>
                    <a:pt x="2521" y="547"/>
                    <a:pt x="2523" y="546"/>
                  </a:cubicBezTo>
                  <a:cubicBezTo>
                    <a:pt x="2524" y="545"/>
                    <a:pt x="2527" y="543"/>
                    <a:pt x="2528" y="543"/>
                  </a:cubicBezTo>
                  <a:cubicBezTo>
                    <a:pt x="2530" y="542"/>
                    <a:pt x="2530" y="541"/>
                    <a:pt x="2531" y="544"/>
                  </a:cubicBezTo>
                  <a:cubicBezTo>
                    <a:pt x="2531" y="544"/>
                    <a:pt x="2531" y="546"/>
                    <a:pt x="2531" y="547"/>
                  </a:cubicBezTo>
                  <a:cubicBezTo>
                    <a:pt x="2531" y="548"/>
                    <a:pt x="2530" y="548"/>
                    <a:pt x="2529" y="549"/>
                  </a:cubicBezTo>
                  <a:cubicBezTo>
                    <a:pt x="2529" y="549"/>
                    <a:pt x="2529" y="550"/>
                    <a:pt x="2529" y="550"/>
                  </a:cubicBezTo>
                  <a:cubicBezTo>
                    <a:pt x="2529" y="550"/>
                    <a:pt x="2528" y="551"/>
                    <a:pt x="2528" y="551"/>
                  </a:cubicBezTo>
                  <a:cubicBezTo>
                    <a:pt x="2528" y="552"/>
                    <a:pt x="2528" y="553"/>
                    <a:pt x="2528" y="553"/>
                  </a:cubicBezTo>
                  <a:cubicBezTo>
                    <a:pt x="2527" y="554"/>
                    <a:pt x="2526" y="554"/>
                    <a:pt x="2525" y="555"/>
                  </a:cubicBezTo>
                  <a:cubicBezTo>
                    <a:pt x="2525" y="555"/>
                    <a:pt x="2525" y="556"/>
                    <a:pt x="2524" y="556"/>
                  </a:cubicBezTo>
                  <a:cubicBezTo>
                    <a:pt x="2527" y="557"/>
                    <a:pt x="2520" y="560"/>
                    <a:pt x="2523" y="561"/>
                  </a:cubicBezTo>
                  <a:cubicBezTo>
                    <a:pt x="2522" y="562"/>
                    <a:pt x="2520" y="561"/>
                    <a:pt x="2519" y="562"/>
                  </a:cubicBezTo>
                  <a:cubicBezTo>
                    <a:pt x="2523" y="563"/>
                    <a:pt x="2524" y="564"/>
                    <a:pt x="2523" y="567"/>
                  </a:cubicBezTo>
                  <a:cubicBezTo>
                    <a:pt x="2521" y="570"/>
                    <a:pt x="2518" y="572"/>
                    <a:pt x="2524" y="571"/>
                  </a:cubicBezTo>
                  <a:cubicBezTo>
                    <a:pt x="2526" y="571"/>
                    <a:pt x="2527" y="571"/>
                    <a:pt x="2529" y="571"/>
                  </a:cubicBezTo>
                  <a:cubicBezTo>
                    <a:pt x="2531" y="571"/>
                    <a:pt x="2530" y="571"/>
                    <a:pt x="2530" y="572"/>
                  </a:cubicBezTo>
                  <a:cubicBezTo>
                    <a:pt x="2530" y="573"/>
                    <a:pt x="2527" y="573"/>
                    <a:pt x="2527" y="575"/>
                  </a:cubicBezTo>
                  <a:cubicBezTo>
                    <a:pt x="2527" y="575"/>
                    <a:pt x="2528" y="576"/>
                    <a:pt x="2528" y="576"/>
                  </a:cubicBezTo>
                  <a:cubicBezTo>
                    <a:pt x="2528" y="577"/>
                    <a:pt x="2528" y="577"/>
                    <a:pt x="2528" y="578"/>
                  </a:cubicBezTo>
                  <a:cubicBezTo>
                    <a:pt x="2527" y="579"/>
                    <a:pt x="2526" y="579"/>
                    <a:pt x="2527" y="581"/>
                  </a:cubicBezTo>
                  <a:cubicBezTo>
                    <a:pt x="2529" y="581"/>
                    <a:pt x="2531" y="580"/>
                    <a:pt x="2533" y="579"/>
                  </a:cubicBezTo>
                  <a:cubicBezTo>
                    <a:pt x="2534" y="578"/>
                    <a:pt x="2537" y="578"/>
                    <a:pt x="2539" y="577"/>
                  </a:cubicBezTo>
                  <a:cubicBezTo>
                    <a:pt x="2540" y="576"/>
                    <a:pt x="2540" y="574"/>
                    <a:pt x="2541" y="572"/>
                  </a:cubicBezTo>
                  <a:cubicBezTo>
                    <a:pt x="2542" y="571"/>
                    <a:pt x="2544" y="570"/>
                    <a:pt x="2545" y="569"/>
                  </a:cubicBezTo>
                  <a:cubicBezTo>
                    <a:pt x="2550" y="565"/>
                    <a:pt x="2556" y="561"/>
                    <a:pt x="2562" y="557"/>
                  </a:cubicBezTo>
                  <a:cubicBezTo>
                    <a:pt x="2564" y="556"/>
                    <a:pt x="2570" y="553"/>
                    <a:pt x="2571" y="550"/>
                  </a:cubicBezTo>
                  <a:cubicBezTo>
                    <a:pt x="2571" y="550"/>
                    <a:pt x="2571" y="550"/>
                    <a:pt x="2571" y="550"/>
                  </a:cubicBezTo>
                  <a:cubicBezTo>
                    <a:pt x="2576" y="551"/>
                    <a:pt x="2576" y="551"/>
                    <a:pt x="2576" y="551"/>
                  </a:cubicBezTo>
                  <a:cubicBezTo>
                    <a:pt x="2578" y="551"/>
                    <a:pt x="2578" y="548"/>
                    <a:pt x="2579" y="549"/>
                  </a:cubicBezTo>
                  <a:cubicBezTo>
                    <a:pt x="2580" y="550"/>
                    <a:pt x="2580" y="553"/>
                    <a:pt x="2581" y="554"/>
                  </a:cubicBezTo>
                  <a:cubicBezTo>
                    <a:pt x="2582" y="555"/>
                    <a:pt x="2587" y="550"/>
                    <a:pt x="2587" y="549"/>
                  </a:cubicBezTo>
                  <a:cubicBezTo>
                    <a:pt x="2586" y="547"/>
                    <a:pt x="2582" y="548"/>
                    <a:pt x="2581" y="547"/>
                  </a:cubicBezTo>
                  <a:cubicBezTo>
                    <a:pt x="2580" y="546"/>
                    <a:pt x="2582" y="543"/>
                    <a:pt x="2583" y="542"/>
                  </a:cubicBezTo>
                  <a:cubicBezTo>
                    <a:pt x="2584" y="540"/>
                    <a:pt x="2584" y="538"/>
                    <a:pt x="2584" y="537"/>
                  </a:cubicBezTo>
                  <a:cubicBezTo>
                    <a:pt x="2585" y="535"/>
                    <a:pt x="2587" y="533"/>
                    <a:pt x="2587" y="531"/>
                  </a:cubicBezTo>
                  <a:cubicBezTo>
                    <a:pt x="2588" y="529"/>
                    <a:pt x="2587" y="529"/>
                    <a:pt x="2586" y="526"/>
                  </a:cubicBezTo>
                  <a:cubicBezTo>
                    <a:pt x="2586" y="523"/>
                    <a:pt x="2589" y="524"/>
                    <a:pt x="2592" y="523"/>
                  </a:cubicBezTo>
                  <a:cubicBezTo>
                    <a:pt x="2595" y="522"/>
                    <a:pt x="2598" y="521"/>
                    <a:pt x="2602" y="521"/>
                  </a:cubicBezTo>
                  <a:cubicBezTo>
                    <a:pt x="2605" y="520"/>
                    <a:pt x="2609" y="518"/>
                    <a:pt x="2612" y="521"/>
                  </a:cubicBezTo>
                  <a:cubicBezTo>
                    <a:pt x="2613" y="522"/>
                    <a:pt x="2614" y="523"/>
                    <a:pt x="2616" y="524"/>
                  </a:cubicBezTo>
                  <a:cubicBezTo>
                    <a:pt x="2617" y="524"/>
                    <a:pt x="2618" y="525"/>
                    <a:pt x="2620" y="525"/>
                  </a:cubicBezTo>
                  <a:cubicBezTo>
                    <a:pt x="2624" y="526"/>
                    <a:pt x="2628" y="525"/>
                    <a:pt x="2631" y="527"/>
                  </a:cubicBezTo>
                  <a:cubicBezTo>
                    <a:pt x="2628" y="528"/>
                    <a:pt x="2625" y="525"/>
                    <a:pt x="2621" y="526"/>
                  </a:cubicBezTo>
                  <a:cubicBezTo>
                    <a:pt x="2622" y="528"/>
                    <a:pt x="2624" y="529"/>
                    <a:pt x="2625" y="531"/>
                  </a:cubicBezTo>
                  <a:cubicBezTo>
                    <a:pt x="2623" y="529"/>
                    <a:pt x="2622" y="528"/>
                    <a:pt x="2619" y="528"/>
                  </a:cubicBezTo>
                  <a:cubicBezTo>
                    <a:pt x="2617" y="528"/>
                    <a:pt x="2615" y="527"/>
                    <a:pt x="2613" y="526"/>
                  </a:cubicBezTo>
                  <a:cubicBezTo>
                    <a:pt x="2610" y="526"/>
                    <a:pt x="2609" y="528"/>
                    <a:pt x="2608" y="529"/>
                  </a:cubicBezTo>
                  <a:cubicBezTo>
                    <a:pt x="2606" y="531"/>
                    <a:pt x="2603" y="531"/>
                    <a:pt x="2602" y="533"/>
                  </a:cubicBezTo>
                  <a:cubicBezTo>
                    <a:pt x="2602" y="534"/>
                    <a:pt x="2602" y="537"/>
                    <a:pt x="2602" y="538"/>
                  </a:cubicBezTo>
                  <a:cubicBezTo>
                    <a:pt x="2601" y="539"/>
                    <a:pt x="2602" y="541"/>
                    <a:pt x="2602" y="542"/>
                  </a:cubicBezTo>
                  <a:cubicBezTo>
                    <a:pt x="2601" y="544"/>
                    <a:pt x="2602" y="546"/>
                    <a:pt x="2601" y="547"/>
                  </a:cubicBezTo>
                  <a:cubicBezTo>
                    <a:pt x="2601" y="550"/>
                    <a:pt x="2599" y="549"/>
                    <a:pt x="2598" y="551"/>
                  </a:cubicBezTo>
                  <a:cubicBezTo>
                    <a:pt x="2596" y="552"/>
                    <a:pt x="2597" y="554"/>
                    <a:pt x="2598" y="556"/>
                  </a:cubicBezTo>
                  <a:cubicBezTo>
                    <a:pt x="2600" y="558"/>
                    <a:pt x="2601" y="558"/>
                    <a:pt x="2600" y="560"/>
                  </a:cubicBezTo>
                  <a:cubicBezTo>
                    <a:pt x="2599" y="564"/>
                    <a:pt x="2594" y="564"/>
                    <a:pt x="2593" y="567"/>
                  </a:cubicBezTo>
                  <a:cubicBezTo>
                    <a:pt x="2592" y="568"/>
                    <a:pt x="2594" y="573"/>
                    <a:pt x="2594" y="573"/>
                  </a:cubicBezTo>
                  <a:cubicBezTo>
                    <a:pt x="2589" y="575"/>
                    <a:pt x="2584" y="577"/>
                    <a:pt x="2579" y="579"/>
                  </a:cubicBezTo>
                  <a:cubicBezTo>
                    <a:pt x="2573" y="581"/>
                    <a:pt x="2567" y="584"/>
                    <a:pt x="2562" y="586"/>
                  </a:cubicBezTo>
                  <a:cubicBezTo>
                    <a:pt x="2560" y="586"/>
                    <a:pt x="2560" y="587"/>
                    <a:pt x="2560" y="589"/>
                  </a:cubicBezTo>
                  <a:cubicBezTo>
                    <a:pt x="2560" y="589"/>
                    <a:pt x="2560" y="589"/>
                    <a:pt x="2561" y="589"/>
                  </a:cubicBezTo>
                  <a:cubicBezTo>
                    <a:pt x="2556" y="596"/>
                    <a:pt x="2549" y="601"/>
                    <a:pt x="2542" y="606"/>
                  </a:cubicBezTo>
                  <a:cubicBezTo>
                    <a:pt x="2536" y="611"/>
                    <a:pt x="2527" y="616"/>
                    <a:pt x="2522" y="623"/>
                  </a:cubicBezTo>
                  <a:cubicBezTo>
                    <a:pt x="2519" y="628"/>
                    <a:pt x="2515" y="633"/>
                    <a:pt x="2512" y="638"/>
                  </a:cubicBezTo>
                  <a:cubicBezTo>
                    <a:pt x="2511" y="639"/>
                    <a:pt x="2510" y="641"/>
                    <a:pt x="2509" y="642"/>
                  </a:cubicBezTo>
                  <a:cubicBezTo>
                    <a:pt x="2509" y="642"/>
                    <a:pt x="2508" y="641"/>
                    <a:pt x="2507" y="642"/>
                  </a:cubicBezTo>
                  <a:cubicBezTo>
                    <a:pt x="2502" y="646"/>
                    <a:pt x="2496" y="649"/>
                    <a:pt x="2490" y="653"/>
                  </a:cubicBezTo>
                  <a:cubicBezTo>
                    <a:pt x="2491" y="654"/>
                    <a:pt x="2492" y="655"/>
                    <a:pt x="2492" y="656"/>
                  </a:cubicBezTo>
                  <a:cubicBezTo>
                    <a:pt x="2490" y="652"/>
                    <a:pt x="2487" y="655"/>
                    <a:pt x="2484" y="655"/>
                  </a:cubicBezTo>
                  <a:cubicBezTo>
                    <a:pt x="2483" y="655"/>
                    <a:pt x="2482" y="654"/>
                    <a:pt x="2480" y="655"/>
                  </a:cubicBezTo>
                  <a:cubicBezTo>
                    <a:pt x="2478" y="655"/>
                    <a:pt x="2478" y="658"/>
                    <a:pt x="2476" y="659"/>
                  </a:cubicBezTo>
                  <a:cubicBezTo>
                    <a:pt x="2475" y="660"/>
                    <a:pt x="2471" y="660"/>
                    <a:pt x="2469" y="660"/>
                  </a:cubicBezTo>
                  <a:cubicBezTo>
                    <a:pt x="2467" y="661"/>
                    <a:pt x="2465" y="661"/>
                    <a:pt x="2462" y="662"/>
                  </a:cubicBezTo>
                  <a:cubicBezTo>
                    <a:pt x="2464" y="664"/>
                    <a:pt x="2465" y="667"/>
                    <a:pt x="2466" y="670"/>
                  </a:cubicBezTo>
                  <a:cubicBezTo>
                    <a:pt x="2466" y="671"/>
                    <a:pt x="2465" y="673"/>
                    <a:pt x="2464" y="674"/>
                  </a:cubicBezTo>
                  <a:cubicBezTo>
                    <a:pt x="2463" y="676"/>
                    <a:pt x="2462" y="679"/>
                    <a:pt x="2461" y="681"/>
                  </a:cubicBezTo>
                  <a:cubicBezTo>
                    <a:pt x="2459" y="677"/>
                    <a:pt x="2457" y="682"/>
                    <a:pt x="2456" y="683"/>
                  </a:cubicBezTo>
                  <a:cubicBezTo>
                    <a:pt x="2455" y="684"/>
                    <a:pt x="2454" y="684"/>
                    <a:pt x="2453" y="685"/>
                  </a:cubicBezTo>
                  <a:cubicBezTo>
                    <a:pt x="2452" y="686"/>
                    <a:pt x="2451" y="687"/>
                    <a:pt x="2450" y="688"/>
                  </a:cubicBezTo>
                  <a:cubicBezTo>
                    <a:pt x="2446" y="692"/>
                    <a:pt x="2446" y="696"/>
                    <a:pt x="2444" y="701"/>
                  </a:cubicBezTo>
                  <a:cubicBezTo>
                    <a:pt x="2440" y="716"/>
                    <a:pt x="2439" y="732"/>
                    <a:pt x="2442" y="748"/>
                  </a:cubicBezTo>
                  <a:cubicBezTo>
                    <a:pt x="2444" y="757"/>
                    <a:pt x="2447" y="767"/>
                    <a:pt x="2448" y="777"/>
                  </a:cubicBezTo>
                  <a:cubicBezTo>
                    <a:pt x="2449" y="783"/>
                    <a:pt x="2449" y="790"/>
                    <a:pt x="2451" y="796"/>
                  </a:cubicBezTo>
                  <a:cubicBezTo>
                    <a:pt x="2452" y="798"/>
                    <a:pt x="2453" y="798"/>
                    <a:pt x="2454" y="799"/>
                  </a:cubicBezTo>
                  <a:cubicBezTo>
                    <a:pt x="2455" y="800"/>
                    <a:pt x="2456" y="800"/>
                    <a:pt x="2456" y="801"/>
                  </a:cubicBezTo>
                  <a:cubicBezTo>
                    <a:pt x="2456" y="802"/>
                    <a:pt x="2455" y="801"/>
                    <a:pt x="2455" y="801"/>
                  </a:cubicBezTo>
                  <a:cubicBezTo>
                    <a:pt x="2456" y="808"/>
                    <a:pt x="2457" y="814"/>
                    <a:pt x="2457" y="821"/>
                  </a:cubicBezTo>
                  <a:cubicBezTo>
                    <a:pt x="2457" y="824"/>
                    <a:pt x="2457" y="829"/>
                    <a:pt x="2458" y="832"/>
                  </a:cubicBezTo>
                  <a:cubicBezTo>
                    <a:pt x="2459" y="833"/>
                    <a:pt x="2460" y="834"/>
                    <a:pt x="2461" y="835"/>
                  </a:cubicBezTo>
                  <a:cubicBezTo>
                    <a:pt x="2463" y="837"/>
                    <a:pt x="2461" y="839"/>
                    <a:pt x="2460" y="842"/>
                  </a:cubicBezTo>
                  <a:cubicBezTo>
                    <a:pt x="2465" y="838"/>
                    <a:pt x="2470" y="834"/>
                    <a:pt x="2475" y="830"/>
                  </a:cubicBezTo>
                  <a:cubicBezTo>
                    <a:pt x="2478" y="827"/>
                    <a:pt x="2481" y="824"/>
                    <a:pt x="2484" y="820"/>
                  </a:cubicBezTo>
                  <a:cubicBezTo>
                    <a:pt x="2488" y="815"/>
                    <a:pt x="2492" y="810"/>
                    <a:pt x="2496" y="806"/>
                  </a:cubicBezTo>
                  <a:cubicBezTo>
                    <a:pt x="2497" y="804"/>
                    <a:pt x="2496" y="802"/>
                    <a:pt x="2496" y="800"/>
                  </a:cubicBezTo>
                  <a:cubicBezTo>
                    <a:pt x="2496" y="800"/>
                    <a:pt x="2495" y="799"/>
                    <a:pt x="2495" y="799"/>
                  </a:cubicBezTo>
                  <a:cubicBezTo>
                    <a:pt x="2495" y="798"/>
                    <a:pt x="2495" y="798"/>
                    <a:pt x="2495" y="797"/>
                  </a:cubicBezTo>
                  <a:cubicBezTo>
                    <a:pt x="2495" y="796"/>
                    <a:pt x="2497" y="796"/>
                    <a:pt x="2497" y="795"/>
                  </a:cubicBezTo>
                  <a:cubicBezTo>
                    <a:pt x="2497" y="795"/>
                    <a:pt x="2498" y="794"/>
                    <a:pt x="2498" y="792"/>
                  </a:cubicBezTo>
                  <a:cubicBezTo>
                    <a:pt x="2495" y="792"/>
                    <a:pt x="2493" y="790"/>
                    <a:pt x="2493" y="787"/>
                  </a:cubicBezTo>
                  <a:cubicBezTo>
                    <a:pt x="2493" y="784"/>
                    <a:pt x="2495" y="782"/>
                    <a:pt x="2498" y="782"/>
                  </a:cubicBezTo>
                  <a:cubicBezTo>
                    <a:pt x="2501" y="782"/>
                    <a:pt x="2503" y="784"/>
                    <a:pt x="2503" y="787"/>
                  </a:cubicBezTo>
                  <a:cubicBezTo>
                    <a:pt x="2504" y="787"/>
                    <a:pt x="2504" y="787"/>
                    <a:pt x="2504" y="787"/>
                  </a:cubicBezTo>
                  <a:cubicBezTo>
                    <a:pt x="2506" y="785"/>
                    <a:pt x="2507" y="785"/>
                    <a:pt x="2509" y="784"/>
                  </a:cubicBezTo>
                  <a:cubicBezTo>
                    <a:pt x="2511" y="783"/>
                    <a:pt x="2513" y="782"/>
                    <a:pt x="2515" y="782"/>
                  </a:cubicBezTo>
                  <a:cubicBezTo>
                    <a:pt x="2517" y="781"/>
                    <a:pt x="2518" y="782"/>
                    <a:pt x="2520" y="781"/>
                  </a:cubicBezTo>
                  <a:cubicBezTo>
                    <a:pt x="2518" y="783"/>
                    <a:pt x="2524" y="785"/>
                    <a:pt x="2525" y="785"/>
                  </a:cubicBezTo>
                  <a:cubicBezTo>
                    <a:pt x="2525" y="784"/>
                    <a:pt x="2525" y="782"/>
                    <a:pt x="2524" y="781"/>
                  </a:cubicBezTo>
                  <a:cubicBezTo>
                    <a:pt x="2522" y="783"/>
                    <a:pt x="2523" y="781"/>
                    <a:pt x="2523" y="780"/>
                  </a:cubicBezTo>
                  <a:cubicBezTo>
                    <a:pt x="2523" y="780"/>
                    <a:pt x="2523" y="779"/>
                    <a:pt x="2523" y="779"/>
                  </a:cubicBezTo>
                  <a:cubicBezTo>
                    <a:pt x="2523" y="779"/>
                    <a:pt x="2523" y="779"/>
                    <a:pt x="2522" y="779"/>
                  </a:cubicBezTo>
                  <a:cubicBezTo>
                    <a:pt x="2522" y="778"/>
                    <a:pt x="2521" y="776"/>
                    <a:pt x="2520" y="774"/>
                  </a:cubicBezTo>
                  <a:cubicBezTo>
                    <a:pt x="2522" y="775"/>
                    <a:pt x="2525" y="775"/>
                    <a:pt x="2523" y="772"/>
                  </a:cubicBezTo>
                  <a:cubicBezTo>
                    <a:pt x="2523" y="772"/>
                    <a:pt x="2522" y="772"/>
                    <a:pt x="2521" y="771"/>
                  </a:cubicBezTo>
                  <a:cubicBezTo>
                    <a:pt x="2521" y="771"/>
                    <a:pt x="2521" y="769"/>
                    <a:pt x="2521" y="768"/>
                  </a:cubicBezTo>
                  <a:cubicBezTo>
                    <a:pt x="2521" y="765"/>
                    <a:pt x="2523" y="760"/>
                    <a:pt x="2525" y="758"/>
                  </a:cubicBezTo>
                  <a:cubicBezTo>
                    <a:pt x="2526" y="756"/>
                    <a:pt x="2530" y="754"/>
                    <a:pt x="2532" y="752"/>
                  </a:cubicBezTo>
                  <a:cubicBezTo>
                    <a:pt x="2535" y="750"/>
                    <a:pt x="2539" y="747"/>
                    <a:pt x="2543" y="747"/>
                  </a:cubicBezTo>
                  <a:cubicBezTo>
                    <a:pt x="2544" y="746"/>
                    <a:pt x="2545" y="746"/>
                    <a:pt x="2545" y="746"/>
                  </a:cubicBezTo>
                  <a:cubicBezTo>
                    <a:pt x="2547" y="747"/>
                    <a:pt x="2546" y="747"/>
                    <a:pt x="2547" y="748"/>
                  </a:cubicBezTo>
                  <a:cubicBezTo>
                    <a:pt x="2549" y="749"/>
                    <a:pt x="2550" y="749"/>
                    <a:pt x="2552" y="748"/>
                  </a:cubicBezTo>
                  <a:cubicBezTo>
                    <a:pt x="2556" y="747"/>
                    <a:pt x="2560" y="745"/>
                    <a:pt x="2563" y="742"/>
                  </a:cubicBezTo>
                  <a:cubicBezTo>
                    <a:pt x="2566" y="740"/>
                    <a:pt x="2565" y="739"/>
                    <a:pt x="2563" y="737"/>
                  </a:cubicBezTo>
                  <a:cubicBezTo>
                    <a:pt x="2562" y="736"/>
                    <a:pt x="2562" y="735"/>
                    <a:pt x="2560" y="734"/>
                  </a:cubicBezTo>
                  <a:cubicBezTo>
                    <a:pt x="2557" y="731"/>
                    <a:pt x="2558" y="724"/>
                    <a:pt x="2558" y="719"/>
                  </a:cubicBezTo>
                  <a:cubicBezTo>
                    <a:pt x="2558" y="717"/>
                    <a:pt x="2560" y="713"/>
                    <a:pt x="2561" y="711"/>
                  </a:cubicBezTo>
                  <a:cubicBezTo>
                    <a:pt x="2562" y="708"/>
                    <a:pt x="2563" y="706"/>
                    <a:pt x="2566" y="705"/>
                  </a:cubicBezTo>
                  <a:cubicBezTo>
                    <a:pt x="2568" y="704"/>
                    <a:pt x="2573" y="703"/>
                    <a:pt x="2573" y="701"/>
                  </a:cubicBezTo>
                  <a:cubicBezTo>
                    <a:pt x="2572" y="698"/>
                    <a:pt x="2568" y="699"/>
                    <a:pt x="2572" y="697"/>
                  </a:cubicBezTo>
                  <a:cubicBezTo>
                    <a:pt x="2574" y="696"/>
                    <a:pt x="2575" y="696"/>
                    <a:pt x="2577" y="696"/>
                  </a:cubicBezTo>
                  <a:cubicBezTo>
                    <a:pt x="2578" y="696"/>
                    <a:pt x="2578" y="695"/>
                    <a:pt x="2580" y="695"/>
                  </a:cubicBezTo>
                  <a:cubicBezTo>
                    <a:pt x="2580" y="695"/>
                    <a:pt x="2582" y="693"/>
                    <a:pt x="2582" y="695"/>
                  </a:cubicBezTo>
                  <a:cubicBezTo>
                    <a:pt x="2582" y="696"/>
                    <a:pt x="2580" y="698"/>
                    <a:pt x="2579" y="698"/>
                  </a:cubicBezTo>
                  <a:cubicBezTo>
                    <a:pt x="2577" y="700"/>
                    <a:pt x="2574" y="700"/>
                    <a:pt x="2573" y="703"/>
                  </a:cubicBezTo>
                  <a:cubicBezTo>
                    <a:pt x="2575" y="703"/>
                    <a:pt x="2576" y="705"/>
                    <a:pt x="2577" y="706"/>
                  </a:cubicBezTo>
                  <a:cubicBezTo>
                    <a:pt x="2580" y="709"/>
                    <a:pt x="2583" y="706"/>
                    <a:pt x="2586" y="704"/>
                  </a:cubicBezTo>
                  <a:cubicBezTo>
                    <a:pt x="2589" y="703"/>
                    <a:pt x="2588" y="701"/>
                    <a:pt x="2587" y="698"/>
                  </a:cubicBezTo>
                  <a:cubicBezTo>
                    <a:pt x="2586" y="695"/>
                    <a:pt x="2586" y="692"/>
                    <a:pt x="2585" y="690"/>
                  </a:cubicBezTo>
                  <a:cubicBezTo>
                    <a:pt x="2585" y="688"/>
                    <a:pt x="2580" y="689"/>
                    <a:pt x="2578" y="688"/>
                  </a:cubicBezTo>
                  <a:cubicBezTo>
                    <a:pt x="2577" y="686"/>
                    <a:pt x="2577" y="685"/>
                    <a:pt x="2577" y="683"/>
                  </a:cubicBezTo>
                  <a:cubicBezTo>
                    <a:pt x="2578" y="680"/>
                    <a:pt x="2577" y="677"/>
                    <a:pt x="2577" y="674"/>
                  </a:cubicBezTo>
                  <a:cubicBezTo>
                    <a:pt x="2576" y="669"/>
                    <a:pt x="2584" y="666"/>
                    <a:pt x="2585" y="662"/>
                  </a:cubicBezTo>
                  <a:cubicBezTo>
                    <a:pt x="2586" y="658"/>
                    <a:pt x="2584" y="659"/>
                    <a:pt x="2581" y="658"/>
                  </a:cubicBezTo>
                  <a:cubicBezTo>
                    <a:pt x="2579" y="657"/>
                    <a:pt x="2576" y="654"/>
                    <a:pt x="2573" y="656"/>
                  </a:cubicBezTo>
                  <a:cubicBezTo>
                    <a:pt x="2569" y="657"/>
                    <a:pt x="2573" y="661"/>
                    <a:pt x="2569" y="663"/>
                  </a:cubicBezTo>
                  <a:cubicBezTo>
                    <a:pt x="2570" y="659"/>
                    <a:pt x="2569" y="660"/>
                    <a:pt x="2567" y="658"/>
                  </a:cubicBezTo>
                  <a:cubicBezTo>
                    <a:pt x="2564" y="657"/>
                    <a:pt x="2561" y="656"/>
                    <a:pt x="2561" y="653"/>
                  </a:cubicBezTo>
                  <a:cubicBezTo>
                    <a:pt x="2561" y="650"/>
                    <a:pt x="2563" y="645"/>
                    <a:pt x="2565" y="642"/>
                  </a:cubicBezTo>
                  <a:cubicBezTo>
                    <a:pt x="2566" y="640"/>
                    <a:pt x="2568" y="638"/>
                    <a:pt x="2569" y="636"/>
                  </a:cubicBezTo>
                  <a:cubicBezTo>
                    <a:pt x="2571" y="635"/>
                    <a:pt x="2572" y="634"/>
                    <a:pt x="2573" y="633"/>
                  </a:cubicBezTo>
                  <a:cubicBezTo>
                    <a:pt x="2574" y="633"/>
                    <a:pt x="2579" y="630"/>
                    <a:pt x="2575" y="630"/>
                  </a:cubicBezTo>
                  <a:cubicBezTo>
                    <a:pt x="2577" y="629"/>
                    <a:pt x="2581" y="628"/>
                    <a:pt x="2582" y="626"/>
                  </a:cubicBezTo>
                  <a:cubicBezTo>
                    <a:pt x="2580" y="626"/>
                    <a:pt x="2579" y="624"/>
                    <a:pt x="2580" y="622"/>
                  </a:cubicBezTo>
                  <a:cubicBezTo>
                    <a:pt x="2581" y="621"/>
                    <a:pt x="2582" y="623"/>
                    <a:pt x="2582" y="623"/>
                  </a:cubicBezTo>
                  <a:cubicBezTo>
                    <a:pt x="2584" y="624"/>
                    <a:pt x="2586" y="624"/>
                    <a:pt x="2584" y="622"/>
                  </a:cubicBezTo>
                  <a:cubicBezTo>
                    <a:pt x="2582" y="620"/>
                    <a:pt x="2582" y="620"/>
                    <a:pt x="2585" y="618"/>
                  </a:cubicBezTo>
                  <a:cubicBezTo>
                    <a:pt x="2587" y="616"/>
                    <a:pt x="2587" y="616"/>
                    <a:pt x="2586" y="614"/>
                  </a:cubicBezTo>
                  <a:cubicBezTo>
                    <a:pt x="2586" y="613"/>
                    <a:pt x="2585" y="612"/>
                    <a:pt x="2585" y="611"/>
                  </a:cubicBezTo>
                  <a:cubicBezTo>
                    <a:pt x="2585" y="609"/>
                    <a:pt x="2586" y="607"/>
                    <a:pt x="2587" y="605"/>
                  </a:cubicBezTo>
                  <a:cubicBezTo>
                    <a:pt x="2588" y="604"/>
                    <a:pt x="2589" y="602"/>
                    <a:pt x="2591" y="601"/>
                  </a:cubicBezTo>
                  <a:cubicBezTo>
                    <a:pt x="2593" y="600"/>
                    <a:pt x="2594" y="601"/>
                    <a:pt x="2596" y="599"/>
                  </a:cubicBezTo>
                  <a:cubicBezTo>
                    <a:pt x="2595" y="599"/>
                    <a:pt x="2594" y="598"/>
                    <a:pt x="2593" y="597"/>
                  </a:cubicBezTo>
                  <a:cubicBezTo>
                    <a:pt x="2596" y="597"/>
                    <a:pt x="2598" y="597"/>
                    <a:pt x="2600" y="597"/>
                  </a:cubicBezTo>
                  <a:cubicBezTo>
                    <a:pt x="2601" y="598"/>
                    <a:pt x="2603" y="598"/>
                    <a:pt x="2603" y="599"/>
                  </a:cubicBezTo>
                  <a:cubicBezTo>
                    <a:pt x="2603" y="600"/>
                    <a:pt x="2599" y="603"/>
                    <a:pt x="2603" y="602"/>
                  </a:cubicBezTo>
                  <a:cubicBezTo>
                    <a:pt x="2601" y="599"/>
                    <a:pt x="2605" y="598"/>
                    <a:pt x="2607" y="597"/>
                  </a:cubicBezTo>
                  <a:cubicBezTo>
                    <a:pt x="2610" y="596"/>
                    <a:pt x="2611" y="596"/>
                    <a:pt x="2614" y="599"/>
                  </a:cubicBezTo>
                  <a:cubicBezTo>
                    <a:pt x="2615" y="601"/>
                    <a:pt x="2616" y="606"/>
                    <a:pt x="2619" y="603"/>
                  </a:cubicBezTo>
                  <a:cubicBezTo>
                    <a:pt x="2620" y="602"/>
                    <a:pt x="2622" y="600"/>
                    <a:pt x="2622" y="599"/>
                  </a:cubicBezTo>
                  <a:cubicBezTo>
                    <a:pt x="2623" y="598"/>
                    <a:pt x="2623" y="599"/>
                    <a:pt x="2623" y="598"/>
                  </a:cubicBezTo>
                  <a:cubicBezTo>
                    <a:pt x="2623" y="597"/>
                    <a:pt x="2621" y="597"/>
                    <a:pt x="2623" y="596"/>
                  </a:cubicBezTo>
                  <a:cubicBezTo>
                    <a:pt x="2625" y="595"/>
                    <a:pt x="2627" y="593"/>
                    <a:pt x="2629" y="592"/>
                  </a:cubicBezTo>
                  <a:cubicBezTo>
                    <a:pt x="2635" y="590"/>
                    <a:pt x="2640" y="587"/>
                    <a:pt x="2645" y="584"/>
                  </a:cubicBezTo>
                  <a:cubicBezTo>
                    <a:pt x="2645" y="584"/>
                    <a:pt x="2646" y="588"/>
                    <a:pt x="2643" y="587"/>
                  </a:cubicBezTo>
                  <a:cubicBezTo>
                    <a:pt x="2644" y="588"/>
                    <a:pt x="2644" y="590"/>
                    <a:pt x="2643" y="591"/>
                  </a:cubicBezTo>
                  <a:cubicBezTo>
                    <a:pt x="2643" y="593"/>
                    <a:pt x="2643" y="593"/>
                    <a:pt x="2642" y="595"/>
                  </a:cubicBezTo>
                  <a:cubicBezTo>
                    <a:pt x="2640" y="597"/>
                    <a:pt x="2640" y="604"/>
                    <a:pt x="2644" y="603"/>
                  </a:cubicBezTo>
                  <a:cubicBezTo>
                    <a:pt x="2646" y="602"/>
                    <a:pt x="2648" y="598"/>
                    <a:pt x="2650" y="597"/>
                  </a:cubicBezTo>
                  <a:cubicBezTo>
                    <a:pt x="2651" y="595"/>
                    <a:pt x="2656" y="591"/>
                    <a:pt x="2656" y="590"/>
                  </a:cubicBezTo>
                  <a:cubicBezTo>
                    <a:pt x="2659" y="589"/>
                    <a:pt x="2662" y="588"/>
                    <a:pt x="2665" y="586"/>
                  </a:cubicBezTo>
                  <a:cubicBezTo>
                    <a:pt x="2670" y="584"/>
                    <a:pt x="2672" y="583"/>
                    <a:pt x="2677" y="582"/>
                  </a:cubicBezTo>
                  <a:cubicBezTo>
                    <a:pt x="2684" y="582"/>
                    <a:pt x="2691" y="581"/>
                    <a:pt x="2698" y="581"/>
                  </a:cubicBezTo>
                  <a:cubicBezTo>
                    <a:pt x="2700" y="580"/>
                    <a:pt x="2704" y="582"/>
                    <a:pt x="2700" y="582"/>
                  </a:cubicBezTo>
                  <a:cubicBezTo>
                    <a:pt x="2702" y="583"/>
                    <a:pt x="2707" y="584"/>
                    <a:pt x="2708" y="586"/>
                  </a:cubicBezTo>
                  <a:cubicBezTo>
                    <a:pt x="2709" y="587"/>
                    <a:pt x="2709" y="589"/>
                    <a:pt x="2710" y="590"/>
                  </a:cubicBezTo>
                  <a:cubicBezTo>
                    <a:pt x="2711" y="591"/>
                    <a:pt x="2712" y="591"/>
                    <a:pt x="2714" y="592"/>
                  </a:cubicBezTo>
                  <a:cubicBezTo>
                    <a:pt x="2711" y="592"/>
                    <a:pt x="2711" y="594"/>
                    <a:pt x="2713" y="595"/>
                  </a:cubicBezTo>
                  <a:cubicBezTo>
                    <a:pt x="2714" y="597"/>
                    <a:pt x="2717" y="598"/>
                    <a:pt x="2718" y="600"/>
                  </a:cubicBezTo>
                  <a:cubicBezTo>
                    <a:pt x="2722" y="604"/>
                    <a:pt x="2723" y="595"/>
                    <a:pt x="2723" y="593"/>
                  </a:cubicBezTo>
                  <a:cubicBezTo>
                    <a:pt x="2724" y="591"/>
                    <a:pt x="2724" y="590"/>
                    <a:pt x="2726" y="590"/>
                  </a:cubicBezTo>
                  <a:cubicBezTo>
                    <a:pt x="2728" y="589"/>
                    <a:pt x="2726" y="588"/>
                    <a:pt x="2727" y="588"/>
                  </a:cubicBezTo>
                  <a:cubicBezTo>
                    <a:pt x="2727" y="588"/>
                    <a:pt x="2726" y="588"/>
                    <a:pt x="2726" y="587"/>
                  </a:cubicBezTo>
                  <a:cubicBezTo>
                    <a:pt x="2727" y="586"/>
                    <a:pt x="2727" y="587"/>
                    <a:pt x="2728" y="586"/>
                  </a:cubicBezTo>
                  <a:cubicBezTo>
                    <a:pt x="2728" y="586"/>
                    <a:pt x="2729" y="586"/>
                    <a:pt x="2729" y="586"/>
                  </a:cubicBezTo>
                  <a:cubicBezTo>
                    <a:pt x="2730" y="585"/>
                    <a:pt x="2729" y="585"/>
                    <a:pt x="2730" y="585"/>
                  </a:cubicBezTo>
                  <a:cubicBezTo>
                    <a:pt x="2730" y="584"/>
                    <a:pt x="2731" y="584"/>
                    <a:pt x="2733" y="583"/>
                  </a:cubicBezTo>
                  <a:cubicBezTo>
                    <a:pt x="2735" y="583"/>
                    <a:pt x="2738" y="582"/>
                    <a:pt x="2739" y="581"/>
                  </a:cubicBezTo>
                  <a:cubicBezTo>
                    <a:pt x="2740" y="580"/>
                    <a:pt x="2740" y="579"/>
                    <a:pt x="2741" y="578"/>
                  </a:cubicBezTo>
                  <a:cubicBezTo>
                    <a:pt x="2743" y="577"/>
                    <a:pt x="2747" y="576"/>
                    <a:pt x="2749" y="575"/>
                  </a:cubicBezTo>
                  <a:cubicBezTo>
                    <a:pt x="2750" y="575"/>
                    <a:pt x="2757" y="572"/>
                    <a:pt x="2756" y="570"/>
                  </a:cubicBezTo>
                  <a:cubicBezTo>
                    <a:pt x="2756" y="568"/>
                    <a:pt x="2754" y="568"/>
                    <a:pt x="2753" y="567"/>
                  </a:cubicBezTo>
                  <a:cubicBezTo>
                    <a:pt x="2756" y="568"/>
                    <a:pt x="2760" y="569"/>
                    <a:pt x="2762" y="567"/>
                  </a:cubicBezTo>
                  <a:cubicBezTo>
                    <a:pt x="2761" y="567"/>
                    <a:pt x="2760" y="567"/>
                    <a:pt x="2759" y="566"/>
                  </a:cubicBezTo>
                  <a:cubicBezTo>
                    <a:pt x="2761" y="566"/>
                    <a:pt x="2760" y="564"/>
                    <a:pt x="2760" y="563"/>
                  </a:cubicBezTo>
                  <a:cubicBezTo>
                    <a:pt x="2762" y="564"/>
                    <a:pt x="2767" y="562"/>
                    <a:pt x="2766" y="560"/>
                  </a:cubicBezTo>
                  <a:cubicBezTo>
                    <a:pt x="2767" y="560"/>
                    <a:pt x="2769" y="561"/>
                    <a:pt x="2771" y="560"/>
                  </a:cubicBezTo>
                  <a:cubicBezTo>
                    <a:pt x="2771" y="558"/>
                    <a:pt x="2764" y="556"/>
                    <a:pt x="2770" y="556"/>
                  </a:cubicBezTo>
                  <a:cubicBezTo>
                    <a:pt x="2770" y="556"/>
                    <a:pt x="2771" y="557"/>
                    <a:pt x="2771" y="557"/>
                  </a:cubicBezTo>
                  <a:cubicBezTo>
                    <a:pt x="2772" y="557"/>
                    <a:pt x="2774" y="556"/>
                    <a:pt x="2775" y="555"/>
                  </a:cubicBezTo>
                  <a:cubicBezTo>
                    <a:pt x="2777" y="555"/>
                    <a:pt x="2779" y="554"/>
                    <a:pt x="2780" y="554"/>
                  </a:cubicBezTo>
                  <a:cubicBezTo>
                    <a:pt x="2781" y="552"/>
                    <a:pt x="2781" y="553"/>
                    <a:pt x="2781" y="551"/>
                  </a:cubicBezTo>
                  <a:cubicBezTo>
                    <a:pt x="2782" y="550"/>
                    <a:pt x="2782" y="548"/>
                    <a:pt x="2783" y="548"/>
                  </a:cubicBezTo>
                  <a:cubicBezTo>
                    <a:pt x="2784" y="547"/>
                    <a:pt x="2784" y="549"/>
                    <a:pt x="2784" y="549"/>
                  </a:cubicBezTo>
                  <a:cubicBezTo>
                    <a:pt x="2787" y="549"/>
                    <a:pt x="2789" y="546"/>
                    <a:pt x="2791" y="545"/>
                  </a:cubicBezTo>
                  <a:cubicBezTo>
                    <a:pt x="2793" y="545"/>
                    <a:pt x="2794" y="546"/>
                    <a:pt x="2796" y="546"/>
                  </a:cubicBezTo>
                  <a:cubicBezTo>
                    <a:pt x="2799" y="546"/>
                    <a:pt x="2802" y="546"/>
                    <a:pt x="2804" y="543"/>
                  </a:cubicBezTo>
                  <a:cubicBezTo>
                    <a:pt x="2804" y="543"/>
                    <a:pt x="2802" y="541"/>
                    <a:pt x="2803" y="541"/>
                  </a:cubicBezTo>
                  <a:cubicBezTo>
                    <a:pt x="2806" y="541"/>
                    <a:pt x="2808" y="540"/>
                    <a:pt x="2811" y="540"/>
                  </a:cubicBezTo>
                  <a:cubicBezTo>
                    <a:pt x="2815" y="539"/>
                    <a:pt x="2813" y="538"/>
                    <a:pt x="2815" y="536"/>
                  </a:cubicBezTo>
                  <a:cubicBezTo>
                    <a:pt x="2816" y="534"/>
                    <a:pt x="2820" y="534"/>
                    <a:pt x="2821" y="533"/>
                  </a:cubicBezTo>
                  <a:cubicBezTo>
                    <a:pt x="2827" y="530"/>
                    <a:pt x="2834" y="528"/>
                    <a:pt x="2841" y="525"/>
                  </a:cubicBezTo>
                  <a:cubicBezTo>
                    <a:pt x="2844" y="523"/>
                    <a:pt x="2849" y="524"/>
                    <a:pt x="2853" y="523"/>
                  </a:cubicBezTo>
                  <a:cubicBezTo>
                    <a:pt x="2851" y="523"/>
                    <a:pt x="2848" y="524"/>
                    <a:pt x="2847" y="521"/>
                  </a:cubicBezTo>
                  <a:cubicBezTo>
                    <a:pt x="2847" y="520"/>
                    <a:pt x="2848" y="520"/>
                    <a:pt x="2848" y="519"/>
                  </a:cubicBezTo>
                  <a:cubicBezTo>
                    <a:pt x="2849" y="517"/>
                    <a:pt x="2848" y="516"/>
                    <a:pt x="2848" y="515"/>
                  </a:cubicBezTo>
                  <a:cubicBezTo>
                    <a:pt x="2849" y="516"/>
                    <a:pt x="2850" y="517"/>
                    <a:pt x="2851" y="517"/>
                  </a:cubicBezTo>
                  <a:cubicBezTo>
                    <a:pt x="2852" y="517"/>
                    <a:pt x="2859" y="516"/>
                    <a:pt x="2855" y="517"/>
                  </a:cubicBezTo>
                  <a:cubicBezTo>
                    <a:pt x="2854" y="518"/>
                    <a:pt x="2853" y="522"/>
                    <a:pt x="2854" y="523"/>
                  </a:cubicBezTo>
                  <a:cubicBezTo>
                    <a:pt x="2858" y="524"/>
                    <a:pt x="2863" y="523"/>
                    <a:pt x="2867" y="524"/>
                  </a:cubicBezTo>
                  <a:cubicBezTo>
                    <a:pt x="2871" y="525"/>
                    <a:pt x="2875" y="527"/>
                    <a:pt x="2879" y="528"/>
                  </a:cubicBezTo>
                  <a:cubicBezTo>
                    <a:pt x="2882" y="529"/>
                    <a:pt x="2884" y="530"/>
                    <a:pt x="2887" y="531"/>
                  </a:cubicBezTo>
                  <a:cubicBezTo>
                    <a:pt x="2889" y="532"/>
                    <a:pt x="2888" y="528"/>
                    <a:pt x="2889" y="527"/>
                  </a:cubicBezTo>
                  <a:cubicBezTo>
                    <a:pt x="2891" y="524"/>
                    <a:pt x="2898" y="523"/>
                    <a:pt x="2897" y="519"/>
                  </a:cubicBezTo>
                  <a:cubicBezTo>
                    <a:pt x="2897" y="517"/>
                    <a:pt x="2896" y="515"/>
                    <a:pt x="2894" y="514"/>
                  </a:cubicBezTo>
                  <a:cubicBezTo>
                    <a:pt x="2890" y="513"/>
                    <a:pt x="2892" y="513"/>
                    <a:pt x="2894" y="509"/>
                  </a:cubicBezTo>
                  <a:cubicBezTo>
                    <a:pt x="2894" y="507"/>
                    <a:pt x="2894" y="506"/>
                    <a:pt x="2892" y="505"/>
                  </a:cubicBezTo>
                  <a:cubicBezTo>
                    <a:pt x="2889" y="503"/>
                    <a:pt x="2884" y="503"/>
                    <a:pt x="2883" y="499"/>
                  </a:cubicBezTo>
                  <a:cubicBezTo>
                    <a:pt x="2884" y="499"/>
                    <a:pt x="2885" y="500"/>
                    <a:pt x="2886" y="501"/>
                  </a:cubicBezTo>
                  <a:cubicBezTo>
                    <a:pt x="2884" y="498"/>
                    <a:pt x="2883" y="496"/>
                    <a:pt x="2881" y="493"/>
                  </a:cubicBezTo>
                  <a:cubicBezTo>
                    <a:pt x="2881" y="495"/>
                    <a:pt x="2884" y="499"/>
                    <a:pt x="2881" y="499"/>
                  </a:cubicBezTo>
                  <a:cubicBezTo>
                    <a:pt x="2878" y="499"/>
                    <a:pt x="2882" y="495"/>
                    <a:pt x="2880" y="494"/>
                  </a:cubicBezTo>
                  <a:cubicBezTo>
                    <a:pt x="2878" y="492"/>
                    <a:pt x="2872" y="497"/>
                    <a:pt x="2873" y="493"/>
                  </a:cubicBezTo>
                  <a:cubicBezTo>
                    <a:pt x="2874" y="491"/>
                    <a:pt x="2879" y="492"/>
                    <a:pt x="2881" y="492"/>
                  </a:cubicBezTo>
                  <a:cubicBezTo>
                    <a:pt x="2880" y="492"/>
                    <a:pt x="2880" y="491"/>
                    <a:pt x="2879" y="491"/>
                  </a:cubicBezTo>
                  <a:cubicBezTo>
                    <a:pt x="2880" y="491"/>
                    <a:pt x="2881" y="491"/>
                    <a:pt x="2881" y="491"/>
                  </a:cubicBezTo>
                  <a:cubicBezTo>
                    <a:pt x="2881" y="489"/>
                    <a:pt x="2881" y="487"/>
                    <a:pt x="2880" y="485"/>
                  </a:cubicBezTo>
                  <a:cubicBezTo>
                    <a:pt x="2880" y="484"/>
                    <a:pt x="2880" y="483"/>
                    <a:pt x="2880" y="482"/>
                  </a:cubicBezTo>
                  <a:cubicBezTo>
                    <a:pt x="2879" y="482"/>
                    <a:pt x="2877" y="483"/>
                    <a:pt x="2877" y="481"/>
                  </a:cubicBezTo>
                  <a:cubicBezTo>
                    <a:pt x="2878" y="478"/>
                    <a:pt x="2877" y="478"/>
                    <a:pt x="2875" y="475"/>
                  </a:cubicBezTo>
                  <a:cubicBezTo>
                    <a:pt x="2874" y="473"/>
                    <a:pt x="2873" y="469"/>
                    <a:pt x="2870" y="472"/>
                  </a:cubicBezTo>
                  <a:cubicBezTo>
                    <a:pt x="2869" y="474"/>
                    <a:pt x="2871" y="474"/>
                    <a:pt x="2868" y="474"/>
                  </a:cubicBezTo>
                  <a:cubicBezTo>
                    <a:pt x="2867" y="474"/>
                    <a:pt x="2866" y="474"/>
                    <a:pt x="2865" y="473"/>
                  </a:cubicBezTo>
                  <a:cubicBezTo>
                    <a:pt x="2863" y="473"/>
                    <a:pt x="2861" y="472"/>
                    <a:pt x="2859" y="470"/>
                  </a:cubicBezTo>
                  <a:cubicBezTo>
                    <a:pt x="2858" y="469"/>
                    <a:pt x="2857" y="467"/>
                    <a:pt x="2857" y="465"/>
                  </a:cubicBezTo>
                  <a:cubicBezTo>
                    <a:pt x="2857" y="464"/>
                    <a:pt x="2856" y="457"/>
                    <a:pt x="2854" y="457"/>
                  </a:cubicBezTo>
                  <a:cubicBezTo>
                    <a:pt x="2854" y="457"/>
                    <a:pt x="2849" y="459"/>
                    <a:pt x="2848" y="459"/>
                  </a:cubicBezTo>
                  <a:cubicBezTo>
                    <a:pt x="2847" y="459"/>
                    <a:pt x="2846" y="460"/>
                    <a:pt x="2845" y="460"/>
                  </a:cubicBezTo>
                  <a:cubicBezTo>
                    <a:pt x="2843" y="460"/>
                    <a:pt x="2840" y="459"/>
                    <a:pt x="2838" y="459"/>
                  </a:cubicBezTo>
                  <a:cubicBezTo>
                    <a:pt x="2837" y="460"/>
                    <a:pt x="2836" y="461"/>
                    <a:pt x="2835" y="461"/>
                  </a:cubicBezTo>
                  <a:cubicBezTo>
                    <a:pt x="2834" y="462"/>
                    <a:pt x="2833" y="463"/>
                    <a:pt x="2831" y="464"/>
                  </a:cubicBezTo>
                  <a:cubicBezTo>
                    <a:pt x="2831" y="461"/>
                    <a:pt x="2833" y="461"/>
                    <a:pt x="2835" y="460"/>
                  </a:cubicBezTo>
                  <a:cubicBezTo>
                    <a:pt x="2834" y="459"/>
                    <a:pt x="2827" y="453"/>
                    <a:pt x="2829" y="452"/>
                  </a:cubicBezTo>
                  <a:cubicBezTo>
                    <a:pt x="2830" y="451"/>
                    <a:pt x="2834" y="453"/>
                    <a:pt x="2835" y="454"/>
                  </a:cubicBezTo>
                  <a:cubicBezTo>
                    <a:pt x="2837" y="455"/>
                    <a:pt x="2837" y="456"/>
                    <a:pt x="2840" y="455"/>
                  </a:cubicBezTo>
                  <a:cubicBezTo>
                    <a:pt x="2841" y="454"/>
                    <a:pt x="2844" y="454"/>
                    <a:pt x="2845" y="455"/>
                  </a:cubicBezTo>
                  <a:cubicBezTo>
                    <a:pt x="2847" y="455"/>
                    <a:pt x="2848" y="458"/>
                    <a:pt x="2850" y="457"/>
                  </a:cubicBezTo>
                  <a:cubicBezTo>
                    <a:pt x="2854" y="455"/>
                    <a:pt x="2850" y="451"/>
                    <a:pt x="2848" y="450"/>
                  </a:cubicBezTo>
                  <a:cubicBezTo>
                    <a:pt x="2846" y="448"/>
                    <a:pt x="2845" y="449"/>
                    <a:pt x="2842" y="449"/>
                  </a:cubicBezTo>
                  <a:cubicBezTo>
                    <a:pt x="2840" y="449"/>
                    <a:pt x="2838" y="448"/>
                    <a:pt x="2837" y="447"/>
                  </a:cubicBezTo>
                  <a:cubicBezTo>
                    <a:pt x="2838" y="448"/>
                    <a:pt x="2840" y="449"/>
                    <a:pt x="2841" y="449"/>
                  </a:cubicBezTo>
                  <a:cubicBezTo>
                    <a:pt x="2843" y="449"/>
                    <a:pt x="2844" y="447"/>
                    <a:pt x="2846" y="447"/>
                  </a:cubicBezTo>
                  <a:cubicBezTo>
                    <a:pt x="2847" y="447"/>
                    <a:pt x="2850" y="449"/>
                    <a:pt x="2852" y="450"/>
                  </a:cubicBezTo>
                  <a:cubicBezTo>
                    <a:pt x="2852" y="450"/>
                    <a:pt x="2852" y="451"/>
                    <a:pt x="2852" y="452"/>
                  </a:cubicBezTo>
                  <a:cubicBezTo>
                    <a:pt x="2853" y="452"/>
                    <a:pt x="2854" y="452"/>
                    <a:pt x="2854" y="452"/>
                  </a:cubicBezTo>
                  <a:cubicBezTo>
                    <a:pt x="2855" y="452"/>
                    <a:pt x="2858" y="453"/>
                    <a:pt x="2856" y="454"/>
                  </a:cubicBezTo>
                  <a:cubicBezTo>
                    <a:pt x="2854" y="456"/>
                    <a:pt x="2861" y="457"/>
                    <a:pt x="2860" y="458"/>
                  </a:cubicBezTo>
                  <a:cubicBezTo>
                    <a:pt x="2865" y="460"/>
                    <a:pt x="2870" y="460"/>
                    <a:pt x="2876" y="458"/>
                  </a:cubicBezTo>
                  <a:cubicBezTo>
                    <a:pt x="2884" y="456"/>
                    <a:pt x="2892" y="454"/>
                    <a:pt x="2899" y="452"/>
                  </a:cubicBezTo>
                  <a:cubicBezTo>
                    <a:pt x="2901" y="451"/>
                    <a:pt x="2905" y="449"/>
                    <a:pt x="2905" y="447"/>
                  </a:cubicBezTo>
                  <a:cubicBezTo>
                    <a:pt x="2905" y="447"/>
                    <a:pt x="2905" y="447"/>
                    <a:pt x="2905" y="448"/>
                  </a:cubicBezTo>
                  <a:cubicBezTo>
                    <a:pt x="2906" y="448"/>
                    <a:pt x="2906" y="448"/>
                    <a:pt x="2907" y="447"/>
                  </a:cubicBezTo>
                  <a:cubicBezTo>
                    <a:pt x="2909" y="447"/>
                    <a:pt x="2911" y="446"/>
                    <a:pt x="2912" y="445"/>
                  </a:cubicBezTo>
                  <a:cubicBezTo>
                    <a:pt x="2912" y="445"/>
                    <a:pt x="2912" y="445"/>
                    <a:pt x="2912" y="445"/>
                  </a:cubicBezTo>
                  <a:cubicBezTo>
                    <a:pt x="2914" y="443"/>
                    <a:pt x="2913" y="440"/>
                    <a:pt x="2915" y="438"/>
                  </a:cubicBezTo>
                  <a:cubicBezTo>
                    <a:pt x="2914" y="438"/>
                    <a:pt x="2913" y="438"/>
                    <a:pt x="2913" y="438"/>
                  </a:cubicBezTo>
                  <a:cubicBezTo>
                    <a:pt x="2910" y="439"/>
                    <a:pt x="2907" y="439"/>
                    <a:pt x="2905" y="440"/>
                  </a:cubicBezTo>
                  <a:cubicBezTo>
                    <a:pt x="2905" y="440"/>
                    <a:pt x="2905" y="440"/>
                    <a:pt x="2905" y="440"/>
                  </a:cubicBezTo>
                  <a:cubicBezTo>
                    <a:pt x="2905" y="439"/>
                    <a:pt x="2903" y="440"/>
                    <a:pt x="2902" y="439"/>
                  </a:cubicBezTo>
                  <a:cubicBezTo>
                    <a:pt x="2903" y="439"/>
                    <a:pt x="2904" y="438"/>
                    <a:pt x="2904" y="438"/>
                  </a:cubicBezTo>
                  <a:cubicBezTo>
                    <a:pt x="2909" y="436"/>
                    <a:pt x="2914" y="434"/>
                    <a:pt x="2918" y="433"/>
                  </a:cubicBezTo>
                  <a:cubicBezTo>
                    <a:pt x="2917" y="431"/>
                    <a:pt x="2919" y="430"/>
                    <a:pt x="2917" y="429"/>
                  </a:cubicBezTo>
                  <a:cubicBezTo>
                    <a:pt x="2915" y="429"/>
                    <a:pt x="2913" y="427"/>
                    <a:pt x="2912" y="426"/>
                  </a:cubicBezTo>
                  <a:cubicBezTo>
                    <a:pt x="2910" y="425"/>
                    <a:pt x="2910" y="423"/>
                    <a:pt x="2910" y="420"/>
                  </a:cubicBezTo>
                  <a:cubicBezTo>
                    <a:pt x="2910" y="419"/>
                    <a:pt x="2910" y="410"/>
                    <a:pt x="2912" y="414"/>
                  </a:cubicBezTo>
                  <a:cubicBezTo>
                    <a:pt x="2912" y="414"/>
                    <a:pt x="2911" y="414"/>
                    <a:pt x="2911" y="414"/>
                  </a:cubicBezTo>
                  <a:cubicBezTo>
                    <a:pt x="2912" y="416"/>
                    <a:pt x="2915" y="415"/>
                    <a:pt x="2916" y="414"/>
                  </a:cubicBezTo>
                  <a:cubicBezTo>
                    <a:pt x="2920" y="413"/>
                    <a:pt x="2919" y="411"/>
                    <a:pt x="2917" y="409"/>
                  </a:cubicBezTo>
                  <a:cubicBezTo>
                    <a:pt x="2916" y="408"/>
                    <a:pt x="2921" y="404"/>
                    <a:pt x="2922" y="407"/>
                  </a:cubicBezTo>
                  <a:cubicBezTo>
                    <a:pt x="2923" y="409"/>
                    <a:pt x="2922" y="409"/>
                    <a:pt x="2922" y="410"/>
                  </a:cubicBezTo>
                  <a:cubicBezTo>
                    <a:pt x="2922" y="411"/>
                    <a:pt x="2922" y="412"/>
                    <a:pt x="2923" y="412"/>
                  </a:cubicBezTo>
                  <a:cubicBezTo>
                    <a:pt x="2927" y="411"/>
                    <a:pt x="2930" y="408"/>
                    <a:pt x="2933" y="406"/>
                  </a:cubicBezTo>
                  <a:cubicBezTo>
                    <a:pt x="2933" y="409"/>
                    <a:pt x="2934" y="412"/>
                    <a:pt x="2932" y="414"/>
                  </a:cubicBezTo>
                  <a:cubicBezTo>
                    <a:pt x="2932" y="415"/>
                    <a:pt x="2931" y="415"/>
                    <a:pt x="2930" y="416"/>
                  </a:cubicBezTo>
                  <a:cubicBezTo>
                    <a:pt x="2930" y="416"/>
                    <a:pt x="2930" y="417"/>
                    <a:pt x="2929" y="418"/>
                  </a:cubicBezTo>
                  <a:cubicBezTo>
                    <a:pt x="2928" y="420"/>
                    <a:pt x="2926" y="418"/>
                    <a:pt x="2925" y="417"/>
                  </a:cubicBezTo>
                  <a:cubicBezTo>
                    <a:pt x="2925" y="418"/>
                    <a:pt x="2926" y="419"/>
                    <a:pt x="2926" y="419"/>
                  </a:cubicBezTo>
                  <a:cubicBezTo>
                    <a:pt x="2926" y="420"/>
                    <a:pt x="2926" y="422"/>
                    <a:pt x="2926" y="422"/>
                  </a:cubicBezTo>
                  <a:cubicBezTo>
                    <a:pt x="2927" y="423"/>
                    <a:pt x="2930" y="425"/>
                    <a:pt x="2931" y="426"/>
                  </a:cubicBezTo>
                  <a:cubicBezTo>
                    <a:pt x="2933" y="427"/>
                    <a:pt x="2935" y="426"/>
                    <a:pt x="2934" y="429"/>
                  </a:cubicBezTo>
                  <a:cubicBezTo>
                    <a:pt x="2934" y="429"/>
                    <a:pt x="2933" y="431"/>
                    <a:pt x="2933" y="431"/>
                  </a:cubicBezTo>
                  <a:cubicBezTo>
                    <a:pt x="2933" y="432"/>
                    <a:pt x="2936" y="432"/>
                    <a:pt x="2937" y="432"/>
                  </a:cubicBezTo>
                  <a:cubicBezTo>
                    <a:pt x="2949" y="432"/>
                    <a:pt x="2962" y="430"/>
                    <a:pt x="2973" y="434"/>
                  </a:cubicBezTo>
                  <a:cubicBezTo>
                    <a:pt x="2977" y="435"/>
                    <a:pt x="2982" y="436"/>
                    <a:pt x="2983" y="439"/>
                  </a:cubicBezTo>
                  <a:cubicBezTo>
                    <a:pt x="2983" y="441"/>
                    <a:pt x="2984" y="442"/>
                    <a:pt x="2985" y="444"/>
                  </a:cubicBezTo>
                  <a:cubicBezTo>
                    <a:pt x="2985" y="445"/>
                    <a:pt x="2985" y="446"/>
                    <a:pt x="2985" y="446"/>
                  </a:cubicBezTo>
                  <a:cubicBezTo>
                    <a:pt x="2986" y="448"/>
                    <a:pt x="2987" y="450"/>
                    <a:pt x="2988" y="452"/>
                  </a:cubicBezTo>
                  <a:cubicBezTo>
                    <a:pt x="2989" y="453"/>
                    <a:pt x="2990" y="456"/>
                    <a:pt x="2992" y="457"/>
                  </a:cubicBezTo>
                  <a:cubicBezTo>
                    <a:pt x="2992" y="457"/>
                    <a:pt x="2994" y="456"/>
                    <a:pt x="2995" y="456"/>
                  </a:cubicBezTo>
                  <a:cubicBezTo>
                    <a:pt x="2997" y="457"/>
                    <a:pt x="2998" y="456"/>
                    <a:pt x="3000" y="456"/>
                  </a:cubicBezTo>
                  <a:cubicBezTo>
                    <a:pt x="3002" y="456"/>
                    <a:pt x="3007" y="458"/>
                    <a:pt x="3010" y="459"/>
                  </a:cubicBezTo>
                  <a:cubicBezTo>
                    <a:pt x="3016" y="461"/>
                    <a:pt x="3018" y="470"/>
                    <a:pt x="3025" y="470"/>
                  </a:cubicBezTo>
                  <a:cubicBezTo>
                    <a:pt x="3027" y="470"/>
                    <a:pt x="3029" y="469"/>
                    <a:pt x="3030" y="468"/>
                  </a:cubicBezTo>
                  <a:cubicBezTo>
                    <a:pt x="3033" y="466"/>
                    <a:pt x="3030" y="465"/>
                    <a:pt x="3031" y="462"/>
                  </a:cubicBezTo>
                  <a:cubicBezTo>
                    <a:pt x="3034" y="465"/>
                    <a:pt x="3031" y="472"/>
                    <a:pt x="3035" y="473"/>
                  </a:cubicBezTo>
                  <a:cubicBezTo>
                    <a:pt x="3037" y="473"/>
                    <a:pt x="3039" y="471"/>
                    <a:pt x="3040" y="471"/>
                  </a:cubicBezTo>
                  <a:cubicBezTo>
                    <a:pt x="3041" y="468"/>
                    <a:pt x="3040" y="468"/>
                    <a:pt x="3038" y="466"/>
                  </a:cubicBezTo>
                  <a:cubicBezTo>
                    <a:pt x="3040" y="466"/>
                    <a:pt x="3042" y="468"/>
                    <a:pt x="3045" y="468"/>
                  </a:cubicBezTo>
                  <a:cubicBezTo>
                    <a:pt x="3047" y="469"/>
                    <a:pt x="3050" y="468"/>
                    <a:pt x="3052" y="468"/>
                  </a:cubicBezTo>
                  <a:cubicBezTo>
                    <a:pt x="3048" y="466"/>
                    <a:pt x="3043" y="465"/>
                    <a:pt x="3039" y="463"/>
                  </a:cubicBezTo>
                  <a:cubicBezTo>
                    <a:pt x="3036" y="461"/>
                    <a:pt x="3037" y="460"/>
                    <a:pt x="3039" y="459"/>
                  </a:cubicBezTo>
                  <a:cubicBezTo>
                    <a:pt x="3042" y="458"/>
                    <a:pt x="3043" y="457"/>
                    <a:pt x="3040" y="455"/>
                  </a:cubicBezTo>
                  <a:cubicBezTo>
                    <a:pt x="3039" y="454"/>
                    <a:pt x="3037" y="455"/>
                    <a:pt x="3036" y="456"/>
                  </a:cubicBezTo>
                  <a:cubicBezTo>
                    <a:pt x="3037" y="455"/>
                    <a:pt x="3037" y="454"/>
                    <a:pt x="3038" y="454"/>
                  </a:cubicBezTo>
                  <a:cubicBezTo>
                    <a:pt x="3040" y="453"/>
                    <a:pt x="3041" y="455"/>
                    <a:pt x="3043" y="454"/>
                  </a:cubicBezTo>
                  <a:cubicBezTo>
                    <a:pt x="3044" y="454"/>
                    <a:pt x="3045" y="453"/>
                    <a:pt x="3046" y="453"/>
                  </a:cubicBezTo>
                  <a:cubicBezTo>
                    <a:pt x="3048" y="453"/>
                    <a:pt x="3049" y="452"/>
                    <a:pt x="3050" y="452"/>
                  </a:cubicBezTo>
                  <a:cubicBezTo>
                    <a:pt x="3053" y="450"/>
                    <a:pt x="3056" y="448"/>
                    <a:pt x="3053" y="445"/>
                  </a:cubicBezTo>
                  <a:cubicBezTo>
                    <a:pt x="3051" y="442"/>
                    <a:pt x="3047" y="445"/>
                    <a:pt x="3044" y="442"/>
                  </a:cubicBezTo>
                  <a:cubicBezTo>
                    <a:pt x="3046" y="441"/>
                    <a:pt x="3046" y="442"/>
                    <a:pt x="3047" y="442"/>
                  </a:cubicBezTo>
                  <a:close/>
                  <a:moveTo>
                    <a:pt x="100" y="585"/>
                  </a:moveTo>
                  <a:cubicBezTo>
                    <a:pt x="99" y="584"/>
                    <a:pt x="97" y="582"/>
                    <a:pt x="98" y="586"/>
                  </a:cubicBezTo>
                  <a:cubicBezTo>
                    <a:pt x="98" y="587"/>
                    <a:pt x="98" y="587"/>
                    <a:pt x="98" y="589"/>
                  </a:cubicBezTo>
                  <a:cubicBezTo>
                    <a:pt x="98" y="589"/>
                    <a:pt x="97" y="590"/>
                    <a:pt x="97" y="590"/>
                  </a:cubicBezTo>
                  <a:cubicBezTo>
                    <a:pt x="97" y="590"/>
                    <a:pt x="97" y="591"/>
                    <a:pt x="97" y="592"/>
                  </a:cubicBezTo>
                  <a:cubicBezTo>
                    <a:pt x="97" y="593"/>
                    <a:pt x="96" y="594"/>
                    <a:pt x="94" y="593"/>
                  </a:cubicBezTo>
                  <a:cubicBezTo>
                    <a:pt x="91" y="593"/>
                    <a:pt x="87" y="592"/>
                    <a:pt x="84" y="592"/>
                  </a:cubicBezTo>
                  <a:cubicBezTo>
                    <a:pt x="83" y="592"/>
                    <a:pt x="81" y="591"/>
                    <a:pt x="81" y="592"/>
                  </a:cubicBezTo>
                  <a:cubicBezTo>
                    <a:pt x="79" y="592"/>
                    <a:pt x="78" y="597"/>
                    <a:pt x="77" y="599"/>
                  </a:cubicBezTo>
                  <a:cubicBezTo>
                    <a:pt x="77" y="599"/>
                    <a:pt x="77" y="599"/>
                    <a:pt x="77" y="599"/>
                  </a:cubicBezTo>
                  <a:cubicBezTo>
                    <a:pt x="77" y="599"/>
                    <a:pt x="76" y="601"/>
                    <a:pt x="75" y="601"/>
                  </a:cubicBezTo>
                  <a:cubicBezTo>
                    <a:pt x="73" y="602"/>
                    <a:pt x="70" y="601"/>
                    <a:pt x="67" y="600"/>
                  </a:cubicBezTo>
                  <a:cubicBezTo>
                    <a:pt x="68" y="600"/>
                    <a:pt x="68" y="599"/>
                    <a:pt x="69" y="599"/>
                  </a:cubicBezTo>
                  <a:cubicBezTo>
                    <a:pt x="66" y="594"/>
                    <a:pt x="63" y="588"/>
                    <a:pt x="61" y="583"/>
                  </a:cubicBezTo>
                  <a:cubicBezTo>
                    <a:pt x="59" y="580"/>
                    <a:pt x="58" y="576"/>
                    <a:pt x="56" y="573"/>
                  </a:cubicBezTo>
                  <a:cubicBezTo>
                    <a:pt x="54" y="570"/>
                    <a:pt x="44" y="566"/>
                    <a:pt x="45" y="564"/>
                  </a:cubicBezTo>
                  <a:cubicBezTo>
                    <a:pt x="46" y="560"/>
                    <a:pt x="46" y="564"/>
                    <a:pt x="48" y="563"/>
                  </a:cubicBezTo>
                  <a:cubicBezTo>
                    <a:pt x="49" y="563"/>
                    <a:pt x="51" y="558"/>
                    <a:pt x="52" y="557"/>
                  </a:cubicBezTo>
                  <a:cubicBezTo>
                    <a:pt x="52" y="557"/>
                    <a:pt x="51" y="555"/>
                    <a:pt x="51" y="555"/>
                  </a:cubicBezTo>
                  <a:cubicBezTo>
                    <a:pt x="52" y="554"/>
                    <a:pt x="57" y="555"/>
                    <a:pt x="58" y="554"/>
                  </a:cubicBezTo>
                  <a:cubicBezTo>
                    <a:pt x="59" y="554"/>
                    <a:pt x="62" y="549"/>
                    <a:pt x="63" y="548"/>
                  </a:cubicBezTo>
                  <a:cubicBezTo>
                    <a:pt x="63" y="547"/>
                    <a:pt x="65" y="549"/>
                    <a:pt x="66" y="549"/>
                  </a:cubicBezTo>
                  <a:cubicBezTo>
                    <a:pt x="73" y="553"/>
                    <a:pt x="79" y="557"/>
                    <a:pt x="86" y="561"/>
                  </a:cubicBezTo>
                  <a:cubicBezTo>
                    <a:pt x="90" y="564"/>
                    <a:pt x="92" y="566"/>
                    <a:pt x="95" y="570"/>
                  </a:cubicBezTo>
                  <a:cubicBezTo>
                    <a:pt x="98" y="573"/>
                    <a:pt x="100" y="576"/>
                    <a:pt x="102" y="578"/>
                  </a:cubicBezTo>
                  <a:cubicBezTo>
                    <a:pt x="103" y="580"/>
                    <a:pt x="101" y="583"/>
                    <a:pt x="100" y="585"/>
                  </a:cubicBezTo>
                  <a:close/>
                  <a:moveTo>
                    <a:pt x="159" y="572"/>
                  </a:moveTo>
                  <a:cubicBezTo>
                    <a:pt x="160" y="573"/>
                    <a:pt x="161" y="573"/>
                    <a:pt x="159" y="573"/>
                  </a:cubicBezTo>
                  <a:cubicBezTo>
                    <a:pt x="158" y="573"/>
                    <a:pt x="152" y="572"/>
                    <a:pt x="152" y="572"/>
                  </a:cubicBezTo>
                  <a:cubicBezTo>
                    <a:pt x="152" y="571"/>
                    <a:pt x="152" y="570"/>
                    <a:pt x="152" y="569"/>
                  </a:cubicBezTo>
                  <a:cubicBezTo>
                    <a:pt x="152" y="570"/>
                    <a:pt x="153" y="570"/>
                    <a:pt x="154" y="568"/>
                  </a:cubicBezTo>
                  <a:cubicBezTo>
                    <a:pt x="155" y="567"/>
                    <a:pt x="155" y="566"/>
                    <a:pt x="153" y="564"/>
                  </a:cubicBezTo>
                  <a:cubicBezTo>
                    <a:pt x="150" y="562"/>
                    <a:pt x="148" y="559"/>
                    <a:pt x="145" y="557"/>
                  </a:cubicBezTo>
                  <a:cubicBezTo>
                    <a:pt x="142" y="555"/>
                    <a:pt x="140" y="555"/>
                    <a:pt x="138" y="553"/>
                  </a:cubicBezTo>
                  <a:cubicBezTo>
                    <a:pt x="135" y="551"/>
                    <a:pt x="133" y="548"/>
                    <a:pt x="130" y="546"/>
                  </a:cubicBezTo>
                  <a:cubicBezTo>
                    <a:pt x="131" y="546"/>
                    <a:pt x="133" y="546"/>
                    <a:pt x="134" y="547"/>
                  </a:cubicBezTo>
                  <a:cubicBezTo>
                    <a:pt x="134" y="545"/>
                    <a:pt x="133" y="542"/>
                    <a:pt x="133" y="540"/>
                  </a:cubicBezTo>
                  <a:cubicBezTo>
                    <a:pt x="133" y="539"/>
                    <a:pt x="131" y="539"/>
                    <a:pt x="130" y="538"/>
                  </a:cubicBezTo>
                  <a:cubicBezTo>
                    <a:pt x="128" y="536"/>
                    <a:pt x="129" y="535"/>
                    <a:pt x="128" y="533"/>
                  </a:cubicBezTo>
                  <a:cubicBezTo>
                    <a:pt x="128" y="532"/>
                    <a:pt x="125" y="529"/>
                    <a:pt x="125" y="529"/>
                  </a:cubicBezTo>
                  <a:cubicBezTo>
                    <a:pt x="124" y="528"/>
                    <a:pt x="124" y="530"/>
                    <a:pt x="123" y="529"/>
                  </a:cubicBezTo>
                  <a:cubicBezTo>
                    <a:pt x="122" y="529"/>
                    <a:pt x="122" y="527"/>
                    <a:pt x="122" y="527"/>
                  </a:cubicBezTo>
                  <a:cubicBezTo>
                    <a:pt x="122" y="526"/>
                    <a:pt x="122" y="526"/>
                    <a:pt x="122" y="526"/>
                  </a:cubicBezTo>
                  <a:cubicBezTo>
                    <a:pt x="125" y="527"/>
                    <a:pt x="126" y="530"/>
                    <a:pt x="128" y="532"/>
                  </a:cubicBezTo>
                  <a:cubicBezTo>
                    <a:pt x="129" y="532"/>
                    <a:pt x="130" y="532"/>
                    <a:pt x="130" y="533"/>
                  </a:cubicBezTo>
                  <a:cubicBezTo>
                    <a:pt x="130" y="534"/>
                    <a:pt x="129" y="533"/>
                    <a:pt x="129" y="534"/>
                  </a:cubicBezTo>
                  <a:cubicBezTo>
                    <a:pt x="130" y="537"/>
                    <a:pt x="134" y="538"/>
                    <a:pt x="137" y="540"/>
                  </a:cubicBezTo>
                  <a:cubicBezTo>
                    <a:pt x="136" y="538"/>
                    <a:pt x="136" y="536"/>
                    <a:pt x="134" y="534"/>
                  </a:cubicBezTo>
                  <a:cubicBezTo>
                    <a:pt x="135" y="535"/>
                    <a:pt x="136" y="535"/>
                    <a:pt x="137" y="536"/>
                  </a:cubicBezTo>
                  <a:cubicBezTo>
                    <a:pt x="136" y="534"/>
                    <a:pt x="134" y="529"/>
                    <a:pt x="132" y="528"/>
                  </a:cubicBezTo>
                  <a:cubicBezTo>
                    <a:pt x="134" y="529"/>
                    <a:pt x="136" y="532"/>
                    <a:pt x="138" y="533"/>
                  </a:cubicBezTo>
                  <a:cubicBezTo>
                    <a:pt x="137" y="529"/>
                    <a:pt x="133" y="527"/>
                    <a:pt x="132" y="524"/>
                  </a:cubicBezTo>
                  <a:cubicBezTo>
                    <a:pt x="136" y="525"/>
                    <a:pt x="138" y="529"/>
                    <a:pt x="139" y="532"/>
                  </a:cubicBezTo>
                  <a:cubicBezTo>
                    <a:pt x="140" y="533"/>
                    <a:pt x="140" y="535"/>
                    <a:pt x="141" y="537"/>
                  </a:cubicBezTo>
                  <a:cubicBezTo>
                    <a:pt x="142" y="537"/>
                    <a:pt x="144" y="541"/>
                    <a:pt x="145" y="540"/>
                  </a:cubicBezTo>
                  <a:cubicBezTo>
                    <a:pt x="147" y="538"/>
                    <a:pt x="143" y="535"/>
                    <a:pt x="143" y="534"/>
                  </a:cubicBezTo>
                  <a:cubicBezTo>
                    <a:pt x="144" y="534"/>
                    <a:pt x="145" y="536"/>
                    <a:pt x="147" y="536"/>
                  </a:cubicBezTo>
                  <a:cubicBezTo>
                    <a:pt x="148" y="536"/>
                    <a:pt x="148" y="536"/>
                    <a:pt x="149" y="537"/>
                  </a:cubicBezTo>
                  <a:cubicBezTo>
                    <a:pt x="151" y="534"/>
                    <a:pt x="153" y="530"/>
                    <a:pt x="151" y="527"/>
                  </a:cubicBezTo>
                  <a:cubicBezTo>
                    <a:pt x="151" y="526"/>
                    <a:pt x="150" y="525"/>
                    <a:pt x="149" y="525"/>
                  </a:cubicBezTo>
                  <a:cubicBezTo>
                    <a:pt x="149" y="525"/>
                    <a:pt x="149" y="524"/>
                    <a:pt x="149" y="524"/>
                  </a:cubicBezTo>
                  <a:cubicBezTo>
                    <a:pt x="148" y="524"/>
                    <a:pt x="147" y="525"/>
                    <a:pt x="147" y="525"/>
                  </a:cubicBezTo>
                  <a:cubicBezTo>
                    <a:pt x="144" y="525"/>
                    <a:pt x="143" y="521"/>
                    <a:pt x="141" y="521"/>
                  </a:cubicBezTo>
                  <a:cubicBezTo>
                    <a:pt x="140" y="522"/>
                    <a:pt x="140" y="523"/>
                    <a:pt x="141" y="525"/>
                  </a:cubicBezTo>
                  <a:cubicBezTo>
                    <a:pt x="141" y="525"/>
                    <a:pt x="141" y="525"/>
                    <a:pt x="141" y="525"/>
                  </a:cubicBezTo>
                  <a:cubicBezTo>
                    <a:pt x="142" y="525"/>
                    <a:pt x="142" y="527"/>
                    <a:pt x="143" y="528"/>
                  </a:cubicBezTo>
                  <a:cubicBezTo>
                    <a:pt x="143" y="527"/>
                    <a:pt x="142" y="526"/>
                    <a:pt x="141" y="525"/>
                  </a:cubicBezTo>
                  <a:cubicBezTo>
                    <a:pt x="140" y="524"/>
                    <a:pt x="140" y="524"/>
                    <a:pt x="139" y="523"/>
                  </a:cubicBezTo>
                  <a:cubicBezTo>
                    <a:pt x="138" y="522"/>
                    <a:pt x="137" y="521"/>
                    <a:pt x="136" y="520"/>
                  </a:cubicBezTo>
                  <a:cubicBezTo>
                    <a:pt x="134" y="518"/>
                    <a:pt x="134" y="517"/>
                    <a:pt x="133" y="515"/>
                  </a:cubicBezTo>
                  <a:cubicBezTo>
                    <a:pt x="133" y="515"/>
                    <a:pt x="131" y="515"/>
                    <a:pt x="132" y="514"/>
                  </a:cubicBezTo>
                  <a:cubicBezTo>
                    <a:pt x="133" y="513"/>
                    <a:pt x="136" y="515"/>
                    <a:pt x="137" y="516"/>
                  </a:cubicBezTo>
                  <a:cubicBezTo>
                    <a:pt x="143" y="519"/>
                    <a:pt x="149" y="522"/>
                    <a:pt x="156" y="525"/>
                  </a:cubicBezTo>
                  <a:cubicBezTo>
                    <a:pt x="158" y="526"/>
                    <a:pt x="158" y="533"/>
                    <a:pt x="157" y="535"/>
                  </a:cubicBezTo>
                  <a:cubicBezTo>
                    <a:pt x="157" y="537"/>
                    <a:pt x="154" y="538"/>
                    <a:pt x="156" y="540"/>
                  </a:cubicBezTo>
                  <a:cubicBezTo>
                    <a:pt x="160" y="546"/>
                    <a:pt x="164" y="551"/>
                    <a:pt x="168" y="557"/>
                  </a:cubicBezTo>
                  <a:cubicBezTo>
                    <a:pt x="171" y="559"/>
                    <a:pt x="168" y="560"/>
                    <a:pt x="168" y="563"/>
                  </a:cubicBezTo>
                  <a:cubicBezTo>
                    <a:pt x="169" y="564"/>
                    <a:pt x="169" y="564"/>
                    <a:pt x="170" y="565"/>
                  </a:cubicBezTo>
                  <a:cubicBezTo>
                    <a:pt x="167" y="568"/>
                    <a:pt x="163" y="570"/>
                    <a:pt x="159" y="572"/>
                  </a:cubicBezTo>
                  <a:close/>
                  <a:moveTo>
                    <a:pt x="1569" y="723"/>
                  </a:moveTo>
                  <a:cubicBezTo>
                    <a:pt x="1569" y="723"/>
                    <a:pt x="1569" y="723"/>
                    <a:pt x="1569" y="723"/>
                  </a:cubicBezTo>
                  <a:cubicBezTo>
                    <a:pt x="1569" y="724"/>
                    <a:pt x="1568" y="725"/>
                    <a:pt x="1568" y="725"/>
                  </a:cubicBezTo>
                  <a:cubicBezTo>
                    <a:pt x="1567" y="727"/>
                    <a:pt x="1568" y="728"/>
                    <a:pt x="1568" y="729"/>
                  </a:cubicBezTo>
                  <a:cubicBezTo>
                    <a:pt x="1567" y="730"/>
                    <a:pt x="1567" y="730"/>
                    <a:pt x="1567" y="731"/>
                  </a:cubicBezTo>
                  <a:cubicBezTo>
                    <a:pt x="1566" y="732"/>
                    <a:pt x="1567" y="733"/>
                    <a:pt x="1567" y="734"/>
                  </a:cubicBezTo>
                  <a:cubicBezTo>
                    <a:pt x="1567" y="735"/>
                    <a:pt x="1566" y="736"/>
                    <a:pt x="1566" y="737"/>
                  </a:cubicBezTo>
                  <a:cubicBezTo>
                    <a:pt x="1566" y="738"/>
                    <a:pt x="1565" y="740"/>
                    <a:pt x="1565" y="740"/>
                  </a:cubicBezTo>
                  <a:cubicBezTo>
                    <a:pt x="1564" y="742"/>
                    <a:pt x="1564" y="743"/>
                    <a:pt x="1564" y="744"/>
                  </a:cubicBezTo>
                  <a:cubicBezTo>
                    <a:pt x="1563" y="745"/>
                    <a:pt x="1563" y="745"/>
                    <a:pt x="1562" y="747"/>
                  </a:cubicBezTo>
                  <a:cubicBezTo>
                    <a:pt x="1562" y="749"/>
                    <a:pt x="1562" y="751"/>
                    <a:pt x="1562" y="752"/>
                  </a:cubicBezTo>
                  <a:cubicBezTo>
                    <a:pt x="1562" y="756"/>
                    <a:pt x="1563" y="758"/>
                    <a:pt x="1561" y="762"/>
                  </a:cubicBezTo>
                  <a:cubicBezTo>
                    <a:pt x="1560" y="764"/>
                    <a:pt x="1557" y="771"/>
                    <a:pt x="1554" y="772"/>
                  </a:cubicBezTo>
                  <a:cubicBezTo>
                    <a:pt x="1551" y="773"/>
                    <a:pt x="1554" y="769"/>
                    <a:pt x="1553" y="768"/>
                  </a:cubicBezTo>
                  <a:cubicBezTo>
                    <a:pt x="1550" y="764"/>
                    <a:pt x="1545" y="772"/>
                    <a:pt x="1544" y="775"/>
                  </a:cubicBezTo>
                  <a:cubicBezTo>
                    <a:pt x="1546" y="774"/>
                    <a:pt x="1548" y="771"/>
                    <a:pt x="1550" y="772"/>
                  </a:cubicBezTo>
                  <a:cubicBezTo>
                    <a:pt x="1552" y="773"/>
                    <a:pt x="1552" y="777"/>
                    <a:pt x="1552" y="779"/>
                  </a:cubicBezTo>
                  <a:cubicBezTo>
                    <a:pt x="1551" y="780"/>
                    <a:pt x="1548" y="780"/>
                    <a:pt x="1547" y="781"/>
                  </a:cubicBezTo>
                  <a:cubicBezTo>
                    <a:pt x="1546" y="781"/>
                    <a:pt x="1543" y="782"/>
                    <a:pt x="1542" y="783"/>
                  </a:cubicBezTo>
                  <a:cubicBezTo>
                    <a:pt x="1539" y="785"/>
                    <a:pt x="1537" y="788"/>
                    <a:pt x="1535" y="790"/>
                  </a:cubicBezTo>
                  <a:cubicBezTo>
                    <a:pt x="1532" y="794"/>
                    <a:pt x="1530" y="795"/>
                    <a:pt x="1526" y="795"/>
                  </a:cubicBezTo>
                  <a:cubicBezTo>
                    <a:pt x="1521" y="796"/>
                    <a:pt x="1516" y="801"/>
                    <a:pt x="1512" y="804"/>
                  </a:cubicBezTo>
                  <a:cubicBezTo>
                    <a:pt x="1509" y="806"/>
                    <a:pt x="1507" y="804"/>
                    <a:pt x="1503" y="805"/>
                  </a:cubicBezTo>
                  <a:cubicBezTo>
                    <a:pt x="1501" y="805"/>
                    <a:pt x="1500" y="806"/>
                    <a:pt x="1500" y="808"/>
                  </a:cubicBezTo>
                  <a:cubicBezTo>
                    <a:pt x="1500" y="810"/>
                    <a:pt x="1501" y="809"/>
                    <a:pt x="1500" y="811"/>
                  </a:cubicBezTo>
                  <a:cubicBezTo>
                    <a:pt x="1499" y="813"/>
                    <a:pt x="1498" y="814"/>
                    <a:pt x="1497" y="815"/>
                  </a:cubicBezTo>
                  <a:cubicBezTo>
                    <a:pt x="1495" y="819"/>
                    <a:pt x="1494" y="820"/>
                    <a:pt x="1490" y="821"/>
                  </a:cubicBezTo>
                  <a:cubicBezTo>
                    <a:pt x="1481" y="824"/>
                    <a:pt x="1472" y="828"/>
                    <a:pt x="1462" y="826"/>
                  </a:cubicBezTo>
                  <a:cubicBezTo>
                    <a:pt x="1460" y="826"/>
                    <a:pt x="1458" y="824"/>
                    <a:pt x="1456" y="823"/>
                  </a:cubicBezTo>
                  <a:cubicBezTo>
                    <a:pt x="1455" y="823"/>
                    <a:pt x="1453" y="823"/>
                    <a:pt x="1452" y="822"/>
                  </a:cubicBezTo>
                  <a:cubicBezTo>
                    <a:pt x="1450" y="820"/>
                    <a:pt x="1457" y="820"/>
                    <a:pt x="1459" y="819"/>
                  </a:cubicBezTo>
                  <a:cubicBezTo>
                    <a:pt x="1469" y="818"/>
                    <a:pt x="1482" y="817"/>
                    <a:pt x="1489" y="808"/>
                  </a:cubicBezTo>
                  <a:cubicBezTo>
                    <a:pt x="1493" y="804"/>
                    <a:pt x="1495" y="800"/>
                    <a:pt x="1501" y="798"/>
                  </a:cubicBezTo>
                  <a:cubicBezTo>
                    <a:pt x="1503" y="797"/>
                    <a:pt x="1504" y="797"/>
                    <a:pt x="1505" y="795"/>
                  </a:cubicBezTo>
                  <a:cubicBezTo>
                    <a:pt x="1507" y="794"/>
                    <a:pt x="1513" y="790"/>
                    <a:pt x="1509" y="787"/>
                  </a:cubicBezTo>
                  <a:cubicBezTo>
                    <a:pt x="1519" y="779"/>
                    <a:pt x="1532" y="773"/>
                    <a:pt x="1539" y="761"/>
                  </a:cubicBezTo>
                  <a:cubicBezTo>
                    <a:pt x="1544" y="751"/>
                    <a:pt x="1551" y="741"/>
                    <a:pt x="1554" y="730"/>
                  </a:cubicBezTo>
                  <a:cubicBezTo>
                    <a:pt x="1555" y="726"/>
                    <a:pt x="1556" y="722"/>
                    <a:pt x="1559" y="719"/>
                  </a:cubicBezTo>
                  <a:cubicBezTo>
                    <a:pt x="1561" y="717"/>
                    <a:pt x="1562" y="715"/>
                    <a:pt x="1565" y="715"/>
                  </a:cubicBezTo>
                  <a:cubicBezTo>
                    <a:pt x="1566" y="715"/>
                    <a:pt x="1567" y="716"/>
                    <a:pt x="1568" y="716"/>
                  </a:cubicBezTo>
                  <a:cubicBezTo>
                    <a:pt x="1567" y="715"/>
                    <a:pt x="1565" y="715"/>
                    <a:pt x="1564" y="714"/>
                  </a:cubicBezTo>
                  <a:cubicBezTo>
                    <a:pt x="1567" y="714"/>
                    <a:pt x="1570" y="715"/>
                    <a:pt x="1571" y="718"/>
                  </a:cubicBezTo>
                  <a:cubicBezTo>
                    <a:pt x="1569" y="719"/>
                    <a:pt x="1569" y="720"/>
                    <a:pt x="1569" y="721"/>
                  </a:cubicBezTo>
                  <a:cubicBezTo>
                    <a:pt x="1569" y="722"/>
                    <a:pt x="1569" y="722"/>
                    <a:pt x="1569" y="7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84" name="Freeform 581"/>
            <p:cNvSpPr/>
            <p:nvPr/>
          </p:nvSpPr>
          <p:spPr bwMode="auto">
            <a:xfrm>
              <a:off x="3920335" y="4977858"/>
              <a:ext cx="193703" cy="97520"/>
            </a:xfrm>
            <a:custGeom>
              <a:gdLst>
                <a:gd name="T0" fmla="*/ 50 w 58"/>
                <a:gd name="T1" fmla="*/ 8 h 28"/>
                <a:gd name="T2" fmla="*/ 50 w 58"/>
                <a:gd name="T3" fmla="*/ 7 h 28"/>
                <a:gd name="T4" fmla="*/ 44 w 58"/>
                <a:gd name="T5" fmla="*/ 5 h 28"/>
                <a:gd name="T6" fmla="*/ 41 w 58"/>
                <a:gd name="T7" fmla="*/ 6 h 28"/>
                <a:gd name="T8" fmla="*/ 37 w 58"/>
                <a:gd name="T9" fmla="*/ 6 h 28"/>
                <a:gd name="T10" fmla="*/ 36 w 58"/>
                <a:gd name="T11" fmla="*/ 6 h 28"/>
                <a:gd name="T12" fmla="*/ 32 w 58"/>
                <a:gd name="T13" fmla="*/ 5 h 28"/>
                <a:gd name="T14" fmla="*/ 30 w 58"/>
                <a:gd name="T15" fmla="*/ 5 h 28"/>
                <a:gd name="T16" fmla="*/ 28 w 58"/>
                <a:gd name="T17" fmla="*/ 5 h 28"/>
                <a:gd name="T18" fmla="*/ 26 w 58"/>
                <a:gd name="T19" fmla="*/ 0 h 28"/>
                <a:gd name="T20" fmla="*/ 23 w 58"/>
                <a:gd name="T21" fmla="*/ 0 h 28"/>
                <a:gd name="T22" fmla="*/ 21 w 58"/>
                <a:gd name="T23" fmla="*/ 0 h 28"/>
                <a:gd name="T24" fmla="*/ 11 w 58"/>
                <a:gd name="T25" fmla="*/ 6 h 28"/>
                <a:gd name="T26" fmla="*/ 7 w 58"/>
                <a:gd name="T27" fmla="*/ 11 h 28"/>
                <a:gd name="T28" fmla="*/ 2 w 58"/>
                <a:gd name="T29" fmla="*/ 18 h 28"/>
                <a:gd name="T30" fmla="*/ 2 w 58"/>
                <a:gd name="T31" fmla="*/ 20 h 28"/>
                <a:gd name="T32" fmla="*/ 0 w 58"/>
                <a:gd name="T33" fmla="*/ 21 h 28"/>
                <a:gd name="T34" fmla="*/ 2 w 58"/>
                <a:gd name="T35" fmla="*/ 24 h 28"/>
                <a:gd name="T36" fmla="*/ 5 w 58"/>
                <a:gd name="T37" fmla="*/ 26 h 28"/>
                <a:gd name="T38" fmla="*/ 6 w 58"/>
                <a:gd name="T39" fmla="*/ 26 h 28"/>
                <a:gd name="T40" fmla="*/ 8 w 58"/>
                <a:gd name="T41" fmla="*/ 26 h 28"/>
                <a:gd name="T42" fmla="*/ 9 w 58"/>
                <a:gd name="T43" fmla="*/ 26 h 28"/>
                <a:gd name="T44" fmla="*/ 11 w 58"/>
                <a:gd name="T45" fmla="*/ 26 h 28"/>
                <a:gd name="T46" fmla="*/ 14 w 58"/>
                <a:gd name="T47" fmla="*/ 27 h 28"/>
                <a:gd name="T48" fmla="*/ 15 w 58"/>
                <a:gd name="T49" fmla="*/ 28 h 28"/>
                <a:gd name="T50" fmla="*/ 17 w 58"/>
                <a:gd name="T51" fmla="*/ 28 h 28"/>
                <a:gd name="T52" fmla="*/ 22 w 58"/>
                <a:gd name="T53" fmla="*/ 26 h 28"/>
                <a:gd name="T54" fmla="*/ 24 w 58"/>
                <a:gd name="T55" fmla="*/ 25 h 28"/>
                <a:gd name="T56" fmla="*/ 30 w 58"/>
                <a:gd name="T57" fmla="*/ 25 h 28"/>
                <a:gd name="T58" fmla="*/ 32 w 58"/>
                <a:gd name="T59" fmla="*/ 26 h 28"/>
                <a:gd name="T60" fmla="*/ 35 w 58"/>
                <a:gd name="T61" fmla="*/ 27 h 28"/>
                <a:gd name="T62" fmla="*/ 37 w 58"/>
                <a:gd name="T63" fmla="*/ 27 h 28"/>
                <a:gd name="T64" fmla="*/ 42 w 58"/>
                <a:gd name="T65" fmla="*/ 26 h 28"/>
                <a:gd name="T66" fmla="*/ 49 w 58"/>
                <a:gd name="T67" fmla="*/ 26 h 28"/>
                <a:gd name="T68" fmla="*/ 51 w 58"/>
                <a:gd name="T69" fmla="*/ 26 h 28"/>
                <a:gd name="T70" fmla="*/ 55 w 58"/>
                <a:gd name="T71" fmla="*/ 25 h 28"/>
                <a:gd name="T72" fmla="*/ 56 w 58"/>
                <a:gd name="T73" fmla="*/ 25 h 28"/>
                <a:gd name="T74" fmla="*/ 57 w 58"/>
                <a:gd name="T75" fmla="*/ 26 h 28"/>
                <a:gd name="T76" fmla="*/ 57 w 58"/>
                <a:gd name="T77" fmla="*/ 23 h 28"/>
                <a:gd name="T78" fmla="*/ 58 w 58"/>
                <a:gd name="T79" fmla="*/ 19 h 28"/>
                <a:gd name="T80" fmla="*/ 53 w 58"/>
                <a:gd name="T81" fmla="*/ 17 h 28"/>
                <a:gd name="T82" fmla="*/ 50 w 58"/>
                <a:gd name="T83" fmla="*/ 15 h 28"/>
                <a:gd name="T84" fmla="*/ 49 w 58"/>
                <a:gd name="T85" fmla="*/ 14 h 28"/>
                <a:gd name="T86" fmla="*/ 49 w 58"/>
                <a:gd name="T87" fmla="*/ 11 h 28"/>
                <a:gd name="T88" fmla="*/ 49 w 58"/>
                <a:gd name="T89" fmla="*/ 10 h 28"/>
                <a:gd name="T90" fmla="*/ 50 w 58"/>
                <a:gd name="T91" fmla="*/ 9 h 28"/>
                <a:gd name="T92" fmla="*/ 49 w 58"/>
                <a:gd name="T93" fmla="*/ 9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 h="28">
                  <a:moveTo>
                    <a:pt x="50" y="8"/>
                  </a:moveTo>
                  <a:cubicBezTo>
                    <a:pt x="50" y="8"/>
                    <a:pt x="50" y="8"/>
                    <a:pt x="50" y="8"/>
                  </a:cubicBezTo>
                  <a:cubicBezTo>
                    <a:pt x="50" y="7"/>
                    <a:pt x="50" y="7"/>
                    <a:pt x="50" y="7"/>
                  </a:cubicBezTo>
                  <a:cubicBezTo>
                    <a:pt x="50" y="7"/>
                    <a:pt x="50" y="7"/>
                    <a:pt x="50" y="7"/>
                  </a:cubicBezTo>
                  <a:cubicBezTo>
                    <a:pt x="50" y="7"/>
                    <a:pt x="49" y="6"/>
                    <a:pt x="48" y="6"/>
                  </a:cubicBezTo>
                  <a:cubicBezTo>
                    <a:pt x="46" y="5"/>
                    <a:pt x="44" y="5"/>
                    <a:pt x="44" y="5"/>
                  </a:cubicBezTo>
                  <a:cubicBezTo>
                    <a:pt x="44" y="5"/>
                    <a:pt x="43" y="5"/>
                    <a:pt x="42" y="6"/>
                  </a:cubicBezTo>
                  <a:cubicBezTo>
                    <a:pt x="41" y="6"/>
                    <a:pt x="41" y="6"/>
                    <a:pt x="41" y="6"/>
                  </a:cubicBezTo>
                  <a:cubicBezTo>
                    <a:pt x="40" y="7"/>
                    <a:pt x="40" y="7"/>
                    <a:pt x="40" y="7"/>
                  </a:cubicBezTo>
                  <a:cubicBezTo>
                    <a:pt x="39" y="7"/>
                    <a:pt x="38" y="6"/>
                    <a:pt x="37" y="6"/>
                  </a:cubicBezTo>
                  <a:cubicBezTo>
                    <a:pt x="36" y="6"/>
                    <a:pt x="36" y="6"/>
                    <a:pt x="36" y="6"/>
                  </a:cubicBezTo>
                  <a:cubicBezTo>
                    <a:pt x="36" y="6"/>
                    <a:pt x="36" y="6"/>
                    <a:pt x="36" y="6"/>
                  </a:cubicBezTo>
                  <a:cubicBezTo>
                    <a:pt x="35" y="5"/>
                    <a:pt x="35" y="5"/>
                    <a:pt x="35" y="5"/>
                  </a:cubicBezTo>
                  <a:cubicBezTo>
                    <a:pt x="34" y="5"/>
                    <a:pt x="33" y="5"/>
                    <a:pt x="32" y="5"/>
                  </a:cubicBezTo>
                  <a:cubicBezTo>
                    <a:pt x="32" y="5"/>
                    <a:pt x="31" y="5"/>
                    <a:pt x="31" y="5"/>
                  </a:cubicBezTo>
                  <a:cubicBezTo>
                    <a:pt x="30" y="5"/>
                    <a:pt x="30" y="5"/>
                    <a:pt x="30" y="5"/>
                  </a:cubicBezTo>
                  <a:cubicBezTo>
                    <a:pt x="30" y="5"/>
                    <a:pt x="29" y="5"/>
                    <a:pt x="29" y="5"/>
                  </a:cubicBezTo>
                  <a:cubicBezTo>
                    <a:pt x="28" y="5"/>
                    <a:pt x="28" y="5"/>
                    <a:pt x="28" y="5"/>
                  </a:cubicBezTo>
                  <a:cubicBezTo>
                    <a:pt x="26" y="3"/>
                    <a:pt x="26" y="2"/>
                    <a:pt x="26" y="1"/>
                  </a:cubicBezTo>
                  <a:cubicBezTo>
                    <a:pt x="26" y="1"/>
                    <a:pt x="26" y="1"/>
                    <a:pt x="26" y="0"/>
                  </a:cubicBezTo>
                  <a:cubicBezTo>
                    <a:pt x="25" y="0"/>
                    <a:pt x="25" y="0"/>
                    <a:pt x="24" y="0"/>
                  </a:cubicBezTo>
                  <a:cubicBezTo>
                    <a:pt x="23" y="0"/>
                    <a:pt x="23" y="0"/>
                    <a:pt x="23" y="0"/>
                  </a:cubicBezTo>
                  <a:cubicBezTo>
                    <a:pt x="23" y="0"/>
                    <a:pt x="23" y="0"/>
                    <a:pt x="22" y="0"/>
                  </a:cubicBezTo>
                  <a:cubicBezTo>
                    <a:pt x="21" y="0"/>
                    <a:pt x="21" y="0"/>
                    <a:pt x="21" y="0"/>
                  </a:cubicBezTo>
                  <a:cubicBezTo>
                    <a:pt x="17" y="1"/>
                    <a:pt x="14" y="3"/>
                    <a:pt x="13" y="4"/>
                  </a:cubicBezTo>
                  <a:cubicBezTo>
                    <a:pt x="12" y="5"/>
                    <a:pt x="12" y="6"/>
                    <a:pt x="11" y="6"/>
                  </a:cubicBezTo>
                  <a:cubicBezTo>
                    <a:pt x="11" y="6"/>
                    <a:pt x="11" y="6"/>
                    <a:pt x="11" y="6"/>
                  </a:cubicBezTo>
                  <a:cubicBezTo>
                    <a:pt x="9" y="8"/>
                    <a:pt x="8" y="10"/>
                    <a:pt x="7" y="11"/>
                  </a:cubicBezTo>
                  <a:cubicBezTo>
                    <a:pt x="6" y="12"/>
                    <a:pt x="5" y="14"/>
                    <a:pt x="5" y="15"/>
                  </a:cubicBezTo>
                  <a:cubicBezTo>
                    <a:pt x="4" y="16"/>
                    <a:pt x="3" y="17"/>
                    <a:pt x="2" y="18"/>
                  </a:cubicBezTo>
                  <a:cubicBezTo>
                    <a:pt x="2" y="19"/>
                    <a:pt x="2" y="19"/>
                    <a:pt x="2" y="19"/>
                  </a:cubicBezTo>
                  <a:cubicBezTo>
                    <a:pt x="2" y="20"/>
                    <a:pt x="2" y="20"/>
                    <a:pt x="2" y="20"/>
                  </a:cubicBezTo>
                  <a:cubicBezTo>
                    <a:pt x="0" y="21"/>
                    <a:pt x="0" y="21"/>
                    <a:pt x="0" y="21"/>
                  </a:cubicBezTo>
                  <a:cubicBezTo>
                    <a:pt x="0" y="21"/>
                    <a:pt x="0" y="21"/>
                    <a:pt x="0" y="21"/>
                  </a:cubicBezTo>
                  <a:cubicBezTo>
                    <a:pt x="1" y="22"/>
                    <a:pt x="2" y="23"/>
                    <a:pt x="2" y="24"/>
                  </a:cubicBezTo>
                  <a:cubicBezTo>
                    <a:pt x="2" y="24"/>
                    <a:pt x="2" y="24"/>
                    <a:pt x="2" y="24"/>
                  </a:cubicBezTo>
                  <a:cubicBezTo>
                    <a:pt x="3" y="24"/>
                    <a:pt x="3" y="25"/>
                    <a:pt x="3" y="25"/>
                  </a:cubicBezTo>
                  <a:cubicBezTo>
                    <a:pt x="4" y="25"/>
                    <a:pt x="4" y="25"/>
                    <a:pt x="5" y="26"/>
                  </a:cubicBezTo>
                  <a:cubicBezTo>
                    <a:pt x="5" y="26"/>
                    <a:pt x="5" y="26"/>
                    <a:pt x="5" y="26"/>
                  </a:cubicBezTo>
                  <a:cubicBezTo>
                    <a:pt x="5" y="26"/>
                    <a:pt x="6" y="26"/>
                    <a:pt x="6" y="26"/>
                  </a:cubicBezTo>
                  <a:cubicBezTo>
                    <a:pt x="6" y="26"/>
                    <a:pt x="6" y="26"/>
                    <a:pt x="6" y="26"/>
                  </a:cubicBezTo>
                  <a:cubicBezTo>
                    <a:pt x="8" y="26"/>
                    <a:pt x="8" y="26"/>
                    <a:pt x="8" y="26"/>
                  </a:cubicBezTo>
                  <a:cubicBezTo>
                    <a:pt x="8" y="26"/>
                    <a:pt x="8" y="26"/>
                    <a:pt x="8" y="26"/>
                  </a:cubicBezTo>
                  <a:cubicBezTo>
                    <a:pt x="8" y="26"/>
                    <a:pt x="9" y="26"/>
                    <a:pt x="9" y="26"/>
                  </a:cubicBezTo>
                  <a:cubicBezTo>
                    <a:pt x="9" y="26"/>
                    <a:pt x="9" y="26"/>
                    <a:pt x="9" y="26"/>
                  </a:cubicBezTo>
                  <a:cubicBezTo>
                    <a:pt x="10" y="26"/>
                    <a:pt x="10" y="26"/>
                    <a:pt x="11" y="26"/>
                  </a:cubicBezTo>
                  <a:cubicBezTo>
                    <a:pt x="12" y="26"/>
                    <a:pt x="13" y="27"/>
                    <a:pt x="14" y="27"/>
                  </a:cubicBezTo>
                  <a:cubicBezTo>
                    <a:pt x="14" y="27"/>
                    <a:pt x="14" y="27"/>
                    <a:pt x="14" y="27"/>
                  </a:cubicBezTo>
                  <a:cubicBezTo>
                    <a:pt x="16" y="22"/>
                    <a:pt x="16" y="22"/>
                    <a:pt x="16" y="22"/>
                  </a:cubicBezTo>
                  <a:cubicBezTo>
                    <a:pt x="15" y="28"/>
                    <a:pt x="15" y="28"/>
                    <a:pt x="15" y="28"/>
                  </a:cubicBezTo>
                  <a:cubicBezTo>
                    <a:pt x="15" y="28"/>
                    <a:pt x="15" y="28"/>
                    <a:pt x="15" y="28"/>
                  </a:cubicBezTo>
                  <a:cubicBezTo>
                    <a:pt x="16" y="28"/>
                    <a:pt x="17" y="28"/>
                    <a:pt x="17" y="28"/>
                  </a:cubicBezTo>
                  <a:cubicBezTo>
                    <a:pt x="18" y="28"/>
                    <a:pt x="18" y="28"/>
                    <a:pt x="18" y="28"/>
                  </a:cubicBezTo>
                  <a:cubicBezTo>
                    <a:pt x="19" y="28"/>
                    <a:pt x="21" y="27"/>
                    <a:pt x="22" y="26"/>
                  </a:cubicBezTo>
                  <a:cubicBezTo>
                    <a:pt x="24" y="26"/>
                    <a:pt x="24" y="26"/>
                    <a:pt x="24" y="26"/>
                  </a:cubicBezTo>
                  <a:cubicBezTo>
                    <a:pt x="24" y="25"/>
                    <a:pt x="24" y="25"/>
                    <a:pt x="24" y="25"/>
                  </a:cubicBezTo>
                  <a:cubicBezTo>
                    <a:pt x="25" y="25"/>
                    <a:pt x="25" y="25"/>
                    <a:pt x="26" y="25"/>
                  </a:cubicBezTo>
                  <a:cubicBezTo>
                    <a:pt x="27" y="24"/>
                    <a:pt x="29" y="24"/>
                    <a:pt x="30" y="25"/>
                  </a:cubicBezTo>
                  <a:cubicBezTo>
                    <a:pt x="30" y="25"/>
                    <a:pt x="30" y="26"/>
                    <a:pt x="31" y="26"/>
                  </a:cubicBezTo>
                  <a:cubicBezTo>
                    <a:pt x="32" y="26"/>
                    <a:pt x="32" y="26"/>
                    <a:pt x="32" y="26"/>
                  </a:cubicBezTo>
                  <a:cubicBezTo>
                    <a:pt x="32" y="26"/>
                    <a:pt x="33" y="26"/>
                    <a:pt x="34" y="27"/>
                  </a:cubicBezTo>
                  <a:cubicBezTo>
                    <a:pt x="35" y="27"/>
                    <a:pt x="35" y="27"/>
                    <a:pt x="35" y="27"/>
                  </a:cubicBezTo>
                  <a:cubicBezTo>
                    <a:pt x="35" y="27"/>
                    <a:pt x="35" y="27"/>
                    <a:pt x="35" y="27"/>
                  </a:cubicBezTo>
                  <a:cubicBezTo>
                    <a:pt x="36" y="27"/>
                    <a:pt x="37" y="27"/>
                    <a:pt x="37" y="27"/>
                  </a:cubicBezTo>
                  <a:cubicBezTo>
                    <a:pt x="39" y="27"/>
                    <a:pt x="40" y="27"/>
                    <a:pt x="42" y="26"/>
                  </a:cubicBezTo>
                  <a:cubicBezTo>
                    <a:pt x="42" y="26"/>
                    <a:pt x="42" y="26"/>
                    <a:pt x="42" y="26"/>
                  </a:cubicBezTo>
                  <a:cubicBezTo>
                    <a:pt x="44" y="26"/>
                    <a:pt x="45" y="26"/>
                    <a:pt x="47" y="26"/>
                  </a:cubicBezTo>
                  <a:cubicBezTo>
                    <a:pt x="48" y="26"/>
                    <a:pt x="49" y="26"/>
                    <a:pt x="49" y="26"/>
                  </a:cubicBezTo>
                  <a:cubicBezTo>
                    <a:pt x="50" y="26"/>
                    <a:pt x="50" y="26"/>
                    <a:pt x="50" y="26"/>
                  </a:cubicBezTo>
                  <a:cubicBezTo>
                    <a:pt x="51" y="26"/>
                    <a:pt x="51" y="26"/>
                    <a:pt x="51" y="26"/>
                  </a:cubicBezTo>
                  <a:cubicBezTo>
                    <a:pt x="52" y="26"/>
                    <a:pt x="53" y="26"/>
                    <a:pt x="55" y="25"/>
                  </a:cubicBezTo>
                  <a:cubicBezTo>
                    <a:pt x="55" y="25"/>
                    <a:pt x="55" y="25"/>
                    <a:pt x="55" y="25"/>
                  </a:cubicBezTo>
                  <a:cubicBezTo>
                    <a:pt x="56" y="25"/>
                    <a:pt x="56" y="25"/>
                    <a:pt x="56" y="25"/>
                  </a:cubicBezTo>
                  <a:cubicBezTo>
                    <a:pt x="56" y="25"/>
                    <a:pt x="56" y="25"/>
                    <a:pt x="56" y="25"/>
                  </a:cubicBezTo>
                  <a:cubicBezTo>
                    <a:pt x="56" y="25"/>
                    <a:pt x="56" y="25"/>
                    <a:pt x="57" y="26"/>
                  </a:cubicBezTo>
                  <a:cubicBezTo>
                    <a:pt x="57" y="26"/>
                    <a:pt x="57" y="26"/>
                    <a:pt x="57" y="26"/>
                  </a:cubicBezTo>
                  <a:cubicBezTo>
                    <a:pt x="58" y="26"/>
                    <a:pt x="58" y="26"/>
                    <a:pt x="58" y="26"/>
                  </a:cubicBezTo>
                  <a:cubicBezTo>
                    <a:pt x="57" y="25"/>
                    <a:pt x="57" y="24"/>
                    <a:pt x="57" y="23"/>
                  </a:cubicBezTo>
                  <a:cubicBezTo>
                    <a:pt x="56" y="22"/>
                    <a:pt x="56" y="22"/>
                    <a:pt x="56" y="21"/>
                  </a:cubicBezTo>
                  <a:cubicBezTo>
                    <a:pt x="57" y="20"/>
                    <a:pt x="57" y="19"/>
                    <a:pt x="58" y="19"/>
                  </a:cubicBezTo>
                  <a:cubicBezTo>
                    <a:pt x="57" y="18"/>
                    <a:pt x="57" y="18"/>
                    <a:pt x="56" y="18"/>
                  </a:cubicBezTo>
                  <a:cubicBezTo>
                    <a:pt x="55" y="18"/>
                    <a:pt x="54" y="18"/>
                    <a:pt x="53" y="17"/>
                  </a:cubicBezTo>
                  <a:cubicBezTo>
                    <a:pt x="52" y="17"/>
                    <a:pt x="52" y="17"/>
                    <a:pt x="51" y="16"/>
                  </a:cubicBezTo>
                  <a:cubicBezTo>
                    <a:pt x="51" y="16"/>
                    <a:pt x="50" y="16"/>
                    <a:pt x="50" y="15"/>
                  </a:cubicBezTo>
                  <a:cubicBezTo>
                    <a:pt x="50" y="15"/>
                    <a:pt x="50" y="15"/>
                    <a:pt x="49" y="15"/>
                  </a:cubicBezTo>
                  <a:cubicBezTo>
                    <a:pt x="49" y="14"/>
                    <a:pt x="49" y="14"/>
                    <a:pt x="49" y="14"/>
                  </a:cubicBezTo>
                  <a:cubicBezTo>
                    <a:pt x="49" y="13"/>
                    <a:pt x="49" y="13"/>
                    <a:pt x="49" y="13"/>
                  </a:cubicBezTo>
                  <a:cubicBezTo>
                    <a:pt x="49" y="12"/>
                    <a:pt x="49" y="12"/>
                    <a:pt x="49" y="11"/>
                  </a:cubicBezTo>
                  <a:cubicBezTo>
                    <a:pt x="49" y="11"/>
                    <a:pt x="49" y="11"/>
                    <a:pt x="49" y="11"/>
                  </a:cubicBezTo>
                  <a:cubicBezTo>
                    <a:pt x="49" y="10"/>
                    <a:pt x="49" y="10"/>
                    <a:pt x="49" y="10"/>
                  </a:cubicBezTo>
                  <a:cubicBezTo>
                    <a:pt x="49" y="10"/>
                    <a:pt x="49" y="9"/>
                    <a:pt x="49" y="9"/>
                  </a:cubicBezTo>
                  <a:cubicBezTo>
                    <a:pt x="50" y="9"/>
                    <a:pt x="50" y="9"/>
                    <a:pt x="50" y="9"/>
                  </a:cubicBezTo>
                  <a:cubicBezTo>
                    <a:pt x="49" y="9"/>
                    <a:pt x="49" y="9"/>
                    <a:pt x="49" y="9"/>
                  </a:cubicBezTo>
                  <a:cubicBezTo>
                    <a:pt x="49" y="9"/>
                    <a:pt x="49" y="9"/>
                    <a:pt x="49" y="9"/>
                  </a:cubicBezTo>
                  <a:cubicBezTo>
                    <a:pt x="50" y="8"/>
                    <a:pt x="50" y="8"/>
                    <a:pt x="5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576"/>
            <p:cNvSpPr/>
            <p:nvPr/>
          </p:nvSpPr>
          <p:spPr bwMode="auto">
            <a:xfrm>
              <a:off x="1117426" y="4066527"/>
              <a:ext cx="181576" cy="173196"/>
            </a:xfrm>
            <a:custGeom>
              <a:gdLst>
                <a:gd name="T0" fmla="*/ 49 w 52"/>
                <a:gd name="T1" fmla="*/ 50 h 50"/>
                <a:gd name="T2" fmla="*/ 51 w 52"/>
                <a:gd name="T3" fmla="*/ 49 h 50"/>
                <a:gd name="T4" fmla="*/ 52 w 52"/>
                <a:gd name="T5" fmla="*/ 49 h 50"/>
                <a:gd name="T6" fmla="*/ 51 w 52"/>
                <a:gd name="T7" fmla="*/ 47 h 50"/>
                <a:gd name="T8" fmla="*/ 50 w 52"/>
                <a:gd name="T9" fmla="*/ 46 h 50"/>
                <a:gd name="T10" fmla="*/ 50 w 52"/>
                <a:gd name="T11" fmla="*/ 40 h 50"/>
                <a:gd name="T12" fmla="*/ 36 w 52"/>
                <a:gd name="T13" fmla="*/ 30 h 50"/>
                <a:gd name="T14" fmla="*/ 36 w 52"/>
                <a:gd name="T15" fmla="*/ 25 h 50"/>
                <a:gd name="T16" fmla="*/ 40 w 52"/>
                <a:gd name="T17" fmla="*/ 24 h 50"/>
                <a:gd name="T18" fmla="*/ 40 w 52"/>
                <a:gd name="T19" fmla="*/ 23 h 50"/>
                <a:gd name="T20" fmla="*/ 38 w 52"/>
                <a:gd name="T21" fmla="*/ 20 h 50"/>
                <a:gd name="T22" fmla="*/ 35 w 52"/>
                <a:gd name="T23" fmla="*/ 18 h 50"/>
                <a:gd name="T24" fmla="*/ 33 w 52"/>
                <a:gd name="T25" fmla="*/ 8 h 50"/>
                <a:gd name="T26" fmla="*/ 34 w 52"/>
                <a:gd name="T27" fmla="*/ 7 h 50"/>
                <a:gd name="T28" fmla="*/ 32 w 52"/>
                <a:gd name="T29" fmla="*/ 6 h 50"/>
                <a:gd name="T30" fmla="*/ 28 w 52"/>
                <a:gd name="T31" fmla="*/ 5 h 50"/>
                <a:gd name="T32" fmla="*/ 21 w 52"/>
                <a:gd name="T33" fmla="*/ 7 h 50"/>
                <a:gd name="T34" fmla="*/ 26 w 52"/>
                <a:gd name="T35" fmla="*/ 1 h 50"/>
                <a:gd name="T36" fmla="*/ 25 w 52"/>
                <a:gd name="T37" fmla="*/ 0 h 50"/>
                <a:gd name="T38" fmla="*/ 22 w 52"/>
                <a:gd name="T39" fmla="*/ 1 h 50"/>
                <a:gd name="T40" fmla="*/ 20 w 52"/>
                <a:gd name="T41" fmla="*/ 1 h 50"/>
                <a:gd name="T42" fmla="*/ 17 w 52"/>
                <a:gd name="T43" fmla="*/ 2 h 50"/>
                <a:gd name="T44" fmla="*/ 12 w 52"/>
                <a:gd name="T45" fmla="*/ 2 h 50"/>
                <a:gd name="T46" fmla="*/ 1 w 52"/>
                <a:gd name="T47" fmla="*/ 4 h 50"/>
                <a:gd name="T48" fmla="*/ 1 w 52"/>
                <a:gd name="T49" fmla="*/ 5 h 50"/>
                <a:gd name="T50" fmla="*/ 2 w 52"/>
                <a:gd name="T51" fmla="*/ 6 h 50"/>
                <a:gd name="T52" fmla="*/ 2 w 52"/>
                <a:gd name="T53" fmla="*/ 8 h 50"/>
                <a:gd name="T54" fmla="*/ 2 w 52"/>
                <a:gd name="T55" fmla="*/ 10 h 50"/>
                <a:gd name="T56" fmla="*/ 2 w 52"/>
                <a:gd name="T57" fmla="*/ 15 h 50"/>
                <a:gd name="T58" fmla="*/ 0 w 52"/>
                <a:gd name="T59" fmla="*/ 16 h 50"/>
                <a:gd name="T60" fmla="*/ 2 w 52"/>
                <a:gd name="T61" fmla="*/ 20 h 50"/>
                <a:gd name="T62" fmla="*/ 5 w 52"/>
                <a:gd name="T63" fmla="*/ 23 h 50"/>
                <a:gd name="T64" fmla="*/ 9 w 52"/>
                <a:gd name="T65" fmla="*/ 24 h 50"/>
                <a:gd name="T66" fmla="*/ 21 w 52"/>
                <a:gd name="T67" fmla="*/ 31 h 50"/>
                <a:gd name="T68" fmla="*/ 26 w 52"/>
                <a:gd name="T69" fmla="*/ 29 h 50"/>
                <a:gd name="T70" fmla="*/ 29 w 52"/>
                <a:gd name="T71" fmla="*/ 31 h 50"/>
                <a:gd name="T72" fmla="*/ 31 w 52"/>
                <a:gd name="T73" fmla="*/ 33 h 50"/>
                <a:gd name="T74" fmla="*/ 33 w 52"/>
                <a:gd name="T75" fmla="*/ 34 h 50"/>
                <a:gd name="T76" fmla="*/ 34 w 52"/>
                <a:gd name="T77" fmla="*/ 35 h 50"/>
                <a:gd name="T78" fmla="*/ 37 w 52"/>
                <a:gd name="T79" fmla="*/ 34 h 50"/>
                <a:gd name="T80" fmla="*/ 41 w 52"/>
                <a:gd name="T81" fmla="*/ 35 h 50"/>
                <a:gd name="T82" fmla="*/ 42 w 52"/>
                <a:gd name="T83" fmla="*/ 39 h 50"/>
                <a:gd name="T84" fmla="*/ 43 w 52"/>
                <a:gd name="T85" fmla="*/ 40 h 50"/>
                <a:gd name="T86" fmla="*/ 49 w 52"/>
                <a:gd name="T87" fmla="*/ 49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50">
                  <a:moveTo>
                    <a:pt x="49" y="49"/>
                  </a:moveTo>
                  <a:cubicBezTo>
                    <a:pt x="49" y="50"/>
                    <a:pt x="49" y="50"/>
                    <a:pt x="49" y="50"/>
                  </a:cubicBezTo>
                  <a:cubicBezTo>
                    <a:pt x="49" y="50"/>
                    <a:pt x="49" y="50"/>
                    <a:pt x="49" y="50"/>
                  </a:cubicBezTo>
                  <a:cubicBezTo>
                    <a:pt x="50" y="49"/>
                    <a:pt x="50" y="49"/>
                    <a:pt x="51" y="49"/>
                  </a:cubicBezTo>
                  <a:cubicBezTo>
                    <a:pt x="51" y="49"/>
                    <a:pt x="51" y="49"/>
                    <a:pt x="52" y="49"/>
                  </a:cubicBezTo>
                  <a:cubicBezTo>
                    <a:pt x="52" y="49"/>
                    <a:pt x="52" y="49"/>
                    <a:pt x="52" y="49"/>
                  </a:cubicBezTo>
                  <a:cubicBezTo>
                    <a:pt x="52" y="49"/>
                    <a:pt x="51" y="48"/>
                    <a:pt x="51" y="48"/>
                  </a:cubicBezTo>
                  <a:cubicBezTo>
                    <a:pt x="51" y="48"/>
                    <a:pt x="51" y="48"/>
                    <a:pt x="51" y="47"/>
                  </a:cubicBezTo>
                  <a:cubicBezTo>
                    <a:pt x="50" y="47"/>
                    <a:pt x="50" y="47"/>
                    <a:pt x="50" y="47"/>
                  </a:cubicBezTo>
                  <a:cubicBezTo>
                    <a:pt x="50" y="46"/>
                    <a:pt x="50" y="46"/>
                    <a:pt x="50" y="46"/>
                  </a:cubicBezTo>
                  <a:cubicBezTo>
                    <a:pt x="50" y="45"/>
                    <a:pt x="50" y="44"/>
                    <a:pt x="51" y="43"/>
                  </a:cubicBezTo>
                  <a:cubicBezTo>
                    <a:pt x="50" y="42"/>
                    <a:pt x="50" y="41"/>
                    <a:pt x="50" y="40"/>
                  </a:cubicBezTo>
                  <a:cubicBezTo>
                    <a:pt x="50" y="40"/>
                    <a:pt x="50" y="39"/>
                    <a:pt x="50" y="39"/>
                  </a:cubicBezTo>
                  <a:cubicBezTo>
                    <a:pt x="45" y="36"/>
                    <a:pt x="41" y="33"/>
                    <a:pt x="36" y="30"/>
                  </a:cubicBezTo>
                  <a:cubicBezTo>
                    <a:pt x="30" y="26"/>
                    <a:pt x="30" y="26"/>
                    <a:pt x="30" y="26"/>
                  </a:cubicBezTo>
                  <a:cubicBezTo>
                    <a:pt x="36" y="25"/>
                    <a:pt x="36" y="25"/>
                    <a:pt x="36" y="25"/>
                  </a:cubicBezTo>
                  <a:cubicBezTo>
                    <a:pt x="36" y="25"/>
                    <a:pt x="37" y="25"/>
                    <a:pt x="38" y="24"/>
                  </a:cubicBezTo>
                  <a:cubicBezTo>
                    <a:pt x="39" y="24"/>
                    <a:pt x="40" y="24"/>
                    <a:pt x="40" y="24"/>
                  </a:cubicBezTo>
                  <a:cubicBezTo>
                    <a:pt x="40" y="24"/>
                    <a:pt x="40" y="24"/>
                    <a:pt x="40" y="24"/>
                  </a:cubicBezTo>
                  <a:cubicBezTo>
                    <a:pt x="40" y="23"/>
                    <a:pt x="40" y="23"/>
                    <a:pt x="40" y="23"/>
                  </a:cubicBezTo>
                  <a:cubicBezTo>
                    <a:pt x="40" y="23"/>
                    <a:pt x="40" y="22"/>
                    <a:pt x="40" y="22"/>
                  </a:cubicBezTo>
                  <a:cubicBezTo>
                    <a:pt x="39" y="22"/>
                    <a:pt x="39" y="21"/>
                    <a:pt x="38" y="20"/>
                  </a:cubicBezTo>
                  <a:cubicBezTo>
                    <a:pt x="36" y="19"/>
                    <a:pt x="36" y="19"/>
                    <a:pt x="36" y="19"/>
                  </a:cubicBezTo>
                  <a:cubicBezTo>
                    <a:pt x="36" y="18"/>
                    <a:pt x="35" y="18"/>
                    <a:pt x="35" y="18"/>
                  </a:cubicBezTo>
                  <a:cubicBezTo>
                    <a:pt x="33" y="16"/>
                    <a:pt x="29" y="14"/>
                    <a:pt x="31" y="10"/>
                  </a:cubicBezTo>
                  <a:cubicBezTo>
                    <a:pt x="32" y="9"/>
                    <a:pt x="32" y="8"/>
                    <a:pt x="33" y="8"/>
                  </a:cubicBezTo>
                  <a:cubicBezTo>
                    <a:pt x="33" y="8"/>
                    <a:pt x="33" y="8"/>
                    <a:pt x="34" y="8"/>
                  </a:cubicBezTo>
                  <a:cubicBezTo>
                    <a:pt x="34" y="7"/>
                    <a:pt x="34" y="7"/>
                    <a:pt x="34" y="7"/>
                  </a:cubicBezTo>
                  <a:cubicBezTo>
                    <a:pt x="34" y="7"/>
                    <a:pt x="33" y="7"/>
                    <a:pt x="33" y="7"/>
                  </a:cubicBezTo>
                  <a:cubicBezTo>
                    <a:pt x="33" y="7"/>
                    <a:pt x="32" y="7"/>
                    <a:pt x="32" y="6"/>
                  </a:cubicBezTo>
                  <a:cubicBezTo>
                    <a:pt x="30" y="5"/>
                    <a:pt x="29" y="5"/>
                    <a:pt x="28" y="5"/>
                  </a:cubicBezTo>
                  <a:cubicBezTo>
                    <a:pt x="28" y="5"/>
                    <a:pt x="28" y="5"/>
                    <a:pt x="28" y="5"/>
                  </a:cubicBezTo>
                  <a:cubicBezTo>
                    <a:pt x="28" y="5"/>
                    <a:pt x="28" y="5"/>
                    <a:pt x="27" y="5"/>
                  </a:cubicBezTo>
                  <a:cubicBezTo>
                    <a:pt x="21" y="7"/>
                    <a:pt x="21" y="7"/>
                    <a:pt x="21" y="7"/>
                  </a:cubicBezTo>
                  <a:cubicBezTo>
                    <a:pt x="25" y="1"/>
                    <a:pt x="25" y="1"/>
                    <a:pt x="25" y="1"/>
                  </a:cubicBezTo>
                  <a:cubicBezTo>
                    <a:pt x="25" y="1"/>
                    <a:pt x="26" y="1"/>
                    <a:pt x="26" y="1"/>
                  </a:cubicBezTo>
                  <a:cubicBezTo>
                    <a:pt x="26" y="0"/>
                    <a:pt x="25" y="0"/>
                    <a:pt x="25" y="0"/>
                  </a:cubicBezTo>
                  <a:cubicBezTo>
                    <a:pt x="25" y="0"/>
                    <a:pt x="25" y="0"/>
                    <a:pt x="25" y="0"/>
                  </a:cubicBezTo>
                  <a:cubicBezTo>
                    <a:pt x="25" y="0"/>
                    <a:pt x="24" y="0"/>
                    <a:pt x="24" y="0"/>
                  </a:cubicBezTo>
                  <a:cubicBezTo>
                    <a:pt x="23" y="1"/>
                    <a:pt x="23" y="1"/>
                    <a:pt x="22" y="1"/>
                  </a:cubicBezTo>
                  <a:cubicBezTo>
                    <a:pt x="21" y="1"/>
                    <a:pt x="21" y="1"/>
                    <a:pt x="21" y="1"/>
                  </a:cubicBezTo>
                  <a:cubicBezTo>
                    <a:pt x="21" y="1"/>
                    <a:pt x="20" y="1"/>
                    <a:pt x="20" y="1"/>
                  </a:cubicBezTo>
                  <a:cubicBezTo>
                    <a:pt x="19" y="1"/>
                    <a:pt x="19" y="1"/>
                    <a:pt x="19" y="1"/>
                  </a:cubicBezTo>
                  <a:cubicBezTo>
                    <a:pt x="18" y="2"/>
                    <a:pt x="18" y="2"/>
                    <a:pt x="17" y="2"/>
                  </a:cubicBezTo>
                  <a:cubicBezTo>
                    <a:pt x="16" y="2"/>
                    <a:pt x="15" y="2"/>
                    <a:pt x="15" y="1"/>
                  </a:cubicBezTo>
                  <a:cubicBezTo>
                    <a:pt x="14" y="2"/>
                    <a:pt x="13" y="2"/>
                    <a:pt x="12" y="2"/>
                  </a:cubicBezTo>
                  <a:cubicBezTo>
                    <a:pt x="8" y="2"/>
                    <a:pt x="4" y="3"/>
                    <a:pt x="0" y="3"/>
                  </a:cubicBezTo>
                  <a:cubicBezTo>
                    <a:pt x="1" y="4"/>
                    <a:pt x="1" y="4"/>
                    <a:pt x="1" y="4"/>
                  </a:cubicBezTo>
                  <a:cubicBezTo>
                    <a:pt x="1" y="5"/>
                    <a:pt x="1" y="5"/>
                    <a:pt x="1" y="5"/>
                  </a:cubicBezTo>
                  <a:cubicBezTo>
                    <a:pt x="1" y="5"/>
                    <a:pt x="1" y="5"/>
                    <a:pt x="1" y="5"/>
                  </a:cubicBezTo>
                  <a:cubicBezTo>
                    <a:pt x="5" y="4"/>
                    <a:pt x="5" y="4"/>
                    <a:pt x="5" y="4"/>
                  </a:cubicBezTo>
                  <a:cubicBezTo>
                    <a:pt x="2" y="6"/>
                    <a:pt x="2" y="6"/>
                    <a:pt x="2" y="6"/>
                  </a:cubicBezTo>
                  <a:cubicBezTo>
                    <a:pt x="2" y="7"/>
                    <a:pt x="2" y="7"/>
                    <a:pt x="2" y="7"/>
                  </a:cubicBezTo>
                  <a:cubicBezTo>
                    <a:pt x="2" y="7"/>
                    <a:pt x="2" y="7"/>
                    <a:pt x="2" y="8"/>
                  </a:cubicBezTo>
                  <a:cubicBezTo>
                    <a:pt x="2" y="9"/>
                    <a:pt x="2" y="9"/>
                    <a:pt x="2" y="9"/>
                  </a:cubicBezTo>
                  <a:cubicBezTo>
                    <a:pt x="2" y="9"/>
                    <a:pt x="2" y="10"/>
                    <a:pt x="2" y="10"/>
                  </a:cubicBezTo>
                  <a:cubicBezTo>
                    <a:pt x="2" y="13"/>
                    <a:pt x="2" y="13"/>
                    <a:pt x="2" y="13"/>
                  </a:cubicBezTo>
                  <a:cubicBezTo>
                    <a:pt x="3" y="14"/>
                    <a:pt x="2" y="15"/>
                    <a:pt x="2" y="15"/>
                  </a:cubicBezTo>
                  <a:cubicBezTo>
                    <a:pt x="1" y="15"/>
                    <a:pt x="1" y="16"/>
                    <a:pt x="0" y="16"/>
                  </a:cubicBezTo>
                  <a:cubicBezTo>
                    <a:pt x="0" y="16"/>
                    <a:pt x="0" y="16"/>
                    <a:pt x="0" y="16"/>
                  </a:cubicBezTo>
                  <a:cubicBezTo>
                    <a:pt x="1" y="17"/>
                    <a:pt x="1" y="17"/>
                    <a:pt x="1" y="18"/>
                  </a:cubicBezTo>
                  <a:cubicBezTo>
                    <a:pt x="2" y="19"/>
                    <a:pt x="2" y="20"/>
                    <a:pt x="2" y="20"/>
                  </a:cubicBezTo>
                  <a:cubicBezTo>
                    <a:pt x="2" y="21"/>
                    <a:pt x="2" y="22"/>
                    <a:pt x="2" y="23"/>
                  </a:cubicBezTo>
                  <a:cubicBezTo>
                    <a:pt x="3" y="23"/>
                    <a:pt x="4" y="23"/>
                    <a:pt x="5" y="23"/>
                  </a:cubicBezTo>
                  <a:cubicBezTo>
                    <a:pt x="5" y="23"/>
                    <a:pt x="6" y="23"/>
                    <a:pt x="6" y="23"/>
                  </a:cubicBezTo>
                  <a:cubicBezTo>
                    <a:pt x="7" y="24"/>
                    <a:pt x="8" y="24"/>
                    <a:pt x="9" y="24"/>
                  </a:cubicBezTo>
                  <a:cubicBezTo>
                    <a:pt x="14" y="24"/>
                    <a:pt x="15" y="25"/>
                    <a:pt x="18" y="28"/>
                  </a:cubicBezTo>
                  <a:cubicBezTo>
                    <a:pt x="21" y="31"/>
                    <a:pt x="21" y="31"/>
                    <a:pt x="21" y="31"/>
                  </a:cubicBezTo>
                  <a:cubicBezTo>
                    <a:pt x="22" y="31"/>
                    <a:pt x="22" y="30"/>
                    <a:pt x="23" y="30"/>
                  </a:cubicBezTo>
                  <a:cubicBezTo>
                    <a:pt x="24" y="30"/>
                    <a:pt x="25" y="30"/>
                    <a:pt x="26" y="29"/>
                  </a:cubicBezTo>
                  <a:cubicBezTo>
                    <a:pt x="27" y="29"/>
                    <a:pt x="27" y="29"/>
                    <a:pt x="27" y="29"/>
                  </a:cubicBezTo>
                  <a:cubicBezTo>
                    <a:pt x="29" y="31"/>
                    <a:pt x="29" y="31"/>
                    <a:pt x="29" y="31"/>
                  </a:cubicBezTo>
                  <a:cubicBezTo>
                    <a:pt x="29" y="31"/>
                    <a:pt x="30" y="32"/>
                    <a:pt x="31" y="33"/>
                  </a:cubicBezTo>
                  <a:cubicBezTo>
                    <a:pt x="31" y="33"/>
                    <a:pt x="31" y="33"/>
                    <a:pt x="31" y="33"/>
                  </a:cubicBezTo>
                  <a:cubicBezTo>
                    <a:pt x="31" y="33"/>
                    <a:pt x="31" y="33"/>
                    <a:pt x="31" y="33"/>
                  </a:cubicBezTo>
                  <a:cubicBezTo>
                    <a:pt x="32" y="34"/>
                    <a:pt x="32" y="34"/>
                    <a:pt x="33" y="34"/>
                  </a:cubicBezTo>
                  <a:cubicBezTo>
                    <a:pt x="33" y="35"/>
                    <a:pt x="33" y="35"/>
                    <a:pt x="34" y="35"/>
                  </a:cubicBezTo>
                  <a:cubicBezTo>
                    <a:pt x="34" y="35"/>
                    <a:pt x="34" y="35"/>
                    <a:pt x="34" y="35"/>
                  </a:cubicBezTo>
                  <a:cubicBezTo>
                    <a:pt x="35" y="35"/>
                    <a:pt x="35" y="35"/>
                    <a:pt x="35" y="35"/>
                  </a:cubicBezTo>
                  <a:cubicBezTo>
                    <a:pt x="35" y="35"/>
                    <a:pt x="36" y="35"/>
                    <a:pt x="37" y="34"/>
                  </a:cubicBezTo>
                  <a:cubicBezTo>
                    <a:pt x="40" y="33"/>
                    <a:pt x="40" y="33"/>
                    <a:pt x="40" y="33"/>
                  </a:cubicBezTo>
                  <a:cubicBezTo>
                    <a:pt x="41" y="35"/>
                    <a:pt x="41" y="35"/>
                    <a:pt x="41" y="35"/>
                  </a:cubicBezTo>
                  <a:cubicBezTo>
                    <a:pt x="41" y="36"/>
                    <a:pt x="41" y="37"/>
                    <a:pt x="42" y="38"/>
                  </a:cubicBezTo>
                  <a:cubicBezTo>
                    <a:pt x="42" y="39"/>
                    <a:pt x="42" y="39"/>
                    <a:pt x="42" y="39"/>
                  </a:cubicBezTo>
                  <a:cubicBezTo>
                    <a:pt x="42" y="39"/>
                    <a:pt x="42" y="40"/>
                    <a:pt x="43" y="40"/>
                  </a:cubicBezTo>
                  <a:cubicBezTo>
                    <a:pt x="43" y="40"/>
                    <a:pt x="43" y="40"/>
                    <a:pt x="43" y="40"/>
                  </a:cubicBezTo>
                  <a:cubicBezTo>
                    <a:pt x="44" y="40"/>
                    <a:pt x="45" y="41"/>
                    <a:pt x="46" y="41"/>
                  </a:cubicBezTo>
                  <a:cubicBezTo>
                    <a:pt x="47" y="43"/>
                    <a:pt x="48" y="46"/>
                    <a:pt x="49"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577"/>
            <p:cNvSpPr/>
            <p:nvPr/>
          </p:nvSpPr>
          <p:spPr bwMode="auto">
            <a:xfrm>
              <a:off x="1201231" y="4185250"/>
              <a:ext cx="69837" cy="54473"/>
            </a:xfrm>
            <a:custGeom>
              <a:gdLst>
                <a:gd name="T0" fmla="*/ 17 w 20"/>
                <a:gd name="T1" fmla="*/ 10 h 16"/>
                <a:gd name="T2" fmla="*/ 17 w 20"/>
                <a:gd name="T3" fmla="*/ 10 h 16"/>
                <a:gd name="T4" fmla="*/ 14 w 20"/>
                <a:gd name="T5" fmla="*/ 7 h 16"/>
                <a:gd name="T6" fmla="*/ 13 w 20"/>
                <a:gd name="T7" fmla="*/ 5 h 16"/>
                <a:gd name="T8" fmla="*/ 11 w 20"/>
                <a:gd name="T9" fmla="*/ 6 h 16"/>
                <a:gd name="T10" fmla="*/ 10 w 20"/>
                <a:gd name="T11" fmla="*/ 6 h 16"/>
                <a:gd name="T12" fmla="*/ 8 w 20"/>
                <a:gd name="T13" fmla="*/ 5 h 16"/>
                <a:gd name="T14" fmla="*/ 8 w 20"/>
                <a:gd name="T15" fmla="*/ 5 h 16"/>
                <a:gd name="T16" fmla="*/ 6 w 20"/>
                <a:gd name="T17" fmla="*/ 4 h 16"/>
                <a:gd name="T18" fmla="*/ 4 w 20"/>
                <a:gd name="T19" fmla="*/ 3 h 16"/>
                <a:gd name="T20" fmla="*/ 3 w 20"/>
                <a:gd name="T21" fmla="*/ 2 h 16"/>
                <a:gd name="T22" fmla="*/ 2 w 20"/>
                <a:gd name="T23" fmla="*/ 0 h 16"/>
                <a:gd name="T24" fmla="*/ 2 w 20"/>
                <a:gd name="T25" fmla="*/ 0 h 16"/>
                <a:gd name="T26" fmla="*/ 0 w 20"/>
                <a:gd name="T27" fmla="*/ 1 h 16"/>
                <a:gd name="T28" fmla="*/ 0 w 20"/>
                <a:gd name="T29" fmla="*/ 1 h 16"/>
                <a:gd name="T30" fmla="*/ 1 w 20"/>
                <a:gd name="T31" fmla="*/ 2 h 16"/>
                <a:gd name="T32" fmla="*/ 6 w 20"/>
                <a:gd name="T33" fmla="*/ 8 h 16"/>
                <a:gd name="T34" fmla="*/ 7 w 20"/>
                <a:gd name="T35" fmla="*/ 9 h 16"/>
                <a:gd name="T36" fmla="*/ 7 w 20"/>
                <a:gd name="T37" fmla="*/ 9 h 16"/>
                <a:gd name="T38" fmla="*/ 11 w 20"/>
                <a:gd name="T39" fmla="*/ 13 h 16"/>
                <a:gd name="T40" fmla="*/ 17 w 20"/>
                <a:gd name="T41" fmla="*/ 15 h 16"/>
                <a:gd name="T42" fmla="*/ 19 w 20"/>
                <a:gd name="T43" fmla="*/ 15 h 16"/>
                <a:gd name="T44" fmla="*/ 20 w 20"/>
                <a:gd name="T45" fmla="*/ 16 h 16"/>
                <a:gd name="T46" fmla="*/ 20 w 20"/>
                <a:gd name="T47" fmla="*/ 16 h 16"/>
                <a:gd name="T48" fmla="*/ 18 w 20"/>
                <a:gd name="T49" fmla="*/ 11 h 16"/>
                <a:gd name="T50" fmla="*/ 17 w 20"/>
                <a:gd name="T51" fmla="*/ 1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16">
                  <a:moveTo>
                    <a:pt x="17" y="10"/>
                  </a:moveTo>
                  <a:cubicBezTo>
                    <a:pt x="17" y="10"/>
                    <a:pt x="17" y="10"/>
                    <a:pt x="17" y="10"/>
                  </a:cubicBezTo>
                  <a:cubicBezTo>
                    <a:pt x="15" y="9"/>
                    <a:pt x="14" y="8"/>
                    <a:pt x="14" y="7"/>
                  </a:cubicBezTo>
                  <a:cubicBezTo>
                    <a:pt x="13" y="6"/>
                    <a:pt x="13" y="6"/>
                    <a:pt x="13" y="5"/>
                  </a:cubicBezTo>
                  <a:cubicBezTo>
                    <a:pt x="12" y="6"/>
                    <a:pt x="12" y="6"/>
                    <a:pt x="11" y="6"/>
                  </a:cubicBezTo>
                  <a:cubicBezTo>
                    <a:pt x="10" y="6"/>
                    <a:pt x="10" y="6"/>
                    <a:pt x="10" y="6"/>
                  </a:cubicBezTo>
                  <a:cubicBezTo>
                    <a:pt x="10" y="6"/>
                    <a:pt x="9" y="6"/>
                    <a:pt x="8" y="5"/>
                  </a:cubicBezTo>
                  <a:cubicBezTo>
                    <a:pt x="8" y="5"/>
                    <a:pt x="8" y="5"/>
                    <a:pt x="8" y="5"/>
                  </a:cubicBezTo>
                  <a:cubicBezTo>
                    <a:pt x="8" y="5"/>
                    <a:pt x="7" y="5"/>
                    <a:pt x="6" y="4"/>
                  </a:cubicBezTo>
                  <a:cubicBezTo>
                    <a:pt x="6" y="4"/>
                    <a:pt x="5" y="3"/>
                    <a:pt x="4" y="3"/>
                  </a:cubicBezTo>
                  <a:cubicBezTo>
                    <a:pt x="4" y="2"/>
                    <a:pt x="4" y="2"/>
                    <a:pt x="3" y="2"/>
                  </a:cubicBezTo>
                  <a:cubicBezTo>
                    <a:pt x="3" y="1"/>
                    <a:pt x="2" y="1"/>
                    <a:pt x="2" y="0"/>
                  </a:cubicBezTo>
                  <a:cubicBezTo>
                    <a:pt x="2" y="0"/>
                    <a:pt x="2" y="0"/>
                    <a:pt x="2" y="0"/>
                  </a:cubicBezTo>
                  <a:cubicBezTo>
                    <a:pt x="0" y="1"/>
                    <a:pt x="0" y="1"/>
                    <a:pt x="0" y="1"/>
                  </a:cubicBezTo>
                  <a:cubicBezTo>
                    <a:pt x="0" y="1"/>
                    <a:pt x="0" y="1"/>
                    <a:pt x="0" y="1"/>
                  </a:cubicBezTo>
                  <a:cubicBezTo>
                    <a:pt x="0" y="1"/>
                    <a:pt x="0" y="2"/>
                    <a:pt x="1" y="2"/>
                  </a:cubicBezTo>
                  <a:cubicBezTo>
                    <a:pt x="1" y="2"/>
                    <a:pt x="1" y="3"/>
                    <a:pt x="6" y="8"/>
                  </a:cubicBezTo>
                  <a:cubicBezTo>
                    <a:pt x="6" y="8"/>
                    <a:pt x="6" y="8"/>
                    <a:pt x="7" y="9"/>
                  </a:cubicBezTo>
                  <a:cubicBezTo>
                    <a:pt x="7" y="9"/>
                    <a:pt x="7" y="9"/>
                    <a:pt x="7" y="9"/>
                  </a:cubicBezTo>
                  <a:cubicBezTo>
                    <a:pt x="9" y="11"/>
                    <a:pt x="10" y="12"/>
                    <a:pt x="11" y="13"/>
                  </a:cubicBezTo>
                  <a:cubicBezTo>
                    <a:pt x="11" y="13"/>
                    <a:pt x="14" y="14"/>
                    <a:pt x="17" y="15"/>
                  </a:cubicBezTo>
                  <a:cubicBezTo>
                    <a:pt x="18" y="15"/>
                    <a:pt x="18" y="15"/>
                    <a:pt x="19" y="15"/>
                  </a:cubicBezTo>
                  <a:cubicBezTo>
                    <a:pt x="19" y="15"/>
                    <a:pt x="20" y="15"/>
                    <a:pt x="20" y="16"/>
                  </a:cubicBezTo>
                  <a:cubicBezTo>
                    <a:pt x="20" y="16"/>
                    <a:pt x="20" y="16"/>
                    <a:pt x="20" y="16"/>
                  </a:cubicBezTo>
                  <a:cubicBezTo>
                    <a:pt x="20" y="14"/>
                    <a:pt x="19" y="12"/>
                    <a:pt x="18" y="11"/>
                  </a:cubicBezTo>
                  <a:cubicBezTo>
                    <a:pt x="18" y="10"/>
                    <a:pt x="18" y="10"/>
                    <a:pt x="1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566"/>
            <p:cNvSpPr/>
            <p:nvPr/>
          </p:nvSpPr>
          <p:spPr bwMode="auto">
            <a:xfrm>
              <a:off x="2707139" y="4087189"/>
              <a:ext cx="87409" cy="65024"/>
            </a:xfrm>
            <a:custGeom>
              <a:gdLst>
                <a:gd name="T0" fmla="*/ 1 w 32"/>
                <a:gd name="T1" fmla="*/ 17 h 23"/>
                <a:gd name="T2" fmla="*/ 2 w 32"/>
                <a:gd name="T3" fmla="*/ 20 h 23"/>
                <a:gd name="T4" fmla="*/ 2 w 32"/>
                <a:gd name="T5" fmla="*/ 22 h 23"/>
                <a:gd name="T6" fmla="*/ 5 w 32"/>
                <a:gd name="T7" fmla="*/ 20 h 23"/>
                <a:gd name="T8" fmla="*/ 7 w 32"/>
                <a:gd name="T9" fmla="*/ 19 h 23"/>
                <a:gd name="T10" fmla="*/ 8 w 32"/>
                <a:gd name="T11" fmla="*/ 19 h 23"/>
                <a:gd name="T12" fmla="*/ 15 w 32"/>
                <a:gd name="T13" fmla="*/ 17 h 23"/>
                <a:gd name="T14" fmla="*/ 31 w 32"/>
                <a:gd name="T15" fmla="*/ 23 h 23"/>
                <a:gd name="T16" fmla="*/ 32 w 32"/>
                <a:gd name="T17" fmla="*/ 22 h 23"/>
                <a:gd name="T18" fmla="*/ 31 w 32"/>
                <a:gd name="T19" fmla="*/ 22 h 23"/>
                <a:gd name="T20" fmla="*/ 31 w 32"/>
                <a:gd name="T21" fmla="*/ 22 h 23"/>
                <a:gd name="T22" fmla="*/ 24 w 32"/>
                <a:gd name="T23" fmla="*/ 17 h 23"/>
                <a:gd name="T24" fmla="*/ 20 w 32"/>
                <a:gd name="T25" fmla="*/ 15 h 23"/>
                <a:gd name="T26" fmla="*/ 23 w 32"/>
                <a:gd name="T27" fmla="*/ 12 h 23"/>
                <a:gd name="T28" fmla="*/ 31 w 32"/>
                <a:gd name="T29" fmla="*/ 5 h 23"/>
                <a:gd name="T30" fmla="*/ 27 w 32"/>
                <a:gd name="T31" fmla="*/ 0 h 23"/>
                <a:gd name="T32" fmla="*/ 27 w 32"/>
                <a:gd name="T33" fmla="*/ 0 h 23"/>
                <a:gd name="T34" fmla="*/ 26 w 32"/>
                <a:gd name="T35" fmla="*/ 1 h 23"/>
                <a:gd name="T36" fmla="*/ 25 w 32"/>
                <a:gd name="T37" fmla="*/ 2 h 23"/>
                <a:gd name="T38" fmla="*/ 24 w 32"/>
                <a:gd name="T39" fmla="*/ 3 h 23"/>
                <a:gd name="T40" fmla="*/ 23 w 32"/>
                <a:gd name="T41" fmla="*/ 3 h 23"/>
                <a:gd name="T42" fmla="*/ 19 w 32"/>
                <a:gd name="T43" fmla="*/ 7 h 23"/>
                <a:gd name="T44" fmla="*/ 18 w 32"/>
                <a:gd name="T45" fmla="*/ 7 h 23"/>
                <a:gd name="T46" fmla="*/ 16 w 32"/>
                <a:gd name="T47" fmla="*/ 8 h 23"/>
                <a:gd name="T48" fmla="*/ 14 w 32"/>
                <a:gd name="T49" fmla="*/ 9 h 23"/>
                <a:gd name="T50" fmla="*/ 6 w 32"/>
                <a:gd name="T51" fmla="*/ 10 h 23"/>
                <a:gd name="T52" fmla="*/ 5 w 32"/>
                <a:gd name="T53" fmla="*/ 9 h 23"/>
                <a:gd name="T54" fmla="*/ 5 w 32"/>
                <a:gd name="T55" fmla="*/ 9 h 23"/>
                <a:gd name="T56" fmla="*/ 2 w 32"/>
                <a:gd name="T57" fmla="*/ 8 h 23"/>
                <a:gd name="T58" fmla="*/ 1 w 32"/>
                <a:gd name="T59" fmla="*/ 8 h 23"/>
                <a:gd name="T60" fmla="*/ 0 w 32"/>
                <a:gd name="T61" fmla="*/ 10 h 23"/>
                <a:gd name="T62" fmla="*/ 1 w 32"/>
                <a:gd name="T63" fmla="*/ 17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23">
                  <a:moveTo>
                    <a:pt x="1" y="17"/>
                  </a:moveTo>
                  <a:cubicBezTo>
                    <a:pt x="1" y="18"/>
                    <a:pt x="2" y="19"/>
                    <a:pt x="2" y="20"/>
                  </a:cubicBezTo>
                  <a:cubicBezTo>
                    <a:pt x="2" y="22"/>
                    <a:pt x="2" y="22"/>
                    <a:pt x="2" y="22"/>
                  </a:cubicBezTo>
                  <a:cubicBezTo>
                    <a:pt x="3" y="21"/>
                    <a:pt x="4" y="20"/>
                    <a:pt x="5" y="20"/>
                  </a:cubicBezTo>
                  <a:cubicBezTo>
                    <a:pt x="6" y="20"/>
                    <a:pt x="6" y="20"/>
                    <a:pt x="7" y="19"/>
                  </a:cubicBezTo>
                  <a:cubicBezTo>
                    <a:pt x="8" y="19"/>
                    <a:pt x="8" y="19"/>
                    <a:pt x="8" y="19"/>
                  </a:cubicBezTo>
                  <a:cubicBezTo>
                    <a:pt x="10" y="18"/>
                    <a:pt x="13" y="17"/>
                    <a:pt x="15" y="17"/>
                  </a:cubicBezTo>
                  <a:cubicBezTo>
                    <a:pt x="20" y="18"/>
                    <a:pt x="27" y="21"/>
                    <a:pt x="31" y="23"/>
                  </a:cubicBezTo>
                  <a:cubicBezTo>
                    <a:pt x="32" y="22"/>
                    <a:pt x="32" y="22"/>
                    <a:pt x="32" y="22"/>
                  </a:cubicBezTo>
                  <a:cubicBezTo>
                    <a:pt x="31" y="22"/>
                    <a:pt x="31" y="22"/>
                    <a:pt x="31" y="22"/>
                  </a:cubicBezTo>
                  <a:cubicBezTo>
                    <a:pt x="31" y="22"/>
                    <a:pt x="31" y="22"/>
                    <a:pt x="31" y="22"/>
                  </a:cubicBezTo>
                  <a:cubicBezTo>
                    <a:pt x="29" y="20"/>
                    <a:pt x="27" y="19"/>
                    <a:pt x="24" y="17"/>
                  </a:cubicBezTo>
                  <a:cubicBezTo>
                    <a:pt x="20" y="15"/>
                    <a:pt x="20" y="15"/>
                    <a:pt x="20" y="15"/>
                  </a:cubicBezTo>
                  <a:cubicBezTo>
                    <a:pt x="23" y="12"/>
                    <a:pt x="23" y="12"/>
                    <a:pt x="23" y="12"/>
                  </a:cubicBezTo>
                  <a:cubicBezTo>
                    <a:pt x="26" y="10"/>
                    <a:pt x="29" y="7"/>
                    <a:pt x="31" y="5"/>
                  </a:cubicBezTo>
                  <a:cubicBezTo>
                    <a:pt x="27" y="0"/>
                    <a:pt x="27" y="0"/>
                    <a:pt x="27" y="0"/>
                  </a:cubicBezTo>
                  <a:cubicBezTo>
                    <a:pt x="27" y="0"/>
                    <a:pt x="27" y="0"/>
                    <a:pt x="27" y="0"/>
                  </a:cubicBezTo>
                  <a:cubicBezTo>
                    <a:pt x="26" y="1"/>
                    <a:pt x="26" y="1"/>
                    <a:pt x="26" y="1"/>
                  </a:cubicBezTo>
                  <a:cubicBezTo>
                    <a:pt x="26" y="1"/>
                    <a:pt x="26" y="1"/>
                    <a:pt x="25" y="2"/>
                  </a:cubicBezTo>
                  <a:cubicBezTo>
                    <a:pt x="25" y="2"/>
                    <a:pt x="24" y="2"/>
                    <a:pt x="24" y="3"/>
                  </a:cubicBezTo>
                  <a:cubicBezTo>
                    <a:pt x="23" y="3"/>
                    <a:pt x="23" y="3"/>
                    <a:pt x="23" y="3"/>
                  </a:cubicBezTo>
                  <a:cubicBezTo>
                    <a:pt x="22" y="5"/>
                    <a:pt x="20" y="6"/>
                    <a:pt x="19" y="7"/>
                  </a:cubicBezTo>
                  <a:cubicBezTo>
                    <a:pt x="18" y="7"/>
                    <a:pt x="18" y="7"/>
                    <a:pt x="18" y="7"/>
                  </a:cubicBezTo>
                  <a:cubicBezTo>
                    <a:pt x="17" y="7"/>
                    <a:pt x="17" y="7"/>
                    <a:pt x="16" y="8"/>
                  </a:cubicBezTo>
                  <a:cubicBezTo>
                    <a:pt x="15" y="8"/>
                    <a:pt x="15" y="8"/>
                    <a:pt x="14" y="9"/>
                  </a:cubicBezTo>
                  <a:cubicBezTo>
                    <a:pt x="12" y="10"/>
                    <a:pt x="9" y="11"/>
                    <a:pt x="6" y="10"/>
                  </a:cubicBezTo>
                  <a:cubicBezTo>
                    <a:pt x="6" y="10"/>
                    <a:pt x="5" y="9"/>
                    <a:pt x="5" y="9"/>
                  </a:cubicBezTo>
                  <a:cubicBezTo>
                    <a:pt x="5" y="9"/>
                    <a:pt x="5" y="9"/>
                    <a:pt x="5" y="9"/>
                  </a:cubicBezTo>
                  <a:cubicBezTo>
                    <a:pt x="4" y="9"/>
                    <a:pt x="3" y="8"/>
                    <a:pt x="2" y="8"/>
                  </a:cubicBezTo>
                  <a:cubicBezTo>
                    <a:pt x="1" y="8"/>
                    <a:pt x="1" y="8"/>
                    <a:pt x="1" y="8"/>
                  </a:cubicBezTo>
                  <a:cubicBezTo>
                    <a:pt x="0" y="9"/>
                    <a:pt x="0" y="10"/>
                    <a:pt x="0" y="10"/>
                  </a:cubicBezTo>
                  <a:cubicBezTo>
                    <a:pt x="0" y="12"/>
                    <a:pt x="0" y="15"/>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9" name="Text Placeholder 377"/>
          <p:cNvSpPr>
            <a:spLocks noGrp="1"/>
          </p:cNvSpPr>
          <p:nvPr>
            <p:ph type="body" sz="quarter" idx="12" hasCustomPrompt="1"/>
          </p:nvPr>
        </p:nvSpPr>
        <p:spPr>
          <a:xfrm>
            <a:off x="8201602"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spTree>
    <p:extLst>
      <p:ext uri="{BB962C8B-B14F-4D97-AF65-F5344CB8AC3E}">
        <p14:creationId xmlns:p14="http://schemas.microsoft.com/office/powerpoint/2010/main" val="4217178566"/>
      </p:ext>
    </p:extLst>
  </p:cSld>
  <p:clrMapOvr>
    <a:masterClrMapping/>
  </p:clrMapOvr>
  <p:transition/>
  <p:timing/>
</p:sldLayout>
</file>

<file path=ppt/slideLayouts/slideLayout9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South east asi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grpSp>
        <p:nvGrpSpPr>
          <p:cNvPr id="477" name="Group 476"/>
          <p:cNvGrpSpPr/>
          <p:nvPr userDrawn="1"/>
        </p:nvGrpSpPr>
        <p:grpSpPr>
          <a:xfrm>
            <a:off x="1589" y="0"/>
            <a:ext cx="12175435" cy="6825765"/>
            <a:chOff x="1589" y="0"/>
            <a:chExt cx="12175435" cy="6825765"/>
          </a:xfrm>
          <a:gradFill>
            <a:gsLst>
              <a:gs pos="100000">
                <a:schemeClr val="accent5"/>
              </a:gs>
              <a:gs pos="0">
                <a:schemeClr val="accent1"/>
              </a:gs>
            </a:gsLst>
            <a:lin ang="0" scaled="1"/>
          </a:gradFill>
        </p:grpSpPr>
        <p:grpSp>
          <p:nvGrpSpPr>
            <p:cNvPr id="478" name="Group 205"/>
            <p:cNvGrpSpPr/>
            <p:nvPr/>
          </p:nvGrpSpPr>
          <p:grpSpPr>
            <a:xfrm>
              <a:off x="99637" y="1266568"/>
              <a:ext cx="12077387" cy="5505472"/>
              <a:chOff x="74" y="923"/>
              <a:chExt cx="8992" cy="4099"/>
            </a:xfrm>
            <a:grpFill/>
          </p:grpSpPr>
          <p:sp>
            <p:nvSpPr>
              <p:cNvPr id="1277" name="Rectangle 5"/>
              <p:cNvSpPr>
                <a:spLocks noChangeArrowheads="1"/>
              </p:cNvSpPr>
              <p:nvPr/>
            </p:nvSpPr>
            <p:spPr bwMode="auto">
              <a:xfrm>
                <a:off x="1090" y="139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Rectangle 6"/>
              <p:cNvSpPr>
                <a:spLocks noChangeArrowheads="1"/>
              </p:cNvSpPr>
              <p:nvPr/>
            </p:nvSpPr>
            <p:spPr bwMode="auto">
              <a:xfrm>
                <a:off x="1090" y="139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9" name="Freeform 7"/>
              <p:cNvSpPr/>
              <p:nvPr/>
            </p:nvSpPr>
            <p:spPr bwMode="auto">
              <a:xfrm>
                <a:off x="3947" y="3696"/>
                <a:ext cx="12" cy="14"/>
              </a:xfrm>
              <a:custGeom>
                <a:gdLst>
                  <a:gd name="T0" fmla="*/ 2 w 5"/>
                  <a:gd name="T1" fmla="*/ 0 h 6"/>
                  <a:gd name="T2" fmla="*/ 2 w 5"/>
                  <a:gd name="T3" fmla="*/ 0 h 6"/>
                  <a:gd name="T4" fmla="*/ 1 w 5"/>
                  <a:gd name="T5" fmla="*/ 0 h 6"/>
                  <a:gd name="T6" fmla="*/ 0 w 5"/>
                  <a:gd name="T7" fmla="*/ 1 h 6"/>
                  <a:gd name="T8" fmla="*/ 5 w 5"/>
                  <a:gd name="T9" fmla="*/ 6 h 6"/>
                  <a:gd name="T10" fmla="*/ 3 w 5"/>
                  <a:gd name="T11" fmla="*/ 0 h 6"/>
                  <a:gd name="T12" fmla="*/ 2 w 5"/>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5" h="6">
                    <a:moveTo>
                      <a:pt x="2" y="0"/>
                    </a:moveTo>
                    <a:cubicBezTo>
                      <a:pt x="2" y="0"/>
                      <a:pt x="2" y="0"/>
                      <a:pt x="2" y="0"/>
                    </a:cubicBezTo>
                    <a:cubicBezTo>
                      <a:pt x="1" y="0"/>
                      <a:pt x="1" y="0"/>
                      <a:pt x="1" y="0"/>
                    </a:cubicBezTo>
                    <a:cubicBezTo>
                      <a:pt x="1" y="0"/>
                      <a:pt x="0" y="0"/>
                      <a:pt x="0" y="1"/>
                    </a:cubicBezTo>
                    <a:cubicBezTo>
                      <a:pt x="0" y="3"/>
                      <a:pt x="4" y="6"/>
                      <a:pt x="5" y="6"/>
                    </a:cubicBezTo>
                    <a:cubicBezTo>
                      <a:pt x="5" y="5"/>
                      <a:pt x="4" y="1"/>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Oval 8"/>
              <p:cNvSpPr>
                <a:spLocks noChangeArrowheads="1"/>
              </p:cNvSpPr>
              <p:nvPr/>
            </p:nvSpPr>
            <p:spPr bwMode="auto">
              <a:xfrm>
                <a:off x="6601" y="4932"/>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Freeform 9"/>
              <p:cNvSpPr/>
              <p:nvPr/>
            </p:nvSpPr>
            <p:spPr bwMode="auto">
              <a:xfrm>
                <a:off x="2400" y="3606"/>
                <a:ext cx="16" cy="14"/>
              </a:xfrm>
              <a:custGeom>
                <a:gdLst>
                  <a:gd name="T0" fmla="*/ 7 w 7"/>
                  <a:gd name="T1" fmla="*/ 0 h 6"/>
                  <a:gd name="T2" fmla="*/ 0 w 7"/>
                  <a:gd name="T3" fmla="*/ 0 h 6"/>
                  <a:gd name="T4" fmla="*/ 0 w 7"/>
                  <a:gd name="T5" fmla="*/ 6 h 6"/>
                  <a:gd name="T6" fmla="*/ 7 w 7"/>
                  <a:gd name="T7" fmla="*/ 0 h 6"/>
                </a:gdLst>
                <a:cxnLst>
                  <a:cxn ang="0">
                    <a:pos x="T0" y="T1"/>
                  </a:cxn>
                  <a:cxn ang="0">
                    <a:pos x="T2" y="T3"/>
                  </a:cxn>
                  <a:cxn ang="0">
                    <a:pos x="T4" y="T5"/>
                  </a:cxn>
                  <a:cxn ang="0">
                    <a:pos x="T6" y="T7"/>
                  </a:cxn>
                </a:cxnLst>
                <a:rect l="0" t="0" r="r" b="b"/>
                <a:pathLst>
                  <a:path w="7" h="6">
                    <a:moveTo>
                      <a:pt x="7" y="0"/>
                    </a:moveTo>
                    <a:cubicBezTo>
                      <a:pt x="5" y="0"/>
                      <a:pt x="2" y="0"/>
                      <a:pt x="0" y="0"/>
                    </a:cubicBezTo>
                    <a:cubicBezTo>
                      <a:pt x="0" y="2"/>
                      <a:pt x="0" y="4"/>
                      <a:pt x="0" y="6"/>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2" name="Freeform 10"/>
              <p:cNvSpPr/>
              <p:nvPr/>
            </p:nvSpPr>
            <p:spPr bwMode="auto">
              <a:xfrm>
                <a:off x="3647" y="3152"/>
                <a:ext cx="5" cy="17"/>
              </a:xfrm>
              <a:custGeom>
                <a:gdLst>
                  <a:gd name="T0" fmla="*/ 0 w 2"/>
                  <a:gd name="T1" fmla="*/ 0 h 7"/>
                  <a:gd name="T2" fmla="*/ 1 w 2"/>
                  <a:gd name="T3" fmla="*/ 4 h 7"/>
                  <a:gd name="T4" fmla="*/ 2 w 2"/>
                  <a:gd name="T5" fmla="*/ 7 h 7"/>
                  <a:gd name="T6" fmla="*/ 2 w 2"/>
                  <a:gd name="T7" fmla="*/ 3 h 7"/>
                  <a:gd name="T8" fmla="*/ 0 w 2"/>
                  <a:gd name="T9" fmla="*/ 0 h 7"/>
                </a:gdLst>
                <a:cxnLst>
                  <a:cxn ang="0">
                    <a:pos x="T0" y="T1"/>
                  </a:cxn>
                  <a:cxn ang="0">
                    <a:pos x="T2" y="T3"/>
                  </a:cxn>
                  <a:cxn ang="0">
                    <a:pos x="T4" y="T5"/>
                  </a:cxn>
                  <a:cxn ang="0">
                    <a:pos x="T6" y="T7"/>
                  </a:cxn>
                  <a:cxn ang="0">
                    <a:pos x="T8" y="T9"/>
                  </a:cxn>
                </a:cxnLst>
                <a:rect l="0" t="0" r="r" b="b"/>
                <a:pathLst>
                  <a:path w="2" h="7">
                    <a:moveTo>
                      <a:pt x="0" y="0"/>
                    </a:moveTo>
                    <a:cubicBezTo>
                      <a:pt x="0" y="1"/>
                      <a:pt x="0" y="2"/>
                      <a:pt x="1" y="4"/>
                    </a:cubicBezTo>
                    <a:cubicBezTo>
                      <a:pt x="1" y="5"/>
                      <a:pt x="2" y="6"/>
                      <a:pt x="2" y="7"/>
                    </a:cubicBezTo>
                    <a:cubicBezTo>
                      <a:pt x="2" y="6"/>
                      <a:pt x="2" y="4"/>
                      <a:pt x="2"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3" name="Rectangle 11"/>
              <p:cNvSpPr>
                <a:spLocks noChangeArrowheads="1"/>
              </p:cNvSpPr>
              <p:nvPr/>
            </p:nvSpPr>
            <p:spPr bwMode="auto">
              <a:xfrm>
                <a:off x="2872" y="373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Freeform 12"/>
              <p:cNvSpPr/>
              <p:nvPr/>
            </p:nvSpPr>
            <p:spPr bwMode="auto">
              <a:xfrm flipH="1">
                <a:off x="2872" y="3734"/>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Oval 13"/>
              <p:cNvSpPr>
                <a:spLocks noChangeArrowheads="1"/>
              </p:cNvSpPr>
              <p:nvPr/>
            </p:nvSpPr>
            <p:spPr bwMode="auto">
              <a:xfrm>
                <a:off x="7057" y="3904"/>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Freeform 14"/>
              <p:cNvSpPr/>
              <p:nvPr/>
            </p:nvSpPr>
            <p:spPr bwMode="auto">
              <a:xfrm>
                <a:off x="7074" y="3918"/>
                <a:ext cx="2" cy="0"/>
              </a:xfrm>
              <a:custGeom>
                <a:gdLst>
                  <a:gd name="T0" fmla="*/ 1 w 1"/>
                  <a:gd name="T1" fmla="*/ 0 w 1"/>
                  <a:gd name="T2" fmla="*/ 0 w 1"/>
                  <a:gd name="T3" fmla="*/ 1 w 1"/>
                  <a:gd name="T4" fmla="*/ 1 w 1"/>
                </a:gdLst>
                <a:cxnLst>
                  <a:cxn ang="0">
                    <a:pos x="T0" y="0"/>
                  </a:cxn>
                  <a:cxn ang="0">
                    <a:pos x="T1" y="0"/>
                  </a:cxn>
                  <a:cxn ang="0">
                    <a:pos x="T2" y="0"/>
                  </a:cxn>
                  <a:cxn ang="0">
                    <a:pos x="T3" y="0"/>
                  </a:cxn>
                  <a:cxn ang="0">
                    <a:pos x="T4" y="0"/>
                  </a:cxn>
                </a:cxnLst>
                <a:rect l="0" t="0" r="r" b="b"/>
                <a:pathLst>
                  <a:path w="1">
                    <a:moveTo>
                      <a:pt x="1" y="0"/>
                    </a:moveTo>
                    <a:cubicBezTo>
                      <a:pt x="1" y="0"/>
                      <a:pt x="1" y="0"/>
                      <a:pt x="0" y="0"/>
                    </a:cubicBezTo>
                    <a:cubicBezTo>
                      <a:pt x="0" y="0"/>
                      <a:pt x="0" y="0"/>
                      <a:pt x="0" y="0"/>
                    </a:cubicBezTo>
                    <a:cubicBezTo>
                      <a:pt x="0" y="0"/>
                      <a:pt x="0"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Freeform 15"/>
              <p:cNvSpPr/>
              <p:nvPr/>
            </p:nvSpPr>
            <p:spPr bwMode="auto">
              <a:xfrm>
                <a:off x="7889" y="4958"/>
                <a:ext cx="19" cy="12"/>
              </a:xfrm>
              <a:custGeom>
                <a:gdLst>
                  <a:gd name="T0" fmla="*/ 4 w 8"/>
                  <a:gd name="T1" fmla="*/ 0 h 5"/>
                  <a:gd name="T2" fmla="*/ 3 w 8"/>
                  <a:gd name="T3" fmla="*/ 0 h 5"/>
                  <a:gd name="T4" fmla="*/ 0 w 8"/>
                  <a:gd name="T5" fmla="*/ 5 h 5"/>
                  <a:gd name="T6" fmla="*/ 3 w 8"/>
                  <a:gd name="T7" fmla="*/ 3 h 5"/>
                  <a:gd name="T8" fmla="*/ 4 w 8"/>
                  <a:gd name="T9" fmla="*/ 3 h 5"/>
                  <a:gd name="T10" fmla="*/ 4 w 8"/>
                  <a:gd name="T11" fmla="*/ 3 h 5"/>
                  <a:gd name="T12" fmla="*/ 6 w 8"/>
                  <a:gd name="T13" fmla="*/ 3 h 5"/>
                  <a:gd name="T14" fmla="*/ 7 w 8"/>
                  <a:gd name="T15" fmla="*/ 2 h 5"/>
                  <a:gd name="T16" fmla="*/ 8 w 8"/>
                  <a:gd name="T17" fmla="*/ 1 h 5"/>
                  <a:gd name="T18" fmla="*/ 4 w 8"/>
                  <a:gd name="T19"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5">
                    <a:moveTo>
                      <a:pt x="4" y="0"/>
                    </a:moveTo>
                    <a:cubicBezTo>
                      <a:pt x="4" y="0"/>
                      <a:pt x="3" y="0"/>
                      <a:pt x="3" y="0"/>
                    </a:cubicBezTo>
                    <a:cubicBezTo>
                      <a:pt x="2" y="1"/>
                      <a:pt x="1" y="2"/>
                      <a:pt x="0" y="5"/>
                    </a:cubicBezTo>
                    <a:cubicBezTo>
                      <a:pt x="2" y="5"/>
                      <a:pt x="2" y="3"/>
                      <a:pt x="3" y="3"/>
                    </a:cubicBezTo>
                    <a:cubicBezTo>
                      <a:pt x="4" y="3"/>
                      <a:pt x="4" y="3"/>
                      <a:pt x="4" y="3"/>
                    </a:cubicBezTo>
                    <a:cubicBezTo>
                      <a:pt x="4" y="3"/>
                      <a:pt x="4" y="3"/>
                      <a:pt x="4" y="3"/>
                    </a:cubicBezTo>
                    <a:cubicBezTo>
                      <a:pt x="5" y="3"/>
                      <a:pt x="5" y="3"/>
                      <a:pt x="6" y="3"/>
                    </a:cubicBezTo>
                    <a:cubicBezTo>
                      <a:pt x="6" y="3"/>
                      <a:pt x="7" y="3"/>
                      <a:pt x="7" y="2"/>
                    </a:cubicBezTo>
                    <a:cubicBezTo>
                      <a:pt x="7" y="2"/>
                      <a:pt x="8" y="2"/>
                      <a:pt x="8" y="1"/>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Freeform 16"/>
              <p:cNvSpPr/>
              <p:nvPr/>
            </p:nvSpPr>
            <p:spPr bwMode="auto">
              <a:xfrm>
                <a:off x="7948" y="5015"/>
                <a:ext cx="7" cy="7"/>
              </a:xfrm>
              <a:custGeom>
                <a:gdLst>
                  <a:gd name="T0" fmla="*/ 0 w 3"/>
                  <a:gd name="T1" fmla="*/ 0 h 3"/>
                  <a:gd name="T2" fmla="*/ 0 w 3"/>
                  <a:gd name="T3" fmla="*/ 0 h 3"/>
                  <a:gd name="T4" fmla="*/ 0 w 3"/>
                  <a:gd name="T5" fmla="*/ 0 h 3"/>
                  <a:gd name="T6" fmla="*/ 0 w 3"/>
                  <a:gd name="T7" fmla="*/ 0 h 3"/>
                  <a:gd name="T8" fmla="*/ 0 w 3"/>
                  <a:gd name="T9" fmla="*/ 3 h 3"/>
                  <a:gd name="T10" fmla="*/ 1 w 3"/>
                  <a:gd name="T11" fmla="*/ 3 h 3"/>
                  <a:gd name="T12" fmla="*/ 3 w 3"/>
                  <a:gd name="T13" fmla="*/ 3 h 3"/>
                  <a:gd name="T14" fmla="*/ 0 w 3"/>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cubicBezTo>
                      <a:pt x="0" y="0"/>
                      <a:pt x="0" y="0"/>
                      <a:pt x="0" y="0"/>
                    </a:cubicBezTo>
                    <a:cubicBezTo>
                      <a:pt x="0" y="0"/>
                      <a:pt x="0" y="0"/>
                      <a:pt x="0" y="0"/>
                    </a:cubicBezTo>
                    <a:cubicBezTo>
                      <a:pt x="0" y="0"/>
                      <a:pt x="0" y="0"/>
                      <a:pt x="0" y="0"/>
                    </a:cubicBezTo>
                    <a:cubicBezTo>
                      <a:pt x="0" y="1"/>
                      <a:pt x="0" y="2"/>
                      <a:pt x="0" y="3"/>
                    </a:cubicBezTo>
                    <a:cubicBezTo>
                      <a:pt x="1" y="3"/>
                      <a:pt x="1" y="3"/>
                      <a:pt x="1" y="3"/>
                    </a:cubicBezTo>
                    <a:cubicBezTo>
                      <a:pt x="2" y="3"/>
                      <a:pt x="3" y="3"/>
                      <a:pt x="3" y="3"/>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Freeform 17"/>
              <p:cNvSpPr/>
              <p:nvPr/>
            </p:nvSpPr>
            <p:spPr bwMode="auto">
              <a:xfrm>
                <a:off x="8940" y="1010"/>
                <a:ext cx="10" cy="5"/>
              </a:xfrm>
              <a:custGeom>
                <a:gdLst>
                  <a:gd name="T0" fmla="*/ 1 w 4"/>
                  <a:gd name="T1" fmla="*/ 0 h 2"/>
                  <a:gd name="T2" fmla="*/ 0 w 4"/>
                  <a:gd name="T3" fmla="*/ 0 h 2"/>
                  <a:gd name="T4" fmla="*/ 4 w 4"/>
                  <a:gd name="T5" fmla="*/ 2 h 2"/>
                  <a:gd name="T6" fmla="*/ 1 w 4"/>
                  <a:gd name="T7" fmla="*/ 0 h 2"/>
                </a:gdLst>
                <a:cxnLst>
                  <a:cxn ang="0">
                    <a:pos x="T0" y="T1"/>
                  </a:cxn>
                  <a:cxn ang="0">
                    <a:pos x="T2" y="T3"/>
                  </a:cxn>
                  <a:cxn ang="0">
                    <a:pos x="T4" y="T5"/>
                  </a:cxn>
                  <a:cxn ang="0">
                    <a:pos x="T6" y="T7"/>
                  </a:cxn>
                </a:cxnLst>
                <a:rect l="0" t="0" r="r" b="b"/>
                <a:pathLst>
                  <a:path w="4" h="2">
                    <a:moveTo>
                      <a:pt x="1" y="0"/>
                    </a:moveTo>
                    <a:cubicBezTo>
                      <a:pt x="1" y="0"/>
                      <a:pt x="1" y="0"/>
                      <a:pt x="0" y="0"/>
                    </a:cubicBezTo>
                    <a:cubicBezTo>
                      <a:pt x="1" y="1"/>
                      <a:pt x="2" y="1"/>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Freeform 18"/>
              <p:cNvSpPr/>
              <p:nvPr/>
            </p:nvSpPr>
            <p:spPr bwMode="auto">
              <a:xfrm>
                <a:off x="9061" y="992"/>
                <a:ext cx="5" cy="2"/>
              </a:xfrm>
              <a:custGeom>
                <a:gdLst>
                  <a:gd name="T0" fmla="*/ 2 w 2"/>
                  <a:gd name="T1" fmla="*/ 0 h 1"/>
                  <a:gd name="T2" fmla="*/ 0 w 2"/>
                  <a:gd name="T3" fmla="*/ 0 h 1"/>
                  <a:gd name="T4" fmla="*/ 2 w 2"/>
                  <a:gd name="T5" fmla="*/ 1 h 1"/>
                  <a:gd name="T6" fmla="*/ 2 w 2"/>
                  <a:gd name="T7" fmla="*/ 0 h 1"/>
                </a:gdLst>
                <a:cxnLst>
                  <a:cxn ang="0">
                    <a:pos x="T0" y="T1"/>
                  </a:cxn>
                  <a:cxn ang="0">
                    <a:pos x="T2" y="T3"/>
                  </a:cxn>
                  <a:cxn ang="0">
                    <a:pos x="T4" y="T5"/>
                  </a:cxn>
                  <a:cxn ang="0">
                    <a:pos x="T6" y="T7"/>
                  </a:cxn>
                </a:cxnLst>
                <a:rect l="0" t="0" r="r" b="b"/>
                <a:pathLst>
                  <a:path w="2" h="1">
                    <a:moveTo>
                      <a:pt x="2" y="0"/>
                    </a:moveTo>
                    <a:cubicBezTo>
                      <a:pt x="1" y="0"/>
                      <a:pt x="1" y="0"/>
                      <a:pt x="0" y="0"/>
                    </a:cubicBezTo>
                    <a:cubicBezTo>
                      <a:pt x="1" y="1"/>
                      <a:pt x="1"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Freeform 19"/>
              <p:cNvSpPr/>
              <p:nvPr/>
            </p:nvSpPr>
            <p:spPr bwMode="auto">
              <a:xfrm>
                <a:off x="8988" y="970"/>
                <a:ext cx="75" cy="31"/>
              </a:xfrm>
              <a:custGeom>
                <a:gdLst>
                  <a:gd name="T0" fmla="*/ 28 w 32"/>
                  <a:gd name="T1" fmla="*/ 0 h 13"/>
                  <a:gd name="T2" fmla="*/ 25 w 32"/>
                  <a:gd name="T3" fmla="*/ 6 h 13"/>
                  <a:gd name="T4" fmla="*/ 18 w 32"/>
                  <a:gd name="T5" fmla="*/ 9 h 13"/>
                  <a:gd name="T6" fmla="*/ 14 w 32"/>
                  <a:gd name="T7" fmla="*/ 10 h 13"/>
                  <a:gd name="T8" fmla="*/ 13 w 32"/>
                  <a:gd name="T9" fmla="*/ 11 h 13"/>
                  <a:gd name="T10" fmla="*/ 13 w 32"/>
                  <a:gd name="T11" fmla="*/ 11 h 13"/>
                  <a:gd name="T12" fmla="*/ 12 w 32"/>
                  <a:gd name="T13" fmla="*/ 11 h 13"/>
                  <a:gd name="T14" fmla="*/ 11 w 32"/>
                  <a:gd name="T15" fmla="*/ 10 h 13"/>
                  <a:gd name="T16" fmla="*/ 10 w 32"/>
                  <a:gd name="T17" fmla="*/ 11 h 13"/>
                  <a:gd name="T18" fmla="*/ 9 w 32"/>
                  <a:gd name="T19" fmla="*/ 10 h 13"/>
                  <a:gd name="T20" fmla="*/ 6 w 32"/>
                  <a:gd name="T21" fmla="*/ 13 h 13"/>
                  <a:gd name="T22" fmla="*/ 5 w 32"/>
                  <a:gd name="T23" fmla="*/ 13 h 13"/>
                  <a:gd name="T24" fmla="*/ 4 w 32"/>
                  <a:gd name="T25" fmla="*/ 13 h 13"/>
                  <a:gd name="T26" fmla="*/ 3 w 32"/>
                  <a:gd name="T27" fmla="*/ 13 h 13"/>
                  <a:gd name="T28" fmla="*/ 0 w 32"/>
                  <a:gd name="T29" fmla="*/ 13 h 13"/>
                  <a:gd name="T30" fmla="*/ 8 w 32"/>
                  <a:gd name="T31" fmla="*/ 13 h 13"/>
                  <a:gd name="T32" fmla="*/ 17 w 32"/>
                  <a:gd name="T33" fmla="*/ 13 h 13"/>
                  <a:gd name="T34" fmla="*/ 25 w 32"/>
                  <a:gd name="T35" fmla="*/ 10 h 13"/>
                  <a:gd name="T36" fmla="*/ 25 w 32"/>
                  <a:gd name="T37" fmla="*/ 10 h 13"/>
                  <a:gd name="T38" fmla="*/ 26 w 32"/>
                  <a:gd name="T39" fmla="*/ 10 h 13"/>
                  <a:gd name="T40" fmla="*/ 27 w 32"/>
                  <a:gd name="T41" fmla="*/ 10 h 13"/>
                  <a:gd name="T42" fmla="*/ 28 w 32"/>
                  <a:gd name="T43" fmla="*/ 9 h 13"/>
                  <a:gd name="T44" fmla="*/ 28 w 32"/>
                  <a:gd name="T45" fmla="*/ 9 h 13"/>
                  <a:gd name="T46" fmla="*/ 29 w 32"/>
                  <a:gd name="T47" fmla="*/ 10 h 13"/>
                  <a:gd name="T48" fmla="*/ 29 w 32"/>
                  <a:gd name="T49" fmla="*/ 10 h 13"/>
                  <a:gd name="T50" fmla="*/ 29 w 32"/>
                  <a:gd name="T51" fmla="*/ 9 h 13"/>
                  <a:gd name="T52" fmla="*/ 27 w 32"/>
                  <a:gd name="T53" fmla="*/ 6 h 13"/>
                  <a:gd name="T54" fmla="*/ 28 w 32"/>
                  <a:gd name="T55" fmla="*/ 6 h 13"/>
                  <a:gd name="T56" fmla="*/ 32 w 32"/>
                  <a:gd name="T57" fmla="*/ 4 h 13"/>
                  <a:gd name="T58" fmla="*/ 28 w 32"/>
                  <a:gd name="T59"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13">
                    <a:moveTo>
                      <a:pt x="28" y="0"/>
                    </a:moveTo>
                    <a:cubicBezTo>
                      <a:pt x="27" y="2"/>
                      <a:pt x="27" y="4"/>
                      <a:pt x="25" y="6"/>
                    </a:cubicBezTo>
                    <a:cubicBezTo>
                      <a:pt x="24" y="7"/>
                      <a:pt x="20" y="8"/>
                      <a:pt x="18" y="9"/>
                    </a:cubicBezTo>
                    <a:cubicBezTo>
                      <a:pt x="17" y="10"/>
                      <a:pt x="16" y="10"/>
                      <a:pt x="14" y="10"/>
                    </a:cubicBezTo>
                    <a:cubicBezTo>
                      <a:pt x="14" y="10"/>
                      <a:pt x="13" y="11"/>
                      <a:pt x="13" y="11"/>
                    </a:cubicBezTo>
                    <a:cubicBezTo>
                      <a:pt x="13" y="11"/>
                      <a:pt x="13" y="11"/>
                      <a:pt x="13" y="11"/>
                    </a:cubicBezTo>
                    <a:cubicBezTo>
                      <a:pt x="12" y="11"/>
                      <a:pt x="12" y="11"/>
                      <a:pt x="12" y="11"/>
                    </a:cubicBezTo>
                    <a:cubicBezTo>
                      <a:pt x="11" y="10"/>
                      <a:pt x="11" y="10"/>
                      <a:pt x="11" y="10"/>
                    </a:cubicBezTo>
                    <a:cubicBezTo>
                      <a:pt x="10" y="10"/>
                      <a:pt x="10" y="10"/>
                      <a:pt x="10" y="11"/>
                    </a:cubicBezTo>
                    <a:cubicBezTo>
                      <a:pt x="9" y="10"/>
                      <a:pt x="9" y="10"/>
                      <a:pt x="9" y="10"/>
                    </a:cubicBezTo>
                    <a:cubicBezTo>
                      <a:pt x="8" y="12"/>
                      <a:pt x="7" y="10"/>
                      <a:pt x="6" y="13"/>
                    </a:cubicBezTo>
                    <a:cubicBezTo>
                      <a:pt x="6" y="13"/>
                      <a:pt x="6" y="13"/>
                      <a:pt x="5" y="13"/>
                    </a:cubicBezTo>
                    <a:cubicBezTo>
                      <a:pt x="5" y="13"/>
                      <a:pt x="4" y="13"/>
                      <a:pt x="4" y="13"/>
                    </a:cubicBezTo>
                    <a:cubicBezTo>
                      <a:pt x="4" y="13"/>
                      <a:pt x="3" y="13"/>
                      <a:pt x="3" y="13"/>
                    </a:cubicBezTo>
                    <a:cubicBezTo>
                      <a:pt x="2" y="13"/>
                      <a:pt x="1" y="13"/>
                      <a:pt x="0" y="13"/>
                    </a:cubicBezTo>
                    <a:cubicBezTo>
                      <a:pt x="2" y="13"/>
                      <a:pt x="5" y="13"/>
                      <a:pt x="8" y="13"/>
                    </a:cubicBezTo>
                    <a:cubicBezTo>
                      <a:pt x="11" y="13"/>
                      <a:pt x="14" y="13"/>
                      <a:pt x="17" y="13"/>
                    </a:cubicBezTo>
                    <a:cubicBezTo>
                      <a:pt x="20" y="12"/>
                      <a:pt x="22" y="11"/>
                      <a:pt x="25" y="10"/>
                    </a:cubicBezTo>
                    <a:cubicBezTo>
                      <a:pt x="25" y="10"/>
                      <a:pt x="25" y="10"/>
                      <a:pt x="25" y="10"/>
                    </a:cubicBezTo>
                    <a:cubicBezTo>
                      <a:pt x="25" y="10"/>
                      <a:pt x="26" y="10"/>
                      <a:pt x="26" y="10"/>
                    </a:cubicBezTo>
                    <a:cubicBezTo>
                      <a:pt x="26" y="10"/>
                      <a:pt x="26" y="10"/>
                      <a:pt x="27" y="10"/>
                    </a:cubicBezTo>
                    <a:cubicBezTo>
                      <a:pt x="27" y="10"/>
                      <a:pt x="27" y="10"/>
                      <a:pt x="28" y="9"/>
                    </a:cubicBezTo>
                    <a:cubicBezTo>
                      <a:pt x="28" y="9"/>
                      <a:pt x="28" y="9"/>
                      <a:pt x="28" y="9"/>
                    </a:cubicBezTo>
                    <a:cubicBezTo>
                      <a:pt x="28" y="9"/>
                      <a:pt x="28" y="10"/>
                      <a:pt x="29" y="10"/>
                    </a:cubicBezTo>
                    <a:cubicBezTo>
                      <a:pt x="29" y="10"/>
                      <a:pt x="29" y="10"/>
                      <a:pt x="29" y="10"/>
                    </a:cubicBezTo>
                    <a:cubicBezTo>
                      <a:pt x="29" y="10"/>
                      <a:pt x="29" y="10"/>
                      <a:pt x="29" y="9"/>
                    </a:cubicBezTo>
                    <a:cubicBezTo>
                      <a:pt x="30" y="9"/>
                      <a:pt x="27" y="7"/>
                      <a:pt x="27" y="6"/>
                    </a:cubicBezTo>
                    <a:cubicBezTo>
                      <a:pt x="27" y="6"/>
                      <a:pt x="28" y="6"/>
                      <a:pt x="28" y="6"/>
                    </a:cubicBezTo>
                    <a:cubicBezTo>
                      <a:pt x="30" y="6"/>
                      <a:pt x="32" y="5"/>
                      <a:pt x="32" y="4"/>
                    </a:cubicBezTo>
                    <a:cubicBezTo>
                      <a:pt x="32" y="2"/>
                      <a:pt x="29" y="1"/>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2" name="Freeform 20"/>
              <p:cNvSpPr/>
              <p:nvPr/>
            </p:nvSpPr>
            <p:spPr bwMode="auto">
              <a:xfrm>
                <a:off x="8936" y="1010"/>
                <a:ext cx="9" cy="10"/>
              </a:xfrm>
              <a:custGeom>
                <a:gdLst>
                  <a:gd name="T0" fmla="*/ 0 w 4"/>
                  <a:gd name="T1" fmla="*/ 0 h 4"/>
                  <a:gd name="T2" fmla="*/ 1 w 4"/>
                  <a:gd name="T3" fmla="*/ 4 h 4"/>
                  <a:gd name="T4" fmla="*/ 4 w 4"/>
                  <a:gd name="T5" fmla="*/ 2 h 4"/>
                  <a:gd name="T6" fmla="*/ 0 w 4"/>
                  <a:gd name="T7" fmla="*/ 0 h 4"/>
                </a:gdLst>
                <a:cxnLst>
                  <a:cxn ang="0">
                    <a:pos x="T0" y="T1"/>
                  </a:cxn>
                  <a:cxn ang="0">
                    <a:pos x="T2" y="T3"/>
                  </a:cxn>
                  <a:cxn ang="0">
                    <a:pos x="T4" y="T5"/>
                  </a:cxn>
                  <a:cxn ang="0">
                    <a:pos x="T6" y="T7"/>
                  </a:cxn>
                </a:cxnLst>
                <a:rect l="0" t="0" r="r" b="b"/>
                <a:pathLst>
                  <a:path w="4" h="4">
                    <a:moveTo>
                      <a:pt x="0" y="0"/>
                    </a:moveTo>
                    <a:cubicBezTo>
                      <a:pt x="0" y="2"/>
                      <a:pt x="0" y="3"/>
                      <a:pt x="1" y="4"/>
                    </a:cubicBezTo>
                    <a:cubicBezTo>
                      <a:pt x="2" y="3"/>
                      <a:pt x="3" y="3"/>
                      <a:pt x="4"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3" name="Freeform 21"/>
              <p:cNvSpPr/>
              <p:nvPr/>
            </p:nvSpPr>
            <p:spPr bwMode="auto">
              <a:xfrm>
                <a:off x="8921" y="1013"/>
                <a:ext cx="10" cy="12"/>
              </a:xfrm>
              <a:custGeom>
                <a:gdLst>
                  <a:gd name="T0" fmla="*/ 2 w 4"/>
                  <a:gd name="T1" fmla="*/ 0 h 5"/>
                  <a:gd name="T2" fmla="*/ 2 w 4"/>
                  <a:gd name="T3" fmla="*/ 5 h 5"/>
                  <a:gd name="T4" fmla="*/ 3 w 4"/>
                  <a:gd name="T5" fmla="*/ 1 h 5"/>
                  <a:gd name="T6" fmla="*/ 4 w 4"/>
                  <a:gd name="T7" fmla="*/ 0 h 5"/>
                  <a:gd name="T8" fmla="*/ 2 w 4"/>
                  <a:gd name="T9" fmla="*/ 0 h 5"/>
                </a:gdLst>
                <a:cxnLst>
                  <a:cxn ang="0">
                    <a:pos x="T0" y="T1"/>
                  </a:cxn>
                  <a:cxn ang="0">
                    <a:pos x="T2" y="T3"/>
                  </a:cxn>
                  <a:cxn ang="0">
                    <a:pos x="T4" y="T5"/>
                  </a:cxn>
                  <a:cxn ang="0">
                    <a:pos x="T6" y="T7"/>
                  </a:cxn>
                  <a:cxn ang="0">
                    <a:pos x="T8" y="T9"/>
                  </a:cxn>
                </a:cxnLst>
                <a:rect l="0" t="0" r="r" b="b"/>
                <a:pathLst>
                  <a:path w="4" h="5">
                    <a:moveTo>
                      <a:pt x="2" y="0"/>
                    </a:moveTo>
                    <a:cubicBezTo>
                      <a:pt x="0" y="0"/>
                      <a:pt x="1" y="3"/>
                      <a:pt x="2" y="5"/>
                    </a:cubicBezTo>
                    <a:cubicBezTo>
                      <a:pt x="3" y="3"/>
                      <a:pt x="4" y="2"/>
                      <a:pt x="3" y="1"/>
                    </a:cubicBezTo>
                    <a:cubicBezTo>
                      <a:pt x="3" y="1"/>
                      <a:pt x="3" y="1"/>
                      <a:pt x="4"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Freeform 22"/>
              <p:cNvSpPr/>
              <p:nvPr/>
            </p:nvSpPr>
            <p:spPr bwMode="auto">
              <a:xfrm>
                <a:off x="8891" y="1003"/>
                <a:ext cx="38" cy="31"/>
              </a:xfrm>
              <a:custGeom>
                <a:gdLst>
                  <a:gd name="T0" fmla="*/ 8 w 16"/>
                  <a:gd name="T1" fmla="*/ 0 h 13"/>
                  <a:gd name="T2" fmla="*/ 5 w 16"/>
                  <a:gd name="T3" fmla="*/ 1 h 13"/>
                  <a:gd name="T4" fmla="*/ 6 w 16"/>
                  <a:gd name="T5" fmla="*/ 6 h 13"/>
                  <a:gd name="T6" fmla="*/ 6 w 16"/>
                  <a:gd name="T7" fmla="*/ 6 h 13"/>
                  <a:gd name="T8" fmla="*/ 4 w 16"/>
                  <a:gd name="T9" fmla="*/ 6 h 13"/>
                  <a:gd name="T10" fmla="*/ 2 w 16"/>
                  <a:gd name="T11" fmla="*/ 6 h 13"/>
                  <a:gd name="T12" fmla="*/ 2 w 16"/>
                  <a:gd name="T13" fmla="*/ 6 h 13"/>
                  <a:gd name="T14" fmla="*/ 0 w 16"/>
                  <a:gd name="T15" fmla="*/ 13 h 13"/>
                  <a:gd name="T16" fmla="*/ 3 w 16"/>
                  <a:gd name="T17" fmla="*/ 9 h 13"/>
                  <a:gd name="T18" fmla="*/ 5 w 16"/>
                  <a:gd name="T19" fmla="*/ 12 h 13"/>
                  <a:gd name="T20" fmla="*/ 6 w 16"/>
                  <a:gd name="T21" fmla="*/ 12 h 13"/>
                  <a:gd name="T22" fmla="*/ 6 w 16"/>
                  <a:gd name="T23" fmla="*/ 10 h 13"/>
                  <a:gd name="T24" fmla="*/ 10 w 16"/>
                  <a:gd name="T25" fmla="*/ 9 h 13"/>
                  <a:gd name="T26" fmla="*/ 11 w 16"/>
                  <a:gd name="T27" fmla="*/ 8 h 13"/>
                  <a:gd name="T28" fmla="*/ 11 w 16"/>
                  <a:gd name="T29" fmla="*/ 8 h 13"/>
                  <a:gd name="T30" fmla="*/ 12 w 16"/>
                  <a:gd name="T31" fmla="*/ 8 h 13"/>
                  <a:gd name="T32" fmla="*/ 12 w 16"/>
                  <a:gd name="T33" fmla="*/ 9 h 13"/>
                  <a:gd name="T34" fmla="*/ 13 w 16"/>
                  <a:gd name="T35" fmla="*/ 8 h 13"/>
                  <a:gd name="T36" fmla="*/ 8 w 16"/>
                  <a:gd name="T37" fmla="*/ 4 h 13"/>
                  <a:gd name="T38" fmla="*/ 8 w 16"/>
                  <a:gd name="T39"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13">
                    <a:moveTo>
                      <a:pt x="8" y="0"/>
                    </a:moveTo>
                    <a:cubicBezTo>
                      <a:pt x="5" y="1"/>
                      <a:pt x="5" y="1"/>
                      <a:pt x="5" y="1"/>
                    </a:cubicBezTo>
                    <a:cubicBezTo>
                      <a:pt x="4" y="2"/>
                      <a:pt x="6" y="5"/>
                      <a:pt x="6" y="6"/>
                    </a:cubicBezTo>
                    <a:cubicBezTo>
                      <a:pt x="6" y="6"/>
                      <a:pt x="6" y="6"/>
                      <a:pt x="6" y="6"/>
                    </a:cubicBezTo>
                    <a:cubicBezTo>
                      <a:pt x="5" y="6"/>
                      <a:pt x="4" y="6"/>
                      <a:pt x="4" y="6"/>
                    </a:cubicBezTo>
                    <a:cubicBezTo>
                      <a:pt x="3" y="6"/>
                      <a:pt x="2" y="6"/>
                      <a:pt x="2" y="6"/>
                    </a:cubicBezTo>
                    <a:cubicBezTo>
                      <a:pt x="2" y="6"/>
                      <a:pt x="2" y="6"/>
                      <a:pt x="2" y="6"/>
                    </a:cubicBezTo>
                    <a:cubicBezTo>
                      <a:pt x="0" y="6"/>
                      <a:pt x="1" y="12"/>
                      <a:pt x="0" y="13"/>
                    </a:cubicBezTo>
                    <a:cubicBezTo>
                      <a:pt x="1" y="12"/>
                      <a:pt x="2" y="10"/>
                      <a:pt x="3" y="9"/>
                    </a:cubicBezTo>
                    <a:cubicBezTo>
                      <a:pt x="4" y="10"/>
                      <a:pt x="4" y="12"/>
                      <a:pt x="5" y="12"/>
                    </a:cubicBezTo>
                    <a:cubicBezTo>
                      <a:pt x="5" y="12"/>
                      <a:pt x="5" y="12"/>
                      <a:pt x="6" y="12"/>
                    </a:cubicBezTo>
                    <a:cubicBezTo>
                      <a:pt x="7" y="12"/>
                      <a:pt x="5" y="11"/>
                      <a:pt x="6" y="10"/>
                    </a:cubicBezTo>
                    <a:cubicBezTo>
                      <a:pt x="7" y="10"/>
                      <a:pt x="9" y="10"/>
                      <a:pt x="10" y="9"/>
                    </a:cubicBezTo>
                    <a:cubicBezTo>
                      <a:pt x="10" y="9"/>
                      <a:pt x="10" y="8"/>
                      <a:pt x="11" y="8"/>
                    </a:cubicBezTo>
                    <a:cubicBezTo>
                      <a:pt x="11" y="8"/>
                      <a:pt x="11" y="8"/>
                      <a:pt x="11" y="8"/>
                    </a:cubicBezTo>
                    <a:cubicBezTo>
                      <a:pt x="11" y="8"/>
                      <a:pt x="12" y="8"/>
                      <a:pt x="12" y="8"/>
                    </a:cubicBezTo>
                    <a:cubicBezTo>
                      <a:pt x="12" y="8"/>
                      <a:pt x="12" y="9"/>
                      <a:pt x="12" y="9"/>
                    </a:cubicBezTo>
                    <a:cubicBezTo>
                      <a:pt x="12" y="9"/>
                      <a:pt x="13" y="9"/>
                      <a:pt x="13" y="8"/>
                    </a:cubicBezTo>
                    <a:cubicBezTo>
                      <a:pt x="16" y="5"/>
                      <a:pt x="10" y="5"/>
                      <a:pt x="8" y="4"/>
                    </a:cubicBezTo>
                    <a:cubicBezTo>
                      <a:pt x="9" y="2"/>
                      <a:pt x="11"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Freeform 23"/>
              <p:cNvSpPr/>
              <p:nvPr/>
            </p:nvSpPr>
            <p:spPr bwMode="auto">
              <a:xfrm>
                <a:off x="8276" y="923"/>
                <a:ext cx="55" cy="21"/>
              </a:xfrm>
              <a:custGeom>
                <a:gdLst>
                  <a:gd name="T0" fmla="*/ 7 w 23"/>
                  <a:gd name="T1" fmla="*/ 0 h 9"/>
                  <a:gd name="T2" fmla="*/ 0 w 23"/>
                  <a:gd name="T3" fmla="*/ 3 h 9"/>
                  <a:gd name="T4" fmla="*/ 11 w 23"/>
                  <a:gd name="T5" fmla="*/ 9 h 9"/>
                  <a:gd name="T6" fmla="*/ 14 w 23"/>
                  <a:gd name="T7" fmla="*/ 6 h 9"/>
                  <a:gd name="T8" fmla="*/ 14 w 23"/>
                  <a:gd name="T9" fmla="*/ 6 h 9"/>
                  <a:gd name="T10" fmla="*/ 15 w 23"/>
                  <a:gd name="T11" fmla="*/ 7 h 9"/>
                  <a:gd name="T12" fmla="*/ 16 w 23"/>
                  <a:gd name="T13" fmla="*/ 8 h 9"/>
                  <a:gd name="T14" fmla="*/ 16 w 23"/>
                  <a:gd name="T15" fmla="*/ 8 h 9"/>
                  <a:gd name="T16" fmla="*/ 19 w 23"/>
                  <a:gd name="T17" fmla="*/ 6 h 9"/>
                  <a:gd name="T18" fmla="*/ 19 w 23"/>
                  <a:gd name="T19" fmla="*/ 6 h 9"/>
                  <a:gd name="T20" fmla="*/ 20 w 23"/>
                  <a:gd name="T21" fmla="*/ 6 h 9"/>
                  <a:gd name="T22" fmla="*/ 22 w 23"/>
                  <a:gd name="T23" fmla="*/ 6 h 9"/>
                  <a:gd name="T24" fmla="*/ 23 w 23"/>
                  <a:gd name="T25" fmla="*/ 6 h 9"/>
                  <a:gd name="T26" fmla="*/ 17 w 23"/>
                  <a:gd name="T27" fmla="*/ 3 h 9"/>
                  <a:gd name="T28" fmla="*/ 16 w 23"/>
                  <a:gd name="T29" fmla="*/ 3 h 9"/>
                  <a:gd name="T30" fmla="*/ 10 w 23"/>
                  <a:gd name="T31" fmla="*/ 0 h 9"/>
                  <a:gd name="T32" fmla="*/ 7 w 23"/>
                  <a:gd name="T3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9">
                    <a:moveTo>
                      <a:pt x="7" y="0"/>
                    </a:moveTo>
                    <a:cubicBezTo>
                      <a:pt x="4" y="0"/>
                      <a:pt x="2" y="1"/>
                      <a:pt x="0" y="3"/>
                    </a:cubicBezTo>
                    <a:cubicBezTo>
                      <a:pt x="3" y="5"/>
                      <a:pt x="7" y="7"/>
                      <a:pt x="11" y="9"/>
                    </a:cubicBezTo>
                    <a:cubicBezTo>
                      <a:pt x="12" y="8"/>
                      <a:pt x="13" y="6"/>
                      <a:pt x="14" y="6"/>
                    </a:cubicBezTo>
                    <a:cubicBezTo>
                      <a:pt x="14" y="6"/>
                      <a:pt x="14" y="6"/>
                      <a:pt x="14" y="6"/>
                    </a:cubicBezTo>
                    <a:cubicBezTo>
                      <a:pt x="15" y="6"/>
                      <a:pt x="15" y="7"/>
                      <a:pt x="15" y="7"/>
                    </a:cubicBezTo>
                    <a:cubicBezTo>
                      <a:pt x="16" y="7"/>
                      <a:pt x="16" y="8"/>
                      <a:pt x="16" y="8"/>
                    </a:cubicBezTo>
                    <a:cubicBezTo>
                      <a:pt x="16" y="8"/>
                      <a:pt x="16" y="8"/>
                      <a:pt x="16" y="8"/>
                    </a:cubicBezTo>
                    <a:cubicBezTo>
                      <a:pt x="18" y="7"/>
                      <a:pt x="18" y="6"/>
                      <a:pt x="19" y="6"/>
                    </a:cubicBezTo>
                    <a:cubicBezTo>
                      <a:pt x="19" y="6"/>
                      <a:pt x="19" y="6"/>
                      <a:pt x="19" y="6"/>
                    </a:cubicBezTo>
                    <a:cubicBezTo>
                      <a:pt x="19" y="6"/>
                      <a:pt x="20" y="6"/>
                      <a:pt x="20" y="6"/>
                    </a:cubicBezTo>
                    <a:cubicBezTo>
                      <a:pt x="21" y="6"/>
                      <a:pt x="22" y="6"/>
                      <a:pt x="22" y="6"/>
                    </a:cubicBezTo>
                    <a:cubicBezTo>
                      <a:pt x="23" y="6"/>
                      <a:pt x="23" y="6"/>
                      <a:pt x="23" y="6"/>
                    </a:cubicBezTo>
                    <a:cubicBezTo>
                      <a:pt x="23" y="4"/>
                      <a:pt x="19" y="3"/>
                      <a:pt x="17" y="3"/>
                    </a:cubicBezTo>
                    <a:cubicBezTo>
                      <a:pt x="17" y="3"/>
                      <a:pt x="17" y="3"/>
                      <a:pt x="16" y="3"/>
                    </a:cubicBezTo>
                    <a:cubicBezTo>
                      <a:pt x="19" y="0"/>
                      <a:pt x="10" y="0"/>
                      <a:pt x="10"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Freeform 24"/>
              <p:cNvSpPr/>
              <p:nvPr/>
            </p:nvSpPr>
            <p:spPr bwMode="auto">
              <a:xfrm>
                <a:off x="8546" y="994"/>
                <a:ext cx="33" cy="21"/>
              </a:xfrm>
              <a:custGeom>
                <a:gdLst>
                  <a:gd name="T0" fmla="*/ 14 w 14"/>
                  <a:gd name="T1" fmla="*/ 0 h 9"/>
                  <a:gd name="T2" fmla="*/ 5 w 14"/>
                  <a:gd name="T3" fmla="*/ 9 h 9"/>
                  <a:gd name="T4" fmla="*/ 8 w 14"/>
                  <a:gd name="T5" fmla="*/ 6 h 9"/>
                  <a:gd name="T6" fmla="*/ 9 w 14"/>
                  <a:gd name="T7" fmla="*/ 6 h 9"/>
                  <a:gd name="T8" fmla="*/ 10 w 14"/>
                  <a:gd name="T9" fmla="*/ 7 h 9"/>
                  <a:gd name="T10" fmla="*/ 11 w 14"/>
                  <a:gd name="T11" fmla="*/ 6 h 9"/>
                  <a:gd name="T12" fmla="*/ 12 w 14"/>
                  <a:gd name="T13" fmla="*/ 3 h 9"/>
                  <a:gd name="T14" fmla="*/ 14 w 14"/>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14" y="0"/>
                    </a:moveTo>
                    <a:cubicBezTo>
                      <a:pt x="11" y="2"/>
                      <a:pt x="0" y="6"/>
                      <a:pt x="5" y="9"/>
                    </a:cubicBezTo>
                    <a:cubicBezTo>
                      <a:pt x="6" y="7"/>
                      <a:pt x="7" y="6"/>
                      <a:pt x="8" y="6"/>
                    </a:cubicBezTo>
                    <a:cubicBezTo>
                      <a:pt x="8" y="6"/>
                      <a:pt x="8" y="6"/>
                      <a:pt x="9" y="6"/>
                    </a:cubicBezTo>
                    <a:cubicBezTo>
                      <a:pt x="9" y="7"/>
                      <a:pt x="9" y="7"/>
                      <a:pt x="10" y="7"/>
                    </a:cubicBezTo>
                    <a:cubicBezTo>
                      <a:pt x="10" y="7"/>
                      <a:pt x="11" y="7"/>
                      <a:pt x="11" y="6"/>
                    </a:cubicBezTo>
                    <a:cubicBezTo>
                      <a:pt x="13" y="5"/>
                      <a:pt x="12" y="4"/>
                      <a:pt x="12" y="3"/>
                    </a:cubicBezTo>
                    <a:cubicBezTo>
                      <a:pt x="12" y="2"/>
                      <a:pt x="14"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25"/>
              <p:cNvSpPr/>
              <p:nvPr/>
            </p:nvSpPr>
            <p:spPr bwMode="auto">
              <a:xfrm>
                <a:off x="8328" y="963"/>
                <a:ext cx="24" cy="12"/>
              </a:xfrm>
              <a:custGeom>
                <a:gdLst>
                  <a:gd name="T0" fmla="*/ 8 w 10"/>
                  <a:gd name="T1" fmla="*/ 0 h 5"/>
                  <a:gd name="T2" fmla="*/ 4 w 10"/>
                  <a:gd name="T3" fmla="*/ 2 h 5"/>
                  <a:gd name="T4" fmla="*/ 3 w 10"/>
                  <a:gd name="T5" fmla="*/ 2 h 5"/>
                  <a:gd name="T6" fmla="*/ 2 w 10"/>
                  <a:gd name="T7" fmla="*/ 2 h 5"/>
                  <a:gd name="T8" fmla="*/ 2 w 10"/>
                  <a:gd name="T9" fmla="*/ 2 h 5"/>
                  <a:gd name="T10" fmla="*/ 0 w 10"/>
                  <a:gd name="T11" fmla="*/ 3 h 5"/>
                  <a:gd name="T12" fmla="*/ 7 w 10"/>
                  <a:gd name="T13" fmla="*/ 5 h 5"/>
                  <a:gd name="T14" fmla="*/ 10 w 10"/>
                  <a:gd name="T15" fmla="*/ 0 h 5"/>
                  <a:gd name="T16" fmla="*/ 8 w 10"/>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
                    <a:moveTo>
                      <a:pt x="8" y="0"/>
                    </a:moveTo>
                    <a:cubicBezTo>
                      <a:pt x="6" y="0"/>
                      <a:pt x="6" y="1"/>
                      <a:pt x="4" y="2"/>
                    </a:cubicBezTo>
                    <a:cubicBezTo>
                      <a:pt x="3" y="2"/>
                      <a:pt x="3" y="2"/>
                      <a:pt x="3" y="2"/>
                    </a:cubicBezTo>
                    <a:cubicBezTo>
                      <a:pt x="3" y="2"/>
                      <a:pt x="2" y="2"/>
                      <a:pt x="2" y="2"/>
                    </a:cubicBezTo>
                    <a:cubicBezTo>
                      <a:pt x="2" y="2"/>
                      <a:pt x="2" y="2"/>
                      <a:pt x="2" y="2"/>
                    </a:cubicBezTo>
                    <a:cubicBezTo>
                      <a:pt x="1" y="2"/>
                      <a:pt x="1" y="2"/>
                      <a:pt x="0" y="3"/>
                    </a:cubicBezTo>
                    <a:cubicBezTo>
                      <a:pt x="2" y="4"/>
                      <a:pt x="5" y="4"/>
                      <a:pt x="7" y="5"/>
                    </a:cubicBezTo>
                    <a:cubicBezTo>
                      <a:pt x="8" y="3"/>
                      <a:pt x="8"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Freeform 26"/>
              <p:cNvSpPr/>
              <p:nvPr/>
            </p:nvSpPr>
            <p:spPr bwMode="auto">
              <a:xfrm>
                <a:off x="8938" y="994"/>
                <a:ext cx="14" cy="12"/>
              </a:xfrm>
              <a:custGeom>
                <a:gdLst>
                  <a:gd name="T0" fmla="*/ 1 w 6"/>
                  <a:gd name="T1" fmla="*/ 0 h 5"/>
                  <a:gd name="T2" fmla="*/ 0 w 6"/>
                  <a:gd name="T3" fmla="*/ 0 h 5"/>
                  <a:gd name="T4" fmla="*/ 2 w 6"/>
                  <a:gd name="T5" fmla="*/ 5 h 5"/>
                  <a:gd name="T6" fmla="*/ 1 w 6"/>
                  <a:gd name="T7" fmla="*/ 0 h 5"/>
                </a:gdLst>
                <a:cxnLst>
                  <a:cxn ang="0">
                    <a:pos x="T0" y="T1"/>
                  </a:cxn>
                  <a:cxn ang="0">
                    <a:pos x="T2" y="T3"/>
                  </a:cxn>
                  <a:cxn ang="0">
                    <a:pos x="T4" y="T5"/>
                  </a:cxn>
                  <a:cxn ang="0">
                    <a:pos x="T6" y="T7"/>
                  </a:cxn>
                </a:cxnLst>
                <a:rect l="0" t="0" r="r" b="b"/>
                <a:pathLst>
                  <a:path w="6" h="5">
                    <a:moveTo>
                      <a:pt x="1" y="0"/>
                    </a:moveTo>
                    <a:cubicBezTo>
                      <a:pt x="0" y="0"/>
                      <a:pt x="0" y="0"/>
                      <a:pt x="0" y="0"/>
                    </a:cubicBezTo>
                    <a:cubicBezTo>
                      <a:pt x="0" y="2"/>
                      <a:pt x="1" y="3"/>
                      <a:pt x="2" y="5"/>
                    </a:cubicBezTo>
                    <a:cubicBezTo>
                      <a:pt x="6"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Freeform 27"/>
              <p:cNvSpPr/>
              <p:nvPr/>
            </p:nvSpPr>
            <p:spPr bwMode="auto">
              <a:xfrm>
                <a:off x="8685" y="1001"/>
                <a:ext cx="17" cy="12"/>
              </a:xfrm>
              <a:custGeom>
                <a:gdLst>
                  <a:gd name="T0" fmla="*/ 3 w 7"/>
                  <a:gd name="T1" fmla="*/ 0 h 5"/>
                  <a:gd name="T2" fmla="*/ 0 w 7"/>
                  <a:gd name="T3" fmla="*/ 1 h 5"/>
                  <a:gd name="T4" fmla="*/ 3 w 7"/>
                  <a:gd name="T5" fmla="*/ 5 h 5"/>
                  <a:gd name="T6" fmla="*/ 5 w 7"/>
                  <a:gd name="T7" fmla="*/ 1 h 5"/>
                  <a:gd name="T8" fmla="*/ 3 w 7"/>
                  <a:gd name="T9" fmla="*/ 0 h 5"/>
                </a:gdLst>
                <a:cxnLst>
                  <a:cxn ang="0">
                    <a:pos x="T0" y="T1"/>
                  </a:cxn>
                  <a:cxn ang="0">
                    <a:pos x="T2" y="T3"/>
                  </a:cxn>
                  <a:cxn ang="0">
                    <a:pos x="T4" y="T5"/>
                  </a:cxn>
                  <a:cxn ang="0">
                    <a:pos x="T6" y="T7"/>
                  </a:cxn>
                  <a:cxn ang="0">
                    <a:pos x="T8" y="T9"/>
                  </a:cxn>
                </a:cxnLst>
                <a:rect l="0" t="0" r="r" b="b"/>
                <a:pathLst>
                  <a:path w="7" h="5">
                    <a:moveTo>
                      <a:pt x="3" y="0"/>
                    </a:moveTo>
                    <a:cubicBezTo>
                      <a:pt x="2" y="0"/>
                      <a:pt x="1" y="1"/>
                      <a:pt x="0" y="1"/>
                    </a:cubicBezTo>
                    <a:cubicBezTo>
                      <a:pt x="1" y="3"/>
                      <a:pt x="2" y="4"/>
                      <a:pt x="3" y="5"/>
                    </a:cubicBezTo>
                    <a:cubicBezTo>
                      <a:pt x="6" y="4"/>
                      <a:pt x="7" y="2"/>
                      <a:pt x="5"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Freeform 28"/>
              <p:cNvSpPr/>
              <p:nvPr/>
            </p:nvSpPr>
            <p:spPr bwMode="auto">
              <a:xfrm>
                <a:off x="8858" y="1010"/>
                <a:ext cx="28" cy="17"/>
              </a:xfrm>
              <a:custGeom>
                <a:gdLst>
                  <a:gd name="T0" fmla="*/ 12 w 12"/>
                  <a:gd name="T1" fmla="*/ 0 h 7"/>
                  <a:gd name="T2" fmla="*/ 0 w 12"/>
                  <a:gd name="T3" fmla="*/ 6 h 7"/>
                  <a:gd name="T4" fmla="*/ 3 w 12"/>
                  <a:gd name="T5" fmla="*/ 6 h 7"/>
                  <a:gd name="T6" fmla="*/ 4 w 12"/>
                  <a:gd name="T7" fmla="*/ 6 h 7"/>
                  <a:gd name="T8" fmla="*/ 6 w 12"/>
                  <a:gd name="T9" fmla="*/ 7 h 7"/>
                  <a:gd name="T10" fmla="*/ 7 w 12"/>
                  <a:gd name="T11" fmla="*/ 7 h 7"/>
                  <a:gd name="T12" fmla="*/ 10 w 12"/>
                  <a:gd name="T13" fmla="*/ 4 h 7"/>
                  <a:gd name="T14" fmla="*/ 12 w 12"/>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7">
                    <a:moveTo>
                      <a:pt x="12" y="0"/>
                    </a:moveTo>
                    <a:cubicBezTo>
                      <a:pt x="8" y="2"/>
                      <a:pt x="4" y="4"/>
                      <a:pt x="0" y="6"/>
                    </a:cubicBezTo>
                    <a:cubicBezTo>
                      <a:pt x="1" y="6"/>
                      <a:pt x="2" y="6"/>
                      <a:pt x="3" y="6"/>
                    </a:cubicBezTo>
                    <a:cubicBezTo>
                      <a:pt x="3" y="6"/>
                      <a:pt x="4" y="6"/>
                      <a:pt x="4" y="6"/>
                    </a:cubicBezTo>
                    <a:cubicBezTo>
                      <a:pt x="5" y="6"/>
                      <a:pt x="5" y="7"/>
                      <a:pt x="6" y="7"/>
                    </a:cubicBezTo>
                    <a:cubicBezTo>
                      <a:pt x="7" y="7"/>
                      <a:pt x="7" y="7"/>
                      <a:pt x="7" y="7"/>
                    </a:cubicBezTo>
                    <a:cubicBezTo>
                      <a:pt x="9" y="6"/>
                      <a:pt x="9" y="6"/>
                      <a:pt x="10" y="4"/>
                    </a:cubicBezTo>
                    <a:cubicBezTo>
                      <a:pt x="11" y="2"/>
                      <a:pt x="10"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Freeform 29"/>
              <p:cNvSpPr/>
              <p:nvPr/>
            </p:nvSpPr>
            <p:spPr bwMode="auto">
              <a:xfrm>
                <a:off x="8815" y="1008"/>
                <a:ext cx="38" cy="26"/>
              </a:xfrm>
              <a:custGeom>
                <a:gdLst>
                  <a:gd name="T0" fmla="*/ 6 w 16"/>
                  <a:gd name="T1" fmla="*/ 0 h 11"/>
                  <a:gd name="T2" fmla="*/ 2 w 16"/>
                  <a:gd name="T3" fmla="*/ 1 h 11"/>
                  <a:gd name="T4" fmla="*/ 8 w 16"/>
                  <a:gd name="T5" fmla="*/ 11 h 11"/>
                  <a:gd name="T6" fmla="*/ 11 w 16"/>
                  <a:gd name="T7" fmla="*/ 7 h 11"/>
                  <a:gd name="T8" fmla="*/ 11 w 16"/>
                  <a:gd name="T9" fmla="*/ 5 h 11"/>
                  <a:gd name="T10" fmla="*/ 16 w 16"/>
                  <a:gd name="T11" fmla="*/ 3 h 11"/>
                  <a:gd name="T12" fmla="*/ 14 w 16"/>
                  <a:gd name="T13" fmla="*/ 3 h 11"/>
                  <a:gd name="T14" fmla="*/ 13 w 16"/>
                  <a:gd name="T15" fmla="*/ 3 h 11"/>
                  <a:gd name="T16" fmla="*/ 11 w 16"/>
                  <a:gd name="T17" fmla="*/ 3 h 11"/>
                  <a:gd name="T18" fmla="*/ 10 w 16"/>
                  <a:gd name="T19" fmla="*/ 2 h 11"/>
                  <a:gd name="T20" fmla="*/ 7 w 16"/>
                  <a:gd name="T21" fmla="*/ 0 h 11"/>
                  <a:gd name="T22" fmla="*/ 6 w 16"/>
                  <a:gd name="T2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1">
                    <a:moveTo>
                      <a:pt x="6" y="0"/>
                    </a:moveTo>
                    <a:cubicBezTo>
                      <a:pt x="4" y="0"/>
                      <a:pt x="3" y="0"/>
                      <a:pt x="2" y="1"/>
                    </a:cubicBezTo>
                    <a:cubicBezTo>
                      <a:pt x="0" y="3"/>
                      <a:pt x="7" y="9"/>
                      <a:pt x="8" y="11"/>
                    </a:cubicBezTo>
                    <a:cubicBezTo>
                      <a:pt x="9" y="10"/>
                      <a:pt x="10" y="8"/>
                      <a:pt x="11" y="7"/>
                    </a:cubicBezTo>
                    <a:cubicBezTo>
                      <a:pt x="11" y="6"/>
                      <a:pt x="11" y="5"/>
                      <a:pt x="11" y="5"/>
                    </a:cubicBezTo>
                    <a:cubicBezTo>
                      <a:pt x="12" y="3"/>
                      <a:pt x="15" y="4"/>
                      <a:pt x="16" y="3"/>
                    </a:cubicBezTo>
                    <a:cubicBezTo>
                      <a:pt x="15" y="3"/>
                      <a:pt x="15" y="3"/>
                      <a:pt x="14" y="3"/>
                    </a:cubicBezTo>
                    <a:cubicBezTo>
                      <a:pt x="14" y="3"/>
                      <a:pt x="13" y="3"/>
                      <a:pt x="13" y="3"/>
                    </a:cubicBezTo>
                    <a:cubicBezTo>
                      <a:pt x="12" y="3"/>
                      <a:pt x="12" y="3"/>
                      <a:pt x="11" y="3"/>
                    </a:cubicBezTo>
                    <a:cubicBezTo>
                      <a:pt x="11" y="3"/>
                      <a:pt x="10" y="3"/>
                      <a:pt x="10" y="2"/>
                    </a:cubicBezTo>
                    <a:cubicBezTo>
                      <a:pt x="9" y="2"/>
                      <a:pt x="9" y="1"/>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Freeform 30"/>
              <p:cNvSpPr/>
              <p:nvPr/>
            </p:nvSpPr>
            <p:spPr bwMode="auto">
              <a:xfrm>
                <a:off x="8635" y="1029"/>
                <a:ext cx="48" cy="24"/>
              </a:xfrm>
              <a:custGeom>
                <a:gdLst>
                  <a:gd name="T0" fmla="*/ 1 w 20"/>
                  <a:gd name="T1" fmla="*/ 0 h 10"/>
                  <a:gd name="T2" fmla="*/ 0 w 20"/>
                  <a:gd name="T3" fmla="*/ 0 h 10"/>
                  <a:gd name="T4" fmla="*/ 15 w 20"/>
                  <a:gd name="T5" fmla="*/ 10 h 10"/>
                  <a:gd name="T6" fmla="*/ 19 w 20"/>
                  <a:gd name="T7" fmla="*/ 9 h 10"/>
                  <a:gd name="T8" fmla="*/ 20 w 20"/>
                  <a:gd name="T9" fmla="*/ 9 h 10"/>
                  <a:gd name="T10" fmla="*/ 10 w 20"/>
                  <a:gd name="T11" fmla="*/ 5 h 10"/>
                  <a:gd name="T12" fmla="*/ 7 w 20"/>
                  <a:gd name="T13" fmla="*/ 2 h 10"/>
                  <a:gd name="T14" fmla="*/ 1 w 20"/>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 y="0"/>
                    </a:moveTo>
                    <a:cubicBezTo>
                      <a:pt x="0" y="0"/>
                      <a:pt x="0" y="0"/>
                      <a:pt x="0" y="0"/>
                    </a:cubicBezTo>
                    <a:cubicBezTo>
                      <a:pt x="4" y="4"/>
                      <a:pt x="10" y="7"/>
                      <a:pt x="15" y="10"/>
                    </a:cubicBezTo>
                    <a:cubicBezTo>
                      <a:pt x="16" y="10"/>
                      <a:pt x="17" y="9"/>
                      <a:pt x="19" y="9"/>
                    </a:cubicBezTo>
                    <a:cubicBezTo>
                      <a:pt x="19" y="9"/>
                      <a:pt x="19" y="9"/>
                      <a:pt x="20" y="9"/>
                    </a:cubicBezTo>
                    <a:cubicBezTo>
                      <a:pt x="17" y="8"/>
                      <a:pt x="13" y="7"/>
                      <a:pt x="10" y="5"/>
                    </a:cubicBezTo>
                    <a:cubicBezTo>
                      <a:pt x="9" y="4"/>
                      <a:pt x="8" y="3"/>
                      <a:pt x="7" y="2"/>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Freeform 31"/>
              <p:cNvSpPr/>
              <p:nvPr/>
            </p:nvSpPr>
            <p:spPr bwMode="auto">
              <a:xfrm>
                <a:off x="74" y="1426"/>
                <a:ext cx="31" cy="15"/>
              </a:xfrm>
              <a:custGeom>
                <a:gdLst>
                  <a:gd name="T0" fmla="*/ 0 w 13"/>
                  <a:gd name="T1" fmla="*/ 0 h 6"/>
                  <a:gd name="T2" fmla="*/ 13 w 13"/>
                  <a:gd name="T3" fmla="*/ 6 h 6"/>
                  <a:gd name="T4" fmla="*/ 0 w 13"/>
                  <a:gd name="T5" fmla="*/ 0 h 6"/>
                </a:gdLst>
                <a:cxnLst>
                  <a:cxn ang="0">
                    <a:pos x="T0" y="T1"/>
                  </a:cxn>
                  <a:cxn ang="0">
                    <a:pos x="T2" y="T3"/>
                  </a:cxn>
                  <a:cxn ang="0">
                    <a:pos x="T4" y="T5"/>
                  </a:cxn>
                </a:cxnLst>
                <a:rect l="0" t="0" r="r" b="b"/>
                <a:pathLst>
                  <a:path w="13" h="6">
                    <a:moveTo>
                      <a:pt x="0" y="0"/>
                    </a:moveTo>
                    <a:cubicBezTo>
                      <a:pt x="0" y="5"/>
                      <a:pt x="9" y="5"/>
                      <a:pt x="13" y="6"/>
                    </a:cubicBezTo>
                    <a:cubicBezTo>
                      <a:pt x="9" y="4"/>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Freeform 32"/>
              <p:cNvSpPr/>
              <p:nvPr/>
            </p:nvSpPr>
            <p:spPr bwMode="auto">
              <a:xfrm>
                <a:off x="1324" y="1939"/>
                <a:ext cx="5" cy="24"/>
              </a:xfrm>
              <a:custGeom>
                <a:gdLst>
                  <a:gd name="T0" fmla="*/ 1 w 2"/>
                  <a:gd name="T1" fmla="*/ 0 h 10"/>
                  <a:gd name="T2" fmla="*/ 2 w 2"/>
                  <a:gd name="T3" fmla="*/ 10 h 10"/>
                  <a:gd name="T4" fmla="*/ 1 w 2"/>
                  <a:gd name="T5" fmla="*/ 0 h 10"/>
                </a:gdLst>
                <a:cxnLst>
                  <a:cxn ang="0">
                    <a:pos x="T0" y="T1"/>
                  </a:cxn>
                  <a:cxn ang="0">
                    <a:pos x="T2" y="T3"/>
                  </a:cxn>
                  <a:cxn ang="0">
                    <a:pos x="T4" y="T5"/>
                  </a:cxn>
                </a:cxnLst>
                <a:rect l="0" t="0" r="r" b="b"/>
                <a:pathLst>
                  <a:path w="2" h="10">
                    <a:moveTo>
                      <a:pt x="1" y="0"/>
                    </a:moveTo>
                    <a:cubicBezTo>
                      <a:pt x="0" y="2"/>
                      <a:pt x="2" y="7"/>
                      <a:pt x="2" y="10"/>
                    </a:cubicBezTo>
                    <a:cubicBezTo>
                      <a:pt x="2" y="6"/>
                      <a:pt x="1"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Freeform 33"/>
              <p:cNvSpPr/>
              <p:nvPr/>
            </p:nvSpPr>
            <p:spPr bwMode="auto">
              <a:xfrm>
                <a:off x="838" y="3824"/>
                <a:ext cx="30" cy="9"/>
              </a:xfrm>
              <a:custGeom>
                <a:gdLst>
                  <a:gd name="T0" fmla="*/ 0 w 13"/>
                  <a:gd name="T1" fmla="*/ 0 h 4"/>
                  <a:gd name="T2" fmla="*/ 13 w 13"/>
                  <a:gd name="T3" fmla="*/ 4 h 4"/>
                  <a:gd name="T4" fmla="*/ 0 w 13"/>
                  <a:gd name="T5" fmla="*/ 0 h 4"/>
                  <a:gd name="T6" fmla="*/ 0 w 13"/>
                  <a:gd name="T7" fmla="*/ 0 h 4"/>
                </a:gdLst>
                <a:cxnLst>
                  <a:cxn ang="0">
                    <a:pos x="T0" y="T1"/>
                  </a:cxn>
                  <a:cxn ang="0">
                    <a:pos x="T2" y="T3"/>
                  </a:cxn>
                  <a:cxn ang="0">
                    <a:pos x="T4" y="T5"/>
                  </a:cxn>
                  <a:cxn ang="0">
                    <a:pos x="T6" y="T7"/>
                  </a:cxn>
                </a:cxnLst>
                <a:rect l="0" t="0" r="r" b="b"/>
                <a:pathLst>
                  <a:path w="13" h="4">
                    <a:moveTo>
                      <a:pt x="0" y="0"/>
                    </a:moveTo>
                    <a:cubicBezTo>
                      <a:pt x="4" y="1"/>
                      <a:pt x="9" y="3"/>
                      <a:pt x="13" y="4"/>
                    </a:cubicBezTo>
                    <a:cubicBezTo>
                      <a:pt x="9" y="3"/>
                      <a:pt x="4"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Freeform 34"/>
              <p:cNvSpPr/>
              <p:nvPr/>
            </p:nvSpPr>
            <p:spPr bwMode="auto">
              <a:xfrm>
                <a:off x="4271" y="4254"/>
                <a:ext cx="19" cy="4"/>
              </a:xfrm>
              <a:custGeom>
                <a:gdLst>
                  <a:gd name="T0" fmla="*/ 6 w 8"/>
                  <a:gd name="T1" fmla="*/ 0 h 2"/>
                  <a:gd name="T2" fmla="*/ 0 w 8"/>
                  <a:gd name="T3" fmla="*/ 2 h 2"/>
                  <a:gd name="T4" fmla="*/ 8 w 8"/>
                  <a:gd name="T5" fmla="*/ 1 h 2"/>
                  <a:gd name="T6" fmla="*/ 6 w 8"/>
                  <a:gd name="T7" fmla="*/ 0 h 2"/>
                </a:gdLst>
                <a:cxnLst>
                  <a:cxn ang="0">
                    <a:pos x="T0" y="T1"/>
                  </a:cxn>
                  <a:cxn ang="0">
                    <a:pos x="T2" y="T3"/>
                  </a:cxn>
                  <a:cxn ang="0">
                    <a:pos x="T4" y="T5"/>
                  </a:cxn>
                  <a:cxn ang="0">
                    <a:pos x="T6" y="T7"/>
                  </a:cxn>
                </a:cxnLst>
                <a:rect l="0" t="0" r="r" b="b"/>
                <a:pathLst>
                  <a:path w="8" h="2">
                    <a:moveTo>
                      <a:pt x="6" y="0"/>
                    </a:moveTo>
                    <a:cubicBezTo>
                      <a:pt x="4" y="1"/>
                      <a:pt x="1" y="0"/>
                      <a:pt x="0" y="2"/>
                    </a:cubicBezTo>
                    <a:cubicBezTo>
                      <a:pt x="2" y="2"/>
                      <a:pt x="5" y="2"/>
                      <a:pt x="8" y="1"/>
                    </a:cubicBezTo>
                    <a:cubicBezTo>
                      <a:pt x="7" y="1"/>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Freeform 35"/>
              <p:cNvSpPr/>
              <p:nvPr/>
            </p:nvSpPr>
            <p:spPr bwMode="auto">
              <a:xfrm>
                <a:off x="1464" y="4601"/>
                <a:ext cx="7" cy="14"/>
              </a:xfrm>
              <a:custGeom>
                <a:gdLst>
                  <a:gd name="T0" fmla="*/ 1 w 3"/>
                  <a:gd name="T1" fmla="*/ 0 h 6"/>
                  <a:gd name="T2" fmla="*/ 3 w 3"/>
                  <a:gd name="T3" fmla="*/ 6 h 6"/>
                  <a:gd name="T4" fmla="*/ 3 w 3"/>
                  <a:gd name="T5" fmla="*/ 6 h 6"/>
                  <a:gd name="T6" fmla="*/ 3 w 3"/>
                  <a:gd name="T7" fmla="*/ 6 h 6"/>
                  <a:gd name="T8" fmla="*/ 1 w 3"/>
                  <a:gd name="T9" fmla="*/ 0 h 6"/>
                </a:gdLst>
                <a:cxnLst>
                  <a:cxn ang="0">
                    <a:pos x="T0" y="T1"/>
                  </a:cxn>
                  <a:cxn ang="0">
                    <a:pos x="T2" y="T3"/>
                  </a:cxn>
                  <a:cxn ang="0">
                    <a:pos x="T4" y="T5"/>
                  </a:cxn>
                  <a:cxn ang="0">
                    <a:pos x="T6" y="T7"/>
                  </a:cxn>
                  <a:cxn ang="0">
                    <a:pos x="T8" y="T9"/>
                  </a:cxn>
                </a:cxnLst>
                <a:rect l="0" t="0" r="r" b="b"/>
                <a:pathLst>
                  <a:path w="3" h="6">
                    <a:moveTo>
                      <a:pt x="1" y="0"/>
                    </a:moveTo>
                    <a:cubicBezTo>
                      <a:pt x="0" y="2"/>
                      <a:pt x="1" y="4"/>
                      <a:pt x="3" y="6"/>
                    </a:cubicBezTo>
                    <a:cubicBezTo>
                      <a:pt x="3" y="6"/>
                      <a:pt x="3" y="6"/>
                      <a:pt x="3" y="6"/>
                    </a:cubicBezTo>
                    <a:cubicBezTo>
                      <a:pt x="3" y="6"/>
                      <a:pt x="3" y="6"/>
                      <a:pt x="3" y="6"/>
                    </a:cubicBezTo>
                    <a:cubicBezTo>
                      <a:pt x="3" y="3"/>
                      <a:pt x="1"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Freeform 36"/>
              <p:cNvSpPr>
                <a:spLocks noEditPoints="1"/>
              </p:cNvSpPr>
              <p:nvPr/>
            </p:nvSpPr>
            <p:spPr bwMode="auto">
              <a:xfrm>
                <a:off x="672" y="3337"/>
                <a:ext cx="10" cy="16"/>
              </a:xfrm>
              <a:custGeom>
                <a:gdLst>
                  <a:gd name="T0" fmla="*/ 2 w 4"/>
                  <a:gd name="T1" fmla="*/ 1 h 7"/>
                  <a:gd name="T2" fmla="*/ 1 w 4"/>
                  <a:gd name="T3" fmla="*/ 5 h 7"/>
                  <a:gd name="T4" fmla="*/ 4 w 4"/>
                  <a:gd name="T5" fmla="*/ 7 h 7"/>
                  <a:gd name="T6" fmla="*/ 2 w 4"/>
                  <a:gd name="T7" fmla="*/ 1 h 7"/>
                  <a:gd name="T8" fmla="*/ 1 w 4"/>
                  <a:gd name="T9" fmla="*/ 0 h 7"/>
                  <a:gd name="T10" fmla="*/ 2 w 4"/>
                  <a:gd name="T11" fmla="*/ 1 h 7"/>
                  <a:gd name="T12" fmla="*/ 1 w 4"/>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4" h="7">
                    <a:moveTo>
                      <a:pt x="2" y="1"/>
                    </a:moveTo>
                    <a:cubicBezTo>
                      <a:pt x="2" y="3"/>
                      <a:pt x="0" y="3"/>
                      <a:pt x="1" y="5"/>
                    </a:cubicBezTo>
                    <a:cubicBezTo>
                      <a:pt x="2" y="6"/>
                      <a:pt x="3" y="6"/>
                      <a:pt x="4" y="7"/>
                    </a:cubicBezTo>
                    <a:cubicBezTo>
                      <a:pt x="4" y="5"/>
                      <a:pt x="3" y="3"/>
                      <a:pt x="2" y="1"/>
                    </a:cubicBezTo>
                    <a:moveTo>
                      <a:pt x="1" y="0"/>
                    </a:moveTo>
                    <a:cubicBezTo>
                      <a:pt x="2" y="1"/>
                      <a:pt x="2" y="1"/>
                      <a:pt x="2" y="1"/>
                    </a:cubicBezTo>
                    <a:cubicBezTo>
                      <a:pt x="2"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Freeform 37"/>
              <p:cNvSpPr/>
              <p:nvPr/>
            </p:nvSpPr>
            <p:spPr bwMode="auto">
              <a:xfrm>
                <a:off x="682" y="3351"/>
                <a:ext cx="11" cy="14"/>
              </a:xfrm>
              <a:custGeom>
                <a:gdLst>
                  <a:gd name="T0" fmla="*/ 2 w 5"/>
                  <a:gd name="T1" fmla="*/ 0 h 6"/>
                  <a:gd name="T2" fmla="*/ 0 w 5"/>
                  <a:gd name="T3" fmla="*/ 2 h 6"/>
                  <a:gd name="T4" fmla="*/ 5 w 5"/>
                  <a:gd name="T5" fmla="*/ 6 h 6"/>
                  <a:gd name="T6" fmla="*/ 2 w 5"/>
                  <a:gd name="T7" fmla="*/ 0 h 6"/>
                </a:gdLst>
                <a:cxnLst>
                  <a:cxn ang="0">
                    <a:pos x="T0" y="T1"/>
                  </a:cxn>
                  <a:cxn ang="0">
                    <a:pos x="T2" y="T3"/>
                  </a:cxn>
                  <a:cxn ang="0">
                    <a:pos x="T4" y="T5"/>
                  </a:cxn>
                  <a:cxn ang="0">
                    <a:pos x="T6" y="T7"/>
                  </a:cxn>
                </a:cxnLst>
                <a:rect l="0" t="0" r="r" b="b"/>
                <a:pathLst>
                  <a:path w="5" h="6">
                    <a:moveTo>
                      <a:pt x="2" y="0"/>
                    </a:moveTo>
                    <a:cubicBezTo>
                      <a:pt x="2" y="0"/>
                      <a:pt x="1" y="0"/>
                      <a:pt x="0" y="2"/>
                    </a:cubicBezTo>
                    <a:cubicBezTo>
                      <a:pt x="2" y="3"/>
                      <a:pt x="3" y="4"/>
                      <a:pt x="5" y="6"/>
                    </a:cubicBezTo>
                    <a:cubicBezTo>
                      <a:pt x="5" y="3"/>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0" name="Freeform 38"/>
              <p:cNvSpPr/>
              <p:nvPr/>
            </p:nvSpPr>
            <p:spPr bwMode="auto">
              <a:xfrm>
                <a:off x="670" y="3346"/>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0"/>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1" name="Freeform 39"/>
              <p:cNvSpPr/>
              <p:nvPr/>
            </p:nvSpPr>
            <p:spPr bwMode="auto">
              <a:xfrm>
                <a:off x="675" y="3351"/>
                <a:ext cx="7" cy="4"/>
              </a:xfrm>
              <a:custGeom>
                <a:gdLst>
                  <a:gd name="T0" fmla="*/ 0 w 3"/>
                  <a:gd name="T1" fmla="*/ 0 h 2"/>
                  <a:gd name="T2" fmla="*/ 3 w 3"/>
                  <a:gd name="T3" fmla="*/ 2 h 2"/>
                  <a:gd name="T4" fmla="*/ 3 w 3"/>
                  <a:gd name="T5" fmla="*/ 2 h 2"/>
                  <a:gd name="T6" fmla="*/ 0 w 3"/>
                  <a:gd name="T7" fmla="*/ 0 h 2"/>
                </a:gdLst>
                <a:cxnLst>
                  <a:cxn ang="0">
                    <a:pos x="T0" y="T1"/>
                  </a:cxn>
                  <a:cxn ang="0">
                    <a:pos x="T2" y="T3"/>
                  </a:cxn>
                  <a:cxn ang="0">
                    <a:pos x="T4" y="T5"/>
                  </a:cxn>
                  <a:cxn ang="0">
                    <a:pos x="T6" y="T7"/>
                  </a:cxn>
                </a:cxnLst>
                <a:rect l="0" t="0" r="r" b="b"/>
                <a:pathLst>
                  <a:path w="3" h="2">
                    <a:moveTo>
                      <a:pt x="0" y="0"/>
                    </a:moveTo>
                    <a:cubicBezTo>
                      <a:pt x="1" y="1"/>
                      <a:pt x="2" y="2"/>
                      <a:pt x="3" y="2"/>
                    </a:cubicBezTo>
                    <a:cubicBezTo>
                      <a:pt x="3" y="2"/>
                      <a:pt x="3"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Freeform 40"/>
              <p:cNvSpPr>
                <a:spLocks noEditPoints="1"/>
              </p:cNvSpPr>
              <p:nvPr/>
            </p:nvSpPr>
            <p:spPr bwMode="auto">
              <a:xfrm>
                <a:off x="5441" y="3743"/>
                <a:ext cx="49" cy="33"/>
              </a:xfrm>
              <a:custGeom>
                <a:gdLst>
                  <a:gd name="T0" fmla="*/ 1 w 21"/>
                  <a:gd name="T1" fmla="*/ 10 h 14"/>
                  <a:gd name="T2" fmla="*/ 1 w 21"/>
                  <a:gd name="T3" fmla="*/ 10 h 14"/>
                  <a:gd name="T4" fmla="*/ 1 w 21"/>
                  <a:gd name="T5" fmla="*/ 10 h 14"/>
                  <a:gd name="T6" fmla="*/ 12 w 21"/>
                  <a:gd name="T7" fmla="*/ 0 h 14"/>
                  <a:gd name="T8" fmla="*/ 7 w 21"/>
                  <a:gd name="T9" fmla="*/ 4 h 14"/>
                  <a:gd name="T10" fmla="*/ 1 w 21"/>
                  <a:gd name="T11" fmla="*/ 10 h 14"/>
                  <a:gd name="T12" fmla="*/ 1 w 21"/>
                  <a:gd name="T13" fmla="*/ 10 h 14"/>
                  <a:gd name="T14" fmla="*/ 2 w 21"/>
                  <a:gd name="T15" fmla="*/ 11 h 14"/>
                  <a:gd name="T16" fmla="*/ 2 w 21"/>
                  <a:gd name="T17" fmla="*/ 12 h 14"/>
                  <a:gd name="T18" fmla="*/ 2 w 21"/>
                  <a:gd name="T19" fmla="*/ 12 h 14"/>
                  <a:gd name="T20" fmla="*/ 8 w 21"/>
                  <a:gd name="T21" fmla="*/ 14 h 14"/>
                  <a:gd name="T22" fmla="*/ 19 w 21"/>
                  <a:gd name="T23" fmla="*/ 11 h 14"/>
                  <a:gd name="T24" fmla="*/ 20 w 21"/>
                  <a:gd name="T25" fmla="*/ 9 h 14"/>
                  <a:gd name="T26" fmla="*/ 19 w 21"/>
                  <a:gd name="T27" fmla="*/ 8 h 14"/>
                  <a:gd name="T28" fmla="*/ 20 w 21"/>
                  <a:gd name="T29" fmla="*/ 7 h 14"/>
                  <a:gd name="T30" fmla="*/ 19 w 21"/>
                  <a:gd name="T31" fmla="*/ 3 h 14"/>
                  <a:gd name="T32" fmla="*/ 13 w 21"/>
                  <a:gd name="T33" fmla="*/ 0 h 14"/>
                  <a:gd name="T34" fmla="*/ 12 w 21"/>
                  <a:gd name="T35"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14">
                    <a:moveTo>
                      <a:pt x="1" y="10"/>
                    </a:moveTo>
                    <a:cubicBezTo>
                      <a:pt x="1" y="10"/>
                      <a:pt x="1" y="10"/>
                      <a:pt x="1" y="10"/>
                    </a:cubicBezTo>
                    <a:cubicBezTo>
                      <a:pt x="1" y="10"/>
                      <a:pt x="1" y="10"/>
                      <a:pt x="1" y="10"/>
                    </a:cubicBezTo>
                    <a:moveTo>
                      <a:pt x="12" y="0"/>
                    </a:moveTo>
                    <a:cubicBezTo>
                      <a:pt x="10" y="0"/>
                      <a:pt x="9" y="2"/>
                      <a:pt x="7" y="4"/>
                    </a:cubicBezTo>
                    <a:cubicBezTo>
                      <a:pt x="5" y="6"/>
                      <a:pt x="0" y="6"/>
                      <a:pt x="1" y="10"/>
                    </a:cubicBezTo>
                    <a:cubicBezTo>
                      <a:pt x="1" y="10"/>
                      <a:pt x="1" y="10"/>
                      <a:pt x="1" y="10"/>
                    </a:cubicBezTo>
                    <a:cubicBezTo>
                      <a:pt x="1" y="10"/>
                      <a:pt x="1" y="11"/>
                      <a:pt x="2" y="11"/>
                    </a:cubicBezTo>
                    <a:cubicBezTo>
                      <a:pt x="2" y="12"/>
                      <a:pt x="2" y="12"/>
                      <a:pt x="2" y="12"/>
                    </a:cubicBezTo>
                    <a:cubicBezTo>
                      <a:pt x="2" y="12"/>
                      <a:pt x="2" y="12"/>
                      <a:pt x="2" y="12"/>
                    </a:cubicBezTo>
                    <a:cubicBezTo>
                      <a:pt x="4" y="14"/>
                      <a:pt x="5" y="14"/>
                      <a:pt x="8" y="14"/>
                    </a:cubicBezTo>
                    <a:cubicBezTo>
                      <a:pt x="11" y="13"/>
                      <a:pt x="16" y="13"/>
                      <a:pt x="19" y="11"/>
                    </a:cubicBezTo>
                    <a:cubicBezTo>
                      <a:pt x="21" y="9"/>
                      <a:pt x="20" y="10"/>
                      <a:pt x="20" y="9"/>
                    </a:cubicBezTo>
                    <a:cubicBezTo>
                      <a:pt x="19" y="8"/>
                      <a:pt x="19" y="8"/>
                      <a:pt x="19" y="8"/>
                    </a:cubicBezTo>
                    <a:cubicBezTo>
                      <a:pt x="20" y="7"/>
                      <a:pt x="20" y="7"/>
                      <a:pt x="20" y="7"/>
                    </a:cubicBezTo>
                    <a:cubicBezTo>
                      <a:pt x="20" y="5"/>
                      <a:pt x="20" y="4"/>
                      <a:pt x="19" y="3"/>
                    </a:cubicBezTo>
                    <a:cubicBezTo>
                      <a:pt x="19" y="2"/>
                      <a:pt x="14" y="0"/>
                      <a:pt x="13" y="0"/>
                    </a:cubicBezTo>
                    <a:cubicBezTo>
                      <a:pt x="13"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Freeform 41"/>
              <p:cNvSpPr/>
              <p:nvPr/>
            </p:nvSpPr>
            <p:spPr bwMode="auto">
              <a:xfrm>
                <a:off x="5469" y="3601"/>
                <a:ext cx="83" cy="88"/>
              </a:xfrm>
              <a:custGeom>
                <a:gdLst>
                  <a:gd name="T0" fmla="*/ 19 w 35"/>
                  <a:gd name="T1" fmla="*/ 0 h 37"/>
                  <a:gd name="T2" fmla="*/ 15 w 35"/>
                  <a:gd name="T3" fmla="*/ 0 h 37"/>
                  <a:gd name="T4" fmla="*/ 0 w 35"/>
                  <a:gd name="T5" fmla="*/ 0 h 37"/>
                  <a:gd name="T6" fmla="*/ 9 w 35"/>
                  <a:gd name="T7" fmla="*/ 12 h 37"/>
                  <a:gd name="T8" fmla="*/ 20 w 35"/>
                  <a:gd name="T9" fmla="*/ 21 h 37"/>
                  <a:gd name="T10" fmla="*/ 18 w 35"/>
                  <a:gd name="T11" fmla="*/ 24 h 37"/>
                  <a:gd name="T12" fmla="*/ 19 w 35"/>
                  <a:gd name="T13" fmla="*/ 30 h 37"/>
                  <a:gd name="T14" fmla="*/ 24 w 35"/>
                  <a:gd name="T15" fmla="*/ 37 h 37"/>
                  <a:gd name="T16" fmla="*/ 25 w 35"/>
                  <a:gd name="T17" fmla="*/ 37 h 37"/>
                  <a:gd name="T18" fmla="*/ 26 w 35"/>
                  <a:gd name="T19" fmla="*/ 37 h 37"/>
                  <a:gd name="T20" fmla="*/ 27 w 35"/>
                  <a:gd name="T21" fmla="*/ 36 h 37"/>
                  <a:gd name="T22" fmla="*/ 27 w 35"/>
                  <a:gd name="T23" fmla="*/ 36 h 37"/>
                  <a:gd name="T24" fmla="*/ 31 w 35"/>
                  <a:gd name="T25" fmla="*/ 37 h 37"/>
                  <a:gd name="T26" fmla="*/ 32 w 35"/>
                  <a:gd name="T27" fmla="*/ 36 h 37"/>
                  <a:gd name="T28" fmla="*/ 33 w 35"/>
                  <a:gd name="T29" fmla="*/ 36 h 37"/>
                  <a:gd name="T30" fmla="*/ 34 w 35"/>
                  <a:gd name="T31" fmla="*/ 36 h 37"/>
                  <a:gd name="T32" fmla="*/ 35 w 35"/>
                  <a:gd name="T33" fmla="*/ 36 h 37"/>
                  <a:gd name="T34" fmla="*/ 32 w 35"/>
                  <a:gd name="T35" fmla="*/ 34 h 37"/>
                  <a:gd name="T36" fmla="*/ 34 w 35"/>
                  <a:gd name="T37" fmla="*/ 31 h 37"/>
                  <a:gd name="T38" fmla="*/ 32 w 35"/>
                  <a:gd name="T39" fmla="*/ 20 h 37"/>
                  <a:gd name="T40" fmla="*/ 31 w 35"/>
                  <a:gd name="T41" fmla="*/ 10 h 37"/>
                  <a:gd name="T42" fmla="*/ 31 w 35"/>
                  <a:gd name="T43" fmla="*/ 10 h 37"/>
                  <a:gd name="T44" fmla="*/ 28 w 35"/>
                  <a:gd name="T45" fmla="*/ 8 h 37"/>
                  <a:gd name="T46" fmla="*/ 26 w 35"/>
                  <a:gd name="T47" fmla="*/ 5 h 37"/>
                  <a:gd name="T48" fmla="*/ 27 w 35"/>
                  <a:gd name="T49" fmla="*/ 4 h 37"/>
                  <a:gd name="T50" fmla="*/ 23 w 35"/>
                  <a:gd name="T51" fmla="*/ 0 h 37"/>
                  <a:gd name="T52" fmla="*/ 19 w 35"/>
                  <a:gd name="T53"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7">
                    <a:moveTo>
                      <a:pt x="19" y="0"/>
                    </a:moveTo>
                    <a:cubicBezTo>
                      <a:pt x="18" y="0"/>
                      <a:pt x="16" y="0"/>
                      <a:pt x="15" y="0"/>
                    </a:cubicBezTo>
                    <a:cubicBezTo>
                      <a:pt x="10" y="0"/>
                      <a:pt x="5" y="0"/>
                      <a:pt x="0" y="0"/>
                    </a:cubicBezTo>
                    <a:cubicBezTo>
                      <a:pt x="2" y="7"/>
                      <a:pt x="4" y="8"/>
                      <a:pt x="9" y="12"/>
                    </a:cubicBezTo>
                    <a:cubicBezTo>
                      <a:pt x="12" y="15"/>
                      <a:pt x="17" y="18"/>
                      <a:pt x="20" y="21"/>
                    </a:cubicBezTo>
                    <a:cubicBezTo>
                      <a:pt x="18" y="22"/>
                      <a:pt x="19" y="22"/>
                      <a:pt x="18" y="24"/>
                    </a:cubicBezTo>
                    <a:cubicBezTo>
                      <a:pt x="18" y="26"/>
                      <a:pt x="18" y="28"/>
                      <a:pt x="19" y="30"/>
                    </a:cubicBezTo>
                    <a:cubicBezTo>
                      <a:pt x="21" y="32"/>
                      <a:pt x="22" y="34"/>
                      <a:pt x="24" y="37"/>
                    </a:cubicBezTo>
                    <a:cubicBezTo>
                      <a:pt x="24" y="37"/>
                      <a:pt x="24" y="37"/>
                      <a:pt x="25" y="37"/>
                    </a:cubicBezTo>
                    <a:cubicBezTo>
                      <a:pt x="25" y="37"/>
                      <a:pt x="25" y="37"/>
                      <a:pt x="26" y="37"/>
                    </a:cubicBezTo>
                    <a:cubicBezTo>
                      <a:pt x="26" y="36"/>
                      <a:pt x="26" y="36"/>
                      <a:pt x="27" y="36"/>
                    </a:cubicBezTo>
                    <a:cubicBezTo>
                      <a:pt x="27" y="36"/>
                      <a:pt x="27" y="36"/>
                      <a:pt x="27" y="36"/>
                    </a:cubicBezTo>
                    <a:cubicBezTo>
                      <a:pt x="28" y="36"/>
                      <a:pt x="31" y="36"/>
                      <a:pt x="31" y="37"/>
                    </a:cubicBezTo>
                    <a:cubicBezTo>
                      <a:pt x="31" y="36"/>
                      <a:pt x="32" y="36"/>
                      <a:pt x="32" y="36"/>
                    </a:cubicBezTo>
                    <a:cubicBezTo>
                      <a:pt x="32" y="36"/>
                      <a:pt x="32" y="36"/>
                      <a:pt x="33" y="36"/>
                    </a:cubicBezTo>
                    <a:cubicBezTo>
                      <a:pt x="33" y="36"/>
                      <a:pt x="33" y="36"/>
                      <a:pt x="34" y="36"/>
                    </a:cubicBezTo>
                    <a:cubicBezTo>
                      <a:pt x="34" y="36"/>
                      <a:pt x="34" y="36"/>
                      <a:pt x="35" y="36"/>
                    </a:cubicBezTo>
                    <a:cubicBezTo>
                      <a:pt x="34" y="35"/>
                      <a:pt x="33" y="35"/>
                      <a:pt x="32" y="34"/>
                    </a:cubicBezTo>
                    <a:cubicBezTo>
                      <a:pt x="33" y="33"/>
                      <a:pt x="34" y="32"/>
                      <a:pt x="34" y="31"/>
                    </a:cubicBezTo>
                    <a:cubicBezTo>
                      <a:pt x="35" y="28"/>
                      <a:pt x="33" y="22"/>
                      <a:pt x="32" y="20"/>
                    </a:cubicBezTo>
                    <a:cubicBezTo>
                      <a:pt x="32" y="18"/>
                      <a:pt x="30" y="11"/>
                      <a:pt x="31" y="10"/>
                    </a:cubicBezTo>
                    <a:cubicBezTo>
                      <a:pt x="31" y="10"/>
                      <a:pt x="31" y="10"/>
                      <a:pt x="31" y="10"/>
                    </a:cubicBezTo>
                    <a:cubicBezTo>
                      <a:pt x="30" y="9"/>
                      <a:pt x="29" y="9"/>
                      <a:pt x="28" y="8"/>
                    </a:cubicBezTo>
                    <a:cubicBezTo>
                      <a:pt x="25" y="7"/>
                      <a:pt x="27" y="7"/>
                      <a:pt x="26" y="5"/>
                    </a:cubicBezTo>
                    <a:cubicBezTo>
                      <a:pt x="26" y="4"/>
                      <a:pt x="27" y="4"/>
                      <a:pt x="27" y="4"/>
                    </a:cubicBezTo>
                    <a:cubicBezTo>
                      <a:pt x="26" y="3"/>
                      <a:pt x="25" y="1"/>
                      <a:pt x="23" y="0"/>
                    </a:cubicBezTo>
                    <a:cubicBezTo>
                      <a:pt x="22" y="0"/>
                      <a:pt x="21"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Freeform 42"/>
              <p:cNvSpPr/>
              <p:nvPr/>
            </p:nvSpPr>
            <p:spPr bwMode="auto">
              <a:xfrm>
                <a:off x="5471" y="3663"/>
                <a:ext cx="57" cy="87"/>
              </a:xfrm>
              <a:custGeom>
                <a:gdLst>
                  <a:gd name="T0" fmla="*/ 0 w 24"/>
                  <a:gd name="T1" fmla="*/ 0 h 37"/>
                  <a:gd name="T2" fmla="*/ 2 w 24"/>
                  <a:gd name="T3" fmla="*/ 6 h 37"/>
                  <a:gd name="T4" fmla="*/ 2 w 24"/>
                  <a:gd name="T5" fmla="*/ 12 h 37"/>
                  <a:gd name="T6" fmla="*/ 3 w 24"/>
                  <a:gd name="T7" fmla="*/ 15 h 37"/>
                  <a:gd name="T8" fmla="*/ 3 w 24"/>
                  <a:gd name="T9" fmla="*/ 15 h 37"/>
                  <a:gd name="T10" fmla="*/ 4 w 24"/>
                  <a:gd name="T11" fmla="*/ 16 h 37"/>
                  <a:gd name="T12" fmla="*/ 6 w 24"/>
                  <a:gd name="T13" fmla="*/ 15 h 37"/>
                  <a:gd name="T14" fmla="*/ 8 w 24"/>
                  <a:gd name="T15" fmla="*/ 13 h 37"/>
                  <a:gd name="T16" fmla="*/ 8 w 24"/>
                  <a:gd name="T17" fmla="*/ 13 h 37"/>
                  <a:gd name="T18" fmla="*/ 12 w 24"/>
                  <a:gd name="T19" fmla="*/ 34 h 37"/>
                  <a:gd name="T20" fmla="*/ 18 w 24"/>
                  <a:gd name="T21" fmla="*/ 37 h 37"/>
                  <a:gd name="T22" fmla="*/ 18 w 24"/>
                  <a:gd name="T23" fmla="*/ 29 h 37"/>
                  <a:gd name="T24" fmla="*/ 21 w 24"/>
                  <a:gd name="T25" fmla="*/ 34 h 37"/>
                  <a:gd name="T26" fmla="*/ 24 w 24"/>
                  <a:gd name="T27" fmla="*/ 29 h 37"/>
                  <a:gd name="T28" fmla="*/ 21 w 24"/>
                  <a:gd name="T29" fmla="*/ 22 h 37"/>
                  <a:gd name="T30" fmla="*/ 17 w 24"/>
                  <a:gd name="T31" fmla="*/ 3 h 37"/>
                  <a:gd name="T32" fmla="*/ 9 w 24"/>
                  <a:gd name="T33" fmla="*/ 5 h 37"/>
                  <a:gd name="T34" fmla="*/ 7 w 24"/>
                  <a:gd name="T35" fmla="*/ 5 h 37"/>
                  <a:gd name="T36" fmla="*/ 0 w 24"/>
                  <a:gd name="T37"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37">
                    <a:moveTo>
                      <a:pt x="0" y="0"/>
                    </a:moveTo>
                    <a:cubicBezTo>
                      <a:pt x="1" y="2"/>
                      <a:pt x="2" y="5"/>
                      <a:pt x="2" y="6"/>
                    </a:cubicBezTo>
                    <a:cubicBezTo>
                      <a:pt x="3" y="8"/>
                      <a:pt x="2" y="10"/>
                      <a:pt x="2" y="12"/>
                    </a:cubicBezTo>
                    <a:cubicBezTo>
                      <a:pt x="2" y="13"/>
                      <a:pt x="2" y="15"/>
                      <a:pt x="3" y="15"/>
                    </a:cubicBezTo>
                    <a:cubicBezTo>
                      <a:pt x="3" y="15"/>
                      <a:pt x="3" y="15"/>
                      <a:pt x="3" y="15"/>
                    </a:cubicBezTo>
                    <a:cubicBezTo>
                      <a:pt x="4" y="16"/>
                      <a:pt x="4" y="16"/>
                      <a:pt x="4" y="16"/>
                    </a:cubicBezTo>
                    <a:cubicBezTo>
                      <a:pt x="5" y="16"/>
                      <a:pt x="5" y="15"/>
                      <a:pt x="6" y="15"/>
                    </a:cubicBezTo>
                    <a:cubicBezTo>
                      <a:pt x="7" y="14"/>
                      <a:pt x="7" y="13"/>
                      <a:pt x="8" y="13"/>
                    </a:cubicBezTo>
                    <a:cubicBezTo>
                      <a:pt x="8" y="13"/>
                      <a:pt x="8" y="13"/>
                      <a:pt x="8" y="13"/>
                    </a:cubicBezTo>
                    <a:cubicBezTo>
                      <a:pt x="14" y="14"/>
                      <a:pt x="12" y="31"/>
                      <a:pt x="12" y="34"/>
                    </a:cubicBezTo>
                    <a:cubicBezTo>
                      <a:pt x="14" y="35"/>
                      <a:pt x="16" y="36"/>
                      <a:pt x="18" y="37"/>
                    </a:cubicBezTo>
                    <a:cubicBezTo>
                      <a:pt x="18" y="34"/>
                      <a:pt x="17" y="32"/>
                      <a:pt x="18" y="29"/>
                    </a:cubicBezTo>
                    <a:cubicBezTo>
                      <a:pt x="19" y="30"/>
                      <a:pt x="20" y="32"/>
                      <a:pt x="21" y="34"/>
                    </a:cubicBezTo>
                    <a:cubicBezTo>
                      <a:pt x="22" y="32"/>
                      <a:pt x="24" y="31"/>
                      <a:pt x="24" y="29"/>
                    </a:cubicBezTo>
                    <a:cubicBezTo>
                      <a:pt x="24" y="28"/>
                      <a:pt x="22" y="23"/>
                      <a:pt x="21" y="22"/>
                    </a:cubicBezTo>
                    <a:cubicBezTo>
                      <a:pt x="16" y="17"/>
                      <a:pt x="17" y="10"/>
                      <a:pt x="17" y="3"/>
                    </a:cubicBezTo>
                    <a:cubicBezTo>
                      <a:pt x="15" y="4"/>
                      <a:pt x="12" y="5"/>
                      <a:pt x="9" y="5"/>
                    </a:cubicBezTo>
                    <a:cubicBezTo>
                      <a:pt x="8" y="5"/>
                      <a:pt x="7" y="5"/>
                      <a:pt x="7" y="5"/>
                    </a:cubicBezTo>
                    <a:cubicBezTo>
                      <a:pt x="4" y="4"/>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43"/>
              <p:cNvSpPr/>
              <p:nvPr/>
            </p:nvSpPr>
            <p:spPr bwMode="auto">
              <a:xfrm>
                <a:off x="5200" y="3242"/>
                <a:ext cx="267" cy="359"/>
              </a:xfrm>
              <a:custGeom>
                <a:gdLst>
                  <a:gd name="T0" fmla="*/ 28 w 113"/>
                  <a:gd name="T1" fmla="*/ 1 h 152"/>
                  <a:gd name="T2" fmla="*/ 27 w 113"/>
                  <a:gd name="T3" fmla="*/ 1 h 152"/>
                  <a:gd name="T4" fmla="*/ 25 w 113"/>
                  <a:gd name="T5" fmla="*/ 1 h 152"/>
                  <a:gd name="T6" fmla="*/ 22 w 113"/>
                  <a:gd name="T7" fmla="*/ 8 h 152"/>
                  <a:gd name="T8" fmla="*/ 20 w 113"/>
                  <a:gd name="T9" fmla="*/ 41 h 152"/>
                  <a:gd name="T10" fmla="*/ 19 w 113"/>
                  <a:gd name="T11" fmla="*/ 63 h 152"/>
                  <a:gd name="T12" fmla="*/ 15 w 113"/>
                  <a:gd name="T13" fmla="*/ 65 h 152"/>
                  <a:gd name="T14" fmla="*/ 7 w 113"/>
                  <a:gd name="T15" fmla="*/ 56 h 152"/>
                  <a:gd name="T16" fmla="*/ 7 w 113"/>
                  <a:gd name="T17" fmla="*/ 74 h 152"/>
                  <a:gd name="T18" fmla="*/ 13 w 113"/>
                  <a:gd name="T19" fmla="*/ 96 h 152"/>
                  <a:gd name="T20" fmla="*/ 19 w 113"/>
                  <a:gd name="T21" fmla="*/ 101 h 152"/>
                  <a:gd name="T22" fmla="*/ 20 w 113"/>
                  <a:gd name="T23" fmla="*/ 105 h 152"/>
                  <a:gd name="T24" fmla="*/ 23 w 113"/>
                  <a:gd name="T25" fmla="*/ 95 h 152"/>
                  <a:gd name="T26" fmla="*/ 34 w 113"/>
                  <a:gd name="T27" fmla="*/ 95 h 152"/>
                  <a:gd name="T28" fmla="*/ 34 w 113"/>
                  <a:gd name="T29" fmla="*/ 108 h 152"/>
                  <a:gd name="T30" fmla="*/ 24 w 113"/>
                  <a:gd name="T31" fmla="*/ 111 h 152"/>
                  <a:gd name="T32" fmla="*/ 28 w 113"/>
                  <a:gd name="T33" fmla="*/ 118 h 152"/>
                  <a:gd name="T34" fmla="*/ 31 w 113"/>
                  <a:gd name="T35" fmla="*/ 123 h 152"/>
                  <a:gd name="T36" fmla="*/ 40 w 113"/>
                  <a:gd name="T37" fmla="*/ 126 h 152"/>
                  <a:gd name="T38" fmla="*/ 46 w 113"/>
                  <a:gd name="T39" fmla="*/ 120 h 152"/>
                  <a:gd name="T40" fmla="*/ 57 w 113"/>
                  <a:gd name="T41" fmla="*/ 120 h 152"/>
                  <a:gd name="T42" fmla="*/ 66 w 113"/>
                  <a:gd name="T43" fmla="*/ 127 h 152"/>
                  <a:gd name="T44" fmla="*/ 66 w 113"/>
                  <a:gd name="T45" fmla="*/ 127 h 152"/>
                  <a:gd name="T46" fmla="*/ 71 w 113"/>
                  <a:gd name="T47" fmla="*/ 124 h 152"/>
                  <a:gd name="T48" fmla="*/ 71 w 113"/>
                  <a:gd name="T49" fmla="*/ 118 h 152"/>
                  <a:gd name="T50" fmla="*/ 88 w 113"/>
                  <a:gd name="T51" fmla="*/ 132 h 152"/>
                  <a:gd name="T52" fmla="*/ 97 w 113"/>
                  <a:gd name="T53" fmla="*/ 142 h 152"/>
                  <a:gd name="T54" fmla="*/ 105 w 113"/>
                  <a:gd name="T55" fmla="*/ 143 h 152"/>
                  <a:gd name="T56" fmla="*/ 106 w 113"/>
                  <a:gd name="T57" fmla="*/ 142 h 152"/>
                  <a:gd name="T58" fmla="*/ 108 w 113"/>
                  <a:gd name="T59" fmla="*/ 142 h 152"/>
                  <a:gd name="T60" fmla="*/ 106 w 113"/>
                  <a:gd name="T61" fmla="*/ 145 h 152"/>
                  <a:gd name="T62" fmla="*/ 105 w 113"/>
                  <a:gd name="T63" fmla="*/ 145 h 152"/>
                  <a:gd name="T64" fmla="*/ 104 w 113"/>
                  <a:gd name="T65" fmla="*/ 145 h 152"/>
                  <a:gd name="T66" fmla="*/ 112 w 113"/>
                  <a:gd name="T67" fmla="*/ 140 h 152"/>
                  <a:gd name="T68" fmla="*/ 106 w 113"/>
                  <a:gd name="T69" fmla="*/ 138 h 152"/>
                  <a:gd name="T70" fmla="*/ 105 w 113"/>
                  <a:gd name="T71" fmla="*/ 135 h 152"/>
                  <a:gd name="T72" fmla="*/ 97 w 113"/>
                  <a:gd name="T73" fmla="*/ 123 h 152"/>
                  <a:gd name="T74" fmla="*/ 101 w 113"/>
                  <a:gd name="T75" fmla="*/ 123 h 152"/>
                  <a:gd name="T76" fmla="*/ 104 w 113"/>
                  <a:gd name="T77" fmla="*/ 123 h 152"/>
                  <a:gd name="T78" fmla="*/ 107 w 113"/>
                  <a:gd name="T79" fmla="*/ 123 h 152"/>
                  <a:gd name="T80" fmla="*/ 92 w 113"/>
                  <a:gd name="T81" fmla="*/ 114 h 152"/>
                  <a:gd name="T82" fmla="*/ 91 w 113"/>
                  <a:gd name="T83" fmla="*/ 120 h 152"/>
                  <a:gd name="T84" fmla="*/ 84 w 113"/>
                  <a:gd name="T85" fmla="*/ 115 h 152"/>
                  <a:gd name="T86" fmla="*/ 73 w 113"/>
                  <a:gd name="T87" fmla="*/ 107 h 152"/>
                  <a:gd name="T88" fmla="*/ 65 w 113"/>
                  <a:gd name="T89" fmla="*/ 117 h 152"/>
                  <a:gd name="T90" fmla="*/ 64 w 113"/>
                  <a:gd name="T91" fmla="*/ 119 h 152"/>
                  <a:gd name="T92" fmla="*/ 52 w 113"/>
                  <a:gd name="T93" fmla="*/ 108 h 152"/>
                  <a:gd name="T94" fmla="*/ 48 w 113"/>
                  <a:gd name="T95" fmla="*/ 91 h 152"/>
                  <a:gd name="T96" fmla="*/ 50 w 113"/>
                  <a:gd name="T97" fmla="*/ 72 h 152"/>
                  <a:gd name="T98" fmla="*/ 49 w 113"/>
                  <a:gd name="T99" fmla="*/ 72 h 152"/>
                  <a:gd name="T100" fmla="*/ 48 w 113"/>
                  <a:gd name="T101" fmla="*/ 72 h 152"/>
                  <a:gd name="T102" fmla="*/ 60 w 113"/>
                  <a:gd name="T103" fmla="*/ 64 h 152"/>
                  <a:gd name="T104" fmla="*/ 71 w 113"/>
                  <a:gd name="T105" fmla="*/ 40 h 152"/>
                  <a:gd name="T106" fmla="*/ 64 w 113"/>
                  <a:gd name="T107" fmla="*/ 27 h 152"/>
                  <a:gd name="T108" fmla="*/ 65 w 113"/>
                  <a:gd name="T109" fmla="*/ 2 h 152"/>
                  <a:gd name="T110" fmla="*/ 57 w 113"/>
                  <a:gd name="T111" fmla="*/ 8 h 152"/>
                  <a:gd name="T112" fmla="*/ 54 w 113"/>
                  <a:gd name="T113" fmla="*/ 8 h 152"/>
                  <a:gd name="T114" fmla="*/ 34 w 113"/>
                  <a:gd name="T115" fmla="*/ 0 h 1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52">
                    <a:moveTo>
                      <a:pt x="34" y="0"/>
                    </a:moveTo>
                    <a:cubicBezTo>
                      <a:pt x="32" y="1"/>
                      <a:pt x="30" y="1"/>
                      <a:pt x="28" y="1"/>
                    </a:cubicBezTo>
                    <a:cubicBezTo>
                      <a:pt x="28" y="1"/>
                      <a:pt x="28" y="1"/>
                      <a:pt x="28" y="1"/>
                    </a:cubicBezTo>
                    <a:cubicBezTo>
                      <a:pt x="28" y="1"/>
                      <a:pt x="27" y="1"/>
                      <a:pt x="27" y="1"/>
                    </a:cubicBezTo>
                    <a:cubicBezTo>
                      <a:pt x="26" y="1"/>
                      <a:pt x="26" y="1"/>
                      <a:pt x="26" y="1"/>
                    </a:cubicBezTo>
                    <a:cubicBezTo>
                      <a:pt x="25" y="1"/>
                      <a:pt x="25" y="1"/>
                      <a:pt x="25" y="1"/>
                    </a:cubicBezTo>
                    <a:cubicBezTo>
                      <a:pt x="25" y="1"/>
                      <a:pt x="24" y="2"/>
                      <a:pt x="24" y="2"/>
                    </a:cubicBezTo>
                    <a:cubicBezTo>
                      <a:pt x="23" y="3"/>
                      <a:pt x="23" y="7"/>
                      <a:pt x="22" y="8"/>
                    </a:cubicBezTo>
                    <a:cubicBezTo>
                      <a:pt x="22" y="11"/>
                      <a:pt x="20" y="15"/>
                      <a:pt x="20" y="18"/>
                    </a:cubicBezTo>
                    <a:cubicBezTo>
                      <a:pt x="20" y="25"/>
                      <a:pt x="20" y="33"/>
                      <a:pt x="20" y="41"/>
                    </a:cubicBezTo>
                    <a:cubicBezTo>
                      <a:pt x="20" y="43"/>
                      <a:pt x="18" y="49"/>
                      <a:pt x="17" y="50"/>
                    </a:cubicBezTo>
                    <a:cubicBezTo>
                      <a:pt x="17" y="54"/>
                      <a:pt x="21" y="60"/>
                      <a:pt x="19" y="63"/>
                    </a:cubicBezTo>
                    <a:cubicBezTo>
                      <a:pt x="18" y="64"/>
                      <a:pt x="16" y="65"/>
                      <a:pt x="15" y="65"/>
                    </a:cubicBezTo>
                    <a:cubicBezTo>
                      <a:pt x="15" y="65"/>
                      <a:pt x="15" y="65"/>
                      <a:pt x="15" y="65"/>
                    </a:cubicBezTo>
                    <a:cubicBezTo>
                      <a:pt x="12" y="64"/>
                      <a:pt x="7" y="60"/>
                      <a:pt x="7" y="58"/>
                    </a:cubicBezTo>
                    <a:cubicBezTo>
                      <a:pt x="8" y="56"/>
                      <a:pt x="8" y="56"/>
                      <a:pt x="7" y="56"/>
                    </a:cubicBezTo>
                    <a:cubicBezTo>
                      <a:pt x="7" y="56"/>
                      <a:pt x="7" y="56"/>
                      <a:pt x="6" y="56"/>
                    </a:cubicBezTo>
                    <a:cubicBezTo>
                      <a:pt x="0" y="57"/>
                      <a:pt x="7" y="71"/>
                      <a:pt x="7" y="74"/>
                    </a:cubicBezTo>
                    <a:cubicBezTo>
                      <a:pt x="9" y="81"/>
                      <a:pt x="10" y="89"/>
                      <a:pt x="12" y="96"/>
                    </a:cubicBezTo>
                    <a:cubicBezTo>
                      <a:pt x="12" y="96"/>
                      <a:pt x="12" y="96"/>
                      <a:pt x="13" y="96"/>
                    </a:cubicBezTo>
                    <a:cubicBezTo>
                      <a:pt x="14" y="96"/>
                      <a:pt x="15" y="96"/>
                      <a:pt x="17" y="96"/>
                    </a:cubicBezTo>
                    <a:cubicBezTo>
                      <a:pt x="14" y="100"/>
                      <a:pt x="18" y="99"/>
                      <a:pt x="19" y="101"/>
                    </a:cubicBezTo>
                    <a:cubicBezTo>
                      <a:pt x="19" y="102"/>
                      <a:pt x="18" y="103"/>
                      <a:pt x="19" y="103"/>
                    </a:cubicBezTo>
                    <a:cubicBezTo>
                      <a:pt x="19" y="104"/>
                      <a:pt x="19" y="105"/>
                      <a:pt x="20" y="105"/>
                    </a:cubicBezTo>
                    <a:cubicBezTo>
                      <a:pt x="21" y="105"/>
                      <a:pt x="21" y="105"/>
                      <a:pt x="22" y="105"/>
                    </a:cubicBezTo>
                    <a:cubicBezTo>
                      <a:pt x="25" y="105"/>
                      <a:pt x="23" y="98"/>
                      <a:pt x="23" y="95"/>
                    </a:cubicBezTo>
                    <a:cubicBezTo>
                      <a:pt x="25" y="96"/>
                      <a:pt x="27" y="97"/>
                      <a:pt x="29" y="98"/>
                    </a:cubicBezTo>
                    <a:cubicBezTo>
                      <a:pt x="30" y="96"/>
                      <a:pt x="32" y="95"/>
                      <a:pt x="34" y="95"/>
                    </a:cubicBezTo>
                    <a:cubicBezTo>
                      <a:pt x="38" y="95"/>
                      <a:pt x="41" y="98"/>
                      <a:pt x="41" y="101"/>
                    </a:cubicBezTo>
                    <a:cubicBezTo>
                      <a:pt x="41" y="105"/>
                      <a:pt x="38" y="108"/>
                      <a:pt x="34" y="108"/>
                    </a:cubicBezTo>
                    <a:cubicBezTo>
                      <a:pt x="32" y="108"/>
                      <a:pt x="31" y="107"/>
                      <a:pt x="30" y="106"/>
                    </a:cubicBezTo>
                    <a:cubicBezTo>
                      <a:pt x="27" y="108"/>
                      <a:pt x="24" y="110"/>
                      <a:pt x="24" y="111"/>
                    </a:cubicBezTo>
                    <a:cubicBezTo>
                      <a:pt x="25" y="115"/>
                      <a:pt x="25" y="118"/>
                      <a:pt x="26" y="122"/>
                    </a:cubicBezTo>
                    <a:cubicBezTo>
                      <a:pt x="27" y="120"/>
                      <a:pt x="27" y="118"/>
                      <a:pt x="28" y="118"/>
                    </a:cubicBezTo>
                    <a:cubicBezTo>
                      <a:pt x="28" y="118"/>
                      <a:pt x="29" y="119"/>
                      <a:pt x="32" y="121"/>
                    </a:cubicBezTo>
                    <a:cubicBezTo>
                      <a:pt x="33" y="122"/>
                      <a:pt x="31" y="123"/>
                      <a:pt x="31" y="123"/>
                    </a:cubicBezTo>
                    <a:cubicBezTo>
                      <a:pt x="32" y="124"/>
                      <a:pt x="35" y="126"/>
                      <a:pt x="37" y="126"/>
                    </a:cubicBezTo>
                    <a:cubicBezTo>
                      <a:pt x="38" y="126"/>
                      <a:pt x="39" y="126"/>
                      <a:pt x="40" y="126"/>
                    </a:cubicBezTo>
                    <a:cubicBezTo>
                      <a:pt x="40" y="126"/>
                      <a:pt x="41" y="126"/>
                      <a:pt x="41" y="126"/>
                    </a:cubicBezTo>
                    <a:cubicBezTo>
                      <a:pt x="43" y="125"/>
                      <a:pt x="44" y="121"/>
                      <a:pt x="46" y="120"/>
                    </a:cubicBezTo>
                    <a:cubicBezTo>
                      <a:pt x="49" y="119"/>
                      <a:pt x="50" y="118"/>
                      <a:pt x="52" y="118"/>
                    </a:cubicBezTo>
                    <a:cubicBezTo>
                      <a:pt x="53" y="118"/>
                      <a:pt x="54" y="119"/>
                      <a:pt x="57" y="120"/>
                    </a:cubicBezTo>
                    <a:cubicBezTo>
                      <a:pt x="58" y="121"/>
                      <a:pt x="60" y="121"/>
                      <a:pt x="61" y="122"/>
                    </a:cubicBezTo>
                    <a:cubicBezTo>
                      <a:pt x="63" y="124"/>
                      <a:pt x="63" y="127"/>
                      <a:pt x="66" y="127"/>
                    </a:cubicBezTo>
                    <a:cubicBezTo>
                      <a:pt x="66" y="127"/>
                      <a:pt x="66" y="127"/>
                      <a:pt x="66" y="127"/>
                    </a:cubicBezTo>
                    <a:cubicBezTo>
                      <a:pt x="66" y="127"/>
                      <a:pt x="66" y="127"/>
                      <a:pt x="66" y="127"/>
                    </a:cubicBezTo>
                    <a:cubicBezTo>
                      <a:pt x="71" y="127"/>
                      <a:pt x="71" y="135"/>
                      <a:pt x="73" y="137"/>
                    </a:cubicBezTo>
                    <a:cubicBezTo>
                      <a:pt x="73" y="133"/>
                      <a:pt x="72" y="128"/>
                      <a:pt x="71" y="124"/>
                    </a:cubicBezTo>
                    <a:cubicBezTo>
                      <a:pt x="71" y="122"/>
                      <a:pt x="71" y="119"/>
                      <a:pt x="69" y="118"/>
                    </a:cubicBezTo>
                    <a:cubicBezTo>
                      <a:pt x="70" y="118"/>
                      <a:pt x="71" y="118"/>
                      <a:pt x="71" y="118"/>
                    </a:cubicBezTo>
                    <a:cubicBezTo>
                      <a:pt x="73" y="118"/>
                      <a:pt x="74" y="119"/>
                      <a:pt x="76" y="121"/>
                    </a:cubicBezTo>
                    <a:cubicBezTo>
                      <a:pt x="80" y="125"/>
                      <a:pt x="84" y="129"/>
                      <a:pt x="88" y="132"/>
                    </a:cubicBezTo>
                    <a:cubicBezTo>
                      <a:pt x="91" y="135"/>
                      <a:pt x="91" y="135"/>
                      <a:pt x="91" y="139"/>
                    </a:cubicBezTo>
                    <a:cubicBezTo>
                      <a:pt x="90" y="141"/>
                      <a:pt x="95" y="142"/>
                      <a:pt x="97" y="142"/>
                    </a:cubicBezTo>
                    <a:cubicBezTo>
                      <a:pt x="99" y="143"/>
                      <a:pt x="101" y="143"/>
                      <a:pt x="103" y="143"/>
                    </a:cubicBezTo>
                    <a:cubicBezTo>
                      <a:pt x="103" y="143"/>
                      <a:pt x="104" y="143"/>
                      <a:pt x="105" y="143"/>
                    </a:cubicBezTo>
                    <a:cubicBezTo>
                      <a:pt x="105" y="143"/>
                      <a:pt x="105" y="142"/>
                      <a:pt x="106" y="142"/>
                    </a:cubicBezTo>
                    <a:cubicBezTo>
                      <a:pt x="106" y="142"/>
                      <a:pt x="106" y="142"/>
                      <a:pt x="106" y="142"/>
                    </a:cubicBezTo>
                    <a:cubicBezTo>
                      <a:pt x="106" y="142"/>
                      <a:pt x="107" y="142"/>
                      <a:pt x="107" y="142"/>
                    </a:cubicBezTo>
                    <a:cubicBezTo>
                      <a:pt x="107" y="142"/>
                      <a:pt x="108" y="142"/>
                      <a:pt x="108" y="142"/>
                    </a:cubicBezTo>
                    <a:cubicBezTo>
                      <a:pt x="108" y="142"/>
                      <a:pt x="108" y="142"/>
                      <a:pt x="108" y="142"/>
                    </a:cubicBezTo>
                    <a:cubicBezTo>
                      <a:pt x="108" y="143"/>
                      <a:pt x="107" y="144"/>
                      <a:pt x="106" y="145"/>
                    </a:cubicBezTo>
                    <a:cubicBezTo>
                      <a:pt x="106" y="145"/>
                      <a:pt x="106" y="145"/>
                      <a:pt x="106" y="145"/>
                    </a:cubicBezTo>
                    <a:cubicBezTo>
                      <a:pt x="106" y="145"/>
                      <a:pt x="105" y="145"/>
                      <a:pt x="105" y="145"/>
                    </a:cubicBezTo>
                    <a:cubicBezTo>
                      <a:pt x="105" y="145"/>
                      <a:pt x="105" y="145"/>
                      <a:pt x="105" y="145"/>
                    </a:cubicBezTo>
                    <a:cubicBezTo>
                      <a:pt x="105" y="145"/>
                      <a:pt x="104" y="145"/>
                      <a:pt x="104" y="145"/>
                    </a:cubicBezTo>
                    <a:cubicBezTo>
                      <a:pt x="103" y="148"/>
                      <a:pt x="109" y="151"/>
                      <a:pt x="110" y="152"/>
                    </a:cubicBezTo>
                    <a:cubicBezTo>
                      <a:pt x="111" y="151"/>
                      <a:pt x="113" y="140"/>
                      <a:pt x="112" y="140"/>
                    </a:cubicBezTo>
                    <a:cubicBezTo>
                      <a:pt x="111" y="139"/>
                      <a:pt x="109" y="138"/>
                      <a:pt x="107" y="138"/>
                    </a:cubicBezTo>
                    <a:cubicBezTo>
                      <a:pt x="107" y="138"/>
                      <a:pt x="106" y="138"/>
                      <a:pt x="106" y="138"/>
                    </a:cubicBezTo>
                    <a:cubicBezTo>
                      <a:pt x="103" y="140"/>
                      <a:pt x="103" y="140"/>
                      <a:pt x="103" y="140"/>
                    </a:cubicBezTo>
                    <a:cubicBezTo>
                      <a:pt x="101" y="139"/>
                      <a:pt x="103" y="135"/>
                      <a:pt x="105" y="135"/>
                    </a:cubicBezTo>
                    <a:cubicBezTo>
                      <a:pt x="105" y="135"/>
                      <a:pt x="105" y="135"/>
                      <a:pt x="105" y="135"/>
                    </a:cubicBezTo>
                    <a:cubicBezTo>
                      <a:pt x="103" y="134"/>
                      <a:pt x="95" y="126"/>
                      <a:pt x="97" y="123"/>
                    </a:cubicBezTo>
                    <a:cubicBezTo>
                      <a:pt x="98" y="123"/>
                      <a:pt x="98" y="123"/>
                      <a:pt x="99" y="123"/>
                    </a:cubicBezTo>
                    <a:cubicBezTo>
                      <a:pt x="99" y="123"/>
                      <a:pt x="100" y="123"/>
                      <a:pt x="101" y="123"/>
                    </a:cubicBezTo>
                    <a:cubicBezTo>
                      <a:pt x="101" y="123"/>
                      <a:pt x="102" y="123"/>
                      <a:pt x="102" y="123"/>
                    </a:cubicBezTo>
                    <a:cubicBezTo>
                      <a:pt x="103" y="123"/>
                      <a:pt x="103" y="123"/>
                      <a:pt x="104" y="123"/>
                    </a:cubicBezTo>
                    <a:cubicBezTo>
                      <a:pt x="105" y="123"/>
                      <a:pt x="105" y="123"/>
                      <a:pt x="106" y="123"/>
                    </a:cubicBezTo>
                    <a:cubicBezTo>
                      <a:pt x="107" y="123"/>
                      <a:pt x="107" y="123"/>
                      <a:pt x="107" y="123"/>
                    </a:cubicBezTo>
                    <a:cubicBezTo>
                      <a:pt x="107" y="117"/>
                      <a:pt x="95" y="117"/>
                      <a:pt x="92" y="115"/>
                    </a:cubicBezTo>
                    <a:cubicBezTo>
                      <a:pt x="92" y="115"/>
                      <a:pt x="92" y="114"/>
                      <a:pt x="92" y="114"/>
                    </a:cubicBezTo>
                    <a:cubicBezTo>
                      <a:pt x="91" y="115"/>
                      <a:pt x="91" y="117"/>
                      <a:pt x="91" y="118"/>
                    </a:cubicBezTo>
                    <a:cubicBezTo>
                      <a:pt x="91" y="120"/>
                      <a:pt x="91" y="120"/>
                      <a:pt x="91" y="120"/>
                    </a:cubicBezTo>
                    <a:cubicBezTo>
                      <a:pt x="90" y="122"/>
                      <a:pt x="88" y="122"/>
                      <a:pt x="86" y="124"/>
                    </a:cubicBezTo>
                    <a:cubicBezTo>
                      <a:pt x="84" y="121"/>
                      <a:pt x="86" y="118"/>
                      <a:pt x="84" y="115"/>
                    </a:cubicBezTo>
                    <a:cubicBezTo>
                      <a:pt x="84" y="114"/>
                      <a:pt x="82" y="111"/>
                      <a:pt x="81" y="110"/>
                    </a:cubicBezTo>
                    <a:cubicBezTo>
                      <a:pt x="79" y="109"/>
                      <a:pt x="76" y="107"/>
                      <a:pt x="73" y="107"/>
                    </a:cubicBezTo>
                    <a:cubicBezTo>
                      <a:pt x="72" y="107"/>
                      <a:pt x="71" y="107"/>
                      <a:pt x="71" y="108"/>
                    </a:cubicBezTo>
                    <a:cubicBezTo>
                      <a:pt x="68" y="109"/>
                      <a:pt x="67" y="117"/>
                      <a:pt x="65" y="117"/>
                    </a:cubicBezTo>
                    <a:cubicBezTo>
                      <a:pt x="64" y="117"/>
                      <a:pt x="64" y="117"/>
                      <a:pt x="63" y="116"/>
                    </a:cubicBezTo>
                    <a:cubicBezTo>
                      <a:pt x="64" y="117"/>
                      <a:pt x="64" y="118"/>
                      <a:pt x="64" y="119"/>
                    </a:cubicBezTo>
                    <a:cubicBezTo>
                      <a:pt x="62" y="118"/>
                      <a:pt x="59" y="117"/>
                      <a:pt x="57" y="116"/>
                    </a:cubicBezTo>
                    <a:cubicBezTo>
                      <a:pt x="53" y="114"/>
                      <a:pt x="53" y="112"/>
                      <a:pt x="52" y="108"/>
                    </a:cubicBezTo>
                    <a:cubicBezTo>
                      <a:pt x="52" y="105"/>
                      <a:pt x="52" y="101"/>
                      <a:pt x="52" y="99"/>
                    </a:cubicBezTo>
                    <a:cubicBezTo>
                      <a:pt x="51" y="96"/>
                      <a:pt x="49" y="93"/>
                      <a:pt x="48" y="91"/>
                    </a:cubicBezTo>
                    <a:cubicBezTo>
                      <a:pt x="45" y="86"/>
                      <a:pt x="42" y="84"/>
                      <a:pt x="46" y="79"/>
                    </a:cubicBezTo>
                    <a:cubicBezTo>
                      <a:pt x="47" y="77"/>
                      <a:pt x="50" y="74"/>
                      <a:pt x="50" y="72"/>
                    </a:cubicBezTo>
                    <a:cubicBezTo>
                      <a:pt x="50" y="72"/>
                      <a:pt x="49" y="72"/>
                      <a:pt x="49" y="72"/>
                    </a:cubicBezTo>
                    <a:cubicBezTo>
                      <a:pt x="49" y="72"/>
                      <a:pt x="49" y="72"/>
                      <a:pt x="49" y="72"/>
                    </a:cubicBezTo>
                    <a:cubicBezTo>
                      <a:pt x="49" y="72"/>
                      <a:pt x="49" y="72"/>
                      <a:pt x="49" y="72"/>
                    </a:cubicBezTo>
                    <a:cubicBezTo>
                      <a:pt x="48" y="72"/>
                      <a:pt x="48" y="72"/>
                      <a:pt x="48" y="72"/>
                    </a:cubicBezTo>
                    <a:cubicBezTo>
                      <a:pt x="47" y="64"/>
                      <a:pt x="59" y="65"/>
                      <a:pt x="61" y="59"/>
                    </a:cubicBezTo>
                    <a:cubicBezTo>
                      <a:pt x="61" y="61"/>
                      <a:pt x="60" y="62"/>
                      <a:pt x="60" y="64"/>
                    </a:cubicBezTo>
                    <a:cubicBezTo>
                      <a:pt x="63" y="58"/>
                      <a:pt x="66" y="52"/>
                      <a:pt x="69" y="47"/>
                    </a:cubicBezTo>
                    <a:cubicBezTo>
                      <a:pt x="70" y="45"/>
                      <a:pt x="71" y="42"/>
                      <a:pt x="71" y="40"/>
                    </a:cubicBezTo>
                    <a:cubicBezTo>
                      <a:pt x="71" y="39"/>
                      <a:pt x="72" y="39"/>
                      <a:pt x="71" y="38"/>
                    </a:cubicBezTo>
                    <a:cubicBezTo>
                      <a:pt x="69" y="34"/>
                      <a:pt x="66" y="30"/>
                      <a:pt x="64" y="27"/>
                    </a:cubicBezTo>
                    <a:cubicBezTo>
                      <a:pt x="62" y="25"/>
                      <a:pt x="66" y="15"/>
                      <a:pt x="66" y="13"/>
                    </a:cubicBezTo>
                    <a:cubicBezTo>
                      <a:pt x="67" y="9"/>
                      <a:pt x="67" y="6"/>
                      <a:pt x="65" y="2"/>
                    </a:cubicBezTo>
                    <a:cubicBezTo>
                      <a:pt x="63" y="4"/>
                      <a:pt x="61" y="7"/>
                      <a:pt x="59" y="8"/>
                    </a:cubicBezTo>
                    <a:cubicBezTo>
                      <a:pt x="59" y="8"/>
                      <a:pt x="58" y="8"/>
                      <a:pt x="57" y="8"/>
                    </a:cubicBezTo>
                    <a:cubicBezTo>
                      <a:pt x="56" y="8"/>
                      <a:pt x="56" y="8"/>
                      <a:pt x="55" y="8"/>
                    </a:cubicBezTo>
                    <a:cubicBezTo>
                      <a:pt x="55" y="8"/>
                      <a:pt x="54" y="8"/>
                      <a:pt x="54" y="8"/>
                    </a:cubicBezTo>
                    <a:cubicBezTo>
                      <a:pt x="52" y="8"/>
                      <a:pt x="51" y="8"/>
                      <a:pt x="51" y="10"/>
                    </a:cubicBezTo>
                    <a:cubicBezTo>
                      <a:pt x="51" y="3"/>
                      <a:pt x="38" y="2"/>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Freeform 44"/>
              <p:cNvSpPr/>
              <p:nvPr/>
            </p:nvSpPr>
            <p:spPr bwMode="auto">
              <a:xfrm>
                <a:off x="5058" y="3670"/>
                <a:ext cx="146" cy="182"/>
              </a:xfrm>
              <a:custGeom>
                <a:gdLst>
                  <a:gd name="T0" fmla="*/ 56 w 62"/>
                  <a:gd name="T1" fmla="*/ 0 h 77"/>
                  <a:gd name="T2" fmla="*/ 53 w 62"/>
                  <a:gd name="T3" fmla="*/ 12 h 77"/>
                  <a:gd name="T4" fmla="*/ 56 w 62"/>
                  <a:gd name="T5" fmla="*/ 17 h 77"/>
                  <a:gd name="T6" fmla="*/ 55 w 62"/>
                  <a:gd name="T7" fmla="*/ 17 h 77"/>
                  <a:gd name="T8" fmla="*/ 52 w 62"/>
                  <a:gd name="T9" fmla="*/ 13 h 77"/>
                  <a:gd name="T10" fmla="*/ 50 w 62"/>
                  <a:gd name="T11" fmla="*/ 12 h 77"/>
                  <a:gd name="T12" fmla="*/ 50 w 62"/>
                  <a:gd name="T13" fmla="*/ 14 h 77"/>
                  <a:gd name="T14" fmla="*/ 51 w 62"/>
                  <a:gd name="T15" fmla="*/ 21 h 77"/>
                  <a:gd name="T16" fmla="*/ 48 w 62"/>
                  <a:gd name="T17" fmla="*/ 25 h 77"/>
                  <a:gd name="T18" fmla="*/ 48 w 62"/>
                  <a:gd name="T19" fmla="*/ 24 h 77"/>
                  <a:gd name="T20" fmla="*/ 41 w 62"/>
                  <a:gd name="T21" fmla="*/ 33 h 77"/>
                  <a:gd name="T22" fmla="*/ 39 w 62"/>
                  <a:gd name="T23" fmla="*/ 34 h 77"/>
                  <a:gd name="T24" fmla="*/ 39 w 62"/>
                  <a:gd name="T25" fmla="*/ 33 h 77"/>
                  <a:gd name="T26" fmla="*/ 27 w 62"/>
                  <a:gd name="T27" fmla="*/ 46 h 77"/>
                  <a:gd name="T28" fmla="*/ 20 w 62"/>
                  <a:gd name="T29" fmla="*/ 53 h 77"/>
                  <a:gd name="T30" fmla="*/ 20 w 62"/>
                  <a:gd name="T31" fmla="*/ 53 h 77"/>
                  <a:gd name="T32" fmla="*/ 11 w 62"/>
                  <a:gd name="T33" fmla="*/ 61 h 77"/>
                  <a:gd name="T34" fmla="*/ 3 w 62"/>
                  <a:gd name="T35" fmla="*/ 69 h 77"/>
                  <a:gd name="T36" fmla="*/ 0 w 62"/>
                  <a:gd name="T37" fmla="*/ 77 h 77"/>
                  <a:gd name="T38" fmla="*/ 17 w 62"/>
                  <a:gd name="T39" fmla="*/ 64 h 77"/>
                  <a:gd name="T40" fmla="*/ 32 w 62"/>
                  <a:gd name="T41" fmla="*/ 52 h 77"/>
                  <a:gd name="T42" fmla="*/ 36 w 62"/>
                  <a:gd name="T43" fmla="*/ 47 h 77"/>
                  <a:gd name="T44" fmla="*/ 38 w 62"/>
                  <a:gd name="T45" fmla="*/ 43 h 77"/>
                  <a:gd name="T46" fmla="*/ 42 w 62"/>
                  <a:gd name="T47" fmla="*/ 36 h 77"/>
                  <a:gd name="T48" fmla="*/ 47 w 62"/>
                  <a:gd name="T49" fmla="*/ 35 h 77"/>
                  <a:gd name="T50" fmla="*/ 54 w 62"/>
                  <a:gd name="T51" fmla="*/ 26 h 77"/>
                  <a:gd name="T52" fmla="*/ 62 w 62"/>
                  <a:gd name="T53" fmla="*/ 22 h 77"/>
                  <a:gd name="T54" fmla="*/ 61 w 62"/>
                  <a:gd name="T55" fmla="*/ 21 h 77"/>
                  <a:gd name="T56" fmla="*/ 60 w 62"/>
                  <a:gd name="T57" fmla="*/ 18 h 77"/>
                  <a:gd name="T58" fmla="*/ 59 w 62"/>
                  <a:gd name="T59" fmla="*/ 19 h 77"/>
                  <a:gd name="T60" fmla="*/ 59 w 62"/>
                  <a:gd name="T61" fmla="*/ 16 h 77"/>
                  <a:gd name="T62" fmla="*/ 58 w 62"/>
                  <a:gd name="T63" fmla="*/ 15 h 77"/>
                  <a:gd name="T64" fmla="*/ 58 w 62"/>
                  <a:gd name="T65" fmla="*/ 15 h 77"/>
                  <a:gd name="T66" fmla="*/ 58 w 62"/>
                  <a:gd name="T67" fmla="*/ 15 h 77"/>
                  <a:gd name="T68" fmla="*/ 58 w 62"/>
                  <a:gd name="T69" fmla="*/ 15 h 77"/>
                  <a:gd name="T70" fmla="*/ 57 w 62"/>
                  <a:gd name="T71" fmla="*/ 13 h 77"/>
                  <a:gd name="T72" fmla="*/ 58 w 62"/>
                  <a:gd name="T73" fmla="*/ 8 h 77"/>
                  <a:gd name="T74" fmla="*/ 58 w 62"/>
                  <a:gd name="T75" fmla="*/ 8 h 77"/>
                  <a:gd name="T76" fmla="*/ 58 w 62"/>
                  <a:gd name="T77" fmla="*/ 5 h 77"/>
                  <a:gd name="T78" fmla="*/ 56 w 62"/>
                  <a:gd name="T79" fmla="*/ 0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 h="77">
                    <a:moveTo>
                      <a:pt x="56" y="0"/>
                    </a:moveTo>
                    <a:cubicBezTo>
                      <a:pt x="55" y="3"/>
                      <a:pt x="52" y="8"/>
                      <a:pt x="53" y="12"/>
                    </a:cubicBezTo>
                    <a:cubicBezTo>
                      <a:pt x="53" y="13"/>
                      <a:pt x="55" y="15"/>
                      <a:pt x="56" y="17"/>
                    </a:cubicBezTo>
                    <a:cubicBezTo>
                      <a:pt x="55" y="17"/>
                      <a:pt x="55" y="17"/>
                      <a:pt x="55" y="17"/>
                    </a:cubicBezTo>
                    <a:cubicBezTo>
                      <a:pt x="55" y="16"/>
                      <a:pt x="53" y="14"/>
                      <a:pt x="52" y="13"/>
                    </a:cubicBezTo>
                    <a:cubicBezTo>
                      <a:pt x="51" y="12"/>
                      <a:pt x="51" y="12"/>
                      <a:pt x="50" y="12"/>
                    </a:cubicBezTo>
                    <a:cubicBezTo>
                      <a:pt x="50" y="12"/>
                      <a:pt x="50" y="12"/>
                      <a:pt x="50" y="14"/>
                    </a:cubicBezTo>
                    <a:cubicBezTo>
                      <a:pt x="50" y="15"/>
                      <a:pt x="51" y="19"/>
                      <a:pt x="51" y="21"/>
                    </a:cubicBezTo>
                    <a:cubicBezTo>
                      <a:pt x="51" y="23"/>
                      <a:pt x="49" y="25"/>
                      <a:pt x="48" y="25"/>
                    </a:cubicBezTo>
                    <a:cubicBezTo>
                      <a:pt x="48" y="25"/>
                      <a:pt x="48" y="25"/>
                      <a:pt x="48" y="24"/>
                    </a:cubicBezTo>
                    <a:cubicBezTo>
                      <a:pt x="46" y="27"/>
                      <a:pt x="43" y="32"/>
                      <a:pt x="41" y="33"/>
                    </a:cubicBezTo>
                    <a:cubicBezTo>
                      <a:pt x="40" y="34"/>
                      <a:pt x="39" y="34"/>
                      <a:pt x="39" y="34"/>
                    </a:cubicBezTo>
                    <a:cubicBezTo>
                      <a:pt x="39" y="34"/>
                      <a:pt x="39" y="34"/>
                      <a:pt x="39" y="33"/>
                    </a:cubicBezTo>
                    <a:cubicBezTo>
                      <a:pt x="35" y="38"/>
                      <a:pt x="31" y="42"/>
                      <a:pt x="27" y="46"/>
                    </a:cubicBezTo>
                    <a:cubicBezTo>
                      <a:pt x="26" y="47"/>
                      <a:pt x="22" y="53"/>
                      <a:pt x="20" y="53"/>
                    </a:cubicBezTo>
                    <a:cubicBezTo>
                      <a:pt x="20" y="53"/>
                      <a:pt x="20" y="53"/>
                      <a:pt x="20" y="53"/>
                    </a:cubicBezTo>
                    <a:cubicBezTo>
                      <a:pt x="16" y="54"/>
                      <a:pt x="13" y="59"/>
                      <a:pt x="11" y="61"/>
                    </a:cubicBezTo>
                    <a:cubicBezTo>
                      <a:pt x="8" y="64"/>
                      <a:pt x="5" y="66"/>
                      <a:pt x="3" y="69"/>
                    </a:cubicBezTo>
                    <a:cubicBezTo>
                      <a:pt x="1" y="71"/>
                      <a:pt x="1" y="74"/>
                      <a:pt x="0" y="77"/>
                    </a:cubicBezTo>
                    <a:cubicBezTo>
                      <a:pt x="6" y="72"/>
                      <a:pt x="12" y="68"/>
                      <a:pt x="17" y="64"/>
                    </a:cubicBezTo>
                    <a:cubicBezTo>
                      <a:pt x="22" y="60"/>
                      <a:pt x="29" y="57"/>
                      <a:pt x="32" y="52"/>
                    </a:cubicBezTo>
                    <a:cubicBezTo>
                      <a:pt x="34" y="50"/>
                      <a:pt x="35" y="49"/>
                      <a:pt x="36" y="47"/>
                    </a:cubicBezTo>
                    <a:cubicBezTo>
                      <a:pt x="37" y="46"/>
                      <a:pt x="40" y="43"/>
                      <a:pt x="38" y="43"/>
                    </a:cubicBezTo>
                    <a:cubicBezTo>
                      <a:pt x="41" y="40"/>
                      <a:pt x="37" y="37"/>
                      <a:pt x="42" y="36"/>
                    </a:cubicBezTo>
                    <a:cubicBezTo>
                      <a:pt x="44" y="35"/>
                      <a:pt x="45" y="35"/>
                      <a:pt x="47" y="35"/>
                    </a:cubicBezTo>
                    <a:cubicBezTo>
                      <a:pt x="51" y="33"/>
                      <a:pt x="51" y="28"/>
                      <a:pt x="54" y="26"/>
                    </a:cubicBezTo>
                    <a:cubicBezTo>
                      <a:pt x="56" y="25"/>
                      <a:pt x="62" y="24"/>
                      <a:pt x="62" y="22"/>
                    </a:cubicBezTo>
                    <a:cubicBezTo>
                      <a:pt x="62" y="22"/>
                      <a:pt x="61" y="21"/>
                      <a:pt x="61" y="21"/>
                    </a:cubicBezTo>
                    <a:cubicBezTo>
                      <a:pt x="61" y="20"/>
                      <a:pt x="61" y="18"/>
                      <a:pt x="60" y="18"/>
                    </a:cubicBezTo>
                    <a:cubicBezTo>
                      <a:pt x="60" y="18"/>
                      <a:pt x="60" y="18"/>
                      <a:pt x="59" y="19"/>
                    </a:cubicBezTo>
                    <a:cubicBezTo>
                      <a:pt x="60" y="17"/>
                      <a:pt x="60" y="17"/>
                      <a:pt x="59" y="16"/>
                    </a:cubicBezTo>
                    <a:cubicBezTo>
                      <a:pt x="59" y="15"/>
                      <a:pt x="59" y="15"/>
                      <a:pt x="58" y="15"/>
                    </a:cubicBezTo>
                    <a:cubicBezTo>
                      <a:pt x="58" y="15"/>
                      <a:pt x="58" y="15"/>
                      <a:pt x="58" y="15"/>
                    </a:cubicBezTo>
                    <a:cubicBezTo>
                      <a:pt x="58" y="15"/>
                      <a:pt x="58" y="15"/>
                      <a:pt x="58" y="15"/>
                    </a:cubicBezTo>
                    <a:cubicBezTo>
                      <a:pt x="58" y="15"/>
                      <a:pt x="58" y="15"/>
                      <a:pt x="58" y="15"/>
                    </a:cubicBezTo>
                    <a:cubicBezTo>
                      <a:pt x="58" y="14"/>
                      <a:pt x="57" y="14"/>
                      <a:pt x="57" y="13"/>
                    </a:cubicBezTo>
                    <a:cubicBezTo>
                      <a:pt x="57" y="11"/>
                      <a:pt x="59" y="11"/>
                      <a:pt x="58" y="8"/>
                    </a:cubicBezTo>
                    <a:cubicBezTo>
                      <a:pt x="58" y="8"/>
                      <a:pt x="58" y="8"/>
                      <a:pt x="58" y="8"/>
                    </a:cubicBezTo>
                    <a:cubicBezTo>
                      <a:pt x="57" y="8"/>
                      <a:pt x="58" y="6"/>
                      <a:pt x="58" y="5"/>
                    </a:cubicBezTo>
                    <a:cubicBezTo>
                      <a:pt x="59" y="1"/>
                      <a:pt x="57" y="3"/>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7" name="Freeform 45"/>
              <p:cNvSpPr/>
              <p:nvPr/>
            </p:nvSpPr>
            <p:spPr bwMode="auto">
              <a:xfrm>
                <a:off x="5412" y="3677"/>
                <a:ext cx="48" cy="111"/>
              </a:xfrm>
              <a:custGeom>
                <a:gdLst>
                  <a:gd name="T0" fmla="*/ 19 w 20"/>
                  <a:gd name="T1" fmla="*/ 0 h 47"/>
                  <a:gd name="T2" fmla="*/ 16 w 20"/>
                  <a:gd name="T3" fmla="*/ 7 h 47"/>
                  <a:gd name="T4" fmla="*/ 13 w 20"/>
                  <a:gd name="T5" fmla="*/ 15 h 47"/>
                  <a:gd name="T6" fmla="*/ 6 w 20"/>
                  <a:gd name="T7" fmla="*/ 28 h 47"/>
                  <a:gd name="T8" fmla="*/ 3 w 20"/>
                  <a:gd name="T9" fmla="*/ 35 h 47"/>
                  <a:gd name="T10" fmla="*/ 2 w 20"/>
                  <a:gd name="T11" fmla="*/ 47 h 47"/>
                  <a:gd name="T12" fmla="*/ 11 w 20"/>
                  <a:gd name="T13" fmla="*/ 28 h 47"/>
                  <a:gd name="T14" fmla="*/ 19 w 20"/>
                  <a:gd name="T15" fmla="*/ 20 h 47"/>
                  <a:gd name="T16" fmla="*/ 18 w 20"/>
                  <a:gd name="T17" fmla="*/ 15 h 47"/>
                  <a:gd name="T18" fmla="*/ 19 w 20"/>
                  <a:gd name="T19"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47">
                    <a:moveTo>
                      <a:pt x="19" y="0"/>
                    </a:moveTo>
                    <a:cubicBezTo>
                      <a:pt x="17" y="0"/>
                      <a:pt x="16" y="5"/>
                      <a:pt x="16" y="7"/>
                    </a:cubicBezTo>
                    <a:cubicBezTo>
                      <a:pt x="15" y="9"/>
                      <a:pt x="14" y="12"/>
                      <a:pt x="13" y="15"/>
                    </a:cubicBezTo>
                    <a:cubicBezTo>
                      <a:pt x="10" y="19"/>
                      <a:pt x="9" y="24"/>
                      <a:pt x="6" y="28"/>
                    </a:cubicBezTo>
                    <a:cubicBezTo>
                      <a:pt x="4" y="31"/>
                      <a:pt x="3" y="32"/>
                      <a:pt x="3" y="35"/>
                    </a:cubicBezTo>
                    <a:cubicBezTo>
                      <a:pt x="2" y="39"/>
                      <a:pt x="0" y="43"/>
                      <a:pt x="2" y="47"/>
                    </a:cubicBezTo>
                    <a:cubicBezTo>
                      <a:pt x="4" y="41"/>
                      <a:pt x="6" y="33"/>
                      <a:pt x="11" y="28"/>
                    </a:cubicBezTo>
                    <a:cubicBezTo>
                      <a:pt x="14" y="25"/>
                      <a:pt x="18" y="24"/>
                      <a:pt x="19" y="20"/>
                    </a:cubicBezTo>
                    <a:cubicBezTo>
                      <a:pt x="19" y="18"/>
                      <a:pt x="18" y="17"/>
                      <a:pt x="18" y="15"/>
                    </a:cubicBezTo>
                    <a:cubicBezTo>
                      <a:pt x="19" y="10"/>
                      <a:pt x="20" y="5"/>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8" name="Freeform 46"/>
              <p:cNvSpPr/>
              <p:nvPr/>
            </p:nvSpPr>
            <p:spPr bwMode="auto">
              <a:xfrm>
                <a:off x="5403" y="3599"/>
                <a:ext cx="57" cy="52"/>
              </a:xfrm>
              <a:custGeom>
                <a:gdLst>
                  <a:gd name="T0" fmla="*/ 3 w 24"/>
                  <a:gd name="T1" fmla="*/ 0 h 22"/>
                  <a:gd name="T2" fmla="*/ 4 w 24"/>
                  <a:gd name="T3" fmla="*/ 6 h 22"/>
                  <a:gd name="T4" fmla="*/ 3 w 24"/>
                  <a:gd name="T5" fmla="*/ 9 h 22"/>
                  <a:gd name="T6" fmla="*/ 3 w 24"/>
                  <a:gd name="T7" fmla="*/ 10 h 22"/>
                  <a:gd name="T8" fmla="*/ 4 w 24"/>
                  <a:gd name="T9" fmla="*/ 9 h 22"/>
                  <a:gd name="T10" fmla="*/ 4 w 24"/>
                  <a:gd name="T11" fmla="*/ 9 h 22"/>
                  <a:gd name="T12" fmla="*/ 4 w 24"/>
                  <a:gd name="T13" fmla="*/ 9 h 22"/>
                  <a:gd name="T14" fmla="*/ 4 w 24"/>
                  <a:gd name="T15" fmla="*/ 9 h 22"/>
                  <a:gd name="T16" fmla="*/ 4 w 24"/>
                  <a:gd name="T17" fmla="*/ 10 h 22"/>
                  <a:gd name="T18" fmla="*/ 4 w 24"/>
                  <a:gd name="T19" fmla="*/ 11 h 22"/>
                  <a:gd name="T20" fmla="*/ 1 w 24"/>
                  <a:gd name="T21" fmla="*/ 17 h 22"/>
                  <a:gd name="T22" fmla="*/ 3 w 24"/>
                  <a:gd name="T23" fmla="*/ 16 h 22"/>
                  <a:gd name="T24" fmla="*/ 9 w 24"/>
                  <a:gd name="T25" fmla="*/ 10 h 22"/>
                  <a:gd name="T26" fmla="*/ 11 w 24"/>
                  <a:gd name="T27" fmla="*/ 11 h 22"/>
                  <a:gd name="T28" fmla="*/ 13 w 24"/>
                  <a:gd name="T29" fmla="*/ 14 h 22"/>
                  <a:gd name="T30" fmla="*/ 15 w 24"/>
                  <a:gd name="T31" fmla="*/ 17 h 22"/>
                  <a:gd name="T32" fmla="*/ 18 w 24"/>
                  <a:gd name="T33" fmla="*/ 18 h 22"/>
                  <a:gd name="T34" fmla="*/ 24 w 24"/>
                  <a:gd name="T35" fmla="*/ 22 h 22"/>
                  <a:gd name="T36" fmla="*/ 19 w 24"/>
                  <a:gd name="T37" fmla="*/ 10 h 22"/>
                  <a:gd name="T38" fmla="*/ 16 w 24"/>
                  <a:gd name="T39" fmla="*/ 8 h 22"/>
                  <a:gd name="T40" fmla="*/ 3 w 24"/>
                  <a:gd name="T41"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2">
                    <a:moveTo>
                      <a:pt x="3" y="0"/>
                    </a:moveTo>
                    <a:cubicBezTo>
                      <a:pt x="4" y="2"/>
                      <a:pt x="4" y="4"/>
                      <a:pt x="4" y="6"/>
                    </a:cubicBezTo>
                    <a:cubicBezTo>
                      <a:pt x="4" y="7"/>
                      <a:pt x="3" y="8"/>
                      <a:pt x="3" y="9"/>
                    </a:cubicBezTo>
                    <a:cubicBezTo>
                      <a:pt x="3" y="9"/>
                      <a:pt x="3" y="10"/>
                      <a:pt x="3" y="10"/>
                    </a:cubicBezTo>
                    <a:cubicBezTo>
                      <a:pt x="4" y="10"/>
                      <a:pt x="4" y="10"/>
                      <a:pt x="4" y="9"/>
                    </a:cubicBezTo>
                    <a:cubicBezTo>
                      <a:pt x="4" y="9"/>
                      <a:pt x="4" y="9"/>
                      <a:pt x="4" y="9"/>
                    </a:cubicBezTo>
                    <a:cubicBezTo>
                      <a:pt x="4" y="9"/>
                      <a:pt x="4" y="9"/>
                      <a:pt x="4" y="9"/>
                    </a:cubicBezTo>
                    <a:cubicBezTo>
                      <a:pt x="4" y="9"/>
                      <a:pt x="4" y="9"/>
                      <a:pt x="4" y="9"/>
                    </a:cubicBezTo>
                    <a:cubicBezTo>
                      <a:pt x="4" y="9"/>
                      <a:pt x="4" y="10"/>
                      <a:pt x="4" y="10"/>
                    </a:cubicBezTo>
                    <a:cubicBezTo>
                      <a:pt x="4" y="11"/>
                      <a:pt x="4" y="11"/>
                      <a:pt x="4" y="11"/>
                    </a:cubicBezTo>
                    <a:cubicBezTo>
                      <a:pt x="4" y="12"/>
                      <a:pt x="0" y="17"/>
                      <a:pt x="1" y="17"/>
                    </a:cubicBezTo>
                    <a:cubicBezTo>
                      <a:pt x="2" y="17"/>
                      <a:pt x="2" y="17"/>
                      <a:pt x="3" y="16"/>
                    </a:cubicBezTo>
                    <a:cubicBezTo>
                      <a:pt x="5" y="15"/>
                      <a:pt x="7" y="10"/>
                      <a:pt x="9" y="10"/>
                    </a:cubicBezTo>
                    <a:cubicBezTo>
                      <a:pt x="10" y="10"/>
                      <a:pt x="11" y="10"/>
                      <a:pt x="11" y="11"/>
                    </a:cubicBezTo>
                    <a:cubicBezTo>
                      <a:pt x="12" y="12"/>
                      <a:pt x="13" y="14"/>
                      <a:pt x="13" y="14"/>
                    </a:cubicBezTo>
                    <a:cubicBezTo>
                      <a:pt x="14" y="14"/>
                      <a:pt x="15" y="17"/>
                      <a:pt x="15" y="17"/>
                    </a:cubicBezTo>
                    <a:cubicBezTo>
                      <a:pt x="16" y="17"/>
                      <a:pt x="17" y="17"/>
                      <a:pt x="18" y="18"/>
                    </a:cubicBezTo>
                    <a:cubicBezTo>
                      <a:pt x="20" y="19"/>
                      <a:pt x="22" y="20"/>
                      <a:pt x="24" y="22"/>
                    </a:cubicBezTo>
                    <a:cubicBezTo>
                      <a:pt x="22" y="19"/>
                      <a:pt x="22" y="12"/>
                      <a:pt x="19" y="10"/>
                    </a:cubicBezTo>
                    <a:cubicBezTo>
                      <a:pt x="19" y="10"/>
                      <a:pt x="16" y="9"/>
                      <a:pt x="16" y="8"/>
                    </a:cubicBezTo>
                    <a:cubicBezTo>
                      <a:pt x="12" y="4"/>
                      <a:pt x="8"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Freeform 47"/>
              <p:cNvSpPr/>
              <p:nvPr/>
            </p:nvSpPr>
            <p:spPr bwMode="auto">
              <a:xfrm>
                <a:off x="5216" y="3637"/>
                <a:ext cx="10" cy="19"/>
              </a:xfrm>
              <a:custGeom>
                <a:gdLst>
                  <a:gd name="T0" fmla="*/ 0 w 4"/>
                  <a:gd name="T1" fmla="*/ 0 h 8"/>
                  <a:gd name="T2" fmla="*/ 1 w 4"/>
                  <a:gd name="T3" fmla="*/ 8 h 8"/>
                  <a:gd name="T4" fmla="*/ 3 w 4"/>
                  <a:gd name="T5" fmla="*/ 3 h 8"/>
                  <a:gd name="T6" fmla="*/ 4 w 4"/>
                  <a:gd name="T7" fmla="*/ 3 h 8"/>
                  <a:gd name="T8" fmla="*/ 2 w 4"/>
                  <a:gd name="T9" fmla="*/ 2 h 8"/>
                  <a:gd name="T10" fmla="*/ 3 w 4"/>
                  <a:gd name="T11" fmla="*/ 1 h 8"/>
                  <a:gd name="T12" fmla="*/ 0 w 4"/>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cubicBezTo>
                      <a:pt x="0" y="2"/>
                      <a:pt x="1" y="5"/>
                      <a:pt x="1" y="8"/>
                    </a:cubicBezTo>
                    <a:cubicBezTo>
                      <a:pt x="4" y="6"/>
                      <a:pt x="4" y="5"/>
                      <a:pt x="3" y="3"/>
                    </a:cubicBezTo>
                    <a:cubicBezTo>
                      <a:pt x="4" y="3"/>
                      <a:pt x="4" y="3"/>
                      <a:pt x="4" y="3"/>
                    </a:cubicBezTo>
                    <a:cubicBezTo>
                      <a:pt x="4" y="2"/>
                      <a:pt x="3" y="2"/>
                      <a:pt x="2" y="2"/>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0" name="Freeform 48"/>
              <p:cNvSpPr/>
              <p:nvPr/>
            </p:nvSpPr>
            <p:spPr bwMode="auto">
              <a:xfrm>
                <a:off x="5495" y="3795"/>
                <a:ext cx="7" cy="12"/>
              </a:xfrm>
              <a:custGeom>
                <a:gdLst>
                  <a:gd name="T0" fmla="*/ 0 w 3"/>
                  <a:gd name="T1" fmla="*/ 0 h 5"/>
                  <a:gd name="T2" fmla="*/ 2 w 3"/>
                  <a:gd name="T3" fmla="*/ 5 h 5"/>
                  <a:gd name="T4" fmla="*/ 0 w 3"/>
                  <a:gd name="T5" fmla="*/ 0 h 5"/>
                </a:gdLst>
                <a:cxnLst>
                  <a:cxn ang="0">
                    <a:pos x="T0" y="T1"/>
                  </a:cxn>
                  <a:cxn ang="0">
                    <a:pos x="T2" y="T3"/>
                  </a:cxn>
                  <a:cxn ang="0">
                    <a:pos x="T4" y="T5"/>
                  </a:cxn>
                </a:cxnLst>
                <a:rect l="0" t="0" r="r" b="b"/>
                <a:pathLst>
                  <a:path w="3" h="5">
                    <a:moveTo>
                      <a:pt x="0" y="0"/>
                    </a:moveTo>
                    <a:cubicBezTo>
                      <a:pt x="0" y="2"/>
                      <a:pt x="1" y="4"/>
                      <a:pt x="2"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1" name="Freeform 49"/>
              <p:cNvSpPr/>
              <p:nvPr/>
            </p:nvSpPr>
            <p:spPr bwMode="auto">
              <a:xfrm>
                <a:off x="5356" y="3694"/>
                <a:ext cx="73" cy="115"/>
              </a:xfrm>
              <a:custGeom>
                <a:gdLst>
                  <a:gd name="T0" fmla="*/ 22 w 31"/>
                  <a:gd name="T1" fmla="*/ 0 h 49"/>
                  <a:gd name="T2" fmla="*/ 21 w 31"/>
                  <a:gd name="T3" fmla="*/ 1 h 49"/>
                  <a:gd name="T4" fmla="*/ 9 w 31"/>
                  <a:gd name="T5" fmla="*/ 21 h 49"/>
                  <a:gd name="T6" fmla="*/ 7 w 31"/>
                  <a:gd name="T7" fmla="*/ 26 h 49"/>
                  <a:gd name="T8" fmla="*/ 6 w 31"/>
                  <a:gd name="T9" fmla="*/ 25 h 49"/>
                  <a:gd name="T10" fmla="*/ 4 w 31"/>
                  <a:gd name="T11" fmla="*/ 26 h 49"/>
                  <a:gd name="T12" fmla="*/ 7 w 31"/>
                  <a:gd name="T13" fmla="*/ 39 h 49"/>
                  <a:gd name="T14" fmla="*/ 13 w 31"/>
                  <a:gd name="T15" fmla="*/ 41 h 49"/>
                  <a:gd name="T16" fmla="*/ 14 w 31"/>
                  <a:gd name="T17" fmla="*/ 44 h 49"/>
                  <a:gd name="T18" fmla="*/ 19 w 31"/>
                  <a:gd name="T19" fmla="*/ 49 h 49"/>
                  <a:gd name="T20" fmla="*/ 19 w 31"/>
                  <a:gd name="T21" fmla="*/ 49 h 49"/>
                  <a:gd name="T22" fmla="*/ 20 w 31"/>
                  <a:gd name="T23" fmla="*/ 36 h 49"/>
                  <a:gd name="T24" fmla="*/ 24 w 31"/>
                  <a:gd name="T25" fmla="*/ 20 h 49"/>
                  <a:gd name="T26" fmla="*/ 31 w 31"/>
                  <a:gd name="T27" fmla="*/ 4 h 49"/>
                  <a:gd name="T28" fmla="*/ 30 w 31"/>
                  <a:gd name="T29" fmla="*/ 3 h 49"/>
                  <a:gd name="T30" fmla="*/ 27 w 31"/>
                  <a:gd name="T31" fmla="*/ 1 h 49"/>
                  <a:gd name="T32" fmla="*/ 22 w 31"/>
                  <a:gd name="T33"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9">
                    <a:moveTo>
                      <a:pt x="22" y="0"/>
                    </a:moveTo>
                    <a:cubicBezTo>
                      <a:pt x="22" y="0"/>
                      <a:pt x="22" y="1"/>
                      <a:pt x="21" y="1"/>
                    </a:cubicBezTo>
                    <a:cubicBezTo>
                      <a:pt x="13" y="3"/>
                      <a:pt x="12" y="14"/>
                      <a:pt x="9" y="21"/>
                    </a:cubicBezTo>
                    <a:cubicBezTo>
                      <a:pt x="9" y="22"/>
                      <a:pt x="8" y="25"/>
                      <a:pt x="7" y="26"/>
                    </a:cubicBezTo>
                    <a:cubicBezTo>
                      <a:pt x="6" y="25"/>
                      <a:pt x="6" y="25"/>
                      <a:pt x="6" y="25"/>
                    </a:cubicBezTo>
                    <a:cubicBezTo>
                      <a:pt x="5" y="26"/>
                      <a:pt x="4" y="26"/>
                      <a:pt x="4" y="26"/>
                    </a:cubicBezTo>
                    <a:cubicBezTo>
                      <a:pt x="0" y="29"/>
                      <a:pt x="6" y="36"/>
                      <a:pt x="7" y="39"/>
                    </a:cubicBezTo>
                    <a:cubicBezTo>
                      <a:pt x="9" y="41"/>
                      <a:pt x="11" y="40"/>
                      <a:pt x="13" y="41"/>
                    </a:cubicBezTo>
                    <a:cubicBezTo>
                      <a:pt x="14" y="42"/>
                      <a:pt x="13" y="42"/>
                      <a:pt x="14" y="44"/>
                    </a:cubicBezTo>
                    <a:cubicBezTo>
                      <a:pt x="15" y="46"/>
                      <a:pt x="15" y="49"/>
                      <a:pt x="19" y="49"/>
                    </a:cubicBezTo>
                    <a:cubicBezTo>
                      <a:pt x="19" y="49"/>
                      <a:pt x="19" y="49"/>
                      <a:pt x="19" y="49"/>
                    </a:cubicBezTo>
                    <a:cubicBezTo>
                      <a:pt x="25" y="49"/>
                      <a:pt x="21" y="40"/>
                      <a:pt x="20" y="36"/>
                    </a:cubicBezTo>
                    <a:cubicBezTo>
                      <a:pt x="19" y="31"/>
                      <a:pt x="23" y="25"/>
                      <a:pt x="24" y="20"/>
                    </a:cubicBezTo>
                    <a:cubicBezTo>
                      <a:pt x="26" y="14"/>
                      <a:pt x="29" y="9"/>
                      <a:pt x="31" y="4"/>
                    </a:cubicBezTo>
                    <a:cubicBezTo>
                      <a:pt x="30" y="4"/>
                      <a:pt x="31" y="3"/>
                      <a:pt x="30" y="3"/>
                    </a:cubicBezTo>
                    <a:cubicBezTo>
                      <a:pt x="29" y="2"/>
                      <a:pt x="29" y="2"/>
                      <a:pt x="27" y="1"/>
                    </a:cubicBezTo>
                    <a:cubicBezTo>
                      <a:pt x="25" y="1"/>
                      <a:pt x="24"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2" name="Freeform 50"/>
              <p:cNvSpPr/>
              <p:nvPr/>
            </p:nvSpPr>
            <p:spPr bwMode="auto">
              <a:xfrm>
                <a:off x="5327" y="3764"/>
                <a:ext cx="279" cy="249"/>
              </a:xfrm>
              <a:custGeom>
                <a:gdLst>
                  <a:gd name="T0" fmla="*/ 91 w 118"/>
                  <a:gd name="T1" fmla="*/ 15 h 105"/>
                  <a:gd name="T2" fmla="*/ 83 w 118"/>
                  <a:gd name="T3" fmla="*/ 18 h 105"/>
                  <a:gd name="T4" fmla="*/ 79 w 118"/>
                  <a:gd name="T5" fmla="*/ 22 h 105"/>
                  <a:gd name="T6" fmla="*/ 75 w 118"/>
                  <a:gd name="T7" fmla="*/ 20 h 105"/>
                  <a:gd name="T8" fmla="*/ 65 w 118"/>
                  <a:gd name="T9" fmla="*/ 30 h 105"/>
                  <a:gd name="T10" fmla="*/ 58 w 118"/>
                  <a:gd name="T11" fmla="*/ 38 h 105"/>
                  <a:gd name="T12" fmla="*/ 46 w 118"/>
                  <a:gd name="T13" fmla="*/ 44 h 105"/>
                  <a:gd name="T14" fmla="*/ 48 w 118"/>
                  <a:gd name="T15" fmla="*/ 31 h 105"/>
                  <a:gd name="T16" fmla="*/ 39 w 118"/>
                  <a:gd name="T17" fmla="*/ 27 h 105"/>
                  <a:gd name="T18" fmla="*/ 29 w 118"/>
                  <a:gd name="T19" fmla="*/ 35 h 105"/>
                  <a:gd name="T20" fmla="*/ 24 w 118"/>
                  <a:gd name="T21" fmla="*/ 42 h 105"/>
                  <a:gd name="T22" fmla="*/ 8 w 118"/>
                  <a:gd name="T23" fmla="*/ 55 h 105"/>
                  <a:gd name="T24" fmla="*/ 4 w 118"/>
                  <a:gd name="T25" fmla="*/ 71 h 105"/>
                  <a:gd name="T26" fmla="*/ 9 w 118"/>
                  <a:gd name="T27" fmla="*/ 69 h 105"/>
                  <a:gd name="T28" fmla="*/ 14 w 118"/>
                  <a:gd name="T29" fmla="*/ 60 h 105"/>
                  <a:gd name="T30" fmla="*/ 15 w 118"/>
                  <a:gd name="T31" fmla="*/ 55 h 105"/>
                  <a:gd name="T32" fmla="*/ 24 w 118"/>
                  <a:gd name="T33" fmla="*/ 54 h 105"/>
                  <a:gd name="T34" fmla="*/ 31 w 118"/>
                  <a:gd name="T35" fmla="*/ 52 h 105"/>
                  <a:gd name="T36" fmla="*/ 34 w 118"/>
                  <a:gd name="T37" fmla="*/ 55 h 105"/>
                  <a:gd name="T38" fmla="*/ 34 w 118"/>
                  <a:gd name="T39" fmla="*/ 58 h 105"/>
                  <a:gd name="T40" fmla="*/ 39 w 118"/>
                  <a:gd name="T41" fmla="*/ 60 h 105"/>
                  <a:gd name="T42" fmla="*/ 43 w 118"/>
                  <a:gd name="T43" fmla="*/ 49 h 105"/>
                  <a:gd name="T44" fmla="*/ 58 w 118"/>
                  <a:gd name="T45" fmla="*/ 63 h 105"/>
                  <a:gd name="T46" fmla="*/ 55 w 118"/>
                  <a:gd name="T47" fmla="*/ 80 h 105"/>
                  <a:gd name="T48" fmla="*/ 74 w 118"/>
                  <a:gd name="T49" fmla="*/ 96 h 105"/>
                  <a:gd name="T50" fmla="*/ 81 w 118"/>
                  <a:gd name="T51" fmla="*/ 96 h 105"/>
                  <a:gd name="T52" fmla="*/ 85 w 118"/>
                  <a:gd name="T53" fmla="*/ 92 h 105"/>
                  <a:gd name="T54" fmla="*/ 87 w 118"/>
                  <a:gd name="T55" fmla="*/ 105 h 105"/>
                  <a:gd name="T56" fmla="*/ 95 w 118"/>
                  <a:gd name="T57" fmla="*/ 96 h 105"/>
                  <a:gd name="T58" fmla="*/ 89 w 118"/>
                  <a:gd name="T59" fmla="*/ 79 h 105"/>
                  <a:gd name="T60" fmla="*/ 89 w 118"/>
                  <a:gd name="T61" fmla="*/ 75 h 105"/>
                  <a:gd name="T62" fmla="*/ 98 w 118"/>
                  <a:gd name="T63" fmla="*/ 61 h 105"/>
                  <a:gd name="T64" fmla="*/ 105 w 118"/>
                  <a:gd name="T65" fmla="*/ 73 h 105"/>
                  <a:gd name="T66" fmla="*/ 108 w 118"/>
                  <a:gd name="T67" fmla="*/ 87 h 105"/>
                  <a:gd name="T68" fmla="*/ 109 w 118"/>
                  <a:gd name="T69" fmla="*/ 72 h 105"/>
                  <a:gd name="T70" fmla="*/ 110 w 118"/>
                  <a:gd name="T71" fmla="*/ 73 h 105"/>
                  <a:gd name="T72" fmla="*/ 113 w 118"/>
                  <a:gd name="T73" fmla="*/ 72 h 105"/>
                  <a:gd name="T74" fmla="*/ 117 w 118"/>
                  <a:gd name="T75" fmla="*/ 64 h 105"/>
                  <a:gd name="T76" fmla="*/ 112 w 118"/>
                  <a:gd name="T77" fmla="*/ 47 h 105"/>
                  <a:gd name="T78" fmla="*/ 112 w 118"/>
                  <a:gd name="T79" fmla="*/ 40 h 105"/>
                  <a:gd name="T80" fmla="*/ 110 w 118"/>
                  <a:gd name="T81" fmla="*/ 32 h 105"/>
                  <a:gd name="T82" fmla="*/ 108 w 118"/>
                  <a:gd name="T83" fmla="*/ 32 h 105"/>
                  <a:gd name="T84" fmla="*/ 110 w 118"/>
                  <a:gd name="T85" fmla="*/ 25 h 105"/>
                  <a:gd name="T86" fmla="*/ 105 w 118"/>
                  <a:gd name="T87" fmla="*/ 13 h 105"/>
                  <a:gd name="T88" fmla="*/ 89 w 118"/>
                  <a:gd name="T89" fmla="*/ 0 h 1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8" h="105">
                    <a:moveTo>
                      <a:pt x="89" y="0"/>
                    </a:moveTo>
                    <a:cubicBezTo>
                      <a:pt x="90" y="5"/>
                      <a:pt x="91" y="10"/>
                      <a:pt x="91" y="15"/>
                    </a:cubicBezTo>
                    <a:cubicBezTo>
                      <a:pt x="92" y="16"/>
                      <a:pt x="92" y="18"/>
                      <a:pt x="92" y="20"/>
                    </a:cubicBezTo>
                    <a:cubicBezTo>
                      <a:pt x="89" y="19"/>
                      <a:pt x="86" y="18"/>
                      <a:pt x="83" y="18"/>
                    </a:cubicBezTo>
                    <a:cubicBezTo>
                      <a:pt x="83" y="21"/>
                      <a:pt x="83" y="23"/>
                      <a:pt x="82" y="23"/>
                    </a:cubicBezTo>
                    <a:cubicBezTo>
                      <a:pt x="81" y="23"/>
                      <a:pt x="80" y="22"/>
                      <a:pt x="79" y="22"/>
                    </a:cubicBezTo>
                    <a:cubicBezTo>
                      <a:pt x="78" y="21"/>
                      <a:pt x="76" y="20"/>
                      <a:pt x="75" y="20"/>
                    </a:cubicBezTo>
                    <a:cubicBezTo>
                      <a:pt x="75" y="20"/>
                      <a:pt x="75" y="20"/>
                      <a:pt x="75" y="20"/>
                    </a:cubicBezTo>
                    <a:cubicBezTo>
                      <a:pt x="72" y="20"/>
                      <a:pt x="73" y="29"/>
                      <a:pt x="72" y="32"/>
                    </a:cubicBezTo>
                    <a:cubicBezTo>
                      <a:pt x="71" y="32"/>
                      <a:pt x="65" y="30"/>
                      <a:pt x="65" y="30"/>
                    </a:cubicBezTo>
                    <a:cubicBezTo>
                      <a:pt x="65" y="30"/>
                      <a:pt x="65" y="30"/>
                      <a:pt x="65" y="30"/>
                    </a:cubicBezTo>
                    <a:cubicBezTo>
                      <a:pt x="62" y="33"/>
                      <a:pt x="61" y="36"/>
                      <a:pt x="58" y="38"/>
                    </a:cubicBezTo>
                    <a:cubicBezTo>
                      <a:pt x="56" y="39"/>
                      <a:pt x="49" y="45"/>
                      <a:pt x="46" y="45"/>
                    </a:cubicBezTo>
                    <a:cubicBezTo>
                      <a:pt x="46" y="45"/>
                      <a:pt x="46" y="45"/>
                      <a:pt x="46" y="44"/>
                    </a:cubicBezTo>
                    <a:cubicBezTo>
                      <a:pt x="48" y="43"/>
                      <a:pt x="50" y="42"/>
                      <a:pt x="51" y="40"/>
                    </a:cubicBezTo>
                    <a:cubicBezTo>
                      <a:pt x="51" y="37"/>
                      <a:pt x="50" y="32"/>
                      <a:pt x="48" y="31"/>
                    </a:cubicBezTo>
                    <a:cubicBezTo>
                      <a:pt x="47" y="30"/>
                      <a:pt x="48" y="30"/>
                      <a:pt x="46" y="30"/>
                    </a:cubicBezTo>
                    <a:cubicBezTo>
                      <a:pt x="43" y="29"/>
                      <a:pt x="41" y="28"/>
                      <a:pt x="39" y="27"/>
                    </a:cubicBezTo>
                    <a:cubicBezTo>
                      <a:pt x="39" y="27"/>
                      <a:pt x="39" y="27"/>
                      <a:pt x="39" y="27"/>
                    </a:cubicBezTo>
                    <a:cubicBezTo>
                      <a:pt x="35" y="30"/>
                      <a:pt x="31" y="31"/>
                      <a:pt x="29" y="35"/>
                    </a:cubicBezTo>
                    <a:cubicBezTo>
                      <a:pt x="29" y="37"/>
                      <a:pt x="28" y="40"/>
                      <a:pt x="27" y="41"/>
                    </a:cubicBezTo>
                    <a:cubicBezTo>
                      <a:pt x="26" y="42"/>
                      <a:pt x="24" y="42"/>
                      <a:pt x="24" y="42"/>
                    </a:cubicBezTo>
                    <a:cubicBezTo>
                      <a:pt x="18" y="43"/>
                      <a:pt x="11" y="44"/>
                      <a:pt x="8" y="49"/>
                    </a:cubicBezTo>
                    <a:cubicBezTo>
                      <a:pt x="7" y="51"/>
                      <a:pt x="7" y="53"/>
                      <a:pt x="8" y="55"/>
                    </a:cubicBezTo>
                    <a:cubicBezTo>
                      <a:pt x="7" y="56"/>
                      <a:pt x="7" y="56"/>
                      <a:pt x="7" y="57"/>
                    </a:cubicBezTo>
                    <a:cubicBezTo>
                      <a:pt x="5" y="60"/>
                      <a:pt x="0" y="69"/>
                      <a:pt x="4" y="71"/>
                    </a:cubicBezTo>
                    <a:cubicBezTo>
                      <a:pt x="6" y="71"/>
                      <a:pt x="6" y="72"/>
                      <a:pt x="7" y="72"/>
                    </a:cubicBezTo>
                    <a:cubicBezTo>
                      <a:pt x="8" y="72"/>
                      <a:pt x="8" y="71"/>
                      <a:pt x="9" y="69"/>
                    </a:cubicBezTo>
                    <a:cubicBezTo>
                      <a:pt x="10" y="68"/>
                      <a:pt x="11" y="67"/>
                      <a:pt x="11" y="66"/>
                    </a:cubicBezTo>
                    <a:cubicBezTo>
                      <a:pt x="12" y="64"/>
                      <a:pt x="11" y="61"/>
                      <a:pt x="14" y="60"/>
                    </a:cubicBezTo>
                    <a:cubicBezTo>
                      <a:pt x="11" y="59"/>
                      <a:pt x="16" y="56"/>
                      <a:pt x="17" y="55"/>
                    </a:cubicBezTo>
                    <a:cubicBezTo>
                      <a:pt x="17" y="55"/>
                      <a:pt x="16" y="55"/>
                      <a:pt x="15" y="55"/>
                    </a:cubicBezTo>
                    <a:cubicBezTo>
                      <a:pt x="17" y="53"/>
                      <a:pt x="18" y="51"/>
                      <a:pt x="20" y="51"/>
                    </a:cubicBezTo>
                    <a:cubicBezTo>
                      <a:pt x="22" y="51"/>
                      <a:pt x="23" y="52"/>
                      <a:pt x="24" y="54"/>
                    </a:cubicBezTo>
                    <a:cubicBezTo>
                      <a:pt x="26" y="55"/>
                      <a:pt x="24" y="57"/>
                      <a:pt x="25" y="59"/>
                    </a:cubicBezTo>
                    <a:cubicBezTo>
                      <a:pt x="27" y="58"/>
                      <a:pt x="29" y="54"/>
                      <a:pt x="31" y="52"/>
                    </a:cubicBezTo>
                    <a:cubicBezTo>
                      <a:pt x="31" y="52"/>
                      <a:pt x="32" y="52"/>
                      <a:pt x="32" y="52"/>
                    </a:cubicBezTo>
                    <a:cubicBezTo>
                      <a:pt x="33" y="52"/>
                      <a:pt x="34" y="53"/>
                      <a:pt x="34" y="55"/>
                    </a:cubicBezTo>
                    <a:cubicBezTo>
                      <a:pt x="34" y="56"/>
                      <a:pt x="32" y="55"/>
                      <a:pt x="32" y="57"/>
                    </a:cubicBezTo>
                    <a:cubicBezTo>
                      <a:pt x="33" y="57"/>
                      <a:pt x="33" y="58"/>
                      <a:pt x="34" y="58"/>
                    </a:cubicBezTo>
                    <a:cubicBezTo>
                      <a:pt x="35" y="58"/>
                      <a:pt x="36" y="57"/>
                      <a:pt x="37" y="57"/>
                    </a:cubicBezTo>
                    <a:cubicBezTo>
                      <a:pt x="36" y="59"/>
                      <a:pt x="38" y="59"/>
                      <a:pt x="39" y="60"/>
                    </a:cubicBezTo>
                    <a:cubicBezTo>
                      <a:pt x="39" y="57"/>
                      <a:pt x="36" y="54"/>
                      <a:pt x="40" y="50"/>
                    </a:cubicBezTo>
                    <a:cubicBezTo>
                      <a:pt x="41" y="49"/>
                      <a:pt x="42" y="49"/>
                      <a:pt x="43" y="49"/>
                    </a:cubicBezTo>
                    <a:cubicBezTo>
                      <a:pt x="48" y="49"/>
                      <a:pt x="54" y="55"/>
                      <a:pt x="57" y="58"/>
                    </a:cubicBezTo>
                    <a:cubicBezTo>
                      <a:pt x="60" y="60"/>
                      <a:pt x="61" y="60"/>
                      <a:pt x="58" y="63"/>
                    </a:cubicBezTo>
                    <a:cubicBezTo>
                      <a:pt x="57" y="64"/>
                      <a:pt x="56" y="65"/>
                      <a:pt x="55" y="66"/>
                    </a:cubicBezTo>
                    <a:cubicBezTo>
                      <a:pt x="53" y="70"/>
                      <a:pt x="55" y="75"/>
                      <a:pt x="55" y="80"/>
                    </a:cubicBezTo>
                    <a:cubicBezTo>
                      <a:pt x="55" y="81"/>
                      <a:pt x="54" y="83"/>
                      <a:pt x="55" y="84"/>
                    </a:cubicBezTo>
                    <a:cubicBezTo>
                      <a:pt x="61" y="90"/>
                      <a:pt x="66" y="93"/>
                      <a:pt x="74" y="96"/>
                    </a:cubicBezTo>
                    <a:cubicBezTo>
                      <a:pt x="76" y="96"/>
                      <a:pt x="77" y="97"/>
                      <a:pt x="79" y="97"/>
                    </a:cubicBezTo>
                    <a:cubicBezTo>
                      <a:pt x="80" y="97"/>
                      <a:pt x="80" y="97"/>
                      <a:pt x="81" y="96"/>
                    </a:cubicBezTo>
                    <a:cubicBezTo>
                      <a:pt x="82" y="94"/>
                      <a:pt x="82" y="92"/>
                      <a:pt x="84" y="92"/>
                    </a:cubicBezTo>
                    <a:cubicBezTo>
                      <a:pt x="84" y="92"/>
                      <a:pt x="84" y="92"/>
                      <a:pt x="85" y="92"/>
                    </a:cubicBezTo>
                    <a:cubicBezTo>
                      <a:pt x="84" y="97"/>
                      <a:pt x="82" y="98"/>
                      <a:pt x="85" y="103"/>
                    </a:cubicBezTo>
                    <a:cubicBezTo>
                      <a:pt x="86" y="104"/>
                      <a:pt x="86" y="105"/>
                      <a:pt x="87" y="105"/>
                    </a:cubicBezTo>
                    <a:cubicBezTo>
                      <a:pt x="88" y="105"/>
                      <a:pt x="89" y="103"/>
                      <a:pt x="91" y="102"/>
                    </a:cubicBezTo>
                    <a:cubicBezTo>
                      <a:pt x="92" y="100"/>
                      <a:pt x="94" y="98"/>
                      <a:pt x="95" y="96"/>
                    </a:cubicBezTo>
                    <a:cubicBezTo>
                      <a:pt x="97" y="92"/>
                      <a:pt x="94" y="84"/>
                      <a:pt x="92" y="81"/>
                    </a:cubicBezTo>
                    <a:cubicBezTo>
                      <a:pt x="91" y="81"/>
                      <a:pt x="90" y="79"/>
                      <a:pt x="89" y="79"/>
                    </a:cubicBezTo>
                    <a:cubicBezTo>
                      <a:pt x="89" y="79"/>
                      <a:pt x="89" y="79"/>
                      <a:pt x="89" y="79"/>
                    </a:cubicBezTo>
                    <a:cubicBezTo>
                      <a:pt x="88" y="79"/>
                      <a:pt x="89" y="76"/>
                      <a:pt x="89" y="75"/>
                    </a:cubicBezTo>
                    <a:cubicBezTo>
                      <a:pt x="90" y="72"/>
                      <a:pt x="94" y="62"/>
                      <a:pt x="98" y="61"/>
                    </a:cubicBezTo>
                    <a:cubicBezTo>
                      <a:pt x="98" y="61"/>
                      <a:pt x="98" y="61"/>
                      <a:pt x="98" y="61"/>
                    </a:cubicBezTo>
                    <a:cubicBezTo>
                      <a:pt x="101" y="61"/>
                      <a:pt x="101" y="66"/>
                      <a:pt x="102" y="69"/>
                    </a:cubicBezTo>
                    <a:cubicBezTo>
                      <a:pt x="103" y="71"/>
                      <a:pt x="104" y="72"/>
                      <a:pt x="105" y="73"/>
                    </a:cubicBezTo>
                    <a:cubicBezTo>
                      <a:pt x="106" y="76"/>
                      <a:pt x="105" y="79"/>
                      <a:pt x="105" y="81"/>
                    </a:cubicBezTo>
                    <a:cubicBezTo>
                      <a:pt x="106" y="84"/>
                      <a:pt x="108" y="85"/>
                      <a:pt x="108" y="87"/>
                    </a:cubicBezTo>
                    <a:cubicBezTo>
                      <a:pt x="109" y="84"/>
                      <a:pt x="108" y="79"/>
                      <a:pt x="107" y="76"/>
                    </a:cubicBezTo>
                    <a:cubicBezTo>
                      <a:pt x="107" y="74"/>
                      <a:pt x="106" y="72"/>
                      <a:pt x="109" y="72"/>
                    </a:cubicBezTo>
                    <a:cubicBezTo>
                      <a:pt x="109" y="72"/>
                      <a:pt x="109" y="72"/>
                      <a:pt x="109" y="72"/>
                    </a:cubicBezTo>
                    <a:cubicBezTo>
                      <a:pt x="110" y="72"/>
                      <a:pt x="110" y="72"/>
                      <a:pt x="110" y="73"/>
                    </a:cubicBezTo>
                    <a:cubicBezTo>
                      <a:pt x="111" y="73"/>
                      <a:pt x="111" y="74"/>
                      <a:pt x="111" y="74"/>
                    </a:cubicBezTo>
                    <a:cubicBezTo>
                      <a:pt x="112" y="74"/>
                      <a:pt x="112" y="74"/>
                      <a:pt x="113" y="72"/>
                    </a:cubicBezTo>
                    <a:cubicBezTo>
                      <a:pt x="113" y="70"/>
                      <a:pt x="114" y="70"/>
                      <a:pt x="114" y="70"/>
                    </a:cubicBezTo>
                    <a:cubicBezTo>
                      <a:pt x="115" y="68"/>
                      <a:pt x="117" y="65"/>
                      <a:pt x="117" y="64"/>
                    </a:cubicBezTo>
                    <a:cubicBezTo>
                      <a:pt x="118" y="61"/>
                      <a:pt x="117" y="57"/>
                      <a:pt x="117" y="53"/>
                    </a:cubicBezTo>
                    <a:cubicBezTo>
                      <a:pt x="117" y="50"/>
                      <a:pt x="114" y="49"/>
                      <a:pt x="112" y="47"/>
                    </a:cubicBezTo>
                    <a:cubicBezTo>
                      <a:pt x="115" y="45"/>
                      <a:pt x="113" y="42"/>
                      <a:pt x="115" y="39"/>
                    </a:cubicBezTo>
                    <a:cubicBezTo>
                      <a:pt x="113" y="39"/>
                      <a:pt x="113" y="40"/>
                      <a:pt x="112" y="40"/>
                    </a:cubicBezTo>
                    <a:cubicBezTo>
                      <a:pt x="110" y="40"/>
                      <a:pt x="113" y="36"/>
                      <a:pt x="113" y="33"/>
                    </a:cubicBezTo>
                    <a:cubicBezTo>
                      <a:pt x="112" y="32"/>
                      <a:pt x="111" y="32"/>
                      <a:pt x="110" y="32"/>
                    </a:cubicBezTo>
                    <a:cubicBezTo>
                      <a:pt x="110" y="32"/>
                      <a:pt x="109" y="32"/>
                      <a:pt x="109" y="32"/>
                    </a:cubicBezTo>
                    <a:cubicBezTo>
                      <a:pt x="108" y="32"/>
                      <a:pt x="108" y="32"/>
                      <a:pt x="108" y="32"/>
                    </a:cubicBezTo>
                    <a:cubicBezTo>
                      <a:pt x="107" y="32"/>
                      <a:pt x="107" y="32"/>
                      <a:pt x="106" y="31"/>
                    </a:cubicBezTo>
                    <a:cubicBezTo>
                      <a:pt x="104" y="29"/>
                      <a:pt x="110" y="27"/>
                      <a:pt x="110" y="25"/>
                    </a:cubicBezTo>
                    <a:cubicBezTo>
                      <a:pt x="113" y="21"/>
                      <a:pt x="108" y="17"/>
                      <a:pt x="108" y="12"/>
                    </a:cubicBezTo>
                    <a:cubicBezTo>
                      <a:pt x="107" y="13"/>
                      <a:pt x="106" y="13"/>
                      <a:pt x="105" y="13"/>
                    </a:cubicBezTo>
                    <a:cubicBezTo>
                      <a:pt x="104" y="13"/>
                      <a:pt x="103" y="12"/>
                      <a:pt x="102" y="9"/>
                    </a:cubicBezTo>
                    <a:cubicBezTo>
                      <a:pt x="100" y="5"/>
                      <a:pt x="93" y="2"/>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Freeform 51"/>
              <p:cNvSpPr/>
              <p:nvPr/>
            </p:nvSpPr>
            <p:spPr bwMode="auto">
              <a:xfrm>
                <a:off x="5363" y="3606"/>
                <a:ext cx="16" cy="14"/>
              </a:xfrm>
              <a:custGeom>
                <a:gdLst>
                  <a:gd name="T0" fmla="*/ 4 w 7"/>
                  <a:gd name="T1" fmla="*/ 0 h 6"/>
                  <a:gd name="T2" fmla="*/ 0 w 7"/>
                  <a:gd name="T3" fmla="*/ 1 h 6"/>
                  <a:gd name="T4" fmla="*/ 5 w 7"/>
                  <a:gd name="T5" fmla="*/ 6 h 6"/>
                  <a:gd name="T6" fmla="*/ 5 w 7"/>
                  <a:gd name="T7" fmla="*/ 0 h 6"/>
                  <a:gd name="T8" fmla="*/ 4 w 7"/>
                  <a:gd name="T9" fmla="*/ 0 h 6"/>
                </a:gdLst>
                <a:cxnLst>
                  <a:cxn ang="0">
                    <a:pos x="T0" y="T1"/>
                  </a:cxn>
                  <a:cxn ang="0">
                    <a:pos x="T2" y="T3"/>
                  </a:cxn>
                  <a:cxn ang="0">
                    <a:pos x="T4" y="T5"/>
                  </a:cxn>
                  <a:cxn ang="0">
                    <a:pos x="T6" y="T7"/>
                  </a:cxn>
                  <a:cxn ang="0">
                    <a:pos x="T8" y="T9"/>
                  </a:cxn>
                </a:cxnLst>
                <a:rect l="0" t="0" r="r" b="b"/>
                <a:pathLst>
                  <a:path w="7" h="6">
                    <a:moveTo>
                      <a:pt x="4" y="0"/>
                    </a:moveTo>
                    <a:cubicBezTo>
                      <a:pt x="2" y="0"/>
                      <a:pt x="0" y="0"/>
                      <a:pt x="0" y="1"/>
                    </a:cubicBezTo>
                    <a:cubicBezTo>
                      <a:pt x="0" y="2"/>
                      <a:pt x="5" y="5"/>
                      <a:pt x="5" y="6"/>
                    </a:cubicBezTo>
                    <a:cubicBezTo>
                      <a:pt x="6" y="3"/>
                      <a:pt x="7"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4" name="Freeform 52"/>
              <p:cNvSpPr/>
              <p:nvPr/>
            </p:nvSpPr>
            <p:spPr bwMode="auto">
              <a:xfrm>
                <a:off x="5320" y="3455"/>
                <a:ext cx="24" cy="23"/>
              </a:xfrm>
              <a:custGeom>
                <a:gdLst>
                  <a:gd name="T0" fmla="*/ 7 w 10"/>
                  <a:gd name="T1" fmla="*/ 0 h 10"/>
                  <a:gd name="T2" fmla="*/ 6 w 10"/>
                  <a:gd name="T3" fmla="*/ 0 h 10"/>
                  <a:gd name="T4" fmla="*/ 6 w 10"/>
                  <a:gd name="T5" fmla="*/ 10 h 10"/>
                  <a:gd name="T6" fmla="*/ 7 w 10"/>
                  <a:gd name="T7" fmla="*/ 4 h 10"/>
                  <a:gd name="T8" fmla="*/ 8 w 10"/>
                  <a:gd name="T9" fmla="*/ 2 h 10"/>
                  <a:gd name="T10" fmla="*/ 7 w 10"/>
                  <a:gd name="T11" fmla="*/ 0 h 10"/>
                </a:gdLst>
                <a:cxnLst>
                  <a:cxn ang="0">
                    <a:pos x="T0" y="T1"/>
                  </a:cxn>
                  <a:cxn ang="0">
                    <a:pos x="T2" y="T3"/>
                  </a:cxn>
                  <a:cxn ang="0">
                    <a:pos x="T4" y="T5"/>
                  </a:cxn>
                  <a:cxn ang="0">
                    <a:pos x="T6" y="T7"/>
                  </a:cxn>
                  <a:cxn ang="0">
                    <a:pos x="T8" y="T9"/>
                  </a:cxn>
                  <a:cxn ang="0">
                    <a:pos x="T10" y="T11"/>
                  </a:cxn>
                </a:cxnLst>
                <a:rect l="0" t="0" r="r" b="b"/>
                <a:pathLst>
                  <a:path w="10" h="10">
                    <a:moveTo>
                      <a:pt x="7" y="0"/>
                    </a:moveTo>
                    <a:cubicBezTo>
                      <a:pt x="7" y="0"/>
                      <a:pt x="6" y="0"/>
                      <a:pt x="6" y="0"/>
                    </a:cubicBezTo>
                    <a:cubicBezTo>
                      <a:pt x="0" y="0"/>
                      <a:pt x="5" y="7"/>
                      <a:pt x="6" y="10"/>
                    </a:cubicBezTo>
                    <a:cubicBezTo>
                      <a:pt x="10" y="7"/>
                      <a:pt x="7" y="7"/>
                      <a:pt x="7" y="4"/>
                    </a:cubicBezTo>
                    <a:cubicBezTo>
                      <a:pt x="7" y="3"/>
                      <a:pt x="8" y="3"/>
                      <a:pt x="8" y="2"/>
                    </a:cubicBezTo>
                    <a:cubicBezTo>
                      <a:pt x="8" y="1"/>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5" name="Freeform 53"/>
              <p:cNvSpPr/>
              <p:nvPr/>
            </p:nvSpPr>
            <p:spPr bwMode="auto">
              <a:xfrm>
                <a:off x="5365" y="3708"/>
                <a:ext cx="14" cy="21"/>
              </a:xfrm>
              <a:custGeom>
                <a:gdLst>
                  <a:gd name="T0" fmla="*/ 5 w 6"/>
                  <a:gd name="T1" fmla="*/ 0 h 9"/>
                  <a:gd name="T2" fmla="*/ 2 w 6"/>
                  <a:gd name="T3" fmla="*/ 6 h 9"/>
                  <a:gd name="T4" fmla="*/ 2 w 6"/>
                  <a:gd name="T5" fmla="*/ 9 h 9"/>
                  <a:gd name="T6" fmla="*/ 5 w 6"/>
                  <a:gd name="T7" fmla="*/ 0 h 9"/>
                </a:gdLst>
                <a:cxnLst>
                  <a:cxn ang="0">
                    <a:pos x="T0" y="T1"/>
                  </a:cxn>
                  <a:cxn ang="0">
                    <a:pos x="T2" y="T3"/>
                  </a:cxn>
                  <a:cxn ang="0">
                    <a:pos x="T4" y="T5"/>
                  </a:cxn>
                  <a:cxn ang="0">
                    <a:pos x="T6" y="T7"/>
                  </a:cxn>
                </a:cxnLst>
                <a:rect l="0" t="0" r="r" b="b"/>
                <a:pathLst>
                  <a:path w="6" h="9">
                    <a:moveTo>
                      <a:pt x="5" y="0"/>
                    </a:moveTo>
                    <a:cubicBezTo>
                      <a:pt x="4" y="2"/>
                      <a:pt x="1" y="4"/>
                      <a:pt x="2" y="6"/>
                    </a:cubicBezTo>
                    <a:cubicBezTo>
                      <a:pt x="0" y="6"/>
                      <a:pt x="1" y="8"/>
                      <a:pt x="2" y="9"/>
                    </a:cubicBezTo>
                    <a:cubicBezTo>
                      <a:pt x="4" y="6"/>
                      <a:pt x="6"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Freeform 54"/>
              <p:cNvSpPr/>
              <p:nvPr/>
            </p:nvSpPr>
            <p:spPr bwMode="auto">
              <a:xfrm>
                <a:off x="5566" y="3750"/>
                <a:ext cx="14" cy="17"/>
              </a:xfrm>
              <a:custGeom>
                <a:gdLst>
                  <a:gd name="T0" fmla="*/ 4 w 6"/>
                  <a:gd name="T1" fmla="*/ 0 h 7"/>
                  <a:gd name="T2" fmla="*/ 3 w 6"/>
                  <a:gd name="T3" fmla="*/ 7 h 7"/>
                  <a:gd name="T4" fmla="*/ 6 w 6"/>
                  <a:gd name="T5" fmla="*/ 6 h 7"/>
                  <a:gd name="T6" fmla="*/ 4 w 6"/>
                  <a:gd name="T7" fmla="*/ 0 h 7"/>
                </a:gdLst>
                <a:cxnLst>
                  <a:cxn ang="0">
                    <a:pos x="T0" y="T1"/>
                  </a:cxn>
                  <a:cxn ang="0">
                    <a:pos x="T2" y="T3"/>
                  </a:cxn>
                  <a:cxn ang="0">
                    <a:pos x="T4" y="T5"/>
                  </a:cxn>
                  <a:cxn ang="0">
                    <a:pos x="T6" y="T7"/>
                  </a:cxn>
                </a:cxnLst>
                <a:rect l="0" t="0" r="r" b="b"/>
                <a:pathLst>
                  <a:path w="6" h="7">
                    <a:moveTo>
                      <a:pt x="4" y="0"/>
                    </a:moveTo>
                    <a:cubicBezTo>
                      <a:pt x="2" y="3"/>
                      <a:pt x="0" y="5"/>
                      <a:pt x="3" y="7"/>
                    </a:cubicBezTo>
                    <a:cubicBezTo>
                      <a:pt x="4" y="7"/>
                      <a:pt x="5" y="6"/>
                      <a:pt x="6" y="6"/>
                    </a:cubicBezTo>
                    <a:cubicBezTo>
                      <a:pt x="5"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Freeform 55"/>
              <p:cNvSpPr/>
              <p:nvPr/>
            </p:nvSpPr>
            <p:spPr bwMode="auto">
              <a:xfrm>
                <a:off x="5424" y="3793"/>
                <a:ext cx="17" cy="14"/>
              </a:xfrm>
              <a:custGeom>
                <a:gdLst>
                  <a:gd name="T0" fmla="*/ 3 w 7"/>
                  <a:gd name="T1" fmla="*/ 0 h 6"/>
                  <a:gd name="T2" fmla="*/ 0 w 7"/>
                  <a:gd name="T3" fmla="*/ 3 h 6"/>
                  <a:gd name="T4" fmla="*/ 3 w 7"/>
                  <a:gd name="T5" fmla="*/ 6 h 6"/>
                  <a:gd name="T6" fmla="*/ 3 w 7"/>
                  <a:gd name="T7" fmla="*/ 0 h 6"/>
                </a:gdLst>
                <a:cxnLst>
                  <a:cxn ang="0">
                    <a:pos x="T0" y="T1"/>
                  </a:cxn>
                  <a:cxn ang="0">
                    <a:pos x="T2" y="T3"/>
                  </a:cxn>
                  <a:cxn ang="0">
                    <a:pos x="T4" y="T5"/>
                  </a:cxn>
                  <a:cxn ang="0">
                    <a:pos x="T6" y="T7"/>
                  </a:cxn>
                </a:cxnLst>
                <a:rect l="0" t="0" r="r" b="b"/>
                <a:pathLst>
                  <a:path w="7" h="6">
                    <a:moveTo>
                      <a:pt x="3" y="0"/>
                    </a:moveTo>
                    <a:cubicBezTo>
                      <a:pt x="3" y="2"/>
                      <a:pt x="0" y="2"/>
                      <a:pt x="0" y="3"/>
                    </a:cubicBezTo>
                    <a:cubicBezTo>
                      <a:pt x="0" y="4"/>
                      <a:pt x="2" y="5"/>
                      <a:pt x="3" y="6"/>
                    </a:cubicBezTo>
                    <a:cubicBezTo>
                      <a:pt x="7" y="5"/>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8" name="Freeform 56"/>
              <p:cNvSpPr/>
              <p:nvPr/>
            </p:nvSpPr>
            <p:spPr bwMode="auto">
              <a:xfrm>
                <a:off x="5044" y="3866"/>
                <a:ext cx="12" cy="14"/>
              </a:xfrm>
              <a:custGeom>
                <a:gdLst>
                  <a:gd name="T0" fmla="*/ 2 w 5"/>
                  <a:gd name="T1" fmla="*/ 0 h 6"/>
                  <a:gd name="T2" fmla="*/ 2 w 5"/>
                  <a:gd name="T3" fmla="*/ 6 h 6"/>
                  <a:gd name="T4" fmla="*/ 3 w 5"/>
                  <a:gd name="T5" fmla="*/ 2 h 6"/>
                  <a:gd name="T6" fmla="*/ 3 w 5"/>
                  <a:gd name="T7" fmla="*/ 0 h 6"/>
                  <a:gd name="T8" fmla="*/ 2 w 5"/>
                  <a:gd name="T9" fmla="*/ 0 h 6"/>
                </a:gdLst>
                <a:cxnLst>
                  <a:cxn ang="0">
                    <a:pos x="T0" y="T1"/>
                  </a:cxn>
                  <a:cxn ang="0">
                    <a:pos x="T2" y="T3"/>
                  </a:cxn>
                  <a:cxn ang="0">
                    <a:pos x="T4" y="T5"/>
                  </a:cxn>
                  <a:cxn ang="0">
                    <a:pos x="T6" y="T7"/>
                  </a:cxn>
                  <a:cxn ang="0">
                    <a:pos x="T8" y="T9"/>
                  </a:cxn>
                </a:cxnLst>
                <a:rect l="0" t="0" r="r" b="b"/>
                <a:pathLst>
                  <a:path w="5" h="6">
                    <a:moveTo>
                      <a:pt x="2" y="0"/>
                    </a:moveTo>
                    <a:cubicBezTo>
                      <a:pt x="0" y="0"/>
                      <a:pt x="2" y="6"/>
                      <a:pt x="2" y="6"/>
                    </a:cubicBezTo>
                    <a:cubicBezTo>
                      <a:pt x="3" y="5"/>
                      <a:pt x="5" y="3"/>
                      <a:pt x="3" y="2"/>
                    </a:cubicBezTo>
                    <a:cubicBezTo>
                      <a:pt x="3" y="1"/>
                      <a:pt x="4" y="0"/>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Freeform 57"/>
              <p:cNvSpPr/>
              <p:nvPr/>
            </p:nvSpPr>
            <p:spPr bwMode="auto">
              <a:xfrm>
                <a:off x="5330" y="3944"/>
                <a:ext cx="30" cy="19"/>
              </a:xfrm>
              <a:custGeom>
                <a:gdLst>
                  <a:gd name="T0" fmla="*/ 5 w 13"/>
                  <a:gd name="T1" fmla="*/ 0 h 8"/>
                  <a:gd name="T2" fmla="*/ 3 w 13"/>
                  <a:gd name="T3" fmla="*/ 1 h 8"/>
                  <a:gd name="T4" fmla="*/ 1 w 13"/>
                  <a:gd name="T5" fmla="*/ 2 h 8"/>
                  <a:gd name="T6" fmla="*/ 0 w 13"/>
                  <a:gd name="T7" fmla="*/ 1 h 8"/>
                  <a:gd name="T8" fmla="*/ 3 w 13"/>
                  <a:gd name="T9" fmla="*/ 8 h 8"/>
                  <a:gd name="T10" fmla="*/ 8 w 13"/>
                  <a:gd name="T11" fmla="*/ 7 h 8"/>
                  <a:gd name="T12" fmla="*/ 9 w 13"/>
                  <a:gd name="T13" fmla="*/ 5 h 8"/>
                  <a:gd name="T14" fmla="*/ 9 w 13"/>
                  <a:gd name="T15" fmla="*/ 2 h 8"/>
                  <a:gd name="T16" fmla="*/ 6 w 13"/>
                  <a:gd name="T17" fmla="*/ 0 h 8"/>
                  <a:gd name="T18" fmla="*/ 5 w 13"/>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8">
                    <a:moveTo>
                      <a:pt x="5" y="0"/>
                    </a:moveTo>
                    <a:cubicBezTo>
                      <a:pt x="4" y="0"/>
                      <a:pt x="4" y="0"/>
                      <a:pt x="3" y="1"/>
                    </a:cubicBezTo>
                    <a:cubicBezTo>
                      <a:pt x="2" y="1"/>
                      <a:pt x="1" y="2"/>
                      <a:pt x="1" y="2"/>
                    </a:cubicBezTo>
                    <a:cubicBezTo>
                      <a:pt x="0" y="2"/>
                      <a:pt x="0" y="2"/>
                      <a:pt x="0" y="1"/>
                    </a:cubicBezTo>
                    <a:cubicBezTo>
                      <a:pt x="0" y="4"/>
                      <a:pt x="2" y="6"/>
                      <a:pt x="3" y="8"/>
                    </a:cubicBezTo>
                    <a:cubicBezTo>
                      <a:pt x="4" y="8"/>
                      <a:pt x="7" y="8"/>
                      <a:pt x="8" y="7"/>
                    </a:cubicBezTo>
                    <a:cubicBezTo>
                      <a:pt x="9" y="6"/>
                      <a:pt x="8" y="5"/>
                      <a:pt x="9" y="5"/>
                    </a:cubicBezTo>
                    <a:cubicBezTo>
                      <a:pt x="11" y="3"/>
                      <a:pt x="13" y="3"/>
                      <a:pt x="9" y="2"/>
                    </a:cubicBezTo>
                    <a:cubicBezTo>
                      <a:pt x="7" y="1"/>
                      <a:pt x="7" y="0"/>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Freeform 58"/>
              <p:cNvSpPr/>
              <p:nvPr/>
            </p:nvSpPr>
            <p:spPr bwMode="auto">
              <a:xfrm>
                <a:off x="5552" y="3918"/>
                <a:ext cx="5" cy="17"/>
              </a:xfrm>
              <a:custGeom>
                <a:gdLst>
                  <a:gd name="T0" fmla="*/ 1 w 2"/>
                  <a:gd name="T1" fmla="*/ 0 h 7"/>
                  <a:gd name="T2" fmla="*/ 2 w 2"/>
                  <a:gd name="T3" fmla="*/ 7 h 7"/>
                  <a:gd name="T4" fmla="*/ 1 w 2"/>
                  <a:gd name="T5" fmla="*/ 0 h 7"/>
                </a:gdLst>
                <a:cxnLst>
                  <a:cxn ang="0">
                    <a:pos x="T0" y="T1"/>
                  </a:cxn>
                  <a:cxn ang="0">
                    <a:pos x="T2" y="T3"/>
                  </a:cxn>
                  <a:cxn ang="0">
                    <a:pos x="T4" y="T5"/>
                  </a:cxn>
                </a:cxnLst>
                <a:rect l="0" t="0" r="r" b="b"/>
                <a:pathLst>
                  <a:path w="2" h="7">
                    <a:moveTo>
                      <a:pt x="1" y="0"/>
                    </a:moveTo>
                    <a:cubicBezTo>
                      <a:pt x="0" y="2"/>
                      <a:pt x="1" y="5"/>
                      <a:pt x="2" y="7"/>
                    </a:cubicBezTo>
                    <a:cubicBezTo>
                      <a:pt x="2" y="5"/>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Freeform 59"/>
              <p:cNvSpPr/>
              <p:nvPr/>
            </p:nvSpPr>
            <p:spPr bwMode="auto">
              <a:xfrm>
                <a:off x="5327" y="3107"/>
                <a:ext cx="3"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2" name="Freeform 60"/>
              <p:cNvSpPr/>
              <p:nvPr/>
            </p:nvSpPr>
            <p:spPr bwMode="auto">
              <a:xfrm>
                <a:off x="5429" y="3594"/>
                <a:ext cx="14" cy="22"/>
              </a:xfrm>
              <a:custGeom>
                <a:gdLst>
                  <a:gd name="T0" fmla="*/ 1 w 6"/>
                  <a:gd name="T1" fmla="*/ 0 h 9"/>
                  <a:gd name="T2" fmla="*/ 6 w 6"/>
                  <a:gd name="T3" fmla="*/ 9 h 9"/>
                  <a:gd name="T4" fmla="*/ 1 w 6"/>
                  <a:gd name="T5" fmla="*/ 0 h 9"/>
                </a:gdLst>
                <a:cxnLst>
                  <a:cxn ang="0">
                    <a:pos x="T0" y="T1"/>
                  </a:cxn>
                  <a:cxn ang="0">
                    <a:pos x="T2" y="T3"/>
                  </a:cxn>
                  <a:cxn ang="0">
                    <a:pos x="T4" y="T5"/>
                  </a:cxn>
                </a:cxnLst>
                <a:rect l="0" t="0" r="r" b="b"/>
                <a:pathLst>
                  <a:path w="6" h="9">
                    <a:moveTo>
                      <a:pt x="1" y="0"/>
                    </a:moveTo>
                    <a:cubicBezTo>
                      <a:pt x="0" y="2"/>
                      <a:pt x="4" y="7"/>
                      <a:pt x="6" y="9"/>
                    </a:cubicBezTo>
                    <a:cubicBezTo>
                      <a:pt x="4" y="6"/>
                      <a:pt x="3"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Freeform 61"/>
              <p:cNvSpPr/>
              <p:nvPr/>
            </p:nvSpPr>
            <p:spPr bwMode="auto">
              <a:xfrm>
                <a:off x="5330" y="3216"/>
                <a:ext cx="4" cy="12"/>
              </a:xfrm>
              <a:custGeom>
                <a:gdLst>
                  <a:gd name="T0" fmla="*/ 2 w 2"/>
                  <a:gd name="T1" fmla="*/ 0 h 5"/>
                  <a:gd name="T2" fmla="*/ 0 w 2"/>
                  <a:gd name="T3" fmla="*/ 5 h 5"/>
                  <a:gd name="T4" fmla="*/ 2 w 2"/>
                  <a:gd name="T5" fmla="*/ 0 h 5"/>
                </a:gdLst>
                <a:cxnLst>
                  <a:cxn ang="0">
                    <a:pos x="T0" y="T1"/>
                  </a:cxn>
                  <a:cxn ang="0">
                    <a:pos x="T2" y="T3"/>
                  </a:cxn>
                  <a:cxn ang="0">
                    <a:pos x="T4" y="T5"/>
                  </a:cxn>
                </a:cxnLst>
                <a:rect l="0" t="0" r="r" b="b"/>
                <a:pathLst>
                  <a:path w="2" h="5">
                    <a:moveTo>
                      <a:pt x="2" y="0"/>
                    </a:moveTo>
                    <a:cubicBezTo>
                      <a:pt x="0" y="0"/>
                      <a:pt x="0" y="3"/>
                      <a:pt x="0" y="5"/>
                    </a:cubicBezTo>
                    <a:cubicBezTo>
                      <a:pt x="1"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Freeform 62"/>
              <p:cNvSpPr/>
              <p:nvPr/>
            </p:nvSpPr>
            <p:spPr bwMode="auto">
              <a:xfrm>
                <a:off x="5330" y="3639"/>
                <a:ext cx="75" cy="88"/>
              </a:xfrm>
              <a:custGeom>
                <a:gdLst>
                  <a:gd name="T0" fmla="*/ 3 w 32"/>
                  <a:gd name="T1" fmla="*/ 0 h 37"/>
                  <a:gd name="T2" fmla="*/ 0 w 32"/>
                  <a:gd name="T3" fmla="*/ 4 h 37"/>
                  <a:gd name="T4" fmla="*/ 1 w 32"/>
                  <a:gd name="T5" fmla="*/ 4 h 37"/>
                  <a:gd name="T6" fmla="*/ 6 w 32"/>
                  <a:gd name="T7" fmla="*/ 11 h 37"/>
                  <a:gd name="T8" fmla="*/ 5 w 32"/>
                  <a:gd name="T9" fmla="*/ 18 h 37"/>
                  <a:gd name="T10" fmla="*/ 3 w 32"/>
                  <a:gd name="T11" fmla="*/ 26 h 37"/>
                  <a:gd name="T12" fmla="*/ 3 w 32"/>
                  <a:gd name="T13" fmla="*/ 37 h 37"/>
                  <a:gd name="T14" fmla="*/ 5 w 32"/>
                  <a:gd name="T15" fmla="*/ 36 h 37"/>
                  <a:gd name="T16" fmla="*/ 24 w 32"/>
                  <a:gd name="T17" fmla="*/ 26 h 37"/>
                  <a:gd name="T18" fmla="*/ 31 w 32"/>
                  <a:gd name="T19" fmla="*/ 19 h 37"/>
                  <a:gd name="T20" fmla="*/ 31 w 32"/>
                  <a:gd name="T21" fmla="*/ 17 h 37"/>
                  <a:gd name="T22" fmla="*/ 32 w 32"/>
                  <a:gd name="T23" fmla="*/ 13 h 37"/>
                  <a:gd name="T24" fmla="*/ 30 w 32"/>
                  <a:gd name="T25" fmla="*/ 10 h 37"/>
                  <a:gd name="T26" fmla="*/ 25 w 32"/>
                  <a:gd name="T27" fmla="*/ 12 h 37"/>
                  <a:gd name="T28" fmla="*/ 16 w 32"/>
                  <a:gd name="T29" fmla="*/ 8 h 37"/>
                  <a:gd name="T30" fmla="*/ 3 w 32"/>
                  <a:gd name="T31"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37">
                    <a:moveTo>
                      <a:pt x="3" y="0"/>
                    </a:moveTo>
                    <a:cubicBezTo>
                      <a:pt x="1" y="1"/>
                      <a:pt x="1" y="2"/>
                      <a:pt x="0" y="4"/>
                    </a:cubicBezTo>
                    <a:cubicBezTo>
                      <a:pt x="1" y="4"/>
                      <a:pt x="1" y="4"/>
                      <a:pt x="1" y="4"/>
                    </a:cubicBezTo>
                    <a:cubicBezTo>
                      <a:pt x="6" y="6"/>
                      <a:pt x="6" y="6"/>
                      <a:pt x="6" y="11"/>
                    </a:cubicBezTo>
                    <a:cubicBezTo>
                      <a:pt x="5" y="13"/>
                      <a:pt x="5" y="16"/>
                      <a:pt x="5" y="18"/>
                    </a:cubicBezTo>
                    <a:cubicBezTo>
                      <a:pt x="5" y="22"/>
                      <a:pt x="4" y="23"/>
                      <a:pt x="3" y="26"/>
                    </a:cubicBezTo>
                    <a:cubicBezTo>
                      <a:pt x="3" y="29"/>
                      <a:pt x="0" y="37"/>
                      <a:pt x="3" y="37"/>
                    </a:cubicBezTo>
                    <a:cubicBezTo>
                      <a:pt x="3" y="37"/>
                      <a:pt x="4" y="37"/>
                      <a:pt x="5" y="36"/>
                    </a:cubicBezTo>
                    <a:cubicBezTo>
                      <a:pt x="11" y="33"/>
                      <a:pt x="19" y="31"/>
                      <a:pt x="24" y="26"/>
                    </a:cubicBezTo>
                    <a:cubicBezTo>
                      <a:pt x="26" y="24"/>
                      <a:pt x="31" y="21"/>
                      <a:pt x="31" y="19"/>
                    </a:cubicBezTo>
                    <a:cubicBezTo>
                      <a:pt x="32" y="18"/>
                      <a:pt x="31" y="18"/>
                      <a:pt x="31" y="17"/>
                    </a:cubicBezTo>
                    <a:cubicBezTo>
                      <a:pt x="31" y="16"/>
                      <a:pt x="32" y="14"/>
                      <a:pt x="32" y="13"/>
                    </a:cubicBezTo>
                    <a:cubicBezTo>
                      <a:pt x="32" y="11"/>
                      <a:pt x="31" y="10"/>
                      <a:pt x="30" y="10"/>
                    </a:cubicBezTo>
                    <a:cubicBezTo>
                      <a:pt x="29" y="10"/>
                      <a:pt x="27" y="11"/>
                      <a:pt x="25" y="12"/>
                    </a:cubicBezTo>
                    <a:cubicBezTo>
                      <a:pt x="23" y="10"/>
                      <a:pt x="19" y="10"/>
                      <a:pt x="16" y="8"/>
                    </a:cubicBezTo>
                    <a:cubicBezTo>
                      <a:pt x="12" y="6"/>
                      <a:pt x="7"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63"/>
              <p:cNvSpPr/>
              <p:nvPr/>
            </p:nvSpPr>
            <p:spPr bwMode="auto">
              <a:xfrm>
                <a:off x="5393" y="3571"/>
                <a:ext cx="8" cy="4"/>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0" y="2"/>
                      <a:pt x="1" y="2"/>
                      <a:pt x="3"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Freeform 64"/>
              <p:cNvSpPr/>
              <p:nvPr/>
            </p:nvSpPr>
            <p:spPr bwMode="auto">
              <a:xfrm>
                <a:off x="5214" y="4027"/>
                <a:ext cx="24" cy="16"/>
              </a:xfrm>
              <a:custGeom>
                <a:gdLst>
                  <a:gd name="T0" fmla="*/ 8 w 10"/>
                  <a:gd name="T1" fmla="*/ 0 h 7"/>
                  <a:gd name="T2" fmla="*/ 0 w 10"/>
                  <a:gd name="T3" fmla="*/ 7 h 7"/>
                  <a:gd name="T4" fmla="*/ 3 w 10"/>
                  <a:gd name="T5" fmla="*/ 5 h 7"/>
                  <a:gd name="T6" fmla="*/ 4 w 10"/>
                  <a:gd name="T7" fmla="*/ 4 h 7"/>
                  <a:gd name="T8" fmla="*/ 5 w 10"/>
                  <a:gd name="T9" fmla="*/ 3 h 7"/>
                  <a:gd name="T10" fmla="*/ 5 w 10"/>
                  <a:gd name="T11" fmla="*/ 4 h 7"/>
                  <a:gd name="T12" fmla="*/ 6 w 10"/>
                  <a:gd name="T13" fmla="*/ 4 h 7"/>
                  <a:gd name="T14" fmla="*/ 6 w 10"/>
                  <a:gd name="T15" fmla="*/ 2 h 7"/>
                  <a:gd name="T16" fmla="*/ 7 w 10"/>
                  <a:gd name="T17" fmla="*/ 4 h 7"/>
                  <a:gd name="T18" fmla="*/ 9 w 10"/>
                  <a:gd name="T19" fmla="*/ 5 h 7"/>
                  <a:gd name="T20" fmla="*/ 10 w 10"/>
                  <a:gd name="T21" fmla="*/ 2 h 7"/>
                  <a:gd name="T22" fmla="*/ 8 w 10"/>
                  <a:gd name="T2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7">
                    <a:moveTo>
                      <a:pt x="8" y="0"/>
                    </a:moveTo>
                    <a:cubicBezTo>
                      <a:pt x="6" y="0"/>
                      <a:pt x="1" y="5"/>
                      <a:pt x="0" y="7"/>
                    </a:cubicBezTo>
                    <a:cubicBezTo>
                      <a:pt x="1" y="6"/>
                      <a:pt x="3" y="5"/>
                      <a:pt x="3" y="5"/>
                    </a:cubicBezTo>
                    <a:cubicBezTo>
                      <a:pt x="4" y="5"/>
                      <a:pt x="4" y="4"/>
                      <a:pt x="4" y="4"/>
                    </a:cubicBezTo>
                    <a:cubicBezTo>
                      <a:pt x="4" y="4"/>
                      <a:pt x="5" y="3"/>
                      <a:pt x="5" y="3"/>
                    </a:cubicBezTo>
                    <a:cubicBezTo>
                      <a:pt x="5" y="3"/>
                      <a:pt x="5" y="4"/>
                      <a:pt x="5" y="4"/>
                    </a:cubicBezTo>
                    <a:cubicBezTo>
                      <a:pt x="6" y="4"/>
                      <a:pt x="6" y="4"/>
                      <a:pt x="6" y="4"/>
                    </a:cubicBezTo>
                    <a:cubicBezTo>
                      <a:pt x="6" y="4"/>
                      <a:pt x="6" y="3"/>
                      <a:pt x="6" y="2"/>
                    </a:cubicBezTo>
                    <a:cubicBezTo>
                      <a:pt x="7" y="3"/>
                      <a:pt x="7" y="3"/>
                      <a:pt x="7" y="4"/>
                    </a:cubicBezTo>
                    <a:cubicBezTo>
                      <a:pt x="8" y="4"/>
                      <a:pt x="8" y="4"/>
                      <a:pt x="9" y="5"/>
                    </a:cubicBezTo>
                    <a:cubicBezTo>
                      <a:pt x="9" y="4"/>
                      <a:pt x="10" y="2"/>
                      <a:pt x="10" y="2"/>
                    </a:cubicBezTo>
                    <a:cubicBezTo>
                      <a:pt x="9"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Freeform 65"/>
              <p:cNvSpPr/>
              <p:nvPr/>
            </p:nvSpPr>
            <p:spPr bwMode="auto">
              <a:xfrm>
                <a:off x="5301" y="3195"/>
                <a:ext cx="10" cy="7"/>
              </a:xfrm>
              <a:custGeom>
                <a:gdLst>
                  <a:gd name="T0" fmla="*/ 4 w 4"/>
                  <a:gd name="T1" fmla="*/ 0 h 3"/>
                  <a:gd name="T2" fmla="*/ 0 w 4"/>
                  <a:gd name="T3" fmla="*/ 0 h 3"/>
                  <a:gd name="T4" fmla="*/ 4 w 4"/>
                  <a:gd name="T5" fmla="*/ 3 h 3"/>
                  <a:gd name="T6" fmla="*/ 4 w 4"/>
                  <a:gd name="T7" fmla="*/ 0 h 3"/>
                </a:gdLst>
                <a:cxnLst>
                  <a:cxn ang="0">
                    <a:pos x="T0" y="T1"/>
                  </a:cxn>
                  <a:cxn ang="0">
                    <a:pos x="T2" y="T3"/>
                  </a:cxn>
                  <a:cxn ang="0">
                    <a:pos x="T4" y="T5"/>
                  </a:cxn>
                  <a:cxn ang="0">
                    <a:pos x="T6" y="T7"/>
                  </a:cxn>
                </a:cxnLst>
                <a:rect l="0" t="0" r="r" b="b"/>
                <a:pathLst>
                  <a:path w="4" h="3">
                    <a:moveTo>
                      <a:pt x="4" y="0"/>
                    </a:moveTo>
                    <a:cubicBezTo>
                      <a:pt x="3" y="0"/>
                      <a:pt x="1" y="0"/>
                      <a:pt x="0" y="0"/>
                    </a:cubicBezTo>
                    <a:cubicBezTo>
                      <a:pt x="1" y="2"/>
                      <a:pt x="2" y="3"/>
                      <a:pt x="4" y="3"/>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Freeform 66"/>
              <p:cNvSpPr/>
              <p:nvPr/>
            </p:nvSpPr>
            <p:spPr bwMode="auto">
              <a:xfrm>
                <a:off x="5474" y="3653"/>
                <a:ext cx="21" cy="15"/>
              </a:xfrm>
              <a:custGeom>
                <a:gdLst>
                  <a:gd name="T0" fmla="*/ 2 w 9"/>
                  <a:gd name="T1" fmla="*/ 0 h 6"/>
                  <a:gd name="T2" fmla="*/ 0 w 9"/>
                  <a:gd name="T3" fmla="*/ 0 h 6"/>
                  <a:gd name="T4" fmla="*/ 4 w 9"/>
                  <a:gd name="T5" fmla="*/ 6 h 6"/>
                  <a:gd name="T6" fmla="*/ 2 w 9"/>
                  <a:gd name="T7" fmla="*/ 0 h 6"/>
                </a:gdLst>
                <a:cxnLst>
                  <a:cxn ang="0">
                    <a:pos x="T0" y="T1"/>
                  </a:cxn>
                  <a:cxn ang="0">
                    <a:pos x="T2" y="T3"/>
                  </a:cxn>
                  <a:cxn ang="0">
                    <a:pos x="T4" y="T5"/>
                  </a:cxn>
                  <a:cxn ang="0">
                    <a:pos x="T6" y="T7"/>
                  </a:cxn>
                </a:cxnLst>
                <a:rect l="0" t="0" r="r" b="b"/>
                <a:pathLst>
                  <a:path w="9" h="6">
                    <a:moveTo>
                      <a:pt x="2" y="0"/>
                    </a:moveTo>
                    <a:cubicBezTo>
                      <a:pt x="1" y="0"/>
                      <a:pt x="1" y="0"/>
                      <a:pt x="0" y="0"/>
                    </a:cubicBezTo>
                    <a:cubicBezTo>
                      <a:pt x="2" y="2"/>
                      <a:pt x="2" y="4"/>
                      <a:pt x="4" y="6"/>
                    </a:cubicBezTo>
                    <a:cubicBezTo>
                      <a:pt x="9" y="4"/>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67"/>
              <p:cNvSpPr/>
              <p:nvPr/>
            </p:nvSpPr>
            <p:spPr bwMode="auto">
              <a:xfrm>
                <a:off x="5327" y="3542"/>
                <a:ext cx="22" cy="21"/>
              </a:xfrm>
              <a:custGeom>
                <a:gdLst>
                  <a:gd name="T0" fmla="*/ 1 w 9"/>
                  <a:gd name="T1" fmla="*/ 0 h 9"/>
                  <a:gd name="T2" fmla="*/ 0 w 9"/>
                  <a:gd name="T3" fmla="*/ 4 h 9"/>
                  <a:gd name="T4" fmla="*/ 5 w 9"/>
                  <a:gd name="T5" fmla="*/ 9 h 9"/>
                  <a:gd name="T6" fmla="*/ 6 w 9"/>
                  <a:gd name="T7" fmla="*/ 1 h 9"/>
                  <a:gd name="T8" fmla="*/ 1 w 9"/>
                  <a:gd name="T9" fmla="*/ 0 h 9"/>
                </a:gdLst>
                <a:cxnLst>
                  <a:cxn ang="0">
                    <a:pos x="T0" y="T1"/>
                  </a:cxn>
                  <a:cxn ang="0">
                    <a:pos x="T2" y="T3"/>
                  </a:cxn>
                  <a:cxn ang="0">
                    <a:pos x="T4" y="T5"/>
                  </a:cxn>
                  <a:cxn ang="0">
                    <a:pos x="T6" y="T7"/>
                  </a:cxn>
                  <a:cxn ang="0">
                    <a:pos x="T8" y="T9"/>
                  </a:cxn>
                </a:cxnLst>
                <a:rect l="0" t="0" r="r" b="b"/>
                <a:pathLst>
                  <a:path w="9" h="9">
                    <a:moveTo>
                      <a:pt x="1" y="0"/>
                    </a:moveTo>
                    <a:cubicBezTo>
                      <a:pt x="1" y="1"/>
                      <a:pt x="0" y="3"/>
                      <a:pt x="0" y="4"/>
                    </a:cubicBezTo>
                    <a:cubicBezTo>
                      <a:pt x="1" y="7"/>
                      <a:pt x="3" y="8"/>
                      <a:pt x="5" y="9"/>
                    </a:cubicBezTo>
                    <a:cubicBezTo>
                      <a:pt x="7" y="6"/>
                      <a:pt x="9" y="3"/>
                      <a:pt x="6" y="1"/>
                    </a:cubicBezTo>
                    <a:cubicBezTo>
                      <a:pt x="5" y="0"/>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Freeform 68"/>
              <p:cNvSpPr/>
              <p:nvPr/>
            </p:nvSpPr>
            <p:spPr bwMode="auto">
              <a:xfrm>
                <a:off x="5214" y="3618"/>
                <a:ext cx="26" cy="19"/>
              </a:xfrm>
              <a:custGeom>
                <a:gdLst>
                  <a:gd name="T0" fmla="*/ 1 w 11"/>
                  <a:gd name="T1" fmla="*/ 0 h 8"/>
                  <a:gd name="T2" fmla="*/ 1 w 11"/>
                  <a:gd name="T3" fmla="*/ 0 h 8"/>
                  <a:gd name="T4" fmla="*/ 0 w 11"/>
                  <a:gd name="T5" fmla="*/ 3 h 8"/>
                  <a:gd name="T6" fmla="*/ 1 w 11"/>
                  <a:gd name="T7" fmla="*/ 2 h 8"/>
                  <a:gd name="T8" fmla="*/ 2 w 11"/>
                  <a:gd name="T9" fmla="*/ 5 h 8"/>
                  <a:gd name="T10" fmla="*/ 6 w 11"/>
                  <a:gd name="T11" fmla="*/ 8 h 8"/>
                  <a:gd name="T12" fmla="*/ 11 w 11"/>
                  <a:gd name="T13" fmla="*/ 5 h 8"/>
                  <a:gd name="T14" fmla="*/ 9 w 11"/>
                  <a:gd name="T15" fmla="*/ 2 h 8"/>
                  <a:gd name="T16" fmla="*/ 9 w 11"/>
                  <a:gd name="T17" fmla="*/ 4 h 8"/>
                  <a:gd name="T18" fmla="*/ 9 w 11"/>
                  <a:gd name="T19" fmla="*/ 4 h 8"/>
                  <a:gd name="T20" fmla="*/ 5 w 11"/>
                  <a:gd name="T21" fmla="*/ 2 h 8"/>
                  <a:gd name="T22" fmla="*/ 1 w 11"/>
                  <a:gd name="T23"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1" y="0"/>
                    </a:moveTo>
                    <a:cubicBezTo>
                      <a:pt x="0" y="0"/>
                      <a:pt x="0" y="0"/>
                      <a:pt x="1" y="0"/>
                    </a:cubicBezTo>
                    <a:cubicBezTo>
                      <a:pt x="0" y="1"/>
                      <a:pt x="0" y="1"/>
                      <a:pt x="0" y="3"/>
                    </a:cubicBezTo>
                    <a:cubicBezTo>
                      <a:pt x="0" y="2"/>
                      <a:pt x="0" y="2"/>
                      <a:pt x="1" y="2"/>
                    </a:cubicBezTo>
                    <a:cubicBezTo>
                      <a:pt x="2" y="2"/>
                      <a:pt x="1" y="4"/>
                      <a:pt x="2" y="5"/>
                    </a:cubicBezTo>
                    <a:cubicBezTo>
                      <a:pt x="3" y="6"/>
                      <a:pt x="4" y="8"/>
                      <a:pt x="6" y="8"/>
                    </a:cubicBezTo>
                    <a:cubicBezTo>
                      <a:pt x="8" y="7"/>
                      <a:pt x="10" y="6"/>
                      <a:pt x="11" y="5"/>
                    </a:cubicBezTo>
                    <a:cubicBezTo>
                      <a:pt x="10" y="4"/>
                      <a:pt x="10" y="3"/>
                      <a:pt x="9" y="2"/>
                    </a:cubicBezTo>
                    <a:cubicBezTo>
                      <a:pt x="9" y="2"/>
                      <a:pt x="9" y="3"/>
                      <a:pt x="9" y="4"/>
                    </a:cubicBezTo>
                    <a:cubicBezTo>
                      <a:pt x="9" y="4"/>
                      <a:pt x="9" y="4"/>
                      <a:pt x="9" y="4"/>
                    </a:cubicBezTo>
                    <a:cubicBezTo>
                      <a:pt x="8" y="4"/>
                      <a:pt x="6" y="3"/>
                      <a:pt x="5" y="2"/>
                    </a:cubicBezTo>
                    <a:cubicBezTo>
                      <a:pt x="3"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69"/>
              <p:cNvSpPr/>
              <p:nvPr/>
            </p:nvSpPr>
            <p:spPr bwMode="auto">
              <a:xfrm>
                <a:off x="5540" y="3724"/>
                <a:ext cx="9" cy="31"/>
              </a:xfrm>
              <a:custGeom>
                <a:gdLst>
                  <a:gd name="T0" fmla="*/ 4 w 4"/>
                  <a:gd name="T1" fmla="*/ 0 h 13"/>
                  <a:gd name="T2" fmla="*/ 1 w 4"/>
                  <a:gd name="T3" fmla="*/ 7 h 13"/>
                  <a:gd name="T4" fmla="*/ 1 w 4"/>
                  <a:gd name="T5" fmla="*/ 10 h 13"/>
                  <a:gd name="T6" fmla="*/ 2 w 4"/>
                  <a:gd name="T7" fmla="*/ 12 h 13"/>
                  <a:gd name="T8" fmla="*/ 4 w 4"/>
                  <a:gd name="T9" fmla="*/ 12 h 13"/>
                  <a:gd name="T10" fmla="*/ 3 w 4"/>
                  <a:gd name="T11" fmla="*/ 13 h 13"/>
                  <a:gd name="T12" fmla="*/ 4 w 4"/>
                  <a:gd name="T13" fmla="*/ 13 h 13"/>
                  <a:gd name="T14" fmla="*/ 4 w 4"/>
                  <a:gd name="T15" fmla="*/ 0 h 1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3">
                    <a:moveTo>
                      <a:pt x="4" y="0"/>
                    </a:moveTo>
                    <a:cubicBezTo>
                      <a:pt x="3" y="3"/>
                      <a:pt x="1" y="4"/>
                      <a:pt x="1" y="7"/>
                    </a:cubicBezTo>
                    <a:cubicBezTo>
                      <a:pt x="1" y="8"/>
                      <a:pt x="0" y="9"/>
                      <a:pt x="1" y="10"/>
                    </a:cubicBezTo>
                    <a:cubicBezTo>
                      <a:pt x="2" y="11"/>
                      <a:pt x="4" y="10"/>
                      <a:pt x="2" y="12"/>
                    </a:cubicBezTo>
                    <a:cubicBezTo>
                      <a:pt x="4" y="12"/>
                      <a:pt x="4" y="12"/>
                      <a:pt x="4" y="12"/>
                    </a:cubicBezTo>
                    <a:cubicBezTo>
                      <a:pt x="3" y="13"/>
                      <a:pt x="3" y="13"/>
                      <a:pt x="3" y="13"/>
                    </a:cubicBezTo>
                    <a:cubicBezTo>
                      <a:pt x="4" y="13"/>
                      <a:pt x="4" y="13"/>
                      <a:pt x="4" y="13"/>
                    </a:cubicBezTo>
                    <a:cubicBezTo>
                      <a:pt x="4" y="9"/>
                      <a:pt x="4" y="5"/>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Freeform 70"/>
              <p:cNvSpPr/>
              <p:nvPr/>
            </p:nvSpPr>
            <p:spPr bwMode="auto">
              <a:xfrm>
                <a:off x="5240" y="3545"/>
                <a:ext cx="73" cy="78"/>
              </a:xfrm>
              <a:custGeom>
                <a:gdLst>
                  <a:gd name="T0" fmla="*/ 3 w 31"/>
                  <a:gd name="T1" fmla="*/ 0 h 33"/>
                  <a:gd name="T2" fmla="*/ 0 w 31"/>
                  <a:gd name="T3" fmla="*/ 2 h 33"/>
                  <a:gd name="T4" fmla="*/ 11 w 31"/>
                  <a:gd name="T5" fmla="*/ 16 h 33"/>
                  <a:gd name="T6" fmla="*/ 23 w 31"/>
                  <a:gd name="T7" fmla="*/ 33 h 33"/>
                  <a:gd name="T8" fmla="*/ 26 w 31"/>
                  <a:gd name="T9" fmla="*/ 30 h 33"/>
                  <a:gd name="T10" fmla="*/ 27 w 31"/>
                  <a:gd name="T11" fmla="*/ 31 h 33"/>
                  <a:gd name="T12" fmla="*/ 27 w 31"/>
                  <a:gd name="T13" fmla="*/ 29 h 33"/>
                  <a:gd name="T14" fmla="*/ 28 w 31"/>
                  <a:gd name="T15" fmla="*/ 29 h 33"/>
                  <a:gd name="T16" fmla="*/ 29 w 31"/>
                  <a:gd name="T17" fmla="*/ 25 h 33"/>
                  <a:gd name="T18" fmla="*/ 30 w 31"/>
                  <a:gd name="T19" fmla="*/ 17 h 33"/>
                  <a:gd name="T20" fmla="*/ 29 w 31"/>
                  <a:gd name="T21" fmla="*/ 13 h 33"/>
                  <a:gd name="T22" fmla="*/ 31 w 31"/>
                  <a:gd name="T23" fmla="*/ 11 h 33"/>
                  <a:gd name="T24" fmla="*/ 25 w 31"/>
                  <a:gd name="T25" fmla="*/ 7 h 33"/>
                  <a:gd name="T26" fmla="*/ 15 w 31"/>
                  <a:gd name="T27" fmla="*/ 1 h 33"/>
                  <a:gd name="T28" fmla="*/ 11 w 31"/>
                  <a:gd name="T29" fmla="*/ 1 h 33"/>
                  <a:gd name="T30" fmla="*/ 9 w 31"/>
                  <a:gd name="T31" fmla="*/ 1 h 33"/>
                  <a:gd name="T32" fmla="*/ 6 w 31"/>
                  <a:gd name="T33" fmla="*/ 1 h 33"/>
                  <a:gd name="T34" fmla="*/ 3 w 31"/>
                  <a:gd name="T35"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33">
                    <a:moveTo>
                      <a:pt x="3" y="0"/>
                    </a:moveTo>
                    <a:cubicBezTo>
                      <a:pt x="2" y="0"/>
                      <a:pt x="1" y="1"/>
                      <a:pt x="0" y="2"/>
                    </a:cubicBezTo>
                    <a:cubicBezTo>
                      <a:pt x="7" y="3"/>
                      <a:pt x="9" y="11"/>
                      <a:pt x="11" y="16"/>
                    </a:cubicBezTo>
                    <a:cubicBezTo>
                      <a:pt x="13" y="23"/>
                      <a:pt x="18" y="28"/>
                      <a:pt x="23" y="33"/>
                    </a:cubicBezTo>
                    <a:cubicBezTo>
                      <a:pt x="24" y="32"/>
                      <a:pt x="25" y="30"/>
                      <a:pt x="26" y="30"/>
                    </a:cubicBezTo>
                    <a:cubicBezTo>
                      <a:pt x="26" y="30"/>
                      <a:pt x="26" y="31"/>
                      <a:pt x="27" y="31"/>
                    </a:cubicBezTo>
                    <a:cubicBezTo>
                      <a:pt x="26" y="30"/>
                      <a:pt x="27" y="29"/>
                      <a:pt x="27" y="29"/>
                    </a:cubicBezTo>
                    <a:cubicBezTo>
                      <a:pt x="27" y="29"/>
                      <a:pt x="28" y="29"/>
                      <a:pt x="28" y="29"/>
                    </a:cubicBezTo>
                    <a:cubicBezTo>
                      <a:pt x="27" y="27"/>
                      <a:pt x="28" y="26"/>
                      <a:pt x="29" y="25"/>
                    </a:cubicBezTo>
                    <a:cubicBezTo>
                      <a:pt x="31" y="22"/>
                      <a:pt x="31" y="22"/>
                      <a:pt x="30" y="17"/>
                    </a:cubicBezTo>
                    <a:cubicBezTo>
                      <a:pt x="29" y="16"/>
                      <a:pt x="29" y="14"/>
                      <a:pt x="29" y="13"/>
                    </a:cubicBezTo>
                    <a:cubicBezTo>
                      <a:pt x="29" y="12"/>
                      <a:pt x="31" y="11"/>
                      <a:pt x="31" y="11"/>
                    </a:cubicBezTo>
                    <a:cubicBezTo>
                      <a:pt x="31" y="10"/>
                      <a:pt x="27" y="8"/>
                      <a:pt x="25" y="7"/>
                    </a:cubicBezTo>
                    <a:cubicBezTo>
                      <a:pt x="22" y="5"/>
                      <a:pt x="18" y="3"/>
                      <a:pt x="15" y="1"/>
                    </a:cubicBezTo>
                    <a:cubicBezTo>
                      <a:pt x="15" y="1"/>
                      <a:pt x="12" y="1"/>
                      <a:pt x="11" y="1"/>
                    </a:cubicBezTo>
                    <a:cubicBezTo>
                      <a:pt x="10" y="1"/>
                      <a:pt x="9" y="1"/>
                      <a:pt x="9" y="1"/>
                    </a:cubicBezTo>
                    <a:cubicBezTo>
                      <a:pt x="8" y="1"/>
                      <a:pt x="7" y="1"/>
                      <a:pt x="6"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Freeform 71"/>
              <p:cNvSpPr/>
              <p:nvPr/>
            </p:nvSpPr>
            <p:spPr bwMode="auto">
              <a:xfrm>
                <a:off x="5330" y="3594"/>
                <a:ext cx="19" cy="36"/>
              </a:xfrm>
              <a:custGeom>
                <a:gdLst>
                  <a:gd name="T0" fmla="*/ 7 w 8"/>
                  <a:gd name="T1" fmla="*/ 0 h 15"/>
                  <a:gd name="T2" fmla="*/ 6 w 8"/>
                  <a:gd name="T3" fmla="*/ 1 h 15"/>
                  <a:gd name="T4" fmla="*/ 4 w 8"/>
                  <a:gd name="T5" fmla="*/ 15 h 15"/>
                  <a:gd name="T6" fmla="*/ 7 w 8"/>
                  <a:gd name="T7" fmla="*/ 3 h 15"/>
                  <a:gd name="T8" fmla="*/ 7 w 8"/>
                  <a:gd name="T9" fmla="*/ 0 h 15"/>
                </a:gdLst>
                <a:cxnLst>
                  <a:cxn ang="0">
                    <a:pos x="T0" y="T1"/>
                  </a:cxn>
                  <a:cxn ang="0">
                    <a:pos x="T2" y="T3"/>
                  </a:cxn>
                  <a:cxn ang="0">
                    <a:pos x="T4" y="T5"/>
                  </a:cxn>
                  <a:cxn ang="0">
                    <a:pos x="T6" y="T7"/>
                  </a:cxn>
                  <a:cxn ang="0">
                    <a:pos x="T8" y="T9"/>
                  </a:cxn>
                </a:cxnLst>
                <a:rect l="0" t="0" r="r" b="b"/>
                <a:pathLst>
                  <a:path w="8" h="15">
                    <a:moveTo>
                      <a:pt x="7" y="0"/>
                    </a:moveTo>
                    <a:cubicBezTo>
                      <a:pt x="7" y="0"/>
                      <a:pt x="6" y="0"/>
                      <a:pt x="6" y="1"/>
                    </a:cubicBezTo>
                    <a:cubicBezTo>
                      <a:pt x="0" y="3"/>
                      <a:pt x="2" y="11"/>
                      <a:pt x="4" y="15"/>
                    </a:cubicBezTo>
                    <a:cubicBezTo>
                      <a:pt x="6" y="13"/>
                      <a:pt x="7" y="6"/>
                      <a:pt x="7" y="3"/>
                    </a:cubicBezTo>
                    <a:cubicBezTo>
                      <a:pt x="8" y="2"/>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72"/>
              <p:cNvSpPr/>
              <p:nvPr/>
            </p:nvSpPr>
            <p:spPr bwMode="auto">
              <a:xfrm>
                <a:off x="5455" y="3511"/>
                <a:ext cx="26" cy="34"/>
              </a:xfrm>
              <a:custGeom>
                <a:gdLst>
                  <a:gd name="T0" fmla="*/ 5 w 11"/>
                  <a:gd name="T1" fmla="*/ 0 h 14"/>
                  <a:gd name="T2" fmla="*/ 3 w 11"/>
                  <a:gd name="T3" fmla="*/ 5 h 14"/>
                  <a:gd name="T4" fmla="*/ 1 w 11"/>
                  <a:gd name="T5" fmla="*/ 10 h 14"/>
                  <a:gd name="T6" fmla="*/ 5 w 11"/>
                  <a:gd name="T7" fmla="*/ 14 h 14"/>
                  <a:gd name="T8" fmla="*/ 10 w 11"/>
                  <a:gd name="T9" fmla="*/ 5 h 14"/>
                  <a:gd name="T10" fmla="*/ 8 w 11"/>
                  <a:gd name="T11" fmla="*/ 4 h 14"/>
                  <a:gd name="T12" fmla="*/ 8 w 11"/>
                  <a:gd name="T13" fmla="*/ 4 h 14"/>
                  <a:gd name="T14" fmla="*/ 5 w 11"/>
                  <a:gd name="T15" fmla="*/ 0 h 14"/>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5" y="0"/>
                    </a:moveTo>
                    <a:cubicBezTo>
                      <a:pt x="4" y="0"/>
                      <a:pt x="3" y="2"/>
                      <a:pt x="3" y="5"/>
                    </a:cubicBezTo>
                    <a:cubicBezTo>
                      <a:pt x="3" y="8"/>
                      <a:pt x="3" y="8"/>
                      <a:pt x="1" y="10"/>
                    </a:cubicBezTo>
                    <a:cubicBezTo>
                      <a:pt x="0" y="12"/>
                      <a:pt x="4" y="14"/>
                      <a:pt x="5" y="14"/>
                    </a:cubicBezTo>
                    <a:cubicBezTo>
                      <a:pt x="7" y="12"/>
                      <a:pt x="11" y="8"/>
                      <a:pt x="10" y="5"/>
                    </a:cubicBezTo>
                    <a:cubicBezTo>
                      <a:pt x="10" y="5"/>
                      <a:pt x="9" y="4"/>
                      <a:pt x="8" y="4"/>
                    </a:cubicBezTo>
                    <a:cubicBezTo>
                      <a:pt x="8" y="4"/>
                      <a:pt x="8" y="4"/>
                      <a:pt x="8" y="4"/>
                    </a:cubicBezTo>
                    <a:cubicBezTo>
                      <a:pt x="6" y="2"/>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73"/>
              <p:cNvSpPr/>
              <p:nvPr/>
            </p:nvSpPr>
            <p:spPr bwMode="auto">
              <a:xfrm>
                <a:off x="5273" y="3982"/>
                <a:ext cx="35" cy="14"/>
              </a:xfrm>
              <a:custGeom>
                <a:gdLst>
                  <a:gd name="T0" fmla="*/ 5 w 15"/>
                  <a:gd name="T1" fmla="*/ 0 h 6"/>
                  <a:gd name="T2" fmla="*/ 2 w 15"/>
                  <a:gd name="T3" fmla="*/ 1 h 6"/>
                  <a:gd name="T4" fmla="*/ 0 w 15"/>
                  <a:gd name="T5" fmla="*/ 2 h 6"/>
                  <a:gd name="T6" fmla="*/ 10 w 15"/>
                  <a:gd name="T7" fmla="*/ 6 h 6"/>
                  <a:gd name="T8" fmla="*/ 11 w 15"/>
                  <a:gd name="T9" fmla="*/ 2 h 6"/>
                  <a:gd name="T10" fmla="*/ 11 w 15"/>
                  <a:gd name="T11" fmla="*/ 2 h 6"/>
                  <a:gd name="T12" fmla="*/ 10 w 15"/>
                  <a:gd name="T13" fmla="*/ 2 h 6"/>
                  <a:gd name="T14" fmla="*/ 9 w 15"/>
                  <a:gd name="T15" fmla="*/ 2 h 6"/>
                  <a:gd name="T16" fmla="*/ 8 w 15"/>
                  <a:gd name="T17" fmla="*/ 2 h 6"/>
                  <a:gd name="T18" fmla="*/ 7 w 15"/>
                  <a:gd name="T19" fmla="*/ 1 h 6"/>
                  <a:gd name="T20" fmla="*/ 5 w 15"/>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6">
                    <a:moveTo>
                      <a:pt x="5" y="0"/>
                    </a:moveTo>
                    <a:cubicBezTo>
                      <a:pt x="4" y="0"/>
                      <a:pt x="3" y="0"/>
                      <a:pt x="2" y="1"/>
                    </a:cubicBezTo>
                    <a:cubicBezTo>
                      <a:pt x="2" y="1"/>
                      <a:pt x="0" y="2"/>
                      <a:pt x="0" y="2"/>
                    </a:cubicBezTo>
                    <a:cubicBezTo>
                      <a:pt x="0" y="4"/>
                      <a:pt x="9" y="5"/>
                      <a:pt x="10" y="6"/>
                    </a:cubicBezTo>
                    <a:cubicBezTo>
                      <a:pt x="13" y="5"/>
                      <a:pt x="15" y="3"/>
                      <a:pt x="11" y="2"/>
                    </a:cubicBezTo>
                    <a:cubicBezTo>
                      <a:pt x="11" y="2"/>
                      <a:pt x="11" y="2"/>
                      <a:pt x="11" y="2"/>
                    </a:cubicBezTo>
                    <a:cubicBezTo>
                      <a:pt x="10" y="2"/>
                      <a:pt x="10" y="2"/>
                      <a:pt x="10" y="2"/>
                    </a:cubicBezTo>
                    <a:cubicBezTo>
                      <a:pt x="9" y="2"/>
                      <a:pt x="9" y="2"/>
                      <a:pt x="9" y="2"/>
                    </a:cubicBezTo>
                    <a:cubicBezTo>
                      <a:pt x="9" y="2"/>
                      <a:pt x="8" y="2"/>
                      <a:pt x="8" y="2"/>
                    </a:cubicBezTo>
                    <a:cubicBezTo>
                      <a:pt x="8" y="2"/>
                      <a:pt x="8" y="1"/>
                      <a:pt x="7" y="1"/>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74"/>
              <p:cNvSpPr/>
              <p:nvPr/>
            </p:nvSpPr>
            <p:spPr bwMode="auto">
              <a:xfrm>
                <a:off x="6067" y="3887"/>
                <a:ext cx="7" cy="22"/>
              </a:xfrm>
              <a:custGeom>
                <a:gdLst>
                  <a:gd name="T0" fmla="*/ 3 w 3"/>
                  <a:gd name="T1" fmla="*/ 0 h 9"/>
                  <a:gd name="T2" fmla="*/ 3 w 3"/>
                  <a:gd name="T3" fmla="*/ 0 h 9"/>
                  <a:gd name="T4" fmla="*/ 2 w 3"/>
                  <a:gd name="T5" fmla="*/ 2 h 9"/>
                  <a:gd name="T6" fmla="*/ 0 w 3"/>
                  <a:gd name="T7" fmla="*/ 7 h 9"/>
                  <a:gd name="T8" fmla="*/ 0 w 3"/>
                  <a:gd name="T9" fmla="*/ 9 h 9"/>
                  <a:gd name="T10" fmla="*/ 1 w 3"/>
                  <a:gd name="T11" fmla="*/ 8 h 9"/>
                  <a:gd name="T12" fmla="*/ 3 w 3"/>
                  <a:gd name="T13" fmla="*/ 2 h 9"/>
                  <a:gd name="T14" fmla="*/ 3 w 3"/>
                  <a:gd name="T15" fmla="*/ 0 h 9"/>
                  <a:gd name="T16" fmla="*/ 3 w 3"/>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3" y="0"/>
                    </a:moveTo>
                    <a:cubicBezTo>
                      <a:pt x="3" y="0"/>
                      <a:pt x="3" y="0"/>
                      <a:pt x="3" y="0"/>
                    </a:cubicBezTo>
                    <a:cubicBezTo>
                      <a:pt x="3" y="1"/>
                      <a:pt x="2" y="2"/>
                      <a:pt x="2" y="2"/>
                    </a:cubicBezTo>
                    <a:cubicBezTo>
                      <a:pt x="1" y="4"/>
                      <a:pt x="0" y="5"/>
                      <a:pt x="0" y="7"/>
                    </a:cubicBezTo>
                    <a:cubicBezTo>
                      <a:pt x="0" y="8"/>
                      <a:pt x="0" y="8"/>
                      <a:pt x="0" y="9"/>
                    </a:cubicBezTo>
                    <a:cubicBezTo>
                      <a:pt x="1" y="8"/>
                      <a:pt x="1" y="8"/>
                      <a:pt x="1" y="8"/>
                    </a:cubicBezTo>
                    <a:cubicBezTo>
                      <a:pt x="2" y="6"/>
                      <a:pt x="3" y="4"/>
                      <a:pt x="3" y="2"/>
                    </a:cubicBezTo>
                    <a:cubicBezTo>
                      <a:pt x="3" y="2"/>
                      <a:pt x="3"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75"/>
              <p:cNvSpPr/>
              <p:nvPr/>
            </p:nvSpPr>
            <p:spPr bwMode="auto">
              <a:xfrm>
                <a:off x="6057" y="3911"/>
                <a:ext cx="5" cy="5"/>
              </a:xfrm>
              <a:custGeom>
                <a:gdLst>
                  <a:gd name="T0" fmla="*/ 2 w 2"/>
                  <a:gd name="T1" fmla="*/ 0 h 2"/>
                  <a:gd name="T2" fmla="*/ 2 w 2"/>
                  <a:gd name="T3" fmla="*/ 0 h 2"/>
                  <a:gd name="T4" fmla="*/ 0 w 2"/>
                  <a:gd name="T5" fmla="*/ 2 h 2"/>
                  <a:gd name="T6" fmla="*/ 2 w 2"/>
                  <a:gd name="T7" fmla="*/ 0 h 2"/>
                  <a:gd name="T8" fmla="*/ 2 w 2"/>
                  <a:gd name="T9" fmla="*/ 0 h 2"/>
                </a:gdLst>
                <a:cxnLst>
                  <a:cxn ang="0">
                    <a:pos x="T0" y="T1"/>
                  </a:cxn>
                  <a:cxn ang="0">
                    <a:pos x="T2" y="T3"/>
                  </a:cxn>
                  <a:cxn ang="0">
                    <a:pos x="T4" y="T5"/>
                  </a:cxn>
                  <a:cxn ang="0">
                    <a:pos x="T6" y="T7"/>
                  </a:cxn>
                  <a:cxn ang="0">
                    <a:pos x="T8" y="T9"/>
                  </a:cxn>
                </a:cxnLst>
                <a:rect l="0" t="0" r="r" b="b"/>
                <a:pathLst>
                  <a:path w="2" h="2">
                    <a:moveTo>
                      <a:pt x="2" y="0"/>
                    </a:moveTo>
                    <a:cubicBezTo>
                      <a:pt x="2" y="0"/>
                      <a:pt x="2" y="0"/>
                      <a:pt x="2" y="0"/>
                    </a:cubicBezTo>
                    <a:cubicBezTo>
                      <a:pt x="1" y="1"/>
                      <a:pt x="1" y="1"/>
                      <a:pt x="0" y="2"/>
                    </a:cubicBezTo>
                    <a:cubicBezTo>
                      <a:pt x="1" y="2"/>
                      <a:pt x="2"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76"/>
              <p:cNvSpPr/>
              <p:nvPr/>
            </p:nvSpPr>
            <p:spPr bwMode="auto">
              <a:xfrm>
                <a:off x="4047" y="3972"/>
                <a:ext cx="2" cy="5"/>
              </a:xfrm>
              <a:custGeom>
                <a:gdLst>
                  <a:gd name="T0" fmla="*/ 1 w 1"/>
                  <a:gd name="T1" fmla="*/ 0 h 2"/>
                  <a:gd name="T2" fmla="*/ 0 w 1"/>
                  <a:gd name="T3" fmla="*/ 2 h 2"/>
                  <a:gd name="T4" fmla="*/ 0 w 1"/>
                  <a:gd name="T5" fmla="*/ 2 h 2"/>
                  <a:gd name="T6" fmla="*/ 1 w 1"/>
                  <a:gd name="T7" fmla="*/ 0 h 2"/>
                </a:gdLst>
                <a:cxnLst>
                  <a:cxn ang="0">
                    <a:pos x="T0" y="T1"/>
                  </a:cxn>
                  <a:cxn ang="0">
                    <a:pos x="T2" y="T3"/>
                  </a:cxn>
                  <a:cxn ang="0">
                    <a:pos x="T4" y="T5"/>
                  </a:cxn>
                  <a:cxn ang="0">
                    <a:pos x="T6" y="T7"/>
                  </a:cxn>
                </a:cxnLst>
                <a:rect l="0" t="0" r="r" b="b"/>
                <a:pathLst>
                  <a:path w="1" h="2">
                    <a:moveTo>
                      <a:pt x="1" y="0"/>
                    </a:moveTo>
                    <a:cubicBezTo>
                      <a:pt x="1" y="0"/>
                      <a:pt x="1" y="1"/>
                      <a:pt x="0" y="2"/>
                    </a:cubicBezTo>
                    <a:cubicBezTo>
                      <a:pt x="0" y="2"/>
                      <a:pt x="0" y="2"/>
                      <a:pt x="0" y="2"/>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Freeform 77"/>
              <p:cNvSpPr/>
              <p:nvPr/>
            </p:nvSpPr>
            <p:spPr bwMode="auto">
              <a:xfrm>
                <a:off x="5143" y="4074"/>
                <a:ext cx="7" cy="2"/>
              </a:xfrm>
              <a:custGeom>
                <a:gdLst>
                  <a:gd name="T0" fmla="*/ 0 w 3"/>
                  <a:gd name="T1" fmla="*/ 0 h 1"/>
                  <a:gd name="T2" fmla="*/ 2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1" y="1"/>
                      <a:pt x="2" y="1"/>
                      <a:pt x="2" y="1"/>
                    </a:cubicBezTo>
                    <a:cubicBezTo>
                      <a:pt x="3" y="1"/>
                      <a:pt x="3" y="1"/>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78"/>
              <p:cNvSpPr/>
              <p:nvPr/>
            </p:nvSpPr>
            <p:spPr bwMode="auto">
              <a:xfrm>
                <a:off x="4940" y="4024"/>
                <a:ext cx="7" cy="5"/>
              </a:xfrm>
              <a:custGeom>
                <a:gdLst>
                  <a:gd name="T0" fmla="*/ 2 w 3"/>
                  <a:gd name="T1" fmla="*/ 0 h 2"/>
                  <a:gd name="T2" fmla="*/ 0 w 3"/>
                  <a:gd name="T3" fmla="*/ 2 h 2"/>
                  <a:gd name="T4" fmla="*/ 2 w 3"/>
                  <a:gd name="T5" fmla="*/ 0 h 2"/>
                </a:gdLst>
                <a:cxnLst>
                  <a:cxn ang="0">
                    <a:pos x="T0" y="T1"/>
                  </a:cxn>
                  <a:cxn ang="0">
                    <a:pos x="T2" y="T3"/>
                  </a:cxn>
                  <a:cxn ang="0">
                    <a:pos x="T4" y="T5"/>
                  </a:cxn>
                </a:cxnLst>
                <a:rect l="0" t="0" r="r" b="b"/>
                <a:pathLst>
                  <a:path w="3" h="2">
                    <a:moveTo>
                      <a:pt x="2" y="0"/>
                    </a:moveTo>
                    <a:cubicBezTo>
                      <a:pt x="2" y="0"/>
                      <a:pt x="1" y="1"/>
                      <a:pt x="0" y="2"/>
                    </a:cubicBezTo>
                    <a:cubicBezTo>
                      <a:pt x="2" y="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79"/>
              <p:cNvSpPr/>
              <p:nvPr/>
            </p:nvSpPr>
            <p:spPr bwMode="auto">
              <a:xfrm>
                <a:off x="4037" y="3961"/>
                <a:ext cx="17" cy="9"/>
              </a:xfrm>
              <a:custGeom>
                <a:gdLst>
                  <a:gd name="T0" fmla="*/ 5 w 7"/>
                  <a:gd name="T1" fmla="*/ 0 h 4"/>
                  <a:gd name="T2" fmla="*/ 2 w 7"/>
                  <a:gd name="T3" fmla="*/ 1 h 4"/>
                  <a:gd name="T4" fmla="*/ 0 w 7"/>
                  <a:gd name="T5" fmla="*/ 1 h 4"/>
                  <a:gd name="T6" fmla="*/ 4 w 7"/>
                  <a:gd name="T7" fmla="*/ 4 h 4"/>
                  <a:gd name="T8" fmla="*/ 5 w 7"/>
                  <a:gd name="T9" fmla="*/ 0 h 4"/>
                </a:gdLst>
                <a:cxnLst>
                  <a:cxn ang="0">
                    <a:pos x="T0" y="T1"/>
                  </a:cxn>
                  <a:cxn ang="0">
                    <a:pos x="T2" y="T3"/>
                  </a:cxn>
                  <a:cxn ang="0">
                    <a:pos x="T4" y="T5"/>
                  </a:cxn>
                  <a:cxn ang="0">
                    <a:pos x="T6" y="T7"/>
                  </a:cxn>
                  <a:cxn ang="0">
                    <a:pos x="T8" y="T9"/>
                  </a:cxn>
                </a:cxnLst>
                <a:rect l="0" t="0" r="r" b="b"/>
                <a:pathLst>
                  <a:path w="7" h="4">
                    <a:moveTo>
                      <a:pt x="5" y="0"/>
                    </a:moveTo>
                    <a:cubicBezTo>
                      <a:pt x="4" y="1"/>
                      <a:pt x="3" y="1"/>
                      <a:pt x="2" y="1"/>
                    </a:cubicBezTo>
                    <a:cubicBezTo>
                      <a:pt x="2" y="1"/>
                      <a:pt x="1" y="1"/>
                      <a:pt x="0" y="1"/>
                    </a:cubicBezTo>
                    <a:cubicBezTo>
                      <a:pt x="0" y="3"/>
                      <a:pt x="2" y="4"/>
                      <a:pt x="4" y="4"/>
                    </a:cubicBezTo>
                    <a:cubicBezTo>
                      <a:pt x="6" y="4"/>
                      <a:pt x="7"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80"/>
              <p:cNvSpPr/>
              <p:nvPr/>
            </p:nvSpPr>
            <p:spPr bwMode="auto">
              <a:xfrm>
                <a:off x="5067" y="3946"/>
                <a:ext cx="10" cy="3"/>
              </a:xfrm>
              <a:custGeom>
                <a:gdLst>
                  <a:gd name="T0" fmla="*/ 4 w 4"/>
                  <a:gd name="T1" fmla="*/ 0 h 1"/>
                  <a:gd name="T2" fmla="*/ 0 w 4"/>
                  <a:gd name="T3" fmla="*/ 1 h 1"/>
                  <a:gd name="T4" fmla="*/ 2 w 4"/>
                  <a:gd name="T5" fmla="*/ 1 h 1"/>
                  <a:gd name="T6" fmla="*/ 4 w 4"/>
                  <a:gd name="T7" fmla="*/ 0 h 1"/>
                  <a:gd name="T8" fmla="*/ 4 w 4"/>
                  <a:gd name="T9" fmla="*/ 0 h 1"/>
                </a:gdLst>
                <a:cxnLst>
                  <a:cxn ang="0">
                    <a:pos x="T0" y="T1"/>
                  </a:cxn>
                  <a:cxn ang="0">
                    <a:pos x="T2" y="T3"/>
                  </a:cxn>
                  <a:cxn ang="0">
                    <a:pos x="T4" y="T5"/>
                  </a:cxn>
                  <a:cxn ang="0">
                    <a:pos x="T6" y="T7"/>
                  </a:cxn>
                  <a:cxn ang="0">
                    <a:pos x="T8" y="T9"/>
                  </a:cxn>
                </a:cxnLst>
                <a:rect l="0" t="0" r="r" b="b"/>
                <a:pathLst>
                  <a:path w="4" h="1">
                    <a:moveTo>
                      <a:pt x="4" y="0"/>
                    </a:moveTo>
                    <a:cubicBezTo>
                      <a:pt x="2" y="0"/>
                      <a:pt x="1" y="0"/>
                      <a:pt x="0" y="1"/>
                    </a:cubicBezTo>
                    <a:cubicBezTo>
                      <a:pt x="1" y="1"/>
                      <a:pt x="2" y="1"/>
                      <a:pt x="2" y="1"/>
                    </a:cubicBezTo>
                    <a:cubicBezTo>
                      <a:pt x="3" y="1"/>
                      <a:pt x="4"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81"/>
              <p:cNvSpPr/>
              <p:nvPr/>
            </p:nvSpPr>
            <p:spPr bwMode="auto">
              <a:xfrm>
                <a:off x="5051" y="3909"/>
                <a:ext cx="14" cy="14"/>
              </a:xfrm>
              <a:custGeom>
                <a:gdLst>
                  <a:gd name="T0" fmla="*/ 5 w 6"/>
                  <a:gd name="T1" fmla="*/ 0 h 6"/>
                  <a:gd name="T2" fmla="*/ 1 w 6"/>
                  <a:gd name="T3" fmla="*/ 1 h 6"/>
                  <a:gd name="T4" fmla="*/ 0 w 6"/>
                  <a:gd name="T5" fmla="*/ 6 h 6"/>
                  <a:gd name="T6" fmla="*/ 5 w 6"/>
                  <a:gd name="T7" fmla="*/ 4 h 6"/>
                  <a:gd name="T8" fmla="*/ 5 w 6"/>
                  <a:gd name="T9" fmla="*/ 0 h 6"/>
                </a:gdLst>
                <a:cxnLst>
                  <a:cxn ang="0">
                    <a:pos x="T0" y="T1"/>
                  </a:cxn>
                  <a:cxn ang="0">
                    <a:pos x="T2" y="T3"/>
                  </a:cxn>
                  <a:cxn ang="0">
                    <a:pos x="T4" y="T5"/>
                  </a:cxn>
                  <a:cxn ang="0">
                    <a:pos x="T6" y="T7"/>
                  </a:cxn>
                  <a:cxn ang="0">
                    <a:pos x="T8" y="T9"/>
                  </a:cxn>
                </a:cxnLst>
                <a:rect l="0" t="0" r="r" b="b"/>
                <a:pathLst>
                  <a:path w="6" h="6">
                    <a:moveTo>
                      <a:pt x="5" y="0"/>
                    </a:moveTo>
                    <a:cubicBezTo>
                      <a:pt x="4" y="0"/>
                      <a:pt x="3" y="1"/>
                      <a:pt x="1" y="1"/>
                    </a:cubicBezTo>
                    <a:cubicBezTo>
                      <a:pt x="0" y="3"/>
                      <a:pt x="0" y="4"/>
                      <a:pt x="0" y="6"/>
                    </a:cubicBezTo>
                    <a:cubicBezTo>
                      <a:pt x="1" y="5"/>
                      <a:pt x="5" y="4"/>
                      <a:pt x="5" y="4"/>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82"/>
              <p:cNvSpPr/>
              <p:nvPr/>
            </p:nvSpPr>
            <p:spPr bwMode="auto">
              <a:xfrm>
                <a:off x="4297" y="4169"/>
                <a:ext cx="5" cy="9"/>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1" y="2"/>
                      <a:pt x="0" y="3"/>
                      <a:pt x="1" y="4"/>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83"/>
              <p:cNvSpPr/>
              <p:nvPr/>
            </p:nvSpPr>
            <p:spPr bwMode="auto">
              <a:xfrm>
                <a:off x="4715" y="4176"/>
                <a:ext cx="7" cy="21"/>
              </a:xfrm>
              <a:custGeom>
                <a:gdLst>
                  <a:gd name="T0" fmla="*/ 1 w 3"/>
                  <a:gd name="T1" fmla="*/ 0 h 9"/>
                  <a:gd name="T2" fmla="*/ 0 w 3"/>
                  <a:gd name="T3" fmla="*/ 7 h 9"/>
                  <a:gd name="T4" fmla="*/ 2 w 3"/>
                  <a:gd name="T5" fmla="*/ 9 h 9"/>
                  <a:gd name="T6" fmla="*/ 1 w 3"/>
                  <a:gd name="T7" fmla="*/ 0 h 9"/>
                </a:gdLst>
                <a:cxnLst>
                  <a:cxn ang="0">
                    <a:pos x="T0" y="T1"/>
                  </a:cxn>
                  <a:cxn ang="0">
                    <a:pos x="T2" y="T3"/>
                  </a:cxn>
                  <a:cxn ang="0">
                    <a:pos x="T4" y="T5"/>
                  </a:cxn>
                  <a:cxn ang="0">
                    <a:pos x="T6" y="T7"/>
                  </a:cxn>
                </a:cxnLst>
                <a:rect l="0" t="0" r="r" b="b"/>
                <a:pathLst>
                  <a:path w="3" h="9">
                    <a:moveTo>
                      <a:pt x="1" y="0"/>
                    </a:moveTo>
                    <a:cubicBezTo>
                      <a:pt x="1" y="2"/>
                      <a:pt x="1" y="4"/>
                      <a:pt x="0" y="7"/>
                    </a:cubicBezTo>
                    <a:cubicBezTo>
                      <a:pt x="1" y="9"/>
                      <a:pt x="2" y="9"/>
                      <a:pt x="2" y="9"/>
                    </a:cubicBezTo>
                    <a:cubicBezTo>
                      <a:pt x="3" y="9"/>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84"/>
              <p:cNvSpPr/>
              <p:nvPr/>
            </p:nvSpPr>
            <p:spPr bwMode="auto">
              <a:xfrm>
                <a:off x="5129" y="4065"/>
                <a:ext cx="12" cy="4"/>
              </a:xfrm>
              <a:custGeom>
                <a:gdLst>
                  <a:gd name="T0" fmla="*/ 0 w 5"/>
                  <a:gd name="T1" fmla="*/ 0 h 2"/>
                  <a:gd name="T2" fmla="*/ 4 w 5"/>
                  <a:gd name="T3" fmla="*/ 2 h 2"/>
                  <a:gd name="T4" fmla="*/ 5 w 5"/>
                  <a:gd name="T5" fmla="*/ 1 h 2"/>
                  <a:gd name="T6" fmla="*/ 0 w 5"/>
                  <a:gd name="T7" fmla="*/ 0 h 2"/>
                </a:gdLst>
                <a:cxnLst>
                  <a:cxn ang="0">
                    <a:pos x="T0" y="T1"/>
                  </a:cxn>
                  <a:cxn ang="0">
                    <a:pos x="T2" y="T3"/>
                  </a:cxn>
                  <a:cxn ang="0">
                    <a:pos x="T4" y="T5"/>
                  </a:cxn>
                  <a:cxn ang="0">
                    <a:pos x="T6" y="T7"/>
                  </a:cxn>
                </a:cxnLst>
                <a:rect l="0" t="0" r="r" b="b"/>
                <a:pathLst>
                  <a:path w="5" h="2">
                    <a:moveTo>
                      <a:pt x="0" y="0"/>
                    </a:moveTo>
                    <a:cubicBezTo>
                      <a:pt x="1" y="1"/>
                      <a:pt x="2" y="2"/>
                      <a:pt x="4" y="2"/>
                    </a:cubicBezTo>
                    <a:cubicBezTo>
                      <a:pt x="4" y="2"/>
                      <a:pt x="4" y="1"/>
                      <a:pt x="5" y="1"/>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85"/>
              <p:cNvSpPr/>
              <p:nvPr/>
            </p:nvSpPr>
            <p:spPr bwMode="auto">
              <a:xfrm>
                <a:off x="1653" y="3117"/>
                <a:ext cx="16" cy="30"/>
              </a:xfrm>
              <a:custGeom>
                <a:gdLst>
                  <a:gd name="T0" fmla="*/ 6 w 7"/>
                  <a:gd name="T1" fmla="*/ 0 h 13"/>
                  <a:gd name="T2" fmla="*/ 0 w 7"/>
                  <a:gd name="T3" fmla="*/ 13 h 13"/>
                  <a:gd name="T4" fmla="*/ 7 w 7"/>
                  <a:gd name="T5" fmla="*/ 4 h 13"/>
                  <a:gd name="T6" fmla="*/ 6 w 7"/>
                  <a:gd name="T7" fmla="*/ 0 h 13"/>
                </a:gdLst>
                <a:cxnLst>
                  <a:cxn ang="0">
                    <a:pos x="T0" y="T1"/>
                  </a:cxn>
                  <a:cxn ang="0">
                    <a:pos x="T2" y="T3"/>
                  </a:cxn>
                  <a:cxn ang="0">
                    <a:pos x="T4" y="T5"/>
                  </a:cxn>
                  <a:cxn ang="0">
                    <a:pos x="T6" y="T7"/>
                  </a:cxn>
                </a:cxnLst>
                <a:rect l="0" t="0" r="r" b="b"/>
                <a:pathLst>
                  <a:path w="7" h="13">
                    <a:moveTo>
                      <a:pt x="6" y="0"/>
                    </a:moveTo>
                    <a:cubicBezTo>
                      <a:pt x="4" y="4"/>
                      <a:pt x="2" y="8"/>
                      <a:pt x="0" y="13"/>
                    </a:cubicBezTo>
                    <a:cubicBezTo>
                      <a:pt x="3" y="10"/>
                      <a:pt x="3" y="6"/>
                      <a:pt x="7" y="4"/>
                    </a:cubicBezTo>
                    <a:cubicBezTo>
                      <a:pt x="7" y="3"/>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86"/>
              <p:cNvSpPr/>
              <p:nvPr/>
            </p:nvSpPr>
            <p:spPr bwMode="auto">
              <a:xfrm>
                <a:off x="5715" y="2216"/>
                <a:ext cx="14" cy="14"/>
              </a:xfrm>
              <a:custGeom>
                <a:gdLst>
                  <a:gd name="T0" fmla="*/ 6 w 6"/>
                  <a:gd name="T1" fmla="*/ 0 h 6"/>
                  <a:gd name="T2" fmla="*/ 1 w 6"/>
                  <a:gd name="T3" fmla="*/ 2 h 6"/>
                  <a:gd name="T4" fmla="*/ 3 w 6"/>
                  <a:gd name="T5" fmla="*/ 6 h 6"/>
                  <a:gd name="T6" fmla="*/ 3 w 6"/>
                  <a:gd name="T7" fmla="*/ 6 h 6"/>
                  <a:gd name="T8" fmla="*/ 6 w 6"/>
                  <a:gd name="T9" fmla="*/ 0 h 6"/>
                  <a:gd name="T10" fmla="*/ 6 w 6"/>
                  <a:gd name="T11" fmla="*/ 0 h 6"/>
                </a:gdLst>
                <a:cxnLst>
                  <a:cxn ang="0">
                    <a:pos x="T0" y="T1"/>
                  </a:cxn>
                  <a:cxn ang="0">
                    <a:pos x="T2" y="T3"/>
                  </a:cxn>
                  <a:cxn ang="0">
                    <a:pos x="T4" y="T5"/>
                  </a:cxn>
                  <a:cxn ang="0">
                    <a:pos x="T6" y="T7"/>
                  </a:cxn>
                  <a:cxn ang="0">
                    <a:pos x="T8" y="T9"/>
                  </a:cxn>
                  <a:cxn ang="0">
                    <a:pos x="T10" y="T11"/>
                  </a:cxn>
                </a:cxnLst>
                <a:rect l="0" t="0" r="r" b="b"/>
                <a:pathLst>
                  <a:path w="6" h="6">
                    <a:moveTo>
                      <a:pt x="6" y="0"/>
                    </a:moveTo>
                    <a:cubicBezTo>
                      <a:pt x="4" y="0"/>
                      <a:pt x="2" y="1"/>
                      <a:pt x="1" y="2"/>
                    </a:cubicBezTo>
                    <a:cubicBezTo>
                      <a:pt x="1" y="3"/>
                      <a:pt x="0" y="5"/>
                      <a:pt x="3" y="6"/>
                    </a:cubicBezTo>
                    <a:cubicBezTo>
                      <a:pt x="3" y="6"/>
                      <a:pt x="3" y="6"/>
                      <a:pt x="3" y="6"/>
                    </a:cubicBezTo>
                    <a:cubicBezTo>
                      <a:pt x="4" y="4"/>
                      <a:pt x="5" y="2"/>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87"/>
              <p:cNvSpPr/>
              <p:nvPr/>
            </p:nvSpPr>
            <p:spPr bwMode="auto">
              <a:xfrm>
                <a:off x="5755" y="2256"/>
                <a:ext cx="9" cy="14"/>
              </a:xfrm>
              <a:custGeom>
                <a:gdLst>
                  <a:gd name="T0" fmla="*/ 1 w 4"/>
                  <a:gd name="T1" fmla="*/ 0 h 6"/>
                  <a:gd name="T2" fmla="*/ 0 w 4"/>
                  <a:gd name="T3" fmla="*/ 6 h 6"/>
                  <a:gd name="T4" fmla="*/ 4 w 4"/>
                  <a:gd name="T5" fmla="*/ 3 h 6"/>
                  <a:gd name="T6" fmla="*/ 1 w 4"/>
                  <a:gd name="T7" fmla="*/ 0 h 6"/>
                </a:gdLst>
                <a:cxnLst>
                  <a:cxn ang="0">
                    <a:pos x="T0" y="T1"/>
                  </a:cxn>
                  <a:cxn ang="0">
                    <a:pos x="T2" y="T3"/>
                  </a:cxn>
                  <a:cxn ang="0">
                    <a:pos x="T4" y="T5"/>
                  </a:cxn>
                  <a:cxn ang="0">
                    <a:pos x="T6" y="T7"/>
                  </a:cxn>
                </a:cxnLst>
                <a:rect l="0" t="0" r="r" b="b"/>
                <a:pathLst>
                  <a:path w="4" h="6">
                    <a:moveTo>
                      <a:pt x="1" y="0"/>
                    </a:moveTo>
                    <a:cubicBezTo>
                      <a:pt x="1" y="2"/>
                      <a:pt x="0" y="4"/>
                      <a:pt x="0" y="6"/>
                    </a:cubicBezTo>
                    <a:cubicBezTo>
                      <a:pt x="2" y="5"/>
                      <a:pt x="3" y="4"/>
                      <a:pt x="4" y="3"/>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88"/>
              <p:cNvSpPr/>
              <p:nvPr/>
            </p:nvSpPr>
            <p:spPr bwMode="auto">
              <a:xfrm>
                <a:off x="5760" y="2233"/>
                <a:ext cx="12" cy="23"/>
              </a:xfrm>
              <a:custGeom>
                <a:gdLst>
                  <a:gd name="T0" fmla="*/ 5 w 5"/>
                  <a:gd name="T1" fmla="*/ 0 h 10"/>
                  <a:gd name="T2" fmla="*/ 2 w 5"/>
                  <a:gd name="T3" fmla="*/ 3 h 10"/>
                  <a:gd name="T4" fmla="*/ 1 w 5"/>
                  <a:gd name="T5" fmla="*/ 5 h 10"/>
                  <a:gd name="T6" fmla="*/ 0 w 5"/>
                  <a:gd name="T7" fmla="*/ 9 h 10"/>
                  <a:gd name="T8" fmla="*/ 3 w 5"/>
                  <a:gd name="T9" fmla="*/ 10 h 10"/>
                  <a:gd name="T10" fmla="*/ 5 w 5"/>
                  <a:gd name="T11" fmla="*/ 0 h 10"/>
                </a:gdLst>
                <a:cxnLst>
                  <a:cxn ang="0">
                    <a:pos x="T0" y="T1"/>
                  </a:cxn>
                  <a:cxn ang="0">
                    <a:pos x="T2" y="T3"/>
                  </a:cxn>
                  <a:cxn ang="0">
                    <a:pos x="T4" y="T5"/>
                  </a:cxn>
                  <a:cxn ang="0">
                    <a:pos x="T6" y="T7"/>
                  </a:cxn>
                  <a:cxn ang="0">
                    <a:pos x="T8" y="T9"/>
                  </a:cxn>
                  <a:cxn ang="0">
                    <a:pos x="T10" y="T11"/>
                  </a:cxn>
                </a:cxnLst>
                <a:rect l="0" t="0" r="r" b="b"/>
                <a:pathLst>
                  <a:path w="5" h="10">
                    <a:moveTo>
                      <a:pt x="5" y="0"/>
                    </a:moveTo>
                    <a:cubicBezTo>
                      <a:pt x="4" y="2"/>
                      <a:pt x="3" y="1"/>
                      <a:pt x="2" y="3"/>
                    </a:cubicBezTo>
                    <a:cubicBezTo>
                      <a:pt x="1" y="4"/>
                      <a:pt x="1" y="4"/>
                      <a:pt x="1" y="5"/>
                    </a:cubicBezTo>
                    <a:cubicBezTo>
                      <a:pt x="1" y="7"/>
                      <a:pt x="1" y="8"/>
                      <a:pt x="0" y="9"/>
                    </a:cubicBezTo>
                    <a:cubicBezTo>
                      <a:pt x="1" y="10"/>
                      <a:pt x="2" y="10"/>
                      <a:pt x="3" y="10"/>
                    </a:cubicBezTo>
                    <a:cubicBezTo>
                      <a:pt x="3" y="7"/>
                      <a:pt x="4"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89"/>
              <p:cNvSpPr/>
              <p:nvPr/>
            </p:nvSpPr>
            <p:spPr bwMode="auto">
              <a:xfrm>
                <a:off x="5578" y="2242"/>
                <a:ext cx="16" cy="10"/>
              </a:xfrm>
              <a:custGeom>
                <a:gdLst>
                  <a:gd name="T0" fmla="*/ 4 w 7"/>
                  <a:gd name="T1" fmla="*/ 0 h 4"/>
                  <a:gd name="T2" fmla="*/ 2 w 7"/>
                  <a:gd name="T3" fmla="*/ 2 h 4"/>
                  <a:gd name="T4" fmla="*/ 0 w 7"/>
                  <a:gd name="T5" fmla="*/ 4 h 4"/>
                  <a:gd name="T6" fmla="*/ 7 w 7"/>
                  <a:gd name="T7" fmla="*/ 2 h 4"/>
                  <a:gd name="T8" fmla="*/ 4 w 7"/>
                  <a:gd name="T9" fmla="*/ 0 h 4"/>
                </a:gdLst>
                <a:cxnLst>
                  <a:cxn ang="0">
                    <a:pos x="T0" y="T1"/>
                  </a:cxn>
                  <a:cxn ang="0">
                    <a:pos x="T2" y="T3"/>
                  </a:cxn>
                  <a:cxn ang="0">
                    <a:pos x="T4" y="T5"/>
                  </a:cxn>
                  <a:cxn ang="0">
                    <a:pos x="T6" y="T7"/>
                  </a:cxn>
                  <a:cxn ang="0">
                    <a:pos x="T8" y="T9"/>
                  </a:cxn>
                </a:cxnLst>
                <a:rect l="0" t="0" r="r" b="b"/>
                <a:pathLst>
                  <a:path w="7" h="4">
                    <a:moveTo>
                      <a:pt x="4" y="0"/>
                    </a:moveTo>
                    <a:cubicBezTo>
                      <a:pt x="3" y="0"/>
                      <a:pt x="3" y="1"/>
                      <a:pt x="2" y="2"/>
                    </a:cubicBezTo>
                    <a:cubicBezTo>
                      <a:pt x="1" y="3"/>
                      <a:pt x="0" y="3"/>
                      <a:pt x="0" y="4"/>
                    </a:cubicBezTo>
                    <a:cubicBezTo>
                      <a:pt x="2" y="4"/>
                      <a:pt x="4" y="3"/>
                      <a:pt x="7" y="2"/>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90"/>
              <p:cNvSpPr/>
              <p:nvPr/>
            </p:nvSpPr>
            <p:spPr bwMode="auto">
              <a:xfrm>
                <a:off x="5677" y="2218"/>
                <a:ext cx="14" cy="15"/>
              </a:xfrm>
              <a:custGeom>
                <a:gdLst>
                  <a:gd name="T0" fmla="*/ 3 w 6"/>
                  <a:gd name="T1" fmla="*/ 0 h 6"/>
                  <a:gd name="T2" fmla="*/ 1 w 6"/>
                  <a:gd name="T3" fmla="*/ 4 h 6"/>
                  <a:gd name="T4" fmla="*/ 6 w 6"/>
                  <a:gd name="T5" fmla="*/ 6 h 6"/>
                  <a:gd name="T6" fmla="*/ 3 w 6"/>
                  <a:gd name="T7" fmla="*/ 0 h 6"/>
                </a:gdLst>
                <a:cxnLst>
                  <a:cxn ang="0">
                    <a:pos x="T0" y="T1"/>
                  </a:cxn>
                  <a:cxn ang="0">
                    <a:pos x="T2" y="T3"/>
                  </a:cxn>
                  <a:cxn ang="0">
                    <a:pos x="T4" y="T5"/>
                  </a:cxn>
                  <a:cxn ang="0">
                    <a:pos x="T6" y="T7"/>
                  </a:cxn>
                </a:cxnLst>
                <a:rect l="0" t="0" r="r" b="b"/>
                <a:pathLst>
                  <a:path w="6" h="6">
                    <a:moveTo>
                      <a:pt x="3" y="0"/>
                    </a:moveTo>
                    <a:cubicBezTo>
                      <a:pt x="0" y="0"/>
                      <a:pt x="0" y="2"/>
                      <a:pt x="1" y="4"/>
                    </a:cubicBezTo>
                    <a:cubicBezTo>
                      <a:pt x="2" y="6"/>
                      <a:pt x="3" y="6"/>
                      <a:pt x="6" y="6"/>
                    </a:cubicBezTo>
                    <a:cubicBezTo>
                      <a:pt x="5" y="4"/>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91"/>
              <p:cNvSpPr/>
              <p:nvPr/>
            </p:nvSpPr>
            <p:spPr bwMode="auto">
              <a:xfrm>
                <a:off x="5580" y="2311"/>
                <a:ext cx="47" cy="21"/>
              </a:xfrm>
              <a:custGeom>
                <a:gdLst>
                  <a:gd name="T0" fmla="*/ 8 w 20"/>
                  <a:gd name="T1" fmla="*/ 0 h 9"/>
                  <a:gd name="T2" fmla="*/ 0 w 20"/>
                  <a:gd name="T3" fmla="*/ 6 h 9"/>
                  <a:gd name="T4" fmla="*/ 5 w 20"/>
                  <a:gd name="T5" fmla="*/ 9 h 9"/>
                  <a:gd name="T6" fmla="*/ 20 w 20"/>
                  <a:gd name="T7" fmla="*/ 1 h 9"/>
                  <a:gd name="T8" fmla="*/ 8 w 20"/>
                  <a:gd name="T9" fmla="*/ 0 h 9"/>
                </a:gdLst>
                <a:cxnLst>
                  <a:cxn ang="0">
                    <a:pos x="T0" y="T1"/>
                  </a:cxn>
                  <a:cxn ang="0">
                    <a:pos x="T2" y="T3"/>
                  </a:cxn>
                  <a:cxn ang="0">
                    <a:pos x="T4" y="T5"/>
                  </a:cxn>
                  <a:cxn ang="0">
                    <a:pos x="T6" y="T7"/>
                  </a:cxn>
                  <a:cxn ang="0">
                    <a:pos x="T8" y="T9"/>
                  </a:cxn>
                </a:cxnLst>
                <a:rect l="0" t="0" r="r" b="b"/>
                <a:pathLst>
                  <a:path w="20" h="9">
                    <a:moveTo>
                      <a:pt x="8" y="0"/>
                    </a:moveTo>
                    <a:cubicBezTo>
                      <a:pt x="6" y="2"/>
                      <a:pt x="3" y="4"/>
                      <a:pt x="0" y="6"/>
                    </a:cubicBezTo>
                    <a:cubicBezTo>
                      <a:pt x="2" y="8"/>
                      <a:pt x="3" y="9"/>
                      <a:pt x="5" y="9"/>
                    </a:cubicBezTo>
                    <a:cubicBezTo>
                      <a:pt x="10" y="9"/>
                      <a:pt x="16" y="4"/>
                      <a:pt x="20" y="1"/>
                    </a:cubicBezTo>
                    <a:cubicBezTo>
                      <a:pt x="16" y="1"/>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92"/>
              <p:cNvSpPr/>
              <p:nvPr/>
            </p:nvSpPr>
            <p:spPr bwMode="auto">
              <a:xfrm>
                <a:off x="6350" y="2228"/>
                <a:ext cx="3" cy="7"/>
              </a:xfrm>
              <a:custGeom>
                <a:gdLst>
                  <a:gd name="T0" fmla="*/ 1 w 1"/>
                  <a:gd name="T1" fmla="*/ 0 h 3"/>
                  <a:gd name="T2" fmla="*/ 1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93"/>
              <p:cNvSpPr/>
              <p:nvPr/>
            </p:nvSpPr>
            <p:spPr bwMode="auto">
              <a:xfrm>
                <a:off x="6372" y="1488"/>
                <a:ext cx="352" cy="291"/>
              </a:xfrm>
              <a:custGeom>
                <a:gdLst>
                  <a:gd name="T0" fmla="*/ 49 w 149"/>
                  <a:gd name="T1" fmla="*/ 3 h 123"/>
                  <a:gd name="T2" fmla="*/ 47 w 149"/>
                  <a:gd name="T3" fmla="*/ 3 h 123"/>
                  <a:gd name="T4" fmla="*/ 46 w 149"/>
                  <a:gd name="T5" fmla="*/ 14 h 123"/>
                  <a:gd name="T6" fmla="*/ 47 w 149"/>
                  <a:gd name="T7" fmla="*/ 45 h 123"/>
                  <a:gd name="T8" fmla="*/ 40 w 149"/>
                  <a:gd name="T9" fmla="*/ 63 h 123"/>
                  <a:gd name="T10" fmla="*/ 34 w 149"/>
                  <a:gd name="T11" fmla="*/ 72 h 123"/>
                  <a:gd name="T12" fmla="*/ 29 w 149"/>
                  <a:gd name="T13" fmla="*/ 70 h 123"/>
                  <a:gd name="T14" fmla="*/ 28 w 149"/>
                  <a:gd name="T15" fmla="*/ 70 h 123"/>
                  <a:gd name="T16" fmla="*/ 25 w 149"/>
                  <a:gd name="T17" fmla="*/ 70 h 123"/>
                  <a:gd name="T18" fmla="*/ 17 w 149"/>
                  <a:gd name="T19" fmla="*/ 66 h 123"/>
                  <a:gd name="T20" fmla="*/ 18 w 149"/>
                  <a:gd name="T21" fmla="*/ 74 h 123"/>
                  <a:gd name="T22" fmla="*/ 13 w 149"/>
                  <a:gd name="T23" fmla="*/ 83 h 123"/>
                  <a:gd name="T24" fmla="*/ 12 w 149"/>
                  <a:gd name="T25" fmla="*/ 83 h 123"/>
                  <a:gd name="T26" fmla="*/ 10 w 149"/>
                  <a:gd name="T27" fmla="*/ 83 h 123"/>
                  <a:gd name="T28" fmla="*/ 6 w 149"/>
                  <a:gd name="T29" fmla="*/ 86 h 123"/>
                  <a:gd name="T30" fmla="*/ 5 w 149"/>
                  <a:gd name="T31" fmla="*/ 86 h 123"/>
                  <a:gd name="T32" fmla="*/ 1 w 149"/>
                  <a:gd name="T33" fmla="*/ 96 h 123"/>
                  <a:gd name="T34" fmla="*/ 7 w 149"/>
                  <a:gd name="T35" fmla="*/ 115 h 123"/>
                  <a:gd name="T36" fmla="*/ 11 w 149"/>
                  <a:gd name="T37" fmla="*/ 123 h 123"/>
                  <a:gd name="T38" fmla="*/ 17 w 149"/>
                  <a:gd name="T39" fmla="*/ 117 h 123"/>
                  <a:gd name="T40" fmla="*/ 21 w 149"/>
                  <a:gd name="T41" fmla="*/ 113 h 123"/>
                  <a:gd name="T42" fmla="*/ 23 w 149"/>
                  <a:gd name="T43" fmla="*/ 112 h 123"/>
                  <a:gd name="T44" fmla="*/ 30 w 149"/>
                  <a:gd name="T45" fmla="*/ 114 h 123"/>
                  <a:gd name="T46" fmla="*/ 30 w 149"/>
                  <a:gd name="T47" fmla="*/ 109 h 123"/>
                  <a:gd name="T48" fmla="*/ 21 w 149"/>
                  <a:gd name="T49" fmla="*/ 102 h 123"/>
                  <a:gd name="T50" fmla="*/ 13 w 149"/>
                  <a:gd name="T51" fmla="*/ 95 h 123"/>
                  <a:gd name="T52" fmla="*/ 25 w 149"/>
                  <a:gd name="T53" fmla="*/ 91 h 123"/>
                  <a:gd name="T54" fmla="*/ 29 w 149"/>
                  <a:gd name="T55" fmla="*/ 97 h 123"/>
                  <a:gd name="T56" fmla="*/ 39 w 149"/>
                  <a:gd name="T57" fmla="*/ 90 h 123"/>
                  <a:gd name="T58" fmla="*/ 53 w 149"/>
                  <a:gd name="T59" fmla="*/ 89 h 123"/>
                  <a:gd name="T60" fmla="*/ 65 w 149"/>
                  <a:gd name="T61" fmla="*/ 97 h 123"/>
                  <a:gd name="T62" fmla="*/ 84 w 149"/>
                  <a:gd name="T63" fmla="*/ 107 h 123"/>
                  <a:gd name="T64" fmla="*/ 88 w 149"/>
                  <a:gd name="T65" fmla="*/ 102 h 123"/>
                  <a:gd name="T66" fmla="*/ 95 w 149"/>
                  <a:gd name="T67" fmla="*/ 87 h 123"/>
                  <a:gd name="T68" fmla="*/ 115 w 149"/>
                  <a:gd name="T69" fmla="*/ 78 h 123"/>
                  <a:gd name="T70" fmla="*/ 121 w 149"/>
                  <a:gd name="T71" fmla="*/ 78 h 123"/>
                  <a:gd name="T72" fmla="*/ 124 w 149"/>
                  <a:gd name="T73" fmla="*/ 75 h 123"/>
                  <a:gd name="T74" fmla="*/ 127 w 149"/>
                  <a:gd name="T75" fmla="*/ 77 h 123"/>
                  <a:gd name="T76" fmla="*/ 131 w 149"/>
                  <a:gd name="T77" fmla="*/ 75 h 123"/>
                  <a:gd name="T78" fmla="*/ 142 w 149"/>
                  <a:gd name="T79" fmla="*/ 69 h 123"/>
                  <a:gd name="T80" fmla="*/ 136 w 149"/>
                  <a:gd name="T81" fmla="*/ 63 h 123"/>
                  <a:gd name="T82" fmla="*/ 138 w 149"/>
                  <a:gd name="T83" fmla="*/ 60 h 123"/>
                  <a:gd name="T84" fmla="*/ 132 w 149"/>
                  <a:gd name="T85" fmla="*/ 50 h 123"/>
                  <a:gd name="T86" fmla="*/ 138 w 149"/>
                  <a:gd name="T87" fmla="*/ 36 h 123"/>
                  <a:gd name="T88" fmla="*/ 121 w 149"/>
                  <a:gd name="T89" fmla="*/ 49 h 123"/>
                  <a:gd name="T90" fmla="*/ 110 w 149"/>
                  <a:gd name="T91" fmla="*/ 46 h 123"/>
                  <a:gd name="T92" fmla="*/ 108 w 149"/>
                  <a:gd name="T93" fmla="*/ 44 h 123"/>
                  <a:gd name="T94" fmla="*/ 103 w 149"/>
                  <a:gd name="T95" fmla="*/ 43 h 123"/>
                  <a:gd name="T96" fmla="*/ 80 w 149"/>
                  <a:gd name="T97" fmla="*/ 29 h 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123">
                    <a:moveTo>
                      <a:pt x="54" y="0"/>
                    </a:moveTo>
                    <a:cubicBezTo>
                      <a:pt x="53" y="1"/>
                      <a:pt x="51" y="3"/>
                      <a:pt x="49" y="3"/>
                    </a:cubicBezTo>
                    <a:cubicBezTo>
                      <a:pt x="49" y="3"/>
                      <a:pt x="49" y="3"/>
                      <a:pt x="49" y="3"/>
                    </a:cubicBezTo>
                    <a:cubicBezTo>
                      <a:pt x="49" y="3"/>
                      <a:pt x="47" y="3"/>
                      <a:pt x="47" y="3"/>
                    </a:cubicBezTo>
                    <a:cubicBezTo>
                      <a:pt x="47" y="3"/>
                      <a:pt x="46" y="2"/>
                      <a:pt x="46" y="5"/>
                    </a:cubicBezTo>
                    <a:cubicBezTo>
                      <a:pt x="46" y="8"/>
                      <a:pt x="46" y="11"/>
                      <a:pt x="46" y="14"/>
                    </a:cubicBezTo>
                    <a:cubicBezTo>
                      <a:pt x="47" y="16"/>
                      <a:pt x="49" y="18"/>
                      <a:pt x="49" y="20"/>
                    </a:cubicBezTo>
                    <a:cubicBezTo>
                      <a:pt x="52" y="28"/>
                      <a:pt x="48" y="37"/>
                      <a:pt x="47" y="45"/>
                    </a:cubicBezTo>
                    <a:cubicBezTo>
                      <a:pt x="47" y="50"/>
                      <a:pt x="39" y="51"/>
                      <a:pt x="39" y="55"/>
                    </a:cubicBezTo>
                    <a:cubicBezTo>
                      <a:pt x="40" y="58"/>
                      <a:pt x="40" y="60"/>
                      <a:pt x="40" y="63"/>
                    </a:cubicBezTo>
                    <a:cubicBezTo>
                      <a:pt x="41" y="64"/>
                      <a:pt x="42" y="65"/>
                      <a:pt x="41" y="67"/>
                    </a:cubicBezTo>
                    <a:cubicBezTo>
                      <a:pt x="39" y="69"/>
                      <a:pt x="37" y="72"/>
                      <a:pt x="34" y="72"/>
                    </a:cubicBezTo>
                    <a:cubicBezTo>
                      <a:pt x="33" y="72"/>
                      <a:pt x="33" y="71"/>
                      <a:pt x="32" y="71"/>
                    </a:cubicBezTo>
                    <a:cubicBezTo>
                      <a:pt x="30" y="70"/>
                      <a:pt x="31" y="70"/>
                      <a:pt x="29" y="70"/>
                    </a:cubicBezTo>
                    <a:cubicBezTo>
                      <a:pt x="29" y="70"/>
                      <a:pt x="29" y="70"/>
                      <a:pt x="29" y="70"/>
                    </a:cubicBezTo>
                    <a:cubicBezTo>
                      <a:pt x="29" y="70"/>
                      <a:pt x="28" y="70"/>
                      <a:pt x="28" y="70"/>
                    </a:cubicBezTo>
                    <a:cubicBezTo>
                      <a:pt x="27" y="70"/>
                      <a:pt x="27" y="70"/>
                      <a:pt x="26" y="70"/>
                    </a:cubicBezTo>
                    <a:cubicBezTo>
                      <a:pt x="26" y="70"/>
                      <a:pt x="26" y="70"/>
                      <a:pt x="25" y="70"/>
                    </a:cubicBezTo>
                    <a:cubicBezTo>
                      <a:pt x="24" y="70"/>
                      <a:pt x="23" y="68"/>
                      <a:pt x="22" y="68"/>
                    </a:cubicBezTo>
                    <a:cubicBezTo>
                      <a:pt x="21" y="67"/>
                      <a:pt x="19" y="66"/>
                      <a:pt x="17" y="66"/>
                    </a:cubicBezTo>
                    <a:cubicBezTo>
                      <a:pt x="16" y="66"/>
                      <a:pt x="15" y="66"/>
                      <a:pt x="14" y="68"/>
                    </a:cubicBezTo>
                    <a:cubicBezTo>
                      <a:pt x="14" y="70"/>
                      <a:pt x="17" y="72"/>
                      <a:pt x="18" y="74"/>
                    </a:cubicBezTo>
                    <a:cubicBezTo>
                      <a:pt x="19" y="77"/>
                      <a:pt x="18" y="76"/>
                      <a:pt x="16" y="79"/>
                    </a:cubicBezTo>
                    <a:cubicBezTo>
                      <a:pt x="15" y="79"/>
                      <a:pt x="14" y="83"/>
                      <a:pt x="13" y="83"/>
                    </a:cubicBezTo>
                    <a:cubicBezTo>
                      <a:pt x="13" y="83"/>
                      <a:pt x="13" y="83"/>
                      <a:pt x="13" y="83"/>
                    </a:cubicBezTo>
                    <a:cubicBezTo>
                      <a:pt x="12" y="83"/>
                      <a:pt x="12" y="83"/>
                      <a:pt x="12" y="83"/>
                    </a:cubicBezTo>
                    <a:cubicBezTo>
                      <a:pt x="11" y="83"/>
                      <a:pt x="11" y="82"/>
                      <a:pt x="11" y="82"/>
                    </a:cubicBezTo>
                    <a:cubicBezTo>
                      <a:pt x="10" y="82"/>
                      <a:pt x="10" y="83"/>
                      <a:pt x="10" y="83"/>
                    </a:cubicBezTo>
                    <a:cubicBezTo>
                      <a:pt x="9" y="83"/>
                      <a:pt x="8" y="85"/>
                      <a:pt x="7" y="86"/>
                    </a:cubicBezTo>
                    <a:cubicBezTo>
                      <a:pt x="7" y="86"/>
                      <a:pt x="6" y="86"/>
                      <a:pt x="6" y="86"/>
                    </a:cubicBezTo>
                    <a:cubicBezTo>
                      <a:pt x="6" y="86"/>
                      <a:pt x="5" y="86"/>
                      <a:pt x="5" y="86"/>
                    </a:cubicBezTo>
                    <a:cubicBezTo>
                      <a:pt x="5" y="86"/>
                      <a:pt x="5" y="86"/>
                      <a:pt x="5" y="86"/>
                    </a:cubicBezTo>
                    <a:cubicBezTo>
                      <a:pt x="4" y="86"/>
                      <a:pt x="3" y="86"/>
                      <a:pt x="3" y="86"/>
                    </a:cubicBezTo>
                    <a:cubicBezTo>
                      <a:pt x="1" y="88"/>
                      <a:pt x="1" y="94"/>
                      <a:pt x="1" y="96"/>
                    </a:cubicBezTo>
                    <a:cubicBezTo>
                      <a:pt x="0" y="100"/>
                      <a:pt x="4" y="100"/>
                      <a:pt x="6" y="103"/>
                    </a:cubicBezTo>
                    <a:cubicBezTo>
                      <a:pt x="10" y="106"/>
                      <a:pt x="9" y="109"/>
                      <a:pt x="7" y="115"/>
                    </a:cubicBezTo>
                    <a:cubicBezTo>
                      <a:pt x="6" y="116"/>
                      <a:pt x="5" y="118"/>
                      <a:pt x="5" y="119"/>
                    </a:cubicBezTo>
                    <a:cubicBezTo>
                      <a:pt x="6" y="120"/>
                      <a:pt x="9" y="123"/>
                      <a:pt x="11" y="123"/>
                    </a:cubicBezTo>
                    <a:cubicBezTo>
                      <a:pt x="11" y="123"/>
                      <a:pt x="11" y="123"/>
                      <a:pt x="12" y="123"/>
                    </a:cubicBezTo>
                    <a:cubicBezTo>
                      <a:pt x="13" y="121"/>
                      <a:pt x="15" y="119"/>
                      <a:pt x="17" y="117"/>
                    </a:cubicBezTo>
                    <a:cubicBezTo>
                      <a:pt x="17" y="117"/>
                      <a:pt x="17" y="116"/>
                      <a:pt x="17" y="115"/>
                    </a:cubicBezTo>
                    <a:cubicBezTo>
                      <a:pt x="18" y="115"/>
                      <a:pt x="20" y="113"/>
                      <a:pt x="21" y="113"/>
                    </a:cubicBezTo>
                    <a:cubicBezTo>
                      <a:pt x="22" y="112"/>
                      <a:pt x="21" y="112"/>
                      <a:pt x="23" y="112"/>
                    </a:cubicBezTo>
                    <a:cubicBezTo>
                      <a:pt x="23" y="112"/>
                      <a:pt x="23" y="112"/>
                      <a:pt x="23" y="112"/>
                    </a:cubicBezTo>
                    <a:cubicBezTo>
                      <a:pt x="24" y="112"/>
                      <a:pt x="26" y="113"/>
                      <a:pt x="28" y="113"/>
                    </a:cubicBezTo>
                    <a:cubicBezTo>
                      <a:pt x="29" y="114"/>
                      <a:pt x="29" y="114"/>
                      <a:pt x="30" y="114"/>
                    </a:cubicBezTo>
                    <a:cubicBezTo>
                      <a:pt x="31" y="114"/>
                      <a:pt x="31" y="114"/>
                      <a:pt x="32" y="113"/>
                    </a:cubicBezTo>
                    <a:cubicBezTo>
                      <a:pt x="34" y="109"/>
                      <a:pt x="33" y="111"/>
                      <a:pt x="30" y="109"/>
                    </a:cubicBezTo>
                    <a:cubicBezTo>
                      <a:pt x="28" y="108"/>
                      <a:pt x="27" y="105"/>
                      <a:pt x="25" y="104"/>
                    </a:cubicBezTo>
                    <a:cubicBezTo>
                      <a:pt x="24" y="102"/>
                      <a:pt x="24" y="103"/>
                      <a:pt x="21" y="102"/>
                    </a:cubicBezTo>
                    <a:cubicBezTo>
                      <a:pt x="19" y="102"/>
                      <a:pt x="19" y="102"/>
                      <a:pt x="17" y="101"/>
                    </a:cubicBezTo>
                    <a:cubicBezTo>
                      <a:pt x="14" y="99"/>
                      <a:pt x="12" y="99"/>
                      <a:pt x="13" y="95"/>
                    </a:cubicBezTo>
                    <a:cubicBezTo>
                      <a:pt x="15" y="91"/>
                      <a:pt x="17" y="89"/>
                      <a:pt x="20" y="89"/>
                    </a:cubicBezTo>
                    <a:cubicBezTo>
                      <a:pt x="22" y="89"/>
                      <a:pt x="23" y="90"/>
                      <a:pt x="25" y="91"/>
                    </a:cubicBezTo>
                    <a:cubicBezTo>
                      <a:pt x="27" y="92"/>
                      <a:pt x="27" y="93"/>
                      <a:pt x="28" y="94"/>
                    </a:cubicBezTo>
                    <a:cubicBezTo>
                      <a:pt x="29" y="95"/>
                      <a:pt x="30" y="96"/>
                      <a:pt x="29" y="97"/>
                    </a:cubicBezTo>
                    <a:cubicBezTo>
                      <a:pt x="29" y="97"/>
                      <a:pt x="30" y="97"/>
                      <a:pt x="30" y="97"/>
                    </a:cubicBezTo>
                    <a:cubicBezTo>
                      <a:pt x="32" y="97"/>
                      <a:pt x="37" y="92"/>
                      <a:pt x="39" y="90"/>
                    </a:cubicBezTo>
                    <a:cubicBezTo>
                      <a:pt x="42" y="89"/>
                      <a:pt x="44" y="88"/>
                      <a:pt x="46" y="88"/>
                    </a:cubicBezTo>
                    <a:cubicBezTo>
                      <a:pt x="48" y="88"/>
                      <a:pt x="50" y="89"/>
                      <a:pt x="53" y="89"/>
                    </a:cubicBezTo>
                    <a:cubicBezTo>
                      <a:pt x="54" y="90"/>
                      <a:pt x="58" y="92"/>
                      <a:pt x="59" y="93"/>
                    </a:cubicBezTo>
                    <a:cubicBezTo>
                      <a:pt x="61" y="94"/>
                      <a:pt x="63" y="96"/>
                      <a:pt x="65" y="97"/>
                    </a:cubicBezTo>
                    <a:cubicBezTo>
                      <a:pt x="70" y="100"/>
                      <a:pt x="77" y="101"/>
                      <a:pt x="82" y="105"/>
                    </a:cubicBezTo>
                    <a:cubicBezTo>
                      <a:pt x="83" y="105"/>
                      <a:pt x="84" y="107"/>
                      <a:pt x="84" y="107"/>
                    </a:cubicBezTo>
                    <a:cubicBezTo>
                      <a:pt x="85" y="107"/>
                      <a:pt x="85" y="107"/>
                      <a:pt x="85" y="107"/>
                    </a:cubicBezTo>
                    <a:cubicBezTo>
                      <a:pt x="87" y="107"/>
                      <a:pt x="88" y="104"/>
                      <a:pt x="88" y="102"/>
                    </a:cubicBezTo>
                    <a:cubicBezTo>
                      <a:pt x="88" y="99"/>
                      <a:pt x="88" y="97"/>
                      <a:pt x="90" y="94"/>
                    </a:cubicBezTo>
                    <a:cubicBezTo>
                      <a:pt x="91" y="92"/>
                      <a:pt x="93" y="89"/>
                      <a:pt x="95" y="87"/>
                    </a:cubicBezTo>
                    <a:cubicBezTo>
                      <a:pt x="97" y="85"/>
                      <a:pt x="101" y="81"/>
                      <a:pt x="104" y="79"/>
                    </a:cubicBezTo>
                    <a:cubicBezTo>
                      <a:pt x="106" y="78"/>
                      <a:pt x="111" y="78"/>
                      <a:pt x="115" y="78"/>
                    </a:cubicBezTo>
                    <a:cubicBezTo>
                      <a:pt x="117" y="78"/>
                      <a:pt x="118" y="78"/>
                      <a:pt x="119" y="78"/>
                    </a:cubicBezTo>
                    <a:cubicBezTo>
                      <a:pt x="120" y="78"/>
                      <a:pt x="121" y="78"/>
                      <a:pt x="121" y="78"/>
                    </a:cubicBezTo>
                    <a:cubicBezTo>
                      <a:pt x="122" y="78"/>
                      <a:pt x="123" y="78"/>
                      <a:pt x="124" y="77"/>
                    </a:cubicBezTo>
                    <a:cubicBezTo>
                      <a:pt x="124" y="77"/>
                      <a:pt x="124" y="75"/>
                      <a:pt x="124" y="75"/>
                    </a:cubicBezTo>
                    <a:cubicBezTo>
                      <a:pt x="125" y="75"/>
                      <a:pt x="125" y="76"/>
                      <a:pt x="125" y="76"/>
                    </a:cubicBezTo>
                    <a:cubicBezTo>
                      <a:pt x="126" y="76"/>
                      <a:pt x="127" y="77"/>
                      <a:pt x="127" y="77"/>
                    </a:cubicBezTo>
                    <a:cubicBezTo>
                      <a:pt x="127" y="77"/>
                      <a:pt x="127" y="77"/>
                      <a:pt x="128" y="77"/>
                    </a:cubicBezTo>
                    <a:cubicBezTo>
                      <a:pt x="129" y="77"/>
                      <a:pt x="130" y="76"/>
                      <a:pt x="131" y="75"/>
                    </a:cubicBezTo>
                    <a:cubicBezTo>
                      <a:pt x="137" y="72"/>
                      <a:pt x="143" y="69"/>
                      <a:pt x="149" y="65"/>
                    </a:cubicBezTo>
                    <a:cubicBezTo>
                      <a:pt x="148" y="65"/>
                      <a:pt x="140" y="66"/>
                      <a:pt x="142" y="69"/>
                    </a:cubicBezTo>
                    <a:cubicBezTo>
                      <a:pt x="141" y="69"/>
                      <a:pt x="139" y="69"/>
                      <a:pt x="138" y="68"/>
                    </a:cubicBezTo>
                    <a:cubicBezTo>
                      <a:pt x="136" y="67"/>
                      <a:pt x="136" y="65"/>
                      <a:pt x="136" y="63"/>
                    </a:cubicBezTo>
                    <a:cubicBezTo>
                      <a:pt x="135" y="61"/>
                      <a:pt x="135" y="60"/>
                      <a:pt x="134" y="58"/>
                    </a:cubicBezTo>
                    <a:cubicBezTo>
                      <a:pt x="135" y="59"/>
                      <a:pt x="137" y="59"/>
                      <a:pt x="138" y="60"/>
                    </a:cubicBezTo>
                    <a:cubicBezTo>
                      <a:pt x="136" y="58"/>
                      <a:pt x="131" y="55"/>
                      <a:pt x="131" y="53"/>
                    </a:cubicBezTo>
                    <a:cubicBezTo>
                      <a:pt x="132" y="50"/>
                      <a:pt x="132" y="50"/>
                      <a:pt x="132" y="50"/>
                    </a:cubicBezTo>
                    <a:cubicBezTo>
                      <a:pt x="132" y="49"/>
                      <a:pt x="133" y="47"/>
                      <a:pt x="134" y="46"/>
                    </a:cubicBezTo>
                    <a:cubicBezTo>
                      <a:pt x="135" y="44"/>
                      <a:pt x="140" y="39"/>
                      <a:pt x="138" y="36"/>
                    </a:cubicBezTo>
                    <a:cubicBezTo>
                      <a:pt x="133" y="39"/>
                      <a:pt x="130" y="44"/>
                      <a:pt x="126" y="47"/>
                    </a:cubicBezTo>
                    <a:cubicBezTo>
                      <a:pt x="124" y="48"/>
                      <a:pt x="123" y="49"/>
                      <a:pt x="121" y="49"/>
                    </a:cubicBezTo>
                    <a:cubicBezTo>
                      <a:pt x="120" y="49"/>
                      <a:pt x="119" y="49"/>
                      <a:pt x="117" y="48"/>
                    </a:cubicBezTo>
                    <a:cubicBezTo>
                      <a:pt x="115" y="48"/>
                      <a:pt x="113" y="47"/>
                      <a:pt x="110" y="46"/>
                    </a:cubicBezTo>
                    <a:cubicBezTo>
                      <a:pt x="110" y="46"/>
                      <a:pt x="108" y="46"/>
                      <a:pt x="108" y="46"/>
                    </a:cubicBezTo>
                    <a:cubicBezTo>
                      <a:pt x="107" y="45"/>
                      <a:pt x="108" y="44"/>
                      <a:pt x="108" y="44"/>
                    </a:cubicBezTo>
                    <a:cubicBezTo>
                      <a:pt x="107" y="43"/>
                      <a:pt x="106" y="43"/>
                      <a:pt x="106" y="43"/>
                    </a:cubicBezTo>
                    <a:cubicBezTo>
                      <a:pt x="105" y="43"/>
                      <a:pt x="104" y="43"/>
                      <a:pt x="103" y="43"/>
                    </a:cubicBezTo>
                    <a:cubicBezTo>
                      <a:pt x="103" y="43"/>
                      <a:pt x="103" y="43"/>
                      <a:pt x="103" y="43"/>
                    </a:cubicBezTo>
                    <a:cubicBezTo>
                      <a:pt x="95" y="43"/>
                      <a:pt x="86" y="34"/>
                      <a:pt x="80" y="29"/>
                    </a:cubicBezTo>
                    <a:cubicBezTo>
                      <a:pt x="70" y="21"/>
                      <a:pt x="63" y="1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Freeform 94"/>
              <p:cNvSpPr/>
              <p:nvPr/>
            </p:nvSpPr>
            <p:spPr bwMode="auto">
              <a:xfrm>
                <a:off x="5779" y="2282"/>
                <a:ext cx="144" cy="192"/>
              </a:xfrm>
              <a:custGeom>
                <a:gdLst>
                  <a:gd name="T0" fmla="*/ 32 w 61"/>
                  <a:gd name="T1" fmla="*/ 1 h 81"/>
                  <a:gd name="T2" fmla="*/ 30 w 61"/>
                  <a:gd name="T3" fmla="*/ 1 h 81"/>
                  <a:gd name="T4" fmla="*/ 22 w 61"/>
                  <a:gd name="T5" fmla="*/ 5 h 81"/>
                  <a:gd name="T6" fmla="*/ 12 w 61"/>
                  <a:gd name="T7" fmla="*/ 13 h 81"/>
                  <a:gd name="T8" fmla="*/ 6 w 61"/>
                  <a:gd name="T9" fmla="*/ 17 h 81"/>
                  <a:gd name="T10" fmla="*/ 3 w 61"/>
                  <a:gd name="T11" fmla="*/ 24 h 81"/>
                  <a:gd name="T12" fmla="*/ 4 w 61"/>
                  <a:gd name="T13" fmla="*/ 38 h 81"/>
                  <a:gd name="T14" fmla="*/ 15 w 61"/>
                  <a:gd name="T15" fmla="*/ 37 h 81"/>
                  <a:gd name="T16" fmla="*/ 19 w 61"/>
                  <a:gd name="T17" fmla="*/ 35 h 81"/>
                  <a:gd name="T18" fmla="*/ 16 w 61"/>
                  <a:gd name="T19" fmla="*/ 27 h 81"/>
                  <a:gd name="T20" fmla="*/ 17 w 61"/>
                  <a:gd name="T21" fmla="*/ 21 h 81"/>
                  <a:gd name="T22" fmla="*/ 22 w 61"/>
                  <a:gd name="T23" fmla="*/ 28 h 81"/>
                  <a:gd name="T24" fmla="*/ 22 w 61"/>
                  <a:gd name="T25" fmla="*/ 37 h 81"/>
                  <a:gd name="T26" fmla="*/ 27 w 61"/>
                  <a:gd name="T27" fmla="*/ 36 h 81"/>
                  <a:gd name="T28" fmla="*/ 22 w 61"/>
                  <a:gd name="T29" fmla="*/ 44 h 81"/>
                  <a:gd name="T30" fmla="*/ 16 w 61"/>
                  <a:gd name="T31" fmla="*/ 70 h 81"/>
                  <a:gd name="T32" fmla="*/ 14 w 61"/>
                  <a:gd name="T33" fmla="*/ 70 h 81"/>
                  <a:gd name="T34" fmla="*/ 22 w 61"/>
                  <a:gd name="T35" fmla="*/ 75 h 81"/>
                  <a:gd name="T36" fmla="*/ 26 w 61"/>
                  <a:gd name="T37" fmla="*/ 76 h 81"/>
                  <a:gd name="T38" fmla="*/ 25 w 61"/>
                  <a:gd name="T39" fmla="*/ 63 h 81"/>
                  <a:gd name="T40" fmla="*/ 31 w 61"/>
                  <a:gd name="T41" fmla="*/ 63 h 81"/>
                  <a:gd name="T42" fmla="*/ 27 w 61"/>
                  <a:gd name="T43" fmla="*/ 81 h 81"/>
                  <a:gd name="T44" fmla="*/ 39 w 61"/>
                  <a:gd name="T45" fmla="*/ 68 h 81"/>
                  <a:gd name="T46" fmla="*/ 46 w 61"/>
                  <a:gd name="T47" fmla="*/ 64 h 81"/>
                  <a:gd name="T48" fmla="*/ 53 w 61"/>
                  <a:gd name="T49" fmla="*/ 44 h 81"/>
                  <a:gd name="T50" fmla="*/ 61 w 61"/>
                  <a:gd name="T51" fmla="*/ 28 h 81"/>
                  <a:gd name="T52" fmla="*/ 57 w 61"/>
                  <a:gd name="T53" fmla="*/ 19 h 81"/>
                  <a:gd name="T54" fmla="*/ 55 w 61"/>
                  <a:gd name="T55" fmla="*/ 19 h 81"/>
                  <a:gd name="T56" fmla="*/ 54 w 61"/>
                  <a:gd name="T57" fmla="*/ 19 h 81"/>
                  <a:gd name="T58" fmla="*/ 48 w 61"/>
                  <a:gd name="T59" fmla="*/ 17 h 81"/>
                  <a:gd name="T60" fmla="*/ 50 w 61"/>
                  <a:gd name="T61" fmla="*/ 7 h 81"/>
                  <a:gd name="T62" fmla="*/ 47 w 61"/>
                  <a:gd name="T63" fmla="*/ 9 h 81"/>
                  <a:gd name="T64" fmla="*/ 44 w 61"/>
                  <a:gd name="T65" fmla="*/ 11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81">
                    <a:moveTo>
                      <a:pt x="35" y="0"/>
                    </a:moveTo>
                    <a:cubicBezTo>
                      <a:pt x="34" y="1"/>
                      <a:pt x="33" y="1"/>
                      <a:pt x="32" y="1"/>
                    </a:cubicBezTo>
                    <a:cubicBezTo>
                      <a:pt x="31" y="1"/>
                      <a:pt x="31" y="1"/>
                      <a:pt x="31" y="1"/>
                    </a:cubicBezTo>
                    <a:cubicBezTo>
                      <a:pt x="31" y="1"/>
                      <a:pt x="30" y="1"/>
                      <a:pt x="30" y="1"/>
                    </a:cubicBezTo>
                    <a:cubicBezTo>
                      <a:pt x="29" y="1"/>
                      <a:pt x="27" y="1"/>
                      <a:pt x="26" y="1"/>
                    </a:cubicBezTo>
                    <a:cubicBezTo>
                      <a:pt x="23" y="2"/>
                      <a:pt x="23" y="3"/>
                      <a:pt x="22" y="5"/>
                    </a:cubicBezTo>
                    <a:cubicBezTo>
                      <a:pt x="21" y="7"/>
                      <a:pt x="21" y="6"/>
                      <a:pt x="17" y="8"/>
                    </a:cubicBezTo>
                    <a:cubicBezTo>
                      <a:pt x="14" y="9"/>
                      <a:pt x="13" y="10"/>
                      <a:pt x="12" y="13"/>
                    </a:cubicBezTo>
                    <a:cubicBezTo>
                      <a:pt x="10" y="13"/>
                      <a:pt x="9" y="12"/>
                      <a:pt x="7" y="11"/>
                    </a:cubicBezTo>
                    <a:cubicBezTo>
                      <a:pt x="6" y="13"/>
                      <a:pt x="6" y="14"/>
                      <a:pt x="6" y="17"/>
                    </a:cubicBezTo>
                    <a:cubicBezTo>
                      <a:pt x="4" y="17"/>
                      <a:pt x="2" y="16"/>
                      <a:pt x="0" y="16"/>
                    </a:cubicBezTo>
                    <a:cubicBezTo>
                      <a:pt x="0" y="21"/>
                      <a:pt x="1" y="21"/>
                      <a:pt x="3" y="24"/>
                    </a:cubicBezTo>
                    <a:cubicBezTo>
                      <a:pt x="1" y="27"/>
                      <a:pt x="2" y="29"/>
                      <a:pt x="4" y="31"/>
                    </a:cubicBezTo>
                    <a:cubicBezTo>
                      <a:pt x="6" y="34"/>
                      <a:pt x="8" y="35"/>
                      <a:pt x="4" y="38"/>
                    </a:cubicBezTo>
                    <a:cubicBezTo>
                      <a:pt x="8" y="36"/>
                      <a:pt x="11" y="34"/>
                      <a:pt x="15" y="32"/>
                    </a:cubicBezTo>
                    <a:cubicBezTo>
                      <a:pt x="16" y="34"/>
                      <a:pt x="13" y="36"/>
                      <a:pt x="15" y="37"/>
                    </a:cubicBezTo>
                    <a:cubicBezTo>
                      <a:pt x="15" y="37"/>
                      <a:pt x="15" y="37"/>
                      <a:pt x="15" y="37"/>
                    </a:cubicBezTo>
                    <a:cubicBezTo>
                      <a:pt x="16" y="37"/>
                      <a:pt x="18" y="36"/>
                      <a:pt x="19" y="35"/>
                    </a:cubicBezTo>
                    <a:cubicBezTo>
                      <a:pt x="18" y="33"/>
                      <a:pt x="15" y="31"/>
                      <a:pt x="13" y="30"/>
                    </a:cubicBezTo>
                    <a:cubicBezTo>
                      <a:pt x="14" y="29"/>
                      <a:pt x="16" y="28"/>
                      <a:pt x="16" y="27"/>
                    </a:cubicBezTo>
                    <a:cubicBezTo>
                      <a:pt x="15" y="26"/>
                      <a:pt x="14" y="24"/>
                      <a:pt x="14" y="23"/>
                    </a:cubicBezTo>
                    <a:cubicBezTo>
                      <a:pt x="16" y="23"/>
                      <a:pt x="16" y="21"/>
                      <a:pt x="17" y="21"/>
                    </a:cubicBezTo>
                    <a:cubicBezTo>
                      <a:pt x="17" y="21"/>
                      <a:pt x="18" y="22"/>
                      <a:pt x="19" y="22"/>
                    </a:cubicBezTo>
                    <a:cubicBezTo>
                      <a:pt x="20" y="23"/>
                      <a:pt x="21" y="27"/>
                      <a:pt x="22" y="28"/>
                    </a:cubicBezTo>
                    <a:cubicBezTo>
                      <a:pt x="24" y="30"/>
                      <a:pt x="25" y="32"/>
                      <a:pt x="26" y="34"/>
                    </a:cubicBezTo>
                    <a:cubicBezTo>
                      <a:pt x="24" y="34"/>
                      <a:pt x="23" y="36"/>
                      <a:pt x="22" y="37"/>
                    </a:cubicBezTo>
                    <a:cubicBezTo>
                      <a:pt x="23" y="36"/>
                      <a:pt x="24" y="36"/>
                      <a:pt x="25" y="36"/>
                    </a:cubicBezTo>
                    <a:cubicBezTo>
                      <a:pt x="26" y="36"/>
                      <a:pt x="26" y="36"/>
                      <a:pt x="27" y="36"/>
                    </a:cubicBezTo>
                    <a:cubicBezTo>
                      <a:pt x="26" y="37"/>
                      <a:pt x="24" y="44"/>
                      <a:pt x="23" y="44"/>
                    </a:cubicBezTo>
                    <a:cubicBezTo>
                      <a:pt x="23" y="44"/>
                      <a:pt x="23" y="44"/>
                      <a:pt x="22" y="44"/>
                    </a:cubicBezTo>
                    <a:cubicBezTo>
                      <a:pt x="20" y="51"/>
                      <a:pt x="12" y="52"/>
                      <a:pt x="15" y="60"/>
                    </a:cubicBezTo>
                    <a:cubicBezTo>
                      <a:pt x="16" y="61"/>
                      <a:pt x="20" y="70"/>
                      <a:pt x="16" y="70"/>
                    </a:cubicBezTo>
                    <a:cubicBezTo>
                      <a:pt x="15" y="70"/>
                      <a:pt x="15" y="70"/>
                      <a:pt x="14" y="70"/>
                    </a:cubicBezTo>
                    <a:cubicBezTo>
                      <a:pt x="14" y="70"/>
                      <a:pt x="14" y="70"/>
                      <a:pt x="14" y="70"/>
                    </a:cubicBezTo>
                    <a:cubicBezTo>
                      <a:pt x="14" y="71"/>
                      <a:pt x="17" y="74"/>
                      <a:pt x="18" y="74"/>
                    </a:cubicBezTo>
                    <a:cubicBezTo>
                      <a:pt x="19" y="74"/>
                      <a:pt x="21" y="74"/>
                      <a:pt x="22" y="75"/>
                    </a:cubicBezTo>
                    <a:cubicBezTo>
                      <a:pt x="23" y="75"/>
                      <a:pt x="24" y="76"/>
                      <a:pt x="25" y="76"/>
                    </a:cubicBezTo>
                    <a:cubicBezTo>
                      <a:pt x="26" y="76"/>
                      <a:pt x="26" y="76"/>
                      <a:pt x="26" y="76"/>
                    </a:cubicBezTo>
                    <a:cubicBezTo>
                      <a:pt x="27" y="74"/>
                      <a:pt x="25" y="72"/>
                      <a:pt x="24" y="70"/>
                    </a:cubicBezTo>
                    <a:cubicBezTo>
                      <a:pt x="23" y="68"/>
                      <a:pt x="24" y="66"/>
                      <a:pt x="25" y="63"/>
                    </a:cubicBezTo>
                    <a:cubicBezTo>
                      <a:pt x="26" y="63"/>
                      <a:pt x="28" y="61"/>
                      <a:pt x="29" y="61"/>
                    </a:cubicBezTo>
                    <a:cubicBezTo>
                      <a:pt x="30" y="61"/>
                      <a:pt x="30" y="62"/>
                      <a:pt x="31" y="63"/>
                    </a:cubicBezTo>
                    <a:cubicBezTo>
                      <a:pt x="31" y="64"/>
                      <a:pt x="29" y="65"/>
                      <a:pt x="29" y="65"/>
                    </a:cubicBezTo>
                    <a:cubicBezTo>
                      <a:pt x="30" y="73"/>
                      <a:pt x="31" y="74"/>
                      <a:pt x="27" y="81"/>
                    </a:cubicBezTo>
                    <a:cubicBezTo>
                      <a:pt x="31" y="78"/>
                      <a:pt x="35" y="76"/>
                      <a:pt x="38" y="73"/>
                    </a:cubicBezTo>
                    <a:cubicBezTo>
                      <a:pt x="38" y="72"/>
                      <a:pt x="39" y="70"/>
                      <a:pt x="39" y="68"/>
                    </a:cubicBezTo>
                    <a:cubicBezTo>
                      <a:pt x="41" y="69"/>
                      <a:pt x="42" y="69"/>
                      <a:pt x="43" y="69"/>
                    </a:cubicBezTo>
                    <a:cubicBezTo>
                      <a:pt x="45" y="69"/>
                      <a:pt x="45" y="68"/>
                      <a:pt x="46" y="64"/>
                    </a:cubicBezTo>
                    <a:cubicBezTo>
                      <a:pt x="47" y="62"/>
                      <a:pt x="47" y="61"/>
                      <a:pt x="47" y="59"/>
                    </a:cubicBezTo>
                    <a:cubicBezTo>
                      <a:pt x="48" y="54"/>
                      <a:pt x="51" y="49"/>
                      <a:pt x="53" y="44"/>
                    </a:cubicBezTo>
                    <a:cubicBezTo>
                      <a:pt x="54" y="40"/>
                      <a:pt x="55" y="37"/>
                      <a:pt x="57" y="34"/>
                    </a:cubicBezTo>
                    <a:cubicBezTo>
                      <a:pt x="58" y="31"/>
                      <a:pt x="60" y="30"/>
                      <a:pt x="61" y="28"/>
                    </a:cubicBezTo>
                    <a:cubicBezTo>
                      <a:pt x="61" y="28"/>
                      <a:pt x="61" y="28"/>
                      <a:pt x="60" y="28"/>
                    </a:cubicBezTo>
                    <a:cubicBezTo>
                      <a:pt x="60" y="26"/>
                      <a:pt x="60" y="20"/>
                      <a:pt x="57" y="19"/>
                    </a:cubicBezTo>
                    <a:cubicBezTo>
                      <a:pt x="57" y="19"/>
                      <a:pt x="57" y="19"/>
                      <a:pt x="57" y="19"/>
                    </a:cubicBezTo>
                    <a:cubicBezTo>
                      <a:pt x="57" y="19"/>
                      <a:pt x="56" y="19"/>
                      <a:pt x="55" y="19"/>
                    </a:cubicBezTo>
                    <a:cubicBezTo>
                      <a:pt x="55" y="19"/>
                      <a:pt x="54" y="19"/>
                      <a:pt x="54" y="19"/>
                    </a:cubicBezTo>
                    <a:cubicBezTo>
                      <a:pt x="54" y="19"/>
                      <a:pt x="54" y="19"/>
                      <a:pt x="54" y="19"/>
                    </a:cubicBezTo>
                    <a:cubicBezTo>
                      <a:pt x="52" y="19"/>
                      <a:pt x="47" y="18"/>
                      <a:pt x="48" y="17"/>
                    </a:cubicBezTo>
                    <a:cubicBezTo>
                      <a:pt x="48" y="17"/>
                      <a:pt x="48" y="17"/>
                      <a:pt x="48" y="17"/>
                    </a:cubicBezTo>
                    <a:cubicBezTo>
                      <a:pt x="49" y="17"/>
                      <a:pt x="50" y="16"/>
                      <a:pt x="51" y="16"/>
                    </a:cubicBezTo>
                    <a:cubicBezTo>
                      <a:pt x="52" y="14"/>
                      <a:pt x="53" y="8"/>
                      <a:pt x="50" y="7"/>
                    </a:cubicBezTo>
                    <a:cubicBezTo>
                      <a:pt x="50" y="7"/>
                      <a:pt x="50" y="7"/>
                      <a:pt x="50" y="7"/>
                    </a:cubicBezTo>
                    <a:cubicBezTo>
                      <a:pt x="49" y="7"/>
                      <a:pt x="48" y="8"/>
                      <a:pt x="47" y="9"/>
                    </a:cubicBezTo>
                    <a:cubicBezTo>
                      <a:pt x="46" y="10"/>
                      <a:pt x="46" y="10"/>
                      <a:pt x="44" y="11"/>
                    </a:cubicBezTo>
                    <a:cubicBezTo>
                      <a:pt x="44" y="11"/>
                      <a:pt x="44" y="11"/>
                      <a:pt x="44" y="11"/>
                    </a:cubicBezTo>
                    <a:cubicBezTo>
                      <a:pt x="39" y="11"/>
                      <a:pt x="33" y="5"/>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95"/>
              <p:cNvSpPr/>
              <p:nvPr/>
            </p:nvSpPr>
            <p:spPr bwMode="auto">
              <a:xfrm>
                <a:off x="5783" y="2289"/>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1"/>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96"/>
              <p:cNvSpPr/>
              <p:nvPr/>
            </p:nvSpPr>
            <p:spPr bwMode="auto">
              <a:xfrm>
                <a:off x="5854" y="1772"/>
                <a:ext cx="657" cy="543"/>
              </a:xfrm>
              <a:custGeom>
                <a:gdLst>
                  <a:gd name="T0" fmla="*/ 244 w 278"/>
                  <a:gd name="T1" fmla="*/ 10 h 230"/>
                  <a:gd name="T2" fmla="*/ 254 w 278"/>
                  <a:gd name="T3" fmla="*/ 8 h 230"/>
                  <a:gd name="T4" fmla="*/ 253 w 278"/>
                  <a:gd name="T5" fmla="*/ 19 h 230"/>
                  <a:gd name="T6" fmla="*/ 247 w 278"/>
                  <a:gd name="T7" fmla="*/ 19 h 230"/>
                  <a:gd name="T8" fmla="*/ 245 w 278"/>
                  <a:gd name="T9" fmla="*/ 20 h 230"/>
                  <a:gd name="T10" fmla="*/ 233 w 278"/>
                  <a:gd name="T11" fmla="*/ 8 h 230"/>
                  <a:gd name="T12" fmla="*/ 223 w 278"/>
                  <a:gd name="T13" fmla="*/ 32 h 230"/>
                  <a:gd name="T14" fmla="*/ 221 w 278"/>
                  <a:gd name="T15" fmla="*/ 49 h 230"/>
                  <a:gd name="T16" fmla="*/ 222 w 278"/>
                  <a:gd name="T17" fmla="*/ 48 h 230"/>
                  <a:gd name="T18" fmla="*/ 224 w 278"/>
                  <a:gd name="T19" fmla="*/ 62 h 230"/>
                  <a:gd name="T20" fmla="*/ 210 w 278"/>
                  <a:gd name="T21" fmla="*/ 98 h 230"/>
                  <a:gd name="T22" fmla="*/ 188 w 278"/>
                  <a:gd name="T23" fmla="*/ 121 h 230"/>
                  <a:gd name="T24" fmla="*/ 153 w 278"/>
                  <a:gd name="T25" fmla="*/ 137 h 230"/>
                  <a:gd name="T26" fmla="*/ 152 w 278"/>
                  <a:gd name="T27" fmla="*/ 128 h 230"/>
                  <a:gd name="T28" fmla="*/ 151 w 278"/>
                  <a:gd name="T29" fmla="*/ 129 h 230"/>
                  <a:gd name="T30" fmla="*/ 155 w 278"/>
                  <a:gd name="T31" fmla="*/ 122 h 230"/>
                  <a:gd name="T32" fmla="*/ 156 w 278"/>
                  <a:gd name="T33" fmla="*/ 123 h 230"/>
                  <a:gd name="T34" fmla="*/ 157 w 278"/>
                  <a:gd name="T35" fmla="*/ 116 h 230"/>
                  <a:gd name="T36" fmla="*/ 145 w 278"/>
                  <a:gd name="T37" fmla="*/ 133 h 230"/>
                  <a:gd name="T38" fmla="*/ 128 w 278"/>
                  <a:gd name="T39" fmla="*/ 168 h 230"/>
                  <a:gd name="T40" fmla="*/ 119 w 278"/>
                  <a:gd name="T41" fmla="*/ 173 h 230"/>
                  <a:gd name="T42" fmla="*/ 110 w 278"/>
                  <a:gd name="T43" fmla="*/ 174 h 230"/>
                  <a:gd name="T44" fmla="*/ 107 w 278"/>
                  <a:gd name="T45" fmla="*/ 166 h 230"/>
                  <a:gd name="T46" fmla="*/ 43 w 278"/>
                  <a:gd name="T47" fmla="*/ 175 h 230"/>
                  <a:gd name="T48" fmla="*/ 15 w 278"/>
                  <a:gd name="T49" fmla="*/ 200 h 230"/>
                  <a:gd name="T50" fmla="*/ 6 w 278"/>
                  <a:gd name="T51" fmla="*/ 204 h 230"/>
                  <a:gd name="T52" fmla="*/ 2 w 278"/>
                  <a:gd name="T53" fmla="*/ 204 h 230"/>
                  <a:gd name="T54" fmla="*/ 0 w 278"/>
                  <a:gd name="T55" fmla="*/ 211 h 230"/>
                  <a:gd name="T56" fmla="*/ 1 w 278"/>
                  <a:gd name="T57" fmla="*/ 216 h 230"/>
                  <a:gd name="T58" fmla="*/ 3 w 278"/>
                  <a:gd name="T59" fmla="*/ 216 h 230"/>
                  <a:gd name="T60" fmla="*/ 30 w 278"/>
                  <a:gd name="T61" fmla="*/ 218 h 230"/>
                  <a:gd name="T62" fmla="*/ 43 w 278"/>
                  <a:gd name="T63" fmla="*/ 209 h 230"/>
                  <a:gd name="T64" fmla="*/ 65 w 278"/>
                  <a:gd name="T65" fmla="*/ 201 h 230"/>
                  <a:gd name="T66" fmla="*/ 74 w 278"/>
                  <a:gd name="T67" fmla="*/ 202 h 230"/>
                  <a:gd name="T68" fmla="*/ 110 w 278"/>
                  <a:gd name="T69" fmla="*/ 195 h 230"/>
                  <a:gd name="T70" fmla="*/ 105 w 278"/>
                  <a:gd name="T71" fmla="*/ 210 h 230"/>
                  <a:gd name="T72" fmla="*/ 111 w 278"/>
                  <a:gd name="T73" fmla="*/ 223 h 230"/>
                  <a:gd name="T74" fmla="*/ 141 w 278"/>
                  <a:gd name="T75" fmla="*/ 207 h 230"/>
                  <a:gd name="T76" fmla="*/ 144 w 278"/>
                  <a:gd name="T77" fmla="*/ 205 h 230"/>
                  <a:gd name="T78" fmla="*/ 147 w 278"/>
                  <a:gd name="T79" fmla="*/ 208 h 230"/>
                  <a:gd name="T80" fmla="*/ 140 w 278"/>
                  <a:gd name="T81" fmla="*/ 195 h 230"/>
                  <a:gd name="T82" fmla="*/ 148 w 278"/>
                  <a:gd name="T83" fmla="*/ 195 h 230"/>
                  <a:gd name="T84" fmla="*/ 156 w 278"/>
                  <a:gd name="T85" fmla="*/ 196 h 230"/>
                  <a:gd name="T86" fmla="*/ 183 w 278"/>
                  <a:gd name="T87" fmla="*/ 194 h 230"/>
                  <a:gd name="T88" fmla="*/ 189 w 278"/>
                  <a:gd name="T89" fmla="*/ 187 h 230"/>
                  <a:gd name="T90" fmla="*/ 198 w 278"/>
                  <a:gd name="T91" fmla="*/ 186 h 230"/>
                  <a:gd name="T92" fmla="*/ 199 w 278"/>
                  <a:gd name="T93" fmla="*/ 197 h 230"/>
                  <a:gd name="T94" fmla="*/ 210 w 278"/>
                  <a:gd name="T95" fmla="*/ 182 h 230"/>
                  <a:gd name="T96" fmla="*/ 221 w 278"/>
                  <a:gd name="T97" fmla="*/ 189 h 230"/>
                  <a:gd name="T98" fmla="*/ 235 w 278"/>
                  <a:gd name="T99" fmla="*/ 179 h 230"/>
                  <a:gd name="T100" fmla="*/ 240 w 278"/>
                  <a:gd name="T101" fmla="*/ 147 h 230"/>
                  <a:gd name="T102" fmla="*/ 250 w 278"/>
                  <a:gd name="T103" fmla="*/ 124 h 230"/>
                  <a:gd name="T104" fmla="*/ 254 w 278"/>
                  <a:gd name="T105" fmla="*/ 92 h 230"/>
                  <a:gd name="T106" fmla="*/ 262 w 278"/>
                  <a:gd name="T107" fmla="*/ 94 h 230"/>
                  <a:gd name="T108" fmla="*/ 266 w 278"/>
                  <a:gd name="T109" fmla="*/ 75 h 230"/>
                  <a:gd name="T110" fmla="*/ 270 w 278"/>
                  <a:gd name="T111" fmla="*/ 73 h 230"/>
                  <a:gd name="T112" fmla="*/ 260 w 278"/>
                  <a:gd name="T113" fmla="*/ 21 h 230"/>
                  <a:gd name="T114" fmla="*/ 255 w 278"/>
                  <a:gd name="T115" fmla="*/ 2 h 2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8" h="230">
                    <a:moveTo>
                      <a:pt x="249" y="0"/>
                    </a:moveTo>
                    <a:cubicBezTo>
                      <a:pt x="249" y="0"/>
                      <a:pt x="249" y="0"/>
                      <a:pt x="249" y="0"/>
                    </a:cubicBezTo>
                    <a:cubicBezTo>
                      <a:pt x="248" y="0"/>
                      <a:pt x="243" y="8"/>
                      <a:pt x="244" y="10"/>
                    </a:cubicBezTo>
                    <a:cubicBezTo>
                      <a:pt x="244" y="11"/>
                      <a:pt x="245" y="11"/>
                      <a:pt x="245" y="11"/>
                    </a:cubicBezTo>
                    <a:cubicBezTo>
                      <a:pt x="247" y="11"/>
                      <a:pt x="248" y="11"/>
                      <a:pt x="250" y="10"/>
                    </a:cubicBezTo>
                    <a:cubicBezTo>
                      <a:pt x="252" y="9"/>
                      <a:pt x="253" y="8"/>
                      <a:pt x="254" y="8"/>
                    </a:cubicBezTo>
                    <a:cubicBezTo>
                      <a:pt x="254" y="8"/>
                      <a:pt x="255" y="8"/>
                      <a:pt x="255" y="8"/>
                    </a:cubicBezTo>
                    <a:cubicBezTo>
                      <a:pt x="257" y="9"/>
                      <a:pt x="256" y="13"/>
                      <a:pt x="255" y="15"/>
                    </a:cubicBezTo>
                    <a:cubicBezTo>
                      <a:pt x="255" y="16"/>
                      <a:pt x="254" y="19"/>
                      <a:pt x="253" y="19"/>
                    </a:cubicBezTo>
                    <a:cubicBezTo>
                      <a:pt x="253" y="20"/>
                      <a:pt x="252" y="20"/>
                      <a:pt x="252" y="20"/>
                    </a:cubicBezTo>
                    <a:cubicBezTo>
                      <a:pt x="251" y="20"/>
                      <a:pt x="250" y="20"/>
                      <a:pt x="249" y="19"/>
                    </a:cubicBezTo>
                    <a:cubicBezTo>
                      <a:pt x="248" y="19"/>
                      <a:pt x="247" y="19"/>
                      <a:pt x="247" y="19"/>
                    </a:cubicBezTo>
                    <a:cubicBezTo>
                      <a:pt x="247" y="19"/>
                      <a:pt x="246" y="19"/>
                      <a:pt x="246" y="19"/>
                    </a:cubicBezTo>
                    <a:cubicBezTo>
                      <a:pt x="246" y="19"/>
                      <a:pt x="245" y="20"/>
                      <a:pt x="245" y="20"/>
                    </a:cubicBezTo>
                    <a:cubicBezTo>
                      <a:pt x="245" y="20"/>
                      <a:pt x="245" y="20"/>
                      <a:pt x="245" y="20"/>
                    </a:cubicBezTo>
                    <a:cubicBezTo>
                      <a:pt x="241" y="20"/>
                      <a:pt x="241" y="15"/>
                      <a:pt x="241" y="12"/>
                    </a:cubicBezTo>
                    <a:cubicBezTo>
                      <a:pt x="240" y="12"/>
                      <a:pt x="241" y="11"/>
                      <a:pt x="241" y="10"/>
                    </a:cubicBezTo>
                    <a:cubicBezTo>
                      <a:pt x="240" y="9"/>
                      <a:pt x="235" y="9"/>
                      <a:pt x="233" y="8"/>
                    </a:cubicBezTo>
                    <a:cubicBezTo>
                      <a:pt x="234" y="13"/>
                      <a:pt x="235" y="15"/>
                      <a:pt x="232" y="17"/>
                    </a:cubicBezTo>
                    <a:cubicBezTo>
                      <a:pt x="230" y="20"/>
                      <a:pt x="227" y="21"/>
                      <a:pt x="225" y="24"/>
                    </a:cubicBezTo>
                    <a:cubicBezTo>
                      <a:pt x="222" y="27"/>
                      <a:pt x="221" y="27"/>
                      <a:pt x="223" y="32"/>
                    </a:cubicBezTo>
                    <a:cubicBezTo>
                      <a:pt x="224" y="35"/>
                      <a:pt x="221" y="42"/>
                      <a:pt x="220" y="46"/>
                    </a:cubicBezTo>
                    <a:cubicBezTo>
                      <a:pt x="219" y="45"/>
                      <a:pt x="218" y="45"/>
                      <a:pt x="218" y="45"/>
                    </a:cubicBezTo>
                    <a:cubicBezTo>
                      <a:pt x="218" y="46"/>
                      <a:pt x="220" y="48"/>
                      <a:pt x="221" y="49"/>
                    </a:cubicBezTo>
                    <a:cubicBezTo>
                      <a:pt x="221" y="49"/>
                      <a:pt x="221" y="49"/>
                      <a:pt x="221" y="49"/>
                    </a:cubicBezTo>
                    <a:cubicBezTo>
                      <a:pt x="221" y="49"/>
                      <a:pt x="222" y="48"/>
                      <a:pt x="222" y="48"/>
                    </a:cubicBezTo>
                    <a:cubicBezTo>
                      <a:pt x="222" y="48"/>
                      <a:pt x="222" y="48"/>
                      <a:pt x="222" y="48"/>
                    </a:cubicBezTo>
                    <a:cubicBezTo>
                      <a:pt x="222" y="48"/>
                      <a:pt x="222" y="48"/>
                      <a:pt x="223" y="48"/>
                    </a:cubicBezTo>
                    <a:cubicBezTo>
                      <a:pt x="224" y="48"/>
                      <a:pt x="225" y="48"/>
                      <a:pt x="226" y="50"/>
                    </a:cubicBezTo>
                    <a:cubicBezTo>
                      <a:pt x="228" y="53"/>
                      <a:pt x="225" y="58"/>
                      <a:pt x="224" y="62"/>
                    </a:cubicBezTo>
                    <a:cubicBezTo>
                      <a:pt x="222" y="70"/>
                      <a:pt x="219" y="76"/>
                      <a:pt x="215" y="83"/>
                    </a:cubicBezTo>
                    <a:cubicBezTo>
                      <a:pt x="214" y="87"/>
                      <a:pt x="212" y="90"/>
                      <a:pt x="211" y="94"/>
                    </a:cubicBezTo>
                    <a:cubicBezTo>
                      <a:pt x="211" y="96"/>
                      <a:pt x="211" y="97"/>
                      <a:pt x="210" y="98"/>
                    </a:cubicBezTo>
                    <a:cubicBezTo>
                      <a:pt x="209" y="101"/>
                      <a:pt x="206" y="103"/>
                      <a:pt x="204" y="105"/>
                    </a:cubicBezTo>
                    <a:cubicBezTo>
                      <a:pt x="200" y="109"/>
                      <a:pt x="195" y="113"/>
                      <a:pt x="191" y="117"/>
                    </a:cubicBezTo>
                    <a:cubicBezTo>
                      <a:pt x="190" y="118"/>
                      <a:pt x="190" y="120"/>
                      <a:pt x="188" y="121"/>
                    </a:cubicBezTo>
                    <a:cubicBezTo>
                      <a:pt x="181" y="124"/>
                      <a:pt x="173" y="127"/>
                      <a:pt x="166" y="131"/>
                    </a:cubicBezTo>
                    <a:cubicBezTo>
                      <a:pt x="163" y="133"/>
                      <a:pt x="160" y="138"/>
                      <a:pt x="156" y="138"/>
                    </a:cubicBezTo>
                    <a:cubicBezTo>
                      <a:pt x="155" y="138"/>
                      <a:pt x="154" y="138"/>
                      <a:pt x="153" y="137"/>
                    </a:cubicBezTo>
                    <a:cubicBezTo>
                      <a:pt x="151" y="135"/>
                      <a:pt x="151" y="135"/>
                      <a:pt x="152" y="133"/>
                    </a:cubicBezTo>
                    <a:cubicBezTo>
                      <a:pt x="152" y="132"/>
                      <a:pt x="153" y="129"/>
                      <a:pt x="152" y="129"/>
                    </a:cubicBezTo>
                    <a:cubicBezTo>
                      <a:pt x="152" y="128"/>
                      <a:pt x="152" y="128"/>
                      <a:pt x="152" y="128"/>
                    </a:cubicBezTo>
                    <a:cubicBezTo>
                      <a:pt x="152" y="128"/>
                      <a:pt x="151" y="128"/>
                      <a:pt x="151" y="129"/>
                    </a:cubicBezTo>
                    <a:cubicBezTo>
                      <a:pt x="151" y="129"/>
                      <a:pt x="151" y="129"/>
                      <a:pt x="151" y="129"/>
                    </a:cubicBezTo>
                    <a:cubicBezTo>
                      <a:pt x="151" y="129"/>
                      <a:pt x="151" y="129"/>
                      <a:pt x="151" y="129"/>
                    </a:cubicBezTo>
                    <a:cubicBezTo>
                      <a:pt x="150" y="129"/>
                      <a:pt x="148" y="129"/>
                      <a:pt x="148" y="128"/>
                    </a:cubicBezTo>
                    <a:cubicBezTo>
                      <a:pt x="147" y="125"/>
                      <a:pt x="151" y="126"/>
                      <a:pt x="152" y="125"/>
                    </a:cubicBezTo>
                    <a:cubicBezTo>
                      <a:pt x="153" y="125"/>
                      <a:pt x="153" y="123"/>
                      <a:pt x="155" y="122"/>
                    </a:cubicBezTo>
                    <a:cubicBezTo>
                      <a:pt x="155" y="122"/>
                      <a:pt x="155" y="122"/>
                      <a:pt x="155" y="122"/>
                    </a:cubicBezTo>
                    <a:cubicBezTo>
                      <a:pt x="155" y="122"/>
                      <a:pt x="155" y="122"/>
                      <a:pt x="156" y="122"/>
                    </a:cubicBezTo>
                    <a:cubicBezTo>
                      <a:pt x="156" y="122"/>
                      <a:pt x="156" y="123"/>
                      <a:pt x="156" y="123"/>
                    </a:cubicBezTo>
                    <a:cubicBezTo>
                      <a:pt x="157" y="123"/>
                      <a:pt x="157" y="122"/>
                      <a:pt x="157" y="122"/>
                    </a:cubicBezTo>
                    <a:cubicBezTo>
                      <a:pt x="159" y="121"/>
                      <a:pt x="161" y="117"/>
                      <a:pt x="157" y="116"/>
                    </a:cubicBezTo>
                    <a:cubicBezTo>
                      <a:pt x="157" y="116"/>
                      <a:pt x="157" y="116"/>
                      <a:pt x="157" y="116"/>
                    </a:cubicBezTo>
                    <a:cubicBezTo>
                      <a:pt x="157" y="116"/>
                      <a:pt x="155" y="117"/>
                      <a:pt x="154" y="117"/>
                    </a:cubicBezTo>
                    <a:cubicBezTo>
                      <a:pt x="152" y="118"/>
                      <a:pt x="148" y="119"/>
                      <a:pt x="146" y="120"/>
                    </a:cubicBezTo>
                    <a:cubicBezTo>
                      <a:pt x="142" y="123"/>
                      <a:pt x="146" y="129"/>
                      <a:pt x="145" y="133"/>
                    </a:cubicBezTo>
                    <a:cubicBezTo>
                      <a:pt x="145" y="137"/>
                      <a:pt x="141" y="140"/>
                      <a:pt x="138" y="143"/>
                    </a:cubicBezTo>
                    <a:cubicBezTo>
                      <a:pt x="135" y="148"/>
                      <a:pt x="128" y="155"/>
                      <a:pt x="127" y="161"/>
                    </a:cubicBezTo>
                    <a:cubicBezTo>
                      <a:pt x="127" y="163"/>
                      <a:pt x="129" y="165"/>
                      <a:pt x="128" y="168"/>
                    </a:cubicBezTo>
                    <a:cubicBezTo>
                      <a:pt x="128" y="168"/>
                      <a:pt x="128" y="168"/>
                      <a:pt x="127" y="168"/>
                    </a:cubicBezTo>
                    <a:cubicBezTo>
                      <a:pt x="126" y="168"/>
                      <a:pt x="123" y="172"/>
                      <a:pt x="122" y="172"/>
                    </a:cubicBezTo>
                    <a:cubicBezTo>
                      <a:pt x="121" y="173"/>
                      <a:pt x="120" y="173"/>
                      <a:pt x="119" y="173"/>
                    </a:cubicBezTo>
                    <a:cubicBezTo>
                      <a:pt x="118" y="173"/>
                      <a:pt x="117" y="173"/>
                      <a:pt x="116" y="173"/>
                    </a:cubicBezTo>
                    <a:cubicBezTo>
                      <a:pt x="116" y="173"/>
                      <a:pt x="115" y="172"/>
                      <a:pt x="114" y="172"/>
                    </a:cubicBezTo>
                    <a:cubicBezTo>
                      <a:pt x="113" y="172"/>
                      <a:pt x="111" y="173"/>
                      <a:pt x="110" y="174"/>
                    </a:cubicBezTo>
                    <a:cubicBezTo>
                      <a:pt x="108" y="172"/>
                      <a:pt x="108" y="171"/>
                      <a:pt x="108" y="169"/>
                    </a:cubicBezTo>
                    <a:cubicBezTo>
                      <a:pt x="108" y="168"/>
                      <a:pt x="109" y="168"/>
                      <a:pt x="109" y="168"/>
                    </a:cubicBezTo>
                    <a:cubicBezTo>
                      <a:pt x="109" y="166"/>
                      <a:pt x="108" y="166"/>
                      <a:pt x="107" y="166"/>
                    </a:cubicBezTo>
                    <a:cubicBezTo>
                      <a:pt x="104" y="166"/>
                      <a:pt x="99" y="168"/>
                      <a:pt x="98" y="169"/>
                    </a:cubicBezTo>
                    <a:cubicBezTo>
                      <a:pt x="90" y="171"/>
                      <a:pt x="79" y="170"/>
                      <a:pt x="70" y="171"/>
                    </a:cubicBezTo>
                    <a:cubicBezTo>
                      <a:pt x="61" y="172"/>
                      <a:pt x="53" y="173"/>
                      <a:pt x="43" y="175"/>
                    </a:cubicBezTo>
                    <a:cubicBezTo>
                      <a:pt x="45" y="179"/>
                      <a:pt x="42" y="180"/>
                      <a:pt x="39" y="182"/>
                    </a:cubicBezTo>
                    <a:cubicBezTo>
                      <a:pt x="33" y="186"/>
                      <a:pt x="28" y="191"/>
                      <a:pt x="22" y="195"/>
                    </a:cubicBezTo>
                    <a:cubicBezTo>
                      <a:pt x="20" y="196"/>
                      <a:pt x="17" y="198"/>
                      <a:pt x="15" y="200"/>
                    </a:cubicBezTo>
                    <a:cubicBezTo>
                      <a:pt x="13" y="202"/>
                      <a:pt x="13" y="203"/>
                      <a:pt x="10" y="204"/>
                    </a:cubicBezTo>
                    <a:cubicBezTo>
                      <a:pt x="10" y="204"/>
                      <a:pt x="9" y="204"/>
                      <a:pt x="9" y="204"/>
                    </a:cubicBezTo>
                    <a:cubicBezTo>
                      <a:pt x="8" y="204"/>
                      <a:pt x="7" y="204"/>
                      <a:pt x="6" y="204"/>
                    </a:cubicBezTo>
                    <a:cubicBezTo>
                      <a:pt x="5" y="203"/>
                      <a:pt x="4" y="203"/>
                      <a:pt x="4" y="203"/>
                    </a:cubicBezTo>
                    <a:cubicBezTo>
                      <a:pt x="3" y="203"/>
                      <a:pt x="2" y="203"/>
                      <a:pt x="2" y="204"/>
                    </a:cubicBezTo>
                    <a:cubicBezTo>
                      <a:pt x="2" y="204"/>
                      <a:pt x="2" y="204"/>
                      <a:pt x="2" y="204"/>
                    </a:cubicBezTo>
                    <a:cubicBezTo>
                      <a:pt x="2" y="204"/>
                      <a:pt x="0" y="206"/>
                      <a:pt x="0" y="206"/>
                    </a:cubicBezTo>
                    <a:cubicBezTo>
                      <a:pt x="0" y="207"/>
                      <a:pt x="1" y="209"/>
                      <a:pt x="1" y="210"/>
                    </a:cubicBezTo>
                    <a:cubicBezTo>
                      <a:pt x="1" y="210"/>
                      <a:pt x="0" y="211"/>
                      <a:pt x="0" y="211"/>
                    </a:cubicBezTo>
                    <a:cubicBezTo>
                      <a:pt x="0" y="212"/>
                      <a:pt x="1" y="212"/>
                      <a:pt x="1" y="213"/>
                    </a:cubicBezTo>
                    <a:cubicBezTo>
                      <a:pt x="0" y="214"/>
                      <a:pt x="2" y="215"/>
                      <a:pt x="0" y="216"/>
                    </a:cubicBezTo>
                    <a:cubicBezTo>
                      <a:pt x="1" y="216"/>
                      <a:pt x="1" y="216"/>
                      <a:pt x="1" y="216"/>
                    </a:cubicBezTo>
                    <a:cubicBezTo>
                      <a:pt x="2" y="216"/>
                      <a:pt x="2" y="216"/>
                      <a:pt x="2" y="216"/>
                    </a:cubicBezTo>
                    <a:cubicBezTo>
                      <a:pt x="2" y="216"/>
                      <a:pt x="3" y="216"/>
                      <a:pt x="3" y="216"/>
                    </a:cubicBezTo>
                    <a:cubicBezTo>
                      <a:pt x="3" y="216"/>
                      <a:pt x="3" y="216"/>
                      <a:pt x="3" y="216"/>
                    </a:cubicBezTo>
                    <a:cubicBezTo>
                      <a:pt x="10" y="216"/>
                      <a:pt x="16" y="215"/>
                      <a:pt x="23" y="215"/>
                    </a:cubicBezTo>
                    <a:cubicBezTo>
                      <a:pt x="22" y="216"/>
                      <a:pt x="25" y="216"/>
                      <a:pt x="27" y="216"/>
                    </a:cubicBezTo>
                    <a:cubicBezTo>
                      <a:pt x="28" y="217"/>
                      <a:pt x="29" y="217"/>
                      <a:pt x="30" y="218"/>
                    </a:cubicBezTo>
                    <a:cubicBezTo>
                      <a:pt x="31" y="217"/>
                      <a:pt x="34" y="205"/>
                      <a:pt x="37" y="205"/>
                    </a:cubicBezTo>
                    <a:cubicBezTo>
                      <a:pt x="37" y="205"/>
                      <a:pt x="37" y="205"/>
                      <a:pt x="38" y="205"/>
                    </a:cubicBezTo>
                    <a:cubicBezTo>
                      <a:pt x="41" y="207"/>
                      <a:pt x="41" y="209"/>
                      <a:pt x="43" y="209"/>
                    </a:cubicBezTo>
                    <a:cubicBezTo>
                      <a:pt x="44" y="209"/>
                      <a:pt x="45" y="209"/>
                      <a:pt x="45" y="209"/>
                    </a:cubicBezTo>
                    <a:cubicBezTo>
                      <a:pt x="52" y="209"/>
                      <a:pt x="57" y="206"/>
                      <a:pt x="62" y="202"/>
                    </a:cubicBezTo>
                    <a:cubicBezTo>
                      <a:pt x="63" y="202"/>
                      <a:pt x="64" y="201"/>
                      <a:pt x="65" y="201"/>
                    </a:cubicBezTo>
                    <a:cubicBezTo>
                      <a:pt x="66" y="201"/>
                      <a:pt x="68" y="202"/>
                      <a:pt x="69" y="202"/>
                    </a:cubicBezTo>
                    <a:cubicBezTo>
                      <a:pt x="70" y="202"/>
                      <a:pt x="71" y="203"/>
                      <a:pt x="72" y="203"/>
                    </a:cubicBezTo>
                    <a:cubicBezTo>
                      <a:pt x="73" y="203"/>
                      <a:pt x="73" y="202"/>
                      <a:pt x="74" y="202"/>
                    </a:cubicBezTo>
                    <a:cubicBezTo>
                      <a:pt x="76" y="201"/>
                      <a:pt x="75" y="199"/>
                      <a:pt x="77" y="198"/>
                    </a:cubicBezTo>
                    <a:cubicBezTo>
                      <a:pt x="78" y="197"/>
                      <a:pt x="83" y="195"/>
                      <a:pt x="85" y="195"/>
                    </a:cubicBezTo>
                    <a:cubicBezTo>
                      <a:pt x="93" y="195"/>
                      <a:pt x="102" y="195"/>
                      <a:pt x="110" y="195"/>
                    </a:cubicBezTo>
                    <a:cubicBezTo>
                      <a:pt x="116" y="195"/>
                      <a:pt x="112" y="200"/>
                      <a:pt x="110" y="202"/>
                    </a:cubicBezTo>
                    <a:cubicBezTo>
                      <a:pt x="108" y="203"/>
                      <a:pt x="106" y="205"/>
                      <a:pt x="104" y="206"/>
                    </a:cubicBezTo>
                    <a:cubicBezTo>
                      <a:pt x="104" y="207"/>
                      <a:pt x="105" y="209"/>
                      <a:pt x="105" y="210"/>
                    </a:cubicBezTo>
                    <a:cubicBezTo>
                      <a:pt x="105" y="211"/>
                      <a:pt x="105" y="212"/>
                      <a:pt x="105" y="212"/>
                    </a:cubicBezTo>
                    <a:cubicBezTo>
                      <a:pt x="105" y="214"/>
                      <a:pt x="105" y="216"/>
                      <a:pt x="103" y="218"/>
                    </a:cubicBezTo>
                    <a:cubicBezTo>
                      <a:pt x="106" y="220"/>
                      <a:pt x="109" y="221"/>
                      <a:pt x="111" y="223"/>
                    </a:cubicBezTo>
                    <a:cubicBezTo>
                      <a:pt x="106" y="224"/>
                      <a:pt x="120" y="229"/>
                      <a:pt x="121" y="230"/>
                    </a:cubicBezTo>
                    <a:cubicBezTo>
                      <a:pt x="126" y="225"/>
                      <a:pt x="131" y="218"/>
                      <a:pt x="135" y="212"/>
                    </a:cubicBezTo>
                    <a:cubicBezTo>
                      <a:pt x="137" y="209"/>
                      <a:pt x="138" y="208"/>
                      <a:pt x="141" y="207"/>
                    </a:cubicBezTo>
                    <a:cubicBezTo>
                      <a:pt x="141" y="207"/>
                      <a:pt x="142" y="207"/>
                      <a:pt x="142" y="207"/>
                    </a:cubicBezTo>
                    <a:cubicBezTo>
                      <a:pt x="143" y="206"/>
                      <a:pt x="143" y="205"/>
                      <a:pt x="144" y="205"/>
                    </a:cubicBezTo>
                    <a:cubicBezTo>
                      <a:pt x="144" y="205"/>
                      <a:pt x="144" y="205"/>
                      <a:pt x="144" y="205"/>
                    </a:cubicBezTo>
                    <a:cubicBezTo>
                      <a:pt x="144" y="205"/>
                      <a:pt x="144" y="206"/>
                      <a:pt x="144" y="206"/>
                    </a:cubicBezTo>
                    <a:cubicBezTo>
                      <a:pt x="145" y="206"/>
                      <a:pt x="145" y="206"/>
                      <a:pt x="146" y="206"/>
                    </a:cubicBezTo>
                    <a:cubicBezTo>
                      <a:pt x="147" y="206"/>
                      <a:pt x="148" y="206"/>
                      <a:pt x="147" y="208"/>
                    </a:cubicBezTo>
                    <a:cubicBezTo>
                      <a:pt x="148" y="207"/>
                      <a:pt x="148" y="207"/>
                      <a:pt x="148" y="207"/>
                    </a:cubicBezTo>
                    <a:cubicBezTo>
                      <a:pt x="147" y="203"/>
                      <a:pt x="145" y="201"/>
                      <a:pt x="142" y="198"/>
                    </a:cubicBezTo>
                    <a:cubicBezTo>
                      <a:pt x="140" y="197"/>
                      <a:pt x="139" y="199"/>
                      <a:pt x="140" y="195"/>
                    </a:cubicBezTo>
                    <a:cubicBezTo>
                      <a:pt x="142" y="191"/>
                      <a:pt x="144" y="186"/>
                      <a:pt x="148" y="185"/>
                    </a:cubicBezTo>
                    <a:cubicBezTo>
                      <a:pt x="148" y="188"/>
                      <a:pt x="146" y="189"/>
                      <a:pt x="148" y="193"/>
                    </a:cubicBezTo>
                    <a:cubicBezTo>
                      <a:pt x="148" y="194"/>
                      <a:pt x="148" y="195"/>
                      <a:pt x="148" y="195"/>
                    </a:cubicBezTo>
                    <a:cubicBezTo>
                      <a:pt x="148" y="195"/>
                      <a:pt x="149" y="194"/>
                      <a:pt x="149" y="192"/>
                    </a:cubicBezTo>
                    <a:cubicBezTo>
                      <a:pt x="150" y="191"/>
                      <a:pt x="150" y="190"/>
                      <a:pt x="150" y="189"/>
                    </a:cubicBezTo>
                    <a:cubicBezTo>
                      <a:pt x="152" y="194"/>
                      <a:pt x="152" y="193"/>
                      <a:pt x="156" y="196"/>
                    </a:cubicBezTo>
                    <a:cubicBezTo>
                      <a:pt x="154" y="197"/>
                      <a:pt x="152" y="196"/>
                      <a:pt x="152" y="199"/>
                    </a:cubicBezTo>
                    <a:cubicBezTo>
                      <a:pt x="158" y="198"/>
                      <a:pt x="164" y="196"/>
                      <a:pt x="170" y="196"/>
                    </a:cubicBezTo>
                    <a:cubicBezTo>
                      <a:pt x="173" y="195"/>
                      <a:pt x="181" y="196"/>
                      <a:pt x="183" y="194"/>
                    </a:cubicBezTo>
                    <a:cubicBezTo>
                      <a:pt x="185" y="192"/>
                      <a:pt x="184" y="190"/>
                      <a:pt x="186" y="189"/>
                    </a:cubicBezTo>
                    <a:cubicBezTo>
                      <a:pt x="187" y="188"/>
                      <a:pt x="188" y="188"/>
                      <a:pt x="189" y="187"/>
                    </a:cubicBezTo>
                    <a:cubicBezTo>
                      <a:pt x="189" y="187"/>
                      <a:pt x="189" y="187"/>
                      <a:pt x="189" y="187"/>
                    </a:cubicBezTo>
                    <a:cubicBezTo>
                      <a:pt x="189" y="187"/>
                      <a:pt x="189" y="185"/>
                      <a:pt x="189" y="185"/>
                    </a:cubicBezTo>
                    <a:cubicBezTo>
                      <a:pt x="190" y="184"/>
                      <a:pt x="191" y="183"/>
                      <a:pt x="193" y="183"/>
                    </a:cubicBezTo>
                    <a:cubicBezTo>
                      <a:pt x="195" y="183"/>
                      <a:pt x="197" y="184"/>
                      <a:pt x="198" y="186"/>
                    </a:cubicBezTo>
                    <a:cubicBezTo>
                      <a:pt x="197" y="186"/>
                      <a:pt x="195" y="186"/>
                      <a:pt x="195" y="187"/>
                    </a:cubicBezTo>
                    <a:cubicBezTo>
                      <a:pt x="194" y="189"/>
                      <a:pt x="196" y="196"/>
                      <a:pt x="196" y="198"/>
                    </a:cubicBezTo>
                    <a:cubicBezTo>
                      <a:pt x="197" y="198"/>
                      <a:pt x="198" y="197"/>
                      <a:pt x="199" y="197"/>
                    </a:cubicBezTo>
                    <a:cubicBezTo>
                      <a:pt x="202" y="194"/>
                      <a:pt x="204" y="191"/>
                      <a:pt x="203" y="187"/>
                    </a:cubicBezTo>
                    <a:cubicBezTo>
                      <a:pt x="203" y="186"/>
                      <a:pt x="203" y="185"/>
                      <a:pt x="203" y="184"/>
                    </a:cubicBezTo>
                    <a:cubicBezTo>
                      <a:pt x="205" y="183"/>
                      <a:pt x="208" y="182"/>
                      <a:pt x="210" y="182"/>
                    </a:cubicBezTo>
                    <a:cubicBezTo>
                      <a:pt x="214" y="182"/>
                      <a:pt x="218" y="184"/>
                      <a:pt x="220" y="188"/>
                    </a:cubicBezTo>
                    <a:cubicBezTo>
                      <a:pt x="220" y="188"/>
                      <a:pt x="220" y="188"/>
                      <a:pt x="219" y="188"/>
                    </a:cubicBezTo>
                    <a:cubicBezTo>
                      <a:pt x="220" y="189"/>
                      <a:pt x="221" y="189"/>
                      <a:pt x="221" y="189"/>
                    </a:cubicBezTo>
                    <a:cubicBezTo>
                      <a:pt x="221" y="189"/>
                      <a:pt x="221" y="189"/>
                      <a:pt x="221" y="189"/>
                    </a:cubicBezTo>
                    <a:cubicBezTo>
                      <a:pt x="222" y="189"/>
                      <a:pt x="222" y="189"/>
                      <a:pt x="223" y="189"/>
                    </a:cubicBezTo>
                    <a:cubicBezTo>
                      <a:pt x="227" y="188"/>
                      <a:pt x="234" y="183"/>
                      <a:pt x="235" y="179"/>
                    </a:cubicBezTo>
                    <a:cubicBezTo>
                      <a:pt x="235" y="171"/>
                      <a:pt x="240" y="170"/>
                      <a:pt x="246" y="166"/>
                    </a:cubicBezTo>
                    <a:cubicBezTo>
                      <a:pt x="244" y="163"/>
                      <a:pt x="241" y="159"/>
                      <a:pt x="240" y="156"/>
                    </a:cubicBezTo>
                    <a:cubicBezTo>
                      <a:pt x="239" y="153"/>
                      <a:pt x="240" y="150"/>
                      <a:pt x="240" y="147"/>
                    </a:cubicBezTo>
                    <a:cubicBezTo>
                      <a:pt x="242" y="143"/>
                      <a:pt x="243" y="139"/>
                      <a:pt x="245" y="135"/>
                    </a:cubicBezTo>
                    <a:cubicBezTo>
                      <a:pt x="245" y="133"/>
                      <a:pt x="247" y="133"/>
                      <a:pt x="248" y="132"/>
                    </a:cubicBezTo>
                    <a:cubicBezTo>
                      <a:pt x="250" y="130"/>
                      <a:pt x="250" y="126"/>
                      <a:pt x="250" y="124"/>
                    </a:cubicBezTo>
                    <a:cubicBezTo>
                      <a:pt x="249" y="117"/>
                      <a:pt x="248" y="110"/>
                      <a:pt x="248" y="103"/>
                    </a:cubicBezTo>
                    <a:cubicBezTo>
                      <a:pt x="248" y="100"/>
                      <a:pt x="248" y="98"/>
                      <a:pt x="249" y="96"/>
                    </a:cubicBezTo>
                    <a:cubicBezTo>
                      <a:pt x="251" y="93"/>
                      <a:pt x="251" y="94"/>
                      <a:pt x="254" y="92"/>
                    </a:cubicBezTo>
                    <a:cubicBezTo>
                      <a:pt x="255" y="92"/>
                      <a:pt x="256" y="91"/>
                      <a:pt x="257" y="91"/>
                    </a:cubicBezTo>
                    <a:cubicBezTo>
                      <a:pt x="257" y="91"/>
                      <a:pt x="257" y="91"/>
                      <a:pt x="258" y="91"/>
                    </a:cubicBezTo>
                    <a:cubicBezTo>
                      <a:pt x="260" y="91"/>
                      <a:pt x="261" y="93"/>
                      <a:pt x="262" y="94"/>
                    </a:cubicBezTo>
                    <a:cubicBezTo>
                      <a:pt x="262" y="87"/>
                      <a:pt x="261" y="84"/>
                      <a:pt x="264" y="77"/>
                    </a:cubicBezTo>
                    <a:cubicBezTo>
                      <a:pt x="265" y="75"/>
                      <a:pt x="265" y="75"/>
                      <a:pt x="266" y="75"/>
                    </a:cubicBezTo>
                    <a:cubicBezTo>
                      <a:pt x="266" y="75"/>
                      <a:pt x="266" y="75"/>
                      <a:pt x="266" y="75"/>
                    </a:cubicBezTo>
                    <a:cubicBezTo>
                      <a:pt x="266" y="75"/>
                      <a:pt x="266" y="75"/>
                      <a:pt x="267" y="74"/>
                    </a:cubicBezTo>
                    <a:cubicBezTo>
                      <a:pt x="268" y="73"/>
                      <a:pt x="268" y="73"/>
                      <a:pt x="268" y="73"/>
                    </a:cubicBezTo>
                    <a:cubicBezTo>
                      <a:pt x="270" y="73"/>
                      <a:pt x="270" y="73"/>
                      <a:pt x="270" y="73"/>
                    </a:cubicBezTo>
                    <a:cubicBezTo>
                      <a:pt x="272" y="71"/>
                      <a:pt x="276" y="61"/>
                      <a:pt x="274" y="60"/>
                    </a:cubicBezTo>
                    <a:cubicBezTo>
                      <a:pt x="278" y="57"/>
                      <a:pt x="270" y="41"/>
                      <a:pt x="268" y="36"/>
                    </a:cubicBezTo>
                    <a:cubicBezTo>
                      <a:pt x="266" y="31"/>
                      <a:pt x="261" y="27"/>
                      <a:pt x="260" y="21"/>
                    </a:cubicBezTo>
                    <a:cubicBezTo>
                      <a:pt x="259" y="16"/>
                      <a:pt x="260" y="11"/>
                      <a:pt x="260" y="6"/>
                    </a:cubicBezTo>
                    <a:cubicBezTo>
                      <a:pt x="260" y="6"/>
                      <a:pt x="261" y="5"/>
                      <a:pt x="261" y="4"/>
                    </a:cubicBezTo>
                    <a:cubicBezTo>
                      <a:pt x="261" y="3"/>
                      <a:pt x="256" y="3"/>
                      <a:pt x="255" y="2"/>
                    </a:cubicBezTo>
                    <a:cubicBezTo>
                      <a:pt x="254" y="2"/>
                      <a:pt x="250" y="0"/>
                      <a:pt x="2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97"/>
              <p:cNvSpPr>
                <a:spLocks noEditPoints="1"/>
              </p:cNvSpPr>
              <p:nvPr/>
            </p:nvSpPr>
            <p:spPr bwMode="auto">
              <a:xfrm>
                <a:off x="5920" y="2256"/>
                <a:ext cx="159" cy="107"/>
              </a:xfrm>
              <a:custGeom>
                <a:gdLst>
                  <a:gd name="T0" fmla="*/ 1 w 67"/>
                  <a:gd name="T1" fmla="*/ 28 h 45"/>
                  <a:gd name="T2" fmla="*/ 0 w 67"/>
                  <a:gd name="T3" fmla="*/ 28 h 45"/>
                  <a:gd name="T4" fmla="*/ 1 w 67"/>
                  <a:gd name="T5" fmla="*/ 28 h 45"/>
                  <a:gd name="T6" fmla="*/ 48 w 67"/>
                  <a:gd name="T7" fmla="*/ 0 h 45"/>
                  <a:gd name="T8" fmla="*/ 38 w 67"/>
                  <a:gd name="T9" fmla="*/ 3 h 45"/>
                  <a:gd name="T10" fmla="*/ 39 w 67"/>
                  <a:gd name="T11" fmla="*/ 9 h 45"/>
                  <a:gd name="T12" fmla="*/ 29 w 67"/>
                  <a:gd name="T13" fmla="*/ 12 h 45"/>
                  <a:gd name="T14" fmla="*/ 26 w 67"/>
                  <a:gd name="T15" fmla="*/ 11 h 45"/>
                  <a:gd name="T16" fmla="*/ 23 w 67"/>
                  <a:gd name="T17" fmla="*/ 7 h 45"/>
                  <a:gd name="T18" fmla="*/ 22 w 67"/>
                  <a:gd name="T19" fmla="*/ 7 h 45"/>
                  <a:gd name="T20" fmla="*/ 17 w 67"/>
                  <a:gd name="T21" fmla="*/ 13 h 45"/>
                  <a:gd name="T22" fmla="*/ 16 w 67"/>
                  <a:gd name="T23" fmla="*/ 17 h 45"/>
                  <a:gd name="T24" fmla="*/ 1 w 67"/>
                  <a:gd name="T25" fmla="*/ 28 h 45"/>
                  <a:gd name="T26" fmla="*/ 4 w 67"/>
                  <a:gd name="T27" fmla="*/ 27 h 45"/>
                  <a:gd name="T28" fmla="*/ 7 w 67"/>
                  <a:gd name="T29" fmla="*/ 25 h 45"/>
                  <a:gd name="T30" fmla="*/ 8 w 67"/>
                  <a:gd name="T31" fmla="*/ 25 h 45"/>
                  <a:gd name="T32" fmla="*/ 10 w 67"/>
                  <a:gd name="T33" fmla="*/ 27 h 45"/>
                  <a:gd name="T34" fmla="*/ 11 w 67"/>
                  <a:gd name="T35" fmla="*/ 29 h 45"/>
                  <a:gd name="T36" fmla="*/ 12 w 67"/>
                  <a:gd name="T37" fmla="*/ 29 h 45"/>
                  <a:gd name="T38" fmla="*/ 10 w 67"/>
                  <a:gd name="T39" fmla="*/ 32 h 45"/>
                  <a:gd name="T40" fmla="*/ 10 w 67"/>
                  <a:gd name="T41" fmla="*/ 36 h 45"/>
                  <a:gd name="T42" fmla="*/ 12 w 67"/>
                  <a:gd name="T43" fmla="*/ 40 h 45"/>
                  <a:gd name="T44" fmla="*/ 14 w 67"/>
                  <a:gd name="T45" fmla="*/ 39 h 45"/>
                  <a:gd name="T46" fmla="*/ 16 w 67"/>
                  <a:gd name="T47" fmla="*/ 44 h 45"/>
                  <a:gd name="T48" fmla="*/ 17 w 67"/>
                  <a:gd name="T49" fmla="*/ 44 h 45"/>
                  <a:gd name="T50" fmla="*/ 20 w 67"/>
                  <a:gd name="T51" fmla="*/ 44 h 45"/>
                  <a:gd name="T52" fmla="*/ 24 w 67"/>
                  <a:gd name="T53" fmla="*/ 45 h 45"/>
                  <a:gd name="T54" fmla="*/ 25 w 67"/>
                  <a:gd name="T55" fmla="*/ 44 h 45"/>
                  <a:gd name="T56" fmla="*/ 24 w 67"/>
                  <a:gd name="T57" fmla="*/ 43 h 45"/>
                  <a:gd name="T58" fmla="*/ 24 w 67"/>
                  <a:gd name="T59" fmla="*/ 41 h 45"/>
                  <a:gd name="T60" fmla="*/ 34 w 67"/>
                  <a:gd name="T61" fmla="*/ 29 h 45"/>
                  <a:gd name="T62" fmla="*/ 44 w 67"/>
                  <a:gd name="T63" fmla="*/ 23 h 45"/>
                  <a:gd name="T64" fmla="*/ 47 w 67"/>
                  <a:gd name="T65" fmla="*/ 24 h 45"/>
                  <a:gd name="T66" fmla="*/ 54 w 67"/>
                  <a:gd name="T67" fmla="*/ 30 h 45"/>
                  <a:gd name="T68" fmla="*/ 67 w 67"/>
                  <a:gd name="T69" fmla="*/ 14 h 45"/>
                  <a:gd name="T70" fmla="*/ 64 w 67"/>
                  <a:gd name="T71" fmla="*/ 10 h 45"/>
                  <a:gd name="T72" fmla="*/ 65 w 67"/>
                  <a:gd name="T73" fmla="*/ 3 h 45"/>
                  <a:gd name="T74" fmla="*/ 64 w 67"/>
                  <a:gd name="T75" fmla="*/ 4 h 45"/>
                  <a:gd name="T76" fmla="*/ 64 w 67"/>
                  <a:gd name="T77" fmla="*/ 3 h 45"/>
                  <a:gd name="T78" fmla="*/ 63 w 67"/>
                  <a:gd name="T79" fmla="*/ 3 h 45"/>
                  <a:gd name="T80" fmla="*/ 62 w 67"/>
                  <a:gd name="T81" fmla="*/ 4 h 45"/>
                  <a:gd name="T82" fmla="*/ 62 w 67"/>
                  <a:gd name="T83" fmla="*/ 4 h 45"/>
                  <a:gd name="T84" fmla="*/ 50 w 67"/>
                  <a:gd name="T85" fmla="*/ 0 h 45"/>
                  <a:gd name="T86" fmla="*/ 48 w 67"/>
                  <a:gd name="T87"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 h="45">
                    <a:moveTo>
                      <a:pt x="1" y="28"/>
                    </a:moveTo>
                    <a:cubicBezTo>
                      <a:pt x="1" y="28"/>
                      <a:pt x="0" y="28"/>
                      <a:pt x="0" y="28"/>
                    </a:cubicBezTo>
                    <a:cubicBezTo>
                      <a:pt x="0" y="28"/>
                      <a:pt x="1" y="28"/>
                      <a:pt x="1" y="28"/>
                    </a:cubicBezTo>
                    <a:moveTo>
                      <a:pt x="48" y="0"/>
                    </a:moveTo>
                    <a:cubicBezTo>
                      <a:pt x="45" y="0"/>
                      <a:pt x="41" y="1"/>
                      <a:pt x="38" y="3"/>
                    </a:cubicBezTo>
                    <a:cubicBezTo>
                      <a:pt x="41" y="4"/>
                      <a:pt x="40" y="6"/>
                      <a:pt x="39" y="9"/>
                    </a:cubicBezTo>
                    <a:cubicBezTo>
                      <a:pt x="36" y="9"/>
                      <a:pt x="32" y="12"/>
                      <a:pt x="29" y="12"/>
                    </a:cubicBezTo>
                    <a:cubicBezTo>
                      <a:pt x="28" y="12"/>
                      <a:pt x="27" y="11"/>
                      <a:pt x="26" y="11"/>
                    </a:cubicBezTo>
                    <a:cubicBezTo>
                      <a:pt x="25" y="10"/>
                      <a:pt x="25" y="7"/>
                      <a:pt x="23" y="7"/>
                    </a:cubicBezTo>
                    <a:cubicBezTo>
                      <a:pt x="23" y="7"/>
                      <a:pt x="22" y="7"/>
                      <a:pt x="22" y="7"/>
                    </a:cubicBezTo>
                    <a:cubicBezTo>
                      <a:pt x="23" y="7"/>
                      <a:pt x="18" y="11"/>
                      <a:pt x="17" y="13"/>
                    </a:cubicBezTo>
                    <a:cubicBezTo>
                      <a:pt x="17" y="15"/>
                      <a:pt x="18" y="16"/>
                      <a:pt x="16" y="17"/>
                    </a:cubicBezTo>
                    <a:cubicBezTo>
                      <a:pt x="11" y="21"/>
                      <a:pt x="6" y="24"/>
                      <a:pt x="1" y="28"/>
                    </a:cubicBezTo>
                    <a:cubicBezTo>
                      <a:pt x="2" y="27"/>
                      <a:pt x="3" y="27"/>
                      <a:pt x="4" y="27"/>
                    </a:cubicBezTo>
                    <a:cubicBezTo>
                      <a:pt x="5" y="26"/>
                      <a:pt x="6" y="25"/>
                      <a:pt x="7" y="25"/>
                    </a:cubicBezTo>
                    <a:cubicBezTo>
                      <a:pt x="8" y="25"/>
                      <a:pt x="8" y="25"/>
                      <a:pt x="8" y="25"/>
                    </a:cubicBezTo>
                    <a:cubicBezTo>
                      <a:pt x="10" y="25"/>
                      <a:pt x="10" y="26"/>
                      <a:pt x="10" y="27"/>
                    </a:cubicBezTo>
                    <a:cubicBezTo>
                      <a:pt x="10" y="28"/>
                      <a:pt x="9" y="29"/>
                      <a:pt x="11" y="29"/>
                    </a:cubicBezTo>
                    <a:cubicBezTo>
                      <a:pt x="11" y="29"/>
                      <a:pt x="11" y="29"/>
                      <a:pt x="12" y="29"/>
                    </a:cubicBezTo>
                    <a:cubicBezTo>
                      <a:pt x="11" y="30"/>
                      <a:pt x="11" y="31"/>
                      <a:pt x="10" y="32"/>
                    </a:cubicBezTo>
                    <a:cubicBezTo>
                      <a:pt x="11" y="32"/>
                      <a:pt x="11" y="35"/>
                      <a:pt x="10" y="36"/>
                    </a:cubicBezTo>
                    <a:cubicBezTo>
                      <a:pt x="13" y="36"/>
                      <a:pt x="12" y="38"/>
                      <a:pt x="12" y="40"/>
                    </a:cubicBezTo>
                    <a:cubicBezTo>
                      <a:pt x="13" y="39"/>
                      <a:pt x="13" y="39"/>
                      <a:pt x="14" y="39"/>
                    </a:cubicBezTo>
                    <a:cubicBezTo>
                      <a:pt x="16" y="39"/>
                      <a:pt x="16" y="42"/>
                      <a:pt x="16" y="44"/>
                    </a:cubicBezTo>
                    <a:cubicBezTo>
                      <a:pt x="16" y="44"/>
                      <a:pt x="17" y="44"/>
                      <a:pt x="17" y="44"/>
                    </a:cubicBezTo>
                    <a:cubicBezTo>
                      <a:pt x="18" y="44"/>
                      <a:pt x="19" y="44"/>
                      <a:pt x="20" y="44"/>
                    </a:cubicBezTo>
                    <a:cubicBezTo>
                      <a:pt x="22" y="45"/>
                      <a:pt x="23" y="45"/>
                      <a:pt x="24" y="45"/>
                    </a:cubicBezTo>
                    <a:cubicBezTo>
                      <a:pt x="24" y="45"/>
                      <a:pt x="25" y="45"/>
                      <a:pt x="25" y="44"/>
                    </a:cubicBezTo>
                    <a:cubicBezTo>
                      <a:pt x="25" y="43"/>
                      <a:pt x="24" y="43"/>
                      <a:pt x="24" y="43"/>
                    </a:cubicBezTo>
                    <a:cubicBezTo>
                      <a:pt x="24" y="42"/>
                      <a:pt x="24" y="41"/>
                      <a:pt x="24" y="41"/>
                    </a:cubicBezTo>
                    <a:cubicBezTo>
                      <a:pt x="25" y="36"/>
                      <a:pt x="31" y="32"/>
                      <a:pt x="34" y="29"/>
                    </a:cubicBezTo>
                    <a:cubicBezTo>
                      <a:pt x="37" y="26"/>
                      <a:pt x="40" y="23"/>
                      <a:pt x="44" y="23"/>
                    </a:cubicBezTo>
                    <a:cubicBezTo>
                      <a:pt x="45" y="23"/>
                      <a:pt x="46" y="23"/>
                      <a:pt x="47" y="24"/>
                    </a:cubicBezTo>
                    <a:cubicBezTo>
                      <a:pt x="50" y="25"/>
                      <a:pt x="51" y="29"/>
                      <a:pt x="54" y="30"/>
                    </a:cubicBezTo>
                    <a:cubicBezTo>
                      <a:pt x="54" y="22"/>
                      <a:pt x="62" y="19"/>
                      <a:pt x="67" y="14"/>
                    </a:cubicBezTo>
                    <a:cubicBezTo>
                      <a:pt x="66" y="14"/>
                      <a:pt x="67" y="10"/>
                      <a:pt x="64" y="10"/>
                    </a:cubicBezTo>
                    <a:cubicBezTo>
                      <a:pt x="64" y="8"/>
                      <a:pt x="65" y="5"/>
                      <a:pt x="65" y="3"/>
                    </a:cubicBezTo>
                    <a:cubicBezTo>
                      <a:pt x="65" y="3"/>
                      <a:pt x="65" y="3"/>
                      <a:pt x="64" y="4"/>
                    </a:cubicBezTo>
                    <a:cubicBezTo>
                      <a:pt x="64" y="3"/>
                      <a:pt x="64" y="3"/>
                      <a:pt x="64" y="3"/>
                    </a:cubicBezTo>
                    <a:cubicBezTo>
                      <a:pt x="64" y="3"/>
                      <a:pt x="64" y="3"/>
                      <a:pt x="63" y="3"/>
                    </a:cubicBezTo>
                    <a:cubicBezTo>
                      <a:pt x="63" y="3"/>
                      <a:pt x="63" y="4"/>
                      <a:pt x="62" y="4"/>
                    </a:cubicBezTo>
                    <a:cubicBezTo>
                      <a:pt x="62" y="4"/>
                      <a:pt x="62" y="4"/>
                      <a:pt x="62" y="4"/>
                    </a:cubicBezTo>
                    <a:cubicBezTo>
                      <a:pt x="58" y="3"/>
                      <a:pt x="54" y="2"/>
                      <a:pt x="50" y="0"/>
                    </a:cubicBezTo>
                    <a:cubicBezTo>
                      <a:pt x="50" y="0"/>
                      <a:pt x="49"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98"/>
              <p:cNvSpPr/>
              <p:nvPr/>
            </p:nvSpPr>
            <p:spPr bwMode="auto">
              <a:xfrm>
                <a:off x="5528" y="2859"/>
                <a:ext cx="10" cy="9"/>
              </a:xfrm>
              <a:custGeom>
                <a:gdLst>
                  <a:gd name="T0" fmla="*/ 1 w 4"/>
                  <a:gd name="T1" fmla="*/ 0 h 4"/>
                  <a:gd name="T2" fmla="*/ 1 w 4"/>
                  <a:gd name="T3" fmla="*/ 4 h 4"/>
                  <a:gd name="T4" fmla="*/ 4 w 4"/>
                  <a:gd name="T5" fmla="*/ 4 h 4"/>
                  <a:gd name="T6" fmla="*/ 1 w 4"/>
                  <a:gd name="T7" fmla="*/ 0 h 4"/>
                </a:gdLst>
                <a:cxnLst>
                  <a:cxn ang="0">
                    <a:pos x="T0" y="T1"/>
                  </a:cxn>
                  <a:cxn ang="0">
                    <a:pos x="T2" y="T3"/>
                  </a:cxn>
                  <a:cxn ang="0">
                    <a:pos x="T4" y="T5"/>
                  </a:cxn>
                  <a:cxn ang="0">
                    <a:pos x="T6" y="T7"/>
                  </a:cxn>
                </a:cxnLst>
                <a:rect l="0" t="0" r="r" b="b"/>
                <a:pathLst>
                  <a:path w="4" h="4">
                    <a:moveTo>
                      <a:pt x="1" y="0"/>
                    </a:moveTo>
                    <a:cubicBezTo>
                      <a:pt x="0" y="3"/>
                      <a:pt x="0" y="4"/>
                      <a:pt x="1" y="4"/>
                    </a:cubicBezTo>
                    <a:cubicBezTo>
                      <a:pt x="2" y="4"/>
                      <a:pt x="3" y="4"/>
                      <a:pt x="4" y="4"/>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99"/>
              <p:cNvSpPr/>
              <p:nvPr/>
            </p:nvSpPr>
            <p:spPr bwMode="auto">
              <a:xfrm>
                <a:off x="6443" y="1493"/>
                <a:ext cx="2" cy="11"/>
              </a:xfrm>
              <a:custGeom>
                <a:gdLst>
                  <a:gd name="T0" fmla="*/ 0 w 1"/>
                  <a:gd name="T1" fmla="*/ 0 h 5"/>
                  <a:gd name="T2" fmla="*/ 1 w 1"/>
                  <a:gd name="T3" fmla="*/ 5 h 5"/>
                  <a:gd name="T4" fmla="*/ 0 w 1"/>
                  <a:gd name="T5" fmla="*/ 0 h 5"/>
                </a:gdLst>
                <a:cxnLst>
                  <a:cxn ang="0">
                    <a:pos x="T0" y="T1"/>
                  </a:cxn>
                  <a:cxn ang="0">
                    <a:pos x="T2" y="T3"/>
                  </a:cxn>
                  <a:cxn ang="0">
                    <a:pos x="T4" y="T5"/>
                  </a:cxn>
                </a:cxnLst>
                <a:rect l="0" t="0" r="r" b="b"/>
                <a:pathLst>
                  <a:path w="1" h="5">
                    <a:moveTo>
                      <a:pt x="0" y="0"/>
                    </a:moveTo>
                    <a:cubicBezTo>
                      <a:pt x="1" y="2"/>
                      <a:pt x="0" y="3"/>
                      <a:pt x="1" y="5"/>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100"/>
              <p:cNvSpPr/>
              <p:nvPr/>
            </p:nvSpPr>
            <p:spPr bwMode="auto">
              <a:xfrm>
                <a:off x="5724" y="2358"/>
                <a:ext cx="17" cy="12"/>
              </a:xfrm>
              <a:custGeom>
                <a:gdLst>
                  <a:gd name="T0" fmla="*/ 4 w 7"/>
                  <a:gd name="T1" fmla="*/ 0 h 5"/>
                  <a:gd name="T2" fmla="*/ 1 w 7"/>
                  <a:gd name="T3" fmla="*/ 2 h 5"/>
                  <a:gd name="T4" fmla="*/ 2 w 7"/>
                  <a:gd name="T5" fmla="*/ 5 h 5"/>
                  <a:gd name="T6" fmla="*/ 4 w 7"/>
                  <a:gd name="T7" fmla="*/ 5 h 5"/>
                  <a:gd name="T8" fmla="*/ 6 w 7"/>
                  <a:gd name="T9" fmla="*/ 4 h 5"/>
                  <a:gd name="T10" fmla="*/ 7 w 7"/>
                  <a:gd name="T11" fmla="*/ 4 h 5"/>
                  <a:gd name="T12" fmla="*/ 4 w 7"/>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7" h="5">
                    <a:moveTo>
                      <a:pt x="4" y="0"/>
                    </a:moveTo>
                    <a:cubicBezTo>
                      <a:pt x="3" y="0"/>
                      <a:pt x="2" y="1"/>
                      <a:pt x="1" y="2"/>
                    </a:cubicBezTo>
                    <a:cubicBezTo>
                      <a:pt x="0" y="5"/>
                      <a:pt x="1" y="5"/>
                      <a:pt x="2" y="5"/>
                    </a:cubicBezTo>
                    <a:cubicBezTo>
                      <a:pt x="2" y="5"/>
                      <a:pt x="3" y="5"/>
                      <a:pt x="4" y="5"/>
                    </a:cubicBezTo>
                    <a:cubicBezTo>
                      <a:pt x="5" y="4"/>
                      <a:pt x="6" y="4"/>
                      <a:pt x="6" y="4"/>
                    </a:cubicBezTo>
                    <a:cubicBezTo>
                      <a:pt x="6" y="4"/>
                      <a:pt x="6" y="4"/>
                      <a:pt x="7" y="4"/>
                    </a:cubicBezTo>
                    <a:cubicBezTo>
                      <a:pt x="6"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101"/>
              <p:cNvSpPr/>
              <p:nvPr/>
            </p:nvSpPr>
            <p:spPr bwMode="auto">
              <a:xfrm>
                <a:off x="5852" y="2483"/>
                <a:ext cx="14" cy="31"/>
              </a:xfrm>
              <a:custGeom>
                <a:gdLst>
                  <a:gd name="T0" fmla="*/ 6 w 6"/>
                  <a:gd name="T1" fmla="*/ 0 h 13"/>
                  <a:gd name="T2" fmla="*/ 3 w 6"/>
                  <a:gd name="T3" fmla="*/ 7 h 13"/>
                  <a:gd name="T4" fmla="*/ 1 w 6"/>
                  <a:gd name="T5" fmla="*/ 13 h 13"/>
                  <a:gd name="T6" fmla="*/ 6 w 6"/>
                  <a:gd name="T7" fmla="*/ 0 h 13"/>
                </a:gdLst>
                <a:cxnLst>
                  <a:cxn ang="0">
                    <a:pos x="T0" y="T1"/>
                  </a:cxn>
                  <a:cxn ang="0">
                    <a:pos x="T2" y="T3"/>
                  </a:cxn>
                  <a:cxn ang="0">
                    <a:pos x="T4" y="T5"/>
                  </a:cxn>
                  <a:cxn ang="0">
                    <a:pos x="T6" y="T7"/>
                  </a:cxn>
                </a:cxnLst>
                <a:rect l="0" t="0" r="r" b="b"/>
                <a:pathLst>
                  <a:path w="6" h="13">
                    <a:moveTo>
                      <a:pt x="6" y="0"/>
                    </a:moveTo>
                    <a:cubicBezTo>
                      <a:pt x="3" y="3"/>
                      <a:pt x="4" y="4"/>
                      <a:pt x="3" y="7"/>
                    </a:cubicBezTo>
                    <a:cubicBezTo>
                      <a:pt x="2" y="10"/>
                      <a:pt x="0" y="10"/>
                      <a:pt x="1" y="13"/>
                    </a:cubicBezTo>
                    <a:cubicBezTo>
                      <a:pt x="3" y="9"/>
                      <a:pt x="5"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102"/>
              <p:cNvSpPr/>
              <p:nvPr/>
            </p:nvSpPr>
            <p:spPr bwMode="auto">
              <a:xfrm>
                <a:off x="5738" y="2670"/>
                <a:ext cx="5" cy="14"/>
              </a:xfrm>
              <a:custGeom>
                <a:gdLst>
                  <a:gd name="T0" fmla="*/ 1 w 2"/>
                  <a:gd name="T1" fmla="*/ 0 h 6"/>
                  <a:gd name="T2" fmla="*/ 2 w 2"/>
                  <a:gd name="T3" fmla="*/ 6 h 6"/>
                  <a:gd name="T4" fmla="*/ 1 w 2"/>
                  <a:gd name="T5" fmla="*/ 0 h 6"/>
                </a:gdLst>
                <a:cxnLst>
                  <a:cxn ang="0">
                    <a:pos x="T0" y="T1"/>
                  </a:cxn>
                  <a:cxn ang="0">
                    <a:pos x="T2" y="T3"/>
                  </a:cxn>
                  <a:cxn ang="0">
                    <a:pos x="T4" y="T5"/>
                  </a:cxn>
                </a:cxnLst>
                <a:rect l="0" t="0" r="r" b="b"/>
                <a:pathLst>
                  <a:path w="2" h="6">
                    <a:moveTo>
                      <a:pt x="1" y="0"/>
                    </a:moveTo>
                    <a:cubicBezTo>
                      <a:pt x="0" y="2"/>
                      <a:pt x="0" y="4"/>
                      <a:pt x="2" y="6"/>
                    </a:cubicBezTo>
                    <a:cubicBezTo>
                      <a:pt x="2"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103"/>
              <p:cNvSpPr/>
              <p:nvPr/>
            </p:nvSpPr>
            <p:spPr bwMode="auto">
              <a:xfrm>
                <a:off x="5757" y="2651"/>
                <a:ext cx="10" cy="7"/>
              </a:xfrm>
              <a:custGeom>
                <a:gdLst>
                  <a:gd name="T0" fmla="*/ 0 w 4"/>
                  <a:gd name="T1" fmla="*/ 0 h 3"/>
                  <a:gd name="T2" fmla="*/ 3 w 4"/>
                  <a:gd name="T3" fmla="*/ 3 h 3"/>
                  <a:gd name="T4" fmla="*/ 4 w 4"/>
                  <a:gd name="T5" fmla="*/ 3 h 3"/>
                  <a:gd name="T6" fmla="*/ 0 w 4"/>
                  <a:gd name="T7" fmla="*/ 0 h 3"/>
                </a:gdLst>
                <a:cxnLst>
                  <a:cxn ang="0">
                    <a:pos x="T0" y="T1"/>
                  </a:cxn>
                  <a:cxn ang="0">
                    <a:pos x="T2" y="T3"/>
                  </a:cxn>
                  <a:cxn ang="0">
                    <a:pos x="T4" y="T5"/>
                  </a:cxn>
                  <a:cxn ang="0">
                    <a:pos x="T6" y="T7"/>
                  </a:cxn>
                </a:cxnLst>
                <a:rect l="0" t="0" r="r" b="b"/>
                <a:pathLst>
                  <a:path w="4" h="3">
                    <a:moveTo>
                      <a:pt x="0" y="0"/>
                    </a:moveTo>
                    <a:cubicBezTo>
                      <a:pt x="0" y="2"/>
                      <a:pt x="1" y="3"/>
                      <a:pt x="3" y="3"/>
                    </a:cubicBezTo>
                    <a:cubicBezTo>
                      <a:pt x="3" y="3"/>
                      <a:pt x="3"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104"/>
              <p:cNvSpPr/>
              <p:nvPr/>
            </p:nvSpPr>
            <p:spPr bwMode="auto">
              <a:xfrm>
                <a:off x="6509" y="2743"/>
                <a:ext cx="5" cy="7"/>
              </a:xfrm>
              <a:custGeom>
                <a:gdLst>
                  <a:gd name="T0" fmla="*/ 0 w 2"/>
                  <a:gd name="T1" fmla="*/ 0 h 3"/>
                  <a:gd name="T2" fmla="*/ 1 w 2"/>
                  <a:gd name="T3" fmla="*/ 3 h 3"/>
                  <a:gd name="T4" fmla="*/ 2 w 2"/>
                  <a:gd name="T5" fmla="*/ 3 h 3"/>
                  <a:gd name="T6" fmla="*/ 1 w 2"/>
                  <a:gd name="T7" fmla="*/ 3 h 3"/>
                  <a:gd name="T8" fmla="*/ 0 w 2"/>
                  <a:gd name="T9" fmla="*/ 0 h 3"/>
                </a:gdLst>
                <a:cxnLst>
                  <a:cxn ang="0">
                    <a:pos x="T0" y="T1"/>
                  </a:cxn>
                  <a:cxn ang="0">
                    <a:pos x="T2" y="T3"/>
                  </a:cxn>
                  <a:cxn ang="0">
                    <a:pos x="T4" y="T5"/>
                  </a:cxn>
                  <a:cxn ang="0">
                    <a:pos x="T6" y="T7"/>
                  </a:cxn>
                  <a:cxn ang="0">
                    <a:pos x="T8" y="T9"/>
                  </a:cxn>
                </a:cxnLst>
                <a:rect l="0" t="0" r="r" b="b"/>
                <a:pathLst>
                  <a:path w="2" h="3">
                    <a:moveTo>
                      <a:pt x="0" y="0"/>
                    </a:moveTo>
                    <a:cubicBezTo>
                      <a:pt x="0" y="1"/>
                      <a:pt x="1" y="2"/>
                      <a:pt x="1" y="3"/>
                    </a:cubicBezTo>
                    <a:cubicBezTo>
                      <a:pt x="2" y="3"/>
                      <a:pt x="2" y="3"/>
                      <a:pt x="2" y="3"/>
                    </a:cubicBezTo>
                    <a:cubicBezTo>
                      <a:pt x="1" y="3"/>
                      <a:pt x="1" y="3"/>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105"/>
              <p:cNvSpPr/>
              <p:nvPr/>
            </p:nvSpPr>
            <p:spPr bwMode="auto">
              <a:xfrm>
                <a:off x="5746" y="2339"/>
                <a:ext cx="7" cy="17"/>
              </a:xfrm>
              <a:custGeom>
                <a:gdLst>
                  <a:gd name="T0" fmla="*/ 3 w 3"/>
                  <a:gd name="T1" fmla="*/ 0 h 7"/>
                  <a:gd name="T2" fmla="*/ 0 w 3"/>
                  <a:gd name="T3" fmla="*/ 3 h 7"/>
                  <a:gd name="T4" fmla="*/ 1 w 3"/>
                  <a:gd name="T5" fmla="*/ 7 h 7"/>
                  <a:gd name="T6" fmla="*/ 3 w 3"/>
                  <a:gd name="T7" fmla="*/ 0 h 7"/>
                </a:gdLst>
                <a:cxnLst>
                  <a:cxn ang="0">
                    <a:pos x="T0" y="T1"/>
                  </a:cxn>
                  <a:cxn ang="0">
                    <a:pos x="T2" y="T3"/>
                  </a:cxn>
                  <a:cxn ang="0">
                    <a:pos x="T4" y="T5"/>
                  </a:cxn>
                  <a:cxn ang="0">
                    <a:pos x="T6" y="T7"/>
                  </a:cxn>
                </a:cxnLst>
                <a:rect l="0" t="0" r="r" b="b"/>
                <a:pathLst>
                  <a:path w="3" h="7">
                    <a:moveTo>
                      <a:pt x="3" y="0"/>
                    </a:moveTo>
                    <a:cubicBezTo>
                      <a:pt x="0" y="3"/>
                      <a:pt x="0" y="3"/>
                      <a:pt x="0" y="3"/>
                    </a:cubicBezTo>
                    <a:cubicBezTo>
                      <a:pt x="0" y="4"/>
                      <a:pt x="2" y="5"/>
                      <a:pt x="1" y="7"/>
                    </a:cubicBezTo>
                    <a:cubicBezTo>
                      <a:pt x="2" y="5"/>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106"/>
              <p:cNvSpPr/>
              <p:nvPr/>
            </p:nvSpPr>
            <p:spPr bwMode="auto">
              <a:xfrm>
                <a:off x="5984" y="2126"/>
                <a:ext cx="17" cy="10"/>
              </a:xfrm>
              <a:custGeom>
                <a:gdLst>
                  <a:gd name="T0" fmla="*/ 5 w 7"/>
                  <a:gd name="T1" fmla="*/ 0 h 4"/>
                  <a:gd name="T2" fmla="*/ 5 w 7"/>
                  <a:gd name="T3" fmla="*/ 4 h 4"/>
                  <a:gd name="T4" fmla="*/ 5 w 7"/>
                  <a:gd name="T5" fmla="*/ 0 h 4"/>
                </a:gdLst>
                <a:cxnLst>
                  <a:cxn ang="0">
                    <a:pos x="T0" y="T1"/>
                  </a:cxn>
                  <a:cxn ang="0">
                    <a:pos x="T2" y="T3"/>
                  </a:cxn>
                  <a:cxn ang="0">
                    <a:pos x="T4" y="T5"/>
                  </a:cxn>
                </a:cxnLst>
                <a:rect l="0" t="0" r="r" b="b"/>
                <a:pathLst>
                  <a:path w="7" h="4">
                    <a:moveTo>
                      <a:pt x="5" y="0"/>
                    </a:moveTo>
                    <a:cubicBezTo>
                      <a:pt x="0" y="1"/>
                      <a:pt x="3" y="4"/>
                      <a:pt x="5" y="4"/>
                    </a:cubicBezTo>
                    <a:cubicBezTo>
                      <a:pt x="6" y="4"/>
                      <a:pt x="7"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107"/>
              <p:cNvSpPr/>
              <p:nvPr/>
            </p:nvSpPr>
            <p:spPr bwMode="auto">
              <a:xfrm>
                <a:off x="6069" y="2244"/>
                <a:ext cx="26" cy="22"/>
              </a:xfrm>
              <a:custGeom>
                <a:gdLst>
                  <a:gd name="T0" fmla="*/ 11 w 11"/>
                  <a:gd name="T1" fmla="*/ 0 h 9"/>
                  <a:gd name="T2" fmla="*/ 6 w 11"/>
                  <a:gd name="T3" fmla="*/ 9 h 9"/>
                  <a:gd name="T4" fmla="*/ 9 w 11"/>
                  <a:gd name="T5" fmla="*/ 8 h 9"/>
                  <a:gd name="T6" fmla="*/ 8 w 11"/>
                  <a:gd name="T7" fmla="*/ 5 h 9"/>
                  <a:gd name="T8" fmla="*/ 11 w 11"/>
                  <a:gd name="T9" fmla="*/ 0 h 9"/>
                </a:gdLst>
                <a:cxnLst>
                  <a:cxn ang="0">
                    <a:pos x="T0" y="T1"/>
                  </a:cxn>
                  <a:cxn ang="0">
                    <a:pos x="T2" y="T3"/>
                  </a:cxn>
                  <a:cxn ang="0">
                    <a:pos x="T4" y="T5"/>
                  </a:cxn>
                  <a:cxn ang="0">
                    <a:pos x="T6" y="T7"/>
                  </a:cxn>
                  <a:cxn ang="0">
                    <a:pos x="T8" y="T9"/>
                  </a:cxn>
                </a:cxnLst>
                <a:rect l="0" t="0" r="r" b="b"/>
                <a:pathLst>
                  <a:path w="11" h="9">
                    <a:moveTo>
                      <a:pt x="11" y="0"/>
                    </a:moveTo>
                    <a:cubicBezTo>
                      <a:pt x="9" y="1"/>
                      <a:pt x="0" y="9"/>
                      <a:pt x="6" y="9"/>
                    </a:cubicBezTo>
                    <a:cubicBezTo>
                      <a:pt x="6" y="9"/>
                      <a:pt x="9" y="8"/>
                      <a:pt x="9" y="8"/>
                    </a:cubicBezTo>
                    <a:cubicBezTo>
                      <a:pt x="10" y="6"/>
                      <a:pt x="8" y="7"/>
                      <a:pt x="8" y="5"/>
                    </a:cubicBezTo>
                    <a:cubicBezTo>
                      <a:pt x="8" y="3"/>
                      <a:pt x="10"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Freeform 108"/>
              <p:cNvSpPr/>
              <p:nvPr/>
            </p:nvSpPr>
            <p:spPr bwMode="auto">
              <a:xfrm>
                <a:off x="5665" y="2738"/>
                <a:ext cx="36" cy="45"/>
              </a:xfrm>
              <a:custGeom>
                <a:gdLst>
                  <a:gd name="T0" fmla="*/ 15 w 15"/>
                  <a:gd name="T1" fmla="*/ 0 h 19"/>
                  <a:gd name="T2" fmla="*/ 12 w 15"/>
                  <a:gd name="T3" fmla="*/ 3 h 19"/>
                  <a:gd name="T4" fmla="*/ 12 w 15"/>
                  <a:gd name="T5" fmla="*/ 4 h 19"/>
                  <a:gd name="T6" fmla="*/ 11 w 15"/>
                  <a:gd name="T7" fmla="*/ 4 h 19"/>
                  <a:gd name="T8" fmla="*/ 10 w 15"/>
                  <a:gd name="T9" fmla="*/ 3 h 19"/>
                  <a:gd name="T10" fmla="*/ 9 w 15"/>
                  <a:gd name="T11" fmla="*/ 3 h 19"/>
                  <a:gd name="T12" fmla="*/ 8 w 15"/>
                  <a:gd name="T13" fmla="*/ 3 h 19"/>
                  <a:gd name="T14" fmla="*/ 7 w 15"/>
                  <a:gd name="T15" fmla="*/ 5 h 19"/>
                  <a:gd name="T16" fmla="*/ 7 w 15"/>
                  <a:gd name="T17" fmla="*/ 8 h 19"/>
                  <a:gd name="T18" fmla="*/ 4 w 15"/>
                  <a:gd name="T19" fmla="*/ 10 h 19"/>
                  <a:gd name="T20" fmla="*/ 3 w 15"/>
                  <a:gd name="T21" fmla="*/ 11 h 19"/>
                  <a:gd name="T22" fmla="*/ 2 w 15"/>
                  <a:gd name="T23" fmla="*/ 14 h 19"/>
                  <a:gd name="T24" fmla="*/ 2 w 15"/>
                  <a:gd name="T25" fmla="*/ 19 h 19"/>
                  <a:gd name="T26" fmla="*/ 9 w 15"/>
                  <a:gd name="T27" fmla="*/ 9 h 19"/>
                  <a:gd name="T28" fmla="*/ 15 w 15"/>
                  <a:gd name="T2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9">
                    <a:moveTo>
                      <a:pt x="15" y="0"/>
                    </a:moveTo>
                    <a:cubicBezTo>
                      <a:pt x="14" y="1"/>
                      <a:pt x="13" y="2"/>
                      <a:pt x="12" y="3"/>
                    </a:cubicBezTo>
                    <a:cubicBezTo>
                      <a:pt x="12" y="3"/>
                      <a:pt x="12" y="4"/>
                      <a:pt x="12" y="4"/>
                    </a:cubicBezTo>
                    <a:cubicBezTo>
                      <a:pt x="11" y="4"/>
                      <a:pt x="11" y="4"/>
                      <a:pt x="11" y="4"/>
                    </a:cubicBezTo>
                    <a:cubicBezTo>
                      <a:pt x="11" y="4"/>
                      <a:pt x="10" y="4"/>
                      <a:pt x="10" y="3"/>
                    </a:cubicBezTo>
                    <a:cubicBezTo>
                      <a:pt x="9" y="3"/>
                      <a:pt x="9" y="3"/>
                      <a:pt x="9" y="3"/>
                    </a:cubicBezTo>
                    <a:cubicBezTo>
                      <a:pt x="8" y="3"/>
                      <a:pt x="8" y="3"/>
                      <a:pt x="8" y="3"/>
                    </a:cubicBezTo>
                    <a:cubicBezTo>
                      <a:pt x="7" y="3"/>
                      <a:pt x="5" y="4"/>
                      <a:pt x="7" y="5"/>
                    </a:cubicBezTo>
                    <a:cubicBezTo>
                      <a:pt x="10" y="6"/>
                      <a:pt x="8" y="7"/>
                      <a:pt x="7" y="8"/>
                    </a:cubicBezTo>
                    <a:cubicBezTo>
                      <a:pt x="7" y="8"/>
                      <a:pt x="5" y="9"/>
                      <a:pt x="4" y="10"/>
                    </a:cubicBezTo>
                    <a:cubicBezTo>
                      <a:pt x="3" y="11"/>
                      <a:pt x="4" y="9"/>
                      <a:pt x="3" y="11"/>
                    </a:cubicBezTo>
                    <a:cubicBezTo>
                      <a:pt x="2" y="12"/>
                      <a:pt x="2" y="14"/>
                      <a:pt x="2" y="14"/>
                    </a:cubicBezTo>
                    <a:cubicBezTo>
                      <a:pt x="1" y="17"/>
                      <a:pt x="0" y="15"/>
                      <a:pt x="2" y="19"/>
                    </a:cubicBezTo>
                    <a:cubicBezTo>
                      <a:pt x="4" y="16"/>
                      <a:pt x="7" y="12"/>
                      <a:pt x="9" y="9"/>
                    </a:cubicBezTo>
                    <a:cubicBezTo>
                      <a:pt x="11" y="6"/>
                      <a:pt x="14" y="3"/>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Freeform 109"/>
              <p:cNvSpPr/>
              <p:nvPr/>
            </p:nvSpPr>
            <p:spPr bwMode="auto">
              <a:xfrm>
                <a:off x="5720" y="2698"/>
                <a:ext cx="9" cy="3"/>
              </a:xfrm>
              <a:custGeom>
                <a:gdLst>
                  <a:gd name="T0" fmla="*/ 4 w 4"/>
                  <a:gd name="T1" fmla="*/ 0 h 1"/>
                  <a:gd name="T2" fmla="*/ 0 w 4"/>
                  <a:gd name="T3" fmla="*/ 1 h 1"/>
                  <a:gd name="T4" fmla="*/ 1 w 4"/>
                  <a:gd name="T5" fmla="*/ 1 h 1"/>
                  <a:gd name="T6" fmla="*/ 4 w 4"/>
                  <a:gd name="T7" fmla="*/ 0 h 1"/>
                </a:gdLst>
                <a:cxnLst>
                  <a:cxn ang="0">
                    <a:pos x="T0" y="T1"/>
                  </a:cxn>
                  <a:cxn ang="0">
                    <a:pos x="T2" y="T3"/>
                  </a:cxn>
                  <a:cxn ang="0">
                    <a:pos x="T4" y="T5"/>
                  </a:cxn>
                  <a:cxn ang="0">
                    <a:pos x="T6" y="T7"/>
                  </a:cxn>
                </a:cxnLst>
                <a:rect l="0" t="0" r="r" b="b"/>
                <a:pathLst>
                  <a:path w="4" h="1">
                    <a:moveTo>
                      <a:pt x="4" y="0"/>
                    </a:moveTo>
                    <a:cubicBezTo>
                      <a:pt x="3" y="0"/>
                      <a:pt x="1" y="1"/>
                      <a:pt x="0" y="1"/>
                    </a:cubicBezTo>
                    <a:cubicBezTo>
                      <a:pt x="1" y="1"/>
                      <a:pt x="1" y="1"/>
                      <a:pt x="1" y="1"/>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2" name="Freeform 110"/>
              <p:cNvSpPr/>
              <p:nvPr/>
            </p:nvSpPr>
            <p:spPr bwMode="auto">
              <a:xfrm>
                <a:off x="6450" y="1507"/>
                <a:ext cx="14" cy="12"/>
              </a:xfrm>
              <a:custGeom>
                <a:gdLst>
                  <a:gd name="T0" fmla="*/ 2 w 6"/>
                  <a:gd name="T1" fmla="*/ 0 h 5"/>
                  <a:gd name="T2" fmla="*/ 4 w 6"/>
                  <a:gd name="T3" fmla="*/ 5 h 5"/>
                  <a:gd name="T4" fmla="*/ 2 w 6"/>
                  <a:gd name="T5" fmla="*/ 0 h 5"/>
                </a:gdLst>
                <a:cxnLst>
                  <a:cxn ang="0">
                    <a:pos x="T0" y="T1"/>
                  </a:cxn>
                  <a:cxn ang="0">
                    <a:pos x="T2" y="T3"/>
                  </a:cxn>
                  <a:cxn ang="0">
                    <a:pos x="T4" y="T5"/>
                  </a:cxn>
                </a:cxnLst>
                <a:rect l="0" t="0" r="r" b="b"/>
                <a:pathLst>
                  <a:path w="6" h="5">
                    <a:moveTo>
                      <a:pt x="2" y="0"/>
                    </a:moveTo>
                    <a:cubicBezTo>
                      <a:pt x="0" y="3"/>
                      <a:pt x="3" y="5"/>
                      <a:pt x="4" y="5"/>
                    </a:cubicBezTo>
                    <a:cubicBezTo>
                      <a:pt x="5" y="5"/>
                      <a:pt x="6"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Freeform 111"/>
              <p:cNvSpPr/>
              <p:nvPr/>
            </p:nvSpPr>
            <p:spPr bwMode="auto">
              <a:xfrm>
                <a:off x="6282" y="1994"/>
                <a:ext cx="19" cy="33"/>
              </a:xfrm>
              <a:custGeom>
                <a:gdLst>
                  <a:gd name="T0" fmla="*/ 7 w 8"/>
                  <a:gd name="T1" fmla="*/ 0 h 14"/>
                  <a:gd name="T2" fmla="*/ 0 w 8"/>
                  <a:gd name="T3" fmla="*/ 7 h 14"/>
                  <a:gd name="T4" fmla="*/ 0 w 8"/>
                  <a:gd name="T5" fmla="*/ 13 h 14"/>
                  <a:gd name="T6" fmla="*/ 1 w 8"/>
                  <a:gd name="T7" fmla="*/ 14 h 14"/>
                  <a:gd name="T8" fmla="*/ 7 w 8"/>
                  <a:gd name="T9" fmla="*/ 0 h 14"/>
                </a:gdLst>
                <a:cxnLst>
                  <a:cxn ang="0">
                    <a:pos x="T0" y="T1"/>
                  </a:cxn>
                  <a:cxn ang="0">
                    <a:pos x="T2" y="T3"/>
                  </a:cxn>
                  <a:cxn ang="0">
                    <a:pos x="T4" y="T5"/>
                  </a:cxn>
                  <a:cxn ang="0">
                    <a:pos x="T6" y="T7"/>
                  </a:cxn>
                  <a:cxn ang="0">
                    <a:pos x="T8" y="T9"/>
                  </a:cxn>
                </a:cxnLst>
                <a:rect l="0" t="0" r="r" b="b"/>
                <a:pathLst>
                  <a:path w="8" h="14">
                    <a:moveTo>
                      <a:pt x="7" y="0"/>
                    </a:moveTo>
                    <a:cubicBezTo>
                      <a:pt x="5" y="1"/>
                      <a:pt x="1" y="4"/>
                      <a:pt x="0" y="7"/>
                    </a:cubicBezTo>
                    <a:cubicBezTo>
                      <a:pt x="0" y="10"/>
                      <a:pt x="4" y="12"/>
                      <a:pt x="0" y="13"/>
                    </a:cubicBezTo>
                    <a:cubicBezTo>
                      <a:pt x="0" y="14"/>
                      <a:pt x="1" y="14"/>
                      <a:pt x="1" y="14"/>
                    </a:cubicBezTo>
                    <a:cubicBezTo>
                      <a:pt x="8" y="14"/>
                      <a:pt x="7" y="6"/>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4" name="Freeform 112"/>
              <p:cNvSpPr/>
              <p:nvPr/>
            </p:nvSpPr>
            <p:spPr bwMode="auto">
              <a:xfrm>
                <a:off x="5436" y="2887"/>
                <a:ext cx="17" cy="10"/>
              </a:xfrm>
              <a:custGeom>
                <a:gdLst>
                  <a:gd name="T0" fmla="*/ 3 w 7"/>
                  <a:gd name="T1" fmla="*/ 0 h 4"/>
                  <a:gd name="T2" fmla="*/ 0 w 7"/>
                  <a:gd name="T3" fmla="*/ 3 h 4"/>
                  <a:gd name="T4" fmla="*/ 4 w 7"/>
                  <a:gd name="T5" fmla="*/ 4 h 4"/>
                  <a:gd name="T6" fmla="*/ 4 w 7"/>
                  <a:gd name="T7" fmla="*/ 4 h 4"/>
                  <a:gd name="T8" fmla="*/ 3 w 7"/>
                  <a:gd name="T9" fmla="*/ 0 h 4"/>
                </a:gdLst>
                <a:cxnLst>
                  <a:cxn ang="0">
                    <a:pos x="T0" y="T1"/>
                  </a:cxn>
                  <a:cxn ang="0">
                    <a:pos x="T2" y="T3"/>
                  </a:cxn>
                  <a:cxn ang="0">
                    <a:pos x="T4" y="T5"/>
                  </a:cxn>
                  <a:cxn ang="0">
                    <a:pos x="T6" y="T7"/>
                  </a:cxn>
                  <a:cxn ang="0">
                    <a:pos x="T8" y="T9"/>
                  </a:cxn>
                </a:cxnLst>
                <a:rect l="0" t="0" r="r" b="b"/>
                <a:pathLst>
                  <a:path w="7" h="4">
                    <a:moveTo>
                      <a:pt x="3" y="0"/>
                    </a:moveTo>
                    <a:cubicBezTo>
                      <a:pt x="2" y="2"/>
                      <a:pt x="1" y="3"/>
                      <a:pt x="0" y="3"/>
                    </a:cubicBezTo>
                    <a:cubicBezTo>
                      <a:pt x="0" y="3"/>
                      <a:pt x="2" y="4"/>
                      <a:pt x="4" y="4"/>
                    </a:cubicBezTo>
                    <a:cubicBezTo>
                      <a:pt x="4" y="4"/>
                      <a:pt x="4" y="4"/>
                      <a:pt x="4" y="4"/>
                    </a:cubicBezTo>
                    <a:cubicBezTo>
                      <a:pt x="7" y="3"/>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Freeform 113"/>
              <p:cNvSpPr/>
              <p:nvPr/>
            </p:nvSpPr>
            <p:spPr bwMode="auto">
              <a:xfrm>
                <a:off x="6350" y="1722"/>
                <a:ext cx="10" cy="12"/>
              </a:xfrm>
              <a:custGeom>
                <a:gdLst>
                  <a:gd name="T0" fmla="*/ 3 w 4"/>
                  <a:gd name="T1" fmla="*/ 0 h 5"/>
                  <a:gd name="T2" fmla="*/ 1 w 4"/>
                  <a:gd name="T3" fmla="*/ 1 h 5"/>
                  <a:gd name="T4" fmla="*/ 1 w 4"/>
                  <a:gd name="T5" fmla="*/ 1 h 5"/>
                  <a:gd name="T6" fmla="*/ 1 w 4"/>
                  <a:gd name="T7" fmla="*/ 5 h 5"/>
                  <a:gd name="T8" fmla="*/ 1 w 4"/>
                  <a:gd name="T9" fmla="*/ 5 h 5"/>
                  <a:gd name="T10" fmla="*/ 3 w 4"/>
                  <a:gd name="T11" fmla="*/ 3 h 5"/>
                  <a:gd name="T12" fmla="*/ 3 w 4"/>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4" h="5">
                    <a:moveTo>
                      <a:pt x="3" y="0"/>
                    </a:moveTo>
                    <a:cubicBezTo>
                      <a:pt x="3" y="0"/>
                      <a:pt x="2" y="0"/>
                      <a:pt x="1" y="1"/>
                    </a:cubicBezTo>
                    <a:cubicBezTo>
                      <a:pt x="1" y="1"/>
                      <a:pt x="1" y="1"/>
                      <a:pt x="1" y="1"/>
                    </a:cubicBezTo>
                    <a:cubicBezTo>
                      <a:pt x="1" y="1"/>
                      <a:pt x="0" y="5"/>
                      <a:pt x="1" y="5"/>
                    </a:cubicBezTo>
                    <a:cubicBezTo>
                      <a:pt x="1" y="5"/>
                      <a:pt x="1" y="5"/>
                      <a:pt x="1" y="5"/>
                    </a:cubicBezTo>
                    <a:cubicBezTo>
                      <a:pt x="2" y="5"/>
                      <a:pt x="3" y="4"/>
                      <a:pt x="3" y="3"/>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6" name="Freeform 114"/>
              <p:cNvSpPr/>
              <p:nvPr/>
            </p:nvSpPr>
            <p:spPr bwMode="auto">
              <a:xfrm>
                <a:off x="5805" y="2374"/>
                <a:ext cx="11" cy="22"/>
              </a:xfrm>
              <a:custGeom>
                <a:gdLst>
                  <a:gd name="T0" fmla="*/ 0 w 5"/>
                  <a:gd name="T1" fmla="*/ 0 h 9"/>
                  <a:gd name="T2" fmla="*/ 0 w 5"/>
                  <a:gd name="T3" fmla="*/ 9 h 9"/>
                  <a:gd name="T4" fmla="*/ 5 w 5"/>
                  <a:gd name="T5" fmla="*/ 4 h 9"/>
                  <a:gd name="T6" fmla="*/ 4 w 5"/>
                  <a:gd name="T7" fmla="*/ 1 h 9"/>
                  <a:gd name="T8" fmla="*/ 3 w 5"/>
                  <a:gd name="T9" fmla="*/ 0 h 9"/>
                  <a:gd name="T10" fmla="*/ 2 w 5"/>
                  <a:gd name="T11" fmla="*/ 0 h 9"/>
                  <a:gd name="T12" fmla="*/ 1 w 5"/>
                  <a:gd name="T13" fmla="*/ 0 h 9"/>
                  <a:gd name="T14" fmla="*/ 0 w 5"/>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0" y="0"/>
                    </a:moveTo>
                    <a:cubicBezTo>
                      <a:pt x="0" y="3"/>
                      <a:pt x="0" y="6"/>
                      <a:pt x="0" y="9"/>
                    </a:cubicBezTo>
                    <a:cubicBezTo>
                      <a:pt x="2" y="8"/>
                      <a:pt x="4" y="6"/>
                      <a:pt x="5" y="4"/>
                    </a:cubicBezTo>
                    <a:cubicBezTo>
                      <a:pt x="4" y="1"/>
                      <a:pt x="4" y="1"/>
                      <a:pt x="4" y="1"/>
                    </a:cubicBezTo>
                    <a:cubicBezTo>
                      <a:pt x="4" y="0"/>
                      <a:pt x="3" y="0"/>
                      <a:pt x="3" y="0"/>
                    </a:cubicBezTo>
                    <a:cubicBezTo>
                      <a:pt x="3" y="0"/>
                      <a:pt x="2" y="0"/>
                      <a:pt x="2" y="0"/>
                    </a:cubicBezTo>
                    <a:cubicBezTo>
                      <a:pt x="2"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7" name="Freeform 115"/>
              <p:cNvSpPr/>
              <p:nvPr/>
            </p:nvSpPr>
            <p:spPr bwMode="auto">
              <a:xfrm>
                <a:off x="5460" y="2878"/>
                <a:ext cx="14" cy="14"/>
              </a:xfrm>
              <a:custGeom>
                <a:gdLst>
                  <a:gd name="T0" fmla="*/ 6 w 6"/>
                  <a:gd name="T1" fmla="*/ 0 h 6"/>
                  <a:gd name="T2" fmla="*/ 0 w 6"/>
                  <a:gd name="T3" fmla="*/ 3 h 6"/>
                  <a:gd name="T4" fmla="*/ 2 w 6"/>
                  <a:gd name="T5" fmla="*/ 6 h 6"/>
                  <a:gd name="T6" fmla="*/ 4 w 6"/>
                  <a:gd name="T7" fmla="*/ 3 h 6"/>
                  <a:gd name="T8" fmla="*/ 6 w 6"/>
                  <a:gd name="T9" fmla="*/ 0 h 6"/>
                </a:gdLst>
                <a:cxnLst>
                  <a:cxn ang="0">
                    <a:pos x="T0" y="T1"/>
                  </a:cxn>
                  <a:cxn ang="0">
                    <a:pos x="T2" y="T3"/>
                  </a:cxn>
                  <a:cxn ang="0">
                    <a:pos x="T4" y="T5"/>
                  </a:cxn>
                  <a:cxn ang="0">
                    <a:pos x="T6" y="T7"/>
                  </a:cxn>
                  <a:cxn ang="0">
                    <a:pos x="T8" y="T9"/>
                  </a:cxn>
                </a:cxnLst>
                <a:rect l="0" t="0" r="r" b="b"/>
                <a:pathLst>
                  <a:path w="6" h="6">
                    <a:moveTo>
                      <a:pt x="6" y="0"/>
                    </a:moveTo>
                    <a:cubicBezTo>
                      <a:pt x="4" y="1"/>
                      <a:pt x="2" y="2"/>
                      <a:pt x="0" y="3"/>
                    </a:cubicBezTo>
                    <a:cubicBezTo>
                      <a:pt x="0" y="5"/>
                      <a:pt x="1" y="6"/>
                      <a:pt x="2" y="6"/>
                    </a:cubicBezTo>
                    <a:cubicBezTo>
                      <a:pt x="3" y="6"/>
                      <a:pt x="4" y="5"/>
                      <a:pt x="4" y="3"/>
                    </a:cubicBezTo>
                    <a:cubicBezTo>
                      <a:pt x="5" y="2"/>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8" name="Freeform 116"/>
              <p:cNvSpPr/>
              <p:nvPr/>
            </p:nvSpPr>
            <p:spPr bwMode="auto">
              <a:xfrm>
                <a:off x="5824" y="2509"/>
                <a:ext cx="23" cy="12"/>
              </a:xfrm>
              <a:custGeom>
                <a:gdLst>
                  <a:gd name="T0" fmla="*/ 5 w 10"/>
                  <a:gd name="T1" fmla="*/ 0 h 5"/>
                  <a:gd name="T2" fmla="*/ 2 w 10"/>
                  <a:gd name="T3" fmla="*/ 4 h 5"/>
                  <a:gd name="T4" fmla="*/ 5 w 10"/>
                  <a:gd name="T5" fmla="*/ 5 h 5"/>
                  <a:gd name="T6" fmla="*/ 6 w 10"/>
                  <a:gd name="T7" fmla="*/ 5 h 5"/>
                  <a:gd name="T8" fmla="*/ 5 w 10"/>
                  <a:gd name="T9" fmla="*/ 0 h 5"/>
                </a:gdLst>
                <a:cxnLst>
                  <a:cxn ang="0">
                    <a:pos x="T0" y="T1"/>
                  </a:cxn>
                  <a:cxn ang="0">
                    <a:pos x="T2" y="T3"/>
                  </a:cxn>
                  <a:cxn ang="0">
                    <a:pos x="T4" y="T5"/>
                  </a:cxn>
                  <a:cxn ang="0">
                    <a:pos x="T6" y="T7"/>
                  </a:cxn>
                  <a:cxn ang="0">
                    <a:pos x="T8" y="T9"/>
                  </a:cxn>
                </a:cxnLst>
                <a:rect l="0" t="0" r="r" b="b"/>
                <a:pathLst>
                  <a:path w="10" h="5">
                    <a:moveTo>
                      <a:pt x="5" y="0"/>
                    </a:moveTo>
                    <a:cubicBezTo>
                      <a:pt x="2" y="1"/>
                      <a:pt x="0" y="1"/>
                      <a:pt x="2" y="4"/>
                    </a:cubicBezTo>
                    <a:cubicBezTo>
                      <a:pt x="3" y="5"/>
                      <a:pt x="4" y="5"/>
                      <a:pt x="5" y="5"/>
                    </a:cubicBezTo>
                    <a:cubicBezTo>
                      <a:pt x="5" y="5"/>
                      <a:pt x="5" y="5"/>
                      <a:pt x="6" y="5"/>
                    </a:cubicBezTo>
                    <a:cubicBezTo>
                      <a:pt x="10" y="4"/>
                      <a:pt x="7"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Freeform 117"/>
              <p:cNvSpPr/>
              <p:nvPr/>
            </p:nvSpPr>
            <p:spPr bwMode="auto">
              <a:xfrm>
                <a:off x="5755" y="2637"/>
                <a:ext cx="26" cy="19"/>
              </a:xfrm>
              <a:custGeom>
                <a:gdLst>
                  <a:gd name="T0" fmla="*/ 10 w 11"/>
                  <a:gd name="T1" fmla="*/ 0 h 8"/>
                  <a:gd name="T2" fmla="*/ 6 w 11"/>
                  <a:gd name="T3" fmla="*/ 2 h 8"/>
                  <a:gd name="T4" fmla="*/ 0 w 11"/>
                  <a:gd name="T5" fmla="*/ 5 h 8"/>
                  <a:gd name="T6" fmla="*/ 0 w 11"/>
                  <a:gd name="T7" fmla="*/ 5 h 8"/>
                  <a:gd name="T8" fmla="*/ 3 w 11"/>
                  <a:gd name="T9" fmla="*/ 7 h 8"/>
                  <a:gd name="T10" fmla="*/ 4 w 11"/>
                  <a:gd name="T11" fmla="*/ 8 h 8"/>
                  <a:gd name="T12" fmla="*/ 4 w 11"/>
                  <a:gd name="T13" fmla="*/ 8 h 8"/>
                  <a:gd name="T14" fmla="*/ 11 w 11"/>
                  <a:gd name="T15" fmla="*/ 0 h 8"/>
                  <a:gd name="T16" fmla="*/ 10 w 11"/>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10" y="0"/>
                    </a:moveTo>
                    <a:cubicBezTo>
                      <a:pt x="9" y="0"/>
                      <a:pt x="7" y="1"/>
                      <a:pt x="6" y="2"/>
                    </a:cubicBezTo>
                    <a:cubicBezTo>
                      <a:pt x="4" y="2"/>
                      <a:pt x="2" y="5"/>
                      <a:pt x="0" y="5"/>
                    </a:cubicBezTo>
                    <a:cubicBezTo>
                      <a:pt x="0" y="5"/>
                      <a:pt x="0" y="5"/>
                      <a:pt x="0" y="5"/>
                    </a:cubicBezTo>
                    <a:cubicBezTo>
                      <a:pt x="1" y="5"/>
                      <a:pt x="2" y="6"/>
                      <a:pt x="3" y="7"/>
                    </a:cubicBezTo>
                    <a:cubicBezTo>
                      <a:pt x="4" y="7"/>
                      <a:pt x="3" y="8"/>
                      <a:pt x="4" y="8"/>
                    </a:cubicBezTo>
                    <a:cubicBezTo>
                      <a:pt x="4" y="8"/>
                      <a:pt x="4" y="8"/>
                      <a:pt x="4" y="8"/>
                    </a:cubicBezTo>
                    <a:cubicBezTo>
                      <a:pt x="7" y="8"/>
                      <a:pt x="10" y="2"/>
                      <a:pt x="11" y="0"/>
                    </a:cubicBezTo>
                    <a:cubicBezTo>
                      <a:pt x="11"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0" name="Freeform 118"/>
              <p:cNvSpPr/>
              <p:nvPr/>
            </p:nvSpPr>
            <p:spPr bwMode="auto">
              <a:xfrm>
                <a:off x="3361" y="3043"/>
                <a:ext cx="7" cy="15"/>
              </a:xfrm>
              <a:custGeom>
                <a:gdLst>
                  <a:gd name="T0" fmla="*/ 3 w 3"/>
                  <a:gd name="T1" fmla="*/ 0 h 6"/>
                  <a:gd name="T2" fmla="*/ 1 w 3"/>
                  <a:gd name="T3" fmla="*/ 6 h 6"/>
                  <a:gd name="T4" fmla="*/ 3 w 3"/>
                  <a:gd name="T5" fmla="*/ 0 h 6"/>
                </a:gdLst>
                <a:cxnLst>
                  <a:cxn ang="0">
                    <a:pos x="T0" y="T1"/>
                  </a:cxn>
                  <a:cxn ang="0">
                    <a:pos x="T2" y="T3"/>
                  </a:cxn>
                  <a:cxn ang="0">
                    <a:pos x="T4" y="T5"/>
                  </a:cxn>
                </a:cxnLst>
                <a:rect l="0" t="0" r="r" b="b"/>
                <a:pathLst>
                  <a:path w="3" h="6">
                    <a:moveTo>
                      <a:pt x="3" y="0"/>
                    </a:moveTo>
                    <a:cubicBezTo>
                      <a:pt x="2" y="2"/>
                      <a:pt x="0" y="4"/>
                      <a:pt x="1" y="6"/>
                    </a:cubicBezTo>
                    <a:cubicBezTo>
                      <a:pt x="2" y="4"/>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1" name="Freeform 119"/>
              <p:cNvSpPr/>
              <p:nvPr/>
            </p:nvSpPr>
            <p:spPr bwMode="auto">
              <a:xfrm>
                <a:off x="2872" y="3734"/>
                <a:ext cx="7" cy="4"/>
              </a:xfrm>
              <a:custGeom>
                <a:gdLst>
                  <a:gd name="T0" fmla="*/ 0 w 3"/>
                  <a:gd name="T1" fmla="*/ 0 h 2"/>
                  <a:gd name="T2" fmla="*/ 0 w 3"/>
                  <a:gd name="T3" fmla="*/ 0 h 2"/>
                  <a:gd name="T4" fmla="*/ 3 w 3"/>
                  <a:gd name="T5" fmla="*/ 2 h 2"/>
                  <a:gd name="T6" fmla="*/ 1 w 3"/>
                  <a:gd name="T7" fmla="*/ 0 h 2"/>
                  <a:gd name="T8" fmla="*/ 0 w 3"/>
                  <a:gd name="T9" fmla="*/ 0 h 2"/>
                </a:gdLst>
                <a:cxnLst>
                  <a:cxn ang="0">
                    <a:pos x="T0" y="T1"/>
                  </a:cxn>
                  <a:cxn ang="0">
                    <a:pos x="T2" y="T3"/>
                  </a:cxn>
                  <a:cxn ang="0">
                    <a:pos x="T4" y="T5"/>
                  </a:cxn>
                  <a:cxn ang="0">
                    <a:pos x="T6" y="T7"/>
                  </a:cxn>
                  <a:cxn ang="0">
                    <a:pos x="T8" y="T9"/>
                  </a:cxn>
                </a:cxnLst>
                <a:rect l="0" t="0" r="r" b="b"/>
                <a:pathLst>
                  <a:path w="3" h="2">
                    <a:moveTo>
                      <a:pt x="0" y="0"/>
                    </a:moveTo>
                    <a:cubicBezTo>
                      <a:pt x="0" y="0"/>
                      <a:pt x="0" y="0"/>
                      <a:pt x="0" y="0"/>
                    </a:cubicBezTo>
                    <a:cubicBezTo>
                      <a:pt x="1" y="1"/>
                      <a:pt x="2" y="1"/>
                      <a:pt x="3" y="2"/>
                    </a:cubicBezTo>
                    <a:cubicBezTo>
                      <a:pt x="3" y="1"/>
                      <a:pt x="2"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2" name="Freeform 120"/>
              <p:cNvSpPr/>
              <p:nvPr/>
            </p:nvSpPr>
            <p:spPr bwMode="auto">
              <a:xfrm flipH="1">
                <a:off x="3366" y="3039"/>
                <a:ext cx="0" cy="7"/>
              </a:xfrm>
              <a:custGeom>
                <a:gdLst>
                  <a:gd name="T0" fmla="*/ 0 h 3"/>
                  <a:gd name="T1" fmla="*/ 3 h 3"/>
                  <a:gd name="T2" fmla="*/ 0 h 3"/>
                  <a:gd name="T3" fmla="*/ 0 h 3"/>
                </a:gdLst>
                <a:cxnLst>
                  <a:cxn ang="0">
                    <a:pos x="0" y="T0"/>
                  </a:cxn>
                  <a:cxn ang="0">
                    <a:pos x="0" y="T1"/>
                  </a:cxn>
                  <a:cxn ang="0">
                    <a:pos x="0" y="T2"/>
                  </a:cxn>
                  <a:cxn ang="0">
                    <a:pos x="0" y="T3"/>
                  </a:cxn>
                </a:cxnLst>
                <a:rect l="0" t="0" r="r" b="b"/>
                <a:pathLst>
                  <a:path h="3">
                    <a:moveTo>
                      <a:pt x="0" y="0"/>
                    </a:moveTo>
                    <a:cubicBezTo>
                      <a:pt x="0" y="1"/>
                      <a:pt x="0" y="2"/>
                      <a:pt x="0" y="3"/>
                    </a:cubicBezTo>
                    <a:cubicBezTo>
                      <a:pt x="0" y="2"/>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121"/>
              <p:cNvSpPr/>
              <p:nvPr/>
            </p:nvSpPr>
            <p:spPr bwMode="auto">
              <a:xfrm>
                <a:off x="3768" y="4001"/>
                <a:ext cx="7" cy="2"/>
              </a:xfrm>
              <a:custGeom>
                <a:gdLst>
                  <a:gd name="T0" fmla="*/ 1 w 3"/>
                  <a:gd name="T1" fmla="*/ 0 h 1"/>
                  <a:gd name="T2" fmla="*/ 0 w 3"/>
                  <a:gd name="T3" fmla="*/ 0 h 1"/>
                  <a:gd name="T4" fmla="*/ 3 w 3"/>
                  <a:gd name="T5" fmla="*/ 1 h 1"/>
                  <a:gd name="T6" fmla="*/ 1 w 3"/>
                  <a:gd name="T7" fmla="*/ 0 h 1"/>
                </a:gdLst>
                <a:cxnLst>
                  <a:cxn ang="0">
                    <a:pos x="T0" y="T1"/>
                  </a:cxn>
                  <a:cxn ang="0">
                    <a:pos x="T2" y="T3"/>
                  </a:cxn>
                  <a:cxn ang="0">
                    <a:pos x="T4" y="T5"/>
                  </a:cxn>
                  <a:cxn ang="0">
                    <a:pos x="T6" y="T7"/>
                  </a:cxn>
                </a:cxnLst>
                <a:rect l="0" t="0" r="r" b="b"/>
                <a:pathLst>
                  <a:path w="3" h="1">
                    <a:moveTo>
                      <a:pt x="1" y="0"/>
                    </a:moveTo>
                    <a:cubicBezTo>
                      <a:pt x="1" y="0"/>
                      <a:pt x="0" y="0"/>
                      <a:pt x="0" y="0"/>
                    </a:cubicBezTo>
                    <a:cubicBezTo>
                      <a:pt x="1" y="1"/>
                      <a:pt x="2" y="1"/>
                      <a:pt x="3"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Freeform 122"/>
              <p:cNvSpPr/>
              <p:nvPr/>
            </p:nvSpPr>
            <p:spPr bwMode="auto">
              <a:xfrm>
                <a:off x="4316" y="4327"/>
                <a:ext cx="2" cy="7"/>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0"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Freeform 123"/>
              <p:cNvSpPr/>
              <p:nvPr/>
            </p:nvSpPr>
            <p:spPr bwMode="auto">
              <a:xfrm>
                <a:off x="5816" y="4337"/>
                <a:ext cx="67" cy="26"/>
              </a:xfrm>
              <a:custGeom>
                <a:gdLst>
                  <a:gd name="T0" fmla="*/ 15 w 28"/>
                  <a:gd name="T1" fmla="*/ 0 h 11"/>
                  <a:gd name="T2" fmla="*/ 0 w 28"/>
                  <a:gd name="T3" fmla="*/ 5 h 11"/>
                  <a:gd name="T4" fmla="*/ 5 w 28"/>
                  <a:gd name="T5" fmla="*/ 7 h 11"/>
                  <a:gd name="T6" fmla="*/ 5 w 28"/>
                  <a:gd name="T7" fmla="*/ 7 h 11"/>
                  <a:gd name="T8" fmla="*/ 6 w 28"/>
                  <a:gd name="T9" fmla="*/ 7 h 11"/>
                  <a:gd name="T10" fmla="*/ 7 w 28"/>
                  <a:gd name="T11" fmla="*/ 6 h 11"/>
                  <a:gd name="T12" fmla="*/ 7 w 28"/>
                  <a:gd name="T13" fmla="*/ 6 h 11"/>
                  <a:gd name="T14" fmla="*/ 8 w 28"/>
                  <a:gd name="T15" fmla="*/ 11 h 11"/>
                  <a:gd name="T16" fmla="*/ 9 w 28"/>
                  <a:gd name="T17" fmla="*/ 8 h 11"/>
                  <a:gd name="T18" fmla="*/ 10 w 28"/>
                  <a:gd name="T19" fmla="*/ 8 h 11"/>
                  <a:gd name="T20" fmla="*/ 13 w 28"/>
                  <a:gd name="T21" fmla="*/ 11 h 11"/>
                  <a:gd name="T22" fmla="*/ 14 w 28"/>
                  <a:gd name="T23" fmla="*/ 11 h 11"/>
                  <a:gd name="T24" fmla="*/ 17 w 28"/>
                  <a:gd name="T25" fmla="*/ 8 h 11"/>
                  <a:gd name="T26" fmla="*/ 19 w 28"/>
                  <a:gd name="T27" fmla="*/ 9 h 11"/>
                  <a:gd name="T28" fmla="*/ 20 w 28"/>
                  <a:gd name="T29" fmla="*/ 9 h 11"/>
                  <a:gd name="T30" fmla="*/ 21 w 28"/>
                  <a:gd name="T31" fmla="*/ 9 h 11"/>
                  <a:gd name="T32" fmla="*/ 21 w 28"/>
                  <a:gd name="T33" fmla="*/ 9 h 11"/>
                  <a:gd name="T34" fmla="*/ 25 w 28"/>
                  <a:gd name="T35" fmla="*/ 10 h 11"/>
                  <a:gd name="T36" fmla="*/ 25 w 28"/>
                  <a:gd name="T37" fmla="*/ 10 h 11"/>
                  <a:gd name="T38" fmla="*/ 26 w 28"/>
                  <a:gd name="T39" fmla="*/ 4 h 11"/>
                  <a:gd name="T40" fmla="*/ 21 w 28"/>
                  <a:gd name="T41" fmla="*/ 2 h 11"/>
                  <a:gd name="T42" fmla="*/ 19 w 28"/>
                  <a:gd name="T43" fmla="*/ 1 h 11"/>
                  <a:gd name="T44" fmla="*/ 15 w 28"/>
                  <a:gd name="T45"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11">
                    <a:moveTo>
                      <a:pt x="15" y="0"/>
                    </a:moveTo>
                    <a:cubicBezTo>
                      <a:pt x="10" y="2"/>
                      <a:pt x="5" y="3"/>
                      <a:pt x="0" y="5"/>
                    </a:cubicBezTo>
                    <a:cubicBezTo>
                      <a:pt x="2" y="6"/>
                      <a:pt x="3" y="7"/>
                      <a:pt x="5" y="7"/>
                    </a:cubicBezTo>
                    <a:cubicBezTo>
                      <a:pt x="5" y="7"/>
                      <a:pt x="5" y="7"/>
                      <a:pt x="5" y="7"/>
                    </a:cubicBezTo>
                    <a:cubicBezTo>
                      <a:pt x="5" y="7"/>
                      <a:pt x="5" y="7"/>
                      <a:pt x="6" y="7"/>
                    </a:cubicBezTo>
                    <a:cubicBezTo>
                      <a:pt x="6" y="7"/>
                      <a:pt x="7" y="6"/>
                      <a:pt x="7" y="6"/>
                    </a:cubicBezTo>
                    <a:cubicBezTo>
                      <a:pt x="7" y="6"/>
                      <a:pt x="7" y="6"/>
                      <a:pt x="7" y="6"/>
                    </a:cubicBezTo>
                    <a:cubicBezTo>
                      <a:pt x="8" y="7"/>
                      <a:pt x="8" y="9"/>
                      <a:pt x="8" y="11"/>
                    </a:cubicBezTo>
                    <a:cubicBezTo>
                      <a:pt x="8" y="10"/>
                      <a:pt x="9" y="8"/>
                      <a:pt x="9" y="8"/>
                    </a:cubicBezTo>
                    <a:cubicBezTo>
                      <a:pt x="10" y="8"/>
                      <a:pt x="10" y="8"/>
                      <a:pt x="10" y="8"/>
                    </a:cubicBezTo>
                    <a:cubicBezTo>
                      <a:pt x="12" y="8"/>
                      <a:pt x="12" y="11"/>
                      <a:pt x="13" y="11"/>
                    </a:cubicBezTo>
                    <a:cubicBezTo>
                      <a:pt x="13" y="11"/>
                      <a:pt x="14" y="11"/>
                      <a:pt x="14" y="11"/>
                    </a:cubicBezTo>
                    <a:cubicBezTo>
                      <a:pt x="16" y="11"/>
                      <a:pt x="18" y="10"/>
                      <a:pt x="17" y="8"/>
                    </a:cubicBezTo>
                    <a:cubicBezTo>
                      <a:pt x="18" y="9"/>
                      <a:pt x="18" y="9"/>
                      <a:pt x="19" y="9"/>
                    </a:cubicBezTo>
                    <a:cubicBezTo>
                      <a:pt x="19" y="9"/>
                      <a:pt x="19" y="9"/>
                      <a:pt x="20" y="9"/>
                    </a:cubicBezTo>
                    <a:cubicBezTo>
                      <a:pt x="20" y="9"/>
                      <a:pt x="20" y="9"/>
                      <a:pt x="21" y="9"/>
                    </a:cubicBezTo>
                    <a:cubicBezTo>
                      <a:pt x="21" y="9"/>
                      <a:pt x="21" y="9"/>
                      <a:pt x="21" y="9"/>
                    </a:cubicBezTo>
                    <a:cubicBezTo>
                      <a:pt x="22" y="9"/>
                      <a:pt x="24" y="10"/>
                      <a:pt x="25" y="10"/>
                    </a:cubicBezTo>
                    <a:cubicBezTo>
                      <a:pt x="25" y="10"/>
                      <a:pt x="25" y="10"/>
                      <a:pt x="25" y="10"/>
                    </a:cubicBezTo>
                    <a:cubicBezTo>
                      <a:pt x="28" y="9"/>
                      <a:pt x="27" y="5"/>
                      <a:pt x="26" y="4"/>
                    </a:cubicBezTo>
                    <a:cubicBezTo>
                      <a:pt x="25" y="3"/>
                      <a:pt x="22" y="2"/>
                      <a:pt x="21" y="2"/>
                    </a:cubicBezTo>
                    <a:cubicBezTo>
                      <a:pt x="20" y="2"/>
                      <a:pt x="21" y="2"/>
                      <a:pt x="19" y="1"/>
                    </a:cubicBezTo>
                    <a:cubicBezTo>
                      <a:pt x="18" y="1"/>
                      <a:pt x="17"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Freeform 124"/>
              <p:cNvSpPr/>
              <p:nvPr/>
            </p:nvSpPr>
            <p:spPr bwMode="auto">
              <a:xfrm>
                <a:off x="5448" y="4816"/>
                <a:ext cx="23" cy="19"/>
              </a:xfrm>
              <a:custGeom>
                <a:gdLst>
                  <a:gd name="T0" fmla="*/ 10 w 10"/>
                  <a:gd name="T1" fmla="*/ 0 h 8"/>
                  <a:gd name="T2" fmla="*/ 2 w 10"/>
                  <a:gd name="T3" fmla="*/ 3 h 8"/>
                  <a:gd name="T4" fmla="*/ 4 w 10"/>
                  <a:gd name="T5" fmla="*/ 7 h 8"/>
                  <a:gd name="T6" fmla="*/ 5 w 10"/>
                  <a:gd name="T7" fmla="*/ 8 h 8"/>
                  <a:gd name="T8" fmla="*/ 7 w 10"/>
                  <a:gd name="T9" fmla="*/ 8 h 8"/>
                  <a:gd name="T10" fmla="*/ 10 w 10"/>
                  <a:gd name="T11" fmla="*/ 0 h 8"/>
                </a:gdLst>
                <a:cxnLst>
                  <a:cxn ang="0">
                    <a:pos x="T0" y="T1"/>
                  </a:cxn>
                  <a:cxn ang="0">
                    <a:pos x="T2" y="T3"/>
                  </a:cxn>
                  <a:cxn ang="0">
                    <a:pos x="T4" y="T5"/>
                  </a:cxn>
                  <a:cxn ang="0">
                    <a:pos x="T6" y="T7"/>
                  </a:cxn>
                  <a:cxn ang="0">
                    <a:pos x="T8" y="T9"/>
                  </a:cxn>
                  <a:cxn ang="0">
                    <a:pos x="T10" y="T11"/>
                  </a:cxn>
                </a:cxnLst>
                <a:rect l="0" t="0" r="r" b="b"/>
                <a:pathLst>
                  <a:path w="10" h="8">
                    <a:moveTo>
                      <a:pt x="10" y="0"/>
                    </a:moveTo>
                    <a:cubicBezTo>
                      <a:pt x="8" y="0"/>
                      <a:pt x="5" y="2"/>
                      <a:pt x="2" y="3"/>
                    </a:cubicBezTo>
                    <a:cubicBezTo>
                      <a:pt x="0" y="7"/>
                      <a:pt x="1" y="6"/>
                      <a:pt x="4" y="7"/>
                    </a:cubicBezTo>
                    <a:cubicBezTo>
                      <a:pt x="5" y="7"/>
                      <a:pt x="4" y="8"/>
                      <a:pt x="5" y="8"/>
                    </a:cubicBezTo>
                    <a:cubicBezTo>
                      <a:pt x="6" y="8"/>
                      <a:pt x="6" y="8"/>
                      <a:pt x="7" y="8"/>
                    </a:cubicBezTo>
                    <a:cubicBezTo>
                      <a:pt x="8" y="7"/>
                      <a:pt x="10"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125"/>
              <p:cNvSpPr/>
              <p:nvPr/>
            </p:nvSpPr>
            <p:spPr bwMode="auto">
              <a:xfrm>
                <a:off x="4306" y="4358"/>
                <a:ext cx="22" cy="19"/>
              </a:xfrm>
              <a:custGeom>
                <a:gdLst>
                  <a:gd name="T0" fmla="*/ 5 w 9"/>
                  <a:gd name="T1" fmla="*/ 0 h 8"/>
                  <a:gd name="T2" fmla="*/ 2 w 9"/>
                  <a:gd name="T3" fmla="*/ 2 h 8"/>
                  <a:gd name="T4" fmla="*/ 1 w 9"/>
                  <a:gd name="T5" fmla="*/ 1 h 8"/>
                  <a:gd name="T6" fmla="*/ 0 w 9"/>
                  <a:gd name="T7" fmla="*/ 2 h 8"/>
                  <a:gd name="T8" fmla="*/ 2 w 9"/>
                  <a:gd name="T9" fmla="*/ 6 h 8"/>
                  <a:gd name="T10" fmla="*/ 2 w 9"/>
                  <a:gd name="T11" fmla="*/ 7 h 8"/>
                  <a:gd name="T12" fmla="*/ 3 w 9"/>
                  <a:gd name="T13" fmla="*/ 8 h 8"/>
                  <a:gd name="T14" fmla="*/ 6 w 9"/>
                  <a:gd name="T15" fmla="*/ 6 h 8"/>
                  <a:gd name="T16" fmla="*/ 5 w 9"/>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5" y="0"/>
                    </a:moveTo>
                    <a:cubicBezTo>
                      <a:pt x="4" y="1"/>
                      <a:pt x="3" y="0"/>
                      <a:pt x="2" y="2"/>
                    </a:cubicBezTo>
                    <a:cubicBezTo>
                      <a:pt x="2" y="1"/>
                      <a:pt x="1" y="1"/>
                      <a:pt x="1" y="1"/>
                    </a:cubicBezTo>
                    <a:cubicBezTo>
                      <a:pt x="1" y="1"/>
                      <a:pt x="0" y="1"/>
                      <a:pt x="0" y="2"/>
                    </a:cubicBezTo>
                    <a:cubicBezTo>
                      <a:pt x="0" y="3"/>
                      <a:pt x="1" y="5"/>
                      <a:pt x="2" y="6"/>
                    </a:cubicBezTo>
                    <a:cubicBezTo>
                      <a:pt x="2" y="6"/>
                      <a:pt x="2" y="7"/>
                      <a:pt x="2" y="7"/>
                    </a:cubicBezTo>
                    <a:cubicBezTo>
                      <a:pt x="2" y="8"/>
                      <a:pt x="2" y="8"/>
                      <a:pt x="3" y="8"/>
                    </a:cubicBezTo>
                    <a:cubicBezTo>
                      <a:pt x="4" y="8"/>
                      <a:pt x="5" y="7"/>
                      <a:pt x="6" y="6"/>
                    </a:cubicBezTo>
                    <a:cubicBezTo>
                      <a:pt x="9" y="4"/>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Freeform 126"/>
              <p:cNvSpPr/>
              <p:nvPr/>
            </p:nvSpPr>
            <p:spPr bwMode="auto">
              <a:xfrm>
                <a:off x="4377" y="4679"/>
                <a:ext cx="532" cy="170"/>
              </a:xfrm>
              <a:custGeom>
                <a:gdLst>
                  <a:gd name="T0" fmla="*/ 0 w 225"/>
                  <a:gd name="T1" fmla="*/ 23 h 72"/>
                  <a:gd name="T2" fmla="*/ 23 w 225"/>
                  <a:gd name="T3" fmla="*/ 37 h 72"/>
                  <a:gd name="T4" fmla="*/ 28 w 225"/>
                  <a:gd name="T5" fmla="*/ 38 h 72"/>
                  <a:gd name="T6" fmla="*/ 63 w 225"/>
                  <a:gd name="T7" fmla="*/ 46 h 72"/>
                  <a:gd name="T8" fmla="*/ 74 w 225"/>
                  <a:gd name="T9" fmla="*/ 47 h 72"/>
                  <a:gd name="T10" fmla="*/ 83 w 225"/>
                  <a:gd name="T11" fmla="*/ 44 h 72"/>
                  <a:gd name="T12" fmla="*/ 125 w 225"/>
                  <a:gd name="T13" fmla="*/ 55 h 72"/>
                  <a:gd name="T14" fmla="*/ 147 w 225"/>
                  <a:gd name="T15" fmla="*/ 59 h 72"/>
                  <a:gd name="T16" fmla="*/ 155 w 225"/>
                  <a:gd name="T17" fmla="*/ 60 h 72"/>
                  <a:gd name="T18" fmla="*/ 164 w 225"/>
                  <a:gd name="T19" fmla="*/ 61 h 72"/>
                  <a:gd name="T20" fmla="*/ 177 w 225"/>
                  <a:gd name="T21" fmla="*/ 63 h 72"/>
                  <a:gd name="T22" fmla="*/ 189 w 225"/>
                  <a:gd name="T23" fmla="*/ 61 h 72"/>
                  <a:gd name="T24" fmla="*/ 225 w 225"/>
                  <a:gd name="T25" fmla="*/ 72 h 72"/>
                  <a:gd name="T26" fmla="*/ 220 w 225"/>
                  <a:gd name="T27" fmla="*/ 54 h 72"/>
                  <a:gd name="T28" fmla="*/ 210 w 225"/>
                  <a:gd name="T29" fmla="*/ 43 h 72"/>
                  <a:gd name="T30" fmla="*/ 199 w 225"/>
                  <a:gd name="T31" fmla="*/ 45 h 72"/>
                  <a:gd name="T32" fmla="*/ 181 w 225"/>
                  <a:gd name="T33" fmla="*/ 42 h 72"/>
                  <a:gd name="T34" fmla="*/ 177 w 225"/>
                  <a:gd name="T35" fmla="*/ 34 h 72"/>
                  <a:gd name="T36" fmla="*/ 173 w 225"/>
                  <a:gd name="T37" fmla="*/ 24 h 72"/>
                  <a:gd name="T38" fmla="*/ 166 w 225"/>
                  <a:gd name="T39" fmla="*/ 25 h 72"/>
                  <a:gd name="T40" fmla="*/ 143 w 225"/>
                  <a:gd name="T41" fmla="*/ 20 h 72"/>
                  <a:gd name="T42" fmla="*/ 134 w 225"/>
                  <a:gd name="T43" fmla="*/ 13 h 72"/>
                  <a:gd name="T44" fmla="*/ 122 w 225"/>
                  <a:gd name="T45" fmla="*/ 27 h 72"/>
                  <a:gd name="T46" fmla="*/ 102 w 225"/>
                  <a:gd name="T47" fmla="*/ 24 h 72"/>
                  <a:gd name="T48" fmla="*/ 97 w 225"/>
                  <a:gd name="T49" fmla="*/ 24 h 72"/>
                  <a:gd name="T50" fmla="*/ 92 w 225"/>
                  <a:gd name="T51" fmla="*/ 24 h 72"/>
                  <a:gd name="T52" fmla="*/ 76 w 225"/>
                  <a:gd name="T53" fmla="*/ 20 h 72"/>
                  <a:gd name="T54" fmla="*/ 68 w 225"/>
                  <a:gd name="T55" fmla="*/ 9 h 72"/>
                  <a:gd name="T56" fmla="*/ 66 w 225"/>
                  <a:gd name="T57" fmla="*/ 10 h 72"/>
                  <a:gd name="T58" fmla="*/ 55 w 225"/>
                  <a:gd name="T59" fmla="*/ 9 h 72"/>
                  <a:gd name="T60" fmla="*/ 40 w 225"/>
                  <a:gd name="T61" fmla="*/ 2 h 72"/>
                  <a:gd name="T62" fmla="*/ 37 w 225"/>
                  <a:gd name="T63" fmla="*/ 14 h 72"/>
                  <a:gd name="T64" fmla="*/ 31 w 225"/>
                  <a:gd name="T65" fmla="*/ 5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72">
                    <a:moveTo>
                      <a:pt x="14" y="0"/>
                    </a:moveTo>
                    <a:cubicBezTo>
                      <a:pt x="8" y="7"/>
                      <a:pt x="5" y="16"/>
                      <a:pt x="0" y="23"/>
                    </a:cubicBezTo>
                    <a:cubicBezTo>
                      <a:pt x="8" y="24"/>
                      <a:pt x="16" y="25"/>
                      <a:pt x="23" y="28"/>
                    </a:cubicBezTo>
                    <a:cubicBezTo>
                      <a:pt x="28" y="30"/>
                      <a:pt x="24" y="32"/>
                      <a:pt x="23" y="37"/>
                    </a:cubicBezTo>
                    <a:cubicBezTo>
                      <a:pt x="23" y="37"/>
                      <a:pt x="24" y="37"/>
                      <a:pt x="24" y="37"/>
                    </a:cubicBezTo>
                    <a:cubicBezTo>
                      <a:pt x="25" y="37"/>
                      <a:pt x="27" y="38"/>
                      <a:pt x="28" y="38"/>
                    </a:cubicBezTo>
                    <a:cubicBezTo>
                      <a:pt x="35" y="39"/>
                      <a:pt x="41" y="39"/>
                      <a:pt x="47" y="40"/>
                    </a:cubicBezTo>
                    <a:cubicBezTo>
                      <a:pt x="53" y="41"/>
                      <a:pt x="58" y="45"/>
                      <a:pt x="63" y="46"/>
                    </a:cubicBezTo>
                    <a:cubicBezTo>
                      <a:pt x="66" y="47"/>
                      <a:pt x="68" y="47"/>
                      <a:pt x="70" y="47"/>
                    </a:cubicBezTo>
                    <a:cubicBezTo>
                      <a:pt x="71" y="47"/>
                      <a:pt x="72" y="47"/>
                      <a:pt x="74" y="47"/>
                    </a:cubicBezTo>
                    <a:cubicBezTo>
                      <a:pt x="76" y="46"/>
                      <a:pt x="79" y="44"/>
                      <a:pt x="82" y="44"/>
                    </a:cubicBezTo>
                    <a:cubicBezTo>
                      <a:pt x="82" y="44"/>
                      <a:pt x="83" y="44"/>
                      <a:pt x="83" y="44"/>
                    </a:cubicBezTo>
                    <a:cubicBezTo>
                      <a:pt x="91" y="45"/>
                      <a:pt x="99" y="46"/>
                      <a:pt x="107" y="48"/>
                    </a:cubicBezTo>
                    <a:cubicBezTo>
                      <a:pt x="113" y="50"/>
                      <a:pt x="119" y="53"/>
                      <a:pt x="125" y="55"/>
                    </a:cubicBezTo>
                    <a:cubicBezTo>
                      <a:pt x="128" y="56"/>
                      <a:pt x="132" y="58"/>
                      <a:pt x="135" y="58"/>
                    </a:cubicBezTo>
                    <a:cubicBezTo>
                      <a:pt x="139" y="58"/>
                      <a:pt x="143" y="58"/>
                      <a:pt x="147" y="59"/>
                    </a:cubicBezTo>
                    <a:cubicBezTo>
                      <a:pt x="149" y="60"/>
                      <a:pt x="151" y="61"/>
                      <a:pt x="152" y="61"/>
                    </a:cubicBezTo>
                    <a:cubicBezTo>
                      <a:pt x="153" y="61"/>
                      <a:pt x="154" y="61"/>
                      <a:pt x="155" y="60"/>
                    </a:cubicBezTo>
                    <a:cubicBezTo>
                      <a:pt x="155" y="59"/>
                      <a:pt x="155" y="59"/>
                      <a:pt x="156" y="59"/>
                    </a:cubicBezTo>
                    <a:cubicBezTo>
                      <a:pt x="158" y="59"/>
                      <a:pt x="162" y="60"/>
                      <a:pt x="164" y="61"/>
                    </a:cubicBezTo>
                    <a:cubicBezTo>
                      <a:pt x="168" y="61"/>
                      <a:pt x="172" y="62"/>
                      <a:pt x="176" y="63"/>
                    </a:cubicBezTo>
                    <a:cubicBezTo>
                      <a:pt x="177" y="63"/>
                      <a:pt x="177" y="63"/>
                      <a:pt x="177" y="63"/>
                    </a:cubicBezTo>
                    <a:cubicBezTo>
                      <a:pt x="180" y="63"/>
                      <a:pt x="182" y="61"/>
                      <a:pt x="184" y="61"/>
                    </a:cubicBezTo>
                    <a:cubicBezTo>
                      <a:pt x="186" y="61"/>
                      <a:pt x="187" y="61"/>
                      <a:pt x="189" y="61"/>
                    </a:cubicBezTo>
                    <a:cubicBezTo>
                      <a:pt x="195" y="61"/>
                      <a:pt x="199" y="63"/>
                      <a:pt x="205" y="66"/>
                    </a:cubicBezTo>
                    <a:cubicBezTo>
                      <a:pt x="211" y="69"/>
                      <a:pt x="218" y="70"/>
                      <a:pt x="225" y="72"/>
                    </a:cubicBezTo>
                    <a:cubicBezTo>
                      <a:pt x="221" y="68"/>
                      <a:pt x="218" y="66"/>
                      <a:pt x="219" y="61"/>
                    </a:cubicBezTo>
                    <a:cubicBezTo>
                      <a:pt x="219" y="59"/>
                      <a:pt x="220" y="56"/>
                      <a:pt x="220" y="54"/>
                    </a:cubicBezTo>
                    <a:cubicBezTo>
                      <a:pt x="221" y="49"/>
                      <a:pt x="222" y="48"/>
                      <a:pt x="217" y="46"/>
                    </a:cubicBezTo>
                    <a:cubicBezTo>
                      <a:pt x="215" y="45"/>
                      <a:pt x="212" y="43"/>
                      <a:pt x="210" y="43"/>
                    </a:cubicBezTo>
                    <a:cubicBezTo>
                      <a:pt x="210" y="43"/>
                      <a:pt x="210" y="43"/>
                      <a:pt x="210" y="43"/>
                    </a:cubicBezTo>
                    <a:cubicBezTo>
                      <a:pt x="207" y="43"/>
                      <a:pt x="203" y="45"/>
                      <a:pt x="199" y="45"/>
                    </a:cubicBezTo>
                    <a:cubicBezTo>
                      <a:pt x="197" y="46"/>
                      <a:pt x="195" y="46"/>
                      <a:pt x="193" y="46"/>
                    </a:cubicBezTo>
                    <a:cubicBezTo>
                      <a:pt x="189" y="46"/>
                      <a:pt x="186" y="45"/>
                      <a:pt x="181" y="42"/>
                    </a:cubicBezTo>
                    <a:cubicBezTo>
                      <a:pt x="179" y="41"/>
                      <a:pt x="180" y="39"/>
                      <a:pt x="180" y="37"/>
                    </a:cubicBezTo>
                    <a:cubicBezTo>
                      <a:pt x="181" y="35"/>
                      <a:pt x="179" y="35"/>
                      <a:pt x="177" y="34"/>
                    </a:cubicBezTo>
                    <a:cubicBezTo>
                      <a:pt x="174" y="32"/>
                      <a:pt x="175" y="30"/>
                      <a:pt x="175" y="26"/>
                    </a:cubicBezTo>
                    <a:cubicBezTo>
                      <a:pt x="175" y="25"/>
                      <a:pt x="174" y="24"/>
                      <a:pt x="173" y="24"/>
                    </a:cubicBezTo>
                    <a:cubicBezTo>
                      <a:pt x="172" y="24"/>
                      <a:pt x="170" y="25"/>
                      <a:pt x="169" y="25"/>
                    </a:cubicBezTo>
                    <a:cubicBezTo>
                      <a:pt x="168" y="25"/>
                      <a:pt x="167" y="25"/>
                      <a:pt x="166" y="25"/>
                    </a:cubicBezTo>
                    <a:cubicBezTo>
                      <a:pt x="166" y="25"/>
                      <a:pt x="165" y="25"/>
                      <a:pt x="165" y="25"/>
                    </a:cubicBezTo>
                    <a:cubicBezTo>
                      <a:pt x="157" y="23"/>
                      <a:pt x="151" y="21"/>
                      <a:pt x="143" y="20"/>
                    </a:cubicBezTo>
                    <a:cubicBezTo>
                      <a:pt x="139" y="20"/>
                      <a:pt x="137" y="16"/>
                      <a:pt x="135" y="14"/>
                    </a:cubicBezTo>
                    <a:cubicBezTo>
                      <a:pt x="135" y="13"/>
                      <a:pt x="134" y="13"/>
                      <a:pt x="134" y="13"/>
                    </a:cubicBezTo>
                    <a:cubicBezTo>
                      <a:pt x="133" y="13"/>
                      <a:pt x="129" y="15"/>
                      <a:pt x="128" y="16"/>
                    </a:cubicBezTo>
                    <a:cubicBezTo>
                      <a:pt x="128" y="18"/>
                      <a:pt x="125" y="27"/>
                      <a:pt x="122" y="27"/>
                    </a:cubicBezTo>
                    <a:cubicBezTo>
                      <a:pt x="122" y="27"/>
                      <a:pt x="122" y="27"/>
                      <a:pt x="122" y="27"/>
                    </a:cubicBezTo>
                    <a:cubicBezTo>
                      <a:pt x="115" y="26"/>
                      <a:pt x="109" y="25"/>
                      <a:pt x="102" y="24"/>
                    </a:cubicBezTo>
                    <a:cubicBezTo>
                      <a:pt x="101" y="24"/>
                      <a:pt x="101" y="24"/>
                      <a:pt x="100" y="24"/>
                    </a:cubicBezTo>
                    <a:cubicBezTo>
                      <a:pt x="99" y="24"/>
                      <a:pt x="98" y="24"/>
                      <a:pt x="97" y="24"/>
                    </a:cubicBezTo>
                    <a:cubicBezTo>
                      <a:pt x="96" y="24"/>
                      <a:pt x="95" y="24"/>
                      <a:pt x="93" y="24"/>
                    </a:cubicBezTo>
                    <a:cubicBezTo>
                      <a:pt x="93" y="24"/>
                      <a:pt x="92" y="24"/>
                      <a:pt x="92" y="24"/>
                    </a:cubicBezTo>
                    <a:cubicBezTo>
                      <a:pt x="89" y="24"/>
                      <a:pt x="86" y="24"/>
                      <a:pt x="84" y="23"/>
                    </a:cubicBezTo>
                    <a:cubicBezTo>
                      <a:pt x="81" y="23"/>
                      <a:pt x="77" y="23"/>
                      <a:pt x="76" y="20"/>
                    </a:cubicBezTo>
                    <a:cubicBezTo>
                      <a:pt x="75" y="16"/>
                      <a:pt x="73" y="14"/>
                      <a:pt x="71" y="11"/>
                    </a:cubicBezTo>
                    <a:cubicBezTo>
                      <a:pt x="70" y="10"/>
                      <a:pt x="69" y="9"/>
                      <a:pt x="68" y="9"/>
                    </a:cubicBezTo>
                    <a:cubicBezTo>
                      <a:pt x="68" y="9"/>
                      <a:pt x="68" y="10"/>
                      <a:pt x="67" y="10"/>
                    </a:cubicBezTo>
                    <a:cubicBezTo>
                      <a:pt x="67" y="10"/>
                      <a:pt x="66" y="10"/>
                      <a:pt x="66" y="10"/>
                    </a:cubicBezTo>
                    <a:cubicBezTo>
                      <a:pt x="66" y="10"/>
                      <a:pt x="66" y="10"/>
                      <a:pt x="66" y="10"/>
                    </a:cubicBezTo>
                    <a:cubicBezTo>
                      <a:pt x="62" y="10"/>
                      <a:pt x="59" y="9"/>
                      <a:pt x="55" y="9"/>
                    </a:cubicBezTo>
                    <a:cubicBezTo>
                      <a:pt x="52" y="9"/>
                      <a:pt x="49" y="7"/>
                      <a:pt x="46" y="5"/>
                    </a:cubicBezTo>
                    <a:cubicBezTo>
                      <a:pt x="46" y="5"/>
                      <a:pt x="43" y="3"/>
                      <a:pt x="40" y="2"/>
                    </a:cubicBezTo>
                    <a:cubicBezTo>
                      <a:pt x="43" y="3"/>
                      <a:pt x="44" y="5"/>
                      <a:pt x="44" y="8"/>
                    </a:cubicBezTo>
                    <a:cubicBezTo>
                      <a:pt x="44" y="11"/>
                      <a:pt x="41" y="14"/>
                      <a:pt x="37" y="14"/>
                    </a:cubicBezTo>
                    <a:cubicBezTo>
                      <a:pt x="34" y="14"/>
                      <a:pt x="31" y="11"/>
                      <a:pt x="31" y="8"/>
                    </a:cubicBezTo>
                    <a:cubicBezTo>
                      <a:pt x="31" y="6"/>
                      <a:pt x="31" y="5"/>
                      <a:pt x="31" y="5"/>
                    </a:cubicBezTo>
                    <a:cubicBezTo>
                      <a:pt x="25" y="4"/>
                      <a:pt x="20" y="2"/>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Freeform 127"/>
              <p:cNvSpPr/>
              <p:nvPr/>
            </p:nvSpPr>
            <p:spPr bwMode="auto">
              <a:xfrm>
                <a:off x="4181" y="4254"/>
                <a:ext cx="24" cy="28"/>
              </a:xfrm>
              <a:custGeom>
                <a:gdLst>
                  <a:gd name="T0" fmla="*/ 3 w 10"/>
                  <a:gd name="T1" fmla="*/ 0 h 12"/>
                  <a:gd name="T2" fmla="*/ 6 w 10"/>
                  <a:gd name="T3" fmla="*/ 12 h 12"/>
                  <a:gd name="T4" fmla="*/ 6 w 10"/>
                  <a:gd name="T5" fmla="*/ 3 h 12"/>
                  <a:gd name="T6" fmla="*/ 3 w 10"/>
                  <a:gd name="T7" fmla="*/ 0 h 12"/>
                </a:gdLst>
                <a:cxnLst>
                  <a:cxn ang="0">
                    <a:pos x="T0" y="T1"/>
                  </a:cxn>
                  <a:cxn ang="0">
                    <a:pos x="T2" y="T3"/>
                  </a:cxn>
                  <a:cxn ang="0">
                    <a:pos x="T4" y="T5"/>
                  </a:cxn>
                  <a:cxn ang="0">
                    <a:pos x="T6" y="T7"/>
                  </a:cxn>
                </a:cxnLst>
                <a:rect l="0" t="0" r="r" b="b"/>
                <a:pathLst>
                  <a:path w="10" h="12">
                    <a:moveTo>
                      <a:pt x="3" y="0"/>
                    </a:moveTo>
                    <a:cubicBezTo>
                      <a:pt x="0" y="2"/>
                      <a:pt x="4" y="10"/>
                      <a:pt x="6" y="12"/>
                    </a:cubicBezTo>
                    <a:cubicBezTo>
                      <a:pt x="8" y="8"/>
                      <a:pt x="10" y="6"/>
                      <a:pt x="6" y="3"/>
                    </a:cubicBezTo>
                    <a:cubicBezTo>
                      <a:pt x="5" y="2"/>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Freeform 128"/>
              <p:cNvSpPr/>
              <p:nvPr/>
            </p:nvSpPr>
            <p:spPr bwMode="auto">
              <a:xfrm>
                <a:off x="5479" y="4431"/>
                <a:ext cx="54" cy="24"/>
              </a:xfrm>
              <a:custGeom>
                <a:gdLst>
                  <a:gd name="T0" fmla="*/ 4 w 23"/>
                  <a:gd name="T1" fmla="*/ 0 h 10"/>
                  <a:gd name="T2" fmla="*/ 0 w 23"/>
                  <a:gd name="T3" fmla="*/ 1 h 10"/>
                  <a:gd name="T4" fmla="*/ 0 w 23"/>
                  <a:gd name="T5" fmla="*/ 10 h 10"/>
                  <a:gd name="T6" fmla="*/ 7 w 23"/>
                  <a:gd name="T7" fmla="*/ 8 h 10"/>
                  <a:gd name="T8" fmla="*/ 10 w 23"/>
                  <a:gd name="T9" fmla="*/ 7 h 10"/>
                  <a:gd name="T10" fmla="*/ 11 w 23"/>
                  <a:gd name="T11" fmla="*/ 7 h 10"/>
                  <a:gd name="T12" fmla="*/ 15 w 23"/>
                  <a:gd name="T13" fmla="*/ 8 h 10"/>
                  <a:gd name="T14" fmla="*/ 21 w 23"/>
                  <a:gd name="T15" fmla="*/ 7 h 10"/>
                  <a:gd name="T16" fmla="*/ 22 w 23"/>
                  <a:gd name="T17" fmla="*/ 5 h 10"/>
                  <a:gd name="T18" fmla="*/ 22 w 23"/>
                  <a:gd name="T19" fmla="*/ 3 h 10"/>
                  <a:gd name="T20" fmla="*/ 21 w 23"/>
                  <a:gd name="T21" fmla="*/ 3 h 10"/>
                  <a:gd name="T22" fmla="*/ 20 w 23"/>
                  <a:gd name="T23" fmla="*/ 3 h 10"/>
                  <a:gd name="T24" fmla="*/ 20 w 23"/>
                  <a:gd name="T25" fmla="*/ 4 h 10"/>
                  <a:gd name="T26" fmla="*/ 19 w 23"/>
                  <a:gd name="T27" fmla="*/ 3 h 10"/>
                  <a:gd name="T28" fmla="*/ 19 w 23"/>
                  <a:gd name="T29" fmla="*/ 3 h 10"/>
                  <a:gd name="T30" fmla="*/ 18 w 23"/>
                  <a:gd name="T31" fmla="*/ 2 h 10"/>
                  <a:gd name="T32" fmla="*/ 17 w 23"/>
                  <a:gd name="T33" fmla="*/ 2 h 10"/>
                  <a:gd name="T34" fmla="*/ 16 w 23"/>
                  <a:gd name="T35" fmla="*/ 3 h 10"/>
                  <a:gd name="T36" fmla="*/ 16 w 23"/>
                  <a:gd name="T37" fmla="*/ 3 h 10"/>
                  <a:gd name="T38" fmla="*/ 15 w 23"/>
                  <a:gd name="T39" fmla="*/ 3 h 10"/>
                  <a:gd name="T40" fmla="*/ 4 w 23"/>
                  <a:gd name="T4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10">
                    <a:moveTo>
                      <a:pt x="4" y="0"/>
                    </a:moveTo>
                    <a:cubicBezTo>
                      <a:pt x="2" y="0"/>
                      <a:pt x="1" y="0"/>
                      <a:pt x="0" y="1"/>
                    </a:cubicBezTo>
                    <a:cubicBezTo>
                      <a:pt x="0" y="4"/>
                      <a:pt x="0" y="7"/>
                      <a:pt x="0" y="10"/>
                    </a:cubicBezTo>
                    <a:cubicBezTo>
                      <a:pt x="3" y="9"/>
                      <a:pt x="5" y="9"/>
                      <a:pt x="7" y="8"/>
                    </a:cubicBezTo>
                    <a:cubicBezTo>
                      <a:pt x="8" y="8"/>
                      <a:pt x="9" y="7"/>
                      <a:pt x="10" y="7"/>
                    </a:cubicBezTo>
                    <a:cubicBezTo>
                      <a:pt x="10" y="7"/>
                      <a:pt x="11" y="7"/>
                      <a:pt x="11" y="7"/>
                    </a:cubicBezTo>
                    <a:cubicBezTo>
                      <a:pt x="12" y="8"/>
                      <a:pt x="14" y="8"/>
                      <a:pt x="15" y="8"/>
                    </a:cubicBezTo>
                    <a:cubicBezTo>
                      <a:pt x="17" y="8"/>
                      <a:pt x="19" y="7"/>
                      <a:pt x="21" y="7"/>
                    </a:cubicBezTo>
                    <a:cubicBezTo>
                      <a:pt x="22" y="6"/>
                      <a:pt x="23" y="7"/>
                      <a:pt x="22" y="5"/>
                    </a:cubicBezTo>
                    <a:cubicBezTo>
                      <a:pt x="22" y="3"/>
                      <a:pt x="22" y="3"/>
                      <a:pt x="22" y="3"/>
                    </a:cubicBezTo>
                    <a:cubicBezTo>
                      <a:pt x="22" y="3"/>
                      <a:pt x="22" y="3"/>
                      <a:pt x="21" y="3"/>
                    </a:cubicBezTo>
                    <a:cubicBezTo>
                      <a:pt x="21" y="3"/>
                      <a:pt x="20" y="3"/>
                      <a:pt x="20" y="3"/>
                    </a:cubicBezTo>
                    <a:cubicBezTo>
                      <a:pt x="20" y="4"/>
                      <a:pt x="20" y="4"/>
                      <a:pt x="20" y="4"/>
                    </a:cubicBezTo>
                    <a:cubicBezTo>
                      <a:pt x="19" y="4"/>
                      <a:pt x="19" y="3"/>
                      <a:pt x="19" y="3"/>
                    </a:cubicBezTo>
                    <a:cubicBezTo>
                      <a:pt x="19" y="3"/>
                      <a:pt x="19" y="3"/>
                      <a:pt x="19" y="3"/>
                    </a:cubicBezTo>
                    <a:cubicBezTo>
                      <a:pt x="19" y="3"/>
                      <a:pt x="18" y="2"/>
                      <a:pt x="18" y="2"/>
                    </a:cubicBezTo>
                    <a:cubicBezTo>
                      <a:pt x="18" y="2"/>
                      <a:pt x="17" y="2"/>
                      <a:pt x="17" y="2"/>
                    </a:cubicBezTo>
                    <a:cubicBezTo>
                      <a:pt x="17" y="2"/>
                      <a:pt x="17" y="3"/>
                      <a:pt x="16" y="3"/>
                    </a:cubicBezTo>
                    <a:cubicBezTo>
                      <a:pt x="16" y="3"/>
                      <a:pt x="16" y="3"/>
                      <a:pt x="16" y="3"/>
                    </a:cubicBezTo>
                    <a:cubicBezTo>
                      <a:pt x="15" y="3"/>
                      <a:pt x="15" y="3"/>
                      <a:pt x="15" y="3"/>
                    </a:cubicBezTo>
                    <a:cubicBezTo>
                      <a:pt x="12"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129"/>
              <p:cNvSpPr/>
              <p:nvPr/>
            </p:nvSpPr>
            <p:spPr bwMode="auto">
              <a:xfrm>
                <a:off x="5410" y="4816"/>
                <a:ext cx="40" cy="22"/>
              </a:xfrm>
              <a:custGeom>
                <a:gdLst>
                  <a:gd name="T0" fmla="*/ 14 w 17"/>
                  <a:gd name="T1" fmla="*/ 0 h 9"/>
                  <a:gd name="T2" fmla="*/ 11 w 17"/>
                  <a:gd name="T3" fmla="*/ 1 h 9"/>
                  <a:gd name="T4" fmla="*/ 11 w 17"/>
                  <a:gd name="T5" fmla="*/ 1 h 9"/>
                  <a:gd name="T6" fmla="*/ 11 w 17"/>
                  <a:gd name="T7" fmla="*/ 0 h 9"/>
                  <a:gd name="T8" fmla="*/ 11 w 17"/>
                  <a:gd name="T9" fmla="*/ 0 h 9"/>
                  <a:gd name="T10" fmla="*/ 10 w 17"/>
                  <a:gd name="T11" fmla="*/ 0 h 9"/>
                  <a:gd name="T12" fmla="*/ 10 w 17"/>
                  <a:gd name="T13" fmla="*/ 2 h 9"/>
                  <a:gd name="T14" fmla="*/ 8 w 17"/>
                  <a:gd name="T15" fmla="*/ 4 h 9"/>
                  <a:gd name="T16" fmla="*/ 8 w 17"/>
                  <a:gd name="T17" fmla="*/ 4 h 9"/>
                  <a:gd name="T18" fmla="*/ 7 w 17"/>
                  <a:gd name="T19" fmla="*/ 1 h 9"/>
                  <a:gd name="T20" fmla="*/ 4 w 17"/>
                  <a:gd name="T21" fmla="*/ 1 h 9"/>
                  <a:gd name="T22" fmla="*/ 0 w 17"/>
                  <a:gd name="T23" fmla="*/ 8 h 9"/>
                  <a:gd name="T24" fmla="*/ 5 w 17"/>
                  <a:gd name="T25" fmla="*/ 9 h 9"/>
                  <a:gd name="T26" fmla="*/ 7 w 17"/>
                  <a:gd name="T27" fmla="*/ 9 h 9"/>
                  <a:gd name="T28" fmla="*/ 9 w 17"/>
                  <a:gd name="T29" fmla="*/ 8 h 9"/>
                  <a:gd name="T30" fmla="*/ 9 w 17"/>
                  <a:gd name="T31" fmla="*/ 7 h 9"/>
                  <a:gd name="T32" fmla="*/ 9 w 17"/>
                  <a:gd name="T33" fmla="*/ 6 h 9"/>
                  <a:gd name="T34" fmla="*/ 12 w 17"/>
                  <a:gd name="T35" fmla="*/ 5 h 9"/>
                  <a:gd name="T36" fmla="*/ 17 w 17"/>
                  <a:gd name="T37" fmla="*/ 0 h 9"/>
                  <a:gd name="T38" fmla="*/ 14 w 17"/>
                  <a:gd name="T3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9">
                    <a:moveTo>
                      <a:pt x="14" y="0"/>
                    </a:moveTo>
                    <a:cubicBezTo>
                      <a:pt x="13" y="0"/>
                      <a:pt x="12" y="0"/>
                      <a:pt x="11" y="1"/>
                    </a:cubicBezTo>
                    <a:cubicBezTo>
                      <a:pt x="11" y="1"/>
                      <a:pt x="11" y="1"/>
                      <a:pt x="11" y="1"/>
                    </a:cubicBezTo>
                    <a:cubicBezTo>
                      <a:pt x="11" y="1"/>
                      <a:pt x="11" y="1"/>
                      <a:pt x="11" y="0"/>
                    </a:cubicBezTo>
                    <a:cubicBezTo>
                      <a:pt x="11" y="0"/>
                      <a:pt x="11" y="0"/>
                      <a:pt x="11" y="0"/>
                    </a:cubicBezTo>
                    <a:cubicBezTo>
                      <a:pt x="10" y="0"/>
                      <a:pt x="10" y="0"/>
                      <a:pt x="10" y="0"/>
                    </a:cubicBezTo>
                    <a:cubicBezTo>
                      <a:pt x="10" y="1"/>
                      <a:pt x="10" y="2"/>
                      <a:pt x="10" y="2"/>
                    </a:cubicBezTo>
                    <a:cubicBezTo>
                      <a:pt x="9" y="3"/>
                      <a:pt x="9" y="4"/>
                      <a:pt x="8" y="4"/>
                    </a:cubicBezTo>
                    <a:cubicBezTo>
                      <a:pt x="8" y="4"/>
                      <a:pt x="8" y="4"/>
                      <a:pt x="8" y="4"/>
                    </a:cubicBezTo>
                    <a:cubicBezTo>
                      <a:pt x="5" y="3"/>
                      <a:pt x="9" y="1"/>
                      <a:pt x="7" y="1"/>
                    </a:cubicBezTo>
                    <a:cubicBezTo>
                      <a:pt x="6" y="1"/>
                      <a:pt x="6" y="1"/>
                      <a:pt x="4" y="1"/>
                    </a:cubicBezTo>
                    <a:cubicBezTo>
                      <a:pt x="9" y="4"/>
                      <a:pt x="2" y="6"/>
                      <a:pt x="0" y="8"/>
                    </a:cubicBezTo>
                    <a:cubicBezTo>
                      <a:pt x="2" y="8"/>
                      <a:pt x="4" y="9"/>
                      <a:pt x="5" y="9"/>
                    </a:cubicBezTo>
                    <a:cubicBezTo>
                      <a:pt x="6" y="9"/>
                      <a:pt x="6" y="9"/>
                      <a:pt x="7" y="9"/>
                    </a:cubicBezTo>
                    <a:cubicBezTo>
                      <a:pt x="8" y="9"/>
                      <a:pt x="8" y="9"/>
                      <a:pt x="9" y="8"/>
                    </a:cubicBezTo>
                    <a:cubicBezTo>
                      <a:pt x="9" y="8"/>
                      <a:pt x="9" y="7"/>
                      <a:pt x="9" y="7"/>
                    </a:cubicBezTo>
                    <a:cubicBezTo>
                      <a:pt x="9" y="6"/>
                      <a:pt x="9" y="6"/>
                      <a:pt x="9" y="6"/>
                    </a:cubicBezTo>
                    <a:cubicBezTo>
                      <a:pt x="10" y="5"/>
                      <a:pt x="11" y="6"/>
                      <a:pt x="12" y="5"/>
                    </a:cubicBezTo>
                    <a:cubicBezTo>
                      <a:pt x="13" y="4"/>
                      <a:pt x="16" y="2"/>
                      <a:pt x="17" y="0"/>
                    </a:cubicBezTo>
                    <a:cubicBezTo>
                      <a:pt x="16"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Freeform 130"/>
              <p:cNvSpPr/>
              <p:nvPr/>
            </p:nvSpPr>
            <p:spPr bwMode="auto">
              <a:xfrm>
                <a:off x="4021" y="4455"/>
                <a:ext cx="30" cy="21"/>
              </a:xfrm>
              <a:custGeom>
                <a:gdLst>
                  <a:gd name="T0" fmla="*/ 6 w 13"/>
                  <a:gd name="T1" fmla="*/ 0 h 9"/>
                  <a:gd name="T2" fmla="*/ 5 w 13"/>
                  <a:gd name="T3" fmla="*/ 0 h 9"/>
                  <a:gd name="T4" fmla="*/ 13 w 13"/>
                  <a:gd name="T5" fmla="*/ 9 h 9"/>
                  <a:gd name="T6" fmla="*/ 8 w 13"/>
                  <a:gd name="T7" fmla="*/ 1 h 9"/>
                  <a:gd name="T8" fmla="*/ 6 w 13"/>
                  <a:gd name="T9" fmla="*/ 0 h 9"/>
                </a:gdLst>
                <a:cxnLst>
                  <a:cxn ang="0">
                    <a:pos x="T0" y="T1"/>
                  </a:cxn>
                  <a:cxn ang="0">
                    <a:pos x="T2" y="T3"/>
                  </a:cxn>
                  <a:cxn ang="0">
                    <a:pos x="T4" y="T5"/>
                  </a:cxn>
                  <a:cxn ang="0">
                    <a:pos x="T6" y="T7"/>
                  </a:cxn>
                  <a:cxn ang="0">
                    <a:pos x="T8" y="T9"/>
                  </a:cxn>
                </a:cxnLst>
                <a:rect l="0" t="0" r="r" b="b"/>
                <a:pathLst>
                  <a:path w="13" h="9">
                    <a:moveTo>
                      <a:pt x="6" y="0"/>
                    </a:moveTo>
                    <a:cubicBezTo>
                      <a:pt x="6" y="0"/>
                      <a:pt x="6" y="0"/>
                      <a:pt x="5" y="0"/>
                    </a:cubicBezTo>
                    <a:cubicBezTo>
                      <a:pt x="0" y="4"/>
                      <a:pt x="11" y="8"/>
                      <a:pt x="13" y="9"/>
                    </a:cubicBezTo>
                    <a:cubicBezTo>
                      <a:pt x="12" y="7"/>
                      <a:pt x="9" y="2"/>
                      <a:pt x="8"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131"/>
              <p:cNvSpPr/>
              <p:nvPr/>
            </p:nvSpPr>
            <p:spPr bwMode="auto">
              <a:xfrm>
                <a:off x="5084" y="4098"/>
                <a:ext cx="5" cy="7"/>
              </a:xfrm>
              <a:custGeom>
                <a:gdLst>
                  <a:gd name="T0" fmla="*/ 0 w 2"/>
                  <a:gd name="T1" fmla="*/ 0 h 3"/>
                  <a:gd name="T2" fmla="*/ 0 w 2"/>
                  <a:gd name="T3" fmla="*/ 2 h 3"/>
                  <a:gd name="T4" fmla="*/ 0 w 2"/>
                  <a:gd name="T5" fmla="*/ 2 h 3"/>
                  <a:gd name="T6" fmla="*/ 1 w 2"/>
                  <a:gd name="T7" fmla="*/ 3 h 3"/>
                  <a:gd name="T8" fmla="*/ 2 w 2"/>
                  <a:gd name="T9" fmla="*/ 3 h 3"/>
                  <a:gd name="T10" fmla="*/ 0 w 2"/>
                  <a:gd name="T11" fmla="*/ 0 h 3"/>
                </a:gdLst>
                <a:cxnLst>
                  <a:cxn ang="0">
                    <a:pos x="T0" y="T1"/>
                  </a:cxn>
                  <a:cxn ang="0">
                    <a:pos x="T2" y="T3"/>
                  </a:cxn>
                  <a:cxn ang="0">
                    <a:pos x="T4" y="T5"/>
                  </a:cxn>
                  <a:cxn ang="0">
                    <a:pos x="T6" y="T7"/>
                  </a:cxn>
                  <a:cxn ang="0">
                    <a:pos x="T8" y="T9"/>
                  </a:cxn>
                  <a:cxn ang="0">
                    <a:pos x="T10" y="T11"/>
                  </a:cxn>
                </a:cxnLst>
                <a:rect l="0" t="0" r="r" b="b"/>
                <a:pathLst>
                  <a:path w="2" h="3">
                    <a:moveTo>
                      <a:pt x="0" y="0"/>
                    </a:moveTo>
                    <a:cubicBezTo>
                      <a:pt x="0" y="1"/>
                      <a:pt x="0" y="2"/>
                      <a:pt x="0" y="2"/>
                    </a:cubicBezTo>
                    <a:cubicBezTo>
                      <a:pt x="0" y="2"/>
                      <a:pt x="0" y="2"/>
                      <a:pt x="0" y="2"/>
                    </a:cubicBezTo>
                    <a:cubicBezTo>
                      <a:pt x="1" y="3"/>
                      <a:pt x="1" y="3"/>
                      <a:pt x="1" y="3"/>
                    </a:cubicBezTo>
                    <a:cubicBezTo>
                      <a:pt x="1" y="3"/>
                      <a:pt x="2" y="3"/>
                      <a:pt x="2" y="3"/>
                    </a:cubicBezTo>
                    <a:cubicBezTo>
                      <a:pt x="2" y="2"/>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Freeform 132"/>
              <p:cNvSpPr/>
              <p:nvPr/>
            </p:nvSpPr>
            <p:spPr bwMode="auto">
              <a:xfrm>
                <a:off x="6249" y="4767"/>
                <a:ext cx="80" cy="61"/>
              </a:xfrm>
              <a:custGeom>
                <a:gdLst>
                  <a:gd name="T0" fmla="*/ 25 w 34"/>
                  <a:gd name="T1" fmla="*/ 0 h 26"/>
                  <a:gd name="T2" fmla="*/ 17 w 34"/>
                  <a:gd name="T3" fmla="*/ 1 h 26"/>
                  <a:gd name="T4" fmla="*/ 5 w 34"/>
                  <a:gd name="T5" fmla="*/ 13 h 26"/>
                  <a:gd name="T6" fmla="*/ 0 w 34"/>
                  <a:gd name="T7" fmla="*/ 26 h 26"/>
                  <a:gd name="T8" fmla="*/ 2 w 34"/>
                  <a:gd name="T9" fmla="*/ 25 h 26"/>
                  <a:gd name="T10" fmla="*/ 8 w 34"/>
                  <a:gd name="T11" fmla="*/ 25 h 26"/>
                  <a:gd name="T12" fmla="*/ 10 w 34"/>
                  <a:gd name="T13" fmla="*/ 25 h 26"/>
                  <a:gd name="T14" fmla="*/ 16 w 34"/>
                  <a:gd name="T15" fmla="*/ 26 h 26"/>
                  <a:gd name="T16" fmla="*/ 19 w 34"/>
                  <a:gd name="T17" fmla="*/ 25 h 26"/>
                  <a:gd name="T18" fmla="*/ 24 w 34"/>
                  <a:gd name="T19" fmla="*/ 21 h 26"/>
                  <a:gd name="T20" fmla="*/ 26 w 34"/>
                  <a:gd name="T21" fmla="*/ 19 h 26"/>
                  <a:gd name="T22" fmla="*/ 31 w 34"/>
                  <a:gd name="T23" fmla="*/ 17 h 26"/>
                  <a:gd name="T24" fmla="*/ 30 w 34"/>
                  <a:gd name="T25" fmla="*/ 14 h 26"/>
                  <a:gd name="T26" fmla="*/ 33 w 34"/>
                  <a:gd name="T27" fmla="*/ 11 h 26"/>
                  <a:gd name="T28" fmla="*/ 33 w 34"/>
                  <a:gd name="T29" fmla="*/ 10 h 26"/>
                  <a:gd name="T30" fmla="*/ 34 w 34"/>
                  <a:gd name="T31" fmla="*/ 6 h 26"/>
                  <a:gd name="T32" fmla="*/ 30 w 34"/>
                  <a:gd name="T33" fmla="*/ 3 h 26"/>
                  <a:gd name="T34" fmla="*/ 25 w 34"/>
                  <a:gd name="T35" fmla="*/ 0 h 26"/>
                  <a:gd name="T36" fmla="*/ 25 w 34"/>
                  <a:gd name="T37"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26">
                    <a:moveTo>
                      <a:pt x="25" y="0"/>
                    </a:moveTo>
                    <a:cubicBezTo>
                      <a:pt x="23" y="0"/>
                      <a:pt x="19" y="1"/>
                      <a:pt x="17" y="1"/>
                    </a:cubicBezTo>
                    <a:cubicBezTo>
                      <a:pt x="11" y="5"/>
                      <a:pt x="8" y="7"/>
                      <a:pt x="5" y="13"/>
                    </a:cubicBezTo>
                    <a:cubicBezTo>
                      <a:pt x="3" y="17"/>
                      <a:pt x="1" y="22"/>
                      <a:pt x="0" y="26"/>
                    </a:cubicBezTo>
                    <a:cubicBezTo>
                      <a:pt x="1" y="26"/>
                      <a:pt x="2" y="25"/>
                      <a:pt x="2" y="25"/>
                    </a:cubicBezTo>
                    <a:cubicBezTo>
                      <a:pt x="4" y="25"/>
                      <a:pt x="6" y="25"/>
                      <a:pt x="8" y="25"/>
                    </a:cubicBezTo>
                    <a:cubicBezTo>
                      <a:pt x="9" y="25"/>
                      <a:pt x="9" y="25"/>
                      <a:pt x="10" y="25"/>
                    </a:cubicBezTo>
                    <a:cubicBezTo>
                      <a:pt x="12" y="25"/>
                      <a:pt x="14" y="26"/>
                      <a:pt x="16" y="26"/>
                    </a:cubicBezTo>
                    <a:cubicBezTo>
                      <a:pt x="17" y="26"/>
                      <a:pt x="18" y="26"/>
                      <a:pt x="19" y="25"/>
                    </a:cubicBezTo>
                    <a:cubicBezTo>
                      <a:pt x="21" y="24"/>
                      <a:pt x="22" y="23"/>
                      <a:pt x="24" y="21"/>
                    </a:cubicBezTo>
                    <a:cubicBezTo>
                      <a:pt x="25" y="21"/>
                      <a:pt x="25" y="20"/>
                      <a:pt x="26" y="19"/>
                    </a:cubicBezTo>
                    <a:cubicBezTo>
                      <a:pt x="27" y="19"/>
                      <a:pt x="30" y="19"/>
                      <a:pt x="31" y="17"/>
                    </a:cubicBezTo>
                    <a:cubicBezTo>
                      <a:pt x="31" y="17"/>
                      <a:pt x="30" y="15"/>
                      <a:pt x="30" y="14"/>
                    </a:cubicBezTo>
                    <a:cubicBezTo>
                      <a:pt x="31" y="13"/>
                      <a:pt x="32" y="13"/>
                      <a:pt x="33" y="11"/>
                    </a:cubicBezTo>
                    <a:cubicBezTo>
                      <a:pt x="33" y="11"/>
                      <a:pt x="33" y="10"/>
                      <a:pt x="33" y="10"/>
                    </a:cubicBezTo>
                    <a:cubicBezTo>
                      <a:pt x="34" y="8"/>
                      <a:pt x="34" y="7"/>
                      <a:pt x="34" y="6"/>
                    </a:cubicBezTo>
                    <a:cubicBezTo>
                      <a:pt x="33" y="5"/>
                      <a:pt x="31" y="4"/>
                      <a:pt x="30" y="3"/>
                    </a:cubicBezTo>
                    <a:cubicBezTo>
                      <a:pt x="29" y="1"/>
                      <a:pt x="29" y="0"/>
                      <a:pt x="25" y="0"/>
                    </a:cubicBezTo>
                    <a:cubicBezTo>
                      <a:pt x="25" y="0"/>
                      <a:pt x="25"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133"/>
              <p:cNvSpPr/>
              <p:nvPr/>
            </p:nvSpPr>
            <p:spPr bwMode="auto">
              <a:xfrm>
                <a:off x="6039" y="4696"/>
                <a:ext cx="35" cy="42"/>
              </a:xfrm>
              <a:custGeom>
                <a:gdLst>
                  <a:gd name="T0" fmla="*/ 2 w 15"/>
                  <a:gd name="T1" fmla="*/ 0 h 18"/>
                  <a:gd name="T2" fmla="*/ 4 w 15"/>
                  <a:gd name="T3" fmla="*/ 8 h 18"/>
                  <a:gd name="T4" fmla="*/ 4 w 15"/>
                  <a:gd name="T5" fmla="*/ 8 h 18"/>
                  <a:gd name="T6" fmla="*/ 2 w 15"/>
                  <a:gd name="T7" fmla="*/ 17 h 18"/>
                  <a:gd name="T8" fmla="*/ 4 w 15"/>
                  <a:gd name="T9" fmla="*/ 18 h 18"/>
                  <a:gd name="T10" fmla="*/ 10 w 15"/>
                  <a:gd name="T11" fmla="*/ 12 h 18"/>
                  <a:gd name="T12" fmla="*/ 10 w 15"/>
                  <a:gd name="T13" fmla="*/ 12 h 18"/>
                  <a:gd name="T14" fmla="*/ 2 w 15"/>
                  <a:gd name="T15" fmla="*/ 0 h 1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2" y="0"/>
                    </a:moveTo>
                    <a:cubicBezTo>
                      <a:pt x="2" y="3"/>
                      <a:pt x="1" y="7"/>
                      <a:pt x="4" y="8"/>
                    </a:cubicBezTo>
                    <a:cubicBezTo>
                      <a:pt x="4" y="8"/>
                      <a:pt x="4" y="8"/>
                      <a:pt x="4" y="8"/>
                    </a:cubicBezTo>
                    <a:cubicBezTo>
                      <a:pt x="0" y="8"/>
                      <a:pt x="0" y="15"/>
                      <a:pt x="2" y="17"/>
                    </a:cubicBezTo>
                    <a:cubicBezTo>
                      <a:pt x="3" y="18"/>
                      <a:pt x="3" y="18"/>
                      <a:pt x="4" y="18"/>
                    </a:cubicBezTo>
                    <a:cubicBezTo>
                      <a:pt x="7" y="18"/>
                      <a:pt x="9" y="15"/>
                      <a:pt x="10" y="12"/>
                    </a:cubicBezTo>
                    <a:cubicBezTo>
                      <a:pt x="10" y="12"/>
                      <a:pt x="10" y="12"/>
                      <a:pt x="10" y="12"/>
                    </a:cubicBezTo>
                    <a:cubicBezTo>
                      <a:pt x="15" y="1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Freeform 134"/>
              <p:cNvSpPr/>
              <p:nvPr/>
            </p:nvSpPr>
            <p:spPr bwMode="auto">
              <a:xfrm>
                <a:off x="4796" y="4736"/>
                <a:ext cx="85" cy="21"/>
              </a:xfrm>
              <a:custGeom>
                <a:gdLst>
                  <a:gd name="T0" fmla="*/ 13 w 36"/>
                  <a:gd name="T1" fmla="*/ 0 h 9"/>
                  <a:gd name="T2" fmla="*/ 2 w 36"/>
                  <a:gd name="T3" fmla="*/ 5 h 9"/>
                  <a:gd name="T4" fmla="*/ 4 w 36"/>
                  <a:gd name="T5" fmla="*/ 8 h 9"/>
                  <a:gd name="T6" fmla="*/ 12 w 36"/>
                  <a:gd name="T7" fmla="*/ 9 h 9"/>
                  <a:gd name="T8" fmla="*/ 36 w 36"/>
                  <a:gd name="T9" fmla="*/ 3 h 9"/>
                  <a:gd name="T10" fmla="*/ 29 w 36"/>
                  <a:gd name="T11" fmla="*/ 1 h 9"/>
                  <a:gd name="T12" fmla="*/ 24 w 36"/>
                  <a:gd name="T13" fmla="*/ 1 h 9"/>
                  <a:gd name="T14" fmla="*/ 13 w 36"/>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9">
                    <a:moveTo>
                      <a:pt x="13" y="0"/>
                    </a:moveTo>
                    <a:cubicBezTo>
                      <a:pt x="8" y="0"/>
                      <a:pt x="4" y="1"/>
                      <a:pt x="2" y="5"/>
                    </a:cubicBezTo>
                    <a:cubicBezTo>
                      <a:pt x="0" y="8"/>
                      <a:pt x="2" y="7"/>
                      <a:pt x="4" y="8"/>
                    </a:cubicBezTo>
                    <a:cubicBezTo>
                      <a:pt x="7" y="9"/>
                      <a:pt x="10" y="9"/>
                      <a:pt x="12" y="9"/>
                    </a:cubicBezTo>
                    <a:cubicBezTo>
                      <a:pt x="20" y="9"/>
                      <a:pt x="28" y="6"/>
                      <a:pt x="36" y="3"/>
                    </a:cubicBezTo>
                    <a:cubicBezTo>
                      <a:pt x="34" y="1"/>
                      <a:pt x="31" y="1"/>
                      <a:pt x="29" y="1"/>
                    </a:cubicBezTo>
                    <a:cubicBezTo>
                      <a:pt x="27" y="1"/>
                      <a:pt x="25" y="1"/>
                      <a:pt x="24" y="1"/>
                    </a:cubicBezTo>
                    <a:cubicBezTo>
                      <a:pt x="21" y="1"/>
                      <a:pt x="17"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135"/>
              <p:cNvSpPr/>
              <p:nvPr/>
            </p:nvSpPr>
            <p:spPr bwMode="auto">
              <a:xfrm>
                <a:off x="5979" y="4646"/>
                <a:ext cx="10" cy="19"/>
              </a:xfrm>
              <a:custGeom>
                <a:gdLst>
                  <a:gd name="T0" fmla="*/ 4 w 4"/>
                  <a:gd name="T1" fmla="*/ 0 h 8"/>
                  <a:gd name="T2" fmla="*/ 0 w 4"/>
                  <a:gd name="T3" fmla="*/ 8 h 8"/>
                  <a:gd name="T4" fmla="*/ 4 w 4"/>
                  <a:gd name="T5" fmla="*/ 0 h 8"/>
                </a:gdLst>
                <a:cxnLst>
                  <a:cxn ang="0">
                    <a:pos x="T0" y="T1"/>
                  </a:cxn>
                  <a:cxn ang="0">
                    <a:pos x="T2" y="T3"/>
                  </a:cxn>
                  <a:cxn ang="0">
                    <a:pos x="T4" y="T5"/>
                  </a:cxn>
                </a:cxnLst>
                <a:rect l="0" t="0" r="r" b="b"/>
                <a:pathLst>
                  <a:path w="4" h="8">
                    <a:moveTo>
                      <a:pt x="4" y="0"/>
                    </a:moveTo>
                    <a:cubicBezTo>
                      <a:pt x="2" y="0"/>
                      <a:pt x="0" y="6"/>
                      <a:pt x="0" y="8"/>
                    </a:cubicBezTo>
                    <a:cubicBezTo>
                      <a:pt x="1" y="5"/>
                      <a:pt x="2"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136"/>
              <p:cNvSpPr/>
              <p:nvPr/>
            </p:nvSpPr>
            <p:spPr bwMode="auto">
              <a:xfrm>
                <a:off x="5970" y="4665"/>
                <a:ext cx="9" cy="21"/>
              </a:xfrm>
              <a:custGeom>
                <a:gdLst>
                  <a:gd name="T0" fmla="*/ 4 w 4"/>
                  <a:gd name="T1" fmla="*/ 0 h 9"/>
                  <a:gd name="T2" fmla="*/ 0 w 4"/>
                  <a:gd name="T3" fmla="*/ 9 h 9"/>
                  <a:gd name="T4" fmla="*/ 4 w 4"/>
                  <a:gd name="T5" fmla="*/ 0 h 9"/>
                  <a:gd name="T6" fmla="*/ 4 w 4"/>
                  <a:gd name="T7" fmla="*/ 0 h 9"/>
                </a:gdLst>
                <a:cxnLst>
                  <a:cxn ang="0">
                    <a:pos x="T0" y="T1"/>
                  </a:cxn>
                  <a:cxn ang="0">
                    <a:pos x="T2" y="T3"/>
                  </a:cxn>
                  <a:cxn ang="0">
                    <a:pos x="T4" y="T5"/>
                  </a:cxn>
                  <a:cxn ang="0">
                    <a:pos x="T6" y="T7"/>
                  </a:cxn>
                </a:cxnLst>
                <a:rect l="0" t="0" r="r" b="b"/>
                <a:pathLst>
                  <a:path w="4" h="9">
                    <a:moveTo>
                      <a:pt x="4" y="0"/>
                    </a:moveTo>
                    <a:cubicBezTo>
                      <a:pt x="1" y="0"/>
                      <a:pt x="0" y="7"/>
                      <a:pt x="0" y="9"/>
                    </a:cubicBezTo>
                    <a:cubicBezTo>
                      <a:pt x="1" y="6"/>
                      <a:pt x="2" y="3"/>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137"/>
              <p:cNvSpPr/>
              <p:nvPr/>
            </p:nvSpPr>
            <p:spPr bwMode="auto">
              <a:xfrm>
                <a:off x="5207" y="4807"/>
                <a:ext cx="191" cy="52"/>
              </a:xfrm>
              <a:custGeom>
                <a:gdLst>
                  <a:gd name="T0" fmla="*/ 77 w 81"/>
                  <a:gd name="T1" fmla="*/ 0 h 22"/>
                  <a:gd name="T2" fmla="*/ 79 w 81"/>
                  <a:gd name="T3" fmla="*/ 4 h 22"/>
                  <a:gd name="T4" fmla="*/ 68 w 81"/>
                  <a:gd name="T5" fmla="*/ 11 h 22"/>
                  <a:gd name="T6" fmla="*/ 68 w 81"/>
                  <a:gd name="T7" fmla="*/ 13 h 22"/>
                  <a:gd name="T8" fmla="*/ 64 w 81"/>
                  <a:gd name="T9" fmla="*/ 14 h 22"/>
                  <a:gd name="T10" fmla="*/ 61 w 81"/>
                  <a:gd name="T11" fmla="*/ 13 h 22"/>
                  <a:gd name="T12" fmla="*/ 50 w 81"/>
                  <a:gd name="T13" fmla="*/ 10 h 22"/>
                  <a:gd name="T14" fmla="*/ 47 w 81"/>
                  <a:gd name="T15" fmla="*/ 10 h 22"/>
                  <a:gd name="T16" fmla="*/ 43 w 81"/>
                  <a:gd name="T17" fmla="*/ 13 h 22"/>
                  <a:gd name="T18" fmla="*/ 43 w 81"/>
                  <a:gd name="T19" fmla="*/ 13 h 22"/>
                  <a:gd name="T20" fmla="*/ 34 w 81"/>
                  <a:gd name="T21" fmla="*/ 9 h 22"/>
                  <a:gd name="T22" fmla="*/ 19 w 81"/>
                  <a:gd name="T23" fmla="*/ 7 h 22"/>
                  <a:gd name="T24" fmla="*/ 14 w 81"/>
                  <a:gd name="T25" fmla="*/ 7 h 22"/>
                  <a:gd name="T26" fmla="*/ 2 w 81"/>
                  <a:gd name="T27" fmla="*/ 13 h 22"/>
                  <a:gd name="T28" fmla="*/ 10 w 81"/>
                  <a:gd name="T29" fmla="*/ 19 h 22"/>
                  <a:gd name="T30" fmla="*/ 14 w 81"/>
                  <a:gd name="T31" fmla="*/ 19 h 22"/>
                  <a:gd name="T32" fmla="*/ 23 w 81"/>
                  <a:gd name="T33" fmla="*/ 18 h 22"/>
                  <a:gd name="T34" fmla="*/ 26 w 81"/>
                  <a:gd name="T35" fmla="*/ 19 h 22"/>
                  <a:gd name="T36" fmla="*/ 30 w 81"/>
                  <a:gd name="T37" fmla="*/ 22 h 22"/>
                  <a:gd name="T38" fmla="*/ 31 w 81"/>
                  <a:gd name="T39" fmla="*/ 22 h 22"/>
                  <a:gd name="T40" fmla="*/ 40 w 81"/>
                  <a:gd name="T41" fmla="*/ 19 h 22"/>
                  <a:gd name="T42" fmla="*/ 41 w 81"/>
                  <a:gd name="T43" fmla="*/ 18 h 22"/>
                  <a:gd name="T44" fmla="*/ 44 w 81"/>
                  <a:gd name="T45" fmla="*/ 20 h 22"/>
                  <a:gd name="T46" fmla="*/ 48 w 81"/>
                  <a:gd name="T47" fmla="*/ 21 h 22"/>
                  <a:gd name="T48" fmla="*/ 48 w 81"/>
                  <a:gd name="T49" fmla="*/ 21 h 22"/>
                  <a:gd name="T50" fmla="*/ 56 w 81"/>
                  <a:gd name="T51" fmla="*/ 18 h 22"/>
                  <a:gd name="T52" fmla="*/ 69 w 81"/>
                  <a:gd name="T53" fmla="*/ 15 h 22"/>
                  <a:gd name="T54" fmla="*/ 75 w 81"/>
                  <a:gd name="T55" fmla="*/ 14 h 22"/>
                  <a:gd name="T56" fmla="*/ 77 w 81"/>
                  <a:gd name="T57" fmla="*/ 11 h 22"/>
                  <a:gd name="T58" fmla="*/ 80 w 81"/>
                  <a:gd name="T59" fmla="*/ 7 h 22"/>
                  <a:gd name="T60" fmla="*/ 80 w 81"/>
                  <a:gd name="T61" fmla="*/ 7 h 22"/>
                  <a:gd name="T62" fmla="*/ 81 w 81"/>
                  <a:gd name="T63" fmla="*/ 6 h 22"/>
                  <a:gd name="T64" fmla="*/ 77 w 81"/>
                  <a:gd name="T65"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 h="22">
                    <a:moveTo>
                      <a:pt x="77" y="0"/>
                    </a:moveTo>
                    <a:cubicBezTo>
                      <a:pt x="77" y="2"/>
                      <a:pt x="78" y="3"/>
                      <a:pt x="79" y="4"/>
                    </a:cubicBezTo>
                    <a:cubicBezTo>
                      <a:pt x="75" y="6"/>
                      <a:pt x="71" y="7"/>
                      <a:pt x="68" y="11"/>
                    </a:cubicBezTo>
                    <a:cubicBezTo>
                      <a:pt x="68" y="11"/>
                      <a:pt x="69" y="12"/>
                      <a:pt x="68" y="13"/>
                    </a:cubicBezTo>
                    <a:cubicBezTo>
                      <a:pt x="67" y="14"/>
                      <a:pt x="66" y="14"/>
                      <a:pt x="64" y="14"/>
                    </a:cubicBezTo>
                    <a:cubicBezTo>
                      <a:pt x="63" y="14"/>
                      <a:pt x="62" y="14"/>
                      <a:pt x="61" y="13"/>
                    </a:cubicBezTo>
                    <a:cubicBezTo>
                      <a:pt x="57" y="12"/>
                      <a:pt x="54" y="10"/>
                      <a:pt x="50" y="10"/>
                    </a:cubicBezTo>
                    <a:cubicBezTo>
                      <a:pt x="49" y="10"/>
                      <a:pt x="48" y="10"/>
                      <a:pt x="47" y="10"/>
                    </a:cubicBezTo>
                    <a:cubicBezTo>
                      <a:pt x="45" y="11"/>
                      <a:pt x="45" y="13"/>
                      <a:pt x="43" y="13"/>
                    </a:cubicBezTo>
                    <a:cubicBezTo>
                      <a:pt x="43" y="13"/>
                      <a:pt x="43" y="13"/>
                      <a:pt x="43" y="13"/>
                    </a:cubicBezTo>
                    <a:cubicBezTo>
                      <a:pt x="40" y="12"/>
                      <a:pt x="37" y="10"/>
                      <a:pt x="34" y="9"/>
                    </a:cubicBezTo>
                    <a:cubicBezTo>
                      <a:pt x="29" y="6"/>
                      <a:pt x="25" y="7"/>
                      <a:pt x="19" y="7"/>
                    </a:cubicBezTo>
                    <a:cubicBezTo>
                      <a:pt x="18" y="7"/>
                      <a:pt x="16" y="7"/>
                      <a:pt x="14" y="7"/>
                    </a:cubicBezTo>
                    <a:cubicBezTo>
                      <a:pt x="9" y="7"/>
                      <a:pt x="3" y="7"/>
                      <a:pt x="2" y="13"/>
                    </a:cubicBezTo>
                    <a:cubicBezTo>
                      <a:pt x="0" y="18"/>
                      <a:pt x="5" y="19"/>
                      <a:pt x="10" y="19"/>
                    </a:cubicBezTo>
                    <a:cubicBezTo>
                      <a:pt x="11" y="19"/>
                      <a:pt x="12" y="19"/>
                      <a:pt x="14" y="19"/>
                    </a:cubicBezTo>
                    <a:cubicBezTo>
                      <a:pt x="16" y="19"/>
                      <a:pt x="20" y="18"/>
                      <a:pt x="23" y="18"/>
                    </a:cubicBezTo>
                    <a:cubicBezTo>
                      <a:pt x="24" y="18"/>
                      <a:pt x="25" y="18"/>
                      <a:pt x="26" y="19"/>
                    </a:cubicBezTo>
                    <a:cubicBezTo>
                      <a:pt x="28" y="19"/>
                      <a:pt x="28" y="21"/>
                      <a:pt x="30" y="22"/>
                    </a:cubicBezTo>
                    <a:cubicBezTo>
                      <a:pt x="30" y="22"/>
                      <a:pt x="31" y="22"/>
                      <a:pt x="31" y="22"/>
                    </a:cubicBezTo>
                    <a:cubicBezTo>
                      <a:pt x="34" y="22"/>
                      <a:pt x="37" y="20"/>
                      <a:pt x="40" y="19"/>
                    </a:cubicBezTo>
                    <a:cubicBezTo>
                      <a:pt x="40" y="18"/>
                      <a:pt x="40" y="18"/>
                      <a:pt x="41" y="18"/>
                    </a:cubicBezTo>
                    <a:cubicBezTo>
                      <a:pt x="42" y="18"/>
                      <a:pt x="43" y="19"/>
                      <a:pt x="44" y="20"/>
                    </a:cubicBezTo>
                    <a:cubicBezTo>
                      <a:pt x="45" y="20"/>
                      <a:pt x="47" y="21"/>
                      <a:pt x="48" y="21"/>
                    </a:cubicBezTo>
                    <a:cubicBezTo>
                      <a:pt x="48" y="21"/>
                      <a:pt x="48" y="21"/>
                      <a:pt x="48" y="21"/>
                    </a:cubicBezTo>
                    <a:cubicBezTo>
                      <a:pt x="50" y="21"/>
                      <a:pt x="53" y="19"/>
                      <a:pt x="56" y="18"/>
                    </a:cubicBezTo>
                    <a:cubicBezTo>
                      <a:pt x="60" y="17"/>
                      <a:pt x="65" y="16"/>
                      <a:pt x="69" y="15"/>
                    </a:cubicBezTo>
                    <a:cubicBezTo>
                      <a:pt x="71" y="15"/>
                      <a:pt x="74" y="15"/>
                      <a:pt x="75" y="14"/>
                    </a:cubicBezTo>
                    <a:cubicBezTo>
                      <a:pt x="77" y="13"/>
                      <a:pt x="77" y="12"/>
                      <a:pt x="77" y="11"/>
                    </a:cubicBezTo>
                    <a:cubicBezTo>
                      <a:pt x="78" y="10"/>
                      <a:pt x="80" y="7"/>
                      <a:pt x="80" y="7"/>
                    </a:cubicBezTo>
                    <a:cubicBezTo>
                      <a:pt x="80" y="7"/>
                      <a:pt x="80" y="7"/>
                      <a:pt x="80" y="7"/>
                    </a:cubicBezTo>
                    <a:cubicBezTo>
                      <a:pt x="80" y="7"/>
                      <a:pt x="81" y="7"/>
                      <a:pt x="81" y="6"/>
                    </a:cubicBezTo>
                    <a:cubicBezTo>
                      <a:pt x="81" y="5"/>
                      <a:pt x="78" y="1"/>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Freeform 138"/>
              <p:cNvSpPr/>
              <p:nvPr/>
            </p:nvSpPr>
            <p:spPr bwMode="auto">
              <a:xfrm>
                <a:off x="4900" y="4807"/>
                <a:ext cx="73" cy="47"/>
              </a:xfrm>
              <a:custGeom>
                <a:gdLst>
                  <a:gd name="T0" fmla="*/ 16 w 31"/>
                  <a:gd name="T1" fmla="*/ 0 h 20"/>
                  <a:gd name="T2" fmla="*/ 0 w 31"/>
                  <a:gd name="T3" fmla="*/ 2 h 20"/>
                  <a:gd name="T4" fmla="*/ 11 w 31"/>
                  <a:gd name="T5" fmla="*/ 10 h 20"/>
                  <a:gd name="T6" fmla="*/ 16 w 31"/>
                  <a:gd name="T7" fmla="*/ 15 h 20"/>
                  <a:gd name="T8" fmla="*/ 16 w 31"/>
                  <a:gd name="T9" fmla="*/ 20 h 20"/>
                  <a:gd name="T10" fmla="*/ 17 w 31"/>
                  <a:gd name="T11" fmla="*/ 20 h 20"/>
                  <a:gd name="T12" fmla="*/ 21 w 31"/>
                  <a:gd name="T13" fmla="*/ 14 h 20"/>
                  <a:gd name="T14" fmla="*/ 31 w 31"/>
                  <a:gd name="T15" fmla="*/ 7 h 20"/>
                  <a:gd name="T16" fmla="*/ 27 w 31"/>
                  <a:gd name="T17" fmla="*/ 4 h 20"/>
                  <a:gd name="T18" fmla="*/ 16 w 31"/>
                  <a:gd name="T19"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20">
                    <a:moveTo>
                      <a:pt x="16" y="0"/>
                    </a:moveTo>
                    <a:cubicBezTo>
                      <a:pt x="10" y="0"/>
                      <a:pt x="5" y="2"/>
                      <a:pt x="0" y="2"/>
                    </a:cubicBezTo>
                    <a:cubicBezTo>
                      <a:pt x="4" y="8"/>
                      <a:pt x="4" y="8"/>
                      <a:pt x="11" y="10"/>
                    </a:cubicBezTo>
                    <a:cubicBezTo>
                      <a:pt x="12" y="10"/>
                      <a:pt x="16" y="13"/>
                      <a:pt x="16" y="15"/>
                    </a:cubicBezTo>
                    <a:cubicBezTo>
                      <a:pt x="16" y="15"/>
                      <a:pt x="15" y="19"/>
                      <a:pt x="16" y="20"/>
                    </a:cubicBezTo>
                    <a:cubicBezTo>
                      <a:pt x="16" y="20"/>
                      <a:pt x="16" y="20"/>
                      <a:pt x="17" y="20"/>
                    </a:cubicBezTo>
                    <a:cubicBezTo>
                      <a:pt x="18" y="20"/>
                      <a:pt x="20" y="15"/>
                      <a:pt x="21" y="14"/>
                    </a:cubicBezTo>
                    <a:cubicBezTo>
                      <a:pt x="23" y="13"/>
                      <a:pt x="31" y="10"/>
                      <a:pt x="31" y="7"/>
                    </a:cubicBezTo>
                    <a:cubicBezTo>
                      <a:pt x="27" y="4"/>
                      <a:pt x="27" y="4"/>
                      <a:pt x="27" y="4"/>
                    </a:cubicBezTo>
                    <a:cubicBezTo>
                      <a:pt x="24" y="1"/>
                      <a:pt x="20"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139"/>
              <p:cNvSpPr/>
              <p:nvPr/>
            </p:nvSpPr>
            <p:spPr bwMode="auto">
              <a:xfrm>
                <a:off x="3966" y="4237"/>
                <a:ext cx="10" cy="5"/>
              </a:xfrm>
              <a:custGeom>
                <a:gdLst>
                  <a:gd name="T0" fmla="*/ 1 w 4"/>
                  <a:gd name="T1" fmla="*/ 0 h 2"/>
                  <a:gd name="T2" fmla="*/ 0 w 4"/>
                  <a:gd name="T3" fmla="*/ 1 h 2"/>
                  <a:gd name="T4" fmla="*/ 4 w 4"/>
                  <a:gd name="T5" fmla="*/ 2 h 2"/>
                  <a:gd name="T6" fmla="*/ 1 w 4"/>
                  <a:gd name="T7" fmla="*/ 0 h 2"/>
                </a:gdLst>
                <a:cxnLst>
                  <a:cxn ang="0">
                    <a:pos x="T0" y="T1"/>
                  </a:cxn>
                  <a:cxn ang="0">
                    <a:pos x="T2" y="T3"/>
                  </a:cxn>
                  <a:cxn ang="0">
                    <a:pos x="T4" y="T5"/>
                  </a:cxn>
                  <a:cxn ang="0">
                    <a:pos x="T6" y="T7"/>
                  </a:cxn>
                </a:cxnLst>
                <a:rect l="0" t="0" r="r" b="b"/>
                <a:pathLst>
                  <a:path w="4" h="2">
                    <a:moveTo>
                      <a:pt x="1" y="0"/>
                    </a:moveTo>
                    <a:cubicBezTo>
                      <a:pt x="1" y="0"/>
                      <a:pt x="1" y="0"/>
                      <a:pt x="0" y="1"/>
                    </a:cubicBezTo>
                    <a:cubicBezTo>
                      <a:pt x="1" y="1"/>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Freeform 140"/>
              <p:cNvSpPr/>
              <p:nvPr/>
            </p:nvSpPr>
            <p:spPr bwMode="auto">
              <a:xfrm>
                <a:off x="4961" y="4842"/>
                <a:ext cx="7" cy="7"/>
              </a:xfrm>
              <a:custGeom>
                <a:gdLst>
                  <a:gd name="T0" fmla="*/ 0 w 3"/>
                  <a:gd name="T1" fmla="*/ 0 h 3"/>
                  <a:gd name="T2" fmla="*/ 0 w 3"/>
                  <a:gd name="T3" fmla="*/ 0 h 3"/>
                  <a:gd name="T4" fmla="*/ 2 w 3"/>
                  <a:gd name="T5" fmla="*/ 3 h 3"/>
                  <a:gd name="T6" fmla="*/ 0 w 3"/>
                  <a:gd name="T7" fmla="*/ 0 h 3"/>
                </a:gdLst>
                <a:cxnLst>
                  <a:cxn ang="0">
                    <a:pos x="T0" y="T1"/>
                  </a:cxn>
                  <a:cxn ang="0">
                    <a:pos x="T2" y="T3"/>
                  </a:cxn>
                  <a:cxn ang="0">
                    <a:pos x="T4" y="T5"/>
                  </a:cxn>
                  <a:cxn ang="0">
                    <a:pos x="T6" y="T7"/>
                  </a:cxn>
                </a:cxnLst>
                <a:rect l="0" t="0" r="r" b="b"/>
                <a:pathLst>
                  <a:path w="3" h="3">
                    <a:moveTo>
                      <a:pt x="0" y="0"/>
                    </a:moveTo>
                    <a:cubicBezTo>
                      <a:pt x="0" y="0"/>
                      <a:pt x="0" y="0"/>
                      <a:pt x="0" y="0"/>
                    </a:cubicBezTo>
                    <a:cubicBezTo>
                      <a:pt x="1" y="1"/>
                      <a:pt x="1" y="2"/>
                      <a:pt x="2" y="3"/>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141"/>
              <p:cNvSpPr/>
              <p:nvPr/>
            </p:nvSpPr>
            <p:spPr bwMode="auto">
              <a:xfrm>
                <a:off x="4451" y="4507"/>
                <a:ext cx="9" cy="4"/>
              </a:xfrm>
              <a:custGeom>
                <a:gdLst>
                  <a:gd name="T0" fmla="*/ 2 w 4"/>
                  <a:gd name="T1" fmla="*/ 0 h 2"/>
                  <a:gd name="T2" fmla="*/ 0 w 4"/>
                  <a:gd name="T3" fmla="*/ 1 h 2"/>
                  <a:gd name="T4" fmla="*/ 3 w 4"/>
                  <a:gd name="T5" fmla="*/ 2 h 2"/>
                  <a:gd name="T6" fmla="*/ 2 w 4"/>
                  <a:gd name="T7" fmla="*/ 0 h 2"/>
                </a:gdLst>
                <a:cxnLst>
                  <a:cxn ang="0">
                    <a:pos x="T0" y="T1"/>
                  </a:cxn>
                  <a:cxn ang="0">
                    <a:pos x="T2" y="T3"/>
                  </a:cxn>
                  <a:cxn ang="0">
                    <a:pos x="T4" y="T5"/>
                  </a:cxn>
                  <a:cxn ang="0">
                    <a:pos x="T6" y="T7"/>
                  </a:cxn>
                </a:cxnLst>
                <a:rect l="0" t="0" r="r" b="b"/>
                <a:pathLst>
                  <a:path w="4" h="2">
                    <a:moveTo>
                      <a:pt x="2" y="0"/>
                    </a:moveTo>
                    <a:cubicBezTo>
                      <a:pt x="1" y="0"/>
                      <a:pt x="0" y="0"/>
                      <a:pt x="0" y="1"/>
                    </a:cubicBezTo>
                    <a:cubicBezTo>
                      <a:pt x="1" y="2"/>
                      <a:pt x="2" y="2"/>
                      <a:pt x="3" y="2"/>
                    </a:cubicBezTo>
                    <a:cubicBezTo>
                      <a:pt x="3" y="2"/>
                      <a:pt x="4"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142"/>
              <p:cNvSpPr/>
              <p:nvPr/>
            </p:nvSpPr>
            <p:spPr bwMode="auto">
              <a:xfrm>
                <a:off x="4259" y="4351"/>
                <a:ext cx="17" cy="7"/>
              </a:xfrm>
              <a:custGeom>
                <a:gdLst>
                  <a:gd name="T0" fmla="*/ 3 w 7"/>
                  <a:gd name="T1" fmla="*/ 0 h 3"/>
                  <a:gd name="T2" fmla="*/ 0 w 7"/>
                  <a:gd name="T3" fmla="*/ 3 h 3"/>
                  <a:gd name="T4" fmla="*/ 7 w 7"/>
                  <a:gd name="T5" fmla="*/ 1 h 3"/>
                  <a:gd name="T6" fmla="*/ 3 w 7"/>
                  <a:gd name="T7" fmla="*/ 0 h 3"/>
                </a:gdLst>
                <a:cxnLst>
                  <a:cxn ang="0">
                    <a:pos x="T0" y="T1"/>
                  </a:cxn>
                  <a:cxn ang="0">
                    <a:pos x="T2" y="T3"/>
                  </a:cxn>
                  <a:cxn ang="0">
                    <a:pos x="T4" y="T5"/>
                  </a:cxn>
                  <a:cxn ang="0">
                    <a:pos x="T6" y="T7"/>
                  </a:cxn>
                </a:cxnLst>
                <a:rect l="0" t="0" r="r" b="b"/>
                <a:pathLst>
                  <a:path w="7" h="3">
                    <a:moveTo>
                      <a:pt x="3" y="0"/>
                    </a:moveTo>
                    <a:cubicBezTo>
                      <a:pt x="2" y="0"/>
                      <a:pt x="1" y="1"/>
                      <a:pt x="0" y="3"/>
                    </a:cubicBezTo>
                    <a:cubicBezTo>
                      <a:pt x="2" y="2"/>
                      <a:pt x="4" y="1"/>
                      <a:pt x="7"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143"/>
              <p:cNvSpPr/>
              <p:nvPr/>
            </p:nvSpPr>
            <p:spPr bwMode="auto">
              <a:xfrm>
                <a:off x="4351" y="4424"/>
                <a:ext cx="104" cy="95"/>
              </a:xfrm>
              <a:custGeom>
                <a:gdLst>
                  <a:gd name="T0" fmla="*/ 21 w 44"/>
                  <a:gd name="T1" fmla="*/ 0 h 40"/>
                  <a:gd name="T2" fmla="*/ 16 w 44"/>
                  <a:gd name="T3" fmla="*/ 1 h 40"/>
                  <a:gd name="T4" fmla="*/ 18 w 44"/>
                  <a:gd name="T5" fmla="*/ 7 h 40"/>
                  <a:gd name="T6" fmla="*/ 13 w 44"/>
                  <a:gd name="T7" fmla="*/ 1 h 40"/>
                  <a:gd name="T8" fmla="*/ 10 w 44"/>
                  <a:gd name="T9" fmla="*/ 2 h 40"/>
                  <a:gd name="T10" fmla="*/ 8 w 44"/>
                  <a:gd name="T11" fmla="*/ 4 h 40"/>
                  <a:gd name="T12" fmla="*/ 8 w 44"/>
                  <a:gd name="T13" fmla="*/ 8 h 40"/>
                  <a:gd name="T14" fmla="*/ 6 w 44"/>
                  <a:gd name="T15" fmla="*/ 14 h 40"/>
                  <a:gd name="T16" fmla="*/ 8 w 44"/>
                  <a:gd name="T17" fmla="*/ 15 h 40"/>
                  <a:gd name="T18" fmla="*/ 8 w 44"/>
                  <a:gd name="T19" fmla="*/ 15 h 40"/>
                  <a:gd name="T20" fmla="*/ 11 w 44"/>
                  <a:gd name="T21" fmla="*/ 15 h 40"/>
                  <a:gd name="T22" fmla="*/ 13 w 44"/>
                  <a:gd name="T23" fmla="*/ 14 h 40"/>
                  <a:gd name="T24" fmla="*/ 14 w 44"/>
                  <a:gd name="T25" fmla="*/ 15 h 40"/>
                  <a:gd name="T26" fmla="*/ 15 w 44"/>
                  <a:gd name="T27" fmla="*/ 15 h 40"/>
                  <a:gd name="T28" fmla="*/ 16 w 44"/>
                  <a:gd name="T29" fmla="*/ 15 h 40"/>
                  <a:gd name="T30" fmla="*/ 16 w 44"/>
                  <a:gd name="T31" fmla="*/ 15 h 40"/>
                  <a:gd name="T32" fmla="*/ 18 w 44"/>
                  <a:gd name="T33" fmla="*/ 16 h 40"/>
                  <a:gd name="T34" fmla="*/ 19 w 44"/>
                  <a:gd name="T35" fmla="*/ 21 h 40"/>
                  <a:gd name="T36" fmla="*/ 22 w 44"/>
                  <a:gd name="T37" fmla="*/ 25 h 40"/>
                  <a:gd name="T38" fmla="*/ 23 w 44"/>
                  <a:gd name="T39" fmla="*/ 31 h 40"/>
                  <a:gd name="T40" fmla="*/ 24 w 44"/>
                  <a:gd name="T41" fmla="*/ 33 h 40"/>
                  <a:gd name="T42" fmla="*/ 28 w 44"/>
                  <a:gd name="T43" fmla="*/ 34 h 40"/>
                  <a:gd name="T44" fmla="*/ 40 w 44"/>
                  <a:gd name="T45" fmla="*/ 40 h 40"/>
                  <a:gd name="T46" fmla="*/ 42 w 44"/>
                  <a:gd name="T47" fmla="*/ 39 h 40"/>
                  <a:gd name="T48" fmla="*/ 39 w 44"/>
                  <a:gd name="T49" fmla="*/ 35 h 40"/>
                  <a:gd name="T50" fmla="*/ 44 w 44"/>
                  <a:gd name="T51" fmla="*/ 27 h 40"/>
                  <a:gd name="T52" fmla="*/ 31 w 44"/>
                  <a:gd name="T53" fmla="*/ 22 h 40"/>
                  <a:gd name="T54" fmla="*/ 27 w 44"/>
                  <a:gd name="T55" fmla="*/ 12 h 40"/>
                  <a:gd name="T56" fmla="*/ 24 w 44"/>
                  <a:gd name="T57" fmla="*/ 2 h 40"/>
                  <a:gd name="T58" fmla="*/ 21 w 44"/>
                  <a:gd name="T59"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 h="40">
                    <a:moveTo>
                      <a:pt x="21" y="0"/>
                    </a:moveTo>
                    <a:cubicBezTo>
                      <a:pt x="19" y="0"/>
                      <a:pt x="18" y="1"/>
                      <a:pt x="16" y="1"/>
                    </a:cubicBezTo>
                    <a:cubicBezTo>
                      <a:pt x="17" y="3"/>
                      <a:pt x="18" y="5"/>
                      <a:pt x="18" y="7"/>
                    </a:cubicBezTo>
                    <a:cubicBezTo>
                      <a:pt x="16" y="4"/>
                      <a:pt x="15" y="1"/>
                      <a:pt x="13" y="1"/>
                    </a:cubicBezTo>
                    <a:cubicBezTo>
                      <a:pt x="12" y="1"/>
                      <a:pt x="11" y="1"/>
                      <a:pt x="10" y="2"/>
                    </a:cubicBezTo>
                    <a:cubicBezTo>
                      <a:pt x="9" y="2"/>
                      <a:pt x="8" y="3"/>
                      <a:pt x="8" y="4"/>
                    </a:cubicBezTo>
                    <a:cubicBezTo>
                      <a:pt x="7" y="6"/>
                      <a:pt x="10" y="6"/>
                      <a:pt x="8" y="8"/>
                    </a:cubicBezTo>
                    <a:cubicBezTo>
                      <a:pt x="3" y="12"/>
                      <a:pt x="0" y="13"/>
                      <a:pt x="6" y="14"/>
                    </a:cubicBezTo>
                    <a:cubicBezTo>
                      <a:pt x="6" y="15"/>
                      <a:pt x="7" y="15"/>
                      <a:pt x="8" y="15"/>
                    </a:cubicBezTo>
                    <a:cubicBezTo>
                      <a:pt x="8" y="15"/>
                      <a:pt x="8" y="15"/>
                      <a:pt x="8" y="15"/>
                    </a:cubicBezTo>
                    <a:cubicBezTo>
                      <a:pt x="9" y="15"/>
                      <a:pt x="10" y="15"/>
                      <a:pt x="11" y="15"/>
                    </a:cubicBezTo>
                    <a:cubicBezTo>
                      <a:pt x="11" y="15"/>
                      <a:pt x="12" y="14"/>
                      <a:pt x="13" y="14"/>
                    </a:cubicBezTo>
                    <a:cubicBezTo>
                      <a:pt x="14" y="15"/>
                      <a:pt x="14" y="15"/>
                      <a:pt x="14" y="15"/>
                    </a:cubicBezTo>
                    <a:cubicBezTo>
                      <a:pt x="15" y="15"/>
                      <a:pt x="15" y="15"/>
                      <a:pt x="15" y="15"/>
                    </a:cubicBezTo>
                    <a:cubicBezTo>
                      <a:pt x="15" y="15"/>
                      <a:pt x="15" y="15"/>
                      <a:pt x="16" y="15"/>
                    </a:cubicBezTo>
                    <a:cubicBezTo>
                      <a:pt x="16" y="15"/>
                      <a:pt x="16" y="15"/>
                      <a:pt x="16" y="15"/>
                    </a:cubicBezTo>
                    <a:cubicBezTo>
                      <a:pt x="17" y="15"/>
                      <a:pt x="17" y="15"/>
                      <a:pt x="18" y="16"/>
                    </a:cubicBezTo>
                    <a:cubicBezTo>
                      <a:pt x="18" y="18"/>
                      <a:pt x="18" y="20"/>
                      <a:pt x="19" y="21"/>
                    </a:cubicBezTo>
                    <a:cubicBezTo>
                      <a:pt x="20" y="23"/>
                      <a:pt x="22" y="23"/>
                      <a:pt x="22" y="25"/>
                    </a:cubicBezTo>
                    <a:cubicBezTo>
                      <a:pt x="23" y="27"/>
                      <a:pt x="23" y="29"/>
                      <a:pt x="23" y="31"/>
                    </a:cubicBezTo>
                    <a:cubicBezTo>
                      <a:pt x="23" y="32"/>
                      <a:pt x="23" y="32"/>
                      <a:pt x="24" y="33"/>
                    </a:cubicBezTo>
                    <a:cubicBezTo>
                      <a:pt x="25" y="33"/>
                      <a:pt x="27" y="33"/>
                      <a:pt x="28" y="34"/>
                    </a:cubicBezTo>
                    <a:cubicBezTo>
                      <a:pt x="29" y="34"/>
                      <a:pt x="36" y="40"/>
                      <a:pt x="40" y="40"/>
                    </a:cubicBezTo>
                    <a:cubicBezTo>
                      <a:pt x="41" y="40"/>
                      <a:pt x="42" y="39"/>
                      <a:pt x="42" y="39"/>
                    </a:cubicBezTo>
                    <a:cubicBezTo>
                      <a:pt x="43" y="37"/>
                      <a:pt x="39" y="37"/>
                      <a:pt x="39" y="35"/>
                    </a:cubicBezTo>
                    <a:cubicBezTo>
                      <a:pt x="37" y="32"/>
                      <a:pt x="43" y="28"/>
                      <a:pt x="44" y="27"/>
                    </a:cubicBezTo>
                    <a:cubicBezTo>
                      <a:pt x="41" y="26"/>
                      <a:pt x="33" y="26"/>
                      <a:pt x="31" y="22"/>
                    </a:cubicBezTo>
                    <a:cubicBezTo>
                      <a:pt x="29" y="19"/>
                      <a:pt x="28" y="15"/>
                      <a:pt x="27" y="12"/>
                    </a:cubicBezTo>
                    <a:cubicBezTo>
                      <a:pt x="26" y="9"/>
                      <a:pt x="26" y="4"/>
                      <a:pt x="24" y="2"/>
                    </a:cubicBezTo>
                    <a:cubicBezTo>
                      <a:pt x="23" y="0"/>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144"/>
              <p:cNvSpPr/>
              <p:nvPr/>
            </p:nvSpPr>
            <p:spPr bwMode="auto">
              <a:xfrm>
                <a:off x="4496" y="4483"/>
                <a:ext cx="44" cy="43"/>
              </a:xfrm>
              <a:custGeom>
                <a:gdLst>
                  <a:gd name="T0" fmla="*/ 7 w 19"/>
                  <a:gd name="T1" fmla="*/ 0 h 18"/>
                  <a:gd name="T2" fmla="*/ 4 w 19"/>
                  <a:gd name="T3" fmla="*/ 1 h 18"/>
                  <a:gd name="T4" fmla="*/ 3 w 19"/>
                  <a:gd name="T5" fmla="*/ 4 h 18"/>
                  <a:gd name="T6" fmla="*/ 2 w 19"/>
                  <a:gd name="T7" fmla="*/ 10 h 18"/>
                  <a:gd name="T8" fmla="*/ 2 w 19"/>
                  <a:gd name="T9" fmla="*/ 10 h 18"/>
                  <a:gd name="T10" fmla="*/ 2 w 19"/>
                  <a:gd name="T11" fmla="*/ 17 h 18"/>
                  <a:gd name="T12" fmla="*/ 3 w 19"/>
                  <a:gd name="T13" fmla="*/ 17 h 18"/>
                  <a:gd name="T14" fmla="*/ 9 w 19"/>
                  <a:gd name="T15" fmla="*/ 13 h 18"/>
                  <a:gd name="T16" fmla="*/ 14 w 19"/>
                  <a:gd name="T17" fmla="*/ 18 h 18"/>
                  <a:gd name="T18" fmla="*/ 17 w 19"/>
                  <a:gd name="T19" fmla="*/ 15 h 18"/>
                  <a:gd name="T20" fmla="*/ 19 w 19"/>
                  <a:gd name="T21" fmla="*/ 7 h 18"/>
                  <a:gd name="T22" fmla="*/ 16 w 19"/>
                  <a:gd name="T23" fmla="*/ 4 h 18"/>
                  <a:gd name="T24" fmla="*/ 7 w 19"/>
                  <a:gd name="T2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8">
                    <a:moveTo>
                      <a:pt x="7" y="0"/>
                    </a:moveTo>
                    <a:cubicBezTo>
                      <a:pt x="5" y="0"/>
                      <a:pt x="4" y="1"/>
                      <a:pt x="4" y="1"/>
                    </a:cubicBezTo>
                    <a:cubicBezTo>
                      <a:pt x="3" y="2"/>
                      <a:pt x="3" y="3"/>
                      <a:pt x="3" y="4"/>
                    </a:cubicBezTo>
                    <a:cubicBezTo>
                      <a:pt x="2" y="6"/>
                      <a:pt x="0" y="10"/>
                      <a:pt x="2" y="10"/>
                    </a:cubicBezTo>
                    <a:cubicBezTo>
                      <a:pt x="2" y="10"/>
                      <a:pt x="2" y="10"/>
                      <a:pt x="2" y="10"/>
                    </a:cubicBezTo>
                    <a:cubicBezTo>
                      <a:pt x="2" y="11"/>
                      <a:pt x="2" y="17"/>
                      <a:pt x="2" y="17"/>
                    </a:cubicBezTo>
                    <a:cubicBezTo>
                      <a:pt x="3" y="17"/>
                      <a:pt x="3" y="17"/>
                      <a:pt x="3" y="17"/>
                    </a:cubicBezTo>
                    <a:cubicBezTo>
                      <a:pt x="5" y="17"/>
                      <a:pt x="8" y="14"/>
                      <a:pt x="9" y="13"/>
                    </a:cubicBezTo>
                    <a:cubicBezTo>
                      <a:pt x="10" y="15"/>
                      <a:pt x="12" y="16"/>
                      <a:pt x="14" y="18"/>
                    </a:cubicBezTo>
                    <a:cubicBezTo>
                      <a:pt x="15" y="16"/>
                      <a:pt x="16" y="16"/>
                      <a:pt x="17" y="15"/>
                    </a:cubicBezTo>
                    <a:cubicBezTo>
                      <a:pt x="16" y="13"/>
                      <a:pt x="19" y="10"/>
                      <a:pt x="19" y="7"/>
                    </a:cubicBezTo>
                    <a:cubicBezTo>
                      <a:pt x="18" y="5"/>
                      <a:pt x="17" y="4"/>
                      <a:pt x="16" y="4"/>
                    </a:cubicBezTo>
                    <a:cubicBezTo>
                      <a:pt x="14" y="2"/>
                      <a:pt x="10"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145"/>
              <p:cNvSpPr/>
              <p:nvPr/>
            </p:nvSpPr>
            <p:spPr bwMode="auto">
              <a:xfrm>
                <a:off x="5679" y="4500"/>
                <a:ext cx="178" cy="61"/>
              </a:xfrm>
              <a:custGeom>
                <a:gdLst>
                  <a:gd name="T0" fmla="*/ 40 w 75"/>
                  <a:gd name="T1" fmla="*/ 0 h 26"/>
                  <a:gd name="T2" fmla="*/ 36 w 75"/>
                  <a:gd name="T3" fmla="*/ 2 h 26"/>
                  <a:gd name="T4" fmla="*/ 32 w 75"/>
                  <a:gd name="T5" fmla="*/ 4 h 26"/>
                  <a:gd name="T6" fmla="*/ 30 w 75"/>
                  <a:gd name="T7" fmla="*/ 3 h 26"/>
                  <a:gd name="T8" fmla="*/ 29 w 75"/>
                  <a:gd name="T9" fmla="*/ 0 h 26"/>
                  <a:gd name="T10" fmla="*/ 29 w 75"/>
                  <a:gd name="T11" fmla="*/ 0 h 26"/>
                  <a:gd name="T12" fmla="*/ 26 w 75"/>
                  <a:gd name="T13" fmla="*/ 1 h 26"/>
                  <a:gd name="T14" fmla="*/ 21 w 75"/>
                  <a:gd name="T15" fmla="*/ 2 h 26"/>
                  <a:gd name="T16" fmla="*/ 17 w 75"/>
                  <a:gd name="T17" fmla="*/ 2 h 26"/>
                  <a:gd name="T18" fmla="*/ 14 w 75"/>
                  <a:gd name="T19" fmla="*/ 2 h 26"/>
                  <a:gd name="T20" fmla="*/ 12 w 75"/>
                  <a:gd name="T21" fmla="*/ 2 h 26"/>
                  <a:gd name="T22" fmla="*/ 5 w 75"/>
                  <a:gd name="T23" fmla="*/ 5 h 26"/>
                  <a:gd name="T24" fmla="*/ 0 w 75"/>
                  <a:gd name="T25" fmla="*/ 9 h 26"/>
                  <a:gd name="T26" fmla="*/ 2 w 75"/>
                  <a:gd name="T27" fmla="*/ 15 h 26"/>
                  <a:gd name="T28" fmla="*/ 1 w 75"/>
                  <a:gd name="T29" fmla="*/ 19 h 26"/>
                  <a:gd name="T30" fmla="*/ 4 w 75"/>
                  <a:gd name="T31" fmla="*/ 14 h 26"/>
                  <a:gd name="T32" fmla="*/ 5 w 75"/>
                  <a:gd name="T33" fmla="*/ 10 h 26"/>
                  <a:gd name="T34" fmla="*/ 7 w 75"/>
                  <a:gd name="T35" fmla="*/ 7 h 26"/>
                  <a:gd name="T36" fmla="*/ 7 w 75"/>
                  <a:gd name="T37" fmla="*/ 7 h 26"/>
                  <a:gd name="T38" fmla="*/ 8 w 75"/>
                  <a:gd name="T39" fmla="*/ 9 h 26"/>
                  <a:gd name="T40" fmla="*/ 8 w 75"/>
                  <a:gd name="T41" fmla="*/ 10 h 26"/>
                  <a:gd name="T42" fmla="*/ 10 w 75"/>
                  <a:gd name="T43" fmla="*/ 11 h 26"/>
                  <a:gd name="T44" fmla="*/ 14 w 75"/>
                  <a:gd name="T45" fmla="*/ 16 h 26"/>
                  <a:gd name="T46" fmla="*/ 16 w 75"/>
                  <a:gd name="T47" fmla="*/ 16 h 26"/>
                  <a:gd name="T48" fmla="*/ 23 w 75"/>
                  <a:gd name="T49" fmla="*/ 11 h 26"/>
                  <a:gd name="T50" fmla="*/ 25 w 75"/>
                  <a:gd name="T51" fmla="*/ 10 h 26"/>
                  <a:gd name="T52" fmla="*/ 26 w 75"/>
                  <a:gd name="T53" fmla="*/ 12 h 26"/>
                  <a:gd name="T54" fmla="*/ 37 w 75"/>
                  <a:gd name="T55" fmla="*/ 15 h 26"/>
                  <a:gd name="T56" fmla="*/ 39 w 75"/>
                  <a:gd name="T57" fmla="*/ 15 h 26"/>
                  <a:gd name="T58" fmla="*/ 41 w 75"/>
                  <a:gd name="T59" fmla="*/ 15 h 26"/>
                  <a:gd name="T60" fmla="*/ 42 w 75"/>
                  <a:gd name="T61" fmla="*/ 15 h 26"/>
                  <a:gd name="T62" fmla="*/ 42 w 75"/>
                  <a:gd name="T63" fmla="*/ 13 h 26"/>
                  <a:gd name="T64" fmla="*/ 46 w 75"/>
                  <a:gd name="T65" fmla="*/ 13 h 26"/>
                  <a:gd name="T66" fmla="*/ 73 w 75"/>
                  <a:gd name="T67" fmla="*/ 26 h 26"/>
                  <a:gd name="T68" fmla="*/ 73 w 75"/>
                  <a:gd name="T69" fmla="*/ 17 h 26"/>
                  <a:gd name="T70" fmla="*/ 70 w 75"/>
                  <a:gd name="T71" fmla="*/ 15 h 26"/>
                  <a:gd name="T72" fmla="*/ 68 w 75"/>
                  <a:gd name="T73" fmla="*/ 12 h 26"/>
                  <a:gd name="T74" fmla="*/ 60 w 75"/>
                  <a:gd name="T75" fmla="*/ 4 h 26"/>
                  <a:gd name="T76" fmla="*/ 48 w 75"/>
                  <a:gd name="T77" fmla="*/ 3 h 26"/>
                  <a:gd name="T78" fmla="*/ 43 w 75"/>
                  <a:gd name="T79" fmla="*/ 0 h 26"/>
                  <a:gd name="T80" fmla="*/ 40 w 75"/>
                  <a:gd name="T81"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 h="26">
                    <a:moveTo>
                      <a:pt x="40" y="0"/>
                    </a:moveTo>
                    <a:cubicBezTo>
                      <a:pt x="39" y="0"/>
                      <a:pt x="38" y="1"/>
                      <a:pt x="36" y="2"/>
                    </a:cubicBezTo>
                    <a:cubicBezTo>
                      <a:pt x="34" y="3"/>
                      <a:pt x="33" y="4"/>
                      <a:pt x="32" y="4"/>
                    </a:cubicBezTo>
                    <a:cubicBezTo>
                      <a:pt x="31" y="4"/>
                      <a:pt x="31" y="3"/>
                      <a:pt x="30" y="3"/>
                    </a:cubicBezTo>
                    <a:cubicBezTo>
                      <a:pt x="29" y="2"/>
                      <a:pt x="31" y="1"/>
                      <a:pt x="29" y="0"/>
                    </a:cubicBezTo>
                    <a:cubicBezTo>
                      <a:pt x="29" y="0"/>
                      <a:pt x="29" y="0"/>
                      <a:pt x="29" y="0"/>
                    </a:cubicBezTo>
                    <a:cubicBezTo>
                      <a:pt x="29" y="0"/>
                      <a:pt x="27" y="1"/>
                      <a:pt x="26" y="1"/>
                    </a:cubicBezTo>
                    <a:cubicBezTo>
                      <a:pt x="25" y="2"/>
                      <a:pt x="23" y="2"/>
                      <a:pt x="21" y="2"/>
                    </a:cubicBezTo>
                    <a:cubicBezTo>
                      <a:pt x="20" y="2"/>
                      <a:pt x="19" y="2"/>
                      <a:pt x="17" y="2"/>
                    </a:cubicBezTo>
                    <a:cubicBezTo>
                      <a:pt x="16" y="2"/>
                      <a:pt x="15" y="2"/>
                      <a:pt x="14" y="2"/>
                    </a:cubicBezTo>
                    <a:cubicBezTo>
                      <a:pt x="13" y="2"/>
                      <a:pt x="13" y="2"/>
                      <a:pt x="12" y="2"/>
                    </a:cubicBezTo>
                    <a:cubicBezTo>
                      <a:pt x="9" y="2"/>
                      <a:pt x="6" y="1"/>
                      <a:pt x="5" y="5"/>
                    </a:cubicBezTo>
                    <a:cubicBezTo>
                      <a:pt x="5" y="7"/>
                      <a:pt x="2" y="9"/>
                      <a:pt x="0" y="9"/>
                    </a:cubicBezTo>
                    <a:cubicBezTo>
                      <a:pt x="0" y="11"/>
                      <a:pt x="2" y="12"/>
                      <a:pt x="2" y="15"/>
                    </a:cubicBezTo>
                    <a:cubicBezTo>
                      <a:pt x="2" y="16"/>
                      <a:pt x="0" y="17"/>
                      <a:pt x="1" y="19"/>
                    </a:cubicBezTo>
                    <a:cubicBezTo>
                      <a:pt x="2" y="17"/>
                      <a:pt x="3" y="15"/>
                      <a:pt x="4" y="14"/>
                    </a:cubicBezTo>
                    <a:cubicBezTo>
                      <a:pt x="5" y="13"/>
                      <a:pt x="5" y="11"/>
                      <a:pt x="5" y="10"/>
                    </a:cubicBezTo>
                    <a:cubicBezTo>
                      <a:pt x="5" y="9"/>
                      <a:pt x="6" y="8"/>
                      <a:pt x="7" y="7"/>
                    </a:cubicBezTo>
                    <a:cubicBezTo>
                      <a:pt x="7" y="7"/>
                      <a:pt x="7" y="7"/>
                      <a:pt x="7" y="7"/>
                    </a:cubicBezTo>
                    <a:cubicBezTo>
                      <a:pt x="8" y="7"/>
                      <a:pt x="7" y="8"/>
                      <a:pt x="8" y="9"/>
                    </a:cubicBezTo>
                    <a:cubicBezTo>
                      <a:pt x="8" y="10"/>
                      <a:pt x="8" y="10"/>
                      <a:pt x="8" y="10"/>
                    </a:cubicBezTo>
                    <a:cubicBezTo>
                      <a:pt x="9" y="11"/>
                      <a:pt x="10" y="10"/>
                      <a:pt x="10" y="11"/>
                    </a:cubicBezTo>
                    <a:cubicBezTo>
                      <a:pt x="12" y="12"/>
                      <a:pt x="12" y="15"/>
                      <a:pt x="14" y="16"/>
                    </a:cubicBezTo>
                    <a:cubicBezTo>
                      <a:pt x="15" y="16"/>
                      <a:pt x="15" y="16"/>
                      <a:pt x="16" y="16"/>
                    </a:cubicBezTo>
                    <a:cubicBezTo>
                      <a:pt x="19" y="16"/>
                      <a:pt x="21" y="13"/>
                      <a:pt x="23" y="11"/>
                    </a:cubicBezTo>
                    <a:cubicBezTo>
                      <a:pt x="24" y="11"/>
                      <a:pt x="24" y="10"/>
                      <a:pt x="25" y="10"/>
                    </a:cubicBezTo>
                    <a:cubicBezTo>
                      <a:pt x="25" y="10"/>
                      <a:pt x="26" y="11"/>
                      <a:pt x="26" y="12"/>
                    </a:cubicBezTo>
                    <a:cubicBezTo>
                      <a:pt x="27" y="15"/>
                      <a:pt x="33" y="15"/>
                      <a:pt x="37" y="15"/>
                    </a:cubicBezTo>
                    <a:cubicBezTo>
                      <a:pt x="38" y="15"/>
                      <a:pt x="39" y="15"/>
                      <a:pt x="39" y="15"/>
                    </a:cubicBezTo>
                    <a:cubicBezTo>
                      <a:pt x="40" y="15"/>
                      <a:pt x="41" y="15"/>
                      <a:pt x="41" y="15"/>
                    </a:cubicBezTo>
                    <a:cubicBezTo>
                      <a:pt x="41" y="15"/>
                      <a:pt x="42" y="15"/>
                      <a:pt x="42" y="15"/>
                    </a:cubicBezTo>
                    <a:cubicBezTo>
                      <a:pt x="39" y="13"/>
                      <a:pt x="41" y="13"/>
                      <a:pt x="42" y="13"/>
                    </a:cubicBezTo>
                    <a:cubicBezTo>
                      <a:pt x="44" y="13"/>
                      <a:pt x="45" y="13"/>
                      <a:pt x="46" y="13"/>
                    </a:cubicBezTo>
                    <a:cubicBezTo>
                      <a:pt x="56" y="14"/>
                      <a:pt x="65" y="22"/>
                      <a:pt x="73" y="26"/>
                    </a:cubicBezTo>
                    <a:cubicBezTo>
                      <a:pt x="73" y="23"/>
                      <a:pt x="75" y="20"/>
                      <a:pt x="73" y="17"/>
                    </a:cubicBezTo>
                    <a:cubicBezTo>
                      <a:pt x="72" y="16"/>
                      <a:pt x="72" y="16"/>
                      <a:pt x="70" y="15"/>
                    </a:cubicBezTo>
                    <a:cubicBezTo>
                      <a:pt x="68" y="14"/>
                      <a:pt x="69" y="14"/>
                      <a:pt x="68" y="12"/>
                    </a:cubicBezTo>
                    <a:cubicBezTo>
                      <a:pt x="67" y="8"/>
                      <a:pt x="64" y="5"/>
                      <a:pt x="60" y="4"/>
                    </a:cubicBezTo>
                    <a:cubicBezTo>
                      <a:pt x="55" y="4"/>
                      <a:pt x="52" y="5"/>
                      <a:pt x="48" y="3"/>
                    </a:cubicBezTo>
                    <a:cubicBezTo>
                      <a:pt x="47" y="2"/>
                      <a:pt x="45" y="1"/>
                      <a:pt x="43" y="0"/>
                    </a:cubicBezTo>
                    <a:cubicBezTo>
                      <a:pt x="42" y="0"/>
                      <a:pt x="41"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Freeform 146"/>
              <p:cNvSpPr/>
              <p:nvPr/>
            </p:nvSpPr>
            <p:spPr bwMode="auto">
              <a:xfrm>
                <a:off x="4252" y="4270"/>
                <a:ext cx="7" cy="7"/>
              </a:xfrm>
              <a:custGeom>
                <a:gdLst>
                  <a:gd name="T0" fmla="*/ 1 w 3"/>
                  <a:gd name="T1" fmla="*/ 0 h 3"/>
                  <a:gd name="T2" fmla="*/ 0 w 3"/>
                  <a:gd name="T3" fmla="*/ 0 h 3"/>
                  <a:gd name="T4" fmla="*/ 3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1" y="0"/>
                      <a:pt x="0" y="0"/>
                      <a:pt x="0" y="0"/>
                    </a:cubicBezTo>
                    <a:cubicBezTo>
                      <a:pt x="1" y="1"/>
                      <a:pt x="2" y="2"/>
                      <a:pt x="3" y="3"/>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Freeform 147"/>
              <p:cNvSpPr/>
              <p:nvPr/>
            </p:nvSpPr>
            <p:spPr bwMode="auto">
              <a:xfrm>
                <a:off x="4276" y="4284"/>
                <a:ext cx="5" cy="8"/>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1" y="1"/>
                      <a:pt x="1" y="2"/>
                      <a:pt x="2" y="3"/>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148"/>
              <p:cNvSpPr/>
              <p:nvPr/>
            </p:nvSpPr>
            <p:spPr bwMode="auto">
              <a:xfrm>
                <a:off x="5564" y="4516"/>
                <a:ext cx="80" cy="45"/>
              </a:xfrm>
              <a:custGeom>
                <a:gdLst>
                  <a:gd name="T0" fmla="*/ 17 w 34"/>
                  <a:gd name="T1" fmla="*/ 0 h 19"/>
                  <a:gd name="T2" fmla="*/ 14 w 34"/>
                  <a:gd name="T3" fmla="*/ 0 h 19"/>
                  <a:gd name="T4" fmla="*/ 4 w 34"/>
                  <a:gd name="T5" fmla="*/ 8 h 19"/>
                  <a:gd name="T6" fmla="*/ 8 w 34"/>
                  <a:gd name="T7" fmla="*/ 13 h 19"/>
                  <a:gd name="T8" fmla="*/ 20 w 34"/>
                  <a:gd name="T9" fmla="*/ 19 h 19"/>
                  <a:gd name="T10" fmla="*/ 20 w 34"/>
                  <a:gd name="T11" fmla="*/ 19 h 19"/>
                  <a:gd name="T12" fmla="*/ 34 w 34"/>
                  <a:gd name="T13" fmla="*/ 13 h 19"/>
                  <a:gd name="T14" fmla="*/ 34 w 34"/>
                  <a:gd name="T15" fmla="*/ 7 h 19"/>
                  <a:gd name="T16" fmla="*/ 31 w 34"/>
                  <a:gd name="T17" fmla="*/ 5 h 19"/>
                  <a:gd name="T18" fmla="*/ 28 w 34"/>
                  <a:gd name="T19" fmla="*/ 2 h 19"/>
                  <a:gd name="T20" fmla="*/ 17 w 34"/>
                  <a:gd name="T21"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19">
                    <a:moveTo>
                      <a:pt x="17" y="0"/>
                    </a:moveTo>
                    <a:cubicBezTo>
                      <a:pt x="16" y="0"/>
                      <a:pt x="15" y="0"/>
                      <a:pt x="14" y="0"/>
                    </a:cubicBezTo>
                    <a:cubicBezTo>
                      <a:pt x="9" y="1"/>
                      <a:pt x="0" y="1"/>
                      <a:pt x="4" y="8"/>
                    </a:cubicBezTo>
                    <a:cubicBezTo>
                      <a:pt x="5" y="9"/>
                      <a:pt x="7" y="12"/>
                      <a:pt x="8" y="13"/>
                    </a:cubicBezTo>
                    <a:cubicBezTo>
                      <a:pt x="10" y="15"/>
                      <a:pt x="17" y="18"/>
                      <a:pt x="20" y="19"/>
                    </a:cubicBezTo>
                    <a:cubicBezTo>
                      <a:pt x="20" y="19"/>
                      <a:pt x="20" y="19"/>
                      <a:pt x="20" y="19"/>
                    </a:cubicBezTo>
                    <a:cubicBezTo>
                      <a:pt x="23" y="19"/>
                      <a:pt x="32" y="16"/>
                      <a:pt x="34" y="13"/>
                    </a:cubicBezTo>
                    <a:cubicBezTo>
                      <a:pt x="34" y="12"/>
                      <a:pt x="34" y="8"/>
                      <a:pt x="34" y="7"/>
                    </a:cubicBezTo>
                    <a:cubicBezTo>
                      <a:pt x="33" y="6"/>
                      <a:pt x="32" y="7"/>
                      <a:pt x="31" y="5"/>
                    </a:cubicBezTo>
                    <a:cubicBezTo>
                      <a:pt x="30" y="3"/>
                      <a:pt x="30" y="3"/>
                      <a:pt x="28" y="2"/>
                    </a:cubicBezTo>
                    <a:cubicBezTo>
                      <a:pt x="24" y="0"/>
                      <a:pt x="21"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149"/>
              <p:cNvSpPr/>
              <p:nvPr/>
            </p:nvSpPr>
            <p:spPr bwMode="auto">
              <a:xfrm>
                <a:off x="5160" y="4880"/>
                <a:ext cx="113" cy="59"/>
              </a:xfrm>
              <a:custGeom>
                <a:gdLst>
                  <a:gd name="T0" fmla="*/ 24 w 48"/>
                  <a:gd name="T1" fmla="*/ 1 h 25"/>
                  <a:gd name="T2" fmla="*/ 23 w 48"/>
                  <a:gd name="T3" fmla="*/ 1 h 25"/>
                  <a:gd name="T4" fmla="*/ 0 w 48"/>
                  <a:gd name="T5" fmla="*/ 6 h 25"/>
                  <a:gd name="T6" fmla="*/ 3 w 48"/>
                  <a:gd name="T7" fmla="*/ 9 h 25"/>
                  <a:gd name="T8" fmla="*/ 11 w 48"/>
                  <a:gd name="T9" fmla="*/ 12 h 25"/>
                  <a:gd name="T10" fmla="*/ 11 w 48"/>
                  <a:gd name="T11" fmla="*/ 12 h 25"/>
                  <a:gd name="T12" fmla="*/ 13 w 48"/>
                  <a:gd name="T13" fmla="*/ 12 h 25"/>
                  <a:gd name="T14" fmla="*/ 14 w 48"/>
                  <a:gd name="T15" fmla="*/ 11 h 25"/>
                  <a:gd name="T16" fmla="*/ 19 w 48"/>
                  <a:gd name="T17" fmla="*/ 13 h 25"/>
                  <a:gd name="T18" fmla="*/ 37 w 48"/>
                  <a:gd name="T19" fmla="*/ 25 h 25"/>
                  <a:gd name="T20" fmla="*/ 38 w 48"/>
                  <a:gd name="T21" fmla="*/ 25 h 25"/>
                  <a:gd name="T22" fmla="*/ 40 w 48"/>
                  <a:gd name="T23" fmla="*/ 23 h 25"/>
                  <a:gd name="T24" fmla="*/ 47 w 48"/>
                  <a:gd name="T25" fmla="*/ 17 h 25"/>
                  <a:gd name="T26" fmla="*/ 42 w 48"/>
                  <a:gd name="T27" fmla="*/ 14 h 25"/>
                  <a:gd name="T28" fmla="*/ 39 w 48"/>
                  <a:gd name="T29" fmla="*/ 9 h 25"/>
                  <a:gd name="T30" fmla="*/ 36 w 48"/>
                  <a:gd name="T31" fmla="*/ 8 h 25"/>
                  <a:gd name="T32" fmla="*/ 36 w 48"/>
                  <a:gd name="T33" fmla="*/ 8 h 25"/>
                  <a:gd name="T34" fmla="*/ 35 w 48"/>
                  <a:gd name="T35" fmla="*/ 9 h 25"/>
                  <a:gd name="T36" fmla="*/ 34 w 48"/>
                  <a:gd name="T37" fmla="*/ 9 h 25"/>
                  <a:gd name="T38" fmla="*/ 33 w 48"/>
                  <a:gd name="T39" fmla="*/ 8 h 25"/>
                  <a:gd name="T40" fmla="*/ 32 w 48"/>
                  <a:gd name="T41" fmla="*/ 5 h 25"/>
                  <a:gd name="T42" fmla="*/ 30 w 48"/>
                  <a:gd name="T43" fmla="*/ 4 h 25"/>
                  <a:gd name="T44" fmla="*/ 24 w 48"/>
                  <a:gd name="T45" fmla="*/ 1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5">
                    <a:moveTo>
                      <a:pt x="24" y="1"/>
                    </a:moveTo>
                    <a:cubicBezTo>
                      <a:pt x="24" y="1"/>
                      <a:pt x="24" y="1"/>
                      <a:pt x="23" y="1"/>
                    </a:cubicBezTo>
                    <a:cubicBezTo>
                      <a:pt x="15" y="1"/>
                      <a:pt x="7" y="0"/>
                      <a:pt x="0" y="6"/>
                    </a:cubicBezTo>
                    <a:cubicBezTo>
                      <a:pt x="0" y="6"/>
                      <a:pt x="2" y="8"/>
                      <a:pt x="3" y="9"/>
                    </a:cubicBezTo>
                    <a:cubicBezTo>
                      <a:pt x="5" y="10"/>
                      <a:pt x="9" y="12"/>
                      <a:pt x="11" y="12"/>
                    </a:cubicBezTo>
                    <a:cubicBezTo>
                      <a:pt x="11" y="12"/>
                      <a:pt x="11" y="12"/>
                      <a:pt x="11" y="12"/>
                    </a:cubicBezTo>
                    <a:cubicBezTo>
                      <a:pt x="12" y="12"/>
                      <a:pt x="12" y="12"/>
                      <a:pt x="13" y="12"/>
                    </a:cubicBezTo>
                    <a:cubicBezTo>
                      <a:pt x="13" y="12"/>
                      <a:pt x="14" y="11"/>
                      <a:pt x="14" y="11"/>
                    </a:cubicBezTo>
                    <a:cubicBezTo>
                      <a:pt x="16" y="11"/>
                      <a:pt x="17" y="12"/>
                      <a:pt x="19" y="13"/>
                    </a:cubicBezTo>
                    <a:cubicBezTo>
                      <a:pt x="25" y="17"/>
                      <a:pt x="31" y="21"/>
                      <a:pt x="37" y="25"/>
                    </a:cubicBezTo>
                    <a:cubicBezTo>
                      <a:pt x="38" y="25"/>
                      <a:pt x="38" y="25"/>
                      <a:pt x="38" y="25"/>
                    </a:cubicBezTo>
                    <a:cubicBezTo>
                      <a:pt x="38" y="25"/>
                      <a:pt x="39" y="23"/>
                      <a:pt x="40" y="23"/>
                    </a:cubicBezTo>
                    <a:cubicBezTo>
                      <a:pt x="43" y="22"/>
                      <a:pt x="48" y="22"/>
                      <a:pt x="47" y="17"/>
                    </a:cubicBezTo>
                    <a:cubicBezTo>
                      <a:pt x="46" y="15"/>
                      <a:pt x="44" y="15"/>
                      <a:pt x="42" y="14"/>
                    </a:cubicBezTo>
                    <a:cubicBezTo>
                      <a:pt x="41" y="12"/>
                      <a:pt x="41" y="10"/>
                      <a:pt x="39" y="9"/>
                    </a:cubicBezTo>
                    <a:cubicBezTo>
                      <a:pt x="37" y="8"/>
                      <a:pt x="38" y="8"/>
                      <a:pt x="36" y="8"/>
                    </a:cubicBezTo>
                    <a:cubicBezTo>
                      <a:pt x="36" y="8"/>
                      <a:pt x="36" y="8"/>
                      <a:pt x="36" y="8"/>
                    </a:cubicBezTo>
                    <a:cubicBezTo>
                      <a:pt x="35" y="8"/>
                      <a:pt x="35" y="8"/>
                      <a:pt x="35" y="9"/>
                    </a:cubicBezTo>
                    <a:cubicBezTo>
                      <a:pt x="35" y="9"/>
                      <a:pt x="35" y="9"/>
                      <a:pt x="34" y="9"/>
                    </a:cubicBezTo>
                    <a:cubicBezTo>
                      <a:pt x="34" y="9"/>
                      <a:pt x="34" y="9"/>
                      <a:pt x="33" y="8"/>
                    </a:cubicBezTo>
                    <a:cubicBezTo>
                      <a:pt x="32" y="8"/>
                      <a:pt x="33" y="6"/>
                      <a:pt x="32" y="5"/>
                    </a:cubicBezTo>
                    <a:cubicBezTo>
                      <a:pt x="31" y="4"/>
                      <a:pt x="31" y="5"/>
                      <a:pt x="30" y="4"/>
                    </a:cubicBezTo>
                    <a:cubicBezTo>
                      <a:pt x="28" y="3"/>
                      <a:pt x="27" y="1"/>
                      <a:pt x="2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150"/>
              <p:cNvSpPr/>
              <p:nvPr/>
            </p:nvSpPr>
            <p:spPr bwMode="auto">
              <a:xfrm>
                <a:off x="5370" y="4594"/>
                <a:ext cx="40" cy="73"/>
              </a:xfrm>
              <a:custGeom>
                <a:gdLst>
                  <a:gd name="T0" fmla="*/ 12 w 17"/>
                  <a:gd name="T1" fmla="*/ 0 h 31"/>
                  <a:gd name="T2" fmla="*/ 9 w 17"/>
                  <a:gd name="T3" fmla="*/ 2 h 31"/>
                  <a:gd name="T4" fmla="*/ 8 w 17"/>
                  <a:gd name="T5" fmla="*/ 9 h 31"/>
                  <a:gd name="T6" fmla="*/ 6 w 17"/>
                  <a:gd name="T7" fmla="*/ 17 h 31"/>
                  <a:gd name="T8" fmla="*/ 2 w 17"/>
                  <a:gd name="T9" fmla="*/ 25 h 31"/>
                  <a:gd name="T10" fmla="*/ 2 w 17"/>
                  <a:gd name="T11" fmla="*/ 28 h 31"/>
                  <a:gd name="T12" fmla="*/ 6 w 17"/>
                  <a:gd name="T13" fmla="*/ 31 h 31"/>
                  <a:gd name="T14" fmla="*/ 7 w 17"/>
                  <a:gd name="T15" fmla="*/ 31 h 31"/>
                  <a:gd name="T16" fmla="*/ 8 w 17"/>
                  <a:gd name="T17" fmla="*/ 29 h 31"/>
                  <a:gd name="T18" fmla="*/ 16 w 17"/>
                  <a:gd name="T19" fmla="*/ 21 h 31"/>
                  <a:gd name="T20" fmla="*/ 13 w 17"/>
                  <a:gd name="T21" fmla="*/ 18 h 31"/>
                  <a:gd name="T22" fmla="*/ 13 w 17"/>
                  <a:gd name="T23" fmla="*/ 8 h 31"/>
                  <a:gd name="T24" fmla="*/ 14 w 17"/>
                  <a:gd name="T25" fmla="*/ 7 h 31"/>
                  <a:gd name="T26" fmla="*/ 17 w 17"/>
                  <a:gd name="T27" fmla="*/ 10 h 31"/>
                  <a:gd name="T28" fmla="*/ 12 w 17"/>
                  <a:gd name="T29"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31">
                    <a:moveTo>
                      <a:pt x="12" y="0"/>
                    </a:moveTo>
                    <a:cubicBezTo>
                      <a:pt x="11" y="0"/>
                      <a:pt x="10" y="0"/>
                      <a:pt x="9" y="2"/>
                    </a:cubicBezTo>
                    <a:cubicBezTo>
                      <a:pt x="7" y="4"/>
                      <a:pt x="8" y="6"/>
                      <a:pt x="8" y="9"/>
                    </a:cubicBezTo>
                    <a:cubicBezTo>
                      <a:pt x="8" y="11"/>
                      <a:pt x="5" y="14"/>
                      <a:pt x="6" y="17"/>
                    </a:cubicBezTo>
                    <a:cubicBezTo>
                      <a:pt x="5" y="20"/>
                      <a:pt x="4" y="22"/>
                      <a:pt x="2" y="25"/>
                    </a:cubicBezTo>
                    <a:cubicBezTo>
                      <a:pt x="2" y="26"/>
                      <a:pt x="0" y="27"/>
                      <a:pt x="2" y="28"/>
                    </a:cubicBezTo>
                    <a:cubicBezTo>
                      <a:pt x="3" y="29"/>
                      <a:pt x="5" y="31"/>
                      <a:pt x="6" y="31"/>
                    </a:cubicBezTo>
                    <a:cubicBezTo>
                      <a:pt x="6" y="31"/>
                      <a:pt x="7" y="31"/>
                      <a:pt x="7" y="31"/>
                    </a:cubicBezTo>
                    <a:cubicBezTo>
                      <a:pt x="7" y="31"/>
                      <a:pt x="7" y="30"/>
                      <a:pt x="8" y="29"/>
                    </a:cubicBezTo>
                    <a:cubicBezTo>
                      <a:pt x="10" y="28"/>
                      <a:pt x="17" y="23"/>
                      <a:pt x="16" y="21"/>
                    </a:cubicBezTo>
                    <a:cubicBezTo>
                      <a:pt x="16" y="20"/>
                      <a:pt x="13" y="19"/>
                      <a:pt x="13" y="18"/>
                    </a:cubicBezTo>
                    <a:cubicBezTo>
                      <a:pt x="11" y="16"/>
                      <a:pt x="10" y="10"/>
                      <a:pt x="13" y="8"/>
                    </a:cubicBezTo>
                    <a:cubicBezTo>
                      <a:pt x="13" y="8"/>
                      <a:pt x="14" y="7"/>
                      <a:pt x="14" y="7"/>
                    </a:cubicBezTo>
                    <a:cubicBezTo>
                      <a:pt x="15" y="7"/>
                      <a:pt x="15" y="9"/>
                      <a:pt x="17" y="10"/>
                    </a:cubicBezTo>
                    <a:cubicBezTo>
                      <a:pt x="17" y="6"/>
                      <a:pt x="15"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Freeform 151"/>
              <p:cNvSpPr/>
              <p:nvPr/>
            </p:nvSpPr>
            <p:spPr bwMode="auto">
              <a:xfrm>
                <a:off x="4070" y="4500"/>
                <a:ext cx="24" cy="30"/>
              </a:xfrm>
              <a:custGeom>
                <a:gdLst>
                  <a:gd name="T0" fmla="*/ 0 w 10"/>
                  <a:gd name="T1" fmla="*/ 0 h 13"/>
                  <a:gd name="T2" fmla="*/ 6 w 10"/>
                  <a:gd name="T3" fmla="*/ 13 h 13"/>
                  <a:gd name="T4" fmla="*/ 4 w 10"/>
                  <a:gd name="T5" fmla="*/ 9 h 13"/>
                  <a:gd name="T6" fmla="*/ 0 w 10"/>
                  <a:gd name="T7" fmla="*/ 0 h 13"/>
                </a:gdLst>
                <a:cxnLst>
                  <a:cxn ang="0">
                    <a:pos x="T0" y="T1"/>
                  </a:cxn>
                  <a:cxn ang="0">
                    <a:pos x="T2" y="T3"/>
                  </a:cxn>
                  <a:cxn ang="0">
                    <a:pos x="T4" y="T5"/>
                  </a:cxn>
                  <a:cxn ang="0">
                    <a:pos x="T6" y="T7"/>
                  </a:cxn>
                </a:cxnLst>
                <a:rect l="0" t="0" r="r" b="b"/>
                <a:pathLst>
                  <a:path w="10" h="13">
                    <a:moveTo>
                      <a:pt x="0" y="0"/>
                    </a:moveTo>
                    <a:cubicBezTo>
                      <a:pt x="2" y="4"/>
                      <a:pt x="4" y="9"/>
                      <a:pt x="6" y="13"/>
                    </a:cubicBezTo>
                    <a:cubicBezTo>
                      <a:pt x="6" y="12"/>
                      <a:pt x="5" y="10"/>
                      <a:pt x="4" y="9"/>
                    </a:cubicBezTo>
                    <a:cubicBezTo>
                      <a:pt x="10" y="8"/>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Freeform 152"/>
              <p:cNvSpPr/>
              <p:nvPr/>
            </p:nvSpPr>
            <p:spPr bwMode="auto">
              <a:xfrm>
                <a:off x="5006" y="4535"/>
                <a:ext cx="9" cy="14"/>
              </a:xfrm>
              <a:custGeom>
                <a:gdLst>
                  <a:gd name="T0" fmla="*/ 4 w 4"/>
                  <a:gd name="T1" fmla="*/ 0 h 6"/>
                  <a:gd name="T2" fmla="*/ 2 w 4"/>
                  <a:gd name="T3" fmla="*/ 1 h 6"/>
                  <a:gd name="T4" fmla="*/ 2 w 4"/>
                  <a:gd name="T5" fmla="*/ 1 h 6"/>
                  <a:gd name="T6" fmla="*/ 2 w 4"/>
                  <a:gd name="T7" fmla="*/ 2 h 6"/>
                  <a:gd name="T8" fmla="*/ 2 w 4"/>
                  <a:gd name="T9" fmla="*/ 6 h 6"/>
                  <a:gd name="T10" fmla="*/ 4 w 4"/>
                  <a:gd name="T11" fmla="*/ 0 h 6"/>
                </a:gdLst>
                <a:cxnLst>
                  <a:cxn ang="0">
                    <a:pos x="T0" y="T1"/>
                  </a:cxn>
                  <a:cxn ang="0">
                    <a:pos x="T2" y="T3"/>
                  </a:cxn>
                  <a:cxn ang="0">
                    <a:pos x="T4" y="T5"/>
                  </a:cxn>
                  <a:cxn ang="0">
                    <a:pos x="T6" y="T7"/>
                  </a:cxn>
                  <a:cxn ang="0">
                    <a:pos x="T8" y="T9"/>
                  </a:cxn>
                  <a:cxn ang="0">
                    <a:pos x="T10" y="T11"/>
                  </a:cxn>
                </a:cxnLst>
                <a:rect l="0" t="0" r="r" b="b"/>
                <a:pathLst>
                  <a:path w="4" h="6">
                    <a:moveTo>
                      <a:pt x="4" y="0"/>
                    </a:moveTo>
                    <a:cubicBezTo>
                      <a:pt x="3" y="0"/>
                      <a:pt x="2" y="1"/>
                      <a:pt x="2" y="1"/>
                    </a:cubicBezTo>
                    <a:cubicBezTo>
                      <a:pt x="2" y="1"/>
                      <a:pt x="2" y="1"/>
                      <a:pt x="2" y="1"/>
                    </a:cubicBezTo>
                    <a:cubicBezTo>
                      <a:pt x="2" y="2"/>
                      <a:pt x="2" y="2"/>
                      <a:pt x="2" y="2"/>
                    </a:cubicBezTo>
                    <a:cubicBezTo>
                      <a:pt x="0" y="3"/>
                      <a:pt x="1" y="4"/>
                      <a:pt x="2" y="6"/>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153"/>
              <p:cNvSpPr/>
              <p:nvPr/>
            </p:nvSpPr>
            <p:spPr bwMode="auto">
              <a:xfrm>
                <a:off x="6046" y="4653"/>
                <a:ext cx="37" cy="55"/>
              </a:xfrm>
              <a:custGeom>
                <a:gdLst>
                  <a:gd name="T0" fmla="*/ 9 w 16"/>
                  <a:gd name="T1" fmla="*/ 0 h 23"/>
                  <a:gd name="T2" fmla="*/ 8 w 16"/>
                  <a:gd name="T3" fmla="*/ 1 h 23"/>
                  <a:gd name="T4" fmla="*/ 8 w 16"/>
                  <a:gd name="T5" fmla="*/ 3 h 23"/>
                  <a:gd name="T6" fmla="*/ 8 w 16"/>
                  <a:gd name="T7" fmla="*/ 3 h 23"/>
                  <a:gd name="T8" fmla="*/ 7 w 16"/>
                  <a:gd name="T9" fmla="*/ 4 h 23"/>
                  <a:gd name="T10" fmla="*/ 5 w 16"/>
                  <a:gd name="T11" fmla="*/ 6 h 23"/>
                  <a:gd name="T12" fmla="*/ 3 w 16"/>
                  <a:gd name="T13" fmla="*/ 8 h 23"/>
                  <a:gd name="T14" fmla="*/ 5 w 16"/>
                  <a:gd name="T15" fmla="*/ 10 h 23"/>
                  <a:gd name="T16" fmla="*/ 3 w 16"/>
                  <a:gd name="T17" fmla="*/ 12 h 23"/>
                  <a:gd name="T18" fmla="*/ 3 w 16"/>
                  <a:gd name="T19" fmla="*/ 16 h 23"/>
                  <a:gd name="T20" fmla="*/ 11 w 16"/>
                  <a:gd name="T21" fmla="*/ 23 h 23"/>
                  <a:gd name="T22" fmla="*/ 12 w 16"/>
                  <a:gd name="T23" fmla="*/ 23 h 23"/>
                  <a:gd name="T24" fmla="*/ 14 w 16"/>
                  <a:gd name="T25" fmla="*/ 19 h 23"/>
                  <a:gd name="T26" fmla="*/ 13 w 16"/>
                  <a:gd name="T27" fmla="*/ 19 h 23"/>
                  <a:gd name="T28" fmla="*/ 13 w 16"/>
                  <a:gd name="T29" fmla="*/ 14 h 23"/>
                  <a:gd name="T30" fmla="*/ 13 w 16"/>
                  <a:gd name="T31" fmla="*/ 2 h 23"/>
                  <a:gd name="T32" fmla="*/ 11 w 16"/>
                  <a:gd name="T33" fmla="*/ 0 h 23"/>
                  <a:gd name="T34" fmla="*/ 9 w 16"/>
                  <a:gd name="T35"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23">
                    <a:moveTo>
                      <a:pt x="9" y="0"/>
                    </a:moveTo>
                    <a:cubicBezTo>
                      <a:pt x="8" y="0"/>
                      <a:pt x="9" y="1"/>
                      <a:pt x="8" y="1"/>
                    </a:cubicBezTo>
                    <a:cubicBezTo>
                      <a:pt x="8" y="1"/>
                      <a:pt x="9" y="2"/>
                      <a:pt x="8" y="3"/>
                    </a:cubicBezTo>
                    <a:cubicBezTo>
                      <a:pt x="8" y="3"/>
                      <a:pt x="8" y="3"/>
                      <a:pt x="8" y="3"/>
                    </a:cubicBezTo>
                    <a:cubicBezTo>
                      <a:pt x="8" y="3"/>
                      <a:pt x="7" y="3"/>
                      <a:pt x="7" y="4"/>
                    </a:cubicBezTo>
                    <a:cubicBezTo>
                      <a:pt x="6" y="5"/>
                      <a:pt x="6" y="5"/>
                      <a:pt x="5" y="6"/>
                    </a:cubicBezTo>
                    <a:cubicBezTo>
                      <a:pt x="2" y="8"/>
                      <a:pt x="0" y="6"/>
                      <a:pt x="3" y="8"/>
                    </a:cubicBezTo>
                    <a:cubicBezTo>
                      <a:pt x="4" y="9"/>
                      <a:pt x="5" y="8"/>
                      <a:pt x="5" y="10"/>
                    </a:cubicBezTo>
                    <a:cubicBezTo>
                      <a:pt x="5" y="11"/>
                      <a:pt x="4" y="11"/>
                      <a:pt x="3" y="12"/>
                    </a:cubicBezTo>
                    <a:cubicBezTo>
                      <a:pt x="3" y="16"/>
                      <a:pt x="3" y="16"/>
                      <a:pt x="3" y="16"/>
                    </a:cubicBezTo>
                    <a:cubicBezTo>
                      <a:pt x="3" y="19"/>
                      <a:pt x="8" y="23"/>
                      <a:pt x="11" y="23"/>
                    </a:cubicBezTo>
                    <a:cubicBezTo>
                      <a:pt x="11" y="23"/>
                      <a:pt x="11" y="23"/>
                      <a:pt x="12" y="23"/>
                    </a:cubicBezTo>
                    <a:cubicBezTo>
                      <a:pt x="13" y="22"/>
                      <a:pt x="16" y="19"/>
                      <a:pt x="14" y="19"/>
                    </a:cubicBezTo>
                    <a:cubicBezTo>
                      <a:pt x="13" y="19"/>
                      <a:pt x="13" y="19"/>
                      <a:pt x="13" y="19"/>
                    </a:cubicBezTo>
                    <a:cubicBezTo>
                      <a:pt x="16" y="17"/>
                      <a:pt x="15" y="16"/>
                      <a:pt x="13" y="14"/>
                    </a:cubicBezTo>
                    <a:cubicBezTo>
                      <a:pt x="14" y="10"/>
                      <a:pt x="16" y="6"/>
                      <a:pt x="13" y="2"/>
                    </a:cubicBezTo>
                    <a:cubicBezTo>
                      <a:pt x="12" y="1"/>
                      <a:pt x="12" y="1"/>
                      <a:pt x="11" y="0"/>
                    </a:cubicBezTo>
                    <a:cubicBezTo>
                      <a:pt x="10" y="0"/>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Freeform 154"/>
              <p:cNvSpPr>
                <a:spLocks noEditPoints="1"/>
              </p:cNvSpPr>
              <p:nvPr/>
            </p:nvSpPr>
            <p:spPr bwMode="auto">
              <a:xfrm>
                <a:off x="5831" y="4360"/>
                <a:ext cx="9" cy="7"/>
              </a:xfrm>
              <a:custGeom>
                <a:gdLst>
                  <a:gd name="T0" fmla="*/ 4 w 4"/>
                  <a:gd name="T1" fmla="*/ 1 h 3"/>
                  <a:gd name="T2" fmla="*/ 0 w 4"/>
                  <a:gd name="T3" fmla="*/ 2 h 3"/>
                  <a:gd name="T4" fmla="*/ 0 w 4"/>
                  <a:gd name="T5" fmla="*/ 3 h 3"/>
                  <a:gd name="T6" fmla="*/ 4 w 4"/>
                  <a:gd name="T7" fmla="*/ 1 h 3"/>
                  <a:gd name="T8" fmla="*/ 4 w 4"/>
                  <a:gd name="T9" fmla="*/ 0 h 3"/>
                  <a:gd name="T10" fmla="*/ 4 w 4"/>
                  <a:gd name="T11" fmla="*/ 1 h 3"/>
                  <a:gd name="T12" fmla="*/ 4 w 4"/>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4" h="3">
                    <a:moveTo>
                      <a:pt x="4" y="1"/>
                    </a:moveTo>
                    <a:cubicBezTo>
                      <a:pt x="2" y="2"/>
                      <a:pt x="1" y="1"/>
                      <a:pt x="0" y="2"/>
                    </a:cubicBezTo>
                    <a:cubicBezTo>
                      <a:pt x="0" y="2"/>
                      <a:pt x="0" y="2"/>
                      <a:pt x="0" y="3"/>
                    </a:cubicBezTo>
                    <a:cubicBezTo>
                      <a:pt x="1" y="2"/>
                      <a:pt x="3" y="1"/>
                      <a:pt x="4" y="1"/>
                    </a:cubicBezTo>
                    <a:moveTo>
                      <a:pt x="4" y="0"/>
                    </a:moveTo>
                    <a:cubicBezTo>
                      <a:pt x="4" y="0"/>
                      <a:pt x="4" y="1"/>
                      <a:pt x="4" y="1"/>
                    </a:cubicBezTo>
                    <a:cubicBezTo>
                      <a:pt x="4"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155"/>
              <p:cNvSpPr/>
              <p:nvPr/>
            </p:nvSpPr>
            <p:spPr bwMode="auto">
              <a:xfrm>
                <a:off x="5384" y="4403"/>
                <a:ext cx="45" cy="28"/>
              </a:xfrm>
              <a:custGeom>
                <a:gdLst>
                  <a:gd name="T0" fmla="*/ 10 w 19"/>
                  <a:gd name="T1" fmla="*/ 0 h 12"/>
                  <a:gd name="T2" fmla="*/ 7 w 19"/>
                  <a:gd name="T3" fmla="*/ 1 h 12"/>
                  <a:gd name="T4" fmla="*/ 7 w 19"/>
                  <a:gd name="T5" fmla="*/ 1 h 12"/>
                  <a:gd name="T6" fmla="*/ 2 w 19"/>
                  <a:gd name="T7" fmla="*/ 2 h 12"/>
                  <a:gd name="T8" fmla="*/ 1 w 19"/>
                  <a:gd name="T9" fmla="*/ 8 h 12"/>
                  <a:gd name="T10" fmla="*/ 3 w 19"/>
                  <a:gd name="T11" fmla="*/ 11 h 12"/>
                  <a:gd name="T12" fmla="*/ 9 w 19"/>
                  <a:gd name="T13" fmla="*/ 4 h 12"/>
                  <a:gd name="T14" fmla="*/ 10 w 19"/>
                  <a:gd name="T15" fmla="*/ 8 h 12"/>
                  <a:gd name="T16" fmla="*/ 11 w 19"/>
                  <a:gd name="T17" fmla="*/ 12 h 12"/>
                  <a:gd name="T18" fmla="*/ 19 w 19"/>
                  <a:gd name="T19" fmla="*/ 4 h 12"/>
                  <a:gd name="T20" fmla="*/ 15 w 19"/>
                  <a:gd name="T21" fmla="*/ 2 h 12"/>
                  <a:gd name="T22" fmla="*/ 13 w 19"/>
                  <a:gd name="T23" fmla="*/ 4 h 12"/>
                  <a:gd name="T24" fmla="*/ 10 w 19"/>
                  <a:gd name="T25"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2">
                    <a:moveTo>
                      <a:pt x="10" y="0"/>
                    </a:moveTo>
                    <a:cubicBezTo>
                      <a:pt x="10" y="1"/>
                      <a:pt x="8" y="1"/>
                      <a:pt x="7" y="1"/>
                    </a:cubicBezTo>
                    <a:cubicBezTo>
                      <a:pt x="7" y="1"/>
                      <a:pt x="7" y="1"/>
                      <a:pt x="7" y="1"/>
                    </a:cubicBezTo>
                    <a:cubicBezTo>
                      <a:pt x="6" y="1"/>
                      <a:pt x="4" y="1"/>
                      <a:pt x="2" y="2"/>
                    </a:cubicBezTo>
                    <a:cubicBezTo>
                      <a:pt x="0" y="4"/>
                      <a:pt x="0" y="6"/>
                      <a:pt x="1" y="8"/>
                    </a:cubicBezTo>
                    <a:cubicBezTo>
                      <a:pt x="1" y="10"/>
                      <a:pt x="2" y="11"/>
                      <a:pt x="3" y="11"/>
                    </a:cubicBezTo>
                    <a:cubicBezTo>
                      <a:pt x="5" y="11"/>
                      <a:pt x="7" y="6"/>
                      <a:pt x="9" y="4"/>
                    </a:cubicBezTo>
                    <a:cubicBezTo>
                      <a:pt x="9" y="5"/>
                      <a:pt x="10" y="7"/>
                      <a:pt x="10" y="8"/>
                    </a:cubicBezTo>
                    <a:cubicBezTo>
                      <a:pt x="9" y="11"/>
                      <a:pt x="7" y="11"/>
                      <a:pt x="11" y="12"/>
                    </a:cubicBezTo>
                    <a:cubicBezTo>
                      <a:pt x="12" y="6"/>
                      <a:pt x="14" y="7"/>
                      <a:pt x="19" y="4"/>
                    </a:cubicBezTo>
                    <a:cubicBezTo>
                      <a:pt x="18" y="3"/>
                      <a:pt x="16" y="2"/>
                      <a:pt x="15" y="2"/>
                    </a:cubicBezTo>
                    <a:cubicBezTo>
                      <a:pt x="14" y="2"/>
                      <a:pt x="13" y="3"/>
                      <a:pt x="13" y="4"/>
                    </a:cubicBezTo>
                    <a:cubicBezTo>
                      <a:pt x="12" y="3"/>
                      <a:pt x="11" y="1"/>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156"/>
              <p:cNvSpPr/>
              <p:nvPr/>
            </p:nvSpPr>
            <p:spPr bwMode="auto">
              <a:xfrm>
                <a:off x="5715" y="4748"/>
                <a:ext cx="9" cy="9"/>
              </a:xfrm>
              <a:custGeom>
                <a:gdLst>
                  <a:gd name="T0" fmla="*/ 4 w 4"/>
                  <a:gd name="T1" fmla="*/ 0 h 4"/>
                  <a:gd name="T2" fmla="*/ 4 w 4"/>
                  <a:gd name="T3" fmla="*/ 4 h 4"/>
                  <a:gd name="T4" fmla="*/ 4 w 4"/>
                  <a:gd name="T5" fmla="*/ 0 h 4"/>
                </a:gdLst>
                <a:cxnLst>
                  <a:cxn ang="0">
                    <a:pos x="T0" y="T1"/>
                  </a:cxn>
                  <a:cxn ang="0">
                    <a:pos x="T2" y="T3"/>
                  </a:cxn>
                  <a:cxn ang="0">
                    <a:pos x="T4" y="T5"/>
                  </a:cxn>
                </a:cxnLst>
                <a:rect l="0" t="0" r="r" b="b"/>
                <a:pathLst>
                  <a:path w="4" h="4">
                    <a:moveTo>
                      <a:pt x="4" y="0"/>
                    </a:moveTo>
                    <a:cubicBezTo>
                      <a:pt x="0" y="1"/>
                      <a:pt x="1" y="3"/>
                      <a:pt x="4" y="4"/>
                    </a:cubicBezTo>
                    <a:cubicBezTo>
                      <a:pt x="4" y="3"/>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157"/>
              <p:cNvSpPr/>
              <p:nvPr/>
            </p:nvSpPr>
            <p:spPr bwMode="auto">
              <a:xfrm>
                <a:off x="5651" y="4417"/>
                <a:ext cx="47" cy="21"/>
              </a:xfrm>
              <a:custGeom>
                <a:gdLst>
                  <a:gd name="T0" fmla="*/ 8 w 20"/>
                  <a:gd name="T1" fmla="*/ 0 h 9"/>
                  <a:gd name="T2" fmla="*/ 2 w 20"/>
                  <a:gd name="T3" fmla="*/ 1 h 9"/>
                  <a:gd name="T4" fmla="*/ 0 w 20"/>
                  <a:gd name="T5" fmla="*/ 7 h 9"/>
                  <a:gd name="T6" fmla="*/ 4 w 20"/>
                  <a:gd name="T7" fmla="*/ 9 h 9"/>
                  <a:gd name="T8" fmla="*/ 7 w 20"/>
                  <a:gd name="T9" fmla="*/ 8 h 9"/>
                  <a:gd name="T10" fmla="*/ 13 w 20"/>
                  <a:gd name="T11" fmla="*/ 8 h 9"/>
                  <a:gd name="T12" fmla="*/ 14 w 20"/>
                  <a:gd name="T13" fmla="*/ 8 h 9"/>
                  <a:gd name="T14" fmla="*/ 16 w 20"/>
                  <a:gd name="T15" fmla="*/ 8 h 9"/>
                  <a:gd name="T16" fmla="*/ 15 w 20"/>
                  <a:gd name="T17" fmla="*/ 3 h 9"/>
                  <a:gd name="T18" fmla="*/ 8 w 20"/>
                  <a:gd name="T1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9">
                    <a:moveTo>
                      <a:pt x="8" y="0"/>
                    </a:moveTo>
                    <a:cubicBezTo>
                      <a:pt x="7" y="0"/>
                      <a:pt x="5" y="1"/>
                      <a:pt x="2" y="1"/>
                    </a:cubicBezTo>
                    <a:cubicBezTo>
                      <a:pt x="1" y="3"/>
                      <a:pt x="0" y="5"/>
                      <a:pt x="0" y="7"/>
                    </a:cubicBezTo>
                    <a:cubicBezTo>
                      <a:pt x="1" y="8"/>
                      <a:pt x="3" y="9"/>
                      <a:pt x="4" y="9"/>
                    </a:cubicBezTo>
                    <a:cubicBezTo>
                      <a:pt x="5" y="9"/>
                      <a:pt x="6" y="8"/>
                      <a:pt x="7" y="8"/>
                    </a:cubicBezTo>
                    <a:cubicBezTo>
                      <a:pt x="9" y="8"/>
                      <a:pt x="11" y="8"/>
                      <a:pt x="13" y="8"/>
                    </a:cubicBezTo>
                    <a:cubicBezTo>
                      <a:pt x="13" y="8"/>
                      <a:pt x="14" y="8"/>
                      <a:pt x="14" y="8"/>
                    </a:cubicBezTo>
                    <a:cubicBezTo>
                      <a:pt x="15" y="8"/>
                      <a:pt x="15" y="8"/>
                      <a:pt x="16" y="8"/>
                    </a:cubicBezTo>
                    <a:cubicBezTo>
                      <a:pt x="19" y="8"/>
                      <a:pt x="20" y="7"/>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158"/>
              <p:cNvSpPr/>
              <p:nvPr/>
            </p:nvSpPr>
            <p:spPr bwMode="auto">
              <a:xfrm>
                <a:off x="3888" y="4247"/>
                <a:ext cx="50" cy="56"/>
              </a:xfrm>
              <a:custGeom>
                <a:gdLst>
                  <a:gd name="T0" fmla="*/ 6 w 21"/>
                  <a:gd name="T1" fmla="*/ 0 h 24"/>
                  <a:gd name="T2" fmla="*/ 0 w 21"/>
                  <a:gd name="T3" fmla="*/ 3 h 24"/>
                  <a:gd name="T4" fmla="*/ 11 w 21"/>
                  <a:gd name="T5" fmla="*/ 16 h 24"/>
                  <a:gd name="T6" fmla="*/ 18 w 21"/>
                  <a:gd name="T7" fmla="*/ 24 h 24"/>
                  <a:gd name="T8" fmla="*/ 20 w 21"/>
                  <a:gd name="T9" fmla="*/ 19 h 24"/>
                  <a:gd name="T10" fmla="*/ 19 w 21"/>
                  <a:gd name="T11" fmla="*/ 13 h 24"/>
                  <a:gd name="T12" fmla="*/ 6 w 21"/>
                  <a:gd name="T13" fmla="*/ 0 h 24"/>
                </a:gdLst>
                <a:cxnLst>
                  <a:cxn ang="0">
                    <a:pos x="T0" y="T1"/>
                  </a:cxn>
                  <a:cxn ang="0">
                    <a:pos x="T2" y="T3"/>
                  </a:cxn>
                  <a:cxn ang="0">
                    <a:pos x="T4" y="T5"/>
                  </a:cxn>
                  <a:cxn ang="0">
                    <a:pos x="T6" y="T7"/>
                  </a:cxn>
                  <a:cxn ang="0">
                    <a:pos x="T8" y="T9"/>
                  </a:cxn>
                  <a:cxn ang="0">
                    <a:pos x="T10" y="T11"/>
                  </a:cxn>
                  <a:cxn ang="0">
                    <a:pos x="T12" y="T13"/>
                  </a:cxn>
                </a:cxnLst>
                <a:rect l="0" t="0" r="r" b="b"/>
                <a:pathLst>
                  <a:path w="21" h="24">
                    <a:moveTo>
                      <a:pt x="6" y="0"/>
                    </a:moveTo>
                    <a:cubicBezTo>
                      <a:pt x="7" y="4"/>
                      <a:pt x="2" y="2"/>
                      <a:pt x="0" y="3"/>
                    </a:cubicBezTo>
                    <a:cubicBezTo>
                      <a:pt x="5" y="5"/>
                      <a:pt x="7" y="12"/>
                      <a:pt x="11" y="16"/>
                    </a:cubicBezTo>
                    <a:cubicBezTo>
                      <a:pt x="13" y="19"/>
                      <a:pt x="15" y="22"/>
                      <a:pt x="18" y="24"/>
                    </a:cubicBezTo>
                    <a:cubicBezTo>
                      <a:pt x="20" y="23"/>
                      <a:pt x="20" y="21"/>
                      <a:pt x="20" y="19"/>
                    </a:cubicBezTo>
                    <a:cubicBezTo>
                      <a:pt x="20" y="17"/>
                      <a:pt x="21" y="16"/>
                      <a:pt x="19" y="13"/>
                    </a:cubicBezTo>
                    <a:cubicBezTo>
                      <a:pt x="15" y="9"/>
                      <a:pt x="11"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159"/>
              <p:cNvSpPr/>
              <p:nvPr/>
            </p:nvSpPr>
            <p:spPr bwMode="auto">
              <a:xfrm>
                <a:off x="6055" y="4455"/>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0"/>
                      <a:pt x="0" y="2"/>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160"/>
              <p:cNvSpPr/>
              <p:nvPr/>
            </p:nvSpPr>
            <p:spPr bwMode="auto">
              <a:xfrm>
                <a:off x="5644" y="4355"/>
                <a:ext cx="38" cy="34"/>
              </a:xfrm>
              <a:custGeom>
                <a:gdLst>
                  <a:gd name="T0" fmla="*/ 7 w 16"/>
                  <a:gd name="T1" fmla="*/ 0 h 14"/>
                  <a:gd name="T2" fmla="*/ 5 w 16"/>
                  <a:gd name="T3" fmla="*/ 2 h 14"/>
                  <a:gd name="T4" fmla="*/ 5 w 16"/>
                  <a:gd name="T5" fmla="*/ 2 h 14"/>
                  <a:gd name="T6" fmla="*/ 4 w 16"/>
                  <a:gd name="T7" fmla="*/ 1 h 14"/>
                  <a:gd name="T8" fmla="*/ 3 w 16"/>
                  <a:gd name="T9" fmla="*/ 0 h 14"/>
                  <a:gd name="T10" fmla="*/ 3 w 16"/>
                  <a:gd name="T11" fmla="*/ 0 h 14"/>
                  <a:gd name="T12" fmla="*/ 3 w 16"/>
                  <a:gd name="T13" fmla="*/ 7 h 14"/>
                  <a:gd name="T14" fmla="*/ 5 w 16"/>
                  <a:gd name="T15" fmla="*/ 8 h 14"/>
                  <a:gd name="T16" fmla="*/ 5 w 16"/>
                  <a:gd name="T17" fmla="*/ 10 h 14"/>
                  <a:gd name="T18" fmla="*/ 5 w 16"/>
                  <a:gd name="T19" fmla="*/ 12 h 14"/>
                  <a:gd name="T20" fmla="*/ 7 w 16"/>
                  <a:gd name="T21" fmla="*/ 12 h 14"/>
                  <a:gd name="T22" fmla="*/ 9 w 16"/>
                  <a:gd name="T23" fmla="*/ 11 h 14"/>
                  <a:gd name="T24" fmla="*/ 12 w 16"/>
                  <a:gd name="T25" fmla="*/ 14 h 14"/>
                  <a:gd name="T26" fmla="*/ 12 w 16"/>
                  <a:gd name="T27" fmla="*/ 14 h 14"/>
                  <a:gd name="T28" fmla="*/ 15 w 16"/>
                  <a:gd name="T29" fmla="*/ 12 h 14"/>
                  <a:gd name="T30" fmla="*/ 11 w 16"/>
                  <a:gd name="T31" fmla="*/ 9 h 14"/>
                  <a:gd name="T32" fmla="*/ 11 w 16"/>
                  <a:gd name="T33" fmla="*/ 9 h 14"/>
                  <a:gd name="T34" fmla="*/ 11 w 16"/>
                  <a:gd name="T35" fmla="*/ 9 h 14"/>
                  <a:gd name="T36" fmla="*/ 10 w 16"/>
                  <a:gd name="T37" fmla="*/ 10 h 14"/>
                  <a:gd name="T38" fmla="*/ 10 w 16"/>
                  <a:gd name="T39" fmla="*/ 8 h 14"/>
                  <a:gd name="T40" fmla="*/ 7 w 16"/>
                  <a:gd name="T41"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4">
                    <a:moveTo>
                      <a:pt x="7" y="0"/>
                    </a:moveTo>
                    <a:cubicBezTo>
                      <a:pt x="6" y="0"/>
                      <a:pt x="5" y="2"/>
                      <a:pt x="5" y="2"/>
                    </a:cubicBezTo>
                    <a:cubicBezTo>
                      <a:pt x="5" y="2"/>
                      <a:pt x="5" y="2"/>
                      <a:pt x="5" y="2"/>
                    </a:cubicBezTo>
                    <a:cubicBezTo>
                      <a:pt x="4" y="2"/>
                      <a:pt x="4" y="2"/>
                      <a:pt x="4" y="1"/>
                    </a:cubicBezTo>
                    <a:cubicBezTo>
                      <a:pt x="4" y="1"/>
                      <a:pt x="3" y="0"/>
                      <a:pt x="3" y="0"/>
                    </a:cubicBezTo>
                    <a:cubicBezTo>
                      <a:pt x="3" y="0"/>
                      <a:pt x="3" y="0"/>
                      <a:pt x="3" y="0"/>
                    </a:cubicBezTo>
                    <a:cubicBezTo>
                      <a:pt x="0" y="0"/>
                      <a:pt x="2" y="5"/>
                      <a:pt x="3" y="7"/>
                    </a:cubicBezTo>
                    <a:cubicBezTo>
                      <a:pt x="3" y="7"/>
                      <a:pt x="5" y="8"/>
                      <a:pt x="5" y="8"/>
                    </a:cubicBezTo>
                    <a:cubicBezTo>
                      <a:pt x="6" y="9"/>
                      <a:pt x="5" y="9"/>
                      <a:pt x="5" y="10"/>
                    </a:cubicBezTo>
                    <a:cubicBezTo>
                      <a:pt x="5" y="11"/>
                      <a:pt x="4" y="12"/>
                      <a:pt x="5" y="12"/>
                    </a:cubicBezTo>
                    <a:cubicBezTo>
                      <a:pt x="6" y="12"/>
                      <a:pt x="6" y="12"/>
                      <a:pt x="7" y="12"/>
                    </a:cubicBezTo>
                    <a:cubicBezTo>
                      <a:pt x="8" y="11"/>
                      <a:pt x="8" y="11"/>
                      <a:pt x="9" y="11"/>
                    </a:cubicBezTo>
                    <a:cubicBezTo>
                      <a:pt x="11" y="11"/>
                      <a:pt x="9" y="14"/>
                      <a:pt x="12" y="14"/>
                    </a:cubicBezTo>
                    <a:cubicBezTo>
                      <a:pt x="12" y="14"/>
                      <a:pt x="12" y="14"/>
                      <a:pt x="12" y="14"/>
                    </a:cubicBezTo>
                    <a:cubicBezTo>
                      <a:pt x="14" y="14"/>
                      <a:pt x="14" y="13"/>
                      <a:pt x="15" y="12"/>
                    </a:cubicBezTo>
                    <a:cubicBezTo>
                      <a:pt x="16" y="11"/>
                      <a:pt x="12" y="10"/>
                      <a:pt x="11" y="9"/>
                    </a:cubicBezTo>
                    <a:cubicBezTo>
                      <a:pt x="11" y="9"/>
                      <a:pt x="11" y="9"/>
                      <a:pt x="11" y="9"/>
                    </a:cubicBezTo>
                    <a:cubicBezTo>
                      <a:pt x="11" y="9"/>
                      <a:pt x="11" y="9"/>
                      <a:pt x="11" y="9"/>
                    </a:cubicBezTo>
                    <a:cubicBezTo>
                      <a:pt x="10" y="10"/>
                      <a:pt x="10" y="10"/>
                      <a:pt x="10" y="10"/>
                    </a:cubicBezTo>
                    <a:cubicBezTo>
                      <a:pt x="10" y="10"/>
                      <a:pt x="10" y="9"/>
                      <a:pt x="10" y="8"/>
                    </a:cubicBezTo>
                    <a:cubicBezTo>
                      <a:pt x="9" y="5"/>
                      <a:pt x="9"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161"/>
              <p:cNvSpPr/>
              <p:nvPr/>
            </p:nvSpPr>
            <p:spPr bwMode="auto">
              <a:xfrm>
                <a:off x="4791" y="4670"/>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1" y="1"/>
                      <a:pt x="0" y="1"/>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Freeform 162"/>
              <p:cNvSpPr/>
              <p:nvPr/>
            </p:nvSpPr>
            <p:spPr bwMode="auto">
              <a:xfrm>
                <a:off x="3780" y="4008"/>
                <a:ext cx="630" cy="674"/>
              </a:xfrm>
              <a:custGeom>
                <a:gdLst>
                  <a:gd name="T0" fmla="*/ 1 w 267"/>
                  <a:gd name="T1" fmla="*/ 6 h 285"/>
                  <a:gd name="T2" fmla="*/ 46 w 267"/>
                  <a:gd name="T3" fmla="*/ 54 h 285"/>
                  <a:gd name="T4" fmla="*/ 60 w 267"/>
                  <a:gd name="T5" fmla="*/ 74 h 285"/>
                  <a:gd name="T6" fmla="*/ 77 w 267"/>
                  <a:gd name="T7" fmla="*/ 89 h 285"/>
                  <a:gd name="T8" fmla="*/ 88 w 267"/>
                  <a:gd name="T9" fmla="*/ 99 h 285"/>
                  <a:gd name="T10" fmla="*/ 104 w 267"/>
                  <a:gd name="T11" fmla="*/ 135 h 285"/>
                  <a:gd name="T12" fmla="*/ 137 w 267"/>
                  <a:gd name="T13" fmla="*/ 183 h 285"/>
                  <a:gd name="T14" fmla="*/ 173 w 267"/>
                  <a:gd name="T15" fmla="*/ 231 h 285"/>
                  <a:gd name="T16" fmla="*/ 202 w 267"/>
                  <a:gd name="T17" fmla="*/ 257 h 285"/>
                  <a:gd name="T18" fmla="*/ 232 w 267"/>
                  <a:gd name="T19" fmla="*/ 285 h 285"/>
                  <a:gd name="T20" fmla="*/ 234 w 267"/>
                  <a:gd name="T21" fmla="*/ 275 h 285"/>
                  <a:gd name="T22" fmla="*/ 244 w 267"/>
                  <a:gd name="T23" fmla="*/ 281 h 285"/>
                  <a:gd name="T24" fmla="*/ 250 w 267"/>
                  <a:gd name="T25" fmla="*/ 275 h 285"/>
                  <a:gd name="T26" fmla="*/ 262 w 267"/>
                  <a:gd name="T27" fmla="*/ 247 h 285"/>
                  <a:gd name="T28" fmla="*/ 263 w 267"/>
                  <a:gd name="T29" fmla="*/ 224 h 285"/>
                  <a:gd name="T30" fmla="*/ 247 w 267"/>
                  <a:gd name="T31" fmla="*/ 197 h 285"/>
                  <a:gd name="T32" fmla="*/ 236 w 267"/>
                  <a:gd name="T33" fmla="*/ 198 h 285"/>
                  <a:gd name="T34" fmla="*/ 231 w 267"/>
                  <a:gd name="T35" fmla="*/ 198 h 285"/>
                  <a:gd name="T36" fmla="*/ 229 w 267"/>
                  <a:gd name="T37" fmla="*/ 185 h 285"/>
                  <a:gd name="T38" fmla="*/ 224 w 267"/>
                  <a:gd name="T39" fmla="*/ 165 h 285"/>
                  <a:gd name="T40" fmla="*/ 220 w 267"/>
                  <a:gd name="T41" fmla="*/ 165 h 285"/>
                  <a:gd name="T42" fmla="*/ 201 w 267"/>
                  <a:gd name="T43" fmla="*/ 150 h 285"/>
                  <a:gd name="T44" fmla="*/ 200 w 267"/>
                  <a:gd name="T45" fmla="*/ 148 h 285"/>
                  <a:gd name="T46" fmla="*/ 199 w 267"/>
                  <a:gd name="T47" fmla="*/ 145 h 285"/>
                  <a:gd name="T48" fmla="*/ 207 w 267"/>
                  <a:gd name="T49" fmla="*/ 140 h 285"/>
                  <a:gd name="T50" fmla="*/ 207 w 267"/>
                  <a:gd name="T51" fmla="*/ 131 h 285"/>
                  <a:gd name="T52" fmla="*/ 191 w 267"/>
                  <a:gd name="T53" fmla="*/ 130 h 285"/>
                  <a:gd name="T54" fmla="*/ 181 w 267"/>
                  <a:gd name="T55" fmla="*/ 134 h 285"/>
                  <a:gd name="T56" fmla="*/ 194 w 267"/>
                  <a:gd name="T57" fmla="*/ 128 h 285"/>
                  <a:gd name="T58" fmla="*/ 176 w 267"/>
                  <a:gd name="T59" fmla="*/ 118 h 285"/>
                  <a:gd name="T60" fmla="*/ 155 w 267"/>
                  <a:gd name="T61" fmla="*/ 97 h 285"/>
                  <a:gd name="T62" fmla="*/ 139 w 267"/>
                  <a:gd name="T63" fmla="*/ 84 h 285"/>
                  <a:gd name="T64" fmla="*/ 141 w 267"/>
                  <a:gd name="T65" fmla="*/ 94 h 285"/>
                  <a:gd name="T66" fmla="*/ 128 w 267"/>
                  <a:gd name="T67" fmla="*/ 83 h 285"/>
                  <a:gd name="T68" fmla="*/ 118 w 267"/>
                  <a:gd name="T69" fmla="*/ 74 h 285"/>
                  <a:gd name="T70" fmla="*/ 91 w 267"/>
                  <a:gd name="T71" fmla="*/ 49 h 285"/>
                  <a:gd name="T72" fmla="*/ 78 w 267"/>
                  <a:gd name="T73" fmla="*/ 51 h 285"/>
                  <a:gd name="T74" fmla="*/ 79 w 267"/>
                  <a:gd name="T75" fmla="*/ 39 h 285"/>
                  <a:gd name="T76" fmla="*/ 75 w 267"/>
                  <a:gd name="T77" fmla="*/ 33 h 285"/>
                  <a:gd name="T78" fmla="*/ 57 w 267"/>
                  <a:gd name="T79" fmla="*/ 11 h 285"/>
                  <a:gd name="T80" fmla="*/ 49 w 267"/>
                  <a:gd name="T81" fmla="*/ 12 h 285"/>
                  <a:gd name="T82" fmla="*/ 33 w 267"/>
                  <a:gd name="T83" fmla="*/ 10 h 2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285">
                    <a:moveTo>
                      <a:pt x="9" y="0"/>
                    </a:moveTo>
                    <a:cubicBezTo>
                      <a:pt x="6" y="0"/>
                      <a:pt x="5" y="0"/>
                      <a:pt x="2" y="2"/>
                    </a:cubicBezTo>
                    <a:cubicBezTo>
                      <a:pt x="0" y="3"/>
                      <a:pt x="0" y="3"/>
                      <a:pt x="1" y="6"/>
                    </a:cubicBezTo>
                    <a:cubicBezTo>
                      <a:pt x="2" y="11"/>
                      <a:pt x="3" y="13"/>
                      <a:pt x="6" y="17"/>
                    </a:cubicBezTo>
                    <a:cubicBezTo>
                      <a:pt x="14" y="29"/>
                      <a:pt x="24" y="41"/>
                      <a:pt x="36" y="48"/>
                    </a:cubicBezTo>
                    <a:cubicBezTo>
                      <a:pt x="39" y="50"/>
                      <a:pt x="43" y="51"/>
                      <a:pt x="46" y="54"/>
                    </a:cubicBezTo>
                    <a:cubicBezTo>
                      <a:pt x="48" y="57"/>
                      <a:pt x="51" y="61"/>
                      <a:pt x="54" y="64"/>
                    </a:cubicBezTo>
                    <a:cubicBezTo>
                      <a:pt x="55" y="65"/>
                      <a:pt x="58" y="67"/>
                      <a:pt x="58" y="68"/>
                    </a:cubicBezTo>
                    <a:cubicBezTo>
                      <a:pt x="59" y="70"/>
                      <a:pt x="59" y="72"/>
                      <a:pt x="60" y="74"/>
                    </a:cubicBezTo>
                    <a:cubicBezTo>
                      <a:pt x="60" y="77"/>
                      <a:pt x="60" y="81"/>
                      <a:pt x="62" y="82"/>
                    </a:cubicBezTo>
                    <a:cubicBezTo>
                      <a:pt x="63" y="84"/>
                      <a:pt x="65" y="84"/>
                      <a:pt x="67" y="84"/>
                    </a:cubicBezTo>
                    <a:cubicBezTo>
                      <a:pt x="71" y="85"/>
                      <a:pt x="73" y="87"/>
                      <a:pt x="77" y="89"/>
                    </a:cubicBezTo>
                    <a:cubicBezTo>
                      <a:pt x="81" y="91"/>
                      <a:pt x="83" y="93"/>
                      <a:pt x="87" y="96"/>
                    </a:cubicBezTo>
                    <a:cubicBezTo>
                      <a:pt x="86" y="95"/>
                      <a:pt x="86" y="95"/>
                      <a:pt x="86" y="95"/>
                    </a:cubicBezTo>
                    <a:cubicBezTo>
                      <a:pt x="88" y="96"/>
                      <a:pt x="88" y="97"/>
                      <a:pt x="88" y="99"/>
                    </a:cubicBezTo>
                    <a:cubicBezTo>
                      <a:pt x="88" y="103"/>
                      <a:pt x="89" y="107"/>
                      <a:pt x="91" y="111"/>
                    </a:cubicBezTo>
                    <a:cubicBezTo>
                      <a:pt x="92" y="117"/>
                      <a:pt x="94" y="123"/>
                      <a:pt x="96" y="129"/>
                    </a:cubicBezTo>
                    <a:cubicBezTo>
                      <a:pt x="97" y="134"/>
                      <a:pt x="99" y="133"/>
                      <a:pt x="104" y="135"/>
                    </a:cubicBezTo>
                    <a:cubicBezTo>
                      <a:pt x="108" y="136"/>
                      <a:pt x="109" y="137"/>
                      <a:pt x="111" y="141"/>
                    </a:cubicBezTo>
                    <a:cubicBezTo>
                      <a:pt x="115" y="148"/>
                      <a:pt x="126" y="156"/>
                      <a:pt x="127" y="164"/>
                    </a:cubicBezTo>
                    <a:cubicBezTo>
                      <a:pt x="127" y="171"/>
                      <a:pt x="133" y="177"/>
                      <a:pt x="137" y="183"/>
                    </a:cubicBezTo>
                    <a:cubicBezTo>
                      <a:pt x="140" y="188"/>
                      <a:pt x="141" y="193"/>
                      <a:pt x="143" y="199"/>
                    </a:cubicBezTo>
                    <a:cubicBezTo>
                      <a:pt x="144" y="205"/>
                      <a:pt x="152" y="212"/>
                      <a:pt x="156" y="217"/>
                    </a:cubicBezTo>
                    <a:cubicBezTo>
                      <a:pt x="161" y="222"/>
                      <a:pt x="167" y="226"/>
                      <a:pt x="173" y="231"/>
                    </a:cubicBezTo>
                    <a:cubicBezTo>
                      <a:pt x="175" y="232"/>
                      <a:pt x="173" y="236"/>
                      <a:pt x="175" y="237"/>
                    </a:cubicBezTo>
                    <a:cubicBezTo>
                      <a:pt x="178" y="240"/>
                      <a:pt x="182" y="242"/>
                      <a:pt x="185" y="245"/>
                    </a:cubicBezTo>
                    <a:cubicBezTo>
                      <a:pt x="191" y="249"/>
                      <a:pt x="196" y="253"/>
                      <a:pt x="202" y="257"/>
                    </a:cubicBezTo>
                    <a:cubicBezTo>
                      <a:pt x="207" y="261"/>
                      <a:pt x="211" y="265"/>
                      <a:pt x="216" y="270"/>
                    </a:cubicBezTo>
                    <a:cubicBezTo>
                      <a:pt x="220" y="274"/>
                      <a:pt x="224" y="278"/>
                      <a:pt x="227" y="282"/>
                    </a:cubicBezTo>
                    <a:cubicBezTo>
                      <a:pt x="228" y="283"/>
                      <a:pt x="230" y="285"/>
                      <a:pt x="232" y="285"/>
                    </a:cubicBezTo>
                    <a:cubicBezTo>
                      <a:pt x="232" y="285"/>
                      <a:pt x="232" y="285"/>
                      <a:pt x="232" y="285"/>
                    </a:cubicBezTo>
                    <a:cubicBezTo>
                      <a:pt x="232" y="283"/>
                      <a:pt x="229" y="275"/>
                      <a:pt x="232" y="275"/>
                    </a:cubicBezTo>
                    <a:cubicBezTo>
                      <a:pt x="233" y="275"/>
                      <a:pt x="233" y="275"/>
                      <a:pt x="234" y="275"/>
                    </a:cubicBezTo>
                    <a:cubicBezTo>
                      <a:pt x="235" y="275"/>
                      <a:pt x="236" y="277"/>
                      <a:pt x="237" y="278"/>
                    </a:cubicBezTo>
                    <a:cubicBezTo>
                      <a:pt x="238" y="279"/>
                      <a:pt x="239" y="279"/>
                      <a:pt x="241" y="280"/>
                    </a:cubicBezTo>
                    <a:cubicBezTo>
                      <a:pt x="242" y="280"/>
                      <a:pt x="243" y="281"/>
                      <a:pt x="244" y="281"/>
                    </a:cubicBezTo>
                    <a:cubicBezTo>
                      <a:pt x="245" y="281"/>
                      <a:pt x="245" y="280"/>
                      <a:pt x="245" y="280"/>
                    </a:cubicBezTo>
                    <a:cubicBezTo>
                      <a:pt x="246" y="278"/>
                      <a:pt x="246" y="275"/>
                      <a:pt x="249" y="275"/>
                    </a:cubicBezTo>
                    <a:cubicBezTo>
                      <a:pt x="249" y="275"/>
                      <a:pt x="249" y="275"/>
                      <a:pt x="250" y="275"/>
                    </a:cubicBezTo>
                    <a:cubicBezTo>
                      <a:pt x="252" y="276"/>
                      <a:pt x="256" y="282"/>
                      <a:pt x="259" y="284"/>
                    </a:cubicBezTo>
                    <a:cubicBezTo>
                      <a:pt x="261" y="283"/>
                      <a:pt x="261" y="281"/>
                      <a:pt x="261" y="279"/>
                    </a:cubicBezTo>
                    <a:cubicBezTo>
                      <a:pt x="263" y="269"/>
                      <a:pt x="263" y="258"/>
                      <a:pt x="262" y="247"/>
                    </a:cubicBezTo>
                    <a:cubicBezTo>
                      <a:pt x="262" y="243"/>
                      <a:pt x="262" y="241"/>
                      <a:pt x="263" y="237"/>
                    </a:cubicBezTo>
                    <a:cubicBezTo>
                      <a:pt x="264" y="235"/>
                      <a:pt x="265" y="234"/>
                      <a:pt x="264" y="233"/>
                    </a:cubicBezTo>
                    <a:cubicBezTo>
                      <a:pt x="263" y="229"/>
                      <a:pt x="260" y="229"/>
                      <a:pt x="263" y="224"/>
                    </a:cubicBezTo>
                    <a:cubicBezTo>
                      <a:pt x="263" y="223"/>
                      <a:pt x="267" y="220"/>
                      <a:pt x="267" y="219"/>
                    </a:cubicBezTo>
                    <a:cubicBezTo>
                      <a:pt x="267" y="211"/>
                      <a:pt x="262" y="206"/>
                      <a:pt x="257" y="199"/>
                    </a:cubicBezTo>
                    <a:cubicBezTo>
                      <a:pt x="255" y="197"/>
                      <a:pt x="250" y="197"/>
                      <a:pt x="247" y="197"/>
                    </a:cubicBezTo>
                    <a:cubicBezTo>
                      <a:pt x="244" y="196"/>
                      <a:pt x="241" y="196"/>
                      <a:pt x="238" y="196"/>
                    </a:cubicBezTo>
                    <a:cubicBezTo>
                      <a:pt x="238" y="196"/>
                      <a:pt x="238" y="196"/>
                      <a:pt x="238" y="196"/>
                    </a:cubicBezTo>
                    <a:cubicBezTo>
                      <a:pt x="237" y="196"/>
                      <a:pt x="236" y="197"/>
                      <a:pt x="236" y="198"/>
                    </a:cubicBezTo>
                    <a:cubicBezTo>
                      <a:pt x="235" y="199"/>
                      <a:pt x="236" y="200"/>
                      <a:pt x="235" y="201"/>
                    </a:cubicBezTo>
                    <a:cubicBezTo>
                      <a:pt x="234" y="204"/>
                      <a:pt x="232" y="205"/>
                      <a:pt x="230" y="207"/>
                    </a:cubicBezTo>
                    <a:cubicBezTo>
                      <a:pt x="230" y="201"/>
                      <a:pt x="238" y="204"/>
                      <a:pt x="231" y="198"/>
                    </a:cubicBezTo>
                    <a:cubicBezTo>
                      <a:pt x="233" y="197"/>
                      <a:pt x="234" y="197"/>
                      <a:pt x="236" y="196"/>
                    </a:cubicBezTo>
                    <a:cubicBezTo>
                      <a:pt x="240" y="191"/>
                      <a:pt x="232" y="192"/>
                      <a:pt x="231" y="188"/>
                    </a:cubicBezTo>
                    <a:cubicBezTo>
                      <a:pt x="229" y="187"/>
                      <a:pt x="229" y="187"/>
                      <a:pt x="229" y="185"/>
                    </a:cubicBezTo>
                    <a:cubicBezTo>
                      <a:pt x="228" y="182"/>
                      <a:pt x="229" y="181"/>
                      <a:pt x="229" y="179"/>
                    </a:cubicBezTo>
                    <a:cubicBezTo>
                      <a:pt x="228" y="175"/>
                      <a:pt x="227" y="171"/>
                      <a:pt x="226" y="168"/>
                    </a:cubicBezTo>
                    <a:cubicBezTo>
                      <a:pt x="226" y="165"/>
                      <a:pt x="225" y="165"/>
                      <a:pt x="224" y="165"/>
                    </a:cubicBezTo>
                    <a:cubicBezTo>
                      <a:pt x="224" y="165"/>
                      <a:pt x="223" y="165"/>
                      <a:pt x="223" y="165"/>
                    </a:cubicBezTo>
                    <a:cubicBezTo>
                      <a:pt x="222" y="165"/>
                      <a:pt x="222" y="165"/>
                      <a:pt x="221" y="165"/>
                    </a:cubicBezTo>
                    <a:cubicBezTo>
                      <a:pt x="221" y="165"/>
                      <a:pt x="221" y="165"/>
                      <a:pt x="220" y="165"/>
                    </a:cubicBezTo>
                    <a:cubicBezTo>
                      <a:pt x="219" y="165"/>
                      <a:pt x="217" y="164"/>
                      <a:pt x="215" y="163"/>
                    </a:cubicBezTo>
                    <a:cubicBezTo>
                      <a:pt x="213" y="163"/>
                      <a:pt x="211" y="163"/>
                      <a:pt x="209" y="162"/>
                    </a:cubicBezTo>
                    <a:cubicBezTo>
                      <a:pt x="203" y="160"/>
                      <a:pt x="202" y="156"/>
                      <a:pt x="201" y="150"/>
                    </a:cubicBezTo>
                    <a:cubicBezTo>
                      <a:pt x="201" y="151"/>
                      <a:pt x="202" y="152"/>
                      <a:pt x="202" y="152"/>
                    </a:cubicBezTo>
                    <a:cubicBezTo>
                      <a:pt x="204" y="152"/>
                      <a:pt x="205" y="150"/>
                      <a:pt x="206" y="150"/>
                    </a:cubicBezTo>
                    <a:cubicBezTo>
                      <a:pt x="204" y="148"/>
                      <a:pt x="203" y="149"/>
                      <a:pt x="200" y="148"/>
                    </a:cubicBezTo>
                    <a:cubicBezTo>
                      <a:pt x="202" y="147"/>
                      <a:pt x="203" y="146"/>
                      <a:pt x="204" y="144"/>
                    </a:cubicBezTo>
                    <a:cubicBezTo>
                      <a:pt x="202" y="145"/>
                      <a:pt x="201" y="145"/>
                      <a:pt x="200" y="145"/>
                    </a:cubicBezTo>
                    <a:cubicBezTo>
                      <a:pt x="199" y="145"/>
                      <a:pt x="199" y="145"/>
                      <a:pt x="199" y="145"/>
                    </a:cubicBezTo>
                    <a:cubicBezTo>
                      <a:pt x="202" y="144"/>
                      <a:pt x="202" y="144"/>
                      <a:pt x="205" y="142"/>
                    </a:cubicBezTo>
                    <a:cubicBezTo>
                      <a:pt x="205" y="141"/>
                      <a:pt x="206" y="140"/>
                      <a:pt x="206" y="139"/>
                    </a:cubicBezTo>
                    <a:cubicBezTo>
                      <a:pt x="207" y="140"/>
                      <a:pt x="207" y="140"/>
                      <a:pt x="207" y="140"/>
                    </a:cubicBezTo>
                    <a:cubicBezTo>
                      <a:pt x="208" y="140"/>
                      <a:pt x="210" y="139"/>
                      <a:pt x="212" y="139"/>
                    </a:cubicBezTo>
                    <a:cubicBezTo>
                      <a:pt x="211" y="137"/>
                      <a:pt x="211" y="131"/>
                      <a:pt x="208" y="131"/>
                    </a:cubicBezTo>
                    <a:cubicBezTo>
                      <a:pt x="208" y="131"/>
                      <a:pt x="207" y="131"/>
                      <a:pt x="207" y="131"/>
                    </a:cubicBezTo>
                    <a:cubicBezTo>
                      <a:pt x="207" y="130"/>
                      <a:pt x="204" y="127"/>
                      <a:pt x="202" y="127"/>
                    </a:cubicBezTo>
                    <a:cubicBezTo>
                      <a:pt x="202" y="126"/>
                      <a:pt x="201" y="126"/>
                      <a:pt x="201" y="126"/>
                    </a:cubicBezTo>
                    <a:cubicBezTo>
                      <a:pt x="197" y="126"/>
                      <a:pt x="194" y="128"/>
                      <a:pt x="191" y="130"/>
                    </a:cubicBezTo>
                    <a:cubicBezTo>
                      <a:pt x="188" y="132"/>
                      <a:pt x="185" y="135"/>
                      <a:pt x="182" y="135"/>
                    </a:cubicBezTo>
                    <a:cubicBezTo>
                      <a:pt x="181" y="135"/>
                      <a:pt x="179" y="134"/>
                      <a:pt x="178" y="133"/>
                    </a:cubicBezTo>
                    <a:cubicBezTo>
                      <a:pt x="180" y="134"/>
                      <a:pt x="181" y="134"/>
                      <a:pt x="181" y="134"/>
                    </a:cubicBezTo>
                    <a:cubicBezTo>
                      <a:pt x="182" y="134"/>
                      <a:pt x="183" y="134"/>
                      <a:pt x="185" y="133"/>
                    </a:cubicBezTo>
                    <a:cubicBezTo>
                      <a:pt x="186" y="132"/>
                      <a:pt x="188" y="131"/>
                      <a:pt x="190" y="131"/>
                    </a:cubicBezTo>
                    <a:cubicBezTo>
                      <a:pt x="190" y="130"/>
                      <a:pt x="194" y="129"/>
                      <a:pt x="194" y="128"/>
                    </a:cubicBezTo>
                    <a:cubicBezTo>
                      <a:pt x="194" y="127"/>
                      <a:pt x="191" y="122"/>
                      <a:pt x="190" y="122"/>
                    </a:cubicBezTo>
                    <a:cubicBezTo>
                      <a:pt x="187" y="122"/>
                      <a:pt x="184" y="121"/>
                      <a:pt x="181" y="120"/>
                    </a:cubicBezTo>
                    <a:cubicBezTo>
                      <a:pt x="178" y="120"/>
                      <a:pt x="178" y="119"/>
                      <a:pt x="176" y="118"/>
                    </a:cubicBezTo>
                    <a:cubicBezTo>
                      <a:pt x="173" y="115"/>
                      <a:pt x="172" y="114"/>
                      <a:pt x="171" y="110"/>
                    </a:cubicBezTo>
                    <a:cubicBezTo>
                      <a:pt x="170" y="106"/>
                      <a:pt x="166" y="103"/>
                      <a:pt x="164" y="101"/>
                    </a:cubicBezTo>
                    <a:cubicBezTo>
                      <a:pt x="161" y="98"/>
                      <a:pt x="158" y="98"/>
                      <a:pt x="155" y="97"/>
                    </a:cubicBezTo>
                    <a:cubicBezTo>
                      <a:pt x="152" y="97"/>
                      <a:pt x="153" y="96"/>
                      <a:pt x="151" y="94"/>
                    </a:cubicBezTo>
                    <a:cubicBezTo>
                      <a:pt x="150" y="93"/>
                      <a:pt x="149" y="91"/>
                      <a:pt x="148" y="89"/>
                    </a:cubicBezTo>
                    <a:cubicBezTo>
                      <a:pt x="145" y="85"/>
                      <a:pt x="144" y="85"/>
                      <a:pt x="139" y="84"/>
                    </a:cubicBezTo>
                    <a:cubicBezTo>
                      <a:pt x="139" y="84"/>
                      <a:pt x="139" y="84"/>
                      <a:pt x="139" y="84"/>
                    </a:cubicBezTo>
                    <a:cubicBezTo>
                      <a:pt x="137" y="84"/>
                      <a:pt x="137" y="85"/>
                      <a:pt x="138" y="87"/>
                    </a:cubicBezTo>
                    <a:cubicBezTo>
                      <a:pt x="139" y="90"/>
                      <a:pt x="141" y="90"/>
                      <a:pt x="141" y="94"/>
                    </a:cubicBezTo>
                    <a:cubicBezTo>
                      <a:pt x="140" y="93"/>
                      <a:pt x="140" y="91"/>
                      <a:pt x="139" y="90"/>
                    </a:cubicBezTo>
                    <a:cubicBezTo>
                      <a:pt x="137" y="88"/>
                      <a:pt x="134" y="87"/>
                      <a:pt x="131" y="86"/>
                    </a:cubicBezTo>
                    <a:cubicBezTo>
                      <a:pt x="130" y="85"/>
                      <a:pt x="129" y="84"/>
                      <a:pt x="128" y="83"/>
                    </a:cubicBezTo>
                    <a:cubicBezTo>
                      <a:pt x="126" y="79"/>
                      <a:pt x="127" y="75"/>
                      <a:pt x="121" y="75"/>
                    </a:cubicBezTo>
                    <a:cubicBezTo>
                      <a:pt x="121" y="76"/>
                      <a:pt x="121" y="76"/>
                      <a:pt x="121" y="77"/>
                    </a:cubicBezTo>
                    <a:cubicBezTo>
                      <a:pt x="120" y="76"/>
                      <a:pt x="119" y="75"/>
                      <a:pt x="118" y="74"/>
                    </a:cubicBezTo>
                    <a:cubicBezTo>
                      <a:pt x="117" y="70"/>
                      <a:pt x="119" y="69"/>
                      <a:pt x="115" y="66"/>
                    </a:cubicBezTo>
                    <a:cubicBezTo>
                      <a:pt x="109" y="61"/>
                      <a:pt x="104" y="56"/>
                      <a:pt x="97" y="52"/>
                    </a:cubicBezTo>
                    <a:cubicBezTo>
                      <a:pt x="96" y="51"/>
                      <a:pt x="94" y="50"/>
                      <a:pt x="91" y="49"/>
                    </a:cubicBezTo>
                    <a:cubicBezTo>
                      <a:pt x="92" y="50"/>
                      <a:pt x="92" y="50"/>
                      <a:pt x="92" y="51"/>
                    </a:cubicBezTo>
                    <a:cubicBezTo>
                      <a:pt x="92" y="54"/>
                      <a:pt x="89" y="57"/>
                      <a:pt x="85" y="57"/>
                    </a:cubicBezTo>
                    <a:cubicBezTo>
                      <a:pt x="81" y="57"/>
                      <a:pt x="78" y="54"/>
                      <a:pt x="78" y="51"/>
                    </a:cubicBezTo>
                    <a:cubicBezTo>
                      <a:pt x="78" y="47"/>
                      <a:pt x="81" y="44"/>
                      <a:pt x="85" y="44"/>
                    </a:cubicBezTo>
                    <a:cubicBezTo>
                      <a:pt x="85" y="44"/>
                      <a:pt x="85" y="44"/>
                      <a:pt x="85" y="44"/>
                    </a:cubicBezTo>
                    <a:cubicBezTo>
                      <a:pt x="84" y="42"/>
                      <a:pt x="82" y="41"/>
                      <a:pt x="79" y="39"/>
                    </a:cubicBezTo>
                    <a:cubicBezTo>
                      <a:pt x="78" y="39"/>
                      <a:pt x="76" y="37"/>
                      <a:pt x="74" y="37"/>
                    </a:cubicBezTo>
                    <a:cubicBezTo>
                      <a:pt x="74" y="37"/>
                      <a:pt x="73" y="38"/>
                      <a:pt x="73" y="38"/>
                    </a:cubicBezTo>
                    <a:cubicBezTo>
                      <a:pt x="74" y="36"/>
                      <a:pt x="76" y="34"/>
                      <a:pt x="75" y="33"/>
                    </a:cubicBezTo>
                    <a:cubicBezTo>
                      <a:pt x="74" y="31"/>
                      <a:pt x="72" y="28"/>
                      <a:pt x="70" y="27"/>
                    </a:cubicBezTo>
                    <a:cubicBezTo>
                      <a:pt x="67" y="27"/>
                      <a:pt x="69" y="23"/>
                      <a:pt x="68" y="21"/>
                    </a:cubicBezTo>
                    <a:cubicBezTo>
                      <a:pt x="66" y="17"/>
                      <a:pt x="61" y="14"/>
                      <a:pt x="57" y="11"/>
                    </a:cubicBezTo>
                    <a:cubicBezTo>
                      <a:pt x="57" y="10"/>
                      <a:pt x="56" y="10"/>
                      <a:pt x="56" y="10"/>
                    </a:cubicBezTo>
                    <a:cubicBezTo>
                      <a:pt x="54" y="10"/>
                      <a:pt x="53" y="11"/>
                      <a:pt x="51" y="11"/>
                    </a:cubicBezTo>
                    <a:cubicBezTo>
                      <a:pt x="50" y="11"/>
                      <a:pt x="49" y="12"/>
                      <a:pt x="49" y="12"/>
                    </a:cubicBezTo>
                    <a:cubicBezTo>
                      <a:pt x="48" y="12"/>
                      <a:pt x="47" y="11"/>
                      <a:pt x="46" y="10"/>
                    </a:cubicBezTo>
                    <a:cubicBezTo>
                      <a:pt x="44" y="9"/>
                      <a:pt x="42" y="9"/>
                      <a:pt x="40" y="9"/>
                    </a:cubicBezTo>
                    <a:cubicBezTo>
                      <a:pt x="38" y="9"/>
                      <a:pt x="35" y="10"/>
                      <a:pt x="33" y="10"/>
                    </a:cubicBezTo>
                    <a:cubicBezTo>
                      <a:pt x="32" y="10"/>
                      <a:pt x="32" y="10"/>
                      <a:pt x="31" y="10"/>
                    </a:cubicBezTo>
                    <a:cubicBezTo>
                      <a:pt x="23" y="10"/>
                      <a:pt x="17"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Freeform 163"/>
              <p:cNvSpPr/>
              <p:nvPr/>
            </p:nvSpPr>
            <p:spPr bwMode="auto">
              <a:xfrm>
                <a:off x="6117" y="4374"/>
                <a:ext cx="28" cy="12"/>
              </a:xfrm>
              <a:custGeom>
                <a:gdLst>
                  <a:gd name="T0" fmla="*/ 0 w 12"/>
                  <a:gd name="T1" fmla="*/ 0 h 5"/>
                  <a:gd name="T2" fmla="*/ 8 w 12"/>
                  <a:gd name="T3" fmla="*/ 5 h 5"/>
                  <a:gd name="T4" fmla="*/ 0 w 12"/>
                  <a:gd name="T5" fmla="*/ 0 h 5"/>
                </a:gdLst>
                <a:cxnLst>
                  <a:cxn ang="0">
                    <a:pos x="T0" y="T1"/>
                  </a:cxn>
                  <a:cxn ang="0">
                    <a:pos x="T2" y="T3"/>
                  </a:cxn>
                  <a:cxn ang="0">
                    <a:pos x="T4" y="T5"/>
                  </a:cxn>
                </a:cxnLst>
                <a:rect l="0" t="0" r="r" b="b"/>
                <a:pathLst>
                  <a:path w="12" h="5">
                    <a:moveTo>
                      <a:pt x="0" y="0"/>
                    </a:moveTo>
                    <a:cubicBezTo>
                      <a:pt x="3" y="2"/>
                      <a:pt x="5" y="3"/>
                      <a:pt x="8" y="5"/>
                    </a:cubicBezTo>
                    <a:cubicBezTo>
                      <a:pt x="1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6" name="Freeform 164"/>
              <p:cNvSpPr/>
              <p:nvPr/>
            </p:nvSpPr>
            <p:spPr bwMode="auto">
              <a:xfrm>
                <a:off x="5651" y="4209"/>
                <a:ext cx="90" cy="180"/>
              </a:xfrm>
              <a:custGeom>
                <a:gdLst>
                  <a:gd name="T0" fmla="*/ 17 w 38"/>
                  <a:gd name="T1" fmla="*/ 0 h 76"/>
                  <a:gd name="T2" fmla="*/ 9 w 38"/>
                  <a:gd name="T3" fmla="*/ 6 h 76"/>
                  <a:gd name="T4" fmla="*/ 5 w 38"/>
                  <a:gd name="T5" fmla="*/ 12 h 76"/>
                  <a:gd name="T6" fmla="*/ 2 w 38"/>
                  <a:gd name="T7" fmla="*/ 23 h 76"/>
                  <a:gd name="T8" fmla="*/ 2 w 38"/>
                  <a:gd name="T9" fmla="*/ 29 h 76"/>
                  <a:gd name="T10" fmla="*/ 5 w 38"/>
                  <a:gd name="T11" fmla="*/ 33 h 76"/>
                  <a:gd name="T12" fmla="*/ 4 w 38"/>
                  <a:gd name="T13" fmla="*/ 38 h 76"/>
                  <a:gd name="T14" fmla="*/ 8 w 38"/>
                  <a:gd name="T15" fmla="*/ 47 h 76"/>
                  <a:gd name="T16" fmla="*/ 7 w 38"/>
                  <a:gd name="T17" fmla="*/ 59 h 76"/>
                  <a:gd name="T18" fmla="*/ 15 w 38"/>
                  <a:gd name="T19" fmla="*/ 69 h 76"/>
                  <a:gd name="T20" fmla="*/ 26 w 38"/>
                  <a:gd name="T21" fmla="*/ 76 h 76"/>
                  <a:gd name="T22" fmla="*/ 14 w 38"/>
                  <a:gd name="T23" fmla="*/ 56 h 76"/>
                  <a:gd name="T24" fmla="*/ 13 w 38"/>
                  <a:gd name="T25" fmla="*/ 48 h 76"/>
                  <a:gd name="T26" fmla="*/ 15 w 38"/>
                  <a:gd name="T27" fmla="*/ 43 h 76"/>
                  <a:gd name="T28" fmla="*/ 15 w 38"/>
                  <a:gd name="T29" fmla="*/ 43 h 76"/>
                  <a:gd name="T30" fmla="*/ 31 w 38"/>
                  <a:gd name="T31" fmla="*/ 47 h 76"/>
                  <a:gd name="T32" fmla="*/ 38 w 38"/>
                  <a:gd name="T33" fmla="*/ 49 h 76"/>
                  <a:gd name="T34" fmla="*/ 27 w 38"/>
                  <a:gd name="T35" fmla="*/ 39 h 76"/>
                  <a:gd name="T36" fmla="*/ 24 w 38"/>
                  <a:gd name="T37" fmla="*/ 38 h 76"/>
                  <a:gd name="T38" fmla="*/ 30 w 38"/>
                  <a:gd name="T39" fmla="*/ 29 h 76"/>
                  <a:gd name="T40" fmla="*/ 33 w 38"/>
                  <a:gd name="T41" fmla="*/ 24 h 76"/>
                  <a:gd name="T42" fmla="*/ 34 w 38"/>
                  <a:gd name="T43" fmla="*/ 21 h 76"/>
                  <a:gd name="T44" fmla="*/ 33 w 38"/>
                  <a:gd name="T45" fmla="*/ 16 h 76"/>
                  <a:gd name="T46" fmla="*/ 31 w 38"/>
                  <a:gd name="T47" fmla="*/ 16 h 76"/>
                  <a:gd name="T48" fmla="*/ 25 w 38"/>
                  <a:gd name="T49" fmla="*/ 17 h 76"/>
                  <a:gd name="T50" fmla="*/ 20 w 38"/>
                  <a:gd name="T51" fmla="*/ 20 h 76"/>
                  <a:gd name="T52" fmla="*/ 18 w 38"/>
                  <a:gd name="T53" fmla="*/ 23 h 76"/>
                  <a:gd name="T54" fmla="*/ 20 w 38"/>
                  <a:gd name="T55" fmla="*/ 26 h 76"/>
                  <a:gd name="T56" fmla="*/ 14 w 38"/>
                  <a:gd name="T57" fmla="*/ 29 h 76"/>
                  <a:gd name="T58" fmla="*/ 12 w 38"/>
                  <a:gd name="T59" fmla="*/ 34 h 76"/>
                  <a:gd name="T60" fmla="*/ 11 w 38"/>
                  <a:gd name="T61" fmla="*/ 34 h 76"/>
                  <a:gd name="T62" fmla="*/ 7 w 38"/>
                  <a:gd name="T63" fmla="*/ 31 h 76"/>
                  <a:gd name="T64" fmla="*/ 11 w 38"/>
                  <a:gd name="T65" fmla="*/ 26 h 76"/>
                  <a:gd name="T66" fmla="*/ 12 w 38"/>
                  <a:gd name="T67" fmla="*/ 26 h 76"/>
                  <a:gd name="T68" fmla="*/ 12 w 38"/>
                  <a:gd name="T69" fmla="*/ 26 h 76"/>
                  <a:gd name="T70" fmla="*/ 12 w 38"/>
                  <a:gd name="T71" fmla="*/ 26 h 76"/>
                  <a:gd name="T72" fmla="*/ 13 w 38"/>
                  <a:gd name="T73" fmla="*/ 26 h 76"/>
                  <a:gd name="T74" fmla="*/ 13 w 38"/>
                  <a:gd name="T75" fmla="*/ 24 h 76"/>
                  <a:gd name="T76" fmla="*/ 15 w 38"/>
                  <a:gd name="T77" fmla="*/ 22 h 76"/>
                  <a:gd name="T78" fmla="*/ 14 w 38"/>
                  <a:gd name="T79" fmla="*/ 10 h 76"/>
                  <a:gd name="T80" fmla="*/ 14 w 38"/>
                  <a:gd name="T81" fmla="*/ 5 h 76"/>
                  <a:gd name="T82" fmla="*/ 17 w 38"/>
                  <a:gd name="T83" fmla="*/ 0 h 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76">
                    <a:moveTo>
                      <a:pt x="17" y="0"/>
                    </a:moveTo>
                    <a:cubicBezTo>
                      <a:pt x="14" y="2"/>
                      <a:pt x="11" y="4"/>
                      <a:pt x="9" y="6"/>
                    </a:cubicBezTo>
                    <a:cubicBezTo>
                      <a:pt x="7" y="8"/>
                      <a:pt x="5" y="10"/>
                      <a:pt x="5" y="12"/>
                    </a:cubicBezTo>
                    <a:cubicBezTo>
                      <a:pt x="3" y="16"/>
                      <a:pt x="3" y="19"/>
                      <a:pt x="2" y="23"/>
                    </a:cubicBezTo>
                    <a:cubicBezTo>
                      <a:pt x="1" y="25"/>
                      <a:pt x="0" y="26"/>
                      <a:pt x="2" y="29"/>
                    </a:cubicBezTo>
                    <a:cubicBezTo>
                      <a:pt x="2" y="30"/>
                      <a:pt x="5" y="32"/>
                      <a:pt x="5" y="33"/>
                    </a:cubicBezTo>
                    <a:cubicBezTo>
                      <a:pt x="6" y="34"/>
                      <a:pt x="4" y="36"/>
                      <a:pt x="4" y="38"/>
                    </a:cubicBezTo>
                    <a:cubicBezTo>
                      <a:pt x="4" y="42"/>
                      <a:pt x="8" y="44"/>
                      <a:pt x="8" y="47"/>
                    </a:cubicBezTo>
                    <a:cubicBezTo>
                      <a:pt x="8" y="51"/>
                      <a:pt x="6" y="56"/>
                      <a:pt x="7" y="59"/>
                    </a:cubicBezTo>
                    <a:cubicBezTo>
                      <a:pt x="8" y="63"/>
                      <a:pt x="13" y="67"/>
                      <a:pt x="15" y="69"/>
                    </a:cubicBezTo>
                    <a:cubicBezTo>
                      <a:pt x="18" y="73"/>
                      <a:pt x="22" y="74"/>
                      <a:pt x="26" y="76"/>
                    </a:cubicBezTo>
                    <a:cubicBezTo>
                      <a:pt x="22" y="70"/>
                      <a:pt x="18" y="63"/>
                      <a:pt x="14" y="56"/>
                    </a:cubicBezTo>
                    <a:cubicBezTo>
                      <a:pt x="12" y="53"/>
                      <a:pt x="13" y="51"/>
                      <a:pt x="13" y="48"/>
                    </a:cubicBezTo>
                    <a:cubicBezTo>
                      <a:pt x="13" y="47"/>
                      <a:pt x="12" y="43"/>
                      <a:pt x="15" y="43"/>
                    </a:cubicBezTo>
                    <a:cubicBezTo>
                      <a:pt x="15" y="43"/>
                      <a:pt x="15" y="43"/>
                      <a:pt x="15" y="43"/>
                    </a:cubicBezTo>
                    <a:cubicBezTo>
                      <a:pt x="21" y="44"/>
                      <a:pt x="26" y="45"/>
                      <a:pt x="31" y="47"/>
                    </a:cubicBezTo>
                    <a:cubicBezTo>
                      <a:pt x="33" y="47"/>
                      <a:pt x="36" y="47"/>
                      <a:pt x="38" y="49"/>
                    </a:cubicBezTo>
                    <a:cubicBezTo>
                      <a:pt x="35" y="45"/>
                      <a:pt x="32" y="41"/>
                      <a:pt x="27" y="39"/>
                    </a:cubicBezTo>
                    <a:cubicBezTo>
                      <a:pt x="26" y="39"/>
                      <a:pt x="25" y="39"/>
                      <a:pt x="24" y="38"/>
                    </a:cubicBezTo>
                    <a:cubicBezTo>
                      <a:pt x="17" y="34"/>
                      <a:pt x="27" y="31"/>
                      <a:pt x="30" y="29"/>
                    </a:cubicBezTo>
                    <a:cubicBezTo>
                      <a:pt x="33" y="27"/>
                      <a:pt x="32" y="27"/>
                      <a:pt x="33" y="24"/>
                    </a:cubicBezTo>
                    <a:cubicBezTo>
                      <a:pt x="33" y="23"/>
                      <a:pt x="34" y="22"/>
                      <a:pt x="34" y="21"/>
                    </a:cubicBezTo>
                    <a:cubicBezTo>
                      <a:pt x="34" y="19"/>
                      <a:pt x="31" y="17"/>
                      <a:pt x="33" y="16"/>
                    </a:cubicBezTo>
                    <a:cubicBezTo>
                      <a:pt x="33" y="16"/>
                      <a:pt x="32" y="16"/>
                      <a:pt x="31" y="16"/>
                    </a:cubicBezTo>
                    <a:cubicBezTo>
                      <a:pt x="29" y="16"/>
                      <a:pt x="26" y="16"/>
                      <a:pt x="25" y="17"/>
                    </a:cubicBezTo>
                    <a:cubicBezTo>
                      <a:pt x="23" y="17"/>
                      <a:pt x="21" y="19"/>
                      <a:pt x="20" y="20"/>
                    </a:cubicBezTo>
                    <a:cubicBezTo>
                      <a:pt x="18" y="23"/>
                      <a:pt x="18" y="23"/>
                      <a:pt x="18" y="23"/>
                    </a:cubicBezTo>
                    <a:cubicBezTo>
                      <a:pt x="18" y="24"/>
                      <a:pt x="21" y="24"/>
                      <a:pt x="20" y="26"/>
                    </a:cubicBezTo>
                    <a:cubicBezTo>
                      <a:pt x="18" y="28"/>
                      <a:pt x="16" y="26"/>
                      <a:pt x="14" y="29"/>
                    </a:cubicBezTo>
                    <a:cubicBezTo>
                      <a:pt x="13" y="30"/>
                      <a:pt x="14" y="33"/>
                      <a:pt x="12" y="34"/>
                    </a:cubicBezTo>
                    <a:cubicBezTo>
                      <a:pt x="12" y="34"/>
                      <a:pt x="11" y="34"/>
                      <a:pt x="11" y="34"/>
                    </a:cubicBezTo>
                    <a:cubicBezTo>
                      <a:pt x="9" y="34"/>
                      <a:pt x="7" y="33"/>
                      <a:pt x="7" y="31"/>
                    </a:cubicBezTo>
                    <a:cubicBezTo>
                      <a:pt x="8" y="29"/>
                      <a:pt x="9" y="27"/>
                      <a:pt x="11" y="26"/>
                    </a:cubicBezTo>
                    <a:cubicBezTo>
                      <a:pt x="11" y="26"/>
                      <a:pt x="11" y="26"/>
                      <a:pt x="12" y="26"/>
                    </a:cubicBezTo>
                    <a:cubicBezTo>
                      <a:pt x="12" y="26"/>
                      <a:pt x="12" y="26"/>
                      <a:pt x="12" y="26"/>
                    </a:cubicBezTo>
                    <a:cubicBezTo>
                      <a:pt x="12" y="26"/>
                      <a:pt x="12" y="26"/>
                      <a:pt x="12" y="26"/>
                    </a:cubicBezTo>
                    <a:cubicBezTo>
                      <a:pt x="12" y="26"/>
                      <a:pt x="13" y="26"/>
                      <a:pt x="13" y="26"/>
                    </a:cubicBezTo>
                    <a:cubicBezTo>
                      <a:pt x="13" y="26"/>
                      <a:pt x="13" y="25"/>
                      <a:pt x="13" y="24"/>
                    </a:cubicBezTo>
                    <a:cubicBezTo>
                      <a:pt x="14" y="24"/>
                      <a:pt x="15" y="23"/>
                      <a:pt x="15" y="22"/>
                    </a:cubicBezTo>
                    <a:cubicBezTo>
                      <a:pt x="17" y="18"/>
                      <a:pt x="16" y="15"/>
                      <a:pt x="14" y="10"/>
                    </a:cubicBezTo>
                    <a:cubicBezTo>
                      <a:pt x="12" y="7"/>
                      <a:pt x="13" y="8"/>
                      <a:pt x="14" y="5"/>
                    </a:cubicBezTo>
                    <a:cubicBezTo>
                      <a:pt x="15" y="4"/>
                      <a:pt x="17" y="2"/>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165"/>
              <p:cNvSpPr/>
              <p:nvPr/>
            </p:nvSpPr>
            <p:spPr bwMode="auto">
              <a:xfrm>
                <a:off x="4571" y="4786"/>
                <a:ext cx="14" cy="4"/>
              </a:xfrm>
              <a:custGeom>
                <a:gdLst>
                  <a:gd name="T0" fmla="*/ 0 w 6"/>
                  <a:gd name="T1" fmla="*/ 0 h 2"/>
                  <a:gd name="T2" fmla="*/ 6 w 6"/>
                  <a:gd name="T3" fmla="*/ 2 h 2"/>
                  <a:gd name="T4" fmla="*/ 0 w 6"/>
                  <a:gd name="T5" fmla="*/ 0 h 2"/>
                </a:gdLst>
                <a:cxnLst>
                  <a:cxn ang="0">
                    <a:pos x="T0" y="T1"/>
                  </a:cxn>
                  <a:cxn ang="0">
                    <a:pos x="T2" y="T3"/>
                  </a:cxn>
                  <a:cxn ang="0">
                    <a:pos x="T4" y="T5"/>
                  </a:cxn>
                </a:cxnLst>
                <a:rect l="0" t="0" r="r" b="b"/>
                <a:pathLst>
                  <a:path w="6" h="2">
                    <a:moveTo>
                      <a:pt x="0" y="0"/>
                    </a:moveTo>
                    <a:cubicBezTo>
                      <a:pt x="2" y="1"/>
                      <a:pt x="4" y="2"/>
                      <a:pt x="6" y="2"/>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Freeform 166"/>
              <p:cNvSpPr/>
              <p:nvPr/>
            </p:nvSpPr>
            <p:spPr bwMode="auto">
              <a:xfrm>
                <a:off x="5956" y="4663"/>
                <a:ext cx="7" cy="21"/>
              </a:xfrm>
              <a:custGeom>
                <a:gdLst>
                  <a:gd name="T0" fmla="*/ 0 w 3"/>
                  <a:gd name="T1" fmla="*/ 0 h 9"/>
                  <a:gd name="T2" fmla="*/ 3 w 3"/>
                  <a:gd name="T3" fmla="*/ 9 h 9"/>
                  <a:gd name="T4" fmla="*/ 3 w 3"/>
                  <a:gd name="T5" fmla="*/ 2 h 9"/>
                  <a:gd name="T6" fmla="*/ 0 w 3"/>
                  <a:gd name="T7" fmla="*/ 0 h 9"/>
                </a:gdLst>
                <a:cxnLst>
                  <a:cxn ang="0">
                    <a:pos x="T0" y="T1"/>
                  </a:cxn>
                  <a:cxn ang="0">
                    <a:pos x="T2" y="T3"/>
                  </a:cxn>
                  <a:cxn ang="0">
                    <a:pos x="T4" y="T5"/>
                  </a:cxn>
                  <a:cxn ang="0">
                    <a:pos x="T6" y="T7"/>
                  </a:cxn>
                </a:cxnLst>
                <a:rect l="0" t="0" r="r" b="b"/>
                <a:pathLst>
                  <a:path w="3" h="9">
                    <a:moveTo>
                      <a:pt x="0" y="0"/>
                    </a:moveTo>
                    <a:cubicBezTo>
                      <a:pt x="1" y="3"/>
                      <a:pt x="1" y="8"/>
                      <a:pt x="3" y="9"/>
                    </a:cubicBezTo>
                    <a:cubicBezTo>
                      <a:pt x="3" y="7"/>
                      <a:pt x="3" y="4"/>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167"/>
              <p:cNvSpPr/>
              <p:nvPr/>
            </p:nvSpPr>
            <p:spPr bwMode="auto">
              <a:xfrm>
                <a:off x="3973" y="4391"/>
                <a:ext cx="43" cy="52"/>
              </a:xfrm>
              <a:custGeom>
                <a:gdLst>
                  <a:gd name="T0" fmla="*/ 7 w 18"/>
                  <a:gd name="T1" fmla="*/ 0 h 22"/>
                  <a:gd name="T2" fmla="*/ 3 w 18"/>
                  <a:gd name="T3" fmla="*/ 2 h 22"/>
                  <a:gd name="T4" fmla="*/ 5 w 18"/>
                  <a:gd name="T5" fmla="*/ 13 h 22"/>
                  <a:gd name="T6" fmla="*/ 14 w 18"/>
                  <a:gd name="T7" fmla="*/ 22 h 22"/>
                  <a:gd name="T8" fmla="*/ 16 w 18"/>
                  <a:gd name="T9" fmla="*/ 12 h 22"/>
                  <a:gd name="T10" fmla="*/ 10 w 18"/>
                  <a:gd name="T11" fmla="*/ 1 h 22"/>
                  <a:gd name="T12" fmla="*/ 7 w 18"/>
                  <a:gd name="T13" fmla="*/ 0 h 22"/>
                </a:gdLst>
                <a:cxnLst>
                  <a:cxn ang="0">
                    <a:pos x="T0" y="T1"/>
                  </a:cxn>
                  <a:cxn ang="0">
                    <a:pos x="T2" y="T3"/>
                  </a:cxn>
                  <a:cxn ang="0">
                    <a:pos x="T4" y="T5"/>
                  </a:cxn>
                  <a:cxn ang="0">
                    <a:pos x="T6" y="T7"/>
                  </a:cxn>
                  <a:cxn ang="0">
                    <a:pos x="T8" y="T9"/>
                  </a:cxn>
                  <a:cxn ang="0">
                    <a:pos x="T10" y="T11"/>
                  </a:cxn>
                  <a:cxn ang="0">
                    <a:pos x="T12" y="T13"/>
                  </a:cxn>
                </a:cxnLst>
                <a:rect l="0" t="0" r="r" b="b"/>
                <a:pathLst>
                  <a:path w="18" h="22">
                    <a:moveTo>
                      <a:pt x="7" y="0"/>
                    </a:moveTo>
                    <a:cubicBezTo>
                      <a:pt x="6" y="0"/>
                      <a:pt x="3" y="1"/>
                      <a:pt x="3" y="2"/>
                    </a:cubicBezTo>
                    <a:cubicBezTo>
                      <a:pt x="0" y="6"/>
                      <a:pt x="3" y="9"/>
                      <a:pt x="5" y="13"/>
                    </a:cubicBezTo>
                    <a:cubicBezTo>
                      <a:pt x="8" y="17"/>
                      <a:pt x="9" y="20"/>
                      <a:pt x="14" y="22"/>
                    </a:cubicBezTo>
                    <a:cubicBezTo>
                      <a:pt x="18" y="17"/>
                      <a:pt x="18" y="17"/>
                      <a:pt x="16" y="12"/>
                    </a:cubicBezTo>
                    <a:cubicBezTo>
                      <a:pt x="14" y="9"/>
                      <a:pt x="12" y="5"/>
                      <a:pt x="10" y="1"/>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0" name="Freeform 168"/>
              <p:cNvSpPr/>
              <p:nvPr/>
            </p:nvSpPr>
            <p:spPr bwMode="auto">
              <a:xfrm>
                <a:off x="5559" y="4779"/>
                <a:ext cx="64" cy="26"/>
              </a:xfrm>
              <a:custGeom>
                <a:gdLst>
                  <a:gd name="T0" fmla="*/ 19 w 27"/>
                  <a:gd name="T1" fmla="*/ 0 h 11"/>
                  <a:gd name="T2" fmla="*/ 18 w 27"/>
                  <a:gd name="T3" fmla="*/ 0 h 11"/>
                  <a:gd name="T4" fmla="*/ 15 w 27"/>
                  <a:gd name="T5" fmla="*/ 2 h 11"/>
                  <a:gd name="T6" fmla="*/ 9 w 27"/>
                  <a:gd name="T7" fmla="*/ 3 h 11"/>
                  <a:gd name="T8" fmla="*/ 9 w 27"/>
                  <a:gd name="T9" fmla="*/ 3 h 11"/>
                  <a:gd name="T10" fmla="*/ 5 w 27"/>
                  <a:gd name="T11" fmla="*/ 3 h 11"/>
                  <a:gd name="T12" fmla="*/ 3 w 27"/>
                  <a:gd name="T13" fmla="*/ 4 h 11"/>
                  <a:gd name="T14" fmla="*/ 0 w 27"/>
                  <a:gd name="T15" fmla="*/ 11 h 11"/>
                  <a:gd name="T16" fmla="*/ 8 w 27"/>
                  <a:gd name="T17" fmla="*/ 8 h 11"/>
                  <a:gd name="T18" fmla="*/ 12 w 27"/>
                  <a:gd name="T19" fmla="*/ 9 h 11"/>
                  <a:gd name="T20" fmla="*/ 15 w 27"/>
                  <a:gd name="T21" fmla="*/ 9 h 11"/>
                  <a:gd name="T22" fmla="*/ 23 w 27"/>
                  <a:gd name="T23" fmla="*/ 5 h 11"/>
                  <a:gd name="T24" fmla="*/ 21 w 27"/>
                  <a:gd name="T25" fmla="*/ 1 h 11"/>
                  <a:gd name="T26" fmla="*/ 19 w 27"/>
                  <a:gd name="T2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1">
                    <a:moveTo>
                      <a:pt x="19" y="0"/>
                    </a:moveTo>
                    <a:cubicBezTo>
                      <a:pt x="19" y="0"/>
                      <a:pt x="19" y="0"/>
                      <a:pt x="18" y="0"/>
                    </a:cubicBezTo>
                    <a:cubicBezTo>
                      <a:pt x="17" y="1"/>
                      <a:pt x="16" y="1"/>
                      <a:pt x="15" y="2"/>
                    </a:cubicBezTo>
                    <a:cubicBezTo>
                      <a:pt x="13" y="2"/>
                      <a:pt x="11" y="3"/>
                      <a:pt x="9" y="3"/>
                    </a:cubicBezTo>
                    <a:cubicBezTo>
                      <a:pt x="9" y="3"/>
                      <a:pt x="9" y="3"/>
                      <a:pt x="9" y="3"/>
                    </a:cubicBezTo>
                    <a:cubicBezTo>
                      <a:pt x="7" y="3"/>
                      <a:pt x="6" y="3"/>
                      <a:pt x="5" y="3"/>
                    </a:cubicBezTo>
                    <a:cubicBezTo>
                      <a:pt x="5" y="3"/>
                      <a:pt x="4" y="3"/>
                      <a:pt x="3" y="4"/>
                    </a:cubicBezTo>
                    <a:cubicBezTo>
                      <a:pt x="1" y="6"/>
                      <a:pt x="1" y="8"/>
                      <a:pt x="0" y="11"/>
                    </a:cubicBezTo>
                    <a:cubicBezTo>
                      <a:pt x="4" y="9"/>
                      <a:pt x="6" y="8"/>
                      <a:pt x="8" y="8"/>
                    </a:cubicBezTo>
                    <a:cubicBezTo>
                      <a:pt x="10" y="8"/>
                      <a:pt x="11" y="8"/>
                      <a:pt x="12" y="9"/>
                    </a:cubicBezTo>
                    <a:cubicBezTo>
                      <a:pt x="13" y="9"/>
                      <a:pt x="14" y="9"/>
                      <a:pt x="15" y="9"/>
                    </a:cubicBezTo>
                    <a:cubicBezTo>
                      <a:pt x="18" y="9"/>
                      <a:pt x="20" y="7"/>
                      <a:pt x="23" y="5"/>
                    </a:cubicBezTo>
                    <a:cubicBezTo>
                      <a:pt x="27" y="3"/>
                      <a:pt x="24" y="2"/>
                      <a:pt x="21" y="1"/>
                    </a:cubicBezTo>
                    <a:cubicBezTo>
                      <a:pt x="20" y="0"/>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Freeform 169"/>
              <p:cNvSpPr/>
              <p:nvPr/>
            </p:nvSpPr>
            <p:spPr bwMode="auto">
              <a:xfrm>
                <a:off x="5868" y="4753"/>
                <a:ext cx="38" cy="52"/>
              </a:xfrm>
              <a:custGeom>
                <a:gdLst>
                  <a:gd name="T0" fmla="*/ 13 w 16"/>
                  <a:gd name="T1" fmla="*/ 0 h 22"/>
                  <a:gd name="T2" fmla="*/ 3 w 16"/>
                  <a:gd name="T3" fmla="*/ 10 h 22"/>
                  <a:gd name="T4" fmla="*/ 1 w 16"/>
                  <a:gd name="T5" fmla="*/ 14 h 22"/>
                  <a:gd name="T6" fmla="*/ 0 w 16"/>
                  <a:gd name="T7" fmla="*/ 14 h 22"/>
                  <a:gd name="T8" fmla="*/ 0 w 16"/>
                  <a:gd name="T9" fmla="*/ 15 h 22"/>
                  <a:gd name="T10" fmla="*/ 0 w 16"/>
                  <a:gd name="T11" fmla="*/ 20 h 22"/>
                  <a:gd name="T12" fmla="*/ 1 w 16"/>
                  <a:gd name="T13" fmla="*/ 22 h 22"/>
                  <a:gd name="T14" fmla="*/ 3 w 16"/>
                  <a:gd name="T15" fmla="*/ 22 h 22"/>
                  <a:gd name="T16" fmla="*/ 6 w 16"/>
                  <a:gd name="T17" fmla="*/ 22 h 22"/>
                  <a:gd name="T18" fmla="*/ 7 w 16"/>
                  <a:gd name="T19" fmla="*/ 19 h 22"/>
                  <a:gd name="T20" fmla="*/ 8 w 16"/>
                  <a:gd name="T21" fmla="*/ 17 h 22"/>
                  <a:gd name="T22" fmla="*/ 12 w 16"/>
                  <a:gd name="T23" fmla="*/ 13 h 22"/>
                  <a:gd name="T24" fmla="*/ 15 w 16"/>
                  <a:gd name="T25" fmla="*/ 7 h 22"/>
                  <a:gd name="T26" fmla="*/ 16 w 16"/>
                  <a:gd name="T27" fmla="*/ 2 h 22"/>
                  <a:gd name="T28" fmla="*/ 13 w 16"/>
                  <a:gd name="T29"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2">
                    <a:moveTo>
                      <a:pt x="13" y="0"/>
                    </a:moveTo>
                    <a:cubicBezTo>
                      <a:pt x="10" y="2"/>
                      <a:pt x="5" y="6"/>
                      <a:pt x="3" y="10"/>
                    </a:cubicBezTo>
                    <a:cubicBezTo>
                      <a:pt x="2" y="12"/>
                      <a:pt x="3" y="14"/>
                      <a:pt x="1" y="14"/>
                    </a:cubicBezTo>
                    <a:cubicBezTo>
                      <a:pt x="1" y="14"/>
                      <a:pt x="0" y="14"/>
                      <a:pt x="0" y="14"/>
                    </a:cubicBezTo>
                    <a:cubicBezTo>
                      <a:pt x="0" y="15"/>
                      <a:pt x="0" y="15"/>
                      <a:pt x="0" y="15"/>
                    </a:cubicBezTo>
                    <a:cubicBezTo>
                      <a:pt x="0" y="20"/>
                      <a:pt x="0" y="20"/>
                      <a:pt x="0" y="20"/>
                    </a:cubicBezTo>
                    <a:cubicBezTo>
                      <a:pt x="1" y="22"/>
                      <a:pt x="0" y="21"/>
                      <a:pt x="1" y="22"/>
                    </a:cubicBezTo>
                    <a:cubicBezTo>
                      <a:pt x="2" y="22"/>
                      <a:pt x="3" y="22"/>
                      <a:pt x="3" y="22"/>
                    </a:cubicBezTo>
                    <a:cubicBezTo>
                      <a:pt x="4" y="22"/>
                      <a:pt x="5" y="22"/>
                      <a:pt x="6" y="22"/>
                    </a:cubicBezTo>
                    <a:cubicBezTo>
                      <a:pt x="7" y="19"/>
                      <a:pt x="7" y="19"/>
                      <a:pt x="7" y="19"/>
                    </a:cubicBezTo>
                    <a:cubicBezTo>
                      <a:pt x="7" y="18"/>
                      <a:pt x="8" y="18"/>
                      <a:pt x="8" y="17"/>
                    </a:cubicBezTo>
                    <a:cubicBezTo>
                      <a:pt x="9" y="15"/>
                      <a:pt x="11" y="14"/>
                      <a:pt x="12" y="13"/>
                    </a:cubicBezTo>
                    <a:cubicBezTo>
                      <a:pt x="13" y="11"/>
                      <a:pt x="13" y="9"/>
                      <a:pt x="15" y="7"/>
                    </a:cubicBezTo>
                    <a:cubicBezTo>
                      <a:pt x="13" y="6"/>
                      <a:pt x="13" y="3"/>
                      <a:pt x="16" y="2"/>
                    </a:cubicBezTo>
                    <a:cubicBezTo>
                      <a:pt x="15" y="1"/>
                      <a:pt x="14"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2" name="Freeform 170"/>
              <p:cNvSpPr/>
              <p:nvPr/>
            </p:nvSpPr>
            <p:spPr bwMode="auto">
              <a:xfrm>
                <a:off x="6124" y="4429"/>
                <a:ext cx="82" cy="19"/>
              </a:xfrm>
              <a:custGeom>
                <a:gdLst>
                  <a:gd name="T0" fmla="*/ 0 w 35"/>
                  <a:gd name="T1" fmla="*/ 0 h 8"/>
                  <a:gd name="T2" fmla="*/ 24 w 35"/>
                  <a:gd name="T3" fmla="*/ 8 h 8"/>
                  <a:gd name="T4" fmla="*/ 26 w 35"/>
                  <a:gd name="T5" fmla="*/ 7 h 8"/>
                  <a:gd name="T6" fmla="*/ 27 w 35"/>
                  <a:gd name="T7" fmla="*/ 7 h 8"/>
                  <a:gd name="T8" fmla="*/ 35 w 35"/>
                  <a:gd name="T9" fmla="*/ 5 h 8"/>
                  <a:gd name="T10" fmla="*/ 31 w 35"/>
                  <a:gd name="T11" fmla="*/ 4 h 8"/>
                  <a:gd name="T12" fmla="*/ 24 w 35"/>
                  <a:gd name="T13" fmla="*/ 3 h 8"/>
                  <a:gd name="T14" fmla="*/ 17 w 35"/>
                  <a:gd name="T15" fmla="*/ 2 h 8"/>
                  <a:gd name="T16" fmla="*/ 0 w 35"/>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8">
                    <a:moveTo>
                      <a:pt x="0" y="0"/>
                    </a:moveTo>
                    <a:cubicBezTo>
                      <a:pt x="1" y="1"/>
                      <a:pt x="18" y="8"/>
                      <a:pt x="24" y="8"/>
                    </a:cubicBezTo>
                    <a:cubicBezTo>
                      <a:pt x="25" y="8"/>
                      <a:pt x="26" y="8"/>
                      <a:pt x="26" y="7"/>
                    </a:cubicBezTo>
                    <a:cubicBezTo>
                      <a:pt x="26" y="7"/>
                      <a:pt x="26" y="7"/>
                      <a:pt x="27" y="7"/>
                    </a:cubicBezTo>
                    <a:cubicBezTo>
                      <a:pt x="30" y="7"/>
                      <a:pt x="32" y="6"/>
                      <a:pt x="35" y="5"/>
                    </a:cubicBezTo>
                    <a:cubicBezTo>
                      <a:pt x="33" y="4"/>
                      <a:pt x="32" y="4"/>
                      <a:pt x="31" y="4"/>
                    </a:cubicBezTo>
                    <a:cubicBezTo>
                      <a:pt x="29" y="4"/>
                      <a:pt x="26" y="4"/>
                      <a:pt x="24" y="3"/>
                    </a:cubicBezTo>
                    <a:cubicBezTo>
                      <a:pt x="21" y="3"/>
                      <a:pt x="19" y="2"/>
                      <a:pt x="17" y="2"/>
                    </a:cubicBezTo>
                    <a:cubicBezTo>
                      <a:pt x="12" y="1"/>
                      <a:pt x="6"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171"/>
              <p:cNvSpPr/>
              <p:nvPr/>
            </p:nvSpPr>
            <p:spPr bwMode="auto">
              <a:xfrm>
                <a:off x="5327" y="4632"/>
                <a:ext cx="10" cy="24"/>
              </a:xfrm>
              <a:custGeom>
                <a:gdLst>
                  <a:gd name="T0" fmla="*/ 3 w 4"/>
                  <a:gd name="T1" fmla="*/ 0 h 10"/>
                  <a:gd name="T2" fmla="*/ 0 w 4"/>
                  <a:gd name="T3" fmla="*/ 5 h 10"/>
                  <a:gd name="T4" fmla="*/ 4 w 4"/>
                  <a:gd name="T5" fmla="*/ 10 h 10"/>
                  <a:gd name="T6" fmla="*/ 4 w 4"/>
                  <a:gd name="T7" fmla="*/ 0 h 10"/>
                  <a:gd name="T8" fmla="*/ 3 w 4"/>
                  <a:gd name="T9" fmla="*/ 0 h 10"/>
                </a:gdLst>
                <a:cxnLst>
                  <a:cxn ang="0">
                    <a:pos x="T0" y="T1"/>
                  </a:cxn>
                  <a:cxn ang="0">
                    <a:pos x="T2" y="T3"/>
                  </a:cxn>
                  <a:cxn ang="0">
                    <a:pos x="T4" y="T5"/>
                  </a:cxn>
                  <a:cxn ang="0">
                    <a:pos x="T6" y="T7"/>
                  </a:cxn>
                  <a:cxn ang="0">
                    <a:pos x="T8" y="T9"/>
                  </a:cxn>
                </a:cxnLst>
                <a:rect l="0" t="0" r="r" b="b"/>
                <a:pathLst>
                  <a:path w="4" h="10">
                    <a:moveTo>
                      <a:pt x="3" y="0"/>
                    </a:moveTo>
                    <a:cubicBezTo>
                      <a:pt x="1" y="0"/>
                      <a:pt x="0" y="3"/>
                      <a:pt x="0" y="5"/>
                    </a:cubicBezTo>
                    <a:cubicBezTo>
                      <a:pt x="0" y="7"/>
                      <a:pt x="3" y="8"/>
                      <a:pt x="4" y="10"/>
                    </a:cubicBezTo>
                    <a:cubicBezTo>
                      <a:pt x="4" y="7"/>
                      <a:pt x="4" y="3"/>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Freeform 172"/>
              <p:cNvSpPr/>
              <p:nvPr/>
            </p:nvSpPr>
            <p:spPr bwMode="auto">
              <a:xfrm>
                <a:off x="5150" y="4235"/>
                <a:ext cx="378" cy="432"/>
              </a:xfrm>
              <a:custGeom>
                <a:gdLst>
                  <a:gd name="T0" fmla="*/ 143 w 160"/>
                  <a:gd name="T1" fmla="*/ 9 h 183"/>
                  <a:gd name="T2" fmla="*/ 128 w 160"/>
                  <a:gd name="T3" fmla="*/ 22 h 183"/>
                  <a:gd name="T4" fmla="*/ 103 w 160"/>
                  <a:gd name="T5" fmla="*/ 22 h 183"/>
                  <a:gd name="T6" fmla="*/ 77 w 160"/>
                  <a:gd name="T7" fmla="*/ 17 h 183"/>
                  <a:gd name="T8" fmla="*/ 72 w 160"/>
                  <a:gd name="T9" fmla="*/ 17 h 183"/>
                  <a:gd name="T10" fmla="*/ 63 w 160"/>
                  <a:gd name="T11" fmla="*/ 12 h 183"/>
                  <a:gd name="T12" fmla="*/ 50 w 160"/>
                  <a:gd name="T13" fmla="*/ 16 h 183"/>
                  <a:gd name="T14" fmla="*/ 42 w 160"/>
                  <a:gd name="T15" fmla="*/ 23 h 183"/>
                  <a:gd name="T16" fmla="*/ 38 w 160"/>
                  <a:gd name="T17" fmla="*/ 19 h 183"/>
                  <a:gd name="T18" fmla="*/ 31 w 160"/>
                  <a:gd name="T19" fmla="*/ 26 h 183"/>
                  <a:gd name="T20" fmla="*/ 24 w 160"/>
                  <a:gd name="T21" fmla="*/ 43 h 183"/>
                  <a:gd name="T22" fmla="*/ 26 w 160"/>
                  <a:gd name="T23" fmla="*/ 48 h 183"/>
                  <a:gd name="T24" fmla="*/ 15 w 160"/>
                  <a:gd name="T25" fmla="*/ 72 h 183"/>
                  <a:gd name="T26" fmla="*/ 2 w 160"/>
                  <a:gd name="T27" fmla="*/ 108 h 183"/>
                  <a:gd name="T28" fmla="*/ 2 w 160"/>
                  <a:gd name="T29" fmla="*/ 113 h 183"/>
                  <a:gd name="T30" fmla="*/ 7 w 160"/>
                  <a:gd name="T31" fmla="*/ 130 h 183"/>
                  <a:gd name="T32" fmla="*/ 20 w 160"/>
                  <a:gd name="T33" fmla="*/ 139 h 183"/>
                  <a:gd name="T34" fmla="*/ 16 w 160"/>
                  <a:gd name="T35" fmla="*/ 181 h 183"/>
                  <a:gd name="T36" fmla="*/ 23 w 160"/>
                  <a:gd name="T37" fmla="*/ 183 h 183"/>
                  <a:gd name="T38" fmla="*/ 38 w 160"/>
                  <a:gd name="T39" fmla="*/ 180 h 183"/>
                  <a:gd name="T40" fmla="*/ 41 w 160"/>
                  <a:gd name="T41" fmla="*/ 156 h 183"/>
                  <a:gd name="T42" fmla="*/ 37 w 160"/>
                  <a:gd name="T43" fmla="*/ 117 h 183"/>
                  <a:gd name="T44" fmla="*/ 53 w 160"/>
                  <a:gd name="T45" fmla="*/ 108 h 183"/>
                  <a:gd name="T46" fmla="*/ 53 w 160"/>
                  <a:gd name="T47" fmla="*/ 130 h 183"/>
                  <a:gd name="T48" fmla="*/ 60 w 160"/>
                  <a:gd name="T49" fmla="*/ 137 h 183"/>
                  <a:gd name="T50" fmla="*/ 65 w 160"/>
                  <a:gd name="T51" fmla="*/ 141 h 183"/>
                  <a:gd name="T52" fmla="*/ 67 w 160"/>
                  <a:gd name="T53" fmla="*/ 156 h 183"/>
                  <a:gd name="T54" fmla="*/ 80 w 160"/>
                  <a:gd name="T55" fmla="*/ 163 h 183"/>
                  <a:gd name="T56" fmla="*/ 94 w 160"/>
                  <a:gd name="T57" fmla="*/ 152 h 183"/>
                  <a:gd name="T58" fmla="*/ 100 w 160"/>
                  <a:gd name="T59" fmla="*/ 144 h 183"/>
                  <a:gd name="T60" fmla="*/ 93 w 160"/>
                  <a:gd name="T61" fmla="*/ 141 h 183"/>
                  <a:gd name="T62" fmla="*/ 90 w 160"/>
                  <a:gd name="T63" fmla="*/ 135 h 183"/>
                  <a:gd name="T64" fmla="*/ 89 w 160"/>
                  <a:gd name="T65" fmla="*/ 135 h 183"/>
                  <a:gd name="T66" fmla="*/ 90 w 160"/>
                  <a:gd name="T67" fmla="*/ 122 h 183"/>
                  <a:gd name="T68" fmla="*/ 80 w 160"/>
                  <a:gd name="T69" fmla="*/ 109 h 183"/>
                  <a:gd name="T70" fmla="*/ 71 w 160"/>
                  <a:gd name="T71" fmla="*/ 97 h 183"/>
                  <a:gd name="T72" fmla="*/ 67 w 160"/>
                  <a:gd name="T73" fmla="*/ 93 h 183"/>
                  <a:gd name="T74" fmla="*/ 64 w 160"/>
                  <a:gd name="T75" fmla="*/ 89 h 183"/>
                  <a:gd name="T76" fmla="*/ 96 w 160"/>
                  <a:gd name="T77" fmla="*/ 72 h 183"/>
                  <a:gd name="T78" fmla="*/ 106 w 160"/>
                  <a:gd name="T79" fmla="*/ 64 h 183"/>
                  <a:gd name="T80" fmla="*/ 109 w 160"/>
                  <a:gd name="T81" fmla="*/ 57 h 183"/>
                  <a:gd name="T82" fmla="*/ 98 w 160"/>
                  <a:gd name="T83" fmla="*/ 62 h 183"/>
                  <a:gd name="T84" fmla="*/ 86 w 160"/>
                  <a:gd name="T85" fmla="*/ 62 h 183"/>
                  <a:gd name="T86" fmla="*/ 71 w 160"/>
                  <a:gd name="T87" fmla="*/ 64 h 183"/>
                  <a:gd name="T88" fmla="*/ 65 w 160"/>
                  <a:gd name="T89" fmla="*/ 67 h 183"/>
                  <a:gd name="T90" fmla="*/ 56 w 160"/>
                  <a:gd name="T91" fmla="*/ 78 h 183"/>
                  <a:gd name="T92" fmla="*/ 47 w 160"/>
                  <a:gd name="T93" fmla="*/ 77 h 183"/>
                  <a:gd name="T94" fmla="*/ 40 w 160"/>
                  <a:gd name="T95" fmla="*/ 65 h 183"/>
                  <a:gd name="T96" fmla="*/ 38 w 160"/>
                  <a:gd name="T97" fmla="*/ 66 h 183"/>
                  <a:gd name="T98" fmla="*/ 30 w 160"/>
                  <a:gd name="T99" fmla="*/ 49 h 183"/>
                  <a:gd name="T100" fmla="*/ 55 w 160"/>
                  <a:gd name="T101" fmla="*/ 31 h 183"/>
                  <a:gd name="T102" fmla="*/ 82 w 160"/>
                  <a:gd name="T103" fmla="*/ 31 h 183"/>
                  <a:gd name="T104" fmla="*/ 91 w 160"/>
                  <a:gd name="T105" fmla="*/ 31 h 183"/>
                  <a:gd name="T106" fmla="*/ 116 w 160"/>
                  <a:gd name="T107" fmla="*/ 36 h 183"/>
                  <a:gd name="T108" fmla="*/ 136 w 160"/>
                  <a:gd name="T109" fmla="*/ 33 h 183"/>
                  <a:gd name="T110" fmla="*/ 156 w 160"/>
                  <a:gd name="T111" fmla="*/ 9 h 1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83">
                    <a:moveTo>
                      <a:pt x="154" y="0"/>
                    </a:moveTo>
                    <a:cubicBezTo>
                      <a:pt x="152" y="0"/>
                      <a:pt x="151" y="3"/>
                      <a:pt x="149" y="4"/>
                    </a:cubicBezTo>
                    <a:cubicBezTo>
                      <a:pt x="148" y="8"/>
                      <a:pt x="147" y="8"/>
                      <a:pt x="143" y="9"/>
                    </a:cubicBezTo>
                    <a:cubicBezTo>
                      <a:pt x="144" y="12"/>
                      <a:pt x="145" y="12"/>
                      <a:pt x="142" y="14"/>
                    </a:cubicBezTo>
                    <a:cubicBezTo>
                      <a:pt x="140" y="17"/>
                      <a:pt x="136" y="18"/>
                      <a:pt x="133" y="19"/>
                    </a:cubicBezTo>
                    <a:cubicBezTo>
                      <a:pt x="132" y="20"/>
                      <a:pt x="128" y="21"/>
                      <a:pt x="128" y="22"/>
                    </a:cubicBezTo>
                    <a:cubicBezTo>
                      <a:pt x="123" y="22"/>
                      <a:pt x="119" y="22"/>
                      <a:pt x="114" y="21"/>
                    </a:cubicBezTo>
                    <a:cubicBezTo>
                      <a:pt x="112" y="21"/>
                      <a:pt x="111" y="21"/>
                      <a:pt x="109" y="21"/>
                    </a:cubicBezTo>
                    <a:cubicBezTo>
                      <a:pt x="107" y="21"/>
                      <a:pt x="105" y="21"/>
                      <a:pt x="103" y="22"/>
                    </a:cubicBezTo>
                    <a:cubicBezTo>
                      <a:pt x="102" y="22"/>
                      <a:pt x="101" y="22"/>
                      <a:pt x="100" y="22"/>
                    </a:cubicBezTo>
                    <a:cubicBezTo>
                      <a:pt x="95" y="22"/>
                      <a:pt x="89" y="19"/>
                      <a:pt x="85" y="18"/>
                    </a:cubicBezTo>
                    <a:cubicBezTo>
                      <a:pt x="82" y="17"/>
                      <a:pt x="80" y="17"/>
                      <a:pt x="77" y="17"/>
                    </a:cubicBezTo>
                    <a:cubicBezTo>
                      <a:pt x="76" y="17"/>
                      <a:pt x="76" y="17"/>
                      <a:pt x="75" y="17"/>
                    </a:cubicBezTo>
                    <a:cubicBezTo>
                      <a:pt x="74" y="17"/>
                      <a:pt x="73" y="17"/>
                      <a:pt x="73" y="17"/>
                    </a:cubicBezTo>
                    <a:cubicBezTo>
                      <a:pt x="72" y="17"/>
                      <a:pt x="72" y="17"/>
                      <a:pt x="72" y="17"/>
                    </a:cubicBezTo>
                    <a:cubicBezTo>
                      <a:pt x="68" y="17"/>
                      <a:pt x="69" y="14"/>
                      <a:pt x="67" y="12"/>
                    </a:cubicBezTo>
                    <a:cubicBezTo>
                      <a:pt x="66" y="12"/>
                      <a:pt x="66" y="11"/>
                      <a:pt x="65" y="11"/>
                    </a:cubicBezTo>
                    <a:cubicBezTo>
                      <a:pt x="65" y="11"/>
                      <a:pt x="64" y="12"/>
                      <a:pt x="63" y="12"/>
                    </a:cubicBezTo>
                    <a:cubicBezTo>
                      <a:pt x="62" y="12"/>
                      <a:pt x="62" y="12"/>
                      <a:pt x="61" y="12"/>
                    </a:cubicBezTo>
                    <a:cubicBezTo>
                      <a:pt x="57" y="12"/>
                      <a:pt x="54" y="11"/>
                      <a:pt x="51" y="11"/>
                    </a:cubicBezTo>
                    <a:cubicBezTo>
                      <a:pt x="51" y="12"/>
                      <a:pt x="51" y="15"/>
                      <a:pt x="50" y="16"/>
                    </a:cubicBezTo>
                    <a:cubicBezTo>
                      <a:pt x="49" y="18"/>
                      <a:pt x="48" y="19"/>
                      <a:pt x="46" y="21"/>
                    </a:cubicBezTo>
                    <a:cubicBezTo>
                      <a:pt x="45" y="22"/>
                      <a:pt x="45" y="23"/>
                      <a:pt x="44" y="23"/>
                    </a:cubicBezTo>
                    <a:cubicBezTo>
                      <a:pt x="43" y="23"/>
                      <a:pt x="43" y="23"/>
                      <a:pt x="42" y="23"/>
                    </a:cubicBezTo>
                    <a:cubicBezTo>
                      <a:pt x="40" y="22"/>
                      <a:pt x="39" y="21"/>
                      <a:pt x="39" y="21"/>
                    </a:cubicBezTo>
                    <a:cubicBezTo>
                      <a:pt x="39" y="20"/>
                      <a:pt x="39" y="19"/>
                      <a:pt x="39" y="19"/>
                    </a:cubicBezTo>
                    <a:cubicBezTo>
                      <a:pt x="39" y="19"/>
                      <a:pt x="39" y="19"/>
                      <a:pt x="38" y="19"/>
                    </a:cubicBezTo>
                    <a:cubicBezTo>
                      <a:pt x="38" y="19"/>
                      <a:pt x="37" y="20"/>
                      <a:pt x="37" y="21"/>
                    </a:cubicBezTo>
                    <a:cubicBezTo>
                      <a:pt x="36" y="22"/>
                      <a:pt x="35" y="24"/>
                      <a:pt x="33" y="25"/>
                    </a:cubicBezTo>
                    <a:cubicBezTo>
                      <a:pt x="33" y="25"/>
                      <a:pt x="31" y="25"/>
                      <a:pt x="31" y="26"/>
                    </a:cubicBezTo>
                    <a:cubicBezTo>
                      <a:pt x="31" y="28"/>
                      <a:pt x="30" y="30"/>
                      <a:pt x="29" y="31"/>
                    </a:cubicBezTo>
                    <a:cubicBezTo>
                      <a:pt x="29" y="31"/>
                      <a:pt x="28" y="31"/>
                      <a:pt x="28" y="32"/>
                    </a:cubicBezTo>
                    <a:cubicBezTo>
                      <a:pt x="26" y="35"/>
                      <a:pt x="25" y="39"/>
                      <a:pt x="24" y="43"/>
                    </a:cubicBezTo>
                    <a:cubicBezTo>
                      <a:pt x="23" y="43"/>
                      <a:pt x="23" y="43"/>
                      <a:pt x="22" y="43"/>
                    </a:cubicBezTo>
                    <a:cubicBezTo>
                      <a:pt x="22" y="43"/>
                      <a:pt x="22" y="43"/>
                      <a:pt x="21" y="43"/>
                    </a:cubicBezTo>
                    <a:cubicBezTo>
                      <a:pt x="24" y="45"/>
                      <a:pt x="25" y="45"/>
                      <a:pt x="26" y="48"/>
                    </a:cubicBezTo>
                    <a:cubicBezTo>
                      <a:pt x="26" y="52"/>
                      <a:pt x="28" y="60"/>
                      <a:pt x="25" y="62"/>
                    </a:cubicBezTo>
                    <a:cubicBezTo>
                      <a:pt x="25" y="61"/>
                      <a:pt x="24" y="60"/>
                      <a:pt x="24" y="59"/>
                    </a:cubicBezTo>
                    <a:cubicBezTo>
                      <a:pt x="20" y="62"/>
                      <a:pt x="18" y="67"/>
                      <a:pt x="15" y="72"/>
                    </a:cubicBezTo>
                    <a:cubicBezTo>
                      <a:pt x="15" y="72"/>
                      <a:pt x="14" y="73"/>
                      <a:pt x="14" y="74"/>
                    </a:cubicBezTo>
                    <a:cubicBezTo>
                      <a:pt x="12" y="79"/>
                      <a:pt x="16" y="85"/>
                      <a:pt x="13" y="90"/>
                    </a:cubicBezTo>
                    <a:cubicBezTo>
                      <a:pt x="9" y="96"/>
                      <a:pt x="6" y="102"/>
                      <a:pt x="2" y="108"/>
                    </a:cubicBezTo>
                    <a:cubicBezTo>
                      <a:pt x="2" y="108"/>
                      <a:pt x="2" y="108"/>
                      <a:pt x="1" y="108"/>
                    </a:cubicBezTo>
                    <a:cubicBezTo>
                      <a:pt x="1" y="108"/>
                      <a:pt x="1" y="108"/>
                      <a:pt x="1" y="108"/>
                    </a:cubicBezTo>
                    <a:cubicBezTo>
                      <a:pt x="0" y="110"/>
                      <a:pt x="2" y="112"/>
                      <a:pt x="2" y="113"/>
                    </a:cubicBezTo>
                    <a:cubicBezTo>
                      <a:pt x="3" y="116"/>
                      <a:pt x="1" y="116"/>
                      <a:pt x="1" y="119"/>
                    </a:cubicBezTo>
                    <a:cubicBezTo>
                      <a:pt x="0" y="121"/>
                      <a:pt x="2" y="124"/>
                      <a:pt x="4" y="127"/>
                    </a:cubicBezTo>
                    <a:cubicBezTo>
                      <a:pt x="5" y="129"/>
                      <a:pt x="5" y="130"/>
                      <a:pt x="7" y="130"/>
                    </a:cubicBezTo>
                    <a:cubicBezTo>
                      <a:pt x="8" y="130"/>
                      <a:pt x="8" y="130"/>
                      <a:pt x="9" y="130"/>
                    </a:cubicBezTo>
                    <a:cubicBezTo>
                      <a:pt x="12" y="130"/>
                      <a:pt x="15" y="129"/>
                      <a:pt x="18" y="129"/>
                    </a:cubicBezTo>
                    <a:cubicBezTo>
                      <a:pt x="17" y="135"/>
                      <a:pt x="17" y="135"/>
                      <a:pt x="20" y="139"/>
                    </a:cubicBezTo>
                    <a:cubicBezTo>
                      <a:pt x="22" y="142"/>
                      <a:pt x="21" y="151"/>
                      <a:pt x="20" y="154"/>
                    </a:cubicBezTo>
                    <a:cubicBezTo>
                      <a:pt x="20" y="159"/>
                      <a:pt x="19" y="164"/>
                      <a:pt x="17" y="168"/>
                    </a:cubicBezTo>
                    <a:cubicBezTo>
                      <a:pt x="15" y="173"/>
                      <a:pt x="15" y="176"/>
                      <a:pt x="16" y="181"/>
                    </a:cubicBezTo>
                    <a:cubicBezTo>
                      <a:pt x="17" y="180"/>
                      <a:pt x="18" y="180"/>
                      <a:pt x="18" y="180"/>
                    </a:cubicBezTo>
                    <a:cubicBezTo>
                      <a:pt x="20" y="180"/>
                      <a:pt x="20" y="183"/>
                      <a:pt x="22" y="183"/>
                    </a:cubicBezTo>
                    <a:cubicBezTo>
                      <a:pt x="22" y="183"/>
                      <a:pt x="22" y="183"/>
                      <a:pt x="23" y="183"/>
                    </a:cubicBezTo>
                    <a:cubicBezTo>
                      <a:pt x="24" y="183"/>
                      <a:pt x="24" y="183"/>
                      <a:pt x="26" y="182"/>
                    </a:cubicBezTo>
                    <a:cubicBezTo>
                      <a:pt x="29" y="180"/>
                      <a:pt x="32" y="181"/>
                      <a:pt x="35" y="180"/>
                    </a:cubicBezTo>
                    <a:cubicBezTo>
                      <a:pt x="36" y="180"/>
                      <a:pt x="37" y="180"/>
                      <a:pt x="38" y="180"/>
                    </a:cubicBezTo>
                    <a:cubicBezTo>
                      <a:pt x="39" y="180"/>
                      <a:pt x="40" y="180"/>
                      <a:pt x="42" y="182"/>
                    </a:cubicBezTo>
                    <a:cubicBezTo>
                      <a:pt x="40" y="177"/>
                      <a:pt x="37" y="171"/>
                      <a:pt x="38" y="166"/>
                    </a:cubicBezTo>
                    <a:cubicBezTo>
                      <a:pt x="39" y="163"/>
                      <a:pt x="42" y="159"/>
                      <a:pt x="41" y="156"/>
                    </a:cubicBezTo>
                    <a:cubicBezTo>
                      <a:pt x="40" y="149"/>
                      <a:pt x="40" y="145"/>
                      <a:pt x="41" y="139"/>
                    </a:cubicBezTo>
                    <a:cubicBezTo>
                      <a:pt x="41" y="134"/>
                      <a:pt x="42" y="129"/>
                      <a:pt x="40" y="124"/>
                    </a:cubicBezTo>
                    <a:cubicBezTo>
                      <a:pt x="40" y="122"/>
                      <a:pt x="37" y="120"/>
                      <a:pt x="37" y="117"/>
                    </a:cubicBezTo>
                    <a:cubicBezTo>
                      <a:pt x="37" y="115"/>
                      <a:pt x="38" y="114"/>
                      <a:pt x="41" y="113"/>
                    </a:cubicBezTo>
                    <a:cubicBezTo>
                      <a:pt x="44" y="110"/>
                      <a:pt x="47" y="108"/>
                      <a:pt x="51" y="108"/>
                    </a:cubicBezTo>
                    <a:cubicBezTo>
                      <a:pt x="51" y="108"/>
                      <a:pt x="52" y="108"/>
                      <a:pt x="53" y="108"/>
                    </a:cubicBezTo>
                    <a:cubicBezTo>
                      <a:pt x="58" y="109"/>
                      <a:pt x="57" y="116"/>
                      <a:pt x="56" y="121"/>
                    </a:cubicBezTo>
                    <a:cubicBezTo>
                      <a:pt x="56" y="123"/>
                      <a:pt x="54" y="124"/>
                      <a:pt x="53" y="126"/>
                    </a:cubicBezTo>
                    <a:cubicBezTo>
                      <a:pt x="52" y="128"/>
                      <a:pt x="51" y="128"/>
                      <a:pt x="53" y="130"/>
                    </a:cubicBezTo>
                    <a:cubicBezTo>
                      <a:pt x="55" y="133"/>
                      <a:pt x="57" y="135"/>
                      <a:pt x="59" y="137"/>
                    </a:cubicBezTo>
                    <a:cubicBezTo>
                      <a:pt x="59" y="137"/>
                      <a:pt x="59" y="137"/>
                      <a:pt x="60" y="137"/>
                    </a:cubicBezTo>
                    <a:cubicBezTo>
                      <a:pt x="60" y="137"/>
                      <a:pt x="60" y="137"/>
                      <a:pt x="60" y="137"/>
                    </a:cubicBezTo>
                    <a:cubicBezTo>
                      <a:pt x="60" y="137"/>
                      <a:pt x="60" y="137"/>
                      <a:pt x="61" y="137"/>
                    </a:cubicBezTo>
                    <a:cubicBezTo>
                      <a:pt x="61" y="137"/>
                      <a:pt x="61" y="137"/>
                      <a:pt x="61" y="137"/>
                    </a:cubicBezTo>
                    <a:cubicBezTo>
                      <a:pt x="63" y="138"/>
                      <a:pt x="63" y="140"/>
                      <a:pt x="65" y="141"/>
                    </a:cubicBezTo>
                    <a:cubicBezTo>
                      <a:pt x="66" y="142"/>
                      <a:pt x="67" y="142"/>
                      <a:pt x="68" y="142"/>
                    </a:cubicBezTo>
                    <a:cubicBezTo>
                      <a:pt x="70" y="143"/>
                      <a:pt x="70" y="143"/>
                      <a:pt x="69" y="146"/>
                    </a:cubicBezTo>
                    <a:cubicBezTo>
                      <a:pt x="69" y="148"/>
                      <a:pt x="66" y="155"/>
                      <a:pt x="67" y="156"/>
                    </a:cubicBezTo>
                    <a:cubicBezTo>
                      <a:pt x="70" y="160"/>
                      <a:pt x="71" y="162"/>
                      <a:pt x="76" y="163"/>
                    </a:cubicBezTo>
                    <a:cubicBezTo>
                      <a:pt x="77" y="163"/>
                      <a:pt x="78" y="163"/>
                      <a:pt x="79" y="163"/>
                    </a:cubicBezTo>
                    <a:cubicBezTo>
                      <a:pt x="79" y="163"/>
                      <a:pt x="80" y="163"/>
                      <a:pt x="80" y="163"/>
                    </a:cubicBezTo>
                    <a:cubicBezTo>
                      <a:pt x="83" y="162"/>
                      <a:pt x="83" y="158"/>
                      <a:pt x="84" y="154"/>
                    </a:cubicBezTo>
                    <a:cubicBezTo>
                      <a:pt x="84" y="153"/>
                      <a:pt x="89" y="152"/>
                      <a:pt x="91" y="152"/>
                    </a:cubicBezTo>
                    <a:cubicBezTo>
                      <a:pt x="94" y="152"/>
                      <a:pt x="94" y="152"/>
                      <a:pt x="94" y="152"/>
                    </a:cubicBezTo>
                    <a:cubicBezTo>
                      <a:pt x="96" y="152"/>
                      <a:pt x="96" y="153"/>
                      <a:pt x="98" y="153"/>
                    </a:cubicBezTo>
                    <a:cubicBezTo>
                      <a:pt x="98" y="153"/>
                      <a:pt x="99" y="153"/>
                      <a:pt x="100" y="152"/>
                    </a:cubicBezTo>
                    <a:cubicBezTo>
                      <a:pt x="103" y="150"/>
                      <a:pt x="103" y="144"/>
                      <a:pt x="100" y="144"/>
                    </a:cubicBezTo>
                    <a:cubicBezTo>
                      <a:pt x="99" y="144"/>
                      <a:pt x="98" y="144"/>
                      <a:pt x="97" y="145"/>
                    </a:cubicBezTo>
                    <a:cubicBezTo>
                      <a:pt x="96" y="143"/>
                      <a:pt x="96" y="141"/>
                      <a:pt x="94" y="141"/>
                    </a:cubicBezTo>
                    <a:cubicBezTo>
                      <a:pt x="93" y="141"/>
                      <a:pt x="93" y="141"/>
                      <a:pt x="93" y="141"/>
                    </a:cubicBezTo>
                    <a:cubicBezTo>
                      <a:pt x="94" y="141"/>
                      <a:pt x="95" y="140"/>
                      <a:pt x="96" y="140"/>
                    </a:cubicBezTo>
                    <a:cubicBezTo>
                      <a:pt x="94" y="139"/>
                      <a:pt x="92" y="136"/>
                      <a:pt x="91" y="135"/>
                    </a:cubicBezTo>
                    <a:cubicBezTo>
                      <a:pt x="90" y="135"/>
                      <a:pt x="90" y="135"/>
                      <a:pt x="90" y="135"/>
                    </a:cubicBezTo>
                    <a:cubicBezTo>
                      <a:pt x="90" y="135"/>
                      <a:pt x="89" y="135"/>
                      <a:pt x="89" y="135"/>
                    </a:cubicBezTo>
                    <a:cubicBezTo>
                      <a:pt x="89" y="135"/>
                      <a:pt x="89" y="135"/>
                      <a:pt x="89" y="135"/>
                    </a:cubicBezTo>
                    <a:cubicBezTo>
                      <a:pt x="89" y="135"/>
                      <a:pt x="89" y="135"/>
                      <a:pt x="89" y="135"/>
                    </a:cubicBezTo>
                    <a:cubicBezTo>
                      <a:pt x="88" y="135"/>
                      <a:pt x="86" y="134"/>
                      <a:pt x="86" y="133"/>
                    </a:cubicBezTo>
                    <a:cubicBezTo>
                      <a:pt x="84" y="130"/>
                      <a:pt x="87" y="131"/>
                      <a:pt x="89" y="128"/>
                    </a:cubicBezTo>
                    <a:cubicBezTo>
                      <a:pt x="90" y="126"/>
                      <a:pt x="86" y="123"/>
                      <a:pt x="90" y="122"/>
                    </a:cubicBezTo>
                    <a:cubicBezTo>
                      <a:pt x="90" y="122"/>
                      <a:pt x="91" y="122"/>
                      <a:pt x="91" y="121"/>
                    </a:cubicBezTo>
                    <a:cubicBezTo>
                      <a:pt x="87" y="118"/>
                      <a:pt x="87" y="118"/>
                      <a:pt x="85" y="114"/>
                    </a:cubicBezTo>
                    <a:cubicBezTo>
                      <a:pt x="83" y="112"/>
                      <a:pt x="81" y="111"/>
                      <a:pt x="80" y="109"/>
                    </a:cubicBezTo>
                    <a:cubicBezTo>
                      <a:pt x="78" y="106"/>
                      <a:pt x="77" y="99"/>
                      <a:pt x="73" y="97"/>
                    </a:cubicBezTo>
                    <a:cubicBezTo>
                      <a:pt x="72" y="97"/>
                      <a:pt x="72" y="97"/>
                      <a:pt x="72" y="97"/>
                    </a:cubicBezTo>
                    <a:cubicBezTo>
                      <a:pt x="72" y="97"/>
                      <a:pt x="71" y="97"/>
                      <a:pt x="71" y="97"/>
                    </a:cubicBezTo>
                    <a:cubicBezTo>
                      <a:pt x="71" y="97"/>
                      <a:pt x="71" y="97"/>
                      <a:pt x="70" y="97"/>
                    </a:cubicBezTo>
                    <a:cubicBezTo>
                      <a:pt x="70" y="97"/>
                      <a:pt x="70" y="97"/>
                      <a:pt x="69" y="96"/>
                    </a:cubicBezTo>
                    <a:cubicBezTo>
                      <a:pt x="68" y="96"/>
                      <a:pt x="68" y="94"/>
                      <a:pt x="67" y="93"/>
                    </a:cubicBezTo>
                    <a:cubicBezTo>
                      <a:pt x="66" y="92"/>
                      <a:pt x="66" y="91"/>
                      <a:pt x="65" y="91"/>
                    </a:cubicBezTo>
                    <a:cubicBezTo>
                      <a:pt x="64" y="91"/>
                      <a:pt x="64" y="91"/>
                      <a:pt x="64" y="92"/>
                    </a:cubicBezTo>
                    <a:cubicBezTo>
                      <a:pt x="63" y="91"/>
                      <a:pt x="63" y="90"/>
                      <a:pt x="64" y="89"/>
                    </a:cubicBezTo>
                    <a:cubicBezTo>
                      <a:pt x="67" y="89"/>
                      <a:pt x="68" y="90"/>
                      <a:pt x="70" y="90"/>
                    </a:cubicBezTo>
                    <a:cubicBezTo>
                      <a:pt x="71" y="90"/>
                      <a:pt x="72" y="90"/>
                      <a:pt x="75" y="88"/>
                    </a:cubicBezTo>
                    <a:cubicBezTo>
                      <a:pt x="81" y="82"/>
                      <a:pt x="90" y="78"/>
                      <a:pt x="96" y="72"/>
                    </a:cubicBezTo>
                    <a:cubicBezTo>
                      <a:pt x="97" y="70"/>
                      <a:pt x="98" y="69"/>
                      <a:pt x="99" y="67"/>
                    </a:cubicBezTo>
                    <a:cubicBezTo>
                      <a:pt x="101" y="65"/>
                      <a:pt x="101" y="65"/>
                      <a:pt x="104" y="65"/>
                    </a:cubicBezTo>
                    <a:cubicBezTo>
                      <a:pt x="105" y="64"/>
                      <a:pt x="105" y="64"/>
                      <a:pt x="106" y="64"/>
                    </a:cubicBezTo>
                    <a:cubicBezTo>
                      <a:pt x="109" y="64"/>
                      <a:pt x="110" y="66"/>
                      <a:pt x="113" y="68"/>
                    </a:cubicBezTo>
                    <a:cubicBezTo>
                      <a:pt x="114" y="64"/>
                      <a:pt x="116" y="59"/>
                      <a:pt x="111" y="58"/>
                    </a:cubicBezTo>
                    <a:cubicBezTo>
                      <a:pt x="110" y="57"/>
                      <a:pt x="110" y="57"/>
                      <a:pt x="109" y="57"/>
                    </a:cubicBezTo>
                    <a:cubicBezTo>
                      <a:pt x="108" y="57"/>
                      <a:pt x="108" y="57"/>
                      <a:pt x="108" y="57"/>
                    </a:cubicBezTo>
                    <a:cubicBezTo>
                      <a:pt x="105" y="57"/>
                      <a:pt x="104" y="58"/>
                      <a:pt x="102" y="61"/>
                    </a:cubicBezTo>
                    <a:cubicBezTo>
                      <a:pt x="105" y="62"/>
                      <a:pt x="100" y="62"/>
                      <a:pt x="98" y="62"/>
                    </a:cubicBezTo>
                    <a:cubicBezTo>
                      <a:pt x="97" y="62"/>
                      <a:pt x="97" y="62"/>
                      <a:pt x="96" y="62"/>
                    </a:cubicBezTo>
                    <a:cubicBezTo>
                      <a:pt x="94" y="62"/>
                      <a:pt x="92" y="62"/>
                      <a:pt x="89" y="62"/>
                    </a:cubicBezTo>
                    <a:cubicBezTo>
                      <a:pt x="88" y="62"/>
                      <a:pt x="87" y="62"/>
                      <a:pt x="86" y="62"/>
                    </a:cubicBezTo>
                    <a:cubicBezTo>
                      <a:pt x="83" y="62"/>
                      <a:pt x="80" y="65"/>
                      <a:pt x="77" y="66"/>
                    </a:cubicBezTo>
                    <a:cubicBezTo>
                      <a:pt x="77" y="66"/>
                      <a:pt x="76" y="66"/>
                      <a:pt x="76" y="66"/>
                    </a:cubicBezTo>
                    <a:cubicBezTo>
                      <a:pt x="74" y="66"/>
                      <a:pt x="73" y="65"/>
                      <a:pt x="71" y="64"/>
                    </a:cubicBezTo>
                    <a:cubicBezTo>
                      <a:pt x="71" y="64"/>
                      <a:pt x="71" y="63"/>
                      <a:pt x="71" y="63"/>
                    </a:cubicBezTo>
                    <a:cubicBezTo>
                      <a:pt x="71" y="63"/>
                      <a:pt x="70" y="63"/>
                      <a:pt x="70" y="64"/>
                    </a:cubicBezTo>
                    <a:cubicBezTo>
                      <a:pt x="68" y="65"/>
                      <a:pt x="67" y="66"/>
                      <a:pt x="65" y="67"/>
                    </a:cubicBezTo>
                    <a:cubicBezTo>
                      <a:pt x="64" y="69"/>
                      <a:pt x="63" y="70"/>
                      <a:pt x="61" y="72"/>
                    </a:cubicBezTo>
                    <a:cubicBezTo>
                      <a:pt x="60" y="73"/>
                      <a:pt x="60" y="76"/>
                      <a:pt x="58" y="77"/>
                    </a:cubicBezTo>
                    <a:cubicBezTo>
                      <a:pt x="57" y="78"/>
                      <a:pt x="57" y="78"/>
                      <a:pt x="56" y="78"/>
                    </a:cubicBezTo>
                    <a:cubicBezTo>
                      <a:pt x="55" y="78"/>
                      <a:pt x="54" y="78"/>
                      <a:pt x="53" y="77"/>
                    </a:cubicBezTo>
                    <a:cubicBezTo>
                      <a:pt x="52" y="77"/>
                      <a:pt x="50" y="77"/>
                      <a:pt x="49" y="77"/>
                    </a:cubicBezTo>
                    <a:cubicBezTo>
                      <a:pt x="49" y="77"/>
                      <a:pt x="48" y="77"/>
                      <a:pt x="47" y="77"/>
                    </a:cubicBezTo>
                    <a:cubicBezTo>
                      <a:pt x="45" y="74"/>
                      <a:pt x="45" y="68"/>
                      <a:pt x="41" y="66"/>
                    </a:cubicBezTo>
                    <a:cubicBezTo>
                      <a:pt x="41" y="66"/>
                      <a:pt x="41" y="66"/>
                      <a:pt x="40" y="65"/>
                    </a:cubicBezTo>
                    <a:cubicBezTo>
                      <a:pt x="40" y="65"/>
                      <a:pt x="40" y="65"/>
                      <a:pt x="40" y="65"/>
                    </a:cubicBezTo>
                    <a:cubicBezTo>
                      <a:pt x="40" y="65"/>
                      <a:pt x="39" y="66"/>
                      <a:pt x="39" y="66"/>
                    </a:cubicBezTo>
                    <a:cubicBezTo>
                      <a:pt x="39" y="66"/>
                      <a:pt x="39" y="66"/>
                      <a:pt x="38" y="66"/>
                    </a:cubicBezTo>
                    <a:cubicBezTo>
                      <a:pt x="38" y="66"/>
                      <a:pt x="38" y="66"/>
                      <a:pt x="38" y="66"/>
                    </a:cubicBezTo>
                    <a:cubicBezTo>
                      <a:pt x="36" y="66"/>
                      <a:pt x="35" y="63"/>
                      <a:pt x="34" y="61"/>
                    </a:cubicBezTo>
                    <a:cubicBezTo>
                      <a:pt x="32" y="59"/>
                      <a:pt x="32" y="58"/>
                      <a:pt x="32" y="55"/>
                    </a:cubicBezTo>
                    <a:cubicBezTo>
                      <a:pt x="31" y="53"/>
                      <a:pt x="30" y="51"/>
                      <a:pt x="30" y="49"/>
                    </a:cubicBezTo>
                    <a:cubicBezTo>
                      <a:pt x="31" y="43"/>
                      <a:pt x="35" y="35"/>
                      <a:pt x="40" y="31"/>
                    </a:cubicBezTo>
                    <a:cubicBezTo>
                      <a:pt x="42" y="30"/>
                      <a:pt x="44" y="30"/>
                      <a:pt x="46" y="30"/>
                    </a:cubicBezTo>
                    <a:cubicBezTo>
                      <a:pt x="49" y="30"/>
                      <a:pt x="52" y="30"/>
                      <a:pt x="55" y="31"/>
                    </a:cubicBezTo>
                    <a:cubicBezTo>
                      <a:pt x="58" y="31"/>
                      <a:pt x="61" y="32"/>
                      <a:pt x="63" y="32"/>
                    </a:cubicBezTo>
                    <a:cubicBezTo>
                      <a:pt x="63" y="32"/>
                      <a:pt x="63" y="32"/>
                      <a:pt x="63" y="32"/>
                    </a:cubicBezTo>
                    <a:cubicBezTo>
                      <a:pt x="70" y="32"/>
                      <a:pt x="76" y="31"/>
                      <a:pt x="82" y="31"/>
                    </a:cubicBezTo>
                    <a:cubicBezTo>
                      <a:pt x="83" y="31"/>
                      <a:pt x="83" y="31"/>
                      <a:pt x="84" y="31"/>
                    </a:cubicBezTo>
                    <a:cubicBezTo>
                      <a:pt x="84" y="31"/>
                      <a:pt x="84" y="31"/>
                      <a:pt x="85" y="31"/>
                    </a:cubicBezTo>
                    <a:cubicBezTo>
                      <a:pt x="87" y="31"/>
                      <a:pt x="89" y="31"/>
                      <a:pt x="91" y="31"/>
                    </a:cubicBezTo>
                    <a:cubicBezTo>
                      <a:pt x="93" y="31"/>
                      <a:pt x="95" y="31"/>
                      <a:pt x="97" y="31"/>
                    </a:cubicBezTo>
                    <a:cubicBezTo>
                      <a:pt x="101" y="31"/>
                      <a:pt x="104" y="31"/>
                      <a:pt x="107" y="32"/>
                    </a:cubicBezTo>
                    <a:cubicBezTo>
                      <a:pt x="110" y="33"/>
                      <a:pt x="113" y="35"/>
                      <a:pt x="116" y="36"/>
                    </a:cubicBezTo>
                    <a:cubicBezTo>
                      <a:pt x="118" y="36"/>
                      <a:pt x="119" y="36"/>
                      <a:pt x="120" y="36"/>
                    </a:cubicBezTo>
                    <a:cubicBezTo>
                      <a:pt x="122" y="36"/>
                      <a:pt x="124" y="36"/>
                      <a:pt x="126" y="35"/>
                    </a:cubicBezTo>
                    <a:cubicBezTo>
                      <a:pt x="128" y="35"/>
                      <a:pt x="134" y="35"/>
                      <a:pt x="136" y="33"/>
                    </a:cubicBezTo>
                    <a:cubicBezTo>
                      <a:pt x="139" y="30"/>
                      <a:pt x="142" y="27"/>
                      <a:pt x="145" y="24"/>
                    </a:cubicBezTo>
                    <a:cubicBezTo>
                      <a:pt x="147" y="22"/>
                      <a:pt x="150" y="21"/>
                      <a:pt x="152" y="18"/>
                    </a:cubicBezTo>
                    <a:cubicBezTo>
                      <a:pt x="153" y="15"/>
                      <a:pt x="155" y="12"/>
                      <a:pt x="156" y="9"/>
                    </a:cubicBezTo>
                    <a:cubicBezTo>
                      <a:pt x="158" y="5"/>
                      <a:pt x="160" y="2"/>
                      <a:pt x="155" y="1"/>
                    </a:cubicBezTo>
                    <a:cubicBezTo>
                      <a:pt x="155" y="0"/>
                      <a:pt x="154" y="0"/>
                      <a:pt x="1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173"/>
              <p:cNvSpPr/>
              <p:nvPr/>
            </p:nvSpPr>
            <p:spPr bwMode="auto">
              <a:xfrm>
                <a:off x="5788" y="4403"/>
                <a:ext cx="10" cy="4"/>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2" y="0"/>
                      <a:pt x="1" y="1"/>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Freeform 174"/>
              <p:cNvSpPr/>
              <p:nvPr/>
            </p:nvSpPr>
            <p:spPr bwMode="auto">
              <a:xfrm>
                <a:off x="4980" y="4819"/>
                <a:ext cx="61" cy="40"/>
              </a:xfrm>
              <a:custGeom>
                <a:gdLst>
                  <a:gd name="T0" fmla="*/ 15 w 26"/>
                  <a:gd name="T1" fmla="*/ 0 h 17"/>
                  <a:gd name="T2" fmla="*/ 6 w 26"/>
                  <a:gd name="T3" fmla="*/ 7 h 17"/>
                  <a:gd name="T4" fmla="*/ 0 w 26"/>
                  <a:gd name="T5" fmla="*/ 14 h 17"/>
                  <a:gd name="T6" fmla="*/ 3 w 26"/>
                  <a:gd name="T7" fmla="*/ 15 h 17"/>
                  <a:gd name="T8" fmla="*/ 3 w 26"/>
                  <a:gd name="T9" fmla="*/ 15 h 17"/>
                  <a:gd name="T10" fmla="*/ 3 w 26"/>
                  <a:gd name="T11" fmla="*/ 15 h 17"/>
                  <a:gd name="T12" fmla="*/ 4 w 26"/>
                  <a:gd name="T13" fmla="*/ 16 h 17"/>
                  <a:gd name="T14" fmla="*/ 4 w 26"/>
                  <a:gd name="T15" fmla="*/ 16 h 17"/>
                  <a:gd name="T16" fmla="*/ 11 w 26"/>
                  <a:gd name="T17" fmla="*/ 16 h 17"/>
                  <a:gd name="T18" fmla="*/ 13 w 26"/>
                  <a:gd name="T19" fmla="*/ 17 h 17"/>
                  <a:gd name="T20" fmla="*/ 14 w 26"/>
                  <a:gd name="T21" fmla="*/ 16 h 17"/>
                  <a:gd name="T22" fmla="*/ 15 w 26"/>
                  <a:gd name="T23" fmla="*/ 14 h 17"/>
                  <a:gd name="T24" fmla="*/ 17 w 26"/>
                  <a:gd name="T25" fmla="*/ 15 h 17"/>
                  <a:gd name="T26" fmla="*/ 19 w 26"/>
                  <a:gd name="T27" fmla="*/ 15 h 17"/>
                  <a:gd name="T28" fmla="*/ 19 w 26"/>
                  <a:gd name="T29" fmla="*/ 0 h 17"/>
                  <a:gd name="T30" fmla="*/ 15 w 26"/>
                  <a:gd name="T31"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17">
                    <a:moveTo>
                      <a:pt x="15" y="0"/>
                    </a:moveTo>
                    <a:cubicBezTo>
                      <a:pt x="10" y="0"/>
                      <a:pt x="4" y="2"/>
                      <a:pt x="6" y="7"/>
                    </a:cubicBezTo>
                    <a:cubicBezTo>
                      <a:pt x="8" y="11"/>
                      <a:pt x="3" y="12"/>
                      <a:pt x="0" y="14"/>
                    </a:cubicBezTo>
                    <a:cubicBezTo>
                      <a:pt x="1" y="14"/>
                      <a:pt x="2" y="14"/>
                      <a:pt x="3" y="15"/>
                    </a:cubicBezTo>
                    <a:cubicBezTo>
                      <a:pt x="3" y="15"/>
                      <a:pt x="3" y="15"/>
                      <a:pt x="3" y="15"/>
                    </a:cubicBezTo>
                    <a:cubicBezTo>
                      <a:pt x="3" y="15"/>
                      <a:pt x="3" y="15"/>
                      <a:pt x="3" y="15"/>
                    </a:cubicBezTo>
                    <a:cubicBezTo>
                      <a:pt x="4" y="15"/>
                      <a:pt x="4" y="16"/>
                      <a:pt x="4" y="16"/>
                    </a:cubicBezTo>
                    <a:cubicBezTo>
                      <a:pt x="4" y="16"/>
                      <a:pt x="4" y="16"/>
                      <a:pt x="4" y="16"/>
                    </a:cubicBezTo>
                    <a:cubicBezTo>
                      <a:pt x="6" y="16"/>
                      <a:pt x="8" y="16"/>
                      <a:pt x="11" y="16"/>
                    </a:cubicBezTo>
                    <a:cubicBezTo>
                      <a:pt x="12" y="17"/>
                      <a:pt x="12" y="17"/>
                      <a:pt x="13" y="17"/>
                    </a:cubicBezTo>
                    <a:cubicBezTo>
                      <a:pt x="13" y="17"/>
                      <a:pt x="14" y="17"/>
                      <a:pt x="14" y="16"/>
                    </a:cubicBezTo>
                    <a:cubicBezTo>
                      <a:pt x="16" y="16"/>
                      <a:pt x="14" y="14"/>
                      <a:pt x="15" y="14"/>
                    </a:cubicBezTo>
                    <a:cubicBezTo>
                      <a:pt x="16" y="14"/>
                      <a:pt x="16" y="14"/>
                      <a:pt x="17" y="15"/>
                    </a:cubicBezTo>
                    <a:cubicBezTo>
                      <a:pt x="17" y="15"/>
                      <a:pt x="18" y="15"/>
                      <a:pt x="19" y="15"/>
                    </a:cubicBezTo>
                    <a:cubicBezTo>
                      <a:pt x="15" y="13"/>
                      <a:pt x="26" y="3"/>
                      <a:pt x="19" y="0"/>
                    </a:cubicBezTo>
                    <a:cubicBezTo>
                      <a:pt x="18" y="0"/>
                      <a:pt x="17"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175"/>
              <p:cNvSpPr/>
              <p:nvPr/>
            </p:nvSpPr>
            <p:spPr bwMode="auto">
              <a:xfrm>
                <a:off x="5032" y="4809"/>
                <a:ext cx="144" cy="59"/>
              </a:xfrm>
              <a:custGeom>
                <a:gdLst>
                  <a:gd name="T0" fmla="*/ 30 w 61"/>
                  <a:gd name="T1" fmla="*/ 0 h 25"/>
                  <a:gd name="T2" fmla="*/ 26 w 61"/>
                  <a:gd name="T3" fmla="*/ 1 h 25"/>
                  <a:gd name="T4" fmla="*/ 29 w 61"/>
                  <a:gd name="T5" fmla="*/ 8 h 25"/>
                  <a:gd name="T6" fmla="*/ 38 w 61"/>
                  <a:gd name="T7" fmla="*/ 12 h 25"/>
                  <a:gd name="T8" fmla="*/ 27 w 61"/>
                  <a:gd name="T9" fmla="*/ 15 h 25"/>
                  <a:gd name="T10" fmla="*/ 26 w 61"/>
                  <a:gd name="T11" fmla="*/ 15 h 25"/>
                  <a:gd name="T12" fmla="*/ 25 w 61"/>
                  <a:gd name="T13" fmla="*/ 13 h 25"/>
                  <a:gd name="T14" fmla="*/ 15 w 61"/>
                  <a:gd name="T15" fmla="*/ 9 h 25"/>
                  <a:gd name="T16" fmla="*/ 10 w 61"/>
                  <a:gd name="T17" fmla="*/ 7 h 25"/>
                  <a:gd name="T18" fmla="*/ 6 w 61"/>
                  <a:gd name="T19" fmla="*/ 9 h 25"/>
                  <a:gd name="T20" fmla="*/ 2 w 61"/>
                  <a:gd name="T21" fmla="*/ 12 h 25"/>
                  <a:gd name="T22" fmla="*/ 1 w 61"/>
                  <a:gd name="T23" fmla="*/ 17 h 25"/>
                  <a:gd name="T24" fmla="*/ 6 w 61"/>
                  <a:gd name="T25" fmla="*/ 24 h 25"/>
                  <a:gd name="T26" fmla="*/ 9 w 61"/>
                  <a:gd name="T27" fmla="*/ 25 h 25"/>
                  <a:gd name="T28" fmla="*/ 9 w 61"/>
                  <a:gd name="T29" fmla="*/ 25 h 25"/>
                  <a:gd name="T30" fmla="*/ 26 w 61"/>
                  <a:gd name="T31" fmla="*/ 21 h 25"/>
                  <a:gd name="T32" fmla="*/ 35 w 61"/>
                  <a:gd name="T33" fmla="*/ 18 h 25"/>
                  <a:gd name="T34" fmla="*/ 41 w 61"/>
                  <a:gd name="T35" fmla="*/ 12 h 25"/>
                  <a:gd name="T36" fmla="*/ 42 w 61"/>
                  <a:gd name="T37" fmla="*/ 15 h 25"/>
                  <a:gd name="T38" fmla="*/ 43 w 61"/>
                  <a:gd name="T39" fmla="*/ 19 h 25"/>
                  <a:gd name="T40" fmla="*/ 43 w 61"/>
                  <a:gd name="T41" fmla="*/ 19 h 25"/>
                  <a:gd name="T42" fmla="*/ 50 w 61"/>
                  <a:gd name="T43" fmla="*/ 18 h 25"/>
                  <a:gd name="T44" fmla="*/ 60 w 61"/>
                  <a:gd name="T45" fmla="*/ 15 h 25"/>
                  <a:gd name="T46" fmla="*/ 61 w 61"/>
                  <a:gd name="T47" fmla="*/ 12 h 25"/>
                  <a:gd name="T48" fmla="*/ 58 w 61"/>
                  <a:gd name="T49" fmla="*/ 14 h 25"/>
                  <a:gd name="T50" fmla="*/ 56 w 61"/>
                  <a:gd name="T51" fmla="*/ 11 h 25"/>
                  <a:gd name="T52" fmla="*/ 57 w 61"/>
                  <a:gd name="T53" fmla="*/ 9 h 25"/>
                  <a:gd name="T54" fmla="*/ 54 w 61"/>
                  <a:gd name="T55" fmla="*/ 5 h 25"/>
                  <a:gd name="T56" fmla="*/ 54 w 61"/>
                  <a:gd name="T57" fmla="*/ 5 h 25"/>
                  <a:gd name="T58" fmla="*/ 48 w 61"/>
                  <a:gd name="T59" fmla="*/ 10 h 25"/>
                  <a:gd name="T60" fmla="*/ 44 w 61"/>
                  <a:gd name="T61" fmla="*/ 4 h 25"/>
                  <a:gd name="T62" fmla="*/ 39 w 61"/>
                  <a:gd name="T63" fmla="*/ 7 h 25"/>
                  <a:gd name="T64" fmla="*/ 30 w 61"/>
                  <a:gd name="T65"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25">
                    <a:moveTo>
                      <a:pt x="30" y="0"/>
                    </a:moveTo>
                    <a:cubicBezTo>
                      <a:pt x="29" y="0"/>
                      <a:pt x="28" y="0"/>
                      <a:pt x="26" y="1"/>
                    </a:cubicBezTo>
                    <a:cubicBezTo>
                      <a:pt x="26" y="4"/>
                      <a:pt x="27" y="6"/>
                      <a:pt x="29" y="8"/>
                    </a:cubicBezTo>
                    <a:cubicBezTo>
                      <a:pt x="30" y="9"/>
                      <a:pt x="38" y="11"/>
                      <a:pt x="38" y="12"/>
                    </a:cubicBezTo>
                    <a:cubicBezTo>
                      <a:pt x="38" y="14"/>
                      <a:pt x="30" y="15"/>
                      <a:pt x="27" y="15"/>
                    </a:cubicBezTo>
                    <a:cubicBezTo>
                      <a:pt x="27" y="15"/>
                      <a:pt x="26" y="15"/>
                      <a:pt x="26" y="15"/>
                    </a:cubicBezTo>
                    <a:cubicBezTo>
                      <a:pt x="26" y="15"/>
                      <a:pt x="25" y="13"/>
                      <a:pt x="25" y="13"/>
                    </a:cubicBezTo>
                    <a:cubicBezTo>
                      <a:pt x="22" y="12"/>
                      <a:pt x="18" y="10"/>
                      <a:pt x="15" y="9"/>
                    </a:cubicBezTo>
                    <a:cubicBezTo>
                      <a:pt x="13" y="8"/>
                      <a:pt x="12" y="7"/>
                      <a:pt x="10" y="7"/>
                    </a:cubicBezTo>
                    <a:cubicBezTo>
                      <a:pt x="9" y="7"/>
                      <a:pt x="8" y="8"/>
                      <a:pt x="6" y="9"/>
                    </a:cubicBezTo>
                    <a:cubicBezTo>
                      <a:pt x="4" y="10"/>
                      <a:pt x="2" y="10"/>
                      <a:pt x="2" y="12"/>
                    </a:cubicBezTo>
                    <a:cubicBezTo>
                      <a:pt x="1" y="14"/>
                      <a:pt x="1" y="15"/>
                      <a:pt x="1" y="17"/>
                    </a:cubicBezTo>
                    <a:cubicBezTo>
                      <a:pt x="1" y="23"/>
                      <a:pt x="0" y="22"/>
                      <a:pt x="6" y="24"/>
                    </a:cubicBezTo>
                    <a:cubicBezTo>
                      <a:pt x="7" y="25"/>
                      <a:pt x="8" y="25"/>
                      <a:pt x="9" y="25"/>
                    </a:cubicBezTo>
                    <a:cubicBezTo>
                      <a:pt x="9" y="25"/>
                      <a:pt x="9" y="25"/>
                      <a:pt x="9" y="25"/>
                    </a:cubicBezTo>
                    <a:cubicBezTo>
                      <a:pt x="15" y="25"/>
                      <a:pt x="21" y="22"/>
                      <a:pt x="26" y="21"/>
                    </a:cubicBezTo>
                    <a:cubicBezTo>
                      <a:pt x="29" y="21"/>
                      <a:pt x="32" y="19"/>
                      <a:pt x="35" y="18"/>
                    </a:cubicBezTo>
                    <a:cubicBezTo>
                      <a:pt x="38" y="16"/>
                      <a:pt x="39" y="15"/>
                      <a:pt x="41" y="12"/>
                    </a:cubicBezTo>
                    <a:cubicBezTo>
                      <a:pt x="42" y="13"/>
                      <a:pt x="42" y="14"/>
                      <a:pt x="42" y="15"/>
                    </a:cubicBezTo>
                    <a:cubicBezTo>
                      <a:pt x="42" y="16"/>
                      <a:pt x="43" y="19"/>
                      <a:pt x="43" y="19"/>
                    </a:cubicBezTo>
                    <a:cubicBezTo>
                      <a:pt x="43" y="19"/>
                      <a:pt x="43" y="19"/>
                      <a:pt x="43" y="19"/>
                    </a:cubicBezTo>
                    <a:cubicBezTo>
                      <a:pt x="45" y="19"/>
                      <a:pt x="47" y="18"/>
                      <a:pt x="50" y="18"/>
                    </a:cubicBezTo>
                    <a:cubicBezTo>
                      <a:pt x="52" y="17"/>
                      <a:pt x="59" y="17"/>
                      <a:pt x="60" y="15"/>
                    </a:cubicBezTo>
                    <a:cubicBezTo>
                      <a:pt x="61" y="15"/>
                      <a:pt x="61" y="13"/>
                      <a:pt x="61" y="12"/>
                    </a:cubicBezTo>
                    <a:cubicBezTo>
                      <a:pt x="60" y="13"/>
                      <a:pt x="59" y="14"/>
                      <a:pt x="58" y="14"/>
                    </a:cubicBezTo>
                    <a:cubicBezTo>
                      <a:pt x="57" y="14"/>
                      <a:pt x="57" y="13"/>
                      <a:pt x="56" y="11"/>
                    </a:cubicBezTo>
                    <a:cubicBezTo>
                      <a:pt x="56" y="11"/>
                      <a:pt x="57" y="9"/>
                      <a:pt x="57" y="9"/>
                    </a:cubicBezTo>
                    <a:cubicBezTo>
                      <a:pt x="57" y="6"/>
                      <a:pt x="56" y="5"/>
                      <a:pt x="54" y="5"/>
                    </a:cubicBezTo>
                    <a:cubicBezTo>
                      <a:pt x="54" y="5"/>
                      <a:pt x="54" y="5"/>
                      <a:pt x="54" y="5"/>
                    </a:cubicBezTo>
                    <a:cubicBezTo>
                      <a:pt x="49" y="6"/>
                      <a:pt x="50" y="6"/>
                      <a:pt x="48" y="10"/>
                    </a:cubicBezTo>
                    <a:cubicBezTo>
                      <a:pt x="48" y="6"/>
                      <a:pt x="46" y="4"/>
                      <a:pt x="44" y="4"/>
                    </a:cubicBezTo>
                    <a:cubicBezTo>
                      <a:pt x="43" y="4"/>
                      <a:pt x="41" y="5"/>
                      <a:pt x="39" y="7"/>
                    </a:cubicBezTo>
                    <a:cubicBezTo>
                      <a:pt x="35" y="2"/>
                      <a:pt x="34"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Freeform 176"/>
              <p:cNvSpPr/>
              <p:nvPr/>
            </p:nvSpPr>
            <p:spPr bwMode="auto">
              <a:xfrm>
                <a:off x="5649" y="4774"/>
                <a:ext cx="4" cy="9"/>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1" y="2"/>
                      <a:pt x="0" y="2"/>
                      <a:pt x="1"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177"/>
              <p:cNvSpPr/>
              <p:nvPr/>
            </p:nvSpPr>
            <p:spPr bwMode="auto">
              <a:xfrm>
                <a:off x="4940" y="4736"/>
                <a:ext cx="23" cy="7"/>
              </a:xfrm>
              <a:custGeom>
                <a:gdLst>
                  <a:gd name="T0" fmla="*/ 4 w 10"/>
                  <a:gd name="T1" fmla="*/ 0 h 3"/>
                  <a:gd name="T2" fmla="*/ 5 w 10"/>
                  <a:gd name="T3" fmla="*/ 3 h 3"/>
                  <a:gd name="T4" fmla="*/ 6 w 10"/>
                  <a:gd name="T5" fmla="*/ 3 h 3"/>
                  <a:gd name="T6" fmla="*/ 9 w 10"/>
                  <a:gd name="T7" fmla="*/ 2 h 3"/>
                  <a:gd name="T8" fmla="*/ 10 w 10"/>
                  <a:gd name="T9" fmla="*/ 2 h 3"/>
                  <a:gd name="T10" fmla="*/ 4 w 10"/>
                  <a:gd name="T11" fmla="*/ 0 h 3"/>
                </a:gdLst>
                <a:cxnLst>
                  <a:cxn ang="0">
                    <a:pos x="T0" y="T1"/>
                  </a:cxn>
                  <a:cxn ang="0">
                    <a:pos x="T2" y="T3"/>
                  </a:cxn>
                  <a:cxn ang="0">
                    <a:pos x="T4" y="T5"/>
                  </a:cxn>
                  <a:cxn ang="0">
                    <a:pos x="T6" y="T7"/>
                  </a:cxn>
                  <a:cxn ang="0">
                    <a:pos x="T8" y="T9"/>
                  </a:cxn>
                  <a:cxn ang="0">
                    <a:pos x="T10" y="T11"/>
                  </a:cxn>
                </a:cxnLst>
                <a:rect l="0" t="0" r="r" b="b"/>
                <a:pathLst>
                  <a:path w="10" h="3">
                    <a:moveTo>
                      <a:pt x="4" y="0"/>
                    </a:moveTo>
                    <a:cubicBezTo>
                      <a:pt x="0" y="1"/>
                      <a:pt x="2" y="3"/>
                      <a:pt x="5" y="3"/>
                    </a:cubicBezTo>
                    <a:cubicBezTo>
                      <a:pt x="5" y="3"/>
                      <a:pt x="5" y="3"/>
                      <a:pt x="6" y="3"/>
                    </a:cubicBezTo>
                    <a:cubicBezTo>
                      <a:pt x="9" y="2"/>
                      <a:pt x="9" y="2"/>
                      <a:pt x="9" y="2"/>
                    </a:cubicBezTo>
                    <a:cubicBezTo>
                      <a:pt x="10" y="2"/>
                      <a:pt x="10" y="2"/>
                      <a:pt x="10" y="2"/>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Freeform 178"/>
              <p:cNvSpPr/>
              <p:nvPr/>
            </p:nvSpPr>
            <p:spPr bwMode="auto">
              <a:xfrm>
                <a:off x="5164" y="4812"/>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Freeform 179"/>
              <p:cNvSpPr/>
              <p:nvPr/>
            </p:nvSpPr>
            <p:spPr bwMode="auto">
              <a:xfrm>
                <a:off x="4571" y="4426"/>
                <a:ext cx="10" cy="3"/>
              </a:xfrm>
              <a:custGeom>
                <a:gdLst>
                  <a:gd name="T0" fmla="*/ 1 w 4"/>
                  <a:gd name="T1" fmla="*/ 0 h 1"/>
                  <a:gd name="T2" fmla="*/ 0 w 4"/>
                  <a:gd name="T3" fmla="*/ 1 h 1"/>
                  <a:gd name="T4" fmla="*/ 1 w 4"/>
                  <a:gd name="T5" fmla="*/ 1 h 1"/>
                  <a:gd name="T6" fmla="*/ 4 w 4"/>
                  <a:gd name="T7" fmla="*/ 1 h 1"/>
                  <a:gd name="T8" fmla="*/ 1 w 4"/>
                  <a:gd name="T9" fmla="*/ 0 h 1"/>
                </a:gdLst>
                <a:cxnLst>
                  <a:cxn ang="0">
                    <a:pos x="T0" y="T1"/>
                  </a:cxn>
                  <a:cxn ang="0">
                    <a:pos x="T2" y="T3"/>
                  </a:cxn>
                  <a:cxn ang="0">
                    <a:pos x="T4" y="T5"/>
                  </a:cxn>
                  <a:cxn ang="0">
                    <a:pos x="T6" y="T7"/>
                  </a:cxn>
                  <a:cxn ang="0">
                    <a:pos x="T8" y="T9"/>
                  </a:cxn>
                </a:cxnLst>
                <a:rect l="0" t="0" r="r" b="b"/>
                <a:pathLst>
                  <a:path w="4" h="1">
                    <a:moveTo>
                      <a:pt x="1" y="0"/>
                    </a:moveTo>
                    <a:cubicBezTo>
                      <a:pt x="1" y="0"/>
                      <a:pt x="0" y="1"/>
                      <a:pt x="0" y="1"/>
                    </a:cubicBezTo>
                    <a:cubicBezTo>
                      <a:pt x="0" y="1"/>
                      <a:pt x="0" y="1"/>
                      <a:pt x="1" y="1"/>
                    </a:cubicBezTo>
                    <a:cubicBezTo>
                      <a:pt x="2" y="1"/>
                      <a:pt x="3" y="1"/>
                      <a:pt x="4"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180"/>
              <p:cNvSpPr/>
              <p:nvPr/>
            </p:nvSpPr>
            <p:spPr bwMode="auto">
              <a:xfrm>
                <a:off x="5850" y="4809"/>
                <a:ext cx="23" cy="14"/>
              </a:xfrm>
              <a:custGeom>
                <a:gdLst>
                  <a:gd name="T0" fmla="*/ 7 w 10"/>
                  <a:gd name="T1" fmla="*/ 0 h 6"/>
                  <a:gd name="T2" fmla="*/ 0 w 10"/>
                  <a:gd name="T3" fmla="*/ 6 h 6"/>
                  <a:gd name="T4" fmla="*/ 6 w 10"/>
                  <a:gd name="T5" fmla="*/ 3 h 6"/>
                  <a:gd name="T6" fmla="*/ 10 w 10"/>
                  <a:gd name="T7" fmla="*/ 1 h 6"/>
                  <a:gd name="T8" fmla="*/ 7 w 10"/>
                  <a:gd name="T9" fmla="*/ 0 h 6"/>
                </a:gdLst>
                <a:cxnLst>
                  <a:cxn ang="0">
                    <a:pos x="T0" y="T1"/>
                  </a:cxn>
                  <a:cxn ang="0">
                    <a:pos x="T2" y="T3"/>
                  </a:cxn>
                  <a:cxn ang="0">
                    <a:pos x="T4" y="T5"/>
                  </a:cxn>
                  <a:cxn ang="0">
                    <a:pos x="T6" y="T7"/>
                  </a:cxn>
                  <a:cxn ang="0">
                    <a:pos x="T8" y="T9"/>
                  </a:cxn>
                </a:cxnLst>
                <a:rect l="0" t="0" r="r" b="b"/>
                <a:pathLst>
                  <a:path w="10" h="6">
                    <a:moveTo>
                      <a:pt x="7" y="0"/>
                    </a:moveTo>
                    <a:cubicBezTo>
                      <a:pt x="4" y="0"/>
                      <a:pt x="2" y="3"/>
                      <a:pt x="0" y="6"/>
                    </a:cubicBezTo>
                    <a:cubicBezTo>
                      <a:pt x="3" y="5"/>
                      <a:pt x="3" y="4"/>
                      <a:pt x="6" y="3"/>
                    </a:cubicBezTo>
                    <a:cubicBezTo>
                      <a:pt x="7" y="3"/>
                      <a:pt x="8" y="2"/>
                      <a:pt x="10"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181"/>
              <p:cNvSpPr/>
              <p:nvPr/>
            </p:nvSpPr>
            <p:spPr bwMode="auto">
              <a:xfrm>
                <a:off x="5649" y="4294"/>
                <a:ext cx="7" cy="7"/>
              </a:xfrm>
              <a:custGeom>
                <a:gdLst>
                  <a:gd name="T0" fmla="*/ 3 w 3"/>
                  <a:gd name="T1" fmla="*/ 0 h 3"/>
                  <a:gd name="T2" fmla="*/ 1 w 3"/>
                  <a:gd name="T3" fmla="*/ 3 h 3"/>
                  <a:gd name="T4" fmla="*/ 3 w 3"/>
                  <a:gd name="T5" fmla="*/ 0 h 3"/>
                </a:gdLst>
                <a:cxnLst>
                  <a:cxn ang="0">
                    <a:pos x="T0" y="T1"/>
                  </a:cxn>
                  <a:cxn ang="0">
                    <a:pos x="T2" y="T3"/>
                  </a:cxn>
                  <a:cxn ang="0">
                    <a:pos x="T4" y="T5"/>
                  </a:cxn>
                </a:cxnLst>
                <a:rect l="0" t="0" r="r" b="b"/>
                <a:pathLst>
                  <a:path w="3" h="3">
                    <a:moveTo>
                      <a:pt x="3" y="0"/>
                    </a:moveTo>
                    <a:cubicBezTo>
                      <a:pt x="1" y="1"/>
                      <a:pt x="0" y="2"/>
                      <a:pt x="1" y="3"/>
                    </a:cubicBezTo>
                    <a:cubicBezTo>
                      <a:pt x="2"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Freeform 182"/>
              <p:cNvSpPr/>
              <p:nvPr/>
            </p:nvSpPr>
            <p:spPr bwMode="auto">
              <a:xfrm>
                <a:off x="5682" y="4545"/>
                <a:ext cx="21" cy="9"/>
              </a:xfrm>
              <a:custGeom>
                <a:gdLst>
                  <a:gd name="T0" fmla="*/ 5 w 9"/>
                  <a:gd name="T1" fmla="*/ 0 h 4"/>
                  <a:gd name="T2" fmla="*/ 1 w 9"/>
                  <a:gd name="T3" fmla="*/ 2 h 4"/>
                  <a:gd name="T4" fmla="*/ 1 w 9"/>
                  <a:gd name="T5" fmla="*/ 4 h 4"/>
                  <a:gd name="T6" fmla="*/ 4 w 9"/>
                  <a:gd name="T7" fmla="*/ 4 h 4"/>
                  <a:gd name="T8" fmla="*/ 9 w 9"/>
                  <a:gd name="T9" fmla="*/ 1 h 4"/>
                  <a:gd name="T10" fmla="*/ 5 w 9"/>
                  <a:gd name="T11" fmla="*/ 0 h 4"/>
                </a:gdLst>
                <a:cxnLst>
                  <a:cxn ang="0">
                    <a:pos x="T0" y="T1"/>
                  </a:cxn>
                  <a:cxn ang="0">
                    <a:pos x="T2" y="T3"/>
                  </a:cxn>
                  <a:cxn ang="0">
                    <a:pos x="T4" y="T5"/>
                  </a:cxn>
                  <a:cxn ang="0">
                    <a:pos x="T6" y="T7"/>
                  </a:cxn>
                  <a:cxn ang="0">
                    <a:pos x="T8" y="T9"/>
                  </a:cxn>
                  <a:cxn ang="0">
                    <a:pos x="T10" y="T11"/>
                  </a:cxn>
                </a:cxnLst>
                <a:rect l="0" t="0" r="r" b="b"/>
                <a:pathLst>
                  <a:path w="9" h="4">
                    <a:moveTo>
                      <a:pt x="5" y="0"/>
                    </a:moveTo>
                    <a:cubicBezTo>
                      <a:pt x="3" y="0"/>
                      <a:pt x="2" y="1"/>
                      <a:pt x="1" y="2"/>
                    </a:cubicBezTo>
                    <a:cubicBezTo>
                      <a:pt x="0" y="4"/>
                      <a:pt x="0" y="4"/>
                      <a:pt x="1" y="4"/>
                    </a:cubicBezTo>
                    <a:cubicBezTo>
                      <a:pt x="2" y="4"/>
                      <a:pt x="3" y="4"/>
                      <a:pt x="4" y="4"/>
                    </a:cubicBezTo>
                    <a:cubicBezTo>
                      <a:pt x="6" y="3"/>
                      <a:pt x="8" y="2"/>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183"/>
              <p:cNvSpPr/>
              <p:nvPr/>
            </p:nvSpPr>
            <p:spPr bwMode="auto">
              <a:xfrm>
                <a:off x="5613" y="4072"/>
                <a:ext cx="12" cy="33"/>
              </a:xfrm>
              <a:custGeom>
                <a:gdLst>
                  <a:gd name="T0" fmla="*/ 1 w 5"/>
                  <a:gd name="T1" fmla="*/ 0 h 14"/>
                  <a:gd name="T2" fmla="*/ 1 w 5"/>
                  <a:gd name="T3" fmla="*/ 14 h 14"/>
                  <a:gd name="T4" fmla="*/ 3 w 5"/>
                  <a:gd name="T5" fmla="*/ 9 h 14"/>
                  <a:gd name="T6" fmla="*/ 5 w 5"/>
                  <a:gd name="T7" fmla="*/ 7 h 14"/>
                  <a:gd name="T8" fmla="*/ 3 w 5"/>
                  <a:gd name="T9" fmla="*/ 5 h 14"/>
                  <a:gd name="T10" fmla="*/ 4 w 5"/>
                  <a:gd name="T11" fmla="*/ 3 h 14"/>
                  <a:gd name="T12" fmla="*/ 1 w 5"/>
                  <a:gd name="T13" fmla="*/ 0 h 14"/>
                </a:gdLst>
                <a:cxnLst>
                  <a:cxn ang="0">
                    <a:pos x="T0" y="T1"/>
                  </a:cxn>
                  <a:cxn ang="0">
                    <a:pos x="T2" y="T3"/>
                  </a:cxn>
                  <a:cxn ang="0">
                    <a:pos x="T4" y="T5"/>
                  </a:cxn>
                  <a:cxn ang="0">
                    <a:pos x="T6" y="T7"/>
                  </a:cxn>
                  <a:cxn ang="0">
                    <a:pos x="T8" y="T9"/>
                  </a:cxn>
                  <a:cxn ang="0">
                    <a:pos x="T10" y="T11"/>
                  </a:cxn>
                  <a:cxn ang="0">
                    <a:pos x="T12" y="T13"/>
                  </a:cxn>
                </a:cxnLst>
                <a:rect l="0" t="0" r="r" b="b"/>
                <a:pathLst>
                  <a:path w="5" h="14">
                    <a:moveTo>
                      <a:pt x="1" y="0"/>
                    </a:moveTo>
                    <a:cubicBezTo>
                      <a:pt x="0" y="5"/>
                      <a:pt x="1" y="9"/>
                      <a:pt x="1" y="14"/>
                    </a:cubicBezTo>
                    <a:cubicBezTo>
                      <a:pt x="2" y="12"/>
                      <a:pt x="2" y="10"/>
                      <a:pt x="3" y="9"/>
                    </a:cubicBezTo>
                    <a:cubicBezTo>
                      <a:pt x="3" y="8"/>
                      <a:pt x="5" y="7"/>
                      <a:pt x="5" y="7"/>
                    </a:cubicBezTo>
                    <a:cubicBezTo>
                      <a:pt x="5" y="6"/>
                      <a:pt x="3" y="5"/>
                      <a:pt x="3" y="5"/>
                    </a:cubicBezTo>
                    <a:cubicBezTo>
                      <a:pt x="3" y="4"/>
                      <a:pt x="4" y="3"/>
                      <a:pt x="4" y="3"/>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Freeform 184"/>
              <p:cNvSpPr/>
              <p:nvPr/>
            </p:nvSpPr>
            <p:spPr bwMode="auto">
              <a:xfrm>
                <a:off x="4522" y="4091"/>
                <a:ext cx="28" cy="33"/>
              </a:xfrm>
              <a:custGeom>
                <a:gdLst>
                  <a:gd name="T0" fmla="*/ 7 w 12"/>
                  <a:gd name="T1" fmla="*/ 0 h 14"/>
                  <a:gd name="T2" fmla="*/ 1 w 12"/>
                  <a:gd name="T3" fmla="*/ 4 h 14"/>
                  <a:gd name="T4" fmla="*/ 2 w 12"/>
                  <a:gd name="T5" fmla="*/ 9 h 14"/>
                  <a:gd name="T6" fmla="*/ 8 w 12"/>
                  <a:gd name="T7" fmla="*/ 12 h 14"/>
                  <a:gd name="T8" fmla="*/ 4 w 12"/>
                  <a:gd name="T9" fmla="*/ 13 h 14"/>
                  <a:gd name="T10" fmla="*/ 6 w 12"/>
                  <a:gd name="T11" fmla="*/ 14 h 14"/>
                  <a:gd name="T12" fmla="*/ 8 w 12"/>
                  <a:gd name="T13" fmla="*/ 14 h 14"/>
                  <a:gd name="T14" fmla="*/ 11 w 12"/>
                  <a:gd name="T15" fmla="*/ 9 h 14"/>
                  <a:gd name="T16" fmla="*/ 7 w 12"/>
                  <a:gd name="T1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4">
                    <a:moveTo>
                      <a:pt x="7" y="0"/>
                    </a:moveTo>
                    <a:cubicBezTo>
                      <a:pt x="5" y="1"/>
                      <a:pt x="2" y="3"/>
                      <a:pt x="1" y="4"/>
                    </a:cubicBezTo>
                    <a:cubicBezTo>
                      <a:pt x="0" y="6"/>
                      <a:pt x="1" y="7"/>
                      <a:pt x="2" y="9"/>
                    </a:cubicBezTo>
                    <a:cubicBezTo>
                      <a:pt x="4" y="10"/>
                      <a:pt x="7" y="10"/>
                      <a:pt x="8" y="12"/>
                    </a:cubicBezTo>
                    <a:cubicBezTo>
                      <a:pt x="7" y="12"/>
                      <a:pt x="3" y="12"/>
                      <a:pt x="4" y="13"/>
                    </a:cubicBezTo>
                    <a:cubicBezTo>
                      <a:pt x="4" y="14"/>
                      <a:pt x="5" y="14"/>
                      <a:pt x="6" y="14"/>
                    </a:cubicBezTo>
                    <a:cubicBezTo>
                      <a:pt x="7" y="14"/>
                      <a:pt x="7" y="14"/>
                      <a:pt x="8" y="14"/>
                    </a:cubicBezTo>
                    <a:cubicBezTo>
                      <a:pt x="9" y="13"/>
                      <a:pt x="10" y="11"/>
                      <a:pt x="11" y="9"/>
                    </a:cubicBezTo>
                    <a:cubicBezTo>
                      <a:pt x="12" y="5"/>
                      <a:pt x="8"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185"/>
              <p:cNvSpPr/>
              <p:nvPr/>
            </p:nvSpPr>
            <p:spPr bwMode="auto">
              <a:xfrm>
                <a:off x="4240" y="4296"/>
                <a:ext cx="10" cy="7"/>
              </a:xfrm>
              <a:custGeom>
                <a:gdLst>
                  <a:gd name="T0" fmla="*/ 2 w 4"/>
                  <a:gd name="T1" fmla="*/ 0 h 3"/>
                  <a:gd name="T2" fmla="*/ 0 w 4"/>
                  <a:gd name="T3" fmla="*/ 3 h 3"/>
                  <a:gd name="T4" fmla="*/ 4 w 4"/>
                  <a:gd name="T5" fmla="*/ 3 h 3"/>
                  <a:gd name="T6" fmla="*/ 2 w 4"/>
                  <a:gd name="T7" fmla="*/ 0 h 3"/>
                </a:gdLst>
                <a:cxnLst>
                  <a:cxn ang="0">
                    <a:pos x="T0" y="T1"/>
                  </a:cxn>
                  <a:cxn ang="0">
                    <a:pos x="T2" y="T3"/>
                  </a:cxn>
                  <a:cxn ang="0">
                    <a:pos x="T4" y="T5"/>
                  </a:cxn>
                  <a:cxn ang="0">
                    <a:pos x="T6" y="T7"/>
                  </a:cxn>
                </a:cxnLst>
                <a:rect l="0" t="0" r="r" b="b"/>
                <a:pathLst>
                  <a:path w="4" h="3">
                    <a:moveTo>
                      <a:pt x="2" y="0"/>
                    </a:moveTo>
                    <a:cubicBezTo>
                      <a:pt x="1" y="0"/>
                      <a:pt x="0" y="1"/>
                      <a:pt x="0" y="3"/>
                    </a:cubicBezTo>
                    <a:cubicBezTo>
                      <a:pt x="1" y="3"/>
                      <a:pt x="3" y="3"/>
                      <a:pt x="4"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186"/>
              <p:cNvSpPr/>
              <p:nvPr/>
            </p:nvSpPr>
            <p:spPr bwMode="auto">
              <a:xfrm>
                <a:off x="4198" y="4268"/>
                <a:ext cx="45" cy="24"/>
              </a:xfrm>
              <a:custGeom>
                <a:gdLst>
                  <a:gd name="T0" fmla="*/ 9 w 19"/>
                  <a:gd name="T1" fmla="*/ 0 h 10"/>
                  <a:gd name="T2" fmla="*/ 9 w 19"/>
                  <a:gd name="T3" fmla="*/ 0 h 10"/>
                  <a:gd name="T4" fmla="*/ 6 w 19"/>
                  <a:gd name="T5" fmla="*/ 4 h 10"/>
                  <a:gd name="T6" fmla="*/ 5 w 19"/>
                  <a:gd name="T7" fmla="*/ 3 h 10"/>
                  <a:gd name="T8" fmla="*/ 3 w 19"/>
                  <a:gd name="T9" fmla="*/ 1 h 10"/>
                  <a:gd name="T10" fmla="*/ 3 w 19"/>
                  <a:gd name="T11" fmla="*/ 1 h 10"/>
                  <a:gd name="T12" fmla="*/ 3 w 19"/>
                  <a:gd name="T13" fmla="*/ 6 h 10"/>
                  <a:gd name="T14" fmla="*/ 0 w 19"/>
                  <a:gd name="T15" fmla="*/ 7 h 10"/>
                  <a:gd name="T16" fmla="*/ 8 w 19"/>
                  <a:gd name="T17" fmla="*/ 10 h 10"/>
                  <a:gd name="T18" fmla="*/ 13 w 19"/>
                  <a:gd name="T19" fmla="*/ 10 h 10"/>
                  <a:gd name="T20" fmla="*/ 16 w 19"/>
                  <a:gd name="T21" fmla="*/ 10 h 10"/>
                  <a:gd name="T22" fmla="*/ 16 w 19"/>
                  <a:gd name="T23" fmla="*/ 10 h 10"/>
                  <a:gd name="T24" fmla="*/ 7 w 19"/>
                  <a:gd name="T25" fmla="*/ 5 h 10"/>
                  <a:gd name="T26" fmla="*/ 6 w 19"/>
                  <a:gd name="T27" fmla="*/ 4 h 10"/>
                  <a:gd name="T28" fmla="*/ 7 w 19"/>
                  <a:gd name="T29" fmla="*/ 4 h 10"/>
                  <a:gd name="T30" fmla="*/ 8 w 19"/>
                  <a:gd name="T31" fmla="*/ 4 h 10"/>
                  <a:gd name="T32" fmla="*/ 19 w 19"/>
                  <a:gd name="T33" fmla="*/ 8 h 10"/>
                  <a:gd name="T34" fmla="*/ 13 w 19"/>
                  <a:gd name="T35" fmla="*/ 2 h 10"/>
                  <a:gd name="T36" fmla="*/ 9 w 19"/>
                  <a:gd name="T3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10">
                    <a:moveTo>
                      <a:pt x="9" y="0"/>
                    </a:moveTo>
                    <a:cubicBezTo>
                      <a:pt x="9" y="0"/>
                      <a:pt x="9" y="0"/>
                      <a:pt x="9" y="0"/>
                    </a:cubicBezTo>
                    <a:cubicBezTo>
                      <a:pt x="7" y="1"/>
                      <a:pt x="7" y="2"/>
                      <a:pt x="6" y="4"/>
                    </a:cubicBezTo>
                    <a:cubicBezTo>
                      <a:pt x="6" y="3"/>
                      <a:pt x="6" y="3"/>
                      <a:pt x="5" y="3"/>
                    </a:cubicBezTo>
                    <a:cubicBezTo>
                      <a:pt x="5" y="2"/>
                      <a:pt x="4" y="1"/>
                      <a:pt x="3" y="1"/>
                    </a:cubicBezTo>
                    <a:cubicBezTo>
                      <a:pt x="3" y="1"/>
                      <a:pt x="3" y="1"/>
                      <a:pt x="3" y="1"/>
                    </a:cubicBezTo>
                    <a:cubicBezTo>
                      <a:pt x="1" y="1"/>
                      <a:pt x="3" y="4"/>
                      <a:pt x="3" y="6"/>
                    </a:cubicBezTo>
                    <a:cubicBezTo>
                      <a:pt x="2" y="6"/>
                      <a:pt x="0" y="6"/>
                      <a:pt x="0" y="7"/>
                    </a:cubicBezTo>
                    <a:cubicBezTo>
                      <a:pt x="0" y="10"/>
                      <a:pt x="4" y="10"/>
                      <a:pt x="8" y="10"/>
                    </a:cubicBezTo>
                    <a:cubicBezTo>
                      <a:pt x="10" y="10"/>
                      <a:pt x="12" y="10"/>
                      <a:pt x="13" y="10"/>
                    </a:cubicBezTo>
                    <a:cubicBezTo>
                      <a:pt x="15" y="10"/>
                      <a:pt x="16" y="10"/>
                      <a:pt x="16" y="10"/>
                    </a:cubicBezTo>
                    <a:cubicBezTo>
                      <a:pt x="16" y="10"/>
                      <a:pt x="16" y="10"/>
                      <a:pt x="16" y="10"/>
                    </a:cubicBezTo>
                    <a:cubicBezTo>
                      <a:pt x="13" y="6"/>
                      <a:pt x="10" y="7"/>
                      <a:pt x="7" y="5"/>
                    </a:cubicBezTo>
                    <a:cubicBezTo>
                      <a:pt x="6" y="4"/>
                      <a:pt x="6" y="4"/>
                      <a:pt x="6" y="4"/>
                    </a:cubicBezTo>
                    <a:cubicBezTo>
                      <a:pt x="6" y="4"/>
                      <a:pt x="7" y="4"/>
                      <a:pt x="7" y="4"/>
                    </a:cubicBezTo>
                    <a:cubicBezTo>
                      <a:pt x="7" y="4"/>
                      <a:pt x="8" y="4"/>
                      <a:pt x="8" y="4"/>
                    </a:cubicBezTo>
                    <a:cubicBezTo>
                      <a:pt x="11" y="4"/>
                      <a:pt x="18" y="8"/>
                      <a:pt x="19" y="8"/>
                    </a:cubicBezTo>
                    <a:cubicBezTo>
                      <a:pt x="17" y="5"/>
                      <a:pt x="16" y="3"/>
                      <a:pt x="13" y="2"/>
                    </a:cubicBezTo>
                    <a:cubicBezTo>
                      <a:pt x="12" y="1"/>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187"/>
              <p:cNvSpPr/>
              <p:nvPr/>
            </p:nvSpPr>
            <p:spPr bwMode="auto">
              <a:xfrm>
                <a:off x="5998" y="4575"/>
                <a:ext cx="10" cy="10"/>
              </a:xfrm>
              <a:custGeom>
                <a:gdLst>
                  <a:gd name="T0" fmla="*/ 0 w 4"/>
                  <a:gd name="T1" fmla="*/ 0 h 4"/>
                  <a:gd name="T2" fmla="*/ 4 w 4"/>
                  <a:gd name="T3" fmla="*/ 4 h 4"/>
                  <a:gd name="T4" fmla="*/ 4 w 4"/>
                  <a:gd name="T5" fmla="*/ 4 h 4"/>
                  <a:gd name="T6" fmla="*/ 0 w 4"/>
                  <a:gd name="T7" fmla="*/ 0 h 4"/>
                </a:gdLst>
                <a:cxnLst>
                  <a:cxn ang="0">
                    <a:pos x="T0" y="T1"/>
                  </a:cxn>
                  <a:cxn ang="0">
                    <a:pos x="T2" y="T3"/>
                  </a:cxn>
                  <a:cxn ang="0">
                    <a:pos x="T4" y="T5"/>
                  </a:cxn>
                  <a:cxn ang="0">
                    <a:pos x="T6" y="T7"/>
                  </a:cxn>
                </a:cxnLst>
                <a:rect l="0" t="0" r="r" b="b"/>
                <a:pathLst>
                  <a:path w="4" h="4">
                    <a:moveTo>
                      <a:pt x="0" y="0"/>
                    </a:moveTo>
                    <a:cubicBezTo>
                      <a:pt x="0" y="2"/>
                      <a:pt x="2" y="4"/>
                      <a:pt x="4" y="4"/>
                    </a:cubicBezTo>
                    <a:cubicBezTo>
                      <a:pt x="4" y="4"/>
                      <a:pt x="4" y="4"/>
                      <a:pt x="4"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188"/>
              <p:cNvSpPr/>
              <p:nvPr/>
            </p:nvSpPr>
            <p:spPr bwMode="auto">
              <a:xfrm>
                <a:off x="5330" y="4355"/>
                <a:ext cx="9" cy="3"/>
              </a:xfrm>
              <a:custGeom>
                <a:gdLst>
                  <a:gd name="T0" fmla="*/ 3 w 4"/>
                  <a:gd name="T1" fmla="*/ 0 h 1"/>
                  <a:gd name="T2" fmla="*/ 0 w 4"/>
                  <a:gd name="T3" fmla="*/ 1 h 1"/>
                  <a:gd name="T4" fmla="*/ 4 w 4"/>
                  <a:gd name="T5" fmla="*/ 0 h 1"/>
                  <a:gd name="T6" fmla="*/ 3 w 4"/>
                  <a:gd name="T7" fmla="*/ 0 h 1"/>
                </a:gdLst>
                <a:cxnLst>
                  <a:cxn ang="0">
                    <a:pos x="T0" y="T1"/>
                  </a:cxn>
                  <a:cxn ang="0">
                    <a:pos x="T2" y="T3"/>
                  </a:cxn>
                  <a:cxn ang="0">
                    <a:pos x="T4" y="T5"/>
                  </a:cxn>
                  <a:cxn ang="0">
                    <a:pos x="T6" y="T7"/>
                  </a:cxn>
                </a:cxnLst>
                <a:rect l="0" t="0" r="r" b="b"/>
                <a:pathLst>
                  <a:path w="4" h="1">
                    <a:moveTo>
                      <a:pt x="3" y="0"/>
                    </a:moveTo>
                    <a:cubicBezTo>
                      <a:pt x="2" y="0"/>
                      <a:pt x="1" y="0"/>
                      <a:pt x="0" y="1"/>
                    </a:cubicBezTo>
                    <a:cubicBezTo>
                      <a:pt x="2" y="1"/>
                      <a:pt x="3"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189"/>
              <p:cNvSpPr/>
              <p:nvPr/>
            </p:nvSpPr>
            <p:spPr bwMode="auto">
              <a:xfrm>
                <a:off x="5443" y="4448"/>
                <a:ext cx="2" cy="2"/>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1" y="1"/>
                      <a:pt x="1"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Freeform 190"/>
              <p:cNvSpPr/>
              <p:nvPr/>
            </p:nvSpPr>
            <p:spPr bwMode="auto">
              <a:xfrm>
                <a:off x="4281" y="4284"/>
                <a:ext cx="7" cy="8"/>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2"/>
                      <a:pt x="3" y="3"/>
                    </a:cubicBezTo>
                    <a:cubicBezTo>
                      <a:pt x="2"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191"/>
              <p:cNvSpPr/>
              <p:nvPr/>
            </p:nvSpPr>
            <p:spPr bwMode="auto">
              <a:xfrm>
                <a:off x="4302" y="4292"/>
                <a:ext cx="4" cy="4"/>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2"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Freeform 192"/>
              <p:cNvSpPr/>
              <p:nvPr/>
            </p:nvSpPr>
            <p:spPr bwMode="auto">
              <a:xfrm>
                <a:off x="4252" y="4284"/>
                <a:ext cx="10" cy="12"/>
              </a:xfrm>
              <a:custGeom>
                <a:gdLst>
                  <a:gd name="T0" fmla="*/ 1 w 4"/>
                  <a:gd name="T1" fmla="*/ 0 h 5"/>
                  <a:gd name="T2" fmla="*/ 2 w 4"/>
                  <a:gd name="T3" fmla="*/ 5 h 5"/>
                  <a:gd name="T4" fmla="*/ 4 w 4"/>
                  <a:gd name="T5" fmla="*/ 4 h 5"/>
                  <a:gd name="T6" fmla="*/ 1 w 4"/>
                  <a:gd name="T7" fmla="*/ 0 h 5"/>
                </a:gdLst>
                <a:cxnLst>
                  <a:cxn ang="0">
                    <a:pos x="T0" y="T1"/>
                  </a:cxn>
                  <a:cxn ang="0">
                    <a:pos x="T2" y="T3"/>
                  </a:cxn>
                  <a:cxn ang="0">
                    <a:pos x="T4" y="T5"/>
                  </a:cxn>
                  <a:cxn ang="0">
                    <a:pos x="T6" y="T7"/>
                  </a:cxn>
                </a:cxnLst>
                <a:rect l="0" t="0" r="r" b="b"/>
                <a:pathLst>
                  <a:path w="4" h="5">
                    <a:moveTo>
                      <a:pt x="1" y="0"/>
                    </a:moveTo>
                    <a:cubicBezTo>
                      <a:pt x="0" y="2"/>
                      <a:pt x="0" y="5"/>
                      <a:pt x="2" y="5"/>
                    </a:cubicBezTo>
                    <a:cubicBezTo>
                      <a:pt x="3" y="5"/>
                      <a:pt x="3" y="5"/>
                      <a:pt x="4" y="4"/>
                    </a:cubicBezTo>
                    <a:cubicBezTo>
                      <a:pt x="3"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Freeform 193"/>
              <p:cNvSpPr/>
              <p:nvPr/>
            </p:nvSpPr>
            <p:spPr bwMode="auto">
              <a:xfrm>
                <a:off x="5675" y="4809"/>
                <a:ext cx="19" cy="10"/>
              </a:xfrm>
              <a:custGeom>
                <a:gdLst>
                  <a:gd name="T0" fmla="*/ 0 w 8"/>
                  <a:gd name="T1" fmla="*/ 0 h 4"/>
                  <a:gd name="T2" fmla="*/ 5 w 8"/>
                  <a:gd name="T3" fmla="*/ 4 h 4"/>
                  <a:gd name="T4" fmla="*/ 5 w 8"/>
                  <a:gd name="T5" fmla="*/ 4 h 4"/>
                  <a:gd name="T6" fmla="*/ 8 w 8"/>
                  <a:gd name="T7" fmla="*/ 2 h 4"/>
                  <a:gd name="T8" fmla="*/ 0 w 8"/>
                  <a:gd name="T9" fmla="*/ 0 h 4"/>
                </a:gdLst>
                <a:cxnLst>
                  <a:cxn ang="0">
                    <a:pos x="T0" y="T1"/>
                  </a:cxn>
                  <a:cxn ang="0">
                    <a:pos x="T2" y="T3"/>
                  </a:cxn>
                  <a:cxn ang="0">
                    <a:pos x="T4" y="T5"/>
                  </a:cxn>
                  <a:cxn ang="0">
                    <a:pos x="T6" y="T7"/>
                  </a:cxn>
                  <a:cxn ang="0">
                    <a:pos x="T8" y="T9"/>
                  </a:cxn>
                </a:cxnLst>
                <a:rect l="0" t="0" r="r" b="b"/>
                <a:pathLst>
                  <a:path w="8" h="4">
                    <a:moveTo>
                      <a:pt x="0" y="0"/>
                    </a:moveTo>
                    <a:cubicBezTo>
                      <a:pt x="0" y="2"/>
                      <a:pt x="3" y="4"/>
                      <a:pt x="5" y="4"/>
                    </a:cubicBezTo>
                    <a:cubicBezTo>
                      <a:pt x="5" y="4"/>
                      <a:pt x="5" y="4"/>
                      <a:pt x="5" y="4"/>
                    </a:cubicBezTo>
                    <a:cubicBezTo>
                      <a:pt x="7" y="4"/>
                      <a:pt x="7" y="3"/>
                      <a:pt x="8"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Freeform 194"/>
              <p:cNvSpPr/>
              <p:nvPr/>
            </p:nvSpPr>
            <p:spPr bwMode="auto">
              <a:xfrm>
                <a:off x="5245" y="4675"/>
                <a:ext cx="7" cy="40"/>
              </a:xfrm>
              <a:custGeom>
                <a:gdLst>
                  <a:gd name="T0" fmla="*/ 3 w 3"/>
                  <a:gd name="T1" fmla="*/ 0 h 17"/>
                  <a:gd name="T2" fmla="*/ 2 w 3"/>
                  <a:gd name="T3" fmla="*/ 17 h 17"/>
                  <a:gd name="T4" fmla="*/ 3 w 3"/>
                  <a:gd name="T5" fmla="*/ 0 h 17"/>
                </a:gdLst>
                <a:cxnLst>
                  <a:cxn ang="0">
                    <a:pos x="T0" y="T1"/>
                  </a:cxn>
                  <a:cxn ang="0">
                    <a:pos x="T2" y="T3"/>
                  </a:cxn>
                  <a:cxn ang="0">
                    <a:pos x="T4" y="T5"/>
                  </a:cxn>
                </a:cxnLst>
                <a:rect l="0" t="0" r="r" b="b"/>
                <a:pathLst>
                  <a:path w="3" h="17">
                    <a:moveTo>
                      <a:pt x="3" y="0"/>
                    </a:moveTo>
                    <a:cubicBezTo>
                      <a:pt x="0" y="4"/>
                      <a:pt x="1" y="12"/>
                      <a:pt x="2" y="17"/>
                    </a:cubicBezTo>
                    <a:cubicBezTo>
                      <a:pt x="2" y="11"/>
                      <a:pt x="2" y="5"/>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7" name="Freeform 195"/>
              <p:cNvSpPr/>
              <p:nvPr/>
            </p:nvSpPr>
            <p:spPr bwMode="auto">
              <a:xfrm>
                <a:off x="4323" y="4325"/>
                <a:ext cx="9" cy="9"/>
              </a:xfrm>
              <a:custGeom>
                <a:gdLst>
                  <a:gd name="T0" fmla="*/ 0 w 4"/>
                  <a:gd name="T1" fmla="*/ 0 h 4"/>
                  <a:gd name="T2" fmla="*/ 4 w 4"/>
                  <a:gd name="T3" fmla="*/ 4 h 4"/>
                  <a:gd name="T4" fmla="*/ 0 w 4"/>
                  <a:gd name="T5" fmla="*/ 0 h 4"/>
                </a:gdLst>
                <a:cxnLst>
                  <a:cxn ang="0">
                    <a:pos x="T0" y="T1"/>
                  </a:cxn>
                  <a:cxn ang="0">
                    <a:pos x="T2" y="T3"/>
                  </a:cxn>
                  <a:cxn ang="0">
                    <a:pos x="T4" y="T5"/>
                  </a:cxn>
                </a:cxnLst>
                <a:rect l="0" t="0" r="r" b="b"/>
                <a:pathLst>
                  <a:path w="4" h="4">
                    <a:moveTo>
                      <a:pt x="0" y="0"/>
                    </a:moveTo>
                    <a:cubicBezTo>
                      <a:pt x="0" y="3"/>
                      <a:pt x="2" y="3"/>
                      <a:pt x="4" y="4"/>
                    </a:cubicBezTo>
                    <a:cubicBezTo>
                      <a:pt x="3"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Freeform 196"/>
              <p:cNvSpPr/>
              <p:nvPr/>
            </p:nvSpPr>
            <p:spPr bwMode="auto">
              <a:xfrm>
                <a:off x="5916" y="4757"/>
                <a:ext cx="2" cy="3"/>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0" y="1"/>
                      <a:pt x="1"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9" name="Freeform 197"/>
              <p:cNvSpPr>
                <a:spLocks noEditPoints="1"/>
              </p:cNvSpPr>
              <p:nvPr/>
            </p:nvSpPr>
            <p:spPr bwMode="auto">
              <a:xfrm>
                <a:off x="5906" y="4753"/>
                <a:ext cx="10" cy="4"/>
              </a:xfrm>
              <a:custGeom>
                <a:gdLst>
                  <a:gd name="T0" fmla="*/ 0 w 4"/>
                  <a:gd name="T1" fmla="*/ 0 h 2"/>
                  <a:gd name="T2" fmla="*/ 4 w 4"/>
                  <a:gd name="T3" fmla="*/ 2 h 2"/>
                  <a:gd name="T4" fmla="*/ 0 w 4"/>
                  <a:gd name="T5" fmla="*/ 0 h 2"/>
                  <a:gd name="T6" fmla="*/ 0 w 4"/>
                  <a:gd name="T7" fmla="*/ 0 h 2"/>
                  <a:gd name="T8" fmla="*/ 0 w 4"/>
                  <a:gd name="T9" fmla="*/ 0 h 2"/>
                  <a:gd name="T10" fmla="*/ 0 w 4"/>
                  <a:gd name="T11" fmla="*/ 0 h 2"/>
                </a:gdLst>
                <a:cxnLst>
                  <a:cxn ang="0">
                    <a:pos x="T0" y="T1"/>
                  </a:cxn>
                  <a:cxn ang="0">
                    <a:pos x="T2" y="T3"/>
                  </a:cxn>
                  <a:cxn ang="0">
                    <a:pos x="T4" y="T5"/>
                  </a:cxn>
                  <a:cxn ang="0">
                    <a:pos x="T6" y="T7"/>
                  </a:cxn>
                  <a:cxn ang="0">
                    <a:pos x="T8" y="T9"/>
                  </a:cxn>
                  <a:cxn ang="0">
                    <a:pos x="T10" y="T11"/>
                  </a:cxn>
                </a:cxnLst>
                <a:rect l="0" t="0" r="r" b="b"/>
                <a:pathLst>
                  <a:path w="4" h="2">
                    <a:moveTo>
                      <a:pt x="0" y="0"/>
                    </a:moveTo>
                    <a:cubicBezTo>
                      <a:pt x="1" y="0"/>
                      <a:pt x="2" y="1"/>
                      <a:pt x="4" y="2"/>
                    </a:cubicBezTo>
                    <a:cubicBezTo>
                      <a:pt x="3" y="0"/>
                      <a:pt x="1"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Freeform 198"/>
              <p:cNvSpPr/>
              <p:nvPr/>
            </p:nvSpPr>
            <p:spPr bwMode="auto">
              <a:xfrm>
                <a:off x="5353" y="4606"/>
                <a:ext cx="33" cy="47"/>
              </a:xfrm>
              <a:custGeom>
                <a:gdLst>
                  <a:gd name="T0" fmla="*/ 11 w 14"/>
                  <a:gd name="T1" fmla="*/ 0 h 20"/>
                  <a:gd name="T2" fmla="*/ 7 w 14"/>
                  <a:gd name="T3" fmla="*/ 2 h 20"/>
                  <a:gd name="T4" fmla="*/ 3 w 14"/>
                  <a:gd name="T5" fmla="*/ 4 h 20"/>
                  <a:gd name="T6" fmla="*/ 2 w 14"/>
                  <a:gd name="T7" fmla="*/ 14 h 20"/>
                  <a:gd name="T8" fmla="*/ 4 w 14"/>
                  <a:gd name="T9" fmla="*/ 19 h 20"/>
                  <a:gd name="T10" fmla="*/ 7 w 14"/>
                  <a:gd name="T11" fmla="*/ 20 h 20"/>
                  <a:gd name="T12" fmla="*/ 9 w 14"/>
                  <a:gd name="T13" fmla="*/ 18 h 20"/>
                  <a:gd name="T14" fmla="*/ 10 w 14"/>
                  <a:gd name="T15" fmla="*/ 16 h 20"/>
                  <a:gd name="T16" fmla="*/ 10 w 14"/>
                  <a:gd name="T17" fmla="*/ 12 h 20"/>
                  <a:gd name="T18" fmla="*/ 12 w 14"/>
                  <a:gd name="T19" fmla="*/ 9 h 20"/>
                  <a:gd name="T20" fmla="*/ 11 w 14"/>
                  <a:gd name="T21"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11" y="0"/>
                    </a:moveTo>
                    <a:cubicBezTo>
                      <a:pt x="9" y="0"/>
                      <a:pt x="8" y="1"/>
                      <a:pt x="7" y="2"/>
                    </a:cubicBezTo>
                    <a:cubicBezTo>
                      <a:pt x="6" y="3"/>
                      <a:pt x="4" y="3"/>
                      <a:pt x="3" y="4"/>
                    </a:cubicBezTo>
                    <a:cubicBezTo>
                      <a:pt x="0" y="7"/>
                      <a:pt x="5" y="10"/>
                      <a:pt x="2" y="14"/>
                    </a:cubicBezTo>
                    <a:cubicBezTo>
                      <a:pt x="1" y="19"/>
                      <a:pt x="0" y="18"/>
                      <a:pt x="4" y="19"/>
                    </a:cubicBezTo>
                    <a:cubicBezTo>
                      <a:pt x="5" y="20"/>
                      <a:pt x="6" y="20"/>
                      <a:pt x="7" y="20"/>
                    </a:cubicBezTo>
                    <a:cubicBezTo>
                      <a:pt x="8" y="20"/>
                      <a:pt x="8" y="19"/>
                      <a:pt x="9" y="18"/>
                    </a:cubicBezTo>
                    <a:cubicBezTo>
                      <a:pt x="9" y="17"/>
                      <a:pt x="9" y="18"/>
                      <a:pt x="10" y="16"/>
                    </a:cubicBezTo>
                    <a:cubicBezTo>
                      <a:pt x="10" y="14"/>
                      <a:pt x="8" y="15"/>
                      <a:pt x="10" y="12"/>
                    </a:cubicBezTo>
                    <a:cubicBezTo>
                      <a:pt x="11" y="11"/>
                      <a:pt x="12" y="10"/>
                      <a:pt x="12" y="9"/>
                    </a:cubicBezTo>
                    <a:cubicBezTo>
                      <a:pt x="14" y="6"/>
                      <a:pt x="12"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Freeform 199"/>
              <p:cNvSpPr/>
              <p:nvPr/>
            </p:nvSpPr>
            <p:spPr bwMode="auto">
              <a:xfrm>
                <a:off x="5393" y="4819"/>
                <a:ext cx="26" cy="9"/>
              </a:xfrm>
              <a:custGeom>
                <a:gdLst>
                  <a:gd name="T0" fmla="*/ 6 w 11"/>
                  <a:gd name="T1" fmla="*/ 0 h 4"/>
                  <a:gd name="T2" fmla="*/ 4 w 11"/>
                  <a:gd name="T3" fmla="*/ 1 h 4"/>
                  <a:gd name="T4" fmla="*/ 5 w 11"/>
                  <a:gd name="T5" fmla="*/ 4 h 4"/>
                  <a:gd name="T6" fmla="*/ 7 w 11"/>
                  <a:gd name="T7" fmla="*/ 3 h 4"/>
                  <a:gd name="T8" fmla="*/ 8 w 11"/>
                  <a:gd name="T9" fmla="*/ 3 h 4"/>
                  <a:gd name="T10" fmla="*/ 8 w 11"/>
                  <a:gd name="T11" fmla="*/ 3 h 4"/>
                  <a:gd name="T12" fmla="*/ 8 w 11"/>
                  <a:gd name="T13" fmla="*/ 3 h 4"/>
                  <a:gd name="T14" fmla="*/ 9 w 11"/>
                  <a:gd name="T15" fmla="*/ 3 h 4"/>
                  <a:gd name="T16" fmla="*/ 6 w 11"/>
                  <a:gd name="T1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6" y="0"/>
                    </a:moveTo>
                    <a:cubicBezTo>
                      <a:pt x="5" y="0"/>
                      <a:pt x="4" y="1"/>
                      <a:pt x="4" y="1"/>
                    </a:cubicBezTo>
                    <a:cubicBezTo>
                      <a:pt x="0" y="3"/>
                      <a:pt x="2" y="4"/>
                      <a:pt x="5" y="4"/>
                    </a:cubicBezTo>
                    <a:cubicBezTo>
                      <a:pt x="5" y="4"/>
                      <a:pt x="6" y="4"/>
                      <a:pt x="7" y="3"/>
                    </a:cubicBezTo>
                    <a:cubicBezTo>
                      <a:pt x="7" y="3"/>
                      <a:pt x="7" y="3"/>
                      <a:pt x="8" y="3"/>
                    </a:cubicBezTo>
                    <a:cubicBezTo>
                      <a:pt x="8" y="3"/>
                      <a:pt x="8" y="3"/>
                      <a:pt x="8" y="3"/>
                    </a:cubicBezTo>
                    <a:cubicBezTo>
                      <a:pt x="8" y="3"/>
                      <a:pt x="8" y="3"/>
                      <a:pt x="8" y="3"/>
                    </a:cubicBezTo>
                    <a:cubicBezTo>
                      <a:pt x="9" y="3"/>
                      <a:pt x="9" y="3"/>
                      <a:pt x="9" y="3"/>
                    </a:cubicBezTo>
                    <a:cubicBezTo>
                      <a:pt x="11"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Freeform 200"/>
              <p:cNvSpPr/>
              <p:nvPr/>
            </p:nvSpPr>
            <p:spPr bwMode="auto">
              <a:xfrm>
                <a:off x="5323" y="4949"/>
                <a:ext cx="16" cy="7"/>
              </a:xfrm>
              <a:custGeom>
                <a:gdLst>
                  <a:gd name="T0" fmla="*/ 7 w 7"/>
                  <a:gd name="T1" fmla="*/ 0 h 3"/>
                  <a:gd name="T2" fmla="*/ 0 w 7"/>
                  <a:gd name="T3" fmla="*/ 2 h 3"/>
                  <a:gd name="T4" fmla="*/ 3 w 7"/>
                  <a:gd name="T5" fmla="*/ 3 h 3"/>
                  <a:gd name="T6" fmla="*/ 7 w 7"/>
                  <a:gd name="T7" fmla="*/ 0 h 3"/>
                </a:gdLst>
                <a:cxnLst>
                  <a:cxn ang="0">
                    <a:pos x="T0" y="T1"/>
                  </a:cxn>
                  <a:cxn ang="0">
                    <a:pos x="T2" y="T3"/>
                  </a:cxn>
                  <a:cxn ang="0">
                    <a:pos x="T4" y="T5"/>
                  </a:cxn>
                  <a:cxn ang="0">
                    <a:pos x="T6" y="T7"/>
                  </a:cxn>
                </a:cxnLst>
                <a:rect l="0" t="0" r="r" b="b"/>
                <a:pathLst>
                  <a:path w="7" h="3">
                    <a:moveTo>
                      <a:pt x="7" y="0"/>
                    </a:moveTo>
                    <a:cubicBezTo>
                      <a:pt x="4" y="0"/>
                      <a:pt x="2" y="1"/>
                      <a:pt x="0" y="2"/>
                    </a:cubicBezTo>
                    <a:cubicBezTo>
                      <a:pt x="1" y="2"/>
                      <a:pt x="2" y="3"/>
                      <a:pt x="3" y="3"/>
                    </a:cubicBezTo>
                    <a:cubicBezTo>
                      <a:pt x="5" y="3"/>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3" name="Freeform 201"/>
              <p:cNvSpPr/>
              <p:nvPr/>
            </p:nvSpPr>
            <p:spPr bwMode="auto">
              <a:xfrm>
                <a:off x="5637" y="4372"/>
                <a:ext cx="12" cy="12"/>
              </a:xfrm>
              <a:custGeom>
                <a:gdLst>
                  <a:gd name="T0" fmla="*/ 3 w 5"/>
                  <a:gd name="T1" fmla="*/ 0 h 5"/>
                  <a:gd name="T2" fmla="*/ 1 w 5"/>
                  <a:gd name="T3" fmla="*/ 4 h 5"/>
                  <a:gd name="T4" fmla="*/ 3 w 5"/>
                  <a:gd name="T5" fmla="*/ 5 h 5"/>
                  <a:gd name="T6" fmla="*/ 3 w 5"/>
                  <a:gd name="T7" fmla="*/ 0 h 5"/>
                </a:gdLst>
                <a:cxnLst>
                  <a:cxn ang="0">
                    <a:pos x="T0" y="T1"/>
                  </a:cxn>
                  <a:cxn ang="0">
                    <a:pos x="T2" y="T3"/>
                  </a:cxn>
                  <a:cxn ang="0">
                    <a:pos x="T4" y="T5"/>
                  </a:cxn>
                  <a:cxn ang="0">
                    <a:pos x="T6" y="T7"/>
                  </a:cxn>
                </a:cxnLst>
                <a:rect l="0" t="0" r="r" b="b"/>
                <a:pathLst>
                  <a:path w="5" h="5">
                    <a:moveTo>
                      <a:pt x="3" y="0"/>
                    </a:moveTo>
                    <a:cubicBezTo>
                      <a:pt x="2" y="1"/>
                      <a:pt x="0" y="3"/>
                      <a:pt x="1" y="4"/>
                    </a:cubicBezTo>
                    <a:cubicBezTo>
                      <a:pt x="3" y="5"/>
                      <a:pt x="3" y="5"/>
                      <a:pt x="3" y="5"/>
                    </a:cubicBezTo>
                    <a:cubicBezTo>
                      <a:pt x="5" y="4"/>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Freeform 202"/>
              <p:cNvSpPr/>
              <p:nvPr/>
            </p:nvSpPr>
            <p:spPr bwMode="auto">
              <a:xfrm>
                <a:off x="5764" y="4334"/>
                <a:ext cx="12" cy="17"/>
              </a:xfrm>
              <a:custGeom>
                <a:gdLst>
                  <a:gd name="T0" fmla="*/ 0 w 5"/>
                  <a:gd name="T1" fmla="*/ 0 h 7"/>
                  <a:gd name="T2" fmla="*/ 5 w 5"/>
                  <a:gd name="T3" fmla="*/ 7 h 7"/>
                  <a:gd name="T4" fmla="*/ 0 w 5"/>
                  <a:gd name="T5" fmla="*/ 0 h 7"/>
                </a:gdLst>
                <a:cxnLst>
                  <a:cxn ang="0">
                    <a:pos x="T0" y="T1"/>
                  </a:cxn>
                  <a:cxn ang="0">
                    <a:pos x="T2" y="T3"/>
                  </a:cxn>
                  <a:cxn ang="0">
                    <a:pos x="T4" y="T5"/>
                  </a:cxn>
                </a:cxnLst>
                <a:rect l="0" t="0" r="r" b="b"/>
                <a:pathLst>
                  <a:path w="5" h="7">
                    <a:moveTo>
                      <a:pt x="0" y="0"/>
                    </a:moveTo>
                    <a:cubicBezTo>
                      <a:pt x="1" y="2"/>
                      <a:pt x="3" y="4"/>
                      <a:pt x="5" y="7"/>
                    </a:cubicBezTo>
                    <a:cubicBezTo>
                      <a:pt x="5"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5" name="Freeform 203"/>
              <p:cNvSpPr/>
              <p:nvPr/>
            </p:nvSpPr>
            <p:spPr bwMode="auto">
              <a:xfrm>
                <a:off x="3782" y="3994"/>
                <a:ext cx="7" cy="2"/>
              </a:xfrm>
              <a:custGeom>
                <a:gdLst>
                  <a:gd name="T0" fmla="*/ 0 w 3"/>
                  <a:gd name="T1" fmla="*/ 0 h 1"/>
                  <a:gd name="T2" fmla="*/ 3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1" y="1"/>
                      <a:pt x="2" y="1"/>
                      <a:pt x="3" y="1"/>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6" name="Freeform 204"/>
              <p:cNvSpPr/>
              <p:nvPr/>
            </p:nvSpPr>
            <p:spPr bwMode="auto">
              <a:xfrm>
                <a:off x="4136" y="4214"/>
                <a:ext cx="26" cy="23"/>
              </a:xfrm>
              <a:custGeom>
                <a:gdLst>
                  <a:gd name="T0" fmla="*/ 7 w 11"/>
                  <a:gd name="T1" fmla="*/ 0 h 10"/>
                  <a:gd name="T2" fmla="*/ 7 w 11"/>
                  <a:gd name="T3" fmla="*/ 0 h 10"/>
                  <a:gd name="T4" fmla="*/ 4 w 11"/>
                  <a:gd name="T5" fmla="*/ 1 h 10"/>
                  <a:gd name="T6" fmla="*/ 4 w 11"/>
                  <a:gd name="T7" fmla="*/ 1 h 10"/>
                  <a:gd name="T8" fmla="*/ 3 w 11"/>
                  <a:gd name="T9" fmla="*/ 1 h 10"/>
                  <a:gd name="T10" fmla="*/ 3 w 11"/>
                  <a:gd name="T11" fmla="*/ 1 h 10"/>
                  <a:gd name="T12" fmla="*/ 2 w 11"/>
                  <a:gd name="T13" fmla="*/ 2 h 10"/>
                  <a:gd name="T14" fmla="*/ 3 w 11"/>
                  <a:gd name="T15" fmla="*/ 9 h 10"/>
                  <a:gd name="T16" fmla="*/ 5 w 11"/>
                  <a:gd name="T17" fmla="*/ 10 h 10"/>
                  <a:gd name="T18" fmla="*/ 11 w 11"/>
                  <a:gd name="T19" fmla="*/ 4 h 10"/>
                  <a:gd name="T20" fmla="*/ 7 w 11"/>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7" y="0"/>
                    </a:moveTo>
                    <a:cubicBezTo>
                      <a:pt x="7" y="0"/>
                      <a:pt x="7" y="0"/>
                      <a:pt x="7" y="0"/>
                    </a:cubicBezTo>
                    <a:cubicBezTo>
                      <a:pt x="4" y="1"/>
                      <a:pt x="4" y="1"/>
                      <a:pt x="4" y="1"/>
                    </a:cubicBezTo>
                    <a:cubicBezTo>
                      <a:pt x="4" y="1"/>
                      <a:pt x="4" y="1"/>
                      <a:pt x="4" y="1"/>
                    </a:cubicBezTo>
                    <a:cubicBezTo>
                      <a:pt x="3" y="1"/>
                      <a:pt x="3" y="1"/>
                      <a:pt x="3" y="1"/>
                    </a:cubicBezTo>
                    <a:cubicBezTo>
                      <a:pt x="3" y="1"/>
                      <a:pt x="3" y="1"/>
                      <a:pt x="3" y="1"/>
                    </a:cubicBezTo>
                    <a:cubicBezTo>
                      <a:pt x="3" y="1"/>
                      <a:pt x="2" y="1"/>
                      <a:pt x="2" y="2"/>
                    </a:cubicBezTo>
                    <a:cubicBezTo>
                      <a:pt x="0" y="3"/>
                      <a:pt x="2" y="8"/>
                      <a:pt x="3" y="9"/>
                    </a:cubicBezTo>
                    <a:cubicBezTo>
                      <a:pt x="4" y="10"/>
                      <a:pt x="4" y="10"/>
                      <a:pt x="5" y="10"/>
                    </a:cubicBezTo>
                    <a:cubicBezTo>
                      <a:pt x="7" y="10"/>
                      <a:pt x="9" y="6"/>
                      <a:pt x="11" y="4"/>
                    </a:cubicBezTo>
                    <a:cubicBezTo>
                      <a:pt x="10"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9" name="Group 406"/>
            <p:cNvGrpSpPr/>
            <p:nvPr/>
          </p:nvGrpSpPr>
          <p:grpSpPr>
            <a:xfrm>
              <a:off x="154705" y="580230"/>
              <a:ext cx="10511302" cy="6220016"/>
              <a:chOff x="115" y="412"/>
              <a:chExt cx="7826" cy="4631"/>
            </a:xfrm>
            <a:grpFill/>
          </p:grpSpPr>
          <p:sp>
            <p:nvSpPr>
              <p:cNvPr id="616" name="Freeform 206"/>
              <p:cNvSpPr/>
              <p:nvPr/>
            </p:nvSpPr>
            <p:spPr bwMode="auto">
              <a:xfrm>
                <a:off x="5535" y="4176"/>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0" y="1"/>
                      <a:pt x="0" y="2"/>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207"/>
              <p:cNvSpPr/>
              <p:nvPr/>
            </p:nvSpPr>
            <p:spPr bwMode="auto">
              <a:xfrm>
                <a:off x="4581" y="4188"/>
                <a:ext cx="7" cy="4"/>
              </a:xfrm>
              <a:custGeom>
                <a:gdLst>
                  <a:gd name="T0" fmla="*/ 0 w 3"/>
                  <a:gd name="T1" fmla="*/ 0 h 2"/>
                  <a:gd name="T2" fmla="*/ 2 w 3"/>
                  <a:gd name="T3" fmla="*/ 2 h 2"/>
                  <a:gd name="T4" fmla="*/ 3 w 3"/>
                  <a:gd name="T5" fmla="*/ 1 h 2"/>
                  <a:gd name="T6" fmla="*/ 0 w 3"/>
                  <a:gd name="T7" fmla="*/ 0 h 2"/>
                </a:gdLst>
                <a:cxnLst>
                  <a:cxn ang="0">
                    <a:pos x="T0" y="T1"/>
                  </a:cxn>
                  <a:cxn ang="0">
                    <a:pos x="T2" y="T3"/>
                  </a:cxn>
                  <a:cxn ang="0">
                    <a:pos x="T4" y="T5"/>
                  </a:cxn>
                  <a:cxn ang="0">
                    <a:pos x="T6" y="T7"/>
                  </a:cxn>
                </a:cxnLst>
                <a:rect l="0" t="0" r="r" b="b"/>
                <a:pathLst>
                  <a:path w="3" h="2">
                    <a:moveTo>
                      <a:pt x="0" y="0"/>
                    </a:moveTo>
                    <a:cubicBezTo>
                      <a:pt x="1" y="1"/>
                      <a:pt x="1" y="2"/>
                      <a:pt x="2" y="2"/>
                    </a:cubicBezTo>
                    <a:cubicBezTo>
                      <a:pt x="3" y="2"/>
                      <a:pt x="3" y="2"/>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208"/>
              <p:cNvSpPr/>
              <p:nvPr/>
            </p:nvSpPr>
            <p:spPr bwMode="auto">
              <a:xfrm>
                <a:off x="4174" y="4242"/>
                <a:ext cx="33" cy="21"/>
              </a:xfrm>
              <a:custGeom>
                <a:gdLst>
                  <a:gd name="T0" fmla="*/ 1 w 14"/>
                  <a:gd name="T1" fmla="*/ 0 h 9"/>
                  <a:gd name="T2" fmla="*/ 0 w 14"/>
                  <a:gd name="T3" fmla="*/ 0 h 9"/>
                  <a:gd name="T4" fmla="*/ 6 w 14"/>
                  <a:gd name="T5" fmla="*/ 5 h 9"/>
                  <a:gd name="T6" fmla="*/ 12 w 14"/>
                  <a:gd name="T7" fmla="*/ 9 h 9"/>
                  <a:gd name="T8" fmla="*/ 6 w 14"/>
                  <a:gd name="T9" fmla="*/ 2 h 9"/>
                  <a:gd name="T10" fmla="*/ 1 w 14"/>
                  <a:gd name="T11" fmla="*/ 0 h 9"/>
                </a:gdLst>
                <a:cxnLst>
                  <a:cxn ang="0">
                    <a:pos x="T0" y="T1"/>
                  </a:cxn>
                  <a:cxn ang="0">
                    <a:pos x="T2" y="T3"/>
                  </a:cxn>
                  <a:cxn ang="0">
                    <a:pos x="T4" y="T5"/>
                  </a:cxn>
                  <a:cxn ang="0">
                    <a:pos x="T6" y="T7"/>
                  </a:cxn>
                  <a:cxn ang="0">
                    <a:pos x="T8" y="T9"/>
                  </a:cxn>
                  <a:cxn ang="0">
                    <a:pos x="T10" y="T11"/>
                  </a:cxn>
                </a:cxnLst>
                <a:rect l="0" t="0" r="r" b="b"/>
                <a:pathLst>
                  <a:path w="14" h="9">
                    <a:moveTo>
                      <a:pt x="1" y="0"/>
                    </a:moveTo>
                    <a:cubicBezTo>
                      <a:pt x="1" y="0"/>
                      <a:pt x="0" y="0"/>
                      <a:pt x="0" y="0"/>
                    </a:cubicBezTo>
                    <a:cubicBezTo>
                      <a:pt x="2" y="3"/>
                      <a:pt x="3" y="4"/>
                      <a:pt x="6" y="5"/>
                    </a:cubicBezTo>
                    <a:cubicBezTo>
                      <a:pt x="8" y="5"/>
                      <a:pt x="10" y="7"/>
                      <a:pt x="12" y="9"/>
                    </a:cubicBezTo>
                    <a:cubicBezTo>
                      <a:pt x="14" y="3"/>
                      <a:pt x="10" y="2"/>
                      <a:pt x="6" y="2"/>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209"/>
              <p:cNvSpPr/>
              <p:nvPr/>
            </p:nvSpPr>
            <p:spPr bwMode="auto">
              <a:xfrm>
                <a:off x="5710" y="4542"/>
                <a:ext cx="10" cy="5"/>
              </a:xfrm>
              <a:custGeom>
                <a:gdLst>
                  <a:gd name="T0" fmla="*/ 1 w 4"/>
                  <a:gd name="T1" fmla="*/ 0 h 2"/>
                  <a:gd name="T2" fmla="*/ 0 w 4"/>
                  <a:gd name="T3" fmla="*/ 2 h 2"/>
                  <a:gd name="T4" fmla="*/ 1 w 4"/>
                  <a:gd name="T5" fmla="*/ 2 h 2"/>
                  <a:gd name="T6" fmla="*/ 4 w 4"/>
                  <a:gd name="T7" fmla="*/ 2 h 2"/>
                  <a:gd name="T8" fmla="*/ 1 w 4"/>
                  <a:gd name="T9" fmla="*/ 0 h 2"/>
                </a:gdLst>
                <a:cxnLst>
                  <a:cxn ang="0">
                    <a:pos x="T0" y="T1"/>
                  </a:cxn>
                  <a:cxn ang="0">
                    <a:pos x="T2" y="T3"/>
                  </a:cxn>
                  <a:cxn ang="0">
                    <a:pos x="T4" y="T5"/>
                  </a:cxn>
                  <a:cxn ang="0">
                    <a:pos x="T6" y="T7"/>
                  </a:cxn>
                  <a:cxn ang="0">
                    <a:pos x="T8" y="T9"/>
                  </a:cxn>
                </a:cxnLst>
                <a:rect l="0" t="0" r="r" b="b"/>
                <a:pathLst>
                  <a:path w="4" h="2">
                    <a:moveTo>
                      <a:pt x="1" y="0"/>
                    </a:moveTo>
                    <a:cubicBezTo>
                      <a:pt x="1" y="1"/>
                      <a:pt x="0" y="2"/>
                      <a:pt x="0" y="2"/>
                    </a:cubicBezTo>
                    <a:cubicBezTo>
                      <a:pt x="0" y="2"/>
                      <a:pt x="0" y="2"/>
                      <a:pt x="1" y="2"/>
                    </a:cubicBezTo>
                    <a:cubicBezTo>
                      <a:pt x="2" y="2"/>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210"/>
              <p:cNvSpPr/>
              <p:nvPr/>
            </p:nvSpPr>
            <p:spPr bwMode="auto">
              <a:xfrm>
                <a:off x="6079" y="4391"/>
                <a:ext cx="16" cy="12"/>
              </a:xfrm>
              <a:custGeom>
                <a:gdLst>
                  <a:gd name="T0" fmla="*/ 4 w 7"/>
                  <a:gd name="T1" fmla="*/ 0 h 5"/>
                  <a:gd name="T2" fmla="*/ 5 w 7"/>
                  <a:gd name="T3" fmla="*/ 5 h 5"/>
                  <a:gd name="T4" fmla="*/ 4 w 7"/>
                  <a:gd name="T5" fmla="*/ 0 h 5"/>
                </a:gdLst>
                <a:cxnLst>
                  <a:cxn ang="0">
                    <a:pos x="T0" y="T1"/>
                  </a:cxn>
                  <a:cxn ang="0">
                    <a:pos x="T2" y="T3"/>
                  </a:cxn>
                  <a:cxn ang="0">
                    <a:pos x="T4" y="T5"/>
                  </a:cxn>
                </a:cxnLst>
                <a:rect l="0" t="0" r="r" b="b"/>
                <a:pathLst>
                  <a:path w="7" h="5">
                    <a:moveTo>
                      <a:pt x="4" y="0"/>
                    </a:moveTo>
                    <a:cubicBezTo>
                      <a:pt x="0" y="2"/>
                      <a:pt x="3" y="5"/>
                      <a:pt x="5" y="5"/>
                    </a:cubicBezTo>
                    <a:cubicBezTo>
                      <a:pt x="6" y="5"/>
                      <a:pt x="7"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211"/>
              <p:cNvSpPr/>
              <p:nvPr/>
            </p:nvSpPr>
            <p:spPr bwMode="auto">
              <a:xfrm>
                <a:off x="4285" y="4270"/>
                <a:ext cx="14" cy="10"/>
              </a:xfrm>
              <a:custGeom>
                <a:gdLst>
                  <a:gd name="T0" fmla="*/ 3 w 6"/>
                  <a:gd name="T1" fmla="*/ 0 h 4"/>
                  <a:gd name="T2" fmla="*/ 1 w 6"/>
                  <a:gd name="T3" fmla="*/ 1 h 4"/>
                  <a:gd name="T4" fmla="*/ 0 w 6"/>
                  <a:gd name="T5" fmla="*/ 1 h 4"/>
                  <a:gd name="T6" fmla="*/ 3 w 6"/>
                  <a:gd name="T7" fmla="*/ 4 h 4"/>
                  <a:gd name="T8" fmla="*/ 6 w 6"/>
                  <a:gd name="T9" fmla="*/ 0 h 4"/>
                  <a:gd name="T10" fmla="*/ 3 w 6"/>
                  <a:gd name="T11" fmla="*/ 0 h 4"/>
                </a:gdLst>
                <a:cxnLst>
                  <a:cxn ang="0">
                    <a:pos x="T0" y="T1"/>
                  </a:cxn>
                  <a:cxn ang="0">
                    <a:pos x="T2" y="T3"/>
                  </a:cxn>
                  <a:cxn ang="0">
                    <a:pos x="T4" y="T5"/>
                  </a:cxn>
                  <a:cxn ang="0">
                    <a:pos x="T6" y="T7"/>
                  </a:cxn>
                  <a:cxn ang="0">
                    <a:pos x="T8" y="T9"/>
                  </a:cxn>
                  <a:cxn ang="0">
                    <a:pos x="T10" y="T11"/>
                  </a:cxn>
                </a:cxnLst>
                <a:rect l="0" t="0" r="r" b="b"/>
                <a:pathLst>
                  <a:path w="6" h="4">
                    <a:moveTo>
                      <a:pt x="3" y="0"/>
                    </a:moveTo>
                    <a:cubicBezTo>
                      <a:pt x="2" y="0"/>
                      <a:pt x="1" y="0"/>
                      <a:pt x="1" y="1"/>
                    </a:cubicBezTo>
                    <a:cubicBezTo>
                      <a:pt x="0" y="1"/>
                      <a:pt x="1" y="1"/>
                      <a:pt x="0" y="1"/>
                    </a:cubicBezTo>
                    <a:cubicBezTo>
                      <a:pt x="1" y="3"/>
                      <a:pt x="2" y="4"/>
                      <a:pt x="3" y="4"/>
                    </a:cubicBezTo>
                    <a:cubicBezTo>
                      <a:pt x="4" y="4"/>
                      <a:pt x="5" y="2"/>
                      <a:pt x="6"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212"/>
              <p:cNvSpPr/>
              <p:nvPr/>
            </p:nvSpPr>
            <p:spPr bwMode="auto">
              <a:xfrm>
                <a:off x="4306" y="4266"/>
                <a:ext cx="24" cy="21"/>
              </a:xfrm>
              <a:custGeom>
                <a:gdLst>
                  <a:gd name="T0" fmla="*/ 7 w 10"/>
                  <a:gd name="T1" fmla="*/ 0 h 9"/>
                  <a:gd name="T2" fmla="*/ 0 w 10"/>
                  <a:gd name="T3" fmla="*/ 3 h 9"/>
                  <a:gd name="T4" fmla="*/ 3 w 10"/>
                  <a:gd name="T5" fmla="*/ 5 h 9"/>
                  <a:gd name="T6" fmla="*/ 7 w 10"/>
                  <a:gd name="T7" fmla="*/ 9 h 9"/>
                  <a:gd name="T8" fmla="*/ 8 w 10"/>
                  <a:gd name="T9" fmla="*/ 8 h 9"/>
                  <a:gd name="T10" fmla="*/ 10 w 10"/>
                  <a:gd name="T11" fmla="*/ 7 h 9"/>
                  <a:gd name="T12" fmla="*/ 10 w 10"/>
                  <a:gd name="T13" fmla="*/ 4 h 9"/>
                  <a:gd name="T14" fmla="*/ 10 w 10"/>
                  <a:gd name="T15" fmla="*/ 4 h 9"/>
                  <a:gd name="T16" fmla="*/ 8 w 10"/>
                  <a:gd name="T17" fmla="*/ 2 h 9"/>
                  <a:gd name="T18" fmla="*/ 8 w 10"/>
                  <a:gd name="T19" fmla="*/ 0 h 9"/>
                  <a:gd name="T20" fmla="*/ 8 w 10"/>
                  <a:gd name="T21" fmla="*/ 0 h 9"/>
                  <a:gd name="T22" fmla="*/ 7 w 10"/>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7" y="0"/>
                    </a:moveTo>
                    <a:cubicBezTo>
                      <a:pt x="4" y="0"/>
                      <a:pt x="1" y="1"/>
                      <a:pt x="0" y="3"/>
                    </a:cubicBezTo>
                    <a:cubicBezTo>
                      <a:pt x="0" y="4"/>
                      <a:pt x="1" y="4"/>
                      <a:pt x="3" y="5"/>
                    </a:cubicBezTo>
                    <a:cubicBezTo>
                      <a:pt x="5" y="5"/>
                      <a:pt x="5" y="9"/>
                      <a:pt x="7" y="9"/>
                    </a:cubicBezTo>
                    <a:cubicBezTo>
                      <a:pt x="7" y="9"/>
                      <a:pt x="7" y="9"/>
                      <a:pt x="8" y="8"/>
                    </a:cubicBezTo>
                    <a:cubicBezTo>
                      <a:pt x="9" y="7"/>
                      <a:pt x="9" y="8"/>
                      <a:pt x="10" y="7"/>
                    </a:cubicBezTo>
                    <a:cubicBezTo>
                      <a:pt x="10" y="6"/>
                      <a:pt x="10" y="4"/>
                      <a:pt x="10" y="4"/>
                    </a:cubicBezTo>
                    <a:cubicBezTo>
                      <a:pt x="10" y="4"/>
                      <a:pt x="10" y="4"/>
                      <a:pt x="10" y="4"/>
                    </a:cubicBezTo>
                    <a:cubicBezTo>
                      <a:pt x="10" y="4"/>
                      <a:pt x="9" y="3"/>
                      <a:pt x="8" y="2"/>
                    </a:cubicBezTo>
                    <a:cubicBezTo>
                      <a:pt x="8" y="1"/>
                      <a:pt x="7" y="0"/>
                      <a:pt x="8" y="0"/>
                    </a:cubicBezTo>
                    <a:cubicBezTo>
                      <a:pt x="8" y="0"/>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213"/>
              <p:cNvSpPr/>
              <p:nvPr/>
            </p:nvSpPr>
            <p:spPr bwMode="auto">
              <a:xfrm>
                <a:off x="3959" y="4339"/>
                <a:ext cx="14" cy="21"/>
              </a:xfrm>
              <a:custGeom>
                <a:gdLst>
                  <a:gd name="T0" fmla="*/ 0 w 6"/>
                  <a:gd name="T1" fmla="*/ 0 h 9"/>
                  <a:gd name="T2" fmla="*/ 6 w 6"/>
                  <a:gd name="T3" fmla="*/ 9 h 9"/>
                  <a:gd name="T4" fmla="*/ 0 w 6"/>
                  <a:gd name="T5" fmla="*/ 0 h 9"/>
                </a:gdLst>
                <a:cxnLst>
                  <a:cxn ang="0">
                    <a:pos x="T0" y="T1"/>
                  </a:cxn>
                  <a:cxn ang="0">
                    <a:pos x="T2" y="T3"/>
                  </a:cxn>
                  <a:cxn ang="0">
                    <a:pos x="T4" y="T5"/>
                  </a:cxn>
                </a:cxnLst>
                <a:rect l="0" t="0" r="r" b="b"/>
                <a:pathLst>
                  <a:path w="6" h="9">
                    <a:moveTo>
                      <a:pt x="0" y="0"/>
                    </a:moveTo>
                    <a:cubicBezTo>
                      <a:pt x="2" y="2"/>
                      <a:pt x="4" y="6"/>
                      <a:pt x="6" y="9"/>
                    </a:cubicBezTo>
                    <a:cubicBezTo>
                      <a:pt x="5" y="7"/>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214"/>
              <p:cNvSpPr/>
              <p:nvPr/>
            </p:nvSpPr>
            <p:spPr bwMode="auto">
              <a:xfrm>
                <a:off x="5540" y="4121"/>
                <a:ext cx="14" cy="22"/>
              </a:xfrm>
              <a:custGeom>
                <a:gdLst>
                  <a:gd name="T0" fmla="*/ 0 w 6"/>
                  <a:gd name="T1" fmla="*/ 0 h 9"/>
                  <a:gd name="T2" fmla="*/ 0 w 6"/>
                  <a:gd name="T3" fmla="*/ 0 h 9"/>
                  <a:gd name="T4" fmla="*/ 5 w 6"/>
                  <a:gd name="T5" fmla="*/ 9 h 9"/>
                  <a:gd name="T6" fmla="*/ 3 w 6"/>
                  <a:gd name="T7" fmla="*/ 3 h 9"/>
                  <a:gd name="T8" fmla="*/ 0 w 6"/>
                  <a:gd name="T9" fmla="*/ 0 h 9"/>
                </a:gdLst>
                <a:cxnLst>
                  <a:cxn ang="0">
                    <a:pos x="T0" y="T1"/>
                  </a:cxn>
                  <a:cxn ang="0">
                    <a:pos x="T2" y="T3"/>
                  </a:cxn>
                  <a:cxn ang="0">
                    <a:pos x="T4" y="T5"/>
                  </a:cxn>
                  <a:cxn ang="0">
                    <a:pos x="T6" y="T7"/>
                  </a:cxn>
                  <a:cxn ang="0">
                    <a:pos x="T8" y="T9"/>
                  </a:cxn>
                </a:cxnLst>
                <a:rect l="0" t="0" r="r" b="b"/>
                <a:pathLst>
                  <a:path w="6" h="9">
                    <a:moveTo>
                      <a:pt x="0" y="0"/>
                    </a:moveTo>
                    <a:cubicBezTo>
                      <a:pt x="0" y="0"/>
                      <a:pt x="0" y="0"/>
                      <a:pt x="0" y="0"/>
                    </a:cubicBezTo>
                    <a:cubicBezTo>
                      <a:pt x="1" y="3"/>
                      <a:pt x="3" y="6"/>
                      <a:pt x="5" y="9"/>
                    </a:cubicBezTo>
                    <a:cubicBezTo>
                      <a:pt x="6" y="5"/>
                      <a:pt x="5" y="5"/>
                      <a:pt x="3"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215"/>
              <p:cNvSpPr/>
              <p:nvPr/>
            </p:nvSpPr>
            <p:spPr bwMode="auto">
              <a:xfrm>
                <a:off x="5318" y="4363"/>
                <a:ext cx="14" cy="4"/>
              </a:xfrm>
              <a:custGeom>
                <a:gdLst>
                  <a:gd name="T0" fmla="*/ 1 w 6"/>
                  <a:gd name="T1" fmla="*/ 0 h 2"/>
                  <a:gd name="T2" fmla="*/ 0 w 6"/>
                  <a:gd name="T3" fmla="*/ 2 h 2"/>
                  <a:gd name="T4" fmla="*/ 6 w 6"/>
                  <a:gd name="T5" fmla="*/ 1 h 2"/>
                  <a:gd name="T6" fmla="*/ 1 w 6"/>
                  <a:gd name="T7" fmla="*/ 0 h 2"/>
                </a:gdLst>
                <a:cxnLst>
                  <a:cxn ang="0">
                    <a:pos x="T0" y="T1"/>
                  </a:cxn>
                  <a:cxn ang="0">
                    <a:pos x="T2" y="T3"/>
                  </a:cxn>
                  <a:cxn ang="0">
                    <a:pos x="T4" y="T5"/>
                  </a:cxn>
                  <a:cxn ang="0">
                    <a:pos x="T6" y="T7"/>
                  </a:cxn>
                </a:cxnLst>
                <a:rect l="0" t="0" r="r" b="b"/>
                <a:pathLst>
                  <a:path w="6" h="2">
                    <a:moveTo>
                      <a:pt x="1" y="0"/>
                    </a:moveTo>
                    <a:cubicBezTo>
                      <a:pt x="1" y="1"/>
                      <a:pt x="0" y="2"/>
                      <a:pt x="0" y="2"/>
                    </a:cubicBezTo>
                    <a:cubicBezTo>
                      <a:pt x="2" y="2"/>
                      <a:pt x="5" y="2"/>
                      <a:pt x="6" y="1"/>
                    </a:cubicBezTo>
                    <a:cubicBezTo>
                      <a:pt x="5" y="1"/>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216"/>
              <p:cNvSpPr/>
              <p:nvPr/>
            </p:nvSpPr>
            <p:spPr bwMode="auto">
              <a:xfrm>
                <a:off x="4569" y="4162"/>
                <a:ext cx="7" cy="7"/>
              </a:xfrm>
              <a:custGeom>
                <a:gdLst>
                  <a:gd name="T0" fmla="*/ 3 w 3"/>
                  <a:gd name="T1" fmla="*/ 0 h 3"/>
                  <a:gd name="T2" fmla="*/ 0 w 3"/>
                  <a:gd name="T3" fmla="*/ 3 h 3"/>
                  <a:gd name="T4" fmla="*/ 2 w 3"/>
                  <a:gd name="T5" fmla="*/ 3 h 3"/>
                  <a:gd name="T6" fmla="*/ 3 w 3"/>
                  <a:gd name="T7" fmla="*/ 0 h 3"/>
                </a:gdLst>
                <a:cxnLst>
                  <a:cxn ang="0">
                    <a:pos x="T0" y="T1"/>
                  </a:cxn>
                  <a:cxn ang="0">
                    <a:pos x="T2" y="T3"/>
                  </a:cxn>
                  <a:cxn ang="0">
                    <a:pos x="T4" y="T5"/>
                  </a:cxn>
                  <a:cxn ang="0">
                    <a:pos x="T6" y="T7"/>
                  </a:cxn>
                </a:cxnLst>
                <a:rect l="0" t="0" r="r" b="b"/>
                <a:pathLst>
                  <a:path w="3" h="3">
                    <a:moveTo>
                      <a:pt x="3" y="0"/>
                    </a:moveTo>
                    <a:cubicBezTo>
                      <a:pt x="2" y="1"/>
                      <a:pt x="1" y="2"/>
                      <a:pt x="0" y="3"/>
                    </a:cubicBezTo>
                    <a:cubicBezTo>
                      <a:pt x="1" y="3"/>
                      <a:pt x="1" y="3"/>
                      <a:pt x="2" y="3"/>
                    </a:cubicBezTo>
                    <a:cubicBezTo>
                      <a:pt x="3"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217"/>
              <p:cNvSpPr>
                <a:spLocks noEditPoints="1"/>
              </p:cNvSpPr>
              <p:nvPr/>
            </p:nvSpPr>
            <p:spPr bwMode="auto">
              <a:xfrm>
                <a:off x="5138" y="4204"/>
                <a:ext cx="5" cy="5"/>
              </a:xfrm>
              <a:custGeom>
                <a:gdLst>
                  <a:gd name="T0" fmla="*/ 2 w 2"/>
                  <a:gd name="T1" fmla="*/ 2 h 2"/>
                  <a:gd name="T2" fmla="*/ 2 w 2"/>
                  <a:gd name="T3" fmla="*/ 2 h 2"/>
                  <a:gd name="T4" fmla="*/ 2 w 2"/>
                  <a:gd name="T5" fmla="*/ 2 h 2"/>
                  <a:gd name="T6" fmla="*/ 0 w 2"/>
                  <a:gd name="T7" fmla="*/ 0 h 2"/>
                  <a:gd name="T8" fmla="*/ 2 w 2"/>
                  <a:gd name="T9" fmla="*/ 2 h 2"/>
                  <a:gd name="T10" fmla="*/ 0 w 2"/>
                  <a:gd name="T11" fmla="*/ 0 h 2"/>
                </a:gdLst>
                <a:cxnLst>
                  <a:cxn ang="0">
                    <a:pos x="T0" y="T1"/>
                  </a:cxn>
                  <a:cxn ang="0">
                    <a:pos x="T2" y="T3"/>
                  </a:cxn>
                  <a:cxn ang="0">
                    <a:pos x="T4" y="T5"/>
                  </a:cxn>
                  <a:cxn ang="0">
                    <a:pos x="T6" y="T7"/>
                  </a:cxn>
                  <a:cxn ang="0">
                    <a:pos x="T8" y="T9"/>
                  </a:cxn>
                  <a:cxn ang="0">
                    <a:pos x="T10" y="T11"/>
                  </a:cxn>
                </a:cxnLst>
                <a:rect l="0" t="0" r="r" b="b"/>
                <a:pathLst>
                  <a:path w="2" h="2">
                    <a:moveTo>
                      <a:pt x="2" y="2"/>
                    </a:moveTo>
                    <a:cubicBezTo>
                      <a:pt x="2" y="2"/>
                      <a:pt x="2" y="2"/>
                      <a:pt x="2" y="2"/>
                    </a:cubicBezTo>
                    <a:cubicBezTo>
                      <a:pt x="2" y="2"/>
                      <a:pt x="2" y="2"/>
                      <a:pt x="2" y="2"/>
                    </a:cubicBezTo>
                    <a:moveTo>
                      <a:pt x="0" y="0"/>
                    </a:moveTo>
                    <a:cubicBezTo>
                      <a:pt x="1" y="0"/>
                      <a:pt x="2"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218"/>
              <p:cNvSpPr/>
              <p:nvPr/>
            </p:nvSpPr>
            <p:spPr bwMode="auto">
              <a:xfrm>
                <a:off x="4607" y="4393"/>
                <a:ext cx="18" cy="17"/>
              </a:xfrm>
              <a:custGeom>
                <a:gdLst>
                  <a:gd name="T0" fmla="*/ 3 w 8"/>
                  <a:gd name="T1" fmla="*/ 0 h 7"/>
                  <a:gd name="T2" fmla="*/ 2 w 8"/>
                  <a:gd name="T3" fmla="*/ 0 h 7"/>
                  <a:gd name="T4" fmla="*/ 2 w 8"/>
                  <a:gd name="T5" fmla="*/ 0 h 7"/>
                  <a:gd name="T6" fmla="*/ 1 w 8"/>
                  <a:gd name="T7" fmla="*/ 0 h 7"/>
                  <a:gd name="T8" fmla="*/ 1 w 8"/>
                  <a:gd name="T9" fmla="*/ 0 h 7"/>
                  <a:gd name="T10" fmla="*/ 1 w 8"/>
                  <a:gd name="T11" fmla="*/ 0 h 7"/>
                  <a:gd name="T12" fmla="*/ 1 w 8"/>
                  <a:gd name="T13" fmla="*/ 1 h 7"/>
                  <a:gd name="T14" fmla="*/ 0 w 8"/>
                  <a:gd name="T15" fmla="*/ 7 h 7"/>
                  <a:gd name="T16" fmla="*/ 8 w 8"/>
                  <a:gd name="T17" fmla="*/ 4 h 7"/>
                  <a:gd name="T18" fmla="*/ 8 w 8"/>
                  <a:gd name="T19" fmla="*/ 4 h 7"/>
                  <a:gd name="T20" fmla="*/ 8 w 8"/>
                  <a:gd name="T21" fmla="*/ 3 h 7"/>
                  <a:gd name="T22" fmla="*/ 8 w 8"/>
                  <a:gd name="T23" fmla="*/ 3 h 7"/>
                  <a:gd name="T24" fmla="*/ 8 w 8"/>
                  <a:gd name="T25" fmla="*/ 1 h 7"/>
                  <a:gd name="T26" fmla="*/ 5 w 8"/>
                  <a:gd name="T27" fmla="*/ 1 h 7"/>
                  <a:gd name="T28" fmla="*/ 5 w 8"/>
                  <a:gd name="T29" fmla="*/ 0 h 7"/>
                  <a:gd name="T30" fmla="*/ 3 w 8"/>
                  <a:gd name="T3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7">
                    <a:moveTo>
                      <a:pt x="3" y="0"/>
                    </a:move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1"/>
                      <a:pt x="1" y="1"/>
                      <a:pt x="1" y="1"/>
                    </a:cubicBezTo>
                    <a:cubicBezTo>
                      <a:pt x="0" y="2"/>
                      <a:pt x="0" y="5"/>
                      <a:pt x="0" y="7"/>
                    </a:cubicBezTo>
                    <a:cubicBezTo>
                      <a:pt x="2" y="7"/>
                      <a:pt x="7" y="6"/>
                      <a:pt x="8" y="4"/>
                    </a:cubicBezTo>
                    <a:cubicBezTo>
                      <a:pt x="8" y="4"/>
                      <a:pt x="8" y="4"/>
                      <a:pt x="8" y="4"/>
                    </a:cubicBezTo>
                    <a:cubicBezTo>
                      <a:pt x="8" y="3"/>
                      <a:pt x="8" y="3"/>
                      <a:pt x="8" y="3"/>
                    </a:cubicBezTo>
                    <a:cubicBezTo>
                      <a:pt x="8" y="3"/>
                      <a:pt x="8" y="3"/>
                      <a:pt x="8" y="3"/>
                    </a:cubicBezTo>
                    <a:cubicBezTo>
                      <a:pt x="8" y="2"/>
                      <a:pt x="8" y="2"/>
                      <a:pt x="8" y="1"/>
                    </a:cubicBezTo>
                    <a:cubicBezTo>
                      <a:pt x="8" y="1"/>
                      <a:pt x="7" y="1"/>
                      <a:pt x="5" y="1"/>
                    </a:cubicBezTo>
                    <a:cubicBezTo>
                      <a:pt x="5" y="0"/>
                      <a:pt x="5" y="0"/>
                      <a:pt x="5"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219"/>
              <p:cNvSpPr>
                <a:spLocks noEditPoints="1"/>
              </p:cNvSpPr>
              <p:nvPr/>
            </p:nvSpPr>
            <p:spPr bwMode="auto">
              <a:xfrm>
                <a:off x="5634" y="4353"/>
                <a:ext cx="10" cy="14"/>
              </a:xfrm>
              <a:custGeom>
                <a:gdLst>
                  <a:gd name="T0" fmla="*/ 1 w 4"/>
                  <a:gd name="T1" fmla="*/ 6 h 6"/>
                  <a:gd name="T2" fmla="*/ 1 w 4"/>
                  <a:gd name="T3" fmla="*/ 6 h 6"/>
                  <a:gd name="T4" fmla="*/ 1 w 4"/>
                  <a:gd name="T5" fmla="*/ 6 h 6"/>
                  <a:gd name="T6" fmla="*/ 3 w 4"/>
                  <a:gd name="T7" fmla="*/ 0 h 6"/>
                  <a:gd name="T8" fmla="*/ 0 w 4"/>
                  <a:gd name="T9" fmla="*/ 4 h 6"/>
                  <a:gd name="T10" fmla="*/ 0 w 4"/>
                  <a:gd name="T11" fmla="*/ 4 h 6"/>
                  <a:gd name="T12" fmla="*/ 1 w 4"/>
                  <a:gd name="T13" fmla="*/ 5 h 6"/>
                  <a:gd name="T14" fmla="*/ 1 w 4"/>
                  <a:gd name="T15" fmla="*/ 6 h 6"/>
                  <a:gd name="T16" fmla="*/ 1 w 4"/>
                  <a:gd name="T17" fmla="*/ 6 h 6"/>
                  <a:gd name="T18" fmla="*/ 2 w 4"/>
                  <a:gd name="T19" fmla="*/ 6 h 6"/>
                  <a:gd name="T20" fmla="*/ 4 w 4"/>
                  <a:gd name="T21" fmla="*/ 0 h 6"/>
                  <a:gd name="T22" fmla="*/ 3 w 4"/>
                  <a:gd name="T2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1" y="6"/>
                    </a:moveTo>
                    <a:cubicBezTo>
                      <a:pt x="1" y="6"/>
                      <a:pt x="1" y="6"/>
                      <a:pt x="1" y="6"/>
                    </a:cubicBezTo>
                    <a:cubicBezTo>
                      <a:pt x="1" y="6"/>
                      <a:pt x="1" y="6"/>
                      <a:pt x="1" y="6"/>
                    </a:cubicBezTo>
                    <a:moveTo>
                      <a:pt x="3" y="0"/>
                    </a:moveTo>
                    <a:cubicBezTo>
                      <a:pt x="1" y="0"/>
                      <a:pt x="0" y="1"/>
                      <a:pt x="0" y="4"/>
                    </a:cubicBezTo>
                    <a:cubicBezTo>
                      <a:pt x="0" y="4"/>
                      <a:pt x="0" y="4"/>
                      <a:pt x="0" y="4"/>
                    </a:cubicBezTo>
                    <a:cubicBezTo>
                      <a:pt x="0" y="4"/>
                      <a:pt x="0" y="4"/>
                      <a:pt x="1" y="5"/>
                    </a:cubicBezTo>
                    <a:cubicBezTo>
                      <a:pt x="1" y="5"/>
                      <a:pt x="1" y="6"/>
                      <a:pt x="1" y="6"/>
                    </a:cubicBezTo>
                    <a:cubicBezTo>
                      <a:pt x="1" y="6"/>
                      <a:pt x="1" y="6"/>
                      <a:pt x="1" y="6"/>
                    </a:cubicBezTo>
                    <a:cubicBezTo>
                      <a:pt x="1" y="6"/>
                      <a:pt x="1" y="6"/>
                      <a:pt x="2" y="6"/>
                    </a:cubicBezTo>
                    <a:cubicBezTo>
                      <a:pt x="4" y="6"/>
                      <a:pt x="4"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220"/>
              <p:cNvSpPr/>
              <p:nvPr/>
            </p:nvSpPr>
            <p:spPr bwMode="auto">
              <a:xfrm>
                <a:off x="4181" y="4644"/>
                <a:ext cx="19" cy="12"/>
              </a:xfrm>
              <a:custGeom>
                <a:gdLst>
                  <a:gd name="T0" fmla="*/ 2 w 8"/>
                  <a:gd name="T1" fmla="*/ 0 h 5"/>
                  <a:gd name="T2" fmla="*/ 0 w 8"/>
                  <a:gd name="T3" fmla="*/ 1 h 5"/>
                  <a:gd name="T4" fmla="*/ 7 w 8"/>
                  <a:gd name="T5" fmla="*/ 5 h 5"/>
                  <a:gd name="T6" fmla="*/ 2 w 8"/>
                  <a:gd name="T7" fmla="*/ 0 h 5"/>
                </a:gdLst>
                <a:cxnLst>
                  <a:cxn ang="0">
                    <a:pos x="T0" y="T1"/>
                  </a:cxn>
                  <a:cxn ang="0">
                    <a:pos x="T2" y="T3"/>
                  </a:cxn>
                  <a:cxn ang="0">
                    <a:pos x="T4" y="T5"/>
                  </a:cxn>
                  <a:cxn ang="0">
                    <a:pos x="T6" y="T7"/>
                  </a:cxn>
                </a:cxnLst>
                <a:rect l="0" t="0" r="r" b="b"/>
                <a:pathLst>
                  <a:path w="8" h="5">
                    <a:moveTo>
                      <a:pt x="2" y="0"/>
                    </a:moveTo>
                    <a:cubicBezTo>
                      <a:pt x="1" y="0"/>
                      <a:pt x="0" y="1"/>
                      <a:pt x="0" y="1"/>
                    </a:cubicBezTo>
                    <a:cubicBezTo>
                      <a:pt x="2" y="3"/>
                      <a:pt x="4" y="4"/>
                      <a:pt x="7" y="5"/>
                    </a:cubicBezTo>
                    <a:cubicBezTo>
                      <a:pt x="8" y="3"/>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221"/>
              <p:cNvSpPr/>
              <p:nvPr/>
            </p:nvSpPr>
            <p:spPr bwMode="auto">
              <a:xfrm>
                <a:off x="6102" y="4424"/>
                <a:ext cx="12" cy="2"/>
              </a:xfrm>
              <a:custGeom>
                <a:gdLst>
                  <a:gd name="T0" fmla="*/ 0 w 5"/>
                  <a:gd name="T1" fmla="*/ 0 h 1"/>
                  <a:gd name="T2" fmla="*/ 3 w 5"/>
                  <a:gd name="T3" fmla="*/ 1 h 1"/>
                  <a:gd name="T4" fmla="*/ 5 w 5"/>
                  <a:gd name="T5" fmla="*/ 0 h 1"/>
                  <a:gd name="T6" fmla="*/ 0 w 5"/>
                  <a:gd name="T7" fmla="*/ 0 h 1"/>
                </a:gdLst>
                <a:cxnLst>
                  <a:cxn ang="0">
                    <a:pos x="T0" y="T1"/>
                  </a:cxn>
                  <a:cxn ang="0">
                    <a:pos x="T2" y="T3"/>
                  </a:cxn>
                  <a:cxn ang="0">
                    <a:pos x="T4" y="T5"/>
                  </a:cxn>
                  <a:cxn ang="0">
                    <a:pos x="T6" y="T7"/>
                  </a:cxn>
                </a:cxnLst>
                <a:rect l="0" t="0" r="r" b="b"/>
                <a:pathLst>
                  <a:path w="5" h="1">
                    <a:moveTo>
                      <a:pt x="0" y="0"/>
                    </a:moveTo>
                    <a:cubicBezTo>
                      <a:pt x="1" y="0"/>
                      <a:pt x="2" y="1"/>
                      <a:pt x="3" y="1"/>
                    </a:cubicBezTo>
                    <a:cubicBezTo>
                      <a:pt x="4" y="1"/>
                      <a:pt x="4" y="0"/>
                      <a:pt x="5" y="0"/>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222"/>
              <p:cNvSpPr>
                <a:spLocks noEditPoints="1"/>
              </p:cNvSpPr>
              <p:nvPr/>
            </p:nvSpPr>
            <p:spPr bwMode="auto">
              <a:xfrm>
                <a:off x="5412" y="4930"/>
                <a:ext cx="10" cy="12"/>
              </a:xfrm>
              <a:custGeom>
                <a:gdLst>
                  <a:gd name="T0" fmla="*/ 4 w 4"/>
                  <a:gd name="T1" fmla="*/ 0 h 5"/>
                  <a:gd name="T2" fmla="*/ 1 w 4"/>
                  <a:gd name="T3" fmla="*/ 5 h 5"/>
                  <a:gd name="T4" fmla="*/ 4 w 4"/>
                  <a:gd name="T5" fmla="*/ 0 h 5"/>
                  <a:gd name="T6" fmla="*/ 4 w 4"/>
                  <a:gd name="T7" fmla="*/ 0 h 5"/>
                  <a:gd name="T8" fmla="*/ 4 w 4"/>
                  <a:gd name="T9" fmla="*/ 0 h 5"/>
                  <a:gd name="T10" fmla="*/ 4 w 4"/>
                  <a:gd name="T11" fmla="*/ 0 h 5"/>
                </a:gdLst>
                <a:cxnLst>
                  <a:cxn ang="0">
                    <a:pos x="T0" y="T1"/>
                  </a:cxn>
                  <a:cxn ang="0">
                    <a:pos x="T2" y="T3"/>
                  </a:cxn>
                  <a:cxn ang="0">
                    <a:pos x="T4" y="T5"/>
                  </a:cxn>
                  <a:cxn ang="0">
                    <a:pos x="T6" y="T7"/>
                  </a:cxn>
                  <a:cxn ang="0">
                    <a:pos x="T8" y="T9"/>
                  </a:cxn>
                  <a:cxn ang="0">
                    <a:pos x="T10" y="T11"/>
                  </a:cxn>
                </a:cxnLst>
                <a:rect l="0" t="0" r="r" b="b"/>
                <a:pathLst>
                  <a:path w="4" h="5">
                    <a:moveTo>
                      <a:pt x="4" y="0"/>
                    </a:moveTo>
                    <a:cubicBezTo>
                      <a:pt x="3" y="2"/>
                      <a:pt x="0" y="2"/>
                      <a:pt x="1" y="5"/>
                    </a:cubicBezTo>
                    <a:cubicBezTo>
                      <a:pt x="2" y="3"/>
                      <a:pt x="3" y="2"/>
                      <a:pt x="4" y="0"/>
                    </a:cubicBezTo>
                    <a:moveTo>
                      <a:pt x="4" y="0"/>
                    </a:move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223"/>
              <p:cNvSpPr/>
              <p:nvPr/>
            </p:nvSpPr>
            <p:spPr bwMode="auto">
              <a:xfrm>
                <a:off x="4283" y="4277"/>
                <a:ext cx="5" cy="5"/>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0" y="0"/>
                      <a:pt x="0" y="0"/>
                      <a:pt x="0" y="0"/>
                    </a:cubicBezTo>
                    <a:cubicBezTo>
                      <a:pt x="0" y="1"/>
                      <a:pt x="1" y="2"/>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224"/>
              <p:cNvSpPr/>
              <p:nvPr/>
            </p:nvSpPr>
            <p:spPr bwMode="auto">
              <a:xfrm>
                <a:off x="6046" y="4438"/>
                <a:ext cx="4" cy="12"/>
              </a:xfrm>
              <a:custGeom>
                <a:gdLst>
                  <a:gd name="T0" fmla="*/ 2 w 2"/>
                  <a:gd name="T1" fmla="*/ 0 h 5"/>
                  <a:gd name="T2" fmla="*/ 0 w 2"/>
                  <a:gd name="T3" fmla="*/ 5 h 5"/>
                  <a:gd name="T4" fmla="*/ 2 w 2"/>
                  <a:gd name="T5" fmla="*/ 0 h 5"/>
                </a:gdLst>
                <a:cxnLst>
                  <a:cxn ang="0">
                    <a:pos x="T0" y="T1"/>
                  </a:cxn>
                  <a:cxn ang="0">
                    <a:pos x="T2" y="T3"/>
                  </a:cxn>
                  <a:cxn ang="0">
                    <a:pos x="T4" y="T5"/>
                  </a:cxn>
                </a:cxnLst>
                <a:rect l="0" t="0" r="r" b="b"/>
                <a:pathLst>
                  <a:path w="2" h="5">
                    <a:moveTo>
                      <a:pt x="2" y="0"/>
                    </a:moveTo>
                    <a:cubicBezTo>
                      <a:pt x="1" y="1"/>
                      <a:pt x="0" y="3"/>
                      <a:pt x="0" y="5"/>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225"/>
              <p:cNvSpPr/>
              <p:nvPr/>
            </p:nvSpPr>
            <p:spPr bwMode="auto">
              <a:xfrm>
                <a:off x="4356" y="4717"/>
                <a:ext cx="10" cy="5"/>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2" y="0"/>
                      <a:pt x="1" y="1"/>
                      <a:pt x="0" y="2"/>
                    </a:cubicBezTo>
                    <a:cubicBezTo>
                      <a:pt x="1" y="2"/>
                      <a:pt x="2"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226"/>
              <p:cNvSpPr/>
              <p:nvPr/>
            </p:nvSpPr>
            <p:spPr bwMode="auto">
              <a:xfrm>
                <a:off x="4297" y="4282"/>
                <a:ext cx="9" cy="10"/>
              </a:xfrm>
              <a:custGeom>
                <a:gdLst>
                  <a:gd name="T0" fmla="*/ 0 w 4"/>
                  <a:gd name="T1" fmla="*/ 0 h 4"/>
                  <a:gd name="T2" fmla="*/ 2 w 4"/>
                  <a:gd name="T3" fmla="*/ 4 h 4"/>
                  <a:gd name="T4" fmla="*/ 4 w 4"/>
                  <a:gd name="T5" fmla="*/ 2 h 4"/>
                  <a:gd name="T6" fmla="*/ 0 w 4"/>
                  <a:gd name="T7" fmla="*/ 0 h 4"/>
                </a:gdLst>
                <a:cxnLst>
                  <a:cxn ang="0">
                    <a:pos x="T0" y="T1"/>
                  </a:cxn>
                  <a:cxn ang="0">
                    <a:pos x="T2" y="T3"/>
                  </a:cxn>
                  <a:cxn ang="0">
                    <a:pos x="T4" y="T5"/>
                  </a:cxn>
                  <a:cxn ang="0">
                    <a:pos x="T6" y="T7"/>
                  </a:cxn>
                </a:cxnLst>
                <a:rect l="0" t="0" r="r" b="b"/>
                <a:pathLst>
                  <a:path w="4" h="4">
                    <a:moveTo>
                      <a:pt x="0" y="0"/>
                    </a:moveTo>
                    <a:cubicBezTo>
                      <a:pt x="0" y="1"/>
                      <a:pt x="1" y="2"/>
                      <a:pt x="2" y="4"/>
                    </a:cubicBezTo>
                    <a:cubicBezTo>
                      <a:pt x="3" y="3"/>
                      <a:pt x="3" y="3"/>
                      <a:pt x="4" y="2"/>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Freeform 227"/>
              <p:cNvSpPr/>
              <p:nvPr/>
            </p:nvSpPr>
            <p:spPr bwMode="auto">
              <a:xfrm>
                <a:off x="5779" y="4790"/>
                <a:ext cx="19" cy="17"/>
              </a:xfrm>
              <a:custGeom>
                <a:gdLst>
                  <a:gd name="T0" fmla="*/ 2 w 8"/>
                  <a:gd name="T1" fmla="*/ 0 h 7"/>
                  <a:gd name="T2" fmla="*/ 3 w 8"/>
                  <a:gd name="T3" fmla="*/ 6 h 7"/>
                  <a:gd name="T4" fmla="*/ 4 w 8"/>
                  <a:gd name="T5" fmla="*/ 7 h 7"/>
                  <a:gd name="T6" fmla="*/ 7 w 8"/>
                  <a:gd name="T7" fmla="*/ 4 h 7"/>
                  <a:gd name="T8" fmla="*/ 2 w 8"/>
                  <a:gd name="T9" fmla="*/ 0 h 7"/>
                </a:gdLst>
                <a:cxnLst>
                  <a:cxn ang="0">
                    <a:pos x="T0" y="T1"/>
                  </a:cxn>
                  <a:cxn ang="0">
                    <a:pos x="T2" y="T3"/>
                  </a:cxn>
                  <a:cxn ang="0">
                    <a:pos x="T4" y="T5"/>
                  </a:cxn>
                  <a:cxn ang="0">
                    <a:pos x="T6" y="T7"/>
                  </a:cxn>
                  <a:cxn ang="0">
                    <a:pos x="T8" y="T9"/>
                  </a:cxn>
                </a:cxnLst>
                <a:rect l="0" t="0" r="r" b="b"/>
                <a:pathLst>
                  <a:path w="8" h="7">
                    <a:moveTo>
                      <a:pt x="2" y="0"/>
                    </a:moveTo>
                    <a:cubicBezTo>
                      <a:pt x="0" y="2"/>
                      <a:pt x="1" y="6"/>
                      <a:pt x="3" y="6"/>
                    </a:cubicBezTo>
                    <a:cubicBezTo>
                      <a:pt x="3" y="7"/>
                      <a:pt x="4" y="7"/>
                      <a:pt x="4" y="7"/>
                    </a:cubicBezTo>
                    <a:cubicBezTo>
                      <a:pt x="6" y="7"/>
                      <a:pt x="7" y="6"/>
                      <a:pt x="7" y="4"/>
                    </a:cubicBezTo>
                    <a:cubicBezTo>
                      <a:pt x="8" y="1"/>
                      <a:pt x="4"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Freeform 228"/>
              <p:cNvSpPr/>
              <p:nvPr/>
            </p:nvSpPr>
            <p:spPr bwMode="auto">
              <a:xfrm>
                <a:off x="5722" y="4540"/>
                <a:ext cx="7" cy="7"/>
              </a:xfrm>
              <a:custGeom>
                <a:gdLst>
                  <a:gd name="T0" fmla="*/ 0 w 3"/>
                  <a:gd name="T1" fmla="*/ 0 h 3"/>
                  <a:gd name="T2" fmla="*/ 2 w 3"/>
                  <a:gd name="T3" fmla="*/ 3 h 3"/>
                  <a:gd name="T4" fmla="*/ 3 w 3"/>
                  <a:gd name="T5" fmla="*/ 3 h 3"/>
                  <a:gd name="T6" fmla="*/ 0 w 3"/>
                  <a:gd name="T7" fmla="*/ 0 h 3"/>
                </a:gdLst>
                <a:cxnLst>
                  <a:cxn ang="0">
                    <a:pos x="T0" y="T1"/>
                  </a:cxn>
                  <a:cxn ang="0">
                    <a:pos x="T2" y="T3"/>
                  </a:cxn>
                  <a:cxn ang="0">
                    <a:pos x="T4" y="T5"/>
                  </a:cxn>
                  <a:cxn ang="0">
                    <a:pos x="T6" y="T7"/>
                  </a:cxn>
                </a:cxnLst>
                <a:rect l="0" t="0" r="r" b="b"/>
                <a:pathLst>
                  <a:path w="3" h="3">
                    <a:moveTo>
                      <a:pt x="0" y="0"/>
                    </a:moveTo>
                    <a:cubicBezTo>
                      <a:pt x="0" y="2"/>
                      <a:pt x="1" y="3"/>
                      <a:pt x="2" y="3"/>
                    </a:cubicBezTo>
                    <a:cubicBezTo>
                      <a:pt x="2"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229"/>
              <p:cNvSpPr/>
              <p:nvPr/>
            </p:nvSpPr>
            <p:spPr bwMode="auto">
              <a:xfrm>
                <a:off x="4389" y="4159"/>
                <a:ext cx="10" cy="12"/>
              </a:xfrm>
              <a:custGeom>
                <a:gdLst>
                  <a:gd name="T0" fmla="*/ 0 w 4"/>
                  <a:gd name="T1" fmla="*/ 0 h 5"/>
                  <a:gd name="T2" fmla="*/ 0 w 4"/>
                  <a:gd name="T3" fmla="*/ 5 h 5"/>
                  <a:gd name="T4" fmla="*/ 4 w 4"/>
                  <a:gd name="T5" fmla="*/ 2 h 5"/>
                  <a:gd name="T6" fmla="*/ 0 w 4"/>
                  <a:gd name="T7" fmla="*/ 0 h 5"/>
                </a:gdLst>
                <a:cxnLst>
                  <a:cxn ang="0">
                    <a:pos x="T0" y="T1"/>
                  </a:cxn>
                  <a:cxn ang="0">
                    <a:pos x="T2" y="T3"/>
                  </a:cxn>
                  <a:cxn ang="0">
                    <a:pos x="T4" y="T5"/>
                  </a:cxn>
                  <a:cxn ang="0">
                    <a:pos x="T6" y="T7"/>
                  </a:cxn>
                </a:cxnLst>
                <a:rect l="0" t="0" r="r" b="b"/>
                <a:pathLst>
                  <a:path w="4" h="5">
                    <a:moveTo>
                      <a:pt x="0" y="0"/>
                    </a:moveTo>
                    <a:cubicBezTo>
                      <a:pt x="0" y="2"/>
                      <a:pt x="0" y="3"/>
                      <a:pt x="0" y="5"/>
                    </a:cubicBezTo>
                    <a:cubicBezTo>
                      <a:pt x="2" y="4"/>
                      <a:pt x="3" y="3"/>
                      <a:pt x="4" y="2"/>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230"/>
              <p:cNvSpPr/>
              <p:nvPr/>
            </p:nvSpPr>
            <p:spPr bwMode="auto">
              <a:xfrm>
                <a:off x="5656" y="4405"/>
                <a:ext cx="14" cy="5"/>
              </a:xfrm>
              <a:custGeom>
                <a:gdLst>
                  <a:gd name="T0" fmla="*/ 3 w 6"/>
                  <a:gd name="T1" fmla="*/ 0 h 2"/>
                  <a:gd name="T2" fmla="*/ 0 w 6"/>
                  <a:gd name="T3" fmla="*/ 1 h 2"/>
                  <a:gd name="T4" fmla="*/ 5 w 6"/>
                  <a:gd name="T5" fmla="*/ 2 h 2"/>
                  <a:gd name="T6" fmla="*/ 6 w 6"/>
                  <a:gd name="T7" fmla="*/ 2 h 2"/>
                  <a:gd name="T8" fmla="*/ 3 w 6"/>
                  <a:gd name="T9" fmla="*/ 0 h 2"/>
                </a:gdLst>
                <a:cxnLst>
                  <a:cxn ang="0">
                    <a:pos x="T0" y="T1"/>
                  </a:cxn>
                  <a:cxn ang="0">
                    <a:pos x="T2" y="T3"/>
                  </a:cxn>
                  <a:cxn ang="0">
                    <a:pos x="T4" y="T5"/>
                  </a:cxn>
                  <a:cxn ang="0">
                    <a:pos x="T6" y="T7"/>
                  </a:cxn>
                  <a:cxn ang="0">
                    <a:pos x="T8" y="T9"/>
                  </a:cxn>
                </a:cxnLst>
                <a:rect l="0" t="0" r="r" b="b"/>
                <a:pathLst>
                  <a:path w="6" h="2">
                    <a:moveTo>
                      <a:pt x="3" y="0"/>
                    </a:moveTo>
                    <a:cubicBezTo>
                      <a:pt x="2" y="0"/>
                      <a:pt x="1" y="1"/>
                      <a:pt x="0" y="1"/>
                    </a:cubicBezTo>
                    <a:cubicBezTo>
                      <a:pt x="2" y="2"/>
                      <a:pt x="3" y="2"/>
                      <a:pt x="5" y="2"/>
                    </a:cubicBezTo>
                    <a:cubicBezTo>
                      <a:pt x="5" y="2"/>
                      <a:pt x="5" y="2"/>
                      <a:pt x="6" y="2"/>
                    </a:cubicBezTo>
                    <a:cubicBezTo>
                      <a:pt x="5" y="1"/>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Freeform 231"/>
              <p:cNvSpPr/>
              <p:nvPr/>
            </p:nvSpPr>
            <p:spPr bwMode="auto">
              <a:xfrm>
                <a:off x="4058" y="4481"/>
                <a:ext cx="15" cy="21"/>
              </a:xfrm>
              <a:custGeom>
                <a:gdLst>
                  <a:gd name="T0" fmla="*/ 0 w 6"/>
                  <a:gd name="T1" fmla="*/ 0 h 9"/>
                  <a:gd name="T2" fmla="*/ 1 w 6"/>
                  <a:gd name="T3" fmla="*/ 9 h 9"/>
                  <a:gd name="T4" fmla="*/ 1 w 6"/>
                  <a:gd name="T5" fmla="*/ 9 h 9"/>
                  <a:gd name="T6" fmla="*/ 4 w 6"/>
                  <a:gd name="T7" fmla="*/ 5 h 9"/>
                  <a:gd name="T8" fmla="*/ 0 w 6"/>
                  <a:gd name="T9" fmla="*/ 0 h 9"/>
                </a:gdLst>
                <a:cxnLst>
                  <a:cxn ang="0">
                    <a:pos x="T0" y="T1"/>
                  </a:cxn>
                  <a:cxn ang="0">
                    <a:pos x="T2" y="T3"/>
                  </a:cxn>
                  <a:cxn ang="0">
                    <a:pos x="T4" y="T5"/>
                  </a:cxn>
                  <a:cxn ang="0">
                    <a:pos x="T6" y="T7"/>
                  </a:cxn>
                  <a:cxn ang="0">
                    <a:pos x="T8" y="T9"/>
                  </a:cxn>
                </a:cxnLst>
                <a:rect l="0" t="0" r="r" b="b"/>
                <a:pathLst>
                  <a:path w="6" h="9">
                    <a:moveTo>
                      <a:pt x="0" y="0"/>
                    </a:moveTo>
                    <a:cubicBezTo>
                      <a:pt x="0" y="3"/>
                      <a:pt x="0" y="6"/>
                      <a:pt x="1" y="9"/>
                    </a:cubicBezTo>
                    <a:cubicBezTo>
                      <a:pt x="1" y="9"/>
                      <a:pt x="1" y="9"/>
                      <a:pt x="1" y="9"/>
                    </a:cubicBezTo>
                    <a:cubicBezTo>
                      <a:pt x="4" y="9"/>
                      <a:pt x="6" y="7"/>
                      <a:pt x="4" y="5"/>
                    </a:cubicBezTo>
                    <a:cubicBezTo>
                      <a:pt x="4"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232"/>
              <p:cNvSpPr/>
              <p:nvPr/>
            </p:nvSpPr>
            <p:spPr bwMode="auto">
              <a:xfrm>
                <a:off x="3959" y="4353"/>
                <a:ext cx="14" cy="14"/>
              </a:xfrm>
              <a:custGeom>
                <a:gdLst>
                  <a:gd name="T0" fmla="*/ 4 w 6"/>
                  <a:gd name="T1" fmla="*/ 0 h 6"/>
                  <a:gd name="T2" fmla="*/ 2 w 6"/>
                  <a:gd name="T3" fmla="*/ 2 h 6"/>
                  <a:gd name="T4" fmla="*/ 0 w 6"/>
                  <a:gd name="T5" fmla="*/ 6 h 6"/>
                  <a:gd name="T6" fmla="*/ 1 w 6"/>
                  <a:gd name="T7" fmla="*/ 6 h 6"/>
                  <a:gd name="T8" fmla="*/ 5 w 6"/>
                  <a:gd name="T9" fmla="*/ 5 h 6"/>
                  <a:gd name="T10" fmla="*/ 4 w 6"/>
                  <a:gd name="T11" fmla="*/ 0 h 6"/>
                </a:gdLst>
                <a:cxnLst>
                  <a:cxn ang="0">
                    <a:pos x="T0" y="T1"/>
                  </a:cxn>
                  <a:cxn ang="0">
                    <a:pos x="T2" y="T3"/>
                  </a:cxn>
                  <a:cxn ang="0">
                    <a:pos x="T4" y="T5"/>
                  </a:cxn>
                  <a:cxn ang="0">
                    <a:pos x="T6" y="T7"/>
                  </a:cxn>
                  <a:cxn ang="0">
                    <a:pos x="T8" y="T9"/>
                  </a:cxn>
                  <a:cxn ang="0">
                    <a:pos x="T10" y="T11"/>
                  </a:cxn>
                </a:cxnLst>
                <a:rect l="0" t="0" r="r" b="b"/>
                <a:pathLst>
                  <a:path w="6" h="6">
                    <a:moveTo>
                      <a:pt x="4" y="0"/>
                    </a:moveTo>
                    <a:cubicBezTo>
                      <a:pt x="3" y="0"/>
                      <a:pt x="2" y="0"/>
                      <a:pt x="2" y="2"/>
                    </a:cubicBezTo>
                    <a:cubicBezTo>
                      <a:pt x="1" y="4"/>
                      <a:pt x="2" y="6"/>
                      <a:pt x="0" y="6"/>
                    </a:cubicBezTo>
                    <a:cubicBezTo>
                      <a:pt x="0" y="6"/>
                      <a:pt x="1" y="6"/>
                      <a:pt x="1" y="6"/>
                    </a:cubicBezTo>
                    <a:cubicBezTo>
                      <a:pt x="3" y="6"/>
                      <a:pt x="4" y="6"/>
                      <a:pt x="5" y="5"/>
                    </a:cubicBezTo>
                    <a:cubicBezTo>
                      <a:pt x="6" y="2"/>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233"/>
              <p:cNvSpPr/>
              <p:nvPr/>
            </p:nvSpPr>
            <p:spPr bwMode="auto">
              <a:xfrm>
                <a:off x="5559" y="4452"/>
                <a:ext cx="14" cy="29"/>
              </a:xfrm>
              <a:custGeom>
                <a:gdLst>
                  <a:gd name="T0" fmla="*/ 4 w 6"/>
                  <a:gd name="T1" fmla="*/ 0 h 12"/>
                  <a:gd name="T2" fmla="*/ 4 w 6"/>
                  <a:gd name="T3" fmla="*/ 7 h 12"/>
                  <a:gd name="T4" fmla="*/ 6 w 6"/>
                  <a:gd name="T5" fmla="*/ 12 h 12"/>
                  <a:gd name="T6" fmla="*/ 4 w 6"/>
                  <a:gd name="T7" fmla="*/ 0 h 12"/>
                </a:gdLst>
                <a:cxnLst>
                  <a:cxn ang="0">
                    <a:pos x="T0" y="T1"/>
                  </a:cxn>
                  <a:cxn ang="0">
                    <a:pos x="T2" y="T3"/>
                  </a:cxn>
                  <a:cxn ang="0">
                    <a:pos x="T4" y="T5"/>
                  </a:cxn>
                  <a:cxn ang="0">
                    <a:pos x="T6" y="T7"/>
                  </a:cxn>
                </a:cxnLst>
                <a:rect l="0" t="0" r="r" b="b"/>
                <a:pathLst>
                  <a:path w="6" h="12">
                    <a:moveTo>
                      <a:pt x="4" y="0"/>
                    </a:moveTo>
                    <a:cubicBezTo>
                      <a:pt x="0" y="2"/>
                      <a:pt x="3" y="4"/>
                      <a:pt x="4" y="7"/>
                    </a:cubicBezTo>
                    <a:cubicBezTo>
                      <a:pt x="4" y="9"/>
                      <a:pt x="4" y="11"/>
                      <a:pt x="6" y="12"/>
                    </a:cubicBezTo>
                    <a:cubicBezTo>
                      <a:pt x="6" y="8"/>
                      <a:pt x="5"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234"/>
              <p:cNvSpPr/>
              <p:nvPr/>
            </p:nvSpPr>
            <p:spPr bwMode="auto">
              <a:xfrm>
                <a:off x="3891" y="4206"/>
                <a:ext cx="14" cy="10"/>
              </a:xfrm>
              <a:custGeom>
                <a:gdLst>
                  <a:gd name="T0" fmla="*/ 2 w 6"/>
                  <a:gd name="T1" fmla="*/ 0 h 4"/>
                  <a:gd name="T2" fmla="*/ 0 w 6"/>
                  <a:gd name="T3" fmla="*/ 0 h 4"/>
                  <a:gd name="T4" fmla="*/ 6 w 6"/>
                  <a:gd name="T5" fmla="*/ 4 h 4"/>
                  <a:gd name="T6" fmla="*/ 2 w 6"/>
                  <a:gd name="T7" fmla="*/ 0 h 4"/>
                </a:gdLst>
                <a:cxnLst>
                  <a:cxn ang="0">
                    <a:pos x="T0" y="T1"/>
                  </a:cxn>
                  <a:cxn ang="0">
                    <a:pos x="T2" y="T3"/>
                  </a:cxn>
                  <a:cxn ang="0">
                    <a:pos x="T4" y="T5"/>
                  </a:cxn>
                  <a:cxn ang="0">
                    <a:pos x="T6" y="T7"/>
                  </a:cxn>
                </a:cxnLst>
                <a:rect l="0" t="0" r="r" b="b"/>
                <a:pathLst>
                  <a:path w="6" h="4">
                    <a:moveTo>
                      <a:pt x="2" y="0"/>
                    </a:moveTo>
                    <a:cubicBezTo>
                      <a:pt x="1" y="0"/>
                      <a:pt x="1" y="0"/>
                      <a:pt x="0" y="0"/>
                    </a:cubicBezTo>
                    <a:cubicBezTo>
                      <a:pt x="2" y="2"/>
                      <a:pt x="4" y="3"/>
                      <a:pt x="6" y="4"/>
                    </a:cubicBezTo>
                    <a:cubicBezTo>
                      <a:pt x="6"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235"/>
              <p:cNvSpPr/>
              <p:nvPr/>
            </p:nvSpPr>
            <p:spPr bwMode="auto">
              <a:xfrm>
                <a:off x="5424" y="4424"/>
                <a:ext cx="5" cy="14"/>
              </a:xfrm>
              <a:custGeom>
                <a:gdLst>
                  <a:gd name="T0" fmla="*/ 1 w 2"/>
                  <a:gd name="T1" fmla="*/ 0 h 6"/>
                  <a:gd name="T2" fmla="*/ 0 w 2"/>
                  <a:gd name="T3" fmla="*/ 5 h 6"/>
                  <a:gd name="T4" fmla="*/ 1 w 2"/>
                  <a:gd name="T5" fmla="*/ 6 h 6"/>
                  <a:gd name="T6" fmla="*/ 1 w 2"/>
                  <a:gd name="T7" fmla="*/ 0 h 6"/>
                </a:gdLst>
                <a:cxnLst>
                  <a:cxn ang="0">
                    <a:pos x="T0" y="T1"/>
                  </a:cxn>
                  <a:cxn ang="0">
                    <a:pos x="T2" y="T3"/>
                  </a:cxn>
                  <a:cxn ang="0">
                    <a:pos x="T4" y="T5"/>
                  </a:cxn>
                  <a:cxn ang="0">
                    <a:pos x="T6" y="T7"/>
                  </a:cxn>
                </a:cxnLst>
                <a:rect l="0" t="0" r="r" b="b"/>
                <a:pathLst>
                  <a:path w="2" h="6">
                    <a:moveTo>
                      <a:pt x="1" y="0"/>
                    </a:moveTo>
                    <a:cubicBezTo>
                      <a:pt x="1" y="0"/>
                      <a:pt x="0" y="4"/>
                      <a:pt x="0" y="5"/>
                    </a:cubicBezTo>
                    <a:cubicBezTo>
                      <a:pt x="1" y="5"/>
                      <a:pt x="1" y="6"/>
                      <a:pt x="1" y="6"/>
                    </a:cubicBezTo>
                    <a:cubicBezTo>
                      <a:pt x="2" y="6"/>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236"/>
              <p:cNvSpPr/>
              <p:nvPr/>
            </p:nvSpPr>
            <p:spPr bwMode="auto">
              <a:xfrm>
                <a:off x="5393" y="4568"/>
                <a:ext cx="19" cy="14"/>
              </a:xfrm>
              <a:custGeom>
                <a:gdLst>
                  <a:gd name="T0" fmla="*/ 2 w 8"/>
                  <a:gd name="T1" fmla="*/ 0 h 6"/>
                  <a:gd name="T2" fmla="*/ 3 w 8"/>
                  <a:gd name="T3" fmla="*/ 6 h 6"/>
                  <a:gd name="T4" fmla="*/ 4 w 8"/>
                  <a:gd name="T5" fmla="*/ 6 h 6"/>
                  <a:gd name="T6" fmla="*/ 7 w 8"/>
                  <a:gd name="T7" fmla="*/ 4 h 6"/>
                  <a:gd name="T8" fmla="*/ 2 w 8"/>
                  <a:gd name="T9" fmla="*/ 0 h 6"/>
                </a:gdLst>
                <a:cxnLst>
                  <a:cxn ang="0">
                    <a:pos x="T0" y="T1"/>
                  </a:cxn>
                  <a:cxn ang="0">
                    <a:pos x="T2" y="T3"/>
                  </a:cxn>
                  <a:cxn ang="0">
                    <a:pos x="T4" y="T5"/>
                  </a:cxn>
                  <a:cxn ang="0">
                    <a:pos x="T6" y="T7"/>
                  </a:cxn>
                  <a:cxn ang="0">
                    <a:pos x="T8" y="T9"/>
                  </a:cxn>
                </a:cxnLst>
                <a:rect l="0" t="0" r="r" b="b"/>
                <a:pathLst>
                  <a:path w="8" h="6">
                    <a:moveTo>
                      <a:pt x="2" y="0"/>
                    </a:moveTo>
                    <a:cubicBezTo>
                      <a:pt x="0" y="1"/>
                      <a:pt x="0" y="5"/>
                      <a:pt x="3" y="6"/>
                    </a:cubicBezTo>
                    <a:cubicBezTo>
                      <a:pt x="3" y="6"/>
                      <a:pt x="4" y="6"/>
                      <a:pt x="4" y="6"/>
                    </a:cubicBezTo>
                    <a:cubicBezTo>
                      <a:pt x="5" y="6"/>
                      <a:pt x="7" y="6"/>
                      <a:pt x="7" y="4"/>
                    </a:cubicBezTo>
                    <a:cubicBezTo>
                      <a:pt x="8" y="1"/>
                      <a:pt x="6"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237"/>
              <p:cNvSpPr/>
              <p:nvPr/>
            </p:nvSpPr>
            <p:spPr bwMode="auto">
              <a:xfrm>
                <a:off x="5183" y="4828"/>
                <a:ext cx="14" cy="19"/>
              </a:xfrm>
              <a:custGeom>
                <a:gdLst>
                  <a:gd name="T0" fmla="*/ 3 w 6"/>
                  <a:gd name="T1" fmla="*/ 0 h 8"/>
                  <a:gd name="T2" fmla="*/ 2 w 6"/>
                  <a:gd name="T3" fmla="*/ 6 h 8"/>
                  <a:gd name="T4" fmla="*/ 2 w 6"/>
                  <a:gd name="T5" fmla="*/ 8 h 8"/>
                  <a:gd name="T6" fmla="*/ 4 w 6"/>
                  <a:gd name="T7" fmla="*/ 7 h 8"/>
                  <a:gd name="T8" fmla="*/ 3 w 6"/>
                  <a:gd name="T9" fmla="*/ 0 h 8"/>
                </a:gdLst>
                <a:cxnLst>
                  <a:cxn ang="0">
                    <a:pos x="T0" y="T1"/>
                  </a:cxn>
                  <a:cxn ang="0">
                    <a:pos x="T2" y="T3"/>
                  </a:cxn>
                  <a:cxn ang="0">
                    <a:pos x="T4" y="T5"/>
                  </a:cxn>
                  <a:cxn ang="0">
                    <a:pos x="T6" y="T7"/>
                  </a:cxn>
                  <a:cxn ang="0">
                    <a:pos x="T8" y="T9"/>
                  </a:cxn>
                </a:cxnLst>
                <a:rect l="0" t="0" r="r" b="b"/>
                <a:pathLst>
                  <a:path w="6" h="8">
                    <a:moveTo>
                      <a:pt x="3" y="0"/>
                    </a:moveTo>
                    <a:cubicBezTo>
                      <a:pt x="2" y="3"/>
                      <a:pt x="0" y="4"/>
                      <a:pt x="2" y="6"/>
                    </a:cubicBezTo>
                    <a:cubicBezTo>
                      <a:pt x="2" y="7"/>
                      <a:pt x="2" y="8"/>
                      <a:pt x="2" y="8"/>
                    </a:cubicBezTo>
                    <a:cubicBezTo>
                      <a:pt x="2" y="8"/>
                      <a:pt x="3" y="8"/>
                      <a:pt x="4" y="7"/>
                    </a:cubicBezTo>
                    <a:cubicBezTo>
                      <a:pt x="6" y="3"/>
                      <a:pt x="6" y="4"/>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238"/>
              <p:cNvSpPr/>
              <p:nvPr/>
            </p:nvSpPr>
            <p:spPr bwMode="auto">
              <a:xfrm>
                <a:off x="6301" y="4814"/>
                <a:ext cx="23" cy="14"/>
              </a:xfrm>
              <a:custGeom>
                <a:gdLst>
                  <a:gd name="T0" fmla="*/ 7 w 10"/>
                  <a:gd name="T1" fmla="*/ 0 h 6"/>
                  <a:gd name="T2" fmla="*/ 0 w 10"/>
                  <a:gd name="T3" fmla="*/ 4 h 6"/>
                  <a:gd name="T4" fmla="*/ 6 w 10"/>
                  <a:gd name="T5" fmla="*/ 6 h 6"/>
                  <a:gd name="T6" fmla="*/ 6 w 10"/>
                  <a:gd name="T7" fmla="*/ 6 h 6"/>
                  <a:gd name="T8" fmla="*/ 7 w 10"/>
                  <a:gd name="T9" fmla="*/ 0 h 6"/>
                </a:gdLst>
                <a:cxnLst>
                  <a:cxn ang="0">
                    <a:pos x="T0" y="T1"/>
                  </a:cxn>
                  <a:cxn ang="0">
                    <a:pos x="T2" y="T3"/>
                  </a:cxn>
                  <a:cxn ang="0">
                    <a:pos x="T4" y="T5"/>
                  </a:cxn>
                  <a:cxn ang="0">
                    <a:pos x="T6" y="T7"/>
                  </a:cxn>
                  <a:cxn ang="0">
                    <a:pos x="T8" y="T9"/>
                  </a:cxn>
                </a:cxnLst>
                <a:rect l="0" t="0" r="r" b="b"/>
                <a:pathLst>
                  <a:path w="10" h="6">
                    <a:moveTo>
                      <a:pt x="7" y="0"/>
                    </a:moveTo>
                    <a:cubicBezTo>
                      <a:pt x="6" y="0"/>
                      <a:pt x="0" y="2"/>
                      <a:pt x="0" y="4"/>
                    </a:cubicBezTo>
                    <a:cubicBezTo>
                      <a:pt x="0" y="5"/>
                      <a:pt x="5" y="6"/>
                      <a:pt x="6" y="6"/>
                    </a:cubicBezTo>
                    <a:cubicBezTo>
                      <a:pt x="6" y="6"/>
                      <a:pt x="6" y="6"/>
                      <a:pt x="6" y="6"/>
                    </a:cubicBezTo>
                    <a:cubicBezTo>
                      <a:pt x="10" y="5"/>
                      <a:pt x="8"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239"/>
              <p:cNvSpPr/>
              <p:nvPr/>
            </p:nvSpPr>
            <p:spPr bwMode="auto">
              <a:xfrm>
                <a:off x="6140" y="4379"/>
                <a:ext cx="36" cy="28"/>
              </a:xfrm>
              <a:custGeom>
                <a:gdLst>
                  <a:gd name="T0" fmla="*/ 1 w 15"/>
                  <a:gd name="T1" fmla="*/ 0 h 12"/>
                  <a:gd name="T2" fmla="*/ 0 w 15"/>
                  <a:gd name="T3" fmla="*/ 1 h 12"/>
                  <a:gd name="T4" fmla="*/ 3 w 15"/>
                  <a:gd name="T5" fmla="*/ 12 h 12"/>
                  <a:gd name="T6" fmla="*/ 4 w 15"/>
                  <a:gd name="T7" fmla="*/ 12 h 12"/>
                  <a:gd name="T8" fmla="*/ 6 w 15"/>
                  <a:gd name="T9" fmla="*/ 12 h 12"/>
                  <a:gd name="T10" fmla="*/ 7 w 15"/>
                  <a:gd name="T11" fmla="*/ 12 h 12"/>
                  <a:gd name="T12" fmla="*/ 7 w 15"/>
                  <a:gd name="T13" fmla="*/ 12 h 12"/>
                  <a:gd name="T14" fmla="*/ 9 w 15"/>
                  <a:gd name="T15" fmla="*/ 12 h 12"/>
                  <a:gd name="T16" fmla="*/ 15 w 15"/>
                  <a:gd name="T17" fmla="*/ 9 h 12"/>
                  <a:gd name="T18" fmla="*/ 15 w 15"/>
                  <a:gd name="T19" fmla="*/ 9 h 12"/>
                  <a:gd name="T20" fmla="*/ 13 w 15"/>
                  <a:gd name="T21" fmla="*/ 9 h 12"/>
                  <a:gd name="T22" fmla="*/ 10 w 15"/>
                  <a:gd name="T23" fmla="*/ 9 h 12"/>
                  <a:gd name="T24" fmla="*/ 7 w 15"/>
                  <a:gd name="T25" fmla="*/ 5 h 12"/>
                  <a:gd name="T26" fmla="*/ 1 w 15"/>
                  <a:gd name="T27"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2">
                    <a:moveTo>
                      <a:pt x="1" y="0"/>
                    </a:moveTo>
                    <a:cubicBezTo>
                      <a:pt x="0" y="0"/>
                      <a:pt x="0" y="0"/>
                      <a:pt x="0" y="1"/>
                    </a:cubicBezTo>
                    <a:cubicBezTo>
                      <a:pt x="0" y="3"/>
                      <a:pt x="1" y="11"/>
                      <a:pt x="3" y="12"/>
                    </a:cubicBezTo>
                    <a:cubicBezTo>
                      <a:pt x="3" y="12"/>
                      <a:pt x="3" y="12"/>
                      <a:pt x="4" y="12"/>
                    </a:cubicBezTo>
                    <a:cubicBezTo>
                      <a:pt x="5" y="12"/>
                      <a:pt x="5" y="12"/>
                      <a:pt x="6" y="12"/>
                    </a:cubicBezTo>
                    <a:cubicBezTo>
                      <a:pt x="6" y="12"/>
                      <a:pt x="7" y="12"/>
                      <a:pt x="7" y="12"/>
                    </a:cubicBezTo>
                    <a:cubicBezTo>
                      <a:pt x="7" y="12"/>
                      <a:pt x="7" y="12"/>
                      <a:pt x="7" y="12"/>
                    </a:cubicBezTo>
                    <a:cubicBezTo>
                      <a:pt x="7" y="12"/>
                      <a:pt x="8" y="12"/>
                      <a:pt x="9" y="12"/>
                    </a:cubicBezTo>
                    <a:cubicBezTo>
                      <a:pt x="11" y="12"/>
                      <a:pt x="13" y="11"/>
                      <a:pt x="15" y="9"/>
                    </a:cubicBezTo>
                    <a:cubicBezTo>
                      <a:pt x="15" y="9"/>
                      <a:pt x="15" y="9"/>
                      <a:pt x="15" y="9"/>
                    </a:cubicBezTo>
                    <a:cubicBezTo>
                      <a:pt x="14" y="9"/>
                      <a:pt x="13" y="9"/>
                      <a:pt x="13" y="9"/>
                    </a:cubicBezTo>
                    <a:cubicBezTo>
                      <a:pt x="10" y="9"/>
                      <a:pt x="10" y="9"/>
                      <a:pt x="10" y="9"/>
                    </a:cubicBezTo>
                    <a:cubicBezTo>
                      <a:pt x="9" y="8"/>
                      <a:pt x="8" y="5"/>
                      <a:pt x="7" y="5"/>
                    </a:cubicBezTo>
                    <a:cubicBezTo>
                      <a:pt x="7"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240"/>
              <p:cNvSpPr/>
              <p:nvPr/>
            </p:nvSpPr>
            <p:spPr bwMode="auto">
              <a:xfrm>
                <a:off x="5471" y="4812"/>
                <a:ext cx="52" cy="19"/>
              </a:xfrm>
              <a:custGeom>
                <a:gdLst>
                  <a:gd name="T0" fmla="*/ 13 w 22"/>
                  <a:gd name="T1" fmla="*/ 0 h 8"/>
                  <a:gd name="T2" fmla="*/ 9 w 22"/>
                  <a:gd name="T3" fmla="*/ 0 h 8"/>
                  <a:gd name="T4" fmla="*/ 5 w 22"/>
                  <a:gd name="T5" fmla="*/ 0 h 8"/>
                  <a:gd name="T6" fmla="*/ 5 w 22"/>
                  <a:gd name="T7" fmla="*/ 0 h 8"/>
                  <a:gd name="T8" fmla="*/ 4 w 22"/>
                  <a:gd name="T9" fmla="*/ 3 h 8"/>
                  <a:gd name="T10" fmla="*/ 6 w 22"/>
                  <a:gd name="T11" fmla="*/ 2 h 8"/>
                  <a:gd name="T12" fmla="*/ 3 w 22"/>
                  <a:gd name="T13" fmla="*/ 4 h 8"/>
                  <a:gd name="T14" fmla="*/ 4 w 22"/>
                  <a:gd name="T15" fmla="*/ 8 h 8"/>
                  <a:gd name="T16" fmla="*/ 6 w 22"/>
                  <a:gd name="T17" fmla="*/ 7 h 8"/>
                  <a:gd name="T18" fmla="*/ 13 w 22"/>
                  <a:gd name="T19" fmla="*/ 7 h 8"/>
                  <a:gd name="T20" fmla="*/ 20 w 22"/>
                  <a:gd name="T21" fmla="*/ 5 h 8"/>
                  <a:gd name="T22" fmla="*/ 20 w 22"/>
                  <a:gd name="T23" fmla="*/ 1 h 8"/>
                  <a:gd name="T24" fmla="*/ 13 w 22"/>
                  <a:gd name="T25"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8">
                    <a:moveTo>
                      <a:pt x="13" y="0"/>
                    </a:moveTo>
                    <a:cubicBezTo>
                      <a:pt x="11" y="0"/>
                      <a:pt x="10" y="0"/>
                      <a:pt x="9" y="0"/>
                    </a:cubicBezTo>
                    <a:cubicBezTo>
                      <a:pt x="7" y="0"/>
                      <a:pt x="6" y="0"/>
                      <a:pt x="5" y="0"/>
                    </a:cubicBezTo>
                    <a:cubicBezTo>
                      <a:pt x="5" y="0"/>
                      <a:pt x="5" y="0"/>
                      <a:pt x="5" y="0"/>
                    </a:cubicBezTo>
                    <a:cubicBezTo>
                      <a:pt x="3" y="2"/>
                      <a:pt x="2" y="3"/>
                      <a:pt x="4" y="3"/>
                    </a:cubicBezTo>
                    <a:cubicBezTo>
                      <a:pt x="4" y="3"/>
                      <a:pt x="5" y="3"/>
                      <a:pt x="6" y="2"/>
                    </a:cubicBezTo>
                    <a:cubicBezTo>
                      <a:pt x="5" y="3"/>
                      <a:pt x="4" y="4"/>
                      <a:pt x="3" y="4"/>
                    </a:cubicBezTo>
                    <a:cubicBezTo>
                      <a:pt x="0" y="7"/>
                      <a:pt x="2" y="8"/>
                      <a:pt x="4" y="8"/>
                    </a:cubicBezTo>
                    <a:cubicBezTo>
                      <a:pt x="4" y="8"/>
                      <a:pt x="5" y="8"/>
                      <a:pt x="6" y="7"/>
                    </a:cubicBezTo>
                    <a:cubicBezTo>
                      <a:pt x="8" y="7"/>
                      <a:pt x="10" y="7"/>
                      <a:pt x="13" y="7"/>
                    </a:cubicBezTo>
                    <a:cubicBezTo>
                      <a:pt x="14" y="6"/>
                      <a:pt x="18" y="6"/>
                      <a:pt x="20" y="5"/>
                    </a:cubicBezTo>
                    <a:cubicBezTo>
                      <a:pt x="21" y="5"/>
                      <a:pt x="22" y="3"/>
                      <a:pt x="20" y="1"/>
                    </a:cubicBezTo>
                    <a:cubicBezTo>
                      <a:pt x="19" y="0"/>
                      <a:pt x="16"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241"/>
              <p:cNvSpPr/>
              <p:nvPr/>
            </p:nvSpPr>
            <p:spPr bwMode="auto">
              <a:xfrm>
                <a:off x="5840" y="4389"/>
                <a:ext cx="26" cy="26"/>
              </a:xfrm>
              <a:custGeom>
                <a:gdLst>
                  <a:gd name="T0" fmla="*/ 7 w 11"/>
                  <a:gd name="T1" fmla="*/ 0 h 11"/>
                  <a:gd name="T2" fmla="*/ 6 w 11"/>
                  <a:gd name="T3" fmla="*/ 0 h 11"/>
                  <a:gd name="T4" fmla="*/ 2 w 11"/>
                  <a:gd name="T5" fmla="*/ 5 h 11"/>
                  <a:gd name="T6" fmla="*/ 6 w 11"/>
                  <a:gd name="T7" fmla="*/ 11 h 11"/>
                  <a:gd name="T8" fmla="*/ 6 w 11"/>
                  <a:gd name="T9" fmla="*/ 11 h 11"/>
                  <a:gd name="T10" fmla="*/ 11 w 11"/>
                  <a:gd name="T11" fmla="*/ 3 h 11"/>
                  <a:gd name="T12" fmla="*/ 7 w 11"/>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11" h="11">
                    <a:moveTo>
                      <a:pt x="7" y="0"/>
                    </a:moveTo>
                    <a:cubicBezTo>
                      <a:pt x="7" y="0"/>
                      <a:pt x="6" y="0"/>
                      <a:pt x="6" y="0"/>
                    </a:cubicBezTo>
                    <a:cubicBezTo>
                      <a:pt x="2" y="0"/>
                      <a:pt x="0" y="2"/>
                      <a:pt x="2" y="5"/>
                    </a:cubicBezTo>
                    <a:cubicBezTo>
                      <a:pt x="2" y="6"/>
                      <a:pt x="4" y="11"/>
                      <a:pt x="6" y="11"/>
                    </a:cubicBezTo>
                    <a:cubicBezTo>
                      <a:pt x="6" y="11"/>
                      <a:pt x="6" y="11"/>
                      <a:pt x="6" y="11"/>
                    </a:cubicBezTo>
                    <a:cubicBezTo>
                      <a:pt x="9" y="11"/>
                      <a:pt x="11" y="5"/>
                      <a:pt x="11" y="3"/>
                    </a:cubicBezTo>
                    <a:cubicBezTo>
                      <a:pt x="10" y="1"/>
                      <a:pt x="10"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242"/>
              <p:cNvSpPr/>
              <p:nvPr/>
            </p:nvSpPr>
            <p:spPr bwMode="auto">
              <a:xfrm>
                <a:off x="5828" y="4384"/>
                <a:ext cx="17" cy="7"/>
              </a:xfrm>
              <a:custGeom>
                <a:gdLst>
                  <a:gd name="T0" fmla="*/ 4 w 7"/>
                  <a:gd name="T1" fmla="*/ 0 h 3"/>
                  <a:gd name="T2" fmla="*/ 3 w 7"/>
                  <a:gd name="T3" fmla="*/ 1 h 3"/>
                  <a:gd name="T4" fmla="*/ 2 w 7"/>
                  <a:gd name="T5" fmla="*/ 0 h 3"/>
                  <a:gd name="T6" fmla="*/ 1 w 7"/>
                  <a:gd name="T7" fmla="*/ 0 h 3"/>
                  <a:gd name="T8" fmla="*/ 1 w 7"/>
                  <a:gd name="T9" fmla="*/ 0 h 3"/>
                  <a:gd name="T10" fmla="*/ 0 w 7"/>
                  <a:gd name="T11" fmla="*/ 3 h 3"/>
                  <a:gd name="T12" fmla="*/ 7 w 7"/>
                  <a:gd name="T13" fmla="*/ 0 h 3"/>
                  <a:gd name="T14" fmla="*/ 6 w 7"/>
                  <a:gd name="T15" fmla="*/ 0 h 3"/>
                  <a:gd name="T16" fmla="*/ 5 w 7"/>
                  <a:gd name="T17" fmla="*/ 0 h 3"/>
                  <a:gd name="T18" fmla="*/ 5 w 7"/>
                  <a:gd name="T19" fmla="*/ 0 h 3"/>
                  <a:gd name="T20" fmla="*/ 4 w 7"/>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4" y="0"/>
                    </a:moveTo>
                    <a:cubicBezTo>
                      <a:pt x="3" y="1"/>
                      <a:pt x="3" y="1"/>
                      <a:pt x="3" y="1"/>
                    </a:cubicBezTo>
                    <a:cubicBezTo>
                      <a:pt x="2" y="1"/>
                      <a:pt x="2" y="1"/>
                      <a:pt x="2" y="0"/>
                    </a:cubicBezTo>
                    <a:cubicBezTo>
                      <a:pt x="2" y="0"/>
                      <a:pt x="2" y="0"/>
                      <a:pt x="1" y="0"/>
                    </a:cubicBezTo>
                    <a:cubicBezTo>
                      <a:pt x="1" y="0"/>
                      <a:pt x="1" y="0"/>
                      <a:pt x="1" y="0"/>
                    </a:cubicBezTo>
                    <a:cubicBezTo>
                      <a:pt x="1" y="0"/>
                      <a:pt x="1" y="2"/>
                      <a:pt x="0" y="3"/>
                    </a:cubicBezTo>
                    <a:cubicBezTo>
                      <a:pt x="2" y="2"/>
                      <a:pt x="4" y="1"/>
                      <a:pt x="7" y="0"/>
                    </a:cubicBezTo>
                    <a:cubicBezTo>
                      <a:pt x="7" y="0"/>
                      <a:pt x="6" y="0"/>
                      <a:pt x="6" y="0"/>
                    </a:cubicBezTo>
                    <a:cubicBezTo>
                      <a:pt x="6" y="0"/>
                      <a:pt x="6" y="0"/>
                      <a:pt x="5" y="0"/>
                    </a:cubicBezTo>
                    <a:cubicBezTo>
                      <a:pt x="5" y="0"/>
                      <a:pt x="5" y="0"/>
                      <a:pt x="5"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243"/>
              <p:cNvSpPr/>
              <p:nvPr/>
            </p:nvSpPr>
            <p:spPr bwMode="auto">
              <a:xfrm>
                <a:off x="4316" y="4337"/>
                <a:ext cx="28" cy="18"/>
              </a:xfrm>
              <a:custGeom>
                <a:gdLst>
                  <a:gd name="T0" fmla="*/ 2 w 12"/>
                  <a:gd name="T1" fmla="*/ 0 h 8"/>
                  <a:gd name="T2" fmla="*/ 0 w 12"/>
                  <a:gd name="T3" fmla="*/ 5 h 8"/>
                  <a:gd name="T4" fmla="*/ 3 w 12"/>
                  <a:gd name="T5" fmla="*/ 6 h 8"/>
                  <a:gd name="T6" fmla="*/ 3 w 12"/>
                  <a:gd name="T7" fmla="*/ 6 h 8"/>
                  <a:gd name="T8" fmla="*/ 7 w 12"/>
                  <a:gd name="T9" fmla="*/ 5 h 8"/>
                  <a:gd name="T10" fmla="*/ 7 w 12"/>
                  <a:gd name="T11" fmla="*/ 5 h 8"/>
                  <a:gd name="T12" fmla="*/ 12 w 12"/>
                  <a:gd name="T13" fmla="*/ 8 h 8"/>
                  <a:gd name="T14" fmla="*/ 2 w 12"/>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2" y="0"/>
                    </a:moveTo>
                    <a:cubicBezTo>
                      <a:pt x="2" y="2"/>
                      <a:pt x="0" y="4"/>
                      <a:pt x="0" y="5"/>
                    </a:cubicBezTo>
                    <a:cubicBezTo>
                      <a:pt x="0" y="6"/>
                      <a:pt x="3" y="6"/>
                      <a:pt x="3" y="6"/>
                    </a:cubicBezTo>
                    <a:cubicBezTo>
                      <a:pt x="3" y="6"/>
                      <a:pt x="3" y="6"/>
                      <a:pt x="3" y="6"/>
                    </a:cubicBezTo>
                    <a:cubicBezTo>
                      <a:pt x="5" y="6"/>
                      <a:pt x="6" y="5"/>
                      <a:pt x="7" y="5"/>
                    </a:cubicBezTo>
                    <a:cubicBezTo>
                      <a:pt x="7" y="5"/>
                      <a:pt x="7" y="5"/>
                      <a:pt x="7" y="5"/>
                    </a:cubicBezTo>
                    <a:cubicBezTo>
                      <a:pt x="9" y="6"/>
                      <a:pt x="11" y="8"/>
                      <a:pt x="12" y="8"/>
                    </a:cubicBezTo>
                    <a:cubicBezTo>
                      <a:pt x="9" y="5"/>
                      <a:pt x="6"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244"/>
              <p:cNvSpPr/>
              <p:nvPr/>
            </p:nvSpPr>
            <p:spPr bwMode="auto">
              <a:xfrm>
                <a:off x="5701" y="4183"/>
                <a:ext cx="23" cy="38"/>
              </a:xfrm>
              <a:custGeom>
                <a:gdLst>
                  <a:gd name="T0" fmla="*/ 8 w 10"/>
                  <a:gd name="T1" fmla="*/ 0 h 16"/>
                  <a:gd name="T2" fmla="*/ 0 w 10"/>
                  <a:gd name="T3" fmla="*/ 8 h 16"/>
                  <a:gd name="T4" fmla="*/ 0 w 10"/>
                  <a:gd name="T5" fmla="*/ 12 h 16"/>
                  <a:gd name="T6" fmla="*/ 1 w 10"/>
                  <a:gd name="T7" fmla="*/ 16 h 16"/>
                  <a:gd name="T8" fmla="*/ 7 w 10"/>
                  <a:gd name="T9" fmla="*/ 14 h 16"/>
                  <a:gd name="T10" fmla="*/ 8 w 10"/>
                  <a:gd name="T11" fmla="*/ 0 h 16"/>
                </a:gdLst>
                <a:cxnLst>
                  <a:cxn ang="0">
                    <a:pos x="T0" y="T1"/>
                  </a:cxn>
                  <a:cxn ang="0">
                    <a:pos x="T2" y="T3"/>
                  </a:cxn>
                  <a:cxn ang="0">
                    <a:pos x="T4" y="T5"/>
                  </a:cxn>
                  <a:cxn ang="0">
                    <a:pos x="T6" y="T7"/>
                  </a:cxn>
                  <a:cxn ang="0">
                    <a:pos x="T8" y="T9"/>
                  </a:cxn>
                  <a:cxn ang="0">
                    <a:pos x="T10" y="T11"/>
                  </a:cxn>
                </a:cxnLst>
                <a:rect l="0" t="0" r="r" b="b"/>
                <a:pathLst>
                  <a:path w="10" h="16">
                    <a:moveTo>
                      <a:pt x="8" y="0"/>
                    </a:moveTo>
                    <a:cubicBezTo>
                      <a:pt x="5" y="2"/>
                      <a:pt x="1" y="5"/>
                      <a:pt x="0" y="8"/>
                    </a:cubicBezTo>
                    <a:cubicBezTo>
                      <a:pt x="0" y="9"/>
                      <a:pt x="0" y="10"/>
                      <a:pt x="0" y="12"/>
                    </a:cubicBezTo>
                    <a:cubicBezTo>
                      <a:pt x="1" y="13"/>
                      <a:pt x="2" y="15"/>
                      <a:pt x="1" y="16"/>
                    </a:cubicBezTo>
                    <a:cubicBezTo>
                      <a:pt x="3" y="16"/>
                      <a:pt x="6" y="15"/>
                      <a:pt x="7" y="14"/>
                    </a:cubicBezTo>
                    <a:cubicBezTo>
                      <a:pt x="10" y="12"/>
                      <a:pt x="10" y="3"/>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245"/>
              <p:cNvSpPr/>
              <p:nvPr/>
            </p:nvSpPr>
            <p:spPr bwMode="auto">
              <a:xfrm>
                <a:off x="5526" y="4441"/>
                <a:ext cx="66" cy="9"/>
              </a:xfrm>
              <a:custGeom>
                <a:gdLst>
                  <a:gd name="T0" fmla="*/ 5 w 28"/>
                  <a:gd name="T1" fmla="*/ 0 h 4"/>
                  <a:gd name="T2" fmla="*/ 5 w 28"/>
                  <a:gd name="T3" fmla="*/ 4 h 4"/>
                  <a:gd name="T4" fmla="*/ 12 w 28"/>
                  <a:gd name="T5" fmla="*/ 3 h 4"/>
                  <a:gd name="T6" fmla="*/ 13 w 28"/>
                  <a:gd name="T7" fmla="*/ 3 h 4"/>
                  <a:gd name="T8" fmla="*/ 15 w 28"/>
                  <a:gd name="T9" fmla="*/ 4 h 4"/>
                  <a:gd name="T10" fmla="*/ 17 w 28"/>
                  <a:gd name="T11" fmla="*/ 4 h 4"/>
                  <a:gd name="T12" fmla="*/ 17 w 28"/>
                  <a:gd name="T13" fmla="*/ 4 h 4"/>
                  <a:gd name="T14" fmla="*/ 28 w 28"/>
                  <a:gd name="T15" fmla="*/ 1 h 4"/>
                  <a:gd name="T16" fmla="*/ 5 w 28"/>
                  <a:gd name="T1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
                    <a:moveTo>
                      <a:pt x="5" y="0"/>
                    </a:moveTo>
                    <a:cubicBezTo>
                      <a:pt x="0" y="2"/>
                      <a:pt x="5" y="2"/>
                      <a:pt x="5" y="4"/>
                    </a:cubicBezTo>
                    <a:cubicBezTo>
                      <a:pt x="8" y="4"/>
                      <a:pt x="10" y="4"/>
                      <a:pt x="12" y="3"/>
                    </a:cubicBezTo>
                    <a:cubicBezTo>
                      <a:pt x="12" y="3"/>
                      <a:pt x="13" y="3"/>
                      <a:pt x="13" y="3"/>
                    </a:cubicBezTo>
                    <a:cubicBezTo>
                      <a:pt x="14" y="3"/>
                      <a:pt x="14" y="3"/>
                      <a:pt x="15" y="4"/>
                    </a:cubicBezTo>
                    <a:cubicBezTo>
                      <a:pt x="16" y="4"/>
                      <a:pt x="16" y="4"/>
                      <a:pt x="17" y="4"/>
                    </a:cubicBezTo>
                    <a:cubicBezTo>
                      <a:pt x="17" y="4"/>
                      <a:pt x="17" y="4"/>
                      <a:pt x="17" y="4"/>
                    </a:cubicBezTo>
                    <a:cubicBezTo>
                      <a:pt x="20" y="3"/>
                      <a:pt x="26" y="3"/>
                      <a:pt x="28" y="1"/>
                    </a:cubicBezTo>
                    <a:cubicBezTo>
                      <a:pt x="20" y="1"/>
                      <a:pt x="12"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246"/>
              <p:cNvSpPr/>
              <p:nvPr/>
            </p:nvSpPr>
            <p:spPr bwMode="auto">
              <a:xfrm>
                <a:off x="5384" y="4946"/>
                <a:ext cx="35" cy="29"/>
              </a:xfrm>
              <a:custGeom>
                <a:gdLst>
                  <a:gd name="T0" fmla="*/ 15 w 15"/>
                  <a:gd name="T1" fmla="*/ 0 h 12"/>
                  <a:gd name="T2" fmla="*/ 6 w 15"/>
                  <a:gd name="T3" fmla="*/ 6 h 12"/>
                  <a:gd name="T4" fmla="*/ 1 w 15"/>
                  <a:gd name="T5" fmla="*/ 8 h 12"/>
                  <a:gd name="T6" fmla="*/ 2 w 15"/>
                  <a:gd name="T7" fmla="*/ 12 h 12"/>
                  <a:gd name="T8" fmla="*/ 8 w 15"/>
                  <a:gd name="T9" fmla="*/ 10 h 12"/>
                  <a:gd name="T10" fmla="*/ 11 w 15"/>
                  <a:gd name="T11" fmla="*/ 9 h 12"/>
                  <a:gd name="T12" fmla="*/ 15 w 15"/>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15" h="12">
                    <a:moveTo>
                      <a:pt x="15" y="0"/>
                    </a:moveTo>
                    <a:cubicBezTo>
                      <a:pt x="12" y="2"/>
                      <a:pt x="9" y="4"/>
                      <a:pt x="6" y="6"/>
                    </a:cubicBezTo>
                    <a:cubicBezTo>
                      <a:pt x="5" y="6"/>
                      <a:pt x="2" y="7"/>
                      <a:pt x="1" y="8"/>
                    </a:cubicBezTo>
                    <a:cubicBezTo>
                      <a:pt x="0" y="11"/>
                      <a:pt x="0" y="12"/>
                      <a:pt x="2" y="12"/>
                    </a:cubicBezTo>
                    <a:cubicBezTo>
                      <a:pt x="4" y="12"/>
                      <a:pt x="7" y="10"/>
                      <a:pt x="8" y="10"/>
                    </a:cubicBezTo>
                    <a:cubicBezTo>
                      <a:pt x="10" y="9"/>
                      <a:pt x="10" y="10"/>
                      <a:pt x="11" y="9"/>
                    </a:cubicBezTo>
                    <a:cubicBezTo>
                      <a:pt x="15" y="5"/>
                      <a:pt x="15" y="6"/>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247"/>
              <p:cNvSpPr/>
              <p:nvPr/>
            </p:nvSpPr>
            <p:spPr bwMode="auto">
              <a:xfrm>
                <a:off x="5788" y="4433"/>
                <a:ext cx="43" cy="24"/>
              </a:xfrm>
              <a:custGeom>
                <a:gdLst>
                  <a:gd name="T0" fmla="*/ 15 w 18"/>
                  <a:gd name="T1" fmla="*/ 0 h 10"/>
                  <a:gd name="T2" fmla="*/ 6 w 18"/>
                  <a:gd name="T3" fmla="*/ 3 h 10"/>
                  <a:gd name="T4" fmla="*/ 0 w 18"/>
                  <a:gd name="T5" fmla="*/ 5 h 10"/>
                  <a:gd name="T6" fmla="*/ 10 w 18"/>
                  <a:gd name="T7" fmla="*/ 10 h 10"/>
                  <a:gd name="T8" fmla="*/ 12 w 18"/>
                  <a:gd name="T9" fmla="*/ 10 h 10"/>
                  <a:gd name="T10" fmla="*/ 14 w 18"/>
                  <a:gd name="T11" fmla="*/ 8 h 10"/>
                  <a:gd name="T12" fmla="*/ 15 w 18"/>
                  <a:gd name="T13" fmla="*/ 8 h 10"/>
                  <a:gd name="T14" fmla="*/ 15 w 18"/>
                  <a:gd name="T15" fmla="*/ 8 h 10"/>
                  <a:gd name="T16" fmla="*/ 16 w 18"/>
                  <a:gd name="T17" fmla="*/ 8 h 10"/>
                  <a:gd name="T18" fmla="*/ 17 w 18"/>
                  <a:gd name="T19" fmla="*/ 8 h 10"/>
                  <a:gd name="T20" fmla="*/ 17 w 18"/>
                  <a:gd name="T21" fmla="*/ 4 h 10"/>
                  <a:gd name="T22" fmla="*/ 15 w 18"/>
                  <a:gd name="T23" fmla="*/ 1 h 10"/>
                  <a:gd name="T24" fmla="*/ 15 w 18"/>
                  <a:gd name="T25" fmla="*/ 1 h 10"/>
                  <a:gd name="T26" fmla="*/ 15 w 18"/>
                  <a:gd name="T2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0">
                    <a:moveTo>
                      <a:pt x="15" y="0"/>
                    </a:moveTo>
                    <a:cubicBezTo>
                      <a:pt x="12" y="0"/>
                      <a:pt x="8" y="2"/>
                      <a:pt x="6" y="3"/>
                    </a:cubicBezTo>
                    <a:cubicBezTo>
                      <a:pt x="4" y="4"/>
                      <a:pt x="2" y="4"/>
                      <a:pt x="0" y="5"/>
                    </a:cubicBezTo>
                    <a:cubicBezTo>
                      <a:pt x="3" y="7"/>
                      <a:pt x="6" y="8"/>
                      <a:pt x="10" y="10"/>
                    </a:cubicBezTo>
                    <a:cubicBezTo>
                      <a:pt x="10" y="10"/>
                      <a:pt x="12" y="10"/>
                      <a:pt x="12" y="10"/>
                    </a:cubicBezTo>
                    <a:cubicBezTo>
                      <a:pt x="13" y="9"/>
                      <a:pt x="14" y="8"/>
                      <a:pt x="14" y="8"/>
                    </a:cubicBezTo>
                    <a:cubicBezTo>
                      <a:pt x="15" y="8"/>
                      <a:pt x="15" y="8"/>
                      <a:pt x="15" y="8"/>
                    </a:cubicBezTo>
                    <a:cubicBezTo>
                      <a:pt x="15" y="8"/>
                      <a:pt x="15" y="8"/>
                      <a:pt x="15" y="8"/>
                    </a:cubicBezTo>
                    <a:cubicBezTo>
                      <a:pt x="16" y="8"/>
                      <a:pt x="16" y="8"/>
                      <a:pt x="16" y="8"/>
                    </a:cubicBezTo>
                    <a:cubicBezTo>
                      <a:pt x="16" y="8"/>
                      <a:pt x="16" y="8"/>
                      <a:pt x="17" y="8"/>
                    </a:cubicBezTo>
                    <a:cubicBezTo>
                      <a:pt x="17" y="8"/>
                      <a:pt x="18" y="5"/>
                      <a:pt x="17" y="4"/>
                    </a:cubicBezTo>
                    <a:cubicBezTo>
                      <a:pt x="17" y="3"/>
                      <a:pt x="15" y="1"/>
                      <a:pt x="15" y="1"/>
                    </a:cubicBezTo>
                    <a:cubicBezTo>
                      <a:pt x="15" y="1"/>
                      <a:pt x="15" y="1"/>
                      <a:pt x="15" y="1"/>
                    </a:cubicBezTo>
                    <a:cubicBezTo>
                      <a:pt x="15"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Freeform 248"/>
              <p:cNvSpPr/>
              <p:nvPr/>
            </p:nvSpPr>
            <p:spPr bwMode="auto">
              <a:xfrm>
                <a:off x="3806" y="4166"/>
                <a:ext cx="44" cy="33"/>
              </a:xfrm>
              <a:custGeom>
                <a:gdLst>
                  <a:gd name="T0" fmla="*/ 3 w 19"/>
                  <a:gd name="T1" fmla="*/ 0 h 14"/>
                  <a:gd name="T2" fmla="*/ 2 w 19"/>
                  <a:gd name="T3" fmla="*/ 4 h 14"/>
                  <a:gd name="T4" fmla="*/ 2 w 19"/>
                  <a:gd name="T5" fmla="*/ 4 h 14"/>
                  <a:gd name="T6" fmla="*/ 4 w 19"/>
                  <a:gd name="T7" fmla="*/ 7 h 14"/>
                  <a:gd name="T8" fmla="*/ 8 w 19"/>
                  <a:gd name="T9" fmla="*/ 8 h 14"/>
                  <a:gd name="T10" fmla="*/ 19 w 19"/>
                  <a:gd name="T11" fmla="*/ 14 h 14"/>
                  <a:gd name="T12" fmla="*/ 19 w 19"/>
                  <a:gd name="T13" fmla="*/ 14 h 14"/>
                  <a:gd name="T14" fmla="*/ 14 w 19"/>
                  <a:gd name="T15" fmla="*/ 8 h 14"/>
                  <a:gd name="T16" fmla="*/ 3 w 19"/>
                  <a:gd name="T1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4">
                    <a:moveTo>
                      <a:pt x="3" y="0"/>
                    </a:moveTo>
                    <a:cubicBezTo>
                      <a:pt x="2" y="1"/>
                      <a:pt x="0" y="4"/>
                      <a:pt x="2" y="4"/>
                    </a:cubicBezTo>
                    <a:cubicBezTo>
                      <a:pt x="2" y="4"/>
                      <a:pt x="2" y="4"/>
                      <a:pt x="2" y="4"/>
                    </a:cubicBezTo>
                    <a:cubicBezTo>
                      <a:pt x="3" y="5"/>
                      <a:pt x="3" y="6"/>
                      <a:pt x="4" y="7"/>
                    </a:cubicBezTo>
                    <a:cubicBezTo>
                      <a:pt x="5" y="8"/>
                      <a:pt x="7" y="8"/>
                      <a:pt x="8" y="8"/>
                    </a:cubicBezTo>
                    <a:cubicBezTo>
                      <a:pt x="11" y="9"/>
                      <a:pt x="16" y="14"/>
                      <a:pt x="19" y="14"/>
                    </a:cubicBezTo>
                    <a:cubicBezTo>
                      <a:pt x="19" y="14"/>
                      <a:pt x="19" y="14"/>
                      <a:pt x="19" y="14"/>
                    </a:cubicBezTo>
                    <a:cubicBezTo>
                      <a:pt x="19" y="10"/>
                      <a:pt x="18" y="10"/>
                      <a:pt x="14" y="8"/>
                    </a:cubicBezTo>
                    <a:cubicBezTo>
                      <a:pt x="11" y="5"/>
                      <a:pt x="7"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Freeform 249"/>
              <p:cNvSpPr/>
              <p:nvPr/>
            </p:nvSpPr>
            <p:spPr bwMode="auto">
              <a:xfrm>
                <a:off x="4989" y="4528"/>
                <a:ext cx="17" cy="45"/>
              </a:xfrm>
              <a:custGeom>
                <a:gdLst>
                  <a:gd name="T0" fmla="*/ 7 w 7"/>
                  <a:gd name="T1" fmla="*/ 0 h 19"/>
                  <a:gd name="T2" fmla="*/ 5 w 7"/>
                  <a:gd name="T3" fmla="*/ 0 h 19"/>
                  <a:gd name="T4" fmla="*/ 4 w 7"/>
                  <a:gd name="T5" fmla="*/ 1 h 19"/>
                  <a:gd name="T6" fmla="*/ 3 w 7"/>
                  <a:gd name="T7" fmla="*/ 1 h 19"/>
                  <a:gd name="T8" fmla="*/ 3 w 7"/>
                  <a:gd name="T9" fmla="*/ 2 h 19"/>
                  <a:gd name="T10" fmla="*/ 2 w 7"/>
                  <a:gd name="T11" fmla="*/ 2 h 19"/>
                  <a:gd name="T12" fmla="*/ 2 w 7"/>
                  <a:gd name="T13" fmla="*/ 3 h 19"/>
                  <a:gd name="T14" fmla="*/ 1 w 7"/>
                  <a:gd name="T15" fmla="*/ 11 h 19"/>
                  <a:gd name="T16" fmla="*/ 2 w 7"/>
                  <a:gd name="T17" fmla="*/ 16 h 19"/>
                  <a:gd name="T18" fmla="*/ 2 w 7"/>
                  <a:gd name="T19" fmla="*/ 16 h 19"/>
                  <a:gd name="T20" fmla="*/ 2 w 7"/>
                  <a:gd name="T21" fmla="*/ 17 h 19"/>
                  <a:gd name="T22" fmla="*/ 1 w 7"/>
                  <a:gd name="T23" fmla="*/ 19 h 19"/>
                  <a:gd name="T24" fmla="*/ 2 w 7"/>
                  <a:gd name="T25" fmla="*/ 19 h 19"/>
                  <a:gd name="T26" fmla="*/ 2 w 7"/>
                  <a:gd name="T27" fmla="*/ 19 h 19"/>
                  <a:gd name="T28" fmla="*/ 2 w 7"/>
                  <a:gd name="T29" fmla="*/ 19 h 19"/>
                  <a:gd name="T30" fmla="*/ 2 w 7"/>
                  <a:gd name="T31" fmla="*/ 19 h 19"/>
                  <a:gd name="T32" fmla="*/ 7 w 7"/>
                  <a:gd name="T33" fmla="*/ 15 h 19"/>
                  <a:gd name="T34" fmla="*/ 7 w 7"/>
                  <a:gd name="T35"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9">
                    <a:moveTo>
                      <a:pt x="7" y="0"/>
                    </a:moveTo>
                    <a:cubicBezTo>
                      <a:pt x="6" y="0"/>
                      <a:pt x="5" y="0"/>
                      <a:pt x="5" y="0"/>
                    </a:cubicBezTo>
                    <a:cubicBezTo>
                      <a:pt x="4" y="0"/>
                      <a:pt x="4" y="1"/>
                      <a:pt x="4" y="1"/>
                    </a:cubicBezTo>
                    <a:cubicBezTo>
                      <a:pt x="3" y="1"/>
                      <a:pt x="3" y="1"/>
                      <a:pt x="3" y="1"/>
                    </a:cubicBezTo>
                    <a:cubicBezTo>
                      <a:pt x="3" y="2"/>
                      <a:pt x="3" y="2"/>
                      <a:pt x="3" y="2"/>
                    </a:cubicBezTo>
                    <a:cubicBezTo>
                      <a:pt x="2" y="2"/>
                      <a:pt x="2" y="2"/>
                      <a:pt x="2" y="2"/>
                    </a:cubicBezTo>
                    <a:cubicBezTo>
                      <a:pt x="2" y="3"/>
                      <a:pt x="2" y="3"/>
                      <a:pt x="2" y="3"/>
                    </a:cubicBezTo>
                    <a:cubicBezTo>
                      <a:pt x="1" y="6"/>
                      <a:pt x="0" y="9"/>
                      <a:pt x="1" y="11"/>
                    </a:cubicBezTo>
                    <a:cubicBezTo>
                      <a:pt x="1" y="13"/>
                      <a:pt x="2" y="15"/>
                      <a:pt x="2" y="16"/>
                    </a:cubicBezTo>
                    <a:cubicBezTo>
                      <a:pt x="2" y="16"/>
                      <a:pt x="2" y="16"/>
                      <a:pt x="2" y="16"/>
                    </a:cubicBezTo>
                    <a:cubicBezTo>
                      <a:pt x="2" y="17"/>
                      <a:pt x="2" y="17"/>
                      <a:pt x="2" y="17"/>
                    </a:cubicBezTo>
                    <a:cubicBezTo>
                      <a:pt x="1" y="18"/>
                      <a:pt x="1" y="18"/>
                      <a:pt x="1" y="19"/>
                    </a:cubicBezTo>
                    <a:cubicBezTo>
                      <a:pt x="1" y="19"/>
                      <a:pt x="2" y="19"/>
                      <a:pt x="2" y="19"/>
                    </a:cubicBezTo>
                    <a:cubicBezTo>
                      <a:pt x="2" y="19"/>
                      <a:pt x="2" y="19"/>
                      <a:pt x="2" y="19"/>
                    </a:cubicBezTo>
                    <a:cubicBezTo>
                      <a:pt x="2" y="19"/>
                      <a:pt x="2" y="19"/>
                      <a:pt x="2" y="19"/>
                    </a:cubicBezTo>
                    <a:cubicBezTo>
                      <a:pt x="2" y="19"/>
                      <a:pt x="2" y="19"/>
                      <a:pt x="2" y="19"/>
                    </a:cubicBezTo>
                    <a:cubicBezTo>
                      <a:pt x="4" y="19"/>
                      <a:pt x="6" y="16"/>
                      <a:pt x="7" y="15"/>
                    </a:cubicBezTo>
                    <a:cubicBezTo>
                      <a:pt x="7" y="10"/>
                      <a:pt x="7" y="5"/>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250"/>
              <p:cNvSpPr/>
              <p:nvPr/>
            </p:nvSpPr>
            <p:spPr bwMode="auto">
              <a:xfrm>
                <a:off x="6655" y="3542"/>
                <a:ext cx="19" cy="19"/>
              </a:xfrm>
              <a:custGeom>
                <a:gdLst>
                  <a:gd name="T0" fmla="*/ 8 w 8"/>
                  <a:gd name="T1" fmla="*/ 0 h 8"/>
                  <a:gd name="T2" fmla="*/ 4 w 8"/>
                  <a:gd name="T3" fmla="*/ 1 h 8"/>
                  <a:gd name="T4" fmla="*/ 0 w 8"/>
                  <a:gd name="T5" fmla="*/ 3 h 8"/>
                  <a:gd name="T6" fmla="*/ 0 w 8"/>
                  <a:gd name="T7" fmla="*/ 3 h 8"/>
                  <a:gd name="T8" fmla="*/ 1 w 8"/>
                  <a:gd name="T9" fmla="*/ 8 h 8"/>
                  <a:gd name="T10" fmla="*/ 1 w 8"/>
                  <a:gd name="T11" fmla="*/ 8 h 8"/>
                  <a:gd name="T12" fmla="*/ 8 w 8"/>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cubicBezTo>
                      <a:pt x="7" y="0"/>
                      <a:pt x="5" y="0"/>
                      <a:pt x="4" y="1"/>
                    </a:cubicBezTo>
                    <a:cubicBezTo>
                      <a:pt x="3" y="2"/>
                      <a:pt x="1" y="3"/>
                      <a:pt x="0" y="3"/>
                    </a:cubicBezTo>
                    <a:cubicBezTo>
                      <a:pt x="0" y="3"/>
                      <a:pt x="0" y="3"/>
                      <a:pt x="0" y="3"/>
                    </a:cubicBezTo>
                    <a:cubicBezTo>
                      <a:pt x="0" y="4"/>
                      <a:pt x="0" y="7"/>
                      <a:pt x="1" y="8"/>
                    </a:cubicBezTo>
                    <a:cubicBezTo>
                      <a:pt x="1" y="8"/>
                      <a:pt x="1" y="8"/>
                      <a:pt x="1" y="8"/>
                    </a:cubicBezTo>
                    <a:cubicBezTo>
                      <a:pt x="3" y="8"/>
                      <a:pt x="7"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251"/>
              <p:cNvSpPr/>
              <p:nvPr/>
            </p:nvSpPr>
            <p:spPr bwMode="auto">
              <a:xfrm>
                <a:off x="6273" y="3781"/>
                <a:ext cx="4" cy="5"/>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1" y="1"/>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Freeform 252"/>
              <p:cNvSpPr/>
              <p:nvPr/>
            </p:nvSpPr>
            <p:spPr bwMode="auto">
              <a:xfrm>
                <a:off x="7721" y="4024"/>
                <a:ext cx="5" cy="5"/>
              </a:xfrm>
              <a:custGeom>
                <a:gdLst>
                  <a:gd name="T0" fmla="*/ 2 w 2"/>
                  <a:gd name="T1" fmla="*/ 0 h 2"/>
                  <a:gd name="T2" fmla="*/ 0 w 2"/>
                  <a:gd name="T3" fmla="*/ 1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0"/>
                      <a:pt x="0" y="0"/>
                      <a:pt x="0" y="1"/>
                    </a:cubicBezTo>
                    <a:cubicBezTo>
                      <a:pt x="0" y="2"/>
                      <a:pt x="1" y="2"/>
                      <a:pt x="1" y="2"/>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253"/>
              <p:cNvSpPr/>
              <p:nvPr/>
            </p:nvSpPr>
            <p:spPr bwMode="auto">
              <a:xfrm>
                <a:off x="7445" y="3930"/>
                <a:ext cx="11" cy="12"/>
              </a:xfrm>
              <a:custGeom>
                <a:gdLst>
                  <a:gd name="T0" fmla="*/ 0 w 5"/>
                  <a:gd name="T1" fmla="*/ 0 h 5"/>
                  <a:gd name="T2" fmla="*/ 1 w 5"/>
                  <a:gd name="T3" fmla="*/ 5 h 5"/>
                  <a:gd name="T4" fmla="*/ 3 w 5"/>
                  <a:gd name="T5" fmla="*/ 3 h 5"/>
                  <a:gd name="T6" fmla="*/ 0 w 5"/>
                  <a:gd name="T7" fmla="*/ 0 h 5"/>
                </a:gdLst>
                <a:cxnLst>
                  <a:cxn ang="0">
                    <a:pos x="T0" y="T1"/>
                  </a:cxn>
                  <a:cxn ang="0">
                    <a:pos x="T2" y="T3"/>
                  </a:cxn>
                  <a:cxn ang="0">
                    <a:pos x="T4" y="T5"/>
                  </a:cxn>
                  <a:cxn ang="0">
                    <a:pos x="T6" y="T7"/>
                  </a:cxn>
                </a:cxnLst>
                <a:rect l="0" t="0" r="r" b="b"/>
                <a:pathLst>
                  <a:path w="5" h="5">
                    <a:moveTo>
                      <a:pt x="0" y="0"/>
                    </a:moveTo>
                    <a:cubicBezTo>
                      <a:pt x="0" y="2"/>
                      <a:pt x="0" y="3"/>
                      <a:pt x="1" y="5"/>
                    </a:cubicBezTo>
                    <a:cubicBezTo>
                      <a:pt x="2" y="5"/>
                      <a:pt x="3" y="4"/>
                      <a:pt x="3" y="3"/>
                    </a:cubicBezTo>
                    <a:cubicBezTo>
                      <a:pt x="5"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254"/>
              <p:cNvSpPr/>
              <p:nvPr/>
            </p:nvSpPr>
            <p:spPr bwMode="auto">
              <a:xfrm>
                <a:off x="6712" y="3452"/>
                <a:ext cx="2" cy="10"/>
              </a:xfrm>
              <a:custGeom>
                <a:gdLst>
                  <a:gd name="T0" fmla="*/ 1 w 1"/>
                  <a:gd name="T1" fmla="*/ 0 h 4"/>
                  <a:gd name="T2" fmla="*/ 0 w 1"/>
                  <a:gd name="T3" fmla="*/ 4 h 4"/>
                  <a:gd name="T4" fmla="*/ 1 w 1"/>
                  <a:gd name="T5" fmla="*/ 0 h 4"/>
                </a:gdLst>
                <a:cxnLst>
                  <a:cxn ang="0">
                    <a:pos x="T0" y="T1"/>
                  </a:cxn>
                  <a:cxn ang="0">
                    <a:pos x="T2" y="T3"/>
                  </a:cxn>
                  <a:cxn ang="0">
                    <a:pos x="T4" y="T5"/>
                  </a:cxn>
                </a:cxnLst>
                <a:rect l="0" t="0" r="r" b="b"/>
                <a:pathLst>
                  <a:path w="1" h="4">
                    <a:moveTo>
                      <a:pt x="1" y="0"/>
                    </a:moveTo>
                    <a:cubicBezTo>
                      <a:pt x="1" y="1"/>
                      <a:pt x="1" y="3"/>
                      <a:pt x="0" y="4"/>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255"/>
              <p:cNvSpPr/>
              <p:nvPr/>
            </p:nvSpPr>
            <p:spPr bwMode="auto">
              <a:xfrm>
                <a:off x="6719" y="3441"/>
                <a:ext cx="5" cy="11"/>
              </a:xfrm>
              <a:custGeom>
                <a:gdLst>
                  <a:gd name="T0" fmla="*/ 2 w 2"/>
                  <a:gd name="T1" fmla="*/ 0 h 5"/>
                  <a:gd name="T2" fmla="*/ 2 w 2"/>
                  <a:gd name="T3" fmla="*/ 1 h 5"/>
                  <a:gd name="T4" fmla="*/ 0 w 2"/>
                  <a:gd name="T5" fmla="*/ 5 h 5"/>
                  <a:gd name="T6" fmla="*/ 2 w 2"/>
                  <a:gd name="T7" fmla="*/ 1 h 5"/>
                  <a:gd name="T8" fmla="*/ 2 w 2"/>
                  <a:gd name="T9" fmla="*/ 0 h 5"/>
                </a:gdLst>
                <a:cxnLst>
                  <a:cxn ang="0">
                    <a:pos x="T0" y="T1"/>
                  </a:cxn>
                  <a:cxn ang="0">
                    <a:pos x="T2" y="T3"/>
                  </a:cxn>
                  <a:cxn ang="0">
                    <a:pos x="T4" y="T5"/>
                  </a:cxn>
                  <a:cxn ang="0">
                    <a:pos x="T6" y="T7"/>
                  </a:cxn>
                  <a:cxn ang="0">
                    <a:pos x="T8" y="T9"/>
                  </a:cxn>
                </a:cxnLst>
                <a:rect l="0" t="0" r="r" b="b"/>
                <a:pathLst>
                  <a:path w="2" h="5">
                    <a:moveTo>
                      <a:pt x="2" y="0"/>
                    </a:moveTo>
                    <a:cubicBezTo>
                      <a:pt x="2" y="1"/>
                      <a:pt x="2" y="1"/>
                      <a:pt x="2" y="1"/>
                    </a:cubicBezTo>
                    <a:cubicBezTo>
                      <a:pt x="1" y="2"/>
                      <a:pt x="1" y="3"/>
                      <a:pt x="0" y="5"/>
                    </a:cubicBezTo>
                    <a:cubicBezTo>
                      <a:pt x="1" y="3"/>
                      <a:pt x="1" y="2"/>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256"/>
              <p:cNvSpPr/>
              <p:nvPr/>
            </p:nvSpPr>
            <p:spPr bwMode="auto">
              <a:xfrm>
                <a:off x="6719" y="3268"/>
                <a:ext cx="7" cy="7"/>
              </a:xfrm>
              <a:custGeom>
                <a:gdLst>
                  <a:gd name="T0" fmla="*/ 3 w 3"/>
                  <a:gd name="T1" fmla="*/ 0 h 3"/>
                  <a:gd name="T2" fmla="*/ 0 w 3"/>
                  <a:gd name="T3" fmla="*/ 3 h 3"/>
                  <a:gd name="T4" fmla="*/ 0 w 3"/>
                  <a:gd name="T5" fmla="*/ 3 h 3"/>
                  <a:gd name="T6" fmla="*/ 1 w 3"/>
                  <a:gd name="T7" fmla="*/ 2 h 3"/>
                  <a:gd name="T8" fmla="*/ 3 w 3"/>
                  <a:gd name="T9" fmla="*/ 0 h 3"/>
                </a:gdLst>
                <a:cxnLst>
                  <a:cxn ang="0">
                    <a:pos x="T0" y="T1"/>
                  </a:cxn>
                  <a:cxn ang="0">
                    <a:pos x="T2" y="T3"/>
                  </a:cxn>
                  <a:cxn ang="0">
                    <a:pos x="T4" y="T5"/>
                  </a:cxn>
                  <a:cxn ang="0">
                    <a:pos x="T6" y="T7"/>
                  </a:cxn>
                  <a:cxn ang="0">
                    <a:pos x="T8" y="T9"/>
                  </a:cxn>
                </a:cxnLst>
                <a:rect l="0" t="0" r="r" b="b"/>
                <a:pathLst>
                  <a:path w="3" h="3">
                    <a:moveTo>
                      <a:pt x="3" y="0"/>
                    </a:moveTo>
                    <a:cubicBezTo>
                      <a:pt x="2" y="1"/>
                      <a:pt x="1" y="2"/>
                      <a:pt x="0" y="3"/>
                    </a:cubicBezTo>
                    <a:cubicBezTo>
                      <a:pt x="0" y="3"/>
                      <a:pt x="0" y="3"/>
                      <a:pt x="0" y="3"/>
                    </a:cubicBezTo>
                    <a:cubicBezTo>
                      <a:pt x="1" y="2"/>
                      <a:pt x="1" y="2"/>
                      <a:pt x="1" y="2"/>
                    </a:cubicBezTo>
                    <a:cubicBezTo>
                      <a:pt x="2"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257"/>
              <p:cNvSpPr/>
              <p:nvPr/>
            </p:nvSpPr>
            <p:spPr bwMode="auto">
              <a:xfrm>
                <a:off x="4231" y="3670"/>
                <a:ext cx="5" cy="9"/>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1" y="2"/>
                      <a:pt x="0" y="3"/>
                      <a:pt x="1" y="4"/>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258"/>
              <p:cNvSpPr/>
              <p:nvPr/>
            </p:nvSpPr>
            <p:spPr bwMode="auto">
              <a:xfrm>
                <a:off x="7459" y="4776"/>
                <a:ext cx="85" cy="59"/>
              </a:xfrm>
              <a:custGeom>
                <a:gdLst>
                  <a:gd name="T0" fmla="*/ 1 w 36"/>
                  <a:gd name="T1" fmla="*/ 0 h 25"/>
                  <a:gd name="T2" fmla="*/ 0 w 36"/>
                  <a:gd name="T3" fmla="*/ 0 h 25"/>
                  <a:gd name="T4" fmla="*/ 1 w 36"/>
                  <a:gd name="T5" fmla="*/ 1 h 25"/>
                  <a:gd name="T6" fmla="*/ 3 w 36"/>
                  <a:gd name="T7" fmla="*/ 3 h 25"/>
                  <a:gd name="T8" fmla="*/ 4 w 36"/>
                  <a:gd name="T9" fmla="*/ 6 h 25"/>
                  <a:gd name="T10" fmla="*/ 6 w 36"/>
                  <a:gd name="T11" fmla="*/ 7 h 25"/>
                  <a:gd name="T12" fmla="*/ 16 w 36"/>
                  <a:gd name="T13" fmla="*/ 14 h 25"/>
                  <a:gd name="T14" fmla="*/ 28 w 36"/>
                  <a:gd name="T15" fmla="*/ 21 h 25"/>
                  <a:gd name="T16" fmla="*/ 29 w 36"/>
                  <a:gd name="T17" fmla="*/ 22 h 25"/>
                  <a:gd name="T18" fmla="*/ 36 w 36"/>
                  <a:gd name="T19" fmla="*/ 25 h 25"/>
                  <a:gd name="T20" fmla="*/ 35 w 36"/>
                  <a:gd name="T21" fmla="*/ 23 h 25"/>
                  <a:gd name="T22" fmla="*/ 33 w 36"/>
                  <a:gd name="T23" fmla="*/ 22 h 25"/>
                  <a:gd name="T24" fmla="*/ 34 w 36"/>
                  <a:gd name="T25" fmla="*/ 20 h 25"/>
                  <a:gd name="T26" fmla="*/ 33 w 36"/>
                  <a:gd name="T27" fmla="*/ 18 h 25"/>
                  <a:gd name="T28" fmla="*/ 26 w 36"/>
                  <a:gd name="T29" fmla="*/ 14 h 25"/>
                  <a:gd name="T30" fmla="*/ 18 w 36"/>
                  <a:gd name="T31" fmla="*/ 9 h 25"/>
                  <a:gd name="T32" fmla="*/ 18 w 36"/>
                  <a:gd name="T33" fmla="*/ 9 h 25"/>
                  <a:gd name="T34" fmla="*/ 17 w 36"/>
                  <a:gd name="T35" fmla="*/ 9 h 25"/>
                  <a:gd name="T36" fmla="*/ 17 w 36"/>
                  <a:gd name="T37" fmla="*/ 9 h 25"/>
                  <a:gd name="T38" fmla="*/ 16 w 36"/>
                  <a:gd name="T39" fmla="*/ 9 h 25"/>
                  <a:gd name="T40" fmla="*/ 12 w 36"/>
                  <a:gd name="T41" fmla="*/ 5 h 25"/>
                  <a:gd name="T42" fmla="*/ 5 w 36"/>
                  <a:gd name="T43" fmla="*/ 1 h 25"/>
                  <a:gd name="T44" fmla="*/ 1 w 36"/>
                  <a:gd name="T45"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 y="0"/>
                    </a:moveTo>
                    <a:cubicBezTo>
                      <a:pt x="0" y="0"/>
                      <a:pt x="0" y="0"/>
                      <a:pt x="0" y="0"/>
                    </a:cubicBezTo>
                    <a:cubicBezTo>
                      <a:pt x="0" y="1"/>
                      <a:pt x="1" y="1"/>
                      <a:pt x="1" y="1"/>
                    </a:cubicBezTo>
                    <a:cubicBezTo>
                      <a:pt x="1" y="2"/>
                      <a:pt x="3" y="2"/>
                      <a:pt x="3" y="3"/>
                    </a:cubicBezTo>
                    <a:cubicBezTo>
                      <a:pt x="4" y="4"/>
                      <a:pt x="3" y="5"/>
                      <a:pt x="4" y="6"/>
                    </a:cubicBezTo>
                    <a:cubicBezTo>
                      <a:pt x="5" y="7"/>
                      <a:pt x="6" y="7"/>
                      <a:pt x="6" y="7"/>
                    </a:cubicBezTo>
                    <a:cubicBezTo>
                      <a:pt x="10" y="10"/>
                      <a:pt x="12" y="12"/>
                      <a:pt x="16" y="14"/>
                    </a:cubicBezTo>
                    <a:cubicBezTo>
                      <a:pt x="20" y="17"/>
                      <a:pt x="24" y="19"/>
                      <a:pt x="28" y="21"/>
                    </a:cubicBezTo>
                    <a:cubicBezTo>
                      <a:pt x="29" y="21"/>
                      <a:pt x="29" y="21"/>
                      <a:pt x="29" y="22"/>
                    </a:cubicBezTo>
                    <a:cubicBezTo>
                      <a:pt x="31" y="23"/>
                      <a:pt x="34" y="24"/>
                      <a:pt x="36" y="25"/>
                    </a:cubicBezTo>
                    <a:cubicBezTo>
                      <a:pt x="35" y="24"/>
                      <a:pt x="35" y="24"/>
                      <a:pt x="35" y="23"/>
                    </a:cubicBezTo>
                    <a:cubicBezTo>
                      <a:pt x="34" y="22"/>
                      <a:pt x="33" y="22"/>
                      <a:pt x="33" y="22"/>
                    </a:cubicBezTo>
                    <a:cubicBezTo>
                      <a:pt x="33" y="21"/>
                      <a:pt x="34" y="21"/>
                      <a:pt x="34" y="20"/>
                    </a:cubicBezTo>
                    <a:cubicBezTo>
                      <a:pt x="34" y="19"/>
                      <a:pt x="34" y="19"/>
                      <a:pt x="33" y="18"/>
                    </a:cubicBezTo>
                    <a:cubicBezTo>
                      <a:pt x="31" y="16"/>
                      <a:pt x="28" y="15"/>
                      <a:pt x="26" y="14"/>
                    </a:cubicBezTo>
                    <a:cubicBezTo>
                      <a:pt x="24" y="11"/>
                      <a:pt x="22" y="11"/>
                      <a:pt x="18" y="9"/>
                    </a:cubicBezTo>
                    <a:cubicBezTo>
                      <a:pt x="18" y="9"/>
                      <a:pt x="18" y="9"/>
                      <a:pt x="18" y="9"/>
                    </a:cubicBezTo>
                    <a:cubicBezTo>
                      <a:pt x="18" y="9"/>
                      <a:pt x="18" y="9"/>
                      <a:pt x="17" y="9"/>
                    </a:cubicBezTo>
                    <a:cubicBezTo>
                      <a:pt x="17" y="9"/>
                      <a:pt x="17" y="9"/>
                      <a:pt x="17" y="9"/>
                    </a:cubicBezTo>
                    <a:cubicBezTo>
                      <a:pt x="17" y="9"/>
                      <a:pt x="17" y="9"/>
                      <a:pt x="16" y="9"/>
                    </a:cubicBezTo>
                    <a:cubicBezTo>
                      <a:pt x="15" y="8"/>
                      <a:pt x="13" y="6"/>
                      <a:pt x="12" y="5"/>
                    </a:cubicBezTo>
                    <a:cubicBezTo>
                      <a:pt x="10" y="3"/>
                      <a:pt x="8" y="2"/>
                      <a:pt x="5" y="1"/>
                    </a:cubicBezTo>
                    <a:cubicBezTo>
                      <a:pt x="5"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259"/>
              <p:cNvSpPr/>
              <p:nvPr/>
            </p:nvSpPr>
            <p:spPr bwMode="auto">
              <a:xfrm>
                <a:off x="7388" y="4802"/>
                <a:ext cx="38" cy="36"/>
              </a:xfrm>
              <a:custGeom>
                <a:gdLst>
                  <a:gd name="T0" fmla="*/ 7 w 16"/>
                  <a:gd name="T1" fmla="*/ 0 h 15"/>
                  <a:gd name="T2" fmla="*/ 1 w 16"/>
                  <a:gd name="T3" fmla="*/ 5 h 15"/>
                  <a:gd name="T4" fmla="*/ 0 w 16"/>
                  <a:gd name="T5" fmla="*/ 8 h 15"/>
                  <a:gd name="T6" fmla="*/ 1 w 16"/>
                  <a:gd name="T7" fmla="*/ 9 h 15"/>
                  <a:gd name="T8" fmla="*/ 4 w 16"/>
                  <a:gd name="T9" fmla="*/ 7 h 15"/>
                  <a:gd name="T10" fmla="*/ 6 w 16"/>
                  <a:gd name="T11" fmla="*/ 7 h 15"/>
                  <a:gd name="T12" fmla="*/ 7 w 16"/>
                  <a:gd name="T13" fmla="*/ 7 h 15"/>
                  <a:gd name="T14" fmla="*/ 8 w 16"/>
                  <a:gd name="T15" fmla="*/ 9 h 15"/>
                  <a:gd name="T16" fmla="*/ 14 w 16"/>
                  <a:gd name="T17" fmla="*/ 15 h 15"/>
                  <a:gd name="T18" fmla="*/ 13 w 16"/>
                  <a:gd name="T19" fmla="*/ 6 h 15"/>
                  <a:gd name="T20" fmla="*/ 9 w 16"/>
                  <a:gd name="T21" fmla="*/ 1 h 15"/>
                  <a:gd name="T22" fmla="*/ 7 w 16"/>
                  <a:gd name="T2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5">
                    <a:moveTo>
                      <a:pt x="7" y="0"/>
                    </a:moveTo>
                    <a:cubicBezTo>
                      <a:pt x="4" y="0"/>
                      <a:pt x="2" y="3"/>
                      <a:pt x="1" y="5"/>
                    </a:cubicBezTo>
                    <a:cubicBezTo>
                      <a:pt x="0" y="6"/>
                      <a:pt x="0" y="8"/>
                      <a:pt x="0" y="8"/>
                    </a:cubicBezTo>
                    <a:cubicBezTo>
                      <a:pt x="1" y="9"/>
                      <a:pt x="1" y="9"/>
                      <a:pt x="1" y="9"/>
                    </a:cubicBezTo>
                    <a:cubicBezTo>
                      <a:pt x="2" y="9"/>
                      <a:pt x="3" y="8"/>
                      <a:pt x="4" y="7"/>
                    </a:cubicBezTo>
                    <a:cubicBezTo>
                      <a:pt x="4" y="7"/>
                      <a:pt x="6" y="7"/>
                      <a:pt x="6" y="7"/>
                    </a:cubicBezTo>
                    <a:cubicBezTo>
                      <a:pt x="7" y="7"/>
                      <a:pt x="7" y="7"/>
                      <a:pt x="7" y="7"/>
                    </a:cubicBezTo>
                    <a:cubicBezTo>
                      <a:pt x="9" y="7"/>
                      <a:pt x="8" y="7"/>
                      <a:pt x="8" y="9"/>
                    </a:cubicBezTo>
                    <a:cubicBezTo>
                      <a:pt x="10" y="13"/>
                      <a:pt x="10" y="12"/>
                      <a:pt x="14" y="15"/>
                    </a:cubicBezTo>
                    <a:cubicBezTo>
                      <a:pt x="16" y="11"/>
                      <a:pt x="16" y="10"/>
                      <a:pt x="13" y="6"/>
                    </a:cubicBezTo>
                    <a:cubicBezTo>
                      <a:pt x="12" y="5"/>
                      <a:pt x="11" y="2"/>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Freeform 260"/>
              <p:cNvSpPr/>
              <p:nvPr/>
            </p:nvSpPr>
            <p:spPr bwMode="auto">
              <a:xfrm>
                <a:off x="7622" y="4932"/>
                <a:ext cx="66" cy="38"/>
              </a:xfrm>
              <a:custGeom>
                <a:gdLst>
                  <a:gd name="T0" fmla="*/ 3 w 28"/>
                  <a:gd name="T1" fmla="*/ 0 h 16"/>
                  <a:gd name="T2" fmla="*/ 3 w 28"/>
                  <a:gd name="T3" fmla="*/ 0 h 16"/>
                  <a:gd name="T4" fmla="*/ 2 w 28"/>
                  <a:gd name="T5" fmla="*/ 4 h 16"/>
                  <a:gd name="T6" fmla="*/ 3 w 28"/>
                  <a:gd name="T7" fmla="*/ 4 h 16"/>
                  <a:gd name="T8" fmla="*/ 4 w 28"/>
                  <a:gd name="T9" fmla="*/ 4 h 16"/>
                  <a:gd name="T10" fmla="*/ 5 w 28"/>
                  <a:gd name="T11" fmla="*/ 4 h 16"/>
                  <a:gd name="T12" fmla="*/ 6 w 28"/>
                  <a:gd name="T13" fmla="*/ 4 h 16"/>
                  <a:gd name="T14" fmla="*/ 8 w 28"/>
                  <a:gd name="T15" fmla="*/ 9 h 16"/>
                  <a:gd name="T16" fmla="*/ 10 w 28"/>
                  <a:gd name="T17" fmla="*/ 11 h 16"/>
                  <a:gd name="T18" fmla="*/ 15 w 28"/>
                  <a:gd name="T19" fmla="*/ 14 h 16"/>
                  <a:gd name="T20" fmla="*/ 21 w 28"/>
                  <a:gd name="T21" fmla="*/ 15 h 16"/>
                  <a:gd name="T22" fmla="*/ 27 w 28"/>
                  <a:gd name="T23" fmla="*/ 16 h 16"/>
                  <a:gd name="T24" fmla="*/ 28 w 28"/>
                  <a:gd name="T25" fmla="*/ 16 h 16"/>
                  <a:gd name="T26" fmla="*/ 22 w 28"/>
                  <a:gd name="T27" fmla="*/ 7 h 16"/>
                  <a:gd name="T28" fmla="*/ 21 w 28"/>
                  <a:gd name="T29" fmla="*/ 6 h 16"/>
                  <a:gd name="T30" fmla="*/ 20 w 28"/>
                  <a:gd name="T31" fmla="*/ 7 h 16"/>
                  <a:gd name="T32" fmla="*/ 20 w 28"/>
                  <a:gd name="T33" fmla="*/ 7 h 16"/>
                  <a:gd name="T34" fmla="*/ 20 w 28"/>
                  <a:gd name="T35" fmla="*/ 7 h 16"/>
                  <a:gd name="T36" fmla="*/ 9 w 28"/>
                  <a:gd name="T37" fmla="*/ 3 h 16"/>
                  <a:gd name="T38" fmla="*/ 3 w 28"/>
                  <a:gd name="T39"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16">
                    <a:moveTo>
                      <a:pt x="3" y="0"/>
                    </a:moveTo>
                    <a:cubicBezTo>
                      <a:pt x="3" y="0"/>
                      <a:pt x="3" y="0"/>
                      <a:pt x="3" y="0"/>
                    </a:cubicBezTo>
                    <a:cubicBezTo>
                      <a:pt x="1" y="0"/>
                      <a:pt x="0" y="2"/>
                      <a:pt x="2" y="4"/>
                    </a:cubicBezTo>
                    <a:cubicBezTo>
                      <a:pt x="2" y="4"/>
                      <a:pt x="2" y="4"/>
                      <a:pt x="3" y="4"/>
                    </a:cubicBezTo>
                    <a:cubicBezTo>
                      <a:pt x="3" y="4"/>
                      <a:pt x="3" y="4"/>
                      <a:pt x="4" y="4"/>
                    </a:cubicBezTo>
                    <a:cubicBezTo>
                      <a:pt x="4" y="4"/>
                      <a:pt x="4" y="4"/>
                      <a:pt x="5" y="4"/>
                    </a:cubicBezTo>
                    <a:cubicBezTo>
                      <a:pt x="5" y="4"/>
                      <a:pt x="5" y="4"/>
                      <a:pt x="6" y="4"/>
                    </a:cubicBezTo>
                    <a:cubicBezTo>
                      <a:pt x="7" y="5"/>
                      <a:pt x="7" y="8"/>
                      <a:pt x="8" y="9"/>
                    </a:cubicBezTo>
                    <a:cubicBezTo>
                      <a:pt x="9" y="10"/>
                      <a:pt x="10" y="10"/>
                      <a:pt x="10" y="11"/>
                    </a:cubicBezTo>
                    <a:cubicBezTo>
                      <a:pt x="12" y="12"/>
                      <a:pt x="14" y="13"/>
                      <a:pt x="15" y="14"/>
                    </a:cubicBezTo>
                    <a:cubicBezTo>
                      <a:pt x="17" y="14"/>
                      <a:pt x="19" y="15"/>
                      <a:pt x="21" y="15"/>
                    </a:cubicBezTo>
                    <a:cubicBezTo>
                      <a:pt x="22" y="15"/>
                      <a:pt x="25" y="16"/>
                      <a:pt x="27" y="16"/>
                    </a:cubicBezTo>
                    <a:cubicBezTo>
                      <a:pt x="28" y="16"/>
                      <a:pt x="28" y="16"/>
                      <a:pt x="28" y="16"/>
                    </a:cubicBezTo>
                    <a:cubicBezTo>
                      <a:pt x="27" y="13"/>
                      <a:pt x="24" y="9"/>
                      <a:pt x="22" y="7"/>
                    </a:cubicBezTo>
                    <a:cubicBezTo>
                      <a:pt x="21" y="6"/>
                      <a:pt x="21" y="6"/>
                      <a:pt x="21" y="6"/>
                    </a:cubicBezTo>
                    <a:cubicBezTo>
                      <a:pt x="21" y="6"/>
                      <a:pt x="21" y="6"/>
                      <a:pt x="20" y="7"/>
                    </a:cubicBezTo>
                    <a:cubicBezTo>
                      <a:pt x="20" y="7"/>
                      <a:pt x="20" y="7"/>
                      <a:pt x="20" y="7"/>
                    </a:cubicBezTo>
                    <a:cubicBezTo>
                      <a:pt x="20" y="7"/>
                      <a:pt x="20" y="7"/>
                      <a:pt x="20" y="7"/>
                    </a:cubicBezTo>
                    <a:cubicBezTo>
                      <a:pt x="16" y="6"/>
                      <a:pt x="13" y="4"/>
                      <a:pt x="9" y="3"/>
                    </a:cubicBezTo>
                    <a:cubicBezTo>
                      <a:pt x="8"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261"/>
              <p:cNvSpPr/>
              <p:nvPr/>
            </p:nvSpPr>
            <p:spPr bwMode="auto">
              <a:xfrm>
                <a:off x="7381" y="4812"/>
                <a:ext cx="7" cy="9"/>
              </a:xfrm>
              <a:custGeom>
                <a:gdLst>
                  <a:gd name="T0" fmla="*/ 1 w 3"/>
                  <a:gd name="T1" fmla="*/ 0 h 4"/>
                  <a:gd name="T2" fmla="*/ 0 w 3"/>
                  <a:gd name="T3" fmla="*/ 1 h 4"/>
                  <a:gd name="T4" fmla="*/ 3 w 3"/>
                  <a:gd name="T5" fmla="*/ 4 h 4"/>
                  <a:gd name="T6" fmla="*/ 1 w 3"/>
                  <a:gd name="T7" fmla="*/ 0 h 4"/>
                </a:gdLst>
                <a:cxnLst>
                  <a:cxn ang="0">
                    <a:pos x="T0" y="T1"/>
                  </a:cxn>
                  <a:cxn ang="0">
                    <a:pos x="T2" y="T3"/>
                  </a:cxn>
                  <a:cxn ang="0">
                    <a:pos x="T4" y="T5"/>
                  </a:cxn>
                  <a:cxn ang="0">
                    <a:pos x="T6" y="T7"/>
                  </a:cxn>
                </a:cxnLst>
                <a:rect l="0" t="0" r="r" b="b"/>
                <a:pathLst>
                  <a:path w="3" h="4">
                    <a:moveTo>
                      <a:pt x="1" y="0"/>
                    </a:moveTo>
                    <a:cubicBezTo>
                      <a:pt x="1" y="0"/>
                      <a:pt x="0" y="0"/>
                      <a:pt x="0" y="1"/>
                    </a:cubicBezTo>
                    <a:cubicBezTo>
                      <a:pt x="1" y="2"/>
                      <a:pt x="2" y="3"/>
                      <a:pt x="3" y="4"/>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262"/>
              <p:cNvSpPr/>
              <p:nvPr/>
            </p:nvSpPr>
            <p:spPr bwMode="auto">
              <a:xfrm>
                <a:off x="7582" y="4821"/>
                <a:ext cx="49" cy="78"/>
              </a:xfrm>
              <a:custGeom>
                <a:gdLst>
                  <a:gd name="T0" fmla="*/ 4 w 21"/>
                  <a:gd name="T1" fmla="*/ 0 h 33"/>
                  <a:gd name="T2" fmla="*/ 4 w 21"/>
                  <a:gd name="T3" fmla="*/ 1 h 33"/>
                  <a:gd name="T4" fmla="*/ 1 w 21"/>
                  <a:gd name="T5" fmla="*/ 1 h 33"/>
                  <a:gd name="T6" fmla="*/ 3 w 21"/>
                  <a:gd name="T7" fmla="*/ 4 h 33"/>
                  <a:gd name="T8" fmla="*/ 3 w 21"/>
                  <a:gd name="T9" fmla="*/ 9 h 33"/>
                  <a:gd name="T10" fmla="*/ 8 w 21"/>
                  <a:gd name="T11" fmla="*/ 21 h 33"/>
                  <a:gd name="T12" fmla="*/ 20 w 21"/>
                  <a:gd name="T13" fmla="*/ 33 h 33"/>
                  <a:gd name="T14" fmla="*/ 20 w 21"/>
                  <a:gd name="T15" fmla="*/ 29 h 33"/>
                  <a:gd name="T16" fmla="*/ 19 w 21"/>
                  <a:gd name="T17" fmla="*/ 27 h 33"/>
                  <a:gd name="T18" fmla="*/ 18 w 21"/>
                  <a:gd name="T19" fmla="*/ 24 h 33"/>
                  <a:gd name="T20" fmla="*/ 15 w 21"/>
                  <a:gd name="T21" fmla="*/ 17 h 33"/>
                  <a:gd name="T22" fmla="*/ 13 w 21"/>
                  <a:gd name="T23" fmla="*/ 15 h 33"/>
                  <a:gd name="T24" fmla="*/ 9 w 21"/>
                  <a:gd name="T25" fmla="*/ 5 h 33"/>
                  <a:gd name="T26" fmla="*/ 4 w 21"/>
                  <a:gd name="T27"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3">
                    <a:moveTo>
                      <a:pt x="4" y="0"/>
                    </a:moveTo>
                    <a:cubicBezTo>
                      <a:pt x="4" y="1"/>
                      <a:pt x="4" y="1"/>
                      <a:pt x="4" y="1"/>
                    </a:cubicBezTo>
                    <a:cubicBezTo>
                      <a:pt x="3" y="1"/>
                      <a:pt x="2" y="1"/>
                      <a:pt x="1" y="1"/>
                    </a:cubicBezTo>
                    <a:cubicBezTo>
                      <a:pt x="0" y="1"/>
                      <a:pt x="2" y="2"/>
                      <a:pt x="3" y="4"/>
                    </a:cubicBezTo>
                    <a:cubicBezTo>
                      <a:pt x="4" y="7"/>
                      <a:pt x="3" y="6"/>
                      <a:pt x="3" y="9"/>
                    </a:cubicBezTo>
                    <a:cubicBezTo>
                      <a:pt x="3" y="11"/>
                      <a:pt x="6" y="19"/>
                      <a:pt x="8" y="21"/>
                    </a:cubicBezTo>
                    <a:cubicBezTo>
                      <a:pt x="12" y="25"/>
                      <a:pt x="16" y="29"/>
                      <a:pt x="20" y="33"/>
                    </a:cubicBezTo>
                    <a:cubicBezTo>
                      <a:pt x="21" y="32"/>
                      <a:pt x="20" y="31"/>
                      <a:pt x="20" y="29"/>
                    </a:cubicBezTo>
                    <a:cubicBezTo>
                      <a:pt x="20" y="29"/>
                      <a:pt x="19" y="28"/>
                      <a:pt x="19" y="27"/>
                    </a:cubicBezTo>
                    <a:cubicBezTo>
                      <a:pt x="18" y="25"/>
                      <a:pt x="18" y="25"/>
                      <a:pt x="18" y="24"/>
                    </a:cubicBezTo>
                    <a:cubicBezTo>
                      <a:pt x="17" y="22"/>
                      <a:pt x="17" y="19"/>
                      <a:pt x="15" y="17"/>
                    </a:cubicBezTo>
                    <a:cubicBezTo>
                      <a:pt x="15" y="16"/>
                      <a:pt x="13" y="15"/>
                      <a:pt x="13" y="15"/>
                    </a:cubicBezTo>
                    <a:cubicBezTo>
                      <a:pt x="11" y="12"/>
                      <a:pt x="11" y="8"/>
                      <a:pt x="9" y="5"/>
                    </a:cubicBezTo>
                    <a:cubicBezTo>
                      <a:pt x="7" y="4"/>
                      <a:pt x="6"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263"/>
              <p:cNvSpPr/>
              <p:nvPr/>
            </p:nvSpPr>
            <p:spPr bwMode="auto">
              <a:xfrm>
                <a:off x="7350" y="4800"/>
                <a:ext cx="2" cy="16"/>
              </a:xfrm>
              <a:custGeom>
                <a:gdLst>
                  <a:gd name="T0" fmla="*/ 0 w 1"/>
                  <a:gd name="T1" fmla="*/ 0 h 7"/>
                  <a:gd name="T2" fmla="*/ 1 w 1"/>
                  <a:gd name="T3" fmla="*/ 7 h 7"/>
                  <a:gd name="T4" fmla="*/ 0 w 1"/>
                  <a:gd name="T5" fmla="*/ 0 h 7"/>
                </a:gdLst>
                <a:cxnLst>
                  <a:cxn ang="0">
                    <a:pos x="T0" y="T1"/>
                  </a:cxn>
                  <a:cxn ang="0">
                    <a:pos x="T2" y="T3"/>
                  </a:cxn>
                  <a:cxn ang="0">
                    <a:pos x="T4" y="T5"/>
                  </a:cxn>
                </a:cxnLst>
                <a:rect l="0" t="0" r="r" b="b"/>
                <a:pathLst>
                  <a:path w="1" h="7">
                    <a:moveTo>
                      <a:pt x="0" y="0"/>
                    </a:moveTo>
                    <a:cubicBezTo>
                      <a:pt x="0" y="2"/>
                      <a:pt x="0" y="4"/>
                      <a:pt x="1" y="7"/>
                    </a:cubicBezTo>
                    <a:cubicBezTo>
                      <a:pt x="1"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264"/>
              <p:cNvSpPr/>
              <p:nvPr/>
            </p:nvSpPr>
            <p:spPr bwMode="auto">
              <a:xfrm>
                <a:off x="7402" y="4845"/>
                <a:ext cx="9" cy="4"/>
              </a:xfrm>
              <a:custGeom>
                <a:gdLst>
                  <a:gd name="T0" fmla="*/ 2 w 4"/>
                  <a:gd name="T1" fmla="*/ 0 h 2"/>
                  <a:gd name="T2" fmla="*/ 0 w 4"/>
                  <a:gd name="T3" fmla="*/ 0 h 2"/>
                  <a:gd name="T4" fmla="*/ 4 w 4"/>
                  <a:gd name="T5" fmla="*/ 2 h 2"/>
                  <a:gd name="T6" fmla="*/ 2 w 4"/>
                  <a:gd name="T7" fmla="*/ 0 h 2"/>
                </a:gdLst>
                <a:cxnLst>
                  <a:cxn ang="0">
                    <a:pos x="T0" y="T1"/>
                  </a:cxn>
                  <a:cxn ang="0">
                    <a:pos x="T2" y="T3"/>
                  </a:cxn>
                  <a:cxn ang="0">
                    <a:pos x="T4" y="T5"/>
                  </a:cxn>
                  <a:cxn ang="0">
                    <a:pos x="T6" y="T7"/>
                  </a:cxn>
                </a:cxnLst>
                <a:rect l="0" t="0" r="r" b="b"/>
                <a:pathLst>
                  <a:path w="4" h="2">
                    <a:moveTo>
                      <a:pt x="2" y="0"/>
                    </a:moveTo>
                    <a:cubicBezTo>
                      <a:pt x="1" y="0"/>
                      <a:pt x="1" y="0"/>
                      <a:pt x="0" y="0"/>
                    </a:cubicBezTo>
                    <a:cubicBezTo>
                      <a:pt x="1" y="1"/>
                      <a:pt x="2" y="2"/>
                      <a:pt x="4" y="2"/>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265"/>
              <p:cNvSpPr/>
              <p:nvPr/>
            </p:nvSpPr>
            <p:spPr bwMode="auto">
              <a:xfrm>
                <a:off x="7385" y="4828"/>
                <a:ext cx="17" cy="19"/>
              </a:xfrm>
              <a:custGeom>
                <a:gdLst>
                  <a:gd name="T0" fmla="*/ 4 w 7"/>
                  <a:gd name="T1" fmla="*/ 0 h 8"/>
                  <a:gd name="T2" fmla="*/ 1 w 7"/>
                  <a:gd name="T3" fmla="*/ 2 h 8"/>
                  <a:gd name="T4" fmla="*/ 5 w 7"/>
                  <a:gd name="T5" fmla="*/ 8 h 8"/>
                  <a:gd name="T6" fmla="*/ 5 w 7"/>
                  <a:gd name="T7" fmla="*/ 0 h 8"/>
                  <a:gd name="T8" fmla="*/ 4 w 7"/>
                  <a:gd name="T9" fmla="*/ 0 h 8"/>
                </a:gdLst>
                <a:cxnLst>
                  <a:cxn ang="0">
                    <a:pos x="T0" y="T1"/>
                  </a:cxn>
                  <a:cxn ang="0">
                    <a:pos x="T2" y="T3"/>
                  </a:cxn>
                  <a:cxn ang="0">
                    <a:pos x="T4" y="T5"/>
                  </a:cxn>
                  <a:cxn ang="0">
                    <a:pos x="T6" y="T7"/>
                  </a:cxn>
                  <a:cxn ang="0">
                    <a:pos x="T8" y="T9"/>
                  </a:cxn>
                </a:cxnLst>
                <a:rect l="0" t="0" r="r" b="b"/>
                <a:pathLst>
                  <a:path w="7" h="8">
                    <a:moveTo>
                      <a:pt x="4" y="0"/>
                    </a:moveTo>
                    <a:cubicBezTo>
                      <a:pt x="3" y="0"/>
                      <a:pt x="2" y="1"/>
                      <a:pt x="1" y="2"/>
                    </a:cubicBezTo>
                    <a:cubicBezTo>
                      <a:pt x="0" y="5"/>
                      <a:pt x="3" y="6"/>
                      <a:pt x="5" y="8"/>
                    </a:cubicBezTo>
                    <a:cubicBezTo>
                      <a:pt x="1" y="4"/>
                      <a:pt x="7" y="3"/>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266"/>
              <p:cNvSpPr/>
              <p:nvPr/>
            </p:nvSpPr>
            <p:spPr bwMode="auto">
              <a:xfrm>
                <a:off x="7341" y="4724"/>
                <a:ext cx="68" cy="43"/>
              </a:xfrm>
              <a:custGeom>
                <a:gdLst>
                  <a:gd name="T0" fmla="*/ 2 w 29"/>
                  <a:gd name="T1" fmla="*/ 0 h 18"/>
                  <a:gd name="T2" fmla="*/ 1 w 29"/>
                  <a:gd name="T3" fmla="*/ 2 h 18"/>
                  <a:gd name="T4" fmla="*/ 6 w 29"/>
                  <a:gd name="T5" fmla="*/ 6 h 18"/>
                  <a:gd name="T6" fmla="*/ 11 w 29"/>
                  <a:gd name="T7" fmla="*/ 12 h 18"/>
                  <a:gd name="T8" fmla="*/ 21 w 29"/>
                  <a:gd name="T9" fmla="*/ 18 h 18"/>
                  <a:gd name="T10" fmla="*/ 23 w 29"/>
                  <a:gd name="T11" fmla="*/ 18 h 18"/>
                  <a:gd name="T12" fmla="*/ 27 w 29"/>
                  <a:gd name="T13" fmla="*/ 16 h 18"/>
                  <a:gd name="T14" fmla="*/ 23 w 29"/>
                  <a:gd name="T15" fmla="*/ 16 h 18"/>
                  <a:gd name="T16" fmla="*/ 19 w 29"/>
                  <a:gd name="T17" fmla="*/ 13 h 18"/>
                  <a:gd name="T18" fmla="*/ 15 w 29"/>
                  <a:gd name="T19" fmla="*/ 6 h 18"/>
                  <a:gd name="T20" fmla="*/ 9 w 29"/>
                  <a:gd name="T21" fmla="*/ 3 h 18"/>
                  <a:gd name="T22" fmla="*/ 5 w 29"/>
                  <a:gd name="T23" fmla="*/ 0 h 18"/>
                  <a:gd name="T24" fmla="*/ 2 w 29"/>
                  <a:gd name="T2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8">
                    <a:moveTo>
                      <a:pt x="2" y="0"/>
                    </a:moveTo>
                    <a:cubicBezTo>
                      <a:pt x="1" y="0"/>
                      <a:pt x="0" y="0"/>
                      <a:pt x="1" y="2"/>
                    </a:cubicBezTo>
                    <a:cubicBezTo>
                      <a:pt x="2" y="4"/>
                      <a:pt x="5" y="5"/>
                      <a:pt x="6" y="6"/>
                    </a:cubicBezTo>
                    <a:cubicBezTo>
                      <a:pt x="8" y="7"/>
                      <a:pt x="9" y="10"/>
                      <a:pt x="11" y="12"/>
                    </a:cubicBezTo>
                    <a:cubicBezTo>
                      <a:pt x="15" y="15"/>
                      <a:pt x="16" y="17"/>
                      <a:pt x="21" y="18"/>
                    </a:cubicBezTo>
                    <a:cubicBezTo>
                      <a:pt x="21" y="18"/>
                      <a:pt x="22" y="18"/>
                      <a:pt x="23" y="18"/>
                    </a:cubicBezTo>
                    <a:cubicBezTo>
                      <a:pt x="26" y="18"/>
                      <a:pt x="29" y="18"/>
                      <a:pt x="27" y="16"/>
                    </a:cubicBezTo>
                    <a:cubicBezTo>
                      <a:pt x="27" y="16"/>
                      <a:pt x="24" y="16"/>
                      <a:pt x="23" y="16"/>
                    </a:cubicBezTo>
                    <a:cubicBezTo>
                      <a:pt x="22" y="15"/>
                      <a:pt x="20" y="14"/>
                      <a:pt x="19" y="13"/>
                    </a:cubicBezTo>
                    <a:cubicBezTo>
                      <a:pt x="17" y="11"/>
                      <a:pt x="18" y="8"/>
                      <a:pt x="15" y="6"/>
                    </a:cubicBezTo>
                    <a:cubicBezTo>
                      <a:pt x="13" y="5"/>
                      <a:pt x="11" y="4"/>
                      <a:pt x="9" y="3"/>
                    </a:cubicBezTo>
                    <a:cubicBezTo>
                      <a:pt x="7" y="2"/>
                      <a:pt x="6" y="1"/>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267"/>
              <p:cNvSpPr/>
              <p:nvPr/>
            </p:nvSpPr>
            <p:spPr bwMode="auto">
              <a:xfrm>
                <a:off x="7449" y="4774"/>
                <a:ext cx="7" cy="5"/>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0"/>
                      <a:pt x="2" y="1"/>
                      <a:pt x="3" y="2"/>
                    </a:cubicBezTo>
                    <a:cubicBezTo>
                      <a:pt x="3"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268"/>
              <p:cNvSpPr/>
              <p:nvPr/>
            </p:nvSpPr>
            <p:spPr bwMode="auto">
              <a:xfrm>
                <a:off x="7662" y="4901"/>
                <a:ext cx="2" cy="10"/>
              </a:xfrm>
              <a:custGeom>
                <a:gdLst>
                  <a:gd name="T0" fmla="*/ 1 w 1"/>
                  <a:gd name="T1" fmla="*/ 0 h 4"/>
                  <a:gd name="T2" fmla="*/ 1 w 1"/>
                  <a:gd name="T3" fmla="*/ 4 h 4"/>
                  <a:gd name="T4" fmla="*/ 1 w 1"/>
                  <a:gd name="T5" fmla="*/ 0 h 4"/>
                </a:gdLst>
                <a:cxnLst>
                  <a:cxn ang="0">
                    <a:pos x="T0" y="T1"/>
                  </a:cxn>
                  <a:cxn ang="0">
                    <a:pos x="T2" y="T3"/>
                  </a:cxn>
                  <a:cxn ang="0">
                    <a:pos x="T4" y="T5"/>
                  </a:cxn>
                </a:cxnLst>
                <a:rect l="0" t="0" r="r" b="b"/>
                <a:pathLst>
                  <a:path w="1" h="4">
                    <a:moveTo>
                      <a:pt x="1" y="0"/>
                    </a:moveTo>
                    <a:cubicBezTo>
                      <a:pt x="0" y="2"/>
                      <a:pt x="1" y="3"/>
                      <a:pt x="1" y="4"/>
                    </a:cubicBezTo>
                    <a:cubicBezTo>
                      <a:pt x="1"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269"/>
              <p:cNvSpPr/>
              <p:nvPr/>
            </p:nvSpPr>
            <p:spPr bwMode="auto">
              <a:xfrm>
                <a:off x="7523" y="4878"/>
                <a:ext cx="73" cy="40"/>
              </a:xfrm>
              <a:custGeom>
                <a:gdLst>
                  <a:gd name="T0" fmla="*/ 4 w 31"/>
                  <a:gd name="T1" fmla="*/ 0 h 17"/>
                  <a:gd name="T2" fmla="*/ 2 w 31"/>
                  <a:gd name="T3" fmla="*/ 1 h 17"/>
                  <a:gd name="T4" fmla="*/ 3 w 31"/>
                  <a:gd name="T5" fmla="*/ 8 h 17"/>
                  <a:gd name="T6" fmla="*/ 12 w 31"/>
                  <a:gd name="T7" fmla="*/ 14 h 17"/>
                  <a:gd name="T8" fmla="*/ 13 w 31"/>
                  <a:gd name="T9" fmla="*/ 14 h 17"/>
                  <a:gd name="T10" fmla="*/ 15 w 31"/>
                  <a:gd name="T11" fmla="*/ 14 h 17"/>
                  <a:gd name="T12" fmla="*/ 18 w 31"/>
                  <a:gd name="T13" fmla="*/ 13 h 17"/>
                  <a:gd name="T14" fmla="*/ 20 w 31"/>
                  <a:gd name="T15" fmla="*/ 14 h 17"/>
                  <a:gd name="T16" fmla="*/ 22 w 31"/>
                  <a:gd name="T17" fmla="*/ 15 h 17"/>
                  <a:gd name="T18" fmla="*/ 27 w 31"/>
                  <a:gd name="T19" fmla="*/ 17 h 17"/>
                  <a:gd name="T20" fmla="*/ 30 w 31"/>
                  <a:gd name="T21" fmla="*/ 11 h 17"/>
                  <a:gd name="T22" fmla="*/ 29 w 31"/>
                  <a:gd name="T23" fmla="*/ 11 h 17"/>
                  <a:gd name="T24" fmla="*/ 26 w 31"/>
                  <a:gd name="T25" fmla="*/ 7 h 17"/>
                  <a:gd name="T26" fmla="*/ 16 w 31"/>
                  <a:gd name="T27" fmla="*/ 4 h 17"/>
                  <a:gd name="T28" fmla="*/ 16 w 31"/>
                  <a:gd name="T29" fmla="*/ 4 h 17"/>
                  <a:gd name="T30" fmla="*/ 14 w 31"/>
                  <a:gd name="T31" fmla="*/ 4 h 17"/>
                  <a:gd name="T32" fmla="*/ 13 w 31"/>
                  <a:gd name="T33" fmla="*/ 4 h 17"/>
                  <a:gd name="T34" fmla="*/ 12 w 31"/>
                  <a:gd name="T35" fmla="*/ 4 h 17"/>
                  <a:gd name="T36" fmla="*/ 4 w 31"/>
                  <a:gd name="T37"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7">
                    <a:moveTo>
                      <a:pt x="4" y="0"/>
                    </a:moveTo>
                    <a:cubicBezTo>
                      <a:pt x="3" y="0"/>
                      <a:pt x="2" y="0"/>
                      <a:pt x="2" y="1"/>
                    </a:cubicBezTo>
                    <a:cubicBezTo>
                      <a:pt x="0" y="3"/>
                      <a:pt x="2" y="6"/>
                      <a:pt x="3" y="8"/>
                    </a:cubicBezTo>
                    <a:cubicBezTo>
                      <a:pt x="5" y="12"/>
                      <a:pt x="8" y="13"/>
                      <a:pt x="12" y="14"/>
                    </a:cubicBezTo>
                    <a:cubicBezTo>
                      <a:pt x="13" y="14"/>
                      <a:pt x="13" y="14"/>
                      <a:pt x="13" y="14"/>
                    </a:cubicBezTo>
                    <a:cubicBezTo>
                      <a:pt x="14" y="14"/>
                      <a:pt x="15" y="14"/>
                      <a:pt x="15" y="14"/>
                    </a:cubicBezTo>
                    <a:cubicBezTo>
                      <a:pt x="16" y="13"/>
                      <a:pt x="17" y="13"/>
                      <a:pt x="18" y="13"/>
                    </a:cubicBezTo>
                    <a:cubicBezTo>
                      <a:pt x="18" y="13"/>
                      <a:pt x="19" y="13"/>
                      <a:pt x="20" y="14"/>
                    </a:cubicBezTo>
                    <a:cubicBezTo>
                      <a:pt x="21" y="14"/>
                      <a:pt x="21" y="15"/>
                      <a:pt x="22" y="15"/>
                    </a:cubicBezTo>
                    <a:cubicBezTo>
                      <a:pt x="23" y="16"/>
                      <a:pt x="26" y="16"/>
                      <a:pt x="27" y="17"/>
                    </a:cubicBezTo>
                    <a:cubicBezTo>
                      <a:pt x="29" y="15"/>
                      <a:pt x="31" y="13"/>
                      <a:pt x="30" y="11"/>
                    </a:cubicBezTo>
                    <a:cubicBezTo>
                      <a:pt x="29" y="11"/>
                      <a:pt x="29" y="11"/>
                      <a:pt x="29" y="11"/>
                    </a:cubicBezTo>
                    <a:cubicBezTo>
                      <a:pt x="28" y="9"/>
                      <a:pt x="27" y="8"/>
                      <a:pt x="26" y="7"/>
                    </a:cubicBezTo>
                    <a:cubicBezTo>
                      <a:pt x="23" y="4"/>
                      <a:pt x="19" y="4"/>
                      <a:pt x="16" y="4"/>
                    </a:cubicBezTo>
                    <a:cubicBezTo>
                      <a:pt x="16" y="4"/>
                      <a:pt x="16" y="4"/>
                      <a:pt x="16" y="4"/>
                    </a:cubicBezTo>
                    <a:cubicBezTo>
                      <a:pt x="15" y="4"/>
                      <a:pt x="15" y="4"/>
                      <a:pt x="14" y="4"/>
                    </a:cubicBezTo>
                    <a:cubicBezTo>
                      <a:pt x="14" y="4"/>
                      <a:pt x="14" y="4"/>
                      <a:pt x="13" y="4"/>
                    </a:cubicBezTo>
                    <a:cubicBezTo>
                      <a:pt x="13" y="4"/>
                      <a:pt x="13" y="4"/>
                      <a:pt x="12" y="4"/>
                    </a:cubicBezTo>
                    <a:cubicBezTo>
                      <a:pt x="10" y="3"/>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270"/>
              <p:cNvSpPr/>
              <p:nvPr/>
            </p:nvSpPr>
            <p:spPr bwMode="auto">
              <a:xfrm>
                <a:off x="7629" y="4883"/>
                <a:ext cx="12" cy="26"/>
              </a:xfrm>
              <a:custGeom>
                <a:gdLst>
                  <a:gd name="T0" fmla="*/ 0 w 5"/>
                  <a:gd name="T1" fmla="*/ 0 h 11"/>
                  <a:gd name="T2" fmla="*/ 5 w 5"/>
                  <a:gd name="T3" fmla="*/ 11 h 11"/>
                  <a:gd name="T4" fmla="*/ 0 w 5"/>
                  <a:gd name="T5" fmla="*/ 0 h 11"/>
                </a:gdLst>
                <a:cxnLst>
                  <a:cxn ang="0">
                    <a:pos x="T0" y="T1"/>
                  </a:cxn>
                  <a:cxn ang="0">
                    <a:pos x="T2" y="T3"/>
                  </a:cxn>
                  <a:cxn ang="0">
                    <a:pos x="T4" y="T5"/>
                  </a:cxn>
                </a:cxnLst>
                <a:rect l="0" t="0" r="r" b="b"/>
                <a:pathLst>
                  <a:path w="5" h="11">
                    <a:moveTo>
                      <a:pt x="0" y="0"/>
                    </a:moveTo>
                    <a:cubicBezTo>
                      <a:pt x="1" y="4"/>
                      <a:pt x="3" y="7"/>
                      <a:pt x="5" y="11"/>
                    </a:cubicBezTo>
                    <a:cubicBezTo>
                      <a:pt x="5" y="7"/>
                      <a:pt x="3"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271"/>
              <p:cNvSpPr/>
              <p:nvPr/>
            </p:nvSpPr>
            <p:spPr bwMode="auto">
              <a:xfrm>
                <a:off x="7525" y="4826"/>
                <a:ext cx="5" cy="9"/>
              </a:xfrm>
              <a:custGeom>
                <a:gdLst>
                  <a:gd name="T0" fmla="*/ 0 w 2"/>
                  <a:gd name="T1" fmla="*/ 0 h 4"/>
                  <a:gd name="T2" fmla="*/ 2 w 2"/>
                  <a:gd name="T3" fmla="*/ 4 h 4"/>
                  <a:gd name="T4" fmla="*/ 1 w 2"/>
                  <a:gd name="T5" fmla="*/ 1 h 4"/>
                  <a:gd name="T6" fmla="*/ 0 w 2"/>
                  <a:gd name="T7" fmla="*/ 0 h 4"/>
                  <a:gd name="T8" fmla="*/ 0 w 2"/>
                  <a:gd name="T9" fmla="*/ 0 h 4"/>
                </a:gdLst>
                <a:cxnLst>
                  <a:cxn ang="0">
                    <a:pos x="T0" y="T1"/>
                  </a:cxn>
                  <a:cxn ang="0">
                    <a:pos x="T2" y="T3"/>
                  </a:cxn>
                  <a:cxn ang="0">
                    <a:pos x="T4" y="T5"/>
                  </a:cxn>
                  <a:cxn ang="0">
                    <a:pos x="T6" y="T7"/>
                  </a:cxn>
                  <a:cxn ang="0">
                    <a:pos x="T8" y="T9"/>
                  </a:cxn>
                </a:cxnLst>
                <a:rect l="0" t="0" r="r" b="b"/>
                <a:pathLst>
                  <a:path w="2" h="4">
                    <a:moveTo>
                      <a:pt x="0" y="0"/>
                    </a:moveTo>
                    <a:cubicBezTo>
                      <a:pt x="1" y="1"/>
                      <a:pt x="2" y="3"/>
                      <a:pt x="2" y="4"/>
                    </a:cubicBezTo>
                    <a:cubicBezTo>
                      <a:pt x="2" y="3"/>
                      <a:pt x="2" y="1"/>
                      <a:pt x="1" y="1"/>
                    </a:cubicBezTo>
                    <a:cubicBezTo>
                      <a:pt x="1"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272"/>
              <p:cNvSpPr/>
              <p:nvPr/>
            </p:nvSpPr>
            <p:spPr bwMode="auto">
              <a:xfrm>
                <a:off x="7452" y="4779"/>
                <a:ext cx="11" cy="4"/>
              </a:xfrm>
              <a:custGeom>
                <a:gdLst>
                  <a:gd name="T0" fmla="*/ 1 w 5"/>
                  <a:gd name="T1" fmla="*/ 0 h 2"/>
                  <a:gd name="T2" fmla="*/ 0 w 5"/>
                  <a:gd name="T3" fmla="*/ 0 h 2"/>
                  <a:gd name="T4" fmla="*/ 5 w 5"/>
                  <a:gd name="T5" fmla="*/ 2 h 2"/>
                  <a:gd name="T6" fmla="*/ 1 w 5"/>
                  <a:gd name="T7" fmla="*/ 0 h 2"/>
                </a:gdLst>
                <a:cxnLst>
                  <a:cxn ang="0">
                    <a:pos x="T0" y="T1"/>
                  </a:cxn>
                  <a:cxn ang="0">
                    <a:pos x="T2" y="T3"/>
                  </a:cxn>
                  <a:cxn ang="0">
                    <a:pos x="T4" y="T5"/>
                  </a:cxn>
                  <a:cxn ang="0">
                    <a:pos x="T6" y="T7"/>
                  </a:cxn>
                </a:cxnLst>
                <a:rect l="0" t="0" r="r" b="b"/>
                <a:pathLst>
                  <a:path w="5" h="2">
                    <a:moveTo>
                      <a:pt x="1" y="0"/>
                    </a:moveTo>
                    <a:cubicBezTo>
                      <a:pt x="1" y="0"/>
                      <a:pt x="0" y="0"/>
                      <a:pt x="0" y="0"/>
                    </a:cubicBezTo>
                    <a:cubicBezTo>
                      <a:pt x="2" y="1"/>
                      <a:pt x="3" y="1"/>
                      <a:pt x="5" y="2"/>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Freeform 273"/>
              <p:cNvSpPr/>
              <p:nvPr/>
            </p:nvSpPr>
            <p:spPr bwMode="auto">
              <a:xfrm>
                <a:off x="7369" y="4795"/>
                <a:ext cx="19" cy="17"/>
              </a:xfrm>
              <a:custGeom>
                <a:gdLst>
                  <a:gd name="T0" fmla="*/ 5 w 8"/>
                  <a:gd name="T1" fmla="*/ 0 h 7"/>
                  <a:gd name="T2" fmla="*/ 2 w 8"/>
                  <a:gd name="T3" fmla="*/ 2 h 7"/>
                  <a:gd name="T4" fmla="*/ 6 w 8"/>
                  <a:gd name="T5" fmla="*/ 7 h 7"/>
                  <a:gd name="T6" fmla="*/ 6 w 8"/>
                  <a:gd name="T7" fmla="*/ 0 h 7"/>
                  <a:gd name="T8" fmla="*/ 5 w 8"/>
                  <a:gd name="T9" fmla="*/ 0 h 7"/>
                </a:gdLst>
                <a:cxnLst>
                  <a:cxn ang="0">
                    <a:pos x="T0" y="T1"/>
                  </a:cxn>
                  <a:cxn ang="0">
                    <a:pos x="T2" y="T3"/>
                  </a:cxn>
                  <a:cxn ang="0">
                    <a:pos x="T4" y="T5"/>
                  </a:cxn>
                  <a:cxn ang="0">
                    <a:pos x="T6" y="T7"/>
                  </a:cxn>
                  <a:cxn ang="0">
                    <a:pos x="T8" y="T9"/>
                  </a:cxn>
                </a:cxnLst>
                <a:rect l="0" t="0" r="r" b="b"/>
                <a:pathLst>
                  <a:path w="8" h="7">
                    <a:moveTo>
                      <a:pt x="5" y="0"/>
                    </a:moveTo>
                    <a:cubicBezTo>
                      <a:pt x="3" y="0"/>
                      <a:pt x="3" y="1"/>
                      <a:pt x="2" y="2"/>
                    </a:cubicBezTo>
                    <a:cubicBezTo>
                      <a:pt x="0" y="4"/>
                      <a:pt x="5" y="6"/>
                      <a:pt x="6" y="7"/>
                    </a:cubicBezTo>
                    <a:cubicBezTo>
                      <a:pt x="8" y="6"/>
                      <a:pt x="8" y="2"/>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274"/>
              <p:cNvSpPr/>
              <p:nvPr/>
            </p:nvSpPr>
            <p:spPr bwMode="auto">
              <a:xfrm>
                <a:off x="7445" y="4845"/>
                <a:ext cx="2" cy="7"/>
              </a:xfrm>
              <a:custGeom>
                <a:gdLst>
                  <a:gd name="T0" fmla="*/ 0 w 1"/>
                  <a:gd name="T1" fmla="*/ 0 h 3"/>
                  <a:gd name="T2" fmla="*/ 0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0" y="3"/>
                    </a:cubicBezTo>
                    <a:cubicBezTo>
                      <a:pt x="0"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275"/>
              <p:cNvSpPr/>
              <p:nvPr/>
            </p:nvSpPr>
            <p:spPr bwMode="auto">
              <a:xfrm>
                <a:off x="7300" y="4743"/>
                <a:ext cx="15" cy="10"/>
              </a:xfrm>
              <a:custGeom>
                <a:gdLst>
                  <a:gd name="T0" fmla="*/ 0 w 6"/>
                  <a:gd name="T1" fmla="*/ 0 h 4"/>
                  <a:gd name="T2" fmla="*/ 1 w 6"/>
                  <a:gd name="T3" fmla="*/ 4 h 4"/>
                  <a:gd name="T4" fmla="*/ 0 w 6"/>
                  <a:gd name="T5" fmla="*/ 0 h 4"/>
                </a:gdLst>
                <a:cxnLst>
                  <a:cxn ang="0">
                    <a:pos x="T0" y="T1"/>
                  </a:cxn>
                  <a:cxn ang="0">
                    <a:pos x="T2" y="T3"/>
                  </a:cxn>
                  <a:cxn ang="0">
                    <a:pos x="T4" y="T5"/>
                  </a:cxn>
                </a:cxnLst>
                <a:rect l="0" t="0" r="r" b="b"/>
                <a:pathLst>
                  <a:path w="6" h="4">
                    <a:moveTo>
                      <a:pt x="0" y="0"/>
                    </a:moveTo>
                    <a:cubicBezTo>
                      <a:pt x="1" y="1"/>
                      <a:pt x="1" y="3"/>
                      <a:pt x="1" y="4"/>
                    </a:cubicBezTo>
                    <a:cubicBezTo>
                      <a:pt x="6"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276"/>
              <p:cNvSpPr/>
              <p:nvPr/>
            </p:nvSpPr>
            <p:spPr bwMode="auto">
              <a:xfrm>
                <a:off x="7563" y="4868"/>
                <a:ext cx="9" cy="5"/>
              </a:xfrm>
              <a:custGeom>
                <a:gdLst>
                  <a:gd name="T0" fmla="*/ 3 w 4"/>
                  <a:gd name="T1" fmla="*/ 0 h 2"/>
                  <a:gd name="T2" fmla="*/ 0 w 4"/>
                  <a:gd name="T3" fmla="*/ 2 h 2"/>
                  <a:gd name="T4" fmla="*/ 1 w 4"/>
                  <a:gd name="T5" fmla="*/ 2 h 2"/>
                  <a:gd name="T6" fmla="*/ 4 w 4"/>
                  <a:gd name="T7" fmla="*/ 1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1" y="1"/>
                      <a:pt x="0" y="2"/>
                    </a:cubicBezTo>
                    <a:cubicBezTo>
                      <a:pt x="1" y="2"/>
                      <a:pt x="1" y="2"/>
                      <a:pt x="1" y="2"/>
                    </a:cubicBezTo>
                    <a:cubicBezTo>
                      <a:pt x="3" y="2"/>
                      <a:pt x="4" y="2"/>
                      <a:pt x="4" y="1"/>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Freeform 277"/>
              <p:cNvSpPr/>
              <p:nvPr/>
            </p:nvSpPr>
            <p:spPr bwMode="auto">
              <a:xfrm>
                <a:off x="7376" y="4814"/>
                <a:ext cx="7" cy="9"/>
              </a:xfrm>
              <a:custGeom>
                <a:gdLst>
                  <a:gd name="T0" fmla="*/ 0 w 3"/>
                  <a:gd name="T1" fmla="*/ 0 h 4"/>
                  <a:gd name="T2" fmla="*/ 0 w 3"/>
                  <a:gd name="T3" fmla="*/ 0 h 4"/>
                  <a:gd name="T4" fmla="*/ 3 w 3"/>
                  <a:gd name="T5" fmla="*/ 4 h 4"/>
                  <a:gd name="T6" fmla="*/ 0 w 3"/>
                  <a:gd name="T7" fmla="*/ 0 h 4"/>
                </a:gdLst>
                <a:cxnLst>
                  <a:cxn ang="0">
                    <a:pos x="T0" y="T1"/>
                  </a:cxn>
                  <a:cxn ang="0">
                    <a:pos x="T2" y="T3"/>
                  </a:cxn>
                  <a:cxn ang="0">
                    <a:pos x="T4" y="T5"/>
                  </a:cxn>
                  <a:cxn ang="0">
                    <a:pos x="T6" y="T7"/>
                  </a:cxn>
                </a:cxnLst>
                <a:rect l="0" t="0" r="r" b="b"/>
                <a:pathLst>
                  <a:path w="3" h="4">
                    <a:moveTo>
                      <a:pt x="0" y="0"/>
                    </a:moveTo>
                    <a:cubicBezTo>
                      <a:pt x="0" y="0"/>
                      <a:pt x="0" y="0"/>
                      <a:pt x="0" y="0"/>
                    </a:cubicBezTo>
                    <a:cubicBezTo>
                      <a:pt x="1" y="2"/>
                      <a:pt x="2" y="3"/>
                      <a:pt x="3" y="4"/>
                    </a:cubicBezTo>
                    <a:cubicBezTo>
                      <a:pt x="3" y="2"/>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278"/>
              <p:cNvSpPr/>
              <p:nvPr/>
            </p:nvSpPr>
            <p:spPr bwMode="auto">
              <a:xfrm>
                <a:off x="7556" y="4861"/>
                <a:ext cx="11" cy="10"/>
              </a:xfrm>
              <a:custGeom>
                <a:gdLst>
                  <a:gd name="T0" fmla="*/ 2 w 5"/>
                  <a:gd name="T1" fmla="*/ 0 h 4"/>
                  <a:gd name="T2" fmla="*/ 0 w 5"/>
                  <a:gd name="T3" fmla="*/ 1 h 4"/>
                  <a:gd name="T4" fmla="*/ 4 w 5"/>
                  <a:gd name="T5" fmla="*/ 4 h 4"/>
                  <a:gd name="T6" fmla="*/ 2 w 5"/>
                  <a:gd name="T7" fmla="*/ 0 h 4"/>
                </a:gdLst>
                <a:cxnLst>
                  <a:cxn ang="0">
                    <a:pos x="T0" y="T1"/>
                  </a:cxn>
                  <a:cxn ang="0">
                    <a:pos x="T2" y="T3"/>
                  </a:cxn>
                  <a:cxn ang="0">
                    <a:pos x="T4" y="T5"/>
                  </a:cxn>
                  <a:cxn ang="0">
                    <a:pos x="T6" y="T7"/>
                  </a:cxn>
                </a:cxnLst>
                <a:rect l="0" t="0" r="r" b="b"/>
                <a:pathLst>
                  <a:path w="5" h="4">
                    <a:moveTo>
                      <a:pt x="2" y="0"/>
                    </a:moveTo>
                    <a:cubicBezTo>
                      <a:pt x="1" y="0"/>
                      <a:pt x="0" y="1"/>
                      <a:pt x="0" y="1"/>
                    </a:cubicBezTo>
                    <a:cubicBezTo>
                      <a:pt x="1" y="2"/>
                      <a:pt x="2" y="3"/>
                      <a:pt x="4" y="4"/>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Freeform 279"/>
              <p:cNvSpPr>
                <a:spLocks noEditPoints="1"/>
              </p:cNvSpPr>
              <p:nvPr/>
            </p:nvSpPr>
            <p:spPr bwMode="auto">
              <a:xfrm>
                <a:off x="7428" y="4833"/>
                <a:ext cx="14" cy="16"/>
              </a:xfrm>
              <a:custGeom>
                <a:gdLst>
                  <a:gd name="T0" fmla="*/ 6 w 6"/>
                  <a:gd name="T1" fmla="*/ 2 h 7"/>
                  <a:gd name="T2" fmla="*/ 6 w 6"/>
                  <a:gd name="T3" fmla="*/ 2 h 7"/>
                  <a:gd name="T4" fmla="*/ 6 w 6"/>
                  <a:gd name="T5" fmla="*/ 2 h 7"/>
                  <a:gd name="T6" fmla="*/ 3 w 6"/>
                  <a:gd name="T7" fmla="*/ 0 h 7"/>
                  <a:gd name="T8" fmla="*/ 0 w 6"/>
                  <a:gd name="T9" fmla="*/ 2 h 7"/>
                  <a:gd name="T10" fmla="*/ 2 w 6"/>
                  <a:gd name="T11" fmla="*/ 7 h 7"/>
                  <a:gd name="T12" fmla="*/ 5 w 6"/>
                  <a:gd name="T13" fmla="*/ 3 h 7"/>
                  <a:gd name="T14" fmla="*/ 5 w 6"/>
                  <a:gd name="T15" fmla="*/ 3 h 7"/>
                  <a:gd name="T16" fmla="*/ 5 w 6"/>
                  <a:gd name="T17" fmla="*/ 2 h 7"/>
                  <a:gd name="T18" fmla="*/ 5 w 6"/>
                  <a:gd name="T19" fmla="*/ 2 h 7"/>
                  <a:gd name="T20" fmla="*/ 6 w 6"/>
                  <a:gd name="T21" fmla="*/ 2 h 7"/>
                  <a:gd name="T22" fmla="*/ 3 w 6"/>
                  <a:gd name="T23"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2"/>
                    </a:moveTo>
                    <a:cubicBezTo>
                      <a:pt x="6" y="2"/>
                      <a:pt x="6" y="2"/>
                      <a:pt x="6" y="2"/>
                    </a:cubicBezTo>
                    <a:cubicBezTo>
                      <a:pt x="6" y="2"/>
                      <a:pt x="6" y="2"/>
                      <a:pt x="6" y="2"/>
                    </a:cubicBezTo>
                    <a:moveTo>
                      <a:pt x="3" y="0"/>
                    </a:moveTo>
                    <a:cubicBezTo>
                      <a:pt x="2" y="0"/>
                      <a:pt x="1" y="1"/>
                      <a:pt x="0" y="2"/>
                    </a:cubicBezTo>
                    <a:cubicBezTo>
                      <a:pt x="0" y="3"/>
                      <a:pt x="1" y="5"/>
                      <a:pt x="2" y="7"/>
                    </a:cubicBezTo>
                    <a:cubicBezTo>
                      <a:pt x="5" y="5"/>
                      <a:pt x="4" y="5"/>
                      <a:pt x="5" y="3"/>
                    </a:cubicBezTo>
                    <a:cubicBezTo>
                      <a:pt x="5" y="3"/>
                      <a:pt x="5" y="3"/>
                      <a:pt x="5" y="3"/>
                    </a:cubicBezTo>
                    <a:cubicBezTo>
                      <a:pt x="5" y="3"/>
                      <a:pt x="5" y="3"/>
                      <a:pt x="5" y="2"/>
                    </a:cubicBezTo>
                    <a:cubicBezTo>
                      <a:pt x="5" y="2"/>
                      <a:pt x="5" y="2"/>
                      <a:pt x="5" y="2"/>
                    </a:cubicBezTo>
                    <a:cubicBezTo>
                      <a:pt x="6" y="2"/>
                      <a:pt x="6" y="2"/>
                      <a:pt x="6" y="2"/>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280"/>
              <p:cNvSpPr/>
              <p:nvPr/>
            </p:nvSpPr>
            <p:spPr bwMode="auto">
              <a:xfrm>
                <a:off x="7350" y="4779"/>
                <a:ext cx="17" cy="21"/>
              </a:xfrm>
              <a:custGeom>
                <a:gdLst>
                  <a:gd name="T0" fmla="*/ 0 w 7"/>
                  <a:gd name="T1" fmla="*/ 0 h 9"/>
                  <a:gd name="T2" fmla="*/ 3 w 7"/>
                  <a:gd name="T3" fmla="*/ 9 h 9"/>
                  <a:gd name="T4" fmla="*/ 5 w 7"/>
                  <a:gd name="T5" fmla="*/ 3 h 9"/>
                  <a:gd name="T6" fmla="*/ 0 w 7"/>
                  <a:gd name="T7" fmla="*/ 0 h 9"/>
                </a:gdLst>
                <a:cxnLst>
                  <a:cxn ang="0">
                    <a:pos x="T0" y="T1"/>
                  </a:cxn>
                  <a:cxn ang="0">
                    <a:pos x="T2" y="T3"/>
                  </a:cxn>
                  <a:cxn ang="0">
                    <a:pos x="T4" y="T5"/>
                  </a:cxn>
                  <a:cxn ang="0">
                    <a:pos x="T6" y="T7"/>
                  </a:cxn>
                </a:cxnLst>
                <a:rect l="0" t="0" r="r" b="b"/>
                <a:pathLst>
                  <a:path w="7" h="9">
                    <a:moveTo>
                      <a:pt x="0" y="0"/>
                    </a:moveTo>
                    <a:cubicBezTo>
                      <a:pt x="0" y="3"/>
                      <a:pt x="2" y="6"/>
                      <a:pt x="3" y="9"/>
                    </a:cubicBezTo>
                    <a:cubicBezTo>
                      <a:pt x="3" y="6"/>
                      <a:pt x="7" y="6"/>
                      <a:pt x="5" y="3"/>
                    </a:cubicBezTo>
                    <a:cubicBezTo>
                      <a:pt x="5" y="3"/>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281"/>
              <p:cNvSpPr/>
              <p:nvPr/>
            </p:nvSpPr>
            <p:spPr bwMode="auto">
              <a:xfrm>
                <a:off x="7549" y="5008"/>
                <a:ext cx="37" cy="21"/>
              </a:xfrm>
              <a:custGeom>
                <a:gdLst>
                  <a:gd name="T0" fmla="*/ 1 w 16"/>
                  <a:gd name="T1" fmla="*/ 0 h 9"/>
                  <a:gd name="T2" fmla="*/ 0 w 16"/>
                  <a:gd name="T3" fmla="*/ 0 h 9"/>
                  <a:gd name="T4" fmla="*/ 13 w 16"/>
                  <a:gd name="T5" fmla="*/ 9 h 9"/>
                  <a:gd name="T6" fmla="*/ 7 w 16"/>
                  <a:gd name="T7" fmla="*/ 3 h 9"/>
                  <a:gd name="T8" fmla="*/ 1 w 16"/>
                  <a:gd name="T9" fmla="*/ 0 h 9"/>
                </a:gdLst>
                <a:cxnLst>
                  <a:cxn ang="0">
                    <a:pos x="T0" y="T1"/>
                  </a:cxn>
                  <a:cxn ang="0">
                    <a:pos x="T2" y="T3"/>
                  </a:cxn>
                  <a:cxn ang="0">
                    <a:pos x="T4" y="T5"/>
                  </a:cxn>
                  <a:cxn ang="0">
                    <a:pos x="T6" y="T7"/>
                  </a:cxn>
                  <a:cxn ang="0">
                    <a:pos x="T8" y="T9"/>
                  </a:cxn>
                </a:cxnLst>
                <a:rect l="0" t="0" r="r" b="b"/>
                <a:pathLst>
                  <a:path w="16" h="9">
                    <a:moveTo>
                      <a:pt x="1" y="0"/>
                    </a:moveTo>
                    <a:cubicBezTo>
                      <a:pt x="0" y="0"/>
                      <a:pt x="0" y="0"/>
                      <a:pt x="0" y="0"/>
                    </a:cubicBezTo>
                    <a:cubicBezTo>
                      <a:pt x="4" y="4"/>
                      <a:pt x="8" y="6"/>
                      <a:pt x="13" y="9"/>
                    </a:cubicBezTo>
                    <a:cubicBezTo>
                      <a:pt x="16" y="7"/>
                      <a:pt x="8" y="4"/>
                      <a:pt x="7" y="3"/>
                    </a:cubicBezTo>
                    <a:cubicBezTo>
                      <a:pt x="5"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282"/>
              <p:cNvSpPr/>
              <p:nvPr/>
            </p:nvSpPr>
            <p:spPr bwMode="auto">
              <a:xfrm>
                <a:off x="3952" y="3743"/>
                <a:ext cx="5" cy="7"/>
              </a:xfrm>
              <a:custGeom>
                <a:gdLst>
                  <a:gd name="T0" fmla="*/ 1 w 2"/>
                  <a:gd name="T1" fmla="*/ 0 h 3"/>
                  <a:gd name="T2" fmla="*/ 0 w 2"/>
                  <a:gd name="T3" fmla="*/ 3 h 3"/>
                  <a:gd name="T4" fmla="*/ 1 w 2"/>
                  <a:gd name="T5" fmla="*/ 0 h 3"/>
                </a:gdLst>
                <a:cxnLst>
                  <a:cxn ang="0">
                    <a:pos x="T0" y="T1"/>
                  </a:cxn>
                  <a:cxn ang="0">
                    <a:pos x="T2" y="T3"/>
                  </a:cxn>
                  <a:cxn ang="0">
                    <a:pos x="T4" y="T5"/>
                  </a:cxn>
                </a:cxnLst>
                <a:rect l="0" t="0" r="r" b="b"/>
                <a:pathLst>
                  <a:path w="2" h="3">
                    <a:moveTo>
                      <a:pt x="1" y="0"/>
                    </a:moveTo>
                    <a:cubicBezTo>
                      <a:pt x="0" y="1"/>
                      <a:pt x="0" y="2"/>
                      <a:pt x="0" y="3"/>
                    </a:cubicBezTo>
                    <a:cubicBezTo>
                      <a:pt x="1"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283"/>
              <p:cNvSpPr/>
              <p:nvPr/>
            </p:nvSpPr>
            <p:spPr bwMode="auto">
              <a:xfrm>
                <a:off x="3954" y="3750"/>
                <a:ext cx="5" cy="5"/>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1"/>
                      <a:pt x="0"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284"/>
              <p:cNvSpPr/>
              <p:nvPr/>
            </p:nvSpPr>
            <p:spPr bwMode="auto">
              <a:xfrm>
                <a:off x="3910" y="3367"/>
                <a:ext cx="7" cy="17"/>
              </a:xfrm>
              <a:custGeom>
                <a:gdLst>
                  <a:gd name="T0" fmla="*/ 2 w 3"/>
                  <a:gd name="T1" fmla="*/ 0 h 7"/>
                  <a:gd name="T2" fmla="*/ 3 w 3"/>
                  <a:gd name="T3" fmla="*/ 7 h 7"/>
                  <a:gd name="T4" fmla="*/ 2 w 3"/>
                  <a:gd name="T5" fmla="*/ 0 h 7"/>
                </a:gdLst>
                <a:cxnLst>
                  <a:cxn ang="0">
                    <a:pos x="T0" y="T1"/>
                  </a:cxn>
                  <a:cxn ang="0">
                    <a:pos x="T2" y="T3"/>
                  </a:cxn>
                  <a:cxn ang="0">
                    <a:pos x="T4" y="T5"/>
                  </a:cxn>
                </a:cxnLst>
                <a:rect l="0" t="0" r="r" b="b"/>
                <a:pathLst>
                  <a:path w="3" h="7">
                    <a:moveTo>
                      <a:pt x="2" y="0"/>
                    </a:moveTo>
                    <a:cubicBezTo>
                      <a:pt x="0" y="1"/>
                      <a:pt x="0" y="6"/>
                      <a:pt x="3" y="7"/>
                    </a:cubicBezTo>
                    <a:cubicBezTo>
                      <a:pt x="3" y="5"/>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285"/>
              <p:cNvSpPr/>
              <p:nvPr/>
            </p:nvSpPr>
            <p:spPr bwMode="auto">
              <a:xfrm>
                <a:off x="3943" y="3646"/>
                <a:ext cx="2" cy="10"/>
              </a:xfrm>
              <a:custGeom>
                <a:gdLst>
                  <a:gd name="T0" fmla="*/ 0 w 1"/>
                  <a:gd name="T1" fmla="*/ 0 h 4"/>
                  <a:gd name="T2" fmla="*/ 1 w 1"/>
                  <a:gd name="T3" fmla="*/ 4 h 4"/>
                  <a:gd name="T4" fmla="*/ 0 w 1"/>
                  <a:gd name="T5" fmla="*/ 0 h 4"/>
                </a:gdLst>
                <a:cxnLst>
                  <a:cxn ang="0">
                    <a:pos x="T0" y="T1"/>
                  </a:cxn>
                  <a:cxn ang="0">
                    <a:pos x="T2" y="T3"/>
                  </a:cxn>
                  <a:cxn ang="0">
                    <a:pos x="T4" y="T5"/>
                  </a:cxn>
                </a:cxnLst>
                <a:rect l="0" t="0" r="r" b="b"/>
                <a:pathLst>
                  <a:path w="1" h="4">
                    <a:moveTo>
                      <a:pt x="0" y="0"/>
                    </a:moveTo>
                    <a:cubicBezTo>
                      <a:pt x="0" y="1"/>
                      <a:pt x="1" y="2"/>
                      <a:pt x="1"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286"/>
              <p:cNvSpPr/>
              <p:nvPr/>
            </p:nvSpPr>
            <p:spPr bwMode="auto">
              <a:xfrm>
                <a:off x="3957" y="3563"/>
                <a:ext cx="4" cy="15"/>
              </a:xfrm>
              <a:custGeom>
                <a:gdLst>
                  <a:gd name="T0" fmla="*/ 0 w 2"/>
                  <a:gd name="T1" fmla="*/ 0 h 6"/>
                  <a:gd name="T2" fmla="*/ 1 w 2"/>
                  <a:gd name="T3" fmla="*/ 5 h 6"/>
                  <a:gd name="T4" fmla="*/ 1 w 2"/>
                  <a:gd name="T5" fmla="*/ 6 h 6"/>
                  <a:gd name="T6" fmla="*/ 2 w 2"/>
                  <a:gd name="T7" fmla="*/ 4 h 6"/>
                  <a:gd name="T8" fmla="*/ 0 w 2"/>
                  <a:gd name="T9" fmla="*/ 0 h 6"/>
                </a:gdLst>
                <a:cxnLst>
                  <a:cxn ang="0">
                    <a:pos x="T0" y="T1"/>
                  </a:cxn>
                  <a:cxn ang="0">
                    <a:pos x="T2" y="T3"/>
                  </a:cxn>
                  <a:cxn ang="0">
                    <a:pos x="T4" y="T5"/>
                  </a:cxn>
                  <a:cxn ang="0">
                    <a:pos x="T6" y="T7"/>
                  </a:cxn>
                  <a:cxn ang="0">
                    <a:pos x="T8" y="T9"/>
                  </a:cxn>
                </a:cxnLst>
                <a:rect l="0" t="0" r="r" b="b"/>
                <a:pathLst>
                  <a:path w="2" h="6">
                    <a:moveTo>
                      <a:pt x="0" y="0"/>
                    </a:moveTo>
                    <a:cubicBezTo>
                      <a:pt x="0" y="2"/>
                      <a:pt x="0" y="3"/>
                      <a:pt x="1" y="5"/>
                    </a:cubicBezTo>
                    <a:cubicBezTo>
                      <a:pt x="1" y="6"/>
                      <a:pt x="1" y="6"/>
                      <a:pt x="1" y="6"/>
                    </a:cubicBezTo>
                    <a:cubicBezTo>
                      <a:pt x="1" y="5"/>
                      <a:pt x="2" y="4"/>
                      <a:pt x="2" y="4"/>
                    </a:cubicBezTo>
                    <a:cubicBezTo>
                      <a:pt x="2" y="3"/>
                      <a:pt x="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Freeform 287"/>
              <p:cNvSpPr/>
              <p:nvPr/>
            </p:nvSpPr>
            <p:spPr bwMode="auto">
              <a:xfrm>
                <a:off x="3959" y="3594"/>
                <a:ext cx="14" cy="19"/>
              </a:xfrm>
              <a:custGeom>
                <a:gdLst>
                  <a:gd name="T0" fmla="*/ 1 w 6"/>
                  <a:gd name="T1" fmla="*/ 0 h 8"/>
                  <a:gd name="T2" fmla="*/ 1 w 6"/>
                  <a:gd name="T3" fmla="*/ 0 h 8"/>
                  <a:gd name="T4" fmla="*/ 0 w 6"/>
                  <a:gd name="T5" fmla="*/ 8 h 8"/>
                  <a:gd name="T6" fmla="*/ 1 w 6"/>
                  <a:gd name="T7" fmla="*/ 0 h 8"/>
                  <a:gd name="T8" fmla="*/ 1 w 6"/>
                  <a:gd name="T9" fmla="*/ 0 h 8"/>
                </a:gdLst>
                <a:cxnLst>
                  <a:cxn ang="0">
                    <a:pos x="T0" y="T1"/>
                  </a:cxn>
                  <a:cxn ang="0">
                    <a:pos x="T2" y="T3"/>
                  </a:cxn>
                  <a:cxn ang="0">
                    <a:pos x="T4" y="T5"/>
                  </a:cxn>
                  <a:cxn ang="0">
                    <a:pos x="T6" y="T7"/>
                  </a:cxn>
                  <a:cxn ang="0">
                    <a:pos x="T8" y="T9"/>
                  </a:cxn>
                </a:cxnLst>
                <a:rect l="0" t="0" r="r" b="b"/>
                <a:pathLst>
                  <a:path w="6" h="8">
                    <a:moveTo>
                      <a:pt x="1" y="0"/>
                    </a:moveTo>
                    <a:cubicBezTo>
                      <a:pt x="1" y="0"/>
                      <a:pt x="1" y="0"/>
                      <a:pt x="1" y="0"/>
                    </a:cubicBezTo>
                    <a:cubicBezTo>
                      <a:pt x="0" y="3"/>
                      <a:pt x="0" y="6"/>
                      <a:pt x="0" y="8"/>
                    </a:cubicBezTo>
                    <a:cubicBezTo>
                      <a:pt x="6" y="8"/>
                      <a:pt x="5" y="2"/>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288"/>
              <p:cNvSpPr/>
              <p:nvPr/>
            </p:nvSpPr>
            <p:spPr bwMode="auto">
              <a:xfrm>
                <a:off x="3952" y="3646"/>
                <a:ext cx="9" cy="22"/>
              </a:xfrm>
              <a:custGeom>
                <a:gdLst>
                  <a:gd name="T0" fmla="*/ 3 w 4"/>
                  <a:gd name="T1" fmla="*/ 0 h 9"/>
                  <a:gd name="T2" fmla="*/ 0 w 4"/>
                  <a:gd name="T3" fmla="*/ 9 h 9"/>
                  <a:gd name="T4" fmla="*/ 3 w 4"/>
                  <a:gd name="T5" fmla="*/ 5 h 9"/>
                  <a:gd name="T6" fmla="*/ 3 w 4"/>
                  <a:gd name="T7" fmla="*/ 0 h 9"/>
                </a:gdLst>
                <a:cxnLst>
                  <a:cxn ang="0">
                    <a:pos x="T0" y="T1"/>
                  </a:cxn>
                  <a:cxn ang="0">
                    <a:pos x="T2" y="T3"/>
                  </a:cxn>
                  <a:cxn ang="0">
                    <a:pos x="T4" y="T5"/>
                  </a:cxn>
                  <a:cxn ang="0">
                    <a:pos x="T6" y="T7"/>
                  </a:cxn>
                </a:cxnLst>
                <a:rect l="0" t="0" r="r" b="b"/>
                <a:pathLst>
                  <a:path w="4" h="9">
                    <a:moveTo>
                      <a:pt x="3" y="0"/>
                    </a:moveTo>
                    <a:cubicBezTo>
                      <a:pt x="2" y="3"/>
                      <a:pt x="1" y="6"/>
                      <a:pt x="0" y="9"/>
                    </a:cubicBezTo>
                    <a:cubicBezTo>
                      <a:pt x="3" y="9"/>
                      <a:pt x="2" y="7"/>
                      <a:pt x="3" y="5"/>
                    </a:cubicBezTo>
                    <a:cubicBezTo>
                      <a:pt x="3"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289"/>
              <p:cNvSpPr/>
              <p:nvPr/>
            </p:nvSpPr>
            <p:spPr bwMode="auto">
              <a:xfrm>
                <a:off x="3961" y="3646"/>
                <a:ext cx="15" cy="17"/>
              </a:xfrm>
              <a:custGeom>
                <a:gdLst>
                  <a:gd name="T0" fmla="*/ 4 w 6"/>
                  <a:gd name="T1" fmla="*/ 0 h 7"/>
                  <a:gd name="T2" fmla="*/ 2 w 6"/>
                  <a:gd name="T3" fmla="*/ 0 h 7"/>
                  <a:gd name="T4" fmla="*/ 2 w 6"/>
                  <a:gd name="T5" fmla="*/ 5 h 7"/>
                  <a:gd name="T6" fmla="*/ 2 w 6"/>
                  <a:gd name="T7" fmla="*/ 5 h 7"/>
                  <a:gd name="T8" fmla="*/ 5 w 6"/>
                  <a:gd name="T9" fmla="*/ 7 h 7"/>
                  <a:gd name="T10" fmla="*/ 5 w 6"/>
                  <a:gd name="T11" fmla="*/ 1 h 7"/>
                  <a:gd name="T12" fmla="*/ 5 w 6"/>
                  <a:gd name="T13" fmla="*/ 1 h 7"/>
                  <a:gd name="T14" fmla="*/ 4 w 6"/>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4" y="0"/>
                    </a:moveTo>
                    <a:cubicBezTo>
                      <a:pt x="3" y="0"/>
                      <a:pt x="2" y="0"/>
                      <a:pt x="2" y="0"/>
                    </a:cubicBezTo>
                    <a:cubicBezTo>
                      <a:pt x="0" y="0"/>
                      <a:pt x="2" y="4"/>
                      <a:pt x="2" y="5"/>
                    </a:cubicBezTo>
                    <a:cubicBezTo>
                      <a:pt x="2" y="5"/>
                      <a:pt x="2" y="5"/>
                      <a:pt x="2" y="5"/>
                    </a:cubicBezTo>
                    <a:cubicBezTo>
                      <a:pt x="3" y="5"/>
                      <a:pt x="4" y="6"/>
                      <a:pt x="5" y="7"/>
                    </a:cubicBezTo>
                    <a:cubicBezTo>
                      <a:pt x="5" y="6"/>
                      <a:pt x="6" y="3"/>
                      <a:pt x="5" y="1"/>
                    </a:cubicBezTo>
                    <a:cubicBezTo>
                      <a:pt x="5" y="1"/>
                      <a:pt x="5" y="1"/>
                      <a:pt x="5"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290"/>
              <p:cNvSpPr/>
              <p:nvPr/>
            </p:nvSpPr>
            <p:spPr bwMode="auto">
              <a:xfrm>
                <a:off x="3940" y="3611"/>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2" y="1"/>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Freeform 291"/>
              <p:cNvSpPr/>
              <p:nvPr/>
            </p:nvSpPr>
            <p:spPr bwMode="auto">
              <a:xfrm>
                <a:off x="3503" y="2989"/>
                <a:ext cx="28" cy="47"/>
              </a:xfrm>
              <a:custGeom>
                <a:gdLst>
                  <a:gd name="T0" fmla="*/ 5 w 12"/>
                  <a:gd name="T1" fmla="*/ 0 h 20"/>
                  <a:gd name="T2" fmla="*/ 5 w 12"/>
                  <a:gd name="T3" fmla="*/ 5 h 20"/>
                  <a:gd name="T4" fmla="*/ 5 w 12"/>
                  <a:gd name="T5" fmla="*/ 13 h 20"/>
                  <a:gd name="T6" fmla="*/ 5 w 12"/>
                  <a:gd name="T7" fmla="*/ 19 h 20"/>
                  <a:gd name="T8" fmla="*/ 5 w 12"/>
                  <a:gd name="T9" fmla="*/ 20 h 20"/>
                  <a:gd name="T10" fmla="*/ 6 w 12"/>
                  <a:gd name="T11" fmla="*/ 20 h 20"/>
                  <a:gd name="T12" fmla="*/ 6 w 12"/>
                  <a:gd name="T13" fmla="*/ 20 h 20"/>
                  <a:gd name="T14" fmla="*/ 6 w 12"/>
                  <a:gd name="T15" fmla="*/ 19 h 20"/>
                  <a:gd name="T16" fmla="*/ 8 w 12"/>
                  <a:gd name="T17" fmla="*/ 18 h 20"/>
                  <a:gd name="T18" fmla="*/ 8 w 12"/>
                  <a:gd name="T19" fmla="*/ 18 h 20"/>
                  <a:gd name="T20" fmla="*/ 6 w 12"/>
                  <a:gd name="T21" fmla="*/ 1 h 20"/>
                  <a:gd name="T22" fmla="*/ 5 w 12"/>
                  <a:gd name="T23"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0">
                    <a:moveTo>
                      <a:pt x="5" y="0"/>
                    </a:moveTo>
                    <a:cubicBezTo>
                      <a:pt x="3" y="0"/>
                      <a:pt x="0" y="4"/>
                      <a:pt x="5" y="5"/>
                    </a:cubicBezTo>
                    <a:cubicBezTo>
                      <a:pt x="5" y="8"/>
                      <a:pt x="5" y="10"/>
                      <a:pt x="5" y="13"/>
                    </a:cubicBezTo>
                    <a:cubicBezTo>
                      <a:pt x="5" y="14"/>
                      <a:pt x="4" y="17"/>
                      <a:pt x="5" y="19"/>
                    </a:cubicBezTo>
                    <a:cubicBezTo>
                      <a:pt x="5" y="20"/>
                      <a:pt x="5" y="20"/>
                      <a:pt x="5" y="20"/>
                    </a:cubicBezTo>
                    <a:cubicBezTo>
                      <a:pt x="5" y="20"/>
                      <a:pt x="5" y="20"/>
                      <a:pt x="6" y="20"/>
                    </a:cubicBezTo>
                    <a:cubicBezTo>
                      <a:pt x="6" y="20"/>
                      <a:pt x="6" y="20"/>
                      <a:pt x="6" y="20"/>
                    </a:cubicBezTo>
                    <a:cubicBezTo>
                      <a:pt x="5" y="20"/>
                      <a:pt x="6" y="19"/>
                      <a:pt x="6" y="19"/>
                    </a:cubicBezTo>
                    <a:cubicBezTo>
                      <a:pt x="7" y="18"/>
                      <a:pt x="8" y="18"/>
                      <a:pt x="8" y="18"/>
                    </a:cubicBezTo>
                    <a:cubicBezTo>
                      <a:pt x="8" y="18"/>
                      <a:pt x="8" y="18"/>
                      <a:pt x="8" y="18"/>
                    </a:cubicBezTo>
                    <a:cubicBezTo>
                      <a:pt x="12" y="12"/>
                      <a:pt x="9" y="6"/>
                      <a:pt x="6" y="1"/>
                    </a:cubicBezTo>
                    <a:cubicBezTo>
                      <a:pt x="6" y="1"/>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292"/>
              <p:cNvSpPr/>
              <p:nvPr/>
            </p:nvSpPr>
            <p:spPr bwMode="auto">
              <a:xfrm>
                <a:off x="3583" y="3041"/>
                <a:ext cx="3" cy="12"/>
              </a:xfrm>
              <a:custGeom>
                <a:gdLst>
                  <a:gd name="T0" fmla="*/ 1 w 1"/>
                  <a:gd name="T1" fmla="*/ 0 h 5"/>
                  <a:gd name="T2" fmla="*/ 0 w 1"/>
                  <a:gd name="T3" fmla="*/ 5 h 5"/>
                  <a:gd name="T4" fmla="*/ 1 w 1"/>
                  <a:gd name="T5" fmla="*/ 0 h 5"/>
                </a:gdLst>
                <a:cxnLst>
                  <a:cxn ang="0">
                    <a:pos x="T0" y="T1"/>
                  </a:cxn>
                  <a:cxn ang="0">
                    <a:pos x="T2" y="T3"/>
                  </a:cxn>
                  <a:cxn ang="0">
                    <a:pos x="T4" y="T5"/>
                  </a:cxn>
                </a:cxnLst>
                <a:rect l="0" t="0" r="r" b="b"/>
                <a:pathLst>
                  <a:path w="1" h="5">
                    <a:moveTo>
                      <a:pt x="1" y="0"/>
                    </a:moveTo>
                    <a:cubicBezTo>
                      <a:pt x="0" y="1"/>
                      <a:pt x="0" y="3"/>
                      <a:pt x="0" y="5"/>
                    </a:cubicBezTo>
                    <a:cubicBezTo>
                      <a:pt x="0" y="3"/>
                      <a:pt x="0"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293"/>
              <p:cNvSpPr/>
              <p:nvPr/>
            </p:nvSpPr>
            <p:spPr bwMode="auto">
              <a:xfrm>
                <a:off x="3560" y="2996"/>
                <a:ext cx="9" cy="19"/>
              </a:xfrm>
              <a:custGeom>
                <a:gdLst>
                  <a:gd name="T0" fmla="*/ 0 w 4"/>
                  <a:gd name="T1" fmla="*/ 0 h 8"/>
                  <a:gd name="T2" fmla="*/ 2 w 4"/>
                  <a:gd name="T3" fmla="*/ 8 h 8"/>
                  <a:gd name="T4" fmla="*/ 0 w 4"/>
                  <a:gd name="T5" fmla="*/ 0 h 8"/>
                </a:gdLst>
                <a:cxnLst>
                  <a:cxn ang="0">
                    <a:pos x="T0" y="T1"/>
                  </a:cxn>
                  <a:cxn ang="0">
                    <a:pos x="T2" y="T3"/>
                  </a:cxn>
                  <a:cxn ang="0">
                    <a:pos x="T4" y="T5"/>
                  </a:cxn>
                </a:cxnLst>
                <a:rect l="0" t="0" r="r" b="b"/>
                <a:pathLst>
                  <a:path w="4" h="8">
                    <a:moveTo>
                      <a:pt x="0" y="0"/>
                    </a:moveTo>
                    <a:cubicBezTo>
                      <a:pt x="1" y="3"/>
                      <a:pt x="1" y="5"/>
                      <a:pt x="2" y="8"/>
                    </a:cubicBezTo>
                    <a:cubicBezTo>
                      <a:pt x="4" y="5"/>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294"/>
              <p:cNvSpPr/>
              <p:nvPr/>
            </p:nvSpPr>
            <p:spPr bwMode="auto">
              <a:xfrm>
                <a:off x="3536" y="3003"/>
                <a:ext cx="10" cy="26"/>
              </a:xfrm>
              <a:custGeom>
                <a:gdLst>
                  <a:gd name="T0" fmla="*/ 2 w 4"/>
                  <a:gd name="T1" fmla="*/ 0 h 11"/>
                  <a:gd name="T2" fmla="*/ 0 w 4"/>
                  <a:gd name="T3" fmla="*/ 11 h 11"/>
                  <a:gd name="T4" fmla="*/ 3 w 4"/>
                  <a:gd name="T5" fmla="*/ 5 h 11"/>
                  <a:gd name="T6" fmla="*/ 2 w 4"/>
                  <a:gd name="T7" fmla="*/ 0 h 11"/>
                </a:gdLst>
                <a:cxnLst>
                  <a:cxn ang="0">
                    <a:pos x="T0" y="T1"/>
                  </a:cxn>
                  <a:cxn ang="0">
                    <a:pos x="T2" y="T3"/>
                  </a:cxn>
                  <a:cxn ang="0">
                    <a:pos x="T4" y="T5"/>
                  </a:cxn>
                  <a:cxn ang="0">
                    <a:pos x="T6" y="T7"/>
                  </a:cxn>
                </a:cxnLst>
                <a:rect l="0" t="0" r="r" b="b"/>
                <a:pathLst>
                  <a:path w="4" h="11">
                    <a:moveTo>
                      <a:pt x="2" y="0"/>
                    </a:moveTo>
                    <a:cubicBezTo>
                      <a:pt x="1" y="4"/>
                      <a:pt x="1" y="8"/>
                      <a:pt x="0" y="11"/>
                    </a:cubicBezTo>
                    <a:cubicBezTo>
                      <a:pt x="2" y="8"/>
                      <a:pt x="4" y="9"/>
                      <a:pt x="3" y="5"/>
                    </a:cubicBezTo>
                    <a:cubicBezTo>
                      <a:pt x="3"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Freeform 295"/>
              <p:cNvSpPr/>
              <p:nvPr/>
            </p:nvSpPr>
            <p:spPr bwMode="auto">
              <a:xfrm>
                <a:off x="1176" y="2774"/>
                <a:ext cx="9" cy="28"/>
              </a:xfrm>
              <a:custGeom>
                <a:gdLst>
                  <a:gd name="T0" fmla="*/ 2 w 4"/>
                  <a:gd name="T1" fmla="*/ 0 h 12"/>
                  <a:gd name="T2" fmla="*/ 1 w 4"/>
                  <a:gd name="T3" fmla="*/ 0 h 12"/>
                  <a:gd name="T4" fmla="*/ 3 w 4"/>
                  <a:gd name="T5" fmla="*/ 12 h 12"/>
                  <a:gd name="T6" fmla="*/ 4 w 4"/>
                  <a:gd name="T7" fmla="*/ 5 h 12"/>
                  <a:gd name="T8" fmla="*/ 4 w 4"/>
                  <a:gd name="T9" fmla="*/ 1 h 12"/>
                  <a:gd name="T10" fmla="*/ 2 w 4"/>
                  <a:gd name="T11" fmla="*/ 0 h 12"/>
                </a:gdLst>
                <a:cxnLst>
                  <a:cxn ang="0">
                    <a:pos x="T0" y="T1"/>
                  </a:cxn>
                  <a:cxn ang="0">
                    <a:pos x="T2" y="T3"/>
                  </a:cxn>
                  <a:cxn ang="0">
                    <a:pos x="T4" y="T5"/>
                  </a:cxn>
                  <a:cxn ang="0">
                    <a:pos x="T6" y="T7"/>
                  </a:cxn>
                  <a:cxn ang="0">
                    <a:pos x="T8" y="T9"/>
                  </a:cxn>
                  <a:cxn ang="0">
                    <a:pos x="T10" y="T11"/>
                  </a:cxn>
                </a:cxnLst>
                <a:rect l="0" t="0" r="r" b="b"/>
                <a:pathLst>
                  <a:path w="4" h="12">
                    <a:moveTo>
                      <a:pt x="2" y="0"/>
                    </a:moveTo>
                    <a:cubicBezTo>
                      <a:pt x="1" y="0"/>
                      <a:pt x="1" y="0"/>
                      <a:pt x="1" y="0"/>
                    </a:cubicBezTo>
                    <a:cubicBezTo>
                      <a:pt x="0" y="1"/>
                      <a:pt x="2" y="10"/>
                      <a:pt x="3" y="12"/>
                    </a:cubicBezTo>
                    <a:cubicBezTo>
                      <a:pt x="4" y="10"/>
                      <a:pt x="4" y="7"/>
                      <a:pt x="4" y="5"/>
                    </a:cubicBezTo>
                    <a:cubicBezTo>
                      <a:pt x="4" y="3"/>
                      <a:pt x="2" y="1"/>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296"/>
              <p:cNvSpPr/>
              <p:nvPr/>
            </p:nvSpPr>
            <p:spPr bwMode="auto">
              <a:xfrm>
                <a:off x="6164" y="5008"/>
                <a:ext cx="16" cy="12"/>
              </a:xfrm>
              <a:custGeom>
                <a:gdLst>
                  <a:gd name="T0" fmla="*/ 7 w 7"/>
                  <a:gd name="T1" fmla="*/ 0 h 5"/>
                  <a:gd name="T2" fmla="*/ 0 w 7"/>
                  <a:gd name="T3" fmla="*/ 5 h 5"/>
                  <a:gd name="T4" fmla="*/ 7 w 7"/>
                  <a:gd name="T5" fmla="*/ 0 h 5"/>
                </a:gdLst>
                <a:cxnLst>
                  <a:cxn ang="0">
                    <a:pos x="T0" y="T1"/>
                  </a:cxn>
                  <a:cxn ang="0">
                    <a:pos x="T2" y="T3"/>
                  </a:cxn>
                  <a:cxn ang="0">
                    <a:pos x="T4" y="T5"/>
                  </a:cxn>
                </a:cxnLst>
                <a:rect l="0" t="0" r="r" b="b"/>
                <a:pathLst>
                  <a:path w="7" h="5">
                    <a:moveTo>
                      <a:pt x="7" y="0"/>
                    </a:moveTo>
                    <a:cubicBezTo>
                      <a:pt x="5" y="1"/>
                      <a:pt x="2" y="3"/>
                      <a:pt x="0" y="5"/>
                    </a:cubicBezTo>
                    <a:cubicBezTo>
                      <a:pt x="2" y="5"/>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Freeform 297"/>
              <p:cNvSpPr/>
              <p:nvPr/>
            </p:nvSpPr>
            <p:spPr bwMode="auto">
              <a:xfrm>
                <a:off x="6511" y="4925"/>
                <a:ext cx="3" cy="7"/>
              </a:xfrm>
              <a:custGeom>
                <a:gdLst>
                  <a:gd name="T0" fmla="*/ 0 w 1"/>
                  <a:gd name="T1" fmla="*/ 0 h 3"/>
                  <a:gd name="T2" fmla="*/ 0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0" y="3"/>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298"/>
              <p:cNvSpPr/>
              <p:nvPr/>
            </p:nvSpPr>
            <p:spPr bwMode="auto">
              <a:xfrm>
                <a:off x="5949" y="4977"/>
                <a:ext cx="9" cy="24"/>
              </a:xfrm>
              <a:custGeom>
                <a:gdLst>
                  <a:gd name="T0" fmla="*/ 3 w 4"/>
                  <a:gd name="T1" fmla="*/ 0 h 10"/>
                  <a:gd name="T2" fmla="*/ 0 w 4"/>
                  <a:gd name="T3" fmla="*/ 2 h 10"/>
                  <a:gd name="T4" fmla="*/ 3 w 4"/>
                  <a:gd name="T5" fmla="*/ 10 h 10"/>
                  <a:gd name="T6" fmla="*/ 3 w 4"/>
                  <a:gd name="T7" fmla="*/ 4 h 10"/>
                  <a:gd name="T8" fmla="*/ 3 w 4"/>
                  <a:gd name="T9" fmla="*/ 0 h 10"/>
                </a:gdLst>
                <a:cxnLst>
                  <a:cxn ang="0">
                    <a:pos x="T0" y="T1"/>
                  </a:cxn>
                  <a:cxn ang="0">
                    <a:pos x="T2" y="T3"/>
                  </a:cxn>
                  <a:cxn ang="0">
                    <a:pos x="T4" y="T5"/>
                  </a:cxn>
                  <a:cxn ang="0">
                    <a:pos x="T6" y="T7"/>
                  </a:cxn>
                  <a:cxn ang="0">
                    <a:pos x="T8" y="T9"/>
                  </a:cxn>
                </a:cxnLst>
                <a:rect l="0" t="0" r="r" b="b"/>
                <a:pathLst>
                  <a:path w="4" h="10">
                    <a:moveTo>
                      <a:pt x="3" y="0"/>
                    </a:moveTo>
                    <a:cubicBezTo>
                      <a:pt x="2" y="1"/>
                      <a:pt x="1" y="1"/>
                      <a:pt x="0" y="2"/>
                    </a:cubicBezTo>
                    <a:cubicBezTo>
                      <a:pt x="0" y="4"/>
                      <a:pt x="2" y="7"/>
                      <a:pt x="3" y="10"/>
                    </a:cubicBezTo>
                    <a:cubicBezTo>
                      <a:pt x="4" y="7"/>
                      <a:pt x="3" y="5"/>
                      <a:pt x="3" y="4"/>
                    </a:cubicBezTo>
                    <a:cubicBezTo>
                      <a:pt x="3"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Freeform 299"/>
              <p:cNvSpPr/>
              <p:nvPr/>
            </p:nvSpPr>
            <p:spPr bwMode="auto">
              <a:xfrm>
                <a:off x="5826" y="4991"/>
                <a:ext cx="68" cy="43"/>
              </a:xfrm>
              <a:custGeom>
                <a:gdLst>
                  <a:gd name="T0" fmla="*/ 22 w 29"/>
                  <a:gd name="T1" fmla="*/ 0 h 18"/>
                  <a:gd name="T2" fmla="*/ 21 w 29"/>
                  <a:gd name="T3" fmla="*/ 5 h 18"/>
                  <a:gd name="T4" fmla="*/ 18 w 29"/>
                  <a:gd name="T5" fmla="*/ 2 h 18"/>
                  <a:gd name="T6" fmla="*/ 17 w 29"/>
                  <a:gd name="T7" fmla="*/ 2 h 18"/>
                  <a:gd name="T8" fmla="*/ 8 w 29"/>
                  <a:gd name="T9" fmla="*/ 5 h 18"/>
                  <a:gd name="T10" fmla="*/ 7 w 29"/>
                  <a:gd name="T11" fmla="*/ 5 h 18"/>
                  <a:gd name="T12" fmla="*/ 0 w 29"/>
                  <a:gd name="T13" fmla="*/ 0 h 18"/>
                  <a:gd name="T14" fmla="*/ 4 w 29"/>
                  <a:gd name="T15" fmla="*/ 12 h 18"/>
                  <a:gd name="T16" fmla="*/ 8 w 29"/>
                  <a:gd name="T17" fmla="*/ 15 h 18"/>
                  <a:gd name="T18" fmla="*/ 14 w 29"/>
                  <a:gd name="T19" fmla="*/ 18 h 18"/>
                  <a:gd name="T20" fmla="*/ 14 w 29"/>
                  <a:gd name="T21" fmla="*/ 18 h 18"/>
                  <a:gd name="T22" fmla="*/ 25 w 29"/>
                  <a:gd name="T23" fmla="*/ 11 h 18"/>
                  <a:gd name="T24" fmla="*/ 29 w 29"/>
                  <a:gd name="T25" fmla="*/ 6 h 18"/>
                  <a:gd name="T26" fmla="*/ 27 w 29"/>
                  <a:gd name="T27" fmla="*/ 3 h 18"/>
                  <a:gd name="T28" fmla="*/ 22 w 29"/>
                  <a:gd name="T29"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8">
                    <a:moveTo>
                      <a:pt x="22" y="0"/>
                    </a:moveTo>
                    <a:cubicBezTo>
                      <a:pt x="21" y="0"/>
                      <a:pt x="19" y="1"/>
                      <a:pt x="21" y="5"/>
                    </a:cubicBezTo>
                    <a:cubicBezTo>
                      <a:pt x="20" y="3"/>
                      <a:pt x="19" y="2"/>
                      <a:pt x="18" y="2"/>
                    </a:cubicBezTo>
                    <a:cubicBezTo>
                      <a:pt x="18" y="2"/>
                      <a:pt x="18" y="2"/>
                      <a:pt x="17" y="2"/>
                    </a:cubicBezTo>
                    <a:cubicBezTo>
                      <a:pt x="14" y="3"/>
                      <a:pt x="11" y="4"/>
                      <a:pt x="8" y="5"/>
                    </a:cubicBezTo>
                    <a:cubicBezTo>
                      <a:pt x="8" y="5"/>
                      <a:pt x="7" y="5"/>
                      <a:pt x="7" y="5"/>
                    </a:cubicBezTo>
                    <a:cubicBezTo>
                      <a:pt x="4" y="5"/>
                      <a:pt x="3" y="2"/>
                      <a:pt x="0" y="0"/>
                    </a:cubicBezTo>
                    <a:cubicBezTo>
                      <a:pt x="1" y="4"/>
                      <a:pt x="1" y="9"/>
                      <a:pt x="4" y="12"/>
                    </a:cubicBezTo>
                    <a:cubicBezTo>
                      <a:pt x="6" y="13"/>
                      <a:pt x="7" y="14"/>
                      <a:pt x="8" y="15"/>
                    </a:cubicBezTo>
                    <a:cubicBezTo>
                      <a:pt x="9" y="16"/>
                      <a:pt x="13" y="18"/>
                      <a:pt x="14" y="18"/>
                    </a:cubicBezTo>
                    <a:cubicBezTo>
                      <a:pt x="14" y="18"/>
                      <a:pt x="14" y="18"/>
                      <a:pt x="14" y="18"/>
                    </a:cubicBezTo>
                    <a:cubicBezTo>
                      <a:pt x="17" y="18"/>
                      <a:pt x="22" y="12"/>
                      <a:pt x="25" y="11"/>
                    </a:cubicBezTo>
                    <a:cubicBezTo>
                      <a:pt x="26" y="10"/>
                      <a:pt x="29" y="8"/>
                      <a:pt x="29" y="6"/>
                    </a:cubicBezTo>
                    <a:cubicBezTo>
                      <a:pt x="29" y="4"/>
                      <a:pt x="27" y="4"/>
                      <a:pt x="27" y="3"/>
                    </a:cubicBezTo>
                    <a:cubicBezTo>
                      <a:pt x="26" y="1"/>
                      <a:pt x="24"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Freeform 300"/>
              <p:cNvSpPr/>
              <p:nvPr/>
            </p:nvSpPr>
            <p:spPr bwMode="auto">
              <a:xfrm>
                <a:off x="6514" y="4956"/>
                <a:ext cx="9" cy="9"/>
              </a:xfrm>
              <a:custGeom>
                <a:gdLst>
                  <a:gd name="T0" fmla="*/ 0 w 4"/>
                  <a:gd name="T1" fmla="*/ 0 h 4"/>
                  <a:gd name="T2" fmla="*/ 0 w 4"/>
                  <a:gd name="T3" fmla="*/ 4 h 4"/>
                  <a:gd name="T4" fmla="*/ 0 w 4"/>
                  <a:gd name="T5" fmla="*/ 0 h 4"/>
                </a:gdLst>
                <a:cxnLst>
                  <a:cxn ang="0">
                    <a:pos x="T0" y="T1"/>
                  </a:cxn>
                  <a:cxn ang="0">
                    <a:pos x="T2" y="T3"/>
                  </a:cxn>
                  <a:cxn ang="0">
                    <a:pos x="T4" y="T5"/>
                  </a:cxn>
                </a:cxnLst>
                <a:rect l="0" t="0" r="r" b="b"/>
                <a:pathLst>
                  <a:path w="4" h="4">
                    <a:moveTo>
                      <a:pt x="0" y="0"/>
                    </a:moveTo>
                    <a:cubicBezTo>
                      <a:pt x="0" y="1"/>
                      <a:pt x="0" y="3"/>
                      <a:pt x="0" y="4"/>
                    </a:cubicBezTo>
                    <a:cubicBezTo>
                      <a:pt x="4"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Freeform 301"/>
              <p:cNvSpPr/>
              <p:nvPr/>
            </p:nvSpPr>
            <p:spPr bwMode="auto">
              <a:xfrm>
                <a:off x="6516" y="4930"/>
                <a:ext cx="7" cy="7"/>
              </a:xfrm>
              <a:custGeom>
                <a:gdLst>
                  <a:gd name="T0" fmla="*/ 1 w 3"/>
                  <a:gd name="T1" fmla="*/ 0 h 3"/>
                  <a:gd name="T2" fmla="*/ 1 w 3"/>
                  <a:gd name="T3" fmla="*/ 3 h 3"/>
                  <a:gd name="T4" fmla="*/ 1 w 3"/>
                  <a:gd name="T5" fmla="*/ 0 h 3"/>
                </a:gdLst>
                <a:cxnLst>
                  <a:cxn ang="0">
                    <a:pos x="T0" y="T1"/>
                  </a:cxn>
                  <a:cxn ang="0">
                    <a:pos x="T2" y="T3"/>
                  </a:cxn>
                  <a:cxn ang="0">
                    <a:pos x="T4" y="T5"/>
                  </a:cxn>
                </a:cxnLst>
                <a:rect l="0" t="0" r="r" b="b"/>
                <a:pathLst>
                  <a:path w="3" h="3">
                    <a:moveTo>
                      <a:pt x="1" y="0"/>
                    </a:moveTo>
                    <a:cubicBezTo>
                      <a:pt x="1" y="0"/>
                      <a:pt x="0" y="1"/>
                      <a:pt x="1"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302"/>
              <p:cNvSpPr/>
              <p:nvPr/>
            </p:nvSpPr>
            <p:spPr bwMode="auto">
              <a:xfrm>
                <a:off x="6164" y="5039"/>
                <a:ext cx="7" cy="4"/>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0"/>
                      <a:pt x="1" y="1"/>
                      <a:pt x="0" y="2"/>
                    </a:cubicBezTo>
                    <a:cubicBezTo>
                      <a:pt x="1"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Freeform 303"/>
              <p:cNvSpPr/>
              <p:nvPr/>
            </p:nvSpPr>
            <p:spPr bwMode="auto">
              <a:xfrm>
                <a:off x="6183" y="4982"/>
                <a:ext cx="16" cy="24"/>
              </a:xfrm>
              <a:custGeom>
                <a:gdLst>
                  <a:gd name="T0" fmla="*/ 7 w 7"/>
                  <a:gd name="T1" fmla="*/ 0 h 10"/>
                  <a:gd name="T2" fmla="*/ 0 w 7"/>
                  <a:gd name="T3" fmla="*/ 10 h 10"/>
                  <a:gd name="T4" fmla="*/ 7 w 7"/>
                  <a:gd name="T5" fmla="*/ 0 h 10"/>
                </a:gdLst>
                <a:cxnLst>
                  <a:cxn ang="0">
                    <a:pos x="T0" y="T1"/>
                  </a:cxn>
                  <a:cxn ang="0">
                    <a:pos x="T2" y="T3"/>
                  </a:cxn>
                  <a:cxn ang="0">
                    <a:pos x="T4" y="T5"/>
                  </a:cxn>
                </a:cxnLst>
                <a:rect l="0" t="0" r="r" b="b"/>
                <a:pathLst>
                  <a:path w="7" h="10">
                    <a:moveTo>
                      <a:pt x="7" y="0"/>
                    </a:moveTo>
                    <a:cubicBezTo>
                      <a:pt x="4" y="3"/>
                      <a:pt x="2" y="7"/>
                      <a:pt x="0" y="10"/>
                    </a:cubicBezTo>
                    <a:cubicBezTo>
                      <a:pt x="4" y="8"/>
                      <a:pt x="5"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304"/>
              <p:cNvSpPr/>
              <p:nvPr/>
            </p:nvSpPr>
            <p:spPr bwMode="auto">
              <a:xfrm>
                <a:off x="5802" y="4998"/>
                <a:ext cx="38" cy="31"/>
              </a:xfrm>
              <a:custGeom>
                <a:gdLst>
                  <a:gd name="T0" fmla="*/ 8 w 16"/>
                  <a:gd name="T1" fmla="*/ 0 h 13"/>
                  <a:gd name="T2" fmla="*/ 5 w 16"/>
                  <a:gd name="T3" fmla="*/ 3 h 13"/>
                  <a:gd name="T4" fmla="*/ 5 w 16"/>
                  <a:gd name="T5" fmla="*/ 8 h 13"/>
                  <a:gd name="T6" fmla="*/ 4 w 16"/>
                  <a:gd name="T7" fmla="*/ 9 h 13"/>
                  <a:gd name="T8" fmla="*/ 4 w 16"/>
                  <a:gd name="T9" fmla="*/ 9 h 13"/>
                  <a:gd name="T10" fmla="*/ 3 w 16"/>
                  <a:gd name="T11" fmla="*/ 9 h 13"/>
                  <a:gd name="T12" fmla="*/ 3 w 16"/>
                  <a:gd name="T13" fmla="*/ 9 h 13"/>
                  <a:gd name="T14" fmla="*/ 2 w 16"/>
                  <a:gd name="T15" fmla="*/ 11 h 13"/>
                  <a:gd name="T16" fmla="*/ 3 w 16"/>
                  <a:gd name="T17" fmla="*/ 12 h 13"/>
                  <a:gd name="T18" fmla="*/ 13 w 16"/>
                  <a:gd name="T19" fmla="*/ 13 h 13"/>
                  <a:gd name="T20" fmla="*/ 13 w 16"/>
                  <a:gd name="T21" fmla="*/ 13 h 13"/>
                  <a:gd name="T22" fmla="*/ 16 w 16"/>
                  <a:gd name="T23" fmla="*/ 11 h 13"/>
                  <a:gd name="T24" fmla="*/ 12 w 16"/>
                  <a:gd name="T25" fmla="*/ 9 h 13"/>
                  <a:gd name="T26" fmla="*/ 12 w 16"/>
                  <a:gd name="T27" fmla="*/ 9 h 13"/>
                  <a:gd name="T28" fmla="*/ 10 w 16"/>
                  <a:gd name="T29" fmla="*/ 4 h 13"/>
                  <a:gd name="T30" fmla="*/ 9 w 16"/>
                  <a:gd name="T31" fmla="*/ 1 h 13"/>
                  <a:gd name="T32" fmla="*/ 8 w 16"/>
                  <a:gd name="T33"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3">
                    <a:moveTo>
                      <a:pt x="8" y="0"/>
                    </a:moveTo>
                    <a:cubicBezTo>
                      <a:pt x="7" y="0"/>
                      <a:pt x="5" y="2"/>
                      <a:pt x="5" y="3"/>
                    </a:cubicBezTo>
                    <a:cubicBezTo>
                      <a:pt x="4" y="5"/>
                      <a:pt x="6" y="7"/>
                      <a:pt x="5" y="8"/>
                    </a:cubicBezTo>
                    <a:cubicBezTo>
                      <a:pt x="5" y="9"/>
                      <a:pt x="5" y="9"/>
                      <a:pt x="4" y="9"/>
                    </a:cubicBezTo>
                    <a:cubicBezTo>
                      <a:pt x="4" y="9"/>
                      <a:pt x="4" y="9"/>
                      <a:pt x="4" y="9"/>
                    </a:cubicBezTo>
                    <a:cubicBezTo>
                      <a:pt x="4" y="9"/>
                      <a:pt x="3" y="9"/>
                      <a:pt x="3" y="9"/>
                    </a:cubicBezTo>
                    <a:cubicBezTo>
                      <a:pt x="3" y="9"/>
                      <a:pt x="3" y="9"/>
                      <a:pt x="3" y="9"/>
                    </a:cubicBezTo>
                    <a:cubicBezTo>
                      <a:pt x="2" y="11"/>
                      <a:pt x="2" y="11"/>
                      <a:pt x="2" y="11"/>
                    </a:cubicBezTo>
                    <a:cubicBezTo>
                      <a:pt x="2" y="11"/>
                      <a:pt x="0" y="11"/>
                      <a:pt x="3" y="12"/>
                    </a:cubicBezTo>
                    <a:cubicBezTo>
                      <a:pt x="6" y="12"/>
                      <a:pt x="10" y="13"/>
                      <a:pt x="13" y="13"/>
                    </a:cubicBezTo>
                    <a:cubicBezTo>
                      <a:pt x="13" y="13"/>
                      <a:pt x="13" y="13"/>
                      <a:pt x="13" y="13"/>
                    </a:cubicBezTo>
                    <a:cubicBezTo>
                      <a:pt x="16" y="13"/>
                      <a:pt x="16" y="12"/>
                      <a:pt x="16" y="11"/>
                    </a:cubicBezTo>
                    <a:cubicBezTo>
                      <a:pt x="15" y="10"/>
                      <a:pt x="14" y="9"/>
                      <a:pt x="12" y="9"/>
                    </a:cubicBezTo>
                    <a:cubicBezTo>
                      <a:pt x="12" y="9"/>
                      <a:pt x="12" y="9"/>
                      <a:pt x="12" y="9"/>
                    </a:cubicBezTo>
                    <a:cubicBezTo>
                      <a:pt x="13" y="7"/>
                      <a:pt x="11" y="5"/>
                      <a:pt x="10" y="4"/>
                    </a:cubicBezTo>
                    <a:cubicBezTo>
                      <a:pt x="10" y="3"/>
                      <a:pt x="10" y="2"/>
                      <a:pt x="9" y="1"/>
                    </a:cubicBezTo>
                    <a:cubicBezTo>
                      <a:pt x="9"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Freeform 305"/>
              <p:cNvSpPr/>
              <p:nvPr/>
            </p:nvSpPr>
            <p:spPr bwMode="auto">
              <a:xfrm>
                <a:off x="1457" y="2729"/>
                <a:ext cx="56" cy="26"/>
              </a:xfrm>
              <a:custGeom>
                <a:gdLst>
                  <a:gd name="T0" fmla="*/ 20 w 24"/>
                  <a:gd name="T1" fmla="*/ 0 h 11"/>
                  <a:gd name="T2" fmla="*/ 17 w 24"/>
                  <a:gd name="T3" fmla="*/ 0 h 11"/>
                  <a:gd name="T4" fmla="*/ 13 w 24"/>
                  <a:gd name="T5" fmla="*/ 0 h 11"/>
                  <a:gd name="T6" fmla="*/ 12 w 24"/>
                  <a:gd name="T7" fmla="*/ 0 h 11"/>
                  <a:gd name="T8" fmla="*/ 9 w 24"/>
                  <a:gd name="T9" fmla="*/ 5 h 11"/>
                  <a:gd name="T10" fmla="*/ 7 w 24"/>
                  <a:gd name="T11" fmla="*/ 6 h 11"/>
                  <a:gd name="T12" fmla="*/ 0 w 24"/>
                  <a:gd name="T13" fmla="*/ 11 h 11"/>
                  <a:gd name="T14" fmla="*/ 2 w 24"/>
                  <a:gd name="T15" fmla="*/ 10 h 11"/>
                  <a:gd name="T16" fmla="*/ 14 w 24"/>
                  <a:gd name="T17" fmla="*/ 6 h 11"/>
                  <a:gd name="T18" fmla="*/ 15 w 24"/>
                  <a:gd name="T19" fmla="*/ 6 h 11"/>
                  <a:gd name="T20" fmla="*/ 16 w 24"/>
                  <a:gd name="T21" fmla="*/ 6 h 11"/>
                  <a:gd name="T22" fmla="*/ 16 w 24"/>
                  <a:gd name="T23" fmla="*/ 6 h 11"/>
                  <a:gd name="T24" fmla="*/ 17 w 24"/>
                  <a:gd name="T25" fmla="*/ 6 h 11"/>
                  <a:gd name="T26" fmla="*/ 20 w 24"/>
                  <a:gd name="T27" fmla="*/ 4 h 11"/>
                  <a:gd name="T28" fmla="*/ 24 w 24"/>
                  <a:gd name="T29" fmla="*/ 0 h 11"/>
                  <a:gd name="T30" fmla="*/ 22 w 24"/>
                  <a:gd name="T31" fmla="*/ 0 h 11"/>
                  <a:gd name="T32" fmla="*/ 20 w 24"/>
                  <a:gd name="T3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1">
                    <a:moveTo>
                      <a:pt x="20" y="0"/>
                    </a:moveTo>
                    <a:cubicBezTo>
                      <a:pt x="19" y="0"/>
                      <a:pt x="18" y="0"/>
                      <a:pt x="17" y="0"/>
                    </a:cubicBezTo>
                    <a:cubicBezTo>
                      <a:pt x="17" y="0"/>
                      <a:pt x="14" y="0"/>
                      <a:pt x="13" y="0"/>
                    </a:cubicBezTo>
                    <a:cubicBezTo>
                      <a:pt x="12" y="0"/>
                      <a:pt x="12" y="0"/>
                      <a:pt x="12" y="0"/>
                    </a:cubicBezTo>
                    <a:cubicBezTo>
                      <a:pt x="10" y="2"/>
                      <a:pt x="13" y="3"/>
                      <a:pt x="9" y="5"/>
                    </a:cubicBezTo>
                    <a:cubicBezTo>
                      <a:pt x="8" y="5"/>
                      <a:pt x="7" y="6"/>
                      <a:pt x="7" y="6"/>
                    </a:cubicBezTo>
                    <a:cubicBezTo>
                      <a:pt x="4" y="7"/>
                      <a:pt x="1" y="8"/>
                      <a:pt x="0" y="11"/>
                    </a:cubicBezTo>
                    <a:cubicBezTo>
                      <a:pt x="1" y="11"/>
                      <a:pt x="2" y="10"/>
                      <a:pt x="2" y="10"/>
                    </a:cubicBezTo>
                    <a:cubicBezTo>
                      <a:pt x="6" y="9"/>
                      <a:pt x="11" y="6"/>
                      <a:pt x="14" y="6"/>
                    </a:cubicBezTo>
                    <a:cubicBezTo>
                      <a:pt x="15" y="6"/>
                      <a:pt x="15" y="6"/>
                      <a:pt x="15" y="6"/>
                    </a:cubicBezTo>
                    <a:cubicBezTo>
                      <a:pt x="15" y="6"/>
                      <a:pt x="15" y="6"/>
                      <a:pt x="16" y="6"/>
                    </a:cubicBezTo>
                    <a:cubicBezTo>
                      <a:pt x="16" y="6"/>
                      <a:pt x="16" y="6"/>
                      <a:pt x="16" y="6"/>
                    </a:cubicBezTo>
                    <a:cubicBezTo>
                      <a:pt x="17" y="6"/>
                      <a:pt x="17" y="6"/>
                      <a:pt x="17" y="6"/>
                    </a:cubicBezTo>
                    <a:cubicBezTo>
                      <a:pt x="18" y="6"/>
                      <a:pt x="19" y="5"/>
                      <a:pt x="20" y="4"/>
                    </a:cubicBezTo>
                    <a:cubicBezTo>
                      <a:pt x="21" y="3"/>
                      <a:pt x="22" y="1"/>
                      <a:pt x="24" y="0"/>
                    </a:cubicBezTo>
                    <a:cubicBezTo>
                      <a:pt x="24" y="0"/>
                      <a:pt x="23" y="0"/>
                      <a:pt x="22" y="0"/>
                    </a:cubicBezTo>
                    <a:cubicBezTo>
                      <a:pt x="21" y="0"/>
                      <a:pt x="21"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306"/>
              <p:cNvSpPr/>
              <p:nvPr/>
            </p:nvSpPr>
            <p:spPr bwMode="auto">
              <a:xfrm>
                <a:off x="1360" y="2897"/>
                <a:ext cx="26" cy="7"/>
              </a:xfrm>
              <a:custGeom>
                <a:gdLst>
                  <a:gd name="T0" fmla="*/ 5 w 11"/>
                  <a:gd name="T1" fmla="*/ 0 h 3"/>
                  <a:gd name="T2" fmla="*/ 0 w 11"/>
                  <a:gd name="T3" fmla="*/ 2 h 3"/>
                  <a:gd name="T4" fmla="*/ 4 w 11"/>
                  <a:gd name="T5" fmla="*/ 3 h 3"/>
                  <a:gd name="T6" fmla="*/ 6 w 11"/>
                  <a:gd name="T7" fmla="*/ 0 h 3"/>
                  <a:gd name="T8" fmla="*/ 5 w 11"/>
                  <a:gd name="T9" fmla="*/ 0 h 3"/>
                </a:gdLst>
                <a:cxnLst>
                  <a:cxn ang="0">
                    <a:pos x="T0" y="T1"/>
                  </a:cxn>
                  <a:cxn ang="0">
                    <a:pos x="T2" y="T3"/>
                  </a:cxn>
                  <a:cxn ang="0">
                    <a:pos x="T4" y="T5"/>
                  </a:cxn>
                  <a:cxn ang="0">
                    <a:pos x="T6" y="T7"/>
                  </a:cxn>
                  <a:cxn ang="0">
                    <a:pos x="T8" y="T9"/>
                  </a:cxn>
                </a:cxnLst>
                <a:rect l="0" t="0" r="r" b="b"/>
                <a:pathLst>
                  <a:path w="11" h="3">
                    <a:moveTo>
                      <a:pt x="5" y="0"/>
                    </a:moveTo>
                    <a:cubicBezTo>
                      <a:pt x="3" y="0"/>
                      <a:pt x="2" y="1"/>
                      <a:pt x="0" y="2"/>
                    </a:cubicBezTo>
                    <a:cubicBezTo>
                      <a:pt x="1" y="3"/>
                      <a:pt x="3" y="3"/>
                      <a:pt x="4" y="3"/>
                    </a:cubicBezTo>
                    <a:cubicBezTo>
                      <a:pt x="6" y="3"/>
                      <a:pt x="11" y="2"/>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Freeform 307"/>
              <p:cNvSpPr/>
              <p:nvPr/>
            </p:nvSpPr>
            <p:spPr bwMode="auto">
              <a:xfrm>
                <a:off x="6573" y="4828"/>
                <a:ext cx="23" cy="19"/>
              </a:xfrm>
              <a:custGeom>
                <a:gdLst>
                  <a:gd name="T0" fmla="*/ 0 w 10"/>
                  <a:gd name="T1" fmla="*/ 0 h 8"/>
                  <a:gd name="T2" fmla="*/ 10 w 10"/>
                  <a:gd name="T3" fmla="*/ 8 h 8"/>
                  <a:gd name="T4" fmla="*/ 0 w 10"/>
                  <a:gd name="T5" fmla="*/ 0 h 8"/>
                </a:gdLst>
                <a:cxnLst>
                  <a:cxn ang="0">
                    <a:pos x="T0" y="T1"/>
                  </a:cxn>
                  <a:cxn ang="0">
                    <a:pos x="T2" y="T3"/>
                  </a:cxn>
                  <a:cxn ang="0">
                    <a:pos x="T4" y="T5"/>
                  </a:cxn>
                </a:cxnLst>
                <a:rect l="0" t="0" r="r" b="b"/>
                <a:pathLst>
                  <a:path w="10" h="8">
                    <a:moveTo>
                      <a:pt x="0" y="0"/>
                    </a:moveTo>
                    <a:cubicBezTo>
                      <a:pt x="3" y="3"/>
                      <a:pt x="7" y="5"/>
                      <a:pt x="10" y="8"/>
                    </a:cubicBezTo>
                    <a:cubicBezTo>
                      <a:pt x="10" y="3"/>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Freeform 308"/>
              <p:cNvSpPr>
                <a:spLocks noEditPoints="1"/>
              </p:cNvSpPr>
              <p:nvPr/>
            </p:nvSpPr>
            <p:spPr bwMode="auto">
              <a:xfrm>
                <a:off x="7022" y="4828"/>
                <a:ext cx="11" cy="24"/>
              </a:xfrm>
              <a:custGeom>
                <a:gdLst>
                  <a:gd name="T0" fmla="*/ 5 w 5"/>
                  <a:gd name="T1" fmla="*/ 9 h 10"/>
                  <a:gd name="T2" fmla="*/ 5 w 5"/>
                  <a:gd name="T3" fmla="*/ 10 h 10"/>
                  <a:gd name="T4" fmla="*/ 5 w 5"/>
                  <a:gd name="T5" fmla="*/ 9 h 10"/>
                  <a:gd name="T6" fmla="*/ 5 w 5"/>
                  <a:gd name="T7" fmla="*/ 0 h 10"/>
                  <a:gd name="T8" fmla="*/ 5 w 5"/>
                  <a:gd name="T9" fmla="*/ 9 h 10"/>
                  <a:gd name="T10" fmla="*/ 5 w 5"/>
                  <a:gd name="T11" fmla="*/ 4 h 10"/>
                  <a:gd name="T12" fmla="*/ 5 w 5"/>
                  <a:gd name="T13" fmla="*/ 0 h 10"/>
                </a:gdLst>
                <a:cxnLst>
                  <a:cxn ang="0">
                    <a:pos x="T0" y="T1"/>
                  </a:cxn>
                  <a:cxn ang="0">
                    <a:pos x="T2" y="T3"/>
                  </a:cxn>
                  <a:cxn ang="0">
                    <a:pos x="T4" y="T5"/>
                  </a:cxn>
                  <a:cxn ang="0">
                    <a:pos x="T6" y="T7"/>
                  </a:cxn>
                  <a:cxn ang="0">
                    <a:pos x="T8" y="T9"/>
                  </a:cxn>
                  <a:cxn ang="0">
                    <a:pos x="T10" y="T11"/>
                  </a:cxn>
                  <a:cxn ang="0">
                    <a:pos x="T12" y="T13"/>
                  </a:cxn>
                </a:cxnLst>
                <a:rect l="0" t="0" r="r" b="b"/>
                <a:pathLst>
                  <a:path w="5" h="10">
                    <a:moveTo>
                      <a:pt x="5" y="9"/>
                    </a:moveTo>
                    <a:cubicBezTo>
                      <a:pt x="5" y="9"/>
                      <a:pt x="5" y="10"/>
                      <a:pt x="5" y="10"/>
                    </a:cubicBezTo>
                    <a:cubicBezTo>
                      <a:pt x="5" y="10"/>
                      <a:pt x="5" y="9"/>
                      <a:pt x="5" y="9"/>
                    </a:cubicBezTo>
                    <a:moveTo>
                      <a:pt x="5" y="0"/>
                    </a:moveTo>
                    <a:cubicBezTo>
                      <a:pt x="0" y="2"/>
                      <a:pt x="3" y="5"/>
                      <a:pt x="5" y="9"/>
                    </a:cubicBezTo>
                    <a:cubicBezTo>
                      <a:pt x="4" y="7"/>
                      <a:pt x="5" y="6"/>
                      <a:pt x="5" y="4"/>
                    </a:cubicBezTo>
                    <a:cubicBezTo>
                      <a:pt x="5" y="2"/>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Freeform 309"/>
              <p:cNvSpPr/>
              <p:nvPr/>
            </p:nvSpPr>
            <p:spPr bwMode="auto">
              <a:xfrm>
                <a:off x="7116" y="4958"/>
                <a:ext cx="19" cy="5"/>
              </a:xfrm>
              <a:custGeom>
                <a:gdLst>
                  <a:gd name="T0" fmla="*/ 0 w 8"/>
                  <a:gd name="T1" fmla="*/ 0 h 2"/>
                  <a:gd name="T2" fmla="*/ 5 w 8"/>
                  <a:gd name="T3" fmla="*/ 2 h 2"/>
                  <a:gd name="T4" fmla="*/ 8 w 8"/>
                  <a:gd name="T5" fmla="*/ 1 h 2"/>
                  <a:gd name="T6" fmla="*/ 0 w 8"/>
                  <a:gd name="T7" fmla="*/ 0 h 2"/>
                </a:gdLst>
                <a:cxnLst>
                  <a:cxn ang="0">
                    <a:pos x="T0" y="T1"/>
                  </a:cxn>
                  <a:cxn ang="0">
                    <a:pos x="T2" y="T3"/>
                  </a:cxn>
                  <a:cxn ang="0">
                    <a:pos x="T4" y="T5"/>
                  </a:cxn>
                  <a:cxn ang="0">
                    <a:pos x="T6" y="T7"/>
                  </a:cxn>
                </a:cxnLst>
                <a:rect l="0" t="0" r="r" b="b"/>
                <a:pathLst>
                  <a:path w="8" h="2">
                    <a:moveTo>
                      <a:pt x="0" y="0"/>
                    </a:moveTo>
                    <a:cubicBezTo>
                      <a:pt x="1" y="1"/>
                      <a:pt x="3" y="1"/>
                      <a:pt x="5" y="2"/>
                    </a:cubicBezTo>
                    <a:cubicBezTo>
                      <a:pt x="6" y="2"/>
                      <a:pt x="7" y="1"/>
                      <a:pt x="8" y="1"/>
                    </a:cubicBezTo>
                    <a:cubicBezTo>
                      <a:pt x="5"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310"/>
              <p:cNvSpPr/>
              <p:nvPr/>
            </p:nvSpPr>
            <p:spPr bwMode="auto">
              <a:xfrm>
                <a:off x="6972" y="4875"/>
                <a:ext cx="19" cy="17"/>
              </a:xfrm>
              <a:custGeom>
                <a:gdLst>
                  <a:gd name="T0" fmla="*/ 3 w 8"/>
                  <a:gd name="T1" fmla="*/ 0 h 7"/>
                  <a:gd name="T2" fmla="*/ 1 w 8"/>
                  <a:gd name="T3" fmla="*/ 1 h 7"/>
                  <a:gd name="T4" fmla="*/ 6 w 8"/>
                  <a:gd name="T5" fmla="*/ 7 h 7"/>
                  <a:gd name="T6" fmla="*/ 5 w 8"/>
                  <a:gd name="T7" fmla="*/ 0 h 7"/>
                  <a:gd name="T8" fmla="*/ 3 w 8"/>
                  <a:gd name="T9" fmla="*/ 0 h 7"/>
                </a:gdLst>
                <a:cxnLst>
                  <a:cxn ang="0">
                    <a:pos x="T0" y="T1"/>
                  </a:cxn>
                  <a:cxn ang="0">
                    <a:pos x="T2" y="T3"/>
                  </a:cxn>
                  <a:cxn ang="0">
                    <a:pos x="T4" y="T5"/>
                  </a:cxn>
                  <a:cxn ang="0">
                    <a:pos x="T6" y="T7"/>
                  </a:cxn>
                  <a:cxn ang="0">
                    <a:pos x="T8" y="T9"/>
                  </a:cxn>
                </a:cxnLst>
                <a:rect l="0" t="0" r="r" b="b"/>
                <a:pathLst>
                  <a:path w="8" h="7">
                    <a:moveTo>
                      <a:pt x="3" y="0"/>
                    </a:moveTo>
                    <a:cubicBezTo>
                      <a:pt x="3" y="0"/>
                      <a:pt x="2" y="0"/>
                      <a:pt x="1" y="1"/>
                    </a:cubicBezTo>
                    <a:cubicBezTo>
                      <a:pt x="0" y="4"/>
                      <a:pt x="4" y="6"/>
                      <a:pt x="6" y="7"/>
                    </a:cubicBezTo>
                    <a:cubicBezTo>
                      <a:pt x="7" y="5"/>
                      <a:pt x="8" y="2"/>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Freeform 311"/>
              <p:cNvSpPr/>
              <p:nvPr/>
            </p:nvSpPr>
            <p:spPr bwMode="auto">
              <a:xfrm>
                <a:off x="7154" y="4998"/>
                <a:ext cx="33" cy="19"/>
              </a:xfrm>
              <a:custGeom>
                <a:gdLst>
                  <a:gd name="T0" fmla="*/ 0 w 14"/>
                  <a:gd name="T1" fmla="*/ 0 h 8"/>
                  <a:gd name="T2" fmla="*/ 9 w 14"/>
                  <a:gd name="T3" fmla="*/ 8 h 8"/>
                  <a:gd name="T4" fmla="*/ 14 w 14"/>
                  <a:gd name="T5" fmla="*/ 7 h 8"/>
                  <a:gd name="T6" fmla="*/ 0 w 14"/>
                  <a:gd name="T7" fmla="*/ 0 h 8"/>
                </a:gdLst>
                <a:cxnLst>
                  <a:cxn ang="0">
                    <a:pos x="T0" y="T1"/>
                  </a:cxn>
                  <a:cxn ang="0">
                    <a:pos x="T2" y="T3"/>
                  </a:cxn>
                  <a:cxn ang="0">
                    <a:pos x="T4" y="T5"/>
                  </a:cxn>
                  <a:cxn ang="0">
                    <a:pos x="T6" y="T7"/>
                  </a:cxn>
                </a:cxnLst>
                <a:rect l="0" t="0" r="r" b="b"/>
                <a:pathLst>
                  <a:path w="14" h="8">
                    <a:moveTo>
                      <a:pt x="0" y="0"/>
                    </a:moveTo>
                    <a:cubicBezTo>
                      <a:pt x="3" y="3"/>
                      <a:pt x="6" y="5"/>
                      <a:pt x="9" y="8"/>
                    </a:cubicBezTo>
                    <a:cubicBezTo>
                      <a:pt x="11" y="8"/>
                      <a:pt x="12" y="7"/>
                      <a:pt x="14" y="7"/>
                    </a:cubicBezTo>
                    <a:cubicBezTo>
                      <a:pt x="11" y="3"/>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Freeform 312"/>
              <p:cNvSpPr/>
              <p:nvPr/>
            </p:nvSpPr>
            <p:spPr bwMode="auto">
              <a:xfrm>
                <a:off x="7012" y="4485"/>
                <a:ext cx="140" cy="133"/>
              </a:xfrm>
              <a:custGeom>
                <a:gdLst>
                  <a:gd name="T0" fmla="*/ 1 w 59"/>
                  <a:gd name="T1" fmla="*/ 0 h 56"/>
                  <a:gd name="T2" fmla="*/ 0 w 59"/>
                  <a:gd name="T3" fmla="*/ 5 h 56"/>
                  <a:gd name="T4" fmla="*/ 1 w 59"/>
                  <a:gd name="T5" fmla="*/ 6 h 56"/>
                  <a:gd name="T6" fmla="*/ 2 w 59"/>
                  <a:gd name="T7" fmla="*/ 6 h 56"/>
                  <a:gd name="T8" fmla="*/ 3 w 59"/>
                  <a:gd name="T9" fmla="*/ 6 h 56"/>
                  <a:gd name="T10" fmla="*/ 4 w 59"/>
                  <a:gd name="T11" fmla="*/ 5 h 56"/>
                  <a:gd name="T12" fmla="*/ 4 w 59"/>
                  <a:gd name="T13" fmla="*/ 6 h 56"/>
                  <a:gd name="T14" fmla="*/ 28 w 59"/>
                  <a:gd name="T15" fmla="*/ 20 h 56"/>
                  <a:gd name="T16" fmla="*/ 45 w 59"/>
                  <a:gd name="T17" fmla="*/ 35 h 56"/>
                  <a:gd name="T18" fmla="*/ 48 w 59"/>
                  <a:gd name="T19" fmla="*/ 42 h 56"/>
                  <a:gd name="T20" fmla="*/ 48 w 59"/>
                  <a:gd name="T21" fmla="*/ 45 h 56"/>
                  <a:gd name="T22" fmla="*/ 53 w 59"/>
                  <a:gd name="T23" fmla="*/ 56 h 56"/>
                  <a:gd name="T24" fmla="*/ 58 w 59"/>
                  <a:gd name="T25" fmla="*/ 42 h 56"/>
                  <a:gd name="T26" fmla="*/ 57 w 59"/>
                  <a:gd name="T27" fmla="*/ 40 h 56"/>
                  <a:gd name="T28" fmla="*/ 51 w 59"/>
                  <a:gd name="T29" fmla="*/ 32 h 56"/>
                  <a:gd name="T30" fmla="*/ 50 w 59"/>
                  <a:gd name="T31" fmla="*/ 32 h 56"/>
                  <a:gd name="T32" fmla="*/ 50 w 59"/>
                  <a:gd name="T33" fmla="*/ 33 h 56"/>
                  <a:gd name="T34" fmla="*/ 49 w 59"/>
                  <a:gd name="T35" fmla="*/ 33 h 56"/>
                  <a:gd name="T36" fmla="*/ 48 w 59"/>
                  <a:gd name="T37" fmla="*/ 33 h 56"/>
                  <a:gd name="T38" fmla="*/ 41 w 59"/>
                  <a:gd name="T39" fmla="*/ 26 h 56"/>
                  <a:gd name="T40" fmla="*/ 34 w 59"/>
                  <a:gd name="T41" fmla="*/ 20 h 56"/>
                  <a:gd name="T42" fmla="*/ 25 w 59"/>
                  <a:gd name="T43" fmla="*/ 14 h 56"/>
                  <a:gd name="T44" fmla="*/ 16 w 59"/>
                  <a:gd name="T45" fmla="*/ 8 h 56"/>
                  <a:gd name="T46" fmla="*/ 12 w 59"/>
                  <a:gd name="T47" fmla="*/ 8 h 56"/>
                  <a:gd name="T48" fmla="*/ 1 w 59"/>
                  <a:gd name="T49" fmla="*/ 0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56">
                    <a:moveTo>
                      <a:pt x="1" y="0"/>
                    </a:moveTo>
                    <a:cubicBezTo>
                      <a:pt x="4" y="4"/>
                      <a:pt x="3" y="3"/>
                      <a:pt x="0" y="5"/>
                    </a:cubicBezTo>
                    <a:cubicBezTo>
                      <a:pt x="1" y="6"/>
                      <a:pt x="1" y="6"/>
                      <a:pt x="1" y="6"/>
                    </a:cubicBezTo>
                    <a:cubicBezTo>
                      <a:pt x="1" y="6"/>
                      <a:pt x="2" y="6"/>
                      <a:pt x="2" y="6"/>
                    </a:cubicBezTo>
                    <a:cubicBezTo>
                      <a:pt x="2" y="6"/>
                      <a:pt x="2" y="6"/>
                      <a:pt x="3" y="6"/>
                    </a:cubicBezTo>
                    <a:cubicBezTo>
                      <a:pt x="3" y="6"/>
                      <a:pt x="3" y="5"/>
                      <a:pt x="4" y="5"/>
                    </a:cubicBezTo>
                    <a:cubicBezTo>
                      <a:pt x="4" y="5"/>
                      <a:pt x="4" y="6"/>
                      <a:pt x="4" y="6"/>
                    </a:cubicBezTo>
                    <a:cubicBezTo>
                      <a:pt x="12" y="10"/>
                      <a:pt x="20" y="15"/>
                      <a:pt x="28" y="20"/>
                    </a:cubicBezTo>
                    <a:cubicBezTo>
                      <a:pt x="35" y="24"/>
                      <a:pt x="41" y="27"/>
                      <a:pt x="45" y="35"/>
                    </a:cubicBezTo>
                    <a:cubicBezTo>
                      <a:pt x="46" y="37"/>
                      <a:pt x="47" y="39"/>
                      <a:pt x="48" y="42"/>
                    </a:cubicBezTo>
                    <a:cubicBezTo>
                      <a:pt x="48" y="43"/>
                      <a:pt x="47" y="44"/>
                      <a:pt x="48" y="45"/>
                    </a:cubicBezTo>
                    <a:cubicBezTo>
                      <a:pt x="48" y="49"/>
                      <a:pt x="51" y="53"/>
                      <a:pt x="53" y="56"/>
                    </a:cubicBezTo>
                    <a:cubicBezTo>
                      <a:pt x="54" y="53"/>
                      <a:pt x="59" y="46"/>
                      <a:pt x="58" y="42"/>
                    </a:cubicBezTo>
                    <a:cubicBezTo>
                      <a:pt x="58" y="41"/>
                      <a:pt x="57" y="41"/>
                      <a:pt x="57" y="40"/>
                    </a:cubicBezTo>
                    <a:cubicBezTo>
                      <a:pt x="55" y="38"/>
                      <a:pt x="53" y="33"/>
                      <a:pt x="51" y="32"/>
                    </a:cubicBezTo>
                    <a:cubicBezTo>
                      <a:pt x="51" y="32"/>
                      <a:pt x="51" y="32"/>
                      <a:pt x="50" y="32"/>
                    </a:cubicBezTo>
                    <a:cubicBezTo>
                      <a:pt x="50" y="32"/>
                      <a:pt x="50" y="33"/>
                      <a:pt x="50" y="33"/>
                    </a:cubicBezTo>
                    <a:cubicBezTo>
                      <a:pt x="49" y="33"/>
                      <a:pt x="49" y="33"/>
                      <a:pt x="49" y="33"/>
                    </a:cubicBezTo>
                    <a:cubicBezTo>
                      <a:pt x="49" y="33"/>
                      <a:pt x="48" y="33"/>
                      <a:pt x="48" y="33"/>
                    </a:cubicBezTo>
                    <a:cubicBezTo>
                      <a:pt x="46" y="32"/>
                      <a:pt x="43" y="28"/>
                      <a:pt x="41" y="26"/>
                    </a:cubicBezTo>
                    <a:cubicBezTo>
                      <a:pt x="39" y="24"/>
                      <a:pt x="36" y="22"/>
                      <a:pt x="34" y="20"/>
                    </a:cubicBezTo>
                    <a:cubicBezTo>
                      <a:pt x="31" y="17"/>
                      <a:pt x="28" y="17"/>
                      <a:pt x="25" y="14"/>
                    </a:cubicBezTo>
                    <a:cubicBezTo>
                      <a:pt x="22" y="12"/>
                      <a:pt x="19" y="10"/>
                      <a:pt x="16" y="8"/>
                    </a:cubicBezTo>
                    <a:cubicBezTo>
                      <a:pt x="15" y="8"/>
                      <a:pt x="13" y="8"/>
                      <a:pt x="12" y="8"/>
                    </a:cubicBezTo>
                    <a:cubicBezTo>
                      <a:pt x="9" y="5"/>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Freeform 313"/>
              <p:cNvSpPr/>
              <p:nvPr/>
            </p:nvSpPr>
            <p:spPr bwMode="auto">
              <a:xfrm>
                <a:off x="7204" y="4998"/>
                <a:ext cx="14" cy="8"/>
              </a:xfrm>
              <a:custGeom>
                <a:gdLst>
                  <a:gd name="T0" fmla="*/ 2 w 6"/>
                  <a:gd name="T1" fmla="*/ 0 h 3"/>
                  <a:gd name="T2" fmla="*/ 1 w 6"/>
                  <a:gd name="T3" fmla="*/ 3 h 3"/>
                  <a:gd name="T4" fmla="*/ 6 w 6"/>
                  <a:gd name="T5" fmla="*/ 2 h 3"/>
                  <a:gd name="T6" fmla="*/ 2 w 6"/>
                  <a:gd name="T7" fmla="*/ 0 h 3"/>
                </a:gdLst>
                <a:cxnLst>
                  <a:cxn ang="0">
                    <a:pos x="T0" y="T1"/>
                  </a:cxn>
                  <a:cxn ang="0">
                    <a:pos x="T2" y="T3"/>
                  </a:cxn>
                  <a:cxn ang="0">
                    <a:pos x="T4" y="T5"/>
                  </a:cxn>
                  <a:cxn ang="0">
                    <a:pos x="T6" y="T7"/>
                  </a:cxn>
                </a:cxnLst>
                <a:rect l="0" t="0" r="r" b="b"/>
                <a:pathLst>
                  <a:path w="6" h="3">
                    <a:moveTo>
                      <a:pt x="2" y="0"/>
                    </a:moveTo>
                    <a:cubicBezTo>
                      <a:pt x="1" y="0"/>
                      <a:pt x="0" y="1"/>
                      <a:pt x="1" y="3"/>
                    </a:cubicBezTo>
                    <a:cubicBezTo>
                      <a:pt x="3" y="2"/>
                      <a:pt x="6" y="2"/>
                      <a:pt x="6" y="2"/>
                    </a:cubicBezTo>
                    <a:cubicBezTo>
                      <a:pt x="6"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Freeform 314"/>
              <p:cNvSpPr/>
              <p:nvPr/>
            </p:nvSpPr>
            <p:spPr bwMode="auto">
              <a:xfrm>
                <a:off x="6993" y="4883"/>
                <a:ext cx="29" cy="21"/>
              </a:xfrm>
              <a:custGeom>
                <a:gdLst>
                  <a:gd name="T0" fmla="*/ 1 w 12"/>
                  <a:gd name="T1" fmla="*/ 0 h 9"/>
                  <a:gd name="T2" fmla="*/ 2 w 12"/>
                  <a:gd name="T3" fmla="*/ 5 h 9"/>
                  <a:gd name="T4" fmla="*/ 0 w 12"/>
                  <a:gd name="T5" fmla="*/ 6 h 9"/>
                  <a:gd name="T6" fmla="*/ 10 w 12"/>
                  <a:gd name="T7" fmla="*/ 9 h 9"/>
                  <a:gd name="T8" fmla="*/ 10 w 12"/>
                  <a:gd name="T9" fmla="*/ 6 h 9"/>
                  <a:gd name="T10" fmla="*/ 9 w 12"/>
                  <a:gd name="T11" fmla="*/ 2 h 9"/>
                  <a:gd name="T12" fmla="*/ 8 w 12"/>
                  <a:gd name="T13" fmla="*/ 2 h 9"/>
                  <a:gd name="T14" fmla="*/ 7 w 12"/>
                  <a:gd name="T15" fmla="*/ 2 h 9"/>
                  <a:gd name="T16" fmla="*/ 6 w 12"/>
                  <a:gd name="T17" fmla="*/ 2 h 9"/>
                  <a:gd name="T18" fmla="*/ 5 w 12"/>
                  <a:gd name="T19" fmla="*/ 2 h 9"/>
                  <a:gd name="T20" fmla="*/ 3 w 12"/>
                  <a:gd name="T21" fmla="*/ 1 h 9"/>
                  <a:gd name="T22" fmla="*/ 1 w 12"/>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9">
                    <a:moveTo>
                      <a:pt x="1" y="0"/>
                    </a:moveTo>
                    <a:cubicBezTo>
                      <a:pt x="0" y="0"/>
                      <a:pt x="1" y="2"/>
                      <a:pt x="2" y="5"/>
                    </a:cubicBezTo>
                    <a:cubicBezTo>
                      <a:pt x="2" y="6"/>
                      <a:pt x="0" y="6"/>
                      <a:pt x="0" y="6"/>
                    </a:cubicBezTo>
                    <a:cubicBezTo>
                      <a:pt x="1" y="8"/>
                      <a:pt x="8" y="9"/>
                      <a:pt x="10" y="9"/>
                    </a:cubicBezTo>
                    <a:cubicBezTo>
                      <a:pt x="12" y="8"/>
                      <a:pt x="12" y="7"/>
                      <a:pt x="10" y="6"/>
                    </a:cubicBezTo>
                    <a:cubicBezTo>
                      <a:pt x="11" y="5"/>
                      <a:pt x="10" y="2"/>
                      <a:pt x="9" y="2"/>
                    </a:cubicBezTo>
                    <a:cubicBezTo>
                      <a:pt x="9" y="2"/>
                      <a:pt x="8" y="2"/>
                      <a:pt x="8" y="2"/>
                    </a:cubicBezTo>
                    <a:cubicBezTo>
                      <a:pt x="8" y="2"/>
                      <a:pt x="7" y="2"/>
                      <a:pt x="7" y="2"/>
                    </a:cubicBezTo>
                    <a:cubicBezTo>
                      <a:pt x="7" y="2"/>
                      <a:pt x="6" y="2"/>
                      <a:pt x="6" y="2"/>
                    </a:cubicBezTo>
                    <a:cubicBezTo>
                      <a:pt x="6" y="2"/>
                      <a:pt x="5" y="2"/>
                      <a:pt x="5" y="2"/>
                    </a:cubicBezTo>
                    <a:cubicBezTo>
                      <a:pt x="5" y="2"/>
                      <a:pt x="4" y="1"/>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Freeform 315"/>
              <p:cNvSpPr/>
              <p:nvPr/>
            </p:nvSpPr>
            <p:spPr bwMode="auto">
              <a:xfrm>
                <a:off x="6868" y="4580"/>
                <a:ext cx="241" cy="125"/>
              </a:xfrm>
              <a:custGeom>
                <a:gdLst>
                  <a:gd name="T0" fmla="*/ 95 w 102"/>
                  <a:gd name="T1" fmla="*/ 0 h 53"/>
                  <a:gd name="T2" fmla="*/ 93 w 102"/>
                  <a:gd name="T3" fmla="*/ 1 h 53"/>
                  <a:gd name="T4" fmla="*/ 93 w 102"/>
                  <a:gd name="T5" fmla="*/ 1 h 53"/>
                  <a:gd name="T6" fmla="*/ 92 w 102"/>
                  <a:gd name="T7" fmla="*/ 0 h 53"/>
                  <a:gd name="T8" fmla="*/ 80 w 102"/>
                  <a:gd name="T9" fmla="*/ 0 h 53"/>
                  <a:gd name="T10" fmla="*/ 79 w 102"/>
                  <a:gd name="T11" fmla="*/ 18 h 53"/>
                  <a:gd name="T12" fmla="*/ 62 w 102"/>
                  <a:gd name="T13" fmla="*/ 31 h 53"/>
                  <a:gd name="T14" fmla="*/ 58 w 102"/>
                  <a:gd name="T15" fmla="*/ 34 h 53"/>
                  <a:gd name="T16" fmla="*/ 54 w 102"/>
                  <a:gd name="T17" fmla="*/ 31 h 53"/>
                  <a:gd name="T18" fmla="*/ 48 w 102"/>
                  <a:gd name="T19" fmla="*/ 34 h 53"/>
                  <a:gd name="T20" fmla="*/ 45 w 102"/>
                  <a:gd name="T21" fmla="*/ 31 h 53"/>
                  <a:gd name="T22" fmla="*/ 45 w 102"/>
                  <a:gd name="T23" fmla="*/ 21 h 53"/>
                  <a:gd name="T24" fmla="*/ 41 w 102"/>
                  <a:gd name="T25" fmla="*/ 27 h 53"/>
                  <a:gd name="T26" fmla="*/ 41 w 102"/>
                  <a:gd name="T27" fmla="*/ 31 h 53"/>
                  <a:gd name="T28" fmla="*/ 35 w 102"/>
                  <a:gd name="T29" fmla="*/ 34 h 53"/>
                  <a:gd name="T30" fmla="*/ 34 w 102"/>
                  <a:gd name="T31" fmla="*/ 33 h 53"/>
                  <a:gd name="T32" fmla="*/ 25 w 102"/>
                  <a:gd name="T33" fmla="*/ 35 h 53"/>
                  <a:gd name="T34" fmla="*/ 20 w 102"/>
                  <a:gd name="T35" fmla="*/ 33 h 53"/>
                  <a:gd name="T36" fmla="*/ 14 w 102"/>
                  <a:gd name="T37" fmla="*/ 34 h 53"/>
                  <a:gd name="T38" fmla="*/ 11 w 102"/>
                  <a:gd name="T39" fmla="*/ 32 h 53"/>
                  <a:gd name="T40" fmla="*/ 9 w 102"/>
                  <a:gd name="T41" fmla="*/ 33 h 53"/>
                  <a:gd name="T42" fmla="*/ 8 w 102"/>
                  <a:gd name="T43" fmla="*/ 33 h 53"/>
                  <a:gd name="T44" fmla="*/ 3 w 102"/>
                  <a:gd name="T45" fmla="*/ 32 h 53"/>
                  <a:gd name="T46" fmla="*/ 2 w 102"/>
                  <a:gd name="T47" fmla="*/ 39 h 53"/>
                  <a:gd name="T48" fmla="*/ 19 w 102"/>
                  <a:gd name="T49" fmla="*/ 46 h 53"/>
                  <a:gd name="T50" fmla="*/ 25 w 102"/>
                  <a:gd name="T51" fmla="*/ 47 h 53"/>
                  <a:gd name="T52" fmla="*/ 32 w 102"/>
                  <a:gd name="T53" fmla="*/ 51 h 53"/>
                  <a:gd name="T54" fmla="*/ 46 w 102"/>
                  <a:gd name="T55" fmla="*/ 52 h 53"/>
                  <a:gd name="T56" fmla="*/ 68 w 102"/>
                  <a:gd name="T57" fmla="*/ 46 h 53"/>
                  <a:gd name="T58" fmla="*/ 76 w 102"/>
                  <a:gd name="T59" fmla="*/ 41 h 53"/>
                  <a:gd name="T60" fmla="*/ 84 w 102"/>
                  <a:gd name="T61" fmla="*/ 34 h 53"/>
                  <a:gd name="T62" fmla="*/ 88 w 102"/>
                  <a:gd name="T63" fmla="*/ 35 h 53"/>
                  <a:gd name="T64" fmla="*/ 94 w 102"/>
                  <a:gd name="T65" fmla="*/ 31 h 53"/>
                  <a:gd name="T66" fmla="*/ 92 w 102"/>
                  <a:gd name="T67" fmla="*/ 20 h 53"/>
                  <a:gd name="T68" fmla="*/ 95 w 102"/>
                  <a:gd name="T69" fmla="*/ 20 h 53"/>
                  <a:gd name="T70" fmla="*/ 100 w 102"/>
                  <a:gd name="T71" fmla="*/ 17 h 53"/>
                  <a:gd name="T72" fmla="*/ 96 w 102"/>
                  <a:gd name="T73" fmla="*/ 1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52">
                    <a:moveTo>
                      <a:pt x="97" y="0"/>
                    </a:moveTo>
                    <a:cubicBezTo>
                      <a:pt x="96" y="0"/>
                      <a:pt x="95" y="0"/>
                      <a:pt x="95" y="0"/>
                    </a:cubicBezTo>
                    <a:cubicBezTo>
                      <a:pt x="94" y="1"/>
                      <a:pt x="93" y="1"/>
                      <a:pt x="93" y="1"/>
                    </a:cubicBezTo>
                    <a:cubicBezTo>
                      <a:pt x="93" y="1"/>
                      <a:pt x="93" y="1"/>
                      <a:pt x="93" y="1"/>
                    </a:cubicBezTo>
                    <a:cubicBezTo>
                      <a:pt x="93" y="1"/>
                      <a:pt x="93" y="1"/>
                      <a:pt x="93" y="1"/>
                    </a:cubicBezTo>
                    <a:cubicBezTo>
                      <a:pt x="93" y="1"/>
                      <a:pt x="93" y="1"/>
                      <a:pt x="93" y="1"/>
                    </a:cubicBezTo>
                    <a:cubicBezTo>
                      <a:pt x="92" y="1"/>
                      <a:pt x="92" y="0"/>
                      <a:pt x="92" y="0"/>
                    </a:cubicBezTo>
                    <a:cubicBezTo>
                      <a:pt x="92" y="0"/>
                      <a:pt x="92" y="0"/>
                      <a:pt x="92" y="0"/>
                    </a:cubicBezTo>
                    <a:cubicBezTo>
                      <a:pt x="91" y="1"/>
                      <a:pt x="90" y="2"/>
                      <a:pt x="88" y="3"/>
                    </a:cubicBezTo>
                    <a:cubicBezTo>
                      <a:pt x="88" y="0"/>
                      <a:pt x="82" y="1"/>
                      <a:pt x="80" y="0"/>
                    </a:cubicBezTo>
                    <a:cubicBezTo>
                      <a:pt x="81" y="6"/>
                      <a:pt x="82" y="13"/>
                      <a:pt x="83" y="19"/>
                    </a:cubicBezTo>
                    <a:cubicBezTo>
                      <a:pt x="81" y="18"/>
                      <a:pt x="80" y="18"/>
                      <a:pt x="79" y="18"/>
                    </a:cubicBezTo>
                    <a:cubicBezTo>
                      <a:pt x="72" y="18"/>
                      <a:pt x="68" y="27"/>
                      <a:pt x="63" y="32"/>
                    </a:cubicBezTo>
                    <a:cubicBezTo>
                      <a:pt x="63" y="32"/>
                      <a:pt x="63" y="31"/>
                      <a:pt x="62" y="31"/>
                    </a:cubicBezTo>
                    <a:cubicBezTo>
                      <a:pt x="62" y="31"/>
                      <a:pt x="61" y="32"/>
                      <a:pt x="60" y="33"/>
                    </a:cubicBezTo>
                    <a:cubicBezTo>
                      <a:pt x="59" y="33"/>
                      <a:pt x="59" y="34"/>
                      <a:pt x="58" y="34"/>
                    </a:cubicBezTo>
                    <a:cubicBezTo>
                      <a:pt x="58" y="34"/>
                      <a:pt x="58" y="34"/>
                      <a:pt x="57" y="34"/>
                    </a:cubicBezTo>
                    <a:cubicBezTo>
                      <a:pt x="56" y="34"/>
                      <a:pt x="56" y="31"/>
                      <a:pt x="54" y="31"/>
                    </a:cubicBezTo>
                    <a:cubicBezTo>
                      <a:pt x="54" y="31"/>
                      <a:pt x="54" y="31"/>
                      <a:pt x="54" y="31"/>
                    </a:cubicBezTo>
                    <a:cubicBezTo>
                      <a:pt x="51" y="32"/>
                      <a:pt x="50" y="34"/>
                      <a:pt x="48" y="34"/>
                    </a:cubicBezTo>
                    <a:cubicBezTo>
                      <a:pt x="48" y="34"/>
                      <a:pt x="48" y="34"/>
                      <a:pt x="48" y="34"/>
                    </a:cubicBezTo>
                    <a:cubicBezTo>
                      <a:pt x="45" y="34"/>
                      <a:pt x="46" y="33"/>
                      <a:pt x="45" y="31"/>
                    </a:cubicBezTo>
                    <a:cubicBezTo>
                      <a:pt x="43" y="28"/>
                      <a:pt x="42" y="25"/>
                      <a:pt x="45" y="24"/>
                    </a:cubicBezTo>
                    <a:cubicBezTo>
                      <a:pt x="48" y="22"/>
                      <a:pt x="46" y="21"/>
                      <a:pt x="45" y="21"/>
                    </a:cubicBezTo>
                    <a:cubicBezTo>
                      <a:pt x="44" y="21"/>
                      <a:pt x="43" y="22"/>
                      <a:pt x="43" y="24"/>
                    </a:cubicBezTo>
                    <a:cubicBezTo>
                      <a:pt x="42" y="26"/>
                      <a:pt x="42" y="26"/>
                      <a:pt x="41" y="27"/>
                    </a:cubicBezTo>
                    <a:cubicBezTo>
                      <a:pt x="41" y="28"/>
                      <a:pt x="40" y="28"/>
                      <a:pt x="40" y="28"/>
                    </a:cubicBezTo>
                    <a:cubicBezTo>
                      <a:pt x="40" y="30"/>
                      <a:pt x="42" y="30"/>
                      <a:pt x="41" y="31"/>
                    </a:cubicBezTo>
                    <a:cubicBezTo>
                      <a:pt x="41" y="34"/>
                      <a:pt x="38" y="33"/>
                      <a:pt x="37" y="33"/>
                    </a:cubicBezTo>
                    <a:cubicBezTo>
                      <a:pt x="36" y="33"/>
                      <a:pt x="36" y="34"/>
                      <a:pt x="35" y="34"/>
                    </a:cubicBezTo>
                    <a:cubicBezTo>
                      <a:pt x="35" y="34"/>
                      <a:pt x="34" y="34"/>
                      <a:pt x="34" y="33"/>
                    </a:cubicBezTo>
                    <a:cubicBezTo>
                      <a:pt x="34" y="33"/>
                      <a:pt x="34" y="33"/>
                      <a:pt x="34" y="33"/>
                    </a:cubicBezTo>
                    <a:cubicBezTo>
                      <a:pt x="33" y="33"/>
                      <a:pt x="32" y="33"/>
                      <a:pt x="31" y="33"/>
                    </a:cubicBezTo>
                    <a:cubicBezTo>
                      <a:pt x="29" y="34"/>
                      <a:pt x="28" y="35"/>
                      <a:pt x="25" y="35"/>
                    </a:cubicBezTo>
                    <a:cubicBezTo>
                      <a:pt x="25" y="35"/>
                      <a:pt x="25" y="35"/>
                      <a:pt x="25" y="35"/>
                    </a:cubicBezTo>
                    <a:cubicBezTo>
                      <a:pt x="23" y="35"/>
                      <a:pt x="22" y="34"/>
                      <a:pt x="20" y="33"/>
                    </a:cubicBezTo>
                    <a:cubicBezTo>
                      <a:pt x="19" y="33"/>
                      <a:pt x="18" y="33"/>
                      <a:pt x="18" y="33"/>
                    </a:cubicBezTo>
                    <a:cubicBezTo>
                      <a:pt x="16" y="33"/>
                      <a:pt x="16" y="33"/>
                      <a:pt x="14" y="34"/>
                    </a:cubicBezTo>
                    <a:cubicBezTo>
                      <a:pt x="14" y="34"/>
                      <a:pt x="14" y="34"/>
                      <a:pt x="13" y="34"/>
                    </a:cubicBezTo>
                    <a:cubicBezTo>
                      <a:pt x="12" y="34"/>
                      <a:pt x="12" y="33"/>
                      <a:pt x="11" y="32"/>
                    </a:cubicBezTo>
                    <a:cubicBezTo>
                      <a:pt x="11" y="32"/>
                      <a:pt x="11" y="32"/>
                      <a:pt x="11" y="32"/>
                    </a:cubicBezTo>
                    <a:cubicBezTo>
                      <a:pt x="10" y="32"/>
                      <a:pt x="10" y="33"/>
                      <a:pt x="9" y="33"/>
                    </a:cubicBezTo>
                    <a:cubicBezTo>
                      <a:pt x="9" y="33"/>
                      <a:pt x="8" y="33"/>
                      <a:pt x="8" y="33"/>
                    </a:cubicBezTo>
                    <a:cubicBezTo>
                      <a:pt x="8" y="33"/>
                      <a:pt x="8" y="33"/>
                      <a:pt x="8" y="33"/>
                    </a:cubicBezTo>
                    <a:cubicBezTo>
                      <a:pt x="6" y="33"/>
                      <a:pt x="7" y="33"/>
                      <a:pt x="5" y="32"/>
                    </a:cubicBezTo>
                    <a:cubicBezTo>
                      <a:pt x="4" y="32"/>
                      <a:pt x="4" y="32"/>
                      <a:pt x="3" y="32"/>
                    </a:cubicBezTo>
                    <a:cubicBezTo>
                      <a:pt x="3" y="32"/>
                      <a:pt x="3" y="32"/>
                      <a:pt x="2" y="32"/>
                    </a:cubicBezTo>
                    <a:cubicBezTo>
                      <a:pt x="0" y="33"/>
                      <a:pt x="1" y="38"/>
                      <a:pt x="2" y="39"/>
                    </a:cubicBezTo>
                    <a:cubicBezTo>
                      <a:pt x="5" y="41"/>
                      <a:pt x="9" y="41"/>
                      <a:pt x="12" y="43"/>
                    </a:cubicBezTo>
                    <a:cubicBezTo>
                      <a:pt x="14" y="44"/>
                      <a:pt x="16" y="45"/>
                      <a:pt x="19" y="46"/>
                    </a:cubicBezTo>
                    <a:cubicBezTo>
                      <a:pt x="19" y="47"/>
                      <a:pt x="20" y="48"/>
                      <a:pt x="19" y="49"/>
                    </a:cubicBezTo>
                    <a:cubicBezTo>
                      <a:pt x="22" y="48"/>
                      <a:pt x="23" y="47"/>
                      <a:pt x="25" y="47"/>
                    </a:cubicBezTo>
                    <a:cubicBezTo>
                      <a:pt x="27" y="47"/>
                      <a:pt x="28" y="48"/>
                      <a:pt x="30" y="49"/>
                    </a:cubicBezTo>
                    <a:cubicBezTo>
                      <a:pt x="31" y="50"/>
                      <a:pt x="31" y="51"/>
                      <a:pt x="32" y="51"/>
                    </a:cubicBezTo>
                    <a:cubicBezTo>
                      <a:pt x="33" y="53"/>
                      <a:pt x="36" y="53"/>
                      <a:pt x="38" y="53"/>
                    </a:cubicBezTo>
                    <a:cubicBezTo>
                      <a:pt x="41" y="53"/>
                      <a:pt x="44" y="53"/>
                      <a:pt x="46" y="52"/>
                    </a:cubicBezTo>
                    <a:cubicBezTo>
                      <a:pt x="52" y="51"/>
                      <a:pt x="58" y="50"/>
                      <a:pt x="63" y="47"/>
                    </a:cubicBezTo>
                    <a:cubicBezTo>
                      <a:pt x="65" y="47"/>
                      <a:pt x="67" y="46"/>
                      <a:pt x="68" y="46"/>
                    </a:cubicBezTo>
                    <a:cubicBezTo>
                      <a:pt x="68" y="46"/>
                      <a:pt x="72" y="44"/>
                      <a:pt x="72" y="43"/>
                    </a:cubicBezTo>
                    <a:cubicBezTo>
                      <a:pt x="73" y="42"/>
                      <a:pt x="75" y="42"/>
                      <a:pt x="76" y="41"/>
                    </a:cubicBezTo>
                    <a:cubicBezTo>
                      <a:pt x="78" y="39"/>
                      <a:pt x="80" y="36"/>
                      <a:pt x="82" y="35"/>
                    </a:cubicBezTo>
                    <a:cubicBezTo>
                      <a:pt x="83" y="34"/>
                      <a:pt x="83" y="34"/>
                      <a:pt x="84" y="34"/>
                    </a:cubicBezTo>
                    <a:cubicBezTo>
                      <a:pt x="84" y="34"/>
                      <a:pt x="85" y="34"/>
                      <a:pt x="86" y="34"/>
                    </a:cubicBezTo>
                    <a:cubicBezTo>
                      <a:pt x="86" y="34"/>
                      <a:pt x="87" y="35"/>
                      <a:pt x="88" y="35"/>
                    </a:cubicBezTo>
                    <a:cubicBezTo>
                      <a:pt x="88" y="35"/>
                      <a:pt x="88" y="35"/>
                      <a:pt x="88" y="35"/>
                    </a:cubicBezTo>
                    <a:cubicBezTo>
                      <a:pt x="89" y="34"/>
                      <a:pt x="93" y="32"/>
                      <a:pt x="94" y="31"/>
                    </a:cubicBezTo>
                    <a:cubicBezTo>
                      <a:pt x="97" y="27"/>
                      <a:pt x="88" y="24"/>
                      <a:pt x="91" y="20"/>
                    </a:cubicBezTo>
                    <a:cubicBezTo>
                      <a:pt x="91" y="20"/>
                      <a:pt x="91" y="20"/>
                      <a:pt x="92" y="20"/>
                    </a:cubicBezTo>
                    <a:cubicBezTo>
                      <a:pt x="92" y="20"/>
                      <a:pt x="93" y="20"/>
                      <a:pt x="94" y="20"/>
                    </a:cubicBezTo>
                    <a:cubicBezTo>
                      <a:pt x="94" y="20"/>
                      <a:pt x="95" y="20"/>
                      <a:pt x="95" y="20"/>
                    </a:cubicBezTo>
                    <a:cubicBezTo>
                      <a:pt x="95" y="20"/>
                      <a:pt x="96" y="20"/>
                      <a:pt x="96" y="20"/>
                    </a:cubicBezTo>
                    <a:cubicBezTo>
                      <a:pt x="98" y="20"/>
                      <a:pt x="99" y="18"/>
                      <a:pt x="100" y="17"/>
                    </a:cubicBezTo>
                    <a:cubicBezTo>
                      <a:pt x="102" y="12"/>
                      <a:pt x="100" y="9"/>
                      <a:pt x="102" y="4"/>
                    </a:cubicBezTo>
                    <a:cubicBezTo>
                      <a:pt x="100" y="4"/>
                      <a:pt x="93" y="4"/>
                      <a:pt x="96" y="1"/>
                    </a:cubicBez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316"/>
              <p:cNvSpPr/>
              <p:nvPr/>
            </p:nvSpPr>
            <p:spPr bwMode="auto">
              <a:xfrm>
                <a:off x="7230" y="4630"/>
                <a:ext cx="11" cy="26"/>
              </a:xfrm>
              <a:custGeom>
                <a:gdLst>
                  <a:gd name="T0" fmla="*/ 4 w 5"/>
                  <a:gd name="T1" fmla="*/ 0 h 11"/>
                  <a:gd name="T2" fmla="*/ 1 w 5"/>
                  <a:gd name="T3" fmla="*/ 2 h 11"/>
                  <a:gd name="T4" fmla="*/ 3 w 5"/>
                  <a:gd name="T5" fmla="*/ 11 h 11"/>
                  <a:gd name="T6" fmla="*/ 5 w 5"/>
                  <a:gd name="T7" fmla="*/ 6 h 11"/>
                  <a:gd name="T8" fmla="*/ 5 w 5"/>
                  <a:gd name="T9" fmla="*/ 3 h 11"/>
                  <a:gd name="T10" fmla="*/ 4 w 5"/>
                  <a:gd name="T11" fmla="*/ 0 h 11"/>
                  <a:gd name="T12" fmla="*/ 4 w 5"/>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5" h="11">
                    <a:moveTo>
                      <a:pt x="4" y="0"/>
                    </a:moveTo>
                    <a:cubicBezTo>
                      <a:pt x="3" y="0"/>
                      <a:pt x="1" y="2"/>
                      <a:pt x="1" y="2"/>
                    </a:cubicBezTo>
                    <a:cubicBezTo>
                      <a:pt x="0" y="4"/>
                      <a:pt x="3" y="9"/>
                      <a:pt x="3" y="11"/>
                    </a:cubicBezTo>
                    <a:cubicBezTo>
                      <a:pt x="4" y="10"/>
                      <a:pt x="5" y="7"/>
                      <a:pt x="5" y="6"/>
                    </a:cubicBezTo>
                    <a:cubicBezTo>
                      <a:pt x="5" y="4"/>
                      <a:pt x="5" y="4"/>
                      <a:pt x="5" y="3"/>
                    </a:cubicBezTo>
                    <a:cubicBezTo>
                      <a:pt x="4" y="2"/>
                      <a:pt x="5"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Freeform 317"/>
              <p:cNvSpPr/>
              <p:nvPr/>
            </p:nvSpPr>
            <p:spPr bwMode="auto">
              <a:xfrm>
                <a:off x="7014" y="4951"/>
                <a:ext cx="8" cy="7"/>
              </a:xfrm>
              <a:custGeom>
                <a:gdLst>
                  <a:gd name="T0" fmla="*/ 1 w 3"/>
                  <a:gd name="T1" fmla="*/ 0 h 3"/>
                  <a:gd name="T2" fmla="*/ 0 w 3"/>
                  <a:gd name="T3" fmla="*/ 1 h 3"/>
                  <a:gd name="T4" fmla="*/ 2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0" y="0"/>
                      <a:pt x="0" y="0"/>
                      <a:pt x="0" y="1"/>
                    </a:cubicBezTo>
                    <a:cubicBezTo>
                      <a:pt x="0" y="2"/>
                      <a:pt x="1" y="3"/>
                      <a:pt x="2"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318"/>
              <p:cNvSpPr/>
              <p:nvPr/>
            </p:nvSpPr>
            <p:spPr bwMode="auto">
              <a:xfrm>
                <a:off x="7241" y="4651"/>
                <a:ext cx="74" cy="87"/>
              </a:xfrm>
              <a:custGeom>
                <a:gdLst>
                  <a:gd name="T0" fmla="*/ 0 w 31"/>
                  <a:gd name="T1" fmla="*/ 0 h 37"/>
                  <a:gd name="T2" fmla="*/ 1 w 31"/>
                  <a:gd name="T3" fmla="*/ 11 h 37"/>
                  <a:gd name="T4" fmla="*/ 12 w 31"/>
                  <a:gd name="T5" fmla="*/ 28 h 37"/>
                  <a:gd name="T6" fmla="*/ 11 w 31"/>
                  <a:gd name="T7" fmla="*/ 28 h 37"/>
                  <a:gd name="T8" fmla="*/ 12 w 31"/>
                  <a:gd name="T9" fmla="*/ 30 h 37"/>
                  <a:gd name="T10" fmla="*/ 25 w 31"/>
                  <a:gd name="T11" fmla="*/ 37 h 37"/>
                  <a:gd name="T12" fmla="*/ 28 w 31"/>
                  <a:gd name="T13" fmla="*/ 34 h 37"/>
                  <a:gd name="T14" fmla="*/ 30 w 31"/>
                  <a:gd name="T15" fmla="*/ 33 h 37"/>
                  <a:gd name="T16" fmla="*/ 31 w 31"/>
                  <a:gd name="T17" fmla="*/ 34 h 37"/>
                  <a:gd name="T18" fmla="*/ 30 w 31"/>
                  <a:gd name="T19" fmla="*/ 28 h 37"/>
                  <a:gd name="T20" fmla="*/ 26 w 31"/>
                  <a:gd name="T21" fmla="*/ 23 h 37"/>
                  <a:gd name="T22" fmla="*/ 23 w 31"/>
                  <a:gd name="T23" fmla="*/ 19 h 37"/>
                  <a:gd name="T24" fmla="*/ 20 w 31"/>
                  <a:gd name="T25" fmla="*/ 18 h 37"/>
                  <a:gd name="T26" fmla="*/ 20 w 31"/>
                  <a:gd name="T27" fmla="*/ 18 h 37"/>
                  <a:gd name="T28" fmla="*/ 17 w 31"/>
                  <a:gd name="T29" fmla="*/ 17 h 37"/>
                  <a:gd name="T30" fmla="*/ 16 w 31"/>
                  <a:gd name="T31" fmla="*/ 14 h 37"/>
                  <a:gd name="T32" fmla="*/ 13 w 31"/>
                  <a:gd name="T33" fmla="*/ 12 h 37"/>
                  <a:gd name="T34" fmla="*/ 11 w 31"/>
                  <a:gd name="T35" fmla="*/ 9 h 37"/>
                  <a:gd name="T36" fmla="*/ 7 w 31"/>
                  <a:gd name="T37" fmla="*/ 4 h 37"/>
                  <a:gd name="T38" fmla="*/ 0 w 31"/>
                  <a:gd name="T39" fmla="*/ 0 h 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37">
                    <a:moveTo>
                      <a:pt x="0" y="0"/>
                    </a:moveTo>
                    <a:cubicBezTo>
                      <a:pt x="0" y="4"/>
                      <a:pt x="0" y="7"/>
                      <a:pt x="1" y="11"/>
                    </a:cubicBezTo>
                    <a:cubicBezTo>
                      <a:pt x="2" y="17"/>
                      <a:pt x="8" y="23"/>
                      <a:pt x="12" y="28"/>
                    </a:cubicBezTo>
                    <a:cubicBezTo>
                      <a:pt x="12" y="28"/>
                      <a:pt x="11" y="28"/>
                      <a:pt x="11" y="28"/>
                    </a:cubicBezTo>
                    <a:cubicBezTo>
                      <a:pt x="11" y="28"/>
                      <a:pt x="12" y="29"/>
                      <a:pt x="12" y="30"/>
                    </a:cubicBezTo>
                    <a:cubicBezTo>
                      <a:pt x="16" y="33"/>
                      <a:pt x="20" y="35"/>
                      <a:pt x="25" y="37"/>
                    </a:cubicBezTo>
                    <a:cubicBezTo>
                      <a:pt x="26" y="35"/>
                      <a:pt x="27" y="34"/>
                      <a:pt x="28" y="34"/>
                    </a:cubicBezTo>
                    <a:cubicBezTo>
                      <a:pt x="29" y="34"/>
                      <a:pt x="30" y="33"/>
                      <a:pt x="30" y="33"/>
                    </a:cubicBezTo>
                    <a:cubicBezTo>
                      <a:pt x="31" y="33"/>
                      <a:pt x="31" y="33"/>
                      <a:pt x="31" y="34"/>
                    </a:cubicBezTo>
                    <a:cubicBezTo>
                      <a:pt x="31" y="33"/>
                      <a:pt x="30" y="29"/>
                      <a:pt x="30" y="28"/>
                    </a:cubicBezTo>
                    <a:cubicBezTo>
                      <a:pt x="29" y="26"/>
                      <a:pt x="27" y="24"/>
                      <a:pt x="26" y="23"/>
                    </a:cubicBezTo>
                    <a:cubicBezTo>
                      <a:pt x="25" y="22"/>
                      <a:pt x="23" y="19"/>
                      <a:pt x="23" y="19"/>
                    </a:cubicBezTo>
                    <a:cubicBezTo>
                      <a:pt x="22" y="18"/>
                      <a:pt x="21" y="18"/>
                      <a:pt x="20" y="18"/>
                    </a:cubicBezTo>
                    <a:cubicBezTo>
                      <a:pt x="20" y="18"/>
                      <a:pt x="20" y="18"/>
                      <a:pt x="20" y="18"/>
                    </a:cubicBezTo>
                    <a:cubicBezTo>
                      <a:pt x="19" y="18"/>
                      <a:pt x="19" y="18"/>
                      <a:pt x="17" y="17"/>
                    </a:cubicBezTo>
                    <a:cubicBezTo>
                      <a:pt x="17" y="15"/>
                      <a:pt x="17" y="15"/>
                      <a:pt x="16" y="14"/>
                    </a:cubicBezTo>
                    <a:cubicBezTo>
                      <a:pt x="15" y="13"/>
                      <a:pt x="14" y="13"/>
                      <a:pt x="13" y="12"/>
                    </a:cubicBezTo>
                    <a:cubicBezTo>
                      <a:pt x="12" y="10"/>
                      <a:pt x="12" y="10"/>
                      <a:pt x="11" y="9"/>
                    </a:cubicBezTo>
                    <a:cubicBezTo>
                      <a:pt x="10" y="6"/>
                      <a:pt x="9" y="4"/>
                      <a:pt x="7" y="4"/>
                    </a:cubicBezTo>
                    <a:cubicBezTo>
                      <a:pt x="4" y="3"/>
                      <a:pt x="3"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Freeform 319"/>
              <p:cNvSpPr/>
              <p:nvPr/>
            </p:nvSpPr>
            <p:spPr bwMode="auto">
              <a:xfrm>
                <a:off x="7081" y="4495"/>
                <a:ext cx="4" cy="7"/>
              </a:xfrm>
              <a:custGeom>
                <a:gdLst>
                  <a:gd name="T0" fmla="*/ 0 w 2"/>
                  <a:gd name="T1" fmla="*/ 0 h 3"/>
                  <a:gd name="T2" fmla="*/ 0 w 2"/>
                  <a:gd name="T3" fmla="*/ 3 h 3"/>
                  <a:gd name="T4" fmla="*/ 0 w 2"/>
                  <a:gd name="T5" fmla="*/ 0 h 3"/>
                </a:gdLst>
                <a:cxnLst>
                  <a:cxn ang="0">
                    <a:pos x="T0" y="T1"/>
                  </a:cxn>
                  <a:cxn ang="0">
                    <a:pos x="T2" y="T3"/>
                  </a:cxn>
                  <a:cxn ang="0">
                    <a:pos x="T4" y="T5"/>
                  </a:cxn>
                </a:cxnLst>
                <a:rect l="0" t="0" r="r" b="b"/>
                <a:pathLst>
                  <a:path w="2" h="3">
                    <a:moveTo>
                      <a:pt x="0" y="0"/>
                    </a:moveTo>
                    <a:cubicBezTo>
                      <a:pt x="0" y="1"/>
                      <a:pt x="0" y="2"/>
                      <a:pt x="0" y="3"/>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320"/>
              <p:cNvSpPr/>
              <p:nvPr/>
            </p:nvSpPr>
            <p:spPr bwMode="auto">
              <a:xfrm>
                <a:off x="6790" y="4639"/>
                <a:ext cx="19" cy="14"/>
              </a:xfrm>
              <a:custGeom>
                <a:gdLst>
                  <a:gd name="T0" fmla="*/ 4 w 8"/>
                  <a:gd name="T1" fmla="*/ 0 h 6"/>
                  <a:gd name="T2" fmla="*/ 2 w 8"/>
                  <a:gd name="T3" fmla="*/ 1 h 6"/>
                  <a:gd name="T4" fmla="*/ 5 w 8"/>
                  <a:gd name="T5" fmla="*/ 6 h 6"/>
                  <a:gd name="T6" fmla="*/ 6 w 8"/>
                  <a:gd name="T7" fmla="*/ 1 h 6"/>
                  <a:gd name="T8" fmla="*/ 4 w 8"/>
                  <a:gd name="T9" fmla="*/ 0 h 6"/>
                </a:gdLst>
                <a:cxnLst>
                  <a:cxn ang="0">
                    <a:pos x="T0" y="T1"/>
                  </a:cxn>
                  <a:cxn ang="0">
                    <a:pos x="T2" y="T3"/>
                  </a:cxn>
                  <a:cxn ang="0">
                    <a:pos x="T4" y="T5"/>
                  </a:cxn>
                  <a:cxn ang="0">
                    <a:pos x="T6" y="T7"/>
                  </a:cxn>
                  <a:cxn ang="0">
                    <a:pos x="T8" y="T9"/>
                  </a:cxn>
                </a:cxnLst>
                <a:rect l="0" t="0" r="r" b="b"/>
                <a:pathLst>
                  <a:path w="8" h="6">
                    <a:moveTo>
                      <a:pt x="4" y="0"/>
                    </a:moveTo>
                    <a:cubicBezTo>
                      <a:pt x="4" y="0"/>
                      <a:pt x="3" y="0"/>
                      <a:pt x="2" y="1"/>
                    </a:cubicBezTo>
                    <a:cubicBezTo>
                      <a:pt x="0" y="2"/>
                      <a:pt x="4" y="6"/>
                      <a:pt x="5" y="6"/>
                    </a:cubicBezTo>
                    <a:cubicBezTo>
                      <a:pt x="8" y="6"/>
                      <a:pt x="7" y="2"/>
                      <a:pt x="6"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Freeform 321"/>
              <p:cNvSpPr/>
              <p:nvPr/>
            </p:nvSpPr>
            <p:spPr bwMode="auto">
              <a:xfrm>
                <a:off x="6837" y="4471"/>
                <a:ext cx="7" cy="3"/>
              </a:xfrm>
              <a:custGeom>
                <a:gdLst>
                  <a:gd name="T0" fmla="*/ 3 w 3"/>
                  <a:gd name="T1" fmla="*/ 0 h 1"/>
                  <a:gd name="T2" fmla="*/ 0 w 3"/>
                  <a:gd name="T3" fmla="*/ 1 h 1"/>
                  <a:gd name="T4" fmla="*/ 3 w 3"/>
                  <a:gd name="T5" fmla="*/ 0 h 1"/>
                </a:gdLst>
                <a:cxnLst>
                  <a:cxn ang="0">
                    <a:pos x="T0" y="T1"/>
                  </a:cxn>
                  <a:cxn ang="0">
                    <a:pos x="T2" y="T3"/>
                  </a:cxn>
                  <a:cxn ang="0">
                    <a:pos x="T4" y="T5"/>
                  </a:cxn>
                </a:cxnLst>
                <a:rect l="0" t="0" r="r" b="b"/>
                <a:pathLst>
                  <a:path w="3" h="1">
                    <a:moveTo>
                      <a:pt x="3" y="0"/>
                    </a:moveTo>
                    <a:cubicBezTo>
                      <a:pt x="2" y="0"/>
                      <a:pt x="1" y="0"/>
                      <a:pt x="0" y="1"/>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322"/>
              <p:cNvSpPr/>
              <p:nvPr/>
            </p:nvSpPr>
            <p:spPr bwMode="auto">
              <a:xfrm>
                <a:off x="7114" y="4514"/>
                <a:ext cx="9" cy="12"/>
              </a:xfrm>
              <a:custGeom>
                <a:gdLst>
                  <a:gd name="T0" fmla="*/ 3 w 4"/>
                  <a:gd name="T1" fmla="*/ 0 h 5"/>
                  <a:gd name="T2" fmla="*/ 3 w 4"/>
                  <a:gd name="T3" fmla="*/ 5 h 5"/>
                  <a:gd name="T4" fmla="*/ 3 w 4"/>
                  <a:gd name="T5" fmla="*/ 0 h 5"/>
                </a:gdLst>
                <a:cxnLst>
                  <a:cxn ang="0">
                    <a:pos x="T0" y="T1"/>
                  </a:cxn>
                  <a:cxn ang="0">
                    <a:pos x="T2" y="T3"/>
                  </a:cxn>
                  <a:cxn ang="0">
                    <a:pos x="T4" y="T5"/>
                  </a:cxn>
                </a:cxnLst>
                <a:rect l="0" t="0" r="r" b="b"/>
                <a:pathLst>
                  <a:path w="4" h="5">
                    <a:moveTo>
                      <a:pt x="3" y="0"/>
                    </a:moveTo>
                    <a:cubicBezTo>
                      <a:pt x="0" y="0"/>
                      <a:pt x="2" y="3"/>
                      <a:pt x="3" y="5"/>
                    </a:cubicBezTo>
                    <a:cubicBezTo>
                      <a:pt x="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Freeform 323"/>
              <p:cNvSpPr/>
              <p:nvPr/>
            </p:nvSpPr>
            <p:spPr bwMode="auto">
              <a:xfrm>
                <a:off x="6733" y="4601"/>
                <a:ext cx="7" cy="12"/>
              </a:xfrm>
              <a:custGeom>
                <a:gdLst>
                  <a:gd name="T0" fmla="*/ 1 w 3"/>
                  <a:gd name="T1" fmla="*/ 0 h 5"/>
                  <a:gd name="T2" fmla="*/ 0 w 3"/>
                  <a:gd name="T3" fmla="*/ 5 h 5"/>
                  <a:gd name="T4" fmla="*/ 1 w 3"/>
                  <a:gd name="T5" fmla="*/ 0 h 5"/>
                </a:gdLst>
                <a:cxnLst>
                  <a:cxn ang="0">
                    <a:pos x="T0" y="T1"/>
                  </a:cxn>
                  <a:cxn ang="0">
                    <a:pos x="T2" y="T3"/>
                  </a:cxn>
                  <a:cxn ang="0">
                    <a:pos x="T4" y="T5"/>
                  </a:cxn>
                </a:cxnLst>
                <a:rect l="0" t="0" r="r" b="b"/>
                <a:pathLst>
                  <a:path w="3" h="5">
                    <a:moveTo>
                      <a:pt x="1" y="0"/>
                    </a:moveTo>
                    <a:cubicBezTo>
                      <a:pt x="0" y="2"/>
                      <a:pt x="0" y="4"/>
                      <a:pt x="0" y="5"/>
                    </a:cubicBezTo>
                    <a:cubicBezTo>
                      <a:pt x="2" y="5"/>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324"/>
              <p:cNvSpPr/>
              <p:nvPr/>
            </p:nvSpPr>
            <p:spPr bwMode="auto">
              <a:xfrm>
                <a:off x="6944" y="4415"/>
                <a:ext cx="11" cy="16"/>
              </a:xfrm>
              <a:custGeom>
                <a:gdLst>
                  <a:gd name="T0" fmla="*/ 0 w 5"/>
                  <a:gd name="T1" fmla="*/ 0 h 7"/>
                  <a:gd name="T2" fmla="*/ 4 w 5"/>
                  <a:gd name="T3" fmla="*/ 7 h 7"/>
                  <a:gd name="T4" fmla="*/ 0 w 5"/>
                  <a:gd name="T5" fmla="*/ 0 h 7"/>
                </a:gdLst>
                <a:cxnLst>
                  <a:cxn ang="0">
                    <a:pos x="T0" y="T1"/>
                  </a:cxn>
                  <a:cxn ang="0">
                    <a:pos x="T2" y="T3"/>
                  </a:cxn>
                  <a:cxn ang="0">
                    <a:pos x="T4" y="T5"/>
                  </a:cxn>
                </a:cxnLst>
                <a:rect l="0" t="0" r="r" b="b"/>
                <a:pathLst>
                  <a:path w="5" h="7">
                    <a:moveTo>
                      <a:pt x="0" y="0"/>
                    </a:moveTo>
                    <a:cubicBezTo>
                      <a:pt x="1" y="3"/>
                      <a:pt x="2" y="5"/>
                      <a:pt x="4" y="7"/>
                    </a:cubicBezTo>
                    <a:cubicBezTo>
                      <a:pt x="5"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325"/>
              <p:cNvSpPr/>
              <p:nvPr/>
            </p:nvSpPr>
            <p:spPr bwMode="auto">
              <a:xfrm>
                <a:off x="6580" y="4823"/>
                <a:ext cx="16" cy="10"/>
              </a:xfrm>
              <a:custGeom>
                <a:gdLst>
                  <a:gd name="T0" fmla="*/ 3 w 7"/>
                  <a:gd name="T1" fmla="*/ 0 h 4"/>
                  <a:gd name="T2" fmla="*/ 0 w 7"/>
                  <a:gd name="T3" fmla="*/ 1 h 4"/>
                  <a:gd name="T4" fmla="*/ 6 w 7"/>
                  <a:gd name="T5" fmla="*/ 4 h 4"/>
                  <a:gd name="T6" fmla="*/ 3 w 7"/>
                  <a:gd name="T7" fmla="*/ 0 h 4"/>
                </a:gdLst>
                <a:cxnLst>
                  <a:cxn ang="0">
                    <a:pos x="T0" y="T1"/>
                  </a:cxn>
                  <a:cxn ang="0">
                    <a:pos x="T2" y="T3"/>
                  </a:cxn>
                  <a:cxn ang="0">
                    <a:pos x="T4" y="T5"/>
                  </a:cxn>
                  <a:cxn ang="0">
                    <a:pos x="T6" y="T7"/>
                  </a:cxn>
                </a:cxnLst>
                <a:rect l="0" t="0" r="r" b="b"/>
                <a:pathLst>
                  <a:path w="7" h="4">
                    <a:moveTo>
                      <a:pt x="3" y="0"/>
                    </a:moveTo>
                    <a:cubicBezTo>
                      <a:pt x="2" y="0"/>
                      <a:pt x="1" y="1"/>
                      <a:pt x="0" y="1"/>
                    </a:cubicBezTo>
                    <a:cubicBezTo>
                      <a:pt x="2" y="2"/>
                      <a:pt x="4" y="3"/>
                      <a:pt x="6" y="4"/>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326"/>
              <p:cNvSpPr/>
              <p:nvPr/>
            </p:nvSpPr>
            <p:spPr bwMode="auto">
              <a:xfrm>
                <a:off x="6840" y="4656"/>
                <a:ext cx="23" cy="21"/>
              </a:xfrm>
              <a:custGeom>
                <a:gdLst>
                  <a:gd name="T0" fmla="*/ 0 w 10"/>
                  <a:gd name="T1" fmla="*/ 0 h 9"/>
                  <a:gd name="T2" fmla="*/ 0 w 10"/>
                  <a:gd name="T3" fmla="*/ 0 h 9"/>
                  <a:gd name="T4" fmla="*/ 5 w 10"/>
                  <a:gd name="T5" fmla="*/ 9 h 9"/>
                  <a:gd name="T6" fmla="*/ 0 w 10"/>
                  <a:gd name="T7" fmla="*/ 0 h 9"/>
                </a:gdLst>
                <a:cxnLst>
                  <a:cxn ang="0">
                    <a:pos x="T0" y="T1"/>
                  </a:cxn>
                  <a:cxn ang="0">
                    <a:pos x="T2" y="T3"/>
                  </a:cxn>
                  <a:cxn ang="0">
                    <a:pos x="T4" y="T5"/>
                  </a:cxn>
                  <a:cxn ang="0">
                    <a:pos x="T6" y="T7"/>
                  </a:cxn>
                </a:cxnLst>
                <a:rect l="0" t="0" r="r" b="b"/>
                <a:pathLst>
                  <a:path w="10" h="9">
                    <a:moveTo>
                      <a:pt x="0" y="0"/>
                    </a:moveTo>
                    <a:cubicBezTo>
                      <a:pt x="0" y="0"/>
                      <a:pt x="0" y="0"/>
                      <a:pt x="0" y="0"/>
                    </a:cubicBezTo>
                    <a:cubicBezTo>
                      <a:pt x="1" y="4"/>
                      <a:pt x="3" y="7"/>
                      <a:pt x="5" y="9"/>
                    </a:cubicBezTo>
                    <a:cubicBezTo>
                      <a:pt x="10" y="6"/>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327"/>
              <p:cNvSpPr/>
              <p:nvPr/>
            </p:nvSpPr>
            <p:spPr bwMode="auto">
              <a:xfrm>
                <a:off x="7114" y="4859"/>
                <a:ext cx="30" cy="16"/>
              </a:xfrm>
              <a:custGeom>
                <a:gdLst>
                  <a:gd name="T0" fmla="*/ 4 w 13"/>
                  <a:gd name="T1" fmla="*/ 0 h 7"/>
                  <a:gd name="T2" fmla="*/ 0 w 13"/>
                  <a:gd name="T3" fmla="*/ 2 h 7"/>
                  <a:gd name="T4" fmla="*/ 8 w 13"/>
                  <a:gd name="T5" fmla="*/ 7 h 7"/>
                  <a:gd name="T6" fmla="*/ 10 w 13"/>
                  <a:gd name="T7" fmla="*/ 6 h 7"/>
                  <a:gd name="T8" fmla="*/ 11 w 13"/>
                  <a:gd name="T9" fmla="*/ 7 h 7"/>
                  <a:gd name="T10" fmla="*/ 11 w 13"/>
                  <a:gd name="T11" fmla="*/ 5 h 7"/>
                  <a:gd name="T12" fmla="*/ 12 w 13"/>
                  <a:gd name="T13" fmla="*/ 5 h 7"/>
                  <a:gd name="T14" fmla="*/ 10 w 13"/>
                  <a:gd name="T15" fmla="*/ 2 h 7"/>
                  <a:gd name="T16" fmla="*/ 8 w 13"/>
                  <a:gd name="T17" fmla="*/ 1 h 7"/>
                  <a:gd name="T18" fmla="*/ 4 w 13"/>
                  <a:gd name="T1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7">
                    <a:moveTo>
                      <a:pt x="4" y="0"/>
                    </a:moveTo>
                    <a:cubicBezTo>
                      <a:pt x="2" y="0"/>
                      <a:pt x="1" y="1"/>
                      <a:pt x="0" y="2"/>
                    </a:cubicBezTo>
                    <a:cubicBezTo>
                      <a:pt x="2" y="4"/>
                      <a:pt x="5" y="5"/>
                      <a:pt x="8" y="7"/>
                    </a:cubicBezTo>
                    <a:cubicBezTo>
                      <a:pt x="9" y="7"/>
                      <a:pt x="9" y="6"/>
                      <a:pt x="10" y="6"/>
                    </a:cubicBezTo>
                    <a:cubicBezTo>
                      <a:pt x="11" y="6"/>
                      <a:pt x="11" y="7"/>
                      <a:pt x="11" y="7"/>
                    </a:cubicBezTo>
                    <a:cubicBezTo>
                      <a:pt x="11" y="6"/>
                      <a:pt x="11" y="6"/>
                      <a:pt x="11" y="5"/>
                    </a:cubicBezTo>
                    <a:cubicBezTo>
                      <a:pt x="11" y="5"/>
                      <a:pt x="12" y="5"/>
                      <a:pt x="12" y="5"/>
                    </a:cubicBezTo>
                    <a:cubicBezTo>
                      <a:pt x="13" y="5"/>
                      <a:pt x="11" y="3"/>
                      <a:pt x="10" y="2"/>
                    </a:cubicBezTo>
                    <a:cubicBezTo>
                      <a:pt x="8" y="1"/>
                      <a:pt x="8" y="1"/>
                      <a:pt x="8" y="1"/>
                    </a:cubicBezTo>
                    <a:cubicBezTo>
                      <a:pt x="7"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328"/>
              <p:cNvSpPr/>
              <p:nvPr/>
            </p:nvSpPr>
            <p:spPr bwMode="auto">
              <a:xfrm>
                <a:off x="6759" y="4450"/>
                <a:ext cx="57" cy="17"/>
              </a:xfrm>
              <a:custGeom>
                <a:gdLst>
                  <a:gd name="T0" fmla="*/ 14 w 24"/>
                  <a:gd name="T1" fmla="*/ 0 h 7"/>
                  <a:gd name="T2" fmla="*/ 9 w 24"/>
                  <a:gd name="T3" fmla="*/ 1 h 7"/>
                  <a:gd name="T4" fmla="*/ 9 w 24"/>
                  <a:gd name="T5" fmla="*/ 1 h 7"/>
                  <a:gd name="T6" fmla="*/ 8 w 24"/>
                  <a:gd name="T7" fmla="*/ 1 h 7"/>
                  <a:gd name="T8" fmla="*/ 7 w 24"/>
                  <a:gd name="T9" fmla="*/ 1 h 7"/>
                  <a:gd name="T10" fmla="*/ 4 w 24"/>
                  <a:gd name="T11" fmla="*/ 2 h 7"/>
                  <a:gd name="T12" fmla="*/ 5 w 24"/>
                  <a:gd name="T13" fmla="*/ 4 h 7"/>
                  <a:gd name="T14" fmla="*/ 4 w 24"/>
                  <a:gd name="T15" fmla="*/ 7 h 7"/>
                  <a:gd name="T16" fmla="*/ 10 w 24"/>
                  <a:gd name="T17" fmla="*/ 5 h 7"/>
                  <a:gd name="T18" fmla="*/ 15 w 24"/>
                  <a:gd name="T19" fmla="*/ 5 h 7"/>
                  <a:gd name="T20" fmla="*/ 18 w 24"/>
                  <a:gd name="T21" fmla="*/ 6 h 7"/>
                  <a:gd name="T22" fmla="*/ 24 w 24"/>
                  <a:gd name="T23" fmla="*/ 2 h 7"/>
                  <a:gd name="T24" fmla="*/ 19 w 24"/>
                  <a:gd name="T25" fmla="*/ 1 h 7"/>
                  <a:gd name="T26" fmla="*/ 18 w 24"/>
                  <a:gd name="T27" fmla="*/ 1 h 7"/>
                  <a:gd name="T28" fmla="*/ 14 w 24"/>
                  <a:gd name="T2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7">
                    <a:moveTo>
                      <a:pt x="14" y="0"/>
                    </a:moveTo>
                    <a:cubicBezTo>
                      <a:pt x="13" y="0"/>
                      <a:pt x="10" y="1"/>
                      <a:pt x="9" y="1"/>
                    </a:cubicBezTo>
                    <a:cubicBezTo>
                      <a:pt x="9" y="1"/>
                      <a:pt x="9" y="1"/>
                      <a:pt x="9" y="1"/>
                    </a:cubicBezTo>
                    <a:cubicBezTo>
                      <a:pt x="8" y="1"/>
                      <a:pt x="8" y="1"/>
                      <a:pt x="8" y="1"/>
                    </a:cubicBezTo>
                    <a:cubicBezTo>
                      <a:pt x="7" y="1"/>
                      <a:pt x="7" y="1"/>
                      <a:pt x="7" y="1"/>
                    </a:cubicBezTo>
                    <a:cubicBezTo>
                      <a:pt x="5" y="1"/>
                      <a:pt x="4" y="1"/>
                      <a:pt x="4" y="2"/>
                    </a:cubicBezTo>
                    <a:cubicBezTo>
                      <a:pt x="4" y="2"/>
                      <a:pt x="5" y="3"/>
                      <a:pt x="5" y="4"/>
                    </a:cubicBezTo>
                    <a:cubicBezTo>
                      <a:pt x="4" y="5"/>
                      <a:pt x="0" y="4"/>
                      <a:pt x="4" y="7"/>
                    </a:cubicBezTo>
                    <a:cubicBezTo>
                      <a:pt x="6" y="5"/>
                      <a:pt x="8" y="5"/>
                      <a:pt x="10" y="5"/>
                    </a:cubicBezTo>
                    <a:cubicBezTo>
                      <a:pt x="11" y="5"/>
                      <a:pt x="13" y="5"/>
                      <a:pt x="15" y="5"/>
                    </a:cubicBezTo>
                    <a:cubicBezTo>
                      <a:pt x="16" y="6"/>
                      <a:pt x="17" y="6"/>
                      <a:pt x="18" y="6"/>
                    </a:cubicBezTo>
                    <a:cubicBezTo>
                      <a:pt x="20" y="6"/>
                      <a:pt x="22" y="5"/>
                      <a:pt x="24" y="2"/>
                    </a:cubicBezTo>
                    <a:cubicBezTo>
                      <a:pt x="23" y="2"/>
                      <a:pt x="20" y="1"/>
                      <a:pt x="19" y="1"/>
                    </a:cubicBezTo>
                    <a:cubicBezTo>
                      <a:pt x="19" y="1"/>
                      <a:pt x="18" y="1"/>
                      <a:pt x="18" y="1"/>
                    </a:cubicBezTo>
                    <a:cubicBezTo>
                      <a:pt x="17" y="1"/>
                      <a:pt x="16"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Freeform 329"/>
              <p:cNvSpPr/>
              <p:nvPr/>
            </p:nvSpPr>
            <p:spPr bwMode="auto">
              <a:xfrm>
                <a:off x="6965" y="4476"/>
                <a:ext cx="31" cy="17"/>
              </a:xfrm>
              <a:custGeom>
                <a:gdLst>
                  <a:gd name="T0" fmla="*/ 5 w 13"/>
                  <a:gd name="T1" fmla="*/ 0 h 7"/>
                  <a:gd name="T2" fmla="*/ 3 w 13"/>
                  <a:gd name="T3" fmla="*/ 1 h 7"/>
                  <a:gd name="T4" fmla="*/ 0 w 13"/>
                  <a:gd name="T5" fmla="*/ 2 h 7"/>
                  <a:gd name="T6" fmla="*/ 0 w 13"/>
                  <a:gd name="T7" fmla="*/ 2 h 7"/>
                  <a:gd name="T8" fmla="*/ 10 w 13"/>
                  <a:gd name="T9" fmla="*/ 7 h 7"/>
                  <a:gd name="T10" fmla="*/ 12 w 13"/>
                  <a:gd name="T11" fmla="*/ 2 h 7"/>
                  <a:gd name="T12" fmla="*/ 8 w 13"/>
                  <a:gd name="T13" fmla="*/ 0 h 7"/>
                  <a:gd name="T14" fmla="*/ 5 w 13"/>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5" y="0"/>
                    </a:moveTo>
                    <a:cubicBezTo>
                      <a:pt x="5" y="0"/>
                      <a:pt x="4" y="0"/>
                      <a:pt x="3" y="1"/>
                    </a:cubicBezTo>
                    <a:cubicBezTo>
                      <a:pt x="2" y="1"/>
                      <a:pt x="1" y="2"/>
                      <a:pt x="0" y="2"/>
                    </a:cubicBezTo>
                    <a:cubicBezTo>
                      <a:pt x="0" y="2"/>
                      <a:pt x="0" y="2"/>
                      <a:pt x="0" y="2"/>
                    </a:cubicBezTo>
                    <a:cubicBezTo>
                      <a:pt x="3" y="4"/>
                      <a:pt x="7" y="5"/>
                      <a:pt x="10" y="7"/>
                    </a:cubicBezTo>
                    <a:cubicBezTo>
                      <a:pt x="12" y="7"/>
                      <a:pt x="13" y="4"/>
                      <a:pt x="12" y="2"/>
                    </a:cubicBezTo>
                    <a:cubicBezTo>
                      <a:pt x="12" y="2"/>
                      <a:pt x="9" y="1"/>
                      <a:pt x="8" y="0"/>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330"/>
              <p:cNvSpPr/>
              <p:nvPr/>
            </p:nvSpPr>
            <p:spPr bwMode="auto">
              <a:xfrm>
                <a:off x="7012" y="4509"/>
                <a:ext cx="10" cy="2"/>
              </a:xfrm>
              <a:custGeom>
                <a:gdLst>
                  <a:gd name="T0" fmla="*/ 2 w 4"/>
                  <a:gd name="T1" fmla="*/ 0 h 1"/>
                  <a:gd name="T2" fmla="*/ 0 w 4"/>
                  <a:gd name="T3" fmla="*/ 1 h 1"/>
                  <a:gd name="T4" fmla="*/ 4 w 4"/>
                  <a:gd name="T5" fmla="*/ 0 h 1"/>
                  <a:gd name="T6" fmla="*/ 2 w 4"/>
                  <a:gd name="T7" fmla="*/ 0 h 1"/>
                </a:gdLst>
                <a:cxnLst>
                  <a:cxn ang="0">
                    <a:pos x="T0" y="T1"/>
                  </a:cxn>
                  <a:cxn ang="0">
                    <a:pos x="T2" y="T3"/>
                  </a:cxn>
                  <a:cxn ang="0">
                    <a:pos x="T4" y="T5"/>
                  </a:cxn>
                  <a:cxn ang="0">
                    <a:pos x="T6" y="T7"/>
                  </a:cxn>
                </a:cxnLst>
                <a:rect l="0" t="0" r="r" b="b"/>
                <a:pathLst>
                  <a:path w="4" h="1">
                    <a:moveTo>
                      <a:pt x="2" y="0"/>
                    </a:moveTo>
                    <a:cubicBezTo>
                      <a:pt x="2" y="0"/>
                      <a:pt x="1" y="0"/>
                      <a:pt x="0" y="1"/>
                    </a:cubicBezTo>
                    <a:cubicBezTo>
                      <a:pt x="1" y="1"/>
                      <a:pt x="3" y="0"/>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Freeform 331"/>
              <p:cNvSpPr/>
              <p:nvPr/>
            </p:nvSpPr>
            <p:spPr bwMode="auto">
              <a:xfrm>
                <a:off x="7024" y="4509"/>
                <a:ext cx="2" cy="0"/>
              </a:xfrm>
              <a:custGeom>
                <a:gdLst>
                  <a:gd name="T0" fmla="*/ 0 w 1"/>
                  <a:gd name="T1" fmla="*/ 1 w 1"/>
                  <a:gd name="T2" fmla="*/ 1 w 1"/>
                  <a:gd name="T3" fmla="*/ 0 w 1"/>
                </a:gd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332"/>
              <p:cNvSpPr/>
              <p:nvPr/>
            </p:nvSpPr>
            <p:spPr bwMode="auto">
              <a:xfrm>
                <a:off x="7012" y="4904"/>
                <a:ext cx="33" cy="28"/>
              </a:xfrm>
              <a:custGeom>
                <a:gdLst>
                  <a:gd name="T0" fmla="*/ 0 w 14"/>
                  <a:gd name="T1" fmla="*/ 0 h 12"/>
                  <a:gd name="T2" fmla="*/ 5 w 14"/>
                  <a:gd name="T3" fmla="*/ 9 h 12"/>
                  <a:gd name="T4" fmla="*/ 11 w 14"/>
                  <a:gd name="T5" fmla="*/ 12 h 12"/>
                  <a:gd name="T6" fmla="*/ 13 w 14"/>
                  <a:gd name="T7" fmla="*/ 5 h 12"/>
                  <a:gd name="T8" fmla="*/ 12 w 14"/>
                  <a:gd name="T9" fmla="*/ 5 h 12"/>
                  <a:gd name="T10" fmla="*/ 10 w 14"/>
                  <a:gd name="T11" fmla="*/ 7 h 12"/>
                  <a:gd name="T12" fmla="*/ 8 w 14"/>
                  <a:gd name="T13" fmla="*/ 8 h 12"/>
                  <a:gd name="T14" fmla="*/ 8 w 14"/>
                  <a:gd name="T15" fmla="*/ 8 h 12"/>
                  <a:gd name="T16" fmla="*/ 7 w 14"/>
                  <a:gd name="T17" fmla="*/ 7 h 12"/>
                  <a:gd name="T18" fmla="*/ 5 w 14"/>
                  <a:gd name="T19" fmla="*/ 5 h 12"/>
                  <a:gd name="T20" fmla="*/ 4 w 14"/>
                  <a:gd name="T21" fmla="*/ 3 h 12"/>
                  <a:gd name="T22" fmla="*/ 0 w 14"/>
                  <a:gd name="T2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0" y="0"/>
                    </a:moveTo>
                    <a:cubicBezTo>
                      <a:pt x="1" y="3"/>
                      <a:pt x="3" y="6"/>
                      <a:pt x="5" y="9"/>
                    </a:cubicBezTo>
                    <a:cubicBezTo>
                      <a:pt x="6" y="11"/>
                      <a:pt x="9" y="11"/>
                      <a:pt x="11" y="12"/>
                    </a:cubicBezTo>
                    <a:cubicBezTo>
                      <a:pt x="12" y="11"/>
                      <a:pt x="14" y="6"/>
                      <a:pt x="13" y="5"/>
                    </a:cubicBezTo>
                    <a:cubicBezTo>
                      <a:pt x="13" y="5"/>
                      <a:pt x="12" y="5"/>
                      <a:pt x="12" y="5"/>
                    </a:cubicBezTo>
                    <a:cubicBezTo>
                      <a:pt x="11" y="5"/>
                      <a:pt x="11" y="6"/>
                      <a:pt x="10" y="7"/>
                    </a:cubicBezTo>
                    <a:cubicBezTo>
                      <a:pt x="9" y="7"/>
                      <a:pt x="9" y="8"/>
                      <a:pt x="8" y="8"/>
                    </a:cubicBezTo>
                    <a:cubicBezTo>
                      <a:pt x="8" y="8"/>
                      <a:pt x="8" y="8"/>
                      <a:pt x="8" y="8"/>
                    </a:cubicBezTo>
                    <a:cubicBezTo>
                      <a:pt x="7" y="8"/>
                      <a:pt x="7" y="7"/>
                      <a:pt x="7" y="7"/>
                    </a:cubicBezTo>
                    <a:cubicBezTo>
                      <a:pt x="5" y="5"/>
                      <a:pt x="5" y="5"/>
                      <a:pt x="5" y="5"/>
                    </a:cubicBezTo>
                    <a:cubicBezTo>
                      <a:pt x="5" y="4"/>
                      <a:pt x="4" y="4"/>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333"/>
              <p:cNvSpPr/>
              <p:nvPr/>
            </p:nvSpPr>
            <p:spPr bwMode="auto">
              <a:xfrm>
                <a:off x="7022" y="4956"/>
                <a:ext cx="9" cy="5"/>
              </a:xfrm>
              <a:custGeom>
                <a:gdLst>
                  <a:gd name="T0" fmla="*/ 3 w 4"/>
                  <a:gd name="T1" fmla="*/ 0 h 2"/>
                  <a:gd name="T2" fmla="*/ 0 w 4"/>
                  <a:gd name="T3" fmla="*/ 2 h 2"/>
                  <a:gd name="T4" fmla="*/ 1 w 4"/>
                  <a:gd name="T5" fmla="*/ 2 h 2"/>
                  <a:gd name="T6" fmla="*/ 3 w 4"/>
                  <a:gd name="T7" fmla="*/ 0 h 2"/>
                </a:gdLst>
                <a:cxnLst>
                  <a:cxn ang="0">
                    <a:pos x="T0" y="T1"/>
                  </a:cxn>
                  <a:cxn ang="0">
                    <a:pos x="T2" y="T3"/>
                  </a:cxn>
                  <a:cxn ang="0">
                    <a:pos x="T4" y="T5"/>
                  </a:cxn>
                  <a:cxn ang="0">
                    <a:pos x="T6" y="T7"/>
                  </a:cxn>
                </a:cxnLst>
                <a:rect l="0" t="0" r="r" b="b"/>
                <a:pathLst>
                  <a:path w="4" h="2">
                    <a:moveTo>
                      <a:pt x="3" y="0"/>
                    </a:moveTo>
                    <a:cubicBezTo>
                      <a:pt x="2" y="1"/>
                      <a:pt x="1" y="1"/>
                      <a:pt x="0" y="2"/>
                    </a:cubicBezTo>
                    <a:cubicBezTo>
                      <a:pt x="0" y="2"/>
                      <a:pt x="1" y="2"/>
                      <a:pt x="1" y="2"/>
                    </a:cubicBezTo>
                    <a:cubicBezTo>
                      <a:pt x="2" y="2"/>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334"/>
              <p:cNvSpPr/>
              <p:nvPr/>
            </p:nvSpPr>
            <p:spPr bwMode="auto">
              <a:xfrm>
                <a:off x="4514" y="3072"/>
                <a:ext cx="10" cy="2"/>
              </a:xfrm>
              <a:custGeom>
                <a:gdLst>
                  <a:gd name="T0" fmla="*/ 4 w 4"/>
                  <a:gd name="T1" fmla="*/ 0 h 1"/>
                  <a:gd name="T2" fmla="*/ 0 w 4"/>
                  <a:gd name="T3" fmla="*/ 1 h 1"/>
                  <a:gd name="T4" fmla="*/ 1 w 4"/>
                  <a:gd name="T5" fmla="*/ 1 h 1"/>
                  <a:gd name="T6" fmla="*/ 4 w 4"/>
                  <a:gd name="T7" fmla="*/ 0 h 1"/>
                </a:gdLst>
                <a:cxnLst>
                  <a:cxn ang="0">
                    <a:pos x="T0" y="T1"/>
                  </a:cxn>
                  <a:cxn ang="0">
                    <a:pos x="T2" y="T3"/>
                  </a:cxn>
                  <a:cxn ang="0">
                    <a:pos x="T4" y="T5"/>
                  </a:cxn>
                  <a:cxn ang="0">
                    <a:pos x="T6" y="T7"/>
                  </a:cxn>
                </a:cxnLst>
                <a:rect l="0" t="0" r="r" b="b"/>
                <a:pathLst>
                  <a:path w="4" h="1">
                    <a:moveTo>
                      <a:pt x="4" y="0"/>
                    </a:moveTo>
                    <a:cubicBezTo>
                      <a:pt x="3" y="0"/>
                      <a:pt x="1" y="1"/>
                      <a:pt x="0" y="1"/>
                    </a:cubicBezTo>
                    <a:cubicBezTo>
                      <a:pt x="0" y="1"/>
                      <a:pt x="0" y="1"/>
                      <a:pt x="1" y="1"/>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7" name="Freeform 335"/>
              <p:cNvSpPr/>
              <p:nvPr/>
            </p:nvSpPr>
            <p:spPr bwMode="auto">
              <a:xfrm>
                <a:off x="4283" y="3727"/>
                <a:ext cx="14" cy="23"/>
              </a:xfrm>
              <a:custGeom>
                <a:gdLst>
                  <a:gd name="T0" fmla="*/ 4 w 6"/>
                  <a:gd name="T1" fmla="*/ 0 h 10"/>
                  <a:gd name="T2" fmla="*/ 2 w 6"/>
                  <a:gd name="T3" fmla="*/ 1 h 10"/>
                  <a:gd name="T4" fmla="*/ 0 w 6"/>
                  <a:gd name="T5" fmla="*/ 2 h 10"/>
                  <a:gd name="T6" fmla="*/ 0 w 6"/>
                  <a:gd name="T7" fmla="*/ 2 h 10"/>
                  <a:gd name="T8" fmla="*/ 3 w 6"/>
                  <a:gd name="T9" fmla="*/ 10 h 10"/>
                  <a:gd name="T10" fmla="*/ 6 w 6"/>
                  <a:gd name="T11" fmla="*/ 2 h 10"/>
                  <a:gd name="T12" fmla="*/ 4 w 6"/>
                  <a:gd name="T13" fmla="*/ 0 h 10"/>
                </a:gdLst>
                <a:cxnLst>
                  <a:cxn ang="0">
                    <a:pos x="T0" y="T1"/>
                  </a:cxn>
                  <a:cxn ang="0">
                    <a:pos x="T2" y="T3"/>
                  </a:cxn>
                  <a:cxn ang="0">
                    <a:pos x="T4" y="T5"/>
                  </a:cxn>
                  <a:cxn ang="0">
                    <a:pos x="T6" y="T7"/>
                  </a:cxn>
                  <a:cxn ang="0">
                    <a:pos x="T8" y="T9"/>
                  </a:cxn>
                  <a:cxn ang="0">
                    <a:pos x="T10" y="T11"/>
                  </a:cxn>
                  <a:cxn ang="0">
                    <a:pos x="T12" y="T13"/>
                  </a:cxn>
                </a:cxnLst>
                <a:rect l="0" t="0" r="r" b="b"/>
                <a:pathLst>
                  <a:path w="6" h="10">
                    <a:moveTo>
                      <a:pt x="4" y="0"/>
                    </a:moveTo>
                    <a:cubicBezTo>
                      <a:pt x="3" y="0"/>
                      <a:pt x="3" y="1"/>
                      <a:pt x="2" y="1"/>
                    </a:cubicBezTo>
                    <a:cubicBezTo>
                      <a:pt x="1" y="1"/>
                      <a:pt x="1" y="2"/>
                      <a:pt x="0" y="2"/>
                    </a:cubicBezTo>
                    <a:cubicBezTo>
                      <a:pt x="0" y="2"/>
                      <a:pt x="0" y="2"/>
                      <a:pt x="0" y="2"/>
                    </a:cubicBezTo>
                    <a:cubicBezTo>
                      <a:pt x="1" y="4"/>
                      <a:pt x="2" y="7"/>
                      <a:pt x="3" y="10"/>
                    </a:cubicBezTo>
                    <a:cubicBezTo>
                      <a:pt x="5" y="8"/>
                      <a:pt x="6" y="4"/>
                      <a:pt x="6" y="2"/>
                    </a:cubicBezTo>
                    <a:cubicBezTo>
                      <a:pt x="5"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336"/>
              <p:cNvSpPr>
                <a:spLocks noEditPoints="1"/>
              </p:cNvSpPr>
              <p:nvPr/>
            </p:nvSpPr>
            <p:spPr bwMode="auto">
              <a:xfrm>
                <a:off x="4368" y="3722"/>
                <a:ext cx="87" cy="54"/>
              </a:xfrm>
              <a:custGeom>
                <a:gdLst>
                  <a:gd name="T0" fmla="*/ 1 w 37"/>
                  <a:gd name="T1" fmla="*/ 0 h 23"/>
                  <a:gd name="T2" fmla="*/ 4 w 37"/>
                  <a:gd name="T3" fmla="*/ 5 h 23"/>
                  <a:gd name="T4" fmla="*/ 8 w 37"/>
                  <a:gd name="T5" fmla="*/ 8 h 23"/>
                  <a:gd name="T6" fmla="*/ 8 w 37"/>
                  <a:gd name="T7" fmla="*/ 8 h 23"/>
                  <a:gd name="T8" fmla="*/ 12 w 37"/>
                  <a:gd name="T9" fmla="*/ 12 h 23"/>
                  <a:gd name="T10" fmla="*/ 12 w 37"/>
                  <a:gd name="T11" fmla="*/ 12 h 23"/>
                  <a:gd name="T12" fmla="*/ 21 w 37"/>
                  <a:gd name="T13" fmla="*/ 19 h 23"/>
                  <a:gd name="T14" fmla="*/ 29 w 37"/>
                  <a:gd name="T15" fmla="*/ 23 h 23"/>
                  <a:gd name="T16" fmla="*/ 30 w 37"/>
                  <a:gd name="T17" fmla="*/ 23 h 23"/>
                  <a:gd name="T18" fmla="*/ 1 w 37"/>
                  <a:gd name="T19" fmla="*/ 0 h 23"/>
                  <a:gd name="T20" fmla="*/ 1 w 37"/>
                  <a:gd name="T21" fmla="*/ 0 h 23"/>
                  <a:gd name="T22" fmla="*/ 1 w 37"/>
                  <a:gd name="T23" fmla="*/ 0 h 23"/>
                  <a:gd name="T24" fmla="*/ 1 w 37"/>
                  <a:gd name="T25"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23">
                    <a:moveTo>
                      <a:pt x="1" y="0"/>
                    </a:moveTo>
                    <a:cubicBezTo>
                      <a:pt x="1" y="2"/>
                      <a:pt x="3" y="3"/>
                      <a:pt x="4" y="5"/>
                    </a:cubicBezTo>
                    <a:cubicBezTo>
                      <a:pt x="5" y="6"/>
                      <a:pt x="7" y="7"/>
                      <a:pt x="8" y="8"/>
                    </a:cubicBezTo>
                    <a:cubicBezTo>
                      <a:pt x="8" y="8"/>
                      <a:pt x="8" y="8"/>
                      <a:pt x="8" y="8"/>
                    </a:cubicBezTo>
                    <a:cubicBezTo>
                      <a:pt x="9" y="10"/>
                      <a:pt x="11" y="11"/>
                      <a:pt x="12" y="12"/>
                    </a:cubicBezTo>
                    <a:cubicBezTo>
                      <a:pt x="12" y="12"/>
                      <a:pt x="12" y="12"/>
                      <a:pt x="12" y="12"/>
                    </a:cubicBezTo>
                    <a:cubicBezTo>
                      <a:pt x="15" y="14"/>
                      <a:pt x="18" y="17"/>
                      <a:pt x="21" y="19"/>
                    </a:cubicBezTo>
                    <a:cubicBezTo>
                      <a:pt x="23" y="20"/>
                      <a:pt x="27" y="23"/>
                      <a:pt x="29" y="23"/>
                    </a:cubicBezTo>
                    <a:cubicBezTo>
                      <a:pt x="30" y="23"/>
                      <a:pt x="30" y="23"/>
                      <a:pt x="30" y="23"/>
                    </a:cubicBezTo>
                    <a:cubicBezTo>
                      <a:pt x="37" y="16"/>
                      <a:pt x="1" y="1"/>
                      <a:pt x="1" y="0"/>
                    </a:cubicBezTo>
                    <a:moveTo>
                      <a:pt x="1" y="0"/>
                    </a:moveTo>
                    <a:cubicBezTo>
                      <a:pt x="0" y="0"/>
                      <a:pt x="0"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9" name="Freeform 337"/>
              <p:cNvSpPr/>
              <p:nvPr/>
            </p:nvSpPr>
            <p:spPr bwMode="auto">
              <a:xfrm>
                <a:off x="4439" y="3826"/>
                <a:ext cx="7" cy="5"/>
              </a:xfrm>
              <a:custGeom>
                <a:gdLst>
                  <a:gd name="T0" fmla="*/ 3 w 3"/>
                  <a:gd name="T1" fmla="*/ 0 h 2"/>
                  <a:gd name="T2" fmla="*/ 1 w 3"/>
                  <a:gd name="T3" fmla="*/ 2 h 2"/>
                  <a:gd name="T4" fmla="*/ 3 w 3"/>
                  <a:gd name="T5" fmla="*/ 0 h 2"/>
                </a:gdLst>
                <a:cxnLst>
                  <a:cxn ang="0">
                    <a:pos x="T0" y="T1"/>
                  </a:cxn>
                  <a:cxn ang="0">
                    <a:pos x="T2" y="T3"/>
                  </a:cxn>
                  <a:cxn ang="0">
                    <a:pos x="T4" y="T5"/>
                  </a:cxn>
                </a:cxnLst>
                <a:rect l="0" t="0" r="r" b="b"/>
                <a:pathLst>
                  <a:path w="3" h="2">
                    <a:moveTo>
                      <a:pt x="3" y="0"/>
                    </a:moveTo>
                    <a:cubicBezTo>
                      <a:pt x="2" y="1"/>
                      <a:pt x="0" y="1"/>
                      <a:pt x="1" y="2"/>
                    </a:cubicBezTo>
                    <a:cubicBezTo>
                      <a:pt x="2"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338"/>
              <p:cNvSpPr/>
              <p:nvPr/>
            </p:nvSpPr>
            <p:spPr bwMode="auto">
              <a:xfrm>
                <a:off x="4410" y="3736"/>
                <a:ext cx="41" cy="26"/>
              </a:xfrm>
              <a:custGeom>
                <a:gdLst>
                  <a:gd name="T0" fmla="*/ 5 w 17"/>
                  <a:gd name="T1" fmla="*/ 0 h 11"/>
                  <a:gd name="T2" fmla="*/ 3 w 17"/>
                  <a:gd name="T3" fmla="*/ 1 h 11"/>
                  <a:gd name="T4" fmla="*/ 6 w 17"/>
                  <a:gd name="T5" fmla="*/ 1 h 11"/>
                  <a:gd name="T6" fmla="*/ 4 w 17"/>
                  <a:gd name="T7" fmla="*/ 1 h 11"/>
                  <a:gd name="T8" fmla="*/ 4 w 17"/>
                  <a:gd name="T9" fmla="*/ 1 h 11"/>
                  <a:gd name="T10" fmla="*/ 0 w 17"/>
                  <a:gd name="T11" fmla="*/ 0 h 11"/>
                  <a:gd name="T12" fmla="*/ 11 w 17"/>
                  <a:gd name="T13" fmla="*/ 9 h 11"/>
                  <a:gd name="T14" fmla="*/ 15 w 17"/>
                  <a:gd name="T15" fmla="*/ 11 h 11"/>
                  <a:gd name="T16" fmla="*/ 16 w 17"/>
                  <a:gd name="T17" fmla="*/ 10 h 11"/>
                  <a:gd name="T18" fmla="*/ 14 w 17"/>
                  <a:gd name="T19" fmla="*/ 8 h 11"/>
                  <a:gd name="T20" fmla="*/ 10 w 17"/>
                  <a:gd name="T21" fmla="*/ 6 h 11"/>
                  <a:gd name="T22" fmla="*/ 6 w 17"/>
                  <a:gd name="T23" fmla="*/ 1 h 11"/>
                  <a:gd name="T24" fmla="*/ 8 w 17"/>
                  <a:gd name="T25" fmla="*/ 2 h 11"/>
                  <a:gd name="T26" fmla="*/ 15 w 17"/>
                  <a:gd name="T27" fmla="*/ 8 h 11"/>
                  <a:gd name="T28" fmla="*/ 15 w 17"/>
                  <a:gd name="T29" fmla="*/ 3 h 11"/>
                  <a:gd name="T30" fmla="*/ 15 w 17"/>
                  <a:gd name="T31" fmla="*/ 3 h 11"/>
                  <a:gd name="T32" fmla="*/ 17 w 17"/>
                  <a:gd name="T33" fmla="*/ 3 h 11"/>
                  <a:gd name="T34" fmla="*/ 5 w 17"/>
                  <a:gd name="T35"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1">
                    <a:moveTo>
                      <a:pt x="5" y="0"/>
                    </a:moveTo>
                    <a:cubicBezTo>
                      <a:pt x="4" y="0"/>
                      <a:pt x="3" y="0"/>
                      <a:pt x="3" y="1"/>
                    </a:cubicBezTo>
                    <a:cubicBezTo>
                      <a:pt x="4" y="1"/>
                      <a:pt x="5" y="1"/>
                      <a:pt x="6" y="1"/>
                    </a:cubicBezTo>
                    <a:cubicBezTo>
                      <a:pt x="5" y="1"/>
                      <a:pt x="4" y="1"/>
                      <a:pt x="4" y="1"/>
                    </a:cubicBezTo>
                    <a:cubicBezTo>
                      <a:pt x="4" y="1"/>
                      <a:pt x="4" y="1"/>
                      <a:pt x="4" y="1"/>
                    </a:cubicBezTo>
                    <a:cubicBezTo>
                      <a:pt x="2" y="1"/>
                      <a:pt x="1" y="0"/>
                      <a:pt x="0" y="0"/>
                    </a:cubicBezTo>
                    <a:cubicBezTo>
                      <a:pt x="2" y="4"/>
                      <a:pt x="7" y="7"/>
                      <a:pt x="11" y="9"/>
                    </a:cubicBezTo>
                    <a:cubicBezTo>
                      <a:pt x="11" y="10"/>
                      <a:pt x="13" y="11"/>
                      <a:pt x="15" y="11"/>
                    </a:cubicBezTo>
                    <a:cubicBezTo>
                      <a:pt x="15" y="11"/>
                      <a:pt x="16" y="11"/>
                      <a:pt x="16" y="10"/>
                    </a:cubicBezTo>
                    <a:cubicBezTo>
                      <a:pt x="16" y="9"/>
                      <a:pt x="14" y="9"/>
                      <a:pt x="14" y="8"/>
                    </a:cubicBezTo>
                    <a:cubicBezTo>
                      <a:pt x="13" y="8"/>
                      <a:pt x="11" y="7"/>
                      <a:pt x="10" y="6"/>
                    </a:cubicBezTo>
                    <a:cubicBezTo>
                      <a:pt x="9" y="5"/>
                      <a:pt x="8" y="2"/>
                      <a:pt x="6" y="1"/>
                    </a:cubicBezTo>
                    <a:cubicBezTo>
                      <a:pt x="7" y="1"/>
                      <a:pt x="7" y="1"/>
                      <a:pt x="8" y="2"/>
                    </a:cubicBezTo>
                    <a:cubicBezTo>
                      <a:pt x="10" y="5"/>
                      <a:pt x="12" y="7"/>
                      <a:pt x="15" y="8"/>
                    </a:cubicBezTo>
                    <a:cubicBezTo>
                      <a:pt x="15" y="7"/>
                      <a:pt x="15" y="5"/>
                      <a:pt x="15" y="3"/>
                    </a:cubicBezTo>
                    <a:cubicBezTo>
                      <a:pt x="15" y="3"/>
                      <a:pt x="15" y="3"/>
                      <a:pt x="15" y="3"/>
                    </a:cubicBezTo>
                    <a:cubicBezTo>
                      <a:pt x="16" y="3"/>
                      <a:pt x="17" y="3"/>
                      <a:pt x="17" y="3"/>
                    </a:cubicBezTo>
                    <a:cubicBezTo>
                      <a:pt x="14" y="0"/>
                      <a:pt x="9"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339"/>
              <p:cNvSpPr/>
              <p:nvPr/>
            </p:nvSpPr>
            <p:spPr bwMode="auto">
              <a:xfrm>
                <a:off x="4488" y="3095"/>
                <a:ext cx="10" cy="8"/>
              </a:xfrm>
              <a:custGeom>
                <a:gdLst>
                  <a:gd name="T0" fmla="*/ 4 w 4"/>
                  <a:gd name="T1" fmla="*/ 0 h 3"/>
                  <a:gd name="T2" fmla="*/ 0 w 4"/>
                  <a:gd name="T3" fmla="*/ 3 h 3"/>
                  <a:gd name="T4" fmla="*/ 1 w 4"/>
                  <a:gd name="T5" fmla="*/ 3 h 3"/>
                  <a:gd name="T6" fmla="*/ 4 w 4"/>
                  <a:gd name="T7" fmla="*/ 0 h 3"/>
                </a:gdLst>
                <a:cxnLst>
                  <a:cxn ang="0">
                    <a:pos x="T0" y="T1"/>
                  </a:cxn>
                  <a:cxn ang="0">
                    <a:pos x="T2" y="T3"/>
                  </a:cxn>
                  <a:cxn ang="0">
                    <a:pos x="T4" y="T5"/>
                  </a:cxn>
                  <a:cxn ang="0">
                    <a:pos x="T6" y="T7"/>
                  </a:cxn>
                </a:cxnLst>
                <a:rect l="0" t="0" r="r" b="b"/>
                <a:pathLst>
                  <a:path w="4" h="3">
                    <a:moveTo>
                      <a:pt x="4" y="0"/>
                    </a:moveTo>
                    <a:cubicBezTo>
                      <a:pt x="3" y="1"/>
                      <a:pt x="2" y="2"/>
                      <a:pt x="0" y="3"/>
                    </a:cubicBezTo>
                    <a:cubicBezTo>
                      <a:pt x="1" y="3"/>
                      <a:pt x="1" y="3"/>
                      <a:pt x="1" y="3"/>
                    </a:cubicBezTo>
                    <a:cubicBezTo>
                      <a:pt x="3"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340"/>
              <p:cNvSpPr/>
              <p:nvPr/>
            </p:nvSpPr>
            <p:spPr bwMode="auto">
              <a:xfrm>
                <a:off x="4455" y="3720"/>
                <a:ext cx="5" cy="11"/>
              </a:xfrm>
              <a:custGeom>
                <a:gdLst>
                  <a:gd name="T0" fmla="*/ 1 w 2"/>
                  <a:gd name="T1" fmla="*/ 0 h 5"/>
                  <a:gd name="T2" fmla="*/ 0 w 2"/>
                  <a:gd name="T3" fmla="*/ 1 h 5"/>
                  <a:gd name="T4" fmla="*/ 1 w 2"/>
                  <a:gd name="T5" fmla="*/ 5 h 5"/>
                  <a:gd name="T6" fmla="*/ 1 w 2"/>
                  <a:gd name="T7" fmla="*/ 0 h 5"/>
                </a:gdLst>
                <a:cxnLst>
                  <a:cxn ang="0">
                    <a:pos x="T0" y="T1"/>
                  </a:cxn>
                  <a:cxn ang="0">
                    <a:pos x="T2" y="T3"/>
                  </a:cxn>
                  <a:cxn ang="0">
                    <a:pos x="T4" y="T5"/>
                  </a:cxn>
                  <a:cxn ang="0">
                    <a:pos x="T6" y="T7"/>
                  </a:cxn>
                </a:cxnLst>
                <a:rect l="0" t="0" r="r" b="b"/>
                <a:pathLst>
                  <a:path w="2" h="5">
                    <a:moveTo>
                      <a:pt x="1" y="0"/>
                    </a:moveTo>
                    <a:cubicBezTo>
                      <a:pt x="1" y="0"/>
                      <a:pt x="0" y="1"/>
                      <a:pt x="0" y="1"/>
                    </a:cubicBezTo>
                    <a:cubicBezTo>
                      <a:pt x="0" y="2"/>
                      <a:pt x="0" y="3"/>
                      <a:pt x="1" y="5"/>
                    </a:cubicBezTo>
                    <a:cubicBezTo>
                      <a:pt x="1"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341"/>
              <p:cNvSpPr/>
              <p:nvPr/>
            </p:nvSpPr>
            <p:spPr bwMode="auto">
              <a:xfrm>
                <a:off x="4462" y="3105"/>
                <a:ext cx="10" cy="9"/>
              </a:xfrm>
              <a:custGeom>
                <a:gdLst>
                  <a:gd name="T0" fmla="*/ 1 w 4"/>
                  <a:gd name="T1" fmla="*/ 0 h 4"/>
                  <a:gd name="T2" fmla="*/ 0 w 4"/>
                  <a:gd name="T3" fmla="*/ 0 h 4"/>
                  <a:gd name="T4" fmla="*/ 3 w 4"/>
                  <a:gd name="T5" fmla="*/ 4 h 4"/>
                  <a:gd name="T6" fmla="*/ 4 w 4"/>
                  <a:gd name="T7" fmla="*/ 2 h 4"/>
                  <a:gd name="T8" fmla="*/ 1 w 4"/>
                  <a:gd name="T9" fmla="*/ 0 h 4"/>
                </a:gdLst>
                <a:cxnLst>
                  <a:cxn ang="0">
                    <a:pos x="T0" y="T1"/>
                  </a:cxn>
                  <a:cxn ang="0">
                    <a:pos x="T2" y="T3"/>
                  </a:cxn>
                  <a:cxn ang="0">
                    <a:pos x="T4" y="T5"/>
                  </a:cxn>
                  <a:cxn ang="0">
                    <a:pos x="T6" y="T7"/>
                  </a:cxn>
                  <a:cxn ang="0">
                    <a:pos x="T8" y="T9"/>
                  </a:cxn>
                </a:cxnLst>
                <a:rect l="0" t="0" r="r" b="b"/>
                <a:pathLst>
                  <a:path w="4" h="4">
                    <a:moveTo>
                      <a:pt x="1" y="0"/>
                    </a:moveTo>
                    <a:cubicBezTo>
                      <a:pt x="1" y="0"/>
                      <a:pt x="1" y="0"/>
                      <a:pt x="0" y="0"/>
                    </a:cubicBezTo>
                    <a:cubicBezTo>
                      <a:pt x="1" y="1"/>
                      <a:pt x="2" y="3"/>
                      <a:pt x="3" y="4"/>
                    </a:cubicBezTo>
                    <a:cubicBezTo>
                      <a:pt x="3" y="2"/>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342"/>
              <p:cNvSpPr/>
              <p:nvPr/>
            </p:nvSpPr>
            <p:spPr bwMode="auto">
              <a:xfrm>
                <a:off x="5226" y="2840"/>
                <a:ext cx="113" cy="201"/>
              </a:xfrm>
              <a:custGeom>
                <a:gdLst>
                  <a:gd name="T0" fmla="*/ 39 w 48"/>
                  <a:gd name="T1" fmla="*/ 0 h 85"/>
                  <a:gd name="T2" fmla="*/ 41 w 48"/>
                  <a:gd name="T3" fmla="*/ 4 h 85"/>
                  <a:gd name="T4" fmla="*/ 34 w 48"/>
                  <a:gd name="T5" fmla="*/ 11 h 85"/>
                  <a:gd name="T6" fmla="*/ 27 w 48"/>
                  <a:gd name="T7" fmla="*/ 4 h 85"/>
                  <a:gd name="T8" fmla="*/ 28 w 48"/>
                  <a:gd name="T9" fmla="*/ 2 h 85"/>
                  <a:gd name="T10" fmla="*/ 22 w 48"/>
                  <a:gd name="T11" fmla="*/ 6 h 85"/>
                  <a:gd name="T12" fmla="*/ 20 w 48"/>
                  <a:gd name="T13" fmla="*/ 11 h 85"/>
                  <a:gd name="T14" fmla="*/ 16 w 48"/>
                  <a:gd name="T15" fmla="*/ 16 h 85"/>
                  <a:gd name="T16" fmla="*/ 3 w 48"/>
                  <a:gd name="T17" fmla="*/ 39 h 85"/>
                  <a:gd name="T18" fmla="*/ 1 w 48"/>
                  <a:gd name="T19" fmla="*/ 53 h 85"/>
                  <a:gd name="T20" fmla="*/ 4 w 48"/>
                  <a:gd name="T21" fmla="*/ 64 h 85"/>
                  <a:gd name="T22" fmla="*/ 11 w 48"/>
                  <a:gd name="T23" fmla="*/ 75 h 85"/>
                  <a:gd name="T24" fmla="*/ 19 w 48"/>
                  <a:gd name="T25" fmla="*/ 85 h 85"/>
                  <a:gd name="T26" fmla="*/ 25 w 48"/>
                  <a:gd name="T27" fmla="*/ 67 h 85"/>
                  <a:gd name="T28" fmla="*/ 35 w 48"/>
                  <a:gd name="T29" fmla="*/ 45 h 85"/>
                  <a:gd name="T30" fmla="*/ 42 w 48"/>
                  <a:gd name="T31" fmla="*/ 23 h 85"/>
                  <a:gd name="T32" fmla="*/ 44 w 48"/>
                  <a:gd name="T33" fmla="*/ 13 h 85"/>
                  <a:gd name="T34" fmla="*/ 48 w 48"/>
                  <a:gd name="T35" fmla="*/ 4 h 85"/>
                  <a:gd name="T36" fmla="*/ 39 w 48"/>
                  <a:gd name="T37" fmla="*/ 0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85">
                    <a:moveTo>
                      <a:pt x="39" y="0"/>
                    </a:moveTo>
                    <a:cubicBezTo>
                      <a:pt x="40" y="1"/>
                      <a:pt x="41" y="2"/>
                      <a:pt x="41" y="4"/>
                    </a:cubicBezTo>
                    <a:cubicBezTo>
                      <a:pt x="41" y="8"/>
                      <a:pt x="38" y="11"/>
                      <a:pt x="34" y="11"/>
                    </a:cubicBezTo>
                    <a:cubicBezTo>
                      <a:pt x="30" y="11"/>
                      <a:pt x="27" y="8"/>
                      <a:pt x="27" y="4"/>
                    </a:cubicBezTo>
                    <a:cubicBezTo>
                      <a:pt x="27" y="4"/>
                      <a:pt x="28" y="3"/>
                      <a:pt x="28" y="2"/>
                    </a:cubicBezTo>
                    <a:cubicBezTo>
                      <a:pt x="26" y="4"/>
                      <a:pt x="24" y="5"/>
                      <a:pt x="22" y="6"/>
                    </a:cubicBezTo>
                    <a:cubicBezTo>
                      <a:pt x="21" y="7"/>
                      <a:pt x="21" y="10"/>
                      <a:pt x="20" y="11"/>
                    </a:cubicBezTo>
                    <a:cubicBezTo>
                      <a:pt x="19" y="13"/>
                      <a:pt x="17" y="15"/>
                      <a:pt x="16" y="16"/>
                    </a:cubicBezTo>
                    <a:cubicBezTo>
                      <a:pt x="11" y="22"/>
                      <a:pt x="6" y="31"/>
                      <a:pt x="3" y="39"/>
                    </a:cubicBezTo>
                    <a:cubicBezTo>
                      <a:pt x="1" y="44"/>
                      <a:pt x="2" y="48"/>
                      <a:pt x="1" y="53"/>
                    </a:cubicBezTo>
                    <a:cubicBezTo>
                      <a:pt x="0" y="56"/>
                      <a:pt x="3" y="61"/>
                      <a:pt x="4" y="64"/>
                    </a:cubicBezTo>
                    <a:cubicBezTo>
                      <a:pt x="6" y="69"/>
                      <a:pt x="9" y="71"/>
                      <a:pt x="11" y="75"/>
                    </a:cubicBezTo>
                    <a:cubicBezTo>
                      <a:pt x="13" y="80"/>
                      <a:pt x="14" y="84"/>
                      <a:pt x="19" y="85"/>
                    </a:cubicBezTo>
                    <a:cubicBezTo>
                      <a:pt x="20" y="78"/>
                      <a:pt x="22" y="74"/>
                      <a:pt x="25" y="67"/>
                    </a:cubicBezTo>
                    <a:cubicBezTo>
                      <a:pt x="28" y="60"/>
                      <a:pt x="32" y="53"/>
                      <a:pt x="35" y="45"/>
                    </a:cubicBezTo>
                    <a:cubicBezTo>
                      <a:pt x="38" y="38"/>
                      <a:pt x="39" y="31"/>
                      <a:pt x="42" y="23"/>
                    </a:cubicBezTo>
                    <a:cubicBezTo>
                      <a:pt x="43" y="20"/>
                      <a:pt x="44" y="17"/>
                      <a:pt x="44" y="13"/>
                    </a:cubicBezTo>
                    <a:cubicBezTo>
                      <a:pt x="45" y="11"/>
                      <a:pt x="45" y="5"/>
                      <a:pt x="48" y="4"/>
                    </a:cubicBezTo>
                    <a:cubicBezTo>
                      <a:pt x="45" y="3"/>
                      <a:pt x="42" y="1"/>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Rectangle 343"/>
              <p:cNvSpPr>
                <a:spLocks noChangeArrowheads="1"/>
              </p:cNvSpPr>
              <p:nvPr/>
            </p:nvSpPr>
            <p:spPr bwMode="auto">
              <a:xfrm>
                <a:off x="5308" y="2833"/>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344"/>
              <p:cNvSpPr/>
              <p:nvPr/>
            </p:nvSpPr>
            <p:spPr bwMode="auto">
              <a:xfrm flipH="1">
                <a:off x="5308" y="2833"/>
                <a:ext cx="0" cy="2"/>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345"/>
              <p:cNvSpPr/>
              <p:nvPr/>
            </p:nvSpPr>
            <p:spPr bwMode="auto">
              <a:xfrm>
                <a:off x="5122" y="2880"/>
                <a:ext cx="12" cy="7"/>
              </a:xfrm>
              <a:custGeom>
                <a:gdLst>
                  <a:gd name="T0" fmla="*/ 4 w 5"/>
                  <a:gd name="T1" fmla="*/ 0 h 3"/>
                  <a:gd name="T2" fmla="*/ 1 w 5"/>
                  <a:gd name="T3" fmla="*/ 3 h 3"/>
                  <a:gd name="T4" fmla="*/ 3 w 5"/>
                  <a:gd name="T5" fmla="*/ 3 h 3"/>
                  <a:gd name="T6" fmla="*/ 4 w 5"/>
                  <a:gd name="T7" fmla="*/ 0 h 3"/>
                </a:gdLst>
                <a:cxnLst>
                  <a:cxn ang="0">
                    <a:pos x="T0" y="T1"/>
                  </a:cxn>
                  <a:cxn ang="0">
                    <a:pos x="T2" y="T3"/>
                  </a:cxn>
                  <a:cxn ang="0">
                    <a:pos x="T4" y="T5"/>
                  </a:cxn>
                  <a:cxn ang="0">
                    <a:pos x="T6" y="T7"/>
                  </a:cxn>
                </a:cxnLst>
                <a:rect l="0" t="0" r="r" b="b"/>
                <a:pathLst>
                  <a:path w="5" h="3">
                    <a:moveTo>
                      <a:pt x="4" y="0"/>
                    </a:moveTo>
                    <a:cubicBezTo>
                      <a:pt x="2" y="2"/>
                      <a:pt x="0" y="1"/>
                      <a:pt x="1" y="3"/>
                    </a:cubicBezTo>
                    <a:cubicBezTo>
                      <a:pt x="1" y="3"/>
                      <a:pt x="2" y="3"/>
                      <a:pt x="3" y="3"/>
                    </a:cubicBezTo>
                    <a:cubicBezTo>
                      <a:pt x="5" y="3"/>
                      <a:pt x="5"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346"/>
              <p:cNvSpPr/>
              <p:nvPr/>
            </p:nvSpPr>
            <p:spPr bwMode="auto">
              <a:xfrm>
                <a:off x="5195" y="2939"/>
                <a:ext cx="7" cy="3"/>
              </a:xfrm>
              <a:custGeom>
                <a:gdLst>
                  <a:gd name="T0" fmla="*/ 2 w 3"/>
                  <a:gd name="T1" fmla="*/ 0 h 1"/>
                  <a:gd name="T2" fmla="*/ 0 w 3"/>
                  <a:gd name="T3" fmla="*/ 1 h 1"/>
                  <a:gd name="T4" fmla="*/ 3 w 3"/>
                  <a:gd name="T5" fmla="*/ 0 h 1"/>
                  <a:gd name="T6" fmla="*/ 2 w 3"/>
                  <a:gd name="T7" fmla="*/ 0 h 1"/>
                </a:gdLst>
                <a:cxnLst>
                  <a:cxn ang="0">
                    <a:pos x="T0" y="T1"/>
                  </a:cxn>
                  <a:cxn ang="0">
                    <a:pos x="T2" y="T3"/>
                  </a:cxn>
                  <a:cxn ang="0">
                    <a:pos x="T4" y="T5"/>
                  </a:cxn>
                  <a:cxn ang="0">
                    <a:pos x="T6" y="T7"/>
                  </a:cxn>
                </a:cxnLst>
                <a:rect l="0" t="0" r="r" b="b"/>
                <a:pathLst>
                  <a:path w="3" h="1">
                    <a:moveTo>
                      <a:pt x="2" y="0"/>
                    </a:moveTo>
                    <a:cubicBezTo>
                      <a:pt x="1" y="0"/>
                      <a:pt x="1" y="0"/>
                      <a:pt x="0" y="1"/>
                    </a:cubicBezTo>
                    <a:cubicBezTo>
                      <a:pt x="1" y="1"/>
                      <a:pt x="2" y="0"/>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Freeform 347"/>
              <p:cNvSpPr/>
              <p:nvPr/>
            </p:nvSpPr>
            <p:spPr bwMode="auto">
              <a:xfrm>
                <a:off x="5592" y="2027"/>
                <a:ext cx="9" cy="14"/>
              </a:xfrm>
              <a:custGeom>
                <a:gdLst>
                  <a:gd name="T0" fmla="*/ 2 w 4"/>
                  <a:gd name="T1" fmla="*/ 0 h 6"/>
                  <a:gd name="T2" fmla="*/ 3 w 4"/>
                  <a:gd name="T3" fmla="*/ 6 h 6"/>
                  <a:gd name="T4" fmla="*/ 4 w 4"/>
                  <a:gd name="T5" fmla="*/ 6 h 6"/>
                  <a:gd name="T6" fmla="*/ 2 w 4"/>
                  <a:gd name="T7" fmla="*/ 0 h 6"/>
                </a:gdLst>
                <a:cxnLst>
                  <a:cxn ang="0">
                    <a:pos x="T0" y="T1"/>
                  </a:cxn>
                  <a:cxn ang="0">
                    <a:pos x="T2" y="T3"/>
                  </a:cxn>
                  <a:cxn ang="0">
                    <a:pos x="T4" y="T5"/>
                  </a:cxn>
                  <a:cxn ang="0">
                    <a:pos x="T6" y="T7"/>
                  </a:cxn>
                </a:cxnLst>
                <a:rect l="0" t="0" r="r" b="b"/>
                <a:pathLst>
                  <a:path w="4" h="6">
                    <a:moveTo>
                      <a:pt x="2" y="0"/>
                    </a:moveTo>
                    <a:cubicBezTo>
                      <a:pt x="0" y="1"/>
                      <a:pt x="0" y="6"/>
                      <a:pt x="3" y="6"/>
                    </a:cubicBezTo>
                    <a:cubicBezTo>
                      <a:pt x="3" y="6"/>
                      <a:pt x="3" y="6"/>
                      <a:pt x="4" y="6"/>
                    </a:cubicBezTo>
                    <a:cubicBezTo>
                      <a:pt x="3"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348"/>
              <p:cNvSpPr>
                <a:spLocks noEditPoints="1"/>
              </p:cNvSpPr>
              <p:nvPr/>
            </p:nvSpPr>
            <p:spPr bwMode="auto">
              <a:xfrm>
                <a:off x="4559" y="3147"/>
                <a:ext cx="140" cy="119"/>
              </a:xfrm>
              <a:custGeom>
                <a:gdLst>
                  <a:gd name="T0" fmla="*/ 17 w 59"/>
                  <a:gd name="T1" fmla="*/ 6 h 50"/>
                  <a:gd name="T2" fmla="*/ 17 w 59"/>
                  <a:gd name="T3" fmla="*/ 7 h 50"/>
                  <a:gd name="T4" fmla="*/ 17 w 59"/>
                  <a:gd name="T5" fmla="*/ 6 h 50"/>
                  <a:gd name="T6" fmla="*/ 51 w 59"/>
                  <a:gd name="T7" fmla="*/ 0 h 50"/>
                  <a:gd name="T8" fmla="*/ 48 w 59"/>
                  <a:gd name="T9" fmla="*/ 6 h 50"/>
                  <a:gd name="T10" fmla="*/ 43 w 59"/>
                  <a:gd name="T11" fmla="*/ 4 h 50"/>
                  <a:gd name="T12" fmla="*/ 39 w 59"/>
                  <a:gd name="T13" fmla="*/ 3 h 50"/>
                  <a:gd name="T14" fmla="*/ 38 w 59"/>
                  <a:gd name="T15" fmla="*/ 4 h 50"/>
                  <a:gd name="T16" fmla="*/ 34 w 59"/>
                  <a:gd name="T17" fmla="*/ 5 h 50"/>
                  <a:gd name="T18" fmla="*/ 30 w 59"/>
                  <a:gd name="T19" fmla="*/ 5 h 50"/>
                  <a:gd name="T20" fmla="*/ 30 w 59"/>
                  <a:gd name="T21" fmla="*/ 4 h 50"/>
                  <a:gd name="T22" fmla="*/ 29 w 59"/>
                  <a:gd name="T23" fmla="*/ 5 h 50"/>
                  <a:gd name="T24" fmla="*/ 29 w 59"/>
                  <a:gd name="T25" fmla="*/ 5 h 50"/>
                  <a:gd name="T26" fmla="*/ 27 w 59"/>
                  <a:gd name="T27" fmla="*/ 4 h 50"/>
                  <a:gd name="T28" fmla="*/ 27 w 59"/>
                  <a:gd name="T29" fmla="*/ 4 h 50"/>
                  <a:gd name="T30" fmla="*/ 24 w 59"/>
                  <a:gd name="T31" fmla="*/ 5 h 50"/>
                  <a:gd name="T32" fmla="*/ 21 w 59"/>
                  <a:gd name="T33" fmla="*/ 7 h 50"/>
                  <a:gd name="T34" fmla="*/ 20 w 59"/>
                  <a:gd name="T35" fmla="*/ 8 h 50"/>
                  <a:gd name="T36" fmla="*/ 19 w 59"/>
                  <a:gd name="T37" fmla="*/ 7 h 50"/>
                  <a:gd name="T38" fmla="*/ 19 w 59"/>
                  <a:gd name="T39" fmla="*/ 7 h 50"/>
                  <a:gd name="T40" fmla="*/ 17 w 59"/>
                  <a:gd name="T41" fmla="*/ 7 h 50"/>
                  <a:gd name="T42" fmla="*/ 17 w 59"/>
                  <a:gd name="T43" fmla="*/ 11 h 50"/>
                  <a:gd name="T44" fmla="*/ 8 w 59"/>
                  <a:gd name="T45" fmla="*/ 17 h 50"/>
                  <a:gd name="T46" fmla="*/ 1 w 59"/>
                  <a:gd name="T47" fmla="*/ 26 h 50"/>
                  <a:gd name="T48" fmla="*/ 1 w 59"/>
                  <a:gd name="T49" fmla="*/ 30 h 50"/>
                  <a:gd name="T50" fmla="*/ 2 w 59"/>
                  <a:gd name="T51" fmla="*/ 40 h 50"/>
                  <a:gd name="T52" fmla="*/ 2 w 59"/>
                  <a:gd name="T53" fmla="*/ 42 h 50"/>
                  <a:gd name="T54" fmla="*/ 18 w 59"/>
                  <a:gd name="T55" fmla="*/ 49 h 50"/>
                  <a:gd name="T56" fmla="*/ 24 w 59"/>
                  <a:gd name="T57" fmla="*/ 50 h 50"/>
                  <a:gd name="T58" fmla="*/ 26 w 59"/>
                  <a:gd name="T59" fmla="*/ 50 h 50"/>
                  <a:gd name="T60" fmla="*/ 28 w 59"/>
                  <a:gd name="T61" fmla="*/ 45 h 50"/>
                  <a:gd name="T62" fmla="*/ 34 w 59"/>
                  <a:gd name="T63" fmla="*/ 44 h 50"/>
                  <a:gd name="T64" fmla="*/ 37 w 59"/>
                  <a:gd name="T65" fmla="*/ 41 h 50"/>
                  <a:gd name="T66" fmla="*/ 38 w 59"/>
                  <a:gd name="T67" fmla="*/ 40 h 50"/>
                  <a:gd name="T68" fmla="*/ 43 w 59"/>
                  <a:gd name="T69" fmla="*/ 37 h 50"/>
                  <a:gd name="T70" fmla="*/ 44 w 59"/>
                  <a:gd name="T71" fmla="*/ 38 h 50"/>
                  <a:gd name="T72" fmla="*/ 46 w 59"/>
                  <a:gd name="T73" fmla="*/ 35 h 50"/>
                  <a:gd name="T74" fmla="*/ 46 w 59"/>
                  <a:gd name="T75" fmla="*/ 35 h 50"/>
                  <a:gd name="T76" fmla="*/ 46 w 59"/>
                  <a:gd name="T77" fmla="*/ 35 h 50"/>
                  <a:gd name="T78" fmla="*/ 47 w 59"/>
                  <a:gd name="T79" fmla="*/ 35 h 50"/>
                  <a:gd name="T80" fmla="*/ 47 w 59"/>
                  <a:gd name="T81" fmla="*/ 35 h 50"/>
                  <a:gd name="T82" fmla="*/ 49 w 59"/>
                  <a:gd name="T83" fmla="*/ 24 h 50"/>
                  <a:gd name="T84" fmla="*/ 55 w 59"/>
                  <a:gd name="T85" fmla="*/ 14 h 50"/>
                  <a:gd name="T86" fmla="*/ 55 w 59"/>
                  <a:gd name="T87" fmla="*/ 16 h 50"/>
                  <a:gd name="T88" fmla="*/ 59 w 59"/>
                  <a:gd name="T89" fmla="*/ 13 h 50"/>
                  <a:gd name="T90" fmla="*/ 59 w 59"/>
                  <a:gd name="T91" fmla="*/ 13 h 50"/>
                  <a:gd name="T92" fmla="*/ 58 w 59"/>
                  <a:gd name="T93" fmla="*/ 6 h 50"/>
                  <a:gd name="T94" fmla="*/ 51 w 59"/>
                  <a:gd name="T95" fmla="*/ 0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50">
                    <a:moveTo>
                      <a:pt x="17" y="6"/>
                    </a:moveTo>
                    <a:cubicBezTo>
                      <a:pt x="17" y="6"/>
                      <a:pt x="17" y="7"/>
                      <a:pt x="17" y="7"/>
                    </a:cubicBezTo>
                    <a:cubicBezTo>
                      <a:pt x="17" y="7"/>
                      <a:pt x="17" y="6"/>
                      <a:pt x="17" y="6"/>
                    </a:cubicBezTo>
                    <a:moveTo>
                      <a:pt x="51" y="0"/>
                    </a:moveTo>
                    <a:cubicBezTo>
                      <a:pt x="49" y="4"/>
                      <a:pt x="50" y="6"/>
                      <a:pt x="48" y="6"/>
                    </a:cubicBezTo>
                    <a:cubicBezTo>
                      <a:pt x="48" y="6"/>
                      <a:pt x="46" y="5"/>
                      <a:pt x="43" y="4"/>
                    </a:cubicBezTo>
                    <a:cubicBezTo>
                      <a:pt x="42" y="3"/>
                      <a:pt x="40" y="3"/>
                      <a:pt x="39" y="3"/>
                    </a:cubicBezTo>
                    <a:cubicBezTo>
                      <a:pt x="38" y="3"/>
                      <a:pt x="38" y="3"/>
                      <a:pt x="38" y="4"/>
                    </a:cubicBezTo>
                    <a:cubicBezTo>
                      <a:pt x="36" y="5"/>
                      <a:pt x="35" y="5"/>
                      <a:pt x="34" y="5"/>
                    </a:cubicBezTo>
                    <a:cubicBezTo>
                      <a:pt x="33" y="5"/>
                      <a:pt x="32" y="5"/>
                      <a:pt x="30" y="5"/>
                    </a:cubicBezTo>
                    <a:cubicBezTo>
                      <a:pt x="30" y="5"/>
                      <a:pt x="30" y="4"/>
                      <a:pt x="30" y="4"/>
                    </a:cubicBezTo>
                    <a:cubicBezTo>
                      <a:pt x="30" y="4"/>
                      <a:pt x="29" y="4"/>
                      <a:pt x="29" y="5"/>
                    </a:cubicBezTo>
                    <a:cubicBezTo>
                      <a:pt x="29" y="5"/>
                      <a:pt x="29" y="5"/>
                      <a:pt x="29" y="5"/>
                    </a:cubicBezTo>
                    <a:cubicBezTo>
                      <a:pt x="28" y="5"/>
                      <a:pt x="27" y="4"/>
                      <a:pt x="27" y="4"/>
                    </a:cubicBezTo>
                    <a:cubicBezTo>
                      <a:pt x="27" y="4"/>
                      <a:pt x="27" y="4"/>
                      <a:pt x="27" y="4"/>
                    </a:cubicBezTo>
                    <a:cubicBezTo>
                      <a:pt x="26" y="4"/>
                      <a:pt x="25" y="5"/>
                      <a:pt x="24" y="5"/>
                    </a:cubicBezTo>
                    <a:cubicBezTo>
                      <a:pt x="22" y="6"/>
                      <a:pt x="24" y="7"/>
                      <a:pt x="21" y="7"/>
                    </a:cubicBezTo>
                    <a:cubicBezTo>
                      <a:pt x="21" y="7"/>
                      <a:pt x="21" y="8"/>
                      <a:pt x="20" y="8"/>
                    </a:cubicBezTo>
                    <a:cubicBezTo>
                      <a:pt x="20" y="8"/>
                      <a:pt x="20" y="7"/>
                      <a:pt x="19" y="7"/>
                    </a:cubicBezTo>
                    <a:cubicBezTo>
                      <a:pt x="19" y="7"/>
                      <a:pt x="19" y="7"/>
                      <a:pt x="19" y="7"/>
                    </a:cubicBezTo>
                    <a:cubicBezTo>
                      <a:pt x="19" y="7"/>
                      <a:pt x="17" y="7"/>
                      <a:pt x="17" y="7"/>
                    </a:cubicBezTo>
                    <a:cubicBezTo>
                      <a:pt x="17" y="7"/>
                      <a:pt x="17" y="10"/>
                      <a:pt x="17" y="11"/>
                    </a:cubicBezTo>
                    <a:cubicBezTo>
                      <a:pt x="14" y="13"/>
                      <a:pt x="11" y="15"/>
                      <a:pt x="8" y="17"/>
                    </a:cubicBezTo>
                    <a:cubicBezTo>
                      <a:pt x="3" y="20"/>
                      <a:pt x="1" y="20"/>
                      <a:pt x="1" y="26"/>
                    </a:cubicBezTo>
                    <a:cubicBezTo>
                      <a:pt x="0" y="27"/>
                      <a:pt x="1" y="28"/>
                      <a:pt x="1" y="30"/>
                    </a:cubicBezTo>
                    <a:cubicBezTo>
                      <a:pt x="1" y="33"/>
                      <a:pt x="1" y="36"/>
                      <a:pt x="2" y="40"/>
                    </a:cubicBezTo>
                    <a:cubicBezTo>
                      <a:pt x="2" y="40"/>
                      <a:pt x="1" y="41"/>
                      <a:pt x="2" y="42"/>
                    </a:cubicBezTo>
                    <a:cubicBezTo>
                      <a:pt x="4" y="45"/>
                      <a:pt x="14" y="48"/>
                      <a:pt x="18" y="49"/>
                    </a:cubicBezTo>
                    <a:cubicBezTo>
                      <a:pt x="20" y="50"/>
                      <a:pt x="22" y="50"/>
                      <a:pt x="24" y="50"/>
                    </a:cubicBezTo>
                    <a:cubicBezTo>
                      <a:pt x="25" y="50"/>
                      <a:pt x="26" y="50"/>
                      <a:pt x="26" y="50"/>
                    </a:cubicBezTo>
                    <a:cubicBezTo>
                      <a:pt x="27" y="49"/>
                      <a:pt x="28" y="47"/>
                      <a:pt x="28" y="45"/>
                    </a:cubicBezTo>
                    <a:cubicBezTo>
                      <a:pt x="29" y="44"/>
                      <a:pt x="33" y="44"/>
                      <a:pt x="34" y="44"/>
                    </a:cubicBezTo>
                    <a:cubicBezTo>
                      <a:pt x="35" y="44"/>
                      <a:pt x="36" y="42"/>
                      <a:pt x="37" y="41"/>
                    </a:cubicBezTo>
                    <a:cubicBezTo>
                      <a:pt x="37" y="41"/>
                      <a:pt x="38" y="41"/>
                      <a:pt x="38" y="40"/>
                    </a:cubicBezTo>
                    <a:cubicBezTo>
                      <a:pt x="39" y="39"/>
                      <a:pt x="42" y="37"/>
                      <a:pt x="43" y="37"/>
                    </a:cubicBezTo>
                    <a:cubicBezTo>
                      <a:pt x="44" y="37"/>
                      <a:pt x="44" y="38"/>
                      <a:pt x="44" y="38"/>
                    </a:cubicBezTo>
                    <a:cubicBezTo>
                      <a:pt x="45" y="37"/>
                      <a:pt x="45" y="36"/>
                      <a:pt x="46" y="35"/>
                    </a:cubicBezTo>
                    <a:cubicBezTo>
                      <a:pt x="46" y="35"/>
                      <a:pt x="46" y="35"/>
                      <a:pt x="46" y="35"/>
                    </a:cubicBezTo>
                    <a:cubicBezTo>
                      <a:pt x="46" y="35"/>
                      <a:pt x="46" y="35"/>
                      <a:pt x="46" y="35"/>
                    </a:cubicBezTo>
                    <a:cubicBezTo>
                      <a:pt x="46" y="35"/>
                      <a:pt x="46" y="35"/>
                      <a:pt x="47" y="35"/>
                    </a:cubicBezTo>
                    <a:cubicBezTo>
                      <a:pt x="47" y="35"/>
                      <a:pt x="47" y="35"/>
                      <a:pt x="47" y="35"/>
                    </a:cubicBezTo>
                    <a:cubicBezTo>
                      <a:pt x="49" y="32"/>
                      <a:pt x="48" y="27"/>
                      <a:pt x="49" y="24"/>
                    </a:cubicBezTo>
                    <a:cubicBezTo>
                      <a:pt x="51" y="20"/>
                      <a:pt x="53" y="18"/>
                      <a:pt x="55" y="14"/>
                    </a:cubicBezTo>
                    <a:cubicBezTo>
                      <a:pt x="55" y="14"/>
                      <a:pt x="55" y="15"/>
                      <a:pt x="55" y="16"/>
                    </a:cubicBezTo>
                    <a:cubicBezTo>
                      <a:pt x="56" y="15"/>
                      <a:pt x="58" y="13"/>
                      <a:pt x="59" y="13"/>
                    </a:cubicBezTo>
                    <a:cubicBezTo>
                      <a:pt x="59" y="13"/>
                      <a:pt x="59" y="13"/>
                      <a:pt x="59" y="13"/>
                    </a:cubicBezTo>
                    <a:cubicBezTo>
                      <a:pt x="59" y="11"/>
                      <a:pt x="59" y="8"/>
                      <a:pt x="58" y="6"/>
                    </a:cubicBezTo>
                    <a:cubicBezTo>
                      <a:pt x="56" y="3"/>
                      <a:pt x="52" y="3"/>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349"/>
              <p:cNvSpPr/>
              <p:nvPr/>
            </p:nvSpPr>
            <p:spPr bwMode="auto">
              <a:xfrm>
                <a:off x="4654" y="3093"/>
                <a:ext cx="16" cy="7"/>
              </a:xfrm>
              <a:custGeom>
                <a:gdLst>
                  <a:gd name="T0" fmla="*/ 5 w 7"/>
                  <a:gd name="T1" fmla="*/ 0 h 3"/>
                  <a:gd name="T2" fmla="*/ 0 w 7"/>
                  <a:gd name="T3" fmla="*/ 3 h 3"/>
                  <a:gd name="T4" fmla="*/ 3 w 7"/>
                  <a:gd name="T5" fmla="*/ 1 h 3"/>
                  <a:gd name="T6" fmla="*/ 3 w 7"/>
                  <a:gd name="T7" fmla="*/ 1 h 3"/>
                  <a:gd name="T8" fmla="*/ 7 w 7"/>
                  <a:gd name="T9" fmla="*/ 3 h 3"/>
                  <a:gd name="T10" fmla="*/ 5 w 7"/>
                  <a:gd name="T11" fmla="*/ 0 h 3"/>
                </a:gdLst>
                <a:cxnLst>
                  <a:cxn ang="0">
                    <a:pos x="T0" y="T1"/>
                  </a:cxn>
                  <a:cxn ang="0">
                    <a:pos x="T2" y="T3"/>
                  </a:cxn>
                  <a:cxn ang="0">
                    <a:pos x="T4" y="T5"/>
                  </a:cxn>
                  <a:cxn ang="0">
                    <a:pos x="T6" y="T7"/>
                  </a:cxn>
                  <a:cxn ang="0">
                    <a:pos x="T8" y="T9"/>
                  </a:cxn>
                  <a:cxn ang="0">
                    <a:pos x="T10" y="T11"/>
                  </a:cxn>
                </a:cxnLst>
                <a:rect l="0" t="0" r="r" b="b"/>
                <a:pathLst>
                  <a:path w="7" h="3">
                    <a:moveTo>
                      <a:pt x="5" y="0"/>
                    </a:moveTo>
                    <a:cubicBezTo>
                      <a:pt x="4" y="1"/>
                      <a:pt x="2" y="1"/>
                      <a:pt x="0" y="3"/>
                    </a:cubicBezTo>
                    <a:cubicBezTo>
                      <a:pt x="1" y="3"/>
                      <a:pt x="2" y="1"/>
                      <a:pt x="3" y="1"/>
                    </a:cubicBezTo>
                    <a:cubicBezTo>
                      <a:pt x="3" y="1"/>
                      <a:pt x="3" y="1"/>
                      <a:pt x="3" y="1"/>
                    </a:cubicBezTo>
                    <a:cubicBezTo>
                      <a:pt x="4" y="1"/>
                      <a:pt x="6" y="3"/>
                      <a:pt x="7" y="3"/>
                    </a:cubicBezTo>
                    <a:cubicBezTo>
                      <a:pt x="7" y="2"/>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350"/>
              <p:cNvSpPr/>
              <p:nvPr/>
            </p:nvSpPr>
            <p:spPr bwMode="auto">
              <a:xfrm>
                <a:off x="5112" y="2878"/>
                <a:ext cx="7" cy="7"/>
              </a:xfrm>
              <a:custGeom>
                <a:gdLst>
                  <a:gd name="T0" fmla="*/ 0 w 3"/>
                  <a:gd name="T1" fmla="*/ 0 h 3"/>
                  <a:gd name="T2" fmla="*/ 1 w 3"/>
                  <a:gd name="T3" fmla="*/ 3 h 3"/>
                  <a:gd name="T4" fmla="*/ 0 w 3"/>
                  <a:gd name="T5" fmla="*/ 0 h 3"/>
                </a:gdLst>
                <a:cxnLst>
                  <a:cxn ang="0">
                    <a:pos x="T0" y="T1"/>
                  </a:cxn>
                  <a:cxn ang="0">
                    <a:pos x="T2" y="T3"/>
                  </a:cxn>
                  <a:cxn ang="0">
                    <a:pos x="T4" y="T5"/>
                  </a:cxn>
                </a:cxnLst>
                <a:rect l="0" t="0" r="r" b="b"/>
                <a:pathLst>
                  <a:path w="3" h="3">
                    <a:moveTo>
                      <a:pt x="0" y="0"/>
                    </a:moveTo>
                    <a:cubicBezTo>
                      <a:pt x="0" y="3"/>
                      <a:pt x="1" y="3"/>
                      <a:pt x="1" y="3"/>
                    </a:cubicBezTo>
                    <a:cubicBezTo>
                      <a:pt x="2"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351"/>
              <p:cNvSpPr/>
              <p:nvPr/>
            </p:nvSpPr>
            <p:spPr bwMode="auto">
              <a:xfrm>
                <a:off x="5204" y="2809"/>
                <a:ext cx="10" cy="15"/>
              </a:xfrm>
              <a:custGeom>
                <a:gdLst>
                  <a:gd name="T0" fmla="*/ 2 w 4"/>
                  <a:gd name="T1" fmla="*/ 0 h 6"/>
                  <a:gd name="T2" fmla="*/ 0 w 4"/>
                  <a:gd name="T3" fmla="*/ 6 h 6"/>
                  <a:gd name="T4" fmla="*/ 3 w 4"/>
                  <a:gd name="T5" fmla="*/ 5 h 6"/>
                  <a:gd name="T6" fmla="*/ 4 w 4"/>
                  <a:gd name="T7" fmla="*/ 6 h 6"/>
                  <a:gd name="T8" fmla="*/ 4 w 4"/>
                  <a:gd name="T9" fmla="*/ 3 h 6"/>
                  <a:gd name="T10" fmla="*/ 4 w 4"/>
                  <a:gd name="T11" fmla="*/ 3 h 6"/>
                  <a:gd name="T12" fmla="*/ 2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1" y="2"/>
                      <a:pt x="1" y="4"/>
                      <a:pt x="0" y="6"/>
                    </a:cubicBezTo>
                    <a:cubicBezTo>
                      <a:pt x="1" y="6"/>
                      <a:pt x="2" y="5"/>
                      <a:pt x="3" y="5"/>
                    </a:cubicBezTo>
                    <a:cubicBezTo>
                      <a:pt x="3" y="5"/>
                      <a:pt x="3" y="5"/>
                      <a:pt x="4" y="6"/>
                    </a:cubicBezTo>
                    <a:cubicBezTo>
                      <a:pt x="3" y="4"/>
                      <a:pt x="3" y="3"/>
                      <a:pt x="4" y="3"/>
                    </a:cubicBezTo>
                    <a:cubicBezTo>
                      <a:pt x="4" y="3"/>
                      <a:pt x="4" y="3"/>
                      <a:pt x="4" y="3"/>
                    </a:cubicBezTo>
                    <a:cubicBezTo>
                      <a:pt x="4" y="2"/>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352"/>
              <p:cNvSpPr/>
              <p:nvPr/>
            </p:nvSpPr>
            <p:spPr bwMode="auto">
              <a:xfrm>
                <a:off x="4666" y="3084"/>
                <a:ext cx="7" cy="4"/>
              </a:xfrm>
              <a:custGeom>
                <a:gdLst>
                  <a:gd name="T0" fmla="*/ 2 w 3"/>
                  <a:gd name="T1" fmla="*/ 0 h 2"/>
                  <a:gd name="T2" fmla="*/ 0 w 3"/>
                  <a:gd name="T3" fmla="*/ 1 h 2"/>
                  <a:gd name="T4" fmla="*/ 3 w 3"/>
                  <a:gd name="T5" fmla="*/ 2 h 2"/>
                  <a:gd name="T6" fmla="*/ 2 w 3"/>
                  <a:gd name="T7" fmla="*/ 0 h 2"/>
                  <a:gd name="T8" fmla="*/ 2 w 3"/>
                  <a:gd name="T9" fmla="*/ 0 h 2"/>
                </a:gdLst>
                <a:cxnLst>
                  <a:cxn ang="0">
                    <a:pos x="T0" y="T1"/>
                  </a:cxn>
                  <a:cxn ang="0">
                    <a:pos x="T2" y="T3"/>
                  </a:cxn>
                  <a:cxn ang="0">
                    <a:pos x="T4" y="T5"/>
                  </a:cxn>
                  <a:cxn ang="0">
                    <a:pos x="T6" y="T7"/>
                  </a:cxn>
                  <a:cxn ang="0">
                    <a:pos x="T8" y="T9"/>
                  </a:cxn>
                </a:cxnLst>
                <a:rect l="0" t="0" r="r" b="b"/>
                <a:pathLst>
                  <a:path w="3" h="2">
                    <a:moveTo>
                      <a:pt x="2" y="0"/>
                    </a:moveTo>
                    <a:cubicBezTo>
                      <a:pt x="1" y="0"/>
                      <a:pt x="0" y="1"/>
                      <a:pt x="0" y="1"/>
                    </a:cubicBezTo>
                    <a:cubicBezTo>
                      <a:pt x="0" y="2"/>
                      <a:pt x="1" y="2"/>
                      <a:pt x="3" y="2"/>
                    </a:cubicBezTo>
                    <a:cubicBezTo>
                      <a:pt x="2" y="2"/>
                      <a:pt x="2"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353"/>
              <p:cNvSpPr/>
              <p:nvPr/>
            </p:nvSpPr>
            <p:spPr bwMode="auto">
              <a:xfrm>
                <a:off x="3957" y="3861"/>
                <a:ext cx="12" cy="22"/>
              </a:xfrm>
              <a:custGeom>
                <a:gdLst>
                  <a:gd name="T0" fmla="*/ 2 w 5"/>
                  <a:gd name="T1" fmla="*/ 0 h 9"/>
                  <a:gd name="T2" fmla="*/ 0 w 5"/>
                  <a:gd name="T3" fmla="*/ 7 h 9"/>
                  <a:gd name="T4" fmla="*/ 1 w 5"/>
                  <a:gd name="T5" fmla="*/ 9 h 9"/>
                  <a:gd name="T6" fmla="*/ 1 w 5"/>
                  <a:gd name="T7" fmla="*/ 9 h 9"/>
                  <a:gd name="T8" fmla="*/ 4 w 5"/>
                  <a:gd name="T9" fmla="*/ 7 h 9"/>
                  <a:gd name="T10" fmla="*/ 2 w 5"/>
                  <a:gd name="T11" fmla="*/ 0 h 9"/>
                </a:gdLst>
                <a:cxnLst>
                  <a:cxn ang="0">
                    <a:pos x="T0" y="T1"/>
                  </a:cxn>
                  <a:cxn ang="0">
                    <a:pos x="T2" y="T3"/>
                  </a:cxn>
                  <a:cxn ang="0">
                    <a:pos x="T4" y="T5"/>
                  </a:cxn>
                  <a:cxn ang="0">
                    <a:pos x="T6" y="T7"/>
                  </a:cxn>
                  <a:cxn ang="0">
                    <a:pos x="T8" y="T9"/>
                  </a:cxn>
                  <a:cxn ang="0">
                    <a:pos x="T10" y="T11"/>
                  </a:cxn>
                </a:cxnLst>
                <a:rect l="0" t="0" r="r" b="b"/>
                <a:pathLst>
                  <a:path w="5" h="9">
                    <a:moveTo>
                      <a:pt x="2" y="0"/>
                    </a:moveTo>
                    <a:cubicBezTo>
                      <a:pt x="0" y="1"/>
                      <a:pt x="0" y="5"/>
                      <a:pt x="0" y="7"/>
                    </a:cubicBezTo>
                    <a:cubicBezTo>
                      <a:pt x="0" y="7"/>
                      <a:pt x="1" y="9"/>
                      <a:pt x="1" y="9"/>
                    </a:cubicBezTo>
                    <a:cubicBezTo>
                      <a:pt x="1" y="9"/>
                      <a:pt x="1" y="9"/>
                      <a:pt x="1" y="9"/>
                    </a:cubicBezTo>
                    <a:cubicBezTo>
                      <a:pt x="2" y="9"/>
                      <a:pt x="4" y="7"/>
                      <a:pt x="4" y="7"/>
                    </a:cubicBezTo>
                    <a:cubicBezTo>
                      <a:pt x="5" y="5"/>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354"/>
              <p:cNvSpPr/>
              <p:nvPr/>
            </p:nvSpPr>
            <p:spPr bwMode="auto">
              <a:xfrm flipH="1">
                <a:off x="3978" y="3859"/>
                <a:ext cx="0" cy="7"/>
              </a:xfrm>
              <a:custGeom>
                <a:gdLst>
                  <a:gd name="T0" fmla="*/ 0 h 3"/>
                  <a:gd name="T1" fmla="*/ 3 h 3"/>
                  <a:gd name="T2" fmla="*/ 1 h 3"/>
                  <a:gd name="T3" fmla="*/ 0 h 3"/>
                </a:gdLst>
                <a:cxnLst>
                  <a:cxn ang="0">
                    <a:pos x="0" y="T0"/>
                  </a:cxn>
                  <a:cxn ang="0">
                    <a:pos x="0" y="T1"/>
                  </a:cxn>
                  <a:cxn ang="0">
                    <a:pos x="0" y="T2"/>
                  </a:cxn>
                  <a:cxn ang="0">
                    <a:pos x="0" y="T3"/>
                  </a:cxn>
                </a:cxnLst>
                <a:rect l="0" t="0" r="r" b="b"/>
                <a:pathLst>
                  <a:path h="3">
                    <a:moveTo>
                      <a:pt x="0" y="0"/>
                    </a:moveTo>
                    <a:cubicBezTo>
                      <a:pt x="0" y="1"/>
                      <a:pt x="0" y="2"/>
                      <a:pt x="0" y="3"/>
                    </a:cubicBezTo>
                    <a:cubicBezTo>
                      <a:pt x="0" y="2"/>
                      <a:pt x="0" y="1"/>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355"/>
              <p:cNvSpPr/>
              <p:nvPr/>
            </p:nvSpPr>
            <p:spPr bwMode="auto">
              <a:xfrm>
                <a:off x="4070" y="4020"/>
                <a:ext cx="10" cy="7"/>
              </a:xfrm>
              <a:custGeom>
                <a:gdLst>
                  <a:gd name="T0" fmla="*/ 2 w 4"/>
                  <a:gd name="T1" fmla="*/ 0 h 3"/>
                  <a:gd name="T2" fmla="*/ 0 w 4"/>
                  <a:gd name="T3" fmla="*/ 2 h 3"/>
                  <a:gd name="T4" fmla="*/ 1 w 4"/>
                  <a:gd name="T5" fmla="*/ 3 h 3"/>
                  <a:gd name="T6" fmla="*/ 3 w 4"/>
                  <a:gd name="T7" fmla="*/ 0 h 3"/>
                  <a:gd name="T8" fmla="*/ 2 w 4"/>
                  <a:gd name="T9" fmla="*/ 0 h 3"/>
                </a:gdLst>
                <a:cxnLst>
                  <a:cxn ang="0">
                    <a:pos x="T0" y="T1"/>
                  </a:cxn>
                  <a:cxn ang="0">
                    <a:pos x="T2" y="T3"/>
                  </a:cxn>
                  <a:cxn ang="0">
                    <a:pos x="T4" y="T5"/>
                  </a:cxn>
                  <a:cxn ang="0">
                    <a:pos x="T6" y="T7"/>
                  </a:cxn>
                  <a:cxn ang="0">
                    <a:pos x="T8" y="T9"/>
                  </a:cxn>
                </a:cxnLst>
                <a:rect l="0" t="0" r="r" b="b"/>
                <a:pathLst>
                  <a:path w="4" h="3">
                    <a:moveTo>
                      <a:pt x="2" y="0"/>
                    </a:moveTo>
                    <a:cubicBezTo>
                      <a:pt x="1" y="0"/>
                      <a:pt x="0" y="1"/>
                      <a:pt x="0" y="2"/>
                    </a:cubicBezTo>
                    <a:cubicBezTo>
                      <a:pt x="0" y="3"/>
                      <a:pt x="1" y="3"/>
                      <a:pt x="1" y="3"/>
                    </a:cubicBezTo>
                    <a:cubicBezTo>
                      <a:pt x="3" y="3"/>
                      <a:pt x="4"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356"/>
              <p:cNvSpPr/>
              <p:nvPr/>
            </p:nvSpPr>
            <p:spPr bwMode="auto">
              <a:xfrm>
                <a:off x="4188" y="3627"/>
                <a:ext cx="12" cy="10"/>
              </a:xfrm>
              <a:custGeom>
                <a:gdLst>
                  <a:gd name="T0" fmla="*/ 0 w 5"/>
                  <a:gd name="T1" fmla="*/ 0 h 4"/>
                  <a:gd name="T2" fmla="*/ 2 w 5"/>
                  <a:gd name="T3" fmla="*/ 4 h 4"/>
                  <a:gd name="T4" fmla="*/ 5 w 5"/>
                  <a:gd name="T5" fmla="*/ 3 h 4"/>
                  <a:gd name="T6" fmla="*/ 0 w 5"/>
                  <a:gd name="T7" fmla="*/ 0 h 4"/>
                </a:gdLst>
                <a:cxnLst>
                  <a:cxn ang="0">
                    <a:pos x="T0" y="T1"/>
                  </a:cxn>
                  <a:cxn ang="0">
                    <a:pos x="T2" y="T3"/>
                  </a:cxn>
                  <a:cxn ang="0">
                    <a:pos x="T4" y="T5"/>
                  </a:cxn>
                  <a:cxn ang="0">
                    <a:pos x="T6" y="T7"/>
                  </a:cxn>
                </a:cxnLst>
                <a:rect l="0" t="0" r="r" b="b"/>
                <a:pathLst>
                  <a:path w="5" h="4">
                    <a:moveTo>
                      <a:pt x="0" y="0"/>
                    </a:moveTo>
                    <a:cubicBezTo>
                      <a:pt x="1" y="1"/>
                      <a:pt x="1" y="3"/>
                      <a:pt x="2" y="4"/>
                    </a:cubicBezTo>
                    <a:cubicBezTo>
                      <a:pt x="2" y="4"/>
                      <a:pt x="4" y="3"/>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9" name="Freeform 357"/>
              <p:cNvSpPr/>
              <p:nvPr/>
            </p:nvSpPr>
            <p:spPr bwMode="auto">
              <a:xfrm>
                <a:off x="4002" y="3892"/>
                <a:ext cx="4" cy="10"/>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1" y="1"/>
                      <a:pt x="1" y="3"/>
                      <a:pt x="2"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358"/>
              <p:cNvSpPr/>
              <p:nvPr/>
            </p:nvSpPr>
            <p:spPr bwMode="auto">
              <a:xfrm>
                <a:off x="4058" y="3764"/>
                <a:ext cx="5" cy="8"/>
              </a:xfrm>
              <a:custGeom>
                <a:gdLst>
                  <a:gd name="T0" fmla="*/ 0 w 2"/>
                  <a:gd name="T1" fmla="*/ 0 h 3"/>
                  <a:gd name="T2" fmla="*/ 0 w 2"/>
                  <a:gd name="T3" fmla="*/ 0 h 3"/>
                  <a:gd name="T4" fmla="*/ 2 w 2"/>
                  <a:gd name="T5" fmla="*/ 3 h 3"/>
                  <a:gd name="T6" fmla="*/ 0 w 2"/>
                  <a:gd name="T7" fmla="*/ 0 h 3"/>
                </a:gdLst>
                <a:cxnLst>
                  <a:cxn ang="0">
                    <a:pos x="T0" y="T1"/>
                  </a:cxn>
                  <a:cxn ang="0">
                    <a:pos x="T2" y="T3"/>
                  </a:cxn>
                  <a:cxn ang="0">
                    <a:pos x="T4" y="T5"/>
                  </a:cxn>
                  <a:cxn ang="0">
                    <a:pos x="T6" y="T7"/>
                  </a:cxn>
                </a:cxnLst>
                <a:rect l="0" t="0" r="r" b="b"/>
                <a:pathLst>
                  <a:path w="2" h="3">
                    <a:moveTo>
                      <a:pt x="0" y="0"/>
                    </a:moveTo>
                    <a:cubicBezTo>
                      <a:pt x="0" y="0"/>
                      <a:pt x="0" y="0"/>
                      <a:pt x="0" y="0"/>
                    </a:cubicBezTo>
                    <a:cubicBezTo>
                      <a:pt x="0" y="1"/>
                      <a:pt x="1" y="2"/>
                      <a:pt x="2" y="3"/>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1" name="Freeform 359"/>
              <p:cNvSpPr/>
              <p:nvPr/>
            </p:nvSpPr>
            <p:spPr bwMode="auto">
              <a:xfrm>
                <a:off x="4035" y="3946"/>
                <a:ext cx="4" cy="12"/>
              </a:xfrm>
              <a:custGeom>
                <a:gdLst>
                  <a:gd name="T0" fmla="*/ 2 w 2"/>
                  <a:gd name="T1" fmla="*/ 0 h 5"/>
                  <a:gd name="T2" fmla="*/ 1 w 2"/>
                  <a:gd name="T3" fmla="*/ 5 h 5"/>
                  <a:gd name="T4" fmla="*/ 2 w 2"/>
                  <a:gd name="T5" fmla="*/ 0 h 5"/>
                </a:gdLst>
                <a:cxnLst>
                  <a:cxn ang="0">
                    <a:pos x="T0" y="T1"/>
                  </a:cxn>
                  <a:cxn ang="0">
                    <a:pos x="T2" y="T3"/>
                  </a:cxn>
                  <a:cxn ang="0">
                    <a:pos x="T4" y="T5"/>
                  </a:cxn>
                </a:cxnLst>
                <a:rect l="0" t="0" r="r" b="b"/>
                <a:pathLst>
                  <a:path w="2" h="5">
                    <a:moveTo>
                      <a:pt x="2" y="0"/>
                    </a:moveTo>
                    <a:cubicBezTo>
                      <a:pt x="1" y="2"/>
                      <a:pt x="0" y="2"/>
                      <a:pt x="1" y="5"/>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360"/>
              <p:cNvSpPr/>
              <p:nvPr/>
            </p:nvSpPr>
            <p:spPr bwMode="auto">
              <a:xfrm flipH="1">
                <a:off x="3976" y="3871"/>
                <a:ext cx="0" cy="5"/>
              </a:xfrm>
              <a:custGeom>
                <a:gdLst>
                  <a:gd name="T0" fmla="*/ 0 h 2"/>
                  <a:gd name="T1" fmla="*/ 2 h 2"/>
                  <a:gd name="T2" fmla="*/ 0 h 2"/>
                </a:gdLst>
                <a:cxnLst>
                  <a:cxn ang="0">
                    <a:pos x="0" y="T0"/>
                  </a:cxn>
                  <a:cxn ang="0">
                    <a:pos x="0" y="T1"/>
                  </a:cxn>
                  <a:cxn ang="0">
                    <a:pos x="0" y="T2"/>
                  </a:cxn>
                </a:cxnLst>
                <a:rect l="0" t="0" r="r" b="b"/>
                <a:pathLst>
                  <a:path h="2">
                    <a:moveTo>
                      <a:pt x="0" y="0"/>
                    </a:moveTo>
                    <a:cubicBezTo>
                      <a:pt x="0" y="1"/>
                      <a:pt x="0" y="1"/>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3" name="Freeform 361"/>
              <p:cNvSpPr/>
              <p:nvPr/>
            </p:nvSpPr>
            <p:spPr bwMode="auto">
              <a:xfrm>
                <a:off x="4051" y="3776"/>
                <a:ext cx="14" cy="12"/>
              </a:xfrm>
              <a:custGeom>
                <a:gdLst>
                  <a:gd name="T0" fmla="*/ 4 w 6"/>
                  <a:gd name="T1" fmla="*/ 0 h 5"/>
                  <a:gd name="T2" fmla="*/ 2 w 6"/>
                  <a:gd name="T3" fmla="*/ 0 h 5"/>
                  <a:gd name="T4" fmla="*/ 2 w 6"/>
                  <a:gd name="T5" fmla="*/ 5 h 5"/>
                  <a:gd name="T6" fmla="*/ 5 w 6"/>
                  <a:gd name="T7" fmla="*/ 1 h 5"/>
                  <a:gd name="T8" fmla="*/ 4 w 6"/>
                  <a:gd name="T9" fmla="*/ 0 h 5"/>
                </a:gdLst>
                <a:cxnLst>
                  <a:cxn ang="0">
                    <a:pos x="T0" y="T1"/>
                  </a:cxn>
                  <a:cxn ang="0">
                    <a:pos x="T2" y="T3"/>
                  </a:cxn>
                  <a:cxn ang="0">
                    <a:pos x="T4" y="T5"/>
                  </a:cxn>
                  <a:cxn ang="0">
                    <a:pos x="T6" y="T7"/>
                  </a:cxn>
                  <a:cxn ang="0">
                    <a:pos x="T8" y="T9"/>
                  </a:cxn>
                </a:cxnLst>
                <a:rect l="0" t="0" r="r" b="b"/>
                <a:pathLst>
                  <a:path w="6" h="5">
                    <a:moveTo>
                      <a:pt x="4" y="0"/>
                    </a:moveTo>
                    <a:cubicBezTo>
                      <a:pt x="3" y="0"/>
                      <a:pt x="3" y="0"/>
                      <a:pt x="2" y="0"/>
                    </a:cubicBezTo>
                    <a:cubicBezTo>
                      <a:pt x="0" y="1"/>
                      <a:pt x="2" y="3"/>
                      <a:pt x="2" y="5"/>
                    </a:cubicBezTo>
                    <a:cubicBezTo>
                      <a:pt x="3" y="4"/>
                      <a:pt x="6" y="2"/>
                      <a:pt x="5"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362"/>
              <p:cNvSpPr/>
              <p:nvPr/>
            </p:nvSpPr>
            <p:spPr bwMode="auto">
              <a:xfrm>
                <a:off x="4205" y="3649"/>
                <a:ext cx="5" cy="11"/>
              </a:xfrm>
              <a:custGeom>
                <a:gdLst>
                  <a:gd name="T0" fmla="*/ 1 w 2"/>
                  <a:gd name="T1" fmla="*/ 0 h 5"/>
                  <a:gd name="T2" fmla="*/ 2 w 2"/>
                  <a:gd name="T3" fmla="*/ 5 h 5"/>
                  <a:gd name="T4" fmla="*/ 1 w 2"/>
                  <a:gd name="T5" fmla="*/ 0 h 5"/>
                </a:gdLst>
                <a:cxnLst>
                  <a:cxn ang="0">
                    <a:pos x="T0" y="T1"/>
                  </a:cxn>
                  <a:cxn ang="0">
                    <a:pos x="T2" y="T3"/>
                  </a:cxn>
                  <a:cxn ang="0">
                    <a:pos x="T4" y="T5"/>
                  </a:cxn>
                </a:cxnLst>
                <a:rect l="0" t="0" r="r" b="b"/>
                <a:pathLst>
                  <a:path w="2" h="5">
                    <a:moveTo>
                      <a:pt x="1" y="0"/>
                    </a:moveTo>
                    <a:cubicBezTo>
                      <a:pt x="0" y="2"/>
                      <a:pt x="0" y="4"/>
                      <a:pt x="2" y="5"/>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5" name="Freeform 363"/>
              <p:cNvSpPr/>
              <p:nvPr/>
            </p:nvSpPr>
            <p:spPr bwMode="auto">
              <a:xfrm>
                <a:off x="2877" y="3762"/>
                <a:ext cx="127" cy="229"/>
              </a:xfrm>
              <a:custGeom>
                <a:gdLst>
                  <a:gd name="T0" fmla="*/ 11 w 54"/>
                  <a:gd name="T1" fmla="*/ 0 h 97"/>
                  <a:gd name="T2" fmla="*/ 18 w 54"/>
                  <a:gd name="T3" fmla="*/ 6 h 97"/>
                  <a:gd name="T4" fmla="*/ 13 w 54"/>
                  <a:gd name="T5" fmla="*/ 2 h 97"/>
                  <a:gd name="T6" fmla="*/ 10 w 54"/>
                  <a:gd name="T7" fmla="*/ 5 h 97"/>
                  <a:gd name="T8" fmla="*/ 12 w 54"/>
                  <a:gd name="T9" fmla="*/ 5 h 97"/>
                  <a:gd name="T10" fmla="*/ 17 w 54"/>
                  <a:gd name="T11" fmla="*/ 8 h 97"/>
                  <a:gd name="T12" fmla="*/ 18 w 54"/>
                  <a:gd name="T13" fmla="*/ 9 h 97"/>
                  <a:gd name="T14" fmla="*/ 16 w 54"/>
                  <a:gd name="T15" fmla="*/ 9 h 97"/>
                  <a:gd name="T16" fmla="*/ 14 w 54"/>
                  <a:gd name="T17" fmla="*/ 9 h 97"/>
                  <a:gd name="T18" fmla="*/ 9 w 54"/>
                  <a:gd name="T19" fmla="*/ 6 h 97"/>
                  <a:gd name="T20" fmla="*/ 9 w 54"/>
                  <a:gd name="T21" fmla="*/ 6 h 97"/>
                  <a:gd name="T22" fmla="*/ 10 w 54"/>
                  <a:gd name="T23" fmla="*/ 15 h 97"/>
                  <a:gd name="T24" fmla="*/ 5 w 54"/>
                  <a:gd name="T25" fmla="*/ 22 h 97"/>
                  <a:gd name="T26" fmla="*/ 5 w 54"/>
                  <a:gd name="T27" fmla="*/ 32 h 97"/>
                  <a:gd name="T28" fmla="*/ 3 w 54"/>
                  <a:gd name="T29" fmla="*/ 41 h 97"/>
                  <a:gd name="T30" fmla="*/ 1 w 54"/>
                  <a:gd name="T31" fmla="*/ 44 h 97"/>
                  <a:gd name="T32" fmla="*/ 0 w 54"/>
                  <a:gd name="T33" fmla="*/ 44 h 97"/>
                  <a:gd name="T34" fmla="*/ 2 w 54"/>
                  <a:gd name="T35" fmla="*/ 52 h 97"/>
                  <a:gd name="T36" fmla="*/ 3 w 54"/>
                  <a:gd name="T37" fmla="*/ 63 h 97"/>
                  <a:gd name="T38" fmla="*/ 5 w 54"/>
                  <a:gd name="T39" fmla="*/ 72 h 97"/>
                  <a:gd name="T40" fmla="*/ 8 w 54"/>
                  <a:gd name="T41" fmla="*/ 84 h 97"/>
                  <a:gd name="T42" fmla="*/ 10 w 54"/>
                  <a:gd name="T43" fmla="*/ 91 h 97"/>
                  <a:gd name="T44" fmla="*/ 16 w 54"/>
                  <a:gd name="T45" fmla="*/ 95 h 97"/>
                  <a:gd name="T46" fmla="*/ 22 w 54"/>
                  <a:gd name="T47" fmla="*/ 97 h 97"/>
                  <a:gd name="T48" fmla="*/ 32 w 54"/>
                  <a:gd name="T49" fmla="*/ 92 h 97"/>
                  <a:gd name="T50" fmla="*/ 49 w 54"/>
                  <a:gd name="T51" fmla="*/ 83 h 97"/>
                  <a:gd name="T52" fmla="*/ 53 w 54"/>
                  <a:gd name="T53" fmla="*/ 73 h 97"/>
                  <a:gd name="T54" fmla="*/ 52 w 54"/>
                  <a:gd name="T55" fmla="*/ 59 h 97"/>
                  <a:gd name="T56" fmla="*/ 52 w 54"/>
                  <a:gd name="T57" fmla="*/ 59 h 97"/>
                  <a:gd name="T58" fmla="*/ 45 w 54"/>
                  <a:gd name="T59" fmla="*/ 47 h 97"/>
                  <a:gd name="T60" fmla="*/ 43 w 54"/>
                  <a:gd name="T61" fmla="*/ 40 h 97"/>
                  <a:gd name="T62" fmla="*/ 35 w 54"/>
                  <a:gd name="T63" fmla="*/ 28 h 97"/>
                  <a:gd name="T64" fmla="*/ 31 w 54"/>
                  <a:gd name="T65" fmla="*/ 22 h 97"/>
                  <a:gd name="T66" fmla="*/ 24 w 54"/>
                  <a:gd name="T67" fmla="*/ 11 h 97"/>
                  <a:gd name="T68" fmla="*/ 19 w 54"/>
                  <a:gd name="T69" fmla="*/ 6 h 97"/>
                  <a:gd name="T70" fmla="*/ 12 w 54"/>
                  <a:gd name="T71" fmla="*/ 0 h 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97">
                    <a:moveTo>
                      <a:pt x="12" y="0"/>
                    </a:moveTo>
                    <a:cubicBezTo>
                      <a:pt x="12" y="0"/>
                      <a:pt x="12" y="0"/>
                      <a:pt x="11" y="0"/>
                    </a:cubicBezTo>
                    <a:cubicBezTo>
                      <a:pt x="12" y="1"/>
                      <a:pt x="13" y="2"/>
                      <a:pt x="13" y="2"/>
                    </a:cubicBezTo>
                    <a:cubicBezTo>
                      <a:pt x="15" y="4"/>
                      <a:pt x="16" y="5"/>
                      <a:pt x="18" y="6"/>
                    </a:cubicBezTo>
                    <a:cubicBezTo>
                      <a:pt x="16" y="6"/>
                      <a:pt x="15" y="4"/>
                      <a:pt x="13" y="2"/>
                    </a:cubicBezTo>
                    <a:cubicBezTo>
                      <a:pt x="13" y="2"/>
                      <a:pt x="13" y="2"/>
                      <a:pt x="13" y="2"/>
                    </a:cubicBezTo>
                    <a:cubicBezTo>
                      <a:pt x="11" y="1"/>
                      <a:pt x="9" y="1"/>
                      <a:pt x="7" y="1"/>
                    </a:cubicBezTo>
                    <a:cubicBezTo>
                      <a:pt x="7" y="1"/>
                      <a:pt x="9" y="4"/>
                      <a:pt x="10" y="5"/>
                    </a:cubicBezTo>
                    <a:cubicBezTo>
                      <a:pt x="11" y="6"/>
                      <a:pt x="12" y="6"/>
                      <a:pt x="12" y="6"/>
                    </a:cubicBezTo>
                    <a:cubicBezTo>
                      <a:pt x="12" y="6"/>
                      <a:pt x="12" y="6"/>
                      <a:pt x="12" y="5"/>
                    </a:cubicBezTo>
                    <a:cubicBezTo>
                      <a:pt x="14" y="6"/>
                      <a:pt x="16" y="7"/>
                      <a:pt x="17" y="8"/>
                    </a:cubicBezTo>
                    <a:cubicBezTo>
                      <a:pt x="17" y="8"/>
                      <a:pt x="17" y="8"/>
                      <a:pt x="17" y="8"/>
                    </a:cubicBezTo>
                    <a:cubicBezTo>
                      <a:pt x="19" y="8"/>
                      <a:pt x="21" y="8"/>
                      <a:pt x="22" y="10"/>
                    </a:cubicBezTo>
                    <a:cubicBezTo>
                      <a:pt x="21" y="9"/>
                      <a:pt x="19" y="9"/>
                      <a:pt x="18" y="9"/>
                    </a:cubicBezTo>
                    <a:cubicBezTo>
                      <a:pt x="17" y="9"/>
                      <a:pt x="17" y="9"/>
                      <a:pt x="17" y="9"/>
                    </a:cubicBezTo>
                    <a:cubicBezTo>
                      <a:pt x="16" y="9"/>
                      <a:pt x="16" y="9"/>
                      <a:pt x="16" y="9"/>
                    </a:cubicBezTo>
                    <a:cubicBezTo>
                      <a:pt x="16" y="9"/>
                      <a:pt x="15" y="10"/>
                      <a:pt x="15" y="10"/>
                    </a:cubicBezTo>
                    <a:cubicBezTo>
                      <a:pt x="14" y="10"/>
                      <a:pt x="14" y="9"/>
                      <a:pt x="14" y="9"/>
                    </a:cubicBezTo>
                    <a:cubicBezTo>
                      <a:pt x="13" y="9"/>
                      <a:pt x="15" y="9"/>
                      <a:pt x="14" y="8"/>
                    </a:cubicBezTo>
                    <a:cubicBezTo>
                      <a:pt x="12" y="8"/>
                      <a:pt x="11" y="7"/>
                      <a:pt x="9" y="6"/>
                    </a:cubicBezTo>
                    <a:cubicBezTo>
                      <a:pt x="9" y="6"/>
                      <a:pt x="9" y="6"/>
                      <a:pt x="9" y="6"/>
                    </a:cubicBezTo>
                    <a:cubicBezTo>
                      <a:pt x="9" y="6"/>
                      <a:pt x="9" y="6"/>
                      <a:pt x="9" y="6"/>
                    </a:cubicBezTo>
                    <a:cubicBezTo>
                      <a:pt x="10" y="7"/>
                      <a:pt x="13" y="8"/>
                      <a:pt x="12" y="9"/>
                    </a:cubicBezTo>
                    <a:cubicBezTo>
                      <a:pt x="9" y="12"/>
                      <a:pt x="9" y="11"/>
                      <a:pt x="10" y="15"/>
                    </a:cubicBezTo>
                    <a:cubicBezTo>
                      <a:pt x="10" y="16"/>
                      <a:pt x="10" y="16"/>
                      <a:pt x="10" y="16"/>
                    </a:cubicBezTo>
                    <a:cubicBezTo>
                      <a:pt x="9" y="18"/>
                      <a:pt x="6" y="20"/>
                      <a:pt x="5" y="22"/>
                    </a:cubicBezTo>
                    <a:cubicBezTo>
                      <a:pt x="5" y="24"/>
                      <a:pt x="5" y="27"/>
                      <a:pt x="5" y="29"/>
                    </a:cubicBezTo>
                    <a:cubicBezTo>
                      <a:pt x="5" y="30"/>
                      <a:pt x="5" y="31"/>
                      <a:pt x="5" y="32"/>
                    </a:cubicBezTo>
                    <a:cubicBezTo>
                      <a:pt x="5" y="33"/>
                      <a:pt x="5" y="35"/>
                      <a:pt x="5" y="37"/>
                    </a:cubicBezTo>
                    <a:cubicBezTo>
                      <a:pt x="4" y="38"/>
                      <a:pt x="4" y="39"/>
                      <a:pt x="3" y="41"/>
                    </a:cubicBezTo>
                    <a:cubicBezTo>
                      <a:pt x="3" y="43"/>
                      <a:pt x="2" y="44"/>
                      <a:pt x="2" y="46"/>
                    </a:cubicBezTo>
                    <a:cubicBezTo>
                      <a:pt x="1" y="46"/>
                      <a:pt x="1" y="45"/>
                      <a:pt x="1" y="44"/>
                    </a:cubicBezTo>
                    <a:cubicBezTo>
                      <a:pt x="1" y="42"/>
                      <a:pt x="1" y="40"/>
                      <a:pt x="1" y="39"/>
                    </a:cubicBezTo>
                    <a:cubicBezTo>
                      <a:pt x="0" y="41"/>
                      <a:pt x="0" y="42"/>
                      <a:pt x="0" y="44"/>
                    </a:cubicBezTo>
                    <a:cubicBezTo>
                      <a:pt x="1" y="44"/>
                      <a:pt x="1" y="45"/>
                      <a:pt x="1" y="45"/>
                    </a:cubicBezTo>
                    <a:cubicBezTo>
                      <a:pt x="1" y="47"/>
                      <a:pt x="1" y="50"/>
                      <a:pt x="2" y="52"/>
                    </a:cubicBezTo>
                    <a:cubicBezTo>
                      <a:pt x="2" y="55"/>
                      <a:pt x="3" y="58"/>
                      <a:pt x="3" y="60"/>
                    </a:cubicBezTo>
                    <a:cubicBezTo>
                      <a:pt x="3" y="61"/>
                      <a:pt x="3" y="62"/>
                      <a:pt x="3" y="63"/>
                    </a:cubicBezTo>
                    <a:cubicBezTo>
                      <a:pt x="4" y="65"/>
                      <a:pt x="4" y="67"/>
                      <a:pt x="4" y="69"/>
                    </a:cubicBezTo>
                    <a:cubicBezTo>
                      <a:pt x="4" y="70"/>
                      <a:pt x="4" y="71"/>
                      <a:pt x="5" y="72"/>
                    </a:cubicBezTo>
                    <a:cubicBezTo>
                      <a:pt x="5" y="74"/>
                      <a:pt x="5" y="75"/>
                      <a:pt x="5" y="77"/>
                    </a:cubicBezTo>
                    <a:cubicBezTo>
                      <a:pt x="6" y="79"/>
                      <a:pt x="7" y="82"/>
                      <a:pt x="8" y="84"/>
                    </a:cubicBezTo>
                    <a:cubicBezTo>
                      <a:pt x="8" y="86"/>
                      <a:pt x="8" y="87"/>
                      <a:pt x="9" y="89"/>
                    </a:cubicBezTo>
                    <a:cubicBezTo>
                      <a:pt x="10" y="89"/>
                      <a:pt x="10" y="90"/>
                      <a:pt x="10" y="91"/>
                    </a:cubicBezTo>
                    <a:cubicBezTo>
                      <a:pt x="11" y="93"/>
                      <a:pt x="12" y="94"/>
                      <a:pt x="13" y="95"/>
                    </a:cubicBezTo>
                    <a:cubicBezTo>
                      <a:pt x="14" y="95"/>
                      <a:pt x="15" y="95"/>
                      <a:pt x="16" y="95"/>
                    </a:cubicBezTo>
                    <a:cubicBezTo>
                      <a:pt x="17" y="96"/>
                      <a:pt x="19" y="97"/>
                      <a:pt x="22" y="97"/>
                    </a:cubicBezTo>
                    <a:cubicBezTo>
                      <a:pt x="22" y="97"/>
                      <a:pt x="22" y="97"/>
                      <a:pt x="22" y="97"/>
                    </a:cubicBezTo>
                    <a:cubicBezTo>
                      <a:pt x="23" y="97"/>
                      <a:pt x="23" y="97"/>
                      <a:pt x="24" y="97"/>
                    </a:cubicBezTo>
                    <a:cubicBezTo>
                      <a:pt x="27" y="96"/>
                      <a:pt x="30" y="93"/>
                      <a:pt x="32" y="92"/>
                    </a:cubicBezTo>
                    <a:cubicBezTo>
                      <a:pt x="36" y="90"/>
                      <a:pt x="40" y="88"/>
                      <a:pt x="45" y="85"/>
                    </a:cubicBezTo>
                    <a:cubicBezTo>
                      <a:pt x="46" y="85"/>
                      <a:pt x="47" y="84"/>
                      <a:pt x="49" y="83"/>
                    </a:cubicBezTo>
                    <a:cubicBezTo>
                      <a:pt x="50" y="83"/>
                      <a:pt x="51" y="81"/>
                      <a:pt x="52" y="78"/>
                    </a:cubicBezTo>
                    <a:cubicBezTo>
                      <a:pt x="52" y="76"/>
                      <a:pt x="53" y="74"/>
                      <a:pt x="53" y="73"/>
                    </a:cubicBezTo>
                    <a:cubicBezTo>
                      <a:pt x="53" y="72"/>
                      <a:pt x="54" y="69"/>
                      <a:pt x="54" y="67"/>
                    </a:cubicBezTo>
                    <a:cubicBezTo>
                      <a:pt x="54" y="63"/>
                      <a:pt x="53" y="59"/>
                      <a:pt x="52" y="59"/>
                    </a:cubicBezTo>
                    <a:cubicBezTo>
                      <a:pt x="52" y="59"/>
                      <a:pt x="52" y="59"/>
                      <a:pt x="52" y="59"/>
                    </a:cubicBezTo>
                    <a:cubicBezTo>
                      <a:pt x="52" y="59"/>
                      <a:pt x="52" y="59"/>
                      <a:pt x="52" y="59"/>
                    </a:cubicBezTo>
                    <a:cubicBezTo>
                      <a:pt x="50" y="59"/>
                      <a:pt x="49" y="56"/>
                      <a:pt x="48" y="54"/>
                    </a:cubicBezTo>
                    <a:cubicBezTo>
                      <a:pt x="47" y="52"/>
                      <a:pt x="46" y="49"/>
                      <a:pt x="45" y="47"/>
                    </a:cubicBezTo>
                    <a:cubicBezTo>
                      <a:pt x="44" y="44"/>
                      <a:pt x="43" y="41"/>
                      <a:pt x="43" y="40"/>
                    </a:cubicBezTo>
                    <a:cubicBezTo>
                      <a:pt x="43" y="40"/>
                      <a:pt x="43" y="40"/>
                      <a:pt x="43" y="40"/>
                    </a:cubicBezTo>
                    <a:cubicBezTo>
                      <a:pt x="42" y="38"/>
                      <a:pt x="40" y="36"/>
                      <a:pt x="39" y="34"/>
                    </a:cubicBezTo>
                    <a:cubicBezTo>
                      <a:pt x="38" y="32"/>
                      <a:pt x="36" y="30"/>
                      <a:pt x="35" y="28"/>
                    </a:cubicBezTo>
                    <a:cubicBezTo>
                      <a:pt x="34" y="26"/>
                      <a:pt x="32" y="25"/>
                      <a:pt x="31" y="23"/>
                    </a:cubicBezTo>
                    <a:cubicBezTo>
                      <a:pt x="31" y="22"/>
                      <a:pt x="31" y="22"/>
                      <a:pt x="31" y="22"/>
                    </a:cubicBezTo>
                    <a:cubicBezTo>
                      <a:pt x="29" y="20"/>
                      <a:pt x="28" y="19"/>
                      <a:pt x="27" y="17"/>
                    </a:cubicBezTo>
                    <a:cubicBezTo>
                      <a:pt x="26" y="15"/>
                      <a:pt x="25" y="13"/>
                      <a:pt x="24" y="11"/>
                    </a:cubicBezTo>
                    <a:cubicBezTo>
                      <a:pt x="23" y="10"/>
                      <a:pt x="22" y="9"/>
                      <a:pt x="21" y="8"/>
                    </a:cubicBezTo>
                    <a:cubicBezTo>
                      <a:pt x="20" y="7"/>
                      <a:pt x="20" y="7"/>
                      <a:pt x="19" y="6"/>
                    </a:cubicBezTo>
                    <a:cubicBezTo>
                      <a:pt x="17" y="5"/>
                      <a:pt x="16" y="3"/>
                      <a:pt x="14" y="1"/>
                    </a:cubicBezTo>
                    <a:cubicBezTo>
                      <a:pt x="13" y="1"/>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364"/>
              <p:cNvSpPr/>
              <p:nvPr/>
            </p:nvSpPr>
            <p:spPr bwMode="auto">
              <a:xfrm>
                <a:off x="2995" y="3885"/>
                <a:ext cx="5" cy="17"/>
              </a:xfrm>
              <a:custGeom>
                <a:gdLst>
                  <a:gd name="T0" fmla="*/ 0 w 2"/>
                  <a:gd name="T1" fmla="*/ 0 h 7"/>
                  <a:gd name="T2" fmla="*/ 2 w 2"/>
                  <a:gd name="T3" fmla="*/ 7 h 7"/>
                  <a:gd name="T4" fmla="*/ 0 w 2"/>
                  <a:gd name="T5" fmla="*/ 0 h 7"/>
                </a:gdLst>
                <a:cxnLst>
                  <a:cxn ang="0">
                    <a:pos x="T0" y="T1"/>
                  </a:cxn>
                  <a:cxn ang="0">
                    <a:pos x="T2" y="T3"/>
                  </a:cxn>
                  <a:cxn ang="0">
                    <a:pos x="T4" y="T5"/>
                  </a:cxn>
                </a:cxnLst>
                <a:rect l="0" t="0" r="r" b="b"/>
                <a:pathLst>
                  <a:path w="2" h="7">
                    <a:moveTo>
                      <a:pt x="0" y="0"/>
                    </a:moveTo>
                    <a:cubicBezTo>
                      <a:pt x="1" y="2"/>
                      <a:pt x="1" y="4"/>
                      <a:pt x="2" y="7"/>
                    </a:cubicBezTo>
                    <a:cubicBezTo>
                      <a:pt x="2" y="4"/>
                      <a:pt x="1"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7" name="Freeform 365"/>
              <p:cNvSpPr/>
              <p:nvPr/>
            </p:nvSpPr>
            <p:spPr bwMode="auto">
              <a:xfrm>
                <a:off x="2879" y="3805"/>
                <a:ext cx="10" cy="9"/>
              </a:xfrm>
              <a:custGeom>
                <a:gdLst>
                  <a:gd name="T0" fmla="*/ 0 w 4"/>
                  <a:gd name="T1" fmla="*/ 0 h 4"/>
                  <a:gd name="T2" fmla="*/ 4 w 4"/>
                  <a:gd name="T3" fmla="*/ 4 h 4"/>
                  <a:gd name="T4" fmla="*/ 0 w 4"/>
                  <a:gd name="T5" fmla="*/ 0 h 4"/>
                </a:gdLst>
                <a:cxnLst>
                  <a:cxn ang="0">
                    <a:pos x="T0" y="T1"/>
                  </a:cxn>
                  <a:cxn ang="0">
                    <a:pos x="T2" y="T3"/>
                  </a:cxn>
                  <a:cxn ang="0">
                    <a:pos x="T4" y="T5"/>
                  </a:cxn>
                </a:cxnLst>
                <a:rect l="0" t="0" r="r" b="b"/>
                <a:pathLst>
                  <a:path w="4" h="4">
                    <a:moveTo>
                      <a:pt x="0" y="0"/>
                    </a:moveTo>
                    <a:cubicBezTo>
                      <a:pt x="2" y="2"/>
                      <a:pt x="3" y="3"/>
                      <a:pt x="4"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366"/>
              <p:cNvSpPr/>
              <p:nvPr/>
            </p:nvSpPr>
            <p:spPr bwMode="auto">
              <a:xfrm>
                <a:off x="6478" y="812"/>
                <a:ext cx="182" cy="650"/>
              </a:xfrm>
              <a:custGeom>
                <a:gdLst>
                  <a:gd name="T0" fmla="*/ 27 w 77"/>
                  <a:gd name="T1" fmla="*/ 0 h 275"/>
                  <a:gd name="T2" fmla="*/ 25 w 77"/>
                  <a:gd name="T3" fmla="*/ 4 h 275"/>
                  <a:gd name="T4" fmla="*/ 20 w 77"/>
                  <a:gd name="T5" fmla="*/ 4 h 275"/>
                  <a:gd name="T6" fmla="*/ 28 w 77"/>
                  <a:gd name="T7" fmla="*/ 17 h 275"/>
                  <a:gd name="T8" fmla="*/ 27 w 77"/>
                  <a:gd name="T9" fmla="*/ 26 h 275"/>
                  <a:gd name="T10" fmla="*/ 27 w 77"/>
                  <a:gd name="T11" fmla="*/ 26 h 275"/>
                  <a:gd name="T12" fmla="*/ 25 w 77"/>
                  <a:gd name="T13" fmla="*/ 25 h 275"/>
                  <a:gd name="T14" fmla="*/ 24 w 77"/>
                  <a:gd name="T15" fmla="*/ 29 h 275"/>
                  <a:gd name="T16" fmla="*/ 26 w 77"/>
                  <a:gd name="T17" fmla="*/ 30 h 275"/>
                  <a:gd name="T18" fmla="*/ 21 w 77"/>
                  <a:gd name="T19" fmla="*/ 35 h 275"/>
                  <a:gd name="T20" fmla="*/ 16 w 77"/>
                  <a:gd name="T21" fmla="*/ 33 h 275"/>
                  <a:gd name="T22" fmla="*/ 12 w 77"/>
                  <a:gd name="T23" fmla="*/ 31 h 275"/>
                  <a:gd name="T24" fmla="*/ 8 w 77"/>
                  <a:gd name="T25" fmla="*/ 49 h 275"/>
                  <a:gd name="T26" fmla="*/ 5 w 77"/>
                  <a:gd name="T27" fmla="*/ 68 h 275"/>
                  <a:gd name="T28" fmla="*/ 15 w 77"/>
                  <a:gd name="T29" fmla="*/ 107 h 275"/>
                  <a:gd name="T30" fmla="*/ 13 w 77"/>
                  <a:gd name="T31" fmla="*/ 123 h 275"/>
                  <a:gd name="T32" fmla="*/ 11 w 77"/>
                  <a:gd name="T33" fmla="*/ 164 h 275"/>
                  <a:gd name="T34" fmla="*/ 8 w 77"/>
                  <a:gd name="T35" fmla="*/ 189 h 275"/>
                  <a:gd name="T36" fmla="*/ 14 w 77"/>
                  <a:gd name="T37" fmla="*/ 212 h 275"/>
                  <a:gd name="T38" fmla="*/ 11 w 77"/>
                  <a:gd name="T39" fmla="*/ 239 h 275"/>
                  <a:gd name="T40" fmla="*/ 7 w 77"/>
                  <a:gd name="T41" fmla="*/ 262 h 275"/>
                  <a:gd name="T42" fmla="*/ 21 w 77"/>
                  <a:gd name="T43" fmla="*/ 253 h 275"/>
                  <a:gd name="T44" fmla="*/ 31 w 77"/>
                  <a:gd name="T45" fmla="*/ 253 h 275"/>
                  <a:gd name="T46" fmla="*/ 37 w 77"/>
                  <a:gd name="T47" fmla="*/ 253 h 275"/>
                  <a:gd name="T48" fmla="*/ 43 w 77"/>
                  <a:gd name="T49" fmla="*/ 254 h 275"/>
                  <a:gd name="T50" fmla="*/ 45 w 77"/>
                  <a:gd name="T51" fmla="*/ 263 h 275"/>
                  <a:gd name="T52" fmla="*/ 47 w 77"/>
                  <a:gd name="T53" fmla="*/ 266 h 275"/>
                  <a:gd name="T54" fmla="*/ 49 w 77"/>
                  <a:gd name="T55" fmla="*/ 259 h 275"/>
                  <a:gd name="T56" fmla="*/ 43 w 77"/>
                  <a:gd name="T57" fmla="*/ 245 h 275"/>
                  <a:gd name="T58" fmla="*/ 44 w 77"/>
                  <a:gd name="T59" fmla="*/ 250 h 275"/>
                  <a:gd name="T60" fmla="*/ 39 w 77"/>
                  <a:gd name="T61" fmla="*/ 249 h 275"/>
                  <a:gd name="T62" fmla="*/ 38 w 77"/>
                  <a:gd name="T63" fmla="*/ 245 h 275"/>
                  <a:gd name="T64" fmla="*/ 24 w 77"/>
                  <a:gd name="T65" fmla="*/ 210 h 275"/>
                  <a:gd name="T66" fmla="*/ 39 w 77"/>
                  <a:gd name="T67" fmla="*/ 170 h 275"/>
                  <a:gd name="T68" fmla="*/ 45 w 77"/>
                  <a:gd name="T69" fmla="*/ 165 h 275"/>
                  <a:gd name="T70" fmla="*/ 52 w 77"/>
                  <a:gd name="T71" fmla="*/ 168 h 275"/>
                  <a:gd name="T72" fmla="*/ 68 w 77"/>
                  <a:gd name="T73" fmla="*/ 176 h 275"/>
                  <a:gd name="T74" fmla="*/ 76 w 77"/>
                  <a:gd name="T75" fmla="*/ 187 h 275"/>
                  <a:gd name="T76" fmla="*/ 71 w 77"/>
                  <a:gd name="T77" fmla="*/ 178 h 275"/>
                  <a:gd name="T78" fmla="*/ 65 w 77"/>
                  <a:gd name="T79" fmla="*/ 165 h 275"/>
                  <a:gd name="T80" fmla="*/ 63 w 77"/>
                  <a:gd name="T81" fmla="*/ 157 h 275"/>
                  <a:gd name="T82" fmla="*/ 45 w 77"/>
                  <a:gd name="T83" fmla="*/ 102 h 275"/>
                  <a:gd name="T84" fmla="*/ 44 w 77"/>
                  <a:gd name="T85" fmla="*/ 92 h 275"/>
                  <a:gd name="T86" fmla="*/ 43 w 77"/>
                  <a:gd name="T87" fmla="*/ 94 h 275"/>
                  <a:gd name="T88" fmla="*/ 42 w 77"/>
                  <a:gd name="T89" fmla="*/ 96 h 275"/>
                  <a:gd name="T90" fmla="*/ 38 w 77"/>
                  <a:gd name="T91" fmla="*/ 76 h 275"/>
                  <a:gd name="T92" fmla="*/ 39 w 77"/>
                  <a:gd name="T93" fmla="*/ 67 h 275"/>
                  <a:gd name="T94" fmla="*/ 37 w 77"/>
                  <a:gd name="T95" fmla="*/ 40 h 275"/>
                  <a:gd name="T96" fmla="*/ 39 w 77"/>
                  <a:gd name="T97" fmla="*/ 35 h 275"/>
                  <a:gd name="T98" fmla="*/ 42 w 77"/>
                  <a:gd name="T99" fmla="*/ 44 h 275"/>
                  <a:gd name="T100" fmla="*/ 38 w 77"/>
                  <a:gd name="T101" fmla="*/ 31 h 275"/>
                  <a:gd name="T102" fmla="*/ 33 w 77"/>
                  <a:gd name="T103" fmla="*/ 15 h 275"/>
                  <a:gd name="T104" fmla="*/ 31 w 77"/>
                  <a:gd name="T105" fmla="*/ 4 h 2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 h="275">
                    <a:moveTo>
                      <a:pt x="28" y="0"/>
                    </a:moveTo>
                    <a:cubicBezTo>
                      <a:pt x="28" y="0"/>
                      <a:pt x="27" y="0"/>
                      <a:pt x="27" y="0"/>
                    </a:cubicBezTo>
                    <a:cubicBezTo>
                      <a:pt x="26" y="4"/>
                      <a:pt x="26" y="4"/>
                      <a:pt x="26" y="4"/>
                    </a:cubicBezTo>
                    <a:cubicBezTo>
                      <a:pt x="26" y="4"/>
                      <a:pt x="25" y="4"/>
                      <a:pt x="25" y="4"/>
                    </a:cubicBezTo>
                    <a:cubicBezTo>
                      <a:pt x="24" y="4"/>
                      <a:pt x="24" y="4"/>
                      <a:pt x="23" y="4"/>
                    </a:cubicBezTo>
                    <a:cubicBezTo>
                      <a:pt x="22" y="4"/>
                      <a:pt x="21" y="4"/>
                      <a:pt x="20" y="4"/>
                    </a:cubicBezTo>
                    <a:cubicBezTo>
                      <a:pt x="19" y="4"/>
                      <a:pt x="18" y="4"/>
                      <a:pt x="17" y="4"/>
                    </a:cubicBezTo>
                    <a:cubicBezTo>
                      <a:pt x="20" y="7"/>
                      <a:pt x="27" y="13"/>
                      <a:pt x="28" y="17"/>
                    </a:cubicBezTo>
                    <a:cubicBezTo>
                      <a:pt x="28" y="19"/>
                      <a:pt x="25" y="21"/>
                      <a:pt x="26" y="23"/>
                    </a:cubicBezTo>
                    <a:cubicBezTo>
                      <a:pt x="26" y="24"/>
                      <a:pt x="32" y="25"/>
                      <a:pt x="27" y="26"/>
                    </a:cubicBezTo>
                    <a:cubicBezTo>
                      <a:pt x="27" y="26"/>
                      <a:pt x="27" y="26"/>
                      <a:pt x="27" y="26"/>
                    </a:cubicBezTo>
                    <a:cubicBezTo>
                      <a:pt x="27" y="26"/>
                      <a:pt x="27" y="26"/>
                      <a:pt x="27" y="26"/>
                    </a:cubicBezTo>
                    <a:cubicBezTo>
                      <a:pt x="26" y="25"/>
                      <a:pt x="26" y="25"/>
                      <a:pt x="26" y="25"/>
                    </a:cubicBezTo>
                    <a:cubicBezTo>
                      <a:pt x="25" y="25"/>
                      <a:pt x="25" y="25"/>
                      <a:pt x="25" y="25"/>
                    </a:cubicBezTo>
                    <a:cubicBezTo>
                      <a:pt x="24" y="25"/>
                      <a:pt x="23" y="28"/>
                      <a:pt x="23" y="29"/>
                    </a:cubicBezTo>
                    <a:cubicBezTo>
                      <a:pt x="23" y="29"/>
                      <a:pt x="23" y="29"/>
                      <a:pt x="24" y="29"/>
                    </a:cubicBezTo>
                    <a:cubicBezTo>
                      <a:pt x="25" y="29"/>
                      <a:pt x="25" y="29"/>
                      <a:pt x="26" y="30"/>
                    </a:cubicBezTo>
                    <a:cubicBezTo>
                      <a:pt x="26" y="30"/>
                      <a:pt x="26" y="30"/>
                      <a:pt x="26" y="30"/>
                    </a:cubicBezTo>
                    <a:cubicBezTo>
                      <a:pt x="26" y="30"/>
                      <a:pt x="26" y="30"/>
                      <a:pt x="26" y="30"/>
                    </a:cubicBezTo>
                    <a:cubicBezTo>
                      <a:pt x="26" y="30"/>
                      <a:pt x="22" y="34"/>
                      <a:pt x="21" y="35"/>
                    </a:cubicBezTo>
                    <a:cubicBezTo>
                      <a:pt x="20" y="35"/>
                      <a:pt x="20" y="35"/>
                      <a:pt x="19" y="35"/>
                    </a:cubicBezTo>
                    <a:cubicBezTo>
                      <a:pt x="18" y="35"/>
                      <a:pt x="17" y="34"/>
                      <a:pt x="16" y="33"/>
                    </a:cubicBezTo>
                    <a:cubicBezTo>
                      <a:pt x="16" y="31"/>
                      <a:pt x="16" y="30"/>
                      <a:pt x="15" y="30"/>
                    </a:cubicBezTo>
                    <a:cubicBezTo>
                      <a:pt x="14" y="30"/>
                      <a:pt x="14" y="30"/>
                      <a:pt x="12" y="31"/>
                    </a:cubicBezTo>
                    <a:cubicBezTo>
                      <a:pt x="10" y="32"/>
                      <a:pt x="4" y="34"/>
                      <a:pt x="5" y="36"/>
                    </a:cubicBezTo>
                    <a:cubicBezTo>
                      <a:pt x="6" y="40"/>
                      <a:pt x="8" y="44"/>
                      <a:pt x="8" y="49"/>
                    </a:cubicBezTo>
                    <a:cubicBezTo>
                      <a:pt x="7" y="52"/>
                      <a:pt x="7" y="55"/>
                      <a:pt x="6" y="58"/>
                    </a:cubicBezTo>
                    <a:cubicBezTo>
                      <a:pt x="6" y="61"/>
                      <a:pt x="5" y="64"/>
                      <a:pt x="5" y="68"/>
                    </a:cubicBezTo>
                    <a:cubicBezTo>
                      <a:pt x="4" y="73"/>
                      <a:pt x="0" y="82"/>
                      <a:pt x="3" y="87"/>
                    </a:cubicBezTo>
                    <a:cubicBezTo>
                      <a:pt x="7" y="94"/>
                      <a:pt x="11" y="100"/>
                      <a:pt x="15" y="107"/>
                    </a:cubicBezTo>
                    <a:cubicBezTo>
                      <a:pt x="17" y="110"/>
                      <a:pt x="17" y="111"/>
                      <a:pt x="16" y="113"/>
                    </a:cubicBezTo>
                    <a:cubicBezTo>
                      <a:pt x="14" y="117"/>
                      <a:pt x="12" y="118"/>
                      <a:pt x="13" y="123"/>
                    </a:cubicBezTo>
                    <a:cubicBezTo>
                      <a:pt x="13" y="130"/>
                      <a:pt x="14" y="137"/>
                      <a:pt x="14" y="143"/>
                    </a:cubicBezTo>
                    <a:cubicBezTo>
                      <a:pt x="14" y="151"/>
                      <a:pt x="13" y="157"/>
                      <a:pt x="11" y="164"/>
                    </a:cubicBezTo>
                    <a:cubicBezTo>
                      <a:pt x="10" y="170"/>
                      <a:pt x="6" y="179"/>
                      <a:pt x="7" y="186"/>
                    </a:cubicBezTo>
                    <a:cubicBezTo>
                      <a:pt x="7" y="187"/>
                      <a:pt x="7" y="188"/>
                      <a:pt x="8" y="189"/>
                    </a:cubicBezTo>
                    <a:cubicBezTo>
                      <a:pt x="9" y="192"/>
                      <a:pt x="11" y="194"/>
                      <a:pt x="12" y="196"/>
                    </a:cubicBezTo>
                    <a:cubicBezTo>
                      <a:pt x="14" y="200"/>
                      <a:pt x="15" y="208"/>
                      <a:pt x="14" y="212"/>
                    </a:cubicBezTo>
                    <a:cubicBezTo>
                      <a:pt x="13" y="215"/>
                      <a:pt x="9" y="218"/>
                      <a:pt x="9" y="222"/>
                    </a:cubicBezTo>
                    <a:cubicBezTo>
                      <a:pt x="10" y="227"/>
                      <a:pt x="12" y="234"/>
                      <a:pt x="11" y="239"/>
                    </a:cubicBezTo>
                    <a:cubicBezTo>
                      <a:pt x="10" y="245"/>
                      <a:pt x="6" y="250"/>
                      <a:pt x="6" y="256"/>
                    </a:cubicBezTo>
                    <a:cubicBezTo>
                      <a:pt x="6" y="259"/>
                      <a:pt x="7" y="260"/>
                      <a:pt x="7" y="262"/>
                    </a:cubicBezTo>
                    <a:cubicBezTo>
                      <a:pt x="9" y="268"/>
                      <a:pt x="8" y="270"/>
                      <a:pt x="12" y="275"/>
                    </a:cubicBezTo>
                    <a:cubicBezTo>
                      <a:pt x="15" y="268"/>
                      <a:pt x="18" y="260"/>
                      <a:pt x="21" y="253"/>
                    </a:cubicBezTo>
                    <a:cubicBezTo>
                      <a:pt x="22" y="250"/>
                      <a:pt x="25" y="250"/>
                      <a:pt x="28" y="248"/>
                    </a:cubicBezTo>
                    <a:cubicBezTo>
                      <a:pt x="29" y="251"/>
                      <a:pt x="29" y="252"/>
                      <a:pt x="31" y="253"/>
                    </a:cubicBezTo>
                    <a:cubicBezTo>
                      <a:pt x="32" y="253"/>
                      <a:pt x="33" y="254"/>
                      <a:pt x="35" y="254"/>
                    </a:cubicBezTo>
                    <a:cubicBezTo>
                      <a:pt x="35" y="254"/>
                      <a:pt x="36" y="254"/>
                      <a:pt x="37" y="253"/>
                    </a:cubicBezTo>
                    <a:cubicBezTo>
                      <a:pt x="37" y="253"/>
                      <a:pt x="38" y="253"/>
                      <a:pt x="38" y="253"/>
                    </a:cubicBezTo>
                    <a:cubicBezTo>
                      <a:pt x="40" y="253"/>
                      <a:pt x="42" y="254"/>
                      <a:pt x="43" y="254"/>
                    </a:cubicBezTo>
                    <a:cubicBezTo>
                      <a:pt x="45" y="256"/>
                      <a:pt x="43" y="256"/>
                      <a:pt x="43" y="258"/>
                    </a:cubicBezTo>
                    <a:cubicBezTo>
                      <a:pt x="43" y="260"/>
                      <a:pt x="44" y="261"/>
                      <a:pt x="45" y="263"/>
                    </a:cubicBezTo>
                    <a:cubicBezTo>
                      <a:pt x="45" y="265"/>
                      <a:pt x="45" y="268"/>
                      <a:pt x="46" y="270"/>
                    </a:cubicBezTo>
                    <a:cubicBezTo>
                      <a:pt x="47" y="269"/>
                      <a:pt x="46" y="267"/>
                      <a:pt x="47" y="266"/>
                    </a:cubicBezTo>
                    <a:cubicBezTo>
                      <a:pt x="48" y="264"/>
                      <a:pt x="49" y="262"/>
                      <a:pt x="50" y="260"/>
                    </a:cubicBezTo>
                    <a:cubicBezTo>
                      <a:pt x="50" y="259"/>
                      <a:pt x="49" y="260"/>
                      <a:pt x="49" y="259"/>
                    </a:cubicBezTo>
                    <a:cubicBezTo>
                      <a:pt x="49" y="257"/>
                      <a:pt x="48" y="256"/>
                      <a:pt x="48" y="254"/>
                    </a:cubicBezTo>
                    <a:cubicBezTo>
                      <a:pt x="47" y="248"/>
                      <a:pt x="48" y="245"/>
                      <a:pt x="43" y="245"/>
                    </a:cubicBezTo>
                    <a:cubicBezTo>
                      <a:pt x="42" y="245"/>
                      <a:pt x="41" y="246"/>
                      <a:pt x="39" y="246"/>
                    </a:cubicBezTo>
                    <a:cubicBezTo>
                      <a:pt x="41" y="247"/>
                      <a:pt x="43" y="248"/>
                      <a:pt x="44" y="250"/>
                    </a:cubicBezTo>
                    <a:cubicBezTo>
                      <a:pt x="44" y="250"/>
                      <a:pt x="44" y="250"/>
                      <a:pt x="43" y="250"/>
                    </a:cubicBezTo>
                    <a:cubicBezTo>
                      <a:pt x="42" y="250"/>
                      <a:pt x="39" y="250"/>
                      <a:pt x="39" y="249"/>
                    </a:cubicBezTo>
                    <a:cubicBezTo>
                      <a:pt x="38" y="249"/>
                      <a:pt x="38" y="247"/>
                      <a:pt x="38" y="247"/>
                    </a:cubicBezTo>
                    <a:cubicBezTo>
                      <a:pt x="39" y="244"/>
                      <a:pt x="38" y="246"/>
                      <a:pt x="38" y="245"/>
                    </a:cubicBezTo>
                    <a:cubicBezTo>
                      <a:pt x="37" y="241"/>
                      <a:pt x="36" y="235"/>
                      <a:pt x="33" y="232"/>
                    </a:cubicBezTo>
                    <a:cubicBezTo>
                      <a:pt x="29" y="227"/>
                      <a:pt x="21" y="219"/>
                      <a:pt x="24" y="210"/>
                    </a:cubicBezTo>
                    <a:cubicBezTo>
                      <a:pt x="27" y="202"/>
                      <a:pt x="29" y="194"/>
                      <a:pt x="32" y="186"/>
                    </a:cubicBezTo>
                    <a:cubicBezTo>
                      <a:pt x="33" y="182"/>
                      <a:pt x="35" y="174"/>
                      <a:pt x="39" y="170"/>
                    </a:cubicBezTo>
                    <a:cubicBezTo>
                      <a:pt x="42" y="167"/>
                      <a:pt x="47" y="168"/>
                      <a:pt x="51" y="168"/>
                    </a:cubicBezTo>
                    <a:cubicBezTo>
                      <a:pt x="49" y="167"/>
                      <a:pt x="45" y="168"/>
                      <a:pt x="45" y="165"/>
                    </a:cubicBezTo>
                    <a:cubicBezTo>
                      <a:pt x="47" y="167"/>
                      <a:pt x="50" y="166"/>
                      <a:pt x="53" y="167"/>
                    </a:cubicBezTo>
                    <a:cubicBezTo>
                      <a:pt x="52" y="168"/>
                      <a:pt x="52" y="168"/>
                      <a:pt x="52" y="168"/>
                    </a:cubicBezTo>
                    <a:cubicBezTo>
                      <a:pt x="56" y="169"/>
                      <a:pt x="60" y="169"/>
                      <a:pt x="63" y="171"/>
                    </a:cubicBezTo>
                    <a:cubicBezTo>
                      <a:pt x="65" y="173"/>
                      <a:pt x="66" y="175"/>
                      <a:pt x="68" y="176"/>
                    </a:cubicBezTo>
                    <a:cubicBezTo>
                      <a:pt x="69" y="178"/>
                      <a:pt x="71" y="178"/>
                      <a:pt x="73" y="180"/>
                    </a:cubicBezTo>
                    <a:cubicBezTo>
                      <a:pt x="74" y="182"/>
                      <a:pt x="75" y="185"/>
                      <a:pt x="76" y="187"/>
                    </a:cubicBezTo>
                    <a:cubicBezTo>
                      <a:pt x="77" y="186"/>
                      <a:pt x="77" y="185"/>
                      <a:pt x="77" y="185"/>
                    </a:cubicBezTo>
                    <a:cubicBezTo>
                      <a:pt x="77" y="181"/>
                      <a:pt x="74" y="180"/>
                      <a:pt x="71" y="178"/>
                    </a:cubicBezTo>
                    <a:cubicBezTo>
                      <a:pt x="69" y="176"/>
                      <a:pt x="69" y="175"/>
                      <a:pt x="68" y="172"/>
                    </a:cubicBezTo>
                    <a:cubicBezTo>
                      <a:pt x="67" y="170"/>
                      <a:pt x="65" y="167"/>
                      <a:pt x="65" y="165"/>
                    </a:cubicBezTo>
                    <a:cubicBezTo>
                      <a:pt x="65" y="164"/>
                      <a:pt x="65" y="162"/>
                      <a:pt x="65" y="161"/>
                    </a:cubicBezTo>
                    <a:cubicBezTo>
                      <a:pt x="65" y="160"/>
                      <a:pt x="63" y="159"/>
                      <a:pt x="63" y="157"/>
                    </a:cubicBezTo>
                    <a:cubicBezTo>
                      <a:pt x="58" y="141"/>
                      <a:pt x="53" y="124"/>
                      <a:pt x="48" y="107"/>
                    </a:cubicBezTo>
                    <a:cubicBezTo>
                      <a:pt x="48" y="104"/>
                      <a:pt x="46" y="105"/>
                      <a:pt x="45" y="102"/>
                    </a:cubicBezTo>
                    <a:cubicBezTo>
                      <a:pt x="44" y="100"/>
                      <a:pt x="46" y="98"/>
                      <a:pt x="46" y="96"/>
                    </a:cubicBezTo>
                    <a:cubicBezTo>
                      <a:pt x="45" y="95"/>
                      <a:pt x="44" y="92"/>
                      <a:pt x="44" y="92"/>
                    </a:cubicBezTo>
                    <a:cubicBezTo>
                      <a:pt x="44" y="92"/>
                      <a:pt x="44" y="92"/>
                      <a:pt x="44" y="92"/>
                    </a:cubicBezTo>
                    <a:cubicBezTo>
                      <a:pt x="43" y="93"/>
                      <a:pt x="43" y="94"/>
                      <a:pt x="43" y="94"/>
                    </a:cubicBezTo>
                    <a:cubicBezTo>
                      <a:pt x="42" y="95"/>
                      <a:pt x="44" y="96"/>
                      <a:pt x="43" y="96"/>
                    </a:cubicBezTo>
                    <a:cubicBezTo>
                      <a:pt x="43" y="96"/>
                      <a:pt x="42" y="96"/>
                      <a:pt x="42" y="96"/>
                    </a:cubicBezTo>
                    <a:cubicBezTo>
                      <a:pt x="39" y="96"/>
                      <a:pt x="40" y="93"/>
                      <a:pt x="40" y="91"/>
                    </a:cubicBezTo>
                    <a:cubicBezTo>
                      <a:pt x="39" y="87"/>
                      <a:pt x="36" y="80"/>
                      <a:pt x="38" y="76"/>
                    </a:cubicBezTo>
                    <a:cubicBezTo>
                      <a:pt x="38" y="77"/>
                      <a:pt x="38" y="77"/>
                      <a:pt x="38" y="77"/>
                    </a:cubicBezTo>
                    <a:cubicBezTo>
                      <a:pt x="39" y="73"/>
                      <a:pt x="38" y="70"/>
                      <a:pt x="39" y="67"/>
                    </a:cubicBezTo>
                    <a:cubicBezTo>
                      <a:pt x="41" y="62"/>
                      <a:pt x="41" y="59"/>
                      <a:pt x="41" y="54"/>
                    </a:cubicBezTo>
                    <a:cubicBezTo>
                      <a:pt x="41" y="49"/>
                      <a:pt x="37" y="45"/>
                      <a:pt x="37" y="40"/>
                    </a:cubicBezTo>
                    <a:cubicBezTo>
                      <a:pt x="37" y="39"/>
                      <a:pt x="37" y="35"/>
                      <a:pt x="38" y="35"/>
                    </a:cubicBezTo>
                    <a:cubicBezTo>
                      <a:pt x="38" y="35"/>
                      <a:pt x="39" y="35"/>
                      <a:pt x="39" y="35"/>
                    </a:cubicBezTo>
                    <a:cubicBezTo>
                      <a:pt x="41" y="36"/>
                      <a:pt x="38" y="38"/>
                      <a:pt x="39" y="40"/>
                    </a:cubicBezTo>
                    <a:cubicBezTo>
                      <a:pt x="39" y="41"/>
                      <a:pt x="41" y="42"/>
                      <a:pt x="42" y="44"/>
                    </a:cubicBezTo>
                    <a:cubicBezTo>
                      <a:pt x="42" y="46"/>
                      <a:pt x="42" y="49"/>
                      <a:pt x="43" y="51"/>
                    </a:cubicBezTo>
                    <a:cubicBezTo>
                      <a:pt x="43" y="44"/>
                      <a:pt x="41" y="37"/>
                      <a:pt x="38" y="31"/>
                    </a:cubicBezTo>
                    <a:cubicBezTo>
                      <a:pt x="36" y="27"/>
                      <a:pt x="34" y="23"/>
                      <a:pt x="32" y="19"/>
                    </a:cubicBezTo>
                    <a:cubicBezTo>
                      <a:pt x="31" y="18"/>
                      <a:pt x="32" y="17"/>
                      <a:pt x="33" y="15"/>
                    </a:cubicBezTo>
                    <a:cubicBezTo>
                      <a:pt x="34" y="13"/>
                      <a:pt x="35" y="10"/>
                      <a:pt x="34" y="9"/>
                    </a:cubicBezTo>
                    <a:cubicBezTo>
                      <a:pt x="34" y="7"/>
                      <a:pt x="32" y="5"/>
                      <a:pt x="31" y="4"/>
                    </a:cubicBezTo>
                    <a:cubicBezTo>
                      <a:pt x="30" y="3"/>
                      <a:pt x="29"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367"/>
              <p:cNvSpPr/>
              <p:nvPr/>
            </p:nvSpPr>
            <p:spPr bwMode="auto">
              <a:xfrm>
                <a:off x="7199" y="1237"/>
                <a:ext cx="14" cy="15"/>
              </a:xfrm>
              <a:custGeom>
                <a:gdLst>
                  <a:gd name="T0" fmla="*/ 5 w 6"/>
                  <a:gd name="T1" fmla="*/ 0 h 6"/>
                  <a:gd name="T2" fmla="*/ 0 w 6"/>
                  <a:gd name="T3" fmla="*/ 6 h 6"/>
                  <a:gd name="T4" fmla="*/ 6 w 6"/>
                  <a:gd name="T5" fmla="*/ 0 h 6"/>
                  <a:gd name="T6" fmla="*/ 5 w 6"/>
                  <a:gd name="T7" fmla="*/ 0 h 6"/>
                </a:gdLst>
                <a:cxnLst>
                  <a:cxn ang="0">
                    <a:pos x="T0" y="T1"/>
                  </a:cxn>
                  <a:cxn ang="0">
                    <a:pos x="T2" y="T3"/>
                  </a:cxn>
                  <a:cxn ang="0">
                    <a:pos x="T4" y="T5"/>
                  </a:cxn>
                  <a:cxn ang="0">
                    <a:pos x="T6" y="T7"/>
                  </a:cxn>
                </a:cxnLst>
                <a:rect l="0" t="0" r="r" b="b"/>
                <a:pathLst>
                  <a:path w="6" h="6">
                    <a:moveTo>
                      <a:pt x="5" y="0"/>
                    </a:moveTo>
                    <a:cubicBezTo>
                      <a:pt x="3" y="0"/>
                      <a:pt x="2" y="4"/>
                      <a:pt x="0" y="6"/>
                    </a:cubicBezTo>
                    <a:cubicBezTo>
                      <a:pt x="2" y="4"/>
                      <a:pt x="5" y="3"/>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368"/>
              <p:cNvSpPr/>
              <p:nvPr/>
            </p:nvSpPr>
            <p:spPr bwMode="auto">
              <a:xfrm>
                <a:off x="6698" y="1561"/>
                <a:ext cx="71" cy="62"/>
              </a:xfrm>
              <a:custGeom>
                <a:gdLst>
                  <a:gd name="T0" fmla="*/ 20 w 30"/>
                  <a:gd name="T1" fmla="*/ 0 h 26"/>
                  <a:gd name="T2" fmla="*/ 5 w 30"/>
                  <a:gd name="T3" fmla="*/ 16 h 26"/>
                  <a:gd name="T4" fmla="*/ 5 w 30"/>
                  <a:gd name="T5" fmla="*/ 26 h 26"/>
                  <a:gd name="T6" fmla="*/ 5 w 30"/>
                  <a:gd name="T7" fmla="*/ 24 h 26"/>
                  <a:gd name="T8" fmla="*/ 6 w 30"/>
                  <a:gd name="T9" fmla="*/ 19 h 26"/>
                  <a:gd name="T10" fmla="*/ 9 w 30"/>
                  <a:gd name="T11" fmla="*/ 18 h 26"/>
                  <a:gd name="T12" fmla="*/ 13 w 30"/>
                  <a:gd name="T13" fmla="*/ 12 h 26"/>
                  <a:gd name="T14" fmla="*/ 30 w 30"/>
                  <a:gd name="T15" fmla="*/ 2 h 26"/>
                  <a:gd name="T16" fmla="*/ 26 w 30"/>
                  <a:gd name="T17" fmla="*/ 2 h 26"/>
                  <a:gd name="T18" fmla="*/ 20 w 30"/>
                  <a:gd name="T19"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6">
                    <a:moveTo>
                      <a:pt x="20" y="0"/>
                    </a:moveTo>
                    <a:cubicBezTo>
                      <a:pt x="15" y="5"/>
                      <a:pt x="10" y="11"/>
                      <a:pt x="5" y="16"/>
                    </a:cubicBezTo>
                    <a:cubicBezTo>
                      <a:pt x="1" y="20"/>
                      <a:pt x="0" y="23"/>
                      <a:pt x="5" y="26"/>
                    </a:cubicBezTo>
                    <a:cubicBezTo>
                      <a:pt x="5" y="25"/>
                      <a:pt x="5" y="24"/>
                      <a:pt x="5" y="24"/>
                    </a:cubicBezTo>
                    <a:cubicBezTo>
                      <a:pt x="6" y="22"/>
                      <a:pt x="5" y="21"/>
                      <a:pt x="6" y="19"/>
                    </a:cubicBezTo>
                    <a:cubicBezTo>
                      <a:pt x="7" y="18"/>
                      <a:pt x="8" y="19"/>
                      <a:pt x="9" y="18"/>
                    </a:cubicBezTo>
                    <a:cubicBezTo>
                      <a:pt x="11" y="16"/>
                      <a:pt x="12" y="14"/>
                      <a:pt x="13" y="12"/>
                    </a:cubicBezTo>
                    <a:cubicBezTo>
                      <a:pt x="18" y="7"/>
                      <a:pt x="24" y="7"/>
                      <a:pt x="30" y="2"/>
                    </a:cubicBezTo>
                    <a:cubicBezTo>
                      <a:pt x="28" y="2"/>
                      <a:pt x="27" y="2"/>
                      <a:pt x="26" y="2"/>
                    </a:cubicBezTo>
                    <a:cubicBezTo>
                      <a:pt x="24" y="2"/>
                      <a:pt x="22" y="1"/>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369"/>
              <p:cNvSpPr/>
              <p:nvPr/>
            </p:nvSpPr>
            <p:spPr bwMode="auto">
              <a:xfrm>
                <a:off x="6225" y="750"/>
                <a:ext cx="55" cy="45"/>
              </a:xfrm>
              <a:custGeom>
                <a:gdLst>
                  <a:gd name="T0" fmla="*/ 9 w 23"/>
                  <a:gd name="T1" fmla="*/ 0 h 19"/>
                  <a:gd name="T2" fmla="*/ 6 w 23"/>
                  <a:gd name="T3" fmla="*/ 2 h 19"/>
                  <a:gd name="T4" fmla="*/ 6 w 23"/>
                  <a:gd name="T5" fmla="*/ 4 h 19"/>
                  <a:gd name="T6" fmla="*/ 4 w 23"/>
                  <a:gd name="T7" fmla="*/ 6 h 19"/>
                  <a:gd name="T8" fmla="*/ 0 w 23"/>
                  <a:gd name="T9" fmla="*/ 12 h 19"/>
                  <a:gd name="T10" fmla="*/ 0 w 23"/>
                  <a:gd name="T11" fmla="*/ 13 h 19"/>
                  <a:gd name="T12" fmla="*/ 4 w 23"/>
                  <a:gd name="T13" fmla="*/ 11 h 19"/>
                  <a:gd name="T14" fmla="*/ 5 w 23"/>
                  <a:gd name="T15" fmla="*/ 11 h 19"/>
                  <a:gd name="T16" fmla="*/ 11 w 23"/>
                  <a:gd name="T17" fmla="*/ 19 h 19"/>
                  <a:gd name="T18" fmla="*/ 23 w 23"/>
                  <a:gd name="T19" fmla="*/ 4 h 19"/>
                  <a:gd name="T20" fmla="*/ 22 w 23"/>
                  <a:gd name="T21" fmla="*/ 4 h 19"/>
                  <a:gd name="T22" fmla="*/ 22 w 23"/>
                  <a:gd name="T23" fmla="*/ 4 h 19"/>
                  <a:gd name="T24" fmla="*/ 21 w 23"/>
                  <a:gd name="T25" fmla="*/ 4 h 19"/>
                  <a:gd name="T26" fmla="*/ 20 w 23"/>
                  <a:gd name="T27" fmla="*/ 4 h 19"/>
                  <a:gd name="T28" fmla="*/ 20 w 23"/>
                  <a:gd name="T29" fmla="*/ 4 h 19"/>
                  <a:gd name="T30" fmla="*/ 19 w 23"/>
                  <a:gd name="T31" fmla="*/ 4 h 19"/>
                  <a:gd name="T32" fmla="*/ 19 w 23"/>
                  <a:gd name="T33" fmla="*/ 4 h 19"/>
                  <a:gd name="T34" fmla="*/ 19 w 23"/>
                  <a:gd name="T35" fmla="*/ 3 h 19"/>
                  <a:gd name="T36" fmla="*/ 18 w 23"/>
                  <a:gd name="T37" fmla="*/ 1 h 19"/>
                  <a:gd name="T38" fmla="*/ 15 w 23"/>
                  <a:gd name="T39" fmla="*/ 1 h 19"/>
                  <a:gd name="T40" fmla="*/ 15 w 23"/>
                  <a:gd name="T41" fmla="*/ 1 h 19"/>
                  <a:gd name="T42" fmla="*/ 14 w 23"/>
                  <a:gd name="T43" fmla="*/ 1 h 19"/>
                  <a:gd name="T44" fmla="*/ 12 w 23"/>
                  <a:gd name="T45" fmla="*/ 1 h 19"/>
                  <a:gd name="T46" fmla="*/ 9 w 23"/>
                  <a:gd name="T47"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19">
                    <a:moveTo>
                      <a:pt x="9" y="0"/>
                    </a:moveTo>
                    <a:cubicBezTo>
                      <a:pt x="8" y="0"/>
                      <a:pt x="7" y="0"/>
                      <a:pt x="6" y="2"/>
                    </a:cubicBezTo>
                    <a:cubicBezTo>
                      <a:pt x="6" y="2"/>
                      <a:pt x="6" y="3"/>
                      <a:pt x="6" y="4"/>
                    </a:cubicBezTo>
                    <a:cubicBezTo>
                      <a:pt x="5" y="5"/>
                      <a:pt x="4" y="5"/>
                      <a:pt x="4" y="6"/>
                    </a:cubicBezTo>
                    <a:cubicBezTo>
                      <a:pt x="2" y="7"/>
                      <a:pt x="0" y="9"/>
                      <a:pt x="0" y="12"/>
                    </a:cubicBezTo>
                    <a:cubicBezTo>
                      <a:pt x="0" y="13"/>
                      <a:pt x="0" y="13"/>
                      <a:pt x="0" y="13"/>
                    </a:cubicBezTo>
                    <a:cubicBezTo>
                      <a:pt x="1" y="13"/>
                      <a:pt x="3" y="11"/>
                      <a:pt x="4" y="11"/>
                    </a:cubicBezTo>
                    <a:cubicBezTo>
                      <a:pt x="4" y="11"/>
                      <a:pt x="4" y="11"/>
                      <a:pt x="5" y="11"/>
                    </a:cubicBezTo>
                    <a:cubicBezTo>
                      <a:pt x="8" y="11"/>
                      <a:pt x="9" y="16"/>
                      <a:pt x="11" y="19"/>
                    </a:cubicBezTo>
                    <a:cubicBezTo>
                      <a:pt x="15" y="14"/>
                      <a:pt x="20" y="9"/>
                      <a:pt x="23" y="4"/>
                    </a:cubicBezTo>
                    <a:cubicBezTo>
                      <a:pt x="23" y="4"/>
                      <a:pt x="23" y="4"/>
                      <a:pt x="22" y="4"/>
                    </a:cubicBezTo>
                    <a:cubicBezTo>
                      <a:pt x="22" y="4"/>
                      <a:pt x="22" y="4"/>
                      <a:pt x="22" y="4"/>
                    </a:cubicBezTo>
                    <a:cubicBezTo>
                      <a:pt x="21" y="4"/>
                      <a:pt x="21" y="4"/>
                      <a:pt x="21"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3"/>
                    </a:cubicBezTo>
                    <a:cubicBezTo>
                      <a:pt x="18" y="1"/>
                      <a:pt x="18" y="1"/>
                      <a:pt x="18" y="1"/>
                    </a:cubicBezTo>
                    <a:cubicBezTo>
                      <a:pt x="17" y="1"/>
                      <a:pt x="16" y="1"/>
                      <a:pt x="15" y="1"/>
                    </a:cubicBezTo>
                    <a:cubicBezTo>
                      <a:pt x="15" y="1"/>
                      <a:pt x="15" y="1"/>
                      <a:pt x="15" y="1"/>
                    </a:cubicBezTo>
                    <a:cubicBezTo>
                      <a:pt x="14" y="1"/>
                      <a:pt x="14" y="1"/>
                      <a:pt x="14" y="1"/>
                    </a:cubicBezTo>
                    <a:cubicBezTo>
                      <a:pt x="13" y="1"/>
                      <a:pt x="12" y="1"/>
                      <a:pt x="12" y="1"/>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370"/>
              <p:cNvSpPr/>
              <p:nvPr/>
            </p:nvSpPr>
            <p:spPr bwMode="auto">
              <a:xfrm>
                <a:off x="6776" y="1488"/>
                <a:ext cx="127" cy="80"/>
              </a:xfrm>
              <a:custGeom>
                <a:gdLst>
                  <a:gd name="T0" fmla="*/ 52 w 54"/>
                  <a:gd name="T1" fmla="*/ 0 h 34"/>
                  <a:gd name="T2" fmla="*/ 35 w 54"/>
                  <a:gd name="T3" fmla="*/ 9 h 34"/>
                  <a:gd name="T4" fmla="*/ 33 w 54"/>
                  <a:gd name="T5" fmla="*/ 8 h 34"/>
                  <a:gd name="T6" fmla="*/ 30 w 54"/>
                  <a:gd name="T7" fmla="*/ 4 h 34"/>
                  <a:gd name="T8" fmla="*/ 29 w 54"/>
                  <a:gd name="T9" fmla="*/ 4 h 34"/>
                  <a:gd name="T10" fmla="*/ 29 w 54"/>
                  <a:gd name="T11" fmla="*/ 6 h 34"/>
                  <a:gd name="T12" fmla="*/ 27 w 54"/>
                  <a:gd name="T13" fmla="*/ 8 h 34"/>
                  <a:gd name="T14" fmla="*/ 20 w 54"/>
                  <a:gd name="T15" fmla="*/ 14 h 34"/>
                  <a:gd name="T16" fmla="*/ 10 w 54"/>
                  <a:gd name="T17" fmla="*/ 24 h 34"/>
                  <a:gd name="T18" fmla="*/ 4 w 54"/>
                  <a:gd name="T19" fmla="*/ 34 h 34"/>
                  <a:gd name="T20" fmla="*/ 5 w 54"/>
                  <a:gd name="T21" fmla="*/ 34 h 34"/>
                  <a:gd name="T22" fmla="*/ 8 w 54"/>
                  <a:gd name="T23" fmla="*/ 31 h 34"/>
                  <a:gd name="T24" fmla="*/ 13 w 54"/>
                  <a:gd name="T25" fmla="*/ 29 h 34"/>
                  <a:gd name="T26" fmla="*/ 17 w 54"/>
                  <a:gd name="T27" fmla="*/ 24 h 34"/>
                  <a:gd name="T28" fmla="*/ 21 w 54"/>
                  <a:gd name="T29" fmla="*/ 21 h 34"/>
                  <a:gd name="T30" fmla="*/ 24 w 54"/>
                  <a:gd name="T31" fmla="*/ 17 h 34"/>
                  <a:gd name="T32" fmla="*/ 24 w 54"/>
                  <a:gd name="T33" fmla="*/ 17 h 34"/>
                  <a:gd name="T34" fmla="*/ 26 w 54"/>
                  <a:gd name="T35" fmla="*/ 17 h 34"/>
                  <a:gd name="T36" fmla="*/ 27 w 54"/>
                  <a:gd name="T37" fmla="*/ 17 h 34"/>
                  <a:gd name="T38" fmla="*/ 27 w 54"/>
                  <a:gd name="T39" fmla="*/ 17 h 34"/>
                  <a:gd name="T40" fmla="*/ 30 w 54"/>
                  <a:gd name="T41" fmla="*/ 16 h 34"/>
                  <a:gd name="T42" fmla="*/ 33 w 54"/>
                  <a:gd name="T43" fmla="*/ 13 h 34"/>
                  <a:gd name="T44" fmla="*/ 45 w 54"/>
                  <a:gd name="T45" fmla="*/ 7 h 34"/>
                  <a:gd name="T46" fmla="*/ 50 w 54"/>
                  <a:gd name="T47" fmla="*/ 6 h 34"/>
                  <a:gd name="T48" fmla="*/ 52 w 54"/>
                  <a:gd name="T49" fmla="*/ 0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34">
                    <a:moveTo>
                      <a:pt x="52" y="0"/>
                    </a:moveTo>
                    <a:cubicBezTo>
                      <a:pt x="48" y="2"/>
                      <a:pt x="41" y="9"/>
                      <a:pt x="35" y="9"/>
                    </a:cubicBezTo>
                    <a:cubicBezTo>
                      <a:pt x="35" y="9"/>
                      <a:pt x="34" y="9"/>
                      <a:pt x="33" y="8"/>
                    </a:cubicBezTo>
                    <a:cubicBezTo>
                      <a:pt x="32" y="8"/>
                      <a:pt x="31" y="4"/>
                      <a:pt x="30" y="4"/>
                    </a:cubicBezTo>
                    <a:cubicBezTo>
                      <a:pt x="30" y="4"/>
                      <a:pt x="29" y="4"/>
                      <a:pt x="29" y="4"/>
                    </a:cubicBezTo>
                    <a:cubicBezTo>
                      <a:pt x="28" y="5"/>
                      <a:pt x="29" y="6"/>
                      <a:pt x="29" y="6"/>
                    </a:cubicBezTo>
                    <a:cubicBezTo>
                      <a:pt x="28" y="6"/>
                      <a:pt x="28" y="7"/>
                      <a:pt x="27" y="8"/>
                    </a:cubicBezTo>
                    <a:cubicBezTo>
                      <a:pt x="24" y="10"/>
                      <a:pt x="22" y="12"/>
                      <a:pt x="20" y="14"/>
                    </a:cubicBezTo>
                    <a:cubicBezTo>
                      <a:pt x="18" y="16"/>
                      <a:pt x="7" y="23"/>
                      <a:pt x="10" y="24"/>
                    </a:cubicBezTo>
                    <a:cubicBezTo>
                      <a:pt x="10" y="25"/>
                      <a:pt x="0" y="32"/>
                      <a:pt x="4" y="34"/>
                    </a:cubicBezTo>
                    <a:cubicBezTo>
                      <a:pt x="5" y="34"/>
                      <a:pt x="5" y="34"/>
                      <a:pt x="5" y="34"/>
                    </a:cubicBezTo>
                    <a:cubicBezTo>
                      <a:pt x="7" y="34"/>
                      <a:pt x="7" y="32"/>
                      <a:pt x="8" y="31"/>
                    </a:cubicBezTo>
                    <a:cubicBezTo>
                      <a:pt x="9" y="30"/>
                      <a:pt x="11" y="30"/>
                      <a:pt x="13" y="29"/>
                    </a:cubicBezTo>
                    <a:cubicBezTo>
                      <a:pt x="15" y="27"/>
                      <a:pt x="15" y="26"/>
                      <a:pt x="17" y="24"/>
                    </a:cubicBezTo>
                    <a:cubicBezTo>
                      <a:pt x="18" y="23"/>
                      <a:pt x="20" y="22"/>
                      <a:pt x="21" y="21"/>
                    </a:cubicBezTo>
                    <a:cubicBezTo>
                      <a:pt x="23" y="18"/>
                      <a:pt x="21" y="17"/>
                      <a:pt x="24" y="17"/>
                    </a:cubicBezTo>
                    <a:cubicBezTo>
                      <a:pt x="24" y="17"/>
                      <a:pt x="24" y="17"/>
                      <a:pt x="24" y="17"/>
                    </a:cubicBezTo>
                    <a:cubicBezTo>
                      <a:pt x="25" y="17"/>
                      <a:pt x="25" y="17"/>
                      <a:pt x="26" y="17"/>
                    </a:cubicBezTo>
                    <a:cubicBezTo>
                      <a:pt x="26" y="17"/>
                      <a:pt x="26" y="17"/>
                      <a:pt x="27" y="17"/>
                    </a:cubicBezTo>
                    <a:cubicBezTo>
                      <a:pt x="27" y="17"/>
                      <a:pt x="27" y="17"/>
                      <a:pt x="27" y="17"/>
                    </a:cubicBezTo>
                    <a:cubicBezTo>
                      <a:pt x="28" y="17"/>
                      <a:pt x="29" y="17"/>
                      <a:pt x="30" y="16"/>
                    </a:cubicBezTo>
                    <a:cubicBezTo>
                      <a:pt x="31" y="15"/>
                      <a:pt x="32" y="14"/>
                      <a:pt x="33" y="13"/>
                    </a:cubicBezTo>
                    <a:cubicBezTo>
                      <a:pt x="36" y="10"/>
                      <a:pt x="41" y="9"/>
                      <a:pt x="45" y="7"/>
                    </a:cubicBezTo>
                    <a:cubicBezTo>
                      <a:pt x="47" y="6"/>
                      <a:pt x="48" y="7"/>
                      <a:pt x="50" y="6"/>
                    </a:cubicBezTo>
                    <a:cubicBezTo>
                      <a:pt x="54" y="5"/>
                      <a:pt x="51" y="3"/>
                      <a:pt x="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371"/>
              <p:cNvSpPr/>
              <p:nvPr/>
            </p:nvSpPr>
            <p:spPr bwMode="auto">
              <a:xfrm>
                <a:off x="6197" y="755"/>
                <a:ext cx="24" cy="19"/>
              </a:xfrm>
              <a:custGeom>
                <a:gdLst>
                  <a:gd name="T0" fmla="*/ 10 w 10"/>
                  <a:gd name="T1" fmla="*/ 0 h 8"/>
                  <a:gd name="T2" fmla="*/ 9 w 10"/>
                  <a:gd name="T3" fmla="*/ 0 h 8"/>
                  <a:gd name="T4" fmla="*/ 9 w 10"/>
                  <a:gd name="T5" fmla="*/ 0 h 8"/>
                  <a:gd name="T6" fmla="*/ 9 w 10"/>
                  <a:gd name="T7" fmla="*/ 0 h 8"/>
                  <a:gd name="T8" fmla="*/ 7 w 10"/>
                  <a:gd name="T9" fmla="*/ 0 h 8"/>
                  <a:gd name="T10" fmla="*/ 7 w 10"/>
                  <a:gd name="T11" fmla="*/ 0 h 8"/>
                  <a:gd name="T12" fmla="*/ 0 w 10"/>
                  <a:gd name="T13" fmla="*/ 8 h 8"/>
                  <a:gd name="T14" fmla="*/ 10 w 10"/>
                  <a:gd name="T15" fmla="*/ 1 h 8"/>
                  <a:gd name="T16" fmla="*/ 10 w 10"/>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10" y="0"/>
                    </a:moveTo>
                    <a:cubicBezTo>
                      <a:pt x="10" y="0"/>
                      <a:pt x="10" y="0"/>
                      <a:pt x="9" y="0"/>
                    </a:cubicBezTo>
                    <a:cubicBezTo>
                      <a:pt x="9" y="0"/>
                      <a:pt x="9" y="0"/>
                      <a:pt x="9" y="0"/>
                    </a:cubicBezTo>
                    <a:cubicBezTo>
                      <a:pt x="9" y="0"/>
                      <a:pt x="9" y="0"/>
                      <a:pt x="9" y="0"/>
                    </a:cubicBezTo>
                    <a:cubicBezTo>
                      <a:pt x="9" y="0"/>
                      <a:pt x="8" y="0"/>
                      <a:pt x="7" y="0"/>
                    </a:cubicBezTo>
                    <a:cubicBezTo>
                      <a:pt x="7" y="0"/>
                      <a:pt x="7" y="0"/>
                      <a:pt x="7" y="0"/>
                    </a:cubicBezTo>
                    <a:cubicBezTo>
                      <a:pt x="3" y="2"/>
                      <a:pt x="0" y="3"/>
                      <a:pt x="0" y="8"/>
                    </a:cubicBezTo>
                    <a:cubicBezTo>
                      <a:pt x="5" y="7"/>
                      <a:pt x="8" y="7"/>
                      <a:pt x="10" y="1"/>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372"/>
              <p:cNvSpPr/>
              <p:nvPr/>
            </p:nvSpPr>
            <p:spPr bwMode="auto">
              <a:xfrm>
                <a:off x="7069" y="1372"/>
                <a:ext cx="28" cy="24"/>
              </a:xfrm>
              <a:custGeom>
                <a:gdLst>
                  <a:gd name="T0" fmla="*/ 12 w 12"/>
                  <a:gd name="T1" fmla="*/ 0 h 10"/>
                  <a:gd name="T2" fmla="*/ 0 w 12"/>
                  <a:gd name="T3" fmla="*/ 10 h 10"/>
                  <a:gd name="T4" fmla="*/ 1 w 12"/>
                  <a:gd name="T5" fmla="*/ 10 h 10"/>
                  <a:gd name="T6" fmla="*/ 12 w 12"/>
                  <a:gd name="T7" fmla="*/ 0 h 10"/>
                </a:gdLst>
                <a:cxnLst>
                  <a:cxn ang="0">
                    <a:pos x="T0" y="T1"/>
                  </a:cxn>
                  <a:cxn ang="0">
                    <a:pos x="T2" y="T3"/>
                  </a:cxn>
                  <a:cxn ang="0">
                    <a:pos x="T4" y="T5"/>
                  </a:cxn>
                  <a:cxn ang="0">
                    <a:pos x="T6" y="T7"/>
                  </a:cxn>
                </a:cxnLst>
                <a:rect l="0" t="0" r="r" b="b"/>
                <a:pathLst>
                  <a:path w="12" h="10">
                    <a:moveTo>
                      <a:pt x="12" y="0"/>
                    </a:moveTo>
                    <a:cubicBezTo>
                      <a:pt x="8" y="3"/>
                      <a:pt x="3" y="6"/>
                      <a:pt x="0" y="10"/>
                    </a:cubicBezTo>
                    <a:cubicBezTo>
                      <a:pt x="0" y="10"/>
                      <a:pt x="1" y="10"/>
                      <a:pt x="1" y="10"/>
                    </a:cubicBezTo>
                    <a:cubicBezTo>
                      <a:pt x="5" y="10"/>
                      <a:pt x="11"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373"/>
              <p:cNvSpPr/>
              <p:nvPr/>
            </p:nvSpPr>
            <p:spPr bwMode="auto">
              <a:xfrm>
                <a:off x="7142" y="1320"/>
                <a:ext cx="5" cy="7"/>
              </a:xfrm>
              <a:custGeom>
                <a:gdLst>
                  <a:gd name="T0" fmla="*/ 1 w 2"/>
                  <a:gd name="T1" fmla="*/ 0 h 3"/>
                  <a:gd name="T2" fmla="*/ 0 w 2"/>
                  <a:gd name="T3" fmla="*/ 3 h 3"/>
                  <a:gd name="T4" fmla="*/ 1 w 2"/>
                  <a:gd name="T5" fmla="*/ 0 h 3"/>
                </a:gdLst>
                <a:cxnLst>
                  <a:cxn ang="0">
                    <a:pos x="T0" y="T1"/>
                  </a:cxn>
                  <a:cxn ang="0">
                    <a:pos x="T2" y="T3"/>
                  </a:cxn>
                  <a:cxn ang="0">
                    <a:pos x="T4" y="T5"/>
                  </a:cxn>
                </a:cxnLst>
                <a:rect l="0" t="0" r="r" b="b"/>
                <a:pathLst>
                  <a:path w="2" h="3">
                    <a:moveTo>
                      <a:pt x="1" y="0"/>
                    </a:moveTo>
                    <a:cubicBezTo>
                      <a:pt x="1" y="0"/>
                      <a:pt x="0" y="1"/>
                      <a:pt x="0" y="3"/>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374"/>
              <p:cNvSpPr/>
              <p:nvPr/>
            </p:nvSpPr>
            <p:spPr bwMode="auto">
              <a:xfrm>
                <a:off x="7109" y="1353"/>
                <a:ext cx="7" cy="5"/>
              </a:xfrm>
              <a:custGeom>
                <a:gdLst>
                  <a:gd name="T0" fmla="*/ 2 w 3"/>
                  <a:gd name="T1" fmla="*/ 0 h 2"/>
                  <a:gd name="T2" fmla="*/ 0 w 3"/>
                  <a:gd name="T3" fmla="*/ 2 h 2"/>
                  <a:gd name="T4" fmla="*/ 2 w 3"/>
                  <a:gd name="T5" fmla="*/ 0 h 2"/>
                </a:gdLst>
                <a:cxnLst>
                  <a:cxn ang="0">
                    <a:pos x="T0" y="T1"/>
                  </a:cxn>
                  <a:cxn ang="0">
                    <a:pos x="T2" y="T3"/>
                  </a:cxn>
                  <a:cxn ang="0">
                    <a:pos x="T4" y="T5"/>
                  </a:cxn>
                </a:cxnLst>
                <a:rect l="0" t="0" r="r" b="b"/>
                <a:pathLst>
                  <a:path w="3" h="2">
                    <a:moveTo>
                      <a:pt x="2" y="0"/>
                    </a:moveTo>
                    <a:cubicBezTo>
                      <a:pt x="1" y="0"/>
                      <a:pt x="0" y="0"/>
                      <a:pt x="0" y="2"/>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7" name="Freeform 375"/>
              <p:cNvSpPr/>
              <p:nvPr/>
            </p:nvSpPr>
            <p:spPr bwMode="auto">
              <a:xfrm>
                <a:off x="7234" y="1183"/>
                <a:ext cx="19" cy="26"/>
              </a:xfrm>
              <a:custGeom>
                <a:gdLst>
                  <a:gd name="T0" fmla="*/ 6 w 8"/>
                  <a:gd name="T1" fmla="*/ 0 h 11"/>
                  <a:gd name="T2" fmla="*/ 5 w 8"/>
                  <a:gd name="T3" fmla="*/ 1 h 11"/>
                  <a:gd name="T4" fmla="*/ 0 w 8"/>
                  <a:gd name="T5" fmla="*/ 11 h 11"/>
                  <a:gd name="T6" fmla="*/ 7 w 8"/>
                  <a:gd name="T7" fmla="*/ 6 h 11"/>
                  <a:gd name="T8" fmla="*/ 6 w 8"/>
                  <a:gd name="T9" fmla="*/ 0 h 11"/>
                </a:gdLst>
                <a:cxnLst>
                  <a:cxn ang="0">
                    <a:pos x="T0" y="T1"/>
                  </a:cxn>
                  <a:cxn ang="0">
                    <a:pos x="T2" y="T3"/>
                  </a:cxn>
                  <a:cxn ang="0">
                    <a:pos x="T4" y="T5"/>
                  </a:cxn>
                  <a:cxn ang="0">
                    <a:pos x="T6" y="T7"/>
                  </a:cxn>
                  <a:cxn ang="0">
                    <a:pos x="T8" y="T9"/>
                  </a:cxn>
                </a:cxnLst>
                <a:rect l="0" t="0" r="r" b="b"/>
                <a:pathLst>
                  <a:path w="8" h="11">
                    <a:moveTo>
                      <a:pt x="6" y="0"/>
                    </a:moveTo>
                    <a:cubicBezTo>
                      <a:pt x="6" y="0"/>
                      <a:pt x="6" y="1"/>
                      <a:pt x="5" y="1"/>
                    </a:cubicBezTo>
                    <a:cubicBezTo>
                      <a:pt x="3" y="3"/>
                      <a:pt x="1" y="9"/>
                      <a:pt x="0" y="11"/>
                    </a:cubicBezTo>
                    <a:cubicBezTo>
                      <a:pt x="6" y="11"/>
                      <a:pt x="6" y="11"/>
                      <a:pt x="7" y="6"/>
                    </a:cubicBezTo>
                    <a:cubicBezTo>
                      <a:pt x="7" y="4"/>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376"/>
              <p:cNvSpPr/>
              <p:nvPr/>
            </p:nvSpPr>
            <p:spPr bwMode="auto">
              <a:xfrm>
                <a:off x="6937" y="1438"/>
                <a:ext cx="63" cy="45"/>
              </a:xfrm>
              <a:custGeom>
                <a:gdLst>
                  <a:gd name="T0" fmla="*/ 23 w 27"/>
                  <a:gd name="T1" fmla="*/ 0 h 19"/>
                  <a:gd name="T2" fmla="*/ 20 w 27"/>
                  <a:gd name="T3" fmla="*/ 1 h 19"/>
                  <a:gd name="T4" fmla="*/ 18 w 27"/>
                  <a:gd name="T5" fmla="*/ 3 h 19"/>
                  <a:gd name="T6" fmla="*/ 13 w 27"/>
                  <a:gd name="T7" fmla="*/ 5 h 19"/>
                  <a:gd name="T8" fmla="*/ 0 w 27"/>
                  <a:gd name="T9" fmla="*/ 19 h 19"/>
                  <a:gd name="T10" fmla="*/ 1 w 27"/>
                  <a:gd name="T11" fmla="*/ 19 h 19"/>
                  <a:gd name="T12" fmla="*/ 3 w 27"/>
                  <a:gd name="T13" fmla="*/ 18 h 19"/>
                  <a:gd name="T14" fmla="*/ 3 w 27"/>
                  <a:gd name="T15" fmla="*/ 18 h 19"/>
                  <a:gd name="T16" fmla="*/ 27 w 27"/>
                  <a:gd name="T17" fmla="*/ 0 h 19"/>
                  <a:gd name="T18" fmla="*/ 25 w 27"/>
                  <a:gd name="T19" fmla="*/ 0 h 19"/>
                  <a:gd name="T20" fmla="*/ 24 w 27"/>
                  <a:gd name="T21" fmla="*/ 0 h 19"/>
                  <a:gd name="T22" fmla="*/ 23 w 27"/>
                  <a:gd name="T23"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9">
                    <a:moveTo>
                      <a:pt x="23" y="0"/>
                    </a:moveTo>
                    <a:cubicBezTo>
                      <a:pt x="22" y="0"/>
                      <a:pt x="21" y="0"/>
                      <a:pt x="20" y="1"/>
                    </a:cubicBezTo>
                    <a:cubicBezTo>
                      <a:pt x="19" y="1"/>
                      <a:pt x="19" y="2"/>
                      <a:pt x="18" y="3"/>
                    </a:cubicBezTo>
                    <a:cubicBezTo>
                      <a:pt x="16" y="4"/>
                      <a:pt x="15" y="4"/>
                      <a:pt x="13" y="5"/>
                    </a:cubicBezTo>
                    <a:cubicBezTo>
                      <a:pt x="9" y="10"/>
                      <a:pt x="4" y="14"/>
                      <a:pt x="0" y="19"/>
                    </a:cubicBezTo>
                    <a:cubicBezTo>
                      <a:pt x="0" y="19"/>
                      <a:pt x="0" y="19"/>
                      <a:pt x="1" y="19"/>
                    </a:cubicBezTo>
                    <a:cubicBezTo>
                      <a:pt x="2" y="19"/>
                      <a:pt x="3" y="19"/>
                      <a:pt x="3" y="18"/>
                    </a:cubicBezTo>
                    <a:cubicBezTo>
                      <a:pt x="3" y="18"/>
                      <a:pt x="3" y="18"/>
                      <a:pt x="3" y="18"/>
                    </a:cubicBezTo>
                    <a:cubicBezTo>
                      <a:pt x="7" y="18"/>
                      <a:pt x="25" y="1"/>
                      <a:pt x="27" y="0"/>
                    </a:cubicBezTo>
                    <a:cubicBezTo>
                      <a:pt x="26" y="0"/>
                      <a:pt x="26" y="0"/>
                      <a:pt x="25" y="0"/>
                    </a:cubicBezTo>
                    <a:cubicBezTo>
                      <a:pt x="25" y="0"/>
                      <a:pt x="24" y="0"/>
                      <a:pt x="24" y="0"/>
                    </a:cubicBezTo>
                    <a:cubicBezTo>
                      <a:pt x="24" y="0"/>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9" name="Freeform 377"/>
              <p:cNvSpPr/>
              <p:nvPr/>
            </p:nvSpPr>
            <p:spPr bwMode="auto">
              <a:xfrm>
                <a:off x="6769" y="1606"/>
                <a:ext cx="16" cy="10"/>
              </a:xfrm>
              <a:custGeom>
                <a:gdLst>
                  <a:gd name="T0" fmla="*/ 7 w 7"/>
                  <a:gd name="T1" fmla="*/ 0 h 4"/>
                  <a:gd name="T2" fmla="*/ 1 w 7"/>
                  <a:gd name="T3" fmla="*/ 4 h 4"/>
                  <a:gd name="T4" fmla="*/ 7 w 7"/>
                  <a:gd name="T5" fmla="*/ 0 h 4"/>
                  <a:gd name="T6" fmla="*/ 7 w 7"/>
                  <a:gd name="T7" fmla="*/ 0 h 4"/>
                </a:gdLst>
                <a:cxnLst>
                  <a:cxn ang="0">
                    <a:pos x="T0" y="T1"/>
                  </a:cxn>
                  <a:cxn ang="0">
                    <a:pos x="T2" y="T3"/>
                  </a:cxn>
                  <a:cxn ang="0">
                    <a:pos x="T4" y="T5"/>
                  </a:cxn>
                  <a:cxn ang="0">
                    <a:pos x="T6" y="T7"/>
                  </a:cxn>
                </a:cxnLst>
                <a:rect l="0" t="0" r="r" b="b"/>
                <a:pathLst>
                  <a:path w="7" h="4">
                    <a:moveTo>
                      <a:pt x="7" y="0"/>
                    </a:moveTo>
                    <a:cubicBezTo>
                      <a:pt x="5" y="0"/>
                      <a:pt x="0" y="1"/>
                      <a:pt x="1" y="4"/>
                    </a:cubicBezTo>
                    <a:cubicBezTo>
                      <a:pt x="3" y="3"/>
                      <a:pt x="5" y="2"/>
                      <a:pt x="7"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378"/>
              <p:cNvSpPr>
                <a:spLocks noEditPoints="1"/>
              </p:cNvSpPr>
              <p:nvPr/>
            </p:nvSpPr>
            <p:spPr bwMode="auto">
              <a:xfrm>
                <a:off x="7270" y="1098"/>
                <a:ext cx="56" cy="59"/>
              </a:xfrm>
              <a:custGeom>
                <a:gdLst>
                  <a:gd name="T0" fmla="*/ 1 w 24"/>
                  <a:gd name="T1" fmla="*/ 23 h 25"/>
                  <a:gd name="T2" fmla="*/ 1 w 24"/>
                  <a:gd name="T3" fmla="*/ 23 h 25"/>
                  <a:gd name="T4" fmla="*/ 1 w 24"/>
                  <a:gd name="T5" fmla="*/ 23 h 25"/>
                  <a:gd name="T6" fmla="*/ 21 w 24"/>
                  <a:gd name="T7" fmla="*/ 0 h 25"/>
                  <a:gd name="T8" fmla="*/ 20 w 24"/>
                  <a:gd name="T9" fmla="*/ 0 h 25"/>
                  <a:gd name="T10" fmla="*/ 14 w 24"/>
                  <a:gd name="T11" fmla="*/ 10 h 25"/>
                  <a:gd name="T12" fmla="*/ 8 w 24"/>
                  <a:gd name="T13" fmla="*/ 13 h 25"/>
                  <a:gd name="T14" fmla="*/ 3 w 24"/>
                  <a:gd name="T15" fmla="*/ 15 h 25"/>
                  <a:gd name="T16" fmla="*/ 1 w 24"/>
                  <a:gd name="T17" fmla="*/ 16 h 25"/>
                  <a:gd name="T18" fmla="*/ 1 w 24"/>
                  <a:gd name="T19" fmla="*/ 16 h 25"/>
                  <a:gd name="T20" fmla="*/ 1 w 24"/>
                  <a:gd name="T21" fmla="*/ 16 h 25"/>
                  <a:gd name="T22" fmla="*/ 0 w 24"/>
                  <a:gd name="T23" fmla="*/ 17 h 25"/>
                  <a:gd name="T24" fmla="*/ 0 w 24"/>
                  <a:gd name="T25" fmla="*/ 17 h 25"/>
                  <a:gd name="T26" fmla="*/ 1 w 24"/>
                  <a:gd name="T27" fmla="*/ 19 h 25"/>
                  <a:gd name="T28" fmla="*/ 1 w 24"/>
                  <a:gd name="T29" fmla="*/ 23 h 25"/>
                  <a:gd name="T30" fmla="*/ 1 w 24"/>
                  <a:gd name="T31" fmla="*/ 23 h 25"/>
                  <a:gd name="T32" fmla="*/ 5 w 24"/>
                  <a:gd name="T33" fmla="*/ 25 h 25"/>
                  <a:gd name="T34" fmla="*/ 11 w 24"/>
                  <a:gd name="T35" fmla="*/ 19 h 25"/>
                  <a:gd name="T36" fmla="*/ 23 w 24"/>
                  <a:gd name="T37" fmla="*/ 6 h 25"/>
                  <a:gd name="T38" fmla="*/ 21 w 24"/>
                  <a:gd name="T39"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5">
                    <a:moveTo>
                      <a:pt x="1" y="23"/>
                    </a:moveTo>
                    <a:cubicBezTo>
                      <a:pt x="1" y="23"/>
                      <a:pt x="1" y="23"/>
                      <a:pt x="1" y="23"/>
                    </a:cubicBezTo>
                    <a:cubicBezTo>
                      <a:pt x="1" y="23"/>
                      <a:pt x="1" y="23"/>
                      <a:pt x="1" y="23"/>
                    </a:cubicBezTo>
                    <a:moveTo>
                      <a:pt x="21" y="0"/>
                    </a:moveTo>
                    <a:cubicBezTo>
                      <a:pt x="21" y="0"/>
                      <a:pt x="20" y="0"/>
                      <a:pt x="20" y="0"/>
                    </a:cubicBezTo>
                    <a:cubicBezTo>
                      <a:pt x="16" y="1"/>
                      <a:pt x="16" y="7"/>
                      <a:pt x="14" y="10"/>
                    </a:cubicBezTo>
                    <a:cubicBezTo>
                      <a:pt x="12" y="12"/>
                      <a:pt x="11" y="12"/>
                      <a:pt x="8" y="13"/>
                    </a:cubicBezTo>
                    <a:cubicBezTo>
                      <a:pt x="6" y="13"/>
                      <a:pt x="5" y="14"/>
                      <a:pt x="3" y="15"/>
                    </a:cubicBezTo>
                    <a:cubicBezTo>
                      <a:pt x="2" y="16"/>
                      <a:pt x="2" y="16"/>
                      <a:pt x="1" y="16"/>
                    </a:cubicBezTo>
                    <a:cubicBezTo>
                      <a:pt x="1" y="16"/>
                      <a:pt x="1" y="16"/>
                      <a:pt x="1" y="16"/>
                    </a:cubicBezTo>
                    <a:cubicBezTo>
                      <a:pt x="1" y="16"/>
                      <a:pt x="1" y="16"/>
                      <a:pt x="1" y="16"/>
                    </a:cubicBezTo>
                    <a:cubicBezTo>
                      <a:pt x="0" y="16"/>
                      <a:pt x="0" y="16"/>
                      <a:pt x="0" y="17"/>
                    </a:cubicBezTo>
                    <a:cubicBezTo>
                      <a:pt x="0" y="17"/>
                      <a:pt x="0" y="17"/>
                      <a:pt x="0" y="17"/>
                    </a:cubicBezTo>
                    <a:cubicBezTo>
                      <a:pt x="0" y="17"/>
                      <a:pt x="1" y="19"/>
                      <a:pt x="1" y="19"/>
                    </a:cubicBezTo>
                    <a:cubicBezTo>
                      <a:pt x="2" y="20"/>
                      <a:pt x="0" y="21"/>
                      <a:pt x="1" y="23"/>
                    </a:cubicBezTo>
                    <a:cubicBezTo>
                      <a:pt x="1" y="23"/>
                      <a:pt x="1" y="23"/>
                      <a:pt x="1" y="23"/>
                    </a:cubicBezTo>
                    <a:cubicBezTo>
                      <a:pt x="1" y="23"/>
                      <a:pt x="4" y="24"/>
                      <a:pt x="5" y="25"/>
                    </a:cubicBezTo>
                    <a:cubicBezTo>
                      <a:pt x="7" y="23"/>
                      <a:pt x="9" y="21"/>
                      <a:pt x="11" y="19"/>
                    </a:cubicBezTo>
                    <a:cubicBezTo>
                      <a:pt x="14" y="16"/>
                      <a:pt x="23" y="11"/>
                      <a:pt x="23" y="6"/>
                    </a:cubicBezTo>
                    <a:cubicBezTo>
                      <a:pt x="24" y="4"/>
                      <a:pt x="23"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1" name="Freeform 379"/>
              <p:cNvSpPr/>
              <p:nvPr/>
            </p:nvSpPr>
            <p:spPr bwMode="auto">
              <a:xfrm>
                <a:off x="7747" y="412"/>
                <a:ext cx="83" cy="64"/>
              </a:xfrm>
              <a:custGeom>
                <a:gdLst>
                  <a:gd name="T0" fmla="*/ 28 w 35"/>
                  <a:gd name="T1" fmla="*/ 0 h 27"/>
                  <a:gd name="T2" fmla="*/ 20 w 35"/>
                  <a:gd name="T3" fmla="*/ 4 h 27"/>
                  <a:gd name="T4" fmla="*/ 9 w 35"/>
                  <a:gd name="T5" fmla="*/ 7 h 27"/>
                  <a:gd name="T6" fmla="*/ 13 w 35"/>
                  <a:gd name="T7" fmla="*/ 8 h 27"/>
                  <a:gd name="T8" fmla="*/ 0 w 35"/>
                  <a:gd name="T9" fmla="*/ 24 h 27"/>
                  <a:gd name="T10" fmla="*/ 2 w 35"/>
                  <a:gd name="T11" fmla="*/ 27 h 27"/>
                  <a:gd name="T12" fmla="*/ 30 w 35"/>
                  <a:gd name="T13" fmla="*/ 13 h 27"/>
                  <a:gd name="T14" fmla="*/ 30 w 35"/>
                  <a:gd name="T15" fmla="*/ 1 h 27"/>
                  <a:gd name="T16" fmla="*/ 28 w 35"/>
                  <a:gd name="T17"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8" y="0"/>
                    </a:moveTo>
                    <a:cubicBezTo>
                      <a:pt x="26" y="0"/>
                      <a:pt x="22" y="4"/>
                      <a:pt x="20" y="4"/>
                    </a:cubicBezTo>
                    <a:cubicBezTo>
                      <a:pt x="16" y="6"/>
                      <a:pt x="13" y="6"/>
                      <a:pt x="9" y="7"/>
                    </a:cubicBezTo>
                    <a:cubicBezTo>
                      <a:pt x="10" y="7"/>
                      <a:pt x="11" y="8"/>
                      <a:pt x="13" y="8"/>
                    </a:cubicBezTo>
                    <a:cubicBezTo>
                      <a:pt x="6" y="12"/>
                      <a:pt x="8" y="22"/>
                      <a:pt x="0" y="24"/>
                    </a:cubicBezTo>
                    <a:cubicBezTo>
                      <a:pt x="0" y="25"/>
                      <a:pt x="1" y="26"/>
                      <a:pt x="2" y="27"/>
                    </a:cubicBezTo>
                    <a:cubicBezTo>
                      <a:pt x="10" y="22"/>
                      <a:pt x="20" y="18"/>
                      <a:pt x="30" y="13"/>
                    </a:cubicBezTo>
                    <a:cubicBezTo>
                      <a:pt x="35" y="10"/>
                      <a:pt x="31" y="4"/>
                      <a:pt x="30" y="1"/>
                    </a:cubicBezTo>
                    <a:cubicBezTo>
                      <a:pt x="29" y="0"/>
                      <a:pt x="29"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380"/>
              <p:cNvSpPr/>
              <p:nvPr/>
            </p:nvSpPr>
            <p:spPr bwMode="auto">
              <a:xfrm>
                <a:off x="7884" y="739"/>
                <a:ext cx="57" cy="49"/>
              </a:xfrm>
              <a:custGeom>
                <a:gdLst>
                  <a:gd name="T0" fmla="*/ 12 w 24"/>
                  <a:gd name="T1" fmla="*/ 0 h 21"/>
                  <a:gd name="T2" fmla="*/ 0 w 24"/>
                  <a:gd name="T3" fmla="*/ 1 h 21"/>
                  <a:gd name="T4" fmla="*/ 10 w 24"/>
                  <a:gd name="T5" fmla="*/ 11 h 21"/>
                  <a:gd name="T6" fmla="*/ 22 w 24"/>
                  <a:gd name="T7" fmla="*/ 21 h 21"/>
                  <a:gd name="T8" fmla="*/ 17 w 24"/>
                  <a:gd name="T9" fmla="*/ 12 h 21"/>
                  <a:gd name="T10" fmla="*/ 12 w 24"/>
                  <a:gd name="T11" fmla="*/ 0 h 21"/>
                </a:gdLst>
                <a:cxnLst>
                  <a:cxn ang="0">
                    <a:pos x="T0" y="T1"/>
                  </a:cxn>
                  <a:cxn ang="0">
                    <a:pos x="T2" y="T3"/>
                  </a:cxn>
                  <a:cxn ang="0">
                    <a:pos x="T4" y="T5"/>
                  </a:cxn>
                  <a:cxn ang="0">
                    <a:pos x="T6" y="T7"/>
                  </a:cxn>
                  <a:cxn ang="0">
                    <a:pos x="T8" y="T9"/>
                  </a:cxn>
                  <a:cxn ang="0">
                    <a:pos x="T10" y="T11"/>
                  </a:cxn>
                </a:cxnLst>
                <a:rect l="0" t="0" r="r" b="b"/>
                <a:pathLst>
                  <a:path w="24" h="21">
                    <a:moveTo>
                      <a:pt x="12" y="0"/>
                    </a:moveTo>
                    <a:cubicBezTo>
                      <a:pt x="8" y="0"/>
                      <a:pt x="4" y="0"/>
                      <a:pt x="0" y="1"/>
                    </a:cubicBezTo>
                    <a:cubicBezTo>
                      <a:pt x="6" y="2"/>
                      <a:pt x="7" y="7"/>
                      <a:pt x="10" y="11"/>
                    </a:cubicBezTo>
                    <a:cubicBezTo>
                      <a:pt x="14" y="16"/>
                      <a:pt x="17" y="18"/>
                      <a:pt x="22" y="21"/>
                    </a:cubicBezTo>
                    <a:cubicBezTo>
                      <a:pt x="24" y="16"/>
                      <a:pt x="20" y="15"/>
                      <a:pt x="17" y="12"/>
                    </a:cubicBezTo>
                    <a:cubicBezTo>
                      <a:pt x="13" y="8"/>
                      <a:pt x="12" y="5"/>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381"/>
              <p:cNvSpPr/>
              <p:nvPr/>
            </p:nvSpPr>
            <p:spPr bwMode="auto">
              <a:xfrm>
                <a:off x="5540" y="4812"/>
                <a:ext cx="9" cy="9"/>
              </a:xfrm>
              <a:custGeom>
                <a:gdLst>
                  <a:gd name="T0" fmla="*/ 4 w 4"/>
                  <a:gd name="T1" fmla="*/ 0 h 4"/>
                  <a:gd name="T2" fmla="*/ 1 w 4"/>
                  <a:gd name="T3" fmla="*/ 4 h 4"/>
                  <a:gd name="T4" fmla="*/ 4 w 4"/>
                  <a:gd name="T5" fmla="*/ 0 h 4"/>
                </a:gdLst>
                <a:cxnLst>
                  <a:cxn ang="0">
                    <a:pos x="T0" y="T1"/>
                  </a:cxn>
                  <a:cxn ang="0">
                    <a:pos x="T2" y="T3"/>
                  </a:cxn>
                  <a:cxn ang="0">
                    <a:pos x="T4" y="T5"/>
                  </a:cxn>
                </a:cxnLst>
                <a:rect l="0" t="0" r="r" b="b"/>
                <a:pathLst>
                  <a:path w="4" h="4">
                    <a:moveTo>
                      <a:pt x="4" y="0"/>
                    </a:moveTo>
                    <a:cubicBezTo>
                      <a:pt x="3" y="1"/>
                      <a:pt x="0" y="2"/>
                      <a:pt x="1" y="4"/>
                    </a:cubicBezTo>
                    <a:cubicBezTo>
                      <a:pt x="3" y="3"/>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382"/>
              <p:cNvSpPr/>
              <p:nvPr/>
            </p:nvSpPr>
            <p:spPr bwMode="auto">
              <a:xfrm>
                <a:off x="2180" y="2909"/>
                <a:ext cx="12" cy="16"/>
              </a:xfrm>
              <a:custGeom>
                <a:gdLst>
                  <a:gd name="T0" fmla="*/ 1 w 5"/>
                  <a:gd name="T1" fmla="*/ 0 h 7"/>
                  <a:gd name="T2" fmla="*/ 2 w 5"/>
                  <a:gd name="T3" fmla="*/ 2 h 7"/>
                  <a:gd name="T4" fmla="*/ 1 w 5"/>
                  <a:gd name="T5" fmla="*/ 1 h 7"/>
                  <a:gd name="T6" fmla="*/ 0 w 5"/>
                  <a:gd name="T7" fmla="*/ 7 h 7"/>
                  <a:gd name="T8" fmla="*/ 4 w 5"/>
                  <a:gd name="T9" fmla="*/ 3 h 7"/>
                  <a:gd name="T10" fmla="*/ 2 w 5"/>
                  <a:gd name="T11" fmla="*/ 2 h 7"/>
                  <a:gd name="T12" fmla="*/ 5 w 5"/>
                  <a:gd name="T13" fmla="*/ 2 h 7"/>
                  <a:gd name="T14" fmla="*/ 5 w 5"/>
                  <a:gd name="T15" fmla="*/ 2 h 7"/>
                  <a:gd name="T16" fmla="*/ 1 w 5"/>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1" y="0"/>
                    </a:moveTo>
                    <a:cubicBezTo>
                      <a:pt x="1" y="1"/>
                      <a:pt x="1" y="1"/>
                      <a:pt x="2" y="2"/>
                    </a:cubicBezTo>
                    <a:cubicBezTo>
                      <a:pt x="1" y="2"/>
                      <a:pt x="1" y="2"/>
                      <a:pt x="1" y="1"/>
                    </a:cubicBezTo>
                    <a:cubicBezTo>
                      <a:pt x="0" y="3"/>
                      <a:pt x="0" y="5"/>
                      <a:pt x="0" y="7"/>
                    </a:cubicBezTo>
                    <a:cubicBezTo>
                      <a:pt x="5" y="7"/>
                      <a:pt x="2" y="5"/>
                      <a:pt x="4" y="3"/>
                    </a:cubicBezTo>
                    <a:cubicBezTo>
                      <a:pt x="4" y="2"/>
                      <a:pt x="3" y="2"/>
                      <a:pt x="2" y="2"/>
                    </a:cubicBezTo>
                    <a:cubicBezTo>
                      <a:pt x="3" y="2"/>
                      <a:pt x="4" y="2"/>
                      <a:pt x="5" y="2"/>
                    </a:cubicBezTo>
                    <a:cubicBezTo>
                      <a:pt x="5" y="2"/>
                      <a:pt x="5" y="2"/>
                      <a:pt x="5" y="2"/>
                    </a:cubicBezTo>
                    <a:cubicBezTo>
                      <a:pt x="4"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383"/>
              <p:cNvSpPr/>
              <p:nvPr/>
            </p:nvSpPr>
            <p:spPr bwMode="auto">
              <a:xfrm>
                <a:off x="2166" y="2909"/>
                <a:ext cx="11" cy="11"/>
              </a:xfrm>
              <a:custGeom>
                <a:gdLst>
                  <a:gd name="T0" fmla="*/ 5 w 5"/>
                  <a:gd name="T1" fmla="*/ 0 h 5"/>
                  <a:gd name="T2" fmla="*/ 0 w 5"/>
                  <a:gd name="T3" fmla="*/ 3 h 5"/>
                  <a:gd name="T4" fmla="*/ 2 w 5"/>
                  <a:gd name="T5" fmla="*/ 5 h 5"/>
                  <a:gd name="T6" fmla="*/ 4 w 5"/>
                  <a:gd name="T7" fmla="*/ 4 h 5"/>
                  <a:gd name="T8" fmla="*/ 5 w 5"/>
                  <a:gd name="T9" fmla="*/ 0 h 5"/>
                </a:gdLst>
                <a:cxnLst>
                  <a:cxn ang="0">
                    <a:pos x="T0" y="T1"/>
                  </a:cxn>
                  <a:cxn ang="0">
                    <a:pos x="T2" y="T3"/>
                  </a:cxn>
                  <a:cxn ang="0">
                    <a:pos x="T4" y="T5"/>
                  </a:cxn>
                  <a:cxn ang="0">
                    <a:pos x="T6" y="T7"/>
                  </a:cxn>
                  <a:cxn ang="0">
                    <a:pos x="T8" y="T9"/>
                  </a:cxn>
                </a:cxnLst>
                <a:rect l="0" t="0" r="r" b="b"/>
                <a:pathLst>
                  <a:path w="5" h="5">
                    <a:moveTo>
                      <a:pt x="5" y="0"/>
                    </a:moveTo>
                    <a:cubicBezTo>
                      <a:pt x="2" y="1"/>
                      <a:pt x="0" y="0"/>
                      <a:pt x="0" y="3"/>
                    </a:cubicBezTo>
                    <a:cubicBezTo>
                      <a:pt x="0" y="4"/>
                      <a:pt x="1" y="5"/>
                      <a:pt x="2" y="5"/>
                    </a:cubicBezTo>
                    <a:cubicBezTo>
                      <a:pt x="3" y="5"/>
                      <a:pt x="3" y="4"/>
                      <a:pt x="4" y="4"/>
                    </a:cubicBezTo>
                    <a:cubicBezTo>
                      <a:pt x="5" y="2"/>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384"/>
              <p:cNvSpPr/>
              <p:nvPr/>
            </p:nvSpPr>
            <p:spPr bwMode="auto">
              <a:xfrm>
                <a:off x="2185" y="2913"/>
                <a:ext cx="14" cy="15"/>
              </a:xfrm>
              <a:custGeom>
                <a:gdLst>
                  <a:gd name="T0" fmla="*/ 5 w 6"/>
                  <a:gd name="T1" fmla="*/ 0 h 6"/>
                  <a:gd name="T2" fmla="*/ 5 w 6"/>
                  <a:gd name="T3" fmla="*/ 6 h 6"/>
                  <a:gd name="T4" fmla="*/ 5 w 6"/>
                  <a:gd name="T5" fmla="*/ 0 h 6"/>
                </a:gdLst>
                <a:cxnLst>
                  <a:cxn ang="0">
                    <a:pos x="T0" y="T1"/>
                  </a:cxn>
                  <a:cxn ang="0">
                    <a:pos x="T2" y="T3"/>
                  </a:cxn>
                  <a:cxn ang="0">
                    <a:pos x="T4" y="T5"/>
                  </a:cxn>
                </a:cxnLst>
                <a:rect l="0" t="0" r="r" b="b"/>
                <a:pathLst>
                  <a:path w="6" h="6">
                    <a:moveTo>
                      <a:pt x="5" y="0"/>
                    </a:moveTo>
                    <a:cubicBezTo>
                      <a:pt x="0" y="2"/>
                      <a:pt x="2" y="3"/>
                      <a:pt x="5" y="6"/>
                    </a:cubicBezTo>
                    <a:cubicBezTo>
                      <a:pt x="6"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385"/>
              <p:cNvSpPr/>
              <p:nvPr/>
            </p:nvSpPr>
            <p:spPr bwMode="auto">
              <a:xfrm>
                <a:off x="115" y="2169"/>
                <a:ext cx="137" cy="68"/>
              </a:xfrm>
              <a:custGeom>
                <a:gdLst>
                  <a:gd name="T0" fmla="*/ 58 w 58"/>
                  <a:gd name="T1" fmla="*/ 0 h 29"/>
                  <a:gd name="T2" fmla="*/ 35 w 58"/>
                  <a:gd name="T3" fmla="*/ 9 h 29"/>
                  <a:gd name="T4" fmla="*/ 34 w 58"/>
                  <a:gd name="T5" fmla="*/ 9 h 29"/>
                  <a:gd name="T6" fmla="*/ 30 w 58"/>
                  <a:gd name="T7" fmla="*/ 9 h 29"/>
                  <a:gd name="T8" fmla="*/ 25 w 58"/>
                  <a:gd name="T9" fmla="*/ 9 h 29"/>
                  <a:gd name="T10" fmla="*/ 17 w 58"/>
                  <a:gd name="T11" fmla="*/ 8 h 29"/>
                  <a:gd name="T12" fmla="*/ 15 w 58"/>
                  <a:gd name="T13" fmla="*/ 12 h 29"/>
                  <a:gd name="T14" fmla="*/ 7 w 58"/>
                  <a:gd name="T15" fmla="*/ 16 h 29"/>
                  <a:gd name="T16" fmla="*/ 5 w 58"/>
                  <a:gd name="T17" fmla="*/ 18 h 29"/>
                  <a:gd name="T18" fmla="*/ 5 w 58"/>
                  <a:gd name="T19" fmla="*/ 18 h 29"/>
                  <a:gd name="T20" fmla="*/ 3 w 58"/>
                  <a:gd name="T21" fmla="*/ 17 h 29"/>
                  <a:gd name="T22" fmla="*/ 1 w 58"/>
                  <a:gd name="T23" fmla="*/ 16 h 29"/>
                  <a:gd name="T24" fmla="*/ 1 w 58"/>
                  <a:gd name="T25" fmla="*/ 16 h 29"/>
                  <a:gd name="T26" fmla="*/ 4 w 58"/>
                  <a:gd name="T27" fmla="*/ 25 h 29"/>
                  <a:gd name="T28" fmla="*/ 17 w 58"/>
                  <a:gd name="T29" fmla="*/ 29 h 29"/>
                  <a:gd name="T30" fmla="*/ 18 w 58"/>
                  <a:gd name="T31" fmla="*/ 29 h 29"/>
                  <a:gd name="T32" fmla="*/ 33 w 58"/>
                  <a:gd name="T33" fmla="*/ 24 h 29"/>
                  <a:gd name="T34" fmla="*/ 37 w 58"/>
                  <a:gd name="T35" fmla="*/ 19 h 29"/>
                  <a:gd name="T36" fmla="*/ 41 w 58"/>
                  <a:gd name="T37" fmla="*/ 20 h 29"/>
                  <a:gd name="T38" fmla="*/ 41 w 58"/>
                  <a:gd name="T39" fmla="*/ 20 h 29"/>
                  <a:gd name="T40" fmla="*/ 41 w 58"/>
                  <a:gd name="T41" fmla="*/ 17 h 29"/>
                  <a:gd name="T42" fmla="*/ 43 w 58"/>
                  <a:gd name="T43" fmla="*/ 20 h 29"/>
                  <a:gd name="T44" fmla="*/ 45 w 58"/>
                  <a:gd name="T45" fmla="*/ 19 h 29"/>
                  <a:gd name="T46" fmla="*/ 46 w 58"/>
                  <a:gd name="T47" fmla="*/ 20 h 29"/>
                  <a:gd name="T48" fmla="*/ 43 w 58"/>
                  <a:gd name="T49" fmla="*/ 10 h 29"/>
                  <a:gd name="T50" fmla="*/ 45 w 58"/>
                  <a:gd name="T51" fmla="*/ 9 h 29"/>
                  <a:gd name="T52" fmla="*/ 47 w 58"/>
                  <a:gd name="T53" fmla="*/ 7 h 29"/>
                  <a:gd name="T54" fmla="*/ 51 w 58"/>
                  <a:gd name="T55" fmla="*/ 5 h 29"/>
                  <a:gd name="T56" fmla="*/ 58 w 58"/>
                  <a:gd name="T57"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28">
                    <a:moveTo>
                      <a:pt x="58" y="0"/>
                    </a:moveTo>
                    <a:cubicBezTo>
                      <a:pt x="50" y="3"/>
                      <a:pt x="43" y="6"/>
                      <a:pt x="35" y="9"/>
                    </a:cubicBezTo>
                    <a:cubicBezTo>
                      <a:pt x="35" y="9"/>
                      <a:pt x="35" y="9"/>
                      <a:pt x="34" y="9"/>
                    </a:cubicBezTo>
                    <a:cubicBezTo>
                      <a:pt x="33" y="9"/>
                      <a:pt x="32" y="9"/>
                      <a:pt x="30" y="9"/>
                    </a:cubicBezTo>
                    <a:cubicBezTo>
                      <a:pt x="29" y="9"/>
                      <a:pt x="27" y="9"/>
                      <a:pt x="25" y="9"/>
                    </a:cubicBezTo>
                    <a:cubicBezTo>
                      <a:pt x="22" y="9"/>
                      <a:pt x="19" y="9"/>
                      <a:pt x="17" y="8"/>
                    </a:cubicBezTo>
                    <a:cubicBezTo>
                      <a:pt x="17" y="11"/>
                      <a:pt x="18" y="11"/>
                      <a:pt x="15" y="12"/>
                    </a:cubicBezTo>
                    <a:cubicBezTo>
                      <a:pt x="12" y="13"/>
                      <a:pt x="9" y="13"/>
                      <a:pt x="7" y="16"/>
                    </a:cubicBezTo>
                    <a:cubicBezTo>
                      <a:pt x="6" y="16"/>
                      <a:pt x="6" y="17"/>
                      <a:pt x="5" y="18"/>
                    </a:cubicBezTo>
                    <a:cubicBezTo>
                      <a:pt x="5" y="18"/>
                      <a:pt x="5" y="18"/>
                      <a:pt x="5" y="18"/>
                    </a:cubicBezTo>
                    <a:cubicBezTo>
                      <a:pt x="4" y="18"/>
                      <a:pt x="3" y="17"/>
                      <a:pt x="3" y="17"/>
                    </a:cubicBezTo>
                    <a:cubicBezTo>
                      <a:pt x="2" y="16"/>
                      <a:pt x="1" y="16"/>
                      <a:pt x="1" y="16"/>
                    </a:cubicBezTo>
                    <a:cubicBezTo>
                      <a:pt x="1" y="16"/>
                      <a:pt x="1" y="16"/>
                      <a:pt x="1" y="16"/>
                    </a:cubicBezTo>
                    <a:cubicBezTo>
                      <a:pt x="0" y="17"/>
                      <a:pt x="4" y="25"/>
                      <a:pt x="4" y="25"/>
                    </a:cubicBezTo>
                    <a:cubicBezTo>
                      <a:pt x="8" y="29"/>
                      <a:pt x="13" y="28"/>
                      <a:pt x="17" y="29"/>
                    </a:cubicBezTo>
                    <a:cubicBezTo>
                      <a:pt x="18" y="29"/>
                      <a:pt x="18" y="29"/>
                      <a:pt x="18" y="29"/>
                    </a:cubicBezTo>
                    <a:cubicBezTo>
                      <a:pt x="23" y="29"/>
                      <a:pt x="29" y="26"/>
                      <a:pt x="33" y="24"/>
                    </a:cubicBezTo>
                    <a:cubicBezTo>
                      <a:pt x="35" y="23"/>
                      <a:pt x="35" y="21"/>
                      <a:pt x="37" y="19"/>
                    </a:cubicBezTo>
                    <a:cubicBezTo>
                      <a:pt x="38" y="20"/>
                      <a:pt x="39" y="20"/>
                      <a:pt x="41" y="20"/>
                    </a:cubicBezTo>
                    <a:cubicBezTo>
                      <a:pt x="41" y="20"/>
                      <a:pt x="41" y="20"/>
                      <a:pt x="41" y="20"/>
                    </a:cubicBezTo>
                    <a:cubicBezTo>
                      <a:pt x="42" y="20"/>
                      <a:pt x="41" y="18"/>
                      <a:pt x="41" y="17"/>
                    </a:cubicBezTo>
                    <a:cubicBezTo>
                      <a:pt x="42" y="19"/>
                      <a:pt x="42" y="20"/>
                      <a:pt x="43" y="20"/>
                    </a:cubicBezTo>
                    <a:cubicBezTo>
                      <a:pt x="43" y="20"/>
                      <a:pt x="44" y="20"/>
                      <a:pt x="45" y="19"/>
                    </a:cubicBezTo>
                    <a:cubicBezTo>
                      <a:pt x="46" y="20"/>
                      <a:pt x="46" y="20"/>
                      <a:pt x="46" y="20"/>
                    </a:cubicBezTo>
                    <a:cubicBezTo>
                      <a:pt x="44" y="17"/>
                      <a:pt x="40" y="13"/>
                      <a:pt x="43" y="10"/>
                    </a:cubicBezTo>
                    <a:cubicBezTo>
                      <a:pt x="43" y="10"/>
                      <a:pt x="45" y="10"/>
                      <a:pt x="45" y="9"/>
                    </a:cubicBezTo>
                    <a:cubicBezTo>
                      <a:pt x="46" y="9"/>
                      <a:pt x="46" y="8"/>
                      <a:pt x="47" y="7"/>
                    </a:cubicBezTo>
                    <a:cubicBezTo>
                      <a:pt x="48" y="6"/>
                      <a:pt x="50" y="6"/>
                      <a:pt x="51" y="5"/>
                    </a:cubicBezTo>
                    <a:cubicBezTo>
                      <a:pt x="53" y="4"/>
                      <a:pt x="58" y="1"/>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386"/>
              <p:cNvSpPr/>
              <p:nvPr/>
            </p:nvSpPr>
            <p:spPr bwMode="auto">
              <a:xfrm>
                <a:off x="3529" y="2987"/>
                <a:ext cx="14" cy="16"/>
              </a:xfrm>
              <a:custGeom>
                <a:gdLst>
                  <a:gd name="T0" fmla="*/ 0 w 6"/>
                  <a:gd name="T1" fmla="*/ 0 h 7"/>
                  <a:gd name="T2" fmla="*/ 2 w 6"/>
                  <a:gd name="T3" fmla="*/ 7 h 7"/>
                  <a:gd name="T4" fmla="*/ 0 w 6"/>
                  <a:gd name="T5" fmla="*/ 0 h 7"/>
                </a:gdLst>
                <a:cxnLst>
                  <a:cxn ang="0">
                    <a:pos x="T0" y="T1"/>
                  </a:cxn>
                  <a:cxn ang="0">
                    <a:pos x="T2" y="T3"/>
                  </a:cxn>
                  <a:cxn ang="0">
                    <a:pos x="T4" y="T5"/>
                  </a:cxn>
                </a:cxnLst>
                <a:rect l="0" t="0" r="r" b="b"/>
                <a:pathLst>
                  <a:path w="6" h="7">
                    <a:moveTo>
                      <a:pt x="0" y="0"/>
                    </a:moveTo>
                    <a:cubicBezTo>
                      <a:pt x="0" y="2"/>
                      <a:pt x="1" y="4"/>
                      <a:pt x="2" y="7"/>
                    </a:cubicBezTo>
                    <a:cubicBezTo>
                      <a:pt x="6" y="5"/>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387"/>
              <p:cNvSpPr/>
              <p:nvPr/>
            </p:nvSpPr>
            <p:spPr bwMode="auto">
              <a:xfrm>
                <a:off x="3680" y="3223"/>
                <a:ext cx="12" cy="12"/>
              </a:xfrm>
              <a:custGeom>
                <a:gdLst>
                  <a:gd name="T0" fmla="*/ 3 w 5"/>
                  <a:gd name="T1" fmla="*/ 0 h 5"/>
                  <a:gd name="T2" fmla="*/ 0 w 5"/>
                  <a:gd name="T3" fmla="*/ 1 h 5"/>
                  <a:gd name="T4" fmla="*/ 3 w 5"/>
                  <a:gd name="T5" fmla="*/ 5 h 5"/>
                  <a:gd name="T6" fmla="*/ 3 w 5"/>
                  <a:gd name="T7" fmla="*/ 5 h 5"/>
                  <a:gd name="T8" fmla="*/ 4 w 5"/>
                  <a:gd name="T9" fmla="*/ 5 h 5"/>
                  <a:gd name="T10" fmla="*/ 5 w 5"/>
                  <a:gd name="T11" fmla="*/ 3 h 5"/>
                  <a:gd name="T12" fmla="*/ 3 w 5"/>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5" h="5">
                    <a:moveTo>
                      <a:pt x="3" y="0"/>
                    </a:moveTo>
                    <a:cubicBezTo>
                      <a:pt x="2" y="1"/>
                      <a:pt x="1" y="1"/>
                      <a:pt x="0" y="1"/>
                    </a:cubicBezTo>
                    <a:cubicBezTo>
                      <a:pt x="0" y="2"/>
                      <a:pt x="1" y="4"/>
                      <a:pt x="3" y="5"/>
                    </a:cubicBezTo>
                    <a:cubicBezTo>
                      <a:pt x="3" y="5"/>
                      <a:pt x="3" y="5"/>
                      <a:pt x="3" y="5"/>
                    </a:cubicBezTo>
                    <a:cubicBezTo>
                      <a:pt x="4" y="5"/>
                      <a:pt x="4" y="5"/>
                      <a:pt x="4" y="5"/>
                    </a:cubicBezTo>
                    <a:cubicBezTo>
                      <a:pt x="5" y="5"/>
                      <a:pt x="5" y="5"/>
                      <a:pt x="5" y="3"/>
                    </a:cubicBezTo>
                    <a:cubicBezTo>
                      <a:pt x="5" y="2"/>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388"/>
              <p:cNvSpPr/>
              <p:nvPr/>
            </p:nvSpPr>
            <p:spPr bwMode="auto">
              <a:xfrm>
                <a:off x="4869" y="3008"/>
                <a:ext cx="5" cy="5"/>
              </a:xfrm>
              <a:custGeom>
                <a:gdLst>
                  <a:gd name="T0" fmla="*/ 2 w 2"/>
                  <a:gd name="T1" fmla="*/ 0 h 2"/>
                  <a:gd name="T2" fmla="*/ 0 w 2"/>
                  <a:gd name="T3" fmla="*/ 2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1"/>
                      <a:pt x="0" y="1"/>
                      <a:pt x="0" y="2"/>
                    </a:cubicBezTo>
                    <a:cubicBezTo>
                      <a:pt x="1" y="2"/>
                      <a:pt x="1" y="2"/>
                      <a:pt x="1" y="2"/>
                    </a:cubicBezTo>
                    <a:cubicBezTo>
                      <a:pt x="1"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Freeform 389"/>
              <p:cNvSpPr/>
              <p:nvPr/>
            </p:nvSpPr>
            <p:spPr bwMode="auto">
              <a:xfrm>
                <a:off x="4841" y="2973"/>
                <a:ext cx="4" cy="4"/>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1"/>
                      <a:pt x="1" y="2"/>
                      <a:pt x="0" y="2"/>
                    </a:cubicBezTo>
                    <a:cubicBezTo>
                      <a:pt x="1"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391"/>
              <p:cNvSpPr/>
              <p:nvPr/>
            </p:nvSpPr>
            <p:spPr bwMode="auto">
              <a:xfrm>
                <a:off x="3673" y="3857"/>
                <a:ext cx="10" cy="14"/>
              </a:xfrm>
              <a:custGeom>
                <a:gdLst>
                  <a:gd name="T0" fmla="*/ 4 w 4"/>
                  <a:gd name="T1" fmla="*/ 0 h 6"/>
                  <a:gd name="T2" fmla="*/ 2 w 4"/>
                  <a:gd name="T3" fmla="*/ 6 h 6"/>
                  <a:gd name="T4" fmla="*/ 4 w 4"/>
                  <a:gd name="T5" fmla="*/ 0 h 6"/>
                </a:gdLst>
                <a:cxnLst>
                  <a:cxn ang="0">
                    <a:pos x="T0" y="T1"/>
                  </a:cxn>
                  <a:cxn ang="0">
                    <a:pos x="T2" y="T3"/>
                  </a:cxn>
                  <a:cxn ang="0">
                    <a:pos x="T4" y="T5"/>
                  </a:cxn>
                </a:cxnLst>
                <a:rect l="0" t="0" r="r" b="b"/>
                <a:pathLst>
                  <a:path w="4" h="6">
                    <a:moveTo>
                      <a:pt x="4" y="0"/>
                    </a:moveTo>
                    <a:cubicBezTo>
                      <a:pt x="0" y="1"/>
                      <a:pt x="3" y="4"/>
                      <a:pt x="2" y="6"/>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392"/>
              <p:cNvSpPr/>
              <p:nvPr/>
            </p:nvSpPr>
            <p:spPr bwMode="auto">
              <a:xfrm>
                <a:off x="3685" y="3904"/>
                <a:ext cx="7" cy="9"/>
              </a:xfrm>
              <a:custGeom>
                <a:gdLst>
                  <a:gd name="T0" fmla="*/ 3 w 3"/>
                  <a:gd name="T1" fmla="*/ 0 h 4"/>
                  <a:gd name="T2" fmla="*/ 1 w 3"/>
                  <a:gd name="T3" fmla="*/ 4 h 4"/>
                  <a:gd name="T4" fmla="*/ 3 w 3"/>
                  <a:gd name="T5" fmla="*/ 0 h 4"/>
                </a:gdLst>
                <a:cxnLst>
                  <a:cxn ang="0">
                    <a:pos x="T0" y="T1"/>
                  </a:cxn>
                  <a:cxn ang="0">
                    <a:pos x="T2" y="T3"/>
                  </a:cxn>
                  <a:cxn ang="0">
                    <a:pos x="T4" y="T5"/>
                  </a:cxn>
                </a:cxnLst>
                <a:rect l="0" t="0" r="r" b="b"/>
                <a:pathLst>
                  <a:path w="3" h="4">
                    <a:moveTo>
                      <a:pt x="3" y="0"/>
                    </a:moveTo>
                    <a:cubicBezTo>
                      <a:pt x="1" y="1"/>
                      <a:pt x="0" y="2"/>
                      <a:pt x="1" y="4"/>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393"/>
              <p:cNvSpPr/>
              <p:nvPr/>
            </p:nvSpPr>
            <p:spPr bwMode="auto">
              <a:xfrm>
                <a:off x="3633" y="3578"/>
                <a:ext cx="2" cy="9"/>
              </a:xfrm>
              <a:custGeom>
                <a:gdLst>
                  <a:gd name="T0" fmla="*/ 1 w 1"/>
                  <a:gd name="T1" fmla="*/ 0 h 4"/>
                  <a:gd name="T2" fmla="*/ 0 w 1"/>
                  <a:gd name="T3" fmla="*/ 3 h 4"/>
                  <a:gd name="T4" fmla="*/ 0 w 1"/>
                  <a:gd name="T5" fmla="*/ 4 h 4"/>
                  <a:gd name="T6" fmla="*/ 0 w 1"/>
                  <a:gd name="T7" fmla="*/ 2 h 4"/>
                  <a:gd name="T8" fmla="*/ 1 w 1"/>
                  <a:gd name="T9" fmla="*/ 0 h 4"/>
                </a:gdLst>
                <a:cxnLst>
                  <a:cxn ang="0">
                    <a:pos x="T0" y="T1"/>
                  </a:cxn>
                  <a:cxn ang="0">
                    <a:pos x="T2" y="T3"/>
                  </a:cxn>
                  <a:cxn ang="0">
                    <a:pos x="T4" y="T5"/>
                  </a:cxn>
                  <a:cxn ang="0">
                    <a:pos x="T6" y="T7"/>
                  </a:cxn>
                  <a:cxn ang="0">
                    <a:pos x="T8" y="T9"/>
                  </a:cxn>
                </a:cxnLst>
                <a:rect l="0" t="0" r="r" b="b"/>
                <a:pathLst>
                  <a:path w="1" h="4">
                    <a:moveTo>
                      <a:pt x="1" y="0"/>
                    </a:moveTo>
                    <a:cubicBezTo>
                      <a:pt x="0" y="1"/>
                      <a:pt x="0" y="2"/>
                      <a:pt x="0" y="3"/>
                    </a:cubicBezTo>
                    <a:cubicBezTo>
                      <a:pt x="0" y="3"/>
                      <a:pt x="0" y="4"/>
                      <a:pt x="0" y="4"/>
                    </a:cubicBezTo>
                    <a:cubicBezTo>
                      <a:pt x="0" y="4"/>
                      <a:pt x="0" y="3"/>
                      <a:pt x="0" y="2"/>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394"/>
              <p:cNvSpPr/>
              <p:nvPr/>
            </p:nvSpPr>
            <p:spPr bwMode="auto">
              <a:xfrm>
                <a:off x="3657" y="3852"/>
                <a:ext cx="4" cy="5"/>
              </a:xfrm>
              <a:custGeom>
                <a:gdLst>
                  <a:gd name="T0" fmla="*/ 0 w 2"/>
                  <a:gd name="T1" fmla="*/ 0 h 2"/>
                  <a:gd name="T2" fmla="*/ 0 w 2"/>
                  <a:gd name="T3" fmla="*/ 1 h 2"/>
                  <a:gd name="T4" fmla="*/ 2 w 2"/>
                  <a:gd name="T5" fmla="*/ 2 h 2"/>
                  <a:gd name="T6" fmla="*/ 1 w 2"/>
                  <a:gd name="T7" fmla="*/ 0 h 2"/>
                  <a:gd name="T8" fmla="*/ 0 w 2"/>
                  <a:gd name="T9" fmla="*/ 0 h 2"/>
                </a:gdLst>
                <a:cxnLst>
                  <a:cxn ang="0">
                    <a:pos x="T0" y="T1"/>
                  </a:cxn>
                  <a:cxn ang="0">
                    <a:pos x="T2" y="T3"/>
                  </a:cxn>
                  <a:cxn ang="0">
                    <a:pos x="T4" y="T5"/>
                  </a:cxn>
                  <a:cxn ang="0">
                    <a:pos x="T6" y="T7"/>
                  </a:cxn>
                  <a:cxn ang="0">
                    <a:pos x="T8" y="T9"/>
                  </a:cxn>
                </a:cxnLst>
                <a:rect l="0" t="0" r="r" b="b"/>
                <a:pathLst>
                  <a:path w="2" h="2">
                    <a:moveTo>
                      <a:pt x="0" y="0"/>
                    </a:moveTo>
                    <a:cubicBezTo>
                      <a:pt x="0" y="1"/>
                      <a:pt x="0" y="1"/>
                      <a:pt x="0" y="1"/>
                    </a:cubicBezTo>
                    <a:cubicBezTo>
                      <a:pt x="1" y="1"/>
                      <a:pt x="1" y="2"/>
                      <a:pt x="2" y="2"/>
                    </a:cubicBezTo>
                    <a:cubicBezTo>
                      <a:pt x="1" y="2"/>
                      <a:pt x="1"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395"/>
              <p:cNvSpPr/>
              <p:nvPr/>
            </p:nvSpPr>
            <p:spPr bwMode="auto">
              <a:xfrm>
                <a:off x="3614" y="3701"/>
                <a:ext cx="12" cy="21"/>
              </a:xfrm>
              <a:custGeom>
                <a:gdLst>
                  <a:gd name="T0" fmla="*/ 3 w 5"/>
                  <a:gd name="T1" fmla="*/ 0 h 9"/>
                  <a:gd name="T2" fmla="*/ 0 w 5"/>
                  <a:gd name="T3" fmla="*/ 3 h 9"/>
                  <a:gd name="T4" fmla="*/ 0 w 5"/>
                  <a:gd name="T5" fmla="*/ 7 h 9"/>
                  <a:gd name="T6" fmla="*/ 0 w 5"/>
                  <a:gd name="T7" fmla="*/ 8 h 9"/>
                  <a:gd name="T8" fmla="*/ 2 w 5"/>
                  <a:gd name="T9" fmla="*/ 9 h 9"/>
                  <a:gd name="T10" fmla="*/ 5 w 5"/>
                  <a:gd name="T11" fmla="*/ 3 h 9"/>
                  <a:gd name="T12" fmla="*/ 5 w 5"/>
                  <a:gd name="T13" fmla="*/ 2 h 9"/>
                  <a:gd name="T14" fmla="*/ 3 w 5"/>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0"/>
                    </a:moveTo>
                    <a:cubicBezTo>
                      <a:pt x="1" y="0"/>
                      <a:pt x="0" y="2"/>
                      <a:pt x="0" y="3"/>
                    </a:cubicBezTo>
                    <a:cubicBezTo>
                      <a:pt x="0" y="4"/>
                      <a:pt x="0" y="6"/>
                      <a:pt x="0" y="7"/>
                    </a:cubicBezTo>
                    <a:cubicBezTo>
                      <a:pt x="0" y="7"/>
                      <a:pt x="0" y="8"/>
                      <a:pt x="0" y="8"/>
                    </a:cubicBezTo>
                    <a:cubicBezTo>
                      <a:pt x="1" y="9"/>
                      <a:pt x="1" y="9"/>
                      <a:pt x="2" y="9"/>
                    </a:cubicBezTo>
                    <a:cubicBezTo>
                      <a:pt x="4" y="9"/>
                      <a:pt x="4" y="4"/>
                      <a:pt x="5" y="3"/>
                    </a:cubicBezTo>
                    <a:cubicBezTo>
                      <a:pt x="5" y="2"/>
                      <a:pt x="5" y="2"/>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396"/>
              <p:cNvSpPr/>
              <p:nvPr/>
            </p:nvSpPr>
            <p:spPr bwMode="auto">
              <a:xfrm>
                <a:off x="3666" y="3868"/>
                <a:ext cx="10" cy="10"/>
              </a:xfrm>
              <a:custGeom>
                <a:gdLst>
                  <a:gd name="T0" fmla="*/ 3 w 4"/>
                  <a:gd name="T1" fmla="*/ 0 h 4"/>
                  <a:gd name="T2" fmla="*/ 4 w 4"/>
                  <a:gd name="T3" fmla="*/ 4 h 4"/>
                  <a:gd name="T4" fmla="*/ 4 w 4"/>
                  <a:gd name="T5" fmla="*/ 4 h 4"/>
                  <a:gd name="T6" fmla="*/ 3 w 4"/>
                  <a:gd name="T7" fmla="*/ 0 h 4"/>
                </a:gdLst>
                <a:cxnLst>
                  <a:cxn ang="0">
                    <a:pos x="T0" y="T1"/>
                  </a:cxn>
                  <a:cxn ang="0">
                    <a:pos x="T2" y="T3"/>
                  </a:cxn>
                  <a:cxn ang="0">
                    <a:pos x="T4" y="T5"/>
                  </a:cxn>
                  <a:cxn ang="0">
                    <a:pos x="T6" y="T7"/>
                  </a:cxn>
                </a:cxnLst>
                <a:rect l="0" t="0" r="r" b="b"/>
                <a:pathLst>
                  <a:path w="4" h="4">
                    <a:moveTo>
                      <a:pt x="3" y="0"/>
                    </a:moveTo>
                    <a:cubicBezTo>
                      <a:pt x="0" y="2"/>
                      <a:pt x="2" y="4"/>
                      <a:pt x="4" y="4"/>
                    </a:cubicBezTo>
                    <a:cubicBezTo>
                      <a:pt x="4" y="4"/>
                      <a:pt x="4" y="4"/>
                      <a:pt x="4" y="4"/>
                    </a:cubicBezTo>
                    <a:cubicBezTo>
                      <a:pt x="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397"/>
              <p:cNvSpPr>
                <a:spLocks noEditPoints="1"/>
              </p:cNvSpPr>
              <p:nvPr/>
            </p:nvSpPr>
            <p:spPr bwMode="auto">
              <a:xfrm>
                <a:off x="3621" y="3542"/>
                <a:ext cx="33" cy="123"/>
              </a:xfrm>
              <a:custGeom>
                <a:gdLst>
                  <a:gd name="T0" fmla="*/ 14 w 14"/>
                  <a:gd name="T1" fmla="*/ 4 h 52"/>
                  <a:gd name="T2" fmla="*/ 14 w 14"/>
                  <a:gd name="T3" fmla="*/ 4 h 52"/>
                  <a:gd name="T4" fmla="*/ 14 w 14"/>
                  <a:gd name="T5" fmla="*/ 4 h 52"/>
                  <a:gd name="T6" fmla="*/ 14 w 14"/>
                  <a:gd name="T7" fmla="*/ 0 h 52"/>
                  <a:gd name="T8" fmla="*/ 9 w 14"/>
                  <a:gd name="T9" fmla="*/ 14 h 52"/>
                  <a:gd name="T10" fmla="*/ 8 w 14"/>
                  <a:gd name="T11" fmla="*/ 17 h 52"/>
                  <a:gd name="T12" fmla="*/ 9 w 14"/>
                  <a:gd name="T13" fmla="*/ 17 h 52"/>
                  <a:gd name="T14" fmla="*/ 7 w 14"/>
                  <a:gd name="T15" fmla="*/ 25 h 52"/>
                  <a:gd name="T16" fmla="*/ 7 w 14"/>
                  <a:gd name="T17" fmla="*/ 32 h 52"/>
                  <a:gd name="T18" fmla="*/ 8 w 14"/>
                  <a:gd name="T19" fmla="*/ 32 h 52"/>
                  <a:gd name="T20" fmla="*/ 7 w 14"/>
                  <a:gd name="T21" fmla="*/ 35 h 52"/>
                  <a:gd name="T22" fmla="*/ 6 w 14"/>
                  <a:gd name="T23" fmla="*/ 35 h 52"/>
                  <a:gd name="T24" fmla="*/ 5 w 14"/>
                  <a:gd name="T25" fmla="*/ 34 h 52"/>
                  <a:gd name="T26" fmla="*/ 4 w 14"/>
                  <a:gd name="T27" fmla="*/ 36 h 52"/>
                  <a:gd name="T28" fmla="*/ 3 w 14"/>
                  <a:gd name="T29" fmla="*/ 38 h 52"/>
                  <a:gd name="T30" fmla="*/ 3 w 14"/>
                  <a:gd name="T31" fmla="*/ 42 h 52"/>
                  <a:gd name="T32" fmla="*/ 2 w 14"/>
                  <a:gd name="T33" fmla="*/ 41 h 52"/>
                  <a:gd name="T34" fmla="*/ 1 w 14"/>
                  <a:gd name="T35" fmla="*/ 42 h 52"/>
                  <a:gd name="T36" fmla="*/ 3 w 14"/>
                  <a:gd name="T37" fmla="*/ 47 h 52"/>
                  <a:gd name="T38" fmla="*/ 3 w 14"/>
                  <a:gd name="T39" fmla="*/ 48 h 52"/>
                  <a:gd name="T40" fmla="*/ 6 w 14"/>
                  <a:gd name="T41" fmla="*/ 52 h 52"/>
                  <a:gd name="T42" fmla="*/ 6 w 14"/>
                  <a:gd name="T43" fmla="*/ 45 h 52"/>
                  <a:gd name="T44" fmla="*/ 7 w 14"/>
                  <a:gd name="T45" fmla="*/ 37 h 52"/>
                  <a:gd name="T46" fmla="*/ 9 w 14"/>
                  <a:gd name="T47" fmla="*/ 33 h 52"/>
                  <a:gd name="T48" fmla="*/ 10 w 14"/>
                  <a:gd name="T49" fmla="*/ 32 h 52"/>
                  <a:gd name="T50" fmla="*/ 9 w 14"/>
                  <a:gd name="T51" fmla="*/ 31 h 52"/>
                  <a:gd name="T52" fmla="*/ 12 w 14"/>
                  <a:gd name="T53" fmla="*/ 26 h 52"/>
                  <a:gd name="T54" fmla="*/ 11 w 14"/>
                  <a:gd name="T55" fmla="*/ 21 h 52"/>
                  <a:gd name="T56" fmla="*/ 10 w 14"/>
                  <a:gd name="T57" fmla="*/ 17 h 52"/>
                  <a:gd name="T58" fmla="*/ 10 w 14"/>
                  <a:gd name="T59" fmla="*/ 17 h 52"/>
                  <a:gd name="T60" fmla="*/ 11 w 14"/>
                  <a:gd name="T61" fmla="*/ 13 h 52"/>
                  <a:gd name="T62" fmla="*/ 14 w 14"/>
                  <a:gd name="T63" fmla="*/ 11 h 52"/>
                  <a:gd name="T64" fmla="*/ 14 w 14"/>
                  <a:gd name="T65" fmla="*/ 9 h 52"/>
                  <a:gd name="T66" fmla="*/ 13 w 14"/>
                  <a:gd name="T67" fmla="*/ 7 h 52"/>
                  <a:gd name="T68" fmla="*/ 12 w 14"/>
                  <a:gd name="T69" fmla="*/ 5 h 52"/>
                  <a:gd name="T70" fmla="*/ 12 w 14"/>
                  <a:gd name="T71" fmla="*/ 6 h 52"/>
                  <a:gd name="T72" fmla="*/ 13 w 14"/>
                  <a:gd name="T73" fmla="*/ 5 h 52"/>
                  <a:gd name="T74" fmla="*/ 14 w 14"/>
                  <a:gd name="T75" fmla="*/ 4 h 52"/>
                  <a:gd name="T76" fmla="*/ 14 w 14"/>
                  <a:gd name="T77" fmla="*/ 4 h 52"/>
                  <a:gd name="T78" fmla="*/ 14 w 14"/>
                  <a:gd name="T79" fmla="*/ 0 h 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 h="52">
                    <a:moveTo>
                      <a:pt x="14" y="4"/>
                    </a:moveTo>
                    <a:cubicBezTo>
                      <a:pt x="14" y="4"/>
                      <a:pt x="14" y="4"/>
                      <a:pt x="14" y="4"/>
                    </a:cubicBezTo>
                    <a:cubicBezTo>
                      <a:pt x="14" y="4"/>
                      <a:pt x="14" y="4"/>
                      <a:pt x="14" y="4"/>
                    </a:cubicBezTo>
                    <a:moveTo>
                      <a:pt x="14" y="0"/>
                    </a:moveTo>
                    <a:cubicBezTo>
                      <a:pt x="12" y="4"/>
                      <a:pt x="10" y="9"/>
                      <a:pt x="9" y="14"/>
                    </a:cubicBezTo>
                    <a:cubicBezTo>
                      <a:pt x="9" y="15"/>
                      <a:pt x="8" y="16"/>
                      <a:pt x="8" y="17"/>
                    </a:cubicBezTo>
                    <a:cubicBezTo>
                      <a:pt x="8" y="17"/>
                      <a:pt x="9" y="17"/>
                      <a:pt x="9" y="17"/>
                    </a:cubicBezTo>
                    <a:cubicBezTo>
                      <a:pt x="8" y="18"/>
                      <a:pt x="7" y="22"/>
                      <a:pt x="7" y="25"/>
                    </a:cubicBezTo>
                    <a:cubicBezTo>
                      <a:pt x="7" y="28"/>
                      <a:pt x="7" y="30"/>
                      <a:pt x="7" y="32"/>
                    </a:cubicBezTo>
                    <a:cubicBezTo>
                      <a:pt x="8" y="32"/>
                      <a:pt x="8" y="32"/>
                      <a:pt x="8" y="32"/>
                    </a:cubicBezTo>
                    <a:cubicBezTo>
                      <a:pt x="7" y="32"/>
                      <a:pt x="7" y="34"/>
                      <a:pt x="7" y="35"/>
                    </a:cubicBezTo>
                    <a:cubicBezTo>
                      <a:pt x="6" y="35"/>
                      <a:pt x="6" y="35"/>
                      <a:pt x="6" y="35"/>
                    </a:cubicBezTo>
                    <a:cubicBezTo>
                      <a:pt x="6" y="35"/>
                      <a:pt x="6" y="34"/>
                      <a:pt x="5" y="34"/>
                    </a:cubicBezTo>
                    <a:cubicBezTo>
                      <a:pt x="4" y="34"/>
                      <a:pt x="4" y="35"/>
                      <a:pt x="4" y="36"/>
                    </a:cubicBezTo>
                    <a:cubicBezTo>
                      <a:pt x="4" y="37"/>
                      <a:pt x="4" y="38"/>
                      <a:pt x="3" y="38"/>
                    </a:cubicBezTo>
                    <a:cubicBezTo>
                      <a:pt x="3" y="40"/>
                      <a:pt x="3" y="41"/>
                      <a:pt x="3" y="42"/>
                    </a:cubicBezTo>
                    <a:cubicBezTo>
                      <a:pt x="3" y="42"/>
                      <a:pt x="2" y="41"/>
                      <a:pt x="2" y="41"/>
                    </a:cubicBezTo>
                    <a:cubicBezTo>
                      <a:pt x="2" y="41"/>
                      <a:pt x="1" y="42"/>
                      <a:pt x="1" y="42"/>
                    </a:cubicBezTo>
                    <a:cubicBezTo>
                      <a:pt x="0" y="45"/>
                      <a:pt x="3" y="46"/>
                      <a:pt x="3" y="47"/>
                    </a:cubicBezTo>
                    <a:cubicBezTo>
                      <a:pt x="3" y="47"/>
                      <a:pt x="3" y="48"/>
                      <a:pt x="3" y="48"/>
                    </a:cubicBezTo>
                    <a:cubicBezTo>
                      <a:pt x="4" y="50"/>
                      <a:pt x="4" y="51"/>
                      <a:pt x="6" y="52"/>
                    </a:cubicBezTo>
                    <a:cubicBezTo>
                      <a:pt x="6" y="50"/>
                      <a:pt x="6" y="48"/>
                      <a:pt x="6" y="45"/>
                    </a:cubicBezTo>
                    <a:cubicBezTo>
                      <a:pt x="6" y="43"/>
                      <a:pt x="6" y="40"/>
                      <a:pt x="7" y="37"/>
                    </a:cubicBezTo>
                    <a:cubicBezTo>
                      <a:pt x="7" y="36"/>
                      <a:pt x="8" y="34"/>
                      <a:pt x="9" y="33"/>
                    </a:cubicBezTo>
                    <a:cubicBezTo>
                      <a:pt x="9" y="32"/>
                      <a:pt x="9" y="32"/>
                      <a:pt x="10" y="32"/>
                    </a:cubicBezTo>
                    <a:cubicBezTo>
                      <a:pt x="9" y="31"/>
                      <a:pt x="9" y="31"/>
                      <a:pt x="9" y="31"/>
                    </a:cubicBezTo>
                    <a:cubicBezTo>
                      <a:pt x="11" y="31"/>
                      <a:pt x="12" y="28"/>
                      <a:pt x="12" y="26"/>
                    </a:cubicBezTo>
                    <a:cubicBezTo>
                      <a:pt x="12" y="25"/>
                      <a:pt x="12" y="23"/>
                      <a:pt x="11" y="21"/>
                    </a:cubicBezTo>
                    <a:cubicBezTo>
                      <a:pt x="11" y="19"/>
                      <a:pt x="10" y="18"/>
                      <a:pt x="10" y="17"/>
                    </a:cubicBezTo>
                    <a:cubicBezTo>
                      <a:pt x="10" y="17"/>
                      <a:pt x="10" y="17"/>
                      <a:pt x="10" y="17"/>
                    </a:cubicBezTo>
                    <a:cubicBezTo>
                      <a:pt x="11" y="16"/>
                      <a:pt x="10" y="14"/>
                      <a:pt x="11" y="13"/>
                    </a:cubicBezTo>
                    <a:cubicBezTo>
                      <a:pt x="12" y="12"/>
                      <a:pt x="13" y="12"/>
                      <a:pt x="14" y="11"/>
                    </a:cubicBezTo>
                    <a:cubicBezTo>
                      <a:pt x="14" y="10"/>
                      <a:pt x="14" y="9"/>
                      <a:pt x="14" y="9"/>
                    </a:cubicBezTo>
                    <a:cubicBezTo>
                      <a:pt x="14" y="8"/>
                      <a:pt x="14" y="7"/>
                      <a:pt x="13" y="7"/>
                    </a:cubicBezTo>
                    <a:cubicBezTo>
                      <a:pt x="13" y="6"/>
                      <a:pt x="12" y="7"/>
                      <a:pt x="12" y="5"/>
                    </a:cubicBezTo>
                    <a:cubicBezTo>
                      <a:pt x="12" y="5"/>
                      <a:pt x="12" y="6"/>
                      <a:pt x="12" y="6"/>
                    </a:cubicBezTo>
                    <a:cubicBezTo>
                      <a:pt x="13" y="6"/>
                      <a:pt x="13" y="5"/>
                      <a:pt x="13" y="5"/>
                    </a:cubicBezTo>
                    <a:cubicBezTo>
                      <a:pt x="14" y="4"/>
                      <a:pt x="14" y="4"/>
                      <a:pt x="14" y="4"/>
                    </a:cubicBezTo>
                    <a:cubicBezTo>
                      <a:pt x="14" y="4"/>
                      <a:pt x="14" y="4"/>
                      <a:pt x="14" y="4"/>
                    </a:cubicBezTo>
                    <a:cubicBezTo>
                      <a:pt x="14" y="3"/>
                      <a:pt x="14"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398"/>
              <p:cNvSpPr/>
              <p:nvPr/>
            </p:nvSpPr>
            <p:spPr bwMode="auto">
              <a:xfrm>
                <a:off x="3628" y="3663"/>
                <a:ext cx="7" cy="9"/>
              </a:xfrm>
              <a:custGeom>
                <a:gdLst>
                  <a:gd name="T0" fmla="*/ 1 w 3"/>
                  <a:gd name="T1" fmla="*/ 0 h 4"/>
                  <a:gd name="T2" fmla="*/ 0 w 3"/>
                  <a:gd name="T3" fmla="*/ 4 h 4"/>
                  <a:gd name="T4" fmla="*/ 1 w 3"/>
                  <a:gd name="T5" fmla="*/ 0 h 4"/>
                </a:gdLst>
                <a:cxnLst>
                  <a:cxn ang="0">
                    <a:pos x="T0" y="T1"/>
                  </a:cxn>
                  <a:cxn ang="0">
                    <a:pos x="T2" y="T3"/>
                  </a:cxn>
                  <a:cxn ang="0">
                    <a:pos x="T4" y="T5"/>
                  </a:cxn>
                </a:cxnLst>
                <a:rect l="0" t="0" r="r" b="b"/>
                <a:pathLst>
                  <a:path w="3" h="4">
                    <a:moveTo>
                      <a:pt x="1" y="0"/>
                    </a:moveTo>
                    <a:cubicBezTo>
                      <a:pt x="1" y="2"/>
                      <a:pt x="1" y="3"/>
                      <a:pt x="0" y="4"/>
                    </a:cubicBezTo>
                    <a:cubicBezTo>
                      <a:pt x="2" y="3"/>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399"/>
              <p:cNvSpPr/>
              <p:nvPr/>
            </p:nvSpPr>
            <p:spPr bwMode="auto">
              <a:xfrm>
                <a:off x="3633" y="3798"/>
                <a:ext cx="5" cy="7"/>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0"/>
                      <a:pt x="0" y="1"/>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Freeform 400"/>
              <p:cNvSpPr/>
              <p:nvPr/>
            </p:nvSpPr>
            <p:spPr bwMode="auto">
              <a:xfrm>
                <a:off x="3687" y="3916"/>
                <a:ext cx="15" cy="28"/>
              </a:xfrm>
              <a:custGeom>
                <a:gdLst>
                  <a:gd name="T0" fmla="*/ 4 w 6"/>
                  <a:gd name="T1" fmla="*/ 0 h 12"/>
                  <a:gd name="T2" fmla="*/ 1 w 6"/>
                  <a:gd name="T3" fmla="*/ 5 h 12"/>
                  <a:gd name="T4" fmla="*/ 2 w 6"/>
                  <a:gd name="T5" fmla="*/ 7 h 12"/>
                  <a:gd name="T6" fmla="*/ 4 w 6"/>
                  <a:gd name="T7" fmla="*/ 9 h 12"/>
                  <a:gd name="T8" fmla="*/ 5 w 6"/>
                  <a:gd name="T9" fmla="*/ 12 h 12"/>
                  <a:gd name="T10" fmla="*/ 6 w 6"/>
                  <a:gd name="T11" fmla="*/ 3 h 12"/>
                  <a:gd name="T12" fmla="*/ 6 w 6"/>
                  <a:gd name="T13" fmla="*/ 1 h 12"/>
                  <a:gd name="T14" fmla="*/ 4 w 6"/>
                  <a:gd name="T15" fmla="*/ 0 h 1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4" y="0"/>
                    </a:moveTo>
                    <a:cubicBezTo>
                      <a:pt x="2" y="0"/>
                      <a:pt x="0" y="2"/>
                      <a:pt x="1" y="5"/>
                    </a:cubicBezTo>
                    <a:cubicBezTo>
                      <a:pt x="1" y="5"/>
                      <a:pt x="1" y="6"/>
                      <a:pt x="2" y="7"/>
                    </a:cubicBezTo>
                    <a:cubicBezTo>
                      <a:pt x="3" y="7"/>
                      <a:pt x="3" y="8"/>
                      <a:pt x="4" y="9"/>
                    </a:cubicBezTo>
                    <a:cubicBezTo>
                      <a:pt x="4" y="10"/>
                      <a:pt x="4" y="11"/>
                      <a:pt x="5" y="12"/>
                    </a:cubicBezTo>
                    <a:cubicBezTo>
                      <a:pt x="5" y="9"/>
                      <a:pt x="6" y="6"/>
                      <a:pt x="6" y="3"/>
                    </a:cubicBezTo>
                    <a:cubicBezTo>
                      <a:pt x="6" y="2"/>
                      <a:pt x="6" y="2"/>
                      <a:pt x="6" y="1"/>
                    </a:cubicBezTo>
                    <a:cubicBezTo>
                      <a:pt x="5"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401"/>
              <p:cNvSpPr/>
              <p:nvPr/>
            </p:nvSpPr>
            <p:spPr bwMode="auto">
              <a:xfrm>
                <a:off x="2454" y="4760"/>
                <a:ext cx="5" cy="9"/>
              </a:xfrm>
              <a:custGeom>
                <a:gdLst>
                  <a:gd name="T0" fmla="*/ 1 w 2"/>
                  <a:gd name="T1" fmla="*/ 0 h 4"/>
                  <a:gd name="T2" fmla="*/ 0 w 2"/>
                  <a:gd name="T3" fmla="*/ 4 h 4"/>
                  <a:gd name="T4" fmla="*/ 1 w 2"/>
                  <a:gd name="T5" fmla="*/ 0 h 4"/>
                </a:gdLst>
                <a:cxnLst>
                  <a:cxn ang="0">
                    <a:pos x="T0" y="T1"/>
                  </a:cxn>
                  <a:cxn ang="0">
                    <a:pos x="T2" y="T3"/>
                  </a:cxn>
                  <a:cxn ang="0">
                    <a:pos x="T4" y="T5"/>
                  </a:cxn>
                </a:cxnLst>
                <a:rect l="0" t="0" r="r" b="b"/>
                <a:pathLst>
                  <a:path w="2" h="4">
                    <a:moveTo>
                      <a:pt x="1" y="0"/>
                    </a:moveTo>
                    <a:cubicBezTo>
                      <a:pt x="0" y="1"/>
                      <a:pt x="0" y="3"/>
                      <a:pt x="0" y="4"/>
                    </a:cubicBezTo>
                    <a:cubicBezTo>
                      <a:pt x="1"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Freeform 402"/>
              <p:cNvSpPr/>
              <p:nvPr/>
            </p:nvSpPr>
            <p:spPr bwMode="auto">
              <a:xfrm>
                <a:off x="5954" y="5020"/>
                <a:ext cx="4" cy="2"/>
              </a:xfrm>
              <a:custGeom>
                <a:gdLst>
                  <a:gd name="T0" fmla="*/ 2 w 2"/>
                  <a:gd name="T1" fmla="*/ 0 h 1"/>
                  <a:gd name="T2" fmla="*/ 1 w 2"/>
                  <a:gd name="T3" fmla="*/ 0 h 1"/>
                  <a:gd name="T4" fmla="*/ 0 w 2"/>
                  <a:gd name="T5" fmla="*/ 1 h 1"/>
                  <a:gd name="T6" fmla="*/ 0 w 2"/>
                  <a:gd name="T7" fmla="*/ 1 h 1"/>
                  <a:gd name="T8" fmla="*/ 2 w 2"/>
                  <a:gd name="T9" fmla="*/ 0 h 1"/>
                </a:gdLst>
                <a:cxnLst>
                  <a:cxn ang="0">
                    <a:pos x="T0" y="T1"/>
                  </a:cxn>
                  <a:cxn ang="0">
                    <a:pos x="T2" y="T3"/>
                  </a:cxn>
                  <a:cxn ang="0">
                    <a:pos x="T4" y="T5"/>
                  </a:cxn>
                  <a:cxn ang="0">
                    <a:pos x="T6" y="T7"/>
                  </a:cxn>
                  <a:cxn ang="0">
                    <a:pos x="T8" y="T9"/>
                  </a:cxn>
                </a:cxnLst>
                <a:rect l="0" t="0" r="r" b="b"/>
                <a:pathLst>
                  <a:path w="2" h="1">
                    <a:moveTo>
                      <a:pt x="2" y="0"/>
                    </a:moveTo>
                    <a:cubicBezTo>
                      <a:pt x="1" y="0"/>
                      <a:pt x="1" y="0"/>
                      <a:pt x="1" y="0"/>
                    </a:cubicBezTo>
                    <a:cubicBezTo>
                      <a:pt x="0" y="0"/>
                      <a:pt x="0" y="1"/>
                      <a:pt x="0" y="1"/>
                    </a:cubicBezTo>
                    <a:cubicBezTo>
                      <a:pt x="0" y="1"/>
                      <a:pt x="0" y="1"/>
                      <a:pt x="0" y="1"/>
                    </a:cubicBezTo>
                    <a:cubicBezTo>
                      <a:pt x="0"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403"/>
              <p:cNvSpPr/>
              <p:nvPr/>
            </p:nvSpPr>
            <p:spPr bwMode="auto">
              <a:xfrm>
                <a:off x="1733" y="1452"/>
                <a:ext cx="26" cy="12"/>
              </a:xfrm>
              <a:custGeom>
                <a:gdLst>
                  <a:gd name="T0" fmla="*/ 8 w 11"/>
                  <a:gd name="T1" fmla="*/ 0 h 5"/>
                  <a:gd name="T2" fmla="*/ 0 w 11"/>
                  <a:gd name="T3" fmla="*/ 2 h 5"/>
                  <a:gd name="T4" fmla="*/ 5 w 11"/>
                  <a:gd name="T5" fmla="*/ 4 h 5"/>
                  <a:gd name="T6" fmla="*/ 7 w 11"/>
                  <a:gd name="T7" fmla="*/ 5 h 5"/>
                  <a:gd name="T8" fmla="*/ 11 w 11"/>
                  <a:gd name="T9" fmla="*/ 2 h 5"/>
                  <a:gd name="T10" fmla="*/ 8 w 11"/>
                  <a:gd name="T11" fmla="*/ 0 h 5"/>
                </a:gdLst>
                <a:cxnLst>
                  <a:cxn ang="0">
                    <a:pos x="T0" y="T1"/>
                  </a:cxn>
                  <a:cxn ang="0">
                    <a:pos x="T2" y="T3"/>
                  </a:cxn>
                  <a:cxn ang="0">
                    <a:pos x="T4" y="T5"/>
                  </a:cxn>
                  <a:cxn ang="0">
                    <a:pos x="T6" y="T7"/>
                  </a:cxn>
                  <a:cxn ang="0">
                    <a:pos x="T8" y="T9"/>
                  </a:cxn>
                  <a:cxn ang="0">
                    <a:pos x="T10" y="T11"/>
                  </a:cxn>
                </a:cxnLst>
                <a:rect l="0" t="0" r="r" b="b"/>
                <a:pathLst>
                  <a:path w="11" h="5">
                    <a:moveTo>
                      <a:pt x="8" y="0"/>
                    </a:moveTo>
                    <a:cubicBezTo>
                      <a:pt x="5" y="0"/>
                      <a:pt x="0" y="1"/>
                      <a:pt x="0" y="2"/>
                    </a:cubicBezTo>
                    <a:cubicBezTo>
                      <a:pt x="0" y="4"/>
                      <a:pt x="4" y="3"/>
                      <a:pt x="5" y="4"/>
                    </a:cubicBezTo>
                    <a:cubicBezTo>
                      <a:pt x="6" y="5"/>
                      <a:pt x="7" y="5"/>
                      <a:pt x="7" y="5"/>
                    </a:cubicBezTo>
                    <a:cubicBezTo>
                      <a:pt x="9" y="5"/>
                      <a:pt x="10" y="3"/>
                      <a:pt x="11" y="2"/>
                    </a:cubicBezTo>
                    <a:cubicBezTo>
                      <a:pt x="11"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5" name="Freeform 404"/>
              <p:cNvSpPr/>
              <p:nvPr/>
            </p:nvSpPr>
            <p:spPr bwMode="auto">
              <a:xfrm>
                <a:off x="5337" y="2528"/>
                <a:ext cx="23" cy="14"/>
              </a:xfrm>
              <a:custGeom>
                <a:gdLst>
                  <a:gd name="T0" fmla="*/ 0 w 10"/>
                  <a:gd name="T1" fmla="*/ 0 h 6"/>
                  <a:gd name="T2" fmla="*/ 8 w 10"/>
                  <a:gd name="T3" fmla="*/ 6 h 6"/>
                  <a:gd name="T4" fmla="*/ 0 w 10"/>
                  <a:gd name="T5" fmla="*/ 0 h 6"/>
                </a:gdLst>
                <a:cxnLst>
                  <a:cxn ang="0">
                    <a:pos x="T0" y="T1"/>
                  </a:cxn>
                  <a:cxn ang="0">
                    <a:pos x="T2" y="T3"/>
                  </a:cxn>
                  <a:cxn ang="0">
                    <a:pos x="T4" y="T5"/>
                  </a:cxn>
                </a:cxnLst>
                <a:rect l="0" t="0" r="r" b="b"/>
                <a:pathLst>
                  <a:path w="10" h="6">
                    <a:moveTo>
                      <a:pt x="0" y="0"/>
                    </a:moveTo>
                    <a:cubicBezTo>
                      <a:pt x="2" y="2"/>
                      <a:pt x="5" y="4"/>
                      <a:pt x="8" y="6"/>
                    </a:cubicBezTo>
                    <a:cubicBezTo>
                      <a:pt x="10"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405"/>
              <p:cNvSpPr/>
              <p:nvPr/>
            </p:nvSpPr>
            <p:spPr bwMode="auto">
              <a:xfrm>
                <a:off x="5341" y="2552"/>
                <a:ext cx="5" cy="4"/>
              </a:xfrm>
              <a:custGeom>
                <a:gdLst>
                  <a:gd name="T0" fmla="*/ 1 w 2"/>
                  <a:gd name="T1" fmla="*/ 0 h 2"/>
                  <a:gd name="T2" fmla="*/ 2 w 2"/>
                  <a:gd name="T3" fmla="*/ 2 h 2"/>
                  <a:gd name="T4" fmla="*/ 1 w 2"/>
                  <a:gd name="T5" fmla="*/ 0 h 2"/>
                </a:gdLst>
                <a:cxnLst>
                  <a:cxn ang="0">
                    <a:pos x="T0" y="T1"/>
                  </a:cxn>
                  <a:cxn ang="0">
                    <a:pos x="T2" y="T3"/>
                  </a:cxn>
                  <a:cxn ang="0">
                    <a:pos x="T4" y="T5"/>
                  </a:cxn>
                </a:cxnLst>
                <a:rect l="0" t="0" r="r" b="b"/>
                <a:pathLst>
                  <a:path w="2" h="2">
                    <a:moveTo>
                      <a:pt x="1" y="0"/>
                    </a:moveTo>
                    <a:cubicBezTo>
                      <a:pt x="0" y="1"/>
                      <a:pt x="1" y="1"/>
                      <a:pt x="2"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0" name="Freeform 407"/>
            <p:cNvSpPr/>
            <p:nvPr/>
          </p:nvSpPr>
          <p:spPr bwMode="auto">
            <a:xfrm>
              <a:off x="6831383" y="5524276"/>
              <a:ext cx="18804" cy="12088"/>
            </a:xfrm>
            <a:custGeom>
              <a:gdLst>
                <a:gd name="T0" fmla="*/ 6 w 6"/>
                <a:gd name="T1" fmla="*/ 0 h 4"/>
                <a:gd name="T2" fmla="*/ 0 w 6"/>
                <a:gd name="T3" fmla="*/ 0 h 4"/>
                <a:gd name="T4" fmla="*/ 4 w 6"/>
                <a:gd name="T5" fmla="*/ 3 h 4"/>
                <a:gd name="T6" fmla="*/ 5 w 6"/>
                <a:gd name="T7" fmla="*/ 4 h 4"/>
                <a:gd name="T8" fmla="*/ 6 w 6"/>
                <a:gd name="T9" fmla="*/ 0 h 4"/>
              </a:gdLst>
              <a:cxnLst>
                <a:cxn ang="0">
                  <a:pos x="T0" y="T1"/>
                </a:cxn>
                <a:cxn ang="0">
                  <a:pos x="T2" y="T3"/>
                </a:cxn>
                <a:cxn ang="0">
                  <a:pos x="T4" y="T5"/>
                </a:cxn>
                <a:cxn ang="0">
                  <a:pos x="T6" y="T7"/>
                </a:cxn>
                <a:cxn ang="0">
                  <a:pos x="T8" y="T9"/>
                </a:cxn>
              </a:cxnLst>
              <a:rect l="0" t="0" r="r" b="b"/>
              <a:pathLst>
                <a:path w="6" h="4">
                  <a:moveTo>
                    <a:pt x="6" y="0"/>
                  </a:moveTo>
                  <a:cubicBezTo>
                    <a:pt x="4" y="0"/>
                    <a:pt x="2" y="0"/>
                    <a:pt x="0" y="0"/>
                  </a:cubicBezTo>
                  <a:cubicBezTo>
                    <a:pt x="2" y="2"/>
                    <a:pt x="3" y="3"/>
                    <a:pt x="4" y="3"/>
                  </a:cubicBezTo>
                  <a:cubicBezTo>
                    <a:pt x="4" y="3"/>
                    <a:pt x="4" y="4"/>
                    <a:pt x="5" y="4"/>
                  </a:cubicBezTo>
                  <a:cubicBezTo>
                    <a:pt x="5" y="4"/>
                    <a:pt x="6"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408"/>
            <p:cNvSpPr/>
            <p:nvPr/>
          </p:nvSpPr>
          <p:spPr bwMode="auto">
            <a:xfrm>
              <a:off x="6840785" y="5571286"/>
              <a:ext cx="6716" cy="10745"/>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0" y="1"/>
                    <a:pt x="1" y="2"/>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409"/>
            <p:cNvSpPr/>
            <p:nvPr/>
          </p:nvSpPr>
          <p:spPr bwMode="auto">
            <a:xfrm>
              <a:off x="6821982" y="5582031"/>
              <a:ext cx="6716" cy="14774"/>
            </a:xfrm>
            <a:custGeom>
              <a:gdLst>
                <a:gd name="T0" fmla="*/ 0 w 2"/>
                <a:gd name="T1" fmla="*/ 0 h 5"/>
                <a:gd name="T2" fmla="*/ 2 w 2"/>
                <a:gd name="T3" fmla="*/ 5 h 5"/>
                <a:gd name="T4" fmla="*/ 0 w 2"/>
                <a:gd name="T5" fmla="*/ 0 h 5"/>
              </a:gdLst>
              <a:cxnLst>
                <a:cxn ang="0">
                  <a:pos x="T0" y="T1"/>
                </a:cxn>
                <a:cxn ang="0">
                  <a:pos x="T2" y="T3"/>
                </a:cxn>
                <a:cxn ang="0">
                  <a:pos x="T4" y="T5"/>
                </a:cxn>
              </a:cxnLst>
              <a:rect l="0" t="0" r="r" b="b"/>
              <a:pathLst>
                <a:path w="2" h="5">
                  <a:moveTo>
                    <a:pt x="0" y="0"/>
                  </a:moveTo>
                  <a:cubicBezTo>
                    <a:pt x="0" y="3"/>
                    <a:pt x="1" y="4"/>
                    <a:pt x="2" y="5"/>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410"/>
            <p:cNvSpPr/>
            <p:nvPr/>
          </p:nvSpPr>
          <p:spPr bwMode="auto">
            <a:xfrm>
              <a:off x="6796462" y="5571286"/>
              <a:ext cx="22833" cy="10745"/>
            </a:xfrm>
            <a:custGeom>
              <a:gdLst>
                <a:gd name="T0" fmla="*/ 0 w 7"/>
                <a:gd name="T1" fmla="*/ 0 h 3"/>
                <a:gd name="T2" fmla="*/ 2 w 7"/>
                <a:gd name="T3" fmla="*/ 2 h 3"/>
                <a:gd name="T4" fmla="*/ 2 w 7"/>
                <a:gd name="T5" fmla="*/ 2 h 3"/>
                <a:gd name="T6" fmla="*/ 3 w 7"/>
                <a:gd name="T7" fmla="*/ 2 h 3"/>
                <a:gd name="T8" fmla="*/ 6 w 7"/>
                <a:gd name="T9" fmla="*/ 3 h 3"/>
                <a:gd name="T10" fmla="*/ 6 w 7"/>
                <a:gd name="T11" fmla="*/ 3 h 3"/>
                <a:gd name="T12" fmla="*/ 7 w 7"/>
                <a:gd name="T13" fmla="*/ 3 h 3"/>
                <a:gd name="T14" fmla="*/ 0 w 7"/>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0" y="0"/>
                  </a:moveTo>
                  <a:cubicBezTo>
                    <a:pt x="1" y="1"/>
                    <a:pt x="1" y="1"/>
                    <a:pt x="2" y="2"/>
                  </a:cubicBezTo>
                  <a:cubicBezTo>
                    <a:pt x="2" y="2"/>
                    <a:pt x="2" y="2"/>
                    <a:pt x="2" y="2"/>
                  </a:cubicBezTo>
                  <a:cubicBezTo>
                    <a:pt x="3" y="2"/>
                    <a:pt x="3" y="2"/>
                    <a:pt x="3" y="2"/>
                  </a:cubicBezTo>
                  <a:cubicBezTo>
                    <a:pt x="4" y="2"/>
                    <a:pt x="5" y="3"/>
                    <a:pt x="6" y="3"/>
                  </a:cubicBezTo>
                  <a:cubicBezTo>
                    <a:pt x="6" y="3"/>
                    <a:pt x="6" y="3"/>
                    <a:pt x="6" y="3"/>
                  </a:cubicBezTo>
                  <a:cubicBezTo>
                    <a:pt x="7" y="3"/>
                    <a:pt x="7" y="3"/>
                    <a:pt x="7" y="3"/>
                  </a:cubicBezTo>
                  <a:cubicBezTo>
                    <a:pt x="5"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411"/>
            <p:cNvSpPr>
              <a:spLocks noEditPoints="1"/>
            </p:cNvSpPr>
            <p:nvPr/>
          </p:nvSpPr>
          <p:spPr bwMode="auto">
            <a:xfrm>
              <a:off x="6549327" y="4064298"/>
              <a:ext cx="25519" cy="18804"/>
            </a:xfrm>
            <a:custGeom>
              <a:gdLst>
                <a:gd name="T0" fmla="*/ 6 w 8"/>
                <a:gd name="T1" fmla="*/ 6 h 6"/>
                <a:gd name="T2" fmla="*/ 6 w 8"/>
                <a:gd name="T3" fmla="*/ 6 h 6"/>
                <a:gd name="T4" fmla="*/ 6 w 8"/>
                <a:gd name="T5" fmla="*/ 6 h 6"/>
                <a:gd name="T6" fmla="*/ 7 w 8"/>
                <a:gd name="T7" fmla="*/ 4 h 6"/>
                <a:gd name="T8" fmla="*/ 7 w 8"/>
                <a:gd name="T9" fmla="*/ 4 h 6"/>
                <a:gd name="T10" fmla="*/ 7 w 8"/>
                <a:gd name="T11" fmla="*/ 4 h 6"/>
                <a:gd name="T12" fmla="*/ 3 w 8"/>
                <a:gd name="T13" fmla="*/ 0 h 6"/>
                <a:gd name="T14" fmla="*/ 0 w 8"/>
                <a:gd name="T15" fmla="*/ 4 h 6"/>
                <a:gd name="T16" fmla="*/ 5 w 8"/>
                <a:gd name="T17" fmla="*/ 6 h 6"/>
                <a:gd name="T18" fmla="*/ 6 w 8"/>
                <a:gd name="T19" fmla="*/ 6 h 6"/>
                <a:gd name="T20" fmla="*/ 6 w 8"/>
                <a:gd name="T21" fmla="*/ 6 h 6"/>
                <a:gd name="T22" fmla="*/ 6 w 8"/>
                <a:gd name="T23" fmla="*/ 5 h 6"/>
                <a:gd name="T24" fmla="*/ 7 w 8"/>
                <a:gd name="T25" fmla="*/ 4 h 6"/>
                <a:gd name="T26" fmla="*/ 7 w 8"/>
                <a:gd name="T27" fmla="*/ 4 h 6"/>
                <a:gd name="T28" fmla="*/ 8 w 8"/>
                <a:gd name="T29" fmla="*/ 2 h 6"/>
                <a:gd name="T30" fmla="*/ 7 w 8"/>
                <a:gd name="T31" fmla="*/ 1 h 6"/>
                <a:gd name="T32" fmla="*/ 6 w 8"/>
                <a:gd name="T33" fmla="*/ 1 h 6"/>
                <a:gd name="T34" fmla="*/ 6 w 8"/>
                <a:gd name="T35" fmla="*/ 1 h 6"/>
                <a:gd name="T36" fmla="*/ 5 w 8"/>
                <a:gd name="T37" fmla="*/ 1 h 6"/>
                <a:gd name="T38" fmla="*/ 5 w 8"/>
                <a:gd name="T39" fmla="*/ 1 h 6"/>
                <a:gd name="T40" fmla="*/ 5 w 8"/>
                <a:gd name="T41" fmla="*/ 1 h 6"/>
                <a:gd name="T42" fmla="*/ 4 w 8"/>
                <a:gd name="T43" fmla="*/ 1 h 6"/>
                <a:gd name="T44" fmla="*/ 3 w 8"/>
                <a:gd name="T45"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6">
                  <a:moveTo>
                    <a:pt x="6" y="6"/>
                  </a:moveTo>
                  <a:cubicBezTo>
                    <a:pt x="6" y="6"/>
                    <a:pt x="6" y="6"/>
                    <a:pt x="6" y="6"/>
                  </a:cubicBezTo>
                  <a:cubicBezTo>
                    <a:pt x="6" y="6"/>
                    <a:pt x="6" y="6"/>
                    <a:pt x="6" y="6"/>
                  </a:cubicBezTo>
                  <a:moveTo>
                    <a:pt x="7" y="4"/>
                  </a:moveTo>
                  <a:cubicBezTo>
                    <a:pt x="7" y="4"/>
                    <a:pt x="7" y="4"/>
                    <a:pt x="7" y="4"/>
                  </a:cubicBezTo>
                  <a:cubicBezTo>
                    <a:pt x="7" y="4"/>
                    <a:pt x="7" y="4"/>
                    <a:pt x="7" y="4"/>
                  </a:cubicBezTo>
                  <a:moveTo>
                    <a:pt x="3" y="0"/>
                  </a:moveTo>
                  <a:cubicBezTo>
                    <a:pt x="1" y="0"/>
                    <a:pt x="0" y="2"/>
                    <a:pt x="0" y="4"/>
                  </a:cubicBezTo>
                  <a:cubicBezTo>
                    <a:pt x="1" y="4"/>
                    <a:pt x="4" y="6"/>
                    <a:pt x="5" y="6"/>
                  </a:cubicBezTo>
                  <a:cubicBezTo>
                    <a:pt x="5" y="6"/>
                    <a:pt x="6" y="6"/>
                    <a:pt x="6" y="6"/>
                  </a:cubicBezTo>
                  <a:cubicBezTo>
                    <a:pt x="6" y="6"/>
                    <a:pt x="6" y="6"/>
                    <a:pt x="6" y="6"/>
                  </a:cubicBezTo>
                  <a:cubicBezTo>
                    <a:pt x="6" y="6"/>
                    <a:pt x="6" y="5"/>
                    <a:pt x="6" y="5"/>
                  </a:cubicBezTo>
                  <a:cubicBezTo>
                    <a:pt x="7" y="4"/>
                    <a:pt x="7" y="4"/>
                    <a:pt x="7" y="4"/>
                  </a:cubicBezTo>
                  <a:cubicBezTo>
                    <a:pt x="7" y="4"/>
                    <a:pt x="7" y="4"/>
                    <a:pt x="7" y="4"/>
                  </a:cubicBezTo>
                  <a:cubicBezTo>
                    <a:pt x="8" y="3"/>
                    <a:pt x="8" y="3"/>
                    <a:pt x="8" y="2"/>
                  </a:cubicBezTo>
                  <a:cubicBezTo>
                    <a:pt x="8" y="1"/>
                    <a:pt x="8" y="1"/>
                    <a:pt x="7" y="1"/>
                  </a:cubicBezTo>
                  <a:cubicBezTo>
                    <a:pt x="7" y="1"/>
                    <a:pt x="7" y="1"/>
                    <a:pt x="6" y="1"/>
                  </a:cubicBezTo>
                  <a:cubicBezTo>
                    <a:pt x="6" y="1"/>
                    <a:pt x="6" y="1"/>
                    <a:pt x="6" y="1"/>
                  </a:cubicBezTo>
                  <a:cubicBezTo>
                    <a:pt x="6" y="1"/>
                    <a:pt x="5" y="1"/>
                    <a:pt x="5" y="1"/>
                  </a:cubicBezTo>
                  <a:cubicBezTo>
                    <a:pt x="5" y="1"/>
                    <a:pt x="5" y="1"/>
                    <a:pt x="5" y="1"/>
                  </a:cubicBezTo>
                  <a:cubicBezTo>
                    <a:pt x="5" y="1"/>
                    <a:pt x="5" y="1"/>
                    <a:pt x="5" y="1"/>
                  </a:cubicBezTo>
                  <a:cubicBezTo>
                    <a:pt x="4" y="1"/>
                    <a:pt x="4" y="1"/>
                    <a:pt x="4" y="1"/>
                  </a:cubicBezTo>
                  <a:cubicBezTo>
                    <a:pt x="3"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412"/>
            <p:cNvSpPr/>
            <p:nvPr/>
          </p:nvSpPr>
          <p:spPr bwMode="auto">
            <a:xfrm flipH="1">
              <a:off x="233950" y="3555254"/>
              <a:ext cx="0" cy="4029"/>
            </a:xfrm>
            <a:custGeom>
              <a:gdLst>
                <a:gd name="T0" fmla="*/ 0 h 3"/>
                <a:gd name="T1" fmla="*/ 3 h 3"/>
                <a:gd name="T2" fmla="*/ 0 h 3"/>
                <a:gd name="T3" fmla="*/ 0 h 3"/>
              </a:gdLst>
              <a:cxnLst>
                <a:cxn ang="0">
                  <a:pos x="0" y="T0"/>
                </a:cxn>
                <a:cxn ang="0">
                  <a:pos x="0" y="T1"/>
                </a:cxn>
                <a:cxn ang="0">
                  <a:pos x="0" y="T2"/>
                </a:cxn>
                <a:cxn ang="0">
                  <a:pos x="0" y="T3"/>
                </a:cxn>
              </a:cxnLst>
              <a:rect l="0" t="0" r="r" b="b"/>
              <a:pathLst>
                <a:path h="3">
                  <a:moveTo>
                    <a:pt x="0" y="0"/>
                  </a:moveTo>
                  <a:lnTo>
                    <a:pt x="0"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413"/>
            <p:cNvSpPr/>
            <p:nvPr/>
          </p:nvSpPr>
          <p:spPr bwMode="auto">
            <a:xfrm flipH="1">
              <a:off x="233950" y="3555254"/>
              <a:ext cx="0" cy="4029"/>
            </a:xfrm>
            <a:custGeom>
              <a:gdLst>
                <a:gd name="T0" fmla="*/ 0 h 3"/>
                <a:gd name="T1" fmla="*/ 3 h 3"/>
                <a:gd name="T2" fmla="*/ 0 h 3"/>
                <a:gd name="T3" fmla="*/ 0 h 3"/>
              </a:gdLst>
              <a:cxnLst>
                <a:cxn ang="0">
                  <a:pos x="0" y="T0"/>
                </a:cxn>
                <a:cxn ang="0">
                  <a:pos x="0" y="T1"/>
                </a:cxn>
                <a:cxn ang="0">
                  <a:pos x="0" y="T2"/>
                </a:cxn>
                <a:cxn ang="0">
                  <a:pos x="0" y="T3"/>
                </a:cxn>
              </a:cxnLst>
              <a:rect l="0" t="0" r="r" b="b"/>
              <a:pathLst>
                <a:path h="3">
                  <a:moveTo>
                    <a:pt x="0" y="0"/>
                  </a:moveTo>
                  <a:lnTo>
                    <a:pt x="0" y="3"/>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414"/>
            <p:cNvSpPr/>
            <p:nvPr/>
          </p:nvSpPr>
          <p:spPr bwMode="auto">
            <a:xfrm>
              <a:off x="1624085" y="6609522"/>
              <a:ext cx="12088" cy="4029"/>
            </a:xfrm>
            <a:custGeom>
              <a:gdLst>
                <a:gd name="T0" fmla="*/ 3 w 4"/>
                <a:gd name="T1" fmla="*/ 0 h 1"/>
                <a:gd name="T2" fmla="*/ 0 w 4"/>
                <a:gd name="T3" fmla="*/ 1 h 1"/>
                <a:gd name="T4" fmla="*/ 0 w 4"/>
                <a:gd name="T5" fmla="*/ 1 h 1"/>
                <a:gd name="T6" fmla="*/ 4 w 4"/>
                <a:gd name="T7" fmla="*/ 0 h 1"/>
                <a:gd name="T8" fmla="*/ 3 w 4"/>
                <a:gd name="T9" fmla="*/ 0 h 1"/>
              </a:gdLst>
              <a:cxnLst>
                <a:cxn ang="0">
                  <a:pos x="T0" y="T1"/>
                </a:cxn>
                <a:cxn ang="0">
                  <a:pos x="T2" y="T3"/>
                </a:cxn>
                <a:cxn ang="0">
                  <a:pos x="T4" y="T5"/>
                </a:cxn>
                <a:cxn ang="0">
                  <a:pos x="T6" y="T7"/>
                </a:cxn>
                <a:cxn ang="0">
                  <a:pos x="T8" y="T9"/>
                </a:cxn>
              </a:cxnLst>
              <a:rect l="0" t="0" r="r" b="b"/>
              <a:pathLst>
                <a:path w="4" h="1">
                  <a:moveTo>
                    <a:pt x="3" y="0"/>
                  </a:moveTo>
                  <a:cubicBezTo>
                    <a:pt x="2" y="0"/>
                    <a:pt x="1" y="1"/>
                    <a:pt x="0" y="1"/>
                  </a:cubicBezTo>
                  <a:cubicBezTo>
                    <a:pt x="0" y="1"/>
                    <a:pt x="0" y="1"/>
                    <a:pt x="0" y="1"/>
                  </a:cubicBezTo>
                  <a:cubicBezTo>
                    <a:pt x="1" y="1"/>
                    <a:pt x="3"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15"/>
            <p:cNvSpPr/>
            <p:nvPr/>
          </p:nvSpPr>
          <p:spPr bwMode="auto">
            <a:xfrm>
              <a:off x="734936" y="6451033"/>
              <a:ext cx="18804" cy="25519"/>
            </a:xfrm>
            <a:custGeom>
              <a:gdLst>
                <a:gd name="T0" fmla="*/ 6 w 6"/>
                <a:gd name="T1" fmla="*/ 0 h 8"/>
                <a:gd name="T2" fmla="*/ 0 w 6"/>
                <a:gd name="T3" fmla="*/ 8 h 8"/>
                <a:gd name="T4" fmla="*/ 6 w 6"/>
                <a:gd name="T5" fmla="*/ 0 h 8"/>
              </a:gdLst>
              <a:cxnLst>
                <a:cxn ang="0">
                  <a:pos x="T0" y="T1"/>
                </a:cxn>
                <a:cxn ang="0">
                  <a:pos x="T2" y="T3"/>
                </a:cxn>
                <a:cxn ang="0">
                  <a:pos x="T4" y="T5"/>
                </a:cxn>
              </a:cxnLst>
              <a:rect l="0" t="0" r="r" b="b"/>
              <a:pathLst>
                <a:path w="6" h="8">
                  <a:moveTo>
                    <a:pt x="6" y="0"/>
                  </a:moveTo>
                  <a:cubicBezTo>
                    <a:pt x="4" y="2"/>
                    <a:pt x="2" y="6"/>
                    <a:pt x="0" y="8"/>
                  </a:cubicBezTo>
                  <a:cubicBezTo>
                    <a:pt x="3" y="6"/>
                    <a:pt x="6"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418"/>
            <p:cNvSpPr/>
            <p:nvPr/>
          </p:nvSpPr>
          <p:spPr bwMode="auto">
            <a:xfrm>
              <a:off x="747024" y="4600206"/>
              <a:ext cx="51039" cy="25519"/>
            </a:xfrm>
            <a:custGeom>
              <a:gdLst>
                <a:gd name="T0" fmla="*/ 5 w 16"/>
                <a:gd name="T1" fmla="*/ 0 h 8"/>
                <a:gd name="T2" fmla="*/ 5 w 16"/>
                <a:gd name="T3" fmla="*/ 0 h 8"/>
                <a:gd name="T4" fmla="*/ 5 w 16"/>
                <a:gd name="T5" fmla="*/ 6 h 8"/>
                <a:gd name="T6" fmla="*/ 3 w 16"/>
                <a:gd name="T7" fmla="*/ 5 h 8"/>
                <a:gd name="T8" fmla="*/ 12 w 16"/>
                <a:gd name="T9" fmla="*/ 8 h 8"/>
                <a:gd name="T10" fmla="*/ 13 w 16"/>
                <a:gd name="T11" fmla="*/ 8 h 8"/>
                <a:gd name="T12" fmla="*/ 12 w 16"/>
                <a:gd name="T13" fmla="*/ 4 h 8"/>
                <a:gd name="T14" fmla="*/ 12 w 16"/>
                <a:gd name="T15" fmla="*/ 4 h 8"/>
                <a:gd name="T16" fmla="*/ 10 w 16"/>
                <a:gd name="T17" fmla="*/ 5 h 8"/>
                <a:gd name="T18" fmla="*/ 8 w 16"/>
                <a:gd name="T19" fmla="*/ 6 h 8"/>
                <a:gd name="T20" fmla="*/ 8 w 16"/>
                <a:gd name="T21" fmla="*/ 6 h 8"/>
                <a:gd name="T22" fmla="*/ 8 w 16"/>
                <a:gd name="T23" fmla="*/ 2 h 8"/>
                <a:gd name="T24" fmla="*/ 7 w 16"/>
                <a:gd name="T25" fmla="*/ 2 h 8"/>
                <a:gd name="T26" fmla="*/ 5 w 16"/>
                <a:gd name="T2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
                  <a:moveTo>
                    <a:pt x="5" y="0"/>
                  </a:moveTo>
                  <a:cubicBezTo>
                    <a:pt x="5" y="0"/>
                    <a:pt x="5" y="0"/>
                    <a:pt x="5" y="0"/>
                  </a:cubicBezTo>
                  <a:cubicBezTo>
                    <a:pt x="0" y="0"/>
                    <a:pt x="4" y="4"/>
                    <a:pt x="5" y="6"/>
                  </a:cubicBezTo>
                  <a:cubicBezTo>
                    <a:pt x="4" y="5"/>
                    <a:pt x="4" y="5"/>
                    <a:pt x="3" y="5"/>
                  </a:cubicBezTo>
                  <a:cubicBezTo>
                    <a:pt x="3" y="8"/>
                    <a:pt x="10" y="7"/>
                    <a:pt x="12" y="8"/>
                  </a:cubicBezTo>
                  <a:cubicBezTo>
                    <a:pt x="12" y="8"/>
                    <a:pt x="13" y="8"/>
                    <a:pt x="13" y="8"/>
                  </a:cubicBezTo>
                  <a:cubicBezTo>
                    <a:pt x="16" y="8"/>
                    <a:pt x="14" y="5"/>
                    <a:pt x="12" y="4"/>
                  </a:cubicBezTo>
                  <a:cubicBezTo>
                    <a:pt x="12" y="4"/>
                    <a:pt x="12" y="4"/>
                    <a:pt x="12" y="4"/>
                  </a:cubicBezTo>
                  <a:cubicBezTo>
                    <a:pt x="11" y="4"/>
                    <a:pt x="10" y="5"/>
                    <a:pt x="10" y="5"/>
                  </a:cubicBezTo>
                  <a:cubicBezTo>
                    <a:pt x="9" y="5"/>
                    <a:pt x="9" y="6"/>
                    <a:pt x="8" y="6"/>
                  </a:cubicBezTo>
                  <a:cubicBezTo>
                    <a:pt x="8" y="6"/>
                    <a:pt x="8" y="6"/>
                    <a:pt x="8" y="6"/>
                  </a:cubicBezTo>
                  <a:cubicBezTo>
                    <a:pt x="7" y="5"/>
                    <a:pt x="9" y="2"/>
                    <a:pt x="8" y="2"/>
                  </a:cubicBezTo>
                  <a:cubicBezTo>
                    <a:pt x="7" y="2"/>
                    <a:pt x="7" y="2"/>
                    <a:pt x="7" y="2"/>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420"/>
            <p:cNvSpPr/>
            <p:nvPr/>
          </p:nvSpPr>
          <p:spPr bwMode="auto">
            <a:xfrm>
              <a:off x="1252039" y="6588032"/>
              <a:ext cx="18804" cy="6716"/>
            </a:xfrm>
            <a:custGeom>
              <a:gdLst>
                <a:gd name="T0" fmla="*/ 6 w 6"/>
                <a:gd name="T1" fmla="*/ 0 h 2"/>
                <a:gd name="T2" fmla="*/ 0 w 6"/>
                <a:gd name="T3" fmla="*/ 2 h 2"/>
                <a:gd name="T4" fmla="*/ 6 w 6"/>
                <a:gd name="T5" fmla="*/ 0 h 2"/>
              </a:gdLst>
              <a:cxnLst>
                <a:cxn ang="0">
                  <a:pos x="T0" y="T1"/>
                </a:cxn>
                <a:cxn ang="0">
                  <a:pos x="T2" y="T3"/>
                </a:cxn>
                <a:cxn ang="0">
                  <a:pos x="T4" y="T5"/>
                </a:cxn>
              </a:cxnLst>
              <a:rect l="0" t="0" r="r" b="b"/>
              <a:pathLst>
                <a:path w="6" h="2">
                  <a:moveTo>
                    <a:pt x="6" y="0"/>
                  </a:moveTo>
                  <a:cubicBezTo>
                    <a:pt x="4" y="0"/>
                    <a:pt x="2" y="1"/>
                    <a:pt x="0" y="2"/>
                  </a:cubicBezTo>
                  <a:cubicBezTo>
                    <a:pt x="1" y="1"/>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424"/>
            <p:cNvSpPr/>
            <p:nvPr/>
          </p:nvSpPr>
          <p:spPr bwMode="auto">
            <a:xfrm>
              <a:off x="1046541" y="6813677"/>
              <a:ext cx="14774" cy="12088"/>
            </a:xfrm>
            <a:custGeom>
              <a:gdLst>
                <a:gd name="T0" fmla="*/ 0 w 5"/>
                <a:gd name="T1" fmla="*/ 0 h 4"/>
                <a:gd name="T2" fmla="*/ 0 w 5"/>
                <a:gd name="T3" fmla="*/ 0 h 4"/>
                <a:gd name="T4" fmla="*/ 5 w 5"/>
                <a:gd name="T5" fmla="*/ 4 h 4"/>
                <a:gd name="T6" fmla="*/ 0 w 5"/>
                <a:gd name="T7" fmla="*/ 0 h 4"/>
              </a:gdLst>
              <a:cxnLst>
                <a:cxn ang="0">
                  <a:pos x="T0" y="T1"/>
                </a:cxn>
                <a:cxn ang="0">
                  <a:pos x="T2" y="T3"/>
                </a:cxn>
                <a:cxn ang="0">
                  <a:pos x="T4" y="T5"/>
                </a:cxn>
                <a:cxn ang="0">
                  <a:pos x="T6" y="T7"/>
                </a:cxn>
              </a:cxnLst>
              <a:rect l="0" t="0" r="r" b="b"/>
              <a:pathLst>
                <a:path w="5" h="4">
                  <a:moveTo>
                    <a:pt x="0" y="0"/>
                  </a:moveTo>
                  <a:cubicBezTo>
                    <a:pt x="0" y="0"/>
                    <a:pt x="0" y="0"/>
                    <a:pt x="0" y="0"/>
                  </a:cubicBezTo>
                  <a:cubicBezTo>
                    <a:pt x="1" y="2"/>
                    <a:pt x="3" y="2"/>
                    <a:pt x="5" y="4"/>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426"/>
            <p:cNvSpPr/>
            <p:nvPr/>
          </p:nvSpPr>
          <p:spPr bwMode="auto">
            <a:xfrm>
              <a:off x="1801378" y="4851370"/>
              <a:ext cx="95362" cy="32235"/>
            </a:xfrm>
            <a:custGeom>
              <a:gdLst>
                <a:gd name="T0" fmla="*/ 6 w 30"/>
                <a:gd name="T1" fmla="*/ 0 h 10"/>
                <a:gd name="T2" fmla="*/ 5 w 30"/>
                <a:gd name="T3" fmla="*/ 0 h 10"/>
                <a:gd name="T4" fmla="*/ 1 w 30"/>
                <a:gd name="T5" fmla="*/ 5 h 10"/>
                <a:gd name="T6" fmla="*/ 0 w 30"/>
                <a:gd name="T7" fmla="*/ 5 h 10"/>
                <a:gd name="T8" fmla="*/ 11 w 30"/>
                <a:gd name="T9" fmla="*/ 10 h 10"/>
                <a:gd name="T10" fmla="*/ 22 w 30"/>
                <a:gd name="T11" fmla="*/ 8 h 10"/>
                <a:gd name="T12" fmla="*/ 30 w 30"/>
                <a:gd name="T13" fmla="*/ 4 h 10"/>
                <a:gd name="T14" fmla="*/ 30 w 30"/>
                <a:gd name="T15" fmla="*/ 4 h 10"/>
                <a:gd name="T16" fmla="*/ 22 w 30"/>
                <a:gd name="T17" fmla="*/ 1 h 10"/>
                <a:gd name="T18" fmla="*/ 20 w 30"/>
                <a:gd name="T19" fmla="*/ 1 h 10"/>
                <a:gd name="T20" fmla="*/ 16 w 30"/>
                <a:gd name="T21" fmla="*/ 1 h 10"/>
                <a:gd name="T22" fmla="*/ 12 w 30"/>
                <a:gd name="T23" fmla="*/ 2 h 10"/>
                <a:gd name="T24" fmla="*/ 10 w 30"/>
                <a:gd name="T25" fmla="*/ 2 h 10"/>
                <a:gd name="T26" fmla="*/ 6 w 30"/>
                <a:gd name="T2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0">
                  <a:moveTo>
                    <a:pt x="6" y="0"/>
                  </a:moveTo>
                  <a:cubicBezTo>
                    <a:pt x="5" y="0"/>
                    <a:pt x="5" y="0"/>
                    <a:pt x="5" y="0"/>
                  </a:cubicBezTo>
                  <a:cubicBezTo>
                    <a:pt x="3" y="2"/>
                    <a:pt x="3" y="5"/>
                    <a:pt x="1" y="5"/>
                  </a:cubicBezTo>
                  <a:cubicBezTo>
                    <a:pt x="0" y="5"/>
                    <a:pt x="0" y="5"/>
                    <a:pt x="0" y="5"/>
                  </a:cubicBezTo>
                  <a:cubicBezTo>
                    <a:pt x="4" y="7"/>
                    <a:pt x="7" y="9"/>
                    <a:pt x="11" y="10"/>
                  </a:cubicBezTo>
                  <a:cubicBezTo>
                    <a:pt x="15" y="10"/>
                    <a:pt x="19" y="10"/>
                    <a:pt x="22" y="8"/>
                  </a:cubicBezTo>
                  <a:cubicBezTo>
                    <a:pt x="24" y="7"/>
                    <a:pt x="28" y="4"/>
                    <a:pt x="30" y="4"/>
                  </a:cubicBezTo>
                  <a:cubicBezTo>
                    <a:pt x="30" y="4"/>
                    <a:pt x="30" y="4"/>
                    <a:pt x="30" y="4"/>
                  </a:cubicBezTo>
                  <a:cubicBezTo>
                    <a:pt x="28" y="3"/>
                    <a:pt x="24" y="2"/>
                    <a:pt x="22" y="1"/>
                  </a:cubicBezTo>
                  <a:cubicBezTo>
                    <a:pt x="21" y="1"/>
                    <a:pt x="20" y="1"/>
                    <a:pt x="20" y="1"/>
                  </a:cubicBezTo>
                  <a:cubicBezTo>
                    <a:pt x="18" y="1"/>
                    <a:pt x="17" y="1"/>
                    <a:pt x="16" y="1"/>
                  </a:cubicBezTo>
                  <a:cubicBezTo>
                    <a:pt x="15" y="2"/>
                    <a:pt x="13" y="2"/>
                    <a:pt x="12" y="2"/>
                  </a:cubicBezTo>
                  <a:cubicBezTo>
                    <a:pt x="11" y="2"/>
                    <a:pt x="11" y="2"/>
                    <a:pt x="10" y="2"/>
                  </a:cubicBezTo>
                  <a:cubicBezTo>
                    <a:pt x="9"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427"/>
            <p:cNvSpPr/>
            <p:nvPr/>
          </p:nvSpPr>
          <p:spPr bwMode="auto">
            <a:xfrm>
              <a:off x="1706016" y="4888978"/>
              <a:ext cx="18804" cy="9402"/>
            </a:xfrm>
            <a:custGeom>
              <a:gdLst>
                <a:gd name="T0" fmla="*/ 1 w 6"/>
                <a:gd name="T1" fmla="*/ 0 h 3"/>
                <a:gd name="T2" fmla="*/ 0 w 6"/>
                <a:gd name="T3" fmla="*/ 0 h 3"/>
                <a:gd name="T4" fmla="*/ 6 w 6"/>
                <a:gd name="T5" fmla="*/ 3 h 3"/>
                <a:gd name="T6" fmla="*/ 1 w 6"/>
                <a:gd name="T7" fmla="*/ 0 h 3"/>
              </a:gdLst>
              <a:cxnLst>
                <a:cxn ang="0">
                  <a:pos x="T0" y="T1"/>
                </a:cxn>
                <a:cxn ang="0">
                  <a:pos x="T2" y="T3"/>
                </a:cxn>
                <a:cxn ang="0">
                  <a:pos x="T4" y="T5"/>
                </a:cxn>
                <a:cxn ang="0">
                  <a:pos x="T6" y="T7"/>
                </a:cxn>
              </a:cxnLst>
              <a:rect l="0" t="0" r="r" b="b"/>
              <a:pathLst>
                <a:path w="6" h="3">
                  <a:moveTo>
                    <a:pt x="1" y="0"/>
                  </a:moveTo>
                  <a:cubicBezTo>
                    <a:pt x="1" y="0"/>
                    <a:pt x="0" y="0"/>
                    <a:pt x="0" y="0"/>
                  </a:cubicBezTo>
                  <a:cubicBezTo>
                    <a:pt x="2" y="1"/>
                    <a:pt x="4" y="2"/>
                    <a:pt x="6" y="3"/>
                  </a:cubicBezTo>
                  <a:cubicBezTo>
                    <a:pt x="5"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428"/>
            <p:cNvSpPr/>
            <p:nvPr/>
          </p:nvSpPr>
          <p:spPr bwMode="auto">
            <a:xfrm>
              <a:off x="208430" y="3326922"/>
              <a:ext cx="25519" cy="9402"/>
            </a:xfrm>
            <a:custGeom>
              <a:gdLst>
                <a:gd name="T0" fmla="*/ 6 w 8"/>
                <a:gd name="T1" fmla="*/ 0 h 3"/>
                <a:gd name="T2" fmla="*/ 0 w 8"/>
                <a:gd name="T3" fmla="*/ 3 h 3"/>
                <a:gd name="T4" fmla="*/ 8 w 8"/>
                <a:gd name="T5" fmla="*/ 1 h 3"/>
                <a:gd name="T6" fmla="*/ 6 w 8"/>
                <a:gd name="T7" fmla="*/ 0 h 3"/>
              </a:gdLst>
              <a:cxnLst>
                <a:cxn ang="0">
                  <a:pos x="T0" y="T1"/>
                </a:cxn>
                <a:cxn ang="0">
                  <a:pos x="T2" y="T3"/>
                </a:cxn>
                <a:cxn ang="0">
                  <a:pos x="T4" y="T5"/>
                </a:cxn>
                <a:cxn ang="0">
                  <a:pos x="T6" y="T7"/>
                </a:cxn>
              </a:cxnLst>
              <a:rect l="0" t="0" r="r" b="b"/>
              <a:pathLst>
                <a:path w="8" h="3">
                  <a:moveTo>
                    <a:pt x="6" y="0"/>
                  </a:moveTo>
                  <a:cubicBezTo>
                    <a:pt x="4" y="0"/>
                    <a:pt x="3" y="1"/>
                    <a:pt x="0" y="3"/>
                  </a:cubicBezTo>
                  <a:cubicBezTo>
                    <a:pt x="3" y="2"/>
                    <a:pt x="6" y="1"/>
                    <a:pt x="8" y="1"/>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429"/>
            <p:cNvSpPr/>
            <p:nvPr/>
          </p:nvSpPr>
          <p:spPr bwMode="auto">
            <a:xfrm>
              <a:off x="3042426" y="1015403"/>
              <a:ext cx="6716" cy="0"/>
            </a:xfrm>
            <a:custGeom>
              <a:gdLst>
                <a:gd name="T0" fmla="*/ 2 w 2"/>
                <a:gd name="T1" fmla="*/ 0 w 2"/>
                <a:gd name="T2" fmla="*/ 1 w 2"/>
                <a:gd name="T3" fmla="*/ 2 w 2"/>
                <a:gd name="T4" fmla="*/ 2 w 2"/>
              </a:gdLst>
              <a:cxnLst>
                <a:cxn ang="0">
                  <a:pos x="T0" y="0"/>
                </a:cxn>
                <a:cxn ang="0">
                  <a:pos x="T1" y="0"/>
                </a:cxn>
                <a:cxn ang="0">
                  <a:pos x="T2" y="0"/>
                </a:cxn>
                <a:cxn ang="0">
                  <a:pos x="T3" y="0"/>
                </a:cxn>
                <a:cxn ang="0">
                  <a:pos x="T4" y="0"/>
                </a:cxn>
              </a:cxnLst>
              <a:rect l="0" t="0" r="r" b="b"/>
              <a:pathLst>
                <a:path w="2">
                  <a:moveTo>
                    <a:pt x="2" y="0"/>
                  </a:moveTo>
                  <a:cubicBezTo>
                    <a:pt x="1" y="0"/>
                    <a:pt x="0" y="0"/>
                    <a:pt x="0" y="0"/>
                  </a:cubicBezTo>
                  <a:cubicBezTo>
                    <a:pt x="1" y="0"/>
                    <a:pt x="1" y="0"/>
                    <a:pt x="1"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Rectangle 430"/>
            <p:cNvSpPr>
              <a:spLocks noChangeArrowheads="1"/>
            </p:cNvSpPr>
            <p:nvPr/>
          </p:nvSpPr>
          <p:spPr bwMode="auto">
            <a:xfrm>
              <a:off x="7533838" y="2746692"/>
              <a:ext cx="1343" cy="53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431"/>
            <p:cNvSpPr/>
            <p:nvPr/>
          </p:nvSpPr>
          <p:spPr bwMode="auto">
            <a:xfrm flipH="1">
              <a:off x="7533838" y="2746692"/>
              <a:ext cx="0" cy="5373"/>
            </a:xfrm>
            <a:custGeom>
              <a:gdLst>
                <a:gd name="T0" fmla="*/ 0 h 4"/>
                <a:gd name="T1" fmla="*/ 4 h 4"/>
                <a:gd name="T2" fmla="*/ 4 h 4"/>
                <a:gd name="T3" fmla="*/ 0 h 4"/>
              </a:gdLst>
              <a:cxnLst>
                <a:cxn ang="0">
                  <a:pos x="0" y="T0"/>
                </a:cxn>
                <a:cxn ang="0">
                  <a:pos x="0" y="T1"/>
                </a:cxn>
                <a:cxn ang="0">
                  <a:pos x="0" y="T2"/>
                </a:cxn>
                <a:cxn ang="0">
                  <a:pos x="0" y="T3"/>
                </a:cxn>
              </a:cxnLst>
              <a:rect l="0" t="0" r="r" b="b"/>
              <a:pathLst>
                <a:path h="4">
                  <a:moveTo>
                    <a:pt x="0" y="0"/>
                  </a:moveTo>
                  <a:lnTo>
                    <a:pt x="0" y="4"/>
                  </a:lnTo>
                  <a:lnTo>
                    <a:pt x="0" y="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432"/>
            <p:cNvSpPr/>
            <p:nvPr/>
          </p:nvSpPr>
          <p:spPr bwMode="auto">
            <a:xfrm>
              <a:off x="1601252" y="3762095"/>
              <a:ext cx="69843" cy="127597"/>
            </a:xfrm>
            <a:custGeom>
              <a:gdLst>
                <a:gd name="T0" fmla="*/ 12 w 22"/>
                <a:gd name="T1" fmla="*/ 0 h 40"/>
                <a:gd name="T2" fmla="*/ 10 w 22"/>
                <a:gd name="T3" fmla="*/ 0 h 40"/>
                <a:gd name="T4" fmla="*/ 6 w 22"/>
                <a:gd name="T5" fmla="*/ 8 h 40"/>
                <a:gd name="T6" fmla="*/ 3 w 22"/>
                <a:gd name="T7" fmla="*/ 16 h 40"/>
                <a:gd name="T8" fmla="*/ 1 w 22"/>
                <a:gd name="T9" fmla="*/ 26 h 40"/>
                <a:gd name="T10" fmla="*/ 2 w 22"/>
                <a:gd name="T11" fmla="*/ 34 h 40"/>
                <a:gd name="T12" fmla="*/ 1 w 22"/>
                <a:gd name="T13" fmla="*/ 34 h 40"/>
                <a:gd name="T14" fmla="*/ 2 w 22"/>
                <a:gd name="T15" fmla="*/ 36 h 40"/>
                <a:gd name="T16" fmla="*/ 5 w 22"/>
                <a:gd name="T17" fmla="*/ 40 h 40"/>
                <a:gd name="T18" fmla="*/ 6 w 22"/>
                <a:gd name="T19" fmla="*/ 40 h 40"/>
                <a:gd name="T20" fmla="*/ 6 w 22"/>
                <a:gd name="T21" fmla="*/ 40 h 40"/>
                <a:gd name="T22" fmla="*/ 7 w 22"/>
                <a:gd name="T23" fmla="*/ 40 h 40"/>
                <a:gd name="T24" fmla="*/ 7 w 22"/>
                <a:gd name="T25" fmla="*/ 40 h 40"/>
                <a:gd name="T26" fmla="*/ 7 w 22"/>
                <a:gd name="T27" fmla="*/ 40 h 40"/>
                <a:gd name="T28" fmla="*/ 9 w 22"/>
                <a:gd name="T29" fmla="*/ 40 h 40"/>
                <a:gd name="T30" fmla="*/ 13 w 22"/>
                <a:gd name="T31" fmla="*/ 39 h 40"/>
                <a:gd name="T32" fmla="*/ 13 w 22"/>
                <a:gd name="T33" fmla="*/ 39 h 40"/>
                <a:gd name="T34" fmla="*/ 15 w 22"/>
                <a:gd name="T35" fmla="*/ 40 h 40"/>
                <a:gd name="T36" fmla="*/ 15 w 22"/>
                <a:gd name="T37" fmla="*/ 40 h 40"/>
                <a:gd name="T38" fmla="*/ 18 w 22"/>
                <a:gd name="T39" fmla="*/ 39 h 40"/>
                <a:gd name="T40" fmla="*/ 18 w 22"/>
                <a:gd name="T41" fmla="*/ 37 h 40"/>
                <a:gd name="T42" fmla="*/ 17 w 22"/>
                <a:gd name="T43" fmla="*/ 37 h 40"/>
                <a:gd name="T44" fmla="*/ 19 w 22"/>
                <a:gd name="T45" fmla="*/ 33 h 40"/>
                <a:gd name="T46" fmla="*/ 21 w 22"/>
                <a:gd name="T47" fmla="*/ 23 h 40"/>
                <a:gd name="T48" fmla="*/ 19 w 22"/>
                <a:gd name="T49" fmla="*/ 15 h 40"/>
                <a:gd name="T50" fmla="*/ 19 w 22"/>
                <a:gd name="T51" fmla="*/ 5 h 40"/>
                <a:gd name="T52" fmla="*/ 18 w 22"/>
                <a:gd name="T53" fmla="*/ 4 h 40"/>
                <a:gd name="T54" fmla="*/ 18 w 22"/>
                <a:gd name="T55" fmla="*/ 5 h 40"/>
                <a:gd name="T56" fmla="*/ 18 w 22"/>
                <a:gd name="T57" fmla="*/ 5 h 40"/>
                <a:gd name="T58" fmla="*/ 16 w 22"/>
                <a:gd name="T59" fmla="*/ 4 h 40"/>
                <a:gd name="T60" fmla="*/ 13 w 22"/>
                <a:gd name="T61" fmla="*/ 0 h 40"/>
                <a:gd name="T62" fmla="*/ 12 w 22"/>
                <a:gd name="T63" fmla="*/ 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 h="40">
                  <a:moveTo>
                    <a:pt x="12" y="0"/>
                  </a:moveTo>
                  <a:cubicBezTo>
                    <a:pt x="11" y="0"/>
                    <a:pt x="11" y="0"/>
                    <a:pt x="10" y="0"/>
                  </a:cubicBezTo>
                  <a:cubicBezTo>
                    <a:pt x="7" y="1"/>
                    <a:pt x="6" y="5"/>
                    <a:pt x="6" y="8"/>
                  </a:cubicBezTo>
                  <a:cubicBezTo>
                    <a:pt x="3" y="11"/>
                    <a:pt x="3" y="13"/>
                    <a:pt x="3" y="16"/>
                  </a:cubicBezTo>
                  <a:cubicBezTo>
                    <a:pt x="2" y="19"/>
                    <a:pt x="0" y="23"/>
                    <a:pt x="1" y="26"/>
                  </a:cubicBezTo>
                  <a:cubicBezTo>
                    <a:pt x="1" y="28"/>
                    <a:pt x="1" y="31"/>
                    <a:pt x="2" y="34"/>
                  </a:cubicBezTo>
                  <a:cubicBezTo>
                    <a:pt x="1" y="34"/>
                    <a:pt x="1" y="34"/>
                    <a:pt x="1" y="34"/>
                  </a:cubicBezTo>
                  <a:cubicBezTo>
                    <a:pt x="2" y="36"/>
                    <a:pt x="2" y="36"/>
                    <a:pt x="2" y="36"/>
                  </a:cubicBezTo>
                  <a:cubicBezTo>
                    <a:pt x="3" y="38"/>
                    <a:pt x="4" y="39"/>
                    <a:pt x="5" y="40"/>
                  </a:cubicBezTo>
                  <a:cubicBezTo>
                    <a:pt x="6" y="40"/>
                    <a:pt x="6" y="40"/>
                    <a:pt x="6" y="40"/>
                  </a:cubicBezTo>
                  <a:cubicBezTo>
                    <a:pt x="6" y="40"/>
                    <a:pt x="6" y="40"/>
                    <a:pt x="6" y="40"/>
                  </a:cubicBezTo>
                  <a:cubicBezTo>
                    <a:pt x="7" y="40"/>
                    <a:pt x="7" y="40"/>
                    <a:pt x="7" y="40"/>
                  </a:cubicBezTo>
                  <a:cubicBezTo>
                    <a:pt x="7" y="40"/>
                    <a:pt x="7" y="40"/>
                    <a:pt x="7" y="40"/>
                  </a:cubicBezTo>
                  <a:cubicBezTo>
                    <a:pt x="7" y="40"/>
                    <a:pt x="7" y="40"/>
                    <a:pt x="7" y="40"/>
                  </a:cubicBezTo>
                  <a:cubicBezTo>
                    <a:pt x="8" y="40"/>
                    <a:pt x="9" y="40"/>
                    <a:pt x="9" y="40"/>
                  </a:cubicBezTo>
                  <a:cubicBezTo>
                    <a:pt x="11" y="40"/>
                    <a:pt x="12" y="39"/>
                    <a:pt x="13" y="39"/>
                  </a:cubicBezTo>
                  <a:cubicBezTo>
                    <a:pt x="13" y="39"/>
                    <a:pt x="13" y="39"/>
                    <a:pt x="13" y="39"/>
                  </a:cubicBezTo>
                  <a:cubicBezTo>
                    <a:pt x="14" y="40"/>
                    <a:pt x="14" y="40"/>
                    <a:pt x="15" y="40"/>
                  </a:cubicBezTo>
                  <a:cubicBezTo>
                    <a:pt x="15" y="40"/>
                    <a:pt x="15" y="40"/>
                    <a:pt x="15" y="40"/>
                  </a:cubicBezTo>
                  <a:cubicBezTo>
                    <a:pt x="15" y="40"/>
                    <a:pt x="17" y="39"/>
                    <a:pt x="18" y="39"/>
                  </a:cubicBezTo>
                  <a:cubicBezTo>
                    <a:pt x="18" y="37"/>
                    <a:pt x="18" y="37"/>
                    <a:pt x="18" y="37"/>
                  </a:cubicBezTo>
                  <a:cubicBezTo>
                    <a:pt x="17" y="37"/>
                    <a:pt x="17" y="37"/>
                    <a:pt x="17" y="37"/>
                  </a:cubicBezTo>
                  <a:cubicBezTo>
                    <a:pt x="18" y="36"/>
                    <a:pt x="18" y="34"/>
                    <a:pt x="19" y="33"/>
                  </a:cubicBezTo>
                  <a:cubicBezTo>
                    <a:pt x="19" y="31"/>
                    <a:pt x="22" y="25"/>
                    <a:pt x="21" y="23"/>
                  </a:cubicBezTo>
                  <a:cubicBezTo>
                    <a:pt x="20" y="20"/>
                    <a:pt x="18" y="17"/>
                    <a:pt x="19" y="15"/>
                  </a:cubicBezTo>
                  <a:cubicBezTo>
                    <a:pt x="19" y="12"/>
                    <a:pt x="22" y="7"/>
                    <a:pt x="19" y="5"/>
                  </a:cubicBezTo>
                  <a:cubicBezTo>
                    <a:pt x="19" y="5"/>
                    <a:pt x="19" y="4"/>
                    <a:pt x="18" y="4"/>
                  </a:cubicBezTo>
                  <a:cubicBezTo>
                    <a:pt x="18" y="4"/>
                    <a:pt x="18" y="5"/>
                    <a:pt x="18" y="5"/>
                  </a:cubicBezTo>
                  <a:cubicBezTo>
                    <a:pt x="18" y="5"/>
                    <a:pt x="18" y="5"/>
                    <a:pt x="18" y="5"/>
                  </a:cubicBezTo>
                  <a:cubicBezTo>
                    <a:pt x="17" y="5"/>
                    <a:pt x="17" y="4"/>
                    <a:pt x="16" y="4"/>
                  </a:cubicBezTo>
                  <a:cubicBezTo>
                    <a:pt x="16" y="3"/>
                    <a:pt x="14" y="0"/>
                    <a:pt x="13"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433"/>
            <p:cNvSpPr/>
            <p:nvPr/>
          </p:nvSpPr>
          <p:spPr bwMode="auto">
            <a:xfrm>
              <a:off x="2849016" y="1082559"/>
              <a:ext cx="2686" cy="0"/>
            </a:xfrm>
            <a:custGeom>
              <a:gdLst>
                <a:gd name="T0" fmla="*/ 1 w 1"/>
                <a:gd name="T1" fmla="*/ 0 w 1"/>
                <a:gd name="T2" fmla="*/ 0 w 1"/>
                <a:gd name="T3" fmla="*/ 0 w 1"/>
                <a:gd name="T4" fmla="*/ 1 w 1"/>
                <a:gd name="T5" fmla="*/ 1 w 1"/>
              </a:gd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0" y="0"/>
                  </a:cubicBezTo>
                  <a:cubicBezTo>
                    <a:pt x="0" y="0"/>
                    <a:pt x="0" y="0"/>
                    <a:pt x="0" y="0"/>
                  </a:cubicBezTo>
                  <a:cubicBezTo>
                    <a:pt x="0" y="0"/>
                    <a:pt x="0" y="0"/>
                    <a:pt x="0" y="0"/>
                  </a:cubicBezTo>
                  <a:cubicBezTo>
                    <a:pt x="0"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Rectangle 434"/>
            <p:cNvSpPr>
              <a:spLocks noChangeArrowheads="1"/>
            </p:cNvSpPr>
            <p:nvPr/>
          </p:nvSpPr>
          <p:spPr bwMode="auto">
            <a:xfrm>
              <a:off x="795376" y="6673992"/>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435"/>
            <p:cNvSpPr/>
            <p:nvPr/>
          </p:nvSpPr>
          <p:spPr bwMode="auto">
            <a:xfrm flipH="1">
              <a:off x="795376" y="667399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436"/>
            <p:cNvSpPr/>
            <p:nvPr/>
          </p:nvSpPr>
          <p:spPr bwMode="auto">
            <a:xfrm>
              <a:off x="280959" y="6609522"/>
              <a:ext cx="2686" cy="4029"/>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1" y="0"/>
                    <a:pt x="1" y="1"/>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437"/>
            <p:cNvSpPr>
              <a:spLocks noEditPoints="1"/>
            </p:cNvSpPr>
            <p:nvPr/>
          </p:nvSpPr>
          <p:spPr bwMode="auto">
            <a:xfrm>
              <a:off x="376321" y="6759952"/>
              <a:ext cx="41637" cy="2686"/>
            </a:xfrm>
            <a:custGeom>
              <a:gdLst>
                <a:gd name="T0" fmla="*/ 13 w 13"/>
                <a:gd name="T1" fmla="*/ 1 h 1"/>
                <a:gd name="T2" fmla="*/ 13 w 13"/>
                <a:gd name="T3" fmla="*/ 1 h 1"/>
                <a:gd name="T4" fmla="*/ 13 w 13"/>
                <a:gd name="T5" fmla="*/ 1 h 1"/>
                <a:gd name="T6" fmla="*/ 13 w 13"/>
                <a:gd name="T7" fmla="*/ 1 h 1"/>
                <a:gd name="T8" fmla="*/ 13 w 13"/>
                <a:gd name="T9" fmla="*/ 1 h 1"/>
                <a:gd name="T10" fmla="*/ 13 w 13"/>
                <a:gd name="T11" fmla="*/ 1 h 1"/>
                <a:gd name="T12" fmla="*/ 13 w 13"/>
                <a:gd name="T13" fmla="*/ 1 h 1"/>
                <a:gd name="T14" fmla="*/ 13 w 13"/>
                <a:gd name="T15" fmla="*/ 1 h 1"/>
                <a:gd name="T16" fmla="*/ 13 w 13"/>
                <a:gd name="T17" fmla="*/ 1 h 1"/>
                <a:gd name="T18" fmla="*/ 0 w 13"/>
                <a:gd name="T19" fmla="*/ 0 h 1"/>
                <a:gd name="T20" fmla="*/ 10 w 13"/>
                <a:gd name="T21" fmla="*/ 1 h 1"/>
                <a:gd name="T22" fmla="*/ 13 w 13"/>
                <a:gd name="T23" fmla="*/ 1 h 1"/>
                <a:gd name="T24" fmla="*/ 10 w 13"/>
                <a:gd name="T25" fmla="*/ 1 h 1"/>
                <a:gd name="T26" fmla="*/ 0 w 13"/>
                <a:gd name="T27"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
                  <a:moveTo>
                    <a:pt x="13" y="1"/>
                  </a:moveTo>
                  <a:cubicBezTo>
                    <a:pt x="13" y="1"/>
                    <a:pt x="13" y="1"/>
                    <a:pt x="13" y="1"/>
                  </a:cubicBezTo>
                  <a:cubicBezTo>
                    <a:pt x="13" y="1"/>
                    <a:pt x="13" y="1"/>
                    <a:pt x="13" y="1"/>
                  </a:cubicBezTo>
                  <a:moveTo>
                    <a:pt x="13" y="1"/>
                  </a:moveTo>
                  <a:cubicBezTo>
                    <a:pt x="13" y="1"/>
                    <a:pt x="13" y="1"/>
                    <a:pt x="13" y="1"/>
                  </a:cubicBezTo>
                  <a:cubicBezTo>
                    <a:pt x="13" y="1"/>
                    <a:pt x="13" y="1"/>
                    <a:pt x="13" y="1"/>
                  </a:cubicBezTo>
                  <a:moveTo>
                    <a:pt x="13" y="1"/>
                  </a:moveTo>
                  <a:cubicBezTo>
                    <a:pt x="13" y="1"/>
                    <a:pt x="13" y="1"/>
                    <a:pt x="13" y="1"/>
                  </a:cubicBezTo>
                  <a:cubicBezTo>
                    <a:pt x="13" y="1"/>
                    <a:pt x="13" y="1"/>
                    <a:pt x="13" y="1"/>
                  </a:cubicBezTo>
                  <a:moveTo>
                    <a:pt x="0" y="0"/>
                  </a:moveTo>
                  <a:cubicBezTo>
                    <a:pt x="4" y="1"/>
                    <a:pt x="8" y="1"/>
                    <a:pt x="10" y="1"/>
                  </a:cubicBezTo>
                  <a:cubicBezTo>
                    <a:pt x="11" y="1"/>
                    <a:pt x="12" y="1"/>
                    <a:pt x="13" y="1"/>
                  </a:cubicBezTo>
                  <a:cubicBezTo>
                    <a:pt x="12" y="1"/>
                    <a:pt x="12" y="1"/>
                    <a:pt x="10" y="1"/>
                  </a:cubicBezTo>
                  <a:cubicBezTo>
                    <a:pt x="8" y="1"/>
                    <a:pt x="4"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438"/>
            <p:cNvSpPr/>
            <p:nvPr/>
          </p:nvSpPr>
          <p:spPr bwMode="auto">
            <a:xfrm>
              <a:off x="366919" y="6759952"/>
              <a:ext cx="9402" cy="0"/>
            </a:xfrm>
            <a:custGeom>
              <a:gdLst>
                <a:gd name="T0" fmla="*/ 0 w 3"/>
                <a:gd name="T1" fmla="*/ 0 w 3"/>
                <a:gd name="T2" fmla="*/ 3 w 3"/>
                <a:gd name="T3" fmla="*/ 0 w 3"/>
              </a:gdLst>
              <a:cxnLst>
                <a:cxn ang="0">
                  <a:pos x="T0" y="0"/>
                </a:cxn>
                <a:cxn ang="0">
                  <a:pos x="T1" y="0"/>
                </a:cxn>
                <a:cxn ang="0">
                  <a:pos x="T2" y="0"/>
                </a:cxn>
                <a:cxn ang="0">
                  <a:pos x="T3" y="0"/>
                </a:cxn>
              </a:cxnLst>
              <a:rect l="0" t="0" r="r" b="b"/>
              <a:pathLst>
                <a:path w="3">
                  <a:moveTo>
                    <a:pt x="0" y="0"/>
                  </a:moveTo>
                  <a:cubicBezTo>
                    <a:pt x="0" y="0"/>
                    <a:pt x="0" y="0"/>
                    <a:pt x="0" y="0"/>
                  </a:cubicBezTo>
                  <a:cubicBezTo>
                    <a:pt x="1" y="0"/>
                    <a:pt x="2" y="0"/>
                    <a:pt x="3" y="0"/>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439"/>
            <p:cNvSpPr/>
            <p:nvPr/>
          </p:nvSpPr>
          <p:spPr bwMode="auto">
            <a:xfrm>
              <a:off x="17707" y="5933929"/>
              <a:ext cx="2686"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440"/>
            <p:cNvSpPr/>
            <p:nvPr/>
          </p:nvSpPr>
          <p:spPr bwMode="auto">
            <a:xfrm>
              <a:off x="17707" y="5933929"/>
              <a:ext cx="2686"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441"/>
            <p:cNvSpPr/>
            <p:nvPr/>
          </p:nvSpPr>
          <p:spPr bwMode="auto">
            <a:xfrm>
              <a:off x="7317595" y="6569228"/>
              <a:ext cx="47009" cy="28206"/>
            </a:xfrm>
            <a:custGeom>
              <a:gdLst>
                <a:gd name="T0" fmla="*/ 15 w 15"/>
                <a:gd name="T1" fmla="*/ 0 h 9"/>
                <a:gd name="T2" fmla="*/ 0 w 15"/>
                <a:gd name="T3" fmla="*/ 7 h 9"/>
                <a:gd name="T4" fmla="*/ 11 w 15"/>
                <a:gd name="T5" fmla="*/ 9 h 9"/>
                <a:gd name="T6" fmla="*/ 13 w 15"/>
                <a:gd name="T7" fmla="*/ 4 h 9"/>
                <a:gd name="T8" fmla="*/ 15 w 15"/>
                <a:gd name="T9" fmla="*/ 0 h 9"/>
              </a:gdLst>
              <a:cxnLst>
                <a:cxn ang="0">
                  <a:pos x="T0" y="T1"/>
                </a:cxn>
                <a:cxn ang="0">
                  <a:pos x="T2" y="T3"/>
                </a:cxn>
                <a:cxn ang="0">
                  <a:pos x="T4" y="T5"/>
                </a:cxn>
                <a:cxn ang="0">
                  <a:pos x="T6" y="T7"/>
                </a:cxn>
                <a:cxn ang="0">
                  <a:pos x="T8" y="T9"/>
                </a:cxn>
              </a:cxnLst>
              <a:rect l="0" t="0" r="r" b="b"/>
              <a:pathLst>
                <a:path w="15" h="9">
                  <a:moveTo>
                    <a:pt x="15" y="0"/>
                  </a:moveTo>
                  <a:cubicBezTo>
                    <a:pt x="15" y="0"/>
                    <a:pt x="0" y="6"/>
                    <a:pt x="0" y="7"/>
                  </a:cubicBezTo>
                  <a:cubicBezTo>
                    <a:pt x="11" y="9"/>
                    <a:pt x="11" y="9"/>
                    <a:pt x="11" y="9"/>
                  </a:cubicBezTo>
                  <a:cubicBezTo>
                    <a:pt x="11" y="9"/>
                    <a:pt x="13" y="5"/>
                    <a:pt x="13" y="4"/>
                  </a:cubicBezTo>
                  <a:cubicBezTo>
                    <a:pt x="15" y="2"/>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442"/>
            <p:cNvSpPr/>
            <p:nvPr/>
          </p:nvSpPr>
          <p:spPr bwMode="auto">
            <a:xfrm>
              <a:off x="369605" y="3156345"/>
              <a:ext cx="318321" cy="338468"/>
            </a:xfrm>
            <a:custGeom>
              <a:gdLst>
                <a:gd name="T0" fmla="*/ 80 w 100"/>
                <a:gd name="T1" fmla="*/ 7 h 107"/>
                <a:gd name="T2" fmla="*/ 77 w 100"/>
                <a:gd name="T3" fmla="*/ 9 h 107"/>
                <a:gd name="T4" fmla="*/ 73 w 100"/>
                <a:gd name="T5" fmla="*/ 11 h 107"/>
                <a:gd name="T6" fmla="*/ 62 w 100"/>
                <a:gd name="T7" fmla="*/ 18 h 107"/>
                <a:gd name="T8" fmla="*/ 57 w 100"/>
                <a:gd name="T9" fmla="*/ 20 h 107"/>
                <a:gd name="T10" fmla="*/ 54 w 100"/>
                <a:gd name="T11" fmla="*/ 23 h 107"/>
                <a:gd name="T12" fmla="*/ 51 w 100"/>
                <a:gd name="T13" fmla="*/ 25 h 107"/>
                <a:gd name="T14" fmla="*/ 49 w 100"/>
                <a:gd name="T15" fmla="*/ 26 h 107"/>
                <a:gd name="T16" fmla="*/ 47 w 100"/>
                <a:gd name="T17" fmla="*/ 27 h 107"/>
                <a:gd name="T18" fmla="*/ 45 w 100"/>
                <a:gd name="T19" fmla="*/ 28 h 107"/>
                <a:gd name="T20" fmla="*/ 44 w 100"/>
                <a:gd name="T21" fmla="*/ 28 h 107"/>
                <a:gd name="T22" fmla="*/ 43 w 100"/>
                <a:gd name="T23" fmla="*/ 28 h 107"/>
                <a:gd name="T24" fmla="*/ 40 w 100"/>
                <a:gd name="T25" fmla="*/ 27 h 107"/>
                <a:gd name="T26" fmla="*/ 36 w 100"/>
                <a:gd name="T27" fmla="*/ 26 h 107"/>
                <a:gd name="T28" fmla="*/ 31 w 100"/>
                <a:gd name="T29" fmla="*/ 24 h 107"/>
                <a:gd name="T30" fmla="*/ 26 w 100"/>
                <a:gd name="T31" fmla="*/ 22 h 107"/>
                <a:gd name="T32" fmla="*/ 22 w 100"/>
                <a:gd name="T33" fmla="*/ 19 h 107"/>
                <a:gd name="T34" fmla="*/ 20 w 100"/>
                <a:gd name="T35" fmla="*/ 18 h 107"/>
                <a:gd name="T36" fmla="*/ 19 w 100"/>
                <a:gd name="T37" fmla="*/ 17 h 107"/>
                <a:gd name="T38" fmla="*/ 19 w 100"/>
                <a:gd name="T39" fmla="*/ 17 h 107"/>
                <a:gd name="T40" fmla="*/ 18 w 100"/>
                <a:gd name="T41" fmla="*/ 19 h 107"/>
                <a:gd name="T42" fmla="*/ 17 w 100"/>
                <a:gd name="T43" fmla="*/ 25 h 107"/>
                <a:gd name="T44" fmla="*/ 13 w 100"/>
                <a:gd name="T45" fmla="*/ 37 h 107"/>
                <a:gd name="T46" fmla="*/ 12 w 100"/>
                <a:gd name="T47" fmla="*/ 45 h 107"/>
                <a:gd name="T48" fmla="*/ 14 w 100"/>
                <a:gd name="T49" fmla="*/ 50 h 107"/>
                <a:gd name="T50" fmla="*/ 12 w 100"/>
                <a:gd name="T51" fmla="*/ 64 h 107"/>
                <a:gd name="T52" fmla="*/ 9 w 100"/>
                <a:gd name="T53" fmla="*/ 72 h 107"/>
                <a:gd name="T54" fmla="*/ 3 w 100"/>
                <a:gd name="T55" fmla="*/ 100 h 107"/>
                <a:gd name="T56" fmla="*/ 0 w 100"/>
                <a:gd name="T57" fmla="*/ 101 h 107"/>
                <a:gd name="T58" fmla="*/ 1 w 100"/>
                <a:gd name="T59" fmla="*/ 102 h 107"/>
                <a:gd name="T60" fmla="*/ 2 w 100"/>
                <a:gd name="T61" fmla="*/ 102 h 107"/>
                <a:gd name="T62" fmla="*/ 19 w 100"/>
                <a:gd name="T63" fmla="*/ 105 h 107"/>
                <a:gd name="T64" fmla="*/ 21 w 100"/>
                <a:gd name="T65" fmla="*/ 106 h 107"/>
                <a:gd name="T66" fmla="*/ 29 w 100"/>
                <a:gd name="T67" fmla="*/ 102 h 107"/>
                <a:gd name="T68" fmla="*/ 30 w 100"/>
                <a:gd name="T69" fmla="*/ 101 h 107"/>
                <a:gd name="T70" fmla="*/ 35 w 100"/>
                <a:gd name="T71" fmla="*/ 96 h 107"/>
                <a:gd name="T72" fmla="*/ 48 w 100"/>
                <a:gd name="T73" fmla="*/ 87 h 107"/>
                <a:gd name="T74" fmla="*/ 51 w 100"/>
                <a:gd name="T75" fmla="*/ 87 h 107"/>
                <a:gd name="T76" fmla="*/ 55 w 100"/>
                <a:gd name="T77" fmla="*/ 86 h 107"/>
                <a:gd name="T78" fmla="*/ 61 w 100"/>
                <a:gd name="T79" fmla="*/ 84 h 107"/>
                <a:gd name="T80" fmla="*/ 71 w 100"/>
                <a:gd name="T81" fmla="*/ 74 h 107"/>
                <a:gd name="T82" fmla="*/ 68 w 100"/>
                <a:gd name="T83" fmla="*/ 72 h 107"/>
                <a:gd name="T84" fmla="*/ 66 w 100"/>
                <a:gd name="T85" fmla="*/ 69 h 107"/>
                <a:gd name="T86" fmla="*/ 44 w 100"/>
                <a:gd name="T87" fmla="*/ 45 h 107"/>
                <a:gd name="T88" fmla="*/ 56 w 100"/>
                <a:gd name="T89" fmla="*/ 42 h 107"/>
                <a:gd name="T90" fmla="*/ 81 w 100"/>
                <a:gd name="T91" fmla="*/ 34 h 107"/>
                <a:gd name="T92" fmla="*/ 87 w 100"/>
                <a:gd name="T93" fmla="*/ 32 h 107"/>
                <a:gd name="T94" fmla="*/ 90 w 100"/>
                <a:gd name="T95" fmla="*/ 31 h 107"/>
                <a:gd name="T96" fmla="*/ 98 w 100"/>
                <a:gd name="T97" fmla="*/ 27 h 107"/>
                <a:gd name="T98" fmla="*/ 97 w 100"/>
                <a:gd name="T99" fmla="*/ 26 h 1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07">
                  <a:moveTo>
                    <a:pt x="92" y="0"/>
                  </a:moveTo>
                  <a:cubicBezTo>
                    <a:pt x="89" y="2"/>
                    <a:pt x="84" y="5"/>
                    <a:pt x="80" y="7"/>
                  </a:cubicBezTo>
                  <a:cubicBezTo>
                    <a:pt x="79" y="8"/>
                    <a:pt x="79" y="8"/>
                    <a:pt x="79" y="8"/>
                  </a:cubicBezTo>
                  <a:cubicBezTo>
                    <a:pt x="78" y="8"/>
                    <a:pt x="77" y="9"/>
                    <a:pt x="77" y="9"/>
                  </a:cubicBezTo>
                  <a:cubicBezTo>
                    <a:pt x="76" y="10"/>
                    <a:pt x="75" y="10"/>
                    <a:pt x="74" y="11"/>
                  </a:cubicBezTo>
                  <a:cubicBezTo>
                    <a:pt x="74" y="11"/>
                    <a:pt x="73" y="11"/>
                    <a:pt x="73" y="11"/>
                  </a:cubicBezTo>
                  <a:cubicBezTo>
                    <a:pt x="71" y="12"/>
                    <a:pt x="69" y="13"/>
                    <a:pt x="68" y="14"/>
                  </a:cubicBezTo>
                  <a:cubicBezTo>
                    <a:pt x="62" y="18"/>
                    <a:pt x="62" y="18"/>
                    <a:pt x="62" y="18"/>
                  </a:cubicBezTo>
                  <a:cubicBezTo>
                    <a:pt x="61" y="19"/>
                    <a:pt x="59" y="19"/>
                    <a:pt x="58" y="20"/>
                  </a:cubicBezTo>
                  <a:cubicBezTo>
                    <a:pt x="57" y="20"/>
                    <a:pt x="57" y="20"/>
                    <a:pt x="57" y="20"/>
                  </a:cubicBezTo>
                  <a:cubicBezTo>
                    <a:pt x="57" y="21"/>
                    <a:pt x="57" y="21"/>
                    <a:pt x="57" y="21"/>
                  </a:cubicBezTo>
                  <a:cubicBezTo>
                    <a:pt x="56" y="22"/>
                    <a:pt x="55" y="22"/>
                    <a:pt x="54" y="23"/>
                  </a:cubicBezTo>
                  <a:cubicBezTo>
                    <a:pt x="53" y="23"/>
                    <a:pt x="52" y="24"/>
                    <a:pt x="52" y="25"/>
                  </a:cubicBezTo>
                  <a:cubicBezTo>
                    <a:pt x="51" y="25"/>
                    <a:pt x="51" y="25"/>
                    <a:pt x="51" y="25"/>
                  </a:cubicBezTo>
                  <a:cubicBezTo>
                    <a:pt x="51" y="25"/>
                    <a:pt x="50" y="26"/>
                    <a:pt x="50" y="26"/>
                  </a:cubicBezTo>
                  <a:cubicBezTo>
                    <a:pt x="49" y="26"/>
                    <a:pt x="49" y="26"/>
                    <a:pt x="49" y="26"/>
                  </a:cubicBezTo>
                  <a:cubicBezTo>
                    <a:pt x="49" y="27"/>
                    <a:pt x="48" y="27"/>
                    <a:pt x="48" y="27"/>
                  </a:cubicBezTo>
                  <a:cubicBezTo>
                    <a:pt x="47" y="27"/>
                    <a:pt x="47" y="27"/>
                    <a:pt x="47" y="27"/>
                  </a:cubicBezTo>
                  <a:cubicBezTo>
                    <a:pt x="47" y="27"/>
                    <a:pt x="46" y="28"/>
                    <a:pt x="46" y="28"/>
                  </a:cubicBezTo>
                  <a:cubicBezTo>
                    <a:pt x="45" y="28"/>
                    <a:pt x="45" y="28"/>
                    <a:pt x="45" y="28"/>
                  </a:cubicBezTo>
                  <a:cubicBezTo>
                    <a:pt x="45" y="28"/>
                    <a:pt x="45" y="28"/>
                    <a:pt x="45" y="28"/>
                  </a:cubicBezTo>
                  <a:cubicBezTo>
                    <a:pt x="44" y="28"/>
                    <a:pt x="44" y="28"/>
                    <a:pt x="44" y="28"/>
                  </a:cubicBezTo>
                  <a:cubicBezTo>
                    <a:pt x="44" y="28"/>
                    <a:pt x="44" y="28"/>
                    <a:pt x="44" y="28"/>
                  </a:cubicBezTo>
                  <a:cubicBezTo>
                    <a:pt x="43" y="28"/>
                    <a:pt x="43" y="28"/>
                    <a:pt x="43" y="28"/>
                  </a:cubicBezTo>
                  <a:cubicBezTo>
                    <a:pt x="42" y="28"/>
                    <a:pt x="41" y="28"/>
                    <a:pt x="40" y="27"/>
                  </a:cubicBezTo>
                  <a:cubicBezTo>
                    <a:pt x="40" y="27"/>
                    <a:pt x="40" y="27"/>
                    <a:pt x="40" y="27"/>
                  </a:cubicBezTo>
                  <a:cubicBezTo>
                    <a:pt x="39" y="27"/>
                    <a:pt x="38" y="27"/>
                    <a:pt x="37" y="26"/>
                  </a:cubicBezTo>
                  <a:cubicBezTo>
                    <a:pt x="36" y="26"/>
                    <a:pt x="36" y="26"/>
                    <a:pt x="36" y="26"/>
                  </a:cubicBezTo>
                  <a:cubicBezTo>
                    <a:pt x="35" y="26"/>
                    <a:pt x="34" y="25"/>
                    <a:pt x="32" y="24"/>
                  </a:cubicBezTo>
                  <a:cubicBezTo>
                    <a:pt x="31" y="24"/>
                    <a:pt x="31" y="24"/>
                    <a:pt x="31" y="24"/>
                  </a:cubicBezTo>
                  <a:cubicBezTo>
                    <a:pt x="30" y="24"/>
                    <a:pt x="28" y="23"/>
                    <a:pt x="26" y="22"/>
                  </a:cubicBezTo>
                  <a:cubicBezTo>
                    <a:pt x="26" y="22"/>
                    <a:pt x="26" y="22"/>
                    <a:pt x="26" y="22"/>
                  </a:cubicBezTo>
                  <a:cubicBezTo>
                    <a:pt x="24" y="21"/>
                    <a:pt x="23" y="20"/>
                    <a:pt x="23" y="19"/>
                  </a:cubicBezTo>
                  <a:cubicBezTo>
                    <a:pt x="22" y="19"/>
                    <a:pt x="22" y="19"/>
                    <a:pt x="22" y="19"/>
                  </a:cubicBezTo>
                  <a:cubicBezTo>
                    <a:pt x="22" y="19"/>
                    <a:pt x="22" y="19"/>
                    <a:pt x="22" y="19"/>
                  </a:cubicBezTo>
                  <a:cubicBezTo>
                    <a:pt x="21" y="18"/>
                    <a:pt x="21" y="18"/>
                    <a:pt x="20" y="18"/>
                  </a:cubicBezTo>
                  <a:cubicBezTo>
                    <a:pt x="20" y="18"/>
                    <a:pt x="20" y="18"/>
                    <a:pt x="20" y="18"/>
                  </a:cubicBezTo>
                  <a:cubicBezTo>
                    <a:pt x="19" y="17"/>
                    <a:pt x="19" y="17"/>
                    <a:pt x="19" y="17"/>
                  </a:cubicBezTo>
                  <a:cubicBezTo>
                    <a:pt x="19" y="17"/>
                    <a:pt x="19" y="17"/>
                    <a:pt x="19" y="17"/>
                  </a:cubicBezTo>
                  <a:cubicBezTo>
                    <a:pt x="19" y="17"/>
                    <a:pt x="19" y="17"/>
                    <a:pt x="19" y="17"/>
                  </a:cubicBezTo>
                  <a:cubicBezTo>
                    <a:pt x="18" y="18"/>
                    <a:pt x="18" y="18"/>
                    <a:pt x="18" y="18"/>
                  </a:cubicBezTo>
                  <a:cubicBezTo>
                    <a:pt x="18" y="19"/>
                    <a:pt x="18" y="19"/>
                    <a:pt x="18" y="19"/>
                  </a:cubicBezTo>
                  <a:cubicBezTo>
                    <a:pt x="18" y="20"/>
                    <a:pt x="18" y="22"/>
                    <a:pt x="18" y="23"/>
                  </a:cubicBezTo>
                  <a:cubicBezTo>
                    <a:pt x="17" y="25"/>
                    <a:pt x="17" y="25"/>
                    <a:pt x="17" y="25"/>
                  </a:cubicBezTo>
                  <a:cubicBezTo>
                    <a:pt x="14" y="25"/>
                    <a:pt x="14" y="25"/>
                    <a:pt x="14" y="25"/>
                  </a:cubicBezTo>
                  <a:cubicBezTo>
                    <a:pt x="14" y="29"/>
                    <a:pt x="14" y="33"/>
                    <a:pt x="13" y="37"/>
                  </a:cubicBezTo>
                  <a:cubicBezTo>
                    <a:pt x="13" y="38"/>
                    <a:pt x="13" y="38"/>
                    <a:pt x="13" y="38"/>
                  </a:cubicBezTo>
                  <a:cubicBezTo>
                    <a:pt x="13" y="40"/>
                    <a:pt x="13" y="43"/>
                    <a:pt x="12" y="45"/>
                  </a:cubicBezTo>
                  <a:cubicBezTo>
                    <a:pt x="15" y="46"/>
                    <a:pt x="15" y="46"/>
                    <a:pt x="15" y="46"/>
                  </a:cubicBezTo>
                  <a:cubicBezTo>
                    <a:pt x="14" y="50"/>
                    <a:pt x="14" y="50"/>
                    <a:pt x="14" y="50"/>
                  </a:cubicBezTo>
                  <a:cubicBezTo>
                    <a:pt x="14" y="54"/>
                    <a:pt x="13" y="57"/>
                    <a:pt x="13" y="59"/>
                  </a:cubicBezTo>
                  <a:cubicBezTo>
                    <a:pt x="13" y="61"/>
                    <a:pt x="12" y="62"/>
                    <a:pt x="12" y="64"/>
                  </a:cubicBezTo>
                  <a:cubicBezTo>
                    <a:pt x="11" y="66"/>
                    <a:pt x="11" y="66"/>
                    <a:pt x="11" y="66"/>
                  </a:cubicBezTo>
                  <a:cubicBezTo>
                    <a:pt x="11" y="68"/>
                    <a:pt x="10" y="70"/>
                    <a:pt x="9" y="72"/>
                  </a:cubicBezTo>
                  <a:cubicBezTo>
                    <a:pt x="8" y="79"/>
                    <a:pt x="8" y="79"/>
                    <a:pt x="8" y="79"/>
                  </a:cubicBezTo>
                  <a:cubicBezTo>
                    <a:pt x="6" y="86"/>
                    <a:pt x="4" y="93"/>
                    <a:pt x="3" y="100"/>
                  </a:cubicBezTo>
                  <a:cubicBezTo>
                    <a:pt x="3" y="101"/>
                    <a:pt x="3" y="101"/>
                    <a:pt x="3" y="101"/>
                  </a:cubicBezTo>
                  <a:cubicBezTo>
                    <a:pt x="0" y="101"/>
                    <a:pt x="0" y="101"/>
                    <a:pt x="0" y="101"/>
                  </a:cubicBezTo>
                  <a:cubicBezTo>
                    <a:pt x="1" y="102"/>
                    <a:pt x="1" y="102"/>
                    <a:pt x="1" y="102"/>
                  </a:cubicBezTo>
                  <a:cubicBezTo>
                    <a:pt x="1" y="102"/>
                    <a:pt x="1" y="102"/>
                    <a:pt x="1" y="102"/>
                  </a:cubicBezTo>
                  <a:cubicBezTo>
                    <a:pt x="2" y="102"/>
                    <a:pt x="2" y="102"/>
                    <a:pt x="2" y="102"/>
                  </a:cubicBezTo>
                  <a:cubicBezTo>
                    <a:pt x="2" y="102"/>
                    <a:pt x="2" y="102"/>
                    <a:pt x="2" y="102"/>
                  </a:cubicBezTo>
                  <a:cubicBezTo>
                    <a:pt x="3" y="102"/>
                    <a:pt x="3" y="102"/>
                    <a:pt x="3" y="102"/>
                  </a:cubicBezTo>
                  <a:cubicBezTo>
                    <a:pt x="19" y="105"/>
                    <a:pt x="19" y="105"/>
                    <a:pt x="19" y="105"/>
                  </a:cubicBezTo>
                  <a:cubicBezTo>
                    <a:pt x="19" y="105"/>
                    <a:pt x="20" y="105"/>
                    <a:pt x="20" y="105"/>
                  </a:cubicBezTo>
                  <a:cubicBezTo>
                    <a:pt x="21" y="106"/>
                    <a:pt x="21" y="106"/>
                    <a:pt x="21" y="106"/>
                  </a:cubicBezTo>
                  <a:cubicBezTo>
                    <a:pt x="24" y="106"/>
                    <a:pt x="25" y="107"/>
                    <a:pt x="26" y="107"/>
                  </a:cubicBezTo>
                  <a:cubicBezTo>
                    <a:pt x="26" y="106"/>
                    <a:pt x="27" y="105"/>
                    <a:pt x="29" y="102"/>
                  </a:cubicBezTo>
                  <a:cubicBezTo>
                    <a:pt x="30" y="102"/>
                    <a:pt x="30" y="102"/>
                    <a:pt x="30" y="102"/>
                  </a:cubicBezTo>
                  <a:cubicBezTo>
                    <a:pt x="30" y="101"/>
                    <a:pt x="30" y="101"/>
                    <a:pt x="30" y="101"/>
                  </a:cubicBezTo>
                  <a:cubicBezTo>
                    <a:pt x="33" y="98"/>
                    <a:pt x="33" y="98"/>
                    <a:pt x="33" y="98"/>
                  </a:cubicBezTo>
                  <a:cubicBezTo>
                    <a:pt x="34" y="97"/>
                    <a:pt x="34" y="97"/>
                    <a:pt x="35" y="96"/>
                  </a:cubicBezTo>
                  <a:cubicBezTo>
                    <a:pt x="38" y="93"/>
                    <a:pt x="40" y="89"/>
                    <a:pt x="45" y="88"/>
                  </a:cubicBezTo>
                  <a:cubicBezTo>
                    <a:pt x="46" y="88"/>
                    <a:pt x="47" y="87"/>
                    <a:pt x="48" y="87"/>
                  </a:cubicBezTo>
                  <a:cubicBezTo>
                    <a:pt x="50" y="87"/>
                    <a:pt x="50" y="87"/>
                    <a:pt x="50" y="87"/>
                  </a:cubicBezTo>
                  <a:cubicBezTo>
                    <a:pt x="51" y="87"/>
                    <a:pt x="51" y="87"/>
                    <a:pt x="51" y="87"/>
                  </a:cubicBezTo>
                  <a:cubicBezTo>
                    <a:pt x="53" y="86"/>
                    <a:pt x="54" y="86"/>
                    <a:pt x="55" y="86"/>
                  </a:cubicBezTo>
                  <a:cubicBezTo>
                    <a:pt x="55" y="86"/>
                    <a:pt x="55" y="86"/>
                    <a:pt x="55" y="86"/>
                  </a:cubicBezTo>
                  <a:cubicBezTo>
                    <a:pt x="57" y="86"/>
                    <a:pt x="59" y="86"/>
                    <a:pt x="60" y="85"/>
                  </a:cubicBezTo>
                  <a:cubicBezTo>
                    <a:pt x="60" y="85"/>
                    <a:pt x="60" y="85"/>
                    <a:pt x="61" y="84"/>
                  </a:cubicBezTo>
                  <a:cubicBezTo>
                    <a:pt x="61" y="83"/>
                    <a:pt x="61" y="83"/>
                    <a:pt x="61" y="83"/>
                  </a:cubicBezTo>
                  <a:cubicBezTo>
                    <a:pt x="68" y="78"/>
                    <a:pt x="70" y="75"/>
                    <a:pt x="71" y="74"/>
                  </a:cubicBezTo>
                  <a:cubicBezTo>
                    <a:pt x="70" y="74"/>
                    <a:pt x="70" y="73"/>
                    <a:pt x="70" y="73"/>
                  </a:cubicBezTo>
                  <a:cubicBezTo>
                    <a:pt x="69" y="73"/>
                    <a:pt x="69" y="72"/>
                    <a:pt x="68" y="72"/>
                  </a:cubicBezTo>
                  <a:cubicBezTo>
                    <a:pt x="68" y="71"/>
                    <a:pt x="68" y="71"/>
                    <a:pt x="68" y="71"/>
                  </a:cubicBezTo>
                  <a:cubicBezTo>
                    <a:pt x="67" y="70"/>
                    <a:pt x="66" y="70"/>
                    <a:pt x="66" y="69"/>
                  </a:cubicBezTo>
                  <a:cubicBezTo>
                    <a:pt x="60" y="62"/>
                    <a:pt x="54" y="56"/>
                    <a:pt x="47" y="49"/>
                  </a:cubicBezTo>
                  <a:cubicBezTo>
                    <a:pt x="44" y="45"/>
                    <a:pt x="44" y="45"/>
                    <a:pt x="44" y="45"/>
                  </a:cubicBezTo>
                  <a:cubicBezTo>
                    <a:pt x="49" y="44"/>
                    <a:pt x="49" y="44"/>
                    <a:pt x="49" y="44"/>
                  </a:cubicBezTo>
                  <a:cubicBezTo>
                    <a:pt x="51" y="43"/>
                    <a:pt x="54" y="43"/>
                    <a:pt x="56" y="42"/>
                  </a:cubicBezTo>
                  <a:cubicBezTo>
                    <a:pt x="56" y="42"/>
                    <a:pt x="56" y="42"/>
                    <a:pt x="56" y="42"/>
                  </a:cubicBezTo>
                  <a:cubicBezTo>
                    <a:pt x="64" y="40"/>
                    <a:pt x="73" y="37"/>
                    <a:pt x="81" y="34"/>
                  </a:cubicBezTo>
                  <a:cubicBezTo>
                    <a:pt x="83" y="34"/>
                    <a:pt x="84" y="33"/>
                    <a:pt x="86" y="33"/>
                  </a:cubicBezTo>
                  <a:cubicBezTo>
                    <a:pt x="87" y="32"/>
                    <a:pt x="87" y="32"/>
                    <a:pt x="87" y="32"/>
                  </a:cubicBezTo>
                  <a:cubicBezTo>
                    <a:pt x="89" y="32"/>
                    <a:pt x="90" y="32"/>
                    <a:pt x="91" y="31"/>
                  </a:cubicBezTo>
                  <a:cubicBezTo>
                    <a:pt x="90" y="31"/>
                    <a:pt x="90" y="31"/>
                    <a:pt x="90" y="31"/>
                  </a:cubicBezTo>
                  <a:cubicBezTo>
                    <a:pt x="100" y="28"/>
                    <a:pt x="100" y="28"/>
                    <a:pt x="100" y="28"/>
                  </a:cubicBezTo>
                  <a:cubicBezTo>
                    <a:pt x="99" y="27"/>
                    <a:pt x="99" y="27"/>
                    <a:pt x="98" y="27"/>
                  </a:cubicBezTo>
                  <a:cubicBezTo>
                    <a:pt x="98" y="26"/>
                    <a:pt x="98" y="26"/>
                    <a:pt x="98" y="26"/>
                  </a:cubicBezTo>
                  <a:cubicBezTo>
                    <a:pt x="97" y="26"/>
                    <a:pt x="97" y="26"/>
                    <a:pt x="97" y="26"/>
                  </a:cubicBezTo>
                  <a:cubicBezTo>
                    <a:pt x="92" y="0"/>
                    <a:pt x="92" y="0"/>
                    <a:pt x="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443"/>
            <p:cNvSpPr/>
            <p:nvPr/>
          </p:nvSpPr>
          <p:spPr bwMode="auto">
            <a:xfrm>
              <a:off x="677181" y="2796388"/>
              <a:ext cx="752150" cy="709170"/>
            </a:xfrm>
            <a:custGeom>
              <a:gdLst>
                <a:gd name="T0" fmla="*/ 88 w 237"/>
                <a:gd name="T1" fmla="*/ 7 h 223"/>
                <a:gd name="T2" fmla="*/ 75 w 237"/>
                <a:gd name="T3" fmla="*/ 19 h 223"/>
                <a:gd name="T4" fmla="*/ 66 w 237"/>
                <a:gd name="T5" fmla="*/ 23 h 223"/>
                <a:gd name="T6" fmla="*/ 61 w 237"/>
                <a:gd name="T7" fmla="*/ 40 h 223"/>
                <a:gd name="T8" fmla="*/ 61 w 237"/>
                <a:gd name="T9" fmla="*/ 54 h 223"/>
                <a:gd name="T10" fmla="*/ 60 w 237"/>
                <a:gd name="T11" fmla="*/ 67 h 223"/>
                <a:gd name="T12" fmla="*/ 46 w 237"/>
                <a:gd name="T13" fmla="*/ 85 h 223"/>
                <a:gd name="T14" fmla="*/ 35 w 237"/>
                <a:gd name="T15" fmla="*/ 90 h 223"/>
                <a:gd name="T16" fmla="*/ 0 w 237"/>
                <a:gd name="T17" fmla="*/ 110 h 223"/>
                <a:gd name="T18" fmla="*/ 10 w 237"/>
                <a:gd name="T19" fmla="*/ 137 h 223"/>
                <a:gd name="T20" fmla="*/ 37 w 237"/>
                <a:gd name="T21" fmla="*/ 145 h 223"/>
                <a:gd name="T22" fmla="*/ 73 w 237"/>
                <a:gd name="T23" fmla="*/ 165 h 223"/>
                <a:gd name="T24" fmla="*/ 114 w 237"/>
                <a:gd name="T25" fmla="*/ 196 h 223"/>
                <a:gd name="T26" fmla="*/ 146 w 237"/>
                <a:gd name="T27" fmla="*/ 219 h 223"/>
                <a:gd name="T28" fmla="*/ 182 w 237"/>
                <a:gd name="T29" fmla="*/ 223 h 223"/>
                <a:gd name="T30" fmla="*/ 186 w 237"/>
                <a:gd name="T31" fmla="*/ 222 h 223"/>
                <a:gd name="T32" fmla="*/ 196 w 237"/>
                <a:gd name="T33" fmla="*/ 206 h 223"/>
                <a:gd name="T34" fmla="*/ 219 w 237"/>
                <a:gd name="T35" fmla="*/ 196 h 223"/>
                <a:gd name="T36" fmla="*/ 231 w 237"/>
                <a:gd name="T37" fmla="*/ 200 h 223"/>
                <a:gd name="T38" fmla="*/ 232 w 237"/>
                <a:gd name="T39" fmla="*/ 201 h 223"/>
                <a:gd name="T40" fmla="*/ 237 w 237"/>
                <a:gd name="T41" fmla="*/ 204 h 223"/>
                <a:gd name="T42" fmla="*/ 227 w 237"/>
                <a:gd name="T43" fmla="*/ 193 h 223"/>
                <a:gd name="T44" fmla="*/ 221 w 237"/>
                <a:gd name="T45" fmla="*/ 183 h 223"/>
                <a:gd name="T46" fmla="*/ 219 w 237"/>
                <a:gd name="T47" fmla="*/ 177 h 223"/>
                <a:gd name="T48" fmla="*/ 213 w 237"/>
                <a:gd name="T49" fmla="*/ 174 h 223"/>
                <a:gd name="T50" fmla="*/ 215 w 237"/>
                <a:gd name="T51" fmla="*/ 157 h 223"/>
                <a:gd name="T52" fmla="*/ 217 w 237"/>
                <a:gd name="T53" fmla="*/ 153 h 223"/>
                <a:gd name="T54" fmla="*/ 211 w 237"/>
                <a:gd name="T55" fmla="*/ 144 h 223"/>
                <a:gd name="T56" fmla="*/ 207 w 237"/>
                <a:gd name="T57" fmla="*/ 137 h 223"/>
                <a:gd name="T58" fmla="*/ 203 w 237"/>
                <a:gd name="T59" fmla="*/ 136 h 223"/>
                <a:gd name="T60" fmla="*/ 183 w 237"/>
                <a:gd name="T61" fmla="*/ 124 h 223"/>
                <a:gd name="T62" fmla="*/ 175 w 237"/>
                <a:gd name="T63" fmla="*/ 121 h 223"/>
                <a:gd name="T64" fmla="*/ 171 w 237"/>
                <a:gd name="T65" fmla="*/ 110 h 223"/>
                <a:gd name="T66" fmla="*/ 170 w 237"/>
                <a:gd name="T67" fmla="*/ 105 h 223"/>
                <a:gd name="T68" fmla="*/ 159 w 237"/>
                <a:gd name="T69" fmla="*/ 97 h 223"/>
                <a:gd name="T70" fmla="*/ 160 w 237"/>
                <a:gd name="T71" fmla="*/ 84 h 223"/>
                <a:gd name="T72" fmla="*/ 160 w 237"/>
                <a:gd name="T73" fmla="*/ 82 h 223"/>
                <a:gd name="T74" fmla="*/ 165 w 237"/>
                <a:gd name="T75" fmla="*/ 72 h 223"/>
                <a:gd name="T76" fmla="*/ 175 w 237"/>
                <a:gd name="T77" fmla="*/ 58 h 223"/>
                <a:gd name="T78" fmla="*/ 174 w 237"/>
                <a:gd name="T79" fmla="*/ 55 h 223"/>
                <a:gd name="T80" fmla="*/ 172 w 237"/>
                <a:gd name="T81" fmla="*/ 47 h 223"/>
                <a:gd name="T82" fmla="*/ 170 w 237"/>
                <a:gd name="T83" fmla="*/ 44 h 223"/>
                <a:gd name="T84" fmla="*/ 162 w 237"/>
                <a:gd name="T85" fmla="*/ 39 h 223"/>
                <a:gd name="T86" fmla="*/ 159 w 237"/>
                <a:gd name="T87" fmla="*/ 39 h 223"/>
                <a:gd name="T88" fmla="*/ 153 w 237"/>
                <a:gd name="T89" fmla="*/ 27 h 223"/>
                <a:gd name="T90" fmla="*/ 149 w 237"/>
                <a:gd name="T91" fmla="*/ 23 h 223"/>
                <a:gd name="T92" fmla="*/ 147 w 237"/>
                <a:gd name="T93" fmla="*/ 17 h 223"/>
                <a:gd name="T94" fmla="*/ 144 w 237"/>
                <a:gd name="T95" fmla="*/ 9 h 223"/>
                <a:gd name="T96" fmla="*/ 140 w 237"/>
                <a:gd name="T97" fmla="*/ 8 h 223"/>
                <a:gd name="T98" fmla="*/ 133 w 237"/>
                <a:gd name="T99" fmla="*/ 10 h 223"/>
                <a:gd name="T100" fmla="*/ 128 w 237"/>
                <a:gd name="T101" fmla="*/ 4 h 223"/>
                <a:gd name="T102" fmla="*/ 121 w 237"/>
                <a:gd name="T103" fmla="*/ 3 h 223"/>
                <a:gd name="T104" fmla="*/ 102 w 237"/>
                <a:gd name="T105" fmla="*/ 0 h 2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6" h="223">
                  <a:moveTo>
                    <a:pt x="100" y="0"/>
                  </a:moveTo>
                  <a:cubicBezTo>
                    <a:pt x="96" y="0"/>
                    <a:pt x="94" y="1"/>
                    <a:pt x="90" y="4"/>
                  </a:cubicBezTo>
                  <a:cubicBezTo>
                    <a:pt x="88" y="6"/>
                    <a:pt x="88" y="6"/>
                    <a:pt x="88" y="6"/>
                  </a:cubicBezTo>
                  <a:cubicBezTo>
                    <a:pt x="88" y="7"/>
                    <a:pt x="88" y="7"/>
                    <a:pt x="88" y="7"/>
                  </a:cubicBezTo>
                  <a:cubicBezTo>
                    <a:pt x="87" y="7"/>
                    <a:pt x="87" y="8"/>
                    <a:pt x="87" y="8"/>
                  </a:cubicBezTo>
                  <a:cubicBezTo>
                    <a:pt x="86" y="9"/>
                    <a:pt x="86" y="9"/>
                    <a:pt x="86" y="9"/>
                  </a:cubicBezTo>
                  <a:cubicBezTo>
                    <a:pt x="83" y="11"/>
                    <a:pt x="83" y="11"/>
                    <a:pt x="83" y="11"/>
                  </a:cubicBezTo>
                  <a:cubicBezTo>
                    <a:pt x="80" y="14"/>
                    <a:pt x="77" y="17"/>
                    <a:pt x="75" y="19"/>
                  </a:cubicBezTo>
                  <a:cubicBezTo>
                    <a:pt x="73" y="21"/>
                    <a:pt x="72" y="22"/>
                    <a:pt x="71" y="22"/>
                  </a:cubicBezTo>
                  <a:cubicBezTo>
                    <a:pt x="72" y="28"/>
                    <a:pt x="72" y="28"/>
                    <a:pt x="72" y="28"/>
                  </a:cubicBezTo>
                  <a:cubicBezTo>
                    <a:pt x="69" y="22"/>
                    <a:pt x="69" y="22"/>
                    <a:pt x="69" y="22"/>
                  </a:cubicBezTo>
                  <a:cubicBezTo>
                    <a:pt x="66" y="23"/>
                    <a:pt x="66" y="23"/>
                    <a:pt x="66" y="23"/>
                  </a:cubicBezTo>
                  <a:cubicBezTo>
                    <a:pt x="65" y="23"/>
                    <a:pt x="65" y="23"/>
                    <a:pt x="64" y="23"/>
                  </a:cubicBezTo>
                  <a:cubicBezTo>
                    <a:pt x="63" y="24"/>
                    <a:pt x="63" y="24"/>
                    <a:pt x="63" y="24"/>
                  </a:cubicBezTo>
                  <a:cubicBezTo>
                    <a:pt x="63" y="24"/>
                    <a:pt x="63" y="25"/>
                    <a:pt x="62" y="26"/>
                  </a:cubicBezTo>
                  <a:cubicBezTo>
                    <a:pt x="61" y="30"/>
                    <a:pt x="61" y="35"/>
                    <a:pt x="61" y="40"/>
                  </a:cubicBezTo>
                  <a:cubicBezTo>
                    <a:pt x="62" y="41"/>
                    <a:pt x="62" y="41"/>
                    <a:pt x="62" y="41"/>
                  </a:cubicBezTo>
                  <a:cubicBezTo>
                    <a:pt x="62" y="43"/>
                    <a:pt x="62" y="46"/>
                    <a:pt x="62" y="49"/>
                  </a:cubicBezTo>
                  <a:cubicBezTo>
                    <a:pt x="62" y="51"/>
                    <a:pt x="61" y="52"/>
                    <a:pt x="61" y="54"/>
                  </a:cubicBezTo>
                  <a:cubicBezTo>
                    <a:pt x="61" y="54"/>
                    <a:pt x="61" y="54"/>
                    <a:pt x="61" y="54"/>
                  </a:cubicBezTo>
                  <a:cubicBezTo>
                    <a:pt x="60" y="57"/>
                    <a:pt x="59" y="59"/>
                    <a:pt x="59" y="62"/>
                  </a:cubicBezTo>
                  <a:cubicBezTo>
                    <a:pt x="59" y="63"/>
                    <a:pt x="60" y="64"/>
                    <a:pt x="60" y="65"/>
                  </a:cubicBezTo>
                  <a:cubicBezTo>
                    <a:pt x="60" y="66"/>
                    <a:pt x="60" y="66"/>
                    <a:pt x="60" y="66"/>
                  </a:cubicBezTo>
                  <a:cubicBezTo>
                    <a:pt x="60" y="67"/>
                    <a:pt x="60" y="67"/>
                    <a:pt x="60" y="67"/>
                  </a:cubicBezTo>
                  <a:cubicBezTo>
                    <a:pt x="60" y="68"/>
                    <a:pt x="59" y="70"/>
                    <a:pt x="58" y="72"/>
                  </a:cubicBezTo>
                  <a:cubicBezTo>
                    <a:pt x="57" y="75"/>
                    <a:pt x="56" y="79"/>
                    <a:pt x="54" y="81"/>
                  </a:cubicBezTo>
                  <a:cubicBezTo>
                    <a:pt x="52" y="83"/>
                    <a:pt x="50" y="84"/>
                    <a:pt x="48" y="84"/>
                  </a:cubicBezTo>
                  <a:cubicBezTo>
                    <a:pt x="47" y="85"/>
                    <a:pt x="46" y="85"/>
                    <a:pt x="46" y="85"/>
                  </a:cubicBezTo>
                  <a:cubicBezTo>
                    <a:pt x="44" y="86"/>
                    <a:pt x="43" y="86"/>
                    <a:pt x="41" y="87"/>
                  </a:cubicBezTo>
                  <a:cubicBezTo>
                    <a:pt x="37" y="90"/>
                    <a:pt x="37" y="90"/>
                    <a:pt x="37" y="90"/>
                  </a:cubicBezTo>
                  <a:cubicBezTo>
                    <a:pt x="38" y="93"/>
                    <a:pt x="38" y="93"/>
                    <a:pt x="38" y="93"/>
                  </a:cubicBezTo>
                  <a:cubicBezTo>
                    <a:pt x="35" y="90"/>
                    <a:pt x="35" y="90"/>
                    <a:pt x="35" y="90"/>
                  </a:cubicBezTo>
                  <a:cubicBezTo>
                    <a:pt x="31" y="93"/>
                    <a:pt x="31" y="93"/>
                    <a:pt x="31" y="93"/>
                  </a:cubicBezTo>
                  <a:cubicBezTo>
                    <a:pt x="27" y="95"/>
                    <a:pt x="23" y="97"/>
                    <a:pt x="20" y="99"/>
                  </a:cubicBezTo>
                  <a:cubicBezTo>
                    <a:pt x="15" y="102"/>
                    <a:pt x="9" y="105"/>
                    <a:pt x="4" y="108"/>
                  </a:cubicBezTo>
                  <a:cubicBezTo>
                    <a:pt x="0" y="110"/>
                    <a:pt x="0" y="110"/>
                    <a:pt x="0" y="110"/>
                  </a:cubicBezTo>
                  <a:cubicBezTo>
                    <a:pt x="0" y="111"/>
                    <a:pt x="0" y="111"/>
                    <a:pt x="0" y="111"/>
                  </a:cubicBezTo>
                  <a:cubicBezTo>
                    <a:pt x="6" y="135"/>
                    <a:pt x="6" y="135"/>
                    <a:pt x="6" y="135"/>
                  </a:cubicBezTo>
                  <a:cubicBezTo>
                    <a:pt x="7" y="136"/>
                    <a:pt x="8" y="136"/>
                    <a:pt x="9" y="136"/>
                  </a:cubicBezTo>
                  <a:cubicBezTo>
                    <a:pt x="9" y="137"/>
                    <a:pt x="10" y="137"/>
                    <a:pt x="10" y="137"/>
                  </a:cubicBezTo>
                  <a:cubicBezTo>
                    <a:pt x="11" y="138"/>
                    <a:pt x="11" y="138"/>
                    <a:pt x="11" y="138"/>
                  </a:cubicBezTo>
                  <a:cubicBezTo>
                    <a:pt x="14" y="140"/>
                    <a:pt x="14" y="140"/>
                    <a:pt x="14" y="140"/>
                  </a:cubicBezTo>
                  <a:cubicBezTo>
                    <a:pt x="13" y="141"/>
                    <a:pt x="13" y="141"/>
                    <a:pt x="13" y="141"/>
                  </a:cubicBezTo>
                  <a:cubicBezTo>
                    <a:pt x="37" y="145"/>
                    <a:pt x="37" y="145"/>
                    <a:pt x="37" y="145"/>
                  </a:cubicBezTo>
                  <a:cubicBezTo>
                    <a:pt x="40" y="145"/>
                    <a:pt x="42" y="147"/>
                    <a:pt x="45" y="149"/>
                  </a:cubicBezTo>
                  <a:cubicBezTo>
                    <a:pt x="45" y="150"/>
                    <a:pt x="46" y="150"/>
                    <a:pt x="46" y="150"/>
                  </a:cubicBezTo>
                  <a:cubicBezTo>
                    <a:pt x="53" y="155"/>
                    <a:pt x="60" y="158"/>
                    <a:pt x="67" y="162"/>
                  </a:cubicBezTo>
                  <a:cubicBezTo>
                    <a:pt x="69" y="163"/>
                    <a:pt x="71" y="164"/>
                    <a:pt x="73" y="165"/>
                  </a:cubicBezTo>
                  <a:cubicBezTo>
                    <a:pt x="79" y="169"/>
                    <a:pt x="79" y="169"/>
                    <a:pt x="79" y="169"/>
                  </a:cubicBezTo>
                  <a:cubicBezTo>
                    <a:pt x="86" y="173"/>
                    <a:pt x="91" y="178"/>
                    <a:pt x="97" y="182"/>
                  </a:cubicBezTo>
                  <a:cubicBezTo>
                    <a:pt x="100" y="185"/>
                    <a:pt x="103" y="188"/>
                    <a:pt x="106" y="190"/>
                  </a:cubicBezTo>
                  <a:cubicBezTo>
                    <a:pt x="109" y="192"/>
                    <a:pt x="111" y="194"/>
                    <a:pt x="114" y="196"/>
                  </a:cubicBezTo>
                  <a:cubicBezTo>
                    <a:pt x="124" y="204"/>
                    <a:pt x="124" y="204"/>
                    <a:pt x="124" y="204"/>
                  </a:cubicBezTo>
                  <a:cubicBezTo>
                    <a:pt x="127" y="206"/>
                    <a:pt x="129" y="208"/>
                    <a:pt x="132" y="210"/>
                  </a:cubicBezTo>
                  <a:cubicBezTo>
                    <a:pt x="136" y="213"/>
                    <a:pt x="140" y="216"/>
                    <a:pt x="143" y="219"/>
                  </a:cubicBezTo>
                  <a:cubicBezTo>
                    <a:pt x="144" y="219"/>
                    <a:pt x="145" y="219"/>
                    <a:pt x="146" y="219"/>
                  </a:cubicBezTo>
                  <a:cubicBezTo>
                    <a:pt x="148" y="219"/>
                    <a:pt x="148" y="219"/>
                    <a:pt x="148" y="219"/>
                  </a:cubicBezTo>
                  <a:cubicBezTo>
                    <a:pt x="181" y="223"/>
                    <a:pt x="181" y="223"/>
                    <a:pt x="181" y="223"/>
                  </a:cubicBezTo>
                  <a:cubicBezTo>
                    <a:pt x="182" y="223"/>
                    <a:pt x="182" y="223"/>
                    <a:pt x="182" y="223"/>
                  </a:cubicBezTo>
                  <a:cubicBezTo>
                    <a:pt x="182" y="223"/>
                    <a:pt x="182" y="223"/>
                    <a:pt x="182" y="223"/>
                  </a:cubicBezTo>
                  <a:cubicBezTo>
                    <a:pt x="183" y="223"/>
                    <a:pt x="184" y="223"/>
                    <a:pt x="184" y="223"/>
                  </a:cubicBezTo>
                  <a:cubicBezTo>
                    <a:pt x="184" y="223"/>
                    <a:pt x="184" y="223"/>
                    <a:pt x="184" y="223"/>
                  </a:cubicBezTo>
                  <a:cubicBezTo>
                    <a:pt x="184" y="223"/>
                    <a:pt x="184" y="223"/>
                    <a:pt x="184" y="223"/>
                  </a:cubicBezTo>
                  <a:cubicBezTo>
                    <a:pt x="185" y="222"/>
                    <a:pt x="186" y="222"/>
                    <a:pt x="186" y="222"/>
                  </a:cubicBezTo>
                  <a:cubicBezTo>
                    <a:pt x="187" y="221"/>
                    <a:pt x="187" y="221"/>
                    <a:pt x="187" y="221"/>
                  </a:cubicBezTo>
                  <a:cubicBezTo>
                    <a:pt x="189" y="217"/>
                    <a:pt x="191" y="213"/>
                    <a:pt x="194" y="209"/>
                  </a:cubicBezTo>
                  <a:cubicBezTo>
                    <a:pt x="194" y="209"/>
                    <a:pt x="195" y="208"/>
                    <a:pt x="195" y="207"/>
                  </a:cubicBezTo>
                  <a:cubicBezTo>
                    <a:pt x="196" y="206"/>
                    <a:pt x="196" y="206"/>
                    <a:pt x="196" y="206"/>
                  </a:cubicBezTo>
                  <a:cubicBezTo>
                    <a:pt x="197" y="203"/>
                    <a:pt x="199" y="199"/>
                    <a:pt x="202" y="197"/>
                  </a:cubicBezTo>
                  <a:cubicBezTo>
                    <a:pt x="204" y="196"/>
                    <a:pt x="206" y="195"/>
                    <a:pt x="209" y="195"/>
                  </a:cubicBezTo>
                  <a:cubicBezTo>
                    <a:pt x="209" y="195"/>
                    <a:pt x="210" y="195"/>
                    <a:pt x="211" y="195"/>
                  </a:cubicBezTo>
                  <a:cubicBezTo>
                    <a:pt x="214" y="195"/>
                    <a:pt x="216" y="195"/>
                    <a:pt x="219" y="196"/>
                  </a:cubicBezTo>
                  <a:cubicBezTo>
                    <a:pt x="219" y="193"/>
                    <a:pt x="219" y="193"/>
                    <a:pt x="219" y="193"/>
                  </a:cubicBezTo>
                  <a:cubicBezTo>
                    <a:pt x="224" y="196"/>
                    <a:pt x="224" y="196"/>
                    <a:pt x="224" y="196"/>
                  </a:cubicBezTo>
                  <a:cubicBezTo>
                    <a:pt x="226" y="198"/>
                    <a:pt x="229" y="199"/>
                    <a:pt x="231" y="200"/>
                  </a:cubicBezTo>
                  <a:cubicBezTo>
                    <a:pt x="231" y="200"/>
                    <a:pt x="231" y="200"/>
                    <a:pt x="231" y="200"/>
                  </a:cubicBezTo>
                  <a:cubicBezTo>
                    <a:pt x="231" y="200"/>
                    <a:pt x="231" y="200"/>
                    <a:pt x="231" y="200"/>
                  </a:cubicBezTo>
                  <a:cubicBezTo>
                    <a:pt x="231" y="200"/>
                    <a:pt x="231" y="200"/>
                    <a:pt x="231" y="200"/>
                  </a:cubicBezTo>
                  <a:cubicBezTo>
                    <a:pt x="232" y="200"/>
                    <a:pt x="232" y="200"/>
                    <a:pt x="232" y="200"/>
                  </a:cubicBezTo>
                  <a:cubicBezTo>
                    <a:pt x="232" y="201"/>
                    <a:pt x="232" y="201"/>
                    <a:pt x="232" y="201"/>
                  </a:cubicBezTo>
                  <a:cubicBezTo>
                    <a:pt x="233" y="203"/>
                    <a:pt x="233" y="203"/>
                    <a:pt x="233" y="203"/>
                  </a:cubicBezTo>
                  <a:cubicBezTo>
                    <a:pt x="235" y="204"/>
                    <a:pt x="236" y="204"/>
                    <a:pt x="237" y="204"/>
                  </a:cubicBezTo>
                  <a:cubicBezTo>
                    <a:pt x="237" y="204"/>
                    <a:pt x="237" y="204"/>
                    <a:pt x="237" y="204"/>
                  </a:cubicBezTo>
                  <a:cubicBezTo>
                    <a:pt x="237" y="204"/>
                    <a:pt x="237" y="204"/>
                    <a:pt x="237" y="204"/>
                  </a:cubicBezTo>
                  <a:cubicBezTo>
                    <a:pt x="234" y="202"/>
                    <a:pt x="232" y="199"/>
                    <a:pt x="231" y="198"/>
                  </a:cubicBezTo>
                  <a:cubicBezTo>
                    <a:pt x="231" y="197"/>
                    <a:pt x="231" y="197"/>
                    <a:pt x="231" y="197"/>
                  </a:cubicBezTo>
                  <a:cubicBezTo>
                    <a:pt x="230" y="197"/>
                    <a:pt x="230" y="196"/>
                    <a:pt x="230" y="196"/>
                  </a:cubicBezTo>
                  <a:cubicBezTo>
                    <a:pt x="229" y="195"/>
                    <a:pt x="228" y="194"/>
                    <a:pt x="227" y="193"/>
                  </a:cubicBezTo>
                  <a:cubicBezTo>
                    <a:pt x="226" y="192"/>
                    <a:pt x="226" y="192"/>
                    <a:pt x="225" y="191"/>
                  </a:cubicBezTo>
                  <a:cubicBezTo>
                    <a:pt x="223" y="190"/>
                    <a:pt x="222" y="189"/>
                    <a:pt x="222" y="187"/>
                  </a:cubicBezTo>
                  <a:cubicBezTo>
                    <a:pt x="221" y="187"/>
                    <a:pt x="221" y="187"/>
                    <a:pt x="221" y="187"/>
                  </a:cubicBezTo>
                  <a:cubicBezTo>
                    <a:pt x="221" y="185"/>
                    <a:pt x="221" y="184"/>
                    <a:pt x="221" y="183"/>
                  </a:cubicBezTo>
                  <a:cubicBezTo>
                    <a:pt x="222" y="182"/>
                    <a:pt x="222" y="182"/>
                    <a:pt x="222" y="182"/>
                  </a:cubicBezTo>
                  <a:cubicBezTo>
                    <a:pt x="222" y="180"/>
                    <a:pt x="222" y="178"/>
                    <a:pt x="222" y="177"/>
                  </a:cubicBezTo>
                  <a:cubicBezTo>
                    <a:pt x="222" y="176"/>
                    <a:pt x="222" y="176"/>
                    <a:pt x="222" y="176"/>
                  </a:cubicBezTo>
                  <a:cubicBezTo>
                    <a:pt x="221" y="176"/>
                    <a:pt x="220" y="176"/>
                    <a:pt x="219" y="177"/>
                  </a:cubicBezTo>
                  <a:cubicBezTo>
                    <a:pt x="217" y="177"/>
                    <a:pt x="217" y="177"/>
                    <a:pt x="217" y="177"/>
                  </a:cubicBezTo>
                  <a:cubicBezTo>
                    <a:pt x="217" y="177"/>
                    <a:pt x="216" y="177"/>
                    <a:pt x="216" y="177"/>
                  </a:cubicBezTo>
                  <a:cubicBezTo>
                    <a:pt x="213" y="177"/>
                    <a:pt x="213" y="177"/>
                    <a:pt x="213" y="177"/>
                  </a:cubicBezTo>
                  <a:cubicBezTo>
                    <a:pt x="213" y="174"/>
                    <a:pt x="213" y="174"/>
                    <a:pt x="213" y="174"/>
                  </a:cubicBezTo>
                  <a:cubicBezTo>
                    <a:pt x="213" y="171"/>
                    <a:pt x="213" y="168"/>
                    <a:pt x="213" y="166"/>
                  </a:cubicBezTo>
                  <a:cubicBezTo>
                    <a:pt x="213" y="164"/>
                    <a:pt x="214" y="162"/>
                    <a:pt x="214" y="161"/>
                  </a:cubicBezTo>
                  <a:cubicBezTo>
                    <a:pt x="214" y="160"/>
                    <a:pt x="214" y="160"/>
                    <a:pt x="214" y="159"/>
                  </a:cubicBezTo>
                  <a:cubicBezTo>
                    <a:pt x="215" y="157"/>
                    <a:pt x="215" y="157"/>
                    <a:pt x="215" y="157"/>
                  </a:cubicBezTo>
                  <a:cubicBezTo>
                    <a:pt x="216" y="156"/>
                    <a:pt x="216" y="156"/>
                    <a:pt x="216" y="155"/>
                  </a:cubicBezTo>
                  <a:cubicBezTo>
                    <a:pt x="210" y="153"/>
                    <a:pt x="210" y="153"/>
                    <a:pt x="210" y="153"/>
                  </a:cubicBezTo>
                  <a:cubicBezTo>
                    <a:pt x="217" y="154"/>
                    <a:pt x="217" y="154"/>
                    <a:pt x="217" y="154"/>
                  </a:cubicBezTo>
                  <a:cubicBezTo>
                    <a:pt x="217" y="153"/>
                    <a:pt x="217" y="153"/>
                    <a:pt x="217" y="153"/>
                  </a:cubicBezTo>
                  <a:cubicBezTo>
                    <a:pt x="217" y="153"/>
                    <a:pt x="217" y="153"/>
                    <a:pt x="217" y="153"/>
                  </a:cubicBezTo>
                  <a:cubicBezTo>
                    <a:pt x="217" y="153"/>
                    <a:pt x="217" y="153"/>
                    <a:pt x="217" y="153"/>
                  </a:cubicBezTo>
                  <a:cubicBezTo>
                    <a:pt x="217" y="153"/>
                    <a:pt x="217" y="151"/>
                    <a:pt x="214" y="148"/>
                  </a:cubicBezTo>
                  <a:cubicBezTo>
                    <a:pt x="213" y="147"/>
                    <a:pt x="212" y="145"/>
                    <a:pt x="211" y="144"/>
                  </a:cubicBezTo>
                  <a:cubicBezTo>
                    <a:pt x="211" y="144"/>
                    <a:pt x="211" y="144"/>
                    <a:pt x="211" y="144"/>
                  </a:cubicBezTo>
                  <a:cubicBezTo>
                    <a:pt x="205" y="147"/>
                    <a:pt x="205" y="147"/>
                    <a:pt x="205" y="147"/>
                  </a:cubicBezTo>
                  <a:cubicBezTo>
                    <a:pt x="210" y="142"/>
                    <a:pt x="210" y="142"/>
                    <a:pt x="210" y="142"/>
                  </a:cubicBezTo>
                  <a:cubicBezTo>
                    <a:pt x="209" y="140"/>
                    <a:pt x="208" y="138"/>
                    <a:pt x="207" y="137"/>
                  </a:cubicBezTo>
                  <a:cubicBezTo>
                    <a:pt x="206" y="136"/>
                    <a:pt x="205" y="136"/>
                    <a:pt x="205" y="136"/>
                  </a:cubicBezTo>
                  <a:cubicBezTo>
                    <a:pt x="205" y="136"/>
                    <a:pt x="205" y="136"/>
                    <a:pt x="205" y="136"/>
                  </a:cubicBezTo>
                  <a:cubicBezTo>
                    <a:pt x="205" y="136"/>
                    <a:pt x="204" y="136"/>
                    <a:pt x="204" y="136"/>
                  </a:cubicBezTo>
                  <a:cubicBezTo>
                    <a:pt x="204" y="136"/>
                    <a:pt x="203" y="136"/>
                    <a:pt x="203" y="136"/>
                  </a:cubicBezTo>
                  <a:cubicBezTo>
                    <a:pt x="202" y="136"/>
                    <a:pt x="201" y="136"/>
                    <a:pt x="200" y="136"/>
                  </a:cubicBezTo>
                  <a:cubicBezTo>
                    <a:pt x="200" y="135"/>
                    <a:pt x="199" y="135"/>
                    <a:pt x="198" y="135"/>
                  </a:cubicBezTo>
                  <a:cubicBezTo>
                    <a:pt x="187" y="126"/>
                    <a:pt x="187" y="126"/>
                    <a:pt x="187" y="126"/>
                  </a:cubicBezTo>
                  <a:cubicBezTo>
                    <a:pt x="186" y="125"/>
                    <a:pt x="185" y="125"/>
                    <a:pt x="183" y="124"/>
                  </a:cubicBezTo>
                  <a:cubicBezTo>
                    <a:pt x="182" y="123"/>
                    <a:pt x="181" y="123"/>
                    <a:pt x="181" y="123"/>
                  </a:cubicBezTo>
                  <a:cubicBezTo>
                    <a:pt x="180" y="123"/>
                    <a:pt x="180" y="123"/>
                    <a:pt x="180" y="123"/>
                  </a:cubicBezTo>
                  <a:cubicBezTo>
                    <a:pt x="178" y="123"/>
                    <a:pt x="177" y="123"/>
                    <a:pt x="175" y="122"/>
                  </a:cubicBezTo>
                  <a:cubicBezTo>
                    <a:pt x="175" y="121"/>
                    <a:pt x="175" y="121"/>
                    <a:pt x="175" y="121"/>
                  </a:cubicBezTo>
                  <a:cubicBezTo>
                    <a:pt x="174" y="121"/>
                    <a:pt x="173" y="120"/>
                    <a:pt x="173" y="118"/>
                  </a:cubicBezTo>
                  <a:cubicBezTo>
                    <a:pt x="172" y="117"/>
                    <a:pt x="172" y="114"/>
                    <a:pt x="171" y="113"/>
                  </a:cubicBezTo>
                  <a:cubicBezTo>
                    <a:pt x="171" y="112"/>
                    <a:pt x="171" y="112"/>
                    <a:pt x="171" y="112"/>
                  </a:cubicBezTo>
                  <a:cubicBezTo>
                    <a:pt x="171" y="111"/>
                    <a:pt x="171" y="110"/>
                    <a:pt x="171" y="110"/>
                  </a:cubicBezTo>
                  <a:cubicBezTo>
                    <a:pt x="171" y="109"/>
                    <a:pt x="171" y="108"/>
                    <a:pt x="170" y="107"/>
                  </a:cubicBezTo>
                  <a:cubicBezTo>
                    <a:pt x="170" y="106"/>
                    <a:pt x="170" y="106"/>
                    <a:pt x="170" y="106"/>
                  </a:cubicBezTo>
                  <a:cubicBezTo>
                    <a:pt x="170" y="106"/>
                    <a:pt x="170" y="106"/>
                    <a:pt x="170" y="106"/>
                  </a:cubicBezTo>
                  <a:cubicBezTo>
                    <a:pt x="170" y="105"/>
                    <a:pt x="170" y="105"/>
                    <a:pt x="170" y="105"/>
                  </a:cubicBezTo>
                  <a:cubicBezTo>
                    <a:pt x="169" y="105"/>
                    <a:pt x="169" y="105"/>
                    <a:pt x="169" y="105"/>
                  </a:cubicBezTo>
                  <a:cubicBezTo>
                    <a:pt x="168" y="105"/>
                    <a:pt x="167" y="104"/>
                    <a:pt x="166" y="103"/>
                  </a:cubicBezTo>
                  <a:cubicBezTo>
                    <a:pt x="166" y="104"/>
                    <a:pt x="166" y="104"/>
                    <a:pt x="166" y="104"/>
                  </a:cubicBezTo>
                  <a:cubicBezTo>
                    <a:pt x="159" y="97"/>
                    <a:pt x="159" y="97"/>
                    <a:pt x="159" y="97"/>
                  </a:cubicBezTo>
                  <a:cubicBezTo>
                    <a:pt x="159" y="96"/>
                    <a:pt x="158" y="96"/>
                    <a:pt x="158" y="95"/>
                  </a:cubicBezTo>
                  <a:cubicBezTo>
                    <a:pt x="157" y="94"/>
                    <a:pt x="157" y="93"/>
                    <a:pt x="157" y="91"/>
                  </a:cubicBezTo>
                  <a:cubicBezTo>
                    <a:pt x="157" y="90"/>
                    <a:pt x="157" y="90"/>
                    <a:pt x="157" y="90"/>
                  </a:cubicBezTo>
                  <a:cubicBezTo>
                    <a:pt x="158" y="88"/>
                    <a:pt x="159" y="86"/>
                    <a:pt x="160" y="84"/>
                  </a:cubicBezTo>
                  <a:cubicBezTo>
                    <a:pt x="161" y="83"/>
                    <a:pt x="161" y="83"/>
                    <a:pt x="161" y="83"/>
                  </a:cubicBezTo>
                  <a:cubicBezTo>
                    <a:pt x="160" y="83"/>
                    <a:pt x="160" y="83"/>
                    <a:pt x="160" y="83"/>
                  </a:cubicBezTo>
                  <a:cubicBezTo>
                    <a:pt x="160" y="82"/>
                    <a:pt x="160" y="82"/>
                    <a:pt x="160" y="82"/>
                  </a:cubicBezTo>
                  <a:cubicBezTo>
                    <a:pt x="160" y="82"/>
                    <a:pt x="160" y="82"/>
                    <a:pt x="160" y="82"/>
                  </a:cubicBezTo>
                  <a:cubicBezTo>
                    <a:pt x="159" y="81"/>
                    <a:pt x="158" y="80"/>
                    <a:pt x="158" y="79"/>
                  </a:cubicBezTo>
                  <a:cubicBezTo>
                    <a:pt x="158" y="77"/>
                    <a:pt x="158" y="77"/>
                    <a:pt x="158" y="77"/>
                  </a:cubicBezTo>
                  <a:cubicBezTo>
                    <a:pt x="164" y="71"/>
                    <a:pt x="164" y="71"/>
                    <a:pt x="164" y="71"/>
                  </a:cubicBezTo>
                  <a:cubicBezTo>
                    <a:pt x="165" y="72"/>
                    <a:pt x="165" y="72"/>
                    <a:pt x="165" y="72"/>
                  </a:cubicBezTo>
                  <a:cubicBezTo>
                    <a:pt x="165" y="71"/>
                    <a:pt x="165" y="71"/>
                    <a:pt x="165" y="71"/>
                  </a:cubicBezTo>
                  <a:cubicBezTo>
                    <a:pt x="166" y="67"/>
                    <a:pt x="166" y="64"/>
                    <a:pt x="169" y="61"/>
                  </a:cubicBezTo>
                  <a:cubicBezTo>
                    <a:pt x="170" y="60"/>
                    <a:pt x="170" y="60"/>
                    <a:pt x="170" y="60"/>
                  </a:cubicBezTo>
                  <a:cubicBezTo>
                    <a:pt x="172" y="59"/>
                    <a:pt x="173" y="59"/>
                    <a:pt x="175" y="58"/>
                  </a:cubicBezTo>
                  <a:cubicBezTo>
                    <a:pt x="176" y="58"/>
                    <a:pt x="176" y="58"/>
                    <a:pt x="176" y="58"/>
                  </a:cubicBezTo>
                  <a:cubicBezTo>
                    <a:pt x="176" y="58"/>
                    <a:pt x="176" y="58"/>
                    <a:pt x="176" y="58"/>
                  </a:cubicBezTo>
                  <a:cubicBezTo>
                    <a:pt x="176" y="57"/>
                    <a:pt x="175" y="57"/>
                    <a:pt x="174" y="56"/>
                  </a:cubicBezTo>
                  <a:cubicBezTo>
                    <a:pt x="174" y="55"/>
                    <a:pt x="174" y="55"/>
                    <a:pt x="174" y="55"/>
                  </a:cubicBezTo>
                  <a:cubicBezTo>
                    <a:pt x="173" y="54"/>
                    <a:pt x="173" y="54"/>
                    <a:pt x="173" y="53"/>
                  </a:cubicBezTo>
                  <a:cubicBezTo>
                    <a:pt x="172" y="52"/>
                    <a:pt x="172" y="52"/>
                    <a:pt x="172" y="52"/>
                  </a:cubicBezTo>
                  <a:cubicBezTo>
                    <a:pt x="172" y="51"/>
                    <a:pt x="172" y="50"/>
                    <a:pt x="172" y="49"/>
                  </a:cubicBezTo>
                  <a:cubicBezTo>
                    <a:pt x="172" y="47"/>
                    <a:pt x="172" y="47"/>
                    <a:pt x="172" y="47"/>
                  </a:cubicBezTo>
                  <a:cubicBezTo>
                    <a:pt x="172" y="47"/>
                    <a:pt x="172" y="47"/>
                    <a:pt x="172" y="46"/>
                  </a:cubicBezTo>
                  <a:cubicBezTo>
                    <a:pt x="172" y="45"/>
                    <a:pt x="172" y="45"/>
                    <a:pt x="172" y="45"/>
                  </a:cubicBezTo>
                  <a:cubicBezTo>
                    <a:pt x="172" y="44"/>
                    <a:pt x="172" y="44"/>
                    <a:pt x="173" y="43"/>
                  </a:cubicBezTo>
                  <a:cubicBezTo>
                    <a:pt x="172" y="44"/>
                    <a:pt x="171" y="44"/>
                    <a:pt x="170" y="44"/>
                  </a:cubicBezTo>
                  <a:cubicBezTo>
                    <a:pt x="170" y="44"/>
                    <a:pt x="170" y="44"/>
                    <a:pt x="169" y="44"/>
                  </a:cubicBezTo>
                  <a:cubicBezTo>
                    <a:pt x="168" y="43"/>
                    <a:pt x="167" y="43"/>
                    <a:pt x="166" y="42"/>
                  </a:cubicBezTo>
                  <a:cubicBezTo>
                    <a:pt x="165" y="41"/>
                    <a:pt x="165" y="41"/>
                    <a:pt x="165" y="41"/>
                  </a:cubicBezTo>
                  <a:cubicBezTo>
                    <a:pt x="164" y="40"/>
                    <a:pt x="163" y="39"/>
                    <a:pt x="162" y="39"/>
                  </a:cubicBezTo>
                  <a:cubicBezTo>
                    <a:pt x="162" y="38"/>
                    <a:pt x="162" y="38"/>
                    <a:pt x="162" y="38"/>
                  </a:cubicBezTo>
                  <a:cubicBezTo>
                    <a:pt x="161" y="38"/>
                    <a:pt x="161" y="38"/>
                    <a:pt x="161" y="38"/>
                  </a:cubicBezTo>
                  <a:cubicBezTo>
                    <a:pt x="160" y="39"/>
                    <a:pt x="160" y="39"/>
                    <a:pt x="160" y="39"/>
                  </a:cubicBezTo>
                  <a:cubicBezTo>
                    <a:pt x="159" y="39"/>
                    <a:pt x="159" y="39"/>
                    <a:pt x="159" y="39"/>
                  </a:cubicBezTo>
                  <a:cubicBezTo>
                    <a:pt x="157" y="38"/>
                    <a:pt x="156" y="37"/>
                    <a:pt x="155" y="35"/>
                  </a:cubicBezTo>
                  <a:cubicBezTo>
                    <a:pt x="155" y="34"/>
                    <a:pt x="155" y="34"/>
                    <a:pt x="155" y="34"/>
                  </a:cubicBezTo>
                  <a:cubicBezTo>
                    <a:pt x="155" y="32"/>
                    <a:pt x="155" y="32"/>
                    <a:pt x="155" y="32"/>
                  </a:cubicBezTo>
                  <a:cubicBezTo>
                    <a:pt x="154" y="30"/>
                    <a:pt x="154" y="28"/>
                    <a:pt x="153" y="27"/>
                  </a:cubicBezTo>
                  <a:cubicBezTo>
                    <a:pt x="153" y="26"/>
                    <a:pt x="153" y="26"/>
                    <a:pt x="153" y="26"/>
                  </a:cubicBezTo>
                  <a:cubicBezTo>
                    <a:pt x="153" y="25"/>
                    <a:pt x="153" y="25"/>
                    <a:pt x="153" y="25"/>
                  </a:cubicBezTo>
                  <a:cubicBezTo>
                    <a:pt x="152" y="25"/>
                    <a:pt x="152" y="25"/>
                    <a:pt x="152" y="25"/>
                  </a:cubicBezTo>
                  <a:cubicBezTo>
                    <a:pt x="150" y="24"/>
                    <a:pt x="149" y="24"/>
                    <a:pt x="149" y="23"/>
                  </a:cubicBezTo>
                  <a:cubicBezTo>
                    <a:pt x="147" y="21"/>
                    <a:pt x="148" y="20"/>
                    <a:pt x="148" y="18"/>
                  </a:cubicBezTo>
                  <a:cubicBezTo>
                    <a:pt x="148" y="18"/>
                    <a:pt x="148" y="18"/>
                    <a:pt x="148" y="18"/>
                  </a:cubicBezTo>
                  <a:cubicBezTo>
                    <a:pt x="148" y="17"/>
                    <a:pt x="148" y="17"/>
                    <a:pt x="148" y="17"/>
                  </a:cubicBezTo>
                  <a:cubicBezTo>
                    <a:pt x="147" y="17"/>
                    <a:pt x="147" y="17"/>
                    <a:pt x="147" y="17"/>
                  </a:cubicBezTo>
                  <a:cubicBezTo>
                    <a:pt x="146" y="17"/>
                    <a:pt x="145" y="17"/>
                    <a:pt x="144" y="15"/>
                  </a:cubicBezTo>
                  <a:cubicBezTo>
                    <a:pt x="143" y="14"/>
                    <a:pt x="143" y="12"/>
                    <a:pt x="144" y="11"/>
                  </a:cubicBezTo>
                  <a:cubicBezTo>
                    <a:pt x="144" y="10"/>
                    <a:pt x="144" y="10"/>
                    <a:pt x="144" y="10"/>
                  </a:cubicBezTo>
                  <a:cubicBezTo>
                    <a:pt x="144" y="9"/>
                    <a:pt x="144" y="9"/>
                    <a:pt x="144" y="9"/>
                  </a:cubicBezTo>
                  <a:cubicBezTo>
                    <a:pt x="143" y="8"/>
                    <a:pt x="143" y="8"/>
                    <a:pt x="143" y="8"/>
                  </a:cubicBezTo>
                  <a:cubicBezTo>
                    <a:pt x="143" y="7"/>
                    <a:pt x="143" y="7"/>
                    <a:pt x="143" y="7"/>
                  </a:cubicBezTo>
                  <a:cubicBezTo>
                    <a:pt x="141" y="8"/>
                    <a:pt x="141" y="8"/>
                    <a:pt x="141" y="8"/>
                  </a:cubicBezTo>
                  <a:cubicBezTo>
                    <a:pt x="140" y="8"/>
                    <a:pt x="140" y="8"/>
                    <a:pt x="140" y="8"/>
                  </a:cubicBezTo>
                  <a:cubicBezTo>
                    <a:pt x="139" y="9"/>
                    <a:pt x="139" y="9"/>
                    <a:pt x="139" y="9"/>
                  </a:cubicBezTo>
                  <a:cubicBezTo>
                    <a:pt x="138" y="9"/>
                    <a:pt x="136" y="10"/>
                    <a:pt x="134" y="10"/>
                  </a:cubicBezTo>
                  <a:cubicBezTo>
                    <a:pt x="134" y="10"/>
                    <a:pt x="134" y="10"/>
                    <a:pt x="134" y="10"/>
                  </a:cubicBezTo>
                  <a:cubicBezTo>
                    <a:pt x="133" y="10"/>
                    <a:pt x="133" y="10"/>
                    <a:pt x="133" y="10"/>
                  </a:cubicBezTo>
                  <a:cubicBezTo>
                    <a:pt x="131" y="10"/>
                    <a:pt x="130" y="8"/>
                    <a:pt x="129" y="7"/>
                  </a:cubicBezTo>
                  <a:cubicBezTo>
                    <a:pt x="129" y="6"/>
                    <a:pt x="129" y="6"/>
                    <a:pt x="129" y="5"/>
                  </a:cubicBezTo>
                  <a:cubicBezTo>
                    <a:pt x="129" y="5"/>
                    <a:pt x="129" y="5"/>
                    <a:pt x="129" y="5"/>
                  </a:cubicBezTo>
                  <a:cubicBezTo>
                    <a:pt x="128" y="4"/>
                    <a:pt x="128" y="4"/>
                    <a:pt x="128" y="4"/>
                  </a:cubicBezTo>
                  <a:cubicBezTo>
                    <a:pt x="128" y="3"/>
                    <a:pt x="128" y="3"/>
                    <a:pt x="128" y="3"/>
                  </a:cubicBezTo>
                  <a:cubicBezTo>
                    <a:pt x="128" y="2"/>
                    <a:pt x="127" y="2"/>
                    <a:pt x="127" y="2"/>
                  </a:cubicBezTo>
                  <a:cubicBezTo>
                    <a:pt x="127" y="2"/>
                    <a:pt x="126" y="2"/>
                    <a:pt x="126" y="2"/>
                  </a:cubicBezTo>
                  <a:cubicBezTo>
                    <a:pt x="124" y="2"/>
                    <a:pt x="122" y="3"/>
                    <a:pt x="121" y="3"/>
                  </a:cubicBezTo>
                  <a:cubicBezTo>
                    <a:pt x="117" y="3"/>
                    <a:pt x="113" y="2"/>
                    <a:pt x="110" y="1"/>
                  </a:cubicBezTo>
                  <a:cubicBezTo>
                    <a:pt x="107" y="0"/>
                    <a:pt x="107" y="0"/>
                    <a:pt x="107" y="0"/>
                  </a:cubicBezTo>
                  <a:cubicBezTo>
                    <a:pt x="105" y="0"/>
                    <a:pt x="104" y="0"/>
                    <a:pt x="103" y="0"/>
                  </a:cubicBezTo>
                  <a:cubicBezTo>
                    <a:pt x="103" y="0"/>
                    <a:pt x="103" y="0"/>
                    <a:pt x="102" y="0"/>
                  </a:cubicBezTo>
                  <a:cubicBezTo>
                    <a:pt x="102" y="0"/>
                    <a:pt x="101" y="0"/>
                    <a:pt x="101" y="0"/>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444"/>
            <p:cNvSpPr/>
            <p:nvPr/>
          </p:nvSpPr>
          <p:spPr bwMode="auto">
            <a:xfrm>
              <a:off x="1289647" y="3435716"/>
              <a:ext cx="124911" cy="114166"/>
            </a:xfrm>
            <a:custGeom>
              <a:gdLst>
                <a:gd name="T0" fmla="*/ 18 w 39"/>
                <a:gd name="T1" fmla="*/ 0 h 36"/>
                <a:gd name="T2" fmla="*/ 17 w 39"/>
                <a:gd name="T3" fmla="*/ 0 h 36"/>
                <a:gd name="T4" fmla="*/ 13 w 39"/>
                <a:gd name="T5" fmla="*/ 1 h 36"/>
                <a:gd name="T6" fmla="*/ 8 w 39"/>
                <a:gd name="T7" fmla="*/ 8 h 36"/>
                <a:gd name="T8" fmla="*/ 8 w 39"/>
                <a:gd name="T9" fmla="*/ 9 h 36"/>
                <a:gd name="T10" fmla="*/ 6 w 39"/>
                <a:gd name="T11" fmla="*/ 11 h 36"/>
                <a:gd name="T12" fmla="*/ 0 w 39"/>
                <a:gd name="T13" fmla="*/ 22 h 36"/>
                <a:gd name="T14" fmla="*/ 18 w 39"/>
                <a:gd name="T15" fmla="*/ 26 h 36"/>
                <a:gd name="T16" fmla="*/ 23 w 39"/>
                <a:gd name="T17" fmla="*/ 32 h 36"/>
                <a:gd name="T18" fmla="*/ 23 w 39"/>
                <a:gd name="T19" fmla="*/ 33 h 36"/>
                <a:gd name="T20" fmla="*/ 23 w 39"/>
                <a:gd name="T21" fmla="*/ 34 h 36"/>
                <a:gd name="T22" fmla="*/ 23 w 39"/>
                <a:gd name="T23" fmla="*/ 34 h 36"/>
                <a:gd name="T24" fmla="*/ 25 w 39"/>
                <a:gd name="T25" fmla="*/ 35 h 36"/>
                <a:gd name="T26" fmla="*/ 30 w 39"/>
                <a:gd name="T27" fmla="*/ 36 h 36"/>
                <a:gd name="T28" fmla="*/ 36 w 39"/>
                <a:gd name="T29" fmla="*/ 36 h 36"/>
                <a:gd name="T30" fmla="*/ 39 w 39"/>
                <a:gd name="T31" fmla="*/ 36 h 36"/>
                <a:gd name="T32" fmla="*/ 34 w 39"/>
                <a:gd name="T33" fmla="*/ 23 h 36"/>
                <a:gd name="T34" fmla="*/ 32 w 39"/>
                <a:gd name="T35" fmla="*/ 18 h 36"/>
                <a:gd name="T36" fmla="*/ 25 w 39"/>
                <a:gd name="T37" fmla="*/ 16 h 36"/>
                <a:gd name="T38" fmla="*/ 30 w 39"/>
                <a:gd name="T39" fmla="*/ 10 h 36"/>
                <a:gd name="T40" fmla="*/ 31 w 39"/>
                <a:gd name="T41" fmla="*/ 10 h 36"/>
                <a:gd name="T42" fmla="*/ 35 w 39"/>
                <a:gd name="T43" fmla="*/ 11 h 36"/>
                <a:gd name="T44" fmla="*/ 32 w 39"/>
                <a:gd name="T45" fmla="*/ 7 h 36"/>
                <a:gd name="T46" fmla="*/ 30 w 39"/>
                <a:gd name="T47" fmla="*/ 3 h 36"/>
                <a:gd name="T48" fmla="*/ 25 w 39"/>
                <a:gd name="T49" fmla="*/ 1 h 36"/>
                <a:gd name="T50" fmla="*/ 18 w 39"/>
                <a:gd name="T51"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6">
                  <a:moveTo>
                    <a:pt x="18" y="0"/>
                  </a:moveTo>
                  <a:cubicBezTo>
                    <a:pt x="18" y="0"/>
                    <a:pt x="17" y="0"/>
                    <a:pt x="17" y="0"/>
                  </a:cubicBezTo>
                  <a:cubicBezTo>
                    <a:pt x="15" y="0"/>
                    <a:pt x="14" y="1"/>
                    <a:pt x="13" y="1"/>
                  </a:cubicBezTo>
                  <a:cubicBezTo>
                    <a:pt x="11" y="3"/>
                    <a:pt x="9" y="5"/>
                    <a:pt x="8" y="8"/>
                  </a:cubicBezTo>
                  <a:cubicBezTo>
                    <a:pt x="8" y="9"/>
                    <a:pt x="8" y="9"/>
                    <a:pt x="8" y="9"/>
                  </a:cubicBezTo>
                  <a:cubicBezTo>
                    <a:pt x="7" y="10"/>
                    <a:pt x="7" y="11"/>
                    <a:pt x="6" y="11"/>
                  </a:cubicBezTo>
                  <a:cubicBezTo>
                    <a:pt x="4" y="15"/>
                    <a:pt x="2" y="18"/>
                    <a:pt x="0" y="22"/>
                  </a:cubicBezTo>
                  <a:cubicBezTo>
                    <a:pt x="18" y="26"/>
                    <a:pt x="18" y="26"/>
                    <a:pt x="18" y="26"/>
                  </a:cubicBezTo>
                  <a:cubicBezTo>
                    <a:pt x="22" y="27"/>
                    <a:pt x="22" y="31"/>
                    <a:pt x="23" y="32"/>
                  </a:cubicBezTo>
                  <a:cubicBezTo>
                    <a:pt x="23" y="32"/>
                    <a:pt x="23" y="33"/>
                    <a:pt x="23" y="33"/>
                  </a:cubicBezTo>
                  <a:cubicBezTo>
                    <a:pt x="23" y="34"/>
                    <a:pt x="23" y="34"/>
                    <a:pt x="23" y="34"/>
                  </a:cubicBezTo>
                  <a:cubicBezTo>
                    <a:pt x="23" y="34"/>
                    <a:pt x="23" y="34"/>
                    <a:pt x="23" y="34"/>
                  </a:cubicBezTo>
                  <a:cubicBezTo>
                    <a:pt x="23" y="35"/>
                    <a:pt x="24" y="35"/>
                    <a:pt x="25" y="35"/>
                  </a:cubicBezTo>
                  <a:cubicBezTo>
                    <a:pt x="26" y="36"/>
                    <a:pt x="28" y="36"/>
                    <a:pt x="30" y="36"/>
                  </a:cubicBezTo>
                  <a:cubicBezTo>
                    <a:pt x="32" y="36"/>
                    <a:pt x="34" y="36"/>
                    <a:pt x="36" y="36"/>
                  </a:cubicBezTo>
                  <a:cubicBezTo>
                    <a:pt x="37" y="36"/>
                    <a:pt x="38" y="36"/>
                    <a:pt x="39" y="36"/>
                  </a:cubicBezTo>
                  <a:cubicBezTo>
                    <a:pt x="38" y="32"/>
                    <a:pt x="36" y="27"/>
                    <a:pt x="34" y="23"/>
                  </a:cubicBezTo>
                  <a:cubicBezTo>
                    <a:pt x="33" y="22"/>
                    <a:pt x="33" y="20"/>
                    <a:pt x="32" y="18"/>
                  </a:cubicBezTo>
                  <a:cubicBezTo>
                    <a:pt x="30" y="16"/>
                    <a:pt x="27" y="17"/>
                    <a:pt x="25" y="16"/>
                  </a:cubicBezTo>
                  <a:cubicBezTo>
                    <a:pt x="26" y="15"/>
                    <a:pt x="28" y="10"/>
                    <a:pt x="30" y="10"/>
                  </a:cubicBezTo>
                  <a:cubicBezTo>
                    <a:pt x="31" y="10"/>
                    <a:pt x="31" y="10"/>
                    <a:pt x="31" y="10"/>
                  </a:cubicBezTo>
                  <a:cubicBezTo>
                    <a:pt x="31" y="10"/>
                    <a:pt x="33" y="11"/>
                    <a:pt x="35" y="11"/>
                  </a:cubicBezTo>
                  <a:cubicBezTo>
                    <a:pt x="34" y="10"/>
                    <a:pt x="33" y="8"/>
                    <a:pt x="32" y="7"/>
                  </a:cubicBezTo>
                  <a:cubicBezTo>
                    <a:pt x="32" y="7"/>
                    <a:pt x="31" y="5"/>
                    <a:pt x="30" y="3"/>
                  </a:cubicBezTo>
                  <a:cubicBezTo>
                    <a:pt x="25" y="1"/>
                    <a:pt x="25" y="1"/>
                    <a:pt x="25" y="1"/>
                  </a:cubicBezTo>
                  <a:cubicBezTo>
                    <a:pt x="23"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445"/>
            <p:cNvSpPr/>
            <p:nvPr/>
          </p:nvSpPr>
          <p:spPr bwMode="auto">
            <a:xfrm>
              <a:off x="1391724" y="3445118"/>
              <a:ext cx="22833" cy="25519"/>
            </a:xfrm>
            <a:custGeom>
              <a:gdLst>
                <a:gd name="T0" fmla="*/ 1 w 7"/>
                <a:gd name="T1" fmla="*/ 0 h 8"/>
                <a:gd name="T2" fmla="*/ 0 w 7"/>
                <a:gd name="T3" fmla="*/ 2 h 8"/>
                <a:gd name="T4" fmla="*/ 4 w 7"/>
                <a:gd name="T5" fmla="*/ 8 h 8"/>
                <a:gd name="T6" fmla="*/ 7 w 7"/>
                <a:gd name="T7" fmla="*/ 3 h 8"/>
                <a:gd name="T8" fmla="*/ 3 w 7"/>
                <a:gd name="T9" fmla="*/ 1 h 8"/>
                <a:gd name="T10" fmla="*/ 3 w 7"/>
                <a:gd name="T11" fmla="*/ 1 h 8"/>
                <a:gd name="T12" fmla="*/ 1 w 7"/>
                <a:gd name="T13" fmla="*/ 2 h 8"/>
                <a:gd name="T14" fmla="*/ 2 w 7"/>
                <a:gd name="T15" fmla="*/ 1 h 8"/>
                <a:gd name="T16" fmla="*/ 1 w 7"/>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1" y="0"/>
                  </a:moveTo>
                  <a:cubicBezTo>
                    <a:pt x="0" y="1"/>
                    <a:pt x="0" y="2"/>
                    <a:pt x="0" y="2"/>
                  </a:cubicBezTo>
                  <a:cubicBezTo>
                    <a:pt x="0" y="4"/>
                    <a:pt x="2" y="6"/>
                    <a:pt x="4" y="8"/>
                  </a:cubicBezTo>
                  <a:cubicBezTo>
                    <a:pt x="7" y="6"/>
                    <a:pt x="7" y="5"/>
                    <a:pt x="7" y="3"/>
                  </a:cubicBezTo>
                  <a:cubicBezTo>
                    <a:pt x="3" y="1"/>
                    <a:pt x="3" y="1"/>
                    <a:pt x="3" y="1"/>
                  </a:cubicBezTo>
                  <a:cubicBezTo>
                    <a:pt x="3" y="1"/>
                    <a:pt x="3" y="1"/>
                    <a:pt x="3" y="1"/>
                  </a:cubicBezTo>
                  <a:cubicBezTo>
                    <a:pt x="1" y="2"/>
                    <a:pt x="1" y="2"/>
                    <a:pt x="1" y="2"/>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446"/>
            <p:cNvSpPr/>
            <p:nvPr/>
          </p:nvSpPr>
          <p:spPr bwMode="auto">
            <a:xfrm>
              <a:off x="427360" y="2809819"/>
              <a:ext cx="510388" cy="416369"/>
            </a:xfrm>
            <a:custGeom>
              <a:gdLst>
                <a:gd name="T0" fmla="*/ 154 w 161"/>
                <a:gd name="T1" fmla="*/ 1 h 131"/>
                <a:gd name="T2" fmla="*/ 127 w 161"/>
                <a:gd name="T3" fmla="*/ 3 h 131"/>
                <a:gd name="T4" fmla="*/ 118 w 161"/>
                <a:gd name="T5" fmla="*/ 6 h 131"/>
                <a:gd name="T6" fmla="*/ 112 w 161"/>
                <a:gd name="T7" fmla="*/ 9 h 131"/>
                <a:gd name="T8" fmla="*/ 93 w 161"/>
                <a:gd name="T9" fmla="*/ 15 h 131"/>
                <a:gd name="T10" fmla="*/ 91 w 161"/>
                <a:gd name="T11" fmla="*/ 15 h 131"/>
                <a:gd name="T12" fmla="*/ 74 w 161"/>
                <a:gd name="T13" fmla="*/ 14 h 131"/>
                <a:gd name="T14" fmla="*/ 71 w 161"/>
                <a:gd name="T15" fmla="*/ 13 h 131"/>
                <a:gd name="T16" fmla="*/ 69 w 161"/>
                <a:gd name="T17" fmla="*/ 11 h 131"/>
                <a:gd name="T18" fmla="*/ 62 w 161"/>
                <a:gd name="T19" fmla="*/ 10 h 131"/>
                <a:gd name="T20" fmla="*/ 58 w 161"/>
                <a:gd name="T21" fmla="*/ 11 h 131"/>
                <a:gd name="T22" fmla="*/ 39 w 161"/>
                <a:gd name="T23" fmla="*/ 16 h 131"/>
                <a:gd name="T24" fmla="*/ 30 w 161"/>
                <a:gd name="T25" fmla="*/ 16 h 131"/>
                <a:gd name="T26" fmla="*/ 24 w 161"/>
                <a:gd name="T27" fmla="*/ 18 h 131"/>
                <a:gd name="T28" fmla="*/ 31 w 161"/>
                <a:gd name="T29" fmla="*/ 22 h 131"/>
                <a:gd name="T30" fmla="*/ 23 w 161"/>
                <a:gd name="T31" fmla="*/ 26 h 131"/>
                <a:gd name="T32" fmla="*/ 20 w 161"/>
                <a:gd name="T33" fmla="*/ 28 h 131"/>
                <a:gd name="T34" fmla="*/ 19 w 161"/>
                <a:gd name="T35" fmla="*/ 29 h 131"/>
                <a:gd name="T36" fmla="*/ 16 w 161"/>
                <a:gd name="T37" fmla="*/ 35 h 131"/>
                <a:gd name="T38" fmla="*/ 14 w 161"/>
                <a:gd name="T39" fmla="*/ 36 h 131"/>
                <a:gd name="T40" fmla="*/ 14 w 161"/>
                <a:gd name="T41" fmla="*/ 38 h 131"/>
                <a:gd name="T42" fmla="*/ 9 w 161"/>
                <a:gd name="T43" fmla="*/ 39 h 131"/>
                <a:gd name="T44" fmla="*/ 2 w 161"/>
                <a:gd name="T45" fmla="*/ 40 h 131"/>
                <a:gd name="T46" fmla="*/ 5 w 161"/>
                <a:gd name="T47" fmla="*/ 50 h 131"/>
                <a:gd name="T48" fmla="*/ 6 w 161"/>
                <a:gd name="T49" fmla="*/ 66 h 131"/>
                <a:gd name="T50" fmla="*/ 10 w 161"/>
                <a:gd name="T51" fmla="*/ 67 h 131"/>
                <a:gd name="T52" fmla="*/ 14 w 161"/>
                <a:gd name="T53" fmla="*/ 67 h 131"/>
                <a:gd name="T54" fmla="*/ 18 w 161"/>
                <a:gd name="T55" fmla="*/ 67 h 131"/>
                <a:gd name="T56" fmla="*/ 20 w 161"/>
                <a:gd name="T57" fmla="*/ 72 h 131"/>
                <a:gd name="T58" fmla="*/ 23 w 161"/>
                <a:gd name="T59" fmla="*/ 77 h 131"/>
                <a:gd name="T60" fmla="*/ 22 w 161"/>
                <a:gd name="T61" fmla="*/ 86 h 131"/>
                <a:gd name="T62" fmla="*/ 38 w 161"/>
                <a:gd name="T63" fmla="*/ 108 h 131"/>
                <a:gd name="T64" fmla="*/ 13 w 161"/>
                <a:gd name="T65" fmla="*/ 94 h 131"/>
                <a:gd name="T66" fmla="*/ 10 w 161"/>
                <a:gd name="T67" fmla="*/ 96 h 131"/>
                <a:gd name="T68" fmla="*/ 11 w 161"/>
                <a:gd name="T69" fmla="*/ 100 h 131"/>
                <a:gd name="T70" fmla="*/ 10 w 161"/>
                <a:gd name="T71" fmla="*/ 102 h 131"/>
                <a:gd name="T72" fmla="*/ 5 w 161"/>
                <a:gd name="T73" fmla="*/ 106 h 131"/>
                <a:gd name="T74" fmla="*/ 2 w 161"/>
                <a:gd name="T75" fmla="*/ 108 h 131"/>
                <a:gd name="T76" fmla="*/ 1 w 161"/>
                <a:gd name="T77" fmla="*/ 113 h 131"/>
                <a:gd name="T78" fmla="*/ 1 w 161"/>
                <a:gd name="T79" fmla="*/ 120 h 131"/>
                <a:gd name="T80" fmla="*/ 3 w 161"/>
                <a:gd name="T81" fmla="*/ 121 h 131"/>
                <a:gd name="T82" fmla="*/ 7 w 161"/>
                <a:gd name="T83" fmla="*/ 122 h 131"/>
                <a:gd name="T84" fmla="*/ 11 w 161"/>
                <a:gd name="T85" fmla="*/ 126 h 131"/>
                <a:gd name="T86" fmla="*/ 30 w 161"/>
                <a:gd name="T87" fmla="*/ 129 h 131"/>
                <a:gd name="T88" fmla="*/ 74 w 161"/>
                <a:gd name="T89" fmla="*/ 102 h 131"/>
                <a:gd name="T90" fmla="*/ 77 w 161"/>
                <a:gd name="T91" fmla="*/ 101 h 131"/>
                <a:gd name="T92" fmla="*/ 96 w 161"/>
                <a:gd name="T93" fmla="*/ 90 h 131"/>
                <a:gd name="T94" fmla="*/ 111 w 161"/>
                <a:gd name="T95" fmla="*/ 82 h 131"/>
                <a:gd name="T96" fmla="*/ 122 w 161"/>
                <a:gd name="T97" fmla="*/ 76 h 131"/>
                <a:gd name="T98" fmla="*/ 125 w 161"/>
                <a:gd name="T99" fmla="*/ 75 h 131"/>
                <a:gd name="T100" fmla="*/ 132 w 161"/>
                <a:gd name="T101" fmla="*/ 66 h 131"/>
                <a:gd name="T102" fmla="*/ 133 w 161"/>
                <a:gd name="T103" fmla="*/ 61 h 131"/>
                <a:gd name="T104" fmla="*/ 134 w 161"/>
                <a:gd name="T105" fmla="*/ 49 h 131"/>
                <a:gd name="T106" fmla="*/ 135 w 161"/>
                <a:gd name="T107" fmla="*/ 44 h 131"/>
                <a:gd name="T108" fmla="*/ 134 w 161"/>
                <a:gd name="T109" fmla="*/ 37 h 131"/>
                <a:gd name="T110" fmla="*/ 137 w 161"/>
                <a:gd name="T111" fmla="*/ 17 h 131"/>
                <a:gd name="T112" fmla="*/ 145 w 161"/>
                <a:gd name="T113" fmla="*/ 13 h 131"/>
                <a:gd name="T114" fmla="*/ 146 w 161"/>
                <a:gd name="T115" fmla="*/ 13 h 131"/>
                <a:gd name="T116" fmla="*/ 149 w 161"/>
                <a:gd name="T117" fmla="*/ 11 h 131"/>
                <a:gd name="T118" fmla="*/ 161 w 161"/>
                <a:gd name="T119" fmla="*/ 1 h 131"/>
                <a:gd name="T120" fmla="*/ 161 w 161"/>
                <a:gd name="T121" fmla="*/ 0 h 1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31">
                  <a:moveTo>
                    <a:pt x="161" y="0"/>
                  </a:moveTo>
                  <a:cubicBezTo>
                    <a:pt x="159" y="0"/>
                    <a:pt x="156" y="1"/>
                    <a:pt x="154" y="1"/>
                  </a:cubicBezTo>
                  <a:cubicBezTo>
                    <a:pt x="147" y="3"/>
                    <a:pt x="140" y="4"/>
                    <a:pt x="132" y="4"/>
                  </a:cubicBezTo>
                  <a:cubicBezTo>
                    <a:pt x="130" y="4"/>
                    <a:pt x="129" y="3"/>
                    <a:pt x="127" y="3"/>
                  </a:cubicBezTo>
                  <a:cubicBezTo>
                    <a:pt x="127" y="3"/>
                    <a:pt x="127" y="3"/>
                    <a:pt x="127" y="3"/>
                  </a:cubicBezTo>
                  <a:cubicBezTo>
                    <a:pt x="124" y="3"/>
                    <a:pt x="121" y="5"/>
                    <a:pt x="118" y="6"/>
                  </a:cubicBezTo>
                  <a:cubicBezTo>
                    <a:pt x="117" y="7"/>
                    <a:pt x="115" y="8"/>
                    <a:pt x="114" y="8"/>
                  </a:cubicBezTo>
                  <a:cubicBezTo>
                    <a:pt x="113" y="8"/>
                    <a:pt x="113" y="9"/>
                    <a:pt x="112" y="9"/>
                  </a:cubicBezTo>
                  <a:cubicBezTo>
                    <a:pt x="107" y="11"/>
                    <a:pt x="107" y="11"/>
                    <a:pt x="107" y="11"/>
                  </a:cubicBezTo>
                  <a:cubicBezTo>
                    <a:pt x="103" y="12"/>
                    <a:pt x="98" y="14"/>
                    <a:pt x="93" y="15"/>
                  </a:cubicBezTo>
                  <a:cubicBezTo>
                    <a:pt x="92" y="15"/>
                    <a:pt x="92" y="15"/>
                    <a:pt x="91" y="15"/>
                  </a:cubicBezTo>
                  <a:cubicBezTo>
                    <a:pt x="91" y="15"/>
                    <a:pt x="91" y="15"/>
                    <a:pt x="91" y="15"/>
                  </a:cubicBezTo>
                  <a:cubicBezTo>
                    <a:pt x="90" y="15"/>
                    <a:pt x="89" y="15"/>
                    <a:pt x="88" y="15"/>
                  </a:cubicBezTo>
                  <a:cubicBezTo>
                    <a:pt x="83" y="15"/>
                    <a:pt x="79" y="14"/>
                    <a:pt x="74" y="14"/>
                  </a:cubicBezTo>
                  <a:cubicBezTo>
                    <a:pt x="73" y="13"/>
                    <a:pt x="73" y="13"/>
                    <a:pt x="73" y="13"/>
                  </a:cubicBezTo>
                  <a:cubicBezTo>
                    <a:pt x="72" y="13"/>
                    <a:pt x="71" y="13"/>
                    <a:pt x="71" y="13"/>
                  </a:cubicBezTo>
                  <a:cubicBezTo>
                    <a:pt x="70" y="12"/>
                    <a:pt x="70" y="12"/>
                    <a:pt x="70" y="12"/>
                  </a:cubicBezTo>
                  <a:cubicBezTo>
                    <a:pt x="69" y="12"/>
                    <a:pt x="69" y="11"/>
                    <a:pt x="69" y="11"/>
                  </a:cubicBezTo>
                  <a:cubicBezTo>
                    <a:pt x="64" y="10"/>
                    <a:pt x="64" y="10"/>
                    <a:pt x="64" y="10"/>
                  </a:cubicBezTo>
                  <a:cubicBezTo>
                    <a:pt x="63" y="10"/>
                    <a:pt x="62" y="10"/>
                    <a:pt x="62" y="10"/>
                  </a:cubicBezTo>
                  <a:cubicBezTo>
                    <a:pt x="61" y="10"/>
                    <a:pt x="61" y="10"/>
                    <a:pt x="60" y="10"/>
                  </a:cubicBezTo>
                  <a:cubicBezTo>
                    <a:pt x="58" y="11"/>
                    <a:pt x="58" y="11"/>
                    <a:pt x="58" y="11"/>
                  </a:cubicBezTo>
                  <a:cubicBezTo>
                    <a:pt x="51" y="14"/>
                    <a:pt x="45" y="16"/>
                    <a:pt x="40" y="16"/>
                  </a:cubicBezTo>
                  <a:cubicBezTo>
                    <a:pt x="39" y="16"/>
                    <a:pt x="39" y="16"/>
                    <a:pt x="39" y="16"/>
                  </a:cubicBezTo>
                  <a:cubicBezTo>
                    <a:pt x="38" y="17"/>
                    <a:pt x="36" y="17"/>
                    <a:pt x="35" y="17"/>
                  </a:cubicBezTo>
                  <a:cubicBezTo>
                    <a:pt x="33" y="17"/>
                    <a:pt x="32" y="17"/>
                    <a:pt x="30" y="16"/>
                  </a:cubicBezTo>
                  <a:cubicBezTo>
                    <a:pt x="25" y="13"/>
                    <a:pt x="25" y="13"/>
                    <a:pt x="25" y="13"/>
                  </a:cubicBezTo>
                  <a:cubicBezTo>
                    <a:pt x="24" y="15"/>
                    <a:pt x="24" y="17"/>
                    <a:pt x="24" y="18"/>
                  </a:cubicBezTo>
                  <a:cubicBezTo>
                    <a:pt x="24" y="20"/>
                    <a:pt x="24" y="20"/>
                    <a:pt x="24" y="20"/>
                  </a:cubicBezTo>
                  <a:cubicBezTo>
                    <a:pt x="31" y="22"/>
                    <a:pt x="31" y="22"/>
                    <a:pt x="31" y="22"/>
                  </a:cubicBezTo>
                  <a:cubicBezTo>
                    <a:pt x="25" y="26"/>
                    <a:pt x="25" y="26"/>
                    <a:pt x="25" y="26"/>
                  </a:cubicBezTo>
                  <a:cubicBezTo>
                    <a:pt x="24" y="26"/>
                    <a:pt x="23" y="26"/>
                    <a:pt x="23" y="26"/>
                  </a:cubicBezTo>
                  <a:cubicBezTo>
                    <a:pt x="22" y="27"/>
                    <a:pt x="22" y="27"/>
                    <a:pt x="22" y="27"/>
                  </a:cubicBezTo>
                  <a:cubicBezTo>
                    <a:pt x="21" y="27"/>
                    <a:pt x="21" y="27"/>
                    <a:pt x="20" y="28"/>
                  </a:cubicBezTo>
                  <a:cubicBezTo>
                    <a:pt x="20" y="28"/>
                    <a:pt x="20" y="28"/>
                    <a:pt x="20" y="28"/>
                  </a:cubicBezTo>
                  <a:cubicBezTo>
                    <a:pt x="20" y="28"/>
                    <a:pt x="20" y="29"/>
                    <a:pt x="19" y="29"/>
                  </a:cubicBezTo>
                  <a:cubicBezTo>
                    <a:pt x="19" y="30"/>
                    <a:pt x="19" y="30"/>
                    <a:pt x="19" y="30"/>
                  </a:cubicBezTo>
                  <a:cubicBezTo>
                    <a:pt x="19" y="32"/>
                    <a:pt x="17" y="34"/>
                    <a:pt x="16" y="35"/>
                  </a:cubicBezTo>
                  <a:cubicBezTo>
                    <a:pt x="15" y="35"/>
                    <a:pt x="15" y="35"/>
                    <a:pt x="15" y="35"/>
                  </a:cubicBezTo>
                  <a:cubicBezTo>
                    <a:pt x="14" y="36"/>
                    <a:pt x="14" y="36"/>
                    <a:pt x="14" y="36"/>
                  </a:cubicBezTo>
                  <a:cubicBezTo>
                    <a:pt x="14" y="37"/>
                    <a:pt x="14" y="37"/>
                    <a:pt x="14" y="37"/>
                  </a:cubicBezTo>
                  <a:cubicBezTo>
                    <a:pt x="14" y="37"/>
                    <a:pt x="14" y="38"/>
                    <a:pt x="14" y="38"/>
                  </a:cubicBezTo>
                  <a:cubicBezTo>
                    <a:pt x="12" y="41"/>
                    <a:pt x="12" y="41"/>
                    <a:pt x="12" y="41"/>
                  </a:cubicBezTo>
                  <a:cubicBezTo>
                    <a:pt x="9" y="39"/>
                    <a:pt x="9" y="39"/>
                    <a:pt x="9" y="39"/>
                  </a:cubicBezTo>
                  <a:cubicBezTo>
                    <a:pt x="8" y="39"/>
                    <a:pt x="5" y="37"/>
                    <a:pt x="2" y="37"/>
                  </a:cubicBezTo>
                  <a:cubicBezTo>
                    <a:pt x="2" y="37"/>
                    <a:pt x="2" y="38"/>
                    <a:pt x="2" y="40"/>
                  </a:cubicBezTo>
                  <a:cubicBezTo>
                    <a:pt x="2" y="41"/>
                    <a:pt x="1" y="43"/>
                    <a:pt x="0" y="43"/>
                  </a:cubicBezTo>
                  <a:cubicBezTo>
                    <a:pt x="2" y="46"/>
                    <a:pt x="5" y="47"/>
                    <a:pt x="5" y="50"/>
                  </a:cubicBezTo>
                  <a:cubicBezTo>
                    <a:pt x="5" y="53"/>
                    <a:pt x="4" y="57"/>
                    <a:pt x="5" y="60"/>
                  </a:cubicBezTo>
                  <a:cubicBezTo>
                    <a:pt x="5" y="62"/>
                    <a:pt x="5" y="65"/>
                    <a:pt x="6" y="66"/>
                  </a:cubicBezTo>
                  <a:cubicBezTo>
                    <a:pt x="6" y="67"/>
                    <a:pt x="6" y="67"/>
                    <a:pt x="6" y="67"/>
                  </a:cubicBezTo>
                  <a:cubicBezTo>
                    <a:pt x="7" y="67"/>
                    <a:pt x="9" y="67"/>
                    <a:pt x="10" y="67"/>
                  </a:cubicBezTo>
                  <a:cubicBezTo>
                    <a:pt x="11" y="67"/>
                    <a:pt x="11" y="67"/>
                    <a:pt x="12" y="67"/>
                  </a:cubicBezTo>
                  <a:cubicBezTo>
                    <a:pt x="13" y="67"/>
                    <a:pt x="13" y="67"/>
                    <a:pt x="14" y="67"/>
                  </a:cubicBezTo>
                  <a:cubicBezTo>
                    <a:pt x="15" y="67"/>
                    <a:pt x="15" y="67"/>
                    <a:pt x="15" y="67"/>
                  </a:cubicBezTo>
                  <a:cubicBezTo>
                    <a:pt x="16" y="67"/>
                    <a:pt x="17" y="67"/>
                    <a:pt x="18" y="67"/>
                  </a:cubicBezTo>
                  <a:cubicBezTo>
                    <a:pt x="24" y="67"/>
                    <a:pt x="24" y="67"/>
                    <a:pt x="24" y="67"/>
                  </a:cubicBezTo>
                  <a:cubicBezTo>
                    <a:pt x="20" y="72"/>
                    <a:pt x="20" y="72"/>
                    <a:pt x="20" y="72"/>
                  </a:cubicBezTo>
                  <a:cubicBezTo>
                    <a:pt x="21" y="73"/>
                    <a:pt x="22" y="74"/>
                    <a:pt x="23" y="76"/>
                  </a:cubicBezTo>
                  <a:cubicBezTo>
                    <a:pt x="23" y="77"/>
                    <a:pt x="23" y="77"/>
                    <a:pt x="23" y="77"/>
                  </a:cubicBezTo>
                  <a:cubicBezTo>
                    <a:pt x="24" y="78"/>
                    <a:pt x="27" y="82"/>
                    <a:pt x="24" y="85"/>
                  </a:cubicBezTo>
                  <a:cubicBezTo>
                    <a:pt x="23" y="85"/>
                    <a:pt x="23" y="85"/>
                    <a:pt x="22" y="86"/>
                  </a:cubicBezTo>
                  <a:cubicBezTo>
                    <a:pt x="20" y="88"/>
                    <a:pt x="18" y="89"/>
                    <a:pt x="18" y="90"/>
                  </a:cubicBezTo>
                  <a:cubicBezTo>
                    <a:pt x="38" y="108"/>
                    <a:pt x="38" y="108"/>
                    <a:pt x="38" y="108"/>
                  </a:cubicBezTo>
                  <a:cubicBezTo>
                    <a:pt x="14" y="95"/>
                    <a:pt x="14" y="95"/>
                    <a:pt x="14" y="95"/>
                  </a:cubicBezTo>
                  <a:cubicBezTo>
                    <a:pt x="13" y="95"/>
                    <a:pt x="13" y="94"/>
                    <a:pt x="13" y="94"/>
                  </a:cubicBezTo>
                  <a:cubicBezTo>
                    <a:pt x="12" y="94"/>
                    <a:pt x="12" y="95"/>
                    <a:pt x="11" y="95"/>
                  </a:cubicBezTo>
                  <a:cubicBezTo>
                    <a:pt x="10" y="95"/>
                    <a:pt x="10" y="96"/>
                    <a:pt x="10" y="96"/>
                  </a:cubicBezTo>
                  <a:cubicBezTo>
                    <a:pt x="10" y="96"/>
                    <a:pt x="10" y="96"/>
                    <a:pt x="10" y="96"/>
                  </a:cubicBezTo>
                  <a:cubicBezTo>
                    <a:pt x="10" y="97"/>
                    <a:pt x="11" y="98"/>
                    <a:pt x="11" y="100"/>
                  </a:cubicBezTo>
                  <a:cubicBezTo>
                    <a:pt x="11" y="101"/>
                    <a:pt x="11" y="101"/>
                    <a:pt x="11" y="101"/>
                  </a:cubicBezTo>
                  <a:cubicBezTo>
                    <a:pt x="10" y="102"/>
                    <a:pt x="10" y="102"/>
                    <a:pt x="10" y="102"/>
                  </a:cubicBezTo>
                  <a:cubicBezTo>
                    <a:pt x="9" y="102"/>
                    <a:pt x="9" y="102"/>
                    <a:pt x="9" y="102"/>
                  </a:cubicBezTo>
                  <a:cubicBezTo>
                    <a:pt x="8" y="104"/>
                    <a:pt x="7" y="105"/>
                    <a:pt x="5" y="106"/>
                  </a:cubicBezTo>
                  <a:cubicBezTo>
                    <a:pt x="4" y="107"/>
                    <a:pt x="3" y="107"/>
                    <a:pt x="3" y="108"/>
                  </a:cubicBezTo>
                  <a:cubicBezTo>
                    <a:pt x="2" y="108"/>
                    <a:pt x="2" y="108"/>
                    <a:pt x="2" y="108"/>
                  </a:cubicBezTo>
                  <a:cubicBezTo>
                    <a:pt x="2" y="108"/>
                    <a:pt x="2" y="108"/>
                    <a:pt x="2" y="108"/>
                  </a:cubicBezTo>
                  <a:cubicBezTo>
                    <a:pt x="2" y="110"/>
                    <a:pt x="2" y="112"/>
                    <a:pt x="1" y="113"/>
                  </a:cubicBezTo>
                  <a:cubicBezTo>
                    <a:pt x="1" y="114"/>
                    <a:pt x="1" y="115"/>
                    <a:pt x="1" y="116"/>
                  </a:cubicBezTo>
                  <a:cubicBezTo>
                    <a:pt x="1" y="117"/>
                    <a:pt x="1" y="118"/>
                    <a:pt x="1" y="120"/>
                  </a:cubicBezTo>
                  <a:cubicBezTo>
                    <a:pt x="2" y="120"/>
                    <a:pt x="2" y="120"/>
                    <a:pt x="2" y="120"/>
                  </a:cubicBezTo>
                  <a:cubicBezTo>
                    <a:pt x="2" y="120"/>
                    <a:pt x="3" y="121"/>
                    <a:pt x="3" y="121"/>
                  </a:cubicBezTo>
                  <a:cubicBezTo>
                    <a:pt x="4" y="121"/>
                    <a:pt x="4" y="121"/>
                    <a:pt x="4" y="121"/>
                  </a:cubicBezTo>
                  <a:cubicBezTo>
                    <a:pt x="5" y="122"/>
                    <a:pt x="6" y="122"/>
                    <a:pt x="7" y="122"/>
                  </a:cubicBezTo>
                  <a:cubicBezTo>
                    <a:pt x="8" y="123"/>
                    <a:pt x="8" y="123"/>
                    <a:pt x="8" y="123"/>
                  </a:cubicBezTo>
                  <a:cubicBezTo>
                    <a:pt x="9" y="124"/>
                    <a:pt x="10" y="125"/>
                    <a:pt x="11" y="126"/>
                  </a:cubicBezTo>
                  <a:cubicBezTo>
                    <a:pt x="20" y="129"/>
                    <a:pt x="24" y="131"/>
                    <a:pt x="26" y="131"/>
                  </a:cubicBezTo>
                  <a:cubicBezTo>
                    <a:pt x="28" y="131"/>
                    <a:pt x="28" y="130"/>
                    <a:pt x="30" y="129"/>
                  </a:cubicBezTo>
                  <a:cubicBezTo>
                    <a:pt x="31" y="128"/>
                    <a:pt x="31" y="128"/>
                    <a:pt x="32" y="127"/>
                  </a:cubicBezTo>
                  <a:cubicBezTo>
                    <a:pt x="41" y="121"/>
                    <a:pt x="65" y="108"/>
                    <a:pt x="74" y="102"/>
                  </a:cubicBezTo>
                  <a:cubicBezTo>
                    <a:pt x="76" y="101"/>
                    <a:pt x="76" y="101"/>
                    <a:pt x="76" y="101"/>
                  </a:cubicBezTo>
                  <a:cubicBezTo>
                    <a:pt x="77" y="101"/>
                    <a:pt x="77" y="101"/>
                    <a:pt x="77" y="101"/>
                  </a:cubicBezTo>
                  <a:cubicBezTo>
                    <a:pt x="80" y="99"/>
                    <a:pt x="80" y="99"/>
                    <a:pt x="80" y="99"/>
                  </a:cubicBezTo>
                  <a:cubicBezTo>
                    <a:pt x="85" y="96"/>
                    <a:pt x="91" y="93"/>
                    <a:pt x="96" y="90"/>
                  </a:cubicBezTo>
                  <a:cubicBezTo>
                    <a:pt x="111" y="82"/>
                    <a:pt x="111" y="82"/>
                    <a:pt x="111" y="82"/>
                  </a:cubicBezTo>
                  <a:cubicBezTo>
                    <a:pt x="111" y="82"/>
                    <a:pt x="111" y="82"/>
                    <a:pt x="111" y="82"/>
                  </a:cubicBezTo>
                  <a:cubicBezTo>
                    <a:pt x="117" y="78"/>
                    <a:pt x="117" y="78"/>
                    <a:pt x="117" y="78"/>
                  </a:cubicBezTo>
                  <a:cubicBezTo>
                    <a:pt x="119" y="77"/>
                    <a:pt x="121" y="76"/>
                    <a:pt x="122" y="76"/>
                  </a:cubicBezTo>
                  <a:cubicBezTo>
                    <a:pt x="123" y="75"/>
                    <a:pt x="124" y="75"/>
                    <a:pt x="124" y="75"/>
                  </a:cubicBezTo>
                  <a:cubicBezTo>
                    <a:pt x="125" y="75"/>
                    <a:pt x="125" y="75"/>
                    <a:pt x="125" y="75"/>
                  </a:cubicBezTo>
                  <a:cubicBezTo>
                    <a:pt x="126" y="74"/>
                    <a:pt x="128" y="74"/>
                    <a:pt x="128" y="73"/>
                  </a:cubicBezTo>
                  <a:cubicBezTo>
                    <a:pt x="130" y="71"/>
                    <a:pt x="131" y="69"/>
                    <a:pt x="132" y="66"/>
                  </a:cubicBezTo>
                  <a:cubicBezTo>
                    <a:pt x="132" y="65"/>
                    <a:pt x="133" y="64"/>
                    <a:pt x="133" y="62"/>
                  </a:cubicBezTo>
                  <a:cubicBezTo>
                    <a:pt x="133" y="61"/>
                    <a:pt x="133" y="61"/>
                    <a:pt x="133" y="61"/>
                  </a:cubicBezTo>
                  <a:cubicBezTo>
                    <a:pt x="132" y="60"/>
                    <a:pt x="132" y="59"/>
                    <a:pt x="132" y="58"/>
                  </a:cubicBezTo>
                  <a:cubicBezTo>
                    <a:pt x="132" y="55"/>
                    <a:pt x="133" y="52"/>
                    <a:pt x="134" y="49"/>
                  </a:cubicBezTo>
                  <a:cubicBezTo>
                    <a:pt x="134" y="48"/>
                    <a:pt x="134" y="48"/>
                    <a:pt x="134" y="48"/>
                  </a:cubicBezTo>
                  <a:cubicBezTo>
                    <a:pt x="134" y="47"/>
                    <a:pt x="135" y="45"/>
                    <a:pt x="135" y="44"/>
                  </a:cubicBezTo>
                  <a:cubicBezTo>
                    <a:pt x="135" y="42"/>
                    <a:pt x="135" y="40"/>
                    <a:pt x="135" y="38"/>
                  </a:cubicBezTo>
                  <a:cubicBezTo>
                    <a:pt x="134" y="37"/>
                    <a:pt x="134" y="37"/>
                    <a:pt x="134" y="37"/>
                  </a:cubicBezTo>
                  <a:cubicBezTo>
                    <a:pt x="134" y="31"/>
                    <a:pt x="133" y="25"/>
                    <a:pt x="136" y="20"/>
                  </a:cubicBezTo>
                  <a:cubicBezTo>
                    <a:pt x="136" y="18"/>
                    <a:pt x="137" y="18"/>
                    <a:pt x="137" y="17"/>
                  </a:cubicBezTo>
                  <a:cubicBezTo>
                    <a:pt x="138" y="15"/>
                    <a:pt x="140" y="14"/>
                    <a:pt x="144" y="13"/>
                  </a:cubicBezTo>
                  <a:cubicBezTo>
                    <a:pt x="145" y="13"/>
                    <a:pt x="145" y="13"/>
                    <a:pt x="145" y="13"/>
                  </a:cubicBezTo>
                  <a:cubicBezTo>
                    <a:pt x="145" y="10"/>
                    <a:pt x="145" y="10"/>
                    <a:pt x="145" y="10"/>
                  </a:cubicBezTo>
                  <a:cubicBezTo>
                    <a:pt x="146" y="13"/>
                    <a:pt x="146" y="13"/>
                    <a:pt x="146" y="13"/>
                  </a:cubicBezTo>
                  <a:cubicBezTo>
                    <a:pt x="147" y="12"/>
                    <a:pt x="147" y="12"/>
                    <a:pt x="147" y="12"/>
                  </a:cubicBezTo>
                  <a:cubicBezTo>
                    <a:pt x="148" y="12"/>
                    <a:pt x="149" y="12"/>
                    <a:pt x="149" y="11"/>
                  </a:cubicBezTo>
                  <a:cubicBezTo>
                    <a:pt x="152" y="8"/>
                    <a:pt x="155" y="6"/>
                    <a:pt x="158" y="3"/>
                  </a:cubicBezTo>
                  <a:cubicBezTo>
                    <a:pt x="161" y="1"/>
                    <a:pt x="161" y="1"/>
                    <a:pt x="161" y="1"/>
                  </a:cubicBezTo>
                  <a:cubicBezTo>
                    <a:pt x="161" y="0"/>
                    <a:pt x="161" y="0"/>
                    <a:pt x="161" y="0"/>
                  </a:cubicBezTo>
                  <a:cubicBezTo>
                    <a:pt x="161" y="0"/>
                    <a:pt x="161" y="0"/>
                    <a:pt x="1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447"/>
            <p:cNvSpPr/>
            <p:nvPr/>
          </p:nvSpPr>
          <p:spPr bwMode="auto">
            <a:xfrm>
              <a:off x="395125" y="3212757"/>
              <a:ext cx="13431" cy="9402"/>
            </a:xfrm>
            <a:custGeom>
              <a:gdLst>
                <a:gd name="T0" fmla="*/ 4 w 4"/>
                <a:gd name="T1" fmla="*/ 0 h 3"/>
                <a:gd name="T2" fmla="*/ 0 w 4"/>
                <a:gd name="T3" fmla="*/ 2 h 3"/>
                <a:gd name="T4" fmla="*/ 4 w 4"/>
                <a:gd name="T5" fmla="*/ 3 h 3"/>
                <a:gd name="T6" fmla="*/ 4 w 4"/>
                <a:gd name="T7" fmla="*/ 0 h 3"/>
              </a:gdLst>
              <a:cxnLst>
                <a:cxn ang="0">
                  <a:pos x="T0" y="T1"/>
                </a:cxn>
                <a:cxn ang="0">
                  <a:pos x="T2" y="T3"/>
                </a:cxn>
                <a:cxn ang="0">
                  <a:pos x="T4" y="T5"/>
                </a:cxn>
                <a:cxn ang="0">
                  <a:pos x="T6" y="T7"/>
                </a:cxn>
              </a:cxnLst>
              <a:rect l="0" t="0" r="r" b="b"/>
              <a:pathLst>
                <a:path w="4" h="3">
                  <a:moveTo>
                    <a:pt x="4" y="0"/>
                  </a:moveTo>
                  <a:cubicBezTo>
                    <a:pt x="0" y="2"/>
                    <a:pt x="0" y="2"/>
                    <a:pt x="0" y="2"/>
                  </a:cubicBezTo>
                  <a:cubicBezTo>
                    <a:pt x="1" y="2"/>
                    <a:pt x="3" y="3"/>
                    <a:pt x="4" y="3"/>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448"/>
            <p:cNvSpPr/>
            <p:nvPr/>
          </p:nvSpPr>
          <p:spPr bwMode="auto">
            <a:xfrm>
              <a:off x="315880" y="3175149"/>
              <a:ext cx="98048" cy="279370"/>
            </a:xfrm>
            <a:custGeom>
              <a:gdLst>
                <a:gd name="T0" fmla="*/ 30 w 31"/>
                <a:gd name="T1" fmla="*/ 0 h 88"/>
                <a:gd name="T2" fmla="*/ 27 w 31"/>
                <a:gd name="T3" fmla="*/ 0 h 88"/>
                <a:gd name="T4" fmla="*/ 26 w 31"/>
                <a:gd name="T5" fmla="*/ 0 h 88"/>
                <a:gd name="T6" fmla="*/ 19 w 31"/>
                <a:gd name="T7" fmla="*/ 0 h 88"/>
                <a:gd name="T8" fmla="*/ 19 w 31"/>
                <a:gd name="T9" fmla="*/ 3 h 88"/>
                <a:gd name="T10" fmla="*/ 17 w 31"/>
                <a:gd name="T11" fmla="*/ 9 h 88"/>
                <a:gd name="T12" fmla="*/ 5 w 31"/>
                <a:gd name="T13" fmla="*/ 38 h 88"/>
                <a:gd name="T14" fmla="*/ 5 w 31"/>
                <a:gd name="T15" fmla="*/ 39 h 88"/>
                <a:gd name="T16" fmla="*/ 0 w 31"/>
                <a:gd name="T17" fmla="*/ 43 h 88"/>
                <a:gd name="T18" fmla="*/ 1 w 31"/>
                <a:gd name="T19" fmla="*/ 45 h 88"/>
                <a:gd name="T20" fmla="*/ 0 w 31"/>
                <a:gd name="T21" fmla="*/ 46 h 88"/>
                <a:gd name="T22" fmla="*/ 1 w 31"/>
                <a:gd name="T23" fmla="*/ 45 h 88"/>
                <a:gd name="T24" fmla="*/ 1 w 31"/>
                <a:gd name="T25" fmla="*/ 46 h 88"/>
                <a:gd name="T26" fmla="*/ 2 w 31"/>
                <a:gd name="T27" fmla="*/ 47 h 88"/>
                <a:gd name="T28" fmla="*/ 2 w 31"/>
                <a:gd name="T29" fmla="*/ 47 h 88"/>
                <a:gd name="T30" fmla="*/ 15 w 31"/>
                <a:gd name="T31" fmla="*/ 88 h 88"/>
                <a:gd name="T32" fmla="*/ 19 w 31"/>
                <a:gd name="T33" fmla="*/ 71 h 88"/>
                <a:gd name="T34" fmla="*/ 21 w 31"/>
                <a:gd name="T35" fmla="*/ 65 h 88"/>
                <a:gd name="T36" fmla="*/ 23 w 31"/>
                <a:gd name="T37" fmla="*/ 58 h 88"/>
                <a:gd name="T38" fmla="*/ 23 w 31"/>
                <a:gd name="T39" fmla="*/ 56 h 88"/>
                <a:gd name="T40" fmla="*/ 24 w 31"/>
                <a:gd name="T41" fmla="*/ 52 h 88"/>
                <a:gd name="T42" fmla="*/ 25 w 31"/>
                <a:gd name="T43" fmla="*/ 44 h 88"/>
                <a:gd name="T44" fmla="*/ 26 w 31"/>
                <a:gd name="T45" fmla="*/ 43 h 88"/>
                <a:gd name="T46" fmla="*/ 22 w 31"/>
                <a:gd name="T47" fmla="*/ 44 h 88"/>
                <a:gd name="T48" fmla="*/ 22 w 31"/>
                <a:gd name="T49" fmla="*/ 45 h 88"/>
                <a:gd name="T50" fmla="*/ 21 w 31"/>
                <a:gd name="T51" fmla="*/ 45 h 88"/>
                <a:gd name="T52" fmla="*/ 21 w 31"/>
                <a:gd name="T53" fmla="*/ 45 h 88"/>
                <a:gd name="T54" fmla="*/ 19 w 31"/>
                <a:gd name="T55" fmla="*/ 45 h 88"/>
                <a:gd name="T56" fmla="*/ 18 w 31"/>
                <a:gd name="T57" fmla="*/ 45 h 88"/>
                <a:gd name="T58" fmla="*/ 18 w 31"/>
                <a:gd name="T59" fmla="*/ 45 h 88"/>
                <a:gd name="T60" fmla="*/ 16 w 31"/>
                <a:gd name="T61" fmla="*/ 45 h 88"/>
                <a:gd name="T62" fmla="*/ 22 w 31"/>
                <a:gd name="T63" fmla="*/ 34 h 88"/>
                <a:gd name="T64" fmla="*/ 23 w 31"/>
                <a:gd name="T65" fmla="*/ 34 h 88"/>
                <a:gd name="T66" fmla="*/ 16 w 31"/>
                <a:gd name="T67" fmla="*/ 31 h 88"/>
                <a:gd name="T68" fmla="*/ 18 w 31"/>
                <a:gd name="T69" fmla="*/ 17 h 88"/>
                <a:gd name="T70" fmla="*/ 22 w 31"/>
                <a:gd name="T71" fmla="*/ 13 h 88"/>
                <a:gd name="T72" fmla="*/ 22 w 31"/>
                <a:gd name="T73" fmla="*/ 13 h 88"/>
                <a:gd name="T74" fmla="*/ 23 w 31"/>
                <a:gd name="T75" fmla="*/ 13 h 88"/>
                <a:gd name="T76" fmla="*/ 31 w 31"/>
                <a:gd name="T77" fmla="*/ 7 h 88"/>
                <a:gd name="T78" fmla="*/ 31 w 31"/>
                <a:gd name="T79" fmla="*/ 6 h 88"/>
                <a:gd name="T80" fmla="*/ 30 w 31"/>
                <a:gd name="T81" fmla="*/ 6 h 88"/>
                <a:gd name="T82" fmla="*/ 30 w 31"/>
                <a:gd name="T83" fmla="*/ 1 h 88"/>
                <a:gd name="T84" fmla="*/ 30 w 31"/>
                <a:gd name="T85" fmla="*/ 0 h 8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 h="88">
                  <a:moveTo>
                    <a:pt x="30" y="0"/>
                  </a:moveTo>
                  <a:cubicBezTo>
                    <a:pt x="29" y="0"/>
                    <a:pt x="28" y="0"/>
                    <a:pt x="27" y="0"/>
                  </a:cubicBezTo>
                  <a:cubicBezTo>
                    <a:pt x="26" y="0"/>
                    <a:pt x="26" y="0"/>
                    <a:pt x="26" y="0"/>
                  </a:cubicBezTo>
                  <a:cubicBezTo>
                    <a:pt x="19" y="0"/>
                    <a:pt x="19" y="0"/>
                    <a:pt x="19" y="0"/>
                  </a:cubicBezTo>
                  <a:cubicBezTo>
                    <a:pt x="19" y="1"/>
                    <a:pt x="19" y="2"/>
                    <a:pt x="19" y="3"/>
                  </a:cubicBezTo>
                  <a:cubicBezTo>
                    <a:pt x="19" y="5"/>
                    <a:pt x="18" y="7"/>
                    <a:pt x="17" y="9"/>
                  </a:cubicBezTo>
                  <a:cubicBezTo>
                    <a:pt x="13" y="19"/>
                    <a:pt x="10" y="29"/>
                    <a:pt x="5" y="38"/>
                  </a:cubicBezTo>
                  <a:cubicBezTo>
                    <a:pt x="5" y="39"/>
                    <a:pt x="5" y="39"/>
                    <a:pt x="5" y="39"/>
                  </a:cubicBezTo>
                  <a:cubicBezTo>
                    <a:pt x="3" y="40"/>
                    <a:pt x="1" y="42"/>
                    <a:pt x="0" y="43"/>
                  </a:cubicBezTo>
                  <a:cubicBezTo>
                    <a:pt x="1" y="45"/>
                    <a:pt x="1" y="45"/>
                    <a:pt x="1" y="45"/>
                  </a:cubicBezTo>
                  <a:cubicBezTo>
                    <a:pt x="0" y="46"/>
                    <a:pt x="0" y="46"/>
                    <a:pt x="0" y="46"/>
                  </a:cubicBezTo>
                  <a:cubicBezTo>
                    <a:pt x="1" y="45"/>
                    <a:pt x="1" y="45"/>
                    <a:pt x="1" y="45"/>
                  </a:cubicBezTo>
                  <a:cubicBezTo>
                    <a:pt x="1" y="46"/>
                    <a:pt x="1" y="46"/>
                    <a:pt x="1" y="46"/>
                  </a:cubicBezTo>
                  <a:cubicBezTo>
                    <a:pt x="2" y="47"/>
                    <a:pt x="2" y="47"/>
                    <a:pt x="2" y="47"/>
                  </a:cubicBezTo>
                  <a:cubicBezTo>
                    <a:pt x="2" y="47"/>
                    <a:pt x="2" y="47"/>
                    <a:pt x="2" y="47"/>
                  </a:cubicBezTo>
                  <a:cubicBezTo>
                    <a:pt x="15" y="88"/>
                    <a:pt x="15" y="88"/>
                    <a:pt x="15" y="88"/>
                  </a:cubicBezTo>
                  <a:cubicBezTo>
                    <a:pt x="16" y="82"/>
                    <a:pt x="18" y="76"/>
                    <a:pt x="19" y="71"/>
                  </a:cubicBezTo>
                  <a:cubicBezTo>
                    <a:pt x="21" y="65"/>
                    <a:pt x="21" y="65"/>
                    <a:pt x="21" y="65"/>
                  </a:cubicBezTo>
                  <a:cubicBezTo>
                    <a:pt x="21" y="62"/>
                    <a:pt x="22" y="60"/>
                    <a:pt x="23" y="58"/>
                  </a:cubicBezTo>
                  <a:cubicBezTo>
                    <a:pt x="23" y="56"/>
                    <a:pt x="23" y="56"/>
                    <a:pt x="23" y="56"/>
                  </a:cubicBezTo>
                  <a:cubicBezTo>
                    <a:pt x="23" y="55"/>
                    <a:pt x="24" y="53"/>
                    <a:pt x="24" y="52"/>
                  </a:cubicBezTo>
                  <a:cubicBezTo>
                    <a:pt x="24" y="50"/>
                    <a:pt x="25" y="47"/>
                    <a:pt x="25" y="44"/>
                  </a:cubicBezTo>
                  <a:cubicBezTo>
                    <a:pt x="26" y="43"/>
                    <a:pt x="26" y="43"/>
                    <a:pt x="26" y="43"/>
                  </a:cubicBezTo>
                  <a:cubicBezTo>
                    <a:pt x="24" y="43"/>
                    <a:pt x="23" y="44"/>
                    <a:pt x="22" y="44"/>
                  </a:cubicBezTo>
                  <a:cubicBezTo>
                    <a:pt x="22" y="45"/>
                    <a:pt x="22" y="45"/>
                    <a:pt x="22" y="45"/>
                  </a:cubicBezTo>
                  <a:cubicBezTo>
                    <a:pt x="21" y="45"/>
                    <a:pt x="21" y="45"/>
                    <a:pt x="21" y="45"/>
                  </a:cubicBezTo>
                  <a:cubicBezTo>
                    <a:pt x="21" y="45"/>
                    <a:pt x="21" y="45"/>
                    <a:pt x="21" y="45"/>
                  </a:cubicBezTo>
                  <a:cubicBezTo>
                    <a:pt x="20" y="45"/>
                    <a:pt x="20" y="45"/>
                    <a:pt x="19" y="45"/>
                  </a:cubicBezTo>
                  <a:cubicBezTo>
                    <a:pt x="19" y="45"/>
                    <a:pt x="19" y="45"/>
                    <a:pt x="18" y="45"/>
                  </a:cubicBezTo>
                  <a:cubicBezTo>
                    <a:pt x="18" y="45"/>
                    <a:pt x="18" y="45"/>
                    <a:pt x="18" y="45"/>
                  </a:cubicBezTo>
                  <a:cubicBezTo>
                    <a:pt x="17" y="45"/>
                    <a:pt x="17" y="45"/>
                    <a:pt x="16" y="45"/>
                  </a:cubicBezTo>
                  <a:cubicBezTo>
                    <a:pt x="16" y="42"/>
                    <a:pt x="17" y="34"/>
                    <a:pt x="22" y="34"/>
                  </a:cubicBezTo>
                  <a:cubicBezTo>
                    <a:pt x="22" y="34"/>
                    <a:pt x="22" y="34"/>
                    <a:pt x="23" y="34"/>
                  </a:cubicBezTo>
                  <a:cubicBezTo>
                    <a:pt x="21" y="32"/>
                    <a:pt x="19" y="32"/>
                    <a:pt x="16" y="31"/>
                  </a:cubicBezTo>
                  <a:cubicBezTo>
                    <a:pt x="18" y="27"/>
                    <a:pt x="17" y="21"/>
                    <a:pt x="18" y="17"/>
                  </a:cubicBezTo>
                  <a:cubicBezTo>
                    <a:pt x="19" y="15"/>
                    <a:pt x="21" y="14"/>
                    <a:pt x="22" y="13"/>
                  </a:cubicBezTo>
                  <a:cubicBezTo>
                    <a:pt x="22" y="13"/>
                    <a:pt x="22" y="13"/>
                    <a:pt x="22" y="13"/>
                  </a:cubicBezTo>
                  <a:cubicBezTo>
                    <a:pt x="23" y="13"/>
                    <a:pt x="23" y="13"/>
                    <a:pt x="23" y="13"/>
                  </a:cubicBezTo>
                  <a:cubicBezTo>
                    <a:pt x="31" y="7"/>
                    <a:pt x="31" y="7"/>
                    <a:pt x="31" y="7"/>
                  </a:cubicBezTo>
                  <a:cubicBezTo>
                    <a:pt x="31" y="6"/>
                    <a:pt x="31" y="6"/>
                    <a:pt x="31" y="6"/>
                  </a:cubicBezTo>
                  <a:cubicBezTo>
                    <a:pt x="30" y="6"/>
                    <a:pt x="30" y="6"/>
                    <a:pt x="30" y="6"/>
                  </a:cubicBezTo>
                  <a:cubicBezTo>
                    <a:pt x="30" y="4"/>
                    <a:pt x="30" y="3"/>
                    <a:pt x="30" y="1"/>
                  </a:cubicBezTo>
                  <a:cubicBezTo>
                    <a:pt x="30" y="1"/>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449"/>
            <p:cNvSpPr/>
            <p:nvPr/>
          </p:nvSpPr>
          <p:spPr bwMode="auto">
            <a:xfrm>
              <a:off x="1128472" y="2800417"/>
              <a:ext cx="2686" cy="2686"/>
            </a:xfrm>
            <a:custGeom>
              <a:gdLst>
                <a:gd name="T0" fmla="*/ 0 w 2"/>
                <a:gd name="T1" fmla="*/ 0 h 2"/>
                <a:gd name="T2" fmla="*/ 2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2"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450"/>
            <p:cNvSpPr/>
            <p:nvPr/>
          </p:nvSpPr>
          <p:spPr bwMode="auto">
            <a:xfrm>
              <a:off x="1128472" y="2800417"/>
              <a:ext cx="2686" cy="2686"/>
            </a:xfrm>
            <a:custGeom>
              <a:gdLst>
                <a:gd name="T0" fmla="*/ 0 w 2"/>
                <a:gd name="T1" fmla="*/ 0 h 2"/>
                <a:gd name="T2" fmla="*/ 2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2" y="0"/>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451"/>
            <p:cNvSpPr/>
            <p:nvPr/>
          </p:nvSpPr>
          <p:spPr bwMode="auto">
            <a:xfrm>
              <a:off x="1589" y="2358529"/>
              <a:ext cx="1126883" cy="556054"/>
            </a:xfrm>
            <a:custGeom>
              <a:gdLst>
                <a:gd name="T0" fmla="*/ 102 w 355"/>
                <a:gd name="T1" fmla="*/ 2 h 175"/>
                <a:gd name="T2" fmla="*/ 79 w 355"/>
                <a:gd name="T3" fmla="*/ 1 h 175"/>
                <a:gd name="T4" fmla="*/ 32 w 355"/>
                <a:gd name="T5" fmla="*/ 21 h 175"/>
                <a:gd name="T6" fmla="*/ 0 w 355"/>
                <a:gd name="T7" fmla="*/ 25 h 175"/>
                <a:gd name="T8" fmla="*/ 5 w 355"/>
                <a:gd name="T9" fmla="*/ 164 h 175"/>
                <a:gd name="T10" fmla="*/ 30 w 355"/>
                <a:gd name="T11" fmla="*/ 154 h 175"/>
                <a:gd name="T12" fmla="*/ 79 w 355"/>
                <a:gd name="T13" fmla="*/ 169 h 175"/>
                <a:gd name="T14" fmla="*/ 111 w 355"/>
                <a:gd name="T15" fmla="*/ 151 h 175"/>
                <a:gd name="T16" fmla="*/ 125 w 355"/>
                <a:gd name="T17" fmla="*/ 158 h 175"/>
                <a:gd name="T18" fmla="*/ 138 w 355"/>
                <a:gd name="T19" fmla="*/ 165 h 175"/>
                <a:gd name="T20" fmla="*/ 145 w 355"/>
                <a:gd name="T21" fmla="*/ 173 h 175"/>
                <a:gd name="T22" fmla="*/ 148 w 355"/>
                <a:gd name="T23" fmla="*/ 170 h 175"/>
                <a:gd name="T24" fmla="*/ 152 w 355"/>
                <a:gd name="T25" fmla="*/ 164 h 175"/>
                <a:gd name="T26" fmla="*/ 167 w 355"/>
                <a:gd name="T27" fmla="*/ 152 h 175"/>
                <a:gd name="T28" fmla="*/ 189 w 355"/>
                <a:gd name="T29" fmla="*/ 148 h 175"/>
                <a:gd name="T30" fmla="*/ 204 w 355"/>
                <a:gd name="T31" fmla="*/ 147 h 175"/>
                <a:gd name="T32" fmla="*/ 209 w 355"/>
                <a:gd name="T33" fmla="*/ 149 h 175"/>
                <a:gd name="T34" fmla="*/ 226 w 355"/>
                <a:gd name="T35" fmla="*/ 152 h 175"/>
                <a:gd name="T36" fmla="*/ 246 w 355"/>
                <a:gd name="T37" fmla="*/ 145 h 175"/>
                <a:gd name="T38" fmla="*/ 261 w 355"/>
                <a:gd name="T39" fmla="*/ 139 h 175"/>
                <a:gd name="T40" fmla="*/ 299 w 355"/>
                <a:gd name="T41" fmla="*/ 134 h 175"/>
                <a:gd name="T42" fmla="*/ 316 w 355"/>
                <a:gd name="T43" fmla="*/ 132 h 175"/>
                <a:gd name="T44" fmla="*/ 317 w 355"/>
                <a:gd name="T45" fmla="*/ 132 h 175"/>
                <a:gd name="T46" fmla="*/ 337 w 355"/>
                <a:gd name="T47" fmla="*/ 134 h 175"/>
                <a:gd name="T48" fmla="*/ 347 w 355"/>
                <a:gd name="T49" fmla="*/ 141 h 175"/>
                <a:gd name="T50" fmla="*/ 355 w 355"/>
                <a:gd name="T51" fmla="*/ 139 h 175"/>
                <a:gd name="T52" fmla="*/ 354 w 355"/>
                <a:gd name="T53" fmla="*/ 137 h 175"/>
                <a:gd name="T54" fmla="*/ 350 w 355"/>
                <a:gd name="T55" fmla="*/ 133 h 175"/>
                <a:gd name="T56" fmla="*/ 350 w 355"/>
                <a:gd name="T57" fmla="*/ 126 h 175"/>
                <a:gd name="T58" fmla="*/ 346 w 355"/>
                <a:gd name="T59" fmla="*/ 123 h 175"/>
                <a:gd name="T60" fmla="*/ 341 w 355"/>
                <a:gd name="T61" fmla="*/ 119 h 175"/>
                <a:gd name="T62" fmla="*/ 343 w 355"/>
                <a:gd name="T63" fmla="*/ 110 h 175"/>
                <a:gd name="T64" fmla="*/ 342 w 355"/>
                <a:gd name="T65" fmla="*/ 94 h 175"/>
                <a:gd name="T66" fmla="*/ 339 w 355"/>
                <a:gd name="T67" fmla="*/ 74 h 175"/>
                <a:gd name="T68" fmla="*/ 349 w 355"/>
                <a:gd name="T69" fmla="*/ 65 h 175"/>
                <a:gd name="T70" fmla="*/ 336 w 355"/>
                <a:gd name="T71" fmla="*/ 61 h 175"/>
                <a:gd name="T72" fmla="*/ 327 w 355"/>
                <a:gd name="T73" fmla="*/ 53 h 175"/>
                <a:gd name="T74" fmla="*/ 326 w 355"/>
                <a:gd name="T75" fmla="*/ 42 h 175"/>
                <a:gd name="T76" fmla="*/ 327 w 355"/>
                <a:gd name="T77" fmla="*/ 39 h 175"/>
                <a:gd name="T78" fmla="*/ 326 w 355"/>
                <a:gd name="T79" fmla="*/ 34 h 175"/>
                <a:gd name="T80" fmla="*/ 318 w 355"/>
                <a:gd name="T81" fmla="*/ 25 h 175"/>
                <a:gd name="T82" fmla="*/ 313 w 355"/>
                <a:gd name="T83" fmla="*/ 22 h 175"/>
                <a:gd name="T84" fmla="*/ 309 w 355"/>
                <a:gd name="T85" fmla="*/ 18 h 175"/>
                <a:gd name="T86" fmla="*/ 304 w 355"/>
                <a:gd name="T87" fmla="*/ 21 h 175"/>
                <a:gd name="T88" fmla="*/ 288 w 355"/>
                <a:gd name="T89" fmla="*/ 19 h 175"/>
                <a:gd name="T90" fmla="*/ 278 w 355"/>
                <a:gd name="T91" fmla="*/ 19 h 175"/>
                <a:gd name="T92" fmla="*/ 263 w 355"/>
                <a:gd name="T93" fmla="*/ 24 h 175"/>
                <a:gd name="T94" fmla="*/ 242 w 355"/>
                <a:gd name="T95" fmla="*/ 32 h 175"/>
                <a:gd name="T96" fmla="*/ 237 w 355"/>
                <a:gd name="T97" fmla="*/ 31 h 175"/>
                <a:gd name="T98" fmla="*/ 221 w 355"/>
                <a:gd name="T99" fmla="*/ 29 h 175"/>
                <a:gd name="T100" fmla="*/ 200 w 355"/>
                <a:gd name="T101" fmla="*/ 33 h 175"/>
                <a:gd name="T102" fmla="*/ 161 w 355"/>
                <a:gd name="T103" fmla="*/ 20 h 175"/>
                <a:gd name="T104" fmla="*/ 140 w 355"/>
                <a:gd name="T105" fmla="*/ 9 h 175"/>
                <a:gd name="T106" fmla="*/ 120 w 355"/>
                <a:gd name="T107" fmla="*/ 5 h 1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175">
                  <a:moveTo>
                    <a:pt x="119" y="0"/>
                  </a:moveTo>
                  <a:cubicBezTo>
                    <a:pt x="117" y="0"/>
                    <a:pt x="115" y="0"/>
                    <a:pt x="114" y="0"/>
                  </a:cubicBezTo>
                  <a:cubicBezTo>
                    <a:pt x="111" y="2"/>
                    <a:pt x="109" y="2"/>
                    <a:pt x="106" y="2"/>
                  </a:cubicBezTo>
                  <a:cubicBezTo>
                    <a:pt x="105" y="2"/>
                    <a:pt x="103" y="2"/>
                    <a:pt x="102" y="2"/>
                  </a:cubicBezTo>
                  <a:cubicBezTo>
                    <a:pt x="101" y="2"/>
                    <a:pt x="100" y="2"/>
                    <a:pt x="99" y="2"/>
                  </a:cubicBezTo>
                  <a:cubicBezTo>
                    <a:pt x="99" y="2"/>
                    <a:pt x="99" y="2"/>
                    <a:pt x="98" y="2"/>
                  </a:cubicBezTo>
                  <a:cubicBezTo>
                    <a:pt x="98" y="2"/>
                    <a:pt x="98" y="2"/>
                    <a:pt x="98" y="2"/>
                  </a:cubicBezTo>
                  <a:cubicBezTo>
                    <a:pt x="92" y="2"/>
                    <a:pt x="85" y="2"/>
                    <a:pt x="79" y="1"/>
                  </a:cubicBezTo>
                  <a:cubicBezTo>
                    <a:pt x="79" y="1"/>
                    <a:pt x="78" y="1"/>
                    <a:pt x="77" y="1"/>
                  </a:cubicBezTo>
                  <a:cubicBezTo>
                    <a:pt x="71" y="1"/>
                    <a:pt x="65" y="4"/>
                    <a:pt x="59" y="6"/>
                  </a:cubicBezTo>
                  <a:cubicBezTo>
                    <a:pt x="52" y="7"/>
                    <a:pt x="47" y="11"/>
                    <a:pt x="41" y="15"/>
                  </a:cubicBezTo>
                  <a:cubicBezTo>
                    <a:pt x="38" y="17"/>
                    <a:pt x="35" y="18"/>
                    <a:pt x="32" y="21"/>
                  </a:cubicBezTo>
                  <a:cubicBezTo>
                    <a:pt x="30" y="23"/>
                    <a:pt x="27" y="27"/>
                    <a:pt x="24" y="27"/>
                  </a:cubicBezTo>
                  <a:cubicBezTo>
                    <a:pt x="22" y="27"/>
                    <a:pt x="19" y="28"/>
                    <a:pt x="16" y="28"/>
                  </a:cubicBezTo>
                  <a:cubicBezTo>
                    <a:pt x="12" y="28"/>
                    <a:pt x="7" y="27"/>
                    <a:pt x="3" y="25"/>
                  </a:cubicBezTo>
                  <a:cubicBezTo>
                    <a:pt x="2" y="25"/>
                    <a:pt x="1" y="25"/>
                    <a:pt x="0" y="25"/>
                  </a:cubicBezTo>
                  <a:cubicBezTo>
                    <a:pt x="0" y="166"/>
                    <a:pt x="0" y="166"/>
                    <a:pt x="0" y="166"/>
                  </a:cubicBezTo>
                  <a:cubicBezTo>
                    <a:pt x="1" y="166"/>
                    <a:pt x="2" y="167"/>
                    <a:pt x="2" y="167"/>
                  </a:cubicBezTo>
                  <a:cubicBezTo>
                    <a:pt x="2" y="167"/>
                    <a:pt x="2" y="167"/>
                    <a:pt x="2" y="167"/>
                  </a:cubicBezTo>
                  <a:cubicBezTo>
                    <a:pt x="4" y="167"/>
                    <a:pt x="5" y="167"/>
                    <a:pt x="5" y="164"/>
                  </a:cubicBezTo>
                  <a:cubicBezTo>
                    <a:pt x="6" y="161"/>
                    <a:pt x="6" y="153"/>
                    <a:pt x="8" y="150"/>
                  </a:cubicBezTo>
                  <a:cubicBezTo>
                    <a:pt x="9" y="149"/>
                    <a:pt x="10" y="149"/>
                    <a:pt x="11" y="149"/>
                  </a:cubicBezTo>
                  <a:cubicBezTo>
                    <a:pt x="11" y="149"/>
                    <a:pt x="12" y="149"/>
                    <a:pt x="13" y="149"/>
                  </a:cubicBezTo>
                  <a:cubicBezTo>
                    <a:pt x="19" y="150"/>
                    <a:pt x="24" y="151"/>
                    <a:pt x="30" y="154"/>
                  </a:cubicBezTo>
                  <a:cubicBezTo>
                    <a:pt x="36" y="156"/>
                    <a:pt x="41" y="160"/>
                    <a:pt x="47" y="164"/>
                  </a:cubicBezTo>
                  <a:cubicBezTo>
                    <a:pt x="51" y="166"/>
                    <a:pt x="54" y="171"/>
                    <a:pt x="59" y="171"/>
                  </a:cubicBezTo>
                  <a:cubicBezTo>
                    <a:pt x="59" y="171"/>
                    <a:pt x="59" y="171"/>
                    <a:pt x="59" y="171"/>
                  </a:cubicBezTo>
                  <a:cubicBezTo>
                    <a:pt x="66" y="171"/>
                    <a:pt x="72" y="169"/>
                    <a:pt x="79" y="169"/>
                  </a:cubicBezTo>
                  <a:cubicBezTo>
                    <a:pt x="79" y="169"/>
                    <a:pt x="79" y="169"/>
                    <a:pt x="79" y="169"/>
                  </a:cubicBezTo>
                  <a:cubicBezTo>
                    <a:pt x="79" y="169"/>
                    <a:pt x="80" y="169"/>
                    <a:pt x="80" y="169"/>
                  </a:cubicBezTo>
                  <a:cubicBezTo>
                    <a:pt x="86" y="169"/>
                    <a:pt x="90" y="169"/>
                    <a:pt x="94" y="164"/>
                  </a:cubicBezTo>
                  <a:cubicBezTo>
                    <a:pt x="98" y="157"/>
                    <a:pt x="104" y="154"/>
                    <a:pt x="111" y="151"/>
                  </a:cubicBezTo>
                  <a:cubicBezTo>
                    <a:pt x="111" y="151"/>
                    <a:pt x="120" y="156"/>
                    <a:pt x="120" y="156"/>
                  </a:cubicBezTo>
                  <a:cubicBezTo>
                    <a:pt x="121" y="156"/>
                    <a:pt x="122" y="157"/>
                    <a:pt x="122" y="157"/>
                  </a:cubicBezTo>
                  <a:cubicBezTo>
                    <a:pt x="123" y="157"/>
                    <a:pt x="124" y="158"/>
                    <a:pt x="125" y="158"/>
                  </a:cubicBezTo>
                  <a:cubicBezTo>
                    <a:pt x="125" y="158"/>
                    <a:pt x="125" y="158"/>
                    <a:pt x="125" y="158"/>
                  </a:cubicBezTo>
                  <a:cubicBezTo>
                    <a:pt x="127" y="158"/>
                    <a:pt x="130" y="156"/>
                    <a:pt x="132" y="154"/>
                  </a:cubicBezTo>
                  <a:cubicBezTo>
                    <a:pt x="135" y="151"/>
                    <a:pt x="137" y="149"/>
                    <a:pt x="140" y="149"/>
                  </a:cubicBezTo>
                  <a:cubicBezTo>
                    <a:pt x="140" y="149"/>
                    <a:pt x="140" y="149"/>
                    <a:pt x="140" y="149"/>
                  </a:cubicBezTo>
                  <a:cubicBezTo>
                    <a:pt x="152" y="149"/>
                    <a:pt x="141" y="160"/>
                    <a:pt x="138" y="165"/>
                  </a:cubicBezTo>
                  <a:cubicBezTo>
                    <a:pt x="135" y="168"/>
                    <a:pt x="140" y="170"/>
                    <a:pt x="140" y="173"/>
                  </a:cubicBezTo>
                  <a:cubicBezTo>
                    <a:pt x="140" y="174"/>
                    <a:pt x="140" y="174"/>
                    <a:pt x="140" y="174"/>
                  </a:cubicBezTo>
                  <a:cubicBezTo>
                    <a:pt x="141" y="174"/>
                    <a:pt x="142" y="174"/>
                    <a:pt x="143" y="175"/>
                  </a:cubicBezTo>
                  <a:cubicBezTo>
                    <a:pt x="143" y="174"/>
                    <a:pt x="144" y="173"/>
                    <a:pt x="145" y="173"/>
                  </a:cubicBezTo>
                  <a:cubicBezTo>
                    <a:pt x="145" y="172"/>
                    <a:pt x="145" y="172"/>
                    <a:pt x="145" y="172"/>
                  </a:cubicBezTo>
                  <a:cubicBezTo>
                    <a:pt x="146" y="172"/>
                    <a:pt x="146" y="172"/>
                    <a:pt x="147" y="172"/>
                  </a:cubicBezTo>
                  <a:cubicBezTo>
                    <a:pt x="147" y="171"/>
                    <a:pt x="147" y="171"/>
                    <a:pt x="147" y="171"/>
                  </a:cubicBezTo>
                  <a:cubicBezTo>
                    <a:pt x="148" y="170"/>
                    <a:pt x="148" y="170"/>
                    <a:pt x="148" y="170"/>
                  </a:cubicBezTo>
                  <a:cubicBezTo>
                    <a:pt x="148" y="169"/>
                    <a:pt x="148" y="169"/>
                    <a:pt x="148" y="168"/>
                  </a:cubicBezTo>
                  <a:cubicBezTo>
                    <a:pt x="148" y="167"/>
                    <a:pt x="149" y="167"/>
                    <a:pt x="149" y="166"/>
                  </a:cubicBezTo>
                  <a:cubicBezTo>
                    <a:pt x="149" y="166"/>
                    <a:pt x="150" y="165"/>
                    <a:pt x="150" y="165"/>
                  </a:cubicBezTo>
                  <a:cubicBezTo>
                    <a:pt x="151" y="165"/>
                    <a:pt x="152" y="164"/>
                    <a:pt x="152" y="164"/>
                  </a:cubicBezTo>
                  <a:cubicBezTo>
                    <a:pt x="152" y="163"/>
                    <a:pt x="152" y="162"/>
                    <a:pt x="152" y="160"/>
                  </a:cubicBezTo>
                  <a:cubicBezTo>
                    <a:pt x="152" y="157"/>
                    <a:pt x="153" y="153"/>
                    <a:pt x="154" y="151"/>
                  </a:cubicBezTo>
                  <a:cubicBezTo>
                    <a:pt x="155" y="146"/>
                    <a:pt x="155" y="146"/>
                    <a:pt x="155" y="146"/>
                  </a:cubicBezTo>
                  <a:cubicBezTo>
                    <a:pt x="167" y="152"/>
                    <a:pt x="167" y="152"/>
                    <a:pt x="167" y="152"/>
                  </a:cubicBezTo>
                  <a:cubicBezTo>
                    <a:pt x="168" y="153"/>
                    <a:pt x="168" y="153"/>
                    <a:pt x="169" y="153"/>
                  </a:cubicBezTo>
                  <a:cubicBezTo>
                    <a:pt x="170" y="153"/>
                    <a:pt x="171" y="153"/>
                    <a:pt x="172" y="152"/>
                  </a:cubicBezTo>
                  <a:cubicBezTo>
                    <a:pt x="174" y="152"/>
                    <a:pt x="174" y="152"/>
                    <a:pt x="174" y="152"/>
                  </a:cubicBezTo>
                  <a:cubicBezTo>
                    <a:pt x="178" y="152"/>
                    <a:pt x="183" y="150"/>
                    <a:pt x="189" y="148"/>
                  </a:cubicBezTo>
                  <a:cubicBezTo>
                    <a:pt x="191" y="147"/>
                    <a:pt x="191" y="147"/>
                    <a:pt x="191" y="147"/>
                  </a:cubicBezTo>
                  <a:cubicBezTo>
                    <a:pt x="193" y="146"/>
                    <a:pt x="194" y="146"/>
                    <a:pt x="196" y="146"/>
                  </a:cubicBezTo>
                  <a:cubicBezTo>
                    <a:pt x="197" y="146"/>
                    <a:pt x="198" y="146"/>
                    <a:pt x="199" y="146"/>
                  </a:cubicBezTo>
                  <a:cubicBezTo>
                    <a:pt x="204" y="147"/>
                    <a:pt x="204" y="147"/>
                    <a:pt x="204" y="147"/>
                  </a:cubicBezTo>
                  <a:cubicBezTo>
                    <a:pt x="206" y="148"/>
                    <a:pt x="207" y="149"/>
                    <a:pt x="207" y="149"/>
                  </a:cubicBezTo>
                  <a:cubicBezTo>
                    <a:pt x="207" y="149"/>
                    <a:pt x="207" y="149"/>
                    <a:pt x="207" y="149"/>
                  </a:cubicBezTo>
                  <a:cubicBezTo>
                    <a:pt x="207" y="149"/>
                    <a:pt x="207" y="149"/>
                    <a:pt x="207" y="149"/>
                  </a:cubicBezTo>
                  <a:cubicBezTo>
                    <a:pt x="209" y="149"/>
                    <a:pt x="209" y="149"/>
                    <a:pt x="209" y="149"/>
                  </a:cubicBezTo>
                  <a:cubicBezTo>
                    <a:pt x="213" y="150"/>
                    <a:pt x="217" y="151"/>
                    <a:pt x="222" y="151"/>
                  </a:cubicBezTo>
                  <a:cubicBezTo>
                    <a:pt x="223" y="151"/>
                    <a:pt x="224" y="151"/>
                    <a:pt x="224" y="151"/>
                  </a:cubicBezTo>
                  <a:cubicBezTo>
                    <a:pt x="225" y="151"/>
                    <a:pt x="225" y="151"/>
                    <a:pt x="225" y="151"/>
                  </a:cubicBezTo>
                  <a:cubicBezTo>
                    <a:pt x="226" y="152"/>
                    <a:pt x="226" y="152"/>
                    <a:pt x="226" y="152"/>
                  </a:cubicBezTo>
                  <a:cubicBezTo>
                    <a:pt x="226" y="151"/>
                    <a:pt x="226" y="151"/>
                    <a:pt x="226" y="151"/>
                  </a:cubicBezTo>
                  <a:cubicBezTo>
                    <a:pt x="230" y="150"/>
                    <a:pt x="235" y="148"/>
                    <a:pt x="239" y="147"/>
                  </a:cubicBezTo>
                  <a:cubicBezTo>
                    <a:pt x="244" y="145"/>
                    <a:pt x="244" y="145"/>
                    <a:pt x="244" y="145"/>
                  </a:cubicBezTo>
                  <a:cubicBezTo>
                    <a:pt x="245" y="145"/>
                    <a:pt x="245" y="145"/>
                    <a:pt x="246" y="145"/>
                  </a:cubicBezTo>
                  <a:cubicBezTo>
                    <a:pt x="247" y="144"/>
                    <a:pt x="248" y="143"/>
                    <a:pt x="249" y="143"/>
                  </a:cubicBezTo>
                  <a:cubicBezTo>
                    <a:pt x="249" y="143"/>
                    <a:pt x="249" y="143"/>
                    <a:pt x="249" y="143"/>
                  </a:cubicBezTo>
                  <a:cubicBezTo>
                    <a:pt x="253" y="141"/>
                    <a:pt x="256" y="139"/>
                    <a:pt x="260" y="139"/>
                  </a:cubicBezTo>
                  <a:cubicBezTo>
                    <a:pt x="261" y="139"/>
                    <a:pt x="261" y="139"/>
                    <a:pt x="261" y="139"/>
                  </a:cubicBezTo>
                  <a:cubicBezTo>
                    <a:pt x="263" y="139"/>
                    <a:pt x="264" y="139"/>
                    <a:pt x="265" y="139"/>
                  </a:cubicBezTo>
                  <a:cubicBezTo>
                    <a:pt x="273" y="139"/>
                    <a:pt x="280" y="139"/>
                    <a:pt x="287" y="137"/>
                  </a:cubicBezTo>
                  <a:cubicBezTo>
                    <a:pt x="290" y="137"/>
                    <a:pt x="293" y="136"/>
                    <a:pt x="296" y="135"/>
                  </a:cubicBezTo>
                  <a:cubicBezTo>
                    <a:pt x="299" y="134"/>
                    <a:pt x="299" y="134"/>
                    <a:pt x="299" y="134"/>
                  </a:cubicBezTo>
                  <a:cubicBezTo>
                    <a:pt x="299" y="137"/>
                    <a:pt x="299" y="137"/>
                    <a:pt x="299" y="137"/>
                  </a:cubicBezTo>
                  <a:cubicBezTo>
                    <a:pt x="303" y="134"/>
                    <a:pt x="307" y="132"/>
                    <a:pt x="313" y="132"/>
                  </a:cubicBezTo>
                  <a:cubicBezTo>
                    <a:pt x="315" y="132"/>
                    <a:pt x="315" y="132"/>
                    <a:pt x="315" y="132"/>
                  </a:cubicBezTo>
                  <a:cubicBezTo>
                    <a:pt x="315" y="132"/>
                    <a:pt x="315" y="132"/>
                    <a:pt x="316" y="132"/>
                  </a:cubicBezTo>
                  <a:cubicBezTo>
                    <a:pt x="316" y="132"/>
                    <a:pt x="316" y="132"/>
                    <a:pt x="316" y="132"/>
                  </a:cubicBezTo>
                  <a:cubicBezTo>
                    <a:pt x="317" y="132"/>
                    <a:pt x="317" y="132"/>
                    <a:pt x="317" y="132"/>
                  </a:cubicBezTo>
                  <a:cubicBezTo>
                    <a:pt x="317" y="133"/>
                    <a:pt x="317" y="133"/>
                    <a:pt x="317" y="133"/>
                  </a:cubicBezTo>
                  <a:cubicBezTo>
                    <a:pt x="317" y="132"/>
                    <a:pt x="317" y="132"/>
                    <a:pt x="317" y="132"/>
                  </a:cubicBezTo>
                  <a:cubicBezTo>
                    <a:pt x="318" y="132"/>
                    <a:pt x="319" y="132"/>
                    <a:pt x="320" y="132"/>
                  </a:cubicBezTo>
                  <a:cubicBezTo>
                    <a:pt x="324" y="133"/>
                    <a:pt x="324" y="133"/>
                    <a:pt x="324" y="133"/>
                  </a:cubicBezTo>
                  <a:cubicBezTo>
                    <a:pt x="327" y="134"/>
                    <a:pt x="331" y="135"/>
                    <a:pt x="334" y="135"/>
                  </a:cubicBezTo>
                  <a:cubicBezTo>
                    <a:pt x="335" y="135"/>
                    <a:pt x="336" y="134"/>
                    <a:pt x="337" y="134"/>
                  </a:cubicBezTo>
                  <a:cubicBezTo>
                    <a:pt x="338" y="134"/>
                    <a:pt x="339" y="134"/>
                    <a:pt x="340" y="134"/>
                  </a:cubicBezTo>
                  <a:cubicBezTo>
                    <a:pt x="344" y="134"/>
                    <a:pt x="346" y="137"/>
                    <a:pt x="347" y="139"/>
                  </a:cubicBezTo>
                  <a:cubicBezTo>
                    <a:pt x="347" y="140"/>
                    <a:pt x="347" y="140"/>
                    <a:pt x="347" y="140"/>
                  </a:cubicBezTo>
                  <a:cubicBezTo>
                    <a:pt x="347" y="140"/>
                    <a:pt x="347" y="140"/>
                    <a:pt x="347" y="141"/>
                  </a:cubicBezTo>
                  <a:cubicBezTo>
                    <a:pt x="348" y="141"/>
                    <a:pt x="348" y="142"/>
                    <a:pt x="348" y="142"/>
                  </a:cubicBezTo>
                  <a:cubicBezTo>
                    <a:pt x="349" y="142"/>
                    <a:pt x="349" y="142"/>
                    <a:pt x="349" y="142"/>
                  </a:cubicBezTo>
                  <a:cubicBezTo>
                    <a:pt x="350" y="141"/>
                    <a:pt x="351" y="141"/>
                    <a:pt x="352" y="140"/>
                  </a:cubicBezTo>
                  <a:cubicBezTo>
                    <a:pt x="355" y="139"/>
                    <a:pt x="355" y="139"/>
                    <a:pt x="355" y="139"/>
                  </a:cubicBezTo>
                  <a:cubicBezTo>
                    <a:pt x="355" y="139"/>
                    <a:pt x="355" y="139"/>
                    <a:pt x="355" y="139"/>
                  </a:cubicBezTo>
                  <a:cubicBezTo>
                    <a:pt x="355" y="139"/>
                    <a:pt x="355" y="138"/>
                    <a:pt x="355" y="138"/>
                  </a:cubicBezTo>
                  <a:cubicBezTo>
                    <a:pt x="354" y="137"/>
                    <a:pt x="354" y="137"/>
                    <a:pt x="354" y="137"/>
                  </a:cubicBezTo>
                  <a:cubicBezTo>
                    <a:pt x="354" y="137"/>
                    <a:pt x="354" y="137"/>
                    <a:pt x="354" y="137"/>
                  </a:cubicBezTo>
                  <a:cubicBezTo>
                    <a:pt x="354" y="137"/>
                    <a:pt x="354" y="137"/>
                    <a:pt x="354" y="137"/>
                  </a:cubicBezTo>
                  <a:cubicBezTo>
                    <a:pt x="352" y="136"/>
                    <a:pt x="352" y="136"/>
                    <a:pt x="352" y="136"/>
                  </a:cubicBezTo>
                  <a:cubicBezTo>
                    <a:pt x="352" y="135"/>
                    <a:pt x="351" y="135"/>
                    <a:pt x="351" y="135"/>
                  </a:cubicBezTo>
                  <a:cubicBezTo>
                    <a:pt x="350" y="133"/>
                    <a:pt x="350" y="133"/>
                    <a:pt x="350" y="133"/>
                  </a:cubicBezTo>
                  <a:cubicBezTo>
                    <a:pt x="349" y="131"/>
                    <a:pt x="350" y="129"/>
                    <a:pt x="350" y="128"/>
                  </a:cubicBezTo>
                  <a:cubicBezTo>
                    <a:pt x="350" y="127"/>
                    <a:pt x="350" y="127"/>
                    <a:pt x="350" y="127"/>
                  </a:cubicBezTo>
                  <a:cubicBezTo>
                    <a:pt x="350" y="127"/>
                    <a:pt x="350" y="126"/>
                    <a:pt x="350" y="126"/>
                  </a:cubicBezTo>
                  <a:cubicBezTo>
                    <a:pt x="350" y="126"/>
                    <a:pt x="350" y="126"/>
                    <a:pt x="350" y="126"/>
                  </a:cubicBezTo>
                  <a:cubicBezTo>
                    <a:pt x="350" y="126"/>
                    <a:pt x="350" y="126"/>
                    <a:pt x="350" y="126"/>
                  </a:cubicBezTo>
                  <a:cubicBezTo>
                    <a:pt x="349" y="125"/>
                    <a:pt x="348" y="125"/>
                    <a:pt x="348" y="125"/>
                  </a:cubicBezTo>
                  <a:cubicBezTo>
                    <a:pt x="347" y="124"/>
                    <a:pt x="347" y="124"/>
                    <a:pt x="347" y="124"/>
                  </a:cubicBezTo>
                  <a:cubicBezTo>
                    <a:pt x="347" y="124"/>
                    <a:pt x="346" y="124"/>
                    <a:pt x="346" y="123"/>
                  </a:cubicBezTo>
                  <a:cubicBezTo>
                    <a:pt x="346" y="123"/>
                    <a:pt x="345" y="123"/>
                    <a:pt x="345" y="123"/>
                  </a:cubicBezTo>
                  <a:cubicBezTo>
                    <a:pt x="344" y="123"/>
                    <a:pt x="344" y="123"/>
                    <a:pt x="343" y="122"/>
                  </a:cubicBezTo>
                  <a:cubicBezTo>
                    <a:pt x="342" y="122"/>
                    <a:pt x="342" y="122"/>
                    <a:pt x="342" y="122"/>
                  </a:cubicBezTo>
                  <a:cubicBezTo>
                    <a:pt x="341" y="121"/>
                    <a:pt x="341" y="120"/>
                    <a:pt x="341" y="119"/>
                  </a:cubicBezTo>
                  <a:cubicBezTo>
                    <a:pt x="341" y="118"/>
                    <a:pt x="341" y="117"/>
                    <a:pt x="341" y="116"/>
                  </a:cubicBezTo>
                  <a:cubicBezTo>
                    <a:pt x="342" y="116"/>
                    <a:pt x="342" y="115"/>
                    <a:pt x="343" y="113"/>
                  </a:cubicBezTo>
                  <a:cubicBezTo>
                    <a:pt x="343" y="113"/>
                    <a:pt x="345" y="111"/>
                    <a:pt x="346" y="109"/>
                  </a:cubicBezTo>
                  <a:cubicBezTo>
                    <a:pt x="343" y="110"/>
                    <a:pt x="343" y="110"/>
                    <a:pt x="343" y="110"/>
                  </a:cubicBezTo>
                  <a:cubicBezTo>
                    <a:pt x="343" y="106"/>
                    <a:pt x="343" y="106"/>
                    <a:pt x="343" y="106"/>
                  </a:cubicBezTo>
                  <a:cubicBezTo>
                    <a:pt x="344" y="101"/>
                    <a:pt x="343" y="96"/>
                    <a:pt x="343" y="95"/>
                  </a:cubicBezTo>
                  <a:cubicBezTo>
                    <a:pt x="342" y="95"/>
                    <a:pt x="342" y="95"/>
                    <a:pt x="342" y="95"/>
                  </a:cubicBezTo>
                  <a:cubicBezTo>
                    <a:pt x="342" y="94"/>
                    <a:pt x="342" y="94"/>
                    <a:pt x="342" y="94"/>
                  </a:cubicBezTo>
                  <a:cubicBezTo>
                    <a:pt x="341" y="92"/>
                    <a:pt x="340" y="90"/>
                    <a:pt x="339" y="87"/>
                  </a:cubicBezTo>
                  <a:cubicBezTo>
                    <a:pt x="338" y="86"/>
                    <a:pt x="338" y="85"/>
                    <a:pt x="337" y="83"/>
                  </a:cubicBezTo>
                  <a:cubicBezTo>
                    <a:pt x="336" y="78"/>
                    <a:pt x="336" y="78"/>
                    <a:pt x="336" y="78"/>
                  </a:cubicBezTo>
                  <a:cubicBezTo>
                    <a:pt x="339" y="74"/>
                    <a:pt x="339" y="74"/>
                    <a:pt x="339" y="74"/>
                  </a:cubicBezTo>
                  <a:cubicBezTo>
                    <a:pt x="340" y="74"/>
                    <a:pt x="340" y="74"/>
                    <a:pt x="340" y="74"/>
                  </a:cubicBezTo>
                  <a:cubicBezTo>
                    <a:pt x="343" y="74"/>
                    <a:pt x="345" y="74"/>
                    <a:pt x="346" y="74"/>
                  </a:cubicBezTo>
                  <a:cubicBezTo>
                    <a:pt x="346" y="73"/>
                    <a:pt x="347" y="72"/>
                    <a:pt x="346" y="71"/>
                  </a:cubicBezTo>
                  <a:cubicBezTo>
                    <a:pt x="346" y="69"/>
                    <a:pt x="346" y="66"/>
                    <a:pt x="349" y="65"/>
                  </a:cubicBezTo>
                  <a:cubicBezTo>
                    <a:pt x="346" y="62"/>
                    <a:pt x="346" y="62"/>
                    <a:pt x="342" y="62"/>
                  </a:cubicBezTo>
                  <a:cubicBezTo>
                    <a:pt x="340" y="62"/>
                    <a:pt x="339" y="62"/>
                    <a:pt x="337" y="61"/>
                  </a:cubicBezTo>
                  <a:cubicBezTo>
                    <a:pt x="337" y="61"/>
                    <a:pt x="337" y="61"/>
                    <a:pt x="337" y="61"/>
                  </a:cubicBezTo>
                  <a:cubicBezTo>
                    <a:pt x="337" y="61"/>
                    <a:pt x="337" y="61"/>
                    <a:pt x="336" y="61"/>
                  </a:cubicBezTo>
                  <a:cubicBezTo>
                    <a:pt x="334" y="61"/>
                    <a:pt x="332" y="60"/>
                    <a:pt x="330" y="59"/>
                  </a:cubicBezTo>
                  <a:cubicBezTo>
                    <a:pt x="329" y="59"/>
                    <a:pt x="329" y="59"/>
                    <a:pt x="329" y="59"/>
                  </a:cubicBezTo>
                  <a:cubicBezTo>
                    <a:pt x="328" y="58"/>
                    <a:pt x="327" y="58"/>
                    <a:pt x="327" y="57"/>
                  </a:cubicBezTo>
                  <a:cubicBezTo>
                    <a:pt x="326" y="55"/>
                    <a:pt x="327" y="54"/>
                    <a:pt x="327" y="53"/>
                  </a:cubicBezTo>
                  <a:cubicBezTo>
                    <a:pt x="327" y="53"/>
                    <a:pt x="327" y="53"/>
                    <a:pt x="327" y="53"/>
                  </a:cubicBezTo>
                  <a:cubicBezTo>
                    <a:pt x="327" y="52"/>
                    <a:pt x="327" y="52"/>
                    <a:pt x="326" y="51"/>
                  </a:cubicBezTo>
                  <a:cubicBezTo>
                    <a:pt x="324" y="47"/>
                    <a:pt x="324" y="46"/>
                    <a:pt x="324" y="45"/>
                  </a:cubicBezTo>
                  <a:cubicBezTo>
                    <a:pt x="324" y="44"/>
                    <a:pt x="326" y="42"/>
                    <a:pt x="326" y="42"/>
                  </a:cubicBezTo>
                  <a:cubicBezTo>
                    <a:pt x="327" y="41"/>
                    <a:pt x="327" y="41"/>
                    <a:pt x="327" y="41"/>
                  </a:cubicBezTo>
                  <a:cubicBezTo>
                    <a:pt x="327" y="41"/>
                    <a:pt x="327" y="41"/>
                    <a:pt x="327" y="41"/>
                  </a:cubicBezTo>
                  <a:cubicBezTo>
                    <a:pt x="327" y="41"/>
                    <a:pt x="327" y="41"/>
                    <a:pt x="327" y="41"/>
                  </a:cubicBezTo>
                  <a:cubicBezTo>
                    <a:pt x="327" y="39"/>
                    <a:pt x="327" y="39"/>
                    <a:pt x="327" y="39"/>
                  </a:cubicBezTo>
                  <a:cubicBezTo>
                    <a:pt x="327" y="38"/>
                    <a:pt x="327" y="38"/>
                    <a:pt x="327" y="37"/>
                  </a:cubicBezTo>
                  <a:cubicBezTo>
                    <a:pt x="327" y="36"/>
                    <a:pt x="327" y="36"/>
                    <a:pt x="327" y="36"/>
                  </a:cubicBezTo>
                  <a:cubicBezTo>
                    <a:pt x="327" y="36"/>
                    <a:pt x="327" y="35"/>
                    <a:pt x="327" y="35"/>
                  </a:cubicBezTo>
                  <a:cubicBezTo>
                    <a:pt x="326" y="34"/>
                    <a:pt x="326" y="34"/>
                    <a:pt x="326" y="34"/>
                  </a:cubicBezTo>
                  <a:cubicBezTo>
                    <a:pt x="326" y="34"/>
                    <a:pt x="326" y="34"/>
                    <a:pt x="326" y="34"/>
                  </a:cubicBezTo>
                  <a:cubicBezTo>
                    <a:pt x="326" y="34"/>
                    <a:pt x="326" y="34"/>
                    <a:pt x="326" y="34"/>
                  </a:cubicBezTo>
                  <a:cubicBezTo>
                    <a:pt x="326" y="33"/>
                    <a:pt x="325" y="32"/>
                    <a:pt x="325" y="32"/>
                  </a:cubicBezTo>
                  <a:cubicBezTo>
                    <a:pt x="318" y="25"/>
                    <a:pt x="318" y="25"/>
                    <a:pt x="318" y="25"/>
                  </a:cubicBezTo>
                  <a:cubicBezTo>
                    <a:pt x="318" y="25"/>
                    <a:pt x="318" y="25"/>
                    <a:pt x="318" y="25"/>
                  </a:cubicBezTo>
                  <a:cubicBezTo>
                    <a:pt x="317" y="24"/>
                    <a:pt x="315" y="23"/>
                    <a:pt x="314" y="22"/>
                  </a:cubicBezTo>
                  <a:cubicBezTo>
                    <a:pt x="313" y="22"/>
                    <a:pt x="313" y="22"/>
                    <a:pt x="313" y="22"/>
                  </a:cubicBezTo>
                  <a:cubicBezTo>
                    <a:pt x="313" y="22"/>
                    <a:pt x="313" y="22"/>
                    <a:pt x="313" y="22"/>
                  </a:cubicBezTo>
                  <a:cubicBezTo>
                    <a:pt x="313" y="21"/>
                    <a:pt x="312" y="21"/>
                    <a:pt x="312" y="20"/>
                  </a:cubicBezTo>
                  <a:cubicBezTo>
                    <a:pt x="311" y="20"/>
                    <a:pt x="311" y="20"/>
                    <a:pt x="311" y="19"/>
                  </a:cubicBezTo>
                  <a:cubicBezTo>
                    <a:pt x="310" y="19"/>
                    <a:pt x="310" y="19"/>
                    <a:pt x="310" y="19"/>
                  </a:cubicBezTo>
                  <a:cubicBezTo>
                    <a:pt x="309" y="18"/>
                    <a:pt x="309" y="18"/>
                    <a:pt x="309" y="18"/>
                  </a:cubicBezTo>
                  <a:cubicBezTo>
                    <a:pt x="308" y="17"/>
                    <a:pt x="307" y="16"/>
                    <a:pt x="306" y="16"/>
                  </a:cubicBezTo>
                  <a:cubicBezTo>
                    <a:pt x="305" y="16"/>
                    <a:pt x="305" y="16"/>
                    <a:pt x="305" y="16"/>
                  </a:cubicBezTo>
                  <a:cubicBezTo>
                    <a:pt x="305" y="16"/>
                    <a:pt x="305" y="16"/>
                    <a:pt x="304" y="18"/>
                  </a:cubicBezTo>
                  <a:cubicBezTo>
                    <a:pt x="304" y="21"/>
                    <a:pt x="304" y="21"/>
                    <a:pt x="304" y="21"/>
                  </a:cubicBezTo>
                  <a:cubicBezTo>
                    <a:pt x="301" y="20"/>
                    <a:pt x="301" y="20"/>
                    <a:pt x="301" y="20"/>
                  </a:cubicBezTo>
                  <a:cubicBezTo>
                    <a:pt x="298" y="20"/>
                    <a:pt x="295" y="19"/>
                    <a:pt x="292" y="19"/>
                  </a:cubicBezTo>
                  <a:cubicBezTo>
                    <a:pt x="289" y="19"/>
                    <a:pt x="289" y="19"/>
                    <a:pt x="289" y="19"/>
                  </a:cubicBezTo>
                  <a:cubicBezTo>
                    <a:pt x="289" y="19"/>
                    <a:pt x="289" y="19"/>
                    <a:pt x="288" y="19"/>
                  </a:cubicBezTo>
                  <a:cubicBezTo>
                    <a:pt x="287" y="19"/>
                    <a:pt x="287" y="19"/>
                    <a:pt x="286" y="19"/>
                  </a:cubicBezTo>
                  <a:cubicBezTo>
                    <a:pt x="285" y="19"/>
                    <a:pt x="285" y="19"/>
                    <a:pt x="285" y="19"/>
                  </a:cubicBezTo>
                  <a:cubicBezTo>
                    <a:pt x="284" y="19"/>
                    <a:pt x="283" y="19"/>
                    <a:pt x="282" y="19"/>
                  </a:cubicBezTo>
                  <a:cubicBezTo>
                    <a:pt x="281" y="19"/>
                    <a:pt x="280" y="19"/>
                    <a:pt x="278" y="19"/>
                  </a:cubicBezTo>
                  <a:cubicBezTo>
                    <a:pt x="280" y="23"/>
                    <a:pt x="280" y="23"/>
                    <a:pt x="280" y="23"/>
                  </a:cubicBezTo>
                  <a:cubicBezTo>
                    <a:pt x="277" y="19"/>
                    <a:pt x="277" y="19"/>
                    <a:pt x="277" y="19"/>
                  </a:cubicBezTo>
                  <a:cubicBezTo>
                    <a:pt x="267" y="22"/>
                    <a:pt x="267" y="22"/>
                    <a:pt x="267" y="22"/>
                  </a:cubicBezTo>
                  <a:cubicBezTo>
                    <a:pt x="266" y="23"/>
                    <a:pt x="264" y="24"/>
                    <a:pt x="263" y="24"/>
                  </a:cubicBezTo>
                  <a:cubicBezTo>
                    <a:pt x="261" y="25"/>
                    <a:pt x="259" y="25"/>
                    <a:pt x="258" y="26"/>
                  </a:cubicBezTo>
                  <a:cubicBezTo>
                    <a:pt x="255" y="28"/>
                    <a:pt x="251" y="30"/>
                    <a:pt x="248" y="31"/>
                  </a:cubicBezTo>
                  <a:cubicBezTo>
                    <a:pt x="246" y="32"/>
                    <a:pt x="244" y="32"/>
                    <a:pt x="242" y="32"/>
                  </a:cubicBezTo>
                  <a:cubicBezTo>
                    <a:pt x="242" y="32"/>
                    <a:pt x="242" y="32"/>
                    <a:pt x="242" y="32"/>
                  </a:cubicBezTo>
                  <a:cubicBezTo>
                    <a:pt x="241" y="32"/>
                    <a:pt x="241" y="32"/>
                    <a:pt x="240" y="32"/>
                  </a:cubicBezTo>
                  <a:cubicBezTo>
                    <a:pt x="240" y="32"/>
                    <a:pt x="239" y="31"/>
                    <a:pt x="239" y="31"/>
                  </a:cubicBezTo>
                  <a:cubicBezTo>
                    <a:pt x="239" y="31"/>
                    <a:pt x="238" y="31"/>
                    <a:pt x="238" y="31"/>
                  </a:cubicBezTo>
                  <a:cubicBezTo>
                    <a:pt x="238" y="31"/>
                    <a:pt x="237" y="31"/>
                    <a:pt x="237" y="31"/>
                  </a:cubicBezTo>
                  <a:cubicBezTo>
                    <a:pt x="234" y="31"/>
                    <a:pt x="230" y="30"/>
                    <a:pt x="227" y="28"/>
                  </a:cubicBezTo>
                  <a:cubicBezTo>
                    <a:pt x="226" y="28"/>
                    <a:pt x="226" y="28"/>
                    <a:pt x="225" y="28"/>
                  </a:cubicBezTo>
                  <a:cubicBezTo>
                    <a:pt x="225" y="28"/>
                    <a:pt x="224" y="28"/>
                    <a:pt x="222" y="28"/>
                  </a:cubicBezTo>
                  <a:cubicBezTo>
                    <a:pt x="222" y="29"/>
                    <a:pt x="221" y="29"/>
                    <a:pt x="221" y="29"/>
                  </a:cubicBezTo>
                  <a:cubicBezTo>
                    <a:pt x="221" y="29"/>
                    <a:pt x="220" y="29"/>
                    <a:pt x="220" y="29"/>
                  </a:cubicBezTo>
                  <a:cubicBezTo>
                    <a:pt x="220" y="29"/>
                    <a:pt x="219" y="29"/>
                    <a:pt x="219" y="29"/>
                  </a:cubicBezTo>
                  <a:cubicBezTo>
                    <a:pt x="218" y="29"/>
                    <a:pt x="218" y="29"/>
                    <a:pt x="217" y="29"/>
                  </a:cubicBezTo>
                  <a:cubicBezTo>
                    <a:pt x="212" y="30"/>
                    <a:pt x="206" y="33"/>
                    <a:pt x="200" y="33"/>
                  </a:cubicBezTo>
                  <a:cubicBezTo>
                    <a:pt x="200" y="33"/>
                    <a:pt x="200" y="33"/>
                    <a:pt x="200" y="33"/>
                  </a:cubicBezTo>
                  <a:cubicBezTo>
                    <a:pt x="193" y="33"/>
                    <a:pt x="187" y="29"/>
                    <a:pt x="181" y="29"/>
                  </a:cubicBezTo>
                  <a:cubicBezTo>
                    <a:pt x="172" y="27"/>
                    <a:pt x="168" y="25"/>
                    <a:pt x="161" y="20"/>
                  </a:cubicBezTo>
                  <a:cubicBezTo>
                    <a:pt x="161" y="20"/>
                    <a:pt x="161" y="20"/>
                    <a:pt x="161" y="20"/>
                  </a:cubicBezTo>
                  <a:cubicBezTo>
                    <a:pt x="159" y="20"/>
                    <a:pt x="153" y="23"/>
                    <a:pt x="152" y="23"/>
                  </a:cubicBezTo>
                  <a:cubicBezTo>
                    <a:pt x="152" y="23"/>
                    <a:pt x="152" y="23"/>
                    <a:pt x="152" y="23"/>
                  </a:cubicBezTo>
                  <a:cubicBezTo>
                    <a:pt x="149" y="23"/>
                    <a:pt x="145" y="19"/>
                    <a:pt x="145" y="17"/>
                  </a:cubicBezTo>
                  <a:cubicBezTo>
                    <a:pt x="143" y="14"/>
                    <a:pt x="144" y="9"/>
                    <a:pt x="140" y="9"/>
                  </a:cubicBezTo>
                  <a:cubicBezTo>
                    <a:pt x="140" y="9"/>
                    <a:pt x="139" y="9"/>
                    <a:pt x="138" y="10"/>
                  </a:cubicBezTo>
                  <a:cubicBezTo>
                    <a:pt x="136" y="10"/>
                    <a:pt x="133" y="12"/>
                    <a:pt x="130" y="12"/>
                  </a:cubicBezTo>
                  <a:cubicBezTo>
                    <a:pt x="130" y="12"/>
                    <a:pt x="129" y="11"/>
                    <a:pt x="128" y="11"/>
                  </a:cubicBezTo>
                  <a:cubicBezTo>
                    <a:pt x="125" y="11"/>
                    <a:pt x="122" y="8"/>
                    <a:pt x="120" y="5"/>
                  </a:cubicBezTo>
                  <a:cubicBezTo>
                    <a:pt x="119" y="4"/>
                    <a:pt x="119" y="0"/>
                    <a:pt x="121" y="0"/>
                  </a:cubicBezTo>
                  <a:cubicBezTo>
                    <a:pt x="121" y="0"/>
                    <a:pt x="121" y="0"/>
                    <a:pt x="122" y="0"/>
                  </a:cubicBezTo>
                  <a:cubicBezTo>
                    <a:pt x="121" y="0"/>
                    <a:pt x="12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452"/>
            <p:cNvSpPr/>
            <p:nvPr/>
          </p:nvSpPr>
          <p:spPr bwMode="auto">
            <a:xfrm>
              <a:off x="385723" y="3040837"/>
              <a:ext cx="102078" cy="115509"/>
            </a:xfrm>
            <a:custGeom>
              <a:gdLst>
                <a:gd name="T0" fmla="*/ 19 w 32"/>
                <a:gd name="T1" fmla="*/ 0 h 36"/>
                <a:gd name="T2" fmla="*/ 17 w 32"/>
                <a:gd name="T3" fmla="*/ 1 h 36"/>
                <a:gd name="T4" fmla="*/ 13 w 32"/>
                <a:gd name="T5" fmla="*/ 5 h 36"/>
                <a:gd name="T6" fmla="*/ 9 w 32"/>
                <a:gd name="T7" fmla="*/ 17 h 36"/>
                <a:gd name="T8" fmla="*/ 6 w 32"/>
                <a:gd name="T9" fmla="*/ 21 h 36"/>
                <a:gd name="T10" fmla="*/ 4 w 32"/>
                <a:gd name="T11" fmla="*/ 27 h 36"/>
                <a:gd name="T12" fmla="*/ 0 w 32"/>
                <a:gd name="T13" fmla="*/ 36 h 36"/>
                <a:gd name="T14" fmla="*/ 2 w 32"/>
                <a:gd name="T15" fmla="*/ 36 h 36"/>
                <a:gd name="T16" fmla="*/ 4 w 32"/>
                <a:gd name="T17" fmla="*/ 36 h 36"/>
                <a:gd name="T18" fmla="*/ 8 w 32"/>
                <a:gd name="T19" fmla="*/ 34 h 36"/>
                <a:gd name="T20" fmla="*/ 10 w 32"/>
                <a:gd name="T21" fmla="*/ 32 h 36"/>
                <a:gd name="T22" fmla="*/ 11 w 32"/>
                <a:gd name="T23" fmla="*/ 31 h 36"/>
                <a:gd name="T24" fmla="*/ 12 w 32"/>
                <a:gd name="T25" fmla="*/ 30 h 36"/>
                <a:gd name="T26" fmla="*/ 13 w 32"/>
                <a:gd name="T27" fmla="*/ 29 h 36"/>
                <a:gd name="T28" fmla="*/ 15 w 32"/>
                <a:gd name="T29" fmla="*/ 28 h 36"/>
                <a:gd name="T30" fmla="*/ 17 w 32"/>
                <a:gd name="T31" fmla="*/ 26 h 36"/>
                <a:gd name="T32" fmla="*/ 17 w 32"/>
                <a:gd name="T33" fmla="*/ 26 h 36"/>
                <a:gd name="T34" fmla="*/ 17 w 32"/>
                <a:gd name="T35" fmla="*/ 24 h 36"/>
                <a:gd name="T36" fmla="*/ 21 w 32"/>
                <a:gd name="T37" fmla="*/ 17 h 36"/>
                <a:gd name="T38" fmla="*/ 25 w 32"/>
                <a:gd name="T39" fmla="*/ 15 h 36"/>
                <a:gd name="T40" fmla="*/ 31 w 32"/>
                <a:gd name="T41" fmla="*/ 8 h 36"/>
                <a:gd name="T42" fmla="*/ 32 w 32"/>
                <a:gd name="T43" fmla="*/ 8 h 36"/>
                <a:gd name="T44" fmla="*/ 31 w 32"/>
                <a:gd name="T45" fmla="*/ 7 h 36"/>
                <a:gd name="T46" fmla="*/ 30 w 32"/>
                <a:gd name="T47" fmla="*/ 6 h 36"/>
                <a:gd name="T48" fmla="*/ 28 w 32"/>
                <a:gd name="T49" fmla="*/ 4 h 36"/>
                <a:gd name="T50" fmla="*/ 24 w 32"/>
                <a:gd name="T51" fmla="*/ 2 h 36"/>
                <a:gd name="T52" fmla="*/ 26 w 32"/>
                <a:gd name="T53" fmla="*/ 0 h 36"/>
                <a:gd name="T54" fmla="*/ 23 w 32"/>
                <a:gd name="T55" fmla="*/ 0 h 36"/>
                <a:gd name="T56" fmla="*/ 19 w 32"/>
                <a:gd name="T57"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36">
                  <a:moveTo>
                    <a:pt x="19" y="0"/>
                  </a:moveTo>
                  <a:cubicBezTo>
                    <a:pt x="18" y="0"/>
                    <a:pt x="18" y="1"/>
                    <a:pt x="17" y="1"/>
                  </a:cubicBezTo>
                  <a:cubicBezTo>
                    <a:pt x="16" y="3"/>
                    <a:pt x="14" y="4"/>
                    <a:pt x="13" y="5"/>
                  </a:cubicBezTo>
                  <a:cubicBezTo>
                    <a:pt x="11" y="9"/>
                    <a:pt x="11" y="13"/>
                    <a:pt x="9" y="17"/>
                  </a:cubicBezTo>
                  <a:cubicBezTo>
                    <a:pt x="8" y="19"/>
                    <a:pt x="7" y="19"/>
                    <a:pt x="6" y="21"/>
                  </a:cubicBezTo>
                  <a:cubicBezTo>
                    <a:pt x="6" y="23"/>
                    <a:pt x="5" y="25"/>
                    <a:pt x="4" y="27"/>
                  </a:cubicBezTo>
                  <a:cubicBezTo>
                    <a:pt x="3" y="30"/>
                    <a:pt x="1" y="33"/>
                    <a:pt x="0" y="36"/>
                  </a:cubicBezTo>
                  <a:cubicBezTo>
                    <a:pt x="2" y="36"/>
                    <a:pt x="2" y="36"/>
                    <a:pt x="2" y="36"/>
                  </a:cubicBezTo>
                  <a:cubicBezTo>
                    <a:pt x="3" y="36"/>
                    <a:pt x="4" y="36"/>
                    <a:pt x="4" y="36"/>
                  </a:cubicBezTo>
                  <a:cubicBezTo>
                    <a:pt x="6" y="36"/>
                    <a:pt x="6" y="36"/>
                    <a:pt x="8" y="34"/>
                  </a:cubicBezTo>
                  <a:cubicBezTo>
                    <a:pt x="10" y="32"/>
                    <a:pt x="10" y="32"/>
                    <a:pt x="10" y="32"/>
                  </a:cubicBezTo>
                  <a:cubicBezTo>
                    <a:pt x="10" y="32"/>
                    <a:pt x="10" y="31"/>
                    <a:pt x="11" y="31"/>
                  </a:cubicBezTo>
                  <a:cubicBezTo>
                    <a:pt x="12" y="30"/>
                    <a:pt x="12" y="30"/>
                    <a:pt x="12" y="30"/>
                  </a:cubicBezTo>
                  <a:cubicBezTo>
                    <a:pt x="13" y="29"/>
                    <a:pt x="13" y="29"/>
                    <a:pt x="13" y="29"/>
                  </a:cubicBezTo>
                  <a:cubicBezTo>
                    <a:pt x="14" y="29"/>
                    <a:pt x="14" y="29"/>
                    <a:pt x="15" y="28"/>
                  </a:cubicBezTo>
                  <a:cubicBezTo>
                    <a:pt x="16" y="27"/>
                    <a:pt x="17" y="27"/>
                    <a:pt x="17" y="26"/>
                  </a:cubicBezTo>
                  <a:cubicBezTo>
                    <a:pt x="17" y="26"/>
                    <a:pt x="17" y="26"/>
                    <a:pt x="17" y="26"/>
                  </a:cubicBezTo>
                  <a:cubicBezTo>
                    <a:pt x="17" y="25"/>
                    <a:pt x="17" y="25"/>
                    <a:pt x="17" y="24"/>
                  </a:cubicBezTo>
                  <a:cubicBezTo>
                    <a:pt x="16" y="21"/>
                    <a:pt x="18" y="18"/>
                    <a:pt x="21" y="17"/>
                  </a:cubicBezTo>
                  <a:cubicBezTo>
                    <a:pt x="22" y="16"/>
                    <a:pt x="23" y="15"/>
                    <a:pt x="25" y="15"/>
                  </a:cubicBezTo>
                  <a:cubicBezTo>
                    <a:pt x="26" y="12"/>
                    <a:pt x="29" y="10"/>
                    <a:pt x="31" y="8"/>
                  </a:cubicBezTo>
                  <a:cubicBezTo>
                    <a:pt x="32" y="8"/>
                    <a:pt x="32" y="8"/>
                    <a:pt x="32" y="8"/>
                  </a:cubicBezTo>
                  <a:cubicBezTo>
                    <a:pt x="31" y="7"/>
                    <a:pt x="31" y="7"/>
                    <a:pt x="31" y="7"/>
                  </a:cubicBezTo>
                  <a:cubicBezTo>
                    <a:pt x="31" y="7"/>
                    <a:pt x="31" y="6"/>
                    <a:pt x="30" y="6"/>
                  </a:cubicBezTo>
                  <a:cubicBezTo>
                    <a:pt x="30" y="4"/>
                    <a:pt x="30" y="4"/>
                    <a:pt x="28" y="4"/>
                  </a:cubicBezTo>
                  <a:cubicBezTo>
                    <a:pt x="24" y="2"/>
                    <a:pt x="24" y="2"/>
                    <a:pt x="24" y="2"/>
                  </a:cubicBezTo>
                  <a:cubicBezTo>
                    <a:pt x="26" y="0"/>
                    <a:pt x="26" y="0"/>
                    <a:pt x="26" y="0"/>
                  </a:cubicBezTo>
                  <a:cubicBezTo>
                    <a:pt x="24" y="0"/>
                    <a:pt x="24" y="0"/>
                    <a:pt x="23" y="0"/>
                  </a:cubicBezTo>
                  <a:cubicBezTo>
                    <a:pt x="22" y="0"/>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453"/>
            <p:cNvSpPr/>
            <p:nvPr/>
          </p:nvSpPr>
          <p:spPr bwMode="auto">
            <a:xfrm>
              <a:off x="1051913" y="2437773"/>
              <a:ext cx="209528" cy="204155"/>
            </a:xfrm>
            <a:custGeom>
              <a:gdLst>
                <a:gd name="T0" fmla="*/ 31 w 66"/>
                <a:gd name="T1" fmla="*/ 0 h 64"/>
                <a:gd name="T2" fmla="*/ 28 w 66"/>
                <a:gd name="T3" fmla="*/ 1 h 64"/>
                <a:gd name="T4" fmla="*/ 25 w 66"/>
                <a:gd name="T5" fmla="*/ 2 h 64"/>
                <a:gd name="T6" fmla="*/ 22 w 66"/>
                <a:gd name="T7" fmla="*/ 2 h 64"/>
                <a:gd name="T8" fmla="*/ 14 w 66"/>
                <a:gd name="T9" fmla="*/ 2 h 64"/>
                <a:gd name="T10" fmla="*/ 1 w 66"/>
                <a:gd name="T11" fmla="*/ 6 h 64"/>
                <a:gd name="T12" fmla="*/ 1 w 66"/>
                <a:gd name="T13" fmla="*/ 7 h 64"/>
                <a:gd name="T14" fmla="*/ 1 w 66"/>
                <a:gd name="T15" fmla="*/ 8 h 64"/>
                <a:gd name="T16" fmla="*/ 2 w 66"/>
                <a:gd name="T17" fmla="*/ 11 h 64"/>
                <a:gd name="T18" fmla="*/ 2 w 66"/>
                <a:gd name="T19" fmla="*/ 13 h 64"/>
                <a:gd name="T20" fmla="*/ 2 w 66"/>
                <a:gd name="T21" fmla="*/ 19 h 64"/>
                <a:gd name="T22" fmla="*/ 0 w 66"/>
                <a:gd name="T23" fmla="*/ 21 h 64"/>
                <a:gd name="T24" fmla="*/ 2 w 66"/>
                <a:gd name="T25" fmla="*/ 26 h 64"/>
                <a:gd name="T26" fmla="*/ 6 w 66"/>
                <a:gd name="T27" fmla="*/ 30 h 64"/>
                <a:gd name="T28" fmla="*/ 7 w 66"/>
                <a:gd name="T29" fmla="*/ 30 h 64"/>
                <a:gd name="T30" fmla="*/ 23 w 66"/>
                <a:gd name="T31" fmla="*/ 36 h 64"/>
                <a:gd name="T32" fmla="*/ 29 w 66"/>
                <a:gd name="T33" fmla="*/ 39 h 64"/>
                <a:gd name="T34" fmla="*/ 34 w 66"/>
                <a:gd name="T35" fmla="*/ 38 h 64"/>
                <a:gd name="T36" fmla="*/ 39 w 66"/>
                <a:gd name="T37" fmla="*/ 42 h 64"/>
                <a:gd name="T38" fmla="*/ 40 w 66"/>
                <a:gd name="T39" fmla="*/ 43 h 64"/>
                <a:gd name="T40" fmla="*/ 43 w 66"/>
                <a:gd name="T41" fmla="*/ 45 h 64"/>
                <a:gd name="T42" fmla="*/ 44 w 66"/>
                <a:gd name="T43" fmla="*/ 45 h 64"/>
                <a:gd name="T44" fmla="*/ 51 w 66"/>
                <a:gd name="T45" fmla="*/ 43 h 64"/>
                <a:gd name="T46" fmla="*/ 53 w 66"/>
                <a:gd name="T47" fmla="*/ 50 h 64"/>
                <a:gd name="T48" fmla="*/ 55 w 66"/>
                <a:gd name="T49" fmla="*/ 52 h 64"/>
                <a:gd name="T50" fmla="*/ 58 w 66"/>
                <a:gd name="T51" fmla="*/ 54 h 64"/>
                <a:gd name="T52" fmla="*/ 63 w 66"/>
                <a:gd name="T53" fmla="*/ 64 h 64"/>
                <a:gd name="T54" fmla="*/ 65 w 66"/>
                <a:gd name="T55" fmla="*/ 64 h 64"/>
                <a:gd name="T56" fmla="*/ 66 w 66"/>
                <a:gd name="T57" fmla="*/ 64 h 64"/>
                <a:gd name="T58" fmla="*/ 65 w 66"/>
                <a:gd name="T59" fmla="*/ 61 h 64"/>
                <a:gd name="T60" fmla="*/ 64 w 66"/>
                <a:gd name="T61" fmla="*/ 59 h 64"/>
                <a:gd name="T62" fmla="*/ 64 w 66"/>
                <a:gd name="T63" fmla="*/ 52 h 64"/>
                <a:gd name="T64" fmla="*/ 46 w 66"/>
                <a:gd name="T65" fmla="*/ 39 h 64"/>
                <a:gd name="T66" fmla="*/ 46 w 66"/>
                <a:gd name="T67" fmla="*/ 32 h 64"/>
                <a:gd name="T68" fmla="*/ 51 w 66"/>
                <a:gd name="T69" fmla="*/ 31 h 64"/>
                <a:gd name="T70" fmla="*/ 51 w 66"/>
                <a:gd name="T71" fmla="*/ 30 h 64"/>
                <a:gd name="T72" fmla="*/ 49 w 66"/>
                <a:gd name="T73" fmla="*/ 27 h 64"/>
                <a:gd name="T74" fmla="*/ 44 w 66"/>
                <a:gd name="T75" fmla="*/ 23 h 64"/>
                <a:gd name="T76" fmla="*/ 42 w 66"/>
                <a:gd name="T77" fmla="*/ 11 h 64"/>
                <a:gd name="T78" fmla="*/ 43 w 66"/>
                <a:gd name="T79" fmla="*/ 10 h 64"/>
                <a:gd name="T80" fmla="*/ 41 w 66"/>
                <a:gd name="T81" fmla="*/ 8 h 64"/>
                <a:gd name="T82" fmla="*/ 35 w 66"/>
                <a:gd name="T83" fmla="*/ 7 h 64"/>
                <a:gd name="T84" fmla="*/ 26 w 66"/>
                <a:gd name="T85" fmla="*/ 9 h 64"/>
                <a:gd name="T86" fmla="*/ 33 w 66"/>
                <a:gd name="T87" fmla="*/ 1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64">
                  <a:moveTo>
                    <a:pt x="32" y="0"/>
                  </a:moveTo>
                  <a:cubicBezTo>
                    <a:pt x="31" y="0"/>
                    <a:pt x="31" y="0"/>
                    <a:pt x="31" y="0"/>
                  </a:cubicBezTo>
                  <a:cubicBezTo>
                    <a:pt x="31" y="1"/>
                    <a:pt x="31" y="1"/>
                    <a:pt x="31" y="1"/>
                  </a:cubicBezTo>
                  <a:cubicBezTo>
                    <a:pt x="30" y="1"/>
                    <a:pt x="29" y="1"/>
                    <a:pt x="28" y="1"/>
                  </a:cubicBezTo>
                  <a:cubicBezTo>
                    <a:pt x="27" y="2"/>
                    <a:pt x="27" y="2"/>
                    <a:pt x="27" y="2"/>
                  </a:cubicBezTo>
                  <a:cubicBezTo>
                    <a:pt x="26" y="2"/>
                    <a:pt x="26" y="2"/>
                    <a:pt x="25" y="2"/>
                  </a:cubicBezTo>
                  <a:cubicBezTo>
                    <a:pt x="24" y="2"/>
                    <a:pt x="24" y="2"/>
                    <a:pt x="24" y="2"/>
                  </a:cubicBezTo>
                  <a:cubicBezTo>
                    <a:pt x="23" y="2"/>
                    <a:pt x="22" y="2"/>
                    <a:pt x="22" y="2"/>
                  </a:cubicBezTo>
                  <a:cubicBezTo>
                    <a:pt x="20" y="2"/>
                    <a:pt x="19" y="2"/>
                    <a:pt x="18" y="2"/>
                  </a:cubicBezTo>
                  <a:cubicBezTo>
                    <a:pt x="17" y="2"/>
                    <a:pt x="16" y="2"/>
                    <a:pt x="14" y="2"/>
                  </a:cubicBezTo>
                  <a:cubicBezTo>
                    <a:pt x="9" y="3"/>
                    <a:pt x="4" y="4"/>
                    <a:pt x="0" y="4"/>
                  </a:cubicBezTo>
                  <a:cubicBezTo>
                    <a:pt x="0" y="5"/>
                    <a:pt x="0" y="5"/>
                    <a:pt x="1" y="6"/>
                  </a:cubicBezTo>
                  <a:cubicBezTo>
                    <a:pt x="1" y="6"/>
                    <a:pt x="1" y="6"/>
                    <a:pt x="1" y="6"/>
                  </a:cubicBezTo>
                  <a:cubicBezTo>
                    <a:pt x="1" y="7"/>
                    <a:pt x="1" y="7"/>
                    <a:pt x="1" y="7"/>
                  </a:cubicBezTo>
                  <a:cubicBezTo>
                    <a:pt x="6" y="6"/>
                    <a:pt x="6" y="6"/>
                    <a:pt x="6" y="6"/>
                  </a:cubicBezTo>
                  <a:cubicBezTo>
                    <a:pt x="1" y="8"/>
                    <a:pt x="1" y="8"/>
                    <a:pt x="1" y="8"/>
                  </a:cubicBezTo>
                  <a:cubicBezTo>
                    <a:pt x="2" y="9"/>
                    <a:pt x="2" y="9"/>
                    <a:pt x="2" y="9"/>
                  </a:cubicBezTo>
                  <a:cubicBezTo>
                    <a:pt x="2" y="9"/>
                    <a:pt x="2" y="10"/>
                    <a:pt x="2" y="11"/>
                  </a:cubicBezTo>
                  <a:cubicBezTo>
                    <a:pt x="2" y="11"/>
                    <a:pt x="2" y="11"/>
                    <a:pt x="2" y="11"/>
                  </a:cubicBezTo>
                  <a:cubicBezTo>
                    <a:pt x="2" y="12"/>
                    <a:pt x="2" y="13"/>
                    <a:pt x="2" y="13"/>
                  </a:cubicBezTo>
                  <a:cubicBezTo>
                    <a:pt x="3" y="17"/>
                    <a:pt x="3" y="17"/>
                    <a:pt x="3" y="17"/>
                  </a:cubicBezTo>
                  <a:cubicBezTo>
                    <a:pt x="3" y="18"/>
                    <a:pt x="2" y="19"/>
                    <a:pt x="2" y="19"/>
                  </a:cubicBezTo>
                  <a:cubicBezTo>
                    <a:pt x="1" y="20"/>
                    <a:pt x="0" y="21"/>
                    <a:pt x="0" y="21"/>
                  </a:cubicBezTo>
                  <a:cubicBezTo>
                    <a:pt x="0" y="21"/>
                    <a:pt x="0" y="21"/>
                    <a:pt x="0" y="21"/>
                  </a:cubicBezTo>
                  <a:cubicBezTo>
                    <a:pt x="0" y="22"/>
                    <a:pt x="0" y="23"/>
                    <a:pt x="1" y="23"/>
                  </a:cubicBezTo>
                  <a:cubicBezTo>
                    <a:pt x="2" y="25"/>
                    <a:pt x="2" y="26"/>
                    <a:pt x="2" y="26"/>
                  </a:cubicBezTo>
                  <a:cubicBezTo>
                    <a:pt x="3" y="27"/>
                    <a:pt x="2" y="28"/>
                    <a:pt x="2" y="29"/>
                  </a:cubicBezTo>
                  <a:cubicBezTo>
                    <a:pt x="3" y="30"/>
                    <a:pt x="4" y="30"/>
                    <a:pt x="6" y="30"/>
                  </a:cubicBezTo>
                  <a:cubicBezTo>
                    <a:pt x="6" y="30"/>
                    <a:pt x="6" y="30"/>
                    <a:pt x="7" y="30"/>
                  </a:cubicBezTo>
                  <a:cubicBezTo>
                    <a:pt x="7" y="30"/>
                    <a:pt x="7" y="30"/>
                    <a:pt x="7" y="30"/>
                  </a:cubicBezTo>
                  <a:cubicBezTo>
                    <a:pt x="9" y="31"/>
                    <a:pt x="10" y="31"/>
                    <a:pt x="11" y="31"/>
                  </a:cubicBezTo>
                  <a:cubicBezTo>
                    <a:pt x="17" y="31"/>
                    <a:pt x="18" y="32"/>
                    <a:pt x="23" y="36"/>
                  </a:cubicBezTo>
                  <a:cubicBezTo>
                    <a:pt x="27" y="40"/>
                    <a:pt x="27" y="40"/>
                    <a:pt x="27" y="40"/>
                  </a:cubicBezTo>
                  <a:cubicBezTo>
                    <a:pt x="28" y="40"/>
                    <a:pt x="28" y="39"/>
                    <a:pt x="29" y="39"/>
                  </a:cubicBezTo>
                  <a:cubicBezTo>
                    <a:pt x="30" y="39"/>
                    <a:pt x="32" y="38"/>
                    <a:pt x="33" y="38"/>
                  </a:cubicBezTo>
                  <a:cubicBezTo>
                    <a:pt x="34" y="38"/>
                    <a:pt x="34" y="38"/>
                    <a:pt x="34" y="38"/>
                  </a:cubicBezTo>
                  <a:cubicBezTo>
                    <a:pt x="36" y="40"/>
                    <a:pt x="36" y="40"/>
                    <a:pt x="36" y="40"/>
                  </a:cubicBezTo>
                  <a:cubicBezTo>
                    <a:pt x="37" y="40"/>
                    <a:pt x="38" y="41"/>
                    <a:pt x="39" y="42"/>
                  </a:cubicBezTo>
                  <a:cubicBezTo>
                    <a:pt x="39" y="42"/>
                    <a:pt x="39" y="42"/>
                    <a:pt x="39" y="42"/>
                  </a:cubicBezTo>
                  <a:cubicBezTo>
                    <a:pt x="40" y="43"/>
                    <a:pt x="40" y="43"/>
                    <a:pt x="40" y="43"/>
                  </a:cubicBezTo>
                  <a:cubicBezTo>
                    <a:pt x="41" y="44"/>
                    <a:pt x="41" y="44"/>
                    <a:pt x="42" y="45"/>
                  </a:cubicBezTo>
                  <a:cubicBezTo>
                    <a:pt x="42" y="45"/>
                    <a:pt x="43" y="45"/>
                    <a:pt x="43" y="45"/>
                  </a:cubicBezTo>
                  <a:cubicBezTo>
                    <a:pt x="44" y="45"/>
                    <a:pt x="44" y="45"/>
                    <a:pt x="44" y="45"/>
                  </a:cubicBezTo>
                  <a:cubicBezTo>
                    <a:pt x="44" y="45"/>
                    <a:pt x="44" y="45"/>
                    <a:pt x="44" y="45"/>
                  </a:cubicBezTo>
                  <a:cubicBezTo>
                    <a:pt x="44" y="45"/>
                    <a:pt x="46" y="45"/>
                    <a:pt x="47" y="45"/>
                  </a:cubicBezTo>
                  <a:cubicBezTo>
                    <a:pt x="51" y="43"/>
                    <a:pt x="51" y="43"/>
                    <a:pt x="51" y="43"/>
                  </a:cubicBezTo>
                  <a:cubicBezTo>
                    <a:pt x="52" y="46"/>
                    <a:pt x="52" y="46"/>
                    <a:pt x="52" y="46"/>
                  </a:cubicBezTo>
                  <a:cubicBezTo>
                    <a:pt x="52" y="47"/>
                    <a:pt x="53" y="48"/>
                    <a:pt x="53" y="50"/>
                  </a:cubicBezTo>
                  <a:cubicBezTo>
                    <a:pt x="53" y="50"/>
                    <a:pt x="53" y="50"/>
                    <a:pt x="53" y="50"/>
                  </a:cubicBezTo>
                  <a:cubicBezTo>
                    <a:pt x="54" y="51"/>
                    <a:pt x="54" y="51"/>
                    <a:pt x="55" y="52"/>
                  </a:cubicBezTo>
                  <a:cubicBezTo>
                    <a:pt x="55" y="52"/>
                    <a:pt x="55" y="52"/>
                    <a:pt x="55" y="52"/>
                  </a:cubicBezTo>
                  <a:cubicBezTo>
                    <a:pt x="56" y="52"/>
                    <a:pt x="57" y="53"/>
                    <a:pt x="58" y="54"/>
                  </a:cubicBezTo>
                  <a:cubicBezTo>
                    <a:pt x="60" y="56"/>
                    <a:pt x="61" y="60"/>
                    <a:pt x="62" y="63"/>
                  </a:cubicBezTo>
                  <a:cubicBezTo>
                    <a:pt x="63" y="64"/>
                    <a:pt x="63" y="64"/>
                    <a:pt x="63" y="64"/>
                  </a:cubicBezTo>
                  <a:cubicBezTo>
                    <a:pt x="63" y="64"/>
                    <a:pt x="63" y="64"/>
                    <a:pt x="63" y="64"/>
                  </a:cubicBezTo>
                  <a:cubicBezTo>
                    <a:pt x="64" y="64"/>
                    <a:pt x="64" y="64"/>
                    <a:pt x="65" y="64"/>
                  </a:cubicBezTo>
                  <a:cubicBezTo>
                    <a:pt x="66" y="64"/>
                    <a:pt x="66" y="64"/>
                    <a:pt x="66" y="64"/>
                  </a:cubicBezTo>
                  <a:cubicBezTo>
                    <a:pt x="66" y="64"/>
                    <a:pt x="66" y="64"/>
                    <a:pt x="66" y="64"/>
                  </a:cubicBezTo>
                  <a:cubicBezTo>
                    <a:pt x="66" y="63"/>
                    <a:pt x="66" y="62"/>
                    <a:pt x="66" y="62"/>
                  </a:cubicBezTo>
                  <a:cubicBezTo>
                    <a:pt x="65" y="61"/>
                    <a:pt x="65" y="61"/>
                    <a:pt x="65" y="61"/>
                  </a:cubicBezTo>
                  <a:cubicBezTo>
                    <a:pt x="64" y="61"/>
                    <a:pt x="64" y="61"/>
                    <a:pt x="64" y="61"/>
                  </a:cubicBezTo>
                  <a:cubicBezTo>
                    <a:pt x="64" y="59"/>
                    <a:pt x="64" y="59"/>
                    <a:pt x="64" y="59"/>
                  </a:cubicBezTo>
                  <a:cubicBezTo>
                    <a:pt x="64" y="58"/>
                    <a:pt x="64" y="56"/>
                    <a:pt x="65" y="56"/>
                  </a:cubicBezTo>
                  <a:cubicBezTo>
                    <a:pt x="64" y="55"/>
                    <a:pt x="64" y="54"/>
                    <a:pt x="64" y="52"/>
                  </a:cubicBezTo>
                  <a:cubicBezTo>
                    <a:pt x="64" y="51"/>
                    <a:pt x="64" y="51"/>
                    <a:pt x="64" y="50"/>
                  </a:cubicBezTo>
                  <a:cubicBezTo>
                    <a:pt x="58" y="46"/>
                    <a:pt x="52" y="42"/>
                    <a:pt x="46" y="39"/>
                  </a:cubicBezTo>
                  <a:cubicBezTo>
                    <a:pt x="39" y="34"/>
                    <a:pt x="39" y="34"/>
                    <a:pt x="39" y="34"/>
                  </a:cubicBezTo>
                  <a:cubicBezTo>
                    <a:pt x="46" y="32"/>
                    <a:pt x="46" y="32"/>
                    <a:pt x="46" y="32"/>
                  </a:cubicBezTo>
                  <a:cubicBezTo>
                    <a:pt x="46" y="32"/>
                    <a:pt x="47" y="32"/>
                    <a:pt x="48" y="32"/>
                  </a:cubicBezTo>
                  <a:cubicBezTo>
                    <a:pt x="49" y="32"/>
                    <a:pt x="50" y="31"/>
                    <a:pt x="51" y="31"/>
                  </a:cubicBezTo>
                  <a:cubicBezTo>
                    <a:pt x="51" y="31"/>
                    <a:pt x="51" y="31"/>
                    <a:pt x="51" y="31"/>
                  </a:cubicBezTo>
                  <a:cubicBezTo>
                    <a:pt x="51" y="30"/>
                    <a:pt x="51" y="30"/>
                    <a:pt x="51" y="30"/>
                  </a:cubicBezTo>
                  <a:cubicBezTo>
                    <a:pt x="51" y="30"/>
                    <a:pt x="51" y="29"/>
                    <a:pt x="51" y="28"/>
                  </a:cubicBezTo>
                  <a:cubicBezTo>
                    <a:pt x="50" y="28"/>
                    <a:pt x="49" y="27"/>
                    <a:pt x="49" y="27"/>
                  </a:cubicBezTo>
                  <a:cubicBezTo>
                    <a:pt x="46" y="24"/>
                    <a:pt x="46" y="24"/>
                    <a:pt x="46" y="24"/>
                  </a:cubicBezTo>
                  <a:cubicBezTo>
                    <a:pt x="46" y="24"/>
                    <a:pt x="45" y="24"/>
                    <a:pt x="44" y="23"/>
                  </a:cubicBezTo>
                  <a:cubicBezTo>
                    <a:pt x="42" y="21"/>
                    <a:pt x="37" y="18"/>
                    <a:pt x="39" y="13"/>
                  </a:cubicBezTo>
                  <a:cubicBezTo>
                    <a:pt x="40" y="12"/>
                    <a:pt x="41" y="11"/>
                    <a:pt x="42" y="11"/>
                  </a:cubicBezTo>
                  <a:cubicBezTo>
                    <a:pt x="42" y="10"/>
                    <a:pt x="42" y="10"/>
                    <a:pt x="43" y="10"/>
                  </a:cubicBezTo>
                  <a:cubicBezTo>
                    <a:pt x="43" y="10"/>
                    <a:pt x="43" y="10"/>
                    <a:pt x="43" y="10"/>
                  </a:cubicBezTo>
                  <a:cubicBezTo>
                    <a:pt x="43" y="10"/>
                    <a:pt x="42" y="9"/>
                    <a:pt x="42" y="9"/>
                  </a:cubicBezTo>
                  <a:cubicBezTo>
                    <a:pt x="42" y="9"/>
                    <a:pt x="41" y="9"/>
                    <a:pt x="41" y="8"/>
                  </a:cubicBezTo>
                  <a:cubicBezTo>
                    <a:pt x="39" y="7"/>
                    <a:pt x="37" y="6"/>
                    <a:pt x="36" y="6"/>
                  </a:cubicBezTo>
                  <a:cubicBezTo>
                    <a:pt x="35" y="7"/>
                    <a:pt x="35" y="7"/>
                    <a:pt x="35" y="7"/>
                  </a:cubicBezTo>
                  <a:cubicBezTo>
                    <a:pt x="35" y="7"/>
                    <a:pt x="35" y="7"/>
                    <a:pt x="35" y="7"/>
                  </a:cubicBezTo>
                  <a:cubicBezTo>
                    <a:pt x="26" y="9"/>
                    <a:pt x="26" y="9"/>
                    <a:pt x="26" y="9"/>
                  </a:cubicBezTo>
                  <a:cubicBezTo>
                    <a:pt x="32" y="2"/>
                    <a:pt x="32" y="2"/>
                    <a:pt x="32" y="2"/>
                  </a:cubicBezTo>
                  <a:cubicBezTo>
                    <a:pt x="33" y="1"/>
                    <a:pt x="33" y="1"/>
                    <a:pt x="33" y="1"/>
                  </a:cubicBez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Rectangle 454"/>
            <p:cNvSpPr>
              <a:spLocks noChangeArrowheads="1"/>
            </p:cNvSpPr>
            <p:nvPr/>
          </p:nvSpPr>
          <p:spPr bwMode="auto">
            <a:xfrm>
              <a:off x="1265470" y="2631183"/>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455"/>
            <p:cNvSpPr/>
            <p:nvPr/>
          </p:nvSpPr>
          <p:spPr bwMode="auto">
            <a:xfrm flipH="1">
              <a:off x="1265470" y="263118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456"/>
            <p:cNvSpPr/>
            <p:nvPr/>
          </p:nvSpPr>
          <p:spPr bwMode="auto">
            <a:xfrm>
              <a:off x="1280245" y="2625811"/>
              <a:ext cx="4029" cy="5373"/>
            </a:xfrm>
            <a:custGeom>
              <a:gdLst>
                <a:gd name="T0" fmla="*/ 1 w 1"/>
                <a:gd name="T1" fmla="*/ 0 h 2"/>
                <a:gd name="T2" fmla="*/ 0 w 1"/>
                <a:gd name="T3" fmla="*/ 1 h 2"/>
                <a:gd name="T4" fmla="*/ 0 w 1"/>
                <a:gd name="T5" fmla="*/ 1 h 2"/>
                <a:gd name="T6" fmla="*/ 0 w 1"/>
                <a:gd name="T7" fmla="*/ 2 h 2"/>
                <a:gd name="T8" fmla="*/ 0 w 1"/>
                <a:gd name="T9" fmla="*/ 1 h 2"/>
                <a:gd name="T10" fmla="*/ 1 w 1"/>
                <a:gd name="T11" fmla="*/ 0 h 2"/>
              </a:gdLst>
              <a:cxnLst>
                <a:cxn ang="0">
                  <a:pos x="T0" y="T1"/>
                </a:cxn>
                <a:cxn ang="0">
                  <a:pos x="T2" y="T3"/>
                </a:cxn>
                <a:cxn ang="0">
                  <a:pos x="T4" y="T5"/>
                </a:cxn>
                <a:cxn ang="0">
                  <a:pos x="T6" y="T7"/>
                </a:cxn>
                <a:cxn ang="0">
                  <a:pos x="T8" y="T9"/>
                </a:cxn>
                <a:cxn ang="0">
                  <a:pos x="T10" y="T11"/>
                </a:cxn>
              </a:cxnLst>
              <a:rect l="0" t="0" r="r" b="b"/>
              <a:pathLst>
                <a:path w="1" h="2">
                  <a:moveTo>
                    <a:pt x="1" y="0"/>
                  </a:moveTo>
                  <a:cubicBezTo>
                    <a:pt x="0" y="1"/>
                    <a:pt x="0" y="1"/>
                    <a:pt x="0" y="1"/>
                  </a:cubicBezTo>
                  <a:cubicBezTo>
                    <a:pt x="0" y="1"/>
                    <a:pt x="0" y="1"/>
                    <a:pt x="0" y="1"/>
                  </a:cubicBezTo>
                  <a:cubicBezTo>
                    <a:pt x="0" y="2"/>
                    <a:pt x="0" y="2"/>
                    <a:pt x="0" y="2"/>
                  </a:cubicBezTo>
                  <a:cubicBezTo>
                    <a:pt x="0" y="1"/>
                    <a:pt x="0" y="1"/>
                    <a:pt x="0"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457"/>
            <p:cNvSpPr/>
            <p:nvPr/>
          </p:nvSpPr>
          <p:spPr bwMode="auto">
            <a:xfrm>
              <a:off x="1170108" y="2381362"/>
              <a:ext cx="402938" cy="300860"/>
            </a:xfrm>
            <a:custGeom>
              <a:gdLst>
                <a:gd name="T0" fmla="*/ 29 w 127"/>
                <a:gd name="T1" fmla="*/ 4 h 95"/>
                <a:gd name="T2" fmla="*/ 35 w 127"/>
                <a:gd name="T3" fmla="*/ 9 h 95"/>
                <a:gd name="T4" fmla="*/ 38 w 127"/>
                <a:gd name="T5" fmla="*/ 19 h 95"/>
                <a:gd name="T6" fmla="*/ 37 w 127"/>
                <a:gd name="T7" fmla="*/ 24 h 95"/>
                <a:gd name="T8" fmla="*/ 29 w 127"/>
                <a:gd name="T9" fmla="*/ 22 h 95"/>
                <a:gd name="T10" fmla="*/ 12 w 127"/>
                <a:gd name="T11" fmla="*/ 19 h 95"/>
                <a:gd name="T12" fmla="*/ 3 w 127"/>
                <a:gd name="T13" fmla="*/ 13 h 95"/>
                <a:gd name="T14" fmla="*/ 0 w 127"/>
                <a:gd name="T15" fmla="*/ 15 h 95"/>
                <a:gd name="T16" fmla="*/ 1 w 127"/>
                <a:gd name="T17" fmla="*/ 15 h 95"/>
                <a:gd name="T18" fmla="*/ 2 w 127"/>
                <a:gd name="T19" fmla="*/ 16 h 95"/>
                <a:gd name="T20" fmla="*/ 3 w 127"/>
                <a:gd name="T21" fmla="*/ 18 h 95"/>
                <a:gd name="T22" fmla="*/ 7 w 127"/>
                <a:gd name="T23" fmla="*/ 21 h 95"/>
                <a:gd name="T24" fmla="*/ 12 w 127"/>
                <a:gd name="T25" fmla="*/ 31 h 95"/>
                <a:gd name="T26" fmla="*/ 8 w 127"/>
                <a:gd name="T27" fmla="*/ 34 h 95"/>
                <a:gd name="T28" fmla="*/ 8 w 127"/>
                <a:gd name="T29" fmla="*/ 34 h 95"/>
                <a:gd name="T30" fmla="*/ 13 w 127"/>
                <a:gd name="T31" fmla="*/ 38 h 95"/>
                <a:gd name="T32" fmla="*/ 18 w 127"/>
                <a:gd name="T33" fmla="*/ 42 h 95"/>
                <a:gd name="T34" fmla="*/ 20 w 127"/>
                <a:gd name="T35" fmla="*/ 49 h 95"/>
                <a:gd name="T36" fmla="*/ 34 w 127"/>
                <a:gd name="T37" fmla="*/ 65 h 95"/>
                <a:gd name="T38" fmla="*/ 34 w 127"/>
                <a:gd name="T39" fmla="*/ 70 h 95"/>
                <a:gd name="T40" fmla="*/ 36 w 127"/>
                <a:gd name="T41" fmla="*/ 72 h 95"/>
                <a:gd name="T42" fmla="*/ 44 w 127"/>
                <a:gd name="T43" fmla="*/ 71 h 95"/>
                <a:gd name="T44" fmla="*/ 59 w 127"/>
                <a:gd name="T45" fmla="*/ 62 h 95"/>
                <a:gd name="T46" fmla="*/ 67 w 127"/>
                <a:gd name="T47" fmla="*/ 58 h 95"/>
                <a:gd name="T48" fmla="*/ 75 w 127"/>
                <a:gd name="T49" fmla="*/ 64 h 95"/>
                <a:gd name="T50" fmla="*/ 79 w 127"/>
                <a:gd name="T51" fmla="*/ 70 h 95"/>
                <a:gd name="T52" fmla="*/ 76 w 127"/>
                <a:gd name="T53" fmla="*/ 75 h 95"/>
                <a:gd name="T54" fmla="*/ 79 w 127"/>
                <a:gd name="T55" fmla="*/ 78 h 95"/>
                <a:gd name="T56" fmla="*/ 74 w 127"/>
                <a:gd name="T57" fmla="*/ 85 h 95"/>
                <a:gd name="T58" fmla="*/ 77 w 127"/>
                <a:gd name="T59" fmla="*/ 88 h 95"/>
                <a:gd name="T60" fmla="*/ 80 w 127"/>
                <a:gd name="T61" fmla="*/ 90 h 95"/>
                <a:gd name="T62" fmla="*/ 84 w 127"/>
                <a:gd name="T63" fmla="*/ 95 h 95"/>
                <a:gd name="T64" fmla="*/ 85 w 127"/>
                <a:gd name="T65" fmla="*/ 95 h 95"/>
                <a:gd name="T66" fmla="*/ 90 w 127"/>
                <a:gd name="T67" fmla="*/ 94 h 95"/>
                <a:gd name="T68" fmla="*/ 94 w 127"/>
                <a:gd name="T69" fmla="*/ 76 h 95"/>
                <a:gd name="T70" fmla="*/ 97 w 127"/>
                <a:gd name="T71" fmla="*/ 82 h 95"/>
                <a:gd name="T72" fmla="*/ 101 w 127"/>
                <a:gd name="T73" fmla="*/ 71 h 95"/>
                <a:gd name="T74" fmla="*/ 103 w 127"/>
                <a:gd name="T75" fmla="*/ 73 h 95"/>
                <a:gd name="T76" fmla="*/ 103 w 127"/>
                <a:gd name="T77" fmla="*/ 70 h 95"/>
                <a:gd name="T78" fmla="*/ 104 w 127"/>
                <a:gd name="T79" fmla="*/ 57 h 95"/>
                <a:gd name="T80" fmla="*/ 118 w 127"/>
                <a:gd name="T81" fmla="*/ 42 h 95"/>
                <a:gd name="T82" fmla="*/ 127 w 127"/>
                <a:gd name="T83" fmla="*/ 46 h 95"/>
                <a:gd name="T84" fmla="*/ 119 w 127"/>
                <a:gd name="T85" fmla="*/ 36 h 95"/>
                <a:gd name="T86" fmla="*/ 116 w 127"/>
                <a:gd name="T87" fmla="*/ 35 h 95"/>
                <a:gd name="T88" fmla="*/ 114 w 127"/>
                <a:gd name="T89" fmla="*/ 36 h 95"/>
                <a:gd name="T90" fmla="*/ 96 w 127"/>
                <a:gd name="T91" fmla="*/ 14 h 95"/>
                <a:gd name="T92" fmla="*/ 78 w 127"/>
                <a:gd name="T93" fmla="*/ 8 h 95"/>
                <a:gd name="T94" fmla="*/ 76 w 127"/>
                <a:gd name="T95" fmla="*/ 10 h 95"/>
                <a:gd name="T96" fmla="*/ 71 w 127"/>
                <a:gd name="T97" fmla="*/ 14 h 95"/>
                <a:gd name="T98" fmla="*/ 57 w 127"/>
                <a:gd name="T99" fmla="*/ 19 h 95"/>
                <a:gd name="T100" fmla="*/ 45 w 127"/>
                <a:gd name="T101" fmla="*/ 11 h 95"/>
                <a:gd name="T102" fmla="*/ 35 w 127"/>
                <a:gd name="T103" fmla="*/ 0 h 95"/>
                <a:gd name="T104" fmla="*/ 32 w 127"/>
                <a:gd name="T105" fmla="*/ 0 h 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 h="95">
                  <a:moveTo>
                    <a:pt x="32" y="0"/>
                  </a:moveTo>
                  <a:cubicBezTo>
                    <a:pt x="29" y="4"/>
                    <a:pt x="29" y="4"/>
                    <a:pt x="29" y="4"/>
                  </a:cubicBezTo>
                  <a:cubicBezTo>
                    <a:pt x="30" y="5"/>
                    <a:pt x="31" y="6"/>
                    <a:pt x="31" y="6"/>
                  </a:cubicBezTo>
                  <a:cubicBezTo>
                    <a:pt x="32" y="7"/>
                    <a:pt x="34" y="8"/>
                    <a:pt x="35" y="9"/>
                  </a:cubicBezTo>
                  <a:cubicBezTo>
                    <a:pt x="39" y="12"/>
                    <a:pt x="38" y="16"/>
                    <a:pt x="38" y="19"/>
                  </a:cubicBezTo>
                  <a:cubicBezTo>
                    <a:pt x="38" y="19"/>
                    <a:pt x="38" y="19"/>
                    <a:pt x="38" y="19"/>
                  </a:cubicBezTo>
                  <a:cubicBezTo>
                    <a:pt x="38" y="19"/>
                    <a:pt x="38" y="20"/>
                    <a:pt x="38" y="21"/>
                  </a:cubicBezTo>
                  <a:cubicBezTo>
                    <a:pt x="37" y="24"/>
                    <a:pt x="37" y="24"/>
                    <a:pt x="37" y="24"/>
                  </a:cubicBezTo>
                  <a:cubicBezTo>
                    <a:pt x="34" y="23"/>
                    <a:pt x="34" y="23"/>
                    <a:pt x="34" y="23"/>
                  </a:cubicBezTo>
                  <a:cubicBezTo>
                    <a:pt x="32" y="23"/>
                    <a:pt x="31" y="23"/>
                    <a:pt x="29" y="22"/>
                  </a:cubicBezTo>
                  <a:cubicBezTo>
                    <a:pt x="24" y="22"/>
                    <a:pt x="19" y="21"/>
                    <a:pt x="15" y="20"/>
                  </a:cubicBezTo>
                  <a:cubicBezTo>
                    <a:pt x="14" y="19"/>
                    <a:pt x="13" y="19"/>
                    <a:pt x="12" y="19"/>
                  </a:cubicBezTo>
                  <a:cubicBezTo>
                    <a:pt x="10" y="18"/>
                    <a:pt x="9" y="17"/>
                    <a:pt x="8" y="16"/>
                  </a:cubicBezTo>
                  <a:cubicBezTo>
                    <a:pt x="6" y="15"/>
                    <a:pt x="5" y="14"/>
                    <a:pt x="3" y="13"/>
                  </a:cubicBezTo>
                  <a:cubicBezTo>
                    <a:pt x="2" y="13"/>
                    <a:pt x="2" y="13"/>
                    <a:pt x="2" y="13"/>
                  </a:cubicBezTo>
                  <a:cubicBezTo>
                    <a:pt x="0" y="15"/>
                    <a:pt x="0" y="15"/>
                    <a:pt x="0" y="15"/>
                  </a:cubicBezTo>
                  <a:cubicBezTo>
                    <a:pt x="0" y="15"/>
                    <a:pt x="0" y="15"/>
                    <a:pt x="0" y="15"/>
                  </a:cubicBezTo>
                  <a:cubicBezTo>
                    <a:pt x="1" y="15"/>
                    <a:pt x="1" y="15"/>
                    <a:pt x="1" y="15"/>
                  </a:cubicBezTo>
                  <a:cubicBezTo>
                    <a:pt x="1" y="16"/>
                    <a:pt x="1" y="16"/>
                    <a:pt x="1" y="16"/>
                  </a:cubicBezTo>
                  <a:cubicBezTo>
                    <a:pt x="2" y="16"/>
                    <a:pt x="2" y="16"/>
                    <a:pt x="2" y="16"/>
                  </a:cubicBezTo>
                  <a:cubicBezTo>
                    <a:pt x="2" y="17"/>
                    <a:pt x="2" y="17"/>
                    <a:pt x="2" y="17"/>
                  </a:cubicBezTo>
                  <a:cubicBezTo>
                    <a:pt x="3" y="18"/>
                    <a:pt x="3" y="18"/>
                    <a:pt x="3" y="18"/>
                  </a:cubicBezTo>
                  <a:cubicBezTo>
                    <a:pt x="3" y="18"/>
                    <a:pt x="3" y="19"/>
                    <a:pt x="3" y="19"/>
                  </a:cubicBezTo>
                  <a:cubicBezTo>
                    <a:pt x="4" y="20"/>
                    <a:pt x="5" y="20"/>
                    <a:pt x="7" y="21"/>
                  </a:cubicBezTo>
                  <a:cubicBezTo>
                    <a:pt x="9" y="22"/>
                    <a:pt x="11" y="24"/>
                    <a:pt x="12" y="26"/>
                  </a:cubicBezTo>
                  <a:cubicBezTo>
                    <a:pt x="14" y="28"/>
                    <a:pt x="12" y="30"/>
                    <a:pt x="12" y="31"/>
                  </a:cubicBezTo>
                  <a:cubicBezTo>
                    <a:pt x="11" y="32"/>
                    <a:pt x="10" y="33"/>
                    <a:pt x="9" y="33"/>
                  </a:cubicBezTo>
                  <a:cubicBezTo>
                    <a:pt x="9" y="33"/>
                    <a:pt x="9" y="33"/>
                    <a:pt x="8" y="34"/>
                  </a:cubicBezTo>
                  <a:cubicBezTo>
                    <a:pt x="8" y="34"/>
                    <a:pt x="8" y="34"/>
                    <a:pt x="8" y="34"/>
                  </a:cubicBezTo>
                  <a:cubicBezTo>
                    <a:pt x="8" y="34"/>
                    <a:pt x="8" y="34"/>
                    <a:pt x="8" y="34"/>
                  </a:cubicBezTo>
                  <a:cubicBezTo>
                    <a:pt x="8" y="34"/>
                    <a:pt x="9" y="35"/>
                    <a:pt x="11" y="36"/>
                  </a:cubicBezTo>
                  <a:cubicBezTo>
                    <a:pt x="12" y="37"/>
                    <a:pt x="12" y="37"/>
                    <a:pt x="13" y="38"/>
                  </a:cubicBezTo>
                  <a:cubicBezTo>
                    <a:pt x="15" y="40"/>
                    <a:pt x="15" y="40"/>
                    <a:pt x="15" y="40"/>
                  </a:cubicBezTo>
                  <a:cubicBezTo>
                    <a:pt x="16" y="41"/>
                    <a:pt x="17" y="41"/>
                    <a:pt x="18" y="42"/>
                  </a:cubicBezTo>
                  <a:cubicBezTo>
                    <a:pt x="21" y="43"/>
                    <a:pt x="20" y="47"/>
                    <a:pt x="20" y="49"/>
                  </a:cubicBezTo>
                  <a:cubicBezTo>
                    <a:pt x="20" y="49"/>
                    <a:pt x="20" y="49"/>
                    <a:pt x="20" y="49"/>
                  </a:cubicBezTo>
                  <a:cubicBezTo>
                    <a:pt x="20" y="52"/>
                    <a:pt x="20" y="53"/>
                    <a:pt x="17" y="55"/>
                  </a:cubicBezTo>
                  <a:cubicBezTo>
                    <a:pt x="22" y="58"/>
                    <a:pt x="28" y="61"/>
                    <a:pt x="34" y="65"/>
                  </a:cubicBezTo>
                  <a:cubicBezTo>
                    <a:pt x="38" y="67"/>
                    <a:pt x="38" y="67"/>
                    <a:pt x="38" y="67"/>
                  </a:cubicBezTo>
                  <a:cubicBezTo>
                    <a:pt x="34" y="70"/>
                    <a:pt x="34" y="70"/>
                    <a:pt x="34" y="70"/>
                  </a:cubicBezTo>
                  <a:cubicBezTo>
                    <a:pt x="34" y="70"/>
                    <a:pt x="34" y="70"/>
                    <a:pt x="34" y="70"/>
                  </a:cubicBezTo>
                  <a:cubicBezTo>
                    <a:pt x="34" y="71"/>
                    <a:pt x="35" y="71"/>
                    <a:pt x="36" y="72"/>
                  </a:cubicBezTo>
                  <a:cubicBezTo>
                    <a:pt x="39" y="75"/>
                    <a:pt x="39" y="75"/>
                    <a:pt x="39" y="75"/>
                  </a:cubicBezTo>
                  <a:cubicBezTo>
                    <a:pt x="40" y="74"/>
                    <a:pt x="42" y="73"/>
                    <a:pt x="44" y="71"/>
                  </a:cubicBezTo>
                  <a:cubicBezTo>
                    <a:pt x="46" y="70"/>
                    <a:pt x="47" y="69"/>
                    <a:pt x="49" y="68"/>
                  </a:cubicBezTo>
                  <a:cubicBezTo>
                    <a:pt x="52" y="66"/>
                    <a:pt x="55" y="64"/>
                    <a:pt x="59" y="62"/>
                  </a:cubicBezTo>
                  <a:cubicBezTo>
                    <a:pt x="59" y="61"/>
                    <a:pt x="59" y="61"/>
                    <a:pt x="59" y="61"/>
                  </a:cubicBezTo>
                  <a:cubicBezTo>
                    <a:pt x="63" y="59"/>
                    <a:pt x="65" y="58"/>
                    <a:pt x="67" y="58"/>
                  </a:cubicBezTo>
                  <a:cubicBezTo>
                    <a:pt x="68" y="58"/>
                    <a:pt x="68" y="58"/>
                    <a:pt x="69" y="58"/>
                  </a:cubicBezTo>
                  <a:cubicBezTo>
                    <a:pt x="71" y="58"/>
                    <a:pt x="73" y="60"/>
                    <a:pt x="75" y="64"/>
                  </a:cubicBezTo>
                  <a:cubicBezTo>
                    <a:pt x="77" y="66"/>
                    <a:pt x="77" y="66"/>
                    <a:pt x="77" y="66"/>
                  </a:cubicBezTo>
                  <a:cubicBezTo>
                    <a:pt x="78" y="67"/>
                    <a:pt x="79" y="68"/>
                    <a:pt x="79" y="70"/>
                  </a:cubicBezTo>
                  <a:cubicBezTo>
                    <a:pt x="79" y="72"/>
                    <a:pt x="78" y="74"/>
                    <a:pt x="77" y="75"/>
                  </a:cubicBezTo>
                  <a:cubicBezTo>
                    <a:pt x="76" y="75"/>
                    <a:pt x="76" y="75"/>
                    <a:pt x="76" y="75"/>
                  </a:cubicBezTo>
                  <a:cubicBezTo>
                    <a:pt x="77" y="76"/>
                    <a:pt x="77" y="76"/>
                    <a:pt x="77" y="76"/>
                  </a:cubicBezTo>
                  <a:cubicBezTo>
                    <a:pt x="77" y="76"/>
                    <a:pt x="78" y="77"/>
                    <a:pt x="79" y="78"/>
                  </a:cubicBezTo>
                  <a:cubicBezTo>
                    <a:pt x="81" y="80"/>
                    <a:pt x="81" y="80"/>
                    <a:pt x="81" y="80"/>
                  </a:cubicBezTo>
                  <a:cubicBezTo>
                    <a:pt x="74" y="85"/>
                    <a:pt x="74" y="85"/>
                    <a:pt x="74" y="85"/>
                  </a:cubicBezTo>
                  <a:cubicBezTo>
                    <a:pt x="76" y="86"/>
                    <a:pt x="76" y="86"/>
                    <a:pt x="76" y="86"/>
                  </a:cubicBezTo>
                  <a:cubicBezTo>
                    <a:pt x="76" y="87"/>
                    <a:pt x="77" y="88"/>
                    <a:pt x="77" y="88"/>
                  </a:cubicBezTo>
                  <a:cubicBezTo>
                    <a:pt x="78" y="89"/>
                    <a:pt x="78" y="89"/>
                    <a:pt x="78" y="89"/>
                  </a:cubicBezTo>
                  <a:cubicBezTo>
                    <a:pt x="78" y="89"/>
                    <a:pt x="79" y="90"/>
                    <a:pt x="80" y="90"/>
                  </a:cubicBezTo>
                  <a:cubicBezTo>
                    <a:pt x="80" y="91"/>
                    <a:pt x="81" y="91"/>
                    <a:pt x="82" y="92"/>
                  </a:cubicBezTo>
                  <a:cubicBezTo>
                    <a:pt x="83" y="93"/>
                    <a:pt x="84" y="94"/>
                    <a:pt x="84" y="95"/>
                  </a:cubicBezTo>
                  <a:cubicBezTo>
                    <a:pt x="85" y="95"/>
                    <a:pt x="85" y="95"/>
                    <a:pt x="85" y="95"/>
                  </a:cubicBezTo>
                  <a:cubicBezTo>
                    <a:pt x="85" y="95"/>
                    <a:pt x="85" y="95"/>
                    <a:pt x="85" y="95"/>
                  </a:cubicBezTo>
                  <a:cubicBezTo>
                    <a:pt x="86" y="95"/>
                    <a:pt x="88" y="95"/>
                    <a:pt x="89" y="95"/>
                  </a:cubicBezTo>
                  <a:cubicBezTo>
                    <a:pt x="90" y="94"/>
                    <a:pt x="90" y="94"/>
                    <a:pt x="90" y="94"/>
                  </a:cubicBezTo>
                  <a:cubicBezTo>
                    <a:pt x="90" y="91"/>
                    <a:pt x="91" y="88"/>
                    <a:pt x="91" y="85"/>
                  </a:cubicBezTo>
                  <a:cubicBezTo>
                    <a:pt x="91" y="83"/>
                    <a:pt x="91" y="76"/>
                    <a:pt x="94" y="76"/>
                  </a:cubicBezTo>
                  <a:cubicBezTo>
                    <a:pt x="94" y="76"/>
                    <a:pt x="94" y="76"/>
                    <a:pt x="94" y="76"/>
                  </a:cubicBezTo>
                  <a:cubicBezTo>
                    <a:pt x="95" y="77"/>
                    <a:pt x="97" y="81"/>
                    <a:pt x="97" y="82"/>
                  </a:cubicBezTo>
                  <a:cubicBezTo>
                    <a:pt x="98" y="79"/>
                    <a:pt x="98" y="73"/>
                    <a:pt x="101" y="72"/>
                  </a:cubicBezTo>
                  <a:cubicBezTo>
                    <a:pt x="101" y="71"/>
                    <a:pt x="101" y="71"/>
                    <a:pt x="101" y="71"/>
                  </a:cubicBezTo>
                  <a:cubicBezTo>
                    <a:pt x="101" y="71"/>
                    <a:pt x="102" y="72"/>
                    <a:pt x="102" y="72"/>
                  </a:cubicBezTo>
                  <a:cubicBezTo>
                    <a:pt x="102" y="72"/>
                    <a:pt x="102" y="73"/>
                    <a:pt x="103" y="73"/>
                  </a:cubicBezTo>
                  <a:cubicBezTo>
                    <a:pt x="103" y="73"/>
                    <a:pt x="103" y="72"/>
                    <a:pt x="103" y="72"/>
                  </a:cubicBezTo>
                  <a:cubicBezTo>
                    <a:pt x="104" y="70"/>
                    <a:pt x="103" y="70"/>
                    <a:pt x="103" y="70"/>
                  </a:cubicBezTo>
                  <a:cubicBezTo>
                    <a:pt x="102" y="68"/>
                    <a:pt x="100" y="67"/>
                    <a:pt x="101" y="64"/>
                  </a:cubicBezTo>
                  <a:cubicBezTo>
                    <a:pt x="102" y="62"/>
                    <a:pt x="103" y="59"/>
                    <a:pt x="104" y="57"/>
                  </a:cubicBezTo>
                  <a:cubicBezTo>
                    <a:pt x="105" y="53"/>
                    <a:pt x="106" y="48"/>
                    <a:pt x="108" y="46"/>
                  </a:cubicBezTo>
                  <a:cubicBezTo>
                    <a:pt x="112" y="43"/>
                    <a:pt x="115" y="42"/>
                    <a:pt x="118" y="42"/>
                  </a:cubicBezTo>
                  <a:cubicBezTo>
                    <a:pt x="118" y="42"/>
                    <a:pt x="119" y="42"/>
                    <a:pt x="119" y="42"/>
                  </a:cubicBezTo>
                  <a:cubicBezTo>
                    <a:pt x="123" y="43"/>
                    <a:pt x="125" y="43"/>
                    <a:pt x="127" y="46"/>
                  </a:cubicBezTo>
                  <a:cubicBezTo>
                    <a:pt x="126" y="43"/>
                    <a:pt x="127" y="42"/>
                    <a:pt x="124" y="40"/>
                  </a:cubicBezTo>
                  <a:cubicBezTo>
                    <a:pt x="123" y="38"/>
                    <a:pt x="121" y="37"/>
                    <a:pt x="119" y="36"/>
                  </a:cubicBezTo>
                  <a:cubicBezTo>
                    <a:pt x="118" y="36"/>
                    <a:pt x="118" y="35"/>
                    <a:pt x="116" y="35"/>
                  </a:cubicBezTo>
                  <a:cubicBezTo>
                    <a:pt x="116" y="35"/>
                    <a:pt x="116" y="35"/>
                    <a:pt x="116" y="35"/>
                  </a:cubicBezTo>
                  <a:cubicBezTo>
                    <a:pt x="115" y="35"/>
                    <a:pt x="115" y="36"/>
                    <a:pt x="114" y="36"/>
                  </a:cubicBezTo>
                  <a:cubicBezTo>
                    <a:pt x="114" y="36"/>
                    <a:pt x="114" y="36"/>
                    <a:pt x="114" y="36"/>
                  </a:cubicBezTo>
                  <a:cubicBezTo>
                    <a:pt x="110" y="36"/>
                    <a:pt x="109" y="33"/>
                    <a:pt x="106" y="31"/>
                  </a:cubicBezTo>
                  <a:cubicBezTo>
                    <a:pt x="101" y="27"/>
                    <a:pt x="98" y="21"/>
                    <a:pt x="96" y="14"/>
                  </a:cubicBezTo>
                  <a:cubicBezTo>
                    <a:pt x="94" y="9"/>
                    <a:pt x="89" y="5"/>
                    <a:pt x="85" y="0"/>
                  </a:cubicBezTo>
                  <a:cubicBezTo>
                    <a:pt x="83" y="4"/>
                    <a:pt x="80" y="6"/>
                    <a:pt x="78" y="8"/>
                  </a:cubicBezTo>
                  <a:cubicBezTo>
                    <a:pt x="77" y="9"/>
                    <a:pt x="77" y="9"/>
                    <a:pt x="77" y="9"/>
                  </a:cubicBezTo>
                  <a:cubicBezTo>
                    <a:pt x="77" y="9"/>
                    <a:pt x="76" y="9"/>
                    <a:pt x="76" y="10"/>
                  </a:cubicBezTo>
                  <a:cubicBezTo>
                    <a:pt x="75" y="11"/>
                    <a:pt x="74" y="11"/>
                    <a:pt x="73" y="11"/>
                  </a:cubicBezTo>
                  <a:cubicBezTo>
                    <a:pt x="72" y="12"/>
                    <a:pt x="72" y="12"/>
                    <a:pt x="71" y="14"/>
                  </a:cubicBezTo>
                  <a:cubicBezTo>
                    <a:pt x="69" y="18"/>
                    <a:pt x="67" y="20"/>
                    <a:pt x="63" y="20"/>
                  </a:cubicBezTo>
                  <a:cubicBezTo>
                    <a:pt x="61" y="20"/>
                    <a:pt x="59" y="20"/>
                    <a:pt x="57" y="19"/>
                  </a:cubicBezTo>
                  <a:cubicBezTo>
                    <a:pt x="50" y="18"/>
                    <a:pt x="48" y="14"/>
                    <a:pt x="47" y="13"/>
                  </a:cubicBezTo>
                  <a:cubicBezTo>
                    <a:pt x="47" y="12"/>
                    <a:pt x="46" y="11"/>
                    <a:pt x="45" y="11"/>
                  </a:cubicBezTo>
                  <a:cubicBezTo>
                    <a:pt x="43" y="10"/>
                    <a:pt x="41" y="7"/>
                    <a:pt x="39" y="4"/>
                  </a:cubicBezTo>
                  <a:cubicBezTo>
                    <a:pt x="38" y="2"/>
                    <a:pt x="36" y="0"/>
                    <a:pt x="35" y="0"/>
                  </a:cubicBezTo>
                  <a:cubicBezTo>
                    <a:pt x="34" y="0"/>
                    <a:pt x="33" y="0"/>
                    <a:pt x="32" y="0"/>
                  </a:cubicBez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458"/>
            <p:cNvSpPr/>
            <p:nvPr/>
          </p:nvSpPr>
          <p:spPr bwMode="auto">
            <a:xfrm>
              <a:off x="1147275" y="2577458"/>
              <a:ext cx="83274" cy="64470"/>
            </a:xfrm>
            <a:custGeom>
              <a:gdLst>
                <a:gd name="T0" fmla="*/ 3 w 26"/>
                <a:gd name="T1" fmla="*/ 0 h 20"/>
                <a:gd name="T2" fmla="*/ 1 w 26"/>
                <a:gd name="T3" fmla="*/ 1 h 20"/>
                <a:gd name="T4" fmla="*/ 0 w 26"/>
                <a:gd name="T5" fmla="*/ 1 h 20"/>
                <a:gd name="T6" fmla="*/ 1 w 26"/>
                <a:gd name="T7" fmla="*/ 3 h 20"/>
                <a:gd name="T8" fmla="*/ 8 w 26"/>
                <a:gd name="T9" fmla="*/ 10 h 20"/>
                <a:gd name="T10" fmla="*/ 9 w 26"/>
                <a:gd name="T11" fmla="*/ 11 h 20"/>
                <a:gd name="T12" fmla="*/ 9 w 26"/>
                <a:gd name="T13" fmla="*/ 12 h 20"/>
                <a:gd name="T14" fmla="*/ 14 w 26"/>
                <a:gd name="T15" fmla="*/ 16 h 20"/>
                <a:gd name="T16" fmla="*/ 23 w 26"/>
                <a:gd name="T17" fmla="*/ 20 h 20"/>
                <a:gd name="T18" fmla="*/ 25 w 26"/>
                <a:gd name="T19" fmla="*/ 20 h 20"/>
                <a:gd name="T20" fmla="*/ 26 w 26"/>
                <a:gd name="T21" fmla="*/ 20 h 20"/>
                <a:gd name="T22" fmla="*/ 26 w 26"/>
                <a:gd name="T23" fmla="*/ 20 h 20"/>
                <a:gd name="T24" fmla="*/ 24 w 26"/>
                <a:gd name="T25" fmla="*/ 14 h 20"/>
                <a:gd name="T26" fmla="*/ 23 w 26"/>
                <a:gd name="T27" fmla="*/ 13 h 20"/>
                <a:gd name="T28" fmla="*/ 22 w 26"/>
                <a:gd name="T29" fmla="*/ 13 h 20"/>
                <a:gd name="T30" fmla="*/ 18 w 26"/>
                <a:gd name="T31" fmla="*/ 9 h 20"/>
                <a:gd name="T32" fmla="*/ 17 w 26"/>
                <a:gd name="T33" fmla="*/ 7 h 20"/>
                <a:gd name="T34" fmla="*/ 14 w 26"/>
                <a:gd name="T35" fmla="*/ 8 h 20"/>
                <a:gd name="T36" fmla="*/ 14 w 26"/>
                <a:gd name="T37" fmla="*/ 8 h 20"/>
                <a:gd name="T38" fmla="*/ 11 w 26"/>
                <a:gd name="T39" fmla="*/ 7 h 20"/>
                <a:gd name="T40" fmla="*/ 11 w 26"/>
                <a:gd name="T41" fmla="*/ 7 h 20"/>
                <a:gd name="T42" fmla="*/ 8 w 26"/>
                <a:gd name="T43" fmla="*/ 6 h 20"/>
                <a:gd name="T44" fmla="*/ 6 w 26"/>
                <a:gd name="T45" fmla="*/ 4 h 20"/>
                <a:gd name="T46" fmla="*/ 5 w 26"/>
                <a:gd name="T47" fmla="*/ 2 h 20"/>
                <a:gd name="T48" fmla="*/ 3 w 26"/>
                <a:gd name="T49" fmla="*/ 1 h 20"/>
                <a:gd name="T50" fmla="*/ 3 w 26"/>
                <a:gd name="T51"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0">
                  <a:moveTo>
                    <a:pt x="3" y="0"/>
                  </a:moveTo>
                  <a:cubicBezTo>
                    <a:pt x="1" y="1"/>
                    <a:pt x="1" y="1"/>
                    <a:pt x="1" y="1"/>
                  </a:cubicBezTo>
                  <a:cubicBezTo>
                    <a:pt x="0" y="1"/>
                    <a:pt x="0" y="1"/>
                    <a:pt x="0" y="1"/>
                  </a:cubicBezTo>
                  <a:cubicBezTo>
                    <a:pt x="0" y="2"/>
                    <a:pt x="1" y="2"/>
                    <a:pt x="1" y="3"/>
                  </a:cubicBezTo>
                  <a:cubicBezTo>
                    <a:pt x="1" y="3"/>
                    <a:pt x="2" y="4"/>
                    <a:pt x="8" y="10"/>
                  </a:cubicBezTo>
                  <a:cubicBezTo>
                    <a:pt x="8" y="10"/>
                    <a:pt x="8" y="11"/>
                    <a:pt x="9" y="11"/>
                  </a:cubicBezTo>
                  <a:cubicBezTo>
                    <a:pt x="9" y="12"/>
                    <a:pt x="9" y="12"/>
                    <a:pt x="9" y="12"/>
                  </a:cubicBezTo>
                  <a:cubicBezTo>
                    <a:pt x="12" y="14"/>
                    <a:pt x="13" y="15"/>
                    <a:pt x="14" y="16"/>
                  </a:cubicBezTo>
                  <a:cubicBezTo>
                    <a:pt x="15" y="17"/>
                    <a:pt x="18" y="19"/>
                    <a:pt x="23" y="20"/>
                  </a:cubicBezTo>
                  <a:cubicBezTo>
                    <a:pt x="24" y="20"/>
                    <a:pt x="24" y="20"/>
                    <a:pt x="25" y="20"/>
                  </a:cubicBezTo>
                  <a:cubicBezTo>
                    <a:pt x="25" y="20"/>
                    <a:pt x="26" y="20"/>
                    <a:pt x="26" y="20"/>
                  </a:cubicBezTo>
                  <a:cubicBezTo>
                    <a:pt x="26" y="20"/>
                    <a:pt x="26" y="20"/>
                    <a:pt x="26" y="20"/>
                  </a:cubicBezTo>
                  <a:cubicBezTo>
                    <a:pt x="26" y="18"/>
                    <a:pt x="25" y="15"/>
                    <a:pt x="24" y="14"/>
                  </a:cubicBezTo>
                  <a:cubicBezTo>
                    <a:pt x="23" y="13"/>
                    <a:pt x="23" y="13"/>
                    <a:pt x="23" y="13"/>
                  </a:cubicBezTo>
                  <a:cubicBezTo>
                    <a:pt x="22" y="13"/>
                    <a:pt x="22" y="13"/>
                    <a:pt x="22" y="13"/>
                  </a:cubicBezTo>
                  <a:cubicBezTo>
                    <a:pt x="20" y="12"/>
                    <a:pt x="19" y="11"/>
                    <a:pt x="18" y="9"/>
                  </a:cubicBezTo>
                  <a:cubicBezTo>
                    <a:pt x="18" y="8"/>
                    <a:pt x="17" y="7"/>
                    <a:pt x="17" y="7"/>
                  </a:cubicBezTo>
                  <a:cubicBezTo>
                    <a:pt x="16" y="7"/>
                    <a:pt x="15" y="7"/>
                    <a:pt x="14" y="8"/>
                  </a:cubicBezTo>
                  <a:cubicBezTo>
                    <a:pt x="14" y="8"/>
                    <a:pt x="14" y="8"/>
                    <a:pt x="14" y="8"/>
                  </a:cubicBezTo>
                  <a:cubicBezTo>
                    <a:pt x="13" y="8"/>
                    <a:pt x="12" y="7"/>
                    <a:pt x="11" y="7"/>
                  </a:cubicBezTo>
                  <a:cubicBezTo>
                    <a:pt x="11" y="7"/>
                    <a:pt x="11" y="7"/>
                    <a:pt x="11" y="7"/>
                  </a:cubicBezTo>
                  <a:cubicBezTo>
                    <a:pt x="10" y="7"/>
                    <a:pt x="9" y="6"/>
                    <a:pt x="8" y="6"/>
                  </a:cubicBezTo>
                  <a:cubicBezTo>
                    <a:pt x="7" y="5"/>
                    <a:pt x="7" y="4"/>
                    <a:pt x="6" y="4"/>
                  </a:cubicBezTo>
                  <a:cubicBezTo>
                    <a:pt x="5" y="3"/>
                    <a:pt x="5" y="3"/>
                    <a:pt x="5" y="2"/>
                  </a:cubicBezTo>
                  <a:cubicBezTo>
                    <a:pt x="4" y="2"/>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459"/>
            <p:cNvSpPr/>
            <p:nvPr/>
          </p:nvSpPr>
          <p:spPr bwMode="auto">
            <a:xfrm>
              <a:off x="8656691" y="6057497"/>
              <a:ext cx="770954" cy="635298"/>
            </a:xfrm>
            <a:custGeom>
              <a:gdLst>
                <a:gd name="T0" fmla="*/ 3 w 243"/>
                <a:gd name="T1" fmla="*/ 55 h 200"/>
                <a:gd name="T2" fmla="*/ 3 w 243"/>
                <a:gd name="T3" fmla="*/ 65 h 200"/>
                <a:gd name="T4" fmla="*/ 1 w 243"/>
                <a:gd name="T5" fmla="*/ 103 h 200"/>
                <a:gd name="T6" fmla="*/ 9 w 243"/>
                <a:gd name="T7" fmla="*/ 163 h 200"/>
                <a:gd name="T8" fmla="*/ 31 w 243"/>
                <a:gd name="T9" fmla="*/ 162 h 200"/>
                <a:gd name="T10" fmla="*/ 50 w 243"/>
                <a:gd name="T11" fmla="*/ 161 h 200"/>
                <a:gd name="T12" fmla="*/ 46 w 243"/>
                <a:gd name="T13" fmla="*/ 143 h 200"/>
                <a:gd name="T14" fmla="*/ 38 w 243"/>
                <a:gd name="T15" fmla="*/ 141 h 200"/>
                <a:gd name="T16" fmla="*/ 36 w 243"/>
                <a:gd name="T17" fmla="*/ 141 h 200"/>
                <a:gd name="T18" fmla="*/ 45 w 243"/>
                <a:gd name="T19" fmla="*/ 140 h 200"/>
                <a:gd name="T20" fmla="*/ 58 w 243"/>
                <a:gd name="T21" fmla="*/ 139 h 200"/>
                <a:gd name="T22" fmla="*/ 58 w 243"/>
                <a:gd name="T23" fmla="*/ 130 h 200"/>
                <a:gd name="T24" fmla="*/ 62 w 243"/>
                <a:gd name="T25" fmla="*/ 132 h 200"/>
                <a:gd name="T26" fmla="*/ 67 w 243"/>
                <a:gd name="T27" fmla="*/ 133 h 200"/>
                <a:gd name="T28" fmla="*/ 72 w 243"/>
                <a:gd name="T29" fmla="*/ 132 h 200"/>
                <a:gd name="T30" fmla="*/ 71 w 243"/>
                <a:gd name="T31" fmla="*/ 125 h 200"/>
                <a:gd name="T32" fmla="*/ 80 w 243"/>
                <a:gd name="T33" fmla="*/ 123 h 200"/>
                <a:gd name="T34" fmla="*/ 82 w 243"/>
                <a:gd name="T35" fmla="*/ 126 h 200"/>
                <a:gd name="T36" fmla="*/ 87 w 243"/>
                <a:gd name="T37" fmla="*/ 124 h 200"/>
                <a:gd name="T38" fmla="*/ 92 w 243"/>
                <a:gd name="T39" fmla="*/ 122 h 200"/>
                <a:gd name="T40" fmla="*/ 94 w 243"/>
                <a:gd name="T41" fmla="*/ 126 h 200"/>
                <a:gd name="T42" fmla="*/ 125 w 243"/>
                <a:gd name="T43" fmla="*/ 135 h 200"/>
                <a:gd name="T44" fmla="*/ 137 w 243"/>
                <a:gd name="T45" fmla="*/ 153 h 200"/>
                <a:gd name="T46" fmla="*/ 147 w 243"/>
                <a:gd name="T47" fmla="*/ 158 h 200"/>
                <a:gd name="T48" fmla="*/ 157 w 243"/>
                <a:gd name="T49" fmla="*/ 174 h 200"/>
                <a:gd name="T50" fmla="*/ 173 w 243"/>
                <a:gd name="T51" fmla="*/ 186 h 200"/>
                <a:gd name="T52" fmla="*/ 182 w 243"/>
                <a:gd name="T53" fmla="*/ 187 h 200"/>
                <a:gd name="T54" fmla="*/ 185 w 243"/>
                <a:gd name="T55" fmla="*/ 187 h 200"/>
                <a:gd name="T56" fmla="*/ 197 w 243"/>
                <a:gd name="T57" fmla="*/ 188 h 200"/>
                <a:gd name="T58" fmla="*/ 230 w 243"/>
                <a:gd name="T59" fmla="*/ 199 h 200"/>
                <a:gd name="T60" fmla="*/ 230 w 243"/>
                <a:gd name="T61" fmla="*/ 190 h 200"/>
                <a:gd name="T62" fmla="*/ 236 w 243"/>
                <a:gd name="T63" fmla="*/ 191 h 200"/>
                <a:gd name="T64" fmla="*/ 235 w 243"/>
                <a:gd name="T65" fmla="*/ 187 h 200"/>
                <a:gd name="T66" fmla="*/ 232 w 243"/>
                <a:gd name="T67" fmla="*/ 187 h 200"/>
                <a:gd name="T68" fmla="*/ 216 w 243"/>
                <a:gd name="T69" fmla="*/ 177 h 200"/>
                <a:gd name="T70" fmla="*/ 218 w 243"/>
                <a:gd name="T71" fmla="*/ 173 h 200"/>
                <a:gd name="T72" fmla="*/ 202 w 243"/>
                <a:gd name="T73" fmla="*/ 165 h 200"/>
                <a:gd name="T74" fmla="*/ 193 w 243"/>
                <a:gd name="T75" fmla="*/ 159 h 200"/>
                <a:gd name="T76" fmla="*/ 177 w 243"/>
                <a:gd name="T77" fmla="*/ 145 h 200"/>
                <a:gd name="T78" fmla="*/ 151 w 243"/>
                <a:gd name="T79" fmla="*/ 116 h 200"/>
                <a:gd name="T80" fmla="*/ 155 w 243"/>
                <a:gd name="T81" fmla="*/ 101 h 200"/>
                <a:gd name="T82" fmla="*/ 168 w 243"/>
                <a:gd name="T83" fmla="*/ 99 h 200"/>
                <a:gd name="T84" fmla="*/ 157 w 243"/>
                <a:gd name="T85" fmla="*/ 82 h 200"/>
                <a:gd name="T86" fmla="*/ 152 w 243"/>
                <a:gd name="T87" fmla="*/ 82 h 200"/>
                <a:gd name="T88" fmla="*/ 124 w 243"/>
                <a:gd name="T89" fmla="*/ 71 h 200"/>
                <a:gd name="T90" fmla="*/ 117 w 243"/>
                <a:gd name="T91" fmla="*/ 58 h 200"/>
                <a:gd name="T92" fmla="*/ 86 w 243"/>
                <a:gd name="T93" fmla="*/ 30 h 2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3" h="200">
                  <a:moveTo>
                    <a:pt x="2" y="0"/>
                  </a:moveTo>
                  <a:cubicBezTo>
                    <a:pt x="3" y="7"/>
                    <a:pt x="3" y="14"/>
                    <a:pt x="3" y="21"/>
                  </a:cubicBezTo>
                  <a:cubicBezTo>
                    <a:pt x="3" y="32"/>
                    <a:pt x="3" y="44"/>
                    <a:pt x="3" y="55"/>
                  </a:cubicBezTo>
                  <a:cubicBezTo>
                    <a:pt x="3" y="58"/>
                    <a:pt x="3" y="58"/>
                    <a:pt x="3" y="58"/>
                  </a:cubicBezTo>
                  <a:cubicBezTo>
                    <a:pt x="3" y="60"/>
                    <a:pt x="3" y="61"/>
                    <a:pt x="3" y="63"/>
                  </a:cubicBezTo>
                  <a:cubicBezTo>
                    <a:pt x="3" y="65"/>
                    <a:pt x="3" y="65"/>
                    <a:pt x="3" y="65"/>
                  </a:cubicBezTo>
                  <a:cubicBezTo>
                    <a:pt x="2" y="69"/>
                    <a:pt x="2" y="74"/>
                    <a:pt x="2" y="78"/>
                  </a:cubicBezTo>
                  <a:cubicBezTo>
                    <a:pt x="0" y="102"/>
                    <a:pt x="0" y="102"/>
                    <a:pt x="0" y="102"/>
                  </a:cubicBezTo>
                  <a:cubicBezTo>
                    <a:pt x="1" y="102"/>
                    <a:pt x="1" y="102"/>
                    <a:pt x="1" y="103"/>
                  </a:cubicBezTo>
                  <a:cubicBezTo>
                    <a:pt x="3" y="104"/>
                    <a:pt x="3" y="105"/>
                    <a:pt x="3" y="106"/>
                  </a:cubicBezTo>
                  <a:cubicBezTo>
                    <a:pt x="3" y="163"/>
                    <a:pt x="3" y="163"/>
                    <a:pt x="3" y="163"/>
                  </a:cubicBezTo>
                  <a:cubicBezTo>
                    <a:pt x="4" y="163"/>
                    <a:pt x="6" y="163"/>
                    <a:pt x="9" y="163"/>
                  </a:cubicBezTo>
                  <a:cubicBezTo>
                    <a:pt x="12" y="163"/>
                    <a:pt x="17" y="163"/>
                    <a:pt x="20" y="162"/>
                  </a:cubicBezTo>
                  <a:cubicBezTo>
                    <a:pt x="24" y="162"/>
                    <a:pt x="27" y="162"/>
                    <a:pt x="29" y="162"/>
                  </a:cubicBezTo>
                  <a:cubicBezTo>
                    <a:pt x="30" y="162"/>
                    <a:pt x="31" y="162"/>
                    <a:pt x="31" y="162"/>
                  </a:cubicBezTo>
                  <a:cubicBezTo>
                    <a:pt x="34" y="163"/>
                    <a:pt x="37" y="164"/>
                    <a:pt x="40" y="165"/>
                  </a:cubicBezTo>
                  <a:cubicBezTo>
                    <a:pt x="40" y="165"/>
                    <a:pt x="40" y="165"/>
                    <a:pt x="40" y="165"/>
                  </a:cubicBezTo>
                  <a:cubicBezTo>
                    <a:pt x="43" y="165"/>
                    <a:pt x="49" y="162"/>
                    <a:pt x="50" y="161"/>
                  </a:cubicBezTo>
                  <a:cubicBezTo>
                    <a:pt x="52" y="160"/>
                    <a:pt x="57" y="159"/>
                    <a:pt x="58" y="157"/>
                  </a:cubicBezTo>
                  <a:cubicBezTo>
                    <a:pt x="60" y="155"/>
                    <a:pt x="58" y="152"/>
                    <a:pt x="57" y="149"/>
                  </a:cubicBezTo>
                  <a:cubicBezTo>
                    <a:pt x="54" y="145"/>
                    <a:pt x="51" y="145"/>
                    <a:pt x="46" y="143"/>
                  </a:cubicBezTo>
                  <a:cubicBezTo>
                    <a:pt x="44" y="142"/>
                    <a:pt x="43" y="140"/>
                    <a:pt x="41" y="140"/>
                  </a:cubicBezTo>
                  <a:cubicBezTo>
                    <a:pt x="41" y="140"/>
                    <a:pt x="41" y="140"/>
                    <a:pt x="41" y="140"/>
                  </a:cubicBezTo>
                  <a:cubicBezTo>
                    <a:pt x="40" y="140"/>
                    <a:pt x="39" y="141"/>
                    <a:pt x="38" y="141"/>
                  </a:cubicBezTo>
                  <a:cubicBezTo>
                    <a:pt x="38" y="141"/>
                    <a:pt x="37" y="142"/>
                    <a:pt x="36" y="142"/>
                  </a:cubicBezTo>
                  <a:cubicBezTo>
                    <a:pt x="35" y="142"/>
                    <a:pt x="35" y="141"/>
                    <a:pt x="34" y="140"/>
                  </a:cubicBezTo>
                  <a:cubicBezTo>
                    <a:pt x="35" y="141"/>
                    <a:pt x="35" y="141"/>
                    <a:pt x="36" y="141"/>
                  </a:cubicBezTo>
                  <a:cubicBezTo>
                    <a:pt x="37" y="141"/>
                    <a:pt x="38" y="140"/>
                    <a:pt x="40" y="140"/>
                  </a:cubicBezTo>
                  <a:cubicBezTo>
                    <a:pt x="41" y="140"/>
                    <a:pt x="43" y="139"/>
                    <a:pt x="44" y="139"/>
                  </a:cubicBezTo>
                  <a:cubicBezTo>
                    <a:pt x="44" y="139"/>
                    <a:pt x="45" y="139"/>
                    <a:pt x="45" y="140"/>
                  </a:cubicBezTo>
                  <a:cubicBezTo>
                    <a:pt x="47" y="140"/>
                    <a:pt x="48" y="140"/>
                    <a:pt x="49" y="140"/>
                  </a:cubicBezTo>
                  <a:cubicBezTo>
                    <a:pt x="49" y="140"/>
                    <a:pt x="50" y="140"/>
                    <a:pt x="51" y="140"/>
                  </a:cubicBezTo>
                  <a:cubicBezTo>
                    <a:pt x="54" y="139"/>
                    <a:pt x="56" y="139"/>
                    <a:pt x="58" y="139"/>
                  </a:cubicBezTo>
                  <a:cubicBezTo>
                    <a:pt x="61" y="138"/>
                    <a:pt x="66" y="139"/>
                    <a:pt x="63" y="135"/>
                  </a:cubicBezTo>
                  <a:cubicBezTo>
                    <a:pt x="62" y="133"/>
                    <a:pt x="60" y="132"/>
                    <a:pt x="58" y="130"/>
                  </a:cubicBezTo>
                  <a:cubicBezTo>
                    <a:pt x="58" y="130"/>
                    <a:pt x="58" y="130"/>
                    <a:pt x="58" y="130"/>
                  </a:cubicBezTo>
                  <a:cubicBezTo>
                    <a:pt x="60" y="130"/>
                    <a:pt x="60" y="132"/>
                    <a:pt x="61" y="132"/>
                  </a:cubicBezTo>
                  <a:cubicBezTo>
                    <a:pt x="61" y="132"/>
                    <a:pt x="61" y="132"/>
                    <a:pt x="62" y="132"/>
                  </a:cubicBezTo>
                  <a:cubicBezTo>
                    <a:pt x="62" y="132"/>
                    <a:pt x="62" y="132"/>
                    <a:pt x="62" y="132"/>
                  </a:cubicBezTo>
                  <a:cubicBezTo>
                    <a:pt x="63" y="132"/>
                    <a:pt x="63" y="132"/>
                    <a:pt x="63" y="132"/>
                  </a:cubicBezTo>
                  <a:cubicBezTo>
                    <a:pt x="63" y="132"/>
                    <a:pt x="63" y="132"/>
                    <a:pt x="64" y="132"/>
                  </a:cubicBezTo>
                  <a:cubicBezTo>
                    <a:pt x="65" y="132"/>
                    <a:pt x="66" y="133"/>
                    <a:pt x="67" y="133"/>
                  </a:cubicBezTo>
                  <a:cubicBezTo>
                    <a:pt x="67" y="133"/>
                    <a:pt x="68" y="133"/>
                    <a:pt x="68" y="133"/>
                  </a:cubicBezTo>
                  <a:cubicBezTo>
                    <a:pt x="70" y="133"/>
                    <a:pt x="72" y="133"/>
                    <a:pt x="70" y="132"/>
                  </a:cubicBezTo>
                  <a:cubicBezTo>
                    <a:pt x="71" y="132"/>
                    <a:pt x="72" y="132"/>
                    <a:pt x="72" y="132"/>
                  </a:cubicBezTo>
                  <a:cubicBezTo>
                    <a:pt x="70" y="128"/>
                    <a:pt x="67" y="123"/>
                    <a:pt x="65" y="119"/>
                  </a:cubicBezTo>
                  <a:cubicBezTo>
                    <a:pt x="66" y="120"/>
                    <a:pt x="67" y="121"/>
                    <a:pt x="68" y="122"/>
                  </a:cubicBezTo>
                  <a:cubicBezTo>
                    <a:pt x="69" y="123"/>
                    <a:pt x="70" y="124"/>
                    <a:pt x="71" y="125"/>
                  </a:cubicBezTo>
                  <a:cubicBezTo>
                    <a:pt x="72" y="125"/>
                    <a:pt x="73" y="125"/>
                    <a:pt x="73" y="125"/>
                  </a:cubicBezTo>
                  <a:cubicBezTo>
                    <a:pt x="74" y="125"/>
                    <a:pt x="75" y="125"/>
                    <a:pt x="77" y="124"/>
                  </a:cubicBezTo>
                  <a:cubicBezTo>
                    <a:pt x="78" y="124"/>
                    <a:pt x="79" y="123"/>
                    <a:pt x="80" y="123"/>
                  </a:cubicBezTo>
                  <a:cubicBezTo>
                    <a:pt x="80" y="123"/>
                    <a:pt x="80" y="123"/>
                    <a:pt x="81" y="123"/>
                  </a:cubicBezTo>
                  <a:cubicBezTo>
                    <a:pt x="82" y="124"/>
                    <a:pt x="81" y="124"/>
                    <a:pt x="82" y="125"/>
                  </a:cubicBezTo>
                  <a:cubicBezTo>
                    <a:pt x="82" y="126"/>
                    <a:pt x="82" y="126"/>
                    <a:pt x="82" y="126"/>
                  </a:cubicBezTo>
                  <a:cubicBezTo>
                    <a:pt x="83" y="127"/>
                    <a:pt x="85" y="127"/>
                    <a:pt x="86" y="127"/>
                  </a:cubicBezTo>
                  <a:cubicBezTo>
                    <a:pt x="84" y="125"/>
                    <a:pt x="84" y="123"/>
                    <a:pt x="84" y="121"/>
                  </a:cubicBezTo>
                  <a:cubicBezTo>
                    <a:pt x="84" y="122"/>
                    <a:pt x="85" y="123"/>
                    <a:pt x="87" y="124"/>
                  </a:cubicBezTo>
                  <a:cubicBezTo>
                    <a:pt x="86" y="123"/>
                    <a:pt x="86" y="121"/>
                    <a:pt x="86" y="120"/>
                  </a:cubicBezTo>
                  <a:cubicBezTo>
                    <a:pt x="86" y="122"/>
                    <a:pt x="88" y="123"/>
                    <a:pt x="89" y="123"/>
                  </a:cubicBezTo>
                  <a:cubicBezTo>
                    <a:pt x="90" y="123"/>
                    <a:pt x="91" y="122"/>
                    <a:pt x="92" y="122"/>
                  </a:cubicBezTo>
                  <a:cubicBezTo>
                    <a:pt x="92" y="122"/>
                    <a:pt x="93" y="122"/>
                    <a:pt x="94" y="122"/>
                  </a:cubicBezTo>
                  <a:cubicBezTo>
                    <a:pt x="94" y="122"/>
                    <a:pt x="94" y="122"/>
                    <a:pt x="94" y="122"/>
                  </a:cubicBezTo>
                  <a:cubicBezTo>
                    <a:pt x="96" y="122"/>
                    <a:pt x="94" y="126"/>
                    <a:pt x="94" y="126"/>
                  </a:cubicBezTo>
                  <a:cubicBezTo>
                    <a:pt x="95" y="127"/>
                    <a:pt x="99" y="127"/>
                    <a:pt x="100" y="128"/>
                  </a:cubicBezTo>
                  <a:cubicBezTo>
                    <a:pt x="106" y="129"/>
                    <a:pt x="112" y="129"/>
                    <a:pt x="117" y="131"/>
                  </a:cubicBezTo>
                  <a:cubicBezTo>
                    <a:pt x="116" y="133"/>
                    <a:pt x="123" y="134"/>
                    <a:pt x="125" y="135"/>
                  </a:cubicBezTo>
                  <a:cubicBezTo>
                    <a:pt x="125" y="137"/>
                    <a:pt x="126" y="137"/>
                    <a:pt x="127" y="139"/>
                  </a:cubicBezTo>
                  <a:cubicBezTo>
                    <a:pt x="129" y="140"/>
                    <a:pt x="128" y="141"/>
                    <a:pt x="129" y="143"/>
                  </a:cubicBezTo>
                  <a:cubicBezTo>
                    <a:pt x="131" y="146"/>
                    <a:pt x="134" y="150"/>
                    <a:pt x="137" y="153"/>
                  </a:cubicBezTo>
                  <a:cubicBezTo>
                    <a:pt x="138" y="155"/>
                    <a:pt x="137" y="157"/>
                    <a:pt x="140" y="158"/>
                  </a:cubicBezTo>
                  <a:cubicBezTo>
                    <a:pt x="141" y="159"/>
                    <a:pt x="143" y="160"/>
                    <a:pt x="144" y="160"/>
                  </a:cubicBezTo>
                  <a:cubicBezTo>
                    <a:pt x="145" y="160"/>
                    <a:pt x="146" y="159"/>
                    <a:pt x="147" y="158"/>
                  </a:cubicBezTo>
                  <a:cubicBezTo>
                    <a:pt x="146" y="160"/>
                    <a:pt x="146" y="160"/>
                    <a:pt x="147" y="162"/>
                  </a:cubicBezTo>
                  <a:cubicBezTo>
                    <a:pt x="148" y="164"/>
                    <a:pt x="149" y="169"/>
                    <a:pt x="151" y="170"/>
                  </a:cubicBezTo>
                  <a:cubicBezTo>
                    <a:pt x="155" y="170"/>
                    <a:pt x="155" y="171"/>
                    <a:pt x="157" y="174"/>
                  </a:cubicBezTo>
                  <a:cubicBezTo>
                    <a:pt x="160" y="178"/>
                    <a:pt x="163" y="183"/>
                    <a:pt x="167" y="185"/>
                  </a:cubicBezTo>
                  <a:cubicBezTo>
                    <a:pt x="169" y="186"/>
                    <a:pt x="170" y="186"/>
                    <a:pt x="171" y="186"/>
                  </a:cubicBezTo>
                  <a:cubicBezTo>
                    <a:pt x="172" y="186"/>
                    <a:pt x="172" y="186"/>
                    <a:pt x="173" y="186"/>
                  </a:cubicBezTo>
                  <a:cubicBezTo>
                    <a:pt x="173" y="186"/>
                    <a:pt x="174" y="186"/>
                    <a:pt x="174" y="186"/>
                  </a:cubicBezTo>
                  <a:cubicBezTo>
                    <a:pt x="177" y="186"/>
                    <a:pt x="179" y="187"/>
                    <a:pt x="182" y="187"/>
                  </a:cubicBezTo>
                  <a:cubicBezTo>
                    <a:pt x="182" y="187"/>
                    <a:pt x="182" y="187"/>
                    <a:pt x="182" y="187"/>
                  </a:cubicBezTo>
                  <a:cubicBezTo>
                    <a:pt x="183" y="187"/>
                    <a:pt x="183" y="187"/>
                    <a:pt x="184" y="187"/>
                  </a:cubicBezTo>
                  <a:cubicBezTo>
                    <a:pt x="184" y="187"/>
                    <a:pt x="185" y="187"/>
                    <a:pt x="185" y="187"/>
                  </a:cubicBezTo>
                  <a:cubicBezTo>
                    <a:pt x="185" y="187"/>
                    <a:pt x="185" y="187"/>
                    <a:pt x="185" y="187"/>
                  </a:cubicBezTo>
                  <a:cubicBezTo>
                    <a:pt x="187" y="187"/>
                    <a:pt x="189" y="188"/>
                    <a:pt x="191" y="188"/>
                  </a:cubicBezTo>
                  <a:cubicBezTo>
                    <a:pt x="193" y="188"/>
                    <a:pt x="194" y="189"/>
                    <a:pt x="194" y="189"/>
                  </a:cubicBezTo>
                  <a:cubicBezTo>
                    <a:pt x="195" y="189"/>
                    <a:pt x="196" y="188"/>
                    <a:pt x="197" y="188"/>
                  </a:cubicBezTo>
                  <a:cubicBezTo>
                    <a:pt x="197" y="188"/>
                    <a:pt x="197" y="188"/>
                    <a:pt x="198" y="188"/>
                  </a:cubicBezTo>
                  <a:cubicBezTo>
                    <a:pt x="205" y="188"/>
                    <a:pt x="220" y="190"/>
                    <a:pt x="224" y="196"/>
                  </a:cubicBezTo>
                  <a:cubicBezTo>
                    <a:pt x="227" y="200"/>
                    <a:pt x="226" y="198"/>
                    <a:pt x="230" y="199"/>
                  </a:cubicBezTo>
                  <a:cubicBezTo>
                    <a:pt x="230" y="199"/>
                    <a:pt x="230" y="199"/>
                    <a:pt x="230" y="199"/>
                  </a:cubicBezTo>
                  <a:cubicBezTo>
                    <a:pt x="232" y="199"/>
                    <a:pt x="235" y="197"/>
                    <a:pt x="237" y="197"/>
                  </a:cubicBezTo>
                  <a:cubicBezTo>
                    <a:pt x="235" y="195"/>
                    <a:pt x="232" y="193"/>
                    <a:pt x="230" y="190"/>
                  </a:cubicBezTo>
                  <a:cubicBezTo>
                    <a:pt x="231" y="190"/>
                    <a:pt x="231" y="190"/>
                    <a:pt x="232" y="190"/>
                  </a:cubicBezTo>
                  <a:cubicBezTo>
                    <a:pt x="233" y="190"/>
                    <a:pt x="234" y="190"/>
                    <a:pt x="235" y="190"/>
                  </a:cubicBezTo>
                  <a:cubicBezTo>
                    <a:pt x="235" y="191"/>
                    <a:pt x="235" y="191"/>
                    <a:pt x="236" y="191"/>
                  </a:cubicBezTo>
                  <a:cubicBezTo>
                    <a:pt x="238" y="191"/>
                    <a:pt x="240" y="189"/>
                    <a:pt x="243" y="188"/>
                  </a:cubicBezTo>
                  <a:cubicBezTo>
                    <a:pt x="241" y="188"/>
                    <a:pt x="240" y="188"/>
                    <a:pt x="239" y="188"/>
                  </a:cubicBezTo>
                  <a:cubicBezTo>
                    <a:pt x="238" y="188"/>
                    <a:pt x="237" y="188"/>
                    <a:pt x="235" y="187"/>
                  </a:cubicBezTo>
                  <a:cubicBezTo>
                    <a:pt x="235" y="187"/>
                    <a:pt x="234" y="187"/>
                    <a:pt x="234" y="187"/>
                  </a:cubicBezTo>
                  <a:cubicBezTo>
                    <a:pt x="233" y="187"/>
                    <a:pt x="233" y="187"/>
                    <a:pt x="233" y="187"/>
                  </a:cubicBezTo>
                  <a:cubicBezTo>
                    <a:pt x="232" y="187"/>
                    <a:pt x="232" y="187"/>
                    <a:pt x="232" y="187"/>
                  </a:cubicBezTo>
                  <a:cubicBezTo>
                    <a:pt x="231" y="187"/>
                    <a:pt x="230" y="187"/>
                    <a:pt x="229" y="187"/>
                  </a:cubicBezTo>
                  <a:cubicBezTo>
                    <a:pt x="226" y="186"/>
                    <a:pt x="221" y="182"/>
                    <a:pt x="218" y="180"/>
                  </a:cubicBezTo>
                  <a:cubicBezTo>
                    <a:pt x="215" y="179"/>
                    <a:pt x="214" y="179"/>
                    <a:pt x="216" y="177"/>
                  </a:cubicBezTo>
                  <a:cubicBezTo>
                    <a:pt x="218" y="175"/>
                    <a:pt x="221" y="178"/>
                    <a:pt x="221" y="173"/>
                  </a:cubicBezTo>
                  <a:cubicBezTo>
                    <a:pt x="221" y="173"/>
                    <a:pt x="220" y="173"/>
                    <a:pt x="219" y="173"/>
                  </a:cubicBezTo>
                  <a:cubicBezTo>
                    <a:pt x="219" y="173"/>
                    <a:pt x="218" y="173"/>
                    <a:pt x="218" y="173"/>
                  </a:cubicBezTo>
                  <a:cubicBezTo>
                    <a:pt x="215" y="173"/>
                    <a:pt x="208" y="173"/>
                    <a:pt x="206" y="171"/>
                  </a:cubicBezTo>
                  <a:cubicBezTo>
                    <a:pt x="205" y="170"/>
                    <a:pt x="201" y="168"/>
                    <a:pt x="201" y="166"/>
                  </a:cubicBezTo>
                  <a:cubicBezTo>
                    <a:pt x="201" y="165"/>
                    <a:pt x="202" y="165"/>
                    <a:pt x="202" y="165"/>
                  </a:cubicBezTo>
                  <a:cubicBezTo>
                    <a:pt x="202" y="163"/>
                    <a:pt x="205" y="159"/>
                    <a:pt x="204" y="158"/>
                  </a:cubicBezTo>
                  <a:cubicBezTo>
                    <a:pt x="204" y="157"/>
                    <a:pt x="203" y="157"/>
                    <a:pt x="202" y="157"/>
                  </a:cubicBezTo>
                  <a:cubicBezTo>
                    <a:pt x="199" y="157"/>
                    <a:pt x="195" y="159"/>
                    <a:pt x="193" y="159"/>
                  </a:cubicBezTo>
                  <a:cubicBezTo>
                    <a:pt x="192" y="159"/>
                    <a:pt x="191" y="159"/>
                    <a:pt x="190" y="159"/>
                  </a:cubicBezTo>
                  <a:cubicBezTo>
                    <a:pt x="186" y="159"/>
                    <a:pt x="186" y="158"/>
                    <a:pt x="184" y="154"/>
                  </a:cubicBezTo>
                  <a:cubicBezTo>
                    <a:pt x="182" y="151"/>
                    <a:pt x="179" y="148"/>
                    <a:pt x="177" y="145"/>
                  </a:cubicBezTo>
                  <a:cubicBezTo>
                    <a:pt x="177" y="144"/>
                    <a:pt x="178" y="144"/>
                    <a:pt x="178" y="143"/>
                  </a:cubicBezTo>
                  <a:cubicBezTo>
                    <a:pt x="177" y="141"/>
                    <a:pt x="175" y="138"/>
                    <a:pt x="173" y="136"/>
                  </a:cubicBezTo>
                  <a:cubicBezTo>
                    <a:pt x="168" y="127"/>
                    <a:pt x="155" y="125"/>
                    <a:pt x="151" y="116"/>
                  </a:cubicBezTo>
                  <a:cubicBezTo>
                    <a:pt x="149" y="112"/>
                    <a:pt x="143" y="104"/>
                    <a:pt x="147" y="101"/>
                  </a:cubicBezTo>
                  <a:cubicBezTo>
                    <a:pt x="148" y="101"/>
                    <a:pt x="149" y="101"/>
                    <a:pt x="151" y="101"/>
                  </a:cubicBezTo>
                  <a:cubicBezTo>
                    <a:pt x="152" y="101"/>
                    <a:pt x="154" y="101"/>
                    <a:pt x="155" y="101"/>
                  </a:cubicBezTo>
                  <a:cubicBezTo>
                    <a:pt x="157" y="101"/>
                    <a:pt x="158" y="102"/>
                    <a:pt x="160" y="102"/>
                  </a:cubicBezTo>
                  <a:cubicBezTo>
                    <a:pt x="160" y="102"/>
                    <a:pt x="160" y="102"/>
                    <a:pt x="160" y="102"/>
                  </a:cubicBezTo>
                  <a:cubicBezTo>
                    <a:pt x="163" y="101"/>
                    <a:pt x="166" y="101"/>
                    <a:pt x="168" y="99"/>
                  </a:cubicBezTo>
                  <a:cubicBezTo>
                    <a:pt x="169" y="99"/>
                    <a:pt x="168" y="93"/>
                    <a:pt x="168" y="91"/>
                  </a:cubicBezTo>
                  <a:cubicBezTo>
                    <a:pt x="167" y="90"/>
                    <a:pt x="166" y="89"/>
                    <a:pt x="165" y="89"/>
                  </a:cubicBezTo>
                  <a:cubicBezTo>
                    <a:pt x="163" y="86"/>
                    <a:pt x="161" y="83"/>
                    <a:pt x="157" y="82"/>
                  </a:cubicBezTo>
                  <a:cubicBezTo>
                    <a:pt x="157" y="82"/>
                    <a:pt x="156" y="82"/>
                    <a:pt x="155" y="82"/>
                  </a:cubicBezTo>
                  <a:cubicBezTo>
                    <a:pt x="155" y="82"/>
                    <a:pt x="154" y="82"/>
                    <a:pt x="154" y="82"/>
                  </a:cubicBezTo>
                  <a:cubicBezTo>
                    <a:pt x="153" y="82"/>
                    <a:pt x="152" y="82"/>
                    <a:pt x="152" y="82"/>
                  </a:cubicBezTo>
                  <a:cubicBezTo>
                    <a:pt x="152" y="82"/>
                    <a:pt x="151" y="82"/>
                    <a:pt x="151" y="82"/>
                  </a:cubicBezTo>
                  <a:cubicBezTo>
                    <a:pt x="145" y="82"/>
                    <a:pt x="140" y="76"/>
                    <a:pt x="135" y="74"/>
                  </a:cubicBezTo>
                  <a:cubicBezTo>
                    <a:pt x="131" y="73"/>
                    <a:pt x="128" y="72"/>
                    <a:pt x="124" y="71"/>
                  </a:cubicBezTo>
                  <a:cubicBezTo>
                    <a:pt x="122" y="71"/>
                    <a:pt x="117" y="71"/>
                    <a:pt x="116" y="70"/>
                  </a:cubicBezTo>
                  <a:cubicBezTo>
                    <a:pt x="115" y="68"/>
                    <a:pt x="117" y="66"/>
                    <a:pt x="118" y="64"/>
                  </a:cubicBezTo>
                  <a:cubicBezTo>
                    <a:pt x="118" y="62"/>
                    <a:pt x="118" y="60"/>
                    <a:pt x="117" y="58"/>
                  </a:cubicBezTo>
                  <a:cubicBezTo>
                    <a:pt x="116" y="54"/>
                    <a:pt x="111" y="49"/>
                    <a:pt x="108" y="45"/>
                  </a:cubicBezTo>
                  <a:cubicBezTo>
                    <a:pt x="105" y="42"/>
                    <a:pt x="105" y="44"/>
                    <a:pt x="103" y="43"/>
                  </a:cubicBezTo>
                  <a:cubicBezTo>
                    <a:pt x="97" y="39"/>
                    <a:pt x="89" y="36"/>
                    <a:pt x="86" y="30"/>
                  </a:cubicBezTo>
                  <a:cubicBezTo>
                    <a:pt x="86" y="29"/>
                    <a:pt x="84" y="29"/>
                    <a:pt x="83" y="29"/>
                  </a:cubicBezTo>
                  <a:cubicBezTo>
                    <a:pt x="56" y="19"/>
                    <a:pt x="29" y="1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460"/>
            <p:cNvSpPr/>
            <p:nvPr/>
          </p:nvSpPr>
          <p:spPr bwMode="auto">
            <a:xfrm>
              <a:off x="7869620" y="5880204"/>
              <a:ext cx="777670" cy="679622"/>
            </a:xfrm>
            <a:custGeom>
              <a:gdLst>
                <a:gd name="T0" fmla="*/ 12 w 245"/>
                <a:gd name="T1" fmla="*/ 10 h 214"/>
                <a:gd name="T2" fmla="*/ 17 w 245"/>
                <a:gd name="T3" fmla="*/ 28 h 214"/>
                <a:gd name="T4" fmla="*/ 25 w 245"/>
                <a:gd name="T5" fmla="*/ 37 h 214"/>
                <a:gd name="T6" fmla="*/ 35 w 245"/>
                <a:gd name="T7" fmla="*/ 47 h 214"/>
                <a:gd name="T8" fmla="*/ 45 w 245"/>
                <a:gd name="T9" fmla="*/ 46 h 214"/>
                <a:gd name="T10" fmla="*/ 56 w 245"/>
                <a:gd name="T11" fmla="*/ 46 h 214"/>
                <a:gd name="T12" fmla="*/ 65 w 245"/>
                <a:gd name="T13" fmla="*/ 46 h 214"/>
                <a:gd name="T14" fmla="*/ 70 w 245"/>
                <a:gd name="T15" fmla="*/ 47 h 214"/>
                <a:gd name="T16" fmla="*/ 72 w 245"/>
                <a:gd name="T17" fmla="*/ 48 h 214"/>
                <a:gd name="T18" fmla="*/ 72 w 245"/>
                <a:gd name="T19" fmla="*/ 49 h 214"/>
                <a:gd name="T20" fmla="*/ 75 w 245"/>
                <a:gd name="T21" fmla="*/ 50 h 214"/>
                <a:gd name="T22" fmla="*/ 66 w 245"/>
                <a:gd name="T23" fmla="*/ 54 h 214"/>
                <a:gd name="T24" fmla="*/ 60 w 245"/>
                <a:gd name="T25" fmla="*/ 57 h 214"/>
                <a:gd name="T26" fmla="*/ 44 w 245"/>
                <a:gd name="T27" fmla="*/ 60 h 214"/>
                <a:gd name="T28" fmla="*/ 38 w 245"/>
                <a:gd name="T29" fmla="*/ 58 h 214"/>
                <a:gd name="T30" fmla="*/ 32 w 245"/>
                <a:gd name="T31" fmla="*/ 57 h 214"/>
                <a:gd name="T32" fmla="*/ 44 w 245"/>
                <a:gd name="T33" fmla="*/ 73 h 214"/>
                <a:gd name="T34" fmla="*/ 45 w 245"/>
                <a:gd name="T35" fmla="*/ 81 h 214"/>
                <a:gd name="T36" fmla="*/ 52 w 245"/>
                <a:gd name="T37" fmla="*/ 91 h 214"/>
                <a:gd name="T38" fmla="*/ 56 w 245"/>
                <a:gd name="T39" fmla="*/ 92 h 214"/>
                <a:gd name="T40" fmla="*/ 68 w 245"/>
                <a:gd name="T41" fmla="*/ 70 h 214"/>
                <a:gd name="T42" fmla="*/ 69 w 245"/>
                <a:gd name="T43" fmla="*/ 80 h 214"/>
                <a:gd name="T44" fmla="*/ 76 w 245"/>
                <a:gd name="T45" fmla="*/ 86 h 214"/>
                <a:gd name="T46" fmla="*/ 90 w 245"/>
                <a:gd name="T47" fmla="*/ 89 h 214"/>
                <a:gd name="T48" fmla="*/ 98 w 245"/>
                <a:gd name="T49" fmla="*/ 88 h 214"/>
                <a:gd name="T50" fmla="*/ 91 w 245"/>
                <a:gd name="T51" fmla="*/ 92 h 214"/>
                <a:gd name="T52" fmla="*/ 174 w 245"/>
                <a:gd name="T53" fmla="*/ 125 h 214"/>
                <a:gd name="T54" fmla="*/ 182 w 245"/>
                <a:gd name="T55" fmla="*/ 131 h 214"/>
                <a:gd name="T56" fmla="*/ 183 w 245"/>
                <a:gd name="T57" fmla="*/ 144 h 214"/>
                <a:gd name="T58" fmla="*/ 197 w 245"/>
                <a:gd name="T59" fmla="*/ 160 h 214"/>
                <a:gd name="T60" fmla="*/ 190 w 245"/>
                <a:gd name="T61" fmla="*/ 163 h 214"/>
                <a:gd name="T62" fmla="*/ 194 w 245"/>
                <a:gd name="T63" fmla="*/ 168 h 214"/>
                <a:gd name="T64" fmla="*/ 191 w 245"/>
                <a:gd name="T65" fmla="*/ 168 h 214"/>
                <a:gd name="T66" fmla="*/ 200 w 245"/>
                <a:gd name="T67" fmla="*/ 178 h 214"/>
                <a:gd name="T68" fmla="*/ 194 w 245"/>
                <a:gd name="T69" fmla="*/ 193 h 214"/>
                <a:gd name="T70" fmla="*/ 203 w 245"/>
                <a:gd name="T71" fmla="*/ 188 h 214"/>
                <a:gd name="T72" fmla="*/ 215 w 245"/>
                <a:gd name="T73" fmla="*/ 191 h 214"/>
                <a:gd name="T74" fmla="*/ 222 w 245"/>
                <a:gd name="T75" fmla="*/ 191 h 214"/>
                <a:gd name="T76" fmla="*/ 229 w 245"/>
                <a:gd name="T77" fmla="*/ 199 h 214"/>
                <a:gd name="T78" fmla="*/ 243 w 245"/>
                <a:gd name="T79" fmla="*/ 161 h 214"/>
                <a:gd name="T80" fmla="*/ 245 w 245"/>
                <a:gd name="T81" fmla="*/ 117 h 214"/>
                <a:gd name="T82" fmla="*/ 244 w 245"/>
                <a:gd name="T83" fmla="*/ 55 h 214"/>
                <a:gd name="T84" fmla="*/ 225 w 245"/>
                <a:gd name="T85" fmla="*/ 49 h 214"/>
                <a:gd name="T86" fmla="*/ 212 w 245"/>
                <a:gd name="T87" fmla="*/ 47 h 214"/>
                <a:gd name="T88" fmla="*/ 165 w 245"/>
                <a:gd name="T89" fmla="*/ 29 h 214"/>
                <a:gd name="T90" fmla="*/ 155 w 245"/>
                <a:gd name="T91" fmla="*/ 41 h 214"/>
                <a:gd name="T92" fmla="*/ 137 w 245"/>
                <a:gd name="T93" fmla="*/ 45 h 214"/>
                <a:gd name="T94" fmla="*/ 118 w 245"/>
                <a:gd name="T95" fmla="*/ 67 h 214"/>
                <a:gd name="T96" fmla="*/ 107 w 245"/>
                <a:gd name="T97" fmla="*/ 75 h 214"/>
                <a:gd name="T98" fmla="*/ 92 w 245"/>
                <a:gd name="T99" fmla="*/ 61 h 214"/>
                <a:gd name="T100" fmla="*/ 88 w 245"/>
                <a:gd name="T101" fmla="*/ 61 h 214"/>
                <a:gd name="T102" fmla="*/ 78 w 245"/>
                <a:gd name="T103" fmla="*/ 34 h 214"/>
                <a:gd name="T104" fmla="*/ 77 w 245"/>
                <a:gd name="T105" fmla="*/ 17 h 214"/>
                <a:gd name="T106" fmla="*/ 40 w 245"/>
                <a:gd name="T107" fmla="*/ 0 h 2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5" h="214">
                  <a:moveTo>
                    <a:pt x="38" y="0"/>
                  </a:moveTo>
                  <a:cubicBezTo>
                    <a:pt x="36" y="0"/>
                    <a:pt x="35" y="0"/>
                    <a:pt x="32" y="2"/>
                  </a:cubicBezTo>
                  <a:cubicBezTo>
                    <a:pt x="29" y="3"/>
                    <a:pt x="26" y="6"/>
                    <a:pt x="23" y="8"/>
                  </a:cubicBezTo>
                  <a:cubicBezTo>
                    <a:pt x="20" y="9"/>
                    <a:pt x="16" y="9"/>
                    <a:pt x="12" y="10"/>
                  </a:cubicBezTo>
                  <a:cubicBezTo>
                    <a:pt x="11" y="10"/>
                    <a:pt x="8" y="10"/>
                    <a:pt x="8" y="11"/>
                  </a:cubicBezTo>
                  <a:cubicBezTo>
                    <a:pt x="7" y="12"/>
                    <a:pt x="8" y="14"/>
                    <a:pt x="8" y="15"/>
                  </a:cubicBezTo>
                  <a:cubicBezTo>
                    <a:pt x="7" y="19"/>
                    <a:pt x="2" y="23"/>
                    <a:pt x="0" y="26"/>
                  </a:cubicBezTo>
                  <a:cubicBezTo>
                    <a:pt x="6" y="27"/>
                    <a:pt x="12" y="27"/>
                    <a:pt x="17" y="28"/>
                  </a:cubicBezTo>
                  <a:cubicBezTo>
                    <a:pt x="19" y="28"/>
                    <a:pt x="22" y="29"/>
                    <a:pt x="24" y="29"/>
                  </a:cubicBezTo>
                  <a:cubicBezTo>
                    <a:pt x="24" y="29"/>
                    <a:pt x="25" y="29"/>
                    <a:pt x="25" y="29"/>
                  </a:cubicBezTo>
                  <a:cubicBezTo>
                    <a:pt x="23" y="30"/>
                    <a:pt x="23" y="32"/>
                    <a:pt x="24" y="33"/>
                  </a:cubicBezTo>
                  <a:cubicBezTo>
                    <a:pt x="25" y="35"/>
                    <a:pt x="24" y="35"/>
                    <a:pt x="25" y="37"/>
                  </a:cubicBezTo>
                  <a:cubicBezTo>
                    <a:pt x="26" y="41"/>
                    <a:pt x="28" y="43"/>
                    <a:pt x="32" y="46"/>
                  </a:cubicBezTo>
                  <a:cubicBezTo>
                    <a:pt x="33" y="47"/>
                    <a:pt x="33" y="47"/>
                    <a:pt x="34" y="47"/>
                  </a:cubicBezTo>
                  <a:cubicBezTo>
                    <a:pt x="34" y="47"/>
                    <a:pt x="34" y="47"/>
                    <a:pt x="34" y="47"/>
                  </a:cubicBezTo>
                  <a:cubicBezTo>
                    <a:pt x="34" y="47"/>
                    <a:pt x="34" y="47"/>
                    <a:pt x="35" y="47"/>
                  </a:cubicBezTo>
                  <a:cubicBezTo>
                    <a:pt x="35" y="47"/>
                    <a:pt x="35" y="47"/>
                    <a:pt x="35" y="47"/>
                  </a:cubicBezTo>
                  <a:cubicBezTo>
                    <a:pt x="36" y="47"/>
                    <a:pt x="38" y="45"/>
                    <a:pt x="40" y="45"/>
                  </a:cubicBezTo>
                  <a:cubicBezTo>
                    <a:pt x="40" y="45"/>
                    <a:pt x="40" y="45"/>
                    <a:pt x="40" y="45"/>
                  </a:cubicBezTo>
                  <a:cubicBezTo>
                    <a:pt x="41" y="45"/>
                    <a:pt x="43" y="46"/>
                    <a:pt x="45" y="46"/>
                  </a:cubicBezTo>
                  <a:cubicBezTo>
                    <a:pt x="47" y="46"/>
                    <a:pt x="48" y="47"/>
                    <a:pt x="50" y="47"/>
                  </a:cubicBezTo>
                  <a:cubicBezTo>
                    <a:pt x="50" y="47"/>
                    <a:pt x="50" y="47"/>
                    <a:pt x="50" y="47"/>
                  </a:cubicBezTo>
                  <a:cubicBezTo>
                    <a:pt x="51" y="47"/>
                    <a:pt x="54" y="46"/>
                    <a:pt x="56" y="46"/>
                  </a:cubicBezTo>
                  <a:cubicBezTo>
                    <a:pt x="56" y="46"/>
                    <a:pt x="56" y="46"/>
                    <a:pt x="56" y="46"/>
                  </a:cubicBezTo>
                  <a:cubicBezTo>
                    <a:pt x="57" y="46"/>
                    <a:pt x="58" y="46"/>
                    <a:pt x="59" y="46"/>
                  </a:cubicBezTo>
                  <a:cubicBezTo>
                    <a:pt x="60" y="46"/>
                    <a:pt x="61" y="46"/>
                    <a:pt x="61" y="46"/>
                  </a:cubicBezTo>
                  <a:cubicBezTo>
                    <a:pt x="62" y="46"/>
                    <a:pt x="63" y="46"/>
                    <a:pt x="63" y="45"/>
                  </a:cubicBezTo>
                  <a:cubicBezTo>
                    <a:pt x="64" y="46"/>
                    <a:pt x="64" y="46"/>
                    <a:pt x="65" y="46"/>
                  </a:cubicBezTo>
                  <a:cubicBezTo>
                    <a:pt x="66" y="46"/>
                    <a:pt x="67" y="45"/>
                    <a:pt x="69" y="44"/>
                  </a:cubicBezTo>
                  <a:cubicBezTo>
                    <a:pt x="70" y="44"/>
                    <a:pt x="72" y="43"/>
                    <a:pt x="73" y="43"/>
                  </a:cubicBezTo>
                  <a:cubicBezTo>
                    <a:pt x="73" y="43"/>
                    <a:pt x="73" y="43"/>
                    <a:pt x="73" y="43"/>
                  </a:cubicBezTo>
                  <a:cubicBezTo>
                    <a:pt x="73" y="44"/>
                    <a:pt x="70" y="46"/>
                    <a:pt x="70" y="47"/>
                  </a:cubicBezTo>
                  <a:cubicBezTo>
                    <a:pt x="71" y="48"/>
                    <a:pt x="71" y="48"/>
                    <a:pt x="71" y="48"/>
                  </a:cubicBezTo>
                  <a:cubicBezTo>
                    <a:pt x="71" y="48"/>
                    <a:pt x="71" y="48"/>
                    <a:pt x="71" y="48"/>
                  </a:cubicBezTo>
                  <a:cubicBezTo>
                    <a:pt x="71" y="47"/>
                    <a:pt x="72" y="47"/>
                    <a:pt x="72" y="47"/>
                  </a:cubicBezTo>
                  <a:cubicBezTo>
                    <a:pt x="72" y="47"/>
                    <a:pt x="72" y="47"/>
                    <a:pt x="72" y="48"/>
                  </a:cubicBezTo>
                  <a:cubicBezTo>
                    <a:pt x="72" y="48"/>
                    <a:pt x="72" y="48"/>
                    <a:pt x="72" y="48"/>
                  </a:cubicBezTo>
                  <a:cubicBezTo>
                    <a:pt x="72" y="48"/>
                    <a:pt x="72" y="48"/>
                    <a:pt x="73" y="48"/>
                  </a:cubicBezTo>
                  <a:cubicBezTo>
                    <a:pt x="73" y="47"/>
                    <a:pt x="73" y="47"/>
                    <a:pt x="73" y="47"/>
                  </a:cubicBezTo>
                  <a:cubicBezTo>
                    <a:pt x="74" y="47"/>
                    <a:pt x="75" y="48"/>
                    <a:pt x="72" y="49"/>
                  </a:cubicBezTo>
                  <a:cubicBezTo>
                    <a:pt x="73" y="49"/>
                    <a:pt x="74" y="49"/>
                    <a:pt x="74" y="49"/>
                  </a:cubicBezTo>
                  <a:cubicBezTo>
                    <a:pt x="74" y="49"/>
                    <a:pt x="73" y="49"/>
                    <a:pt x="73" y="50"/>
                  </a:cubicBezTo>
                  <a:cubicBezTo>
                    <a:pt x="73" y="50"/>
                    <a:pt x="74" y="50"/>
                    <a:pt x="75" y="50"/>
                  </a:cubicBezTo>
                  <a:cubicBezTo>
                    <a:pt x="75" y="50"/>
                    <a:pt x="75" y="50"/>
                    <a:pt x="75" y="50"/>
                  </a:cubicBezTo>
                  <a:cubicBezTo>
                    <a:pt x="72" y="51"/>
                    <a:pt x="71" y="53"/>
                    <a:pt x="71" y="56"/>
                  </a:cubicBezTo>
                  <a:cubicBezTo>
                    <a:pt x="70" y="55"/>
                    <a:pt x="69" y="54"/>
                    <a:pt x="69" y="53"/>
                  </a:cubicBezTo>
                  <a:cubicBezTo>
                    <a:pt x="68" y="55"/>
                    <a:pt x="67" y="56"/>
                    <a:pt x="68" y="58"/>
                  </a:cubicBezTo>
                  <a:cubicBezTo>
                    <a:pt x="67" y="55"/>
                    <a:pt x="67" y="54"/>
                    <a:pt x="66" y="54"/>
                  </a:cubicBezTo>
                  <a:cubicBezTo>
                    <a:pt x="65" y="54"/>
                    <a:pt x="64" y="55"/>
                    <a:pt x="62" y="56"/>
                  </a:cubicBezTo>
                  <a:cubicBezTo>
                    <a:pt x="62" y="55"/>
                    <a:pt x="62" y="54"/>
                    <a:pt x="62" y="53"/>
                  </a:cubicBezTo>
                  <a:cubicBezTo>
                    <a:pt x="61" y="54"/>
                    <a:pt x="60" y="55"/>
                    <a:pt x="61" y="57"/>
                  </a:cubicBezTo>
                  <a:cubicBezTo>
                    <a:pt x="60" y="57"/>
                    <a:pt x="60" y="57"/>
                    <a:pt x="60" y="57"/>
                  </a:cubicBezTo>
                  <a:cubicBezTo>
                    <a:pt x="60" y="54"/>
                    <a:pt x="61" y="52"/>
                    <a:pt x="58" y="51"/>
                  </a:cubicBezTo>
                  <a:cubicBezTo>
                    <a:pt x="57" y="51"/>
                    <a:pt x="56" y="51"/>
                    <a:pt x="56" y="51"/>
                  </a:cubicBezTo>
                  <a:cubicBezTo>
                    <a:pt x="51" y="51"/>
                    <a:pt x="50" y="55"/>
                    <a:pt x="47" y="58"/>
                  </a:cubicBezTo>
                  <a:cubicBezTo>
                    <a:pt x="46" y="59"/>
                    <a:pt x="45" y="60"/>
                    <a:pt x="44" y="60"/>
                  </a:cubicBezTo>
                  <a:cubicBezTo>
                    <a:pt x="43" y="60"/>
                    <a:pt x="43" y="60"/>
                    <a:pt x="42" y="59"/>
                  </a:cubicBezTo>
                  <a:cubicBezTo>
                    <a:pt x="41" y="59"/>
                    <a:pt x="41" y="58"/>
                    <a:pt x="39" y="58"/>
                  </a:cubicBezTo>
                  <a:cubicBezTo>
                    <a:pt x="39" y="58"/>
                    <a:pt x="39" y="58"/>
                    <a:pt x="39" y="58"/>
                  </a:cubicBezTo>
                  <a:cubicBezTo>
                    <a:pt x="39" y="58"/>
                    <a:pt x="38" y="58"/>
                    <a:pt x="38" y="58"/>
                  </a:cubicBezTo>
                  <a:cubicBezTo>
                    <a:pt x="37" y="59"/>
                    <a:pt x="37" y="59"/>
                    <a:pt x="37" y="59"/>
                  </a:cubicBezTo>
                  <a:cubicBezTo>
                    <a:pt x="37" y="59"/>
                    <a:pt x="37" y="59"/>
                    <a:pt x="37" y="59"/>
                  </a:cubicBezTo>
                  <a:cubicBezTo>
                    <a:pt x="36" y="59"/>
                    <a:pt x="35" y="57"/>
                    <a:pt x="34" y="57"/>
                  </a:cubicBezTo>
                  <a:cubicBezTo>
                    <a:pt x="33" y="57"/>
                    <a:pt x="33" y="57"/>
                    <a:pt x="32" y="57"/>
                  </a:cubicBezTo>
                  <a:cubicBezTo>
                    <a:pt x="32" y="57"/>
                    <a:pt x="31" y="57"/>
                    <a:pt x="30" y="57"/>
                  </a:cubicBezTo>
                  <a:cubicBezTo>
                    <a:pt x="28" y="58"/>
                    <a:pt x="27" y="59"/>
                    <a:pt x="25" y="59"/>
                  </a:cubicBezTo>
                  <a:cubicBezTo>
                    <a:pt x="29" y="62"/>
                    <a:pt x="33" y="63"/>
                    <a:pt x="36" y="65"/>
                  </a:cubicBezTo>
                  <a:cubicBezTo>
                    <a:pt x="39" y="67"/>
                    <a:pt x="41" y="70"/>
                    <a:pt x="44" y="73"/>
                  </a:cubicBezTo>
                  <a:cubicBezTo>
                    <a:pt x="44" y="72"/>
                    <a:pt x="44" y="72"/>
                    <a:pt x="45" y="72"/>
                  </a:cubicBezTo>
                  <a:cubicBezTo>
                    <a:pt x="45" y="72"/>
                    <a:pt x="46" y="72"/>
                    <a:pt x="46" y="73"/>
                  </a:cubicBezTo>
                  <a:cubicBezTo>
                    <a:pt x="47" y="74"/>
                    <a:pt x="49" y="78"/>
                    <a:pt x="48" y="79"/>
                  </a:cubicBezTo>
                  <a:cubicBezTo>
                    <a:pt x="48" y="80"/>
                    <a:pt x="46" y="80"/>
                    <a:pt x="45" y="81"/>
                  </a:cubicBezTo>
                  <a:cubicBezTo>
                    <a:pt x="44" y="82"/>
                    <a:pt x="45" y="87"/>
                    <a:pt x="47" y="90"/>
                  </a:cubicBezTo>
                  <a:cubicBezTo>
                    <a:pt x="48" y="92"/>
                    <a:pt x="48" y="92"/>
                    <a:pt x="48" y="92"/>
                  </a:cubicBezTo>
                  <a:cubicBezTo>
                    <a:pt x="49" y="92"/>
                    <a:pt x="49" y="92"/>
                    <a:pt x="50" y="92"/>
                  </a:cubicBezTo>
                  <a:cubicBezTo>
                    <a:pt x="51" y="92"/>
                    <a:pt x="51" y="91"/>
                    <a:pt x="52" y="91"/>
                  </a:cubicBezTo>
                  <a:cubicBezTo>
                    <a:pt x="53" y="91"/>
                    <a:pt x="53" y="91"/>
                    <a:pt x="53" y="91"/>
                  </a:cubicBezTo>
                  <a:cubicBezTo>
                    <a:pt x="53" y="91"/>
                    <a:pt x="54" y="91"/>
                    <a:pt x="54" y="91"/>
                  </a:cubicBezTo>
                  <a:cubicBezTo>
                    <a:pt x="54" y="91"/>
                    <a:pt x="55" y="92"/>
                    <a:pt x="55" y="92"/>
                  </a:cubicBezTo>
                  <a:cubicBezTo>
                    <a:pt x="55" y="92"/>
                    <a:pt x="56" y="92"/>
                    <a:pt x="56" y="92"/>
                  </a:cubicBezTo>
                  <a:cubicBezTo>
                    <a:pt x="59" y="91"/>
                    <a:pt x="61" y="85"/>
                    <a:pt x="62" y="82"/>
                  </a:cubicBezTo>
                  <a:cubicBezTo>
                    <a:pt x="65" y="76"/>
                    <a:pt x="67" y="68"/>
                    <a:pt x="72" y="64"/>
                  </a:cubicBezTo>
                  <a:cubicBezTo>
                    <a:pt x="71" y="66"/>
                    <a:pt x="71" y="67"/>
                    <a:pt x="70" y="69"/>
                  </a:cubicBezTo>
                  <a:cubicBezTo>
                    <a:pt x="69" y="69"/>
                    <a:pt x="68" y="69"/>
                    <a:pt x="68" y="70"/>
                  </a:cubicBezTo>
                  <a:cubicBezTo>
                    <a:pt x="67" y="72"/>
                    <a:pt x="68" y="73"/>
                    <a:pt x="68" y="75"/>
                  </a:cubicBezTo>
                  <a:cubicBezTo>
                    <a:pt x="68" y="76"/>
                    <a:pt x="66" y="76"/>
                    <a:pt x="66" y="77"/>
                  </a:cubicBezTo>
                  <a:cubicBezTo>
                    <a:pt x="66" y="80"/>
                    <a:pt x="67" y="80"/>
                    <a:pt x="67" y="80"/>
                  </a:cubicBezTo>
                  <a:cubicBezTo>
                    <a:pt x="68" y="80"/>
                    <a:pt x="68" y="80"/>
                    <a:pt x="69" y="80"/>
                  </a:cubicBezTo>
                  <a:cubicBezTo>
                    <a:pt x="69" y="80"/>
                    <a:pt x="70" y="80"/>
                    <a:pt x="70" y="80"/>
                  </a:cubicBezTo>
                  <a:cubicBezTo>
                    <a:pt x="70" y="80"/>
                    <a:pt x="71" y="80"/>
                    <a:pt x="71" y="80"/>
                  </a:cubicBezTo>
                  <a:cubicBezTo>
                    <a:pt x="73" y="80"/>
                    <a:pt x="72" y="86"/>
                    <a:pt x="75" y="86"/>
                  </a:cubicBezTo>
                  <a:cubicBezTo>
                    <a:pt x="75" y="86"/>
                    <a:pt x="76" y="86"/>
                    <a:pt x="76" y="86"/>
                  </a:cubicBezTo>
                  <a:cubicBezTo>
                    <a:pt x="78" y="85"/>
                    <a:pt x="79" y="85"/>
                    <a:pt x="78" y="84"/>
                  </a:cubicBezTo>
                  <a:cubicBezTo>
                    <a:pt x="80" y="86"/>
                    <a:pt x="81" y="88"/>
                    <a:pt x="83" y="90"/>
                  </a:cubicBezTo>
                  <a:cubicBezTo>
                    <a:pt x="84" y="89"/>
                    <a:pt x="84" y="88"/>
                    <a:pt x="83" y="87"/>
                  </a:cubicBezTo>
                  <a:cubicBezTo>
                    <a:pt x="86" y="87"/>
                    <a:pt x="88" y="89"/>
                    <a:pt x="90" y="89"/>
                  </a:cubicBezTo>
                  <a:cubicBezTo>
                    <a:pt x="90" y="89"/>
                    <a:pt x="90" y="89"/>
                    <a:pt x="90" y="89"/>
                  </a:cubicBezTo>
                  <a:cubicBezTo>
                    <a:pt x="91" y="89"/>
                    <a:pt x="92" y="88"/>
                    <a:pt x="92" y="88"/>
                  </a:cubicBezTo>
                  <a:cubicBezTo>
                    <a:pt x="92" y="87"/>
                    <a:pt x="93" y="87"/>
                    <a:pt x="93" y="87"/>
                  </a:cubicBezTo>
                  <a:cubicBezTo>
                    <a:pt x="95" y="87"/>
                    <a:pt x="97" y="88"/>
                    <a:pt x="98" y="88"/>
                  </a:cubicBezTo>
                  <a:cubicBezTo>
                    <a:pt x="97" y="88"/>
                    <a:pt x="96" y="88"/>
                    <a:pt x="96" y="88"/>
                  </a:cubicBezTo>
                  <a:cubicBezTo>
                    <a:pt x="95" y="88"/>
                    <a:pt x="95" y="88"/>
                    <a:pt x="95" y="88"/>
                  </a:cubicBezTo>
                  <a:cubicBezTo>
                    <a:pt x="94" y="88"/>
                    <a:pt x="94" y="88"/>
                    <a:pt x="94" y="88"/>
                  </a:cubicBezTo>
                  <a:cubicBezTo>
                    <a:pt x="93" y="88"/>
                    <a:pt x="92" y="89"/>
                    <a:pt x="91" y="92"/>
                  </a:cubicBezTo>
                  <a:cubicBezTo>
                    <a:pt x="90" y="95"/>
                    <a:pt x="112" y="101"/>
                    <a:pt x="114" y="101"/>
                  </a:cubicBezTo>
                  <a:cubicBezTo>
                    <a:pt x="128" y="106"/>
                    <a:pt x="143" y="111"/>
                    <a:pt x="158" y="116"/>
                  </a:cubicBezTo>
                  <a:cubicBezTo>
                    <a:pt x="165" y="118"/>
                    <a:pt x="170" y="121"/>
                    <a:pt x="175" y="126"/>
                  </a:cubicBezTo>
                  <a:cubicBezTo>
                    <a:pt x="174" y="125"/>
                    <a:pt x="174" y="125"/>
                    <a:pt x="174" y="125"/>
                  </a:cubicBezTo>
                  <a:cubicBezTo>
                    <a:pt x="175" y="125"/>
                    <a:pt x="175" y="125"/>
                    <a:pt x="175" y="124"/>
                  </a:cubicBezTo>
                  <a:cubicBezTo>
                    <a:pt x="175" y="126"/>
                    <a:pt x="174" y="132"/>
                    <a:pt x="177" y="132"/>
                  </a:cubicBezTo>
                  <a:cubicBezTo>
                    <a:pt x="177" y="132"/>
                    <a:pt x="177" y="132"/>
                    <a:pt x="177" y="132"/>
                  </a:cubicBezTo>
                  <a:cubicBezTo>
                    <a:pt x="179" y="132"/>
                    <a:pt x="180" y="131"/>
                    <a:pt x="182" y="131"/>
                  </a:cubicBezTo>
                  <a:cubicBezTo>
                    <a:pt x="181" y="132"/>
                    <a:pt x="179" y="132"/>
                    <a:pt x="178" y="133"/>
                  </a:cubicBezTo>
                  <a:cubicBezTo>
                    <a:pt x="179" y="134"/>
                    <a:pt x="181" y="135"/>
                    <a:pt x="183" y="135"/>
                  </a:cubicBezTo>
                  <a:cubicBezTo>
                    <a:pt x="183" y="135"/>
                    <a:pt x="183" y="135"/>
                    <a:pt x="184" y="135"/>
                  </a:cubicBezTo>
                  <a:cubicBezTo>
                    <a:pt x="178" y="137"/>
                    <a:pt x="181" y="139"/>
                    <a:pt x="183" y="144"/>
                  </a:cubicBezTo>
                  <a:cubicBezTo>
                    <a:pt x="185" y="150"/>
                    <a:pt x="190" y="152"/>
                    <a:pt x="194" y="156"/>
                  </a:cubicBezTo>
                  <a:cubicBezTo>
                    <a:pt x="193" y="156"/>
                    <a:pt x="192" y="156"/>
                    <a:pt x="191" y="156"/>
                  </a:cubicBezTo>
                  <a:cubicBezTo>
                    <a:pt x="190" y="156"/>
                    <a:pt x="190" y="156"/>
                    <a:pt x="190" y="156"/>
                  </a:cubicBezTo>
                  <a:cubicBezTo>
                    <a:pt x="190" y="156"/>
                    <a:pt x="194" y="158"/>
                    <a:pt x="197" y="160"/>
                  </a:cubicBezTo>
                  <a:cubicBezTo>
                    <a:pt x="197" y="160"/>
                    <a:pt x="196" y="160"/>
                    <a:pt x="196" y="160"/>
                  </a:cubicBezTo>
                  <a:cubicBezTo>
                    <a:pt x="195" y="160"/>
                    <a:pt x="194" y="160"/>
                    <a:pt x="193" y="160"/>
                  </a:cubicBezTo>
                  <a:cubicBezTo>
                    <a:pt x="192" y="161"/>
                    <a:pt x="189" y="160"/>
                    <a:pt x="188" y="161"/>
                  </a:cubicBezTo>
                  <a:cubicBezTo>
                    <a:pt x="186" y="162"/>
                    <a:pt x="188" y="163"/>
                    <a:pt x="190" y="163"/>
                  </a:cubicBezTo>
                  <a:cubicBezTo>
                    <a:pt x="194" y="165"/>
                    <a:pt x="199" y="167"/>
                    <a:pt x="203" y="169"/>
                  </a:cubicBezTo>
                  <a:cubicBezTo>
                    <a:pt x="202" y="169"/>
                    <a:pt x="202" y="169"/>
                    <a:pt x="201" y="169"/>
                  </a:cubicBezTo>
                  <a:cubicBezTo>
                    <a:pt x="200" y="169"/>
                    <a:pt x="199" y="169"/>
                    <a:pt x="197" y="169"/>
                  </a:cubicBezTo>
                  <a:cubicBezTo>
                    <a:pt x="196" y="169"/>
                    <a:pt x="195" y="168"/>
                    <a:pt x="194" y="168"/>
                  </a:cubicBezTo>
                  <a:cubicBezTo>
                    <a:pt x="193" y="168"/>
                    <a:pt x="193" y="168"/>
                    <a:pt x="192" y="169"/>
                  </a:cubicBezTo>
                  <a:cubicBezTo>
                    <a:pt x="192" y="169"/>
                    <a:pt x="192" y="169"/>
                    <a:pt x="192" y="169"/>
                  </a:cubicBezTo>
                  <a:cubicBezTo>
                    <a:pt x="192" y="169"/>
                    <a:pt x="192" y="169"/>
                    <a:pt x="191" y="169"/>
                  </a:cubicBezTo>
                  <a:cubicBezTo>
                    <a:pt x="191" y="168"/>
                    <a:pt x="191" y="168"/>
                    <a:pt x="191" y="168"/>
                  </a:cubicBezTo>
                  <a:cubicBezTo>
                    <a:pt x="190" y="168"/>
                    <a:pt x="190" y="168"/>
                    <a:pt x="190" y="169"/>
                  </a:cubicBezTo>
                  <a:cubicBezTo>
                    <a:pt x="190" y="169"/>
                    <a:pt x="193" y="173"/>
                    <a:pt x="194" y="173"/>
                  </a:cubicBezTo>
                  <a:cubicBezTo>
                    <a:pt x="195" y="175"/>
                    <a:pt x="198" y="176"/>
                    <a:pt x="199" y="178"/>
                  </a:cubicBezTo>
                  <a:cubicBezTo>
                    <a:pt x="199" y="178"/>
                    <a:pt x="200" y="178"/>
                    <a:pt x="200" y="178"/>
                  </a:cubicBezTo>
                  <a:cubicBezTo>
                    <a:pt x="200" y="179"/>
                    <a:pt x="199" y="184"/>
                    <a:pt x="198" y="185"/>
                  </a:cubicBezTo>
                  <a:cubicBezTo>
                    <a:pt x="198" y="186"/>
                    <a:pt x="197" y="186"/>
                    <a:pt x="196" y="187"/>
                  </a:cubicBezTo>
                  <a:cubicBezTo>
                    <a:pt x="196" y="188"/>
                    <a:pt x="197" y="190"/>
                    <a:pt x="196" y="191"/>
                  </a:cubicBezTo>
                  <a:cubicBezTo>
                    <a:pt x="196" y="192"/>
                    <a:pt x="195" y="190"/>
                    <a:pt x="194" y="193"/>
                  </a:cubicBezTo>
                  <a:cubicBezTo>
                    <a:pt x="194" y="193"/>
                    <a:pt x="196" y="195"/>
                    <a:pt x="196" y="196"/>
                  </a:cubicBezTo>
                  <a:cubicBezTo>
                    <a:pt x="197" y="194"/>
                    <a:pt x="199" y="193"/>
                    <a:pt x="200" y="192"/>
                  </a:cubicBezTo>
                  <a:cubicBezTo>
                    <a:pt x="201" y="192"/>
                    <a:pt x="203" y="191"/>
                    <a:pt x="204" y="191"/>
                  </a:cubicBezTo>
                  <a:cubicBezTo>
                    <a:pt x="204" y="190"/>
                    <a:pt x="203" y="188"/>
                    <a:pt x="203" y="188"/>
                  </a:cubicBezTo>
                  <a:cubicBezTo>
                    <a:pt x="204" y="188"/>
                    <a:pt x="204" y="187"/>
                    <a:pt x="204" y="187"/>
                  </a:cubicBezTo>
                  <a:cubicBezTo>
                    <a:pt x="204" y="187"/>
                    <a:pt x="204" y="191"/>
                    <a:pt x="204" y="192"/>
                  </a:cubicBezTo>
                  <a:cubicBezTo>
                    <a:pt x="205" y="193"/>
                    <a:pt x="206" y="193"/>
                    <a:pt x="208" y="193"/>
                  </a:cubicBezTo>
                  <a:cubicBezTo>
                    <a:pt x="210" y="193"/>
                    <a:pt x="213" y="192"/>
                    <a:pt x="215" y="191"/>
                  </a:cubicBezTo>
                  <a:cubicBezTo>
                    <a:pt x="216" y="191"/>
                    <a:pt x="216" y="191"/>
                    <a:pt x="217" y="191"/>
                  </a:cubicBezTo>
                  <a:cubicBezTo>
                    <a:pt x="217" y="191"/>
                    <a:pt x="218" y="191"/>
                    <a:pt x="218" y="191"/>
                  </a:cubicBezTo>
                  <a:cubicBezTo>
                    <a:pt x="218" y="191"/>
                    <a:pt x="219" y="191"/>
                    <a:pt x="219" y="191"/>
                  </a:cubicBezTo>
                  <a:cubicBezTo>
                    <a:pt x="220" y="191"/>
                    <a:pt x="222" y="191"/>
                    <a:pt x="222" y="191"/>
                  </a:cubicBezTo>
                  <a:cubicBezTo>
                    <a:pt x="224" y="190"/>
                    <a:pt x="224" y="187"/>
                    <a:pt x="225" y="187"/>
                  </a:cubicBezTo>
                  <a:cubicBezTo>
                    <a:pt x="223" y="188"/>
                    <a:pt x="225" y="189"/>
                    <a:pt x="225" y="190"/>
                  </a:cubicBezTo>
                  <a:cubicBezTo>
                    <a:pt x="224" y="191"/>
                    <a:pt x="223" y="191"/>
                    <a:pt x="222" y="192"/>
                  </a:cubicBezTo>
                  <a:cubicBezTo>
                    <a:pt x="222" y="194"/>
                    <a:pt x="227" y="198"/>
                    <a:pt x="229" y="199"/>
                  </a:cubicBezTo>
                  <a:cubicBezTo>
                    <a:pt x="234" y="204"/>
                    <a:pt x="240" y="209"/>
                    <a:pt x="245" y="214"/>
                  </a:cubicBezTo>
                  <a:cubicBezTo>
                    <a:pt x="245" y="163"/>
                    <a:pt x="245" y="163"/>
                    <a:pt x="245" y="163"/>
                  </a:cubicBezTo>
                  <a:cubicBezTo>
                    <a:pt x="244" y="162"/>
                    <a:pt x="244" y="162"/>
                    <a:pt x="244" y="162"/>
                  </a:cubicBezTo>
                  <a:cubicBezTo>
                    <a:pt x="244" y="162"/>
                    <a:pt x="243" y="162"/>
                    <a:pt x="243" y="161"/>
                  </a:cubicBezTo>
                  <a:cubicBezTo>
                    <a:pt x="242" y="160"/>
                    <a:pt x="242" y="159"/>
                    <a:pt x="242" y="158"/>
                  </a:cubicBezTo>
                  <a:cubicBezTo>
                    <a:pt x="244" y="134"/>
                    <a:pt x="244" y="134"/>
                    <a:pt x="244" y="134"/>
                  </a:cubicBezTo>
                  <a:cubicBezTo>
                    <a:pt x="244" y="130"/>
                    <a:pt x="244" y="125"/>
                    <a:pt x="244" y="121"/>
                  </a:cubicBezTo>
                  <a:cubicBezTo>
                    <a:pt x="245" y="117"/>
                    <a:pt x="245" y="117"/>
                    <a:pt x="245" y="117"/>
                  </a:cubicBezTo>
                  <a:cubicBezTo>
                    <a:pt x="245" y="116"/>
                    <a:pt x="245" y="115"/>
                    <a:pt x="245" y="114"/>
                  </a:cubicBezTo>
                  <a:cubicBezTo>
                    <a:pt x="245" y="111"/>
                    <a:pt x="245" y="111"/>
                    <a:pt x="245" y="111"/>
                  </a:cubicBezTo>
                  <a:cubicBezTo>
                    <a:pt x="245" y="100"/>
                    <a:pt x="245" y="88"/>
                    <a:pt x="245" y="77"/>
                  </a:cubicBezTo>
                  <a:cubicBezTo>
                    <a:pt x="245" y="69"/>
                    <a:pt x="244" y="62"/>
                    <a:pt x="244" y="55"/>
                  </a:cubicBezTo>
                  <a:cubicBezTo>
                    <a:pt x="243" y="55"/>
                    <a:pt x="242" y="55"/>
                    <a:pt x="241" y="56"/>
                  </a:cubicBezTo>
                  <a:cubicBezTo>
                    <a:pt x="240" y="55"/>
                    <a:pt x="240" y="52"/>
                    <a:pt x="239" y="52"/>
                  </a:cubicBezTo>
                  <a:cubicBezTo>
                    <a:pt x="235" y="51"/>
                    <a:pt x="231" y="50"/>
                    <a:pt x="228" y="50"/>
                  </a:cubicBezTo>
                  <a:cubicBezTo>
                    <a:pt x="227" y="49"/>
                    <a:pt x="226" y="49"/>
                    <a:pt x="225" y="49"/>
                  </a:cubicBezTo>
                  <a:cubicBezTo>
                    <a:pt x="225" y="49"/>
                    <a:pt x="224" y="49"/>
                    <a:pt x="223" y="49"/>
                  </a:cubicBezTo>
                  <a:cubicBezTo>
                    <a:pt x="222" y="50"/>
                    <a:pt x="221" y="50"/>
                    <a:pt x="221" y="50"/>
                  </a:cubicBezTo>
                  <a:cubicBezTo>
                    <a:pt x="220" y="50"/>
                    <a:pt x="219" y="50"/>
                    <a:pt x="219" y="49"/>
                  </a:cubicBezTo>
                  <a:cubicBezTo>
                    <a:pt x="216" y="49"/>
                    <a:pt x="214" y="48"/>
                    <a:pt x="212" y="47"/>
                  </a:cubicBezTo>
                  <a:cubicBezTo>
                    <a:pt x="205" y="43"/>
                    <a:pt x="198" y="40"/>
                    <a:pt x="191" y="37"/>
                  </a:cubicBezTo>
                  <a:cubicBezTo>
                    <a:pt x="185" y="34"/>
                    <a:pt x="179" y="31"/>
                    <a:pt x="173" y="28"/>
                  </a:cubicBezTo>
                  <a:cubicBezTo>
                    <a:pt x="172" y="28"/>
                    <a:pt x="171" y="28"/>
                    <a:pt x="171" y="28"/>
                  </a:cubicBezTo>
                  <a:cubicBezTo>
                    <a:pt x="169" y="28"/>
                    <a:pt x="166" y="29"/>
                    <a:pt x="165" y="29"/>
                  </a:cubicBezTo>
                  <a:cubicBezTo>
                    <a:pt x="162" y="30"/>
                    <a:pt x="159" y="32"/>
                    <a:pt x="157" y="34"/>
                  </a:cubicBezTo>
                  <a:cubicBezTo>
                    <a:pt x="155" y="34"/>
                    <a:pt x="152" y="34"/>
                    <a:pt x="153" y="37"/>
                  </a:cubicBezTo>
                  <a:cubicBezTo>
                    <a:pt x="153" y="38"/>
                    <a:pt x="154" y="39"/>
                    <a:pt x="154" y="40"/>
                  </a:cubicBezTo>
                  <a:cubicBezTo>
                    <a:pt x="155" y="41"/>
                    <a:pt x="155" y="41"/>
                    <a:pt x="155" y="41"/>
                  </a:cubicBezTo>
                  <a:cubicBezTo>
                    <a:pt x="154" y="43"/>
                    <a:pt x="151" y="43"/>
                    <a:pt x="150" y="44"/>
                  </a:cubicBezTo>
                  <a:cubicBezTo>
                    <a:pt x="147" y="45"/>
                    <a:pt x="143" y="47"/>
                    <a:pt x="140" y="47"/>
                  </a:cubicBezTo>
                  <a:cubicBezTo>
                    <a:pt x="140" y="47"/>
                    <a:pt x="140" y="47"/>
                    <a:pt x="139" y="47"/>
                  </a:cubicBezTo>
                  <a:cubicBezTo>
                    <a:pt x="138" y="46"/>
                    <a:pt x="138" y="45"/>
                    <a:pt x="137" y="45"/>
                  </a:cubicBezTo>
                  <a:cubicBezTo>
                    <a:pt x="134" y="45"/>
                    <a:pt x="133" y="48"/>
                    <a:pt x="131" y="50"/>
                  </a:cubicBezTo>
                  <a:cubicBezTo>
                    <a:pt x="128" y="54"/>
                    <a:pt x="125" y="58"/>
                    <a:pt x="123" y="62"/>
                  </a:cubicBezTo>
                  <a:cubicBezTo>
                    <a:pt x="122" y="63"/>
                    <a:pt x="123" y="64"/>
                    <a:pt x="122" y="65"/>
                  </a:cubicBezTo>
                  <a:cubicBezTo>
                    <a:pt x="121" y="66"/>
                    <a:pt x="119" y="66"/>
                    <a:pt x="118" y="67"/>
                  </a:cubicBezTo>
                  <a:cubicBezTo>
                    <a:pt x="118" y="67"/>
                    <a:pt x="119" y="67"/>
                    <a:pt x="118" y="68"/>
                  </a:cubicBezTo>
                  <a:cubicBezTo>
                    <a:pt x="117" y="69"/>
                    <a:pt x="116" y="69"/>
                    <a:pt x="115" y="70"/>
                  </a:cubicBezTo>
                  <a:cubicBezTo>
                    <a:pt x="114" y="71"/>
                    <a:pt x="114" y="72"/>
                    <a:pt x="113" y="72"/>
                  </a:cubicBezTo>
                  <a:cubicBezTo>
                    <a:pt x="112" y="74"/>
                    <a:pt x="110" y="75"/>
                    <a:pt x="107" y="75"/>
                  </a:cubicBezTo>
                  <a:cubicBezTo>
                    <a:pt x="106" y="75"/>
                    <a:pt x="104" y="74"/>
                    <a:pt x="103" y="74"/>
                  </a:cubicBezTo>
                  <a:cubicBezTo>
                    <a:pt x="97" y="73"/>
                    <a:pt x="96" y="69"/>
                    <a:pt x="96" y="63"/>
                  </a:cubicBezTo>
                  <a:cubicBezTo>
                    <a:pt x="95" y="64"/>
                    <a:pt x="94" y="64"/>
                    <a:pt x="93" y="64"/>
                  </a:cubicBezTo>
                  <a:cubicBezTo>
                    <a:pt x="93" y="64"/>
                    <a:pt x="92" y="64"/>
                    <a:pt x="92" y="61"/>
                  </a:cubicBezTo>
                  <a:cubicBezTo>
                    <a:pt x="91" y="60"/>
                    <a:pt x="92" y="55"/>
                    <a:pt x="91" y="54"/>
                  </a:cubicBezTo>
                  <a:cubicBezTo>
                    <a:pt x="91" y="53"/>
                    <a:pt x="90" y="53"/>
                    <a:pt x="89" y="53"/>
                  </a:cubicBezTo>
                  <a:cubicBezTo>
                    <a:pt x="88" y="53"/>
                    <a:pt x="87" y="54"/>
                    <a:pt x="87" y="56"/>
                  </a:cubicBezTo>
                  <a:cubicBezTo>
                    <a:pt x="87" y="57"/>
                    <a:pt x="89" y="60"/>
                    <a:pt x="88" y="61"/>
                  </a:cubicBezTo>
                  <a:cubicBezTo>
                    <a:pt x="88" y="61"/>
                    <a:pt x="88" y="62"/>
                    <a:pt x="87" y="62"/>
                  </a:cubicBezTo>
                  <a:cubicBezTo>
                    <a:pt x="87" y="62"/>
                    <a:pt x="86" y="61"/>
                    <a:pt x="86" y="60"/>
                  </a:cubicBezTo>
                  <a:cubicBezTo>
                    <a:pt x="84" y="55"/>
                    <a:pt x="82" y="50"/>
                    <a:pt x="81" y="46"/>
                  </a:cubicBezTo>
                  <a:cubicBezTo>
                    <a:pt x="80" y="42"/>
                    <a:pt x="78" y="38"/>
                    <a:pt x="78" y="34"/>
                  </a:cubicBezTo>
                  <a:cubicBezTo>
                    <a:pt x="78" y="32"/>
                    <a:pt x="78" y="33"/>
                    <a:pt x="79" y="32"/>
                  </a:cubicBezTo>
                  <a:cubicBezTo>
                    <a:pt x="80" y="29"/>
                    <a:pt x="81" y="29"/>
                    <a:pt x="81" y="26"/>
                  </a:cubicBezTo>
                  <a:cubicBezTo>
                    <a:pt x="81" y="24"/>
                    <a:pt x="82" y="25"/>
                    <a:pt x="81" y="23"/>
                  </a:cubicBezTo>
                  <a:cubicBezTo>
                    <a:pt x="80" y="21"/>
                    <a:pt x="78" y="19"/>
                    <a:pt x="77" y="17"/>
                  </a:cubicBezTo>
                  <a:cubicBezTo>
                    <a:pt x="76" y="15"/>
                    <a:pt x="76" y="13"/>
                    <a:pt x="79" y="13"/>
                  </a:cubicBezTo>
                  <a:cubicBezTo>
                    <a:pt x="79" y="13"/>
                    <a:pt x="79" y="13"/>
                    <a:pt x="80" y="13"/>
                  </a:cubicBezTo>
                  <a:cubicBezTo>
                    <a:pt x="73" y="11"/>
                    <a:pt x="65" y="11"/>
                    <a:pt x="59" y="8"/>
                  </a:cubicBezTo>
                  <a:cubicBezTo>
                    <a:pt x="53" y="5"/>
                    <a:pt x="47" y="1"/>
                    <a:pt x="40" y="0"/>
                  </a:cubicBezTo>
                  <a:cubicBezTo>
                    <a:pt x="39" y="0"/>
                    <a:pt x="39"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461"/>
            <p:cNvSpPr/>
            <p:nvPr/>
          </p:nvSpPr>
          <p:spPr bwMode="auto">
            <a:xfrm>
              <a:off x="6143703" y="5517561"/>
              <a:ext cx="792444" cy="660818"/>
            </a:xfrm>
            <a:custGeom>
              <a:gdLst>
                <a:gd name="T0" fmla="*/ 175 w 250"/>
                <a:gd name="T1" fmla="*/ 1 h 208"/>
                <a:gd name="T2" fmla="*/ 162 w 250"/>
                <a:gd name="T3" fmla="*/ 33 h 208"/>
                <a:gd name="T4" fmla="*/ 157 w 250"/>
                <a:gd name="T5" fmla="*/ 38 h 208"/>
                <a:gd name="T6" fmla="*/ 160 w 250"/>
                <a:gd name="T7" fmla="*/ 41 h 208"/>
                <a:gd name="T8" fmla="*/ 152 w 250"/>
                <a:gd name="T9" fmla="*/ 49 h 208"/>
                <a:gd name="T10" fmla="*/ 150 w 250"/>
                <a:gd name="T11" fmla="*/ 52 h 208"/>
                <a:gd name="T12" fmla="*/ 147 w 250"/>
                <a:gd name="T13" fmla="*/ 62 h 208"/>
                <a:gd name="T14" fmla="*/ 138 w 250"/>
                <a:gd name="T15" fmla="*/ 73 h 208"/>
                <a:gd name="T16" fmla="*/ 136 w 250"/>
                <a:gd name="T17" fmla="*/ 73 h 208"/>
                <a:gd name="T18" fmla="*/ 130 w 250"/>
                <a:gd name="T19" fmla="*/ 73 h 208"/>
                <a:gd name="T20" fmla="*/ 118 w 250"/>
                <a:gd name="T21" fmla="*/ 77 h 208"/>
                <a:gd name="T22" fmla="*/ 96 w 250"/>
                <a:gd name="T23" fmla="*/ 71 h 208"/>
                <a:gd name="T24" fmla="*/ 85 w 250"/>
                <a:gd name="T25" fmla="*/ 72 h 208"/>
                <a:gd name="T26" fmla="*/ 71 w 250"/>
                <a:gd name="T27" fmla="*/ 83 h 208"/>
                <a:gd name="T28" fmla="*/ 55 w 250"/>
                <a:gd name="T29" fmla="*/ 83 h 208"/>
                <a:gd name="T30" fmla="*/ 41 w 250"/>
                <a:gd name="T31" fmla="*/ 87 h 208"/>
                <a:gd name="T32" fmla="*/ 34 w 250"/>
                <a:gd name="T33" fmla="*/ 82 h 208"/>
                <a:gd name="T34" fmla="*/ 16 w 250"/>
                <a:gd name="T35" fmla="*/ 56 h 208"/>
                <a:gd name="T36" fmla="*/ 2 w 250"/>
                <a:gd name="T37" fmla="*/ 76 h 208"/>
                <a:gd name="T38" fmla="*/ 7 w 250"/>
                <a:gd name="T39" fmla="*/ 101 h 208"/>
                <a:gd name="T40" fmla="*/ 9 w 250"/>
                <a:gd name="T41" fmla="*/ 111 h 208"/>
                <a:gd name="T42" fmla="*/ 12 w 250"/>
                <a:gd name="T43" fmla="*/ 127 h 208"/>
                <a:gd name="T44" fmla="*/ 28 w 250"/>
                <a:gd name="T45" fmla="*/ 148 h 208"/>
                <a:gd name="T46" fmla="*/ 31 w 250"/>
                <a:gd name="T47" fmla="*/ 156 h 208"/>
                <a:gd name="T48" fmla="*/ 42 w 250"/>
                <a:gd name="T49" fmla="*/ 180 h 208"/>
                <a:gd name="T50" fmla="*/ 47 w 250"/>
                <a:gd name="T51" fmla="*/ 180 h 208"/>
                <a:gd name="T52" fmla="*/ 53 w 250"/>
                <a:gd name="T53" fmla="*/ 181 h 208"/>
                <a:gd name="T54" fmla="*/ 64 w 250"/>
                <a:gd name="T55" fmla="*/ 178 h 208"/>
                <a:gd name="T56" fmla="*/ 71 w 250"/>
                <a:gd name="T57" fmla="*/ 173 h 208"/>
                <a:gd name="T58" fmla="*/ 103 w 250"/>
                <a:gd name="T59" fmla="*/ 177 h 208"/>
                <a:gd name="T60" fmla="*/ 117 w 250"/>
                <a:gd name="T61" fmla="*/ 183 h 208"/>
                <a:gd name="T62" fmla="*/ 130 w 250"/>
                <a:gd name="T63" fmla="*/ 184 h 208"/>
                <a:gd name="T64" fmla="*/ 138 w 250"/>
                <a:gd name="T65" fmla="*/ 191 h 208"/>
                <a:gd name="T66" fmla="*/ 143 w 250"/>
                <a:gd name="T67" fmla="*/ 208 h 208"/>
                <a:gd name="T68" fmla="*/ 156 w 250"/>
                <a:gd name="T69" fmla="*/ 202 h 208"/>
                <a:gd name="T70" fmla="*/ 182 w 250"/>
                <a:gd name="T71" fmla="*/ 182 h 208"/>
                <a:gd name="T72" fmla="*/ 183 w 250"/>
                <a:gd name="T73" fmla="*/ 167 h 208"/>
                <a:gd name="T74" fmla="*/ 182 w 250"/>
                <a:gd name="T75" fmla="*/ 149 h 208"/>
                <a:gd name="T76" fmla="*/ 197 w 250"/>
                <a:gd name="T77" fmla="*/ 136 h 208"/>
                <a:gd name="T78" fmla="*/ 216 w 250"/>
                <a:gd name="T79" fmla="*/ 124 h 208"/>
                <a:gd name="T80" fmla="*/ 213 w 250"/>
                <a:gd name="T81" fmla="*/ 105 h 208"/>
                <a:gd name="T82" fmla="*/ 224 w 250"/>
                <a:gd name="T83" fmla="*/ 85 h 208"/>
                <a:gd name="T84" fmla="*/ 223 w 250"/>
                <a:gd name="T85" fmla="*/ 77 h 208"/>
                <a:gd name="T86" fmla="*/ 250 w 250"/>
                <a:gd name="T87" fmla="*/ 79 h 208"/>
                <a:gd name="T88" fmla="*/ 221 w 250"/>
                <a:gd name="T89" fmla="*/ 53 h 208"/>
                <a:gd name="T90" fmla="*/ 216 w 250"/>
                <a:gd name="T91" fmla="*/ 35 h 208"/>
                <a:gd name="T92" fmla="*/ 212 w 250"/>
                <a:gd name="T93" fmla="*/ 28 h 208"/>
                <a:gd name="T94" fmla="*/ 208 w 250"/>
                <a:gd name="T95" fmla="*/ 25 h 208"/>
                <a:gd name="T96" fmla="*/ 209 w 250"/>
                <a:gd name="T97" fmla="*/ 24 h 208"/>
                <a:gd name="T98" fmla="*/ 209 w 250"/>
                <a:gd name="T99" fmla="*/ 20 h 208"/>
                <a:gd name="T100" fmla="*/ 204 w 250"/>
                <a:gd name="T101" fmla="*/ 17 h 208"/>
                <a:gd name="T102" fmla="*/ 210 w 250"/>
                <a:gd name="T103" fmla="*/ 16 h 208"/>
                <a:gd name="T104" fmla="*/ 217 w 250"/>
                <a:gd name="T105" fmla="*/ 10 h 208"/>
                <a:gd name="T106" fmla="*/ 209 w 250"/>
                <a:gd name="T107" fmla="*/ 4 h 2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0" h="208">
                  <a:moveTo>
                    <a:pt x="190" y="0"/>
                  </a:moveTo>
                  <a:cubicBezTo>
                    <a:pt x="190" y="0"/>
                    <a:pt x="189" y="0"/>
                    <a:pt x="188" y="0"/>
                  </a:cubicBezTo>
                  <a:cubicBezTo>
                    <a:pt x="184" y="0"/>
                    <a:pt x="180" y="1"/>
                    <a:pt x="178" y="1"/>
                  </a:cubicBezTo>
                  <a:cubicBezTo>
                    <a:pt x="177" y="1"/>
                    <a:pt x="176" y="1"/>
                    <a:pt x="175" y="1"/>
                  </a:cubicBezTo>
                  <a:cubicBezTo>
                    <a:pt x="175" y="1"/>
                    <a:pt x="174" y="1"/>
                    <a:pt x="174" y="1"/>
                  </a:cubicBezTo>
                  <a:cubicBezTo>
                    <a:pt x="170" y="4"/>
                    <a:pt x="168" y="8"/>
                    <a:pt x="169" y="10"/>
                  </a:cubicBezTo>
                  <a:cubicBezTo>
                    <a:pt x="169" y="17"/>
                    <a:pt x="170" y="22"/>
                    <a:pt x="168" y="28"/>
                  </a:cubicBezTo>
                  <a:cubicBezTo>
                    <a:pt x="167" y="30"/>
                    <a:pt x="166" y="33"/>
                    <a:pt x="162" y="33"/>
                  </a:cubicBezTo>
                  <a:cubicBezTo>
                    <a:pt x="162" y="33"/>
                    <a:pt x="161" y="33"/>
                    <a:pt x="161" y="33"/>
                  </a:cubicBezTo>
                  <a:cubicBezTo>
                    <a:pt x="161" y="33"/>
                    <a:pt x="161" y="33"/>
                    <a:pt x="161" y="33"/>
                  </a:cubicBezTo>
                  <a:cubicBezTo>
                    <a:pt x="160" y="33"/>
                    <a:pt x="159" y="34"/>
                    <a:pt x="158" y="35"/>
                  </a:cubicBezTo>
                  <a:cubicBezTo>
                    <a:pt x="157" y="36"/>
                    <a:pt x="157" y="37"/>
                    <a:pt x="157" y="38"/>
                  </a:cubicBezTo>
                  <a:cubicBezTo>
                    <a:pt x="158" y="39"/>
                    <a:pt x="158" y="39"/>
                    <a:pt x="159" y="40"/>
                  </a:cubicBezTo>
                  <a:cubicBezTo>
                    <a:pt x="162" y="39"/>
                    <a:pt x="162" y="39"/>
                    <a:pt x="162" y="39"/>
                  </a:cubicBezTo>
                  <a:cubicBezTo>
                    <a:pt x="159" y="41"/>
                    <a:pt x="159" y="41"/>
                    <a:pt x="159" y="41"/>
                  </a:cubicBezTo>
                  <a:cubicBezTo>
                    <a:pt x="160" y="41"/>
                    <a:pt x="160" y="41"/>
                    <a:pt x="160" y="41"/>
                  </a:cubicBezTo>
                  <a:cubicBezTo>
                    <a:pt x="161" y="43"/>
                    <a:pt x="161" y="43"/>
                    <a:pt x="161" y="43"/>
                  </a:cubicBezTo>
                  <a:cubicBezTo>
                    <a:pt x="159" y="45"/>
                    <a:pt x="159" y="45"/>
                    <a:pt x="159" y="45"/>
                  </a:cubicBezTo>
                  <a:cubicBezTo>
                    <a:pt x="158" y="46"/>
                    <a:pt x="156" y="47"/>
                    <a:pt x="154" y="48"/>
                  </a:cubicBezTo>
                  <a:cubicBezTo>
                    <a:pt x="154" y="49"/>
                    <a:pt x="153" y="49"/>
                    <a:pt x="152" y="49"/>
                  </a:cubicBezTo>
                  <a:cubicBezTo>
                    <a:pt x="152" y="49"/>
                    <a:pt x="152" y="50"/>
                    <a:pt x="151" y="50"/>
                  </a:cubicBezTo>
                  <a:cubicBezTo>
                    <a:pt x="151" y="50"/>
                    <a:pt x="151" y="50"/>
                    <a:pt x="151" y="50"/>
                  </a:cubicBezTo>
                  <a:cubicBezTo>
                    <a:pt x="150" y="51"/>
                    <a:pt x="150" y="51"/>
                    <a:pt x="150" y="51"/>
                  </a:cubicBezTo>
                  <a:cubicBezTo>
                    <a:pt x="150" y="51"/>
                    <a:pt x="150" y="52"/>
                    <a:pt x="150" y="52"/>
                  </a:cubicBezTo>
                  <a:cubicBezTo>
                    <a:pt x="150" y="53"/>
                    <a:pt x="151" y="53"/>
                    <a:pt x="151" y="54"/>
                  </a:cubicBezTo>
                  <a:cubicBezTo>
                    <a:pt x="151" y="55"/>
                    <a:pt x="151" y="57"/>
                    <a:pt x="151" y="59"/>
                  </a:cubicBezTo>
                  <a:cubicBezTo>
                    <a:pt x="150" y="60"/>
                    <a:pt x="149" y="61"/>
                    <a:pt x="148" y="62"/>
                  </a:cubicBezTo>
                  <a:cubicBezTo>
                    <a:pt x="147" y="62"/>
                    <a:pt x="147" y="62"/>
                    <a:pt x="147" y="62"/>
                  </a:cubicBezTo>
                  <a:cubicBezTo>
                    <a:pt x="147" y="63"/>
                    <a:pt x="147" y="63"/>
                    <a:pt x="147" y="63"/>
                  </a:cubicBezTo>
                  <a:cubicBezTo>
                    <a:pt x="146" y="63"/>
                    <a:pt x="146" y="64"/>
                    <a:pt x="146" y="64"/>
                  </a:cubicBezTo>
                  <a:cubicBezTo>
                    <a:pt x="145" y="68"/>
                    <a:pt x="145" y="68"/>
                    <a:pt x="145" y="68"/>
                  </a:cubicBezTo>
                  <a:cubicBezTo>
                    <a:pt x="144" y="71"/>
                    <a:pt x="141" y="73"/>
                    <a:pt x="138" y="73"/>
                  </a:cubicBezTo>
                  <a:cubicBezTo>
                    <a:pt x="138" y="73"/>
                    <a:pt x="138" y="73"/>
                    <a:pt x="138" y="73"/>
                  </a:cubicBezTo>
                  <a:cubicBezTo>
                    <a:pt x="137" y="73"/>
                    <a:pt x="137" y="73"/>
                    <a:pt x="136" y="73"/>
                  </a:cubicBezTo>
                  <a:cubicBezTo>
                    <a:pt x="136" y="72"/>
                    <a:pt x="136" y="72"/>
                    <a:pt x="136" y="72"/>
                  </a:cubicBezTo>
                  <a:cubicBezTo>
                    <a:pt x="136" y="73"/>
                    <a:pt x="136" y="73"/>
                    <a:pt x="136" y="73"/>
                  </a:cubicBezTo>
                  <a:cubicBezTo>
                    <a:pt x="136" y="73"/>
                    <a:pt x="135" y="73"/>
                    <a:pt x="135" y="73"/>
                  </a:cubicBezTo>
                  <a:cubicBezTo>
                    <a:pt x="134" y="73"/>
                    <a:pt x="134" y="73"/>
                    <a:pt x="134" y="73"/>
                  </a:cubicBezTo>
                  <a:cubicBezTo>
                    <a:pt x="133" y="73"/>
                    <a:pt x="133" y="73"/>
                    <a:pt x="133" y="73"/>
                  </a:cubicBezTo>
                  <a:cubicBezTo>
                    <a:pt x="130" y="73"/>
                    <a:pt x="130" y="73"/>
                    <a:pt x="130" y="73"/>
                  </a:cubicBezTo>
                  <a:cubicBezTo>
                    <a:pt x="127" y="74"/>
                    <a:pt x="125" y="74"/>
                    <a:pt x="123" y="75"/>
                  </a:cubicBezTo>
                  <a:cubicBezTo>
                    <a:pt x="123" y="76"/>
                    <a:pt x="123" y="76"/>
                    <a:pt x="123" y="76"/>
                  </a:cubicBezTo>
                  <a:cubicBezTo>
                    <a:pt x="122" y="76"/>
                    <a:pt x="121" y="77"/>
                    <a:pt x="120" y="77"/>
                  </a:cubicBezTo>
                  <a:cubicBezTo>
                    <a:pt x="119" y="77"/>
                    <a:pt x="119" y="77"/>
                    <a:pt x="118" y="77"/>
                  </a:cubicBezTo>
                  <a:cubicBezTo>
                    <a:pt x="114" y="77"/>
                    <a:pt x="111" y="76"/>
                    <a:pt x="108" y="74"/>
                  </a:cubicBezTo>
                  <a:cubicBezTo>
                    <a:pt x="107" y="74"/>
                    <a:pt x="107" y="74"/>
                    <a:pt x="107" y="74"/>
                  </a:cubicBezTo>
                  <a:cubicBezTo>
                    <a:pt x="105" y="73"/>
                    <a:pt x="103" y="72"/>
                    <a:pt x="102" y="72"/>
                  </a:cubicBezTo>
                  <a:cubicBezTo>
                    <a:pt x="96" y="71"/>
                    <a:pt x="96" y="71"/>
                    <a:pt x="96" y="71"/>
                  </a:cubicBezTo>
                  <a:cubicBezTo>
                    <a:pt x="97" y="70"/>
                    <a:pt x="97" y="70"/>
                    <a:pt x="97" y="70"/>
                  </a:cubicBezTo>
                  <a:cubicBezTo>
                    <a:pt x="95" y="70"/>
                    <a:pt x="92" y="71"/>
                    <a:pt x="88" y="72"/>
                  </a:cubicBezTo>
                  <a:cubicBezTo>
                    <a:pt x="86" y="72"/>
                    <a:pt x="86" y="72"/>
                    <a:pt x="86" y="72"/>
                  </a:cubicBezTo>
                  <a:cubicBezTo>
                    <a:pt x="86" y="72"/>
                    <a:pt x="85" y="72"/>
                    <a:pt x="85" y="72"/>
                  </a:cubicBezTo>
                  <a:cubicBezTo>
                    <a:pt x="85" y="73"/>
                    <a:pt x="85" y="73"/>
                    <a:pt x="85" y="74"/>
                  </a:cubicBezTo>
                  <a:cubicBezTo>
                    <a:pt x="84" y="74"/>
                    <a:pt x="84" y="74"/>
                    <a:pt x="84" y="74"/>
                  </a:cubicBezTo>
                  <a:cubicBezTo>
                    <a:pt x="84" y="74"/>
                    <a:pt x="84" y="76"/>
                    <a:pt x="84" y="77"/>
                  </a:cubicBezTo>
                  <a:cubicBezTo>
                    <a:pt x="82" y="80"/>
                    <a:pt x="75" y="83"/>
                    <a:pt x="71" y="83"/>
                  </a:cubicBezTo>
                  <a:cubicBezTo>
                    <a:pt x="70" y="83"/>
                    <a:pt x="70" y="83"/>
                    <a:pt x="70" y="83"/>
                  </a:cubicBezTo>
                  <a:cubicBezTo>
                    <a:pt x="68" y="83"/>
                    <a:pt x="67" y="83"/>
                    <a:pt x="66" y="83"/>
                  </a:cubicBezTo>
                  <a:cubicBezTo>
                    <a:pt x="64" y="82"/>
                    <a:pt x="62" y="82"/>
                    <a:pt x="60" y="82"/>
                  </a:cubicBezTo>
                  <a:cubicBezTo>
                    <a:pt x="59" y="82"/>
                    <a:pt x="57" y="82"/>
                    <a:pt x="55" y="83"/>
                  </a:cubicBezTo>
                  <a:cubicBezTo>
                    <a:pt x="55" y="83"/>
                    <a:pt x="54" y="84"/>
                    <a:pt x="53" y="84"/>
                  </a:cubicBezTo>
                  <a:cubicBezTo>
                    <a:pt x="53" y="84"/>
                    <a:pt x="53" y="84"/>
                    <a:pt x="53" y="84"/>
                  </a:cubicBezTo>
                  <a:cubicBezTo>
                    <a:pt x="50" y="85"/>
                    <a:pt x="46" y="87"/>
                    <a:pt x="43" y="87"/>
                  </a:cubicBezTo>
                  <a:cubicBezTo>
                    <a:pt x="42" y="87"/>
                    <a:pt x="42" y="87"/>
                    <a:pt x="41" y="87"/>
                  </a:cubicBezTo>
                  <a:cubicBezTo>
                    <a:pt x="39" y="87"/>
                    <a:pt x="37" y="85"/>
                    <a:pt x="36" y="83"/>
                  </a:cubicBezTo>
                  <a:cubicBezTo>
                    <a:pt x="35" y="83"/>
                    <a:pt x="35" y="83"/>
                    <a:pt x="35" y="83"/>
                  </a:cubicBezTo>
                  <a:cubicBezTo>
                    <a:pt x="35" y="82"/>
                    <a:pt x="35" y="82"/>
                    <a:pt x="35" y="82"/>
                  </a:cubicBezTo>
                  <a:cubicBezTo>
                    <a:pt x="34" y="82"/>
                    <a:pt x="34" y="82"/>
                    <a:pt x="34" y="82"/>
                  </a:cubicBezTo>
                  <a:cubicBezTo>
                    <a:pt x="31" y="80"/>
                    <a:pt x="29" y="77"/>
                    <a:pt x="26" y="75"/>
                  </a:cubicBezTo>
                  <a:cubicBezTo>
                    <a:pt x="25" y="74"/>
                    <a:pt x="25" y="74"/>
                    <a:pt x="25" y="74"/>
                  </a:cubicBezTo>
                  <a:cubicBezTo>
                    <a:pt x="21" y="71"/>
                    <a:pt x="16" y="66"/>
                    <a:pt x="15" y="61"/>
                  </a:cubicBezTo>
                  <a:cubicBezTo>
                    <a:pt x="14" y="59"/>
                    <a:pt x="15" y="57"/>
                    <a:pt x="16" y="56"/>
                  </a:cubicBezTo>
                  <a:cubicBezTo>
                    <a:pt x="14" y="57"/>
                    <a:pt x="12" y="58"/>
                    <a:pt x="11" y="59"/>
                  </a:cubicBezTo>
                  <a:cubicBezTo>
                    <a:pt x="7" y="65"/>
                    <a:pt x="5" y="66"/>
                    <a:pt x="7" y="73"/>
                  </a:cubicBezTo>
                  <a:cubicBezTo>
                    <a:pt x="5" y="74"/>
                    <a:pt x="4" y="76"/>
                    <a:pt x="2" y="76"/>
                  </a:cubicBezTo>
                  <a:cubicBezTo>
                    <a:pt x="2" y="76"/>
                    <a:pt x="2" y="76"/>
                    <a:pt x="2" y="76"/>
                  </a:cubicBezTo>
                  <a:cubicBezTo>
                    <a:pt x="2" y="77"/>
                    <a:pt x="4" y="80"/>
                    <a:pt x="3" y="81"/>
                  </a:cubicBezTo>
                  <a:cubicBezTo>
                    <a:pt x="0" y="84"/>
                    <a:pt x="1" y="85"/>
                    <a:pt x="1" y="89"/>
                  </a:cubicBezTo>
                  <a:cubicBezTo>
                    <a:pt x="2" y="90"/>
                    <a:pt x="1" y="97"/>
                    <a:pt x="2" y="97"/>
                  </a:cubicBezTo>
                  <a:cubicBezTo>
                    <a:pt x="4" y="99"/>
                    <a:pt x="6" y="99"/>
                    <a:pt x="7" y="101"/>
                  </a:cubicBezTo>
                  <a:cubicBezTo>
                    <a:pt x="8" y="103"/>
                    <a:pt x="9" y="104"/>
                    <a:pt x="11" y="105"/>
                  </a:cubicBezTo>
                  <a:cubicBezTo>
                    <a:pt x="9" y="105"/>
                    <a:pt x="9" y="104"/>
                    <a:pt x="8" y="104"/>
                  </a:cubicBezTo>
                  <a:cubicBezTo>
                    <a:pt x="7" y="104"/>
                    <a:pt x="8" y="105"/>
                    <a:pt x="8" y="107"/>
                  </a:cubicBezTo>
                  <a:cubicBezTo>
                    <a:pt x="8" y="108"/>
                    <a:pt x="8" y="110"/>
                    <a:pt x="9" y="111"/>
                  </a:cubicBezTo>
                  <a:cubicBezTo>
                    <a:pt x="8" y="110"/>
                    <a:pt x="7" y="110"/>
                    <a:pt x="7" y="110"/>
                  </a:cubicBezTo>
                  <a:cubicBezTo>
                    <a:pt x="4" y="110"/>
                    <a:pt x="5" y="114"/>
                    <a:pt x="6" y="117"/>
                  </a:cubicBezTo>
                  <a:cubicBezTo>
                    <a:pt x="7" y="119"/>
                    <a:pt x="9" y="122"/>
                    <a:pt x="10" y="124"/>
                  </a:cubicBezTo>
                  <a:cubicBezTo>
                    <a:pt x="11" y="126"/>
                    <a:pt x="10" y="126"/>
                    <a:pt x="12" y="127"/>
                  </a:cubicBezTo>
                  <a:cubicBezTo>
                    <a:pt x="14" y="128"/>
                    <a:pt x="17" y="129"/>
                    <a:pt x="19" y="129"/>
                  </a:cubicBezTo>
                  <a:cubicBezTo>
                    <a:pt x="20" y="129"/>
                    <a:pt x="22" y="128"/>
                    <a:pt x="22" y="127"/>
                  </a:cubicBezTo>
                  <a:cubicBezTo>
                    <a:pt x="25" y="131"/>
                    <a:pt x="30" y="136"/>
                    <a:pt x="29" y="141"/>
                  </a:cubicBezTo>
                  <a:cubicBezTo>
                    <a:pt x="29" y="143"/>
                    <a:pt x="29" y="146"/>
                    <a:pt x="28" y="148"/>
                  </a:cubicBezTo>
                  <a:cubicBezTo>
                    <a:pt x="27" y="148"/>
                    <a:pt x="27" y="148"/>
                    <a:pt x="27" y="148"/>
                  </a:cubicBezTo>
                  <a:cubicBezTo>
                    <a:pt x="27" y="149"/>
                    <a:pt x="25" y="148"/>
                    <a:pt x="26" y="150"/>
                  </a:cubicBezTo>
                  <a:cubicBezTo>
                    <a:pt x="27" y="151"/>
                    <a:pt x="29" y="151"/>
                    <a:pt x="30" y="152"/>
                  </a:cubicBezTo>
                  <a:cubicBezTo>
                    <a:pt x="31" y="153"/>
                    <a:pt x="31" y="154"/>
                    <a:pt x="31" y="156"/>
                  </a:cubicBezTo>
                  <a:cubicBezTo>
                    <a:pt x="32" y="159"/>
                    <a:pt x="34" y="162"/>
                    <a:pt x="34" y="165"/>
                  </a:cubicBezTo>
                  <a:cubicBezTo>
                    <a:pt x="35" y="168"/>
                    <a:pt x="33" y="167"/>
                    <a:pt x="32" y="169"/>
                  </a:cubicBezTo>
                  <a:cubicBezTo>
                    <a:pt x="32" y="171"/>
                    <a:pt x="34" y="175"/>
                    <a:pt x="34" y="176"/>
                  </a:cubicBezTo>
                  <a:cubicBezTo>
                    <a:pt x="35" y="181"/>
                    <a:pt x="38" y="180"/>
                    <a:pt x="42" y="180"/>
                  </a:cubicBezTo>
                  <a:cubicBezTo>
                    <a:pt x="42" y="180"/>
                    <a:pt x="44" y="181"/>
                    <a:pt x="44" y="181"/>
                  </a:cubicBezTo>
                  <a:cubicBezTo>
                    <a:pt x="44" y="181"/>
                    <a:pt x="44" y="181"/>
                    <a:pt x="44" y="181"/>
                  </a:cubicBezTo>
                  <a:cubicBezTo>
                    <a:pt x="45" y="181"/>
                    <a:pt x="46" y="180"/>
                    <a:pt x="47" y="180"/>
                  </a:cubicBezTo>
                  <a:cubicBezTo>
                    <a:pt x="47" y="180"/>
                    <a:pt x="47" y="180"/>
                    <a:pt x="47" y="180"/>
                  </a:cubicBezTo>
                  <a:cubicBezTo>
                    <a:pt x="47" y="180"/>
                    <a:pt x="47" y="180"/>
                    <a:pt x="47" y="180"/>
                  </a:cubicBezTo>
                  <a:cubicBezTo>
                    <a:pt x="48" y="180"/>
                    <a:pt x="49" y="180"/>
                    <a:pt x="50" y="180"/>
                  </a:cubicBezTo>
                  <a:cubicBezTo>
                    <a:pt x="51" y="181"/>
                    <a:pt x="51" y="181"/>
                    <a:pt x="52" y="181"/>
                  </a:cubicBezTo>
                  <a:cubicBezTo>
                    <a:pt x="52" y="181"/>
                    <a:pt x="53" y="181"/>
                    <a:pt x="53" y="181"/>
                  </a:cubicBezTo>
                  <a:cubicBezTo>
                    <a:pt x="54" y="181"/>
                    <a:pt x="56" y="180"/>
                    <a:pt x="57" y="179"/>
                  </a:cubicBezTo>
                  <a:cubicBezTo>
                    <a:pt x="58" y="179"/>
                    <a:pt x="60" y="177"/>
                    <a:pt x="62" y="177"/>
                  </a:cubicBezTo>
                  <a:cubicBezTo>
                    <a:pt x="62" y="177"/>
                    <a:pt x="62" y="177"/>
                    <a:pt x="62" y="177"/>
                  </a:cubicBezTo>
                  <a:cubicBezTo>
                    <a:pt x="62" y="177"/>
                    <a:pt x="63" y="178"/>
                    <a:pt x="64" y="178"/>
                  </a:cubicBezTo>
                  <a:cubicBezTo>
                    <a:pt x="65" y="179"/>
                    <a:pt x="66" y="179"/>
                    <a:pt x="67" y="179"/>
                  </a:cubicBezTo>
                  <a:cubicBezTo>
                    <a:pt x="67" y="179"/>
                    <a:pt x="67" y="179"/>
                    <a:pt x="67" y="179"/>
                  </a:cubicBezTo>
                  <a:cubicBezTo>
                    <a:pt x="68" y="179"/>
                    <a:pt x="68" y="179"/>
                    <a:pt x="69" y="178"/>
                  </a:cubicBezTo>
                  <a:cubicBezTo>
                    <a:pt x="70" y="178"/>
                    <a:pt x="70" y="175"/>
                    <a:pt x="71" y="173"/>
                  </a:cubicBezTo>
                  <a:cubicBezTo>
                    <a:pt x="71" y="176"/>
                    <a:pt x="73" y="178"/>
                    <a:pt x="73" y="181"/>
                  </a:cubicBezTo>
                  <a:cubicBezTo>
                    <a:pt x="74" y="184"/>
                    <a:pt x="74" y="189"/>
                    <a:pt x="74" y="193"/>
                  </a:cubicBezTo>
                  <a:cubicBezTo>
                    <a:pt x="78" y="190"/>
                    <a:pt x="81" y="187"/>
                    <a:pt x="86" y="187"/>
                  </a:cubicBezTo>
                  <a:cubicBezTo>
                    <a:pt x="95" y="186"/>
                    <a:pt x="102" y="187"/>
                    <a:pt x="103" y="177"/>
                  </a:cubicBezTo>
                  <a:cubicBezTo>
                    <a:pt x="103" y="179"/>
                    <a:pt x="104" y="180"/>
                    <a:pt x="106" y="181"/>
                  </a:cubicBezTo>
                  <a:cubicBezTo>
                    <a:pt x="108" y="182"/>
                    <a:pt x="109" y="185"/>
                    <a:pt x="112" y="185"/>
                  </a:cubicBezTo>
                  <a:cubicBezTo>
                    <a:pt x="112" y="185"/>
                    <a:pt x="112" y="185"/>
                    <a:pt x="112" y="185"/>
                  </a:cubicBezTo>
                  <a:cubicBezTo>
                    <a:pt x="113" y="185"/>
                    <a:pt x="116" y="184"/>
                    <a:pt x="117" y="183"/>
                  </a:cubicBezTo>
                  <a:cubicBezTo>
                    <a:pt x="118" y="187"/>
                    <a:pt x="117" y="191"/>
                    <a:pt x="121" y="191"/>
                  </a:cubicBezTo>
                  <a:cubicBezTo>
                    <a:pt x="121" y="191"/>
                    <a:pt x="121" y="191"/>
                    <a:pt x="121" y="191"/>
                  </a:cubicBezTo>
                  <a:cubicBezTo>
                    <a:pt x="122" y="191"/>
                    <a:pt x="123" y="190"/>
                    <a:pt x="124" y="189"/>
                  </a:cubicBezTo>
                  <a:cubicBezTo>
                    <a:pt x="127" y="188"/>
                    <a:pt x="128" y="187"/>
                    <a:pt x="130" y="184"/>
                  </a:cubicBezTo>
                  <a:cubicBezTo>
                    <a:pt x="130" y="186"/>
                    <a:pt x="131" y="187"/>
                    <a:pt x="132" y="188"/>
                  </a:cubicBezTo>
                  <a:cubicBezTo>
                    <a:pt x="133" y="187"/>
                    <a:pt x="134" y="186"/>
                    <a:pt x="136" y="185"/>
                  </a:cubicBezTo>
                  <a:cubicBezTo>
                    <a:pt x="134" y="186"/>
                    <a:pt x="134" y="188"/>
                    <a:pt x="134" y="190"/>
                  </a:cubicBezTo>
                  <a:cubicBezTo>
                    <a:pt x="134" y="190"/>
                    <a:pt x="137" y="191"/>
                    <a:pt x="138" y="191"/>
                  </a:cubicBezTo>
                  <a:cubicBezTo>
                    <a:pt x="138" y="191"/>
                    <a:pt x="138" y="191"/>
                    <a:pt x="138" y="191"/>
                  </a:cubicBezTo>
                  <a:cubicBezTo>
                    <a:pt x="139" y="191"/>
                    <a:pt x="139" y="190"/>
                    <a:pt x="139" y="188"/>
                  </a:cubicBezTo>
                  <a:cubicBezTo>
                    <a:pt x="140" y="190"/>
                    <a:pt x="140" y="195"/>
                    <a:pt x="141" y="197"/>
                  </a:cubicBezTo>
                  <a:cubicBezTo>
                    <a:pt x="141" y="199"/>
                    <a:pt x="141" y="207"/>
                    <a:pt x="143" y="208"/>
                  </a:cubicBezTo>
                  <a:cubicBezTo>
                    <a:pt x="143" y="208"/>
                    <a:pt x="143" y="208"/>
                    <a:pt x="143" y="208"/>
                  </a:cubicBezTo>
                  <a:cubicBezTo>
                    <a:pt x="144" y="208"/>
                    <a:pt x="145" y="207"/>
                    <a:pt x="146" y="207"/>
                  </a:cubicBezTo>
                  <a:cubicBezTo>
                    <a:pt x="148" y="206"/>
                    <a:pt x="149" y="205"/>
                    <a:pt x="151" y="204"/>
                  </a:cubicBezTo>
                  <a:cubicBezTo>
                    <a:pt x="153" y="203"/>
                    <a:pt x="155" y="202"/>
                    <a:pt x="156" y="202"/>
                  </a:cubicBezTo>
                  <a:cubicBezTo>
                    <a:pt x="159" y="201"/>
                    <a:pt x="161" y="200"/>
                    <a:pt x="163" y="199"/>
                  </a:cubicBezTo>
                  <a:cubicBezTo>
                    <a:pt x="166" y="198"/>
                    <a:pt x="173" y="196"/>
                    <a:pt x="175" y="194"/>
                  </a:cubicBezTo>
                  <a:cubicBezTo>
                    <a:pt x="177" y="192"/>
                    <a:pt x="177" y="187"/>
                    <a:pt x="179" y="185"/>
                  </a:cubicBezTo>
                  <a:cubicBezTo>
                    <a:pt x="180" y="183"/>
                    <a:pt x="182" y="183"/>
                    <a:pt x="182" y="182"/>
                  </a:cubicBezTo>
                  <a:cubicBezTo>
                    <a:pt x="182" y="180"/>
                    <a:pt x="181" y="177"/>
                    <a:pt x="180" y="175"/>
                  </a:cubicBezTo>
                  <a:cubicBezTo>
                    <a:pt x="180" y="176"/>
                    <a:pt x="181" y="177"/>
                    <a:pt x="182" y="177"/>
                  </a:cubicBezTo>
                  <a:cubicBezTo>
                    <a:pt x="183" y="177"/>
                    <a:pt x="184" y="176"/>
                    <a:pt x="185" y="175"/>
                  </a:cubicBezTo>
                  <a:cubicBezTo>
                    <a:pt x="186" y="174"/>
                    <a:pt x="185" y="168"/>
                    <a:pt x="183" y="167"/>
                  </a:cubicBezTo>
                  <a:cubicBezTo>
                    <a:pt x="185" y="167"/>
                    <a:pt x="186" y="166"/>
                    <a:pt x="188" y="165"/>
                  </a:cubicBezTo>
                  <a:cubicBezTo>
                    <a:pt x="193" y="160"/>
                    <a:pt x="187" y="160"/>
                    <a:pt x="183" y="158"/>
                  </a:cubicBezTo>
                  <a:cubicBezTo>
                    <a:pt x="184" y="157"/>
                    <a:pt x="186" y="157"/>
                    <a:pt x="186" y="155"/>
                  </a:cubicBezTo>
                  <a:cubicBezTo>
                    <a:pt x="187" y="148"/>
                    <a:pt x="187" y="149"/>
                    <a:pt x="182" y="149"/>
                  </a:cubicBezTo>
                  <a:cubicBezTo>
                    <a:pt x="183" y="148"/>
                    <a:pt x="184" y="147"/>
                    <a:pt x="186" y="147"/>
                  </a:cubicBezTo>
                  <a:cubicBezTo>
                    <a:pt x="187" y="146"/>
                    <a:pt x="189" y="145"/>
                    <a:pt x="190" y="144"/>
                  </a:cubicBezTo>
                  <a:cubicBezTo>
                    <a:pt x="194" y="140"/>
                    <a:pt x="195" y="138"/>
                    <a:pt x="194" y="132"/>
                  </a:cubicBezTo>
                  <a:cubicBezTo>
                    <a:pt x="195" y="134"/>
                    <a:pt x="196" y="136"/>
                    <a:pt x="197" y="136"/>
                  </a:cubicBezTo>
                  <a:cubicBezTo>
                    <a:pt x="198" y="136"/>
                    <a:pt x="198" y="136"/>
                    <a:pt x="199" y="136"/>
                  </a:cubicBezTo>
                  <a:cubicBezTo>
                    <a:pt x="203" y="134"/>
                    <a:pt x="205" y="128"/>
                    <a:pt x="208" y="125"/>
                  </a:cubicBezTo>
                  <a:cubicBezTo>
                    <a:pt x="208" y="125"/>
                    <a:pt x="209" y="126"/>
                    <a:pt x="210" y="126"/>
                  </a:cubicBezTo>
                  <a:cubicBezTo>
                    <a:pt x="212" y="126"/>
                    <a:pt x="215" y="124"/>
                    <a:pt x="216" y="124"/>
                  </a:cubicBezTo>
                  <a:cubicBezTo>
                    <a:pt x="212" y="122"/>
                    <a:pt x="218" y="117"/>
                    <a:pt x="216" y="115"/>
                  </a:cubicBezTo>
                  <a:cubicBezTo>
                    <a:pt x="216" y="115"/>
                    <a:pt x="216" y="115"/>
                    <a:pt x="216" y="115"/>
                  </a:cubicBezTo>
                  <a:cubicBezTo>
                    <a:pt x="215" y="115"/>
                    <a:pt x="212" y="117"/>
                    <a:pt x="212" y="118"/>
                  </a:cubicBezTo>
                  <a:cubicBezTo>
                    <a:pt x="212" y="113"/>
                    <a:pt x="212" y="111"/>
                    <a:pt x="213" y="105"/>
                  </a:cubicBezTo>
                  <a:cubicBezTo>
                    <a:pt x="213" y="101"/>
                    <a:pt x="214" y="96"/>
                    <a:pt x="216" y="93"/>
                  </a:cubicBezTo>
                  <a:cubicBezTo>
                    <a:pt x="217" y="91"/>
                    <a:pt x="219" y="86"/>
                    <a:pt x="221" y="85"/>
                  </a:cubicBezTo>
                  <a:cubicBezTo>
                    <a:pt x="221" y="85"/>
                    <a:pt x="222" y="85"/>
                    <a:pt x="222" y="85"/>
                  </a:cubicBezTo>
                  <a:cubicBezTo>
                    <a:pt x="223" y="85"/>
                    <a:pt x="223" y="85"/>
                    <a:pt x="224" y="85"/>
                  </a:cubicBezTo>
                  <a:cubicBezTo>
                    <a:pt x="225" y="85"/>
                    <a:pt x="225" y="85"/>
                    <a:pt x="225" y="85"/>
                  </a:cubicBezTo>
                  <a:cubicBezTo>
                    <a:pt x="226" y="85"/>
                    <a:pt x="226" y="85"/>
                    <a:pt x="226" y="85"/>
                  </a:cubicBezTo>
                  <a:cubicBezTo>
                    <a:pt x="227" y="84"/>
                    <a:pt x="225" y="84"/>
                    <a:pt x="225" y="83"/>
                  </a:cubicBezTo>
                  <a:cubicBezTo>
                    <a:pt x="225" y="81"/>
                    <a:pt x="223" y="79"/>
                    <a:pt x="223" y="77"/>
                  </a:cubicBezTo>
                  <a:cubicBezTo>
                    <a:pt x="226" y="79"/>
                    <a:pt x="226" y="82"/>
                    <a:pt x="230" y="84"/>
                  </a:cubicBezTo>
                  <a:cubicBezTo>
                    <a:pt x="233" y="84"/>
                    <a:pt x="235" y="84"/>
                    <a:pt x="237" y="85"/>
                  </a:cubicBezTo>
                  <a:cubicBezTo>
                    <a:pt x="239" y="85"/>
                    <a:pt x="241" y="85"/>
                    <a:pt x="243" y="85"/>
                  </a:cubicBezTo>
                  <a:cubicBezTo>
                    <a:pt x="246" y="85"/>
                    <a:pt x="248" y="84"/>
                    <a:pt x="250" y="79"/>
                  </a:cubicBezTo>
                  <a:cubicBezTo>
                    <a:pt x="248" y="78"/>
                    <a:pt x="246" y="77"/>
                    <a:pt x="244" y="76"/>
                  </a:cubicBezTo>
                  <a:cubicBezTo>
                    <a:pt x="236" y="69"/>
                    <a:pt x="226" y="63"/>
                    <a:pt x="219" y="55"/>
                  </a:cubicBezTo>
                  <a:cubicBezTo>
                    <a:pt x="219" y="55"/>
                    <a:pt x="220" y="55"/>
                    <a:pt x="220" y="55"/>
                  </a:cubicBezTo>
                  <a:cubicBezTo>
                    <a:pt x="221" y="55"/>
                    <a:pt x="222" y="55"/>
                    <a:pt x="221" y="53"/>
                  </a:cubicBezTo>
                  <a:cubicBezTo>
                    <a:pt x="221" y="53"/>
                    <a:pt x="222" y="54"/>
                    <a:pt x="222" y="54"/>
                  </a:cubicBezTo>
                  <a:cubicBezTo>
                    <a:pt x="223" y="54"/>
                    <a:pt x="224" y="52"/>
                    <a:pt x="225" y="51"/>
                  </a:cubicBezTo>
                  <a:cubicBezTo>
                    <a:pt x="226" y="47"/>
                    <a:pt x="224" y="44"/>
                    <a:pt x="221" y="41"/>
                  </a:cubicBezTo>
                  <a:cubicBezTo>
                    <a:pt x="220" y="40"/>
                    <a:pt x="216" y="37"/>
                    <a:pt x="216" y="35"/>
                  </a:cubicBezTo>
                  <a:cubicBezTo>
                    <a:pt x="218" y="34"/>
                    <a:pt x="218" y="34"/>
                    <a:pt x="218" y="34"/>
                  </a:cubicBezTo>
                  <a:cubicBezTo>
                    <a:pt x="217" y="34"/>
                    <a:pt x="215" y="33"/>
                    <a:pt x="214" y="33"/>
                  </a:cubicBezTo>
                  <a:cubicBezTo>
                    <a:pt x="215" y="32"/>
                    <a:pt x="215" y="31"/>
                    <a:pt x="216" y="29"/>
                  </a:cubicBezTo>
                  <a:cubicBezTo>
                    <a:pt x="214" y="29"/>
                    <a:pt x="213" y="28"/>
                    <a:pt x="212" y="28"/>
                  </a:cubicBezTo>
                  <a:cubicBezTo>
                    <a:pt x="211" y="28"/>
                    <a:pt x="207" y="26"/>
                    <a:pt x="207" y="25"/>
                  </a:cubicBezTo>
                  <a:cubicBezTo>
                    <a:pt x="207" y="25"/>
                    <a:pt x="207" y="25"/>
                    <a:pt x="207" y="25"/>
                  </a:cubicBezTo>
                  <a:cubicBezTo>
                    <a:pt x="207" y="25"/>
                    <a:pt x="208" y="25"/>
                    <a:pt x="208" y="25"/>
                  </a:cubicBezTo>
                  <a:cubicBezTo>
                    <a:pt x="208" y="25"/>
                    <a:pt x="208" y="25"/>
                    <a:pt x="208" y="25"/>
                  </a:cubicBezTo>
                  <a:cubicBezTo>
                    <a:pt x="208" y="25"/>
                    <a:pt x="208" y="25"/>
                    <a:pt x="208" y="25"/>
                  </a:cubicBezTo>
                  <a:cubicBezTo>
                    <a:pt x="208" y="25"/>
                    <a:pt x="208" y="25"/>
                    <a:pt x="208" y="25"/>
                  </a:cubicBezTo>
                  <a:cubicBezTo>
                    <a:pt x="208" y="25"/>
                    <a:pt x="209" y="25"/>
                    <a:pt x="209" y="25"/>
                  </a:cubicBezTo>
                  <a:cubicBezTo>
                    <a:pt x="209" y="25"/>
                    <a:pt x="209" y="24"/>
                    <a:pt x="209" y="24"/>
                  </a:cubicBezTo>
                  <a:cubicBezTo>
                    <a:pt x="209" y="24"/>
                    <a:pt x="209" y="24"/>
                    <a:pt x="209" y="25"/>
                  </a:cubicBezTo>
                  <a:cubicBezTo>
                    <a:pt x="210" y="24"/>
                    <a:pt x="211" y="21"/>
                    <a:pt x="211" y="20"/>
                  </a:cubicBezTo>
                  <a:cubicBezTo>
                    <a:pt x="211" y="20"/>
                    <a:pt x="211" y="20"/>
                    <a:pt x="211" y="20"/>
                  </a:cubicBezTo>
                  <a:cubicBezTo>
                    <a:pt x="210" y="20"/>
                    <a:pt x="209" y="20"/>
                    <a:pt x="209" y="20"/>
                  </a:cubicBezTo>
                  <a:cubicBezTo>
                    <a:pt x="208" y="19"/>
                    <a:pt x="208" y="19"/>
                    <a:pt x="208" y="19"/>
                  </a:cubicBezTo>
                  <a:cubicBezTo>
                    <a:pt x="207" y="18"/>
                    <a:pt x="207" y="18"/>
                    <a:pt x="207" y="18"/>
                  </a:cubicBezTo>
                  <a:cubicBezTo>
                    <a:pt x="208" y="19"/>
                    <a:pt x="208" y="19"/>
                    <a:pt x="208" y="19"/>
                  </a:cubicBezTo>
                  <a:cubicBezTo>
                    <a:pt x="206" y="17"/>
                    <a:pt x="206" y="17"/>
                    <a:pt x="204" y="17"/>
                  </a:cubicBezTo>
                  <a:cubicBezTo>
                    <a:pt x="205" y="17"/>
                    <a:pt x="205" y="16"/>
                    <a:pt x="205" y="16"/>
                  </a:cubicBezTo>
                  <a:cubicBezTo>
                    <a:pt x="205" y="16"/>
                    <a:pt x="205" y="16"/>
                    <a:pt x="206" y="16"/>
                  </a:cubicBezTo>
                  <a:cubicBezTo>
                    <a:pt x="206" y="16"/>
                    <a:pt x="207" y="16"/>
                    <a:pt x="208" y="16"/>
                  </a:cubicBezTo>
                  <a:cubicBezTo>
                    <a:pt x="208" y="16"/>
                    <a:pt x="209" y="16"/>
                    <a:pt x="210" y="16"/>
                  </a:cubicBezTo>
                  <a:cubicBezTo>
                    <a:pt x="211" y="16"/>
                    <a:pt x="212" y="16"/>
                    <a:pt x="213" y="16"/>
                  </a:cubicBezTo>
                  <a:cubicBezTo>
                    <a:pt x="214" y="16"/>
                    <a:pt x="212" y="13"/>
                    <a:pt x="212" y="12"/>
                  </a:cubicBezTo>
                  <a:cubicBezTo>
                    <a:pt x="215" y="13"/>
                    <a:pt x="218" y="13"/>
                    <a:pt x="221" y="14"/>
                  </a:cubicBezTo>
                  <a:cubicBezTo>
                    <a:pt x="219" y="13"/>
                    <a:pt x="219" y="11"/>
                    <a:pt x="217" y="10"/>
                  </a:cubicBezTo>
                  <a:cubicBezTo>
                    <a:pt x="218" y="9"/>
                    <a:pt x="214" y="6"/>
                    <a:pt x="213" y="6"/>
                  </a:cubicBezTo>
                  <a:cubicBezTo>
                    <a:pt x="212" y="6"/>
                    <a:pt x="212" y="6"/>
                    <a:pt x="212" y="6"/>
                  </a:cubicBezTo>
                  <a:cubicBezTo>
                    <a:pt x="212" y="5"/>
                    <a:pt x="212" y="5"/>
                    <a:pt x="212" y="5"/>
                  </a:cubicBezTo>
                  <a:cubicBezTo>
                    <a:pt x="211" y="4"/>
                    <a:pt x="210" y="4"/>
                    <a:pt x="209" y="4"/>
                  </a:cubicBezTo>
                  <a:cubicBezTo>
                    <a:pt x="203" y="2"/>
                    <a:pt x="196" y="0"/>
                    <a:pt x="19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462"/>
            <p:cNvSpPr>
              <a:spLocks noEditPoints="1"/>
            </p:cNvSpPr>
            <p:nvPr/>
          </p:nvSpPr>
          <p:spPr bwMode="auto">
            <a:xfrm>
              <a:off x="6644689" y="5302660"/>
              <a:ext cx="314291" cy="218929"/>
            </a:xfrm>
            <a:custGeom>
              <a:gdLst>
                <a:gd name="T0" fmla="*/ 79 w 99"/>
                <a:gd name="T1" fmla="*/ 60 h 69"/>
                <a:gd name="T2" fmla="*/ 79 w 99"/>
                <a:gd name="T3" fmla="*/ 60 h 69"/>
                <a:gd name="T4" fmla="*/ 33 w 99"/>
                <a:gd name="T5" fmla="*/ 9 h 69"/>
                <a:gd name="T6" fmla="*/ 13 w 99"/>
                <a:gd name="T7" fmla="*/ 37 h 69"/>
                <a:gd name="T8" fmla="*/ 6 w 99"/>
                <a:gd name="T9" fmla="*/ 37 h 69"/>
                <a:gd name="T10" fmla="*/ 3 w 99"/>
                <a:gd name="T11" fmla="*/ 42 h 69"/>
                <a:gd name="T12" fmla="*/ 4 w 99"/>
                <a:gd name="T13" fmla="*/ 49 h 69"/>
                <a:gd name="T14" fmla="*/ 2 w 99"/>
                <a:gd name="T15" fmla="*/ 57 h 69"/>
                <a:gd name="T16" fmla="*/ 5 w 99"/>
                <a:gd name="T17" fmla="*/ 65 h 69"/>
                <a:gd name="T18" fmla="*/ 13 w 99"/>
                <a:gd name="T19" fmla="*/ 63 h 69"/>
                <a:gd name="T20" fmla="*/ 18 w 99"/>
                <a:gd name="T21" fmla="*/ 63 h 69"/>
                <a:gd name="T22" fmla="*/ 19 w 99"/>
                <a:gd name="T23" fmla="*/ 63 h 69"/>
                <a:gd name="T24" fmla="*/ 29 w 99"/>
                <a:gd name="T25" fmla="*/ 62 h 69"/>
                <a:gd name="T26" fmla="*/ 33 w 99"/>
                <a:gd name="T27" fmla="*/ 62 h 69"/>
                <a:gd name="T28" fmla="*/ 58 w 99"/>
                <a:gd name="T29" fmla="*/ 67 h 69"/>
                <a:gd name="T30" fmla="*/ 64 w 99"/>
                <a:gd name="T31" fmla="*/ 67 h 69"/>
                <a:gd name="T32" fmla="*/ 83 w 99"/>
                <a:gd name="T33" fmla="*/ 63 h 69"/>
                <a:gd name="T34" fmla="*/ 80 w 99"/>
                <a:gd name="T35" fmla="*/ 62 h 69"/>
                <a:gd name="T36" fmla="*/ 80 w 99"/>
                <a:gd name="T37" fmla="*/ 62 h 69"/>
                <a:gd name="T38" fmla="*/ 77 w 99"/>
                <a:gd name="T39" fmla="*/ 60 h 69"/>
                <a:gd name="T40" fmla="*/ 76 w 99"/>
                <a:gd name="T41" fmla="*/ 49 h 69"/>
                <a:gd name="T42" fmla="*/ 80 w 99"/>
                <a:gd name="T43" fmla="*/ 51 h 69"/>
                <a:gd name="T44" fmla="*/ 93 w 99"/>
                <a:gd name="T45" fmla="*/ 46 h 69"/>
                <a:gd name="T46" fmla="*/ 97 w 99"/>
                <a:gd name="T47" fmla="*/ 40 h 69"/>
                <a:gd name="T48" fmla="*/ 90 w 99"/>
                <a:gd name="T49" fmla="*/ 40 h 69"/>
                <a:gd name="T50" fmla="*/ 81 w 99"/>
                <a:gd name="T51" fmla="*/ 37 h 69"/>
                <a:gd name="T52" fmla="*/ 73 w 99"/>
                <a:gd name="T53" fmla="*/ 30 h 69"/>
                <a:gd name="T54" fmla="*/ 67 w 99"/>
                <a:gd name="T55" fmla="*/ 32 h 69"/>
                <a:gd name="T56" fmla="*/ 66 w 99"/>
                <a:gd name="T57" fmla="*/ 30 h 69"/>
                <a:gd name="T58" fmla="*/ 68 w 99"/>
                <a:gd name="T59" fmla="*/ 30 h 69"/>
                <a:gd name="T60" fmla="*/ 67 w 99"/>
                <a:gd name="T61" fmla="*/ 24 h 69"/>
                <a:gd name="T62" fmla="*/ 65 w 99"/>
                <a:gd name="T63" fmla="*/ 26 h 69"/>
                <a:gd name="T64" fmla="*/ 57 w 99"/>
                <a:gd name="T65" fmla="*/ 27 h 69"/>
                <a:gd name="T66" fmla="*/ 58 w 99"/>
                <a:gd name="T67" fmla="*/ 22 h 69"/>
                <a:gd name="T68" fmla="*/ 61 w 99"/>
                <a:gd name="T69" fmla="*/ 17 h 69"/>
                <a:gd name="T70" fmla="*/ 52 w 99"/>
                <a:gd name="T71" fmla="*/ 10 h 69"/>
                <a:gd name="T72" fmla="*/ 44 w 99"/>
                <a:gd name="T73" fmla="*/ 1 h 69"/>
                <a:gd name="T74" fmla="*/ 37 w 99"/>
                <a:gd name="T75" fmla="*/ 11 h 69"/>
                <a:gd name="T76" fmla="*/ 37 w 99"/>
                <a:gd name="T77" fmla="*/ 0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69">
                  <a:moveTo>
                    <a:pt x="79" y="60"/>
                  </a:moveTo>
                  <a:cubicBezTo>
                    <a:pt x="79" y="60"/>
                    <a:pt x="79" y="60"/>
                    <a:pt x="79" y="60"/>
                  </a:cubicBezTo>
                  <a:cubicBezTo>
                    <a:pt x="79" y="60"/>
                    <a:pt x="79" y="60"/>
                    <a:pt x="79" y="60"/>
                  </a:cubicBezTo>
                  <a:cubicBezTo>
                    <a:pt x="79" y="60"/>
                    <a:pt x="79" y="60"/>
                    <a:pt x="79" y="60"/>
                  </a:cubicBezTo>
                  <a:moveTo>
                    <a:pt x="37" y="0"/>
                  </a:moveTo>
                  <a:cubicBezTo>
                    <a:pt x="36" y="2"/>
                    <a:pt x="35" y="7"/>
                    <a:pt x="33" y="9"/>
                  </a:cubicBezTo>
                  <a:cubicBezTo>
                    <a:pt x="30" y="12"/>
                    <a:pt x="27" y="16"/>
                    <a:pt x="23" y="19"/>
                  </a:cubicBezTo>
                  <a:cubicBezTo>
                    <a:pt x="19" y="24"/>
                    <a:pt x="16" y="31"/>
                    <a:pt x="13" y="37"/>
                  </a:cubicBezTo>
                  <a:cubicBezTo>
                    <a:pt x="11" y="36"/>
                    <a:pt x="10" y="35"/>
                    <a:pt x="9" y="35"/>
                  </a:cubicBezTo>
                  <a:cubicBezTo>
                    <a:pt x="8" y="35"/>
                    <a:pt x="7" y="35"/>
                    <a:pt x="6" y="37"/>
                  </a:cubicBezTo>
                  <a:cubicBezTo>
                    <a:pt x="4" y="39"/>
                    <a:pt x="2" y="40"/>
                    <a:pt x="2" y="42"/>
                  </a:cubicBezTo>
                  <a:cubicBezTo>
                    <a:pt x="3" y="42"/>
                    <a:pt x="3" y="42"/>
                    <a:pt x="3" y="42"/>
                  </a:cubicBezTo>
                  <a:cubicBezTo>
                    <a:pt x="3" y="43"/>
                    <a:pt x="4" y="43"/>
                    <a:pt x="5" y="44"/>
                  </a:cubicBezTo>
                  <a:cubicBezTo>
                    <a:pt x="5" y="45"/>
                    <a:pt x="4" y="47"/>
                    <a:pt x="4" y="49"/>
                  </a:cubicBezTo>
                  <a:cubicBezTo>
                    <a:pt x="4" y="51"/>
                    <a:pt x="2" y="51"/>
                    <a:pt x="0" y="52"/>
                  </a:cubicBezTo>
                  <a:cubicBezTo>
                    <a:pt x="1" y="54"/>
                    <a:pt x="1" y="55"/>
                    <a:pt x="2" y="57"/>
                  </a:cubicBezTo>
                  <a:cubicBezTo>
                    <a:pt x="2" y="58"/>
                    <a:pt x="2" y="58"/>
                    <a:pt x="2" y="58"/>
                  </a:cubicBezTo>
                  <a:cubicBezTo>
                    <a:pt x="3" y="60"/>
                    <a:pt x="4" y="63"/>
                    <a:pt x="5" y="65"/>
                  </a:cubicBezTo>
                  <a:cubicBezTo>
                    <a:pt x="7" y="69"/>
                    <a:pt x="7" y="69"/>
                    <a:pt x="7" y="69"/>
                  </a:cubicBezTo>
                  <a:cubicBezTo>
                    <a:pt x="9" y="67"/>
                    <a:pt x="11" y="64"/>
                    <a:pt x="13" y="63"/>
                  </a:cubicBezTo>
                  <a:cubicBezTo>
                    <a:pt x="16" y="60"/>
                    <a:pt x="16" y="60"/>
                    <a:pt x="16" y="60"/>
                  </a:cubicBezTo>
                  <a:cubicBezTo>
                    <a:pt x="18" y="63"/>
                    <a:pt x="18" y="63"/>
                    <a:pt x="18" y="63"/>
                  </a:cubicBezTo>
                  <a:cubicBezTo>
                    <a:pt x="18" y="63"/>
                    <a:pt x="18" y="63"/>
                    <a:pt x="18" y="63"/>
                  </a:cubicBezTo>
                  <a:cubicBezTo>
                    <a:pt x="18" y="63"/>
                    <a:pt x="19" y="63"/>
                    <a:pt x="19" y="63"/>
                  </a:cubicBezTo>
                  <a:cubicBezTo>
                    <a:pt x="19" y="63"/>
                    <a:pt x="19" y="63"/>
                    <a:pt x="20" y="63"/>
                  </a:cubicBezTo>
                  <a:cubicBezTo>
                    <a:pt x="21" y="63"/>
                    <a:pt x="24" y="63"/>
                    <a:pt x="29" y="62"/>
                  </a:cubicBezTo>
                  <a:cubicBezTo>
                    <a:pt x="29" y="62"/>
                    <a:pt x="29" y="62"/>
                    <a:pt x="29" y="62"/>
                  </a:cubicBezTo>
                  <a:cubicBezTo>
                    <a:pt x="30" y="62"/>
                    <a:pt x="31" y="62"/>
                    <a:pt x="33" y="62"/>
                  </a:cubicBezTo>
                  <a:cubicBezTo>
                    <a:pt x="39" y="62"/>
                    <a:pt x="47" y="64"/>
                    <a:pt x="53" y="66"/>
                  </a:cubicBezTo>
                  <a:cubicBezTo>
                    <a:pt x="55" y="67"/>
                    <a:pt x="56" y="67"/>
                    <a:pt x="58" y="67"/>
                  </a:cubicBezTo>
                  <a:cubicBezTo>
                    <a:pt x="58" y="66"/>
                    <a:pt x="58" y="65"/>
                    <a:pt x="59" y="64"/>
                  </a:cubicBezTo>
                  <a:cubicBezTo>
                    <a:pt x="60" y="66"/>
                    <a:pt x="62" y="67"/>
                    <a:pt x="64" y="67"/>
                  </a:cubicBezTo>
                  <a:cubicBezTo>
                    <a:pt x="65" y="67"/>
                    <a:pt x="67" y="67"/>
                    <a:pt x="70" y="67"/>
                  </a:cubicBezTo>
                  <a:cubicBezTo>
                    <a:pt x="76" y="67"/>
                    <a:pt x="83" y="66"/>
                    <a:pt x="83" y="63"/>
                  </a:cubicBezTo>
                  <a:cubicBezTo>
                    <a:pt x="83" y="62"/>
                    <a:pt x="82" y="62"/>
                    <a:pt x="81" y="62"/>
                  </a:cubicBezTo>
                  <a:cubicBezTo>
                    <a:pt x="81" y="62"/>
                    <a:pt x="81" y="62"/>
                    <a:pt x="80" y="62"/>
                  </a:cubicBezTo>
                  <a:cubicBezTo>
                    <a:pt x="80" y="62"/>
                    <a:pt x="80" y="62"/>
                    <a:pt x="80" y="62"/>
                  </a:cubicBezTo>
                  <a:cubicBezTo>
                    <a:pt x="80" y="62"/>
                    <a:pt x="80" y="62"/>
                    <a:pt x="80" y="62"/>
                  </a:cubicBezTo>
                  <a:cubicBezTo>
                    <a:pt x="79" y="62"/>
                    <a:pt x="79" y="60"/>
                    <a:pt x="79" y="60"/>
                  </a:cubicBezTo>
                  <a:cubicBezTo>
                    <a:pt x="79" y="60"/>
                    <a:pt x="78" y="60"/>
                    <a:pt x="77" y="60"/>
                  </a:cubicBezTo>
                  <a:cubicBezTo>
                    <a:pt x="76" y="59"/>
                    <a:pt x="74" y="58"/>
                    <a:pt x="73" y="56"/>
                  </a:cubicBezTo>
                  <a:cubicBezTo>
                    <a:pt x="71" y="52"/>
                    <a:pt x="73" y="49"/>
                    <a:pt x="76" y="49"/>
                  </a:cubicBezTo>
                  <a:cubicBezTo>
                    <a:pt x="77" y="49"/>
                    <a:pt x="78" y="50"/>
                    <a:pt x="78" y="50"/>
                  </a:cubicBezTo>
                  <a:cubicBezTo>
                    <a:pt x="80" y="50"/>
                    <a:pt x="78" y="51"/>
                    <a:pt x="80" y="51"/>
                  </a:cubicBezTo>
                  <a:cubicBezTo>
                    <a:pt x="81" y="51"/>
                    <a:pt x="81" y="51"/>
                    <a:pt x="81" y="51"/>
                  </a:cubicBezTo>
                  <a:cubicBezTo>
                    <a:pt x="84" y="51"/>
                    <a:pt x="90" y="47"/>
                    <a:pt x="93" y="46"/>
                  </a:cubicBezTo>
                  <a:cubicBezTo>
                    <a:pt x="94" y="45"/>
                    <a:pt x="98" y="44"/>
                    <a:pt x="98" y="43"/>
                  </a:cubicBezTo>
                  <a:cubicBezTo>
                    <a:pt x="99" y="42"/>
                    <a:pt x="98" y="40"/>
                    <a:pt x="97" y="40"/>
                  </a:cubicBezTo>
                  <a:cubicBezTo>
                    <a:pt x="96" y="40"/>
                    <a:pt x="94" y="40"/>
                    <a:pt x="93" y="40"/>
                  </a:cubicBezTo>
                  <a:cubicBezTo>
                    <a:pt x="92" y="40"/>
                    <a:pt x="91" y="40"/>
                    <a:pt x="90" y="40"/>
                  </a:cubicBezTo>
                  <a:cubicBezTo>
                    <a:pt x="88" y="39"/>
                    <a:pt x="85" y="34"/>
                    <a:pt x="83" y="34"/>
                  </a:cubicBezTo>
                  <a:cubicBezTo>
                    <a:pt x="82" y="34"/>
                    <a:pt x="82" y="35"/>
                    <a:pt x="81" y="37"/>
                  </a:cubicBezTo>
                  <a:cubicBezTo>
                    <a:pt x="82" y="34"/>
                    <a:pt x="77" y="30"/>
                    <a:pt x="74" y="30"/>
                  </a:cubicBezTo>
                  <a:cubicBezTo>
                    <a:pt x="73" y="30"/>
                    <a:pt x="73" y="30"/>
                    <a:pt x="73" y="30"/>
                  </a:cubicBezTo>
                  <a:cubicBezTo>
                    <a:pt x="71" y="30"/>
                    <a:pt x="72" y="31"/>
                    <a:pt x="69" y="32"/>
                  </a:cubicBezTo>
                  <a:cubicBezTo>
                    <a:pt x="69" y="32"/>
                    <a:pt x="68" y="32"/>
                    <a:pt x="67" y="32"/>
                  </a:cubicBezTo>
                  <a:cubicBezTo>
                    <a:pt x="66" y="32"/>
                    <a:pt x="64" y="32"/>
                    <a:pt x="65" y="30"/>
                  </a:cubicBezTo>
                  <a:cubicBezTo>
                    <a:pt x="65" y="30"/>
                    <a:pt x="66" y="30"/>
                    <a:pt x="66" y="30"/>
                  </a:cubicBezTo>
                  <a:cubicBezTo>
                    <a:pt x="66" y="30"/>
                    <a:pt x="67" y="30"/>
                    <a:pt x="67" y="30"/>
                  </a:cubicBezTo>
                  <a:cubicBezTo>
                    <a:pt x="67" y="30"/>
                    <a:pt x="68" y="30"/>
                    <a:pt x="68" y="30"/>
                  </a:cubicBezTo>
                  <a:cubicBezTo>
                    <a:pt x="69" y="30"/>
                    <a:pt x="70" y="30"/>
                    <a:pt x="70" y="29"/>
                  </a:cubicBezTo>
                  <a:cubicBezTo>
                    <a:pt x="71" y="27"/>
                    <a:pt x="68" y="24"/>
                    <a:pt x="67" y="24"/>
                  </a:cubicBezTo>
                  <a:cubicBezTo>
                    <a:pt x="67" y="24"/>
                    <a:pt x="67" y="24"/>
                    <a:pt x="67" y="24"/>
                  </a:cubicBezTo>
                  <a:cubicBezTo>
                    <a:pt x="66" y="24"/>
                    <a:pt x="65" y="26"/>
                    <a:pt x="65" y="26"/>
                  </a:cubicBezTo>
                  <a:cubicBezTo>
                    <a:pt x="62" y="28"/>
                    <a:pt x="59" y="28"/>
                    <a:pt x="54" y="28"/>
                  </a:cubicBezTo>
                  <a:cubicBezTo>
                    <a:pt x="55" y="28"/>
                    <a:pt x="56" y="28"/>
                    <a:pt x="57" y="27"/>
                  </a:cubicBezTo>
                  <a:cubicBezTo>
                    <a:pt x="59" y="25"/>
                    <a:pt x="58" y="27"/>
                    <a:pt x="58" y="25"/>
                  </a:cubicBezTo>
                  <a:cubicBezTo>
                    <a:pt x="58" y="23"/>
                    <a:pt x="58" y="23"/>
                    <a:pt x="58" y="22"/>
                  </a:cubicBezTo>
                  <a:cubicBezTo>
                    <a:pt x="58" y="20"/>
                    <a:pt x="58" y="21"/>
                    <a:pt x="59" y="19"/>
                  </a:cubicBezTo>
                  <a:cubicBezTo>
                    <a:pt x="60" y="18"/>
                    <a:pt x="61" y="19"/>
                    <a:pt x="61" y="17"/>
                  </a:cubicBezTo>
                  <a:cubicBezTo>
                    <a:pt x="61" y="15"/>
                    <a:pt x="58" y="13"/>
                    <a:pt x="57" y="12"/>
                  </a:cubicBezTo>
                  <a:cubicBezTo>
                    <a:pt x="55" y="9"/>
                    <a:pt x="55" y="10"/>
                    <a:pt x="52" y="10"/>
                  </a:cubicBezTo>
                  <a:cubicBezTo>
                    <a:pt x="48" y="9"/>
                    <a:pt x="48" y="1"/>
                    <a:pt x="45" y="1"/>
                  </a:cubicBezTo>
                  <a:cubicBezTo>
                    <a:pt x="45" y="1"/>
                    <a:pt x="45" y="1"/>
                    <a:pt x="44" y="1"/>
                  </a:cubicBezTo>
                  <a:cubicBezTo>
                    <a:pt x="43" y="1"/>
                    <a:pt x="44" y="3"/>
                    <a:pt x="44" y="4"/>
                  </a:cubicBezTo>
                  <a:cubicBezTo>
                    <a:pt x="43" y="7"/>
                    <a:pt x="41" y="9"/>
                    <a:pt x="37" y="11"/>
                  </a:cubicBezTo>
                  <a:cubicBezTo>
                    <a:pt x="37" y="9"/>
                    <a:pt x="38" y="8"/>
                    <a:pt x="38" y="7"/>
                  </a:cubicBezTo>
                  <a:cubicBezTo>
                    <a:pt x="39" y="4"/>
                    <a:pt x="38" y="3"/>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463"/>
            <p:cNvSpPr/>
            <p:nvPr/>
          </p:nvSpPr>
          <p:spPr bwMode="auto">
            <a:xfrm>
              <a:off x="6209516" y="5486669"/>
              <a:ext cx="456663" cy="288772"/>
            </a:xfrm>
            <a:custGeom>
              <a:gdLst>
                <a:gd name="T0" fmla="*/ 128 w 144"/>
                <a:gd name="T1" fmla="*/ 0 h 91"/>
                <a:gd name="T2" fmla="*/ 129 w 144"/>
                <a:gd name="T3" fmla="*/ 6 h 91"/>
                <a:gd name="T4" fmla="*/ 129 w 144"/>
                <a:gd name="T5" fmla="*/ 8 h 91"/>
                <a:gd name="T6" fmla="*/ 127 w 144"/>
                <a:gd name="T7" fmla="*/ 15 h 91"/>
                <a:gd name="T8" fmla="*/ 121 w 144"/>
                <a:gd name="T9" fmla="*/ 19 h 91"/>
                <a:gd name="T10" fmla="*/ 112 w 144"/>
                <a:gd name="T11" fmla="*/ 10 h 91"/>
                <a:gd name="T12" fmla="*/ 111 w 144"/>
                <a:gd name="T13" fmla="*/ 9 h 91"/>
                <a:gd name="T14" fmla="*/ 106 w 144"/>
                <a:gd name="T15" fmla="*/ 5 h 91"/>
                <a:gd name="T16" fmla="*/ 83 w 144"/>
                <a:gd name="T17" fmla="*/ 35 h 91"/>
                <a:gd name="T18" fmla="*/ 50 w 144"/>
                <a:gd name="T19" fmla="*/ 45 h 91"/>
                <a:gd name="T20" fmla="*/ 42 w 144"/>
                <a:gd name="T21" fmla="*/ 57 h 91"/>
                <a:gd name="T22" fmla="*/ 38 w 144"/>
                <a:gd name="T23" fmla="*/ 56 h 91"/>
                <a:gd name="T24" fmla="*/ 38 w 144"/>
                <a:gd name="T25" fmla="*/ 56 h 91"/>
                <a:gd name="T26" fmla="*/ 38 w 144"/>
                <a:gd name="T27" fmla="*/ 57 h 91"/>
                <a:gd name="T28" fmla="*/ 38 w 144"/>
                <a:gd name="T29" fmla="*/ 75 h 91"/>
                <a:gd name="T30" fmla="*/ 41 w 144"/>
                <a:gd name="T31" fmla="*/ 82 h 91"/>
                <a:gd name="T32" fmla="*/ 33 w 144"/>
                <a:gd name="T33" fmla="*/ 81 h 91"/>
                <a:gd name="T34" fmla="*/ 24 w 144"/>
                <a:gd name="T35" fmla="*/ 79 h 91"/>
                <a:gd name="T36" fmla="*/ 20 w 144"/>
                <a:gd name="T37" fmla="*/ 73 h 91"/>
                <a:gd name="T38" fmla="*/ 19 w 144"/>
                <a:gd name="T39" fmla="*/ 72 h 91"/>
                <a:gd name="T40" fmla="*/ 10 w 144"/>
                <a:gd name="T41" fmla="*/ 74 h 91"/>
                <a:gd name="T42" fmla="*/ 1 w 144"/>
                <a:gd name="T43" fmla="*/ 67 h 91"/>
                <a:gd name="T44" fmla="*/ 0 w 144"/>
                <a:gd name="T45" fmla="*/ 70 h 91"/>
                <a:gd name="T46" fmla="*/ 9 w 144"/>
                <a:gd name="T47" fmla="*/ 80 h 91"/>
                <a:gd name="T48" fmla="*/ 18 w 144"/>
                <a:gd name="T49" fmla="*/ 88 h 91"/>
                <a:gd name="T50" fmla="*/ 22 w 144"/>
                <a:gd name="T51" fmla="*/ 91 h 91"/>
                <a:gd name="T52" fmla="*/ 29 w 144"/>
                <a:gd name="T53" fmla="*/ 89 h 91"/>
                <a:gd name="T54" fmla="*/ 32 w 144"/>
                <a:gd name="T55" fmla="*/ 87 h 91"/>
                <a:gd name="T56" fmla="*/ 46 w 144"/>
                <a:gd name="T57" fmla="*/ 87 h 91"/>
                <a:gd name="T58" fmla="*/ 49 w 144"/>
                <a:gd name="T59" fmla="*/ 87 h 91"/>
                <a:gd name="T60" fmla="*/ 57 w 144"/>
                <a:gd name="T61" fmla="*/ 84 h 91"/>
                <a:gd name="T62" fmla="*/ 58 w 144"/>
                <a:gd name="T63" fmla="*/ 83 h 91"/>
                <a:gd name="T64" fmla="*/ 66 w 144"/>
                <a:gd name="T65" fmla="*/ 76 h 91"/>
                <a:gd name="T66" fmla="*/ 85 w 144"/>
                <a:gd name="T67" fmla="*/ 76 h 91"/>
                <a:gd name="T68" fmla="*/ 88 w 144"/>
                <a:gd name="T69" fmla="*/ 78 h 91"/>
                <a:gd name="T70" fmla="*/ 97 w 144"/>
                <a:gd name="T71" fmla="*/ 81 h 91"/>
                <a:gd name="T72" fmla="*/ 98 w 144"/>
                <a:gd name="T73" fmla="*/ 81 h 91"/>
                <a:gd name="T74" fmla="*/ 100 w 144"/>
                <a:gd name="T75" fmla="*/ 80 h 91"/>
                <a:gd name="T76" fmla="*/ 110 w 144"/>
                <a:gd name="T77" fmla="*/ 77 h 91"/>
                <a:gd name="T78" fmla="*/ 114 w 144"/>
                <a:gd name="T79" fmla="*/ 77 h 91"/>
                <a:gd name="T80" fmla="*/ 115 w 144"/>
                <a:gd name="T81" fmla="*/ 77 h 91"/>
                <a:gd name="T82" fmla="*/ 118 w 144"/>
                <a:gd name="T83" fmla="*/ 76 h 91"/>
                <a:gd name="T84" fmla="*/ 120 w 144"/>
                <a:gd name="T85" fmla="*/ 71 h 91"/>
                <a:gd name="T86" fmla="*/ 123 w 144"/>
                <a:gd name="T87" fmla="*/ 67 h 91"/>
                <a:gd name="T88" fmla="*/ 124 w 144"/>
                <a:gd name="T89" fmla="*/ 66 h 91"/>
                <a:gd name="T90" fmla="*/ 124 w 144"/>
                <a:gd name="T91" fmla="*/ 65 h 91"/>
                <a:gd name="T92" fmla="*/ 127 w 144"/>
                <a:gd name="T93" fmla="*/ 55 h 91"/>
                <a:gd name="T94" fmla="*/ 130 w 144"/>
                <a:gd name="T95" fmla="*/ 53 h 91"/>
                <a:gd name="T96" fmla="*/ 130 w 144"/>
                <a:gd name="T97" fmla="*/ 52 h 91"/>
                <a:gd name="T98" fmla="*/ 140 w 144"/>
                <a:gd name="T99" fmla="*/ 37 h 91"/>
                <a:gd name="T100" fmla="*/ 141 w 144"/>
                <a:gd name="T101" fmla="*/ 36 h 91"/>
                <a:gd name="T102" fmla="*/ 144 w 144"/>
                <a:gd name="T103" fmla="*/ 12 h 91"/>
                <a:gd name="T104" fmla="*/ 137 w 144"/>
                <a:gd name="T105" fmla="*/ 11 h 91"/>
                <a:gd name="T106" fmla="*/ 130 w 144"/>
                <a:gd name="T107" fmla="*/ 7 h 91"/>
                <a:gd name="T108" fmla="*/ 128 w 144"/>
                <a:gd name="T109" fmla="*/ 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 h="91">
                  <a:moveTo>
                    <a:pt x="128" y="0"/>
                  </a:moveTo>
                  <a:cubicBezTo>
                    <a:pt x="128" y="0"/>
                    <a:pt x="128" y="0"/>
                    <a:pt x="128" y="0"/>
                  </a:cubicBezTo>
                  <a:cubicBezTo>
                    <a:pt x="128" y="0"/>
                    <a:pt x="128" y="0"/>
                    <a:pt x="128" y="1"/>
                  </a:cubicBezTo>
                  <a:cubicBezTo>
                    <a:pt x="129" y="2"/>
                    <a:pt x="129" y="4"/>
                    <a:pt x="129" y="6"/>
                  </a:cubicBezTo>
                  <a:cubicBezTo>
                    <a:pt x="129" y="6"/>
                    <a:pt x="129" y="6"/>
                    <a:pt x="129" y="6"/>
                  </a:cubicBezTo>
                  <a:cubicBezTo>
                    <a:pt x="129" y="7"/>
                    <a:pt x="129" y="8"/>
                    <a:pt x="129" y="8"/>
                  </a:cubicBezTo>
                  <a:cubicBezTo>
                    <a:pt x="129" y="10"/>
                    <a:pt x="129" y="11"/>
                    <a:pt x="129" y="12"/>
                  </a:cubicBezTo>
                  <a:cubicBezTo>
                    <a:pt x="129" y="13"/>
                    <a:pt x="128" y="14"/>
                    <a:pt x="127" y="15"/>
                  </a:cubicBezTo>
                  <a:cubicBezTo>
                    <a:pt x="125" y="18"/>
                    <a:pt x="123" y="19"/>
                    <a:pt x="122" y="19"/>
                  </a:cubicBezTo>
                  <a:cubicBezTo>
                    <a:pt x="121" y="19"/>
                    <a:pt x="121" y="19"/>
                    <a:pt x="121" y="19"/>
                  </a:cubicBezTo>
                  <a:cubicBezTo>
                    <a:pt x="118" y="18"/>
                    <a:pt x="116" y="16"/>
                    <a:pt x="113" y="12"/>
                  </a:cubicBezTo>
                  <a:cubicBezTo>
                    <a:pt x="112" y="11"/>
                    <a:pt x="112" y="10"/>
                    <a:pt x="112" y="10"/>
                  </a:cubicBezTo>
                  <a:cubicBezTo>
                    <a:pt x="111" y="10"/>
                    <a:pt x="111" y="10"/>
                    <a:pt x="111" y="9"/>
                  </a:cubicBezTo>
                  <a:cubicBezTo>
                    <a:pt x="111" y="9"/>
                    <a:pt x="111" y="9"/>
                    <a:pt x="111" y="9"/>
                  </a:cubicBezTo>
                  <a:cubicBezTo>
                    <a:pt x="111" y="8"/>
                    <a:pt x="110" y="8"/>
                    <a:pt x="110" y="7"/>
                  </a:cubicBezTo>
                  <a:cubicBezTo>
                    <a:pt x="110" y="7"/>
                    <a:pt x="108" y="6"/>
                    <a:pt x="106" y="5"/>
                  </a:cubicBezTo>
                  <a:cubicBezTo>
                    <a:pt x="102" y="10"/>
                    <a:pt x="97" y="16"/>
                    <a:pt x="93" y="22"/>
                  </a:cubicBezTo>
                  <a:cubicBezTo>
                    <a:pt x="90" y="26"/>
                    <a:pt x="87" y="31"/>
                    <a:pt x="83" y="35"/>
                  </a:cubicBezTo>
                  <a:cubicBezTo>
                    <a:pt x="81" y="38"/>
                    <a:pt x="78" y="39"/>
                    <a:pt x="74" y="40"/>
                  </a:cubicBezTo>
                  <a:cubicBezTo>
                    <a:pt x="67" y="42"/>
                    <a:pt x="58" y="43"/>
                    <a:pt x="50" y="45"/>
                  </a:cubicBezTo>
                  <a:cubicBezTo>
                    <a:pt x="46" y="46"/>
                    <a:pt x="47" y="47"/>
                    <a:pt x="46" y="51"/>
                  </a:cubicBezTo>
                  <a:cubicBezTo>
                    <a:pt x="45" y="53"/>
                    <a:pt x="45" y="57"/>
                    <a:pt x="42" y="57"/>
                  </a:cubicBezTo>
                  <a:cubicBezTo>
                    <a:pt x="41" y="57"/>
                    <a:pt x="40"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7" y="56"/>
                    <a:pt x="38" y="56"/>
                    <a:pt x="38" y="57"/>
                  </a:cubicBezTo>
                  <a:cubicBezTo>
                    <a:pt x="38" y="59"/>
                    <a:pt x="39" y="62"/>
                    <a:pt x="40" y="63"/>
                  </a:cubicBezTo>
                  <a:cubicBezTo>
                    <a:pt x="36" y="66"/>
                    <a:pt x="31" y="74"/>
                    <a:pt x="38" y="75"/>
                  </a:cubicBezTo>
                  <a:cubicBezTo>
                    <a:pt x="35" y="75"/>
                    <a:pt x="29" y="75"/>
                    <a:pt x="33" y="79"/>
                  </a:cubicBezTo>
                  <a:cubicBezTo>
                    <a:pt x="35" y="81"/>
                    <a:pt x="39" y="81"/>
                    <a:pt x="41" y="82"/>
                  </a:cubicBezTo>
                  <a:cubicBezTo>
                    <a:pt x="40" y="82"/>
                    <a:pt x="40" y="82"/>
                    <a:pt x="39" y="82"/>
                  </a:cubicBezTo>
                  <a:cubicBezTo>
                    <a:pt x="37" y="82"/>
                    <a:pt x="35" y="82"/>
                    <a:pt x="33" y="81"/>
                  </a:cubicBezTo>
                  <a:cubicBezTo>
                    <a:pt x="30" y="80"/>
                    <a:pt x="28" y="79"/>
                    <a:pt x="26" y="79"/>
                  </a:cubicBezTo>
                  <a:cubicBezTo>
                    <a:pt x="25" y="79"/>
                    <a:pt x="25" y="79"/>
                    <a:pt x="24" y="79"/>
                  </a:cubicBezTo>
                  <a:cubicBezTo>
                    <a:pt x="26" y="78"/>
                    <a:pt x="25" y="77"/>
                    <a:pt x="23" y="76"/>
                  </a:cubicBezTo>
                  <a:cubicBezTo>
                    <a:pt x="23" y="75"/>
                    <a:pt x="20" y="73"/>
                    <a:pt x="20" y="73"/>
                  </a:cubicBezTo>
                  <a:cubicBezTo>
                    <a:pt x="20" y="73"/>
                    <a:pt x="20" y="73"/>
                    <a:pt x="20" y="73"/>
                  </a:cubicBezTo>
                  <a:cubicBezTo>
                    <a:pt x="19" y="72"/>
                    <a:pt x="19" y="72"/>
                    <a:pt x="19" y="72"/>
                  </a:cubicBezTo>
                  <a:cubicBezTo>
                    <a:pt x="16" y="72"/>
                    <a:pt x="14" y="74"/>
                    <a:pt x="12" y="74"/>
                  </a:cubicBezTo>
                  <a:cubicBezTo>
                    <a:pt x="11" y="74"/>
                    <a:pt x="11" y="74"/>
                    <a:pt x="10" y="74"/>
                  </a:cubicBezTo>
                  <a:cubicBezTo>
                    <a:pt x="9" y="74"/>
                    <a:pt x="8" y="74"/>
                    <a:pt x="7" y="73"/>
                  </a:cubicBezTo>
                  <a:cubicBezTo>
                    <a:pt x="4" y="73"/>
                    <a:pt x="2" y="70"/>
                    <a:pt x="1" y="67"/>
                  </a:cubicBezTo>
                  <a:cubicBezTo>
                    <a:pt x="0" y="67"/>
                    <a:pt x="0" y="67"/>
                    <a:pt x="0" y="67"/>
                  </a:cubicBezTo>
                  <a:cubicBezTo>
                    <a:pt x="0" y="68"/>
                    <a:pt x="0" y="69"/>
                    <a:pt x="0" y="70"/>
                  </a:cubicBezTo>
                  <a:cubicBezTo>
                    <a:pt x="0" y="73"/>
                    <a:pt x="5" y="77"/>
                    <a:pt x="8" y="79"/>
                  </a:cubicBezTo>
                  <a:cubicBezTo>
                    <a:pt x="9" y="80"/>
                    <a:pt x="9" y="80"/>
                    <a:pt x="9" y="80"/>
                  </a:cubicBezTo>
                  <a:cubicBezTo>
                    <a:pt x="11" y="82"/>
                    <a:pt x="13" y="84"/>
                    <a:pt x="15" y="86"/>
                  </a:cubicBezTo>
                  <a:cubicBezTo>
                    <a:pt x="18" y="88"/>
                    <a:pt x="18" y="88"/>
                    <a:pt x="18" y="88"/>
                  </a:cubicBezTo>
                  <a:cubicBezTo>
                    <a:pt x="18" y="88"/>
                    <a:pt x="18" y="88"/>
                    <a:pt x="19" y="89"/>
                  </a:cubicBezTo>
                  <a:cubicBezTo>
                    <a:pt x="19" y="89"/>
                    <a:pt x="21" y="91"/>
                    <a:pt x="22" y="91"/>
                  </a:cubicBezTo>
                  <a:cubicBezTo>
                    <a:pt x="22" y="91"/>
                    <a:pt x="22" y="91"/>
                    <a:pt x="22" y="91"/>
                  </a:cubicBezTo>
                  <a:cubicBezTo>
                    <a:pt x="24" y="91"/>
                    <a:pt x="27" y="90"/>
                    <a:pt x="29" y="89"/>
                  </a:cubicBezTo>
                  <a:cubicBezTo>
                    <a:pt x="30" y="88"/>
                    <a:pt x="30" y="88"/>
                    <a:pt x="30" y="88"/>
                  </a:cubicBezTo>
                  <a:cubicBezTo>
                    <a:pt x="31" y="88"/>
                    <a:pt x="31" y="88"/>
                    <a:pt x="32" y="87"/>
                  </a:cubicBezTo>
                  <a:cubicBezTo>
                    <a:pt x="35" y="86"/>
                    <a:pt x="37" y="86"/>
                    <a:pt x="39" y="86"/>
                  </a:cubicBezTo>
                  <a:cubicBezTo>
                    <a:pt x="42" y="86"/>
                    <a:pt x="44" y="86"/>
                    <a:pt x="46" y="87"/>
                  </a:cubicBezTo>
                  <a:cubicBezTo>
                    <a:pt x="47" y="87"/>
                    <a:pt x="47" y="87"/>
                    <a:pt x="47" y="87"/>
                  </a:cubicBezTo>
                  <a:cubicBezTo>
                    <a:pt x="47" y="87"/>
                    <a:pt x="48" y="87"/>
                    <a:pt x="49" y="87"/>
                  </a:cubicBezTo>
                  <a:cubicBezTo>
                    <a:pt x="49" y="87"/>
                    <a:pt x="50" y="87"/>
                    <a:pt x="50" y="87"/>
                  </a:cubicBezTo>
                  <a:cubicBezTo>
                    <a:pt x="52" y="87"/>
                    <a:pt x="56" y="85"/>
                    <a:pt x="57" y="84"/>
                  </a:cubicBezTo>
                  <a:cubicBezTo>
                    <a:pt x="57" y="84"/>
                    <a:pt x="57" y="84"/>
                    <a:pt x="57" y="84"/>
                  </a:cubicBezTo>
                  <a:cubicBezTo>
                    <a:pt x="58" y="83"/>
                    <a:pt x="58" y="83"/>
                    <a:pt x="58" y="83"/>
                  </a:cubicBezTo>
                  <a:cubicBezTo>
                    <a:pt x="59" y="78"/>
                    <a:pt x="60" y="77"/>
                    <a:pt x="64" y="76"/>
                  </a:cubicBezTo>
                  <a:cubicBezTo>
                    <a:pt x="66" y="76"/>
                    <a:pt x="66" y="76"/>
                    <a:pt x="66" y="76"/>
                  </a:cubicBezTo>
                  <a:cubicBezTo>
                    <a:pt x="72" y="74"/>
                    <a:pt x="77" y="74"/>
                    <a:pt x="79" y="74"/>
                  </a:cubicBezTo>
                  <a:cubicBezTo>
                    <a:pt x="83" y="74"/>
                    <a:pt x="84" y="75"/>
                    <a:pt x="85" y="76"/>
                  </a:cubicBezTo>
                  <a:cubicBezTo>
                    <a:pt x="85" y="76"/>
                    <a:pt x="85" y="77"/>
                    <a:pt x="85" y="77"/>
                  </a:cubicBezTo>
                  <a:cubicBezTo>
                    <a:pt x="86" y="78"/>
                    <a:pt x="87" y="78"/>
                    <a:pt x="88" y="78"/>
                  </a:cubicBezTo>
                  <a:cubicBezTo>
                    <a:pt x="89" y="79"/>
                    <a:pt x="89" y="79"/>
                    <a:pt x="89" y="79"/>
                  </a:cubicBezTo>
                  <a:cubicBezTo>
                    <a:pt x="92" y="80"/>
                    <a:pt x="95" y="81"/>
                    <a:pt x="97" y="81"/>
                  </a:cubicBezTo>
                  <a:cubicBezTo>
                    <a:pt x="97" y="81"/>
                    <a:pt x="97" y="81"/>
                    <a:pt x="98" y="81"/>
                  </a:cubicBezTo>
                  <a:cubicBezTo>
                    <a:pt x="98" y="81"/>
                    <a:pt x="98" y="81"/>
                    <a:pt x="98" y="81"/>
                  </a:cubicBezTo>
                  <a:cubicBezTo>
                    <a:pt x="98" y="81"/>
                    <a:pt x="98" y="81"/>
                    <a:pt x="98" y="81"/>
                  </a:cubicBezTo>
                  <a:cubicBezTo>
                    <a:pt x="99" y="80"/>
                    <a:pt x="99" y="80"/>
                    <a:pt x="100" y="80"/>
                  </a:cubicBezTo>
                  <a:cubicBezTo>
                    <a:pt x="102" y="79"/>
                    <a:pt x="105" y="78"/>
                    <a:pt x="108" y="77"/>
                  </a:cubicBezTo>
                  <a:cubicBezTo>
                    <a:pt x="109" y="77"/>
                    <a:pt x="109" y="77"/>
                    <a:pt x="110" y="77"/>
                  </a:cubicBezTo>
                  <a:cubicBezTo>
                    <a:pt x="115" y="76"/>
                    <a:pt x="115" y="76"/>
                    <a:pt x="115" y="76"/>
                  </a:cubicBezTo>
                  <a:cubicBezTo>
                    <a:pt x="114" y="77"/>
                    <a:pt x="114" y="77"/>
                    <a:pt x="114" y="77"/>
                  </a:cubicBezTo>
                  <a:cubicBezTo>
                    <a:pt x="115" y="77"/>
                    <a:pt x="115" y="77"/>
                    <a:pt x="115" y="77"/>
                  </a:cubicBezTo>
                  <a:cubicBezTo>
                    <a:pt x="115" y="77"/>
                    <a:pt x="115" y="77"/>
                    <a:pt x="115" y="77"/>
                  </a:cubicBezTo>
                  <a:cubicBezTo>
                    <a:pt x="116" y="77"/>
                    <a:pt x="117" y="77"/>
                    <a:pt x="117" y="77"/>
                  </a:cubicBezTo>
                  <a:cubicBezTo>
                    <a:pt x="118" y="77"/>
                    <a:pt x="118" y="77"/>
                    <a:pt x="118" y="76"/>
                  </a:cubicBezTo>
                  <a:cubicBezTo>
                    <a:pt x="119" y="73"/>
                    <a:pt x="119" y="73"/>
                    <a:pt x="119" y="73"/>
                  </a:cubicBezTo>
                  <a:cubicBezTo>
                    <a:pt x="119" y="72"/>
                    <a:pt x="120" y="71"/>
                    <a:pt x="120" y="71"/>
                  </a:cubicBezTo>
                  <a:cubicBezTo>
                    <a:pt x="120" y="70"/>
                    <a:pt x="120" y="70"/>
                    <a:pt x="121" y="69"/>
                  </a:cubicBezTo>
                  <a:cubicBezTo>
                    <a:pt x="121" y="68"/>
                    <a:pt x="122" y="68"/>
                    <a:pt x="123" y="67"/>
                  </a:cubicBezTo>
                  <a:cubicBezTo>
                    <a:pt x="123" y="67"/>
                    <a:pt x="123" y="67"/>
                    <a:pt x="123" y="67"/>
                  </a:cubicBezTo>
                  <a:cubicBezTo>
                    <a:pt x="124" y="66"/>
                    <a:pt x="124" y="66"/>
                    <a:pt x="124" y="66"/>
                  </a:cubicBezTo>
                  <a:cubicBezTo>
                    <a:pt x="124" y="66"/>
                    <a:pt x="124" y="66"/>
                    <a:pt x="124" y="66"/>
                  </a:cubicBezTo>
                  <a:cubicBezTo>
                    <a:pt x="124" y="65"/>
                    <a:pt x="124" y="65"/>
                    <a:pt x="124" y="65"/>
                  </a:cubicBezTo>
                  <a:cubicBezTo>
                    <a:pt x="123" y="63"/>
                    <a:pt x="122" y="61"/>
                    <a:pt x="123" y="58"/>
                  </a:cubicBezTo>
                  <a:cubicBezTo>
                    <a:pt x="123" y="57"/>
                    <a:pt x="124" y="57"/>
                    <a:pt x="127" y="55"/>
                  </a:cubicBezTo>
                  <a:cubicBezTo>
                    <a:pt x="128" y="54"/>
                    <a:pt x="128" y="54"/>
                    <a:pt x="128" y="54"/>
                  </a:cubicBezTo>
                  <a:cubicBezTo>
                    <a:pt x="129" y="54"/>
                    <a:pt x="129" y="53"/>
                    <a:pt x="130" y="53"/>
                  </a:cubicBezTo>
                  <a:cubicBezTo>
                    <a:pt x="131" y="53"/>
                    <a:pt x="131" y="53"/>
                    <a:pt x="131" y="53"/>
                  </a:cubicBezTo>
                  <a:cubicBezTo>
                    <a:pt x="130" y="52"/>
                    <a:pt x="130" y="52"/>
                    <a:pt x="130" y="52"/>
                  </a:cubicBezTo>
                  <a:cubicBezTo>
                    <a:pt x="129" y="48"/>
                    <a:pt x="130" y="44"/>
                    <a:pt x="132" y="41"/>
                  </a:cubicBezTo>
                  <a:cubicBezTo>
                    <a:pt x="134" y="39"/>
                    <a:pt x="137" y="37"/>
                    <a:pt x="140" y="37"/>
                  </a:cubicBezTo>
                  <a:cubicBezTo>
                    <a:pt x="140" y="37"/>
                    <a:pt x="140" y="37"/>
                    <a:pt x="141" y="37"/>
                  </a:cubicBezTo>
                  <a:cubicBezTo>
                    <a:pt x="141" y="37"/>
                    <a:pt x="141" y="37"/>
                    <a:pt x="141" y="36"/>
                  </a:cubicBezTo>
                  <a:cubicBezTo>
                    <a:pt x="143" y="31"/>
                    <a:pt x="142" y="27"/>
                    <a:pt x="142" y="21"/>
                  </a:cubicBezTo>
                  <a:cubicBezTo>
                    <a:pt x="141" y="18"/>
                    <a:pt x="142" y="15"/>
                    <a:pt x="144" y="12"/>
                  </a:cubicBezTo>
                  <a:cubicBezTo>
                    <a:pt x="139" y="11"/>
                    <a:pt x="139" y="11"/>
                    <a:pt x="139" y="11"/>
                  </a:cubicBezTo>
                  <a:cubicBezTo>
                    <a:pt x="138" y="11"/>
                    <a:pt x="137" y="11"/>
                    <a:pt x="137" y="11"/>
                  </a:cubicBezTo>
                  <a:cubicBezTo>
                    <a:pt x="136" y="11"/>
                    <a:pt x="136" y="11"/>
                    <a:pt x="136" y="11"/>
                  </a:cubicBezTo>
                  <a:cubicBezTo>
                    <a:pt x="133" y="11"/>
                    <a:pt x="131" y="9"/>
                    <a:pt x="130" y="7"/>
                  </a:cubicBezTo>
                  <a:cubicBezTo>
                    <a:pt x="130" y="6"/>
                    <a:pt x="130" y="6"/>
                    <a:pt x="130" y="6"/>
                  </a:cubicBezTo>
                  <a:cubicBezTo>
                    <a:pt x="129" y="4"/>
                    <a:pt x="129" y="2"/>
                    <a:pt x="1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464"/>
            <p:cNvSpPr/>
            <p:nvPr/>
          </p:nvSpPr>
          <p:spPr bwMode="auto">
            <a:xfrm>
              <a:off x="6539925" y="5479953"/>
              <a:ext cx="2686" cy="2686"/>
            </a:xfrm>
            <a:custGeom>
              <a:gdLst>
                <a:gd name="T0" fmla="*/ 0 w 2"/>
                <a:gd name="T1" fmla="*/ 0 h 2"/>
                <a:gd name="T2" fmla="*/ 2 w 2"/>
                <a:gd name="T3" fmla="*/ 2 h 2"/>
                <a:gd name="T4" fmla="*/ 2 w 2"/>
                <a:gd name="T5" fmla="*/ 0 h 2"/>
                <a:gd name="T6" fmla="*/ 0 w 2"/>
                <a:gd name="T7" fmla="*/ 0 h 2"/>
              </a:gdLst>
              <a:cxnLst>
                <a:cxn ang="0">
                  <a:pos x="T0" y="T1"/>
                </a:cxn>
                <a:cxn ang="0">
                  <a:pos x="T2" y="T3"/>
                </a:cxn>
                <a:cxn ang="0">
                  <a:pos x="T4" y="T5"/>
                </a:cxn>
                <a:cxn ang="0">
                  <a:pos x="T6" y="T7"/>
                </a:cxn>
              </a:cxnLst>
              <a:rect l="0" t="0" r="r" b="b"/>
              <a:pathLst>
                <a:path w="2" h="2">
                  <a:moveTo>
                    <a:pt x="0" y="0"/>
                  </a:moveTo>
                  <a:lnTo>
                    <a:pt x="2" y="2"/>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465"/>
            <p:cNvSpPr/>
            <p:nvPr/>
          </p:nvSpPr>
          <p:spPr bwMode="auto">
            <a:xfrm>
              <a:off x="6539925" y="5479953"/>
              <a:ext cx="2686" cy="2686"/>
            </a:xfrm>
            <a:custGeom>
              <a:gdLst>
                <a:gd name="T0" fmla="*/ 0 w 2"/>
                <a:gd name="T1" fmla="*/ 0 h 2"/>
                <a:gd name="T2" fmla="*/ 2 w 2"/>
                <a:gd name="T3" fmla="*/ 2 h 2"/>
                <a:gd name="T4" fmla="*/ 2 w 2"/>
                <a:gd name="T5" fmla="*/ 0 h 2"/>
                <a:gd name="T6" fmla="*/ 0 w 2"/>
                <a:gd name="T7" fmla="*/ 0 h 2"/>
              </a:gdLst>
              <a:cxnLst>
                <a:cxn ang="0">
                  <a:pos x="T0" y="T1"/>
                </a:cxn>
                <a:cxn ang="0">
                  <a:pos x="T2" y="T3"/>
                </a:cxn>
                <a:cxn ang="0">
                  <a:pos x="T4" y="T5"/>
                </a:cxn>
                <a:cxn ang="0">
                  <a:pos x="T6" y="T7"/>
                </a:cxn>
              </a:cxnLst>
              <a:rect l="0" t="0" r="r" b="b"/>
              <a:pathLst>
                <a:path w="2" h="2">
                  <a:moveTo>
                    <a:pt x="0" y="0"/>
                  </a:moveTo>
                  <a:lnTo>
                    <a:pt x="2" y="2"/>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466"/>
            <p:cNvSpPr/>
            <p:nvPr/>
          </p:nvSpPr>
          <p:spPr bwMode="auto">
            <a:xfrm>
              <a:off x="6565445" y="5461149"/>
              <a:ext cx="53725" cy="65813"/>
            </a:xfrm>
            <a:custGeom>
              <a:gdLst>
                <a:gd name="T0" fmla="*/ 17 w 17"/>
                <a:gd name="T1" fmla="*/ 0 h 21"/>
                <a:gd name="T2" fmla="*/ 8 w 17"/>
                <a:gd name="T3" fmla="*/ 6 h 21"/>
                <a:gd name="T4" fmla="*/ 0 w 17"/>
                <a:gd name="T5" fmla="*/ 9 h 21"/>
                <a:gd name="T6" fmla="*/ 3 w 17"/>
                <a:gd name="T7" fmla="*/ 12 h 21"/>
                <a:gd name="T8" fmla="*/ 4 w 17"/>
                <a:gd name="T9" fmla="*/ 14 h 21"/>
                <a:gd name="T10" fmla="*/ 4 w 17"/>
                <a:gd name="T11" fmla="*/ 14 h 21"/>
                <a:gd name="T12" fmla="*/ 6 w 17"/>
                <a:gd name="T13" fmla="*/ 16 h 21"/>
                <a:gd name="T14" fmla="*/ 10 w 17"/>
                <a:gd name="T15" fmla="*/ 21 h 21"/>
                <a:gd name="T16" fmla="*/ 10 w 17"/>
                <a:gd name="T17" fmla="*/ 20 h 21"/>
                <a:gd name="T18" fmla="*/ 11 w 17"/>
                <a:gd name="T19" fmla="*/ 19 h 21"/>
                <a:gd name="T20" fmla="*/ 11 w 17"/>
                <a:gd name="T21" fmla="*/ 19 h 21"/>
                <a:gd name="T22" fmla="*/ 11 w 17"/>
                <a:gd name="T23" fmla="*/ 17 h 21"/>
                <a:gd name="T24" fmla="*/ 11 w 17"/>
                <a:gd name="T25" fmla="*/ 15 h 21"/>
                <a:gd name="T26" fmla="*/ 10 w 17"/>
                <a:gd name="T27" fmla="*/ 10 h 21"/>
                <a:gd name="T28" fmla="*/ 10 w 17"/>
                <a:gd name="T29" fmla="*/ 9 h 21"/>
                <a:gd name="T30" fmla="*/ 10 w 17"/>
                <a:gd name="T31" fmla="*/ 6 h 21"/>
                <a:gd name="T32" fmla="*/ 11 w 17"/>
                <a:gd name="T33" fmla="*/ 4 h 21"/>
                <a:gd name="T34" fmla="*/ 11 w 17"/>
                <a:gd name="T35" fmla="*/ 4 h 21"/>
                <a:gd name="T36" fmla="*/ 12 w 17"/>
                <a:gd name="T37" fmla="*/ 3 h 21"/>
                <a:gd name="T38" fmla="*/ 14 w 17"/>
                <a:gd name="T39" fmla="*/ 2 h 21"/>
                <a:gd name="T40" fmla="*/ 15 w 17"/>
                <a:gd name="T41" fmla="*/ 2 h 21"/>
                <a:gd name="T42" fmla="*/ 16 w 17"/>
                <a:gd name="T43" fmla="*/ 1 h 21"/>
                <a:gd name="T44" fmla="*/ 17 w 17"/>
                <a:gd name="T45"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21">
                  <a:moveTo>
                    <a:pt x="17" y="0"/>
                  </a:moveTo>
                  <a:cubicBezTo>
                    <a:pt x="14" y="1"/>
                    <a:pt x="11" y="3"/>
                    <a:pt x="8" y="6"/>
                  </a:cubicBezTo>
                  <a:cubicBezTo>
                    <a:pt x="6" y="8"/>
                    <a:pt x="3" y="9"/>
                    <a:pt x="0" y="9"/>
                  </a:cubicBezTo>
                  <a:cubicBezTo>
                    <a:pt x="1" y="10"/>
                    <a:pt x="2" y="11"/>
                    <a:pt x="3" y="12"/>
                  </a:cubicBezTo>
                  <a:cubicBezTo>
                    <a:pt x="3" y="13"/>
                    <a:pt x="4" y="13"/>
                    <a:pt x="4" y="14"/>
                  </a:cubicBezTo>
                  <a:cubicBezTo>
                    <a:pt x="4" y="14"/>
                    <a:pt x="4" y="14"/>
                    <a:pt x="4" y="14"/>
                  </a:cubicBezTo>
                  <a:cubicBezTo>
                    <a:pt x="5" y="15"/>
                    <a:pt x="5" y="15"/>
                    <a:pt x="6" y="16"/>
                  </a:cubicBezTo>
                  <a:cubicBezTo>
                    <a:pt x="8" y="19"/>
                    <a:pt x="9" y="20"/>
                    <a:pt x="10" y="21"/>
                  </a:cubicBezTo>
                  <a:cubicBezTo>
                    <a:pt x="10" y="20"/>
                    <a:pt x="10" y="20"/>
                    <a:pt x="10" y="20"/>
                  </a:cubicBezTo>
                  <a:cubicBezTo>
                    <a:pt x="11" y="19"/>
                    <a:pt x="11" y="19"/>
                    <a:pt x="11" y="19"/>
                  </a:cubicBezTo>
                  <a:cubicBezTo>
                    <a:pt x="11" y="19"/>
                    <a:pt x="11" y="19"/>
                    <a:pt x="11" y="19"/>
                  </a:cubicBezTo>
                  <a:cubicBezTo>
                    <a:pt x="11" y="17"/>
                    <a:pt x="11" y="17"/>
                    <a:pt x="11" y="17"/>
                  </a:cubicBezTo>
                  <a:cubicBezTo>
                    <a:pt x="11" y="16"/>
                    <a:pt x="11" y="15"/>
                    <a:pt x="11" y="15"/>
                  </a:cubicBezTo>
                  <a:cubicBezTo>
                    <a:pt x="11" y="13"/>
                    <a:pt x="11" y="12"/>
                    <a:pt x="10" y="10"/>
                  </a:cubicBezTo>
                  <a:cubicBezTo>
                    <a:pt x="10" y="10"/>
                    <a:pt x="10" y="9"/>
                    <a:pt x="10" y="9"/>
                  </a:cubicBezTo>
                  <a:cubicBezTo>
                    <a:pt x="10" y="8"/>
                    <a:pt x="10" y="7"/>
                    <a:pt x="10" y="6"/>
                  </a:cubicBezTo>
                  <a:cubicBezTo>
                    <a:pt x="10" y="5"/>
                    <a:pt x="10" y="5"/>
                    <a:pt x="11" y="4"/>
                  </a:cubicBezTo>
                  <a:cubicBezTo>
                    <a:pt x="11" y="4"/>
                    <a:pt x="11" y="4"/>
                    <a:pt x="11" y="4"/>
                  </a:cubicBezTo>
                  <a:cubicBezTo>
                    <a:pt x="12" y="3"/>
                    <a:pt x="12" y="3"/>
                    <a:pt x="12" y="3"/>
                  </a:cubicBezTo>
                  <a:cubicBezTo>
                    <a:pt x="13" y="3"/>
                    <a:pt x="13" y="2"/>
                    <a:pt x="14" y="2"/>
                  </a:cubicBezTo>
                  <a:cubicBezTo>
                    <a:pt x="15" y="2"/>
                    <a:pt x="15" y="2"/>
                    <a:pt x="15" y="2"/>
                  </a:cubicBezTo>
                  <a:cubicBezTo>
                    <a:pt x="16" y="1"/>
                    <a:pt x="16" y="1"/>
                    <a:pt x="16" y="1"/>
                  </a:cubicBez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467"/>
            <p:cNvSpPr/>
            <p:nvPr/>
          </p:nvSpPr>
          <p:spPr bwMode="auto">
            <a:xfrm>
              <a:off x="1589" y="3298717"/>
              <a:ext cx="428457" cy="796474"/>
            </a:xfrm>
            <a:custGeom>
              <a:gdLst>
                <a:gd name="T0" fmla="*/ 16 w 135"/>
                <a:gd name="T1" fmla="*/ 0 h 251"/>
                <a:gd name="T2" fmla="*/ 0 w 135"/>
                <a:gd name="T3" fmla="*/ 9 h 251"/>
                <a:gd name="T4" fmla="*/ 0 w 135"/>
                <a:gd name="T5" fmla="*/ 9 h 251"/>
                <a:gd name="T6" fmla="*/ 24 w 135"/>
                <a:gd name="T7" fmla="*/ 249 h 251"/>
                <a:gd name="T8" fmla="*/ 29 w 135"/>
                <a:gd name="T9" fmla="*/ 245 h 251"/>
                <a:gd name="T10" fmla="*/ 34 w 135"/>
                <a:gd name="T11" fmla="*/ 251 h 251"/>
                <a:gd name="T12" fmla="*/ 63 w 135"/>
                <a:gd name="T13" fmla="*/ 250 h 251"/>
                <a:gd name="T14" fmla="*/ 68 w 135"/>
                <a:gd name="T15" fmla="*/ 250 h 251"/>
                <a:gd name="T16" fmla="*/ 92 w 135"/>
                <a:gd name="T17" fmla="*/ 251 h 251"/>
                <a:gd name="T18" fmla="*/ 94 w 135"/>
                <a:gd name="T19" fmla="*/ 247 h 251"/>
                <a:gd name="T20" fmla="*/ 104 w 135"/>
                <a:gd name="T21" fmla="*/ 244 h 251"/>
                <a:gd name="T22" fmla="*/ 109 w 135"/>
                <a:gd name="T23" fmla="*/ 239 h 251"/>
                <a:gd name="T24" fmla="*/ 114 w 135"/>
                <a:gd name="T25" fmla="*/ 229 h 251"/>
                <a:gd name="T26" fmla="*/ 123 w 135"/>
                <a:gd name="T27" fmla="*/ 226 h 251"/>
                <a:gd name="T28" fmla="*/ 129 w 135"/>
                <a:gd name="T29" fmla="*/ 222 h 251"/>
                <a:gd name="T30" fmla="*/ 131 w 135"/>
                <a:gd name="T31" fmla="*/ 221 h 251"/>
                <a:gd name="T32" fmla="*/ 129 w 135"/>
                <a:gd name="T33" fmla="*/ 210 h 251"/>
                <a:gd name="T34" fmla="*/ 129 w 135"/>
                <a:gd name="T35" fmla="*/ 202 h 251"/>
                <a:gd name="T36" fmla="*/ 134 w 135"/>
                <a:gd name="T37" fmla="*/ 203 h 251"/>
                <a:gd name="T38" fmla="*/ 129 w 135"/>
                <a:gd name="T39" fmla="*/ 198 h 251"/>
                <a:gd name="T40" fmla="*/ 118 w 135"/>
                <a:gd name="T41" fmla="*/ 184 h 251"/>
                <a:gd name="T42" fmla="*/ 92 w 135"/>
                <a:gd name="T43" fmla="*/ 133 h 251"/>
                <a:gd name="T44" fmla="*/ 91 w 135"/>
                <a:gd name="T45" fmla="*/ 128 h 251"/>
                <a:gd name="T46" fmla="*/ 81 w 135"/>
                <a:gd name="T47" fmla="*/ 100 h 251"/>
                <a:gd name="T48" fmla="*/ 71 w 135"/>
                <a:gd name="T49" fmla="*/ 89 h 251"/>
                <a:gd name="T50" fmla="*/ 59 w 135"/>
                <a:gd name="T51" fmla="*/ 67 h 251"/>
                <a:gd name="T52" fmla="*/ 53 w 135"/>
                <a:gd name="T53" fmla="*/ 48 h 251"/>
                <a:gd name="T54" fmla="*/ 55 w 135"/>
                <a:gd name="T55" fmla="*/ 44 h 251"/>
                <a:gd name="T56" fmla="*/ 60 w 135"/>
                <a:gd name="T57" fmla="*/ 57 h 251"/>
                <a:gd name="T58" fmla="*/ 71 w 135"/>
                <a:gd name="T59" fmla="*/ 70 h 251"/>
                <a:gd name="T60" fmla="*/ 78 w 135"/>
                <a:gd name="T61" fmla="*/ 87 h 251"/>
                <a:gd name="T62" fmla="*/ 98 w 135"/>
                <a:gd name="T63" fmla="*/ 102 h 251"/>
                <a:gd name="T64" fmla="*/ 97 w 135"/>
                <a:gd name="T65" fmla="*/ 8 h 251"/>
                <a:gd name="T66" fmla="*/ 96 w 135"/>
                <a:gd name="T67" fmla="*/ 7 h 251"/>
                <a:gd name="T68" fmla="*/ 82 w 135"/>
                <a:gd name="T69" fmla="*/ 13 h 251"/>
                <a:gd name="T70" fmla="*/ 67 w 135"/>
                <a:gd name="T71" fmla="*/ 14 h 251"/>
                <a:gd name="T72" fmla="*/ 64 w 135"/>
                <a:gd name="T73" fmla="*/ 14 h 251"/>
                <a:gd name="T74" fmla="*/ 57 w 135"/>
                <a:gd name="T75" fmla="*/ 14 h 251"/>
                <a:gd name="T76" fmla="*/ 46 w 135"/>
                <a:gd name="T77" fmla="*/ 14 h 251"/>
                <a:gd name="T78" fmla="*/ 40 w 135"/>
                <a:gd name="T79" fmla="*/ 1 h 251"/>
                <a:gd name="T80" fmla="*/ 33 w 135"/>
                <a:gd name="T81" fmla="*/ 3 h 251"/>
                <a:gd name="T82" fmla="*/ 23 w 135"/>
                <a:gd name="T83" fmla="*/ 0 h 2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5" h="251">
                  <a:moveTo>
                    <a:pt x="19" y="0"/>
                  </a:moveTo>
                  <a:cubicBezTo>
                    <a:pt x="18" y="0"/>
                    <a:pt x="17" y="0"/>
                    <a:pt x="16" y="0"/>
                  </a:cubicBezTo>
                  <a:cubicBezTo>
                    <a:pt x="9" y="2"/>
                    <a:pt x="5" y="3"/>
                    <a:pt x="0" y="6"/>
                  </a:cubicBezTo>
                  <a:cubicBezTo>
                    <a:pt x="0" y="9"/>
                    <a:pt x="0" y="9"/>
                    <a:pt x="0" y="9"/>
                  </a:cubicBezTo>
                  <a:cubicBezTo>
                    <a:pt x="0" y="9"/>
                    <a:pt x="0" y="9"/>
                    <a:pt x="0" y="9"/>
                  </a:cubicBezTo>
                  <a:cubicBezTo>
                    <a:pt x="0" y="9"/>
                    <a:pt x="0" y="9"/>
                    <a:pt x="0" y="9"/>
                  </a:cubicBezTo>
                  <a:cubicBezTo>
                    <a:pt x="0" y="249"/>
                    <a:pt x="0" y="249"/>
                    <a:pt x="0" y="249"/>
                  </a:cubicBezTo>
                  <a:cubicBezTo>
                    <a:pt x="24" y="249"/>
                    <a:pt x="24" y="249"/>
                    <a:pt x="24" y="249"/>
                  </a:cubicBezTo>
                  <a:cubicBezTo>
                    <a:pt x="25" y="248"/>
                    <a:pt x="25" y="248"/>
                    <a:pt x="25" y="248"/>
                  </a:cubicBezTo>
                  <a:cubicBezTo>
                    <a:pt x="26" y="247"/>
                    <a:pt x="28" y="245"/>
                    <a:pt x="29" y="245"/>
                  </a:cubicBezTo>
                  <a:cubicBezTo>
                    <a:pt x="30" y="245"/>
                    <a:pt x="30" y="245"/>
                    <a:pt x="31" y="245"/>
                  </a:cubicBezTo>
                  <a:cubicBezTo>
                    <a:pt x="33" y="246"/>
                    <a:pt x="34" y="249"/>
                    <a:pt x="34" y="251"/>
                  </a:cubicBezTo>
                  <a:cubicBezTo>
                    <a:pt x="62" y="251"/>
                    <a:pt x="62" y="251"/>
                    <a:pt x="62" y="251"/>
                  </a:cubicBezTo>
                  <a:cubicBezTo>
                    <a:pt x="62" y="251"/>
                    <a:pt x="63" y="251"/>
                    <a:pt x="63" y="250"/>
                  </a:cubicBezTo>
                  <a:cubicBezTo>
                    <a:pt x="64" y="250"/>
                    <a:pt x="64" y="250"/>
                    <a:pt x="64" y="250"/>
                  </a:cubicBezTo>
                  <a:cubicBezTo>
                    <a:pt x="65" y="250"/>
                    <a:pt x="67" y="250"/>
                    <a:pt x="68" y="250"/>
                  </a:cubicBezTo>
                  <a:cubicBezTo>
                    <a:pt x="69" y="250"/>
                    <a:pt x="70" y="250"/>
                    <a:pt x="71" y="251"/>
                  </a:cubicBezTo>
                  <a:cubicBezTo>
                    <a:pt x="92" y="251"/>
                    <a:pt x="92" y="251"/>
                    <a:pt x="92" y="251"/>
                  </a:cubicBezTo>
                  <a:cubicBezTo>
                    <a:pt x="92" y="250"/>
                    <a:pt x="93" y="250"/>
                    <a:pt x="93" y="249"/>
                  </a:cubicBezTo>
                  <a:cubicBezTo>
                    <a:pt x="93" y="248"/>
                    <a:pt x="93" y="247"/>
                    <a:pt x="94" y="247"/>
                  </a:cubicBezTo>
                  <a:cubicBezTo>
                    <a:pt x="96" y="244"/>
                    <a:pt x="100" y="244"/>
                    <a:pt x="103" y="244"/>
                  </a:cubicBezTo>
                  <a:cubicBezTo>
                    <a:pt x="104" y="244"/>
                    <a:pt x="104" y="244"/>
                    <a:pt x="104" y="244"/>
                  </a:cubicBezTo>
                  <a:cubicBezTo>
                    <a:pt x="107" y="243"/>
                    <a:pt x="107" y="243"/>
                    <a:pt x="108" y="240"/>
                  </a:cubicBezTo>
                  <a:cubicBezTo>
                    <a:pt x="109" y="240"/>
                    <a:pt x="109" y="239"/>
                    <a:pt x="109" y="239"/>
                  </a:cubicBezTo>
                  <a:cubicBezTo>
                    <a:pt x="109" y="238"/>
                    <a:pt x="109" y="238"/>
                    <a:pt x="109" y="238"/>
                  </a:cubicBezTo>
                  <a:cubicBezTo>
                    <a:pt x="110" y="235"/>
                    <a:pt x="112" y="231"/>
                    <a:pt x="114" y="229"/>
                  </a:cubicBezTo>
                  <a:cubicBezTo>
                    <a:pt x="115" y="229"/>
                    <a:pt x="117" y="228"/>
                    <a:pt x="118" y="228"/>
                  </a:cubicBezTo>
                  <a:cubicBezTo>
                    <a:pt x="119" y="227"/>
                    <a:pt x="121" y="226"/>
                    <a:pt x="123" y="226"/>
                  </a:cubicBezTo>
                  <a:cubicBezTo>
                    <a:pt x="124" y="225"/>
                    <a:pt x="125" y="224"/>
                    <a:pt x="127" y="224"/>
                  </a:cubicBezTo>
                  <a:cubicBezTo>
                    <a:pt x="127" y="223"/>
                    <a:pt x="128" y="223"/>
                    <a:pt x="129" y="222"/>
                  </a:cubicBezTo>
                  <a:cubicBezTo>
                    <a:pt x="129" y="222"/>
                    <a:pt x="130" y="222"/>
                    <a:pt x="131" y="221"/>
                  </a:cubicBezTo>
                  <a:cubicBezTo>
                    <a:pt x="131" y="221"/>
                    <a:pt x="131" y="221"/>
                    <a:pt x="131" y="221"/>
                  </a:cubicBezTo>
                  <a:cubicBezTo>
                    <a:pt x="131" y="220"/>
                    <a:pt x="131" y="220"/>
                    <a:pt x="131" y="218"/>
                  </a:cubicBezTo>
                  <a:cubicBezTo>
                    <a:pt x="130" y="216"/>
                    <a:pt x="129" y="213"/>
                    <a:pt x="129" y="210"/>
                  </a:cubicBezTo>
                  <a:cubicBezTo>
                    <a:pt x="129" y="208"/>
                    <a:pt x="127" y="204"/>
                    <a:pt x="129" y="202"/>
                  </a:cubicBezTo>
                  <a:cubicBezTo>
                    <a:pt x="129" y="202"/>
                    <a:pt x="129" y="202"/>
                    <a:pt x="129" y="202"/>
                  </a:cubicBezTo>
                  <a:cubicBezTo>
                    <a:pt x="130" y="202"/>
                    <a:pt x="131" y="203"/>
                    <a:pt x="132" y="203"/>
                  </a:cubicBezTo>
                  <a:cubicBezTo>
                    <a:pt x="132" y="203"/>
                    <a:pt x="133" y="203"/>
                    <a:pt x="134" y="203"/>
                  </a:cubicBezTo>
                  <a:cubicBezTo>
                    <a:pt x="134" y="203"/>
                    <a:pt x="135" y="203"/>
                    <a:pt x="135" y="203"/>
                  </a:cubicBezTo>
                  <a:cubicBezTo>
                    <a:pt x="134" y="202"/>
                    <a:pt x="130" y="198"/>
                    <a:pt x="129" y="198"/>
                  </a:cubicBezTo>
                  <a:cubicBezTo>
                    <a:pt x="129" y="198"/>
                    <a:pt x="129" y="198"/>
                    <a:pt x="129" y="199"/>
                  </a:cubicBezTo>
                  <a:cubicBezTo>
                    <a:pt x="125" y="194"/>
                    <a:pt x="120" y="190"/>
                    <a:pt x="118" y="184"/>
                  </a:cubicBezTo>
                  <a:cubicBezTo>
                    <a:pt x="110" y="169"/>
                    <a:pt x="103" y="153"/>
                    <a:pt x="95" y="139"/>
                  </a:cubicBezTo>
                  <a:cubicBezTo>
                    <a:pt x="94" y="137"/>
                    <a:pt x="92" y="135"/>
                    <a:pt x="92" y="133"/>
                  </a:cubicBezTo>
                  <a:cubicBezTo>
                    <a:pt x="91" y="132"/>
                    <a:pt x="91" y="133"/>
                    <a:pt x="90" y="132"/>
                  </a:cubicBezTo>
                  <a:cubicBezTo>
                    <a:pt x="90" y="130"/>
                    <a:pt x="91" y="129"/>
                    <a:pt x="91" y="128"/>
                  </a:cubicBezTo>
                  <a:cubicBezTo>
                    <a:pt x="92" y="122"/>
                    <a:pt x="87" y="114"/>
                    <a:pt x="84" y="108"/>
                  </a:cubicBezTo>
                  <a:cubicBezTo>
                    <a:pt x="84" y="106"/>
                    <a:pt x="83" y="102"/>
                    <a:pt x="81" y="100"/>
                  </a:cubicBezTo>
                  <a:cubicBezTo>
                    <a:pt x="79" y="98"/>
                    <a:pt x="77" y="96"/>
                    <a:pt x="75" y="94"/>
                  </a:cubicBezTo>
                  <a:cubicBezTo>
                    <a:pt x="73" y="93"/>
                    <a:pt x="72" y="91"/>
                    <a:pt x="71" y="89"/>
                  </a:cubicBezTo>
                  <a:cubicBezTo>
                    <a:pt x="69" y="87"/>
                    <a:pt x="66" y="84"/>
                    <a:pt x="64" y="81"/>
                  </a:cubicBezTo>
                  <a:cubicBezTo>
                    <a:pt x="62" y="77"/>
                    <a:pt x="60" y="71"/>
                    <a:pt x="59" y="67"/>
                  </a:cubicBezTo>
                  <a:cubicBezTo>
                    <a:pt x="57" y="63"/>
                    <a:pt x="51" y="58"/>
                    <a:pt x="51" y="53"/>
                  </a:cubicBezTo>
                  <a:cubicBezTo>
                    <a:pt x="51" y="51"/>
                    <a:pt x="52" y="50"/>
                    <a:pt x="53" y="48"/>
                  </a:cubicBezTo>
                  <a:cubicBezTo>
                    <a:pt x="54" y="47"/>
                    <a:pt x="53" y="45"/>
                    <a:pt x="55" y="44"/>
                  </a:cubicBezTo>
                  <a:cubicBezTo>
                    <a:pt x="55" y="44"/>
                    <a:pt x="55" y="44"/>
                    <a:pt x="55" y="44"/>
                  </a:cubicBezTo>
                  <a:cubicBezTo>
                    <a:pt x="59" y="44"/>
                    <a:pt x="60" y="56"/>
                    <a:pt x="60" y="57"/>
                  </a:cubicBezTo>
                  <a:cubicBezTo>
                    <a:pt x="60" y="57"/>
                    <a:pt x="60" y="57"/>
                    <a:pt x="60" y="57"/>
                  </a:cubicBezTo>
                  <a:cubicBezTo>
                    <a:pt x="62" y="59"/>
                    <a:pt x="63" y="62"/>
                    <a:pt x="65" y="64"/>
                  </a:cubicBezTo>
                  <a:cubicBezTo>
                    <a:pt x="67" y="66"/>
                    <a:pt x="70" y="68"/>
                    <a:pt x="71" y="70"/>
                  </a:cubicBezTo>
                  <a:cubicBezTo>
                    <a:pt x="73" y="73"/>
                    <a:pt x="72" y="78"/>
                    <a:pt x="73" y="81"/>
                  </a:cubicBezTo>
                  <a:cubicBezTo>
                    <a:pt x="74" y="83"/>
                    <a:pt x="77" y="85"/>
                    <a:pt x="78" y="87"/>
                  </a:cubicBezTo>
                  <a:cubicBezTo>
                    <a:pt x="85" y="94"/>
                    <a:pt x="89" y="100"/>
                    <a:pt x="98" y="104"/>
                  </a:cubicBezTo>
                  <a:cubicBezTo>
                    <a:pt x="98" y="103"/>
                    <a:pt x="98" y="103"/>
                    <a:pt x="98" y="102"/>
                  </a:cubicBezTo>
                  <a:cubicBezTo>
                    <a:pt x="103" y="87"/>
                    <a:pt x="109" y="73"/>
                    <a:pt x="114" y="58"/>
                  </a:cubicBezTo>
                  <a:cubicBezTo>
                    <a:pt x="97" y="8"/>
                    <a:pt x="97" y="8"/>
                    <a:pt x="97" y="8"/>
                  </a:cubicBezTo>
                  <a:cubicBezTo>
                    <a:pt x="97" y="7"/>
                    <a:pt x="97" y="7"/>
                    <a:pt x="97" y="7"/>
                  </a:cubicBezTo>
                  <a:cubicBezTo>
                    <a:pt x="97" y="7"/>
                    <a:pt x="97" y="7"/>
                    <a:pt x="96" y="7"/>
                  </a:cubicBezTo>
                  <a:cubicBezTo>
                    <a:pt x="93" y="9"/>
                    <a:pt x="89" y="10"/>
                    <a:pt x="86" y="12"/>
                  </a:cubicBezTo>
                  <a:cubicBezTo>
                    <a:pt x="84" y="12"/>
                    <a:pt x="83" y="12"/>
                    <a:pt x="82" y="13"/>
                  </a:cubicBezTo>
                  <a:cubicBezTo>
                    <a:pt x="77" y="13"/>
                    <a:pt x="73" y="14"/>
                    <a:pt x="68" y="14"/>
                  </a:cubicBezTo>
                  <a:cubicBezTo>
                    <a:pt x="68" y="14"/>
                    <a:pt x="68" y="14"/>
                    <a:pt x="67" y="14"/>
                  </a:cubicBezTo>
                  <a:cubicBezTo>
                    <a:pt x="67" y="14"/>
                    <a:pt x="67" y="14"/>
                    <a:pt x="67" y="14"/>
                  </a:cubicBezTo>
                  <a:cubicBezTo>
                    <a:pt x="66" y="14"/>
                    <a:pt x="65" y="14"/>
                    <a:pt x="64" y="14"/>
                  </a:cubicBezTo>
                  <a:cubicBezTo>
                    <a:pt x="63" y="15"/>
                    <a:pt x="62" y="15"/>
                    <a:pt x="61" y="15"/>
                  </a:cubicBezTo>
                  <a:cubicBezTo>
                    <a:pt x="60" y="15"/>
                    <a:pt x="58" y="14"/>
                    <a:pt x="57" y="14"/>
                  </a:cubicBezTo>
                  <a:cubicBezTo>
                    <a:pt x="54" y="12"/>
                    <a:pt x="51" y="8"/>
                    <a:pt x="48" y="8"/>
                  </a:cubicBezTo>
                  <a:cubicBezTo>
                    <a:pt x="52" y="10"/>
                    <a:pt x="48" y="13"/>
                    <a:pt x="46" y="14"/>
                  </a:cubicBezTo>
                  <a:cubicBezTo>
                    <a:pt x="44" y="13"/>
                    <a:pt x="38" y="10"/>
                    <a:pt x="38" y="8"/>
                  </a:cubicBezTo>
                  <a:cubicBezTo>
                    <a:pt x="37" y="8"/>
                    <a:pt x="40" y="2"/>
                    <a:pt x="40" y="1"/>
                  </a:cubicBezTo>
                  <a:cubicBezTo>
                    <a:pt x="40" y="1"/>
                    <a:pt x="40" y="1"/>
                    <a:pt x="40" y="1"/>
                  </a:cubicBezTo>
                  <a:cubicBezTo>
                    <a:pt x="38" y="1"/>
                    <a:pt x="35" y="3"/>
                    <a:pt x="33" y="3"/>
                  </a:cubicBezTo>
                  <a:cubicBezTo>
                    <a:pt x="33" y="3"/>
                    <a:pt x="32" y="3"/>
                    <a:pt x="32" y="3"/>
                  </a:cubicBezTo>
                  <a:cubicBezTo>
                    <a:pt x="29" y="3"/>
                    <a:pt x="26" y="1"/>
                    <a:pt x="23" y="0"/>
                  </a:cubicBezTo>
                  <a:cubicBezTo>
                    <a:pt x="21" y="0"/>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470"/>
            <p:cNvSpPr/>
            <p:nvPr/>
          </p:nvSpPr>
          <p:spPr bwMode="auto">
            <a:xfrm>
              <a:off x="567045" y="4718401"/>
              <a:ext cx="2686"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471"/>
            <p:cNvSpPr/>
            <p:nvPr/>
          </p:nvSpPr>
          <p:spPr bwMode="auto">
            <a:xfrm>
              <a:off x="567045" y="4718401"/>
              <a:ext cx="2686"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Rectangle 480"/>
            <p:cNvSpPr>
              <a:spLocks noChangeArrowheads="1"/>
            </p:cNvSpPr>
            <p:nvPr/>
          </p:nvSpPr>
          <p:spPr bwMode="auto">
            <a:xfrm>
              <a:off x="74118" y="1361929"/>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Rectangle 481"/>
            <p:cNvSpPr>
              <a:spLocks noChangeArrowheads="1"/>
            </p:cNvSpPr>
            <p:nvPr/>
          </p:nvSpPr>
          <p:spPr bwMode="auto">
            <a:xfrm>
              <a:off x="74118" y="1361929"/>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482"/>
            <p:cNvSpPr/>
            <p:nvPr/>
          </p:nvSpPr>
          <p:spPr bwMode="auto">
            <a:xfrm>
              <a:off x="1589" y="971080"/>
              <a:ext cx="181322" cy="458006"/>
            </a:xfrm>
            <a:custGeom>
              <a:gdLst>
                <a:gd name="T0" fmla="*/ 0 w 57"/>
                <a:gd name="T1" fmla="*/ 0 h 144"/>
                <a:gd name="T2" fmla="*/ 0 w 57"/>
                <a:gd name="T3" fmla="*/ 141 h 144"/>
                <a:gd name="T4" fmla="*/ 1 w 57"/>
                <a:gd name="T5" fmla="*/ 142 h 144"/>
                <a:gd name="T6" fmla="*/ 4 w 57"/>
                <a:gd name="T7" fmla="*/ 144 h 144"/>
                <a:gd name="T8" fmla="*/ 4 w 57"/>
                <a:gd name="T9" fmla="*/ 142 h 144"/>
                <a:gd name="T10" fmla="*/ 5 w 57"/>
                <a:gd name="T11" fmla="*/ 135 h 144"/>
                <a:gd name="T12" fmla="*/ 6 w 57"/>
                <a:gd name="T13" fmla="*/ 133 h 144"/>
                <a:gd name="T14" fmla="*/ 6 w 57"/>
                <a:gd name="T15" fmla="*/ 132 h 144"/>
                <a:gd name="T16" fmla="*/ 7 w 57"/>
                <a:gd name="T17" fmla="*/ 131 h 144"/>
                <a:gd name="T18" fmla="*/ 10 w 57"/>
                <a:gd name="T19" fmla="*/ 127 h 144"/>
                <a:gd name="T20" fmla="*/ 17 w 57"/>
                <a:gd name="T21" fmla="*/ 121 h 144"/>
                <a:gd name="T22" fmla="*/ 21 w 57"/>
                <a:gd name="T23" fmla="*/ 121 h 144"/>
                <a:gd name="T24" fmla="*/ 21 w 57"/>
                <a:gd name="T25" fmla="*/ 121 h 144"/>
                <a:gd name="T26" fmla="*/ 22 w 57"/>
                <a:gd name="T27" fmla="*/ 121 h 144"/>
                <a:gd name="T28" fmla="*/ 23 w 57"/>
                <a:gd name="T29" fmla="*/ 121 h 144"/>
                <a:gd name="T30" fmla="*/ 23 w 57"/>
                <a:gd name="T31" fmla="*/ 121 h 144"/>
                <a:gd name="T32" fmla="*/ 24 w 57"/>
                <a:gd name="T33" fmla="*/ 121 h 144"/>
                <a:gd name="T34" fmla="*/ 25 w 57"/>
                <a:gd name="T35" fmla="*/ 120 h 144"/>
                <a:gd name="T36" fmla="*/ 29 w 57"/>
                <a:gd name="T37" fmla="*/ 120 h 144"/>
                <a:gd name="T38" fmla="*/ 31 w 57"/>
                <a:gd name="T39" fmla="*/ 120 h 144"/>
                <a:gd name="T40" fmla="*/ 29 w 57"/>
                <a:gd name="T41" fmla="*/ 111 h 144"/>
                <a:gd name="T42" fmla="*/ 28 w 57"/>
                <a:gd name="T43" fmla="*/ 101 h 144"/>
                <a:gd name="T44" fmla="*/ 24 w 57"/>
                <a:gd name="T45" fmla="*/ 96 h 144"/>
                <a:gd name="T46" fmla="*/ 22 w 57"/>
                <a:gd name="T47" fmla="*/ 95 h 144"/>
                <a:gd name="T48" fmla="*/ 21 w 57"/>
                <a:gd name="T49" fmla="*/ 94 h 144"/>
                <a:gd name="T50" fmla="*/ 22 w 57"/>
                <a:gd name="T51" fmla="*/ 92 h 144"/>
                <a:gd name="T52" fmla="*/ 23 w 57"/>
                <a:gd name="T53" fmla="*/ 90 h 144"/>
                <a:gd name="T54" fmla="*/ 23 w 57"/>
                <a:gd name="T55" fmla="*/ 89 h 144"/>
                <a:gd name="T56" fmla="*/ 24 w 57"/>
                <a:gd name="T57" fmla="*/ 90 h 144"/>
                <a:gd name="T58" fmla="*/ 24 w 57"/>
                <a:gd name="T59" fmla="*/ 89 h 144"/>
                <a:gd name="T60" fmla="*/ 24 w 57"/>
                <a:gd name="T61" fmla="*/ 88 h 144"/>
                <a:gd name="T62" fmla="*/ 25 w 57"/>
                <a:gd name="T63" fmla="*/ 88 h 144"/>
                <a:gd name="T64" fmla="*/ 27 w 57"/>
                <a:gd name="T65" fmla="*/ 87 h 144"/>
                <a:gd name="T66" fmla="*/ 28 w 57"/>
                <a:gd name="T67" fmla="*/ 86 h 144"/>
                <a:gd name="T68" fmla="*/ 31 w 57"/>
                <a:gd name="T69" fmla="*/ 86 h 144"/>
                <a:gd name="T70" fmla="*/ 33 w 57"/>
                <a:gd name="T71" fmla="*/ 86 h 144"/>
                <a:gd name="T72" fmla="*/ 36 w 57"/>
                <a:gd name="T73" fmla="*/ 86 h 144"/>
                <a:gd name="T74" fmla="*/ 41 w 57"/>
                <a:gd name="T75" fmla="*/ 87 h 144"/>
                <a:gd name="T76" fmla="*/ 43 w 57"/>
                <a:gd name="T77" fmla="*/ 87 h 144"/>
                <a:gd name="T78" fmla="*/ 54 w 57"/>
                <a:gd name="T79" fmla="*/ 82 h 144"/>
                <a:gd name="T80" fmla="*/ 57 w 57"/>
                <a:gd name="T81" fmla="*/ 80 h 144"/>
                <a:gd name="T82" fmla="*/ 56 w 57"/>
                <a:gd name="T83" fmla="*/ 79 h 144"/>
                <a:gd name="T84" fmla="*/ 50 w 57"/>
                <a:gd name="T85" fmla="*/ 73 h 144"/>
                <a:gd name="T86" fmla="*/ 50 w 57"/>
                <a:gd name="T87" fmla="*/ 72 h 144"/>
                <a:gd name="T88" fmla="*/ 34 w 57"/>
                <a:gd name="T89" fmla="*/ 68 h 144"/>
                <a:gd name="T90" fmla="*/ 33 w 57"/>
                <a:gd name="T91" fmla="*/ 65 h 144"/>
                <a:gd name="T92" fmla="*/ 35 w 57"/>
                <a:gd name="T93" fmla="*/ 64 h 144"/>
                <a:gd name="T94" fmla="*/ 35 w 57"/>
                <a:gd name="T95" fmla="*/ 61 h 144"/>
                <a:gd name="T96" fmla="*/ 32 w 57"/>
                <a:gd name="T97" fmla="*/ 57 h 144"/>
                <a:gd name="T98" fmla="*/ 20 w 57"/>
                <a:gd name="T99" fmla="*/ 40 h 144"/>
                <a:gd name="T100" fmla="*/ 12 w 57"/>
                <a:gd name="T101" fmla="*/ 36 h 144"/>
                <a:gd name="T102" fmla="*/ 9 w 57"/>
                <a:gd name="T103" fmla="*/ 35 h 144"/>
                <a:gd name="T104" fmla="*/ 10 w 57"/>
                <a:gd name="T105" fmla="*/ 32 h 144"/>
                <a:gd name="T106" fmla="*/ 15 w 57"/>
                <a:gd name="T107" fmla="*/ 24 h 144"/>
                <a:gd name="T108" fmla="*/ 14 w 57"/>
                <a:gd name="T109" fmla="*/ 22 h 144"/>
                <a:gd name="T110" fmla="*/ 11 w 57"/>
                <a:gd name="T111" fmla="*/ 16 h 144"/>
                <a:gd name="T112" fmla="*/ 10 w 57"/>
                <a:gd name="T113" fmla="*/ 15 h 144"/>
                <a:gd name="T114" fmla="*/ 13 w 57"/>
                <a:gd name="T115" fmla="*/ 11 h 144"/>
                <a:gd name="T116" fmla="*/ 13 w 57"/>
                <a:gd name="T117" fmla="*/ 7 h 144"/>
                <a:gd name="T118" fmla="*/ 4 w 57"/>
                <a:gd name="T119" fmla="*/ 2 h 144"/>
                <a:gd name="T120" fmla="*/ 0 w 57"/>
                <a:gd name="T121" fmla="*/ 0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 h="144">
                  <a:moveTo>
                    <a:pt x="0" y="0"/>
                  </a:moveTo>
                  <a:cubicBezTo>
                    <a:pt x="0" y="141"/>
                    <a:pt x="0" y="141"/>
                    <a:pt x="0" y="141"/>
                  </a:cubicBezTo>
                  <a:cubicBezTo>
                    <a:pt x="0" y="141"/>
                    <a:pt x="0" y="142"/>
                    <a:pt x="1" y="142"/>
                  </a:cubicBezTo>
                  <a:cubicBezTo>
                    <a:pt x="2" y="142"/>
                    <a:pt x="3" y="143"/>
                    <a:pt x="4" y="144"/>
                  </a:cubicBezTo>
                  <a:cubicBezTo>
                    <a:pt x="4" y="144"/>
                    <a:pt x="4" y="143"/>
                    <a:pt x="4" y="142"/>
                  </a:cubicBezTo>
                  <a:cubicBezTo>
                    <a:pt x="3" y="139"/>
                    <a:pt x="4" y="137"/>
                    <a:pt x="5" y="135"/>
                  </a:cubicBezTo>
                  <a:cubicBezTo>
                    <a:pt x="5" y="134"/>
                    <a:pt x="6" y="133"/>
                    <a:pt x="6" y="133"/>
                  </a:cubicBezTo>
                  <a:cubicBezTo>
                    <a:pt x="6" y="132"/>
                    <a:pt x="6" y="132"/>
                    <a:pt x="6" y="132"/>
                  </a:cubicBezTo>
                  <a:cubicBezTo>
                    <a:pt x="7" y="132"/>
                    <a:pt x="7" y="131"/>
                    <a:pt x="7" y="131"/>
                  </a:cubicBezTo>
                  <a:cubicBezTo>
                    <a:pt x="10" y="127"/>
                    <a:pt x="10" y="127"/>
                    <a:pt x="10" y="127"/>
                  </a:cubicBezTo>
                  <a:cubicBezTo>
                    <a:pt x="12" y="124"/>
                    <a:pt x="14" y="122"/>
                    <a:pt x="17" y="121"/>
                  </a:cubicBezTo>
                  <a:cubicBezTo>
                    <a:pt x="18" y="121"/>
                    <a:pt x="19" y="121"/>
                    <a:pt x="21" y="121"/>
                  </a:cubicBezTo>
                  <a:cubicBezTo>
                    <a:pt x="21" y="121"/>
                    <a:pt x="21" y="121"/>
                    <a:pt x="21" y="121"/>
                  </a:cubicBezTo>
                  <a:cubicBezTo>
                    <a:pt x="22" y="121"/>
                    <a:pt x="22" y="121"/>
                    <a:pt x="22" y="121"/>
                  </a:cubicBezTo>
                  <a:cubicBezTo>
                    <a:pt x="22" y="121"/>
                    <a:pt x="23" y="121"/>
                    <a:pt x="23" y="121"/>
                  </a:cubicBezTo>
                  <a:cubicBezTo>
                    <a:pt x="23" y="121"/>
                    <a:pt x="23" y="121"/>
                    <a:pt x="23" y="121"/>
                  </a:cubicBezTo>
                  <a:cubicBezTo>
                    <a:pt x="24" y="121"/>
                    <a:pt x="24" y="121"/>
                    <a:pt x="24" y="121"/>
                  </a:cubicBezTo>
                  <a:cubicBezTo>
                    <a:pt x="25" y="120"/>
                    <a:pt x="25" y="120"/>
                    <a:pt x="25" y="120"/>
                  </a:cubicBezTo>
                  <a:cubicBezTo>
                    <a:pt x="26" y="120"/>
                    <a:pt x="27" y="120"/>
                    <a:pt x="29" y="120"/>
                  </a:cubicBezTo>
                  <a:cubicBezTo>
                    <a:pt x="30" y="120"/>
                    <a:pt x="31" y="120"/>
                    <a:pt x="31" y="120"/>
                  </a:cubicBezTo>
                  <a:cubicBezTo>
                    <a:pt x="30" y="118"/>
                    <a:pt x="29" y="115"/>
                    <a:pt x="29" y="111"/>
                  </a:cubicBezTo>
                  <a:cubicBezTo>
                    <a:pt x="30" y="103"/>
                    <a:pt x="29" y="101"/>
                    <a:pt x="28" y="101"/>
                  </a:cubicBezTo>
                  <a:cubicBezTo>
                    <a:pt x="27" y="100"/>
                    <a:pt x="25" y="98"/>
                    <a:pt x="24" y="96"/>
                  </a:cubicBezTo>
                  <a:cubicBezTo>
                    <a:pt x="23" y="95"/>
                    <a:pt x="23" y="95"/>
                    <a:pt x="22" y="95"/>
                  </a:cubicBezTo>
                  <a:cubicBezTo>
                    <a:pt x="21" y="94"/>
                    <a:pt x="21" y="94"/>
                    <a:pt x="21" y="94"/>
                  </a:cubicBezTo>
                  <a:cubicBezTo>
                    <a:pt x="22" y="92"/>
                    <a:pt x="22" y="92"/>
                    <a:pt x="22" y="92"/>
                  </a:cubicBezTo>
                  <a:cubicBezTo>
                    <a:pt x="22" y="91"/>
                    <a:pt x="22" y="90"/>
                    <a:pt x="23" y="90"/>
                  </a:cubicBezTo>
                  <a:cubicBezTo>
                    <a:pt x="23" y="89"/>
                    <a:pt x="23" y="89"/>
                    <a:pt x="23" y="89"/>
                  </a:cubicBezTo>
                  <a:cubicBezTo>
                    <a:pt x="24" y="90"/>
                    <a:pt x="24" y="90"/>
                    <a:pt x="24" y="90"/>
                  </a:cubicBezTo>
                  <a:cubicBezTo>
                    <a:pt x="24" y="89"/>
                    <a:pt x="24" y="89"/>
                    <a:pt x="24" y="89"/>
                  </a:cubicBezTo>
                  <a:cubicBezTo>
                    <a:pt x="24" y="88"/>
                    <a:pt x="24" y="88"/>
                    <a:pt x="24" y="88"/>
                  </a:cubicBezTo>
                  <a:cubicBezTo>
                    <a:pt x="25" y="88"/>
                    <a:pt x="25" y="88"/>
                    <a:pt x="25" y="88"/>
                  </a:cubicBezTo>
                  <a:cubicBezTo>
                    <a:pt x="25" y="87"/>
                    <a:pt x="26" y="87"/>
                    <a:pt x="27" y="87"/>
                  </a:cubicBezTo>
                  <a:cubicBezTo>
                    <a:pt x="28" y="86"/>
                    <a:pt x="28" y="86"/>
                    <a:pt x="28" y="86"/>
                  </a:cubicBezTo>
                  <a:cubicBezTo>
                    <a:pt x="29" y="86"/>
                    <a:pt x="30" y="86"/>
                    <a:pt x="31" y="86"/>
                  </a:cubicBezTo>
                  <a:cubicBezTo>
                    <a:pt x="32" y="86"/>
                    <a:pt x="32" y="86"/>
                    <a:pt x="33" y="86"/>
                  </a:cubicBezTo>
                  <a:cubicBezTo>
                    <a:pt x="34" y="86"/>
                    <a:pt x="35" y="86"/>
                    <a:pt x="36" y="86"/>
                  </a:cubicBezTo>
                  <a:cubicBezTo>
                    <a:pt x="38" y="86"/>
                    <a:pt x="40" y="87"/>
                    <a:pt x="41" y="87"/>
                  </a:cubicBezTo>
                  <a:cubicBezTo>
                    <a:pt x="42" y="87"/>
                    <a:pt x="42" y="87"/>
                    <a:pt x="43" y="87"/>
                  </a:cubicBezTo>
                  <a:cubicBezTo>
                    <a:pt x="47" y="87"/>
                    <a:pt x="51" y="84"/>
                    <a:pt x="54" y="82"/>
                  </a:cubicBezTo>
                  <a:cubicBezTo>
                    <a:pt x="56" y="81"/>
                    <a:pt x="57" y="81"/>
                    <a:pt x="57" y="80"/>
                  </a:cubicBezTo>
                  <a:cubicBezTo>
                    <a:pt x="57" y="80"/>
                    <a:pt x="56" y="79"/>
                    <a:pt x="56" y="79"/>
                  </a:cubicBezTo>
                  <a:cubicBezTo>
                    <a:pt x="52" y="77"/>
                    <a:pt x="50" y="75"/>
                    <a:pt x="50" y="73"/>
                  </a:cubicBezTo>
                  <a:cubicBezTo>
                    <a:pt x="50" y="72"/>
                    <a:pt x="50" y="72"/>
                    <a:pt x="50" y="72"/>
                  </a:cubicBezTo>
                  <a:cubicBezTo>
                    <a:pt x="41" y="71"/>
                    <a:pt x="36" y="70"/>
                    <a:pt x="34" y="68"/>
                  </a:cubicBezTo>
                  <a:cubicBezTo>
                    <a:pt x="33" y="65"/>
                    <a:pt x="33" y="65"/>
                    <a:pt x="33" y="65"/>
                  </a:cubicBezTo>
                  <a:cubicBezTo>
                    <a:pt x="35" y="64"/>
                    <a:pt x="35" y="64"/>
                    <a:pt x="35" y="64"/>
                  </a:cubicBezTo>
                  <a:cubicBezTo>
                    <a:pt x="35" y="63"/>
                    <a:pt x="36" y="62"/>
                    <a:pt x="35" y="61"/>
                  </a:cubicBezTo>
                  <a:cubicBezTo>
                    <a:pt x="35" y="59"/>
                    <a:pt x="33" y="57"/>
                    <a:pt x="32" y="57"/>
                  </a:cubicBezTo>
                  <a:cubicBezTo>
                    <a:pt x="23" y="52"/>
                    <a:pt x="19" y="44"/>
                    <a:pt x="20" y="40"/>
                  </a:cubicBezTo>
                  <a:cubicBezTo>
                    <a:pt x="19" y="39"/>
                    <a:pt x="16" y="37"/>
                    <a:pt x="12" y="36"/>
                  </a:cubicBezTo>
                  <a:cubicBezTo>
                    <a:pt x="9" y="35"/>
                    <a:pt x="9" y="35"/>
                    <a:pt x="9" y="35"/>
                  </a:cubicBezTo>
                  <a:cubicBezTo>
                    <a:pt x="10" y="32"/>
                    <a:pt x="10" y="32"/>
                    <a:pt x="10" y="32"/>
                  </a:cubicBezTo>
                  <a:cubicBezTo>
                    <a:pt x="10" y="30"/>
                    <a:pt x="13" y="26"/>
                    <a:pt x="15" y="24"/>
                  </a:cubicBezTo>
                  <a:cubicBezTo>
                    <a:pt x="15" y="23"/>
                    <a:pt x="14" y="22"/>
                    <a:pt x="14" y="22"/>
                  </a:cubicBezTo>
                  <a:cubicBezTo>
                    <a:pt x="12" y="21"/>
                    <a:pt x="11" y="19"/>
                    <a:pt x="11" y="16"/>
                  </a:cubicBezTo>
                  <a:cubicBezTo>
                    <a:pt x="10" y="15"/>
                    <a:pt x="10" y="15"/>
                    <a:pt x="10" y="15"/>
                  </a:cubicBezTo>
                  <a:cubicBezTo>
                    <a:pt x="13" y="11"/>
                    <a:pt x="13" y="11"/>
                    <a:pt x="13" y="11"/>
                  </a:cubicBezTo>
                  <a:cubicBezTo>
                    <a:pt x="13" y="7"/>
                    <a:pt x="13" y="7"/>
                    <a:pt x="13" y="7"/>
                  </a:cubicBezTo>
                  <a:cubicBezTo>
                    <a:pt x="12" y="6"/>
                    <a:pt x="9" y="4"/>
                    <a:pt x="4"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Rectangle 483"/>
            <p:cNvSpPr>
              <a:spLocks noChangeArrowheads="1"/>
            </p:cNvSpPr>
            <p:nvPr/>
          </p:nvSpPr>
          <p:spPr bwMode="auto">
            <a:xfrm>
              <a:off x="4279445" y="1596976"/>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484"/>
            <p:cNvSpPr/>
            <p:nvPr/>
          </p:nvSpPr>
          <p:spPr bwMode="auto">
            <a:xfrm flipH="1">
              <a:off x="4279445" y="159697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Rectangle 485"/>
            <p:cNvSpPr>
              <a:spLocks noChangeArrowheads="1"/>
            </p:cNvSpPr>
            <p:nvPr/>
          </p:nvSpPr>
          <p:spPr bwMode="auto">
            <a:xfrm>
              <a:off x="2944378" y="1063756"/>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486"/>
            <p:cNvSpPr/>
            <p:nvPr/>
          </p:nvSpPr>
          <p:spPr bwMode="auto">
            <a:xfrm flipH="1">
              <a:off x="2944378" y="106375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487"/>
            <p:cNvSpPr/>
            <p:nvPr/>
          </p:nvSpPr>
          <p:spPr bwMode="auto">
            <a:xfrm>
              <a:off x="1280245" y="1024805"/>
              <a:ext cx="3155002" cy="1457291"/>
            </a:xfrm>
            <a:custGeom>
              <a:gdLst>
                <a:gd name="T0" fmla="*/ 534 w 994"/>
                <a:gd name="T1" fmla="*/ 10 h 459"/>
                <a:gd name="T2" fmla="*/ 496 w 994"/>
                <a:gd name="T3" fmla="*/ 21 h 459"/>
                <a:gd name="T4" fmla="*/ 473 w 994"/>
                <a:gd name="T5" fmla="*/ 24 h 459"/>
                <a:gd name="T6" fmla="*/ 442 w 994"/>
                <a:gd name="T7" fmla="*/ 33 h 459"/>
                <a:gd name="T8" fmla="*/ 399 w 994"/>
                <a:gd name="T9" fmla="*/ 42 h 459"/>
                <a:gd name="T10" fmla="*/ 382 w 994"/>
                <a:gd name="T11" fmla="*/ 45 h 459"/>
                <a:gd name="T12" fmla="*/ 361 w 994"/>
                <a:gd name="T13" fmla="*/ 52 h 459"/>
                <a:gd name="T14" fmla="*/ 367 w 994"/>
                <a:gd name="T15" fmla="*/ 65 h 459"/>
                <a:gd name="T16" fmla="*/ 381 w 994"/>
                <a:gd name="T17" fmla="*/ 80 h 459"/>
                <a:gd name="T18" fmla="*/ 367 w 994"/>
                <a:gd name="T19" fmla="*/ 80 h 459"/>
                <a:gd name="T20" fmla="*/ 356 w 994"/>
                <a:gd name="T21" fmla="*/ 101 h 459"/>
                <a:gd name="T22" fmla="*/ 338 w 994"/>
                <a:gd name="T23" fmla="*/ 114 h 459"/>
                <a:gd name="T24" fmla="*/ 372 w 994"/>
                <a:gd name="T25" fmla="*/ 137 h 459"/>
                <a:gd name="T26" fmla="*/ 330 w 994"/>
                <a:gd name="T27" fmla="*/ 154 h 459"/>
                <a:gd name="T28" fmla="*/ 293 w 994"/>
                <a:gd name="T29" fmla="*/ 146 h 459"/>
                <a:gd name="T30" fmla="*/ 244 w 994"/>
                <a:gd name="T31" fmla="*/ 144 h 459"/>
                <a:gd name="T32" fmla="*/ 201 w 994"/>
                <a:gd name="T33" fmla="*/ 150 h 459"/>
                <a:gd name="T34" fmla="*/ 146 w 994"/>
                <a:gd name="T35" fmla="*/ 130 h 459"/>
                <a:gd name="T36" fmla="*/ 120 w 994"/>
                <a:gd name="T37" fmla="*/ 130 h 459"/>
                <a:gd name="T38" fmla="*/ 88 w 994"/>
                <a:gd name="T39" fmla="*/ 137 h 459"/>
                <a:gd name="T40" fmla="*/ 55 w 994"/>
                <a:gd name="T41" fmla="*/ 165 h 459"/>
                <a:gd name="T42" fmla="*/ 24 w 994"/>
                <a:gd name="T43" fmla="*/ 165 h 459"/>
                <a:gd name="T44" fmla="*/ 10 w 994"/>
                <a:gd name="T45" fmla="*/ 196 h 459"/>
                <a:gd name="T46" fmla="*/ 34 w 994"/>
                <a:gd name="T47" fmla="*/ 242 h 459"/>
                <a:gd name="T48" fmla="*/ 57 w 994"/>
                <a:gd name="T49" fmla="*/ 281 h 459"/>
                <a:gd name="T50" fmla="*/ 81 w 994"/>
                <a:gd name="T51" fmla="*/ 282 h 459"/>
                <a:gd name="T52" fmla="*/ 157 w 994"/>
                <a:gd name="T53" fmla="*/ 276 h 459"/>
                <a:gd name="T54" fmla="*/ 176 w 994"/>
                <a:gd name="T55" fmla="*/ 332 h 459"/>
                <a:gd name="T56" fmla="*/ 118 w 994"/>
                <a:gd name="T57" fmla="*/ 319 h 459"/>
                <a:gd name="T58" fmla="*/ 113 w 994"/>
                <a:gd name="T59" fmla="*/ 346 h 459"/>
                <a:gd name="T60" fmla="*/ 122 w 994"/>
                <a:gd name="T61" fmla="*/ 386 h 459"/>
                <a:gd name="T62" fmla="*/ 147 w 994"/>
                <a:gd name="T63" fmla="*/ 400 h 459"/>
                <a:gd name="T64" fmla="*/ 213 w 994"/>
                <a:gd name="T65" fmla="*/ 432 h 459"/>
                <a:gd name="T66" fmla="*/ 297 w 994"/>
                <a:gd name="T67" fmla="*/ 307 h 459"/>
                <a:gd name="T68" fmla="*/ 311 w 994"/>
                <a:gd name="T69" fmla="*/ 311 h 459"/>
                <a:gd name="T70" fmla="*/ 324 w 994"/>
                <a:gd name="T71" fmla="*/ 298 h 459"/>
                <a:gd name="T72" fmla="*/ 324 w 994"/>
                <a:gd name="T73" fmla="*/ 303 h 459"/>
                <a:gd name="T74" fmla="*/ 377 w 994"/>
                <a:gd name="T75" fmla="*/ 370 h 459"/>
                <a:gd name="T76" fmla="*/ 459 w 994"/>
                <a:gd name="T77" fmla="*/ 373 h 459"/>
                <a:gd name="T78" fmla="*/ 481 w 994"/>
                <a:gd name="T79" fmla="*/ 418 h 459"/>
                <a:gd name="T80" fmla="*/ 524 w 994"/>
                <a:gd name="T81" fmla="*/ 442 h 459"/>
                <a:gd name="T82" fmla="*/ 549 w 994"/>
                <a:gd name="T83" fmla="*/ 442 h 459"/>
                <a:gd name="T84" fmla="*/ 614 w 994"/>
                <a:gd name="T85" fmla="*/ 396 h 459"/>
                <a:gd name="T86" fmla="*/ 697 w 994"/>
                <a:gd name="T87" fmla="*/ 390 h 459"/>
                <a:gd name="T88" fmla="*/ 742 w 994"/>
                <a:gd name="T89" fmla="*/ 390 h 459"/>
                <a:gd name="T90" fmla="*/ 802 w 994"/>
                <a:gd name="T91" fmla="*/ 394 h 459"/>
                <a:gd name="T92" fmla="*/ 837 w 994"/>
                <a:gd name="T93" fmla="*/ 380 h 459"/>
                <a:gd name="T94" fmla="*/ 826 w 994"/>
                <a:gd name="T95" fmla="*/ 327 h 459"/>
                <a:gd name="T96" fmla="*/ 876 w 994"/>
                <a:gd name="T97" fmla="*/ 316 h 459"/>
                <a:gd name="T98" fmla="*/ 969 w 994"/>
                <a:gd name="T99" fmla="*/ 221 h 459"/>
                <a:gd name="T100" fmla="*/ 972 w 994"/>
                <a:gd name="T101" fmla="*/ 194 h 459"/>
                <a:gd name="T102" fmla="*/ 942 w 994"/>
                <a:gd name="T103" fmla="*/ 180 h 459"/>
                <a:gd name="T104" fmla="*/ 910 w 994"/>
                <a:gd name="T105" fmla="*/ 148 h 459"/>
                <a:gd name="T106" fmla="*/ 860 w 994"/>
                <a:gd name="T107" fmla="*/ 154 h 459"/>
                <a:gd name="T108" fmla="*/ 836 w 994"/>
                <a:gd name="T109" fmla="*/ 143 h 459"/>
                <a:gd name="T110" fmla="*/ 803 w 994"/>
                <a:gd name="T111" fmla="*/ 123 h 459"/>
                <a:gd name="T112" fmla="*/ 683 w 994"/>
                <a:gd name="T113" fmla="*/ 64 h 459"/>
                <a:gd name="T114" fmla="*/ 638 w 994"/>
                <a:gd name="T115" fmla="*/ 46 h 459"/>
                <a:gd name="T116" fmla="*/ 602 w 994"/>
                <a:gd name="T117" fmla="*/ 41 h 459"/>
                <a:gd name="T118" fmla="*/ 599 w 994"/>
                <a:gd name="T119" fmla="*/ 11 h 4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4" h="459">
                  <a:moveTo>
                    <a:pt x="558" y="0"/>
                  </a:moveTo>
                  <a:cubicBezTo>
                    <a:pt x="558" y="0"/>
                    <a:pt x="558" y="0"/>
                    <a:pt x="558" y="0"/>
                  </a:cubicBezTo>
                  <a:cubicBezTo>
                    <a:pt x="558" y="0"/>
                    <a:pt x="558" y="0"/>
                    <a:pt x="557" y="0"/>
                  </a:cubicBezTo>
                  <a:cubicBezTo>
                    <a:pt x="557" y="0"/>
                    <a:pt x="557" y="0"/>
                    <a:pt x="557" y="0"/>
                  </a:cubicBezTo>
                  <a:cubicBezTo>
                    <a:pt x="556" y="0"/>
                    <a:pt x="556" y="0"/>
                    <a:pt x="556" y="0"/>
                  </a:cubicBezTo>
                  <a:cubicBezTo>
                    <a:pt x="555" y="0"/>
                    <a:pt x="555" y="0"/>
                    <a:pt x="555" y="0"/>
                  </a:cubicBezTo>
                  <a:cubicBezTo>
                    <a:pt x="554" y="0"/>
                    <a:pt x="554" y="0"/>
                    <a:pt x="554" y="0"/>
                  </a:cubicBezTo>
                  <a:cubicBezTo>
                    <a:pt x="554" y="0"/>
                    <a:pt x="554" y="0"/>
                    <a:pt x="553" y="0"/>
                  </a:cubicBezTo>
                  <a:cubicBezTo>
                    <a:pt x="553" y="0"/>
                    <a:pt x="553" y="0"/>
                    <a:pt x="553" y="0"/>
                  </a:cubicBezTo>
                  <a:cubicBezTo>
                    <a:pt x="553" y="1"/>
                    <a:pt x="553" y="1"/>
                    <a:pt x="553" y="1"/>
                  </a:cubicBezTo>
                  <a:cubicBezTo>
                    <a:pt x="552" y="1"/>
                    <a:pt x="551" y="1"/>
                    <a:pt x="551" y="1"/>
                  </a:cubicBezTo>
                  <a:cubicBezTo>
                    <a:pt x="549" y="1"/>
                    <a:pt x="548" y="1"/>
                    <a:pt x="547" y="0"/>
                  </a:cubicBezTo>
                  <a:cubicBezTo>
                    <a:pt x="547" y="0"/>
                    <a:pt x="547" y="0"/>
                    <a:pt x="547" y="0"/>
                  </a:cubicBezTo>
                  <a:cubicBezTo>
                    <a:pt x="547" y="0"/>
                    <a:pt x="546" y="0"/>
                    <a:pt x="546" y="0"/>
                  </a:cubicBezTo>
                  <a:cubicBezTo>
                    <a:pt x="545" y="1"/>
                    <a:pt x="545" y="2"/>
                    <a:pt x="544" y="3"/>
                  </a:cubicBezTo>
                  <a:cubicBezTo>
                    <a:pt x="544" y="5"/>
                    <a:pt x="541" y="6"/>
                    <a:pt x="538" y="8"/>
                  </a:cubicBezTo>
                  <a:cubicBezTo>
                    <a:pt x="537" y="9"/>
                    <a:pt x="536" y="9"/>
                    <a:pt x="535" y="9"/>
                  </a:cubicBezTo>
                  <a:cubicBezTo>
                    <a:pt x="534" y="10"/>
                    <a:pt x="534" y="10"/>
                    <a:pt x="534" y="10"/>
                  </a:cubicBezTo>
                  <a:cubicBezTo>
                    <a:pt x="533" y="11"/>
                    <a:pt x="533" y="11"/>
                    <a:pt x="532" y="12"/>
                  </a:cubicBezTo>
                  <a:cubicBezTo>
                    <a:pt x="530" y="13"/>
                    <a:pt x="529" y="13"/>
                    <a:pt x="528" y="13"/>
                  </a:cubicBezTo>
                  <a:cubicBezTo>
                    <a:pt x="528" y="13"/>
                    <a:pt x="528" y="13"/>
                    <a:pt x="528" y="13"/>
                  </a:cubicBezTo>
                  <a:cubicBezTo>
                    <a:pt x="527" y="13"/>
                    <a:pt x="526" y="13"/>
                    <a:pt x="525" y="13"/>
                  </a:cubicBezTo>
                  <a:cubicBezTo>
                    <a:pt x="524" y="13"/>
                    <a:pt x="524" y="13"/>
                    <a:pt x="524" y="13"/>
                  </a:cubicBezTo>
                  <a:cubicBezTo>
                    <a:pt x="524" y="13"/>
                    <a:pt x="524" y="13"/>
                    <a:pt x="524" y="13"/>
                  </a:cubicBezTo>
                  <a:cubicBezTo>
                    <a:pt x="524" y="13"/>
                    <a:pt x="524" y="13"/>
                    <a:pt x="524" y="13"/>
                  </a:cubicBezTo>
                  <a:cubicBezTo>
                    <a:pt x="523" y="13"/>
                    <a:pt x="523" y="13"/>
                    <a:pt x="523" y="13"/>
                  </a:cubicBezTo>
                  <a:cubicBezTo>
                    <a:pt x="523" y="14"/>
                    <a:pt x="523" y="14"/>
                    <a:pt x="523" y="14"/>
                  </a:cubicBezTo>
                  <a:cubicBezTo>
                    <a:pt x="508" y="17"/>
                    <a:pt x="508" y="17"/>
                    <a:pt x="508" y="17"/>
                  </a:cubicBezTo>
                  <a:cubicBezTo>
                    <a:pt x="507" y="17"/>
                    <a:pt x="506" y="17"/>
                    <a:pt x="506" y="18"/>
                  </a:cubicBezTo>
                  <a:cubicBezTo>
                    <a:pt x="511" y="22"/>
                    <a:pt x="511" y="22"/>
                    <a:pt x="511" y="22"/>
                  </a:cubicBezTo>
                  <a:cubicBezTo>
                    <a:pt x="499" y="20"/>
                    <a:pt x="499" y="20"/>
                    <a:pt x="499" y="20"/>
                  </a:cubicBezTo>
                  <a:cubicBezTo>
                    <a:pt x="498" y="20"/>
                    <a:pt x="498" y="20"/>
                    <a:pt x="498" y="20"/>
                  </a:cubicBezTo>
                  <a:cubicBezTo>
                    <a:pt x="498" y="20"/>
                    <a:pt x="498" y="20"/>
                    <a:pt x="498" y="20"/>
                  </a:cubicBezTo>
                  <a:cubicBezTo>
                    <a:pt x="498" y="20"/>
                    <a:pt x="498" y="20"/>
                    <a:pt x="498" y="20"/>
                  </a:cubicBezTo>
                  <a:cubicBezTo>
                    <a:pt x="498" y="20"/>
                    <a:pt x="498" y="20"/>
                    <a:pt x="498" y="20"/>
                  </a:cubicBezTo>
                  <a:cubicBezTo>
                    <a:pt x="496" y="21"/>
                    <a:pt x="496" y="21"/>
                    <a:pt x="496" y="21"/>
                  </a:cubicBezTo>
                  <a:cubicBezTo>
                    <a:pt x="496" y="21"/>
                    <a:pt x="495" y="21"/>
                    <a:pt x="495" y="21"/>
                  </a:cubicBezTo>
                  <a:cubicBezTo>
                    <a:pt x="494" y="21"/>
                    <a:pt x="494" y="21"/>
                    <a:pt x="494" y="21"/>
                  </a:cubicBezTo>
                  <a:cubicBezTo>
                    <a:pt x="494" y="21"/>
                    <a:pt x="494" y="21"/>
                    <a:pt x="494" y="21"/>
                  </a:cubicBezTo>
                  <a:cubicBezTo>
                    <a:pt x="493" y="21"/>
                    <a:pt x="493" y="21"/>
                    <a:pt x="493" y="21"/>
                  </a:cubicBezTo>
                  <a:cubicBezTo>
                    <a:pt x="493" y="21"/>
                    <a:pt x="493" y="21"/>
                    <a:pt x="493" y="21"/>
                  </a:cubicBezTo>
                  <a:cubicBezTo>
                    <a:pt x="493" y="21"/>
                    <a:pt x="493" y="21"/>
                    <a:pt x="493" y="21"/>
                  </a:cubicBezTo>
                  <a:cubicBezTo>
                    <a:pt x="493" y="21"/>
                    <a:pt x="493" y="21"/>
                    <a:pt x="493" y="21"/>
                  </a:cubicBezTo>
                  <a:cubicBezTo>
                    <a:pt x="492" y="21"/>
                    <a:pt x="492" y="21"/>
                    <a:pt x="492" y="21"/>
                  </a:cubicBezTo>
                  <a:cubicBezTo>
                    <a:pt x="491" y="21"/>
                    <a:pt x="491" y="21"/>
                    <a:pt x="490" y="21"/>
                  </a:cubicBezTo>
                  <a:cubicBezTo>
                    <a:pt x="489" y="21"/>
                    <a:pt x="489" y="21"/>
                    <a:pt x="489" y="21"/>
                  </a:cubicBezTo>
                  <a:cubicBezTo>
                    <a:pt x="487" y="22"/>
                    <a:pt x="487" y="22"/>
                    <a:pt x="487" y="22"/>
                  </a:cubicBezTo>
                  <a:cubicBezTo>
                    <a:pt x="486" y="22"/>
                    <a:pt x="485" y="23"/>
                    <a:pt x="483" y="23"/>
                  </a:cubicBezTo>
                  <a:cubicBezTo>
                    <a:pt x="479" y="24"/>
                    <a:pt x="479" y="24"/>
                    <a:pt x="479" y="24"/>
                  </a:cubicBezTo>
                  <a:cubicBezTo>
                    <a:pt x="479" y="24"/>
                    <a:pt x="479" y="24"/>
                    <a:pt x="479" y="24"/>
                  </a:cubicBezTo>
                  <a:cubicBezTo>
                    <a:pt x="479" y="24"/>
                    <a:pt x="478" y="24"/>
                    <a:pt x="478" y="24"/>
                  </a:cubicBezTo>
                  <a:cubicBezTo>
                    <a:pt x="473" y="24"/>
                    <a:pt x="473" y="24"/>
                    <a:pt x="473" y="24"/>
                  </a:cubicBezTo>
                  <a:cubicBezTo>
                    <a:pt x="473" y="24"/>
                    <a:pt x="473" y="24"/>
                    <a:pt x="473" y="24"/>
                  </a:cubicBezTo>
                  <a:cubicBezTo>
                    <a:pt x="473" y="24"/>
                    <a:pt x="473" y="24"/>
                    <a:pt x="473" y="24"/>
                  </a:cubicBezTo>
                  <a:cubicBezTo>
                    <a:pt x="466" y="24"/>
                    <a:pt x="466" y="24"/>
                    <a:pt x="466" y="24"/>
                  </a:cubicBezTo>
                  <a:cubicBezTo>
                    <a:pt x="465" y="24"/>
                    <a:pt x="465" y="24"/>
                    <a:pt x="465" y="24"/>
                  </a:cubicBezTo>
                  <a:cubicBezTo>
                    <a:pt x="464" y="25"/>
                    <a:pt x="464" y="25"/>
                    <a:pt x="464" y="25"/>
                  </a:cubicBezTo>
                  <a:cubicBezTo>
                    <a:pt x="460" y="27"/>
                    <a:pt x="460" y="27"/>
                    <a:pt x="460" y="27"/>
                  </a:cubicBezTo>
                  <a:cubicBezTo>
                    <a:pt x="464" y="31"/>
                    <a:pt x="464" y="31"/>
                    <a:pt x="464" y="31"/>
                  </a:cubicBezTo>
                  <a:cubicBezTo>
                    <a:pt x="459" y="28"/>
                    <a:pt x="459" y="28"/>
                    <a:pt x="459" y="28"/>
                  </a:cubicBezTo>
                  <a:cubicBezTo>
                    <a:pt x="459" y="28"/>
                    <a:pt x="459" y="28"/>
                    <a:pt x="459" y="28"/>
                  </a:cubicBezTo>
                  <a:cubicBezTo>
                    <a:pt x="458" y="29"/>
                    <a:pt x="457" y="30"/>
                    <a:pt x="457" y="31"/>
                  </a:cubicBezTo>
                  <a:cubicBezTo>
                    <a:pt x="454" y="34"/>
                    <a:pt x="454" y="34"/>
                    <a:pt x="454" y="34"/>
                  </a:cubicBezTo>
                  <a:cubicBezTo>
                    <a:pt x="452" y="33"/>
                    <a:pt x="452" y="33"/>
                    <a:pt x="452" y="33"/>
                  </a:cubicBezTo>
                  <a:cubicBezTo>
                    <a:pt x="451" y="32"/>
                    <a:pt x="451" y="32"/>
                    <a:pt x="451" y="32"/>
                  </a:cubicBezTo>
                  <a:cubicBezTo>
                    <a:pt x="450" y="32"/>
                    <a:pt x="450" y="32"/>
                    <a:pt x="450" y="32"/>
                  </a:cubicBezTo>
                  <a:cubicBezTo>
                    <a:pt x="449" y="33"/>
                    <a:pt x="449" y="33"/>
                    <a:pt x="449" y="33"/>
                  </a:cubicBezTo>
                  <a:cubicBezTo>
                    <a:pt x="447" y="34"/>
                    <a:pt x="447" y="34"/>
                    <a:pt x="447" y="34"/>
                  </a:cubicBezTo>
                  <a:cubicBezTo>
                    <a:pt x="446" y="34"/>
                    <a:pt x="445" y="34"/>
                    <a:pt x="444" y="34"/>
                  </a:cubicBezTo>
                  <a:cubicBezTo>
                    <a:pt x="443" y="34"/>
                    <a:pt x="443" y="34"/>
                    <a:pt x="443" y="34"/>
                  </a:cubicBezTo>
                  <a:cubicBezTo>
                    <a:pt x="443" y="34"/>
                    <a:pt x="443" y="34"/>
                    <a:pt x="443" y="34"/>
                  </a:cubicBezTo>
                  <a:cubicBezTo>
                    <a:pt x="443" y="34"/>
                    <a:pt x="442" y="33"/>
                    <a:pt x="442" y="33"/>
                  </a:cubicBezTo>
                  <a:cubicBezTo>
                    <a:pt x="442" y="33"/>
                    <a:pt x="442" y="33"/>
                    <a:pt x="442" y="33"/>
                  </a:cubicBezTo>
                  <a:cubicBezTo>
                    <a:pt x="441" y="33"/>
                    <a:pt x="441" y="33"/>
                    <a:pt x="441" y="33"/>
                  </a:cubicBezTo>
                  <a:cubicBezTo>
                    <a:pt x="439" y="34"/>
                    <a:pt x="439" y="34"/>
                    <a:pt x="439" y="34"/>
                  </a:cubicBezTo>
                  <a:cubicBezTo>
                    <a:pt x="437" y="34"/>
                    <a:pt x="437" y="34"/>
                    <a:pt x="437" y="34"/>
                  </a:cubicBezTo>
                  <a:cubicBezTo>
                    <a:pt x="437" y="34"/>
                    <a:pt x="436" y="34"/>
                    <a:pt x="436" y="34"/>
                  </a:cubicBezTo>
                  <a:cubicBezTo>
                    <a:pt x="435" y="34"/>
                    <a:pt x="435" y="34"/>
                    <a:pt x="435" y="34"/>
                  </a:cubicBezTo>
                  <a:cubicBezTo>
                    <a:pt x="435" y="34"/>
                    <a:pt x="435" y="34"/>
                    <a:pt x="435" y="34"/>
                  </a:cubicBezTo>
                  <a:cubicBezTo>
                    <a:pt x="422" y="37"/>
                    <a:pt x="422" y="37"/>
                    <a:pt x="422" y="37"/>
                  </a:cubicBezTo>
                  <a:cubicBezTo>
                    <a:pt x="421" y="37"/>
                    <a:pt x="421" y="37"/>
                    <a:pt x="421" y="37"/>
                  </a:cubicBezTo>
                  <a:cubicBezTo>
                    <a:pt x="421" y="37"/>
                    <a:pt x="421" y="37"/>
                    <a:pt x="421" y="37"/>
                  </a:cubicBezTo>
                  <a:cubicBezTo>
                    <a:pt x="420" y="38"/>
                    <a:pt x="420" y="38"/>
                    <a:pt x="420" y="38"/>
                  </a:cubicBezTo>
                  <a:cubicBezTo>
                    <a:pt x="411" y="40"/>
                    <a:pt x="411" y="40"/>
                    <a:pt x="411" y="40"/>
                  </a:cubicBezTo>
                  <a:cubicBezTo>
                    <a:pt x="409" y="40"/>
                    <a:pt x="409" y="40"/>
                    <a:pt x="409" y="40"/>
                  </a:cubicBezTo>
                  <a:cubicBezTo>
                    <a:pt x="409" y="40"/>
                    <a:pt x="408" y="40"/>
                    <a:pt x="408" y="39"/>
                  </a:cubicBezTo>
                  <a:cubicBezTo>
                    <a:pt x="408" y="40"/>
                    <a:pt x="408" y="40"/>
                    <a:pt x="408" y="40"/>
                  </a:cubicBezTo>
                  <a:cubicBezTo>
                    <a:pt x="407" y="40"/>
                    <a:pt x="407" y="40"/>
                    <a:pt x="407" y="40"/>
                  </a:cubicBezTo>
                  <a:cubicBezTo>
                    <a:pt x="406" y="41"/>
                    <a:pt x="406" y="41"/>
                    <a:pt x="406" y="41"/>
                  </a:cubicBezTo>
                  <a:cubicBezTo>
                    <a:pt x="399" y="42"/>
                    <a:pt x="399" y="42"/>
                    <a:pt x="399" y="42"/>
                  </a:cubicBezTo>
                  <a:cubicBezTo>
                    <a:pt x="399" y="42"/>
                    <a:pt x="399" y="42"/>
                    <a:pt x="399" y="42"/>
                  </a:cubicBezTo>
                  <a:cubicBezTo>
                    <a:pt x="399" y="42"/>
                    <a:pt x="399" y="42"/>
                    <a:pt x="399" y="42"/>
                  </a:cubicBezTo>
                  <a:cubicBezTo>
                    <a:pt x="398" y="43"/>
                    <a:pt x="397" y="43"/>
                    <a:pt x="396" y="43"/>
                  </a:cubicBezTo>
                  <a:cubicBezTo>
                    <a:pt x="396" y="43"/>
                    <a:pt x="396" y="43"/>
                    <a:pt x="396" y="43"/>
                  </a:cubicBezTo>
                  <a:cubicBezTo>
                    <a:pt x="396" y="43"/>
                    <a:pt x="396" y="43"/>
                    <a:pt x="396" y="43"/>
                  </a:cubicBezTo>
                  <a:cubicBezTo>
                    <a:pt x="394" y="44"/>
                    <a:pt x="394" y="44"/>
                    <a:pt x="394" y="44"/>
                  </a:cubicBezTo>
                  <a:cubicBezTo>
                    <a:pt x="392" y="47"/>
                    <a:pt x="392" y="47"/>
                    <a:pt x="392" y="47"/>
                  </a:cubicBezTo>
                  <a:cubicBezTo>
                    <a:pt x="392" y="47"/>
                    <a:pt x="392" y="47"/>
                    <a:pt x="391" y="48"/>
                  </a:cubicBezTo>
                  <a:cubicBezTo>
                    <a:pt x="390" y="49"/>
                    <a:pt x="390" y="49"/>
                    <a:pt x="390" y="49"/>
                  </a:cubicBezTo>
                  <a:cubicBezTo>
                    <a:pt x="389" y="49"/>
                    <a:pt x="389" y="49"/>
                    <a:pt x="389" y="49"/>
                  </a:cubicBezTo>
                  <a:cubicBezTo>
                    <a:pt x="383" y="54"/>
                    <a:pt x="383" y="54"/>
                    <a:pt x="383" y="54"/>
                  </a:cubicBezTo>
                  <a:cubicBezTo>
                    <a:pt x="387" y="47"/>
                    <a:pt x="387" y="47"/>
                    <a:pt x="387" y="47"/>
                  </a:cubicBezTo>
                  <a:cubicBezTo>
                    <a:pt x="386" y="47"/>
                    <a:pt x="386" y="47"/>
                    <a:pt x="386" y="47"/>
                  </a:cubicBezTo>
                  <a:cubicBezTo>
                    <a:pt x="386" y="46"/>
                    <a:pt x="386" y="46"/>
                    <a:pt x="386" y="46"/>
                  </a:cubicBezTo>
                  <a:cubicBezTo>
                    <a:pt x="385" y="45"/>
                    <a:pt x="385" y="45"/>
                    <a:pt x="385" y="45"/>
                  </a:cubicBezTo>
                  <a:cubicBezTo>
                    <a:pt x="385" y="45"/>
                    <a:pt x="385" y="45"/>
                    <a:pt x="385" y="45"/>
                  </a:cubicBezTo>
                  <a:cubicBezTo>
                    <a:pt x="384" y="45"/>
                    <a:pt x="384" y="45"/>
                    <a:pt x="384" y="45"/>
                  </a:cubicBezTo>
                  <a:cubicBezTo>
                    <a:pt x="383" y="45"/>
                    <a:pt x="383" y="45"/>
                    <a:pt x="382" y="45"/>
                  </a:cubicBezTo>
                  <a:cubicBezTo>
                    <a:pt x="381" y="52"/>
                    <a:pt x="381" y="52"/>
                    <a:pt x="381" y="52"/>
                  </a:cubicBezTo>
                  <a:cubicBezTo>
                    <a:pt x="380" y="45"/>
                    <a:pt x="380" y="45"/>
                    <a:pt x="380" y="45"/>
                  </a:cubicBezTo>
                  <a:cubicBezTo>
                    <a:pt x="380" y="45"/>
                    <a:pt x="380" y="45"/>
                    <a:pt x="380" y="45"/>
                  </a:cubicBezTo>
                  <a:cubicBezTo>
                    <a:pt x="379" y="45"/>
                    <a:pt x="379" y="45"/>
                    <a:pt x="379" y="45"/>
                  </a:cubicBezTo>
                  <a:cubicBezTo>
                    <a:pt x="373" y="46"/>
                    <a:pt x="373" y="46"/>
                    <a:pt x="373" y="46"/>
                  </a:cubicBezTo>
                  <a:cubicBezTo>
                    <a:pt x="373" y="46"/>
                    <a:pt x="373" y="46"/>
                    <a:pt x="373" y="46"/>
                  </a:cubicBezTo>
                  <a:cubicBezTo>
                    <a:pt x="369" y="46"/>
                    <a:pt x="367" y="45"/>
                    <a:pt x="364" y="44"/>
                  </a:cubicBezTo>
                  <a:cubicBezTo>
                    <a:pt x="364" y="44"/>
                    <a:pt x="364" y="44"/>
                    <a:pt x="364" y="44"/>
                  </a:cubicBezTo>
                  <a:cubicBezTo>
                    <a:pt x="363" y="44"/>
                    <a:pt x="363" y="44"/>
                    <a:pt x="363" y="44"/>
                  </a:cubicBezTo>
                  <a:cubicBezTo>
                    <a:pt x="363" y="44"/>
                    <a:pt x="363" y="44"/>
                    <a:pt x="363" y="44"/>
                  </a:cubicBezTo>
                  <a:cubicBezTo>
                    <a:pt x="361" y="44"/>
                    <a:pt x="360" y="45"/>
                    <a:pt x="359" y="46"/>
                  </a:cubicBezTo>
                  <a:cubicBezTo>
                    <a:pt x="359" y="46"/>
                    <a:pt x="359" y="46"/>
                    <a:pt x="359" y="46"/>
                  </a:cubicBezTo>
                  <a:cubicBezTo>
                    <a:pt x="361" y="48"/>
                    <a:pt x="361" y="48"/>
                    <a:pt x="361" y="48"/>
                  </a:cubicBezTo>
                  <a:cubicBezTo>
                    <a:pt x="361" y="48"/>
                    <a:pt x="362" y="49"/>
                    <a:pt x="362" y="49"/>
                  </a:cubicBezTo>
                  <a:cubicBezTo>
                    <a:pt x="362" y="50"/>
                    <a:pt x="362" y="50"/>
                    <a:pt x="362" y="50"/>
                  </a:cubicBezTo>
                  <a:cubicBezTo>
                    <a:pt x="361" y="51"/>
                    <a:pt x="361" y="51"/>
                    <a:pt x="361" y="51"/>
                  </a:cubicBezTo>
                  <a:cubicBezTo>
                    <a:pt x="361" y="52"/>
                    <a:pt x="361" y="52"/>
                    <a:pt x="361" y="52"/>
                  </a:cubicBezTo>
                  <a:cubicBezTo>
                    <a:pt x="361" y="52"/>
                    <a:pt x="361" y="52"/>
                    <a:pt x="361" y="52"/>
                  </a:cubicBezTo>
                  <a:cubicBezTo>
                    <a:pt x="359" y="54"/>
                    <a:pt x="359" y="54"/>
                    <a:pt x="359" y="54"/>
                  </a:cubicBezTo>
                  <a:cubicBezTo>
                    <a:pt x="361" y="55"/>
                    <a:pt x="361" y="55"/>
                    <a:pt x="361" y="55"/>
                  </a:cubicBezTo>
                  <a:cubicBezTo>
                    <a:pt x="362" y="54"/>
                    <a:pt x="362" y="54"/>
                    <a:pt x="363" y="54"/>
                  </a:cubicBezTo>
                  <a:cubicBezTo>
                    <a:pt x="364" y="53"/>
                    <a:pt x="364" y="53"/>
                    <a:pt x="364" y="53"/>
                  </a:cubicBezTo>
                  <a:cubicBezTo>
                    <a:pt x="364" y="53"/>
                    <a:pt x="364" y="53"/>
                    <a:pt x="365" y="53"/>
                  </a:cubicBezTo>
                  <a:cubicBezTo>
                    <a:pt x="365" y="54"/>
                    <a:pt x="365" y="54"/>
                    <a:pt x="365" y="54"/>
                  </a:cubicBezTo>
                  <a:cubicBezTo>
                    <a:pt x="366" y="54"/>
                    <a:pt x="367" y="54"/>
                    <a:pt x="367" y="54"/>
                  </a:cubicBezTo>
                  <a:cubicBezTo>
                    <a:pt x="367" y="54"/>
                    <a:pt x="367" y="54"/>
                    <a:pt x="367" y="54"/>
                  </a:cubicBezTo>
                  <a:cubicBezTo>
                    <a:pt x="368" y="54"/>
                    <a:pt x="368" y="54"/>
                    <a:pt x="368" y="54"/>
                  </a:cubicBezTo>
                  <a:cubicBezTo>
                    <a:pt x="370" y="55"/>
                    <a:pt x="370" y="55"/>
                    <a:pt x="370" y="55"/>
                  </a:cubicBezTo>
                  <a:cubicBezTo>
                    <a:pt x="370" y="56"/>
                    <a:pt x="370" y="56"/>
                    <a:pt x="370" y="56"/>
                  </a:cubicBezTo>
                  <a:cubicBezTo>
                    <a:pt x="376" y="55"/>
                    <a:pt x="376" y="55"/>
                    <a:pt x="376" y="55"/>
                  </a:cubicBezTo>
                  <a:cubicBezTo>
                    <a:pt x="370" y="60"/>
                    <a:pt x="370" y="60"/>
                    <a:pt x="370" y="60"/>
                  </a:cubicBezTo>
                  <a:cubicBezTo>
                    <a:pt x="370" y="60"/>
                    <a:pt x="370" y="60"/>
                    <a:pt x="370" y="60"/>
                  </a:cubicBezTo>
                  <a:cubicBezTo>
                    <a:pt x="369" y="62"/>
                    <a:pt x="369" y="62"/>
                    <a:pt x="369" y="62"/>
                  </a:cubicBezTo>
                  <a:cubicBezTo>
                    <a:pt x="369" y="62"/>
                    <a:pt x="368" y="62"/>
                    <a:pt x="368" y="63"/>
                  </a:cubicBezTo>
                  <a:cubicBezTo>
                    <a:pt x="367" y="63"/>
                    <a:pt x="367" y="63"/>
                    <a:pt x="367" y="63"/>
                  </a:cubicBezTo>
                  <a:cubicBezTo>
                    <a:pt x="367" y="65"/>
                    <a:pt x="367" y="65"/>
                    <a:pt x="367" y="65"/>
                  </a:cubicBezTo>
                  <a:cubicBezTo>
                    <a:pt x="365" y="64"/>
                    <a:pt x="365" y="64"/>
                    <a:pt x="365" y="64"/>
                  </a:cubicBezTo>
                  <a:cubicBezTo>
                    <a:pt x="364" y="64"/>
                    <a:pt x="364" y="64"/>
                    <a:pt x="364" y="64"/>
                  </a:cubicBezTo>
                  <a:cubicBezTo>
                    <a:pt x="364" y="65"/>
                    <a:pt x="364" y="65"/>
                    <a:pt x="364" y="65"/>
                  </a:cubicBezTo>
                  <a:cubicBezTo>
                    <a:pt x="364" y="65"/>
                    <a:pt x="365" y="65"/>
                    <a:pt x="365" y="65"/>
                  </a:cubicBezTo>
                  <a:cubicBezTo>
                    <a:pt x="367" y="66"/>
                    <a:pt x="367" y="66"/>
                    <a:pt x="367" y="66"/>
                  </a:cubicBezTo>
                  <a:cubicBezTo>
                    <a:pt x="368" y="66"/>
                    <a:pt x="368" y="66"/>
                    <a:pt x="368" y="66"/>
                  </a:cubicBezTo>
                  <a:cubicBezTo>
                    <a:pt x="369" y="66"/>
                    <a:pt x="369" y="66"/>
                    <a:pt x="369" y="66"/>
                  </a:cubicBezTo>
                  <a:cubicBezTo>
                    <a:pt x="370" y="67"/>
                    <a:pt x="371" y="67"/>
                    <a:pt x="373" y="67"/>
                  </a:cubicBezTo>
                  <a:cubicBezTo>
                    <a:pt x="378" y="69"/>
                    <a:pt x="378" y="69"/>
                    <a:pt x="378" y="69"/>
                  </a:cubicBezTo>
                  <a:cubicBezTo>
                    <a:pt x="380" y="70"/>
                    <a:pt x="381" y="71"/>
                    <a:pt x="383" y="71"/>
                  </a:cubicBezTo>
                  <a:cubicBezTo>
                    <a:pt x="385" y="72"/>
                    <a:pt x="385" y="72"/>
                    <a:pt x="385" y="72"/>
                  </a:cubicBezTo>
                  <a:cubicBezTo>
                    <a:pt x="384" y="75"/>
                    <a:pt x="384" y="75"/>
                    <a:pt x="384" y="75"/>
                  </a:cubicBezTo>
                  <a:cubicBezTo>
                    <a:pt x="384" y="76"/>
                    <a:pt x="384" y="76"/>
                    <a:pt x="383" y="77"/>
                  </a:cubicBezTo>
                  <a:cubicBezTo>
                    <a:pt x="383" y="77"/>
                    <a:pt x="383" y="77"/>
                    <a:pt x="383" y="78"/>
                  </a:cubicBezTo>
                  <a:cubicBezTo>
                    <a:pt x="383" y="78"/>
                    <a:pt x="383" y="78"/>
                    <a:pt x="383" y="78"/>
                  </a:cubicBezTo>
                  <a:cubicBezTo>
                    <a:pt x="382" y="79"/>
                    <a:pt x="382" y="79"/>
                    <a:pt x="381" y="80"/>
                  </a:cubicBezTo>
                  <a:cubicBezTo>
                    <a:pt x="381" y="80"/>
                    <a:pt x="381" y="80"/>
                    <a:pt x="381" y="80"/>
                  </a:cubicBezTo>
                  <a:cubicBezTo>
                    <a:pt x="381" y="80"/>
                    <a:pt x="381" y="80"/>
                    <a:pt x="381" y="80"/>
                  </a:cubicBezTo>
                  <a:cubicBezTo>
                    <a:pt x="379" y="81"/>
                    <a:pt x="379" y="81"/>
                    <a:pt x="379" y="81"/>
                  </a:cubicBezTo>
                  <a:cubicBezTo>
                    <a:pt x="379" y="81"/>
                    <a:pt x="379" y="81"/>
                    <a:pt x="379" y="81"/>
                  </a:cubicBezTo>
                  <a:cubicBezTo>
                    <a:pt x="379" y="81"/>
                    <a:pt x="379" y="81"/>
                    <a:pt x="379" y="81"/>
                  </a:cubicBezTo>
                  <a:cubicBezTo>
                    <a:pt x="378" y="81"/>
                    <a:pt x="378" y="81"/>
                    <a:pt x="378" y="81"/>
                  </a:cubicBezTo>
                  <a:cubicBezTo>
                    <a:pt x="377" y="81"/>
                    <a:pt x="376" y="81"/>
                    <a:pt x="376" y="81"/>
                  </a:cubicBezTo>
                  <a:cubicBezTo>
                    <a:pt x="376" y="79"/>
                    <a:pt x="376" y="79"/>
                    <a:pt x="376" y="79"/>
                  </a:cubicBezTo>
                  <a:cubicBezTo>
                    <a:pt x="376" y="79"/>
                    <a:pt x="376" y="79"/>
                    <a:pt x="376" y="79"/>
                  </a:cubicBezTo>
                  <a:cubicBezTo>
                    <a:pt x="376" y="81"/>
                    <a:pt x="376" y="81"/>
                    <a:pt x="376" y="81"/>
                  </a:cubicBezTo>
                  <a:cubicBezTo>
                    <a:pt x="375" y="80"/>
                    <a:pt x="375" y="80"/>
                    <a:pt x="375" y="80"/>
                  </a:cubicBezTo>
                  <a:cubicBezTo>
                    <a:pt x="377" y="86"/>
                    <a:pt x="377" y="86"/>
                    <a:pt x="377" y="86"/>
                  </a:cubicBezTo>
                  <a:cubicBezTo>
                    <a:pt x="374" y="80"/>
                    <a:pt x="374" y="80"/>
                    <a:pt x="374" y="80"/>
                  </a:cubicBezTo>
                  <a:cubicBezTo>
                    <a:pt x="373" y="80"/>
                    <a:pt x="373" y="80"/>
                    <a:pt x="372" y="80"/>
                  </a:cubicBezTo>
                  <a:cubicBezTo>
                    <a:pt x="372" y="80"/>
                    <a:pt x="371" y="80"/>
                    <a:pt x="371" y="80"/>
                  </a:cubicBezTo>
                  <a:cubicBezTo>
                    <a:pt x="371" y="80"/>
                    <a:pt x="371" y="80"/>
                    <a:pt x="371" y="80"/>
                  </a:cubicBezTo>
                  <a:cubicBezTo>
                    <a:pt x="371" y="80"/>
                    <a:pt x="371" y="80"/>
                    <a:pt x="371" y="80"/>
                  </a:cubicBezTo>
                  <a:cubicBezTo>
                    <a:pt x="370" y="80"/>
                    <a:pt x="370" y="81"/>
                    <a:pt x="369" y="81"/>
                  </a:cubicBezTo>
                  <a:cubicBezTo>
                    <a:pt x="368" y="81"/>
                    <a:pt x="368" y="81"/>
                    <a:pt x="368" y="81"/>
                  </a:cubicBezTo>
                  <a:cubicBezTo>
                    <a:pt x="367" y="80"/>
                    <a:pt x="367" y="80"/>
                    <a:pt x="367" y="80"/>
                  </a:cubicBezTo>
                  <a:cubicBezTo>
                    <a:pt x="366" y="80"/>
                    <a:pt x="366" y="80"/>
                    <a:pt x="366" y="80"/>
                  </a:cubicBezTo>
                  <a:cubicBezTo>
                    <a:pt x="366" y="79"/>
                    <a:pt x="366" y="79"/>
                    <a:pt x="366" y="79"/>
                  </a:cubicBezTo>
                  <a:cubicBezTo>
                    <a:pt x="364" y="85"/>
                    <a:pt x="364" y="85"/>
                    <a:pt x="364" y="85"/>
                  </a:cubicBezTo>
                  <a:cubicBezTo>
                    <a:pt x="364" y="79"/>
                    <a:pt x="364" y="79"/>
                    <a:pt x="364" y="79"/>
                  </a:cubicBezTo>
                  <a:cubicBezTo>
                    <a:pt x="363" y="79"/>
                    <a:pt x="363" y="79"/>
                    <a:pt x="363" y="79"/>
                  </a:cubicBezTo>
                  <a:cubicBezTo>
                    <a:pt x="363" y="79"/>
                    <a:pt x="362" y="79"/>
                    <a:pt x="360" y="79"/>
                  </a:cubicBezTo>
                  <a:cubicBezTo>
                    <a:pt x="359" y="79"/>
                    <a:pt x="359" y="79"/>
                    <a:pt x="359" y="79"/>
                  </a:cubicBezTo>
                  <a:cubicBezTo>
                    <a:pt x="358" y="79"/>
                    <a:pt x="358" y="79"/>
                    <a:pt x="358" y="79"/>
                  </a:cubicBezTo>
                  <a:cubicBezTo>
                    <a:pt x="357" y="79"/>
                    <a:pt x="357" y="79"/>
                    <a:pt x="357" y="79"/>
                  </a:cubicBezTo>
                  <a:cubicBezTo>
                    <a:pt x="354" y="82"/>
                    <a:pt x="354" y="82"/>
                    <a:pt x="354" y="82"/>
                  </a:cubicBezTo>
                  <a:cubicBezTo>
                    <a:pt x="353" y="84"/>
                    <a:pt x="352" y="85"/>
                    <a:pt x="350" y="86"/>
                  </a:cubicBezTo>
                  <a:cubicBezTo>
                    <a:pt x="350" y="87"/>
                    <a:pt x="350" y="87"/>
                    <a:pt x="350" y="87"/>
                  </a:cubicBezTo>
                  <a:cubicBezTo>
                    <a:pt x="355" y="93"/>
                    <a:pt x="355" y="93"/>
                    <a:pt x="355" y="93"/>
                  </a:cubicBezTo>
                  <a:cubicBezTo>
                    <a:pt x="356" y="94"/>
                    <a:pt x="356" y="95"/>
                    <a:pt x="357" y="95"/>
                  </a:cubicBezTo>
                  <a:cubicBezTo>
                    <a:pt x="357" y="97"/>
                    <a:pt x="357" y="97"/>
                    <a:pt x="357" y="97"/>
                  </a:cubicBezTo>
                  <a:cubicBezTo>
                    <a:pt x="358" y="98"/>
                    <a:pt x="357" y="99"/>
                    <a:pt x="356" y="101"/>
                  </a:cubicBezTo>
                  <a:cubicBezTo>
                    <a:pt x="356" y="101"/>
                    <a:pt x="356" y="101"/>
                    <a:pt x="356" y="101"/>
                  </a:cubicBezTo>
                  <a:cubicBezTo>
                    <a:pt x="356" y="101"/>
                    <a:pt x="356" y="101"/>
                    <a:pt x="356" y="101"/>
                  </a:cubicBezTo>
                  <a:cubicBezTo>
                    <a:pt x="355" y="102"/>
                    <a:pt x="355" y="102"/>
                    <a:pt x="355" y="102"/>
                  </a:cubicBezTo>
                  <a:cubicBezTo>
                    <a:pt x="354" y="102"/>
                    <a:pt x="353" y="103"/>
                    <a:pt x="352" y="103"/>
                  </a:cubicBezTo>
                  <a:cubicBezTo>
                    <a:pt x="352" y="104"/>
                    <a:pt x="352" y="104"/>
                    <a:pt x="352" y="104"/>
                  </a:cubicBezTo>
                  <a:cubicBezTo>
                    <a:pt x="350" y="105"/>
                    <a:pt x="350" y="105"/>
                    <a:pt x="350" y="105"/>
                  </a:cubicBezTo>
                  <a:cubicBezTo>
                    <a:pt x="350" y="105"/>
                    <a:pt x="350" y="105"/>
                    <a:pt x="350" y="105"/>
                  </a:cubicBezTo>
                  <a:cubicBezTo>
                    <a:pt x="350" y="105"/>
                    <a:pt x="350" y="105"/>
                    <a:pt x="350" y="105"/>
                  </a:cubicBezTo>
                  <a:cubicBezTo>
                    <a:pt x="347" y="107"/>
                    <a:pt x="346" y="107"/>
                    <a:pt x="343" y="107"/>
                  </a:cubicBezTo>
                  <a:cubicBezTo>
                    <a:pt x="343" y="107"/>
                    <a:pt x="343" y="107"/>
                    <a:pt x="343" y="107"/>
                  </a:cubicBezTo>
                  <a:cubicBezTo>
                    <a:pt x="342" y="107"/>
                    <a:pt x="342" y="107"/>
                    <a:pt x="342" y="107"/>
                  </a:cubicBezTo>
                  <a:cubicBezTo>
                    <a:pt x="342" y="107"/>
                    <a:pt x="342" y="107"/>
                    <a:pt x="342" y="107"/>
                  </a:cubicBezTo>
                  <a:cubicBezTo>
                    <a:pt x="341" y="108"/>
                    <a:pt x="341" y="108"/>
                    <a:pt x="341" y="108"/>
                  </a:cubicBezTo>
                  <a:cubicBezTo>
                    <a:pt x="340" y="109"/>
                    <a:pt x="339" y="109"/>
                    <a:pt x="339" y="110"/>
                  </a:cubicBezTo>
                  <a:cubicBezTo>
                    <a:pt x="347" y="114"/>
                    <a:pt x="347" y="114"/>
                    <a:pt x="347" y="114"/>
                  </a:cubicBezTo>
                  <a:cubicBezTo>
                    <a:pt x="341" y="113"/>
                    <a:pt x="341" y="113"/>
                    <a:pt x="341" y="113"/>
                  </a:cubicBezTo>
                  <a:cubicBezTo>
                    <a:pt x="342" y="114"/>
                    <a:pt x="342" y="114"/>
                    <a:pt x="342" y="114"/>
                  </a:cubicBezTo>
                  <a:cubicBezTo>
                    <a:pt x="341" y="113"/>
                    <a:pt x="341" y="113"/>
                    <a:pt x="341" y="113"/>
                  </a:cubicBezTo>
                  <a:cubicBezTo>
                    <a:pt x="335" y="113"/>
                    <a:pt x="335" y="113"/>
                    <a:pt x="335" y="113"/>
                  </a:cubicBezTo>
                  <a:cubicBezTo>
                    <a:pt x="336" y="113"/>
                    <a:pt x="337" y="114"/>
                    <a:pt x="338" y="114"/>
                  </a:cubicBezTo>
                  <a:cubicBezTo>
                    <a:pt x="339" y="115"/>
                    <a:pt x="339" y="115"/>
                    <a:pt x="339" y="115"/>
                  </a:cubicBezTo>
                  <a:cubicBezTo>
                    <a:pt x="340" y="115"/>
                    <a:pt x="340" y="115"/>
                    <a:pt x="341" y="116"/>
                  </a:cubicBezTo>
                  <a:cubicBezTo>
                    <a:pt x="344" y="117"/>
                    <a:pt x="344" y="117"/>
                    <a:pt x="344" y="117"/>
                  </a:cubicBezTo>
                  <a:cubicBezTo>
                    <a:pt x="344" y="118"/>
                    <a:pt x="344" y="118"/>
                    <a:pt x="344" y="118"/>
                  </a:cubicBezTo>
                  <a:cubicBezTo>
                    <a:pt x="343" y="119"/>
                    <a:pt x="343" y="119"/>
                    <a:pt x="343" y="119"/>
                  </a:cubicBezTo>
                  <a:cubicBezTo>
                    <a:pt x="344" y="119"/>
                    <a:pt x="344" y="119"/>
                    <a:pt x="344" y="119"/>
                  </a:cubicBezTo>
                  <a:cubicBezTo>
                    <a:pt x="344" y="119"/>
                    <a:pt x="344" y="119"/>
                    <a:pt x="344" y="119"/>
                  </a:cubicBezTo>
                  <a:cubicBezTo>
                    <a:pt x="348" y="119"/>
                    <a:pt x="348" y="119"/>
                    <a:pt x="348" y="119"/>
                  </a:cubicBezTo>
                  <a:cubicBezTo>
                    <a:pt x="356" y="124"/>
                    <a:pt x="356" y="124"/>
                    <a:pt x="356" y="124"/>
                  </a:cubicBezTo>
                  <a:cubicBezTo>
                    <a:pt x="359" y="124"/>
                    <a:pt x="359" y="124"/>
                    <a:pt x="359" y="124"/>
                  </a:cubicBezTo>
                  <a:cubicBezTo>
                    <a:pt x="359" y="125"/>
                    <a:pt x="359" y="125"/>
                    <a:pt x="359" y="125"/>
                  </a:cubicBezTo>
                  <a:cubicBezTo>
                    <a:pt x="369" y="130"/>
                    <a:pt x="369" y="130"/>
                    <a:pt x="369" y="130"/>
                  </a:cubicBezTo>
                  <a:cubicBezTo>
                    <a:pt x="371" y="126"/>
                    <a:pt x="371" y="126"/>
                    <a:pt x="371" y="126"/>
                  </a:cubicBezTo>
                  <a:cubicBezTo>
                    <a:pt x="371" y="131"/>
                    <a:pt x="371" y="131"/>
                    <a:pt x="371" y="131"/>
                  </a:cubicBezTo>
                  <a:cubicBezTo>
                    <a:pt x="376" y="132"/>
                    <a:pt x="376" y="132"/>
                    <a:pt x="376" y="132"/>
                  </a:cubicBezTo>
                  <a:cubicBezTo>
                    <a:pt x="375" y="134"/>
                    <a:pt x="375" y="134"/>
                    <a:pt x="375" y="134"/>
                  </a:cubicBezTo>
                  <a:cubicBezTo>
                    <a:pt x="381" y="138"/>
                    <a:pt x="381" y="138"/>
                    <a:pt x="381" y="138"/>
                  </a:cubicBezTo>
                  <a:cubicBezTo>
                    <a:pt x="372" y="137"/>
                    <a:pt x="372" y="137"/>
                    <a:pt x="372" y="137"/>
                  </a:cubicBezTo>
                  <a:cubicBezTo>
                    <a:pt x="372" y="137"/>
                    <a:pt x="372" y="137"/>
                    <a:pt x="372" y="137"/>
                  </a:cubicBezTo>
                  <a:cubicBezTo>
                    <a:pt x="370" y="139"/>
                    <a:pt x="369" y="140"/>
                    <a:pt x="369" y="142"/>
                  </a:cubicBezTo>
                  <a:cubicBezTo>
                    <a:pt x="369" y="142"/>
                    <a:pt x="369" y="142"/>
                    <a:pt x="369" y="142"/>
                  </a:cubicBezTo>
                  <a:cubicBezTo>
                    <a:pt x="368" y="143"/>
                    <a:pt x="368" y="143"/>
                    <a:pt x="368" y="143"/>
                  </a:cubicBezTo>
                  <a:cubicBezTo>
                    <a:pt x="368" y="144"/>
                    <a:pt x="368" y="144"/>
                    <a:pt x="368" y="144"/>
                  </a:cubicBezTo>
                  <a:cubicBezTo>
                    <a:pt x="368" y="144"/>
                    <a:pt x="368" y="144"/>
                    <a:pt x="368" y="144"/>
                  </a:cubicBezTo>
                  <a:cubicBezTo>
                    <a:pt x="368" y="146"/>
                    <a:pt x="368" y="146"/>
                    <a:pt x="368" y="146"/>
                  </a:cubicBezTo>
                  <a:cubicBezTo>
                    <a:pt x="368" y="147"/>
                    <a:pt x="368" y="148"/>
                    <a:pt x="367" y="149"/>
                  </a:cubicBezTo>
                  <a:cubicBezTo>
                    <a:pt x="366" y="152"/>
                    <a:pt x="366" y="152"/>
                    <a:pt x="366" y="152"/>
                  </a:cubicBezTo>
                  <a:cubicBezTo>
                    <a:pt x="363" y="152"/>
                    <a:pt x="363" y="152"/>
                    <a:pt x="363" y="152"/>
                  </a:cubicBezTo>
                  <a:cubicBezTo>
                    <a:pt x="360" y="154"/>
                    <a:pt x="353" y="156"/>
                    <a:pt x="349" y="156"/>
                  </a:cubicBezTo>
                  <a:cubicBezTo>
                    <a:pt x="348" y="156"/>
                    <a:pt x="348" y="156"/>
                    <a:pt x="348" y="156"/>
                  </a:cubicBezTo>
                  <a:cubicBezTo>
                    <a:pt x="348" y="156"/>
                    <a:pt x="348" y="156"/>
                    <a:pt x="348" y="156"/>
                  </a:cubicBezTo>
                  <a:cubicBezTo>
                    <a:pt x="346" y="156"/>
                    <a:pt x="346" y="156"/>
                    <a:pt x="346" y="156"/>
                  </a:cubicBezTo>
                  <a:cubicBezTo>
                    <a:pt x="342" y="156"/>
                    <a:pt x="339" y="155"/>
                    <a:pt x="335" y="153"/>
                  </a:cubicBezTo>
                  <a:cubicBezTo>
                    <a:pt x="332" y="153"/>
                    <a:pt x="332" y="153"/>
                    <a:pt x="332" y="153"/>
                  </a:cubicBezTo>
                  <a:cubicBezTo>
                    <a:pt x="331" y="152"/>
                    <a:pt x="331" y="152"/>
                    <a:pt x="331" y="152"/>
                  </a:cubicBezTo>
                  <a:cubicBezTo>
                    <a:pt x="330" y="153"/>
                    <a:pt x="330" y="153"/>
                    <a:pt x="330" y="154"/>
                  </a:cubicBezTo>
                  <a:cubicBezTo>
                    <a:pt x="329" y="155"/>
                    <a:pt x="328" y="157"/>
                    <a:pt x="327" y="158"/>
                  </a:cubicBezTo>
                  <a:cubicBezTo>
                    <a:pt x="326" y="159"/>
                    <a:pt x="326" y="159"/>
                    <a:pt x="326" y="159"/>
                  </a:cubicBezTo>
                  <a:cubicBezTo>
                    <a:pt x="326" y="159"/>
                    <a:pt x="325" y="160"/>
                    <a:pt x="323" y="160"/>
                  </a:cubicBezTo>
                  <a:cubicBezTo>
                    <a:pt x="323" y="160"/>
                    <a:pt x="322" y="161"/>
                    <a:pt x="321" y="161"/>
                  </a:cubicBezTo>
                  <a:cubicBezTo>
                    <a:pt x="321" y="161"/>
                    <a:pt x="321" y="161"/>
                    <a:pt x="321" y="161"/>
                  </a:cubicBezTo>
                  <a:cubicBezTo>
                    <a:pt x="320" y="161"/>
                    <a:pt x="320" y="161"/>
                    <a:pt x="320" y="161"/>
                  </a:cubicBezTo>
                  <a:cubicBezTo>
                    <a:pt x="315" y="167"/>
                    <a:pt x="315" y="167"/>
                    <a:pt x="315" y="167"/>
                  </a:cubicBezTo>
                  <a:cubicBezTo>
                    <a:pt x="315" y="159"/>
                    <a:pt x="315" y="159"/>
                    <a:pt x="315" y="159"/>
                  </a:cubicBezTo>
                  <a:cubicBezTo>
                    <a:pt x="315" y="159"/>
                    <a:pt x="315" y="158"/>
                    <a:pt x="315" y="158"/>
                  </a:cubicBezTo>
                  <a:cubicBezTo>
                    <a:pt x="313" y="157"/>
                    <a:pt x="311" y="157"/>
                    <a:pt x="308" y="156"/>
                  </a:cubicBezTo>
                  <a:cubicBezTo>
                    <a:pt x="308" y="156"/>
                    <a:pt x="307" y="156"/>
                    <a:pt x="306" y="156"/>
                  </a:cubicBezTo>
                  <a:cubicBezTo>
                    <a:pt x="305" y="156"/>
                    <a:pt x="304" y="156"/>
                    <a:pt x="303" y="156"/>
                  </a:cubicBezTo>
                  <a:cubicBezTo>
                    <a:pt x="301" y="160"/>
                    <a:pt x="301" y="160"/>
                    <a:pt x="301" y="160"/>
                  </a:cubicBezTo>
                  <a:cubicBezTo>
                    <a:pt x="302" y="155"/>
                    <a:pt x="302" y="155"/>
                    <a:pt x="302" y="155"/>
                  </a:cubicBezTo>
                  <a:cubicBezTo>
                    <a:pt x="301" y="155"/>
                    <a:pt x="301" y="155"/>
                    <a:pt x="301" y="155"/>
                  </a:cubicBezTo>
                  <a:cubicBezTo>
                    <a:pt x="300" y="155"/>
                    <a:pt x="299" y="154"/>
                    <a:pt x="298" y="153"/>
                  </a:cubicBezTo>
                  <a:cubicBezTo>
                    <a:pt x="295" y="152"/>
                    <a:pt x="294" y="151"/>
                    <a:pt x="294" y="151"/>
                  </a:cubicBezTo>
                  <a:cubicBezTo>
                    <a:pt x="293" y="149"/>
                    <a:pt x="293" y="147"/>
                    <a:pt x="293" y="146"/>
                  </a:cubicBezTo>
                  <a:cubicBezTo>
                    <a:pt x="292" y="144"/>
                    <a:pt x="291" y="143"/>
                    <a:pt x="290" y="142"/>
                  </a:cubicBezTo>
                  <a:cubicBezTo>
                    <a:pt x="288" y="141"/>
                    <a:pt x="286" y="141"/>
                    <a:pt x="283" y="141"/>
                  </a:cubicBezTo>
                  <a:cubicBezTo>
                    <a:pt x="282" y="141"/>
                    <a:pt x="280" y="141"/>
                    <a:pt x="279" y="141"/>
                  </a:cubicBezTo>
                  <a:cubicBezTo>
                    <a:pt x="278" y="141"/>
                    <a:pt x="278" y="141"/>
                    <a:pt x="278" y="141"/>
                  </a:cubicBezTo>
                  <a:cubicBezTo>
                    <a:pt x="277" y="141"/>
                    <a:pt x="277" y="141"/>
                    <a:pt x="277" y="141"/>
                  </a:cubicBezTo>
                  <a:cubicBezTo>
                    <a:pt x="277" y="142"/>
                    <a:pt x="277" y="144"/>
                    <a:pt x="276" y="146"/>
                  </a:cubicBezTo>
                  <a:cubicBezTo>
                    <a:pt x="276" y="146"/>
                    <a:pt x="276" y="146"/>
                    <a:pt x="276" y="146"/>
                  </a:cubicBezTo>
                  <a:cubicBezTo>
                    <a:pt x="276" y="147"/>
                    <a:pt x="275" y="147"/>
                    <a:pt x="274" y="148"/>
                  </a:cubicBezTo>
                  <a:cubicBezTo>
                    <a:pt x="273" y="149"/>
                    <a:pt x="271" y="149"/>
                    <a:pt x="269" y="149"/>
                  </a:cubicBezTo>
                  <a:cubicBezTo>
                    <a:pt x="269" y="150"/>
                    <a:pt x="268" y="150"/>
                    <a:pt x="268" y="150"/>
                  </a:cubicBezTo>
                  <a:cubicBezTo>
                    <a:pt x="267" y="150"/>
                    <a:pt x="267" y="150"/>
                    <a:pt x="267" y="150"/>
                  </a:cubicBezTo>
                  <a:cubicBezTo>
                    <a:pt x="264" y="149"/>
                    <a:pt x="262" y="147"/>
                    <a:pt x="260" y="145"/>
                  </a:cubicBezTo>
                  <a:cubicBezTo>
                    <a:pt x="259" y="144"/>
                    <a:pt x="259" y="143"/>
                    <a:pt x="258" y="143"/>
                  </a:cubicBezTo>
                  <a:cubicBezTo>
                    <a:pt x="258" y="142"/>
                    <a:pt x="258" y="142"/>
                    <a:pt x="258" y="142"/>
                  </a:cubicBezTo>
                  <a:cubicBezTo>
                    <a:pt x="257" y="142"/>
                    <a:pt x="257" y="142"/>
                    <a:pt x="257" y="142"/>
                  </a:cubicBezTo>
                  <a:cubicBezTo>
                    <a:pt x="253" y="143"/>
                    <a:pt x="253" y="143"/>
                    <a:pt x="253" y="143"/>
                  </a:cubicBezTo>
                  <a:cubicBezTo>
                    <a:pt x="250" y="143"/>
                    <a:pt x="248" y="143"/>
                    <a:pt x="245" y="144"/>
                  </a:cubicBezTo>
                  <a:cubicBezTo>
                    <a:pt x="244" y="144"/>
                    <a:pt x="244" y="144"/>
                    <a:pt x="244" y="144"/>
                  </a:cubicBezTo>
                  <a:cubicBezTo>
                    <a:pt x="244" y="145"/>
                    <a:pt x="243" y="146"/>
                    <a:pt x="242" y="147"/>
                  </a:cubicBezTo>
                  <a:cubicBezTo>
                    <a:pt x="240" y="149"/>
                    <a:pt x="239" y="149"/>
                    <a:pt x="238" y="149"/>
                  </a:cubicBezTo>
                  <a:cubicBezTo>
                    <a:pt x="237" y="150"/>
                    <a:pt x="237" y="150"/>
                    <a:pt x="236" y="150"/>
                  </a:cubicBezTo>
                  <a:cubicBezTo>
                    <a:pt x="236" y="151"/>
                    <a:pt x="236" y="152"/>
                    <a:pt x="235" y="153"/>
                  </a:cubicBezTo>
                  <a:cubicBezTo>
                    <a:pt x="234" y="155"/>
                    <a:pt x="232" y="155"/>
                    <a:pt x="231" y="156"/>
                  </a:cubicBezTo>
                  <a:cubicBezTo>
                    <a:pt x="231" y="156"/>
                    <a:pt x="230" y="157"/>
                    <a:pt x="229" y="157"/>
                  </a:cubicBezTo>
                  <a:cubicBezTo>
                    <a:pt x="228" y="157"/>
                    <a:pt x="228" y="157"/>
                    <a:pt x="228" y="157"/>
                  </a:cubicBezTo>
                  <a:cubicBezTo>
                    <a:pt x="228" y="158"/>
                    <a:pt x="228" y="158"/>
                    <a:pt x="228" y="158"/>
                  </a:cubicBezTo>
                  <a:cubicBezTo>
                    <a:pt x="226" y="159"/>
                    <a:pt x="225" y="159"/>
                    <a:pt x="225" y="160"/>
                  </a:cubicBezTo>
                  <a:cubicBezTo>
                    <a:pt x="224" y="160"/>
                    <a:pt x="224" y="160"/>
                    <a:pt x="223" y="160"/>
                  </a:cubicBezTo>
                  <a:cubicBezTo>
                    <a:pt x="221" y="160"/>
                    <a:pt x="218" y="159"/>
                    <a:pt x="214" y="156"/>
                  </a:cubicBezTo>
                  <a:cubicBezTo>
                    <a:pt x="211" y="154"/>
                    <a:pt x="208" y="152"/>
                    <a:pt x="205" y="149"/>
                  </a:cubicBezTo>
                  <a:cubicBezTo>
                    <a:pt x="203" y="148"/>
                    <a:pt x="203" y="148"/>
                    <a:pt x="203" y="148"/>
                  </a:cubicBezTo>
                  <a:cubicBezTo>
                    <a:pt x="202" y="148"/>
                    <a:pt x="202" y="147"/>
                    <a:pt x="202" y="147"/>
                  </a:cubicBezTo>
                  <a:cubicBezTo>
                    <a:pt x="201" y="146"/>
                    <a:pt x="200" y="146"/>
                    <a:pt x="200" y="146"/>
                  </a:cubicBezTo>
                  <a:cubicBezTo>
                    <a:pt x="200" y="146"/>
                    <a:pt x="200" y="147"/>
                    <a:pt x="201" y="147"/>
                  </a:cubicBezTo>
                  <a:cubicBezTo>
                    <a:pt x="201" y="148"/>
                    <a:pt x="201" y="148"/>
                    <a:pt x="201" y="148"/>
                  </a:cubicBezTo>
                  <a:cubicBezTo>
                    <a:pt x="201" y="149"/>
                    <a:pt x="201" y="149"/>
                    <a:pt x="201" y="150"/>
                  </a:cubicBezTo>
                  <a:cubicBezTo>
                    <a:pt x="201" y="152"/>
                    <a:pt x="201" y="152"/>
                    <a:pt x="201" y="152"/>
                  </a:cubicBezTo>
                  <a:cubicBezTo>
                    <a:pt x="201" y="153"/>
                    <a:pt x="201" y="154"/>
                    <a:pt x="201" y="156"/>
                  </a:cubicBezTo>
                  <a:cubicBezTo>
                    <a:pt x="200" y="157"/>
                    <a:pt x="199" y="158"/>
                    <a:pt x="196" y="160"/>
                  </a:cubicBezTo>
                  <a:cubicBezTo>
                    <a:pt x="192" y="162"/>
                    <a:pt x="192" y="162"/>
                    <a:pt x="192" y="162"/>
                  </a:cubicBezTo>
                  <a:cubicBezTo>
                    <a:pt x="191" y="158"/>
                    <a:pt x="191" y="158"/>
                    <a:pt x="191" y="158"/>
                  </a:cubicBezTo>
                  <a:cubicBezTo>
                    <a:pt x="191" y="156"/>
                    <a:pt x="190" y="152"/>
                    <a:pt x="190" y="149"/>
                  </a:cubicBezTo>
                  <a:cubicBezTo>
                    <a:pt x="190" y="148"/>
                    <a:pt x="190" y="148"/>
                    <a:pt x="190" y="148"/>
                  </a:cubicBezTo>
                  <a:cubicBezTo>
                    <a:pt x="189" y="147"/>
                    <a:pt x="189" y="147"/>
                    <a:pt x="188" y="146"/>
                  </a:cubicBezTo>
                  <a:cubicBezTo>
                    <a:pt x="186" y="145"/>
                    <a:pt x="185" y="144"/>
                    <a:pt x="183" y="142"/>
                  </a:cubicBezTo>
                  <a:cubicBezTo>
                    <a:pt x="183" y="141"/>
                    <a:pt x="183" y="141"/>
                    <a:pt x="183" y="141"/>
                  </a:cubicBezTo>
                  <a:cubicBezTo>
                    <a:pt x="177" y="137"/>
                    <a:pt x="172" y="132"/>
                    <a:pt x="167" y="130"/>
                  </a:cubicBezTo>
                  <a:cubicBezTo>
                    <a:pt x="165" y="129"/>
                    <a:pt x="163" y="129"/>
                    <a:pt x="159" y="129"/>
                  </a:cubicBezTo>
                  <a:cubicBezTo>
                    <a:pt x="159" y="129"/>
                    <a:pt x="158" y="129"/>
                    <a:pt x="158" y="129"/>
                  </a:cubicBezTo>
                  <a:cubicBezTo>
                    <a:pt x="155" y="129"/>
                    <a:pt x="153" y="129"/>
                    <a:pt x="151" y="129"/>
                  </a:cubicBezTo>
                  <a:cubicBezTo>
                    <a:pt x="151" y="130"/>
                    <a:pt x="151" y="130"/>
                    <a:pt x="151" y="130"/>
                  </a:cubicBezTo>
                  <a:cubicBezTo>
                    <a:pt x="150" y="130"/>
                    <a:pt x="150" y="130"/>
                    <a:pt x="150" y="130"/>
                  </a:cubicBezTo>
                  <a:cubicBezTo>
                    <a:pt x="149" y="130"/>
                    <a:pt x="149" y="130"/>
                    <a:pt x="147" y="130"/>
                  </a:cubicBezTo>
                  <a:cubicBezTo>
                    <a:pt x="146" y="130"/>
                    <a:pt x="146" y="130"/>
                    <a:pt x="146" y="130"/>
                  </a:cubicBezTo>
                  <a:cubicBezTo>
                    <a:pt x="146" y="130"/>
                    <a:pt x="146" y="130"/>
                    <a:pt x="145" y="130"/>
                  </a:cubicBezTo>
                  <a:cubicBezTo>
                    <a:pt x="145" y="130"/>
                    <a:pt x="145" y="130"/>
                    <a:pt x="145" y="130"/>
                  </a:cubicBezTo>
                  <a:cubicBezTo>
                    <a:pt x="144" y="129"/>
                    <a:pt x="144" y="129"/>
                    <a:pt x="144" y="129"/>
                  </a:cubicBezTo>
                  <a:cubicBezTo>
                    <a:pt x="144" y="129"/>
                    <a:pt x="143" y="129"/>
                    <a:pt x="143" y="129"/>
                  </a:cubicBezTo>
                  <a:cubicBezTo>
                    <a:pt x="143" y="128"/>
                    <a:pt x="143" y="128"/>
                    <a:pt x="142" y="127"/>
                  </a:cubicBezTo>
                  <a:cubicBezTo>
                    <a:pt x="142" y="127"/>
                    <a:pt x="141" y="126"/>
                    <a:pt x="141" y="126"/>
                  </a:cubicBezTo>
                  <a:cubicBezTo>
                    <a:pt x="141" y="125"/>
                    <a:pt x="141" y="125"/>
                    <a:pt x="141" y="125"/>
                  </a:cubicBezTo>
                  <a:cubicBezTo>
                    <a:pt x="140" y="123"/>
                    <a:pt x="140" y="122"/>
                    <a:pt x="139" y="121"/>
                  </a:cubicBezTo>
                  <a:cubicBezTo>
                    <a:pt x="136" y="123"/>
                    <a:pt x="134" y="123"/>
                    <a:pt x="130" y="124"/>
                  </a:cubicBezTo>
                  <a:cubicBezTo>
                    <a:pt x="130" y="124"/>
                    <a:pt x="130" y="124"/>
                    <a:pt x="130" y="124"/>
                  </a:cubicBezTo>
                  <a:cubicBezTo>
                    <a:pt x="130" y="124"/>
                    <a:pt x="130" y="124"/>
                    <a:pt x="130" y="124"/>
                  </a:cubicBezTo>
                  <a:cubicBezTo>
                    <a:pt x="130" y="125"/>
                    <a:pt x="130" y="125"/>
                    <a:pt x="130" y="126"/>
                  </a:cubicBezTo>
                  <a:cubicBezTo>
                    <a:pt x="130" y="127"/>
                    <a:pt x="129" y="127"/>
                    <a:pt x="129" y="128"/>
                  </a:cubicBezTo>
                  <a:cubicBezTo>
                    <a:pt x="128" y="129"/>
                    <a:pt x="128" y="129"/>
                    <a:pt x="128" y="129"/>
                  </a:cubicBezTo>
                  <a:cubicBezTo>
                    <a:pt x="127" y="130"/>
                    <a:pt x="126" y="130"/>
                    <a:pt x="124" y="130"/>
                  </a:cubicBezTo>
                  <a:cubicBezTo>
                    <a:pt x="123" y="130"/>
                    <a:pt x="123" y="130"/>
                    <a:pt x="123" y="130"/>
                  </a:cubicBezTo>
                  <a:cubicBezTo>
                    <a:pt x="123" y="130"/>
                    <a:pt x="122" y="130"/>
                    <a:pt x="122" y="130"/>
                  </a:cubicBezTo>
                  <a:cubicBezTo>
                    <a:pt x="121" y="130"/>
                    <a:pt x="120" y="130"/>
                    <a:pt x="120" y="130"/>
                  </a:cubicBezTo>
                  <a:cubicBezTo>
                    <a:pt x="118" y="135"/>
                    <a:pt x="118" y="135"/>
                    <a:pt x="118" y="135"/>
                  </a:cubicBezTo>
                  <a:cubicBezTo>
                    <a:pt x="118" y="129"/>
                    <a:pt x="118" y="129"/>
                    <a:pt x="118" y="129"/>
                  </a:cubicBezTo>
                  <a:cubicBezTo>
                    <a:pt x="118" y="129"/>
                    <a:pt x="118" y="129"/>
                    <a:pt x="118" y="129"/>
                  </a:cubicBezTo>
                  <a:cubicBezTo>
                    <a:pt x="116" y="128"/>
                    <a:pt x="114" y="127"/>
                    <a:pt x="114" y="125"/>
                  </a:cubicBezTo>
                  <a:cubicBezTo>
                    <a:pt x="113" y="123"/>
                    <a:pt x="113" y="123"/>
                    <a:pt x="113" y="123"/>
                  </a:cubicBezTo>
                  <a:cubicBezTo>
                    <a:pt x="113" y="123"/>
                    <a:pt x="113" y="123"/>
                    <a:pt x="113" y="123"/>
                  </a:cubicBezTo>
                  <a:cubicBezTo>
                    <a:pt x="112" y="123"/>
                    <a:pt x="111" y="123"/>
                    <a:pt x="110" y="122"/>
                  </a:cubicBezTo>
                  <a:cubicBezTo>
                    <a:pt x="109" y="122"/>
                    <a:pt x="108" y="122"/>
                    <a:pt x="108" y="122"/>
                  </a:cubicBezTo>
                  <a:cubicBezTo>
                    <a:pt x="107" y="121"/>
                    <a:pt x="106" y="121"/>
                    <a:pt x="106" y="121"/>
                  </a:cubicBezTo>
                  <a:cubicBezTo>
                    <a:pt x="106" y="122"/>
                    <a:pt x="106" y="122"/>
                    <a:pt x="106" y="122"/>
                  </a:cubicBezTo>
                  <a:cubicBezTo>
                    <a:pt x="106" y="123"/>
                    <a:pt x="106" y="123"/>
                    <a:pt x="105" y="123"/>
                  </a:cubicBezTo>
                  <a:cubicBezTo>
                    <a:pt x="105" y="125"/>
                    <a:pt x="104" y="126"/>
                    <a:pt x="102" y="126"/>
                  </a:cubicBezTo>
                  <a:cubicBezTo>
                    <a:pt x="101" y="126"/>
                    <a:pt x="101" y="126"/>
                    <a:pt x="100" y="126"/>
                  </a:cubicBezTo>
                  <a:cubicBezTo>
                    <a:pt x="100" y="126"/>
                    <a:pt x="100" y="126"/>
                    <a:pt x="100" y="126"/>
                  </a:cubicBezTo>
                  <a:cubicBezTo>
                    <a:pt x="98" y="126"/>
                    <a:pt x="98" y="126"/>
                    <a:pt x="96" y="129"/>
                  </a:cubicBezTo>
                  <a:cubicBezTo>
                    <a:pt x="95" y="131"/>
                    <a:pt x="95" y="131"/>
                    <a:pt x="95" y="131"/>
                  </a:cubicBezTo>
                  <a:cubicBezTo>
                    <a:pt x="95" y="132"/>
                    <a:pt x="95" y="133"/>
                    <a:pt x="94" y="134"/>
                  </a:cubicBezTo>
                  <a:cubicBezTo>
                    <a:pt x="93" y="135"/>
                    <a:pt x="90" y="136"/>
                    <a:pt x="88" y="137"/>
                  </a:cubicBezTo>
                  <a:cubicBezTo>
                    <a:pt x="87" y="137"/>
                    <a:pt x="87" y="137"/>
                    <a:pt x="87" y="137"/>
                  </a:cubicBezTo>
                  <a:cubicBezTo>
                    <a:pt x="87" y="137"/>
                    <a:pt x="87" y="137"/>
                    <a:pt x="87" y="137"/>
                  </a:cubicBezTo>
                  <a:cubicBezTo>
                    <a:pt x="72" y="144"/>
                    <a:pt x="72" y="144"/>
                    <a:pt x="72" y="144"/>
                  </a:cubicBezTo>
                  <a:cubicBezTo>
                    <a:pt x="72" y="146"/>
                    <a:pt x="72" y="147"/>
                    <a:pt x="71" y="148"/>
                  </a:cubicBezTo>
                  <a:cubicBezTo>
                    <a:pt x="71" y="149"/>
                    <a:pt x="71" y="149"/>
                    <a:pt x="71" y="149"/>
                  </a:cubicBezTo>
                  <a:cubicBezTo>
                    <a:pt x="70" y="150"/>
                    <a:pt x="68" y="151"/>
                    <a:pt x="64" y="152"/>
                  </a:cubicBezTo>
                  <a:cubicBezTo>
                    <a:pt x="63" y="153"/>
                    <a:pt x="63" y="153"/>
                    <a:pt x="63" y="153"/>
                  </a:cubicBezTo>
                  <a:cubicBezTo>
                    <a:pt x="62" y="153"/>
                    <a:pt x="62" y="153"/>
                    <a:pt x="62" y="153"/>
                  </a:cubicBezTo>
                  <a:cubicBezTo>
                    <a:pt x="61" y="153"/>
                    <a:pt x="61" y="153"/>
                    <a:pt x="61" y="153"/>
                  </a:cubicBezTo>
                  <a:cubicBezTo>
                    <a:pt x="60" y="152"/>
                    <a:pt x="60" y="152"/>
                    <a:pt x="60" y="152"/>
                  </a:cubicBezTo>
                  <a:cubicBezTo>
                    <a:pt x="61" y="153"/>
                    <a:pt x="61" y="153"/>
                    <a:pt x="61" y="153"/>
                  </a:cubicBezTo>
                  <a:cubicBezTo>
                    <a:pt x="60" y="154"/>
                    <a:pt x="60" y="154"/>
                    <a:pt x="60" y="154"/>
                  </a:cubicBezTo>
                  <a:cubicBezTo>
                    <a:pt x="59" y="154"/>
                    <a:pt x="59" y="154"/>
                    <a:pt x="59" y="155"/>
                  </a:cubicBezTo>
                  <a:cubicBezTo>
                    <a:pt x="57" y="156"/>
                    <a:pt x="55" y="157"/>
                    <a:pt x="53" y="157"/>
                  </a:cubicBezTo>
                  <a:cubicBezTo>
                    <a:pt x="53" y="158"/>
                    <a:pt x="53" y="158"/>
                    <a:pt x="53" y="158"/>
                  </a:cubicBezTo>
                  <a:cubicBezTo>
                    <a:pt x="54" y="159"/>
                    <a:pt x="54" y="161"/>
                    <a:pt x="54" y="162"/>
                  </a:cubicBezTo>
                  <a:cubicBezTo>
                    <a:pt x="55" y="163"/>
                    <a:pt x="55" y="163"/>
                    <a:pt x="55" y="163"/>
                  </a:cubicBezTo>
                  <a:cubicBezTo>
                    <a:pt x="55" y="164"/>
                    <a:pt x="55" y="164"/>
                    <a:pt x="55" y="165"/>
                  </a:cubicBezTo>
                  <a:cubicBezTo>
                    <a:pt x="55" y="166"/>
                    <a:pt x="55" y="166"/>
                    <a:pt x="55" y="166"/>
                  </a:cubicBezTo>
                  <a:cubicBezTo>
                    <a:pt x="56" y="166"/>
                    <a:pt x="56" y="167"/>
                    <a:pt x="56" y="167"/>
                  </a:cubicBezTo>
                  <a:cubicBezTo>
                    <a:pt x="57" y="168"/>
                    <a:pt x="57" y="168"/>
                    <a:pt x="57" y="168"/>
                  </a:cubicBezTo>
                  <a:cubicBezTo>
                    <a:pt x="56" y="169"/>
                    <a:pt x="56" y="169"/>
                    <a:pt x="56" y="169"/>
                  </a:cubicBezTo>
                  <a:cubicBezTo>
                    <a:pt x="57" y="169"/>
                    <a:pt x="57" y="169"/>
                    <a:pt x="57" y="169"/>
                  </a:cubicBezTo>
                  <a:cubicBezTo>
                    <a:pt x="57" y="169"/>
                    <a:pt x="57" y="170"/>
                    <a:pt x="58" y="170"/>
                  </a:cubicBezTo>
                  <a:cubicBezTo>
                    <a:pt x="59" y="171"/>
                    <a:pt x="59" y="172"/>
                    <a:pt x="59" y="174"/>
                  </a:cubicBezTo>
                  <a:cubicBezTo>
                    <a:pt x="59" y="175"/>
                    <a:pt x="58" y="177"/>
                    <a:pt x="56" y="178"/>
                  </a:cubicBezTo>
                  <a:cubicBezTo>
                    <a:pt x="55" y="179"/>
                    <a:pt x="53" y="180"/>
                    <a:pt x="49" y="181"/>
                  </a:cubicBezTo>
                  <a:cubicBezTo>
                    <a:pt x="49" y="182"/>
                    <a:pt x="48" y="182"/>
                    <a:pt x="47" y="182"/>
                  </a:cubicBezTo>
                  <a:cubicBezTo>
                    <a:pt x="46" y="183"/>
                    <a:pt x="46" y="183"/>
                    <a:pt x="45" y="183"/>
                  </a:cubicBezTo>
                  <a:cubicBezTo>
                    <a:pt x="43" y="183"/>
                    <a:pt x="41" y="181"/>
                    <a:pt x="40" y="180"/>
                  </a:cubicBezTo>
                  <a:cubicBezTo>
                    <a:pt x="38" y="179"/>
                    <a:pt x="37" y="177"/>
                    <a:pt x="35" y="175"/>
                  </a:cubicBezTo>
                  <a:cubicBezTo>
                    <a:pt x="34" y="174"/>
                    <a:pt x="34" y="174"/>
                    <a:pt x="34" y="174"/>
                  </a:cubicBezTo>
                  <a:cubicBezTo>
                    <a:pt x="33" y="174"/>
                    <a:pt x="33" y="173"/>
                    <a:pt x="33" y="173"/>
                  </a:cubicBezTo>
                  <a:cubicBezTo>
                    <a:pt x="31" y="171"/>
                    <a:pt x="31" y="171"/>
                    <a:pt x="31" y="171"/>
                  </a:cubicBezTo>
                  <a:cubicBezTo>
                    <a:pt x="30" y="170"/>
                    <a:pt x="27" y="166"/>
                    <a:pt x="24" y="165"/>
                  </a:cubicBezTo>
                  <a:cubicBezTo>
                    <a:pt x="24" y="165"/>
                    <a:pt x="24" y="165"/>
                    <a:pt x="24" y="165"/>
                  </a:cubicBezTo>
                  <a:cubicBezTo>
                    <a:pt x="23" y="165"/>
                    <a:pt x="22" y="165"/>
                    <a:pt x="22" y="165"/>
                  </a:cubicBezTo>
                  <a:cubicBezTo>
                    <a:pt x="22" y="166"/>
                    <a:pt x="22" y="166"/>
                    <a:pt x="22" y="166"/>
                  </a:cubicBezTo>
                  <a:cubicBezTo>
                    <a:pt x="22" y="166"/>
                    <a:pt x="22" y="167"/>
                    <a:pt x="21" y="168"/>
                  </a:cubicBezTo>
                  <a:cubicBezTo>
                    <a:pt x="21" y="170"/>
                    <a:pt x="20" y="172"/>
                    <a:pt x="19" y="174"/>
                  </a:cubicBezTo>
                  <a:cubicBezTo>
                    <a:pt x="19" y="175"/>
                    <a:pt x="19" y="175"/>
                    <a:pt x="19" y="175"/>
                  </a:cubicBezTo>
                  <a:cubicBezTo>
                    <a:pt x="18" y="176"/>
                    <a:pt x="18" y="176"/>
                    <a:pt x="18" y="177"/>
                  </a:cubicBezTo>
                  <a:cubicBezTo>
                    <a:pt x="17" y="177"/>
                    <a:pt x="17" y="177"/>
                    <a:pt x="17" y="178"/>
                  </a:cubicBezTo>
                  <a:cubicBezTo>
                    <a:pt x="16" y="178"/>
                    <a:pt x="16" y="178"/>
                    <a:pt x="16" y="178"/>
                  </a:cubicBezTo>
                  <a:cubicBezTo>
                    <a:pt x="15" y="179"/>
                    <a:pt x="13" y="180"/>
                    <a:pt x="12" y="180"/>
                  </a:cubicBezTo>
                  <a:cubicBezTo>
                    <a:pt x="11" y="181"/>
                    <a:pt x="10" y="181"/>
                    <a:pt x="10" y="182"/>
                  </a:cubicBezTo>
                  <a:cubicBezTo>
                    <a:pt x="9" y="184"/>
                    <a:pt x="9" y="184"/>
                    <a:pt x="9" y="184"/>
                  </a:cubicBezTo>
                  <a:cubicBezTo>
                    <a:pt x="9" y="184"/>
                    <a:pt x="9" y="185"/>
                    <a:pt x="9" y="185"/>
                  </a:cubicBezTo>
                  <a:cubicBezTo>
                    <a:pt x="8" y="190"/>
                    <a:pt x="8" y="190"/>
                    <a:pt x="8" y="190"/>
                  </a:cubicBezTo>
                  <a:cubicBezTo>
                    <a:pt x="8" y="191"/>
                    <a:pt x="8" y="192"/>
                    <a:pt x="8" y="193"/>
                  </a:cubicBezTo>
                  <a:cubicBezTo>
                    <a:pt x="7" y="194"/>
                    <a:pt x="7" y="194"/>
                    <a:pt x="7" y="194"/>
                  </a:cubicBezTo>
                  <a:cubicBezTo>
                    <a:pt x="8" y="194"/>
                    <a:pt x="8" y="194"/>
                    <a:pt x="8" y="194"/>
                  </a:cubicBezTo>
                  <a:cubicBezTo>
                    <a:pt x="9" y="195"/>
                    <a:pt x="9" y="195"/>
                    <a:pt x="9" y="195"/>
                  </a:cubicBezTo>
                  <a:cubicBezTo>
                    <a:pt x="9" y="195"/>
                    <a:pt x="9" y="195"/>
                    <a:pt x="10" y="196"/>
                  </a:cubicBezTo>
                  <a:cubicBezTo>
                    <a:pt x="15" y="201"/>
                    <a:pt x="12" y="205"/>
                    <a:pt x="11" y="207"/>
                  </a:cubicBezTo>
                  <a:cubicBezTo>
                    <a:pt x="11" y="207"/>
                    <a:pt x="10" y="208"/>
                    <a:pt x="10" y="208"/>
                  </a:cubicBezTo>
                  <a:cubicBezTo>
                    <a:pt x="7" y="211"/>
                    <a:pt x="5" y="215"/>
                    <a:pt x="2" y="219"/>
                  </a:cubicBezTo>
                  <a:cubicBezTo>
                    <a:pt x="2" y="220"/>
                    <a:pt x="1" y="222"/>
                    <a:pt x="0" y="223"/>
                  </a:cubicBezTo>
                  <a:cubicBezTo>
                    <a:pt x="1" y="223"/>
                    <a:pt x="1" y="223"/>
                    <a:pt x="1" y="223"/>
                  </a:cubicBezTo>
                  <a:cubicBezTo>
                    <a:pt x="3" y="224"/>
                    <a:pt x="3" y="224"/>
                    <a:pt x="3" y="224"/>
                  </a:cubicBezTo>
                  <a:cubicBezTo>
                    <a:pt x="5" y="224"/>
                    <a:pt x="7" y="225"/>
                    <a:pt x="8" y="226"/>
                  </a:cubicBezTo>
                  <a:cubicBezTo>
                    <a:pt x="11" y="227"/>
                    <a:pt x="11" y="227"/>
                    <a:pt x="11" y="227"/>
                  </a:cubicBezTo>
                  <a:cubicBezTo>
                    <a:pt x="12" y="227"/>
                    <a:pt x="12" y="227"/>
                    <a:pt x="12" y="227"/>
                  </a:cubicBezTo>
                  <a:cubicBezTo>
                    <a:pt x="16" y="230"/>
                    <a:pt x="16" y="234"/>
                    <a:pt x="16" y="236"/>
                  </a:cubicBezTo>
                  <a:cubicBezTo>
                    <a:pt x="15" y="237"/>
                    <a:pt x="15" y="238"/>
                    <a:pt x="15" y="239"/>
                  </a:cubicBezTo>
                  <a:cubicBezTo>
                    <a:pt x="16" y="242"/>
                    <a:pt x="16" y="242"/>
                    <a:pt x="17" y="243"/>
                  </a:cubicBezTo>
                  <a:cubicBezTo>
                    <a:pt x="18" y="244"/>
                    <a:pt x="19" y="244"/>
                    <a:pt x="20" y="244"/>
                  </a:cubicBezTo>
                  <a:cubicBezTo>
                    <a:pt x="21" y="244"/>
                    <a:pt x="22" y="244"/>
                    <a:pt x="23" y="244"/>
                  </a:cubicBezTo>
                  <a:cubicBezTo>
                    <a:pt x="23" y="244"/>
                    <a:pt x="24" y="244"/>
                    <a:pt x="25" y="244"/>
                  </a:cubicBezTo>
                  <a:cubicBezTo>
                    <a:pt x="26" y="243"/>
                    <a:pt x="26" y="243"/>
                    <a:pt x="26" y="243"/>
                  </a:cubicBezTo>
                  <a:cubicBezTo>
                    <a:pt x="27" y="243"/>
                    <a:pt x="29" y="243"/>
                    <a:pt x="30" y="242"/>
                  </a:cubicBezTo>
                  <a:cubicBezTo>
                    <a:pt x="32" y="242"/>
                    <a:pt x="33" y="242"/>
                    <a:pt x="34" y="242"/>
                  </a:cubicBezTo>
                  <a:cubicBezTo>
                    <a:pt x="35" y="242"/>
                    <a:pt x="36" y="242"/>
                    <a:pt x="37" y="242"/>
                  </a:cubicBezTo>
                  <a:cubicBezTo>
                    <a:pt x="38" y="243"/>
                    <a:pt x="38" y="243"/>
                    <a:pt x="39" y="244"/>
                  </a:cubicBezTo>
                  <a:cubicBezTo>
                    <a:pt x="41" y="245"/>
                    <a:pt x="42" y="247"/>
                    <a:pt x="43" y="249"/>
                  </a:cubicBezTo>
                  <a:cubicBezTo>
                    <a:pt x="44" y="250"/>
                    <a:pt x="45" y="251"/>
                    <a:pt x="46" y="253"/>
                  </a:cubicBezTo>
                  <a:cubicBezTo>
                    <a:pt x="50" y="258"/>
                    <a:pt x="50" y="258"/>
                    <a:pt x="50" y="258"/>
                  </a:cubicBezTo>
                  <a:cubicBezTo>
                    <a:pt x="51" y="260"/>
                    <a:pt x="53" y="263"/>
                    <a:pt x="54" y="265"/>
                  </a:cubicBezTo>
                  <a:cubicBezTo>
                    <a:pt x="55" y="265"/>
                    <a:pt x="55" y="266"/>
                    <a:pt x="56" y="266"/>
                  </a:cubicBezTo>
                  <a:cubicBezTo>
                    <a:pt x="56" y="267"/>
                    <a:pt x="56" y="267"/>
                    <a:pt x="56" y="267"/>
                  </a:cubicBezTo>
                  <a:cubicBezTo>
                    <a:pt x="58" y="270"/>
                    <a:pt x="61" y="272"/>
                    <a:pt x="61" y="276"/>
                  </a:cubicBezTo>
                  <a:cubicBezTo>
                    <a:pt x="62" y="276"/>
                    <a:pt x="62" y="276"/>
                    <a:pt x="62" y="276"/>
                  </a:cubicBezTo>
                  <a:cubicBezTo>
                    <a:pt x="62" y="277"/>
                    <a:pt x="62" y="277"/>
                    <a:pt x="62" y="277"/>
                  </a:cubicBezTo>
                  <a:cubicBezTo>
                    <a:pt x="62" y="277"/>
                    <a:pt x="62" y="277"/>
                    <a:pt x="62" y="277"/>
                  </a:cubicBezTo>
                  <a:cubicBezTo>
                    <a:pt x="61" y="278"/>
                    <a:pt x="61" y="278"/>
                    <a:pt x="61" y="278"/>
                  </a:cubicBezTo>
                  <a:cubicBezTo>
                    <a:pt x="60" y="279"/>
                    <a:pt x="60" y="279"/>
                    <a:pt x="60" y="279"/>
                  </a:cubicBezTo>
                  <a:cubicBezTo>
                    <a:pt x="58" y="282"/>
                    <a:pt x="58" y="282"/>
                    <a:pt x="58" y="282"/>
                  </a:cubicBezTo>
                  <a:cubicBezTo>
                    <a:pt x="58" y="281"/>
                    <a:pt x="58" y="281"/>
                    <a:pt x="58" y="281"/>
                  </a:cubicBezTo>
                  <a:cubicBezTo>
                    <a:pt x="57" y="281"/>
                    <a:pt x="57" y="281"/>
                    <a:pt x="57" y="281"/>
                  </a:cubicBezTo>
                  <a:cubicBezTo>
                    <a:pt x="57" y="281"/>
                    <a:pt x="57" y="281"/>
                    <a:pt x="57" y="281"/>
                  </a:cubicBezTo>
                  <a:cubicBezTo>
                    <a:pt x="57" y="282"/>
                    <a:pt x="56" y="282"/>
                    <a:pt x="55" y="282"/>
                  </a:cubicBezTo>
                  <a:cubicBezTo>
                    <a:pt x="56" y="282"/>
                    <a:pt x="56" y="282"/>
                    <a:pt x="56" y="282"/>
                  </a:cubicBezTo>
                  <a:cubicBezTo>
                    <a:pt x="56" y="283"/>
                    <a:pt x="56" y="283"/>
                    <a:pt x="56" y="283"/>
                  </a:cubicBezTo>
                  <a:cubicBezTo>
                    <a:pt x="58" y="284"/>
                    <a:pt x="60" y="285"/>
                    <a:pt x="62" y="286"/>
                  </a:cubicBezTo>
                  <a:cubicBezTo>
                    <a:pt x="62" y="286"/>
                    <a:pt x="63" y="286"/>
                    <a:pt x="64" y="286"/>
                  </a:cubicBezTo>
                  <a:cubicBezTo>
                    <a:pt x="64" y="286"/>
                    <a:pt x="64" y="286"/>
                    <a:pt x="64" y="286"/>
                  </a:cubicBezTo>
                  <a:cubicBezTo>
                    <a:pt x="64" y="286"/>
                    <a:pt x="64" y="286"/>
                    <a:pt x="64" y="286"/>
                  </a:cubicBezTo>
                  <a:cubicBezTo>
                    <a:pt x="64" y="286"/>
                    <a:pt x="64" y="286"/>
                    <a:pt x="64" y="286"/>
                  </a:cubicBezTo>
                  <a:cubicBezTo>
                    <a:pt x="65" y="286"/>
                    <a:pt x="66" y="285"/>
                    <a:pt x="65" y="284"/>
                  </a:cubicBezTo>
                  <a:cubicBezTo>
                    <a:pt x="65" y="284"/>
                    <a:pt x="65" y="284"/>
                    <a:pt x="65" y="284"/>
                  </a:cubicBezTo>
                  <a:cubicBezTo>
                    <a:pt x="65" y="284"/>
                    <a:pt x="66" y="284"/>
                    <a:pt x="66" y="284"/>
                  </a:cubicBezTo>
                  <a:cubicBezTo>
                    <a:pt x="66" y="284"/>
                    <a:pt x="66" y="284"/>
                    <a:pt x="67" y="284"/>
                  </a:cubicBezTo>
                  <a:cubicBezTo>
                    <a:pt x="67" y="284"/>
                    <a:pt x="67" y="284"/>
                    <a:pt x="67" y="284"/>
                  </a:cubicBezTo>
                  <a:cubicBezTo>
                    <a:pt x="66" y="284"/>
                    <a:pt x="66" y="283"/>
                    <a:pt x="65" y="283"/>
                  </a:cubicBezTo>
                  <a:cubicBezTo>
                    <a:pt x="67" y="282"/>
                    <a:pt x="68" y="282"/>
                    <a:pt x="69" y="282"/>
                  </a:cubicBezTo>
                  <a:cubicBezTo>
                    <a:pt x="70" y="282"/>
                    <a:pt x="71" y="282"/>
                    <a:pt x="72" y="282"/>
                  </a:cubicBezTo>
                  <a:cubicBezTo>
                    <a:pt x="74" y="283"/>
                    <a:pt x="75" y="283"/>
                    <a:pt x="76" y="283"/>
                  </a:cubicBezTo>
                  <a:cubicBezTo>
                    <a:pt x="78" y="283"/>
                    <a:pt x="79" y="282"/>
                    <a:pt x="81" y="282"/>
                  </a:cubicBezTo>
                  <a:cubicBezTo>
                    <a:pt x="83" y="281"/>
                    <a:pt x="84" y="280"/>
                    <a:pt x="85" y="279"/>
                  </a:cubicBezTo>
                  <a:cubicBezTo>
                    <a:pt x="87" y="278"/>
                    <a:pt x="88" y="277"/>
                    <a:pt x="90" y="276"/>
                  </a:cubicBezTo>
                  <a:cubicBezTo>
                    <a:pt x="91" y="275"/>
                    <a:pt x="92" y="274"/>
                    <a:pt x="93" y="274"/>
                  </a:cubicBezTo>
                  <a:cubicBezTo>
                    <a:pt x="94" y="273"/>
                    <a:pt x="96" y="273"/>
                    <a:pt x="98" y="272"/>
                  </a:cubicBezTo>
                  <a:cubicBezTo>
                    <a:pt x="98" y="272"/>
                    <a:pt x="102" y="270"/>
                    <a:pt x="103" y="269"/>
                  </a:cubicBezTo>
                  <a:cubicBezTo>
                    <a:pt x="104" y="269"/>
                    <a:pt x="103" y="269"/>
                    <a:pt x="104" y="268"/>
                  </a:cubicBezTo>
                  <a:cubicBezTo>
                    <a:pt x="104" y="268"/>
                    <a:pt x="106" y="268"/>
                    <a:pt x="106" y="268"/>
                  </a:cubicBezTo>
                  <a:cubicBezTo>
                    <a:pt x="107" y="268"/>
                    <a:pt x="109" y="267"/>
                    <a:pt x="110" y="267"/>
                  </a:cubicBezTo>
                  <a:cubicBezTo>
                    <a:pt x="111" y="267"/>
                    <a:pt x="111" y="266"/>
                    <a:pt x="112" y="266"/>
                  </a:cubicBezTo>
                  <a:cubicBezTo>
                    <a:pt x="112" y="266"/>
                    <a:pt x="113" y="266"/>
                    <a:pt x="113" y="266"/>
                  </a:cubicBezTo>
                  <a:cubicBezTo>
                    <a:pt x="116" y="266"/>
                    <a:pt x="120" y="268"/>
                    <a:pt x="123" y="268"/>
                  </a:cubicBezTo>
                  <a:cubicBezTo>
                    <a:pt x="128" y="269"/>
                    <a:pt x="133" y="272"/>
                    <a:pt x="138" y="275"/>
                  </a:cubicBezTo>
                  <a:cubicBezTo>
                    <a:pt x="137" y="274"/>
                    <a:pt x="137" y="274"/>
                    <a:pt x="137" y="273"/>
                  </a:cubicBezTo>
                  <a:cubicBezTo>
                    <a:pt x="137" y="273"/>
                    <a:pt x="138" y="273"/>
                    <a:pt x="138" y="273"/>
                  </a:cubicBezTo>
                  <a:cubicBezTo>
                    <a:pt x="141" y="273"/>
                    <a:pt x="141" y="270"/>
                    <a:pt x="143" y="270"/>
                  </a:cubicBezTo>
                  <a:cubicBezTo>
                    <a:pt x="144" y="270"/>
                    <a:pt x="144" y="269"/>
                    <a:pt x="144" y="269"/>
                  </a:cubicBezTo>
                  <a:cubicBezTo>
                    <a:pt x="145" y="269"/>
                    <a:pt x="148" y="271"/>
                    <a:pt x="149" y="271"/>
                  </a:cubicBezTo>
                  <a:cubicBezTo>
                    <a:pt x="154" y="271"/>
                    <a:pt x="155" y="272"/>
                    <a:pt x="157" y="276"/>
                  </a:cubicBezTo>
                  <a:cubicBezTo>
                    <a:pt x="161" y="282"/>
                    <a:pt x="164" y="289"/>
                    <a:pt x="163" y="296"/>
                  </a:cubicBezTo>
                  <a:cubicBezTo>
                    <a:pt x="163" y="301"/>
                    <a:pt x="158" y="305"/>
                    <a:pt x="158" y="311"/>
                  </a:cubicBezTo>
                  <a:cubicBezTo>
                    <a:pt x="157" y="313"/>
                    <a:pt x="158" y="314"/>
                    <a:pt x="159" y="316"/>
                  </a:cubicBezTo>
                  <a:cubicBezTo>
                    <a:pt x="160" y="319"/>
                    <a:pt x="161" y="318"/>
                    <a:pt x="163" y="319"/>
                  </a:cubicBezTo>
                  <a:cubicBezTo>
                    <a:pt x="166" y="320"/>
                    <a:pt x="168" y="321"/>
                    <a:pt x="171" y="321"/>
                  </a:cubicBezTo>
                  <a:cubicBezTo>
                    <a:pt x="171" y="321"/>
                    <a:pt x="172" y="321"/>
                    <a:pt x="173" y="321"/>
                  </a:cubicBezTo>
                  <a:cubicBezTo>
                    <a:pt x="175" y="320"/>
                    <a:pt x="178" y="320"/>
                    <a:pt x="179" y="318"/>
                  </a:cubicBezTo>
                  <a:cubicBezTo>
                    <a:pt x="180" y="317"/>
                    <a:pt x="180" y="315"/>
                    <a:pt x="182" y="315"/>
                  </a:cubicBezTo>
                  <a:cubicBezTo>
                    <a:pt x="182" y="315"/>
                    <a:pt x="182" y="315"/>
                    <a:pt x="183" y="315"/>
                  </a:cubicBezTo>
                  <a:cubicBezTo>
                    <a:pt x="188" y="315"/>
                    <a:pt x="186" y="322"/>
                    <a:pt x="188" y="325"/>
                  </a:cubicBezTo>
                  <a:cubicBezTo>
                    <a:pt x="188" y="326"/>
                    <a:pt x="190" y="327"/>
                    <a:pt x="190" y="329"/>
                  </a:cubicBezTo>
                  <a:cubicBezTo>
                    <a:pt x="190" y="330"/>
                    <a:pt x="187" y="331"/>
                    <a:pt x="185" y="331"/>
                  </a:cubicBezTo>
                  <a:cubicBezTo>
                    <a:pt x="185" y="331"/>
                    <a:pt x="184" y="331"/>
                    <a:pt x="184" y="331"/>
                  </a:cubicBezTo>
                  <a:cubicBezTo>
                    <a:pt x="184" y="331"/>
                    <a:pt x="184" y="331"/>
                    <a:pt x="184" y="331"/>
                  </a:cubicBezTo>
                  <a:cubicBezTo>
                    <a:pt x="182" y="331"/>
                    <a:pt x="181" y="332"/>
                    <a:pt x="180" y="332"/>
                  </a:cubicBezTo>
                  <a:cubicBezTo>
                    <a:pt x="179" y="332"/>
                    <a:pt x="179" y="332"/>
                    <a:pt x="178" y="332"/>
                  </a:cubicBezTo>
                  <a:cubicBezTo>
                    <a:pt x="178" y="332"/>
                    <a:pt x="178" y="332"/>
                    <a:pt x="177" y="332"/>
                  </a:cubicBezTo>
                  <a:cubicBezTo>
                    <a:pt x="177" y="332"/>
                    <a:pt x="177" y="332"/>
                    <a:pt x="176" y="332"/>
                  </a:cubicBezTo>
                  <a:cubicBezTo>
                    <a:pt x="176" y="332"/>
                    <a:pt x="176" y="332"/>
                    <a:pt x="175" y="332"/>
                  </a:cubicBezTo>
                  <a:cubicBezTo>
                    <a:pt x="171" y="333"/>
                    <a:pt x="169" y="337"/>
                    <a:pt x="168" y="340"/>
                  </a:cubicBezTo>
                  <a:cubicBezTo>
                    <a:pt x="167" y="341"/>
                    <a:pt x="164" y="349"/>
                    <a:pt x="162" y="349"/>
                  </a:cubicBezTo>
                  <a:cubicBezTo>
                    <a:pt x="160" y="349"/>
                    <a:pt x="162" y="345"/>
                    <a:pt x="162" y="344"/>
                  </a:cubicBezTo>
                  <a:cubicBezTo>
                    <a:pt x="164" y="340"/>
                    <a:pt x="166" y="336"/>
                    <a:pt x="170" y="333"/>
                  </a:cubicBezTo>
                  <a:cubicBezTo>
                    <a:pt x="173" y="330"/>
                    <a:pt x="175" y="331"/>
                    <a:pt x="179" y="330"/>
                  </a:cubicBezTo>
                  <a:cubicBezTo>
                    <a:pt x="183" y="329"/>
                    <a:pt x="182" y="323"/>
                    <a:pt x="179" y="323"/>
                  </a:cubicBezTo>
                  <a:cubicBezTo>
                    <a:pt x="178" y="323"/>
                    <a:pt x="178" y="323"/>
                    <a:pt x="177" y="324"/>
                  </a:cubicBezTo>
                  <a:cubicBezTo>
                    <a:pt x="175" y="324"/>
                    <a:pt x="174" y="325"/>
                    <a:pt x="173" y="325"/>
                  </a:cubicBezTo>
                  <a:cubicBezTo>
                    <a:pt x="172" y="325"/>
                    <a:pt x="170" y="325"/>
                    <a:pt x="169" y="324"/>
                  </a:cubicBezTo>
                  <a:cubicBezTo>
                    <a:pt x="166" y="323"/>
                    <a:pt x="162" y="324"/>
                    <a:pt x="159" y="323"/>
                  </a:cubicBezTo>
                  <a:cubicBezTo>
                    <a:pt x="154" y="323"/>
                    <a:pt x="150" y="322"/>
                    <a:pt x="145" y="321"/>
                  </a:cubicBezTo>
                  <a:cubicBezTo>
                    <a:pt x="140" y="321"/>
                    <a:pt x="133" y="321"/>
                    <a:pt x="128" y="319"/>
                  </a:cubicBezTo>
                  <a:cubicBezTo>
                    <a:pt x="127" y="319"/>
                    <a:pt x="127" y="317"/>
                    <a:pt x="126" y="317"/>
                  </a:cubicBezTo>
                  <a:cubicBezTo>
                    <a:pt x="126" y="317"/>
                    <a:pt x="125" y="318"/>
                    <a:pt x="125" y="318"/>
                  </a:cubicBezTo>
                  <a:cubicBezTo>
                    <a:pt x="125" y="319"/>
                    <a:pt x="122" y="321"/>
                    <a:pt x="122" y="321"/>
                  </a:cubicBezTo>
                  <a:cubicBezTo>
                    <a:pt x="122" y="321"/>
                    <a:pt x="121" y="321"/>
                    <a:pt x="121" y="321"/>
                  </a:cubicBezTo>
                  <a:cubicBezTo>
                    <a:pt x="120" y="321"/>
                    <a:pt x="118" y="319"/>
                    <a:pt x="118" y="319"/>
                  </a:cubicBezTo>
                  <a:cubicBezTo>
                    <a:pt x="118" y="319"/>
                    <a:pt x="116" y="322"/>
                    <a:pt x="115" y="323"/>
                  </a:cubicBezTo>
                  <a:cubicBezTo>
                    <a:pt x="114" y="325"/>
                    <a:pt x="114" y="328"/>
                    <a:pt x="112" y="329"/>
                  </a:cubicBezTo>
                  <a:cubicBezTo>
                    <a:pt x="109" y="331"/>
                    <a:pt x="109" y="331"/>
                    <a:pt x="109" y="331"/>
                  </a:cubicBezTo>
                  <a:cubicBezTo>
                    <a:pt x="108" y="332"/>
                    <a:pt x="105" y="331"/>
                    <a:pt x="107" y="333"/>
                  </a:cubicBezTo>
                  <a:cubicBezTo>
                    <a:pt x="109" y="336"/>
                    <a:pt x="111" y="337"/>
                    <a:pt x="113" y="340"/>
                  </a:cubicBezTo>
                  <a:cubicBezTo>
                    <a:pt x="114" y="340"/>
                    <a:pt x="114" y="343"/>
                    <a:pt x="115" y="343"/>
                  </a:cubicBezTo>
                  <a:cubicBezTo>
                    <a:pt x="115" y="343"/>
                    <a:pt x="115" y="343"/>
                    <a:pt x="115" y="343"/>
                  </a:cubicBezTo>
                  <a:cubicBezTo>
                    <a:pt x="116" y="343"/>
                    <a:pt x="116" y="343"/>
                    <a:pt x="116" y="343"/>
                  </a:cubicBezTo>
                  <a:cubicBezTo>
                    <a:pt x="116" y="343"/>
                    <a:pt x="117" y="343"/>
                    <a:pt x="117" y="343"/>
                  </a:cubicBezTo>
                  <a:cubicBezTo>
                    <a:pt x="117" y="343"/>
                    <a:pt x="117" y="343"/>
                    <a:pt x="117" y="343"/>
                  </a:cubicBezTo>
                  <a:cubicBezTo>
                    <a:pt x="118" y="343"/>
                    <a:pt x="120" y="344"/>
                    <a:pt x="121" y="345"/>
                  </a:cubicBezTo>
                  <a:cubicBezTo>
                    <a:pt x="121" y="345"/>
                    <a:pt x="121" y="345"/>
                    <a:pt x="121" y="345"/>
                  </a:cubicBezTo>
                  <a:cubicBezTo>
                    <a:pt x="121" y="345"/>
                    <a:pt x="121" y="345"/>
                    <a:pt x="121" y="345"/>
                  </a:cubicBezTo>
                  <a:cubicBezTo>
                    <a:pt x="121" y="345"/>
                    <a:pt x="120" y="345"/>
                    <a:pt x="119" y="345"/>
                  </a:cubicBezTo>
                  <a:cubicBezTo>
                    <a:pt x="119" y="345"/>
                    <a:pt x="118" y="346"/>
                    <a:pt x="118" y="346"/>
                  </a:cubicBezTo>
                  <a:cubicBezTo>
                    <a:pt x="117" y="346"/>
                    <a:pt x="116" y="345"/>
                    <a:pt x="116" y="345"/>
                  </a:cubicBezTo>
                  <a:cubicBezTo>
                    <a:pt x="116" y="345"/>
                    <a:pt x="116" y="344"/>
                    <a:pt x="115" y="344"/>
                  </a:cubicBezTo>
                  <a:cubicBezTo>
                    <a:pt x="115" y="344"/>
                    <a:pt x="114" y="346"/>
                    <a:pt x="113" y="346"/>
                  </a:cubicBezTo>
                  <a:cubicBezTo>
                    <a:pt x="112" y="346"/>
                    <a:pt x="112" y="346"/>
                    <a:pt x="111" y="346"/>
                  </a:cubicBezTo>
                  <a:cubicBezTo>
                    <a:pt x="109" y="346"/>
                    <a:pt x="108" y="345"/>
                    <a:pt x="106" y="344"/>
                  </a:cubicBezTo>
                  <a:cubicBezTo>
                    <a:pt x="104" y="343"/>
                    <a:pt x="103" y="342"/>
                    <a:pt x="102" y="342"/>
                  </a:cubicBezTo>
                  <a:cubicBezTo>
                    <a:pt x="102" y="342"/>
                    <a:pt x="101" y="343"/>
                    <a:pt x="99" y="343"/>
                  </a:cubicBezTo>
                  <a:cubicBezTo>
                    <a:pt x="98" y="343"/>
                    <a:pt x="94" y="341"/>
                    <a:pt x="92" y="341"/>
                  </a:cubicBezTo>
                  <a:cubicBezTo>
                    <a:pt x="92" y="341"/>
                    <a:pt x="91" y="341"/>
                    <a:pt x="91" y="342"/>
                  </a:cubicBezTo>
                  <a:cubicBezTo>
                    <a:pt x="90" y="342"/>
                    <a:pt x="90" y="343"/>
                    <a:pt x="89" y="344"/>
                  </a:cubicBezTo>
                  <a:cubicBezTo>
                    <a:pt x="88" y="344"/>
                    <a:pt x="88" y="344"/>
                    <a:pt x="88" y="344"/>
                  </a:cubicBezTo>
                  <a:cubicBezTo>
                    <a:pt x="88" y="349"/>
                    <a:pt x="88" y="351"/>
                    <a:pt x="94" y="352"/>
                  </a:cubicBezTo>
                  <a:cubicBezTo>
                    <a:pt x="95" y="353"/>
                    <a:pt x="97" y="353"/>
                    <a:pt x="98" y="353"/>
                  </a:cubicBezTo>
                  <a:cubicBezTo>
                    <a:pt x="106" y="355"/>
                    <a:pt x="107" y="364"/>
                    <a:pt x="110" y="371"/>
                  </a:cubicBezTo>
                  <a:cubicBezTo>
                    <a:pt x="112" y="375"/>
                    <a:pt x="113" y="378"/>
                    <a:pt x="115" y="382"/>
                  </a:cubicBezTo>
                  <a:cubicBezTo>
                    <a:pt x="115" y="383"/>
                    <a:pt x="114" y="383"/>
                    <a:pt x="114" y="384"/>
                  </a:cubicBezTo>
                  <a:cubicBezTo>
                    <a:pt x="114" y="385"/>
                    <a:pt x="113" y="386"/>
                    <a:pt x="114" y="386"/>
                  </a:cubicBezTo>
                  <a:cubicBezTo>
                    <a:pt x="114" y="387"/>
                    <a:pt x="115" y="387"/>
                    <a:pt x="115" y="387"/>
                  </a:cubicBezTo>
                  <a:cubicBezTo>
                    <a:pt x="116" y="387"/>
                    <a:pt x="118" y="386"/>
                    <a:pt x="118" y="386"/>
                  </a:cubicBezTo>
                  <a:cubicBezTo>
                    <a:pt x="119" y="386"/>
                    <a:pt x="120" y="386"/>
                    <a:pt x="121" y="386"/>
                  </a:cubicBezTo>
                  <a:cubicBezTo>
                    <a:pt x="122" y="386"/>
                    <a:pt x="122" y="386"/>
                    <a:pt x="122" y="386"/>
                  </a:cubicBezTo>
                  <a:cubicBezTo>
                    <a:pt x="126" y="387"/>
                    <a:pt x="126" y="393"/>
                    <a:pt x="130" y="395"/>
                  </a:cubicBezTo>
                  <a:cubicBezTo>
                    <a:pt x="130" y="395"/>
                    <a:pt x="131" y="396"/>
                    <a:pt x="131" y="396"/>
                  </a:cubicBezTo>
                  <a:cubicBezTo>
                    <a:pt x="132" y="396"/>
                    <a:pt x="132" y="395"/>
                    <a:pt x="133" y="395"/>
                  </a:cubicBezTo>
                  <a:cubicBezTo>
                    <a:pt x="133" y="395"/>
                    <a:pt x="134" y="395"/>
                    <a:pt x="135" y="395"/>
                  </a:cubicBezTo>
                  <a:cubicBezTo>
                    <a:pt x="135" y="395"/>
                    <a:pt x="135" y="395"/>
                    <a:pt x="135" y="395"/>
                  </a:cubicBezTo>
                  <a:cubicBezTo>
                    <a:pt x="136" y="395"/>
                    <a:pt x="136" y="395"/>
                    <a:pt x="137" y="395"/>
                  </a:cubicBezTo>
                  <a:cubicBezTo>
                    <a:pt x="138" y="396"/>
                    <a:pt x="138" y="397"/>
                    <a:pt x="139" y="397"/>
                  </a:cubicBezTo>
                  <a:cubicBezTo>
                    <a:pt x="139" y="397"/>
                    <a:pt x="139" y="397"/>
                    <a:pt x="139" y="397"/>
                  </a:cubicBezTo>
                  <a:cubicBezTo>
                    <a:pt x="139" y="397"/>
                    <a:pt x="139" y="397"/>
                    <a:pt x="139" y="397"/>
                  </a:cubicBezTo>
                  <a:cubicBezTo>
                    <a:pt x="139" y="397"/>
                    <a:pt x="139" y="397"/>
                    <a:pt x="140" y="397"/>
                  </a:cubicBezTo>
                  <a:cubicBezTo>
                    <a:pt x="140" y="397"/>
                    <a:pt x="140" y="397"/>
                    <a:pt x="140" y="397"/>
                  </a:cubicBezTo>
                  <a:cubicBezTo>
                    <a:pt x="140" y="397"/>
                    <a:pt x="140" y="397"/>
                    <a:pt x="140" y="397"/>
                  </a:cubicBezTo>
                  <a:cubicBezTo>
                    <a:pt x="141" y="397"/>
                    <a:pt x="141" y="397"/>
                    <a:pt x="142" y="397"/>
                  </a:cubicBezTo>
                  <a:cubicBezTo>
                    <a:pt x="142" y="397"/>
                    <a:pt x="143" y="396"/>
                    <a:pt x="143" y="396"/>
                  </a:cubicBezTo>
                  <a:cubicBezTo>
                    <a:pt x="144" y="396"/>
                    <a:pt x="144" y="397"/>
                    <a:pt x="145" y="397"/>
                  </a:cubicBezTo>
                  <a:cubicBezTo>
                    <a:pt x="147" y="397"/>
                    <a:pt x="148" y="399"/>
                    <a:pt x="150" y="400"/>
                  </a:cubicBezTo>
                  <a:cubicBezTo>
                    <a:pt x="149" y="400"/>
                    <a:pt x="148" y="400"/>
                    <a:pt x="148" y="400"/>
                  </a:cubicBezTo>
                  <a:cubicBezTo>
                    <a:pt x="147" y="400"/>
                    <a:pt x="147" y="400"/>
                    <a:pt x="147" y="400"/>
                  </a:cubicBezTo>
                  <a:cubicBezTo>
                    <a:pt x="150" y="404"/>
                    <a:pt x="148" y="406"/>
                    <a:pt x="146" y="411"/>
                  </a:cubicBezTo>
                  <a:cubicBezTo>
                    <a:pt x="145" y="413"/>
                    <a:pt x="143" y="415"/>
                    <a:pt x="142" y="417"/>
                  </a:cubicBezTo>
                  <a:cubicBezTo>
                    <a:pt x="142" y="419"/>
                    <a:pt x="142" y="422"/>
                    <a:pt x="143" y="425"/>
                  </a:cubicBezTo>
                  <a:cubicBezTo>
                    <a:pt x="143" y="424"/>
                    <a:pt x="144" y="424"/>
                    <a:pt x="145" y="423"/>
                  </a:cubicBezTo>
                  <a:cubicBezTo>
                    <a:pt x="146" y="422"/>
                    <a:pt x="147" y="420"/>
                    <a:pt x="149" y="419"/>
                  </a:cubicBezTo>
                  <a:cubicBezTo>
                    <a:pt x="150" y="418"/>
                    <a:pt x="152" y="416"/>
                    <a:pt x="154" y="415"/>
                  </a:cubicBezTo>
                  <a:cubicBezTo>
                    <a:pt x="159" y="412"/>
                    <a:pt x="165" y="410"/>
                    <a:pt x="170" y="409"/>
                  </a:cubicBezTo>
                  <a:cubicBezTo>
                    <a:pt x="173" y="409"/>
                    <a:pt x="175" y="409"/>
                    <a:pt x="178" y="408"/>
                  </a:cubicBezTo>
                  <a:cubicBezTo>
                    <a:pt x="179" y="408"/>
                    <a:pt x="179" y="408"/>
                    <a:pt x="179" y="408"/>
                  </a:cubicBezTo>
                  <a:cubicBezTo>
                    <a:pt x="181" y="408"/>
                    <a:pt x="182" y="408"/>
                    <a:pt x="183" y="408"/>
                  </a:cubicBezTo>
                  <a:cubicBezTo>
                    <a:pt x="184" y="408"/>
                    <a:pt x="184" y="408"/>
                    <a:pt x="185" y="408"/>
                  </a:cubicBezTo>
                  <a:cubicBezTo>
                    <a:pt x="187" y="408"/>
                    <a:pt x="189" y="409"/>
                    <a:pt x="190" y="410"/>
                  </a:cubicBezTo>
                  <a:cubicBezTo>
                    <a:pt x="193" y="412"/>
                    <a:pt x="196" y="415"/>
                    <a:pt x="199" y="418"/>
                  </a:cubicBezTo>
                  <a:cubicBezTo>
                    <a:pt x="199" y="418"/>
                    <a:pt x="199" y="418"/>
                    <a:pt x="199" y="418"/>
                  </a:cubicBezTo>
                  <a:cubicBezTo>
                    <a:pt x="201" y="419"/>
                    <a:pt x="202" y="421"/>
                    <a:pt x="203" y="422"/>
                  </a:cubicBezTo>
                  <a:cubicBezTo>
                    <a:pt x="205" y="423"/>
                    <a:pt x="205" y="423"/>
                    <a:pt x="205" y="423"/>
                  </a:cubicBezTo>
                  <a:cubicBezTo>
                    <a:pt x="207" y="425"/>
                    <a:pt x="209" y="426"/>
                    <a:pt x="210" y="428"/>
                  </a:cubicBezTo>
                  <a:cubicBezTo>
                    <a:pt x="211" y="429"/>
                    <a:pt x="212" y="431"/>
                    <a:pt x="213" y="432"/>
                  </a:cubicBezTo>
                  <a:cubicBezTo>
                    <a:pt x="213" y="433"/>
                    <a:pt x="213" y="433"/>
                    <a:pt x="213" y="433"/>
                  </a:cubicBezTo>
                  <a:cubicBezTo>
                    <a:pt x="215" y="434"/>
                    <a:pt x="216" y="436"/>
                    <a:pt x="218" y="437"/>
                  </a:cubicBezTo>
                  <a:cubicBezTo>
                    <a:pt x="218" y="438"/>
                    <a:pt x="219" y="438"/>
                    <a:pt x="219" y="439"/>
                  </a:cubicBezTo>
                  <a:cubicBezTo>
                    <a:pt x="220" y="439"/>
                    <a:pt x="221" y="438"/>
                    <a:pt x="223" y="438"/>
                  </a:cubicBezTo>
                  <a:cubicBezTo>
                    <a:pt x="224" y="438"/>
                    <a:pt x="226" y="438"/>
                    <a:pt x="227" y="438"/>
                  </a:cubicBezTo>
                  <a:cubicBezTo>
                    <a:pt x="227" y="382"/>
                    <a:pt x="227" y="382"/>
                    <a:pt x="227" y="382"/>
                  </a:cubicBezTo>
                  <a:cubicBezTo>
                    <a:pt x="227" y="366"/>
                    <a:pt x="227" y="349"/>
                    <a:pt x="227" y="333"/>
                  </a:cubicBezTo>
                  <a:cubicBezTo>
                    <a:pt x="227" y="332"/>
                    <a:pt x="227" y="332"/>
                    <a:pt x="227" y="332"/>
                  </a:cubicBezTo>
                  <a:cubicBezTo>
                    <a:pt x="227" y="329"/>
                    <a:pt x="229" y="328"/>
                    <a:pt x="232" y="327"/>
                  </a:cubicBezTo>
                  <a:cubicBezTo>
                    <a:pt x="233" y="326"/>
                    <a:pt x="236" y="326"/>
                    <a:pt x="238" y="325"/>
                  </a:cubicBezTo>
                  <a:cubicBezTo>
                    <a:pt x="239" y="325"/>
                    <a:pt x="240" y="325"/>
                    <a:pt x="240" y="325"/>
                  </a:cubicBezTo>
                  <a:cubicBezTo>
                    <a:pt x="251" y="322"/>
                    <a:pt x="262" y="319"/>
                    <a:pt x="272" y="316"/>
                  </a:cubicBezTo>
                  <a:cubicBezTo>
                    <a:pt x="283" y="313"/>
                    <a:pt x="283" y="313"/>
                    <a:pt x="283" y="313"/>
                  </a:cubicBezTo>
                  <a:cubicBezTo>
                    <a:pt x="285" y="312"/>
                    <a:pt x="287" y="312"/>
                    <a:pt x="289" y="311"/>
                  </a:cubicBezTo>
                  <a:cubicBezTo>
                    <a:pt x="292" y="311"/>
                    <a:pt x="292" y="311"/>
                    <a:pt x="292" y="311"/>
                  </a:cubicBezTo>
                  <a:cubicBezTo>
                    <a:pt x="292" y="311"/>
                    <a:pt x="292" y="311"/>
                    <a:pt x="293" y="311"/>
                  </a:cubicBezTo>
                  <a:cubicBezTo>
                    <a:pt x="294" y="311"/>
                    <a:pt x="295" y="311"/>
                    <a:pt x="296" y="311"/>
                  </a:cubicBezTo>
                  <a:cubicBezTo>
                    <a:pt x="296" y="310"/>
                    <a:pt x="296" y="308"/>
                    <a:pt x="297" y="307"/>
                  </a:cubicBezTo>
                  <a:cubicBezTo>
                    <a:pt x="298" y="306"/>
                    <a:pt x="299" y="304"/>
                    <a:pt x="301" y="304"/>
                  </a:cubicBezTo>
                  <a:cubicBezTo>
                    <a:pt x="301" y="304"/>
                    <a:pt x="301" y="304"/>
                    <a:pt x="301" y="304"/>
                  </a:cubicBezTo>
                  <a:cubicBezTo>
                    <a:pt x="302" y="304"/>
                    <a:pt x="303" y="304"/>
                    <a:pt x="303" y="304"/>
                  </a:cubicBezTo>
                  <a:cubicBezTo>
                    <a:pt x="303" y="304"/>
                    <a:pt x="303" y="304"/>
                    <a:pt x="303" y="304"/>
                  </a:cubicBezTo>
                  <a:cubicBezTo>
                    <a:pt x="303" y="304"/>
                    <a:pt x="303" y="304"/>
                    <a:pt x="303" y="304"/>
                  </a:cubicBezTo>
                  <a:cubicBezTo>
                    <a:pt x="304" y="304"/>
                    <a:pt x="304" y="304"/>
                    <a:pt x="304" y="304"/>
                  </a:cubicBezTo>
                  <a:cubicBezTo>
                    <a:pt x="304" y="304"/>
                    <a:pt x="304" y="303"/>
                    <a:pt x="304" y="303"/>
                  </a:cubicBezTo>
                  <a:cubicBezTo>
                    <a:pt x="304" y="303"/>
                    <a:pt x="304" y="303"/>
                    <a:pt x="304" y="303"/>
                  </a:cubicBezTo>
                  <a:cubicBezTo>
                    <a:pt x="305" y="303"/>
                    <a:pt x="305" y="303"/>
                    <a:pt x="306" y="303"/>
                  </a:cubicBezTo>
                  <a:cubicBezTo>
                    <a:pt x="306" y="303"/>
                    <a:pt x="306" y="303"/>
                    <a:pt x="306" y="303"/>
                  </a:cubicBezTo>
                  <a:cubicBezTo>
                    <a:pt x="306" y="303"/>
                    <a:pt x="306" y="303"/>
                    <a:pt x="306" y="303"/>
                  </a:cubicBezTo>
                  <a:cubicBezTo>
                    <a:pt x="307" y="303"/>
                    <a:pt x="307" y="303"/>
                    <a:pt x="307" y="303"/>
                  </a:cubicBezTo>
                  <a:cubicBezTo>
                    <a:pt x="308" y="303"/>
                    <a:pt x="308" y="303"/>
                    <a:pt x="308" y="303"/>
                  </a:cubicBezTo>
                  <a:cubicBezTo>
                    <a:pt x="308" y="303"/>
                    <a:pt x="309" y="303"/>
                    <a:pt x="309" y="303"/>
                  </a:cubicBezTo>
                  <a:cubicBezTo>
                    <a:pt x="309" y="303"/>
                    <a:pt x="310" y="301"/>
                    <a:pt x="311" y="301"/>
                  </a:cubicBezTo>
                  <a:cubicBezTo>
                    <a:pt x="311" y="301"/>
                    <a:pt x="311" y="301"/>
                    <a:pt x="311" y="301"/>
                  </a:cubicBezTo>
                  <a:cubicBezTo>
                    <a:pt x="314" y="301"/>
                    <a:pt x="311" y="304"/>
                    <a:pt x="310" y="306"/>
                  </a:cubicBezTo>
                  <a:cubicBezTo>
                    <a:pt x="310" y="307"/>
                    <a:pt x="309" y="310"/>
                    <a:pt x="311" y="311"/>
                  </a:cubicBezTo>
                  <a:cubicBezTo>
                    <a:pt x="311" y="311"/>
                    <a:pt x="311" y="311"/>
                    <a:pt x="311" y="311"/>
                  </a:cubicBezTo>
                  <a:cubicBezTo>
                    <a:pt x="312" y="311"/>
                    <a:pt x="312" y="310"/>
                    <a:pt x="313" y="310"/>
                  </a:cubicBezTo>
                  <a:cubicBezTo>
                    <a:pt x="313" y="310"/>
                    <a:pt x="314" y="310"/>
                    <a:pt x="314" y="310"/>
                  </a:cubicBezTo>
                  <a:cubicBezTo>
                    <a:pt x="315" y="310"/>
                    <a:pt x="315" y="310"/>
                    <a:pt x="315" y="311"/>
                  </a:cubicBezTo>
                  <a:cubicBezTo>
                    <a:pt x="315" y="311"/>
                    <a:pt x="316" y="309"/>
                    <a:pt x="317" y="309"/>
                  </a:cubicBezTo>
                  <a:cubicBezTo>
                    <a:pt x="317" y="309"/>
                    <a:pt x="317" y="309"/>
                    <a:pt x="317" y="309"/>
                  </a:cubicBezTo>
                  <a:cubicBezTo>
                    <a:pt x="318" y="309"/>
                    <a:pt x="320" y="309"/>
                    <a:pt x="320" y="310"/>
                  </a:cubicBezTo>
                  <a:cubicBezTo>
                    <a:pt x="321" y="309"/>
                    <a:pt x="320" y="307"/>
                    <a:pt x="320" y="307"/>
                  </a:cubicBezTo>
                  <a:cubicBezTo>
                    <a:pt x="320" y="305"/>
                    <a:pt x="321" y="304"/>
                    <a:pt x="321" y="303"/>
                  </a:cubicBezTo>
                  <a:cubicBezTo>
                    <a:pt x="322" y="300"/>
                    <a:pt x="322" y="299"/>
                    <a:pt x="320" y="296"/>
                  </a:cubicBezTo>
                  <a:cubicBezTo>
                    <a:pt x="319" y="295"/>
                    <a:pt x="318" y="294"/>
                    <a:pt x="318" y="293"/>
                  </a:cubicBezTo>
                  <a:cubicBezTo>
                    <a:pt x="318" y="292"/>
                    <a:pt x="317" y="292"/>
                    <a:pt x="317" y="292"/>
                  </a:cubicBezTo>
                  <a:cubicBezTo>
                    <a:pt x="318" y="292"/>
                    <a:pt x="318" y="292"/>
                    <a:pt x="318" y="292"/>
                  </a:cubicBezTo>
                  <a:cubicBezTo>
                    <a:pt x="318" y="292"/>
                    <a:pt x="318" y="292"/>
                    <a:pt x="318" y="292"/>
                  </a:cubicBezTo>
                  <a:cubicBezTo>
                    <a:pt x="319" y="292"/>
                    <a:pt x="319" y="292"/>
                    <a:pt x="319" y="292"/>
                  </a:cubicBezTo>
                  <a:cubicBezTo>
                    <a:pt x="320" y="292"/>
                    <a:pt x="320" y="292"/>
                    <a:pt x="321" y="292"/>
                  </a:cubicBezTo>
                  <a:cubicBezTo>
                    <a:pt x="322" y="292"/>
                    <a:pt x="323" y="293"/>
                    <a:pt x="324" y="295"/>
                  </a:cubicBezTo>
                  <a:cubicBezTo>
                    <a:pt x="324" y="296"/>
                    <a:pt x="324" y="297"/>
                    <a:pt x="324" y="298"/>
                  </a:cubicBezTo>
                  <a:cubicBezTo>
                    <a:pt x="324" y="299"/>
                    <a:pt x="321" y="300"/>
                    <a:pt x="323" y="301"/>
                  </a:cubicBezTo>
                  <a:cubicBezTo>
                    <a:pt x="323" y="301"/>
                    <a:pt x="323" y="301"/>
                    <a:pt x="324" y="301"/>
                  </a:cubicBezTo>
                  <a:cubicBezTo>
                    <a:pt x="324" y="301"/>
                    <a:pt x="327" y="300"/>
                    <a:pt x="327" y="299"/>
                  </a:cubicBezTo>
                  <a:cubicBezTo>
                    <a:pt x="328" y="299"/>
                    <a:pt x="328" y="299"/>
                    <a:pt x="329" y="299"/>
                  </a:cubicBezTo>
                  <a:cubicBezTo>
                    <a:pt x="329" y="299"/>
                    <a:pt x="329" y="299"/>
                    <a:pt x="330" y="299"/>
                  </a:cubicBezTo>
                  <a:cubicBezTo>
                    <a:pt x="330" y="299"/>
                    <a:pt x="330" y="299"/>
                    <a:pt x="331" y="299"/>
                  </a:cubicBezTo>
                  <a:cubicBezTo>
                    <a:pt x="331" y="299"/>
                    <a:pt x="331" y="299"/>
                    <a:pt x="331" y="299"/>
                  </a:cubicBezTo>
                  <a:cubicBezTo>
                    <a:pt x="333" y="299"/>
                    <a:pt x="335" y="299"/>
                    <a:pt x="336" y="299"/>
                  </a:cubicBezTo>
                  <a:cubicBezTo>
                    <a:pt x="337" y="299"/>
                    <a:pt x="337" y="299"/>
                    <a:pt x="338" y="299"/>
                  </a:cubicBezTo>
                  <a:cubicBezTo>
                    <a:pt x="340" y="299"/>
                    <a:pt x="344" y="299"/>
                    <a:pt x="346" y="300"/>
                  </a:cubicBezTo>
                  <a:cubicBezTo>
                    <a:pt x="346" y="302"/>
                    <a:pt x="343" y="301"/>
                    <a:pt x="342" y="303"/>
                  </a:cubicBezTo>
                  <a:cubicBezTo>
                    <a:pt x="341" y="305"/>
                    <a:pt x="341" y="306"/>
                    <a:pt x="339" y="306"/>
                  </a:cubicBezTo>
                  <a:cubicBezTo>
                    <a:pt x="339" y="306"/>
                    <a:pt x="338" y="306"/>
                    <a:pt x="338" y="306"/>
                  </a:cubicBezTo>
                  <a:cubicBezTo>
                    <a:pt x="335" y="305"/>
                    <a:pt x="333" y="305"/>
                    <a:pt x="331" y="305"/>
                  </a:cubicBezTo>
                  <a:cubicBezTo>
                    <a:pt x="330" y="305"/>
                    <a:pt x="329" y="304"/>
                    <a:pt x="327" y="304"/>
                  </a:cubicBezTo>
                  <a:cubicBezTo>
                    <a:pt x="327" y="304"/>
                    <a:pt x="326" y="304"/>
                    <a:pt x="326" y="304"/>
                  </a:cubicBezTo>
                  <a:cubicBezTo>
                    <a:pt x="326" y="303"/>
                    <a:pt x="326" y="303"/>
                    <a:pt x="326" y="303"/>
                  </a:cubicBezTo>
                  <a:cubicBezTo>
                    <a:pt x="326" y="303"/>
                    <a:pt x="325" y="303"/>
                    <a:pt x="324" y="303"/>
                  </a:cubicBezTo>
                  <a:cubicBezTo>
                    <a:pt x="324" y="303"/>
                    <a:pt x="324" y="303"/>
                    <a:pt x="323" y="303"/>
                  </a:cubicBezTo>
                  <a:cubicBezTo>
                    <a:pt x="325" y="303"/>
                    <a:pt x="325" y="305"/>
                    <a:pt x="323" y="305"/>
                  </a:cubicBezTo>
                  <a:cubicBezTo>
                    <a:pt x="324" y="305"/>
                    <a:pt x="325" y="306"/>
                    <a:pt x="325" y="306"/>
                  </a:cubicBezTo>
                  <a:cubicBezTo>
                    <a:pt x="325" y="306"/>
                    <a:pt x="323" y="306"/>
                    <a:pt x="323" y="307"/>
                  </a:cubicBezTo>
                  <a:cubicBezTo>
                    <a:pt x="323" y="307"/>
                    <a:pt x="326" y="308"/>
                    <a:pt x="323" y="308"/>
                  </a:cubicBezTo>
                  <a:cubicBezTo>
                    <a:pt x="325" y="310"/>
                    <a:pt x="320" y="313"/>
                    <a:pt x="323" y="315"/>
                  </a:cubicBezTo>
                  <a:cubicBezTo>
                    <a:pt x="323" y="315"/>
                    <a:pt x="324" y="315"/>
                    <a:pt x="324" y="315"/>
                  </a:cubicBezTo>
                  <a:cubicBezTo>
                    <a:pt x="325" y="315"/>
                    <a:pt x="326" y="315"/>
                    <a:pt x="327" y="315"/>
                  </a:cubicBezTo>
                  <a:cubicBezTo>
                    <a:pt x="327" y="314"/>
                    <a:pt x="328" y="314"/>
                    <a:pt x="329" y="314"/>
                  </a:cubicBezTo>
                  <a:cubicBezTo>
                    <a:pt x="330" y="314"/>
                    <a:pt x="331" y="315"/>
                    <a:pt x="331" y="316"/>
                  </a:cubicBezTo>
                  <a:cubicBezTo>
                    <a:pt x="334" y="320"/>
                    <a:pt x="332" y="327"/>
                    <a:pt x="332" y="332"/>
                  </a:cubicBezTo>
                  <a:cubicBezTo>
                    <a:pt x="334" y="333"/>
                    <a:pt x="334" y="333"/>
                    <a:pt x="334" y="333"/>
                  </a:cubicBezTo>
                  <a:cubicBezTo>
                    <a:pt x="335" y="334"/>
                    <a:pt x="336" y="334"/>
                    <a:pt x="337" y="335"/>
                  </a:cubicBezTo>
                  <a:cubicBezTo>
                    <a:pt x="348" y="341"/>
                    <a:pt x="357" y="346"/>
                    <a:pt x="359" y="350"/>
                  </a:cubicBezTo>
                  <a:cubicBezTo>
                    <a:pt x="361" y="354"/>
                    <a:pt x="365" y="359"/>
                    <a:pt x="366" y="359"/>
                  </a:cubicBezTo>
                  <a:cubicBezTo>
                    <a:pt x="369" y="362"/>
                    <a:pt x="372" y="365"/>
                    <a:pt x="374" y="368"/>
                  </a:cubicBezTo>
                  <a:cubicBezTo>
                    <a:pt x="375" y="368"/>
                    <a:pt x="376" y="369"/>
                    <a:pt x="376" y="370"/>
                  </a:cubicBezTo>
                  <a:cubicBezTo>
                    <a:pt x="377" y="370"/>
                    <a:pt x="377" y="370"/>
                    <a:pt x="377" y="370"/>
                  </a:cubicBezTo>
                  <a:cubicBezTo>
                    <a:pt x="377" y="371"/>
                    <a:pt x="378" y="371"/>
                    <a:pt x="379" y="372"/>
                  </a:cubicBezTo>
                  <a:cubicBezTo>
                    <a:pt x="379" y="373"/>
                    <a:pt x="380" y="373"/>
                    <a:pt x="380" y="373"/>
                  </a:cubicBezTo>
                  <a:cubicBezTo>
                    <a:pt x="381" y="373"/>
                    <a:pt x="381" y="373"/>
                    <a:pt x="381" y="373"/>
                  </a:cubicBezTo>
                  <a:cubicBezTo>
                    <a:pt x="381" y="373"/>
                    <a:pt x="382" y="373"/>
                    <a:pt x="382" y="373"/>
                  </a:cubicBezTo>
                  <a:cubicBezTo>
                    <a:pt x="385" y="373"/>
                    <a:pt x="389" y="372"/>
                    <a:pt x="392" y="371"/>
                  </a:cubicBezTo>
                  <a:cubicBezTo>
                    <a:pt x="397" y="370"/>
                    <a:pt x="402" y="369"/>
                    <a:pt x="408" y="369"/>
                  </a:cubicBezTo>
                  <a:cubicBezTo>
                    <a:pt x="409" y="369"/>
                    <a:pt x="410" y="369"/>
                    <a:pt x="411" y="369"/>
                  </a:cubicBezTo>
                  <a:cubicBezTo>
                    <a:pt x="415" y="369"/>
                    <a:pt x="419" y="369"/>
                    <a:pt x="422" y="370"/>
                  </a:cubicBezTo>
                  <a:cubicBezTo>
                    <a:pt x="424" y="370"/>
                    <a:pt x="424" y="370"/>
                    <a:pt x="424" y="370"/>
                  </a:cubicBezTo>
                  <a:cubicBezTo>
                    <a:pt x="426" y="370"/>
                    <a:pt x="429" y="370"/>
                    <a:pt x="431" y="370"/>
                  </a:cubicBezTo>
                  <a:cubicBezTo>
                    <a:pt x="438" y="371"/>
                    <a:pt x="438" y="371"/>
                    <a:pt x="438" y="371"/>
                  </a:cubicBezTo>
                  <a:cubicBezTo>
                    <a:pt x="440" y="370"/>
                    <a:pt x="441" y="370"/>
                    <a:pt x="442" y="370"/>
                  </a:cubicBezTo>
                  <a:cubicBezTo>
                    <a:pt x="443" y="369"/>
                    <a:pt x="443" y="369"/>
                    <a:pt x="443" y="369"/>
                  </a:cubicBezTo>
                  <a:cubicBezTo>
                    <a:pt x="443" y="369"/>
                    <a:pt x="443" y="369"/>
                    <a:pt x="444" y="369"/>
                  </a:cubicBezTo>
                  <a:cubicBezTo>
                    <a:pt x="446" y="367"/>
                    <a:pt x="448" y="366"/>
                    <a:pt x="450" y="366"/>
                  </a:cubicBezTo>
                  <a:cubicBezTo>
                    <a:pt x="450" y="366"/>
                    <a:pt x="451" y="366"/>
                    <a:pt x="451" y="366"/>
                  </a:cubicBezTo>
                  <a:cubicBezTo>
                    <a:pt x="452" y="366"/>
                    <a:pt x="453" y="367"/>
                    <a:pt x="455" y="369"/>
                  </a:cubicBezTo>
                  <a:cubicBezTo>
                    <a:pt x="456" y="370"/>
                    <a:pt x="458" y="371"/>
                    <a:pt x="459" y="373"/>
                  </a:cubicBezTo>
                  <a:cubicBezTo>
                    <a:pt x="461" y="375"/>
                    <a:pt x="461" y="375"/>
                    <a:pt x="461" y="375"/>
                  </a:cubicBezTo>
                  <a:cubicBezTo>
                    <a:pt x="462" y="376"/>
                    <a:pt x="462" y="376"/>
                    <a:pt x="462" y="376"/>
                  </a:cubicBezTo>
                  <a:cubicBezTo>
                    <a:pt x="464" y="377"/>
                    <a:pt x="464" y="377"/>
                    <a:pt x="464" y="377"/>
                  </a:cubicBezTo>
                  <a:cubicBezTo>
                    <a:pt x="467" y="380"/>
                    <a:pt x="469" y="382"/>
                    <a:pt x="472" y="385"/>
                  </a:cubicBezTo>
                  <a:cubicBezTo>
                    <a:pt x="473" y="387"/>
                    <a:pt x="473" y="387"/>
                    <a:pt x="473" y="387"/>
                  </a:cubicBezTo>
                  <a:cubicBezTo>
                    <a:pt x="474" y="388"/>
                    <a:pt x="474" y="388"/>
                    <a:pt x="474" y="388"/>
                  </a:cubicBezTo>
                  <a:cubicBezTo>
                    <a:pt x="475" y="389"/>
                    <a:pt x="475" y="390"/>
                    <a:pt x="476" y="390"/>
                  </a:cubicBezTo>
                  <a:cubicBezTo>
                    <a:pt x="478" y="389"/>
                    <a:pt x="478" y="389"/>
                    <a:pt x="478" y="389"/>
                  </a:cubicBezTo>
                  <a:cubicBezTo>
                    <a:pt x="479" y="389"/>
                    <a:pt x="479" y="389"/>
                    <a:pt x="480" y="389"/>
                  </a:cubicBezTo>
                  <a:cubicBezTo>
                    <a:pt x="481" y="389"/>
                    <a:pt x="482" y="389"/>
                    <a:pt x="482" y="390"/>
                  </a:cubicBezTo>
                  <a:cubicBezTo>
                    <a:pt x="484" y="392"/>
                    <a:pt x="484" y="395"/>
                    <a:pt x="483" y="400"/>
                  </a:cubicBezTo>
                  <a:cubicBezTo>
                    <a:pt x="483" y="400"/>
                    <a:pt x="483" y="400"/>
                    <a:pt x="483" y="400"/>
                  </a:cubicBezTo>
                  <a:cubicBezTo>
                    <a:pt x="482" y="402"/>
                    <a:pt x="482" y="404"/>
                    <a:pt x="482" y="405"/>
                  </a:cubicBezTo>
                  <a:cubicBezTo>
                    <a:pt x="482" y="407"/>
                    <a:pt x="481" y="409"/>
                    <a:pt x="481" y="411"/>
                  </a:cubicBezTo>
                  <a:cubicBezTo>
                    <a:pt x="481" y="412"/>
                    <a:pt x="481" y="412"/>
                    <a:pt x="481" y="413"/>
                  </a:cubicBezTo>
                  <a:cubicBezTo>
                    <a:pt x="481" y="414"/>
                    <a:pt x="481" y="414"/>
                    <a:pt x="481" y="414"/>
                  </a:cubicBezTo>
                  <a:cubicBezTo>
                    <a:pt x="481" y="414"/>
                    <a:pt x="481" y="415"/>
                    <a:pt x="481" y="416"/>
                  </a:cubicBezTo>
                  <a:cubicBezTo>
                    <a:pt x="481" y="416"/>
                    <a:pt x="481" y="417"/>
                    <a:pt x="481" y="418"/>
                  </a:cubicBezTo>
                  <a:cubicBezTo>
                    <a:pt x="482" y="418"/>
                    <a:pt x="482" y="418"/>
                    <a:pt x="482" y="418"/>
                  </a:cubicBezTo>
                  <a:cubicBezTo>
                    <a:pt x="482" y="418"/>
                    <a:pt x="482" y="418"/>
                    <a:pt x="482" y="418"/>
                  </a:cubicBezTo>
                  <a:cubicBezTo>
                    <a:pt x="482" y="418"/>
                    <a:pt x="483" y="418"/>
                    <a:pt x="483" y="418"/>
                  </a:cubicBezTo>
                  <a:cubicBezTo>
                    <a:pt x="484" y="418"/>
                    <a:pt x="484" y="418"/>
                    <a:pt x="484" y="418"/>
                  </a:cubicBezTo>
                  <a:cubicBezTo>
                    <a:pt x="485" y="417"/>
                    <a:pt x="486" y="417"/>
                    <a:pt x="487" y="417"/>
                  </a:cubicBezTo>
                  <a:cubicBezTo>
                    <a:pt x="489" y="417"/>
                    <a:pt x="490" y="418"/>
                    <a:pt x="492" y="419"/>
                  </a:cubicBezTo>
                  <a:cubicBezTo>
                    <a:pt x="493" y="420"/>
                    <a:pt x="493" y="421"/>
                    <a:pt x="493" y="422"/>
                  </a:cubicBezTo>
                  <a:cubicBezTo>
                    <a:pt x="493" y="423"/>
                    <a:pt x="493" y="424"/>
                    <a:pt x="493" y="425"/>
                  </a:cubicBezTo>
                  <a:cubicBezTo>
                    <a:pt x="493" y="425"/>
                    <a:pt x="493" y="425"/>
                    <a:pt x="493" y="425"/>
                  </a:cubicBezTo>
                  <a:cubicBezTo>
                    <a:pt x="493" y="426"/>
                    <a:pt x="493" y="426"/>
                    <a:pt x="493" y="426"/>
                  </a:cubicBezTo>
                  <a:cubicBezTo>
                    <a:pt x="494" y="429"/>
                    <a:pt x="495" y="432"/>
                    <a:pt x="495" y="435"/>
                  </a:cubicBezTo>
                  <a:cubicBezTo>
                    <a:pt x="496" y="438"/>
                    <a:pt x="496" y="438"/>
                    <a:pt x="496" y="438"/>
                  </a:cubicBezTo>
                  <a:cubicBezTo>
                    <a:pt x="497" y="440"/>
                    <a:pt x="497" y="440"/>
                    <a:pt x="497" y="440"/>
                  </a:cubicBezTo>
                  <a:cubicBezTo>
                    <a:pt x="498" y="442"/>
                    <a:pt x="498" y="442"/>
                    <a:pt x="498" y="442"/>
                  </a:cubicBezTo>
                  <a:cubicBezTo>
                    <a:pt x="517" y="442"/>
                    <a:pt x="517" y="442"/>
                    <a:pt x="517" y="442"/>
                  </a:cubicBezTo>
                  <a:cubicBezTo>
                    <a:pt x="517" y="442"/>
                    <a:pt x="518" y="442"/>
                    <a:pt x="518" y="442"/>
                  </a:cubicBezTo>
                  <a:cubicBezTo>
                    <a:pt x="520" y="442"/>
                    <a:pt x="521" y="441"/>
                    <a:pt x="522" y="441"/>
                  </a:cubicBezTo>
                  <a:cubicBezTo>
                    <a:pt x="523" y="441"/>
                    <a:pt x="523" y="441"/>
                    <a:pt x="524" y="442"/>
                  </a:cubicBezTo>
                  <a:cubicBezTo>
                    <a:pt x="524" y="442"/>
                    <a:pt x="524" y="442"/>
                    <a:pt x="524" y="442"/>
                  </a:cubicBezTo>
                  <a:cubicBezTo>
                    <a:pt x="525" y="442"/>
                    <a:pt x="525" y="442"/>
                    <a:pt x="526" y="442"/>
                  </a:cubicBezTo>
                  <a:cubicBezTo>
                    <a:pt x="526" y="442"/>
                    <a:pt x="526" y="442"/>
                    <a:pt x="526" y="442"/>
                  </a:cubicBezTo>
                  <a:cubicBezTo>
                    <a:pt x="527" y="443"/>
                    <a:pt x="527" y="443"/>
                    <a:pt x="527" y="443"/>
                  </a:cubicBezTo>
                  <a:cubicBezTo>
                    <a:pt x="527" y="444"/>
                    <a:pt x="527" y="444"/>
                    <a:pt x="527" y="444"/>
                  </a:cubicBezTo>
                  <a:cubicBezTo>
                    <a:pt x="528" y="444"/>
                    <a:pt x="528" y="444"/>
                    <a:pt x="528" y="444"/>
                  </a:cubicBezTo>
                  <a:cubicBezTo>
                    <a:pt x="528" y="444"/>
                    <a:pt x="528" y="444"/>
                    <a:pt x="528" y="444"/>
                  </a:cubicBezTo>
                  <a:cubicBezTo>
                    <a:pt x="529" y="445"/>
                    <a:pt x="530" y="445"/>
                    <a:pt x="530" y="446"/>
                  </a:cubicBezTo>
                  <a:cubicBezTo>
                    <a:pt x="531" y="446"/>
                    <a:pt x="532" y="447"/>
                    <a:pt x="532" y="449"/>
                  </a:cubicBezTo>
                  <a:cubicBezTo>
                    <a:pt x="532" y="449"/>
                    <a:pt x="532" y="449"/>
                    <a:pt x="532" y="450"/>
                  </a:cubicBezTo>
                  <a:cubicBezTo>
                    <a:pt x="533" y="451"/>
                    <a:pt x="532" y="453"/>
                    <a:pt x="531" y="455"/>
                  </a:cubicBezTo>
                  <a:cubicBezTo>
                    <a:pt x="533" y="456"/>
                    <a:pt x="535" y="457"/>
                    <a:pt x="538" y="458"/>
                  </a:cubicBezTo>
                  <a:cubicBezTo>
                    <a:pt x="539" y="459"/>
                    <a:pt x="539" y="459"/>
                    <a:pt x="539" y="459"/>
                  </a:cubicBezTo>
                  <a:cubicBezTo>
                    <a:pt x="539" y="458"/>
                    <a:pt x="539" y="457"/>
                    <a:pt x="539" y="457"/>
                  </a:cubicBezTo>
                  <a:cubicBezTo>
                    <a:pt x="539" y="454"/>
                    <a:pt x="539" y="454"/>
                    <a:pt x="539" y="454"/>
                  </a:cubicBezTo>
                  <a:cubicBezTo>
                    <a:pt x="539" y="449"/>
                    <a:pt x="543" y="446"/>
                    <a:pt x="546" y="444"/>
                  </a:cubicBezTo>
                  <a:cubicBezTo>
                    <a:pt x="547" y="444"/>
                    <a:pt x="548" y="443"/>
                    <a:pt x="548" y="443"/>
                  </a:cubicBezTo>
                  <a:cubicBezTo>
                    <a:pt x="549" y="442"/>
                    <a:pt x="549" y="442"/>
                    <a:pt x="549" y="442"/>
                  </a:cubicBezTo>
                  <a:cubicBezTo>
                    <a:pt x="549" y="442"/>
                    <a:pt x="549" y="442"/>
                    <a:pt x="549" y="442"/>
                  </a:cubicBezTo>
                  <a:cubicBezTo>
                    <a:pt x="550" y="441"/>
                    <a:pt x="550" y="441"/>
                    <a:pt x="550" y="441"/>
                  </a:cubicBezTo>
                  <a:cubicBezTo>
                    <a:pt x="551" y="440"/>
                    <a:pt x="553" y="438"/>
                    <a:pt x="554" y="437"/>
                  </a:cubicBezTo>
                  <a:cubicBezTo>
                    <a:pt x="554" y="437"/>
                    <a:pt x="554" y="437"/>
                    <a:pt x="554" y="437"/>
                  </a:cubicBezTo>
                  <a:cubicBezTo>
                    <a:pt x="555" y="436"/>
                    <a:pt x="555" y="436"/>
                    <a:pt x="555" y="436"/>
                  </a:cubicBezTo>
                  <a:cubicBezTo>
                    <a:pt x="558" y="435"/>
                    <a:pt x="560" y="433"/>
                    <a:pt x="562" y="432"/>
                  </a:cubicBezTo>
                  <a:cubicBezTo>
                    <a:pt x="566" y="429"/>
                    <a:pt x="569" y="426"/>
                    <a:pt x="573" y="424"/>
                  </a:cubicBezTo>
                  <a:cubicBezTo>
                    <a:pt x="595" y="412"/>
                    <a:pt x="595" y="412"/>
                    <a:pt x="595" y="412"/>
                  </a:cubicBezTo>
                  <a:cubicBezTo>
                    <a:pt x="594" y="412"/>
                    <a:pt x="594" y="411"/>
                    <a:pt x="595" y="410"/>
                  </a:cubicBezTo>
                  <a:cubicBezTo>
                    <a:pt x="595" y="409"/>
                    <a:pt x="596" y="408"/>
                    <a:pt x="597" y="407"/>
                  </a:cubicBezTo>
                  <a:cubicBezTo>
                    <a:pt x="597" y="406"/>
                    <a:pt x="599" y="405"/>
                    <a:pt x="600" y="404"/>
                  </a:cubicBezTo>
                  <a:cubicBezTo>
                    <a:pt x="601" y="402"/>
                    <a:pt x="601" y="402"/>
                    <a:pt x="601" y="402"/>
                  </a:cubicBezTo>
                  <a:cubicBezTo>
                    <a:pt x="602" y="402"/>
                    <a:pt x="602" y="401"/>
                    <a:pt x="602" y="401"/>
                  </a:cubicBezTo>
                  <a:cubicBezTo>
                    <a:pt x="603" y="400"/>
                    <a:pt x="605" y="398"/>
                    <a:pt x="606" y="397"/>
                  </a:cubicBezTo>
                  <a:cubicBezTo>
                    <a:pt x="607" y="397"/>
                    <a:pt x="607" y="396"/>
                    <a:pt x="608" y="396"/>
                  </a:cubicBezTo>
                  <a:cubicBezTo>
                    <a:pt x="609" y="396"/>
                    <a:pt x="610" y="395"/>
                    <a:pt x="611" y="395"/>
                  </a:cubicBezTo>
                  <a:cubicBezTo>
                    <a:pt x="612" y="395"/>
                    <a:pt x="612" y="395"/>
                    <a:pt x="613" y="396"/>
                  </a:cubicBezTo>
                  <a:cubicBezTo>
                    <a:pt x="614" y="396"/>
                    <a:pt x="614" y="396"/>
                    <a:pt x="614" y="396"/>
                  </a:cubicBezTo>
                  <a:cubicBezTo>
                    <a:pt x="614" y="396"/>
                    <a:pt x="615" y="396"/>
                    <a:pt x="615" y="396"/>
                  </a:cubicBezTo>
                  <a:cubicBezTo>
                    <a:pt x="627" y="395"/>
                    <a:pt x="627" y="395"/>
                    <a:pt x="627" y="395"/>
                  </a:cubicBezTo>
                  <a:cubicBezTo>
                    <a:pt x="627" y="395"/>
                    <a:pt x="627" y="395"/>
                    <a:pt x="628" y="395"/>
                  </a:cubicBezTo>
                  <a:cubicBezTo>
                    <a:pt x="630" y="395"/>
                    <a:pt x="633" y="396"/>
                    <a:pt x="636" y="397"/>
                  </a:cubicBezTo>
                  <a:cubicBezTo>
                    <a:pt x="641" y="398"/>
                    <a:pt x="648" y="400"/>
                    <a:pt x="653" y="402"/>
                  </a:cubicBezTo>
                  <a:cubicBezTo>
                    <a:pt x="656" y="403"/>
                    <a:pt x="656" y="403"/>
                    <a:pt x="656" y="403"/>
                  </a:cubicBezTo>
                  <a:cubicBezTo>
                    <a:pt x="657" y="403"/>
                    <a:pt x="657" y="404"/>
                    <a:pt x="658" y="404"/>
                  </a:cubicBezTo>
                  <a:cubicBezTo>
                    <a:pt x="657" y="397"/>
                    <a:pt x="659" y="389"/>
                    <a:pt x="667" y="386"/>
                  </a:cubicBezTo>
                  <a:cubicBezTo>
                    <a:pt x="665" y="379"/>
                    <a:pt x="665" y="379"/>
                    <a:pt x="665" y="379"/>
                  </a:cubicBezTo>
                  <a:cubicBezTo>
                    <a:pt x="668" y="385"/>
                    <a:pt x="668" y="385"/>
                    <a:pt x="668" y="385"/>
                  </a:cubicBezTo>
                  <a:cubicBezTo>
                    <a:pt x="671" y="383"/>
                    <a:pt x="674" y="382"/>
                    <a:pt x="677" y="382"/>
                  </a:cubicBezTo>
                  <a:cubicBezTo>
                    <a:pt x="678" y="382"/>
                    <a:pt x="678" y="382"/>
                    <a:pt x="678" y="382"/>
                  </a:cubicBezTo>
                  <a:cubicBezTo>
                    <a:pt x="679" y="382"/>
                    <a:pt x="679" y="382"/>
                    <a:pt x="679" y="383"/>
                  </a:cubicBezTo>
                  <a:cubicBezTo>
                    <a:pt x="682" y="383"/>
                    <a:pt x="685" y="383"/>
                    <a:pt x="688" y="385"/>
                  </a:cubicBezTo>
                  <a:cubicBezTo>
                    <a:pt x="689" y="386"/>
                    <a:pt x="690" y="386"/>
                    <a:pt x="691" y="387"/>
                  </a:cubicBezTo>
                  <a:cubicBezTo>
                    <a:pt x="692" y="387"/>
                    <a:pt x="692" y="387"/>
                    <a:pt x="692" y="387"/>
                  </a:cubicBezTo>
                  <a:cubicBezTo>
                    <a:pt x="693" y="388"/>
                    <a:pt x="693" y="388"/>
                    <a:pt x="693" y="388"/>
                  </a:cubicBezTo>
                  <a:cubicBezTo>
                    <a:pt x="694" y="389"/>
                    <a:pt x="695" y="389"/>
                    <a:pt x="697" y="390"/>
                  </a:cubicBezTo>
                  <a:cubicBezTo>
                    <a:pt x="698" y="390"/>
                    <a:pt x="698" y="390"/>
                    <a:pt x="698" y="390"/>
                  </a:cubicBezTo>
                  <a:cubicBezTo>
                    <a:pt x="699" y="390"/>
                    <a:pt x="700" y="391"/>
                    <a:pt x="701" y="391"/>
                  </a:cubicBezTo>
                  <a:cubicBezTo>
                    <a:pt x="702" y="391"/>
                    <a:pt x="702" y="391"/>
                    <a:pt x="702" y="391"/>
                  </a:cubicBezTo>
                  <a:cubicBezTo>
                    <a:pt x="703" y="392"/>
                    <a:pt x="704" y="392"/>
                    <a:pt x="705" y="392"/>
                  </a:cubicBezTo>
                  <a:cubicBezTo>
                    <a:pt x="707" y="392"/>
                    <a:pt x="707" y="392"/>
                    <a:pt x="707" y="392"/>
                  </a:cubicBezTo>
                  <a:cubicBezTo>
                    <a:pt x="707" y="392"/>
                    <a:pt x="707" y="393"/>
                    <a:pt x="708" y="393"/>
                  </a:cubicBezTo>
                  <a:cubicBezTo>
                    <a:pt x="708" y="393"/>
                    <a:pt x="708" y="393"/>
                    <a:pt x="708" y="393"/>
                  </a:cubicBezTo>
                  <a:cubicBezTo>
                    <a:pt x="709" y="393"/>
                    <a:pt x="710" y="392"/>
                    <a:pt x="711" y="392"/>
                  </a:cubicBezTo>
                  <a:cubicBezTo>
                    <a:pt x="711" y="392"/>
                    <a:pt x="711" y="392"/>
                    <a:pt x="711" y="392"/>
                  </a:cubicBezTo>
                  <a:cubicBezTo>
                    <a:pt x="712" y="392"/>
                    <a:pt x="713" y="392"/>
                    <a:pt x="714" y="391"/>
                  </a:cubicBezTo>
                  <a:cubicBezTo>
                    <a:pt x="715" y="391"/>
                    <a:pt x="716" y="390"/>
                    <a:pt x="717" y="390"/>
                  </a:cubicBezTo>
                  <a:cubicBezTo>
                    <a:pt x="718" y="390"/>
                    <a:pt x="718" y="390"/>
                    <a:pt x="718" y="390"/>
                  </a:cubicBezTo>
                  <a:cubicBezTo>
                    <a:pt x="718" y="390"/>
                    <a:pt x="719" y="390"/>
                    <a:pt x="720" y="390"/>
                  </a:cubicBezTo>
                  <a:cubicBezTo>
                    <a:pt x="721" y="390"/>
                    <a:pt x="723" y="390"/>
                    <a:pt x="725" y="390"/>
                  </a:cubicBezTo>
                  <a:cubicBezTo>
                    <a:pt x="727" y="390"/>
                    <a:pt x="730" y="390"/>
                    <a:pt x="733" y="390"/>
                  </a:cubicBezTo>
                  <a:cubicBezTo>
                    <a:pt x="733" y="390"/>
                    <a:pt x="733" y="390"/>
                    <a:pt x="733" y="390"/>
                  </a:cubicBezTo>
                  <a:cubicBezTo>
                    <a:pt x="735" y="390"/>
                    <a:pt x="737" y="390"/>
                    <a:pt x="739" y="390"/>
                  </a:cubicBezTo>
                  <a:cubicBezTo>
                    <a:pt x="742" y="390"/>
                    <a:pt x="742" y="390"/>
                    <a:pt x="742" y="390"/>
                  </a:cubicBezTo>
                  <a:cubicBezTo>
                    <a:pt x="747" y="391"/>
                    <a:pt x="752" y="391"/>
                    <a:pt x="757" y="391"/>
                  </a:cubicBezTo>
                  <a:cubicBezTo>
                    <a:pt x="757" y="386"/>
                    <a:pt x="757" y="386"/>
                    <a:pt x="757" y="386"/>
                  </a:cubicBezTo>
                  <a:cubicBezTo>
                    <a:pt x="759" y="391"/>
                    <a:pt x="759" y="391"/>
                    <a:pt x="759" y="391"/>
                  </a:cubicBezTo>
                  <a:cubicBezTo>
                    <a:pt x="759" y="391"/>
                    <a:pt x="759" y="391"/>
                    <a:pt x="759" y="391"/>
                  </a:cubicBezTo>
                  <a:cubicBezTo>
                    <a:pt x="761" y="391"/>
                    <a:pt x="762" y="391"/>
                    <a:pt x="764" y="391"/>
                  </a:cubicBezTo>
                  <a:cubicBezTo>
                    <a:pt x="768" y="392"/>
                    <a:pt x="773" y="392"/>
                    <a:pt x="777" y="392"/>
                  </a:cubicBezTo>
                  <a:cubicBezTo>
                    <a:pt x="778" y="392"/>
                    <a:pt x="779" y="392"/>
                    <a:pt x="780" y="392"/>
                  </a:cubicBezTo>
                  <a:cubicBezTo>
                    <a:pt x="781" y="392"/>
                    <a:pt x="781" y="392"/>
                    <a:pt x="781" y="392"/>
                  </a:cubicBezTo>
                  <a:cubicBezTo>
                    <a:pt x="782" y="392"/>
                    <a:pt x="782" y="392"/>
                    <a:pt x="783" y="392"/>
                  </a:cubicBezTo>
                  <a:cubicBezTo>
                    <a:pt x="783" y="392"/>
                    <a:pt x="784" y="392"/>
                    <a:pt x="784" y="392"/>
                  </a:cubicBezTo>
                  <a:cubicBezTo>
                    <a:pt x="786" y="392"/>
                    <a:pt x="787" y="392"/>
                    <a:pt x="788" y="392"/>
                  </a:cubicBezTo>
                  <a:cubicBezTo>
                    <a:pt x="789" y="393"/>
                    <a:pt x="790" y="393"/>
                    <a:pt x="791" y="393"/>
                  </a:cubicBezTo>
                  <a:cubicBezTo>
                    <a:pt x="793" y="394"/>
                    <a:pt x="793" y="394"/>
                    <a:pt x="793" y="394"/>
                  </a:cubicBezTo>
                  <a:cubicBezTo>
                    <a:pt x="794" y="394"/>
                    <a:pt x="795" y="395"/>
                    <a:pt x="796" y="395"/>
                  </a:cubicBezTo>
                  <a:cubicBezTo>
                    <a:pt x="797" y="395"/>
                    <a:pt x="797" y="395"/>
                    <a:pt x="797" y="395"/>
                  </a:cubicBezTo>
                  <a:cubicBezTo>
                    <a:pt x="798" y="394"/>
                    <a:pt x="799" y="394"/>
                    <a:pt x="800" y="394"/>
                  </a:cubicBezTo>
                  <a:cubicBezTo>
                    <a:pt x="800" y="394"/>
                    <a:pt x="800" y="394"/>
                    <a:pt x="801" y="394"/>
                  </a:cubicBezTo>
                  <a:cubicBezTo>
                    <a:pt x="802" y="394"/>
                    <a:pt x="802" y="394"/>
                    <a:pt x="802" y="394"/>
                  </a:cubicBezTo>
                  <a:cubicBezTo>
                    <a:pt x="804" y="395"/>
                    <a:pt x="806" y="398"/>
                    <a:pt x="808" y="401"/>
                  </a:cubicBezTo>
                  <a:cubicBezTo>
                    <a:pt x="808" y="402"/>
                    <a:pt x="808" y="402"/>
                    <a:pt x="808" y="402"/>
                  </a:cubicBezTo>
                  <a:cubicBezTo>
                    <a:pt x="809" y="404"/>
                    <a:pt x="810" y="404"/>
                    <a:pt x="813" y="404"/>
                  </a:cubicBezTo>
                  <a:cubicBezTo>
                    <a:pt x="813" y="404"/>
                    <a:pt x="813" y="404"/>
                    <a:pt x="813" y="404"/>
                  </a:cubicBezTo>
                  <a:cubicBezTo>
                    <a:pt x="814" y="404"/>
                    <a:pt x="815" y="404"/>
                    <a:pt x="816" y="404"/>
                  </a:cubicBezTo>
                  <a:cubicBezTo>
                    <a:pt x="817" y="405"/>
                    <a:pt x="817" y="405"/>
                    <a:pt x="817" y="405"/>
                  </a:cubicBezTo>
                  <a:cubicBezTo>
                    <a:pt x="818" y="405"/>
                    <a:pt x="819" y="405"/>
                    <a:pt x="820" y="406"/>
                  </a:cubicBezTo>
                  <a:cubicBezTo>
                    <a:pt x="822" y="406"/>
                    <a:pt x="823" y="407"/>
                    <a:pt x="824" y="407"/>
                  </a:cubicBezTo>
                  <a:cubicBezTo>
                    <a:pt x="824" y="408"/>
                    <a:pt x="824" y="408"/>
                    <a:pt x="824" y="408"/>
                  </a:cubicBezTo>
                  <a:cubicBezTo>
                    <a:pt x="824" y="407"/>
                    <a:pt x="824" y="407"/>
                    <a:pt x="824" y="407"/>
                  </a:cubicBezTo>
                  <a:cubicBezTo>
                    <a:pt x="824" y="405"/>
                    <a:pt x="824" y="405"/>
                    <a:pt x="824" y="405"/>
                  </a:cubicBezTo>
                  <a:cubicBezTo>
                    <a:pt x="823" y="402"/>
                    <a:pt x="823" y="400"/>
                    <a:pt x="825" y="396"/>
                  </a:cubicBezTo>
                  <a:cubicBezTo>
                    <a:pt x="826" y="394"/>
                    <a:pt x="827" y="393"/>
                    <a:pt x="829" y="393"/>
                  </a:cubicBezTo>
                  <a:cubicBezTo>
                    <a:pt x="829" y="393"/>
                    <a:pt x="829" y="393"/>
                    <a:pt x="829" y="393"/>
                  </a:cubicBezTo>
                  <a:cubicBezTo>
                    <a:pt x="828" y="392"/>
                    <a:pt x="828" y="390"/>
                    <a:pt x="828" y="389"/>
                  </a:cubicBezTo>
                  <a:cubicBezTo>
                    <a:pt x="830" y="386"/>
                    <a:pt x="833" y="385"/>
                    <a:pt x="837" y="385"/>
                  </a:cubicBezTo>
                  <a:cubicBezTo>
                    <a:pt x="837" y="385"/>
                    <a:pt x="838" y="384"/>
                    <a:pt x="838" y="384"/>
                  </a:cubicBezTo>
                  <a:cubicBezTo>
                    <a:pt x="838" y="383"/>
                    <a:pt x="837" y="381"/>
                    <a:pt x="837" y="380"/>
                  </a:cubicBezTo>
                  <a:cubicBezTo>
                    <a:pt x="837" y="379"/>
                    <a:pt x="837" y="379"/>
                    <a:pt x="837" y="379"/>
                  </a:cubicBezTo>
                  <a:cubicBezTo>
                    <a:pt x="837" y="378"/>
                    <a:pt x="837" y="378"/>
                    <a:pt x="837" y="378"/>
                  </a:cubicBezTo>
                  <a:cubicBezTo>
                    <a:pt x="837" y="378"/>
                    <a:pt x="836" y="377"/>
                    <a:pt x="836" y="376"/>
                  </a:cubicBezTo>
                  <a:cubicBezTo>
                    <a:pt x="836" y="376"/>
                    <a:pt x="836" y="376"/>
                    <a:pt x="836" y="376"/>
                  </a:cubicBezTo>
                  <a:cubicBezTo>
                    <a:pt x="834" y="373"/>
                    <a:pt x="833" y="371"/>
                    <a:pt x="832" y="369"/>
                  </a:cubicBezTo>
                  <a:cubicBezTo>
                    <a:pt x="832" y="367"/>
                    <a:pt x="831" y="366"/>
                    <a:pt x="831" y="365"/>
                  </a:cubicBezTo>
                  <a:cubicBezTo>
                    <a:pt x="829" y="361"/>
                    <a:pt x="829" y="358"/>
                    <a:pt x="828" y="354"/>
                  </a:cubicBezTo>
                  <a:cubicBezTo>
                    <a:pt x="828" y="352"/>
                    <a:pt x="828" y="352"/>
                    <a:pt x="828" y="352"/>
                  </a:cubicBezTo>
                  <a:cubicBezTo>
                    <a:pt x="827" y="349"/>
                    <a:pt x="827" y="345"/>
                    <a:pt x="828" y="342"/>
                  </a:cubicBezTo>
                  <a:cubicBezTo>
                    <a:pt x="828" y="341"/>
                    <a:pt x="828" y="340"/>
                    <a:pt x="829" y="340"/>
                  </a:cubicBezTo>
                  <a:cubicBezTo>
                    <a:pt x="828" y="340"/>
                    <a:pt x="827" y="340"/>
                    <a:pt x="826" y="339"/>
                  </a:cubicBezTo>
                  <a:cubicBezTo>
                    <a:pt x="826" y="340"/>
                    <a:pt x="825" y="340"/>
                    <a:pt x="825" y="340"/>
                  </a:cubicBezTo>
                  <a:cubicBezTo>
                    <a:pt x="824" y="340"/>
                    <a:pt x="824" y="340"/>
                    <a:pt x="823" y="340"/>
                  </a:cubicBezTo>
                  <a:cubicBezTo>
                    <a:pt x="821" y="340"/>
                    <a:pt x="820" y="340"/>
                    <a:pt x="818" y="338"/>
                  </a:cubicBezTo>
                  <a:cubicBezTo>
                    <a:pt x="818" y="338"/>
                    <a:pt x="818" y="338"/>
                    <a:pt x="818" y="338"/>
                  </a:cubicBezTo>
                  <a:cubicBezTo>
                    <a:pt x="817" y="337"/>
                    <a:pt x="814" y="335"/>
                    <a:pt x="817" y="332"/>
                  </a:cubicBezTo>
                  <a:cubicBezTo>
                    <a:pt x="819" y="328"/>
                    <a:pt x="822" y="328"/>
                    <a:pt x="825" y="327"/>
                  </a:cubicBezTo>
                  <a:cubicBezTo>
                    <a:pt x="826" y="327"/>
                    <a:pt x="826" y="327"/>
                    <a:pt x="826" y="327"/>
                  </a:cubicBezTo>
                  <a:cubicBezTo>
                    <a:pt x="831" y="326"/>
                    <a:pt x="836" y="324"/>
                    <a:pt x="841" y="323"/>
                  </a:cubicBezTo>
                  <a:cubicBezTo>
                    <a:pt x="856" y="319"/>
                    <a:pt x="856" y="319"/>
                    <a:pt x="856" y="319"/>
                  </a:cubicBezTo>
                  <a:cubicBezTo>
                    <a:pt x="856" y="319"/>
                    <a:pt x="857" y="319"/>
                    <a:pt x="857" y="319"/>
                  </a:cubicBezTo>
                  <a:cubicBezTo>
                    <a:pt x="857" y="318"/>
                    <a:pt x="857" y="318"/>
                    <a:pt x="857" y="318"/>
                  </a:cubicBezTo>
                  <a:cubicBezTo>
                    <a:pt x="860" y="318"/>
                    <a:pt x="861" y="317"/>
                    <a:pt x="863" y="317"/>
                  </a:cubicBezTo>
                  <a:cubicBezTo>
                    <a:pt x="864" y="317"/>
                    <a:pt x="864" y="317"/>
                    <a:pt x="865" y="317"/>
                  </a:cubicBezTo>
                  <a:cubicBezTo>
                    <a:pt x="868" y="318"/>
                    <a:pt x="868" y="321"/>
                    <a:pt x="869" y="322"/>
                  </a:cubicBezTo>
                  <a:cubicBezTo>
                    <a:pt x="869" y="322"/>
                    <a:pt x="869" y="322"/>
                    <a:pt x="869" y="322"/>
                  </a:cubicBezTo>
                  <a:cubicBezTo>
                    <a:pt x="869" y="322"/>
                    <a:pt x="870" y="322"/>
                    <a:pt x="870" y="322"/>
                  </a:cubicBezTo>
                  <a:cubicBezTo>
                    <a:pt x="871" y="322"/>
                    <a:pt x="872" y="322"/>
                    <a:pt x="873" y="322"/>
                  </a:cubicBezTo>
                  <a:cubicBezTo>
                    <a:pt x="874" y="322"/>
                    <a:pt x="875" y="322"/>
                    <a:pt x="876" y="322"/>
                  </a:cubicBezTo>
                  <a:cubicBezTo>
                    <a:pt x="877" y="322"/>
                    <a:pt x="877" y="322"/>
                    <a:pt x="877" y="322"/>
                  </a:cubicBezTo>
                  <a:cubicBezTo>
                    <a:pt x="878" y="322"/>
                    <a:pt x="879" y="322"/>
                    <a:pt x="880" y="322"/>
                  </a:cubicBezTo>
                  <a:cubicBezTo>
                    <a:pt x="882" y="322"/>
                    <a:pt x="883" y="322"/>
                    <a:pt x="883" y="322"/>
                  </a:cubicBezTo>
                  <a:cubicBezTo>
                    <a:pt x="883" y="320"/>
                    <a:pt x="883" y="320"/>
                    <a:pt x="883" y="319"/>
                  </a:cubicBezTo>
                  <a:cubicBezTo>
                    <a:pt x="883" y="319"/>
                    <a:pt x="883" y="319"/>
                    <a:pt x="882" y="319"/>
                  </a:cubicBezTo>
                  <a:cubicBezTo>
                    <a:pt x="882" y="319"/>
                    <a:pt x="882" y="319"/>
                    <a:pt x="882" y="319"/>
                  </a:cubicBezTo>
                  <a:cubicBezTo>
                    <a:pt x="879" y="318"/>
                    <a:pt x="877" y="318"/>
                    <a:pt x="876" y="316"/>
                  </a:cubicBezTo>
                  <a:cubicBezTo>
                    <a:pt x="875" y="315"/>
                    <a:pt x="875" y="314"/>
                    <a:pt x="876" y="313"/>
                  </a:cubicBezTo>
                  <a:cubicBezTo>
                    <a:pt x="892" y="265"/>
                    <a:pt x="892" y="265"/>
                    <a:pt x="892" y="265"/>
                  </a:cubicBezTo>
                  <a:cubicBezTo>
                    <a:pt x="893" y="262"/>
                    <a:pt x="894" y="259"/>
                    <a:pt x="898" y="259"/>
                  </a:cubicBezTo>
                  <a:cubicBezTo>
                    <a:pt x="899" y="259"/>
                    <a:pt x="899" y="259"/>
                    <a:pt x="900" y="260"/>
                  </a:cubicBezTo>
                  <a:cubicBezTo>
                    <a:pt x="902" y="260"/>
                    <a:pt x="905" y="261"/>
                    <a:pt x="907" y="263"/>
                  </a:cubicBezTo>
                  <a:cubicBezTo>
                    <a:pt x="909" y="264"/>
                    <a:pt x="909" y="264"/>
                    <a:pt x="909" y="264"/>
                  </a:cubicBezTo>
                  <a:cubicBezTo>
                    <a:pt x="913" y="266"/>
                    <a:pt x="918" y="267"/>
                    <a:pt x="921" y="267"/>
                  </a:cubicBezTo>
                  <a:cubicBezTo>
                    <a:pt x="921" y="267"/>
                    <a:pt x="922" y="267"/>
                    <a:pt x="922" y="267"/>
                  </a:cubicBezTo>
                  <a:cubicBezTo>
                    <a:pt x="924" y="266"/>
                    <a:pt x="926" y="266"/>
                    <a:pt x="928" y="266"/>
                  </a:cubicBezTo>
                  <a:cubicBezTo>
                    <a:pt x="933" y="266"/>
                    <a:pt x="938" y="267"/>
                    <a:pt x="940" y="268"/>
                  </a:cubicBezTo>
                  <a:cubicBezTo>
                    <a:pt x="941" y="269"/>
                    <a:pt x="942" y="269"/>
                    <a:pt x="943" y="269"/>
                  </a:cubicBezTo>
                  <a:cubicBezTo>
                    <a:pt x="945" y="269"/>
                    <a:pt x="946" y="268"/>
                    <a:pt x="949" y="266"/>
                  </a:cubicBezTo>
                  <a:cubicBezTo>
                    <a:pt x="951" y="266"/>
                    <a:pt x="951" y="266"/>
                    <a:pt x="951" y="266"/>
                  </a:cubicBezTo>
                  <a:cubicBezTo>
                    <a:pt x="957" y="263"/>
                    <a:pt x="959" y="261"/>
                    <a:pt x="959" y="257"/>
                  </a:cubicBezTo>
                  <a:cubicBezTo>
                    <a:pt x="958" y="254"/>
                    <a:pt x="958" y="251"/>
                    <a:pt x="957" y="248"/>
                  </a:cubicBezTo>
                  <a:cubicBezTo>
                    <a:pt x="957" y="245"/>
                    <a:pt x="956" y="242"/>
                    <a:pt x="956" y="239"/>
                  </a:cubicBezTo>
                  <a:cubicBezTo>
                    <a:pt x="955" y="235"/>
                    <a:pt x="960" y="224"/>
                    <a:pt x="964" y="222"/>
                  </a:cubicBezTo>
                  <a:cubicBezTo>
                    <a:pt x="966" y="221"/>
                    <a:pt x="968" y="221"/>
                    <a:pt x="969" y="221"/>
                  </a:cubicBezTo>
                  <a:cubicBezTo>
                    <a:pt x="970" y="221"/>
                    <a:pt x="970" y="221"/>
                    <a:pt x="970" y="221"/>
                  </a:cubicBezTo>
                  <a:cubicBezTo>
                    <a:pt x="974" y="221"/>
                    <a:pt x="977" y="220"/>
                    <a:pt x="981" y="219"/>
                  </a:cubicBezTo>
                  <a:cubicBezTo>
                    <a:pt x="982" y="218"/>
                    <a:pt x="985" y="216"/>
                    <a:pt x="986" y="214"/>
                  </a:cubicBezTo>
                  <a:cubicBezTo>
                    <a:pt x="986" y="214"/>
                    <a:pt x="986" y="214"/>
                    <a:pt x="986" y="214"/>
                  </a:cubicBezTo>
                  <a:cubicBezTo>
                    <a:pt x="986" y="213"/>
                    <a:pt x="986" y="213"/>
                    <a:pt x="986" y="212"/>
                  </a:cubicBezTo>
                  <a:cubicBezTo>
                    <a:pt x="985" y="211"/>
                    <a:pt x="985" y="210"/>
                    <a:pt x="985" y="209"/>
                  </a:cubicBezTo>
                  <a:cubicBezTo>
                    <a:pt x="985" y="209"/>
                    <a:pt x="986" y="208"/>
                    <a:pt x="986" y="207"/>
                  </a:cubicBezTo>
                  <a:cubicBezTo>
                    <a:pt x="986" y="207"/>
                    <a:pt x="986" y="207"/>
                    <a:pt x="986" y="207"/>
                  </a:cubicBezTo>
                  <a:cubicBezTo>
                    <a:pt x="987" y="203"/>
                    <a:pt x="988" y="201"/>
                    <a:pt x="990" y="200"/>
                  </a:cubicBezTo>
                  <a:cubicBezTo>
                    <a:pt x="991" y="200"/>
                    <a:pt x="991" y="200"/>
                    <a:pt x="992" y="200"/>
                  </a:cubicBezTo>
                  <a:cubicBezTo>
                    <a:pt x="992" y="200"/>
                    <a:pt x="992" y="200"/>
                    <a:pt x="993" y="200"/>
                  </a:cubicBezTo>
                  <a:cubicBezTo>
                    <a:pt x="994" y="200"/>
                    <a:pt x="994" y="200"/>
                    <a:pt x="994" y="200"/>
                  </a:cubicBezTo>
                  <a:cubicBezTo>
                    <a:pt x="991" y="197"/>
                    <a:pt x="988" y="195"/>
                    <a:pt x="985" y="192"/>
                  </a:cubicBezTo>
                  <a:cubicBezTo>
                    <a:pt x="984" y="192"/>
                    <a:pt x="983" y="191"/>
                    <a:pt x="983" y="190"/>
                  </a:cubicBezTo>
                  <a:cubicBezTo>
                    <a:pt x="982" y="190"/>
                    <a:pt x="982" y="189"/>
                    <a:pt x="981" y="188"/>
                  </a:cubicBezTo>
                  <a:cubicBezTo>
                    <a:pt x="981" y="189"/>
                    <a:pt x="980" y="190"/>
                    <a:pt x="980" y="190"/>
                  </a:cubicBezTo>
                  <a:cubicBezTo>
                    <a:pt x="973" y="196"/>
                    <a:pt x="973" y="196"/>
                    <a:pt x="973" y="196"/>
                  </a:cubicBezTo>
                  <a:cubicBezTo>
                    <a:pt x="972" y="194"/>
                    <a:pt x="972" y="194"/>
                    <a:pt x="972" y="194"/>
                  </a:cubicBezTo>
                  <a:cubicBezTo>
                    <a:pt x="971" y="194"/>
                    <a:pt x="971" y="194"/>
                    <a:pt x="971" y="194"/>
                  </a:cubicBezTo>
                  <a:cubicBezTo>
                    <a:pt x="968" y="194"/>
                    <a:pt x="968" y="194"/>
                    <a:pt x="968" y="194"/>
                  </a:cubicBezTo>
                  <a:cubicBezTo>
                    <a:pt x="967" y="194"/>
                    <a:pt x="967" y="194"/>
                    <a:pt x="967" y="194"/>
                  </a:cubicBezTo>
                  <a:cubicBezTo>
                    <a:pt x="965" y="192"/>
                    <a:pt x="965" y="192"/>
                    <a:pt x="965" y="192"/>
                  </a:cubicBezTo>
                  <a:cubicBezTo>
                    <a:pt x="965" y="192"/>
                    <a:pt x="965" y="192"/>
                    <a:pt x="965" y="192"/>
                  </a:cubicBezTo>
                  <a:cubicBezTo>
                    <a:pt x="964" y="192"/>
                    <a:pt x="964" y="192"/>
                    <a:pt x="964" y="192"/>
                  </a:cubicBezTo>
                  <a:cubicBezTo>
                    <a:pt x="963" y="192"/>
                    <a:pt x="963" y="192"/>
                    <a:pt x="963" y="192"/>
                  </a:cubicBezTo>
                  <a:cubicBezTo>
                    <a:pt x="950" y="191"/>
                    <a:pt x="950" y="191"/>
                    <a:pt x="950" y="191"/>
                  </a:cubicBezTo>
                  <a:cubicBezTo>
                    <a:pt x="947" y="188"/>
                    <a:pt x="947" y="188"/>
                    <a:pt x="947" y="188"/>
                  </a:cubicBezTo>
                  <a:cubicBezTo>
                    <a:pt x="948" y="188"/>
                    <a:pt x="948" y="188"/>
                    <a:pt x="948" y="188"/>
                  </a:cubicBezTo>
                  <a:cubicBezTo>
                    <a:pt x="947" y="187"/>
                    <a:pt x="947" y="187"/>
                    <a:pt x="947" y="187"/>
                  </a:cubicBezTo>
                  <a:cubicBezTo>
                    <a:pt x="947" y="186"/>
                    <a:pt x="947" y="186"/>
                    <a:pt x="947" y="186"/>
                  </a:cubicBezTo>
                  <a:cubicBezTo>
                    <a:pt x="947" y="185"/>
                    <a:pt x="947" y="185"/>
                    <a:pt x="947" y="185"/>
                  </a:cubicBezTo>
                  <a:cubicBezTo>
                    <a:pt x="946" y="185"/>
                    <a:pt x="946" y="185"/>
                    <a:pt x="946" y="185"/>
                  </a:cubicBezTo>
                  <a:cubicBezTo>
                    <a:pt x="946" y="184"/>
                    <a:pt x="945" y="183"/>
                    <a:pt x="945" y="183"/>
                  </a:cubicBezTo>
                  <a:cubicBezTo>
                    <a:pt x="944" y="182"/>
                    <a:pt x="944" y="182"/>
                    <a:pt x="944" y="181"/>
                  </a:cubicBezTo>
                  <a:cubicBezTo>
                    <a:pt x="944" y="181"/>
                    <a:pt x="944" y="181"/>
                    <a:pt x="944" y="181"/>
                  </a:cubicBezTo>
                  <a:cubicBezTo>
                    <a:pt x="943" y="181"/>
                    <a:pt x="943" y="180"/>
                    <a:pt x="942" y="180"/>
                  </a:cubicBezTo>
                  <a:cubicBezTo>
                    <a:pt x="941" y="179"/>
                    <a:pt x="941" y="179"/>
                    <a:pt x="941" y="179"/>
                  </a:cubicBezTo>
                  <a:cubicBezTo>
                    <a:pt x="941" y="177"/>
                    <a:pt x="941" y="177"/>
                    <a:pt x="941" y="177"/>
                  </a:cubicBezTo>
                  <a:cubicBezTo>
                    <a:pt x="941" y="175"/>
                    <a:pt x="941" y="175"/>
                    <a:pt x="941" y="175"/>
                  </a:cubicBezTo>
                  <a:cubicBezTo>
                    <a:pt x="931" y="169"/>
                    <a:pt x="931" y="169"/>
                    <a:pt x="931" y="169"/>
                  </a:cubicBezTo>
                  <a:cubicBezTo>
                    <a:pt x="929" y="169"/>
                    <a:pt x="929" y="169"/>
                    <a:pt x="929" y="169"/>
                  </a:cubicBezTo>
                  <a:cubicBezTo>
                    <a:pt x="929" y="169"/>
                    <a:pt x="929" y="169"/>
                    <a:pt x="929" y="169"/>
                  </a:cubicBezTo>
                  <a:cubicBezTo>
                    <a:pt x="929" y="169"/>
                    <a:pt x="928" y="169"/>
                    <a:pt x="928" y="169"/>
                  </a:cubicBezTo>
                  <a:cubicBezTo>
                    <a:pt x="924" y="168"/>
                    <a:pt x="924" y="168"/>
                    <a:pt x="924" y="168"/>
                  </a:cubicBezTo>
                  <a:cubicBezTo>
                    <a:pt x="923" y="166"/>
                    <a:pt x="923" y="166"/>
                    <a:pt x="923" y="166"/>
                  </a:cubicBezTo>
                  <a:cubicBezTo>
                    <a:pt x="923" y="166"/>
                    <a:pt x="923" y="164"/>
                    <a:pt x="922" y="163"/>
                  </a:cubicBezTo>
                  <a:cubicBezTo>
                    <a:pt x="922" y="162"/>
                    <a:pt x="922" y="162"/>
                    <a:pt x="922" y="162"/>
                  </a:cubicBezTo>
                  <a:cubicBezTo>
                    <a:pt x="922" y="161"/>
                    <a:pt x="922" y="161"/>
                    <a:pt x="922" y="161"/>
                  </a:cubicBezTo>
                  <a:cubicBezTo>
                    <a:pt x="922" y="160"/>
                    <a:pt x="922" y="160"/>
                    <a:pt x="922" y="160"/>
                  </a:cubicBezTo>
                  <a:cubicBezTo>
                    <a:pt x="921" y="158"/>
                    <a:pt x="920" y="156"/>
                    <a:pt x="919" y="154"/>
                  </a:cubicBezTo>
                  <a:cubicBezTo>
                    <a:pt x="917" y="151"/>
                    <a:pt x="917" y="151"/>
                    <a:pt x="917" y="151"/>
                  </a:cubicBezTo>
                  <a:cubicBezTo>
                    <a:pt x="915" y="149"/>
                    <a:pt x="915" y="149"/>
                    <a:pt x="915" y="149"/>
                  </a:cubicBezTo>
                  <a:cubicBezTo>
                    <a:pt x="914" y="149"/>
                    <a:pt x="914" y="149"/>
                    <a:pt x="913" y="149"/>
                  </a:cubicBezTo>
                  <a:cubicBezTo>
                    <a:pt x="912" y="148"/>
                    <a:pt x="911" y="148"/>
                    <a:pt x="910" y="148"/>
                  </a:cubicBezTo>
                  <a:cubicBezTo>
                    <a:pt x="900" y="145"/>
                    <a:pt x="900" y="145"/>
                    <a:pt x="900" y="145"/>
                  </a:cubicBezTo>
                  <a:cubicBezTo>
                    <a:pt x="892" y="147"/>
                    <a:pt x="892" y="147"/>
                    <a:pt x="892" y="147"/>
                  </a:cubicBezTo>
                  <a:cubicBezTo>
                    <a:pt x="892" y="148"/>
                    <a:pt x="892" y="148"/>
                    <a:pt x="892" y="148"/>
                  </a:cubicBezTo>
                  <a:cubicBezTo>
                    <a:pt x="890" y="151"/>
                    <a:pt x="890" y="151"/>
                    <a:pt x="890" y="151"/>
                  </a:cubicBezTo>
                  <a:cubicBezTo>
                    <a:pt x="889" y="152"/>
                    <a:pt x="889" y="152"/>
                    <a:pt x="889" y="152"/>
                  </a:cubicBezTo>
                  <a:cubicBezTo>
                    <a:pt x="889" y="152"/>
                    <a:pt x="888" y="152"/>
                    <a:pt x="888" y="152"/>
                  </a:cubicBezTo>
                  <a:cubicBezTo>
                    <a:pt x="887" y="153"/>
                    <a:pt x="887" y="153"/>
                    <a:pt x="886" y="153"/>
                  </a:cubicBezTo>
                  <a:cubicBezTo>
                    <a:pt x="886" y="153"/>
                    <a:pt x="886" y="153"/>
                    <a:pt x="886" y="153"/>
                  </a:cubicBezTo>
                  <a:cubicBezTo>
                    <a:pt x="884" y="154"/>
                    <a:pt x="884" y="154"/>
                    <a:pt x="884" y="154"/>
                  </a:cubicBezTo>
                  <a:cubicBezTo>
                    <a:pt x="883" y="154"/>
                    <a:pt x="883" y="154"/>
                    <a:pt x="883" y="154"/>
                  </a:cubicBezTo>
                  <a:cubicBezTo>
                    <a:pt x="880" y="154"/>
                    <a:pt x="880" y="154"/>
                    <a:pt x="880" y="154"/>
                  </a:cubicBezTo>
                  <a:cubicBezTo>
                    <a:pt x="868" y="153"/>
                    <a:pt x="868" y="153"/>
                    <a:pt x="868" y="153"/>
                  </a:cubicBezTo>
                  <a:cubicBezTo>
                    <a:pt x="868" y="153"/>
                    <a:pt x="868" y="153"/>
                    <a:pt x="868" y="153"/>
                  </a:cubicBezTo>
                  <a:cubicBezTo>
                    <a:pt x="867" y="153"/>
                    <a:pt x="866" y="153"/>
                    <a:pt x="865" y="153"/>
                  </a:cubicBezTo>
                  <a:cubicBezTo>
                    <a:pt x="865" y="153"/>
                    <a:pt x="864" y="153"/>
                    <a:pt x="863" y="154"/>
                  </a:cubicBezTo>
                  <a:cubicBezTo>
                    <a:pt x="863" y="154"/>
                    <a:pt x="863" y="154"/>
                    <a:pt x="863" y="154"/>
                  </a:cubicBezTo>
                  <a:cubicBezTo>
                    <a:pt x="862" y="154"/>
                    <a:pt x="861" y="154"/>
                    <a:pt x="861" y="154"/>
                  </a:cubicBezTo>
                  <a:cubicBezTo>
                    <a:pt x="861" y="154"/>
                    <a:pt x="860" y="154"/>
                    <a:pt x="860" y="154"/>
                  </a:cubicBezTo>
                  <a:cubicBezTo>
                    <a:pt x="857" y="153"/>
                    <a:pt x="857" y="153"/>
                    <a:pt x="857" y="153"/>
                  </a:cubicBezTo>
                  <a:cubicBezTo>
                    <a:pt x="856" y="153"/>
                    <a:pt x="856" y="153"/>
                    <a:pt x="856" y="153"/>
                  </a:cubicBezTo>
                  <a:cubicBezTo>
                    <a:pt x="855" y="152"/>
                    <a:pt x="855" y="152"/>
                    <a:pt x="855" y="152"/>
                  </a:cubicBezTo>
                  <a:cubicBezTo>
                    <a:pt x="854" y="152"/>
                    <a:pt x="852" y="150"/>
                    <a:pt x="851" y="149"/>
                  </a:cubicBezTo>
                  <a:cubicBezTo>
                    <a:pt x="850" y="148"/>
                    <a:pt x="850" y="148"/>
                    <a:pt x="849" y="147"/>
                  </a:cubicBezTo>
                  <a:cubicBezTo>
                    <a:pt x="846" y="147"/>
                    <a:pt x="846" y="147"/>
                    <a:pt x="846" y="147"/>
                  </a:cubicBezTo>
                  <a:cubicBezTo>
                    <a:pt x="845" y="144"/>
                    <a:pt x="845" y="144"/>
                    <a:pt x="845" y="144"/>
                  </a:cubicBezTo>
                  <a:cubicBezTo>
                    <a:pt x="845" y="143"/>
                    <a:pt x="845" y="143"/>
                    <a:pt x="845" y="143"/>
                  </a:cubicBezTo>
                  <a:cubicBezTo>
                    <a:pt x="845" y="142"/>
                    <a:pt x="845" y="142"/>
                    <a:pt x="845" y="141"/>
                  </a:cubicBezTo>
                  <a:cubicBezTo>
                    <a:pt x="845" y="140"/>
                    <a:pt x="846" y="139"/>
                    <a:pt x="846" y="138"/>
                  </a:cubicBezTo>
                  <a:cubicBezTo>
                    <a:pt x="840" y="136"/>
                    <a:pt x="840" y="136"/>
                    <a:pt x="840" y="136"/>
                  </a:cubicBezTo>
                  <a:cubicBezTo>
                    <a:pt x="839" y="137"/>
                    <a:pt x="839" y="137"/>
                    <a:pt x="839" y="137"/>
                  </a:cubicBezTo>
                  <a:cubicBezTo>
                    <a:pt x="837" y="138"/>
                    <a:pt x="837" y="138"/>
                    <a:pt x="837" y="138"/>
                  </a:cubicBezTo>
                  <a:cubicBezTo>
                    <a:pt x="837" y="138"/>
                    <a:pt x="837" y="138"/>
                    <a:pt x="836" y="138"/>
                  </a:cubicBezTo>
                  <a:cubicBezTo>
                    <a:pt x="836" y="138"/>
                    <a:pt x="836" y="138"/>
                    <a:pt x="836" y="138"/>
                  </a:cubicBezTo>
                  <a:cubicBezTo>
                    <a:pt x="836" y="138"/>
                    <a:pt x="836" y="138"/>
                    <a:pt x="836" y="138"/>
                  </a:cubicBezTo>
                  <a:cubicBezTo>
                    <a:pt x="837" y="140"/>
                    <a:pt x="837" y="141"/>
                    <a:pt x="836" y="142"/>
                  </a:cubicBezTo>
                  <a:cubicBezTo>
                    <a:pt x="836" y="143"/>
                    <a:pt x="836" y="143"/>
                    <a:pt x="836" y="143"/>
                  </a:cubicBezTo>
                  <a:cubicBezTo>
                    <a:pt x="836" y="144"/>
                    <a:pt x="836" y="144"/>
                    <a:pt x="836" y="144"/>
                  </a:cubicBezTo>
                  <a:cubicBezTo>
                    <a:pt x="843" y="149"/>
                    <a:pt x="843" y="149"/>
                    <a:pt x="843" y="149"/>
                  </a:cubicBezTo>
                  <a:cubicBezTo>
                    <a:pt x="835" y="145"/>
                    <a:pt x="835" y="145"/>
                    <a:pt x="835" y="145"/>
                  </a:cubicBezTo>
                  <a:cubicBezTo>
                    <a:pt x="834" y="146"/>
                    <a:pt x="834" y="146"/>
                    <a:pt x="834" y="146"/>
                  </a:cubicBezTo>
                  <a:cubicBezTo>
                    <a:pt x="831" y="148"/>
                    <a:pt x="831" y="148"/>
                    <a:pt x="831" y="148"/>
                  </a:cubicBezTo>
                  <a:cubicBezTo>
                    <a:pt x="830" y="148"/>
                    <a:pt x="830" y="148"/>
                    <a:pt x="830" y="148"/>
                  </a:cubicBezTo>
                  <a:cubicBezTo>
                    <a:pt x="830" y="148"/>
                    <a:pt x="830" y="148"/>
                    <a:pt x="829" y="148"/>
                  </a:cubicBezTo>
                  <a:cubicBezTo>
                    <a:pt x="829" y="148"/>
                    <a:pt x="829" y="148"/>
                    <a:pt x="829" y="148"/>
                  </a:cubicBezTo>
                  <a:cubicBezTo>
                    <a:pt x="829" y="148"/>
                    <a:pt x="829" y="148"/>
                    <a:pt x="829" y="148"/>
                  </a:cubicBezTo>
                  <a:cubicBezTo>
                    <a:pt x="829" y="149"/>
                    <a:pt x="828" y="150"/>
                    <a:pt x="827" y="150"/>
                  </a:cubicBezTo>
                  <a:cubicBezTo>
                    <a:pt x="827" y="152"/>
                    <a:pt x="827" y="152"/>
                    <a:pt x="827" y="152"/>
                  </a:cubicBezTo>
                  <a:cubicBezTo>
                    <a:pt x="824" y="153"/>
                    <a:pt x="824" y="153"/>
                    <a:pt x="824" y="153"/>
                  </a:cubicBezTo>
                  <a:cubicBezTo>
                    <a:pt x="823" y="153"/>
                    <a:pt x="823" y="153"/>
                    <a:pt x="823" y="153"/>
                  </a:cubicBezTo>
                  <a:cubicBezTo>
                    <a:pt x="821" y="152"/>
                    <a:pt x="821" y="152"/>
                    <a:pt x="821" y="152"/>
                  </a:cubicBezTo>
                  <a:cubicBezTo>
                    <a:pt x="820" y="150"/>
                    <a:pt x="820" y="150"/>
                    <a:pt x="820" y="150"/>
                  </a:cubicBezTo>
                  <a:cubicBezTo>
                    <a:pt x="816" y="146"/>
                    <a:pt x="816" y="146"/>
                    <a:pt x="816" y="146"/>
                  </a:cubicBezTo>
                  <a:cubicBezTo>
                    <a:pt x="817" y="146"/>
                    <a:pt x="817" y="146"/>
                    <a:pt x="817" y="146"/>
                  </a:cubicBezTo>
                  <a:cubicBezTo>
                    <a:pt x="812" y="138"/>
                    <a:pt x="807" y="130"/>
                    <a:pt x="803" y="123"/>
                  </a:cubicBezTo>
                  <a:cubicBezTo>
                    <a:pt x="800" y="118"/>
                    <a:pt x="800" y="118"/>
                    <a:pt x="800" y="118"/>
                  </a:cubicBezTo>
                  <a:cubicBezTo>
                    <a:pt x="795" y="110"/>
                    <a:pt x="789" y="101"/>
                    <a:pt x="784" y="93"/>
                  </a:cubicBezTo>
                  <a:cubicBezTo>
                    <a:pt x="778" y="84"/>
                    <a:pt x="778" y="84"/>
                    <a:pt x="778" y="84"/>
                  </a:cubicBezTo>
                  <a:cubicBezTo>
                    <a:pt x="768" y="71"/>
                    <a:pt x="768" y="71"/>
                    <a:pt x="768" y="71"/>
                  </a:cubicBezTo>
                  <a:cubicBezTo>
                    <a:pt x="765" y="68"/>
                    <a:pt x="763" y="65"/>
                    <a:pt x="760" y="63"/>
                  </a:cubicBezTo>
                  <a:cubicBezTo>
                    <a:pt x="746" y="53"/>
                    <a:pt x="746" y="53"/>
                    <a:pt x="746" y="53"/>
                  </a:cubicBezTo>
                  <a:cubicBezTo>
                    <a:pt x="740" y="48"/>
                    <a:pt x="740" y="48"/>
                    <a:pt x="740" y="48"/>
                  </a:cubicBezTo>
                  <a:cubicBezTo>
                    <a:pt x="739" y="47"/>
                    <a:pt x="737" y="45"/>
                    <a:pt x="735" y="44"/>
                  </a:cubicBezTo>
                  <a:cubicBezTo>
                    <a:pt x="729" y="37"/>
                    <a:pt x="729" y="37"/>
                    <a:pt x="729" y="37"/>
                  </a:cubicBezTo>
                  <a:cubicBezTo>
                    <a:pt x="719" y="41"/>
                    <a:pt x="719" y="41"/>
                    <a:pt x="719" y="41"/>
                  </a:cubicBezTo>
                  <a:cubicBezTo>
                    <a:pt x="715" y="42"/>
                    <a:pt x="712" y="44"/>
                    <a:pt x="709" y="46"/>
                  </a:cubicBezTo>
                  <a:cubicBezTo>
                    <a:pt x="708" y="46"/>
                    <a:pt x="708" y="46"/>
                    <a:pt x="708" y="46"/>
                  </a:cubicBezTo>
                  <a:cubicBezTo>
                    <a:pt x="705" y="48"/>
                    <a:pt x="702" y="50"/>
                    <a:pt x="698" y="51"/>
                  </a:cubicBezTo>
                  <a:cubicBezTo>
                    <a:pt x="688" y="55"/>
                    <a:pt x="688" y="55"/>
                    <a:pt x="688" y="55"/>
                  </a:cubicBezTo>
                  <a:cubicBezTo>
                    <a:pt x="688" y="56"/>
                    <a:pt x="688" y="56"/>
                    <a:pt x="688" y="56"/>
                  </a:cubicBezTo>
                  <a:cubicBezTo>
                    <a:pt x="688" y="57"/>
                    <a:pt x="688" y="57"/>
                    <a:pt x="687" y="58"/>
                  </a:cubicBezTo>
                  <a:cubicBezTo>
                    <a:pt x="687" y="61"/>
                    <a:pt x="687" y="61"/>
                    <a:pt x="687" y="61"/>
                  </a:cubicBezTo>
                  <a:cubicBezTo>
                    <a:pt x="683" y="64"/>
                    <a:pt x="683" y="64"/>
                    <a:pt x="683" y="64"/>
                  </a:cubicBezTo>
                  <a:cubicBezTo>
                    <a:pt x="679" y="61"/>
                    <a:pt x="679" y="61"/>
                    <a:pt x="679" y="61"/>
                  </a:cubicBezTo>
                  <a:cubicBezTo>
                    <a:pt x="679" y="61"/>
                    <a:pt x="678" y="61"/>
                    <a:pt x="678" y="61"/>
                  </a:cubicBezTo>
                  <a:cubicBezTo>
                    <a:pt x="676" y="60"/>
                    <a:pt x="676" y="60"/>
                    <a:pt x="676" y="60"/>
                  </a:cubicBezTo>
                  <a:cubicBezTo>
                    <a:pt x="670" y="60"/>
                    <a:pt x="670" y="60"/>
                    <a:pt x="670" y="60"/>
                  </a:cubicBezTo>
                  <a:cubicBezTo>
                    <a:pt x="670" y="60"/>
                    <a:pt x="670" y="60"/>
                    <a:pt x="669" y="60"/>
                  </a:cubicBezTo>
                  <a:cubicBezTo>
                    <a:pt x="668" y="60"/>
                    <a:pt x="667" y="60"/>
                    <a:pt x="666" y="61"/>
                  </a:cubicBezTo>
                  <a:cubicBezTo>
                    <a:pt x="659" y="66"/>
                    <a:pt x="659" y="66"/>
                    <a:pt x="659" y="66"/>
                  </a:cubicBezTo>
                  <a:cubicBezTo>
                    <a:pt x="652" y="54"/>
                    <a:pt x="652" y="54"/>
                    <a:pt x="652" y="54"/>
                  </a:cubicBezTo>
                  <a:cubicBezTo>
                    <a:pt x="654" y="51"/>
                    <a:pt x="654" y="51"/>
                    <a:pt x="654" y="51"/>
                  </a:cubicBezTo>
                  <a:cubicBezTo>
                    <a:pt x="654" y="49"/>
                    <a:pt x="656" y="48"/>
                    <a:pt x="657" y="47"/>
                  </a:cubicBezTo>
                  <a:cubicBezTo>
                    <a:pt x="658" y="45"/>
                    <a:pt x="658" y="45"/>
                    <a:pt x="658" y="45"/>
                  </a:cubicBezTo>
                  <a:cubicBezTo>
                    <a:pt x="652" y="46"/>
                    <a:pt x="652" y="46"/>
                    <a:pt x="652" y="46"/>
                  </a:cubicBezTo>
                  <a:cubicBezTo>
                    <a:pt x="651" y="46"/>
                    <a:pt x="651" y="46"/>
                    <a:pt x="651" y="46"/>
                  </a:cubicBezTo>
                  <a:cubicBezTo>
                    <a:pt x="648" y="46"/>
                    <a:pt x="646" y="44"/>
                    <a:pt x="643" y="43"/>
                  </a:cubicBezTo>
                  <a:cubicBezTo>
                    <a:pt x="643" y="43"/>
                    <a:pt x="643" y="43"/>
                    <a:pt x="643" y="43"/>
                  </a:cubicBezTo>
                  <a:cubicBezTo>
                    <a:pt x="643" y="43"/>
                    <a:pt x="643" y="43"/>
                    <a:pt x="643" y="43"/>
                  </a:cubicBezTo>
                  <a:cubicBezTo>
                    <a:pt x="640" y="45"/>
                    <a:pt x="640" y="45"/>
                    <a:pt x="640" y="45"/>
                  </a:cubicBezTo>
                  <a:cubicBezTo>
                    <a:pt x="640" y="46"/>
                    <a:pt x="639" y="46"/>
                    <a:pt x="638" y="46"/>
                  </a:cubicBezTo>
                  <a:cubicBezTo>
                    <a:pt x="635" y="48"/>
                    <a:pt x="635" y="48"/>
                    <a:pt x="635" y="48"/>
                  </a:cubicBezTo>
                  <a:cubicBezTo>
                    <a:pt x="629" y="50"/>
                    <a:pt x="629" y="50"/>
                    <a:pt x="629" y="50"/>
                  </a:cubicBezTo>
                  <a:cubicBezTo>
                    <a:pt x="631" y="44"/>
                    <a:pt x="631" y="44"/>
                    <a:pt x="631" y="44"/>
                  </a:cubicBezTo>
                  <a:cubicBezTo>
                    <a:pt x="631" y="44"/>
                    <a:pt x="632" y="43"/>
                    <a:pt x="632" y="43"/>
                  </a:cubicBezTo>
                  <a:cubicBezTo>
                    <a:pt x="631" y="42"/>
                    <a:pt x="631" y="42"/>
                    <a:pt x="631" y="42"/>
                  </a:cubicBezTo>
                  <a:cubicBezTo>
                    <a:pt x="631" y="41"/>
                    <a:pt x="631" y="41"/>
                    <a:pt x="631" y="41"/>
                  </a:cubicBezTo>
                  <a:cubicBezTo>
                    <a:pt x="631" y="41"/>
                    <a:pt x="631" y="40"/>
                    <a:pt x="631" y="39"/>
                  </a:cubicBezTo>
                  <a:cubicBezTo>
                    <a:pt x="629" y="42"/>
                    <a:pt x="629" y="42"/>
                    <a:pt x="629" y="42"/>
                  </a:cubicBezTo>
                  <a:cubicBezTo>
                    <a:pt x="625" y="40"/>
                    <a:pt x="625" y="40"/>
                    <a:pt x="625" y="40"/>
                  </a:cubicBezTo>
                  <a:cubicBezTo>
                    <a:pt x="624" y="40"/>
                    <a:pt x="624" y="40"/>
                    <a:pt x="624" y="39"/>
                  </a:cubicBezTo>
                  <a:cubicBezTo>
                    <a:pt x="623" y="40"/>
                    <a:pt x="623" y="40"/>
                    <a:pt x="623" y="40"/>
                  </a:cubicBezTo>
                  <a:cubicBezTo>
                    <a:pt x="618" y="41"/>
                    <a:pt x="618" y="41"/>
                    <a:pt x="618" y="41"/>
                  </a:cubicBezTo>
                  <a:cubicBezTo>
                    <a:pt x="614" y="42"/>
                    <a:pt x="614" y="42"/>
                    <a:pt x="614" y="42"/>
                  </a:cubicBezTo>
                  <a:cubicBezTo>
                    <a:pt x="612" y="42"/>
                    <a:pt x="611" y="42"/>
                    <a:pt x="609" y="42"/>
                  </a:cubicBezTo>
                  <a:cubicBezTo>
                    <a:pt x="609" y="42"/>
                    <a:pt x="608" y="42"/>
                    <a:pt x="608" y="42"/>
                  </a:cubicBezTo>
                  <a:cubicBezTo>
                    <a:pt x="607" y="42"/>
                    <a:pt x="607" y="42"/>
                    <a:pt x="607" y="42"/>
                  </a:cubicBezTo>
                  <a:cubicBezTo>
                    <a:pt x="605" y="42"/>
                    <a:pt x="605" y="42"/>
                    <a:pt x="605" y="42"/>
                  </a:cubicBezTo>
                  <a:cubicBezTo>
                    <a:pt x="602" y="41"/>
                    <a:pt x="602" y="41"/>
                    <a:pt x="602" y="41"/>
                  </a:cubicBezTo>
                  <a:cubicBezTo>
                    <a:pt x="601" y="39"/>
                    <a:pt x="601" y="39"/>
                    <a:pt x="601" y="39"/>
                  </a:cubicBezTo>
                  <a:cubicBezTo>
                    <a:pt x="600" y="39"/>
                    <a:pt x="600" y="39"/>
                    <a:pt x="600" y="39"/>
                  </a:cubicBezTo>
                  <a:cubicBezTo>
                    <a:pt x="599" y="38"/>
                    <a:pt x="599" y="38"/>
                    <a:pt x="599" y="38"/>
                  </a:cubicBezTo>
                  <a:cubicBezTo>
                    <a:pt x="599" y="37"/>
                    <a:pt x="599" y="37"/>
                    <a:pt x="599" y="37"/>
                  </a:cubicBezTo>
                  <a:cubicBezTo>
                    <a:pt x="598" y="36"/>
                    <a:pt x="598" y="36"/>
                    <a:pt x="598" y="35"/>
                  </a:cubicBezTo>
                  <a:cubicBezTo>
                    <a:pt x="597" y="34"/>
                    <a:pt x="597" y="34"/>
                    <a:pt x="597" y="33"/>
                  </a:cubicBezTo>
                  <a:cubicBezTo>
                    <a:pt x="597" y="32"/>
                    <a:pt x="597" y="32"/>
                    <a:pt x="597" y="32"/>
                  </a:cubicBezTo>
                  <a:cubicBezTo>
                    <a:pt x="597" y="30"/>
                    <a:pt x="597" y="30"/>
                    <a:pt x="597" y="30"/>
                  </a:cubicBezTo>
                  <a:cubicBezTo>
                    <a:pt x="598" y="28"/>
                    <a:pt x="598" y="28"/>
                    <a:pt x="598" y="28"/>
                  </a:cubicBezTo>
                  <a:cubicBezTo>
                    <a:pt x="600" y="28"/>
                    <a:pt x="600" y="28"/>
                    <a:pt x="600" y="28"/>
                  </a:cubicBezTo>
                  <a:cubicBezTo>
                    <a:pt x="601" y="28"/>
                    <a:pt x="601" y="28"/>
                    <a:pt x="601" y="28"/>
                  </a:cubicBezTo>
                  <a:cubicBezTo>
                    <a:pt x="601" y="28"/>
                    <a:pt x="601" y="28"/>
                    <a:pt x="601" y="28"/>
                  </a:cubicBezTo>
                  <a:cubicBezTo>
                    <a:pt x="601" y="28"/>
                    <a:pt x="601" y="28"/>
                    <a:pt x="602" y="28"/>
                  </a:cubicBezTo>
                  <a:cubicBezTo>
                    <a:pt x="601" y="26"/>
                    <a:pt x="601" y="26"/>
                    <a:pt x="601" y="26"/>
                  </a:cubicBezTo>
                  <a:cubicBezTo>
                    <a:pt x="601" y="22"/>
                    <a:pt x="601" y="22"/>
                    <a:pt x="601" y="22"/>
                  </a:cubicBezTo>
                  <a:cubicBezTo>
                    <a:pt x="603" y="19"/>
                    <a:pt x="603" y="19"/>
                    <a:pt x="603" y="19"/>
                  </a:cubicBezTo>
                  <a:cubicBezTo>
                    <a:pt x="602" y="17"/>
                    <a:pt x="602" y="17"/>
                    <a:pt x="602" y="17"/>
                  </a:cubicBezTo>
                  <a:cubicBezTo>
                    <a:pt x="599" y="11"/>
                    <a:pt x="599" y="11"/>
                    <a:pt x="599" y="11"/>
                  </a:cubicBezTo>
                  <a:cubicBezTo>
                    <a:pt x="597" y="8"/>
                    <a:pt x="595" y="5"/>
                    <a:pt x="593" y="1"/>
                  </a:cubicBezTo>
                  <a:cubicBezTo>
                    <a:pt x="593" y="1"/>
                    <a:pt x="593" y="1"/>
                    <a:pt x="593" y="1"/>
                  </a:cubicBezTo>
                  <a:cubicBezTo>
                    <a:pt x="590" y="1"/>
                    <a:pt x="590" y="1"/>
                    <a:pt x="590" y="1"/>
                  </a:cubicBezTo>
                  <a:cubicBezTo>
                    <a:pt x="587" y="3"/>
                    <a:pt x="585" y="5"/>
                    <a:pt x="584" y="5"/>
                  </a:cubicBezTo>
                  <a:cubicBezTo>
                    <a:pt x="583" y="6"/>
                    <a:pt x="583" y="6"/>
                    <a:pt x="583" y="6"/>
                  </a:cubicBezTo>
                  <a:cubicBezTo>
                    <a:pt x="580" y="7"/>
                    <a:pt x="580" y="7"/>
                    <a:pt x="580" y="7"/>
                  </a:cubicBezTo>
                  <a:cubicBezTo>
                    <a:pt x="578" y="6"/>
                    <a:pt x="578" y="6"/>
                    <a:pt x="578" y="6"/>
                  </a:cubicBezTo>
                  <a:cubicBezTo>
                    <a:pt x="576" y="6"/>
                    <a:pt x="574" y="5"/>
                    <a:pt x="573" y="5"/>
                  </a:cubicBezTo>
                  <a:cubicBezTo>
                    <a:pt x="573" y="4"/>
                    <a:pt x="573" y="4"/>
                    <a:pt x="573" y="4"/>
                  </a:cubicBezTo>
                  <a:cubicBezTo>
                    <a:pt x="571" y="3"/>
                    <a:pt x="569" y="2"/>
                    <a:pt x="568" y="1"/>
                  </a:cubicBezTo>
                  <a:cubicBezTo>
                    <a:pt x="567" y="0"/>
                    <a:pt x="567" y="0"/>
                    <a:pt x="567" y="0"/>
                  </a:cubicBezTo>
                  <a:cubicBezTo>
                    <a:pt x="566" y="0"/>
                    <a:pt x="566" y="0"/>
                    <a:pt x="566" y="0"/>
                  </a:cubicBezTo>
                  <a:cubicBezTo>
                    <a:pt x="558" y="0"/>
                    <a:pt x="558" y="0"/>
                    <a:pt x="5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488"/>
            <p:cNvSpPr/>
            <p:nvPr/>
          </p:nvSpPr>
          <p:spPr bwMode="auto">
            <a:xfrm>
              <a:off x="3617284" y="1129569"/>
              <a:ext cx="9402" cy="6716"/>
            </a:xfrm>
            <a:custGeom>
              <a:gdLst>
                <a:gd name="T0" fmla="*/ 3 w 3"/>
                <a:gd name="T1" fmla="*/ 0 h 2"/>
                <a:gd name="T2" fmla="*/ 0 w 3"/>
                <a:gd name="T3" fmla="*/ 1 h 2"/>
                <a:gd name="T4" fmla="*/ 3 w 3"/>
                <a:gd name="T5" fmla="*/ 2 h 2"/>
                <a:gd name="T6" fmla="*/ 3 w 3"/>
                <a:gd name="T7" fmla="*/ 1 h 2"/>
                <a:gd name="T8" fmla="*/ 3 w 3"/>
                <a:gd name="T9" fmla="*/ 1 h 2"/>
                <a:gd name="T10" fmla="*/ 3 w 3"/>
                <a:gd name="T11" fmla="*/ 0 h 2"/>
              </a:gdLst>
              <a:cxnLst>
                <a:cxn ang="0">
                  <a:pos x="T0" y="T1"/>
                </a:cxn>
                <a:cxn ang="0">
                  <a:pos x="T2" y="T3"/>
                </a:cxn>
                <a:cxn ang="0">
                  <a:pos x="T4" y="T5"/>
                </a:cxn>
                <a:cxn ang="0">
                  <a:pos x="T6" y="T7"/>
                </a:cxn>
                <a:cxn ang="0">
                  <a:pos x="T8" y="T9"/>
                </a:cxn>
                <a:cxn ang="0">
                  <a:pos x="T10" y="T11"/>
                </a:cxn>
              </a:cxnLst>
              <a:rect l="0" t="0" r="r" b="b"/>
              <a:pathLst>
                <a:path w="3" h="2">
                  <a:moveTo>
                    <a:pt x="3" y="0"/>
                  </a:moveTo>
                  <a:cubicBezTo>
                    <a:pt x="0" y="1"/>
                    <a:pt x="0" y="1"/>
                    <a:pt x="0" y="1"/>
                  </a:cubicBezTo>
                  <a:cubicBezTo>
                    <a:pt x="1" y="1"/>
                    <a:pt x="2" y="1"/>
                    <a:pt x="3" y="2"/>
                  </a:cubicBezTo>
                  <a:cubicBezTo>
                    <a:pt x="3" y="1"/>
                    <a:pt x="3" y="1"/>
                    <a:pt x="3" y="1"/>
                  </a:cubicBezTo>
                  <a:cubicBezTo>
                    <a:pt x="3" y="1"/>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Rectangle 489"/>
            <p:cNvSpPr>
              <a:spLocks noChangeArrowheads="1"/>
            </p:cNvSpPr>
            <p:nvPr/>
          </p:nvSpPr>
          <p:spPr bwMode="auto">
            <a:xfrm>
              <a:off x="1614683" y="1412968"/>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490"/>
            <p:cNvSpPr/>
            <p:nvPr/>
          </p:nvSpPr>
          <p:spPr bwMode="auto">
            <a:xfrm flipH="1">
              <a:off x="1614683" y="141296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Rectangle 491"/>
            <p:cNvSpPr>
              <a:spLocks noChangeArrowheads="1"/>
            </p:cNvSpPr>
            <p:nvPr/>
          </p:nvSpPr>
          <p:spPr bwMode="auto">
            <a:xfrm>
              <a:off x="6698414" y="1806504"/>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492"/>
            <p:cNvSpPr/>
            <p:nvPr/>
          </p:nvSpPr>
          <p:spPr bwMode="auto">
            <a:xfrm flipH="1">
              <a:off x="6698414" y="1806504"/>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493"/>
            <p:cNvSpPr/>
            <p:nvPr/>
          </p:nvSpPr>
          <p:spPr bwMode="auto">
            <a:xfrm>
              <a:off x="4483600" y="1676221"/>
              <a:ext cx="9402" cy="6716"/>
            </a:xfrm>
            <a:custGeom>
              <a:gdLst>
                <a:gd name="T0" fmla="*/ 3 w 3"/>
                <a:gd name="T1" fmla="*/ 0 h 2"/>
                <a:gd name="T2" fmla="*/ 0 w 3"/>
                <a:gd name="T3" fmla="*/ 0 h 2"/>
                <a:gd name="T4" fmla="*/ 0 w 3"/>
                <a:gd name="T5" fmla="*/ 0 h 2"/>
                <a:gd name="T6" fmla="*/ 2 w 3"/>
                <a:gd name="T7" fmla="*/ 2 h 2"/>
                <a:gd name="T8" fmla="*/ 2 w 3"/>
                <a:gd name="T9" fmla="*/ 0 h 2"/>
                <a:gd name="T10" fmla="*/ 3 w 3"/>
                <a:gd name="T11" fmla="*/ 0 h 2"/>
              </a:gdLst>
              <a:cxnLst>
                <a:cxn ang="0">
                  <a:pos x="T0" y="T1"/>
                </a:cxn>
                <a:cxn ang="0">
                  <a:pos x="T2" y="T3"/>
                </a:cxn>
                <a:cxn ang="0">
                  <a:pos x="T4" y="T5"/>
                </a:cxn>
                <a:cxn ang="0">
                  <a:pos x="T6" y="T7"/>
                </a:cxn>
                <a:cxn ang="0">
                  <a:pos x="T8" y="T9"/>
                </a:cxn>
                <a:cxn ang="0">
                  <a:pos x="T10" y="T11"/>
                </a:cxn>
              </a:cxnLst>
              <a:rect l="0" t="0" r="r" b="b"/>
              <a:pathLst>
                <a:path w="3" h="2">
                  <a:moveTo>
                    <a:pt x="3" y="0"/>
                  </a:moveTo>
                  <a:cubicBezTo>
                    <a:pt x="2" y="0"/>
                    <a:pt x="1" y="0"/>
                    <a:pt x="0" y="0"/>
                  </a:cubicBezTo>
                  <a:cubicBezTo>
                    <a:pt x="0" y="0"/>
                    <a:pt x="0" y="0"/>
                    <a:pt x="0" y="0"/>
                  </a:cubicBezTo>
                  <a:cubicBezTo>
                    <a:pt x="2" y="2"/>
                    <a:pt x="2" y="2"/>
                    <a:pt x="2" y="2"/>
                  </a:cubicBezTo>
                  <a:cubicBezTo>
                    <a:pt x="2" y="1"/>
                    <a:pt x="2" y="1"/>
                    <a:pt x="2"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494"/>
            <p:cNvSpPr>
              <a:spLocks noEditPoints="1"/>
            </p:cNvSpPr>
            <p:nvPr/>
          </p:nvSpPr>
          <p:spPr bwMode="auto">
            <a:xfrm>
              <a:off x="3401040" y="1219558"/>
              <a:ext cx="4757351" cy="3031435"/>
            </a:xfrm>
            <a:custGeom>
              <a:gdLst>
                <a:gd name="T0" fmla="*/ 143 w 1499"/>
                <a:gd name="T1" fmla="*/ 576 h 955"/>
                <a:gd name="T2" fmla="*/ 1219 w 1499"/>
                <a:gd name="T3" fmla="*/ 0 h 955"/>
                <a:gd name="T4" fmla="*/ 1156 w 1499"/>
                <a:gd name="T5" fmla="*/ 27 h 955"/>
                <a:gd name="T6" fmla="*/ 1114 w 1499"/>
                <a:gd name="T7" fmla="*/ 117 h 955"/>
                <a:gd name="T8" fmla="*/ 1069 w 1499"/>
                <a:gd name="T9" fmla="*/ 182 h 955"/>
                <a:gd name="T10" fmla="*/ 1102 w 1499"/>
                <a:gd name="T11" fmla="*/ 221 h 955"/>
                <a:gd name="T12" fmla="*/ 1005 w 1499"/>
                <a:gd name="T13" fmla="*/ 263 h 955"/>
                <a:gd name="T14" fmla="*/ 928 w 1499"/>
                <a:gd name="T15" fmla="*/ 318 h 955"/>
                <a:gd name="T16" fmla="*/ 795 w 1499"/>
                <a:gd name="T17" fmla="*/ 362 h 955"/>
                <a:gd name="T18" fmla="*/ 692 w 1499"/>
                <a:gd name="T19" fmla="*/ 355 h 955"/>
                <a:gd name="T20" fmla="*/ 552 w 1499"/>
                <a:gd name="T21" fmla="*/ 335 h 955"/>
                <a:gd name="T22" fmla="*/ 424 w 1499"/>
                <a:gd name="T23" fmla="*/ 267 h 955"/>
                <a:gd name="T24" fmla="*/ 388 w 1499"/>
                <a:gd name="T25" fmla="*/ 181 h 955"/>
                <a:gd name="T26" fmla="*/ 326 w 1499"/>
                <a:gd name="T27" fmla="*/ 145 h 955"/>
                <a:gd name="T28" fmla="*/ 231 w 1499"/>
                <a:gd name="T29" fmla="*/ 204 h 955"/>
                <a:gd name="T30" fmla="*/ 170 w 1499"/>
                <a:gd name="T31" fmla="*/ 305 h 955"/>
                <a:gd name="T32" fmla="*/ 117 w 1499"/>
                <a:gd name="T33" fmla="*/ 382 h 955"/>
                <a:gd name="T34" fmla="*/ 56 w 1499"/>
                <a:gd name="T35" fmla="*/ 411 h 955"/>
                <a:gd name="T36" fmla="*/ 1 w 1499"/>
                <a:gd name="T37" fmla="*/ 436 h 955"/>
                <a:gd name="T38" fmla="*/ 32 w 1499"/>
                <a:gd name="T39" fmla="*/ 480 h 955"/>
                <a:gd name="T40" fmla="*/ 72 w 1499"/>
                <a:gd name="T41" fmla="*/ 536 h 955"/>
                <a:gd name="T42" fmla="*/ 127 w 1499"/>
                <a:gd name="T43" fmla="*/ 582 h 955"/>
                <a:gd name="T44" fmla="*/ 119 w 1499"/>
                <a:gd name="T45" fmla="*/ 630 h 955"/>
                <a:gd name="T46" fmla="*/ 179 w 1499"/>
                <a:gd name="T47" fmla="*/ 688 h 955"/>
                <a:gd name="T48" fmla="*/ 238 w 1499"/>
                <a:gd name="T49" fmla="*/ 709 h 955"/>
                <a:gd name="T50" fmla="*/ 283 w 1499"/>
                <a:gd name="T51" fmla="*/ 740 h 955"/>
                <a:gd name="T52" fmla="*/ 363 w 1499"/>
                <a:gd name="T53" fmla="*/ 746 h 955"/>
                <a:gd name="T54" fmla="*/ 413 w 1499"/>
                <a:gd name="T55" fmla="*/ 746 h 955"/>
                <a:gd name="T56" fmla="*/ 474 w 1499"/>
                <a:gd name="T57" fmla="*/ 740 h 955"/>
                <a:gd name="T58" fmla="*/ 535 w 1499"/>
                <a:gd name="T59" fmla="*/ 718 h 955"/>
                <a:gd name="T60" fmla="*/ 580 w 1499"/>
                <a:gd name="T61" fmla="*/ 741 h 955"/>
                <a:gd name="T62" fmla="*/ 615 w 1499"/>
                <a:gd name="T63" fmla="*/ 801 h 955"/>
                <a:gd name="T64" fmla="*/ 595 w 1499"/>
                <a:gd name="T65" fmla="*/ 853 h 955"/>
                <a:gd name="T66" fmla="*/ 634 w 1499"/>
                <a:gd name="T67" fmla="*/ 889 h 955"/>
                <a:gd name="T68" fmla="*/ 677 w 1499"/>
                <a:gd name="T69" fmla="*/ 918 h 955"/>
                <a:gd name="T70" fmla="*/ 703 w 1499"/>
                <a:gd name="T71" fmla="*/ 889 h 955"/>
                <a:gd name="T72" fmla="*/ 758 w 1499"/>
                <a:gd name="T73" fmla="*/ 886 h 955"/>
                <a:gd name="T74" fmla="*/ 813 w 1499"/>
                <a:gd name="T75" fmla="*/ 895 h 955"/>
                <a:gd name="T76" fmla="*/ 856 w 1499"/>
                <a:gd name="T77" fmla="*/ 917 h 955"/>
                <a:gd name="T78" fmla="*/ 887 w 1499"/>
                <a:gd name="T79" fmla="*/ 926 h 955"/>
                <a:gd name="T80" fmla="*/ 942 w 1499"/>
                <a:gd name="T81" fmla="*/ 912 h 955"/>
                <a:gd name="T82" fmla="*/ 974 w 1499"/>
                <a:gd name="T83" fmla="*/ 886 h 955"/>
                <a:gd name="T84" fmla="*/ 1003 w 1499"/>
                <a:gd name="T85" fmla="*/ 897 h 955"/>
                <a:gd name="T86" fmla="*/ 1055 w 1499"/>
                <a:gd name="T87" fmla="*/ 876 h 955"/>
                <a:gd name="T88" fmla="*/ 1101 w 1499"/>
                <a:gd name="T89" fmla="*/ 839 h 955"/>
                <a:gd name="T90" fmla="*/ 1136 w 1499"/>
                <a:gd name="T91" fmla="*/ 795 h 955"/>
                <a:gd name="T92" fmla="*/ 1166 w 1499"/>
                <a:gd name="T93" fmla="*/ 743 h 955"/>
                <a:gd name="T94" fmla="*/ 1178 w 1499"/>
                <a:gd name="T95" fmla="*/ 711 h 955"/>
                <a:gd name="T96" fmla="*/ 1149 w 1499"/>
                <a:gd name="T97" fmla="*/ 644 h 955"/>
                <a:gd name="T98" fmla="*/ 1139 w 1499"/>
                <a:gd name="T99" fmla="*/ 539 h 955"/>
                <a:gd name="T100" fmla="*/ 1203 w 1499"/>
                <a:gd name="T101" fmla="*/ 493 h 955"/>
                <a:gd name="T102" fmla="*/ 1095 w 1499"/>
                <a:gd name="T103" fmla="*/ 472 h 955"/>
                <a:gd name="T104" fmla="*/ 1178 w 1499"/>
                <a:gd name="T105" fmla="*/ 436 h 955"/>
                <a:gd name="T106" fmla="*/ 1285 w 1499"/>
                <a:gd name="T107" fmla="*/ 389 h 955"/>
                <a:gd name="T108" fmla="*/ 1352 w 1499"/>
                <a:gd name="T109" fmla="*/ 355 h 955"/>
                <a:gd name="T110" fmla="*/ 1420 w 1499"/>
                <a:gd name="T111" fmla="*/ 267 h 955"/>
                <a:gd name="T112" fmla="*/ 1476 w 1499"/>
                <a:gd name="T113" fmla="*/ 232 h 955"/>
                <a:gd name="T114" fmla="*/ 1499 w 1499"/>
                <a:gd name="T115" fmla="*/ 167 h 955"/>
                <a:gd name="T116" fmla="*/ 1401 w 1499"/>
                <a:gd name="T117" fmla="*/ 168 h 955"/>
                <a:gd name="T118" fmla="*/ 1325 w 1499"/>
                <a:gd name="T119" fmla="*/ 123 h 955"/>
                <a:gd name="T120" fmla="*/ 1285 w 1499"/>
                <a:gd name="T121" fmla="*/ 24 h 9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99" h="955">
                  <a:moveTo>
                    <a:pt x="133" y="588"/>
                  </a:moveTo>
                  <a:cubicBezTo>
                    <a:pt x="134" y="588"/>
                    <a:pt x="134" y="588"/>
                    <a:pt x="134" y="588"/>
                  </a:cubicBezTo>
                  <a:cubicBezTo>
                    <a:pt x="133" y="588"/>
                    <a:pt x="133" y="588"/>
                    <a:pt x="133" y="588"/>
                  </a:cubicBezTo>
                  <a:moveTo>
                    <a:pt x="127" y="591"/>
                  </a:moveTo>
                  <a:cubicBezTo>
                    <a:pt x="127" y="590"/>
                    <a:pt x="127" y="590"/>
                    <a:pt x="127" y="589"/>
                  </a:cubicBezTo>
                  <a:cubicBezTo>
                    <a:pt x="127" y="589"/>
                    <a:pt x="127" y="589"/>
                    <a:pt x="127" y="589"/>
                  </a:cubicBezTo>
                  <a:cubicBezTo>
                    <a:pt x="131" y="588"/>
                    <a:pt x="131" y="588"/>
                    <a:pt x="131" y="588"/>
                  </a:cubicBezTo>
                  <a:cubicBezTo>
                    <a:pt x="132" y="588"/>
                    <a:pt x="132" y="588"/>
                    <a:pt x="132" y="588"/>
                  </a:cubicBezTo>
                  <a:cubicBezTo>
                    <a:pt x="127" y="591"/>
                    <a:pt x="127" y="591"/>
                    <a:pt x="127" y="591"/>
                  </a:cubicBezTo>
                  <a:cubicBezTo>
                    <a:pt x="127" y="591"/>
                    <a:pt x="127" y="591"/>
                    <a:pt x="127" y="591"/>
                  </a:cubicBezTo>
                  <a:moveTo>
                    <a:pt x="127" y="589"/>
                  </a:moveTo>
                  <a:cubicBezTo>
                    <a:pt x="128" y="588"/>
                    <a:pt x="128" y="588"/>
                    <a:pt x="128" y="588"/>
                  </a:cubicBezTo>
                  <a:cubicBezTo>
                    <a:pt x="128" y="588"/>
                    <a:pt x="129" y="588"/>
                    <a:pt x="129" y="588"/>
                  </a:cubicBezTo>
                  <a:cubicBezTo>
                    <a:pt x="129" y="588"/>
                    <a:pt x="130" y="588"/>
                    <a:pt x="130" y="588"/>
                  </a:cubicBezTo>
                  <a:cubicBezTo>
                    <a:pt x="130" y="588"/>
                    <a:pt x="130" y="588"/>
                    <a:pt x="130" y="588"/>
                  </a:cubicBezTo>
                  <a:cubicBezTo>
                    <a:pt x="130" y="588"/>
                    <a:pt x="129" y="588"/>
                    <a:pt x="129" y="588"/>
                  </a:cubicBezTo>
                  <a:cubicBezTo>
                    <a:pt x="129" y="588"/>
                    <a:pt x="128" y="588"/>
                    <a:pt x="128" y="588"/>
                  </a:cubicBezTo>
                  <a:cubicBezTo>
                    <a:pt x="127" y="589"/>
                    <a:pt x="127" y="589"/>
                    <a:pt x="127" y="589"/>
                  </a:cubicBezTo>
                  <a:moveTo>
                    <a:pt x="142" y="584"/>
                  </a:moveTo>
                  <a:cubicBezTo>
                    <a:pt x="142" y="583"/>
                    <a:pt x="143" y="583"/>
                    <a:pt x="143" y="582"/>
                  </a:cubicBezTo>
                  <a:cubicBezTo>
                    <a:pt x="143" y="583"/>
                    <a:pt x="142" y="583"/>
                    <a:pt x="142" y="584"/>
                  </a:cubicBezTo>
                  <a:moveTo>
                    <a:pt x="144" y="577"/>
                  </a:moveTo>
                  <a:cubicBezTo>
                    <a:pt x="144" y="577"/>
                    <a:pt x="144" y="576"/>
                    <a:pt x="144" y="576"/>
                  </a:cubicBezTo>
                  <a:cubicBezTo>
                    <a:pt x="144" y="576"/>
                    <a:pt x="144" y="577"/>
                    <a:pt x="144" y="577"/>
                  </a:cubicBezTo>
                  <a:cubicBezTo>
                    <a:pt x="144" y="577"/>
                    <a:pt x="144" y="577"/>
                    <a:pt x="144" y="577"/>
                  </a:cubicBezTo>
                  <a:cubicBezTo>
                    <a:pt x="144" y="577"/>
                    <a:pt x="144" y="577"/>
                    <a:pt x="144" y="577"/>
                  </a:cubicBezTo>
                  <a:moveTo>
                    <a:pt x="143" y="576"/>
                  </a:moveTo>
                  <a:cubicBezTo>
                    <a:pt x="143" y="576"/>
                    <a:pt x="143" y="576"/>
                    <a:pt x="143" y="576"/>
                  </a:cubicBezTo>
                  <a:cubicBezTo>
                    <a:pt x="143" y="576"/>
                    <a:pt x="143" y="576"/>
                    <a:pt x="143" y="576"/>
                  </a:cubicBezTo>
                  <a:cubicBezTo>
                    <a:pt x="143" y="576"/>
                    <a:pt x="143" y="576"/>
                    <a:pt x="143" y="576"/>
                  </a:cubicBezTo>
                  <a:moveTo>
                    <a:pt x="145" y="576"/>
                  </a:moveTo>
                  <a:cubicBezTo>
                    <a:pt x="145" y="576"/>
                    <a:pt x="145" y="576"/>
                    <a:pt x="145" y="576"/>
                  </a:cubicBezTo>
                  <a:cubicBezTo>
                    <a:pt x="145" y="576"/>
                    <a:pt x="145" y="576"/>
                    <a:pt x="145" y="576"/>
                  </a:cubicBezTo>
                  <a:cubicBezTo>
                    <a:pt x="145" y="576"/>
                    <a:pt x="145" y="576"/>
                    <a:pt x="145" y="576"/>
                  </a:cubicBezTo>
                  <a:cubicBezTo>
                    <a:pt x="145" y="576"/>
                    <a:pt x="145" y="576"/>
                    <a:pt x="145" y="576"/>
                  </a:cubicBezTo>
                  <a:moveTo>
                    <a:pt x="146" y="577"/>
                  </a:moveTo>
                  <a:cubicBezTo>
                    <a:pt x="146" y="577"/>
                    <a:pt x="147" y="576"/>
                    <a:pt x="147" y="576"/>
                  </a:cubicBezTo>
                  <a:cubicBezTo>
                    <a:pt x="147" y="576"/>
                    <a:pt x="146" y="577"/>
                    <a:pt x="146" y="577"/>
                  </a:cubicBezTo>
                  <a:cubicBezTo>
                    <a:pt x="146" y="577"/>
                    <a:pt x="146" y="577"/>
                    <a:pt x="146" y="577"/>
                  </a:cubicBezTo>
                  <a:moveTo>
                    <a:pt x="147" y="576"/>
                  </a:moveTo>
                  <a:cubicBezTo>
                    <a:pt x="147" y="576"/>
                    <a:pt x="147" y="576"/>
                    <a:pt x="147" y="576"/>
                  </a:cubicBezTo>
                  <a:cubicBezTo>
                    <a:pt x="148" y="574"/>
                    <a:pt x="149" y="573"/>
                    <a:pt x="151" y="571"/>
                  </a:cubicBezTo>
                  <a:cubicBezTo>
                    <a:pt x="153" y="569"/>
                    <a:pt x="155" y="566"/>
                    <a:pt x="157" y="563"/>
                  </a:cubicBezTo>
                  <a:cubicBezTo>
                    <a:pt x="157" y="562"/>
                    <a:pt x="158" y="561"/>
                    <a:pt x="158" y="560"/>
                  </a:cubicBezTo>
                  <a:cubicBezTo>
                    <a:pt x="159" y="559"/>
                    <a:pt x="159" y="558"/>
                    <a:pt x="160" y="557"/>
                  </a:cubicBezTo>
                  <a:cubicBezTo>
                    <a:pt x="159" y="558"/>
                    <a:pt x="159" y="559"/>
                    <a:pt x="158" y="560"/>
                  </a:cubicBezTo>
                  <a:cubicBezTo>
                    <a:pt x="158" y="561"/>
                    <a:pt x="157" y="562"/>
                    <a:pt x="157" y="563"/>
                  </a:cubicBezTo>
                  <a:cubicBezTo>
                    <a:pt x="155" y="566"/>
                    <a:pt x="153" y="569"/>
                    <a:pt x="151" y="571"/>
                  </a:cubicBezTo>
                  <a:cubicBezTo>
                    <a:pt x="149" y="573"/>
                    <a:pt x="148" y="574"/>
                    <a:pt x="147" y="576"/>
                  </a:cubicBezTo>
                  <a:cubicBezTo>
                    <a:pt x="147" y="576"/>
                    <a:pt x="147" y="576"/>
                    <a:pt x="147" y="576"/>
                  </a:cubicBezTo>
                  <a:moveTo>
                    <a:pt x="160" y="557"/>
                  </a:moveTo>
                  <a:cubicBezTo>
                    <a:pt x="161" y="554"/>
                    <a:pt x="161" y="552"/>
                    <a:pt x="162" y="550"/>
                  </a:cubicBezTo>
                  <a:cubicBezTo>
                    <a:pt x="163" y="549"/>
                    <a:pt x="163" y="549"/>
                    <a:pt x="163" y="548"/>
                  </a:cubicBezTo>
                  <a:cubicBezTo>
                    <a:pt x="163" y="549"/>
                    <a:pt x="163" y="549"/>
                    <a:pt x="162" y="550"/>
                  </a:cubicBezTo>
                  <a:cubicBezTo>
                    <a:pt x="161" y="552"/>
                    <a:pt x="161" y="554"/>
                    <a:pt x="160" y="557"/>
                  </a:cubicBezTo>
                  <a:moveTo>
                    <a:pt x="132" y="534"/>
                  </a:moveTo>
                  <a:cubicBezTo>
                    <a:pt x="133" y="534"/>
                    <a:pt x="133" y="534"/>
                    <a:pt x="133" y="534"/>
                  </a:cubicBezTo>
                  <a:cubicBezTo>
                    <a:pt x="133" y="534"/>
                    <a:pt x="133" y="534"/>
                    <a:pt x="132" y="534"/>
                  </a:cubicBezTo>
                  <a:cubicBezTo>
                    <a:pt x="132" y="534"/>
                    <a:pt x="132" y="534"/>
                    <a:pt x="132" y="534"/>
                  </a:cubicBezTo>
                  <a:moveTo>
                    <a:pt x="1219" y="0"/>
                  </a:moveTo>
                  <a:cubicBezTo>
                    <a:pt x="1219" y="1"/>
                    <a:pt x="1219" y="1"/>
                    <a:pt x="1219" y="1"/>
                  </a:cubicBezTo>
                  <a:cubicBezTo>
                    <a:pt x="1218" y="1"/>
                    <a:pt x="1218" y="1"/>
                    <a:pt x="1218" y="1"/>
                  </a:cubicBezTo>
                  <a:cubicBezTo>
                    <a:pt x="1217" y="1"/>
                    <a:pt x="1216" y="1"/>
                    <a:pt x="1215" y="1"/>
                  </a:cubicBezTo>
                  <a:cubicBezTo>
                    <a:pt x="1212" y="2"/>
                    <a:pt x="1212" y="2"/>
                    <a:pt x="1212" y="2"/>
                  </a:cubicBezTo>
                  <a:cubicBezTo>
                    <a:pt x="1209" y="3"/>
                    <a:pt x="1205" y="3"/>
                    <a:pt x="1201" y="4"/>
                  </a:cubicBezTo>
                  <a:cubicBezTo>
                    <a:pt x="1189" y="5"/>
                    <a:pt x="1189" y="5"/>
                    <a:pt x="1189" y="5"/>
                  </a:cubicBezTo>
                  <a:cubicBezTo>
                    <a:pt x="1186" y="5"/>
                    <a:pt x="1186" y="5"/>
                    <a:pt x="1186" y="5"/>
                  </a:cubicBezTo>
                  <a:cubicBezTo>
                    <a:pt x="1180" y="6"/>
                    <a:pt x="1174" y="8"/>
                    <a:pt x="1168" y="8"/>
                  </a:cubicBezTo>
                  <a:cubicBezTo>
                    <a:pt x="1168" y="8"/>
                    <a:pt x="1167" y="9"/>
                    <a:pt x="1166" y="9"/>
                  </a:cubicBezTo>
                  <a:cubicBezTo>
                    <a:pt x="1165" y="9"/>
                    <a:pt x="1165" y="9"/>
                    <a:pt x="1165" y="9"/>
                  </a:cubicBezTo>
                  <a:cubicBezTo>
                    <a:pt x="1164" y="9"/>
                    <a:pt x="1164" y="9"/>
                    <a:pt x="1163" y="9"/>
                  </a:cubicBezTo>
                  <a:cubicBezTo>
                    <a:pt x="1161" y="9"/>
                    <a:pt x="1161" y="9"/>
                    <a:pt x="1161" y="9"/>
                  </a:cubicBezTo>
                  <a:cubicBezTo>
                    <a:pt x="1161" y="9"/>
                    <a:pt x="1161" y="9"/>
                    <a:pt x="1161" y="9"/>
                  </a:cubicBezTo>
                  <a:cubicBezTo>
                    <a:pt x="1159" y="11"/>
                    <a:pt x="1159" y="11"/>
                    <a:pt x="1159" y="11"/>
                  </a:cubicBezTo>
                  <a:cubicBezTo>
                    <a:pt x="1157" y="12"/>
                    <a:pt x="1155" y="14"/>
                    <a:pt x="1153" y="16"/>
                  </a:cubicBezTo>
                  <a:cubicBezTo>
                    <a:pt x="1152" y="17"/>
                    <a:pt x="1152" y="17"/>
                    <a:pt x="1152" y="17"/>
                  </a:cubicBezTo>
                  <a:cubicBezTo>
                    <a:pt x="1151" y="18"/>
                    <a:pt x="1150" y="19"/>
                    <a:pt x="1149" y="20"/>
                  </a:cubicBezTo>
                  <a:cubicBezTo>
                    <a:pt x="1149" y="20"/>
                    <a:pt x="1149" y="20"/>
                    <a:pt x="1149" y="20"/>
                  </a:cubicBezTo>
                  <a:cubicBezTo>
                    <a:pt x="1148" y="20"/>
                    <a:pt x="1148" y="21"/>
                    <a:pt x="1147" y="21"/>
                  </a:cubicBezTo>
                  <a:cubicBezTo>
                    <a:pt x="1145" y="23"/>
                    <a:pt x="1144" y="24"/>
                    <a:pt x="1142" y="25"/>
                  </a:cubicBezTo>
                  <a:cubicBezTo>
                    <a:pt x="1142" y="26"/>
                    <a:pt x="1142" y="26"/>
                    <a:pt x="1142" y="26"/>
                  </a:cubicBezTo>
                  <a:cubicBezTo>
                    <a:pt x="1142" y="26"/>
                    <a:pt x="1142" y="26"/>
                    <a:pt x="1142" y="26"/>
                  </a:cubicBezTo>
                  <a:cubicBezTo>
                    <a:pt x="1144" y="26"/>
                    <a:pt x="1145" y="26"/>
                    <a:pt x="1146" y="25"/>
                  </a:cubicBezTo>
                  <a:cubicBezTo>
                    <a:pt x="1147" y="25"/>
                    <a:pt x="1148" y="25"/>
                    <a:pt x="1149" y="25"/>
                  </a:cubicBezTo>
                  <a:cubicBezTo>
                    <a:pt x="1150" y="25"/>
                    <a:pt x="1151" y="25"/>
                    <a:pt x="1152" y="25"/>
                  </a:cubicBezTo>
                  <a:cubicBezTo>
                    <a:pt x="1152" y="26"/>
                    <a:pt x="1152" y="26"/>
                    <a:pt x="1152" y="26"/>
                  </a:cubicBezTo>
                  <a:cubicBezTo>
                    <a:pt x="1153" y="26"/>
                    <a:pt x="1153" y="26"/>
                    <a:pt x="1154" y="26"/>
                  </a:cubicBezTo>
                  <a:cubicBezTo>
                    <a:pt x="1154" y="27"/>
                    <a:pt x="1154" y="27"/>
                    <a:pt x="1154" y="27"/>
                  </a:cubicBezTo>
                  <a:cubicBezTo>
                    <a:pt x="1155" y="27"/>
                    <a:pt x="1155" y="27"/>
                    <a:pt x="1156" y="27"/>
                  </a:cubicBezTo>
                  <a:cubicBezTo>
                    <a:pt x="1156" y="27"/>
                    <a:pt x="1156" y="27"/>
                    <a:pt x="1156" y="27"/>
                  </a:cubicBezTo>
                  <a:cubicBezTo>
                    <a:pt x="1157" y="28"/>
                    <a:pt x="1157" y="28"/>
                    <a:pt x="1157" y="28"/>
                  </a:cubicBezTo>
                  <a:cubicBezTo>
                    <a:pt x="1159" y="29"/>
                    <a:pt x="1159" y="31"/>
                    <a:pt x="1159" y="33"/>
                  </a:cubicBezTo>
                  <a:cubicBezTo>
                    <a:pt x="1159" y="33"/>
                    <a:pt x="1159" y="33"/>
                    <a:pt x="1159" y="33"/>
                  </a:cubicBezTo>
                  <a:cubicBezTo>
                    <a:pt x="1158" y="38"/>
                    <a:pt x="1158" y="38"/>
                    <a:pt x="1158" y="38"/>
                  </a:cubicBezTo>
                  <a:cubicBezTo>
                    <a:pt x="1159" y="39"/>
                    <a:pt x="1159" y="39"/>
                    <a:pt x="1159" y="39"/>
                  </a:cubicBezTo>
                  <a:cubicBezTo>
                    <a:pt x="1160" y="40"/>
                    <a:pt x="1160" y="40"/>
                    <a:pt x="1160" y="40"/>
                  </a:cubicBezTo>
                  <a:cubicBezTo>
                    <a:pt x="1160" y="41"/>
                    <a:pt x="1160" y="41"/>
                    <a:pt x="1160" y="41"/>
                  </a:cubicBezTo>
                  <a:cubicBezTo>
                    <a:pt x="1160" y="41"/>
                    <a:pt x="1160" y="41"/>
                    <a:pt x="1160" y="41"/>
                  </a:cubicBezTo>
                  <a:cubicBezTo>
                    <a:pt x="1161" y="42"/>
                    <a:pt x="1161" y="42"/>
                    <a:pt x="1161" y="42"/>
                  </a:cubicBezTo>
                  <a:cubicBezTo>
                    <a:pt x="1161" y="43"/>
                    <a:pt x="1161" y="43"/>
                    <a:pt x="1161" y="43"/>
                  </a:cubicBezTo>
                  <a:cubicBezTo>
                    <a:pt x="1161" y="44"/>
                    <a:pt x="1161" y="45"/>
                    <a:pt x="1160" y="46"/>
                  </a:cubicBezTo>
                  <a:cubicBezTo>
                    <a:pt x="1158" y="49"/>
                    <a:pt x="1156" y="51"/>
                    <a:pt x="1153" y="53"/>
                  </a:cubicBezTo>
                  <a:cubicBezTo>
                    <a:pt x="1141" y="67"/>
                    <a:pt x="1141" y="67"/>
                    <a:pt x="1141" y="67"/>
                  </a:cubicBezTo>
                  <a:cubicBezTo>
                    <a:pt x="1139" y="69"/>
                    <a:pt x="1139" y="69"/>
                    <a:pt x="1139" y="69"/>
                  </a:cubicBezTo>
                  <a:cubicBezTo>
                    <a:pt x="1137" y="72"/>
                    <a:pt x="1136" y="75"/>
                    <a:pt x="1134" y="78"/>
                  </a:cubicBezTo>
                  <a:cubicBezTo>
                    <a:pt x="1130" y="85"/>
                    <a:pt x="1130" y="85"/>
                    <a:pt x="1130" y="85"/>
                  </a:cubicBezTo>
                  <a:cubicBezTo>
                    <a:pt x="1126" y="93"/>
                    <a:pt x="1126" y="93"/>
                    <a:pt x="1126" y="93"/>
                  </a:cubicBezTo>
                  <a:cubicBezTo>
                    <a:pt x="1125" y="101"/>
                    <a:pt x="1125" y="101"/>
                    <a:pt x="1125" y="101"/>
                  </a:cubicBezTo>
                  <a:cubicBezTo>
                    <a:pt x="1126" y="102"/>
                    <a:pt x="1126" y="102"/>
                    <a:pt x="1126" y="102"/>
                  </a:cubicBezTo>
                  <a:cubicBezTo>
                    <a:pt x="1126" y="103"/>
                    <a:pt x="1126" y="103"/>
                    <a:pt x="1126" y="103"/>
                  </a:cubicBezTo>
                  <a:cubicBezTo>
                    <a:pt x="1126" y="104"/>
                    <a:pt x="1125" y="104"/>
                    <a:pt x="1125" y="105"/>
                  </a:cubicBezTo>
                  <a:cubicBezTo>
                    <a:pt x="1125" y="106"/>
                    <a:pt x="1125" y="106"/>
                    <a:pt x="1125" y="106"/>
                  </a:cubicBezTo>
                  <a:cubicBezTo>
                    <a:pt x="1125" y="107"/>
                    <a:pt x="1125" y="107"/>
                    <a:pt x="1125" y="107"/>
                  </a:cubicBezTo>
                  <a:cubicBezTo>
                    <a:pt x="1125" y="107"/>
                    <a:pt x="1125" y="107"/>
                    <a:pt x="1125" y="108"/>
                  </a:cubicBezTo>
                  <a:cubicBezTo>
                    <a:pt x="1125" y="108"/>
                    <a:pt x="1125" y="109"/>
                    <a:pt x="1125" y="109"/>
                  </a:cubicBezTo>
                  <a:cubicBezTo>
                    <a:pt x="1125" y="110"/>
                    <a:pt x="1125" y="110"/>
                    <a:pt x="1125" y="111"/>
                  </a:cubicBezTo>
                  <a:cubicBezTo>
                    <a:pt x="1125" y="111"/>
                    <a:pt x="1125" y="111"/>
                    <a:pt x="1125" y="111"/>
                  </a:cubicBezTo>
                  <a:cubicBezTo>
                    <a:pt x="1124" y="112"/>
                    <a:pt x="1123" y="113"/>
                    <a:pt x="1123" y="113"/>
                  </a:cubicBezTo>
                  <a:cubicBezTo>
                    <a:pt x="1122" y="113"/>
                    <a:pt x="1122" y="113"/>
                    <a:pt x="1122" y="113"/>
                  </a:cubicBezTo>
                  <a:cubicBezTo>
                    <a:pt x="1114" y="117"/>
                    <a:pt x="1114" y="117"/>
                    <a:pt x="1114" y="117"/>
                  </a:cubicBezTo>
                  <a:cubicBezTo>
                    <a:pt x="1104" y="119"/>
                    <a:pt x="1104" y="119"/>
                    <a:pt x="1104" y="119"/>
                  </a:cubicBezTo>
                  <a:cubicBezTo>
                    <a:pt x="1102" y="119"/>
                    <a:pt x="1099" y="122"/>
                    <a:pt x="1097" y="124"/>
                  </a:cubicBezTo>
                  <a:cubicBezTo>
                    <a:pt x="1097" y="124"/>
                    <a:pt x="1097" y="124"/>
                    <a:pt x="1097" y="124"/>
                  </a:cubicBezTo>
                  <a:cubicBezTo>
                    <a:pt x="1087" y="132"/>
                    <a:pt x="1087" y="132"/>
                    <a:pt x="1087" y="132"/>
                  </a:cubicBezTo>
                  <a:cubicBezTo>
                    <a:pt x="1078" y="129"/>
                    <a:pt x="1078" y="129"/>
                    <a:pt x="1078" y="129"/>
                  </a:cubicBezTo>
                  <a:cubicBezTo>
                    <a:pt x="1077" y="131"/>
                    <a:pt x="1077" y="131"/>
                    <a:pt x="1077" y="131"/>
                  </a:cubicBezTo>
                  <a:cubicBezTo>
                    <a:pt x="1076" y="128"/>
                    <a:pt x="1076" y="128"/>
                    <a:pt x="1076" y="128"/>
                  </a:cubicBezTo>
                  <a:cubicBezTo>
                    <a:pt x="1062" y="124"/>
                    <a:pt x="1062" y="124"/>
                    <a:pt x="1062" y="124"/>
                  </a:cubicBezTo>
                  <a:cubicBezTo>
                    <a:pt x="1061" y="123"/>
                    <a:pt x="1060" y="123"/>
                    <a:pt x="1059" y="123"/>
                  </a:cubicBezTo>
                  <a:cubicBezTo>
                    <a:pt x="1053" y="133"/>
                    <a:pt x="1053" y="133"/>
                    <a:pt x="1053" y="133"/>
                  </a:cubicBezTo>
                  <a:cubicBezTo>
                    <a:pt x="1051" y="138"/>
                    <a:pt x="1048" y="143"/>
                    <a:pt x="1046" y="148"/>
                  </a:cubicBezTo>
                  <a:cubicBezTo>
                    <a:pt x="1038" y="163"/>
                    <a:pt x="1038" y="163"/>
                    <a:pt x="1038" y="163"/>
                  </a:cubicBezTo>
                  <a:cubicBezTo>
                    <a:pt x="1038" y="163"/>
                    <a:pt x="1038" y="163"/>
                    <a:pt x="1038" y="164"/>
                  </a:cubicBezTo>
                  <a:cubicBezTo>
                    <a:pt x="1039" y="165"/>
                    <a:pt x="1039" y="165"/>
                    <a:pt x="1039" y="165"/>
                  </a:cubicBezTo>
                  <a:cubicBezTo>
                    <a:pt x="1039" y="167"/>
                    <a:pt x="1039" y="170"/>
                    <a:pt x="1037" y="172"/>
                  </a:cubicBezTo>
                  <a:cubicBezTo>
                    <a:pt x="1035" y="173"/>
                    <a:pt x="1034" y="173"/>
                    <a:pt x="1033" y="174"/>
                  </a:cubicBezTo>
                  <a:cubicBezTo>
                    <a:pt x="1033" y="174"/>
                    <a:pt x="1032" y="174"/>
                    <a:pt x="1032" y="174"/>
                  </a:cubicBezTo>
                  <a:cubicBezTo>
                    <a:pt x="1032" y="175"/>
                    <a:pt x="1032" y="176"/>
                    <a:pt x="1032" y="177"/>
                  </a:cubicBezTo>
                  <a:cubicBezTo>
                    <a:pt x="1032" y="177"/>
                    <a:pt x="1032" y="177"/>
                    <a:pt x="1032" y="177"/>
                  </a:cubicBezTo>
                  <a:cubicBezTo>
                    <a:pt x="1033" y="177"/>
                    <a:pt x="1033" y="177"/>
                    <a:pt x="1033" y="177"/>
                  </a:cubicBezTo>
                  <a:cubicBezTo>
                    <a:pt x="1033" y="178"/>
                    <a:pt x="1033" y="178"/>
                    <a:pt x="1033" y="178"/>
                  </a:cubicBezTo>
                  <a:cubicBezTo>
                    <a:pt x="1033" y="179"/>
                    <a:pt x="1034" y="180"/>
                    <a:pt x="1035" y="180"/>
                  </a:cubicBezTo>
                  <a:cubicBezTo>
                    <a:pt x="1037" y="182"/>
                    <a:pt x="1038" y="183"/>
                    <a:pt x="1038" y="183"/>
                  </a:cubicBezTo>
                  <a:cubicBezTo>
                    <a:pt x="1039" y="183"/>
                    <a:pt x="1040" y="182"/>
                    <a:pt x="1041" y="181"/>
                  </a:cubicBezTo>
                  <a:cubicBezTo>
                    <a:pt x="1044" y="181"/>
                    <a:pt x="1046" y="180"/>
                    <a:pt x="1050" y="180"/>
                  </a:cubicBezTo>
                  <a:cubicBezTo>
                    <a:pt x="1061" y="179"/>
                    <a:pt x="1061" y="179"/>
                    <a:pt x="1061" y="179"/>
                  </a:cubicBezTo>
                  <a:cubicBezTo>
                    <a:pt x="1062" y="179"/>
                    <a:pt x="1062" y="179"/>
                    <a:pt x="1062" y="179"/>
                  </a:cubicBezTo>
                  <a:cubicBezTo>
                    <a:pt x="1064" y="179"/>
                    <a:pt x="1065" y="179"/>
                    <a:pt x="1067" y="180"/>
                  </a:cubicBezTo>
                  <a:cubicBezTo>
                    <a:pt x="1067" y="181"/>
                    <a:pt x="1068" y="181"/>
                    <a:pt x="1069" y="181"/>
                  </a:cubicBezTo>
                  <a:cubicBezTo>
                    <a:pt x="1069" y="182"/>
                    <a:pt x="1069" y="182"/>
                    <a:pt x="1069" y="182"/>
                  </a:cubicBezTo>
                  <a:cubicBezTo>
                    <a:pt x="1071" y="183"/>
                    <a:pt x="1072" y="184"/>
                    <a:pt x="1073" y="185"/>
                  </a:cubicBezTo>
                  <a:cubicBezTo>
                    <a:pt x="1073" y="184"/>
                    <a:pt x="1073" y="184"/>
                    <a:pt x="1073" y="184"/>
                  </a:cubicBezTo>
                  <a:cubicBezTo>
                    <a:pt x="1074" y="183"/>
                    <a:pt x="1074" y="183"/>
                    <a:pt x="1074" y="183"/>
                  </a:cubicBezTo>
                  <a:cubicBezTo>
                    <a:pt x="1074" y="183"/>
                    <a:pt x="1074" y="183"/>
                    <a:pt x="1075" y="183"/>
                  </a:cubicBezTo>
                  <a:cubicBezTo>
                    <a:pt x="1077" y="179"/>
                    <a:pt x="1080" y="177"/>
                    <a:pt x="1085" y="177"/>
                  </a:cubicBezTo>
                  <a:cubicBezTo>
                    <a:pt x="1086" y="176"/>
                    <a:pt x="1087" y="176"/>
                    <a:pt x="1088" y="176"/>
                  </a:cubicBezTo>
                  <a:cubicBezTo>
                    <a:pt x="1089" y="176"/>
                    <a:pt x="1089" y="176"/>
                    <a:pt x="1089" y="176"/>
                  </a:cubicBezTo>
                  <a:cubicBezTo>
                    <a:pt x="1091" y="176"/>
                    <a:pt x="1092" y="176"/>
                    <a:pt x="1093" y="176"/>
                  </a:cubicBezTo>
                  <a:cubicBezTo>
                    <a:pt x="1095" y="175"/>
                    <a:pt x="1098" y="175"/>
                    <a:pt x="1100" y="175"/>
                  </a:cubicBezTo>
                  <a:cubicBezTo>
                    <a:pt x="1101" y="175"/>
                    <a:pt x="1101" y="175"/>
                    <a:pt x="1102" y="175"/>
                  </a:cubicBezTo>
                  <a:cubicBezTo>
                    <a:pt x="1103" y="175"/>
                    <a:pt x="1103" y="175"/>
                    <a:pt x="1104" y="176"/>
                  </a:cubicBezTo>
                  <a:cubicBezTo>
                    <a:pt x="1105" y="176"/>
                    <a:pt x="1106" y="176"/>
                    <a:pt x="1106" y="177"/>
                  </a:cubicBezTo>
                  <a:cubicBezTo>
                    <a:pt x="1107" y="178"/>
                    <a:pt x="1108" y="179"/>
                    <a:pt x="1108" y="179"/>
                  </a:cubicBezTo>
                  <a:cubicBezTo>
                    <a:pt x="1108" y="180"/>
                    <a:pt x="1109" y="180"/>
                    <a:pt x="1109" y="180"/>
                  </a:cubicBezTo>
                  <a:cubicBezTo>
                    <a:pt x="1110" y="181"/>
                    <a:pt x="1111" y="182"/>
                    <a:pt x="1113" y="183"/>
                  </a:cubicBezTo>
                  <a:cubicBezTo>
                    <a:pt x="1115" y="184"/>
                    <a:pt x="1117" y="185"/>
                    <a:pt x="1119" y="187"/>
                  </a:cubicBezTo>
                  <a:cubicBezTo>
                    <a:pt x="1120" y="188"/>
                    <a:pt x="1120" y="188"/>
                    <a:pt x="1120" y="188"/>
                  </a:cubicBezTo>
                  <a:cubicBezTo>
                    <a:pt x="1120" y="189"/>
                    <a:pt x="1120" y="189"/>
                    <a:pt x="1120" y="189"/>
                  </a:cubicBezTo>
                  <a:cubicBezTo>
                    <a:pt x="1121" y="190"/>
                    <a:pt x="1122" y="190"/>
                    <a:pt x="1123" y="191"/>
                  </a:cubicBezTo>
                  <a:cubicBezTo>
                    <a:pt x="1124" y="192"/>
                    <a:pt x="1126" y="193"/>
                    <a:pt x="1127" y="195"/>
                  </a:cubicBezTo>
                  <a:cubicBezTo>
                    <a:pt x="1128" y="196"/>
                    <a:pt x="1129" y="197"/>
                    <a:pt x="1131" y="198"/>
                  </a:cubicBezTo>
                  <a:cubicBezTo>
                    <a:pt x="1132" y="200"/>
                    <a:pt x="1134" y="201"/>
                    <a:pt x="1135" y="203"/>
                  </a:cubicBezTo>
                  <a:cubicBezTo>
                    <a:pt x="1139" y="208"/>
                    <a:pt x="1139" y="212"/>
                    <a:pt x="1139" y="218"/>
                  </a:cubicBezTo>
                  <a:cubicBezTo>
                    <a:pt x="1139" y="218"/>
                    <a:pt x="1139" y="218"/>
                    <a:pt x="1139" y="218"/>
                  </a:cubicBezTo>
                  <a:cubicBezTo>
                    <a:pt x="1138" y="219"/>
                    <a:pt x="1138" y="219"/>
                    <a:pt x="1138" y="219"/>
                  </a:cubicBezTo>
                  <a:cubicBezTo>
                    <a:pt x="1137" y="221"/>
                    <a:pt x="1136" y="222"/>
                    <a:pt x="1134" y="222"/>
                  </a:cubicBezTo>
                  <a:cubicBezTo>
                    <a:pt x="1121" y="221"/>
                    <a:pt x="1121" y="221"/>
                    <a:pt x="1121" y="221"/>
                  </a:cubicBezTo>
                  <a:cubicBezTo>
                    <a:pt x="1119" y="221"/>
                    <a:pt x="1117" y="221"/>
                    <a:pt x="1115" y="221"/>
                  </a:cubicBezTo>
                  <a:cubicBezTo>
                    <a:pt x="1112" y="221"/>
                    <a:pt x="1110" y="220"/>
                    <a:pt x="1107" y="220"/>
                  </a:cubicBezTo>
                  <a:cubicBezTo>
                    <a:pt x="1105" y="220"/>
                    <a:pt x="1103" y="221"/>
                    <a:pt x="1102" y="221"/>
                  </a:cubicBezTo>
                  <a:cubicBezTo>
                    <a:pt x="1095" y="223"/>
                    <a:pt x="1089" y="226"/>
                    <a:pt x="1083" y="228"/>
                  </a:cubicBezTo>
                  <a:cubicBezTo>
                    <a:pt x="1076" y="230"/>
                    <a:pt x="1076" y="230"/>
                    <a:pt x="1076" y="230"/>
                  </a:cubicBezTo>
                  <a:cubicBezTo>
                    <a:pt x="1075" y="231"/>
                    <a:pt x="1074" y="231"/>
                    <a:pt x="1073" y="231"/>
                  </a:cubicBezTo>
                  <a:cubicBezTo>
                    <a:pt x="1070" y="231"/>
                    <a:pt x="1070" y="231"/>
                    <a:pt x="1070" y="231"/>
                  </a:cubicBezTo>
                  <a:cubicBezTo>
                    <a:pt x="1068" y="231"/>
                    <a:pt x="1067" y="231"/>
                    <a:pt x="1065" y="231"/>
                  </a:cubicBezTo>
                  <a:cubicBezTo>
                    <a:pt x="1060" y="231"/>
                    <a:pt x="1057" y="232"/>
                    <a:pt x="1055" y="234"/>
                  </a:cubicBezTo>
                  <a:cubicBezTo>
                    <a:pt x="1051" y="237"/>
                    <a:pt x="1049" y="241"/>
                    <a:pt x="1049" y="242"/>
                  </a:cubicBezTo>
                  <a:cubicBezTo>
                    <a:pt x="1049" y="243"/>
                    <a:pt x="1049" y="243"/>
                    <a:pt x="1049" y="243"/>
                  </a:cubicBezTo>
                  <a:cubicBezTo>
                    <a:pt x="1050" y="245"/>
                    <a:pt x="1050" y="246"/>
                    <a:pt x="1049" y="248"/>
                  </a:cubicBezTo>
                  <a:cubicBezTo>
                    <a:pt x="1048" y="249"/>
                    <a:pt x="1047" y="250"/>
                    <a:pt x="1046" y="251"/>
                  </a:cubicBezTo>
                  <a:cubicBezTo>
                    <a:pt x="1045" y="251"/>
                    <a:pt x="1044" y="252"/>
                    <a:pt x="1043" y="252"/>
                  </a:cubicBezTo>
                  <a:cubicBezTo>
                    <a:pt x="1042" y="253"/>
                    <a:pt x="1042" y="253"/>
                    <a:pt x="1042" y="253"/>
                  </a:cubicBezTo>
                  <a:cubicBezTo>
                    <a:pt x="1042" y="253"/>
                    <a:pt x="1042" y="253"/>
                    <a:pt x="1042" y="253"/>
                  </a:cubicBezTo>
                  <a:cubicBezTo>
                    <a:pt x="1040" y="254"/>
                    <a:pt x="1040" y="254"/>
                    <a:pt x="1040" y="254"/>
                  </a:cubicBezTo>
                  <a:cubicBezTo>
                    <a:pt x="1040" y="255"/>
                    <a:pt x="1039" y="255"/>
                    <a:pt x="1038" y="255"/>
                  </a:cubicBezTo>
                  <a:cubicBezTo>
                    <a:pt x="1037" y="256"/>
                    <a:pt x="1037" y="256"/>
                    <a:pt x="1037" y="256"/>
                  </a:cubicBezTo>
                  <a:cubicBezTo>
                    <a:pt x="1037" y="256"/>
                    <a:pt x="1037" y="256"/>
                    <a:pt x="1037" y="256"/>
                  </a:cubicBezTo>
                  <a:cubicBezTo>
                    <a:pt x="1036" y="257"/>
                    <a:pt x="1036" y="257"/>
                    <a:pt x="1035" y="258"/>
                  </a:cubicBezTo>
                  <a:cubicBezTo>
                    <a:pt x="1033" y="259"/>
                    <a:pt x="1032" y="259"/>
                    <a:pt x="1031" y="259"/>
                  </a:cubicBezTo>
                  <a:cubicBezTo>
                    <a:pt x="1015" y="260"/>
                    <a:pt x="1015" y="260"/>
                    <a:pt x="1015" y="260"/>
                  </a:cubicBezTo>
                  <a:cubicBezTo>
                    <a:pt x="1015" y="260"/>
                    <a:pt x="1015" y="260"/>
                    <a:pt x="1015" y="260"/>
                  </a:cubicBezTo>
                  <a:cubicBezTo>
                    <a:pt x="1014" y="260"/>
                    <a:pt x="1014" y="259"/>
                    <a:pt x="1013" y="259"/>
                  </a:cubicBezTo>
                  <a:cubicBezTo>
                    <a:pt x="1012" y="259"/>
                    <a:pt x="1012" y="259"/>
                    <a:pt x="1011" y="259"/>
                  </a:cubicBezTo>
                  <a:cubicBezTo>
                    <a:pt x="1010" y="259"/>
                    <a:pt x="1010" y="259"/>
                    <a:pt x="1009" y="259"/>
                  </a:cubicBezTo>
                  <a:cubicBezTo>
                    <a:pt x="1009" y="260"/>
                    <a:pt x="1009" y="260"/>
                    <a:pt x="1009" y="260"/>
                  </a:cubicBezTo>
                  <a:cubicBezTo>
                    <a:pt x="1008" y="261"/>
                    <a:pt x="1008" y="261"/>
                    <a:pt x="1007" y="261"/>
                  </a:cubicBezTo>
                  <a:cubicBezTo>
                    <a:pt x="1007" y="262"/>
                    <a:pt x="1007" y="262"/>
                    <a:pt x="1007" y="262"/>
                  </a:cubicBezTo>
                  <a:cubicBezTo>
                    <a:pt x="1006" y="262"/>
                    <a:pt x="1006" y="262"/>
                    <a:pt x="1006" y="262"/>
                  </a:cubicBezTo>
                  <a:cubicBezTo>
                    <a:pt x="1009" y="265"/>
                    <a:pt x="1009" y="265"/>
                    <a:pt x="1009" y="265"/>
                  </a:cubicBezTo>
                  <a:cubicBezTo>
                    <a:pt x="1005" y="263"/>
                    <a:pt x="1005" y="263"/>
                    <a:pt x="1005" y="263"/>
                  </a:cubicBezTo>
                  <a:cubicBezTo>
                    <a:pt x="1005" y="264"/>
                    <a:pt x="1005" y="264"/>
                    <a:pt x="1005" y="264"/>
                  </a:cubicBezTo>
                  <a:cubicBezTo>
                    <a:pt x="1001" y="268"/>
                    <a:pt x="996" y="272"/>
                    <a:pt x="991" y="275"/>
                  </a:cubicBezTo>
                  <a:cubicBezTo>
                    <a:pt x="990" y="275"/>
                    <a:pt x="990" y="276"/>
                    <a:pt x="989" y="277"/>
                  </a:cubicBezTo>
                  <a:cubicBezTo>
                    <a:pt x="987" y="278"/>
                    <a:pt x="987" y="278"/>
                    <a:pt x="987" y="278"/>
                  </a:cubicBezTo>
                  <a:cubicBezTo>
                    <a:pt x="985" y="279"/>
                    <a:pt x="982" y="280"/>
                    <a:pt x="979" y="280"/>
                  </a:cubicBezTo>
                  <a:cubicBezTo>
                    <a:pt x="978" y="280"/>
                    <a:pt x="977" y="280"/>
                    <a:pt x="976" y="280"/>
                  </a:cubicBezTo>
                  <a:cubicBezTo>
                    <a:pt x="975" y="280"/>
                    <a:pt x="975" y="280"/>
                    <a:pt x="974" y="280"/>
                  </a:cubicBezTo>
                  <a:cubicBezTo>
                    <a:pt x="972" y="279"/>
                    <a:pt x="970" y="279"/>
                    <a:pt x="968" y="278"/>
                  </a:cubicBezTo>
                  <a:cubicBezTo>
                    <a:pt x="967" y="277"/>
                    <a:pt x="966" y="277"/>
                    <a:pt x="964" y="276"/>
                  </a:cubicBezTo>
                  <a:cubicBezTo>
                    <a:pt x="964" y="276"/>
                    <a:pt x="964" y="276"/>
                    <a:pt x="964" y="276"/>
                  </a:cubicBezTo>
                  <a:cubicBezTo>
                    <a:pt x="960" y="274"/>
                    <a:pt x="956" y="272"/>
                    <a:pt x="953" y="271"/>
                  </a:cubicBezTo>
                  <a:cubicBezTo>
                    <a:pt x="952" y="271"/>
                    <a:pt x="952" y="271"/>
                    <a:pt x="952" y="271"/>
                  </a:cubicBezTo>
                  <a:cubicBezTo>
                    <a:pt x="951" y="271"/>
                    <a:pt x="949" y="270"/>
                    <a:pt x="947" y="270"/>
                  </a:cubicBezTo>
                  <a:cubicBezTo>
                    <a:pt x="946" y="270"/>
                    <a:pt x="944" y="270"/>
                    <a:pt x="943" y="270"/>
                  </a:cubicBezTo>
                  <a:cubicBezTo>
                    <a:pt x="942" y="270"/>
                    <a:pt x="942" y="270"/>
                    <a:pt x="942" y="270"/>
                  </a:cubicBezTo>
                  <a:cubicBezTo>
                    <a:pt x="942" y="270"/>
                    <a:pt x="942" y="270"/>
                    <a:pt x="942" y="270"/>
                  </a:cubicBezTo>
                  <a:cubicBezTo>
                    <a:pt x="941" y="271"/>
                    <a:pt x="940" y="272"/>
                    <a:pt x="940" y="272"/>
                  </a:cubicBezTo>
                  <a:cubicBezTo>
                    <a:pt x="940" y="272"/>
                    <a:pt x="940" y="272"/>
                    <a:pt x="940" y="272"/>
                  </a:cubicBezTo>
                  <a:cubicBezTo>
                    <a:pt x="938" y="274"/>
                    <a:pt x="936" y="276"/>
                    <a:pt x="936" y="277"/>
                  </a:cubicBezTo>
                  <a:cubicBezTo>
                    <a:pt x="935" y="279"/>
                    <a:pt x="934" y="282"/>
                    <a:pt x="933" y="284"/>
                  </a:cubicBezTo>
                  <a:cubicBezTo>
                    <a:pt x="931" y="288"/>
                    <a:pt x="931" y="288"/>
                    <a:pt x="931" y="288"/>
                  </a:cubicBezTo>
                  <a:cubicBezTo>
                    <a:pt x="931" y="288"/>
                    <a:pt x="931" y="288"/>
                    <a:pt x="931" y="288"/>
                  </a:cubicBezTo>
                  <a:cubicBezTo>
                    <a:pt x="931" y="289"/>
                    <a:pt x="931" y="289"/>
                    <a:pt x="931" y="289"/>
                  </a:cubicBezTo>
                  <a:cubicBezTo>
                    <a:pt x="931" y="291"/>
                    <a:pt x="933" y="293"/>
                    <a:pt x="934" y="294"/>
                  </a:cubicBezTo>
                  <a:cubicBezTo>
                    <a:pt x="935" y="295"/>
                    <a:pt x="935" y="296"/>
                    <a:pt x="936" y="296"/>
                  </a:cubicBezTo>
                  <a:cubicBezTo>
                    <a:pt x="936" y="297"/>
                    <a:pt x="937" y="297"/>
                    <a:pt x="937" y="298"/>
                  </a:cubicBezTo>
                  <a:cubicBezTo>
                    <a:pt x="939" y="299"/>
                    <a:pt x="940" y="300"/>
                    <a:pt x="942" y="302"/>
                  </a:cubicBezTo>
                  <a:cubicBezTo>
                    <a:pt x="943" y="303"/>
                    <a:pt x="943" y="303"/>
                    <a:pt x="943" y="303"/>
                  </a:cubicBezTo>
                  <a:cubicBezTo>
                    <a:pt x="944" y="307"/>
                    <a:pt x="943" y="310"/>
                    <a:pt x="939" y="312"/>
                  </a:cubicBezTo>
                  <a:cubicBezTo>
                    <a:pt x="936" y="314"/>
                    <a:pt x="933" y="316"/>
                    <a:pt x="928" y="318"/>
                  </a:cubicBezTo>
                  <a:cubicBezTo>
                    <a:pt x="927" y="319"/>
                    <a:pt x="927" y="319"/>
                    <a:pt x="927" y="319"/>
                  </a:cubicBezTo>
                  <a:cubicBezTo>
                    <a:pt x="924" y="320"/>
                    <a:pt x="921" y="322"/>
                    <a:pt x="919" y="323"/>
                  </a:cubicBezTo>
                  <a:cubicBezTo>
                    <a:pt x="916" y="325"/>
                    <a:pt x="914" y="328"/>
                    <a:pt x="912" y="331"/>
                  </a:cubicBezTo>
                  <a:cubicBezTo>
                    <a:pt x="912" y="331"/>
                    <a:pt x="912" y="331"/>
                    <a:pt x="912" y="331"/>
                  </a:cubicBezTo>
                  <a:cubicBezTo>
                    <a:pt x="911" y="332"/>
                    <a:pt x="910" y="334"/>
                    <a:pt x="908" y="335"/>
                  </a:cubicBezTo>
                  <a:cubicBezTo>
                    <a:pt x="906" y="337"/>
                    <a:pt x="904" y="339"/>
                    <a:pt x="902" y="340"/>
                  </a:cubicBezTo>
                  <a:cubicBezTo>
                    <a:pt x="900" y="341"/>
                    <a:pt x="898" y="342"/>
                    <a:pt x="895" y="343"/>
                  </a:cubicBezTo>
                  <a:cubicBezTo>
                    <a:pt x="892" y="345"/>
                    <a:pt x="892" y="345"/>
                    <a:pt x="892" y="345"/>
                  </a:cubicBezTo>
                  <a:cubicBezTo>
                    <a:pt x="889" y="346"/>
                    <a:pt x="889" y="346"/>
                    <a:pt x="889" y="346"/>
                  </a:cubicBezTo>
                  <a:cubicBezTo>
                    <a:pt x="886" y="347"/>
                    <a:pt x="884" y="347"/>
                    <a:pt x="882" y="348"/>
                  </a:cubicBezTo>
                  <a:cubicBezTo>
                    <a:pt x="878" y="350"/>
                    <a:pt x="875" y="350"/>
                    <a:pt x="871" y="350"/>
                  </a:cubicBezTo>
                  <a:cubicBezTo>
                    <a:pt x="870" y="350"/>
                    <a:pt x="869" y="350"/>
                    <a:pt x="868" y="350"/>
                  </a:cubicBezTo>
                  <a:cubicBezTo>
                    <a:pt x="867" y="350"/>
                    <a:pt x="867" y="350"/>
                    <a:pt x="867" y="350"/>
                  </a:cubicBezTo>
                  <a:cubicBezTo>
                    <a:pt x="865" y="350"/>
                    <a:pt x="864" y="350"/>
                    <a:pt x="863" y="350"/>
                  </a:cubicBezTo>
                  <a:cubicBezTo>
                    <a:pt x="862" y="350"/>
                    <a:pt x="862" y="350"/>
                    <a:pt x="862" y="350"/>
                  </a:cubicBezTo>
                  <a:cubicBezTo>
                    <a:pt x="861" y="350"/>
                    <a:pt x="860" y="350"/>
                    <a:pt x="859" y="350"/>
                  </a:cubicBezTo>
                  <a:cubicBezTo>
                    <a:pt x="854" y="350"/>
                    <a:pt x="854" y="350"/>
                    <a:pt x="854" y="350"/>
                  </a:cubicBezTo>
                  <a:cubicBezTo>
                    <a:pt x="850" y="350"/>
                    <a:pt x="847" y="350"/>
                    <a:pt x="843" y="350"/>
                  </a:cubicBezTo>
                  <a:cubicBezTo>
                    <a:pt x="838" y="351"/>
                    <a:pt x="838" y="351"/>
                    <a:pt x="838" y="351"/>
                  </a:cubicBezTo>
                  <a:cubicBezTo>
                    <a:pt x="835" y="351"/>
                    <a:pt x="833" y="352"/>
                    <a:pt x="831" y="352"/>
                  </a:cubicBezTo>
                  <a:cubicBezTo>
                    <a:pt x="829" y="352"/>
                    <a:pt x="829" y="352"/>
                    <a:pt x="829" y="352"/>
                  </a:cubicBezTo>
                  <a:cubicBezTo>
                    <a:pt x="824" y="352"/>
                    <a:pt x="818" y="353"/>
                    <a:pt x="813" y="354"/>
                  </a:cubicBezTo>
                  <a:cubicBezTo>
                    <a:pt x="812" y="354"/>
                    <a:pt x="812" y="354"/>
                    <a:pt x="812" y="354"/>
                  </a:cubicBezTo>
                  <a:cubicBezTo>
                    <a:pt x="812" y="355"/>
                    <a:pt x="812" y="355"/>
                    <a:pt x="812" y="355"/>
                  </a:cubicBezTo>
                  <a:cubicBezTo>
                    <a:pt x="814" y="358"/>
                    <a:pt x="814" y="358"/>
                    <a:pt x="814" y="358"/>
                  </a:cubicBezTo>
                  <a:cubicBezTo>
                    <a:pt x="811" y="355"/>
                    <a:pt x="811" y="355"/>
                    <a:pt x="811" y="355"/>
                  </a:cubicBezTo>
                  <a:cubicBezTo>
                    <a:pt x="810" y="355"/>
                    <a:pt x="810" y="355"/>
                    <a:pt x="810" y="355"/>
                  </a:cubicBezTo>
                  <a:cubicBezTo>
                    <a:pt x="810" y="355"/>
                    <a:pt x="810" y="355"/>
                    <a:pt x="810" y="355"/>
                  </a:cubicBezTo>
                  <a:cubicBezTo>
                    <a:pt x="806" y="357"/>
                    <a:pt x="802" y="359"/>
                    <a:pt x="798" y="360"/>
                  </a:cubicBezTo>
                  <a:cubicBezTo>
                    <a:pt x="795" y="362"/>
                    <a:pt x="795" y="362"/>
                    <a:pt x="795" y="362"/>
                  </a:cubicBezTo>
                  <a:cubicBezTo>
                    <a:pt x="793" y="363"/>
                    <a:pt x="791" y="363"/>
                    <a:pt x="789" y="364"/>
                  </a:cubicBezTo>
                  <a:cubicBezTo>
                    <a:pt x="785" y="366"/>
                    <a:pt x="781" y="367"/>
                    <a:pt x="778" y="369"/>
                  </a:cubicBezTo>
                  <a:cubicBezTo>
                    <a:pt x="777" y="369"/>
                    <a:pt x="777" y="369"/>
                    <a:pt x="777" y="369"/>
                  </a:cubicBezTo>
                  <a:cubicBezTo>
                    <a:pt x="775" y="370"/>
                    <a:pt x="773" y="372"/>
                    <a:pt x="773" y="373"/>
                  </a:cubicBezTo>
                  <a:cubicBezTo>
                    <a:pt x="772" y="373"/>
                    <a:pt x="772" y="373"/>
                    <a:pt x="772" y="373"/>
                  </a:cubicBezTo>
                  <a:cubicBezTo>
                    <a:pt x="770" y="374"/>
                    <a:pt x="769" y="375"/>
                    <a:pt x="768" y="375"/>
                  </a:cubicBezTo>
                  <a:cubicBezTo>
                    <a:pt x="767" y="374"/>
                    <a:pt x="767" y="374"/>
                    <a:pt x="767" y="374"/>
                  </a:cubicBezTo>
                  <a:cubicBezTo>
                    <a:pt x="765" y="374"/>
                    <a:pt x="763" y="374"/>
                    <a:pt x="761" y="373"/>
                  </a:cubicBezTo>
                  <a:cubicBezTo>
                    <a:pt x="760" y="373"/>
                    <a:pt x="760" y="373"/>
                    <a:pt x="759" y="373"/>
                  </a:cubicBezTo>
                  <a:cubicBezTo>
                    <a:pt x="759" y="373"/>
                    <a:pt x="758" y="373"/>
                    <a:pt x="757" y="372"/>
                  </a:cubicBezTo>
                  <a:cubicBezTo>
                    <a:pt x="757" y="372"/>
                    <a:pt x="757" y="372"/>
                    <a:pt x="757" y="372"/>
                  </a:cubicBezTo>
                  <a:cubicBezTo>
                    <a:pt x="753" y="375"/>
                    <a:pt x="753" y="375"/>
                    <a:pt x="753" y="375"/>
                  </a:cubicBezTo>
                  <a:cubicBezTo>
                    <a:pt x="755" y="371"/>
                    <a:pt x="755" y="371"/>
                    <a:pt x="755" y="371"/>
                  </a:cubicBezTo>
                  <a:cubicBezTo>
                    <a:pt x="755" y="371"/>
                    <a:pt x="755" y="370"/>
                    <a:pt x="754" y="370"/>
                  </a:cubicBezTo>
                  <a:cubicBezTo>
                    <a:pt x="754" y="369"/>
                    <a:pt x="754" y="369"/>
                    <a:pt x="754" y="369"/>
                  </a:cubicBezTo>
                  <a:cubicBezTo>
                    <a:pt x="750" y="372"/>
                    <a:pt x="750" y="372"/>
                    <a:pt x="750" y="372"/>
                  </a:cubicBezTo>
                  <a:cubicBezTo>
                    <a:pt x="753" y="368"/>
                    <a:pt x="753" y="368"/>
                    <a:pt x="753" y="368"/>
                  </a:cubicBezTo>
                  <a:cubicBezTo>
                    <a:pt x="753" y="367"/>
                    <a:pt x="753" y="367"/>
                    <a:pt x="753" y="367"/>
                  </a:cubicBezTo>
                  <a:cubicBezTo>
                    <a:pt x="752" y="367"/>
                    <a:pt x="752" y="367"/>
                    <a:pt x="752" y="367"/>
                  </a:cubicBezTo>
                  <a:cubicBezTo>
                    <a:pt x="751" y="367"/>
                    <a:pt x="749" y="368"/>
                    <a:pt x="747" y="368"/>
                  </a:cubicBezTo>
                  <a:cubicBezTo>
                    <a:pt x="747" y="368"/>
                    <a:pt x="747" y="368"/>
                    <a:pt x="747" y="368"/>
                  </a:cubicBezTo>
                  <a:cubicBezTo>
                    <a:pt x="746" y="368"/>
                    <a:pt x="745" y="368"/>
                    <a:pt x="745" y="368"/>
                  </a:cubicBezTo>
                  <a:cubicBezTo>
                    <a:pt x="743" y="369"/>
                    <a:pt x="742" y="369"/>
                    <a:pt x="741" y="369"/>
                  </a:cubicBezTo>
                  <a:cubicBezTo>
                    <a:pt x="739" y="369"/>
                    <a:pt x="738" y="369"/>
                    <a:pt x="736" y="368"/>
                  </a:cubicBezTo>
                  <a:cubicBezTo>
                    <a:pt x="732" y="368"/>
                    <a:pt x="729" y="366"/>
                    <a:pt x="726" y="365"/>
                  </a:cubicBezTo>
                  <a:cubicBezTo>
                    <a:pt x="723" y="364"/>
                    <a:pt x="720" y="362"/>
                    <a:pt x="718" y="362"/>
                  </a:cubicBezTo>
                  <a:cubicBezTo>
                    <a:pt x="714" y="361"/>
                    <a:pt x="711" y="361"/>
                    <a:pt x="706" y="359"/>
                  </a:cubicBezTo>
                  <a:cubicBezTo>
                    <a:pt x="694" y="356"/>
                    <a:pt x="694" y="356"/>
                    <a:pt x="694" y="356"/>
                  </a:cubicBezTo>
                  <a:cubicBezTo>
                    <a:pt x="694" y="356"/>
                    <a:pt x="693" y="356"/>
                    <a:pt x="693" y="356"/>
                  </a:cubicBezTo>
                  <a:cubicBezTo>
                    <a:pt x="692" y="355"/>
                    <a:pt x="692" y="355"/>
                    <a:pt x="692" y="355"/>
                  </a:cubicBezTo>
                  <a:cubicBezTo>
                    <a:pt x="692" y="355"/>
                    <a:pt x="691" y="354"/>
                    <a:pt x="691" y="353"/>
                  </a:cubicBezTo>
                  <a:cubicBezTo>
                    <a:pt x="690" y="352"/>
                    <a:pt x="690" y="351"/>
                    <a:pt x="689" y="350"/>
                  </a:cubicBezTo>
                  <a:cubicBezTo>
                    <a:pt x="688" y="350"/>
                    <a:pt x="688" y="349"/>
                    <a:pt x="688" y="349"/>
                  </a:cubicBezTo>
                  <a:cubicBezTo>
                    <a:pt x="688" y="349"/>
                    <a:pt x="686" y="349"/>
                    <a:pt x="685" y="349"/>
                  </a:cubicBezTo>
                  <a:cubicBezTo>
                    <a:pt x="684" y="349"/>
                    <a:pt x="683" y="349"/>
                    <a:pt x="682" y="349"/>
                  </a:cubicBezTo>
                  <a:cubicBezTo>
                    <a:pt x="648" y="343"/>
                    <a:pt x="648" y="343"/>
                    <a:pt x="648" y="343"/>
                  </a:cubicBezTo>
                  <a:cubicBezTo>
                    <a:pt x="648" y="343"/>
                    <a:pt x="647" y="343"/>
                    <a:pt x="647" y="343"/>
                  </a:cubicBezTo>
                  <a:cubicBezTo>
                    <a:pt x="646" y="342"/>
                    <a:pt x="646" y="342"/>
                    <a:pt x="646" y="342"/>
                  </a:cubicBezTo>
                  <a:cubicBezTo>
                    <a:pt x="645" y="342"/>
                    <a:pt x="644" y="343"/>
                    <a:pt x="642" y="343"/>
                  </a:cubicBezTo>
                  <a:cubicBezTo>
                    <a:pt x="642" y="344"/>
                    <a:pt x="642" y="344"/>
                    <a:pt x="642" y="344"/>
                  </a:cubicBezTo>
                  <a:cubicBezTo>
                    <a:pt x="641" y="344"/>
                    <a:pt x="639" y="345"/>
                    <a:pt x="638" y="345"/>
                  </a:cubicBezTo>
                  <a:cubicBezTo>
                    <a:pt x="637" y="345"/>
                    <a:pt x="637" y="345"/>
                    <a:pt x="637" y="345"/>
                  </a:cubicBezTo>
                  <a:cubicBezTo>
                    <a:pt x="637" y="345"/>
                    <a:pt x="636" y="345"/>
                    <a:pt x="636" y="345"/>
                  </a:cubicBezTo>
                  <a:cubicBezTo>
                    <a:pt x="634" y="345"/>
                    <a:pt x="634" y="345"/>
                    <a:pt x="634" y="345"/>
                  </a:cubicBezTo>
                  <a:cubicBezTo>
                    <a:pt x="624" y="345"/>
                    <a:pt x="614" y="345"/>
                    <a:pt x="604" y="344"/>
                  </a:cubicBezTo>
                  <a:cubicBezTo>
                    <a:pt x="602" y="343"/>
                    <a:pt x="601" y="343"/>
                    <a:pt x="600" y="343"/>
                  </a:cubicBezTo>
                  <a:cubicBezTo>
                    <a:pt x="595" y="342"/>
                    <a:pt x="595" y="342"/>
                    <a:pt x="595" y="342"/>
                  </a:cubicBezTo>
                  <a:cubicBezTo>
                    <a:pt x="594" y="342"/>
                    <a:pt x="593" y="342"/>
                    <a:pt x="591" y="342"/>
                  </a:cubicBezTo>
                  <a:cubicBezTo>
                    <a:pt x="586" y="341"/>
                    <a:pt x="586" y="341"/>
                    <a:pt x="586" y="341"/>
                  </a:cubicBezTo>
                  <a:cubicBezTo>
                    <a:pt x="583" y="340"/>
                    <a:pt x="579" y="340"/>
                    <a:pt x="575" y="340"/>
                  </a:cubicBezTo>
                  <a:cubicBezTo>
                    <a:pt x="574" y="340"/>
                    <a:pt x="573" y="340"/>
                    <a:pt x="572" y="340"/>
                  </a:cubicBezTo>
                  <a:cubicBezTo>
                    <a:pt x="570" y="340"/>
                    <a:pt x="567" y="340"/>
                    <a:pt x="565" y="341"/>
                  </a:cubicBezTo>
                  <a:cubicBezTo>
                    <a:pt x="553" y="342"/>
                    <a:pt x="553" y="342"/>
                    <a:pt x="553" y="342"/>
                  </a:cubicBezTo>
                  <a:cubicBezTo>
                    <a:pt x="554" y="338"/>
                    <a:pt x="554" y="338"/>
                    <a:pt x="554" y="338"/>
                  </a:cubicBezTo>
                  <a:cubicBezTo>
                    <a:pt x="554" y="338"/>
                    <a:pt x="554" y="338"/>
                    <a:pt x="554" y="338"/>
                  </a:cubicBezTo>
                  <a:cubicBezTo>
                    <a:pt x="554" y="337"/>
                    <a:pt x="554" y="337"/>
                    <a:pt x="554" y="337"/>
                  </a:cubicBezTo>
                  <a:cubicBezTo>
                    <a:pt x="553" y="337"/>
                    <a:pt x="553" y="337"/>
                    <a:pt x="553" y="337"/>
                  </a:cubicBezTo>
                  <a:cubicBezTo>
                    <a:pt x="553" y="336"/>
                    <a:pt x="553" y="336"/>
                    <a:pt x="553" y="336"/>
                  </a:cubicBezTo>
                  <a:cubicBezTo>
                    <a:pt x="552" y="335"/>
                    <a:pt x="552" y="335"/>
                    <a:pt x="552" y="335"/>
                  </a:cubicBezTo>
                  <a:cubicBezTo>
                    <a:pt x="552" y="335"/>
                    <a:pt x="552" y="335"/>
                    <a:pt x="552" y="335"/>
                  </a:cubicBezTo>
                  <a:cubicBezTo>
                    <a:pt x="552" y="334"/>
                    <a:pt x="552" y="334"/>
                    <a:pt x="552" y="334"/>
                  </a:cubicBezTo>
                  <a:cubicBezTo>
                    <a:pt x="551" y="333"/>
                    <a:pt x="550" y="333"/>
                    <a:pt x="550" y="332"/>
                  </a:cubicBezTo>
                  <a:cubicBezTo>
                    <a:pt x="549" y="331"/>
                    <a:pt x="549" y="331"/>
                    <a:pt x="549" y="331"/>
                  </a:cubicBezTo>
                  <a:cubicBezTo>
                    <a:pt x="546" y="328"/>
                    <a:pt x="543" y="325"/>
                    <a:pt x="541" y="321"/>
                  </a:cubicBezTo>
                  <a:cubicBezTo>
                    <a:pt x="536" y="308"/>
                    <a:pt x="536" y="308"/>
                    <a:pt x="536" y="308"/>
                  </a:cubicBezTo>
                  <a:cubicBezTo>
                    <a:pt x="536" y="307"/>
                    <a:pt x="536" y="307"/>
                    <a:pt x="535" y="306"/>
                  </a:cubicBezTo>
                  <a:cubicBezTo>
                    <a:pt x="534" y="304"/>
                    <a:pt x="534" y="304"/>
                    <a:pt x="534" y="304"/>
                  </a:cubicBezTo>
                  <a:cubicBezTo>
                    <a:pt x="534" y="303"/>
                    <a:pt x="534" y="303"/>
                    <a:pt x="534" y="303"/>
                  </a:cubicBezTo>
                  <a:cubicBezTo>
                    <a:pt x="534" y="303"/>
                    <a:pt x="534" y="303"/>
                    <a:pt x="534" y="303"/>
                  </a:cubicBezTo>
                  <a:cubicBezTo>
                    <a:pt x="534" y="303"/>
                    <a:pt x="534" y="303"/>
                    <a:pt x="534" y="303"/>
                  </a:cubicBezTo>
                  <a:cubicBezTo>
                    <a:pt x="533" y="303"/>
                    <a:pt x="533" y="303"/>
                    <a:pt x="533" y="303"/>
                  </a:cubicBezTo>
                  <a:cubicBezTo>
                    <a:pt x="532" y="303"/>
                    <a:pt x="532" y="303"/>
                    <a:pt x="532" y="303"/>
                  </a:cubicBezTo>
                  <a:cubicBezTo>
                    <a:pt x="532" y="303"/>
                    <a:pt x="532" y="303"/>
                    <a:pt x="532" y="303"/>
                  </a:cubicBezTo>
                  <a:cubicBezTo>
                    <a:pt x="532" y="303"/>
                    <a:pt x="532" y="302"/>
                    <a:pt x="532" y="302"/>
                  </a:cubicBezTo>
                  <a:cubicBezTo>
                    <a:pt x="530" y="302"/>
                    <a:pt x="529" y="301"/>
                    <a:pt x="529" y="299"/>
                  </a:cubicBezTo>
                  <a:cubicBezTo>
                    <a:pt x="529" y="298"/>
                    <a:pt x="529" y="298"/>
                    <a:pt x="529" y="298"/>
                  </a:cubicBezTo>
                  <a:cubicBezTo>
                    <a:pt x="528" y="297"/>
                    <a:pt x="528" y="296"/>
                    <a:pt x="529" y="295"/>
                  </a:cubicBezTo>
                  <a:cubicBezTo>
                    <a:pt x="528" y="295"/>
                    <a:pt x="527" y="295"/>
                    <a:pt x="526" y="295"/>
                  </a:cubicBezTo>
                  <a:cubicBezTo>
                    <a:pt x="524" y="295"/>
                    <a:pt x="522" y="295"/>
                    <a:pt x="521" y="294"/>
                  </a:cubicBezTo>
                  <a:cubicBezTo>
                    <a:pt x="516" y="292"/>
                    <a:pt x="511" y="289"/>
                    <a:pt x="507" y="287"/>
                  </a:cubicBezTo>
                  <a:cubicBezTo>
                    <a:pt x="506" y="286"/>
                    <a:pt x="506" y="286"/>
                    <a:pt x="506" y="286"/>
                  </a:cubicBezTo>
                  <a:cubicBezTo>
                    <a:pt x="505" y="286"/>
                    <a:pt x="504" y="285"/>
                    <a:pt x="504" y="285"/>
                  </a:cubicBezTo>
                  <a:cubicBezTo>
                    <a:pt x="487" y="275"/>
                    <a:pt x="487" y="275"/>
                    <a:pt x="487" y="275"/>
                  </a:cubicBezTo>
                  <a:cubicBezTo>
                    <a:pt x="485" y="274"/>
                    <a:pt x="484" y="274"/>
                    <a:pt x="481" y="273"/>
                  </a:cubicBezTo>
                  <a:cubicBezTo>
                    <a:pt x="480" y="273"/>
                    <a:pt x="480" y="273"/>
                    <a:pt x="480" y="273"/>
                  </a:cubicBezTo>
                  <a:cubicBezTo>
                    <a:pt x="479" y="273"/>
                    <a:pt x="479" y="273"/>
                    <a:pt x="478" y="273"/>
                  </a:cubicBezTo>
                  <a:cubicBezTo>
                    <a:pt x="469" y="272"/>
                    <a:pt x="459" y="271"/>
                    <a:pt x="450" y="270"/>
                  </a:cubicBezTo>
                  <a:cubicBezTo>
                    <a:pt x="447" y="270"/>
                    <a:pt x="447" y="270"/>
                    <a:pt x="447" y="270"/>
                  </a:cubicBezTo>
                  <a:cubicBezTo>
                    <a:pt x="443" y="270"/>
                    <a:pt x="439" y="269"/>
                    <a:pt x="435" y="269"/>
                  </a:cubicBezTo>
                  <a:cubicBezTo>
                    <a:pt x="431" y="269"/>
                    <a:pt x="427" y="268"/>
                    <a:pt x="424" y="267"/>
                  </a:cubicBezTo>
                  <a:cubicBezTo>
                    <a:pt x="423" y="267"/>
                    <a:pt x="423" y="267"/>
                    <a:pt x="423" y="267"/>
                  </a:cubicBezTo>
                  <a:cubicBezTo>
                    <a:pt x="422" y="267"/>
                    <a:pt x="422" y="267"/>
                    <a:pt x="422" y="267"/>
                  </a:cubicBezTo>
                  <a:cubicBezTo>
                    <a:pt x="420" y="266"/>
                    <a:pt x="420" y="265"/>
                    <a:pt x="419" y="264"/>
                  </a:cubicBezTo>
                  <a:cubicBezTo>
                    <a:pt x="417" y="262"/>
                    <a:pt x="416" y="260"/>
                    <a:pt x="415" y="258"/>
                  </a:cubicBezTo>
                  <a:cubicBezTo>
                    <a:pt x="413" y="254"/>
                    <a:pt x="415" y="250"/>
                    <a:pt x="417" y="247"/>
                  </a:cubicBezTo>
                  <a:cubicBezTo>
                    <a:pt x="417" y="247"/>
                    <a:pt x="417" y="247"/>
                    <a:pt x="417" y="247"/>
                  </a:cubicBezTo>
                  <a:cubicBezTo>
                    <a:pt x="417" y="247"/>
                    <a:pt x="418" y="246"/>
                    <a:pt x="418" y="246"/>
                  </a:cubicBezTo>
                  <a:cubicBezTo>
                    <a:pt x="418" y="245"/>
                    <a:pt x="418" y="245"/>
                    <a:pt x="419" y="244"/>
                  </a:cubicBezTo>
                  <a:cubicBezTo>
                    <a:pt x="419" y="243"/>
                    <a:pt x="419" y="243"/>
                    <a:pt x="419" y="243"/>
                  </a:cubicBezTo>
                  <a:cubicBezTo>
                    <a:pt x="420" y="242"/>
                    <a:pt x="420" y="241"/>
                    <a:pt x="421" y="240"/>
                  </a:cubicBezTo>
                  <a:cubicBezTo>
                    <a:pt x="421" y="239"/>
                    <a:pt x="421" y="239"/>
                    <a:pt x="421" y="239"/>
                  </a:cubicBezTo>
                  <a:cubicBezTo>
                    <a:pt x="421" y="239"/>
                    <a:pt x="422" y="239"/>
                    <a:pt x="422" y="238"/>
                  </a:cubicBezTo>
                  <a:cubicBezTo>
                    <a:pt x="422" y="238"/>
                    <a:pt x="422" y="237"/>
                    <a:pt x="422" y="237"/>
                  </a:cubicBezTo>
                  <a:cubicBezTo>
                    <a:pt x="422" y="236"/>
                    <a:pt x="422" y="236"/>
                    <a:pt x="422" y="236"/>
                  </a:cubicBezTo>
                  <a:cubicBezTo>
                    <a:pt x="422" y="235"/>
                    <a:pt x="422" y="235"/>
                    <a:pt x="422" y="235"/>
                  </a:cubicBezTo>
                  <a:cubicBezTo>
                    <a:pt x="422" y="232"/>
                    <a:pt x="421" y="228"/>
                    <a:pt x="422" y="224"/>
                  </a:cubicBezTo>
                  <a:cubicBezTo>
                    <a:pt x="422" y="222"/>
                    <a:pt x="422" y="222"/>
                    <a:pt x="422" y="222"/>
                  </a:cubicBezTo>
                  <a:cubicBezTo>
                    <a:pt x="422" y="221"/>
                    <a:pt x="423" y="219"/>
                    <a:pt x="422" y="219"/>
                  </a:cubicBezTo>
                  <a:cubicBezTo>
                    <a:pt x="421" y="217"/>
                    <a:pt x="421" y="217"/>
                    <a:pt x="421" y="217"/>
                  </a:cubicBezTo>
                  <a:cubicBezTo>
                    <a:pt x="420" y="215"/>
                    <a:pt x="418" y="213"/>
                    <a:pt x="417" y="210"/>
                  </a:cubicBezTo>
                  <a:cubicBezTo>
                    <a:pt x="413" y="204"/>
                    <a:pt x="413" y="204"/>
                    <a:pt x="413" y="204"/>
                  </a:cubicBezTo>
                  <a:cubicBezTo>
                    <a:pt x="411" y="202"/>
                    <a:pt x="410" y="200"/>
                    <a:pt x="409" y="197"/>
                  </a:cubicBezTo>
                  <a:cubicBezTo>
                    <a:pt x="409" y="197"/>
                    <a:pt x="409" y="196"/>
                    <a:pt x="408" y="196"/>
                  </a:cubicBezTo>
                  <a:cubicBezTo>
                    <a:pt x="408" y="195"/>
                    <a:pt x="408" y="195"/>
                    <a:pt x="408" y="195"/>
                  </a:cubicBezTo>
                  <a:cubicBezTo>
                    <a:pt x="408" y="194"/>
                    <a:pt x="407" y="191"/>
                    <a:pt x="406" y="190"/>
                  </a:cubicBezTo>
                  <a:cubicBezTo>
                    <a:pt x="405" y="189"/>
                    <a:pt x="405" y="189"/>
                    <a:pt x="404" y="188"/>
                  </a:cubicBezTo>
                  <a:cubicBezTo>
                    <a:pt x="402" y="186"/>
                    <a:pt x="401" y="185"/>
                    <a:pt x="400" y="185"/>
                  </a:cubicBezTo>
                  <a:cubicBezTo>
                    <a:pt x="399" y="185"/>
                    <a:pt x="399" y="185"/>
                    <a:pt x="399" y="185"/>
                  </a:cubicBezTo>
                  <a:cubicBezTo>
                    <a:pt x="399" y="185"/>
                    <a:pt x="398" y="185"/>
                    <a:pt x="398" y="185"/>
                  </a:cubicBezTo>
                  <a:cubicBezTo>
                    <a:pt x="393" y="185"/>
                    <a:pt x="391" y="184"/>
                    <a:pt x="388" y="181"/>
                  </a:cubicBezTo>
                  <a:cubicBezTo>
                    <a:pt x="387" y="180"/>
                    <a:pt x="387" y="180"/>
                    <a:pt x="387" y="180"/>
                  </a:cubicBezTo>
                  <a:cubicBezTo>
                    <a:pt x="387" y="180"/>
                    <a:pt x="386" y="180"/>
                    <a:pt x="386" y="180"/>
                  </a:cubicBezTo>
                  <a:cubicBezTo>
                    <a:pt x="385" y="180"/>
                    <a:pt x="385" y="180"/>
                    <a:pt x="384" y="180"/>
                  </a:cubicBezTo>
                  <a:cubicBezTo>
                    <a:pt x="383" y="180"/>
                    <a:pt x="382" y="180"/>
                    <a:pt x="380" y="180"/>
                  </a:cubicBezTo>
                  <a:cubicBezTo>
                    <a:pt x="379" y="180"/>
                    <a:pt x="379" y="180"/>
                    <a:pt x="379" y="180"/>
                  </a:cubicBezTo>
                  <a:cubicBezTo>
                    <a:pt x="378" y="180"/>
                    <a:pt x="377" y="180"/>
                    <a:pt x="376" y="180"/>
                  </a:cubicBezTo>
                  <a:cubicBezTo>
                    <a:pt x="376" y="180"/>
                    <a:pt x="375" y="179"/>
                    <a:pt x="374" y="179"/>
                  </a:cubicBezTo>
                  <a:cubicBezTo>
                    <a:pt x="374" y="179"/>
                    <a:pt x="373" y="178"/>
                    <a:pt x="373" y="178"/>
                  </a:cubicBezTo>
                  <a:cubicBezTo>
                    <a:pt x="372" y="178"/>
                    <a:pt x="372" y="178"/>
                    <a:pt x="372" y="178"/>
                  </a:cubicBezTo>
                  <a:cubicBezTo>
                    <a:pt x="368" y="175"/>
                    <a:pt x="366" y="174"/>
                    <a:pt x="363" y="169"/>
                  </a:cubicBezTo>
                  <a:cubicBezTo>
                    <a:pt x="362" y="167"/>
                    <a:pt x="360" y="166"/>
                    <a:pt x="358" y="165"/>
                  </a:cubicBezTo>
                  <a:cubicBezTo>
                    <a:pt x="357" y="165"/>
                    <a:pt x="356" y="164"/>
                    <a:pt x="355" y="164"/>
                  </a:cubicBezTo>
                  <a:cubicBezTo>
                    <a:pt x="353" y="164"/>
                    <a:pt x="353" y="164"/>
                    <a:pt x="353" y="164"/>
                  </a:cubicBezTo>
                  <a:cubicBezTo>
                    <a:pt x="353" y="164"/>
                    <a:pt x="352" y="163"/>
                    <a:pt x="352" y="163"/>
                  </a:cubicBezTo>
                  <a:cubicBezTo>
                    <a:pt x="351" y="163"/>
                    <a:pt x="351" y="163"/>
                    <a:pt x="351" y="163"/>
                  </a:cubicBezTo>
                  <a:cubicBezTo>
                    <a:pt x="349" y="162"/>
                    <a:pt x="348" y="161"/>
                    <a:pt x="347" y="161"/>
                  </a:cubicBezTo>
                  <a:cubicBezTo>
                    <a:pt x="347" y="159"/>
                    <a:pt x="347" y="157"/>
                    <a:pt x="348" y="156"/>
                  </a:cubicBezTo>
                  <a:cubicBezTo>
                    <a:pt x="348" y="156"/>
                    <a:pt x="348" y="156"/>
                    <a:pt x="348" y="156"/>
                  </a:cubicBezTo>
                  <a:cubicBezTo>
                    <a:pt x="347" y="156"/>
                    <a:pt x="346" y="155"/>
                    <a:pt x="345" y="154"/>
                  </a:cubicBezTo>
                  <a:cubicBezTo>
                    <a:pt x="344" y="154"/>
                    <a:pt x="343" y="153"/>
                    <a:pt x="343" y="151"/>
                  </a:cubicBezTo>
                  <a:cubicBezTo>
                    <a:pt x="342" y="150"/>
                    <a:pt x="342" y="148"/>
                    <a:pt x="342" y="147"/>
                  </a:cubicBezTo>
                  <a:cubicBezTo>
                    <a:pt x="334" y="145"/>
                    <a:pt x="334" y="145"/>
                    <a:pt x="334" y="145"/>
                  </a:cubicBezTo>
                  <a:cubicBezTo>
                    <a:pt x="334" y="145"/>
                    <a:pt x="334" y="145"/>
                    <a:pt x="334" y="145"/>
                  </a:cubicBezTo>
                  <a:cubicBezTo>
                    <a:pt x="333" y="145"/>
                    <a:pt x="333" y="145"/>
                    <a:pt x="333" y="145"/>
                  </a:cubicBezTo>
                  <a:cubicBezTo>
                    <a:pt x="333" y="145"/>
                    <a:pt x="333" y="145"/>
                    <a:pt x="333" y="145"/>
                  </a:cubicBezTo>
                  <a:cubicBezTo>
                    <a:pt x="332" y="145"/>
                    <a:pt x="332" y="145"/>
                    <a:pt x="331" y="145"/>
                  </a:cubicBezTo>
                  <a:cubicBezTo>
                    <a:pt x="330" y="145"/>
                    <a:pt x="330" y="145"/>
                    <a:pt x="330" y="145"/>
                  </a:cubicBezTo>
                  <a:cubicBezTo>
                    <a:pt x="329" y="145"/>
                    <a:pt x="329" y="145"/>
                    <a:pt x="328" y="145"/>
                  </a:cubicBezTo>
                  <a:cubicBezTo>
                    <a:pt x="328" y="145"/>
                    <a:pt x="328" y="145"/>
                    <a:pt x="328" y="145"/>
                  </a:cubicBezTo>
                  <a:cubicBezTo>
                    <a:pt x="327" y="145"/>
                    <a:pt x="327" y="145"/>
                    <a:pt x="326" y="145"/>
                  </a:cubicBezTo>
                  <a:cubicBezTo>
                    <a:pt x="326" y="145"/>
                    <a:pt x="326" y="145"/>
                    <a:pt x="326" y="145"/>
                  </a:cubicBezTo>
                  <a:cubicBezTo>
                    <a:pt x="326" y="145"/>
                    <a:pt x="325" y="145"/>
                    <a:pt x="325" y="145"/>
                  </a:cubicBezTo>
                  <a:cubicBezTo>
                    <a:pt x="325" y="145"/>
                    <a:pt x="325" y="145"/>
                    <a:pt x="325" y="145"/>
                  </a:cubicBezTo>
                  <a:cubicBezTo>
                    <a:pt x="324" y="145"/>
                    <a:pt x="324" y="146"/>
                    <a:pt x="324" y="147"/>
                  </a:cubicBezTo>
                  <a:cubicBezTo>
                    <a:pt x="324" y="148"/>
                    <a:pt x="324" y="148"/>
                    <a:pt x="324" y="149"/>
                  </a:cubicBezTo>
                  <a:cubicBezTo>
                    <a:pt x="324" y="149"/>
                    <a:pt x="324" y="150"/>
                    <a:pt x="324" y="151"/>
                  </a:cubicBezTo>
                  <a:cubicBezTo>
                    <a:pt x="324" y="154"/>
                    <a:pt x="324" y="154"/>
                    <a:pt x="324" y="154"/>
                  </a:cubicBezTo>
                  <a:cubicBezTo>
                    <a:pt x="324" y="154"/>
                    <a:pt x="324" y="154"/>
                    <a:pt x="324" y="154"/>
                  </a:cubicBezTo>
                  <a:cubicBezTo>
                    <a:pt x="323" y="154"/>
                    <a:pt x="323" y="154"/>
                    <a:pt x="323" y="154"/>
                  </a:cubicBezTo>
                  <a:cubicBezTo>
                    <a:pt x="324" y="155"/>
                    <a:pt x="324" y="155"/>
                    <a:pt x="324" y="155"/>
                  </a:cubicBezTo>
                  <a:cubicBezTo>
                    <a:pt x="323" y="155"/>
                    <a:pt x="323" y="155"/>
                    <a:pt x="323" y="155"/>
                  </a:cubicBezTo>
                  <a:cubicBezTo>
                    <a:pt x="322" y="157"/>
                    <a:pt x="319" y="162"/>
                    <a:pt x="315" y="163"/>
                  </a:cubicBezTo>
                  <a:cubicBezTo>
                    <a:pt x="311" y="165"/>
                    <a:pt x="307" y="166"/>
                    <a:pt x="303" y="166"/>
                  </a:cubicBezTo>
                  <a:cubicBezTo>
                    <a:pt x="302" y="166"/>
                    <a:pt x="302" y="166"/>
                    <a:pt x="301" y="166"/>
                  </a:cubicBezTo>
                  <a:cubicBezTo>
                    <a:pt x="301" y="166"/>
                    <a:pt x="299" y="166"/>
                    <a:pt x="299" y="167"/>
                  </a:cubicBezTo>
                  <a:cubicBezTo>
                    <a:pt x="297" y="167"/>
                    <a:pt x="293" y="175"/>
                    <a:pt x="294" y="177"/>
                  </a:cubicBezTo>
                  <a:cubicBezTo>
                    <a:pt x="294" y="180"/>
                    <a:pt x="295" y="183"/>
                    <a:pt x="295" y="185"/>
                  </a:cubicBezTo>
                  <a:cubicBezTo>
                    <a:pt x="295" y="186"/>
                    <a:pt x="295" y="186"/>
                    <a:pt x="295" y="186"/>
                  </a:cubicBezTo>
                  <a:cubicBezTo>
                    <a:pt x="296" y="189"/>
                    <a:pt x="296" y="192"/>
                    <a:pt x="297" y="196"/>
                  </a:cubicBezTo>
                  <a:cubicBezTo>
                    <a:pt x="298" y="204"/>
                    <a:pt x="291" y="208"/>
                    <a:pt x="286" y="210"/>
                  </a:cubicBezTo>
                  <a:cubicBezTo>
                    <a:pt x="284" y="211"/>
                    <a:pt x="284" y="211"/>
                    <a:pt x="284" y="211"/>
                  </a:cubicBezTo>
                  <a:cubicBezTo>
                    <a:pt x="281" y="213"/>
                    <a:pt x="278" y="214"/>
                    <a:pt x="275" y="214"/>
                  </a:cubicBezTo>
                  <a:cubicBezTo>
                    <a:pt x="273" y="214"/>
                    <a:pt x="271" y="213"/>
                    <a:pt x="269" y="213"/>
                  </a:cubicBezTo>
                  <a:cubicBezTo>
                    <a:pt x="267" y="212"/>
                    <a:pt x="263" y="211"/>
                    <a:pt x="260" y="211"/>
                  </a:cubicBezTo>
                  <a:cubicBezTo>
                    <a:pt x="259" y="211"/>
                    <a:pt x="258" y="211"/>
                    <a:pt x="257" y="212"/>
                  </a:cubicBezTo>
                  <a:cubicBezTo>
                    <a:pt x="256" y="212"/>
                    <a:pt x="254" y="212"/>
                    <a:pt x="253" y="212"/>
                  </a:cubicBezTo>
                  <a:cubicBezTo>
                    <a:pt x="246" y="212"/>
                    <a:pt x="238" y="208"/>
                    <a:pt x="238" y="208"/>
                  </a:cubicBezTo>
                  <a:cubicBezTo>
                    <a:pt x="236" y="207"/>
                    <a:pt x="236" y="207"/>
                    <a:pt x="236" y="207"/>
                  </a:cubicBezTo>
                  <a:cubicBezTo>
                    <a:pt x="235" y="206"/>
                    <a:pt x="232" y="205"/>
                    <a:pt x="231" y="204"/>
                  </a:cubicBezTo>
                  <a:cubicBezTo>
                    <a:pt x="231" y="204"/>
                    <a:pt x="231" y="204"/>
                    <a:pt x="231" y="204"/>
                  </a:cubicBezTo>
                  <a:cubicBezTo>
                    <a:pt x="231" y="205"/>
                    <a:pt x="230" y="205"/>
                    <a:pt x="230" y="205"/>
                  </a:cubicBezTo>
                  <a:cubicBezTo>
                    <a:pt x="214" y="252"/>
                    <a:pt x="214" y="252"/>
                    <a:pt x="214" y="252"/>
                  </a:cubicBezTo>
                  <a:cubicBezTo>
                    <a:pt x="215" y="252"/>
                    <a:pt x="215" y="252"/>
                    <a:pt x="215" y="252"/>
                  </a:cubicBezTo>
                  <a:cubicBezTo>
                    <a:pt x="217" y="252"/>
                    <a:pt x="219" y="253"/>
                    <a:pt x="220" y="254"/>
                  </a:cubicBezTo>
                  <a:cubicBezTo>
                    <a:pt x="222" y="256"/>
                    <a:pt x="222" y="259"/>
                    <a:pt x="221" y="262"/>
                  </a:cubicBezTo>
                  <a:cubicBezTo>
                    <a:pt x="221" y="263"/>
                    <a:pt x="221" y="263"/>
                    <a:pt x="221" y="263"/>
                  </a:cubicBezTo>
                  <a:cubicBezTo>
                    <a:pt x="221" y="266"/>
                    <a:pt x="218" y="267"/>
                    <a:pt x="213" y="267"/>
                  </a:cubicBezTo>
                  <a:cubicBezTo>
                    <a:pt x="212" y="267"/>
                    <a:pt x="210" y="267"/>
                    <a:pt x="209" y="267"/>
                  </a:cubicBezTo>
                  <a:cubicBezTo>
                    <a:pt x="208" y="267"/>
                    <a:pt x="208" y="267"/>
                    <a:pt x="208" y="267"/>
                  </a:cubicBezTo>
                  <a:cubicBezTo>
                    <a:pt x="207" y="267"/>
                    <a:pt x="206" y="267"/>
                    <a:pt x="206" y="267"/>
                  </a:cubicBezTo>
                  <a:cubicBezTo>
                    <a:pt x="205" y="267"/>
                    <a:pt x="204" y="267"/>
                    <a:pt x="203" y="267"/>
                  </a:cubicBezTo>
                  <a:cubicBezTo>
                    <a:pt x="200" y="267"/>
                    <a:pt x="197" y="267"/>
                    <a:pt x="196" y="264"/>
                  </a:cubicBezTo>
                  <a:cubicBezTo>
                    <a:pt x="195" y="264"/>
                    <a:pt x="195" y="263"/>
                    <a:pt x="195" y="262"/>
                  </a:cubicBezTo>
                  <a:cubicBezTo>
                    <a:pt x="194" y="262"/>
                    <a:pt x="193" y="263"/>
                    <a:pt x="191" y="263"/>
                  </a:cubicBezTo>
                  <a:cubicBezTo>
                    <a:pt x="191" y="263"/>
                    <a:pt x="190" y="264"/>
                    <a:pt x="189" y="264"/>
                  </a:cubicBezTo>
                  <a:cubicBezTo>
                    <a:pt x="175" y="268"/>
                    <a:pt x="175" y="268"/>
                    <a:pt x="175" y="268"/>
                  </a:cubicBezTo>
                  <a:cubicBezTo>
                    <a:pt x="169" y="269"/>
                    <a:pt x="165" y="270"/>
                    <a:pt x="159" y="272"/>
                  </a:cubicBezTo>
                  <a:cubicBezTo>
                    <a:pt x="158" y="272"/>
                    <a:pt x="158" y="272"/>
                    <a:pt x="158" y="272"/>
                  </a:cubicBezTo>
                  <a:cubicBezTo>
                    <a:pt x="157" y="272"/>
                    <a:pt x="156" y="272"/>
                    <a:pt x="155" y="273"/>
                  </a:cubicBezTo>
                  <a:cubicBezTo>
                    <a:pt x="156" y="273"/>
                    <a:pt x="156" y="273"/>
                    <a:pt x="156" y="273"/>
                  </a:cubicBezTo>
                  <a:cubicBezTo>
                    <a:pt x="156" y="273"/>
                    <a:pt x="157" y="272"/>
                    <a:pt x="158" y="272"/>
                  </a:cubicBezTo>
                  <a:cubicBezTo>
                    <a:pt x="161" y="272"/>
                    <a:pt x="165" y="274"/>
                    <a:pt x="168" y="275"/>
                  </a:cubicBezTo>
                  <a:cubicBezTo>
                    <a:pt x="171" y="277"/>
                    <a:pt x="171" y="277"/>
                    <a:pt x="171" y="277"/>
                  </a:cubicBezTo>
                  <a:cubicBezTo>
                    <a:pt x="168" y="280"/>
                    <a:pt x="168" y="280"/>
                    <a:pt x="168" y="280"/>
                  </a:cubicBezTo>
                  <a:cubicBezTo>
                    <a:pt x="167" y="281"/>
                    <a:pt x="167" y="281"/>
                    <a:pt x="166" y="282"/>
                  </a:cubicBezTo>
                  <a:cubicBezTo>
                    <a:pt x="166" y="282"/>
                    <a:pt x="166" y="282"/>
                    <a:pt x="165" y="283"/>
                  </a:cubicBezTo>
                  <a:cubicBezTo>
                    <a:pt x="165" y="285"/>
                    <a:pt x="165" y="288"/>
                    <a:pt x="166" y="290"/>
                  </a:cubicBezTo>
                  <a:cubicBezTo>
                    <a:pt x="166" y="292"/>
                    <a:pt x="166" y="292"/>
                    <a:pt x="166" y="292"/>
                  </a:cubicBezTo>
                  <a:cubicBezTo>
                    <a:pt x="167" y="296"/>
                    <a:pt x="167" y="298"/>
                    <a:pt x="168" y="301"/>
                  </a:cubicBezTo>
                  <a:cubicBezTo>
                    <a:pt x="169" y="303"/>
                    <a:pt x="170" y="304"/>
                    <a:pt x="170" y="305"/>
                  </a:cubicBezTo>
                  <a:cubicBezTo>
                    <a:pt x="170" y="306"/>
                    <a:pt x="170" y="306"/>
                    <a:pt x="170" y="306"/>
                  </a:cubicBezTo>
                  <a:cubicBezTo>
                    <a:pt x="171" y="308"/>
                    <a:pt x="172" y="310"/>
                    <a:pt x="173" y="311"/>
                  </a:cubicBezTo>
                  <a:cubicBezTo>
                    <a:pt x="174" y="313"/>
                    <a:pt x="174" y="314"/>
                    <a:pt x="175" y="316"/>
                  </a:cubicBezTo>
                  <a:cubicBezTo>
                    <a:pt x="175" y="316"/>
                    <a:pt x="175" y="316"/>
                    <a:pt x="175" y="316"/>
                  </a:cubicBezTo>
                  <a:cubicBezTo>
                    <a:pt x="175" y="316"/>
                    <a:pt x="175" y="317"/>
                    <a:pt x="175" y="317"/>
                  </a:cubicBezTo>
                  <a:cubicBezTo>
                    <a:pt x="177" y="325"/>
                    <a:pt x="177" y="326"/>
                    <a:pt x="176" y="327"/>
                  </a:cubicBezTo>
                  <a:cubicBezTo>
                    <a:pt x="175" y="329"/>
                    <a:pt x="173" y="329"/>
                    <a:pt x="170" y="330"/>
                  </a:cubicBezTo>
                  <a:cubicBezTo>
                    <a:pt x="169" y="330"/>
                    <a:pt x="169" y="330"/>
                    <a:pt x="168" y="330"/>
                  </a:cubicBezTo>
                  <a:cubicBezTo>
                    <a:pt x="169" y="331"/>
                    <a:pt x="170" y="332"/>
                    <a:pt x="170" y="334"/>
                  </a:cubicBezTo>
                  <a:cubicBezTo>
                    <a:pt x="170" y="336"/>
                    <a:pt x="167" y="337"/>
                    <a:pt x="164" y="338"/>
                  </a:cubicBezTo>
                  <a:cubicBezTo>
                    <a:pt x="163" y="338"/>
                    <a:pt x="162" y="338"/>
                    <a:pt x="162" y="338"/>
                  </a:cubicBezTo>
                  <a:cubicBezTo>
                    <a:pt x="161" y="340"/>
                    <a:pt x="161" y="341"/>
                    <a:pt x="161" y="343"/>
                  </a:cubicBezTo>
                  <a:cubicBezTo>
                    <a:pt x="162" y="345"/>
                    <a:pt x="162" y="345"/>
                    <a:pt x="162" y="345"/>
                  </a:cubicBezTo>
                  <a:cubicBezTo>
                    <a:pt x="162" y="347"/>
                    <a:pt x="163" y="350"/>
                    <a:pt x="162" y="353"/>
                  </a:cubicBezTo>
                  <a:cubicBezTo>
                    <a:pt x="162" y="354"/>
                    <a:pt x="162" y="354"/>
                    <a:pt x="162" y="354"/>
                  </a:cubicBezTo>
                  <a:cubicBezTo>
                    <a:pt x="163" y="355"/>
                    <a:pt x="163" y="355"/>
                    <a:pt x="163" y="355"/>
                  </a:cubicBezTo>
                  <a:cubicBezTo>
                    <a:pt x="163" y="356"/>
                    <a:pt x="163" y="356"/>
                    <a:pt x="163" y="356"/>
                  </a:cubicBezTo>
                  <a:cubicBezTo>
                    <a:pt x="163" y="358"/>
                    <a:pt x="163" y="359"/>
                    <a:pt x="162" y="360"/>
                  </a:cubicBezTo>
                  <a:cubicBezTo>
                    <a:pt x="162" y="364"/>
                    <a:pt x="162" y="364"/>
                    <a:pt x="162" y="364"/>
                  </a:cubicBezTo>
                  <a:cubicBezTo>
                    <a:pt x="160" y="361"/>
                    <a:pt x="160" y="361"/>
                    <a:pt x="160" y="361"/>
                  </a:cubicBezTo>
                  <a:cubicBezTo>
                    <a:pt x="159" y="362"/>
                    <a:pt x="158" y="362"/>
                    <a:pt x="157" y="363"/>
                  </a:cubicBezTo>
                  <a:cubicBezTo>
                    <a:pt x="153" y="364"/>
                    <a:pt x="153" y="364"/>
                    <a:pt x="153" y="364"/>
                  </a:cubicBezTo>
                  <a:cubicBezTo>
                    <a:pt x="148" y="366"/>
                    <a:pt x="143" y="368"/>
                    <a:pt x="138" y="370"/>
                  </a:cubicBezTo>
                  <a:cubicBezTo>
                    <a:pt x="137" y="370"/>
                    <a:pt x="136" y="371"/>
                    <a:pt x="134" y="371"/>
                  </a:cubicBezTo>
                  <a:cubicBezTo>
                    <a:pt x="134" y="371"/>
                    <a:pt x="134" y="371"/>
                    <a:pt x="134" y="371"/>
                  </a:cubicBezTo>
                  <a:cubicBezTo>
                    <a:pt x="130" y="373"/>
                    <a:pt x="127" y="374"/>
                    <a:pt x="124" y="376"/>
                  </a:cubicBezTo>
                  <a:cubicBezTo>
                    <a:pt x="123" y="376"/>
                    <a:pt x="123" y="376"/>
                    <a:pt x="123" y="376"/>
                  </a:cubicBezTo>
                  <a:cubicBezTo>
                    <a:pt x="122" y="376"/>
                    <a:pt x="120" y="378"/>
                    <a:pt x="119" y="380"/>
                  </a:cubicBezTo>
                  <a:cubicBezTo>
                    <a:pt x="118" y="380"/>
                    <a:pt x="118" y="380"/>
                    <a:pt x="118" y="380"/>
                  </a:cubicBezTo>
                  <a:cubicBezTo>
                    <a:pt x="118" y="381"/>
                    <a:pt x="118" y="381"/>
                    <a:pt x="117" y="382"/>
                  </a:cubicBezTo>
                  <a:cubicBezTo>
                    <a:pt x="116" y="383"/>
                    <a:pt x="116" y="383"/>
                    <a:pt x="116" y="383"/>
                  </a:cubicBezTo>
                  <a:cubicBezTo>
                    <a:pt x="115" y="384"/>
                    <a:pt x="115" y="384"/>
                    <a:pt x="115" y="384"/>
                  </a:cubicBezTo>
                  <a:cubicBezTo>
                    <a:pt x="115" y="384"/>
                    <a:pt x="114" y="385"/>
                    <a:pt x="114" y="385"/>
                  </a:cubicBezTo>
                  <a:cubicBezTo>
                    <a:pt x="113" y="386"/>
                    <a:pt x="112" y="387"/>
                    <a:pt x="111" y="387"/>
                  </a:cubicBezTo>
                  <a:cubicBezTo>
                    <a:pt x="111" y="387"/>
                    <a:pt x="110" y="387"/>
                    <a:pt x="109" y="388"/>
                  </a:cubicBezTo>
                  <a:cubicBezTo>
                    <a:pt x="103" y="388"/>
                    <a:pt x="103" y="388"/>
                    <a:pt x="103" y="388"/>
                  </a:cubicBezTo>
                  <a:cubicBezTo>
                    <a:pt x="101" y="389"/>
                    <a:pt x="98" y="389"/>
                    <a:pt x="96" y="389"/>
                  </a:cubicBezTo>
                  <a:cubicBezTo>
                    <a:pt x="94" y="389"/>
                    <a:pt x="94" y="389"/>
                    <a:pt x="94" y="389"/>
                  </a:cubicBezTo>
                  <a:cubicBezTo>
                    <a:pt x="93" y="389"/>
                    <a:pt x="91" y="389"/>
                    <a:pt x="89" y="390"/>
                  </a:cubicBezTo>
                  <a:cubicBezTo>
                    <a:pt x="86" y="390"/>
                    <a:pt x="83" y="390"/>
                    <a:pt x="81" y="391"/>
                  </a:cubicBezTo>
                  <a:cubicBezTo>
                    <a:pt x="80" y="391"/>
                    <a:pt x="79" y="393"/>
                    <a:pt x="78" y="394"/>
                  </a:cubicBezTo>
                  <a:cubicBezTo>
                    <a:pt x="77" y="395"/>
                    <a:pt x="77" y="395"/>
                    <a:pt x="77" y="395"/>
                  </a:cubicBezTo>
                  <a:cubicBezTo>
                    <a:pt x="77" y="395"/>
                    <a:pt x="76" y="396"/>
                    <a:pt x="76" y="396"/>
                  </a:cubicBezTo>
                  <a:cubicBezTo>
                    <a:pt x="75" y="397"/>
                    <a:pt x="75" y="397"/>
                    <a:pt x="75" y="397"/>
                  </a:cubicBezTo>
                  <a:cubicBezTo>
                    <a:pt x="74" y="397"/>
                    <a:pt x="74" y="398"/>
                    <a:pt x="74" y="398"/>
                  </a:cubicBezTo>
                  <a:cubicBezTo>
                    <a:pt x="74" y="398"/>
                    <a:pt x="74" y="398"/>
                    <a:pt x="74" y="398"/>
                  </a:cubicBezTo>
                  <a:cubicBezTo>
                    <a:pt x="74" y="399"/>
                    <a:pt x="74" y="399"/>
                    <a:pt x="74" y="399"/>
                  </a:cubicBezTo>
                  <a:cubicBezTo>
                    <a:pt x="74" y="399"/>
                    <a:pt x="74" y="400"/>
                    <a:pt x="74" y="401"/>
                  </a:cubicBezTo>
                  <a:cubicBezTo>
                    <a:pt x="73" y="403"/>
                    <a:pt x="72" y="404"/>
                    <a:pt x="71" y="406"/>
                  </a:cubicBezTo>
                  <a:cubicBezTo>
                    <a:pt x="70" y="407"/>
                    <a:pt x="69" y="408"/>
                    <a:pt x="69" y="409"/>
                  </a:cubicBezTo>
                  <a:cubicBezTo>
                    <a:pt x="68" y="409"/>
                    <a:pt x="67" y="410"/>
                    <a:pt x="66" y="410"/>
                  </a:cubicBezTo>
                  <a:cubicBezTo>
                    <a:pt x="65" y="411"/>
                    <a:pt x="65" y="411"/>
                    <a:pt x="65" y="411"/>
                  </a:cubicBezTo>
                  <a:cubicBezTo>
                    <a:pt x="64" y="411"/>
                    <a:pt x="64" y="411"/>
                    <a:pt x="64" y="411"/>
                  </a:cubicBezTo>
                  <a:cubicBezTo>
                    <a:pt x="64" y="411"/>
                    <a:pt x="64" y="411"/>
                    <a:pt x="64" y="411"/>
                  </a:cubicBezTo>
                  <a:cubicBezTo>
                    <a:pt x="63" y="411"/>
                    <a:pt x="62" y="410"/>
                    <a:pt x="62" y="410"/>
                  </a:cubicBezTo>
                  <a:cubicBezTo>
                    <a:pt x="61" y="410"/>
                    <a:pt x="61" y="410"/>
                    <a:pt x="60" y="410"/>
                  </a:cubicBezTo>
                  <a:cubicBezTo>
                    <a:pt x="60" y="410"/>
                    <a:pt x="60" y="410"/>
                    <a:pt x="60" y="410"/>
                  </a:cubicBezTo>
                  <a:cubicBezTo>
                    <a:pt x="59" y="410"/>
                    <a:pt x="59" y="410"/>
                    <a:pt x="58" y="410"/>
                  </a:cubicBezTo>
                  <a:cubicBezTo>
                    <a:pt x="58" y="410"/>
                    <a:pt x="58" y="410"/>
                    <a:pt x="58" y="410"/>
                  </a:cubicBezTo>
                  <a:cubicBezTo>
                    <a:pt x="57" y="410"/>
                    <a:pt x="57" y="410"/>
                    <a:pt x="56" y="411"/>
                  </a:cubicBezTo>
                  <a:cubicBezTo>
                    <a:pt x="56" y="410"/>
                    <a:pt x="56" y="410"/>
                    <a:pt x="56" y="410"/>
                  </a:cubicBezTo>
                  <a:cubicBezTo>
                    <a:pt x="56" y="410"/>
                    <a:pt x="56" y="410"/>
                    <a:pt x="56" y="410"/>
                  </a:cubicBezTo>
                  <a:cubicBezTo>
                    <a:pt x="56" y="410"/>
                    <a:pt x="56" y="410"/>
                    <a:pt x="56" y="410"/>
                  </a:cubicBezTo>
                  <a:cubicBezTo>
                    <a:pt x="56" y="411"/>
                    <a:pt x="56" y="411"/>
                    <a:pt x="56" y="411"/>
                  </a:cubicBezTo>
                  <a:cubicBezTo>
                    <a:pt x="55" y="412"/>
                    <a:pt x="55" y="412"/>
                    <a:pt x="55" y="412"/>
                  </a:cubicBezTo>
                  <a:cubicBezTo>
                    <a:pt x="55" y="412"/>
                    <a:pt x="54" y="412"/>
                    <a:pt x="53" y="413"/>
                  </a:cubicBezTo>
                  <a:cubicBezTo>
                    <a:pt x="52" y="413"/>
                    <a:pt x="52" y="413"/>
                    <a:pt x="51" y="413"/>
                  </a:cubicBezTo>
                  <a:cubicBezTo>
                    <a:pt x="48" y="413"/>
                    <a:pt x="46" y="411"/>
                    <a:pt x="45" y="409"/>
                  </a:cubicBezTo>
                  <a:cubicBezTo>
                    <a:pt x="44" y="408"/>
                    <a:pt x="44" y="407"/>
                    <a:pt x="44" y="406"/>
                  </a:cubicBezTo>
                  <a:cubicBezTo>
                    <a:pt x="44" y="405"/>
                    <a:pt x="44" y="405"/>
                    <a:pt x="43" y="404"/>
                  </a:cubicBezTo>
                  <a:cubicBezTo>
                    <a:pt x="42" y="405"/>
                    <a:pt x="42" y="405"/>
                    <a:pt x="42" y="405"/>
                  </a:cubicBezTo>
                  <a:cubicBezTo>
                    <a:pt x="42" y="405"/>
                    <a:pt x="42" y="405"/>
                    <a:pt x="41" y="405"/>
                  </a:cubicBezTo>
                  <a:cubicBezTo>
                    <a:pt x="39" y="407"/>
                    <a:pt x="36" y="408"/>
                    <a:pt x="34" y="408"/>
                  </a:cubicBezTo>
                  <a:cubicBezTo>
                    <a:pt x="33" y="408"/>
                    <a:pt x="32" y="408"/>
                    <a:pt x="31" y="408"/>
                  </a:cubicBezTo>
                  <a:cubicBezTo>
                    <a:pt x="31" y="409"/>
                    <a:pt x="31" y="410"/>
                    <a:pt x="30" y="410"/>
                  </a:cubicBezTo>
                  <a:cubicBezTo>
                    <a:pt x="30" y="411"/>
                    <a:pt x="29" y="412"/>
                    <a:pt x="29" y="412"/>
                  </a:cubicBezTo>
                  <a:cubicBezTo>
                    <a:pt x="26" y="413"/>
                    <a:pt x="22" y="415"/>
                    <a:pt x="18" y="416"/>
                  </a:cubicBezTo>
                  <a:cubicBezTo>
                    <a:pt x="17" y="416"/>
                    <a:pt x="17" y="416"/>
                    <a:pt x="17" y="416"/>
                  </a:cubicBezTo>
                  <a:cubicBezTo>
                    <a:pt x="16" y="416"/>
                    <a:pt x="16" y="416"/>
                    <a:pt x="16" y="416"/>
                  </a:cubicBezTo>
                  <a:cubicBezTo>
                    <a:pt x="9" y="419"/>
                    <a:pt x="9" y="419"/>
                    <a:pt x="9" y="419"/>
                  </a:cubicBezTo>
                  <a:cubicBezTo>
                    <a:pt x="9" y="419"/>
                    <a:pt x="9" y="420"/>
                    <a:pt x="9" y="421"/>
                  </a:cubicBezTo>
                  <a:cubicBezTo>
                    <a:pt x="9" y="422"/>
                    <a:pt x="8" y="422"/>
                    <a:pt x="8" y="422"/>
                  </a:cubicBezTo>
                  <a:cubicBezTo>
                    <a:pt x="8" y="424"/>
                    <a:pt x="8" y="424"/>
                    <a:pt x="8" y="424"/>
                  </a:cubicBezTo>
                  <a:cubicBezTo>
                    <a:pt x="8" y="424"/>
                    <a:pt x="8" y="424"/>
                    <a:pt x="8" y="424"/>
                  </a:cubicBezTo>
                  <a:cubicBezTo>
                    <a:pt x="7" y="429"/>
                    <a:pt x="7" y="429"/>
                    <a:pt x="7" y="429"/>
                  </a:cubicBezTo>
                  <a:cubicBezTo>
                    <a:pt x="7" y="431"/>
                    <a:pt x="7" y="432"/>
                    <a:pt x="6" y="433"/>
                  </a:cubicBezTo>
                  <a:cubicBezTo>
                    <a:pt x="5" y="433"/>
                    <a:pt x="4" y="434"/>
                    <a:pt x="4" y="434"/>
                  </a:cubicBezTo>
                  <a:cubicBezTo>
                    <a:pt x="2" y="435"/>
                    <a:pt x="2" y="435"/>
                    <a:pt x="2" y="435"/>
                  </a:cubicBezTo>
                  <a:cubicBezTo>
                    <a:pt x="2" y="435"/>
                    <a:pt x="2" y="435"/>
                    <a:pt x="1" y="435"/>
                  </a:cubicBezTo>
                  <a:cubicBezTo>
                    <a:pt x="1" y="436"/>
                    <a:pt x="1" y="436"/>
                    <a:pt x="1" y="436"/>
                  </a:cubicBezTo>
                  <a:cubicBezTo>
                    <a:pt x="0" y="436"/>
                    <a:pt x="0" y="436"/>
                    <a:pt x="0" y="436"/>
                  </a:cubicBezTo>
                  <a:cubicBezTo>
                    <a:pt x="0" y="441"/>
                    <a:pt x="0" y="441"/>
                    <a:pt x="0" y="441"/>
                  </a:cubicBezTo>
                  <a:cubicBezTo>
                    <a:pt x="0" y="442"/>
                    <a:pt x="0" y="442"/>
                    <a:pt x="0" y="442"/>
                  </a:cubicBezTo>
                  <a:cubicBezTo>
                    <a:pt x="1" y="442"/>
                    <a:pt x="1" y="442"/>
                    <a:pt x="1" y="442"/>
                  </a:cubicBezTo>
                  <a:cubicBezTo>
                    <a:pt x="1" y="442"/>
                    <a:pt x="1" y="442"/>
                    <a:pt x="1" y="442"/>
                  </a:cubicBezTo>
                  <a:cubicBezTo>
                    <a:pt x="2" y="443"/>
                    <a:pt x="2" y="443"/>
                    <a:pt x="2" y="443"/>
                  </a:cubicBezTo>
                  <a:cubicBezTo>
                    <a:pt x="1" y="443"/>
                    <a:pt x="1" y="443"/>
                    <a:pt x="1" y="443"/>
                  </a:cubicBezTo>
                  <a:cubicBezTo>
                    <a:pt x="2" y="444"/>
                    <a:pt x="2" y="444"/>
                    <a:pt x="2" y="444"/>
                  </a:cubicBezTo>
                  <a:cubicBezTo>
                    <a:pt x="2" y="444"/>
                    <a:pt x="2" y="444"/>
                    <a:pt x="2" y="444"/>
                  </a:cubicBezTo>
                  <a:cubicBezTo>
                    <a:pt x="3" y="445"/>
                    <a:pt x="3" y="445"/>
                    <a:pt x="4" y="446"/>
                  </a:cubicBezTo>
                  <a:cubicBezTo>
                    <a:pt x="4" y="447"/>
                    <a:pt x="4" y="447"/>
                    <a:pt x="4" y="447"/>
                  </a:cubicBezTo>
                  <a:cubicBezTo>
                    <a:pt x="4" y="448"/>
                    <a:pt x="5" y="449"/>
                    <a:pt x="4" y="451"/>
                  </a:cubicBezTo>
                  <a:cubicBezTo>
                    <a:pt x="3" y="452"/>
                    <a:pt x="3" y="452"/>
                    <a:pt x="3" y="452"/>
                  </a:cubicBezTo>
                  <a:cubicBezTo>
                    <a:pt x="2" y="452"/>
                    <a:pt x="2" y="452"/>
                    <a:pt x="2" y="452"/>
                  </a:cubicBezTo>
                  <a:cubicBezTo>
                    <a:pt x="2" y="452"/>
                    <a:pt x="2" y="452"/>
                    <a:pt x="2" y="452"/>
                  </a:cubicBezTo>
                  <a:cubicBezTo>
                    <a:pt x="2" y="453"/>
                    <a:pt x="2" y="453"/>
                    <a:pt x="2" y="453"/>
                  </a:cubicBezTo>
                  <a:cubicBezTo>
                    <a:pt x="3" y="454"/>
                    <a:pt x="3" y="455"/>
                    <a:pt x="3" y="455"/>
                  </a:cubicBezTo>
                  <a:cubicBezTo>
                    <a:pt x="3" y="455"/>
                    <a:pt x="4" y="455"/>
                    <a:pt x="4" y="455"/>
                  </a:cubicBezTo>
                  <a:cubicBezTo>
                    <a:pt x="5" y="455"/>
                    <a:pt x="5" y="455"/>
                    <a:pt x="5" y="455"/>
                  </a:cubicBezTo>
                  <a:cubicBezTo>
                    <a:pt x="7" y="454"/>
                    <a:pt x="9" y="454"/>
                    <a:pt x="11" y="454"/>
                  </a:cubicBezTo>
                  <a:cubicBezTo>
                    <a:pt x="11" y="454"/>
                    <a:pt x="11" y="454"/>
                    <a:pt x="11" y="454"/>
                  </a:cubicBezTo>
                  <a:cubicBezTo>
                    <a:pt x="11" y="454"/>
                    <a:pt x="11" y="454"/>
                    <a:pt x="11" y="454"/>
                  </a:cubicBezTo>
                  <a:cubicBezTo>
                    <a:pt x="13" y="454"/>
                    <a:pt x="13" y="454"/>
                    <a:pt x="14" y="454"/>
                  </a:cubicBezTo>
                  <a:cubicBezTo>
                    <a:pt x="15" y="454"/>
                    <a:pt x="17" y="455"/>
                    <a:pt x="19" y="456"/>
                  </a:cubicBezTo>
                  <a:cubicBezTo>
                    <a:pt x="20" y="456"/>
                    <a:pt x="21" y="457"/>
                    <a:pt x="22" y="458"/>
                  </a:cubicBezTo>
                  <a:cubicBezTo>
                    <a:pt x="22" y="458"/>
                    <a:pt x="22" y="458"/>
                    <a:pt x="22" y="458"/>
                  </a:cubicBezTo>
                  <a:cubicBezTo>
                    <a:pt x="23" y="459"/>
                    <a:pt x="23" y="459"/>
                    <a:pt x="24" y="459"/>
                  </a:cubicBezTo>
                  <a:cubicBezTo>
                    <a:pt x="25" y="460"/>
                    <a:pt x="25" y="460"/>
                    <a:pt x="25" y="460"/>
                  </a:cubicBezTo>
                  <a:cubicBezTo>
                    <a:pt x="28" y="462"/>
                    <a:pt x="30" y="463"/>
                    <a:pt x="30" y="467"/>
                  </a:cubicBezTo>
                  <a:cubicBezTo>
                    <a:pt x="31" y="471"/>
                    <a:pt x="32" y="476"/>
                    <a:pt x="32" y="480"/>
                  </a:cubicBezTo>
                  <a:cubicBezTo>
                    <a:pt x="32" y="482"/>
                    <a:pt x="32" y="482"/>
                    <a:pt x="32" y="482"/>
                  </a:cubicBezTo>
                  <a:cubicBezTo>
                    <a:pt x="33" y="483"/>
                    <a:pt x="33" y="484"/>
                    <a:pt x="33" y="485"/>
                  </a:cubicBezTo>
                  <a:cubicBezTo>
                    <a:pt x="33" y="487"/>
                    <a:pt x="33" y="487"/>
                    <a:pt x="33" y="487"/>
                  </a:cubicBezTo>
                  <a:cubicBezTo>
                    <a:pt x="33" y="488"/>
                    <a:pt x="35" y="489"/>
                    <a:pt x="36" y="490"/>
                  </a:cubicBezTo>
                  <a:cubicBezTo>
                    <a:pt x="39" y="492"/>
                    <a:pt x="39" y="492"/>
                    <a:pt x="39" y="492"/>
                  </a:cubicBezTo>
                  <a:cubicBezTo>
                    <a:pt x="37" y="495"/>
                    <a:pt x="37" y="495"/>
                    <a:pt x="37" y="495"/>
                  </a:cubicBezTo>
                  <a:cubicBezTo>
                    <a:pt x="36" y="496"/>
                    <a:pt x="35" y="497"/>
                    <a:pt x="34" y="498"/>
                  </a:cubicBezTo>
                  <a:cubicBezTo>
                    <a:pt x="45" y="495"/>
                    <a:pt x="45" y="495"/>
                    <a:pt x="45" y="495"/>
                  </a:cubicBezTo>
                  <a:cubicBezTo>
                    <a:pt x="31" y="502"/>
                    <a:pt x="31" y="502"/>
                    <a:pt x="31" y="502"/>
                  </a:cubicBezTo>
                  <a:cubicBezTo>
                    <a:pt x="31" y="502"/>
                    <a:pt x="31" y="502"/>
                    <a:pt x="31" y="502"/>
                  </a:cubicBezTo>
                  <a:cubicBezTo>
                    <a:pt x="34" y="502"/>
                    <a:pt x="36" y="502"/>
                    <a:pt x="39" y="503"/>
                  </a:cubicBezTo>
                  <a:cubicBezTo>
                    <a:pt x="41" y="504"/>
                    <a:pt x="43" y="505"/>
                    <a:pt x="44" y="506"/>
                  </a:cubicBezTo>
                  <a:cubicBezTo>
                    <a:pt x="45" y="507"/>
                    <a:pt x="46" y="508"/>
                    <a:pt x="47" y="508"/>
                  </a:cubicBezTo>
                  <a:cubicBezTo>
                    <a:pt x="48" y="509"/>
                    <a:pt x="48" y="509"/>
                    <a:pt x="48" y="509"/>
                  </a:cubicBezTo>
                  <a:cubicBezTo>
                    <a:pt x="49" y="509"/>
                    <a:pt x="49" y="509"/>
                    <a:pt x="49" y="509"/>
                  </a:cubicBezTo>
                  <a:cubicBezTo>
                    <a:pt x="52" y="511"/>
                    <a:pt x="55" y="513"/>
                    <a:pt x="57" y="517"/>
                  </a:cubicBezTo>
                  <a:cubicBezTo>
                    <a:pt x="57" y="518"/>
                    <a:pt x="58" y="520"/>
                    <a:pt x="58" y="521"/>
                  </a:cubicBezTo>
                  <a:cubicBezTo>
                    <a:pt x="59" y="523"/>
                    <a:pt x="59" y="524"/>
                    <a:pt x="59" y="525"/>
                  </a:cubicBezTo>
                  <a:cubicBezTo>
                    <a:pt x="59" y="527"/>
                    <a:pt x="58" y="528"/>
                    <a:pt x="58" y="529"/>
                  </a:cubicBezTo>
                  <a:cubicBezTo>
                    <a:pt x="57" y="530"/>
                    <a:pt x="57" y="530"/>
                    <a:pt x="57" y="530"/>
                  </a:cubicBezTo>
                  <a:cubicBezTo>
                    <a:pt x="58" y="530"/>
                    <a:pt x="58" y="530"/>
                    <a:pt x="58" y="530"/>
                  </a:cubicBezTo>
                  <a:cubicBezTo>
                    <a:pt x="59" y="531"/>
                    <a:pt x="59" y="532"/>
                    <a:pt x="60" y="533"/>
                  </a:cubicBezTo>
                  <a:cubicBezTo>
                    <a:pt x="60" y="534"/>
                    <a:pt x="61" y="534"/>
                    <a:pt x="61" y="534"/>
                  </a:cubicBezTo>
                  <a:cubicBezTo>
                    <a:pt x="61" y="534"/>
                    <a:pt x="61" y="534"/>
                    <a:pt x="61" y="534"/>
                  </a:cubicBezTo>
                  <a:cubicBezTo>
                    <a:pt x="61" y="534"/>
                    <a:pt x="61" y="534"/>
                    <a:pt x="61" y="534"/>
                  </a:cubicBezTo>
                  <a:cubicBezTo>
                    <a:pt x="61" y="534"/>
                    <a:pt x="61" y="534"/>
                    <a:pt x="61" y="534"/>
                  </a:cubicBezTo>
                  <a:cubicBezTo>
                    <a:pt x="64" y="534"/>
                    <a:pt x="66" y="534"/>
                    <a:pt x="66" y="533"/>
                  </a:cubicBezTo>
                  <a:cubicBezTo>
                    <a:pt x="70" y="528"/>
                    <a:pt x="70" y="528"/>
                    <a:pt x="70" y="528"/>
                  </a:cubicBezTo>
                  <a:cubicBezTo>
                    <a:pt x="72" y="535"/>
                    <a:pt x="72" y="535"/>
                    <a:pt x="72" y="535"/>
                  </a:cubicBezTo>
                  <a:cubicBezTo>
                    <a:pt x="72" y="535"/>
                    <a:pt x="72" y="535"/>
                    <a:pt x="72" y="536"/>
                  </a:cubicBezTo>
                  <a:cubicBezTo>
                    <a:pt x="72" y="536"/>
                    <a:pt x="72" y="536"/>
                    <a:pt x="72" y="536"/>
                  </a:cubicBezTo>
                  <a:cubicBezTo>
                    <a:pt x="72" y="537"/>
                    <a:pt x="72" y="537"/>
                    <a:pt x="72" y="537"/>
                  </a:cubicBezTo>
                  <a:cubicBezTo>
                    <a:pt x="72" y="537"/>
                    <a:pt x="72" y="537"/>
                    <a:pt x="72" y="537"/>
                  </a:cubicBezTo>
                  <a:cubicBezTo>
                    <a:pt x="73" y="538"/>
                    <a:pt x="74" y="539"/>
                    <a:pt x="76" y="540"/>
                  </a:cubicBezTo>
                  <a:cubicBezTo>
                    <a:pt x="80" y="542"/>
                    <a:pt x="86" y="543"/>
                    <a:pt x="92" y="543"/>
                  </a:cubicBezTo>
                  <a:cubicBezTo>
                    <a:pt x="95" y="543"/>
                    <a:pt x="97" y="543"/>
                    <a:pt x="99" y="544"/>
                  </a:cubicBezTo>
                  <a:cubicBezTo>
                    <a:pt x="100" y="544"/>
                    <a:pt x="100" y="544"/>
                    <a:pt x="100" y="544"/>
                  </a:cubicBezTo>
                  <a:cubicBezTo>
                    <a:pt x="101" y="543"/>
                    <a:pt x="101" y="543"/>
                    <a:pt x="101" y="543"/>
                  </a:cubicBezTo>
                  <a:cubicBezTo>
                    <a:pt x="103" y="543"/>
                    <a:pt x="105" y="542"/>
                    <a:pt x="106" y="541"/>
                  </a:cubicBezTo>
                  <a:cubicBezTo>
                    <a:pt x="108" y="540"/>
                    <a:pt x="108" y="540"/>
                    <a:pt x="108" y="540"/>
                  </a:cubicBezTo>
                  <a:cubicBezTo>
                    <a:pt x="108" y="543"/>
                    <a:pt x="108" y="543"/>
                    <a:pt x="108" y="543"/>
                  </a:cubicBezTo>
                  <a:cubicBezTo>
                    <a:pt x="108" y="544"/>
                    <a:pt x="108" y="544"/>
                    <a:pt x="108" y="544"/>
                  </a:cubicBezTo>
                  <a:cubicBezTo>
                    <a:pt x="106" y="545"/>
                    <a:pt x="104" y="546"/>
                    <a:pt x="102" y="546"/>
                  </a:cubicBezTo>
                  <a:cubicBezTo>
                    <a:pt x="101" y="546"/>
                    <a:pt x="101" y="546"/>
                    <a:pt x="100" y="546"/>
                  </a:cubicBezTo>
                  <a:cubicBezTo>
                    <a:pt x="100" y="547"/>
                    <a:pt x="100" y="547"/>
                    <a:pt x="100" y="547"/>
                  </a:cubicBezTo>
                  <a:cubicBezTo>
                    <a:pt x="100" y="547"/>
                    <a:pt x="100" y="547"/>
                    <a:pt x="100" y="547"/>
                  </a:cubicBezTo>
                  <a:cubicBezTo>
                    <a:pt x="100" y="547"/>
                    <a:pt x="102" y="546"/>
                    <a:pt x="104" y="546"/>
                  </a:cubicBezTo>
                  <a:cubicBezTo>
                    <a:pt x="104" y="546"/>
                    <a:pt x="105" y="546"/>
                    <a:pt x="105" y="547"/>
                  </a:cubicBezTo>
                  <a:cubicBezTo>
                    <a:pt x="105" y="547"/>
                    <a:pt x="106" y="547"/>
                    <a:pt x="106" y="547"/>
                  </a:cubicBezTo>
                  <a:cubicBezTo>
                    <a:pt x="106" y="547"/>
                    <a:pt x="106" y="548"/>
                    <a:pt x="106" y="548"/>
                  </a:cubicBezTo>
                  <a:cubicBezTo>
                    <a:pt x="106" y="549"/>
                    <a:pt x="105" y="551"/>
                    <a:pt x="105" y="552"/>
                  </a:cubicBezTo>
                  <a:cubicBezTo>
                    <a:pt x="105" y="553"/>
                    <a:pt x="105" y="554"/>
                    <a:pt x="106" y="555"/>
                  </a:cubicBezTo>
                  <a:cubicBezTo>
                    <a:pt x="107" y="557"/>
                    <a:pt x="108" y="559"/>
                    <a:pt x="108" y="560"/>
                  </a:cubicBezTo>
                  <a:cubicBezTo>
                    <a:pt x="108" y="561"/>
                    <a:pt x="109" y="561"/>
                    <a:pt x="109" y="562"/>
                  </a:cubicBezTo>
                  <a:cubicBezTo>
                    <a:pt x="110" y="564"/>
                    <a:pt x="110" y="566"/>
                    <a:pt x="111" y="568"/>
                  </a:cubicBezTo>
                  <a:cubicBezTo>
                    <a:pt x="111" y="569"/>
                    <a:pt x="111" y="569"/>
                    <a:pt x="111" y="569"/>
                  </a:cubicBezTo>
                  <a:cubicBezTo>
                    <a:pt x="112" y="571"/>
                    <a:pt x="114" y="572"/>
                    <a:pt x="116" y="574"/>
                  </a:cubicBezTo>
                  <a:cubicBezTo>
                    <a:pt x="118" y="575"/>
                    <a:pt x="121" y="576"/>
                    <a:pt x="123" y="577"/>
                  </a:cubicBezTo>
                  <a:cubicBezTo>
                    <a:pt x="125" y="577"/>
                    <a:pt x="127" y="578"/>
                    <a:pt x="128" y="579"/>
                  </a:cubicBezTo>
                  <a:cubicBezTo>
                    <a:pt x="128" y="580"/>
                    <a:pt x="128" y="581"/>
                    <a:pt x="127" y="582"/>
                  </a:cubicBezTo>
                  <a:cubicBezTo>
                    <a:pt x="123" y="585"/>
                    <a:pt x="123" y="585"/>
                    <a:pt x="123" y="585"/>
                  </a:cubicBezTo>
                  <a:cubicBezTo>
                    <a:pt x="123" y="586"/>
                    <a:pt x="123" y="586"/>
                    <a:pt x="123" y="586"/>
                  </a:cubicBezTo>
                  <a:cubicBezTo>
                    <a:pt x="123" y="587"/>
                    <a:pt x="122" y="588"/>
                    <a:pt x="123" y="589"/>
                  </a:cubicBezTo>
                  <a:cubicBezTo>
                    <a:pt x="123" y="590"/>
                    <a:pt x="123" y="591"/>
                    <a:pt x="123" y="591"/>
                  </a:cubicBezTo>
                  <a:cubicBezTo>
                    <a:pt x="124" y="592"/>
                    <a:pt x="124" y="592"/>
                    <a:pt x="124" y="592"/>
                  </a:cubicBezTo>
                  <a:cubicBezTo>
                    <a:pt x="124" y="593"/>
                    <a:pt x="124" y="593"/>
                    <a:pt x="124" y="594"/>
                  </a:cubicBezTo>
                  <a:cubicBezTo>
                    <a:pt x="127" y="592"/>
                    <a:pt x="127" y="592"/>
                    <a:pt x="127" y="592"/>
                  </a:cubicBezTo>
                  <a:cubicBezTo>
                    <a:pt x="128" y="596"/>
                    <a:pt x="128" y="596"/>
                    <a:pt x="128" y="596"/>
                  </a:cubicBezTo>
                  <a:cubicBezTo>
                    <a:pt x="128" y="596"/>
                    <a:pt x="128" y="596"/>
                    <a:pt x="128" y="596"/>
                  </a:cubicBezTo>
                  <a:cubicBezTo>
                    <a:pt x="129" y="600"/>
                    <a:pt x="129" y="600"/>
                    <a:pt x="129" y="600"/>
                  </a:cubicBezTo>
                  <a:cubicBezTo>
                    <a:pt x="130" y="602"/>
                    <a:pt x="130" y="602"/>
                    <a:pt x="130" y="602"/>
                  </a:cubicBezTo>
                  <a:cubicBezTo>
                    <a:pt x="130" y="603"/>
                    <a:pt x="130" y="603"/>
                    <a:pt x="130" y="603"/>
                  </a:cubicBezTo>
                  <a:cubicBezTo>
                    <a:pt x="131" y="604"/>
                    <a:pt x="131" y="604"/>
                    <a:pt x="131" y="604"/>
                  </a:cubicBezTo>
                  <a:cubicBezTo>
                    <a:pt x="133" y="605"/>
                    <a:pt x="134" y="607"/>
                    <a:pt x="137" y="608"/>
                  </a:cubicBezTo>
                  <a:cubicBezTo>
                    <a:pt x="137" y="608"/>
                    <a:pt x="137" y="608"/>
                    <a:pt x="137" y="608"/>
                  </a:cubicBezTo>
                  <a:cubicBezTo>
                    <a:pt x="138" y="608"/>
                    <a:pt x="140" y="608"/>
                    <a:pt x="142" y="611"/>
                  </a:cubicBezTo>
                  <a:cubicBezTo>
                    <a:pt x="142" y="612"/>
                    <a:pt x="142" y="612"/>
                    <a:pt x="142" y="614"/>
                  </a:cubicBezTo>
                  <a:cubicBezTo>
                    <a:pt x="142" y="616"/>
                    <a:pt x="142" y="616"/>
                    <a:pt x="142" y="616"/>
                  </a:cubicBezTo>
                  <a:cubicBezTo>
                    <a:pt x="142" y="617"/>
                    <a:pt x="143" y="618"/>
                    <a:pt x="143" y="619"/>
                  </a:cubicBezTo>
                  <a:cubicBezTo>
                    <a:pt x="143" y="619"/>
                    <a:pt x="143" y="619"/>
                    <a:pt x="143" y="619"/>
                  </a:cubicBezTo>
                  <a:cubicBezTo>
                    <a:pt x="143" y="620"/>
                    <a:pt x="143" y="620"/>
                    <a:pt x="143" y="620"/>
                  </a:cubicBezTo>
                  <a:cubicBezTo>
                    <a:pt x="143" y="620"/>
                    <a:pt x="143" y="620"/>
                    <a:pt x="143" y="620"/>
                  </a:cubicBezTo>
                  <a:cubicBezTo>
                    <a:pt x="146" y="622"/>
                    <a:pt x="146" y="622"/>
                    <a:pt x="146" y="622"/>
                  </a:cubicBezTo>
                  <a:cubicBezTo>
                    <a:pt x="144" y="624"/>
                    <a:pt x="144" y="624"/>
                    <a:pt x="144" y="624"/>
                  </a:cubicBezTo>
                  <a:cubicBezTo>
                    <a:pt x="140" y="630"/>
                    <a:pt x="134" y="636"/>
                    <a:pt x="129" y="636"/>
                  </a:cubicBezTo>
                  <a:cubicBezTo>
                    <a:pt x="128" y="636"/>
                    <a:pt x="128" y="636"/>
                    <a:pt x="128" y="636"/>
                  </a:cubicBezTo>
                  <a:cubicBezTo>
                    <a:pt x="127" y="636"/>
                    <a:pt x="127" y="636"/>
                    <a:pt x="127" y="636"/>
                  </a:cubicBezTo>
                  <a:cubicBezTo>
                    <a:pt x="124" y="635"/>
                    <a:pt x="122" y="632"/>
                    <a:pt x="121" y="630"/>
                  </a:cubicBezTo>
                  <a:cubicBezTo>
                    <a:pt x="120" y="630"/>
                    <a:pt x="120" y="630"/>
                    <a:pt x="120" y="630"/>
                  </a:cubicBezTo>
                  <a:cubicBezTo>
                    <a:pt x="119" y="630"/>
                    <a:pt x="119" y="630"/>
                    <a:pt x="119" y="630"/>
                  </a:cubicBezTo>
                  <a:cubicBezTo>
                    <a:pt x="119" y="631"/>
                    <a:pt x="118" y="631"/>
                    <a:pt x="118" y="631"/>
                  </a:cubicBezTo>
                  <a:cubicBezTo>
                    <a:pt x="118" y="634"/>
                    <a:pt x="119" y="636"/>
                    <a:pt x="121" y="638"/>
                  </a:cubicBezTo>
                  <a:cubicBezTo>
                    <a:pt x="122" y="639"/>
                    <a:pt x="123" y="641"/>
                    <a:pt x="124" y="643"/>
                  </a:cubicBezTo>
                  <a:cubicBezTo>
                    <a:pt x="125" y="644"/>
                    <a:pt x="126" y="645"/>
                    <a:pt x="126" y="646"/>
                  </a:cubicBezTo>
                  <a:cubicBezTo>
                    <a:pt x="126" y="647"/>
                    <a:pt x="125" y="648"/>
                    <a:pt x="125" y="649"/>
                  </a:cubicBezTo>
                  <a:cubicBezTo>
                    <a:pt x="126" y="650"/>
                    <a:pt x="125" y="653"/>
                    <a:pt x="125" y="655"/>
                  </a:cubicBezTo>
                  <a:cubicBezTo>
                    <a:pt x="125" y="656"/>
                    <a:pt x="125" y="656"/>
                    <a:pt x="125" y="656"/>
                  </a:cubicBezTo>
                  <a:cubicBezTo>
                    <a:pt x="125" y="656"/>
                    <a:pt x="125" y="656"/>
                    <a:pt x="125" y="656"/>
                  </a:cubicBezTo>
                  <a:cubicBezTo>
                    <a:pt x="125" y="657"/>
                    <a:pt x="126" y="657"/>
                    <a:pt x="126" y="658"/>
                  </a:cubicBezTo>
                  <a:cubicBezTo>
                    <a:pt x="126" y="658"/>
                    <a:pt x="126" y="658"/>
                    <a:pt x="126" y="658"/>
                  </a:cubicBezTo>
                  <a:cubicBezTo>
                    <a:pt x="128" y="657"/>
                    <a:pt x="129" y="656"/>
                    <a:pt x="131" y="656"/>
                  </a:cubicBezTo>
                  <a:cubicBezTo>
                    <a:pt x="132" y="656"/>
                    <a:pt x="132" y="656"/>
                    <a:pt x="132" y="656"/>
                  </a:cubicBezTo>
                  <a:cubicBezTo>
                    <a:pt x="134" y="657"/>
                    <a:pt x="134" y="657"/>
                    <a:pt x="135" y="658"/>
                  </a:cubicBezTo>
                  <a:cubicBezTo>
                    <a:pt x="136" y="659"/>
                    <a:pt x="136" y="659"/>
                    <a:pt x="136" y="659"/>
                  </a:cubicBezTo>
                  <a:cubicBezTo>
                    <a:pt x="142" y="657"/>
                    <a:pt x="142" y="657"/>
                    <a:pt x="142" y="657"/>
                  </a:cubicBezTo>
                  <a:cubicBezTo>
                    <a:pt x="137" y="661"/>
                    <a:pt x="137" y="661"/>
                    <a:pt x="137" y="661"/>
                  </a:cubicBezTo>
                  <a:cubicBezTo>
                    <a:pt x="138" y="662"/>
                    <a:pt x="139" y="663"/>
                    <a:pt x="139" y="664"/>
                  </a:cubicBezTo>
                  <a:cubicBezTo>
                    <a:pt x="140" y="664"/>
                    <a:pt x="140" y="664"/>
                    <a:pt x="140" y="664"/>
                  </a:cubicBezTo>
                  <a:cubicBezTo>
                    <a:pt x="140" y="665"/>
                    <a:pt x="140" y="665"/>
                    <a:pt x="141" y="666"/>
                  </a:cubicBezTo>
                  <a:cubicBezTo>
                    <a:pt x="141" y="666"/>
                    <a:pt x="141" y="667"/>
                    <a:pt x="142" y="667"/>
                  </a:cubicBezTo>
                  <a:cubicBezTo>
                    <a:pt x="142" y="667"/>
                    <a:pt x="143" y="668"/>
                    <a:pt x="143" y="668"/>
                  </a:cubicBezTo>
                  <a:cubicBezTo>
                    <a:pt x="144" y="668"/>
                    <a:pt x="145" y="668"/>
                    <a:pt x="146" y="669"/>
                  </a:cubicBezTo>
                  <a:cubicBezTo>
                    <a:pt x="149" y="670"/>
                    <a:pt x="154" y="671"/>
                    <a:pt x="158" y="673"/>
                  </a:cubicBezTo>
                  <a:cubicBezTo>
                    <a:pt x="159" y="674"/>
                    <a:pt x="161" y="674"/>
                    <a:pt x="161" y="675"/>
                  </a:cubicBezTo>
                  <a:cubicBezTo>
                    <a:pt x="162" y="674"/>
                    <a:pt x="162" y="674"/>
                    <a:pt x="162" y="674"/>
                  </a:cubicBezTo>
                  <a:cubicBezTo>
                    <a:pt x="162" y="676"/>
                    <a:pt x="162" y="676"/>
                    <a:pt x="162" y="676"/>
                  </a:cubicBezTo>
                  <a:cubicBezTo>
                    <a:pt x="162" y="676"/>
                    <a:pt x="162" y="676"/>
                    <a:pt x="163" y="677"/>
                  </a:cubicBezTo>
                  <a:cubicBezTo>
                    <a:pt x="163" y="678"/>
                    <a:pt x="163" y="679"/>
                    <a:pt x="162" y="681"/>
                  </a:cubicBezTo>
                  <a:cubicBezTo>
                    <a:pt x="178" y="689"/>
                    <a:pt x="178" y="689"/>
                    <a:pt x="178" y="689"/>
                  </a:cubicBezTo>
                  <a:cubicBezTo>
                    <a:pt x="179" y="688"/>
                    <a:pt x="179" y="688"/>
                    <a:pt x="179" y="688"/>
                  </a:cubicBezTo>
                  <a:cubicBezTo>
                    <a:pt x="183" y="692"/>
                    <a:pt x="183" y="692"/>
                    <a:pt x="183" y="692"/>
                  </a:cubicBezTo>
                  <a:cubicBezTo>
                    <a:pt x="184" y="691"/>
                    <a:pt x="184" y="689"/>
                    <a:pt x="185" y="688"/>
                  </a:cubicBezTo>
                  <a:cubicBezTo>
                    <a:pt x="186" y="688"/>
                    <a:pt x="186" y="688"/>
                    <a:pt x="186" y="688"/>
                  </a:cubicBezTo>
                  <a:cubicBezTo>
                    <a:pt x="186" y="687"/>
                    <a:pt x="186" y="687"/>
                    <a:pt x="187" y="686"/>
                  </a:cubicBezTo>
                  <a:cubicBezTo>
                    <a:pt x="187" y="686"/>
                    <a:pt x="187" y="686"/>
                    <a:pt x="188" y="685"/>
                  </a:cubicBezTo>
                  <a:cubicBezTo>
                    <a:pt x="188" y="685"/>
                    <a:pt x="188" y="685"/>
                    <a:pt x="188" y="685"/>
                  </a:cubicBezTo>
                  <a:cubicBezTo>
                    <a:pt x="189" y="684"/>
                    <a:pt x="191" y="683"/>
                    <a:pt x="193" y="683"/>
                  </a:cubicBezTo>
                  <a:cubicBezTo>
                    <a:pt x="193" y="683"/>
                    <a:pt x="194" y="683"/>
                    <a:pt x="195" y="684"/>
                  </a:cubicBezTo>
                  <a:cubicBezTo>
                    <a:pt x="198" y="684"/>
                    <a:pt x="203" y="684"/>
                    <a:pt x="205" y="686"/>
                  </a:cubicBezTo>
                  <a:cubicBezTo>
                    <a:pt x="207" y="687"/>
                    <a:pt x="208" y="690"/>
                    <a:pt x="208" y="691"/>
                  </a:cubicBezTo>
                  <a:cubicBezTo>
                    <a:pt x="209" y="692"/>
                    <a:pt x="209" y="692"/>
                    <a:pt x="209" y="693"/>
                  </a:cubicBezTo>
                  <a:cubicBezTo>
                    <a:pt x="210" y="694"/>
                    <a:pt x="211" y="694"/>
                    <a:pt x="212" y="695"/>
                  </a:cubicBezTo>
                  <a:cubicBezTo>
                    <a:pt x="212" y="695"/>
                    <a:pt x="212" y="695"/>
                    <a:pt x="212" y="695"/>
                  </a:cubicBezTo>
                  <a:cubicBezTo>
                    <a:pt x="213" y="695"/>
                    <a:pt x="214" y="695"/>
                    <a:pt x="215" y="696"/>
                  </a:cubicBezTo>
                  <a:cubicBezTo>
                    <a:pt x="216" y="696"/>
                    <a:pt x="216" y="696"/>
                    <a:pt x="216" y="696"/>
                  </a:cubicBezTo>
                  <a:cubicBezTo>
                    <a:pt x="218" y="697"/>
                    <a:pt x="219" y="698"/>
                    <a:pt x="220" y="699"/>
                  </a:cubicBezTo>
                  <a:cubicBezTo>
                    <a:pt x="221" y="699"/>
                    <a:pt x="222" y="700"/>
                    <a:pt x="223" y="701"/>
                  </a:cubicBezTo>
                  <a:cubicBezTo>
                    <a:pt x="224" y="703"/>
                    <a:pt x="224" y="703"/>
                    <a:pt x="224" y="703"/>
                  </a:cubicBezTo>
                  <a:cubicBezTo>
                    <a:pt x="225" y="704"/>
                    <a:pt x="226" y="704"/>
                    <a:pt x="228" y="704"/>
                  </a:cubicBezTo>
                  <a:cubicBezTo>
                    <a:pt x="229" y="704"/>
                    <a:pt x="229" y="704"/>
                    <a:pt x="230" y="705"/>
                  </a:cubicBezTo>
                  <a:cubicBezTo>
                    <a:pt x="230" y="704"/>
                    <a:pt x="230" y="704"/>
                    <a:pt x="230" y="704"/>
                  </a:cubicBezTo>
                  <a:cubicBezTo>
                    <a:pt x="230" y="704"/>
                    <a:pt x="230" y="705"/>
                    <a:pt x="231" y="705"/>
                  </a:cubicBezTo>
                  <a:cubicBezTo>
                    <a:pt x="232" y="705"/>
                    <a:pt x="232" y="705"/>
                    <a:pt x="232" y="705"/>
                  </a:cubicBezTo>
                  <a:cubicBezTo>
                    <a:pt x="232" y="705"/>
                    <a:pt x="233" y="705"/>
                    <a:pt x="233" y="705"/>
                  </a:cubicBezTo>
                  <a:cubicBezTo>
                    <a:pt x="234" y="705"/>
                    <a:pt x="234" y="706"/>
                    <a:pt x="234" y="706"/>
                  </a:cubicBezTo>
                  <a:cubicBezTo>
                    <a:pt x="235" y="706"/>
                    <a:pt x="235" y="706"/>
                    <a:pt x="235" y="706"/>
                  </a:cubicBezTo>
                  <a:cubicBezTo>
                    <a:pt x="235" y="706"/>
                    <a:pt x="235" y="707"/>
                    <a:pt x="236" y="707"/>
                  </a:cubicBezTo>
                  <a:cubicBezTo>
                    <a:pt x="236" y="707"/>
                    <a:pt x="237" y="708"/>
                    <a:pt x="237" y="708"/>
                  </a:cubicBezTo>
                  <a:cubicBezTo>
                    <a:pt x="240" y="706"/>
                    <a:pt x="240" y="706"/>
                    <a:pt x="240" y="706"/>
                  </a:cubicBezTo>
                  <a:cubicBezTo>
                    <a:pt x="238" y="709"/>
                    <a:pt x="238" y="709"/>
                    <a:pt x="238" y="709"/>
                  </a:cubicBezTo>
                  <a:cubicBezTo>
                    <a:pt x="238" y="709"/>
                    <a:pt x="238" y="709"/>
                    <a:pt x="238" y="709"/>
                  </a:cubicBezTo>
                  <a:cubicBezTo>
                    <a:pt x="239" y="711"/>
                    <a:pt x="241" y="712"/>
                    <a:pt x="242" y="713"/>
                  </a:cubicBezTo>
                  <a:cubicBezTo>
                    <a:pt x="242" y="714"/>
                    <a:pt x="243" y="714"/>
                    <a:pt x="243" y="715"/>
                  </a:cubicBezTo>
                  <a:cubicBezTo>
                    <a:pt x="243" y="715"/>
                    <a:pt x="243" y="715"/>
                    <a:pt x="243" y="715"/>
                  </a:cubicBezTo>
                  <a:cubicBezTo>
                    <a:pt x="245" y="717"/>
                    <a:pt x="245" y="717"/>
                    <a:pt x="245" y="717"/>
                  </a:cubicBezTo>
                  <a:cubicBezTo>
                    <a:pt x="245" y="717"/>
                    <a:pt x="245" y="717"/>
                    <a:pt x="245" y="717"/>
                  </a:cubicBezTo>
                  <a:cubicBezTo>
                    <a:pt x="245" y="717"/>
                    <a:pt x="245" y="717"/>
                    <a:pt x="245" y="717"/>
                  </a:cubicBezTo>
                  <a:cubicBezTo>
                    <a:pt x="248" y="716"/>
                    <a:pt x="250" y="715"/>
                    <a:pt x="253" y="715"/>
                  </a:cubicBezTo>
                  <a:cubicBezTo>
                    <a:pt x="253" y="715"/>
                    <a:pt x="253" y="715"/>
                    <a:pt x="254" y="715"/>
                  </a:cubicBezTo>
                  <a:cubicBezTo>
                    <a:pt x="255" y="715"/>
                    <a:pt x="257" y="715"/>
                    <a:pt x="258" y="716"/>
                  </a:cubicBezTo>
                  <a:cubicBezTo>
                    <a:pt x="259" y="717"/>
                    <a:pt x="259" y="719"/>
                    <a:pt x="259" y="720"/>
                  </a:cubicBezTo>
                  <a:cubicBezTo>
                    <a:pt x="259" y="720"/>
                    <a:pt x="259" y="720"/>
                    <a:pt x="259" y="720"/>
                  </a:cubicBezTo>
                  <a:cubicBezTo>
                    <a:pt x="260" y="721"/>
                    <a:pt x="260" y="721"/>
                    <a:pt x="260" y="721"/>
                  </a:cubicBezTo>
                  <a:cubicBezTo>
                    <a:pt x="261" y="722"/>
                    <a:pt x="261" y="723"/>
                    <a:pt x="261" y="725"/>
                  </a:cubicBezTo>
                  <a:cubicBezTo>
                    <a:pt x="261" y="726"/>
                    <a:pt x="262" y="727"/>
                    <a:pt x="263" y="727"/>
                  </a:cubicBezTo>
                  <a:cubicBezTo>
                    <a:pt x="263" y="727"/>
                    <a:pt x="263" y="727"/>
                    <a:pt x="263" y="727"/>
                  </a:cubicBezTo>
                  <a:cubicBezTo>
                    <a:pt x="264" y="728"/>
                    <a:pt x="264" y="728"/>
                    <a:pt x="265" y="728"/>
                  </a:cubicBezTo>
                  <a:cubicBezTo>
                    <a:pt x="266" y="729"/>
                    <a:pt x="266" y="729"/>
                    <a:pt x="266" y="729"/>
                  </a:cubicBezTo>
                  <a:cubicBezTo>
                    <a:pt x="266" y="729"/>
                    <a:pt x="267" y="730"/>
                    <a:pt x="267" y="730"/>
                  </a:cubicBezTo>
                  <a:cubicBezTo>
                    <a:pt x="269" y="731"/>
                    <a:pt x="269" y="731"/>
                    <a:pt x="269" y="731"/>
                  </a:cubicBezTo>
                  <a:cubicBezTo>
                    <a:pt x="270" y="731"/>
                    <a:pt x="270" y="732"/>
                    <a:pt x="271" y="732"/>
                  </a:cubicBezTo>
                  <a:cubicBezTo>
                    <a:pt x="272" y="733"/>
                    <a:pt x="273" y="733"/>
                    <a:pt x="274" y="733"/>
                  </a:cubicBezTo>
                  <a:cubicBezTo>
                    <a:pt x="274" y="733"/>
                    <a:pt x="274" y="733"/>
                    <a:pt x="275" y="733"/>
                  </a:cubicBezTo>
                  <a:cubicBezTo>
                    <a:pt x="275" y="733"/>
                    <a:pt x="276" y="733"/>
                    <a:pt x="277" y="733"/>
                  </a:cubicBezTo>
                  <a:cubicBezTo>
                    <a:pt x="278" y="733"/>
                    <a:pt x="278" y="733"/>
                    <a:pt x="278" y="733"/>
                  </a:cubicBezTo>
                  <a:cubicBezTo>
                    <a:pt x="279" y="733"/>
                    <a:pt x="280" y="733"/>
                    <a:pt x="281" y="733"/>
                  </a:cubicBezTo>
                  <a:cubicBezTo>
                    <a:pt x="281" y="733"/>
                    <a:pt x="281" y="733"/>
                    <a:pt x="282" y="733"/>
                  </a:cubicBezTo>
                  <a:cubicBezTo>
                    <a:pt x="286" y="733"/>
                    <a:pt x="286" y="733"/>
                    <a:pt x="286" y="733"/>
                  </a:cubicBezTo>
                  <a:cubicBezTo>
                    <a:pt x="283" y="738"/>
                    <a:pt x="283" y="738"/>
                    <a:pt x="283" y="738"/>
                  </a:cubicBezTo>
                  <a:cubicBezTo>
                    <a:pt x="283" y="739"/>
                    <a:pt x="283" y="739"/>
                    <a:pt x="283" y="740"/>
                  </a:cubicBezTo>
                  <a:cubicBezTo>
                    <a:pt x="283" y="740"/>
                    <a:pt x="283" y="740"/>
                    <a:pt x="283" y="740"/>
                  </a:cubicBezTo>
                  <a:cubicBezTo>
                    <a:pt x="284" y="740"/>
                    <a:pt x="284" y="740"/>
                    <a:pt x="284" y="740"/>
                  </a:cubicBezTo>
                  <a:cubicBezTo>
                    <a:pt x="284" y="740"/>
                    <a:pt x="284" y="740"/>
                    <a:pt x="284" y="740"/>
                  </a:cubicBezTo>
                  <a:cubicBezTo>
                    <a:pt x="285" y="740"/>
                    <a:pt x="286" y="740"/>
                    <a:pt x="286" y="740"/>
                  </a:cubicBezTo>
                  <a:cubicBezTo>
                    <a:pt x="288" y="740"/>
                    <a:pt x="289" y="739"/>
                    <a:pt x="290" y="739"/>
                  </a:cubicBezTo>
                  <a:cubicBezTo>
                    <a:pt x="291" y="739"/>
                    <a:pt x="291" y="739"/>
                    <a:pt x="291" y="739"/>
                  </a:cubicBezTo>
                  <a:cubicBezTo>
                    <a:pt x="293" y="740"/>
                    <a:pt x="295" y="740"/>
                    <a:pt x="297" y="741"/>
                  </a:cubicBezTo>
                  <a:cubicBezTo>
                    <a:pt x="297" y="742"/>
                    <a:pt x="298" y="743"/>
                    <a:pt x="298" y="743"/>
                  </a:cubicBezTo>
                  <a:cubicBezTo>
                    <a:pt x="299" y="745"/>
                    <a:pt x="299" y="745"/>
                    <a:pt x="299" y="745"/>
                  </a:cubicBezTo>
                  <a:cubicBezTo>
                    <a:pt x="300" y="746"/>
                    <a:pt x="301" y="747"/>
                    <a:pt x="302" y="748"/>
                  </a:cubicBezTo>
                  <a:cubicBezTo>
                    <a:pt x="302" y="747"/>
                    <a:pt x="303" y="746"/>
                    <a:pt x="304" y="745"/>
                  </a:cubicBezTo>
                  <a:cubicBezTo>
                    <a:pt x="310" y="738"/>
                    <a:pt x="310" y="738"/>
                    <a:pt x="310" y="738"/>
                  </a:cubicBezTo>
                  <a:cubicBezTo>
                    <a:pt x="309" y="747"/>
                    <a:pt x="309" y="747"/>
                    <a:pt x="309" y="747"/>
                  </a:cubicBezTo>
                  <a:cubicBezTo>
                    <a:pt x="309" y="748"/>
                    <a:pt x="309" y="748"/>
                    <a:pt x="309" y="748"/>
                  </a:cubicBezTo>
                  <a:cubicBezTo>
                    <a:pt x="309" y="748"/>
                    <a:pt x="310" y="748"/>
                    <a:pt x="311" y="749"/>
                  </a:cubicBezTo>
                  <a:cubicBezTo>
                    <a:pt x="313" y="749"/>
                    <a:pt x="313" y="749"/>
                    <a:pt x="313" y="749"/>
                  </a:cubicBezTo>
                  <a:cubicBezTo>
                    <a:pt x="313" y="749"/>
                    <a:pt x="313" y="749"/>
                    <a:pt x="313" y="749"/>
                  </a:cubicBezTo>
                  <a:cubicBezTo>
                    <a:pt x="314" y="748"/>
                    <a:pt x="315" y="747"/>
                    <a:pt x="317" y="746"/>
                  </a:cubicBezTo>
                  <a:cubicBezTo>
                    <a:pt x="317" y="746"/>
                    <a:pt x="318" y="746"/>
                    <a:pt x="319" y="746"/>
                  </a:cubicBezTo>
                  <a:cubicBezTo>
                    <a:pt x="319" y="746"/>
                    <a:pt x="319" y="746"/>
                    <a:pt x="319" y="746"/>
                  </a:cubicBezTo>
                  <a:cubicBezTo>
                    <a:pt x="320" y="746"/>
                    <a:pt x="320" y="746"/>
                    <a:pt x="320" y="746"/>
                  </a:cubicBezTo>
                  <a:cubicBezTo>
                    <a:pt x="321" y="746"/>
                    <a:pt x="321" y="746"/>
                    <a:pt x="321" y="746"/>
                  </a:cubicBezTo>
                  <a:cubicBezTo>
                    <a:pt x="322" y="747"/>
                    <a:pt x="322" y="747"/>
                    <a:pt x="323" y="748"/>
                  </a:cubicBezTo>
                  <a:cubicBezTo>
                    <a:pt x="325" y="748"/>
                    <a:pt x="327" y="749"/>
                    <a:pt x="329" y="750"/>
                  </a:cubicBezTo>
                  <a:cubicBezTo>
                    <a:pt x="332" y="751"/>
                    <a:pt x="334" y="751"/>
                    <a:pt x="337" y="752"/>
                  </a:cubicBezTo>
                  <a:cubicBezTo>
                    <a:pt x="340" y="752"/>
                    <a:pt x="342" y="752"/>
                    <a:pt x="345" y="752"/>
                  </a:cubicBezTo>
                  <a:cubicBezTo>
                    <a:pt x="348" y="752"/>
                    <a:pt x="350" y="752"/>
                    <a:pt x="353" y="752"/>
                  </a:cubicBezTo>
                  <a:cubicBezTo>
                    <a:pt x="353" y="752"/>
                    <a:pt x="353" y="752"/>
                    <a:pt x="353" y="752"/>
                  </a:cubicBezTo>
                  <a:cubicBezTo>
                    <a:pt x="356" y="750"/>
                    <a:pt x="356" y="750"/>
                    <a:pt x="356" y="750"/>
                  </a:cubicBezTo>
                  <a:cubicBezTo>
                    <a:pt x="358" y="749"/>
                    <a:pt x="360" y="747"/>
                    <a:pt x="363" y="746"/>
                  </a:cubicBezTo>
                  <a:cubicBezTo>
                    <a:pt x="363" y="746"/>
                    <a:pt x="363" y="746"/>
                    <a:pt x="363" y="746"/>
                  </a:cubicBezTo>
                  <a:cubicBezTo>
                    <a:pt x="363" y="746"/>
                    <a:pt x="364" y="746"/>
                    <a:pt x="364" y="746"/>
                  </a:cubicBezTo>
                  <a:cubicBezTo>
                    <a:pt x="365" y="746"/>
                    <a:pt x="365" y="745"/>
                    <a:pt x="366" y="745"/>
                  </a:cubicBezTo>
                  <a:cubicBezTo>
                    <a:pt x="367" y="745"/>
                    <a:pt x="368" y="746"/>
                    <a:pt x="369" y="746"/>
                  </a:cubicBezTo>
                  <a:cubicBezTo>
                    <a:pt x="370" y="747"/>
                    <a:pt x="372" y="748"/>
                    <a:pt x="374" y="749"/>
                  </a:cubicBezTo>
                  <a:cubicBezTo>
                    <a:pt x="374" y="749"/>
                    <a:pt x="374" y="749"/>
                    <a:pt x="374" y="749"/>
                  </a:cubicBezTo>
                  <a:cubicBezTo>
                    <a:pt x="374" y="750"/>
                    <a:pt x="374" y="750"/>
                    <a:pt x="374" y="750"/>
                  </a:cubicBezTo>
                  <a:cubicBezTo>
                    <a:pt x="374" y="751"/>
                    <a:pt x="374" y="751"/>
                    <a:pt x="374" y="751"/>
                  </a:cubicBezTo>
                  <a:cubicBezTo>
                    <a:pt x="374" y="751"/>
                    <a:pt x="375" y="752"/>
                    <a:pt x="375" y="753"/>
                  </a:cubicBezTo>
                  <a:cubicBezTo>
                    <a:pt x="375" y="753"/>
                    <a:pt x="375" y="753"/>
                    <a:pt x="375" y="753"/>
                  </a:cubicBezTo>
                  <a:cubicBezTo>
                    <a:pt x="375" y="754"/>
                    <a:pt x="375" y="754"/>
                    <a:pt x="375" y="755"/>
                  </a:cubicBezTo>
                  <a:cubicBezTo>
                    <a:pt x="375" y="756"/>
                    <a:pt x="375" y="756"/>
                    <a:pt x="375" y="756"/>
                  </a:cubicBezTo>
                  <a:cubicBezTo>
                    <a:pt x="375" y="756"/>
                    <a:pt x="375" y="757"/>
                    <a:pt x="375" y="758"/>
                  </a:cubicBezTo>
                  <a:cubicBezTo>
                    <a:pt x="375" y="759"/>
                    <a:pt x="374" y="759"/>
                    <a:pt x="374" y="760"/>
                  </a:cubicBezTo>
                  <a:cubicBezTo>
                    <a:pt x="374" y="761"/>
                    <a:pt x="374" y="761"/>
                    <a:pt x="374" y="761"/>
                  </a:cubicBezTo>
                  <a:cubicBezTo>
                    <a:pt x="373" y="762"/>
                    <a:pt x="373" y="762"/>
                    <a:pt x="373" y="762"/>
                  </a:cubicBezTo>
                  <a:cubicBezTo>
                    <a:pt x="373" y="763"/>
                    <a:pt x="373" y="763"/>
                    <a:pt x="373" y="763"/>
                  </a:cubicBezTo>
                  <a:cubicBezTo>
                    <a:pt x="374" y="762"/>
                    <a:pt x="374" y="762"/>
                    <a:pt x="374" y="761"/>
                  </a:cubicBezTo>
                  <a:cubicBezTo>
                    <a:pt x="375" y="760"/>
                    <a:pt x="376" y="759"/>
                    <a:pt x="377" y="757"/>
                  </a:cubicBezTo>
                  <a:cubicBezTo>
                    <a:pt x="378" y="755"/>
                    <a:pt x="381" y="752"/>
                    <a:pt x="383" y="750"/>
                  </a:cubicBezTo>
                  <a:cubicBezTo>
                    <a:pt x="384" y="749"/>
                    <a:pt x="385" y="748"/>
                    <a:pt x="385" y="748"/>
                  </a:cubicBezTo>
                  <a:cubicBezTo>
                    <a:pt x="388" y="744"/>
                    <a:pt x="393" y="742"/>
                    <a:pt x="400" y="741"/>
                  </a:cubicBezTo>
                  <a:cubicBezTo>
                    <a:pt x="402" y="740"/>
                    <a:pt x="402" y="740"/>
                    <a:pt x="402" y="740"/>
                  </a:cubicBezTo>
                  <a:cubicBezTo>
                    <a:pt x="403" y="740"/>
                    <a:pt x="403" y="740"/>
                    <a:pt x="403" y="740"/>
                  </a:cubicBezTo>
                  <a:cubicBezTo>
                    <a:pt x="404" y="740"/>
                    <a:pt x="404" y="740"/>
                    <a:pt x="404" y="740"/>
                  </a:cubicBezTo>
                  <a:cubicBezTo>
                    <a:pt x="404" y="740"/>
                    <a:pt x="404" y="740"/>
                    <a:pt x="404" y="740"/>
                  </a:cubicBezTo>
                  <a:cubicBezTo>
                    <a:pt x="408" y="740"/>
                    <a:pt x="410" y="741"/>
                    <a:pt x="411" y="743"/>
                  </a:cubicBezTo>
                  <a:cubicBezTo>
                    <a:pt x="412" y="743"/>
                    <a:pt x="412" y="743"/>
                    <a:pt x="412" y="743"/>
                  </a:cubicBezTo>
                  <a:cubicBezTo>
                    <a:pt x="412" y="744"/>
                    <a:pt x="412" y="744"/>
                    <a:pt x="412" y="744"/>
                  </a:cubicBezTo>
                  <a:cubicBezTo>
                    <a:pt x="412" y="745"/>
                    <a:pt x="413" y="746"/>
                    <a:pt x="413" y="746"/>
                  </a:cubicBezTo>
                  <a:cubicBezTo>
                    <a:pt x="413" y="746"/>
                    <a:pt x="413" y="746"/>
                    <a:pt x="413" y="746"/>
                  </a:cubicBezTo>
                  <a:cubicBezTo>
                    <a:pt x="413" y="746"/>
                    <a:pt x="414" y="746"/>
                    <a:pt x="415" y="746"/>
                  </a:cubicBezTo>
                  <a:cubicBezTo>
                    <a:pt x="417" y="746"/>
                    <a:pt x="418" y="747"/>
                    <a:pt x="420" y="747"/>
                  </a:cubicBezTo>
                  <a:cubicBezTo>
                    <a:pt x="421" y="747"/>
                    <a:pt x="421" y="747"/>
                    <a:pt x="421" y="747"/>
                  </a:cubicBezTo>
                  <a:cubicBezTo>
                    <a:pt x="422" y="748"/>
                    <a:pt x="422" y="748"/>
                    <a:pt x="422" y="748"/>
                  </a:cubicBezTo>
                  <a:cubicBezTo>
                    <a:pt x="423" y="748"/>
                    <a:pt x="423" y="748"/>
                    <a:pt x="423" y="748"/>
                  </a:cubicBezTo>
                  <a:cubicBezTo>
                    <a:pt x="423" y="748"/>
                    <a:pt x="423" y="748"/>
                    <a:pt x="424" y="748"/>
                  </a:cubicBezTo>
                  <a:cubicBezTo>
                    <a:pt x="424" y="748"/>
                    <a:pt x="424" y="748"/>
                    <a:pt x="424" y="748"/>
                  </a:cubicBezTo>
                  <a:cubicBezTo>
                    <a:pt x="424" y="748"/>
                    <a:pt x="425" y="748"/>
                    <a:pt x="425" y="748"/>
                  </a:cubicBezTo>
                  <a:cubicBezTo>
                    <a:pt x="425" y="748"/>
                    <a:pt x="425" y="748"/>
                    <a:pt x="425" y="748"/>
                  </a:cubicBezTo>
                  <a:cubicBezTo>
                    <a:pt x="427" y="747"/>
                    <a:pt x="428" y="746"/>
                    <a:pt x="430" y="746"/>
                  </a:cubicBezTo>
                  <a:cubicBezTo>
                    <a:pt x="433" y="746"/>
                    <a:pt x="436" y="747"/>
                    <a:pt x="437" y="748"/>
                  </a:cubicBezTo>
                  <a:cubicBezTo>
                    <a:pt x="439" y="748"/>
                    <a:pt x="441" y="749"/>
                    <a:pt x="442" y="750"/>
                  </a:cubicBezTo>
                  <a:cubicBezTo>
                    <a:pt x="442" y="751"/>
                    <a:pt x="443" y="751"/>
                    <a:pt x="443" y="752"/>
                  </a:cubicBezTo>
                  <a:cubicBezTo>
                    <a:pt x="444" y="753"/>
                    <a:pt x="444" y="753"/>
                    <a:pt x="444" y="753"/>
                  </a:cubicBezTo>
                  <a:cubicBezTo>
                    <a:pt x="444" y="753"/>
                    <a:pt x="444" y="754"/>
                    <a:pt x="444" y="754"/>
                  </a:cubicBezTo>
                  <a:cubicBezTo>
                    <a:pt x="445" y="754"/>
                    <a:pt x="445" y="754"/>
                    <a:pt x="445" y="754"/>
                  </a:cubicBezTo>
                  <a:cubicBezTo>
                    <a:pt x="445" y="754"/>
                    <a:pt x="445" y="754"/>
                    <a:pt x="445" y="754"/>
                  </a:cubicBezTo>
                  <a:cubicBezTo>
                    <a:pt x="446" y="754"/>
                    <a:pt x="446" y="754"/>
                    <a:pt x="447" y="754"/>
                  </a:cubicBezTo>
                  <a:cubicBezTo>
                    <a:pt x="460" y="753"/>
                    <a:pt x="460" y="753"/>
                    <a:pt x="460" y="753"/>
                  </a:cubicBezTo>
                  <a:cubicBezTo>
                    <a:pt x="460" y="753"/>
                    <a:pt x="460" y="753"/>
                    <a:pt x="460" y="753"/>
                  </a:cubicBezTo>
                  <a:cubicBezTo>
                    <a:pt x="461" y="752"/>
                    <a:pt x="463" y="751"/>
                    <a:pt x="463" y="751"/>
                  </a:cubicBezTo>
                  <a:cubicBezTo>
                    <a:pt x="463" y="750"/>
                    <a:pt x="463" y="749"/>
                    <a:pt x="463" y="749"/>
                  </a:cubicBezTo>
                  <a:cubicBezTo>
                    <a:pt x="463" y="748"/>
                    <a:pt x="463" y="747"/>
                    <a:pt x="464" y="746"/>
                  </a:cubicBezTo>
                  <a:cubicBezTo>
                    <a:pt x="464" y="745"/>
                    <a:pt x="465" y="744"/>
                    <a:pt x="466" y="744"/>
                  </a:cubicBezTo>
                  <a:cubicBezTo>
                    <a:pt x="467" y="743"/>
                    <a:pt x="469" y="742"/>
                    <a:pt x="470" y="741"/>
                  </a:cubicBezTo>
                  <a:cubicBezTo>
                    <a:pt x="471" y="741"/>
                    <a:pt x="471" y="741"/>
                    <a:pt x="471" y="741"/>
                  </a:cubicBezTo>
                  <a:cubicBezTo>
                    <a:pt x="471" y="741"/>
                    <a:pt x="472" y="741"/>
                    <a:pt x="472" y="740"/>
                  </a:cubicBezTo>
                  <a:cubicBezTo>
                    <a:pt x="470" y="737"/>
                    <a:pt x="470" y="737"/>
                    <a:pt x="470" y="737"/>
                  </a:cubicBezTo>
                  <a:cubicBezTo>
                    <a:pt x="474" y="740"/>
                    <a:pt x="474" y="740"/>
                    <a:pt x="474" y="740"/>
                  </a:cubicBezTo>
                  <a:cubicBezTo>
                    <a:pt x="474" y="739"/>
                    <a:pt x="474" y="739"/>
                    <a:pt x="474" y="739"/>
                  </a:cubicBezTo>
                  <a:cubicBezTo>
                    <a:pt x="474" y="738"/>
                    <a:pt x="474" y="738"/>
                    <a:pt x="474" y="738"/>
                  </a:cubicBezTo>
                  <a:cubicBezTo>
                    <a:pt x="475" y="737"/>
                    <a:pt x="475" y="737"/>
                    <a:pt x="475" y="737"/>
                  </a:cubicBezTo>
                  <a:cubicBezTo>
                    <a:pt x="476" y="735"/>
                    <a:pt x="477" y="733"/>
                    <a:pt x="479" y="732"/>
                  </a:cubicBezTo>
                  <a:cubicBezTo>
                    <a:pt x="480" y="731"/>
                    <a:pt x="481" y="731"/>
                    <a:pt x="482" y="731"/>
                  </a:cubicBezTo>
                  <a:cubicBezTo>
                    <a:pt x="483" y="730"/>
                    <a:pt x="483" y="730"/>
                    <a:pt x="483" y="730"/>
                  </a:cubicBezTo>
                  <a:cubicBezTo>
                    <a:pt x="486" y="730"/>
                    <a:pt x="488" y="729"/>
                    <a:pt x="490" y="729"/>
                  </a:cubicBezTo>
                  <a:cubicBezTo>
                    <a:pt x="494" y="727"/>
                    <a:pt x="494" y="727"/>
                    <a:pt x="494" y="727"/>
                  </a:cubicBezTo>
                  <a:cubicBezTo>
                    <a:pt x="496" y="727"/>
                    <a:pt x="497" y="725"/>
                    <a:pt x="499" y="724"/>
                  </a:cubicBezTo>
                  <a:cubicBezTo>
                    <a:pt x="499" y="723"/>
                    <a:pt x="499" y="723"/>
                    <a:pt x="499" y="723"/>
                  </a:cubicBezTo>
                  <a:cubicBezTo>
                    <a:pt x="500" y="723"/>
                    <a:pt x="500" y="722"/>
                    <a:pt x="500" y="722"/>
                  </a:cubicBezTo>
                  <a:cubicBezTo>
                    <a:pt x="501" y="722"/>
                    <a:pt x="501" y="722"/>
                    <a:pt x="501" y="722"/>
                  </a:cubicBezTo>
                  <a:cubicBezTo>
                    <a:pt x="503" y="720"/>
                    <a:pt x="505" y="719"/>
                    <a:pt x="507" y="717"/>
                  </a:cubicBezTo>
                  <a:cubicBezTo>
                    <a:pt x="508" y="717"/>
                    <a:pt x="509" y="716"/>
                    <a:pt x="509" y="715"/>
                  </a:cubicBezTo>
                  <a:cubicBezTo>
                    <a:pt x="510" y="715"/>
                    <a:pt x="511" y="714"/>
                    <a:pt x="512" y="714"/>
                  </a:cubicBezTo>
                  <a:cubicBezTo>
                    <a:pt x="513" y="713"/>
                    <a:pt x="513" y="713"/>
                    <a:pt x="514" y="713"/>
                  </a:cubicBezTo>
                  <a:cubicBezTo>
                    <a:pt x="515" y="713"/>
                    <a:pt x="516" y="713"/>
                    <a:pt x="517" y="714"/>
                  </a:cubicBezTo>
                  <a:cubicBezTo>
                    <a:pt x="517" y="714"/>
                    <a:pt x="517" y="714"/>
                    <a:pt x="517" y="714"/>
                  </a:cubicBezTo>
                  <a:cubicBezTo>
                    <a:pt x="518" y="714"/>
                    <a:pt x="518" y="715"/>
                    <a:pt x="518" y="715"/>
                  </a:cubicBezTo>
                  <a:cubicBezTo>
                    <a:pt x="519" y="715"/>
                    <a:pt x="519" y="715"/>
                    <a:pt x="519" y="715"/>
                  </a:cubicBezTo>
                  <a:cubicBezTo>
                    <a:pt x="519" y="716"/>
                    <a:pt x="520" y="716"/>
                    <a:pt x="520" y="716"/>
                  </a:cubicBezTo>
                  <a:cubicBezTo>
                    <a:pt x="520" y="717"/>
                    <a:pt x="520" y="717"/>
                    <a:pt x="521" y="717"/>
                  </a:cubicBezTo>
                  <a:cubicBezTo>
                    <a:pt x="521" y="717"/>
                    <a:pt x="522" y="717"/>
                    <a:pt x="522" y="717"/>
                  </a:cubicBezTo>
                  <a:cubicBezTo>
                    <a:pt x="522" y="717"/>
                    <a:pt x="522" y="717"/>
                    <a:pt x="522" y="717"/>
                  </a:cubicBezTo>
                  <a:cubicBezTo>
                    <a:pt x="523" y="717"/>
                    <a:pt x="524" y="717"/>
                    <a:pt x="524" y="717"/>
                  </a:cubicBezTo>
                  <a:cubicBezTo>
                    <a:pt x="525" y="718"/>
                    <a:pt x="525" y="718"/>
                    <a:pt x="526" y="718"/>
                  </a:cubicBezTo>
                  <a:cubicBezTo>
                    <a:pt x="526" y="718"/>
                    <a:pt x="527" y="718"/>
                    <a:pt x="528" y="719"/>
                  </a:cubicBezTo>
                  <a:cubicBezTo>
                    <a:pt x="529" y="719"/>
                    <a:pt x="530" y="720"/>
                    <a:pt x="531" y="720"/>
                  </a:cubicBezTo>
                  <a:cubicBezTo>
                    <a:pt x="532" y="720"/>
                    <a:pt x="532" y="720"/>
                    <a:pt x="532" y="720"/>
                  </a:cubicBezTo>
                  <a:cubicBezTo>
                    <a:pt x="533" y="720"/>
                    <a:pt x="534" y="719"/>
                    <a:pt x="535" y="718"/>
                  </a:cubicBezTo>
                  <a:cubicBezTo>
                    <a:pt x="542" y="712"/>
                    <a:pt x="546" y="709"/>
                    <a:pt x="549" y="709"/>
                  </a:cubicBezTo>
                  <a:cubicBezTo>
                    <a:pt x="550" y="709"/>
                    <a:pt x="550" y="710"/>
                    <a:pt x="551" y="710"/>
                  </a:cubicBezTo>
                  <a:cubicBezTo>
                    <a:pt x="552" y="710"/>
                    <a:pt x="553" y="711"/>
                    <a:pt x="554" y="712"/>
                  </a:cubicBezTo>
                  <a:cubicBezTo>
                    <a:pt x="554" y="713"/>
                    <a:pt x="554" y="713"/>
                    <a:pt x="554" y="713"/>
                  </a:cubicBezTo>
                  <a:cubicBezTo>
                    <a:pt x="554" y="713"/>
                    <a:pt x="554" y="713"/>
                    <a:pt x="555" y="713"/>
                  </a:cubicBezTo>
                  <a:cubicBezTo>
                    <a:pt x="555" y="713"/>
                    <a:pt x="555" y="713"/>
                    <a:pt x="555" y="713"/>
                  </a:cubicBezTo>
                  <a:cubicBezTo>
                    <a:pt x="557" y="714"/>
                    <a:pt x="559" y="714"/>
                    <a:pt x="560" y="717"/>
                  </a:cubicBezTo>
                  <a:cubicBezTo>
                    <a:pt x="560" y="717"/>
                    <a:pt x="560" y="717"/>
                    <a:pt x="560" y="717"/>
                  </a:cubicBezTo>
                  <a:cubicBezTo>
                    <a:pt x="560" y="718"/>
                    <a:pt x="560" y="718"/>
                    <a:pt x="560" y="718"/>
                  </a:cubicBezTo>
                  <a:cubicBezTo>
                    <a:pt x="560" y="718"/>
                    <a:pt x="560" y="719"/>
                    <a:pt x="559" y="720"/>
                  </a:cubicBezTo>
                  <a:cubicBezTo>
                    <a:pt x="559" y="720"/>
                    <a:pt x="559" y="720"/>
                    <a:pt x="559" y="720"/>
                  </a:cubicBezTo>
                  <a:cubicBezTo>
                    <a:pt x="569" y="716"/>
                    <a:pt x="569" y="716"/>
                    <a:pt x="569" y="716"/>
                  </a:cubicBezTo>
                  <a:cubicBezTo>
                    <a:pt x="563" y="724"/>
                    <a:pt x="563" y="724"/>
                    <a:pt x="563" y="724"/>
                  </a:cubicBezTo>
                  <a:cubicBezTo>
                    <a:pt x="563" y="725"/>
                    <a:pt x="563" y="725"/>
                    <a:pt x="563" y="725"/>
                  </a:cubicBezTo>
                  <a:cubicBezTo>
                    <a:pt x="563" y="725"/>
                    <a:pt x="563" y="725"/>
                    <a:pt x="563" y="725"/>
                  </a:cubicBezTo>
                  <a:cubicBezTo>
                    <a:pt x="563" y="725"/>
                    <a:pt x="563" y="725"/>
                    <a:pt x="563" y="725"/>
                  </a:cubicBezTo>
                  <a:cubicBezTo>
                    <a:pt x="564" y="726"/>
                    <a:pt x="565" y="728"/>
                    <a:pt x="566" y="730"/>
                  </a:cubicBezTo>
                  <a:cubicBezTo>
                    <a:pt x="566" y="732"/>
                    <a:pt x="565" y="734"/>
                    <a:pt x="562" y="735"/>
                  </a:cubicBezTo>
                  <a:cubicBezTo>
                    <a:pt x="562" y="735"/>
                    <a:pt x="562" y="735"/>
                    <a:pt x="562" y="735"/>
                  </a:cubicBezTo>
                  <a:cubicBezTo>
                    <a:pt x="562" y="735"/>
                    <a:pt x="562" y="735"/>
                    <a:pt x="561" y="736"/>
                  </a:cubicBezTo>
                  <a:cubicBezTo>
                    <a:pt x="561" y="736"/>
                    <a:pt x="561" y="737"/>
                    <a:pt x="560" y="737"/>
                  </a:cubicBezTo>
                  <a:cubicBezTo>
                    <a:pt x="561" y="737"/>
                    <a:pt x="561" y="737"/>
                    <a:pt x="561" y="737"/>
                  </a:cubicBezTo>
                  <a:cubicBezTo>
                    <a:pt x="562" y="737"/>
                    <a:pt x="563" y="737"/>
                    <a:pt x="564" y="737"/>
                  </a:cubicBezTo>
                  <a:cubicBezTo>
                    <a:pt x="566" y="737"/>
                    <a:pt x="566" y="737"/>
                    <a:pt x="566" y="737"/>
                  </a:cubicBezTo>
                  <a:cubicBezTo>
                    <a:pt x="567" y="737"/>
                    <a:pt x="568" y="738"/>
                    <a:pt x="570" y="738"/>
                  </a:cubicBezTo>
                  <a:cubicBezTo>
                    <a:pt x="572" y="738"/>
                    <a:pt x="572" y="738"/>
                    <a:pt x="572" y="738"/>
                  </a:cubicBezTo>
                  <a:cubicBezTo>
                    <a:pt x="573" y="738"/>
                    <a:pt x="574" y="738"/>
                    <a:pt x="574" y="739"/>
                  </a:cubicBezTo>
                  <a:cubicBezTo>
                    <a:pt x="575" y="739"/>
                    <a:pt x="575" y="739"/>
                    <a:pt x="575" y="739"/>
                  </a:cubicBezTo>
                  <a:cubicBezTo>
                    <a:pt x="577" y="739"/>
                    <a:pt x="578" y="740"/>
                    <a:pt x="579" y="741"/>
                  </a:cubicBezTo>
                  <a:cubicBezTo>
                    <a:pt x="580" y="741"/>
                    <a:pt x="580" y="741"/>
                    <a:pt x="580" y="741"/>
                  </a:cubicBezTo>
                  <a:cubicBezTo>
                    <a:pt x="581" y="739"/>
                    <a:pt x="582" y="737"/>
                    <a:pt x="583" y="736"/>
                  </a:cubicBezTo>
                  <a:cubicBezTo>
                    <a:pt x="584" y="735"/>
                    <a:pt x="585" y="734"/>
                    <a:pt x="586" y="734"/>
                  </a:cubicBezTo>
                  <a:cubicBezTo>
                    <a:pt x="587" y="734"/>
                    <a:pt x="587" y="734"/>
                    <a:pt x="588" y="734"/>
                  </a:cubicBezTo>
                  <a:cubicBezTo>
                    <a:pt x="590" y="734"/>
                    <a:pt x="591" y="734"/>
                    <a:pt x="592" y="735"/>
                  </a:cubicBezTo>
                  <a:cubicBezTo>
                    <a:pt x="592" y="736"/>
                    <a:pt x="592" y="736"/>
                    <a:pt x="592" y="736"/>
                  </a:cubicBezTo>
                  <a:cubicBezTo>
                    <a:pt x="593" y="736"/>
                    <a:pt x="593" y="737"/>
                    <a:pt x="593" y="737"/>
                  </a:cubicBezTo>
                  <a:cubicBezTo>
                    <a:pt x="594" y="738"/>
                    <a:pt x="594" y="738"/>
                    <a:pt x="594" y="738"/>
                  </a:cubicBezTo>
                  <a:cubicBezTo>
                    <a:pt x="594" y="738"/>
                    <a:pt x="595" y="738"/>
                    <a:pt x="596" y="739"/>
                  </a:cubicBezTo>
                  <a:cubicBezTo>
                    <a:pt x="597" y="739"/>
                    <a:pt x="598" y="740"/>
                    <a:pt x="598" y="741"/>
                  </a:cubicBezTo>
                  <a:cubicBezTo>
                    <a:pt x="599" y="741"/>
                    <a:pt x="599" y="742"/>
                    <a:pt x="600" y="742"/>
                  </a:cubicBezTo>
                  <a:cubicBezTo>
                    <a:pt x="601" y="743"/>
                    <a:pt x="601" y="743"/>
                    <a:pt x="601" y="743"/>
                  </a:cubicBezTo>
                  <a:cubicBezTo>
                    <a:pt x="603" y="746"/>
                    <a:pt x="604" y="749"/>
                    <a:pt x="604" y="752"/>
                  </a:cubicBezTo>
                  <a:cubicBezTo>
                    <a:pt x="605" y="754"/>
                    <a:pt x="605" y="756"/>
                    <a:pt x="606" y="757"/>
                  </a:cubicBezTo>
                  <a:cubicBezTo>
                    <a:pt x="606" y="757"/>
                    <a:pt x="606" y="757"/>
                    <a:pt x="606" y="757"/>
                  </a:cubicBezTo>
                  <a:cubicBezTo>
                    <a:pt x="606" y="757"/>
                    <a:pt x="607" y="757"/>
                    <a:pt x="607" y="757"/>
                  </a:cubicBezTo>
                  <a:cubicBezTo>
                    <a:pt x="608" y="757"/>
                    <a:pt x="608" y="757"/>
                    <a:pt x="609" y="757"/>
                  </a:cubicBezTo>
                  <a:cubicBezTo>
                    <a:pt x="610" y="757"/>
                    <a:pt x="610" y="757"/>
                    <a:pt x="611" y="758"/>
                  </a:cubicBezTo>
                  <a:cubicBezTo>
                    <a:pt x="611" y="758"/>
                    <a:pt x="611" y="758"/>
                    <a:pt x="611" y="758"/>
                  </a:cubicBezTo>
                  <a:cubicBezTo>
                    <a:pt x="612" y="756"/>
                    <a:pt x="612" y="756"/>
                    <a:pt x="612" y="756"/>
                  </a:cubicBezTo>
                  <a:cubicBezTo>
                    <a:pt x="616" y="760"/>
                    <a:pt x="616" y="760"/>
                    <a:pt x="616" y="760"/>
                  </a:cubicBezTo>
                  <a:cubicBezTo>
                    <a:pt x="617" y="761"/>
                    <a:pt x="617" y="762"/>
                    <a:pt x="617" y="762"/>
                  </a:cubicBezTo>
                  <a:cubicBezTo>
                    <a:pt x="617" y="763"/>
                    <a:pt x="617" y="763"/>
                    <a:pt x="617" y="764"/>
                  </a:cubicBezTo>
                  <a:cubicBezTo>
                    <a:pt x="618" y="767"/>
                    <a:pt x="618" y="772"/>
                    <a:pt x="618" y="776"/>
                  </a:cubicBezTo>
                  <a:cubicBezTo>
                    <a:pt x="619" y="778"/>
                    <a:pt x="619" y="778"/>
                    <a:pt x="619" y="778"/>
                  </a:cubicBezTo>
                  <a:cubicBezTo>
                    <a:pt x="619" y="779"/>
                    <a:pt x="619" y="779"/>
                    <a:pt x="619" y="780"/>
                  </a:cubicBezTo>
                  <a:cubicBezTo>
                    <a:pt x="619" y="781"/>
                    <a:pt x="619" y="781"/>
                    <a:pt x="619" y="781"/>
                  </a:cubicBezTo>
                  <a:cubicBezTo>
                    <a:pt x="619" y="785"/>
                    <a:pt x="619" y="788"/>
                    <a:pt x="618" y="791"/>
                  </a:cubicBezTo>
                  <a:cubicBezTo>
                    <a:pt x="618" y="792"/>
                    <a:pt x="618" y="793"/>
                    <a:pt x="618" y="794"/>
                  </a:cubicBezTo>
                  <a:cubicBezTo>
                    <a:pt x="617" y="795"/>
                    <a:pt x="617" y="796"/>
                    <a:pt x="616" y="797"/>
                  </a:cubicBezTo>
                  <a:cubicBezTo>
                    <a:pt x="616" y="798"/>
                    <a:pt x="616" y="799"/>
                    <a:pt x="615" y="801"/>
                  </a:cubicBezTo>
                  <a:cubicBezTo>
                    <a:pt x="615" y="802"/>
                    <a:pt x="615" y="802"/>
                    <a:pt x="615" y="802"/>
                  </a:cubicBezTo>
                  <a:cubicBezTo>
                    <a:pt x="615" y="803"/>
                    <a:pt x="615" y="803"/>
                    <a:pt x="615" y="803"/>
                  </a:cubicBezTo>
                  <a:cubicBezTo>
                    <a:pt x="615" y="804"/>
                    <a:pt x="616" y="805"/>
                    <a:pt x="616" y="805"/>
                  </a:cubicBezTo>
                  <a:cubicBezTo>
                    <a:pt x="616" y="806"/>
                    <a:pt x="617" y="808"/>
                    <a:pt x="616" y="810"/>
                  </a:cubicBezTo>
                  <a:cubicBezTo>
                    <a:pt x="615" y="811"/>
                    <a:pt x="615" y="811"/>
                    <a:pt x="615" y="811"/>
                  </a:cubicBezTo>
                  <a:cubicBezTo>
                    <a:pt x="615" y="811"/>
                    <a:pt x="614" y="812"/>
                    <a:pt x="613" y="813"/>
                  </a:cubicBezTo>
                  <a:cubicBezTo>
                    <a:pt x="613" y="813"/>
                    <a:pt x="613" y="814"/>
                    <a:pt x="612" y="814"/>
                  </a:cubicBezTo>
                  <a:cubicBezTo>
                    <a:pt x="611" y="816"/>
                    <a:pt x="608" y="818"/>
                    <a:pt x="606" y="819"/>
                  </a:cubicBezTo>
                  <a:cubicBezTo>
                    <a:pt x="606" y="819"/>
                    <a:pt x="605" y="819"/>
                    <a:pt x="604" y="819"/>
                  </a:cubicBezTo>
                  <a:cubicBezTo>
                    <a:pt x="604" y="819"/>
                    <a:pt x="603" y="819"/>
                    <a:pt x="603" y="819"/>
                  </a:cubicBezTo>
                  <a:cubicBezTo>
                    <a:pt x="603" y="820"/>
                    <a:pt x="603" y="820"/>
                    <a:pt x="603" y="820"/>
                  </a:cubicBezTo>
                  <a:cubicBezTo>
                    <a:pt x="603" y="820"/>
                    <a:pt x="602" y="821"/>
                    <a:pt x="602" y="821"/>
                  </a:cubicBezTo>
                  <a:cubicBezTo>
                    <a:pt x="602" y="824"/>
                    <a:pt x="599" y="825"/>
                    <a:pt x="597" y="825"/>
                  </a:cubicBezTo>
                  <a:cubicBezTo>
                    <a:pt x="596" y="825"/>
                    <a:pt x="596" y="825"/>
                    <a:pt x="596" y="825"/>
                  </a:cubicBezTo>
                  <a:cubicBezTo>
                    <a:pt x="595" y="826"/>
                    <a:pt x="595" y="826"/>
                    <a:pt x="595" y="828"/>
                  </a:cubicBezTo>
                  <a:cubicBezTo>
                    <a:pt x="595" y="830"/>
                    <a:pt x="595" y="831"/>
                    <a:pt x="594" y="831"/>
                  </a:cubicBezTo>
                  <a:cubicBezTo>
                    <a:pt x="594" y="832"/>
                    <a:pt x="594" y="832"/>
                    <a:pt x="594" y="832"/>
                  </a:cubicBezTo>
                  <a:cubicBezTo>
                    <a:pt x="596" y="832"/>
                    <a:pt x="596" y="832"/>
                    <a:pt x="596" y="832"/>
                  </a:cubicBezTo>
                  <a:cubicBezTo>
                    <a:pt x="594" y="835"/>
                    <a:pt x="594" y="835"/>
                    <a:pt x="594" y="835"/>
                  </a:cubicBezTo>
                  <a:cubicBezTo>
                    <a:pt x="594" y="837"/>
                    <a:pt x="592" y="838"/>
                    <a:pt x="591" y="838"/>
                  </a:cubicBezTo>
                  <a:cubicBezTo>
                    <a:pt x="591" y="838"/>
                    <a:pt x="591" y="838"/>
                    <a:pt x="591" y="838"/>
                  </a:cubicBezTo>
                  <a:cubicBezTo>
                    <a:pt x="590" y="839"/>
                    <a:pt x="590" y="839"/>
                    <a:pt x="589" y="839"/>
                  </a:cubicBezTo>
                  <a:cubicBezTo>
                    <a:pt x="589" y="840"/>
                    <a:pt x="588" y="840"/>
                    <a:pt x="588" y="842"/>
                  </a:cubicBezTo>
                  <a:cubicBezTo>
                    <a:pt x="588" y="843"/>
                    <a:pt x="588" y="843"/>
                    <a:pt x="588" y="843"/>
                  </a:cubicBezTo>
                  <a:cubicBezTo>
                    <a:pt x="590" y="843"/>
                    <a:pt x="591" y="845"/>
                    <a:pt x="592" y="846"/>
                  </a:cubicBezTo>
                  <a:cubicBezTo>
                    <a:pt x="593" y="849"/>
                    <a:pt x="593" y="852"/>
                    <a:pt x="592" y="854"/>
                  </a:cubicBezTo>
                  <a:cubicBezTo>
                    <a:pt x="592" y="854"/>
                    <a:pt x="592" y="854"/>
                    <a:pt x="592" y="854"/>
                  </a:cubicBezTo>
                  <a:cubicBezTo>
                    <a:pt x="592" y="854"/>
                    <a:pt x="591" y="854"/>
                    <a:pt x="590" y="856"/>
                  </a:cubicBezTo>
                  <a:cubicBezTo>
                    <a:pt x="590" y="856"/>
                    <a:pt x="590" y="856"/>
                    <a:pt x="590" y="856"/>
                  </a:cubicBezTo>
                  <a:cubicBezTo>
                    <a:pt x="592" y="855"/>
                    <a:pt x="594" y="854"/>
                    <a:pt x="595" y="853"/>
                  </a:cubicBezTo>
                  <a:cubicBezTo>
                    <a:pt x="595" y="853"/>
                    <a:pt x="595" y="853"/>
                    <a:pt x="595" y="853"/>
                  </a:cubicBezTo>
                  <a:cubicBezTo>
                    <a:pt x="596" y="853"/>
                    <a:pt x="597" y="852"/>
                    <a:pt x="598" y="852"/>
                  </a:cubicBezTo>
                  <a:cubicBezTo>
                    <a:pt x="599" y="851"/>
                    <a:pt x="600" y="851"/>
                    <a:pt x="600" y="851"/>
                  </a:cubicBezTo>
                  <a:cubicBezTo>
                    <a:pt x="601" y="851"/>
                    <a:pt x="601" y="851"/>
                    <a:pt x="601" y="851"/>
                  </a:cubicBezTo>
                  <a:cubicBezTo>
                    <a:pt x="601" y="850"/>
                    <a:pt x="602" y="850"/>
                    <a:pt x="603" y="850"/>
                  </a:cubicBezTo>
                  <a:cubicBezTo>
                    <a:pt x="605" y="850"/>
                    <a:pt x="606" y="851"/>
                    <a:pt x="608" y="851"/>
                  </a:cubicBezTo>
                  <a:cubicBezTo>
                    <a:pt x="608" y="851"/>
                    <a:pt x="608" y="851"/>
                    <a:pt x="608" y="851"/>
                  </a:cubicBezTo>
                  <a:cubicBezTo>
                    <a:pt x="609" y="851"/>
                    <a:pt x="609" y="851"/>
                    <a:pt x="610" y="851"/>
                  </a:cubicBezTo>
                  <a:cubicBezTo>
                    <a:pt x="612" y="851"/>
                    <a:pt x="615" y="851"/>
                    <a:pt x="618" y="850"/>
                  </a:cubicBezTo>
                  <a:cubicBezTo>
                    <a:pt x="625" y="847"/>
                    <a:pt x="625" y="847"/>
                    <a:pt x="625" y="847"/>
                  </a:cubicBezTo>
                  <a:cubicBezTo>
                    <a:pt x="617" y="861"/>
                    <a:pt x="617" y="861"/>
                    <a:pt x="617" y="861"/>
                  </a:cubicBezTo>
                  <a:cubicBezTo>
                    <a:pt x="617" y="862"/>
                    <a:pt x="617" y="862"/>
                    <a:pt x="617" y="862"/>
                  </a:cubicBezTo>
                  <a:cubicBezTo>
                    <a:pt x="617" y="862"/>
                    <a:pt x="617" y="862"/>
                    <a:pt x="617" y="862"/>
                  </a:cubicBezTo>
                  <a:cubicBezTo>
                    <a:pt x="618" y="863"/>
                    <a:pt x="618" y="863"/>
                    <a:pt x="618" y="863"/>
                  </a:cubicBezTo>
                  <a:cubicBezTo>
                    <a:pt x="618" y="864"/>
                    <a:pt x="618" y="865"/>
                    <a:pt x="619" y="866"/>
                  </a:cubicBezTo>
                  <a:cubicBezTo>
                    <a:pt x="619" y="867"/>
                    <a:pt x="619" y="867"/>
                    <a:pt x="619" y="868"/>
                  </a:cubicBezTo>
                  <a:cubicBezTo>
                    <a:pt x="620" y="869"/>
                    <a:pt x="620" y="870"/>
                    <a:pt x="621" y="871"/>
                  </a:cubicBezTo>
                  <a:cubicBezTo>
                    <a:pt x="622" y="874"/>
                    <a:pt x="622" y="874"/>
                    <a:pt x="622" y="874"/>
                  </a:cubicBezTo>
                  <a:cubicBezTo>
                    <a:pt x="622" y="875"/>
                    <a:pt x="623" y="876"/>
                    <a:pt x="625" y="877"/>
                  </a:cubicBezTo>
                  <a:cubicBezTo>
                    <a:pt x="625" y="877"/>
                    <a:pt x="626" y="877"/>
                    <a:pt x="626" y="877"/>
                  </a:cubicBezTo>
                  <a:cubicBezTo>
                    <a:pt x="627" y="877"/>
                    <a:pt x="627" y="877"/>
                    <a:pt x="627" y="877"/>
                  </a:cubicBezTo>
                  <a:cubicBezTo>
                    <a:pt x="629" y="872"/>
                    <a:pt x="629" y="872"/>
                    <a:pt x="629" y="872"/>
                  </a:cubicBezTo>
                  <a:cubicBezTo>
                    <a:pt x="628" y="877"/>
                    <a:pt x="628" y="877"/>
                    <a:pt x="628" y="877"/>
                  </a:cubicBezTo>
                  <a:cubicBezTo>
                    <a:pt x="629" y="877"/>
                    <a:pt x="629" y="877"/>
                    <a:pt x="629" y="877"/>
                  </a:cubicBezTo>
                  <a:cubicBezTo>
                    <a:pt x="630" y="877"/>
                    <a:pt x="630" y="877"/>
                    <a:pt x="631" y="877"/>
                  </a:cubicBezTo>
                  <a:cubicBezTo>
                    <a:pt x="633" y="877"/>
                    <a:pt x="636" y="878"/>
                    <a:pt x="637" y="880"/>
                  </a:cubicBezTo>
                  <a:cubicBezTo>
                    <a:pt x="637" y="881"/>
                    <a:pt x="637" y="881"/>
                    <a:pt x="637" y="881"/>
                  </a:cubicBezTo>
                  <a:cubicBezTo>
                    <a:pt x="637" y="882"/>
                    <a:pt x="638" y="882"/>
                    <a:pt x="638" y="882"/>
                  </a:cubicBezTo>
                  <a:cubicBezTo>
                    <a:pt x="638" y="884"/>
                    <a:pt x="638" y="886"/>
                    <a:pt x="635" y="888"/>
                  </a:cubicBezTo>
                  <a:cubicBezTo>
                    <a:pt x="635" y="889"/>
                    <a:pt x="634" y="889"/>
                    <a:pt x="634" y="889"/>
                  </a:cubicBezTo>
                  <a:cubicBezTo>
                    <a:pt x="633" y="890"/>
                    <a:pt x="633" y="890"/>
                    <a:pt x="633" y="890"/>
                  </a:cubicBezTo>
                  <a:cubicBezTo>
                    <a:pt x="633" y="890"/>
                    <a:pt x="633" y="890"/>
                    <a:pt x="633" y="890"/>
                  </a:cubicBezTo>
                  <a:cubicBezTo>
                    <a:pt x="633" y="891"/>
                    <a:pt x="633" y="891"/>
                    <a:pt x="633" y="891"/>
                  </a:cubicBezTo>
                  <a:cubicBezTo>
                    <a:pt x="633" y="892"/>
                    <a:pt x="633" y="892"/>
                    <a:pt x="633" y="892"/>
                  </a:cubicBezTo>
                  <a:cubicBezTo>
                    <a:pt x="632" y="893"/>
                    <a:pt x="632" y="894"/>
                    <a:pt x="632" y="895"/>
                  </a:cubicBezTo>
                  <a:cubicBezTo>
                    <a:pt x="632" y="896"/>
                    <a:pt x="631" y="897"/>
                    <a:pt x="631" y="898"/>
                  </a:cubicBezTo>
                  <a:cubicBezTo>
                    <a:pt x="631" y="898"/>
                    <a:pt x="631" y="898"/>
                    <a:pt x="631" y="898"/>
                  </a:cubicBezTo>
                  <a:cubicBezTo>
                    <a:pt x="631" y="900"/>
                    <a:pt x="630" y="901"/>
                    <a:pt x="630" y="902"/>
                  </a:cubicBezTo>
                  <a:cubicBezTo>
                    <a:pt x="644" y="904"/>
                    <a:pt x="644" y="904"/>
                    <a:pt x="644" y="904"/>
                  </a:cubicBezTo>
                  <a:cubicBezTo>
                    <a:pt x="645" y="904"/>
                    <a:pt x="645" y="904"/>
                    <a:pt x="645" y="904"/>
                  </a:cubicBezTo>
                  <a:cubicBezTo>
                    <a:pt x="646" y="904"/>
                    <a:pt x="646" y="905"/>
                    <a:pt x="647" y="905"/>
                  </a:cubicBezTo>
                  <a:cubicBezTo>
                    <a:pt x="647" y="906"/>
                    <a:pt x="647" y="906"/>
                    <a:pt x="647" y="906"/>
                  </a:cubicBezTo>
                  <a:cubicBezTo>
                    <a:pt x="648" y="906"/>
                    <a:pt x="648" y="907"/>
                    <a:pt x="648" y="907"/>
                  </a:cubicBezTo>
                  <a:cubicBezTo>
                    <a:pt x="648" y="908"/>
                    <a:pt x="648" y="910"/>
                    <a:pt x="648" y="911"/>
                  </a:cubicBezTo>
                  <a:cubicBezTo>
                    <a:pt x="648" y="912"/>
                    <a:pt x="648" y="912"/>
                    <a:pt x="648" y="912"/>
                  </a:cubicBezTo>
                  <a:cubicBezTo>
                    <a:pt x="648" y="912"/>
                    <a:pt x="648" y="912"/>
                    <a:pt x="648" y="912"/>
                  </a:cubicBezTo>
                  <a:cubicBezTo>
                    <a:pt x="648" y="913"/>
                    <a:pt x="648" y="913"/>
                    <a:pt x="648" y="913"/>
                  </a:cubicBezTo>
                  <a:cubicBezTo>
                    <a:pt x="648" y="914"/>
                    <a:pt x="649" y="914"/>
                    <a:pt x="650" y="915"/>
                  </a:cubicBezTo>
                  <a:cubicBezTo>
                    <a:pt x="650" y="916"/>
                    <a:pt x="650" y="916"/>
                    <a:pt x="650" y="916"/>
                  </a:cubicBezTo>
                  <a:cubicBezTo>
                    <a:pt x="650" y="917"/>
                    <a:pt x="651" y="917"/>
                    <a:pt x="651" y="918"/>
                  </a:cubicBezTo>
                  <a:cubicBezTo>
                    <a:pt x="651" y="918"/>
                    <a:pt x="651" y="918"/>
                    <a:pt x="651" y="918"/>
                  </a:cubicBezTo>
                  <a:cubicBezTo>
                    <a:pt x="652" y="919"/>
                    <a:pt x="652" y="919"/>
                    <a:pt x="652" y="920"/>
                  </a:cubicBezTo>
                  <a:cubicBezTo>
                    <a:pt x="660" y="917"/>
                    <a:pt x="660" y="917"/>
                    <a:pt x="660" y="917"/>
                  </a:cubicBezTo>
                  <a:cubicBezTo>
                    <a:pt x="661" y="917"/>
                    <a:pt x="663" y="916"/>
                    <a:pt x="665" y="915"/>
                  </a:cubicBezTo>
                  <a:cubicBezTo>
                    <a:pt x="666" y="915"/>
                    <a:pt x="667" y="914"/>
                    <a:pt x="667" y="914"/>
                  </a:cubicBezTo>
                  <a:cubicBezTo>
                    <a:pt x="669" y="913"/>
                    <a:pt x="669" y="913"/>
                    <a:pt x="669" y="913"/>
                  </a:cubicBezTo>
                  <a:cubicBezTo>
                    <a:pt x="670" y="913"/>
                    <a:pt x="670" y="913"/>
                    <a:pt x="671" y="912"/>
                  </a:cubicBezTo>
                  <a:cubicBezTo>
                    <a:pt x="675" y="909"/>
                    <a:pt x="675" y="909"/>
                    <a:pt x="675" y="909"/>
                  </a:cubicBezTo>
                  <a:cubicBezTo>
                    <a:pt x="676" y="914"/>
                    <a:pt x="676" y="914"/>
                    <a:pt x="676" y="914"/>
                  </a:cubicBezTo>
                  <a:cubicBezTo>
                    <a:pt x="677" y="915"/>
                    <a:pt x="677" y="917"/>
                    <a:pt x="677" y="918"/>
                  </a:cubicBezTo>
                  <a:cubicBezTo>
                    <a:pt x="677" y="919"/>
                    <a:pt x="677" y="919"/>
                    <a:pt x="677" y="919"/>
                  </a:cubicBezTo>
                  <a:cubicBezTo>
                    <a:pt x="677" y="919"/>
                    <a:pt x="677" y="919"/>
                    <a:pt x="677" y="919"/>
                  </a:cubicBezTo>
                  <a:cubicBezTo>
                    <a:pt x="677" y="920"/>
                    <a:pt x="678" y="920"/>
                    <a:pt x="678" y="921"/>
                  </a:cubicBezTo>
                  <a:cubicBezTo>
                    <a:pt x="678" y="922"/>
                    <a:pt x="678" y="924"/>
                    <a:pt x="679" y="926"/>
                  </a:cubicBezTo>
                  <a:cubicBezTo>
                    <a:pt x="681" y="925"/>
                    <a:pt x="681" y="925"/>
                    <a:pt x="681" y="925"/>
                  </a:cubicBezTo>
                  <a:cubicBezTo>
                    <a:pt x="681" y="926"/>
                    <a:pt x="681" y="926"/>
                    <a:pt x="681" y="926"/>
                  </a:cubicBezTo>
                  <a:cubicBezTo>
                    <a:pt x="682" y="926"/>
                    <a:pt x="682" y="926"/>
                    <a:pt x="682" y="926"/>
                  </a:cubicBezTo>
                  <a:cubicBezTo>
                    <a:pt x="683" y="926"/>
                    <a:pt x="684" y="926"/>
                    <a:pt x="685" y="926"/>
                  </a:cubicBezTo>
                  <a:cubicBezTo>
                    <a:pt x="686" y="927"/>
                    <a:pt x="686" y="927"/>
                    <a:pt x="686" y="927"/>
                  </a:cubicBezTo>
                  <a:cubicBezTo>
                    <a:pt x="686" y="927"/>
                    <a:pt x="686" y="927"/>
                    <a:pt x="686" y="927"/>
                  </a:cubicBezTo>
                  <a:cubicBezTo>
                    <a:pt x="685" y="925"/>
                    <a:pt x="686" y="921"/>
                    <a:pt x="686" y="918"/>
                  </a:cubicBezTo>
                  <a:cubicBezTo>
                    <a:pt x="687" y="917"/>
                    <a:pt x="687" y="917"/>
                    <a:pt x="687" y="917"/>
                  </a:cubicBezTo>
                  <a:cubicBezTo>
                    <a:pt x="687" y="914"/>
                    <a:pt x="687" y="914"/>
                    <a:pt x="685" y="911"/>
                  </a:cubicBezTo>
                  <a:cubicBezTo>
                    <a:pt x="685" y="911"/>
                    <a:pt x="685" y="910"/>
                    <a:pt x="684" y="909"/>
                  </a:cubicBezTo>
                  <a:cubicBezTo>
                    <a:pt x="684" y="909"/>
                    <a:pt x="684" y="909"/>
                    <a:pt x="684" y="909"/>
                  </a:cubicBezTo>
                  <a:cubicBezTo>
                    <a:pt x="682" y="907"/>
                    <a:pt x="681" y="904"/>
                    <a:pt x="681" y="902"/>
                  </a:cubicBezTo>
                  <a:cubicBezTo>
                    <a:pt x="681" y="901"/>
                    <a:pt x="682" y="901"/>
                    <a:pt x="682" y="900"/>
                  </a:cubicBezTo>
                  <a:cubicBezTo>
                    <a:pt x="682" y="899"/>
                    <a:pt x="682" y="899"/>
                    <a:pt x="682" y="899"/>
                  </a:cubicBezTo>
                  <a:cubicBezTo>
                    <a:pt x="682" y="899"/>
                    <a:pt x="682" y="899"/>
                    <a:pt x="682" y="899"/>
                  </a:cubicBezTo>
                  <a:cubicBezTo>
                    <a:pt x="683" y="898"/>
                    <a:pt x="684" y="897"/>
                    <a:pt x="684" y="896"/>
                  </a:cubicBezTo>
                  <a:cubicBezTo>
                    <a:pt x="685" y="896"/>
                    <a:pt x="685" y="896"/>
                    <a:pt x="685" y="896"/>
                  </a:cubicBezTo>
                  <a:cubicBezTo>
                    <a:pt x="685" y="894"/>
                    <a:pt x="685" y="894"/>
                    <a:pt x="685" y="894"/>
                  </a:cubicBezTo>
                  <a:cubicBezTo>
                    <a:pt x="686" y="894"/>
                    <a:pt x="687" y="893"/>
                    <a:pt x="687" y="893"/>
                  </a:cubicBezTo>
                  <a:cubicBezTo>
                    <a:pt x="688" y="893"/>
                    <a:pt x="689" y="893"/>
                    <a:pt x="690" y="893"/>
                  </a:cubicBezTo>
                  <a:cubicBezTo>
                    <a:pt x="692" y="893"/>
                    <a:pt x="694" y="893"/>
                    <a:pt x="696" y="894"/>
                  </a:cubicBezTo>
                  <a:cubicBezTo>
                    <a:pt x="697" y="895"/>
                    <a:pt x="697" y="895"/>
                    <a:pt x="697" y="895"/>
                  </a:cubicBezTo>
                  <a:cubicBezTo>
                    <a:pt x="697" y="895"/>
                    <a:pt x="697" y="895"/>
                    <a:pt x="698" y="895"/>
                  </a:cubicBezTo>
                  <a:cubicBezTo>
                    <a:pt x="698" y="895"/>
                    <a:pt x="698" y="895"/>
                    <a:pt x="698" y="895"/>
                  </a:cubicBezTo>
                  <a:cubicBezTo>
                    <a:pt x="700" y="893"/>
                    <a:pt x="702" y="892"/>
                    <a:pt x="703" y="889"/>
                  </a:cubicBezTo>
                  <a:cubicBezTo>
                    <a:pt x="703" y="889"/>
                    <a:pt x="703" y="889"/>
                    <a:pt x="703" y="889"/>
                  </a:cubicBezTo>
                  <a:cubicBezTo>
                    <a:pt x="704" y="888"/>
                    <a:pt x="705" y="886"/>
                    <a:pt x="708" y="886"/>
                  </a:cubicBezTo>
                  <a:cubicBezTo>
                    <a:pt x="708" y="886"/>
                    <a:pt x="708" y="886"/>
                    <a:pt x="708" y="886"/>
                  </a:cubicBezTo>
                  <a:cubicBezTo>
                    <a:pt x="709" y="886"/>
                    <a:pt x="710" y="886"/>
                    <a:pt x="711" y="887"/>
                  </a:cubicBezTo>
                  <a:cubicBezTo>
                    <a:pt x="711" y="887"/>
                    <a:pt x="712" y="887"/>
                    <a:pt x="713" y="888"/>
                  </a:cubicBezTo>
                  <a:cubicBezTo>
                    <a:pt x="715" y="889"/>
                    <a:pt x="715" y="889"/>
                    <a:pt x="715" y="889"/>
                  </a:cubicBezTo>
                  <a:cubicBezTo>
                    <a:pt x="716" y="889"/>
                    <a:pt x="717" y="890"/>
                    <a:pt x="718" y="890"/>
                  </a:cubicBezTo>
                  <a:cubicBezTo>
                    <a:pt x="719" y="891"/>
                    <a:pt x="720" y="892"/>
                    <a:pt x="720" y="893"/>
                  </a:cubicBezTo>
                  <a:cubicBezTo>
                    <a:pt x="721" y="893"/>
                    <a:pt x="721" y="893"/>
                    <a:pt x="721" y="893"/>
                  </a:cubicBezTo>
                  <a:cubicBezTo>
                    <a:pt x="721" y="892"/>
                    <a:pt x="721" y="892"/>
                    <a:pt x="721" y="891"/>
                  </a:cubicBezTo>
                  <a:cubicBezTo>
                    <a:pt x="722" y="891"/>
                    <a:pt x="722" y="891"/>
                    <a:pt x="722" y="891"/>
                  </a:cubicBezTo>
                  <a:cubicBezTo>
                    <a:pt x="722" y="890"/>
                    <a:pt x="722" y="890"/>
                    <a:pt x="722" y="890"/>
                  </a:cubicBezTo>
                  <a:cubicBezTo>
                    <a:pt x="723" y="889"/>
                    <a:pt x="723" y="889"/>
                    <a:pt x="723" y="889"/>
                  </a:cubicBezTo>
                  <a:cubicBezTo>
                    <a:pt x="725" y="888"/>
                    <a:pt x="725" y="888"/>
                    <a:pt x="725" y="888"/>
                  </a:cubicBezTo>
                  <a:cubicBezTo>
                    <a:pt x="725" y="887"/>
                    <a:pt x="726" y="886"/>
                    <a:pt x="728" y="886"/>
                  </a:cubicBezTo>
                  <a:cubicBezTo>
                    <a:pt x="728" y="885"/>
                    <a:pt x="728" y="885"/>
                    <a:pt x="728" y="885"/>
                  </a:cubicBezTo>
                  <a:cubicBezTo>
                    <a:pt x="731" y="885"/>
                    <a:pt x="731" y="885"/>
                    <a:pt x="731" y="885"/>
                  </a:cubicBezTo>
                  <a:cubicBezTo>
                    <a:pt x="731" y="886"/>
                    <a:pt x="731" y="886"/>
                    <a:pt x="731" y="886"/>
                  </a:cubicBezTo>
                  <a:cubicBezTo>
                    <a:pt x="731" y="886"/>
                    <a:pt x="732" y="887"/>
                    <a:pt x="732" y="887"/>
                  </a:cubicBezTo>
                  <a:cubicBezTo>
                    <a:pt x="733" y="888"/>
                    <a:pt x="733" y="888"/>
                    <a:pt x="733" y="888"/>
                  </a:cubicBezTo>
                  <a:cubicBezTo>
                    <a:pt x="734" y="887"/>
                    <a:pt x="734" y="887"/>
                    <a:pt x="734" y="887"/>
                  </a:cubicBezTo>
                  <a:cubicBezTo>
                    <a:pt x="736" y="883"/>
                    <a:pt x="736" y="883"/>
                    <a:pt x="736" y="883"/>
                  </a:cubicBezTo>
                  <a:cubicBezTo>
                    <a:pt x="738" y="887"/>
                    <a:pt x="738" y="887"/>
                    <a:pt x="738" y="887"/>
                  </a:cubicBezTo>
                  <a:cubicBezTo>
                    <a:pt x="739" y="887"/>
                    <a:pt x="739" y="888"/>
                    <a:pt x="740" y="888"/>
                  </a:cubicBezTo>
                  <a:cubicBezTo>
                    <a:pt x="740" y="889"/>
                    <a:pt x="741" y="889"/>
                    <a:pt x="742" y="890"/>
                  </a:cubicBezTo>
                  <a:cubicBezTo>
                    <a:pt x="742" y="890"/>
                    <a:pt x="743" y="891"/>
                    <a:pt x="743" y="891"/>
                  </a:cubicBezTo>
                  <a:cubicBezTo>
                    <a:pt x="743" y="892"/>
                    <a:pt x="743" y="892"/>
                    <a:pt x="743" y="892"/>
                  </a:cubicBezTo>
                  <a:cubicBezTo>
                    <a:pt x="751" y="882"/>
                    <a:pt x="751" y="882"/>
                    <a:pt x="751" y="882"/>
                  </a:cubicBezTo>
                  <a:cubicBezTo>
                    <a:pt x="754" y="886"/>
                    <a:pt x="754" y="886"/>
                    <a:pt x="754" y="886"/>
                  </a:cubicBezTo>
                  <a:cubicBezTo>
                    <a:pt x="754" y="886"/>
                    <a:pt x="755" y="887"/>
                    <a:pt x="755" y="887"/>
                  </a:cubicBezTo>
                  <a:cubicBezTo>
                    <a:pt x="758" y="886"/>
                    <a:pt x="758" y="886"/>
                    <a:pt x="758" y="886"/>
                  </a:cubicBezTo>
                  <a:cubicBezTo>
                    <a:pt x="760" y="885"/>
                    <a:pt x="760" y="885"/>
                    <a:pt x="761" y="884"/>
                  </a:cubicBezTo>
                  <a:cubicBezTo>
                    <a:pt x="762" y="884"/>
                    <a:pt x="762" y="884"/>
                    <a:pt x="762" y="884"/>
                  </a:cubicBezTo>
                  <a:cubicBezTo>
                    <a:pt x="762" y="884"/>
                    <a:pt x="762" y="883"/>
                    <a:pt x="763" y="882"/>
                  </a:cubicBezTo>
                  <a:cubicBezTo>
                    <a:pt x="764" y="881"/>
                    <a:pt x="764" y="880"/>
                    <a:pt x="765" y="879"/>
                  </a:cubicBezTo>
                  <a:cubicBezTo>
                    <a:pt x="767" y="876"/>
                    <a:pt x="767" y="876"/>
                    <a:pt x="767" y="876"/>
                  </a:cubicBezTo>
                  <a:cubicBezTo>
                    <a:pt x="768" y="875"/>
                    <a:pt x="768" y="875"/>
                    <a:pt x="768" y="875"/>
                  </a:cubicBezTo>
                  <a:cubicBezTo>
                    <a:pt x="768" y="875"/>
                    <a:pt x="768" y="875"/>
                    <a:pt x="768" y="875"/>
                  </a:cubicBezTo>
                  <a:cubicBezTo>
                    <a:pt x="769" y="874"/>
                    <a:pt x="769" y="874"/>
                    <a:pt x="769" y="874"/>
                  </a:cubicBezTo>
                  <a:cubicBezTo>
                    <a:pt x="772" y="872"/>
                    <a:pt x="775" y="870"/>
                    <a:pt x="777" y="870"/>
                  </a:cubicBezTo>
                  <a:cubicBezTo>
                    <a:pt x="777" y="870"/>
                    <a:pt x="778" y="870"/>
                    <a:pt x="778" y="870"/>
                  </a:cubicBezTo>
                  <a:cubicBezTo>
                    <a:pt x="779" y="870"/>
                    <a:pt x="780" y="871"/>
                    <a:pt x="780" y="872"/>
                  </a:cubicBezTo>
                  <a:cubicBezTo>
                    <a:pt x="781" y="872"/>
                    <a:pt x="781" y="873"/>
                    <a:pt x="782" y="873"/>
                  </a:cubicBezTo>
                  <a:cubicBezTo>
                    <a:pt x="783" y="874"/>
                    <a:pt x="783" y="875"/>
                    <a:pt x="784" y="875"/>
                  </a:cubicBezTo>
                  <a:cubicBezTo>
                    <a:pt x="785" y="876"/>
                    <a:pt x="785" y="876"/>
                    <a:pt x="785" y="876"/>
                  </a:cubicBezTo>
                  <a:cubicBezTo>
                    <a:pt x="786" y="878"/>
                    <a:pt x="787" y="879"/>
                    <a:pt x="788" y="880"/>
                  </a:cubicBezTo>
                  <a:cubicBezTo>
                    <a:pt x="789" y="880"/>
                    <a:pt x="789" y="880"/>
                    <a:pt x="789" y="880"/>
                  </a:cubicBezTo>
                  <a:cubicBezTo>
                    <a:pt x="793" y="882"/>
                    <a:pt x="795" y="882"/>
                    <a:pt x="799" y="882"/>
                  </a:cubicBezTo>
                  <a:cubicBezTo>
                    <a:pt x="800" y="882"/>
                    <a:pt x="800" y="882"/>
                    <a:pt x="800" y="882"/>
                  </a:cubicBezTo>
                  <a:cubicBezTo>
                    <a:pt x="801" y="882"/>
                    <a:pt x="801" y="882"/>
                    <a:pt x="802" y="882"/>
                  </a:cubicBezTo>
                  <a:cubicBezTo>
                    <a:pt x="802" y="882"/>
                    <a:pt x="803" y="882"/>
                    <a:pt x="803" y="882"/>
                  </a:cubicBezTo>
                  <a:cubicBezTo>
                    <a:pt x="804" y="882"/>
                    <a:pt x="804" y="882"/>
                    <a:pt x="805" y="882"/>
                  </a:cubicBezTo>
                  <a:cubicBezTo>
                    <a:pt x="807" y="882"/>
                    <a:pt x="809" y="883"/>
                    <a:pt x="810" y="883"/>
                  </a:cubicBezTo>
                  <a:cubicBezTo>
                    <a:pt x="812" y="878"/>
                    <a:pt x="812" y="878"/>
                    <a:pt x="812" y="878"/>
                  </a:cubicBezTo>
                  <a:cubicBezTo>
                    <a:pt x="812" y="884"/>
                    <a:pt x="812" y="884"/>
                    <a:pt x="812" y="884"/>
                  </a:cubicBezTo>
                  <a:cubicBezTo>
                    <a:pt x="812" y="884"/>
                    <a:pt x="812" y="884"/>
                    <a:pt x="812" y="884"/>
                  </a:cubicBezTo>
                  <a:cubicBezTo>
                    <a:pt x="813" y="884"/>
                    <a:pt x="813" y="884"/>
                    <a:pt x="814" y="885"/>
                  </a:cubicBezTo>
                  <a:cubicBezTo>
                    <a:pt x="815" y="885"/>
                    <a:pt x="816" y="885"/>
                    <a:pt x="816" y="886"/>
                  </a:cubicBezTo>
                  <a:cubicBezTo>
                    <a:pt x="818" y="888"/>
                    <a:pt x="818" y="888"/>
                    <a:pt x="818" y="888"/>
                  </a:cubicBezTo>
                  <a:cubicBezTo>
                    <a:pt x="817" y="889"/>
                    <a:pt x="817" y="889"/>
                    <a:pt x="817" y="889"/>
                  </a:cubicBezTo>
                  <a:cubicBezTo>
                    <a:pt x="816" y="891"/>
                    <a:pt x="814" y="893"/>
                    <a:pt x="813" y="895"/>
                  </a:cubicBezTo>
                  <a:cubicBezTo>
                    <a:pt x="812" y="896"/>
                    <a:pt x="812" y="896"/>
                    <a:pt x="812" y="896"/>
                  </a:cubicBezTo>
                  <a:cubicBezTo>
                    <a:pt x="812" y="897"/>
                    <a:pt x="811" y="898"/>
                    <a:pt x="811" y="898"/>
                  </a:cubicBezTo>
                  <a:cubicBezTo>
                    <a:pt x="811" y="898"/>
                    <a:pt x="811" y="898"/>
                    <a:pt x="811" y="898"/>
                  </a:cubicBezTo>
                  <a:cubicBezTo>
                    <a:pt x="811" y="899"/>
                    <a:pt x="811" y="899"/>
                    <a:pt x="811" y="899"/>
                  </a:cubicBezTo>
                  <a:cubicBezTo>
                    <a:pt x="812" y="900"/>
                    <a:pt x="813" y="902"/>
                    <a:pt x="813" y="903"/>
                  </a:cubicBezTo>
                  <a:cubicBezTo>
                    <a:pt x="814" y="904"/>
                    <a:pt x="814" y="905"/>
                    <a:pt x="814" y="906"/>
                  </a:cubicBezTo>
                  <a:cubicBezTo>
                    <a:pt x="814" y="907"/>
                    <a:pt x="814" y="907"/>
                    <a:pt x="814" y="907"/>
                  </a:cubicBezTo>
                  <a:cubicBezTo>
                    <a:pt x="814" y="907"/>
                    <a:pt x="814" y="907"/>
                    <a:pt x="814" y="907"/>
                  </a:cubicBezTo>
                  <a:cubicBezTo>
                    <a:pt x="815" y="907"/>
                    <a:pt x="815" y="907"/>
                    <a:pt x="815" y="907"/>
                  </a:cubicBezTo>
                  <a:cubicBezTo>
                    <a:pt x="815" y="907"/>
                    <a:pt x="815" y="907"/>
                    <a:pt x="816" y="907"/>
                  </a:cubicBezTo>
                  <a:cubicBezTo>
                    <a:pt x="817" y="907"/>
                    <a:pt x="819" y="907"/>
                    <a:pt x="820" y="908"/>
                  </a:cubicBezTo>
                  <a:cubicBezTo>
                    <a:pt x="821" y="908"/>
                    <a:pt x="823" y="909"/>
                    <a:pt x="824" y="911"/>
                  </a:cubicBezTo>
                  <a:cubicBezTo>
                    <a:pt x="825" y="912"/>
                    <a:pt x="825" y="912"/>
                    <a:pt x="825" y="912"/>
                  </a:cubicBezTo>
                  <a:cubicBezTo>
                    <a:pt x="826" y="913"/>
                    <a:pt x="826" y="913"/>
                    <a:pt x="826" y="913"/>
                  </a:cubicBezTo>
                  <a:cubicBezTo>
                    <a:pt x="827" y="914"/>
                    <a:pt x="827" y="914"/>
                    <a:pt x="827" y="914"/>
                  </a:cubicBezTo>
                  <a:cubicBezTo>
                    <a:pt x="828" y="915"/>
                    <a:pt x="828" y="915"/>
                    <a:pt x="828" y="915"/>
                  </a:cubicBezTo>
                  <a:cubicBezTo>
                    <a:pt x="829" y="915"/>
                    <a:pt x="830" y="915"/>
                    <a:pt x="831" y="915"/>
                  </a:cubicBezTo>
                  <a:cubicBezTo>
                    <a:pt x="832" y="915"/>
                    <a:pt x="832" y="915"/>
                    <a:pt x="833" y="915"/>
                  </a:cubicBezTo>
                  <a:cubicBezTo>
                    <a:pt x="835" y="915"/>
                    <a:pt x="837" y="916"/>
                    <a:pt x="840" y="917"/>
                  </a:cubicBezTo>
                  <a:cubicBezTo>
                    <a:pt x="841" y="917"/>
                    <a:pt x="842" y="917"/>
                    <a:pt x="843" y="917"/>
                  </a:cubicBezTo>
                  <a:cubicBezTo>
                    <a:pt x="844" y="918"/>
                    <a:pt x="844" y="918"/>
                    <a:pt x="844" y="918"/>
                  </a:cubicBezTo>
                  <a:cubicBezTo>
                    <a:pt x="846" y="919"/>
                    <a:pt x="846" y="919"/>
                    <a:pt x="846" y="919"/>
                  </a:cubicBezTo>
                  <a:cubicBezTo>
                    <a:pt x="846" y="919"/>
                    <a:pt x="846" y="919"/>
                    <a:pt x="846" y="919"/>
                  </a:cubicBezTo>
                  <a:cubicBezTo>
                    <a:pt x="847" y="919"/>
                    <a:pt x="848" y="918"/>
                    <a:pt x="849" y="918"/>
                  </a:cubicBezTo>
                  <a:cubicBezTo>
                    <a:pt x="849" y="919"/>
                    <a:pt x="849" y="920"/>
                    <a:pt x="848" y="922"/>
                  </a:cubicBezTo>
                  <a:cubicBezTo>
                    <a:pt x="849" y="921"/>
                    <a:pt x="850" y="920"/>
                    <a:pt x="851" y="919"/>
                  </a:cubicBezTo>
                  <a:cubicBezTo>
                    <a:pt x="850" y="919"/>
                    <a:pt x="851" y="917"/>
                    <a:pt x="851" y="916"/>
                  </a:cubicBezTo>
                  <a:cubicBezTo>
                    <a:pt x="851" y="916"/>
                    <a:pt x="855" y="918"/>
                    <a:pt x="856" y="919"/>
                  </a:cubicBezTo>
                  <a:cubicBezTo>
                    <a:pt x="856" y="918"/>
                    <a:pt x="857" y="917"/>
                    <a:pt x="857" y="917"/>
                  </a:cubicBezTo>
                  <a:cubicBezTo>
                    <a:pt x="856" y="917"/>
                    <a:pt x="856" y="917"/>
                    <a:pt x="856" y="917"/>
                  </a:cubicBezTo>
                  <a:cubicBezTo>
                    <a:pt x="855" y="917"/>
                    <a:pt x="855" y="916"/>
                    <a:pt x="855" y="915"/>
                  </a:cubicBezTo>
                  <a:cubicBezTo>
                    <a:pt x="854" y="914"/>
                    <a:pt x="854" y="910"/>
                    <a:pt x="857" y="910"/>
                  </a:cubicBezTo>
                  <a:cubicBezTo>
                    <a:pt x="857" y="910"/>
                    <a:pt x="857" y="910"/>
                    <a:pt x="857" y="910"/>
                  </a:cubicBezTo>
                  <a:cubicBezTo>
                    <a:pt x="857" y="910"/>
                    <a:pt x="857" y="910"/>
                    <a:pt x="857" y="911"/>
                  </a:cubicBezTo>
                  <a:cubicBezTo>
                    <a:pt x="857" y="911"/>
                    <a:pt x="857" y="911"/>
                    <a:pt x="857" y="911"/>
                  </a:cubicBezTo>
                  <a:cubicBezTo>
                    <a:pt x="858" y="911"/>
                    <a:pt x="858" y="911"/>
                    <a:pt x="859" y="912"/>
                  </a:cubicBezTo>
                  <a:cubicBezTo>
                    <a:pt x="858" y="912"/>
                    <a:pt x="858" y="913"/>
                    <a:pt x="857" y="913"/>
                  </a:cubicBezTo>
                  <a:cubicBezTo>
                    <a:pt x="858" y="913"/>
                    <a:pt x="858" y="913"/>
                    <a:pt x="858" y="913"/>
                  </a:cubicBezTo>
                  <a:cubicBezTo>
                    <a:pt x="859" y="913"/>
                    <a:pt x="860" y="914"/>
                    <a:pt x="859" y="915"/>
                  </a:cubicBezTo>
                  <a:cubicBezTo>
                    <a:pt x="859" y="915"/>
                    <a:pt x="859" y="915"/>
                    <a:pt x="859" y="915"/>
                  </a:cubicBezTo>
                  <a:cubicBezTo>
                    <a:pt x="859" y="915"/>
                    <a:pt x="859" y="915"/>
                    <a:pt x="860" y="915"/>
                  </a:cubicBezTo>
                  <a:cubicBezTo>
                    <a:pt x="860" y="915"/>
                    <a:pt x="861" y="915"/>
                    <a:pt x="861" y="915"/>
                  </a:cubicBezTo>
                  <a:cubicBezTo>
                    <a:pt x="861" y="915"/>
                    <a:pt x="861" y="915"/>
                    <a:pt x="861" y="915"/>
                  </a:cubicBezTo>
                  <a:cubicBezTo>
                    <a:pt x="861" y="916"/>
                    <a:pt x="862" y="918"/>
                    <a:pt x="864" y="918"/>
                  </a:cubicBezTo>
                  <a:cubicBezTo>
                    <a:pt x="864" y="918"/>
                    <a:pt x="864" y="918"/>
                    <a:pt x="864" y="918"/>
                  </a:cubicBezTo>
                  <a:cubicBezTo>
                    <a:pt x="864" y="918"/>
                    <a:pt x="865" y="915"/>
                    <a:pt x="865" y="915"/>
                  </a:cubicBezTo>
                  <a:cubicBezTo>
                    <a:pt x="865" y="917"/>
                    <a:pt x="865" y="918"/>
                    <a:pt x="866" y="919"/>
                  </a:cubicBezTo>
                  <a:cubicBezTo>
                    <a:pt x="867" y="919"/>
                    <a:pt x="869" y="919"/>
                    <a:pt x="870" y="920"/>
                  </a:cubicBezTo>
                  <a:cubicBezTo>
                    <a:pt x="871" y="921"/>
                    <a:pt x="871" y="923"/>
                    <a:pt x="871" y="924"/>
                  </a:cubicBezTo>
                  <a:cubicBezTo>
                    <a:pt x="873" y="923"/>
                    <a:pt x="878" y="924"/>
                    <a:pt x="880" y="922"/>
                  </a:cubicBezTo>
                  <a:cubicBezTo>
                    <a:pt x="882" y="921"/>
                    <a:pt x="882" y="918"/>
                    <a:pt x="879" y="918"/>
                  </a:cubicBezTo>
                  <a:cubicBezTo>
                    <a:pt x="880" y="917"/>
                    <a:pt x="881" y="916"/>
                    <a:pt x="882" y="915"/>
                  </a:cubicBezTo>
                  <a:cubicBezTo>
                    <a:pt x="882" y="915"/>
                    <a:pt x="882" y="915"/>
                    <a:pt x="882" y="915"/>
                  </a:cubicBezTo>
                  <a:cubicBezTo>
                    <a:pt x="882" y="916"/>
                    <a:pt x="881" y="916"/>
                    <a:pt x="881" y="917"/>
                  </a:cubicBezTo>
                  <a:cubicBezTo>
                    <a:pt x="882" y="918"/>
                    <a:pt x="884" y="918"/>
                    <a:pt x="884" y="919"/>
                  </a:cubicBezTo>
                  <a:cubicBezTo>
                    <a:pt x="885" y="919"/>
                    <a:pt x="885" y="921"/>
                    <a:pt x="886" y="922"/>
                  </a:cubicBezTo>
                  <a:cubicBezTo>
                    <a:pt x="886" y="921"/>
                    <a:pt x="886" y="920"/>
                    <a:pt x="886" y="919"/>
                  </a:cubicBezTo>
                  <a:cubicBezTo>
                    <a:pt x="887" y="920"/>
                    <a:pt x="888" y="922"/>
                    <a:pt x="890" y="922"/>
                  </a:cubicBezTo>
                  <a:cubicBezTo>
                    <a:pt x="890" y="922"/>
                    <a:pt x="890" y="922"/>
                    <a:pt x="891" y="922"/>
                  </a:cubicBezTo>
                  <a:cubicBezTo>
                    <a:pt x="890" y="924"/>
                    <a:pt x="889" y="926"/>
                    <a:pt x="887" y="926"/>
                  </a:cubicBezTo>
                  <a:cubicBezTo>
                    <a:pt x="887" y="926"/>
                    <a:pt x="887" y="926"/>
                    <a:pt x="886" y="925"/>
                  </a:cubicBezTo>
                  <a:cubicBezTo>
                    <a:pt x="886" y="927"/>
                    <a:pt x="887" y="929"/>
                    <a:pt x="886" y="930"/>
                  </a:cubicBezTo>
                  <a:cubicBezTo>
                    <a:pt x="885" y="930"/>
                    <a:pt x="885" y="930"/>
                    <a:pt x="885" y="930"/>
                  </a:cubicBezTo>
                  <a:cubicBezTo>
                    <a:pt x="884" y="930"/>
                    <a:pt x="885" y="933"/>
                    <a:pt x="884" y="934"/>
                  </a:cubicBezTo>
                  <a:cubicBezTo>
                    <a:pt x="884" y="939"/>
                    <a:pt x="885" y="940"/>
                    <a:pt x="888" y="945"/>
                  </a:cubicBezTo>
                  <a:cubicBezTo>
                    <a:pt x="889" y="948"/>
                    <a:pt x="889" y="953"/>
                    <a:pt x="891" y="954"/>
                  </a:cubicBezTo>
                  <a:cubicBezTo>
                    <a:pt x="891" y="954"/>
                    <a:pt x="892" y="955"/>
                    <a:pt x="894" y="955"/>
                  </a:cubicBezTo>
                  <a:cubicBezTo>
                    <a:pt x="897" y="955"/>
                    <a:pt x="901" y="953"/>
                    <a:pt x="903" y="952"/>
                  </a:cubicBezTo>
                  <a:cubicBezTo>
                    <a:pt x="906" y="949"/>
                    <a:pt x="905" y="947"/>
                    <a:pt x="902" y="945"/>
                  </a:cubicBezTo>
                  <a:cubicBezTo>
                    <a:pt x="901" y="944"/>
                    <a:pt x="900" y="944"/>
                    <a:pt x="900" y="943"/>
                  </a:cubicBezTo>
                  <a:cubicBezTo>
                    <a:pt x="900" y="943"/>
                    <a:pt x="900" y="943"/>
                    <a:pt x="900" y="943"/>
                  </a:cubicBezTo>
                  <a:cubicBezTo>
                    <a:pt x="900" y="942"/>
                    <a:pt x="900" y="941"/>
                    <a:pt x="900" y="940"/>
                  </a:cubicBezTo>
                  <a:cubicBezTo>
                    <a:pt x="900" y="941"/>
                    <a:pt x="901" y="941"/>
                    <a:pt x="902" y="942"/>
                  </a:cubicBezTo>
                  <a:cubicBezTo>
                    <a:pt x="902" y="939"/>
                    <a:pt x="901" y="938"/>
                    <a:pt x="900" y="938"/>
                  </a:cubicBezTo>
                  <a:cubicBezTo>
                    <a:pt x="899" y="938"/>
                    <a:pt x="899" y="938"/>
                    <a:pt x="899" y="938"/>
                  </a:cubicBezTo>
                  <a:cubicBezTo>
                    <a:pt x="898" y="938"/>
                    <a:pt x="898" y="939"/>
                    <a:pt x="898" y="939"/>
                  </a:cubicBezTo>
                  <a:cubicBezTo>
                    <a:pt x="897" y="939"/>
                    <a:pt x="896" y="938"/>
                    <a:pt x="896" y="937"/>
                  </a:cubicBezTo>
                  <a:cubicBezTo>
                    <a:pt x="895" y="933"/>
                    <a:pt x="901" y="931"/>
                    <a:pt x="902" y="927"/>
                  </a:cubicBezTo>
                  <a:cubicBezTo>
                    <a:pt x="902" y="926"/>
                    <a:pt x="901" y="925"/>
                    <a:pt x="901" y="923"/>
                  </a:cubicBezTo>
                  <a:cubicBezTo>
                    <a:pt x="903" y="925"/>
                    <a:pt x="902" y="927"/>
                    <a:pt x="904" y="927"/>
                  </a:cubicBezTo>
                  <a:cubicBezTo>
                    <a:pt x="904" y="927"/>
                    <a:pt x="903" y="927"/>
                    <a:pt x="903" y="928"/>
                  </a:cubicBezTo>
                  <a:cubicBezTo>
                    <a:pt x="903" y="928"/>
                    <a:pt x="903" y="929"/>
                    <a:pt x="903" y="929"/>
                  </a:cubicBezTo>
                  <a:cubicBezTo>
                    <a:pt x="908" y="927"/>
                    <a:pt x="913" y="924"/>
                    <a:pt x="919" y="922"/>
                  </a:cubicBezTo>
                  <a:cubicBezTo>
                    <a:pt x="925" y="920"/>
                    <a:pt x="930" y="920"/>
                    <a:pt x="936" y="918"/>
                  </a:cubicBezTo>
                  <a:cubicBezTo>
                    <a:pt x="936" y="917"/>
                    <a:pt x="936" y="915"/>
                    <a:pt x="934" y="914"/>
                  </a:cubicBezTo>
                  <a:cubicBezTo>
                    <a:pt x="936" y="915"/>
                    <a:pt x="937" y="916"/>
                    <a:pt x="938" y="916"/>
                  </a:cubicBezTo>
                  <a:cubicBezTo>
                    <a:pt x="939" y="916"/>
                    <a:pt x="940" y="916"/>
                    <a:pt x="941" y="915"/>
                  </a:cubicBezTo>
                  <a:cubicBezTo>
                    <a:pt x="939" y="914"/>
                    <a:pt x="939" y="913"/>
                    <a:pt x="939" y="911"/>
                  </a:cubicBezTo>
                  <a:cubicBezTo>
                    <a:pt x="940" y="912"/>
                    <a:pt x="940" y="912"/>
                    <a:pt x="941" y="912"/>
                  </a:cubicBezTo>
                  <a:cubicBezTo>
                    <a:pt x="942" y="912"/>
                    <a:pt x="942" y="912"/>
                    <a:pt x="942" y="912"/>
                  </a:cubicBezTo>
                  <a:cubicBezTo>
                    <a:pt x="942" y="912"/>
                    <a:pt x="942" y="913"/>
                    <a:pt x="942" y="913"/>
                  </a:cubicBezTo>
                  <a:cubicBezTo>
                    <a:pt x="942" y="913"/>
                    <a:pt x="942" y="913"/>
                    <a:pt x="942" y="913"/>
                  </a:cubicBezTo>
                  <a:cubicBezTo>
                    <a:pt x="942" y="913"/>
                    <a:pt x="943" y="913"/>
                    <a:pt x="944" y="913"/>
                  </a:cubicBezTo>
                  <a:cubicBezTo>
                    <a:pt x="944" y="913"/>
                    <a:pt x="945" y="913"/>
                    <a:pt x="945" y="913"/>
                  </a:cubicBezTo>
                  <a:cubicBezTo>
                    <a:pt x="946" y="913"/>
                    <a:pt x="946" y="913"/>
                    <a:pt x="946" y="913"/>
                  </a:cubicBezTo>
                  <a:cubicBezTo>
                    <a:pt x="947" y="913"/>
                    <a:pt x="948" y="916"/>
                    <a:pt x="949" y="916"/>
                  </a:cubicBezTo>
                  <a:cubicBezTo>
                    <a:pt x="949" y="913"/>
                    <a:pt x="950" y="910"/>
                    <a:pt x="951" y="908"/>
                  </a:cubicBezTo>
                  <a:cubicBezTo>
                    <a:pt x="950" y="909"/>
                    <a:pt x="951" y="910"/>
                    <a:pt x="952" y="910"/>
                  </a:cubicBezTo>
                  <a:cubicBezTo>
                    <a:pt x="953" y="910"/>
                    <a:pt x="953" y="910"/>
                    <a:pt x="954" y="910"/>
                  </a:cubicBezTo>
                  <a:cubicBezTo>
                    <a:pt x="952" y="911"/>
                    <a:pt x="952" y="911"/>
                    <a:pt x="952" y="911"/>
                  </a:cubicBezTo>
                  <a:cubicBezTo>
                    <a:pt x="952" y="912"/>
                    <a:pt x="952" y="912"/>
                    <a:pt x="953" y="912"/>
                  </a:cubicBezTo>
                  <a:cubicBezTo>
                    <a:pt x="954" y="912"/>
                    <a:pt x="956" y="911"/>
                    <a:pt x="957" y="911"/>
                  </a:cubicBezTo>
                  <a:cubicBezTo>
                    <a:pt x="959" y="910"/>
                    <a:pt x="961" y="910"/>
                    <a:pt x="962" y="910"/>
                  </a:cubicBezTo>
                  <a:cubicBezTo>
                    <a:pt x="962" y="910"/>
                    <a:pt x="962" y="910"/>
                    <a:pt x="962" y="910"/>
                  </a:cubicBezTo>
                  <a:cubicBezTo>
                    <a:pt x="964" y="910"/>
                    <a:pt x="965" y="911"/>
                    <a:pt x="965" y="911"/>
                  </a:cubicBezTo>
                  <a:cubicBezTo>
                    <a:pt x="965" y="911"/>
                    <a:pt x="966" y="911"/>
                    <a:pt x="966" y="910"/>
                  </a:cubicBezTo>
                  <a:cubicBezTo>
                    <a:pt x="966" y="908"/>
                    <a:pt x="966" y="908"/>
                    <a:pt x="966" y="908"/>
                  </a:cubicBezTo>
                  <a:cubicBezTo>
                    <a:pt x="966" y="908"/>
                    <a:pt x="967" y="907"/>
                    <a:pt x="967" y="906"/>
                  </a:cubicBezTo>
                  <a:cubicBezTo>
                    <a:pt x="968" y="905"/>
                    <a:pt x="968" y="905"/>
                    <a:pt x="968" y="905"/>
                  </a:cubicBezTo>
                  <a:cubicBezTo>
                    <a:pt x="968" y="904"/>
                    <a:pt x="969" y="904"/>
                    <a:pt x="969" y="903"/>
                  </a:cubicBezTo>
                  <a:cubicBezTo>
                    <a:pt x="970" y="905"/>
                    <a:pt x="970" y="906"/>
                    <a:pt x="971" y="906"/>
                  </a:cubicBezTo>
                  <a:cubicBezTo>
                    <a:pt x="971" y="907"/>
                    <a:pt x="971" y="907"/>
                    <a:pt x="972" y="907"/>
                  </a:cubicBezTo>
                  <a:cubicBezTo>
                    <a:pt x="972" y="907"/>
                    <a:pt x="972" y="906"/>
                    <a:pt x="973" y="906"/>
                  </a:cubicBezTo>
                  <a:cubicBezTo>
                    <a:pt x="975" y="904"/>
                    <a:pt x="975" y="905"/>
                    <a:pt x="975" y="903"/>
                  </a:cubicBezTo>
                  <a:cubicBezTo>
                    <a:pt x="975" y="902"/>
                    <a:pt x="974" y="902"/>
                    <a:pt x="974" y="901"/>
                  </a:cubicBezTo>
                  <a:cubicBezTo>
                    <a:pt x="977" y="902"/>
                    <a:pt x="977" y="902"/>
                    <a:pt x="977" y="902"/>
                  </a:cubicBezTo>
                  <a:cubicBezTo>
                    <a:pt x="979" y="902"/>
                    <a:pt x="979" y="902"/>
                    <a:pt x="979" y="902"/>
                  </a:cubicBezTo>
                  <a:cubicBezTo>
                    <a:pt x="979" y="903"/>
                    <a:pt x="979" y="903"/>
                    <a:pt x="978" y="904"/>
                  </a:cubicBezTo>
                  <a:cubicBezTo>
                    <a:pt x="979" y="903"/>
                    <a:pt x="980" y="902"/>
                    <a:pt x="979" y="901"/>
                  </a:cubicBezTo>
                  <a:cubicBezTo>
                    <a:pt x="979" y="895"/>
                    <a:pt x="978" y="889"/>
                    <a:pt x="974" y="886"/>
                  </a:cubicBezTo>
                  <a:cubicBezTo>
                    <a:pt x="974" y="886"/>
                    <a:pt x="973" y="886"/>
                    <a:pt x="973" y="886"/>
                  </a:cubicBezTo>
                  <a:cubicBezTo>
                    <a:pt x="973" y="886"/>
                    <a:pt x="970" y="886"/>
                    <a:pt x="970" y="886"/>
                  </a:cubicBezTo>
                  <a:cubicBezTo>
                    <a:pt x="973" y="885"/>
                    <a:pt x="974" y="884"/>
                    <a:pt x="976" y="882"/>
                  </a:cubicBezTo>
                  <a:cubicBezTo>
                    <a:pt x="976" y="881"/>
                    <a:pt x="979" y="880"/>
                    <a:pt x="979" y="880"/>
                  </a:cubicBezTo>
                  <a:cubicBezTo>
                    <a:pt x="979" y="880"/>
                    <a:pt x="979" y="880"/>
                    <a:pt x="979" y="880"/>
                  </a:cubicBezTo>
                  <a:cubicBezTo>
                    <a:pt x="982" y="880"/>
                    <a:pt x="984" y="880"/>
                    <a:pt x="986" y="880"/>
                  </a:cubicBezTo>
                  <a:cubicBezTo>
                    <a:pt x="984" y="880"/>
                    <a:pt x="980" y="880"/>
                    <a:pt x="979" y="883"/>
                  </a:cubicBezTo>
                  <a:cubicBezTo>
                    <a:pt x="979" y="883"/>
                    <a:pt x="979" y="883"/>
                    <a:pt x="979" y="883"/>
                  </a:cubicBezTo>
                  <a:cubicBezTo>
                    <a:pt x="980" y="883"/>
                    <a:pt x="980" y="882"/>
                    <a:pt x="980" y="882"/>
                  </a:cubicBezTo>
                  <a:cubicBezTo>
                    <a:pt x="980" y="883"/>
                    <a:pt x="980" y="883"/>
                    <a:pt x="980" y="884"/>
                  </a:cubicBezTo>
                  <a:cubicBezTo>
                    <a:pt x="980" y="883"/>
                    <a:pt x="981" y="883"/>
                    <a:pt x="981" y="882"/>
                  </a:cubicBezTo>
                  <a:cubicBezTo>
                    <a:pt x="981" y="883"/>
                    <a:pt x="981" y="884"/>
                    <a:pt x="981" y="884"/>
                  </a:cubicBezTo>
                  <a:cubicBezTo>
                    <a:pt x="981" y="884"/>
                    <a:pt x="981" y="883"/>
                    <a:pt x="981" y="883"/>
                  </a:cubicBezTo>
                  <a:cubicBezTo>
                    <a:pt x="981" y="884"/>
                    <a:pt x="981" y="885"/>
                    <a:pt x="981" y="886"/>
                  </a:cubicBezTo>
                  <a:cubicBezTo>
                    <a:pt x="981" y="886"/>
                    <a:pt x="981" y="886"/>
                    <a:pt x="981" y="886"/>
                  </a:cubicBezTo>
                  <a:cubicBezTo>
                    <a:pt x="981" y="887"/>
                    <a:pt x="981" y="887"/>
                    <a:pt x="981" y="887"/>
                  </a:cubicBezTo>
                  <a:cubicBezTo>
                    <a:pt x="981" y="886"/>
                    <a:pt x="981" y="886"/>
                    <a:pt x="981" y="886"/>
                  </a:cubicBezTo>
                  <a:cubicBezTo>
                    <a:pt x="982" y="886"/>
                    <a:pt x="982" y="887"/>
                    <a:pt x="982" y="888"/>
                  </a:cubicBezTo>
                  <a:cubicBezTo>
                    <a:pt x="982" y="889"/>
                    <a:pt x="983" y="889"/>
                    <a:pt x="983" y="889"/>
                  </a:cubicBezTo>
                  <a:cubicBezTo>
                    <a:pt x="983" y="889"/>
                    <a:pt x="983" y="889"/>
                    <a:pt x="984" y="889"/>
                  </a:cubicBezTo>
                  <a:cubicBezTo>
                    <a:pt x="984" y="889"/>
                    <a:pt x="984" y="889"/>
                    <a:pt x="984" y="889"/>
                  </a:cubicBezTo>
                  <a:cubicBezTo>
                    <a:pt x="984" y="889"/>
                    <a:pt x="984" y="889"/>
                    <a:pt x="985" y="889"/>
                  </a:cubicBezTo>
                  <a:cubicBezTo>
                    <a:pt x="985" y="890"/>
                    <a:pt x="986" y="892"/>
                    <a:pt x="986" y="893"/>
                  </a:cubicBezTo>
                  <a:cubicBezTo>
                    <a:pt x="987" y="896"/>
                    <a:pt x="987" y="896"/>
                    <a:pt x="988" y="896"/>
                  </a:cubicBezTo>
                  <a:cubicBezTo>
                    <a:pt x="989" y="896"/>
                    <a:pt x="990" y="896"/>
                    <a:pt x="991" y="895"/>
                  </a:cubicBezTo>
                  <a:cubicBezTo>
                    <a:pt x="993" y="894"/>
                    <a:pt x="994" y="893"/>
                    <a:pt x="996" y="893"/>
                  </a:cubicBezTo>
                  <a:cubicBezTo>
                    <a:pt x="997" y="894"/>
                    <a:pt x="997" y="894"/>
                    <a:pt x="997" y="894"/>
                  </a:cubicBezTo>
                  <a:cubicBezTo>
                    <a:pt x="998" y="893"/>
                    <a:pt x="998" y="893"/>
                    <a:pt x="999" y="893"/>
                  </a:cubicBezTo>
                  <a:cubicBezTo>
                    <a:pt x="1001" y="893"/>
                    <a:pt x="1002" y="895"/>
                    <a:pt x="1003" y="896"/>
                  </a:cubicBezTo>
                  <a:cubicBezTo>
                    <a:pt x="1003" y="897"/>
                    <a:pt x="1003" y="897"/>
                    <a:pt x="1003" y="897"/>
                  </a:cubicBezTo>
                  <a:cubicBezTo>
                    <a:pt x="1004" y="897"/>
                    <a:pt x="1006" y="896"/>
                    <a:pt x="1006" y="895"/>
                  </a:cubicBezTo>
                  <a:cubicBezTo>
                    <a:pt x="1006" y="894"/>
                    <a:pt x="1004" y="892"/>
                    <a:pt x="1003" y="891"/>
                  </a:cubicBezTo>
                  <a:cubicBezTo>
                    <a:pt x="1004" y="891"/>
                    <a:pt x="1008" y="888"/>
                    <a:pt x="1010" y="888"/>
                  </a:cubicBezTo>
                  <a:cubicBezTo>
                    <a:pt x="1010" y="888"/>
                    <a:pt x="1011" y="888"/>
                    <a:pt x="1011" y="889"/>
                  </a:cubicBezTo>
                  <a:cubicBezTo>
                    <a:pt x="1011" y="889"/>
                    <a:pt x="1009" y="889"/>
                    <a:pt x="1008" y="890"/>
                  </a:cubicBezTo>
                  <a:cubicBezTo>
                    <a:pt x="1008" y="891"/>
                    <a:pt x="1011" y="894"/>
                    <a:pt x="1012" y="895"/>
                  </a:cubicBezTo>
                  <a:cubicBezTo>
                    <a:pt x="1012" y="895"/>
                    <a:pt x="1012" y="895"/>
                    <a:pt x="1013" y="895"/>
                  </a:cubicBezTo>
                  <a:cubicBezTo>
                    <a:pt x="1013" y="895"/>
                    <a:pt x="1013" y="894"/>
                    <a:pt x="1013" y="894"/>
                  </a:cubicBezTo>
                  <a:cubicBezTo>
                    <a:pt x="1014" y="893"/>
                    <a:pt x="1016" y="890"/>
                    <a:pt x="1017" y="889"/>
                  </a:cubicBezTo>
                  <a:cubicBezTo>
                    <a:pt x="1019" y="888"/>
                    <a:pt x="1021" y="886"/>
                    <a:pt x="1023" y="885"/>
                  </a:cubicBezTo>
                  <a:cubicBezTo>
                    <a:pt x="1023" y="887"/>
                    <a:pt x="1023" y="887"/>
                    <a:pt x="1021" y="888"/>
                  </a:cubicBezTo>
                  <a:cubicBezTo>
                    <a:pt x="1025" y="889"/>
                    <a:pt x="1026" y="890"/>
                    <a:pt x="1029" y="892"/>
                  </a:cubicBezTo>
                  <a:cubicBezTo>
                    <a:pt x="1029" y="891"/>
                    <a:pt x="1030" y="890"/>
                    <a:pt x="1030" y="889"/>
                  </a:cubicBezTo>
                  <a:cubicBezTo>
                    <a:pt x="1029" y="890"/>
                    <a:pt x="1029" y="890"/>
                    <a:pt x="1029" y="890"/>
                  </a:cubicBezTo>
                  <a:cubicBezTo>
                    <a:pt x="1028" y="890"/>
                    <a:pt x="1028" y="888"/>
                    <a:pt x="1029" y="887"/>
                  </a:cubicBezTo>
                  <a:cubicBezTo>
                    <a:pt x="1028" y="887"/>
                    <a:pt x="1027" y="886"/>
                    <a:pt x="1027" y="885"/>
                  </a:cubicBezTo>
                  <a:cubicBezTo>
                    <a:pt x="1027" y="885"/>
                    <a:pt x="1027" y="885"/>
                    <a:pt x="1027" y="885"/>
                  </a:cubicBezTo>
                  <a:cubicBezTo>
                    <a:pt x="1028" y="885"/>
                    <a:pt x="1029" y="885"/>
                    <a:pt x="1030" y="884"/>
                  </a:cubicBezTo>
                  <a:cubicBezTo>
                    <a:pt x="1031" y="884"/>
                    <a:pt x="1031" y="884"/>
                    <a:pt x="1032" y="884"/>
                  </a:cubicBezTo>
                  <a:cubicBezTo>
                    <a:pt x="1033" y="884"/>
                    <a:pt x="1033" y="884"/>
                    <a:pt x="1033" y="884"/>
                  </a:cubicBezTo>
                  <a:cubicBezTo>
                    <a:pt x="1030" y="886"/>
                    <a:pt x="1034" y="887"/>
                    <a:pt x="1035" y="889"/>
                  </a:cubicBezTo>
                  <a:cubicBezTo>
                    <a:pt x="1036" y="889"/>
                    <a:pt x="1037" y="888"/>
                    <a:pt x="1038" y="888"/>
                  </a:cubicBezTo>
                  <a:cubicBezTo>
                    <a:pt x="1039" y="887"/>
                    <a:pt x="1039" y="886"/>
                    <a:pt x="1040" y="885"/>
                  </a:cubicBezTo>
                  <a:cubicBezTo>
                    <a:pt x="1040" y="885"/>
                    <a:pt x="1041" y="885"/>
                    <a:pt x="1041" y="885"/>
                  </a:cubicBezTo>
                  <a:cubicBezTo>
                    <a:pt x="1041" y="885"/>
                    <a:pt x="1041" y="885"/>
                    <a:pt x="1042" y="885"/>
                  </a:cubicBezTo>
                  <a:cubicBezTo>
                    <a:pt x="1042" y="885"/>
                    <a:pt x="1043" y="885"/>
                    <a:pt x="1043" y="885"/>
                  </a:cubicBezTo>
                  <a:cubicBezTo>
                    <a:pt x="1043" y="885"/>
                    <a:pt x="1043" y="885"/>
                    <a:pt x="1043" y="885"/>
                  </a:cubicBezTo>
                  <a:cubicBezTo>
                    <a:pt x="1046" y="884"/>
                    <a:pt x="1052" y="886"/>
                    <a:pt x="1053" y="882"/>
                  </a:cubicBezTo>
                  <a:cubicBezTo>
                    <a:pt x="1054" y="881"/>
                    <a:pt x="1052" y="878"/>
                    <a:pt x="1053" y="877"/>
                  </a:cubicBezTo>
                  <a:cubicBezTo>
                    <a:pt x="1054" y="876"/>
                    <a:pt x="1055" y="876"/>
                    <a:pt x="1055" y="876"/>
                  </a:cubicBezTo>
                  <a:cubicBezTo>
                    <a:pt x="1057" y="876"/>
                    <a:pt x="1058" y="876"/>
                    <a:pt x="1059" y="877"/>
                  </a:cubicBezTo>
                  <a:cubicBezTo>
                    <a:pt x="1058" y="873"/>
                    <a:pt x="1054" y="876"/>
                    <a:pt x="1053" y="872"/>
                  </a:cubicBezTo>
                  <a:cubicBezTo>
                    <a:pt x="1054" y="873"/>
                    <a:pt x="1055" y="873"/>
                    <a:pt x="1056" y="873"/>
                  </a:cubicBezTo>
                  <a:cubicBezTo>
                    <a:pt x="1056" y="873"/>
                    <a:pt x="1057" y="873"/>
                    <a:pt x="1058" y="873"/>
                  </a:cubicBezTo>
                  <a:cubicBezTo>
                    <a:pt x="1062" y="872"/>
                    <a:pt x="1061" y="868"/>
                    <a:pt x="1063" y="866"/>
                  </a:cubicBezTo>
                  <a:cubicBezTo>
                    <a:pt x="1063" y="866"/>
                    <a:pt x="1063" y="866"/>
                    <a:pt x="1063" y="866"/>
                  </a:cubicBezTo>
                  <a:cubicBezTo>
                    <a:pt x="1063" y="866"/>
                    <a:pt x="1064" y="866"/>
                    <a:pt x="1065" y="866"/>
                  </a:cubicBezTo>
                  <a:cubicBezTo>
                    <a:pt x="1066" y="866"/>
                    <a:pt x="1067" y="866"/>
                    <a:pt x="1067" y="868"/>
                  </a:cubicBezTo>
                  <a:cubicBezTo>
                    <a:pt x="1070" y="866"/>
                    <a:pt x="1079" y="863"/>
                    <a:pt x="1075" y="858"/>
                  </a:cubicBezTo>
                  <a:cubicBezTo>
                    <a:pt x="1078" y="861"/>
                    <a:pt x="1080" y="858"/>
                    <a:pt x="1079" y="864"/>
                  </a:cubicBezTo>
                  <a:cubicBezTo>
                    <a:pt x="1082" y="859"/>
                    <a:pt x="1087" y="855"/>
                    <a:pt x="1091" y="851"/>
                  </a:cubicBezTo>
                  <a:cubicBezTo>
                    <a:pt x="1092" y="850"/>
                    <a:pt x="1092" y="848"/>
                    <a:pt x="1091" y="848"/>
                  </a:cubicBezTo>
                  <a:cubicBezTo>
                    <a:pt x="1091" y="848"/>
                    <a:pt x="1090" y="848"/>
                    <a:pt x="1090" y="848"/>
                  </a:cubicBezTo>
                  <a:cubicBezTo>
                    <a:pt x="1091" y="847"/>
                    <a:pt x="1091" y="847"/>
                    <a:pt x="1090" y="847"/>
                  </a:cubicBezTo>
                  <a:cubicBezTo>
                    <a:pt x="1090" y="847"/>
                    <a:pt x="1090" y="847"/>
                    <a:pt x="1089" y="847"/>
                  </a:cubicBezTo>
                  <a:cubicBezTo>
                    <a:pt x="1089" y="847"/>
                    <a:pt x="1089" y="847"/>
                    <a:pt x="1089" y="847"/>
                  </a:cubicBezTo>
                  <a:cubicBezTo>
                    <a:pt x="1088" y="847"/>
                    <a:pt x="1088" y="847"/>
                    <a:pt x="1088" y="847"/>
                  </a:cubicBezTo>
                  <a:cubicBezTo>
                    <a:pt x="1088" y="846"/>
                    <a:pt x="1088" y="846"/>
                    <a:pt x="1087" y="846"/>
                  </a:cubicBezTo>
                  <a:cubicBezTo>
                    <a:pt x="1087" y="846"/>
                    <a:pt x="1087" y="846"/>
                    <a:pt x="1087" y="846"/>
                  </a:cubicBezTo>
                  <a:cubicBezTo>
                    <a:pt x="1087" y="846"/>
                    <a:pt x="1087" y="846"/>
                    <a:pt x="1087" y="846"/>
                  </a:cubicBezTo>
                  <a:cubicBezTo>
                    <a:pt x="1087" y="846"/>
                    <a:pt x="1086" y="846"/>
                    <a:pt x="1086" y="846"/>
                  </a:cubicBezTo>
                  <a:cubicBezTo>
                    <a:pt x="1084" y="845"/>
                    <a:pt x="1084" y="844"/>
                    <a:pt x="1085" y="844"/>
                  </a:cubicBezTo>
                  <a:cubicBezTo>
                    <a:pt x="1085" y="844"/>
                    <a:pt x="1086" y="845"/>
                    <a:pt x="1086" y="845"/>
                  </a:cubicBezTo>
                  <a:cubicBezTo>
                    <a:pt x="1087" y="845"/>
                    <a:pt x="1088" y="845"/>
                    <a:pt x="1088" y="845"/>
                  </a:cubicBezTo>
                  <a:cubicBezTo>
                    <a:pt x="1088" y="845"/>
                    <a:pt x="1088" y="845"/>
                    <a:pt x="1088" y="845"/>
                  </a:cubicBezTo>
                  <a:cubicBezTo>
                    <a:pt x="1089" y="844"/>
                    <a:pt x="1092" y="840"/>
                    <a:pt x="1094" y="840"/>
                  </a:cubicBezTo>
                  <a:cubicBezTo>
                    <a:pt x="1094" y="840"/>
                    <a:pt x="1094" y="840"/>
                    <a:pt x="1094" y="840"/>
                  </a:cubicBezTo>
                  <a:cubicBezTo>
                    <a:pt x="1095" y="840"/>
                    <a:pt x="1097" y="842"/>
                    <a:pt x="1098" y="842"/>
                  </a:cubicBezTo>
                  <a:cubicBezTo>
                    <a:pt x="1098" y="842"/>
                    <a:pt x="1098" y="842"/>
                    <a:pt x="1098" y="842"/>
                  </a:cubicBezTo>
                  <a:cubicBezTo>
                    <a:pt x="1099" y="841"/>
                    <a:pt x="1100" y="839"/>
                    <a:pt x="1101" y="839"/>
                  </a:cubicBezTo>
                  <a:cubicBezTo>
                    <a:pt x="1101" y="839"/>
                    <a:pt x="1101" y="839"/>
                    <a:pt x="1101" y="839"/>
                  </a:cubicBezTo>
                  <a:cubicBezTo>
                    <a:pt x="1102" y="839"/>
                    <a:pt x="1102" y="842"/>
                    <a:pt x="1104" y="842"/>
                  </a:cubicBezTo>
                  <a:cubicBezTo>
                    <a:pt x="1104" y="842"/>
                    <a:pt x="1105" y="842"/>
                    <a:pt x="1105" y="842"/>
                  </a:cubicBezTo>
                  <a:cubicBezTo>
                    <a:pt x="1106" y="842"/>
                    <a:pt x="1105" y="841"/>
                    <a:pt x="1106" y="841"/>
                  </a:cubicBezTo>
                  <a:cubicBezTo>
                    <a:pt x="1107" y="840"/>
                    <a:pt x="1107" y="839"/>
                    <a:pt x="1108" y="838"/>
                  </a:cubicBezTo>
                  <a:cubicBezTo>
                    <a:pt x="1107" y="837"/>
                    <a:pt x="1106" y="837"/>
                    <a:pt x="1105" y="836"/>
                  </a:cubicBezTo>
                  <a:cubicBezTo>
                    <a:pt x="1107" y="835"/>
                    <a:pt x="1109" y="834"/>
                    <a:pt x="1111" y="834"/>
                  </a:cubicBezTo>
                  <a:cubicBezTo>
                    <a:pt x="1111" y="834"/>
                    <a:pt x="1111" y="834"/>
                    <a:pt x="1111" y="834"/>
                  </a:cubicBezTo>
                  <a:cubicBezTo>
                    <a:pt x="1111" y="834"/>
                    <a:pt x="1112" y="834"/>
                    <a:pt x="1112" y="834"/>
                  </a:cubicBezTo>
                  <a:cubicBezTo>
                    <a:pt x="1112" y="834"/>
                    <a:pt x="1113" y="834"/>
                    <a:pt x="1113" y="834"/>
                  </a:cubicBezTo>
                  <a:cubicBezTo>
                    <a:pt x="1113" y="834"/>
                    <a:pt x="1113" y="834"/>
                    <a:pt x="1113" y="834"/>
                  </a:cubicBezTo>
                  <a:cubicBezTo>
                    <a:pt x="1114" y="833"/>
                    <a:pt x="1111" y="826"/>
                    <a:pt x="1111" y="825"/>
                  </a:cubicBezTo>
                  <a:cubicBezTo>
                    <a:pt x="1111" y="825"/>
                    <a:pt x="1115" y="825"/>
                    <a:pt x="1118" y="825"/>
                  </a:cubicBezTo>
                  <a:cubicBezTo>
                    <a:pt x="1121" y="825"/>
                    <a:pt x="1123" y="825"/>
                    <a:pt x="1122" y="824"/>
                  </a:cubicBezTo>
                  <a:cubicBezTo>
                    <a:pt x="1122" y="823"/>
                    <a:pt x="1121" y="823"/>
                    <a:pt x="1121" y="823"/>
                  </a:cubicBezTo>
                  <a:cubicBezTo>
                    <a:pt x="1121" y="823"/>
                    <a:pt x="1120" y="823"/>
                    <a:pt x="1120" y="823"/>
                  </a:cubicBezTo>
                  <a:cubicBezTo>
                    <a:pt x="1120" y="823"/>
                    <a:pt x="1119" y="824"/>
                    <a:pt x="1119" y="824"/>
                  </a:cubicBezTo>
                  <a:cubicBezTo>
                    <a:pt x="1119" y="824"/>
                    <a:pt x="1119" y="824"/>
                    <a:pt x="1119" y="823"/>
                  </a:cubicBezTo>
                  <a:cubicBezTo>
                    <a:pt x="1118" y="822"/>
                    <a:pt x="1121" y="815"/>
                    <a:pt x="1123" y="815"/>
                  </a:cubicBezTo>
                  <a:cubicBezTo>
                    <a:pt x="1122" y="815"/>
                    <a:pt x="1128" y="820"/>
                    <a:pt x="1129" y="821"/>
                  </a:cubicBezTo>
                  <a:cubicBezTo>
                    <a:pt x="1130" y="819"/>
                    <a:pt x="1128" y="818"/>
                    <a:pt x="1128" y="816"/>
                  </a:cubicBezTo>
                  <a:cubicBezTo>
                    <a:pt x="1128" y="816"/>
                    <a:pt x="1128" y="816"/>
                    <a:pt x="1128" y="816"/>
                  </a:cubicBezTo>
                  <a:cubicBezTo>
                    <a:pt x="1125" y="816"/>
                    <a:pt x="1131" y="805"/>
                    <a:pt x="1131" y="804"/>
                  </a:cubicBezTo>
                  <a:cubicBezTo>
                    <a:pt x="1127" y="805"/>
                    <a:pt x="1123" y="805"/>
                    <a:pt x="1120" y="805"/>
                  </a:cubicBezTo>
                  <a:cubicBezTo>
                    <a:pt x="1120" y="803"/>
                    <a:pt x="1117" y="802"/>
                    <a:pt x="1116" y="801"/>
                  </a:cubicBezTo>
                  <a:cubicBezTo>
                    <a:pt x="1118" y="802"/>
                    <a:pt x="1122" y="804"/>
                    <a:pt x="1124" y="804"/>
                  </a:cubicBezTo>
                  <a:cubicBezTo>
                    <a:pt x="1124" y="804"/>
                    <a:pt x="1124" y="804"/>
                    <a:pt x="1124" y="804"/>
                  </a:cubicBezTo>
                  <a:cubicBezTo>
                    <a:pt x="1126" y="804"/>
                    <a:pt x="1126" y="804"/>
                    <a:pt x="1127" y="801"/>
                  </a:cubicBezTo>
                  <a:cubicBezTo>
                    <a:pt x="1130" y="796"/>
                    <a:pt x="1132" y="797"/>
                    <a:pt x="1137" y="795"/>
                  </a:cubicBezTo>
                  <a:cubicBezTo>
                    <a:pt x="1137" y="795"/>
                    <a:pt x="1136" y="795"/>
                    <a:pt x="1136" y="795"/>
                  </a:cubicBezTo>
                  <a:cubicBezTo>
                    <a:pt x="1136" y="795"/>
                    <a:pt x="1135" y="794"/>
                    <a:pt x="1135" y="794"/>
                  </a:cubicBezTo>
                  <a:cubicBezTo>
                    <a:pt x="1135" y="794"/>
                    <a:pt x="1135" y="793"/>
                    <a:pt x="1134" y="793"/>
                  </a:cubicBezTo>
                  <a:cubicBezTo>
                    <a:pt x="1134" y="793"/>
                    <a:pt x="1134" y="793"/>
                    <a:pt x="1134" y="793"/>
                  </a:cubicBezTo>
                  <a:cubicBezTo>
                    <a:pt x="1133" y="793"/>
                    <a:pt x="1133" y="795"/>
                    <a:pt x="1132" y="795"/>
                  </a:cubicBezTo>
                  <a:cubicBezTo>
                    <a:pt x="1132" y="795"/>
                    <a:pt x="1132" y="796"/>
                    <a:pt x="1132" y="796"/>
                  </a:cubicBezTo>
                  <a:cubicBezTo>
                    <a:pt x="1132" y="796"/>
                    <a:pt x="1132" y="796"/>
                    <a:pt x="1131" y="796"/>
                  </a:cubicBezTo>
                  <a:cubicBezTo>
                    <a:pt x="1130" y="795"/>
                    <a:pt x="1129" y="794"/>
                    <a:pt x="1128" y="792"/>
                  </a:cubicBezTo>
                  <a:cubicBezTo>
                    <a:pt x="1128" y="792"/>
                    <a:pt x="1132" y="790"/>
                    <a:pt x="1133" y="790"/>
                  </a:cubicBezTo>
                  <a:cubicBezTo>
                    <a:pt x="1130" y="789"/>
                    <a:pt x="1128" y="789"/>
                    <a:pt x="1128" y="786"/>
                  </a:cubicBezTo>
                  <a:cubicBezTo>
                    <a:pt x="1127" y="785"/>
                    <a:pt x="1127" y="784"/>
                    <a:pt x="1128" y="784"/>
                  </a:cubicBezTo>
                  <a:cubicBezTo>
                    <a:pt x="1128" y="784"/>
                    <a:pt x="1129" y="784"/>
                    <a:pt x="1129" y="784"/>
                  </a:cubicBezTo>
                  <a:cubicBezTo>
                    <a:pt x="1130" y="782"/>
                    <a:pt x="1132" y="783"/>
                    <a:pt x="1133" y="782"/>
                  </a:cubicBezTo>
                  <a:cubicBezTo>
                    <a:pt x="1133" y="783"/>
                    <a:pt x="1133" y="783"/>
                    <a:pt x="1133" y="783"/>
                  </a:cubicBezTo>
                  <a:cubicBezTo>
                    <a:pt x="1134" y="783"/>
                    <a:pt x="1135" y="783"/>
                    <a:pt x="1133" y="784"/>
                  </a:cubicBezTo>
                  <a:cubicBezTo>
                    <a:pt x="1134" y="784"/>
                    <a:pt x="1137" y="783"/>
                    <a:pt x="1139" y="783"/>
                  </a:cubicBezTo>
                  <a:cubicBezTo>
                    <a:pt x="1140" y="783"/>
                    <a:pt x="1141" y="784"/>
                    <a:pt x="1139" y="785"/>
                  </a:cubicBezTo>
                  <a:cubicBezTo>
                    <a:pt x="1140" y="786"/>
                    <a:pt x="1141" y="786"/>
                    <a:pt x="1141" y="787"/>
                  </a:cubicBezTo>
                  <a:cubicBezTo>
                    <a:pt x="1143" y="785"/>
                    <a:pt x="1140" y="784"/>
                    <a:pt x="1141" y="782"/>
                  </a:cubicBezTo>
                  <a:cubicBezTo>
                    <a:pt x="1141" y="781"/>
                    <a:pt x="1144" y="781"/>
                    <a:pt x="1144" y="779"/>
                  </a:cubicBezTo>
                  <a:cubicBezTo>
                    <a:pt x="1144" y="776"/>
                    <a:pt x="1146" y="774"/>
                    <a:pt x="1149" y="774"/>
                  </a:cubicBezTo>
                  <a:cubicBezTo>
                    <a:pt x="1147" y="773"/>
                    <a:pt x="1148" y="773"/>
                    <a:pt x="1147" y="772"/>
                  </a:cubicBezTo>
                  <a:cubicBezTo>
                    <a:pt x="1148" y="772"/>
                    <a:pt x="1148" y="772"/>
                    <a:pt x="1148" y="772"/>
                  </a:cubicBezTo>
                  <a:cubicBezTo>
                    <a:pt x="1150" y="772"/>
                    <a:pt x="1153" y="769"/>
                    <a:pt x="1154" y="768"/>
                  </a:cubicBezTo>
                  <a:cubicBezTo>
                    <a:pt x="1155" y="765"/>
                    <a:pt x="1154" y="762"/>
                    <a:pt x="1156" y="760"/>
                  </a:cubicBezTo>
                  <a:cubicBezTo>
                    <a:pt x="1156" y="758"/>
                    <a:pt x="1159" y="754"/>
                    <a:pt x="1159" y="753"/>
                  </a:cubicBezTo>
                  <a:cubicBezTo>
                    <a:pt x="1159" y="752"/>
                    <a:pt x="1156" y="751"/>
                    <a:pt x="1155" y="750"/>
                  </a:cubicBezTo>
                  <a:cubicBezTo>
                    <a:pt x="1156" y="751"/>
                    <a:pt x="1157" y="751"/>
                    <a:pt x="1157" y="751"/>
                  </a:cubicBezTo>
                  <a:cubicBezTo>
                    <a:pt x="1159" y="751"/>
                    <a:pt x="1160" y="750"/>
                    <a:pt x="1163" y="748"/>
                  </a:cubicBezTo>
                  <a:cubicBezTo>
                    <a:pt x="1164" y="747"/>
                    <a:pt x="1165" y="746"/>
                    <a:pt x="1166" y="745"/>
                  </a:cubicBezTo>
                  <a:cubicBezTo>
                    <a:pt x="1166" y="744"/>
                    <a:pt x="1163" y="744"/>
                    <a:pt x="1166" y="743"/>
                  </a:cubicBezTo>
                  <a:cubicBezTo>
                    <a:pt x="1167" y="742"/>
                    <a:pt x="1167" y="742"/>
                    <a:pt x="1167" y="742"/>
                  </a:cubicBezTo>
                  <a:cubicBezTo>
                    <a:pt x="1170" y="742"/>
                    <a:pt x="1170" y="745"/>
                    <a:pt x="1172" y="747"/>
                  </a:cubicBezTo>
                  <a:cubicBezTo>
                    <a:pt x="1172" y="744"/>
                    <a:pt x="1176" y="744"/>
                    <a:pt x="1179" y="742"/>
                  </a:cubicBezTo>
                  <a:cubicBezTo>
                    <a:pt x="1176" y="742"/>
                    <a:pt x="1177" y="736"/>
                    <a:pt x="1175" y="734"/>
                  </a:cubicBezTo>
                  <a:cubicBezTo>
                    <a:pt x="1174" y="733"/>
                    <a:pt x="1174" y="734"/>
                    <a:pt x="1172" y="733"/>
                  </a:cubicBezTo>
                  <a:cubicBezTo>
                    <a:pt x="1171" y="732"/>
                    <a:pt x="1171" y="733"/>
                    <a:pt x="1169" y="731"/>
                  </a:cubicBezTo>
                  <a:cubicBezTo>
                    <a:pt x="1171" y="732"/>
                    <a:pt x="1172" y="732"/>
                    <a:pt x="1173" y="732"/>
                  </a:cubicBezTo>
                  <a:cubicBezTo>
                    <a:pt x="1175" y="732"/>
                    <a:pt x="1176" y="732"/>
                    <a:pt x="1178" y="730"/>
                  </a:cubicBezTo>
                  <a:cubicBezTo>
                    <a:pt x="1181" y="729"/>
                    <a:pt x="1177" y="727"/>
                    <a:pt x="1175" y="726"/>
                  </a:cubicBezTo>
                  <a:cubicBezTo>
                    <a:pt x="1176" y="726"/>
                    <a:pt x="1176" y="726"/>
                    <a:pt x="1177" y="726"/>
                  </a:cubicBezTo>
                  <a:cubicBezTo>
                    <a:pt x="1177" y="726"/>
                    <a:pt x="1178" y="726"/>
                    <a:pt x="1178" y="726"/>
                  </a:cubicBezTo>
                  <a:cubicBezTo>
                    <a:pt x="1179" y="726"/>
                    <a:pt x="1180" y="726"/>
                    <a:pt x="1180" y="726"/>
                  </a:cubicBezTo>
                  <a:cubicBezTo>
                    <a:pt x="1180" y="726"/>
                    <a:pt x="1180" y="726"/>
                    <a:pt x="1180" y="726"/>
                  </a:cubicBezTo>
                  <a:cubicBezTo>
                    <a:pt x="1180" y="725"/>
                    <a:pt x="1178" y="724"/>
                    <a:pt x="1178" y="723"/>
                  </a:cubicBezTo>
                  <a:cubicBezTo>
                    <a:pt x="1178" y="721"/>
                    <a:pt x="1176" y="721"/>
                    <a:pt x="1175" y="721"/>
                  </a:cubicBezTo>
                  <a:cubicBezTo>
                    <a:pt x="1175" y="721"/>
                    <a:pt x="1175" y="721"/>
                    <a:pt x="1175" y="721"/>
                  </a:cubicBezTo>
                  <a:cubicBezTo>
                    <a:pt x="1175" y="721"/>
                    <a:pt x="1174" y="721"/>
                    <a:pt x="1174" y="721"/>
                  </a:cubicBezTo>
                  <a:cubicBezTo>
                    <a:pt x="1174" y="721"/>
                    <a:pt x="1174" y="721"/>
                    <a:pt x="1173" y="721"/>
                  </a:cubicBezTo>
                  <a:cubicBezTo>
                    <a:pt x="1174" y="720"/>
                    <a:pt x="1176" y="716"/>
                    <a:pt x="1178" y="716"/>
                  </a:cubicBezTo>
                  <a:cubicBezTo>
                    <a:pt x="1178" y="716"/>
                    <a:pt x="1179" y="716"/>
                    <a:pt x="1179" y="716"/>
                  </a:cubicBezTo>
                  <a:cubicBezTo>
                    <a:pt x="1180" y="717"/>
                    <a:pt x="1180" y="719"/>
                    <a:pt x="1182" y="719"/>
                  </a:cubicBezTo>
                  <a:cubicBezTo>
                    <a:pt x="1182" y="718"/>
                    <a:pt x="1182" y="716"/>
                    <a:pt x="1183" y="715"/>
                  </a:cubicBezTo>
                  <a:cubicBezTo>
                    <a:pt x="1182" y="716"/>
                    <a:pt x="1184" y="716"/>
                    <a:pt x="1186" y="717"/>
                  </a:cubicBezTo>
                  <a:cubicBezTo>
                    <a:pt x="1186" y="715"/>
                    <a:pt x="1189" y="709"/>
                    <a:pt x="1186" y="708"/>
                  </a:cubicBezTo>
                  <a:cubicBezTo>
                    <a:pt x="1186" y="708"/>
                    <a:pt x="1186" y="708"/>
                    <a:pt x="1185" y="708"/>
                  </a:cubicBezTo>
                  <a:cubicBezTo>
                    <a:pt x="1184" y="708"/>
                    <a:pt x="1181" y="709"/>
                    <a:pt x="1184" y="710"/>
                  </a:cubicBezTo>
                  <a:cubicBezTo>
                    <a:pt x="1183" y="711"/>
                    <a:pt x="1183" y="712"/>
                    <a:pt x="1182" y="712"/>
                  </a:cubicBezTo>
                  <a:cubicBezTo>
                    <a:pt x="1182" y="712"/>
                    <a:pt x="1181" y="711"/>
                    <a:pt x="1180" y="711"/>
                  </a:cubicBezTo>
                  <a:cubicBezTo>
                    <a:pt x="1180" y="711"/>
                    <a:pt x="1180" y="711"/>
                    <a:pt x="1180" y="711"/>
                  </a:cubicBezTo>
                  <a:cubicBezTo>
                    <a:pt x="1179" y="711"/>
                    <a:pt x="1179" y="711"/>
                    <a:pt x="1178" y="711"/>
                  </a:cubicBezTo>
                  <a:cubicBezTo>
                    <a:pt x="1177" y="712"/>
                    <a:pt x="1176" y="712"/>
                    <a:pt x="1176" y="712"/>
                  </a:cubicBezTo>
                  <a:cubicBezTo>
                    <a:pt x="1175" y="712"/>
                    <a:pt x="1175" y="712"/>
                    <a:pt x="1174" y="712"/>
                  </a:cubicBezTo>
                  <a:cubicBezTo>
                    <a:pt x="1180" y="709"/>
                    <a:pt x="1186" y="706"/>
                    <a:pt x="1191" y="700"/>
                  </a:cubicBezTo>
                  <a:cubicBezTo>
                    <a:pt x="1190" y="701"/>
                    <a:pt x="1189" y="701"/>
                    <a:pt x="1188" y="701"/>
                  </a:cubicBezTo>
                  <a:cubicBezTo>
                    <a:pt x="1186" y="701"/>
                    <a:pt x="1182" y="700"/>
                    <a:pt x="1180" y="698"/>
                  </a:cubicBezTo>
                  <a:cubicBezTo>
                    <a:pt x="1177" y="696"/>
                    <a:pt x="1173" y="690"/>
                    <a:pt x="1168" y="690"/>
                  </a:cubicBezTo>
                  <a:cubicBezTo>
                    <a:pt x="1168" y="690"/>
                    <a:pt x="1167" y="690"/>
                    <a:pt x="1167" y="690"/>
                  </a:cubicBezTo>
                  <a:cubicBezTo>
                    <a:pt x="1165" y="690"/>
                    <a:pt x="1163" y="693"/>
                    <a:pt x="1161" y="693"/>
                  </a:cubicBezTo>
                  <a:cubicBezTo>
                    <a:pt x="1159" y="694"/>
                    <a:pt x="1157" y="694"/>
                    <a:pt x="1156" y="694"/>
                  </a:cubicBezTo>
                  <a:cubicBezTo>
                    <a:pt x="1155" y="694"/>
                    <a:pt x="1154" y="694"/>
                    <a:pt x="1154" y="693"/>
                  </a:cubicBezTo>
                  <a:cubicBezTo>
                    <a:pt x="1153" y="692"/>
                    <a:pt x="1153" y="690"/>
                    <a:pt x="1152" y="688"/>
                  </a:cubicBezTo>
                  <a:cubicBezTo>
                    <a:pt x="1153" y="688"/>
                    <a:pt x="1155" y="689"/>
                    <a:pt x="1156" y="689"/>
                  </a:cubicBezTo>
                  <a:cubicBezTo>
                    <a:pt x="1158" y="689"/>
                    <a:pt x="1159" y="688"/>
                    <a:pt x="1160" y="688"/>
                  </a:cubicBezTo>
                  <a:cubicBezTo>
                    <a:pt x="1163" y="685"/>
                    <a:pt x="1166" y="682"/>
                    <a:pt x="1169" y="680"/>
                  </a:cubicBezTo>
                  <a:cubicBezTo>
                    <a:pt x="1171" y="678"/>
                    <a:pt x="1175" y="677"/>
                    <a:pt x="1177" y="676"/>
                  </a:cubicBezTo>
                  <a:cubicBezTo>
                    <a:pt x="1178" y="676"/>
                    <a:pt x="1185" y="674"/>
                    <a:pt x="1185" y="672"/>
                  </a:cubicBezTo>
                  <a:cubicBezTo>
                    <a:pt x="1186" y="670"/>
                    <a:pt x="1183" y="667"/>
                    <a:pt x="1181" y="664"/>
                  </a:cubicBezTo>
                  <a:cubicBezTo>
                    <a:pt x="1181" y="665"/>
                    <a:pt x="1181" y="665"/>
                    <a:pt x="1181" y="665"/>
                  </a:cubicBezTo>
                  <a:cubicBezTo>
                    <a:pt x="1181" y="668"/>
                    <a:pt x="1178" y="671"/>
                    <a:pt x="1174" y="671"/>
                  </a:cubicBezTo>
                  <a:cubicBezTo>
                    <a:pt x="1171" y="671"/>
                    <a:pt x="1168" y="668"/>
                    <a:pt x="1168" y="665"/>
                  </a:cubicBezTo>
                  <a:cubicBezTo>
                    <a:pt x="1168" y="661"/>
                    <a:pt x="1170" y="659"/>
                    <a:pt x="1173" y="658"/>
                  </a:cubicBezTo>
                  <a:cubicBezTo>
                    <a:pt x="1170" y="656"/>
                    <a:pt x="1167" y="652"/>
                    <a:pt x="1164" y="651"/>
                  </a:cubicBezTo>
                  <a:cubicBezTo>
                    <a:pt x="1161" y="650"/>
                    <a:pt x="1159" y="650"/>
                    <a:pt x="1157" y="649"/>
                  </a:cubicBezTo>
                  <a:cubicBezTo>
                    <a:pt x="1156" y="648"/>
                    <a:pt x="1157" y="645"/>
                    <a:pt x="1156" y="645"/>
                  </a:cubicBezTo>
                  <a:cubicBezTo>
                    <a:pt x="1156" y="644"/>
                    <a:pt x="1155" y="644"/>
                    <a:pt x="1155" y="644"/>
                  </a:cubicBezTo>
                  <a:cubicBezTo>
                    <a:pt x="1155" y="644"/>
                    <a:pt x="1155" y="644"/>
                    <a:pt x="1155" y="644"/>
                  </a:cubicBezTo>
                  <a:cubicBezTo>
                    <a:pt x="1155" y="644"/>
                    <a:pt x="1155" y="644"/>
                    <a:pt x="1155" y="644"/>
                  </a:cubicBezTo>
                  <a:cubicBezTo>
                    <a:pt x="1155" y="644"/>
                    <a:pt x="1154" y="644"/>
                    <a:pt x="1154" y="644"/>
                  </a:cubicBezTo>
                  <a:cubicBezTo>
                    <a:pt x="1153" y="643"/>
                    <a:pt x="1153" y="643"/>
                    <a:pt x="1152" y="643"/>
                  </a:cubicBezTo>
                  <a:cubicBezTo>
                    <a:pt x="1151" y="643"/>
                    <a:pt x="1150" y="644"/>
                    <a:pt x="1149" y="644"/>
                  </a:cubicBezTo>
                  <a:cubicBezTo>
                    <a:pt x="1148" y="645"/>
                    <a:pt x="1147" y="645"/>
                    <a:pt x="1146" y="645"/>
                  </a:cubicBezTo>
                  <a:cubicBezTo>
                    <a:pt x="1146" y="645"/>
                    <a:pt x="1146" y="645"/>
                    <a:pt x="1145" y="645"/>
                  </a:cubicBezTo>
                  <a:cubicBezTo>
                    <a:pt x="1146" y="644"/>
                    <a:pt x="1146" y="644"/>
                    <a:pt x="1147" y="643"/>
                  </a:cubicBezTo>
                  <a:cubicBezTo>
                    <a:pt x="1148" y="642"/>
                    <a:pt x="1150" y="641"/>
                    <a:pt x="1152" y="641"/>
                  </a:cubicBezTo>
                  <a:cubicBezTo>
                    <a:pt x="1155" y="641"/>
                    <a:pt x="1158" y="643"/>
                    <a:pt x="1159" y="645"/>
                  </a:cubicBezTo>
                  <a:cubicBezTo>
                    <a:pt x="1161" y="646"/>
                    <a:pt x="1161" y="648"/>
                    <a:pt x="1163" y="648"/>
                  </a:cubicBezTo>
                  <a:cubicBezTo>
                    <a:pt x="1164" y="648"/>
                    <a:pt x="1164" y="648"/>
                    <a:pt x="1164" y="648"/>
                  </a:cubicBezTo>
                  <a:cubicBezTo>
                    <a:pt x="1165" y="648"/>
                    <a:pt x="1166" y="648"/>
                    <a:pt x="1167" y="648"/>
                  </a:cubicBezTo>
                  <a:cubicBezTo>
                    <a:pt x="1168" y="648"/>
                    <a:pt x="1169" y="648"/>
                    <a:pt x="1170" y="648"/>
                  </a:cubicBezTo>
                  <a:cubicBezTo>
                    <a:pt x="1170" y="648"/>
                    <a:pt x="1170" y="648"/>
                    <a:pt x="1170" y="648"/>
                  </a:cubicBezTo>
                  <a:cubicBezTo>
                    <a:pt x="1175" y="648"/>
                    <a:pt x="1180" y="650"/>
                    <a:pt x="1185" y="651"/>
                  </a:cubicBezTo>
                  <a:cubicBezTo>
                    <a:pt x="1184" y="649"/>
                    <a:pt x="1184" y="646"/>
                    <a:pt x="1182" y="644"/>
                  </a:cubicBezTo>
                  <a:cubicBezTo>
                    <a:pt x="1179" y="642"/>
                    <a:pt x="1175" y="641"/>
                    <a:pt x="1173" y="639"/>
                  </a:cubicBezTo>
                  <a:cubicBezTo>
                    <a:pt x="1171" y="637"/>
                    <a:pt x="1172" y="633"/>
                    <a:pt x="1171" y="631"/>
                  </a:cubicBezTo>
                  <a:cubicBezTo>
                    <a:pt x="1170" y="630"/>
                    <a:pt x="1168" y="630"/>
                    <a:pt x="1166" y="629"/>
                  </a:cubicBezTo>
                  <a:cubicBezTo>
                    <a:pt x="1161" y="627"/>
                    <a:pt x="1160" y="627"/>
                    <a:pt x="1160" y="621"/>
                  </a:cubicBezTo>
                  <a:cubicBezTo>
                    <a:pt x="1160" y="617"/>
                    <a:pt x="1159" y="615"/>
                    <a:pt x="1158" y="611"/>
                  </a:cubicBezTo>
                  <a:cubicBezTo>
                    <a:pt x="1155" y="604"/>
                    <a:pt x="1152" y="598"/>
                    <a:pt x="1149" y="591"/>
                  </a:cubicBezTo>
                  <a:cubicBezTo>
                    <a:pt x="1148" y="587"/>
                    <a:pt x="1147" y="582"/>
                    <a:pt x="1143" y="579"/>
                  </a:cubicBezTo>
                  <a:cubicBezTo>
                    <a:pt x="1142" y="579"/>
                    <a:pt x="1141" y="578"/>
                    <a:pt x="1140" y="577"/>
                  </a:cubicBezTo>
                  <a:cubicBezTo>
                    <a:pt x="1138" y="577"/>
                    <a:pt x="1134" y="576"/>
                    <a:pt x="1133" y="575"/>
                  </a:cubicBezTo>
                  <a:cubicBezTo>
                    <a:pt x="1132" y="574"/>
                    <a:pt x="1126" y="567"/>
                    <a:pt x="1123" y="567"/>
                  </a:cubicBezTo>
                  <a:cubicBezTo>
                    <a:pt x="1122" y="567"/>
                    <a:pt x="1122" y="567"/>
                    <a:pt x="1122" y="567"/>
                  </a:cubicBezTo>
                  <a:cubicBezTo>
                    <a:pt x="1120" y="568"/>
                    <a:pt x="1120" y="568"/>
                    <a:pt x="1119" y="568"/>
                  </a:cubicBezTo>
                  <a:cubicBezTo>
                    <a:pt x="1119" y="568"/>
                    <a:pt x="1119" y="568"/>
                    <a:pt x="1119" y="567"/>
                  </a:cubicBezTo>
                  <a:cubicBezTo>
                    <a:pt x="1118" y="564"/>
                    <a:pt x="1118" y="563"/>
                    <a:pt x="1119" y="561"/>
                  </a:cubicBezTo>
                  <a:cubicBezTo>
                    <a:pt x="1118" y="561"/>
                    <a:pt x="1118" y="561"/>
                    <a:pt x="1118" y="561"/>
                  </a:cubicBezTo>
                  <a:cubicBezTo>
                    <a:pt x="1119" y="560"/>
                    <a:pt x="1119" y="560"/>
                    <a:pt x="1120" y="560"/>
                  </a:cubicBezTo>
                  <a:cubicBezTo>
                    <a:pt x="1124" y="555"/>
                    <a:pt x="1126" y="545"/>
                    <a:pt x="1132" y="544"/>
                  </a:cubicBezTo>
                  <a:cubicBezTo>
                    <a:pt x="1136" y="543"/>
                    <a:pt x="1137" y="542"/>
                    <a:pt x="1139" y="539"/>
                  </a:cubicBezTo>
                  <a:cubicBezTo>
                    <a:pt x="1141" y="536"/>
                    <a:pt x="1143" y="535"/>
                    <a:pt x="1146" y="533"/>
                  </a:cubicBezTo>
                  <a:cubicBezTo>
                    <a:pt x="1144" y="532"/>
                    <a:pt x="1142" y="531"/>
                    <a:pt x="1141" y="529"/>
                  </a:cubicBezTo>
                  <a:cubicBezTo>
                    <a:pt x="1140" y="527"/>
                    <a:pt x="1143" y="525"/>
                    <a:pt x="1145" y="525"/>
                  </a:cubicBezTo>
                  <a:cubicBezTo>
                    <a:pt x="1146" y="525"/>
                    <a:pt x="1146" y="526"/>
                    <a:pt x="1146" y="526"/>
                  </a:cubicBezTo>
                  <a:cubicBezTo>
                    <a:pt x="1147" y="526"/>
                    <a:pt x="1147" y="528"/>
                    <a:pt x="1147" y="529"/>
                  </a:cubicBezTo>
                  <a:cubicBezTo>
                    <a:pt x="1147" y="530"/>
                    <a:pt x="1147" y="531"/>
                    <a:pt x="1148" y="531"/>
                  </a:cubicBezTo>
                  <a:cubicBezTo>
                    <a:pt x="1148" y="531"/>
                    <a:pt x="1149" y="531"/>
                    <a:pt x="1150" y="531"/>
                  </a:cubicBezTo>
                  <a:cubicBezTo>
                    <a:pt x="1153" y="530"/>
                    <a:pt x="1155" y="530"/>
                    <a:pt x="1155" y="527"/>
                  </a:cubicBezTo>
                  <a:cubicBezTo>
                    <a:pt x="1155" y="527"/>
                    <a:pt x="1155" y="526"/>
                    <a:pt x="1155" y="525"/>
                  </a:cubicBezTo>
                  <a:cubicBezTo>
                    <a:pt x="1154" y="523"/>
                    <a:pt x="1156" y="523"/>
                    <a:pt x="1159" y="521"/>
                  </a:cubicBezTo>
                  <a:cubicBezTo>
                    <a:pt x="1160" y="520"/>
                    <a:pt x="1162" y="520"/>
                    <a:pt x="1162" y="517"/>
                  </a:cubicBezTo>
                  <a:cubicBezTo>
                    <a:pt x="1162" y="517"/>
                    <a:pt x="1162" y="517"/>
                    <a:pt x="1162" y="517"/>
                  </a:cubicBezTo>
                  <a:cubicBezTo>
                    <a:pt x="1161" y="517"/>
                    <a:pt x="1161" y="517"/>
                    <a:pt x="1160" y="517"/>
                  </a:cubicBezTo>
                  <a:cubicBezTo>
                    <a:pt x="1160" y="516"/>
                    <a:pt x="1159" y="516"/>
                    <a:pt x="1158" y="516"/>
                  </a:cubicBezTo>
                  <a:cubicBezTo>
                    <a:pt x="1158" y="516"/>
                    <a:pt x="1157" y="516"/>
                    <a:pt x="1157" y="516"/>
                  </a:cubicBezTo>
                  <a:cubicBezTo>
                    <a:pt x="1158" y="515"/>
                    <a:pt x="1159" y="515"/>
                    <a:pt x="1159" y="515"/>
                  </a:cubicBezTo>
                  <a:cubicBezTo>
                    <a:pt x="1160" y="515"/>
                    <a:pt x="1161" y="515"/>
                    <a:pt x="1162" y="515"/>
                  </a:cubicBezTo>
                  <a:cubicBezTo>
                    <a:pt x="1162" y="515"/>
                    <a:pt x="1163" y="515"/>
                    <a:pt x="1164" y="515"/>
                  </a:cubicBezTo>
                  <a:cubicBezTo>
                    <a:pt x="1164" y="515"/>
                    <a:pt x="1165" y="515"/>
                    <a:pt x="1165" y="515"/>
                  </a:cubicBezTo>
                  <a:cubicBezTo>
                    <a:pt x="1168" y="514"/>
                    <a:pt x="1171" y="512"/>
                    <a:pt x="1175" y="511"/>
                  </a:cubicBezTo>
                  <a:cubicBezTo>
                    <a:pt x="1180" y="508"/>
                    <a:pt x="1186" y="506"/>
                    <a:pt x="1192" y="504"/>
                  </a:cubicBezTo>
                  <a:cubicBezTo>
                    <a:pt x="1192" y="508"/>
                    <a:pt x="1193" y="509"/>
                    <a:pt x="1195" y="509"/>
                  </a:cubicBezTo>
                  <a:cubicBezTo>
                    <a:pt x="1196" y="509"/>
                    <a:pt x="1197" y="509"/>
                    <a:pt x="1198" y="509"/>
                  </a:cubicBezTo>
                  <a:cubicBezTo>
                    <a:pt x="1201" y="507"/>
                    <a:pt x="1200" y="507"/>
                    <a:pt x="1201" y="504"/>
                  </a:cubicBezTo>
                  <a:cubicBezTo>
                    <a:pt x="1201" y="504"/>
                    <a:pt x="1201" y="504"/>
                    <a:pt x="1201" y="504"/>
                  </a:cubicBezTo>
                  <a:cubicBezTo>
                    <a:pt x="1201" y="504"/>
                    <a:pt x="1200" y="504"/>
                    <a:pt x="1199" y="504"/>
                  </a:cubicBezTo>
                  <a:cubicBezTo>
                    <a:pt x="1199" y="504"/>
                    <a:pt x="1198" y="504"/>
                    <a:pt x="1198" y="504"/>
                  </a:cubicBezTo>
                  <a:cubicBezTo>
                    <a:pt x="1198" y="504"/>
                    <a:pt x="1198" y="504"/>
                    <a:pt x="1198" y="503"/>
                  </a:cubicBezTo>
                  <a:cubicBezTo>
                    <a:pt x="1200" y="502"/>
                    <a:pt x="1207" y="495"/>
                    <a:pt x="1204" y="493"/>
                  </a:cubicBezTo>
                  <a:cubicBezTo>
                    <a:pt x="1204" y="493"/>
                    <a:pt x="1203" y="493"/>
                    <a:pt x="1203" y="493"/>
                  </a:cubicBezTo>
                  <a:cubicBezTo>
                    <a:pt x="1202" y="493"/>
                    <a:pt x="1200" y="493"/>
                    <a:pt x="1200" y="493"/>
                  </a:cubicBezTo>
                  <a:cubicBezTo>
                    <a:pt x="1200" y="493"/>
                    <a:pt x="1199" y="493"/>
                    <a:pt x="1199" y="493"/>
                  </a:cubicBezTo>
                  <a:cubicBezTo>
                    <a:pt x="1198" y="493"/>
                    <a:pt x="1198" y="493"/>
                    <a:pt x="1197" y="493"/>
                  </a:cubicBezTo>
                  <a:cubicBezTo>
                    <a:pt x="1194" y="492"/>
                    <a:pt x="1192" y="490"/>
                    <a:pt x="1189" y="489"/>
                  </a:cubicBezTo>
                  <a:cubicBezTo>
                    <a:pt x="1188" y="490"/>
                    <a:pt x="1187" y="491"/>
                    <a:pt x="1187" y="493"/>
                  </a:cubicBezTo>
                  <a:cubicBezTo>
                    <a:pt x="1186" y="492"/>
                    <a:pt x="1186" y="491"/>
                    <a:pt x="1184" y="491"/>
                  </a:cubicBezTo>
                  <a:cubicBezTo>
                    <a:pt x="1183" y="491"/>
                    <a:pt x="1182" y="492"/>
                    <a:pt x="1181" y="492"/>
                  </a:cubicBezTo>
                  <a:cubicBezTo>
                    <a:pt x="1180" y="492"/>
                    <a:pt x="1179" y="492"/>
                    <a:pt x="1178" y="492"/>
                  </a:cubicBezTo>
                  <a:cubicBezTo>
                    <a:pt x="1177" y="492"/>
                    <a:pt x="1177" y="492"/>
                    <a:pt x="1177" y="492"/>
                  </a:cubicBezTo>
                  <a:cubicBezTo>
                    <a:pt x="1174" y="492"/>
                    <a:pt x="1169" y="489"/>
                    <a:pt x="1167" y="488"/>
                  </a:cubicBezTo>
                  <a:cubicBezTo>
                    <a:pt x="1164" y="486"/>
                    <a:pt x="1161" y="484"/>
                    <a:pt x="1158" y="482"/>
                  </a:cubicBezTo>
                  <a:cubicBezTo>
                    <a:pt x="1158" y="481"/>
                    <a:pt x="1157" y="481"/>
                    <a:pt x="1157" y="481"/>
                  </a:cubicBezTo>
                  <a:cubicBezTo>
                    <a:pt x="1155" y="481"/>
                    <a:pt x="1153" y="483"/>
                    <a:pt x="1151" y="483"/>
                  </a:cubicBezTo>
                  <a:cubicBezTo>
                    <a:pt x="1147" y="484"/>
                    <a:pt x="1144" y="484"/>
                    <a:pt x="1144" y="488"/>
                  </a:cubicBezTo>
                  <a:cubicBezTo>
                    <a:pt x="1145" y="490"/>
                    <a:pt x="1140" y="493"/>
                    <a:pt x="1138" y="494"/>
                  </a:cubicBezTo>
                  <a:cubicBezTo>
                    <a:pt x="1136" y="495"/>
                    <a:pt x="1131" y="500"/>
                    <a:pt x="1128" y="501"/>
                  </a:cubicBezTo>
                  <a:cubicBezTo>
                    <a:pt x="1128" y="501"/>
                    <a:pt x="1128" y="501"/>
                    <a:pt x="1127" y="501"/>
                  </a:cubicBezTo>
                  <a:cubicBezTo>
                    <a:pt x="1125" y="501"/>
                    <a:pt x="1120" y="498"/>
                    <a:pt x="1117" y="497"/>
                  </a:cubicBezTo>
                  <a:cubicBezTo>
                    <a:pt x="1113" y="496"/>
                    <a:pt x="1113" y="496"/>
                    <a:pt x="1114" y="492"/>
                  </a:cubicBezTo>
                  <a:cubicBezTo>
                    <a:pt x="1114" y="488"/>
                    <a:pt x="1116" y="485"/>
                    <a:pt x="1116" y="481"/>
                  </a:cubicBezTo>
                  <a:cubicBezTo>
                    <a:pt x="1116" y="478"/>
                    <a:pt x="1114" y="472"/>
                    <a:pt x="1110" y="471"/>
                  </a:cubicBezTo>
                  <a:cubicBezTo>
                    <a:pt x="1109" y="471"/>
                    <a:pt x="1108" y="471"/>
                    <a:pt x="1107" y="471"/>
                  </a:cubicBezTo>
                  <a:cubicBezTo>
                    <a:pt x="1106" y="471"/>
                    <a:pt x="1105" y="471"/>
                    <a:pt x="1105" y="471"/>
                  </a:cubicBezTo>
                  <a:cubicBezTo>
                    <a:pt x="1104" y="472"/>
                    <a:pt x="1106" y="473"/>
                    <a:pt x="1105" y="474"/>
                  </a:cubicBezTo>
                  <a:cubicBezTo>
                    <a:pt x="1105" y="475"/>
                    <a:pt x="1104" y="475"/>
                    <a:pt x="1104" y="476"/>
                  </a:cubicBezTo>
                  <a:cubicBezTo>
                    <a:pt x="1102" y="474"/>
                    <a:pt x="1101" y="473"/>
                    <a:pt x="1099" y="472"/>
                  </a:cubicBezTo>
                  <a:cubicBezTo>
                    <a:pt x="1099" y="472"/>
                    <a:pt x="1099" y="472"/>
                    <a:pt x="1099" y="472"/>
                  </a:cubicBezTo>
                  <a:cubicBezTo>
                    <a:pt x="1098" y="472"/>
                    <a:pt x="1098" y="472"/>
                    <a:pt x="1098" y="472"/>
                  </a:cubicBezTo>
                  <a:cubicBezTo>
                    <a:pt x="1097" y="472"/>
                    <a:pt x="1097" y="473"/>
                    <a:pt x="1097" y="473"/>
                  </a:cubicBezTo>
                  <a:cubicBezTo>
                    <a:pt x="1096" y="473"/>
                    <a:pt x="1096" y="472"/>
                    <a:pt x="1095" y="472"/>
                  </a:cubicBezTo>
                  <a:cubicBezTo>
                    <a:pt x="1093" y="471"/>
                    <a:pt x="1090" y="470"/>
                    <a:pt x="1088" y="469"/>
                  </a:cubicBezTo>
                  <a:cubicBezTo>
                    <a:pt x="1084" y="468"/>
                    <a:pt x="1077" y="461"/>
                    <a:pt x="1078" y="458"/>
                  </a:cubicBezTo>
                  <a:cubicBezTo>
                    <a:pt x="1079" y="454"/>
                    <a:pt x="1080" y="447"/>
                    <a:pt x="1083" y="444"/>
                  </a:cubicBezTo>
                  <a:cubicBezTo>
                    <a:pt x="1084" y="443"/>
                    <a:pt x="1085" y="442"/>
                    <a:pt x="1086" y="442"/>
                  </a:cubicBezTo>
                  <a:cubicBezTo>
                    <a:pt x="1087" y="442"/>
                    <a:pt x="1087" y="442"/>
                    <a:pt x="1088" y="442"/>
                  </a:cubicBezTo>
                  <a:cubicBezTo>
                    <a:pt x="1092" y="442"/>
                    <a:pt x="1093" y="446"/>
                    <a:pt x="1097" y="446"/>
                  </a:cubicBezTo>
                  <a:cubicBezTo>
                    <a:pt x="1098" y="446"/>
                    <a:pt x="1098" y="446"/>
                    <a:pt x="1098" y="446"/>
                  </a:cubicBezTo>
                  <a:cubicBezTo>
                    <a:pt x="1100" y="446"/>
                    <a:pt x="1103" y="445"/>
                    <a:pt x="1105" y="445"/>
                  </a:cubicBezTo>
                  <a:cubicBezTo>
                    <a:pt x="1107" y="444"/>
                    <a:pt x="1111" y="445"/>
                    <a:pt x="1113" y="443"/>
                  </a:cubicBezTo>
                  <a:cubicBezTo>
                    <a:pt x="1114" y="442"/>
                    <a:pt x="1115" y="441"/>
                    <a:pt x="1115" y="440"/>
                  </a:cubicBezTo>
                  <a:cubicBezTo>
                    <a:pt x="1117" y="438"/>
                    <a:pt x="1120" y="436"/>
                    <a:pt x="1121" y="432"/>
                  </a:cubicBezTo>
                  <a:cubicBezTo>
                    <a:pt x="1122" y="427"/>
                    <a:pt x="1124" y="422"/>
                    <a:pt x="1130" y="421"/>
                  </a:cubicBezTo>
                  <a:cubicBezTo>
                    <a:pt x="1137" y="418"/>
                    <a:pt x="1143" y="415"/>
                    <a:pt x="1149" y="411"/>
                  </a:cubicBezTo>
                  <a:cubicBezTo>
                    <a:pt x="1154" y="408"/>
                    <a:pt x="1157" y="401"/>
                    <a:pt x="1162" y="397"/>
                  </a:cubicBezTo>
                  <a:cubicBezTo>
                    <a:pt x="1164" y="394"/>
                    <a:pt x="1165" y="393"/>
                    <a:pt x="1168" y="393"/>
                  </a:cubicBezTo>
                  <a:cubicBezTo>
                    <a:pt x="1169" y="393"/>
                    <a:pt x="1170" y="393"/>
                    <a:pt x="1171" y="394"/>
                  </a:cubicBezTo>
                  <a:cubicBezTo>
                    <a:pt x="1172" y="394"/>
                    <a:pt x="1174" y="394"/>
                    <a:pt x="1175" y="394"/>
                  </a:cubicBezTo>
                  <a:cubicBezTo>
                    <a:pt x="1177" y="394"/>
                    <a:pt x="1179" y="394"/>
                    <a:pt x="1181" y="393"/>
                  </a:cubicBezTo>
                  <a:cubicBezTo>
                    <a:pt x="1183" y="392"/>
                    <a:pt x="1182" y="390"/>
                    <a:pt x="1184" y="390"/>
                  </a:cubicBezTo>
                  <a:cubicBezTo>
                    <a:pt x="1184" y="393"/>
                    <a:pt x="1183" y="394"/>
                    <a:pt x="1187" y="396"/>
                  </a:cubicBezTo>
                  <a:cubicBezTo>
                    <a:pt x="1190" y="398"/>
                    <a:pt x="1192" y="398"/>
                    <a:pt x="1194" y="402"/>
                  </a:cubicBezTo>
                  <a:cubicBezTo>
                    <a:pt x="1194" y="403"/>
                    <a:pt x="1195" y="403"/>
                    <a:pt x="1195" y="403"/>
                  </a:cubicBezTo>
                  <a:cubicBezTo>
                    <a:pt x="1195" y="405"/>
                    <a:pt x="1193" y="407"/>
                    <a:pt x="1192" y="408"/>
                  </a:cubicBezTo>
                  <a:cubicBezTo>
                    <a:pt x="1190" y="411"/>
                    <a:pt x="1188" y="414"/>
                    <a:pt x="1185" y="417"/>
                  </a:cubicBezTo>
                  <a:cubicBezTo>
                    <a:pt x="1183" y="419"/>
                    <a:pt x="1183" y="420"/>
                    <a:pt x="1181" y="421"/>
                  </a:cubicBezTo>
                  <a:cubicBezTo>
                    <a:pt x="1179" y="422"/>
                    <a:pt x="1176" y="422"/>
                    <a:pt x="1175" y="424"/>
                  </a:cubicBezTo>
                  <a:cubicBezTo>
                    <a:pt x="1174" y="426"/>
                    <a:pt x="1175" y="428"/>
                    <a:pt x="1174" y="430"/>
                  </a:cubicBezTo>
                  <a:cubicBezTo>
                    <a:pt x="1173" y="430"/>
                    <a:pt x="1172" y="430"/>
                    <a:pt x="1172" y="430"/>
                  </a:cubicBezTo>
                  <a:cubicBezTo>
                    <a:pt x="1171" y="431"/>
                    <a:pt x="1170" y="431"/>
                    <a:pt x="1169" y="432"/>
                  </a:cubicBezTo>
                  <a:cubicBezTo>
                    <a:pt x="1172" y="435"/>
                    <a:pt x="1175" y="436"/>
                    <a:pt x="1178" y="436"/>
                  </a:cubicBezTo>
                  <a:cubicBezTo>
                    <a:pt x="1181" y="436"/>
                    <a:pt x="1183" y="436"/>
                    <a:pt x="1186" y="436"/>
                  </a:cubicBezTo>
                  <a:cubicBezTo>
                    <a:pt x="1185" y="436"/>
                    <a:pt x="1179" y="438"/>
                    <a:pt x="1178" y="440"/>
                  </a:cubicBezTo>
                  <a:cubicBezTo>
                    <a:pt x="1178" y="441"/>
                    <a:pt x="1179" y="442"/>
                    <a:pt x="1180" y="443"/>
                  </a:cubicBezTo>
                  <a:cubicBezTo>
                    <a:pt x="1180" y="446"/>
                    <a:pt x="1175" y="445"/>
                    <a:pt x="1173" y="446"/>
                  </a:cubicBezTo>
                  <a:cubicBezTo>
                    <a:pt x="1171" y="447"/>
                    <a:pt x="1170" y="448"/>
                    <a:pt x="1168" y="449"/>
                  </a:cubicBezTo>
                  <a:cubicBezTo>
                    <a:pt x="1168" y="449"/>
                    <a:pt x="1168" y="449"/>
                    <a:pt x="1168" y="449"/>
                  </a:cubicBezTo>
                  <a:cubicBezTo>
                    <a:pt x="1168" y="449"/>
                    <a:pt x="1168" y="449"/>
                    <a:pt x="1167" y="449"/>
                  </a:cubicBezTo>
                  <a:cubicBezTo>
                    <a:pt x="1167" y="449"/>
                    <a:pt x="1167" y="449"/>
                    <a:pt x="1167" y="449"/>
                  </a:cubicBezTo>
                  <a:cubicBezTo>
                    <a:pt x="1166" y="449"/>
                    <a:pt x="1166" y="449"/>
                    <a:pt x="1166" y="449"/>
                  </a:cubicBezTo>
                  <a:cubicBezTo>
                    <a:pt x="1165" y="450"/>
                    <a:pt x="1167" y="454"/>
                    <a:pt x="1168" y="455"/>
                  </a:cubicBezTo>
                  <a:cubicBezTo>
                    <a:pt x="1177" y="449"/>
                    <a:pt x="1186" y="443"/>
                    <a:pt x="1195" y="437"/>
                  </a:cubicBezTo>
                  <a:cubicBezTo>
                    <a:pt x="1199" y="435"/>
                    <a:pt x="1203" y="433"/>
                    <a:pt x="1207" y="430"/>
                  </a:cubicBezTo>
                  <a:cubicBezTo>
                    <a:pt x="1210" y="428"/>
                    <a:pt x="1214" y="426"/>
                    <a:pt x="1217" y="425"/>
                  </a:cubicBezTo>
                  <a:cubicBezTo>
                    <a:pt x="1219" y="424"/>
                    <a:pt x="1220" y="424"/>
                    <a:pt x="1222" y="424"/>
                  </a:cubicBezTo>
                  <a:cubicBezTo>
                    <a:pt x="1222" y="424"/>
                    <a:pt x="1223" y="424"/>
                    <a:pt x="1223" y="424"/>
                  </a:cubicBezTo>
                  <a:cubicBezTo>
                    <a:pt x="1224" y="424"/>
                    <a:pt x="1224" y="424"/>
                    <a:pt x="1225" y="424"/>
                  </a:cubicBezTo>
                  <a:cubicBezTo>
                    <a:pt x="1225" y="424"/>
                    <a:pt x="1226" y="424"/>
                    <a:pt x="1226" y="424"/>
                  </a:cubicBezTo>
                  <a:cubicBezTo>
                    <a:pt x="1230" y="424"/>
                    <a:pt x="1234" y="424"/>
                    <a:pt x="1238" y="424"/>
                  </a:cubicBezTo>
                  <a:cubicBezTo>
                    <a:pt x="1241" y="423"/>
                    <a:pt x="1242" y="421"/>
                    <a:pt x="1244" y="418"/>
                  </a:cubicBezTo>
                  <a:cubicBezTo>
                    <a:pt x="1242" y="418"/>
                    <a:pt x="1242" y="418"/>
                    <a:pt x="1242" y="418"/>
                  </a:cubicBezTo>
                  <a:cubicBezTo>
                    <a:pt x="1243" y="416"/>
                    <a:pt x="1243" y="416"/>
                    <a:pt x="1243" y="416"/>
                  </a:cubicBezTo>
                  <a:cubicBezTo>
                    <a:pt x="1244" y="415"/>
                    <a:pt x="1245" y="413"/>
                    <a:pt x="1245" y="413"/>
                  </a:cubicBezTo>
                  <a:cubicBezTo>
                    <a:pt x="1246" y="412"/>
                    <a:pt x="1246" y="412"/>
                    <a:pt x="1246" y="412"/>
                  </a:cubicBezTo>
                  <a:cubicBezTo>
                    <a:pt x="1251" y="409"/>
                    <a:pt x="1251" y="409"/>
                    <a:pt x="1251" y="409"/>
                  </a:cubicBezTo>
                  <a:cubicBezTo>
                    <a:pt x="1257" y="405"/>
                    <a:pt x="1263" y="402"/>
                    <a:pt x="1269" y="398"/>
                  </a:cubicBezTo>
                  <a:cubicBezTo>
                    <a:pt x="1270" y="397"/>
                    <a:pt x="1272" y="395"/>
                    <a:pt x="1273" y="394"/>
                  </a:cubicBezTo>
                  <a:cubicBezTo>
                    <a:pt x="1275" y="393"/>
                    <a:pt x="1275" y="393"/>
                    <a:pt x="1275" y="393"/>
                  </a:cubicBezTo>
                  <a:cubicBezTo>
                    <a:pt x="1277" y="391"/>
                    <a:pt x="1279" y="391"/>
                    <a:pt x="1281" y="390"/>
                  </a:cubicBezTo>
                  <a:cubicBezTo>
                    <a:pt x="1282" y="390"/>
                    <a:pt x="1283" y="390"/>
                    <a:pt x="1284" y="390"/>
                  </a:cubicBezTo>
                  <a:cubicBezTo>
                    <a:pt x="1285" y="389"/>
                    <a:pt x="1285" y="389"/>
                    <a:pt x="1285" y="389"/>
                  </a:cubicBezTo>
                  <a:cubicBezTo>
                    <a:pt x="1285" y="389"/>
                    <a:pt x="1285" y="389"/>
                    <a:pt x="1286" y="387"/>
                  </a:cubicBezTo>
                  <a:cubicBezTo>
                    <a:pt x="1287" y="387"/>
                    <a:pt x="1288" y="386"/>
                    <a:pt x="1288" y="385"/>
                  </a:cubicBezTo>
                  <a:cubicBezTo>
                    <a:pt x="1292" y="381"/>
                    <a:pt x="1296" y="376"/>
                    <a:pt x="1299" y="370"/>
                  </a:cubicBezTo>
                  <a:cubicBezTo>
                    <a:pt x="1299" y="369"/>
                    <a:pt x="1301" y="367"/>
                    <a:pt x="1302" y="366"/>
                  </a:cubicBezTo>
                  <a:cubicBezTo>
                    <a:pt x="1298" y="361"/>
                    <a:pt x="1298" y="361"/>
                    <a:pt x="1298" y="361"/>
                  </a:cubicBezTo>
                  <a:cubicBezTo>
                    <a:pt x="1303" y="365"/>
                    <a:pt x="1303" y="365"/>
                    <a:pt x="1303" y="365"/>
                  </a:cubicBezTo>
                  <a:cubicBezTo>
                    <a:pt x="1304" y="365"/>
                    <a:pt x="1304" y="365"/>
                    <a:pt x="1304" y="365"/>
                  </a:cubicBezTo>
                  <a:cubicBezTo>
                    <a:pt x="1305" y="364"/>
                    <a:pt x="1305" y="364"/>
                    <a:pt x="1305" y="364"/>
                  </a:cubicBezTo>
                  <a:cubicBezTo>
                    <a:pt x="1306" y="364"/>
                    <a:pt x="1307" y="363"/>
                    <a:pt x="1308" y="363"/>
                  </a:cubicBezTo>
                  <a:cubicBezTo>
                    <a:pt x="1308" y="363"/>
                    <a:pt x="1308" y="363"/>
                    <a:pt x="1308" y="363"/>
                  </a:cubicBezTo>
                  <a:cubicBezTo>
                    <a:pt x="1309" y="363"/>
                    <a:pt x="1309" y="363"/>
                    <a:pt x="1309" y="363"/>
                  </a:cubicBezTo>
                  <a:cubicBezTo>
                    <a:pt x="1309" y="364"/>
                    <a:pt x="1310" y="364"/>
                    <a:pt x="1311" y="364"/>
                  </a:cubicBezTo>
                  <a:cubicBezTo>
                    <a:pt x="1311" y="364"/>
                    <a:pt x="1311" y="364"/>
                    <a:pt x="1311" y="364"/>
                  </a:cubicBezTo>
                  <a:cubicBezTo>
                    <a:pt x="1313" y="366"/>
                    <a:pt x="1314" y="367"/>
                    <a:pt x="1316" y="369"/>
                  </a:cubicBezTo>
                  <a:cubicBezTo>
                    <a:pt x="1317" y="370"/>
                    <a:pt x="1317" y="371"/>
                    <a:pt x="1319" y="372"/>
                  </a:cubicBezTo>
                  <a:cubicBezTo>
                    <a:pt x="1319" y="373"/>
                    <a:pt x="1319" y="373"/>
                    <a:pt x="1319" y="373"/>
                  </a:cubicBezTo>
                  <a:cubicBezTo>
                    <a:pt x="1321" y="374"/>
                    <a:pt x="1326" y="374"/>
                    <a:pt x="1329" y="374"/>
                  </a:cubicBezTo>
                  <a:cubicBezTo>
                    <a:pt x="1331" y="374"/>
                    <a:pt x="1331" y="374"/>
                    <a:pt x="1331" y="374"/>
                  </a:cubicBezTo>
                  <a:cubicBezTo>
                    <a:pt x="1333" y="375"/>
                    <a:pt x="1335" y="375"/>
                    <a:pt x="1336" y="375"/>
                  </a:cubicBezTo>
                  <a:cubicBezTo>
                    <a:pt x="1337" y="375"/>
                    <a:pt x="1337" y="375"/>
                    <a:pt x="1337" y="375"/>
                  </a:cubicBezTo>
                  <a:cubicBezTo>
                    <a:pt x="1338" y="375"/>
                    <a:pt x="1338" y="375"/>
                    <a:pt x="1338" y="375"/>
                  </a:cubicBezTo>
                  <a:cubicBezTo>
                    <a:pt x="1339" y="374"/>
                    <a:pt x="1339" y="374"/>
                    <a:pt x="1339" y="374"/>
                  </a:cubicBezTo>
                  <a:cubicBezTo>
                    <a:pt x="1339" y="374"/>
                    <a:pt x="1339" y="374"/>
                    <a:pt x="1339" y="373"/>
                  </a:cubicBezTo>
                  <a:cubicBezTo>
                    <a:pt x="1340" y="373"/>
                    <a:pt x="1340" y="373"/>
                    <a:pt x="1340" y="373"/>
                  </a:cubicBezTo>
                  <a:cubicBezTo>
                    <a:pt x="1339" y="372"/>
                    <a:pt x="1339" y="372"/>
                    <a:pt x="1339" y="372"/>
                  </a:cubicBezTo>
                  <a:cubicBezTo>
                    <a:pt x="1338" y="371"/>
                    <a:pt x="1338" y="371"/>
                    <a:pt x="1338" y="371"/>
                  </a:cubicBezTo>
                  <a:cubicBezTo>
                    <a:pt x="1335" y="368"/>
                    <a:pt x="1334" y="365"/>
                    <a:pt x="1334" y="361"/>
                  </a:cubicBezTo>
                  <a:cubicBezTo>
                    <a:pt x="1333" y="358"/>
                    <a:pt x="1333" y="358"/>
                    <a:pt x="1333" y="358"/>
                  </a:cubicBezTo>
                  <a:cubicBezTo>
                    <a:pt x="1348" y="356"/>
                    <a:pt x="1348" y="356"/>
                    <a:pt x="1348" y="356"/>
                  </a:cubicBezTo>
                  <a:cubicBezTo>
                    <a:pt x="1349" y="356"/>
                    <a:pt x="1351" y="355"/>
                    <a:pt x="1352" y="355"/>
                  </a:cubicBezTo>
                  <a:cubicBezTo>
                    <a:pt x="1355" y="355"/>
                    <a:pt x="1358" y="355"/>
                    <a:pt x="1359" y="354"/>
                  </a:cubicBezTo>
                  <a:cubicBezTo>
                    <a:pt x="1359" y="354"/>
                    <a:pt x="1361" y="353"/>
                    <a:pt x="1362" y="352"/>
                  </a:cubicBezTo>
                  <a:cubicBezTo>
                    <a:pt x="1361" y="351"/>
                    <a:pt x="1361" y="351"/>
                    <a:pt x="1361" y="351"/>
                  </a:cubicBezTo>
                  <a:cubicBezTo>
                    <a:pt x="1362" y="349"/>
                    <a:pt x="1362" y="349"/>
                    <a:pt x="1362" y="349"/>
                  </a:cubicBezTo>
                  <a:cubicBezTo>
                    <a:pt x="1364" y="347"/>
                    <a:pt x="1366" y="345"/>
                    <a:pt x="1370" y="343"/>
                  </a:cubicBezTo>
                  <a:cubicBezTo>
                    <a:pt x="1370" y="343"/>
                    <a:pt x="1370" y="343"/>
                    <a:pt x="1370" y="343"/>
                  </a:cubicBezTo>
                  <a:cubicBezTo>
                    <a:pt x="1373" y="342"/>
                    <a:pt x="1374" y="342"/>
                    <a:pt x="1375" y="341"/>
                  </a:cubicBezTo>
                  <a:cubicBezTo>
                    <a:pt x="1376" y="341"/>
                    <a:pt x="1376" y="341"/>
                    <a:pt x="1376" y="341"/>
                  </a:cubicBezTo>
                  <a:cubicBezTo>
                    <a:pt x="1376" y="341"/>
                    <a:pt x="1376" y="340"/>
                    <a:pt x="1376" y="340"/>
                  </a:cubicBezTo>
                  <a:cubicBezTo>
                    <a:pt x="1376" y="339"/>
                    <a:pt x="1376" y="339"/>
                    <a:pt x="1376" y="339"/>
                  </a:cubicBezTo>
                  <a:cubicBezTo>
                    <a:pt x="1377" y="336"/>
                    <a:pt x="1377" y="332"/>
                    <a:pt x="1379" y="329"/>
                  </a:cubicBezTo>
                  <a:cubicBezTo>
                    <a:pt x="1380" y="328"/>
                    <a:pt x="1380" y="328"/>
                    <a:pt x="1380" y="328"/>
                  </a:cubicBezTo>
                  <a:cubicBezTo>
                    <a:pt x="1381" y="327"/>
                    <a:pt x="1382" y="327"/>
                    <a:pt x="1383" y="327"/>
                  </a:cubicBezTo>
                  <a:cubicBezTo>
                    <a:pt x="1384" y="327"/>
                    <a:pt x="1385" y="327"/>
                    <a:pt x="1386" y="328"/>
                  </a:cubicBezTo>
                  <a:cubicBezTo>
                    <a:pt x="1387" y="328"/>
                    <a:pt x="1391" y="329"/>
                    <a:pt x="1392" y="331"/>
                  </a:cubicBezTo>
                  <a:cubicBezTo>
                    <a:pt x="1393" y="333"/>
                    <a:pt x="1394" y="334"/>
                    <a:pt x="1394" y="336"/>
                  </a:cubicBezTo>
                  <a:cubicBezTo>
                    <a:pt x="1394" y="336"/>
                    <a:pt x="1394" y="336"/>
                    <a:pt x="1394" y="336"/>
                  </a:cubicBezTo>
                  <a:cubicBezTo>
                    <a:pt x="1398" y="333"/>
                    <a:pt x="1402" y="332"/>
                    <a:pt x="1407" y="332"/>
                  </a:cubicBezTo>
                  <a:cubicBezTo>
                    <a:pt x="1409" y="331"/>
                    <a:pt x="1410" y="331"/>
                    <a:pt x="1411" y="327"/>
                  </a:cubicBezTo>
                  <a:cubicBezTo>
                    <a:pt x="1411" y="325"/>
                    <a:pt x="1411" y="325"/>
                    <a:pt x="1411" y="325"/>
                  </a:cubicBezTo>
                  <a:cubicBezTo>
                    <a:pt x="1412" y="322"/>
                    <a:pt x="1413" y="318"/>
                    <a:pt x="1413" y="315"/>
                  </a:cubicBezTo>
                  <a:cubicBezTo>
                    <a:pt x="1413" y="314"/>
                    <a:pt x="1413" y="313"/>
                    <a:pt x="1413" y="311"/>
                  </a:cubicBezTo>
                  <a:cubicBezTo>
                    <a:pt x="1413" y="310"/>
                    <a:pt x="1413" y="310"/>
                    <a:pt x="1413" y="310"/>
                  </a:cubicBezTo>
                  <a:cubicBezTo>
                    <a:pt x="1412" y="307"/>
                    <a:pt x="1412" y="304"/>
                    <a:pt x="1412" y="300"/>
                  </a:cubicBezTo>
                  <a:cubicBezTo>
                    <a:pt x="1412" y="291"/>
                    <a:pt x="1409" y="283"/>
                    <a:pt x="1406" y="275"/>
                  </a:cubicBezTo>
                  <a:cubicBezTo>
                    <a:pt x="1405" y="272"/>
                    <a:pt x="1405" y="272"/>
                    <a:pt x="1405" y="272"/>
                  </a:cubicBezTo>
                  <a:cubicBezTo>
                    <a:pt x="1408" y="271"/>
                    <a:pt x="1408" y="271"/>
                    <a:pt x="1408" y="271"/>
                  </a:cubicBezTo>
                  <a:cubicBezTo>
                    <a:pt x="1409" y="271"/>
                    <a:pt x="1410" y="271"/>
                    <a:pt x="1412" y="270"/>
                  </a:cubicBezTo>
                  <a:cubicBezTo>
                    <a:pt x="1414" y="270"/>
                    <a:pt x="1418" y="269"/>
                    <a:pt x="1419" y="268"/>
                  </a:cubicBezTo>
                  <a:cubicBezTo>
                    <a:pt x="1420" y="267"/>
                    <a:pt x="1420" y="267"/>
                    <a:pt x="1420" y="267"/>
                  </a:cubicBezTo>
                  <a:cubicBezTo>
                    <a:pt x="1422" y="265"/>
                    <a:pt x="1424" y="264"/>
                    <a:pt x="1425" y="262"/>
                  </a:cubicBezTo>
                  <a:cubicBezTo>
                    <a:pt x="1426" y="260"/>
                    <a:pt x="1426" y="260"/>
                    <a:pt x="1426" y="260"/>
                  </a:cubicBezTo>
                  <a:cubicBezTo>
                    <a:pt x="1427" y="259"/>
                    <a:pt x="1428" y="257"/>
                    <a:pt x="1430" y="257"/>
                  </a:cubicBezTo>
                  <a:cubicBezTo>
                    <a:pt x="1431" y="257"/>
                    <a:pt x="1431" y="257"/>
                    <a:pt x="1431" y="257"/>
                  </a:cubicBezTo>
                  <a:cubicBezTo>
                    <a:pt x="1431" y="257"/>
                    <a:pt x="1431" y="257"/>
                    <a:pt x="1431" y="257"/>
                  </a:cubicBezTo>
                  <a:cubicBezTo>
                    <a:pt x="1432" y="257"/>
                    <a:pt x="1432" y="257"/>
                    <a:pt x="1433" y="257"/>
                  </a:cubicBezTo>
                  <a:cubicBezTo>
                    <a:pt x="1434" y="258"/>
                    <a:pt x="1434" y="259"/>
                    <a:pt x="1435" y="259"/>
                  </a:cubicBezTo>
                  <a:cubicBezTo>
                    <a:pt x="1436" y="260"/>
                    <a:pt x="1436" y="260"/>
                    <a:pt x="1436" y="260"/>
                  </a:cubicBezTo>
                  <a:cubicBezTo>
                    <a:pt x="1436" y="261"/>
                    <a:pt x="1441" y="262"/>
                    <a:pt x="1442" y="262"/>
                  </a:cubicBezTo>
                  <a:cubicBezTo>
                    <a:pt x="1443" y="262"/>
                    <a:pt x="1443" y="262"/>
                    <a:pt x="1443" y="262"/>
                  </a:cubicBezTo>
                  <a:cubicBezTo>
                    <a:pt x="1444" y="262"/>
                    <a:pt x="1445" y="262"/>
                    <a:pt x="1445" y="263"/>
                  </a:cubicBezTo>
                  <a:cubicBezTo>
                    <a:pt x="1446" y="263"/>
                    <a:pt x="1446" y="263"/>
                    <a:pt x="1446" y="263"/>
                  </a:cubicBezTo>
                  <a:cubicBezTo>
                    <a:pt x="1446" y="263"/>
                    <a:pt x="1447" y="263"/>
                    <a:pt x="1448" y="263"/>
                  </a:cubicBezTo>
                  <a:cubicBezTo>
                    <a:pt x="1453" y="265"/>
                    <a:pt x="1454" y="265"/>
                    <a:pt x="1454" y="265"/>
                  </a:cubicBezTo>
                  <a:cubicBezTo>
                    <a:pt x="1454" y="265"/>
                    <a:pt x="1454" y="265"/>
                    <a:pt x="1454" y="265"/>
                  </a:cubicBezTo>
                  <a:cubicBezTo>
                    <a:pt x="1455" y="265"/>
                    <a:pt x="1455" y="265"/>
                    <a:pt x="1455" y="265"/>
                  </a:cubicBezTo>
                  <a:cubicBezTo>
                    <a:pt x="1455" y="265"/>
                    <a:pt x="1455" y="265"/>
                    <a:pt x="1455" y="265"/>
                  </a:cubicBezTo>
                  <a:cubicBezTo>
                    <a:pt x="1456" y="265"/>
                    <a:pt x="1458" y="265"/>
                    <a:pt x="1458" y="264"/>
                  </a:cubicBezTo>
                  <a:cubicBezTo>
                    <a:pt x="1458" y="263"/>
                    <a:pt x="1458" y="263"/>
                    <a:pt x="1458" y="263"/>
                  </a:cubicBezTo>
                  <a:cubicBezTo>
                    <a:pt x="1458" y="261"/>
                    <a:pt x="1458" y="260"/>
                    <a:pt x="1458" y="259"/>
                  </a:cubicBezTo>
                  <a:cubicBezTo>
                    <a:pt x="1459" y="259"/>
                    <a:pt x="1459" y="259"/>
                    <a:pt x="1459" y="259"/>
                  </a:cubicBezTo>
                  <a:cubicBezTo>
                    <a:pt x="1459" y="256"/>
                    <a:pt x="1461" y="254"/>
                    <a:pt x="1462" y="253"/>
                  </a:cubicBezTo>
                  <a:cubicBezTo>
                    <a:pt x="1463" y="252"/>
                    <a:pt x="1463" y="252"/>
                    <a:pt x="1463" y="252"/>
                  </a:cubicBezTo>
                  <a:cubicBezTo>
                    <a:pt x="1465" y="251"/>
                    <a:pt x="1466" y="250"/>
                    <a:pt x="1467" y="249"/>
                  </a:cubicBezTo>
                  <a:cubicBezTo>
                    <a:pt x="1467" y="249"/>
                    <a:pt x="1467" y="249"/>
                    <a:pt x="1467" y="249"/>
                  </a:cubicBezTo>
                  <a:cubicBezTo>
                    <a:pt x="1468" y="249"/>
                    <a:pt x="1468" y="249"/>
                    <a:pt x="1468" y="249"/>
                  </a:cubicBezTo>
                  <a:cubicBezTo>
                    <a:pt x="1468" y="247"/>
                    <a:pt x="1468" y="247"/>
                    <a:pt x="1468" y="247"/>
                  </a:cubicBezTo>
                  <a:cubicBezTo>
                    <a:pt x="1468" y="245"/>
                    <a:pt x="1468" y="243"/>
                    <a:pt x="1470" y="240"/>
                  </a:cubicBezTo>
                  <a:cubicBezTo>
                    <a:pt x="1471" y="239"/>
                    <a:pt x="1472" y="238"/>
                    <a:pt x="1472" y="237"/>
                  </a:cubicBezTo>
                  <a:cubicBezTo>
                    <a:pt x="1474" y="236"/>
                    <a:pt x="1476" y="233"/>
                    <a:pt x="1476" y="232"/>
                  </a:cubicBezTo>
                  <a:cubicBezTo>
                    <a:pt x="1476" y="232"/>
                    <a:pt x="1476" y="232"/>
                    <a:pt x="1476" y="232"/>
                  </a:cubicBezTo>
                  <a:cubicBezTo>
                    <a:pt x="1477" y="230"/>
                    <a:pt x="1477" y="228"/>
                    <a:pt x="1477" y="226"/>
                  </a:cubicBezTo>
                  <a:cubicBezTo>
                    <a:pt x="1477" y="225"/>
                    <a:pt x="1477" y="225"/>
                    <a:pt x="1477" y="225"/>
                  </a:cubicBezTo>
                  <a:cubicBezTo>
                    <a:pt x="1477" y="224"/>
                    <a:pt x="1477" y="224"/>
                    <a:pt x="1478" y="223"/>
                  </a:cubicBezTo>
                  <a:cubicBezTo>
                    <a:pt x="1478" y="223"/>
                    <a:pt x="1478" y="223"/>
                    <a:pt x="1478" y="223"/>
                  </a:cubicBezTo>
                  <a:cubicBezTo>
                    <a:pt x="1478" y="222"/>
                    <a:pt x="1478" y="221"/>
                    <a:pt x="1479" y="220"/>
                  </a:cubicBezTo>
                  <a:cubicBezTo>
                    <a:pt x="1479" y="219"/>
                    <a:pt x="1479" y="219"/>
                    <a:pt x="1479" y="219"/>
                  </a:cubicBezTo>
                  <a:cubicBezTo>
                    <a:pt x="1480" y="219"/>
                    <a:pt x="1480" y="219"/>
                    <a:pt x="1480" y="219"/>
                  </a:cubicBezTo>
                  <a:cubicBezTo>
                    <a:pt x="1480" y="218"/>
                    <a:pt x="1480" y="218"/>
                    <a:pt x="1480" y="218"/>
                  </a:cubicBezTo>
                  <a:cubicBezTo>
                    <a:pt x="1481" y="218"/>
                    <a:pt x="1481" y="217"/>
                    <a:pt x="1481" y="217"/>
                  </a:cubicBezTo>
                  <a:cubicBezTo>
                    <a:pt x="1481" y="216"/>
                    <a:pt x="1482" y="215"/>
                    <a:pt x="1482" y="213"/>
                  </a:cubicBezTo>
                  <a:cubicBezTo>
                    <a:pt x="1482" y="211"/>
                    <a:pt x="1482" y="211"/>
                    <a:pt x="1482" y="211"/>
                  </a:cubicBezTo>
                  <a:cubicBezTo>
                    <a:pt x="1483" y="211"/>
                    <a:pt x="1483" y="210"/>
                    <a:pt x="1483" y="209"/>
                  </a:cubicBezTo>
                  <a:cubicBezTo>
                    <a:pt x="1483" y="209"/>
                    <a:pt x="1483" y="209"/>
                    <a:pt x="1483" y="209"/>
                  </a:cubicBezTo>
                  <a:cubicBezTo>
                    <a:pt x="1484" y="207"/>
                    <a:pt x="1484" y="206"/>
                    <a:pt x="1484" y="205"/>
                  </a:cubicBezTo>
                  <a:cubicBezTo>
                    <a:pt x="1480" y="204"/>
                    <a:pt x="1480" y="204"/>
                    <a:pt x="1480" y="204"/>
                  </a:cubicBezTo>
                  <a:cubicBezTo>
                    <a:pt x="1485" y="203"/>
                    <a:pt x="1485" y="203"/>
                    <a:pt x="1485" y="203"/>
                  </a:cubicBezTo>
                  <a:cubicBezTo>
                    <a:pt x="1485" y="203"/>
                    <a:pt x="1485" y="203"/>
                    <a:pt x="1485" y="203"/>
                  </a:cubicBezTo>
                  <a:cubicBezTo>
                    <a:pt x="1485" y="201"/>
                    <a:pt x="1485" y="201"/>
                    <a:pt x="1485" y="200"/>
                  </a:cubicBezTo>
                  <a:cubicBezTo>
                    <a:pt x="1485" y="199"/>
                    <a:pt x="1485" y="198"/>
                    <a:pt x="1486" y="196"/>
                  </a:cubicBezTo>
                  <a:cubicBezTo>
                    <a:pt x="1487" y="195"/>
                    <a:pt x="1487" y="194"/>
                    <a:pt x="1488" y="194"/>
                  </a:cubicBezTo>
                  <a:cubicBezTo>
                    <a:pt x="1489" y="193"/>
                    <a:pt x="1490" y="192"/>
                    <a:pt x="1491" y="192"/>
                  </a:cubicBezTo>
                  <a:cubicBezTo>
                    <a:pt x="1492" y="191"/>
                    <a:pt x="1492" y="191"/>
                    <a:pt x="1492" y="191"/>
                  </a:cubicBezTo>
                  <a:cubicBezTo>
                    <a:pt x="1493" y="191"/>
                    <a:pt x="1493" y="191"/>
                    <a:pt x="1493" y="191"/>
                  </a:cubicBezTo>
                  <a:cubicBezTo>
                    <a:pt x="1495" y="190"/>
                    <a:pt x="1499" y="188"/>
                    <a:pt x="1499" y="186"/>
                  </a:cubicBezTo>
                  <a:cubicBezTo>
                    <a:pt x="1499" y="185"/>
                    <a:pt x="1499" y="185"/>
                    <a:pt x="1499" y="185"/>
                  </a:cubicBezTo>
                  <a:cubicBezTo>
                    <a:pt x="1499" y="185"/>
                    <a:pt x="1498" y="184"/>
                    <a:pt x="1497" y="184"/>
                  </a:cubicBezTo>
                  <a:cubicBezTo>
                    <a:pt x="1497" y="183"/>
                    <a:pt x="1497" y="183"/>
                    <a:pt x="1497" y="183"/>
                  </a:cubicBezTo>
                  <a:cubicBezTo>
                    <a:pt x="1496" y="182"/>
                    <a:pt x="1495" y="180"/>
                    <a:pt x="1494" y="178"/>
                  </a:cubicBezTo>
                  <a:cubicBezTo>
                    <a:pt x="1494" y="174"/>
                    <a:pt x="1497" y="170"/>
                    <a:pt x="1499" y="167"/>
                  </a:cubicBezTo>
                  <a:cubicBezTo>
                    <a:pt x="1499" y="167"/>
                    <a:pt x="1499" y="167"/>
                    <a:pt x="1499" y="167"/>
                  </a:cubicBezTo>
                  <a:cubicBezTo>
                    <a:pt x="1498" y="167"/>
                    <a:pt x="1497" y="167"/>
                    <a:pt x="1496" y="168"/>
                  </a:cubicBezTo>
                  <a:cubicBezTo>
                    <a:pt x="1493" y="168"/>
                    <a:pt x="1493" y="168"/>
                    <a:pt x="1493" y="168"/>
                  </a:cubicBezTo>
                  <a:cubicBezTo>
                    <a:pt x="1493" y="168"/>
                    <a:pt x="1493" y="168"/>
                    <a:pt x="1493" y="168"/>
                  </a:cubicBezTo>
                  <a:cubicBezTo>
                    <a:pt x="1492" y="168"/>
                    <a:pt x="1491" y="168"/>
                    <a:pt x="1490" y="169"/>
                  </a:cubicBezTo>
                  <a:cubicBezTo>
                    <a:pt x="1490" y="169"/>
                    <a:pt x="1490" y="169"/>
                    <a:pt x="1490" y="169"/>
                  </a:cubicBezTo>
                  <a:cubicBezTo>
                    <a:pt x="1489" y="169"/>
                    <a:pt x="1488" y="169"/>
                    <a:pt x="1488" y="169"/>
                  </a:cubicBezTo>
                  <a:cubicBezTo>
                    <a:pt x="1484" y="170"/>
                    <a:pt x="1481" y="171"/>
                    <a:pt x="1477" y="173"/>
                  </a:cubicBezTo>
                  <a:cubicBezTo>
                    <a:pt x="1476" y="173"/>
                    <a:pt x="1476" y="173"/>
                    <a:pt x="1476" y="173"/>
                  </a:cubicBezTo>
                  <a:cubicBezTo>
                    <a:pt x="1476" y="174"/>
                    <a:pt x="1475" y="174"/>
                    <a:pt x="1474" y="174"/>
                  </a:cubicBezTo>
                  <a:cubicBezTo>
                    <a:pt x="1471" y="176"/>
                    <a:pt x="1471" y="176"/>
                    <a:pt x="1471" y="176"/>
                  </a:cubicBezTo>
                  <a:cubicBezTo>
                    <a:pt x="1468" y="177"/>
                    <a:pt x="1465" y="177"/>
                    <a:pt x="1462" y="177"/>
                  </a:cubicBezTo>
                  <a:cubicBezTo>
                    <a:pt x="1461" y="177"/>
                    <a:pt x="1458" y="178"/>
                    <a:pt x="1457" y="179"/>
                  </a:cubicBezTo>
                  <a:cubicBezTo>
                    <a:pt x="1454" y="180"/>
                    <a:pt x="1453" y="181"/>
                    <a:pt x="1452" y="182"/>
                  </a:cubicBezTo>
                  <a:cubicBezTo>
                    <a:pt x="1451" y="183"/>
                    <a:pt x="1451" y="184"/>
                    <a:pt x="1451" y="185"/>
                  </a:cubicBezTo>
                  <a:cubicBezTo>
                    <a:pt x="1450" y="187"/>
                    <a:pt x="1449" y="189"/>
                    <a:pt x="1444" y="189"/>
                  </a:cubicBezTo>
                  <a:cubicBezTo>
                    <a:pt x="1438" y="190"/>
                    <a:pt x="1433" y="190"/>
                    <a:pt x="1428" y="190"/>
                  </a:cubicBezTo>
                  <a:cubicBezTo>
                    <a:pt x="1425" y="190"/>
                    <a:pt x="1423" y="190"/>
                    <a:pt x="1421" y="190"/>
                  </a:cubicBezTo>
                  <a:cubicBezTo>
                    <a:pt x="1417" y="190"/>
                    <a:pt x="1413" y="190"/>
                    <a:pt x="1410" y="189"/>
                  </a:cubicBezTo>
                  <a:cubicBezTo>
                    <a:pt x="1408" y="189"/>
                    <a:pt x="1407" y="189"/>
                    <a:pt x="1406" y="188"/>
                  </a:cubicBezTo>
                  <a:cubicBezTo>
                    <a:pt x="1406" y="187"/>
                    <a:pt x="1406" y="187"/>
                    <a:pt x="1406" y="187"/>
                  </a:cubicBezTo>
                  <a:cubicBezTo>
                    <a:pt x="1405" y="186"/>
                    <a:pt x="1405" y="186"/>
                    <a:pt x="1405" y="186"/>
                  </a:cubicBezTo>
                  <a:cubicBezTo>
                    <a:pt x="1405" y="185"/>
                    <a:pt x="1405" y="185"/>
                    <a:pt x="1405" y="185"/>
                  </a:cubicBezTo>
                  <a:cubicBezTo>
                    <a:pt x="1405" y="184"/>
                    <a:pt x="1405" y="184"/>
                    <a:pt x="1405" y="183"/>
                  </a:cubicBezTo>
                  <a:cubicBezTo>
                    <a:pt x="1404" y="182"/>
                    <a:pt x="1404" y="182"/>
                    <a:pt x="1404" y="182"/>
                  </a:cubicBezTo>
                  <a:cubicBezTo>
                    <a:pt x="1404" y="182"/>
                    <a:pt x="1404" y="182"/>
                    <a:pt x="1403" y="181"/>
                  </a:cubicBezTo>
                  <a:cubicBezTo>
                    <a:pt x="1402" y="181"/>
                    <a:pt x="1402" y="181"/>
                    <a:pt x="1402" y="181"/>
                  </a:cubicBezTo>
                  <a:cubicBezTo>
                    <a:pt x="1402" y="180"/>
                    <a:pt x="1402" y="180"/>
                    <a:pt x="1402" y="180"/>
                  </a:cubicBezTo>
                  <a:cubicBezTo>
                    <a:pt x="1398" y="176"/>
                    <a:pt x="1398" y="174"/>
                    <a:pt x="1401" y="169"/>
                  </a:cubicBezTo>
                  <a:cubicBezTo>
                    <a:pt x="1401" y="168"/>
                    <a:pt x="1401" y="168"/>
                    <a:pt x="1401" y="168"/>
                  </a:cubicBezTo>
                  <a:cubicBezTo>
                    <a:pt x="1401" y="168"/>
                    <a:pt x="1401" y="168"/>
                    <a:pt x="1401" y="168"/>
                  </a:cubicBezTo>
                  <a:cubicBezTo>
                    <a:pt x="1402" y="167"/>
                    <a:pt x="1402" y="167"/>
                    <a:pt x="1402" y="167"/>
                  </a:cubicBezTo>
                  <a:cubicBezTo>
                    <a:pt x="1402" y="167"/>
                    <a:pt x="1402" y="167"/>
                    <a:pt x="1402" y="167"/>
                  </a:cubicBezTo>
                  <a:cubicBezTo>
                    <a:pt x="1402" y="166"/>
                    <a:pt x="1402" y="166"/>
                    <a:pt x="1402" y="166"/>
                  </a:cubicBezTo>
                  <a:cubicBezTo>
                    <a:pt x="1401" y="165"/>
                    <a:pt x="1401" y="164"/>
                    <a:pt x="1401" y="164"/>
                  </a:cubicBezTo>
                  <a:cubicBezTo>
                    <a:pt x="1400" y="163"/>
                    <a:pt x="1400" y="163"/>
                    <a:pt x="1400" y="163"/>
                  </a:cubicBezTo>
                  <a:cubicBezTo>
                    <a:pt x="1399" y="163"/>
                    <a:pt x="1397" y="162"/>
                    <a:pt x="1396" y="160"/>
                  </a:cubicBezTo>
                  <a:cubicBezTo>
                    <a:pt x="1395" y="159"/>
                    <a:pt x="1395" y="158"/>
                    <a:pt x="1395" y="157"/>
                  </a:cubicBezTo>
                  <a:cubicBezTo>
                    <a:pt x="1395" y="156"/>
                    <a:pt x="1395" y="156"/>
                    <a:pt x="1395" y="156"/>
                  </a:cubicBezTo>
                  <a:cubicBezTo>
                    <a:pt x="1395" y="156"/>
                    <a:pt x="1396" y="155"/>
                    <a:pt x="1396" y="155"/>
                  </a:cubicBezTo>
                  <a:cubicBezTo>
                    <a:pt x="1396" y="152"/>
                    <a:pt x="1396" y="152"/>
                    <a:pt x="1396" y="152"/>
                  </a:cubicBezTo>
                  <a:cubicBezTo>
                    <a:pt x="1394" y="152"/>
                    <a:pt x="1394" y="152"/>
                    <a:pt x="1394" y="152"/>
                  </a:cubicBezTo>
                  <a:cubicBezTo>
                    <a:pt x="1393" y="152"/>
                    <a:pt x="1393" y="152"/>
                    <a:pt x="1393" y="152"/>
                  </a:cubicBezTo>
                  <a:cubicBezTo>
                    <a:pt x="1392" y="153"/>
                    <a:pt x="1392" y="153"/>
                    <a:pt x="1392" y="153"/>
                  </a:cubicBezTo>
                  <a:cubicBezTo>
                    <a:pt x="1392" y="153"/>
                    <a:pt x="1392" y="153"/>
                    <a:pt x="1392" y="153"/>
                  </a:cubicBezTo>
                  <a:cubicBezTo>
                    <a:pt x="1392" y="153"/>
                    <a:pt x="1391" y="153"/>
                    <a:pt x="1391" y="153"/>
                  </a:cubicBezTo>
                  <a:cubicBezTo>
                    <a:pt x="1391" y="153"/>
                    <a:pt x="1390" y="153"/>
                    <a:pt x="1390" y="153"/>
                  </a:cubicBezTo>
                  <a:cubicBezTo>
                    <a:pt x="1388" y="152"/>
                    <a:pt x="1388" y="152"/>
                    <a:pt x="1388" y="152"/>
                  </a:cubicBezTo>
                  <a:cubicBezTo>
                    <a:pt x="1371" y="135"/>
                    <a:pt x="1371" y="135"/>
                    <a:pt x="1371" y="135"/>
                  </a:cubicBezTo>
                  <a:cubicBezTo>
                    <a:pt x="1369" y="136"/>
                    <a:pt x="1369" y="136"/>
                    <a:pt x="1369" y="136"/>
                  </a:cubicBezTo>
                  <a:cubicBezTo>
                    <a:pt x="1368" y="137"/>
                    <a:pt x="1367" y="137"/>
                    <a:pt x="1367" y="137"/>
                  </a:cubicBezTo>
                  <a:cubicBezTo>
                    <a:pt x="1366" y="137"/>
                    <a:pt x="1366" y="137"/>
                    <a:pt x="1366" y="137"/>
                  </a:cubicBezTo>
                  <a:cubicBezTo>
                    <a:pt x="1357" y="133"/>
                    <a:pt x="1357" y="133"/>
                    <a:pt x="1357" y="133"/>
                  </a:cubicBezTo>
                  <a:cubicBezTo>
                    <a:pt x="1356" y="133"/>
                    <a:pt x="1355" y="133"/>
                    <a:pt x="1354" y="132"/>
                  </a:cubicBezTo>
                  <a:cubicBezTo>
                    <a:pt x="1353" y="132"/>
                    <a:pt x="1353" y="132"/>
                    <a:pt x="1353" y="132"/>
                  </a:cubicBezTo>
                  <a:cubicBezTo>
                    <a:pt x="1351" y="131"/>
                    <a:pt x="1349" y="130"/>
                    <a:pt x="1348" y="130"/>
                  </a:cubicBezTo>
                  <a:cubicBezTo>
                    <a:pt x="1347" y="130"/>
                    <a:pt x="1347" y="130"/>
                    <a:pt x="1347" y="130"/>
                  </a:cubicBezTo>
                  <a:cubicBezTo>
                    <a:pt x="1335" y="130"/>
                    <a:pt x="1335" y="130"/>
                    <a:pt x="1335" y="130"/>
                  </a:cubicBezTo>
                  <a:cubicBezTo>
                    <a:pt x="1332" y="130"/>
                    <a:pt x="1330" y="129"/>
                    <a:pt x="1328" y="127"/>
                  </a:cubicBezTo>
                  <a:cubicBezTo>
                    <a:pt x="1325" y="123"/>
                    <a:pt x="1325" y="123"/>
                    <a:pt x="1325" y="123"/>
                  </a:cubicBezTo>
                  <a:cubicBezTo>
                    <a:pt x="1322" y="118"/>
                    <a:pt x="1322" y="118"/>
                    <a:pt x="1322" y="118"/>
                  </a:cubicBezTo>
                  <a:cubicBezTo>
                    <a:pt x="1321" y="116"/>
                    <a:pt x="1320" y="114"/>
                    <a:pt x="1321" y="112"/>
                  </a:cubicBezTo>
                  <a:cubicBezTo>
                    <a:pt x="1321" y="110"/>
                    <a:pt x="1321" y="110"/>
                    <a:pt x="1321" y="110"/>
                  </a:cubicBezTo>
                  <a:cubicBezTo>
                    <a:pt x="1322" y="110"/>
                    <a:pt x="1322" y="109"/>
                    <a:pt x="1322" y="109"/>
                  </a:cubicBezTo>
                  <a:cubicBezTo>
                    <a:pt x="1322" y="108"/>
                    <a:pt x="1322" y="108"/>
                    <a:pt x="1322" y="108"/>
                  </a:cubicBezTo>
                  <a:cubicBezTo>
                    <a:pt x="1322" y="107"/>
                    <a:pt x="1322" y="107"/>
                    <a:pt x="1322" y="107"/>
                  </a:cubicBezTo>
                  <a:cubicBezTo>
                    <a:pt x="1322" y="107"/>
                    <a:pt x="1321" y="107"/>
                    <a:pt x="1321" y="106"/>
                  </a:cubicBezTo>
                  <a:cubicBezTo>
                    <a:pt x="1320" y="105"/>
                    <a:pt x="1319" y="104"/>
                    <a:pt x="1319" y="103"/>
                  </a:cubicBezTo>
                  <a:cubicBezTo>
                    <a:pt x="1312" y="86"/>
                    <a:pt x="1312" y="86"/>
                    <a:pt x="1312" y="86"/>
                  </a:cubicBezTo>
                  <a:cubicBezTo>
                    <a:pt x="1309" y="84"/>
                    <a:pt x="1309" y="84"/>
                    <a:pt x="1309" y="84"/>
                  </a:cubicBezTo>
                  <a:cubicBezTo>
                    <a:pt x="1309" y="83"/>
                    <a:pt x="1309" y="83"/>
                    <a:pt x="1309" y="83"/>
                  </a:cubicBezTo>
                  <a:cubicBezTo>
                    <a:pt x="1308" y="75"/>
                    <a:pt x="1308" y="75"/>
                    <a:pt x="1308" y="75"/>
                  </a:cubicBezTo>
                  <a:cubicBezTo>
                    <a:pt x="1307" y="75"/>
                    <a:pt x="1307" y="75"/>
                    <a:pt x="1307" y="75"/>
                  </a:cubicBezTo>
                  <a:cubicBezTo>
                    <a:pt x="1306" y="75"/>
                    <a:pt x="1304" y="74"/>
                    <a:pt x="1303" y="72"/>
                  </a:cubicBezTo>
                  <a:cubicBezTo>
                    <a:pt x="1303" y="71"/>
                    <a:pt x="1303" y="71"/>
                    <a:pt x="1303" y="71"/>
                  </a:cubicBezTo>
                  <a:cubicBezTo>
                    <a:pt x="1303" y="71"/>
                    <a:pt x="1303" y="71"/>
                    <a:pt x="1303" y="71"/>
                  </a:cubicBezTo>
                  <a:cubicBezTo>
                    <a:pt x="1302" y="68"/>
                    <a:pt x="1302" y="68"/>
                    <a:pt x="1302" y="68"/>
                  </a:cubicBezTo>
                  <a:cubicBezTo>
                    <a:pt x="1299" y="62"/>
                    <a:pt x="1297" y="58"/>
                    <a:pt x="1296" y="53"/>
                  </a:cubicBezTo>
                  <a:cubicBezTo>
                    <a:pt x="1295" y="52"/>
                    <a:pt x="1295" y="52"/>
                    <a:pt x="1295" y="52"/>
                  </a:cubicBezTo>
                  <a:cubicBezTo>
                    <a:pt x="1294" y="50"/>
                    <a:pt x="1294" y="48"/>
                    <a:pt x="1295" y="47"/>
                  </a:cubicBezTo>
                  <a:cubicBezTo>
                    <a:pt x="1295" y="46"/>
                    <a:pt x="1295" y="46"/>
                    <a:pt x="1295" y="46"/>
                  </a:cubicBezTo>
                  <a:cubicBezTo>
                    <a:pt x="1295" y="46"/>
                    <a:pt x="1295" y="46"/>
                    <a:pt x="1295" y="46"/>
                  </a:cubicBezTo>
                  <a:cubicBezTo>
                    <a:pt x="1295" y="45"/>
                    <a:pt x="1295" y="45"/>
                    <a:pt x="1295" y="45"/>
                  </a:cubicBezTo>
                  <a:cubicBezTo>
                    <a:pt x="1295" y="45"/>
                    <a:pt x="1295" y="45"/>
                    <a:pt x="1295" y="45"/>
                  </a:cubicBezTo>
                  <a:cubicBezTo>
                    <a:pt x="1294" y="42"/>
                    <a:pt x="1290" y="38"/>
                    <a:pt x="1288" y="36"/>
                  </a:cubicBezTo>
                  <a:cubicBezTo>
                    <a:pt x="1288" y="35"/>
                    <a:pt x="1288" y="35"/>
                    <a:pt x="1288" y="35"/>
                  </a:cubicBezTo>
                  <a:cubicBezTo>
                    <a:pt x="1287" y="35"/>
                    <a:pt x="1286" y="34"/>
                    <a:pt x="1286" y="33"/>
                  </a:cubicBezTo>
                  <a:cubicBezTo>
                    <a:pt x="1284" y="31"/>
                    <a:pt x="1284" y="31"/>
                    <a:pt x="1284" y="31"/>
                  </a:cubicBezTo>
                  <a:cubicBezTo>
                    <a:pt x="1282" y="29"/>
                    <a:pt x="1282" y="27"/>
                    <a:pt x="1284" y="24"/>
                  </a:cubicBezTo>
                  <a:cubicBezTo>
                    <a:pt x="1285" y="24"/>
                    <a:pt x="1285" y="24"/>
                    <a:pt x="1285" y="24"/>
                  </a:cubicBezTo>
                  <a:cubicBezTo>
                    <a:pt x="1284" y="24"/>
                    <a:pt x="1284" y="24"/>
                    <a:pt x="1284" y="24"/>
                  </a:cubicBezTo>
                  <a:cubicBezTo>
                    <a:pt x="1284" y="24"/>
                    <a:pt x="1283" y="23"/>
                    <a:pt x="1282" y="22"/>
                  </a:cubicBezTo>
                  <a:cubicBezTo>
                    <a:pt x="1281" y="22"/>
                    <a:pt x="1281" y="22"/>
                    <a:pt x="1281" y="22"/>
                  </a:cubicBezTo>
                  <a:cubicBezTo>
                    <a:pt x="1275" y="17"/>
                    <a:pt x="1275" y="17"/>
                    <a:pt x="1275" y="17"/>
                  </a:cubicBezTo>
                  <a:cubicBezTo>
                    <a:pt x="1275" y="17"/>
                    <a:pt x="1275" y="17"/>
                    <a:pt x="1275" y="17"/>
                  </a:cubicBezTo>
                  <a:cubicBezTo>
                    <a:pt x="1274" y="16"/>
                    <a:pt x="1274" y="16"/>
                    <a:pt x="1274" y="16"/>
                  </a:cubicBezTo>
                  <a:cubicBezTo>
                    <a:pt x="1270" y="15"/>
                    <a:pt x="1270" y="15"/>
                    <a:pt x="1270" y="15"/>
                  </a:cubicBezTo>
                  <a:cubicBezTo>
                    <a:pt x="1270" y="15"/>
                    <a:pt x="1270" y="14"/>
                    <a:pt x="1269" y="14"/>
                  </a:cubicBezTo>
                  <a:cubicBezTo>
                    <a:pt x="1269" y="14"/>
                    <a:pt x="1269" y="14"/>
                    <a:pt x="1269" y="14"/>
                  </a:cubicBezTo>
                  <a:cubicBezTo>
                    <a:pt x="1268" y="14"/>
                    <a:pt x="1268" y="14"/>
                    <a:pt x="1268" y="14"/>
                  </a:cubicBezTo>
                  <a:cubicBezTo>
                    <a:pt x="1267" y="13"/>
                    <a:pt x="1267" y="13"/>
                    <a:pt x="1267" y="13"/>
                  </a:cubicBezTo>
                  <a:cubicBezTo>
                    <a:pt x="1266" y="13"/>
                    <a:pt x="1266" y="13"/>
                    <a:pt x="1266" y="13"/>
                  </a:cubicBezTo>
                  <a:cubicBezTo>
                    <a:pt x="1266" y="12"/>
                    <a:pt x="1265" y="12"/>
                    <a:pt x="1264" y="12"/>
                  </a:cubicBezTo>
                  <a:cubicBezTo>
                    <a:pt x="1264" y="12"/>
                    <a:pt x="1264" y="12"/>
                    <a:pt x="1264" y="12"/>
                  </a:cubicBezTo>
                  <a:cubicBezTo>
                    <a:pt x="1264" y="12"/>
                    <a:pt x="1262" y="12"/>
                    <a:pt x="1261" y="12"/>
                  </a:cubicBezTo>
                  <a:cubicBezTo>
                    <a:pt x="1261" y="13"/>
                    <a:pt x="1261" y="13"/>
                    <a:pt x="1261" y="13"/>
                  </a:cubicBezTo>
                  <a:cubicBezTo>
                    <a:pt x="1260" y="13"/>
                    <a:pt x="1260" y="13"/>
                    <a:pt x="1260" y="13"/>
                  </a:cubicBezTo>
                  <a:cubicBezTo>
                    <a:pt x="1259" y="13"/>
                    <a:pt x="1259" y="13"/>
                    <a:pt x="1258" y="13"/>
                  </a:cubicBezTo>
                  <a:cubicBezTo>
                    <a:pt x="1253" y="12"/>
                    <a:pt x="1253" y="12"/>
                    <a:pt x="1253" y="12"/>
                  </a:cubicBezTo>
                  <a:cubicBezTo>
                    <a:pt x="1252" y="12"/>
                    <a:pt x="1252" y="12"/>
                    <a:pt x="1251" y="12"/>
                  </a:cubicBezTo>
                  <a:cubicBezTo>
                    <a:pt x="1251" y="12"/>
                    <a:pt x="1251" y="12"/>
                    <a:pt x="1251" y="12"/>
                  </a:cubicBezTo>
                  <a:cubicBezTo>
                    <a:pt x="1238" y="6"/>
                    <a:pt x="1238" y="6"/>
                    <a:pt x="1238" y="6"/>
                  </a:cubicBezTo>
                  <a:cubicBezTo>
                    <a:pt x="1235" y="4"/>
                    <a:pt x="1232" y="2"/>
                    <a:pt x="1229" y="1"/>
                  </a:cubicBezTo>
                  <a:cubicBezTo>
                    <a:pt x="1226" y="0"/>
                    <a:pt x="1226" y="0"/>
                    <a:pt x="1226" y="0"/>
                  </a:cubicBezTo>
                  <a:cubicBezTo>
                    <a:pt x="1225" y="0"/>
                    <a:pt x="1225" y="0"/>
                    <a:pt x="1225" y="0"/>
                  </a:cubicBezTo>
                  <a:cubicBezTo>
                    <a:pt x="1223" y="0"/>
                    <a:pt x="1223" y="0"/>
                    <a:pt x="1223" y="0"/>
                  </a:cubicBezTo>
                  <a:cubicBezTo>
                    <a:pt x="1219" y="0"/>
                    <a:pt x="1219" y="0"/>
                    <a:pt x="1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Rectangle 495"/>
            <p:cNvSpPr>
              <a:spLocks noChangeArrowheads="1"/>
            </p:cNvSpPr>
            <p:nvPr/>
          </p:nvSpPr>
          <p:spPr bwMode="auto">
            <a:xfrm>
              <a:off x="4581648" y="3739262"/>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496"/>
            <p:cNvSpPr/>
            <p:nvPr/>
          </p:nvSpPr>
          <p:spPr bwMode="auto">
            <a:xfrm flipH="1">
              <a:off x="4581648" y="373926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497"/>
            <p:cNvSpPr/>
            <p:nvPr/>
          </p:nvSpPr>
          <p:spPr bwMode="auto">
            <a:xfrm>
              <a:off x="4521207" y="3492127"/>
              <a:ext cx="714543" cy="607093"/>
            </a:xfrm>
            <a:custGeom>
              <a:gdLst>
                <a:gd name="T0" fmla="*/ 176 w 225"/>
                <a:gd name="T1" fmla="*/ 10 h 191"/>
                <a:gd name="T2" fmla="*/ 166 w 225"/>
                <a:gd name="T3" fmla="*/ 7 h 191"/>
                <a:gd name="T4" fmla="*/ 152 w 225"/>
                <a:gd name="T5" fmla="*/ 10 h 191"/>
                <a:gd name="T6" fmla="*/ 130 w 225"/>
                <a:gd name="T7" fmla="*/ 21 h 191"/>
                <a:gd name="T8" fmla="*/ 125 w 225"/>
                <a:gd name="T9" fmla="*/ 28 h 191"/>
                <a:gd name="T10" fmla="*/ 119 w 225"/>
                <a:gd name="T11" fmla="*/ 31 h 191"/>
                <a:gd name="T12" fmla="*/ 116 w 225"/>
                <a:gd name="T13" fmla="*/ 38 h 191"/>
                <a:gd name="T14" fmla="*/ 92 w 225"/>
                <a:gd name="T15" fmla="*/ 44 h 191"/>
                <a:gd name="T16" fmla="*/ 90 w 225"/>
                <a:gd name="T17" fmla="*/ 46 h 191"/>
                <a:gd name="T18" fmla="*/ 99 w 225"/>
                <a:gd name="T19" fmla="*/ 58 h 191"/>
                <a:gd name="T20" fmla="*/ 94 w 225"/>
                <a:gd name="T21" fmla="*/ 70 h 191"/>
                <a:gd name="T22" fmla="*/ 91 w 225"/>
                <a:gd name="T23" fmla="*/ 69 h 191"/>
                <a:gd name="T24" fmla="*/ 76 w 225"/>
                <a:gd name="T25" fmla="*/ 70 h 191"/>
                <a:gd name="T26" fmla="*/ 64 w 225"/>
                <a:gd name="T27" fmla="*/ 70 h 191"/>
                <a:gd name="T28" fmla="*/ 52 w 225"/>
                <a:gd name="T29" fmla="*/ 69 h 191"/>
                <a:gd name="T30" fmla="*/ 36 w 225"/>
                <a:gd name="T31" fmla="*/ 71 h 191"/>
                <a:gd name="T32" fmla="*/ 25 w 225"/>
                <a:gd name="T33" fmla="*/ 69 h 191"/>
                <a:gd name="T34" fmla="*/ 11 w 225"/>
                <a:gd name="T35" fmla="*/ 59 h 191"/>
                <a:gd name="T36" fmla="*/ 15 w 225"/>
                <a:gd name="T37" fmla="*/ 52 h 191"/>
                <a:gd name="T38" fmla="*/ 16 w 225"/>
                <a:gd name="T39" fmla="*/ 40 h 191"/>
                <a:gd name="T40" fmla="*/ 13 w 225"/>
                <a:gd name="T41" fmla="*/ 36 h 191"/>
                <a:gd name="T42" fmla="*/ 1 w 225"/>
                <a:gd name="T43" fmla="*/ 59 h 191"/>
                <a:gd name="T44" fmla="*/ 5 w 225"/>
                <a:gd name="T45" fmla="*/ 67 h 191"/>
                <a:gd name="T46" fmla="*/ 14 w 225"/>
                <a:gd name="T47" fmla="*/ 75 h 191"/>
                <a:gd name="T48" fmla="*/ 25 w 225"/>
                <a:gd name="T49" fmla="*/ 75 h 191"/>
                <a:gd name="T50" fmla="*/ 33 w 225"/>
                <a:gd name="T51" fmla="*/ 85 h 191"/>
                <a:gd name="T52" fmla="*/ 43 w 225"/>
                <a:gd name="T53" fmla="*/ 85 h 191"/>
                <a:gd name="T54" fmla="*/ 45 w 225"/>
                <a:gd name="T55" fmla="*/ 104 h 191"/>
                <a:gd name="T56" fmla="*/ 56 w 225"/>
                <a:gd name="T57" fmla="*/ 107 h 191"/>
                <a:gd name="T58" fmla="*/ 64 w 225"/>
                <a:gd name="T59" fmla="*/ 107 h 191"/>
                <a:gd name="T60" fmla="*/ 75 w 225"/>
                <a:gd name="T61" fmla="*/ 106 h 191"/>
                <a:gd name="T62" fmla="*/ 96 w 225"/>
                <a:gd name="T63" fmla="*/ 107 h 191"/>
                <a:gd name="T64" fmla="*/ 110 w 225"/>
                <a:gd name="T65" fmla="*/ 115 h 191"/>
                <a:gd name="T66" fmla="*/ 101 w 225"/>
                <a:gd name="T67" fmla="*/ 130 h 191"/>
                <a:gd name="T68" fmla="*/ 97 w 225"/>
                <a:gd name="T69" fmla="*/ 133 h 191"/>
                <a:gd name="T70" fmla="*/ 89 w 225"/>
                <a:gd name="T71" fmla="*/ 139 h 191"/>
                <a:gd name="T72" fmla="*/ 79 w 225"/>
                <a:gd name="T73" fmla="*/ 149 h 191"/>
                <a:gd name="T74" fmla="*/ 84 w 225"/>
                <a:gd name="T75" fmla="*/ 158 h 191"/>
                <a:gd name="T76" fmla="*/ 90 w 225"/>
                <a:gd name="T77" fmla="*/ 157 h 191"/>
                <a:gd name="T78" fmla="*/ 102 w 225"/>
                <a:gd name="T79" fmla="*/ 145 h 191"/>
                <a:gd name="T80" fmla="*/ 115 w 225"/>
                <a:gd name="T81" fmla="*/ 163 h 191"/>
                <a:gd name="T82" fmla="*/ 114 w 225"/>
                <a:gd name="T83" fmla="*/ 191 h 191"/>
                <a:gd name="T84" fmla="*/ 121 w 225"/>
                <a:gd name="T85" fmla="*/ 165 h 191"/>
                <a:gd name="T86" fmla="*/ 129 w 225"/>
                <a:gd name="T87" fmla="*/ 137 h 191"/>
                <a:gd name="T88" fmla="*/ 168 w 225"/>
                <a:gd name="T89" fmla="*/ 93 h 191"/>
                <a:gd name="T90" fmla="*/ 183 w 225"/>
                <a:gd name="T91" fmla="*/ 63 h 191"/>
                <a:gd name="T92" fmla="*/ 214 w 225"/>
                <a:gd name="T93" fmla="*/ 49 h 191"/>
                <a:gd name="T94" fmla="*/ 224 w 225"/>
                <a:gd name="T95" fmla="*/ 31 h 191"/>
                <a:gd name="T96" fmla="*/ 216 w 225"/>
                <a:gd name="T97" fmla="*/ 28 h 191"/>
                <a:gd name="T98" fmla="*/ 207 w 225"/>
                <a:gd name="T99" fmla="*/ 28 h 191"/>
                <a:gd name="T100" fmla="*/ 200 w 225"/>
                <a:gd name="T101" fmla="*/ 21 h 191"/>
                <a:gd name="T102" fmla="*/ 206 w 225"/>
                <a:gd name="T103" fmla="*/ 14 h 191"/>
                <a:gd name="T104" fmla="*/ 196 w 225"/>
                <a:gd name="T105" fmla="*/ 17 h 191"/>
                <a:gd name="T106" fmla="*/ 198 w 225"/>
                <a:gd name="T107" fmla="*/ 3 h 1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 h="191">
                  <a:moveTo>
                    <a:pt x="196" y="0"/>
                  </a:moveTo>
                  <a:cubicBezTo>
                    <a:pt x="195" y="0"/>
                    <a:pt x="192" y="2"/>
                    <a:pt x="186" y="7"/>
                  </a:cubicBezTo>
                  <a:cubicBezTo>
                    <a:pt x="184" y="8"/>
                    <a:pt x="184" y="8"/>
                    <a:pt x="184" y="8"/>
                  </a:cubicBezTo>
                  <a:cubicBezTo>
                    <a:pt x="184" y="9"/>
                    <a:pt x="183" y="9"/>
                    <a:pt x="183" y="9"/>
                  </a:cubicBezTo>
                  <a:cubicBezTo>
                    <a:pt x="181" y="10"/>
                    <a:pt x="180" y="10"/>
                    <a:pt x="179" y="10"/>
                  </a:cubicBezTo>
                  <a:cubicBezTo>
                    <a:pt x="178" y="10"/>
                    <a:pt x="176" y="10"/>
                    <a:pt x="176" y="10"/>
                  </a:cubicBezTo>
                  <a:cubicBezTo>
                    <a:pt x="175" y="9"/>
                    <a:pt x="174" y="9"/>
                    <a:pt x="173" y="9"/>
                  </a:cubicBezTo>
                  <a:cubicBezTo>
                    <a:pt x="173" y="8"/>
                    <a:pt x="173" y="8"/>
                    <a:pt x="173" y="8"/>
                  </a:cubicBezTo>
                  <a:cubicBezTo>
                    <a:pt x="172" y="8"/>
                    <a:pt x="171" y="8"/>
                    <a:pt x="171" y="8"/>
                  </a:cubicBezTo>
                  <a:cubicBezTo>
                    <a:pt x="170" y="7"/>
                    <a:pt x="170" y="7"/>
                    <a:pt x="170" y="7"/>
                  </a:cubicBezTo>
                  <a:cubicBezTo>
                    <a:pt x="169" y="7"/>
                    <a:pt x="169" y="7"/>
                    <a:pt x="169" y="7"/>
                  </a:cubicBezTo>
                  <a:cubicBezTo>
                    <a:pt x="168" y="7"/>
                    <a:pt x="167" y="7"/>
                    <a:pt x="166" y="7"/>
                  </a:cubicBezTo>
                  <a:cubicBezTo>
                    <a:pt x="164" y="6"/>
                    <a:pt x="163" y="5"/>
                    <a:pt x="162" y="4"/>
                  </a:cubicBezTo>
                  <a:cubicBezTo>
                    <a:pt x="162" y="4"/>
                    <a:pt x="162" y="4"/>
                    <a:pt x="162" y="4"/>
                  </a:cubicBezTo>
                  <a:cubicBezTo>
                    <a:pt x="161" y="3"/>
                    <a:pt x="161" y="3"/>
                    <a:pt x="161" y="3"/>
                  </a:cubicBezTo>
                  <a:cubicBezTo>
                    <a:pt x="161" y="4"/>
                    <a:pt x="161" y="4"/>
                    <a:pt x="160" y="4"/>
                  </a:cubicBezTo>
                  <a:cubicBezTo>
                    <a:pt x="159" y="5"/>
                    <a:pt x="158" y="6"/>
                    <a:pt x="157" y="6"/>
                  </a:cubicBezTo>
                  <a:cubicBezTo>
                    <a:pt x="155" y="7"/>
                    <a:pt x="153" y="9"/>
                    <a:pt x="152" y="10"/>
                  </a:cubicBezTo>
                  <a:cubicBezTo>
                    <a:pt x="151" y="11"/>
                    <a:pt x="151" y="11"/>
                    <a:pt x="151" y="11"/>
                  </a:cubicBezTo>
                  <a:cubicBezTo>
                    <a:pt x="151" y="11"/>
                    <a:pt x="151" y="11"/>
                    <a:pt x="150" y="12"/>
                  </a:cubicBezTo>
                  <a:cubicBezTo>
                    <a:pt x="148" y="14"/>
                    <a:pt x="146" y="16"/>
                    <a:pt x="143" y="17"/>
                  </a:cubicBezTo>
                  <a:cubicBezTo>
                    <a:pt x="139" y="18"/>
                    <a:pt x="139" y="18"/>
                    <a:pt x="139" y="18"/>
                  </a:cubicBezTo>
                  <a:cubicBezTo>
                    <a:pt x="137" y="19"/>
                    <a:pt x="134" y="20"/>
                    <a:pt x="132" y="20"/>
                  </a:cubicBezTo>
                  <a:cubicBezTo>
                    <a:pt x="131" y="20"/>
                    <a:pt x="131" y="21"/>
                    <a:pt x="130" y="21"/>
                  </a:cubicBezTo>
                  <a:cubicBezTo>
                    <a:pt x="129" y="21"/>
                    <a:pt x="129" y="21"/>
                    <a:pt x="129" y="21"/>
                  </a:cubicBezTo>
                  <a:cubicBezTo>
                    <a:pt x="129" y="21"/>
                    <a:pt x="128" y="21"/>
                    <a:pt x="128" y="23"/>
                  </a:cubicBezTo>
                  <a:cubicBezTo>
                    <a:pt x="127" y="25"/>
                    <a:pt x="127" y="25"/>
                    <a:pt x="127" y="25"/>
                  </a:cubicBezTo>
                  <a:cubicBezTo>
                    <a:pt x="127" y="25"/>
                    <a:pt x="126" y="26"/>
                    <a:pt x="126" y="27"/>
                  </a:cubicBezTo>
                  <a:cubicBezTo>
                    <a:pt x="125" y="27"/>
                    <a:pt x="125" y="28"/>
                    <a:pt x="125" y="28"/>
                  </a:cubicBezTo>
                  <a:cubicBezTo>
                    <a:pt x="125" y="28"/>
                    <a:pt x="125" y="28"/>
                    <a:pt x="125" y="28"/>
                  </a:cubicBezTo>
                  <a:cubicBezTo>
                    <a:pt x="124" y="29"/>
                    <a:pt x="124" y="29"/>
                    <a:pt x="124" y="29"/>
                  </a:cubicBezTo>
                  <a:cubicBezTo>
                    <a:pt x="124" y="29"/>
                    <a:pt x="124" y="29"/>
                    <a:pt x="124" y="29"/>
                  </a:cubicBezTo>
                  <a:cubicBezTo>
                    <a:pt x="123" y="29"/>
                    <a:pt x="123" y="29"/>
                    <a:pt x="123" y="29"/>
                  </a:cubicBezTo>
                  <a:cubicBezTo>
                    <a:pt x="123" y="29"/>
                    <a:pt x="123" y="29"/>
                    <a:pt x="123" y="29"/>
                  </a:cubicBezTo>
                  <a:cubicBezTo>
                    <a:pt x="122" y="30"/>
                    <a:pt x="121" y="30"/>
                    <a:pt x="120" y="31"/>
                  </a:cubicBezTo>
                  <a:cubicBezTo>
                    <a:pt x="119" y="31"/>
                    <a:pt x="119" y="31"/>
                    <a:pt x="119" y="31"/>
                  </a:cubicBezTo>
                  <a:cubicBezTo>
                    <a:pt x="118" y="31"/>
                    <a:pt x="118" y="32"/>
                    <a:pt x="117" y="32"/>
                  </a:cubicBezTo>
                  <a:cubicBezTo>
                    <a:pt x="116" y="33"/>
                    <a:pt x="116" y="33"/>
                    <a:pt x="116" y="33"/>
                  </a:cubicBezTo>
                  <a:cubicBezTo>
                    <a:pt x="116" y="34"/>
                    <a:pt x="116" y="34"/>
                    <a:pt x="116" y="34"/>
                  </a:cubicBezTo>
                  <a:cubicBezTo>
                    <a:pt x="117" y="35"/>
                    <a:pt x="117" y="35"/>
                    <a:pt x="117" y="35"/>
                  </a:cubicBezTo>
                  <a:cubicBezTo>
                    <a:pt x="116" y="36"/>
                    <a:pt x="116" y="36"/>
                    <a:pt x="116" y="36"/>
                  </a:cubicBezTo>
                  <a:cubicBezTo>
                    <a:pt x="116" y="37"/>
                    <a:pt x="116" y="37"/>
                    <a:pt x="116" y="38"/>
                  </a:cubicBezTo>
                  <a:cubicBezTo>
                    <a:pt x="116" y="38"/>
                    <a:pt x="116" y="38"/>
                    <a:pt x="116" y="38"/>
                  </a:cubicBezTo>
                  <a:cubicBezTo>
                    <a:pt x="115" y="39"/>
                    <a:pt x="113" y="41"/>
                    <a:pt x="110" y="42"/>
                  </a:cubicBezTo>
                  <a:cubicBezTo>
                    <a:pt x="110" y="42"/>
                    <a:pt x="110" y="42"/>
                    <a:pt x="110" y="42"/>
                  </a:cubicBezTo>
                  <a:cubicBezTo>
                    <a:pt x="109" y="42"/>
                    <a:pt x="108" y="43"/>
                    <a:pt x="107" y="43"/>
                  </a:cubicBezTo>
                  <a:cubicBezTo>
                    <a:pt x="94" y="44"/>
                    <a:pt x="94" y="44"/>
                    <a:pt x="94" y="44"/>
                  </a:cubicBezTo>
                  <a:cubicBezTo>
                    <a:pt x="94" y="44"/>
                    <a:pt x="93" y="44"/>
                    <a:pt x="92" y="44"/>
                  </a:cubicBezTo>
                  <a:cubicBezTo>
                    <a:pt x="92" y="44"/>
                    <a:pt x="90" y="44"/>
                    <a:pt x="90" y="44"/>
                  </a:cubicBezTo>
                  <a:cubicBezTo>
                    <a:pt x="90" y="44"/>
                    <a:pt x="90" y="44"/>
                    <a:pt x="90" y="44"/>
                  </a:cubicBezTo>
                  <a:cubicBezTo>
                    <a:pt x="89" y="45"/>
                    <a:pt x="89" y="45"/>
                    <a:pt x="89" y="45"/>
                  </a:cubicBezTo>
                  <a:cubicBezTo>
                    <a:pt x="89" y="45"/>
                    <a:pt x="89" y="45"/>
                    <a:pt x="89" y="45"/>
                  </a:cubicBezTo>
                  <a:cubicBezTo>
                    <a:pt x="89" y="46"/>
                    <a:pt x="89" y="46"/>
                    <a:pt x="89" y="46"/>
                  </a:cubicBezTo>
                  <a:cubicBezTo>
                    <a:pt x="90" y="46"/>
                    <a:pt x="90" y="46"/>
                    <a:pt x="90" y="46"/>
                  </a:cubicBezTo>
                  <a:cubicBezTo>
                    <a:pt x="90" y="47"/>
                    <a:pt x="91" y="47"/>
                    <a:pt x="91" y="47"/>
                  </a:cubicBezTo>
                  <a:cubicBezTo>
                    <a:pt x="92" y="47"/>
                    <a:pt x="93" y="47"/>
                    <a:pt x="94" y="48"/>
                  </a:cubicBezTo>
                  <a:cubicBezTo>
                    <a:pt x="96" y="48"/>
                    <a:pt x="97" y="49"/>
                    <a:pt x="99" y="49"/>
                  </a:cubicBezTo>
                  <a:cubicBezTo>
                    <a:pt x="100" y="50"/>
                    <a:pt x="100" y="51"/>
                    <a:pt x="101" y="53"/>
                  </a:cubicBezTo>
                  <a:cubicBezTo>
                    <a:pt x="102" y="55"/>
                    <a:pt x="100" y="57"/>
                    <a:pt x="100" y="58"/>
                  </a:cubicBezTo>
                  <a:cubicBezTo>
                    <a:pt x="99" y="58"/>
                    <a:pt x="99" y="58"/>
                    <a:pt x="99" y="58"/>
                  </a:cubicBezTo>
                  <a:cubicBezTo>
                    <a:pt x="99" y="59"/>
                    <a:pt x="100" y="59"/>
                    <a:pt x="100" y="60"/>
                  </a:cubicBezTo>
                  <a:cubicBezTo>
                    <a:pt x="100" y="60"/>
                    <a:pt x="100" y="60"/>
                    <a:pt x="100" y="60"/>
                  </a:cubicBezTo>
                  <a:cubicBezTo>
                    <a:pt x="102" y="62"/>
                    <a:pt x="102" y="65"/>
                    <a:pt x="100" y="68"/>
                  </a:cubicBezTo>
                  <a:cubicBezTo>
                    <a:pt x="98" y="69"/>
                    <a:pt x="97" y="69"/>
                    <a:pt x="96" y="69"/>
                  </a:cubicBezTo>
                  <a:cubicBezTo>
                    <a:pt x="95" y="70"/>
                    <a:pt x="95" y="70"/>
                    <a:pt x="95" y="70"/>
                  </a:cubicBezTo>
                  <a:cubicBezTo>
                    <a:pt x="94" y="70"/>
                    <a:pt x="94" y="70"/>
                    <a:pt x="94" y="70"/>
                  </a:cubicBezTo>
                  <a:cubicBezTo>
                    <a:pt x="93" y="70"/>
                    <a:pt x="93" y="70"/>
                    <a:pt x="93" y="70"/>
                  </a:cubicBezTo>
                  <a:cubicBezTo>
                    <a:pt x="93" y="70"/>
                    <a:pt x="92" y="70"/>
                    <a:pt x="92" y="70"/>
                  </a:cubicBezTo>
                  <a:cubicBezTo>
                    <a:pt x="91" y="69"/>
                    <a:pt x="91" y="69"/>
                    <a:pt x="91" y="69"/>
                  </a:cubicBezTo>
                  <a:cubicBezTo>
                    <a:pt x="91" y="69"/>
                    <a:pt x="91" y="69"/>
                    <a:pt x="91" y="69"/>
                  </a:cubicBezTo>
                  <a:cubicBezTo>
                    <a:pt x="91" y="69"/>
                    <a:pt x="91" y="69"/>
                    <a:pt x="91" y="69"/>
                  </a:cubicBezTo>
                  <a:cubicBezTo>
                    <a:pt x="91" y="69"/>
                    <a:pt x="91" y="69"/>
                    <a:pt x="91" y="69"/>
                  </a:cubicBezTo>
                  <a:cubicBezTo>
                    <a:pt x="89" y="69"/>
                    <a:pt x="88" y="70"/>
                    <a:pt x="87" y="70"/>
                  </a:cubicBezTo>
                  <a:cubicBezTo>
                    <a:pt x="86" y="70"/>
                    <a:pt x="86" y="70"/>
                    <a:pt x="85" y="70"/>
                  </a:cubicBezTo>
                  <a:cubicBezTo>
                    <a:pt x="84" y="70"/>
                    <a:pt x="84" y="70"/>
                    <a:pt x="84" y="70"/>
                  </a:cubicBezTo>
                  <a:cubicBezTo>
                    <a:pt x="84" y="70"/>
                    <a:pt x="83" y="70"/>
                    <a:pt x="83" y="70"/>
                  </a:cubicBezTo>
                  <a:cubicBezTo>
                    <a:pt x="81" y="70"/>
                    <a:pt x="81" y="70"/>
                    <a:pt x="81" y="70"/>
                  </a:cubicBezTo>
                  <a:cubicBezTo>
                    <a:pt x="79" y="70"/>
                    <a:pt x="77" y="70"/>
                    <a:pt x="76" y="70"/>
                  </a:cubicBezTo>
                  <a:cubicBezTo>
                    <a:pt x="75" y="70"/>
                    <a:pt x="75" y="70"/>
                    <a:pt x="75" y="70"/>
                  </a:cubicBezTo>
                  <a:cubicBezTo>
                    <a:pt x="73" y="70"/>
                    <a:pt x="71" y="71"/>
                    <a:pt x="69" y="71"/>
                  </a:cubicBezTo>
                  <a:cubicBezTo>
                    <a:pt x="68" y="71"/>
                    <a:pt x="68" y="71"/>
                    <a:pt x="68" y="71"/>
                  </a:cubicBezTo>
                  <a:cubicBezTo>
                    <a:pt x="67" y="71"/>
                    <a:pt x="67" y="71"/>
                    <a:pt x="66" y="70"/>
                  </a:cubicBezTo>
                  <a:cubicBezTo>
                    <a:pt x="65" y="70"/>
                    <a:pt x="65" y="70"/>
                    <a:pt x="65" y="70"/>
                  </a:cubicBezTo>
                  <a:cubicBezTo>
                    <a:pt x="65" y="70"/>
                    <a:pt x="64" y="70"/>
                    <a:pt x="64" y="70"/>
                  </a:cubicBezTo>
                  <a:cubicBezTo>
                    <a:pt x="62" y="70"/>
                    <a:pt x="61" y="70"/>
                    <a:pt x="60" y="69"/>
                  </a:cubicBezTo>
                  <a:cubicBezTo>
                    <a:pt x="59" y="69"/>
                    <a:pt x="59" y="69"/>
                    <a:pt x="58" y="69"/>
                  </a:cubicBezTo>
                  <a:cubicBezTo>
                    <a:pt x="57" y="69"/>
                    <a:pt x="56" y="68"/>
                    <a:pt x="56" y="68"/>
                  </a:cubicBezTo>
                  <a:cubicBezTo>
                    <a:pt x="56" y="68"/>
                    <a:pt x="56" y="68"/>
                    <a:pt x="56" y="68"/>
                  </a:cubicBezTo>
                  <a:cubicBezTo>
                    <a:pt x="55" y="68"/>
                    <a:pt x="55" y="68"/>
                    <a:pt x="54" y="69"/>
                  </a:cubicBezTo>
                  <a:cubicBezTo>
                    <a:pt x="52" y="69"/>
                    <a:pt x="52" y="69"/>
                    <a:pt x="52" y="69"/>
                  </a:cubicBezTo>
                  <a:cubicBezTo>
                    <a:pt x="49" y="71"/>
                    <a:pt x="46" y="73"/>
                    <a:pt x="43" y="73"/>
                  </a:cubicBezTo>
                  <a:cubicBezTo>
                    <a:pt x="42" y="72"/>
                    <a:pt x="42" y="72"/>
                    <a:pt x="42" y="72"/>
                  </a:cubicBezTo>
                  <a:cubicBezTo>
                    <a:pt x="41" y="72"/>
                    <a:pt x="40" y="72"/>
                    <a:pt x="38" y="72"/>
                  </a:cubicBezTo>
                  <a:cubicBezTo>
                    <a:pt x="37" y="71"/>
                    <a:pt x="37" y="71"/>
                    <a:pt x="37" y="71"/>
                  </a:cubicBezTo>
                  <a:cubicBezTo>
                    <a:pt x="37" y="71"/>
                    <a:pt x="37" y="71"/>
                    <a:pt x="37" y="71"/>
                  </a:cubicBezTo>
                  <a:cubicBezTo>
                    <a:pt x="36" y="71"/>
                    <a:pt x="36" y="71"/>
                    <a:pt x="36" y="71"/>
                  </a:cubicBezTo>
                  <a:cubicBezTo>
                    <a:pt x="35" y="70"/>
                    <a:pt x="34" y="70"/>
                    <a:pt x="33" y="69"/>
                  </a:cubicBezTo>
                  <a:cubicBezTo>
                    <a:pt x="32" y="69"/>
                    <a:pt x="32" y="69"/>
                    <a:pt x="32" y="69"/>
                  </a:cubicBezTo>
                  <a:cubicBezTo>
                    <a:pt x="31" y="69"/>
                    <a:pt x="31" y="69"/>
                    <a:pt x="30" y="69"/>
                  </a:cubicBezTo>
                  <a:cubicBezTo>
                    <a:pt x="30" y="69"/>
                    <a:pt x="30" y="69"/>
                    <a:pt x="29" y="69"/>
                  </a:cubicBezTo>
                  <a:cubicBezTo>
                    <a:pt x="28" y="69"/>
                    <a:pt x="28" y="69"/>
                    <a:pt x="28" y="69"/>
                  </a:cubicBezTo>
                  <a:cubicBezTo>
                    <a:pt x="27" y="69"/>
                    <a:pt x="26" y="69"/>
                    <a:pt x="25" y="69"/>
                  </a:cubicBezTo>
                  <a:cubicBezTo>
                    <a:pt x="24" y="68"/>
                    <a:pt x="23" y="68"/>
                    <a:pt x="22" y="67"/>
                  </a:cubicBezTo>
                  <a:cubicBezTo>
                    <a:pt x="20" y="67"/>
                    <a:pt x="20" y="66"/>
                    <a:pt x="19" y="65"/>
                  </a:cubicBezTo>
                  <a:cubicBezTo>
                    <a:pt x="18" y="64"/>
                    <a:pt x="18" y="64"/>
                    <a:pt x="18" y="64"/>
                  </a:cubicBezTo>
                  <a:cubicBezTo>
                    <a:pt x="17" y="63"/>
                    <a:pt x="17" y="62"/>
                    <a:pt x="16" y="61"/>
                  </a:cubicBezTo>
                  <a:cubicBezTo>
                    <a:pt x="16" y="61"/>
                    <a:pt x="15" y="61"/>
                    <a:pt x="15" y="61"/>
                  </a:cubicBezTo>
                  <a:cubicBezTo>
                    <a:pt x="11" y="59"/>
                    <a:pt x="11" y="59"/>
                    <a:pt x="11" y="59"/>
                  </a:cubicBezTo>
                  <a:cubicBezTo>
                    <a:pt x="14" y="56"/>
                    <a:pt x="14" y="56"/>
                    <a:pt x="14" y="56"/>
                  </a:cubicBezTo>
                  <a:cubicBezTo>
                    <a:pt x="15" y="55"/>
                    <a:pt x="15" y="54"/>
                    <a:pt x="16" y="54"/>
                  </a:cubicBezTo>
                  <a:cubicBezTo>
                    <a:pt x="16" y="53"/>
                    <a:pt x="16" y="53"/>
                    <a:pt x="16" y="53"/>
                  </a:cubicBezTo>
                  <a:cubicBezTo>
                    <a:pt x="16" y="53"/>
                    <a:pt x="16" y="53"/>
                    <a:pt x="16" y="53"/>
                  </a:cubicBezTo>
                  <a:cubicBezTo>
                    <a:pt x="16" y="53"/>
                    <a:pt x="16" y="53"/>
                    <a:pt x="16" y="53"/>
                  </a:cubicBezTo>
                  <a:cubicBezTo>
                    <a:pt x="15" y="52"/>
                    <a:pt x="15" y="52"/>
                    <a:pt x="15" y="52"/>
                  </a:cubicBezTo>
                  <a:cubicBezTo>
                    <a:pt x="15" y="51"/>
                    <a:pt x="14" y="50"/>
                    <a:pt x="14" y="50"/>
                  </a:cubicBezTo>
                  <a:cubicBezTo>
                    <a:pt x="14" y="49"/>
                    <a:pt x="14" y="49"/>
                    <a:pt x="14" y="49"/>
                  </a:cubicBezTo>
                  <a:cubicBezTo>
                    <a:pt x="14" y="47"/>
                    <a:pt x="14" y="45"/>
                    <a:pt x="15" y="44"/>
                  </a:cubicBezTo>
                  <a:cubicBezTo>
                    <a:pt x="15" y="42"/>
                    <a:pt x="15" y="42"/>
                    <a:pt x="15" y="42"/>
                  </a:cubicBezTo>
                  <a:cubicBezTo>
                    <a:pt x="16" y="42"/>
                    <a:pt x="16" y="41"/>
                    <a:pt x="16" y="41"/>
                  </a:cubicBezTo>
                  <a:cubicBezTo>
                    <a:pt x="16" y="40"/>
                    <a:pt x="16" y="40"/>
                    <a:pt x="16" y="40"/>
                  </a:cubicBezTo>
                  <a:cubicBezTo>
                    <a:pt x="10" y="39"/>
                    <a:pt x="10" y="39"/>
                    <a:pt x="10" y="39"/>
                  </a:cubicBezTo>
                  <a:cubicBezTo>
                    <a:pt x="16" y="38"/>
                    <a:pt x="16" y="38"/>
                    <a:pt x="16" y="38"/>
                  </a:cubicBezTo>
                  <a:cubicBezTo>
                    <a:pt x="16" y="38"/>
                    <a:pt x="16" y="37"/>
                    <a:pt x="16" y="37"/>
                  </a:cubicBezTo>
                  <a:cubicBezTo>
                    <a:pt x="15" y="37"/>
                    <a:pt x="15" y="37"/>
                    <a:pt x="15" y="37"/>
                  </a:cubicBezTo>
                  <a:cubicBezTo>
                    <a:pt x="15" y="36"/>
                    <a:pt x="15" y="36"/>
                    <a:pt x="14" y="36"/>
                  </a:cubicBezTo>
                  <a:cubicBezTo>
                    <a:pt x="13" y="36"/>
                    <a:pt x="13" y="36"/>
                    <a:pt x="13" y="36"/>
                  </a:cubicBezTo>
                  <a:cubicBezTo>
                    <a:pt x="12" y="36"/>
                    <a:pt x="12" y="36"/>
                    <a:pt x="12" y="36"/>
                  </a:cubicBezTo>
                  <a:cubicBezTo>
                    <a:pt x="10" y="37"/>
                    <a:pt x="8" y="38"/>
                    <a:pt x="6" y="39"/>
                  </a:cubicBezTo>
                  <a:cubicBezTo>
                    <a:pt x="5" y="40"/>
                    <a:pt x="4" y="41"/>
                    <a:pt x="3" y="41"/>
                  </a:cubicBezTo>
                  <a:cubicBezTo>
                    <a:pt x="3" y="45"/>
                    <a:pt x="3" y="45"/>
                    <a:pt x="3" y="45"/>
                  </a:cubicBezTo>
                  <a:cubicBezTo>
                    <a:pt x="2" y="48"/>
                    <a:pt x="1" y="51"/>
                    <a:pt x="1" y="53"/>
                  </a:cubicBezTo>
                  <a:cubicBezTo>
                    <a:pt x="0" y="56"/>
                    <a:pt x="0" y="57"/>
                    <a:pt x="1" y="59"/>
                  </a:cubicBezTo>
                  <a:cubicBezTo>
                    <a:pt x="1" y="60"/>
                    <a:pt x="1" y="60"/>
                    <a:pt x="1" y="60"/>
                  </a:cubicBezTo>
                  <a:cubicBezTo>
                    <a:pt x="2" y="61"/>
                    <a:pt x="2" y="61"/>
                    <a:pt x="2" y="61"/>
                  </a:cubicBezTo>
                  <a:cubicBezTo>
                    <a:pt x="2" y="61"/>
                    <a:pt x="2" y="62"/>
                    <a:pt x="3" y="63"/>
                  </a:cubicBezTo>
                  <a:cubicBezTo>
                    <a:pt x="3" y="64"/>
                    <a:pt x="3" y="64"/>
                    <a:pt x="3" y="64"/>
                  </a:cubicBezTo>
                  <a:cubicBezTo>
                    <a:pt x="4" y="64"/>
                    <a:pt x="4" y="65"/>
                    <a:pt x="4" y="65"/>
                  </a:cubicBezTo>
                  <a:cubicBezTo>
                    <a:pt x="5" y="66"/>
                    <a:pt x="5" y="67"/>
                    <a:pt x="5" y="67"/>
                  </a:cubicBezTo>
                  <a:cubicBezTo>
                    <a:pt x="5" y="68"/>
                    <a:pt x="5" y="69"/>
                    <a:pt x="5" y="70"/>
                  </a:cubicBezTo>
                  <a:cubicBezTo>
                    <a:pt x="5" y="71"/>
                    <a:pt x="4" y="71"/>
                    <a:pt x="4" y="72"/>
                  </a:cubicBezTo>
                  <a:cubicBezTo>
                    <a:pt x="5" y="72"/>
                    <a:pt x="5" y="72"/>
                    <a:pt x="5" y="72"/>
                  </a:cubicBezTo>
                  <a:cubicBezTo>
                    <a:pt x="5" y="71"/>
                    <a:pt x="7" y="70"/>
                    <a:pt x="8" y="70"/>
                  </a:cubicBezTo>
                  <a:cubicBezTo>
                    <a:pt x="8" y="70"/>
                    <a:pt x="8" y="70"/>
                    <a:pt x="8" y="70"/>
                  </a:cubicBezTo>
                  <a:cubicBezTo>
                    <a:pt x="10" y="71"/>
                    <a:pt x="12" y="72"/>
                    <a:pt x="14" y="75"/>
                  </a:cubicBezTo>
                  <a:cubicBezTo>
                    <a:pt x="15" y="75"/>
                    <a:pt x="15" y="76"/>
                    <a:pt x="16" y="76"/>
                  </a:cubicBezTo>
                  <a:cubicBezTo>
                    <a:pt x="16" y="77"/>
                    <a:pt x="16" y="77"/>
                    <a:pt x="16" y="77"/>
                  </a:cubicBezTo>
                  <a:cubicBezTo>
                    <a:pt x="17" y="77"/>
                    <a:pt x="17" y="77"/>
                    <a:pt x="17" y="77"/>
                  </a:cubicBezTo>
                  <a:cubicBezTo>
                    <a:pt x="18" y="74"/>
                    <a:pt x="18" y="74"/>
                    <a:pt x="18" y="74"/>
                  </a:cubicBezTo>
                  <a:cubicBezTo>
                    <a:pt x="18" y="69"/>
                    <a:pt x="18" y="69"/>
                    <a:pt x="18" y="69"/>
                  </a:cubicBezTo>
                  <a:cubicBezTo>
                    <a:pt x="25" y="75"/>
                    <a:pt x="25" y="75"/>
                    <a:pt x="25" y="75"/>
                  </a:cubicBezTo>
                  <a:cubicBezTo>
                    <a:pt x="25" y="76"/>
                    <a:pt x="26" y="76"/>
                    <a:pt x="27" y="78"/>
                  </a:cubicBezTo>
                  <a:cubicBezTo>
                    <a:pt x="27" y="78"/>
                    <a:pt x="28" y="79"/>
                    <a:pt x="28" y="80"/>
                  </a:cubicBezTo>
                  <a:cubicBezTo>
                    <a:pt x="29" y="81"/>
                    <a:pt x="29" y="81"/>
                    <a:pt x="29" y="81"/>
                  </a:cubicBezTo>
                  <a:cubicBezTo>
                    <a:pt x="30" y="84"/>
                    <a:pt x="31" y="85"/>
                    <a:pt x="31" y="85"/>
                  </a:cubicBezTo>
                  <a:cubicBezTo>
                    <a:pt x="32" y="85"/>
                    <a:pt x="32" y="85"/>
                    <a:pt x="32" y="85"/>
                  </a:cubicBezTo>
                  <a:cubicBezTo>
                    <a:pt x="32" y="85"/>
                    <a:pt x="32" y="85"/>
                    <a:pt x="33" y="85"/>
                  </a:cubicBezTo>
                  <a:cubicBezTo>
                    <a:pt x="33" y="85"/>
                    <a:pt x="34" y="85"/>
                    <a:pt x="35" y="84"/>
                  </a:cubicBezTo>
                  <a:cubicBezTo>
                    <a:pt x="35" y="84"/>
                    <a:pt x="35" y="84"/>
                    <a:pt x="35" y="84"/>
                  </a:cubicBezTo>
                  <a:cubicBezTo>
                    <a:pt x="36" y="83"/>
                    <a:pt x="36" y="83"/>
                    <a:pt x="36" y="82"/>
                  </a:cubicBezTo>
                  <a:cubicBezTo>
                    <a:pt x="38" y="76"/>
                    <a:pt x="38" y="76"/>
                    <a:pt x="38" y="76"/>
                  </a:cubicBezTo>
                  <a:cubicBezTo>
                    <a:pt x="42" y="82"/>
                    <a:pt x="42" y="82"/>
                    <a:pt x="42" y="82"/>
                  </a:cubicBezTo>
                  <a:cubicBezTo>
                    <a:pt x="42" y="83"/>
                    <a:pt x="43" y="84"/>
                    <a:pt x="43" y="85"/>
                  </a:cubicBezTo>
                  <a:cubicBezTo>
                    <a:pt x="44" y="88"/>
                    <a:pt x="45" y="91"/>
                    <a:pt x="45" y="94"/>
                  </a:cubicBezTo>
                  <a:cubicBezTo>
                    <a:pt x="45" y="96"/>
                    <a:pt x="45" y="97"/>
                    <a:pt x="45" y="98"/>
                  </a:cubicBezTo>
                  <a:cubicBezTo>
                    <a:pt x="45" y="99"/>
                    <a:pt x="45" y="99"/>
                    <a:pt x="45" y="99"/>
                  </a:cubicBezTo>
                  <a:cubicBezTo>
                    <a:pt x="45" y="100"/>
                    <a:pt x="45" y="102"/>
                    <a:pt x="45" y="103"/>
                  </a:cubicBezTo>
                  <a:cubicBezTo>
                    <a:pt x="45" y="103"/>
                    <a:pt x="45" y="103"/>
                    <a:pt x="45" y="103"/>
                  </a:cubicBezTo>
                  <a:cubicBezTo>
                    <a:pt x="45" y="104"/>
                    <a:pt x="45" y="104"/>
                    <a:pt x="45" y="104"/>
                  </a:cubicBezTo>
                  <a:cubicBezTo>
                    <a:pt x="46" y="104"/>
                    <a:pt x="46" y="104"/>
                    <a:pt x="46" y="104"/>
                  </a:cubicBezTo>
                  <a:cubicBezTo>
                    <a:pt x="46" y="104"/>
                    <a:pt x="47" y="104"/>
                    <a:pt x="48" y="104"/>
                  </a:cubicBezTo>
                  <a:cubicBezTo>
                    <a:pt x="48" y="105"/>
                    <a:pt x="48" y="105"/>
                    <a:pt x="48" y="105"/>
                  </a:cubicBezTo>
                  <a:cubicBezTo>
                    <a:pt x="50" y="105"/>
                    <a:pt x="51" y="106"/>
                    <a:pt x="53" y="106"/>
                  </a:cubicBezTo>
                  <a:cubicBezTo>
                    <a:pt x="54" y="106"/>
                    <a:pt x="54" y="107"/>
                    <a:pt x="55" y="107"/>
                  </a:cubicBezTo>
                  <a:cubicBezTo>
                    <a:pt x="56" y="107"/>
                    <a:pt x="56" y="107"/>
                    <a:pt x="56" y="107"/>
                  </a:cubicBezTo>
                  <a:cubicBezTo>
                    <a:pt x="57" y="107"/>
                    <a:pt x="57" y="108"/>
                    <a:pt x="57" y="108"/>
                  </a:cubicBezTo>
                  <a:cubicBezTo>
                    <a:pt x="58" y="108"/>
                    <a:pt x="58" y="108"/>
                    <a:pt x="58" y="108"/>
                  </a:cubicBezTo>
                  <a:cubicBezTo>
                    <a:pt x="58" y="108"/>
                    <a:pt x="59" y="108"/>
                    <a:pt x="60" y="108"/>
                  </a:cubicBezTo>
                  <a:cubicBezTo>
                    <a:pt x="60" y="107"/>
                    <a:pt x="60" y="107"/>
                    <a:pt x="60" y="107"/>
                  </a:cubicBezTo>
                  <a:cubicBezTo>
                    <a:pt x="61" y="107"/>
                    <a:pt x="62" y="107"/>
                    <a:pt x="63" y="107"/>
                  </a:cubicBezTo>
                  <a:cubicBezTo>
                    <a:pt x="63" y="107"/>
                    <a:pt x="64" y="107"/>
                    <a:pt x="64" y="107"/>
                  </a:cubicBezTo>
                  <a:cubicBezTo>
                    <a:pt x="65" y="107"/>
                    <a:pt x="65" y="107"/>
                    <a:pt x="65" y="107"/>
                  </a:cubicBezTo>
                  <a:cubicBezTo>
                    <a:pt x="65" y="107"/>
                    <a:pt x="66" y="107"/>
                    <a:pt x="66" y="107"/>
                  </a:cubicBezTo>
                  <a:cubicBezTo>
                    <a:pt x="67" y="107"/>
                    <a:pt x="68" y="107"/>
                    <a:pt x="68" y="107"/>
                  </a:cubicBezTo>
                  <a:cubicBezTo>
                    <a:pt x="69" y="107"/>
                    <a:pt x="69" y="107"/>
                    <a:pt x="69" y="107"/>
                  </a:cubicBezTo>
                  <a:cubicBezTo>
                    <a:pt x="70" y="107"/>
                    <a:pt x="72" y="106"/>
                    <a:pt x="73" y="106"/>
                  </a:cubicBezTo>
                  <a:cubicBezTo>
                    <a:pt x="74" y="106"/>
                    <a:pt x="75" y="106"/>
                    <a:pt x="75" y="106"/>
                  </a:cubicBezTo>
                  <a:cubicBezTo>
                    <a:pt x="76" y="107"/>
                    <a:pt x="76" y="107"/>
                    <a:pt x="76" y="107"/>
                  </a:cubicBezTo>
                  <a:cubicBezTo>
                    <a:pt x="80" y="107"/>
                    <a:pt x="84" y="108"/>
                    <a:pt x="88" y="108"/>
                  </a:cubicBezTo>
                  <a:cubicBezTo>
                    <a:pt x="89" y="108"/>
                    <a:pt x="89" y="108"/>
                    <a:pt x="89" y="108"/>
                  </a:cubicBezTo>
                  <a:cubicBezTo>
                    <a:pt x="90" y="108"/>
                    <a:pt x="91" y="108"/>
                    <a:pt x="92" y="108"/>
                  </a:cubicBezTo>
                  <a:cubicBezTo>
                    <a:pt x="93" y="107"/>
                    <a:pt x="93" y="107"/>
                    <a:pt x="93" y="107"/>
                  </a:cubicBezTo>
                  <a:cubicBezTo>
                    <a:pt x="94" y="107"/>
                    <a:pt x="95" y="107"/>
                    <a:pt x="96" y="107"/>
                  </a:cubicBezTo>
                  <a:cubicBezTo>
                    <a:pt x="97" y="107"/>
                    <a:pt x="99" y="107"/>
                    <a:pt x="101" y="108"/>
                  </a:cubicBezTo>
                  <a:cubicBezTo>
                    <a:pt x="102" y="108"/>
                    <a:pt x="103" y="109"/>
                    <a:pt x="104" y="109"/>
                  </a:cubicBezTo>
                  <a:cubicBezTo>
                    <a:pt x="105" y="110"/>
                    <a:pt x="105" y="110"/>
                    <a:pt x="105" y="110"/>
                  </a:cubicBezTo>
                  <a:cubicBezTo>
                    <a:pt x="105" y="110"/>
                    <a:pt x="106" y="110"/>
                    <a:pt x="106" y="111"/>
                  </a:cubicBezTo>
                  <a:cubicBezTo>
                    <a:pt x="108" y="111"/>
                    <a:pt x="109" y="113"/>
                    <a:pt x="109" y="114"/>
                  </a:cubicBezTo>
                  <a:cubicBezTo>
                    <a:pt x="110" y="114"/>
                    <a:pt x="110" y="115"/>
                    <a:pt x="110" y="115"/>
                  </a:cubicBezTo>
                  <a:cubicBezTo>
                    <a:pt x="115" y="119"/>
                    <a:pt x="115" y="119"/>
                    <a:pt x="115" y="119"/>
                  </a:cubicBezTo>
                  <a:cubicBezTo>
                    <a:pt x="107" y="120"/>
                    <a:pt x="107" y="120"/>
                    <a:pt x="107" y="120"/>
                  </a:cubicBezTo>
                  <a:cubicBezTo>
                    <a:pt x="104" y="122"/>
                    <a:pt x="104" y="122"/>
                    <a:pt x="104" y="122"/>
                  </a:cubicBezTo>
                  <a:cubicBezTo>
                    <a:pt x="104" y="124"/>
                    <a:pt x="104" y="126"/>
                    <a:pt x="103" y="128"/>
                  </a:cubicBezTo>
                  <a:cubicBezTo>
                    <a:pt x="102" y="129"/>
                    <a:pt x="102" y="129"/>
                    <a:pt x="102" y="129"/>
                  </a:cubicBezTo>
                  <a:cubicBezTo>
                    <a:pt x="102" y="129"/>
                    <a:pt x="102" y="129"/>
                    <a:pt x="101" y="130"/>
                  </a:cubicBezTo>
                  <a:cubicBezTo>
                    <a:pt x="101" y="130"/>
                    <a:pt x="100" y="131"/>
                    <a:pt x="99" y="132"/>
                  </a:cubicBezTo>
                  <a:cubicBezTo>
                    <a:pt x="98" y="132"/>
                    <a:pt x="98" y="132"/>
                    <a:pt x="98" y="132"/>
                  </a:cubicBezTo>
                  <a:cubicBezTo>
                    <a:pt x="98" y="133"/>
                    <a:pt x="98" y="133"/>
                    <a:pt x="98" y="133"/>
                  </a:cubicBezTo>
                  <a:cubicBezTo>
                    <a:pt x="98" y="133"/>
                    <a:pt x="98" y="133"/>
                    <a:pt x="98" y="133"/>
                  </a:cubicBezTo>
                  <a:cubicBezTo>
                    <a:pt x="98" y="133"/>
                    <a:pt x="98" y="133"/>
                    <a:pt x="98" y="133"/>
                  </a:cubicBezTo>
                  <a:cubicBezTo>
                    <a:pt x="97" y="133"/>
                    <a:pt x="97" y="133"/>
                    <a:pt x="97" y="133"/>
                  </a:cubicBezTo>
                  <a:cubicBezTo>
                    <a:pt x="97" y="134"/>
                    <a:pt x="97" y="134"/>
                    <a:pt x="97" y="134"/>
                  </a:cubicBezTo>
                  <a:cubicBezTo>
                    <a:pt x="96" y="134"/>
                    <a:pt x="96" y="135"/>
                    <a:pt x="96" y="136"/>
                  </a:cubicBezTo>
                  <a:cubicBezTo>
                    <a:pt x="96" y="136"/>
                    <a:pt x="96" y="137"/>
                    <a:pt x="96" y="138"/>
                  </a:cubicBezTo>
                  <a:cubicBezTo>
                    <a:pt x="95" y="141"/>
                    <a:pt x="95" y="141"/>
                    <a:pt x="95" y="141"/>
                  </a:cubicBezTo>
                  <a:cubicBezTo>
                    <a:pt x="92" y="139"/>
                    <a:pt x="92" y="139"/>
                    <a:pt x="92" y="139"/>
                  </a:cubicBezTo>
                  <a:cubicBezTo>
                    <a:pt x="90" y="139"/>
                    <a:pt x="89" y="139"/>
                    <a:pt x="89" y="139"/>
                  </a:cubicBezTo>
                  <a:cubicBezTo>
                    <a:pt x="89" y="139"/>
                    <a:pt x="89" y="139"/>
                    <a:pt x="89" y="139"/>
                  </a:cubicBezTo>
                  <a:cubicBezTo>
                    <a:pt x="89" y="140"/>
                    <a:pt x="89" y="140"/>
                    <a:pt x="89" y="140"/>
                  </a:cubicBezTo>
                  <a:cubicBezTo>
                    <a:pt x="88" y="139"/>
                    <a:pt x="88" y="139"/>
                    <a:pt x="88" y="139"/>
                  </a:cubicBezTo>
                  <a:cubicBezTo>
                    <a:pt x="80" y="147"/>
                    <a:pt x="80" y="147"/>
                    <a:pt x="80" y="147"/>
                  </a:cubicBezTo>
                  <a:cubicBezTo>
                    <a:pt x="80" y="148"/>
                    <a:pt x="79" y="148"/>
                    <a:pt x="79" y="149"/>
                  </a:cubicBezTo>
                  <a:cubicBezTo>
                    <a:pt x="79" y="149"/>
                    <a:pt x="79" y="149"/>
                    <a:pt x="79" y="149"/>
                  </a:cubicBezTo>
                  <a:cubicBezTo>
                    <a:pt x="79" y="150"/>
                    <a:pt x="79" y="150"/>
                    <a:pt x="79" y="150"/>
                  </a:cubicBezTo>
                  <a:cubicBezTo>
                    <a:pt x="79" y="151"/>
                    <a:pt x="79" y="151"/>
                    <a:pt x="79" y="151"/>
                  </a:cubicBezTo>
                  <a:cubicBezTo>
                    <a:pt x="80" y="152"/>
                    <a:pt x="80" y="153"/>
                    <a:pt x="80" y="153"/>
                  </a:cubicBezTo>
                  <a:cubicBezTo>
                    <a:pt x="80" y="154"/>
                    <a:pt x="80" y="154"/>
                    <a:pt x="80" y="154"/>
                  </a:cubicBezTo>
                  <a:cubicBezTo>
                    <a:pt x="81" y="154"/>
                    <a:pt x="81" y="155"/>
                    <a:pt x="81" y="155"/>
                  </a:cubicBezTo>
                  <a:cubicBezTo>
                    <a:pt x="84" y="158"/>
                    <a:pt x="84" y="158"/>
                    <a:pt x="84" y="158"/>
                  </a:cubicBezTo>
                  <a:cubicBezTo>
                    <a:pt x="86" y="159"/>
                    <a:pt x="86" y="161"/>
                    <a:pt x="87" y="163"/>
                  </a:cubicBezTo>
                  <a:cubicBezTo>
                    <a:pt x="87" y="163"/>
                    <a:pt x="87" y="164"/>
                    <a:pt x="87" y="165"/>
                  </a:cubicBezTo>
                  <a:cubicBezTo>
                    <a:pt x="87" y="164"/>
                    <a:pt x="87" y="164"/>
                    <a:pt x="88" y="164"/>
                  </a:cubicBezTo>
                  <a:cubicBezTo>
                    <a:pt x="88" y="162"/>
                    <a:pt x="89" y="160"/>
                    <a:pt x="89" y="159"/>
                  </a:cubicBezTo>
                  <a:cubicBezTo>
                    <a:pt x="89" y="158"/>
                    <a:pt x="90" y="158"/>
                    <a:pt x="90" y="157"/>
                  </a:cubicBezTo>
                  <a:cubicBezTo>
                    <a:pt x="90" y="157"/>
                    <a:pt x="90" y="157"/>
                    <a:pt x="90" y="157"/>
                  </a:cubicBezTo>
                  <a:cubicBezTo>
                    <a:pt x="91" y="155"/>
                    <a:pt x="91" y="153"/>
                    <a:pt x="91" y="151"/>
                  </a:cubicBezTo>
                  <a:cubicBezTo>
                    <a:pt x="92" y="150"/>
                    <a:pt x="92" y="149"/>
                    <a:pt x="92" y="147"/>
                  </a:cubicBezTo>
                  <a:cubicBezTo>
                    <a:pt x="94" y="141"/>
                    <a:pt x="94" y="141"/>
                    <a:pt x="94" y="141"/>
                  </a:cubicBezTo>
                  <a:cubicBezTo>
                    <a:pt x="97" y="146"/>
                    <a:pt x="97" y="146"/>
                    <a:pt x="97" y="146"/>
                  </a:cubicBezTo>
                  <a:cubicBezTo>
                    <a:pt x="99" y="145"/>
                    <a:pt x="100" y="145"/>
                    <a:pt x="101" y="145"/>
                  </a:cubicBezTo>
                  <a:cubicBezTo>
                    <a:pt x="102" y="145"/>
                    <a:pt x="102" y="145"/>
                    <a:pt x="102" y="145"/>
                  </a:cubicBezTo>
                  <a:cubicBezTo>
                    <a:pt x="103" y="145"/>
                    <a:pt x="103" y="145"/>
                    <a:pt x="103" y="145"/>
                  </a:cubicBezTo>
                  <a:cubicBezTo>
                    <a:pt x="104" y="145"/>
                    <a:pt x="104" y="145"/>
                    <a:pt x="104" y="145"/>
                  </a:cubicBezTo>
                  <a:cubicBezTo>
                    <a:pt x="105" y="146"/>
                    <a:pt x="105" y="147"/>
                    <a:pt x="106" y="149"/>
                  </a:cubicBezTo>
                  <a:cubicBezTo>
                    <a:pt x="107" y="151"/>
                    <a:pt x="107" y="154"/>
                    <a:pt x="107" y="156"/>
                  </a:cubicBezTo>
                  <a:cubicBezTo>
                    <a:pt x="108" y="158"/>
                    <a:pt x="108" y="161"/>
                    <a:pt x="108" y="164"/>
                  </a:cubicBezTo>
                  <a:cubicBezTo>
                    <a:pt x="115" y="163"/>
                    <a:pt x="115" y="163"/>
                    <a:pt x="115" y="163"/>
                  </a:cubicBezTo>
                  <a:cubicBezTo>
                    <a:pt x="108" y="165"/>
                    <a:pt x="108" y="165"/>
                    <a:pt x="108" y="165"/>
                  </a:cubicBezTo>
                  <a:cubicBezTo>
                    <a:pt x="108" y="165"/>
                    <a:pt x="108" y="165"/>
                    <a:pt x="108" y="165"/>
                  </a:cubicBezTo>
                  <a:cubicBezTo>
                    <a:pt x="108" y="167"/>
                    <a:pt x="109" y="168"/>
                    <a:pt x="110" y="171"/>
                  </a:cubicBezTo>
                  <a:cubicBezTo>
                    <a:pt x="110" y="171"/>
                    <a:pt x="110" y="171"/>
                    <a:pt x="110" y="171"/>
                  </a:cubicBezTo>
                  <a:cubicBezTo>
                    <a:pt x="111" y="175"/>
                    <a:pt x="112" y="178"/>
                    <a:pt x="112" y="180"/>
                  </a:cubicBezTo>
                  <a:cubicBezTo>
                    <a:pt x="114" y="191"/>
                    <a:pt x="114" y="191"/>
                    <a:pt x="114" y="191"/>
                  </a:cubicBezTo>
                  <a:cubicBezTo>
                    <a:pt x="117" y="187"/>
                    <a:pt x="117" y="187"/>
                    <a:pt x="117" y="187"/>
                  </a:cubicBezTo>
                  <a:cubicBezTo>
                    <a:pt x="120" y="188"/>
                    <a:pt x="120" y="188"/>
                    <a:pt x="120" y="188"/>
                  </a:cubicBezTo>
                  <a:cubicBezTo>
                    <a:pt x="121" y="186"/>
                    <a:pt x="121" y="186"/>
                    <a:pt x="121" y="186"/>
                  </a:cubicBezTo>
                  <a:cubicBezTo>
                    <a:pt x="120" y="177"/>
                    <a:pt x="120" y="177"/>
                    <a:pt x="120" y="177"/>
                  </a:cubicBezTo>
                  <a:cubicBezTo>
                    <a:pt x="120" y="172"/>
                    <a:pt x="120" y="172"/>
                    <a:pt x="120" y="172"/>
                  </a:cubicBezTo>
                  <a:cubicBezTo>
                    <a:pt x="121" y="165"/>
                    <a:pt x="121" y="165"/>
                    <a:pt x="121" y="165"/>
                  </a:cubicBezTo>
                  <a:cubicBezTo>
                    <a:pt x="126" y="162"/>
                    <a:pt x="126" y="162"/>
                    <a:pt x="126" y="162"/>
                  </a:cubicBezTo>
                  <a:cubicBezTo>
                    <a:pt x="127" y="162"/>
                    <a:pt x="127" y="162"/>
                    <a:pt x="127" y="162"/>
                  </a:cubicBezTo>
                  <a:cubicBezTo>
                    <a:pt x="128" y="154"/>
                    <a:pt x="128" y="149"/>
                    <a:pt x="128" y="147"/>
                  </a:cubicBezTo>
                  <a:cubicBezTo>
                    <a:pt x="126" y="143"/>
                    <a:pt x="126" y="140"/>
                    <a:pt x="126" y="140"/>
                  </a:cubicBezTo>
                  <a:cubicBezTo>
                    <a:pt x="125" y="136"/>
                    <a:pt x="125" y="136"/>
                    <a:pt x="125" y="136"/>
                  </a:cubicBezTo>
                  <a:cubicBezTo>
                    <a:pt x="129" y="137"/>
                    <a:pt x="129" y="137"/>
                    <a:pt x="129" y="137"/>
                  </a:cubicBezTo>
                  <a:cubicBezTo>
                    <a:pt x="129" y="137"/>
                    <a:pt x="138" y="138"/>
                    <a:pt x="145" y="140"/>
                  </a:cubicBezTo>
                  <a:cubicBezTo>
                    <a:pt x="147" y="138"/>
                    <a:pt x="148" y="137"/>
                    <a:pt x="149" y="136"/>
                  </a:cubicBezTo>
                  <a:cubicBezTo>
                    <a:pt x="150" y="134"/>
                    <a:pt x="152" y="128"/>
                    <a:pt x="155" y="124"/>
                  </a:cubicBezTo>
                  <a:cubicBezTo>
                    <a:pt x="158" y="120"/>
                    <a:pt x="161" y="114"/>
                    <a:pt x="159" y="109"/>
                  </a:cubicBezTo>
                  <a:cubicBezTo>
                    <a:pt x="157" y="104"/>
                    <a:pt x="158" y="101"/>
                    <a:pt x="165" y="96"/>
                  </a:cubicBezTo>
                  <a:cubicBezTo>
                    <a:pt x="167" y="95"/>
                    <a:pt x="168" y="94"/>
                    <a:pt x="168" y="93"/>
                  </a:cubicBezTo>
                  <a:cubicBezTo>
                    <a:pt x="168" y="91"/>
                    <a:pt x="169" y="90"/>
                    <a:pt x="170" y="88"/>
                  </a:cubicBezTo>
                  <a:cubicBezTo>
                    <a:pt x="171" y="87"/>
                    <a:pt x="171" y="87"/>
                    <a:pt x="171" y="87"/>
                  </a:cubicBezTo>
                  <a:cubicBezTo>
                    <a:pt x="171" y="86"/>
                    <a:pt x="170" y="83"/>
                    <a:pt x="170" y="82"/>
                  </a:cubicBezTo>
                  <a:cubicBezTo>
                    <a:pt x="170" y="80"/>
                    <a:pt x="169" y="78"/>
                    <a:pt x="169" y="76"/>
                  </a:cubicBezTo>
                  <a:cubicBezTo>
                    <a:pt x="169" y="70"/>
                    <a:pt x="173" y="69"/>
                    <a:pt x="178" y="67"/>
                  </a:cubicBezTo>
                  <a:cubicBezTo>
                    <a:pt x="180" y="66"/>
                    <a:pt x="181" y="65"/>
                    <a:pt x="183" y="63"/>
                  </a:cubicBezTo>
                  <a:cubicBezTo>
                    <a:pt x="185" y="61"/>
                    <a:pt x="188" y="59"/>
                    <a:pt x="191" y="58"/>
                  </a:cubicBezTo>
                  <a:cubicBezTo>
                    <a:pt x="192" y="57"/>
                    <a:pt x="194" y="56"/>
                    <a:pt x="196" y="55"/>
                  </a:cubicBezTo>
                  <a:cubicBezTo>
                    <a:pt x="197" y="55"/>
                    <a:pt x="197" y="55"/>
                    <a:pt x="197" y="55"/>
                  </a:cubicBezTo>
                  <a:cubicBezTo>
                    <a:pt x="201" y="52"/>
                    <a:pt x="206" y="49"/>
                    <a:pt x="211" y="49"/>
                  </a:cubicBezTo>
                  <a:cubicBezTo>
                    <a:pt x="212" y="49"/>
                    <a:pt x="214" y="49"/>
                    <a:pt x="215" y="50"/>
                  </a:cubicBezTo>
                  <a:cubicBezTo>
                    <a:pt x="214" y="49"/>
                    <a:pt x="214" y="49"/>
                    <a:pt x="214" y="49"/>
                  </a:cubicBezTo>
                  <a:cubicBezTo>
                    <a:pt x="213" y="47"/>
                    <a:pt x="213" y="43"/>
                    <a:pt x="219" y="39"/>
                  </a:cubicBezTo>
                  <a:cubicBezTo>
                    <a:pt x="220" y="38"/>
                    <a:pt x="221" y="38"/>
                    <a:pt x="222" y="37"/>
                  </a:cubicBezTo>
                  <a:cubicBezTo>
                    <a:pt x="222" y="37"/>
                    <a:pt x="222" y="37"/>
                    <a:pt x="222" y="37"/>
                  </a:cubicBezTo>
                  <a:cubicBezTo>
                    <a:pt x="223" y="36"/>
                    <a:pt x="225" y="35"/>
                    <a:pt x="225" y="35"/>
                  </a:cubicBezTo>
                  <a:cubicBezTo>
                    <a:pt x="225" y="31"/>
                    <a:pt x="225" y="31"/>
                    <a:pt x="225" y="31"/>
                  </a:cubicBezTo>
                  <a:cubicBezTo>
                    <a:pt x="224" y="31"/>
                    <a:pt x="224" y="31"/>
                    <a:pt x="224" y="31"/>
                  </a:cubicBezTo>
                  <a:cubicBezTo>
                    <a:pt x="224" y="31"/>
                    <a:pt x="224" y="31"/>
                    <a:pt x="224" y="31"/>
                  </a:cubicBezTo>
                  <a:cubicBezTo>
                    <a:pt x="224" y="30"/>
                    <a:pt x="223" y="30"/>
                    <a:pt x="223" y="30"/>
                  </a:cubicBezTo>
                  <a:cubicBezTo>
                    <a:pt x="222" y="29"/>
                    <a:pt x="221" y="29"/>
                    <a:pt x="220" y="28"/>
                  </a:cubicBezTo>
                  <a:cubicBezTo>
                    <a:pt x="220" y="28"/>
                    <a:pt x="220" y="28"/>
                    <a:pt x="220" y="28"/>
                  </a:cubicBezTo>
                  <a:cubicBezTo>
                    <a:pt x="219" y="28"/>
                    <a:pt x="219" y="28"/>
                    <a:pt x="218" y="28"/>
                  </a:cubicBezTo>
                  <a:cubicBezTo>
                    <a:pt x="216" y="28"/>
                    <a:pt x="216" y="28"/>
                    <a:pt x="216" y="28"/>
                  </a:cubicBezTo>
                  <a:cubicBezTo>
                    <a:pt x="215" y="28"/>
                    <a:pt x="213" y="28"/>
                    <a:pt x="212" y="27"/>
                  </a:cubicBezTo>
                  <a:cubicBezTo>
                    <a:pt x="210" y="27"/>
                    <a:pt x="210" y="27"/>
                    <a:pt x="210" y="27"/>
                  </a:cubicBezTo>
                  <a:cubicBezTo>
                    <a:pt x="209" y="27"/>
                    <a:pt x="209" y="27"/>
                    <a:pt x="208" y="27"/>
                  </a:cubicBezTo>
                  <a:cubicBezTo>
                    <a:pt x="208" y="27"/>
                    <a:pt x="208" y="27"/>
                    <a:pt x="208" y="27"/>
                  </a:cubicBezTo>
                  <a:cubicBezTo>
                    <a:pt x="207" y="28"/>
                    <a:pt x="207" y="28"/>
                    <a:pt x="207" y="28"/>
                  </a:cubicBezTo>
                  <a:cubicBezTo>
                    <a:pt x="207" y="28"/>
                    <a:pt x="207" y="28"/>
                    <a:pt x="207" y="28"/>
                  </a:cubicBezTo>
                  <a:cubicBezTo>
                    <a:pt x="206" y="29"/>
                    <a:pt x="205" y="29"/>
                    <a:pt x="204" y="29"/>
                  </a:cubicBezTo>
                  <a:cubicBezTo>
                    <a:pt x="204" y="29"/>
                    <a:pt x="204" y="29"/>
                    <a:pt x="203" y="29"/>
                  </a:cubicBezTo>
                  <a:cubicBezTo>
                    <a:pt x="201" y="28"/>
                    <a:pt x="199" y="27"/>
                    <a:pt x="199" y="24"/>
                  </a:cubicBezTo>
                  <a:cubicBezTo>
                    <a:pt x="199" y="23"/>
                    <a:pt x="199" y="23"/>
                    <a:pt x="199" y="23"/>
                  </a:cubicBezTo>
                  <a:cubicBezTo>
                    <a:pt x="200" y="23"/>
                    <a:pt x="200" y="22"/>
                    <a:pt x="200" y="22"/>
                  </a:cubicBezTo>
                  <a:cubicBezTo>
                    <a:pt x="200" y="21"/>
                    <a:pt x="200" y="21"/>
                    <a:pt x="200" y="21"/>
                  </a:cubicBezTo>
                  <a:cubicBezTo>
                    <a:pt x="200" y="20"/>
                    <a:pt x="200" y="20"/>
                    <a:pt x="200" y="20"/>
                  </a:cubicBezTo>
                  <a:cubicBezTo>
                    <a:pt x="201" y="19"/>
                    <a:pt x="202" y="18"/>
                    <a:pt x="202" y="18"/>
                  </a:cubicBezTo>
                  <a:cubicBezTo>
                    <a:pt x="202" y="18"/>
                    <a:pt x="202" y="18"/>
                    <a:pt x="202" y="18"/>
                  </a:cubicBezTo>
                  <a:cubicBezTo>
                    <a:pt x="202" y="17"/>
                    <a:pt x="202" y="17"/>
                    <a:pt x="202" y="17"/>
                  </a:cubicBezTo>
                  <a:cubicBezTo>
                    <a:pt x="204" y="15"/>
                    <a:pt x="204" y="15"/>
                    <a:pt x="204" y="15"/>
                  </a:cubicBezTo>
                  <a:cubicBezTo>
                    <a:pt x="205" y="14"/>
                    <a:pt x="206" y="14"/>
                    <a:pt x="206" y="14"/>
                  </a:cubicBezTo>
                  <a:cubicBezTo>
                    <a:pt x="206" y="14"/>
                    <a:pt x="206" y="14"/>
                    <a:pt x="206" y="14"/>
                  </a:cubicBezTo>
                  <a:cubicBezTo>
                    <a:pt x="206" y="13"/>
                    <a:pt x="206" y="13"/>
                    <a:pt x="206" y="13"/>
                  </a:cubicBezTo>
                  <a:cubicBezTo>
                    <a:pt x="205" y="13"/>
                    <a:pt x="205" y="12"/>
                    <a:pt x="205" y="12"/>
                  </a:cubicBezTo>
                  <a:cubicBezTo>
                    <a:pt x="204" y="11"/>
                    <a:pt x="204" y="11"/>
                    <a:pt x="204" y="11"/>
                  </a:cubicBezTo>
                  <a:cubicBezTo>
                    <a:pt x="203" y="12"/>
                    <a:pt x="202" y="13"/>
                    <a:pt x="201" y="14"/>
                  </a:cubicBezTo>
                  <a:cubicBezTo>
                    <a:pt x="196" y="17"/>
                    <a:pt x="196" y="17"/>
                    <a:pt x="196" y="17"/>
                  </a:cubicBezTo>
                  <a:cubicBezTo>
                    <a:pt x="196" y="11"/>
                    <a:pt x="196" y="11"/>
                    <a:pt x="196" y="11"/>
                  </a:cubicBezTo>
                  <a:cubicBezTo>
                    <a:pt x="196" y="9"/>
                    <a:pt x="196" y="9"/>
                    <a:pt x="196" y="9"/>
                  </a:cubicBezTo>
                  <a:cubicBezTo>
                    <a:pt x="190" y="4"/>
                    <a:pt x="190" y="4"/>
                    <a:pt x="190" y="4"/>
                  </a:cubicBezTo>
                  <a:cubicBezTo>
                    <a:pt x="197" y="3"/>
                    <a:pt x="197" y="3"/>
                    <a:pt x="197" y="3"/>
                  </a:cubicBezTo>
                  <a:cubicBezTo>
                    <a:pt x="197" y="3"/>
                    <a:pt x="197" y="3"/>
                    <a:pt x="197" y="3"/>
                  </a:cubicBezTo>
                  <a:cubicBezTo>
                    <a:pt x="198" y="3"/>
                    <a:pt x="198" y="3"/>
                    <a:pt x="198" y="3"/>
                  </a:cubicBezTo>
                  <a:cubicBezTo>
                    <a:pt x="198" y="3"/>
                    <a:pt x="199" y="3"/>
                    <a:pt x="199" y="2"/>
                  </a:cubicBezTo>
                  <a:cubicBezTo>
                    <a:pt x="198" y="2"/>
                    <a:pt x="197" y="1"/>
                    <a:pt x="197" y="1"/>
                  </a:cubicBezTo>
                  <a:cubicBezTo>
                    <a:pt x="196" y="0"/>
                    <a:pt x="196" y="0"/>
                    <a:pt x="196" y="0"/>
                  </a:cubicBezTo>
                  <a:cubicBezTo>
                    <a:pt x="196" y="0"/>
                    <a:pt x="196" y="0"/>
                    <a:pt x="1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498"/>
            <p:cNvSpPr>
              <a:spLocks noEditPoints="1"/>
            </p:cNvSpPr>
            <p:nvPr/>
          </p:nvSpPr>
          <p:spPr bwMode="auto">
            <a:xfrm>
              <a:off x="2963181" y="2965622"/>
              <a:ext cx="1637270" cy="2253765"/>
            </a:xfrm>
            <a:custGeom>
              <a:gdLst>
                <a:gd name="T0" fmla="*/ 206 w 516"/>
                <a:gd name="T1" fmla="*/ 21 h 710"/>
                <a:gd name="T2" fmla="*/ 175 w 516"/>
                <a:gd name="T3" fmla="*/ 24 h 710"/>
                <a:gd name="T4" fmla="*/ 143 w 516"/>
                <a:gd name="T5" fmla="*/ 27 h 710"/>
                <a:gd name="T6" fmla="*/ 149 w 516"/>
                <a:gd name="T7" fmla="*/ 48 h 710"/>
                <a:gd name="T8" fmla="*/ 163 w 516"/>
                <a:gd name="T9" fmla="*/ 75 h 710"/>
                <a:gd name="T10" fmla="*/ 168 w 516"/>
                <a:gd name="T11" fmla="*/ 96 h 710"/>
                <a:gd name="T12" fmla="*/ 161 w 516"/>
                <a:gd name="T13" fmla="*/ 115 h 710"/>
                <a:gd name="T14" fmla="*/ 147 w 516"/>
                <a:gd name="T15" fmla="*/ 143 h 710"/>
                <a:gd name="T16" fmla="*/ 114 w 516"/>
                <a:gd name="T17" fmla="*/ 179 h 710"/>
                <a:gd name="T18" fmla="*/ 76 w 516"/>
                <a:gd name="T19" fmla="*/ 209 h 710"/>
                <a:gd name="T20" fmla="*/ 56 w 516"/>
                <a:gd name="T21" fmla="*/ 204 h 710"/>
                <a:gd name="T22" fmla="*/ 40 w 516"/>
                <a:gd name="T23" fmla="*/ 235 h 710"/>
                <a:gd name="T24" fmla="*/ 57 w 516"/>
                <a:gd name="T25" fmla="*/ 260 h 710"/>
                <a:gd name="T26" fmla="*/ 73 w 516"/>
                <a:gd name="T27" fmla="*/ 285 h 710"/>
                <a:gd name="T28" fmla="*/ 69 w 516"/>
                <a:gd name="T29" fmla="*/ 302 h 710"/>
                <a:gd name="T30" fmla="*/ 44 w 516"/>
                <a:gd name="T31" fmla="*/ 305 h 710"/>
                <a:gd name="T32" fmla="*/ 10 w 516"/>
                <a:gd name="T33" fmla="*/ 310 h 710"/>
                <a:gd name="T34" fmla="*/ 10 w 516"/>
                <a:gd name="T35" fmla="*/ 325 h 710"/>
                <a:gd name="T36" fmla="*/ 55 w 516"/>
                <a:gd name="T37" fmla="*/ 334 h 710"/>
                <a:gd name="T38" fmla="*/ 25 w 516"/>
                <a:gd name="T39" fmla="*/ 358 h 710"/>
                <a:gd name="T40" fmla="*/ 69 w 516"/>
                <a:gd name="T41" fmla="*/ 391 h 710"/>
                <a:gd name="T42" fmla="*/ 96 w 516"/>
                <a:gd name="T43" fmla="*/ 359 h 710"/>
                <a:gd name="T44" fmla="*/ 107 w 516"/>
                <a:gd name="T45" fmla="*/ 362 h 710"/>
                <a:gd name="T46" fmla="*/ 114 w 516"/>
                <a:gd name="T47" fmla="*/ 383 h 710"/>
                <a:gd name="T48" fmla="*/ 115 w 516"/>
                <a:gd name="T49" fmla="*/ 430 h 710"/>
                <a:gd name="T50" fmla="*/ 118 w 516"/>
                <a:gd name="T51" fmla="*/ 454 h 710"/>
                <a:gd name="T52" fmla="*/ 137 w 516"/>
                <a:gd name="T53" fmla="*/ 519 h 710"/>
                <a:gd name="T54" fmla="*/ 149 w 516"/>
                <a:gd name="T55" fmla="*/ 540 h 710"/>
                <a:gd name="T56" fmla="*/ 165 w 516"/>
                <a:gd name="T57" fmla="*/ 590 h 710"/>
                <a:gd name="T58" fmla="*/ 193 w 516"/>
                <a:gd name="T59" fmla="*/ 648 h 710"/>
                <a:gd name="T60" fmla="*/ 209 w 516"/>
                <a:gd name="T61" fmla="*/ 687 h 710"/>
                <a:gd name="T62" fmla="*/ 253 w 516"/>
                <a:gd name="T63" fmla="*/ 684 h 710"/>
                <a:gd name="T64" fmla="*/ 265 w 516"/>
                <a:gd name="T65" fmla="*/ 674 h 710"/>
                <a:gd name="T66" fmla="*/ 288 w 516"/>
                <a:gd name="T67" fmla="*/ 639 h 710"/>
                <a:gd name="T68" fmla="*/ 295 w 516"/>
                <a:gd name="T69" fmla="*/ 575 h 710"/>
                <a:gd name="T70" fmla="*/ 299 w 516"/>
                <a:gd name="T71" fmla="*/ 519 h 710"/>
                <a:gd name="T72" fmla="*/ 329 w 516"/>
                <a:gd name="T73" fmla="*/ 503 h 710"/>
                <a:gd name="T74" fmla="*/ 389 w 516"/>
                <a:gd name="T75" fmla="*/ 456 h 710"/>
                <a:gd name="T76" fmla="*/ 424 w 516"/>
                <a:gd name="T77" fmla="*/ 415 h 710"/>
                <a:gd name="T78" fmla="*/ 461 w 516"/>
                <a:gd name="T79" fmla="*/ 380 h 710"/>
                <a:gd name="T80" fmla="*/ 494 w 516"/>
                <a:gd name="T81" fmla="*/ 369 h 710"/>
                <a:gd name="T82" fmla="*/ 505 w 516"/>
                <a:gd name="T83" fmla="*/ 353 h 710"/>
                <a:gd name="T84" fmla="*/ 514 w 516"/>
                <a:gd name="T85" fmla="*/ 366 h 710"/>
                <a:gd name="T86" fmla="*/ 508 w 516"/>
                <a:gd name="T87" fmla="*/ 329 h 710"/>
                <a:gd name="T88" fmla="*/ 502 w 516"/>
                <a:gd name="T89" fmla="*/ 301 h 710"/>
                <a:gd name="T90" fmla="*/ 495 w 516"/>
                <a:gd name="T91" fmla="*/ 280 h 710"/>
                <a:gd name="T92" fmla="*/ 489 w 516"/>
                <a:gd name="T93" fmla="*/ 259 h 710"/>
                <a:gd name="T94" fmla="*/ 486 w 516"/>
                <a:gd name="T95" fmla="*/ 247 h 710"/>
                <a:gd name="T96" fmla="*/ 458 w 516"/>
                <a:gd name="T97" fmla="*/ 245 h 710"/>
                <a:gd name="T98" fmla="*/ 441 w 516"/>
                <a:gd name="T99" fmla="*/ 242 h 710"/>
                <a:gd name="T100" fmla="*/ 419 w 516"/>
                <a:gd name="T101" fmla="*/ 235 h 710"/>
                <a:gd name="T102" fmla="*/ 397 w 516"/>
                <a:gd name="T103" fmla="*/ 219 h 710"/>
                <a:gd name="T104" fmla="*/ 379 w 516"/>
                <a:gd name="T105" fmla="*/ 219 h 710"/>
                <a:gd name="T106" fmla="*/ 358 w 516"/>
                <a:gd name="T107" fmla="*/ 216 h 710"/>
                <a:gd name="T108" fmla="*/ 337 w 516"/>
                <a:gd name="T109" fmla="*/ 208 h 710"/>
                <a:gd name="T110" fmla="*/ 295 w 516"/>
                <a:gd name="T111" fmla="*/ 185 h 710"/>
                <a:gd name="T112" fmla="*/ 312 w 516"/>
                <a:gd name="T113" fmla="*/ 143 h 710"/>
                <a:gd name="T114" fmla="*/ 272 w 516"/>
                <a:gd name="T115" fmla="*/ 117 h 710"/>
                <a:gd name="T116" fmla="*/ 260 w 516"/>
                <a:gd name="T117" fmla="*/ 113 h 710"/>
                <a:gd name="T118" fmla="*/ 250 w 516"/>
                <a:gd name="T119" fmla="*/ 77 h 710"/>
                <a:gd name="T120" fmla="*/ 275 w 516"/>
                <a:gd name="T121" fmla="*/ 70 h 710"/>
                <a:gd name="T122" fmla="*/ 254 w 516"/>
                <a:gd name="T123" fmla="*/ 51 h 710"/>
                <a:gd name="T124" fmla="*/ 246 w 516"/>
                <a:gd name="T125" fmla="*/ 19 h 7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6" h="710">
                  <a:moveTo>
                    <a:pt x="317" y="517"/>
                  </a:moveTo>
                  <a:cubicBezTo>
                    <a:pt x="317" y="517"/>
                    <a:pt x="317" y="517"/>
                    <a:pt x="317" y="517"/>
                  </a:cubicBezTo>
                  <a:cubicBezTo>
                    <a:pt x="317" y="517"/>
                    <a:pt x="317" y="517"/>
                    <a:pt x="317" y="517"/>
                  </a:cubicBezTo>
                  <a:moveTo>
                    <a:pt x="240" y="0"/>
                  </a:moveTo>
                  <a:cubicBezTo>
                    <a:pt x="240" y="0"/>
                    <a:pt x="239" y="0"/>
                    <a:pt x="239" y="0"/>
                  </a:cubicBezTo>
                  <a:cubicBezTo>
                    <a:pt x="237" y="1"/>
                    <a:pt x="236" y="1"/>
                    <a:pt x="234" y="2"/>
                  </a:cubicBezTo>
                  <a:cubicBezTo>
                    <a:pt x="232" y="3"/>
                    <a:pt x="231" y="4"/>
                    <a:pt x="229" y="5"/>
                  </a:cubicBezTo>
                  <a:cubicBezTo>
                    <a:pt x="228" y="6"/>
                    <a:pt x="227" y="7"/>
                    <a:pt x="226" y="7"/>
                  </a:cubicBezTo>
                  <a:cubicBezTo>
                    <a:pt x="220" y="10"/>
                    <a:pt x="220" y="10"/>
                    <a:pt x="220" y="10"/>
                  </a:cubicBezTo>
                  <a:cubicBezTo>
                    <a:pt x="219" y="11"/>
                    <a:pt x="218" y="13"/>
                    <a:pt x="217" y="14"/>
                  </a:cubicBezTo>
                  <a:cubicBezTo>
                    <a:pt x="215" y="16"/>
                    <a:pt x="215" y="16"/>
                    <a:pt x="215" y="16"/>
                  </a:cubicBezTo>
                  <a:cubicBezTo>
                    <a:pt x="213" y="18"/>
                    <a:pt x="212" y="20"/>
                    <a:pt x="208" y="21"/>
                  </a:cubicBezTo>
                  <a:cubicBezTo>
                    <a:pt x="206" y="21"/>
                    <a:pt x="206" y="21"/>
                    <a:pt x="206" y="21"/>
                  </a:cubicBezTo>
                  <a:cubicBezTo>
                    <a:pt x="206" y="21"/>
                    <a:pt x="206" y="21"/>
                    <a:pt x="205" y="21"/>
                  </a:cubicBezTo>
                  <a:cubicBezTo>
                    <a:pt x="204" y="22"/>
                    <a:pt x="204" y="22"/>
                    <a:pt x="204" y="22"/>
                  </a:cubicBezTo>
                  <a:cubicBezTo>
                    <a:pt x="204" y="22"/>
                    <a:pt x="203" y="22"/>
                    <a:pt x="202" y="22"/>
                  </a:cubicBezTo>
                  <a:cubicBezTo>
                    <a:pt x="201" y="22"/>
                    <a:pt x="201" y="22"/>
                    <a:pt x="201" y="22"/>
                  </a:cubicBezTo>
                  <a:cubicBezTo>
                    <a:pt x="200" y="22"/>
                    <a:pt x="200" y="23"/>
                    <a:pt x="199" y="23"/>
                  </a:cubicBezTo>
                  <a:cubicBezTo>
                    <a:pt x="199" y="23"/>
                    <a:pt x="199" y="23"/>
                    <a:pt x="199" y="23"/>
                  </a:cubicBezTo>
                  <a:cubicBezTo>
                    <a:pt x="198" y="23"/>
                    <a:pt x="197" y="24"/>
                    <a:pt x="196" y="24"/>
                  </a:cubicBezTo>
                  <a:cubicBezTo>
                    <a:pt x="192" y="26"/>
                    <a:pt x="189" y="27"/>
                    <a:pt x="185" y="27"/>
                  </a:cubicBezTo>
                  <a:cubicBezTo>
                    <a:pt x="184" y="27"/>
                    <a:pt x="184" y="27"/>
                    <a:pt x="183" y="27"/>
                  </a:cubicBezTo>
                  <a:cubicBezTo>
                    <a:pt x="181" y="27"/>
                    <a:pt x="181" y="27"/>
                    <a:pt x="181" y="27"/>
                  </a:cubicBezTo>
                  <a:cubicBezTo>
                    <a:pt x="179" y="26"/>
                    <a:pt x="178" y="26"/>
                    <a:pt x="177" y="25"/>
                  </a:cubicBezTo>
                  <a:cubicBezTo>
                    <a:pt x="177" y="25"/>
                    <a:pt x="176" y="25"/>
                    <a:pt x="176" y="25"/>
                  </a:cubicBezTo>
                  <a:cubicBezTo>
                    <a:pt x="175" y="24"/>
                    <a:pt x="175" y="24"/>
                    <a:pt x="175" y="24"/>
                  </a:cubicBezTo>
                  <a:cubicBezTo>
                    <a:pt x="174" y="24"/>
                    <a:pt x="174" y="23"/>
                    <a:pt x="173" y="23"/>
                  </a:cubicBezTo>
                  <a:cubicBezTo>
                    <a:pt x="170" y="23"/>
                    <a:pt x="170" y="23"/>
                    <a:pt x="170" y="23"/>
                  </a:cubicBezTo>
                  <a:cubicBezTo>
                    <a:pt x="168" y="23"/>
                    <a:pt x="167" y="23"/>
                    <a:pt x="166" y="22"/>
                  </a:cubicBezTo>
                  <a:cubicBezTo>
                    <a:pt x="164" y="22"/>
                    <a:pt x="162" y="21"/>
                    <a:pt x="160" y="21"/>
                  </a:cubicBezTo>
                  <a:cubicBezTo>
                    <a:pt x="159" y="21"/>
                    <a:pt x="159" y="22"/>
                    <a:pt x="159" y="22"/>
                  </a:cubicBezTo>
                  <a:cubicBezTo>
                    <a:pt x="158" y="22"/>
                    <a:pt x="156" y="22"/>
                    <a:pt x="155" y="22"/>
                  </a:cubicBezTo>
                  <a:cubicBezTo>
                    <a:pt x="154" y="22"/>
                    <a:pt x="154" y="22"/>
                    <a:pt x="154" y="22"/>
                  </a:cubicBezTo>
                  <a:cubicBezTo>
                    <a:pt x="151" y="22"/>
                    <a:pt x="148" y="22"/>
                    <a:pt x="146" y="23"/>
                  </a:cubicBezTo>
                  <a:cubicBezTo>
                    <a:pt x="145" y="23"/>
                    <a:pt x="145" y="23"/>
                    <a:pt x="145" y="23"/>
                  </a:cubicBezTo>
                  <a:cubicBezTo>
                    <a:pt x="144" y="24"/>
                    <a:pt x="144" y="24"/>
                    <a:pt x="144" y="24"/>
                  </a:cubicBezTo>
                  <a:cubicBezTo>
                    <a:pt x="144" y="24"/>
                    <a:pt x="143" y="26"/>
                    <a:pt x="142" y="27"/>
                  </a:cubicBezTo>
                  <a:cubicBezTo>
                    <a:pt x="142" y="27"/>
                    <a:pt x="142" y="27"/>
                    <a:pt x="142" y="27"/>
                  </a:cubicBezTo>
                  <a:cubicBezTo>
                    <a:pt x="143" y="27"/>
                    <a:pt x="143" y="27"/>
                    <a:pt x="143" y="27"/>
                  </a:cubicBezTo>
                  <a:cubicBezTo>
                    <a:pt x="143" y="27"/>
                    <a:pt x="143" y="27"/>
                    <a:pt x="143" y="27"/>
                  </a:cubicBezTo>
                  <a:cubicBezTo>
                    <a:pt x="144" y="27"/>
                    <a:pt x="144" y="27"/>
                    <a:pt x="144" y="27"/>
                  </a:cubicBezTo>
                  <a:cubicBezTo>
                    <a:pt x="146" y="29"/>
                    <a:pt x="146" y="29"/>
                    <a:pt x="146" y="29"/>
                  </a:cubicBezTo>
                  <a:cubicBezTo>
                    <a:pt x="147" y="31"/>
                    <a:pt x="146" y="33"/>
                    <a:pt x="146" y="35"/>
                  </a:cubicBezTo>
                  <a:cubicBezTo>
                    <a:pt x="150" y="35"/>
                    <a:pt x="152" y="36"/>
                    <a:pt x="153" y="38"/>
                  </a:cubicBezTo>
                  <a:cubicBezTo>
                    <a:pt x="154" y="40"/>
                    <a:pt x="154" y="42"/>
                    <a:pt x="152" y="44"/>
                  </a:cubicBezTo>
                  <a:cubicBezTo>
                    <a:pt x="151" y="44"/>
                    <a:pt x="151" y="44"/>
                    <a:pt x="151" y="44"/>
                  </a:cubicBezTo>
                  <a:cubicBezTo>
                    <a:pt x="150" y="45"/>
                    <a:pt x="150" y="45"/>
                    <a:pt x="150" y="45"/>
                  </a:cubicBezTo>
                  <a:cubicBezTo>
                    <a:pt x="149" y="45"/>
                    <a:pt x="149" y="45"/>
                    <a:pt x="149" y="45"/>
                  </a:cubicBezTo>
                  <a:cubicBezTo>
                    <a:pt x="148" y="46"/>
                    <a:pt x="148" y="46"/>
                    <a:pt x="148" y="46"/>
                  </a:cubicBezTo>
                  <a:cubicBezTo>
                    <a:pt x="148" y="46"/>
                    <a:pt x="148" y="46"/>
                    <a:pt x="148" y="46"/>
                  </a:cubicBezTo>
                  <a:cubicBezTo>
                    <a:pt x="148" y="46"/>
                    <a:pt x="148" y="47"/>
                    <a:pt x="148" y="47"/>
                  </a:cubicBezTo>
                  <a:cubicBezTo>
                    <a:pt x="149" y="48"/>
                    <a:pt x="149" y="48"/>
                    <a:pt x="149" y="48"/>
                  </a:cubicBezTo>
                  <a:cubicBezTo>
                    <a:pt x="152" y="52"/>
                    <a:pt x="150" y="56"/>
                    <a:pt x="149" y="58"/>
                  </a:cubicBezTo>
                  <a:cubicBezTo>
                    <a:pt x="149" y="59"/>
                    <a:pt x="148" y="60"/>
                    <a:pt x="148" y="60"/>
                  </a:cubicBezTo>
                  <a:cubicBezTo>
                    <a:pt x="148" y="61"/>
                    <a:pt x="148" y="61"/>
                    <a:pt x="148" y="61"/>
                  </a:cubicBezTo>
                  <a:cubicBezTo>
                    <a:pt x="149" y="62"/>
                    <a:pt x="150" y="64"/>
                    <a:pt x="151" y="65"/>
                  </a:cubicBezTo>
                  <a:cubicBezTo>
                    <a:pt x="154" y="68"/>
                    <a:pt x="154" y="68"/>
                    <a:pt x="154" y="68"/>
                  </a:cubicBezTo>
                  <a:cubicBezTo>
                    <a:pt x="154" y="69"/>
                    <a:pt x="154" y="69"/>
                    <a:pt x="154" y="69"/>
                  </a:cubicBezTo>
                  <a:cubicBezTo>
                    <a:pt x="154" y="70"/>
                    <a:pt x="154" y="70"/>
                    <a:pt x="155" y="70"/>
                  </a:cubicBezTo>
                  <a:cubicBezTo>
                    <a:pt x="155" y="70"/>
                    <a:pt x="156" y="69"/>
                    <a:pt x="157" y="69"/>
                  </a:cubicBezTo>
                  <a:cubicBezTo>
                    <a:pt x="158" y="68"/>
                    <a:pt x="160" y="68"/>
                    <a:pt x="161" y="68"/>
                  </a:cubicBezTo>
                  <a:cubicBezTo>
                    <a:pt x="166" y="67"/>
                    <a:pt x="166" y="67"/>
                    <a:pt x="166" y="67"/>
                  </a:cubicBezTo>
                  <a:cubicBezTo>
                    <a:pt x="163" y="73"/>
                    <a:pt x="163" y="73"/>
                    <a:pt x="163" y="73"/>
                  </a:cubicBezTo>
                  <a:cubicBezTo>
                    <a:pt x="163" y="74"/>
                    <a:pt x="163" y="74"/>
                    <a:pt x="163" y="74"/>
                  </a:cubicBezTo>
                  <a:cubicBezTo>
                    <a:pt x="163" y="75"/>
                    <a:pt x="163" y="75"/>
                    <a:pt x="163" y="75"/>
                  </a:cubicBezTo>
                  <a:cubicBezTo>
                    <a:pt x="163" y="75"/>
                    <a:pt x="163" y="75"/>
                    <a:pt x="163" y="75"/>
                  </a:cubicBezTo>
                  <a:cubicBezTo>
                    <a:pt x="163" y="76"/>
                    <a:pt x="163" y="77"/>
                    <a:pt x="164" y="77"/>
                  </a:cubicBezTo>
                  <a:cubicBezTo>
                    <a:pt x="164" y="77"/>
                    <a:pt x="164" y="77"/>
                    <a:pt x="164" y="77"/>
                  </a:cubicBezTo>
                  <a:cubicBezTo>
                    <a:pt x="164" y="77"/>
                    <a:pt x="164" y="78"/>
                    <a:pt x="166" y="78"/>
                  </a:cubicBezTo>
                  <a:cubicBezTo>
                    <a:pt x="168" y="78"/>
                    <a:pt x="168" y="78"/>
                    <a:pt x="168" y="78"/>
                  </a:cubicBezTo>
                  <a:cubicBezTo>
                    <a:pt x="170" y="79"/>
                    <a:pt x="171" y="79"/>
                    <a:pt x="172" y="79"/>
                  </a:cubicBezTo>
                  <a:cubicBezTo>
                    <a:pt x="173" y="79"/>
                    <a:pt x="173" y="79"/>
                    <a:pt x="174" y="79"/>
                  </a:cubicBezTo>
                  <a:cubicBezTo>
                    <a:pt x="175" y="80"/>
                    <a:pt x="175" y="80"/>
                    <a:pt x="175" y="80"/>
                  </a:cubicBezTo>
                  <a:cubicBezTo>
                    <a:pt x="176" y="80"/>
                    <a:pt x="177" y="81"/>
                    <a:pt x="177" y="81"/>
                  </a:cubicBezTo>
                  <a:cubicBezTo>
                    <a:pt x="179" y="83"/>
                    <a:pt x="180" y="86"/>
                    <a:pt x="179" y="89"/>
                  </a:cubicBezTo>
                  <a:cubicBezTo>
                    <a:pt x="177" y="92"/>
                    <a:pt x="174" y="94"/>
                    <a:pt x="172" y="95"/>
                  </a:cubicBezTo>
                  <a:cubicBezTo>
                    <a:pt x="171" y="95"/>
                    <a:pt x="171" y="95"/>
                    <a:pt x="171" y="95"/>
                  </a:cubicBezTo>
                  <a:cubicBezTo>
                    <a:pt x="170" y="95"/>
                    <a:pt x="169" y="96"/>
                    <a:pt x="168" y="96"/>
                  </a:cubicBezTo>
                  <a:cubicBezTo>
                    <a:pt x="167" y="96"/>
                    <a:pt x="167" y="96"/>
                    <a:pt x="167" y="96"/>
                  </a:cubicBezTo>
                  <a:cubicBezTo>
                    <a:pt x="167" y="97"/>
                    <a:pt x="166" y="97"/>
                    <a:pt x="165" y="97"/>
                  </a:cubicBezTo>
                  <a:cubicBezTo>
                    <a:pt x="165" y="97"/>
                    <a:pt x="165" y="97"/>
                    <a:pt x="164" y="98"/>
                  </a:cubicBezTo>
                  <a:cubicBezTo>
                    <a:pt x="163" y="98"/>
                    <a:pt x="163" y="98"/>
                    <a:pt x="163" y="98"/>
                  </a:cubicBezTo>
                  <a:cubicBezTo>
                    <a:pt x="162" y="98"/>
                    <a:pt x="162" y="98"/>
                    <a:pt x="162" y="98"/>
                  </a:cubicBezTo>
                  <a:cubicBezTo>
                    <a:pt x="162" y="99"/>
                    <a:pt x="162" y="99"/>
                    <a:pt x="162" y="99"/>
                  </a:cubicBezTo>
                  <a:cubicBezTo>
                    <a:pt x="160" y="100"/>
                    <a:pt x="160" y="100"/>
                    <a:pt x="160" y="101"/>
                  </a:cubicBezTo>
                  <a:cubicBezTo>
                    <a:pt x="159" y="101"/>
                    <a:pt x="159" y="101"/>
                    <a:pt x="159" y="101"/>
                  </a:cubicBezTo>
                  <a:cubicBezTo>
                    <a:pt x="160" y="104"/>
                    <a:pt x="160" y="104"/>
                    <a:pt x="160" y="104"/>
                  </a:cubicBezTo>
                  <a:cubicBezTo>
                    <a:pt x="160" y="106"/>
                    <a:pt x="160" y="108"/>
                    <a:pt x="161" y="110"/>
                  </a:cubicBezTo>
                  <a:cubicBezTo>
                    <a:pt x="161" y="110"/>
                    <a:pt x="161" y="110"/>
                    <a:pt x="161" y="110"/>
                  </a:cubicBezTo>
                  <a:cubicBezTo>
                    <a:pt x="161" y="111"/>
                    <a:pt x="161" y="112"/>
                    <a:pt x="161" y="112"/>
                  </a:cubicBezTo>
                  <a:cubicBezTo>
                    <a:pt x="161" y="115"/>
                    <a:pt x="161" y="115"/>
                    <a:pt x="161" y="115"/>
                  </a:cubicBezTo>
                  <a:cubicBezTo>
                    <a:pt x="162" y="116"/>
                    <a:pt x="162" y="117"/>
                    <a:pt x="162" y="119"/>
                  </a:cubicBezTo>
                  <a:cubicBezTo>
                    <a:pt x="163" y="121"/>
                    <a:pt x="160" y="124"/>
                    <a:pt x="158" y="125"/>
                  </a:cubicBezTo>
                  <a:cubicBezTo>
                    <a:pt x="156" y="127"/>
                    <a:pt x="154" y="129"/>
                    <a:pt x="152" y="130"/>
                  </a:cubicBezTo>
                  <a:cubicBezTo>
                    <a:pt x="152" y="130"/>
                    <a:pt x="152" y="130"/>
                    <a:pt x="152" y="130"/>
                  </a:cubicBezTo>
                  <a:cubicBezTo>
                    <a:pt x="151" y="131"/>
                    <a:pt x="149" y="132"/>
                    <a:pt x="149" y="132"/>
                  </a:cubicBezTo>
                  <a:cubicBezTo>
                    <a:pt x="148" y="133"/>
                    <a:pt x="148" y="133"/>
                    <a:pt x="148" y="133"/>
                  </a:cubicBezTo>
                  <a:cubicBezTo>
                    <a:pt x="147" y="134"/>
                    <a:pt x="146" y="135"/>
                    <a:pt x="145" y="136"/>
                  </a:cubicBezTo>
                  <a:cubicBezTo>
                    <a:pt x="145" y="137"/>
                    <a:pt x="145" y="137"/>
                    <a:pt x="145" y="137"/>
                  </a:cubicBezTo>
                  <a:cubicBezTo>
                    <a:pt x="144" y="137"/>
                    <a:pt x="144" y="138"/>
                    <a:pt x="144" y="138"/>
                  </a:cubicBezTo>
                  <a:cubicBezTo>
                    <a:pt x="144" y="139"/>
                    <a:pt x="144" y="139"/>
                    <a:pt x="145" y="140"/>
                  </a:cubicBezTo>
                  <a:cubicBezTo>
                    <a:pt x="145" y="140"/>
                    <a:pt x="145" y="140"/>
                    <a:pt x="145" y="140"/>
                  </a:cubicBezTo>
                  <a:cubicBezTo>
                    <a:pt x="145" y="141"/>
                    <a:pt x="145" y="141"/>
                    <a:pt x="145" y="141"/>
                  </a:cubicBezTo>
                  <a:cubicBezTo>
                    <a:pt x="147" y="143"/>
                    <a:pt x="147" y="143"/>
                    <a:pt x="147" y="143"/>
                  </a:cubicBezTo>
                  <a:cubicBezTo>
                    <a:pt x="145" y="145"/>
                    <a:pt x="145" y="145"/>
                    <a:pt x="145" y="145"/>
                  </a:cubicBezTo>
                  <a:cubicBezTo>
                    <a:pt x="143" y="146"/>
                    <a:pt x="141" y="147"/>
                    <a:pt x="140" y="147"/>
                  </a:cubicBezTo>
                  <a:cubicBezTo>
                    <a:pt x="139" y="148"/>
                    <a:pt x="139" y="148"/>
                    <a:pt x="139" y="148"/>
                  </a:cubicBezTo>
                  <a:cubicBezTo>
                    <a:pt x="137" y="149"/>
                    <a:pt x="135" y="150"/>
                    <a:pt x="133" y="151"/>
                  </a:cubicBezTo>
                  <a:cubicBezTo>
                    <a:pt x="132" y="151"/>
                    <a:pt x="131" y="151"/>
                    <a:pt x="131" y="152"/>
                  </a:cubicBezTo>
                  <a:cubicBezTo>
                    <a:pt x="130" y="153"/>
                    <a:pt x="130" y="155"/>
                    <a:pt x="129" y="157"/>
                  </a:cubicBezTo>
                  <a:cubicBezTo>
                    <a:pt x="129" y="157"/>
                    <a:pt x="129" y="158"/>
                    <a:pt x="129" y="158"/>
                  </a:cubicBezTo>
                  <a:cubicBezTo>
                    <a:pt x="129" y="160"/>
                    <a:pt x="129" y="160"/>
                    <a:pt x="129" y="160"/>
                  </a:cubicBezTo>
                  <a:cubicBezTo>
                    <a:pt x="128" y="160"/>
                    <a:pt x="128" y="161"/>
                    <a:pt x="128" y="162"/>
                  </a:cubicBezTo>
                  <a:cubicBezTo>
                    <a:pt x="127" y="164"/>
                    <a:pt x="126" y="165"/>
                    <a:pt x="125" y="167"/>
                  </a:cubicBezTo>
                  <a:cubicBezTo>
                    <a:pt x="125" y="167"/>
                    <a:pt x="125" y="167"/>
                    <a:pt x="125" y="167"/>
                  </a:cubicBezTo>
                  <a:cubicBezTo>
                    <a:pt x="124" y="169"/>
                    <a:pt x="123" y="170"/>
                    <a:pt x="123" y="171"/>
                  </a:cubicBezTo>
                  <a:cubicBezTo>
                    <a:pt x="120" y="175"/>
                    <a:pt x="118" y="177"/>
                    <a:pt x="114" y="179"/>
                  </a:cubicBezTo>
                  <a:cubicBezTo>
                    <a:pt x="114" y="179"/>
                    <a:pt x="114" y="179"/>
                    <a:pt x="114" y="179"/>
                  </a:cubicBezTo>
                  <a:cubicBezTo>
                    <a:pt x="113" y="180"/>
                    <a:pt x="112" y="180"/>
                    <a:pt x="111" y="180"/>
                  </a:cubicBezTo>
                  <a:cubicBezTo>
                    <a:pt x="109" y="181"/>
                    <a:pt x="108" y="182"/>
                    <a:pt x="107" y="184"/>
                  </a:cubicBezTo>
                  <a:cubicBezTo>
                    <a:pt x="109" y="186"/>
                    <a:pt x="109" y="186"/>
                    <a:pt x="109" y="186"/>
                  </a:cubicBezTo>
                  <a:cubicBezTo>
                    <a:pt x="106" y="185"/>
                    <a:pt x="106" y="185"/>
                    <a:pt x="106" y="185"/>
                  </a:cubicBezTo>
                  <a:cubicBezTo>
                    <a:pt x="90" y="206"/>
                    <a:pt x="90" y="206"/>
                    <a:pt x="90" y="206"/>
                  </a:cubicBezTo>
                  <a:cubicBezTo>
                    <a:pt x="89" y="207"/>
                    <a:pt x="88" y="207"/>
                    <a:pt x="87" y="207"/>
                  </a:cubicBezTo>
                  <a:cubicBezTo>
                    <a:pt x="86" y="208"/>
                    <a:pt x="84" y="208"/>
                    <a:pt x="81" y="208"/>
                  </a:cubicBezTo>
                  <a:cubicBezTo>
                    <a:pt x="80" y="208"/>
                    <a:pt x="80" y="208"/>
                    <a:pt x="80" y="208"/>
                  </a:cubicBezTo>
                  <a:cubicBezTo>
                    <a:pt x="80" y="208"/>
                    <a:pt x="79" y="208"/>
                    <a:pt x="79" y="208"/>
                  </a:cubicBezTo>
                  <a:cubicBezTo>
                    <a:pt x="78" y="208"/>
                    <a:pt x="78" y="209"/>
                    <a:pt x="77" y="209"/>
                  </a:cubicBezTo>
                  <a:cubicBezTo>
                    <a:pt x="76" y="209"/>
                    <a:pt x="76" y="209"/>
                    <a:pt x="76" y="209"/>
                  </a:cubicBezTo>
                  <a:cubicBezTo>
                    <a:pt x="76" y="209"/>
                    <a:pt x="76" y="209"/>
                    <a:pt x="76" y="209"/>
                  </a:cubicBezTo>
                  <a:cubicBezTo>
                    <a:pt x="74" y="209"/>
                    <a:pt x="72" y="210"/>
                    <a:pt x="71" y="211"/>
                  </a:cubicBezTo>
                  <a:cubicBezTo>
                    <a:pt x="70" y="211"/>
                    <a:pt x="70" y="211"/>
                    <a:pt x="70" y="211"/>
                  </a:cubicBezTo>
                  <a:cubicBezTo>
                    <a:pt x="69" y="212"/>
                    <a:pt x="68" y="212"/>
                    <a:pt x="67" y="212"/>
                  </a:cubicBezTo>
                  <a:cubicBezTo>
                    <a:pt x="65" y="212"/>
                    <a:pt x="64" y="211"/>
                    <a:pt x="63" y="211"/>
                  </a:cubicBezTo>
                  <a:cubicBezTo>
                    <a:pt x="62" y="210"/>
                    <a:pt x="62" y="210"/>
                    <a:pt x="62" y="210"/>
                  </a:cubicBezTo>
                  <a:cubicBezTo>
                    <a:pt x="62" y="210"/>
                    <a:pt x="62" y="210"/>
                    <a:pt x="61" y="209"/>
                  </a:cubicBezTo>
                  <a:cubicBezTo>
                    <a:pt x="61" y="208"/>
                    <a:pt x="60" y="207"/>
                    <a:pt x="60" y="206"/>
                  </a:cubicBezTo>
                  <a:cubicBezTo>
                    <a:pt x="59" y="206"/>
                    <a:pt x="59" y="205"/>
                    <a:pt x="58" y="204"/>
                  </a:cubicBezTo>
                  <a:cubicBezTo>
                    <a:pt x="58" y="204"/>
                    <a:pt x="58" y="204"/>
                    <a:pt x="58" y="204"/>
                  </a:cubicBezTo>
                  <a:cubicBezTo>
                    <a:pt x="58" y="204"/>
                    <a:pt x="58" y="204"/>
                    <a:pt x="58" y="204"/>
                  </a:cubicBezTo>
                  <a:cubicBezTo>
                    <a:pt x="57" y="204"/>
                    <a:pt x="57" y="204"/>
                    <a:pt x="57" y="204"/>
                  </a:cubicBezTo>
                  <a:cubicBezTo>
                    <a:pt x="57" y="204"/>
                    <a:pt x="57" y="204"/>
                    <a:pt x="57" y="204"/>
                  </a:cubicBezTo>
                  <a:cubicBezTo>
                    <a:pt x="56" y="204"/>
                    <a:pt x="56" y="204"/>
                    <a:pt x="56" y="204"/>
                  </a:cubicBezTo>
                  <a:cubicBezTo>
                    <a:pt x="56" y="204"/>
                    <a:pt x="56" y="204"/>
                    <a:pt x="55" y="204"/>
                  </a:cubicBezTo>
                  <a:cubicBezTo>
                    <a:pt x="55" y="205"/>
                    <a:pt x="55" y="205"/>
                    <a:pt x="55" y="205"/>
                  </a:cubicBezTo>
                  <a:cubicBezTo>
                    <a:pt x="54" y="205"/>
                    <a:pt x="54" y="205"/>
                    <a:pt x="54" y="205"/>
                  </a:cubicBezTo>
                  <a:cubicBezTo>
                    <a:pt x="53" y="206"/>
                    <a:pt x="53" y="206"/>
                    <a:pt x="53" y="206"/>
                  </a:cubicBezTo>
                  <a:cubicBezTo>
                    <a:pt x="51" y="208"/>
                    <a:pt x="51" y="208"/>
                    <a:pt x="51" y="208"/>
                  </a:cubicBezTo>
                  <a:cubicBezTo>
                    <a:pt x="51" y="209"/>
                    <a:pt x="51" y="209"/>
                    <a:pt x="51" y="209"/>
                  </a:cubicBezTo>
                  <a:cubicBezTo>
                    <a:pt x="50" y="209"/>
                    <a:pt x="50" y="209"/>
                    <a:pt x="50" y="209"/>
                  </a:cubicBezTo>
                  <a:cubicBezTo>
                    <a:pt x="50" y="210"/>
                    <a:pt x="49" y="211"/>
                    <a:pt x="49" y="211"/>
                  </a:cubicBezTo>
                  <a:cubicBezTo>
                    <a:pt x="48" y="213"/>
                    <a:pt x="46" y="214"/>
                    <a:pt x="45" y="216"/>
                  </a:cubicBezTo>
                  <a:cubicBezTo>
                    <a:pt x="43" y="219"/>
                    <a:pt x="40" y="222"/>
                    <a:pt x="38" y="225"/>
                  </a:cubicBezTo>
                  <a:cubicBezTo>
                    <a:pt x="36" y="228"/>
                    <a:pt x="35" y="231"/>
                    <a:pt x="35" y="232"/>
                  </a:cubicBezTo>
                  <a:cubicBezTo>
                    <a:pt x="36" y="233"/>
                    <a:pt x="36" y="233"/>
                    <a:pt x="36" y="233"/>
                  </a:cubicBezTo>
                  <a:cubicBezTo>
                    <a:pt x="37" y="234"/>
                    <a:pt x="38" y="234"/>
                    <a:pt x="40" y="235"/>
                  </a:cubicBezTo>
                  <a:cubicBezTo>
                    <a:pt x="41" y="235"/>
                    <a:pt x="41" y="235"/>
                    <a:pt x="41" y="235"/>
                  </a:cubicBezTo>
                  <a:cubicBezTo>
                    <a:pt x="42" y="235"/>
                    <a:pt x="44" y="236"/>
                    <a:pt x="45" y="236"/>
                  </a:cubicBezTo>
                  <a:cubicBezTo>
                    <a:pt x="46" y="236"/>
                    <a:pt x="46" y="236"/>
                    <a:pt x="47" y="236"/>
                  </a:cubicBezTo>
                  <a:cubicBezTo>
                    <a:pt x="48" y="236"/>
                    <a:pt x="49" y="236"/>
                    <a:pt x="50" y="237"/>
                  </a:cubicBezTo>
                  <a:cubicBezTo>
                    <a:pt x="51" y="238"/>
                    <a:pt x="52" y="239"/>
                    <a:pt x="53" y="241"/>
                  </a:cubicBezTo>
                  <a:cubicBezTo>
                    <a:pt x="53" y="243"/>
                    <a:pt x="53" y="245"/>
                    <a:pt x="52" y="247"/>
                  </a:cubicBezTo>
                  <a:cubicBezTo>
                    <a:pt x="52" y="249"/>
                    <a:pt x="52" y="251"/>
                    <a:pt x="52" y="252"/>
                  </a:cubicBezTo>
                  <a:cubicBezTo>
                    <a:pt x="52" y="252"/>
                    <a:pt x="52" y="253"/>
                    <a:pt x="52" y="254"/>
                  </a:cubicBezTo>
                  <a:cubicBezTo>
                    <a:pt x="53" y="254"/>
                    <a:pt x="53" y="254"/>
                    <a:pt x="53" y="254"/>
                  </a:cubicBezTo>
                  <a:cubicBezTo>
                    <a:pt x="53" y="256"/>
                    <a:pt x="54" y="258"/>
                    <a:pt x="54" y="259"/>
                  </a:cubicBezTo>
                  <a:cubicBezTo>
                    <a:pt x="55" y="259"/>
                    <a:pt x="55" y="259"/>
                    <a:pt x="55" y="259"/>
                  </a:cubicBezTo>
                  <a:cubicBezTo>
                    <a:pt x="56" y="260"/>
                    <a:pt x="56" y="260"/>
                    <a:pt x="56" y="260"/>
                  </a:cubicBezTo>
                  <a:cubicBezTo>
                    <a:pt x="57" y="260"/>
                    <a:pt x="57" y="260"/>
                    <a:pt x="57" y="260"/>
                  </a:cubicBezTo>
                  <a:cubicBezTo>
                    <a:pt x="57" y="260"/>
                    <a:pt x="57" y="260"/>
                    <a:pt x="57" y="260"/>
                  </a:cubicBezTo>
                  <a:cubicBezTo>
                    <a:pt x="57" y="259"/>
                    <a:pt x="57" y="259"/>
                    <a:pt x="57" y="259"/>
                  </a:cubicBezTo>
                  <a:cubicBezTo>
                    <a:pt x="58" y="259"/>
                    <a:pt x="58" y="259"/>
                    <a:pt x="58" y="259"/>
                  </a:cubicBezTo>
                  <a:cubicBezTo>
                    <a:pt x="58" y="259"/>
                    <a:pt x="59" y="259"/>
                    <a:pt x="59" y="259"/>
                  </a:cubicBezTo>
                  <a:cubicBezTo>
                    <a:pt x="59" y="259"/>
                    <a:pt x="60" y="259"/>
                    <a:pt x="60" y="259"/>
                  </a:cubicBezTo>
                  <a:cubicBezTo>
                    <a:pt x="60" y="259"/>
                    <a:pt x="61" y="259"/>
                    <a:pt x="61" y="259"/>
                  </a:cubicBezTo>
                  <a:cubicBezTo>
                    <a:pt x="63" y="259"/>
                    <a:pt x="64" y="261"/>
                    <a:pt x="65" y="263"/>
                  </a:cubicBezTo>
                  <a:cubicBezTo>
                    <a:pt x="65" y="264"/>
                    <a:pt x="65" y="265"/>
                    <a:pt x="66" y="266"/>
                  </a:cubicBezTo>
                  <a:cubicBezTo>
                    <a:pt x="66" y="267"/>
                    <a:pt x="66" y="269"/>
                    <a:pt x="67" y="270"/>
                  </a:cubicBezTo>
                  <a:cubicBezTo>
                    <a:pt x="67" y="271"/>
                    <a:pt x="67" y="272"/>
                    <a:pt x="67" y="272"/>
                  </a:cubicBezTo>
                  <a:cubicBezTo>
                    <a:pt x="68" y="273"/>
                    <a:pt x="68" y="273"/>
                    <a:pt x="68" y="273"/>
                  </a:cubicBezTo>
                  <a:cubicBezTo>
                    <a:pt x="68" y="273"/>
                    <a:pt x="68" y="273"/>
                    <a:pt x="68" y="273"/>
                  </a:cubicBezTo>
                  <a:cubicBezTo>
                    <a:pt x="73" y="285"/>
                    <a:pt x="73" y="285"/>
                    <a:pt x="73" y="285"/>
                  </a:cubicBezTo>
                  <a:cubicBezTo>
                    <a:pt x="74" y="286"/>
                    <a:pt x="74" y="287"/>
                    <a:pt x="74" y="289"/>
                  </a:cubicBezTo>
                  <a:cubicBezTo>
                    <a:pt x="74" y="290"/>
                    <a:pt x="74" y="291"/>
                    <a:pt x="73" y="292"/>
                  </a:cubicBezTo>
                  <a:cubicBezTo>
                    <a:pt x="73" y="292"/>
                    <a:pt x="73" y="292"/>
                    <a:pt x="73" y="292"/>
                  </a:cubicBezTo>
                  <a:cubicBezTo>
                    <a:pt x="74" y="293"/>
                    <a:pt x="74" y="293"/>
                    <a:pt x="74" y="293"/>
                  </a:cubicBezTo>
                  <a:cubicBezTo>
                    <a:pt x="74" y="293"/>
                    <a:pt x="74" y="293"/>
                    <a:pt x="74" y="293"/>
                  </a:cubicBezTo>
                  <a:cubicBezTo>
                    <a:pt x="75" y="295"/>
                    <a:pt x="75" y="295"/>
                    <a:pt x="75" y="295"/>
                  </a:cubicBezTo>
                  <a:cubicBezTo>
                    <a:pt x="75" y="295"/>
                    <a:pt x="75" y="295"/>
                    <a:pt x="75" y="295"/>
                  </a:cubicBezTo>
                  <a:cubicBezTo>
                    <a:pt x="75" y="297"/>
                    <a:pt x="74" y="298"/>
                    <a:pt x="73" y="299"/>
                  </a:cubicBezTo>
                  <a:cubicBezTo>
                    <a:pt x="72" y="299"/>
                    <a:pt x="72" y="300"/>
                    <a:pt x="71" y="300"/>
                  </a:cubicBezTo>
                  <a:cubicBezTo>
                    <a:pt x="70" y="300"/>
                    <a:pt x="70" y="300"/>
                    <a:pt x="69" y="300"/>
                  </a:cubicBezTo>
                  <a:cubicBezTo>
                    <a:pt x="69" y="300"/>
                    <a:pt x="69" y="300"/>
                    <a:pt x="69" y="300"/>
                  </a:cubicBezTo>
                  <a:cubicBezTo>
                    <a:pt x="69" y="301"/>
                    <a:pt x="69" y="301"/>
                    <a:pt x="69" y="301"/>
                  </a:cubicBezTo>
                  <a:cubicBezTo>
                    <a:pt x="69" y="302"/>
                    <a:pt x="69" y="302"/>
                    <a:pt x="69" y="302"/>
                  </a:cubicBezTo>
                  <a:cubicBezTo>
                    <a:pt x="68" y="302"/>
                    <a:pt x="68" y="302"/>
                    <a:pt x="68" y="302"/>
                  </a:cubicBezTo>
                  <a:cubicBezTo>
                    <a:pt x="67" y="303"/>
                    <a:pt x="66" y="303"/>
                    <a:pt x="65" y="303"/>
                  </a:cubicBezTo>
                  <a:cubicBezTo>
                    <a:pt x="64" y="303"/>
                    <a:pt x="64" y="303"/>
                    <a:pt x="63" y="303"/>
                  </a:cubicBezTo>
                  <a:cubicBezTo>
                    <a:pt x="62" y="302"/>
                    <a:pt x="60" y="302"/>
                    <a:pt x="59" y="301"/>
                  </a:cubicBezTo>
                  <a:cubicBezTo>
                    <a:pt x="58" y="300"/>
                    <a:pt x="58" y="300"/>
                    <a:pt x="58" y="300"/>
                  </a:cubicBezTo>
                  <a:cubicBezTo>
                    <a:pt x="57" y="299"/>
                    <a:pt x="57" y="299"/>
                    <a:pt x="57" y="299"/>
                  </a:cubicBezTo>
                  <a:cubicBezTo>
                    <a:pt x="57" y="299"/>
                    <a:pt x="57" y="299"/>
                    <a:pt x="57" y="299"/>
                  </a:cubicBezTo>
                  <a:cubicBezTo>
                    <a:pt x="55" y="300"/>
                    <a:pt x="55" y="300"/>
                    <a:pt x="55" y="300"/>
                  </a:cubicBezTo>
                  <a:cubicBezTo>
                    <a:pt x="54" y="300"/>
                    <a:pt x="51" y="301"/>
                    <a:pt x="50" y="301"/>
                  </a:cubicBezTo>
                  <a:cubicBezTo>
                    <a:pt x="50" y="302"/>
                    <a:pt x="50" y="302"/>
                    <a:pt x="50" y="302"/>
                  </a:cubicBezTo>
                  <a:cubicBezTo>
                    <a:pt x="49" y="304"/>
                    <a:pt x="49" y="304"/>
                    <a:pt x="49" y="304"/>
                  </a:cubicBezTo>
                  <a:cubicBezTo>
                    <a:pt x="48" y="304"/>
                    <a:pt x="48" y="304"/>
                    <a:pt x="48" y="304"/>
                  </a:cubicBezTo>
                  <a:cubicBezTo>
                    <a:pt x="47" y="305"/>
                    <a:pt x="45" y="305"/>
                    <a:pt x="44" y="305"/>
                  </a:cubicBezTo>
                  <a:cubicBezTo>
                    <a:pt x="43" y="305"/>
                    <a:pt x="43" y="305"/>
                    <a:pt x="42" y="305"/>
                  </a:cubicBezTo>
                  <a:cubicBezTo>
                    <a:pt x="41" y="305"/>
                    <a:pt x="40" y="305"/>
                    <a:pt x="39" y="304"/>
                  </a:cubicBezTo>
                  <a:cubicBezTo>
                    <a:pt x="38" y="304"/>
                    <a:pt x="38" y="304"/>
                    <a:pt x="37" y="304"/>
                  </a:cubicBezTo>
                  <a:cubicBezTo>
                    <a:pt x="29" y="303"/>
                    <a:pt x="29" y="303"/>
                    <a:pt x="29" y="303"/>
                  </a:cubicBezTo>
                  <a:cubicBezTo>
                    <a:pt x="26" y="303"/>
                    <a:pt x="22" y="302"/>
                    <a:pt x="18" y="302"/>
                  </a:cubicBezTo>
                  <a:cubicBezTo>
                    <a:pt x="18" y="303"/>
                    <a:pt x="18" y="305"/>
                    <a:pt x="17" y="306"/>
                  </a:cubicBezTo>
                  <a:cubicBezTo>
                    <a:pt x="17" y="306"/>
                    <a:pt x="17" y="306"/>
                    <a:pt x="17" y="306"/>
                  </a:cubicBezTo>
                  <a:cubicBezTo>
                    <a:pt x="17" y="307"/>
                    <a:pt x="17" y="307"/>
                    <a:pt x="17" y="308"/>
                  </a:cubicBezTo>
                  <a:cubicBezTo>
                    <a:pt x="16" y="309"/>
                    <a:pt x="16" y="309"/>
                    <a:pt x="16" y="309"/>
                  </a:cubicBezTo>
                  <a:cubicBezTo>
                    <a:pt x="16" y="310"/>
                    <a:pt x="15" y="310"/>
                    <a:pt x="14" y="310"/>
                  </a:cubicBezTo>
                  <a:cubicBezTo>
                    <a:pt x="13" y="310"/>
                    <a:pt x="13" y="310"/>
                    <a:pt x="12" y="310"/>
                  </a:cubicBezTo>
                  <a:cubicBezTo>
                    <a:pt x="12" y="310"/>
                    <a:pt x="12" y="310"/>
                    <a:pt x="12" y="310"/>
                  </a:cubicBezTo>
                  <a:cubicBezTo>
                    <a:pt x="11" y="310"/>
                    <a:pt x="11" y="310"/>
                    <a:pt x="10" y="310"/>
                  </a:cubicBezTo>
                  <a:cubicBezTo>
                    <a:pt x="10" y="310"/>
                    <a:pt x="10" y="310"/>
                    <a:pt x="10" y="310"/>
                  </a:cubicBezTo>
                  <a:cubicBezTo>
                    <a:pt x="0" y="317"/>
                    <a:pt x="0" y="317"/>
                    <a:pt x="0" y="317"/>
                  </a:cubicBezTo>
                  <a:cubicBezTo>
                    <a:pt x="1" y="317"/>
                    <a:pt x="1" y="317"/>
                    <a:pt x="2" y="317"/>
                  </a:cubicBezTo>
                  <a:cubicBezTo>
                    <a:pt x="3" y="317"/>
                    <a:pt x="4" y="317"/>
                    <a:pt x="5" y="316"/>
                  </a:cubicBezTo>
                  <a:cubicBezTo>
                    <a:pt x="8" y="314"/>
                    <a:pt x="11" y="312"/>
                    <a:pt x="15" y="310"/>
                  </a:cubicBezTo>
                  <a:cubicBezTo>
                    <a:pt x="15" y="310"/>
                    <a:pt x="15" y="310"/>
                    <a:pt x="15" y="310"/>
                  </a:cubicBezTo>
                  <a:cubicBezTo>
                    <a:pt x="15" y="311"/>
                    <a:pt x="15" y="311"/>
                    <a:pt x="15" y="311"/>
                  </a:cubicBezTo>
                  <a:cubicBezTo>
                    <a:pt x="14" y="312"/>
                    <a:pt x="12" y="312"/>
                    <a:pt x="11" y="313"/>
                  </a:cubicBezTo>
                  <a:cubicBezTo>
                    <a:pt x="9" y="315"/>
                    <a:pt x="8" y="316"/>
                    <a:pt x="7" y="316"/>
                  </a:cubicBezTo>
                  <a:cubicBezTo>
                    <a:pt x="7" y="316"/>
                    <a:pt x="7" y="316"/>
                    <a:pt x="7" y="316"/>
                  </a:cubicBezTo>
                  <a:cubicBezTo>
                    <a:pt x="7" y="317"/>
                    <a:pt x="7" y="317"/>
                    <a:pt x="7" y="317"/>
                  </a:cubicBezTo>
                  <a:cubicBezTo>
                    <a:pt x="7" y="317"/>
                    <a:pt x="7" y="318"/>
                    <a:pt x="7" y="318"/>
                  </a:cubicBezTo>
                  <a:cubicBezTo>
                    <a:pt x="8" y="321"/>
                    <a:pt x="9" y="323"/>
                    <a:pt x="10" y="325"/>
                  </a:cubicBezTo>
                  <a:cubicBezTo>
                    <a:pt x="11" y="327"/>
                    <a:pt x="13" y="329"/>
                    <a:pt x="15" y="330"/>
                  </a:cubicBezTo>
                  <a:cubicBezTo>
                    <a:pt x="15" y="331"/>
                    <a:pt x="16" y="331"/>
                    <a:pt x="17" y="332"/>
                  </a:cubicBezTo>
                  <a:cubicBezTo>
                    <a:pt x="18" y="333"/>
                    <a:pt x="19" y="333"/>
                    <a:pt x="20" y="334"/>
                  </a:cubicBezTo>
                  <a:cubicBezTo>
                    <a:pt x="23" y="335"/>
                    <a:pt x="25" y="336"/>
                    <a:pt x="27" y="337"/>
                  </a:cubicBezTo>
                  <a:cubicBezTo>
                    <a:pt x="28" y="337"/>
                    <a:pt x="28" y="337"/>
                    <a:pt x="29" y="338"/>
                  </a:cubicBezTo>
                  <a:cubicBezTo>
                    <a:pt x="30" y="338"/>
                    <a:pt x="32" y="339"/>
                    <a:pt x="34" y="339"/>
                  </a:cubicBezTo>
                  <a:cubicBezTo>
                    <a:pt x="35" y="339"/>
                    <a:pt x="36" y="339"/>
                    <a:pt x="37" y="339"/>
                  </a:cubicBezTo>
                  <a:cubicBezTo>
                    <a:pt x="37" y="339"/>
                    <a:pt x="38" y="339"/>
                    <a:pt x="38" y="339"/>
                  </a:cubicBezTo>
                  <a:cubicBezTo>
                    <a:pt x="40" y="339"/>
                    <a:pt x="41" y="337"/>
                    <a:pt x="43" y="336"/>
                  </a:cubicBezTo>
                  <a:cubicBezTo>
                    <a:pt x="45" y="336"/>
                    <a:pt x="49" y="335"/>
                    <a:pt x="48" y="334"/>
                  </a:cubicBezTo>
                  <a:cubicBezTo>
                    <a:pt x="49" y="334"/>
                    <a:pt x="49" y="334"/>
                    <a:pt x="49" y="334"/>
                  </a:cubicBezTo>
                  <a:cubicBezTo>
                    <a:pt x="50" y="334"/>
                    <a:pt x="52" y="335"/>
                    <a:pt x="53" y="335"/>
                  </a:cubicBezTo>
                  <a:cubicBezTo>
                    <a:pt x="54" y="335"/>
                    <a:pt x="54" y="335"/>
                    <a:pt x="55" y="334"/>
                  </a:cubicBezTo>
                  <a:cubicBezTo>
                    <a:pt x="56" y="334"/>
                    <a:pt x="56" y="331"/>
                    <a:pt x="57" y="330"/>
                  </a:cubicBezTo>
                  <a:cubicBezTo>
                    <a:pt x="56" y="332"/>
                    <a:pt x="54" y="337"/>
                    <a:pt x="52" y="340"/>
                  </a:cubicBezTo>
                  <a:cubicBezTo>
                    <a:pt x="51" y="342"/>
                    <a:pt x="50" y="344"/>
                    <a:pt x="49" y="345"/>
                  </a:cubicBezTo>
                  <a:cubicBezTo>
                    <a:pt x="48" y="345"/>
                    <a:pt x="47" y="345"/>
                    <a:pt x="47" y="345"/>
                  </a:cubicBezTo>
                  <a:cubicBezTo>
                    <a:pt x="43" y="347"/>
                    <a:pt x="38" y="348"/>
                    <a:pt x="34" y="349"/>
                  </a:cubicBezTo>
                  <a:cubicBezTo>
                    <a:pt x="34" y="349"/>
                    <a:pt x="34" y="349"/>
                    <a:pt x="33" y="350"/>
                  </a:cubicBezTo>
                  <a:cubicBezTo>
                    <a:pt x="32" y="350"/>
                    <a:pt x="28" y="351"/>
                    <a:pt x="26" y="351"/>
                  </a:cubicBezTo>
                  <a:cubicBezTo>
                    <a:pt x="24" y="351"/>
                    <a:pt x="24" y="350"/>
                    <a:pt x="26" y="348"/>
                  </a:cubicBezTo>
                  <a:cubicBezTo>
                    <a:pt x="25" y="348"/>
                    <a:pt x="25" y="348"/>
                    <a:pt x="25" y="348"/>
                  </a:cubicBezTo>
                  <a:cubicBezTo>
                    <a:pt x="24" y="348"/>
                    <a:pt x="23" y="348"/>
                    <a:pt x="22" y="348"/>
                  </a:cubicBezTo>
                  <a:cubicBezTo>
                    <a:pt x="19" y="348"/>
                    <a:pt x="19" y="350"/>
                    <a:pt x="20" y="353"/>
                  </a:cubicBezTo>
                  <a:cubicBezTo>
                    <a:pt x="21" y="353"/>
                    <a:pt x="21" y="354"/>
                    <a:pt x="22" y="355"/>
                  </a:cubicBezTo>
                  <a:cubicBezTo>
                    <a:pt x="23" y="356"/>
                    <a:pt x="24" y="357"/>
                    <a:pt x="25" y="358"/>
                  </a:cubicBezTo>
                  <a:cubicBezTo>
                    <a:pt x="26" y="359"/>
                    <a:pt x="27" y="360"/>
                    <a:pt x="28" y="361"/>
                  </a:cubicBezTo>
                  <a:cubicBezTo>
                    <a:pt x="29" y="362"/>
                    <a:pt x="29" y="362"/>
                    <a:pt x="30" y="363"/>
                  </a:cubicBezTo>
                  <a:cubicBezTo>
                    <a:pt x="31" y="364"/>
                    <a:pt x="33" y="366"/>
                    <a:pt x="35" y="367"/>
                  </a:cubicBezTo>
                  <a:cubicBezTo>
                    <a:pt x="36" y="369"/>
                    <a:pt x="38" y="370"/>
                    <a:pt x="39" y="372"/>
                  </a:cubicBezTo>
                  <a:cubicBezTo>
                    <a:pt x="41" y="373"/>
                    <a:pt x="42" y="375"/>
                    <a:pt x="44" y="376"/>
                  </a:cubicBezTo>
                  <a:cubicBezTo>
                    <a:pt x="44" y="377"/>
                    <a:pt x="44" y="377"/>
                    <a:pt x="44" y="377"/>
                  </a:cubicBezTo>
                  <a:cubicBezTo>
                    <a:pt x="46" y="378"/>
                    <a:pt x="47" y="380"/>
                    <a:pt x="49" y="382"/>
                  </a:cubicBezTo>
                  <a:cubicBezTo>
                    <a:pt x="50" y="384"/>
                    <a:pt x="52" y="385"/>
                    <a:pt x="54" y="387"/>
                  </a:cubicBezTo>
                  <a:cubicBezTo>
                    <a:pt x="55" y="388"/>
                    <a:pt x="57" y="389"/>
                    <a:pt x="59" y="389"/>
                  </a:cubicBezTo>
                  <a:cubicBezTo>
                    <a:pt x="59" y="389"/>
                    <a:pt x="59" y="390"/>
                    <a:pt x="60" y="390"/>
                  </a:cubicBezTo>
                  <a:cubicBezTo>
                    <a:pt x="62" y="390"/>
                    <a:pt x="66" y="391"/>
                    <a:pt x="68" y="392"/>
                  </a:cubicBezTo>
                  <a:cubicBezTo>
                    <a:pt x="68" y="392"/>
                    <a:pt x="68" y="392"/>
                    <a:pt x="69" y="392"/>
                  </a:cubicBezTo>
                  <a:cubicBezTo>
                    <a:pt x="69" y="392"/>
                    <a:pt x="69" y="392"/>
                    <a:pt x="69" y="391"/>
                  </a:cubicBezTo>
                  <a:cubicBezTo>
                    <a:pt x="73" y="390"/>
                    <a:pt x="77" y="388"/>
                    <a:pt x="81" y="387"/>
                  </a:cubicBezTo>
                  <a:cubicBezTo>
                    <a:pt x="81" y="387"/>
                    <a:pt x="82" y="386"/>
                    <a:pt x="83" y="386"/>
                  </a:cubicBezTo>
                  <a:cubicBezTo>
                    <a:pt x="88" y="384"/>
                    <a:pt x="94" y="382"/>
                    <a:pt x="97" y="379"/>
                  </a:cubicBezTo>
                  <a:cubicBezTo>
                    <a:pt x="99" y="377"/>
                    <a:pt x="100" y="373"/>
                    <a:pt x="101" y="371"/>
                  </a:cubicBezTo>
                  <a:cubicBezTo>
                    <a:pt x="102" y="368"/>
                    <a:pt x="102" y="368"/>
                    <a:pt x="101" y="368"/>
                  </a:cubicBezTo>
                  <a:cubicBezTo>
                    <a:pt x="101" y="367"/>
                    <a:pt x="101" y="367"/>
                    <a:pt x="101" y="367"/>
                  </a:cubicBezTo>
                  <a:cubicBezTo>
                    <a:pt x="99" y="364"/>
                    <a:pt x="98" y="365"/>
                    <a:pt x="96" y="364"/>
                  </a:cubicBezTo>
                  <a:cubicBezTo>
                    <a:pt x="95" y="363"/>
                    <a:pt x="95" y="363"/>
                    <a:pt x="95" y="362"/>
                  </a:cubicBezTo>
                  <a:cubicBezTo>
                    <a:pt x="95" y="362"/>
                    <a:pt x="96" y="362"/>
                    <a:pt x="96" y="362"/>
                  </a:cubicBezTo>
                  <a:cubicBezTo>
                    <a:pt x="97" y="362"/>
                    <a:pt x="97" y="362"/>
                    <a:pt x="98" y="362"/>
                  </a:cubicBezTo>
                  <a:cubicBezTo>
                    <a:pt x="98" y="362"/>
                    <a:pt x="98" y="362"/>
                    <a:pt x="98" y="362"/>
                  </a:cubicBezTo>
                  <a:cubicBezTo>
                    <a:pt x="98" y="362"/>
                    <a:pt x="98" y="362"/>
                    <a:pt x="98" y="361"/>
                  </a:cubicBezTo>
                  <a:cubicBezTo>
                    <a:pt x="98" y="361"/>
                    <a:pt x="97" y="360"/>
                    <a:pt x="96" y="359"/>
                  </a:cubicBezTo>
                  <a:cubicBezTo>
                    <a:pt x="98" y="358"/>
                    <a:pt x="103" y="357"/>
                    <a:pt x="102" y="354"/>
                  </a:cubicBezTo>
                  <a:cubicBezTo>
                    <a:pt x="102" y="352"/>
                    <a:pt x="100" y="352"/>
                    <a:pt x="98" y="351"/>
                  </a:cubicBezTo>
                  <a:cubicBezTo>
                    <a:pt x="98" y="351"/>
                    <a:pt x="98" y="351"/>
                    <a:pt x="98" y="351"/>
                  </a:cubicBezTo>
                  <a:cubicBezTo>
                    <a:pt x="98" y="351"/>
                    <a:pt x="98" y="351"/>
                    <a:pt x="98" y="351"/>
                  </a:cubicBezTo>
                  <a:cubicBezTo>
                    <a:pt x="99" y="351"/>
                    <a:pt x="100" y="351"/>
                    <a:pt x="100" y="351"/>
                  </a:cubicBezTo>
                  <a:cubicBezTo>
                    <a:pt x="103" y="351"/>
                    <a:pt x="106" y="351"/>
                    <a:pt x="108" y="351"/>
                  </a:cubicBezTo>
                  <a:cubicBezTo>
                    <a:pt x="111" y="351"/>
                    <a:pt x="114" y="351"/>
                    <a:pt x="117" y="352"/>
                  </a:cubicBezTo>
                  <a:cubicBezTo>
                    <a:pt x="117" y="352"/>
                    <a:pt x="117" y="352"/>
                    <a:pt x="117" y="352"/>
                  </a:cubicBezTo>
                  <a:cubicBezTo>
                    <a:pt x="118" y="352"/>
                    <a:pt x="117" y="352"/>
                    <a:pt x="116" y="353"/>
                  </a:cubicBezTo>
                  <a:cubicBezTo>
                    <a:pt x="116" y="353"/>
                    <a:pt x="116" y="353"/>
                    <a:pt x="115" y="353"/>
                  </a:cubicBezTo>
                  <a:cubicBezTo>
                    <a:pt x="115" y="353"/>
                    <a:pt x="115" y="353"/>
                    <a:pt x="115" y="352"/>
                  </a:cubicBezTo>
                  <a:cubicBezTo>
                    <a:pt x="113" y="353"/>
                    <a:pt x="108" y="354"/>
                    <a:pt x="107" y="357"/>
                  </a:cubicBezTo>
                  <a:cubicBezTo>
                    <a:pt x="107" y="357"/>
                    <a:pt x="107" y="360"/>
                    <a:pt x="107" y="362"/>
                  </a:cubicBezTo>
                  <a:cubicBezTo>
                    <a:pt x="107" y="364"/>
                    <a:pt x="107" y="366"/>
                    <a:pt x="108" y="366"/>
                  </a:cubicBezTo>
                  <a:cubicBezTo>
                    <a:pt x="108" y="367"/>
                    <a:pt x="110" y="367"/>
                    <a:pt x="111" y="367"/>
                  </a:cubicBezTo>
                  <a:cubicBezTo>
                    <a:pt x="111" y="367"/>
                    <a:pt x="111" y="367"/>
                    <a:pt x="111" y="367"/>
                  </a:cubicBezTo>
                  <a:cubicBezTo>
                    <a:pt x="115" y="367"/>
                    <a:pt x="120" y="366"/>
                    <a:pt x="122" y="365"/>
                  </a:cubicBezTo>
                  <a:cubicBezTo>
                    <a:pt x="117" y="368"/>
                    <a:pt x="112" y="368"/>
                    <a:pt x="109" y="374"/>
                  </a:cubicBezTo>
                  <a:cubicBezTo>
                    <a:pt x="110" y="373"/>
                    <a:pt x="111" y="373"/>
                    <a:pt x="112" y="372"/>
                  </a:cubicBezTo>
                  <a:cubicBezTo>
                    <a:pt x="109" y="375"/>
                    <a:pt x="108" y="376"/>
                    <a:pt x="109" y="379"/>
                  </a:cubicBezTo>
                  <a:cubicBezTo>
                    <a:pt x="109" y="380"/>
                    <a:pt x="109" y="380"/>
                    <a:pt x="110" y="382"/>
                  </a:cubicBezTo>
                  <a:cubicBezTo>
                    <a:pt x="110" y="382"/>
                    <a:pt x="110" y="382"/>
                    <a:pt x="110" y="382"/>
                  </a:cubicBezTo>
                  <a:cubicBezTo>
                    <a:pt x="110" y="382"/>
                    <a:pt x="111" y="381"/>
                    <a:pt x="111" y="381"/>
                  </a:cubicBezTo>
                  <a:cubicBezTo>
                    <a:pt x="111" y="382"/>
                    <a:pt x="112" y="382"/>
                    <a:pt x="112" y="382"/>
                  </a:cubicBezTo>
                  <a:cubicBezTo>
                    <a:pt x="112" y="382"/>
                    <a:pt x="112" y="382"/>
                    <a:pt x="112" y="382"/>
                  </a:cubicBezTo>
                  <a:cubicBezTo>
                    <a:pt x="113" y="382"/>
                    <a:pt x="113" y="383"/>
                    <a:pt x="114" y="383"/>
                  </a:cubicBezTo>
                  <a:cubicBezTo>
                    <a:pt x="115" y="384"/>
                    <a:pt x="116" y="385"/>
                    <a:pt x="116" y="386"/>
                  </a:cubicBezTo>
                  <a:cubicBezTo>
                    <a:pt x="116" y="387"/>
                    <a:pt x="116" y="389"/>
                    <a:pt x="116" y="391"/>
                  </a:cubicBezTo>
                  <a:cubicBezTo>
                    <a:pt x="115" y="393"/>
                    <a:pt x="115" y="395"/>
                    <a:pt x="115" y="398"/>
                  </a:cubicBezTo>
                  <a:cubicBezTo>
                    <a:pt x="115" y="400"/>
                    <a:pt x="114" y="402"/>
                    <a:pt x="113" y="404"/>
                  </a:cubicBezTo>
                  <a:cubicBezTo>
                    <a:pt x="113" y="404"/>
                    <a:pt x="113" y="405"/>
                    <a:pt x="112" y="406"/>
                  </a:cubicBezTo>
                  <a:cubicBezTo>
                    <a:pt x="112" y="408"/>
                    <a:pt x="111" y="411"/>
                    <a:pt x="111" y="413"/>
                  </a:cubicBezTo>
                  <a:cubicBezTo>
                    <a:pt x="111" y="414"/>
                    <a:pt x="111" y="414"/>
                    <a:pt x="111" y="415"/>
                  </a:cubicBezTo>
                  <a:cubicBezTo>
                    <a:pt x="111" y="416"/>
                    <a:pt x="111" y="417"/>
                    <a:pt x="112" y="419"/>
                  </a:cubicBezTo>
                  <a:cubicBezTo>
                    <a:pt x="112" y="421"/>
                    <a:pt x="112" y="422"/>
                    <a:pt x="114" y="422"/>
                  </a:cubicBezTo>
                  <a:cubicBezTo>
                    <a:pt x="114" y="422"/>
                    <a:pt x="115" y="422"/>
                    <a:pt x="116" y="422"/>
                  </a:cubicBezTo>
                  <a:cubicBezTo>
                    <a:pt x="113" y="423"/>
                    <a:pt x="111" y="426"/>
                    <a:pt x="115" y="427"/>
                  </a:cubicBezTo>
                  <a:cubicBezTo>
                    <a:pt x="114" y="427"/>
                    <a:pt x="113" y="428"/>
                    <a:pt x="114" y="430"/>
                  </a:cubicBezTo>
                  <a:cubicBezTo>
                    <a:pt x="114" y="430"/>
                    <a:pt x="114" y="430"/>
                    <a:pt x="115" y="430"/>
                  </a:cubicBezTo>
                  <a:cubicBezTo>
                    <a:pt x="115" y="430"/>
                    <a:pt x="115" y="430"/>
                    <a:pt x="115" y="430"/>
                  </a:cubicBezTo>
                  <a:cubicBezTo>
                    <a:pt x="118" y="430"/>
                    <a:pt x="120" y="432"/>
                    <a:pt x="121" y="434"/>
                  </a:cubicBezTo>
                  <a:cubicBezTo>
                    <a:pt x="121" y="435"/>
                    <a:pt x="122" y="435"/>
                    <a:pt x="122" y="436"/>
                  </a:cubicBezTo>
                  <a:cubicBezTo>
                    <a:pt x="122" y="440"/>
                    <a:pt x="119" y="442"/>
                    <a:pt x="116" y="443"/>
                  </a:cubicBezTo>
                  <a:cubicBezTo>
                    <a:pt x="116" y="444"/>
                    <a:pt x="117" y="445"/>
                    <a:pt x="118" y="446"/>
                  </a:cubicBezTo>
                  <a:cubicBezTo>
                    <a:pt x="118" y="447"/>
                    <a:pt x="119" y="448"/>
                    <a:pt x="119" y="449"/>
                  </a:cubicBezTo>
                  <a:cubicBezTo>
                    <a:pt x="118" y="448"/>
                    <a:pt x="118" y="448"/>
                    <a:pt x="117" y="448"/>
                  </a:cubicBezTo>
                  <a:cubicBezTo>
                    <a:pt x="117" y="448"/>
                    <a:pt x="117" y="448"/>
                    <a:pt x="117" y="448"/>
                  </a:cubicBezTo>
                  <a:cubicBezTo>
                    <a:pt x="116" y="450"/>
                    <a:pt x="119" y="452"/>
                    <a:pt x="119" y="453"/>
                  </a:cubicBezTo>
                  <a:cubicBezTo>
                    <a:pt x="120" y="453"/>
                    <a:pt x="120" y="454"/>
                    <a:pt x="120" y="454"/>
                  </a:cubicBezTo>
                  <a:cubicBezTo>
                    <a:pt x="120" y="455"/>
                    <a:pt x="120" y="455"/>
                    <a:pt x="120" y="455"/>
                  </a:cubicBezTo>
                  <a:cubicBezTo>
                    <a:pt x="120" y="455"/>
                    <a:pt x="119" y="455"/>
                    <a:pt x="119" y="455"/>
                  </a:cubicBezTo>
                  <a:cubicBezTo>
                    <a:pt x="119" y="455"/>
                    <a:pt x="118" y="454"/>
                    <a:pt x="118" y="454"/>
                  </a:cubicBezTo>
                  <a:cubicBezTo>
                    <a:pt x="118" y="455"/>
                    <a:pt x="118" y="455"/>
                    <a:pt x="118" y="456"/>
                  </a:cubicBezTo>
                  <a:cubicBezTo>
                    <a:pt x="118" y="459"/>
                    <a:pt x="119" y="461"/>
                    <a:pt x="120" y="464"/>
                  </a:cubicBezTo>
                  <a:cubicBezTo>
                    <a:pt x="120" y="466"/>
                    <a:pt x="121" y="469"/>
                    <a:pt x="121" y="471"/>
                  </a:cubicBezTo>
                  <a:cubicBezTo>
                    <a:pt x="122" y="472"/>
                    <a:pt x="122" y="472"/>
                    <a:pt x="122" y="472"/>
                  </a:cubicBezTo>
                  <a:cubicBezTo>
                    <a:pt x="122" y="474"/>
                    <a:pt x="123" y="477"/>
                    <a:pt x="123" y="479"/>
                  </a:cubicBezTo>
                  <a:cubicBezTo>
                    <a:pt x="124" y="482"/>
                    <a:pt x="124" y="484"/>
                    <a:pt x="125" y="487"/>
                  </a:cubicBezTo>
                  <a:cubicBezTo>
                    <a:pt x="126" y="490"/>
                    <a:pt x="126" y="492"/>
                    <a:pt x="127" y="495"/>
                  </a:cubicBezTo>
                  <a:cubicBezTo>
                    <a:pt x="127" y="495"/>
                    <a:pt x="127" y="495"/>
                    <a:pt x="127" y="495"/>
                  </a:cubicBezTo>
                  <a:cubicBezTo>
                    <a:pt x="127" y="497"/>
                    <a:pt x="127" y="500"/>
                    <a:pt x="128" y="503"/>
                  </a:cubicBezTo>
                  <a:cubicBezTo>
                    <a:pt x="128" y="506"/>
                    <a:pt x="129" y="508"/>
                    <a:pt x="130" y="510"/>
                  </a:cubicBezTo>
                  <a:cubicBezTo>
                    <a:pt x="131" y="511"/>
                    <a:pt x="131" y="511"/>
                    <a:pt x="131" y="511"/>
                  </a:cubicBezTo>
                  <a:cubicBezTo>
                    <a:pt x="132" y="513"/>
                    <a:pt x="133" y="514"/>
                    <a:pt x="134" y="516"/>
                  </a:cubicBezTo>
                  <a:cubicBezTo>
                    <a:pt x="135" y="517"/>
                    <a:pt x="136" y="518"/>
                    <a:pt x="137" y="519"/>
                  </a:cubicBezTo>
                  <a:cubicBezTo>
                    <a:pt x="137" y="520"/>
                    <a:pt x="138" y="521"/>
                    <a:pt x="138" y="522"/>
                  </a:cubicBezTo>
                  <a:cubicBezTo>
                    <a:pt x="140" y="523"/>
                    <a:pt x="141" y="525"/>
                    <a:pt x="142" y="527"/>
                  </a:cubicBezTo>
                  <a:cubicBezTo>
                    <a:pt x="143" y="528"/>
                    <a:pt x="143" y="528"/>
                    <a:pt x="143" y="528"/>
                  </a:cubicBezTo>
                  <a:cubicBezTo>
                    <a:pt x="142" y="528"/>
                    <a:pt x="142" y="528"/>
                    <a:pt x="142" y="528"/>
                  </a:cubicBezTo>
                  <a:cubicBezTo>
                    <a:pt x="141" y="527"/>
                    <a:pt x="140" y="527"/>
                    <a:pt x="139" y="527"/>
                  </a:cubicBezTo>
                  <a:cubicBezTo>
                    <a:pt x="139" y="528"/>
                    <a:pt x="140" y="529"/>
                    <a:pt x="140" y="529"/>
                  </a:cubicBezTo>
                  <a:cubicBezTo>
                    <a:pt x="141" y="531"/>
                    <a:pt x="142" y="533"/>
                    <a:pt x="143" y="535"/>
                  </a:cubicBezTo>
                  <a:cubicBezTo>
                    <a:pt x="144" y="536"/>
                    <a:pt x="144" y="536"/>
                    <a:pt x="144" y="536"/>
                  </a:cubicBezTo>
                  <a:cubicBezTo>
                    <a:pt x="144" y="537"/>
                    <a:pt x="145" y="540"/>
                    <a:pt x="146" y="540"/>
                  </a:cubicBezTo>
                  <a:cubicBezTo>
                    <a:pt x="146" y="540"/>
                    <a:pt x="146" y="540"/>
                    <a:pt x="146" y="540"/>
                  </a:cubicBezTo>
                  <a:cubicBezTo>
                    <a:pt x="147" y="540"/>
                    <a:pt x="147" y="540"/>
                    <a:pt x="147" y="540"/>
                  </a:cubicBezTo>
                  <a:cubicBezTo>
                    <a:pt x="148" y="540"/>
                    <a:pt x="148" y="540"/>
                    <a:pt x="149" y="540"/>
                  </a:cubicBezTo>
                  <a:cubicBezTo>
                    <a:pt x="149" y="540"/>
                    <a:pt x="149" y="540"/>
                    <a:pt x="149" y="540"/>
                  </a:cubicBezTo>
                  <a:cubicBezTo>
                    <a:pt x="149" y="540"/>
                    <a:pt x="148" y="540"/>
                    <a:pt x="148" y="541"/>
                  </a:cubicBezTo>
                  <a:cubicBezTo>
                    <a:pt x="147" y="541"/>
                    <a:pt x="146" y="542"/>
                    <a:pt x="146" y="542"/>
                  </a:cubicBezTo>
                  <a:cubicBezTo>
                    <a:pt x="146" y="542"/>
                    <a:pt x="146" y="542"/>
                    <a:pt x="146" y="542"/>
                  </a:cubicBezTo>
                  <a:cubicBezTo>
                    <a:pt x="148" y="544"/>
                    <a:pt x="150" y="545"/>
                    <a:pt x="152" y="546"/>
                  </a:cubicBezTo>
                  <a:cubicBezTo>
                    <a:pt x="152" y="547"/>
                    <a:pt x="153" y="548"/>
                    <a:pt x="153" y="549"/>
                  </a:cubicBezTo>
                  <a:cubicBezTo>
                    <a:pt x="154" y="550"/>
                    <a:pt x="154" y="551"/>
                    <a:pt x="155" y="553"/>
                  </a:cubicBezTo>
                  <a:cubicBezTo>
                    <a:pt x="155" y="556"/>
                    <a:pt x="156" y="558"/>
                    <a:pt x="156" y="561"/>
                  </a:cubicBezTo>
                  <a:cubicBezTo>
                    <a:pt x="157" y="562"/>
                    <a:pt x="157" y="563"/>
                    <a:pt x="157" y="564"/>
                  </a:cubicBezTo>
                  <a:cubicBezTo>
                    <a:pt x="158" y="565"/>
                    <a:pt x="158" y="567"/>
                    <a:pt x="159" y="568"/>
                  </a:cubicBezTo>
                  <a:cubicBezTo>
                    <a:pt x="160" y="570"/>
                    <a:pt x="161" y="572"/>
                    <a:pt x="161" y="575"/>
                  </a:cubicBezTo>
                  <a:cubicBezTo>
                    <a:pt x="162" y="577"/>
                    <a:pt x="163" y="580"/>
                    <a:pt x="164" y="582"/>
                  </a:cubicBezTo>
                  <a:cubicBezTo>
                    <a:pt x="164" y="583"/>
                    <a:pt x="165" y="585"/>
                    <a:pt x="165" y="586"/>
                  </a:cubicBezTo>
                  <a:cubicBezTo>
                    <a:pt x="165" y="587"/>
                    <a:pt x="165" y="589"/>
                    <a:pt x="165" y="590"/>
                  </a:cubicBezTo>
                  <a:cubicBezTo>
                    <a:pt x="165" y="592"/>
                    <a:pt x="164" y="593"/>
                    <a:pt x="165" y="593"/>
                  </a:cubicBezTo>
                  <a:cubicBezTo>
                    <a:pt x="166" y="595"/>
                    <a:pt x="166" y="596"/>
                    <a:pt x="167" y="598"/>
                  </a:cubicBezTo>
                  <a:cubicBezTo>
                    <a:pt x="168" y="600"/>
                    <a:pt x="169" y="601"/>
                    <a:pt x="169" y="603"/>
                  </a:cubicBezTo>
                  <a:cubicBezTo>
                    <a:pt x="170" y="603"/>
                    <a:pt x="170" y="604"/>
                    <a:pt x="170" y="604"/>
                  </a:cubicBezTo>
                  <a:cubicBezTo>
                    <a:pt x="171" y="606"/>
                    <a:pt x="173" y="608"/>
                    <a:pt x="174" y="610"/>
                  </a:cubicBezTo>
                  <a:cubicBezTo>
                    <a:pt x="175" y="612"/>
                    <a:pt x="177" y="614"/>
                    <a:pt x="178" y="616"/>
                  </a:cubicBezTo>
                  <a:cubicBezTo>
                    <a:pt x="179" y="617"/>
                    <a:pt x="180" y="619"/>
                    <a:pt x="182" y="621"/>
                  </a:cubicBezTo>
                  <a:cubicBezTo>
                    <a:pt x="182" y="621"/>
                    <a:pt x="182" y="621"/>
                    <a:pt x="182" y="621"/>
                  </a:cubicBezTo>
                  <a:cubicBezTo>
                    <a:pt x="183" y="623"/>
                    <a:pt x="185" y="625"/>
                    <a:pt x="186" y="627"/>
                  </a:cubicBezTo>
                  <a:cubicBezTo>
                    <a:pt x="187" y="629"/>
                    <a:pt x="188" y="632"/>
                    <a:pt x="188" y="634"/>
                  </a:cubicBezTo>
                  <a:cubicBezTo>
                    <a:pt x="189" y="635"/>
                    <a:pt x="189" y="637"/>
                    <a:pt x="190" y="638"/>
                  </a:cubicBezTo>
                  <a:cubicBezTo>
                    <a:pt x="190" y="639"/>
                    <a:pt x="190" y="640"/>
                    <a:pt x="191" y="641"/>
                  </a:cubicBezTo>
                  <a:cubicBezTo>
                    <a:pt x="192" y="643"/>
                    <a:pt x="192" y="646"/>
                    <a:pt x="193" y="648"/>
                  </a:cubicBezTo>
                  <a:cubicBezTo>
                    <a:pt x="194" y="650"/>
                    <a:pt x="195" y="652"/>
                    <a:pt x="196" y="654"/>
                  </a:cubicBezTo>
                  <a:cubicBezTo>
                    <a:pt x="197" y="655"/>
                    <a:pt x="197" y="656"/>
                    <a:pt x="197" y="656"/>
                  </a:cubicBezTo>
                  <a:cubicBezTo>
                    <a:pt x="198" y="657"/>
                    <a:pt x="199" y="659"/>
                    <a:pt x="200" y="661"/>
                  </a:cubicBezTo>
                  <a:cubicBezTo>
                    <a:pt x="201" y="663"/>
                    <a:pt x="202" y="665"/>
                    <a:pt x="203" y="667"/>
                  </a:cubicBezTo>
                  <a:cubicBezTo>
                    <a:pt x="204" y="671"/>
                    <a:pt x="205" y="674"/>
                    <a:pt x="203" y="674"/>
                  </a:cubicBezTo>
                  <a:cubicBezTo>
                    <a:pt x="202" y="672"/>
                    <a:pt x="202" y="671"/>
                    <a:pt x="201" y="669"/>
                  </a:cubicBezTo>
                  <a:cubicBezTo>
                    <a:pt x="200" y="668"/>
                    <a:pt x="200" y="666"/>
                    <a:pt x="200" y="665"/>
                  </a:cubicBezTo>
                  <a:cubicBezTo>
                    <a:pt x="200" y="666"/>
                    <a:pt x="200" y="668"/>
                    <a:pt x="200" y="670"/>
                  </a:cubicBezTo>
                  <a:cubicBezTo>
                    <a:pt x="201" y="672"/>
                    <a:pt x="202" y="675"/>
                    <a:pt x="203" y="677"/>
                  </a:cubicBezTo>
                  <a:cubicBezTo>
                    <a:pt x="203" y="678"/>
                    <a:pt x="203" y="679"/>
                    <a:pt x="203" y="680"/>
                  </a:cubicBezTo>
                  <a:cubicBezTo>
                    <a:pt x="204" y="681"/>
                    <a:pt x="205" y="682"/>
                    <a:pt x="206" y="683"/>
                  </a:cubicBezTo>
                  <a:cubicBezTo>
                    <a:pt x="206" y="684"/>
                    <a:pt x="207" y="684"/>
                    <a:pt x="207" y="685"/>
                  </a:cubicBezTo>
                  <a:cubicBezTo>
                    <a:pt x="208" y="685"/>
                    <a:pt x="210" y="686"/>
                    <a:pt x="209" y="687"/>
                  </a:cubicBezTo>
                  <a:cubicBezTo>
                    <a:pt x="208" y="689"/>
                    <a:pt x="208" y="689"/>
                    <a:pt x="208" y="689"/>
                  </a:cubicBezTo>
                  <a:cubicBezTo>
                    <a:pt x="209" y="690"/>
                    <a:pt x="209" y="690"/>
                    <a:pt x="209" y="690"/>
                  </a:cubicBezTo>
                  <a:cubicBezTo>
                    <a:pt x="210" y="692"/>
                    <a:pt x="211" y="694"/>
                    <a:pt x="213" y="695"/>
                  </a:cubicBezTo>
                  <a:cubicBezTo>
                    <a:pt x="214" y="697"/>
                    <a:pt x="216" y="699"/>
                    <a:pt x="217" y="701"/>
                  </a:cubicBezTo>
                  <a:cubicBezTo>
                    <a:pt x="218" y="702"/>
                    <a:pt x="219" y="702"/>
                    <a:pt x="219" y="703"/>
                  </a:cubicBezTo>
                  <a:cubicBezTo>
                    <a:pt x="220" y="704"/>
                    <a:pt x="221" y="705"/>
                    <a:pt x="222" y="706"/>
                  </a:cubicBezTo>
                  <a:cubicBezTo>
                    <a:pt x="224" y="707"/>
                    <a:pt x="226" y="708"/>
                    <a:pt x="228" y="709"/>
                  </a:cubicBezTo>
                  <a:cubicBezTo>
                    <a:pt x="229" y="709"/>
                    <a:pt x="230" y="710"/>
                    <a:pt x="231" y="710"/>
                  </a:cubicBezTo>
                  <a:cubicBezTo>
                    <a:pt x="232" y="707"/>
                    <a:pt x="237" y="705"/>
                    <a:pt x="239" y="704"/>
                  </a:cubicBezTo>
                  <a:cubicBezTo>
                    <a:pt x="243" y="701"/>
                    <a:pt x="245" y="701"/>
                    <a:pt x="246" y="697"/>
                  </a:cubicBezTo>
                  <a:cubicBezTo>
                    <a:pt x="246" y="695"/>
                    <a:pt x="246" y="692"/>
                    <a:pt x="247" y="690"/>
                  </a:cubicBezTo>
                  <a:cubicBezTo>
                    <a:pt x="248" y="687"/>
                    <a:pt x="250" y="685"/>
                    <a:pt x="252" y="684"/>
                  </a:cubicBezTo>
                  <a:cubicBezTo>
                    <a:pt x="253" y="684"/>
                    <a:pt x="253" y="684"/>
                    <a:pt x="253" y="684"/>
                  </a:cubicBezTo>
                  <a:cubicBezTo>
                    <a:pt x="256" y="683"/>
                    <a:pt x="260" y="681"/>
                    <a:pt x="263" y="681"/>
                  </a:cubicBezTo>
                  <a:cubicBezTo>
                    <a:pt x="263" y="681"/>
                    <a:pt x="264" y="681"/>
                    <a:pt x="264" y="681"/>
                  </a:cubicBezTo>
                  <a:cubicBezTo>
                    <a:pt x="264" y="681"/>
                    <a:pt x="265" y="681"/>
                    <a:pt x="265" y="681"/>
                  </a:cubicBezTo>
                  <a:cubicBezTo>
                    <a:pt x="268" y="681"/>
                    <a:pt x="271" y="682"/>
                    <a:pt x="274" y="682"/>
                  </a:cubicBezTo>
                  <a:cubicBezTo>
                    <a:pt x="275" y="683"/>
                    <a:pt x="277" y="683"/>
                    <a:pt x="278" y="683"/>
                  </a:cubicBezTo>
                  <a:cubicBezTo>
                    <a:pt x="277" y="682"/>
                    <a:pt x="276" y="681"/>
                    <a:pt x="275" y="681"/>
                  </a:cubicBezTo>
                  <a:cubicBezTo>
                    <a:pt x="274" y="680"/>
                    <a:pt x="274" y="680"/>
                    <a:pt x="272" y="680"/>
                  </a:cubicBezTo>
                  <a:cubicBezTo>
                    <a:pt x="272" y="680"/>
                    <a:pt x="271" y="680"/>
                    <a:pt x="271" y="680"/>
                  </a:cubicBezTo>
                  <a:cubicBezTo>
                    <a:pt x="271" y="680"/>
                    <a:pt x="271" y="680"/>
                    <a:pt x="271" y="680"/>
                  </a:cubicBezTo>
                  <a:cubicBezTo>
                    <a:pt x="271" y="680"/>
                    <a:pt x="271" y="680"/>
                    <a:pt x="271" y="680"/>
                  </a:cubicBezTo>
                  <a:cubicBezTo>
                    <a:pt x="270" y="680"/>
                    <a:pt x="269" y="680"/>
                    <a:pt x="268" y="679"/>
                  </a:cubicBezTo>
                  <a:cubicBezTo>
                    <a:pt x="268" y="679"/>
                    <a:pt x="268" y="679"/>
                    <a:pt x="267" y="679"/>
                  </a:cubicBezTo>
                  <a:cubicBezTo>
                    <a:pt x="266" y="678"/>
                    <a:pt x="265" y="676"/>
                    <a:pt x="265" y="674"/>
                  </a:cubicBezTo>
                  <a:cubicBezTo>
                    <a:pt x="266" y="673"/>
                    <a:pt x="267" y="671"/>
                    <a:pt x="268" y="669"/>
                  </a:cubicBezTo>
                  <a:cubicBezTo>
                    <a:pt x="269" y="667"/>
                    <a:pt x="270" y="666"/>
                    <a:pt x="271" y="665"/>
                  </a:cubicBezTo>
                  <a:cubicBezTo>
                    <a:pt x="271" y="663"/>
                    <a:pt x="272" y="658"/>
                    <a:pt x="273" y="657"/>
                  </a:cubicBezTo>
                  <a:cubicBezTo>
                    <a:pt x="275" y="656"/>
                    <a:pt x="279" y="654"/>
                    <a:pt x="281" y="654"/>
                  </a:cubicBezTo>
                  <a:cubicBezTo>
                    <a:pt x="281" y="654"/>
                    <a:pt x="281" y="654"/>
                    <a:pt x="281" y="654"/>
                  </a:cubicBezTo>
                  <a:cubicBezTo>
                    <a:pt x="281" y="654"/>
                    <a:pt x="282" y="654"/>
                    <a:pt x="282" y="654"/>
                  </a:cubicBezTo>
                  <a:cubicBezTo>
                    <a:pt x="283" y="654"/>
                    <a:pt x="283" y="654"/>
                    <a:pt x="283" y="654"/>
                  </a:cubicBezTo>
                  <a:cubicBezTo>
                    <a:pt x="283" y="654"/>
                    <a:pt x="283" y="654"/>
                    <a:pt x="283" y="654"/>
                  </a:cubicBezTo>
                  <a:cubicBezTo>
                    <a:pt x="283" y="654"/>
                    <a:pt x="284" y="655"/>
                    <a:pt x="285" y="655"/>
                  </a:cubicBezTo>
                  <a:cubicBezTo>
                    <a:pt x="286" y="655"/>
                    <a:pt x="286" y="655"/>
                    <a:pt x="287" y="655"/>
                  </a:cubicBezTo>
                  <a:cubicBezTo>
                    <a:pt x="287" y="655"/>
                    <a:pt x="288" y="655"/>
                    <a:pt x="288" y="654"/>
                  </a:cubicBezTo>
                  <a:cubicBezTo>
                    <a:pt x="288" y="653"/>
                    <a:pt x="288" y="651"/>
                    <a:pt x="288" y="649"/>
                  </a:cubicBezTo>
                  <a:cubicBezTo>
                    <a:pt x="288" y="646"/>
                    <a:pt x="288" y="643"/>
                    <a:pt x="288" y="639"/>
                  </a:cubicBezTo>
                  <a:cubicBezTo>
                    <a:pt x="287" y="637"/>
                    <a:pt x="287" y="635"/>
                    <a:pt x="285" y="632"/>
                  </a:cubicBezTo>
                  <a:cubicBezTo>
                    <a:pt x="285" y="631"/>
                    <a:pt x="284" y="631"/>
                    <a:pt x="284" y="630"/>
                  </a:cubicBezTo>
                  <a:cubicBezTo>
                    <a:pt x="287" y="628"/>
                    <a:pt x="286" y="628"/>
                    <a:pt x="286" y="624"/>
                  </a:cubicBezTo>
                  <a:cubicBezTo>
                    <a:pt x="286" y="624"/>
                    <a:pt x="286" y="623"/>
                    <a:pt x="286" y="623"/>
                  </a:cubicBezTo>
                  <a:cubicBezTo>
                    <a:pt x="286" y="620"/>
                    <a:pt x="286" y="617"/>
                    <a:pt x="287" y="615"/>
                  </a:cubicBezTo>
                  <a:cubicBezTo>
                    <a:pt x="288" y="614"/>
                    <a:pt x="288" y="613"/>
                    <a:pt x="289" y="612"/>
                  </a:cubicBezTo>
                  <a:cubicBezTo>
                    <a:pt x="289" y="611"/>
                    <a:pt x="290" y="610"/>
                    <a:pt x="290" y="609"/>
                  </a:cubicBezTo>
                  <a:cubicBezTo>
                    <a:pt x="292" y="605"/>
                    <a:pt x="295" y="601"/>
                    <a:pt x="297" y="596"/>
                  </a:cubicBezTo>
                  <a:cubicBezTo>
                    <a:pt x="297" y="595"/>
                    <a:pt x="298" y="593"/>
                    <a:pt x="298" y="591"/>
                  </a:cubicBezTo>
                  <a:cubicBezTo>
                    <a:pt x="298" y="590"/>
                    <a:pt x="298" y="588"/>
                    <a:pt x="298" y="587"/>
                  </a:cubicBezTo>
                  <a:cubicBezTo>
                    <a:pt x="298" y="586"/>
                    <a:pt x="298" y="584"/>
                    <a:pt x="298" y="581"/>
                  </a:cubicBezTo>
                  <a:cubicBezTo>
                    <a:pt x="298" y="579"/>
                    <a:pt x="298" y="576"/>
                    <a:pt x="297" y="575"/>
                  </a:cubicBezTo>
                  <a:cubicBezTo>
                    <a:pt x="296" y="575"/>
                    <a:pt x="296" y="575"/>
                    <a:pt x="295" y="575"/>
                  </a:cubicBezTo>
                  <a:cubicBezTo>
                    <a:pt x="293" y="573"/>
                    <a:pt x="292" y="571"/>
                    <a:pt x="295" y="569"/>
                  </a:cubicBezTo>
                  <a:cubicBezTo>
                    <a:pt x="296" y="570"/>
                    <a:pt x="297" y="571"/>
                    <a:pt x="297" y="573"/>
                  </a:cubicBezTo>
                  <a:cubicBezTo>
                    <a:pt x="298" y="573"/>
                    <a:pt x="298" y="574"/>
                    <a:pt x="298" y="574"/>
                  </a:cubicBezTo>
                  <a:cubicBezTo>
                    <a:pt x="298" y="574"/>
                    <a:pt x="298" y="573"/>
                    <a:pt x="298" y="572"/>
                  </a:cubicBezTo>
                  <a:cubicBezTo>
                    <a:pt x="297" y="570"/>
                    <a:pt x="297" y="567"/>
                    <a:pt x="296" y="565"/>
                  </a:cubicBezTo>
                  <a:cubicBezTo>
                    <a:pt x="295" y="563"/>
                    <a:pt x="294" y="562"/>
                    <a:pt x="294" y="560"/>
                  </a:cubicBezTo>
                  <a:cubicBezTo>
                    <a:pt x="293" y="559"/>
                    <a:pt x="293" y="558"/>
                    <a:pt x="293" y="558"/>
                  </a:cubicBezTo>
                  <a:cubicBezTo>
                    <a:pt x="293" y="557"/>
                    <a:pt x="293" y="557"/>
                    <a:pt x="293" y="556"/>
                  </a:cubicBezTo>
                  <a:cubicBezTo>
                    <a:pt x="293" y="554"/>
                    <a:pt x="293" y="551"/>
                    <a:pt x="293" y="548"/>
                  </a:cubicBezTo>
                  <a:cubicBezTo>
                    <a:pt x="293" y="545"/>
                    <a:pt x="293" y="542"/>
                    <a:pt x="293" y="539"/>
                  </a:cubicBezTo>
                  <a:cubicBezTo>
                    <a:pt x="293" y="536"/>
                    <a:pt x="293" y="533"/>
                    <a:pt x="294" y="530"/>
                  </a:cubicBezTo>
                  <a:cubicBezTo>
                    <a:pt x="295" y="529"/>
                    <a:pt x="295" y="528"/>
                    <a:pt x="295" y="527"/>
                  </a:cubicBezTo>
                  <a:cubicBezTo>
                    <a:pt x="296" y="524"/>
                    <a:pt x="297" y="522"/>
                    <a:pt x="299" y="519"/>
                  </a:cubicBezTo>
                  <a:cubicBezTo>
                    <a:pt x="299" y="519"/>
                    <a:pt x="300" y="518"/>
                    <a:pt x="300" y="518"/>
                  </a:cubicBezTo>
                  <a:cubicBezTo>
                    <a:pt x="303" y="516"/>
                    <a:pt x="305" y="515"/>
                    <a:pt x="308" y="515"/>
                  </a:cubicBezTo>
                  <a:cubicBezTo>
                    <a:pt x="308" y="515"/>
                    <a:pt x="308" y="515"/>
                    <a:pt x="308" y="515"/>
                  </a:cubicBezTo>
                  <a:cubicBezTo>
                    <a:pt x="310" y="515"/>
                    <a:pt x="311" y="516"/>
                    <a:pt x="312" y="519"/>
                  </a:cubicBezTo>
                  <a:cubicBezTo>
                    <a:pt x="312" y="516"/>
                    <a:pt x="314" y="514"/>
                    <a:pt x="313" y="511"/>
                  </a:cubicBezTo>
                  <a:cubicBezTo>
                    <a:pt x="314" y="513"/>
                    <a:pt x="315" y="514"/>
                    <a:pt x="316" y="516"/>
                  </a:cubicBezTo>
                  <a:cubicBezTo>
                    <a:pt x="316" y="516"/>
                    <a:pt x="316" y="517"/>
                    <a:pt x="317" y="517"/>
                  </a:cubicBezTo>
                  <a:cubicBezTo>
                    <a:pt x="315" y="515"/>
                    <a:pt x="318" y="515"/>
                    <a:pt x="319" y="513"/>
                  </a:cubicBezTo>
                  <a:cubicBezTo>
                    <a:pt x="319" y="512"/>
                    <a:pt x="319" y="512"/>
                    <a:pt x="319" y="512"/>
                  </a:cubicBezTo>
                  <a:cubicBezTo>
                    <a:pt x="320" y="511"/>
                    <a:pt x="320" y="510"/>
                    <a:pt x="321" y="509"/>
                  </a:cubicBezTo>
                  <a:cubicBezTo>
                    <a:pt x="322" y="505"/>
                    <a:pt x="324" y="503"/>
                    <a:pt x="327" y="502"/>
                  </a:cubicBezTo>
                  <a:cubicBezTo>
                    <a:pt x="327" y="502"/>
                    <a:pt x="327" y="502"/>
                    <a:pt x="327" y="502"/>
                  </a:cubicBezTo>
                  <a:cubicBezTo>
                    <a:pt x="327" y="502"/>
                    <a:pt x="328" y="503"/>
                    <a:pt x="329" y="503"/>
                  </a:cubicBezTo>
                  <a:cubicBezTo>
                    <a:pt x="330" y="503"/>
                    <a:pt x="331" y="503"/>
                    <a:pt x="332" y="503"/>
                  </a:cubicBezTo>
                  <a:cubicBezTo>
                    <a:pt x="332" y="503"/>
                    <a:pt x="333" y="503"/>
                    <a:pt x="333" y="503"/>
                  </a:cubicBezTo>
                  <a:cubicBezTo>
                    <a:pt x="336" y="503"/>
                    <a:pt x="338" y="502"/>
                    <a:pt x="341" y="501"/>
                  </a:cubicBezTo>
                  <a:cubicBezTo>
                    <a:pt x="342" y="500"/>
                    <a:pt x="343" y="500"/>
                    <a:pt x="344" y="499"/>
                  </a:cubicBezTo>
                  <a:cubicBezTo>
                    <a:pt x="348" y="497"/>
                    <a:pt x="348" y="496"/>
                    <a:pt x="349" y="492"/>
                  </a:cubicBezTo>
                  <a:cubicBezTo>
                    <a:pt x="350" y="492"/>
                    <a:pt x="350" y="492"/>
                    <a:pt x="350" y="492"/>
                  </a:cubicBezTo>
                  <a:cubicBezTo>
                    <a:pt x="350" y="490"/>
                    <a:pt x="347" y="489"/>
                    <a:pt x="348" y="487"/>
                  </a:cubicBezTo>
                  <a:cubicBezTo>
                    <a:pt x="348" y="486"/>
                    <a:pt x="348" y="486"/>
                    <a:pt x="348" y="485"/>
                  </a:cubicBezTo>
                  <a:cubicBezTo>
                    <a:pt x="353" y="478"/>
                    <a:pt x="363" y="477"/>
                    <a:pt x="369" y="472"/>
                  </a:cubicBezTo>
                  <a:cubicBezTo>
                    <a:pt x="371" y="471"/>
                    <a:pt x="372" y="470"/>
                    <a:pt x="373" y="469"/>
                  </a:cubicBezTo>
                  <a:cubicBezTo>
                    <a:pt x="374" y="468"/>
                    <a:pt x="375" y="467"/>
                    <a:pt x="376" y="466"/>
                  </a:cubicBezTo>
                  <a:cubicBezTo>
                    <a:pt x="377" y="464"/>
                    <a:pt x="379" y="462"/>
                    <a:pt x="381" y="461"/>
                  </a:cubicBezTo>
                  <a:cubicBezTo>
                    <a:pt x="383" y="459"/>
                    <a:pt x="385" y="457"/>
                    <a:pt x="389" y="456"/>
                  </a:cubicBezTo>
                  <a:cubicBezTo>
                    <a:pt x="393" y="453"/>
                    <a:pt x="395" y="451"/>
                    <a:pt x="398" y="447"/>
                  </a:cubicBezTo>
                  <a:cubicBezTo>
                    <a:pt x="398" y="448"/>
                    <a:pt x="398" y="448"/>
                    <a:pt x="397" y="448"/>
                  </a:cubicBezTo>
                  <a:cubicBezTo>
                    <a:pt x="399" y="446"/>
                    <a:pt x="401" y="444"/>
                    <a:pt x="402" y="442"/>
                  </a:cubicBezTo>
                  <a:cubicBezTo>
                    <a:pt x="404" y="439"/>
                    <a:pt x="406" y="435"/>
                    <a:pt x="409" y="433"/>
                  </a:cubicBezTo>
                  <a:cubicBezTo>
                    <a:pt x="416" y="428"/>
                    <a:pt x="422" y="423"/>
                    <a:pt x="429" y="418"/>
                  </a:cubicBezTo>
                  <a:cubicBezTo>
                    <a:pt x="427" y="419"/>
                    <a:pt x="425" y="420"/>
                    <a:pt x="424" y="420"/>
                  </a:cubicBezTo>
                  <a:cubicBezTo>
                    <a:pt x="425" y="419"/>
                    <a:pt x="425" y="418"/>
                    <a:pt x="424" y="418"/>
                  </a:cubicBezTo>
                  <a:cubicBezTo>
                    <a:pt x="424" y="418"/>
                    <a:pt x="424" y="418"/>
                    <a:pt x="423" y="419"/>
                  </a:cubicBezTo>
                  <a:cubicBezTo>
                    <a:pt x="422" y="419"/>
                    <a:pt x="422" y="419"/>
                    <a:pt x="422" y="419"/>
                  </a:cubicBezTo>
                  <a:cubicBezTo>
                    <a:pt x="421" y="420"/>
                    <a:pt x="421" y="420"/>
                    <a:pt x="421" y="420"/>
                  </a:cubicBezTo>
                  <a:cubicBezTo>
                    <a:pt x="420" y="421"/>
                    <a:pt x="420" y="422"/>
                    <a:pt x="419" y="423"/>
                  </a:cubicBezTo>
                  <a:cubicBezTo>
                    <a:pt x="420" y="422"/>
                    <a:pt x="420" y="422"/>
                    <a:pt x="420" y="422"/>
                  </a:cubicBezTo>
                  <a:cubicBezTo>
                    <a:pt x="420" y="418"/>
                    <a:pt x="420" y="416"/>
                    <a:pt x="424" y="415"/>
                  </a:cubicBezTo>
                  <a:cubicBezTo>
                    <a:pt x="425" y="414"/>
                    <a:pt x="427" y="414"/>
                    <a:pt x="428" y="414"/>
                  </a:cubicBezTo>
                  <a:cubicBezTo>
                    <a:pt x="428" y="414"/>
                    <a:pt x="428" y="414"/>
                    <a:pt x="428" y="414"/>
                  </a:cubicBezTo>
                  <a:cubicBezTo>
                    <a:pt x="428" y="414"/>
                    <a:pt x="429" y="414"/>
                    <a:pt x="429" y="414"/>
                  </a:cubicBezTo>
                  <a:cubicBezTo>
                    <a:pt x="430" y="416"/>
                    <a:pt x="427" y="418"/>
                    <a:pt x="426" y="419"/>
                  </a:cubicBezTo>
                  <a:cubicBezTo>
                    <a:pt x="429" y="418"/>
                    <a:pt x="431" y="417"/>
                    <a:pt x="434" y="416"/>
                  </a:cubicBezTo>
                  <a:cubicBezTo>
                    <a:pt x="434" y="416"/>
                    <a:pt x="435" y="416"/>
                    <a:pt x="435" y="416"/>
                  </a:cubicBezTo>
                  <a:cubicBezTo>
                    <a:pt x="440" y="414"/>
                    <a:pt x="445" y="413"/>
                    <a:pt x="448" y="411"/>
                  </a:cubicBezTo>
                  <a:cubicBezTo>
                    <a:pt x="447" y="411"/>
                    <a:pt x="444" y="409"/>
                    <a:pt x="444" y="408"/>
                  </a:cubicBezTo>
                  <a:cubicBezTo>
                    <a:pt x="446" y="408"/>
                    <a:pt x="447" y="409"/>
                    <a:pt x="448" y="409"/>
                  </a:cubicBezTo>
                  <a:cubicBezTo>
                    <a:pt x="450" y="409"/>
                    <a:pt x="452" y="407"/>
                    <a:pt x="454" y="404"/>
                  </a:cubicBezTo>
                  <a:cubicBezTo>
                    <a:pt x="458" y="400"/>
                    <a:pt x="461" y="396"/>
                    <a:pt x="464" y="393"/>
                  </a:cubicBezTo>
                  <a:cubicBezTo>
                    <a:pt x="464" y="393"/>
                    <a:pt x="463" y="391"/>
                    <a:pt x="462" y="388"/>
                  </a:cubicBezTo>
                  <a:cubicBezTo>
                    <a:pt x="462" y="386"/>
                    <a:pt x="461" y="383"/>
                    <a:pt x="461" y="380"/>
                  </a:cubicBezTo>
                  <a:cubicBezTo>
                    <a:pt x="461" y="378"/>
                    <a:pt x="461" y="377"/>
                    <a:pt x="462" y="376"/>
                  </a:cubicBezTo>
                  <a:cubicBezTo>
                    <a:pt x="463" y="372"/>
                    <a:pt x="468" y="371"/>
                    <a:pt x="472" y="370"/>
                  </a:cubicBezTo>
                  <a:cubicBezTo>
                    <a:pt x="473" y="369"/>
                    <a:pt x="475" y="369"/>
                    <a:pt x="477" y="368"/>
                  </a:cubicBezTo>
                  <a:cubicBezTo>
                    <a:pt x="482" y="367"/>
                    <a:pt x="484" y="366"/>
                    <a:pt x="488" y="362"/>
                  </a:cubicBezTo>
                  <a:cubicBezTo>
                    <a:pt x="489" y="360"/>
                    <a:pt x="494" y="357"/>
                    <a:pt x="492" y="354"/>
                  </a:cubicBezTo>
                  <a:cubicBezTo>
                    <a:pt x="491" y="353"/>
                    <a:pt x="489" y="354"/>
                    <a:pt x="488" y="353"/>
                  </a:cubicBezTo>
                  <a:cubicBezTo>
                    <a:pt x="488" y="353"/>
                    <a:pt x="488" y="353"/>
                    <a:pt x="488" y="353"/>
                  </a:cubicBezTo>
                  <a:cubicBezTo>
                    <a:pt x="487" y="352"/>
                    <a:pt x="486" y="349"/>
                    <a:pt x="486" y="348"/>
                  </a:cubicBezTo>
                  <a:cubicBezTo>
                    <a:pt x="488" y="349"/>
                    <a:pt x="488" y="351"/>
                    <a:pt x="489" y="352"/>
                  </a:cubicBezTo>
                  <a:cubicBezTo>
                    <a:pt x="489" y="353"/>
                    <a:pt x="490" y="353"/>
                    <a:pt x="491" y="353"/>
                  </a:cubicBezTo>
                  <a:cubicBezTo>
                    <a:pt x="493" y="354"/>
                    <a:pt x="494" y="355"/>
                    <a:pt x="494" y="357"/>
                  </a:cubicBezTo>
                  <a:cubicBezTo>
                    <a:pt x="494" y="360"/>
                    <a:pt x="493" y="364"/>
                    <a:pt x="493" y="367"/>
                  </a:cubicBezTo>
                  <a:cubicBezTo>
                    <a:pt x="493" y="368"/>
                    <a:pt x="493" y="368"/>
                    <a:pt x="494" y="369"/>
                  </a:cubicBezTo>
                  <a:cubicBezTo>
                    <a:pt x="494" y="369"/>
                    <a:pt x="495" y="370"/>
                    <a:pt x="495" y="370"/>
                  </a:cubicBezTo>
                  <a:cubicBezTo>
                    <a:pt x="496" y="370"/>
                    <a:pt x="496" y="370"/>
                    <a:pt x="496" y="369"/>
                  </a:cubicBezTo>
                  <a:cubicBezTo>
                    <a:pt x="496" y="369"/>
                    <a:pt x="496" y="369"/>
                    <a:pt x="497" y="369"/>
                  </a:cubicBezTo>
                  <a:cubicBezTo>
                    <a:pt x="501" y="369"/>
                    <a:pt x="499" y="365"/>
                    <a:pt x="501" y="361"/>
                  </a:cubicBezTo>
                  <a:cubicBezTo>
                    <a:pt x="501" y="362"/>
                    <a:pt x="501" y="366"/>
                    <a:pt x="501" y="369"/>
                  </a:cubicBezTo>
                  <a:cubicBezTo>
                    <a:pt x="501" y="370"/>
                    <a:pt x="501" y="371"/>
                    <a:pt x="502" y="371"/>
                  </a:cubicBezTo>
                  <a:cubicBezTo>
                    <a:pt x="502" y="371"/>
                    <a:pt x="502" y="371"/>
                    <a:pt x="502" y="371"/>
                  </a:cubicBezTo>
                  <a:cubicBezTo>
                    <a:pt x="502" y="371"/>
                    <a:pt x="504" y="367"/>
                    <a:pt x="504" y="366"/>
                  </a:cubicBezTo>
                  <a:cubicBezTo>
                    <a:pt x="504" y="366"/>
                    <a:pt x="504" y="366"/>
                    <a:pt x="504" y="366"/>
                  </a:cubicBezTo>
                  <a:cubicBezTo>
                    <a:pt x="504" y="364"/>
                    <a:pt x="502" y="365"/>
                    <a:pt x="502" y="363"/>
                  </a:cubicBezTo>
                  <a:cubicBezTo>
                    <a:pt x="502" y="362"/>
                    <a:pt x="503" y="361"/>
                    <a:pt x="503" y="361"/>
                  </a:cubicBezTo>
                  <a:cubicBezTo>
                    <a:pt x="503" y="359"/>
                    <a:pt x="504" y="358"/>
                    <a:pt x="504" y="357"/>
                  </a:cubicBezTo>
                  <a:cubicBezTo>
                    <a:pt x="504" y="356"/>
                    <a:pt x="505" y="355"/>
                    <a:pt x="505" y="353"/>
                  </a:cubicBezTo>
                  <a:cubicBezTo>
                    <a:pt x="505" y="354"/>
                    <a:pt x="505" y="355"/>
                    <a:pt x="505" y="356"/>
                  </a:cubicBezTo>
                  <a:cubicBezTo>
                    <a:pt x="504" y="357"/>
                    <a:pt x="505" y="358"/>
                    <a:pt x="505" y="360"/>
                  </a:cubicBezTo>
                  <a:cubicBezTo>
                    <a:pt x="506" y="359"/>
                    <a:pt x="506" y="358"/>
                    <a:pt x="507" y="357"/>
                  </a:cubicBezTo>
                  <a:cubicBezTo>
                    <a:pt x="508" y="359"/>
                    <a:pt x="506" y="361"/>
                    <a:pt x="506" y="362"/>
                  </a:cubicBezTo>
                  <a:cubicBezTo>
                    <a:pt x="506" y="363"/>
                    <a:pt x="506" y="364"/>
                    <a:pt x="506" y="364"/>
                  </a:cubicBezTo>
                  <a:cubicBezTo>
                    <a:pt x="506" y="365"/>
                    <a:pt x="506" y="366"/>
                    <a:pt x="506" y="366"/>
                  </a:cubicBezTo>
                  <a:cubicBezTo>
                    <a:pt x="506" y="368"/>
                    <a:pt x="507" y="370"/>
                    <a:pt x="508" y="370"/>
                  </a:cubicBezTo>
                  <a:cubicBezTo>
                    <a:pt x="508" y="370"/>
                    <a:pt x="508" y="369"/>
                    <a:pt x="508" y="369"/>
                  </a:cubicBezTo>
                  <a:cubicBezTo>
                    <a:pt x="508" y="369"/>
                    <a:pt x="508" y="369"/>
                    <a:pt x="508" y="369"/>
                  </a:cubicBezTo>
                  <a:cubicBezTo>
                    <a:pt x="508" y="369"/>
                    <a:pt x="510" y="369"/>
                    <a:pt x="511" y="369"/>
                  </a:cubicBezTo>
                  <a:cubicBezTo>
                    <a:pt x="511" y="369"/>
                    <a:pt x="512" y="369"/>
                    <a:pt x="513" y="369"/>
                  </a:cubicBezTo>
                  <a:cubicBezTo>
                    <a:pt x="514" y="369"/>
                    <a:pt x="515" y="369"/>
                    <a:pt x="515" y="368"/>
                  </a:cubicBezTo>
                  <a:cubicBezTo>
                    <a:pt x="516" y="367"/>
                    <a:pt x="515" y="367"/>
                    <a:pt x="514" y="366"/>
                  </a:cubicBezTo>
                  <a:cubicBezTo>
                    <a:pt x="514" y="365"/>
                    <a:pt x="514" y="365"/>
                    <a:pt x="514" y="365"/>
                  </a:cubicBezTo>
                  <a:cubicBezTo>
                    <a:pt x="514" y="364"/>
                    <a:pt x="513" y="362"/>
                    <a:pt x="513" y="361"/>
                  </a:cubicBezTo>
                  <a:cubicBezTo>
                    <a:pt x="512" y="361"/>
                    <a:pt x="512" y="361"/>
                    <a:pt x="512" y="361"/>
                  </a:cubicBezTo>
                  <a:cubicBezTo>
                    <a:pt x="512" y="359"/>
                    <a:pt x="512" y="359"/>
                    <a:pt x="512" y="359"/>
                  </a:cubicBezTo>
                  <a:cubicBezTo>
                    <a:pt x="512" y="357"/>
                    <a:pt x="512" y="356"/>
                    <a:pt x="512" y="356"/>
                  </a:cubicBezTo>
                  <a:cubicBezTo>
                    <a:pt x="511" y="354"/>
                    <a:pt x="511" y="352"/>
                    <a:pt x="511" y="351"/>
                  </a:cubicBezTo>
                  <a:cubicBezTo>
                    <a:pt x="509" y="341"/>
                    <a:pt x="509" y="341"/>
                    <a:pt x="509" y="341"/>
                  </a:cubicBezTo>
                  <a:cubicBezTo>
                    <a:pt x="509" y="340"/>
                    <a:pt x="509" y="340"/>
                    <a:pt x="509" y="339"/>
                  </a:cubicBezTo>
                  <a:cubicBezTo>
                    <a:pt x="509" y="338"/>
                    <a:pt x="509" y="337"/>
                    <a:pt x="509" y="337"/>
                  </a:cubicBezTo>
                  <a:cubicBezTo>
                    <a:pt x="508" y="335"/>
                    <a:pt x="508" y="333"/>
                    <a:pt x="508" y="330"/>
                  </a:cubicBezTo>
                  <a:cubicBezTo>
                    <a:pt x="509" y="329"/>
                    <a:pt x="509" y="329"/>
                    <a:pt x="509" y="329"/>
                  </a:cubicBezTo>
                  <a:cubicBezTo>
                    <a:pt x="509" y="329"/>
                    <a:pt x="509" y="329"/>
                    <a:pt x="509" y="329"/>
                  </a:cubicBezTo>
                  <a:cubicBezTo>
                    <a:pt x="508" y="329"/>
                    <a:pt x="508" y="329"/>
                    <a:pt x="508" y="329"/>
                  </a:cubicBezTo>
                  <a:cubicBezTo>
                    <a:pt x="508" y="328"/>
                    <a:pt x="506" y="328"/>
                    <a:pt x="506" y="326"/>
                  </a:cubicBezTo>
                  <a:cubicBezTo>
                    <a:pt x="505" y="326"/>
                    <a:pt x="505" y="326"/>
                    <a:pt x="505" y="326"/>
                  </a:cubicBezTo>
                  <a:cubicBezTo>
                    <a:pt x="504" y="324"/>
                    <a:pt x="505" y="323"/>
                    <a:pt x="505" y="321"/>
                  </a:cubicBezTo>
                  <a:cubicBezTo>
                    <a:pt x="505" y="321"/>
                    <a:pt x="505" y="321"/>
                    <a:pt x="505" y="321"/>
                  </a:cubicBezTo>
                  <a:cubicBezTo>
                    <a:pt x="501" y="318"/>
                    <a:pt x="501" y="316"/>
                    <a:pt x="501" y="312"/>
                  </a:cubicBezTo>
                  <a:cubicBezTo>
                    <a:pt x="501" y="311"/>
                    <a:pt x="501" y="311"/>
                    <a:pt x="501" y="311"/>
                  </a:cubicBezTo>
                  <a:cubicBezTo>
                    <a:pt x="501" y="309"/>
                    <a:pt x="503" y="307"/>
                    <a:pt x="503" y="307"/>
                  </a:cubicBezTo>
                  <a:cubicBezTo>
                    <a:pt x="504" y="306"/>
                    <a:pt x="504" y="306"/>
                    <a:pt x="504" y="306"/>
                  </a:cubicBezTo>
                  <a:cubicBezTo>
                    <a:pt x="504" y="306"/>
                    <a:pt x="504" y="304"/>
                    <a:pt x="504" y="302"/>
                  </a:cubicBezTo>
                  <a:cubicBezTo>
                    <a:pt x="503" y="301"/>
                    <a:pt x="503" y="301"/>
                    <a:pt x="503" y="301"/>
                  </a:cubicBezTo>
                  <a:cubicBezTo>
                    <a:pt x="504" y="301"/>
                    <a:pt x="504" y="301"/>
                    <a:pt x="504" y="301"/>
                  </a:cubicBezTo>
                  <a:cubicBezTo>
                    <a:pt x="503" y="301"/>
                    <a:pt x="503" y="301"/>
                    <a:pt x="502" y="301"/>
                  </a:cubicBezTo>
                  <a:cubicBezTo>
                    <a:pt x="502" y="301"/>
                    <a:pt x="502" y="301"/>
                    <a:pt x="502" y="301"/>
                  </a:cubicBezTo>
                  <a:cubicBezTo>
                    <a:pt x="501" y="301"/>
                    <a:pt x="500" y="301"/>
                    <a:pt x="500" y="301"/>
                  </a:cubicBezTo>
                  <a:cubicBezTo>
                    <a:pt x="499" y="301"/>
                    <a:pt x="499" y="300"/>
                    <a:pt x="498" y="300"/>
                  </a:cubicBezTo>
                  <a:cubicBezTo>
                    <a:pt x="497" y="300"/>
                    <a:pt x="497" y="299"/>
                    <a:pt x="496" y="299"/>
                  </a:cubicBezTo>
                  <a:cubicBezTo>
                    <a:pt x="495" y="298"/>
                    <a:pt x="494" y="298"/>
                    <a:pt x="493" y="297"/>
                  </a:cubicBezTo>
                  <a:cubicBezTo>
                    <a:pt x="493" y="297"/>
                    <a:pt x="493" y="297"/>
                    <a:pt x="493" y="297"/>
                  </a:cubicBezTo>
                  <a:cubicBezTo>
                    <a:pt x="492" y="297"/>
                    <a:pt x="491" y="296"/>
                    <a:pt x="491" y="296"/>
                  </a:cubicBezTo>
                  <a:cubicBezTo>
                    <a:pt x="490" y="295"/>
                    <a:pt x="489" y="295"/>
                    <a:pt x="489" y="294"/>
                  </a:cubicBezTo>
                  <a:cubicBezTo>
                    <a:pt x="489" y="293"/>
                    <a:pt x="488" y="293"/>
                    <a:pt x="488" y="292"/>
                  </a:cubicBezTo>
                  <a:cubicBezTo>
                    <a:pt x="488" y="290"/>
                    <a:pt x="489" y="288"/>
                    <a:pt x="489" y="286"/>
                  </a:cubicBezTo>
                  <a:cubicBezTo>
                    <a:pt x="489" y="285"/>
                    <a:pt x="489" y="285"/>
                    <a:pt x="489" y="285"/>
                  </a:cubicBezTo>
                  <a:cubicBezTo>
                    <a:pt x="490" y="283"/>
                    <a:pt x="492" y="281"/>
                    <a:pt x="493" y="281"/>
                  </a:cubicBezTo>
                  <a:cubicBezTo>
                    <a:pt x="494" y="281"/>
                    <a:pt x="494" y="281"/>
                    <a:pt x="494" y="280"/>
                  </a:cubicBezTo>
                  <a:cubicBezTo>
                    <a:pt x="495" y="280"/>
                    <a:pt x="495" y="280"/>
                    <a:pt x="495" y="280"/>
                  </a:cubicBezTo>
                  <a:cubicBezTo>
                    <a:pt x="496" y="280"/>
                    <a:pt x="496" y="280"/>
                    <a:pt x="496" y="280"/>
                  </a:cubicBezTo>
                  <a:cubicBezTo>
                    <a:pt x="497" y="274"/>
                    <a:pt x="503" y="273"/>
                    <a:pt x="506" y="273"/>
                  </a:cubicBezTo>
                  <a:cubicBezTo>
                    <a:pt x="506" y="273"/>
                    <a:pt x="507" y="273"/>
                    <a:pt x="507" y="273"/>
                  </a:cubicBezTo>
                  <a:cubicBezTo>
                    <a:pt x="506" y="272"/>
                    <a:pt x="506" y="271"/>
                    <a:pt x="506" y="270"/>
                  </a:cubicBezTo>
                  <a:cubicBezTo>
                    <a:pt x="506" y="270"/>
                    <a:pt x="506" y="270"/>
                    <a:pt x="506" y="270"/>
                  </a:cubicBezTo>
                  <a:cubicBezTo>
                    <a:pt x="506" y="270"/>
                    <a:pt x="506" y="270"/>
                    <a:pt x="506" y="270"/>
                  </a:cubicBezTo>
                  <a:cubicBezTo>
                    <a:pt x="505" y="270"/>
                    <a:pt x="505" y="270"/>
                    <a:pt x="505" y="270"/>
                  </a:cubicBezTo>
                  <a:cubicBezTo>
                    <a:pt x="504" y="270"/>
                    <a:pt x="504" y="270"/>
                    <a:pt x="504" y="270"/>
                  </a:cubicBezTo>
                  <a:cubicBezTo>
                    <a:pt x="502" y="270"/>
                    <a:pt x="499" y="268"/>
                    <a:pt x="498" y="267"/>
                  </a:cubicBezTo>
                  <a:cubicBezTo>
                    <a:pt x="497" y="265"/>
                    <a:pt x="497" y="265"/>
                    <a:pt x="497" y="265"/>
                  </a:cubicBezTo>
                  <a:cubicBezTo>
                    <a:pt x="496" y="264"/>
                    <a:pt x="495" y="263"/>
                    <a:pt x="494" y="262"/>
                  </a:cubicBezTo>
                  <a:cubicBezTo>
                    <a:pt x="493" y="262"/>
                    <a:pt x="493" y="262"/>
                    <a:pt x="493" y="262"/>
                  </a:cubicBezTo>
                  <a:cubicBezTo>
                    <a:pt x="492" y="262"/>
                    <a:pt x="490" y="262"/>
                    <a:pt x="489" y="259"/>
                  </a:cubicBezTo>
                  <a:cubicBezTo>
                    <a:pt x="488" y="256"/>
                    <a:pt x="489" y="254"/>
                    <a:pt x="490" y="252"/>
                  </a:cubicBezTo>
                  <a:cubicBezTo>
                    <a:pt x="490" y="252"/>
                    <a:pt x="490" y="252"/>
                    <a:pt x="490" y="252"/>
                  </a:cubicBezTo>
                  <a:cubicBezTo>
                    <a:pt x="491" y="251"/>
                    <a:pt x="491" y="251"/>
                    <a:pt x="491" y="251"/>
                  </a:cubicBezTo>
                  <a:cubicBezTo>
                    <a:pt x="492" y="248"/>
                    <a:pt x="494" y="246"/>
                    <a:pt x="496" y="244"/>
                  </a:cubicBezTo>
                  <a:cubicBezTo>
                    <a:pt x="495" y="244"/>
                    <a:pt x="495" y="244"/>
                    <a:pt x="495" y="244"/>
                  </a:cubicBezTo>
                  <a:cubicBezTo>
                    <a:pt x="495" y="244"/>
                    <a:pt x="495" y="244"/>
                    <a:pt x="495" y="244"/>
                  </a:cubicBezTo>
                  <a:cubicBezTo>
                    <a:pt x="495" y="243"/>
                    <a:pt x="494" y="243"/>
                    <a:pt x="494" y="242"/>
                  </a:cubicBezTo>
                  <a:cubicBezTo>
                    <a:pt x="494" y="241"/>
                    <a:pt x="494" y="241"/>
                    <a:pt x="494" y="241"/>
                  </a:cubicBezTo>
                  <a:cubicBezTo>
                    <a:pt x="494" y="241"/>
                    <a:pt x="494" y="241"/>
                    <a:pt x="494" y="241"/>
                  </a:cubicBezTo>
                  <a:cubicBezTo>
                    <a:pt x="494" y="242"/>
                    <a:pt x="494" y="242"/>
                    <a:pt x="494" y="242"/>
                  </a:cubicBezTo>
                  <a:cubicBezTo>
                    <a:pt x="493" y="243"/>
                    <a:pt x="493" y="243"/>
                    <a:pt x="493" y="243"/>
                  </a:cubicBezTo>
                  <a:cubicBezTo>
                    <a:pt x="492" y="245"/>
                    <a:pt x="491" y="246"/>
                    <a:pt x="489" y="247"/>
                  </a:cubicBezTo>
                  <a:cubicBezTo>
                    <a:pt x="488" y="247"/>
                    <a:pt x="487" y="247"/>
                    <a:pt x="486" y="247"/>
                  </a:cubicBezTo>
                  <a:cubicBezTo>
                    <a:pt x="486" y="247"/>
                    <a:pt x="486" y="247"/>
                    <a:pt x="486" y="247"/>
                  </a:cubicBezTo>
                  <a:cubicBezTo>
                    <a:pt x="485" y="247"/>
                    <a:pt x="484" y="247"/>
                    <a:pt x="482" y="247"/>
                  </a:cubicBezTo>
                  <a:cubicBezTo>
                    <a:pt x="481" y="247"/>
                    <a:pt x="481" y="247"/>
                    <a:pt x="480" y="247"/>
                  </a:cubicBezTo>
                  <a:cubicBezTo>
                    <a:pt x="476" y="247"/>
                    <a:pt x="476" y="247"/>
                    <a:pt x="476" y="247"/>
                  </a:cubicBezTo>
                  <a:cubicBezTo>
                    <a:pt x="476" y="247"/>
                    <a:pt x="476" y="247"/>
                    <a:pt x="475" y="247"/>
                  </a:cubicBezTo>
                  <a:cubicBezTo>
                    <a:pt x="475" y="247"/>
                    <a:pt x="474" y="247"/>
                    <a:pt x="473" y="247"/>
                  </a:cubicBezTo>
                  <a:cubicBezTo>
                    <a:pt x="471" y="247"/>
                    <a:pt x="469" y="246"/>
                    <a:pt x="467" y="246"/>
                  </a:cubicBezTo>
                  <a:cubicBezTo>
                    <a:pt x="465" y="245"/>
                    <a:pt x="464" y="244"/>
                    <a:pt x="464" y="243"/>
                  </a:cubicBezTo>
                  <a:cubicBezTo>
                    <a:pt x="463" y="243"/>
                    <a:pt x="463" y="243"/>
                    <a:pt x="463" y="243"/>
                  </a:cubicBezTo>
                  <a:cubicBezTo>
                    <a:pt x="462" y="244"/>
                    <a:pt x="461" y="245"/>
                    <a:pt x="460" y="245"/>
                  </a:cubicBezTo>
                  <a:cubicBezTo>
                    <a:pt x="459" y="245"/>
                    <a:pt x="459" y="245"/>
                    <a:pt x="459" y="245"/>
                  </a:cubicBezTo>
                  <a:cubicBezTo>
                    <a:pt x="459" y="245"/>
                    <a:pt x="459" y="245"/>
                    <a:pt x="459" y="245"/>
                  </a:cubicBezTo>
                  <a:cubicBezTo>
                    <a:pt x="458" y="245"/>
                    <a:pt x="458" y="245"/>
                    <a:pt x="458" y="245"/>
                  </a:cubicBezTo>
                  <a:cubicBezTo>
                    <a:pt x="458" y="245"/>
                    <a:pt x="458" y="246"/>
                    <a:pt x="457" y="246"/>
                  </a:cubicBezTo>
                  <a:cubicBezTo>
                    <a:pt x="457" y="246"/>
                    <a:pt x="457" y="246"/>
                    <a:pt x="457" y="246"/>
                  </a:cubicBezTo>
                  <a:cubicBezTo>
                    <a:pt x="456" y="245"/>
                    <a:pt x="455" y="245"/>
                    <a:pt x="455" y="245"/>
                  </a:cubicBezTo>
                  <a:cubicBezTo>
                    <a:pt x="455" y="245"/>
                    <a:pt x="455" y="245"/>
                    <a:pt x="455" y="245"/>
                  </a:cubicBezTo>
                  <a:cubicBezTo>
                    <a:pt x="454" y="245"/>
                    <a:pt x="454" y="245"/>
                    <a:pt x="453" y="244"/>
                  </a:cubicBezTo>
                  <a:cubicBezTo>
                    <a:pt x="450" y="243"/>
                    <a:pt x="450" y="243"/>
                    <a:pt x="450" y="243"/>
                  </a:cubicBezTo>
                  <a:cubicBezTo>
                    <a:pt x="450" y="243"/>
                    <a:pt x="449" y="242"/>
                    <a:pt x="448" y="242"/>
                  </a:cubicBezTo>
                  <a:cubicBezTo>
                    <a:pt x="447" y="242"/>
                    <a:pt x="447" y="242"/>
                    <a:pt x="446" y="242"/>
                  </a:cubicBezTo>
                  <a:cubicBezTo>
                    <a:pt x="445" y="241"/>
                    <a:pt x="445" y="241"/>
                    <a:pt x="445" y="241"/>
                  </a:cubicBezTo>
                  <a:cubicBezTo>
                    <a:pt x="444" y="241"/>
                    <a:pt x="444" y="241"/>
                    <a:pt x="443" y="241"/>
                  </a:cubicBezTo>
                  <a:cubicBezTo>
                    <a:pt x="443" y="241"/>
                    <a:pt x="443" y="241"/>
                    <a:pt x="443" y="241"/>
                  </a:cubicBezTo>
                  <a:cubicBezTo>
                    <a:pt x="443" y="241"/>
                    <a:pt x="442" y="241"/>
                    <a:pt x="442" y="242"/>
                  </a:cubicBezTo>
                  <a:cubicBezTo>
                    <a:pt x="441" y="242"/>
                    <a:pt x="441" y="242"/>
                    <a:pt x="441" y="242"/>
                  </a:cubicBezTo>
                  <a:cubicBezTo>
                    <a:pt x="440" y="242"/>
                    <a:pt x="439" y="242"/>
                    <a:pt x="438" y="242"/>
                  </a:cubicBezTo>
                  <a:cubicBezTo>
                    <a:pt x="437" y="242"/>
                    <a:pt x="437" y="242"/>
                    <a:pt x="436" y="242"/>
                  </a:cubicBezTo>
                  <a:cubicBezTo>
                    <a:pt x="436" y="242"/>
                    <a:pt x="435" y="242"/>
                    <a:pt x="434" y="241"/>
                  </a:cubicBezTo>
                  <a:cubicBezTo>
                    <a:pt x="434" y="241"/>
                    <a:pt x="433" y="240"/>
                    <a:pt x="433" y="240"/>
                  </a:cubicBezTo>
                  <a:cubicBezTo>
                    <a:pt x="432" y="239"/>
                    <a:pt x="431" y="238"/>
                    <a:pt x="431" y="237"/>
                  </a:cubicBezTo>
                  <a:cubicBezTo>
                    <a:pt x="431" y="237"/>
                    <a:pt x="430" y="236"/>
                    <a:pt x="430" y="236"/>
                  </a:cubicBezTo>
                  <a:cubicBezTo>
                    <a:pt x="430" y="235"/>
                    <a:pt x="430" y="235"/>
                    <a:pt x="430" y="235"/>
                  </a:cubicBezTo>
                  <a:cubicBezTo>
                    <a:pt x="429" y="236"/>
                    <a:pt x="428" y="236"/>
                    <a:pt x="427" y="236"/>
                  </a:cubicBezTo>
                  <a:cubicBezTo>
                    <a:pt x="426" y="237"/>
                    <a:pt x="426" y="237"/>
                    <a:pt x="426" y="237"/>
                  </a:cubicBezTo>
                  <a:cubicBezTo>
                    <a:pt x="425" y="237"/>
                    <a:pt x="424" y="237"/>
                    <a:pt x="423" y="237"/>
                  </a:cubicBezTo>
                  <a:cubicBezTo>
                    <a:pt x="423" y="237"/>
                    <a:pt x="423" y="237"/>
                    <a:pt x="423" y="237"/>
                  </a:cubicBezTo>
                  <a:cubicBezTo>
                    <a:pt x="422" y="237"/>
                    <a:pt x="421" y="237"/>
                    <a:pt x="420" y="236"/>
                  </a:cubicBezTo>
                  <a:cubicBezTo>
                    <a:pt x="419" y="236"/>
                    <a:pt x="419" y="236"/>
                    <a:pt x="419" y="235"/>
                  </a:cubicBezTo>
                  <a:cubicBezTo>
                    <a:pt x="418" y="235"/>
                    <a:pt x="418" y="235"/>
                    <a:pt x="418" y="235"/>
                  </a:cubicBezTo>
                  <a:cubicBezTo>
                    <a:pt x="418" y="235"/>
                    <a:pt x="418" y="234"/>
                    <a:pt x="417" y="234"/>
                  </a:cubicBezTo>
                  <a:cubicBezTo>
                    <a:pt x="416" y="234"/>
                    <a:pt x="416" y="234"/>
                    <a:pt x="416" y="234"/>
                  </a:cubicBezTo>
                  <a:cubicBezTo>
                    <a:pt x="415" y="233"/>
                    <a:pt x="413" y="232"/>
                    <a:pt x="411" y="231"/>
                  </a:cubicBezTo>
                  <a:cubicBezTo>
                    <a:pt x="410" y="231"/>
                    <a:pt x="410" y="231"/>
                    <a:pt x="410" y="231"/>
                  </a:cubicBezTo>
                  <a:cubicBezTo>
                    <a:pt x="409" y="231"/>
                    <a:pt x="408" y="231"/>
                    <a:pt x="407" y="230"/>
                  </a:cubicBezTo>
                  <a:cubicBezTo>
                    <a:pt x="405" y="229"/>
                    <a:pt x="404" y="228"/>
                    <a:pt x="403" y="227"/>
                  </a:cubicBezTo>
                  <a:cubicBezTo>
                    <a:pt x="403" y="226"/>
                    <a:pt x="403" y="225"/>
                    <a:pt x="403" y="224"/>
                  </a:cubicBezTo>
                  <a:cubicBezTo>
                    <a:pt x="402" y="224"/>
                    <a:pt x="402" y="223"/>
                    <a:pt x="402" y="222"/>
                  </a:cubicBezTo>
                  <a:cubicBezTo>
                    <a:pt x="402" y="222"/>
                    <a:pt x="402" y="222"/>
                    <a:pt x="402" y="222"/>
                  </a:cubicBezTo>
                  <a:cubicBezTo>
                    <a:pt x="402" y="221"/>
                    <a:pt x="402" y="221"/>
                    <a:pt x="402" y="221"/>
                  </a:cubicBezTo>
                  <a:cubicBezTo>
                    <a:pt x="402" y="221"/>
                    <a:pt x="402" y="221"/>
                    <a:pt x="402" y="221"/>
                  </a:cubicBezTo>
                  <a:cubicBezTo>
                    <a:pt x="401" y="220"/>
                    <a:pt x="398" y="219"/>
                    <a:pt x="397" y="219"/>
                  </a:cubicBezTo>
                  <a:cubicBezTo>
                    <a:pt x="396" y="218"/>
                    <a:pt x="396" y="218"/>
                    <a:pt x="396" y="218"/>
                  </a:cubicBezTo>
                  <a:cubicBezTo>
                    <a:pt x="395" y="218"/>
                    <a:pt x="395" y="218"/>
                    <a:pt x="394" y="218"/>
                  </a:cubicBezTo>
                  <a:cubicBezTo>
                    <a:pt x="394" y="218"/>
                    <a:pt x="394" y="217"/>
                    <a:pt x="393" y="217"/>
                  </a:cubicBezTo>
                  <a:cubicBezTo>
                    <a:pt x="393" y="217"/>
                    <a:pt x="393" y="217"/>
                    <a:pt x="393" y="218"/>
                  </a:cubicBezTo>
                  <a:cubicBezTo>
                    <a:pt x="393" y="218"/>
                    <a:pt x="392" y="218"/>
                    <a:pt x="391" y="218"/>
                  </a:cubicBezTo>
                  <a:cubicBezTo>
                    <a:pt x="392" y="224"/>
                    <a:pt x="392" y="224"/>
                    <a:pt x="392" y="224"/>
                  </a:cubicBezTo>
                  <a:cubicBezTo>
                    <a:pt x="390" y="219"/>
                    <a:pt x="390" y="219"/>
                    <a:pt x="390" y="219"/>
                  </a:cubicBezTo>
                  <a:cubicBezTo>
                    <a:pt x="389" y="220"/>
                    <a:pt x="389" y="220"/>
                    <a:pt x="389" y="220"/>
                  </a:cubicBezTo>
                  <a:cubicBezTo>
                    <a:pt x="388" y="221"/>
                    <a:pt x="388" y="221"/>
                    <a:pt x="388" y="221"/>
                  </a:cubicBezTo>
                  <a:cubicBezTo>
                    <a:pt x="387" y="220"/>
                    <a:pt x="387" y="220"/>
                    <a:pt x="387" y="220"/>
                  </a:cubicBezTo>
                  <a:cubicBezTo>
                    <a:pt x="386" y="222"/>
                    <a:pt x="386" y="222"/>
                    <a:pt x="386" y="222"/>
                  </a:cubicBezTo>
                  <a:cubicBezTo>
                    <a:pt x="385" y="221"/>
                    <a:pt x="385" y="221"/>
                    <a:pt x="385" y="221"/>
                  </a:cubicBezTo>
                  <a:cubicBezTo>
                    <a:pt x="379" y="219"/>
                    <a:pt x="379" y="219"/>
                    <a:pt x="379" y="219"/>
                  </a:cubicBezTo>
                  <a:cubicBezTo>
                    <a:pt x="378" y="219"/>
                    <a:pt x="378" y="219"/>
                    <a:pt x="378" y="219"/>
                  </a:cubicBezTo>
                  <a:cubicBezTo>
                    <a:pt x="377" y="220"/>
                    <a:pt x="377" y="220"/>
                    <a:pt x="377" y="220"/>
                  </a:cubicBezTo>
                  <a:cubicBezTo>
                    <a:pt x="376" y="221"/>
                    <a:pt x="376" y="221"/>
                    <a:pt x="376" y="221"/>
                  </a:cubicBezTo>
                  <a:cubicBezTo>
                    <a:pt x="376" y="221"/>
                    <a:pt x="376" y="221"/>
                    <a:pt x="375" y="221"/>
                  </a:cubicBezTo>
                  <a:cubicBezTo>
                    <a:pt x="375" y="221"/>
                    <a:pt x="375" y="221"/>
                    <a:pt x="375" y="221"/>
                  </a:cubicBezTo>
                  <a:cubicBezTo>
                    <a:pt x="374" y="222"/>
                    <a:pt x="374" y="222"/>
                    <a:pt x="374" y="222"/>
                  </a:cubicBezTo>
                  <a:cubicBezTo>
                    <a:pt x="373" y="222"/>
                    <a:pt x="373" y="222"/>
                    <a:pt x="373" y="222"/>
                  </a:cubicBezTo>
                  <a:cubicBezTo>
                    <a:pt x="373" y="222"/>
                    <a:pt x="373" y="222"/>
                    <a:pt x="372" y="222"/>
                  </a:cubicBezTo>
                  <a:cubicBezTo>
                    <a:pt x="372" y="222"/>
                    <a:pt x="371" y="221"/>
                    <a:pt x="371" y="221"/>
                  </a:cubicBezTo>
                  <a:cubicBezTo>
                    <a:pt x="370" y="220"/>
                    <a:pt x="368" y="219"/>
                    <a:pt x="367" y="219"/>
                  </a:cubicBezTo>
                  <a:cubicBezTo>
                    <a:pt x="366" y="219"/>
                    <a:pt x="365" y="219"/>
                    <a:pt x="364" y="218"/>
                  </a:cubicBezTo>
                  <a:cubicBezTo>
                    <a:pt x="360" y="218"/>
                    <a:pt x="360" y="218"/>
                    <a:pt x="360" y="218"/>
                  </a:cubicBezTo>
                  <a:cubicBezTo>
                    <a:pt x="359" y="218"/>
                    <a:pt x="358" y="217"/>
                    <a:pt x="358" y="216"/>
                  </a:cubicBezTo>
                  <a:cubicBezTo>
                    <a:pt x="357" y="215"/>
                    <a:pt x="356" y="214"/>
                    <a:pt x="356" y="213"/>
                  </a:cubicBezTo>
                  <a:cubicBezTo>
                    <a:pt x="355" y="212"/>
                    <a:pt x="355" y="212"/>
                    <a:pt x="355" y="212"/>
                  </a:cubicBezTo>
                  <a:cubicBezTo>
                    <a:pt x="355" y="212"/>
                    <a:pt x="355" y="212"/>
                    <a:pt x="355" y="212"/>
                  </a:cubicBezTo>
                  <a:cubicBezTo>
                    <a:pt x="349" y="210"/>
                    <a:pt x="349" y="210"/>
                    <a:pt x="349" y="210"/>
                  </a:cubicBezTo>
                  <a:cubicBezTo>
                    <a:pt x="347" y="214"/>
                    <a:pt x="347" y="214"/>
                    <a:pt x="347" y="214"/>
                  </a:cubicBezTo>
                  <a:cubicBezTo>
                    <a:pt x="347" y="209"/>
                    <a:pt x="347" y="209"/>
                    <a:pt x="347" y="209"/>
                  </a:cubicBezTo>
                  <a:cubicBezTo>
                    <a:pt x="347" y="209"/>
                    <a:pt x="347" y="209"/>
                    <a:pt x="347" y="209"/>
                  </a:cubicBezTo>
                  <a:cubicBezTo>
                    <a:pt x="345" y="208"/>
                    <a:pt x="344" y="208"/>
                    <a:pt x="342" y="207"/>
                  </a:cubicBezTo>
                  <a:cubicBezTo>
                    <a:pt x="341" y="207"/>
                    <a:pt x="341" y="207"/>
                    <a:pt x="341" y="207"/>
                  </a:cubicBezTo>
                  <a:cubicBezTo>
                    <a:pt x="340" y="207"/>
                    <a:pt x="340" y="208"/>
                    <a:pt x="339" y="208"/>
                  </a:cubicBezTo>
                  <a:cubicBezTo>
                    <a:pt x="338" y="208"/>
                    <a:pt x="338" y="208"/>
                    <a:pt x="338" y="208"/>
                  </a:cubicBezTo>
                  <a:cubicBezTo>
                    <a:pt x="338" y="208"/>
                    <a:pt x="338" y="208"/>
                    <a:pt x="338" y="208"/>
                  </a:cubicBezTo>
                  <a:cubicBezTo>
                    <a:pt x="338" y="208"/>
                    <a:pt x="337" y="208"/>
                    <a:pt x="337" y="208"/>
                  </a:cubicBezTo>
                  <a:cubicBezTo>
                    <a:pt x="335" y="208"/>
                    <a:pt x="334" y="207"/>
                    <a:pt x="331" y="205"/>
                  </a:cubicBezTo>
                  <a:cubicBezTo>
                    <a:pt x="330" y="204"/>
                    <a:pt x="330" y="204"/>
                    <a:pt x="330" y="204"/>
                  </a:cubicBezTo>
                  <a:cubicBezTo>
                    <a:pt x="329" y="204"/>
                    <a:pt x="329" y="203"/>
                    <a:pt x="328" y="203"/>
                  </a:cubicBezTo>
                  <a:cubicBezTo>
                    <a:pt x="327" y="202"/>
                    <a:pt x="327" y="202"/>
                    <a:pt x="326" y="201"/>
                  </a:cubicBezTo>
                  <a:cubicBezTo>
                    <a:pt x="326" y="201"/>
                    <a:pt x="326" y="201"/>
                    <a:pt x="326" y="201"/>
                  </a:cubicBezTo>
                  <a:cubicBezTo>
                    <a:pt x="324" y="199"/>
                    <a:pt x="322" y="198"/>
                    <a:pt x="321" y="196"/>
                  </a:cubicBezTo>
                  <a:cubicBezTo>
                    <a:pt x="320" y="196"/>
                    <a:pt x="320" y="196"/>
                    <a:pt x="320" y="196"/>
                  </a:cubicBezTo>
                  <a:cubicBezTo>
                    <a:pt x="319" y="194"/>
                    <a:pt x="317" y="193"/>
                    <a:pt x="315" y="192"/>
                  </a:cubicBezTo>
                  <a:cubicBezTo>
                    <a:pt x="314" y="191"/>
                    <a:pt x="312" y="190"/>
                    <a:pt x="310" y="189"/>
                  </a:cubicBezTo>
                  <a:cubicBezTo>
                    <a:pt x="307" y="188"/>
                    <a:pt x="307" y="188"/>
                    <a:pt x="307" y="188"/>
                  </a:cubicBezTo>
                  <a:cubicBezTo>
                    <a:pt x="306" y="190"/>
                    <a:pt x="306" y="190"/>
                    <a:pt x="306" y="190"/>
                  </a:cubicBezTo>
                  <a:cubicBezTo>
                    <a:pt x="303" y="189"/>
                    <a:pt x="303" y="189"/>
                    <a:pt x="303" y="189"/>
                  </a:cubicBezTo>
                  <a:cubicBezTo>
                    <a:pt x="300" y="188"/>
                    <a:pt x="297" y="186"/>
                    <a:pt x="295" y="185"/>
                  </a:cubicBezTo>
                  <a:cubicBezTo>
                    <a:pt x="291" y="182"/>
                    <a:pt x="290" y="179"/>
                    <a:pt x="291" y="176"/>
                  </a:cubicBezTo>
                  <a:cubicBezTo>
                    <a:pt x="291" y="175"/>
                    <a:pt x="291" y="174"/>
                    <a:pt x="292" y="173"/>
                  </a:cubicBezTo>
                  <a:cubicBezTo>
                    <a:pt x="292" y="172"/>
                    <a:pt x="293" y="170"/>
                    <a:pt x="294" y="168"/>
                  </a:cubicBezTo>
                  <a:cubicBezTo>
                    <a:pt x="295" y="167"/>
                    <a:pt x="295" y="167"/>
                    <a:pt x="295" y="167"/>
                  </a:cubicBezTo>
                  <a:cubicBezTo>
                    <a:pt x="295" y="167"/>
                    <a:pt x="296" y="166"/>
                    <a:pt x="296" y="166"/>
                  </a:cubicBezTo>
                  <a:cubicBezTo>
                    <a:pt x="295" y="165"/>
                    <a:pt x="295" y="165"/>
                    <a:pt x="295" y="164"/>
                  </a:cubicBezTo>
                  <a:cubicBezTo>
                    <a:pt x="295" y="163"/>
                    <a:pt x="295" y="163"/>
                    <a:pt x="295" y="162"/>
                  </a:cubicBezTo>
                  <a:cubicBezTo>
                    <a:pt x="295" y="161"/>
                    <a:pt x="296" y="160"/>
                    <a:pt x="296" y="159"/>
                  </a:cubicBezTo>
                  <a:cubicBezTo>
                    <a:pt x="298" y="157"/>
                    <a:pt x="298" y="157"/>
                    <a:pt x="298" y="157"/>
                  </a:cubicBezTo>
                  <a:cubicBezTo>
                    <a:pt x="299" y="157"/>
                    <a:pt x="299" y="157"/>
                    <a:pt x="299" y="157"/>
                  </a:cubicBezTo>
                  <a:cubicBezTo>
                    <a:pt x="299" y="157"/>
                    <a:pt x="299" y="157"/>
                    <a:pt x="299" y="157"/>
                  </a:cubicBezTo>
                  <a:cubicBezTo>
                    <a:pt x="299" y="156"/>
                    <a:pt x="299" y="156"/>
                    <a:pt x="299" y="156"/>
                  </a:cubicBezTo>
                  <a:cubicBezTo>
                    <a:pt x="312" y="143"/>
                    <a:pt x="312" y="143"/>
                    <a:pt x="312" y="143"/>
                  </a:cubicBezTo>
                  <a:cubicBezTo>
                    <a:pt x="296" y="135"/>
                    <a:pt x="296" y="135"/>
                    <a:pt x="296" y="135"/>
                  </a:cubicBezTo>
                  <a:cubicBezTo>
                    <a:pt x="294" y="134"/>
                    <a:pt x="294" y="133"/>
                    <a:pt x="294" y="133"/>
                  </a:cubicBezTo>
                  <a:cubicBezTo>
                    <a:pt x="293" y="132"/>
                    <a:pt x="293" y="132"/>
                    <a:pt x="293" y="132"/>
                  </a:cubicBezTo>
                  <a:cubicBezTo>
                    <a:pt x="294" y="130"/>
                    <a:pt x="294" y="130"/>
                    <a:pt x="294" y="130"/>
                  </a:cubicBezTo>
                  <a:cubicBezTo>
                    <a:pt x="294" y="129"/>
                    <a:pt x="294" y="129"/>
                    <a:pt x="294" y="129"/>
                  </a:cubicBezTo>
                  <a:cubicBezTo>
                    <a:pt x="294" y="129"/>
                    <a:pt x="294" y="129"/>
                    <a:pt x="293" y="128"/>
                  </a:cubicBezTo>
                  <a:cubicBezTo>
                    <a:pt x="290" y="127"/>
                    <a:pt x="286" y="125"/>
                    <a:pt x="282" y="125"/>
                  </a:cubicBezTo>
                  <a:cubicBezTo>
                    <a:pt x="281" y="124"/>
                    <a:pt x="281" y="124"/>
                    <a:pt x="281" y="124"/>
                  </a:cubicBezTo>
                  <a:cubicBezTo>
                    <a:pt x="281" y="124"/>
                    <a:pt x="280" y="124"/>
                    <a:pt x="280" y="124"/>
                  </a:cubicBezTo>
                  <a:cubicBezTo>
                    <a:pt x="278" y="123"/>
                    <a:pt x="276" y="122"/>
                    <a:pt x="275" y="121"/>
                  </a:cubicBezTo>
                  <a:cubicBezTo>
                    <a:pt x="274" y="120"/>
                    <a:pt x="274" y="120"/>
                    <a:pt x="274" y="120"/>
                  </a:cubicBezTo>
                  <a:cubicBezTo>
                    <a:pt x="274" y="119"/>
                    <a:pt x="273" y="118"/>
                    <a:pt x="272" y="117"/>
                  </a:cubicBezTo>
                  <a:cubicBezTo>
                    <a:pt x="272" y="117"/>
                    <a:pt x="272" y="117"/>
                    <a:pt x="272" y="117"/>
                  </a:cubicBezTo>
                  <a:cubicBezTo>
                    <a:pt x="271" y="116"/>
                    <a:pt x="271" y="115"/>
                    <a:pt x="270" y="114"/>
                  </a:cubicBezTo>
                  <a:cubicBezTo>
                    <a:pt x="270" y="114"/>
                    <a:pt x="270" y="114"/>
                    <a:pt x="270" y="114"/>
                  </a:cubicBezTo>
                  <a:cubicBezTo>
                    <a:pt x="270" y="114"/>
                    <a:pt x="270" y="114"/>
                    <a:pt x="270" y="114"/>
                  </a:cubicBezTo>
                  <a:cubicBezTo>
                    <a:pt x="269" y="113"/>
                    <a:pt x="269" y="113"/>
                    <a:pt x="269" y="113"/>
                  </a:cubicBezTo>
                  <a:cubicBezTo>
                    <a:pt x="269" y="113"/>
                    <a:pt x="269" y="113"/>
                    <a:pt x="269" y="113"/>
                  </a:cubicBezTo>
                  <a:cubicBezTo>
                    <a:pt x="269" y="113"/>
                    <a:pt x="269" y="113"/>
                    <a:pt x="269" y="113"/>
                  </a:cubicBezTo>
                  <a:cubicBezTo>
                    <a:pt x="269" y="112"/>
                    <a:pt x="269" y="112"/>
                    <a:pt x="269" y="112"/>
                  </a:cubicBezTo>
                  <a:cubicBezTo>
                    <a:pt x="268" y="113"/>
                    <a:pt x="268" y="114"/>
                    <a:pt x="267" y="114"/>
                  </a:cubicBezTo>
                  <a:cubicBezTo>
                    <a:pt x="267" y="115"/>
                    <a:pt x="267" y="115"/>
                    <a:pt x="267" y="115"/>
                  </a:cubicBezTo>
                  <a:cubicBezTo>
                    <a:pt x="266" y="115"/>
                    <a:pt x="266" y="115"/>
                    <a:pt x="266" y="115"/>
                  </a:cubicBezTo>
                  <a:cubicBezTo>
                    <a:pt x="263" y="117"/>
                    <a:pt x="263" y="117"/>
                    <a:pt x="263" y="117"/>
                  </a:cubicBezTo>
                  <a:cubicBezTo>
                    <a:pt x="261" y="115"/>
                    <a:pt x="261" y="115"/>
                    <a:pt x="261" y="115"/>
                  </a:cubicBezTo>
                  <a:cubicBezTo>
                    <a:pt x="261" y="114"/>
                    <a:pt x="261" y="114"/>
                    <a:pt x="260" y="113"/>
                  </a:cubicBezTo>
                  <a:cubicBezTo>
                    <a:pt x="260" y="113"/>
                    <a:pt x="259" y="112"/>
                    <a:pt x="259" y="112"/>
                  </a:cubicBezTo>
                  <a:cubicBezTo>
                    <a:pt x="258" y="110"/>
                    <a:pt x="258" y="109"/>
                    <a:pt x="257" y="108"/>
                  </a:cubicBezTo>
                  <a:cubicBezTo>
                    <a:pt x="257" y="108"/>
                    <a:pt x="257" y="108"/>
                    <a:pt x="257" y="108"/>
                  </a:cubicBezTo>
                  <a:cubicBezTo>
                    <a:pt x="257" y="107"/>
                    <a:pt x="257" y="107"/>
                    <a:pt x="257" y="106"/>
                  </a:cubicBezTo>
                  <a:cubicBezTo>
                    <a:pt x="257" y="104"/>
                    <a:pt x="257" y="104"/>
                    <a:pt x="257" y="104"/>
                  </a:cubicBezTo>
                  <a:cubicBezTo>
                    <a:pt x="257" y="102"/>
                    <a:pt x="257" y="100"/>
                    <a:pt x="257" y="99"/>
                  </a:cubicBezTo>
                  <a:cubicBezTo>
                    <a:pt x="257" y="97"/>
                    <a:pt x="257" y="97"/>
                    <a:pt x="257" y="97"/>
                  </a:cubicBezTo>
                  <a:cubicBezTo>
                    <a:pt x="257" y="96"/>
                    <a:pt x="257" y="96"/>
                    <a:pt x="257" y="96"/>
                  </a:cubicBezTo>
                  <a:cubicBezTo>
                    <a:pt x="257" y="96"/>
                    <a:pt x="257" y="96"/>
                    <a:pt x="257" y="96"/>
                  </a:cubicBezTo>
                  <a:cubicBezTo>
                    <a:pt x="256" y="95"/>
                    <a:pt x="255" y="93"/>
                    <a:pt x="254" y="92"/>
                  </a:cubicBezTo>
                  <a:cubicBezTo>
                    <a:pt x="254" y="91"/>
                    <a:pt x="254" y="91"/>
                    <a:pt x="254" y="91"/>
                  </a:cubicBezTo>
                  <a:cubicBezTo>
                    <a:pt x="252" y="88"/>
                    <a:pt x="250" y="85"/>
                    <a:pt x="249" y="81"/>
                  </a:cubicBezTo>
                  <a:cubicBezTo>
                    <a:pt x="249" y="81"/>
                    <a:pt x="249" y="79"/>
                    <a:pt x="250" y="77"/>
                  </a:cubicBezTo>
                  <a:cubicBezTo>
                    <a:pt x="251" y="75"/>
                    <a:pt x="253" y="75"/>
                    <a:pt x="254" y="75"/>
                  </a:cubicBezTo>
                  <a:cubicBezTo>
                    <a:pt x="255" y="75"/>
                    <a:pt x="255" y="75"/>
                    <a:pt x="255" y="75"/>
                  </a:cubicBezTo>
                  <a:cubicBezTo>
                    <a:pt x="256" y="74"/>
                    <a:pt x="256" y="74"/>
                    <a:pt x="256" y="74"/>
                  </a:cubicBezTo>
                  <a:cubicBezTo>
                    <a:pt x="256" y="74"/>
                    <a:pt x="257" y="74"/>
                    <a:pt x="258" y="74"/>
                  </a:cubicBezTo>
                  <a:cubicBezTo>
                    <a:pt x="267" y="72"/>
                    <a:pt x="267" y="72"/>
                    <a:pt x="267" y="72"/>
                  </a:cubicBezTo>
                  <a:cubicBezTo>
                    <a:pt x="264" y="77"/>
                    <a:pt x="264" y="77"/>
                    <a:pt x="264" y="77"/>
                  </a:cubicBezTo>
                  <a:cubicBezTo>
                    <a:pt x="264" y="77"/>
                    <a:pt x="264" y="77"/>
                    <a:pt x="264" y="77"/>
                  </a:cubicBezTo>
                  <a:cubicBezTo>
                    <a:pt x="264" y="78"/>
                    <a:pt x="264" y="78"/>
                    <a:pt x="264" y="78"/>
                  </a:cubicBezTo>
                  <a:cubicBezTo>
                    <a:pt x="266" y="79"/>
                    <a:pt x="267" y="80"/>
                    <a:pt x="267" y="80"/>
                  </a:cubicBezTo>
                  <a:cubicBezTo>
                    <a:pt x="267" y="80"/>
                    <a:pt x="267" y="80"/>
                    <a:pt x="267" y="80"/>
                  </a:cubicBezTo>
                  <a:cubicBezTo>
                    <a:pt x="269" y="80"/>
                    <a:pt x="272" y="78"/>
                    <a:pt x="276" y="73"/>
                  </a:cubicBezTo>
                  <a:cubicBezTo>
                    <a:pt x="276" y="72"/>
                    <a:pt x="275" y="72"/>
                    <a:pt x="275" y="71"/>
                  </a:cubicBezTo>
                  <a:cubicBezTo>
                    <a:pt x="275" y="71"/>
                    <a:pt x="275" y="71"/>
                    <a:pt x="275" y="70"/>
                  </a:cubicBezTo>
                  <a:cubicBezTo>
                    <a:pt x="275" y="69"/>
                    <a:pt x="274" y="68"/>
                    <a:pt x="274" y="67"/>
                  </a:cubicBezTo>
                  <a:cubicBezTo>
                    <a:pt x="274" y="65"/>
                    <a:pt x="274" y="65"/>
                    <a:pt x="274" y="65"/>
                  </a:cubicBezTo>
                  <a:cubicBezTo>
                    <a:pt x="274" y="64"/>
                    <a:pt x="274" y="64"/>
                    <a:pt x="274" y="64"/>
                  </a:cubicBezTo>
                  <a:cubicBezTo>
                    <a:pt x="274" y="64"/>
                    <a:pt x="274" y="64"/>
                    <a:pt x="274" y="64"/>
                  </a:cubicBezTo>
                  <a:cubicBezTo>
                    <a:pt x="273" y="63"/>
                    <a:pt x="273" y="63"/>
                    <a:pt x="273" y="63"/>
                  </a:cubicBezTo>
                  <a:cubicBezTo>
                    <a:pt x="269" y="62"/>
                    <a:pt x="267" y="60"/>
                    <a:pt x="265" y="59"/>
                  </a:cubicBezTo>
                  <a:cubicBezTo>
                    <a:pt x="264" y="58"/>
                    <a:pt x="264" y="58"/>
                    <a:pt x="264" y="58"/>
                  </a:cubicBezTo>
                  <a:cubicBezTo>
                    <a:pt x="263" y="57"/>
                    <a:pt x="263" y="57"/>
                    <a:pt x="263" y="56"/>
                  </a:cubicBezTo>
                  <a:cubicBezTo>
                    <a:pt x="262" y="55"/>
                    <a:pt x="262" y="55"/>
                    <a:pt x="262" y="55"/>
                  </a:cubicBezTo>
                  <a:cubicBezTo>
                    <a:pt x="262" y="54"/>
                    <a:pt x="262" y="54"/>
                    <a:pt x="262" y="54"/>
                  </a:cubicBezTo>
                  <a:cubicBezTo>
                    <a:pt x="262" y="53"/>
                    <a:pt x="262" y="53"/>
                    <a:pt x="262" y="53"/>
                  </a:cubicBezTo>
                  <a:cubicBezTo>
                    <a:pt x="260" y="49"/>
                    <a:pt x="260" y="49"/>
                    <a:pt x="260" y="49"/>
                  </a:cubicBezTo>
                  <a:cubicBezTo>
                    <a:pt x="254" y="51"/>
                    <a:pt x="254" y="51"/>
                    <a:pt x="254" y="51"/>
                  </a:cubicBezTo>
                  <a:cubicBezTo>
                    <a:pt x="260" y="47"/>
                    <a:pt x="260" y="47"/>
                    <a:pt x="260" y="47"/>
                  </a:cubicBezTo>
                  <a:cubicBezTo>
                    <a:pt x="258" y="42"/>
                    <a:pt x="258" y="42"/>
                    <a:pt x="258" y="42"/>
                  </a:cubicBezTo>
                  <a:cubicBezTo>
                    <a:pt x="258" y="41"/>
                    <a:pt x="258" y="41"/>
                    <a:pt x="258" y="41"/>
                  </a:cubicBezTo>
                  <a:cubicBezTo>
                    <a:pt x="258" y="41"/>
                    <a:pt x="258" y="41"/>
                    <a:pt x="258" y="41"/>
                  </a:cubicBezTo>
                  <a:cubicBezTo>
                    <a:pt x="258" y="40"/>
                    <a:pt x="258" y="40"/>
                    <a:pt x="258" y="40"/>
                  </a:cubicBezTo>
                  <a:cubicBezTo>
                    <a:pt x="257" y="37"/>
                    <a:pt x="258" y="35"/>
                    <a:pt x="259" y="34"/>
                  </a:cubicBezTo>
                  <a:cubicBezTo>
                    <a:pt x="259" y="33"/>
                    <a:pt x="259" y="33"/>
                    <a:pt x="259" y="33"/>
                  </a:cubicBezTo>
                  <a:cubicBezTo>
                    <a:pt x="262" y="30"/>
                    <a:pt x="262" y="30"/>
                    <a:pt x="262" y="30"/>
                  </a:cubicBezTo>
                  <a:cubicBezTo>
                    <a:pt x="262" y="30"/>
                    <a:pt x="261" y="30"/>
                    <a:pt x="261" y="30"/>
                  </a:cubicBezTo>
                  <a:cubicBezTo>
                    <a:pt x="260" y="29"/>
                    <a:pt x="260" y="29"/>
                    <a:pt x="260" y="29"/>
                  </a:cubicBezTo>
                  <a:cubicBezTo>
                    <a:pt x="257" y="29"/>
                    <a:pt x="255" y="28"/>
                    <a:pt x="253" y="26"/>
                  </a:cubicBezTo>
                  <a:cubicBezTo>
                    <a:pt x="250" y="25"/>
                    <a:pt x="248" y="23"/>
                    <a:pt x="247" y="20"/>
                  </a:cubicBezTo>
                  <a:cubicBezTo>
                    <a:pt x="246" y="20"/>
                    <a:pt x="246" y="19"/>
                    <a:pt x="246" y="19"/>
                  </a:cubicBezTo>
                  <a:cubicBezTo>
                    <a:pt x="243" y="11"/>
                    <a:pt x="243" y="11"/>
                    <a:pt x="243" y="11"/>
                  </a:cubicBezTo>
                  <a:cubicBezTo>
                    <a:pt x="243" y="10"/>
                    <a:pt x="243" y="9"/>
                    <a:pt x="242" y="8"/>
                  </a:cubicBezTo>
                  <a:cubicBezTo>
                    <a:pt x="242" y="8"/>
                    <a:pt x="241" y="7"/>
                    <a:pt x="241" y="7"/>
                  </a:cubicBezTo>
                  <a:cubicBezTo>
                    <a:pt x="241" y="6"/>
                    <a:pt x="240" y="4"/>
                    <a:pt x="240" y="3"/>
                  </a:cubicBezTo>
                  <a:cubicBezTo>
                    <a:pt x="240" y="1"/>
                    <a:pt x="240" y="1"/>
                    <a:pt x="2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Rectangle 499"/>
            <p:cNvSpPr>
              <a:spLocks noChangeArrowheads="1"/>
            </p:cNvSpPr>
            <p:nvPr/>
          </p:nvSpPr>
          <p:spPr bwMode="auto">
            <a:xfrm>
              <a:off x="2963181" y="3971623"/>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500"/>
            <p:cNvSpPr/>
            <p:nvPr/>
          </p:nvSpPr>
          <p:spPr bwMode="auto">
            <a:xfrm flipH="1">
              <a:off x="2963181" y="3971623"/>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Rectangle 501"/>
            <p:cNvSpPr>
              <a:spLocks noChangeArrowheads="1"/>
            </p:cNvSpPr>
            <p:nvPr/>
          </p:nvSpPr>
          <p:spPr bwMode="auto">
            <a:xfrm>
              <a:off x="3014220" y="3298717"/>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502"/>
            <p:cNvSpPr/>
            <p:nvPr/>
          </p:nvSpPr>
          <p:spPr bwMode="auto">
            <a:xfrm flipH="1">
              <a:off x="3014220" y="329871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503"/>
            <p:cNvSpPr>
              <a:spLocks noEditPoints="1"/>
            </p:cNvSpPr>
            <p:nvPr/>
          </p:nvSpPr>
          <p:spPr bwMode="auto">
            <a:xfrm>
              <a:off x="2416529" y="2825937"/>
              <a:ext cx="1259852" cy="1136284"/>
            </a:xfrm>
            <a:custGeom>
              <a:gdLst>
                <a:gd name="T0" fmla="*/ 320 w 397"/>
                <a:gd name="T1" fmla="*/ 6 h 358"/>
                <a:gd name="T2" fmla="*/ 299 w 397"/>
                <a:gd name="T3" fmla="*/ 5 h 358"/>
                <a:gd name="T4" fmla="*/ 262 w 397"/>
                <a:gd name="T5" fmla="*/ 18 h 358"/>
                <a:gd name="T6" fmla="*/ 257 w 397"/>
                <a:gd name="T7" fmla="*/ 35 h 358"/>
                <a:gd name="T8" fmla="*/ 261 w 397"/>
                <a:gd name="T9" fmla="*/ 49 h 358"/>
                <a:gd name="T10" fmla="*/ 247 w 397"/>
                <a:gd name="T11" fmla="*/ 66 h 358"/>
                <a:gd name="T12" fmla="*/ 247 w 397"/>
                <a:gd name="T13" fmla="*/ 78 h 358"/>
                <a:gd name="T14" fmla="*/ 218 w 397"/>
                <a:gd name="T15" fmla="*/ 85 h 358"/>
                <a:gd name="T16" fmla="*/ 217 w 397"/>
                <a:gd name="T17" fmla="*/ 110 h 358"/>
                <a:gd name="T18" fmla="*/ 211 w 397"/>
                <a:gd name="T19" fmla="*/ 111 h 358"/>
                <a:gd name="T20" fmla="*/ 206 w 397"/>
                <a:gd name="T21" fmla="*/ 121 h 358"/>
                <a:gd name="T22" fmla="*/ 193 w 397"/>
                <a:gd name="T23" fmla="*/ 150 h 358"/>
                <a:gd name="T24" fmla="*/ 184 w 397"/>
                <a:gd name="T25" fmla="*/ 148 h 358"/>
                <a:gd name="T26" fmla="*/ 174 w 397"/>
                <a:gd name="T27" fmla="*/ 147 h 358"/>
                <a:gd name="T28" fmla="*/ 155 w 397"/>
                <a:gd name="T29" fmla="*/ 161 h 358"/>
                <a:gd name="T30" fmla="*/ 139 w 397"/>
                <a:gd name="T31" fmla="*/ 161 h 358"/>
                <a:gd name="T32" fmla="*/ 130 w 397"/>
                <a:gd name="T33" fmla="*/ 180 h 358"/>
                <a:gd name="T34" fmla="*/ 121 w 397"/>
                <a:gd name="T35" fmla="*/ 200 h 358"/>
                <a:gd name="T36" fmla="*/ 77 w 397"/>
                <a:gd name="T37" fmla="*/ 209 h 358"/>
                <a:gd name="T38" fmla="*/ 68 w 397"/>
                <a:gd name="T39" fmla="*/ 210 h 358"/>
                <a:gd name="T40" fmla="*/ 47 w 397"/>
                <a:gd name="T41" fmla="*/ 210 h 358"/>
                <a:gd name="T42" fmla="*/ 2 w 397"/>
                <a:gd name="T43" fmla="*/ 204 h 358"/>
                <a:gd name="T44" fmla="*/ 30 w 397"/>
                <a:gd name="T45" fmla="*/ 233 h 358"/>
                <a:gd name="T46" fmla="*/ 42 w 397"/>
                <a:gd name="T47" fmla="*/ 249 h 358"/>
                <a:gd name="T48" fmla="*/ 56 w 397"/>
                <a:gd name="T49" fmla="*/ 264 h 358"/>
                <a:gd name="T50" fmla="*/ 31 w 397"/>
                <a:gd name="T51" fmla="*/ 287 h 358"/>
                <a:gd name="T52" fmla="*/ 15 w 397"/>
                <a:gd name="T53" fmla="*/ 313 h 358"/>
                <a:gd name="T54" fmla="*/ 28 w 397"/>
                <a:gd name="T55" fmla="*/ 322 h 358"/>
                <a:gd name="T56" fmla="*/ 72 w 397"/>
                <a:gd name="T57" fmla="*/ 313 h 358"/>
                <a:gd name="T58" fmla="*/ 121 w 397"/>
                <a:gd name="T59" fmla="*/ 314 h 358"/>
                <a:gd name="T60" fmla="*/ 128 w 397"/>
                <a:gd name="T61" fmla="*/ 311 h 358"/>
                <a:gd name="T62" fmla="*/ 144 w 397"/>
                <a:gd name="T63" fmla="*/ 327 h 358"/>
                <a:gd name="T64" fmla="*/ 171 w 397"/>
                <a:gd name="T65" fmla="*/ 356 h 358"/>
                <a:gd name="T66" fmla="*/ 183 w 397"/>
                <a:gd name="T67" fmla="*/ 348 h 358"/>
                <a:gd name="T68" fmla="*/ 210 w 397"/>
                <a:gd name="T69" fmla="*/ 342 h 358"/>
                <a:gd name="T70" fmla="*/ 226 w 397"/>
                <a:gd name="T71" fmla="*/ 338 h 358"/>
                <a:gd name="T72" fmla="*/ 237 w 397"/>
                <a:gd name="T73" fmla="*/ 340 h 358"/>
                <a:gd name="T74" fmla="*/ 231 w 397"/>
                <a:gd name="T75" fmla="*/ 322 h 358"/>
                <a:gd name="T76" fmla="*/ 226 w 397"/>
                <a:gd name="T77" fmla="*/ 310 h 358"/>
                <a:gd name="T78" fmla="*/ 218 w 397"/>
                <a:gd name="T79" fmla="*/ 298 h 358"/>
                <a:gd name="T80" fmla="*/ 212 w 397"/>
                <a:gd name="T81" fmla="*/ 290 h 358"/>
                <a:gd name="T82" fmla="*/ 216 w 397"/>
                <a:gd name="T83" fmla="*/ 252 h 358"/>
                <a:gd name="T84" fmla="*/ 223 w 397"/>
                <a:gd name="T85" fmla="*/ 244 h 358"/>
                <a:gd name="T86" fmla="*/ 232 w 397"/>
                <a:gd name="T87" fmla="*/ 242 h 358"/>
                <a:gd name="T88" fmla="*/ 240 w 397"/>
                <a:gd name="T89" fmla="*/ 249 h 358"/>
                <a:gd name="T90" fmla="*/ 258 w 397"/>
                <a:gd name="T91" fmla="*/ 245 h 358"/>
                <a:gd name="T92" fmla="*/ 292 w 397"/>
                <a:gd name="T93" fmla="*/ 208 h 358"/>
                <a:gd name="T94" fmla="*/ 311 w 397"/>
                <a:gd name="T95" fmla="*/ 185 h 358"/>
                <a:gd name="T96" fmla="*/ 326 w 397"/>
                <a:gd name="T97" fmla="*/ 165 h 358"/>
                <a:gd name="T98" fmla="*/ 325 w 397"/>
                <a:gd name="T99" fmla="*/ 145 h 358"/>
                <a:gd name="T100" fmla="*/ 340 w 397"/>
                <a:gd name="T101" fmla="*/ 134 h 358"/>
                <a:gd name="T102" fmla="*/ 339 w 397"/>
                <a:gd name="T103" fmla="*/ 128 h 358"/>
                <a:gd name="T104" fmla="*/ 319 w 397"/>
                <a:gd name="T105" fmla="*/ 114 h 358"/>
                <a:gd name="T106" fmla="*/ 316 w 397"/>
                <a:gd name="T107" fmla="*/ 96 h 358"/>
                <a:gd name="T108" fmla="*/ 317 w 397"/>
                <a:gd name="T109" fmla="*/ 85 h 358"/>
                <a:gd name="T110" fmla="*/ 312 w 397"/>
                <a:gd name="T111" fmla="*/ 77 h 358"/>
                <a:gd name="T112" fmla="*/ 326 w 397"/>
                <a:gd name="T113" fmla="*/ 60 h 358"/>
                <a:gd name="T114" fmla="*/ 351 w 397"/>
                <a:gd name="T115" fmla="*/ 63 h 358"/>
                <a:gd name="T116" fmla="*/ 373 w 397"/>
                <a:gd name="T117" fmla="*/ 60 h 358"/>
                <a:gd name="T118" fmla="*/ 394 w 397"/>
                <a:gd name="T119" fmla="*/ 46 h 358"/>
                <a:gd name="T120" fmla="*/ 372 w 397"/>
                <a:gd name="T121" fmla="*/ 35 h 358"/>
                <a:gd name="T122" fmla="*/ 362 w 397"/>
                <a:gd name="T123" fmla="*/ 20 h 358"/>
                <a:gd name="T124" fmla="*/ 341 w 397"/>
                <a:gd name="T125" fmla="*/ 2 h 3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358">
                  <a:moveTo>
                    <a:pt x="131" y="314"/>
                  </a:moveTo>
                  <a:cubicBezTo>
                    <a:pt x="131" y="314"/>
                    <a:pt x="131" y="314"/>
                    <a:pt x="131" y="314"/>
                  </a:cubicBezTo>
                  <a:cubicBezTo>
                    <a:pt x="131" y="314"/>
                    <a:pt x="131" y="314"/>
                    <a:pt x="131" y="314"/>
                  </a:cubicBezTo>
                  <a:moveTo>
                    <a:pt x="332" y="0"/>
                  </a:moveTo>
                  <a:cubicBezTo>
                    <a:pt x="331" y="0"/>
                    <a:pt x="331" y="1"/>
                    <a:pt x="330" y="1"/>
                  </a:cubicBezTo>
                  <a:cubicBezTo>
                    <a:pt x="330" y="1"/>
                    <a:pt x="328" y="2"/>
                    <a:pt x="327" y="2"/>
                  </a:cubicBezTo>
                  <a:cubicBezTo>
                    <a:pt x="327" y="3"/>
                    <a:pt x="327" y="3"/>
                    <a:pt x="327" y="3"/>
                  </a:cubicBezTo>
                  <a:cubicBezTo>
                    <a:pt x="324" y="4"/>
                    <a:pt x="322" y="5"/>
                    <a:pt x="320" y="6"/>
                  </a:cubicBezTo>
                  <a:cubicBezTo>
                    <a:pt x="319" y="6"/>
                    <a:pt x="319" y="6"/>
                    <a:pt x="319" y="6"/>
                  </a:cubicBezTo>
                  <a:cubicBezTo>
                    <a:pt x="318" y="6"/>
                    <a:pt x="317" y="6"/>
                    <a:pt x="317" y="6"/>
                  </a:cubicBezTo>
                  <a:cubicBezTo>
                    <a:pt x="315" y="6"/>
                    <a:pt x="313" y="6"/>
                    <a:pt x="311" y="5"/>
                  </a:cubicBezTo>
                  <a:cubicBezTo>
                    <a:pt x="311" y="5"/>
                    <a:pt x="311" y="5"/>
                    <a:pt x="311" y="5"/>
                  </a:cubicBezTo>
                  <a:cubicBezTo>
                    <a:pt x="310" y="5"/>
                    <a:pt x="310" y="5"/>
                    <a:pt x="310" y="5"/>
                  </a:cubicBezTo>
                  <a:cubicBezTo>
                    <a:pt x="309" y="5"/>
                    <a:pt x="308" y="4"/>
                    <a:pt x="308" y="4"/>
                  </a:cubicBezTo>
                  <a:cubicBezTo>
                    <a:pt x="306" y="5"/>
                    <a:pt x="304" y="5"/>
                    <a:pt x="303" y="5"/>
                  </a:cubicBezTo>
                  <a:cubicBezTo>
                    <a:pt x="299" y="5"/>
                    <a:pt x="299" y="5"/>
                    <a:pt x="299" y="5"/>
                  </a:cubicBezTo>
                  <a:cubicBezTo>
                    <a:pt x="296" y="5"/>
                    <a:pt x="293" y="5"/>
                    <a:pt x="291" y="6"/>
                  </a:cubicBezTo>
                  <a:cubicBezTo>
                    <a:pt x="286" y="6"/>
                    <a:pt x="286" y="6"/>
                    <a:pt x="286" y="6"/>
                  </a:cubicBezTo>
                  <a:cubicBezTo>
                    <a:pt x="284" y="6"/>
                    <a:pt x="282" y="7"/>
                    <a:pt x="280" y="8"/>
                  </a:cubicBezTo>
                  <a:cubicBezTo>
                    <a:pt x="277" y="9"/>
                    <a:pt x="275" y="11"/>
                    <a:pt x="272" y="12"/>
                  </a:cubicBezTo>
                  <a:cubicBezTo>
                    <a:pt x="271" y="13"/>
                    <a:pt x="271" y="13"/>
                    <a:pt x="271" y="13"/>
                  </a:cubicBezTo>
                  <a:cubicBezTo>
                    <a:pt x="269" y="14"/>
                    <a:pt x="267" y="16"/>
                    <a:pt x="265" y="17"/>
                  </a:cubicBezTo>
                  <a:cubicBezTo>
                    <a:pt x="264" y="17"/>
                    <a:pt x="263" y="18"/>
                    <a:pt x="263" y="18"/>
                  </a:cubicBezTo>
                  <a:cubicBezTo>
                    <a:pt x="262" y="18"/>
                    <a:pt x="262" y="18"/>
                    <a:pt x="262" y="18"/>
                  </a:cubicBezTo>
                  <a:cubicBezTo>
                    <a:pt x="261" y="18"/>
                    <a:pt x="260" y="17"/>
                    <a:pt x="259" y="17"/>
                  </a:cubicBezTo>
                  <a:cubicBezTo>
                    <a:pt x="259" y="17"/>
                    <a:pt x="259" y="17"/>
                    <a:pt x="259" y="17"/>
                  </a:cubicBezTo>
                  <a:cubicBezTo>
                    <a:pt x="256" y="20"/>
                    <a:pt x="253" y="22"/>
                    <a:pt x="251" y="25"/>
                  </a:cubicBezTo>
                  <a:cubicBezTo>
                    <a:pt x="252" y="27"/>
                    <a:pt x="253" y="29"/>
                    <a:pt x="254" y="30"/>
                  </a:cubicBezTo>
                  <a:cubicBezTo>
                    <a:pt x="254" y="31"/>
                    <a:pt x="255" y="31"/>
                    <a:pt x="255" y="32"/>
                  </a:cubicBezTo>
                  <a:cubicBezTo>
                    <a:pt x="255" y="32"/>
                    <a:pt x="255" y="32"/>
                    <a:pt x="256" y="33"/>
                  </a:cubicBezTo>
                  <a:cubicBezTo>
                    <a:pt x="256" y="34"/>
                    <a:pt x="257" y="34"/>
                    <a:pt x="257" y="35"/>
                  </a:cubicBezTo>
                  <a:cubicBezTo>
                    <a:pt x="257" y="35"/>
                    <a:pt x="257" y="35"/>
                    <a:pt x="257" y="35"/>
                  </a:cubicBezTo>
                  <a:cubicBezTo>
                    <a:pt x="261" y="33"/>
                    <a:pt x="261" y="33"/>
                    <a:pt x="261" y="33"/>
                  </a:cubicBezTo>
                  <a:cubicBezTo>
                    <a:pt x="258" y="37"/>
                    <a:pt x="258" y="37"/>
                    <a:pt x="258" y="37"/>
                  </a:cubicBezTo>
                  <a:cubicBezTo>
                    <a:pt x="259" y="38"/>
                    <a:pt x="259" y="38"/>
                    <a:pt x="259" y="38"/>
                  </a:cubicBezTo>
                  <a:cubicBezTo>
                    <a:pt x="260" y="40"/>
                    <a:pt x="259" y="42"/>
                    <a:pt x="259" y="44"/>
                  </a:cubicBezTo>
                  <a:cubicBezTo>
                    <a:pt x="259" y="45"/>
                    <a:pt x="259" y="45"/>
                    <a:pt x="259" y="46"/>
                  </a:cubicBezTo>
                  <a:cubicBezTo>
                    <a:pt x="260" y="46"/>
                    <a:pt x="260" y="46"/>
                    <a:pt x="260" y="46"/>
                  </a:cubicBezTo>
                  <a:cubicBezTo>
                    <a:pt x="260" y="47"/>
                    <a:pt x="260" y="47"/>
                    <a:pt x="260" y="47"/>
                  </a:cubicBezTo>
                  <a:cubicBezTo>
                    <a:pt x="260" y="48"/>
                    <a:pt x="261" y="49"/>
                    <a:pt x="261" y="49"/>
                  </a:cubicBezTo>
                  <a:cubicBezTo>
                    <a:pt x="260" y="50"/>
                    <a:pt x="260" y="50"/>
                    <a:pt x="260" y="50"/>
                  </a:cubicBezTo>
                  <a:cubicBezTo>
                    <a:pt x="260" y="51"/>
                    <a:pt x="260" y="51"/>
                    <a:pt x="259" y="52"/>
                  </a:cubicBezTo>
                  <a:cubicBezTo>
                    <a:pt x="259" y="53"/>
                    <a:pt x="259" y="53"/>
                    <a:pt x="259" y="53"/>
                  </a:cubicBezTo>
                  <a:cubicBezTo>
                    <a:pt x="258" y="54"/>
                    <a:pt x="258" y="54"/>
                    <a:pt x="258" y="54"/>
                  </a:cubicBezTo>
                  <a:cubicBezTo>
                    <a:pt x="257" y="58"/>
                    <a:pt x="255" y="59"/>
                    <a:pt x="253" y="59"/>
                  </a:cubicBezTo>
                  <a:cubicBezTo>
                    <a:pt x="252" y="60"/>
                    <a:pt x="252" y="60"/>
                    <a:pt x="251" y="60"/>
                  </a:cubicBezTo>
                  <a:cubicBezTo>
                    <a:pt x="251" y="61"/>
                    <a:pt x="251" y="61"/>
                    <a:pt x="250" y="62"/>
                  </a:cubicBezTo>
                  <a:cubicBezTo>
                    <a:pt x="250" y="63"/>
                    <a:pt x="249" y="64"/>
                    <a:pt x="247" y="66"/>
                  </a:cubicBezTo>
                  <a:cubicBezTo>
                    <a:pt x="246" y="66"/>
                    <a:pt x="246" y="67"/>
                    <a:pt x="245" y="67"/>
                  </a:cubicBezTo>
                  <a:cubicBezTo>
                    <a:pt x="245" y="68"/>
                    <a:pt x="245" y="68"/>
                    <a:pt x="245" y="69"/>
                  </a:cubicBezTo>
                  <a:cubicBezTo>
                    <a:pt x="245" y="70"/>
                    <a:pt x="246" y="70"/>
                    <a:pt x="246" y="70"/>
                  </a:cubicBezTo>
                  <a:cubicBezTo>
                    <a:pt x="247" y="71"/>
                    <a:pt x="247" y="71"/>
                    <a:pt x="247" y="71"/>
                  </a:cubicBezTo>
                  <a:cubicBezTo>
                    <a:pt x="247" y="71"/>
                    <a:pt x="247" y="71"/>
                    <a:pt x="248" y="72"/>
                  </a:cubicBezTo>
                  <a:cubicBezTo>
                    <a:pt x="248" y="74"/>
                    <a:pt x="248" y="74"/>
                    <a:pt x="248" y="75"/>
                  </a:cubicBezTo>
                  <a:cubicBezTo>
                    <a:pt x="248" y="76"/>
                    <a:pt x="248" y="77"/>
                    <a:pt x="248" y="78"/>
                  </a:cubicBezTo>
                  <a:cubicBezTo>
                    <a:pt x="247" y="78"/>
                    <a:pt x="247" y="78"/>
                    <a:pt x="247" y="78"/>
                  </a:cubicBezTo>
                  <a:cubicBezTo>
                    <a:pt x="247" y="79"/>
                    <a:pt x="247" y="79"/>
                    <a:pt x="247" y="79"/>
                  </a:cubicBezTo>
                  <a:cubicBezTo>
                    <a:pt x="247" y="79"/>
                    <a:pt x="247" y="80"/>
                    <a:pt x="246" y="80"/>
                  </a:cubicBezTo>
                  <a:cubicBezTo>
                    <a:pt x="245" y="82"/>
                    <a:pt x="244" y="83"/>
                    <a:pt x="243" y="84"/>
                  </a:cubicBezTo>
                  <a:cubicBezTo>
                    <a:pt x="240" y="86"/>
                    <a:pt x="235" y="87"/>
                    <a:pt x="232" y="87"/>
                  </a:cubicBezTo>
                  <a:cubicBezTo>
                    <a:pt x="230" y="87"/>
                    <a:pt x="229" y="87"/>
                    <a:pt x="228" y="87"/>
                  </a:cubicBezTo>
                  <a:cubicBezTo>
                    <a:pt x="228" y="87"/>
                    <a:pt x="228" y="87"/>
                    <a:pt x="227" y="87"/>
                  </a:cubicBezTo>
                  <a:cubicBezTo>
                    <a:pt x="227" y="87"/>
                    <a:pt x="226" y="86"/>
                    <a:pt x="224" y="86"/>
                  </a:cubicBezTo>
                  <a:cubicBezTo>
                    <a:pt x="222" y="85"/>
                    <a:pt x="219" y="85"/>
                    <a:pt x="218" y="85"/>
                  </a:cubicBezTo>
                  <a:cubicBezTo>
                    <a:pt x="219" y="87"/>
                    <a:pt x="219" y="87"/>
                    <a:pt x="219" y="87"/>
                  </a:cubicBezTo>
                  <a:cubicBezTo>
                    <a:pt x="220" y="87"/>
                    <a:pt x="221" y="88"/>
                    <a:pt x="221" y="89"/>
                  </a:cubicBezTo>
                  <a:cubicBezTo>
                    <a:pt x="223" y="92"/>
                    <a:pt x="223" y="92"/>
                    <a:pt x="223" y="92"/>
                  </a:cubicBezTo>
                  <a:cubicBezTo>
                    <a:pt x="228" y="98"/>
                    <a:pt x="230" y="101"/>
                    <a:pt x="227" y="103"/>
                  </a:cubicBezTo>
                  <a:cubicBezTo>
                    <a:pt x="226" y="104"/>
                    <a:pt x="226" y="104"/>
                    <a:pt x="226" y="104"/>
                  </a:cubicBezTo>
                  <a:cubicBezTo>
                    <a:pt x="226" y="104"/>
                    <a:pt x="226" y="104"/>
                    <a:pt x="226" y="104"/>
                  </a:cubicBezTo>
                  <a:cubicBezTo>
                    <a:pt x="225" y="105"/>
                    <a:pt x="225" y="105"/>
                    <a:pt x="225" y="105"/>
                  </a:cubicBezTo>
                  <a:cubicBezTo>
                    <a:pt x="224" y="106"/>
                    <a:pt x="220" y="109"/>
                    <a:pt x="217" y="110"/>
                  </a:cubicBezTo>
                  <a:cubicBezTo>
                    <a:pt x="218" y="115"/>
                    <a:pt x="218" y="115"/>
                    <a:pt x="218" y="115"/>
                  </a:cubicBezTo>
                  <a:cubicBezTo>
                    <a:pt x="215" y="110"/>
                    <a:pt x="215" y="110"/>
                    <a:pt x="215" y="110"/>
                  </a:cubicBezTo>
                  <a:cubicBezTo>
                    <a:pt x="215" y="110"/>
                    <a:pt x="215" y="110"/>
                    <a:pt x="215" y="110"/>
                  </a:cubicBezTo>
                  <a:cubicBezTo>
                    <a:pt x="214" y="111"/>
                    <a:pt x="213" y="111"/>
                    <a:pt x="213" y="111"/>
                  </a:cubicBezTo>
                  <a:cubicBezTo>
                    <a:pt x="212" y="111"/>
                    <a:pt x="212" y="111"/>
                    <a:pt x="212" y="111"/>
                  </a:cubicBezTo>
                  <a:cubicBezTo>
                    <a:pt x="212" y="111"/>
                    <a:pt x="212" y="111"/>
                    <a:pt x="212" y="111"/>
                  </a:cubicBezTo>
                  <a:cubicBezTo>
                    <a:pt x="211" y="111"/>
                    <a:pt x="211" y="111"/>
                    <a:pt x="211" y="111"/>
                  </a:cubicBezTo>
                  <a:cubicBezTo>
                    <a:pt x="211" y="111"/>
                    <a:pt x="211" y="111"/>
                    <a:pt x="211" y="111"/>
                  </a:cubicBezTo>
                  <a:cubicBezTo>
                    <a:pt x="210" y="111"/>
                    <a:pt x="210" y="111"/>
                    <a:pt x="210" y="111"/>
                  </a:cubicBezTo>
                  <a:cubicBezTo>
                    <a:pt x="209" y="110"/>
                    <a:pt x="209" y="110"/>
                    <a:pt x="209" y="110"/>
                  </a:cubicBezTo>
                  <a:cubicBezTo>
                    <a:pt x="209" y="111"/>
                    <a:pt x="209" y="111"/>
                    <a:pt x="209" y="111"/>
                  </a:cubicBezTo>
                  <a:cubicBezTo>
                    <a:pt x="208" y="111"/>
                    <a:pt x="208" y="111"/>
                    <a:pt x="208" y="111"/>
                  </a:cubicBezTo>
                  <a:cubicBezTo>
                    <a:pt x="208" y="112"/>
                    <a:pt x="207" y="114"/>
                    <a:pt x="207" y="116"/>
                  </a:cubicBezTo>
                  <a:cubicBezTo>
                    <a:pt x="207" y="117"/>
                    <a:pt x="207" y="118"/>
                    <a:pt x="206" y="119"/>
                  </a:cubicBezTo>
                  <a:cubicBezTo>
                    <a:pt x="206" y="119"/>
                    <a:pt x="206" y="119"/>
                    <a:pt x="206" y="119"/>
                  </a:cubicBezTo>
                  <a:cubicBezTo>
                    <a:pt x="206" y="120"/>
                    <a:pt x="206" y="120"/>
                    <a:pt x="206" y="121"/>
                  </a:cubicBezTo>
                  <a:cubicBezTo>
                    <a:pt x="206" y="123"/>
                    <a:pt x="204" y="124"/>
                    <a:pt x="203" y="125"/>
                  </a:cubicBezTo>
                  <a:cubicBezTo>
                    <a:pt x="202" y="125"/>
                    <a:pt x="202" y="125"/>
                    <a:pt x="202" y="125"/>
                  </a:cubicBezTo>
                  <a:cubicBezTo>
                    <a:pt x="203" y="133"/>
                    <a:pt x="203" y="133"/>
                    <a:pt x="203" y="133"/>
                  </a:cubicBezTo>
                  <a:cubicBezTo>
                    <a:pt x="203" y="133"/>
                    <a:pt x="203" y="133"/>
                    <a:pt x="203" y="133"/>
                  </a:cubicBezTo>
                  <a:cubicBezTo>
                    <a:pt x="203" y="137"/>
                    <a:pt x="203" y="137"/>
                    <a:pt x="203" y="137"/>
                  </a:cubicBezTo>
                  <a:cubicBezTo>
                    <a:pt x="204" y="140"/>
                    <a:pt x="202" y="141"/>
                    <a:pt x="201" y="142"/>
                  </a:cubicBezTo>
                  <a:cubicBezTo>
                    <a:pt x="198" y="145"/>
                    <a:pt x="196" y="147"/>
                    <a:pt x="193" y="149"/>
                  </a:cubicBezTo>
                  <a:cubicBezTo>
                    <a:pt x="193" y="150"/>
                    <a:pt x="193" y="150"/>
                    <a:pt x="193" y="150"/>
                  </a:cubicBezTo>
                  <a:cubicBezTo>
                    <a:pt x="192" y="150"/>
                    <a:pt x="191" y="150"/>
                    <a:pt x="190" y="150"/>
                  </a:cubicBezTo>
                  <a:cubicBezTo>
                    <a:pt x="190" y="150"/>
                    <a:pt x="190" y="150"/>
                    <a:pt x="190" y="150"/>
                  </a:cubicBezTo>
                  <a:cubicBezTo>
                    <a:pt x="190" y="150"/>
                    <a:pt x="190" y="150"/>
                    <a:pt x="190" y="150"/>
                  </a:cubicBezTo>
                  <a:cubicBezTo>
                    <a:pt x="189" y="150"/>
                    <a:pt x="189" y="150"/>
                    <a:pt x="188" y="150"/>
                  </a:cubicBezTo>
                  <a:cubicBezTo>
                    <a:pt x="188" y="150"/>
                    <a:pt x="188" y="150"/>
                    <a:pt x="188" y="150"/>
                  </a:cubicBezTo>
                  <a:cubicBezTo>
                    <a:pt x="187" y="149"/>
                    <a:pt x="187" y="149"/>
                    <a:pt x="187" y="149"/>
                  </a:cubicBezTo>
                  <a:cubicBezTo>
                    <a:pt x="186" y="149"/>
                    <a:pt x="186" y="149"/>
                    <a:pt x="185" y="148"/>
                  </a:cubicBezTo>
                  <a:cubicBezTo>
                    <a:pt x="184" y="148"/>
                    <a:pt x="184" y="148"/>
                    <a:pt x="184" y="148"/>
                  </a:cubicBezTo>
                  <a:cubicBezTo>
                    <a:pt x="183" y="147"/>
                    <a:pt x="183" y="147"/>
                    <a:pt x="182" y="146"/>
                  </a:cubicBezTo>
                  <a:cubicBezTo>
                    <a:pt x="181" y="146"/>
                    <a:pt x="181" y="146"/>
                    <a:pt x="181" y="146"/>
                  </a:cubicBezTo>
                  <a:cubicBezTo>
                    <a:pt x="181" y="145"/>
                    <a:pt x="181" y="145"/>
                    <a:pt x="180" y="145"/>
                  </a:cubicBezTo>
                  <a:cubicBezTo>
                    <a:pt x="180" y="145"/>
                    <a:pt x="180" y="145"/>
                    <a:pt x="180" y="145"/>
                  </a:cubicBezTo>
                  <a:cubicBezTo>
                    <a:pt x="179" y="145"/>
                    <a:pt x="178" y="146"/>
                    <a:pt x="177" y="146"/>
                  </a:cubicBezTo>
                  <a:cubicBezTo>
                    <a:pt x="177" y="146"/>
                    <a:pt x="177" y="146"/>
                    <a:pt x="177" y="146"/>
                  </a:cubicBezTo>
                  <a:cubicBezTo>
                    <a:pt x="176" y="146"/>
                    <a:pt x="175" y="146"/>
                    <a:pt x="175" y="146"/>
                  </a:cubicBezTo>
                  <a:cubicBezTo>
                    <a:pt x="174" y="147"/>
                    <a:pt x="174" y="147"/>
                    <a:pt x="174" y="147"/>
                  </a:cubicBezTo>
                  <a:cubicBezTo>
                    <a:pt x="173" y="147"/>
                    <a:pt x="173" y="147"/>
                    <a:pt x="172" y="147"/>
                  </a:cubicBezTo>
                  <a:cubicBezTo>
                    <a:pt x="171" y="148"/>
                    <a:pt x="171" y="148"/>
                    <a:pt x="170" y="148"/>
                  </a:cubicBezTo>
                  <a:cubicBezTo>
                    <a:pt x="169" y="149"/>
                    <a:pt x="169" y="149"/>
                    <a:pt x="169" y="149"/>
                  </a:cubicBezTo>
                  <a:cubicBezTo>
                    <a:pt x="167" y="150"/>
                    <a:pt x="166" y="151"/>
                    <a:pt x="164" y="152"/>
                  </a:cubicBezTo>
                  <a:cubicBezTo>
                    <a:pt x="169" y="156"/>
                    <a:pt x="169" y="156"/>
                    <a:pt x="169" y="156"/>
                  </a:cubicBezTo>
                  <a:cubicBezTo>
                    <a:pt x="164" y="157"/>
                    <a:pt x="164" y="157"/>
                    <a:pt x="164" y="157"/>
                  </a:cubicBezTo>
                  <a:cubicBezTo>
                    <a:pt x="163" y="158"/>
                    <a:pt x="162" y="158"/>
                    <a:pt x="162" y="159"/>
                  </a:cubicBezTo>
                  <a:cubicBezTo>
                    <a:pt x="159" y="160"/>
                    <a:pt x="157" y="161"/>
                    <a:pt x="155" y="161"/>
                  </a:cubicBezTo>
                  <a:cubicBezTo>
                    <a:pt x="154" y="161"/>
                    <a:pt x="154" y="161"/>
                    <a:pt x="154" y="161"/>
                  </a:cubicBezTo>
                  <a:cubicBezTo>
                    <a:pt x="154" y="162"/>
                    <a:pt x="153" y="162"/>
                    <a:pt x="152" y="162"/>
                  </a:cubicBezTo>
                  <a:cubicBezTo>
                    <a:pt x="150" y="162"/>
                    <a:pt x="148" y="161"/>
                    <a:pt x="145" y="160"/>
                  </a:cubicBezTo>
                  <a:cubicBezTo>
                    <a:pt x="143" y="160"/>
                    <a:pt x="143" y="160"/>
                    <a:pt x="143" y="160"/>
                  </a:cubicBezTo>
                  <a:cubicBezTo>
                    <a:pt x="143" y="160"/>
                    <a:pt x="143" y="160"/>
                    <a:pt x="143" y="160"/>
                  </a:cubicBezTo>
                  <a:cubicBezTo>
                    <a:pt x="143" y="160"/>
                    <a:pt x="142" y="160"/>
                    <a:pt x="142" y="160"/>
                  </a:cubicBezTo>
                  <a:cubicBezTo>
                    <a:pt x="141" y="160"/>
                    <a:pt x="141" y="160"/>
                    <a:pt x="141" y="160"/>
                  </a:cubicBezTo>
                  <a:cubicBezTo>
                    <a:pt x="140" y="161"/>
                    <a:pt x="140" y="161"/>
                    <a:pt x="139" y="161"/>
                  </a:cubicBezTo>
                  <a:cubicBezTo>
                    <a:pt x="139" y="162"/>
                    <a:pt x="139" y="162"/>
                    <a:pt x="139" y="162"/>
                  </a:cubicBezTo>
                  <a:cubicBezTo>
                    <a:pt x="138" y="162"/>
                    <a:pt x="137" y="163"/>
                    <a:pt x="136" y="164"/>
                  </a:cubicBezTo>
                  <a:cubicBezTo>
                    <a:pt x="135" y="165"/>
                    <a:pt x="133" y="167"/>
                    <a:pt x="132" y="167"/>
                  </a:cubicBezTo>
                  <a:cubicBezTo>
                    <a:pt x="132" y="168"/>
                    <a:pt x="132" y="168"/>
                    <a:pt x="132" y="168"/>
                  </a:cubicBezTo>
                  <a:cubicBezTo>
                    <a:pt x="132" y="168"/>
                    <a:pt x="131" y="169"/>
                    <a:pt x="131" y="169"/>
                  </a:cubicBezTo>
                  <a:cubicBezTo>
                    <a:pt x="131" y="170"/>
                    <a:pt x="131" y="170"/>
                    <a:pt x="131" y="170"/>
                  </a:cubicBezTo>
                  <a:cubicBezTo>
                    <a:pt x="131" y="172"/>
                    <a:pt x="131" y="172"/>
                    <a:pt x="131" y="172"/>
                  </a:cubicBezTo>
                  <a:cubicBezTo>
                    <a:pt x="130" y="175"/>
                    <a:pt x="129" y="177"/>
                    <a:pt x="130" y="180"/>
                  </a:cubicBezTo>
                  <a:cubicBezTo>
                    <a:pt x="130" y="181"/>
                    <a:pt x="129" y="182"/>
                    <a:pt x="129" y="184"/>
                  </a:cubicBezTo>
                  <a:cubicBezTo>
                    <a:pt x="129" y="184"/>
                    <a:pt x="129" y="186"/>
                    <a:pt x="128" y="188"/>
                  </a:cubicBezTo>
                  <a:cubicBezTo>
                    <a:pt x="128" y="188"/>
                    <a:pt x="128" y="188"/>
                    <a:pt x="128" y="188"/>
                  </a:cubicBezTo>
                  <a:cubicBezTo>
                    <a:pt x="128" y="188"/>
                    <a:pt x="128" y="188"/>
                    <a:pt x="128" y="188"/>
                  </a:cubicBezTo>
                  <a:cubicBezTo>
                    <a:pt x="129" y="189"/>
                    <a:pt x="129" y="190"/>
                    <a:pt x="129" y="192"/>
                  </a:cubicBezTo>
                  <a:cubicBezTo>
                    <a:pt x="130" y="193"/>
                    <a:pt x="129" y="195"/>
                    <a:pt x="128" y="197"/>
                  </a:cubicBezTo>
                  <a:cubicBezTo>
                    <a:pt x="127" y="199"/>
                    <a:pt x="125" y="199"/>
                    <a:pt x="123" y="199"/>
                  </a:cubicBezTo>
                  <a:cubicBezTo>
                    <a:pt x="121" y="200"/>
                    <a:pt x="121" y="200"/>
                    <a:pt x="121" y="200"/>
                  </a:cubicBezTo>
                  <a:cubicBezTo>
                    <a:pt x="119" y="201"/>
                    <a:pt x="116" y="201"/>
                    <a:pt x="114" y="202"/>
                  </a:cubicBezTo>
                  <a:cubicBezTo>
                    <a:pt x="111" y="203"/>
                    <a:pt x="109" y="204"/>
                    <a:pt x="106" y="204"/>
                  </a:cubicBezTo>
                  <a:cubicBezTo>
                    <a:pt x="99" y="204"/>
                    <a:pt x="99" y="204"/>
                    <a:pt x="99" y="204"/>
                  </a:cubicBezTo>
                  <a:cubicBezTo>
                    <a:pt x="97" y="204"/>
                    <a:pt x="94" y="205"/>
                    <a:pt x="92" y="205"/>
                  </a:cubicBezTo>
                  <a:cubicBezTo>
                    <a:pt x="89" y="205"/>
                    <a:pt x="86" y="205"/>
                    <a:pt x="83" y="206"/>
                  </a:cubicBezTo>
                  <a:cubicBezTo>
                    <a:pt x="82" y="206"/>
                    <a:pt x="81" y="206"/>
                    <a:pt x="81" y="207"/>
                  </a:cubicBezTo>
                  <a:cubicBezTo>
                    <a:pt x="80" y="207"/>
                    <a:pt x="79" y="208"/>
                    <a:pt x="79" y="208"/>
                  </a:cubicBezTo>
                  <a:cubicBezTo>
                    <a:pt x="77" y="209"/>
                    <a:pt x="77" y="209"/>
                    <a:pt x="77" y="209"/>
                  </a:cubicBezTo>
                  <a:cubicBezTo>
                    <a:pt x="76" y="209"/>
                    <a:pt x="76" y="209"/>
                    <a:pt x="76" y="209"/>
                  </a:cubicBezTo>
                  <a:cubicBezTo>
                    <a:pt x="76" y="210"/>
                    <a:pt x="75" y="210"/>
                    <a:pt x="75" y="210"/>
                  </a:cubicBezTo>
                  <a:cubicBezTo>
                    <a:pt x="75" y="210"/>
                    <a:pt x="74" y="210"/>
                    <a:pt x="74" y="210"/>
                  </a:cubicBezTo>
                  <a:cubicBezTo>
                    <a:pt x="73" y="210"/>
                    <a:pt x="73" y="210"/>
                    <a:pt x="72" y="211"/>
                  </a:cubicBezTo>
                  <a:cubicBezTo>
                    <a:pt x="72" y="211"/>
                    <a:pt x="72" y="211"/>
                    <a:pt x="71" y="211"/>
                  </a:cubicBezTo>
                  <a:cubicBezTo>
                    <a:pt x="71" y="211"/>
                    <a:pt x="71" y="211"/>
                    <a:pt x="71" y="211"/>
                  </a:cubicBezTo>
                  <a:cubicBezTo>
                    <a:pt x="70" y="211"/>
                    <a:pt x="70" y="211"/>
                    <a:pt x="69" y="210"/>
                  </a:cubicBezTo>
                  <a:cubicBezTo>
                    <a:pt x="69" y="210"/>
                    <a:pt x="68" y="210"/>
                    <a:pt x="68" y="210"/>
                  </a:cubicBezTo>
                  <a:cubicBezTo>
                    <a:pt x="65" y="210"/>
                    <a:pt x="65" y="210"/>
                    <a:pt x="65" y="210"/>
                  </a:cubicBezTo>
                  <a:cubicBezTo>
                    <a:pt x="64" y="209"/>
                    <a:pt x="63" y="209"/>
                    <a:pt x="62" y="209"/>
                  </a:cubicBezTo>
                  <a:cubicBezTo>
                    <a:pt x="61" y="209"/>
                    <a:pt x="61" y="209"/>
                    <a:pt x="61" y="209"/>
                  </a:cubicBezTo>
                  <a:cubicBezTo>
                    <a:pt x="61" y="209"/>
                    <a:pt x="60" y="209"/>
                    <a:pt x="59" y="209"/>
                  </a:cubicBezTo>
                  <a:cubicBezTo>
                    <a:pt x="59" y="209"/>
                    <a:pt x="59" y="209"/>
                    <a:pt x="59" y="209"/>
                  </a:cubicBezTo>
                  <a:cubicBezTo>
                    <a:pt x="49" y="209"/>
                    <a:pt x="49" y="209"/>
                    <a:pt x="49" y="209"/>
                  </a:cubicBezTo>
                  <a:cubicBezTo>
                    <a:pt x="49" y="215"/>
                    <a:pt x="49" y="215"/>
                    <a:pt x="49" y="215"/>
                  </a:cubicBezTo>
                  <a:cubicBezTo>
                    <a:pt x="47" y="210"/>
                    <a:pt x="47" y="210"/>
                    <a:pt x="47" y="210"/>
                  </a:cubicBezTo>
                  <a:cubicBezTo>
                    <a:pt x="43" y="210"/>
                    <a:pt x="43" y="210"/>
                    <a:pt x="43" y="210"/>
                  </a:cubicBezTo>
                  <a:cubicBezTo>
                    <a:pt x="43" y="210"/>
                    <a:pt x="42" y="210"/>
                    <a:pt x="41" y="210"/>
                  </a:cubicBezTo>
                  <a:cubicBezTo>
                    <a:pt x="41" y="210"/>
                    <a:pt x="41" y="210"/>
                    <a:pt x="41" y="210"/>
                  </a:cubicBezTo>
                  <a:cubicBezTo>
                    <a:pt x="40" y="210"/>
                    <a:pt x="39" y="210"/>
                    <a:pt x="38" y="210"/>
                  </a:cubicBezTo>
                  <a:cubicBezTo>
                    <a:pt x="38" y="211"/>
                    <a:pt x="37" y="211"/>
                    <a:pt x="37" y="211"/>
                  </a:cubicBezTo>
                  <a:cubicBezTo>
                    <a:pt x="36" y="211"/>
                    <a:pt x="35" y="210"/>
                    <a:pt x="34" y="210"/>
                  </a:cubicBezTo>
                  <a:cubicBezTo>
                    <a:pt x="0" y="201"/>
                    <a:pt x="0" y="201"/>
                    <a:pt x="0" y="201"/>
                  </a:cubicBezTo>
                  <a:cubicBezTo>
                    <a:pt x="0" y="202"/>
                    <a:pt x="1" y="203"/>
                    <a:pt x="2" y="204"/>
                  </a:cubicBezTo>
                  <a:cubicBezTo>
                    <a:pt x="2" y="204"/>
                    <a:pt x="3" y="205"/>
                    <a:pt x="3" y="205"/>
                  </a:cubicBezTo>
                  <a:cubicBezTo>
                    <a:pt x="3" y="206"/>
                    <a:pt x="4" y="206"/>
                    <a:pt x="4" y="207"/>
                  </a:cubicBezTo>
                  <a:cubicBezTo>
                    <a:pt x="7" y="210"/>
                    <a:pt x="9" y="213"/>
                    <a:pt x="11" y="217"/>
                  </a:cubicBezTo>
                  <a:cubicBezTo>
                    <a:pt x="14" y="220"/>
                    <a:pt x="17" y="224"/>
                    <a:pt x="19" y="227"/>
                  </a:cubicBezTo>
                  <a:cubicBezTo>
                    <a:pt x="20" y="229"/>
                    <a:pt x="23" y="230"/>
                    <a:pt x="25" y="231"/>
                  </a:cubicBezTo>
                  <a:cubicBezTo>
                    <a:pt x="25" y="231"/>
                    <a:pt x="26" y="231"/>
                    <a:pt x="27" y="232"/>
                  </a:cubicBezTo>
                  <a:cubicBezTo>
                    <a:pt x="28" y="232"/>
                    <a:pt x="28" y="232"/>
                    <a:pt x="28" y="232"/>
                  </a:cubicBezTo>
                  <a:cubicBezTo>
                    <a:pt x="29" y="232"/>
                    <a:pt x="29" y="232"/>
                    <a:pt x="30" y="233"/>
                  </a:cubicBezTo>
                  <a:cubicBezTo>
                    <a:pt x="31" y="233"/>
                    <a:pt x="31" y="233"/>
                    <a:pt x="31" y="233"/>
                  </a:cubicBezTo>
                  <a:cubicBezTo>
                    <a:pt x="31" y="233"/>
                    <a:pt x="32" y="234"/>
                    <a:pt x="33" y="234"/>
                  </a:cubicBezTo>
                  <a:cubicBezTo>
                    <a:pt x="34" y="234"/>
                    <a:pt x="36" y="235"/>
                    <a:pt x="37" y="236"/>
                  </a:cubicBezTo>
                  <a:cubicBezTo>
                    <a:pt x="40" y="237"/>
                    <a:pt x="41" y="237"/>
                    <a:pt x="42" y="239"/>
                  </a:cubicBezTo>
                  <a:cubicBezTo>
                    <a:pt x="43" y="240"/>
                    <a:pt x="43" y="243"/>
                    <a:pt x="43" y="246"/>
                  </a:cubicBezTo>
                  <a:cubicBezTo>
                    <a:pt x="43" y="247"/>
                    <a:pt x="43" y="247"/>
                    <a:pt x="43" y="247"/>
                  </a:cubicBezTo>
                  <a:cubicBezTo>
                    <a:pt x="47" y="247"/>
                    <a:pt x="47" y="247"/>
                    <a:pt x="47" y="247"/>
                  </a:cubicBezTo>
                  <a:cubicBezTo>
                    <a:pt x="42" y="249"/>
                    <a:pt x="42" y="249"/>
                    <a:pt x="42" y="249"/>
                  </a:cubicBezTo>
                  <a:cubicBezTo>
                    <a:pt x="42" y="257"/>
                    <a:pt x="42" y="257"/>
                    <a:pt x="42" y="257"/>
                  </a:cubicBezTo>
                  <a:cubicBezTo>
                    <a:pt x="42" y="258"/>
                    <a:pt x="42" y="258"/>
                    <a:pt x="42" y="259"/>
                  </a:cubicBezTo>
                  <a:cubicBezTo>
                    <a:pt x="42" y="260"/>
                    <a:pt x="42" y="262"/>
                    <a:pt x="42" y="263"/>
                  </a:cubicBezTo>
                  <a:cubicBezTo>
                    <a:pt x="43" y="263"/>
                    <a:pt x="43" y="263"/>
                    <a:pt x="43" y="263"/>
                  </a:cubicBezTo>
                  <a:cubicBezTo>
                    <a:pt x="43" y="263"/>
                    <a:pt x="43" y="263"/>
                    <a:pt x="44" y="263"/>
                  </a:cubicBezTo>
                  <a:cubicBezTo>
                    <a:pt x="46" y="263"/>
                    <a:pt x="46" y="263"/>
                    <a:pt x="46" y="263"/>
                  </a:cubicBezTo>
                  <a:cubicBezTo>
                    <a:pt x="48" y="263"/>
                    <a:pt x="50" y="263"/>
                    <a:pt x="53" y="263"/>
                  </a:cubicBezTo>
                  <a:cubicBezTo>
                    <a:pt x="56" y="264"/>
                    <a:pt x="56" y="264"/>
                    <a:pt x="56" y="264"/>
                  </a:cubicBezTo>
                  <a:cubicBezTo>
                    <a:pt x="55" y="267"/>
                    <a:pt x="55" y="267"/>
                    <a:pt x="55" y="267"/>
                  </a:cubicBezTo>
                  <a:cubicBezTo>
                    <a:pt x="54" y="271"/>
                    <a:pt x="53" y="275"/>
                    <a:pt x="52" y="278"/>
                  </a:cubicBezTo>
                  <a:cubicBezTo>
                    <a:pt x="52" y="281"/>
                    <a:pt x="52" y="281"/>
                    <a:pt x="52" y="281"/>
                  </a:cubicBezTo>
                  <a:cubicBezTo>
                    <a:pt x="51" y="282"/>
                    <a:pt x="51" y="283"/>
                    <a:pt x="49" y="284"/>
                  </a:cubicBezTo>
                  <a:cubicBezTo>
                    <a:pt x="48" y="285"/>
                    <a:pt x="45" y="285"/>
                    <a:pt x="43" y="286"/>
                  </a:cubicBezTo>
                  <a:cubicBezTo>
                    <a:pt x="43" y="286"/>
                    <a:pt x="43" y="286"/>
                    <a:pt x="43" y="286"/>
                  </a:cubicBezTo>
                  <a:cubicBezTo>
                    <a:pt x="42" y="286"/>
                    <a:pt x="42" y="286"/>
                    <a:pt x="41" y="286"/>
                  </a:cubicBezTo>
                  <a:cubicBezTo>
                    <a:pt x="31" y="287"/>
                    <a:pt x="31" y="287"/>
                    <a:pt x="31" y="287"/>
                  </a:cubicBezTo>
                  <a:cubicBezTo>
                    <a:pt x="30" y="287"/>
                    <a:pt x="29" y="288"/>
                    <a:pt x="28" y="288"/>
                  </a:cubicBezTo>
                  <a:cubicBezTo>
                    <a:pt x="27" y="289"/>
                    <a:pt x="26" y="290"/>
                    <a:pt x="25" y="291"/>
                  </a:cubicBezTo>
                  <a:cubicBezTo>
                    <a:pt x="25" y="291"/>
                    <a:pt x="25" y="291"/>
                    <a:pt x="25" y="291"/>
                  </a:cubicBezTo>
                  <a:cubicBezTo>
                    <a:pt x="24" y="292"/>
                    <a:pt x="23" y="293"/>
                    <a:pt x="22" y="293"/>
                  </a:cubicBezTo>
                  <a:cubicBezTo>
                    <a:pt x="21" y="294"/>
                    <a:pt x="21" y="294"/>
                    <a:pt x="21" y="294"/>
                  </a:cubicBezTo>
                  <a:cubicBezTo>
                    <a:pt x="19" y="295"/>
                    <a:pt x="19" y="295"/>
                    <a:pt x="19" y="297"/>
                  </a:cubicBezTo>
                  <a:cubicBezTo>
                    <a:pt x="18" y="302"/>
                    <a:pt x="17" y="307"/>
                    <a:pt x="16" y="311"/>
                  </a:cubicBezTo>
                  <a:cubicBezTo>
                    <a:pt x="15" y="313"/>
                    <a:pt x="15" y="313"/>
                    <a:pt x="15" y="313"/>
                  </a:cubicBezTo>
                  <a:cubicBezTo>
                    <a:pt x="15" y="313"/>
                    <a:pt x="15" y="314"/>
                    <a:pt x="15" y="315"/>
                  </a:cubicBezTo>
                  <a:cubicBezTo>
                    <a:pt x="15" y="316"/>
                    <a:pt x="15" y="318"/>
                    <a:pt x="14" y="319"/>
                  </a:cubicBezTo>
                  <a:cubicBezTo>
                    <a:pt x="14" y="320"/>
                    <a:pt x="14" y="320"/>
                    <a:pt x="14" y="320"/>
                  </a:cubicBezTo>
                  <a:cubicBezTo>
                    <a:pt x="15" y="320"/>
                    <a:pt x="14" y="321"/>
                    <a:pt x="15" y="324"/>
                  </a:cubicBezTo>
                  <a:cubicBezTo>
                    <a:pt x="15" y="324"/>
                    <a:pt x="15" y="324"/>
                    <a:pt x="15" y="324"/>
                  </a:cubicBezTo>
                  <a:cubicBezTo>
                    <a:pt x="17" y="324"/>
                    <a:pt x="18" y="322"/>
                    <a:pt x="21" y="322"/>
                  </a:cubicBezTo>
                  <a:cubicBezTo>
                    <a:pt x="23" y="322"/>
                    <a:pt x="25" y="319"/>
                    <a:pt x="26" y="319"/>
                  </a:cubicBezTo>
                  <a:cubicBezTo>
                    <a:pt x="27" y="319"/>
                    <a:pt x="28" y="320"/>
                    <a:pt x="28" y="322"/>
                  </a:cubicBezTo>
                  <a:cubicBezTo>
                    <a:pt x="32" y="319"/>
                    <a:pt x="34" y="318"/>
                    <a:pt x="38" y="318"/>
                  </a:cubicBezTo>
                  <a:cubicBezTo>
                    <a:pt x="39" y="318"/>
                    <a:pt x="40" y="318"/>
                    <a:pt x="40" y="318"/>
                  </a:cubicBezTo>
                  <a:cubicBezTo>
                    <a:pt x="44" y="318"/>
                    <a:pt x="48" y="319"/>
                    <a:pt x="52" y="319"/>
                  </a:cubicBezTo>
                  <a:cubicBezTo>
                    <a:pt x="53" y="319"/>
                    <a:pt x="55" y="319"/>
                    <a:pt x="56" y="319"/>
                  </a:cubicBezTo>
                  <a:cubicBezTo>
                    <a:pt x="57" y="319"/>
                    <a:pt x="58" y="319"/>
                    <a:pt x="57" y="318"/>
                  </a:cubicBezTo>
                  <a:cubicBezTo>
                    <a:pt x="61" y="316"/>
                    <a:pt x="65" y="316"/>
                    <a:pt x="69" y="316"/>
                  </a:cubicBezTo>
                  <a:cubicBezTo>
                    <a:pt x="70" y="316"/>
                    <a:pt x="71" y="316"/>
                    <a:pt x="71" y="316"/>
                  </a:cubicBezTo>
                  <a:cubicBezTo>
                    <a:pt x="70" y="314"/>
                    <a:pt x="71" y="313"/>
                    <a:pt x="72" y="313"/>
                  </a:cubicBezTo>
                  <a:cubicBezTo>
                    <a:pt x="72" y="313"/>
                    <a:pt x="73" y="313"/>
                    <a:pt x="73" y="313"/>
                  </a:cubicBezTo>
                  <a:cubicBezTo>
                    <a:pt x="72" y="313"/>
                    <a:pt x="71" y="314"/>
                    <a:pt x="72" y="315"/>
                  </a:cubicBezTo>
                  <a:cubicBezTo>
                    <a:pt x="72" y="316"/>
                    <a:pt x="74" y="316"/>
                    <a:pt x="76" y="317"/>
                  </a:cubicBezTo>
                  <a:cubicBezTo>
                    <a:pt x="78" y="317"/>
                    <a:pt x="80" y="317"/>
                    <a:pt x="82" y="317"/>
                  </a:cubicBezTo>
                  <a:cubicBezTo>
                    <a:pt x="83" y="318"/>
                    <a:pt x="85" y="320"/>
                    <a:pt x="86" y="320"/>
                  </a:cubicBezTo>
                  <a:cubicBezTo>
                    <a:pt x="86" y="320"/>
                    <a:pt x="87" y="320"/>
                    <a:pt x="87" y="320"/>
                  </a:cubicBezTo>
                  <a:cubicBezTo>
                    <a:pt x="86" y="319"/>
                    <a:pt x="86" y="319"/>
                    <a:pt x="86" y="319"/>
                  </a:cubicBezTo>
                  <a:cubicBezTo>
                    <a:pt x="98" y="315"/>
                    <a:pt x="108" y="315"/>
                    <a:pt x="121" y="314"/>
                  </a:cubicBezTo>
                  <a:cubicBezTo>
                    <a:pt x="121" y="314"/>
                    <a:pt x="121" y="314"/>
                    <a:pt x="121" y="314"/>
                  </a:cubicBezTo>
                  <a:cubicBezTo>
                    <a:pt x="122" y="314"/>
                    <a:pt x="123" y="314"/>
                    <a:pt x="124" y="314"/>
                  </a:cubicBezTo>
                  <a:cubicBezTo>
                    <a:pt x="125" y="314"/>
                    <a:pt x="126" y="315"/>
                    <a:pt x="127" y="315"/>
                  </a:cubicBezTo>
                  <a:cubicBezTo>
                    <a:pt x="129" y="315"/>
                    <a:pt x="131" y="314"/>
                    <a:pt x="131" y="314"/>
                  </a:cubicBezTo>
                  <a:cubicBezTo>
                    <a:pt x="131" y="314"/>
                    <a:pt x="131" y="314"/>
                    <a:pt x="131" y="314"/>
                  </a:cubicBezTo>
                  <a:cubicBezTo>
                    <a:pt x="131" y="314"/>
                    <a:pt x="131" y="312"/>
                    <a:pt x="131" y="312"/>
                  </a:cubicBezTo>
                  <a:cubicBezTo>
                    <a:pt x="130" y="312"/>
                    <a:pt x="130" y="312"/>
                    <a:pt x="130" y="312"/>
                  </a:cubicBezTo>
                  <a:cubicBezTo>
                    <a:pt x="129" y="312"/>
                    <a:pt x="129" y="311"/>
                    <a:pt x="128" y="311"/>
                  </a:cubicBezTo>
                  <a:cubicBezTo>
                    <a:pt x="128" y="310"/>
                    <a:pt x="129" y="309"/>
                    <a:pt x="130" y="309"/>
                  </a:cubicBezTo>
                  <a:cubicBezTo>
                    <a:pt x="130" y="309"/>
                    <a:pt x="130" y="309"/>
                    <a:pt x="130" y="309"/>
                  </a:cubicBezTo>
                  <a:cubicBezTo>
                    <a:pt x="130" y="309"/>
                    <a:pt x="132" y="311"/>
                    <a:pt x="132" y="312"/>
                  </a:cubicBezTo>
                  <a:cubicBezTo>
                    <a:pt x="134" y="314"/>
                    <a:pt x="132" y="314"/>
                    <a:pt x="134" y="316"/>
                  </a:cubicBezTo>
                  <a:cubicBezTo>
                    <a:pt x="136" y="319"/>
                    <a:pt x="136" y="318"/>
                    <a:pt x="136" y="321"/>
                  </a:cubicBezTo>
                  <a:cubicBezTo>
                    <a:pt x="136" y="323"/>
                    <a:pt x="135" y="327"/>
                    <a:pt x="136" y="327"/>
                  </a:cubicBezTo>
                  <a:cubicBezTo>
                    <a:pt x="137" y="328"/>
                    <a:pt x="137" y="328"/>
                    <a:pt x="138" y="328"/>
                  </a:cubicBezTo>
                  <a:cubicBezTo>
                    <a:pt x="144" y="327"/>
                    <a:pt x="144" y="327"/>
                    <a:pt x="144" y="327"/>
                  </a:cubicBezTo>
                  <a:cubicBezTo>
                    <a:pt x="146" y="331"/>
                    <a:pt x="146" y="331"/>
                    <a:pt x="146" y="331"/>
                  </a:cubicBezTo>
                  <a:cubicBezTo>
                    <a:pt x="148" y="333"/>
                    <a:pt x="148" y="333"/>
                    <a:pt x="148" y="333"/>
                  </a:cubicBezTo>
                  <a:cubicBezTo>
                    <a:pt x="149" y="336"/>
                    <a:pt x="149" y="339"/>
                    <a:pt x="150" y="340"/>
                  </a:cubicBezTo>
                  <a:cubicBezTo>
                    <a:pt x="151" y="345"/>
                    <a:pt x="151" y="349"/>
                    <a:pt x="155" y="349"/>
                  </a:cubicBezTo>
                  <a:cubicBezTo>
                    <a:pt x="156" y="349"/>
                    <a:pt x="157" y="349"/>
                    <a:pt x="157" y="349"/>
                  </a:cubicBezTo>
                  <a:cubicBezTo>
                    <a:pt x="159" y="349"/>
                    <a:pt x="160" y="348"/>
                    <a:pt x="161" y="348"/>
                  </a:cubicBezTo>
                  <a:cubicBezTo>
                    <a:pt x="166" y="348"/>
                    <a:pt x="171" y="351"/>
                    <a:pt x="169" y="358"/>
                  </a:cubicBezTo>
                  <a:cubicBezTo>
                    <a:pt x="170" y="357"/>
                    <a:pt x="170" y="357"/>
                    <a:pt x="171" y="356"/>
                  </a:cubicBezTo>
                  <a:cubicBezTo>
                    <a:pt x="170" y="355"/>
                    <a:pt x="170" y="355"/>
                    <a:pt x="170" y="355"/>
                  </a:cubicBezTo>
                  <a:cubicBezTo>
                    <a:pt x="171" y="354"/>
                    <a:pt x="171" y="354"/>
                    <a:pt x="171" y="354"/>
                  </a:cubicBezTo>
                  <a:cubicBezTo>
                    <a:pt x="172" y="354"/>
                    <a:pt x="172" y="354"/>
                    <a:pt x="172" y="354"/>
                  </a:cubicBezTo>
                  <a:cubicBezTo>
                    <a:pt x="172" y="354"/>
                    <a:pt x="172" y="354"/>
                    <a:pt x="172" y="354"/>
                  </a:cubicBezTo>
                  <a:cubicBezTo>
                    <a:pt x="180" y="348"/>
                    <a:pt x="180" y="348"/>
                    <a:pt x="180" y="348"/>
                  </a:cubicBezTo>
                  <a:cubicBezTo>
                    <a:pt x="181" y="348"/>
                    <a:pt x="181" y="348"/>
                    <a:pt x="181" y="348"/>
                  </a:cubicBezTo>
                  <a:cubicBezTo>
                    <a:pt x="181" y="348"/>
                    <a:pt x="182" y="348"/>
                    <a:pt x="182" y="348"/>
                  </a:cubicBezTo>
                  <a:cubicBezTo>
                    <a:pt x="183" y="348"/>
                    <a:pt x="183" y="348"/>
                    <a:pt x="183" y="348"/>
                  </a:cubicBezTo>
                  <a:cubicBezTo>
                    <a:pt x="184" y="348"/>
                    <a:pt x="184" y="346"/>
                    <a:pt x="184" y="345"/>
                  </a:cubicBezTo>
                  <a:cubicBezTo>
                    <a:pt x="184" y="344"/>
                    <a:pt x="184" y="343"/>
                    <a:pt x="184" y="342"/>
                  </a:cubicBezTo>
                  <a:cubicBezTo>
                    <a:pt x="184" y="339"/>
                    <a:pt x="184" y="339"/>
                    <a:pt x="184" y="339"/>
                  </a:cubicBezTo>
                  <a:cubicBezTo>
                    <a:pt x="187" y="339"/>
                    <a:pt x="187" y="339"/>
                    <a:pt x="187" y="339"/>
                  </a:cubicBezTo>
                  <a:cubicBezTo>
                    <a:pt x="192" y="340"/>
                    <a:pt x="197" y="340"/>
                    <a:pt x="201" y="341"/>
                  </a:cubicBezTo>
                  <a:cubicBezTo>
                    <a:pt x="202" y="337"/>
                    <a:pt x="202" y="337"/>
                    <a:pt x="202" y="337"/>
                  </a:cubicBezTo>
                  <a:cubicBezTo>
                    <a:pt x="203" y="341"/>
                    <a:pt x="203" y="341"/>
                    <a:pt x="203" y="341"/>
                  </a:cubicBezTo>
                  <a:cubicBezTo>
                    <a:pt x="210" y="342"/>
                    <a:pt x="210" y="342"/>
                    <a:pt x="210" y="342"/>
                  </a:cubicBezTo>
                  <a:cubicBezTo>
                    <a:pt x="210" y="342"/>
                    <a:pt x="211" y="342"/>
                    <a:pt x="212" y="343"/>
                  </a:cubicBezTo>
                  <a:cubicBezTo>
                    <a:pt x="213" y="343"/>
                    <a:pt x="214" y="343"/>
                    <a:pt x="215" y="343"/>
                  </a:cubicBezTo>
                  <a:cubicBezTo>
                    <a:pt x="215" y="343"/>
                    <a:pt x="216" y="343"/>
                    <a:pt x="216" y="343"/>
                  </a:cubicBezTo>
                  <a:cubicBezTo>
                    <a:pt x="216" y="343"/>
                    <a:pt x="216" y="343"/>
                    <a:pt x="217" y="343"/>
                  </a:cubicBezTo>
                  <a:cubicBezTo>
                    <a:pt x="217" y="343"/>
                    <a:pt x="217" y="343"/>
                    <a:pt x="217" y="343"/>
                  </a:cubicBezTo>
                  <a:cubicBezTo>
                    <a:pt x="217" y="342"/>
                    <a:pt x="217" y="342"/>
                    <a:pt x="218" y="341"/>
                  </a:cubicBezTo>
                  <a:cubicBezTo>
                    <a:pt x="220" y="339"/>
                    <a:pt x="223" y="339"/>
                    <a:pt x="226" y="338"/>
                  </a:cubicBezTo>
                  <a:cubicBezTo>
                    <a:pt x="226" y="338"/>
                    <a:pt x="226" y="338"/>
                    <a:pt x="226" y="338"/>
                  </a:cubicBezTo>
                  <a:cubicBezTo>
                    <a:pt x="227" y="338"/>
                    <a:pt x="227" y="337"/>
                    <a:pt x="228" y="337"/>
                  </a:cubicBezTo>
                  <a:cubicBezTo>
                    <a:pt x="229" y="337"/>
                    <a:pt x="229" y="337"/>
                    <a:pt x="229" y="337"/>
                  </a:cubicBezTo>
                  <a:cubicBezTo>
                    <a:pt x="229" y="337"/>
                    <a:pt x="231" y="336"/>
                    <a:pt x="232" y="336"/>
                  </a:cubicBezTo>
                  <a:cubicBezTo>
                    <a:pt x="233" y="336"/>
                    <a:pt x="234" y="337"/>
                    <a:pt x="234" y="338"/>
                  </a:cubicBezTo>
                  <a:cubicBezTo>
                    <a:pt x="235" y="338"/>
                    <a:pt x="235" y="339"/>
                    <a:pt x="235" y="340"/>
                  </a:cubicBezTo>
                  <a:cubicBezTo>
                    <a:pt x="235" y="340"/>
                    <a:pt x="236" y="340"/>
                    <a:pt x="236" y="341"/>
                  </a:cubicBezTo>
                  <a:cubicBezTo>
                    <a:pt x="237" y="340"/>
                    <a:pt x="237" y="340"/>
                    <a:pt x="237" y="340"/>
                  </a:cubicBezTo>
                  <a:cubicBezTo>
                    <a:pt x="237" y="340"/>
                    <a:pt x="237" y="340"/>
                    <a:pt x="237" y="340"/>
                  </a:cubicBezTo>
                  <a:cubicBezTo>
                    <a:pt x="238" y="339"/>
                    <a:pt x="238" y="339"/>
                    <a:pt x="239" y="339"/>
                  </a:cubicBezTo>
                  <a:cubicBezTo>
                    <a:pt x="238" y="338"/>
                    <a:pt x="238" y="337"/>
                    <a:pt x="239" y="336"/>
                  </a:cubicBezTo>
                  <a:cubicBezTo>
                    <a:pt x="239" y="335"/>
                    <a:pt x="239" y="335"/>
                    <a:pt x="239" y="334"/>
                  </a:cubicBezTo>
                  <a:cubicBezTo>
                    <a:pt x="239" y="333"/>
                    <a:pt x="240" y="333"/>
                    <a:pt x="240" y="332"/>
                  </a:cubicBezTo>
                  <a:cubicBezTo>
                    <a:pt x="240" y="332"/>
                    <a:pt x="240" y="332"/>
                    <a:pt x="240" y="331"/>
                  </a:cubicBezTo>
                  <a:cubicBezTo>
                    <a:pt x="236" y="323"/>
                    <a:pt x="236" y="323"/>
                    <a:pt x="236" y="323"/>
                  </a:cubicBezTo>
                  <a:cubicBezTo>
                    <a:pt x="235" y="322"/>
                    <a:pt x="235" y="321"/>
                    <a:pt x="235" y="320"/>
                  </a:cubicBezTo>
                  <a:cubicBezTo>
                    <a:pt x="231" y="322"/>
                    <a:pt x="231" y="322"/>
                    <a:pt x="231" y="322"/>
                  </a:cubicBezTo>
                  <a:cubicBezTo>
                    <a:pt x="234" y="319"/>
                    <a:pt x="234" y="319"/>
                    <a:pt x="234" y="319"/>
                  </a:cubicBezTo>
                  <a:cubicBezTo>
                    <a:pt x="234" y="319"/>
                    <a:pt x="234" y="319"/>
                    <a:pt x="234" y="319"/>
                  </a:cubicBezTo>
                  <a:cubicBezTo>
                    <a:pt x="234" y="318"/>
                    <a:pt x="233" y="317"/>
                    <a:pt x="233" y="316"/>
                  </a:cubicBezTo>
                  <a:cubicBezTo>
                    <a:pt x="232" y="314"/>
                    <a:pt x="232" y="313"/>
                    <a:pt x="232" y="311"/>
                  </a:cubicBezTo>
                  <a:cubicBezTo>
                    <a:pt x="231" y="310"/>
                    <a:pt x="231" y="310"/>
                    <a:pt x="231" y="309"/>
                  </a:cubicBezTo>
                  <a:cubicBezTo>
                    <a:pt x="231" y="309"/>
                    <a:pt x="230" y="310"/>
                    <a:pt x="230" y="310"/>
                  </a:cubicBezTo>
                  <a:cubicBezTo>
                    <a:pt x="229" y="310"/>
                    <a:pt x="229" y="310"/>
                    <a:pt x="229" y="310"/>
                  </a:cubicBezTo>
                  <a:cubicBezTo>
                    <a:pt x="228" y="310"/>
                    <a:pt x="227" y="310"/>
                    <a:pt x="226" y="310"/>
                  </a:cubicBezTo>
                  <a:cubicBezTo>
                    <a:pt x="226" y="309"/>
                    <a:pt x="226" y="309"/>
                    <a:pt x="226" y="309"/>
                  </a:cubicBezTo>
                  <a:cubicBezTo>
                    <a:pt x="225" y="309"/>
                    <a:pt x="225" y="309"/>
                    <a:pt x="224" y="309"/>
                  </a:cubicBezTo>
                  <a:cubicBezTo>
                    <a:pt x="224" y="309"/>
                    <a:pt x="224" y="309"/>
                    <a:pt x="224" y="309"/>
                  </a:cubicBezTo>
                  <a:cubicBezTo>
                    <a:pt x="224" y="308"/>
                    <a:pt x="224" y="308"/>
                    <a:pt x="224" y="308"/>
                  </a:cubicBezTo>
                  <a:cubicBezTo>
                    <a:pt x="223" y="308"/>
                    <a:pt x="223" y="308"/>
                    <a:pt x="223" y="308"/>
                  </a:cubicBezTo>
                  <a:cubicBezTo>
                    <a:pt x="223" y="308"/>
                    <a:pt x="222" y="308"/>
                    <a:pt x="222" y="307"/>
                  </a:cubicBezTo>
                  <a:cubicBezTo>
                    <a:pt x="220" y="305"/>
                    <a:pt x="219" y="303"/>
                    <a:pt x="219" y="300"/>
                  </a:cubicBezTo>
                  <a:cubicBezTo>
                    <a:pt x="219" y="299"/>
                    <a:pt x="218" y="298"/>
                    <a:pt x="218" y="298"/>
                  </a:cubicBezTo>
                  <a:cubicBezTo>
                    <a:pt x="217" y="295"/>
                    <a:pt x="218" y="292"/>
                    <a:pt x="218" y="290"/>
                  </a:cubicBezTo>
                  <a:cubicBezTo>
                    <a:pt x="218" y="289"/>
                    <a:pt x="218" y="289"/>
                    <a:pt x="218" y="289"/>
                  </a:cubicBezTo>
                  <a:cubicBezTo>
                    <a:pt x="218" y="288"/>
                    <a:pt x="219" y="287"/>
                    <a:pt x="219" y="286"/>
                  </a:cubicBezTo>
                  <a:cubicBezTo>
                    <a:pt x="218" y="286"/>
                    <a:pt x="218" y="286"/>
                    <a:pt x="218" y="286"/>
                  </a:cubicBezTo>
                  <a:cubicBezTo>
                    <a:pt x="218" y="286"/>
                    <a:pt x="218" y="286"/>
                    <a:pt x="218" y="286"/>
                  </a:cubicBezTo>
                  <a:cubicBezTo>
                    <a:pt x="217" y="286"/>
                    <a:pt x="217" y="286"/>
                    <a:pt x="217" y="286"/>
                  </a:cubicBezTo>
                  <a:cubicBezTo>
                    <a:pt x="216" y="286"/>
                    <a:pt x="214" y="285"/>
                    <a:pt x="213" y="285"/>
                  </a:cubicBezTo>
                  <a:cubicBezTo>
                    <a:pt x="212" y="290"/>
                    <a:pt x="212" y="290"/>
                    <a:pt x="212" y="290"/>
                  </a:cubicBezTo>
                  <a:cubicBezTo>
                    <a:pt x="211" y="285"/>
                    <a:pt x="211" y="285"/>
                    <a:pt x="211" y="285"/>
                  </a:cubicBezTo>
                  <a:cubicBezTo>
                    <a:pt x="211" y="285"/>
                    <a:pt x="211" y="285"/>
                    <a:pt x="211" y="285"/>
                  </a:cubicBezTo>
                  <a:cubicBezTo>
                    <a:pt x="207" y="284"/>
                    <a:pt x="205" y="283"/>
                    <a:pt x="203" y="281"/>
                  </a:cubicBezTo>
                  <a:cubicBezTo>
                    <a:pt x="202" y="280"/>
                    <a:pt x="202" y="279"/>
                    <a:pt x="202" y="278"/>
                  </a:cubicBezTo>
                  <a:cubicBezTo>
                    <a:pt x="201" y="274"/>
                    <a:pt x="202" y="270"/>
                    <a:pt x="205" y="266"/>
                  </a:cubicBezTo>
                  <a:cubicBezTo>
                    <a:pt x="207" y="262"/>
                    <a:pt x="210" y="259"/>
                    <a:pt x="212" y="256"/>
                  </a:cubicBezTo>
                  <a:cubicBezTo>
                    <a:pt x="213" y="255"/>
                    <a:pt x="213" y="255"/>
                    <a:pt x="213" y="255"/>
                  </a:cubicBezTo>
                  <a:cubicBezTo>
                    <a:pt x="214" y="254"/>
                    <a:pt x="215" y="253"/>
                    <a:pt x="216" y="252"/>
                  </a:cubicBezTo>
                  <a:cubicBezTo>
                    <a:pt x="216" y="251"/>
                    <a:pt x="217" y="250"/>
                    <a:pt x="218" y="250"/>
                  </a:cubicBezTo>
                  <a:cubicBezTo>
                    <a:pt x="218" y="249"/>
                    <a:pt x="218" y="249"/>
                    <a:pt x="218" y="249"/>
                  </a:cubicBezTo>
                  <a:cubicBezTo>
                    <a:pt x="218" y="249"/>
                    <a:pt x="219" y="248"/>
                    <a:pt x="219" y="248"/>
                  </a:cubicBezTo>
                  <a:cubicBezTo>
                    <a:pt x="221" y="246"/>
                    <a:pt x="221" y="246"/>
                    <a:pt x="221" y="246"/>
                  </a:cubicBezTo>
                  <a:cubicBezTo>
                    <a:pt x="222" y="245"/>
                    <a:pt x="222" y="245"/>
                    <a:pt x="222" y="245"/>
                  </a:cubicBezTo>
                  <a:cubicBezTo>
                    <a:pt x="222" y="245"/>
                    <a:pt x="222" y="245"/>
                    <a:pt x="222" y="245"/>
                  </a:cubicBezTo>
                  <a:cubicBezTo>
                    <a:pt x="219" y="241"/>
                    <a:pt x="219" y="241"/>
                    <a:pt x="219" y="241"/>
                  </a:cubicBezTo>
                  <a:cubicBezTo>
                    <a:pt x="223" y="244"/>
                    <a:pt x="223" y="244"/>
                    <a:pt x="223" y="244"/>
                  </a:cubicBezTo>
                  <a:cubicBezTo>
                    <a:pt x="223" y="244"/>
                    <a:pt x="223" y="244"/>
                    <a:pt x="223" y="244"/>
                  </a:cubicBezTo>
                  <a:cubicBezTo>
                    <a:pt x="224" y="243"/>
                    <a:pt x="225" y="243"/>
                    <a:pt x="226" y="242"/>
                  </a:cubicBezTo>
                  <a:cubicBezTo>
                    <a:pt x="226" y="242"/>
                    <a:pt x="226" y="242"/>
                    <a:pt x="226" y="242"/>
                  </a:cubicBezTo>
                  <a:cubicBezTo>
                    <a:pt x="227" y="242"/>
                    <a:pt x="228" y="242"/>
                    <a:pt x="228" y="241"/>
                  </a:cubicBezTo>
                  <a:cubicBezTo>
                    <a:pt x="229" y="239"/>
                    <a:pt x="229" y="239"/>
                    <a:pt x="229" y="239"/>
                  </a:cubicBezTo>
                  <a:cubicBezTo>
                    <a:pt x="230" y="242"/>
                    <a:pt x="230" y="242"/>
                    <a:pt x="230" y="242"/>
                  </a:cubicBezTo>
                  <a:cubicBezTo>
                    <a:pt x="230" y="242"/>
                    <a:pt x="230" y="242"/>
                    <a:pt x="231" y="242"/>
                  </a:cubicBezTo>
                  <a:cubicBezTo>
                    <a:pt x="231" y="242"/>
                    <a:pt x="231" y="242"/>
                    <a:pt x="232" y="242"/>
                  </a:cubicBezTo>
                  <a:cubicBezTo>
                    <a:pt x="233" y="242"/>
                    <a:pt x="233" y="243"/>
                    <a:pt x="233" y="243"/>
                  </a:cubicBezTo>
                  <a:cubicBezTo>
                    <a:pt x="234" y="243"/>
                    <a:pt x="234" y="244"/>
                    <a:pt x="235" y="244"/>
                  </a:cubicBezTo>
                  <a:cubicBezTo>
                    <a:pt x="236" y="245"/>
                    <a:pt x="236" y="246"/>
                    <a:pt x="237" y="247"/>
                  </a:cubicBezTo>
                  <a:cubicBezTo>
                    <a:pt x="237" y="248"/>
                    <a:pt x="237" y="248"/>
                    <a:pt x="237" y="248"/>
                  </a:cubicBezTo>
                  <a:cubicBezTo>
                    <a:pt x="237" y="248"/>
                    <a:pt x="238" y="249"/>
                    <a:pt x="238" y="249"/>
                  </a:cubicBezTo>
                  <a:cubicBezTo>
                    <a:pt x="238" y="249"/>
                    <a:pt x="238" y="250"/>
                    <a:pt x="239" y="250"/>
                  </a:cubicBezTo>
                  <a:cubicBezTo>
                    <a:pt x="239" y="250"/>
                    <a:pt x="239" y="250"/>
                    <a:pt x="240" y="249"/>
                  </a:cubicBezTo>
                  <a:cubicBezTo>
                    <a:pt x="240" y="249"/>
                    <a:pt x="240" y="249"/>
                    <a:pt x="240" y="249"/>
                  </a:cubicBezTo>
                  <a:cubicBezTo>
                    <a:pt x="242" y="248"/>
                    <a:pt x="244" y="248"/>
                    <a:pt x="247" y="247"/>
                  </a:cubicBezTo>
                  <a:cubicBezTo>
                    <a:pt x="247" y="247"/>
                    <a:pt x="247" y="247"/>
                    <a:pt x="247" y="247"/>
                  </a:cubicBezTo>
                  <a:cubicBezTo>
                    <a:pt x="247" y="242"/>
                    <a:pt x="247" y="242"/>
                    <a:pt x="247" y="242"/>
                  </a:cubicBezTo>
                  <a:cubicBezTo>
                    <a:pt x="249" y="247"/>
                    <a:pt x="249" y="247"/>
                    <a:pt x="249" y="247"/>
                  </a:cubicBezTo>
                  <a:cubicBezTo>
                    <a:pt x="250" y="246"/>
                    <a:pt x="250" y="246"/>
                    <a:pt x="250" y="246"/>
                  </a:cubicBezTo>
                  <a:cubicBezTo>
                    <a:pt x="250" y="246"/>
                    <a:pt x="251" y="246"/>
                    <a:pt x="252" y="246"/>
                  </a:cubicBezTo>
                  <a:cubicBezTo>
                    <a:pt x="252" y="246"/>
                    <a:pt x="252" y="246"/>
                    <a:pt x="252" y="246"/>
                  </a:cubicBezTo>
                  <a:cubicBezTo>
                    <a:pt x="254" y="246"/>
                    <a:pt x="256" y="246"/>
                    <a:pt x="258" y="245"/>
                  </a:cubicBezTo>
                  <a:cubicBezTo>
                    <a:pt x="259" y="245"/>
                    <a:pt x="259" y="245"/>
                    <a:pt x="259" y="245"/>
                  </a:cubicBezTo>
                  <a:cubicBezTo>
                    <a:pt x="273" y="225"/>
                    <a:pt x="273" y="225"/>
                    <a:pt x="273" y="225"/>
                  </a:cubicBezTo>
                  <a:cubicBezTo>
                    <a:pt x="273" y="225"/>
                    <a:pt x="274" y="225"/>
                    <a:pt x="274" y="225"/>
                  </a:cubicBezTo>
                  <a:cubicBezTo>
                    <a:pt x="276" y="222"/>
                    <a:pt x="277" y="221"/>
                    <a:pt x="280" y="219"/>
                  </a:cubicBezTo>
                  <a:cubicBezTo>
                    <a:pt x="281" y="219"/>
                    <a:pt x="282" y="218"/>
                    <a:pt x="283" y="218"/>
                  </a:cubicBezTo>
                  <a:cubicBezTo>
                    <a:pt x="287" y="216"/>
                    <a:pt x="287" y="215"/>
                    <a:pt x="290" y="212"/>
                  </a:cubicBezTo>
                  <a:cubicBezTo>
                    <a:pt x="290" y="211"/>
                    <a:pt x="291" y="210"/>
                    <a:pt x="292" y="209"/>
                  </a:cubicBezTo>
                  <a:cubicBezTo>
                    <a:pt x="292" y="208"/>
                    <a:pt x="292" y="208"/>
                    <a:pt x="292" y="208"/>
                  </a:cubicBezTo>
                  <a:cubicBezTo>
                    <a:pt x="293" y="206"/>
                    <a:pt x="294" y="205"/>
                    <a:pt x="294" y="204"/>
                  </a:cubicBezTo>
                  <a:cubicBezTo>
                    <a:pt x="295" y="203"/>
                    <a:pt x="295" y="202"/>
                    <a:pt x="295" y="202"/>
                  </a:cubicBezTo>
                  <a:cubicBezTo>
                    <a:pt x="295" y="201"/>
                    <a:pt x="295" y="201"/>
                    <a:pt x="295" y="201"/>
                  </a:cubicBezTo>
                  <a:cubicBezTo>
                    <a:pt x="295" y="201"/>
                    <a:pt x="295" y="200"/>
                    <a:pt x="296" y="199"/>
                  </a:cubicBezTo>
                  <a:cubicBezTo>
                    <a:pt x="296" y="197"/>
                    <a:pt x="297" y="194"/>
                    <a:pt x="299" y="192"/>
                  </a:cubicBezTo>
                  <a:cubicBezTo>
                    <a:pt x="299" y="191"/>
                    <a:pt x="301" y="190"/>
                    <a:pt x="302" y="189"/>
                  </a:cubicBezTo>
                  <a:cubicBezTo>
                    <a:pt x="304" y="188"/>
                    <a:pt x="306" y="187"/>
                    <a:pt x="308" y="186"/>
                  </a:cubicBezTo>
                  <a:cubicBezTo>
                    <a:pt x="309" y="186"/>
                    <a:pt x="310" y="186"/>
                    <a:pt x="311" y="185"/>
                  </a:cubicBezTo>
                  <a:cubicBezTo>
                    <a:pt x="310" y="185"/>
                    <a:pt x="310" y="185"/>
                    <a:pt x="310" y="185"/>
                  </a:cubicBezTo>
                  <a:cubicBezTo>
                    <a:pt x="309" y="182"/>
                    <a:pt x="310" y="180"/>
                    <a:pt x="310" y="179"/>
                  </a:cubicBezTo>
                  <a:cubicBezTo>
                    <a:pt x="311" y="179"/>
                    <a:pt x="311" y="179"/>
                    <a:pt x="311" y="179"/>
                  </a:cubicBezTo>
                  <a:cubicBezTo>
                    <a:pt x="311" y="178"/>
                    <a:pt x="312" y="177"/>
                    <a:pt x="312" y="177"/>
                  </a:cubicBezTo>
                  <a:cubicBezTo>
                    <a:pt x="314" y="175"/>
                    <a:pt x="315" y="174"/>
                    <a:pt x="316" y="172"/>
                  </a:cubicBezTo>
                  <a:cubicBezTo>
                    <a:pt x="317" y="171"/>
                    <a:pt x="318" y="171"/>
                    <a:pt x="320" y="169"/>
                  </a:cubicBezTo>
                  <a:cubicBezTo>
                    <a:pt x="321" y="168"/>
                    <a:pt x="321" y="168"/>
                    <a:pt x="321" y="168"/>
                  </a:cubicBezTo>
                  <a:cubicBezTo>
                    <a:pt x="323" y="167"/>
                    <a:pt x="325" y="166"/>
                    <a:pt x="326" y="165"/>
                  </a:cubicBezTo>
                  <a:cubicBezTo>
                    <a:pt x="327" y="164"/>
                    <a:pt x="328" y="163"/>
                    <a:pt x="328" y="163"/>
                  </a:cubicBezTo>
                  <a:cubicBezTo>
                    <a:pt x="328" y="162"/>
                    <a:pt x="328" y="161"/>
                    <a:pt x="328" y="160"/>
                  </a:cubicBezTo>
                  <a:cubicBezTo>
                    <a:pt x="327" y="155"/>
                    <a:pt x="327" y="155"/>
                    <a:pt x="327" y="155"/>
                  </a:cubicBezTo>
                  <a:cubicBezTo>
                    <a:pt x="326" y="153"/>
                    <a:pt x="326" y="152"/>
                    <a:pt x="326" y="151"/>
                  </a:cubicBezTo>
                  <a:cubicBezTo>
                    <a:pt x="326" y="148"/>
                    <a:pt x="326" y="148"/>
                    <a:pt x="326" y="148"/>
                  </a:cubicBezTo>
                  <a:cubicBezTo>
                    <a:pt x="322" y="148"/>
                    <a:pt x="322" y="148"/>
                    <a:pt x="322" y="148"/>
                  </a:cubicBezTo>
                  <a:cubicBezTo>
                    <a:pt x="325" y="146"/>
                    <a:pt x="325" y="146"/>
                    <a:pt x="325" y="146"/>
                  </a:cubicBezTo>
                  <a:cubicBezTo>
                    <a:pt x="325" y="145"/>
                    <a:pt x="325" y="145"/>
                    <a:pt x="325" y="145"/>
                  </a:cubicBezTo>
                  <a:cubicBezTo>
                    <a:pt x="325" y="145"/>
                    <a:pt x="325" y="144"/>
                    <a:pt x="326" y="143"/>
                  </a:cubicBezTo>
                  <a:cubicBezTo>
                    <a:pt x="326" y="141"/>
                    <a:pt x="328" y="139"/>
                    <a:pt x="330" y="138"/>
                  </a:cubicBezTo>
                  <a:cubicBezTo>
                    <a:pt x="331" y="137"/>
                    <a:pt x="332" y="136"/>
                    <a:pt x="333" y="136"/>
                  </a:cubicBezTo>
                  <a:cubicBezTo>
                    <a:pt x="333" y="136"/>
                    <a:pt x="333" y="136"/>
                    <a:pt x="333" y="136"/>
                  </a:cubicBezTo>
                  <a:cubicBezTo>
                    <a:pt x="334" y="136"/>
                    <a:pt x="334" y="136"/>
                    <a:pt x="334" y="136"/>
                  </a:cubicBezTo>
                  <a:cubicBezTo>
                    <a:pt x="334" y="136"/>
                    <a:pt x="335" y="136"/>
                    <a:pt x="335" y="135"/>
                  </a:cubicBezTo>
                  <a:cubicBezTo>
                    <a:pt x="336" y="135"/>
                    <a:pt x="337" y="135"/>
                    <a:pt x="338" y="134"/>
                  </a:cubicBezTo>
                  <a:cubicBezTo>
                    <a:pt x="339" y="134"/>
                    <a:pt x="339" y="134"/>
                    <a:pt x="340" y="134"/>
                  </a:cubicBezTo>
                  <a:cubicBezTo>
                    <a:pt x="342" y="133"/>
                    <a:pt x="342" y="133"/>
                    <a:pt x="342" y="133"/>
                  </a:cubicBezTo>
                  <a:cubicBezTo>
                    <a:pt x="343" y="133"/>
                    <a:pt x="345" y="132"/>
                    <a:pt x="345" y="131"/>
                  </a:cubicBezTo>
                  <a:cubicBezTo>
                    <a:pt x="345" y="130"/>
                    <a:pt x="345" y="130"/>
                    <a:pt x="345" y="130"/>
                  </a:cubicBezTo>
                  <a:cubicBezTo>
                    <a:pt x="344" y="129"/>
                    <a:pt x="344" y="129"/>
                    <a:pt x="344" y="129"/>
                  </a:cubicBezTo>
                  <a:cubicBezTo>
                    <a:pt x="344" y="129"/>
                    <a:pt x="344" y="129"/>
                    <a:pt x="344" y="129"/>
                  </a:cubicBezTo>
                  <a:cubicBezTo>
                    <a:pt x="344" y="129"/>
                    <a:pt x="343" y="129"/>
                    <a:pt x="343" y="129"/>
                  </a:cubicBezTo>
                  <a:cubicBezTo>
                    <a:pt x="342" y="129"/>
                    <a:pt x="341" y="129"/>
                    <a:pt x="340" y="128"/>
                  </a:cubicBezTo>
                  <a:cubicBezTo>
                    <a:pt x="339" y="128"/>
                    <a:pt x="339" y="128"/>
                    <a:pt x="339" y="128"/>
                  </a:cubicBezTo>
                  <a:cubicBezTo>
                    <a:pt x="339" y="128"/>
                    <a:pt x="338" y="128"/>
                    <a:pt x="338" y="128"/>
                  </a:cubicBezTo>
                  <a:cubicBezTo>
                    <a:pt x="334" y="128"/>
                    <a:pt x="332" y="127"/>
                    <a:pt x="331" y="125"/>
                  </a:cubicBezTo>
                  <a:cubicBezTo>
                    <a:pt x="331" y="125"/>
                    <a:pt x="331" y="125"/>
                    <a:pt x="330" y="124"/>
                  </a:cubicBezTo>
                  <a:cubicBezTo>
                    <a:pt x="330" y="123"/>
                    <a:pt x="329" y="121"/>
                    <a:pt x="329" y="119"/>
                  </a:cubicBezTo>
                  <a:cubicBezTo>
                    <a:pt x="329" y="120"/>
                    <a:pt x="328" y="120"/>
                    <a:pt x="327" y="120"/>
                  </a:cubicBezTo>
                  <a:cubicBezTo>
                    <a:pt x="325" y="120"/>
                    <a:pt x="323" y="119"/>
                    <a:pt x="321" y="117"/>
                  </a:cubicBezTo>
                  <a:cubicBezTo>
                    <a:pt x="321" y="116"/>
                    <a:pt x="321" y="116"/>
                    <a:pt x="321" y="116"/>
                  </a:cubicBezTo>
                  <a:cubicBezTo>
                    <a:pt x="320" y="115"/>
                    <a:pt x="319" y="114"/>
                    <a:pt x="319" y="114"/>
                  </a:cubicBezTo>
                  <a:cubicBezTo>
                    <a:pt x="318" y="112"/>
                    <a:pt x="318" y="112"/>
                    <a:pt x="318" y="112"/>
                  </a:cubicBezTo>
                  <a:cubicBezTo>
                    <a:pt x="317" y="111"/>
                    <a:pt x="315" y="109"/>
                    <a:pt x="314" y="107"/>
                  </a:cubicBezTo>
                  <a:cubicBezTo>
                    <a:pt x="308" y="108"/>
                    <a:pt x="308" y="108"/>
                    <a:pt x="308" y="108"/>
                  </a:cubicBezTo>
                  <a:cubicBezTo>
                    <a:pt x="314" y="106"/>
                    <a:pt x="314" y="106"/>
                    <a:pt x="314" y="106"/>
                  </a:cubicBezTo>
                  <a:cubicBezTo>
                    <a:pt x="314" y="105"/>
                    <a:pt x="314" y="105"/>
                    <a:pt x="314" y="105"/>
                  </a:cubicBezTo>
                  <a:cubicBezTo>
                    <a:pt x="314" y="104"/>
                    <a:pt x="314" y="103"/>
                    <a:pt x="314" y="102"/>
                  </a:cubicBezTo>
                  <a:cubicBezTo>
                    <a:pt x="315" y="102"/>
                    <a:pt x="315" y="101"/>
                    <a:pt x="316" y="100"/>
                  </a:cubicBezTo>
                  <a:cubicBezTo>
                    <a:pt x="317" y="97"/>
                    <a:pt x="317" y="97"/>
                    <a:pt x="316" y="96"/>
                  </a:cubicBezTo>
                  <a:cubicBezTo>
                    <a:pt x="316" y="95"/>
                    <a:pt x="316" y="95"/>
                    <a:pt x="316" y="95"/>
                  </a:cubicBezTo>
                  <a:cubicBezTo>
                    <a:pt x="315" y="94"/>
                    <a:pt x="315" y="93"/>
                    <a:pt x="314" y="93"/>
                  </a:cubicBezTo>
                  <a:cubicBezTo>
                    <a:pt x="314" y="92"/>
                    <a:pt x="313" y="91"/>
                    <a:pt x="313" y="90"/>
                  </a:cubicBezTo>
                  <a:cubicBezTo>
                    <a:pt x="313" y="90"/>
                    <a:pt x="313" y="90"/>
                    <a:pt x="313" y="90"/>
                  </a:cubicBezTo>
                  <a:cubicBezTo>
                    <a:pt x="313" y="90"/>
                    <a:pt x="313" y="90"/>
                    <a:pt x="313" y="90"/>
                  </a:cubicBezTo>
                  <a:cubicBezTo>
                    <a:pt x="313" y="89"/>
                    <a:pt x="313" y="88"/>
                    <a:pt x="313" y="88"/>
                  </a:cubicBezTo>
                  <a:cubicBezTo>
                    <a:pt x="314" y="87"/>
                    <a:pt x="314" y="87"/>
                    <a:pt x="314" y="87"/>
                  </a:cubicBezTo>
                  <a:cubicBezTo>
                    <a:pt x="314" y="87"/>
                    <a:pt x="315" y="86"/>
                    <a:pt x="317" y="85"/>
                  </a:cubicBezTo>
                  <a:cubicBezTo>
                    <a:pt x="316" y="84"/>
                    <a:pt x="316" y="84"/>
                    <a:pt x="316" y="84"/>
                  </a:cubicBezTo>
                  <a:cubicBezTo>
                    <a:pt x="315" y="84"/>
                    <a:pt x="315" y="84"/>
                    <a:pt x="315" y="84"/>
                  </a:cubicBezTo>
                  <a:cubicBezTo>
                    <a:pt x="314" y="84"/>
                    <a:pt x="314" y="84"/>
                    <a:pt x="313" y="84"/>
                  </a:cubicBezTo>
                  <a:cubicBezTo>
                    <a:pt x="310" y="83"/>
                    <a:pt x="310" y="83"/>
                    <a:pt x="310" y="83"/>
                  </a:cubicBezTo>
                  <a:cubicBezTo>
                    <a:pt x="311" y="80"/>
                    <a:pt x="311" y="80"/>
                    <a:pt x="311" y="80"/>
                  </a:cubicBezTo>
                  <a:cubicBezTo>
                    <a:pt x="311" y="80"/>
                    <a:pt x="311" y="79"/>
                    <a:pt x="311" y="79"/>
                  </a:cubicBezTo>
                  <a:cubicBezTo>
                    <a:pt x="311" y="78"/>
                    <a:pt x="311" y="78"/>
                    <a:pt x="311" y="78"/>
                  </a:cubicBezTo>
                  <a:cubicBezTo>
                    <a:pt x="312" y="78"/>
                    <a:pt x="312" y="77"/>
                    <a:pt x="312" y="77"/>
                  </a:cubicBezTo>
                  <a:cubicBezTo>
                    <a:pt x="311" y="77"/>
                    <a:pt x="311" y="77"/>
                    <a:pt x="310" y="76"/>
                  </a:cubicBezTo>
                  <a:cubicBezTo>
                    <a:pt x="310" y="76"/>
                    <a:pt x="310" y="76"/>
                    <a:pt x="310" y="76"/>
                  </a:cubicBezTo>
                  <a:cubicBezTo>
                    <a:pt x="309" y="75"/>
                    <a:pt x="308" y="74"/>
                    <a:pt x="308" y="72"/>
                  </a:cubicBezTo>
                  <a:cubicBezTo>
                    <a:pt x="308" y="71"/>
                    <a:pt x="308" y="70"/>
                    <a:pt x="309" y="69"/>
                  </a:cubicBezTo>
                  <a:cubicBezTo>
                    <a:pt x="309" y="67"/>
                    <a:pt x="311" y="65"/>
                    <a:pt x="311" y="64"/>
                  </a:cubicBezTo>
                  <a:cubicBezTo>
                    <a:pt x="311" y="64"/>
                    <a:pt x="311" y="63"/>
                    <a:pt x="312" y="63"/>
                  </a:cubicBezTo>
                  <a:cubicBezTo>
                    <a:pt x="313" y="62"/>
                    <a:pt x="315" y="61"/>
                    <a:pt x="316" y="61"/>
                  </a:cubicBezTo>
                  <a:cubicBezTo>
                    <a:pt x="319" y="60"/>
                    <a:pt x="322" y="60"/>
                    <a:pt x="326" y="60"/>
                  </a:cubicBezTo>
                  <a:cubicBezTo>
                    <a:pt x="327" y="60"/>
                    <a:pt x="327" y="60"/>
                    <a:pt x="327" y="60"/>
                  </a:cubicBezTo>
                  <a:cubicBezTo>
                    <a:pt x="328" y="60"/>
                    <a:pt x="329" y="60"/>
                    <a:pt x="330" y="60"/>
                  </a:cubicBezTo>
                  <a:cubicBezTo>
                    <a:pt x="330" y="59"/>
                    <a:pt x="331" y="59"/>
                    <a:pt x="332" y="59"/>
                  </a:cubicBezTo>
                  <a:cubicBezTo>
                    <a:pt x="334" y="59"/>
                    <a:pt x="337" y="60"/>
                    <a:pt x="339" y="60"/>
                  </a:cubicBezTo>
                  <a:cubicBezTo>
                    <a:pt x="340" y="61"/>
                    <a:pt x="340" y="61"/>
                    <a:pt x="340" y="61"/>
                  </a:cubicBezTo>
                  <a:cubicBezTo>
                    <a:pt x="341" y="61"/>
                    <a:pt x="341" y="61"/>
                    <a:pt x="342" y="61"/>
                  </a:cubicBezTo>
                  <a:cubicBezTo>
                    <a:pt x="346" y="61"/>
                    <a:pt x="346" y="61"/>
                    <a:pt x="346" y="61"/>
                  </a:cubicBezTo>
                  <a:cubicBezTo>
                    <a:pt x="348" y="62"/>
                    <a:pt x="349" y="63"/>
                    <a:pt x="351" y="63"/>
                  </a:cubicBezTo>
                  <a:cubicBezTo>
                    <a:pt x="351" y="63"/>
                    <a:pt x="351" y="64"/>
                    <a:pt x="352" y="64"/>
                  </a:cubicBezTo>
                  <a:cubicBezTo>
                    <a:pt x="352" y="64"/>
                    <a:pt x="353" y="64"/>
                    <a:pt x="354" y="65"/>
                  </a:cubicBezTo>
                  <a:cubicBezTo>
                    <a:pt x="355" y="65"/>
                    <a:pt x="355" y="65"/>
                    <a:pt x="355" y="65"/>
                  </a:cubicBezTo>
                  <a:cubicBezTo>
                    <a:pt x="356" y="65"/>
                    <a:pt x="357" y="65"/>
                    <a:pt x="358" y="65"/>
                  </a:cubicBezTo>
                  <a:cubicBezTo>
                    <a:pt x="360" y="65"/>
                    <a:pt x="362" y="64"/>
                    <a:pt x="366" y="63"/>
                  </a:cubicBezTo>
                  <a:cubicBezTo>
                    <a:pt x="367" y="62"/>
                    <a:pt x="367" y="62"/>
                    <a:pt x="368" y="62"/>
                  </a:cubicBezTo>
                  <a:cubicBezTo>
                    <a:pt x="369" y="61"/>
                    <a:pt x="369" y="61"/>
                    <a:pt x="370" y="61"/>
                  </a:cubicBezTo>
                  <a:cubicBezTo>
                    <a:pt x="371" y="60"/>
                    <a:pt x="372" y="60"/>
                    <a:pt x="373" y="60"/>
                  </a:cubicBezTo>
                  <a:cubicBezTo>
                    <a:pt x="374" y="60"/>
                    <a:pt x="375" y="60"/>
                    <a:pt x="376" y="59"/>
                  </a:cubicBezTo>
                  <a:cubicBezTo>
                    <a:pt x="376" y="59"/>
                    <a:pt x="376" y="59"/>
                    <a:pt x="376" y="59"/>
                  </a:cubicBezTo>
                  <a:cubicBezTo>
                    <a:pt x="377" y="59"/>
                    <a:pt x="377" y="59"/>
                    <a:pt x="378" y="59"/>
                  </a:cubicBezTo>
                  <a:cubicBezTo>
                    <a:pt x="379" y="59"/>
                    <a:pt x="379" y="59"/>
                    <a:pt x="379" y="59"/>
                  </a:cubicBezTo>
                  <a:cubicBezTo>
                    <a:pt x="380" y="59"/>
                    <a:pt x="381" y="58"/>
                    <a:pt x="383" y="56"/>
                  </a:cubicBezTo>
                  <a:cubicBezTo>
                    <a:pt x="384" y="55"/>
                    <a:pt x="384" y="55"/>
                    <a:pt x="384" y="55"/>
                  </a:cubicBezTo>
                  <a:cubicBezTo>
                    <a:pt x="385" y="53"/>
                    <a:pt x="387" y="51"/>
                    <a:pt x="389" y="49"/>
                  </a:cubicBezTo>
                  <a:cubicBezTo>
                    <a:pt x="394" y="46"/>
                    <a:pt x="394" y="46"/>
                    <a:pt x="394" y="46"/>
                  </a:cubicBezTo>
                  <a:cubicBezTo>
                    <a:pt x="395" y="46"/>
                    <a:pt x="396" y="45"/>
                    <a:pt x="397" y="45"/>
                  </a:cubicBezTo>
                  <a:cubicBezTo>
                    <a:pt x="389" y="45"/>
                    <a:pt x="389" y="45"/>
                    <a:pt x="389" y="45"/>
                  </a:cubicBezTo>
                  <a:cubicBezTo>
                    <a:pt x="396" y="43"/>
                    <a:pt x="396" y="43"/>
                    <a:pt x="396" y="43"/>
                  </a:cubicBezTo>
                  <a:cubicBezTo>
                    <a:pt x="391" y="42"/>
                    <a:pt x="387" y="41"/>
                    <a:pt x="383" y="39"/>
                  </a:cubicBezTo>
                  <a:cubicBezTo>
                    <a:pt x="381" y="38"/>
                    <a:pt x="379" y="37"/>
                    <a:pt x="378" y="36"/>
                  </a:cubicBezTo>
                  <a:cubicBezTo>
                    <a:pt x="378" y="35"/>
                    <a:pt x="377" y="35"/>
                    <a:pt x="377" y="34"/>
                  </a:cubicBezTo>
                  <a:cubicBezTo>
                    <a:pt x="375" y="34"/>
                    <a:pt x="373" y="34"/>
                    <a:pt x="372" y="34"/>
                  </a:cubicBezTo>
                  <a:cubicBezTo>
                    <a:pt x="372" y="35"/>
                    <a:pt x="372" y="35"/>
                    <a:pt x="372" y="35"/>
                  </a:cubicBezTo>
                  <a:cubicBezTo>
                    <a:pt x="371" y="34"/>
                    <a:pt x="371" y="34"/>
                    <a:pt x="371" y="34"/>
                  </a:cubicBezTo>
                  <a:cubicBezTo>
                    <a:pt x="369" y="34"/>
                    <a:pt x="368" y="34"/>
                    <a:pt x="367" y="33"/>
                  </a:cubicBezTo>
                  <a:cubicBezTo>
                    <a:pt x="366" y="33"/>
                    <a:pt x="366" y="32"/>
                    <a:pt x="366" y="32"/>
                  </a:cubicBezTo>
                  <a:cubicBezTo>
                    <a:pt x="365" y="31"/>
                    <a:pt x="365" y="31"/>
                    <a:pt x="365" y="31"/>
                  </a:cubicBezTo>
                  <a:cubicBezTo>
                    <a:pt x="365" y="31"/>
                    <a:pt x="365" y="31"/>
                    <a:pt x="365" y="31"/>
                  </a:cubicBezTo>
                  <a:cubicBezTo>
                    <a:pt x="365" y="30"/>
                    <a:pt x="364" y="30"/>
                    <a:pt x="364" y="29"/>
                  </a:cubicBezTo>
                  <a:cubicBezTo>
                    <a:pt x="361" y="27"/>
                    <a:pt x="361" y="27"/>
                    <a:pt x="361" y="27"/>
                  </a:cubicBezTo>
                  <a:cubicBezTo>
                    <a:pt x="359" y="25"/>
                    <a:pt x="361" y="22"/>
                    <a:pt x="362" y="20"/>
                  </a:cubicBezTo>
                  <a:cubicBezTo>
                    <a:pt x="362" y="20"/>
                    <a:pt x="363" y="19"/>
                    <a:pt x="363" y="19"/>
                  </a:cubicBezTo>
                  <a:cubicBezTo>
                    <a:pt x="363" y="18"/>
                    <a:pt x="363" y="17"/>
                    <a:pt x="362" y="16"/>
                  </a:cubicBezTo>
                  <a:cubicBezTo>
                    <a:pt x="362" y="15"/>
                    <a:pt x="362" y="15"/>
                    <a:pt x="361" y="14"/>
                  </a:cubicBezTo>
                  <a:cubicBezTo>
                    <a:pt x="360" y="11"/>
                    <a:pt x="358" y="10"/>
                    <a:pt x="357" y="9"/>
                  </a:cubicBezTo>
                  <a:cubicBezTo>
                    <a:pt x="356" y="8"/>
                    <a:pt x="355" y="8"/>
                    <a:pt x="355" y="8"/>
                  </a:cubicBezTo>
                  <a:cubicBezTo>
                    <a:pt x="353" y="7"/>
                    <a:pt x="352" y="6"/>
                    <a:pt x="351" y="5"/>
                  </a:cubicBezTo>
                  <a:cubicBezTo>
                    <a:pt x="349" y="4"/>
                    <a:pt x="348" y="3"/>
                    <a:pt x="347" y="3"/>
                  </a:cubicBezTo>
                  <a:cubicBezTo>
                    <a:pt x="345" y="2"/>
                    <a:pt x="343" y="2"/>
                    <a:pt x="341" y="2"/>
                  </a:cubicBezTo>
                  <a:cubicBezTo>
                    <a:pt x="340" y="2"/>
                    <a:pt x="340" y="2"/>
                    <a:pt x="340" y="2"/>
                  </a:cubicBezTo>
                  <a:cubicBezTo>
                    <a:pt x="340" y="2"/>
                    <a:pt x="339" y="2"/>
                    <a:pt x="338" y="2"/>
                  </a:cubicBezTo>
                  <a:cubicBezTo>
                    <a:pt x="338" y="2"/>
                    <a:pt x="338" y="2"/>
                    <a:pt x="337" y="2"/>
                  </a:cubicBezTo>
                  <a:cubicBezTo>
                    <a:pt x="336" y="2"/>
                    <a:pt x="334" y="1"/>
                    <a:pt x="333" y="1"/>
                  </a:cubicBezTo>
                  <a:cubicBezTo>
                    <a:pt x="333" y="0"/>
                    <a:pt x="333" y="0"/>
                    <a:pt x="333" y="0"/>
                  </a:cubicBezTo>
                  <a:cubicBezTo>
                    <a:pt x="333" y="0"/>
                    <a:pt x="333" y="0"/>
                    <a:pt x="333" y="0"/>
                  </a:cubicBezTo>
                  <a:cubicBezTo>
                    <a:pt x="332" y="0"/>
                    <a:pt x="332" y="0"/>
                    <a:pt x="3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504"/>
            <p:cNvSpPr/>
            <p:nvPr/>
          </p:nvSpPr>
          <p:spPr bwMode="auto">
            <a:xfrm>
              <a:off x="3317766" y="2786986"/>
              <a:ext cx="136999" cy="38951"/>
            </a:xfrm>
            <a:custGeom>
              <a:gdLst>
                <a:gd name="T0" fmla="*/ 17 w 43"/>
                <a:gd name="T1" fmla="*/ 0 h 12"/>
                <a:gd name="T2" fmla="*/ 15 w 43"/>
                <a:gd name="T3" fmla="*/ 1 h 12"/>
                <a:gd name="T4" fmla="*/ 13 w 43"/>
                <a:gd name="T5" fmla="*/ 2 h 12"/>
                <a:gd name="T6" fmla="*/ 2 w 43"/>
                <a:gd name="T7" fmla="*/ 11 h 12"/>
                <a:gd name="T8" fmla="*/ 0 w 43"/>
                <a:gd name="T9" fmla="*/ 12 h 12"/>
                <a:gd name="T10" fmla="*/ 1 w 43"/>
                <a:gd name="T11" fmla="*/ 12 h 12"/>
                <a:gd name="T12" fmla="*/ 6 w 43"/>
                <a:gd name="T13" fmla="*/ 12 h 12"/>
                <a:gd name="T14" fmla="*/ 17 w 43"/>
                <a:gd name="T15" fmla="*/ 11 h 12"/>
                <a:gd name="T16" fmla="*/ 18 w 43"/>
                <a:gd name="T17" fmla="*/ 11 h 12"/>
                <a:gd name="T18" fmla="*/ 23 w 43"/>
                <a:gd name="T19" fmla="*/ 10 h 12"/>
                <a:gd name="T20" fmla="*/ 24 w 43"/>
                <a:gd name="T21" fmla="*/ 10 h 12"/>
                <a:gd name="T22" fmla="*/ 26 w 43"/>
                <a:gd name="T23" fmla="*/ 11 h 12"/>
                <a:gd name="T24" fmla="*/ 27 w 43"/>
                <a:gd name="T25" fmla="*/ 11 h 12"/>
                <a:gd name="T26" fmla="*/ 28 w 43"/>
                <a:gd name="T27" fmla="*/ 11 h 12"/>
                <a:gd name="T28" fmla="*/ 29 w 43"/>
                <a:gd name="T29" fmla="*/ 12 h 12"/>
                <a:gd name="T30" fmla="*/ 33 w 43"/>
                <a:gd name="T31" fmla="*/ 12 h 12"/>
                <a:gd name="T32" fmla="*/ 33 w 43"/>
                <a:gd name="T33" fmla="*/ 12 h 12"/>
                <a:gd name="T34" fmla="*/ 34 w 43"/>
                <a:gd name="T35" fmla="*/ 12 h 12"/>
                <a:gd name="T36" fmla="*/ 40 w 43"/>
                <a:gd name="T37" fmla="*/ 9 h 12"/>
                <a:gd name="T38" fmla="*/ 38 w 43"/>
                <a:gd name="T39" fmla="*/ 6 h 12"/>
                <a:gd name="T40" fmla="*/ 40 w 43"/>
                <a:gd name="T41" fmla="*/ 3 h 12"/>
                <a:gd name="T42" fmla="*/ 42 w 43"/>
                <a:gd name="T43" fmla="*/ 2 h 12"/>
                <a:gd name="T44" fmla="*/ 43 w 43"/>
                <a:gd name="T45" fmla="*/ 2 h 12"/>
                <a:gd name="T46" fmla="*/ 41 w 43"/>
                <a:gd name="T47" fmla="*/ 2 h 12"/>
                <a:gd name="T48" fmla="*/ 40 w 43"/>
                <a:gd name="T49" fmla="*/ 2 h 12"/>
                <a:gd name="T50" fmla="*/ 40 w 43"/>
                <a:gd name="T51" fmla="*/ 2 h 12"/>
                <a:gd name="T52" fmla="*/ 38 w 43"/>
                <a:gd name="T53" fmla="*/ 3 h 12"/>
                <a:gd name="T54" fmla="*/ 37 w 43"/>
                <a:gd name="T55" fmla="*/ 4 h 12"/>
                <a:gd name="T56" fmla="*/ 36 w 43"/>
                <a:gd name="T57" fmla="*/ 4 h 12"/>
                <a:gd name="T58" fmla="*/ 36 w 43"/>
                <a:gd name="T59" fmla="*/ 4 h 12"/>
                <a:gd name="T60" fmla="*/ 30 w 43"/>
                <a:gd name="T61" fmla="*/ 6 h 12"/>
                <a:gd name="T62" fmla="*/ 28 w 43"/>
                <a:gd name="T63" fmla="*/ 6 h 12"/>
                <a:gd name="T64" fmla="*/ 24 w 43"/>
                <a:gd name="T65" fmla="*/ 7 h 12"/>
                <a:gd name="T66" fmla="*/ 23 w 43"/>
                <a:gd name="T67" fmla="*/ 7 h 12"/>
                <a:gd name="T68" fmla="*/ 22 w 43"/>
                <a:gd name="T69" fmla="*/ 6 h 12"/>
                <a:gd name="T70" fmla="*/ 21 w 43"/>
                <a:gd name="T71" fmla="*/ 6 h 12"/>
                <a:gd name="T72" fmla="*/ 20 w 43"/>
                <a:gd name="T73" fmla="*/ 2 h 12"/>
                <a:gd name="T74" fmla="*/ 20 w 43"/>
                <a:gd name="T75" fmla="*/ 1 h 12"/>
                <a:gd name="T76" fmla="*/ 17 w 43"/>
                <a:gd name="T77"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12">
                  <a:moveTo>
                    <a:pt x="17" y="0"/>
                  </a:moveTo>
                  <a:cubicBezTo>
                    <a:pt x="16" y="0"/>
                    <a:pt x="15" y="1"/>
                    <a:pt x="15" y="1"/>
                  </a:cubicBezTo>
                  <a:cubicBezTo>
                    <a:pt x="14" y="1"/>
                    <a:pt x="13" y="1"/>
                    <a:pt x="13" y="2"/>
                  </a:cubicBezTo>
                  <a:cubicBezTo>
                    <a:pt x="9" y="4"/>
                    <a:pt x="6" y="7"/>
                    <a:pt x="2" y="11"/>
                  </a:cubicBezTo>
                  <a:cubicBezTo>
                    <a:pt x="2" y="11"/>
                    <a:pt x="1" y="12"/>
                    <a:pt x="0" y="12"/>
                  </a:cubicBezTo>
                  <a:cubicBezTo>
                    <a:pt x="1" y="12"/>
                    <a:pt x="1" y="12"/>
                    <a:pt x="1" y="12"/>
                  </a:cubicBezTo>
                  <a:cubicBezTo>
                    <a:pt x="6" y="12"/>
                    <a:pt x="6" y="12"/>
                    <a:pt x="6" y="12"/>
                  </a:cubicBezTo>
                  <a:cubicBezTo>
                    <a:pt x="10" y="11"/>
                    <a:pt x="13" y="11"/>
                    <a:pt x="17" y="11"/>
                  </a:cubicBezTo>
                  <a:cubicBezTo>
                    <a:pt x="18" y="11"/>
                    <a:pt x="18" y="11"/>
                    <a:pt x="18" y="11"/>
                  </a:cubicBezTo>
                  <a:cubicBezTo>
                    <a:pt x="20" y="11"/>
                    <a:pt x="22" y="10"/>
                    <a:pt x="23" y="10"/>
                  </a:cubicBezTo>
                  <a:cubicBezTo>
                    <a:pt x="24" y="10"/>
                    <a:pt x="24" y="10"/>
                    <a:pt x="24" y="10"/>
                  </a:cubicBezTo>
                  <a:cubicBezTo>
                    <a:pt x="24" y="10"/>
                    <a:pt x="25" y="10"/>
                    <a:pt x="26" y="11"/>
                  </a:cubicBezTo>
                  <a:cubicBezTo>
                    <a:pt x="26" y="11"/>
                    <a:pt x="27" y="11"/>
                    <a:pt x="27" y="11"/>
                  </a:cubicBezTo>
                  <a:cubicBezTo>
                    <a:pt x="28" y="11"/>
                    <a:pt x="28" y="11"/>
                    <a:pt x="28" y="11"/>
                  </a:cubicBezTo>
                  <a:cubicBezTo>
                    <a:pt x="29" y="12"/>
                    <a:pt x="29" y="12"/>
                    <a:pt x="29" y="12"/>
                  </a:cubicBezTo>
                  <a:cubicBezTo>
                    <a:pt x="31" y="12"/>
                    <a:pt x="32" y="12"/>
                    <a:pt x="33" y="12"/>
                  </a:cubicBezTo>
                  <a:cubicBezTo>
                    <a:pt x="33" y="12"/>
                    <a:pt x="33" y="12"/>
                    <a:pt x="33" y="12"/>
                  </a:cubicBezTo>
                  <a:cubicBezTo>
                    <a:pt x="34" y="12"/>
                    <a:pt x="34" y="12"/>
                    <a:pt x="34" y="12"/>
                  </a:cubicBezTo>
                  <a:cubicBezTo>
                    <a:pt x="36" y="11"/>
                    <a:pt x="38" y="10"/>
                    <a:pt x="40" y="9"/>
                  </a:cubicBezTo>
                  <a:cubicBezTo>
                    <a:pt x="39" y="8"/>
                    <a:pt x="38" y="8"/>
                    <a:pt x="38" y="6"/>
                  </a:cubicBezTo>
                  <a:cubicBezTo>
                    <a:pt x="38" y="5"/>
                    <a:pt x="39" y="4"/>
                    <a:pt x="40" y="3"/>
                  </a:cubicBezTo>
                  <a:cubicBezTo>
                    <a:pt x="41" y="3"/>
                    <a:pt x="42" y="2"/>
                    <a:pt x="42" y="2"/>
                  </a:cubicBezTo>
                  <a:cubicBezTo>
                    <a:pt x="43" y="2"/>
                    <a:pt x="43" y="2"/>
                    <a:pt x="43" y="2"/>
                  </a:cubicBezTo>
                  <a:cubicBezTo>
                    <a:pt x="42" y="2"/>
                    <a:pt x="41" y="2"/>
                    <a:pt x="41" y="2"/>
                  </a:cubicBezTo>
                  <a:cubicBezTo>
                    <a:pt x="40" y="2"/>
                    <a:pt x="40" y="2"/>
                    <a:pt x="40" y="2"/>
                  </a:cubicBezTo>
                  <a:cubicBezTo>
                    <a:pt x="40" y="2"/>
                    <a:pt x="40" y="2"/>
                    <a:pt x="40" y="2"/>
                  </a:cubicBezTo>
                  <a:cubicBezTo>
                    <a:pt x="39" y="3"/>
                    <a:pt x="39" y="3"/>
                    <a:pt x="38" y="3"/>
                  </a:cubicBezTo>
                  <a:cubicBezTo>
                    <a:pt x="37" y="4"/>
                    <a:pt x="37" y="4"/>
                    <a:pt x="37" y="4"/>
                  </a:cubicBezTo>
                  <a:cubicBezTo>
                    <a:pt x="37" y="4"/>
                    <a:pt x="37" y="4"/>
                    <a:pt x="36" y="4"/>
                  </a:cubicBezTo>
                  <a:cubicBezTo>
                    <a:pt x="36" y="4"/>
                    <a:pt x="36" y="4"/>
                    <a:pt x="36" y="4"/>
                  </a:cubicBezTo>
                  <a:cubicBezTo>
                    <a:pt x="35" y="4"/>
                    <a:pt x="33" y="5"/>
                    <a:pt x="30" y="6"/>
                  </a:cubicBezTo>
                  <a:cubicBezTo>
                    <a:pt x="30" y="6"/>
                    <a:pt x="29" y="6"/>
                    <a:pt x="28" y="6"/>
                  </a:cubicBezTo>
                  <a:cubicBezTo>
                    <a:pt x="26" y="7"/>
                    <a:pt x="25" y="7"/>
                    <a:pt x="24" y="7"/>
                  </a:cubicBezTo>
                  <a:cubicBezTo>
                    <a:pt x="24" y="7"/>
                    <a:pt x="23" y="7"/>
                    <a:pt x="23" y="7"/>
                  </a:cubicBezTo>
                  <a:cubicBezTo>
                    <a:pt x="22" y="6"/>
                    <a:pt x="22" y="6"/>
                    <a:pt x="22" y="6"/>
                  </a:cubicBezTo>
                  <a:cubicBezTo>
                    <a:pt x="21" y="6"/>
                    <a:pt x="21" y="6"/>
                    <a:pt x="21" y="6"/>
                  </a:cubicBezTo>
                  <a:cubicBezTo>
                    <a:pt x="20" y="4"/>
                    <a:pt x="19" y="3"/>
                    <a:pt x="20" y="2"/>
                  </a:cubicBezTo>
                  <a:cubicBezTo>
                    <a:pt x="20" y="2"/>
                    <a:pt x="20" y="2"/>
                    <a:pt x="20" y="1"/>
                  </a:cubicBezTo>
                  <a:cubicBezTo>
                    <a:pt x="19" y="1"/>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505"/>
            <p:cNvSpPr/>
            <p:nvPr/>
          </p:nvSpPr>
          <p:spPr bwMode="auto">
            <a:xfrm>
              <a:off x="2372206" y="2698340"/>
              <a:ext cx="910639" cy="777670"/>
            </a:xfrm>
            <a:custGeom>
              <a:gdLst>
                <a:gd name="T0" fmla="*/ 242 w 287"/>
                <a:gd name="T1" fmla="*/ 11 h 245"/>
                <a:gd name="T2" fmla="*/ 240 w 287"/>
                <a:gd name="T3" fmla="*/ 23 h 245"/>
                <a:gd name="T4" fmla="*/ 233 w 287"/>
                <a:gd name="T5" fmla="*/ 26 h 245"/>
                <a:gd name="T6" fmla="*/ 221 w 287"/>
                <a:gd name="T7" fmla="*/ 28 h 245"/>
                <a:gd name="T8" fmla="*/ 218 w 287"/>
                <a:gd name="T9" fmla="*/ 37 h 245"/>
                <a:gd name="T10" fmla="*/ 205 w 287"/>
                <a:gd name="T11" fmla="*/ 33 h 245"/>
                <a:gd name="T12" fmla="*/ 193 w 287"/>
                <a:gd name="T13" fmla="*/ 37 h 245"/>
                <a:gd name="T14" fmla="*/ 183 w 287"/>
                <a:gd name="T15" fmla="*/ 43 h 245"/>
                <a:gd name="T16" fmla="*/ 174 w 287"/>
                <a:gd name="T17" fmla="*/ 36 h 245"/>
                <a:gd name="T18" fmla="*/ 164 w 287"/>
                <a:gd name="T19" fmla="*/ 36 h 245"/>
                <a:gd name="T20" fmla="*/ 149 w 287"/>
                <a:gd name="T21" fmla="*/ 32 h 245"/>
                <a:gd name="T22" fmla="*/ 144 w 287"/>
                <a:gd name="T23" fmla="*/ 32 h 245"/>
                <a:gd name="T24" fmla="*/ 132 w 287"/>
                <a:gd name="T25" fmla="*/ 29 h 245"/>
                <a:gd name="T26" fmla="*/ 116 w 287"/>
                <a:gd name="T27" fmla="*/ 35 h 245"/>
                <a:gd name="T28" fmla="*/ 98 w 287"/>
                <a:gd name="T29" fmla="*/ 60 h 245"/>
                <a:gd name="T30" fmla="*/ 67 w 287"/>
                <a:gd name="T31" fmla="*/ 74 h 245"/>
                <a:gd name="T32" fmla="*/ 57 w 287"/>
                <a:gd name="T33" fmla="*/ 88 h 245"/>
                <a:gd name="T34" fmla="*/ 43 w 287"/>
                <a:gd name="T35" fmla="*/ 93 h 245"/>
                <a:gd name="T36" fmla="*/ 34 w 287"/>
                <a:gd name="T37" fmla="*/ 87 h 245"/>
                <a:gd name="T38" fmla="*/ 22 w 287"/>
                <a:gd name="T39" fmla="*/ 83 h 245"/>
                <a:gd name="T40" fmla="*/ 14 w 287"/>
                <a:gd name="T41" fmla="*/ 99 h 245"/>
                <a:gd name="T42" fmla="*/ 10 w 287"/>
                <a:gd name="T43" fmla="*/ 112 h 245"/>
                <a:gd name="T44" fmla="*/ 3 w 287"/>
                <a:gd name="T45" fmla="*/ 132 h 245"/>
                <a:gd name="T46" fmla="*/ 10 w 287"/>
                <a:gd name="T47" fmla="*/ 138 h 245"/>
                <a:gd name="T48" fmla="*/ 8 w 287"/>
                <a:gd name="T49" fmla="*/ 167 h 245"/>
                <a:gd name="T50" fmla="*/ 8 w 287"/>
                <a:gd name="T51" fmla="*/ 182 h 245"/>
                <a:gd name="T52" fmla="*/ 10 w 287"/>
                <a:gd name="T53" fmla="*/ 189 h 245"/>
                <a:gd name="T54" fmla="*/ 31 w 287"/>
                <a:gd name="T55" fmla="*/ 211 h 245"/>
                <a:gd name="T56" fmla="*/ 50 w 287"/>
                <a:gd name="T57" fmla="*/ 244 h 245"/>
                <a:gd name="T58" fmla="*/ 61 w 287"/>
                <a:gd name="T59" fmla="*/ 243 h 245"/>
                <a:gd name="T60" fmla="*/ 76 w 287"/>
                <a:gd name="T61" fmla="*/ 243 h 245"/>
                <a:gd name="T62" fmla="*/ 85 w 287"/>
                <a:gd name="T63" fmla="*/ 245 h 245"/>
                <a:gd name="T64" fmla="*/ 118 w 287"/>
                <a:gd name="T65" fmla="*/ 238 h 245"/>
                <a:gd name="T66" fmla="*/ 137 w 287"/>
                <a:gd name="T67" fmla="*/ 232 h 245"/>
                <a:gd name="T68" fmla="*/ 139 w 287"/>
                <a:gd name="T69" fmla="*/ 208 h 245"/>
                <a:gd name="T70" fmla="*/ 150 w 287"/>
                <a:gd name="T71" fmla="*/ 196 h 245"/>
                <a:gd name="T72" fmla="*/ 157 w 287"/>
                <a:gd name="T73" fmla="*/ 194 h 245"/>
                <a:gd name="T74" fmla="*/ 166 w 287"/>
                <a:gd name="T75" fmla="*/ 196 h 245"/>
                <a:gd name="T76" fmla="*/ 179 w 287"/>
                <a:gd name="T77" fmla="*/ 184 h 245"/>
                <a:gd name="T78" fmla="*/ 189 w 287"/>
                <a:gd name="T79" fmla="*/ 180 h 245"/>
                <a:gd name="T80" fmla="*/ 198 w 287"/>
                <a:gd name="T81" fmla="*/ 181 h 245"/>
                <a:gd name="T82" fmla="*/ 206 w 287"/>
                <a:gd name="T83" fmla="*/ 183 h 245"/>
                <a:gd name="T84" fmla="*/ 211 w 287"/>
                <a:gd name="T85" fmla="*/ 162 h 245"/>
                <a:gd name="T86" fmla="*/ 215 w 287"/>
                <a:gd name="T87" fmla="*/ 155 h 245"/>
                <a:gd name="T88" fmla="*/ 225 w 287"/>
                <a:gd name="T89" fmla="*/ 145 h 245"/>
                <a:gd name="T90" fmla="*/ 230 w 287"/>
                <a:gd name="T91" fmla="*/ 132 h 245"/>
                <a:gd name="T92" fmla="*/ 227 w 287"/>
                <a:gd name="T93" fmla="*/ 119 h 245"/>
                <a:gd name="T94" fmla="*/ 245 w 287"/>
                <a:gd name="T95" fmla="*/ 121 h 245"/>
                <a:gd name="T96" fmla="*/ 256 w 287"/>
                <a:gd name="T97" fmla="*/ 115 h 245"/>
                <a:gd name="T98" fmla="*/ 261 w 287"/>
                <a:gd name="T99" fmla="*/ 96 h 245"/>
                <a:gd name="T100" fmla="*/ 267 w 287"/>
                <a:gd name="T101" fmla="*/ 87 h 245"/>
                <a:gd name="T102" fmla="*/ 265 w 287"/>
                <a:gd name="T103" fmla="*/ 77 h 245"/>
                <a:gd name="T104" fmla="*/ 259 w 287"/>
                <a:gd name="T105" fmla="*/ 68 h 245"/>
                <a:gd name="T106" fmla="*/ 272 w 287"/>
                <a:gd name="T107" fmla="*/ 51 h 245"/>
                <a:gd name="T108" fmla="*/ 287 w 287"/>
                <a:gd name="T109" fmla="*/ 45 h 245"/>
                <a:gd name="T110" fmla="*/ 270 w 287"/>
                <a:gd name="T111" fmla="*/ 50 h 245"/>
                <a:gd name="T112" fmla="*/ 265 w 287"/>
                <a:gd name="T113" fmla="*/ 32 h 245"/>
                <a:gd name="T114" fmla="*/ 262 w 287"/>
                <a:gd name="T115" fmla="*/ 13 h 245"/>
                <a:gd name="T116" fmla="*/ 259 w 287"/>
                <a:gd name="T117" fmla="*/ 4 h 2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7" h="245">
                  <a:moveTo>
                    <a:pt x="255" y="0"/>
                  </a:moveTo>
                  <a:cubicBezTo>
                    <a:pt x="255" y="0"/>
                    <a:pt x="255" y="0"/>
                    <a:pt x="255" y="0"/>
                  </a:cubicBezTo>
                  <a:cubicBezTo>
                    <a:pt x="253" y="0"/>
                    <a:pt x="252" y="0"/>
                    <a:pt x="251" y="1"/>
                  </a:cubicBezTo>
                  <a:cubicBezTo>
                    <a:pt x="249" y="2"/>
                    <a:pt x="248" y="4"/>
                    <a:pt x="246" y="6"/>
                  </a:cubicBezTo>
                  <a:cubicBezTo>
                    <a:pt x="245" y="8"/>
                    <a:pt x="244" y="9"/>
                    <a:pt x="243" y="10"/>
                  </a:cubicBezTo>
                  <a:cubicBezTo>
                    <a:pt x="242" y="11"/>
                    <a:pt x="242" y="11"/>
                    <a:pt x="242" y="11"/>
                  </a:cubicBezTo>
                  <a:cubicBezTo>
                    <a:pt x="241" y="12"/>
                    <a:pt x="239" y="13"/>
                    <a:pt x="238" y="14"/>
                  </a:cubicBezTo>
                  <a:cubicBezTo>
                    <a:pt x="239" y="14"/>
                    <a:pt x="239" y="14"/>
                    <a:pt x="239" y="14"/>
                  </a:cubicBezTo>
                  <a:cubicBezTo>
                    <a:pt x="239" y="14"/>
                    <a:pt x="239" y="14"/>
                    <a:pt x="239" y="14"/>
                  </a:cubicBezTo>
                  <a:cubicBezTo>
                    <a:pt x="240" y="15"/>
                    <a:pt x="240" y="16"/>
                    <a:pt x="241" y="17"/>
                  </a:cubicBezTo>
                  <a:cubicBezTo>
                    <a:pt x="241" y="18"/>
                    <a:pt x="241" y="19"/>
                    <a:pt x="241" y="19"/>
                  </a:cubicBezTo>
                  <a:cubicBezTo>
                    <a:pt x="241" y="21"/>
                    <a:pt x="240" y="22"/>
                    <a:pt x="240" y="23"/>
                  </a:cubicBezTo>
                  <a:cubicBezTo>
                    <a:pt x="239" y="24"/>
                    <a:pt x="238" y="25"/>
                    <a:pt x="237" y="25"/>
                  </a:cubicBezTo>
                  <a:cubicBezTo>
                    <a:pt x="237" y="25"/>
                    <a:pt x="237" y="25"/>
                    <a:pt x="237" y="25"/>
                  </a:cubicBezTo>
                  <a:cubicBezTo>
                    <a:pt x="238" y="31"/>
                    <a:pt x="238" y="31"/>
                    <a:pt x="238" y="31"/>
                  </a:cubicBezTo>
                  <a:cubicBezTo>
                    <a:pt x="235" y="26"/>
                    <a:pt x="235" y="26"/>
                    <a:pt x="235" y="26"/>
                  </a:cubicBezTo>
                  <a:cubicBezTo>
                    <a:pt x="235" y="26"/>
                    <a:pt x="235" y="26"/>
                    <a:pt x="235" y="26"/>
                  </a:cubicBezTo>
                  <a:cubicBezTo>
                    <a:pt x="235" y="26"/>
                    <a:pt x="234" y="26"/>
                    <a:pt x="233" y="26"/>
                  </a:cubicBezTo>
                  <a:cubicBezTo>
                    <a:pt x="233" y="26"/>
                    <a:pt x="233" y="26"/>
                    <a:pt x="233" y="26"/>
                  </a:cubicBezTo>
                  <a:cubicBezTo>
                    <a:pt x="232" y="26"/>
                    <a:pt x="230" y="26"/>
                    <a:pt x="229" y="26"/>
                  </a:cubicBezTo>
                  <a:cubicBezTo>
                    <a:pt x="228" y="25"/>
                    <a:pt x="227" y="25"/>
                    <a:pt x="227" y="25"/>
                  </a:cubicBezTo>
                  <a:cubicBezTo>
                    <a:pt x="226" y="25"/>
                    <a:pt x="223" y="25"/>
                    <a:pt x="222" y="25"/>
                  </a:cubicBezTo>
                  <a:cubicBezTo>
                    <a:pt x="222" y="25"/>
                    <a:pt x="222" y="25"/>
                    <a:pt x="222" y="25"/>
                  </a:cubicBezTo>
                  <a:cubicBezTo>
                    <a:pt x="221" y="26"/>
                    <a:pt x="221" y="26"/>
                    <a:pt x="221" y="28"/>
                  </a:cubicBezTo>
                  <a:cubicBezTo>
                    <a:pt x="220" y="30"/>
                    <a:pt x="220" y="30"/>
                    <a:pt x="220" y="30"/>
                  </a:cubicBezTo>
                  <a:cubicBezTo>
                    <a:pt x="220" y="31"/>
                    <a:pt x="220" y="31"/>
                    <a:pt x="220" y="32"/>
                  </a:cubicBezTo>
                  <a:cubicBezTo>
                    <a:pt x="220" y="32"/>
                    <a:pt x="220" y="33"/>
                    <a:pt x="220" y="33"/>
                  </a:cubicBezTo>
                  <a:cubicBezTo>
                    <a:pt x="219" y="34"/>
                    <a:pt x="219" y="35"/>
                    <a:pt x="218" y="36"/>
                  </a:cubicBezTo>
                  <a:cubicBezTo>
                    <a:pt x="223" y="39"/>
                    <a:pt x="223" y="39"/>
                    <a:pt x="223" y="39"/>
                  </a:cubicBezTo>
                  <a:cubicBezTo>
                    <a:pt x="218" y="37"/>
                    <a:pt x="218" y="37"/>
                    <a:pt x="218" y="37"/>
                  </a:cubicBezTo>
                  <a:cubicBezTo>
                    <a:pt x="217" y="37"/>
                    <a:pt x="216" y="38"/>
                    <a:pt x="215" y="38"/>
                  </a:cubicBezTo>
                  <a:cubicBezTo>
                    <a:pt x="215" y="38"/>
                    <a:pt x="214" y="38"/>
                    <a:pt x="214" y="38"/>
                  </a:cubicBezTo>
                  <a:cubicBezTo>
                    <a:pt x="213" y="38"/>
                    <a:pt x="212" y="38"/>
                    <a:pt x="212" y="38"/>
                  </a:cubicBezTo>
                  <a:cubicBezTo>
                    <a:pt x="210" y="37"/>
                    <a:pt x="209" y="36"/>
                    <a:pt x="208" y="35"/>
                  </a:cubicBezTo>
                  <a:cubicBezTo>
                    <a:pt x="205" y="33"/>
                    <a:pt x="205" y="33"/>
                    <a:pt x="205" y="33"/>
                  </a:cubicBezTo>
                  <a:cubicBezTo>
                    <a:pt x="205" y="33"/>
                    <a:pt x="205" y="33"/>
                    <a:pt x="205" y="33"/>
                  </a:cubicBezTo>
                  <a:cubicBezTo>
                    <a:pt x="205" y="33"/>
                    <a:pt x="204" y="33"/>
                    <a:pt x="204" y="33"/>
                  </a:cubicBezTo>
                  <a:cubicBezTo>
                    <a:pt x="203" y="33"/>
                    <a:pt x="203" y="33"/>
                    <a:pt x="203" y="33"/>
                  </a:cubicBezTo>
                  <a:cubicBezTo>
                    <a:pt x="202" y="34"/>
                    <a:pt x="202" y="34"/>
                    <a:pt x="202" y="34"/>
                  </a:cubicBezTo>
                  <a:cubicBezTo>
                    <a:pt x="202" y="34"/>
                    <a:pt x="201" y="34"/>
                    <a:pt x="200" y="35"/>
                  </a:cubicBezTo>
                  <a:cubicBezTo>
                    <a:pt x="198" y="36"/>
                    <a:pt x="196" y="36"/>
                    <a:pt x="193" y="37"/>
                  </a:cubicBezTo>
                  <a:cubicBezTo>
                    <a:pt x="193" y="37"/>
                    <a:pt x="193" y="37"/>
                    <a:pt x="193" y="37"/>
                  </a:cubicBezTo>
                  <a:cubicBezTo>
                    <a:pt x="193" y="37"/>
                    <a:pt x="192" y="38"/>
                    <a:pt x="192" y="38"/>
                  </a:cubicBezTo>
                  <a:cubicBezTo>
                    <a:pt x="190" y="39"/>
                    <a:pt x="189" y="40"/>
                    <a:pt x="188" y="41"/>
                  </a:cubicBezTo>
                  <a:cubicBezTo>
                    <a:pt x="188" y="41"/>
                    <a:pt x="188" y="41"/>
                    <a:pt x="188" y="41"/>
                  </a:cubicBezTo>
                  <a:cubicBezTo>
                    <a:pt x="189" y="42"/>
                    <a:pt x="189" y="42"/>
                    <a:pt x="189" y="42"/>
                  </a:cubicBezTo>
                  <a:cubicBezTo>
                    <a:pt x="187" y="41"/>
                    <a:pt x="187" y="41"/>
                    <a:pt x="187" y="41"/>
                  </a:cubicBezTo>
                  <a:cubicBezTo>
                    <a:pt x="186" y="42"/>
                    <a:pt x="185" y="43"/>
                    <a:pt x="183" y="43"/>
                  </a:cubicBezTo>
                  <a:cubicBezTo>
                    <a:pt x="182" y="43"/>
                    <a:pt x="182" y="43"/>
                    <a:pt x="182" y="43"/>
                  </a:cubicBezTo>
                  <a:cubicBezTo>
                    <a:pt x="181" y="43"/>
                    <a:pt x="180" y="42"/>
                    <a:pt x="179" y="41"/>
                  </a:cubicBezTo>
                  <a:cubicBezTo>
                    <a:pt x="175" y="39"/>
                    <a:pt x="175" y="39"/>
                    <a:pt x="175" y="39"/>
                  </a:cubicBezTo>
                  <a:cubicBezTo>
                    <a:pt x="175" y="38"/>
                    <a:pt x="174" y="37"/>
                    <a:pt x="174" y="37"/>
                  </a:cubicBezTo>
                  <a:cubicBezTo>
                    <a:pt x="174" y="36"/>
                    <a:pt x="174" y="36"/>
                    <a:pt x="174" y="36"/>
                  </a:cubicBezTo>
                  <a:cubicBezTo>
                    <a:pt x="174" y="36"/>
                    <a:pt x="174" y="36"/>
                    <a:pt x="174" y="36"/>
                  </a:cubicBezTo>
                  <a:cubicBezTo>
                    <a:pt x="173" y="36"/>
                    <a:pt x="173" y="36"/>
                    <a:pt x="173" y="36"/>
                  </a:cubicBezTo>
                  <a:cubicBezTo>
                    <a:pt x="173" y="36"/>
                    <a:pt x="172" y="36"/>
                    <a:pt x="171" y="36"/>
                  </a:cubicBezTo>
                  <a:cubicBezTo>
                    <a:pt x="170" y="36"/>
                    <a:pt x="169" y="36"/>
                    <a:pt x="168" y="36"/>
                  </a:cubicBezTo>
                  <a:cubicBezTo>
                    <a:pt x="168" y="36"/>
                    <a:pt x="168" y="36"/>
                    <a:pt x="168" y="36"/>
                  </a:cubicBezTo>
                  <a:cubicBezTo>
                    <a:pt x="167" y="36"/>
                    <a:pt x="166" y="36"/>
                    <a:pt x="165" y="36"/>
                  </a:cubicBezTo>
                  <a:cubicBezTo>
                    <a:pt x="164" y="36"/>
                    <a:pt x="164" y="36"/>
                    <a:pt x="164" y="36"/>
                  </a:cubicBezTo>
                  <a:cubicBezTo>
                    <a:pt x="162" y="36"/>
                    <a:pt x="161" y="35"/>
                    <a:pt x="160" y="34"/>
                  </a:cubicBezTo>
                  <a:cubicBezTo>
                    <a:pt x="160" y="34"/>
                    <a:pt x="159" y="33"/>
                    <a:pt x="159" y="33"/>
                  </a:cubicBezTo>
                  <a:cubicBezTo>
                    <a:pt x="158" y="32"/>
                    <a:pt x="157" y="32"/>
                    <a:pt x="156" y="31"/>
                  </a:cubicBezTo>
                  <a:cubicBezTo>
                    <a:pt x="155" y="31"/>
                    <a:pt x="154" y="31"/>
                    <a:pt x="153" y="31"/>
                  </a:cubicBezTo>
                  <a:cubicBezTo>
                    <a:pt x="149" y="31"/>
                    <a:pt x="149" y="31"/>
                    <a:pt x="149" y="31"/>
                  </a:cubicBezTo>
                  <a:cubicBezTo>
                    <a:pt x="149" y="32"/>
                    <a:pt x="149" y="32"/>
                    <a:pt x="149" y="32"/>
                  </a:cubicBezTo>
                  <a:cubicBezTo>
                    <a:pt x="147" y="31"/>
                    <a:pt x="147" y="31"/>
                    <a:pt x="147" y="31"/>
                  </a:cubicBezTo>
                  <a:cubicBezTo>
                    <a:pt x="146" y="31"/>
                    <a:pt x="146" y="31"/>
                    <a:pt x="146" y="31"/>
                  </a:cubicBezTo>
                  <a:cubicBezTo>
                    <a:pt x="146" y="32"/>
                    <a:pt x="146" y="32"/>
                    <a:pt x="146" y="32"/>
                  </a:cubicBezTo>
                  <a:cubicBezTo>
                    <a:pt x="145" y="32"/>
                    <a:pt x="145" y="32"/>
                    <a:pt x="145" y="32"/>
                  </a:cubicBezTo>
                  <a:cubicBezTo>
                    <a:pt x="144" y="32"/>
                    <a:pt x="144" y="32"/>
                    <a:pt x="144" y="32"/>
                  </a:cubicBezTo>
                  <a:cubicBezTo>
                    <a:pt x="144" y="32"/>
                    <a:pt x="144" y="32"/>
                    <a:pt x="144" y="32"/>
                  </a:cubicBezTo>
                  <a:cubicBezTo>
                    <a:pt x="143" y="32"/>
                    <a:pt x="142" y="32"/>
                    <a:pt x="141" y="32"/>
                  </a:cubicBezTo>
                  <a:cubicBezTo>
                    <a:pt x="141" y="32"/>
                    <a:pt x="141" y="32"/>
                    <a:pt x="140" y="32"/>
                  </a:cubicBezTo>
                  <a:cubicBezTo>
                    <a:pt x="139" y="32"/>
                    <a:pt x="138" y="31"/>
                    <a:pt x="137" y="31"/>
                  </a:cubicBezTo>
                  <a:cubicBezTo>
                    <a:pt x="136" y="31"/>
                    <a:pt x="136" y="31"/>
                    <a:pt x="136" y="31"/>
                  </a:cubicBezTo>
                  <a:cubicBezTo>
                    <a:pt x="136" y="30"/>
                    <a:pt x="135" y="30"/>
                    <a:pt x="134" y="29"/>
                  </a:cubicBezTo>
                  <a:cubicBezTo>
                    <a:pt x="132" y="29"/>
                    <a:pt x="132" y="29"/>
                    <a:pt x="132" y="29"/>
                  </a:cubicBezTo>
                  <a:cubicBezTo>
                    <a:pt x="131" y="28"/>
                    <a:pt x="131" y="28"/>
                    <a:pt x="130" y="28"/>
                  </a:cubicBezTo>
                  <a:cubicBezTo>
                    <a:pt x="128" y="27"/>
                    <a:pt x="128" y="27"/>
                    <a:pt x="128" y="27"/>
                  </a:cubicBezTo>
                  <a:cubicBezTo>
                    <a:pt x="128" y="27"/>
                    <a:pt x="128" y="27"/>
                    <a:pt x="128" y="27"/>
                  </a:cubicBezTo>
                  <a:cubicBezTo>
                    <a:pt x="126" y="30"/>
                    <a:pt x="124" y="33"/>
                    <a:pt x="122" y="34"/>
                  </a:cubicBezTo>
                  <a:cubicBezTo>
                    <a:pt x="121" y="35"/>
                    <a:pt x="120" y="35"/>
                    <a:pt x="118" y="35"/>
                  </a:cubicBezTo>
                  <a:cubicBezTo>
                    <a:pt x="118" y="35"/>
                    <a:pt x="117" y="35"/>
                    <a:pt x="116" y="35"/>
                  </a:cubicBezTo>
                  <a:cubicBezTo>
                    <a:pt x="116" y="35"/>
                    <a:pt x="116" y="35"/>
                    <a:pt x="116" y="35"/>
                  </a:cubicBezTo>
                  <a:cubicBezTo>
                    <a:pt x="102" y="49"/>
                    <a:pt x="102" y="49"/>
                    <a:pt x="102" y="49"/>
                  </a:cubicBezTo>
                  <a:cubicBezTo>
                    <a:pt x="102" y="49"/>
                    <a:pt x="102" y="49"/>
                    <a:pt x="102" y="49"/>
                  </a:cubicBezTo>
                  <a:cubicBezTo>
                    <a:pt x="102" y="50"/>
                    <a:pt x="102" y="50"/>
                    <a:pt x="102" y="51"/>
                  </a:cubicBezTo>
                  <a:cubicBezTo>
                    <a:pt x="102" y="54"/>
                    <a:pt x="101" y="57"/>
                    <a:pt x="98" y="60"/>
                  </a:cubicBezTo>
                  <a:cubicBezTo>
                    <a:pt x="98" y="60"/>
                    <a:pt x="98" y="60"/>
                    <a:pt x="98" y="60"/>
                  </a:cubicBezTo>
                  <a:cubicBezTo>
                    <a:pt x="95" y="63"/>
                    <a:pt x="92" y="65"/>
                    <a:pt x="89" y="66"/>
                  </a:cubicBezTo>
                  <a:cubicBezTo>
                    <a:pt x="87" y="67"/>
                    <a:pt x="84" y="68"/>
                    <a:pt x="82" y="69"/>
                  </a:cubicBezTo>
                  <a:cubicBezTo>
                    <a:pt x="79" y="70"/>
                    <a:pt x="79" y="70"/>
                    <a:pt x="79" y="70"/>
                  </a:cubicBezTo>
                  <a:cubicBezTo>
                    <a:pt x="77" y="71"/>
                    <a:pt x="75" y="71"/>
                    <a:pt x="73" y="72"/>
                  </a:cubicBezTo>
                  <a:cubicBezTo>
                    <a:pt x="71" y="73"/>
                    <a:pt x="70" y="73"/>
                    <a:pt x="68" y="73"/>
                  </a:cubicBezTo>
                  <a:cubicBezTo>
                    <a:pt x="67" y="74"/>
                    <a:pt x="67" y="74"/>
                    <a:pt x="67" y="74"/>
                  </a:cubicBezTo>
                  <a:cubicBezTo>
                    <a:pt x="67" y="74"/>
                    <a:pt x="67" y="74"/>
                    <a:pt x="67" y="74"/>
                  </a:cubicBezTo>
                  <a:cubicBezTo>
                    <a:pt x="68" y="77"/>
                    <a:pt x="66" y="79"/>
                    <a:pt x="64" y="81"/>
                  </a:cubicBezTo>
                  <a:cubicBezTo>
                    <a:pt x="64" y="82"/>
                    <a:pt x="64" y="82"/>
                    <a:pt x="64" y="82"/>
                  </a:cubicBezTo>
                  <a:cubicBezTo>
                    <a:pt x="63" y="83"/>
                    <a:pt x="60" y="86"/>
                    <a:pt x="58" y="88"/>
                  </a:cubicBezTo>
                  <a:cubicBezTo>
                    <a:pt x="58" y="88"/>
                    <a:pt x="58" y="88"/>
                    <a:pt x="58" y="88"/>
                  </a:cubicBezTo>
                  <a:cubicBezTo>
                    <a:pt x="57" y="88"/>
                    <a:pt x="57" y="88"/>
                    <a:pt x="57" y="88"/>
                  </a:cubicBezTo>
                  <a:cubicBezTo>
                    <a:pt x="56" y="88"/>
                    <a:pt x="56" y="89"/>
                    <a:pt x="55" y="89"/>
                  </a:cubicBezTo>
                  <a:cubicBezTo>
                    <a:pt x="54" y="89"/>
                    <a:pt x="53" y="89"/>
                    <a:pt x="52" y="89"/>
                  </a:cubicBezTo>
                  <a:cubicBezTo>
                    <a:pt x="50" y="89"/>
                    <a:pt x="50" y="89"/>
                    <a:pt x="50" y="89"/>
                  </a:cubicBezTo>
                  <a:cubicBezTo>
                    <a:pt x="49" y="89"/>
                    <a:pt x="47" y="90"/>
                    <a:pt x="46" y="91"/>
                  </a:cubicBezTo>
                  <a:cubicBezTo>
                    <a:pt x="46" y="91"/>
                    <a:pt x="46" y="91"/>
                    <a:pt x="46" y="91"/>
                  </a:cubicBezTo>
                  <a:cubicBezTo>
                    <a:pt x="45" y="92"/>
                    <a:pt x="44" y="93"/>
                    <a:pt x="43" y="93"/>
                  </a:cubicBezTo>
                  <a:cubicBezTo>
                    <a:pt x="42" y="93"/>
                    <a:pt x="42" y="93"/>
                    <a:pt x="42" y="93"/>
                  </a:cubicBezTo>
                  <a:cubicBezTo>
                    <a:pt x="41" y="93"/>
                    <a:pt x="39" y="93"/>
                    <a:pt x="37" y="90"/>
                  </a:cubicBezTo>
                  <a:cubicBezTo>
                    <a:pt x="37" y="90"/>
                    <a:pt x="36" y="90"/>
                    <a:pt x="36" y="89"/>
                  </a:cubicBezTo>
                  <a:cubicBezTo>
                    <a:pt x="35" y="89"/>
                    <a:pt x="35" y="88"/>
                    <a:pt x="35" y="88"/>
                  </a:cubicBezTo>
                  <a:cubicBezTo>
                    <a:pt x="34" y="87"/>
                    <a:pt x="34" y="87"/>
                    <a:pt x="34" y="87"/>
                  </a:cubicBezTo>
                  <a:cubicBezTo>
                    <a:pt x="34" y="87"/>
                    <a:pt x="34" y="87"/>
                    <a:pt x="34" y="87"/>
                  </a:cubicBezTo>
                  <a:cubicBezTo>
                    <a:pt x="33" y="86"/>
                    <a:pt x="33" y="86"/>
                    <a:pt x="33" y="86"/>
                  </a:cubicBezTo>
                  <a:cubicBezTo>
                    <a:pt x="32" y="85"/>
                    <a:pt x="31" y="85"/>
                    <a:pt x="29" y="84"/>
                  </a:cubicBezTo>
                  <a:cubicBezTo>
                    <a:pt x="29" y="84"/>
                    <a:pt x="29" y="84"/>
                    <a:pt x="29" y="84"/>
                  </a:cubicBezTo>
                  <a:cubicBezTo>
                    <a:pt x="29" y="84"/>
                    <a:pt x="28" y="84"/>
                    <a:pt x="27" y="84"/>
                  </a:cubicBezTo>
                  <a:cubicBezTo>
                    <a:pt x="26" y="84"/>
                    <a:pt x="24" y="83"/>
                    <a:pt x="23" y="83"/>
                  </a:cubicBezTo>
                  <a:cubicBezTo>
                    <a:pt x="22" y="83"/>
                    <a:pt x="22" y="83"/>
                    <a:pt x="22" y="83"/>
                  </a:cubicBezTo>
                  <a:cubicBezTo>
                    <a:pt x="21" y="83"/>
                    <a:pt x="21" y="83"/>
                    <a:pt x="21" y="83"/>
                  </a:cubicBezTo>
                  <a:cubicBezTo>
                    <a:pt x="17" y="86"/>
                    <a:pt x="17" y="86"/>
                    <a:pt x="17" y="86"/>
                  </a:cubicBezTo>
                  <a:cubicBezTo>
                    <a:pt x="16" y="93"/>
                    <a:pt x="16" y="93"/>
                    <a:pt x="16" y="93"/>
                  </a:cubicBezTo>
                  <a:cubicBezTo>
                    <a:pt x="15" y="93"/>
                    <a:pt x="15" y="94"/>
                    <a:pt x="15" y="96"/>
                  </a:cubicBezTo>
                  <a:cubicBezTo>
                    <a:pt x="15" y="98"/>
                    <a:pt x="15" y="98"/>
                    <a:pt x="15" y="98"/>
                  </a:cubicBezTo>
                  <a:cubicBezTo>
                    <a:pt x="14" y="99"/>
                    <a:pt x="14" y="99"/>
                    <a:pt x="14" y="99"/>
                  </a:cubicBezTo>
                  <a:cubicBezTo>
                    <a:pt x="14" y="99"/>
                    <a:pt x="14" y="99"/>
                    <a:pt x="14" y="99"/>
                  </a:cubicBezTo>
                  <a:cubicBezTo>
                    <a:pt x="13" y="102"/>
                    <a:pt x="13" y="103"/>
                    <a:pt x="10" y="105"/>
                  </a:cubicBezTo>
                  <a:cubicBezTo>
                    <a:pt x="9" y="106"/>
                    <a:pt x="9" y="106"/>
                    <a:pt x="9" y="106"/>
                  </a:cubicBezTo>
                  <a:cubicBezTo>
                    <a:pt x="8" y="107"/>
                    <a:pt x="8" y="108"/>
                    <a:pt x="7" y="108"/>
                  </a:cubicBezTo>
                  <a:cubicBezTo>
                    <a:pt x="8" y="109"/>
                    <a:pt x="8" y="109"/>
                    <a:pt x="9" y="110"/>
                  </a:cubicBezTo>
                  <a:cubicBezTo>
                    <a:pt x="10" y="112"/>
                    <a:pt x="10" y="112"/>
                    <a:pt x="10" y="112"/>
                  </a:cubicBezTo>
                  <a:cubicBezTo>
                    <a:pt x="1" y="122"/>
                    <a:pt x="1" y="122"/>
                    <a:pt x="1" y="122"/>
                  </a:cubicBezTo>
                  <a:cubicBezTo>
                    <a:pt x="0" y="123"/>
                    <a:pt x="0" y="124"/>
                    <a:pt x="0" y="126"/>
                  </a:cubicBezTo>
                  <a:cubicBezTo>
                    <a:pt x="0" y="127"/>
                    <a:pt x="0" y="128"/>
                    <a:pt x="1" y="129"/>
                  </a:cubicBezTo>
                  <a:cubicBezTo>
                    <a:pt x="1" y="130"/>
                    <a:pt x="1" y="130"/>
                    <a:pt x="1" y="130"/>
                  </a:cubicBezTo>
                  <a:cubicBezTo>
                    <a:pt x="1" y="131"/>
                    <a:pt x="1" y="131"/>
                    <a:pt x="1" y="131"/>
                  </a:cubicBezTo>
                  <a:cubicBezTo>
                    <a:pt x="1" y="131"/>
                    <a:pt x="1" y="131"/>
                    <a:pt x="3" y="132"/>
                  </a:cubicBezTo>
                  <a:cubicBezTo>
                    <a:pt x="3" y="132"/>
                    <a:pt x="3" y="132"/>
                    <a:pt x="3" y="132"/>
                  </a:cubicBezTo>
                  <a:cubicBezTo>
                    <a:pt x="4" y="132"/>
                    <a:pt x="5" y="132"/>
                    <a:pt x="6" y="132"/>
                  </a:cubicBezTo>
                  <a:cubicBezTo>
                    <a:pt x="6" y="132"/>
                    <a:pt x="6" y="132"/>
                    <a:pt x="6" y="132"/>
                  </a:cubicBezTo>
                  <a:cubicBezTo>
                    <a:pt x="7" y="133"/>
                    <a:pt x="8" y="133"/>
                    <a:pt x="9" y="133"/>
                  </a:cubicBezTo>
                  <a:cubicBezTo>
                    <a:pt x="14" y="134"/>
                    <a:pt x="14" y="134"/>
                    <a:pt x="14" y="134"/>
                  </a:cubicBezTo>
                  <a:cubicBezTo>
                    <a:pt x="10" y="138"/>
                    <a:pt x="10" y="138"/>
                    <a:pt x="10" y="138"/>
                  </a:cubicBezTo>
                  <a:cubicBezTo>
                    <a:pt x="10" y="139"/>
                    <a:pt x="9" y="139"/>
                    <a:pt x="8" y="140"/>
                  </a:cubicBezTo>
                  <a:cubicBezTo>
                    <a:pt x="8" y="141"/>
                    <a:pt x="8" y="141"/>
                    <a:pt x="8" y="141"/>
                  </a:cubicBezTo>
                  <a:cubicBezTo>
                    <a:pt x="5" y="144"/>
                    <a:pt x="3" y="146"/>
                    <a:pt x="3" y="146"/>
                  </a:cubicBezTo>
                  <a:cubicBezTo>
                    <a:pt x="7" y="163"/>
                    <a:pt x="7" y="163"/>
                    <a:pt x="7" y="163"/>
                  </a:cubicBezTo>
                  <a:cubicBezTo>
                    <a:pt x="7" y="163"/>
                    <a:pt x="7" y="164"/>
                    <a:pt x="7" y="164"/>
                  </a:cubicBezTo>
                  <a:cubicBezTo>
                    <a:pt x="8" y="167"/>
                    <a:pt x="8" y="167"/>
                    <a:pt x="8" y="167"/>
                  </a:cubicBezTo>
                  <a:cubicBezTo>
                    <a:pt x="8" y="168"/>
                    <a:pt x="9" y="169"/>
                    <a:pt x="9" y="169"/>
                  </a:cubicBezTo>
                  <a:cubicBezTo>
                    <a:pt x="9" y="172"/>
                    <a:pt x="9" y="174"/>
                    <a:pt x="8" y="175"/>
                  </a:cubicBezTo>
                  <a:cubicBezTo>
                    <a:pt x="8" y="177"/>
                    <a:pt x="8" y="178"/>
                    <a:pt x="8" y="179"/>
                  </a:cubicBezTo>
                  <a:cubicBezTo>
                    <a:pt x="8" y="180"/>
                    <a:pt x="8" y="180"/>
                    <a:pt x="8" y="180"/>
                  </a:cubicBezTo>
                  <a:cubicBezTo>
                    <a:pt x="8" y="181"/>
                    <a:pt x="8" y="181"/>
                    <a:pt x="8" y="182"/>
                  </a:cubicBezTo>
                  <a:cubicBezTo>
                    <a:pt x="8" y="182"/>
                    <a:pt x="8" y="182"/>
                    <a:pt x="8" y="182"/>
                  </a:cubicBezTo>
                  <a:cubicBezTo>
                    <a:pt x="13" y="182"/>
                    <a:pt x="13" y="182"/>
                    <a:pt x="13" y="182"/>
                  </a:cubicBezTo>
                  <a:cubicBezTo>
                    <a:pt x="8" y="184"/>
                    <a:pt x="8" y="184"/>
                    <a:pt x="8" y="184"/>
                  </a:cubicBezTo>
                  <a:cubicBezTo>
                    <a:pt x="8" y="184"/>
                    <a:pt x="8" y="184"/>
                    <a:pt x="8" y="184"/>
                  </a:cubicBezTo>
                  <a:cubicBezTo>
                    <a:pt x="8" y="185"/>
                    <a:pt x="8" y="186"/>
                    <a:pt x="8" y="187"/>
                  </a:cubicBezTo>
                  <a:cubicBezTo>
                    <a:pt x="8" y="188"/>
                    <a:pt x="8" y="188"/>
                    <a:pt x="8" y="189"/>
                  </a:cubicBezTo>
                  <a:cubicBezTo>
                    <a:pt x="9" y="189"/>
                    <a:pt x="9" y="189"/>
                    <a:pt x="10" y="189"/>
                  </a:cubicBezTo>
                  <a:cubicBezTo>
                    <a:pt x="23" y="191"/>
                    <a:pt x="23" y="191"/>
                    <a:pt x="23" y="191"/>
                  </a:cubicBezTo>
                  <a:cubicBezTo>
                    <a:pt x="25" y="191"/>
                    <a:pt x="27" y="192"/>
                    <a:pt x="28" y="193"/>
                  </a:cubicBezTo>
                  <a:cubicBezTo>
                    <a:pt x="30" y="197"/>
                    <a:pt x="30" y="197"/>
                    <a:pt x="30" y="197"/>
                  </a:cubicBezTo>
                  <a:cubicBezTo>
                    <a:pt x="31" y="198"/>
                    <a:pt x="31" y="198"/>
                    <a:pt x="31" y="199"/>
                  </a:cubicBezTo>
                  <a:cubicBezTo>
                    <a:pt x="32" y="200"/>
                    <a:pt x="33" y="201"/>
                    <a:pt x="33" y="202"/>
                  </a:cubicBezTo>
                  <a:cubicBezTo>
                    <a:pt x="33" y="205"/>
                    <a:pt x="33" y="208"/>
                    <a:pt x="31" y="211"/>
                  </a:cubicBezTo>
                  <a:cubicBezTo>
                    <a:pt x="29" y="214"/>
                    <a:pt x="27" y="216"/>
                    <a:pt x="26" y="217"/>
                  </a:cubicBezTo>
                  <a:cubicBezTo>
                    <a:pt x="25" y="218"/>
                    <a:pt x="24" y="219"/>
                    <a:pt x="24" y="220"/>
                  </a:cubicBezTo>
                  <a:cubicBezTo>
                    <a:pt x="21" y="223"/>
                    <a:pt x="21" y="223"/>
                    <a:pt x="21" y="223"/>
                  </a:cubicBezTo>
                  <a:cubicBezTo>
                    <a:pt x="20" y="224"/>
                    <a:pt x="18" y="226"/>
                    <a:pt x="17" y="228"/>
                  </a:cubicBezTo>
                  <a:cubicBezTo>
                    <a:pt x="12" y="234"/>
                    <a:pt x="12" y="234"/>
                    <a:pt x="12" y="234"/>
                  </a:cubicBezTo>
                  <a:cubicBezTo>
                    <a:pt x="50" y="244"/>
                    <a:pt x="50" y="244"/>
                    <a:pt x="50" y="244"/>
                  </a:cubicBezTo>
                  <a:cubicBezTo>
                    <a:pt x="50" y="244"/>
                    <a:pt x="50" y="244"/>
                    <a:pt x="51" y="245"/>
                  </a:cubicBezTo>
                  <a:cubicBezTo>
                    <a:pt x="51" y="244"/>
                    <a:pt x="51" y="244"/>
                    <a:pt x="51" y="244"/>
                  </a:cubicBezTo>
                  <a:cubicBezTo>
                    <a:pt x="52" y="244"/>
                    <a:pt x="53" y="244"/>
                    <a:pt x="54" y="244"/>
                  </a:cubicBezTo>
                  <a:cubicBezTo>
                    <a:pt x="54" y="244"/>
                    <a:pt x="54" y="244"/>
                    <a:pt x="54" y="244"/>
                  </a:cubicBezTo>
                  <a:cubicBezTo>
                    <a:pt x="55" y="244"/>
                    <a:pt x="56" y="244"/>
                    <a:pt x="57" y="244"/>
                  </a:cubicBezTo>
                  <a:cubicBezTo>
                    <a:pt x="61" y="243"/>
                    <a:pt x="61" y="243"/>
                    <a:pt x="61" y="243"/>
                  </a:cubicBezTo>
                  <a:cubicBezTo>
                    <a:pt x="61" y="243"/>
                    <a:pt x="61" y="243"/>
                    <a:pt x="61" y="243"/>
                  </a:cubicBezTo>
                  <a:cubicBezTo>
                    <a:pt x="72" y="243"/>
                    <a:pt x="72" y="243"/>
                    <a:pt x="72" y="243"/>
                  </a:cubicBezTo>
                  <a:cubicBezTo>
                    <a:pt x="73" y="243"/>
                    <a:pt x="73" y="243"/>
                    <a:pt x="73" y="243"/>
                  </a:cubicBezTo>
                  <a:cubicBezTo>
                    <a:pt x="74" y="243"/>
                    <a:pt x="75" y="243"/>
                    <a:pt x="75" y="243"/>
                  </a:cubicBezTo>
                  <a:cubicBezTo>
                    <a:pt x="76" y="243"/>
                    <a:pt x="76" y="243"/>
                    <a:pt x="76" y="243"/>
                  </a:cubicBezTo>
                  <a:cubicBezTo>
                    <a:pt x="76" y="243"/>
                    <a:pt x="76" y="243"/>
                    <a:pt x="76" y="243"/>
                  </a:cubicBezTo>
                  <a:cubicBezTo>
                    <a:pt x="77" y="243"/>
                    <a:pt x="77" y="243"/>
                    <a:pt x="77" y="243"/>
                  </a:cubicBezTo>
                  <a:cubicBezTo>
                    <a:pt x="78" y="243"/>
                    <a:pt x="79" y="244"/>
                    <a:pt x="80" y="244"/>
                  </a:cubicBezTo>
                  <a:cubicBezTo>
                    <a:pt x="81" y="244"/>
                    <a:pt x="81" y="244"/>
                    <a:pt x="82" y="244"/>
                  </a:cubicBezTo>
                  <a:cubicBezTo>
                    <a:pt x="83" y="244"/>
                    <a:pt x="83" y="244"/>
                    <a:pt x="83" y="244"/>
                  </a:cubicBezTo>
                  <a:cubicBezTo>
                    <a:pt x="83" y="244"/>
                    <a:pt x="84" y="244"/>
                    <a:pt x="85" y="245"/>
                  </a:cubicBezTo>
                  <a:cubicBezTo>
                    <a:pt x="85" y="245"/>
                    <a:pt x="85" y="245"/>
                    <a:pt x="85" y="245"/>
                  </a:cubicBezTo>
                  <a:cubicBezTo>
                    <a:pt x="86" y="245"/>
                    <a:pt x="88" y="244"/>
                    <a:pt x="90" y="243"/>
                  </a:cubicBezTo>
                  <a:cubicBezTo>
                    <a:pt x="90" y="242"/>
                    <a:pt x="91" y="242"/>
                    <a:pt x="92" y="241"/>
                  </a:cubicBezTo>
                  <a:cubicBezTo>
                    <a:pt x="93" y="241"/>
                    <a:pt x="94" y="240"/>
                    <a:pt x="95" y="240"/>
                  </a:cubicBezTo>
                  <a:cubicBezTo>
                    <a:pt x="99" y="239"/>
                    <a:pt x="102" y="239"/>
                    <a:pt x="105" y="239"/>
                  </a:cubicBezTo>
                  <a:cubicBezTo>
                    <a:pt x="108" y="238"/>
                    <a:pt x="110" y="238"/>
                    <a:pt x="113" y="238"/>
                  </a:cubicBezTo>
                  <a:cubicBezTo>
                    <a:pt x="118" y="238"/>
                    <a:pt x="118" y="238"/>
                    <a:pt x="118" y="238"/>
                  </a:cubicBezTo>
                  <a:cubicBezTo>
                    <a:pt x="118" y="238"/>
                    <a:pt x="119" y="238"/>
                    <a:pt x="119" y="238"/>
                  </a:cubicBezTo>
                  <a:cubicBezTo>
                    <a:pt x="122" y="238"/>
                    <a:pt x="124" y="237"/>
                    <a:pt x="126" y="236"/>
                  </a:cubicBezTo>
                  <a:cubicBezTo>
                    <a:pt x="129" y="236"/>
                    <a:pt x="131" y="235"/>
                    <a:pt x="133" y="234"/>
                  </a:cubicBezTo>
                  <a:cubicBezTo>
                    <a:pt x="136" y="233"/>
                    <a:pt x="136" y="233"/>
                    <a:pt x="136" y="233"/>
                  </a:cubicBezTo>
                  <a:cubicBezTo>
                    <a:pt x="136" y="233"/>
                    <a:pt x="137" y="233"/>
                    <a:pt x="137" y="233"/>
                  </a:cubicBezTo>
                  <a:cubicBezTo>
                    <a:pt x="137" y="232"/>
                    <a:pt x="137" y="232"/>
                    <a:pt x="137" y="232"/>
                  </a:cubicBezTo>
                  <a:cubicBezTo>
                    <a:pt x="135" y="231"/>
                    <a:pt x="136" y="228"/>
                    <a:pt x="136" y="227"/>
                  </a:cubicBezTo>
                  <a:cubicBezTo>
                    <a:pt x="137" y="226"/>
                    <a:pt x="137" y="226"/>
                    <a:pt x="137" y="226"/>
                  </a:cubicBezTo>
                  <a:cubicBezTo>
                    <a:pt x="137" y="225"/>
                    <a:pt x="137" y="224"/>
                    <a:pt x="137" y="223"/>
                  </a:cubicBezTo>
                  <a:cubicBezTo>
                    <a:pt x="137" y="221"/>
                    <a:pt x="137" y="221"/>
                    <a:pt x="137" y="220"/>
                  </a:cubicBezTo>
                  <a:cubicBezTo>
                    <a:pt x="137" y="217"/>
                    <a:pt x="138" y="214"/>
                    <a:pt x="139" y="211"/>
                  </a:cubicBezTo>
                  <a:cubicBezTo>
                    <a:pt x="139" y="208"/>
                    <a:pt x="139" y="208"/>
                    <a:pt x="139" y="208"/>
                  </a:cubicBezTo>
                  <a:cubicBezTo>
                    <a:pt x="139" y="208"/>
                    <a:pt x="139" y="207"/>
                    <a:pt x="140" y="207"/>
                  </a:cubicBezTo>
                  <a:cubicBezTo>
                    <a:pt x="140" y="205"/>
                    <a:pt x="141" y="204"/>
                    <a:pt x="142" y="204"/>
                  </a:cubicBezTo>
                  <a:cubicBezTo>
                    <a:pt x="142" y="203"/>
                    <a:pt x="142" y="203"/>
                    <a:pt x="142" y="203"/>
                  </a:cubicBezTo>
                  <a:cubicBezTo>
                    <a:pt x="143" y="202"/>
                    <a:pt x="144" y="201"/>
                    <a:pt x="146" y="199"/>
                  </a:cubicBezTo>
                  <a:cubicBezTo>
                    <a:pt x="147" y="198"/>
                    <a:pt x="148" y="198"/>
                    <a:pt x="149" y="197"/>
                  </a:cubicBezTo>
                  <a:cubicBezTo>
                    <a:pt x="150" y="196"/>
                    <a:pt x="150" y="196"/>
                    <a:pt x="150" y="196"/>
                  </a:cubicBezTo>
                  <a:cubicBezTo>
                    <a:pt x="150" y="196"/>
                    <a:pt x="151" y="196"/>
                    <a:pt x="151" y="196"/>
                  </a:cubicBezTo>
                  <a:cubicBezTo>
                    <a:pt x="147" y="193"/>
                    <a:pt x="147" y="193"/>
                    <a:pt x="147" y="193"/>
                  </a:cubicBezTo>
                  <a:cubicBezTo>
                    <a:pt x="152" y="195"/>
                    <a:pt x="152" y="195"/>
                    <a:pt x="152" y="195"/>
                  </a:cubicBezTo>
                  <a:cubicBezTo>
                    <a:pt x="152" y="195"/>
                    <a:pt x="152" y="195"/>
                    <a:pt x="152" y="195"/>
                  </a:cubicBezTo>
                  <a:cubicBezTo>
                    <a:pt x="154" y="194"/>
                    <a:pt x="155" y="194"/>
                    <a:pt x="157" y="194"/>
                  </a:cubicBezTo>
                  <a:cubicBezTo>
                    <a:pt x="157" y="194"/>
                    <a:pt x="157" y="194"/>
                    <a:pt x="157" y="194"/>
                  </a:cubicBezTo>
                  <a:cubicBezTo>
                    <a:pt x="158" y="194"/>
                    <a:pt x="158" y="194"/>
                    <a:pt x="159" y="194"/>
                  </a:cubicBezTo>
                  <a:cubicBezTo>
                    <a:pt x="161" y="194"/>
                    <a:pt x="161" y="194"/>
                    <a:pt x="161" y="194"/>
                  </a:cubicBezTo>
                  <a:cubicBezTo>
                    <a:pt x="161" y="194"/>
                    <a:pt x="162" y="195"/>
                    <a:pt x="163" y="195"/>
                  </a:cubicBezTo>
                  <a:cubicBezTo>
                    <a:pt x="163" y="195"/>
                    <a:pt x="163" y="195"/>
                    <a:pt x="163" y="195"/>
                  </a:cubicBezTo>
                  <a:cubicBezTo>
                    <a:pt x="164" y="195"/>
                    <a:pt x="164" y="195"/>
                    <a:pt x="164" y="195"/>
                  </a:cubicBezTo>
                  <a:cubicBezTo>
                    <a:pt x="165" y="196"/>
                    <a:pt x="165" y="196"/>
                    <a:pt x="166" y="196"/>
                  </a:cubicBezTo>
                  <a:cubicBezTo>
                    <a:pt x="167" y="196"/>
                    <a:pt x="167" y="196"/>
                    <a:pt x="167" y="196"/>
                  </a:cubicBezTo>
                  <a:cubicBezTo>
                    <a:pt x="168" y="195"/>
                    <a:pt x="168" y="195"/>
                    <a:pt x="168" y="195"/>
                  </a:cubicBezTo>
                  <a:cubicBezTo>
                    <a:pt x="169" y="195"/>
                    <a:pt x="170" y="195"/>
                    <a:pt x="171" y="194"/>
                  </a:cubicBezTo>
                  <a:cubicBezTo>
                    <a:pt x="164" y="188"/>
                    <a:pt x="164" y="188"/>
                    <a:pt x="164" y="188"/>
                  </a:cubicBezTo>
                  <a:cubicBezTo>
                    <a:pt x="171" y="187"/>
                    <a:pt x="171" y="187"/>
                    <a:pt x="171" y="187"/>
                  </a:cubicBezTo>
                  <a:cubicBezTo>
                    <a:pt x="175" y="187"/>
                    <a:pt x="176" y="186"/>
                    <a:pt x="179" y="184"/>
                  </a:cubicBezTo>
                  <a:cubicBezTo>
                    <a:pt x="180" y="184"/>
                    <a:pt x="180" y="184"/>
                    <a:pt x="180" y="184"/>
                  </a:cubicBezTo>
                  <a:cubicBezTo>
                    <a:pt x="180" y="184"/>
                    <a:pt x="180" y="183"/>
                    <a:pt x="181" y="183"/>
                  </a:cubicBezTo>
                  <a:cubicBezTo>
                    <a:pt x="182" y="183"/>
                    <a:pt x="183" y="182"/>
                    <a:pt x="184" y="182"/>
                  </a:cubicBezTo>
                  <a:cubicBezTo>
                    <a:pt x="184" y="182"/>
                    <a:pt x="185" y="181"/>
                    <a:pt x="185" y="181"/>
                  </a:cubicBezTo>
                  <a:cubicBezTo>
                    <a:pt x="186" y="181"/>
                    <a:pt x="187" y="181"/>
                    <a:pt x="188" y="181"/>
                  </a:cubicBezTo>
                  <a:cubicBezTo>
                    <a:pt x="188" y="180"/>
                    <a:pt x="189" y="180"/>
                    <a:pt x="189" y="180"/>
                  </a:cubicBezTo>
                  <a:cubicBezTo>
                    <a:pt x="190" y="180"/>
                    <a:pt x="190" y="180"/>
                    <a:pt x="190" y="180"/>
                  </a:cubicBezTo>
                  <a:cubicBezTo>
                    <a:pt x="191" y="180"/>
                    <a:pt x="192" y="180"/>
                    <a:pt x="193" y="179"/>
                  </a:cubicBezTo>
                  <a:cubicBezTo>
                    <a:pt x="193" y="179"/>
                    <a:pt x="194" y="179"/>
                    <a:pt x="194" y="179"/>
                  </a:cubicBezTo>
                  <a:cubicBezTo>
                    <a:pt x="195" y="179"/>
                    <a:pt x="195" y="179"/>
                    <a:pt x="196" y="180"/>
                  </a:cubicBezTo>
                  <a:cubicBezTo>
                    <a:pt x="196" y="180"/>
                    <a:pt x="196" y="180"/>
                    <a:pt x="196" y="180"/>
                  </a:cubicBezTo>
                  <a:cubicBezTo>
                    <a:pt x="197" y="180"/>
                    <a:pt x="198" y="180"/>
                    <a:pt x="198" y="181"/>
                  </a:cubicBezTo>
                  <a:cubicBezTo>
                    <a:pt x="199" y="181"/>
                    <a:pt x="199" y="181"/>
                    <a:pt x="199" y="181"/>
                  </a:cubicBezTo>
                  <a:cubicBezTo>
                    <a:pt x="200" y="181"/>
                    <a:pt x="201" y="182"/>
                    <a:pt x="202" y="183"/>
                  </a:cubicBezTo>
                  <a:cubicBezTo>
                    <a:pt x="202" y="183"/>
                    <a:pt x="202" y="183"/>
                    <a:pt x="202" y="183"/>
                  </a:cubicBezTo>
                  <a:cubicBezTo>
                    <a:pt x="203" y="184"/>
                    <a:pt x="203" y="184"/>
                    <a:pt x="204" y="184"/>
                  </a:cubicBezTo>
                  <a:cubicBezTo>
                    <a:pt x="204" y="184"/>
                    <a:pt x="204" y="184"/>
                    <a:pt x="204" y="184"/>
                  </a:cubicBezTo>
                  <a:cubicBezTo>
                    <a:pt x="206" y="183"/>
                    <a:pt x="206" y="183"/>
                    <a:pt x="206" y="183"/>
                  </a:cubicBezTo>
                  <a:cubicBezTo>
                    <a:pt x="207" y="181"/>
                    <a:pt x="209" y="180"/>
                    <a:pt x="211" y="178"/>
                  </a:cubicBezTo>
                  <a:cubicBezTo>
                    <a:pt x="211" y="178"/>
                    <a:pt x="211" y="178"/>
                    <a:pt x="211" y="178"/>
                  </a:cubicBezTo>
                  <a:cubicBezTo>
                    <a:pt x="210" y="170"/>
                    <a:pt x="210" y="170"/>
                    <a:pt x="210" y="170"/>
                  </a:cubicBezTo>
                  <a:cubicBezTo>
                    <a:pt x="210" y="170"/>
                    <a:pt x="210" y="170"/>
                    <a:pt x="210" y="170"/>
                  </a:cubicBezTo>
                  <a:cubicBezTo>
                    <a:pt x="210" y="165"/>
                    <a:pt x="210" y="165"/>
                    <a:pt x="210" y="165"/>
                  </a:cubicBezTo>
                  <a:cubicBezTo>
                    <a:pt x="210" y="164"/>
                    <a:pt x="210" y="163"/>
                    <a:pt x="211" y="162"/>
                  </a:cubicBezTo>
                  <a:cubicBezTo>
                    <a:pt x="211" y="161"/>
                    <a:pt x="211" y="161"/>
                    <a:pt x="211" y="161"/>
                  </a:cubicBezTo>
                  <a:cubicBezTo>
                    <a:pt x="212" y="161"/>
                    <a:pt x="213" y="160"/>
                    <a:pt x="213" y="160"/>
                  </a:cubicBezTo>
                  <a:cubicBezTo>
                    <a:pt x="214" y="159"/>
                    <a:pt x="214" y="159"/>
                    <a:pt x="214" y="159"/>
                  </a:cubicBezTo>
                  <a:cubicBezTo>
                    <a:pt x="214" y="159"/>
                    <a:pt x="214" y="158"/>
                    <a:pt x="214" y="158"/>
                  </a:cubicBezTo>
                  <a:cubicBezTo>
                    <a:pt x="214" y="157"/>
                    <a:pt x="214" y="157"/>
                    <a:pt x="214" y="157"/>
                  </a:cubicBezTo>
                  <a:cubicBezTo>
                    <a:pt x="215" y="156"/>
                    <a:pt x="215" y="156"/>
                    <a:pt x="215" y="155"/>
                  </a:cubicBezTo>
                  <a:cubicBezTo>
                    <a:pt x="216" y="152"/>
                    <a:pt x="216" y="149"/>
                    <a:pt x="218" y="147"/>
                  </a:cubicBezTo>
                  <a:cubicBezTo>
                    <a:pt x="219" y="146"/>
                    <a:pt x="219" y="146"/>
                    <a:pt x="219" y="146"/>
                  </a:cubicBezTo>
                  <a:cubicBezTo>
                    <a:pt x="220" y="145"/>
                    <a:pt x="220" y="145"/>
                    <a:pt x="221" y="145"/>
                  </a:cubicBezTo>
                  <a:cubicBezTo>
                    <a:pt x="222" y="145"/>
                    <a:pt x="222" y="145"/>
                    <a:pt x="222" y="145"/>
                  </a:cubicBezTo>
                  <a:cubicBezTo>
                    <a:pt x="222" y="145"/>
                    <a:pt x="223" y="145"/>
                    <a:pt x="224" y="145"/>
                  </a:cubicBezTo>
                  <a:cubicBezTo>
                    <a:pt x="225" y="145"/>
                    <a:pt x="225" y="145"/>
                    <a:pt x="225" y="145"/>
                  </a:cubicBezTo>
                  <a:cubicBezTo>
                    <a:pt x="226" y="145"/>
                    <a:pt x="227" y="145"/>
                    <a:pt x="228" y="145"/>
                  </a:cubicBezTo>
                  <a:cubicBezTo>
                    <a:pt x="228" y="144"/>
                    <a:pt x="228" y="144"/>
                    <a:pt x="228" y="144"/>
                  </a:cubicBezTo>
                  <a:cubicBezTo>
                    <a:pt x="230" y="144"/>
                    <a:pt x="234" y="142"/>
                    <a:pt x="235" y="140"/>
                  </a:cubicBezTo>
                  <a:cubicBezTo>
                    <a:pt x="235" y="140"/>
                    <a:pt x="235" y="140"/>
                    <a:pt x="235" y="140"/>
                  </a:cubicBezTo>
                  <a:cubicBezTo>
                    <a:pt x="235" y="139"/>
                    <a:pt x="234" y="138"/>
                    <a:pt x="232" y="135"/>
                  </a:cubicBezTo>
                  <a:cubicBezTo>
                    <a:pt x="230" y="132"/>
                    <a:pt x="230" y="132"/>
                    <a:pt x="230" y="132"/>
                  </a:cubicBezTo>
                  <a:cubicBezTo>
                    <a:pt x="230" y="132"/>
                    <a:pt x="230" y="132"/>
                    <a:pt x="230" y="132"/>
                  </a:cubicBezTo>
                  <a:cubicBezTo>
                    <a:pt x="229" y="131"/>
                    <a:pt x="229" y="131"/>
                    <a:pt x="229" y="131"/>
                  </a:cubicBezTo>
                  <a:cubicBezTo>
                    <a:pt x="229" y="130"/>
                    <a:pt x="229" y="130"/>
                    <a:pt x="229" y="130"/>
                  </a:cubicBezTo>
                  <a:cubicBezTo>
                    <a:pt x="226" y="127"/>
                    <a:pt x="226" y="127"/>
                    <a:pt x="226" y="127"/>
                  </a:cubicBezTo>
                  <a:cubicBezTo>
                    <a:pt x="225" y="123"/>
                    <a:pt x="226" y="121"/>
                    <a:pt x="227" y="120"/>
                  </a:cubicBezTo>
                  <a:cubicBezTo>
                    <a:pt x="227" y="119"/>
                    <a:pt x="227" y="119"/>
                    <a:pt x="227" y="119"/>
                  </a:cubicBezTo>
                  <a:cubicBezTo>
                    <a:pt x="229" y="119"/>
                    <a:pt x="230" y="119"/>
                    <a:pt x="231" y="119"/>
                  </a:cubicBezTo>
                  <a:cubicBezTo>
                    <a:pt x="234" y="119"/>
                    <a:pt x="236" y="119"/>
                    <a:pt x="240" y="120"/>
                  </a:cubicBezTo>
                  <a:cubicBezTo>
                    <a:pt x="241" y="120"/>
                    <a:pt x="241" y="120"/>
                    <a:pt x="241" y="120"/>
                  </a:cubicBezTo>
                  <a:cubicBezTo>
                    <a:pt x="241" y="120"/>
                    <a:pt x="242" y="121"/>
                    <a:pt x="242" y="121"/>
                  </a:cubicBezTo>
                  <a:cubicBezTo>
                    <a:pt x="244" y="121"/>
                    <a:pt x="244" y="121"/>
                    <a:pt x="244" y="121"/>
                  </a:cubicBezTo>
                  <a:cubicBezTo>
                    <a:pt x="244" y="121"/>
                    <a:pt x="245" y="121"/>
                    <a:pt x="245" y="121"/>
                  </a:cubicBezTo>
                  <a:cubicBezTo>
                    <a:pt x="246" y="121"/>
                    <a:pt x="246" y="121"/>
                    <a:pt x="247" y="121"/>
                  </a:cubicBezTo>
                  <a:cubicBezTo>
                    <a:pt x="249" y="121"/>
                    <a:pt x="252" y="120"/>
                    <a:pt x="253" y="119"/>
                  </a:cubicBezTo>
                  <a:cubicBezTo>
                    <a:pt x="254" y="118"/>
                    <a:pt x="255" y="118"/>
                    <a:pt x="255" y="117"/>
                  </a:cubicBezTo>
                  <a:cubicBezTo>
                    <a:pt x="256" y="117"/>
                    <a:pt x="256" y="116"/>
                    <a:pt x="256" y="116"/>
                  </a:cubicBezTo>
                  <a:cubicBezTo>
                    <a:pt x="256" y="116"/>
                    <a:pt x="256" y="116"/>
                    <a:pt x="256" y="116"/>
                  </a:cubicBezTo>
                  <a:cubicBezTo>
                    <a:pt x="256" y="115"/>
                    <a:pt x="256" y="115"/>
                    <a:pt x="256" y="115"/>
                  </a:cubicBezTo>
                  <a:cubicBezTo>
                    <a:pt x="256" y="115"/>
                    <a:pt x="256" y="115"/>
                    <a:pt x="256" y="115"/>
                  </a:cubicBezTo>
                  <a:cubicBezTo>
                    <a:pt x="255" y="114"/>
                    <a:pt x="254" y="113"/>
                    <a:pt x="254" y="112"/>
                  </a:cubicBezTo>
                  <a:cubicBezTo>
                    <a:pt x="252" y="109"/>
                    <a:pt x="253" y="106"/>
                    <a:pt x="255" y="103"/>
                  </a:cubicBezTo>
                  <a:cubicBezTo>
                    <a:pt x="255" y="102"/>
                    <a:pt x="256" y="102"/>
                    <a:pt x="258" y="101"/>
                  </a:cubicBezTo>
                  <a:cubicBezTo>
                    <a:pt x="258" y="100"/>
                    <a:pt x="258" y="100"/>
                    <a:pt x="259" y="99"/>
                  </a:cubicBezTo>
                  <a:cubicBezTo>
                    <a:pt x="259" y="98"/>
                    <a:pt x="260" y="97"/>
                    <a:pt x="261" y="96"/>
                  </a:cubicBezTo>
                  <a:cubicBezTo>
                    <a:pt x="263" y="95"/>
                    <a:pt x="264" y="94"/>
                    <a:pt x="265" y="94"/>
                  </a:cubicBezTo>
                  <a:cubicBezTo>
                    <a:pt x="266" y="93"/>
                    <a:pt x="266" y="93"/>
                    <a:pt x="266" y="93"/>
                  </a:cubicBezTo>
                  <a:cubicBezTo>
                    <a:pt x="266" y="93"/>
                    <a:pt x="266" y="93"/>
                    <a:pt x="266" y="92"/>
                  </a:cubicBezTo>
                  <a:cubicBezTo>
                    <a:pt x="266" y="91"/>
                    <a:pt x="267" y="90"/>
                    <a:pt x="268" y="89"/>
                  </a:cubicBezTo>
                  <a:cubicBezTo>
                    <a:pt x="268" y="89"/>
                    <a:pt x="267" y="88"/>
                    <a:pt x="267" y="87"/>
                  </a:cubicBezTo>
                  <a:cubicBezTo>
                    <a:pt x="267" y="87"/>
                    <a:pt x="267" y="87"/>
                    <a:pt x="267" y="87"/>
                  </a:cubicBezTo>
                  <a:cubicBezTo>
                    <a:pt x="267" y="86"/>
                    <a:pt x="267" y="85"/>
                    <a:pt x="267" y="84"/>
                  </a:cubicBezTo>
                  <a:cubicBezTo>
                    <a:pt x="267" y="83"/>
                    <a:pt x="267" y="81"/>
                    <a:pt x="267" y="81"/>
                  </a:cubicBezTo>
                  <a:cubicBezTo>
                    <a:pt x="266" y="79"/>
                    <a:pt x="266" y="79"/>
                    <a:pt x="266" y="79"/>
                  </a:cubicBezTo>
                  <a:cubicBezTo>
                    <a:pt x="266" y="79"/>
                    <a:pt x="266" y="79"/>
                    <a:pt x="266" y="79"/>
                  </a:cubicBezTo>
                  <a:cubicBezTo>
                    <a:pt x="266" y="78"/>
                    <a:pt x="266" y="78"/>
                    <a:pt x="266" y="78"/>
                  </a:cubicBezTo>
                  <a:cubicBezTo>
                    <a:pt x="265" y="77"/>
                    <a:pt x="265" y="77"/>
                    <a:pt x="265" y="77"/>
                  </a:cubicBezTo>
                  <a:cubicBezTo>
                    <a:pt x="264" y="76"/>
                    <a:pt x="264" y="75"/>
                    <a:pt x="264" y="75"/>
                  </a:cubicBezTo>
                  <a:cubicBezTo>
                    <a:pt x="264" y="75"/>
                    <a:pt x="263" y="74"/>
                    <a:pt x="263" y="74"/>
                  </a:cubicBezTo>
                  <a:cubicBezTo>
                    <a:pt x="263" y="74"/>
                    <a:pt x="263" y="74"/>
                    <a:pt x="263" y="74"/>
                  </a:cubicBezTo>
                  <a:cubicBezTo>
                    <a:pt x="262" y="72"/>
                    <a:pt x="261" y="70"/>
                    <a:pt x="260" y="69"/>
                  </a:cubicBezTo>
                  <a:cubicBezTo>
                    <a:pt x="259" y="69"/>
                    <a:pt x="259" y="69"/>
                    <a:pt x="259" y="69"/>
                  </a:cubicBezTo>
                  <a:cubicBezTo>
                    <a:pt x="259" y="68"/>
                    <a:pt x="259" y="68"/>
                    <a:pt x="259" y="68"/>
                  </a:cubicBezTo>
                  <a:cubicBezTo>
                    <a:pt x="256" y="67"/>
                    <a:pt x="256" y="67"/>
                    <a:pt x="256" y="67"/>
                  </a:cubicBezTo>
                  <a:cubicBezTo>
                    <a:pt x="258" y="64"/>
                    <a:pt x="258" y="64"/>
                    <a:pt x="258" y="64"/>
                  </a:cubicBezTo>
                  <a:cubicBezTo>
                    <a:pt x="262" y="59"/>
                    <a:pt x="266" y="55"/>
                    <a:pt x="269" y="52"/>
                  </a:cubicBezTo>
                  <a:cubicBezTo>
                    <a:pt x="270" y="51"/>
                    <a:pt x="270" y="51"/>
                    <a:pt x="270" y="51"/>
                  </a:cubicBezTo>
                  <a:cubicBezTo>
                    <a:pt x="272" y="51"/>
                    <a:pt x="272" y="51"/>
                    <a:pt x="272" y="51"/>
                  </a:cubicBezTo>
                  <a:cubicBezTo>
                    <a:pt x="272" y="51"/>
                    <a:pt x="272" y="51"/>
                    <a:pt x="272" y="51"/>
                  </a:cubicBezTo>
                  <a:cubicBezTo>
                    <a:pt x="273" y="51"/>
                    <a:pt x="273" y="51"/>
                    <a:pt x="274" y="51"/>
                  </a:cubicBezTo>
                  <a:cubicBezTo>
                    <a:pt x="275" y="51"/>
                    <a:pt x="275" y="51"/>
                    <a:pt x="275" y="51"/>
                  </a:cubicBezTo>
                  <a:cubicBezTo>
                    <a:pt x="276" y="52"/>
                    <a:pt x="276" y="52"/>
                    <a:pt x="276" y="52"/>
                  </a:cubicBezTo>
                  <a:cubicBezTo>
                    <a:pt x="277" y="51"/>
                    <a:pt x="279" y="50"/>
                    <a:pt x="280" y="49"/>
                  </a:cubicBezTo>
                  <a:cubicBezTo>
                    <a:pt x="283" y="47"/>
                    <a:pt x="283" y="47"/>
                    <a:pt x="283" y="47"/>
                  </a:cubicBezTo>
                  <a:cubicBezTo>
                    <a:pt x="285" y="46"/>
                    <a:pt x="286" y="45"/>
                    <a:pt x="287" y="45"/>
                  </a:cubicBezTo>
                  <a:cubicBezTo>
                    <a:pt x="286" y="45"/>
                    <a:pt x="286" y="45"/>
                    <a:pt x="286" y="45"/>
                  </a:cubicBezTo>
                  <a:cubicBezTo>
                    <a:pt x="283" y="46"/>
                    <a:pt x="280" y="47"/>
                    <a:pt x="277" y="49"/>
                  </a:cubicBezTo>
                  <a:cubicBezTo>
                    <a:pt x="274" y="50"/>
                    <a:pt x="274" y="50"/>
                    <a:pt x="274" y="50"/>
                  </a:cubicBezTo>
                  <a:cubicBezTo>
                    <a:pt x="274" y="50"/>
                    <a:pt x="273" y="50"/>
                    <a:pt x="273" y="50"/>
                  </a:cubicBezTo>
                  <a:cubicBezTo>
                    <a:pt x="272" y="50"/>
                    <a:pt x="272" y="50"/>
                    <a:pt x="272" y="50"/>
                  </a:cubicBezTo>
                  <a:cubicBezTo>
                    <a:pt x="272" y="50"/>
                    <a:pt x="271" y="50"/>
                    <a:pt x="270" y="50"/>
                  </a:cubicBezTo>
                  <a:cubicBezTo>
                    <a:pt x="268" y="48"/>
                    <a:pt x="267" y="46"/>
                    <a:pt x="266" y="44"/>
                  </a:cubicBezTo>
                  <a:cubicBezTo>
                    <a:pt x="266" y="44"/>
                    <a:pt x="266" y="43"/>
                    <a:pt x="266" y="43"/>
                  </a:cubicBezTo>
                  <a:cubicBezTo>
                    <a:pt x="265" y="42"/>
                    <a:pt x="265" y="42"/>
                    <a:pt x="265" y="42"/>
                  </a:cubicBezTo>
                  <a:cubicBezTo>
                    <a:pt x="264" y="41"/>
                    <a:pt x="264" y="39"/>
                    <a:pt x="264" y="37"/>
                  </a:cubicBezTo>
                  <a:cubicBezTo>
                    <a:pt x="264" y="36"/>
                    <a:pt x="264" y="35"/>
                    <a:pt x="264" y="34"/>
                  </a:cubicBezTo>
                  <a:cubicBezTo>
                    <a:pt x="264" y="33"/>
                    <a:pt x="264" y="32"/>
                    <a:pt x="265" y="32"/>
                  </a:cubicBezTo>
                  <a:cubicBezTo>
                    <a:pt x="265" y="31"/>
                    <a:pt x="265" y="31"/>
                    <a:pt x="265" y="31"/>
                  </a:cubicBezTo>
                  <a:cubicBezTo>
                    <a:pt x="265" y="28"/>
                    <a:pt x="266" y="25"/>
                    <a:pt x="266" y="21"/>
                  </a:cubicBezTo>
                  <a:cubicBezTo>
                    <a:pt x="266" y="18"/>
                    <a:pt x="267" y="16"/>
                    <a:pt x="267" y="14"/>
                  </a:cubicBezTo>
                  <a:cubicBezTo>
                    <a:pt x="266" y="14"/>
                    <a:pt x="265" y="14"/>
                    <a:pt x="264" y="14"/>
                  </a:cubicBezTo>
                  <a:cubicBezTo>
                    <a:pt x="264" y="14"/>
                    <a:pt x="264" y="14"/>
                    <a:pt x="264" y="14"/>
                  </a:cubicBezTo>
                  <a:cubicBezTo>
                    <a:pt x="263" y="13"/>
                    <a:pt x="262" y="13"/>
                    <a:pt x="262" y="13"/>
                  </a:cubicBezTo>
                  <a:cubicBezTo>
                    <a:pt x="258" y="13"/>
                    <a:pt x="258" y="13"/>
                    <a:pt x="258" y="13"/>
                  </a:cubicBezTo>
                  <a:cubicBezTo>
                    <a:pt x="260" y="8"/>
                    <a:pt x="260" y="8"/>
                    <a:pt x="260" y="8"/>
                  </a:cubicBezTo>
                  <a:cubicBezTo>
                    <a:pt x="260" y="7"/>
                    <a:pt x="261" y="7"/>
                    <a:pt x="261" y="7"/>
                  </a:cubicBezTo>
                  <a:cubicBezTo>
                    <a:pt x="260" y="6"/>
                    <a:pt x="260" y="6"/>
                    <a:pt x="260" y="6"/>
                  </a:cubicBezTo>
                  <a:cubicBezTo>
                    <a:pt x="260" y="6"/>
                    <a:pt x="260" y="5"/>
                    <a:pt x="259" y="5"/>
                  </a:cubicBezTo>
                  <a:cubicBezTo>
                    <a:pt x="259" y="4"/>
                    <a:pt x="259" y="4"/>
                    <a:pt x="259" y="4"/>
                  </a:cubicBezTo>
                  <a:cubicBezTo>
                    <a:pt x="254" y="9"/>
                    <a:pt x="254" y="9"/>
                    <a:pt x="254" y="9"/>
                  </a:cubicBezTo>
                  <a:cubicBezTo>
                    <a:pt x="258" y="3"/>
                    <a:pt x="258" y="3"/>
                    <a:pt x="258" y="3"/>
                  </a:cubicBezTo>
                  <a:cubicBezTo>
                    <a:pt x="257" y="2"/>
                    <a:pt x="257" y="1"/>
                    <a:pt x="256" y="1"/>
                  </a:cubicBezTo>
                  <a:cubicBezTo>
                    <a:pt x="256" y="1"/>
                    <a:pt x="255" y="0"/>
                    <a:pt x="25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506"/>
            <p:cNvSpPr>
              <a:spLocks noEditPoints="1"/>
            </p:cNvSpPr>
            <p:nvPr/>
          </p:nvSpPr>
          <p:spPr bwMode="auto">
            <a:xfrm>
              <a:off x="1090864" y="2581488"/>
              <a:ext cx="1478781" cy="1262538"/>
            </a:xfrm>
            <a:custGeom>
              <a:gdLst>
                <a:gd name="T0" fmla="*/ 118 w 466"/>
                <a:gd name="T1" fmla="*/ 258 h 398"/>
                <a:gd name="T2" fmla="*/ 7 w 466"/>
                <a:gd name="T3" fmla="*/ 33 h 398"/>
                <a:gd name="T4" fmla="*/ 12 w 466"/>
                <a:gd name="T5" fmla="*/ 53 h 398"/>
                <a:gd name="T6" fmla="*/ 17 w 466"/>
                <a:gd name="T7" fmla="*/ 71 h 398"/>
                <a:gd name="T8" fmla="*/ 22 w 466"/>
                <a:gd name="T9" fmla="*/ 80 h 398"/>
                <a:gd name="T10" fmla="*/ 28 w 466"/>
                <a:gd name="T11" fmla="*/ 91 h 398"/>
                <a:gd name="T12" fmla="*/ 41 w 466"/>
                <a:gd name="T13" fmla="*/ 106 h 398"/>
                <a:gd name="T14" fmla="*/ 54 w 466"/>
                <a:gd name="T15" fmla="*/ 112 h 398"/>
                <a:gd name="T16" fmla="*/ 52 w 466"/>
                <a:gd name="T17" fmla="*/ 126 h 398"/>
                <a:gd name="T18" fmla="*/ 40 w 466"/>
                <a:gd name="T19" fmla="*/ 145 h 398"/>
                <a:gd name="T20" fmla="*/ 33 w 466"/>
                <a:gd name="T21" fmla="*/ 160 h 398"/>
                <a:gd name="T22" fmla="*/ 41 w 466"/>
                <a:gd name="T23" fmla="*/ 168 h 398"/>
                <a:gd name="T24" fmla="*/ 50 w 466"/>
                <a:gd name="T25" fmla="*/ 185 h 398"/>
                <a:gd name="T26" fmla="*/ 81 w 466"/>
                <a:gd name="T27" fmla="*/ 201 h 398"/>
                <a:gd name="T28" fmla="*/ 92 w 466"/>
                <a:gd name="T29" fmla="*/ 224 h 398"/>
                <a:gd name="T30" fmla="*/ 96 w 466"/>
                <a:gd name="T31" fmla="*/ 240 h 398"/>
                <a:gd name="T32" fmla="*/ 106 w 466"/>
                <a:gd name="T33" fmla="*/ 263 h 398"/>
                <a:gd name="T34" fmla="*/ 123 w 466"/>
                <a:gd name="T35" fmla="*/ 261 h 398"/>
                <a:gd name="T36" fmla="*/ 143 w 466"/>
                <a:gd name="T37" fmla="*/ 265 h 398"/>
                <a:gd name="T38" fmla="*/ 166 w 466"/>
                <a:gd name="T39" fmla="*/ 298 h 398"/>
                <a:gd name="T40" fmla="*/ 187 w 466"/>
                <a:gd name="T41" fmla="*/ 326 h 398"/>
                <a:gd name="T42" fmla="*/ 210 w 466"/>
                <a:gd name="T43" fmla="*/ 340 h 398"/>
                <a:gd name="T44" fmla="*/ 240 w 466"/>
                <a:gd name="T45" fmla="*/ 358 h 398"/>
                <a:gd name="T46" fmla="*/ 289 w 466"/>
                <a:gd name="T47" fmla="*/ 346 h 398"/>
                <a:gd name="T48" fmla="*/ 318 w 466"/>
                <a:gd name="T49" fmla="*/ 367 h 398"/>
                <a:gd name="T50" fmla="*/ 358 w 466"/>
                <a:gd name="T51" fmla="*/ 387 h 398"/>
                <a:gd name="T52" fmla="*/ 389 w 466"/>
                <a:gd name="T53" fmla="*/ 390 h 398"/>
                <a:gd name="T54" fmla="*/ 420 w 466"/>
                <a:gd name="T55" fmla="*/ 398 h 398"/>
                <a:gd name="T56" fmla="*/ 431 w 466"/>
                <a:gd name="T57" fmla="*/ 373 h 398"/>
                <a:gd name="T58" fmla="*/ 464 w 466"/>
                <a:gd name="T59" fmla="*/ 356 h 398"/>
                <a:gd name="T60" fmla="*/ 454 w 466"/>
                <a:gd name="T61" fmla="*/ 341 h 398"/>
                <a:gd name="T62" fmla="*/ 446 w 466"/>
                <a:gd name="T63" fmla="*/ 315 h 398"/>
                <a:gd name="T64" fmla="*/ 403 w 466"/>
                <a:gd name="T65" fmla="*/ 274 h 398"/>
                <a:gd name="T66" fmla="*/ 425 w 466"/>
                <a:gd name="T67" fmla="*/ 250 h 398"/>
                <a:gd name="T68" fmla="*/ 407 w 466"/>
                <a:gd name="T69" fmla="*/ 228 h 398"/>
                <a:gd name="T70" fmla="*/ 406 w 466"/>
                <a:gd name="T71" fmla="*/ 203 h 398"/>
                <a:gd name="T72" fmla="*/ 399 w 466"/>
                <a:gd name="T73" fmla="*/ 167 h 398"/>
                <a:gd name="T74" fmla="*/ 408 w 466"/>
                <a:gd name="T75" fmla="*/ 139 h 398"/>
                <a:gd name="T76" fmla="*/ 419 w 466"/>
                <a:gd name="T77" fmla="*/ 117 h 398"/>
                <a:gd name="T78" fmla="*/ 415 w 466"/>
                <a:gd name="T79" fmla="*/ 95 h 398"/>
                <a:gd name="T80" fmla="*/ 401 w 466"/>
                <a:gd name="T81" fmla="*/ 88 h 398"/>
                <a:gd name="T82" fmla="*/ 387 w 466"/>
                <a:gd name="T83" fmla="*/ 77 h 398"/>
                <a:gd name="T84" fmla="*/ 372 w 466"/>
                <a:gd name="T85" fmla="*/ 64 h 398"/>
                <a:gd name="T86" fmla="*/ 349 w 466"/>
                <a:gd name="T87" fmla="*/ 60 h 398"/>
                <a:gd name="T88" fmla="*/ 326 w 466"/>
                <a:gd name="T89" fmla="*/ 52 h 398"/>
                <a:gd name="T90" fmla="*/ 310 w 466"/>
                <a:gd name="T91" fmla="*/ 42 h 398"/>
                <a:gd name="T92" fmla="*/ 294 w 466"/>
                <a:gd name="T93" fmla="*/ 53 h 398"/>
                <a:gd name="T94" fmla="*/ 232 w 466"/>
                <a:gd name="T95" fmla="*/ 79 h 398"/>
                <a:gd name="T96" fmla="*/ 186 w 466"/>
                <a:gd name="T97" fmla="*/ 86 h 398"/>
                <a:gd name="T98" fmla="*/ 148 w 466"/>
                <a:gd name="T99" fmla="*/ 67 h 398"/>
                <a:gd name="T100" fmla="*/ 115 w 466"/>
                <a:gd name="T101" fmla="*/ 37 h 398"/>
                <a:gd name="T102" fmla="*/ 108 w 466"/>
                <a:gd name="T103" fmla="*/ 38 h 398"/>
                <a:gd name="T104" fmla="*/ 89 w 466"/>
                <a:gd name="T105" fmla="*/ 22 h 398"/>
                <a:gd name="T106" fmla="*/ 87 w 466"/>
                <a:gd name="T107" fmla="*/ 4 h 398"/>
                <a:gd name="T108" fmla="*/ 60 w 466"/>
                <a:gd name="T109" fmla="*/ 24 h 398"/>
                <a:gd name="T110" fmla="*/ 52 w 466"/>
                <a:gd name="T111" fmla="*/ 25 h 398"/>
                <a:gd name="T112" fmla="*/ 13 w 466"/>
                <a:gd name="T113" fmla="*/ 3 h 39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6" h="398">
                  <a:moveTo>
                    <a:pt x="118" y="258"/>
                  </a:moveTo>
                  <a:cubicBezTo>
                    <a:pt x="119" y="257"/>
                    <a:pt x="119" y="256"/>
                    <a:pt x="117" y="255"/>
                  </a:cubicBezTo>
                  <a:cubicBezTo>
                    <a:pt x="118" y="255"/>
                    <a:pt x="119" y="255"/>
                    <a:pt x="120" y="255"/>
                  </a:cubicBezTo>
                  <a:cubicBezTo>
                    <a:pt x="121" y="255"/>
                    <a:pt x="122" y="255"/>
                    <a:pt x="122" y="255"/>
                  </a:cubicBezTo>
                  <a:cubicBezTo>
                    <a:pt x="124" y="255"/>
                    <a:pt x="125" y="256"/>
                    <a:pt x="125" y="257"/>
                  </a:cubicBezTo>
                  <a:cubicBezTo>
                    <a:pt x="124" y="258"/>
                    <a:pt x="124" y="259"/>
                    <a:pt x="123" y="259"/>
                  </a:cubicBezTo>
                  <a:cubicBezTo>
                    <a:pt x="122" y="259"/>
                    <a:pt x="120" y="258"/>
                    <a:pt x="119" y="258"/>
                  </a:cubicBezTo>
                  <a:cubicBezTo>
                    <a:pt x="119" y="258"/>
                    <a:pt x="119" y="258"/>
                    <a:pt x="118" y="258"/>
                  </a:cubicBezTo>
                  <a:cubicBezTo>
                    <a:pt x="118" y="258"/>
                    <a:pt x="118" y="258"/>
                    <a:pt x="118" y="258"/>
                  </a:cubicBezTo>
                  <a:moveTo>
                    <a:pt x="10" y="0"/>
                  </a:moveTo>
                  <a:cubicBezTo>
                    <a:pt x="9" y="0"/>
                    <a:pt x="9" y="0"/>
                    <a:pt x="9" y="0"/>
                  </a:cubicBezTo>
                  <a:cubicBezTo>
                    <a:pt x="10" y="0"/>
                    <a:pt x="10" y="0"/>
                    <a:pt x="10" y="0"/>
                  </a:cubicBezTo>
                  <a:cubicBezTo>
                    <a:pt x="10" y="6"/>
                    <a:pt x="7" y="8"/>
                    <a:pt x="5" y="9"/>
                  </a:cubicBezTo>
                  <a:cubicBezTo>
                    <a:pt x="4" y="10"/>
                    <a:pt x="2" y="10"/>
                    <a:pt x="0" y="10"/>
                  </a:cubicBezTo>
                  <a:cubicBezTo>
                    <a:pt x="0" y="12"/>
                    <a:pt x="0" y="12"/>
                    <a:pt x="0" y="12"/>
                  </a:cubicBezTo>
                  <a:cubicBezTo>
                    <a:pt x="0" y="13"/>
                    <a:pt x="1" y="14"/>
                    <a:pt x="1" y="15"/>
                  </a:cubicBezTo>
                  <a:cubicBezTo>
                    <a:pt x="2" y="17"/>
                    <a:pt x="3" y="19"/>
                    <a:pt x="4" y="21"/>
                  </a:cubicBezTo>
                  <a:cubicBezTo>
                    <a:pt x="6" y="23"/>
                    <a:pt x="7" y="28"/>
                    <a:pt x="7" y="33"/>
                  </a:cubicBezTo>
                  <a:cubicBezTo>
                    <a:pt x="8" y="33"/>
                    <a:pt x="8" y="34"/>
                    <a:pt x="9" y="35"/>
                  </a:cubicBezTo>
                  <a:cubicBezTo>
                    <a:pt x="11" y="38"/>
                    <a:pt x="9" y="42"/>
                    <a:pt x="8" y="43"/>
                  </a:cubicBezTo>
                  <a:cubicBezTo>
                    <a:pt x="7" y="44"/>
                    <a:pt x="5" y="47"/>
                    <a:pt x="5" y="47"/>
                  </a:cubicBezTo>
                  <a:cubicBezTo>
                    <a:pt x="5" y="47"/>
                    <a:pt x="5" y="47"/>
                    <a:pt x="5" y="47"/>
                  </a:cubicBezTo>
                  <a:cubicBezTo>
                    <a:pt x="4" y="47"/>
                    <a:pt x="4" y="47"/>
                    <a:pt x="4" y="47"/>
                  </a:cubicBezTo>
                  <a:cubicBezTo>
                    <a:pt x="5" y="48"/>
                    <a:pt x="6" y="48"/>
                    <a:pt x="7" y="49"/>
                  </a:cubicBezTo>
                  <a:cubicBezTo>
                    <a:pt x="8" y="50"/>
                    <a:pt x="10" y="50"/>
                    <a:pt x="11" y="51"/>
                  </a:cubicBezTo>
                  <a:cubicBezTo>
                    <a:pt x="11" y="51"/>
                    <a:pt x="11" y="52"/>
                    <a:pt x="12" y="52"/>
                  </a:cubicBezTo>
                  <a:cubicBezTo>
                    <a:pt x="12" y="53"/>
                    <a:pt x="12" y="53"/>
                    <a:pt x="12" y="53"/>
                  </a:cubicBezTo>
                  <a:cubicBezTo>
                    <a:pt x="13" y="54"/>
                    <a:pt x="13" y="55"/>
                    <a:pt x="13" y="56"/>
                  </a:cubicBezTo>
                  <a:cubicBezTo>
                    <a:pt x="13" y="57"/>
                    <a:pt x="13" y="58"/>
                    <a:pt x="13" y="58"/>
                  </a:cubicBezTo>
                  <a:cubicBezTo>
                    <a:pt x="13" y="59"/>
                    <a:pt x="13" y="59"/>
                    <a:pt x="13" y="59"/>
                  </a:cubicBezTo>
                  <a:cubicBezTo>
                    <a:pt x="13" y="59"/>
                    <a:pt x="13" y="60"/>
                    <a:pt x="12" y="61"/>
                  </a:cubicBezTo>
                  <a:cubicBezTo>
                    <a:pt x="13" y="61"/>
                    <a:pt x="13" y="61"/>
                    <a:pt x="14" y="62"/>
                  </a:cubicBezTo>
                  <a:cubicBezTo>
                    <a:pt x="15" y="62"/>
                    <a:pt x="17" y="63"/>
                    <a:pt x="18" y="65"/>
                  </a:cubicBezTo>
                  <a:cubicBezTo>
                    <a:pt x="18" y="66"/>
                    <a:pt x="18" y="66"/>
                    <a:pt x="18" y="66"/>
                  </a:cubicBezTo>
                  <a:cubicBezTo>
                    <a:pt x="18" y="68"/>
                    <a:pt x="18" y="69"/>
                    <a:pt x="18" y="71"/>
                  </a:cubicBezTo>
                  <a:cubicBezTo>
                    <a:pt x="17" y="71"/>
                    <a:pt x="17" y="71"/>
                    <a:pt x="17" y="71"/>
                  </a:cubicBezTo>
                  <a:cubicBezTo>
                    <a:pt x="18" y="72"/>
                    <a:pt x="18" y="72"/>
                    <a:pt x="19" y="73"/>
                  </a:cubicBezTo>
                  <a:cubicBezTo>
                    <a:pt x="20" y="76"/>
                    <a:pt x="20" y="76"/>
                    <a:pt x="20" y="77"/>
                  </a:cubicBezTo>
                  <a:cubicBezTo>
                    <a:pt x="20" y="78"/>
                    <a:pt x="20" y="78"/>
                    <a:pt x="20" y="79"/>
                  </a:cubicBezTo>
                  <a:cubicBezTo>
                    <a:pt x="20" y="79"/>
                    <a:pt x="20" y="79"/>
                    <a:pt x="20" y="79"/>
                  </a:cubicBezTo>
                  <a:cubicBezTo>
                    <a:pt x="20" y="79"/>
                    <a:pt x="20" y="79"/>
                    <a:pt x="20" y="79"/>
                  </a:cubicBezTo>
                  <a:cubicBezTo>
                    <a:pt x="21" y="78"/>
                    <a:pt x="21" y="78"/>
                    <a:pt x="21" y="78"/>
                  </a:cubicBezTo>
                  <a:cubicBezTo>
                    <a:pt x="21" y="80"/>
                    <a:pt x="21" y="80"/>
                    <a:pt x="21" y="80"/>
                  </a:cubicBezTo>
                  <a:cubicBezTo>
                    <a:pt x="21" y="80"/>
                    <a:pt x="21" y="80"/>
                    <a:pt x="21" y="80"/>
                  </a:cubicBezTo>
                  <a:cubicBezTo>
                    <a:pt x="22" y="80"/>
                    <a:pt x="22" y="80"/>
                    <a:pt x="22" y="80"/>
                  </a:cubicBezTo>
                  <a:cubicBezTo>
                    <a:pt x="24" y="82"/>
                    <a:pt x="24" y="83"/>
                    <a:pt x="24" y="85"/>
                  </a:cubicBezTo>
                  <a:cubicBezTo>
                    <a:pt x="24" y="85"/>
                    <a:pt x="24" y="86"/>
                    <a:pt x="24" y="87"/>
                  </a:cubicBezTo>
                  <a:cubicBezTo>
                    <a:pt x="24" y="87"/>
                    <a:pt x="24" y="87"/>
                    <a:pt x="24" y="87"/>
                  </a:cubicBezTo>
                  <a:cubicBezTo>
                    <a:pt x="24" y="87"/>
                    <a:pt x="24" y="87"/>
                    <a:pt x="24" y="87"/>
                  </a:cubicBezTo>
                  <a:cubicBezTo>
                    <a:pt x="24" y="88"/>
                    <a:pt x="24" y="88"/>
                    <a:pt x="24" y="88"/>
                  </a:cubicBezTo>
                  <a:cubicBezTo>
                    <a:pt x="25" y="88"/>
                    <a:pt x="27" y="88"/>
                    <a:pt x="28" y="90"/>
                  </a:cubicBezTo>
                  <a:cubicBezTo>
                    <a:pt x="33" y="88"/>
                    <a:pt x="33" y="88"/>
                    <a:pt x="33" y="88"/>
                  </a:cubicBezTo>
                  <a:cubicBezTo>
                    <a:pt x="28" y="91"/>
                    <a:pt x="28" y="91"/>
                    <a:pt x="28" y="91"/>
                  </a:cubicBezTo>
                  <a:cubicBezTo>
                    <a:pt x="28" y="91"/>
                    <a:pt x="28" y="91"/>
                    <a:pt x="28" y="91"/>
                  </a:cubicBezTo>
                  <a:cubicBezTo>
                    <a:pt x="29" y="92"/>
                    <a:pt x="29" y="92"/>
                    <a:pt x="29" y="92"/>
                  </a:cubicBezTo>
                  <a:cubicBezTo>
                    <a:pt x="30" y="94"/>
                    <a:pt x="30" y="97"/>
                    <a:pt x="31" y="99"/>
                  </a:cubicBezTo>
                  <a:cubicBezTo>
                    <a:pt x="31" y="100"/>
                    <a:pt x="31" y="100"/>
                    <a:pt x="31" y="100"/>
                  </a:cubicBezTo>
                  <a:cubicBezTo>
                    <a:pt x="31" y="100"/>
                    <a:pt x="31" y="100"/>
                    <a:pt x="32" y="100"/>
                  </a:cubicBezTo>
                  <a:cubicBezTo>
                    <a:pt x="32" y="100"/>
                    <a:pt x="33" y="100"/>
                    <a:pt x="33" y="100"/>
                  </a:cubicBezTo>
                  <a:cubicBezTo>
                    <a:pt x="34" y="101"/>
                    <a:pt x="35" y="102"/>
                    <a:pt x="36" y="102"/>
                  </a:cubicBezTo>
                  <a:cubicBezTo>
                    <a:pt x="37" y="103"/>
                    <a:pt x="38" y="104"/>
                    <a:pt x="39" y="105"/>
                  </a:cubicBezTo>
                  <a:cubicBezTo>
                    <a:pt x="40" y="105"/>
                    <a:pt x="40" y="105"/>
                    <a:pt x="40" y="105"/>
                  </a:cubicBezTo>
                  <a:cubicBezTo>
                    <a:pt x="40" y="106"/>
                    <a:pt x="40" y="106"/>
                    <a:pt x="41" y="106"/>
                  </a:cubicBezTo>
                  <a:cubicBezTo>
                    <a:pt x="41" y="106"/>
                    <a:pt x="42" y="105"/>
                    <a:pt x="43" y="105"/>
                  </a:cubicBezTo>
                  <a:cubicBezTo>
                    <a:pt x="44" y="105"/>
                    <a:pt x="44" y="105"/>
                    <a:pt x="44" y="105"/>
                  </a:cubicBezTo>
                  <a:cubicBezTo>
                    <a:pt x="45" y="105"/>
                    <a:pt x="45" y="105"/>
                    <a:pt x="45" y="105"/>
                  </a:cubicBezTo>
                  <a:cubicBezTo>
                    <a:pt x="45" y="105"/>
                    <a:pt x="45" y="105"/>
                    <a:pt x="45" y="105"/>
                  </a:cubicBezTo>
                  <a:cubicBezTo>
                    <a:pt x="46" y="105"/>
                    <a:pt x="46" y="105"/>
                    <a:pt x="47" y="105"/>
                  </a:cubicBezTo>
                  <a:cubicBezTo>
                    <a:pt x="48" y="105"/>
                    <a:pt x="49" y="105"/>
                    <a:pt x="50" y="105"/>
                  </a:cubicBezTo>
                  <a:cubicBezTo>
                    <a:pt x="51" y="106"/>
                    <a:pt x="51" y="106"/>
                    <a:pt x="52" y="106"/>
                  </a:cubicBezTo>
                  <a:cubicBezTo>
                    <a:pt x="61" y="109"/>
                    <a:pt x="61" y="109"/>
                    <a:pt x="61" y="109"/>
                  </a:cubicBezTo>
                  <a:cubicBezTo>
                    <a:pt x="54" y="112"/>
                    <a:pt x="54" y="112"/>
                    <a:pt x="54" y="112"/>
                  </a:cubicBezTo>
                  <a:cubicBezTo>
                    <a:pt x="53" y="113"/>
                    <a:pt x="52" y="113"/>
                    <a:pt x="51" y="113"/>
                  </a:cubicBezTo>
                  <a:cubicBezTo>
                    <a:pt x="49" y="114"/>
                    <a:pt x="48" y="114"/>
                    <a:pt x="48" y="114"/>
                  </a:cubicBezTo>
                  <a:cubicBezTo>
                    <a:pt x="48" y="115"/>
                    <a:pt x="48" y="115"/>
                    <a:pt x="48" y="115"/>
                  </a:cubicBezTo>
                  <a:cubicBezTo>
                    <a:pt x="48" y="115"/>
                    <a:pt x="48" y="116"/>
                    <a:pt x="48" y="116"/>
                  </a:cubicBezTo>
                  <a:cubicBezTo>
                    <a:pt x="48" y="117"/>
                    <a:pt x="48" y="117"/>
                    <a:pt x="48" y="117"/>
                  </a:cubicBezTo>
                  <a:cubicBezTo>
                    <a:pt x="48" y="117"/>
                    <a:pt x="48" y="118"/>
                    <a:pt x="48" y="118"/>
                  </a:cubicBezTo>
                  <a:cubicBezTo>
                    <a:pt x="48" y="119"/>
                    <a:pt x="48" y="119"/>
                    <a:pt x="49" y="119"/>
                  </a:cubicBezTo>
                  <a:cubicBezTo>
                    <a:pt x="49" y="120"/>
                    <a:pt x="49" y="120"/>
                    <a:pt x="49" y="120"/>
                  </a:cubicBezTo>
                  <a:cubicBezTo>
                    <a:pt x="50" y="121"/>
                    <a:pt x="52" y="123"/>
                    <a:pt x="52" y="126"/>
                  </a:cubicBezTo>
                  <a:cubicBezTo>
                    <a:pt x="52" y="127"/>
                    <a:pt x="52" y="127"/>
                    <a:pt x="52" y="128"/>
                  </a:cubicBezTo>
                  <a:cubicBezTo>
                    <a:pt x="51" y="129"/>
                    <a:pt x="51" y="129"/>
                    <a:pt x="51" y="129"/>
                  </a:cubicBezTo>
                  <a:cubicBezTo>
                    <a:pt x="51" y="131"/>
                    <a:pt x="51" y="131"/>
                    <a:pt x="51" y="131"/>
                  </a:cubicBezTo>
                  <a:cubicBezTo>
                    <a:pt x="49" y="131"/>
                    <a:pt x="49" y="131"/>
                    <a:pt x="49" y="131"/>
                  </a:cubicBezTo>
                  <a:cubicBezTo>
                    <a:pt x="48" y="132"/>
                    <a:pt x="48" y="132"/>
                    <a:pt x="47" y="132"/>
                  </a:cubicBezTo>
                  <a:cubicBezTo>
                    <a:pt x="45" y="132"/>
                    <a:pt x="44" y="133"/>
                    <a:pt x="44" y="133"/>
                  </a:cubicBezTo>
                  <a:cubicBezTo>
                    <a:pt x="42" y="135"/>
                    <a:pt x="42" y="137"/>
                    <a:pt x="41" y="139"/>
                  </a:cubicBezTo>
                  <a:cubicBezTo>
                    <a:pt x="41" y="142"/>
                    <a:pt x="41" y="142"/>
                    <a:pt x="41" y="142"/>
                  </a:cubicBezTo>
                  <a:cubicBezTo>
                    <a:pt x="41" y="143"/>
                    <a:pt x="40" y="144"/>
                    <a:pt x="40" y="145"/>
                  </a:cubicBezTo>
                  <a:cubicBezTo>
                    <a:pt x="40" y="145"/>
                    <a:pt x="39" y="147"/>
                    <a:pt x="36" y="147"/>
                  </a:cubicBezTo>
                  <a:cubicBezTo>
                    <a:pt x="36" y="147"/>
                    <a:pt x="36" y="147"/>
                    <a:pt x="35" y="147"/>
                  </a:cubicBezTo>
                  <a:cubicBezTo>
                    <a:pt x="35" y="147"/>
                    <a:pt x="35" y="147"/>
                    <a:pt x="35" y="147"/>
                  </a:cubicBezTo>
                  <a:cubicBezTo>
                    <a:pt x="35" y="147"/>
                    <a:pt x="35" y="147"/>
                    <a:pt x="35" y="147"/>
                  </a:cubicBezTo>
                  <a:cubicBezTo>
                    <a:pt x="35" y="147"/>
                    <a:pt x="36" y="148"/>
                    <a:pt x="36" y="148"/>
                  </a:cubicBezTo>
                  <a:cubicBezTo>
                    <a:pt x="37" y="150"/>
                    <a:pt x="37" y="151"/>
                    <a:pt x="37" y="153"/>
                  </a:cubicBezTo>
                  <a:cubicBezTo>
                    <a:pt x="36" y="153"/>
                    <a:pt x="36" y="153"/>
                    <a:pt x="36" y="154"/>
                  </a:cubicBezTo>
                  <a:cubicBezTo>
                    <a:pt x="35" y="155"/>
                    <a:pt x="35" y="155"/>
                    <a:pt x="35" y="155"/>
                  </a:cubicBezTo>
                  <a:cubicBezTo>
                    <a:pt x="35" y="156"/>
                    <a:pt x="34" y="158"/>
                    <a:pt x="33" y="160"/>
                  </a:cubicBezTo>
                  <a:cubicBezTo>
                    <a:pt x="33" y="160"/>
                    <a:pt x="33" y="160"/>
                    <a:pt x="33" y="160"/>
                  </a:cubicBezTo>
                  <a:cubicBezTo>
                    <a:pt x="41" y="160"/>
                    <a:pt x="41" y="160"/>
                    <a:pt x="41" y="160"/>
                  </a:cubicBezTo>
                  <a:cubicBezTo>
                    <a:pt x="37" y="164"/>
                    <a:pt x="37" y="164"/>
                    <a:pt x="37" y="164"/>
                  </a:cubicBezTo>
                  <a:cubicBezTo>
                    <a:pt x="38" y="166"/>
                    <a:pt x="38" y="166"/>
                    <a:pt x="38" y="166"/>
                  </a:cubicBezTo>
                  <a:cubicBezTo>
                    <a:pt x="43" y="161"/>
                    <a:pt x="43" y="161"/>
                    <a:pt x="43" y="161"/>
                  </a:cubicBezTo>
                  <a:cubicBezTo>
                    <a:pt x="39" y="167"/>
                    <a:pt x="39" y="167"/>
                    <a:pt x="39" y="167"/>
                  </a:cubicBezTo>
                  <a:cubicBezTo>
                    <a:pt x="40" y="167"/>
                    <a:pt x="40" y="167"/>
                    <a:pt x="40" y="167"/>
                  </a:cubicBezTo>
                  <a:cubicBezTo>
                    <a:pt x="40" y="167"/>
                    <a:pt x="40" y="167"/>
                    <a:pt x="41" y="168"/>
                  </a:cubicBezTo>
                  <a:cubicBezTo>
                    <a:pt x="41" y="168"/>
                    <a:pt x="41" y="168"/>
                    <a:pt x="41" y="168"/>
                  </a:cubicBezTo>
                  <a:cubicBezTo>
                    <a:pt x="42" y="168"/>
                    <a:pt x="44" y="168"/>
                    <a:pt x="45" y="170"/>
                  </a:cubicBezTo>
                  <a:cubicBezTo>
                    <a:pt x="46" y="170"/>
                    <a:pt x="46" y="171"/>
                    <a:pt x="46" y="171"/>
                  </a:cubicBezTo>
                  <a:cubicBezTo>
                    <a:pt x="46" y="172"/>
                    <a:pt x="46" y="173"/>
                    <a:pt x="46" y="174"/>
                  </a:cubicBezTo>
                  <a:cubicBezTo>
                    <a:pt x="47" y="175"/>
                    <a:pt x="47" y="176"/>
                    <a:pt x="47" y="176"/>
                  </a:cubicBezTo>
                  <a:cubicBezTo>
                    <a:pt x="47" y="177"/>
                    <a:pt x="47" y="178"/>
                    <a:pt x="47" y="179"/>
                  </a:cubicBezTo>
                  <a:cubicBezTo>
                    <a:pt x="47" y="180"/>
                    <a:pt x="47" y="180"/>
                    <a:pt x="47" y="180"/>
                  </a:cubicBezTo>
                  <a:cubicBezTo>
                    <a:pt x="48" y="181"/>
                    <a:pt x="48" y="183"/>
                    <a:pt x="48" y="184"/>
                  </a:cubicBezTo>
                  <a:cubicBezTo>
                    <a:pt x="49" y="185"/>
                    <a:pt x="49" y="185"/>
                    <a:pt x="49" y="185"/>
                  </a:cubicBezTo>
                  <a:cubicBezTo>
                    <a:pt x="50" y="185"/>
                    <a:pt x="50" y="185"/>
                    <a:pt x="50" y="185"/>
                  </a:cubicBezTo>
                  <a:cubicBezTo>
                    <a:pt x="50" y="185"/>
                    <a:pt x="51" y="185"/>
                    <a:pt x="52" y="185"/>
                  </a:cubicBezTo>
                  <a:cubicBezTo>
                    <a:pt x="53" y="185"/>
                    <a:pt x="54" y="186"/>
                    <a:pt x="56" y="186"/>
                  </a:cubicBezTo>
                  <a:cubicBezTo>
                    <a:pt x="58" y="187"/>
                    <a:pt x="60" y="188"/>
                    <a:pt x="61" y="189"/>
                  </a:cubicBezTo>
                  <a:cubicBezTo>
                    <a:pt x="72" y="198"/>
                    <a:pt x="72" y="198"/>
                    <a:pt x="72" y="198"/>
                  </a:cubicBezTo>
                  <a:cubicBezTo>
                    <a:pt x="73" y="198"/>
                    <a:pt x="73" y="198"/>
                    <a:pt x="73" y="198"/>
                  </a:cubicBezTo>
                  <a:cubicBezTo>
                    <a:pt x="73" y="198"/>
                    <a:pt x="73" y="198"/>
                    <a:pt x="73" y="198"/>
                  </a:cubicBezTo>
                  <a:cubicBezTo>
                    <a:pt x="73" y="198"/>
                    <a:pt x="74" y="198"/>
                    <a:pt x="75" y="198"/>
                  </a:cubicBezTo>
                  <a:cubicBezTo>
                    <a:pt x="75" y="198"/>
                    <a:pt x="76" y="198"/>
                    <a:pt x="77" y="198"/>
                  </a:cubicBezTo>
                  <a:cubicBezTo>
                    <a:pt x="78" y="198"/>
                    <a:pt x="80" y="199"/>
                    <a:pt x="81" y="201"/>
                  </a:cubicBezTo>
                  <a:cubicBezTo>
                    <a:pt x="83" y="203"/>
                    <a:pt x="84" y="205"/>
                    <a:pt x="85" y="207"/>
                  </a:cubicBezTo>
                  <a:cubicBezTo>
                    <a:pt x="86" y="209"/>
                    <a:pt x="86" y="209"/>
                    <a:pt x="86" y="209"/>
                  </a:cubicBezTo>
                  <a:cubicBezTo>
                    <a:pt x="87" y="210"/>
                    <a:pt x="88" y="211"/>
                    <a:pt x="89" y="213"/>
                  </a:cubicBezTo>
                  <a:cubicBezTo>
                    <a:pt x="92" y="216"/>
                    <a:pt x="93" y="218"/>
                    <a:pt x="93" y="220"/>
                  </a:cubicBezTo>
                  <a:cubicBezTo>
                    <a:pt x="93" y="221"/>
                    <a:pt x="93" y="221"/>
                    <a:pt x="93" y="221"/>
                  </a:cubicBezTo>
                  <a:cubicBezTo>
                    <a:pt x="93" y="221"/>
                    <a:pt x="93" y="221"/>
                    <a:pt x="93" y="221"/>
                  </a:cubicBezTo>
                  <a:cubicBezTo>
                    <a:pt x="93" y="221"/>
                    <a:pt x="93" y="222"/>
                    <a:pt x="93" y="223"/>
                  </a:cubicBezTo>
                  <a:cubicBezTo>
                    <a:pt x="93" y="223"/>
                    <a:pt x="93" y="223"/>
                    <a:pt x="93" y="223"/>
                  </a:cubicBezTo>
                  <a:cubicBezTo>
                    <a:pt x="92" y="224"/>
                    <a:pt x="92" y="224"/>
                    <a:pt x="92" y="224"/>
                  </a:cubicBezTo>
                  <a:cubicBezTo>
                    <a:pt x="92" y="226"/>
                    <a:pt x="91" y="227"/>
                    <a:pt x="90" y="228"/>
                  </a:cubicBezTo>
                  <a:cubicBezTo>
                    <a:pt x="90" y="228"/>
                    <a:pt x="90" y="228"/>
                    <a:pt x="90" y="228"/>
                  </a:cubicBezTo>
                  <a:cubicBezTo>
                    <a:pt x="90" y="229"/>
                    <a:pt x="90" y="229"/>
                    <a:pt x="90" y="229"/>
                  </a:cubicBezTo>
                  <a:cubicBezTo>
                    <a:pt x="90" y="231"/>
                    <a:pt x="89" y="232"/>
                    <a:pt x="89" y="234"/>
                  </a:cubicBezTo>
                  <a:cubicBezTo>
                    <a:pt x="89" y="235"/>
                    <a:pt x="89" y="237"/>
                    <a:pt x="89" y="238"/>
                  </a:cubicBezTo>
                  <a:cubicBezTo>
                    <a:pt x="90" y="238"/>
                    <a:pt x="91" y="238"/>
                    <a:pt x="91" y="238"/>
                  </a:cubicBezTo>
                  <a:cubicBezTo>
                    <a:pt x="93" y="238"/>
                    <a:pt x="94" y="239"/>
                    <a:pt x="95" y="239"/>
                  </a:cubicBezTo>
                  <a:cubicBezTo>
                    <a:pt x="95" y="239"/>
                    <a:pt x="95" y="239"/>
                    <a:pt x="95" y="239"/>
                  </a:cubicBezTo>
                  <a:cubicBezTo>
                    <a:pt x="96" y="240"/>
                    <a:pt x="96" y="240"/>
                    <a:pt x="96" y="240"/>
                  </a:cubicBezTo>
                  <a:cubicBezTo>
                    <a:pt x="97" y="241"/>
                    <a:pt x="97" y="242"/>
                    <a:pt x="97" y="242"/>
                  </a:cubicBezTo>
                  <a:cubicBezTo>
                    <a:pt x="97" y="243"/>
                    <a:pt x="98" y="243"/>
                    <a:pt x="98" y="244"/>
                  </a:cubicBezTo>
                  <a:cubicBezTo>
                    <a:pt x="98" y="246"/>
                    <a:pt x="98" y="249"/>
                    <a:pt x="98" y="251"/>
                  </a:cubicBezTo>
                  <a:cubicBezTo>
                    <a:pt x="97" y="252"/>
                    <a:pt x="97" y="253"/>
                    <a:pt x="97" y="254"/>
                  </a:cubicBezTo>
                  <a:cubicBezTo>
                    <a:pt x="97" y="254"/>
                    <a:pt x="98" y="254"/>
                    <a:pt x="98" y="254"/>
                  </a:cubicBezTo>
                  <a:cubicBezTo>
                    <a:pt x="99" y="255"/>
                    <a:pt x="100" y="256"/>
                    <a:pt x="101" y="257"/>
                  </a:cubicBezTo>
                  <a:cubicBezTo>
                    <a:pt x="103" y="258"/>
                    <a:pt x="104" y="259"/>
                    <a:pt x="105" y="260"/>
                  </a:cubicBezTo>
                  <a:cubicBezTo>
                    <a:pt x="105" y="261"/>
                    <a:pt x="106" y="261"/>
                    <a:pt x="106" y="262"/>
                  </a:cubicBezTo>
                  <a:cubicBezTo>
                    <a:pt x="106" y="263"/>
                    <a:pt x="106" y="263"/>
                    <a:pt x="106" y="263"/>
                  </a:cubicBezTo>
                  <a:cubicBezTo>
                    <a:pt x="107" y="263"/>
                    <a:pt x="108" y="265"/>
                    <a:pt x="111" y="267"/>
                  </a:cubicBezTo>
                  <a:cubicBezTo>
                    <a:pt x="113" y="269"/>
                    <a:pt x="113" y="269"/>
                    <a:pt x="113" y="269"/>
                  </a:cubicBezTo>
                  <a:cubicBezTo>
                    <a:pt x="115" y="268"/>
                    <a:pt x="116" y="268"/>
                    <a:pt x="116" y="267"/>
                  </a:cubicBezTo>
                  <a:cubicBezTo>
                    <a:pt x="117" y="267"/>
                    <a:pt x="117" y="264"/>
                    <a:pt x="117" y="264"/>
                  </a:cubicBezTo>
                  <a:cubicBezTo>
                    <a:pt x="116" y="263"/>
                    <a:pt x="116" y="262"/>
                    <a:pt x="116" y="262"/>
                  </a:cubicBezTo>
                  <a:cubicBezTo>
                    <a:pt x="115" y="261"/>
                    <a:pt x="115" y="260"/>
                    <a:pt x="115" y="260"/>
                  </a:cubicBezTo>
                  <a:cubicBezTo>
                    <a:pt x="116" y="259"/>
                    <a:pt x="117" y="259"/>
                    <a:pt x="118" y="259"/>
                  </a:cubicBezTo>
                  <a:cubicBezTo>
                    <a:pt x="118" y="259"/>
                    <a:pt x="118" y="259"/>
                    <a:pt x="118" y="259"/>
                  </a:cubicBezTo>
                  <a:cubicBezTo>
                    <a:pt x="120" y="259"/>
                    <a:pt x="121" y="260"/>
                    <a:pt x="123" y="261"/>
                  </a:cubicBezTo>
                  <a:cubicBezTo>
                    <a:pt x="124" y="262"/>
                    <a:pt x="124" y="262"/>
                    <a:pt x="125" y="262"/>
                  </a:cubicBezTo>
                  <a:cubicBezTo>
                    <a:pt x="127" y="263"/>
                    <a:pt x="129" y="264"/>
                    <a:pt x="130" y="266"/>
                  </a:cubicBezTo>
                  <a:cubicBezTo>
                    <a:pt x="131" y="266"/>
                    <a:pt x="131" y="267"/>
                    <a:pt x="131" y="267"/>
                  </a:cubicBezTo>
                  <a:cubicBezTo>
                    <a:pt x="132" y="268"/>
                    <a:pt x="132" y="268"/>
                    <a:pt x="132" y="268"/>
                  </a:cubicBezTo>
                  <a:cubicBezTo>
                    <a:pt x="132" y="268"/>
                    <a:pt x="132" y="268"/>
                    <a:pt x="133" y="268"/>
                  </a:cubicBezTo>
                  <a:cubicBezTo>
                    <a:pt x="134" y="268"/>
                    <a:pt x="135" y="267"/>
                    <a:pt x="136" y="266"/>
                  </a:cubicBezTo>
                  <a:cubicBezTo>
                    <a:pt x="138" y="266"/>
                    <a:pt x="140" y="265"/>
                    <a:pt x="141" y="265"/>
                  </a:cubicBezTo>
                  <a:cubicBezTo>
                    <a:pt x="142" y="265"/>
                    <a:pt x="142" y="265"/>
                    <a:pt x="143" y="265"/>
                  </a:cubicBezTo>
                  <a:cubicBezTo>
                    <a:pt x="143" y="265"/>
                    <a:pt x="143" y="265"/>
                    <a:pt x="143" y="265"/>
                  </a:cubicBezTo>
                  <a:cubicBezTo>
                    <a:pt x="145" y="265"/>
                    <a:pt x="146" y="266"/>
                    <a:pt x="147" y="268"/>
                  </a:cubicBezTo>
                  <a:cubicBezTo>
                    <a:pt x="148" y="270"/>
                    <a:pt x="148" y="271"/>
                    <a:pt x="149" y="272"/>
                  </a:cubicBezTo>
                  <a:cubicBezTo>
                    <a:pt x="149" y="273"/>
                    <a:pt x="150" y="274"/>
                    <a:pt x="151" y="275"/>
                  </a:cubicBezTo>
                  <a:cubicBezTo>
                    <a:pt x="152" y="276"/>
                    <a:pt x="154" y="278"/>
                    <a:pt x="155" y="279"/>
                  </a:cubicBezTo>
                  <a:cubicBezTo>
                    <a:pt x="157" y="281"/>
                    <a:pt x="159" y="283"/>
                    <a:pt x="159" y="285"/>
                  </a:cubicBezTo>
                  <a:cubicBezTo>
                    <a:pt x="160" y="287"/>
                    <a:pt x="160" y="289"/>
                    <a:pt x="158" y="291"/>
                  </a:cubicBezTo>
                  <a:cubicBezTo>
                    <a:pt x="160" y="291"/>
                    <a:pt x="161" y="292"/>
                    <a:pt x="162" y="292"/>
                  </a:cubicBezTo>
                  <a:cubicBezTo>
                    <a:pt x="164" y="293"/>
                    <a:pt x="165" y="294"/>
                    <a:pt x="166" y="297"/>
                  </a:cubicBezTo>
                  <a:cubicBezTo>
                    <a:pt x="166" y="298"/>
                    <a:pt x="166" y="298"/>
                    <a:pt x="166" y="298"/>
                  </a:cubicBezTo>
                  <a:cubicBezTo>
                    <a:pt x="166" y="300"/>
                    <a:pt x="167" y="303"/>
                    <a:pt x="168" y="305"/>
                  </a:cubicBezTo>
                  <a:cubicBezTo>
                    <a:pt x="169" y="307"/>
                    <a:pt x="170" y="310"/>
                    <a:pt x="171" y="312"/>
                  </a:cubicBezTo>
                  <a:cubicBezTo>
                    <a:pt x="172" y="314"/>
                    <a:pt x="173" y="316"/>
                    <a:pt x="174" y="318"/>
                  </a:cubicBezTo>
                  <a:cubicBezTo>
                    <a:pt x="174" y="318"/>
                    <a:pt x="174" y="318"/>
                    <a:pt x="174" y="318"/>
                  </a:cubicBezTo>
                  <a:cubicBezTo>
                    <a:pt x="175" y="320"/>
                    <a:pt x="176" y="322"/>
                    <a:pt x="178" y="324"/>
                  </a:cubicBezTo>
                  <a:cubicBezTo>
                    <a:pt x="179" y="325"/>
                    <a:pt x="180" y="325"/>
                    <a:pt x="182" y="326"/>
                  </a:cubicBezTo>
                  <a:cubicBezTo>
                    <a:pt x="183" y="326"/>
                    <a:pt x="184" y="326"/>
                    <a:pt x="185" y="326"/>
                  </a:cubicBezTo>
                  <a:cubicBezTo>
                    <a:pt x="185" y="326"/>
                    <a:pt x="186" y="326"/>
                    <a:pt x="186" y="326"/>
                  </a:cubicBezTo>
                  <a:cubicBezTo>
                    <a:pt x="186" y="326"/>
                    <a:pt x="187" y="326"/>
                    <a:pt x="187" y="326"/>
                  </a:cubicBezTo>
                  <a:cubicBezTo>
                    <a:pt x="187" y="326"/>
                    <a:pt x="187" y="326"/>
                    <a:pt x="188" y="326"/>
                  </a:cubicBezTo>
                  <a:cubicBezTo>
                    <a:pt x="189" y="326"/>
                    <a:pt x="191" y="326"/>
                    <a:pt x="192" y="327"/>
                  </a:cubicBezTo>
                  <a:cubicBezTo>
                    <a:pt x="192" y="327"/>
                    <a:pt x="193" y="327"/>
                    <a:pt x="193" y="328"/>
                  </a:cubicBezTo>
                  <a:cubicBezTo>
                    <a:pt x="195" y="328"/>
                    <a:pt x="198" y="329"/>
                    <a:pt x="200" y="330"/>
                  </a:cubicBezTo>
                  <a:cubicBezTo>
                    <a:pt x="200" y="331"/>
                    <a:pt x="201" y="331"/>
                    <a:pt x="201" y="331"/>
                  </a:cubicBezTo>
                  <a:cubicBezTo>
                    <a:pt x="202" y="331"/>
                    <a:pt x="202" y="331"/>
                    <a:pt x="202" y="331"/>
                  </a:cubicBezTo>
                  <a:cubicBezTo>
                    <a:pt x="203" y="332"/>
                    <a:pt x="203" y="332"/>
                    <a:pt x="204" y="333"/>
                  </a:cubicBezTo>
                  <a:cubicBezTo>
                    <a:pt x="204" y="333"/>
                    <a:pt x="205" y="334"/>
                    <a:pt x="205" y="334"/>
                  </a:cubicBezTo>
                  <a:cubicBezTo>
                    <a:pt x="207" y="336"/>
                    <a:pt x="208" y="338"/>
                    <a:pt x="210" y="340"/>
                  </a:cubicBezTo>
                  <a:cubicBezTo>
                    <a:pt x="211" y="341"/>
                    <a:pt x="213" y="343"/>
                    <a:pt x="215" y="344"/>
                  </a:cubicBezTo>
                  <a:cubicBezTo>
                    <a:pt x="215" y="344"/>
                    <a:pt x="215" y="344"/>
                    <a:pt x="215" y="344"/>
                  </a:cubicBezTo>
                  <a:cubicBezTo>
                    <a:pt x="217" y="345"/>
                    <a:pt x="219" y="346"/>
                    <a:pt x="221" y="347"/>
                  </a:cubicBezTo>
                  <a:cubicBezTo>
                    <a:pt x="222" y="348"/>
                    <a:pt x="222" y="348"/>
                    <a:pt x="222" y="348"/>
                  </a:cubicBezTo>
                  <a:cubicBezTo>
                    <a:pt x="224" y="349"/>
                    <a:pt x="226" y="349"/>
                    <a:pt x="228" y="351"/>
                  </a:cubicBezTo>
                  <a:cubicBezTo>
                    <a:pt x="228" y="351"/>
                    <a:pt x="228" y="351"/>
                    <a:pt x="228" y="351"/>
                  </a:cubicBezTo>
                  <a:cubicBezTo>
                    <a:pt x="230" y="353"/>
                    <a:pt x="230" y="354"/>
                    <a:pt x="232" y="355"/>
                  </a:cubicBezTo>
                  <a:cubicBezTo>
                    <a:pt x="233" y="356"/>
                    <a:pt x="233" y="356"/>
                    <a:pt x="233" y="356"/>
                  </a:cubicBezTo>
                  <a:cubicBezTo>
                    <a:pt x="235" y="357"/>
                    <a:pt x="237" y="357"/>
                    <a:pt x="240" y="358"/>
                  </a:cubicBezTo>
                  <a:cubicBezTo>
                    <a:pt x="242" y="358"/>
                    <a:pt x="245" y="358"/>
                    <a:pt x="248" y="359"/>
                  </a:cubicBezTo>
                  <a:cubicBezTo>
                    <a:pt x="249" y="359"/>
                    <a:pt x="249" y="359"/>
                    <a:pt x="250" y="359"/>
                  </a:cubicBezTo>
                  <a:cubicBezTo>
                    <a:pt x="252" y="360"/>
                    <a:pt x="254" y="359"/>
                    <a:pt x="256" y="361"/>
                  </a:cubicBezTo>
                  <a:cubicBezTo>
                    <a:pt x="256" y="361"/>
                    <a:pt x="256" y="361"/>
                    <a:pt x="256" y="362"/>
                  </a:cubicBezTo>
                  <a:cubicBezTo>
                    <a:pt x="260" y="361"/>
                    <a:pt x="264" y="360"/>
                    <a:pt x="267" y="359"/>
                  </a:cubicBezTo>
                  <a:cubicBezTo>
                    <a:pt x="268" y="358"/>
                    <a:pt x="269" y="358"/>
                    <a:pt x="270" y="358"/>
                  </a:cubicBezTo>
                  <a:cubicBezTo>
                    <a:pt x="273" y="357"/>
                    <a:pt x="275" y="356"/>
                    <a:pt x="278" y="355"/>
                  </a:cubicBezTo>
                  <a:cubicBezTo>
                    <a:pt x="279" y="355"/>
                    <a:pt x="279" y="352"/>
                    <a:pt x="280" y="351"/>
                  </a:cubicBezTo>
                  <a:cubicBezTo>
                    <a:pt x="282" y="349"/>
                    <a:pt x="285" y="347"/>
                    <a:pt x="289" y="346"/>
                  </a:cubicBezTo>
                  <a:cubicBezTo>
                    <a:pt x="292" y="345"/>
                    <a:pt x="296" y="345"/>
                    <a:pt x="298" y="345"/>
                  </a:cubicBezTo>
                  <a:cubicBezTo>
                    <a:pt x="299" y="345"/>
                    <a:pt x="299" y="345"/>
                    <a:pt x="300" y="345"/>
                  </a:cubicBezTo>
                  <a:cubicBezTo>
                    <a:pt x="300" y="345"/>
                    <a:pt x="300" y="345"/>
                    <a:pt x="300" y="345"/>
                  </a:cubicBezTo>
                  <a:cubicBezTo>
                    <a:pt x="303" y="345"/>
                    <a:pt x="306" y="345"/>
                    <a:pt x="309" y="346"/>
                  </a:cubicBezTo>
                  <a:cubicBezTo>
                    <a:pt x="311" y="346"/>
                    <a:pt x="313" y="347"/>
                    <a:pt x="314" y="349"/>
                  </a:cubicBezTo>
                  <a:cubicBezTo>
                    <a:pt x="314" y="350"/>
                    <a:pt x="314" y="350"/>
                    <a:pt x="314" y="350"/>
                  </a:cubicBezTo>
                  <a:cubicBezTo>
                    <a:pt x="315" y="352"/>
                    <a:pt x="316" y="354"/>
                    <a:pt x="316" y="357"/>
                  </a:cubicBezTo>
                  <a:cubicBezTo>
                    <a:pt x="317" y="360"/>
                    <a:pt x="317" y="363"/>
                    <a:pt x="318" y="365"/>
                  </a:cubicBezTo>
                  <a:cubicBezTo>
                    <a:pt x="318" y="366"/>
                    <a:pt x="318" y="367"/>
                    <a:pt x="318" y="367"/>
                  </a:cubicBezTo>
                  <a:cubicBezTo>
                    <a:pt x="319" y="369"/>
                    <a:pt x="319" y="371"/>
                    <a:pt x="320" y="373"/>
                  </a:cubicBezTo>
                  <a:cubicBezTo>
                    <a:pt x="320" y="375"/>
                    <a:pt x="321" y="378"/>
                    <a:pt x="322" y="380"/>
                  </a:cubicBezTo>
                  <a:cubicBezTo>
                    <a:pt x="322" y="380"/>
                    <a:pt x="322" y="380"/>
                    <a:pt x="322" y="380"/>
                  </a:cubicBezTo>
                  <a:cubicBezTo>
                    <a:pt x="324" y="382"/>
                    <a:pt x="326" y="382"/>
                    <a:pt x="329" y="382"/>
                  </a:cubicBezTo>
                  <a:cubicBezTo>
                    <a:pt x="330" y="382"/>
                    <a:pt x="330" y="382"/>
                    <a:pt x="330" y="382"/>
                  </a:cubicBezTo>
                  <a:cubicBezTo>
                    <a:pt x="333" y="383"/>
                    <a:pt x="335" y="383"/>
                    <a:pt x="338" y="384"/>
                  </a:cubicBezTo>
                  <a:cubicBezTo>
                    <a:pt x="341" y="384"/>
                    <a:pt x="343" y="384"/>
                    <a:pt x="346" y="385"/>
                  </a:cubicBezTo>
                  <a:cubicBezTo>
                    <a:pt x="349" y="385"/>
                    <a:pt x="352" y="386"/>
                    <a:pt x="354" y="386"/>
                  </a:cubicBezTo>
                  <a:cubicBezTo>
                    <a:pt x="355" y="386"/>
                    <a:pt x="357" y="386"/>
                    <a:pt x="358" y="387"/>
                  </a:cubicBezTo>
                  <a:cubicBezTo>
                    <a:pt x="359" y="387"/>
                    <a:pt x="360" y="387"/>
                    <a:pt x="361" y="388"/>
                  </a:cubicBezTo>
                  <a:cubicBezTo>
                    <a:pt x="362" y="388"/>
                    <a:pt x="362" y="388"/>
                    <a:pt x="362" y="388"/>
                  </a:cubicBezTo>
                  <a:cubicBezTo>
                    <a:pt x="364" y="390"/>
                    <a:pt x="365" y="391"/>
                    <a:pt x="367" y="391"/>
                  </a:cubicBezTo>
                  <a:cubicBezTo>
                    <a:pt x="368" y="391"/>
                    <a:pt x="368" y="391"/>
                    <a:pt x="369" y="390"/>
                  </a:cubicBezTo>
                  <a:cubicBezTo>
                    <a:pt x="369" y="390"/>
                    <a:pt x="370" y="390"/>
                    <a:pt x="370" y="390"/>
                  </a:cubicBezTo>
                  <a:cubicBezTo>
                    <a:pt x="373" y="390"/>
                    <a:pt x="375" y="389"/>
                    <a:pt x="377" y="389"/>
                  </a:cubicBezTo>
                  <a:cubicBezTo>
                    <a:pt x="378" y="389"/>
                    <a:pt x="379" y="389"/>
                    <a:pt x="380" y="389"/>
                  </a:cubicBezTo>
                  <a:cubicBezTo>
                    <a:pt x="381" y="389"/>
                    <a:pt x="383" y="390"/>
                    <a:pt x="385" y="390"/>
                  </a:cubicBezTo>
                  <a:cubicBezTo>
                    <a:pt x="386" y="390"/>
                    <a:pt x="387" y="390"/>
                    <a:pt x="389" y="390"/>
                  </a:cubicBezTo>
                  <a:cubicBezTo>
                    <a:pt x="392" y="390"/>
                    <a:pt x="395" y="390"/>
                    <a:pt x="398" y="390"/>
                  </a:cubicBezTo>
                  <a:cubicBezTo>
                    <a:pt x="399" y="390"/>
                    <a:pt x="400" y="390"/>
                    <a:pt x="400" y="390"/>
                  </a:cubicBezTo>
                  <a:cubicBezTo>
                    <a:pt x="401" y="390"/>
                    <a:pt x="401" y="390"/>
                    <a:pt x="401" y="390"/>
                  </a:cubicBezTo>
                  <a:cubicBezTo>
                    <a:pt x="403" y="391"/>
                    <a:pt x="403" y="392"/>
                    <a:pt x="404" y="393"/>
                  </a:cubicBezTo>
                  <a:cubicBezTo>
                    <a:pt x="404" y="394"/>
                    <a:pt x="404" y="394"/>
                    <a:pt x="404" y="394"/>
                  </a:cubicBezTo>
                  <a:cubicBezTo>
                    <a:pt x="405" y="395"/>
                    <a:pt x="408" y="396"/>
                    <a:pt x="411" y="396"/>
                  </a:cubicBezTo>
                  <a:cubicBezTo>
                    <a:pt x="413" y="397"/>
                    <a:pt x="416" y="398"/>
                    <a:pt x="418" y="398"/>
                  </a:cubicBezTo>
                  <a:cubicBezTo>
                    <a:pt x="419" y="398"/>
                    <a:pt x="419" y="398"/>
                    <a:pt x="419" y="398"/>
                  </a:cubicBezTo>
                  <a:cubicBezTo>
                    <a:pt x="419" y="398"/>
                    <a:pt x="419" y="398"/>
                    <a:pt x="420" y="398"/>
                  </a:cubicBezTo>
                  <a:cubicBezTo>
                    <a:pt x="422" y="398"/>
                    <a:pt x="424" y="398"/>
                    <a:pt x="426" y="397"/>
                  </a:cubicBezTo>
                  <a:cubicBezTo>
                    <a:pt x="426" y="396"/>
                    <a:pt x="426" y="396"/>
                    <a:pt x="426" y="395"/>
                  </a:cubicBezTo>
                  <a:cubicBezTo>
                    <a:pt x="426" y="395"/>
                    <a:pt x="426" y="395"/>
                    <a:pt x="426" y="394"/>
                  </a:cubicBezTo>
                  <a:cubicBezTo>
                    <a:pt x="426" y="394"/>
                    <a:pt x="426" y="394"/>
                    <a:pt x="426" y="394"/>
                  </a:cubicBezTo>
                  <a:cubicBezTo>
                    <a:pt x="427" y="393"/>
                    <a:pt x="427" y="392"/>
                    <a:pt x="427" y="391"/>
                  </a:cubicBezTo>
                  <a:cubicBezTo>
                    <a:pt x="427" y="390"/>
                    <a:pt x="427" y="390"/>
                    <a:pt x="427" y="390"/>
                  </a:cubicBezTo>
                  <a:cubicBezTo>
                    <a:pt x="427" y="390"/>
                    <a:pt x="427" y="389"/>
                    <a:pt x="427" y="388"/>
                  </a:cubicBezTo>
                  <a:cubicBezTo>
                    <a:pt x="428" y="387"/>
                    <a:pt x="428" y="387"/>
                    <a:pt x="428" y="387"/>
                  </a:cubicBezTo>
                  <a:cubicBezTo>
                    <a:pt x="429" y="382"/>
                    <a:pt x="430" y="378"/>
                    <a:pt x="431" y="373"/>
                  </a:cubicBezTo>
                  <a:cubicBezTo>
                    <a:pt x="432" y="368"/>
                    <a:pt x="432" y="367"/>
                    <a:pt x="436" y="365"/>
                  </a:cubicBezTo>
                  <a:cubicBezTo>
                    <a:pt x="437" y="365"/>
                    <a:pt x="437" y="365"/>
                    <a:pt x="437" y="365"/>
                  </a:cubicBezTo>
                  <a:cubicBezTo>
                    <a:pt x="438" y="365"/>
                    <a:pt x="438" y="364"/>
                    <a:pt x="439" y="363"/>
                  </a:cubicBezTo>
                  <a:cubicBezTo>
                    <a:pt x="440" y="363"/>
                    <a:pt x="440" y="363"/>
                    <a:pt x="440" y="363"/>
                  </a:cubicBezTo>
                  <a:cubicBezTo>
                    <a:pt x="441" y="362"/>
                    <a:pt x="442" y="361"/>
                    <a:pt x="443" y="360"/>
                  </a:cubicBezTo>
                  <a:cubicBezTo>
                    <a:pt x="444" y="359"/>
                    <a:pt x="446" y="359"/>
                    <a:pt x="448" y="358"/>
                  </a:cubicBezTo>
                  <a:cubicBezTo>
                    <a:pt x="458" y="357"/>
                    <a:pt x="458" y="357"/>
                    <a:pt x="458" y="357"/>
                  </a:cubicBezTo>
                  <a:cubicBezTo>
                    <a:pt x="459" y="357"/>
                    <a:pt x="460" y="356"/>
                    <a:pt x="461" y="356"/>
                  </a:cubicBezTo>
                  <a:cubicBezTo>
                    <a:pt x="462" y="356"/>
                    <a:pt x="463" y="356"/>
                    <a:pt x="464" y="356"/>
                  </a:cubicBezTo>
                  <a:cubicBezTo>
                    <a:pt x="465" y="350"/>
                    <a:pt x="465" y="350"/>
                    <a:pt x="465" y="350"/>
                  </a:cubicBezTo>
                  <a:cubicBezTo>
                    <a:pt x="466" y="349"/>
                    <a:pt x="466" y="347"/>
                    <a:pt x="466" y="346"/>
                  </a:cubicBezTo>
                  <a:cubicBezTo>
                    <a:pt x="466" y="346"/>
                    <a:pt x="466" y="346"/>
                    <a:pt x="465" y="346"/>
                  </a:cubicBezTo>
                  <a:cubicBezTo>
                    <a:pt x="465" y="346"/>
                    <a:pt x="465" y="346"/>
                    <a:pt x="465" y="346"/>
                  </a:cubicBezTo>
                  <a:cubicBezTo>
                    <a:pt x="464" y="346"/>
                    <a:pt x="464" y="346"/>
                    <a:pt x="463" y="346"/>
                  </a:cubicBezTo>
                  <a:cubicBezTo>
                    <a:pt x="462" y="346"/>
                    <a:pt x="462" y="346"/>
                    <a:pt x="462" y="346"/>
                  </a:cubicBezTo>
                  <a:cubicBezTo>
                    <a:pt x="461" y="346"/>
                    <a:pt x="461" y="346"/>
                    <a:pt x="461" y="346"/>
                  </a:cubicBezTo>
                  <a:cubicBezTo>
                    <a:pt x="460" y="346"/>
                    <a:pt x="460" y="346"/>
                    <a:pt x="460" y="346"/>
                  </a:cubicBezTo>
                  <a:cubicBezTo>
                    <a:pt x="457" y="346"/>
                    <a:pt x="455" y="344"/>
                    <a:pt x="454" y="341"/>
                  </a:cubicBezTo>
                  <a:cubicBezTo>
                    <a:pt x="454" y="339"/>
                    <a:pt x="454" y="337"/>
                    <a:pt x="454" y="336"/>
                  </a:cubicBezTo>
                  <a:cubicBezTo>
                    <a:pt x="454" y="335"/>
                    <a:pt x="454" y="335"/>
                    <a:pt x="454" y="334"/>
                  </a:cubicBezTo>
                  <a:cubicBezTo>
                    <a:pt x="454" y="325"/>
                    <a:pt x="454" y="325"/>
                    <a:pt x="454" y="325"/>
                  </a:cubicBezTo>
                  <a:cubicBezTo>
                    <a:pt x="454" y="324"/>
                    <a:pt x="455" y="324"/>
                    <a:pt x="455" y="323"/>
                  </a:cubicBezTo>
                  <a:cubicBezTo>
                    <a:pt x="455" y="321"/>
                    <a:pt x="455" y="320"/>
                    <a:pt x="455" y="319"/>
                  </a:cubicBezTo>
                  <a:cubicBezTo>
                    <a:pt x="454" y="319"/>
                    <a:pt x="454" y="319"/>
                    <a:pt x="453" y="318"/>
                  </a:cubicBezTo>
                  <a:cubicBezTo>
                    <a:pt x="453" y="318"/>
                    <a:pt x="453" y="318"/>
                    <a:pt x="453" y="318"/>
                  </a:cubicBezTo>
                  <a:cubicBezTo>
                    <a:pt x="452" y="317"/>
                    <a:pt x="450" y="317"/>
                    <a:pt x="449" y="317"/>
                  </a:cubicBezTo>
                  <a:cubicBezTo>
                    <a:pt x="448" y="316"/>
                    <a:pt x="447" y="316"/>
                    <a:pt x="446" y="315"/>
                  </a:cubicBezTo>
                  <a:cubicBezTo>
                    <a:pt x="445" y="315"/>
                    <a:pt x="445" y="315"/>
                    <a:pt x="444" y="315"/>
                  </a:cubicBezTo>
                  <a:cubicBezTo>
                    <a:pt x="443" y="314"/>
                    <a:pt x="443" y="314"/>
                    <a:pt x="443" y="314"/>
                  </a:cubicBezTo>
                  <a:cubicBezTo>
                    <a:pt x="442" y="314"/>
                    <a:pt x="441" y="314"/>
                    <a:pt x="440" y="313"/>
                  </a:cubicBezTo>
                  <a:cubicBezTo>
                    <a:pt x="438" y="312"/>
                    <a:pt x="434" y="311"/>
                    <a:pt x="433" y="308"/>
                  </a:cubicBezTo>
                  <a:cubicBezTo>
                    <a:pt x="430" y="305"/>
                    <a:pt x="428" y="301"/>
                    <a:pt x="425" y="298"/>
                  </a:cubicBezTo>
                  <a:cubicBezTo>
                    <a:pt x="425" y="297"/>
                    <a:pt x="425" y="297"/>
                    <a:pt x="425" y="297"/>
                  </a:cubicBezTo>
                  <a:cubicBezTo>
                    <a:pt x="420" y="291"/>
                    <a:pt x="414" y="283"/>
                    <a:pt x="409" y="275"/>
                  </a:cubicBezTo>
                  <a:cubicBezTo>
                    <a:pt x="408" y="275"/>
                    <a:pt x="408" y="275"/>
                    <a:pt x="408" y="275"/>
                  </a:cubicBezTo>
                  <a:cubicBezTo>
                    <a:pt x="403" y="274"/>
                    <a:pt x="403" y="274"/>
                    <a:pt x="403" y="274"/>
                  </a:cubicBezTo>
                  <a:cubicBezTo>
                    <a:pt x="408" y="271"/>
                    <a:pt x="408" y="271"/>
                    <a:pt x="408" y="271"/>
                  </a:cubicBezTo>
                  <a:cubicBezTo>
                    <a:pt x="408" y="271"/>
                    <a:pt x="408" y="271"/>
                    <a:pt x="408" y="271"/>
                  </a:cubicBezTo>
                  <a:cubicBezTo>
                    <a:pt x="409" y="270"/>
                    <a:pt x="409" y="270"/>
                    <a:pt x="409" y="270"/>
                  </a:cubicBezTo>
                  <a:cubicBezTo>
                    <a:pt x="410" y="268"/>
                    <a:pt x="411" y="267"/>
                    <a:pt x="412" y="266"/>
                  </a:cubicBezTo>
                  <a:cubicBezTo>
                    <a:pt x="417" y="259"/>
                    <a:pt x="417" y="259"/>
                    <a:pt x="417" y="259"/>
                  </a:cubicBezTo>
                  <a:cubicBezTo>
                    <a:pt x="418" y="258"/>
                    <a:pt x="419" y="257"/>
                    <a:pt x="421" y="256"/>
                  </a:cubicBezTo>
                  <a:cubicBezTo>
                    <a:pt x="422" y="255"/>
                    <a:pt x="422" y="255"/>
                    <a:pt x="422" y="255"/>
                  </a:cubicBezTo>
                  <a:cubicBezTo>
                    <a:pt x="422" y="254"/>
                    <a:pt x="423" y="254"/>
                    <a:pt x="423" y="253"/>
                  </a:cubicBezTo>
                  <a:cubicBezTo>
                    <a:pt x="424" y="252"/>
                    <a:pt x="424" y="251"/>
                    <a:pt x="425" y="250"/>
                  </a:cubicBezTo>
                  <a:cubicBezTo>
                    <a:pt x="427" y="249"/>
                    <a:pt x="429" y="247"/>
                    <a:pt x="430" y="245"/>
                  </a:cubicBezTo>
                  <a:cubicBezTo>
                    <a:pt x="431" y="243"/>
                    <a:pt x="431" y="242"/>
                    <a:pt x="431" y="240"/>
                  </a:cubicBezTo>
                  <a:cubicBezTo>
                    <a:pt x="431" y="240"/>
                    <a:pt x="431" y="239"/>
                    <a:pt x="430" y="239"/>
                  </a:cubicBezTo>
                  <a:cubicBezTo>
                    <a:pt x="430" y="238"/>
                    <a:pt x="430" y="238"/>
                    <a:pt x="429" y="237"/>
                  </a:cubicBezTo>
                  <a:cubicBezTo>
                    <a:pt x="427" y="234"/>
                    <a:pt x="427" y="234"/>
                    <a:pt x="427" y="234"/>
                  </a:cubicBezTo>
                  <a:cubicBezTo>
                    <a:pt x="427" y="234"/>
                    <a:pt x="427" y="234"/>
                    <a:pt x="426" y="234"/>
                  </a:cubicBezTo>
                  <a:cubicBezTo>
                    <a:pt x="413" y="232"/>
                    <a:pt x="413" y="232"/>
                    <a:pt x="413" y="232"/>
                  </a:cubicBezTo>
                  <a:cubicBezTo>
                    <a:pt x="412" y="232"/>
                    <a:pt x="412" y="232"/>
                    <a:pt x="412" y="232"/>
                  </a:cubicBezTo>
                  <a:cubicBezTo>
                    <a:pt x="411" y="232"/>
                    <a:pt x="408" y="231"/>
                    <a:pt x="407" y="228"/>
                  </a:cubicBezTo>
                  <a:cubicBezTo>
                    <a:pt x="407" y="228"/>
                    <a:pt x="407" y="227"/>
                    <a:pt x="406" y="226"/>
                  </a:cubicBezTo>
                  <a:cubicBezTo>
                    <a:pt x="406" y="226"/>
                    <a:pt x="406" y="225"/>
                    <a:pt x="406" y="224"/>
                  </a:cubicBezTo>
                  <a:cubicBezTo>
                    <a:pt x="406" y="223"/>
                    <a:pt x="406" y="223"/>
                    <a:pt x="406" y="223"/>
                  </a:cubicBezTo>
                  <a:cubicBezTo>
                    <a:pt x="406" y="223"/>
                    <a:pt x="406" y="222"/>
                    <a:pt x="406" y="222"/>
                  </a:cubicBezTo>
                  <a:cubicBezTo>
                    <a:pt x="406" y="217"/>
                    <a:pt x="406" y="217"/>
                    <a:pt x="406" y="217"/>
                  </a:cubicBezTo>
                  <a:cubicBezTo>
                    <a:pt x="406" y="215"/>
                    <a:pt x="406" y="213"/>
                    <a:pt x="406" y="211"/>
                  </a:cubicBezTo>
                  <a:cubicBezTo>
                    <a:pt x="407" y="210"/>
                    <a:pt x="407" y="209"/>
                    <a:pt x="407" y="207"/>
                  </a:cubicBezTo>
                  <a:cubicBezTo>
                    <a:pt x="407" y="206"/>
                    <a:pt x="406" y="206"/>
                    <a:pt x="406" y="205"/>
                  </a:cubicBezTo>
                  <a:cubicBezTo>
                    <a:pt x="406" y="203"/>
                    <a:pt x="406" y="203"/>
                    <a:pt x="406" y="203"/>
                  </a:cubicBezTo>
                  <a:cubicBezTo>
                    <a:pt x="405" y="202"/>
                    <a:pt x="405" y="202"/>
                    <a:pt x="405" y="201"/>
                  </a:cubicBezTo>
                  <a:cubicBezTo>
                    <a:pt x="403" y="192"/>
                    <a:pt x="403" y="192"/>
                    <a:pt x="403" y="192"/>
                  </a:cubicBezTo>
                  <a:cubicBezTo>
                    <a:pt x="402" y="192"/>
                    <a:pt x="402" y="191"/>
                    <a:pt x="402" y="191"/>
                  </a:cubicBezTo>
                  <a:cubicBezTo>
                    <a:pt x="401" y="184"/>
                    <a:pt x="401" y="184"/>
                    <a:pt x="401" y="184"/>
                  </a:cubicBezTo>
                  <a:cubicBezTo>
                    <a:pt x="401" y="181"/>
                    <a:pt x="403" y="178"/>
                    <a:pt x="406" y="175"/>
                  </a:cubicBezTo>
                  <a:cubicBezTo>
                    <a:pt x="406" y="175"/>
                    <a:pt x="406" y="175"/>
                    <a:pt x="406" y="175"/>
                  </a:cubicBezTo>
                  <a:cubicBezTo>
                    <a:pt x="404" y="174"/>
                    <a:pt x="402" y="173"/>
                    <a:pt x="400" y="172"/>
                  </a:cubicBezTo>
                  <a:cubicBezTo>
                    <a:pt x="400" y="171"/>
                    <a:pt x="399" y="169"/>
                    <a:pt x="399" y="168"/>
                  </a:cubicBezTo>
                  <a:cubicBezTo>
                    <a:pt x="399" y="167"/>
                    <a:pt x="399" y="167"/>
                    <a:pt x="399" y="167"/>
                  </a:cubicBezTo>
                  <a:cubicBezTo>
                    <a:pt x="398" y="166"/>
                    <a:pt x="398" y="164"/>
                    <a:pt x="398" y="163"/>
                  </a:cubicBezTo>
                  <a:cubicBezTo>
                    <a:pt x="398" y="160"/>
                    <a:pt x="399" y="158"/>
                    <a:pt x="399" y="157"/>
                  </a:cubicBezTo>
                  <a:cubicBezTo>
                    <a:pt x="399" y="156"/>
                    <a:pt x="399" y="156"/>
                    <a:pt x="399" y="156"/>
                  </a:cubicBezTo>
                  <a:cubicBezTo>
                    <a:pt x="397" y="157"/>
                    <a:pt x="397" y="157"/>
                    <a:pt x="397" y="157"/>
                  </a:cubicBezTo>
                  <a:cubicBezTo>
                    <a:pt x="406" y="149"/>
                    <a:pt x="406" y="149"/>
                    <a:pt x="406" y="149"/>
                  </a:cubicBezTo>
                  <a:cubicBezTo>
                    <a:pt x="406" y="148"/>
                    <a:pt x="405" y="148"/>
                    <a:pt x="405" y="147"/>
                  </a:cubicBezTo>
                  <a:cubicBezTo>
                    <a:pt x="403" y="145"/>
                    <a:pt x="403" y="145"/>
                    <a:pt x="403" y="145"/>
                  </a:cubicBezTo>
                  <a:cubicBezTo>
                    <a:pt x="405" y="143"/>
                    <a:pt x="405" y="143"/>
                    <a:pt x="405" y="143"/>
                  </a:cubicBezTo>
                  <a:cubicBezTo>
                    <a:pt x="406" y="142"/>
                    <a:pt x="407" y="140"/>
                    <a:pt x="408" y="139"/>
                  </a:cubicBezTo>
                  <a:cubicBezTo>
                    <a:pt x="410" y="138"/>
                    <a:pt x="410" y="138"/>
                    <a:pt x="410" y="138"/>
                  </a:cubicBezTo>
                  <a:cubicBezTo>
                    <a:pt x="412" y="136"/>
                    <a:pt x="412" y="136"/>
                    <a:pt x="412" y="135"/>
                  </a:cubicBezTo>
                  <a:cubicBezTo>
                    <a:pt x="412" y="133"/>
                    <a:pt x="412" y="133"/>
                    <a:pt x="412" y="133"/>
                  </a:cubicBezTo>
                  <a:cubicBezTo>
                    <a:pt x="413" y="132"/>
                    <a:pt x="413" y="132"/>
                    <a:pt x="413" y="132"/>
                  </a:cubicBezTo>
                  <a:cubicBezTo>
                    <a:pt x="413" y="131"/>
                    <a:pt x="413" y="131"/>
                    <a:pt x="413" y="131"/>
                  </a:cubicBezTo>
                  <a:cubicBezTo>
                    <a:pt x="413" y="130"/>
                    <a:pt x="413" y="129"/>
                    <a:pt x="414" y="128"/>
                  </a:cubicBezTo>
                  <a:cubicBezTo>
                    <a:pt x="416" y="120"/>
                    <a:pt x="416" y="120"/>
                    <a:pt x="416" y="120"/>
                  </a:cubicBezTo>
                  <a:cubicBezTo>
                    <a:pt x="419" y="117"/>
                    <a:pt x="419" y="117"/>
                    <a:pt x="419" y="117"/>
                  </a:cubicBezTo>
                  <a:cubicBezTo>
                    <a:pt x="419" y="117"/>
                    <a:pt x="419" y="117"/>
                    <a:pt x="419" y="117"/>
                  </a:cubicBezTo>
                  <a:cubicBezTo>
                    <a:pt x="418" y="116"/>
                    <a:pt x="418" y="115"/>
                    <a:pt x="418" y="115"/>
                  </a:cubicBezTo>
                  <a:cubicBezTo>
                    <a:pt x="417" y="114"/>
                    <a:pt x="417" y="114"/>
                    <a:pt x="417" y="114"/>
                  </a:cubicBezTo>
                  <a:cubicBezTo>
                    <a:pt x="417" y="113"/>
                    <a:pt x="417" y="112"/>
                    <a:pt x="417" y="111"/>
                  </a:cubicBezTo>
                  <a:cubicBezTo>
                    <a:pt x="417" y="111"/>
                    <a:pt x="417" y="110"/>
                    <a:pt x="416" y="110"/>
                  </a:cubicBezTo>
                  <a:cubicBezTo>
                    <a:pt x="416" y="108"/>
                    <a:pt x="416" y="108"/>
                    <a:pt x="416" y="108"/>
                  </a:cubicBezTo>
                  <a:cubicBezTo>
                    <a:pt x="415" y="104"/>
                    <a:pt x="415" y="102"/>
                    <a:pt x="415" y="99"/>
                  </a:cubicBezTo>
                  <a:cubicBezTo>
                    <a:pt x="415" y="98"/>
                    <a:pt x="415" y="98"/>
                    <a:pt x="415" y="98"/>
                  </a:cubicBezTo>
                  <a:cubicBezTo>
                    <a:pt x="415" y="97"/>
                    <a:pt x="415" y="96"/>
                    <a:pt x="415" y="96"/>
                  </a:cubicBezTo>
                  <a:cubicBezTo>
                    <a:pt x="415" y="95"/>
                    <a:pt x="415" y="95"/>
                    <a:pt x="415" y="95"/>
                  </a:cubicBezTo>
                  <a:cubicBezTo>
                    <a:pt x="415" y="93"/>
                    <a:pt x="415" y="90"/>
                    <a:pt x="415" y="88"/>
                  </a:cubicBezTo>
                  <a:cubicBezTo>
                    <a:pt x="415" y="88"/>
                    <a:pt x="415" y="88"/>
                    <a:pt x="415" y="88"/>
                  </a:cubicBezTo>
                  <a:cubicBezTo>
                    <a:pt x="414" y="88"/>
                    <a:pt x="412" y="88"/>
                    <a:pt x="411" y="88"/>
                  </a:cubicBezTo>
                  <a:cubicBezTo>
                    <a:pt x="411" y="88"/>
                    <a:pt x="410" y="88"/>
                    <a:pt x="409" y="88"/>
                  </a:cubicBezTo>
                  <a:cubicBezTo>
                    <a:pt x="406" y="88"/>
                    <a:pt x="406" y="88"/>
                    <a:pt x="406" y="88"/>
                  </a:cubicBezTo>
                  <a:cubicBezTo>
                    <a:pt x="405" y="88"/>
                    <a:pt x="404" y="88"/>
                    <a:pt x="403" y="88"/>
                  </a:cubicBezTo>
                  <a:cubicBezTo>
                    <a:pt x="403" y="92"/>
                    <a:pt x="403" y="92"/>
                    <a:pt x="403" y="92"/>
                  </a:cubicBezTo>
                  <a:cubicBezTo>
                    <a:pt x="401" y="88"/>
                    <a:pt x="401" y="88"/>
                    <a:pt x="401" y="88"/>
                  </a:cubicBezTo>
                  <a:cubicBezTo>
                    <a:pt x="401" y="88"/>
                    <a:pt x="401" y="88"/>
                    <a:pt x="401" y="88"/>
                  </a:cubicBezTo>
                  <a:cubicBezTo>
                    <a:pt x="399" y="88"/>
                    <a:pt x="398" y="88"/>
                    <a:pt x="397" y="88"/>
                  </a:cubicBezTo>
                  <a:cubicBezTo>
                    <a:pt x="396" y="87"/>
                    <a:pt x="395" y="87"/>
                    <a:pt x="395" y="87"/>
                  </a:cubicBezTo>
                  <a:cubicBezTo>
                    <a:pt x="394" y="86"/>
                    <a:pt x="394" y="86"/>
                    <a:pt x="394" y="86"/>
                  </a:cubicBezTo>
                  <a:cubicBezTo>
                    <a:pt x="394" y="85"/>
                    <a:pt x="393" y="84"/>
                    <a:pt x="392" y="83"/>
                  </a:cubicBezTo>
                  <a:cubicBezTo>
                    <a:pt x="391" y="82"/>
                    <a:pt x="391" y="82"/>
                    <a:pt x="391" y="82"/>
                  </a:cubicBezTo>
                  <a:cubicBezTo>
                    <a:pt x="390" y="81"/>
                    <a:pt x="390" y="80"/>
                    <a:pt x="389" y="79"/>
                  </a:cubicBezTo>
                  <a:cubicBezTo>
                    <a:pt x="389" y="79"/>
                    <a:pt x="389" y="79"/>
                    <a:pt x="389" y="79"/>
                  </a:cubicBezTo>
                  <a:cubicBezTo>
                    <a:pt x="389" y="78"/>
                    <a:pt x="388" y="78"/>
                    <a:pt x="388" y="77"/>
                  </a:cubicBezTo>
                  <a:cubicBezTo>
                    <a:pt x="387" y="77"/>
                    <a:pt x="387" y="77"/>
                    <a:pt x="387" y="77"/>
                  </a:cubicBezTo>
                  <a:cubicBezTo>
                    <a:pt x="386" y="76"/>
                    <a:pt x="384" y="76"/>
                    <a:pt x="382" y="75"/>
                  </a:cubicBezTo>
                  <a:cubicBezTo>
                    <a:pt x="382" y="75"/>
                    <a:pt x="382" y="75"/>
                    <a:pt x="382" y="75"/>
                  </a:cubicBezTo>
                  <a:cubicBezTo>
                    <a:pt x="381" y="75"/>
                    <a:pt x="380" y="75"/>
                    <a:pt x="379" y="75"/>
                  </a:cubicBezTo>
                  <a:cubicBezTo>
                    <a:pt x="379" y="74"/>
                    <a:pt x="379" y="74"/>
                    <a:pt x="379" y="74"/>
                  </a:cubicBezTo>
                  <a:cubicBezTo>
                    <a:pt x="377" y="74"/>
                    <a:pt x="377" y="74"/>
                    <a:pt x="377" y="74"/>
                  </a:cubicBezTo>
                  <a:cubicBezTo>
                    <a:pt x="377" y="73"/>
                    <a:pt x="377" y="73"/>
                    <a:pt x="377" y="73"/>
                  </a:cubicBezTo>
                  <a:cubicBezTo>
                    <a:pt x="376" y="72"/>
                    <a:pt x="376" y="72"/>
                    <a:pt x="376" y="71"/>
                  </a:cubicBezTo>
                  <a:cubicBezTo>
                    <a:pt x="374" y="69"/>
                    <a:pt x="374" y="69"/>
                    <a:pt x="374" y="69"/>
                  </a:cubicBezTo>
                  <a:cubicBezTo>
                    <a:pt x="374" y="67"/>
                    <a:pt x="373" y="66"/>
                    <a:pt x="372" y="64"/>
                  </a:cubicBezTo>
                  <a:cubicBezTo>
                    <a:pt x="371" y="64"/>
                    <a:pt x="371" y="64"/>
                    <a:pt x="371" y="64"/>
                  </a:cubicBezTo>
                  <a:cubicBezTo>
                    <a:pt x="370" y="62"/>
                    <a:pt x="367" y="61"/>
                    <a:pt x="363" y="60"/>
                  </a:cubicBezTo>
                  <a:cubicBezTo>
                    <a:pt x="362" y="60"/>
                    <a:pt x="362" y="60"/>
                    <a:pt x="362" y="60"/>
                  </a:cubicBezTo>
                  <a:cubicBezTo>
                    <a:pt x="361" y="60"/>
                    <a:pt x="360" y="60"/>
                    <a:pt x="359" y="60"/>
                  </a:cubicBezTo>
                  <a:cubicBezTo>
                    <a:pt x="353" y="60"/>
                    <a:pt x="353" y="60"/>
                    <a:pt x="353" y="60"/>
                  </a:cubicBezTo>
                  <a:cubicBezTo>
                    <a:pt x="352" y="60"/>
                    <a:pt x="352" y="60"/>
                    <a:pt x="352" y="60"/>
                  </a:cubicBezTo>
                  <a:cubicBezTo>
                    <a:pt x="352" y="60"/>
                    <a:pt x="352" y="60"/>
                    <a:pt x="351" y="60"/>
                  </a:cubicBezTo>
                  <a:cubicBezTo>
                    <a:pt x="349" y="60"/>
                    <a:pt x="349" y="60"/>
                    <a:pt x="349" y="60"/>
                  </a:cubicBezTo>
                  <a:cubicBezTo>
                    <a:pt x="349" y="60"/>
                    <a:pt x="349" y="60"/>
                    <a:pt x="349" y="60"/>
                  </a:cubicBezTo>
                  <a:cubicBezTo>
                    <a:pt x="349" y="60"/>
                    <a:pt x="348" y="60"/>
                    <a:pt x="348" y="60"/>
                  </a:cubicBezTo>
                  <a:cubicBezTo>
                    <a:pt x="347" y="60"/>
                    <a:pt x="346" y="60"/>
                    <a:pt x="345" y="59"/>
                  </a:cubicBezTo>
                  <a:cubicBezTo>
                    <a:pt x="344" y="59"/>
                    <a:pt x="344" y="59"/>
                    <a:pt x="344" y="59"/>
                  </a:cubicBezTo>
                  <a:cubicBezTo>
                    <a:pt x="340" y="56"/>
                    <a:pt x="340" y="56"/>
                    <a:pt x="340" y="56"/>
                  </a:cubicBezTo>
                  <a:cubicBezTo>
                    <a:pt x="339" y="55"/>
                    <a:pt x="338" y="54"/>
                    <a:pt x="337" y="54"/>
                  </a:cubicBezTo>
                  <a:cubicBezTo>
                    <a:pt x="335" y="53"/>
                    <a:pt x="335" y="53"/>
                    <a:pt x="335" y="53"/>
                  </a:cubicBezTo>
                  <a:cubicBezTo>
                    <a:pt x="334" y="53"/>
                    <a:pt x="333" y="53"/>
                    <a:pt x="333" y="53"/>
                  </a:cubicBezTo>
                  <a:cubicBezTo>
                    <a:pt x="331" y="52"/>
                    <a:pt x="329" y="52"/>
                    <a:pt x="327" y="52"/>
                  </a:cubicBezTo>
                  <a:cubicBezTo>
                    <a:pt x="326" y="52"/>
                    <a:pt x="326" y="52"/>
                    <a:pt x="326" y="52"/>
                  </a:cubicBezTo>
                  <a:cubicBezTo>
                    <a:pt x="324" y="51"/>
                    <a:pt x="322" y="50"/>
                    <a:pt x="321" y="48"/>
                  </a:cubicBezTo>
                  <a:cubicBezTo>
                    <a:pt x="321" y="47"/>
                    <a:pt x="321" y="47"/>
                    <a:pt x="321" y="47"/>
                  </a:cubicBezTo>
                  <a:cubicBezTo>
                    <a:pt x="315" y="50"/>
                    <a:pt x="315" y="50"/>
                    <a:pt x="315" y="50"/>
                  </a:cubicBezTo>
                  <a:cubicBezTo>
                    <a:pt x="320" y="46"/>
                    <a:pt x="320" y="46"/>
                    <a:pt x="320" y="46"/>
                  </a:cubicBezTo>
                  <a:cubicBezTo>
                    <a:pt x="320" y="45"/>
                    <a:pt x="320" y="45"/>
                    <a:pt x="320" y="45"/>
                  </a:cubicBezTo>
                  <a:cubicBezTo>
                    <a:pt x="319" y="43"/>
                    <a:pt x="319" y="43"/>
                    <a:pt x="318" y="43"/>
                  </a:cubicBezTo>
                  <a:cubicBezTo>
                    <a:pt x="317" y="43"/>
                    <a:pt x="316" y="43"/>
                    <a:pt x="315" y="42"/>
                  </a:cubicBezTo>
                  <a:cubicBezTo>
                    <a:pt x="314" y="42"/>
                    <a:pt x="314" y="42"/>
                    <a:pt x="314" y="42"/>
                  </a:cubicBezTo>
                  <a:cubicBezTo>
                    <a:pt x="313" y="42"/>
                    <a:pt x="311" y="42"/>
                    <a:pt x="310" y="42"/>
                  </a:cubicBezTo>
                  <a:cubicBezTo>
                    <a:pt x="310" y="42"/>
                    <a:pt x="310" y="42"/>
                    <a:pt x="310" y="42"/>
                  </a:cubicBezTo>
                  <a:cubicBezTo>
                    <a:pt x="309" y="42"/>
                    <a:pt x="309" y="42"/>
                    <a:pt x="308" y="42"/>
                  </a:cubicBezTo>
                  <a:cubicBezTo>
                    <a:pt x="307" y="42"/>
                    <a:pt x="305" y="42"/>
                    <a:pt x="304" y="42"/>
                  </a:cubicBezTo>
                  <a:cubicBezTo>
                    <a:pt x="303" y="43"/>
                    <a:pt x="303" y="43"/>
                    <a:pt x="303" y="43"/>
                  </a:cubicBezTo>
                  <a:cubicBezTo>
                    <a:pt x="303" y="43"/>
                    <a:pt x="303" y="43"/>
                    <a:pt x="303" y="43"/>
                  </a:cubicBezTo>
                  <a:cubicBezTo>
                    <a:pt x="303" y="43"/>
                    <a:pt x="303" y="43"/>
                    <a:pt x="303" y="43"/>
                  </a:cubicBezTo>
                  <a:cubicBezTo>
                    <a:pt x="300" y="46"/>
                    <a:pt x="298" y="48"/>
                    <a:pt x="295" y="48"/>
                  </a:cubicBezTo>
                  <a:cubicBezTo>
                    <a:pt x="294" y="48"/>
                    <a:pt x="294" y="48"/>
                    <a:pt x="294" y="48"/>
                  </a:cubicBezTo>
                  <a:cubicBezTo>
                    <a:pt x="294" y="53"/>
                    <a:pt x="294" y="53"/>
                    <a:pt x="294" y="53"/>
                  </a:cubicBezTo>
                  <a:cubicBezTo>
                    <a:pt x="293" y="48"/>
                    <a:pt x="293" y="48"/>
                    <a:pt x="293" y="48"/>
                  </a:cubicBezTo>
                  <a:cubicBezTo>
                    <a:pt x="291" y="47"/>
                    <a:pt x="289" y="47"/>
                    <a:pt x="288" y="47"/>
                  </a:cubicBezTo>
                  <a:cubicBezTo>
                    <a:pt x="287" y="47"/>
                    <a:pt x="286" y="47"/>
                    <a:pt x="286" y="47"/>
                  </a:cubicBezTo>
                  <a:cubicBezTo>
                    <a:pt x="281" y="48"/>
                    <a:pt x="278" y="48"/>
                    <a:pt x="274" y="50"/>
                  </a:cubicBezTo>
                  <a:cubicBezTo>
                    <a:pt x="243" y="81"/>
                    <a:pt x="243" y="81"/>
                    <a:pt x="243" y="81"/>
                  </a:cubicBezTo>
                  <a:cubicBezTo>
                    <a:pt x="242" y="80"/>
                    <a:pt x="242" y="80"/>
                    <a:pt x="242" y="80"/>
                  </a:cubicBezTo>
                  <a:cubicBezTo>
                    <a:pt x="241" y="80"/>
                    <a:pt x="240" y="81"/>
                    <a:pt x="239" y="81"/>
                  </a:cubicBezTo>
                  <a:cubicBezTo>
                    <a:pt x="239" y="81"/>
                    <a:pt x="239" y="81"/>
                    <a:pt x="238" y="81"/>
                  </a:cubicBezTo>
                  <a:cubicBezTo>
                    <a:pt x="236" y="81"/>
                    <a:pt x="234" y="80"/>
                    <a:pt x="232" y="79"/>
                  </a:cubicBezTo>
                  <a:cubicBezTo>
                    <a:pt x="232" y="79"/>
                    <a:pt x="233" y="79"/>
                    <a:pt x="233" y="79"/>
                  </a:cubicBezTo>
                  <a:cubicBezTo>
                    <a:pt x="235" y="79"/>
                    <a:pt x="236" y="79"/>
                    <a:pt x="238" y="78"/>
                  </a:cubicBezTo>
                  <a:cubicBezTo>
                    <a:pt x="236" y="78"/>
                    <a:pt x="234" y="78"/>
                    <a:pt x="232" y="79"/>
                  </a:cubicBezTo>
                  <a:cubicBezTo>
                    <a:pt x="228" y="79"/>
                    <a:pt x="224" y="80"/>
                    <a:pt x="221" y="80"/>
                  </a:cubicBezTo>
                  <a:cubicBezTo>
                    <a:pt x="217" y="81"/>
                    <a:pt x="213" y="82"/>
                    <a:pt x="209" y="83"/>
                  </a:cubicBezTo>
                  <a:cubicBezTo>
                    <a:pt x="207" y="83"/>
                    <a:pt x="205" y="84"/>
                    <a:pt x="203" y="84"/>
                  </a:cubicBezTo>
                  <a:cubicBezTo>
                    <a:pt x="200" y="85"/>
                    <a:pt x="198" y="85"/>
                    <a:pt x="196" y="86"/>
                  </a:cubicBezTo>
                  <a:cubicBezTo>
                    <a:pt x="194" y="86"/>
                    <a:pt x="192" y="87"/>
                    <a:pt x="190" y="87"/>
                  </a:cubicBezTo>
                  <a:cubicBezTo>
                    <a:pt x="189" y="87"/>
                    <a:pt x="187" y="86"/>
                    <a:pt x="186" y="86"/>
                  </a:cubicBezTo>
                  <a:cubicBezTo>
                    <a:pt x="185" y="86"/>
                    <a:pt x="184" y="86"/>
                    <a:pt x="183" y="86"/>
                  </a:cubicBezTo>
                  <a:cubicBezTo>
                    <a:pt x="181" y="85"/>
                    <a:pt x="180" y="85"/>
                    <a:pt x="178" y="85"/>
                  </a:cubicBezTo>
                  <a:cubicBezTo>
                    <a:pt x="176" y="84"/>
                    <a:pt x="173" y="83"/>
                    <a:pt x="171" y="82"/>
                  </a:cubicBezTo>
                  <a:cubicBezTo>
                    <a:pt x="169" y="81"/>
                    <a:pt x="166" y="81"/>
                    <a:pt x="164" y="80"/>
                  </a:cubicBezTo>
                  <a:cubicBezTo>
                    <a:pt x="164" y="80"/>
                    <a:pt x="164" y="80"/>
                    <a:pt x="164" y="80"/>
                  </a:cubicBezTo>
                  <a:cubicBezTo>
                    <a:pt x="162" y="79"/>
                    <a:pt x="160" y="78"/>
                    <a:pt x="158" y="77"/>
                  </a:cubicBezTo>
                  <a:cubicBezTo>
                    <a:pt x="156" y="75"/>
                    <a:pt x="154" y="74"/>
                    <a:pt x="152" y="72"/>
                  </a:cubicBezTo>
                  <a:cubicBezTo>
                    <a:pt x="151" y="71"/>
                    <a:pt x="150" y="70"/>
                    <a:pt x="149" y="69"/>
                  </a:cubicBezTo>
                  <a:cubicBezTo>
                    <a:pt x="149" y="68"/>
                    <a:pt x="149" y="68"/>
                    <a:pt x="148" y="67"/>
                  </a:cubicBezTo>
                  <a:cubicBezTo>
                    <a:pt x="146" y="66"/>
                    <a:pt x="144" y="65"/>
                    <a:pt x="142" y="64"/>
                  </a:cubicBezTo>
                  <a:cubicBezTo>
                    <a:pt x="139" y="63"/>
                    <a:pt x="136" y="63"/>
                    <a:pt x="134" y="62"/>
                  </a:cubicBezTo>
                  <a:cubicBezTo>
                    <a:pt x="134" y="62"/>
                    <a:pt x="134" y="62"/>
                    <a:pt x="134" y="62"/>
                  </a:cubicBezTo>
                  <a:cubicBezTo>
                    <a:pt x="131" y="61"/>
                    <a:pt x="129" y="61"/>
                    <a:pt x="126" y="60"/>
                  </a:cubicBezTo>
                  <a:cubicBezTo>
                    <a:pt x="124" y="59"/>
                    <a:pt x="122" y="58"/>
                    <a:pt x="120" y="56"/>
                  </a:cubicBezTo>
                  <a:cubicBezTo>
                    <a:pt x="120" y="56"/>
                    <a:pt x="119" y="55"/>
                    <a:pt x="119" y="54"/>
                  </a:cubicBezTo>
                  <a:cubicBezTo>
                    <a:pt x="119" y="52"/>
                    <a:pt x="118" y="51"/>
                    <a:pt x="118" y="49"/>
                  </a:cubicBezTo>
                  <a:cubicBezTo>
                    <a:pt x="117" y="47"/>
                    <a:pt x="116" y="44"/>
                    <a:pt x="116" y="42"/>
                  </a:cubicBezTo>
                  <a:cubicBezTo>
                    <a:pt x="116" y="40"/>
                    <a:pt x="116" y="39"/>
                    <a:pt x="115" y="37"/>
                  </a:cubicBezTo>
                  <a:cubicBezTo>
                    <a:pt x="114" y="38"/>
                    <a:pt x="114" y="38"/>
                    <a:pt x="114" y="38"/>
                  </a:cubicBezTo>
                  <a:cubicBezTo>
                    <a:pt x="114" y="38"/>
                    <a:pt x="113" y="38"/>
                    <a:pt x="113" y="38"/>
                  </a:cubicBezTo>
                  <a:cubicBezTo>
                    <a:pt x="112" y="38"/>
                    <a:pt x="112" y="38"/>
                    <a:pt x="112" y="38"/>
                  </a:cubicBezTo>
                  <a:cubicBezTo>
                    <a:pt x="111" y="38"/>
                    <a:pt x="111" y="38"/>
                    <a:pt x="110" y="38"/>
                  </a:cubicBezTo>
                  <a:cubicBezTo>
                    <a:pt x="110" y="38"/>
                    <a:pt x="110" y="38"/>
                    <a:pt x="110" y="38"/>
                  </a:cubicBezTo>
                  <a:cubicBezTo>
                    <a:pt x="110" y="38"/>
                    <a:pt x="110" y="38"/>
                    <a:pt x="110" y="38"/>
                  </a:cubicBezTo>
                  <a:cubicBezTo>
                    <a:pt x="109" y="38"/>
                    <a:pt x="109" y="38"/>
                    <a:pt x="109" y="38"/>
                  </a:cubicBezTo>
                  <a:cubicBezTo>
                    <a:pt x="109" y="38"/>
                    <a:pt x="109" y="38"/>
                    <a:pt x="108" y="38"/>
                  </a:cubicBezTo>
                  <a:cubicBezTo>
                    <a:pt x="108" y="38"/>
                    <a:pt x="108" y="38"/>
                    <a:pt x="108" y="38"/>
                  </a:cubicBezTo>
                  <a:cubicBezTo>
                    <a:pt x="108" y="38"/>
                    <a:pt x="107" y="38"/>
                    <a:pt x="107" y="38"/>
                  </a:cubicBezTo>
                  <a:cubicBezTo>
                    <a:pt x="105" y="37"/>
                    <a:pt x="105" y="36"/>
                    <a:pt x="104" y="34"/>
                  </a:cubicBezTo>
                  <a:cubicBezTo>
                    <a:pt x="104" y="34"/>
                    <a:pt x="104" y="34"/>
                    <a:pt x="103" y="33"/>
                  </a:cubicBezTo>
                  <a:cubicBezTo>
                    <a:pt x="103" y="33"/>
                    <a:pt x="103" y="33"/>
                    <a:pt x="102" y="33"/>
                  </a:cubicBezTo>
                  <a:cubicBezTo>
                    <a:pt x="101" y="32"/>
                    <a:pt x="100" y="31"/>
                    <a:pt x="99" y="31"/>
                  </a:cubicBezTo>
                  <a:cubicBezTo>
                    <a:pt x="98" y="30"/>
                    <a:pt x="98" y="30"/>
                    <a:pt x="98" y="29"/>
                  </a:cubicBezTo>
                  <a:cubicBezTo>
                    <a:pt x="97" y="29"/>
                    <a:pt x="97" y="29"/>
                    <a:pt x="97" y="29"/>
                  </a:cubicBezTo>
                  <a:cubicBezTo>
                    <a:pt x="97" y="28"/>
                    <a:pt x="97" y="28"/>
                    <a:pt x="97" y="28"/>
                  </a:cubicBezTo>
                  <a:cubicBezTo>
                    <a:pt x="89" y="22"/>
                    <a:pt x="89" y="22"/>
                    <a:pt x="89" y="22"/>
                  </a:cubicBezTo>
                  <a:cubicBezTo>
                    <a:pt x="97" y="16"/>
                    <a:pt x="97" y="16"/>
                    <a:pt x="97" y="16"/>
                  </a:cubicBezTo>
                  <a:cubicBezTo>
                    <a:pt x="95" y="15"/>
                    <a:pt x="94" y="13"/>
                    <a:pt x="95" y="11"/>
                  </a:cubicBezTo>
                  <a:cubicBezTo>
                    <a:pt x="96" y="10"/>
                    <a:pt x="96" y="9"/>
                    <a:pt x="97" y="8"/>
                  </a:cubicBezTo>
                  <a:cubicBezTo>
                    <a:pt x="97" y="7"/>
                    <a:pt x="97" y="7"/>
                    <a:pt x="97" y="7"/>
                  </a:cubicBezTo>
                  <a:cubicBezTo>
                    <a:pt x="97" y="7"/>
                    <a:pt x="97" y="7"/>
                    <a:pt x="97" y="7"/>
                  </a:cubicBezTo>
                  <a:cubicBezTo>
                    <a:pt x="96" y="5"/>
                    <a:pt x="96" y="5"/>
                    <a:pt x="96" y="5"/>
                  </a:cubicBezTo>
                  <a:cubicBezTo>
                    <a:pt x="94" y="2"/>
                    <a:pt x="93" y="1"/>
                    <a:pt x="92" y="1"/>
                  </a:cubicBezTo>
                  <a:cubicBezTo>
                    <a:pt x="92" y="1"/>
                    <a:pt x="91" y="1"/>
                    <a:pt x="88" y="3"/>
                  </a:cubicBezTo>
                  <a:cubicBezTo>
                    <a:pt x="87" y="4"/>
                    <a:pt x="87" y="4"/>
                    <a:pt x="87" y="4"/>
                  </a:cubicBezTo>
                  <a:cubicBezTo>
                    <a:pt x="83" y="6"/>
                    <a:pt x="81" y="8"/>
                    <a:pt x="78" y="10"/>
                  </a:cubicBezTo>
                  <a:cubicBezTo>
                    <a:pt x="75" y="11"/>
                    <a:pt x="75" y="11"/>
                    <a:pt x="75" y="11"/>
                  </a:cubicBezTo>
                  <a:cubicBezTo>
                    <a:pt x="74" y="12"/>
                    <a:pt x="73" y="13"/>
                    <a:pt x="72" y="13"/>
                  </a:cubicBezTo>
                  <a:cubicBezTo>
                    <a:pt x="70" y="15"/>
                    <a:pt x="68" y="16"/>
                    <a:pt x="67" y="17"/>
                  </a:cubicBezTo>
                  <a:cubicBezTo>
                    <a:pt x="66" y="18"/>
                    <a:pt x="66" y="18"/>
                    <a:pt x="65" y="19"/>
                  </a:cubicBezTo>
                  <a:cubicBezTo>
                    <a:pt x="64" y="20"/>
                    <a:pt x="64" y="20"/>
                    <a:pt x="64" y="20"/>
                  </a:cubicBezTo>
                  <a:cubicBezTo>
                    <a:pt x="63" y="21"/>
                    <a:pt x="63" y="21"/>
                    <a:pt x="63" y="21"/>
                  </a:cubicBezTo>
                  <a:cubicBezTo>
                    <a:pt x="62" y="22"/>
                    <a:pt x="61" y="23"/>
                    <a:pt x="60" y="24"/>
                  </a:cubicBezTo>
                  <a:cubicBezTo>
                    <a:pt x="60" y="24"/>
                    <a:pt x="60" y="24"/>
                    <a:pt x="60" y="24"/>
                  </a:cubicBezTo>
                  <a:cubicBezTo>
                    <a:pt x="56" y="30"/>
                    <a:pt x="56" y="30"/>
                    <a:pt x="56" y="30"/>
                  </a:cubicBezTo>
                  <a:cubicBezTo>
                    <a:pt x="56" y="28"/>
                    <a:pt x="56" y="28"/>
                    <a:pt x="56" y="28"/>
                  </a:cubicBezTo>
                  <a:cubicBezTo>
                    <a:pt x="56" y="28"/>
                    <a:pt x="56" y="28"/>
                    <a:pt x="56" y="28"/>
                  </a:cubicBezTo>
                  <a:cubicBezTo>
                    <a:pt x="55" y="25"/>
                    <a:pt x="55" y="25"/>
                    <a:pt x="55" y="25"/>
                  </a:cubicBezTo>
                  <a:cubicBezTo>
                    <a:pt x="55" y="25"/>
                    <a:pt x="55" y="25"/>
                    <a:pt x="55" y="25"/>
                  </a:cubicBezTo>
                  <a:cubicBezTo>
                    <a:pt x="55" y="25"/>
                    <a:pt x="55" y="25"/>
                    <a:pt x="55" y="25"/>
                  </a:cubicBezTo>
                  <a:cubicBezTo>
                    <a:pt x="55" y="25"/>
                    <a:pt x="55" y="25"/>
                    <a:pt x="55" y="25"/>
                  </a:cubicBezTo>
                  <a:cubicBezTo>
                    <a:pt x="54" y="25"/>
                    <a:pt x="53" y="25"/>
                    <a:pt x="53" y="25"/>
                  </a:cubicBezTo>
                  <a:cubicBezTo>
                    <a:pt x="52" y="25"/>
                    <a:pt x="52" y="25"/>
                    <a:pt x="52" y="25"/>
                  </a:cubicBezTo>
                  <a:cubicBezTo>
                    <a:pt x="52" y="26"/>
                    <a:pt x="52" y="26"/>
                    <a:pt x="52" y="26"/>
                  </a:cubicBezTo>
                  <a:cubicBezTo>
                    <a:pt x="49" y="26"/>
                    <a:pt x="49" y="26"/>
                    <a:pt x="49" y="26"/>
                  </a:cubicBezTo>
                  <a:cubicBezTo>
                    <a:pt x="49" y="26"/>
                    <a:pt x="45" y="25"/>
                    <a:pt x="42" y="25"/>
                  </a:cubicBezTo>
                  <a:cubicBezTo>
                    <a:pt x="37" y="24"/>
                    <a:pt x="29" y="22"/>
                    <a:pt x="27" y="19"/>
                  </a:cubicBezTo>
                  <a:cubicBezTo>
                    <a:pt x="27" y="18"/>
                    <a:pt x="25" y="17"/>
                    <a:pt x="24" y="15"/>
                  </a:cubicBezTo>
                  <a:cubicBezTo>
                    <a:pt x="23" y="15"/>
                    <a:pt x="23" y="15"/>
                    <a:pt x="23" y="15"/>
                  </a:cubicBezTo>
                  <a:cubicBezTo>
                    <a:pt x="23" y="14"/>
                    <a:pt x="22" y="14"/>
                    <a:pt x="22" y="13"/>
                  </a:cubicBezTo>
                  <a:cubicBezTo>
                    <a:pt x="17" y="9"/>
                    <a:pt x="14" y="6"/>
                    <a:pt x="14" y="4"/>
                  </a:cubicBezTo>
                  <a:cubicBezTo>
                    <a:pt x="13" y="4"/>
                    <a:pt x="13" y="4"/>
                    <a:pt x="13" y="3"/>
                  </a:cubicBezTo>
                  <a:cubicBezTo>
                    <a:pt x="12" y="4"/>
                    <a:pt x="12" y="4"/>
                    <a:pt x="12" y="4"/>
                  </a:cubicBezTo>
                  <a:cubicBezTo>
                    <a:pt x="12" y="3"/>
                    <a:pt x="12" y="3"/>
                    <a:pt x="12" y="3"/>
                  </a:cubicBezTo>
                  <a:cubicBezTo>
                    <a:pt x="12" y="2"/>
                    <a:pt x="12" y="2"/>
                    <a:pt x="12" y="2"/>
                  </a:cubicBezTo>
                  <a:cubicBezTo>
                    <a:pt x="12" y="2"/>
                    <a:pt x="12" y="2"/>
                    <a:pt x="12" y="2"/>
                  </a:cubicBezTo>
                  <a:cubicBezTo>
                    <a:pt x="11" y="1"/>
                    <a:pt x="11" y="1"/>
                    <a:pt x="11" y="1"/>
                  </a:cubicBezTo>
                  <a:cubicBezTo>
                    <a:pt x="10" y="0"/>
                    <a:pt x="10" y="0"/>
                    <a:pt x="10"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507"/>
            <p:cNvSpPr/>
            <p:nvPr/>
          </p:nvSpPr>
          <p:spPr bwMode="auto">
            <a:xfrm>
              <a:off x="1738251" y="2358529"/>
              <a:ext cx="44323" cy="92676"/>
            </a:xfrm>
            <a:custGeom>
              <a:gdLst>
                <a:gd name="T0" fmla="*/ 14 w 14"/>
                <a:gd name="T1" fmla="*/ 0 h 29"/>
                <a:gd name="T2" fmla="*/ 13 w 14"/>
                <a:gd name="T3" fmla="*/ 0 h 29"/>
                <a:gd name="T4" fmla="*/ 9 w 14"/>
                <a:gd name="T5" fmla="*/ 3 h 29"/>
                <a:gd name="T6" fmla="*/ 5 w 14"/>
                <a:gd name="T7" fmla="*/ 7 h 29"/>
                <a:gd name="T8" fmla="*/ 1 w 14"/>
                <a:gd name="T9" fmla="*/ 10 h 29"/>
                <a:gd name="T10" fmla="*/ 0 w 14"/>
                <a:gd name="T11" fmla="*/ 11 h 29"/>
                <a:gd name="T12" fmla="*/ 10 w 14"/>
                <a:gd name="T13" fmla="*/ 29 h 29"/>
                <a:gd name="T14" fmla="*/ 8 w 14"/>
                <a:gd name="T15" fmla="*/ 20 h 29"/>
                <a:gd name="T16" fmla="*/ 10 w 14"/>
                <a:gd name="T17" fmla="*/ 13 h 29"/>
                <a:gd name="T18" fmla="*/ 9 w 14"/>
                <a:gd name="T19" fmla="*/ 10 h 29"/>
                <a:gd name="T20" fmla="*/ 8 w 14"/>
                <a:gd name="T21" fmla="*/ 10 h 29"/>
                <a:gd name="T22" fmla="*/ 7 w 14"/>
                <a:gd name="T23" fmla="*/ 11 h 29"/>
                <a:gd name="T24" fmla="*/ 9 w 14"/>
                <a:gd name="T25" fmla="*/ 7 h 29"/>
                <a:gd name="T26" fmla="*/ 13 w 14"/>
                <a:gd name="T27" fmla="*/ 1 h 29"/>
                <a:gd name="T28" fmla="*/ 14 w 14"/>
                <a:gd name="T29"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8">
                  <a:moveTo>
                    <a:pt x="14" y="0"/>
                  </a:moveTo>
                  <a:cubicBezTo>
                    <a:pt x="13" y="0"/>
                    <a:pt x="13" y="0"/>
                    <a:pt x="13" y="0"/>
                  </a:cubicBezTo>
                  <a:cubicBezTo>
                    <a:pt x="12" y="1"/>
                    <a:pt x="10" y="2"/>
                    <a:pt x="9" y="3"/>
                  </a:cubicBezTo>
                  <a:cubicBezTo>
                    <a:pt x="7" y="5"/>
                    <a:pt x="6" y="6"/>
                    <a:pt x="5" y="7"/>
                  </a:cubicBezTo>
                  <a:cubicBezTo>
                    <a:pt x="2" y="10"/>
                    <a:pt x="1" y="10"/>
                    <a:pt x="1" y="10"/>
                  </a:cubicBezTo>
                  <a:cubicBezTo>
                    <a:pt x="1" y="10"/>
                    <a:pt x="1" y="11"/>
                    <a:pt x="0" y="11"/>
                  </a:cubicBezTo>
                  <a:cubicBezTo>
                    <a:pt x="3" y="17"/>
                    <a:pt x="7" y="23"/>
                    <a:pt x="10" y="29"/>
                  </a:cubicBezTo>
                  <a:cubicBezTo>
                    <a:pt x="10" y="26"/>
                    <a:pt x="8" y="23"/>
                    <a:pt x="8" y="20"/>
                  </a:cubicBezTo>
                  <a:cubicBezTo>
                    <a:pt x="8" y="18"/>
                    <a:pt x="10" y="15"/>
                    <a:pt x="10" y="13"/>
                  </a:cubicBezTo>
                  <a:cubicBezTo>
                    <a:pt x="10" y="11"/>
                    <a:pt x="11" y="10"/>
                    <a:pt x="9" y="10"/>
                  </a:cubicBezTo>
                  <a:cubicBezTo>
                    <a:pt x="9" y="10"/>
                    <a:pt x="9" y="10"/>
                    <a:pt x="8" y="10"/>
                  </a:cubicBezTo>
                  <a:cubicBezTo>
                    <a:pt x="8" y="10"/>
                    <a:pt x="8" y="11"/>
                    <a:pt x="7" y="11"/>
                  </a:cubicBezTo>
                  <a:cubicBezTo>
                    <a:pt x="6" y="11"/>
                    <a:pt x="8" y="7"/>
                    <a:pt x="9" y="7"/>
                  </a:cubicBezTo>
                  <a:cubicBezTo>
                    <a:pt x="10" y="4"/>
                    <a:pt x="11" y="2"/>
                    <a:pt x="13" y="1"/>
                  </a:cubicBezTo>
                  <a:cubicBezTo>
                    <a:pt x="13"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508"/>
            <p:cNvSpPr/>
            <p:nvPr/>
          </p:nvSpPr>
          <p:spPr bwMode="auto">
            <a:xfrm>
              <a:off x="1753025" y="2302118"/>
              <a:ext cx="1082559" cy="668877"/>
            </a:xfrm>
            <a:custGeom>
              <a:gdLst>
                <a:gd name="T0" fmla="*/ 142 w 341"/>
                <a:gd name="T1" fmla="*/ 12 h 211"/>
                <a:gd name="T2" fmla="*/ 133 w 341"/>
                <a:gd name="T3" fmla="*/ 7 h 211"/>
                <a:gd name="T4" fmla="*/ 113 w 341"/>
                <a:gd name="T5" fmla="*/ 20 h 211"/>
                <a:gd name="T6" fmla="*/ 109 w 341"/>
                <a:gd name="T7" fmla="*/ 31 h 211"/>
                <a:gd name="T8" fmla="*/ 93 w 341"/>
                <a:gd name="T9" fmla="*/ 42 h 211"/>
                <a:gd name="T10" fmla="*/ 75 w 341"/>
                <a:gd name="T11" fmla="*/ 42 h 211"/>
                <a:gd name="T12" fmla="*/ 65 w 341"/>
                <a:gd name="T13" fmla="*/ 40 h 211"/>
                <a:gd name="T14" fmla="*/ 46 w 341"/>
                <a:gd name="T15" fmla="*/ 20 h 211"/>
                <a:gd name="T16" fmla="*/ 31 w 341"/>
                <a:gd name="T17" fmla="*/ 12 h 211"/>
                <a:gd name="T18" fmla="*/ 26 w 341"/>
                <a:gd name="T19" fmla="*/ 15 h 211"/>
                <a:gd name="T20" fmla="*/ 46 w 341"/>
                <a:gd name="T21" fmla="*/ 52 h 211"/>
                <a:gd name="T22" fmla="*/ 41 w 341"/>
                <a:gd name="T23" fmla="*/ 57 h 211"/>
                <a:gd name="T24" fmla="*/ 27 w 341"/>
                <a:gd name="T25" fmla="*/ 60 h 211"/>
                <a:gd name="T26" fmla="*/ 19 w 341"/>
                <a:gd name="T27" fmla="*/ 56 h 211"/>
                <a:gd name="T28" fmla="*/ 6 w 341"/>
                <a:gd name="T29" fmla="*/ 77 h 211"/>
                <a:gd name="T30" fmla="*/ 15 w 341"/>
                <a:gd name="T31" fmla="*/ 78 h 211"/>
                <a:gd name="T32" fmla="*/ 18 w 341"/>
                <a:gd name="T33" fmla="*/ 78 h 211"/>
                <a:gd name="T34" fmla="*/ 15 w 341"/>
                <a:gd name="T35" fmla="*/ 91 h 211"/>
                <a:gd name="T36" fmla="*/ 12 w 341"/>
                <a:gd name="T37" fmla="*/ 96 h 211"/>
                <a:gd name="T38" fmla="*/ 31 w 341"/>
                <a:gd name="T39" fmla="*/ 159 h 211"/>
                <a:gd name="T40" fmla="*/ 85 w 341"/>
                <a:gd name="T41" fmla="*/ 130 h 211"/>
                <a:gd name="T42" fmla="*/ 93 w 341"/>
                <a:gd name="T43" fmla="*/ 125 h 211"/>
                <a:gd name="T44" fmla="*/ 110 w 341"/>
                <a:gd name="T45" fmla="*/ 125 h 211"/>
                <a:gd name="T46" fmla="*/ 129 w 341"/>
                <a:gd name="T47" fmla="*/ 136 h 211"/>
                <a:gd name="T48" fmla="*/ 138 w 341"/>
                <a:gd name="T49" fmla="*/ 142 h 211"/>
                <a:gd name="T50" fmla="*/ 144 w 341"/>
                <a:gd name="T51" fmla="*/ 142 h 211"/>
                <a:gd name="T52" fmla="*/ 163 w 341"/>
                <a:gd name="T53" fmla="*/ 145 h 211"/>
                <a:gd name="T54" fmla="*/ 174 w 341"/>
                <a:gd name="T55" fmla="*/ 157 h 211"/>
                <a:gd name="T56" fmla="*/ 190 w 341"/>
                <a:gd name="T57" fmla="*/ 170 h 211"/>
                <a:gd name="T58" fmla="*/ 200 w 341"/>
                <a:gd name="T59" fmla="*/ 170 h 211"/>
                <a:gd name="T60" fmla="*/ 212 w 341"/>
                <a:gd name="T61" fmla="*/ 175 h 211"/>
                <a:gd name="T62" fmla="*/ 214 w 341"/>
                <a:gd name="T63" fmla="*/ 200 h 211"/>
                <a:gd name="T64" fmla="*/ 223 w 341"/>
                <a:gd name="T65" fmla="*/ 203 h 211"/>
                <a:gd name="T66" fmla="*/ 237 w 341"/>
                <a:gd name="T67" fmla="*/ 211 h 211"/>
                <a:gd name="T68" fmla="*/ 254 w 341"/>
                <a:gd name="T69" fmla="*/ 203 h 211"/>
                <a:gd name="T70" fmla="*/ 266 w 341"/>
                <a:gd name="T71" fmla="*/ 191 h 211"/>
                <a:gd name="T72" fmla="*/ 290 w 341"/>
                <a:gd name="T73" fmla="*/ 176 h 211"/>
                <a:gd name="T74" fmla="*/ 310 w 341"/>
                <a:gd name="T75" fmla="*/ 154 h 211"/>
                <a:gd name="T76" fmla="*/ 321 w 341"/>
                <a:gd name="T77" fmla="*/ 146 h 211"/>
                <a:gd name="T78" fmla="*/ 328 w 341"/>
                <a:gd name="T79" fmla="*/ 147 h 211"/>
                <a:gd name="T80" fmla="*/ 335 w 341"/>
                <a:gd name="T81" fmla="*/ 150 h 211"/>
                <a:gd name="T82" fmla="*/ 339 w 341"/>
                <a:gd name="T83" fmla="*/ 147 h 211"/>
                <a:gd name="T84" fmla="*/ 337 w 341"/>
                <a:gd name="T85" fmla="*/ 136 h 211"/>
                <a:gd name="T86" fmla="*/ 321 w 341"/>
                <a:gd name="T87" fmla="*/ 131 h 211"/>
                <a:gd name="T88" fmla="*/ 298 w 341"/>
                <a:gd name="T89" fmla="*/ 118 h 211"/>
                <a:gd name="T90" fmla="*/ 255 w 341"/>
                <a:gd name="T91" fmla="*/ 91 h 211"/>
                <a:gd name="T92" fmla="*/ 239 w 341"/>
                <a:gd name="T93" fmla="*/ 79 h 211"/>
                <a:gd name="T94" fmla="*/ 234 w 341"/>
                <a:gd name="T95" fmla="*/ 67 h 211"/>
                <a:gd name="T96" fmla="*/ 210 w 341"/>
                <a:gd name="T97" fmla="*/ 46 h 211"/>
                <a:gd name="T98" fmla="*/ 192 w 341"/>
                <a:gd name="T99" fmla="*/ 44 h 211"/>
                <a:gd name="T100" fmla="*/ 179 w 341"/>
                <a:gd name="T101" fmla="*/ 33 h 211"/>
                <a:gd name="T102" fmla="*/ 177 w 341"/>
                <a:gd name="T103" fmla="*/ 23 h 211"/>
                <a:gd name="T104" fmla="*/ 172 w 341"/>
                <a:gd name="T105" fmla="*/ 13 h 211"/>
                <a:gd name="T106" fmla="*/ 159 w 341"/>
                <a:gd name="T107" fmla="*/ 8 h 211"/>
                <a:gd name="T108" fmla="*/ 156 w 341"/>
                <a:gd name="T109" fmla="*/ 6 h 2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1" h="211">
                  <a:moveTo>
                    <a:pt x="146" y="0"/>
                  </a:moveTo>
                  <a:cubicBezTo>
                    <a:pt x="146" y="0"/>
                    <a:pt x="146" y="0"/>
                    <a:pt x="146" y="0"/>
                  </a:cubicBezTo>
                  <a:cubicBezTo>
                    <a:pt x="143" y="3"/>
                    <a:pt x="143" y="3"/>
                    <a:pt x="143" y="4"/>
                  </a:cubicBezTo>
                  <a:cubicBezTo>
                    <a:pt x="144" y="5"/>
                    <a:pt x="145" y="6"/>
                    <a:pt x="145" y="7"/>
                  </a:cubicBezTo>
                  <a:cubicBezTo>
                    <a:pt x="158" y="22"/>
                    <a:pt x="158" y="22"/>
                    <a:pt x="158" y="22"/>
                  </a:cubicBezTo>
                  <a:cubicBezTo>
                    <a:pt x="142" y="12"/>
                    <a:pt x="142" y="12"/>
                    <a:pt x="142" y="12"/>
                  </a:cubicBezTo>
                  <a:cubicBezTo>
                    <a:pt x="141" y="12"/>
                    <a:pt x="140" y="11"/>
                    <a:pt x="139" y="10"/>
                  </a:cubicBezTo>
                  <a:cubicBezTo>
                    <a:pt x="139" y="10"/>
                    <a:pt x="139" y="10"/>
                    <a:pt x="139" y="9"/>
                  </a:cubicBezTo>
                  <a:cubicBezTo>
                    <a:pt x="138" y="9"/>
                    <a:pt x="137" y="8"/>
                    <a:pt x="136" y="8"/>
                  </a:cubicBezTo>
                  <a:cubicBezTo>
                    <a:pt x="135" y="8"/>
                    <a:pt x="135" y="8"/>
                    <a:pt x="135" y="8"/>
                  </a:cubicBezTo>
                  <a:cubicBezTo>
                    <a:pt x="134" y="7"/>
                    <a:pt x="134" y="7"/>
                    <a:pt x="134" y="7"/>
                  </a:cubicBezTo>
                  <a:cubicBezTo>
                    <a:pt x="133" y="7"/>
                    <a:pt x="133" y="7"/>
                    <a:pt x="133" y="7"/>
                  </a:cubicBezTo>
                  <a:cubicBezTo>
                    <a:pt x="133" y="8"/>
                    <a:pt x="133" y="9"/>
                    <a:pt x="132" y="9"/>
                  </a:cubicBezTo>
                  <a:cubicBezTo>
                    <a:pt x="132" y="10"/>
                    <a:pt x="132" y="11"/>
                    <a:pt x="131" y="12"/>
                  </a:cubicBezTo>
                  <a:cubicBezTo>
                    <a:pt x="130" y="16"/>
                    <a:pt x="127" y="16"/>
                    <a:pt x="124" y="17"/>
                  </a:cubicBezTo>
                  <a:cubicBezTo>
                    <a:pt x="123" y="18"/>
                    <a:pt x="121" y="18"/>
                    <a:pt x="120" y="18"/>
                  </a:cubicBezTo>
                  <a:cubicBezTo>
                    <a:pt x="118" y="19"/>
                    <a:pt x="115" y="19"/>
                    <a:pt x="114" y="19"/>
                  </a:cubicBezTo>
                  <a:cubicBezTo>
                    <a:pt x="114" y="20"/>
                    <a:pt x="113" y="20"/>
                    <a:pt x="113" y="20"/>
                  </a:cubicBezTo>
                  <a:cubicBezTo>
                    <a:pt x="113" y="20"/>
                    <a:pt x="113" y="20"/>
                    <a:pt x="113" y="20"/>
                  </a:cubicBezTo>
                  <a:cubicBezTo>
                    <a:pt x="112" y="21"/>
                    <a:pt x="111" y="24"/>
                    <a:pt x="111" y="25"/>
                  </a:cubicBezTo>
                  <a:cubicBezTo>
                    <a:pt x="110" y="26"/>
                    <a:pt x="110" y="28"/>
                    <a:pt x="109" y="28"/>
                  </a:cubicBezTo>
                  <a:cubicBezTo>
                    <a:pt x="109" y="29"/>
                    <a:pt x="109" y="29"/>
                    <a:pt x="109" y="29"/>
                  </a:cubicBezTo>
                  <a:cubicBezTo>
                    <a:pt x="109" y="30"/>
                    <a:pt x="109" y="30"/>
                    <a:pt x="109" y="30"/>
                  </a:cubicBezTo>
                  <a:cubicBezTo>
                    <a:pt x="109" y="31"/>
                    <a:pt x="109" y="31"/>
                    <a:pt x="109" y="31"/>
                  </a:cubicBezTo>
                  <a:cubicBezTo>
                    <a:pt x="109" y="31"/>
                    <a:pt x="110" y="32"/>
                    <a:pt x="110" y="33"/>
                  </a:cubicBezTo>
                  <a:cubicBezTo>
                    <a:pt x="110" y="34"/>
                    <a:pt x="110" y="34"/>
                    <a:pt x="111" y="34"/>
                  </a:cubicBezTo>
                  <a:cubicBezTo>
                    <a:pt x="111" y="34"/>
                    <a:pt x="111" y="34"/>
                    <a:pt x="111" y="34"/>
                  </a:cubicBezTo>
                  <a:cubicBezTo>
                    <a:pt x="128" y="36"/>
                    <a:pt x="128" y="36"/>
                    <a:pt x="128" y="36"/>
                  </a:cubicBezTo>
                  <a:cubicBezTo>
                    <a:pt x="111" y="40"/>
                    <a:pt x="111" y="40"/>
                    <a:pt x="111" y="40"/>
                  </a:cubicBezTo>
                  <a:cubicBezTo>
                    <a:pt x="105" y="42"/>
                    <a:pt x="99" y="42"/>
                    <a:pt x="93" y="42"/>
                  </a:cubicBezTo>
                  <a:cubicBezTo>
                    <a:pt x="89" y="42"/>
                    <a:pt x="85" y="42"/>
                    <a:pt x="82" y="42"/>
                  </a:cubicBezTo>
                  <a:cubicBezTo>
                    <a:pt x="81" y="42"/>
                    <a:pt x="81" y="42"/>
                    <a:pt x="81" y="42"/>
                  </a:cubicBezTo>
                  <a:cubicBezTo>
                    <a:pt x="81" y="42"/>
                    <a:pt x="80" y="42"/>
                    <a:pt x="80" y="42"/>
                  </a:cubicBezTo>
                  <a:cubicBezTo>
                    <a:pt x="79" y="42"/>
                    <a:pt x="79" y="42"/>
                    <a:pt x="79" y="42"/>
                  </a:cubicBezTo>
                  <a:cubicBezTo>
                    <a:pt x="78" y="42"/>
                    <a:pt x="78" y="42"/>
                    <a:pt x="78" y="42"/>
                  </a:cubicBezTo>
                  <a:cubicBezTo>
                    <a:pt x="77" y="42"/>
                    <a:pt x="76" y="42"/>
                    <a:pt x="75" y="42"/>
                  </a:cubicBezTo>
                  <a:cubicBezTo>
                    <a:pt x="73" y="42"/>
                    <a:pt x="71" y="43"/>
                    <a:pt x="69" y="43"/>
                  </a:cubicBezTo>
                  <a:cubicBezTo>
                    <a:pt x="69" y="43"/>
                    <a:pt x="69" y="43"/>
                    <a:pt x="69" y="43"/>
                  </a:cubicBezTo>
                  <a:cubicBezTo>
                    <a:pt x="68" y="43"/>
                    <a:pt x="68" y="43"/>
                    <a:pt x="68" y="43"/>
                  </a:cubicBezTo>
                  <a:cubicBezTo>
                    <a:pt x="67" y="43"/>
                    <a:pt x="67" y="42"/>
                    <a:pt x="66" y="42"/>
                  </a:cubicBezTo>
                  <a:cubicBezTo>
                    <a:pt x="66" y="42"/>
                    <a:pt x="66" y="42"/>
                    <a:pt x="66" y="42"/>
                  </a:cubicBezTo>
                  <a:cubicBezTo>
                    <a:pt x="65" y="41"/>
                    <a:pt x="65" y="40"/>
                    <a:pt x="65" y="40"/>
                  </a:cubicBezTo>
                  <a:cubicBezTo>
                    <a:pt x="62" y="38"/>
                    <a:pt x="61" y="36"/>
                    <a:pt x="59" y="34"/>
                  </a:cubicBezTo>
                  <a:cubicBezTo>
                    <a:pt x="59" y="33"/>
                    <a:pt x="59" y="33"/>
                    <a:pt x="59" y="33"/>
                  </a:cubicBezTo>
                  <a:cubicBezTo>
                    <a:pt x="58" y="32"/>
                    <a:pt x="57" y="31"/>
                    <a:pt x="57" y="30"/>
                  </a:cubicBezTo>
                  <a:cubicBezTo>
                    <a:pt x="55" y="28"/>
                    <a:pt x="54" y="27"/>
                    <a:pt x="52" y="26"/>
                  </a:cubicBezTo>
                  <a:cubicBezTo>
                    <a:pt x="50" y="24"/>
                    <a:pt x="50" y="24"/>
                    <a:pt x="50" y="24"/>
                  </a:cubicBezTo>
                  <a:cubicBezTo>
                    <a:pt x="49" y="23"/>
                    <a:pt x="47" y="22"/>
                    <a:pt x="46" y="20"/>
                  </a:cubicBezTo>
                  <a:cubicBezTo>
                    <a:pt x="43" y="18"/>
                    <a:pt x="40" y="15"/>
                    <a:pt x="37" y="13"/>
                  </a:cubicBezTo>
                  <a:cubicBezTo>
                    <a:pt x="37" y="13"/>
                    <a:pt x="37" y="13"/>
                    <a:pt x="37" y="13"/>
                  </a:cubicBezTo>
                  <a:cubicBezTo>
                    <a:pt x="36" y="13"/>
                    <a:pt x="36" y="12"/>
                    <a:pt x="35" y="12"/>
                  </a:cubicBezTo>
                  <a:cubicBezTo>
                    <a:pt x="35" y="12"/>
                    <a:pt x="35" y="12"/>
                    <a:pt x="34" y="12"/>
                  </a:cubicBezTo>
                  <a:cubicBezTo>
                    <a:pt x="34" y="12"/>
                    <a:pt x="34" y="12"/>
                    <a:pt x="33" y="12"/>
                  </a:cubicBezTo>
                  <a:cubicBezTo>
                    <a:pt x="33" y="12"/>
                    <a:pt x="32" y="12"/>
                    <a:pt x="31" y="12"/>
                  </a:cubicBezTo>
                  <a:cubicBezTo>
                    <a:pt x="30" y="12"/>
                    <a:pt x="30" y="12"/>
                    <a:pt x="30" y="12"/>
                  </a:cubicBezTo>
                  <a:cubicBezTo>
                    <a:pt x="28" y="13"/>
                    <a:pt x="25" y="13"/>
                    <a:pt x="22" y="13"/>
                  </a:cubicBezTo>
                  <a:cubicBezTo>
                    <a:pt x="18" y="14"/>
                    <a:pt x="14" y="15"/>
                    <a:pt x="11" y="17"/>
                  </a:cubicBezTo>
                  <a:cubicBezTo>
                    <a:pt x="13" y="16"/>
                    <a:pt x="14" y="16"/>
                    <a:pt x="16" y="16"/>
                  </a:cubicBezTo>
                  <a:cubicBezTo>
                    <a:pt x="19" y="15"/>
                    <a:pt x="21" y="15"/>
                    <a:pt x="24" y="15"/>
                  </a:cubicBezTo>
                  <a:cubicBezTo>
                    <a:pt x="25" y="15"/>
                    <a:pt x="25" y="15"/>
                    <a:pt x="26" y="15"/>
                  </a:cubicBezTo>
                  <a:cubicBezTo>
                    <a:pt x="32" y="16"/>
                    <a:pt x="29" y="18"/>
                    <a:pt x="30" y="22"/>
                  </a:cubicBezTo>
                  <a:cubicBezTo>
                    <a:pt x="30" y="24"/>
                    <a:pt x="32" y="26"/>
                    <a:pt x="33" y="28"/>
                  </a:cubicBezTo>
                  <a:cubicBezTo>
                    <a:pt x="33" y="31"/>
                    <a:pt x="33" y="33"/>
                    <a:pt x="35" y="35"/>
                  </a:cubicBezTo>
                  <a:cubicBezTo>
                    <a:pt x="38" y="38"/>
                    <a:pt x="44" y="40"/>
                    <a:pt x="48" y="43"/>
                  </a:cubicBezTo>
                  <a:cubicBezTo>
                    <a:pt x="49" y="45"/>
                    <a:pt x="52" y="48"/>
                    <a:pt x="51" y="50"/>
                  </a:cubicBezTo>
                  <a:cubicBezTo>
                    <a:pt x="50" y="52"/>
                    <a:pt x="48" y="52"/>
                    <a:pt x="46" y="52"/>
                  </a:cubicBezTo>
                  <a:cubicBezTo>
                    <a:pt x="46" y="52"/>
                    <a:pt x="45" y="52"/>
                    <a:pt x="44" y="52"/>
                  </a:cubicBezTo>
                  <a:cubicBezTo>
                    <a:pt x="43" y="52"/>
                    <a:pt x="43" y="52"/>
                    <a:pt x="42" y="52"/>
                  </a:cubicBezTo>
                  <a:cubicBezTo>
                    <a:pt x="40" y="52"/>
                    <a:pt x="39" y="52"/>
                    <a:pt x="39" y="54"/>
                  </a:cubicBezTo>
                  <a:cubicBezTo>
                    <a:pt x="39" y="56"/>
                    <a:pt x="40" y="57"/>
                    <a:pt x="42" y="57"/>
                  </a:cubicBezTo>
                  <a:cubicBezTo>
                    <a:pt x="42" y="57"/>
                    <a:pt x="42" y="57"/>
                    <a:pt x="42" y="57"/>
                  </a:cubicBezTo>
                  <a:cubicBezTo>
                    <a:pt x="41" y="57"/>
                    <a:pt x="41" y="57"/>
                    <a:pt x="41" y="57"/>
                  </a:cubicBezTo>
                  <a:cubicBezTo>
                    <a:pt x="42" y="58"/>
                    <a:pt x="42" y="58"/>
                    <a:pt x="42" y="58"/>
                  </a:cubicBezTo>
                  <a:cubicBezTo>
                    <a:pt x="41" y="58"/>
                    <a:pt x="39" y="58"/>
                    <a:pt x="38" y="58"/>
                  </a:cubicBezTo>
                  <a:cubicBezTo>
                    <a:pt x="37" y="58"/>
                    <a:pt x="37" y="58"/>
                    <a:pt x="36" y="58"/>
                  </a:cubicBezTo>
                  <a:cubicBezTo>
                    <a:pt x="36" y="58"/>
                    <a:pt x="36" y="58"/>
                    <a:pt x="35" y="58"/>
                  </a:cubicBezTo>
                  <a:cubicBezTo>
                    <a:pt x="33" y="58"/>
                    <a:pt x="32" y="58"/>
                    <a:pt x="30" y="58"/>
                  </a:cubicBezTo>
                  <a:cubicBezTo>
                    <a:pt x="29" y="58"/>
                    <a:pt x="28" y="60"/>
                    <a:pt x="27" y="60"/>
                  </a:cubicBezTo>
                  <a:cubicBezTo>
                    <a:pt x="27" y="60"/>
                    <a:pt x="26" y="60"/>
                    <a:pt x="26" y="59"/>
                  </a:cubicBezTo>
                  <a:cubicBezTo>
                    <a:pt x="24" y="58"/>
                    <a:pt x="25" y="55"/>
                    <a:pt x="24" y="53"/>
                  </a:cubicBezTo>
                  <a:cubicBezTo>
                    <a:pt x="23" y="53"/>
                    <a:pt x="23" y="52"/>
                    <a:pt x="23" y="52"/>
                  </a:cubicBezTo>
                  <a:cubicBezTo>
                    <a:pt x="23" y="52"/>
                    <a:pt x="23" y="54"/>
                    <a:pt x="21" y="55"/>
                  </a:cubicBezTo>
                  <a:cubicBezTo>
                    <a:pt x="20" y="56"/>
                    <a:pt x="20" y="56"/>
                    <a:pt x="19" y="56"/>
                  </a:cubicBezTo>
                  <a:cubicBezTo>
                    <a:pt x="19" y="56"/>
                    <a:pt x="19" y="56"/>
                    <a:pt x="19" y="56"/>
                  </a:cubicBezTo>
                  <a:cubicBezTo>
                    <a:pt x="17" y="56"/>
                    <a:pt x="13" y="56"/>
                    <a:pt x="12" y="55"/>
                  </a:cubicBezTo>
                  <a:cubicBezTo>
                    <a:pt x="9" y="54"/>
                    <a:pt x="7" y="50"/>
                    <a:pt x="6" y="47"/>
                  </a:cubicBezTo>
                  <a:cubicBezTo>
                    <a:pt x="5" y="52"/>
                    <a:pt x="4" y="57"/>
                    <a:pt x="2" y="61"/>
                  </a:cubicBezTo>
                  <a:cubicBezTo>
                    <a:pt x="1" y="63"/>
                    <a:pt x="0" y="66"/>
                    <a:pt x="0" y="68"/>
                  </a:cubicBezTo>
                  <a:cubicBezTo>
                    <a:pt x="0" y="70"/>
                    <a:pt x="1" y="72"/>
                    <a:pt x="2" y="73"/>
                  </a:cubicBezTo>
                  <a:cubicBezTo>
                    <a:pt x="2" y="78"/>
                    <a:pt x="1" y="77"/>
                    <a:pt x="6" y="77"/>
                  </a:cubicBezTo>
                  <a:cubicBezTo>
                    <a:pt x="7" y="77"/>
                    <a:pt x="7" y="77"/>
                    <a:pt x="8" y="77"/>
                  </a:cubicBezTo>
                  <a:cubicBezTo>
                    <a:pt x="8" y="77"/>
                    <a:pt x="9" y="77"/>
                    <a:pt x="9" y="77"/>
                  </a:cubicBezTo>
                  <a:cubicBezTo>
                    <a:pt x="10" y="77"/>
                    <a:pt x="10" y="77"/>
                    <a:pt x="10" y="77"/>
                  </a:cubicBezTo>
                  <a:cubicBezTo>
                    <a:pt x="11" y="77"/>
                    <a:pt x="11" y="77"/>
                    <a:pt x="11" y="77"/>
                  </a:cubicBezTo>
                  <a:cubicBezTo>
                    <a:pt x="12" y="78"/>
                    <a:pt x="13" y="78"/>
                    <a:pt x="14" y="78"/>
                  </a:cubicBezTo>
                  <a:cubicBezTo>
                    <a:pt x="14" y="78"/>
                    <a:pt x="15" y="78"/>
                    <a:pt x="15" y="78"/>
                  </a:cubicBezTo>
                  <a:cubicBezTo>
                    <a:pt x="15" y="78"/>
                    <a:pt x="15" y="78"/>
                    <a:pt x="16" y="78"/>
                  </a:cubicBezTo>
                  <a:cubicBezTo>
                    <a:pt x="16" y="78"/>
                    <a:pt x="16" y="78"/>
                    <a:pt x="16" y="78"/>
                  </a:cubicBezTo>
                  <a:cubicBezTo>
                    <a:pt x="16" y="78"/>
                    <a:pt x="16" y="78"/>
                    <a:pt x="16" y="78"/>
                  </a:cubicBezTo>
                  <a:cubicBezTo>
                    <a:pt x="16" y="78"/>
                    <a:pt x="17" y="78"/>
                    <a:pt x="17" y="78"/>
                  </a:cubicBezTo>
                  <a:cubicBezTo>
                    <a:pt x="17" y="78"/>
                    <a:pt x="17" y="78"/>
                    <a:pt x="17" y="78"/>
                  </a:cubicBezTo>
                  <a:cubicBezTo>
                    <a:pt x="17" y="78"/>
                    <a:pt x="18" y="78"/>
                    <a:pt x="18" y="78"/>
                  </a:cubicBezTo>
                  <a:cubicBezTo>
                    <a:pt x="18" y="78"/>
                    <a:pt x="18" y="78"/>
                    <a:pt x="18" y="78"/>
                  </a:cubicBezTo>
                  <a:cubicBezTo>
                    <a:pt x="19" y="79"/>
                    <a:pt x="18" y="82"/>
                    <a:pt x="18" y="83"/>
                  </a:cubicBezTo>
                  <a:cubicBezTo>
                    <a:pt x="18" y="87"/>
                    <a:pt x="22" y="88"/>
                    <a:pt x="25" y="90"/>
                  </a:cubicBezTo>
                  <a:cubicBezTo>
                    <a:pt x="23" y="91"/>
                    <a:pt x="22" y="91"/>
                    <a:pt x="20" y="92"/>
                  </a:cubicBezTo>
                  <a:cubicBezTo>
                    <a:pt x="20" y="90"/>
                    <a:pt x="20" y="89"/>
                    <a:pt x="20" y="88"/>
                  </a:cubicBezTo>
                  <a:cubicBezTo>
                    <a:pt x="19" y="89"/>
                    <a:pt x="16" y="91"/>
                    <a:pt x="15" y="91"/>
                  </a:cubicBezTo>
                  <a:cubicBezTo>
                    <a:pt x="14" y="91"/>
                    <a:pt x="14" y="91"/>
                    <a:pt x="14" y="90"/>
                  </a:cubicBezTo>
                  <a:cubicBezTo>
                    <a:pt x="13" y="90"/>
                    <a:pt x="15" y="87"/>
                    <a:pt x="15" y="86"/>
                  </a:cubicBezTo>
                  <a:cubicBezTo>
                    <a:pt x="14" y="86"/>
                    <a:pt x="11" y="91"/>
                    <a:pt x="11" y="93"/>
                  </a:cubicBezTo>
                  <a:cubicBezTo>
                    <a:pt x="10" y="95"/>
                    <a:pt x="11" y="97"/>
                    <a:pt x="12" y="100"/>
                  </a:cubicBezTo>
                  <a:cubicBezTo>
                    <a:pt x="12" y="99"/>
                    <a:pt x="13" y="97"/>
                    <a:pt x="12" y="96"/>
                  </a:cubicBezTo>
                  <a:cubicBezTo>
                    <a:pt x="12" y="96"/>
                    <a:pt x="12" y="96"/>
                    <a:pt x="12" y="96"/>
                  </a:cubicBezTo>
                  <a:cubicBezTo>
                    <a:pt x="19" y="96"/>
                    <a:pt x="23" y="101"/>
                    <a:pt x="28" y="105"/>
                  </a:cubicBezTo>
                  <a:cubicBezTo>
                    <a:pt x="31" y="108"/>
                    <a:pt x="31" y="107"/>
                    <a:pt x="30" y="111"/>
                  </a:cubicBezTo>
                  <a:cubicBezTo>
                    <a:pt x="30" y="113"/>
                    <a:pt x="29" y="115"/>
                    <a:pt x="28" y="118"/>
                  </a:cubicBezTo>
                  <a:cubicBezTo>
                    <a:pt x="27" y="126"/>
                    <a:pt x="27" y="135"/>
                    <a:pt x="28" y="143"/>
                  </a:cubicBezTo>
                  <a:cubicBezTo>
                    <a:pt x="29" y="145"/>
                    <a:pt x="29" y="153"/>
                    <a:pt x="30" y="154"/>
                  </a:cubicBezTo>
                  <a:cubicBezTo>
                    <a:pt x="30" y="155"/>
                    <a:pt x="31" y="157"/>
                    <a:pt x="31" y="159"/>
                  </a:cubicBezTo>
                  <a:cubicBezTo>
                    <a:pt x="31" y="160"/>
                    <a:pt x="32" y="162"/>
                    <a:pt x="32" y="163"/>
                  </a:cubicBezTo>
                  <a:cubicBezTo>
                    <a:pt x="62" y="133"/>
                    <a:pt x="62" y="133"/>
                    <a:pt x="62" y="133"/>
                  </a:cubicBezTo>
                  <a:cubicBezTo>
                    <a:pt x="66" y="131"/>
                    <a:pt x="71" y="130"/>
                    <a:pt x="76" y="129"/>
                  </a:cubicBezTo>
                  <a:cubicBezTo>
                    <a:pt x="77" y="129"/>
                    <a:pt x="78" y="129"/>
                    <a:pt x="79" y="129"/>
                  </a:cubicBezTo>
                  <a:cubicBezTo>
                    <a:pt x="80" y="129"/>
                    <a:pt x="82" y="129"/>
                    <a:pt x="84" y="130"/>
                  </a:cubicBezTo>
                  <a:cubicBezTo>
                    <a:pt x="85" y="130"/>
                    <a:pt x="85" y="130"/>
                    <a:pt x="85" y="130"/>
                  </a:cubicBezTo>
                  <a:cubicBezTo>
                    <a:pt x="85" y="130"/>
                    <a:pt x="85" y="130"/>
                    <a:pt x="85" y="130"/>
                  </a:cubicBezTo>
                  <a:cubicBezTo>
                    <a:pt x="87" y="130"/>
                    <a:pt x="87" y="130"/>
                    <a:pt x="89" y="127"/>
                  </a:cubicBezTo>
                  <a:cubicBezTo>
                    <a:pt x="90" y="126"/>
                    <a:pt x="90" y="126"/>
                    <a:pt x="90" y="126"/>
                  </a:cubicBezTo>
                  <a:cubicBezTo>
                    <a:pt x="91" y="126"/>
                    <a:pt x="91" y="126"/>
                    <a:pt x="91" y="126"/>
                  </a:cubicBezTo>
                  <a:cubicBezTo>
                    <a:pt x="91" y="125"/>
                    <a:pt x="92" y="125"/>
                    <a:pt x="93" y="125"/>
                  </a:cubicBezTo>
                  <a:cubicBezTo>
                    <a:pt x="93" y="125"/>
                    <a:pt x="93" y="125"/>
                    <a:pt x="93" y="125"/>
                  </a:cubicBezTo>
                  <a:cubicBezTo>
                    <a:pt x="95" y="124"/>
                    <a:pt x="97" y="124"/>
                    <a:pt x="99" y="124"/>
                  </a:cubicBezTo>
                  <a:cubicBezTo>
                    <a:pt x="99" y="124"/>
                    <a:pt x="99" y="124"/>
                    <a:pt x="100" y="124"/>
                  </a:cubicBezTo>
                  <a:cubicBezTo>
                    <a:pt x="101" y="124"/>
                    <a:pt x="101" y="124"/>
                    <a:pt x="101" y="124"/>
                  </a:cubicBezTo>
                  <a:cubicBezTo>
                    <a:pt x="103" y="124"/>
                    <a:pt x="104" y="124"/>
                    <a:pt x="106" y="124"/>
                  </a:cubicBezTo>
                  <a:cubicBezTo>
                    <a:pt x="107" y="124"/>
                    <a:pt x="107" y="124"/>
                    <a:pt x="107" y="124"/>
                  </a:cubicBezTo>
                  <a:cubicBezTo>
                    <a:pt x="108" y="125"/>
                    <a:pt x="109" y="125"/>
                    <a:pt x="110" y="125"/>
                  </a:cubicBezTo>
                  <a:cubicBezTo>
                    <a:pt x="114" y="125"/>
                    <a:pt x="116" y="129"/>
                    <a:pt x="117" y="131"/>
                  </a:cubicBezTo>
                  <a:cubicBezTo>
                    <a:pt x="117" y="132"/>
                    <a:pt x="117" y="132"/>
                    <a:pt x="117" y="132"/>
                  </a:cubicBezTo>
                  <a:cubicBezTo>
                    <a:pt x="118" y="133"/>
                    <a:pt x="118" y="134"/>
                    <a:pt x="119" y="134"/>
                  </a:cubicBezTo>
                  <a:cubicBezTo>
                    <a:pt x="121" y="134"/>
                    <a:pt x="123" y="134"/>
                    <a:pt x="125" y="135"/>
                  </a:cubicBezTo>
                  <a:cubicBezTo>
                    <a:pt x="125" y="135"/>
                    <a:pt x="127" y="135"/>
                    <a:pt x="128" y="135"/>
                  </a:cubicBezTo>
                  <a:cubicBezTo>
                    <a:pt x="129" y="136"/>
                    <a:pt x="129" y="136"/>
                    <a:pt x="129" y="136"/>
                  </a:cubicBezTo>
                  <a:cubicBezTo>
                    <a:pt x="129" y="136"/>
                    <a:pt x="130" y="136"/>
                    <a:pt x="130" y="136"/>
                  </a:cubicBezTo>
                  <a:cubicBezTo>
                    <a:pt x="132" y="137"/>
                    <a:pt x="133" y="138"/>
                    <a:pt x="134" y="139"/>
                  </a:cubicBezTo>
                  <a:cubicBezTo>
                    <a:pt x="135" y="140"/>
                    <a:pt x="135" y="140"/>
                    <a:pt x="135" y="140"/>
                  </a:cubicBezTo>
                  <a:cubicBezTo>
                    <a:pt x="136" y="140"/>
                    <a:pt x="136" y="140"/>
                    <a:pt x="137" y="141"/>
                  </a:cubicBezTo>
                  <a:cubicBezTo>
                    <a:pt x="138" y="142"/>
                    <a:pt x="138" y="142"/>
                    <a:pt x="138" y="142"/>
                  </a:cubicBezTo>
                  <a:cubicBezTo>
                    <a:pt x="138" y="142"/>
                    <a:pt x="138" y="142"/>
                    <a:pt x="138" y="142"/>
                  </a:cubicBezTo>
                  <a:cubicBezTo>
                    <a:pt x="139" y="142"/>
                    <a:pt x="139" y="142"/>
                    <a:pt x="139" y="142"/>
                  </a:cubicBezTo>
                  <a:cubicBezTo>
                    <a:pt x="140" y="142"/>
                    <a:pt x="140" y="142"/>
                    <a:pt x="140" y="142"/>
                  </a:cubicBezTo>
                  <a:cubicBezTo>
                    <a:pt x="141" y="142"/>
                    <a:pt x="141" y="142"/>
                    <a:pt x="142" y="142"/>
                  </a:cubicBezTo>
                  <a:cubicBezTo>
                    <a:pt x="142" y="142"/>
                    <a:pt x="142" y="142"/>
                    <a:pt x="142" y="142"/>
                  </a:cubicBezTo>
                  <a:cubicBezTo>
                    <a:pt x="142" y="142"/>
                    <a:pt x="143" y="142"/>
                    <a:pt x="143" y="142"/>
                  </a:cubicBezTo>
                  <a:cubicBezTo>
                    <a:pt x="143" y="142"/>
                    <a:pt x="144" y="142"/>
                    <a:pt x="144" y="142"/>
                  </a:cubicBezTo>
                  <a:cubicBezTo>
                    <a:pt x="149" y="142"/>
                    <a:pt x="149" y="142"/>
                    <a:pt x="149" y="142"/>
                  </a:cubicBezTo>
                  <a:cubicBezTo>
                    <a:pt x="150" y="142"/>
                    <a:pt x="151" y="142"/>
                    <a:pt x="152" y="142"/>
                  </a:cubicBezTo>
                  <a:cubicBezTo>
                    <a:pt x="155" y="142"/>
                    <a:pt x="158" y="142"/>
                    <a:pt x="161" y="144"/>
                  </a:cubicBezTo>
                  <a:cubicBezTo>
                    <a:pt x="161" y="144"/>
                    <a:pt x="162" y="144"/>
                    <a:pt x="162" y="144"/>
                  </a:cubicBezTo>
                  <a:cubicBezTo>
                    <a:pt x="162" y="144"/>
                    <a:pt x="162" y="144"/>
                    <a:pt x="162" y="144"/>
                  </a:cubicBezTo>
                  <a:cubicBezTo>
                    <a:pt x="163" y="144"/>
                    <a:pt x="163" y="144"/>
                    <a:pt x="163" y="145"/>
                  </a:cubicBezTo>
                  <a:cubicBezTo>
                    <a:pt x="165" y="146"/>
                    <a:pt x="166" y="147"/>
                    <a:pt x="167" y="148"/>
                  </a:cubicBezTo>
                  <a:cubicBezTo>
                    <a:pt x="168" y="149"/>
                    <a:pt x="168" y="149"/>
                    <a:pt x="168" y="149"/>
                  </a:cubicBezTo>
                  <a:cubicBezTo>
                    <a:pt x="169" y="150"/>
                    <a:pt x="170" y="152"/>
                    <a:pt x="171" y="154"/>
                  </a:cubicBezTo>
                  <a:cubicBezTo>
                    <a:pt x="171" y="155"/>
                    <a:pt x="171" y="155"/>
                    <a:pt x="171" y="155"/>
                  </a:cubicBezTo>
                  <a:cubicBezTo>
                    <a:pt x="172" y="156"/>
                    <a:pt x="172" y="156"/>
                    <a:pt x="172" y="157"/>
                  </a:cubicBezTo>
                  <a:cubicBezTo>
                    <a:pt x="174" y="157"/>
                    <a:pt x="174" y="157"/>
                    <a:pt x="174" y="157"/>
                  </a:cubicBezTo>
                  <a:cubicBezTo>
                    <a:pt x="177" y="158"/>
                    <a:pt x="179" y="158"/>
                    <a:pt x="181" y="160"/>
                  </a:cubicBezTo>
                  <a:cubicBezTo>
                    <a:pt x="183" y="160"/>
                    <a:pt x="184" y="161"/>
                    <a:pt x="184" y="162"/>
                  </a:cubicBezTo>
                  <a:cubicBezTo>
                    <a:pt x="185" y="163"/>
                    <a:pt x="185" y="163"/>
                    <a:pt x="185" y="163"/>
                  </a:cubicBezTo>
                  <a:cubicBezTo>
                    <a:pt x="186" y="164"/>
                    <a:pt x="186" y="165"/>
                    <a:pt x="187" y="166"/>
                  </a:cubicBezTo>
                  <a:cubicBezTo>
                    <a:pt x="188" y="168"/>
                    <a:pt x="188" y="168"/>
                    <a:pt x="188" y="168"/>
                  </a:cubicBezTo>
                  <a:cubicBezTo>
                    <a:pt x="189" y="169"/>
                    <a:pt x="189" y="169"/>
                    <a:pt x="190" y="170"/>
                  </a:cubicBezTo>
                  <a:cubicBezTo>
                    <a:pt x="190" y="170"/>
                    <a:pt x="190" y="170"/>
                    <a:pt x="190" y="170"/>
                  </a:cubicBezTo>
                  <a:cubicBezTo>
                    <a:pt x="190" y="170"/>
                    <a:pt x="191" y="170"/>
                    <a:pt x="192" y="170"/>
                  </a:cubicBezTo>
                  <a:cubicBezTo>
                    <a:pt x="193" y="170"/>
                    <a:pt x="193" y="170"/>
                    <a:pt x="193" y="170"/>
                  </a:cubicBezTo>
                  <a:cubicBezTo>
                    <a:pt x="194" y="170"/>
                    <a:pt x="195" y="170"/>
                    <a:pt x="197" y="170"/>
                  </a:cubicBezTo>
                  <a:cubicBezTo>
                    <a:pt x="198" y="170"/>
                    <a:pt x="198" y="170"/>
                    <a:pt x="198" y="170"/>
                  </a:cubicBezTo>
                  <a:cubicBezTo>
                    <a:pt x="198" y="170"/>
                    <a:pt x="199" y="170"/>
                    <a:pt x="200" y="170"/>
                  </a:cubicBezTo>
                  <a:cubicBezTo>
                    <a:pt x="201" y="170"/>
                    <a:pt x="202" y="170"/>
                    <a:pt x="202" y="170"/>
                  </a:cubicBezTo>
                  <a:cubicBezTo>
                    <a:pt x="204" y="170"/>
                    <a:pt x="205" y="170"/>
                    <a:pt x="207" y="170"/>
                  </a:cubicBezTo>
                  <a:cubicBezTo>
                    <a:pt x="207" y="170"/>
                    <a:pt x="207" y="170"/>
                    <a:pt x="208" y="170"/>
                  </a:cubicBezTo>
                  <a:cubicBezTo>
                    <a:pt x="208" y="170"/>
                    <a:pt x="209" y="170"/>
                    <a:pt x="210" y="171"/>
                  </a:cubicBezTo>
                  <a:cubicBezTo>
                    <a:pt x="211" y="172"/>
                    <a:pt x="211" y="173"/>
                    <a:pt x="211" y="174"/>
                  </a:cubicBezTo>
                  <a:cubicBezTo>
                    <a:pt x="212" y="175"/>
                    <a:pt x="212" y="175"/>
                    <a:pt x="212" y="175"/>
                  </a:cubicBezTo>
                  <a:cubicBezTo>
                    <a:pt x="212" y="177"/>
                    <a:pt x="212" y="180"/>
                    <a:pt x="212" y="183"/>
                  </a:cubicBezTo>
                  <a:cubicBezTo>
                    <a:pt x="212" y="184"/>
                    <a:pt x="212" y="185"/>
                    <a:pt x="212" y="186"/>
                  </a:cubicBezTo>
                  <a:cubicBezTo>
                    <a:pt x="212" y="187"/>
                    <a:pt x="212" y="187"/>
                    <a:pt x="212" y="187"/>
                  </a:cubicBezTo>
                  <a:cubicBezTo>
                    <a:pt x="212" y="189"/>
                    <a:pt x="212" y="192"/>
                    <a:pt x="213" y="194"/>
                  </a:cubicBezTo>
                  <a:cubicBezTo>
                    <a:pt x="214" y="198"/>
                    <a:pt x="214" y="198"/>
                    <a:pt x="214" y="198"/>
                  </a:cubicBezTo>
                  <a:cubicBezTo>
                    <a:pt x="214" y="199"/>
                    <a:pt x="214" y="199"/>
                    <a:pt x="214" y="200"/>
                  </a:cubicBezTo>
                  <a:cubicBezTo>
                    <a:pt x="215" y="201"/>
                    <a:pt x="215" y="201"/>
                    <a:pt x="215" y="201"/>
                  </a:cubicBezTo>
                  <a:cubicBezTo>
                    <a:pt x="215" y="201"/>
                    <a:pt x="215" y="201"/>
                    <a:pt x="215" y="201"/>
                  </a:cubicBezTo>
                  <a:cubicBezTo>
                    <a:pt x="218" y="201"/>
                    <a:pt x="218" y="201"/>
                    <a:pt x="218" y="201"/>
                  </a:cubicBezTo>
                  <a:cubicBezTo>
                    <a:pt x="218" y="202"/>
                    <a:pt x="218" y="202"/>
                    <a:pt x="218" y="202"/>
                  </a:cubicBezTo>
                  <a:cubicBezTo>
                    <a:pt x="220" y="202"/>
                    <a:pt x="221" y="203"/>
                    <a:pt x="223" y="203"/>
                  </a:cubicBezTo>
                  <a:cubicBezTo>
                    <a:pt x="223" y="203"/>
                    <a:pt x="223" y="203"/>
                    <a:pt x="223" y="203"/>
                  </a:cubicBezTo>
                  <a:cubicBezTo>
                    <a:pt x="224" y="203"/>
                    <a:pt x="225" y="203"/>
                    <a:pt x="226" y="203"/>
                  </a:cubicBezTo>
                  <a:cubicBezTo>
                    <a:pt x="228" y="204"/>
                    <a:pt x="230" y="205"/>
                    <a:pt x="231" y="206"/>
                  </a:cubicBezTo>
                  <a:cubicBezTo>
                    <a:pt x="232" y="207"/>
                    <a:pt x="233" y="207"/>
                    <a:pt x="233" y="207"/>
                  </a:cubicBezTo>
                  <a:cubicBezTo>
                    <a:pt x="235" y="209"/>
                    <a:pt x="235" y="209"/>
                    <a:pt x="235" y="209"/>
                  </a:cubicBezTo>
                  <a:cubicBezTo>
                    <a:pt x="235" y="210"/>
                    <a:pt x="236" y="211"/>
                    <a:pt x="236" y="211"/>
                  </a:cubicBezTo>
                  <a:cubicBezTo>
                    <a:pt x="237" y="211"/>
                    <a:pt x="237" y="211"/>
                    <a:pt x="237" y="211"/>
                  </a:cubicBezTo>
                  <a:cubicBezTo>
                    <a:pt x="237" y="211"/>
                    <a:pt x="237" y="211"/>
                    <a:pt x="237" y="211"/>
                  </a:cubicBezTo>
                  <a:cubicBezTo>
                    <a:pt x="240" y="209"/>
                    <a:pt x="243" y="208"/>
                    <a:pt x="245" y="208"/>
                  </a:cubicBezTo>
                  <a:cubicBezTo>
                    <a:pt x="247" y="208"/>
                    <a:pt x="247" y="208"/>
                    <a:pt x="247" y="208"/>
                  </a:cubicBezTo>
                  <a:cubicBezTo>
                    <a:pt x="248" y="208"/>
                    <a:pt x="248" y="208"/>
                    <a:pt x="248" y="208"/>
                  </a:cubicBezTo>
                  <a:cubicBezTo>
                    <a:pt x="249" y="208"/>
                    <a:pt x="249" y="208"/>
                    <a:pt x="249" y="208"/>
                  </a:cubicBezTo>
                  <a:cubicBezTo>
                    <a:pt x="250" y="208"/>
                    <a:pt x="252" y="206"/>
                    <a:pt x="254" y="203"/>
                  </a:cubicBezTo>
                  <a:cubicBezTo>
                    <a:pt x="255" y="202"/>
                    <a:pt x="255" y="202"/>
                    <a:pt x="255" y="202"/>
                  </a:cubicBezTo>
                  <a:cubicBezTo>
                    <a:pt x="255" y="202"/>
                    <a:pt x="256" y="201"/>
                    <a:pt x="256" y="200"/>
                  </a:cubicBezTo>
                  <a:cubicBezTo>
                    <a:pt x="255" y="198"/>
                    <a:pt x="255" y="198"/>
                    <a:pt x="255" y="198"/>
                  </a:cubicBezTo>
                  <a:cubicBezTo>
                    <a:pt x="260" y="192"/>
                    <a:pt x="260" y="192"/>
                    <a:pt x="260" y="192"/>
                  </a:cubicBezTo>
                  <a:cubicBezTo>
                    <a:pt x="262" y="192"/>
                    <a:pt x="262" y="192"/>
                    <a:pt x="262" y="192"/>
                  </a:cubicBezTo>
                  <a:cubicBezTo>
                    <a:pt x="263" y="192"/>
                    <a:pt x="264" y="192"/>
                    <a:pt x="266" y="191"/>
                  </a:cubicBezTo>
                  <a:cubicBezTo>
                    <a:pt x="267" y="191"/>
                    <a:pt x="268" y="191"/>
                    <a:pt x="269" y="190"/>
                  </a:cubicBezTo>
                  <a:cubicBezTo>
                    <a:pt x="274" y="188"/>
                    <a:pt x="274" y="188"/>
                    <a:pt x="274" y="188"/>
                  </a:cubicBezTo>
                  <a:cubicBezTo>
                    <a:pt x="277" y="187"/>
                    <a:pt x="279" y="186"/>
                    <a:pt x="281" y="185"/>
                  </a:cubicBezTo>
                  <a:cubicBezTo>
                    <a:pt x="284" y="184"/>
                    <a:pt x="286" y="183"/>
                    <a:pt x="289" y="181"/>
                  </a:cubicBezTo>
                  <a:cubicBezTo>
                    <a:pt x="289" y="180"/>
                    <a:pt x="289" y="180"/>
                    <a:pt x="289" y="180"/>
                  </a:cubicBezTo>
                  <a:cubicBezTo>
                    <a:pt x="290" y="179"/>
                    <a:pt x="290" y="178"/>
                    <a:pt x="290" y="176"/>
                  </a:cubicBezTo>
                  <a:cubicBezTo>
                    <a:pt x="291" y="175"/>
                    <a:pt x="291" y="174"/>
                    <a:pt x="291" y="174"/>
                  </a:cubicBezTo>
                  <a:cubicBezTo>
                    <a:pt x="291" y="173"/>
                    <a:pt x="291" y="173"/>
                    <a:pt x="291" y="173"/>
                  </a:cubicBezTo>
                  <a:cubicBezTo>
                    <a:pt x="291" y="172"/>
                    <a:pt x="291" y="172"/>
                    <a:pt x="291" y="171"/>
                  </a:cubicBezTo>
                  <a:cubicBezTo>
                    <a:pt x="292" y="170"/>
                    <a:pt x="292" y="170"/>
                    <a:pt x="292" y="170"/>
                  </a:cubicBezTo>
                  <a:cubicBezTo>
                    <a:pt x="308" y="154"/>
                    <a:pt x="308" y="154"/>
                    <a:pt x="308" y="154"/>
                  </a:cubicBezTo>
                  <a:cubicBezTo>
                    <a:pt x="310" y="154"/>
                    <a:pt x="310" y="154"/>
                    <a:pt x="310" y="154"/>
                  </a:cubicBezTo>
                  <a:cubicBezTo>
                    <a:pt x="310" y="154"/>
                    <a:pt x="311" y="154"/>
                    <a:pt x="312" y="154"/>
                  </a:cubicBezTo>
                  <a:cubicBezTo>
                    <a:pt x="312" y="154"/>
                    <a:pt x="312" y="154"/>
                    <a:pt x="312" y="154"/>
                  </a:cubicBezTo>
                  <a:cubicBezTo>
                    <a:pt x="313" y="154"/>
                    <a:pt x="314" y="154"/>
                    <a:pt x="314" y="154"/>
                  </a:cubicBezTo>
                  <a:cubicBezTo>
                    <a:pt x="315" y="153"/>
                    <a:pt x="317" y="151"/>
                    <a:pt x="318" y="149"/>
                  </a:cubicBezTo>
                  <a:cubicBezTo>
                    <a:pt x="319" y="148"/>
                    <a:pt x="319" y="148"/>
                    <a:pt x="319" y="148"/>
                  </a:cubicBezTo>
                  <a:cubicBezTo>
                    <a:pt x="319" y="147"/>
                    <a:pt x="320" y="146"/>
                    <a:pt x="321" y="146"/>
                  </a:cubicBezTo>
                  <a:cubicBezTo>
                    <a:pt x="321" y="146"/>
                    <a:pt x="321" y="146"/>
                    <a:pt x="321" y="146"/>
                  </a:cubicBezTo>
                  <a:cubicBezTo>
                    <a:pt x="322" y="146"/>
                    <a:pt x="322" y="146"/>
                    <a:pt x="322" y="146"/>
                  </a:cubicBezTo>
                  <a:cubicBezTo>
                    <a:pt x="322" y="145"/>
                    <a:pt x="322" y="145"/>
                    <a:pt x="322" y="145"/>
                  </a:cubicBezTo>
                  <a:cubicBezTo>
                    <a:pt x="324" y="146"/>
                    <a:pt x="324" y="146"/>
                    <a:pt x="324" y="146"/>
                  </a:cubicBezTo>
                  <a:cubicBezTo>
                    <a:pt x="325" y="146"/>
                    <a:pt x="326" y="147"/>
                    <a:pt x="327" y="147"/>
                  </a:cubicBezTo>
                  <a:cubicBezTo>
                    <a:pt x="328" y="147"/>
                    <a:pt x="328" y="147"/>
                    <a:pt x="328" y="147"/>
                  </a:cubicBezTo>
                  <a:cubicBezTo>
                    <a:pt x="328" y="148"/>
                    <a:pt x="329" y="148"/>
                    <a:pt x="329" y="148"/>
                  </a:cubicBezTo>
                  <a:cubicBezTo>
                    <a:pt x="330" y="148"/>
                    <a:pt x="330" y="149"/>
                    <a:pt x="331" y="149"/>
                  </a:cubicBezTo>
                  <a:cubicBezTo>
                    <a:pt x="332" y="149"/>
                    <a:pt x="332" y="149"/>
                    <a:pt x="332" y="149"/>
                  </a:cubicBezTo>
                  <a:cubicBezTo>
                    <a:pt x="333" y="150"/>
                    <a:pt x="333" y="150"/>
                    <a:pt x="334" y="150"/>
                  </a:cubicBezTo>
                  <a:cubicBezTo>
                    <a:pt x="334" y="150"/>
                    <a:pt x="334" y="150"/>
                    <a:pt x="335" y="150"/>
                  </a:cubicBezTo>
                  <a:cubicBezTo>
                    <a:pt x="335" y="150"/>
                    <a:pt x="335" y="150"/>
                    <a:pt x="335" y="150"/>
                  </a:cubicBezTo>
                  <a:cubicBezTo>
                    <a:pt x="336" y="150"/>
                    <a:pt x="336" y="150"/>
                    <a:pt x="336" y="150"/>
                  </a:cubicBezTo>
                  <a:cubicBezTo>
                    <a:pt x="338" y="151"/>
                    <a:pt x="338" y="151"/>
                    <a:pt x="338" y="151"/>
                  </a:cubicBezTo>
                  <a:cubicBezTo>
                    <a:pt x="338" y="150"/>
                    <a:pt x="338" y="150"/>
                    <a:pt x="338" y="150"/>
                  </a:cubicBezTo>
                  <a:cubicBezTo>
                    <a:pt x="339" y="150"/>
                    <a:pt x="339" y="150"/>
                    <a:pt x="339" y="150"/>
                  </a:cubicBezTo>
                  <a:cubicBezTo>
                    <a:pt x="339" y="150"/>
                    <a:pt x="339" y="149"/>
                    <a:pt x="339" y="148"/>
                  </a:cubicBezTo>
                  <a:cubicBezTo>
                    <a:pt x="339" y="147"/>
                    <a:pt x="339" y="147"/>
                    <a:pt x="339" y="147"/>
                  </a:cubicBezTo>
                  <a:cubicBezTo>
                    <a:pt x="339" y="147"/>
                    <a:pt x="339" y="146"/>
                    <a:pt x="339" y="146"/>
                  </a:cubicBezTo>
                  <a:cubicBezTo>
                    <a:pt x="340" y="143"/>
                    <a:pt x="340" y="143"/>
                    <a:pt x="340" y="143"/>
                  </a:cubicBezTo>
                  <a:cubicBezTo>
                    <a:pt x="340" y="142"/>
                    <a:pt x="340" y="141"/>
                    <a:pt x="341" y="140"/>
                  </a:cubicBezTo>
                  <a:cubicBezTo>
                    <a:pt x="341" y="139"/>
                    <a:pt x="341" y="139"/>
                    <a:pt x="341" y="139"/>
                  </a:cubicBezTo>
                  <a:cubicBezTo>
                    <a:pt x="341" y="139"/>
                    <a:pt x="341" y="138"/>
                    <a:pt x="341" y="137"/>
                  </a:cubicBezTo>
                  <a:cubicBezTo>
                    <a:pt x="337" y="136"/>
                    <a:pt x="337" y="136"/>
                    <a:pt x="337" y="136"/>
                  </a:cubicBezTo>
                  <a:cubicBezTo>
                    <a:pt x="335" y="135"/>
                    <a:pt x="334" y="134"/>
                    <a:pt x="332" y="133"/>
                  </a:cubicBezTo>
                  <a:cubicBezTo>
                    <a:pt x="331" y="132"/>
                    <a:pt x="331" y="132"/>
                    <a:pt x="331" y="132"/>
                  </a:cubicBezTo>
                  <a:cubicBezTo>
                    <a:pt x="327" y="130"/>
                    <a:pt x="326" y="130"/>
                    <a:pt x="326" y="130"/>
                  </a:cubicBezTo>
                  <a:cubicBezTo>
                    <a:pt x="325" y="130"/>
                    <a:pt x="325" y="130"/>
                    <a:pt x="325" y="130"/>
                  </a:cubicBezTo>
                  <a:cubicBezTo>
                    <a:pt x="324" y="131"/>
                    <a:pt x="323" y="131"/>
                    <a:pt x="323" y="131"/>
                  </a:cubicBezTo>
                  <a:cubicBezTo>
                    <a:pt x="322" y="131"/>
                    <a:pt x="321" y="131"/>
                    <a:pt x="321" y="131"/>
                  </a:cubicBezTo>
                  <a:cubicBezTo>
                    <a:pt x="318" y="131"/>
                    <a:pt x="315" y="130"/>
                    <a:pt x="313" y="128"/>
                  </a:cubicBezTo>
                  <a:cubicBezTo>
                    <a:pt x="312" y="128"/>
                    <a:pt x="312" y="128"/>
                    <a:pt x="312" y="128"/>
                  </a:cubicBezTo>
                  <a:cubicBezTo>
                    <a:pt x="311" y="127"/>
                    <a:pt x="310" y="126"/>
                    <a:pt x="309" y="125"/>
                  </a:cubicBezTo>
                  <a:cubicBezTo>
                    <a:pt x="308" y="124"/>
                    <a:pt x="305" y="123"/>
                    <a:pt x="303" y="121"/>
                  </a:cubicBezTo>
                  <a:cubicBezTo>
                    <a:pt x="303" y="121"/>
                    <a:pt x="302" y="120"/>
                    <a:pt x="301" y="120"/>
                  </a:cubicBezTo>
                  <a:cubicBezTo>
                    <a:pt x="300" y="119"/>
                    <a:pt x="299" y="119"/>
                    <a:pt x="298" y="118"/>
                  </a:cubicBezTo>
                  <a:cubicBezTo>
                    <a:pt x="294" y="116"/>
                    <a:pt x="291" y="115"/>
                    <a:pt x="288" y="112"/>
                  </a:cubicBezTo>
                  <a:cubicBezTo>
                    <a:pt x="284" y="108"/>
                    <a:pt x="279" y="106"/>
                    <a:pt x="274" y="104"/>
                  </a:cubicBezTo>
                  <a:cubicBezTo>
                    <a:pt x="271" y="102"/>
                    <a:pt x="271" y="102"/>
                    <a:pt x="271" y="102"/>
                  </a:cubicBezTo>
                  <a:cubicBezTo>
                    <a:pt x="270" y="102"/>
                    <a:pt x="269" y="101"/>
                    <a:pt x="268" y="101"/>
                  </a:cubicBezTo>
                  <a:cubicBezTo>
                    <a:pt x="264" y="98"/>
                    <a:pt x="260" y="95"/>
                    <a:pt x="256" y="92"/>
                  </a:cubicBezTo>
                  <a:cubicBezTo>
                    <a:pt x="255" y="91"/>
                    <a:pt x="255" y="91"/>
                    <a:pt x="255" y="91"/>
                  </a:cubicBezTo>
                  <a:cubicBezTo>
                    <a:pt x="254" y="91"/>
                    <a:pt x="253" y="90"/>
                    <a:pt x="252" y="89"/>
                  </a:cubicBezTo>
                  <a:cubicBezTo>
                    <a:pt x="248" y="86"/>
                    <a:pt x="248" y="86"/>
                    <a:pt x="248" y="86"/>
                  </a:cubicBezTo>
                  <a:cubicBezTo>
                    <a:pt x="247" y="86"/>
                    <a:pt x="246" y="85"/>
                    <a:pt x="246" y="85"/>
                  </a:cubicBezTo>
                  <a:cubicBezTo>
                    <a:pt x="245" y="85"/>
                    <a:pt x="245" y="85"/>
                    <a:pt x="245" y="85"/>
                  </a:cubicBezTo>
                  <a:cubicBezTo>
                    <a:pt x="243" y="84"/>
                    <a:pt x="241" y="82"/>
                    <a:pt x="240" y="80"/>
                  </a:cubicBezTo>
                  <a:cubicBezTo>
                    <a:pt x="239" y="80"/>
                    <a:pt x="239" y="80"/>
                    <a:pt x="239" y="79"/>
                  </a:cubicBezTo>
                  <a:cubicBezTo>
                    <a:pt x="239" y="79"/>
                    <a:pt x="239" y="79"/>
                    <a:pt x="239" y="79"/>
                  </a:cubicBezTo>
                  <a:cubicBezTo>
                    <a:pt x="239" y="78"/>
                    <a:pt x="239" y="78"/>
                    <a:pt x="239" y="78"/>
                  </a:cubicBezTo>
                  <a:cubicBezTo>
                    <a:pt x="238" y="77"/>
                    <a:pt x="237" y="75"/>
                    <a:pt x="237" y="73"/>
                  </a:cubicBezTo>
                  <a:cubicBezTo>
                    <a:pt x="237" y="72"/>
                    <a:pt x="236" y="72"/>
                    <a:pt x="236" y="71"/>
                  </a:cubicBezTo>
                  <a:cubicBezTo>
                    <a:pt x="236" y="70"/>
                    <a:pt x="236" y="70"/>
                    <a:pt x="236" y="70"/>
                  </a:cubicBezTo>
                  <a:cubicBezTo>
                    <a:pt x="236" y="69"/>
                    <a:pt x="235" y="68"/>
                    <a:pt x="234" y="67"/>
                  </a:cubicBezTo>
                  <a:cubicBezTo>
                    <a:pt x="233" y="66"/>
                    <a:pt x="231" y="65"/>
                    <a:pt x="231" y="63"/>
                  </a:cubicBezTo>
                  <a:cubicBezTo>
                    <a:pt x="230" y="62"/>
                    <a:pt x="229" y="60"/>
                    <a:pt x="229" y="58"/>
                  </a:cubicBezTo>
                  <a:cubicBezTo>
                    <a:pt x="227" y="53"/>
                    <a:pt x="224" y="48"/>
                    <a:pt x="221" y="45"/>
                  </a:cubicBezTo>
                  <a:cubicBezTo>
                    <a:pt x="219" y="43"/>
                    <a:pt x="218" y="42"/>
                    <a:pt x="217" y="42"/>
                  </a:cubicBezTo>
                  <a:cubicBezTo>
                    <a:pt x="217" y="43"/>
                    <a:pt x="217" y="43"/>
                    <a:pt x="216" y="44"/>
                  </a:cubicBezTo>
                  <a:cubicBezTo>
                    <a:pt x="215" y="45"/>
                    <a:pt x="213" y="46"/>
                    <a:pt x="210" y="46"/>
                  </a:cubicBezTo>
                  <a:cubicBezTo>
                    <a:pt x="208" y="46"/>
                    <a:pt x="208" y="46"/>
                    <a:pt x="208" y="46"/>
                  </a:cubicBezTo>
                  <a:cubicBezTo>
                    <a:pt x="206" y="46"/>
                    <a:pt x="205" y="45"/>
                    <a:pt x="204" y="45"/>
                  </a:cubicBezTo>
                  <a:cubicBezTo>
                    <a:pt x="202" y="44"/>
                    <a:pt x="199" y="44"/>
                    <a:pt x="197" y="44"/>
                  </a:cubicBezTo>
                  <a:cubicBezTo>
                    <a:pt x="197" y="44"/>
                    <a:pt x="196" y="44"/>
                    <a:pt x="196" y="44"/>
                  </a:cubicBezTo>
                  <a:cubicBezTo>
                    <a:pt x="195" y="44"/>
                    <a:pt x="195" y="44"/>
                    <a:pt x="194" y="44"/>
                  </a:cubicBezTo>
                  <a:cubicBezTo>
                    <a:pt x="194" y="44"/>
                    <a:pt x="193" y="44"/>
                    <a:pt x="192" y="44"/>
                  </a:cubicBezTo>
                  <a:cubicBezTo>
                    <a:pt x="191" y="44"/>
                    <a:pt x="189" y="44"/>
                    <a:pt x="186" y="42"/>
                  </a:cubicBezTo>
                  <a:cubicBezTo>
                    <a:pt x="186" y="42"/>
                    <a:pt x="186" y="42"/>
                    <a:pt x="186" y="42"/>
                  </a:cubicBezTo>
                  <a:cubicBezTo>
                    <a:pt x="185" y="41"/>
                    <a:pt x="184" y="41"/>
                    <a:pt x="184" y="41"/>
                  </a:cubicBezTo>
                  <a:cubicBezTo>
                    <a:pt x="183" y="40"/>
                    <a:pt x="183" y="40"/>
                    <a:pt x="183" y="40"/>
                  </a:cubicBezTo>
                  <a:cubicBezTo>
                    <a:pt x="182" y="39"/>
                    <a:pt x="182" y="39"/>
                    <a:pt x="182" y="39"/>
                  </a:cubicBezTo>
                  <a:cubicBezTo>
                    <a:pt x="181" y="38"/>
                    <a:pt x="178" y="36"/>
                    <a:pt x="179" y="33"/>
                  </a:cubicBezTo>
                  <a:cubicBezTo>
                    <a:pt x="180" y="31"/>
                    <a:pt x="180" y="31"/>
                    <a:pt x="180" y="31"/>
                  </a:cubicBezTo>
                  <a:cubicBezTo>
                    <a:pt x="180" y="30"/>
                    <a:pt x="180" y="30"/>
                    <a:pt x="180" y="30"/>
                  </a:cubicBezTo>
                  <a:cubicBezTo>
                    <a:pt x="180" y="30"/>
                    <a:pt x="180" y="30"/>
                    <a:pt x="180" y="29"/>
                  </a:cubicBezTo>
                  <a:cubicBezTo>
                    <a:pt x="177" y="26"/>
                    <a:pt x="177" y="26"/>
                    <a:pt x="177" y="26"/>
                  </a:cubicBezTo>
                  <a:cubicBezTo>
                    <a:pt x="181" y="24"/>
                    <a:pt x="181" y="24"/>
                    <a:pt x="181" y="24"/>
                  </a:cubicBezTo>
                  <a:cubicBezTo>
                    <a:pt x="180" y="24"/>
                    <a:pt x="178" y="23"/>
                    <a:pt x="177" y="23"/>
                  </a:cubicBezTo>
                  <a:cubicBezTo>
                    <a:pt x="170" y="20"/>
                    <a:pt x="170" y="20"/>
                    <a:pt x="170" y="20"/>
                  </a:cubicBezTo>
                  <a:cubicBezTo>
                    <a:pt x="177" y="17"/>
                    <a:pt x="177" y="17"/>
                    <a:pt x="177" y="17"/>
                  </a:cubicBezTo>
                  <a:cubicBezTo>
                    <a:pt x="177" y="17"/>
                    <a:pt x="177" y="17"/>
                    <a:pt x="177" y="17"/>
                  </a:cubicBezTo>
                  <a:cubicBezTo>
                    <a:pt x="177" y="17"/>
                    <a:pt x="177" y="17"/>
                    <a:pt x="177" y="17"/>
                  </a:cubicBezTo>
                  <a:cubicBezTo>
                    <a:pt x="177" y="16"/>
                    <a:pt x="177" y="15"/>
                    <a:pt x="177" y="15"/>
                  </a:cubicBezTo>
                  <a:cubicBezTo>
                    <a:pt x="175" y="14"/>
                    <a:pt x="173" y="13"/>
                    <a:pt x="172" y="13"/>
                  </a:cubicBezTo>
                  <a:cubicBezTo>
                    <a:pt x="171" y="13"/>
                    <a:pt x="171" y="13"/>
                    <a:pt x="171" y="13"/>
                  </a:cubicBezTo>
                  <a:cubicBezTo>
                    <a:pt x="170" y="12"/>
                    <a:pt x="167" y="13"/>
                    <a:pt x="164" y="12"/>
                  </a:cubicBezTo>
                  <a:cubicBezTo>
                    <a:pt x="164" y="12"/>
                    <a:pt x="164" y="12"/>
                    <a:pt x="164" y="12"/>
                  </a:cubicBezTo>
                  <a:cubicBezTo>
                    <a:pt x="163" y="12"/>
                    <a:pt x="163" y="12"/>
                    <a:pt x="163" y="12"/>
                  </a:cubicBezTo>
                  <a:cubicBezTo>
                    <a:pt x="162" y="12"/>
                    <a:pt x="161" y="11"/>
                    <a:pt x="160" y="10"/>
                  </a:cubicBezTo>
                  <a:cubicBezTo>
                    <a:pt x="160" y="10"/>
                    <a:pt x="159" y="9"/>
                    <a:pt x="159" y="8"/>
                  </a:cubicBezTo>
                  <a:cubicBezTo>
                    <a:pt x="158" y="8"/>
                    <a:pt x="158" y="8"/>
                    <a:pt x="158" y="8"/>
                  </a:cubicBezTo>
                  <a:cubicBezTo>
                    <a:pt x="158" y="7"/>
                    <a:pt x="158" y="7"/>
                    <a:pt x="157" y="7"/>
                  </a:cubicBezTo>
                  <a:cubicBezTo>
                    <a:pt x="157" y="6"/>
                    <a:pt x="157" y="6"/>
                    <a:pt x="157" y="6"/>
                  </a:cubicBezTo>
                  <a:cubicBezTo>
                    <a:pt x="157" y="6"/>
                    <a:pt x="157" y="6"/>
                    <a:pt x="157" y="6"/>
                  </a:cubicBezTo>
                  <a:cubicBezTo>
                    <a:pt x="156" y="6"/>
                    <a:pt x="156" y="6"/>
                    <a:pt x="156" y="6"/>
                  </a:cubicBezTo>
                  <a:cubicBezTo>
                    <a:pt x="156" y="6"/>
                    <a:pt x="156" y="6"/>
                    <a:pt x="156" y="6"/>
                  </a:cubicBezTo>
                  <a:cubicBezTo>
                    <a:pt x="155" y="6"/>
                    <a:pt x="155" y="6"/>
                    <a:pt x="155" y="6"/>
                  </a:cubicBezTo>
                  <a:cubicBezTo>
                    <a:pt x="154" y="6"/>
                    <a:pt x="154" y="6"/>
                    <a:pt x="153" y="6"/>
                  </a:cubicBezTo>
                  <a:cubicBezTo>
                    <a:pt x="153" y="5"/>
                    <a:pt x="152" y="5"/>
                    <a:pt x="151" y="5"/>
                  </a:cubicBezTo>
                  <a:cubicBezTo>
                    <a:pt x="150" y="3"/>
                    <a:pt x="148" y="1"/>
                    <a:pt x="146" y="0"/>
                  </a:cubicBezTo>
                  <a:cubicBezTo>
                    <a:pt x="146" y="0"/>
                    <a:pt x="146" y="0"/>
                    <a:pt x="1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509"/>
            <p:cNvSpPr/>
            <p:nvPr/>
          </p:nvSpPr>
          <p:spPr bwMode="auto">
            <a:xfrm>
              <a:off x="2912143" y="2537165"/>
              <a:ext cx="584260" cy="300860"/>
            </a:xfrm>
            <a:custGeom>
              <a:gdLst>
                <a:gd name="T0" fmla="*/ 38 w 184"/>
                <a:gd name="T1" fmla="*/ 4 h 95"/>
                <a:gd name="T2" fmla="*/ 36 w 184"/>
                <a:gd name="T3" fmla="*/ 5 h 95"/>
                <a:gd name="T4" fmla="*/ 35 w 184"/>
                <a:gd name="T5" fmla="*/ 21 h 95"/>
                <a:gd name="T6" fmla="*/ 30 w 184"/>
                <a:gd name="T7" fmla="*/ 10 h 95"/>
                <a:gd name="T8" fmla="*/ 23 w 184"/>
                <a:gd name="T9" fmla="*/ 20 h 95"/>
                <a:gd name="T10" fmla="*/ 16 w 184"/>
                <a:gd name="T11" fmla="*/ 19 h 95"/>
                <a:gd name="T12" fmla="*/ 5 w 184"/>
                <a:gd name="T13" fmla="*/ 18 h 95"/>
                <a:gd name="T14" fmla="*/ 3 w 184"/>
                <a:gd name="T15" fmla="*/ 19 h 95"/>
                <a:gd name="T16" fmla="*/ 0 w 184"/>
                <a:gd name="T17" fmla="*/ 24 h 95"/>
                <a:gd name="T18" fmla="*/ 4 w 184"/>
                <a:gd name="T19" fmla="*/ 27 h 95"/>
                <a:gd name="T20" fmla="*/ 19 w 184"/>
                <a:gd name="T21" fmla="*/ 34 h 95"/>
                <a:gd name="T22" fmla="*/ 18 w 184"/>
                <a:gd name="T23" fmla="*/ 46 h 95"/>
                <a:gd name="T24" fmla="*/ 21 w 184"/>
                <a:gd name="T25" fmla="*/ 50 h 95"/>
                <a:gd name="T26" fmla="*/ 15 w 184"/>
                <a:gd name="T27" fmla="*/ 72 h 95"/>
                <a:gd name="T28" fmla="*/ 11 w 184"/>
                <a:gd name="T29" fmla="*/ 80 h 95"/>
                <a:gd name="T30" fmla="*/ 13 w 184"/>
                <a:gd name="T31" fmla="*/ 87 h 95"/>
                <a:gd name="T32" fmla="*/ 19 w 184"/>
                <a:gd name="T33" fmla="*/ 84 h 95"/>
                <a:gd name="T34" fmla="*/ 29 w 184"/>
                <a:gd name="T35" fmla="*/ 79 h 95"/>
                <a:gd name="T36" fmla="*/ 31 w 184"/>
                <a:gd name="T37" fmla="*/ 78 h 95"/>
                <a:gd name="T38" fmla="*/ 40 w 184"/>
                <a:gd name="T39" fmla="*/ 80 h 95"/>
                <a:gd name="T40" fmla="*/ 44 w 184"/>
                <a:gd name="T41" fmla="*/ 83 h 95"/>
                <a:gd name="T42" fmla="*/ 44 w 184"/>
                <a:gd name="T43" fmla="*/ 79 h 95"/>
                <a:gd name="T44" fmla="*/ 47 w 184"/>
                <a:gd name="T45" fmla="*/ 73 h 95"/>
                <a:gd name="T46" fmla="*/ 60 w 184"/>
                <a:gd name="T47" fmla="*/ 71 h 95"/>
                <a:gd name="T48" fmla="*/ 64 w 184"/>
                <a:gd name="T49" fmla="*/ 71 h 95"/>
                <a:gd name="T50" fmla="*/ 64 w 184"/>
                <a:gd name="T51" fmla="*/ 69 h 95"/>
                <a:gd name="T52" fmla="*/ 64 w 184"/>
                <a:gd name="T53" fmla="*/ 60 h 95"/>
                <a:gd name="T54" fmla="*/ 72 w 184"/>
                <a:gd name="T55" fmla="*/ 54 h 95"/>
                <a:gd name="T56" fmla="*/ 84 w 184"/>
                <a:gd name="T57" fmla="*/ 45 h 95"/>
                <a:gd name="T58" fmla="*/ 90 w 184"/>
                <a:gd name="T59" fmla="*/ 48 h 95"/>
                <a:gd name="T60" fmla="*/ 95 w 184"/>
                <a:gd name="T61" fmla="*/ 47 h 95"/>
                <a:gd name="T62" fmla="*/ 94 w 184"/>
                <a:gd name="T63" fmla="*/ 52 h 95"/>
                <a:gd name="T64" fmla="*/ 100 w 184"/>
                <a:gd name="T65" fmla="*/ 60 h 95"/>
                <a:gd name="T66" fmla="*/ 101 w 184"/>
                <a:gd name="T67" fmla="*/ 82 h 95"/>
                <a:gd name="T68" fmla="*/ 100 w 184"/>
                <a:gd name="T69" fmla="*/ 84 h 95"/>
                <a:gd name="T70" fmla="*/ 101 w 184"/>
                <a:gd name="T71" fmla="*/ 91 h 95"/>
                <a:gd name="T72" fmla="*/ 103 w 184"/>
                <a:gd name="T73" fmla="*/ 95 h 95"/>
                <a:gd name="T74" fmla="*/ 118 w 184"/>
                <a:gd name="T75" fmla="*/ 89 h 95"/>
                <a:gd name="T76" fmla="*/ 141 w 184"/>
                <a:gd name="T77" fmla="*/ 74 h 95"/>
                <a:gd name="T78" fmla="*/ 155 w 184"/>
                <a:gd name="T79" fmla="*/ 78 h 95"/>
                <a:gd name="T80" fmla="*/ 163 w 184"/>
                <a:gd name="T81" fmla="*/ 77 h 95"/>
                <a:gd name="T82" fmla="*/ 168 w 184"/>
                <a:gd name="T83" fmla="*/ 75 h 95"/>
                <a:gd name="T84" fmla="*/ 182 w 184"/>
                <a:gd name="T85" fmla="*/ 79 h 95"/>
                <a:gd name="T86" fmla="*/ 181 w 184"/>
                <a:gd name="T87" fmla="*/ 71 h 95"/>
                <a:gd name="T88" fmla="*/ 178 w 184"/>
                <a:gd name="T89" fmla="*/ 53 h 95"/>
                <a:gd name="T90" fmla="*/ 172 w 184"/>
                <a:gd name="T91" fmla="*/ 48 h 95"/>
                <a:gd name="T92" fmla="*/ 167 w 184"/>
                <a:gd name="T93" fmla="*/ 45 h 95"/>
                <a:gd name="T94" fmla="*/ 161 w 184"/>
                <a:gd name="T95" fmla="*/ 46 h 95"/>
                <a:gd name="T96" fmla="*/ 156 w 184"/>
                <a:gd name="T97" fmla="*/ 46 h 95"/>
                <a:gd name="T98" fmla="*/ 150 w 184"/>
                <a:gd name="T99" fmla="*/ 33 h 95"/>
                <a:gd name="T100" fmla="*/ 145 w 184"/>
                <a:gd name="T101" fmla="*/ 35 h 95"/>
                <a:gd name="T102" fmla="*/ 147 w 184"/>
                <a:gd name="T103" fmla="*/ 26 h 95"/>
                <a:gd name="T104" fmla="*/ 142 w 184"/>
                <a:gd name="T105" fmla="*/ 24 h 95"/>
                <a:gd name="T106" fmla="*/ 125 w 184"/>
                <a:gd name="T107" fmla="*/ 25 h 95"/>
                <a:gd name="T108" fmla="*/ 115 w 184"/>
                <a:gd name="T109" fmla="*/ 29 h 95"/>
                <a:gd name="T110" fmla="*/ 104 w 184"/>
                <a:gd name="T111" fmla="*/ 27 h 95"/>
                <a:gd name="T112" fmla="*/ 101 w 184"/>
                <a:gd name="T113" fmla="*/ 22 h 95"/>
                <a:gd name="T114" fmla="*/ 99 w 184"/>
                <a:gd name="T115" fmla="*/ 22 h 95"/>
                <a:gd name="T116" fmla="*/ 87 w 184"/>
                <a:gd name="T117" fmla="*/ 23 h 95"/>
                <a:gd name="T118" fmla="*/ 86 w 184"/>
                <a:gd name="T119" fmla="*/ 23 h 95"/>
                <a:gd name="T120" fmla="*/ 72 w 184"/>
                <a:gd name="T121" fmla="*/ 20 h 95"/>
                <a:gd name="T122" fmla="*/ 41 w 184"/>
                <a:gd name="T123" fmla="*/ 20 h 95"/>
                <a:gd name="T124" fmla="*/ 42 w 184"/>
                <a:gd name="T125" fmla="*/ 1 h 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 h="95">
                  <a:moveTo>
                    <a:pt x="40" y="0"/>
                  </a:moveTo>
                  <a:cubicBezTo>
                    <a:pt x="40" y="1"/>
                    <a:pt x="39" y="3"/>
                    <a:pt x="39" y="3"/>
                  </a:cubicBezTo>
                  <a:cubicBezTo>
                    <a:pt x="38" y="4"/>
                    <a:pt x="38" y="4"/>
                    <a:pt x="38" y="4"/>
                  </a:cubicBezTo>
                  <a:cubicBezTo>
                    <a:pt x="37" y="4"/>
                    <a:pt x="37" y="4"/>
                    <a:pt x="37" y="4"/>
                  </a:cubicBezTo>
                  <a:cubicBezTo>
                    <a:pt x="36" y="5"/>
                    <a:pt x="36" y="5"/>
                    <a:pt x="36" y="5"/>
                  </a:cubicBezTo>
                  <a:cubicBezTo>
                    <a:pt x="36" y="5"/>
                    <a:pt x="36" y="5"/>
                    <a:pt x="36" y="5"/>
                  </a:cubicBezTo>
                  <a:cubicBezTo>
                    <a:pt x="36" y="5"/>
                    <a:pt x="36" y="5"/>
                    <a:pt x="36" y="5"/>
                  </a:cubicBezTo>
                  <a:cubicBezTo>
                    <a:pt x="36" y="6"/>
                    <a:pt x="36" y="7"/>
                    <a:pt x="36" y="7"/>
                  </a:cubicBezTo>
                  <a:cubicBezTo>
                    <a:pt x="35" y="21"/>
                    <a:pt x="35" y="21"/>
                    <a:pt x="35" y="21"/>
                  </a:cubicBezTo>
                  <a:cubicBezTo>
                    <a:pt x="31" y="9"/>
                    <a:pt x="31" y="9"/>
                    <a:pt x="31" y="9"/>
                  </a:cubicBezTo>
                  <a:cubicBezTo>
                    <a:pt x="30" y="10"/>
                    <a:pt x="30" y="10"/>
                    <a:pt x="30" y="10"/>
                  </a:cubicBezTo>
                  <a:cubicBezTo>
                    <a:pt x="30" y="10"/>
                    <a:pt x="30" y="10"/>
                    <a:pt x="30" y="10"/>
                  </a:cubicBezTo>
                  <a:cubicBezTo>
                    <a:pt x="29" y="16"/>
                    <a:pt x="28" y="19"/>
                    <a:pt x="26" y="19"/>
                  </a:cubicBezTo>
                  <a:cubicBezTo>
                    <a:pt x="26" y="19"/>
                    <a:pt x="25" y="19"/>
                    <a:pt x="25" y="20"/>
                  </a:cubicBezTo>
                  <a:cubicBezTo>
                    <a:pt x="24" y="20"/>
                    <a:pt x="24" y="20"/>
                    <a:pt x="23" y="20"/>
                  </a:cubicBezTo>
                  <a:cubicBezTo>
                    <a:pt x="23" y="20"/>
                    <a:pt x="22" y="20"/>
                    <a:pt x="22" y="20"/>
                  </a:cubicBezTo>
                  <a:cubicBezTo>
                    <a:pt x="21" y="20"/>
                    <a:pt x="21" y="20"/>
                    <a:pt x="21" y="20"/>
                  </a:cubicBezTo>
                  <a:cubicBezTo>
                    <a:pt x="19" y="20"/>
                    <a:pt x="18" y="19"/>
                    <a:pt x="16" y="19"/>
                  </a:cubicBezTo>
                  <a:cubicBezTo>
                    <a:pt x="14" y="19"/>
                    <a:pt x="11" y="18"/>
                    <a:pt x="7" y="18"/>
                  </a:cubicBezTo>
                  <a:cubicBezTo>
                    <a:pt x="7" y="18"/>
                    <a:pt x="6" y="18"/>
                    <a:pt x="6" y="18"/>
                  </a:cubicBezTo>
                  <a:cubicBezTo>
                    <a:pt x="6" y="18"/>
                    <a:pt x="6" y="18"/>
                    <a:pt x="5" y="18"/>
                  </a:cubicBezTo>
                  <a:cubicBezTo>
                    <a:pt x="5" y="18"/>
                    <a:pt x="5" y="18"/>
                    <a:pt x="5" y="18"/>
                  </a:cubicBezTo>
                  <a:cubicBezTo>
                    <a:pt x="5" y="18"/>
                    <a:pt x="5" y="18"/>
                    <a:pt x="5" y="18"/>
                  </a:cubicBezTo>
                  <a:cubicBezTo>
                    <a:pt x="4" y="18"/>
                    <a:pt x="4" y="18"/>
                    <a:pt x="3" y="19"/>
                  </a:cubicBezTo>
                  <a:cubicBezTo>
                    <a:pt x="3" y="19"/>
                    <a:pt x="3" y="19"/>
                    <a:pt x="3" y="19"/>
                  </a:cubicBezTo>
                  <a:cubicBezTo>
                    <a:pt x="1" y="20"/>
                    <a:pt x="1" y="21"/>
                    <a:pt x="0" y="23"/>
                  </a:cubicBezTo>
                  <a:cubicBezTo>
                    <a:pt x="0" y="24"/>
                    <a:pt x="0" y="24"/>
                    <a:pt x="0" y="24"/>
                  </a:cubicBezTo>
                  <a:cubicBezTo>
                    <a:pt x="1" y="24"/>
                    <a:pt x="1" y="25"/>
                    <a:pt x="2" y="25"/>
                  </a:cubicBezTo>
                  <a:cubicBezTo>
                    <a:pt x="2" y="26"/>
                    <a:pt x="2" y="26"/>
                    <a:pt x="2" y="26"/>
                  </a:cubicBezTo>
                  <a:cubicBezTo>
                    <a:pt x="3" y="26"/>
                    <a:pt x="3" y="27"/>
                    <a:pt x="4" y="27"/>
                  </a:cubicBezTo>
                  <a:cubicBezTo>
                    <a:pt x="6" y="29"/>
                    <a:pt x="6" y="29"/>
                    <a:pt x="9" y="29"/>
                  </a:cubicBezTo>
                  <a:cubicBezTo>
                    <a:pt x="10" y="29"/>
                    <a:pt x="11" y="29"/>
                    <a:pt x="12" y="30"/>
                  </a:cubicBezTo>
                  <a:cubicBezTo>
                    <a:pt x="15" y="30"/>
                    <a:pt x="18" y="31"/>
                    <a:pt x="19" y="34"/>
                  </a:cubicBezTo>
                  <a:cubicBezTo>
                    <a:pt x="19" y="34"/>
                    <a:pt x="20" y="35"/>
                    <a:pt x="20" y="36"/>
                  </a:cubicBezTo>
                  <a:cubicBezTo>
                    <a:pt x="20" y="38"/>
                    <a:pt x="19" y="40"/>
                    <a:pt x="19" y="43"/>
                  </a:cubicBezTo>
                  <a:cubicBezTo>
                    <a:pt x="18" y="46"/>
                    <a:pt x="18" y="46"/>
                    <a:pt x="18" y="46"/>
                  </a:cubicBezTo>
                  <a:cubicBezTo>
                    <a:pt x="18" y="47"/>
                    <a:pt x="18" y="47"/>
                    <a:pt x="19" y="48"/>
                  </a:cubicBezTo>
                  <a:cubicBezTo>
                    <a:pt x="19" y="48"/>
                    <a:pt x="19" y="48"/>
                    <a:pt x="19" y="48"/>
                  </a:cubicBezTo>
                  <a:cubicBezTo>
                    <a:pt x="21" y="50"/>
                    <a:pt x="21" y="50"/>
                    <a:pt x="21" y="50"/>
                  </a:cubicBezTo>
                  <a:cubicBezTo>
                    <a:pt x="22" y="50"/>
                    <a:pt x="22" y="51"/>
                    <a:pt x="23" y="52"/>
                  </a:cubicBezTo>
                  <a:cubicBezTo>
                    <a:pt x="27" y="57"/>
                    <a:pt x="21" y="64"/>
                    <a:pt x="16" y="70"/>
                  </a:cubicBezTo>
                  <a:cubicBezTo>
                    <a:pt x="16" y="70"/>
                    <a:pt x="15" y="71"/>
                    <a:pt x="15" y="72"/>
                  </a:cubicBezTo>
                  <a:cubicBezTo>
                    <a:pt x="14" y="73"/>
                    <a:pt x="14" y="73"/>
                    <a:pt x="14" y="73"/>
                  </a:cubicBezTo>
                  <a:cubicBezTo>
                    <a:pt x="13" y="75"/>
                    <a:pt x="12" y="76"/>
                    <a:pt x="11" y="77"/>
                  </a:cubicBezTo>
                  <a:cubicBezTo>
                    <a:pt x="11" y="78"/>
                    <a:pt x="11" y="79"/>
                    <a:pt x="11" y="80"/>
                  </a:cubicBezTo>
                  <a:cubicBezTo>
                    <a:pt x="11" y="81"/>
                    <a:pt x="10" y="83"/>
                    <a:pt x="10" y="84"/>
                  </a:cubicBezTo>
                  <a:cubicBezTo>
                    <a:pt x="10" y="85"/>
                    <a:pt x="10" y="85"/>
                    <a:pt x="10" y="85"/>
                  </a:cubicBezTo>
                  <a:cubicBezTo>
                    <a:pt x="13" y="87"/>
                    <a:pt x="13" y="87"/>
                    <a:pt x="13" y="87"/>
                  </a:cubicBezTo>
                  <a:cubicBezTo>
                    <a:pt x="13" y="88"/>
                    <a:pt x="13" y="88"/>
                    <a:pt x="13" y="88"/>
                  </a:cubicBezTo>
                  <a:cubicBezTo>
                    <a:pt x="13" y="88"/>
                    <a:pt x="14" y="87"/>
                    <a:pt x="14" y="87"/>
                  </a:cubicBezTo>
                  <a:cubicBezTo>
                    <a:pt x="16" y="85"/>
                    <a:pt x="18" y="84"/>
                    <a:pt x="19" y="84"/>
                  </a:cubicBezTo>
                  <a:cubicBezTo>
                    <a:pt x="19" y="83"/>
                    <a:pt x="20" y="83"/>
                    <a:pt x="21" y="83"/>
                  </a:cubicBezTo>
                  <a:cubicBezTo>
                    <a:pt x="24" y="82"/>
                    <a:pt x="26" y="81"/>
                    <a:pt x="28" y="80"/>
                  </a:cubicBezTo>
                  <a:cubicBezTo>
                    <a:pt x="28" y="80"/>
                    <a:pt x="29" y="80"/>
                    <a:pt x="29" y="79"/>
                  </a:cubicBezTo>
                  <a:cubicBezTo>
                    <a:pt x="30" y="80"/>
                    <a:pt x="30" y="80"/>
                    <a:pt x="30" y="80"/>
                  </a:cubicBezTo>
                  <a:cubicBezTo>
                    <a:pt x="30" y="79"/>
                    <a:pt x="30" y="79"/>
                    <a:pt x="30" y="79"/>
                  </a:cubicBezTo>
                  <a:cubicBezTo>
                    <a:pt x="30" y="79"/>
                    <a:pt x="31" y="79"/>
                    <a:pt x="31" y="78"/>
                  </a:cubicBezTo>
                  <a:cubicBezTo>
                    <a:pt x="33" y="78"/>
                    <a:pt x="34" y="78"/>
                    <a:pt x="35" y="78"/>
                  </a:cubicBezTo>
                  <a:cubicBezTo>
                    <a:pt x="36" y="78"/>
                    <a:pt x="37" y="78"/>
                    <a:pt x="38" y="79"/>
                  </a:cubicBezTo>
                  <a:cubicBezTo>
                    <a:pt x="39" y="79"/>
                    <a:pt x="39" y="80"/>
                    <a:pt x="40" y="80"/>
                  </a:cubicBezTo>
                  <a:cubicBezTo>
                    <a:pt x="42" y="82"/>
                    <a:pt x="42" y="82"/>
                    <a:pt x="42" y="82"/>
                  </a:cubicBezTo>
                  <a:cubicBezTo>
                    <a:pt x="42" y="82"/>
                    <a:pt x="43" y="83"/>
                    <a:pt x="44" y="83"/>
                  </a:cubicBezTo>
                  <a:cubicBezTo>
                    <a:pt x="44" y="83"/>
                    <a:pt x="44" y="83"/>
                    <a:pt x="44" y="83"/>
                  </a:cubicBezTo>
                  <a:cubicBezTo>
                    <a:pt x="44" y="82"/>
                    <a:pt x="44" y="82"/>
                    <a:pt x="44" y="82"/>
                  </a:cubicBezTo>
                  <a:cubicBezTo>
                    <a:pt x="44" y="82"/>
                    <a:pt x="44" y="82"/>
                    <a:pt x="44" y="82"/>
                  </a:cubicBezTo>
                  <a:cubicBezTo>
                    <a:pt x="44" y="81"/>
                    <a:pt x="44" y="80"/>
                    <a:pt x="44" y="79"/>
                  </a:cubicBezTo>
                  <a:cubicBezTo>
                    <a:pt x="45" y="78"/>
                    <a:pt x="45" y="78"/>
                    <a:pt x="45" y="78"/>
                  </a:cubicBezTo>
                  <a:cubicBezTo>
                    <a:pt x="45" y="77"/>
                    <a:pt x="45" y="75"/>
                    <a:pt x="47" y="73"/>
                  </a:cubicBezTo>
                  <a:cubicBezTo>
                    <a:pt x="47" y="73"/>
                    <a:pt x="47" y="73"/>
                    <a:pt x="47" y="73"/>
                  </a:cubicBezTo>
                  <a:cubicBezTo>
                    <a:pt x="47" y="71"/>
                    <a:pt x="49" y="70"/>
                    <a:pt x="53" y="70"/>
                  </a:cubicBezTo>
                  <a:cubicBezTo>
                    <a:pt x="55" y="70"/>
                    <a:pt x="57" y="70"/>
                    <a:pt x="58" y="70"/>
                  </a:cubicBezTo>
                  <a:cubicBezTo>
                    <a:pt x="59" y="70"/>
                    <a:pt x="59" y="70"/>
                    <a:pt x="60" y="71"/>
                  </a:cubicBezTo>
                  <a:cubicBezTo>
                    <a:pt x="61" y="71"/>
                    <a:pt x="62" y="71"/>
                    <a:pt x="63" y="71"/>
                  </a:cubicBezTo>
                  <a:cubicBezTo>
                    <a:pt x="64" y="71"/>
                    <a:pt x="64" y="71"/>
                    <a:pt x="64" y="71"/>
                  </a:cubicBezTo>
                  <a:cubicBezTo>
                    <a:pt x="64" y="71"/>
                    <a:pt x="64" y="71"/>
                    <a:pt x="64" y="71"/>
                  </a:cubicBezTo>
                  <a:cubicBezTo>
                    <a:pt x="64" y="71"/>
                    <a:pt x="65" y="71"/>
                    <a:pt x="65" y="70"/>
                  </a:cubicBezTo>
                  <a:cubicBezTo>
                    <a:pt x="65" y="70"/>
                    <a:pt x="65" y="70"/>
                    <a:pt x="65" y="70"/>
                  </a:cubicBezTo>
                  <a:cubicBezTo>
                    <a:pt x="64" y="69"/>
                    <a:pt x="64" y="69"/>
                    <a:pt x="64" y="69"/>
                  </a:cubicBezTo>
                  <a:cubicBezTo>
                    <a:pt x="64" y="69"/>
                    <a:pt x="64" y="69"/>
                    <a:pt x="64" y="69"/>
                  </a:cubicBezTo>
                  <a:cubicBezTo>
                    <a:pt x="63" y="67"/>
                    <a:pt x="62" y="66"/>
                    <a:pt x="62" y="65"/>
                  </a:cubicBezTo>
                  <a:cubicBezTo>
                    <a:pt x="62" y="64"/>
                    <a:pt x="62" y="62"/>
                    <a:pt x="64" y="60"/>
                  </a:cubicBezTo>
                  <a:cubicBezTo>
                    <a:pt x="65" y="59"/>
                    <a:pt x="67" y="58"/>
                    <a:pt x="69" y="57"/>
                  </a:cubicBezTo>
                  <a:cubicBezTo>
                    <a:pt x="69" y="56"/>
                    <a:pt x="70" y="55"/>
                    <a:pt x="71" y="54"/>
                  </a:cubicBezTo>
                  <a:cubicBezTo>
                    <a:pt x="72" y="54"/>
                    <a:pt x="72" y="54"/>
                    <a:pt x="72" y="54"/>
                  </a:cubicBezTo>
                  <a:cubicBezTo>
                    <a:pt x="72" y="53"/>
                    <a:pt x="72" y="53"/>
                    <a:pt x="72" y="53"/>
                  </a:cubicBezTo>
                  <a:cubicBezTo>
                    <a:pt x="73" y="51"/>
                    <a:pt x="75" y="48"/>
                    <a:pt x="78" y="47"/>
                  </a:cubicBezTo>
                  <a:cubicBezTo>
                    <a:pt x="80" y="45"/>
                    <a:pt x="82" y="45"/>
                    <a:pt x="84" y="45"/>
                  </a:cubicBezTo>
                  <a:cubicBezTo>
                    <a:pt x="85" y="45"/>
                    <a:pt x="85" y="45"/>
                    <a:pt x="85" y="45"/>
                  </a:cubicBezTo>
                  <a:cubicBezTo>
                    <a:pt x="87" y="45"/>
                    <a:pt x="87" y="45"/>
                    <a:pt x="87" y="45"/>
                  </a:cubicBezTo>
                  <a:cubicBezTo>
                    <a:pt x="88" y="46"/>
                    <a:pt x="89" y="47"/>
                    <a:pt x="90" y="48"/>
                  </a:cubicBezTo>
                  <a:cubicBezTo>
                    <a:pt x="91" y="48"/>
                    <a:pt x="91" y="48"/>
                    <a:pt x="92" y="49"/>
                  </a:cubicBezTo>
                  <a:cubicBezTo>
                    <a:pt x="96" y="45"/>
                    <a:pt x="96" y="45"/>
                    <a:pt x="96" y="45"/>
                  </a:cubicBezTo>
                  <a:cubicBezTo>
                    <a:pt x="95" y="47"/>
                    <a:pt x="95" y="47"/>
                    <a:pt x="95" y="47"/>
                  </a:cubicBezTo>
                  <a:cubicBezTo>
                    <a:pt x="96" y="46"/>
                    <a:pt x="96" y="46"/>
                    <a:pt x="96" y="46"/>
                  </a:cubicBezTo>
                  <a:cubicBezTo>
                    <a:pt x="93" y="51"/>
                    <a:pt x="93" y="51"/>
                    <a:pt x="93" y="51"/>
                  </a:cubicBezTo>
                  <a:cubicBezTo>
                    <a:pt x="94" y="52"/>
                    <a:pt x="94" y="52"/>
                    <a:pt x="94" y="52"/>
                  </a:cubicBezTo>
                  <a:cubicBezTo>
                    <a:pt x="95" y="53"/>
                    <a:pt x="95" y="53"/>
                    <a:pt x="96" y="54"/>
                  </a:cubicBezTo>
                  <a:cubicBezTo>
                    <a:pt x="96" y="55"/>
                    <a:pt x="97" y="57"/>
                    <a:pt x="97" y="59"/>
                  </a:cubicBezTo>
                  <a:cubicBezTo>
                    <a:pt x="98" y="59"/>
                    <a:pt x="99" y="59"/>
                    <a:pt x="100" y="60"/>
                  </a:cubicBezTo>
                  <a:cubicBezTo>
                    <a:pt x="102" y="61"/>
                    <a:pt x="103" y="63"/>
                    <a:pt x="103" y="64"/>
                  </a:cubicBezTo>
                  <a:cubicBezTo>
                    <a:pt x="103" y="67"/>
                    <a:pt x="102" y="69"/>
                    <a:pt x="102" y="72"/>
                  </a:cubicBezTo>
                  <a:cubicBezTo>
                    <a:pt x="102" y="76"/>
                    <a:pt x="101" y="79"/>
                    <a:pt x="101" y="82"/>
                  </a:cubicBezTo>
                  <a:cubicBezTo>
                    <a:pt x="107" y="84"/>
                    <a:pt x="107" y="84"/>
                    <a:pt x="107" y="84"/>
                  </a:cubicBezTo>
                  <a:cubicBezTo>
                    <a:pt x="100" y="84"/>
                    <a:pt x="100" y="84"/>
                    <a:pt x="100" y="84"/>
                  </a:cubicBezTo>
                  <a:cubicBezTo>
                    <a:pt x="100" y="84"/>
                    <a:pt x="100" y="84"/>
                    <a:pt x="100" y="84"/>
                  </a:cubicBezTo>
                  <a:cubicBezTo>
                    <a:pt x="100" y="85"/>
                    <a:pt x="100" y="86"/>
                    <a:pt x="100" y="86"/>
                  </a:cubicBezTo>
                  <a:cubicBezTo>
                    <a:pt x="100" y="87"/>
                    <a:pt x="100" y="87"/>
                    <a:pt x="100" y="88"/>
                  </a:cubicBezTo>
                  <a:cubicBezTo>
                    <a:pt x="100" y="89"/>
                    <a:pt x="100" y="90"/>
                    <a:pt x="101" y="91"/>
                  </a:cubicBezTo>
                  <a:cubicBezTo>
                    <a:pt x="101" y="91"/>
                    <a:pt x="101" y="92"/>
                    <a:pt x="102" y="93"/>
                  </a:cubicBezTo>
                  <a:cubicBezTo>
                    <a:pt x="102" y="93"/>
                    <a:pt x="102" y="93"/>
                    <a:pt x="102" y="93"/>
                  </a:cubicBezTo>
                  <a:cubicBezTo>
                    <a:pt x="102" y="93"/>
                    <a:pt x="102" y="94"/>
                    <a:pt x="103" y="95"/>
                  </a:cubicBezTo>
                  <a:cubicBezTo>
                    <a:pt x="114" y="90"/>
                    <a:pt x="114" y="90"/>
                    <a:pt x="114" y="90"/>
                  </a:cubicBezTo>
                  <a:cubicBezTo>
                    <a:pt x="115" y="90"/>
                    <a:pt x="115" y="90"/>
                    <a:pt x="115" y="90"/>
                  </a:cubicBezTo>
                  <a:cubicBezTo>
                    <a:pt x="118" y="89"/>
                    <a:pt x="118" y="89"/>
                    <a:pt x="118" y="89"/>
                  </a:cubicBezTo>
                  <a:cubicBezTo>
                    <a:pt x="121" y="88"/>
                    <a:pt x="124" y="87"/>
                    <a:pt x="126" y="85"/>
                  </a:cubicBezTo>
                  <a:cubicBezTo>
                    <a:pt x="129" y="82"/>
                    <a:pt x="133" y="78"/>
                    <a:pt x="138" y="75"/>
                  </a:cubicBezTo>
                  <a:cubicBezTo>
                    <a:pt x="139" y="75"/>
                    <a:pt x="140" y="74"/>
                    <a:pt x="141" y="74"/>
                  </a:cubicBezTo>
                  <a:cubicBezTo>
                    <a:pt x="142" y="74"/>
                    <a:pt x="143" y="73"/>
                    <a:pt x="145" y="73"/>
                  </a:cubicBezTo>
                  <a:cubicBezTo>
                    <a:pt x="147" y="73"/>
                    <a:pt x="149" y="74"/>
                    <a:pt x="152" y="76"/>
                  </a:cubicBezTo>
                  <a:cubicBezTo>
                    <a:pt x="153" y="76"/>
                    <a:pt x="154" y="77"/>
                    <a:pt x="155" y="78"/>
                  </a:cubicBezTo>
                  <a:cubicBezTo>
                    <a:pt x="156" y="79"/>
                    <a:pt x="156" y="79"/>
                    <a:pt x="156" y="79"/>
                  </a:cubicBezTo>
                  <a:cubicBezTo>
                    <a:pt x="159" y="78"/>
                    <a:pt x="161" y="77"/>
                    <a:pt x="162" y="77"/>
                  </a:cubicBezTo>
                  <a:cubicBezTo>
                    <a:pt x="163" y="77"/>
                    <a:pt x="163" y="77"/>
                    <a:pt x="163" y="77"/>
                  </a:cubicBezTo>
                  <a:cubicBezTo>
                    <a:pt x="163" y="76"/>
                    <a:pt x="164" y="75"/>
                    <a:pt x="165" y="75"/>
                  </a:cubicBezTo>
                  <a:cubicBezTo>
                    <a:pt x="165" y="75"/>
                    <a:pt x="166" y="75"/>
                    <a:pt x="168" y="75"/>
                  </a:cubicBezTo>
                  <a:cubicBezTo>
                    <a:pt x="168" y="75"/>
                    <a:pt x="168" y="75"/>
                    <a:pt x="168" y="75"/>
                  </a:cubicBezTo>
                  <a:cubicBezTo>
                    <a:pt x="169" y="75"/>
                    <a:pt x="169" y="75"/>
                    <a:pt x="170" y="75"/>
                  </a:cubicBezTo>
                  <a:cubicBezTo>
                    <a:pt x="172" y="75"/>
                    <a:pt x="175" y="76"/>
                    <a:pt x="178" y="77"/>
                  </a:cubicBezTo>
                  <a:cubicBezTo>
                    <a:pt x="182" y="79"/>
                    <a:pt x="182" y="79"/>
                    <a:pt x="182" y="79"/>
                  </a:cubicBezTo>
                  <a:cubicBezTo>
                    <a:pt x="182" y="79"/>
                    <a:pt x="183" y="78"/>
                    <a:pt x="184" y="78"/>
                  </a:cubicBezTo>
                  <a:cubicBezTo>
                    <a:pt x="183" y="77"/>
                    <a:pt x="182" y="75"/>
                    <a:pt x="181" y="73"/>
                  </a:cubicBezTo>
                  <a:cubicBezTo>
                    <a:pt x="181" y="71"/>
                    <a:pt x="181" y="71"/>
                    <a:pt x="181" y="71"/>
                  </a:cubicBezTo>
                  <a:cubicBezTo>
                    <a:pt x="181" y="70"/>
                    <a:pt x="181" y="69"/>
                    <a:pt x="180" y="67"/>
                  </a:cubicBezTo>
                  <a:cubicBezTo>
                    <a:pt x="180" y="65"/>
                    <a:pt x="180" y="65"/>
                    <a:pt x="180" y="65"/>
                  </a:cubicBezTo>
                  <a:cubicBezTo>
                    <a:pt x="180" y="61"/>
                    <a:pt x="179" y="57"/>
                    <a:pt x="178" y="53"/>
                  </a:cubicBezTo>
                  <a:cubicBezTo>
                    <a:pt x="178" y="51"/>
                    <a:pt x="178" y="51"/>
                    <a:pt x="176" y="50"/>
                  </a:cubicBezTo>
                  <a:cubicBezTo>
                    <a:pt x="175" y="49"/>
                    <a:pt x="175" y="49"/>
                    <a:pt x="175" y="49"/>
                  </a:cubicBezTo>
                  <a:cubicBezTo>
                    <a:pt x="174" y="49"/>
                    <a:pt x="173" y="48"/>
                    <a:pt x="172" y="48"/>
                  </a:cubicBezTo>
                  <a:cubicBezTo>
                    <a:pt x="172" y="47"/>
                    <a:pt x="172" y="47"/>
                    <a:pt x="172" y="47"/>
                  </a:cubicBezTo>
                  <a:cubicBezTo>
                    <a:pt x="171" y="47"/>
                    <a:pt x="170" y="46"/>
                    <a:pt x="170" y="46"/>
                  </a:cubicBezTo>
                  <a:cubicBezTo>
                    <a:pt x="168" y="45"/>
                    <a:pt x="167" y="45"/>
                    <a:pt x="167" y="45"/>
                  </a:cubicBezTo>
                  <a:cubicBezTo>
                    <a:pt x="167" y="45"/>
                    <a:pt x="166" y="45"/>
                    <a:pt x="166" y="45"/>
                  </a:cubicBezTo>
                  <a:cubicBezTo>
                    <a:pt x="165" y="45"/>
                    <a:pt x="165" y="45"/>
                    <a:pt x="165" y="45"/>
                  </a:cubicBezTo>
                  <a:cubicBezTo>
                    <a:pt x="164" y="45"/>
                    <a:pt x="163" y="45"/>
                    <a:pt x="161" y="46"/>
                  </a:cubicBezTo>
                  <a:cubicBezTo>
                    <a:pt x="160" y="46"/>
                    <a:pt x="160" y="46"/>
                    <a:pt x="160" y="46"/>
                  </a:cubicBezTo>
                  <a:cubicBezTo>
                    <a:pt x="159" y="46"/>
                    <a:pt x="158" y="46"/>
                    <a:pt x="157" y="46"/>
                  </a:cubicBezTo>
                  <a:cubicBezTo>
                    <a:pt x="157" y="46"/>
                    <a:pt x="156" y="46"/>
                    <a:pt x="156" y="46"/>
                  </a:cubicBezTo>
                  <a:cubicBezTo>
                    <a:pt x="154" y="46"/>
                    <a:pt x="153" y="45"/>
                    <a:pt x="152" y="44"/>
                  </a:cubicBezTo>
                  <a:cubicBezTo>
                    <a:pt x="152" y="43"/>
                    <a:pt x="151" y="42"/>
                    <a:pt x="151" y="40"/>
                  </a:cubicBezTo>
                  <a:cubicBezTo>
                    <a:pt x="150" y="38"/>
                    <a:pt x="149" y="36"/>
                    <a:pt x="150" y="33"/>
                  </a:cubicBezTo>
                  <a:cubicBezTo>
                    <a:pt x="151" y="33"/>
                    <a:pt x="151" y="33"/>
                    <a:pt x="151" y="32"/>
                  </a:cubicBezTo>
                  <a:cubicBezTo>
                    <a:pt x="151" y="32"/>
                    <a:pt x="151" y="32"/>
                    <a:pt x="151" y="32"/>
                  </a:cubicBezTo>
                  <a:cubicBezTo>
                    <a:pt x="145" y="35"/>
                    <a:pt x="145" y="35"/>
                    <a:pt x="145" y="35"/>
                  </a:cubicBezTo>
                  <a:cubicBezTo>
                    <a:pt x="150" y="30"/>
                    <a:pt x="150" y="30"/>
                    <a:pt x="150" y="30"/>
                  </a:cubicBezTo>
                  <a:cubicBezTo>
                    <a:pt x="149" y="29"/>
                    <a:pt x="148" y="28"/>
                    <a:pt x="148" y="27"/>
                  </a:cubicBezTo>
                  <a:cubicBezTo>
                    <a:pt x="147" y="26"/>
                    <a:pt x="147" y="26"/>
                    <a:pt x="147" y="26"/>
                  </a:cubicBezTo>
                  <a:cubicBezTo>
                    <a:pt x="148" y="23"/>
                    <a:pt x="148" y="23"/>
                    <a:pt x="148" y="23"/>
                  </a:cubicBezTo>
                  <a:cubicBezTo>
                    <a:pt x="147" y="23"/>
                    <a:pt x="146" y="23"/>
                    <a:pt x="145" y="23"/>
                  </a:cubicBezTo>
                  <a:cubicBezTo>
                    <a:pt x="142" y="24"/>
                    <a:pt x="142" y="24"/>
                    <a:pt x="142" y="24"/>
                  </a:cubicBezTo>
                  <a:cubicBezTo>
                    <a:pt x="141" y="24"/>
                    <a:pt x="140" y="24"/>
                    <a:pt x="138" y="24"/>
                  </a:cubicBezTo>
                  <a:cubicBezTo>
                    <a:pt x="136" y="25"/>
                    <a:pt x="133" y="25"/>
                    <a:pt x="131" y="25"/>
                  </a:cubicBezTo>
                  <a:cubicBezTo>
                    <a:pt x="125" y="25"/>
                    <a:pt x="125" y="25"/>
                    <a:pt x="125" y="25"/>
                  </a:cubicBezTo>
                  <a:cubicBezTo>
                    <a:pt x="123" y="25"/>
                    <a:pt x="122" y="25"/>
                    <a:pt x="120" y="28"/>
                  </a:cubicBezTo>
                  <a:cubicBezTo>
                    <a:pt x="117" y="31"/>
                    <a:pt x="117" y="31"/>
                    <a:pt x="117" y="31"/>
                  </a:cubicBezTo>
                  <a:cubicBezTo>
                    <a:pt x="115" y="29"/>
                    <a:pt x="115" y="29"/>
                    <a:pt x="115" y="29"/>
                  </a:cubicBezTo>
                  <a:cubicBezTo>
                    <a:pt x="114" y="28"/>
                    <a:pt x="110" y="28"/>
                    <a:pt x="109" y="27"/>
                  </a:cubicBezTo>
                  <a:cubicBezTo>
                    <a:pt x="108" y="27"/>
                    <a:pt x="108" y="27"/>
                    <a:pt x="108" y="27"/>
                  </a:cubicBezTo>
                  <a:cubicBezTo>
                    <a:pt x="104" y="27"/>
                    <a:pt x="104" y="27"/>
                    <a:pt x="104" y="27"/>
                  </a:cubicBezTo>
                  <a:cubicBezTo>
                    <a:pt x="104" y="27"/>
                    <a:pt x="104" y="27"/>
                    <a:pt x="104" y="27"/>
                  </a:cubicBezTo>
                  <a:cubicBezTo>
                    <a:pt x="102" y="25"/>
                    <a:pt x="102" y="23"/>
                    <a:pt x="102" y="22"/>
                  </a:cubicBezTo>
                  <a:cubicBezTo>
                    <a:pt x="101" y="22"/>
                    <a:pt x="101" y="22"/>
                    <a:pt x="101" y="22"/>
                  </a:cubicBezTo>
                  <a:cubicBezTo>
                    <a:pt x="101" y="22"/>
                    <a:pt x="101" y="22"/>
                    <a:pt x="101" y="22"/>
                  </a:cubicBezTo>
                  <a:cubicBezTo>
                    <a:pt x="100" y="22"/>
                    <a:pt x="100" y="22"/>
                    <a:pt x="100" y="22"/>
                  </a:cubicBezTo>
                  <a:cubicBezTo>
                    <a:pt x="99" y="22"/>
                    <a:pt x="99" y="22"/>
                    <a:pt x="99" y="22"/>
                  </a:cubicBezTo>
                  <a:cubicBezTo>
                    <a:pt x="98" y="21"/>
                    <a:pt x="97" y="21"/>
                    <a:pt x="97" y="20"/>
                  </a:cubicBezTo>
                  <a:cubicBezTo>
                    <a:pt x="96" y="20"/>
                    <a:pt x="96" y="20"/>
                    <a:pt x="96" y="20"/>
                  </a:cubicBezTo>
                  <a:cubicBezTo>
                    <a:pt x="93" y="22"/>
                    <a:pt x="90" y="23"/>
                    <a:pt x="87" y="23"/>
                  </a:cubicBezTo>
                  <a:cubicBezTo>
                    <a:pt x="87" y="23"/>
                    <a:pt x="87" y="23"/>
                    <a:pt x="86" y="23"/>
                  </a:cubicBezTo>
                  <a:cubicBezTo>
                    <a:pt x="86" y="23"/>
                    <a:pt x="86" y="23"/>
                    <a:pt x="86" y="23"/>
                  </a:cubicBezTo>
                  <a:cubicBezTo>
                    <a:pt x="86" y="23"/>
                    <a:pt x="86" y="23"/>
                    <a:pt x="86" y="23"/>
                  </a:cubicBezTo>
                  <a:cubicBezTo>
                    <a:pt x="86" y="23"/>
                    <a:pt x="86" y="23"/>
                    <a:pt x="86" y="23"/>
                  </a:cubicBezTo>
                  <a:cubicBezTo>
                    <a:pt x="85" y="23"/>
                    <a:pt x="85" y="23"/>
                    <a:pt x="85" y="23"/>
                  </a:cubicBezTo>
                  <a:cubicBezTo>
                    <a:pt x="81" y="22"/>
                    <a:pt x="77" y="21"/>
                    <a:pt x="72" y="20"/>
                  </a:cubicBezTo>
                  <a:cubicBezTo>
                    <a:pt x="69" y="20"/>
                    <a:pt x="65" y="19"/>
                    <a:pt x="61" y="19"/>
                  </a:cubicBezTo>
                  <a:cubicBezTo>
                    <a:pt x="56" y="19"/>
                    <a:pt x="51" y="20"/>
                    <a:pt x="45" y="20"/>
                  </a:cubicBezTo>
                  <a:cubicBezTo>
                    <a:pt x="41" y="20"/>
                    <a:pt x="41" y="20"/>
                    <a:pt x="41" y="20"/>
                  </a:cubicBezTo>
                  <a:cubicBezTo>
                    <a:pt x="41" y="17"/>
                    <a:pt x="41" y="17"/>
                    <a:pt x="41" y="17"/>
                  </a:cubicBezTo>
                  <a:cubicBezTo>
                    <a:pt x="41" y="14"/>
                    <a:pt x="41" y="11"/>
                    <a:pt x="41" y="8"/>
                  </a:cubicBezTo>
                  <a:cubicBezTo>
                    <a:pt x="42" y="1"/>
                    <a:pt x="42" y="1"/>
                    <a:pt x="42" y="1"/>
                  </a:cubicBezTo>
                  <a:cubicBezTo>
                    <a:pt x="41" y="1"/>
                    <a:pt x="41" y="1"/>
                    <a:pt x="41" y="1"/>
                  </a:cubicBezTo>
                  <a:cubicBezTo>
                    <a:pt x="41" y="1"/>
                    <a:pt x="40" y="1"/>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510"/>
            <p:cNvSpPr/>
            <p:nvPr/>
          </p:nvSpPr>
          <p:spPr bwMode="auto">
            <a:xfrm>
              <a:off x="3906056" y="3406167"/>
              <a:ext cx="612465" cy="323693"/>
            </a:xfrm>
            <a:custGeom>
              <a:gdLst>
                <a:gd name="T0" fmla="*/ 32 w 193"/>
                <a:gd name="T1" fmla="*/ 1 h 102"/>
                <a:gd name="T2" fmla="*/ 28 w 193"/>
                <a:gd name="T3" fmla="*/ 9 h 102"/>
                <a:gd name="T4" fmla="*/ 19 w 193"/>
                <a:gd name="T5" fmla="*/ 9 h 102"/>
                <a:gd name="T6" fmla="*/ 5 w 193"/>
                <a:gd name="T7" fmla="*/ 23 h 102"/>
                <a:gd name="T8" fmla="*/ 5 w 193"/>
                <a:gd name="T9" fmla="*/ 28 h 102"/>
                <a:gd name="T10" fmla="*/ 0 w 193"/>
                <a:gd name="T11" fmla="*/ 39 h 102"/>
                <a:gd name="T12" fmla="*/ 9 w 193"/>
                <a:gd name="T13" fmla="*/ 42 h 102"/>
                <a:gd name="T14" fmla="*/ 26 w 193"/>
                <a:gd name="T15" fmla="*/ 52 h 102"/>
                <a:gd name="T16" fmla="*/ 32 w 193"/>
                <a:gd name="T17" fmla="*/ 57 h 102"/>
                <a:gd name="T18" fmla="*/ 38 w 193"/>
                <a:gd name="T19" fmla="*/ 61 h 102"/>
                <a:gd name="T20" fmla="*/ 44 w 193"/>
                <a:gd name="T21" fmla="*/ 62 h 102"/>
                <a:gd name="T22" fmla="*/ 52 w 193"/>
                <a:gd name="T23" fmla="*/ 64 h 102"/>
                <a:gd name="T24" fmla="*/ 64 w 193"/>
                <a:gd name="T25" fmla="*/ 70 h 102"/>
                <a:gd name="T26" fmla="*/ 71 w 193"/>
                <a:gd name="T27" fmla="*/ 74 h 102"/>
                <a:gd name="T28" fmla="*/ 80 w 193"/>
                <a:gd name="T29" fmla="*/ 74 h 102"/>
                <a:gd name="T30" fmla="*/ 82 w 193"/>
                <a:gd name="T31" fmla="*/ 73 h 102"/>
                <a:gd name="T32" fmla="*/ 91 w 193"/>
                <a:gd name="T33" fmla="*/ 74 h 102"/>
                <a:gd name="T34" fmla="*/ 100 w 193"/>
                <a:gd name="T35" fmla="*/ 73 h 102"/>
                <a:gd name="T36" fmla="*/ 108 w 193"/>
                <a:gd name="T37" fmla="*/ 77 h 102"/>
                <a:gd name="T38" fmla="*/ 112 w 193"/>
                <a:gd name="T39" fmla="*/ 85 h 102"/>
                <a:gd name="T40" fmla="*/ 122 w 193"/>
                <a:gd name="T41" fmla="*/ 89 h 102"/>
                <a:gd name="T42" fmla="*/ 125 w 193"/>
                <a:gd name="T43" fmla="*/ 91 h 102"/>
                <a:gd name="T44" fmla="*/ 127 w 193"/>
                <a:gd name="T45" fmla="*/ 92 h 102"/>
                <a:gd name="T46" fmla="*/ 133 w 193"/>
                <a:gd name="T47" fmla="*/ 90 h 102"/>
                <a:gd name="T48" fmla="*/ 137 w 193"/>
                <a:gd name="T49" fmla="*/ 92 h 102"/>
                <a:gd name="T50" fmla="*/ 140 w 193"/>
                <a:gd name="T51" fmla="*/ 97 h 102"/>
                <a:gd name="T52" fmla="*/ 145 w 193"/>
                <a:gd name="T53" fmla="*/ 96 h 102"/>
                <a:gd name="T54" fmla="*/ 153 w 193"/>
                <a:gd name="T55" fmla="*/ 97 h 102"/>
                <a:gd name="T56" fmla="*/ 164 w 193"/>
                <a:gd name="T57" fmla="*/ 99 h 102"/>
                <a:gd name="T58" fmla="*/ 170 w 193"/>
                <a:gd name="T59" fmla="*/ 98 h 102"/>
                <a:gd name="T60" fmla="*/ 172 w 193"/>
                <a:gd name="T61" fmla="*/ 101 h 102"/>
                <a:gd name="T62" fmla="*/ 182 w 193"/>
                <a:gd name="T63" fmla="*/ 102 h 102"/>
                <a:gd name="T64" fmla="*/ 188 w 193"/>
                <a:gd name="T65" fmla="*/ 102 h 102"/>
                <a:gd name="T66" fmla="*/ 190 w 193"/>
                <a:gd name="T67" fmla="*/ 102 h 102"/>
                <a:gd name="T68" fmla="*/ 193 w 193"/>
                <a:gd name="T69" fmla="*/ 95 h 102"/>
                <a:gd name="T70" fmla="*/ 189 w 193"/>
                <a:gd name="T71" fmla="*/ 87 h 102"/>
                <a:gd name="T72" fmla="*/ 186 w 193"/>
                <a:gd name="T73" fmla="*/ 69 h 102"/>
                <a:gd name="T74" fmla="*/ 160 w 193"/>
                <a:gd name="T75" fmla="*/ 63 h 102"/>
                <a:gd name="T76" fmla="*/ 153 w 193"/>
                <a:gd name="T77" fmla="*/ 66 h 102"/>
                <a:gd name="T78" fmla="*/ 144 w 193"/>
                <a:gd name="T79" fmla="*/ 71 h 102"/>
                <a:gd name="T80" fmla="*/ 134 w 193"/>
                <a:gd name="T81" fmla="*/ 58 h 102"/>
                <a:gd name="T82" fmla="*/ 128 w 193"/>
                <a:gd name="T83" fmla="*/ 57 h 102"/>
                <a:gd name="T84" fmla="*/ 122 w 193"/>
                <a:gd name="T85" fmla="*/ 57 h 102"/>
                <a:gd name="T86" fmla="*/ 114 w 193"/>
                <a:gd name="T87" fmla="*/ 50 h 102"/>
                <a:gd name="T88" fmla="*/ 104 w 193"/>
                <a:gd name="T89" fmla="*/ 46 h 102"/>
                <a:gd name="T90" fmla="*/ 96 w 193"/>
                <a:gd name="T91" fmla="*/ 36 h 102"/>
                <a:gd name="T92" fmla="*/ 88 w 193"/>
                <a:gd name="T93" fmla="*/ 33 h 102"/>
                <a:gd name="T94" fmla="*/ 79 w 193"/>
                <a:gd name="T95" fmla="*/ 30 h 102"/>
                <a:gd name="T96" fmla="*/ 75 w 193"/>
                <a:gd name="T97" fmla="*/ 25 h 102"/>
                <a:gd name="T98" fmla="*/ 72 w 193"/>
                <a:gd name="T99" fmla="*/ 22 h 102"/>
                <a:gd name="T100" fmla="*/ 69 w 193"/>
                <a:gd name="T101" fmla="*/ 21 h 102"/>
                <a:gd name="T102" fmla="*/ 57 w 193"/>
                <a:gd name="T103" fmla="*/ 14 h 102"/>
                <a:gd name="T104" fmla="*/ 46 w 193"/>
                <a:gd name="T105" fmla="*/ 8 h 102"/>
                <a:gd name="T106" fmla="*/ 35 w 193"/>
                <a:gd name="T107" fmla="*/ 1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3" h="102">
                  <a:moveTo>
                    <a:pt x="34" y="0"/>
                  </a:moveTo>
                  <a:cubicBezTo>
                    <a:pt x="33" y="0"/>
                    <a:pt x="33" y="1"/>
                    <a:pt x="33" y="1"/>
                  </a:cubicBezTo>
                  <a:cubicBezTo>
                    <a:pt x="32" y="1"/>
                    <a:pt x="32" y="1"/>
                    <a:pt x="32" y="1"/>
                  </a:cubicBezTo>
                  <a:cubicBezTo>
                    <a:pt x="32" y="1"/>
                    <a:pt x="32" y="1"/>
                    <a:pt x="32" y="1"/>
                  </a:cubicBezTo>
                  <a:cubicBezTo>
                    <a:pt x="32" y="1"/>
                    <a:pt x="32" y="1"/>
                    <a:pt x="32" y="1"/>
                  </a:cubicBezTo>
                  <a:cubicBezTo>
                    <a:pt x="32" y="2"/>
                    <a:pt x="32" y="2"/>
                    <a:pt x="32" y="2"/>
                  </a:cubicBezTo>
                  <a:cubicBezTo>
                    <a:pt x="30" y="4"/>
                    <a:pt x="30" y="5"/>
                    <a:pt x="29" y="7"/>
                  </a:cubicBezTo>
                  <a:cubicBezTo>
                    <a:pt x="28" y="9"/>
                    <a:pt x="28" y="9"/>
                    <a:pt x="28" y="9"/>
                  </a:cubicBezTo>
                  <a:cubicBezTo>
                    <a:pt x="27" y="10"/>
                    <a:pt x="27" y="10"/>
                    <a:pt x="27" y="10"/>
                  </a:cubicBezTo>
                  <a:cubicBezTo>
                    <a:pt x="25" y="10"/>
                    <a:pt x="24" y="10"/>
                    <a:pt x="23" y="10"/>
                  </a:cubicBezTo>
                  <a:cubicBezTo>
                    <a:pt x="22" y="10"/>
                    <a:pt x="21" y="10"/>
                    <a:pt x="20" y="10"/>
                  </a:cubicBezTo>
                  <a:cubicBezTo>
                    <a:pt x="19" y="9"/>
                    <a:pt x="19" y="9"/>
                    <a:pt x="19" y="9"/>
                  </a:cubicBezTo>
                  <a:cubicBezTo>
                    <a:pt x="19" y="9"/>
                    <a:pt x="19" y="9"/>
                    <a:pt x="19" y="9"/>
                  </a:cubicBezTo>
                  <a:cubicBezTo>
                    <a:pt x="7" y="20"/>
                    <a:pt x="7" y="20"/>
                    <a:pt x="7" y="20"/>
                  </a:cubicBezTo>
                  <a:cubicBezTo>
                    <a:pt x="7" y="21"/>
                    <a:pt x="7" y="21"/>
                    <a:pt x="7" y="21"/>
                  </a:cubicBezTo>
                  <a:cubicBezTo>
                    <a:pt x="6" y="22"/>
                    <a:pt x="6" y="22"/>
                    <a:pt x="5" y="23"/>
                  </a:cubicBezTo>
                  <a:cubicBezTo>
                    <a:pt x="4" y="24"/>
                    <a:pt x="4" y="24"/>
                    <a:pt x="4" y="24"/>
                  </a:cubicBezTo>
                  <a:cubicBezTo>
                    <a:pt x="4" y="24"/>
                    <a:pt x="4" y="24"/>
                    <a:pt x="4" y="24"/>
                  </a:cubicBezTo>
                  <a:cubicBezTo>
                    <a:pt x="4" y="24"/>
                    <a:pt x="4" y="24"/>
                    <a:pt x="4" y="24"/>
                  </a:cubicBezTo>
                  <a:cubicBezTo>
                    <a:pt x="5" y="25"/>
                    <a:pt x="5" y="26"/>
                    <a:pt x="5" y="28"/>
                  </a:cubicBezTo>
                  <a:cubicBezTo>
                    <a:pt x="5" y="29"/>
                    <a:pt x="4" y="30"/>
                    <a:pt x="3" y="32"/>
                  </a:cubicBezTo>
                  <a:cubicBezTo>
                    <a:pt x="2" y="33"/>
                    <a:pt x="2" y="33"/>
                    <a:pt x="2" y="33"/>
                  </a:cubicBezTo>
                  <a:cubicBezTo>
                    <a:pt x="1" y="34"/>
                    <a:pt x="1" y="35"/>
                    <a:pt x="0" y="36"/>
                  </a:cubicBezTo>
                  <a:cubicBezTo>
                    <a:pt x="0" y="37"/>
                    <a:pt x="0" y="38"/>
                    <a:pt x="0" y="39"/>
                  </a:cubicBezTo>
                  <a:cubicBezTo>
                    <a:pt x="0" y="39"/>
                    <a:pt x="0" y="40"/>
                    <a:pt x="1" y="41"/>
                  </a:cubicBezTo>
                  <a:cubicBezTo>
                    <a:pt x="2" y="41"/>
                    <a:pt x="3" y="42"/>
                    <a:pt x="5" y="43"/>
                  </a:cubicBezTo>
                  <a:cubicBezTo>
                    <a:pt x="5" y="38"/>
                    <a:pt x="5" y="38"/>
                    <a:pt x="5" y="38"/>
                  </a:cubicBezTo>
                  <a:cubicBezTo>
                    <a:pt x="9" y="42"/>
                    <a:pt x="9" y="42"/>
                    <a:pt x="9" y="42"/>
                  </a:cubicBezTo>
                  <a:cubicBezTo>
                    <a:pt x="11" y="42"/>
                    <a:pt x="13" y="43"/>
                    <a:pt x="14" y="44"/>
                  </a:cubicBezTo>
                  <a:cubicBezTo>
                    <a:pt x="15" y="45"/>
                    <a:pt x="15" y="45"/>
                    <a:pt x="15" y="45"/>
                  </a:cubicBezTo>
                  <a:cubicBezTo>
                    <a:pt x="17" y="46"/>
                    <a:pt x="20" y="47"/>
                    <a:pt x="22" y="48"/>
                  </a:cubicBezTo>
                  <a:cubicBezTo>
                    <a:pt x="23" y="49"/>
                    <a:pt x="25" y="50"/>
                    <a:pt x="26" y="52"/>
                  </a:cubicBezTo>
                  <a:cubicBezTo>
                    <a:pt x="29" y="49"/>
                    <a:pt x="29" y="49"/>
                    <a:pt x="29" y="49"/>
                  </a:cubicBezTo>
                  <a:cubicBezTo>
                    <a:pt x="27" y="52"/>
                    <a:pt x="27" y="52"/>
                    <a:pt x="27" y="52"/>
                  </a:cubicBezTo>
                  <a:cubicBezTo>
                    <a:pt x="28" y="53"/>
                    <a:pt x="28" y="53"/>
                    <a:pt x="28" y="53"/>
                  </a:cubicBezTo>
                  <a:cubicBezTo>
                    <a:pt x="29" y="54"/>
                    <a:pt x="31" y="56"/>
                    <a:pt x="32" y="57"/>
                  </a:cubicBezTo>
                  <a:cubicBezTo>
                    <a:pt x="33" y="58"/>
                    <a:pt x="33" y="58"/>
                    <a:pt x="33" y="58"/>
                  </a:cubicBezTo>
                  <a:cubicBezTo>
                    <a:pt x="33" y="58"/>
                    <a:pt x="34" y="58"/>
                    <a:pt x="34" y="59"/>
                  </a:cubicBezTo>
                  <a:cubicBezTo>
                    <a:pt x="35" y="59"/>
                    <a:pt x="35" y="59"/>
                    <a:pt x="36" y="60"/>
                  </a:cubicBezTo>
                  <a:cubicBezTo>
                    <a:pt x="38" y="61"/>
                    <a:pt x="38" y="61"/>
                    <a:pt x="38" y="61"/>
                  </a:cubicBezTo>
                  <a:cubicBezTo>
                    <a:pt x="39" y="62"/>
                    <a:pt x="40" y="63"/>
                    <a:pt x="41" y="63"/>
                  </a:cubicBezTo>
                  <a:cubicBezTo>
                    <a:pt x="41" y="63"/>
                    <a:pt x="41" y="63"/>
                    <a:pt x="41" y="63"/>
                  </a:cubicBezTo>
                  <a:cubicBezTo>
                    <a:pt x="41" y="63"/>
                    <a:pt x="41" y="63"/>
                    <a:pt x="41" y="63"/>
                  </a:cubicBezTo>
                  <a:cubicBezTo>
                    <a:pt x="42" y="62"/>
                    <a:pt x="43" y="62"/>
                    <a:pt x="44" y="62"/>
                  </a:cubicBezTo>
                  <a:cubicBezTo>
                    <a:pt x="45" y="62"/>
                    <a:pt x="45" y="62"/>
                    <a:pt x="45" y="62"/>
                  </a:cubicBezTo>
                  <a:cubicBezTo>
                    <a:pt x="45" y="62"/>
                    <a:pt x="45" y="62"/>
                    <a:pt x="45" y="62"/>
                  </a:cubicBezTo>
                  <a:cubicBezTo>
                    <a:pt x="46" y="62"/>
                    <a:pt x="46" y="62"/>
                    <a:pt x="47" y="62"/>
                  </a:cubicBezTo>
                  <a:cubicBezTo>
                    <a:pt x="49" y="63"/>
                    <a:pt x="50" y="64"/>
                    <a:pt x="52" y="64"/>
                  </a:cubicBezTo>
                  <a:cubicBezTo>
                    <a:pt x="62" y="68"/>
                    <a:pt x="62" y="68"/>
                    <a:pt x="62" y="68"/>
                  </a:cubicBezTo>
                  <a:cubicBezTo>
                    <a:pt x="63" y="68"/>
                    <a:pt x="63" y="68"/>
                    <a:pt x="63" y="68"/>
                  </a:cubicBezTo>
                  <a:cubicBezTo>
                    <a:pt x="63" y="69"/>
                    <a:pt x="63" y="69"/>
                    <a:pt x="63" y="69"/>
                  </a:cubicBezTo>
                  <a:cubicBezTo>
                    <a:pt x="64" y="70"/>
                    <a:pt x="64" y="70"/>
                    <a:pt x="64" y="70"/>
                  </a:cubicBezTo>
                  <a:cubicBezTo>
                    <a:pt x="64" y="70"/>
                    <a:pt x="64" y="71"/>
                    <a:pt x="65" y="72"/>
                  </a:cubicBezTo>
                  <a:cubicBezTo>
                    <a:pt x="65" y="73"/>
                    <a:pt x="65" y="73"/>
                    <a:pt x="65" y="73"/>
                  </a:cubicBezTo>
                  <a:cubicBezTo>
                    <a:pt x="66" y="73"/>
                    <a:pt x="66" y="73"/>
                    <a:pt x="67" y="73"/>
                  </a:cubicBezTo>
                  <a:cubicBezTo>
                    <a:pt x="68" y="74"/>
                    <a:pt x="70" y="74"/>
                    <a:pt x="71" y="74"/>
                  </a:cubicBezTo>
                  <a:cubicBezTo>
                    <a:pt x="73" y="75"/>
                    <a:pt x="75" y="75"/>
                    <a:pt x="76" y="76"/>
                  </a:cubicBezTo>
                  <a:cubicBezTo>
                    <a:pt x="78" y="75"/>
                    <a:pt x="78" y="75"/>
                    <a:pt x="78" y="75"/>
                  </a:cubicBezTo>
                  <a:cubicBezTo>
                    <a:pt x="79" y="75"/>
                    <a:pt x="79" y="74"/>
                    <a:pt x="79" y="74"/>
                  </a:cubicBezTo>
                  <a:cubicBezTo>
                    <a:pt x="80" y="74"/>
                    <a:pt x="80" y="74"/>
                    <a:pt x="80" y="74"/>
                  </a:cubicBezTo>
                  <a:cubicBezTo>
                    <a:pt x="81" y="73"/>
                    <a:pt x="81" y="73"/>
                    <a:pt x="81" y="73"/>
                  </a:cubicBezTo>
                  <a:cubicBezTo>
                    <a:pt x="81" y="73"/>
                    <a:pt x="81" y="73"/>
                    <a:pt x="82" y="73"/>
                  </a:cubicBezTo>
                  <a:cubicBezTo>
                    <a:pt x="82" y="73"/>
                    <a:pt x="82" y="73"/>
                    <a:pt x="82" y="73"/>
                  </a:cubicBezTo>
                  <a:cubicBezTo>
                    <a:pt x="82" y="73"/>
                    <a:pt x="82" y="73"/>
                    <a:pt x="82" y="73"/>
                  </a:cubicBezTo>
                  <a:cubicBezTo>
                    <a:pt x="83" y="74"/>
                    <a:pt x="83" y="74"/>
                    <a:pt x="83" y="74"/>
                  </a:cubicBezTo>
                  <a:cubicBezTo>
                    <a:pt x="88" y="76"/>
                    <a:pt x="88" y="76"/>
                    <a:pt x="88" y="76"/>
                  </a:cubicBezTo>
                  <a:cubicBezTo>
                    <a:pt x="89" y="75"/>
                    <a:pt x="89" y="75"/>
                    <a:pt x="89" y="75"/>
                  </a:cubicBezTo>
                  <a:cubicBezTo>
                    <a:pt x="89" y="75"/>
                    <a:pt x="90" y="74"/>
                    <a:pt x="91" y="74"/>
                  </a:cubicBezTo>
                  <a:cubicBezTo>
                    <a:pt x="90" y="69"/>
                    <a:pt x="90" y="69"/>
                    <a:pt x="90" y="69"/>
                  </a:cubicBezTo>
                  <a:cubicBezTo>
                    <a:pt x="92" y="73"/>
                    <a:pt x="92" y="73"/>
                    <a:pt x="92" y="73"/>
                  </a:cubicBezTo>
                  <a:cubicBezTo>
                    <a:pt x="94" y="73"/>
                    <a:pt x="95" y="72"/>
                    <a:pt x="96" y="72"/>
                  </a:cubicBezTo>
                  <a:cubicBezTo>
                    <a:pt x="97" y="72"/>
                    <a:pt x="99" y="73"/>
                    <a:pt x="100" y="73"/>
                  </a:cubicBezTo>
                  <a:cubicBezTo>
                    <a:pt x="100" y="73"/>
                    <a:pt x="100" y="73"/>
                    <a:pt x="100" y="73"/>
                  </a:cubicBezTo>
                  <a:cubicBezTo>
                    <a:pt x="101" y="73"/>
                    <a:pt x="101" y="73"/>
                    <a:pt x="101" y="73"/>
                  </a:cubicBezTo>
                  <a:cubicBezTo>
                    <a:pt x="102" y="74"/>
                    <a:pt x="102" y="74"/>
                    <a:pt x="102" y="74"/>
                  </a:cubicBezTo>
                  <a:cubicBezTo>
                    <a:pt x="104" y="75"/>
                    <a:pt x="106" y="75"/>
                    <a:pt x="108" y="77"/>
                  </a:cubicBezTo>
                  <a:cubicBezTo>
                    <a:pt x="109" y="77"/>
                    <a:pt x="111" y="78"/>
                    <a:pt x="111" y="81"/>
                  </a:cubicBezTo>
                  <a:cubicBezTo>
                    <a:pt x="111" y="81"/>
                    <a:pt x="111" y="82"/>
                    <a:pt x="111" y="82"/>
                  </a:cubicBezTo>
                  <a:cubicBezTo>
                    <a:pt x="111" y="83"/>
                    <a:pt x="111" y="84"/>
                    <a:pt x="112" y="84"/>
                  </a:cubicBezTo>
                  <a:cubicBezTo>
                    <a:pt x="112" y="85"/>
                    <a:pt x="112" y="85"/>
                    <a:pt x="112" y="85"/>
                  </a:cubicBezTo>
                  <a:cubicBezTo>
                    <a:pt x="112" y="85"/>
                    <a:pt x="112" y="85"/>
                    <a:pt x="113" y="86"/>
                  </a:cubicBezTo>
                  <a:cubicBezTo>
                    <a:pt x="113" y="86"/>
                    <a:pt x="114" y="86"/>
                    <a:pt x="115" y="86"/>
                  </a:cubicBezTo>
                  <a:cubicBezTo>
                    <a:pt x="116" y="87"/>
                    <a:pt x="116" y="87"/>
                    <a:pt x="116" y="87"/>
                  </a:cubicBezTo>
                  <a:cubicBezTo>
                    <a:pt x="118" y="87"/>
                    <a:pt x="120" y="88"/>
                    <a:pt x="122" y="89"/>
                  </a:cubicBezTo>
                  <a:cubicBezTo>
                    <a:pt x="126" y="83"/>
                    <a:pt x="126" y="83"/>
                    <a:pt x="126" y="83"/>
                  </a:cubicBezTo>
                  <a:cubicBezTo>
                    <a:pt x="123" y="90"/>
                    <a:pt x="123" y="90"/>
                    <a:pt x="123" y="90"/>
                  </a:cubicBezTo>
                  <a:cubicBezTo>
                    <a:pt x="123" y="90"/>
                    <a:pt x="123" y="90"/>
                    <a:pt x="123" y="90"/>
                  </a:cubicBezTo>
                  <a:cubicBezTo>
                    <a:pt x="124" y="91"/>
                    <a:pt x="125" y="91"/>
                    <a:pt x="125" y="91"/>
                  </a:cubicBezTo>
                  <a:cubicBezTo>
                    <a:pt x="126" y="92"/>
                    <a:pt x="126" y="92"/>
                    <a:pt x="126" y="92"/>
                  </a:cubicBezTo>
                  <a:cubicBezTo>
                    <a:pt x="126" y="92"/>
                    <a:pt x="126" y="92"/>
                    <a:pt x="126" y="92"/>
                  </a:cubicBezTo>
                  <a:cubicBezTo>
                    <a:pt x="126" y="92"/>
                    <a:pt x="126" y="92"/>
                    <a:pt x="126" y="92"/>
                  </a:cubicBezTo>
                  <a:cubicBezTo>
                    <a:pt x="126" y="92"/>
                    <a:pt x="127" y="92"/>
                    <a:pt x="127" y="92"/>
                  </a:cubicBezTo>
                  <a:cubicBezTo>
                    <a:pt x="128" y="92"/>
                    <a:pt x="128" y="92"/>
                    <a:pt x="128" y="92"/>
                  </a:cubicBezTo>
                  <a:cubicBezTo>
                    <a:pt x="129" y="91"/>
                    <a:pt x="130" y="91"/>
                    <a:pt x="131" y="91"/>
                  </a:cubicBezTo>
                  <a:cubicBezTo>
                    <a:pt x="132" y="90"/>
                    <a:pt x="132" y="90"/>
                    <a:pt x="132" y="90"/>
                  </a:cubicBezTo>
                  <a:cubicBezTo>
                    <a:pt x="132" y="90"/>
                    <a:pt x="133" y="90"/>
                    <a:pt x="133" y="90"/>
                  </a:cubicBezTo>
                  <a:cubicBezTo>
                    <a:pt x="134" y="90"/>
                    <a:pt x="134" y="90"/>
                    <a:pt x="134" y="90"/>
                  </a:cubicBezTo>
                  <a:cubicBezTo>
                    <a:pt x="135" y="90"/>
                    <a:pt x="135" y="90"/>
                    <a:pt x="135" y="90"/>
                  </a:cubicBezTo>
                  <a:cubicBezTo>
                    <a:pt x="136" y="91"/>
                    <a:pt x="136" y="91"/>
                    <a:pt x="136" y="91"/>
                  </a:cubicBezTo>
                  <a:cubicBezTo>
                    <a:pt x="137" y="92"/>
                    <a:pt x="137" y="92"/>
                    <a:pt x="137" y="92"/>
                  </a:cubicBezTo>
                  <a:cubicBezTo>
                    <a:pt x="137" y="92"/>
                    <a:pt x="137" y="92"/>
                    <a:pt x="137" y="92"/>
                  </a:cubicBezTo>
                  <a:cubicBezTo>
                    <a:pt x="137" y="93"/>
                    <a:pt x="137" y="93"/>
                    <a:pt x="137" y="93"/>
                  </a:cubicBezTo>
                  <a:cubicBezTo>
                    <a:pt x="138" y="94"/>
                    <a:pt x="139" y="94"/>
                    <a:pt x="139" y="95"/>
                  </a:cubicBezTo>
                  <a:cubicBezTo>
                    <a:pt x="140" y="96"/>
                    <a:pt x="140" y="96"/>
                    <a:pt x="140" y="97"/>
                  </a:cubicBezTo>
                  <a:cubicBezTo>
                    <a:pt x="140" y="97"/>
                    <a:pt x="141" y="97"/>
                    <a:pt x="141" y="97"/>
                  </a:cubicBezTo>
                  <a:cubicBezTo>
                    <a:pt x="142" y="97"/>
                    <a:pt x="142" y="97"/>
                    <a:pt x="142" y="97"/>
                  </a:cubicBezTo>
                  <a:cubicBezTo>
                    <a:pt x="144" y="97"/>
                    <a:pt x="144" y="97"/>
                    <a:pt x="144" y="97"/>
                  </a:cubicBezTo>
                  <a:cubicBezTo>
                    <a:pt x="144" y="96"/>
                    <a:pt x="145" y="96"/>
                    <a:pt x="145" y="96"/>
                  </a:cubicBezTo>
                  <a:cubicBezTo>
                    <a:pt x="146" y="96"/>
                    <a:pt x="146" y="96"/>
                    <a:pt x="146" y="96"/>
                  </a:cubicBezTo>
                  <a:cubicBezTo>
                    <a:pt x="147" y="96"/>
                    <a:pt x="148" y="96"/>
                    <a:pt x="149" y="97"/>
                  </a:cubicBezTo>
                  <a:cubicBezTo>
                    <a:pt x="150" y="97"/>
                    <a:pt x="150" y="97"/>
                    <a:pt x="150" y="97"/>
                  </a:cubicBezTo>
                  <a:cubicBezTo>
                    <a:pt x="151" y="97"/>
                    <a:pt x="152" y="97"/>
                    <a:pt x="153" y="97"/>
                  </a:cubicBezTo>
                  <a:cubicBezTo>
                    <a:pt x="154" y="98"/>
                    <a:pt x="155" y="98"/>
                    <a:pt x="156" y="99"/>
                  </a:cubicBezTo>
                  <a:cubicBezTo>
                    <a:pt x="160" y="100"/>
                    <a:pt x="160" y="100"/>
                    <a:pt x="160" y="100"/>
                  </a:cubicBezTo>
                  <a:cubicBezTo>
                    <a:pt x="161" y="100"/>
                    <a:pt x="162" y="100"/>
                    <a:pt x="163" y="99"/>
                  </a:cubicBezTo>
                  <a:cubicBezTo>
                    <a:pt x="164" y="99"/>
                    <a:pt x="164" y="99"/>
                    <a:pt x="164" y="99"/>
                  </a:cubicBezTo>
                  <a:cubicBezTo>
                    <a:pt x="165" y="98"/>
                    <a:pt x="166" y="98"/>
                    <a:pt x="167" y="97"/>
                  </a:cubicBezTo>
                  <a:cubicBezTo>
                    <a:pt x="167" y="97"/>
                    <a:pt x="168" y="97"/>
                    <a:pt x="168" y="97"/>
                  </a:cubicBezTo>
                  <a:cubicBezTo>
                    <a:pt x="168" y="97"/>
                    <a:pt x="168" y="97"/>
                    <a:pt x="168" y="97"/>
                  </a:cubicBezTo>
                  <a:cubicBezTo>
                    <a:pt x="169" y="97"/>
                    <a:pt x="169" y="97"/>
                    <a:pt x="170" y="98"/>
                  </a:cubicBezTo>
                  <a:cubicBezTo>
                    <a:pt x="170" y="98"/>
                    <a:pt x="170" y="98"/>
                    <a:pt x="170" y="98"/>
                  </a:cubicBezTo>
                  <a:cubicBezTo>
                    <a:pt x="170" y="98"/>
                    <a:pt x="170" y="98"/>
                    <a:pt x="170" y="98"/>
                  </a:cubicBezTo>
                  <a:cubicBezTo>
                    <a:pt x="171" y="99"/>
                    <a:pt x="171" y="99"/>
                    <a:pt x="172" y="100"/>
                  </a:cubicBezTo>
                  <a:cubicBezTo>
                    <a:pt x="172" y="100"/>
                    <a:pt x="172" y="100"/>
                    <a:pt x="172" y="101"/>
                  </a:cubicBezTo>
                  <a:cubicBezTo>
                    <a:pt x="172" y="101"/>
                    <a:pt x="172" y="101"/>
                    <a:pt x="172" y="101"/>
                  </a:cubicBezTo>
                  <a:cubicBezTo>
                    <a:pt x="172" y="101"/>
                    <a:pt x="172" y="101"/>
                    <a:pt x="172" y="101"/>
                  </a:cubicBezTo>
                  <a:cubicBezTo>
                    <a:pt x="173" y="101"/>
                    <a:pt x="174" y="102"/>
                    <a:pt x="177" y="102"/>
                  </a:cubicBezTo>
                  <a:cubicBezTo>
                    <a:pt x="182" y="102"/>
                    <a:pt x="182" y="102"/>
                    <a:pt x="182" y="102"/>
                  </a:cubicBezTo>
                  <a:cubicBezTo>
                    <a:pt x="183" y="102"/>
                    <a:pt x="183" y="102"/>
                    <a:pt x="183" y="102"/>
                  </a:cubicBezTo>
                  <a:cubicBezTo>
                    <a:pt x="183" y="102"/>
                    <a:pt x="183" y="102"/>
                    <a:pt x="183" y="102"/>
                  </a:cubicBezTo>
                  <a:cubicBezTo>
                    <a:pt x="184" y="102"/>
                    <a:pt x="185" y="102"/>
                    <a:pt x="186" y="102"/>
                  </a:cubicBezTo>
                  <a:cubicBezTo>
                    <a:pt x="187" y="102"/>
                    <a:pt x="187" y="102"/>
                    <a:pt x="188" y="102"/>
                  </a:cubicBezTo>
                  <a:cubicBezTo>
                    <a:pt x="189" y="102"/>
                    <a:pt x="189" y="102"/>
                    <a:pt x="189" y="102"/>
                  </a:cubicBezTo>
                  <a:cubicBezTo>
                    <a:pt x="189" y="102"/>
                    <a:pt x="189" y="102"/>
                    <a:pt x="189" y="102"/>
                  </a:cubicBezTo>
                  <a:cubicBezTo>
                    <a:pt x="190" y="102"/>
                    <a:pt x="190" y="102"/>
                    <a:pt x="190" y="102"/>
                  </a:cubicBezTo>
                  <a:cubicBezTo>
                    <a:pt x="190" y="102"/>
                    <a:pt x="190" y="102"/>
                    <a:pt x="190" y="102"/>
                  </a:cubicBezTo>
                  <a:cubicBezTo>
                    <a:pt x="191" y="101"/>
                    <a:pt x="191" y="101"/>
                    <a:pt x="191" y="101"/>
                  </a:cubicBezTo>
                  <a:cubicBezTo>
                    <a:pt x="191" y="100"/>
                    <a:pt x="191" y="100"/>
                    <a:pt x="191" y="100"/>
                  </a:cubicBezTo>
                  <a:cubicBezTo>
                    <a:pt x="192" y="99"/>
                    <a:pt x="193" y="97"/>
                    <a:pt x="193" y="95"/>
                  </a:cubicBezTo>
                  <a:cubicBezTo>
                    <a:pt x="193" y="95"/>
                    <a:pt x="193" y="95"/>
                    <a:pt x="193" y="95"/>
                  </a:cubicBezTo>
                  <a:cubicBezTo>
                    <a:pt x="192" y="94"/>
                    <a:pt x="192" y="94"/>
                    <a:pt x="192" y="93"/>
                  </a:cubicBezTo>
                  <a:cubicBezTo>
                    <a:pt x="191" y="92"/>
                    <a:pt x="191" y="91"/>
                    <a:pt x="190" y="90"/>
                  </a:cubicBezTo>
                  <a:cubicBezTo>
                    <a:pt x="190" y="90"/>
                    <a:pt x="190" y="90"/>
                    <a:pt x="190" y="90"/>
                  </a:cubicBezTo>
                  <a:cubicBezTo>
                    <a:pt x="189" y="89"/>
                    <a:pt x="189" y="88"/>
                    <a:pt x="189" y="87"/>
                  </a:cubicBezTo>
                  <a:cubicBezTo>
                    <a:pt x="188" y="85"/>
                    <a:pt x="188" y="82"/>
                    <a:pt x="189" y="80"/>
                  </a:cubicBezTo>
                  <a:cubicBezTo>
                    <a:pt x="189" y="77"/>
                    <a:pt x="190" y="73"/>
                    <a:pt x="191" y="71"/>
                  </a:cubicBezTo>
                  <a:cubicBezTo>
                    <a:pt x="191" y="69"/>
                    <a:pt x="191" y="69"/>
                    <a:pt x="191" y="69"/>
                  </a:cubicBezTo>
                  <a:cubicBezTo>
                    <a:pt x="189" y="69"/>
                    <a:pt x="188" y="69"/>
                    <a:pt x="186" y="69"/>
                  </a:cubicBezTo>
                  <a:cubicBezTo>
                    <a:pt x="183" y="69"/>
                    <a:pt x="180" y="69"/>
                    <a:pt x="177" y="69"/>
                  </a:cubicBezTo>
                  <a:cubicBezTo>
                    <a:pt x="174" y="68"/>
                    <a:pt x="171" y="68"/>
                    <a:pt x="169" y="67"/>
                  </a:cubicBezTo>
                  <a:cubicBezTo>
                    <a:pt x="166" y="66"/>
                    <a:pt x="164" y="65"/>
                    <a:pt x="161" y="64"/>
                  </a:cubicBezTo>
                  <a:cubicBezTo>
                    <a:pt x="160" y="63"/>
                    <a:pt x="160" y="63"/>
                    <a:pt x="160" y="63"/>
                  </a:cubicBezTo>
                  <a:cubicBezTo>
                    <a:pt x="159" y="63"/>
                    <a:pt x="159" y="63"/>
                    <a:pt x="159" y="63"/>
                  </a:cubicBezTo>
                  <a:cubicBezTo>
                    <a:pt x="159" y="64"/>
                    <a:pt x="159" y="64"/>
                    <a:pt x="159" y="64"/>
                  </a:cubicBezTo>
                  <a:cubicBezTo>
                    <a:pt x="158" y="64"/>
                    <a:pt x="157" y="66"/>
                    <a:pt x="154" y="66"/>
                  </a:cubicBezTo>
                  <a:cubicBezTo>
                    <a:pt x="154" y="66"/>
                    <a:pt x="153" y="66"/>
                    <a:pt x="153" y="66"/>
                  </a:cubicBezTo>
                  <a:cubicBezTo>
                    <a:pt x="151" y="66"/>
                    <a:pt x="151" y="66"/>
                    <a:pt x="151" y="66"/>
                  </a:cubicBezTo>
                  <a:cubicBezTo>
                    <a:pt x="150" y="65"/>
                    <a:pt x="149" y="65"/>
                    <a:pt x="147" y="64"/>
                  </a:cubicBezTo>
                  <a:cubicBezTo>
                    <a:pt x="147" y="64"/>
                    <a:pt x="147" y="64"/>
                    <a:pt x="147" y="64"/>
                  </a:cubicBezTo>
                  <a:cubicBezTo>
                    <a:pt x="144" y="71"/>
                    <a:pt x="144" y="71"/>
                    <a:pt x="144" y="71"/>
                  </a:cubicBezTo>
                  <a:cubicBezTo>
                    <a:pt x="140" y="65"/>
                    <a:pt x="140" y="65"/>
                    <a:pt x="140" y="65"/>
                  </a:cubicBezTo>
                  <a:cubicBezTo>
                    <a:pt x="138" y="63"/>
                    <a:pt x="137" y="61"/>
                    <a:pt x="135" y="59"/>
                  </a:cubicBezTo>
                  <a:cubicBezTo>
                    <a:pt x="135" y="58"/>
                    <a:pt x="135" y="58"/>
                    <a:pt x="135" y="58"/>
                  </a:cubicBezTo>
                  <a:cubicBezTo>
                    <a:pt x="134" y="58"/>
                    <a:pt x="134" y="58"/>
                    <a:pt x="134" y="58"/>
                  </a:cubicBezTo>
                  <a:cubicBezTo>
                    <a:pt x="134" y="57"/>
                    <a:pt x="134" y="57"/>
                    <a:pt x="134" y="57"/>
                  </a:cubicBezTo>
                  <a:cubicBezTo>
                    <a:pt x="133" y="57"/>
                    <a:pt x="133" y="57"/>
                    <a:pt x="132" y="57"/>
                  </a:cubicBezTo>
                  <a:cubicBezTo>
                    <a:pt x="131" y="57"/>
                    <a:pt x="131" y="57"/>
                    <a:pt x="131" y="57"/>
                  </a:cubicBezTo>
                  <a:cubicBezTo>
                    <a:pt x="130" y="57"/>
                    <a:pt x="129" y="57"/>
                    <a:pt x="128" y="57"/>
                  </a:cubicBezTo>
                  <a:cubicBezTo>
                    <a:pt x="128" y="57"/>
                    <a:pt x="128" y="57"/>
                    <a:pt x="128" y="57"/>
                  </a:cubicBezTo>
                  <a:cubicBezTo>
                    <a:pt x="127" y="57"/>
                    <a:pt x="126" y="57"/>
                    <a:pt x="126" y="57"/>
                  </a:cubicBezTo>
                  <a:cubicBezTo>
                    <a:pt x="125" y="57"/>
                    <a:pt x="124" y="57"/>
                    <a:pt x="123" y="57"/>
                  </a:cubicBezTo>
                  <a:cubicBezTo>
                    <a:pt x="123" y="57"/>
                    <a:pt x="122" y="57"/>
                    <a:pt x="122" y="57"/>
                  </a:cubicBezTo>
                  <a:cubicBezTo>
                    <a:pt x="120" y="57"/>
                    <a:pt x="119" y="56"/>
                    <a:pt x="118" y="55"/>
                  </a:cubicBezTo>
                  <a:cubicBezTo>
                    <a:pt x="117" y="53"/>
                    <a:pt x="117" y="52"/>
                    <a:pt x="118" y="50"/>
                  </a:cubicBezTo>
                  <a:cubicBezTo>
                    <a:pt x="117" y="50"/>
                    <a:pt x="116" y="51"/>
                    <a:pt x="116" y="51"/>
                  </a:cubicBezTo>
                  <a:cubicBezTo>
                    <a:pt x="115" y="51"/>
                    <a:pt x="115" y="50"/>
                    <a:pt x="114" y="50"/>
                  </a:cubicBezTo>
                  <a:cubicBezTo>
                    <a:pt x="112" y="50"/>
                    <a:pt x="111" y="49"/>
                    <a:pt x="110" y="49"/>
                  </a:cubicBezTo>
                  <a:cubicBezTo>
                    <a:pt x="108" y="48"/>
                    <a:pt x="107" y="48"/>
                    <a:pt x="106" y="47"/>
                  </a:cubicBezTo>
                  <a:cubicBezTo>
                    <a:pt x="106" y="47"/>
                    <a:pt x="106" y="47"/>
                    <a:pt x="106" y="47"/>
                  </a:cubicBezTo>
                  <a:cubicBezTo>
                    <a:pt x="105" y="46"/>
                    <a:pt x="105" y="46"/>
                    <a:pt x="104" y="46"/>
                  </a:cubicBezTo>
                  <a:cubicBezTo>
                    <a:pt x="103" y="45"/>
                    <a:pt x="103" y="45"/>
                    <a:pt x="103" y="45"/>
                  </a:cubicBezTo>
                  <a:cubicBezTo>
                    <a:pt x="102" y="44"/>
                    <a:pt x="101" y="44"/>
                    <a:pt x="101" y="43"/>
                  </a:cubicBezTo>
                  <a:cubicBezTo>
                    <a:pt x="100" y="43"/>
                    <a:pt x="100" y="43"/>
                    <a:pt x="100" y="43"/>
                  </a:cubicBezTo>
                  <a:cubicBezTo>
                    <a:pt x="99" y="42"/>
                    <a:pt x="96" y="40"/>
                    <a:pt x="96" y="36"/>
                  </a:cubicBezTo>
                  <a:cubicBezTo>
                    <a:pt x="95" y="35"/>
                    <a:pt x="95" y="35"/>
                    <a:pt x="95" y="35"/>
                  </a:cubicBezTo>
                  <a:cubicBezTo>
                    <a:pt x="95" y="34"/>
                    <a:pt x="94" y="33"/>
                    <a:pt x="94" y="32"/>
                  </a:cubicBezTo>
                  <a:cubicBezTo>
                    <a:pt x="94" y="32"/>
                    <a:pt x="94" y="32"/>
                    <a:pt x="94" y="32"/>
                  </a:cubicBezTo>
                  <a:cubicBezTo>
                    <a:pt x="92" y="32"/>
                    <a:pt x="90" y="33"/>
                    <a:pt x="88" y="33"/>
                  </a:cubicBezTo>
                  <a:cubicBezTo>
                    <a:pt x="87" y="34"/>
                    <a:pt x="87" y="34"/>
                    <a:pt x="87" y="34"/>
                  </a:cubicBezTo>
                  <a:cubicBezTo>
                    <a:pt x="86" y="34"/>
                    <a:pt x="86" y="34"/>
                    <a:pt x="86" y="34"/>
                  </a:cubicBezTo>
                  <a:cubicBezTo>
                    <a:pt x="82" y="34"/>
                    <a:pt x="81" y="32"/>
                    <a:pt x="79" y="30"/>
                  </a:cubicBezTo>
                  <a:cubicBezTo>
                    <a:pt x="79" y="30"/>
                    <a:pt x="79" y="30"/>
                    <a:pt x="79" y="30"/>
                  </a:cubicBezTo>
                  <a:cubicBezTo>
                    <a:pt x="78" y="29"/>
                    <a:pt x="78" y="29"/>
                    <a:pt x="78" y="29"/>
                  </a:cubicBezTo>
                  <a:cubicBezTo>
                    <a:pt x="78" y="28"/>
                    <a:pt x="78" y="28"/>
                    <a:pt x="78" y="28"/>
                  </a:cubicBezTo>
                  <a:cubicBezTo>
                    <a:pt x="77" y="27"/>
                    <a:pt x="76" y="26"/>
                    <a:pt x="75" y="25"/>
                  </a:cubicBezTo>
                  <a:cubicBezTo>
                    <a:pt x="75" y="25"/>
                    <a:pt x="75" y="25"/>
                    <a:pt x="75" y="25"/>
                  </a:cubicBezTo>
                  <a:cubicBezTo>
                    <a:pt x="75" y="25"/>
                    <a:pt x="75" y="25"/>
                    <a:pt x="75" y="25"/>
                  </a:cubicBezTo>
                  <a:cubicBezTo>
                    <a:pt x="74" y="24"/>
                    <a:pt x="74" y="24"/>
                    <a:pt x="74" y="24"/>
                  </a:cubicBezTo>
                  <a:cubicBezTo>
                    <a:pt x="74" y="23"/>
                    <a:pt x="73" y="23"/>
                    <a:pt x="73" y="23"/>
                  </a:cubicBezTo>
                  <a:cubicBezTo>
                    <a:pt x="72" y="22"/>
                    <a:pt x="72" y="22"/>
                    <a:pt x="72" y="22"/>
                  </a:cubicBezTo>
                  <a:cubicBezTo>
                    <a:pt x="71" y="28"/>
                    <a:pt x="71" y="28"/>
                    <a:pt x="71" y="28"/>
                  </a:cubicBezTo>
                  <a:cubicBezTo>
                    <a:pt x="71" y="22"/>
                    <a:pt x="71" y="22"/>
                    <a:pt x="71" y="22"/>
                  </a:cubicBezTo>
                  <a:cubicBezTo>
                    <a:pt x="70" y="21"/>
                    <a:pt x="70" y="21"/>
                    <a:pt x="70" y="21"/>
                  </a:cubicBezTo>
                  <a:cubicBezTo>
                    <a:pt x="69" y="21"/>
                    <a:pt x="69" y="21"/>
                    <a:pt x="69" y="21"/>
                  </a:cubicBezTo>
                  <a:cubicBezTo>
                    <a:pt x="68" y="21"/>
                    <a:pt x="68" y="21"/>
                    <a:pt x="68" y="21"/>
                  </a:cubicBezTo>
                  <a:cubicBezTo>
                    <a:pt x="66" y="21"/>
                    <a:pt x="64" y="20"/>
                    <a:pt x="62" y="19"/>
                  </a:cubicBezTo>
                  <a:cubicBezTo>
                    <a:pt x="60" y="17"/>
                    <a:pt x="60" y="17"/>
                    <a:pt x="60" y="17"/>
                  </a:cubicBezTo>
                  <a:cubicBezTo>
                    <a:pt x="59" y="16"/>
                    <a:pt x="58" y="15"/>
                    <a:pt x="57" y="14"/>
                  </a:cubicBezTo>
                  <a:cubicBezTo>
                    <a:pt x="56" y="13"/>
                    <a:pt x="56" y="13"/>
                    <a:pt x="55" y="13"/>
                  </a:cubicBezTo>
                  <a:cubicBezTo>
                    <a:pt x="53" y="12"/>
                    <a:pt x="53" y="12"/>
                    <a:pt x="53" y="12"/>
                  </a:cubicBezTo>
                  <a:cubicBezTo>
                    <a:pt x="52" y="12"/>
                    <a:pt x="52" y="11"/>
                    <a:pt x="51" y="11"/>
                  </a:cubicBezTo>
                  <a:cubicBezTo>
                    <a:pt x="49" y="10"/>
                    <a:pt x="47" y="9"/>
                    <a:pt x="46" y="8"/>
                  </a:cubicBezTo>
                  <a:cubicBezTo>
                    <a:pt x="46" y="8"/>
                    <a:pt x="46" y="8"/>
                    <a:pt x="46" y="8"/>
                  </a:cubicBezTo>
                  <a:cubicBezTo>
                    <a:pt x="45" y="6"/>
                    <a:pt x="44" y="5"/>
                    <a:pt x="44" y="4"/>
                  </a:cubicBezTo>
                  <a:cubicBezTo>
                    <a:pt x="43" y="3"/>
                    <a:pt x="43" y="2"/>
                    <a:pt x="43" y="2"/>
                  </a:cubicBezTo>
                  <a:cubicBezTo>
                    <a:pt x="42" y="2"/>
                    <a:pt x="39" y="1"/>
                    <a:pt x="35" y="1"/>
                  </a:cubicBezTo>
                  <a:cubicBezTo>
                    <a:pt x="35" y="1"/>
                    <a:pt x="35" y="1"/>
                    <a:pt x="35" y="1"/>
                  </a:cubicBezTo>
                  <a:cubicBezTo>
                    <a:pt x="34" y="1"/>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Rectangle 511"/>
            <p:cNvSpPr>
              <a:spLocks noChangeArrowheads="1"/>
            </p:cNvSpPr>
            <p:nvPr/>
          </p:nvSpPr>
          <p:spPr bwMode="auto">
            <a:xfrm>
              <a:off x="4004104" y="3406167"/>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512"/>
            <p:cNvSpPr/>
            <p:nvPr/>
          </p:nvSpPr>
          <p:spPr bwMode="auto">
            <a:xfrm flipH="1">
              <a:off x="4004104" y="3406167"/>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513"/>
            <p:cNvSpPr/>
            <p:nvPr/>
          </p:nvSpPr>
          <p:spPr bwMode="auto">
            <a:xfrm>
              <a:off x="4788489" y="3971623"/>
              <a:ext cx="79244" cy="202812"/>
            </a:xfrm>
            <a:custGeom>
              <a:gdLst>
                <a:gd name="T0" fmla="*/ 16 w 25"/>
                <a:gd name="T1" fmla="*/ 0 h 64"/>
                <a:gd name="T2" fmla="*/ 16 w 25"/>
                <a:gd name="T3" fmla="*/ 1 h 64"/>
                <a:gd name="T4" fmla="*/ 13 w 25"/>
                <a:gd name="T5" fmla="*/ 2 h 64"/>
                <a:gd name="T6" fmla="*/ 13 w 25"/>
                <a:gd name="T7" fmla="*/ 2 h 64"/>
                <a:gd name="T8" fmla="*/ 11 w 25"/>
                <a:gd name="T9" fmla="*/ 8 h 64"/>
                <a:gd name="T10" fmla="*/ 11 w 25"/>
                <a:gd name="T11" fmla="*/ 10 h 64"/>
                <a:gd name="T12" fmla="*/ 9 w 25"/>
                <a:gd name="T13" fmla="*/ 15 h 64"/>
                <a:gd name="T14" fmla="*/ 7 w 25"/>
                <a:gd name="T15" fmla="*/ 18 h 64"/>
                <a:gd name="T16" fmla="*/ 3 w 25"/>
                <a:gd name="T17" fmla="*/ 20 h 64"/>
                <a:gd name="T18" fmla="*/ 0 w 25"/>
                <a:gd name="T19" fmla="*/ 19 h 64"/>
                <a:gd name="T20" fmla="*/ 0 w 25"/>
                <a:gd name="T21" fmla="*/ 19 h 64"/>
                <a:gd name="T22" fmla="*/ 0 w 25"/>
                <a:gd name="T23" fmla="*/ 19 h 64"/>
                <a:gd name="T24" fmla="*/ 7 w 25"/>
                <a:gd name="T25" fmla="*/ 36 h 64"/>
                <a:gd name="T26" fmla="*/ 9 w 25"/>
                <a:gd name="T27" fmla="*/ 31 h 64"/>
                <a:gd name="T28" fmla="*/ 8 w 25"/>
                <a:gd name="T29" fmla="*/ 37 h 64"/>
                <a:gd name="T30" fmla="*/ 9 w 25"/>
                <a:gd name="T31" fmla="*/ 43 h 64"/>
                <a:gd name="T32" fmla="*/ 10 w 25"/>
                <a:gd name="T33" fmla="*/ 48 h 64"/>
                <a:gd name="T34" fmla="*/ 9 w 25"/>
                <a:gd name="T35" fmla="*/ 55 h 64"/>
                <a:gd name="T36" fmla="*/ 10 w 25"/>
                <a:gd name="T37" fmla="*/ 48 h 64"/>
                <a:gd name="T38" fmla="*/ 12 w 25"/>
                <a:gd name="T39" fmla="*/ 51 h 64"/>
                <a:gd name="T40" fmla="*/ 11 w 25"/>
                <a:gd name="T41" fmla="*/ 57 h 64"/>
                <a:gd name="T42" fmla="*/ 14 w 25"/>
                <a:gd name="T43" fmla="*/ 64 h 64"/>
                <a:gd name="T44" fmla="*/ 14 w 25"/>
                <a:gd name="T45" fmla="*/ 63 h 64"/>
                <a:gd name="T46" fmla="*/ 14 w 25"/>
                <a:gd name="T47" fmla="*/ 62 h 64"/>
                <a:gd name="T48" fmla="*/ 14 w 25"/>
                <a:gd name="T49" fmla="*/ 62 h 64"/>
                <a:gd name="T50" fmla="*/ 14 w 25"/>
                <a:gd name="T51" fmla="*/ 62 h 64"/>
                <a:gd name="T52" fmla="*/ 18 w 25"/>
                <a:gd name="T53" fmla="*/ 55 h 64"/>
                <a:gd name="T54" fmla="*/ 18 w 25"/>
                <a:gd name="T55" fmla="*/ 54 h 64"/>
                <a:gd name="T56" fmla="*/ 22 w 25"/>
                <a:gd name="T57" fmla="*/ 48 h 64"/>
                <a:gd name="T58" fmla="*/ 24 w 25"/>
                <a:gd name="T59" fmla="*/ 54 h 64"/>
                <a:gd name="T60" fmla="*/ 25 w 25"/>
                <a:gd name="T61" fmla="*/ 55 h 64"/>
                <a:gd name="T62" fmla="*/ 24 w 25"/>
                <a:gd name="T63" fmla="*/ 45 h 64"/>
                <a:gd name="T64" fmla="*/ 24 w 25"/>
                <a:gd name="T65" fmla="*/ 43 h 64"/>
                <a:gd name="T66" fmla="*/ 22 w 25"/>
                <a:gd name="T67" fmla="*/ 30 h 64"/>
                <a:gd name="T68" fmla="*/ 21 w 25"/>
                <a:gd name="T69" fmla="*/ 23 h 64"/>
                <a:gd name="T70" fmla="*/ 20 w 25"/>
                <a:gd name="T71" fmla="*/ 22 h 64"/>
                <a:gd name="T72" fmla="*/ 18 w 25"/>
                <a:gd name="T73" fmla="*/ 15 h 64"/>
                <a:gd name="T74" fmla="*/ 18 w 25"/>
                <a:gd name="T75" fmla="*/ 15 h 64"/>
                <a:gd name="T76" fmla="*/ 18 w 25"/>
                <a:gd name="T77" fmla="*/ 14 h 64"/>
                <a:gd name="T78" fmla="*/ 18 w 25"/>
                <a:gd name="T79" fmla="*/ 6 h 64"/>
                <a:gd name="T80" fmla="*/ 16 w 25"/>
                <a:gd name="T81" fmla="*/ 0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64">
                  <a:moveTo>
                    <a:pt x="16" y="0"/>
                  </a:moveTo>
                  <a:cubicBezTo>
                    <a:pt x="16" y="1"/>
                    <a:pt x="16" y="1"/>
                    <a:pt x="16" y="1"/>
                  </a:cubicBezTo>
                  <a:cubicBezTo>
                    <a:pt x="15" y="1"/>
                    <a:pt x="14" y="2"/>
                    <a:pt x="13" y="2"/>
                  </a:cubicBezTo>
                  <a:cubicBezTo>
                    <a:pt x="13" y="2"/>
                    <a:pt x="13" y="2"/>
                    <a:pt x="13" y="2"/>
                  </a:cubicBezTo>
                  <a:cubicBezTo>
                    <a:pt x="13" y="4"/>
                    <a:pt x="13" y="6"/>
                    <a:pt x="11" y="8"/>
                  </a:cubicBezTo>
                  <a:cubicBezTo>
                    <a:pt x="11" y="9"/>
                    <a:pt x="11" y="9"/>
                    <a:pt x="11" y="10"/>
                  </a:cubicBezTo>
                  <a:cubicBezTo>
                    <a:pt x="10" y="12"/>
                    <a:pt x="10" y="13"/>
                    <a:pt x="9" y="15"/>
                  </a:cubicBezTo>
                  <a:cubicBezTo>
                    <a:pt x="9" y="16"/>
                    <a:pt x="8" y="18"/>
                    <a:pt x="7" y="18"/>
                  </a:cubicBezTo>
                  <a:cubicBezTo>
                    <a:pt x="6" y="20"/>
                    <a:pt x="5" y="20"/>
                    <a:pt x="3" y="20"/>
                  </a:cubicBezTo>
                  <a:cubicBezTo>
                    <a:pt x="2" y="20"/>
                    <a:pt x="1" y="20"/>
                    <a:pt x="0" y="19"/>
                  </a:cubicBezTo>
                  <a:cubicBezTo>
                    <a:pt x="0" y="19"/>
                    <a:pt x="0" y="19"/>
                    <a:pt x="0" y="19"/>
                  </a:cubicBezTo>
                  <a:cubicBezTo>
                    <a:pt x="0" y="19"/>
                    <a:pt x="0" y="19"/>
                    <a:pt x="0" y="19"/>
                  </a:cubicBezTo>
                  <a:cubicBezTo>
                    <a:pt x="1" y="25"/>
                    <a:pt x="4" y="30"/>
                    <a:pt x="7" y="36"/>
                  </a:cubicBezTo>
                  <a:cubicBezTo>
                    <a:pt x="7" y="34"/>
                    <a:pt x="8" y="34"/>
                    <a:pt x="9" y="31"/>
                  </a:cubicBezTo>
                  <a:cubicBezTo>
                    <a:pt x="9" y="33"/>
                    <a:pt x="8" y="34"/>
                    <a:pt x="8" y="37"/>
                  </a:cubicBezTo>
                  <a:cubicBezTo>
                    <a:pt x="8" y="39"/>
                    <a:pt x="9" y="41"/>
                    <a:pt x="9" y="43"/>
                  </a:cubicBezTo>
                  <a:cubicBezTo>
                    <a:pt x="10" y="45"/>
                    <a:pt x="10" y="46"/>
                    <a:pt x="10" y="48"/>
                  </a:cubicBezTo>
                  <a:cubicBezTo>
                    <a:pt x="10" y="50"/>
                    <a:pt x="10" y="53"/>
                    <a:pt x="9" y="55"/>
                  </a:cubicBezTo>
                  <a:cubicBezTo>
                    <a:pt x="14" y="53"/>
                    <a:pt x="10" y="51"/>
                    <a:pt x="10" y="48"/>
                  </a:cubicBezTo>
                  <a:cubicBezTo>
                    <a:pt x="11" y="49"/>
                    <a:pt x="12" y="50"/>
                    <a:pt x="12" y="51"/>
                  </a:cubicBezTo>
                  <a:cubicBezTo>
                    <a:pt x="12" y="53"/>
                    <a:pt x="10" y="55"/>
                    <a:pt x="11" y="57"/>
                  </a:cubicBezTo>
                  <a:cubicBezTo>
                    <a:pt x="13" y="59"/>
                    <a:pt x="13" y="61"/>
                    <a:pt x="14" y="64"/>
                  </a:cubicBezTo>
                  <a:cubicBezTo>
                    <a:pt x="14" y="63"/>
                    <a:pt x="14" y="63"/>
                    <a:pt x="14" y="63"/>
                  </a:cubicBezTo>
                  <a:cubicBezTo>
                    <a:pt x="14" y="62"/>
                    <a:pt x="14" y="62"/>
                    <a:pt x="14" y="62"/>
                  </a:cubicBezTo>
                  <a:cubicBezTo>
                    <a:pt x="14" y="62"/>
                    <a:pt x="14" y="62"/>
                    <a:pt x="14" y="62"/>
                  </a:cubicBezTo>
                  <a:cubicBezTo>
                    <a:pt x="14" y="62"/>
                    <a:pt x="14" y="62"/>
                    <a:pt x="14" y="62"/>
                  </a:cubicBezTo>
                  <a:cubicBezTo>
                    <a:pt x="15" y="60"/>
                    <a:pt x="16" y="58"/>
                    <a:pt x="18" y="55"/>
                  </a:cubicBezTo>
                  <a:cubicBezTo>
                    <a:pt x="18" y="55"/>
                    <a:pt x="18" y="54"/>
                    <a:pt x="18" y="54"/>
                  </a:cubicBezTo>
                  <a:cubicBezTo>
                    <a:pt x="22" y="48"/>
                    <a:pt x="22" y="48"/>
                    <a:pt x="22" y="48"/>
                  </a:cubicBezTo>
                  <a:cubicBezTo>
                    <a:pt x="24" y="54"/>
                    <a:pt x="24" y="54"/>
                    <a:pt x="24" y="54"/>
                  </a:cubicBezTo>
                  <a:cubicBezTo>
                    <a:pt x="24" y="55"/>
                    <a:pt x="24" y="55"/>
                    <a:pt x="25" y="55"/>
                  </a:cubicBezTo>
                  <a:cubicBezTo>
                    <a:pt x="24" y="45"/>
                    <a:pt x="24" y="45"/>
                    <a:pt x="24" y="45"/>
                  </a:cubicBezTo>
                  <a:cubicBezTo>
                    <a:pt x="24" y="43"/>
                    <a:pt x="24" y="43"/>
                    <a:pt x="24" y="43"/>
                  </a:cubicBezTo>
                  <a:cubicBezTo>
                    <a:pt x="22" y="30"/>
                    <a:pt x="22" y="30"/>
                    <a:pt x="22" y="30"/>
                  </a:cubicBezTo>
                  <a:cubicBezTo>
                    <a:pt x="22" y="28"/>
                    <a:pt x="21" y="25"/>
                    <a:pt x="21" y="23"/>
                  </a:cubicBezTo>
                  <a:cubicBezTo>
                    <a:pt x="20" y="22"/>
                    <a:pt x="20" y="22"/>
                    <a:pt x="20" y="22"/>
                  </a:cubicBezTo>
                  <a:cubicBezTo>
                    <a:pt x="19" y="20"/>
                    <a:pt x="19" y="18"/>
                    <a:pt x="18" y="15"/>
                  </a:cubicBezTo>
                  <a:cubicBezTo>
                    <a:pt x="18" y="15"/>
                    <a:pt x="18" y="15"/>
                    <a:pt x="18" y="15"/>
                  </a:cubicBezTo>
                  <a:cubicBezTo>
                    <a:pt x="18" y="14"/>
                    <a:pt x="18" y="14"/>
                    <a:pt x="18" y="14"/>
                  </a:cubicBezTo>
                  <a:cubicBezTo>
                    <a:pt x="18" y="11"/>
                    <a:pt x="18" y="9"/>
                    <a:pt x="18" y="6"/>
                  </a:cubicBezTo>
                  <a:cubicBezTo>
                    <a:pt x="17" y="4"/>
                    <a:pt x="17" y="3"/>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514"/>
            <p:cNvSpPr/>
            <p:nvPr/>
          </p:nvSpPr>
          <p:spPr bwMode="auto">
            <a:xfrm>
              <a:off x="4530609" y="3752693"/>
              <a:ext cx="316978" cy="381448"/>
            </a:xfrm>
            <a:custGeom>
              <a:gdLst>
                <a:gd name="T0" fmla="*/ 1 w 100"/>
                <a:gd name="T1" fmla="*/ 7 h 120"/>
                <a:gd name="T2" fmla="*/ 3 w 100"/>
                <a:gd name="T3" fmla="*/ 9 h 120"/>
                <a:gd name="T4" fmla="*/ 10 w 100"/>
                <a:gd name="T5" fmla="*/ 16 h 120"/>
                <a:gd name="T6" fmla="*/ 18 w 100"/>
                <a:gd name="T7" fmla="*/ 21 h 120"/>
                <a:gd name="T8" fmla="*/ 21 w 100"/>
                <a:gd name="T9" fmla="*/ 28 h 120"/>
                <a:gd name="T10" fmla="*/ 14 w 100"/>
                <a:gd name="T11" fmla="*/ 31 h 120"/>
                <a:gd name="T12" fmla="*/ 1 w 100"/>
                <a:gd name="T13" fmla="*/ 39 h 120"/>
                <a:gd name="T14" fmla="*/ 2 w 100"/>
                <a:gd name="T15" fmla="*/ 44 h 120"/>
                <a:gd name="T16" fmla="*/ 7 w 100"/>
                <a:gd name="T17" fmla="*/ 47 h 120"/>
                <a:gd name="T18" fmla="*/ 9 w 100"/>
                <a:gd name="T19" fmla="*/ 47 h 120"/>
                <a:gd name="T20" fmla="*/ 15 w 100"/>
                <a:gd name="T21" fmla="*/ 61 h 120"/>
                <a:gd name="T22" fmla="*/ 14 w 100"/>
                <a:gd name="T23" fmla="*/ 68 h 120"/>
                <a:gd name="T24" fmla="*/ 17 w 100"/>
                <a:gd name="T25" fmla="*/ 73 h 120"/>
                <a:gd name="T26" fmla="*/ 17 w 100"/>
                <a:gd name="T27" fmla="*/ 75 h 120"/>
                <a:gd name="T28" fmla="*/ 21 w 100"/>
                <a:gd name="T29" fmla="*/ 81 h 120"/>
                <a:gd name="T30" fmla="*/ 20 w 100"/>
                <a:gd name="T31" fmla="*/ 87 h 120"/>
                <a:gd name="T32" fmla="*/ 21 w 100"/>
                <a:gd name="T33" fmla="*/ 92 h 120"/>
                <a:gd name="T34" fmla="*/ 24 w 100"/>
                <a:gd name="T35" fmla="*/ 110 h 120"/>
                <a:gd name="T36" fmla="*/ 26 w 100"/>
                <a:gd name="T37" fmla="*/ 120 h 120"/>
                <a:gd name="T38" fmla="*/ 33 w 100"/>
                <a:gd name="T39" fmla="*/ 111 h 120"/>
                <a:gd name="T40" fmla="*/ 38 w 100"/>
                <a:gd name="T41" fmla="*/ 114 h 120"/>
                <a:gd name="T42" fmla="*/ 45 w 100"/>
                <a:gd name="T43" fmla="*/ 106 h 120"/>
                <a:gd name="T44" fmla="*/ 49 w 100"/>
                <a:gd name="T45" fmla="*/ 115 h 120"/>
                <a:gd name="T46" fmla="*/ 58 w 100"/>
                <a:gd name="T47" fmla="*/ 101 h 120"/>
                <a:gd name="T48" fmla="*/ 57 w 100"/>
                <a:gd name="T49" fmla="*/ 87 h 120"/>
                <a:gd name="T50" fmla="*/ 55 w 100"/>
                <a:gd name="T51" fmla="*/ 74 h 120"/>
                <a:gd name="T52" fmla="*/ 59 w 100"/>
                <a:gd name="T53" fmla="*/ 71 h 120"/>
                <a:gd name="T54" fmla="*/ 66 w 100"/>
                <a:gd name="T55" fmla="*/ 88 h 120"/>
                <a:gd name="T56" fmla="*/ 77 w 100"/>
                <a:gd name="T57" fmla="*/ 86 h 120"/>
                <a:gd name="T58" fmla="*/ 72 w 100"/>
                <a:gd name="T59" fmla="*/ 74 h 120"/>
                <a:gd name="T60" fmla="*/ 70 w 100"/>
                <a:gd name="T61" fmla="*/ 69 h 120"/>
                <a:gd name="T62" fmla="*/ 73 w 100"/>
                <a:gd name="T63" fmla="*/ 60 h 120"/>
                <a:gd name="T64" fmla="*/ 83 w 100"/>
                <a:gd name="T65" fmla="*/ 51 h 120"/>
                <a:gd name="T66" fmla="*/ 90 w 100"/>
                <a:gd name="T67" fmla="*/ 47 h 120"/>
                <a:gd name="T68" fmla="*/ 94 w 100"/>
                <a:gd name="T69" fmla="*/ 43 h 120"/>
                <a:gd name="T70" fmla="*/ 96 w 100"/>
                <a:gd name="T71" fmla="*/ 38 h 120"/>
                <a:gd name="T72" fmla="*/ 95 w 100"/>
                <a:gd name="T73" fmla="*/ 32 h 120"/>
                <a:gd name="T74" fmla="*/ 86 w 100"/>
                <a:gd name="T75" fmla="*/ 32 h 120"/>
                <a:gd name="T76" fmla="*/ 70 w 100"/>
                <a:gd name="T77" fmla="*/ 30 h 120"/>
                <a:gd name="T78" fmla="*/ 62 w 100"/>
                <a:gd name="T79" fmla="*/ 31 h 120"/>
                <a:gd name="T80" fmla="*/ 58 w 100"/>
                <a:gd name="T81" fmla="*/ 31 h 120"/>
                <a:gd name="T82" fmla="*/ 51 w 100"/>
                <a:gd name="T83" fmla="*/ 31 h 120"/>
                <a:gd name="T84" fmla="*/ 43 w 100"/>
                <a:gd name="T85" fmla="*/ 28 h 120"/>
                <a:gd name="T86" fmla="*/ 33 w 100"/>
                <a:gd name="T87" fmla="*/ 24 h 120"/>
                <a:gd name="T88" fmla="*/ 36 w 100"/>
                <a:gd name="T89" fmla="*/ 15 h 120"/>
                <a:gd name="T90" fmla="*/ 26 w 100"/>
                <a:gd name="T91" fmla="*/ 8 h 120"/>
                <a:gd name="T92" fmla="*/ 14 w 100"/>
                <a:gd name="T93" fmla="*/ 2 h 120"/>
                <a:gd name="T94" fmla="*/ 7 w 100"/>
                <a:gd name="T95" fmla="*/ 0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20">
                  <a:moveTo>
                    <a:pt x="7" y="0"/>
                  </a:moveTo>
                  <a:cubicBezTo>
                    <a:pt x="7" y="0"/>
                    <a:pt x="5" y="1"/>
                    <a:pt x="2" y="6"/>
                  </a:cubicBezTo>
                  <a:cubicBezTo>
                    <a:pt x="2" y="7"/>
                    <a:pt x="2" y="7"/>
                    <a:pt x="2" y="7"/>
                  </a:cubicBezTo>
                  <a:cubicBezTo>
                    <a:pt x="1" y="7"/>
                    <a:pt x="1" y="7"/>
                    <a:pt x="1" y="7"/>
                  </a:cubicBezTo>
                  <a:cubicBezTo>
                    <a:pt x="1" y="8"/>
                    <a:pt x="1" y="8"/>
                    <a:pt x="1" y="8"/>
                  </a:cubicBezTo>
                  <a:cubicBezTo>
                    <a:pt x="1" y="8"/>
                    <a:pt x="1" y="8"/>
                    <a:pt x="1" y="8"/>
                  </a:cubicBezTo>
                  <a:cubicBezTo>
                    <a:pt x="1" y="8"/>
                    <a:pt x="2" y="8"/>
                    <a:pt x="3" y="9"/>
                  </a:cubicBezTo>
                  <a:cubicBezTo>
                    <a:pt x="3" y="9"/>
                    <a:pt x="3" y="9"/>
                    <a:pt x="3" y="9"/>
                  </a:cubicBezTo>
                  <a:cubicBezTo>
                    <a:pt x="5" y="10"/>
                    <a:pt x="6" y="12"/>
                    <a:pt x="7" y="13"/>
                  </a:cubicBezTo>
                  <a:cubicBezTo>
                    <a:pt x="8" y="14"/>
                    <a:pt x="8" y="14"/>
                    <a:pt x="8" y="14"/>
                  </a:cubicBezTo>
                  <a:cubicBezTo>
                    <a:pt x="9" y="15"/>
                    <a:pt x="9" y="15"/>
                    <a:pt x="9" y="15"/>
                  </a:cubicBezTo>
                  <a:cubicBezTo>
                    <a:pt x="9" y="15"/>
                    <a:pt x="10" y="16"/>
                    <a:pt x="10" y="16"/>
                  </a:cubicBezTo>
                  <a:cubicBezTo>
                    <a:pt x="11" y="16"/>
                    <a:pt x="11" y="16"/>
                    <a:pt x="11" y="16"/>
                  </a:cubicBezTo>
                  <a:cubicBezTo>
                    <a:pt x="12" y="16"/>
                    <a:pt x="12" y="16"/>
                    <a:pt x="13" y="16"/>
                  </a:cubicBezTo>
                  <a:cubicBezTo>
                    <a:pt x="13" y="16"/>
                    <a:pt x="13" y="16"/>
                    <a:pt x="14" y="16"/>
                  </a:cubicBezTo>
                  <a:cubicBezTo>
                    <a:pt x="17" y="17"/>
                    <a:pt x="17" y="19"/>
                    <a:pt x="18" y="21"/>
                  </a:cubicBezTo>
                  <a:cubicBezTo>
                    <a:pt x="18" y="21"/>
                    <a:pt x="18" y="21"/>
                    <a:pt x="19" y="22"/>
                  </a:cubicBezTo>
                  <a:cubicBezTo>
                    <a:pt x="19" y="22"/>
                    <a:pt x="20" y="22"/>
                    <a:pt x="20" y="22"/>
                  </a:cubicBezTo>
                  <a:cubicBezTo>
                    <a:pt x="25" y="24"/>
                    <a:pt x="25" y="24"/>
                    <a:pt x="25" y="24"/>
                  </a:cubicBezTo>
                  <a:cubicBezTo>
                    <a:pt x="21" y="28"/>
                    <a:pt x="21" y="28"/>
                    <a:pt x="21" y="28"/>
                  </a:cubicBezTo>
                  <a:cubicBezTo>
                    <a:pt x="21" y="28"/>
                    <a:pt x="21" y="28"/>
                    <a:pt x="21" y="28"/>
                  </a:cubicBezTo>
                  <a:cubicBezTo>
                    <a:pt x="21" y="32"/>
                    <a:pt x="21" y="32"/>
                    <a:pt x="21" y="32"/>
                  </a:cubicBezTo>
                  <a:cubicBezTo>
                    <a:pt x="17" y="31"/>
                    <a:pt x="17" y="31"/>
                    <a:pt x="17" y="31"/>
                  </a:cubicBezTo>
                  <a:cubicBezTo>
                    <a:pt x="16" y="31"/>
                    <a:pt x="15" y="31"/>
                    <a:pt x="14" y="31"/>
                  </a:cubicBezTo>
                  <a:cubicBezTo>
                    <a:pt x="13" y="31"/>
                    <a:pt x="13" y="31"/>
                    <a:pt x="12" y="31"/>
                  </a:cubicBezTo>
                  <a:cubicBezTo>
                    <a:pt x="9" y="31"/>
                    <a:pt x="8" y="32"/>
                    <a:pt x="8" y="34"/>
                  </a:cubicBezTo>
                  <a:cubicBezTo>
                    <a:pt x="7" y="36"/>
                    <a:pt x="4" y="37"/>
                    <a:pt x="4" y="37"/>
                  </a:cubicBezTo>
                  <a:cubicBezTo>
                    <a:pt x="3" y="38"/>
                    <a:pt x="2" y="38"/>
                    <a:pt x="1" y="39"/>
                  </a:cubicBezTo>
                  <a:cubicBezTo>
                    <a:pt x="1" y="39"/>
                    <a:pt x="1" y="39"/>
                    <a:pt x="1" y="39"/>
                  </a:cubicBezTo>
                  <a:cubicBezTo>
                    <a:pt x="1" y="40"/>
                    <a:pt x="1" y="40"/>
                    <a:pt x="1" y="40"/>
                  </a:cubicBezTo>
                  <a:cubicBezTo>
                    <a:pt x="1" y="40"/>
                    <a:pt x="0" y="42"/>
                    <a:pt x="0" y="43"/>
                  </a:cubicBezTo>
                  <a:cubicBezTo>
                    <a:pt x="1" y="43"/>
                    <a:pt x="2" y="44"/>
                    <a:pt x="2" y="44"/>
                  </a:cubicBezTo>
                  <a:cubicBezTo>
                    <a:pt x="3" y="44"/>
                    <a:pt x="3" y="44"/>
                    <a:pt x="3" y="44"/>
                  </a:cubicBezTo>
                  <a:cubicBezTo>
                    <a:pt x="3" y="45"/>
                    <a:pt x="4" y="45"/>
                    <a:pt x="5" y="46"/>
                  </a:cubicBezTo>
                  <a:cubicBezTo>
                    <a:pt x="5" y="46"/>
                    <a:pt x="6" y="46"/>
                    <a:pt x="6" y="46"/>
                  </a:cubicBezTo>
                  <a:cubicBezTo>
                    <a:pt x="7" y="47"/>
                    <a:pt x="7" y="47"/>
                    <a:pt x="7" y="47"/>
                  </a:cubicBezTo>
                  <a:cubicBezTo>
                    <a:pt x="8" y="47"/>
                    <a:pt x="8" y="47"/>
                    <a:pt x="8" y="47"/>
                  </a:cubicBezTo>
                  <a:cubicBezTo>
                    <a:pt x="8" y="42"/>
                    <a:pt x="8" y="42"/>
                    <a:pt x="8" y="42"/>
                  </a:cubicBezTo>
                  <a:cubicBezTo>
                    <a:pt x="9" y="47"/>
                    <a:pt x="9" y="47"/>
                    <a:pt x="9" y="47"/>
                  </a:cubicBezTo>
                  <a:cubicBezTo>
                    <a:pt x="9" y="47"/>
                    <a:pt x="9" y="47"/>
                    <a:pt x="9" y="47"/>
                  </a:cubicBezTo>
                  <a:cubicBezTo>
                    <a:pt x="10" y="47"/>
                    <a:pt x="11" y="47"/>
                    <a:pt x="12" y="48"/>
                  </a:cubicBezTo>
                  <a:cubicBezTo>
                    <a:pt x="14" y="48"/>
                    <a:pt x="15" y="50"/>
                    <a:pt x="16" y="51"/>
                  </a:cubicBezTo>
                  <a:cubicBezTo>
                    <a:pt x="16" y="52"/>
                    <a:pt x="16" y="53"/>
                    <a:pt x="16" y="54"/>
                  </a:cubicBezTo>
                  <a:cubicBezTo>
                    <a:pt x="16" y="59"/>
                    <a:pt x="16" y="60"/>
                    <a:pt x="15" y="61"/>
                  </a:cubicBezTo>
                  <a:cubicBezTo>
                    <a:pt x="15" y="62"/>
                    <a:pt x="14" y="63"/>
                    <a:pt x="14" y="63"/>
                  </a:cubicBezTo>
                  <a:cubicBezTo>
                    <a:pt x="13" y="63"/>
                    <a:pt x="13" y="63"/>
                    <a:pt x="13" y="63"/>
                  </a:cubicBezTo>
                  <a:cubicBezTo>
                    <a:pt x="13" y="65"/>
                    <a:pt x="13" y="65"/>
                    <a:pt x="13" y="65"/>
                  </a:cubicBezTo>
                  <a:cubicBezTo>
                    <a:pt x="13" y="67"/>
                    <a:pt x="13" y="67"/>
                    <a:pt x="14" y="68"/>
                  </a:cubicBezTo>
                  <a:cubicBezTo>
                    <a:pt x="15" y="69"/>
                    <a:pt x="15" y="69"/>
                    <a:pt x="16" y="70"/>
                  </a:cubicBezTo>
                  <a:cubicBezTo>
                    <a:pt x="17" y="71"/>
                    <a:pt x="17" y="71"/>
                    <a:pt x="17" y="71"/>
                  </a:cubicBezTo>
                  <a:cubicBezTo>
                    <a:pt x="17" y="72"/>
                    <a:pt x="17" y="72"/>
                    <a:pt x="17" y="72"/>
                  </a:cubicBezTo>
                  <a:cubicBezTo>
                    <a:pt x="17" y="73"/>
                    <a:pt x="17" y="73"/>
                    <a:pt x="17" y="73"/>
                  </a:cubicBezTo>
                  <a:cubicBezTo>
                    <a:pt x="17" y="74"/>
                    <a:pt x="17" y="74"/>
                    <a:pt x="17" y="74"/>
                  </a:cubicBezTo>
                  <a:cubicBezTo>
                    <a:pt x="16" y="74"/>
                    <a:pt x="16" y="74"/>
                    <a:pt x="16" y="74"/>
                  </a:cubicBezTo>
                  <a:cubicBezTo>
                    <a:pt x="17" y="74"/>
                    <a:pt x="17" y="74"/>
                    <a:pt x="17" y="74"/>
                  </a:cubicBezTo>
                  <a:cubicBezTo>
                    <a:pt x="17" y="75"/>
                    <a:pt x="17" y="75"/>
                    <a:pt x="17" y="75"/>
                  </a:cubicBezTo>
                  <a:cubicBezTo>
                    <a:pt x="17" y="75"/>
                    <a:pt x="17" y="75"/>
                    <a:pt x="17" y="75"/>
                  </a:cubicBezTo>
                  <a:cubicBezTo>
                    <a:pt x="18" y="76"/>
                    <a:pt x="19" y="76"/>
                    <a:pt x="20" y="77"/>
                  </a:cubicBezTo>
                  <a:cubicBezTo>
                    <a:pt x="20" y="78"/>
                    <a:pt x="20" y="78"/>
                    <a:pt x="21" y="79"/>
                  </a:cubicBezTo>
                  <a:cubicBezTo>
                    <a:pt x="21" y="80"/>
                    <a:pt x="21" y="80"/>
                    <a:pt x="21" y="81"/>
                  </a:cubicBezTo>
                  <a:cubicBezTo>
                    <a:pt x="21" y="82"/>
                    <a:pt x="21" y="82"/>
                    <a:pt x="21" y="82"/>
                  </a:cubicBezTo>
                  <a:cubicBezTo>
                    <a:pt x="21" y="83"/>
                    <a:pt x="21" y="83"/>
                    <a:pt x="21" y="83"/>
                  </a:cubicBezTo>
                  <a:cubicBezTo>
                    <a:pt x="20" y="83"/>
                    <a:pt x="20" y="84"/>
                    <a:pt x="20" y="84"/>
                  </a:cubicBezTo>
                  <a:cubicBezTo>
                    <a:pt x="20" y="85"/>
                    <a:pt x="20" y="86"/>
                    <a:pt x="20" y="87"/>
                  </a:cubicBezTo>
                  <a:cubicBezTo>
                    <a:pt x="21" y="88"/>
                    <a:pt x="21" y="89"/>
                    <a:pt x="21" y="91"/>
                  </a:cubicBezTo>
                  <a:cubicBezTo>
                    <a:pt x="21" y="91"/>
                    <a:pt x="21" y="91"/>
                    <a:pt x="21" y="91"/>
                  </a:cubicBezTo>
                  <a:cubicBezTo>
                    <a:pt x="21" y="91"/>
                    <a:pt x="21" y="91"/>
                    <a:pt x="21" y="91"/>
                  </a:cubicBezTo>
                  <a:cubicBezTo>
                    <a:pt x="21" y="92"/>
                    <a:pt x="21" y="92"/>
                    <a:pt x="21" y="92"/>
                  </a:cubicBezTo>
                  <a:cubicBezTo>
                    <a:pt x="21" y="93"/>
                    <a:pt x="21" y="93"/>
                    <a:pt x="21" y="93"/>
                  </a:cubicBezTo>
                  <a:cubicBezTo>
                    <a:pt x="22" y="101"/>
                    <a:pt x="22" y="101"/>
                    <a:pt x="22" y="101"/>
                  </a:cubicBezTo>
                  <a:cubicBezTo>
                    <a:pt x="23" y="103"/>
                    <a:pt x="23" y="105"/>
                    <a:pt x="24" y="107"/>
                  </a:cubicBezTo>
                  <a:cubicBezTo>
                    <a:pt x="24" y="108"/>
                    <a:pt x="24" y="109"/>
                    <a:pt x="24" y="110"/>
                  </a:cubicBezTo>
                  <a:cubicBezTo>
                    <a:pt x="24" y="114"/>
                    <a:pt x="24" y="114"/>
                    <a:pt x="24" y="114"/>
                  </a:cubicBezTo>
                  <a:cubicBezTo>
                    <a:pt x="22" y="113"/>
                    <a:pt x="22" y="113"/>
                    <a:pt x="22" y="113"/>
                  </a:cubicBezTo>
                  <a:cubicBezTo>
                    <a:pt x="23" y="117"/>
                    <a:pt x="24" y="120"/>
                    <a:pt x="25" y="120"/>
                  </a:cubicBezTo>
                  <a:cubicBezTo>
                    <a:pt x="25" y="120"/>
                    <a:pt x="25" y="120"/>
                    <a:pt x="26" y="120"/>
                  </a:cubicBezTo>
                  <a:cubicBezTo>
                    <a:pt x="26" y="120"/>
                    <a:pt x="27" y="113"/>
                    <a:pt x="28" y="112"/>
                  </a:cubicBezTo>
                  <a:cubicBezTo>
                    <a:pt x="28" y="114"/>
                    <a:pt x="28" y="116"/>
                    <a:pt x="29" y="118"/>
                  </a:cubicBezTo>
                  <a:cubicBezTo>
                    <a:pt x="33" y="116"/>
                    <a:pt x="32" y="107"/>
                    <a:pt x="31" y="103"/>
                  </a:cubicBezTo>
                  <a:cubicBezTo>
                    <a:pt x="32" y="106"/>
                    <a:pt x="32" y="108"/>
                    <a:pt x="33" y="111"/>
                  </a:cubicBezTo>
                  <a:cubicBezTo>
                    <a:pt x="33" y="107"/>
                    <a:pt x="33" y="105"/>
                    <a:pt x="34" y="102"/>
                  </a:cubicBezTo>
                  <a:cubicBezTo>
                    <a:pt x="34" y="106"/>
                    <a:pt x="31" y="113"/>
                    <a:pt x="34" y="117"/>
                  </a:cubicBezTo>
                  <a:cubicBezTo>
                    <a:pt x="34" y="115"/>
                    <a:pt x="35" y="114"/>
                    <a:pt x="35" y="113"/>
                  </a:cubicBezTo>
                  <a:cubicBezTo>
                    <a:pt x="36" y="114"/>
                    <a:pt x="37" y="114"/>
                    <a:pt x="38" y="114"/>
                  </a:cubicBezTo>
                  <a:cubicBezTo>
                    <a:pt x="40" y="114"/>
                    <a:pt x="41" y="113"/>
                    <a:pt x="41" y="111"/>
                  </a:cubicBezTo>
                  <a:cubicBezTo>
                    <a:pt x="41" y="106"/>
                    <a:pt x="40" y="103"/>
                    <a:pt x="43" y="98"/>
                  </a:cubicBezTo>
                  <a:cubicBezTo>
                    <a:pt x="40" y="102"/>
                    <a:pt x="41" y="107"/>
                    <a:pt x="43" y="111"/>
                  </a:cubicBezTo>
                  <a:cubicBezTo>
                    <a:pt x="43" y="109"/>
                    <a:pt x="44" y="108"/>
                    <a:pt x="45" y="106"/>
                  </a:cubicBezTo>
                  <a:cubicBezTo>
                    <a:pt x="45" y="108"/>
                    <a:pt x="45" y="109"/>
                    <a:pt x="45" y="111"/>
                  </a:cubicBezTo>
                  <a:cubicBezTo>
                    <a:pt x="46" y="109"/>
                    <a:pt x="48" y="107"/>
                    <a:pt x="50" y="106"/>
                  </a:cubicBezTo>
                  <a:cubicBezTo>
                    <a:pt x="49" y="108"/>
                    <a:pt x="46" y="111"/>
                    <a:pt x="48" y="114"/>
                  </a:cubicBezTo>
                  <a:cubicBezTo>
                    <a:pt x="48" y="115"/>
                    <a:pt x="49" y="115"/>
                    <a:pt x="49" y="115"/>
                  </a:cubicBezTo>
                  <a:cubicBezTo>
                    <a:pt x="49" y="115"/>
                    <a:pt x="50" y="115"/>
                    <a:pt x="50" y="114"/>
                  </a:cubicBezTo>
                  <a:cubicBezTo>
                    <a:pt x="53" y="113"/>
                    <a:pt x="53" y="106"/>
                    <a:pt x="54" y="103"/>
                  </a:cubicBezTo>
                  <a:cubicBezTo>
                    <a:pt x="55" y="105"/>
                    <a:pt x="56" y="106"/>
                    <a:pt x="57" y="106"/>
                  </a:cubicBezTo>
                  <a:cubicBezTo>
                    <a:pt x="58" y="106"/>
                    <a:pt x="58" y="104"/>
                    <a:pt x="58" y="101"/>
                  </a:cubicBezTo>
                  <a:cubicBezTo>
                    <a:pt x="58" y="98"/>
                    <a:pt x="57" y="96"/>
                    <a:pt x="56" y="96"/>
                  </a:cubicBezTo>
                  <a:cubicBezTo>
                    <a:pt x="56" y="96"/>
                    <a:pt x="56" y="96"/>
                    <a:pt x="55" y="96"/>
                  </a:cubicBezTo>
                  <a:cubicBezTo>
                    <a:pt x="56" y="94"/>
                    <a:pt x="56" y="94"/>
                    <a:pt x="53" y="91"/>
                  </a:cubicBezTo>
                  <a:cubicBezTo>
                    <a:pt x="54" y="91"/>
                    <a:pt x="57" y="88"/>
                    <a:pt x="57" y="87"/>
                  </a:cubicBezTo>
                  <a:cubicBezTo>
                    <a:pt x="55" y="84"/>
                    <a:pt x="54" y="84"/>
                    <a:pt x="57" y="81"/>
                  </a:cubicBezTo>
                  <a:cubicBezTo>
                    <a:pt x="60" y="79"/>
                    <a:pt x="51" y="74"/>
                    <a:pt x="50" y="73"/>
                  </a:cubicBezTo>
                  <a:cubicBezTo>
                    <a:pt x="50" y="73"/>
                    <a:pt x="50" y="73"/>
                    <a:pt x="50" y="73"/>
                  </a:cubicBezTo>
                  <a:cubicBezTo>
                    <a:pt x="52" y="73"/>
                    <a:pt x="53" y="74"/>
                    <a:pt x="55" y="74"/>
                  </a:cubicBezTo>
                  <a:cubicBezTo>
                    <a:pt x="55" y="74"/>
                    <a:pt x="55" y="73"/>
                    <a:pt x="55" y="72"/>
                  </a:cubicBezTo>
                  <a:cubicBezTo>
                    <a:pt x="56" y="70"/>
                    <a:pt x="56" y="70"/>
                    <a:pt x="56" y="70"/>
                  </a:cubicBezTo>
                  <a:cubicBezTo>
                    <a:pt x="59" y="70"/>
                    <a:pt x="59" y="70"/>
                    <a:pt x="59" y="70"/>
                  </a:cubicBezTo>
                  <a:cubicBezTo>
                    <a:pt x="59" y="70"/>
                    <a:pt x="59" y="71"/>
                    <a:pt x="59" y="71"/>
                  </a:cubicBezTo>
                  <a:cubicBezTo>
                    <a:pt x="59" y="71"/>
                    <a:pt x="61" y="71"/>
                    <a:pt x="61" y="70"/>
                  </a:cubicBezTo>
                  <a:cubicBezTo>
                    <a:pt x="61" y="72"/>
                    <a:pt x="60" y="74"/>
                    <a:pt x="59" y="76"/>
                  </a:cubicBezTo>
                  <a:cubicBezTo>
                    <a:pt x="61" y="77"/>
                    <a:pt x="59" y="81"/>
                    <a:pt x="60" y="84"/>
                  </a:cubicBezTo>
                  <a:cubicBezTo>
                    <a:pt x="60" y="87"/>
                    <a:pt x="63" y="88"/>
                    <a:pt x="66" y="88"/>
                  </a:cubicBezTo>
                  <a:cubicBezTo>
                    <a:pt x="68" y="88"/>
                    <a:pt x="72" y="90"/>
                    <a:pt x="76" y="90"/>
                  </a:cubicBezTo>
                  <a:cubicBezTo>
                    <a:pt x="78" y="90"/>
                    <a:pt x="80" y="89"/>
                    <a:pt x="80" y="87"/>
                  </a:cubicBezTo>
                  <a:cubicBezTo>
                    <a:pt x="79" y="87"/>
                    <a:pt x="79" y="87"/>
                    <a:pt x="79" y="87"/>
                  </a:cubicBezTo>
                  <a:cubicBezTo>
                    <a:pt x="77" y="86"/>
                    <a:pt x="77" y="86"/>
                    <a:pt x="77" y="86"/>
                  </a:cubicBezTo>
                  <a:cubicBezTo>
                    <a:pt x="76" y="85"/>
                    <a:pt x="74" y="84"/>
                    <a:pt x="73" y="81"/>
                  </a:cubicBezTo>
                  <a:cubicBezTo>
                    <a:pt x="73" y="80"/>
                    <a:pt x="73" y="79"/>
                    <a:pt x="73" y="78"/>
                  </a:cubicBezTo>
                  <a:cubicBezTo>
                    <a:pt x="73" y="77"/>
                    <a:pt x="72" y="75"/>
                    <a:pt x="72" y="75"/>
                  </a:cubicBezTo>
                  <a:cubicBezTo>
                    <a:pt x="72" y="74"/>
                    <a:pt x="72" y="74"/>
                    <a:pt x="72" y="74"/>
                  </a:cubicBezTo>
                  <a:cubicBezTo>
                    <a:pt x="71" y="74"/>
                    <a:pt x="71" y="73"/>
                    <a:pt x="71" y="72"/>
                  </a:cubicBezTo>
                  <a:cubicBezTo>
                    <a:pt x="71" y="72"/>
                    <a:pt x="71" y="72"/>
                    <a:pt x="71" y="72"/>
                  </a:cubicBezTo>
                  <a:cubicBezTo>
                    <a:pt x="70" y="71"/>
                    <a:pt x="70" y="71"/>
                    <a:pt x="70" y="70"/>
                  </a:cubicBezTo>
                  <a:cubicBezTo>
                    <a:pt x="70" y="69"/>
                    <a:pt x="70" y="69"/>
                    <a:pt x="70" y="69"/>
                  </a:cubicBezTo>
                  <a:cubicBezTo>
                    <a:pt x="69" y="67"/>
                    <a:pt x="70" y="65"/>
                    <a:pt x="71" y="64"/>
                  </a:cubicBezTo>
                  <a:cubicBezTo>
                    <a:pt x="71" y="63"/>
                    <a:pt x="71" y="63"/>
                    <a:pt x="71" y="63"/>
                  </a:cubicBezTo>
                  <a:cubicBezTo>
                    <a:pt x="71" y="59"/>
                    <a:pt x="71" y="59"/>
                    <a:pt x="71" y="59"/>
                  </a:cubicBezTo>
                  <a:cubicBezTo>
                    <a:pt x="73" y="60"/>
                    <a:pt x="73" y="60"/>
                    <a:pt x="73" y="60"/>
                  </a:cubicBezTo>
                  <a:cubicBezTo>
                    <a:pt x="81" y="52"/>
                    <a:pt x="81" y="52"/>
                    <a:pt x="81" y="52"/>
                  </a:cubicBezTo>
                  <a:cubicBezTo>
                    <a:pt x="81" y="51"/>
                    <a:pt x="81" y="51"/>
                    <a:pt x="81" y="51"/>
                  </a:cubicBezTo>
                  <a:cubicBezTo>
                    <a:pt x="82" y="51"/>
                    <a:pt x="82" y="51"/>
                    <a:pt x="82" y="51"/>
                  </a:cubicBezTo>
                  <a:cubicBezTo>
                    <a:pt x="83" y="51"/>
                    <a:pt x="83" y="51"/>
                    <a:pt x="83" y="51"/>
                  </a:cubicBezTo>
                  <a:cubicBezTo>
                    <a:pt x="83" y="51"/>
                    <a:pt x="83" y="51"/>
                    <a:pt x="83" y="51"/>
                  </a:cubicBezTo>
                  <a:cubicBezTo>
                    <a:pt x="84" y="51"/>
                    <a:pt x="85" y="51"/>
                    <a:pt x="86" y="51"/>
                  </a:cubicBezTo>
                  <a:cubicBezTo>
                    <a:pt x="88" y="50"/>
                    <a:pt x="88" y="50"/>
                    <a:pt x="88" y="50"/>
                  </a:cubicBezTo>
                  <a:cubicBezTo>
                    <a:pt x="88" y="49"/>
                    <a:pt x="89" y="48"/>
                    <a:pt x="90" y="47"/>
                  </a:cubicBezTo>
                  <a:cubicBezTo>
                    <a:pt x="87" y="42"/>
                    <a:pt x="87" y="42"/>
                    <a:pt x="87" y="42"/>
                  </a:cubicBezTo>
                  <a:cubicBezTo>
                    <a:pt x="91" y="46"/>
                    <a:pt x="91" y="46"/>
                    <a:pt x="91" y="46"/>
                  </a:cubicBezTo>
                  <a:cubicBezTo>
                    <a:pt x="91" y="46"/>
                    <a:pt x="92" y="45"/>
                    <a:pt x="92" y="45"/>
                  </a:cubicBezTo>
                  <a:cubicBezTo>
                    <a:pt x="93" y="45"/>
                    <a:pt x="94" y="44"/>
                    <a:pt x="94" y="43"/>
                  </a:cubicBezTo>
                  <a:cubicBezTo>
                    <a:pt x="94" y="43"/>
                    <a:pt x="94" y="43"/>
                    <a:pt x="94" y="43"/>
                  </a:cubicBezTo>
                  <a:cubicBezTo>
                    <a:pt x="95" y="43"/>
                    <a:pt x="95" y="43"/>
                    <a:pt x="95" y="43"/>
                  </a:cubicBezTo>
                  <a:cubicBezTo>
                    <a:pt x="95" y="42"/>
                    <a:pt x="95" y="40"/>
                    <a:pt x="95" y="39"/>
                  </a:cubicBezTo>
                  <a:cubicBezTo>
                    <a:pt x="96" y="38"/>
                    <a:pt x="96" y="38"/>
                    <a:pt x="96" y="38"/>
                  </a:cubicBezTo>
                  <a:cubicBezTo>
                    <a:pt x="100" y="34"/>
                    <a:pt x="100" y="34"/>
                    <a:pt x="100" y="34"/>
                  </a:cubicBezTo>
                  <a:cubicBezTo>
                    <a:pt x="99" y="33"/>
                    <a:pt x="99" y="33"/>
                    <a:pt x="98" y="33"/>
                  </a:cubicBezTo>
                  <a:cubicBezTo>
                    <a:pt x="98" y="33"/>
                    <a:pt x="98" y="33"/>
                    <a:pt x="98" y="33"/>
                  </a:cubicBezTo>
                  <a:cubicBezTo>
                    <a:pt x="97" y="32"/>
                    <a:pt x="96" y="32"/>
                    <a:pt x="95" y="32"/>
                  </a:cubicBezTo>
                  <a:cubicBezTo>
                    <a:pt x="95" y="31"/>
                    <a:pt x="94" y="31"/>
                    <a:pt x="93" y="31"/>
                  </a:cubicBezTo>
                  <a:cubicBezTo>
                    <a:pt x="92" y="31"/>
                    <a:pt x="92" y="31"/>
                    <a:pt x="91" y="31"/>
                  </a:cubicBezTo>
                  <a:cubicBezTo>
                    <a:pt x="90" y="31"/>
                    <a:pt x="90" y="31"/>
                    <a:pt x="90" y="31"/>
                  </a:cubicBezTo>
                  <a:cubicBezTo>
                    <a:pt x="89" y="32"/>
                    <a:pt x="87" y="32"/>
                    <a:pt x="86" y="32"/>
                  </a:cubicBezTo>
                  <a:cubicBezTo>
                    <a:pt x="86" y="32"/>
                    <a:pt x="85" y="32"/>
                    <a:pt x="85" y="32"/>
                  </a:cubicBezTo>
                  <a:cubicBezTo>
                    <a:pt x="81" y="32"/>
                    <a:pt x="77" y="31"/>
                    <a:pt x="73" y="31"/>
                  </a:cubicBezTo>
                  <a:cubicBezTo>
                    <a:pt x="71" y="30"/>
                    <a:pt x="71" y="30"/>
                    <a:pt x="71" y="30"/>
                  </a:cubicBezTo>
                  <a:cubicBezTo>
                    <a:pt x="71" y="30"/>
                    <a:pt x="71" y="30"/>
                    <a:pt x="70" y="30"/>
                  </a:cubicBezTo>
                  <a:cubicBezTo>
                    <a:pt x="69" y="30"/>
                    <a:pt x="67" y="31"/>
                    <a:pt x="66" y="31"/>
                  </a:cubicBezTo>
                  <a:cubicBezTo>
                    <a:pt x="65" y="31"/>
                    <a:pt x="65" y="31"/>
                    <a:pt x="65" y="31"/>
                  </a:cubicBezTo>
                  <a:cubicBezTo>
                    <a:pt x="65" y="31"/>
                    <a:pt x="64" y="31"/>
                    <a:pt x="64" y="31"/>
                  </a:cubicBezTo>
                  <a:cubicBezTo>
                    <a:pt x="63" y="31"/>
                    <a:pt x="62" y="31"/>
                    <a:pt x="62" y="31"/>
                  </a:cubicBezTo>
                  <a:cubicBezTo>
                    <a:pt x="61" y="31"/>
                    <a:pt x="61" y="31"/>
                    <a:pt x="61" y="31"/>
                  </a:cubicBezTo>
                  <a:cubicBezTo>
                    <a:pt x="61" y="31"/>
                    <a:pt x="61" y="31"/>
                    <a:pt x="61" y="31"/>
                  </a:cubicBezTo>
                  <a:cubicBezTo>
                    <a:pt x="60" y="31"/>
                    <a:pt x="59" y="31"/>
                    <a:pt x="59" y="31"/>
                  </a:cubicBezTo>
                  <a:cubicBezTo>
                    <a:pt x="58" y="31"/>
                    <a:pt x="58" y="31"/>
                    <a:pt x="58" y="31"/>
                  </a:cubicBezTo>
                  <a:cubicBezTo>
                    <a:pt x="57" y="32"/>
                    <a:pt x="56" y="32"/>
                    <a:pt x="55" y="32"/>
                  </a:cubicBezTo>
                  <a:cubicBezTo>
                    <a:pt x="55" y="32"/>
                    <a:pt x="54" y="32"/>
                    <a:pt x="54" y="32"/>
                  </a:cubicBezTo>
                  <a:cubicBezTo>
                    <a:pt x="53" y="32"/>
                    <a:pt x="53" y="32"/>
                    <a:pt x="53" y="32"/>
                  </a:cubicBezTo>
                  <a:cubicBezTo>
                    <a:pt x="53" y="31"/>
                    <a:pt x="52" y="31"/>
                    <a:pt x="51" y="31"/>
                  </a:cubicBezTo>
                  <a:cubicBezTo>
                    <a:pt x="50" y="31"/>
                    <a:pt x="50" y="31"/>
                    <a:pt x="50" y="31"/>
                  </a:cubicBezTo>
                  <a:cubicBezTo>
                    <a:pt x="50" y="30"/>
                    <a:pt x="49" y="30"/>
                    <a:pt x="49" y="30"/>
                  </a:cubicBezTo>
                  <a:cubicBezTo>
                    <a:pt x="46" y="30"/>
                    <a:pt x="45" y="29"/>
                    <a:pt x="43" y="28"/>
                  </a:cubicBezTo>
                  <a:cubicBezTo>
                    <a:pt x="43" y="28"/>
                    <a:pt x="43" y="28"/>
                    <a:pt x="43" y="28"/>
                  </a:cubicBezTo>
                  <a:cubicBezTo>
                    <a:pt x="42" y="28"/>
                    <a:pt x="42" y="28"/>
                    <a:pt x="42" y="28"/>
                  </a:cubicBezTo>
                  <a:cubicBezTo>
                    <a:pt x="41" y="28"/>
                    <a:pt x="40" y="28"/>
                    <a:pt x="39" y="27"/>
                  </a:cubicBezTo>
                  <a:cubicBezTo>
                    <a:pt x="39" y="27"/>
                    <a:pt x="37" y="26"/>
                    <a:pt x="37" y="24"/>
                  </a:cubicBezTo>
                  <a:cubicBezTo>
                    <a:pt x="33" y="24"/>
                    <a:pt x="33" y="24"/>
                    <a:pt x="33" y="24"/>
                  </a:cubicBezTo>
                  <a:cubicBezTo>
                    <a:pt x="36" y="23"/>
                    <a:pt x="36" y="23"/>
                    <a:pt x="36" y="23"/>
                  </a:cubicBezTo>
                  <a:cubicBezTo>
                    <a:pt x="36" y="22"/>
                    <a:pt x="36" y="22"/>
                    <a:pt x="36" y="22"/>
                  </a:cubicBezTo>
                  <a:cubicBezTo>
                    <a:pt x="36" y="20"/>
                    <a:pt x="36" y="18"/>
                    <a:pt x="36" y="16"/>
                  </a:cubicBezTo>
                  <a:cubicBezTo>
                    <a:pt x="36" y="15"/>
                    <a:pt x="36" y="15"/>
                    <a:pt x="36" y="15"/>
                  </a:cubicBezTo>
                  <a:cubicBezTo>
                    <a:pt x="36" y="14"/>
                    <a:pt x="36" y="13"/>
                    <a:pt x="36" y="13"/>
                  </a:cubicBezTo>
                  <a:cubicBezTo>
                    <a:pt x="36" y="11"/>
                    <a:pt x="36" y="9"/>
                    <a:pt x="35" y="7"/>
                  </a:cubicBezTo>
                  <a:cubicBezTo>
                    <a:pt x="34" y="9"/>
                    <a:pt x="32" y="9"/>
                    <a:pt x="30" y="9"/>
                  </a:cubicBezTo>
                  <a:cubicBezTo>
                    <a:pt x="28" y="9"/>
                    <a:pt x="27" y="9"/>
                    <a:pt x="26" y="8"/>
                  </a:cubicBezTo>
                  <a:cubicBezTo>
                    <a:pt x="25" y="8"/>
                    <a:pt x="25" y="8"/>
                    <a:pt x="25" y="8"/>
                  </a:cubicBezTo>
                  <a:cubicBezTo>
                    <a:pt x="23" y="7"/>
                    <a:pt x="22" y="5"/>
                    <a:pt x="21" y="3"/>
                  </a:cubicBezTo>
                  <a:cubicBezTo>
                    <a:pt x="20" y="3"/>
                    <a:pt x="20" y="3"/>
                    <a:pt x="20" y="3"/>
                  </a:cubicBezTo>
                  <a:cubicBezTo>
                    <a:pt x="17" y="3"/>
                    <a:pt x="16" y="3"/>
                    <a:pt x="14" y="2"/>
                  </a:cubicBezTo>
                  <a:cubicBezTo>
                    <a:pt x="13" y="1"/>
                    <a:pt x="13" y="1"/>
                    <a:pt x="13" y="1"/>
                  </a:cubicBezTo>
                  <a:cubicBezTo>
                    <a:pt x="13" y="1"/>
                    <a:pt x="13" y="1"/>
                    <a:pt x="13" y="1"/>
                  </a:cubicBezTo>
                  <a:cubicBezTo>
                    <a:pt x="11" y="1"/>
                    <a:pt x="10" y="1"/>
                    <a:pt x="9"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515"/>
            <p:cNvSpPr/>
            <p:nvPr/>
          </p:nvSpPr>
          <p:spPr bwMode="auto">
            <a:xfrm>
              <a:off x="4832812" y="4174435"/>
              <a:ext cx="2686" cy="6716"/>
            </a:xfrm>
            <a:custGeom>
              <a:gdLst>
                <a:gd name="T0" fmla="*/ 0 w 1"/>
                <a:gd name="T1" fmla="*/ 0 h 2"/>
                <a:gd name="T2" fmla="*/ 0 w 1"/>
                <a:gd name="T3" fmla="*/ 0 h 2"/>
                <a:gd name="T4" fmla="*/ 0 w 1"/>
                <a:gd name="T5" fmla="*/ 0 h 2"/>
                <a:gd name="T6" fmla="*/ 0 w 1"/>
                <a:gd name="T7" fmla="*/ 1 h 2"/>
                <a:gd name="T8" fmla="*/ 0 w 1"/>
                <a:gd name="T9" fmla="*/ 1 h 2"/>
                <a:gd name="T10" fmla="*/ 1 w 1"/>
                <a:gd name="T11" fmla="*/ 2 h 2"/>
                <a:gd name="T12" fmla="*/ 0 w 1"/>
                <a:gd name="T13" fmla="*/ 1 h 2"/>
                <a:gd name="T14" fmla="*/ 0 w 1"/>
                <a:gd name="T15" fmla="*/ 0 h 2"/>
                <a:gd name="T16" fmla="*/ 0 w 1"/>
                <a:gd name="T17"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0" y="0"/>
                  </a:moveTo>
                  <a:cubicBezTo>
                    <a:pt x="0" y="0"/>
                    <a:pt x="0" y="0"/>
                    <a:pt x="0" y="0"/>
                  </a:cubicBezTo>
                  <a:cubicBezTo>
                    <a:pt x="0" y="0"/>
                    <a:pt x="0" y="0"/>
                    <a:pt x="0" y="0"/>
                  </a:cubicBezTo>
                  <a:cubicBezTo>
                    <a:pt x="0" y="1"/>
                    <a:pt x="0" y="1"/>
                    <a:pt x="0" y="1"/>
                  </a:cubicBezTo>
                  <a:cubicBezTo>
                    <a:pt x="0" y="1"/>
                    <a:pt x="0" y="1"/>
                    <a:pt x="0" y="1"/>
                  </a:cubicBezTo>
                  <a:cubicBezTo>
                    <a:pt x="1" y="2"/>
                    <a:pt x="1" y="2"/>
                    <a:pt x="1" y="2"/>
                  </a:cubicBezTo>
                  <a:cubicBezTo>
                    <a:pt x="0" y="1"/>
                    <a:pt x="0" y="1"/>
                    <a:pt x="0" y="1"/>
                  </a:cubicBezTo>
                  <a:cubicBezTo>
                    <a:pt x="0" y="1"/>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516"/>
            <p:cNvSpPr/>
            <p:nvPr/>
          </p:nvSpPr>
          <p:spPr bwMode="auto">
            <a:xfrm>
              <a:off x="4838185" y="4183837"/>
              <a:ext cx="13431" cy="22833"/>
            </a:xfrm>
            <a:custGeom>
              <a:gdLst>
                <a:gd name="T0" fmla="*/ 1 w 4"/>
                <a:gd name="T1" fmla="*/ 0 h 7"/>
                <a:gd name="T2" fmla="*/ 0 w 4"/>
                <a:gd name="T3" fmla="*/ 1 h 7"/>
                <a:gd name="T4" fmla="*/ 4 w 4"/>
                <a:gd name="T5" fmla="*/ 7 h 7"/>
                <a:gd name="T6" fmla="*/ 3 w 4"/>
                <a:gd name="T7" fmla="*/ 4 h 7"/>
                <a:gd name="T8" fmla="*/ 2 w 4"/>
                <a:gd name="T9" fmla="*/ 2 h 7"/>
                <a:gd name="T10" fmla="*/ 2 w 4"/>
                <a:gd name="T11" fmla="*/ 2 h 7"/>
                <a:gd name="T12" fmla="*/ 1 w 4"/>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4" h="7">
                  <a:moveTo>
                    <a:pt x="1" y="0"/>
                  </a:moveTo>
                  <a:cubicBezTo>
                    <a:pt x="0" y="1"/>
                    <a:pt x="0" y="1"/>
                    <a:pt x="0" y="1"/>
                  </a:cubicBezTo>
                  <a:cubicBezTo>
                    <a:pt x="1" y="3"/>
                    <a:pt x="3" y="5"/>
                    <a:pt x="4" y="7"/>
                  </a:cubicBezTo>
                  <a:cubicBezTo>
                    <a:pt x="4" y="6"/>
                    <a:pt x="3" y="5"/>
                    <a:pt x="3" y="4"/>
                  </a:cubicBezTo>
                  <a:cubicBezTo>
                    <a:pt x="3" y="3"/>
                    <a:pt x="3" y="3"/>
                    <a:pt x="2" y="2"/>
                  </a:cubicBezTo>
                  <a:cubicBezTo>
                    <a:pt x="2" y="2"/>
                    <a:pt x="2" y="2"/>
                    <a:pt x="2" y="2"/>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517"/>
            <p:cNvSpPr/>
            <p:nvPr/>
          </p:nvSpPr>
          <p:spPr bwMode="auto">
            <a:xfrm>
              <a:off x="4847587" y="3568685"/>
              <a:ext cx="667534" cy="1485497"/>
            </a:xfrm>
            <a:custGeom>
              <a:gdLst>
                <a:gd name="T0" fmla="*/ 122 w 210"/>
                <a:gd name="T1" fmla="*/ 18 h 468"/>
                <a:gd name="T2" fmla="*/ 97 w 210"/>
                <a:gd name="T3" fmla="*/ 36 h 468"/>
                <a:gd name="T4" fmla="*/ 74 w 210"/>
                <a:gd name="T5" fmla="*/ 64 h 468"/>
                <a:gd name="T6" fmla="*/ 51 w 210"/>
                <a:gd name="T7" fmla="*/ 115 h 468"/>
                <a:gd name="T8" fmla="*/ 26 w 210"/>
                <a:gd name="T9" fmla="*/ 145 h 468"/>
                <a:gd name="T10" fmla="*/ 12 w 210"/>
                <a:gd name="T11" fmla="*/ 174 h 468"/>
                <a:gd name="T12" fmla="*/ 1 w 210"/>
                <a:gd name="T13" fmla="*/ 190 h 468"/>
                <a:gd name="T14" fmla="*/ 2 w 210"/>
                <a:gd name="T15" fmla="*/ 199 h 468"/>
                <a:gd name="T16" fmla="*/ 13 w 210"/>
                <a:gd name="T17" fmla="*/ 213 h 468"/>
                <a:gd name="T18" fmla="*/ 17 w 210"/>
                <a:gd name="T19" fmla="*/ 219 h 468"/>
                <a:gd name="T20" fmla="*/ 36 w 210"/>
                <a:gd name="T21" fmla="*/ 223 h 468"/>
                <a:gd name="T22" fmla="*/ 42 w 210"/>
                <a:gd name="T23" fmla="*/ 236 h 468"/>
                <a:gd name="T24" fmla="*/ 34 w 210"/>
                <a:gd name="T25" fmla="*/ 243 h 468"/>
                <a:gd name="T26" fmla="*/ 43 w 210"/>
                <a:gd name="T27" fmla="*/ 237 h 468"/>
                <a:gd name="T28" fmla="*/ 54 w 210"/>
                <a:gd name="T29" fmla="*/ 272 h 468"/>
                <a:gd name="T30" fmla="*/ 55 w 210"/>
                <a:gd name="T31" fmla="*/ 317 h 468"/>
                <a:gd name="T32" fmla="*/ 58 w 210"/>
                <a:gd name="T33" fmla="*/ 323 h 468"/>
                <a:gd name="T34" fmla="*/ 64 w 210"/>
                <a:gd name="T35" fmla="*/ 318 h 468"/>
                <a:gd name="T36" fmla="*/ 71 w 210"/>
                <a:gd name="T37" fmla="*/ 320 h 468"/>
                <a:gd name="T38" fmla="*/ 84 w 210"/>
                <a:gd name="T39" fmla="*/ 317 h 468"/>
                <a:gd name="T40" fmla="*/ 98 w 210"/>
                <a:gd name="T41" fmla="*/ 308 h 468"/>
                <a:gd name="T42" fmla="*/ 113 w 210"/>
                <a:gd name="T43" fmla="*/ 288 h 468"/>
                <a:gd name="T44" fmla="*/ 132 w 210"/>
                <a:gd name="T45" fmla="*/ 308 h 468"/>
                <a:gd name="T46" fmla="*/ 135 w 210"/>
                <a:gd name="T47" fmla="*/ 333 h 468"/>
                <a:gd name="T48" fmla="*/ 141 w 210"/>
                <a:gd name="T49" fmla="*/ 356 h 468"/>
                <a:gd name="T50" fmla="*/ 145 w 210"/>
                <a:gd name="T51" fmla="*/ 371 h 468"/>
                <a:gd name="T52" fmla="*/ 156 w 210"/>
                <a:gd name="T53" fmla="*/ 413 h 468"/>
                <a:gd name="T54" fmla="*/ 152 w 210"/>
                <a:gd name="T55" fmla="*/ 420 h 468"/>
                <a:gd name="T56" fmla="*/ 156 w 210"/>
                <a:gd name="T57" fmla="*/ 429 h 468"/>
                <a:gd name="T58" fmla="*/ 153 w 210"/>
                <a:gd name="T59" fmla="*/ 454 h 468"/>
                <a:gd name="T60" fmla="*/ 175 w 210"/>
                <a:gd name="T61" fmla="*/ 433 h 468"/>
                <a:gd name="T62" fmla="*/ 173 w 210"/>
                <a:gd name="T63" fmla="*/ 410 h 468"/>
                <a:gd name="T64" fmla="*/ 167 w 210"/>
                <a:gd name="T65" fmla="*/ 389 h 468"/>
                <a:gd name="T66" fmla="*/ 159 w 210"/>
                <a:gd name="T67" fmla="*/ 371 h 468"/>
                <a:gd name="T68" fmla="*/ 152 w 210"/>
                <a:gd name="T69" fmla="*/ 336 h 468"/>
                <a:gd name="T70" fmla="*/ 153 w 210"/>
                <a:gd name="T71" fmla="*/ 308 h 468"/>
                <a:gd name="T72" fmla="*/ 146 w 210"/>
                <a:gd name="T73" fmla="*/ 296 h 468"/>
                <a:gd name="T74" fmla="*/ 130 w 210"/>
                <a:gd name="T75" fmla="*/ 267 h 468"/>
                <a:gd name="T76" fmla="*/ 132 w 210"/>
                <a:gd name="T77" fmla="*/ 254 h 468"/>
                <a:gd name="T78" fmla="*/ 140 w 210"/>
                <a:gd name="T79" fmla="*/ 223 h 468"/>
                <a:gd name="T80" fmla="*/ 154 w 210"/>
                <a:gd name="T81" fmla="*/ 218 h 468"/>
                <a:gd name="T82" fmla="*/ 165 w 210"/>
                <a:gd name="T83" fmla="*/ 222 h 468"/>
                <a:gd name="T84" fmla="*/ 178 w 210"/>
                <a:gd name="T85" fmla="*/ 208 h 468"/>
                <a:gd name="T86" fmla="*/ 182 w 210"/>
                <a:gd name="T87" fmla="*/ 191 h 468"/>
                <a:gd name="T88" fmla="*/ 203 w 210"/>
                <a:gd name="T89" fmla="*/ 188 h 468"/>
                <a:gd name="T90" fmla="*/ 190 w 210"/>
                <a:gd name="T91" fmla="*/ 180 h 468"/>
                <a:gd name="T92" fmla="*/ 186 w 210"/>
                <a:gd name="T93" fmla="*/ 170 h 468"/>
                <a:gd name="T94" fmla="*/ 171 w 210"/>
                <a:gd name="T95" fmla="*/ 149 h 468"/>
                <a:gd name="T96" fmla="*/ 175 w 210"/>
                <a:gd name="T97" fmla="*/ 143 h 468"/>
                <a:gd name="T98" fmla="*/ 157 w 210"/>
                <a:gd name="T99" fmla="*/ 129 h 468"/>
                <a:gd name="T100" fmla="*/ 155 w 210"/>
                <a:gd name="T101" fmla="*/ 121 h 468"/>
                <a:gd name="T102" fmla="*/ 146 w 210"/>
                <a:gd name="T103" fmla="*/ 117 h 468"/>
                <a:gd name="T104" fmla="*/ 127 w 210"/>
                <a:gd name="T105" fmla="*/ 117 h 468"/>
                <a:gd name="T106" fmla="*/ 126 w 210"/>
                <a:gd name="T107" fmla="*/ 104 h 468"/>
                <a:gd name="T108" fmla="*/ 132 w 210"/>
                <a:gd name="T109" fmla="*/ 91 h 468"/>
                <a:gd name="T110" fmla="*/ 141 w 210"/>
                <a:gd name="T111" fmla="*/ 79 h 468"/>
                <a:gd name="T112" fmla="*/ 149 w 210"/>
                <a:gd name="T113" fmla="*/ 73 h 468"/>
                <a:gd name="T114" fmla="*/ 153 w 210"/>
                <a:gd name="T115" fmla="*/ 59 h 468"/>
                <a:gd name="T116" fmla="*/ 156 w 210"/>
                <a:gd name="T117" fmla="*/ 36 h 468"/>
                <a:gd name="T118" fmla="*/ 140 w 210"/>
                <a:gd name="T119" fmla="*/ 7 h 468"/>
                <a:gd name="T120" fmla="*/ 131 w 210"/>
                <a:gd name="T121" fmla="*/ 0 h 4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 h="468">
                  <a:moveTo>
                    <a:pt x="131" y="0"/>
                  </a:moveTo>
                  <a:cubicBezTo>
                    <a:pt x="130" y="2"/>
                    <a:pt x="129" y="4"/>
                    <a:pt x="128" y="5"/>
                  </a:cubicBezTo>
                  <a:cubicBezTo>
                    <a:pt x="128" y="5"/>
                    <a:pt x="128" y="6"/>
                    <a:pt x="128" y="6"/>
                  </a:cubicBezTo>
                  <a:cubicBezTo>
                    <a:pt x="128" y="7"/>
                    <a:pt x="128" y="7"/>
                    <a:pt x="128" y="7"/>
                  </a:cubicBezTo>
                  <a:cubicBezTo>
                    <a:pt x="128" y="7"/>
                    <a:pt x="128" y="7"/>
                    <a:pt x="128" y="7"/>
                  </a:cubicBezTo>
                  <a:cubicBezTo>
                    <a:pt x="128" y="9"/>
                    <a:pt x="128" y="9"/>
                    <a:pt x="128" y="9"/>
                  </a:cubicBezTo>
                  <a:cubicBezTo>
                    <a:pt x="129" y="14"/>
                    <a:pt x="126" y="16"/>
                    <a:pt x="123" y="18"/>
                  </a:cubicBezTo>
                  <a:cubicBezTo>
                    <a:pt x="122" y="18"/>
                    <a:pt x="122" y="18"/>
                    <a:pt x="122" y="18"/>
                  </a:cubicBezTo>
                  <a:cubicBezTo>
                    <a:pt x="122" y="19"/>
                    <a:pt x="121" y="19"/>
                    <a:pt x="120" y="20"/>
                  </a:cubicBezTo>
                  <a:cubicBezTo>
                    <a:pt x="118" y="21"/>
                    <a:pt x="117" y="23"/>
                    <a:pt x="117" y="23"/>
                  </a:cubicBezTo>
                  <a:cubicBezTo>
                    <a:pt x="117" y="24"/>
                    <a:pt x="119" y="26"/>
                    <a:pt x="119" y="26"/>
                  </a:cubicBezTo>
                  <a:cubicBezTo>
                    <a:pt x="119" y="28"/>
                    <a:pt x="119" y="28"/>
                    <a:pt x="119" y="28"/>
                  </a:cubicBezTo>
                  <a:cubicBezTo>
                    <a:pt x="111" y="40"/>
                    <a:pt x="111" y="40"/>
                    <a:pt x="111" y="40"/>
                  </a:cubicBezTo>
                  <a:cubicBezTo>
                    <a:pt x="110" y="32"/>
                    <a:pt x="110" y="32"/>
                    <a:pt x="110" y="32"/>
                  </a:cubicBezTo>
                  <a:cubicBezTo>
                    <a:pt x="109" y="32"/>
                    <a:pt x="109" y="31"/>
                    <a:pt x="108" y="31"/>
                  </a:cubicBezTo>
                  <a:cubicBezTo>
                    <a:pt x="105" y="31"/>
                    <a:pt x="101" y="34"/>
                    <a:pt x="97" y="36"/>
                  </a:cubicBezTo>
                  <a:cubicBezTo>
                    <a:pt x="94" y="37"/>
                    <a:pt x="92" y="39"/>
                    <a:pt x="90" y="39"/>
                  </a:cubicBezTo>
                  <a:cubicBezTo>
                    <a:pt x="88" y="40"/>
                    <a:pt x="86" y="42"/>
                    <a:pt x="84" y="44"/>
                  </a:cubicBezTo>
                  <a:cubicBezTo>
                    <a:pt x="82" y="45"/>
                    <a:pt x="80" y="47"/>
                    <a:pt x="77" y="48"/>
                  </a:cubicBezTo>
                  <a:cubicBezTo>
                    <a:pt x="77" y="48"/>
                    <a:pt x="77" y="48"/>
                    <a:pt x="77" y="48"/>
                  </a:cubicBezTo>
                  <a:cubicBezTo>
                    <a:pt x="72" y="50"/>
                    <a:pt x="72" y="51"/>
                    <a:pt x="72" y="52"/>
                  </a:cubicBezTo>
                  <a:cubicBezTo>
                    <a:pt x="72" y="53"/>
                    <a:pt x="73" y="54"/>
                    <a:pt x="73" y="56"/>
                  </a:cubicBezTo>
                  <a:cubicBezTo>
                    <a:pt x="73" y="56"/>
                    <a:pt x="73" y="56"/>
                    <a:pt x="73" y="56"/>
                  </a:cubicBezTo>
                  <a:cubicBezTo>
                    <a:pt x="74" y="59"/>
                    <a:pt x="74" y="62"/>
                    <a:pt x="74" y="64"/>
                  </a:cubicBezTo>
                  <a:cubicBezTo>
                    <a:pt x="74" y="65"/>
                    <a:pt x="73" y="66"/>
                    <a:pt x="73" y="66"/>
                  </a:cubicBezTo>
                  <a:cubicBezTo>
                    <a:pt x="72" y="67"/>
                    <a:pt x="72" y="67"/>
                    <a:pt x="72" y="67"/>
                  </a:cubicBezTo>
                  <a:cubicBezTo>
                    <a:pt x="71" y="68"/>
                    <a:pt x="71" y="69"/>
                    <a:pt x="71" y="69"/>
                  </a:cubicBezTo>
                  <a:cubicBezTo>
                    <a:pt x="71" y="71"/>
                    <a:pt x="69" y="75"/>
                    <a:pt x="66" y="77"/>
                  </a:cubicBezTo>
                  <a:cubicBezTo>
                    <a:pt x="61" y="81"/>
                    <a:pt x="61" y="81"/>
                    <a:pt x="62" y="83"/>
                  </a:cubicBezTo>
                  <a:cubicBezTo>
                    <a:pt x="64" y="89"/>
                    <a:pt x="62" y="96"/>
                    <a:pt x="57" y="104"/>
                  </a:cubicBezTo>
                  <a:cubicBezTo>
                    <a:pt x="53" y="108"/>
                    <a:pt x="52" y="114"/>
                    <a:pt x="52" y="115"/>
                  </a:cubicBezTo>
                  <a:cubicBezTo>
                    <a:pt x="51" y="115"/>
                    <a:pt x="51" y="115"/>
                    <a:pt x="51" y="115"/>
                  </a:cubicBezTo>
                  <a:cubicBezTo>
                    <a:pt x="51" y="116"/>
                    <a:pt x="51" y="116"/>
                    <a:pt x="51" y="116"/>
                  </a:cubicBezTo>
                  <a:cubicBezTo>
                    <a:pt x="51" y="116"/>
                    <a:pt x="49" y="118"/>
                    <a:pt x="45" y="122"/>
                  </a:cubicBezTo>
                  <a:cubicBezTo>
                    <a:pt x="43" y="123"/>
                    <a:pt x="43" y="123"/>
                    <a:pt x="43" y="123"/>
                  </a:cubicBezTo>
                  <a:cubicBezTo>
                    <a:pt x="42" y="122"/>
                    <a:pt x="42" y="122"/>
                    <a:pt x="42" y="122"/>
                  </a:cubicBezTo>
                  <a:cubicBezTo>
                    <a:pt x="38" y="121"/>
                    <a:pt x="33" y="120"/>
                    <a:pt x="30" y="119"/>
                  </a:cubicBezTo>
                  <a:cubicBezTo>
                    <a:pt x="30" y="120"/>
                    <a:pt x="30" y="120"/>
                    <a:pt x="30" y="121"/>
                  </a:cubicBezTo>
                  <a:cubicBezTo>
                    <a:pt x="32" y="125"/>
                    <a:pt x="31" y="133"/>
                    <a:pt x="30" y="140"/>
                  </a:cubicBezTo>
                  <a:cubicBezTo>
                    <a:pt x="29" y="143"/>
                    <a:pt x="27" y="144"/>
                    <a:pt x="26" y="145"/>
                  </a:cubicBezTo>
                  <a:cubicBezTo>
                    <a:pt x="26" y="145"/>
                    <a:pt x="25" y="145"/>
                    <a:pt x="25" y="145"/>
                  </a:cubicBezTo>
                  <a:cubicBezTo>
                    <a:pt x="24" y="145"/>
                    <a:pt x="24" y="145"/>
                    <a:pt x="24" y="145"/>
                  </a:cubicBezTo>
                  <a:cubicBezTo>
                    <a:pt x="23" y="149"/>
                    <a:pt x="23" y="149"/>
                    <a:pt x="23" y="149"/>
                  </a:cubicBezTo>
                  <a:cubicBezTo>
                    <a:pt x="23" y="153"/>
                    <a:pt x="23" y="153"/>
                    <a:pt x="23" y="153"/>
                  </a:cubicBezTo>
                  <a:cubicBezTo>
                    <a:pt x="25" y="165"/>
                    <a:pt x="25" y="165"/>
                    <a:pt x="25" y="165"/>
                  </a:cubicBezTo>
                  <a:cubicBezTo>
                    <a:pt x="18" y="171"/>
                    <a:pt x="18" y="171"/>
                    <a:pt x="18" y="171"/>
                  </a:cubicBezTo>
                  <a:cubicBezTo>
                    <a:pt x="15" y="170"/>
                    <a:pt x="15" y="170"/>
                    <a:pt x="15" y="170"/>
                  </a:cubicBezTo>
                  <a:cubicBezTo>
                    <a:pt x="12" y="174"/>
                    <a:pt x="12" y="174"/>
                    <a:pt x="12" y="174"/>
                  </a:cubicBezTo>
                  <a:cubicBezTo>
                    <a:pt x="12" y="182"/>
                    <a:pt x="12" y="182"/>
                    <a:pt x="12" y="182"/>
                  </a:cubicBezTo>
                  <a:cubicBezTo>
                    <a:pt x="13" y="183"/>
                    <a:pt x="12" y="185"/>
                    <a:pt x="12" y="186"/>
                  </a:cubicBezTo>
                  <a:cubicBezTo>
                    <a:pt x="12" y="186"/>
                    <a:pt x="12" y="186"/>
                    <a:pt x="12" y="187"/>
                  </a:cubicBezTo>
                  <a:cubicBezTo>
                    <a:pt x="13" y="193"/>
                    <a:pt x="13" y="193"/>
                    <a:pt x="13" y="193"/>
                  </a:cubicBezTo>
                  <a:cubicBezTo>
                    <a:pt x="8" y="189"/>
                    <a:pt x="8" y="189"/>
                    <a:pt x="8" y="189"/>
                  </a:cubicBezTo>
                  <a:cubicBezTo>
                    <a:pt x="7" y="189"/>
                    <a:pt x="6" y="189"/>
                    <a:pt x="5" y="188"/>
                  </a:cubicBezTo>
                  <a:cubicBezTo>
                    <a:pt x="5" y="188"/>
                    <a:pt x="4" y="188"/>
                    <a:pt x="3" y="187"/>
                  </a:cubicBezTo>
                  <a:cubicBezTo>
                    <a:pt x="2" y="188"/>
                    <a:pt x="2" y="189"/>
                    <a:pt x="1" y="190"/>
                  </a:cubicBezTo>
                  <a:cubicBezTo>
                    <a:pt x="1" y="190"/>
                    <a:pt x="1" y="190"/>
                    <a:pt x="1" y="190"/>
                  </a:cubicBezTo>
                  <a:cubicBezTo>
                    <a:pt x="2" y="191"/>
                    <a:pt x="2" y="191"/>
                    <a:pt x="2" y="191"/>
                  </a:cubicBezTo>
                  <a:cubicBezTo>
                    <a:pt x="2" y="192"/>
                    <a:pt x="2" y="192"/>
                    <a:pt x="2" y="192"/>
                  </a:cubicBezTo>
                  <a:cubicBezTo>
                    <a:pt x="2" y="192"/>
                    <a:pt x="2" y="192"/>
                    <a:pt x="2" y="192"/>
                  </a:cubicBezTo>
                  <a:cubicBezTo>
                    <a:pt x="2" y="193"/>
                    <a:pt x="2" y="193"/>
                    <a:pt x="2" y="193"/>
                  </a:cubicBezTo>
                  <a:cubicBezTo>
                    <a:pt x="0" y="195"/>
                    <a:pt x="0" y="195"/>
                    <a:pt x="0" y="195"/>
                  </a:cubicBezTo>
                  <a:cubicBezTo>
                    <a:pt x="1" y="196"/>
                    <a:pt x="2" y="197"/>
                    <a:pt x="2" y="198"/>
                  </a:cubicBezTo>
                  <a:cubicBezTo>
                    <a:pt x="2" y="199"/>
                    <a:pt x="2" y="199"/>
                    <a:pt x="2" y="199"/>
                  </a:cubicBezTo>
                  <a:cubicBezTo>
                    <a:pt x="4" y="200"/>
                    <a:pt x="5" y="203"/>
                    <a:pt x="6" y="205"/>
                  </a:cubicBezTo>
                  <a:cubicBezTo>
                    <a:pt x="7" y="207"/>
                    <a:pt x="8" y="209"/>
                    <a:pt x="9" y="210"/>
                  </a:cubicBezTo>
                  <a:cubicBezTo>
                    <a:pt x="10" y="211"/>
                    <a:pt x="10" y="212"/>
                    <a:pt x="11" y="213"/>
                  </a:cubicBezTo>
                  <a:cubicBezTo>
                    <a:pt x="11" y="212"/>
                    <a:pt x="11" y="211"/>
                    <a:pt x="11" y="209"/>
                  </a:cubicBezTo>
                  <a:cubicBezTo>
                    <a:pt x="10" y="207"/>
                    <a:pt x="10" y="206"/>
                    <a:pt x="10" y="204"/>
                  </a:cubicBezTo>
                  <a:cubicBezTo>
                    <a:pt x="11" y="205"/>
                    <a:pt x="12" y="206"/>
                    <a:pt x="12" y="208"/>
                  </a:cubicBezTo>
                  <a:cubicBezTo>
                    <a:pt x="13" y="209"/>
                    <a:pt x="13" y="210"/>
                    <a:pt x="14" y="211"/>
                  </a:cubicBezTo>
                  <a:cubicBezTo>
                    <a:pt x="15" y="212"/>
                    <a:pt x="13" y="213"/>
                    <a:pt x="13" y="213"/>
                  </a:cubicBezTo>
                  <a:cubicBezTo>
                    <a:pt x="13" y="214"/>
                    <a:pt x="14" y="214"/>
                    <a:pt x="15" y="215"/>
                  </a:cubicBezTo>
                  <a:cubicBezTo>
                    <a:pt x="15" y="216"/>
                    <a:pt x="15" y="216"/>
                    <a:pt x="15" y="216"/>
                  </a:cubicBezTo>
                  <a:cubicBezTo>
                    <a:pt x="16" y="215"/>
                    <a:pt x="16" y="214"/>
                    <a:pt x="17" y="213"/>
                  </a:cubicBezTo>
                  <a:cubicBezTo>
                    <a:pt x="17" y="211"/>
                    <a:pt x="18" y="209"/>
                    <a:pt x="19" y="207"/>
                  </a:cubicBezTo>
                  <a:cubicBezTo>
                    <a:pt x="19" y="208"/>
                    <a:pt x="19" y="209"/>
                    <a:pt x="19" y="211"/>
                  </a:cubicBezTo>
                  <a:cubicBezTo>
                    <a:pt x="19" y="211"/>
                    <a:pt x="19" y="211"/>
                    <a:pt x="19" y="211"/>
                  </a:cubicBezTo>
                  <a:cubicBezTo>
                    <a:pt x="19" y="210"/>
                    <a:pt x="19" y="210"/>
                    <a:pt x="20" y="210"/>
                  </a:cubicBezTo>
                  <a:cubicBezTo>
                    <a:pt x="19" y="212"/>
                    <a:pt x="17" y="216"/>
                    <a:pt x="17" y="219"/>
                  </a:cubicBezTo>
                  <a:cubicBezTo>
                    <a:pt x="17" y="219"/>
                    <a:pt x="18" y="220"/>
                    <a:pt x="19" y="220"/>
                  </a:cubicBezTo>
                  <a:cubicBezTo>
                    <a:pt x="19" y="220"/>
                    <a:pt x="19" y="220"/>
                    <a:pt x="19" y="220"/>
                  </a:cubicBezTo>
                  <a:cubicBezTo>
                    <a:pt x="19" y="222"/>
                    <a:pt x="20" y="223"/>
                    <a:pt x="21" y="224"/>
                  </a:cubicBezTo>
                  <a:cubicBezTo>
                    <a:pt x="20" y="221"/>
                    <a:pt x="20" y="219"/>
                    <a:pt x="23" y="219"/>
                  </a:cubicBezTo>
                  <a:cubicBezTo>
                    <a:pt x="24" y="219"/>
                    <a:pt x="25" y="219"/>
                    <a:pt x="26" y="219"/>
                  </a:cubicBezTo>
                  <a:cubicBezTo>
                    <a:pt x="27" y="219"/>
                    <a:pt x="28" y="220"/>
                    <a:pt x="29" y="220"/>
                  </a:cubicBezTo>
                  <a:cubicBezTo>
                    <a:pt x="31" y="220"/>
                    <a:pt x="35" y="221"/>
                    <a:pt x="35" y="222"/>
                  </a:cubicBezTo>
                  <a:cubicBezTo>
                    <a:pt x="36" y="223"/>
                    <a:pt x="36" y="223"/>
                    <a:pt x="36" y="223"/>
                  </a:cubicBezTo>
                  <a:cubicBezTo>
                    <a:pt x="35" y="223"/>
                    <a:pt x="35" y="223"/>
                    <a:pt x="35" y="223"/>
                  </a:cubicBezTo>
                  <a:cubicBezTo>
                    <a:pt x="34" y="223"/>
                    <a:pt x="34" y="223"/>
                    <a:pt x="34" y="224"/>
                  </a:cubicBezTo>
                  <a:cubicBezTo>
                    <a:pt x="33" y="224"/>
                    <a:pt x="33" y="224"/>
                    <a:pt x="33" y="225"/>
                  </a:cubicBezTo>
                  <a:cubicBezTo>
                    <a:pt x="32" y="227"/>
                    <a:pt x="35" y="227"/>
                    <a:pt x="38" y="227"/>
                  </a:cubicBezTo>
                  <a:cubicBezTo>
                    <a:pt x="36" y="229"/>
                    <a:pt x="36" y="230"/>
                    <a:pt x="37" y="231"/>
                  </a:cubicBezTo>
                  <a:cubicBezTo>
                    <a:pt x="37" y="231"/>
                    <a:pt x="38" y="231"/>
                    <a:pt x="38" y="232"/>
                  </a:cubicBezTo>
                  <a:cubicBezTo>
                    <a:pt x="39" y="232"/>
                    <a:pt x="41" y="234"/>
                    <a:pt x="41" y="236"/>
                  </a:cubicBezTo>
                  <a:cubicBezTo>
                    <a:pt x="42" y="236"/>
                    <a:pt x="42" y="236"/>
                    <a:pt x="42" y="236"/>
                  </a:cubicBezTo>
                  <a:cubicBezTo>
                    <a:pt x="40" y="237"/>
                    <a:pt x="39" y="239"/>
                    <a:pt x="39" y="240"/>
                  </a:cubicBezTo>
                  <a:cubicBezTo>
                    <a:pt x="39" y="240"/>
                    <a:pt x="38" y="239"/>
                    <a:pt x="38" y="239"/>
                  </a:cubicBezTo>
                  <a:cubicBezTo>
                    <a:pt x="37" y="239"/>
                    <a:pt x="36" y="239"/>
                    <a:pt x="35" y="238"/>
                  </a:cubicBezTo>
                  <a:cubicBezTo>
                    <a:pt x="34" y="238"/>
                    <a:pt x="34" y="237"/>
                    <a:pt x="33" y="236"/>
                  </a:cubicBezTo>
                  <a:cubicBezTo>
                    <a:pt x="33" y="236"/>
                    <a:pt x="33" y="236"/>
                    <a:pt x="32" y="235"/>
                  </a:cubicBezTo>
                  <a:cubicBezTo>
                    <a:pt x="31" y="235"/>
                    <a:pt x="31" y="235"/>
                    <a:pt x="31" y="235"/>
                  </a:cubicBezTo>
                  <a:cubicBezTo>
                    <a:pt x="30" y="235"/>
                    <a:pt x="30" y="236"/>
                    <a:pt x="31" y="237"/>
                  </a:cubicBezTo>
                  <a:cubicBezTo>
                    <a:pt x="31" y="239"/>
                    <a:pt x="33" y="242"/>
                    <a:pt x="34" y="243"/>
                  </a:cubicBezTo>
                  <a:cubicBezTo>
                    <a:pt x="34" y="243"/>
                    <a:pt x="34" y="243"/>
                    <a:pt x="34" y="243"/>
                  </a:cubicBezTo>
                  <a:cubicBezTo>
                    <a:pt x="36" y="245"/>
                    <a:pt x="37" y="247"/>
                    <a:pt x="39" y="248"/>
                  </a:cubicBezTo>
                  <a:cubicBezTo>
                    <a:pt x="39" y="248"/>
                    <a:pt x="40" y="249"/>
                    <a:pt x="40" y="249"/>
                  </a:cubicBezTo>
                  <a:cubicBezTo>
                    <a:pt x="41" y="248"/>
                    <a:pt x="40" y="247"/>
                    <a:pt x="40" y="246"/>
                  </a:cubicBezTo>
                  <a:cubicBezTo>
                    <a:pt x="40" y="245"/>
                    <a:pt x="40" y="243"/>
                    <a:pt x="40" y="242"/>
                  </a:cubicBezTo>
                  <a:cubicBezTo>
                    <a:pt x="40" y="241"/>
                    <a:pt x="40" y="240"/>
                    <a:pt x="40" y="240"/>
                  </a:cubicBezTo>
                  <a:cubicBezTo>
                    <a:pt x="40" y="241"/>
                    <a:pt x="40" y="241"/>
                    <a:pt x="40" y="241"/>
                  </a:cubicBezTo>
                  <a:cubicBezTo>
                    <a:pt x="41" y="239"/>
                    <a:pt x="42" y="238"/>
                    <a:pt x="43" y="237"/>
                  </a:cubicBezTo>
                  <a:cubicBezTo>
                    <a:pt x="44" y="238"/>
                    <a:pt x="44" y="241"/>
                    <a:pt x="44" y="243"/>
                  </a:cubicBezTo>
                  <a:cubicBezTo>
                    <a:pt x="43" y="245"/>
                    <a:pt x="43" y="246"/>
                    <a:pt x="43" y="248"/>
                  </a:cubicBezTo>
                  <a:cubicBezTo>
                    <a:pt x="43" y="250"/>
                    <a:pt x="44" y="249"/>
                    <a:pt x="45" y="251"/>
                  </a:cubicBezTo>
                  <a:cubicBezTo>
                    <a:pt x="45" y="251"/>
                    <a:pt x="45" y="251"/>
                    <a:pt x="45" y="251"/>
                  </a:cubicBezTo>
                  <a:cubicBezTo>
                    <a:pt x="46" y="253"/>
                    <a:pt x="48" y="255"/>
                    <a:pt x="49" y="257"/>
                  </a:cubicBezTo>
                  <a:cubicBezTo>
                    <a:pt x="50" y="259"/>
                    <a:pt x="51" y="261"/>
                    <a:pt x="52" y="264"/>
                  </a:cubicBezTo>
                  <a:cubicBezTo>
                    <a:pt x="52" y="266"/>
                    <a:pt x="53" y="269"/>
                    <a:pt x="54" y="271"/>
                  </a:cubicBezTo>
                  <a:cubicBezTo>
                    <a:pt x="54" y="272"/>
                    <a:pt x="54" y="272"/>
                    <a:pt x="54" y="272"/>
                  </a:cubicBezTo>
                  <a:cubicBezTo>
                    <a:pt x="54" y="273"/>
                    <a:pt x="55" y="276"/>
                    <a:pt x="56" y="279"/>
                  </a:cubicBezTo>
                  <a:cubicBezTo>
                    <a:pt x="56" y="281"/>
                    <a:pt x="57" y="284"/>
                    <a:pt x="56" y="285"/>
                  </a:cubicBezTo>
                  <a:cubicBezTo>
                    <a:pt x="55" y="287"/>
                    <a:pt x="55" y="288"/>
                    <a:pt x="55" y="289"/>
                  </a:cubicBezTo>
                  <a:cubicBezTo>
                    <a:pt x="54" y="292"/>
                    <a:pt x="53" y="295"/>
                    <a:pt x="53" y="298"/>
                  </a:cubicBezTo>
                  <a:cubicBezTo>
                    <a:pt x="52" y="299"/>
                    <a:pt x="52" y="300"/>
                    <a:pt x="52" y="301"/>
                  </a:cubicBezTo>
                  <a:cubicBezTo>
                    <a:pt x="52" y="305"/>
                    <a:pt x="51" y="309"/>
                    <a:pt x="50" y="313"/>
                  </a:cubicBezTo>
                  <a:cubicBezTo>
                    <a:pt x="50" y="316"/>
                    <a:pt x="49" y="320"/>
                    <a:pt x="48" y="323"/>
                  </a:cubicBezTo>
                  <a:cubicBezTo>
                    <a:pt x="51" y="321"/>
                    <a:pt x="53" y="319"/>
                    <a:pt x="55" y="317"/>
                  </a:cubicBezTo>
                  <a:cubicBezTo>
                    <a:pt x="57" y="316"/>
                    <a:pt x="57" y="316"/>
                    <a:pt x="57" y="316"/>
                  </a:cubicBezTo>
                  <a:cubicBezTo>
                    <a:pt x="57" y="316"/>
                    <a:pt x="57" y="315"/>
                    <a:pt x="57" y="315"/>
                  </a:cubicBezTo>
                  <a:cubicBezTo>
                    <a:pt x="59" y="313"/>
                    <a:pt x="59" y="311"/>
                    <a:pt x="59" y="309"/>
                  </a:cubicBezTo>
                  <a:cubicBezTo>
                    <a:pt x="59" y="310"/>
                    <a:pt x="59" y="312"/>
                    <a:pt x="59" y="313"/>
                  </a:cubicBezTo>
                  <a:cubicBezTo>
                    <a:pt x="59" y="314"/>
                    <a:pt x="59" y="315"/>
                    <a:pt x="59" y="316"/>
                  </a:cubicBezTo>
                  <a:cubicBezTo>
                    <a:pt x="59" y="318"/>
                    <a:pt x="56" y="321"/>
                    <a:pt x="56" y="323"/>
                  </a:cubicBezTo>
                  <a:cubicBezTo>
                    <a:pt x="57" y="323"/>
                    <a:pt x="57" y="323"/>
                    <a:pt x="57" y="323"/>
                  </a:cubicBezTo>
                  <a:cubicBezTo>
                    <a:pt x="57" y="323"/>
                    <a:pt x="57" y="323"/>
                    <a:pt x="58" y="323"/>
                  </a:cubicBezTo>
                  <a:cubicBezTo>
                    <a:pt x="60" y="322"/>
                    <a:pt x="60" y="319"/>
                    <a:pt x="62" y="318"/>
                  </a:cubicBezTo>
                  <a:cubicBezTo>
                    <a:pt x="61" y="319"/>
                    <a:pt x="61" y="320"/>
                    <a:pt x="61" y="322"/>
                  </a:cubicBezTo>
                  <a:cubicBezTo>
                    <a:pt x="60" y="323"/>
                    <a:pt x="60" y="324"/>
                    <a:pt x="60" y="326"/>
                  </a:cubicBezTo>
                  <a:cubicBezTo>
                    <a:pt x="60" y="325"/>
                    <a:pt x="62" y="323"/>
                    <a:pt x="62" y="322"/>
                  </a:cubicBezTo>
                  <a:cubicBezTo>
                    <a:pt x="62" y="322"/>
                    <a:pt x="63" y="321"/>
                    <a:pt x="63" y="321"/>
                  </a:cubicBezTo>
                  <a:cubicBezTo>
                    <a:pt x="64" y="320"/>
                    <a:pt x="63" y="320"/>
                    <a:pt x="63" y="319"/>
                  </a:cubicBezTo>
                  <a:cubicBezTo>
                    <a:pt x="64" y="318"/>
                    <a:pt x="64" y="318"/>
                    <a:pt x="64" y="318"/>
                  </a:cubicBezTo>
                  <a:cubicBezTo>
                    <a:pt x="64" y="318"/>
                    <a:pt x="64" y="318"/>
                    <a:pt x="64" y="318"/>
                  </a:cubicBezTo>
                  <a:cubicBezTo>
                    <a:pt x="65" y="321"/>
                    <a:pt x="65" y="323"/>
                    <a:pt x="66" y="326"/>
                  </a:cubicBezTo>
                  <a:cubicBezTo>
                    <a:pt x="66" y="327"/>
                    <a:pt x="66" y="327"/>
                    <a:pt x="66" y="328"/>
                  </a:cubicBezTo>
                  <a:cubicBezTo>
                    <a:pt x="68" y="327"/>
                    <a:pt x="68" y="326"/>
                    <a:pt x="68" y="324"/>
                  </a:cubicBezTo>
                  <a:cubicBezTo>
                    <a:pt x="69" y="324"/>
                    <a:pt x="69" y="323"/>
                    <a:pt x="69" y="323"/>
                  </a:cubicBezTo>
                  <a:cubicBezTo>
                    <a:pt x="69" y="322"/>
                    <a:pt x="69" y="322"/>
                    <a:pt x="69" y="322"/>
                  </a:cubicBezTo>
                  <a:cubicBezTo>
                    <a:pt x="69" y="321"/>
                    <a:pt x="71" y="318"/>
                    <a:pt x="71" y="318"/>
                  </a:cubicBezTo>
                  <a:cubicBezTo>
                    <a:pt x="71" y="318"/>
                    <a:pt x="71" y="319"/>
                    <a:pt x="71" y="320"/>
                  </a:cubicBezTo>
                  <a:cubicBezTo>
                    <a:pt x="71" y="320"/>
                    <a:pt x="71" y="320"/>
                    <a:pt x="71" y="320"/>
                  </a:cubicBezTo>
                  <a:cubicBezTo>
                    <a:pt x="71" y="323"/>
                    <a:pt x="69" y="327"/>
                    <a:pt x="72" y="327"/>
                  </a:cubicBezTo>
                  <a:cubicBezTo>
                    <a:pt x="72" y="327"/>
                    <a:pt x="72" y="327"/>
                    <a:pt x="72" y="327"/>
                  </a:cubicBezTo>
                  <a:cubicBezTo>
                    <a:pt x="73" y="325"/>
                    <a:pt x="73" y="325"/>
                    <a:pt x="73" y="325"/>
                  </a:cubicBezTo>
                  <a:cubicBezTo>
                    <a:pt x="75" y="323"/>
                    <a:pt x="76" y="322"/>
                    <a:pt x="76" y="319"/>
                  </a:cubicBezTo>
                  <a:cubicBezTo>
                    <a:pt x="76" y="321"/>
                    <a:pt x="75" y="324"/>
                    <a:pt x="75" y="327"/>
                  </a:cubicBezTo>
                  <a:cubicBezTo>
                    <a:pt x="74" y="328"/>
                    <a:pt x="75" y="329"/>
                    <a:pt x="75" y="329"/>
                  </a:cubicBezTo>
                  <a:cubicBezTo>
                    <a:pt x="76" y="329"/>
                    <a:pt x="76" y="329"/>
                    <a:pt x="77" y="329"/>
                  </a:cubicBezTo>
                  <a:cubicBezTo>
                    <a:pt x="80" y="326"/>
                    <a:pt x="82" y="321"/>
                    <a:pt x="84" y="317"/>
                  </a:cubicBezTo>
                  <a:cubicBezTo>
                    <a:pt x="85" y="316"/>
                    <a:pt x="85" y="316"/>
                    <a:pt x="86" y="316"/>
                  </a:cubicBezTo>
                  <a:cubicBezTo>
                    <a:pt x="87" y="316"/>
                    <a:pt x="87" y="316"/>
                    <a:pt x="88" y="316"/>
                  </a:cubicBezTo>
                  <a:cubicBezTo>
                    <a:pt x="88" y="316"/>
                    <a:pt x="89" y="316"/>
                    <a:pt x="89" y="316"/>
                  </a:cubicBezTo>
                  <a:cubicBezTo>
                    <a:pt x="90" y="316"/>
                    <a:pt x="90" y="316"/>
                    <a:pt x="91" y="316"/>
                  </a:cubicBezTo>
                  <a:cubicBezTo>
                    <a:pt x="93" y="315"/>
                    <a:pt x="94" y="314"/>
                    <a:pt x="92" y="312"/>
                  </a:cubicBezTo>
                  <a:cubicBezTo>
                    <a:pt x="93" y="312"/>
                    <a:pt x="99" y="312"/>
                    <a:pt x="100" y="311"/>
                  </a:cubicBezTo>
                  <a:cubicBezTo>
                    <a:pt x="100" y="310"/>
                    <a:pt x="99" y="310"/>
                    <a:pt x="99" y="310"/>
                  </a:cubicBezTo>
                  <a:cubicBezTo>
                    <a:pt x="99" y="309"/>
                    <a:pt x="98" y="309"/>
                    <a:pt x="98" y="308"/>
                  </a:cubicBezTo>
                  <a:cubicBezTo>
                    <a:pt x="99" y="307"/>
                    <a:pt x="99" y="307"/>
                    <a:pt x="99" y="307"/>
                  </a:cubicBezTo>
                  <a:cubicBezTo>
                    <a:pt x="100" y="308"/>
                    <a:pt x="101" y="309"/>
                    <a:pt x="102" y="309"/>
                  </a:cubicBezTo>
                  <a:cubicBezTo>
                    <a:pt x="102" y="309"/>
                    <a:pt x="102" y="309"/>
                    <a:pt x="103" y="309"/>
                  </a:cubicBezTo>
                  <a:cubicBezTo>
                    <a:pt x="103" y="309"/>
                    <a:pt x="104" y="309"/>
                    <a:pt x="104" y="309"/>
                  </a:cubicBezTo>
                  <a:cubicBezTo>
                    <a:pt x="107" y="308"/>
                    <a:pt x="108" y="306"/>
                    <a:pt x="110" y="304"/>
                  </a:cubicBezTo>
                  <a:cubicBezTo>
                    <a:pt x="112" y="302"/>
                    <a:pt x="111" y="302"/>
                    <a:pt x="112" y="299"/>
                  </a:cubicBezTo>
                  <a:cubicBezTo>
                    <a:pt x="112" y="299"/>
                    <a:pt x="112" y="299"/>
                    <a:pt x="112" y="299"/>
                  </a:cubicBezTo>
                  <a:cubicBezTo>
                    <a:pt x="112" y="295"/>
                    <a:pt x="113" y="292"/>
                    <a:pt x="113" y="288"/>
                  </a:cubicBezTo>
                  <a:cubicBezTo>
                    <a:pt x="113" y="287"/>
                    <a:pt x="113" y="286"/>
                    <a:pt x="113" y="285"/>
                  </a:cubicBezTo>
                  <a:cubicBezTo>
                    <a:pt x="114" y="286"/>
                    <a:pt x="114" y="286"/>
                    <a:pt x="115" y="287"/>
                  </a:cubicBezTo>
                  <a:cubicBezTo>
                    <a:pt x="116" y="288"/>
                    <a:pt x="118" y="290"/>
                    <a:pt x="119" y="292"/>
                  </a:cubicBezTo>
                  <a:cubicBezTo>
                    <a:pt x="120" y="293"/>
                    <a:pt x="121" y="295"/>
                    <a:pt x="121" y="297"/>
                  </a:cubicBezTo>
                  <a:cubicBezTo>
                    <a:pt x="121" y="298"/>
                    <a:pt x="122" y="298"/>
                    <a:pt x="122" y="299"/>
                  </a:cubicBezTo>
                  <a:cubicBezTo>
                    <a:pt x="122" y="301"/>
                    <a:pt x="123" y="304"/>
                    <a:pt x="124" y="306"/>
                  </a:cubicBezTo>
                  <a:cubicBezTo>
                    <a:pt x="124" y="307"/>
                    <a:pt x="125" y="308"/>
                    <a:pt x="125" y="309"/>
                  </a:cubicBezTo>
                  <a:cubicBezTo>
                    <a:pt x="126" y="308"/>
                    <a:pt x="130" y="308"/>
                    <a:pt x="132" y="308"/>
                  </a:cubicBezTo>
                  <a:cubicBezTo>
                    <a:pt x="132" y="308"/>
                    <a:pt x="133" y="307"/>
                    <a:pt x="133" y="307"/>
                  </a:cubicBezTo>
                  <a:cubicBezTo>
                    <a:pt x="134" y="307"/>
                    <a:pt x="134" y="308"/>
                    <a:pt x="134" y="308"/>
                  </a:cubicBezTo>
                  <a:cubicBezTo>
                    <a:pt x="131" y="308"/>
                    <a:pt x="131" y="315"/>
                    <a:pt x="131" y="318"/>
                  </a:cubicBezTo>
                  <a:cubicBezTo>
                    <a:pt x="131" y="318"/>
                    <a:pt x="131" y="319"/>
                    <a:pt x="131" y="319"/>
                  </a:cubicBezTo>
                  <a:cubicBezTo>
                    <a:pt x="131" y="321"/>
                    <a:pt x="132" y="324"/>
                    <a:pt x="133" y="326"/>
                  </a:cubicBezTo>
                  <a:cubicBezTo>
                    <a:pt x="133" y="327"/>
                    <a:pt x="134" y="328"/>
                    <a:pt x="134" y="329"/>
                  </a:cubicBezTo>
                  <a:cubicBezTo>
                    <a:pt x="134" y="330"/>
                    <a:pt x="134" y="331"/>
                    <a:pt x="134" y="332"/>
                  </a:cubicBezTo>
                  <a:cubicBezTo>
                    <a:pt x="134" y="332"/>
                    <a:pt x="135" y="333"/>
                    <a:pt x="135" y="333"/>
                  </a:cubicBezTo>
                  <a:cubicBezTo>
                    <a:pt x="135" y="336"/>
                    <a:pt x="135" y="339"/>
                    <a:pt x="135" y="342"/>
                  </a:cubicBezTo>
                  <a:cubicBezTo>
                    <a:pt x="135" y="344"/>
                    <a:pt x="135" y="346"/>
                    <a:pt x="136" y="348"/>
                  </a:cubicBezTo>
                  <a:cubicBezTo>
                    <a:pt x="136" y="349"/>
                    <a:pt x="136" y="350"/>
                    <a:pt x="136" y="351"/>
                  </a:cubicBezTo>
                  <a:cubicBezTo>
                    <a:pt x="138" y="353"/>
                    <a:pt x="140" y="354"/>
                    <a:pt x="141" y="356"/>
                  </a:cubicBezTo>
                  <a:cubicBezTo>
                    <a:pt x="141" y="356"/>
                    <a:pt x="141" y="356"/>
                    <a:pt x="141" y="356"/>
                  </a:cubicBezTo>
                  <a:cubicBezTo>
                    <a:pt x="141" y="356"/>
                    <a:pt x="141" y="356"/>
                    <a:pt x="141" y="356"/>
                  </a:cubicBezTo>
                  <a:cubicBezTo>
                    <a:pt x="141" y="356"/>
                    <a:pt x="141" y="356"/>
                    <a:pt x="141" y="356"/>
                  </a:cubicBezTo>
                  <a:cubicBezTo>
                    <a:pt x="141" y="356"/>
                    <a:pt x="141" y="356"/>
                    <a:pt x="141" y="356"/>
                  </a:cubicBezTo>
                  <a:cubicBezTo>
                    <a:pt x="141" y="359"/>
                    <a:pt x="141" y="362"/>
                    <a:pt x="141" y="365"/>
                  </a:cubicBezTo>
                  <a:cubicBezTo>
                    <a:pt x="142" y="368"/>
                    <a:pt x="142" y="371"/>
                    <a:pt x="142" y="373"/>
                  </a:cubicBezTo>
                  <a:cubicBezTo>
                    <a:pt x="143" y="376"/>
                    <a:pt x="143" y="379"/>
                    <a:pt x="144" y="381"/>
                  </a:cubicBezTo>
                  <a:cubicBezTo>
                    <a:pt x="144" y="382"/>
                    <a:pt x="144" y="383"/>
                    <a:pt x="144" y="384"/>
                  </a:cubicBezTo>
                  <a:cubicBezTo>
                    <a:pt x="145" y="384"/>
                    <a:pt x="145" y="384"/>
                    <a:pt x="145" y="384"/>
                  </a:cubicBezTo>
                  <a:cubicBezTo>
                    <a:pt x="145" y="383"/>
                    <a:pt x="145" y="381"/>
                    <a:pt x="145" y="380"/>
                  </a:cubicBezTo>
                  <a:cubicBezTo>
                    <a:pt x="145" y="380"/>
                    <a:pt x="145" y="380"/>
                    <a:pt x="145" y="380"/>
                  </a:cubicBezTo>
                  <a:cubicBezTo>
                    <a:pt x="146" y="377"/>
                    <a:pt x="145" y="374"/>
                    <a:pt x="145" y="371"/>
                  </a:cubicBezTo>
                  <a:cubicBezTo>
                    <a:pt x="146" y="372"/>
                    <a:pt x="148" y="374"/>
                    <a:pt x="149" y="377"/>
                  </a:cubicBezTo>
                  <a:cubicBezTo>
                    <a:pt x="150" y="379"/>
                    <a:pt x="150" y="382"/>
                    <a:pt x="151" y="384"/>
                  </a:cubicBezTo>
                  <a:cubicBezTo>
                    <a:pt x="152" y="386"/>
                    <a:pt x="152" y="388"/>
                    <a:pt x="153" y="389"/>
                  </a:cubicBezTo>
                  <a:cubicBezTo>
                    <a:pt x="153" y="390"/>
                    <a:pt x="153" y="390"/>
                    <a:pt x="153" y="391"/>
                  </a:cubicBezTo>
                  <a:cubicBezTo>
                    <a:pt x="154" y="393"/>
                    <a:pt x="155" y="395"/>
                    <a:pt x="156" y="398"/>
                  </a:cubicBezTo>
                  <a:cubicBezTo>
                    <a:pt x="157" y="400"/>
                    <a:pt x="158" y="402"/>
                    <a:pt x="158" y="404"/>
                  </a:cubicBezTo>
                  <a:cubicBezTo>
                    <a:pt x="158" y="405"/>
                    <a:pt x="158" y="405"/>
                    <a:pt x="158" y="406"/>
                  </a:cubicBezTo>
                  <a:cubicBezTo>
                    <a:pt x="157" y="408"/>
                    <a:pt x="155" y="410"/>
                    <a:pt x="156" y="413"/>
                  </a:cubicBezTo>
                  <a:cubicBezTo>
                    <a:pt x="156" y="414"/>
                    <a:pt x="155" y="415"/>
                    <a:pt x="154" y="416"/>
                  </a:cubicBezTo>
                  <a:cubicBezTo>
                    <a:pt x="155" y="416"/>
                    <a:pt x="156" y="416"/>
                    <a:pt x="157" y="416"/>
                  </a:cubicBezTo>
                  <a:cubicBezTo>
                    <a:pt x="157" y="416"/>
                    <a:pt x="158" y="416"/>
                    <a:pt x="158" y="417"/>
                  </a:cubicBezTo>
                  <a:cubicBezTo>
                    <a:pt x="158" y="417"/>
                    <a:pt x="158" y="417"/>
                    <a:pt x="158" y="417"/>
                  </a:cubicBezTo>
                  <a:cubicBezTo>
                    <a:pt x="158" y="417"/>
                    <a:pt x="157" y="420"/>
                    <a:pt x="157" y="421"/>
                  </a:cubicBezTo>
                  <a:cubicBezTo>
                    <a:pt x="157" y="422"/>
                    <a:pt x="157" y="423"/>
                    <a:pt x="157" y="424"/>
                  </a:cubicBezTo>
                  <a:cubicBezTo>
                    <a:pt x="156" y="422"/>
                    <a:pt x="154" y="422"/>
                    <a:pt x="153" y="421"/>
                  </a:cubicBezTo>
                  <a:cubicBezTo>
                    <a:pt x="152" y="420"/>
                    <a:pt x="152" y="420"/>
                    <a:pt x="152" y="420"/>
                  </a:cubicBezTo>
                  <a:cubicBezTo>
                    <a:pt x="152" y="421"/>
                    <a:pt x="152" y="421"/>
                    <a:pt x="152" y="421"/>
                  </a:cubicBezTo>
                  <a:cubicBezTo>
                    <a:pt x="152" y="422"/>
                    <a:pt x="152" y="422"/>
                    <a:pt x="152" y="422"/>
                  </a:cubicBezTo>
                  <a:cubicBezTo>
                    <a:pt x="152" y="424"/>
                    <a:pt x="152" y="425"/>
                    <a:pt x="153" y="425"/>
                  </a:cubicBezTo>
                  <a:cubicBezTo>
                    <a:pt x="154" y="425"/>
                    <a:pt x="155" y="424"/>
                    <a:pt x="157" y="424"/>
                  </a:cubicBezTo>
                  <a:cubicBezTo>
                    <a:pt x="157" y="424"/>
                    <a:pt x="157" y="424"/>
                    <a:pt x="157" y="424"/>
                  </a:cubicBezTo>
                  <a:cubicBezTo>
                    <a:pt x="155" y="425"/>
                    <a:pt x="155" y="425"/>
                    <a:pt x="155" y="425"/>
                  </a:cubicBezTo>
                  <a:cubicBezTo>
                    <a:pt x="155" y="425"/>
                    <a:pt x="155" y="426"/>
                    <a:pt x="155" y="428"/>
                  </a:cubicBezTo>
                  <a:cubicBezTo>
                    <a:pt x="155" y="428"/>
                    <a:pt x="155" y="429"/>
                    <a:pt x="156" y="429"/>
                  </a:cubicBezTo>
                  <a:cubicBezTo>
                    <a:pt x="156" y="430"/>
                    <a:pt x="157" y="430"/>
                    <a:pt x="157" y="430"/>
                  </a:cubicBezTo>
                  <a:cubicBezTo>
                    <a:pt x="159" y="430"/>
                    <a:pt x="160" y="428"/>
                    <a:pt x="161" y="426"/>
                  </a:cubicBezTo>
                  <a:cubicBezTo>
                    <a:pt x="163" y="430"/>
                    <a:pt x="161" y="428"/>
                    <a:pt x="160" y="430"/>
                  </a:cubicBezTo>
                  <a:cubicBezTo>
                    <a:pt x="160" y="431"/>
                    <a:pt x="159" y="431"/>
                    <a:pt x="159" y="433"/>
                  </a:cubicBezTo>
                  <a:cubicBezTo>
                    <a:pt x="159" y="434"/>
                    <a:pt x="159" y="434"/>
                    <a:pt x="159" y="434"/>
                  </a:cubicBezTo>
                  <a:cubicBezTo>
                    <a:pt x="159" y="437"/>
                    <a:pt x="159" y="440"/>
                    <a:pt x="159" y="443"/>
                  </a:cubicBezTo>
                  <a:cubicBezTo>
                    <a:pt x="159" y="444"/>
                    <a:pt x="159" y="445"/>
                    <a:pt x="158" y="446"/>
                  </a:cubicBezTo>
                  <a:cubicBezTo>
                    <a:pt x="158" y="450"/>
                    <a:pt x="156" y="452"/>
                    <a:pt x="153" y="454"/>
                  </a:cubicBezTo>
                  <a:cubicBezTo>
                    <a:pt x="152" y="454"/>
                    <a:pt x="152" y="456"/>
                    <a:pt x="153" y="459"/>
                  </a:cubicBezTo>
                  <a:cubicBezTo>
                    <a:pt x="153" y="460"/>
                    <a:pt x="154" y="462"/>
                    <a:pt x="154" y="463"/>
                  </a:cubicBezTo>
                  <a:cubicBezTo>
                    <a:pt x="154" y="465"/>
                    <a:pt x="153" y="466"/>
                    <a:pt x="153" y="467"/>
                  </a:cubicBezTo>
                  <a:cubicBezTo>
                    <a:pt x="153" y="468"/>
                    <a:pt x="153" y="468"/>
                    <a:pt x="153" y="468"/>
                  </a:cubicBezTo>
                  <a:cubicBezTo>
                    <a:pt x="158" y="457"/>
                    <a:pt x="158" y="457"/>
                    <a:pt x="158" y="457"/>
                  </a:cubicBezTo>
                  <a:cubicBezTo>
                    <a:pt x="160" y="453"/>
                    <a:pt x="161" y="450"/>
                    <a:pt x="165" y="446"/>
                  </a:cubicBezTo>
                  <a:cubicBezTo>
                    <a:pt x="166" y="445"/>
                    <a:pt x="168" y="443"/>
                    <a:pt x="170" y="440"/>
                  </a:cubicBezTo>
                  <a:cubicBezTo>
                    <a:pt x="171" y="438"/>
                    <a:pt x="173" y="435"/>
                    <a:pt x="175" y="433"/>
                  </a:cubicBezTo>
                  <a:cubicBezTo>
                    <a:pt x="176" y="431"/>
                    <a:pt x="177" y="429"/>
                    <a:pt x="178" y="427"/>
                  </a:cubicBezTo>
                  <a:cubicBezTo>
                    <a:pt x="177" y="425"/>
                    <a:pt x="177" y="424"/>
                    <a:pt x="177" y="422"/>
                  </a:cubicBezTo>
                  <a:cubicBezTo>
                    <a:pt x="177" y="422"/>
                    <a:pt x="177" y="422"/>
                    <a:pt x="177" y="422"/>
                  </a:cubicBezTo>
                  <a:cubicBezTo>
                    <a:pt x="176" y="423"/>
                    <a:pt x="176" y="423"/>
                    <a:pt x="176" y="423"/>
                  </a:cubicBezTo>
                  <a:cubicBezTo>
                    <a:pt x="175" y="420"/>
                    <a:pt x="175" y="420"/>
                    <a:pt x="175" y="420"/>
                  </a:cubicBezTo>
                  <a:cubicBezTo>
                    <a:pt x="174" y="417"/>
                    <a:pt x="174" y="415"/>
                    <a:pt x="174" y="413"/>
                  </a:cubicBezTo>
                  <a:cubicBezTo>
                    <a:pt x="174" y="412"/>
                    <a:pt x="174" y="412"/>
                    <a:pt x="174" y="412"/>
                  </a:cubicBezTo>
                  <a:cubicBezTo>
                    <a:pt x="173" y="411"/>
                    <a:pt x="173" y="411"/>
                    <a:pt x="173" y="410"/>
                  </a:cubicBezTo>
                  <a:cubicBezTo>
                    <a:pt x="173" y="408"/>
                    <a:pt x="171" y="406"/>
                    <a:pt x="170" y="404"/>
                  </a:cubicBezTo>
                  <a:cubicBezTo>
                    <a:pt x="169" y="403"/>
                    <a:pt x="169" y="402"/>
                    <a:pt x="168" y="401"/>
                  </a:cubicBezTo>
                  <a:cubicBezTo>
                    <a:pt x="168" y="401"/>
                    <a:pt x="168" y="401"/>
                    <a:pt x="168" y="401"/>
                  </a:cubicBezTo>
                  <a:cubicBezTo>
                    <a:pt x="167" y="399"/>
                    <a:pt x="165" y="397"/>
                    <a:pt x="165" y="395"/>
                  </a:cubicBezTo>
                  <a:cubicBezTo>
                    <a:pt x="165" y="393"/>
                    <a:pt x="166" y="392"/>
                    <a:pt x="167" y="391"/>
                  </a:cubicBezTo>
                  <a:cubicBezTo>
                    <a:pt x="167" y="391"/>
                    <a:pt x="167" y="391"/>
                    <a:pt x="167" y="391"/>
                  </a:cubicBezTo>
                  <a:cubicBezTo>
                    <a:pt x="167" y="391"/>
                    <a:pt x="167" y="390"/>
                    <a:pt x="167" y="390"/>
                  </a:cubicBezTo>
                  <a:cubicBezTo>
                    <a:pt x="167" y="389"/>
                    <a:pt x="167" y="389"/>
                    <a:pt x="167" y="389"/>
                  </a:cubicBezTo>
                  <a:cubicBezTo>
                    <a:pt x="167" y="388"/>
                    <a:pt x="167" y="387"/>
                    <a:pt x="167" y="386"/>
                  </a:cubicBezTo>
                  <a:cubicBezTo>
                    <a:pt x="167" y="383"/>
                    <a:pt x="167" y="381"/>
                    <a:pt x="167" y="381"/>
                  </a:cubicBezTo>
                  <a:cubicBezTo>
                    <a:pt x="167" y="380"/>
                    <a:pt x="167" y="380"/>
                    <a:pt x="167" y="380"/>
                  </a:cubicBezTo>
                  <a:cubicBezTo>
                    <a:pt x="166" y="379"/>
                    <a:pt x="166" y="379"/>
                    <a:pt x="166" y="378"/>
                  </a:cubicBezTo>
                  <a:cubicBezTo>
                    <a:pt x="165" y="378"/>
                    <a:pt x="165" y="378"/>
                    <a:pt x="164" y="377"/>
                  </a:cubicBezTo>
                  <a:cubicBezTo>
                    <a:pt x="164" y="377"/>
                    <a:pt x="164" y="377"/>
                    <a:pt x="164" y="377"/>
                  </a:cubicBezTo>
                  <a:cubicBezTo>
                    <a:pt x="163" y="376"/>
                    <a:pt x="163" y="376"/>
                    <a:pt x="163" y="375"/>
                  </a:cubicBezTo>
                  <a:cubicBezTo>
                    <a:pt x="159" y="371"/>
                    <a:pt x="159" y="371"/>
                    <a:pt x="159" y="371"/>
                  </a:cubicBezTo>
                  <a:cubicBezTo>
                    <a:pt x="159" y="371"/>
                    <a:pt x="158" y="370"/>
                    <a:pt x="157" y="369"/>
                  </a:cubicBezTo>
                  <a:cubicBezTo>
                    <a:pt x="156" y="368"/>
                    <a:pt x="156" y="368"/>
                    <a:pt x="156" y="368"/>
                  </a:cubicBezTo>
                  <a:cubicBezTo>
                    <a:pt x="152" y="363"/>
                    <a:pt x="148" y="359"/>
                    <a:pt x="146" y="353"/>
                  </a:cubicBezTo>
                  <a:cubicBezTo>
                    <a:pt x="144" y="349"/>
                    <a:pt x="143" y="347"/>
                    <a:pt x="143" y="344"/>
                  </a:cubicBezTo>
                  <a:cubicBezTo>
                    <a:pt x="143" y="339"/>
                    <a:pt x="146" y="338"/>
                    <a:pt x="149" y="337"/>
                  </a:cubicBezTo>
                  <a:cubicBezTo>
                    <a:pt x="150" y="337"/>
                    <a:pt x="150" y="337"/>
                    <a:pt x="150" y="337"/>
                  </a:cubicBezTo>
                  <a:cubicBezTo>
                    <a:pt x="151" y="337"/>
                    <a:pt x="152" y="337"/>
                    <a:pt x="152" y="336"/>
                  </a:cubicBezTo>
                  <a:cubicBezTo>
                    <a:pt x="152" y="336"/>
                    <a:pt x="152" y="336"/>
                    <a:pt x="152" y="336"/>
                  </a:cubicBezTo>
                  <a:cubicBezTo>
                    <a:pt x="152" y="336"/>
                    <a:pt x="152" y="336"/>
                    <a:pt x="152" y="335"/>
                  </a:cubicBezTo>
                  <a:cubicBezTo>
                    <a:pt x="152" y="334"/>
                    <a:pt x="152" y="333"/>
                    <a:pt x="152" y="332"/>
                  </a:cubicBezTo>
                  <a:cubicBezTo>
                    <a:pt x="152" y="328"/>
                    <a:pt x="152" y="328"/>
                    <a:pt x="152" y="328"/>
                  </a:cubicBezTo>
                  <a:cubicBezTo>
                    <a:pt x="152" y="326"/>
                    <a:pt x="152" y="324"/>
                    <a:pt x="152" y="322"/>
                  </a:cubicBezTo>
                  <a:cubicBezTo>
                    <a:pt x="152" y="318"/>
                    <a:pt x="154" y="317"/>
                    <a:pt x="156" y="317"/>
                  </a:cubicBezTo>
                  <a:cubicBezTo>
                    <a:pt x="156" y="316"/>
                    <a:pt x="156" y="316"/>
                    <a:pt x="156" y="316"/>
                  </a:cubicBezTo>
                  <a:cubicBezTo>
                    <a:pt x="155" y="314"/>
                    <a:pt x="155" y="313"/>
                    <a:pt x="154" y="312"/>
                  </a:cubicBezTo>
                  <a:cubicBezTo>
                    <a:pt x="154" y="310"/>
                    <a:pt x="154" y="309"/>
                    <a:pt x="153" y="308"/>
                  </a:cubicBezTo>
                  <a:cubicBezTo>
                    <a:pt x="153" y="307"/>
                    <a:pt x="153" y="305"/>
                    <a:pt x="152" y="304"/>
                  </a:cubicBezTo>
                  <a:cubicBezTo>
                    <a:pt x="152" y="303"/>
                    <a:pt x="152" y="302"/>
                    <a:pt x="151" y="301"/>
                  </a:cubicBezTo>
                  <a:cubicBezTo>
                    <a:pt x="151" y="300"/>
                    <a:pt x="151" y="300"/>
                    <a:pt x="151" y="300"/>
                  </a:cubicBezTo>
                  <a:cubicBezTo>
                    <a:pt x="150" y="299"/>
                    <a:pt x="150" y="299"/>
                    <a:pt x="150" y="299"/>
                  </a:cubicBezTo>
                  <a:cubicBezTo>
                    <a:pt x="150" y="299"/>
                    <a:pt x="150" y="299"/>
                    <a:pt x="150" y="299"/>
                  </a:cubicBezTo>
                  <a:cubicBezTo>
                    <a:pt x="150" y="298"/>
                    <a:pt x="150" y="298"/>
                    <a:pt x="150" y="298"/>
                  </a:cubicBezTo>
                  <a:cubicBezTo>
                    <a:pt x="149" y="298"/>
                    <a:pt x="149" y="298"/>
                    <a:pt x="149" y="298"/>
                  </a:cubicBezTo>
                  <a:cubicBezTo>
                    <a:pt x="148" y="297"/>
                    <a:pt x="147" y="297"/>
                    <a:pt x="146" y="296"/>
                  </a:cubicBezTo>
                  <a:cubicBezTo>
                    <a:pt x="144" y="294"/>
                    <a:pt x="144" y="294"/>
                    <a:pt x="144" y="294"/>
                  </a:cubicBezTo>
                  <a:cubicBezTo>
                    <a:pt x="143" y="292"/>
                    <a:pt x="141" y="290"/>
                    <a:pt x="140" y="288"/>
                  </a:cubicBezTo>
                  <a:cubicBezTo>
                    <a:pt x="137" y="285"/>
                    <a:pt x="134" y="281"/>
                    <a:pt x="131" y="278"/>
                  </a:cubicBezTo>
                  <a:cubicBezTo>
                    <a:pt x="130" y="276"/>
                    <a:pt x="130" y="274"/>
                    <a:pt x="131" y="272"/>
                  </a:cubicBezTo>
                  <a:cubicBezTo>
                    <a:pt x="131" y="272"/>
                    <a:pt x="131" y="272"/>
                    <a:pt x="131" y="272"/>
                  </a:cubicBezTo>
                  <a:cubicBezTo>
                    <a:pt x="131" y="271"/>
                    <a:pt x="131" y="271"/>
                    <a:pt x="131" y="271"/>
                  </a:cubicBezTo>
                  <a:cubicBezTo>
                    <a:pt x="130" y="269"/>
                    <a:pt x="130" y="269"/>
                    <a:pt x="130" y="269"/>
                  </a:cubicBezTo>
                  <a:cubicBezTo>
                    <a:pt x="130" y="268"/>
                    <a:pt x="130" y="268"/>
                    <a:pt x="130" y="267"/>
                  </a:cubicBezTo>
                  <a:cubicBezTo>
                    <a:pt x="129" y="267"/>
                    <a:pt x="129" y="267"/>
                    <a:pt x="129" y="267"/>
                  </a:cubicBezTo>
                  <a:cubicBezTo>
                    <a:pt x="128" y="267"/>
                    <a:pt x="128" y="267"/>
                    <a:pt x="128" y="267"/>
                  </a:cubicBezTo>
                  <a:cubicBezTo>
                    <a:pt x="125" y="265"/>
                    <a:pt x="124" y="262"/>
                    <a:pt x="123" y="259"/>
                  </a:cubicBezTo>
                  <a:cubicBezTo>
                    <a:pt x="121" y="254"/>
                    <a:pt x="121" y="254"/>
                    <a:pt x="121" y="254"/>
                  </a:cubicBezTo>
                  <a:cubicBezTo>
                    <a:pt x="125" y="254"/>
                    <a:pt x="125" y="254"/>
                    <a:pt x="125" y="254"/>
                  </a:cubicBezTo>
                  <a:cubicBezTo>
                    <a:pt x="126" y="254"/>
                    <a:pt x="127" y="254"/>
                    <a:pt x="128" y="254"/>
                  </a:cubicBezTo>
                  <a:cubicBezTo>
                    <a:pt x="129" y="254"/>
                    <a:pt x="130" y="254"/>
                    <a:pt x="131" y="254"/>
                  </a:cubicBezTo>
                  <a:cubicBezTo>
                    <a:pt x="131" y="254"/>
                    <a:pt x="132" y="254"/>
                    <a:pt x="132" y="254"/>
                  </a:cubicBezTo>
                  <a:cubicBezTo>
                    <a:pt x="132" y="254"/>
                    <a:pt x="132" y="254"/>
                    <a:pt x="132" y="254"/>
                  </a:cubicBezTo>
                  <a:cubicBezTo>
                    <a:pt x="132" y="253"/>
                    <a:pt x="132" y="253"/>
                    <a:pt x="132" y="253"/>
                  </a:cubicBezTo>
                  <a:cubicBezTo>
                    <a:pt x="132" y="252"/>
                    <a:pt x="132" y="252"/>
                    <a:pt x="132" y="252"/>
                  </a:cubicBezTo>
                  <a:cubicBezTo>
                    <a:pt x="132" y="250"/>
                    <a:pt x="131" y="249"/>
                    <a:pt x="132" y="247"/>
                  </a:cubicBezTo>
                  <a:cubicBezTo>
                    <a:pt x="132" y="247"/>
                    <a:pt x="132" y="246"/>
                    <a:pt x="132" y="245"/>
                  </a:cubicBezTo>
                  <a:cubicBezTo>
                    <a:pt x="133" y="242"/>
                    <a:pt x="134" y="240"/>
                    <a:pt x="134" y="237"/>
                  </a:cubicBezTo>
                  <a:cubicBezTo>
                    <a:pt x="134" y="231"/>
                    <a:pt x="135" y="230"/>
                    <a:pt x="138" y="225"/>
                  </a:cubicBezTo>
                  <a:cubicBezTo>
                    <a:pt x="139" y="224"/>
                    <a:pt x="139" y="224"/>
                    <a:pt x="140" y="223"/>
                  </a:cubicBezTo>
                  <a:cubicBezTo>
                    <a:pt x="141" y="223"/>
                    <a:pt x="142" y="222"/>
                    <a:pt x="143" y="222"/>
                  </a:cubicBezTo>
                  <a:cubicBezTo>
                    <a:pt x="144" y="222"/>
                    <a:pt x="144" y="223"/>
                    <a:pt x="145" y="223"/>
                  </a:cubicBezTo>
                  <a:cubicBezTo>
                    <a:pt x="147" y="224"/>
                    <a:pt x="147" y="224"/>
                    <a:pt x="147" y="224"/>
                  </a:cubicBezTo>
                  <a:cubicBezTo>
                    <a:pt x="148" y="224"/>
                    <a:pt x="150" y="224"/>
                    <a:pt x="151" y="224"/>
                  </a:cubicBezTo>
                  <a:cubicBezTo>
                    <a:pt x="152" y="224"/>
                    <a:pt x="152" y="224"/>
                    <a:pt x="152" y="224"/>
                  </a:cubicBezTo>
                  <a:cubicBezTo>
                    <a:pt x="153" y="224"/>
                    <a:pt x="153" y="224"/>
                    <a:pt x="153" y="224"/>
                  </a:cubicBezTo>
                  <a:cubicBezTo>
                    <a:pt x="154" y="224"/>
                    <a:pt x="154" y="224"/>
                    <a:pt x="155" y="224"/>
                  </a:cubicBezTo>
                  <a:cubicBezTo>
                    <a:pt x="154" y="218"/>
                    <a:pt x="154" y="218"/>
                    <a:pt x="154" y="218"/>
                  </a:cubicBezTo>
                  <a:cubicBezTo>
                    <a:pt x="156" y="224"/>
                    <a:pt x="156" y="224"/>
                    <a:pt x="156" y="224"/>
                  </a:cubicBezTo>
                  <a:cubicBezTo>
                    <a:pt x="157" y="224"/>
                    <a:pt x="157" y="224"/>
                    <a:pt x="157" y="224"/>
                  </a:cubicBezTo>
                  <a:cubicBezTo>
                    <a:pt x="158" y="224"/>
                    <a:pt x="158" y="224"/>
                    <a:pt x="159" y="224"/>
                  </a:cubicBezTo>
                  <a:cubicBezTo>
                    <a:pt x="160" y="223"/>
                    <a:pt x="160" y="223"/>
                    <a:pt x="160" y="223"/>
                  </a:cubicBezTo>
                  <a:cubicBezTo>
                    <a:pt x="161" y="223"/>
                    <a:pt x="162" y="223"/>
                    <a:pt x="163" y="223"/>
                  </a:cubicBezTo>
                  <a:cubicBezTo>
                    <a:pt x="163" y="223"/>
                    <a:pt x="163" y="223"/>
                    <a:pt x="163" y="223"/>
                  </a:cubicBezTo>
                  <a:cubicBezTo>
                    <a:pt x="163" y="222"/>
                    <a:pt x="163" y="222"/>
                    <a:pt x="163" y="222"/>
                  </a:cubicBezTo>
                  <a:cubicBezTo>
                    <a:pt x="165" y="222"/>
                    <a:pt x="165" y="222"/>
                    <a:pt x="165" y="222"/>
                  </a:cubicBezTo>
                  <a:cubicBezTo>
                    <a:pt x="164" y="222"/>
                    <a:pt x="164" y="222"/>
                    <a:pt x="164" y="222"/>
                  </a:cubicBezTo>
                  <a:cubicBezTo>
                    <a:pt x="164" y="221"/>
                    <a:pt x="164" y="221"/>
                    <a:pt x="165" y="220"/>
                  </a:cubicBezTo>
                  <a:cubicBezTo>
                    <a:pt x="165" y="218"/>
                    <a:pt x="165" y="217"/>
                    <a:pt x="166" y="216"/>
                  </a:cubicBezTo>
                  <a:cubicBezTo>
                    <a:pt x="167" y="215"/>
                    <a:pt x="169" y="214"/>
                    <a:pt x="172" y="213"/>
                  </a:cubicBezTo>
                  <a:cubicBezTo>
                    <a:pt x="173" y="213"/>
                    <a:pt x="173" y="213"/>
                    <a:pt x="174" y="213"/>
                  </a:cubicBezTo>
                  <a:cubicBezTo>
                    <a:pt x="174" y="212"/>
                    <a:pt x="174" y="211"/>
                    <a:pt x="173" y="210"/>
                  </a:cubicBezTo>
                  <a:cubicBezTo>
                    <a:pt x="173" y="204"/>
                    <a:pt x="173" y="204"/>
                    <a:pt x="173" y="204"/>
                  </a:cubicBezTo>
                  <a:cubicBezTo>
                    <a:pt x="178" y="208"/>
                    <a:pt x="178" y="208"/>
                    <a:pt x="178" y="208"/>
                  </a:cubicBezTo>
                  <a:cubicBezTo>
                    <a:pt x="179" y="208"/>
                    <a:pt x="179" y="208"/>
                    <a:pt x="179" y="208"/>
                  </a:cubicBezTo>
                  <a:cubicBezTo>
                    <a:pt x="180" y="208"/>
                    <a:pt x="180" y="208"/>
                    <a:pt x="180" y="208"/>
                  </a:cubicBezTo>
                  <a:cubicBezTo>
                    <a:pt x="180" y="208"/>
                    <a:pt x="181" y="209"/>
                    <a:pt x="181" y="209"/>
                  </a:cubicBezTo>
                  <a:cubicBezTo>
                    <a:pt x="182" y="208"/>
                    <a:pt x="182" y="208"/>
                    <a:pt x="182" y="208"/>
                  </a:cubicBezTo>
                  <a:cubicBezTo>
                    <a:pt x="183" y="208"/>
                    <a:pt x="183" y="208"/>
                    <a:pt x="183" y="208"/>
                  </a:cubicBezTo>
                  <a:cubicBezTo>
                    <a:pt x="184" y="207"/>
                    <a:pt x="185" y="207"/>
                    <a:pt x="186" y="206"/>
                  </a:cubicBezTo>
                  <a:cubicBezTo>
                    <a:pt x="187" y="206"/>
                    <a:pt x="187" y="206"/>
                    <a:pt x="188" y="206"/>
                  </a:cubicBezTo>
                  <a:cubicBezTo>
                    <a:pt x="182" y="191"/>
                    <a:pt x="182" y="191"/>
                    <a:pt x="182" y="191"/>
                  </a:cubicBezTo>
                  <a:cubicBezTo>
                    <a:pt x="191" y="204"/>
                    <a:pt x="191" y="204"/>
                    <a:pt x="191" y="204"/>
                  </a:cubicBezTo>
                  <a:cubicBezTo>
                    <a:pt x="192" y="202"/>
                    <a:pt x="193" y="199"/>
                    <a:pt x="196" y="198"/>
                  </a:cubicBezTo>
                  <a:cubicBezTo>
                    <a:pt x="196" y="197"/>
                    <a:pt x="196" y="197"/>
                    <a:pt x="196" y="197"/>
                  </a:cubicBezTo>
                  <a:cubicBezTo>
                    <a:pt x="198" y="196"/>
                    <a:pt x="200" y="196"/>
                    <a:pt x="201" y="196"/>
                  </a:cubicBezTo>
                  <a:cubicBezTo>
                    <a:pt x="201" y="195"/>
                    <a:pt x="201" y="194"/>
                    <a:pt x="201" y="193"/>
                  </a:cubicBezTo>
                  <a:cubicBezTo>
                    <a:pt x="201" y="192"/>
                    <a:pt x="201" y="192"/>
                    <a:pt x="201" y="192"/>
                  </a:cubicBezTo>
                  <a:cubicBezTo>
                    <a:pt x="202" y="192"/>
                    <a:pt x="202" y="191"/>
                    <a:pt x="202" y="191"/>
                  </a:cubicBezTo>
                  <a:cubicBezTo>
                    <a:pt x="203" y="188"/>
                    <a:pt x="203" y="188"/>
                    <a:pt x="203" y="188"/>
                  </a:cubicBezTo>
                  <a:cubicBezTo>
                    <a:pt x="205" y="186"/>
                    <a:pt x="205" y="185"/>
                    <a:pt x="207" y="183"/>
                  </a:cubicBezTo>
                  <a:cubicBezTo>
                    <a:pt x="208" y="183"/>
                    <a:pt x="209" y="182"/>
                    <a:pt x="210" y="181"/>
                  </a:cubicBezTo>
                  <a:cubicBezTo>
                    <a:pt x="208" y="182"/>
                    <a:pt x="207" y="182"/>
                    <a:pt x="206" y="183"/>
                  </a:cubicBezTo>
                  <a:cubicBezTo>
                    <a:pt x="197" y="186"/>
                    <a:pt x="197" y="186"/>
                    <a:pt x="197" y="186"/>
                  </a:cubicBezTo>
                  <a:cubicBezTo>
                    <a:pt x="196" y="186"/>
                    <a:pt x="196" y="186"/>
                    <a:pt x="196" y="186"/>
                  </a:cubicBezTo>
                  <a:cubicBezTo>
                    <a:pt x="194" y="186"/>
                    <a:pt x="193" y="185"/>
                    <a:pt x="192" y="184"/>
                  </a:cubicBezTo>
                  <a:cubicBezTo>
                    <a:pt x="191" y="183"/>
                    <a:pt x="191" y="182"/>
                    <a:pt x="190" y="182"/>
                  </a:cubicBezTo>
                  <a:cubicBezTo>
                    <a:pt x="190" y="180"/>
                    <a:pt x="190" y="180"/>
                    <a:pt x="190" y="180"/>
                  </a:cubicBezTo>
                  <a:cubicBezTo>
                    <a:pt x="189" y="180"/>
                    <a:pt x="189" y="180"/>
                    <a:pt x="189" y="180"/>
                  </a:cubicBezTo>
                  <a:cubicBezTo>
                    <a:pt x="188" y="178"/>
                    <a:pt x="188" y="178"/>
                    <a:pt x="188" y="178"/>
                  </a:cubicBezTo>
                  <a:cubicBezTo>
                    <a:pt x="188" y="177"/>
                    <a:pt x="187" y="176"/>
                    <a:pt x="187" y="175"/>
                  </a:cubicBezTo>
                  <a:cubicBezTo>
                    <a:pt x="186" y="174"/>
                    <a:pt x="186" y="174"/>
                    <a:pt x="186" y="174"/>
                  </a:cubicBezTo>
                  <a:cubicBezTo>
                    <a:pt x="186" y="174"/>
                    <a:pt x="186" y="174"/>
                    <a:pt x="186" y="173"/>
                  </a:cubicBezTo>
                  <a:cubicBezTo>
                    <a:pt x="186" y="172"/>
                    <a:pt x="186" y="172"/>
                    <a:pt x="186" y="171"/>
                  </a:cubicBezTo>
                  <a:cubicBezTo>
                    <a:pt x="186" y="170"/>
                    <a:pt x="186" y="170"/>
                    <a:pt x="186" y="170"/>
                  </a:cubicBezTo>
                  <a:cubicBezTo>
                    <a:pt x="186" y="170"/>
                    <a:pt x="186" y="170"/>
                    <a:pt x="186" y="170"/>
                  </a:cubicBezTo>
                  <a:cubicBezTo>
                    <a:pt x="165" y="167"/>
                    <a:pt x="165" y="167"/>
                    <a:pt x="165" y="167"/>
                  </a:cubicBezTo>
                  <a:cubicBezTo>
                    <a:pt x="167" y="163"/>
                    <a:pt x="167" y="163"/>
                    <a:pt x="167" y="163"/>
                  </a:cubicBezTo>
                  <a:cubicBezTo>
                    <a:pt x="168" y="161"/>
                    <a:pt x="169" y="159"/>
                    <a:pt x="169" y="157"/>
                  </a:cubicBezTo>
                  <a:cubicBezTo>
                    <a:pt x="169" y="156"/>
                    <a:pt x="169" y="156"/>
                    <a:pt x="169" y="156"/>
                  </a:cubicBezTo>
                  <a:cubicBezTo>
                    <a:pt x="170" y="156"/>
                    <a:pt x="170" y="155"/>
                    <a:pt x="170" y="154"/>
                  </a:cubicBezTo>
                  <a:cubicBezTo>
                    <a:pt x="170" y="154"/>
                    <a:pt x="170" y="154"/>
                    <a:pt x="170" y="154"/>
                  </a:cubicBezTo>
                  <a:cubicBezTo>
                    <a:pt x="170" y="153"/>
                    <a:pt x="170" y="152"/>
                    <a:pt x="171" y="150"/>
                  </a:cubicBezTo>
                  <a:cubicBezTo>
                    <a:pt x="171" y="150"/>
                    <a:pt x="171" y="149"/>
                    <a:pt x="171" y="149"/>
                  </a:cubicBezTo>
                  <a:cubicBezTo>
                    <a:pt x="172" y="148"/>
                    <a:pt x="172" y="148"/>
                    <a:pt x="172" y="148"/>
                  </a:cubicBezTo>
                  <a:cubicBezTo>
                    <a:pt x="172" y="147"/>
                    <a:pt x="172" y="147"/>
                    <a:pt x="172" y="146"/>
                  </a:cubicBezTo>
                  <a:cubicBezTo>
                    <a:pt x="173" y="146"/>
                    <a:pt x="173" y="145"/>
                    <a:pt x="174" y="145"/>
                  </a:cubicBezTo>
                  <a:cubicBezTo>
                    <a:pt x="174" y="144"/>
                    <a:pt x="174" y="144"/>
                    <a:pt x="174" y="144"/>
                  </a:cubicBezTo>
                  <a:cubicBezTo>
                    <a:pt x="175" y="144"/>
                    <a:pt x="175" y="144"/>
                    <a:pt x="175" y="144"/>
                  </a:cubicBezTo>
                  <a:cubicBezTo>
                    <a:pt x="176" y="143"/>
                    <a:pt x="176" y="143"/>
                    <a:pt x="176" y="143"/>
                  </a:cubicBezTo>
                  <a:cubicBezTo>
                    <a:pt x="176" y="143"/>
                    <a:pt x="176" y="143"/>
                    <a:pt x="176" y="143"/>
                  </a:cubicBezTo>
                  <a:cubicBezTo>
                    <a:pt x="175" y="143"/>
                    <a:pt x="175" y="143"/>
                    <a:pt x="175" y="143"/>
                  </a:cubicBezTo>
                  <a:cubicBezTo>
                    <a:pt x="174" y="143"/>
                    <a:pt x="173" y="143"/>
                    <a:pt x="173" y="143"/>
                  </a:cubicBezTo>
                  <a:cubicBezTo>
                    <a:pt x="170" y="143"/>
                    <a:pt x="170" y="143"/>
                    <a:pt x="170" y="143"/>
                  </a:cubicBezTo>
                  <a:cubicBezTo>
                    <a:pt x="170" y="143"/>
                    <a:pt x="170" y="143"/>
                    <a:pt x="170" y="143"/>
                  </a:cubicBezTo>
                  <a:cubicBezTo>
                    <a:pt x="169" y="143"/>
                    <a:pt x="168" y="143"/>
                    <a:pt x="167" y="142"/>
                  </a:cubicBezTo>
                  <a:cubicBezTo>
                    <a:pt x="164" y="141"/>
                    <a:pt x="161" y="139"/>
                    <a:pt x="160" y="136"/>
                  </a:cubicBezTo>
                  <a:cubicBezTo>
                    <a:pt x="159" y="134"/>
                    <a:pt x="159" y="134"/>
                    <a:pt x="159" y="134"/>
                  </a:cubicBezTo>
                  <a:cubicBezTo>
                    <a:pt x="159" y="132"/>
                    <a:pt x="158" y="131"/>
                    <a:pt x="158" y="130"/>
                  </a:cubicBezTo>
                  <a:cubicBezTo>
                    <a:pt x="158" y="129"/>
                    <a:pt x="157" y="129"/>
                    <a:pt x="157" y="129"/>
                  </a:cubicBezTo>
                  <a:cubicBezTo>
                    <a:pt x="157" y="128"/>
                    <a:pt x="157" y="128"/>
                    <a:pt x="157" y="128"/>
                  </a:cubicBezTo>
                  <a:cubicBezTo>
                    <a:pt x="157" y="127"/>
                    <a:pt x="156" y="127"/>
                    <a:pt x="156" y="126"/>
                  </a:cubicBezTo>
                  <a:cubicBezTo>
                    <a:pt x="155" y="127"/>
                    <a:pt x="155" y="127"/>
                    <a:pt x="155" y="127"/>
                  </a:cubicBezTo>
                  <a:cubicBezTo>
                    <a:pt x="156" y="125"/>
                    <a:pt x="156" y="125"/>
                    <a:pt x="156" y="125"/>
                  </a:cubicBezTo>
                  <a:cubicBezTo>
                    <a:pt x="156" y="125"/>
                    <a:pt x="156" y="125"/>
                    <a:pt x="156" y="125"/>
                  </a:cubicBezTo>
                  <a:cubicBezTo>
                    <a:pt x="156" y="125"/>
                    <a:pt x="156" y="124"/>
                    <a:pt x="155" y="124"/>
                  </a:cubicBezTo>
                  <a:cubicBezTo>
                    <a:pt x="155" y="123"/>
                    <a:pt x="155" y="123"/>
                    <a:pt x="155" y="123"/>
                  </a:cubicBezTo>
                  <a:cubicBezTo>
                    <a:pt x="155" y="122"/>
                    <a:pt x="155" y="121"/>
                    <a:pt x="155" y="121"/>
                  </a:cubicBezTo>
                  <a:cubicBezTo>
                    <a:pt x="155" y="120"/>
                    <a:pt x="155" y="119"/>
                    <a:pt x="156" y="119"/>
                  </a:cubicBezTo>
                  <a:cubicBezTo>
                    <a:pt x="157" y="117"/>
                    <a:pt x="157" y="117"/>
                    <a:pt x="157" y="117"/>
                  </a:cubicBezTo>
                  <a:cubicBezTo>
                    <a:pt x="156" y="117"/>
                    <a:pt x="154" y="117"/>
                    <a:pt x="153" y="117"/>
                  </a:cubicBezTo>
                  <a:cubicBezTo>
                    <a:pt x="153" y="117"/>
                    <a:pt x="153" y="117"/>
                    <a:pt x="153" y="117"/>
                  </a:cubicBezTo>
                  <a:cubicBezTo>
                    <a:pt x="152" y="117"/>
                    <a:pt x="152" y="117"/>
                    <a:pt x="151" y="117"/>
                  </a:cubicBezTo>
                  <a:cubicBezTo>
                    <a:pt x="151" y="117"/>
                    <a:pt x="151" y="117"/>
                    <a:pt x="151" y="117"/>
                  </a:cubicBezTo>
                  <a:cubicBezTo>
                    <a:pt x="149" y="117"/>
                    <a:pt x="148" y="116"/>
                    <a:pt x="147" y="116"/>
                  </a:cubicBezTo>
                  <a:cubicBezTo>
                    <a:pt x="146" y="116"/>
                    <a:pt x="146" y="117"/>
                    <a:pt x="146" y="117"/>
                  </a:cubicBezTo>
                  <a:cubicBezTo>
                    <a:pt x="146" y="117"/>
                    <a:pt x="146" y="117"/>
                    <a:pt x="146" y="117"/>
                  </a:cubicBezTo>
                  <a:cubicBezTo>
                    <a:pt x="145" y="117"/>
                    <a:pt x="145" y="117"/>
                    <a:pt x="145" y="117"/>
                  </a:cubicBezTo>
                  <a:cubicBezTo>
                    <a:pt x="144" y="117"/>
                    <a:pt x="143" y="118"/>
                    <a:pt x="143" y="118"/>
                  </a:cubicBezTo>
                  <a:cubicBezTo>
                    <a:pt x="138" y="121"/>
                    <a:pt x="135" y="123"/>
                    <a:pt x="132" y="123"/>
                  </a:cubicBezTo>
                  <a:cubicBezTo>
                    <a:pt x="131" y="123"/>
                    <a:pt x="131" y="123"/>
                    <a:pt x="131" y="123"/>
                  </a:cubicBezTo>
                  <a:cubicBezTo>
                    <a:pt x="130" y="123"/>
                    <a:pt x="130" y="123"/>
                    <a:pt x="130" y="123"/>
                  </a:cubicBezTo>
                  <a:cubicBezTo>
                    <a:pt x="129" y="122"/>
                    <a:pt x="129" y="122"/>
                    <a:pt x="129" y="122"/>
                  </a:cubicBezTo>
                  <a:cubicBezTo>
                    <a:pt x="128" y="121"/>
                    <a:pt x="126" y="119"/>
                    <a:pt x="127" y="117"/>
                  </a:cubicBezTo>
                  <a:cubicBezTo>
                    <a:pt x="127" y="116"/>
                    <a:pt x="127" y="116"/>
                    <a:pt x="127" y="116"/>
                  </a:cubicBezTo>
                  <a:cubicBezTo>
                    <a:pt x="128" y="115"/>
                    <a:pt x="128" y="114"/>
                    <a:pt x="128" y="114"/>
                  </a:cubicBezTo>
                  <a:cubicBezTo>
                    <a:pt x="130" y="111"/>
                    <a:pt x="130" y="111"/>
                    <a:pt x="130" y="111"/>
                  </a:cubicBezTo>
                  <a:cubicBezTo>
                    <a:pt x="131" y="110"/>
                    <a:pt x="131" y="110"/>
                    <a:pt x="130" y="109"/>
                  </a:cubicBezTo>
                  <a:cubicBezTo>
                    <a:pt x="130" y="108"/>
                    <a:pt x="130" y="108"/>
                    <a:pt x="130" y="108"/>
                  </a:cubicBezTo>
                  <a:cubicBezTo>
                    <a:pt x="129" y="108"/>
                    <a:pt x="129" y="108"/>
                    <a:pt x="129" y="108"/>
                  </a:cubicBezTo>
                  <a:cubicBezTo>
                    <a:pt x="128" y="108"/>
                    <a:pt x="127" y="107"/>
                    <a:pt x="126" y="105"/>
                  </a:cubicBezTo>
                  <a:cubicBezTo>
                    <a:pt x="126" y="104"/>
                    <a:pt x="126" y="104"/>
                    <a:pt x="126" y="104"/>
                  </a:cubicBezTo>
                  <a:cubicBezTo>
                    <a:pt x="126" y="103"/>
                    <a:pt x="126" y="103"/>
                    <a:pt x="126" y="102"/>
                  </a:cubicBezTo>
                  <a:cubicBezTo>
                    <a:pt x="126" y="100"/>
                    <a:pt x="126" y="96"/>
                    <a:pt x="130" y="94"/>
                  </a:cubicBezTo>
                  <a:cubicBezTo>
                    <a:pt x="131" y="94"/>
                    <a:pt x="131" y="94"/>
                    <a:pt x="131" y="93"/>
                  </a:cubicBezTo>
                  <a:cubicBezTo>
                    <a:pt x="132" y="93"/>
                    <a:pt x="132" y="93"/>
                    <a:pt x="132" y="93"/>
                  </a:cubicBezTo>
                  <a:cubicBezTo>
                    <a:pt x="132" y="93"/>
                    <a:pt x="132" y="93"/>
                    <a:pt x="132" y="93"/>
                  </a:cubicBezTo>
                  <a:cubicBezTo>
                    <a:pt x="132" y="93"/>
                    <a:pt x="132" y="93"/>
                    <a:pt x="132" y="93"/>
                  </a:cubicBezTo>
                  <a:cubicBezTo>
                    <a:pt x="132" y="93"/>
                    <a:pt x="132" y="93"/>
                    <a:pt x="132" y="93"/>
                  </a:cubicBezTo>
                  <a:cubicBezTo>
                    <a:pt x="132" y="91"/>
                    <a:pt x="132" y="91"/>
                    <a:pt x="132" y="91"/>
                  </a:cubicBezTo>
                  <a:cubicBezTo>
                    <a:pt x="132" y="90"/>
                    <a:pt x="133" y="89"/>
                    <a:pt x="133" y="87"/>
                  </a:cubicBezTo>
                  <a:cubicBezTo>
                    <a:pt x="133" y="84"/>
                    <a:pt x="134" y="83"/>
                    <a:pt x="136" y="81"/>
                  </a:cubicBezTo>
                  <a:cubicBezTo>
                    <a:pt x="137" y="80"/>
                    <a:pt x="137" y="80"/>
                    <a:pt x="137" y="80"/>
                  </a:cubicBezTo>
                  <a:cubicBezTo>
                    <a:pt x="137" y="80"/>
                    <a:pt x="137" y="80"/>
                    <a:pt x="137" y="80"/>
                  </a:cubicBezTo>
                  <a:cubicBezTo>
                    <a:pt x="138" y="80"/>
                    <a:pt x="138" y="80"/>
                    <a:pt x="138" y="80"/>
                  </a:cubicBezTo>
                  <a:cubicBezTo>
                    <a:pt x="138" y="80"/>
                    <a:pt x="138" y="80"/>
                    <a:pt x="139" y="80"/>
                  </a:cubicBezTo>
                  <a:cubicBezTo>
                    <a:pt x="139" y="79"/>
                    <a:pt x="139" y="79"/>
                    <a:pt x="139" y="79"/>
                  </a:cubicBezTo>
                  <a:cubicBezTo>
                    <a:pt x="140" y="79"/>
                    <a:pt x="140" y="79"/>
                    <a:pt x="141" y="79"/>
                  </a:cubicBezTo>
                  <a:cubicBezTo>
                    <a:pt x="141" y="78"/>
                    <a:pt x="141" y="78"/>
                    <a:pt x="141" y="78"/>
                  </a:cubicBezTo>
                  <a:cubicBezTo>
                    <a:pt x="141" y="77"/>
                    <a:pt x="141" y="77"/>
                    <a:pt x="141" y="77"/>
                  </a:cubicBezTo>
                  <a:cubicBezTo>
                    <a:pt x="141" y="76"/>
                    <a:pt x="141" y="76"/>
                    <a:pt x="141" y="76"/>
                  </a:cubicBezTo>
                  <a:cubicBezTo>
                    <a:pt x="141" y="75"/>
                    <a:pt x="142" y="74"/>
                    <a:pt x="144" y="73"/>
                  </a:cubicBezTo>
                  <a:cubicBezTo>
                    <a:pt x="144" y="72"/>
                    <a:pt x="145" y="72"/>
                    <a:pt x="146" y="72"/>
                  </a:cubicBezTo>
                  <a:cubicBezTo>
                    <a:pt x="146" y="72"/>
                    <a:pt x="147" y="72"/>
                    <a:pt x="148" y="73"/>
                  </a:cubicBezTo>
                  <a:cubicBezTo>
                    <a:pt x="148" y="73"/>
                    <a:pt x="148" y="73"/>
                    <a:pt x="148" y="73"/>
                  </a:cubicBezTo>
                  <a:cubicBezTo>
                    <a:pt x="148" y="73"/>
                    <a:pt x="148" y="73"/>
                    <a:pt x="149" y="73"/>
                  </a:cubicBezTo>
                  <a:cubicBezTo>
                    <a:pt x="149" y="73"/>
                    <a:pt x="151" y="71"/>
                    <a:pt x="152" y="70"/>
                  </a:cubicBezTo>
                  <a:cubicBezTo>
                    <a:pt x="152" y="69"/>
                    <a:pt x="153" y="69"/>
                    <a:pt x="153" y="68"/>
                  </a:cubicBezTo>
                  <a:cubicBezTo>
                    <a:pt x="154" y="68"/>
                    <a:pt x="154" y="68"/>
                    <a:pt x="154" y="68"/>
                  </a:cubicBezTo>
                  <a:cubicBezTo>
                    <a:pt x="154" y="67"/>
                    <a:pt x="154" y="67"/>
                    <a:pt x="154" y="67"/>
                  </a:cubicBezTo>
                  <a:cubicBezTo>
                    <a:pt x="154" y="67"/>
                    <a:pt x="154" y="66"/>
                    <a:pt x="153" y="65"/>
                  </a:cubicBezTo>
                  <a:cubicBezTo>
                    <a:pt x="153" y="65"/>
                    <a:pt x="153" y="65"/>
                    <a:pt x="153" y="65"/>
                  </a:cubicBezTo>
                  <a:cubicBezTo>
                    <a:pt x="153" y="63"/>
                    <a:pt x="152" y="62"/>
                    <a:pt x="153" y="60"/>
                  </a:cubicBezTo>
                  <a:cubicBezTo>
                    <a:pt x="153" y="59"/>
                    <a:pt x="153" y="59"/>
                    <a:pt x="153" y="59"/>
                  </a:cubicBezTo>
                  <a:cubicBezTo>
                    <a:pt x="154" y="58"/>
                    <a:pt x="154" y="58"/>
                    <a:pt x="154" y="58"/>
                  </a:cubicBezTo>
                  <a:cubicBezTo>
                    <a:pt x="154" y="57"/>
                    <a:pt x="154" y="56"/>
                    <a:pt x="155" y="55"/>
                  </a:cubicBezTo>
                  <a:cubicBezTo>
                    <a:pt x="155" y="54"/>
                    <a:pt x="155" y="54"/>
                    <a:pt x="155" y="54"/>
                  </a:cubicBezTo>
                  <a:cubicBezTo>
                    <a:pt x="155" y="53"/>
                    <a:pt x="156" y="53"/>
                    <a:pt x="156" y="52"/>
                  </a:cubicBezTo>
                  <a:cubicBezTo>
                    <a:pt x="156" y="51"/>
                    <a:pt x="156" y="51"/>
                    <a:pt x="156" y="50"/>
                  </a:cubicBezTo>
                  <a:cubicBezTo>
                    <a:pt x="157" y="48"/>
                    <a:pt x="157" y="45"/>
                    <a:pt x="157" y="41"/>
                  </a:cubicBezTo>
                  <a:cubicBezTo>
                    <a:pt x="157" y="40"/>
                    <a:pt x="157" y="39"/>
                    <a:pt x="156" y="39"/>
                  </a:cubicBezTo>
                  <a:cubicBezTo>
                    <a:pt x="156" y="36"/>
                    <a:pt x="156" y="36"/>
                    <a:pt x="156" y="36"/>
                  </a:cubicBezTo>
                  <a:cubicBezTo>
                    <a:pt x="156" y="33"/>
                    <a:pt x="156" y="28"/>
                    <a:pt x="156" y="25"/>
                  </a:cubicBezTo>
                  <a:cubicBezTo>
                    <a:pt x="156" y="25"/>
                    <a:pt x="155" y="24"/>
                    <a:pt x="155" y="24"/>
                  </a:cubicBezTo>
                  <a:cubicBezTo>
                    <a:pt x="155" y="24"/>
                    <a:pt x="155" y="24"/>
                    <a:pt x="155" y="24"/>
                  </a:cubicBezTo>
                  <a:cubicBezTo>
                    <a:pt x="155" y="25"/>
                    <a:pt x="155" y="25"/>
                    <a:pt x="155" y="25"/>
                  </a:cubicBezTo>
                  <a:cubicBezTo>
                    <a:pt x="150" y="24"/>
                    <a:pt x="150" y="24"/>
                    <a:pt x="150" y="24"/>
                  </a:cubicBezTo>
                  <a:cubicBezTo>
                    <a:pt x="148" y="23"/>
                    <a:pt x="146" y="22"/>
                    <a:pt x="145" y="20"/>
                  </a:cubicBezTo>
                  <a:cubicBezTo>
                    <a:pt x="143" y="18"/>
                    <a:pt x="143" y="15"/>
                    <a:pt x="142" y="13"/>
                  </a:cubicBezTo>
                  <a:cubicBezTo>
                    <a:pt x="142" y="11"/>
                    <a:pt x="142" y="9"/>
                    <a:pt x="140" y="7"/>
                  </a:cubicBezTo>
                  <a:cubicBezTo>
                    <a:pt x="140" y="7"/>
                    <a:pt x="140" y="7"/>
                    <a:pt x="140" y="7"/>
                  </a:cubicBezTo>
                  <a:cubicBezTo>
                    <a:pt x="139" y="6"/>
                    <a:pt x="139" y="6"/>
                    <a:pt x="138" y="5"/>
                  </a:cubicBezTo>
                  <a:cubicBezTo>
                    <a:pt x="137" y="4"/>
                    <a:pt x="137" y="4"/>
                    <a:pt x="137" y="4"/>
                  </a:cubicBezTo>
                  <a:cubicBezTo>
                    <a:pt x="137" y="4"/>
                    <a:pt x="136" y="4"/>
                    <a:pt x="136" y="4"/>
                  </a:cubicBezTo>
                  <a:cubicBezTo>
                    <a:pt x="135" y="3"/>
                    <a:pt x="135" y="3"/>
                    <a:pt x="135" y="3"/>
                  </a:cubicBezTo>
                  <a:cubicBezTo>
                    <a:pt x="134" y="3"/>
                    <a:pt x="133" y="2"/>
                    <a:pt x="132" y="2"/>
                  </a:cubicBezTo>
                  <a:cubicBezTo>
                    <a:pt x="132" y="1"/>
                    <a:pt x="132" y="1"/>
                    <a:pt x="132" y="1"/>
                  </a:cubicBezTo>
                  <a:cubicBezTo>
                    <a:pt x="131" y="0"/>
                    <a:pt x="131" y="0"/>
                    <a:pt x="1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518"/>
            <p:cNvSpPr/>
            <p:nvPr/>
          </p:nvSpPr>
          <p:spPr bwMode="auto">
            <a:xfrm>
              <a:off x="5473483" y="4248307"/>
              <a:ext cx="12088" cy="21490"/>
            </a:xfrm>
            <a:custGeom>
              <a:gdLst>
                <a:gd name="T0" fmla="*/ 1 w 4"/>
                <a:gd name="T1" fmla="*/ 0 h 7"/>
                <a:gd name="T2" fmla="*/ 1 w 4"/>
                <a:gd name="T3" fmla="*/ 0 h 7"/>
                <a:gd name="T4" fmla="*/ 0 w 4"/>
                <a:gd name="T5" fmla="*/ 1 h 7"/>
                <a:gd name="T6" fmla="*/ 3 w 4"/>
                <a:gd name="T7" fmla="*/ 7 h 7"/>
                <a:gd name="T8" fmla="*/ 4 w 4"/>
                <a:gd name="T9" fmla="*/ 4 h 7"/>
                <a:gd name="T10" fmla="*/ 4 w 4"/>
                <a:gd name="T11" fmla="*/ 3 h 7"/>
                <a:gd name="T12" fmla="*/ 2 w 4"/>
                <a:gd name="T13" fmla="*/ 2 h 7"/>
                <a:gd name="T14" fmla="*/ 2 w 4"/>
                <a:gd name="T15" fmla="*/ 1 h 7"/>
                <a:gd name="T16" fmla="*/ 1 w 4"/>
                <a:gd name="T17" fmla="*/ 0 h 7"/>
                <a:gd name="T18" fmla="*/ 1 w 4"/>
                <a:gd name="T19" fmla="*/ 0 h 7"/>
                <a:gd name="T20" fmla="*/ 1 w 4"/>
                <a:gd name="T2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7">
                  <a:moveTo>
                    <a:pt x="1" y="0"/>
                  </a:moveTo>
                  <a:cubicBezTo>
                    <a:pt x="1" y="0"/>
                    <a:pt x="1" y="0"/>
                    <a:pt x="1" y="0"/>
                  </a:cubicBezTo>
                  <a:cubicBezTo>
                    <a:pt x="0" y="1"/>
                    <a:pt x="0" y="1"/>
                    <a:pt x="0" y="1"/>
                  </a:cubicBezTo>
                  <a:cubicBezTo>
                    <a:pt x="3" y="7"/>
                    <a:pt x="3" y="7"/>
                    <a:pt x="3" y="7"/>
                  </a:cubicBezTo>
                  <a:cubicBezTo>
                    <a:pt x="3" y="6"/>
                    <a:pt x="4" y="5"/>
                    <a:pt x="4" y="4"/>
                  </a:cubicBezTo>
                  <a:cubicBezTo>
                    <a:pt x="4" y="4"/>
                    <a:pt x="4" y="3"/>
                    <a:pt x="4" y="3"/>
                  </a:cubicBezTo>
                  <a:cubicBezTo>
                    <a:pt x="3" y="2"/>
                    <a:pt x="3" y="2"/>
                    <a:pt x="2" y="2"/>
                  </a:cubicBezTo>
                  <a:cubicBezTo>
                    <a:pt x="2" y="1"/>
                    <a:pt x="2" y="1"/>
                    <a:pt x="2" y="1"/>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Rectangle 519"/>
            <p:cNvSpPr>
              <a:spLocks noChangeArrowheads="1"/>
            </p:cNvSpPr>
            <p:nvPr/>
          </p:nvSpPr>
          <p:spPr bwMode="auto">
            <a:xfrm>
              <a:off x="5540640" y="4476638"/>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520"/>
            <p:cNvSpPr/>
            <p:nvPr/>
          </p:nvSpPr>
          <p:spPr bwMode="auto">
            <a:xfrm flipH="1">
              <a:off x="5540640" y="447663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521"/>
            <p:cNvSpPr/>
            <p:nvPr/>
          </p:nvSpPr>
          <p:spPr bwMode="auto">
            <a:xfrm>
              <a:off x="5261269" y="4241591"/>
              <a:ext cx="617838" cy="1155088"/>
            </a:xfrm>
            <a:custGeom>
              <a:gdLst>
                <a:gd name="T0" fmla="*/ 51 w 195"/>
                <a:gd name="T1" fmla="*/ 3 h 364"/>
                <a:gd name="T2" fmla="*/ 42 w 195"/>
                <a:gd name="T3" fmla="*/ 7 h 364"/>
                <a:gd name="T4" fmla="*/ 37 w 195"/>
                <a:gd name="T5" fmla="*/ 15 h 364"/>
                <a:gd name="T6" fmla="*/ 29 w 195"/>
                <a:gd name="T7" fmla="*/ 24 h 364"/>
                <a:gd name="T8" fmla="*/ 15 w 195"/>
                <a:gd name="T9" fmla="*/ 17 h 364"/>
                <a:gd name="T10" fmla="*/ 8 w 195"/>
                <a:gd name="T11" fmla="*/ 36 h 364"/>
                <a:gd name="T12" fmla="*/ 8 w 195"/>
                <a:gd name="T13" fmla="*/ 43 h 364"/>
                <a:gd name="T14" fmla="*/ 1 w 195"/>
                <a:gd name="T15" fmla="*/ 49 h 364"/>
                <a:gd name="T16" fmla="*/ 6 w 195"/>
                <a:gd name="T17" fmla="*/ 55 h 364"/>
                <a:gd name="T18" fmla="*/ 20 w 195"/>
                <a:gd name="T19" fmla="*/ 80 h 364"/>
                <a:gd name="T20" fmla="*/ 26 w 195"/>
                <a:gd name="T21" fmla="*/ 85 h 364"/>
                <a:gd name="T22" fmla="*/ 32 w 195"/>
                <a:gd name="T23" fmla="*/ 92 h 364"/>
                <a:gd name="T24" fmla="*/ 34 w 195"/>
                <a:gd name="T25" fmla="*/ 108 h 364"/>
                <a:gd name="T26" fmla="*/ 28 w 195"/>
                <a:gd name="T27" fmla="*/ 123 h 364"/>
                <a:gd name="T28" fmla="*/ 31 w 195"/>
                <a:gd name="T29" fmla="*/ 152 h 364"/>
                <a:gd name="T30" fmla="*/ 40 w 195"/>
                <a:gd name="T31" fmla="*/ 162 h 364"/>
                <a:gd name="T32" fmla="*/ 42 w 195"/>
                <a:gd name="T33" fmla="*/ 182 h 364"/>
                <a:gd name="T34" fmla="*/ 45 w 195"/>
                <a:gd name="T35" fmla="*/ 188 h 364"/>
                <a:gd name="T36" fmla="*/ 53 w 195"/>
                <a:gd name="T37" fmla="*/ 212 h 364"/>
                <a:gd name="T38" fmla="*/ 34 w 195"/>
                <a:gd name="T39" fmla="*/ 247 h 364"/>
                <a:gd name="T40" fmla="*/ 17 w 195"/>
                <a:gd name="T41" fmla="*/ 281 h 364"/>
                <a:gd name="T42" fmla="*/ 17 w 195"/>
                <a:gd name="T43" fmla="*/ 303 h 364"/>
                <a:gd name="T44" fmla="*/ 37 w 195"/>
                <a:gd name="T45" fmla="*/ 312 h 364"/>
                <a:gd name="T46" fmla="*/ 49 w 195"/>
                <a:gd name="T47" fmla="*/ 325 h 364"/>
                <a:gd name="T48" fmla="*/ 62 w 195"/>
                <a:gd name="T49" fmla="*/ 342 h 364"/>
                <a:gd name="T50" fmla="*/ 81 w 195"/>
                <a:gd name="T51" fmla="*/ 345 h 364"/>
                <a:gd name="T52" fmla="*/ 91 w 195"/>
                <a:gd name="T53" fmla="*/ 357 h 364"/>
                <a:gd name="T54" fmla="*/ 97 w 195"/>
                <a:gd name="T55" fmla="*/ 359 h 364"/>
                <a:gd name="T56" fmla="*/ 107 w 195"/>
                <a:gd name="T57" fmla="*/ 349 h 364"/>
                <a:gd name="T58" fmla="*/ 87 w 195"/>
                <a:gd name="T59" fmla="*/ 338 h 364"/>
                <a:gd name="T60" fmla="*/ 69 w 195"/>
                <a:gd name="T61" fmla="*/ 327 h 364"/>
                <a:gd name="T62" fmla="*/ 59 w 195"/>
                <a:gd name="T63" fmla="*/ 289 h 364"/>
                <a:gd name="T64" fmla="*/ 43 w 195"/>
                <a:gd name="T65" fmla="*/ 275 h 364"/>
                <a:gd name="T66" fmla="*/ 59 w 195"/>
                <a:gd name="T67" fmla="*/ 208 h 364"/>
                <a:gd name="T68" fmla="*/ 71 w 195"/>
                <a:gd name="T69" fmla="*/ 173 h 364"/>
                <a:gd name="T70" fmla="*/ 81 w 195"/>
                <a:gd name="T71" fmla="*/ 191 h 364"/>
                <a:gd name="T72" fmla="*/ 116 w 195"/>
                <a:gd name="T73" fmla="*/ 202 h 364"/>
                <a:gd name="T74" fmla="*/ 126 w 195"/>
                <a:gd name="T75" fmla="*/ 203 h 364"/>
                <a:gd name="T76" fmla="*/ 120 w 195"/>
                <a:gd name="T77" fmla="*/ 195 h 364"/>
                <a:gd name="T78" fmla="*/ 118 w 195"/>
                <a:gd name="T79" fmla="*/ 169 h 364"/>
                <a:gd name="T80" fmla="*/ 146 w 195"/>
                <a:gd name="T81" fmla="*/ 147 h 364"/>
                <a:gd name="T82" fmla="*/ 172 w 195"/>
                <a:gd name="T83" fmla="*/ 148 h 364"/>
                <a:gd name="T84" fmla="*/ 186 w 195"/>
                <a:gd name="T85" fmla="*/ 149 h 364"/>
                <a:gd name="T86" fmla="*/ 192 w 195"/>
                <a:gd name="T87" fmla="*/ 129 h 364"/>
                <a:gd name="T88" fmla="*/ 195 w 195"/>
                <a:gd name="T89" fmla="*/ 120 h 364"/>
                <a:gd name="T90" fmla="*/ 179 w 195"/>
                <a:gd name="T91" fmla="*/ 104 h 364"/>
                <a:gd name="T92" fmla="*/ 174 w 195"/>
                <a:gd name="T93" fmla="*/ 94 h 364"/>
                <a:gd name="T94" fmla="*/ 175 w 195"/>
                <a:gd name="T95" fmla="*/ 79 h 364"/>
                <a:gd name="T96" fmla="*/ 161 w 195"/>
                <a:gd name="T97" fmla="*/ 61 h 364"/>
                <a:gd name="T98" fmla="*/ 147 w 195"/>
                <a:gd name="T99" fmla="*/ 52 h 364"/>
                <a:gd name="T100" fmla="*/ 139 w 195"/>
                <a:gd name="T101" fmla="*/ 57 h 364"/>
                <a:gd name="T102" fmla="*/ 129 w 195"/>
                <a:gd name="T103" fmla="*/ 64 h 364"/>
                <a:gd name="T104" fmla="*/ 112 w 195"/>
                <a:gd name="T105" fmla="*/ 58 h 364"/>
                <a:gd name="T106" fmla="*/ 89 w 195"/>
                <a:gd name="T107" fmla="*/ 76 h 364"/>
                <a:gd name="T108" fmla="*/ 83 w 195"/>
                <a:gd name="T109" fmla="*/ 73 h 364"/>
                <a:gd name="T110" fmla="*/ 83 w 195"/>
                <a:gd name="T111" fmla="*/ 61 h 364"/>
                <a:gd name="T112" fmla="*/ 84 w 195"/>
                <a:gd name="T113" fmla="*/ 49 h 364"/>
                <a:gd name="T114" fmla="*/ 89 w 195"/>
                <a:gd name="T115" fmla="*/ 33 h 364"/>
                <a:gd name="T116" fmla="*/ 87 w 195"/>
                <a:gd name="T117" fmla="*/ 23 h 364"/>
                <a:gd name="T118" fmla="*/ 74 w 195"/>
                <a:gd name="T119" fmla="*/ 24 h 364"/>
                <a:gd name="T120" fmla="*/ 68 w 195"/>
                <a:gd name="T121" fmla="*/ 13 h 364"/>
                <a:gd name="T122" fmla="*/ 59 w 195"/>
                <a:gd name="T123" fmla="*/ 1 h 3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 h="364">
                  <a:moveTo>
                    <a:pt x="59" y="0"/>
                  </a:moveTo>
                  <a:cubicBezTo>
                    <a:pt x="57" y="1"/>
                    <a:pt x="56" y="1"/>
                    <a:pt x="55" y="1"/>
                  </a:cubicBezTo>
                  <a:cubicBezTo>
                    <a:pt x="54" y="2"/>
                    <a:pt x="53" y="2"/>
                    <a:pt x="53" y="3"/>
                  </a:cubicBezTo>
                  <a:cubicBezTo>
                    <a:pt x="52" y="3"/>
                    <a:pt x="52" y="3"/>
                    <a:pt x="52" y="3"/>
                  </a:cubicBezTo>
                  <a:cubicBezTo>
                    <a:pt x="51" y="3"/>
                    <a:pt x="51" y="3"/>
                    <a:pt x="51" y="3"/>
                  </a:cubicBezTo>
                  <a:cubicBezTo>
                    <a:pt x="51" y="3"/>
                    <a:pt x="51" y="3"/>
                    <a:pt x="51" y="3"/>
                  </a:cubicBezTo>
                  <a:cubicBezTo>
                    <a:pt x="52" y="7"/>
                    <a:pt x="52" y="7"/>
                    <a:pt x="52" y="7"/>
                  </a:cubicBezTo>
                  <a:cubicBezTo>
                    <a:pt x="48" y="7"/>
                    <a:pt x="48" y="7"/>
                    <a:pt x="48" y="7"/>
                  </a:cubicBezTo>
                  <a:cubicBezTo>
                    <a:pt x="48" y="7"/>
                    <a:pt x="48" y="7"/>
                    <a:pt x="47" y="7"/>
                  </a:cubicBezTo>
                  <a:cubicBezTo>
                    <a:pt x="45" y="7"/>
                    <a:pt x="45" y="7"/>
                    <a:pt x="45" y="7"/>
                  </a:cubicBezTo>
                  <a:cubicBezTo>
                    <a:pt x="45" y="7"/>
                    <a:pt x="45" y="7"/>
                    <a:pt x="44" y="7"/>
                  </a:cubicBezTo>
                  <a:cubicBezTo>
                    <a:pt x="44" y="7"/>
                    <a:pt x="43" y="7"/>
                    <a:pt x="42" y="7"/>
                  </a:cubicBezTo>
                  <a:cubicBezTo>
                    <a:pt x="42" y="7"/>
                    <a:pt x="41" y="8"/>
                    <a:pt x="41" y="8"/>
                  </a:cubicBezTo>
                  <a:cubicBezTo>
                    <a:pt x="41" y="8"/>
                    <a:pt x="41" y="8"/>
                    <a:pt x="41" y="8"/>
                  </a:cubicBezTo>
                  <a:cubicBezTo>
                    <a:pt x="41" y="8"/>
                    <a:pt x="40" y="9"/>
                    <a:pt x="40" y="10"/>
                  </a:cubicBezTo>
                  <a:cubicBezTo>
                    <a:pt x="40" y="11"/>
                    <a:pt x="39" y="12"/>
                    <a:pt x="39" y="13"/>
                  </a:cubicBezTo>
                  <a:cubicBezTo>
                    <a:pt x="39" y="13"/>
                    <a:pt x="39" y="13"/>
                    <a:pt x="38" y="14"/>
                  </a:cubicBezTo>
                  <a:cubicBezTo>
                    <a:pt x="38" y="14"/>
                    <a:pt x="38" y="15"/>
                    <a:pt x="37" y="15"/>
                  </a:cubicBezTo>
                  <a:cubicBezTo>
                    <a:pt x="37" y="15"/>
                    <a:pt x="37" y="15"/>
                    <a:pt x="37" y="15"/>
                  </a:cubicBezTo>
                  <a:cubicBezTo>
                    <a:pt x="36" y="16"/>
                    <a:pt x="36" y="16"/>
                    <a:pt x="35" y="17"/>
                  </a:cubicBezTo>
                  <a:cubicBezTo>
                    <a:pt x="34" y="17"/>
                    <a:pt x="33" y="17"/>
                    <a:pt x="32" y="17"/>
                  </a:cubicBezTo>
                  <a:cubicBezTo>
                    <a:pt x="30" y="18"/>
                    <a:pt x="30" y="18"/>
                    <a:pt x="30" y="18"/>
                  </a:cubicBezTo>
                  <a:cubicBezTo>
                    <a:pt x="29" y="18"/>
                    <a:pt x="29" y="18"/>
                    <a:pt x="28" y="18"/>
                  </a:cubicBezTo>
                  <a:cubicBezTo>
                    <a:pt x="29" y="24"/>
                    <a:pt x="29" y="24"/>
                    <a:pt x="29" y="24"/>
                  </a:cubicBezTo>
                  <a:cubicBezTo>
                    <a:pt x="27" y="18"/>
                    <a:pt x="27" y="18"/>
                    <a:pt x="27" y="18"/>
                  </a:cubicBezTo>
                  <a:cubicBezTo>
                    <a:pt x="27" y="18"/>
                    <a:pt x="27" y="18"/>
                    <a:pt x="27" y="18"/>
                  </a:cubicBezTo>
                  <a:cubicBezTo>
                    <a:pt x="26" y="18"/>
                    <a:pt x="25" y="18"/>
                    <a:pt x="24" y="18"/>
                  </a:cubicBezTo>
                  <a:cubicBezTo>
                    <a:pt x="23" y="18"/>
                    <a:pt x="23" y="18"/>
                    <a:pt x="22" y="18"/>
                  </a:cubicBezTo>
                  <a:cubicBezTo>
                    <a:pt x="22" y="18"/>
                    <a:pt x="21" y="18"/>
                    <a:pt x="21" y="18"/>
                  </a:cubicBezTo>
                  <a:cubicBezTo>
                    <a:pt x="19" y="18"/>
                    <a:pt x="17" y="18"/>
                    <a:pt x="15" y="17"/>
                  </a:cubicBezTo>
                  <a:cubicBezTo>
                    <a:pt x="14" y="21"/>
                    <a:pt x="14" y="21"/>
                    <a:pt x="14" y="21"/>
                  </a:cubicBezTo>
                  <a:cubicBezTo>
                    <a:pt x="14" y="17"/>
                    <a:pt x="14" y="17"/>
                    <a:pt x="14" y="17"/>
                  </a:cubicBezTo>
                  <a:cubicBezTo>
                    <a:pt x="14" y="17"/>
                    <a:pt x="13" y="17"/>
                    <a:pt x="13" y="17"/>
                  </a:cubicBezTo>
                  <a:cubicBezTo>
                    <a:pt x="10" y="20"/>
                    <a:pt x="10" y="21"/>
                    <a:pt x="10" y="26"/>
                  </a:cubicBezTo>
                  <a:cubicBezTo>
                    <a:pt x="10" y="29"/>
                    <a:pt x="9" y="32"/>
                    <a:pt x="8" y="35"/>
                  </a:cubicBezTo>
                  <a:cubicBezTo>
                    <a:pt x="8" y="36"/>
                    <a:pt x="8" y="36"/>
                    <a:pt x="8" y="36"/>
                  </a:cubicBezTo>
                  <a:cubicBezTo>
                    <a:pt x="8" y="37"/>
                    <a:pt x="8" y="37"/>
                    <a:pt x="8" y="38"/>
                  </a:cubicBezTo>
                  <a:cubicBezTo>
                    <a:pt x="8" y="39"/>
                    <a:pt x="8" y="39"/>
                    <a:pt x="8" y="39"/>
                  </a:cubicBezTo>
                  <a:cubicBezTo>
                    <a:pt x="8" y="40"/>
                    <a:pt x="8" y="40"/>
                    <a:pt x="8" y="40"/>
                  </a:cubicBezTo>
                  <a:cubicBezTo>
                    <a:pt x="8" y="41"/>
                    <a:pt x="8" y="41"/>
                    <a:pt x="8" y="42"/>
                  </a:cubicBezTo>
                  <a:cubicBezTo>
                    <a:pt x="8" y="43"/>
                    <a:pt x="8" y="43"/>
                    <a:pt x="8" y="43"/>
                  </a:cubicBezTo>
                  <a:cubicBezTo>
                    <a:pt x="8" y="43"/>
                    <a:pt x="8" y="43"/>
                    <a:pt x="8" y="43"/>
                  </a:cubicBezTo>
                  <a:cubicBezTo>
                    <a:pt x="8" y="43"/>
                    <a:pt x="8" y="43"/>
                    <a:pt x="8" y="43"/>
                  </a:cubicBezTo>
                  <a:cubicBezTo>
                    <a:pt x="8" y="46"/>
                    <a:pt x="7" y="47"/>
                    <a:pt x="5" y="47"/>
                  </a:cubicBezTo>
                  <a:cubicBezTo>
                    <a:pt x="5" y="47"/>
                    <a:pt x="5" y="47"/>
                    <a:pt x="5" y="47"/>
                  </a:cubicBezTo>
                  <a:cubicBezTo>
                    <a:pt x="4" y="48"/>
                    <a:pt x="2" y="48"/>
                    <a:pt x="1" y="48"/>
                  </a:cubicBezTo>
                  <a:cubicBezTo>
                    <a:pt x="1" y="48"/>
                    <a:pt x="0" y="48"/>
                    <a:pt x="0" y="48"/>
                  </a:cubicBezTo>
                  <a:cubicBezTo>
                    <a:pt x="0" y="48"/>
                    <a:pt x="0" y="49"/>
                    <a:pt x="1" y="49"/>
                  </a:cubicBezTo>
                  <a:cubicBezTo>
                    <a:pt x="1" y="49"/>
                    <a:pt x="1" y="49"/>
                    <a:pt x="2" y="49"/>
                  </a:cubicBezTo>
                  <a:cubicBezTo>
                    <a:pt x="2" y="49"/>
                    <a:pt x="2" y="49"/>
                    <a:pt x="3" y="49"/>
                  </a:cubicBezTo>
                  <a:cubicBezTo>
                    <a:pt x="4" y="50"/>
                    <a:pt x="4" y="51"/>
                    <a:pt x="5" y="52"/>
                  </a:cubicBezTo>
                  <a:cubicBezTo>
                    <a:pt x="5" y="52"/>
                    <a:pt x="5" y="53"/>
                    <a:pt x="5" y="53"/>
                  </a:cubicBezTo>
                  <a:cubicBezTo>
                    <a:pt x="6" y="54"/>
                    <a:pt x="6" y="54"/>
                    <a:pt x="6" y="54"/>
                  </a:cubicBezTo>
                  <a:cubicBezTo>
                    <a:pt x="6" y="54"/>
                    <a:pt x="6" y="54"/>
                    <a:pt x="6" y="55"/>
                  </a:cubicBezTo>
                  <a:cubicBezTo>
                    <a:pt x="7" y="57"/>
                    <a:pt x="7" y="57"/>
                    <a:pt x="7" y="57"/>
                  </a:cubicBezTo>
                  <a:cubicBezTo>
                    <a:pt x="7" y="57"/>
                    <a:pt x="8" y="58"/>
                    <a:pt x="8" y="60"/>
                  </a:cubicBezTo>
                  <a:cubicBezTo>
                    <a:pt x="8" y="61"/>
                    <a:pt x="7" y="62"/>
                    <a:pt x="7" y="63"/>
                  </a:cubicBezTo>
                  <a:cubicBezTo>
                    <a:pt x="7" y="63"/>
                    <a:pt x="7" y="63"/>
                    <a:pt x="7" y="63"/>
                  </a:cubicBezTo>
                  <a:cubicBezTo>
                    <a:pt x="10" y="66"/>
                    <a:pt x="12" y="69"/>
                    <a:pt x="15" y="72"/>
                  </a:cubicBezTo>
                  <a:cubicBezTo>
                    <a:pt x="16" y="75"/>
                    <a:pt x="18" y="77"/>
                    <a:pt x="20" y="80"/>
                  </a:cubicBezTo>
                  <a:cubicBezTo>
                    <a:pt x="21" y="80"/>
                    <a:pt x="21" y="80"/>
                    <a:pt x="21" y="80"/>
                  </a:cubicBezTo>
                  <a:cubicBezTo>
                    <a:pt x="22" y="80"/>
                    <a:pt x="23" y="81"/>
                    <a:pt x="23" y="81"/>
                  </a:cubicBezTo>
                  <a:cubicBezTo>
                    <a:pt x="24" y="82"/>
                    <a:pt x="25" y="82"/>
                    <a:pt x="25" y="83"/>
                  </a:cubicBezTo>
                  <a:cubicBezTo>
                    <a:pt x="25" y="83"/>
                    <a:pt x="25" y="83"/>
                    <a:pt x="25" y="83"/>
                  </a:cubicBezTo>
                  <a:cubicBezTo>
                    <a:pt x="26" y="84"/>
                    <a:pt x="26" y="84"/>
                    <a:pt x="26" y="84"/>
                  </a:cubicBezTo>
                  <a:cubicBezTo>
                    <a:pt x="26" y="85"/>
                    <a:pt x="26" y="85"/>
                    <a:pt x="26" y="85"/>
                  </a:cubicBezTo>
                  <a:cubicBezTo>
                    <a:pt x="26" y="85"/>
                    <a:pt x="26" y="85"/>
                    <a:pt x="26" y="86"/>
                  </a:cubicBezTo>
                  <a:cubicBezTo>
                    <a:pt x="27" y="87"/>
                    <a:pt x="28" y="89"/>
                    <a:pt x="28" y="90"/>
                  </a:cubicBezTo>
                  <a:cubicBezTo>
                    <a:pt x="29" y="92"/>
                    <a:pt x="29" y="93"/>
                    <a:pt x="29" y="94"/>
                  </a:cubicBezTo>
                  <a:cubicBezTo>
                    <a:pt x="29" y="95"/>
                    <a:pt x="29" y="95"/>
                    <a:pt x="29" y="95"/>
                  </a:cubicBezTo>
                  <a:cubicBezTo>
                    <a:pt x="30" y="96"/>
                    <a:pt x="30" y="96"/>
                    <a:pt x="30" y="96"/>
                  </a:cubicBezTo>
                  <a:cubicBezTo>
                    <a:pt x="32" y="92"/>
                    <a:pt x="32" y="92"/>
                    <a:pt x="32" y="92"/>
                  </a:cubicBezTo>
                  <a:cubicBezTo>
                    <a:pt x="34" y="96"/>
                    <a:pt x="34" y="96"/>
                    <a:pt x="34" y="96"/>
                  </a:cubicBezTo>
                  <a:cubicBezTo>
                    <a:pt x="35" y="97"/>
                    <a:pt x="36" y="99"/>
                    <a:pt x="36" y="101"/>
                  </a:cubicBezTo>
                  <a:cubicBezTo>
                    <a:pt x="36" y="101"/>
                    <a:pt x="36" y="103"/>
                    <a:pt x="36" y="103"/>
                  </a:cubicBezTo>
                  <a:cubicBezTo>
                    <a:pt x="36" y="105"/>
                    <a:pt x="35" y="106"/>
                    <a:pt x="35" y="107"/>
                  </a:cubicBezTo>
                  <a:cubicBezTo>
                    <a:pt x="34" y="107"/>
                    <a:pt x="34" y="107"/>
                    <a:pt x="34" y="107"/>
                  </a:cubicBezTo>
                  <a:cubicBezTo>
                    <a:pt x="34" y="108"/>
                    <a:pt x="34" y="108"/>
                    <a:pt x="34" y="108"/>
                  </a:cubicBezTo>
                  <a:cubicBezTo>
                    <a:pt x="33" y="108"/>
                    <a:pt x="33" y="108"/>
                    <a:pt x="33" y="108"/>
                  </a:cubicBezTo>
                  <a:cubicBezTo>
                    <a:pt x="32" y="110"/>
                    <a:pt x="30" y="110"/>
                    <a:pt x="28" y="110"/>
                  </a:cubicBezTo>
                  <a:cubicBezTo>
                    <a:pt x="28" y="111"/>
                    <a:pt x="28" y="111"/>
                    <a:pt x="28" y="111"/>
                  </a:cubicBezTo>
                  <a:cubicBezTo>
                    <a:pt x="28" y="113"/>
                    <a:pt x="28" y="114"/>
                    <a:pt x="28" y="116"/>
                  </a:cubicBezTo>
                  <a:cubicBezTo>
                    <a:pt x="28" y="119"/>
                    <a:pt x="28" y="119"/>
                    <a:pt x="28" y="119"/>
                  </a:cubicBezTo>
                  <a:cubicBezTo>
                    <a:pt x="29" y="121"/>
                    <a:pt x="29" y="122"/>
                    <a:pt x="28" y="123"/>
                  </a:cubicBezTo>
                  <a:cubicBezTo>
                    <a:pt x="28" y="126"/>
                    <a:pt x="28" y="127"/>
                    <a:pt x="26" y="129"/>
                  </a:cubicBezTo>
                  <a:cubicBezTo>
                    <a:pt x="24" y="130"/>
                    <a:pt x="23" y="131"/>
                    <a:pt x="21" y="131"/>
                  </a:cubicBezTo>
                  <a:cubicBezTo>
                    <a:pt x="20" y="131"/>
                    <a:pt x="19" y="131"/>
                    <a:pt x="19" y="131"/>
                  </a:cubicBezTo>
                  <a:cubicBezTo>
                    <a:pt x="19" y="132"/>
                    <a:pt x="19" y="132"/>
                    <a:pt x="19" y="132"/>
                  </a:cubicBezTo>
                  <a:cubicBezTo>
                    <a:pt x="19" y="134"/>
                    <a:pt x="20" y="135"/>
                    <a:pt x="21" y="138"/>
                  </a:cubicBezTo>
                  <a:cubicBezTo>
                    <a:pt x="23" y="143"/>
                    <a:pt x="27" y="147"/>
                    <a:pt x="31" y="152"/>
                  </a:cubicBezTo>
                  <a:cubicBezTo>
                    <a:pt x="32" y="153"/>
                    <a:pt x="32" y="153"/>
                    <a:pt x="32" y="153"/>
                  </a:cubicBezTo>
                  <a:cubicBezTo>
                    <a:pt x="33" y="154"/>
                    <a:pt x="33" y="155"/>
                    <a:pt x="34" y="155"/>
                  </a:cubicBezTo>
                  <a:cubicBezTo>
                    <a:pt x="37" y="159"/>
                    <a:pt x="37" y="159"/>
                    <a:pt x="37" y="159"/>
                  </a:cubicBezTo>
                  <a:cubicBezTo>
                    <a:pt x="38" y="160"/>
                    <a:pt x="38" y="160"/>
                    <a:pt x="38" y="160"/>
                  </a:cubicBezTo>
                  <a:cubicBezTo>
                    <a:pt x="38" y="160"/>
                    <a:pt x="38" y="160"/>
                    <a:pt x="38" y="160"/>
                  </a:cubicBezTo>
                  <a:cubicBezTo>
                    <a:pt x="39" y="161"/>
                    <a:pt x="40" y="162"/>
                    <a:pt x="40" y="162"/>
                  </a:cubicBezTo>
                  <a:cubicBezTo>
                    <a:pt x="41" y="164"/>
                    <a:pt x="42" y="165"/>
                    <a:pt x="42" y="166"/>
                  </a:cubicBezTo>
                  <a:cubicBezTo>
                    <a:pt x="43" y="167"/>
                    <a:pt x="43" y="170"/>
                    <a:pt x="43" y="174"/>
                  </a:cubicBezTo>
                  <a:cubicBezTo>
                    <a:pt x="43" y="175"/>
                    <a:pt x="43" y="175"/>
                    <a:pt x="43" y="175"/>
                  </a:cubicBezTo>
                  <a:cubicBezTo>
                    <a:pt x="43" y="175"/>
                    <a:pt x="43" y="176"/>
                    <a:pt x="43" y="176"/>
                  </a:cubicBezTo>
                  <a:cubicBezTo>
                    <a:pt x="43" y="177"/>
                    <a:pt x="43" y="177"/>
                    <a:pt x="43" y="177"/>
                  </a:cubicBezTo>
                  <a:cubicBezTo>
                    <a:pt x="43" y="179"/>
                    <a:pt x="44" y="181"/>
                    <a:pt x="42" y="182"/>
                  </a:cubicBezTo>
                  <a:cubicBezTo>
                    <a:pt x="42" y="183"/>
                    <a:pt x="42" y="183"/>
                    <a:pt x="42" y="183"/>
                  </a:cubicBezTo>
                  <a:cubicBezTo>
                    <a:pt x="41" y="183"/>
                    <a:pt x="41" y="183"/>
                    <a:pt x="41" y="183"/>
                  </a:cubicBezTo>
                  <a:cubicBezTo>
                    <a:pt x="42" y="184"/>
                    <a:pt x="42" y="184"/>
                    <a:pt x="42" y="185"/>
                  </a:cubicBezTo>
                  <a:cubicBezTo>
                    <a:pt x="43" y="185"/>
                    <a:pt x="43" y="185"/>
                    <a:pt x="43" y="185"/>
                  </a:cubicBezTo>
                  <a:cubicBezTo>
                    <a:pt x="43" y="186"/>
                    <a:pt x="43" y="186"/>
                    <a:pt x="43" y="186"/>
                  </a:cubicBezTo>
                  <a:cubicBezTo>
                    <a:pt x="44" y="187"/>
                    <a:pt x="44" y="187"/>
                    <a:pt x="45" y="188"/>
                  </a:cubicBezTo>
                  <a:cubicBezTo>
                    <a:pt x="47" y="191"/>
                    <a:pt x="49" y="194"/>
                    <a:pt x="49" y="197"/>
                  </a:cubicBezTo>
                  <a:cubicBezTo>
                    <a:pt x="49" y="198"/>
                    <a:pt x="50" y="199"/>
                    <a:pt x="50" y="200"/>
                  </a:cubicBezTo>
                  <a:cubicBezTo>
                    <a:pt x="50" y="200"/>
                    <a:pt x="50" y="200"/>
                    <a:pt x="50" y="200"/>
                  </a:cubicBezTo>
                  <a:cubicBezTo>
                    <a:pt x="50" y="202"/>
                    <a:pt x="50" y="203"/>
                    <a:pt x="50" y="204"/>
                  </a:cubicBezTo>
                  <a:cubicBezTo>
                    <a:pt x="52" y="205"/>
                    <a:pt x="53" y="208"/>
                    <a:pt x="53" y="210"/>
                  </a:cubicBezTo>
                  <a:cubicBezTo>
                    <a:pt x="53" y="210"/>
                    <a:pt x="53" y="211"/>
                    <a:pt x="53" y="212"/>
                  </a:cubicBezTo>
                  <a:cubicBezTo>
                    <a:pt x="56" y="213"/>
                    <a:pt x="56" y="213"/>
                    <a:pt x="56" y="213"/>
                  </a:cubicBezTo>
                  <a:cubicBezTo>
                    <a:pt x="54" y="216"/>
                    <a:pt x="54" y="216"/>
                    <a:pt x="54" y="216"/>
                  </a:cubicBezTo>
                  <a:cubicBezTo>
                    <a:pt x="53" y="218"/>
                    <a:pt x="52" y="221"/>
                    <a:pt x="50" y="224"/>
                  </a:cubicBezTo>
                  <a:cubicBezTo>
                    <a:pt x="48" y="226"/>
                    <a:pt x="46" y="229"/>
                    <a:pt x="45" y="232"/>
                  </a:cubicBezTo>
                  <a:cubicBezTo>
                    <a:pt x="43" y="235"/>
                    <a:pt x="41" y="237"/>
                    <a:pt x="39" y="239"/>
                  </a:cubicBezTo>
                  <a:cubicBezTo>
                    <a:pt x="37" y="241"/>
                    <a:pt x="35" y="244"/>
                    <a:pt x="34" y="247"/>
                  </a:cubicBezTo>
                  <a:cubicBezTo>
                    <a:pt x="27" y="263"/>
                    <a:pt x="27" y="263"/>
                    <a:pt x="27" y="263"/>
                  </a:cubicBezTo>
                  <a:cubicBezTo>
                    <a:pt x="25" y="262"/>
                    <a:pt x="25" y="262"/>
                    <a:pt x="25" y="262"/>
                  </a:cubicBezTo>
                  <a:cubicBezTo>
                    <a:pt x="25" y="263"/>
                    <a:pt x="25" y="263"/>
                    <a:pt x="25" y="263"/>
                  </a:cubicBezTo>
                  <a:cubicBezTo>
                    <a:pt x="23" y="268"/>
                    <a:pt x="20" y="274"/>
                    <a:pt x="19" y="280"/>
                  </a:cubicBezTo>
                  <a:cubicBezTo>
                    <a:pt x="19" y="281"/>
                    <a:pt x="18" y="282"/>
                    <a:pt x="18" y="283"/>
                  </a:cubicBezTo>
                  <a:cubicBezTo>
                    <a:pt x="18" y="282"/>
                    <a:pt x="18" y="282"/>
                    <a:pt x="17" y="281"/>
                  </a:cubicBezTo>
                  <a:cubicBezTo>
                    <a:pt x="17" y="281"/>
                    <a:pt x="17" y="281"/>
                    <a:pt x="17" y="281"/>
                  </a:cubicBezTo>
                  <a:cubicBezTo>
                    <a:pt x="18" y="282"/>
                    <a:pt x="18" y="282"/>
                    <a:pt x="18" y="283"/>
                  </a:cubicBezTo>
                  <a:cubicBezTo>
                    <a:pt x="18" y="285"/>
                    <a:pt x="18" y="286"/>
                    <a:pt x="17" y="288"/>
                  </a:cubicBezTo>
                  <a:cubicBezTo>
                    <a:pt x="16" y="291"/>
                    <a:pt x="16" y="294"/>
                    <a:pt x="16" y="296"/>
                  </a:cubicBezTo>
                  <a:cubicBezTo>
                    <a:pt x="16" y="295"/>
                    <a:pt x="16" y="295"/>
                    <a:pt x="16" y="295"/>
                  </a:cubicBezTo>
                  <a:cubicBezTo>
                    <a:pt x="15" y="297"/>
                    <a:pt x="16" y="301"/>
                    <a:pt x="17" y="303"/>
                  </a:cubicBezTo>
                  <a:cubicBezTo>
                    <a:pt x="18" y="305"/>
                    <a:pt x="20" y="306"/>
                    <a:pt x="21" y="306"/>
                  </a:cubicBezTo>
                  <a:cubicBezTo>
                    <a:pt x="22" y="306"/>
                    <a:pt x="22" y="305"/>
                    <a:pt x="21" y="302"/>
                  </a:cubicBezTo>
                  <a:cubicBezTo>
                    <a:pt x="23" y="301"/>
                    <a:pt x="24" y="301"/>
                    <a:pt x="25" y="301"/>
                  </a:cubicBezTo>
                  <a:cubicBezTo>
                    <a:pt x="27" y="301"/>
                    <a:pt x="28" y="302"/>
                    <a:pt x="30" y="305"/>
                  </a:cubicBezTo>
                  <a:cubicBezTo>
                    <a:pt x="31" y="306"/>
                    <a:pt x="35" y="312"/>
                    <a:pt x="37" y="312"/>
                  </a:cubicBezTo>
                  <a:cubicBezTo>
                    <a:pt x="37" y="312"/>
                    <a:pt x="37" y="312"/>
                    <a:pt x="37" y="312"/>
                  </a:cubicBezTo>
                  <a:cubicBezTo>
                    <a:pt x="37" y="313"/>
                    <a:pt x="36" y="317"/>
                    <a:pt x="36" y="317"/>
                  </a:cubicBezTo>
                  <a:cubicBezTo>
                    <a:pt x="38" y="317"/>
                    <a:pt x="41" y="317"/>
                    <a:pt x="42" y="319"/>
                  </a:cubicBezTo>
                  <a:cubicBezTo>
                    <a:pt x="42" y="320"/>
                    <a:pt x="43" y="324"/>
                    <a:pt x="44" y="325"/>
                  </a:cubicBezTo>
                  <a:cubicBezTo>
                    <a:pt x="44" y="326"/>
                    <a:pt x="45" y="326"/>
                    <a:pt x="45" y="326"/>
                  </a:cubicBezTo>
                  <a:cubicBezTo>
                    <a:pt x="46" y="326"/>
                    <a:pt x="46" y="326"/>
                    <a:pt x="47" y="326"/>
                  </a:cubicBezTo>
                  <a:cubicBezTo>
                    <a:pt x="48" y="325"/>
                    <a:pt x="48" y="325"/>
                    <a:pt x="49" y="325"/>
                  </a:cubicBezTo>
                  <a:cubicBezTo>
                    <a:pt x="49" y="325"/>
                    <a:pt x="50" y="325"/>
                    <a:pt x="50" y="325"/>
                  </a:cubicBezTo>
                  <a:cubicBezTo>
                    <a:pt x="48" y="329"/>
                    <a:pt x="49" y="331"/>
                    <a:pt x="53" y="331"/>
                  </a:cubicBezTo>
                  <a:cubicBezTo>
                    <a:pt x="53" y="333"/>
                    <a:pt x="52" y="335"/>
                    <a:pt x="52" y="337"/>
                  </a:cubicBezTo>
                  <a:cubicBezTo>
                    <a:pt x="53" y="340"/>
                    <a:pt x="57" y="343"/>
                    <a:pt x="61" y="346"/>
                  </a:cubicBezTo>
                  <a:cubicBezTo>
                    <a:pt x="61" y="345"/>
                    <a:pt x="61" y="345"/>
                    <a:pt x="61" y="345"/>
                  </a:cubicBezTo>
                  <a:cubicBezTo>
                    <a:pt x="61" y="344"/>
                    <a:pt x="61" y="343"/>
                    <a:pt x="62" y="342"/>
                  </a:cubicBezTo>
                  <a:cubicBezTo>
                    <a:pt x="63" y="336"/>
                    <a:pt x="63" y="336"/>
                    <a:pt x="63" y="336"/>
                  </a:cubicBezTo>
                  <a:cubicBezTo>
                    <a:pt x="67" y="339"/>
                    <a:pt x="67" y="339"/>
                    <a:pt x="67" y="339"/>
                  </a:cubicBezTo>
                  <a:cubicBezTo>
                    <a:pt x="70" y="342"/>
                    <a:pt x="71" y="343"/>
                    <a:pt x="73" y="343"/>
                  </a:cubicBezTo>
                  <a:cubicBezTo>
                    <a:pt x="75" y="343"/>
                    <a:pt x="77" y="343"/>
                    <a:pt x="79" y="344"/>
                  </a:cubicBezTo>
                  <a:cubicBezTo>
                    <a:pt x="79" y="344"/>
                    <a:pt x="79" y="344"/>
                    <a:pt x="79" y="344"/>
                  </a:cubicBezTo>
                  <a:cubicBezTo>
                    <a:pt x="80" y="344"/>
                    <a:pt x="81" y="345"/>
                    <a:pt x="81" y="345"/>
                  </a:cubicBezTo>
                  <a:cubicBezTo>
                    <a:pt x="82" y="346"/>
                    <a:pt x="82" y="346"/>
                    <a:pt x="82" y="346"/>
                  </a:cubicBezTo>
                  <a:cubicBezTo>
                    <a:pt x="83" y="347"/>
                    <a:pt x="84" y="349"/>
                    <a:pt x="84" y="350"/>
                  </a:cubicBezTo>
                  <a:cubicBezTo>
                    <a:pt x="84" y="350"/>
                    <a:pt x="84" y="350"/>
                    <a:pt x="84" y="350"/>
                  </a:cubicBezTo>
                  <a:cubicBezTo>
                    <a:pt x="84" y="350"/>
                    <a:pt x="85" y="350"/>
                    <a:pt x="86" y="350"/>
                  </a:cubicBezTo>
                  <a:cubicBezTo>
                    <a:pt x="87" y="350"/>
                    <a:pt x="89" y="350"/>
                    <a:pt x="90" y="351"/>
                  </a:cubicBezTo>
                  <a:cubicBezTo>
                    <a:pt x="91" y="353"/>
                    <a:pt x="91" y="355"/>
                    <a:pt x="91" y="357"/>
                  </a:cubicBezTo>
                  <a:cubicBezTo>
                    <a:pt x="90" y="359"/>
                    <a:pt x="90" y="360"/>
                    <a:pt x="89" y="361"/>
                  </a:cubicBezTo>
                  <a:cubicBezTo>
                    <a:pt x="88" y="362"/>
                    <a:pt x="88" y="363"/>
                    <a:pt x="88" y="364"/>
                  </a:cubicBezTo>
                  <a:cubicBezTo>
                    <a:pt x="89" y="364"/>
                    <a:pt x="89" y="364"/>
                    <a:pt x="89" y="364"/>
                  </a:cubicBezTo>
                  <a:cubicBezTo>
                    <a:pt x="89" y="364"/>
                    <a:pt x="89" y="364"/>
                    <a:pt x="90" y="363"/>
                  </a:cubicBezTo>
                  <a:cubicBezTo>
                    <a:pt x="91" y="362"/>
                    <a:pt x="91" y="362"/>
                    <a:pt x="91" y="362"/>
                  </a:cubicBezTo>
                  <a:cubicBezTo>
                    <a:pt x="92" y="361"/>
                    <a:pt x="94" y="359"/>
                    <a:pt x="97" y="359"/>
                  </a:cubicBezTo>
                  <a:cubicBezTo>
                    <a:pt x="99" y="359"/>
                    <a:pt x="101" y="360"/>
                    <a:pt x="102" y="361"/>
                  </a:cubicBezTo>
                  <a:cubicBezTo>
                    <a:pt x="102" y="362"/>
                    <a:pt x="102" y="362"/>
                    <a:pt x="102" y="362"/>
                  </a:cubicBezTo>
                  <a:cubicBezTo>
                    <a:pt x="105" y="361"/>
                    <a:pt x="106" y="360"/>
                    <a:pt x="107" y="358"/>
                  </a:cubicBezTo>
                  <a:cubicBezTo>
                    <a:pt x="107" y="356"/>
                    <a:pt x="108" y="354"/>
                    <a:pt x="109" y="352"/>
                  </a:cubicBezTo>
                  <a:cubicBezTo>
                    <a:pt x="109" y="351"/>
                    <a:pt x="109" y="351"/>
                    <a:pt x="109" y="351"/>
                  </a:cubicBezTo>
                  <a:cubicBezTo>
                    <a:pt x="109" y="351"/>
                    <a:pt x="108" y="350"/>
                    <a:pt x="107" y="349"/>
                  </a:cubicBezTo>
                  <a:cubicBezTo>
                    <a:pt x="105" y="347"/>
                    <a:pt x="103" y="346"/>
                    <a:pt x="101" y="343"/>
                  </a:cubicBezTo>
                  <a:cubicBezTo>
                    <a:pt x="99" y="340"/>
                    <a:pt x="96" y="336"/>
                    <a:pt x="91" y="336"/>
                  </a:cubicBezTo>
                  <a:cubicBezTo>
                    <a:pt x="92" y="336"/>
                    <a:pt x="93" y="337"/>
                    <a:pt x="93" y="337"/>
                  </a:cubicBezTo>
                  <a:cubicBezTo>
                    <a:pt x="93" y="337"/>
                    <a:pt x="93" y="337"/>
                    <a:pt x="92" y="337"/>
                  </a:cubicBezTo>
                  <a:cubicBezTo>
                    <a:pt x="91" y="337"/>
                    <a:pt x="91" y="337"/>
                    <a:pt x="90" y="338"/>
                  </a:cubicBezTo>
                  <a:cubicBezTo>
                    <a:pt x="89" y="338"/>
                    <a:pt x="88" y="338"/>
                    <a:pt x="87" y="338"/>
                  </a:cubicBezTo>
                  <a:cubicBezTo>
                    <a:pt x="87" y="338"/>
                    <a:pt x="87" y="338"/>
                    <a:pt x="86" y="338"/>
                  </a:cubicBezTo>
                  <a:cubicBezTo>
                    <a:pt x="84" y="337"/>
                    <a:pt x="77" y="329"/>
                    <a:pt x="75" y="329"/>
                  </a:cubicBezTo>
                  <a:cubicBezTo>
                    <a:pt x="75" y="329"/>
                    <a:pt x="74" y="329"/>
                    <a:pt x="74" y="329"/>
                  </a:cubicBezTo>
                  <a:cubicBezTo>
                    <a:pt x="74" y="330"/>
                    <a:pt x="73" y="330"/>
                    <a:pt x="72" y="330"/>
                  </a:cubicBezTo>
                  <a:cubicBezTo>
                    <a:pt x="71" y="330"/>
                    <a:pt x="71" y="330"/>
                    <a:pt x="70" y="330"/>
                  </a:cubicBezTo>
                  <a:cubicBezTo>
                    <a:pt x="69" y="329"/>
                    <a:pt x="70" y="327"/>
                    <a:pt x="69" y="327"/>
                  </a:cubicBezTo>
                  <a:cubicBezTo>
                    <a:pt x="68" y="325"/>
                    <a:pt x="67" y="324"/>
                    <a:pt x="65" y="323"/>
                  </a:cubicBezTo>
                  <a:cubicBezTo>
                    <a:pt x="63" y="320"/>
                    <a:pt x="64" y="318"/>
                    <a:pt x="65" y="315"/>
                  </a:cubicBezTo>
                  <a:cubicBezTo>
                    <a:pt x="68" y="320"/>
                    <a:pt x="71" y="325"/>
                    <a:pt x="74" y="329"/>
                  </a:cubicBezTo>
                  <a:cubicBezTo>
                    <a:pt x="74" y="328"/>
                    <a:pt x="73" y="328"/>
                    <a:pt x="73" y="327"/>
                  </a:cubicBezTo>
                  <a:cubicBezTo>
                    <a:pt x="70" y="322"/>
                    <a:pt x="70" y="317"/>
                    <a:pt x="68" y="311"/>
                  </a:cubicBezTo>
                  <a:cubicBezTo>
                    <a:pt x="66" y="304"/>
                    <a:pt x="62" y="297"/>
                    <a:pt x="59" y="289"/>
                  </a:cubicBezTo>
                  <a:cubicBezTo>
                    <a:pt x="58" y="286"/>
                    <a:pt x="56" y="282"/>
                    <a:pt x="55" y="278"/>
                  </a:cubicBezTo>
                  <a:cubicBezTo>
                    <a:pt x="54" y="277"/>
                    <a:pt x="54" y="277"/>
                    <a:pt x="53" y="277"/>
                  </a:cubicBezTo>
                  <a:cubicBezTo>
                    <a:pt x="51" y="277"/>
                    <a:pt x="48" y="278"/>
                    <a:pt x="47" y="278"/>
                  </a:cubicBezTo>
                  <a:cubicBezTo>
                    <a:pt x="46" y="278"/>
                    <a:pt x="44" y="279"/>
                    <a:pt x="43" y="279"/>
                  </a:cubicBezTo>
                  <a:cubicBezTo>
                    <a:pt x="42" y="279"/>
                    <a:pt x="41" y="279"/>
                    <a:pt x="41" y="277"/>
                  </a:cubicBezTo>
                  <a:cubicBezTo>
                    <a:pt x="41" y="276"/>
                    <a:pt x="42" y="275"/>
                    <a:pt x="43" y="275"/>
                  </a:cubicBezTo>
                  <a:cubicBezTo>
                    <a:pt x="42" y="274"/>
                    <a:pt x="41" y="272"/>
                    <a:pt x="41" y="271"/>
                  </a:cubicBezTo>
                  <a:cubicBezTo>
                    <a:pt x="40" y="269"/>
                    <a:pt x="39" y="267"/>
                    <a:pt x="39" y="264"/>
                  </a:cubicBezTo>
                  <a:cubicBezTo>
                    <a:pt x="40" y="259"/>
                    <a:pt x="42" y="256"/>
                    <a:pt x="39" y="251"/>
                  </a:cubicBezTo>
                  <a:cubicBezTo>
                    <a:pt x="41" y="251"/>
                    <a:pt x="42" y="246"/>
                    <a:pt x="43" y="245"/>
                  </a:cubicBezTo>
                  <a:cubicBezTo>
                    <a:pt x="45" y="240"/>
                    <a:pt x="47" y="236"/>
                    <a:pt x="49" y="232"/>
                  </a:cubicBezTo>
                  <a:cubicBezTo>
                    <a:pt x="53" y="224"/>
                    <a:pt x="56" y="216"/>
                    <a:pt x="59" y="208"/>
                  </a:cubicBezTo>
                  <a:cubicBezTo>
                    <a:pt x="60" y="205"/>
                    <a:pt x="60" y="206"/>
                    <a:pt x="60" y="204"/>
                  </a:cubicBezTo>
                  <a:cubicBezTo>
                    <a:pt x="60" y="201"/>
                    <a:pt x="59" y="197"/>
                    <a:pt x="59" y="194"/>
                  </a:cubicBezTo>
                  <a:cubicBezTo>
                    <a:pt x="59" y="190"/>
                    <a:pt x="63" y="187"/>
                    <a:pt x="62" y="183"/>
                  </a:cubicBezTo>
                  <a:cubicBezTo>
                    <a:pt x="62" y="181"/>
                    <a:pt x="58" y="178"/>
                    <a:pt x="60" y="177"/>
                  </a:cubicBezTo>
                  <a:cubicBezTo>
                    <a:pt x="63" y="174"/>
                    <a:pt x="65" y="174"/>
                    <a:pt x="69" y="173"/>
                  </a:cubicBezTo>
                  <a:cubicBezTo>
                    <a:pt x="70" y="173"/>
                    <a:pt x="70" y="173"/>
                    <a:pt x="71" y="173"/>
                  </a:cubicBezTo>
                  <a:cubicBezTo>
                    <a:pt x="68" y="172"/>
                    <a:pt x="67" y="169"/>
                    <a:pt x="67" y="167"/>
                  </a:cubicBezTo>
                  <a:cubicBezTo>
                    <a:pt x="67" y="163"/>
                    <a:pt x="70" y="160"/>
                    <a:pt x="73" y="160"/>
                  </a:cubicBezTo>
                  <a:cubicBezTo>
                    <a:pt x="77" y="160"/>
                    <a:pt x="80" y="163"/>
                    <a:pt x="80" y="167"/>
                  </a:cubicBezTo>
                  <a:cubicBezTo>
                    <a:pt x="80" y="169"/>
                    <a:pt x="79" y="171"/>
                    <a:pt x="77" y="172"/>
                  </a:cubicBezTo>
                  <a:cubicBezTo>
                    <a:pt x="79" y="173"/>
                    <a:pt x="82" y="173"/>
                    <a:pt x="84" y="174"/>
                  </a:cubicBezTo>
                  <a:cubicBezTo>
                    <a:pt x="83" y="179"/>
                    <a:pt x="82" y="185"/>
                    <a:pt x="81" y="191"/>
                  </a:cubicBezTo>
                  <a:cubicBezTo>
                    <a:pt x="81" y="194"/>
                    <a:pt x="82" y="194"/>
                    <a:pt x="83" y="194"/>
                  </a:cubicBezTo>
                  <a:cubicBezTo>
                    <a:pt x="84" y="194"/>
                    <a:pt x="85" y="194"/>
                    <a:pt x="86" y="194"/>
                  </a:cubicBezTo>
                  <a:cubicBezTo>
                    <a:pt x="90" y="194"/>
                    <a:pt x="94" y="193"/>
                    <a:pt x="98" y="193"/>
                  </a:cubicBezTo>
                  <a:cubicBezTo>
                    <a:pt x="100" y="193"/>
                    <a:pt x="101" y="193"/>
                    <a:pt x="102" y="193"/>
                  </a:cubicBezTo>
                  <a:cubicBezTo>
                    <a:pt x="103" y="193"/>
                    <a:pt x="104" y="193"/>
                    <a:pt x="105" y="194"/>
                  </a:cubicBezTo>
                  <a:cubicBezTo>
                    <a:pt x="107" y="195"/>
                    <a:pt x="112" y="202"/>
                    <a:pt x="116" y="202"/>
                  </a:cubicBezTo>
                  <a:cubicBezTo>
                    <a:pt x="117" y="202"/>
                    <a:pt x="117" y="202"/>
                    <a:pt x="118" y="201"/>
                  </a:cubicBezTo>
                  <a:cubicBezTo>
                    <a:pt x="116" y="206"/>
                    <a:pt x="116" y="205"/>
                    <a:pt x="119" y="206"/>
                  </a:cubicBezTo>
                  <a:cubicBezTo>
                    <a:pt x="121" y="207"/>
                    <a:pt x="122" y="208"/>
                    <a:pt x="123" y="209"/>
                  </a:cubicBezTo>
                  <a:cubicBezTo>
                    <a:pt x="124" y="209"/>
                    <a:pt x="124" y="209"/>
                    <a:pt x="125" y="209"/>
                  </a:cubicBezTo>
                  <a:cubicBezTo>
                    <a:pt x="125" y="209"/>
                    <a:pt x="126" y="209"/>
                    <a:pt x="126" y="209"/>
                  </a:cubicBezTo>
                  <a:cubicBezTo>
                    <a:pt x="126" y="207"/>
                    <a:pt x="125" y="205"/>
                    <a:pt x="126" y="203"/>
                  </a:cubicBezTo>
                  <a:cubicBezTo>
                    <a:pt x="126" y="202"/>
                    <a:pt x="125" y="202"/>
                    <a:pt x="125" y="201"/>
                  </a:cubicBezTo>
                  <a:cubicBezTo>
                    <a:pt x="125" y="201"/>
                    <a:pt x="125" y="201"/>
                    <a:pt x="125" y="201"/>
                  </a:cubicBezTo>
                  <a:cubicBezTo>
                    <a:pt x="125" y="200"/>
                    <a:pt x="125" y="200"/>
                    <a:pt x="125" y="200"/>
                  </a:cubicBezTo>
                  <a:cubicBezTo>
                    <a:pt x="125" y="200"/>
                    <a:pt x="124" y="199"/>
                    <a:pt x="124" y="199"/>
                  </a:cubicBezTo>
                  <a:cubicBezTo>
                    <a:pt x="121" y="197"/>
                    <a:pt x="121" y="197"/>
                    <a:pt x="121" y="197"/>
                  </a:cubicBezTo>
                  <a:cubicBezTo>
                    <a:pt x="121" y="196"/>
                    <a:pt x="120" y="196"/>
                    <a:pt x="120" y="195"/>
                  </a:cubicBezTo>
                  <a:cubicBezTo>
                    <a:pt x="119" y="193"/>
                    <a:pt x="119" y="191"/>
                    <a:pt x="119" y="189"/>
                  </a:cubicBezTo>
                  <a:cubicBezTo>
                    <a:pt x="119" y="188"/>
                    <a:pt x="119" y="188"/>
                    <a:pt x="119" y="188"/>
                  </a:cubicBezTo>
                  <a:cubicBezTo>
                    <a:pt x="119" y="187"/>
                    <a:pt x="119" y="186"/>
                    <a:pt x="118" y="184"/>
                  </a:cubicBezTo>
                  <a:cubicBezTo>
                    <a:pt x="117" y="183"/>
                    <a:pt x="117" y="183"/>
                    <a:pt x="117" y="183"/>
                  </a:cubicBezTo>
                  <a:cubicBezTo>
                    <a:pt x="115" y="180"/>
                    <a:pt x="112" y="174"/>
                    <a:pt x="116" y="170"/>
                  </a:cubicBezTo>
                  <a:cubicBezTo>
                    <a:pt x="118" y="169"/>
                    <a:pt x="118" y="169"/>
                    <a:pt x="118" y="169"/>
                  </a:cubicBezTo>
                  <a:cubicBezTo>
                    <a:pt x="118" y="169"/>
                    <a:pt x="119" y="168"/>
                    <a:pt x="120" y="168"/>
                  </a:cubicBezTo>
                  <a:cubicBezTo>
                    <a:pt x="123" y="165"/>
                    <a:pt x="125" y="162"/>
                    <a:pt x="127" y="159"/>
                  </a:cubicBezTo>
                  <a:cubicBezTo>
                    <a:pt x="128" y="157"/>
                    <a:pt x="129" y="155"/>
                    <a:pt x="130" y="154"/>
                  </a:cubicBezTo>
                  <a:cubicBezTo>
                    <a:pt x="131" y="153"/>
                    <a:pt x="131" y="153"/>
                    <a:pt x="132" y="152"/>
                  </a:cubicBezTo>
                  <a:cubicBezTo>
                    <a:pt x="134" y="150"/>
                    <a:pt x="138" y="148"/>
                    <a:pt x="143" y="148"/>
                  </a:cubicBezTo>
                  <a:cubicBezTo>
                    <a:pt x="144" y="147"/>
                    <a:pt x="145" y="147"/>
                    <a:pt x="146" y="147"/>
                  </a:cubicBezTo>
                  <a:cubicBezTo>
                    <a:pt x="147" y="147"/>
                    <a:pt x="148" y="147"/>
                    <a:pt x="149" y="147"/>
                  </a:cubicBezTo>
                  <a:cubicBezTo>
                    <a:pt x="151" y="147"/>
                    <a:pt x="154" y="147"/>
                    <a:pt x="157" y="148"/>
                  </a:cubicBezTo>
                  <a:cubicBezTo>
                    <a:pt x="157" y="148"/>
                    <a:pt x="157" y="148"/>
                    <a:pt x="157" y="148"/>
                  </a:cubicBezTo>
                  <a:cubicBezTo>
                    <a:pt x="160" y="148"/>
                    <a:pt x="162" y="148"/>
                    <a:pt x="164" y="148"/>
                  </a:cubicBezTo>
                  <a:cubicBezTo>
                    <a:pt x="164" y="148"/>
                    <a:pt x="164" y="148"/>
                    <a:pt x="165" y="148"/>
                  </a:cubicBezTo>
                  <a:cubicBezTo>
                    <a:pt x="167" y="148"/>
                    <a:pt x="169" y="148"/>
                    <a:pt x="172" y="148"/>
                  </a:cubicBezTo>
                  <a:cubicBezTo>
                    <a:pt x="173" y="147"/>
                    <a:pt x="173" y="147"/>
                    <a:pt x="173" y="147"/>
                  </a:cubicBezTo>
                  <a:cubicBezTo>
                    <a:pt x="175" y="147"/>
                    <a:pt x="177" y="147"/>
                    <a:pt x="179" y="147"/>
                  </a:cubicBezTo>
                  <a:cubicBezTo>
                    <a:pt x="179" y="147"/>
                    <a:pt x="180" y="147"/>
                    <a:pt x="180" y="147"/>
                  </a:cubicBezTo>
                  <a:cubicBezTo>
                    <a:pt x="180" y="147"/>
                    <a:pt x="180" y="147"/>
                    <a:pt x="180" y="147"/>
                  </a:cubicBezTo>
                  <a:cubicBezTo>
                    <a:pt x="182" y="147"/>
                    <a:pt x="183" y="147"/>
                    <a:pt x="185" y="148"/>
                  </a:cubicBezTo>
                  <a:cubicBezTo>
                    <a:pt x="185" y="148"/>
                    <a:pt x="186" y="149"/>
                    <a:pt x="186" y="149"/>
                  </a:cubicBezTo>
                  <a:cubicBezTo>
                    <a:pt x="189" y="148"/>
                    <a:pt x="189" y="148"/>
                    <a:pt x="189" y="148"/>
                  </a:cubicBezTo>
                  <a:cubicBezTo>
                    <a:pt x="189" y="148"/>
                    <a:pt x="189" y="148"/>
                    <a:pt x="189" y="148"/>
                  </a:cubicBezTo>
                  <a:cubicBezTo>
                    <a:pt x="190" y="147"/>
                    <a:pt x="191" y="147"/>
                    <a:pt x="192" y="146"/>
                  </a:cubicBezTo>
                  <a:cubicBezTo>
                    <a:pt x="193" y="146"/>
                    <a:pt x="193" y="146"/>
                    <a:pt x="193" y="146"/>
                  </a:cubicBezTo>
                  <a:cubicBezTo>
                    <a:pt x="194" y="144"/>
                    <a:pt x="193" y="141"/>
                    <a:pt x="192" y="138"/>
                  </a:cubicBezTo>
                  <a:cubicBezTo>
                    <a:pt x="192" y="135"/>
                    <a:pt x="191" y="132"/>
                    <a:pt x="192" y="129"/>
                  </a:cubicBezTo>
                  <a:cubicBezTo>
                    <a:pt x="191" y="127"/>
                    <a:pt x="192" y="126"/>
                    <a:pt x="192" y="125"/>
                  </a:cubicBezTo>
                  <a:cubicBezTo>
                    <a:pt x="193" y="123"/>
                    <a:pt x="194" y="123"/>
                    <a:pt x="195" y="122"/>
                  </a:cubicBezTo>
                  <a:cubicBezTo>
                    <a:pt x="195" y="122"/>
                    <a:pt x="195" y="122"/>
                    <a:pt x="195" y="121"/>
                  </a:cubicBezTo>
                  <a:cubicBezTo>
                    <a:pt x="195" y="121"/>
                    <a:pt x="195" y="120"/>
                    <a:pt x="195" y="120"/>
                  </a:cubicBezTo>
                  <a:cubicBezTo>
                    <a:pt x="195" y="120"/>
                    <a:pt x="195" y="120"/>
                    <a:pt x="195" y="120"/>
                  </a:cubicBezTo>
                  <a:cubicBezTo>
                    <a:pt x="195" y="120"/>
                    <a:pt x="195" y="120"/>
                    <a:pt x="195" y="120"/>
                  </a:cubicBezTo>
                  <a:cubicBezTo>
                    <a:pt x="194" y="119"/>
                    <a:pt x="192" y="119"/>
                    <a:pt x="191" y="117"/>
                  </a:cubicBezTo>
                  <a:cubicBezTo>
                    <a:pt x="190" y="116"/>
                    <a:pt x="189" y="114"/>
                    <a:pt x="189" y="113"/>
                  </a:cubicBezTo>
                  <a:cubicBezTo>
                    <a:pt x="189" y="112"/>
                    <a:pt x="189" y="112"/>
                    <a:pt x="189" y="112"/>
                  </a:cubicBezTo>
                  <a:cubicBezTo>
                    <a:pt x="187" y="111"/>
                    <a:pt x="185" y="111"/>
                    <a:pt x="184" y="110"/>
                  </a:cubicBezTo>
                  <a:cubicBezTo>
                    <a:pt x="182" y="109"/>
                    <a:pt x="182" y="107"/>
                    <a:pt x="181" y="106"/>
                  </a:cubicBezTo>
                  <a:cubicBezTo>
                    <a:pt x="181" y="105"/>
                    <a:pt x="180" y="105"/>
                    <a:pt x="179" y="104"/>
                  </a:cubicBezTo>
                  <a:cubicBezTo>
                    <a:pt x="179" y="103"/>
                    <a:pt x="179" y="103"/>
                    <a:pt x="179" y="103"/>
                  </a:cubicBezTo>
                  <a:cubicBezTo>
                    <a:pt x="178" y="102"/>
                    <a:pt x="177" y="102"/>
                    <a:pt x="177" y="101"/>
                  </a:cubicBezTo>
                  <a:cubicBezTo>
                    <a:pt x="175" y="99"/>
                    <a:pt x="175" y="99"/>
                    <a:pt x="175" y="99"/>
                  </a:cubicBezTo>
                  <a:cubicBezTo>
                    <a:pt x="175" y="99"/>
                    <a:pt x="175" y="99"/>
                    <a:pt x="175" y="99"/>
                  </a:cubicBezTo>
                  <a:cubicBezTo>
                    <a:pt x="175" y="98"/>
                    <a:pt x="174" y="97"/>
                    <a:pt x="174" y="96"/>
                  </a:cubicBezTo>
                  <a:cubicBezTo>
                    <a:pt x="174" y="95"/>
                    <a:pt x="174" y="94"/>
                    <a:pt x="174" y="94"/>
                  </a:cubicBezTo>
                  <a:cubicBezTo>
                    <a:pt x="174" y="93"/>
                    <a:pt x="174" y="93"/>
                    <a:pt x="174" y="93"/>
                  </a:cubicBezTo>
                  <a:cubicBezTo>
                    <a:pt x="173" y="90"/>
                    <a:pt x="173" y="86"/>
                    <a:pt x="174" y="84"/>
                  </a:cubicBezTo>
                  <a:cubicBezTo>
                    <a:pt x="175" y="82"/>
                    <a:pt x="175" y="82"/>
                    <a:pt x="175" y="82"/>
                  </a:cubicBezTo>
                  <a:cubicBezTo>
                    <a:pt x="175" y="82"/>
                    <a:pt x="175" y="81"/>
                    <a:pt x="175" y="80"/>
                  </a:cubicBezTo>
                  <a:cubicBezTo>
                    <a:pt x="175" y="80"/>
                    <a:pt x="175" y="80"/>
                    <a:pt x="175" y="80"/>
                  </a:cubicBezTo>
                  <a:cubicBezTo>
                    <a:pt x="175" y="79"/>
                    <a:pt x="175" y="79"/>
                    <a:pt x="175" y="79"/>
                  </a:cubicBezTo>
                  <a:cubicBezTo>
                    <a:pt x="176" y="78"/>
                    <a:pt x="176" y="78"/>
                    <a:pt x="176" y="78"/>
                  </a:cubicBezTo>
                  <a:cubicBezTo>
                    <a:pt x="175" y="78"/>
                    <a:pt x="175" y="78"/>
                    <a:pt x="175" y="78"/>
                  </a:cubicBezTo>
                  <a:cubicBezTo>
                    <a:pt x="175" y="77"/>
                    <a:pt x="175" y="76"/>
                    <a:pt x="175" y="76"/>
                  </a:cubicBezTo>
                  <a:cubicBezTo>
                    <a:pt x="174" y="75"/>
                    <a:pt x="173" y="74"/>
                    <a:pt x="172" y="73"/>
                  </a:cubicBezTo>
                  <a:cubicBezTo>
                    <a:pt x="171" y="72"/>
                    <a:pt x="171" y="72"/>
                    <a:pt x="171" y="72"/>
                  </a:cubicBezTo>
                  <a:cubicBezTo>
                    <a:pt x="167" y="69"/>
                    <a:pt x="163" y="66"/>
                    <a:pt x="161" y="61"/>
                  </a:cubicBezTo>
                  <a:cubicBezTo>
                    <a:pt x="161" y="61"/>
                    <a:pt x="160" y="60"/>
                    <a:pt x="160" y="59"/>
                  </a:cubicBezTo>
                  <a:cubicBezTo>
                    <a:pt x="159" y="58"/>
                    <a:pt x="159" y="58"/>
                    <a:pt x="159" y="58"/>
                  </a:cubicBezTo>
                  <a:cubicBezTo>
                    <a:pt x="159" y="57"/>
                    <a:pt x="158" y="57"/>
                    <a:pt x="158" y="56"/>
                  </a:cubicBezTo>
                  <a:cubicBezTo>
                    <a:pt x="156" y="54"/>
                    <a:pt x="156" y="54"/>
                    <a:pt x="152" y="53"/>
                  </a:cubicBezTo>
                  <a:cubicBezTo>
                    <a:pt x="151" y="53"/>
                    <a:pt x="150" y="52"/>
                    <a:pt x="148" y="52"/>
                  </a:cubicBezTo>
                  <a:cubicBezTo>
                    <a:pt x="148" y="52"/>
                    <a:pt x="147" y="52"/>
                    <a:pt x="147" y="52"/>
                  </a:cubicBezTo>
                  <a:cubicBezTo>
                    <a:pt x="147" y="52"/>
                    <a:pt x="147" y="52"/>
                    <a:pt x="147" y="52"/>
                  </a:cubicBezTo>
                  <a:cubicBezTo>
                    <a:pt x="146" y="51"/>
                    <a:pt x="146" y="51"/>
                    <a:pt x="145" y="51"/>
                  </a:cubicBezTo>
                  <a:cubicBezTo>
                    <a:pt x="145" y="51"/>
                    <a:pt x="145" y="51"/>
                    <a:pt x="145" y="52"/>
                  </a:cubicBezTo>
                  <a:cubicBezTo>
                    <a:pt x="144" y="52"/>
                    <a:pt x="144" y="52"/>
                    <a:pt x="144" y="52"/>
                  </a:cubicBezTo>
                  <a:cubicBezTo>
                    <a:pt x="144" y="53"/>
                    <a:pt x="144" y="53"/>
                    <a:pt x="144" y="53"/>
                  </a:cubicBezTo>
                  <a:cubicBezTo>
                    <a:pt x="139" y="57"/>
                    <a:pt x="139" y="57"/>
                    <a:pt x="139" y="57"/>
                  </a:cubicBezTo>
                  <a:cubicBezTo>
                    <a:pt x="139" y="58"/>
                    <a:pt x="139" y="58"/>
                    <a:pt x="138" y="59"/>
                  </a:cubicBezTo>
                  <a:cubicBezTo>
                    <a:pt x="138" y="60"/>
                    <a:pt x="138" y="60"/>
                    <a:pt x="138" y="61"/>
                  </a:cubicBezTo>
                  <a:cubicBezTo>
                    <a:pt x="136" y="63"/>
                    <a:pt x="134" y="63"/>
                    <a:pt x="132" y="63"/>
                  </a:cubicBezTo>
                  <a:cubicBezTo>
                    <a:pt x="132" y="63"/>
                    <a:pt x="132" y="63"/>
                    <a:pt x="132" y="63"/>
                  </a:cubicBezTo>
                  <a:cubicBezTo>
                    <a:pt x="132" y="63"/>
                    <a:pt x="131" y="63"/>
                    <a:pt x="131" y="63"/>
                  </a:cubicBezTo>
                  <a:cubicBezTo>
                    <a:pt x="131" y="63"/>
                    <a:pt x="130" y="64"/>
                    <a:pt x="129" y="64"/>
                  </a:cubicBezTo>
                  <a:cubicBezTo>
                    <a:pt x="129" y="64"/>
                    <a:pt x="129" y="64"/>
                    <a:pt x="129" y="64"/>
                  </a:cubicBezTo>
                  <a:cubicBezTo>
                    <a:pt x="133" y="73"/>
                    <a:pt x="133" y="73"/>
                    <a:pt x="133" y="73"/>
                  </a:cubicBezTo>
                  <a:cubicBezTo>
                    <a:pt x="124" y="67"/>
                    <a:pt x="124" y="67"/>
                    <a:pt x="124" y="67"/>
                  </a:cubicBezTo>
                  <a:cubicBezTo>
                    <a:pt x="121" y="64"/>
                    <a:pt x="117" y="61"/>
                    <a:pt x="114" y="59"/>
                  </a:cubicBezTo>
                  <a:cubicBezTo>
                    <a:pt x="112" y="58"/>
                    <a:pt x="112" y="58"/>
                    <a:pt x="112" y="58"/>
                  </a:cubicBezTo>
                  <a:cubicBezTo>
                    <a:pt x="112" y="58"/>
                    <a:pt x="112" y="58"/>
                    <a:pt x="112" y="58"/>
                  </a:cubicBezTo>
                  <a:cubicBezTo>
                    <a:pt x="110" y="59"/>
                    <a:pt x="108" y="60"/>
                    <a:pt x="106" y="61"/>
                  </a:cubicBezTo>
                  <a:cubicBezTo>
                    <a:pt x="105" y="63"/>
                    <a:pt x="105" y="63"/>
                    <a:pt x="105" y="63"/>
                  </a:cubicBezTo>
                  <a:cubicBezTo>
                    <a:pt x="104" y="64"/>
                    <a:pt x="103" y="64"/>
                    <a:pt x="102" y="65"/>
                  </a:cubicBezTo>
                  <a:cubicBezTo>
                    <a:pt x="99" y="67"/>
                    <a:pt x="96" y="70"/>
                    <a:pt x="93" y="72"/>
                  </a:cubicBezTo>
                  <a:cubicBezTo>
                    <a:pt x="92" y="74"/>
                    <a:pt x="91" y="75"/>
                    <a:pt x="89" y="76"/>
                  </a:cubicBezTo>
                  <a:cubicBezTo>
                    <a:pt x="89" y="76"/>
                    <a:pt x="89" y="76"/>
                    <a:pt x="89" y="76"/>
                  </a:cubicBezTo>
                  <a:cubicBezTo>
                    <a:pt x="88" y="76"/>
                    <a:pt x="88" y="76"/>
                    <a:pt x="87" y="75"/>
                  </a:cubicBezTo>
                  <a:cubicBezTo>
                    <a:pt x="87" y="74"/>
                    <a:pt x="87" y="74"/>
                    <a:pt x="87" y="74"/>
                  </a:cubicBezTo>
                  <a:cubicBezTo>
                    <a:pt x="87" y="75"/>
                    <a:pt x="87" y="75"/>
                    <a:pt x="87" y="75"/>
                  </a:cubicBezTo>
                  <a:cubicBezTo>
                    <a:pt x="86" y="75"/>
                    <a:pt x="86" y="75"/>
                    <a:pt x="85" y="75"/>
                  </a:cubicBezTo>
                  <a:cubicBezTo>
                    <a:pt x="84" y="74"/>
                    <a:pt x="84" y="74"/>
                    <a:pt x="83" y="74"/>
                  </a:cubicBezTo>
                  <a:cubicBezTo>
                    <a:pt x="83" y="73"/>
                    <a:pt x="83" y="73"/>
                    <a:pt x="83" y="73"/>
                  </a:cubicBezTo>
                  <a:cubicBezTo>
                    <a:pt x="82" y="73"/>
                    <a:pt x="82" y="73"/>
                    <a:pt x="82" y="73"/>
                  </a:cubicBezTo>
                  <a:cubicBezTo>
                    <a:pt x="81" y="72"/>
                    <a:pt x="81" y="72"/>
                    <a:pt x="81" y="72"/>
                  </a:cubicBezTo>
                  <a:cubicBezTo>
                    <a:pt x="80" y="71"/>
                    <a:pt x="80" y="71"/>
                    <a:pt x="80" y="71"/>
                  </a:cubicBezTo>
                  <a:cubicBezTo>
                    <a:pt x="80" y="69"/>
                    <a:pt x="80" y="69"/>
                    <a:pt x="80" y="69"/>
                  </a:cubicBezTo>
                  <a:cubicBezTo>
                    <a:pt x="80" y="67"/>
                    <a:pt x="81" y="64"/>
                    <a:pt x="83" y="61"/>
                  </a:cubicBezTo>
                  <a:cubicBezTo>
                    <a:pt x="83" y="61"/>
                    <a:pt x="83" y="61"/>
                    <a:pt x="83" y="61"/>
                  </a:cubicBezTo>
                  <a:cubicBezTo>
                    <a:pt x="84" y="61"/>
                    <a:pt x="84" y="60"/>
                    <a:pt x="84" y="60"/>
                  </a:cubicBezTo>
                  <a:cubicBezTo>
                    <a:pt x="84" y="60"/>
                    <a:pt x="84" y="60"/>
                    <a:pt x="84" y="60"/>
                  </a:cubicBezTo>
                  <a:cubicBezTo>
                    <a:pt x="85" y="58"/>
                    <a:pt x="85" y="58"/>
                    <a:pt x="85" y="58"/>
                  </a:cubicBezTo>
                  <a:cubicBezTo>
                    <a:pt x="86" y="57"/>
                    <a:pt x="86" y="57"/>
                    <a:pt x="86" y="57"/>
                  </a:cubicBezTo>
                  <a:cubicBezTo>
                    <a:pt x="86" y="57"/>
                    <a:pt x="85" y="56"/>
                    <a:pt x="85" y="55"/>
                  </a:cubicBezTo>
                  <a:cubicBezTo>
                    <a:pt x="84" y="53"/>
                    <a:pt x="84" y="51"/>
                    <a:pt x="84" y="49"/>
                  </a:cubicBezTo>
                  <a:cubicBezTo>
                    <a:pt x="84" y="46"/>
                    <a:pt x="85" y="45"/>
                    <a:pt x="86" y="44"/>
                  </a:cubicBezTo>
                  <a:cubicBezTo>
                    <a:pt x="87" y="42"/>
                    <a:pt x="87" y="42"/>
                    <a:pt x="87" y="42"/>
                  </a:cubicBezTo>
                  <a:cubicBezTo>
                    <a:pt x="88" y="41"/>
                    <a:pt x="88" y="41"/>
                    <a:pt x="88" y="40"/>
                  </a:cubicBezTo>
                  <a:cubicBezTo>
                    <a:pt x="88" y="39"/>
                    <a:pt x="88" y="39"/>
                    <a:pt x="88" y="38"/>
                  </a:cubicBezTo>
                  <a:cubicBezTo>
                    <a:pt x="88" y="37"/>
                    <a:pt x="88" y="36"/>
                    <a:pt x="88" y="35"/>
                  </a:cubicBezTo>
                  <a:cubicBezTo>
                    <a:pt x="89" y="33"/>
                    <a:pt x="89" y="33"/>
                    <a:pt x="89" y="33"/>
                  </a:cubicBezTo>
                  <a:cubicBezTo>
                    <a:pt x="89" y="33"/>
                    <a:pt x="90" y="32"/>
                    <a:pt x="90" y="32"/>
                  </a:cubicBezTo>
                  <a:cubicBezTo>
                    <a:pt x="89" y="31"/>
                    <a:pt x="89" y="31"/>
                    <a:pt x="89" y="31"/>
                  </a:cubicBezTo>
                  <a:cubicBezTo>
                    <a:pt x="89" y="31"/>
                    <a:pt x="89" y="31"/>
                    <a:pt x="89" y="31"/>
                  </a:cubicBezTo>
                  <a:cubicBezTo>
                    <a:pt x="89" y="30"/>
                    <a:pt x="88" y="29"/>
                    <a:pt x="88" y="29"/>
                  </a:cubicBezTo>
                  <a:cubicBezTo>
                    <a:pt x="88" y="28"/>
                    <a:pt x="88" y="28"/>
                    <a:pt x="88" y="28"/>
                  </a:cubicBezTo>
                  <a:cubicBezTo>
                    <a:pt x="87" y="26"/>
                    <a:pt x="87" y="25"/>
                    <a:pt x="87" y="23"/>
                  </a:cubicBezTo>
                  <a:cubicBezTo>
                    <a:pt x="86" y="23"/>
                    <a:pt x="86" y="23"/>
                    <a:pt x="86" y="23"/>
                  </a:cubicBezTo>
                  <a:cubicBezTo>
                    <a:pt x="85" y="23"/>
                    <a:pt x="83" y="24"/>
                    <a:pt x="82" y="24"/>
                  </a:cubicBezTo>
                  <a:cubicBezTo>
                    <a:pt x="80" y="24"/>
                    <a:pt x="78" y="24"/>
                    <a:pt x="77" y="24"/>
                  </a:cubicBezTo>
                  <a:cubicBezTo>
                    <a:pt x="76" y="24"/>
                    <a:pt x="75" y="24"/>
                    <a:pt x="74" y="24"/>
                  </a:cubicBezTo>
                  <a:cubicBezTo>
                    <a:pt x="74" y="23"/>
                    <a:pt x="74" y="23"/>
                    <a:pt x="74" y="23"/>
                  </a:cubicBezTo>
                  <a:cubicBezTo>
                    <a:pt x="74" y="24"/>
                    <a:pt x="74" y="24"/>
                    <a:pt x="74" y="24"/>
                  </a:cubicBezTo>
                  <a:cubicBezTo>
                    <a:pt x="73" y="23"/>
                    <a:pt x="72" y="23"/>
                    <a:pt x="71" y="22"/>
                  </a:cubicBezTo>
                  <a:cubicBezTo>
                    <a:pt x="71" y="21"/>
                    <a:pt x="71" y="21"/>
                    <a:pt x="70" y="20"/>
                  </a:cubicBezTo>
                  <a:cubicBezTo>
                    <a:pt x="70" y="20"/>
                    <a:pt x="70" y="20"/>
                    <a:pt x="70" y="20"/>
                  </a:cubicBezTo>
                  <a:cubicBezTo>
                    <a:pt x="69" y="19"/>
                    <a:pt x="69" y="18"/>
                    <a:pt x="68" y="17"/>
                  </a:cubicBezTo>
                  <a:cubicBezTo>
                    <a:pt x="68" y="17"/>
                    <a:pt x="68" y="17"/>
                    <a:pt x="68" y="17"/>
                  </a:cubicBezTo>
                  <a:cubicBezTo>
                    <a:pt x="67" y="15"/>
                    <a:pt x="67" y="14"/>
                    <a:pt x="68" y="13"/>
                  </a:cubicBezTo>
                  <a:cubicBezTo>
                    <a:pt x="63" y="5"/>
                    <a:pt x="63" y="5"/>
                    <a:pt x="63" y="5"/>
                  </a:cubicBezTo>
                  <a:cubicBezTo>
                    <a:pt x="62" y="5"/>
                    <a:pt x="62" y="5"/>
                    <a:pt x="62" y="5"/>
                  </a:cubicBezTo>
                  <a:cubicBezTo>
                    <a:pt x="62" y="4"/>
                    <a:pt x="61" y="3"/>
                    <a:pt x="61" y="2"/>
                  </a:cubicBezTo>
                  <a:cubicBezTo>
                    <a:pt x="60" y="2"/>
                    <a:pt x="60" y="2"/>
                    <a:pt x="60" y="2"/>
                  </a:cubicBezTo>
                  <a:cubicBezTo>
                    <a:pt x="60" y="1"/>
                    <a:pt x="60" y="1"/>
                    <a:pt x="60" y="1"/>
                  </a:cubicBezTo>
                  <a:cubicBezTo>
                    <a:pt x="59" y="1"/>
                    <a:pt x="59" y="1"/>
                    <a:pt x="59" y="1"/>
                  </a:cubicBezTo>
                  <a:cubicBezTo>
                    <a:pt x="59" y="0"/>
                    <a:pt x="59" y="0"/>
                    <a:pt x="59" y="0"/>
                  </a:cubicBezTo>
                  <a:cubicBezTo>
                    <a:pt x="59"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Rectangle 522"/>
            <p:cNvSpPr>
              <a:spLocks noChangeArrowheads="1"/>
            </p:cNvSpPr>
            <p:nvPr/>
          </p:nvSpPr>
          <p:spPr bwMode="auto">
            <a:xfrm>
              <a:off x="5676295" y="4130112"/>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523"/>
            <p:cNvSpPr/>
            <p:nvPr/>
          </p:nvSpPr>
          <p:spPr bwMode="auto">
            <a:xfrm flipH="1">
              <a:off x="5676295" y="413011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524"/>
            <p:cNvSpPr/>
            <p:nvPr/>
          </p:nvSpPr>
          <p:spPr bwMode="auto">
            <a:xfrm>
              <a:off x="5473483" y="4073700"/>
              <a:ext cx="568142" cy="672906"/>
            </a:xfrm>
            <a:custGeom>
              <a:gdLst>
                <a:gd name="T0" fmla="*/ 36 w 179"/>
                <a:gd name="T1" fmla="*/ 6 h 212"/>
                <a:gd name="T2" fmla="*/ 39 w 179"/>
                <a:gd name="T3" fmla="*/ 26 h 212"/>
                <a:gd name="T4" fmla="*/ 30 w 179"/>
                <a:gd name="T5" fmla="*/ 33 h 212"/>
                <a:gd name="T6" fmla="*/ 24 w 179"/>
                <a:gd name="T7" fmla="*/ 34 h 212"/>
                <a:gd name="T8" fmla="*/ 10 w 179"/>
                <a:gd name="T9" fmla="*/ 37 h 212"/>
                <a:gd name="T10" fmla="*/ 3 w 179"/>
                <a:gd name="T11" fmla="*/ 43 h 212"/>
                <a:gd name="T12" fmla="*/ 7 w 179"/>
                <a:gd name="T13" fmla="*/ 53 h 212"/>
                <a:gd name="T14" fmla="*/ 7 w 179"/>
                <a:gd name="T15" fmla="*/ 67 h 212"/>
                <a:gd name="T16" fmla="*/ 19 w 179"/>
                <a:gd name="T17" fmla="*/ 70 h 212"/>
                <a:gd name="T18" fmla="*/ 26 w 179"/>
                <a:gd name="T19" fmla="*/ 76 h 212"/>
                <a:gd name="T20" fmla="*/ 28 w 179"/>
                <a:gd name="T21" fmla="*/ 89 h 212"/>
                <a:gd name="T22" fmla="*/ 24 w 179"/>
                <a:gd name="T23" fmla="*/ 99 h 212"/>
                <a:gd name="T24" fmla="*/ 27 w 179"/>
                <a:gd name="T25" fmla="*/ 116 h 212"/>
                <a:gd name="T26" fmla="*/ 32 w 179"/>
                <a:gd name="T27" fmla="*/ 113 h 212"/>
                <a:gd name="T28" fmla="*/ 47 w 179"/>
                <a:gd name="T29" fmla="*/ 105 h 212"/>
                <a:gd name="T30" fmla="*/ 65 w 179"/>
                <a:gd name="T31" fmla="*/ 110 h 212"/>
                <a:gd name="T32" fmla="*/ 78 w 179"/>
                <a:gd name="T33" fmla="*/ 98 h 212"/>
                <a:gd name="T34" fmla="*/ 96 w 179"/>
                <a:gd name="T35" fmla="*/ 106 h 212"/>
                <a:gd name="T36" fmla="*/ 113 w 179"/>
                <a:gd name="T37" fmla="*/ 125 h 212"/>
                <a:gd name="T38" fmla="*/ 114 w 179"/>
                <a:gd name="T39" fmla="*/ 134 h 212"/>
                <a:gd name="T40" fmla="*/ 113 w 179"/>
                <a:gd name="T41" fmla="*/ 148 h 212"/>
                <a:gd name="T42" fmla="*/ 121 w 179"/>
                <a:gd name="T43" fmla="*/ 158 h 212"/>
                <a:gd name="T44" fmla="*/ 128 w 179"/>
                <a:gd name="T45" fmla="*/ 165 h 212"/>
                <a:gd name="T46" fmla="*/ 134 w 179"/>
                <a:gd name="T47" fmla="*/ 175 h 212"/>
                <a:gd name="T48" fmla="*/ 131 w 179"/>
                <a:gd name="T49" fmla="*/ 202 h 212"/>
                <a:gd name="T50" fmla="*/ 130 w 179"/>
                <a:gd name="T51" fmla="*/ 207 h 212"/>
                <a:gd name="T52" fmla="*/ 140 w 179"/>
                <a:gd name="T53" fmla="*/ 211 h 212"/>
                <a:gd name="T54" fmla="*/ 142 w 179"/>
                <a:gd name="T55" fmla="*/ 212 h 212"/>
                <a:gd name="T56" fmla="*/ 145 w 179"/>
                <a:gd name="T57" fmla="*/ 199 h 212"/>
                <a:gd name="T58" fmla="*/ 155 w 179"/>
                <a:gd name="T59" fmla="*/ 195 h 212"/>
                <a:gd name="T60" fmla="*/ 165 w 179"/>
                <a:gd name="T61" fmla="*/ 201 h 212"/>
                <a:gd name="T62" fmla="*/ 175 w 179"/>
                <a:gd name="T63" fmla="*/ 192 h 212"/>
                <a:gd name="T64" fmla="*/ 176 w 179"/>
                <a:gd name="T65" fmla="*/ 178 h 212"/>
                <a:gd name="T66" fmla="*/ 172 w 179"/>
                <a:gd name="T67" fmla="*/ 163 h 212"/>
                <a:gd name="T68" fmla="*/ 166 w 179"/>
                <a:gd name="T69" fmla="*/ 158 h 212"/>
                <a:gd name="T70" fmla="*/ 161 w 179"/>
                <a:gd name="T71" fmla="*/ 153 h 212"/>
                <a:gd name="T72" fmla="*/ 154 w 179"/>
                <a:gd name="T73" fmla="*/ 152 h 212"/>
                <a:gd name="T74" fmla="*/ 152 w 179"/>
                <a:gd name="T75" fmla="*/ 145 h 212"/>
                <a:gd name="T76" fmla="*/ 148 w 179"/>
                <a:gd name="T77" fmla="*/ 137 h 212"/>
                <a:gd name="T78" fmla="*/ 141 w 179"/>
                <a:gd name="T79" fmla="*/ 129 h 212"/>
                <a:gd name="T80" fmla="*/ 127 w 179"/>
                <a:gd name="T81" fmla="*/ 113 h 212"/>
                <a:gd name="T82" fmla="*/ 117 w 179"/>
                <a:gd name="T83" fmla="*/ 98 h 212"/>
                <a:gd name="T84" fmla="*/ 89 w 179"/>
                <a:gd name="T85" fmla="*/ 75 h 212"/>
                <a:gd name="T86" fmla="*/ 91 w 179"/>
                <a:gd name="T87" fmla="*/ 66 h 212"/>
                <a:gd name="T88" fmla="*/ 99 w 179"/>
                <a:gd name="T89" fmla="*/ 66 h 212"/>
                <a:gd name="T90" fmla="*/ 106 w 179"/>
                <a:gd name="T91" fmla="*/ 66 h 212"/>
                <a:gd name="T92" fmla="*/ 109 w 179"/>
                <a:gd name="T93" fmla="*/ 56 h 212"/>
                <a:gd name="T94" fmla="*/ 100 w 179"/>
                <a:gd name="T95" fmla="*/ 47 h 212"/>
                <a:gd name="T96" fmla="*/ 98 w 179"/>
                <a:gd name="T97" fmla="*/ 47 h 212"/>
                <a:gd name="T98" fmla="*/ 97 w 179"/>
                <a:gd name="T99" fmla="*/ 41 h 212"/>
                <a:gd name="T100" fmla="*/ 89 w 179"/>
                <a:gd name="T101" fmla="*/ 43 h 212"/>
                <a:gd name="T102" fmla="*/ 84 w 179"/>
                <a:gd name="T103" fmla="*/ 47 h 212"/>
                <a:gd name="T104" fmla="*/ 78 w 179"/>
                <a:gd name="T105" fmla="*/ 45 h 212"/>
                <a:gd name="T106" fmla="*/ 63 w 179"/>
                <a:gd name="T107" fmla="*/ 32 h 212"/>
                <a:gd name="T108" fmla="*/ 62 w 179"/>
                <a:gd name="T109" fmla="*/ 27 h 212"/>
                <a:gd name="T110" fmla="*/ 63 w 179"/>
                <a:gd name="T111" fmla="*/ 21 h 212"/>
                <a:gd name="T112" fmla="*/ 56 w 179"/>
                <a:gd name="T113" fmla="*/ 17 h 212"/>
                <a:gd name="T114" fmla="*/ 44 w 179"/>
                <a:gd name="T115" fmla="*/ 2 h 2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 h="211">
                  <a:moveTo>
                    <a:pt x="37" y="0"/>
                  </a:moveTo>
                  <a:cubicBezTo>
                    <a:pt x="36" y="0"/>
                    <a:pt x="36" y="0"/>
                    <a:pt x="36" y="0"/>
                  </a:cubicBezTo>
                  <a:cubicBezTo>
                    <a:pt x="36" y="1"/>
                    <a:pt x="36" y="1"/>
                    <a:pt x="36" y="2"/>
                  </a:cubicBezTo>
                  <a:cubicBezTo>
                    <a:pt x="35" y="2"/>
                    <a:pt x="35" y="3"/>
                    <a:pt x="34" y="3"/>
                  </a:cubicBezTo>
                  <a:cubicBezTo>
                    <a:pt x="34" y="4"/>
                    <a:pt x="34" y="4"/>
                    <a:pt x="34" y="4"/>
                  </a:cubicBezTo>
                  <a:cubicBezTo>
                    <a:pt x="34" y="4"/>
                    <a:pt x="35" y="6"/>
                    <a:pt x="36" y="6"/>
                  </a:cubicBezTo>
                  <a:cubicBezTo>
                    <a:pt x="36" y="7"/>
                    <a:pt x="36" y="7"/>
                    <a:pt x="36" y="7"/>
                  </a:cubicBezTo>
                  <a:cubicBezTo>
                    <a:pt x="37" y="8"/>
                    <a:pt x="37" y="9"/>
                    <a:pt x="38" y="9"/>
                  </a:cubicBezTo>
                  <a:cubicBezTo>
                    <a:pt x="39" y="13"/>
                    <a:pt x="40" y="15"/>
                    <a:pt x="40" y="19"/>
                  </a:cubicBezTo>
                  <a:cubicBezTo>
                    <a:pt x="39" y="20"/>
                    <a:pt x="39" y="20"/>
                    <a:pt x="39" y="20"/>
                  </a:cubicBezTo>
                  <a:cubicBezTo>
                    <a:pt x="39" y="24"/>
                    <a:pt x="39" y="25"/>
                    <a:pt x="39" y="26"/>
                  </a:cubicBezTo>
                  <a:cubicBezTo>
                    <a:pt x="39" y="26"/>
                    <a:pt x="39" y="26"/>
                    <a:pt x="39" y="26"/>
                  </a:cubicBezTo>
                  <a:cubicBezTo>
                    <a:pt x="40" y="26"/>
                    <a:pt x="40" y="26"/>
                    <a:pt x="40" y="26"/>
                  </a:cubicBezTo>
                  <a:cubicBezTo>
                    <a:pt x="44" y="28"/>
                    <a:pt x="44" y="28"/>
                    <a:pt x="44" y="28"/>
                  </a:cubicBezTo>
                  <a:cubicBezTo>
                    <a:pt x="40" y="31"/>
                    <a:pt x="40" y="31"/>
                    <a:pt x="40" y="31"/>
                  </a:cubicBezTo>
                  <a:cubicBezTo>
                    <a:pt x="38" y="33"/>
                    <a:pt x="37" y="34"/>
                    <a:pt x="35" y="34"/>
                  </a:cubicBezTo>
                  <a:cubicBezTo>
                    <a:pt x="34" y="34"/>
                    <a:pt x="33" y="34"/>
                    <a:pt x="31" y="34"/>
                  </a:cubicBezTo>
                  <a:cubicBezTo>
                    <a:pt x="30" y="33"/>
                    <a:pt x="30" y="33"/>
                    <a:pt x="30" y="33"/>
                  </a:cubicBezTo>
                  <a:cubicBezTo>
                    <a:pt x="30" y="33"/>
                    <a:pt x="29" y="33"/>
                    <a:pt x="28" y="33"/>
                  </a:cubicBezTo>
                  <a:cubicBezTo>
                    <a:pt x="28" y="33"/>
                    <a:pt x="28" y="33"/>
                    <a:pt x="28" y="33"/>
                  </a:cubicBezTo>
                  <a:cubicBezTo>
                    <a:pt x="27" y="33"/>
                    <a:pt x="27" y="33"/>
                    <a:pt x="27" y="33"/>
                  </a:cubicBezTo>
                  <a:cubicBezTo>
                    <a:pt x="27" y="33"/>
                    <a:pt x="27" y="33"/>
                    <a:pt x="26" y="34"/>
                  </a:cubicBezTo>
                  <a:cubicBezTo>
                    <a:pt x="26" y="34"/>
                    <a:pt x="26" y="34"/>
                    <a:pt x="26" y="34"/>
                  </a:cubicBezTo>
                  <a:cubicBezTo>
                    <a:pt x="24" y="34"/>
                    <a:pt x="24" y="34"/>
                    <a:pt x="24" y="34"/>
                  </a:cubicBezTo>
                  <a:cubicBezTo>
                    <a:pt x="22" y="33"/>
                    <a:pt x="20" y="30"/>
                    <a:pt x="19" y="25"/>
                  </a:cubicBezTo>
                  <a:cubicBezTo>
                    <a:pt x="19" y="26"/>
                    <a:pt x="19" y="26"/>
                    <a:pt x="19" y="26"/>
                  </a:cubicBezTo>
                  <a:cubicBezTo>
                    <a:pt x="17" y="27"/>
                    <a:pt x="15" y="28"/>
                    <a:pt x="14" y="29"/>
                  </a:cubicBezTo>
                  <a:cubicBezTo>
                    <a:pt x="13" y="30"/>
                    <a:pt x="13" y="30"/>
                    <a:pt x="12" y="32"/>
                  </a:cubicBezTo>
                  <a:cubicBezTo>
                    <a:pt x="10" y="35"/>
                    <a:pt x="10" y="35"/>
                    <a:pt x="10" y="35"/>
                  </a:cubicBezTo>
                  <a:cubicBezTo>
                    <a:pt x="10" y="36"/>
                    <a:pt x="10" y="36"/>
                    <a:pt x="10" y="37"/>
                  </a:cubicBezTo>
                  <a:cubicBezTo>
                    <a:pt x="10" y="37"/>
                    <a:pt x="10" y="37"/>
                    <a:pt x="10" y="37"/>
                  </a:cubicBezTo>
                  <a:cubicBezTo>
                    <a:pt x="11" y="38"/>
                    <a:pt x="11" y="38"/>
                    <a:pt x="11" y="38"/>
                  </a:cubicBezTo>
                  <a:cubicBezTo>
                    <a:pt x="13" y="42"/>
                    <a:pt x="13" y="42"/>
                    <a:pt x="13" y="42"/>
                  </a:cubicBezTo>
                  <a:cubicBezTo>
                    <a:pt x="9" y="42"/>
                    <a:pt x="9" y="42"/>
                    <a:pt x="9" y="42"/>
                  </a:cubicBezTo>
                  <a:cubicBezTo>
                    <a:pt x="8" y="43"/>
                    <a:pt x="7" y="43"/>
                    <a:pt x="6" y="43"/>
                  </a:cubicBezTo>
                  <a:cubicBezTo>
                    <a:pt x="4" y="43"/>
                    <a:pt x="3" y="43"/>
                    <a:pt x="3" y="43"/>
                  </a:cubicBezTo>
                  <a:cubicBezTo>
                    <a:pt x="2" y="44"/>
                    <a:pt x="2" y="44"/>
                    <a:pt x="2" y="44"/>
                  </a:cubicBezTo>
                  <a:cubicBezTo>
                    <a:pt x="1" y="45"/>
                    <a:pt x="0" y="47"/>
                    <a:pt x="0" y="49"/>
                  </a:cubicBezTo>
                  <a:cubicBezTo>
                    <a:pt x="0" y="49"/>
                    <a:pt x="0" y="49"/>
                    <a:pt x="0" y="49"/>
                  </a:cubicBezTo>
                  <a:cubicBezTo>
                    <a:pt x="0" y="49"/>
                    <a:pt x="0" y="49"/>
                    <a:pt x="0" y="49"/>
                  </a:cubicBezTo>
                  <a:cubicBezTo>
                    <a:pt x="3" y="49"/>
                    <a:pt x="5" y="50"/>
                    <a:pt x="6" y="51"/>
                  </a:cubicBezTo>
                  <a:cubicBezTo>
                    <a:pt x="7" y="53"/>
                    <a:pt x="7" y="53"/>
                    <a:pt x="7" y="53"/>
                  </a:cubicBezTo>
                  <a:cubicBezTo>
                    <a:pt x="8" y="53"/>
                    <a:pt x="8" y="54"/>
                    <a:pt x="8" y="54"/>
                  </a:cubicBezTo>
                  <a:cubicBezTo>
                    <a:pt x="10" y="55"/>
                    <a:pt x="10" y="57"/>
                    <a:pt x="10" y="61"/>
                  </a:cubicBezTo>
                  <a:cubicBezTo>
                    <a:pt x="9" y="62"/>
                    <a:pt x="9" y="64"/>
                    <a:pt x="8" y="65"/>
                  </a:cubicBezTo>
                  <a:cubicBezTo>
                    <a:pt x="8" y="66"/>
                    <a:pt x="8" y="66"/>
                    <a:pt x="8" y="66"/>
                  </a:cubicBezTo>
                  <a:cubicBezTo>
                    <a:pt x="8" y="66"/>
                    <a:pt x="8" y="66"/>
                    <a:pt x="8" y="66"/>
                  </a:cubicBezTo>
                  <a:cubicBezTo>
                    <a:pt x="8" y="66"/>
                    <a:pt x="7" y="67"/>
                    <a:pt x="7" y="67"/>
                  </a:cubicBezTo>
                  <a:cubicBezTo>
                    <a:pt x="7" y="67"/>
                    <a:pt x="7" y="67"/>
                    <a:pt x="7" y="67"/>
                  </a:cubicBezTo>
                  <a:cubicBezTo>
                    <a:pt x="7" y="68"/>
                    <a:pt x="7" y="68"/>
                    <a:pt x="7" y="68"/>
                  </a:cubicBezTo>
                  <a:cubicBezTo>
                    <a:pt x="7" y="68"/>
                    <a:pt x="7" y="69"/>
                    <a:pt x="8" y="69"/>
                  </a:cubicBezTo>
                  <a:cubicBezTo>
                    <a:pt x="8" y="70"/>
                    <a:pt x="9" y="70"/>
                    <a:pt x="9" y="71"/>
                  </a:cubicBezTo>
                  <a:cubicBezTo>
                    <a:pt x="9" y="71"/>
                    <a:pt x="10" y="71"/>
                    <a:pt x="10" y="71"/>
                  </a:cubicBezTo>
                  <a:cubicBezTo>
                    <a:pt x="13" y="71"/>
                    <a:pt x="16" y="70"/>
                    <a:pt x="19" y="70"/>
                  </a:cubicBezTo>
                  <a:cubicBezTo>
                    <a:pt x="21" y="70"/>
                    <a:pt x="23" y="69"/>
                    <a:pt x="24" y="69"/>
                  </a:cubicBezTo>
                  <a:cubicBezTo>
                    <a:pt x="27" y="69"/>
                    <a:pt x="27" y="69"/>
                    <a:pt x="27" y="69"/>
                  </a:cubicBezTo>
                  <a:cubicBezTo>
                    <a:pt x="27" y="72"/>
                    <a:pt x="27" y="72"/>
                    <a:pt x="27" y="72"/>
                  </a:cubicBezTo>
                  <a:cubicBezTo>
                    <a:pt x="28" y="72"/>
                    <a:pt x="28" y="73"/>
                    <a:pt x="27" y="73"/>
                  </a:cubicBezTo>
                  <a:cubicBezTo>
                    <a:pt x="27" y="75"/>
                    <a:pt x="27" y="75"/>
                    <a:pt x="27" y="76"/>
                  </a:cubicBezTo>
                  <a:cubicBezTo>
                    <a:pt x="26" y="76"/>
                    <a:pt x="26" y="76"/>
                    <a:pt x="26" y="76"/>
                  </a:cubicBezTo>
                  <a:cubicBezTo>
                    <a:pt x="26" y="76"/>
                    <a:pt x="26" y="76"/>
                    <a:pt x="26" y="76"/>
                  </a:cubicBezTo>
                  <a:cubicBezTo>
                    <a:pt x="26" y="77"/>
                    <a:pt x="26" y="78"/>
                    <a:pt x="26" y="79"/>
                  </a:cubicBezTo>
                  <a:cubicBezTo>
                    <a:pt x="27" y="80"/>
                    <a:pt x="27" y="80"/>
                    <a:pt x="27" y="80"/>
                  </a:cubicBezTo>
                  <a:cubicBezTo>
                    <a:pt x="27" y="80"/>
                    <a:pt x="27" y="80"/>
                    <a:pt x="27" y="81"/>
                  </a:cubicBezTo>
                  <a:cubicBezTo>
                    <a:pt x="28" y="83"/>
                    <a:pt x="29" y="84"/>
                    <a:pt x="29" y="87"/>
                  </a:cubicBezTo>
                  <a:cubicBezTo>
                    <a:pt x="29" y="88"/>
                    <a:pt x="28" y="89"/>
                    <a:pt x="28" y="89"/>
                  </a:cubicBezTo>
                  <a:cubicBezTo>
                    <a:pt x="27" y="90"/>
                    <a:pt x="27" y="90"/>
                    <a:pt x="27" y="90"/>
                  </a:cubicBezTo>
                  <a:cubicBezTo>
                    <a:pt x="27" y="91"/>
                    <a:pt x="27" y="91"/>
                    <a:pt x="27" y="91"/>
                  </a:cubicBezTo>
                  <a:cubicBezTo>
                    <a:pt x="27" y="92"/>
                    <a:pt x="27" y="92"/>
                    <a:pt x="27" y="92"/>
                  </a:cubicBezTo>
                  <a:cubicBezTo>
                    <a:pt x="27" y="93"/>
                    <a:pt x="27" y="93"/>
                    <a:pt x="27" y="93"/>
                  </a:cubicBezTo>
                  <a:cubicBezTo>
                    <a:pt x="27" y="94"/>
                    <a:pt x="27" y="96"/>
                    <a:pt x="25" y="98"/>
                  </a:cubicBezTo>
                  <a:cubicBezTo>
                    <a:pt x="25" y="98"/>
                    <a:pt x="25" y="99"/>
                    <a:pt x="24" y="99"/>
                  </a:cubicBezTo>
                  <a:cubicBezTo>
                    <a:pt x="24" y="101"/>
                    <a:pt x="24" y="101"/>
                    <a:pt x="24" y="101"/>
                  </a:cubicBezTo>
                  <a:cubicBezTo>
                    <a:pt x="23" y="101"/>
                    <a:pt x="23" y="102"/>
                    <a:pt x="23" y="102"/>
                  </a:cubicBezTo>
                  <a:cubicBezTo>
                    <a:pt x="23" y="103"/>
                    <a:pt x="23" y="104"/>
                    <a:pt x="24" y="106"/>
                  </a:cubicBezTo>
                  <a:cubicBezTo>
                    <a:pt x="24" y="107"/>
                    <a:pt x="25" y="109"/>
                    <a:pt x="24" y="111"/>
                  </a:cubicBezTo>
                  <a:cubicBezTo>
                    <a:pt x="24" y="112"/>
                    <a:pt x="24" y="113"/>
                    <a:pt x="23" y="114"/>
                  </a:cubicBezTo>
                  <a:cubicBezTo>
                    <a:pt x="27" y="116"/>
                    <a:pt x="27" y="116"/>
                    <a:pt x="27" y="116"/>
                  </a:cubicBezTo>
                  <a:cubicBezTo>
                    <a:pt x="23" y="115"/>
                    <a:pt x="23" y="115"/>
                    <a:pt x="23" y="115"/>
                  </a:cubicBezTo>
                  <a:cubicBezTo>
                    <a:pt x="21" y="117"/>
                    <a:pt x="21" y="117"/>
                    <a:pt x="21" y="117"/>
                  </a:cubicBezTo>
                  <a:cubicBezTo>
                    <a:pt x="20" y="119"/>
                    <a:pt x="19" y="121"/>
                    <a:pt x="19" y="121"/>
                  </a:cubicBezTo>
                  <a:cubicBezTo>
                    <a:pt x="20" y="122"/>
                    <a:pt x="20" y="122"/>
                    <a:pt x="21" y="122"/>
                  </a:cubicBezTo>
                  <a:cubicBezTo>
                    <a:pt x="22" y="121"/>
                    <a:pt x="22" y="121"/>
                    <a:pt x="22" y="121"/>
                  </a:cubicBezTo>
                  <a:cubicBezTo>
                    <a:pt x="25" y="118"/>
                    <a:pt x="28" y="115"/>
                    <a:pt x="32" y="113"/>
                  </a:cubicBezTo>
                  <a:cubicBezTo>
                    <a:pt x="32" y="113"/>
                    <a:pt x="33" y="112"/>
                    <a:pt x="33" y="111"/>
                  </a:cubicBezTo>
                  <a:cubicBezTo>
                    <a:pt x="36" y="109"/>
                    <a:pt x="36" y="109"/>
                    <a:pt x="36" y="109"/>
                  </a:cubicBezTo>
                  <a:cubicBezTo>
                    <a:pt x="38" y="108"/>
                    <a:pt x="40" y="107"/>
                    <a:pt x="42" y="105"/>
                  </a:cubicBezTo>
                  <a:cubicBezTo>
                    <a:pt x="43" y="105"/>
                    <a:pt x="43" y="105"/>
                    <a:pt x="44" y="104"/>
                  </a:cubicBezTo>
                  <a:cubicBezTo>
                    <a:pt x="45" y="104"/>
                    <a:pt x="45" y="104"/>
                    <a:pt x="45" y="104"/>
                  </a:cubicBezTo>
                  <a:cubicBezTo>
                    <a:pt x="46" y="104"/>
                    <a:pt x="47" y="105"/>
                    <a:pt x="47" y="105"/>
                  </a:cubicBezTo>
                  <a:cubicBezTo>
                    <a:pt x="48" y="105"/>
                    <a:pt x="48" y="105"/>
                    <a:pt x="48" y="105"/>
                  </a:cubicBezTo>
                  <a:cubicBezTo>
                    <a:pt x="50" y="107"/>
                    <a:pt x="50" y="107"/>
                    <a:pt x="50" y="107"/>
                  </a:cubicBezTo>
                  <a:cubicBezTo>
                    <a:pt x="53" y="109"/>
                    <a:pt x="55" y="111"/>
                    <a:pt x="58" y="113"/>
                  </a:cubicBezTo>
                  <a:cubicBezTo>
                    <a:pt x="59" y="112"/>
                    <a:pt x="59" y="112"/>
                    <a:pt x="59" y="112"/>
                  </a:cubicBezTo>
                  <a:cubicBezTo>
                    <a:pt x="60" y="112"/>
                    <a:pt x="61" y="111"/>
                    <a:pt x="62" y="110"/>
                  </a:cubicBezTo>
                  <a:cubicBezTo>
                    <a:pt x="63" y="110"/>
                    <a:pt x="64" y="110"/>
                    <a:pt x="65" y="110"/>
                  </a:cubicBezTo>
                  <a:cubicBezTo>
                    <a:pt x="66" y="110"/>
                    <a:pt x="66" y="110"/>
                    <a:pt x="66" y="110"/>
                  </a:cubicBezTo>
                  <a:cubicBezTo>
                    <a:pt x="66" y="109"/>
                    <a:pt x="66" y="109"/>
                    <a:pt x="66" y="109"/>
                  </a:cubicBezTo>
                  <a:cubicBezTo>
                    <a:pt x="66" y="109"/>
                    <a:pt x="66" y="107"/>
                    <a:pt x="68" y="106"/>
                  </a:cubicBezTo>
                  <a:cubicBezTo>
                    <a:pt x="69" y="104"/>
                    <a:pt x="70" y="103"/>
                    <a:pt x="72" y="102"/>
                  </a:cubicBezTo>
                  <a:cubicBezTo>
                    <a:pt x="72" y="101"/>
                    <a:pt x="72" y="101"/>
                    <a:pt x="72" y="101"/>
                  </a:cubicBezTo>
                  <a:cubicBezTo>
                    <a:pt x="74" y="100"/>
                    <a:pt x="76" y="98"/>
                    <a:pt x="78" y="98"/>
                  </a:cubicBezTo>
                  <a:cubicBezTo>
                    <a:pt x="78" y="98"/>
                    <a:pt x="78" y="98"/>
                    <a:pt x="78" y="98"/>
                  </a:cubicBezTo>
                  <a:cubicBezTo>
                    <a:pt x="79" y="98"/>
                    <a:pt x="80" y="98"/>
                    <a:pt x="81" y="99"/>
                  </a:cubicBezTo>
                  <a:cubicBezTo>
                    <a:pt x="83" y="99"/>
                    <a:pt x="83" y="99"/>
                    <a:pt x="83" y="99"/>
                  </a:cubicBezTo>
                  <a:cubicBezTo>
                    <a:pt x="84" y="100"/>
                    <a:pt x="86" y="100"/>
                    <a:pt x="86" y="100"/>
                  </a:cubicBezTo>
                  <a:cubicBezTo>
                    <a:pt x="90" y="101"/>
                    <a:pt x="93" y="101"/>
                    <a:pt x="96" y="106"/>
                  </a:cubicBezTo>
                  <a:cubicBezTo>
                    <a:pt x="96" y="106"/>
                    <a:pt x="96" y="106"/>
                    <a:pt x="96" y="106"/>
                  </a:cubicBezTo>
                  <a:cubicBezTo>
                    <a:pt x="100" y="104"/>
                    <a:pt x="100" y="104"/>
                    <a:pt x="100" y="104"/>
                  </a:cubicBezTo>
                  <a:cubicBezTo>
                    <a:pt x="97" y="108"/>
                    <a:pt x="97" y="108"/>
                    <a:pt x="97" y="108"/>
                  </a:cubicBezTo>
                  <a:cubicBezTo>
                    <a:pt x="98" y="110"/>
                    <a:pt x="98" y="110"/>
                    <a:pt x="98" y="110"/>
                  </a:cubicBezTo>
                  <a:cubicBezTo>
                    <a:pt x="99" y="110"/>
                    <a:pt x="99" y="111"/>
                    <a:pt x="100" y="112"/>
                  </a:cubicBezTo>
                  <a:cubicBezTo>
                    <a:pt x="101" y="115"/>
                    <a:pt x="105" y="118"/>
                    <a:pt x="108" y="121"/>
                  </a:cubicBezTo>
                  <a:cubicBezTo>
                    <a:pt x="110" y="122"/>
                    <a:pt x="111" y="124"/>
                    <a:pt x="113" y="125"/>
                  </a:cubicBezTo>
                  <a:cubicBezTo>
                    <a:pt x="113" y="126"/>
                    <a:pt x="114" y="128"/>
                    <a:pt x="114" y="129"/>
                  </a:cubicBezTo>
                  <a:cubicBezTo>
                    <a:pt x="119" y="128"/>
                    <a:pt x="119" y="128"/>
                    <a:pt x="119" y="128"/>
                  </a:cubicBezTo>
                  <a:cubicBezTo>
                    <a:pt x="115" y="130"/>
                    <a:pt x="115" y="130"/>
                    <a:pt x="115" y="130"/>
                  </a:cubicBezTo>
                  <a:cubicBezTo>
                    <a:pt x="115" y="131"/>
                    <a:pt x="115" y="131"/>
                    <a:pt x="115" y="131"/>
                  </a:cubicBezTo>
                  <a:cubicBezTo>
                    <a:pt x="114" y="132"/>
                    <a:pt x="114" y="132"/>
                    <a:pt x="114" y="132"/>
                  </a:cubicBezTo>
                  <a:cubicBezTo>
                    <a:pt x="114" y="133"/>
                    <a:pt x="114" y="133"/>
                    <a:pt x="114" y="134"/>
                  </a:cubicBezTo>
                  <a:cubicBezTo>
                    <a:pt x="114" y="135"/>
                    <a:pt x="114" y="135"/>
                    <a:pt x="114" y="135"/>
                  </a:cubicBezTo>
                  <a:cubicBezTo>
                    <a:pt x="114" y="135"/>
                    <a:pt x="114" y="136"/>
                    <a:pt x="113" y="137"/>
                  </a:cubicBezTo>
                  <a:cubicBezTo>
                    <a:pt x="113" y="138"/>
                    <a:pt x="113" y="138"/>
                    <a:pt x="113" y="138"/>
                  </a:cubicBezTo>
                  <a:cubicBezTo>
                    <a:pt x="113" y="140"/>
                    <a:pt x="112" y="143"/>
                    <a:pt x="113" y="146"/>
                  </a:cubicBezTo>
                  <a:cubicBezTo>
                    <a:pt x="113" y="147"/>
                    <a:pt x="113" y="147"/>
                    <a:pt x="113" y="147"/>
                  </a:cubicBezTo>
                  <a:cubicBezTo>
                    <a:pt x="113" y="147"/>
                    <a:pt x="113" y="147"/>
                    <a:pt x="113" y="148"/>
                  </a:cubicBezTo>
                  <a:cubicBezTo>
                    <a:pt x="113" y="148"/>
                    <a:pt x="113" y="148"/>
                    <a:pt x="114" y="149"/>
                  </a:cubicBezTo>
                  <a:cubicBezTo>
                    <a:pt x="114" y="150"/>
                    <a:pt x="114" y="150"/>
                    <a:pt x="114" y="150"/>
                  </a:cubicBezTo>
                  <a:cubicBezTo>
                    <a:pt x="115" y="151"/>
                    <a:pt x="116" y="152"/>
                    <a:pt x="116" y="152"/>
                  </a:cubicBezTo>
                  <a:cubicBezTo>
                    <a:pt x="118" y="154"/>
                    <a:pt x="118" y="155"/>
                    <a:pt x="119" y="156"/>
                  </a:cubicBezTo>
                  <a:cubicBezTo>
                    <a:pt x="120" y="156"/>
                    <a:pt x="120" y="156"/>
                    <a:pt x="120" y="156"/>
                  </a:cubicBezTo>
                  <a:cubicBezTo>
                    <a:pt x="120" y="157"/>
                    <a:pt x="120" y="158"/>
                    <a:pt x="121" y="158"/>
                  </a:cubicBezTo>
                  <a:cubicBezTo>
                    <a:pt x="121" y="159"/>
                    <a:pt x="123" y="159"/>
                    <a:pt x="124" y="159"/>
                  </a:cubicBezTo>
                  <a:cubicBezTo>
                    <a:pt x="125" y="159"/>
                    <a:pt x="125" y="159"/>
                    <a:pt x="125" y="159"/>
                  </a:cubicBezTo>
                  <a:cubicBezTo>
                    <a:pt x="126" y="159"/>
                    <a:pt x="127" y="160"/>
                    <a:pt x="127" y="160"/>
                  </a:cubicBezTo>
                  <a:cubicBezTo>
                    <a:pt x="134" y="162"/>
                    <a:pt x="134" y="162"/>
                    <a:pt x="134" y="162"/>
                  </a:cubicBezTo>
                  <a:cubicBezTo>
                    <a:pt x="128" y="165"/>
                    <a:pt x="128" y="165"/>
                    <a:pt x="128" y="165"/>
                  </a:cubicBezTo>
                  <a:cubicBezTo>
                    <a:pt x="128" y="165"/>
                    <a:pt x="128" y="165"/>
                    <a:pt x="128" y="165"/>
                  </a:cubicBezTo>
                  <a:cubicBezTo>
                    <a:pt x="129" y="166"/>
                    <a:pt x="129" y="166"/>
                    <a:pt x="129" y="166"/>
                  </a:cubicBezTo>
                  <a:cubicBezTo>
                    <a:pt x="129" y="167"/>
                    <a:pt x="130" y="167"/>
                    <a:pt x="130" y="167"/>
                  </a:cubicBezTo>
                  <a:cubicBezTo>
                    <a:pt x="131" y="168"/>
                    <a:pt x="131" y="168"/>
                    <a:pt x="131" y="168"/>
                  </a:cubicBezTo>
                  <a:cubicBezTo>
                    <a:pt x="131" y="168"/>
                    <a:pt x="132" y="168"/>
                    <a:pt x="133" y="169"/>
                  </a:cubicBezTo>
                  <a:cubicBezTo>
                    <a:pt x="133" y="170"/>
                    <a:pt x="134" y="170"/>
                    <a:pt x="134" y="171"/>
                  </a:cubicBezTo>
                  <a:cubicBezTo>
                    <a:pt x="134" y="172"/>
                    <a:pt x="134" y="173"/>
                    <a:pt x="134" y="175"/>
                  </a:cubicBezTo>
                  <a:cubicBezTo>
                    <a:pt x="134" y="178"/>
                    <a:pt x="132" y="179"/>
                    <a:pt x="131" y="180"/>
                  </a:cubicBezTo>
                  <a:cubicBezTo>
                    <a:pt x="131" y="180"/>
                    <a:pt x="131" y="180"/>
                    <a:pt x="131" y="181"/>
                  </a:cubicBezTo>
                  <a:cubicBezTo>
                    <a:pt x="131" y="181"/>
                    <a:pt x="131" y="181"/>
                    <a:pt x="131" y="183"/>
                  </a:cubicBezTo>
                  <a:cubicBezTo>
                    <a:pt x="130" y="185"/>
                    <a:pt x="131" y="187"/>
                    <a:pt x="131" y="189"/>
                  </a:cubicBezTo>
                  <a:cubicBezTo>
                    <a:pt x="132" y="193"/>
                    <a:pt x="133" y="197"/>
                    <a:pt x="132" y="201"/>
                  </a:cubicBezTo>
                  <a:cubicBezTo>
                    <a:pt x="132" y="201"/>
                    <a:pt x="131" y="201"/>
                    <a:pt x="131" y="202"/>
                  </a:cubicBezTo>
                  <a:cubicBezTo>
                    <a:pt x="130" y="203"/>
                    <a:pt x="130" y="203"/>
                    <a:pt x="129" y="204"/>
                  </a:cubicBezTo>
                  <a:cubicBezTo>
                    <a:pt x="128" y="205"/>
                    <a:pt x="127" y="205"/>
                    <a:pt x="127" y="205"/>
                  </a:cubicBezTo>
                  <a:cubicBezTo>
                    <a:pt x="126" y="206"/>
                    <a:pt x="126" y="206"/>
                    <a:pt x="126" y="206"/>
                  </a:cubicBezTo>
                  <a:cubicBezTo>
                    <a:pt x="127" y="206"/>
                    <a:pt x="127" y="207"/>
                    <a:pt x="128" y="208"/>
                  </a:cubicBezTo>
                  <a:cubicBezTo>
                    <a:pt x="128" y="208"/>
                    <a:pt x="128" y="208"/>
                    <a:pt x="128" y="208"/>
                  </a:cubicBezTo>
                  <a:cubicBezTo>
                    <a:pt x="128" y="208"/>
                    <a:pt x="129" y="207"/>
                    <a:pt x="130" y="207"/>
                  </a:cubicBezTo>
                  <a:cubicBezTo>
                    <a:pt x="130" y="207"/>
                    <a:pt x="131" y="207"/>
                    <a:pt x="132" y="207"/>
                  </a:cubicBezTo>
                  <a:cubicBezTo>
                    <a:pt x="132" y="207"/>
                    <a:pt x="132" y="207"/>
                    <a:pt x="132" y="207"/>
                  </a:cubicBezTo>
                  <a:cubicBezTo>
                    <a:pt x="133" y="207"/>
                    <a:pt x="133" y="207"/>
                    <a:pt x="133" y="207"/>
                  </a:cubicBezTo>
                  <a:cubicBezTo>
                    <a:pt x="136" y="207"/>
                    <a:pt x="137" y="208"/>
                    <a:pt x="138" y="210"/>
                  </a:cubicBezTo>
                  <a:cubicBezTo>
                    <a:pt x="139" y="210"/>
                    <a:pt x="139" y="210"/>
                    <a:pt x="139" y="210"/>
                  </a:cubicBezTo>
                  <a:cubicBezTo>
                    <a:pt x="139" y="211"/>
                    <a:pt x="139" y="211"/>
                    <a:pt x="140" y="211"/>
                  </a:cubicBezTo>
                  <a:cubicBezTo>
                    <a:pt x="140" y="212"/>
                    <a:pt x="140" y="212"/>
                    <a:pt x="140" y="212"/>
                  </a:cubicBezTo>
                  <a:cubicBezTo>
                    <a:pt x="140" y="212"/>
                    <a:pt x="140" y="212"/>
                    <a:pt x="140" y="212"/>
                  </a:cubicBezTo>
                  <a:cubicBezTo>
                    <a:pt x="141" y="212"/>
                    <a:pt x="141" y="212"/>
                    <a:pt x="141" y="212"/>
                  </a:cubicBezTo>
                  <a:cubicBezTo>
                    <a:pt x="141" y="212"/>
                    <a:pt x="141" y="212"/>
                    <a:pt x="141" y="212"/>
                  </a:cubicBezTo>
                  <a:cubicBezTo>
                    <a:pt x="142" y="212"/>
                    <a:pt x="142" y="212"/>
                    <a:pt x="142" y="212"/>
                  </a:cubicBezTo>
                  <a:cubicBezTo>
                    <a:pt x="142" y="212"/>
                    <a:pt x="142" y="212"/>
                    <a:pt x="142" y="212"/>
                  </a:cubicBezTo>
                  <a:cubicBezTo>
                    <a:pt x="142" y="211"/>
                    <a:pt x="141" y="210"/>
                    <a:pt x="140" y="208"/>
                  </a:cubicBezTo>
                  <a:cubicBezTo>
                    <a:pt x="139" y="207"/>
                    <a:pt x="138" y="206"/>
                    <a:pt x="138" y="205"/>
                  </a:cubicBezTo>
                  <a:cubicBezTo>
                    <a:pt x="134" y="197"/>
                    <a:pt x="134" y="197"/>
                    <a:pt x="134" y="197"/>
                  </a:cubicBezTo>
                  <a:cubicBezTo>
                    <a:pt x="142" y="201"/>
                    <a:pt x="142" y="201"/>
                    <a:pt x="142" y="201"/>
                  </a:cubicBezTo>
                  <a:cubicBezTo>
                    <a:pt x="142" y="201"/>
                    <a:pt x="142" y="201"/>
                    <a:pt x="142" y="201"/>
                  </a:cubicBezTo>
                  <a:cubicBezTo>
                    <a:pt x="142" y="201"/>
                    <a:pt x="143" y="201"/>
                    <a:pt x="145" y="199"/>
                  </a:cubicBezTo>
                  <a:cubicBezTo>
                    <a:pt x="145" y="199"/>
                    <a:pt x="145" y="199"/>
                    <a:pt x="145" y="199"/>
                  </a:cubicBezTo>
                  <a:cubicBezTo>
                    <a:pt x="147" y="198"/>
                    <a:pt x="149" y="197"/>
                    <a:pt x="151" y="196"/>
                  </a:cubicBezTo>
                  <a:cubicBezTo>
                    <a:pt x="151" y="196"/>
                    <a:pt x="152" y="195"/>
                    <a:pt x="152" y="195"/>
                  </a:cubicBezTo>
                  <a:cubicBezTo>
                    <a:pt x="153" y="195"/>
                    <a:pt x="153" y="195"/>
                    <a:pt x="153" y="195"/>
                  </a:cubicBezTo>
                  <a:cubicBezTo>
                    <a:pt x="153" y="195"/>
                    <a:pt x="153" y="195"/>
                    <a:pt x="154" y="195"/>
                  </a:cubicBezTo>
                  <a:cubicBezTo>
                    <a:pt x="155" y="195"/>
                    <a:pt x="155" y="195"/>
                    <a:pt x="155" y="195"/>
                  </a:cubicBezTo>
                  <a:cubicBezTo>
                    <a:pt x="157" y="196"/>
                    <a:pt x="157" y="197"/>
                    <a:pt x="158" y="198"/>
                  </a:cubicBezTo>
                  <a:cubicBezTo>
                    <a:pt x="158" y="198"/>
                    <a:pt x="158" y="198"/>
                    <a:pt x="158" y="199"/>
                  </a:cubicBezTo>
                  <a:cubicBezTo>
                    <a:pt x="163" y="201"/>
                    <a:pt x="163" y="201"/>
                    <a:pt x="163" y="201"/>
                  </a:cubicBezTo>
                  <a:cubicBezTo>
                    <a:pt x="164" y="201"/>
                    <a:pt x="164" y="201"/>
                    <a:pt x="164" y="201"/>
                  </a:cubicBezTo>
                  <a:cubicBezTo>
                    <a:pt x="165" y="201"/>
                    <a:pt x="165" y="201"/>
                    <a:pt x="165" y="201"/>
                  </a:cubicBezTo>
                  <a:cubicBezTo>
                    <a:pt x="165" y="201"/>
                    <a:pt x="165" y="201"/>
                    <a:pt x="165" y="201"/>
                  </a:cubicBezTo>
                  <a:cubicBezTo>
                    <a:pt x="167" y="200"/>
                    <a:pt x="169" y="198"/>
                    <a:pt x="171" y="197"/>
                  </a:cubicBezTo>
                  <a:cubicBezTo>
                    <a:pt x="173" y="195"/>
                    <a:pt x="173" y="195"/>
                    <a:pt x="173" y="195"/>
                  </a:cubicBezTo>
                  <a:cubicBezTo>
                    <a:pt x="174" y="195"/>
                    <a:pt x="174" y="194"/>
                    <a:pt x="175" y="194"/>
                  </a:cubicBezTo>
                  <a:cubicBezTo>
                    <a:pt x="175" y="194"/>
                    <a:pt x="175" y="194"/>
                    <a:pt x="175" y="194"/>
                  </a:cubicBezTo>
                  <a:cubicBezTo>
                    <a:pt x="175" y="193"/>
                    <a:pt x="175" y="193"/>
                    <a:pt x="175" y="193"/>
                  </a:cubicBezTo>
                  <a:cubicBezTo>
                    <a:pt x="175" y="192"/>
                    <a:pt x="175" y="192"/>
                    <a:pt x="175" y="192"/>
                  </a:cubicBezTo>
                  <a:cubicBezTo>
                    <a:pt x="175" y="191"/>
                    <a:pt x="175" y="191"/>
                    <a:pt x="175" y="191"/>
                  </a:cubicBezTo>
                  <a:cubicBezTo>
                    <a:pt x="175" y="191"/>
                    <a:pt x="174" y="190"/>
                    <a:pt x="174" y="190"/>
                  </a:cubicBezTo>
                  <a:cubicBezTo>
                    <a:pt x="174" y="186"/>
                    <a:pt x="176" y="184"/>
                    <a:pt x="177" y="183"/>
                  </a:cubicBezTo>
                  <a:cubicBezTo>
                    <a:pt x="179" y="182"/>
                    <a:pt x="179" y="182"/>
                    <a:pt x="179" y="182"/>
                  </a:cubicBezTo>
                  <a:cubicBezTo>
                    <a:pt x="178" y="180"/>
                    <a:pt x="177" y="179"/>
                    <a:pt x="176" y="178"/>
                  </a:cubicBezTo>
                  <a:cubicBezTo>
                    <a:pt x="176" y="178"/>
                    <a:pt x="176" y="178"/>
                    <a:pt x="176" y="178"/>
                  </a:cubicBezTo>
                  <a:cubicBezTo>
                    <a:pt x="173" y="176"/>
                    <a:pt x="170" y="173"/>
                    <a:pt x="168" y="171"/>
                  </a:cubicBezTo>
                  <a:cubicBezTo>
                    <a:pt x="167" y="170"/>
                    <a:pt x="167" y="169"/>
                    <a:pt x="167" y="167"/>
                  </a:cubicBezTo>
                  <a:cubicBezTo>
                    <a:pt x="167" y="165"/>
                    <a:pt x="168" y="164"/>
                    <a:pt x="170" y="163"/>
                  </a:cubicBezTo>
                  <a:cubicBezTo>
                    <a:pt x="170" y="163"/>
                    <a:pt x="170" y="163"/>
                    <a:pt x="171" y="163"/>
                  </a:cubicBezTo>
                  <a:cubicBezTo>
                    <a:pt x="172" y="163"/>
                    <a:pt x="172" y="163"/>
                    <a:pt x="172" y="163"/>
                  </a:cubicBezTo>
                  <a:cubicBezTo>
                    <a:pt x="172" y="163"/>
                    <a:pt x="172" y="163"/>
                    <a:pt x="172" y="163"/>
                  </a:cubicBezTo>
                  <a:cubicBezTo>
                    <a:pt x="173" y="162"/>
                    <a:pt x="173" y="162"/>
                    <a:pt x="173" y="162"/>
                  </a:cubicBezTo>
                  <a:cubicBezTo>
                    <a:pt x="172" y="162"/>
                    <a:pt x="171" y="161"/>
                    <a:pt x="170" y="161"/>
                  </a:cubicBezTo>
                  <a:cubicBezTo>
                    <a:pt x="170" y="161"/>
                    <a:pt x="169" y="160"/>
                    <a:pt x="168" y="160"/>
                  </a:cubicBezTo>
                  <a:cubicBezTo>
                    <a:pt x="168" y="160"/>
                    <a:pt x="167" y="159"/>
                    <a:pt x="167" y="159"/>
                  </a:cubicBezTo>
                  <a:cubicBezTo>
                    <a:pt x="166" y="158"/>
                    <a:pt x="166" y="158"/>
                    <a:pt x="166" y="158"/>
                  </a:cubicBezTo>
                  <a:cubicBezTo>
                    <a:pt x="166" y="158"/>
                    <a:pt x="166" y="158"/>
                    <a:pt x="166" y="158"/>
                  </a:cubicBezTo>
                  <a:cubicBezTo>
                    <a:pt x="165" y="158"/>
                    <a:pt x="165" y="158"/>
                    <a:pt x="164" y="158"/>
                  </a:cubicBezTo>
                  <a:cubicBezTo>
                    <a:pt x="164" y="158"/>
                    <a:pt x="164" y="158"/>
                    <a:pt x="164" y="158"/>
                  </a:cubicBezTo>
                  <a:cubicBezTo>
                    <a:pt x="163" y="157"/>
                    <a:pt x="163" y="157"/>
                    <a:pt x="163" y="157"/>
                  </a:cubicBezTo>
                  <a:cubicBezTo>
                    <a:pt x="163" y="157"/>
                    <a:pt x="162" y="156"/>
                    <a:pt x="162" y="155"/>
                  </a:cubicBezTo>
                  <a:cubicBezTo>
                    <a:pt x="161" y="155"/>
                    <a:pt x="161" y="155"/>
                    <a:pt x="161" y="155"/>
                  </a:cubicBezTo>
                  <a:cubicBezTo>
                    <a:pt x="161" y="154"/>
                    <a:pt x="161" y="154"/>
                    <a:pt x="161" y="153"/>
                  </a:cubicBezTo>
                  <a:cubicBezTo>
                    <a:pt x="161" y="153"/>
                    <a:pt x="161" y="153"/>
                    <a:pt x="161" y="153"/>
                  </a:cubicBezTo>
                  <a:cubicBezTo>
                    <a:pt x="160" y="153"/>
                    <a:pt x="160" y="154"/>
                    <a:pt x="159" y="154"/>
                  </a:cubicBezTo>
                  <a:cubicBezTo>
                    <a:pt x="158" y="154"/>
                    <a:pt x="158" y="154"/>
                    <a:pt x="158" y="154"/>
                  </a:cubicBezTo>
                  <a:cubicBezTo>
                    <a:pt x="158" y="154"/>
                    <a:pt x="158" y="154"/>
                    <a:pt x="158" y="154"/>
                  </a:cubicBezTo>
                  <a:cubicBezTo>
                    <a:pt x="156" y="154"/>
                    <a:pt x="155" y="153"/>
                    <a:pt x="154" y="152"/>
                  </a:cubicBezTo>
                  <a:cubicBezTo>
                    <a:pt x="154" y="152"/>
                    <a:pt x="154" y="152"/>
                    <a:pt x="154" y="152"/>
                  </a:cubicBezTo>
                  <a:cubicBezTo>
                    <a:pt x="153" y="151"/>
                    <a:pt x="153" y="151"/>
                    <a:pt x="153" y="151"/>
                  </a:cubicBezTo>
                  <a:cubicBezTo>
                    <a:pt x="153" y="151"/>
                    <a:pt x="153" y="150"/>
                    <a:pt x="152" y="149"/>
                  </a:cubicBezTo>
                  <a:cubicBezTo>
                    <a:pt x="153" y="148"/>
                    <a:pt x="153" y="148"/>
                    <a:pt x="153" y="148"/>
                  </a:cubicBezTo>
                  <a:cubicBezTo>
                    <a:pt x="153" y="148"/>
                    <a:pt x="153" y="148"/>
                    <a:pt x="153" y="148"/>
                  </a:cubicBezTo>
                  <a:cubicBezTo>
                    <a:pt x="152" y="148"/>
                    <a:pt x="152" y="148"/>
                    <a:pt x="152" y="148"/>
                  </a:cubicBezTo>
                  <a:cubicBezTo>
                    <a:pt x="152" y="147"/>
                    <a:pt x="152" y="146"/>
                    <a:pt x="152" y="145"/>
                  </a:cubicBezTo>
                  <a:cubicBezTo>
                    <a:pt x="151" y="145"/>
                    <a:pt x="151" y="144"/>
                    <a:pt x="151" y="143"/>
                  </a:cubicBezTo>
                  <a:cubicBezTo>
                    <a:pt x="151" y="143"/>
                    <a:pt x="151" y="143"/>
                    <a:pt x="151" y="143"/>
                  </a:cubicBezTo>
                  <a:cubicBezTo>
                    <a:pt x="151" y="142"/>
                    <a:pt x="151" y="141"/>
                    <a:pt x="151" y="141"/>
                  </a:cubicBezTo>
                  <a:cubicBezTo>
                    <a:pt x="151" y="140"/>
                    <a:pt x="149" y="140"/>
                    <a:pt x="149" y="138"/>
                  </a:cubicBezTo>
                  <a:cubicBezTo>
                    <a:pt x="148" y="138"/>
                    <a:pt x="148" y="138"/>
                    <a:pt x="148" y="138"/>
                  </a:cubicBezTo>
                  <a:cubicBezTo>
                    <a:pt x="148" y="137"/>
                    <a:pt x="148" y="137"/>
                    <a:pt x="148" y="137"/>
                  </a:cubicBezTo>
                  <a:cubicBezTo>
                    <a:pt x="148" y="137"/>
                    <a:pt x="148" y="137"/>
                    <a:pt x="148" y="136"/>
                  </a:cubicBezTo>
                  <a:cubicBezTo>
                    <a:pt x="147" y="134"/>
                    <a:pt x="147" y="134"/>
                    <a:pt x="147" y="134"/>
                  </a:cubicBezTo>
                  <a:cubicBezTo>
                    <a:pt x="147" y="134"/>
                    <a:pt x="146" y="133"/>
                    <a:pt x="146" y="133"/>
                  </a:cubicBezTo>
                  <a:cubicBezTo>
                    <a:pt x="146" y="132"/>
                    <a:pt x="145" y="132"/>
                    <a:pt x="144" y="131"/>
                  </a:cubicBezTo>
                  <a:cubicBezTo>
                    <a:pt x="143" y="130"/>
                    <a:pt x="143" y="130"/>
                    <a:pt x="143" y="130"/>
                  </a:cubicBezTo>
                  <a:cubicBezTo>
                    <a:pt x="142" y="129"/>
                    <a:pt x="141" y="129"/>
                    <a:pt x="141" y="129"/>
                  </a:cubicBezTo>
                  <a:cubicBezTo>
                    <a:pt x="140" y="128"/>
                    <a:pt x="140" y="128"/>
                    <a:pt x="140" y="128"/>
                  </a:cubicBezTo>
                  <a:cubicBezTo>
                    <a:pt x="138" y="127"/>
                    <a:pt x="136" y="125"/>
                    <a:pt x="134" y="123"/>
                  </a:cubicBezTo>
                  <a:cubicBezTo>
                    <a:pt x="133" y="123"/>
                    <a:pt x="133" y="123"/>
                    <a:pt x="133" y="123"/>
                  </a:cubicBezTo>
                  <a:cubicBezTo>
                    <a:pt x="133" y="122"/>
                    <a:pt x="132" y="121"/>
                    <a:pt x="131" y="120"/>
                  </a:cubicBezTo>
                  <a:cubicBezTo>
                    <a:pt x="131" y="119"/>
                    <a:pt x="131" y="119"/>
                    <a:pt x="131" y="119"/>
                  </a:cubicBezTo>
                  <a:cubicBezTo>
                    <a:pt x="130" y="116"/>
                    <a:pt x="129" y="115"/>
                    <a:pt x="127" y="113"/>
                  </a:cubicBezTo>
                  <a:cubicBezTo>
                    <a:pt x="127" y="113"/>
                    <a:pt x="127" y="113"/>
                    <a:pt x="127" y="113"/>
                  </a:cubicBezTo>
                  <a:cubicBezTo>
                    <a:pt x="124" y="111"/>
                    <a:pt x="119" y="108"/>
                    <a:pt x="117" y="104"/>
                  </a:cubicBezTo>
                  <a:cubicBezTo>
                    <a:pt x="117" y="103"/>
                    <a:pt x="116" y="102"/>
                    <a:pt x="116" y="101"/>
                  </a:cubicBezTo>
                  <a:cubicBezTo>
                    <a:pt x="116" y="101"/>
                    <a:pt x="116" y="101"/>
                    <a:pt x="116" y="100"/>
                  </a:cubicBezTo>
                  <a:cubicBezTo>
                    <a:pt x="116" y="99"/>
                    <a:pt x="116" y="98"/>
                    <a:pt x="117" y="98"/>
                  </a:cubicBezTo>
                  <a:cubicBezTo>
                    <a:pt x="117" y="98"/>
                    <a:pt x="117" y="98"/>
                    <a:pt x="117" y="98"/>
                  </a:cubicBezTo>
                  <a:cubicBezTo>
                    <a:pt x="115" y="97"/>
                    <a:pt x="113" y="96"/>
                    <a:pt x="112" y="95"/>
                  </a:cubicBezTo>
                  <a:cubicBezTo>
                    <a:pt x="110" y="94"/>
                    <a:pt x="110" y="94"/>
                    <a:pt x="110" y="94"/>
                  </a:cubicBezTo>
                  <a:cubicBezTo>
                    <a:pt x="103" y="91"/>
                    <a:pt x="94" y="86"/>
                    <a:pt x="87" y="81"/>
                  </a:cubicBezTo>
                  <a:cubicBezTo>
                    <a:pt x="82" y="78"/>
                    <a:pt x="82" y="78"/>
                    <a:pt x="82" y="78"/>
                  </a:cubicBezTo>
                  <a:cubicBezTo>
                    <a:pt x="87" y="76"/>
                    <a:pt x="87" y="76"/>
                    <a:pt x="87" y="76"/>
                  </a:cubicBezTo>
                  <a:cubicBezTo>
                    <a:pt x="88" y="76"/>
                    <a:pt x="88" y="75"/>
                    <a:pt x="89" y="75"/>
                  </a:cubicBezTo>
                  <a:cubicBezTo>
                    <a:pt x="89" y="74"/>
                    <a:pt x="89" y="74"/>
                    <a:pt x="89" y="74"/>
                  </a:cubicBezTo>
                  <a:cubicBezTo>
                    <a:pt x="89" y="73"/>
                    <a:pt x="89" y="73"/>
                    <a:pt x="89" y="73"/>
                  </a:cubicBezTo>
                  <a:cubicBezTo>
                    <a:pt x="89" y="73"/>
                    <a:pt x="89" y="73"/>
                    <a:pt x="89" y="72"/>
                  </a:cubicBezTo>
                  <a:cubicBezTo>
                    <a:pt x="89" y="72"/>
                    <a:pt x="89" y="71"/>
                    <a:pt x="89" y="71"/>
                  </a:cubicBezTo>
                  <a:cubicBezTo>
                    <a:pt x="89" y="70"/>
                    <a:pt x="89" y="68"/>
                    <a:pt x="90" y="67"/>
                  </a:cubicBezTo>
                  <a:cubicBezTo>
                    <a:pt x="91" y="66"/>
                    <a:pt x="91" y="66"/>
                    <a:pt x="91" y="66"/>
                  </a:cubicBezTo>
                  <a:cubicBezTo>
                    <a:pt x="92" y="66"/>
                    <a:pt x="92" y="66"/>
                    <a:pt x="92" y="66"/>
                  </a:cubicBezTo>
                  <a:cubicBezTo>
                    <a:pt x="93" y="66"/>
                    <a:pt x="93" y="66"/>
                    <a:pt x="93" y="66"/>
                  </a:cubicBezTo>
                  <a:cubicBezTo>
                    <a:pt x="94" y="66"/>
                    <a:pt x="94" y="66"/>
                    <a:pt x="95" y="66"/>
                  </a:cubicBezTo>
                  <a:cubicBezTo>
                    <a:pt x="95" y="66"/>
                    <a:pt x="95" y="66"/>
                    <a:pt x="96" y="66"/>
                  </a:cubicBezTo>
                  <a:cubicBezTo>
                    <a:pt x="96" y="66"/>
                    <a:pt x="97" y="66"/>
                    <a:pt x="98" y="66"/>
                  </a:cubicBezTo>
                  <a:cubicBezTo>
                    <a:pt x="99" y="66"/>
                    <a:pt x="99" y="66"/>
                    <a:pt x="99" y="66"/>
                  </a:cubicBezTo>
                  <a:cubicBezTo>
                    <a:pt x="100" y="67"/>
                    <a:pt x="101" y="67"/>
                    <a:pt x="102" y="67"/>
                  </a:cubicBezTo>
                  <a:cubicBezTo>
                    <a:pt x="103" y="67"/>
                    <a:pt x="103" y="67"/>
                    <a:pt x="103" y="67"/>
                  </a:cubicBezTo>
                  <a:cubicBezTo>
                    <a:pt x="104" y="68"/>
                    <a:pt x="105" y="68"/>
                    <a:pt x="105" y="68"/>
                  </a:cubicBezTo>
                  <a:cubicBezTo>
                    <a:pt x="106" y="67"/>
                    <a:pt x="106" y="67"/>
                    <a:pt x="106" y="67"/>
                  </a:cubicBezTo>
                  <a:cubicBezTo>
                    <a:pt x="106" y="67"/>
                    <a:pt x="106" y="67"/>
                    <a:pt x="106" y="67"/>
                  </a:cubicBezTo>
                  <a:cubicBezTo>
                    <a:pt x="106" y="66"/>
                    <a:pt x="106" y="66"/>
                    <a:pt x="106" y="66"/>
                  </a:cubicBezTo>
                  <a:cubicBezTo>
                    <a:pt x="107" y="65"/>
                    <a:pt x="108" y="65"/>
                    <a:pt x="109" y="64"/>
                  </a:cubicBezTo>
                  <a:cubicBezTo>
                    <a:pt x="109" y="64"/>
                    <a:pt x="109" y="64"/>
                    <a:pt x="109" y="64"/>
                  </a:cubicBezTo>
                  <a:cubicBezTo>
                    <a:pt x="110" y="63"/>
                    <a:pt x="111" y="63"/>
                    <a:pt x="111" y="62"/>
                  </a:cubicBezTo>
                  <a:cubicBezTo>
                    <a:pt x="111" y="62"/>
                    <a:pt x="112" y="61"/>
                    <a:pt x="112" y="58"/>
                  </a:cubicBezTo>
                  <a:cubicBezTo>
                    <a:pt x="112" y="58"/>
                    <a:pt x="110" y="57"/>
                    <a:pt x="110" y="56"/>
                  </a:cubicBezTo>
                  <a:cubicBezTo>
                    <a:pt x="109" y="56"/>
                    <a:pt x="109" y="56"/>
                    <a:pt x="109" y="56"/>
                  </a:cubicBezTo>
                  <a:cubicBezTo>
                    <a:pt x="109" y="56"/>
                    <a:pt x="108" y="55"/>
                    <a:pt x="108" y="55"/>
                  </a:cubicBezTo>
                  <a:cubicBezTo>
                    <a:pt x="106" y="54"/>
                    <a:pt x="105" y="53"/>
                    <a:pt x="103" y="53"/>
                  </a:cubicBezTo>
                  <a:cubicBezTo>
                    <a:pt x="102" y="53"/>
                    <a:pt x="101" y="53"/>
                    <a:pt x="100" y="52"/>
                  </a:cubicBezTo>
                  <a:cubicBezTo>
                    <a:pt x="95" y="51"/>
                    <a:pt x="95" y="51"/>
                    <a:pt x="95" y="51"/>
                  </a:cubicBezTo>
                  <a:cubicBezTo>
                    <a:pt x="99" y="48"/>
                    <a:pt x="99" y="48"/>
                    <a:pt x="99" y="48"/>
                  </a:cubicBezTo>
                  <a:cubicBezTo>
                    <a:pt x="99" y="47"/>
                    <a:pt x="99" y="47"/>
                    <a:pt x="100" y="47"/>
                  </a:cubicBezTo>
                  <a:cubicBezTo>
                    <a:pt x="101" y="45"/>
                    <a:pt x="102" y="45"/>
                    <a:pt x="103" y="45"/>
                  </a:cubicBezTo>
                  <a:cubicBezTo>
                    <a:pt x="103" y="45"/>
                    <a:pt x="103" y="45"/>
                    <a:pt x="103" y="45"/>
                  </a:cubicBezTo>
                  <a:cubicBezTo>
                    <a:pt x="102" y="45"/>
                    <a:pt x="102" y="45"/>
                    <a:pt x="102" y="45"/>
                  </a:cubicBezTo>
                  <a:cubicBezTo>
                    <a:pt x="102" y="44"/>
                    <a:pt x="102" y="44"/>
                    <a:pt x="102" y="44"/>
                  </a:cubicBezTo>
                  <a:cubicBezTo>
                    <a:pt x="101" y="44"/>
                    <a:pt x="101" y="44"/>
                    <a:pt x="100" y="44"/>
                  </a:cubicBezTo>
                  <a:cubicBezTo>
                    <a:pt x="98" y="47"/>
                    <a:pt x="98" y="47"/>
                    <a:pt x="98" y="47"/>
                  </a:cubicBezTo>
                  <a:cubicBezTo>
                    <a:pt x="99" y="44"/>
                    <a:pt x="99" y="44"/>
                    <a:pt x="99" y="44"/>
                  </a:cubicBezTo>
                  <a:cubicBezTo>
                    <a:pt x="97" y="46"/>
                    <a:pt x="97" y="46"/>
                    <a:pt x="97" y="46"/>
                  </a:cubicBezTo>
                  <a:cubicBezTo>
                    <a:pt x="98" y="42"/>
                    <a:pt x="98" y="42"/>
                    <a:pt x="98" y="42"/>
                  </a:cubicBezTo>
                  <a:cubicBezTo>
                    <a:pt x="98" y="42"/>
                    <a:pt x="98" y="42"/>
                    <a:pt x="98" y="42"/>
                  </a:cubicBezTo>
                  <a:cubicBezTo>
                    <a:pt x="98" y="42"/>
                    <a:pt x="97" y="41"/>
                    <a:pt x="97" y="41"/>
                  </a:cubicBezTo>
                  <a:cubicBezTo>
                    <a:pt x="97" y="41"/>
                    <a:pt x="97" y="41"/>
                    <a:pt x="97" y="41"/>
                  </a:cubicBezTo>
                  <a:cubicBezTo>
                    <a:pt x="96" y="40"/>
                    <a:pt x="96" y="40"/>
                    <a:pt x="96" y="40"/>
                  </a:cubicBezTo>
                  <a:cubicBezTo>
                    <a:pt x="95" y="40"/>
                    <a:pt x="95" y="40"/>
                    <a:pt x="94" y="40"/>
                  </a:cubicBezTo>
                  <a:cubicBezTo>
                    <a:pt x="94" y="40"/>
                    <a:pt x="94" y="40"/>
                    <a:pt x="94" y="40"/>
                  </a:cubicBezTo>
                  <a:cubicBezTo>
                    <a:pt x="92" y="41"/>
                    <a:pt x="92" y="41"/>
                    <a:pt x="92" y="41"/>
                  </a:cubicBezTo>
                  <a:cubicBezTo>
                    <a:pt x="91" y="41"/>
                    <a:pt x="90" y="42"/>
                    <a:pt x="89" y="42"/>
                  </a:cubicBezTo>
                  <a:cubicBezTo>
                    <a:pt x="89" y="43"/>
                    <a:pt x="89" y="43"/>
                    <a:pt x="89" y="43"/>
                  </a:cubicBezTo>
                  <a:cubicBezTo>
                    <a:pt x="88" y="46"/>
                    <a:pt x="88" y="46"/>
                    <a:pt x="88" y="46"/>
                  </a:cubicBezTo>
                  <a:cubicBezTo>
                    <a:pt x="87" y="45"/>
                    <a:pt x="87" y="45"/>
                    <a:pt x="87" y="45"/>
                  </a:cubicBezTo>
                  <a:cubicBezTo>
                    <a:pt x="87" y="46"/>
                    <a:pt x="87" y="46"/>
                    <a:pt x="87" y="46"/>
                  </a:cubicBezTo>
                  <a:cubicBezTo>
                    <a:pt x="87" y="46"/>
                    <a:pt x="87" y="46"/>
                    <a:pt x="87" y="46"/>
                  </a:cubicBezTo>
                  <a:cubicBezTo>
                    <a:pt x="86" y="47"/>
                    <a:pt x="86" y="47"/>
                    <a:pt x="85" y="47"/>
                  </a:cubicBezTo>
                  <a:cubicBezTo>
                    <a:pt x="84" y="47"/>
                    <a:pt x="84" y="47"/>
                    <a:pt x="84" y="47"/>
                  </a:cubicBezTo>
                  <a:cubicBezTo>
                    <a:pt x="83" y="47"/>
                    <a:pt x="83" y="47"/>
                    <a:pt x="83" y="47"/>
                  </a:cubicBezTo>
                  <a:cubicBezTo>
                    <a:pt x="83" y="47"/>
                    <a:pt x="83" y="47"/>
                    <a:pt x="82" y="47"/>
                  </a:cubicBezTo>
                  <a:cubicBezTo>
                    <a:pt x="81" y="47"/>
                    <a:pt x="81" y="47"/>
                    <a:pt x="81" y="47"/>
                  </a:cubicBezTo>
                  <a:cubicBezTo>
                    <a:pt x="81" y="47"/>
                    <a:pt x="81" y="46"/>
                    <a:pt x="80" y="46"/>
                  </a:cubicBezTo>
                  <a:cubicBezTo>
                    <a:pt x="80" y="46"/>
                    <a:pt x="79" y="46"/>
                    <a:pt x="79" y="46"/>
                  </a:cubicBezTo>
                  <a:cubicBezTo>
                    <a:pt x="79" y="45"/>
                    <a:pt x="78" y="45"/>
                    <a:pt x="78" y="45"/>
                  </a:cubicBezTo>
                  <a:cubicBezTo>
                    <a:pt x="78" y="45"/>
                    <a:pt x="77" y="45"/>
                    <a:pt x="76" y="44"/>
                  </a:cubicBezTo>
                  <a:cubicBezTo>
                    <a:pt x="76" y="44"/>
                    <a:pt x="76" y="44"/>
                    <a:pt x="76" y="44"/>
                  </a:cubicBezTo>
                  <a:cubicBezTo>
                    <a:pt x="75" y="44"/>
                    <a:pt x="75" y="43"/>
                    <a:pt x="75" y="43"/>
                  </a:cubicBezTo>
                  <a:cubicBezTo>
                    <a:pt x="75" y="43"/>
                    <a:pt x="74" y="43"/>
                    <a:pt x="74" y="43"/>
                  </a:cubicBezTo>
                  <a:cubicBezTo>
                    <a:pt x="73" y="43"/>
                    <a:pt x="72" y="43"/>
                    <a:pt x="71" y="42"/>
                  </a:cubicBezTo>
                  <a:cubicBezTo>
                    <a:pt x="67" y="40"/>
                    <a:pt x="64" y="37"/>
                    <a:pt x="63" y="32"/>
                  </a:cubicBezTo>
                  <a:cubicBezTo>
                    <a:pt x="63" y="32"/>
                    <a:pt x="63" y="32"/>
                    <a:pt x="63" y="32"/>
                  </a:cubicBezTo>
                  <a:cubicBezTo>
                    <a:pt x="59" y="33"/>
                    <a:pt x="59" y="33"/>
                    <a:pt x="59" y="33"/>
                  </a:cubicBezTo>
                  <a:cubicBezTo>
                    <a:pt x="62" y="31"/>
                    <a:pt x="62" y="31"/>
                    <a:pt x="62" y="31"/>
                  </a:cubicBezTo>
                  <a:cubicBezTo>
                    <a:pt x="62" y="30"/>
                    <a:pt x="62" y="30"/>
                    <a:pt x="62" y="30"/>
                  </a:cubicBezTo>
                  <a:cubicBezTo>
                    <a:pt x="62" y="29"/>
                    <a:pt x="62" y="28"/>
                    <a:pt x="62" y="27"/>
                  </a:cubicBezTo>
                  <a:cubicBezTo>
                    <a:pt x="62" y="27"/>
                    <a:pt x="62" y="27"/>
                    <a:pt x="62" y="27"/>
                  </a:cubicBezTo>
                  <a:cubicBezTo>
                    <a:pt x="62" y="26"/>
                    <a:pt x="61" y="26"/>
                    <a:pt x="62" y="25"/>
                  </a:cubicBezTo>
                  <a:cubicBezTo>
                    <a:pt x="62" y="24"/>
                    <a:pt x="62" y="24"/>
                    <a:pt x="62" y="24"/>
                  </a:cubicBezTo>
                  <a:cubicBezTo>
                    <a:pt x="62" y="23"/>
                    <a:pt x="62" y="22"/>
                    <a:pt x="62" y="22"/>
                  </a:cubicBezTo>
                  <a:cubicBezTo>
                    <a:pt x="63" y="21"/>
                    <a:pt x="63" y="21"/>
                    <a:pt x="63" y="21"/>
                  </a:cubicBezTo>
                  <a:cubicBezTo>
                    <a:pt x="63" y="21"/>
                    <a:pt x="63" y="21"/>
                    <a:pt x="63" y="21"/>
                  </a:cubicBezTo>
                  <a:cubicBezTo>
                    <a:pt x="63" y="21"/>
                    <a:pt x="63" y="21"/>
                    <a:pt x="63" y="21"/>
                  </a:cubicBezTo>
                  <a:cubicBezTo>
                    <a:pt x="62" y="21"/>
                    <a:pt x="62" y="21"/>
                    <a:pt x="61" y="21"/>
                  </a:cubicBezTo>
                  <a:cubicBezTo>
                    <a:pt x="61" y="21"/>
                    <a:pt x="61" y="21"/>
                    <a:pt x="61" y="21"/>
                  </a:cubicBezTo>
                  <a:cubicBezTo>
                    <a:pt x="60" y="21"/>
                    <a:pt x="59" y="21"/>
                    <a:pt x="59" y="21"/>
                  </a:cubicBezTo>
                  <a:cubicBezTo>
                    <a:pt x="57" y="21"/>
                    <a:pt x="57" y="21"/>
                    <a:pt x="57" y="21"/>
                  </a:cubicBezTo>
                  <a:cubicBezTo>
                    <a:pt x="56" y="19"/>
                    <a:pt x="56" y="19"/>
                    <a:pt x="56" y="19"/>
                  </a:cubicBezTo>
                  <a:cubicBezTo>
                    <a:pt x="56" y="19"/>
                    <a:pt x="56" y="18"/>
                    <a:pt x="56" y="17"/>
                  </a:cubicBezTo>
                  <a:cubicBezTo>
                    <a:pt x="55" y="17"/>
                    <a:pt x="55" y="17"/>
                    <a:pt x="55" y="17"/>
                  </a:cubicBezTo>
                  <a:cubicBezTo>
                    <a:pt x="55" y="14"/>
                    <a:pt x="54" y="13"/>
                    <a:pt x="53" y="11"/>
                  </a:cubicBezTo>
                  <a:cubicBezTo>
                    <a:pt x="52" y="11"/>
                    <a:pt x="52" y="10"/>
                    <a:pt x="52" y="10"/>
                  </a:cubicBezTo>
                  <a:cubicBezTo>
                    <a:pt x="51" y="10"/>
                    <a:pt x="51" y="10"/>
                    <a:pt x="51" y="10"/>
                  </a:cubicBezTo>
                  <a:cubicBezTo>
                    <a:pt x="50" y="8"/>
                    <a:pt x="48" y="6"/>
                    <a:pt x="47" y="5"/>
                  </a:cubicBezTo>
                  <a:cubicBezTo>
                    <a:pt x="44" y="2"/>
                    <a:pt x="44" y="2"/>
                    <a:pt x="44" y="2"/>
                  </a:cubicBezTo>
                  <a:cubicBezTo>
                    <a:pt x="44" y="2"/>
                    <a:pt x="43" y="2"/>
                    <a:pt x="43" y="2"/>
                  </a:cubicBezTo>
                  <a:cubicBezTo>
                    <a:pt x="43" y="2"/>
                    <a:pt x="42" y="1"/>
                    <a:pt x="41" y="1"/>
                  </a:cubicBezTo>
                  <a:cubicBezTo>
                    <a:pt x="40" y="1"/>
                    <a:pt x="38"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Rectangle 525"/>
            <p:cNvSpPr>
              <a:spLocks noChangeArrowheads="1"/>
            </p:cNvSpPr>
            <p:nvPr/>
          </p:nvSpPr>
          <p:spPr bwMode="auto">
            <a:xfrm>
              <a:off x="5958352" y="4504844"/>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526"/>
            <p:cNvSpPr/>
            <p:nvPr/>
          </p:nvSpPr>
          <p:spPr bwMode="auto">
            <a:xfrm flipH="1">
              <a:off x="5958352" y="4504844"/>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527"/>
            <p:cNvSpPr/>
            <p:nvPr/>
          </p:nvSpPr>
          <p:spPr bwMode="auto">
            <a:xfrm>
              <a:off x="5683011" y="4155631"/>
              <a:ext cx="2686"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528"/>
            <p:cNvSpPr/>
            <p:nvPr/>
          </p:nvSpPr>
          <p:spPr bwMode="auto">
            <a:xfrm>
              <a:off x="5683011" y="4155631"/>
              <a:ext cx="2686" cy="0"/>
            </a:xfrm>
            <a:custGeom>
              <a:gdLst>
                <a:gd name="T0" fmla="*/ 2 w 2"/>
                <a:gd name="T1" fmla="*/ 0 w 2"/>
                <a:gd name="T2" fmla="*/ 2 w 2"/>
                <a:gd name="T3" fmla="*/ 2 w 2"/>
              </a:gdLst>
              <a:cxnLst>
                <a:cxn ang="0">
                  <a:pos x="T0" y="0"/>
                </a:cxn>
                <a:cxn ang="0">
                  <a:pos x="T1" y="0"/>
                </a:cxn>
                <a:cxn ang="0">
                  <a:pos x="T2" y="0"/>
                </a:cxn>
                <a:cxn ang="0">
                  <a:pos x="T3" y="0"/>
                </a:cxn>
              </a:cxnLst>
              <a:rect l="0" t="0" r="r" b="b"/>
              <a:pathLst>
                <a:path w="2">
                  <a:moveTo>
                    <a:pt x="2" y="0"/>
                  </a:moveTo>
                  <a:lnTo>
                    <a:pt x="0" y="0"/>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529"/>
            <p:cNvSpPr/>
            <p:nvPr/>
          </p:nvSpPr>
          <p:spPr bwMode="auto">
            <a:xfrm>
              <a:off x="5631972" y="4003858"/>
              <a:ext cx="558740" cy="1040922"/>
            </a:xfrm>
            <a:custGeom>
              <a:gdLst>
                <a:gd name="T0" fmla="*/ 63 w 176"/>
                <a:gd name="T1" fmla="*/ 11 h 328"/>
                <a:gd name="T2" fmla="*/ 48 w 176"/>
                <a:gd name="T3" fmla="*/ 15 h 328"/>
                <a:gd name="T4" fmla="*/ 34 w 176"/>
                <a:gd name="T5" fmla="*/ 17 h 328"/>
                <a:gd name="T6" fmla="*/ 26 w 176"/>
                <a:gd name="T7" fmla="*/ 16 h 328"/>
                <a:gd name="T8" fmla="*/ 18 w 176"/>
                <a:gd name="T9" fmla="*/ 23 h 328"/>
                <a:gd name="T10" fmla="*/ 6 w 176"/>
                <a:gd name="T11" fmla="*/ 15 h 328"/>
                <a:gd name="T12" fmla="*/ 11 w 176"/>
                <a:gd name="T13" fmla="*/ 37 h 328"/>
                <a:gd name="T14" fmla="*/ 17 w 176"/>
                <a:gd name="T15" fmla="*/ 36 h 328"/>
                <a:gd name="T16" fmla="*/ 18 w 176"/>
                <a:gd name="T17" fmla="*/ 48 h 328"/>
                <a:gd name="T18" fmla="*/ 24 w 176"/>
                <a:gd name="T19" fmla="*/ 59 h 328"/>
                <a:gd name="T20" fmla="*/ 32 w 176"/>
                <a:gd name="T21" fmla="*/ 62 h 328"/>
                <a:gd name="T22" fmla="*/ 39 w 176"/>
                <a:gd name="T23" fmla="*/ 57 h 328"/>
                <a:gd name="T24" fmla="*/ 48 w 176"/>
                <a:gd name="T25" fmla="*/ 56 h 328"/>
                <a:gd name="T26" fmla="*/ 54 w 176"/>
                <a:gd name="T27" fmla="*/ 61 h 328"/>
                <a:gd name="T28" fmla="*/ 60 w 176"/>
                <a:gd name="T29" fmla="*/ 67 h 328"/>
                <a:gd name="T30" fmla="*/ 63 w 176"/>
                <a:gd name="T31" fmla="*/ 73 h 328"/>
                <a:gd name="T32" fmla="*/ 61 w 176"/>
                <a:gd name="T33" fmla="*/ 92 h 328"/>
                <a:gd name="T34" fmla="*/ 54 w 176"/>
                <a:gd name="T35" fmla="*/ 96 h 328"/>
                <a:gd name="T36" fmla="*/ 45 w 176"/>
                <a:gd name="T37" fmla="*/ 99 h 328"/>
                <a:gd name="T38" fmla="*/ 76 w 176"/>
                <a:gd name="T39" fmla="*/ 117 h 328"/>
                <a:gd name="T40" fmla="*/ 81 w 176"/>
                <a:gd name="T41" fmla="*/ 131 h 328"/>
                <a:gd name="T42" fmla="*/ 97 w 176"/>
                <a:gd name="T43" fmla="*/ 148 h 328"/>
                <a:gd name="T44" fmla="*/ 107 w 176"/>
                <a:gd name="T45" fmla="*/ 161 h 328"/>
                <a:gd name="T46" fmla="*/ 108 w 176"/>
                <a:gd name="T47" fmla="*/ 169 h 328"/>
                <a:gd name="T48" fmla="*/ 114 w 176"/>
                <a:gd name="T49" fmla="*/ 169 h 328"/>
                <a:gd name="T50" fmla="*/ 119 w 176"/>
                <a:gd name="T51" fmla="*/ 175 h 328"/>
                <a:gd name="T52" fmla="*/ 128 w 176"/>
                <a:gd name="T53" fmla="*/ 181 h 328"/>
                <a:gd name="T54" fmla="*/ 129 w 176"/>
                <a:gd name="T55" fmla="*/ 195 h 328"/>
                <a:gd name="T56" fmla="*/ 130 w 176"/>
                <a:gd name="T57" fmla="*/ 211 h 328"/>
                <a:gd name="T58" fmla="*/ 131 w 176"/>
                <a:gd name="T59" fmla="*/ 219 h 328"/>
                <a:gd name="T60" fmla="*/ 130 w 176"/>
                <a:gd name="T61" fmla="*/ 238 h 328"/>
                <a:gd name="T62" fmla="*/ 131 w 176"/>
                <a:gd name="T63" fmla="*/ 261 h 328"/>
                <a:gd name="T64" fmla="*/ 133 w 176"/>
                <a:gd name="T65" fmla="*/ 274 h 328"/>
                <a:gd name="T66" fmla="*/ 121 w 176"/>
                <a:gd name="T67" fmla="*/ 281 h 328"/>
                <a:gd name="T68" fmla="*/ 105 w 176"/>
                <a:gd name="T69" fmla="*/ 291 h 328"/>
                <a:gd name="T70" fmla="*/ 90 w 176"/>
                <a:gd name="T71" fmla="*/ 297 h 328"/>
                <a:gd name="T72" fmla="*/ 99 w 176"/>
                <a:gd name="T73" fmla="*/ 315 h 328"/>
                <a:gd name="T74" fmla="*/ 84 w 176"/>
                <a:gd name="T75" fmla="*/ 313 h 328"/>
                <a:gd name="T76" fmla="*/ 93 w 176"/>
                <a:gd name="T77" fmla="*/ 328 h 328"/>
                <a:gd name="T78" fmla="*/ 108 w 176"/>
                <a:gd name="T79" fmla="*/ 323 h 328"/>
                <a:gd name="T80" fmla="*/ 114 w 176"/>
                <a:gd name="T81" fmla="*/ 316 h 328"/>
                <a:gd name="T82" fmla="*/ 118 w 176"/>
                <a:gd name="T83" fmla="*/ 327 h 328"/>
                <a:gd name="T84" fmla="*/ 172 w 176"/>
                <a:gd name="T85" fmla="*/ 288 h 328"/>
                <a:gd name="T86" fmla="*/ 173 w 176"/>
                <a:gd name="T87" fmla="*/ 275 h 328"/>
                <a:gd name="T88" fmla="*/ 174 w 176"/>
                <a:gd name="T89" fmla="*/ 266 h 328"/>
                <a:gd name="T90" fmla="*/ 171 w 176"/>
                <a:gd name="T91" fmla="*/ 235 h 328"/>
                <a:gd name="T92" fmla="*/ 148 w 176"/>
                <a:gd name="T93" fmla="*/ 184 h 328"/>
                <a:gd name="T94" fmla="*/ 145 w 176"/>
                <a:gd name="T95" fmla="*/ 179 h 328"/>
                <a:gd name="T96" fmla="*/ 98 w 176"/>
                <a:gd name="T97" fmla="*/ 140 h 328"/>
                <a:gd name="T98" fmla="*/ 81 w 176"/>
                <a:gd name="T99" fmla="*/ 109 h 328"/>
                <a:gd name="T100" fmla="*/ 105 w 176"/>
                <a:gd name="T101" fmla="*/ 76 h 328"/>
                <a:gd name="T102" fmla="*/ 114 w 176"/>
                <a:gd name="T103" fmla="*/ 60 h 328"/>
                <a:gd name="T104" fmla="*/ 120 w 176"/>
                <a:gd name="T105" fmla="*/ 59 h 328"/>
                <a:gd name="T106" fmla="*/ 130 w 176"/>
                <a:gd name="T107" fmla="*/ 52 h 328"/>
                <a:gd name="T108" fmla="*/ 128 w 176"/>
                <a:gd name="T109" fmla="*/ 44 h 328"/>
                <a:gd name="T110" fmla="*/ 114 w 176"/>
                <a:gd name="T111" fmla="*/ 36 h 328"/>
                <a:gd name="T112" fmla="*/ 104 w 176"/>
                <a:gd name="T113" fmla="*/ 32 h 328"/>
                <a:gd name="T114" fmla="*/ 103 w 176"/>
                <a:gd name="T115" fmla="*/ 25 h 328"/>
                <a:gd name="T116" fmla="*/ 106 w 176"/>
                <a:gd name="T117" fmla="*/ 12 h 328"/>
                <a:gd name="T118" fmla="*/ 83 w 176"/>
                <a:gd name="T119" fmla="*/ 8 h 328"/>
                <a:gd name="T120" fmla="*/ 74 w 176"/>
                <a:gd name="T121" fmla="*/ 0 h 3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328">
                  <a:moveTo>
                    <a:pt x="73" y="0"/>
                  </a:moveTo>
                  <a:cubicBezTo>
                    <a:pt x="72" y="0"/>
                    <a:pt x="70" y="1"/>
                    <a:pt x="70" y="2"/>
                  </a:cubicBezTo>
                  <a:cubicBezTo>
                    <a:pt x="68" y="3"/>
                    <a:pt x="68" y="3"/>
                    <a:pt x="68" y="3"/>
                  </a:cubicBezTo>
                  <a:cubicBezTo>
                    <a:pt x="68" y="3"/>
                    <a:pt x="68" y="4"/>
                    <a:pt x="68" y="4"/>
                  </a:cubicBezTo>
                  <a:cubicBezTo>
                    <a:pt x="67" y="6"/>
                    <a:pt x="66" y="8"/>
                    <a:pt x="65" y="9"/>
                  </a:cubicBezTo>
                  <a:cubicBezTo>
                    <a:pt x="64" y="10"/>
                    <a:pt x="63" y="11"/>
                    <a:pt x="63" y="11"/>
                  </a:cubicBezTo>
                  <a:cubicBezTo>
                    <a:pt x="62" y="12"/>
                    <a:pt x="62" y="12"/>
                    <a:pt x="62" y="12"/>
                  </a:cubicBezTo>
                  <a:cubicBezTo>
                    <a:pt x="60" y="13"/>
                    <a:pt x="59" y="14"/>
                    <a:pt x="58" y="14"/>
                  </a:cubicBezTo>
                  <a:cubicBezTo>
                    <a:pt x="57" y="14"/>
                    <a:pt x="57" y="14"/>
                    <a:pt x="57" y="14"/>
                  </a:cubicBezTo>
                  <a:cubicBezTo>
                    <a:pt x="53" y="16"/>
                    <a:pt x="53" y="16"/>
                    <a:pt x="53" y="16"/>
                  </a:cubicBezTo>
                  <a:cubicBezTo>
                    <a:pt x="53" y="16"/>
                    <a:pt x="52" y="16"/>
                    <a:pt x="52" y="16"/>
                  </a:cubicBezTo>
                  <a:cubicBezTo>
                    <a:pt x="50" y="16"/>
                    <a:pt x="49" y="16"/>
                    <a:pt x="48" y="15"/>
                  </a:cubicBezTo>
                  <a:cubicBezTo>
                    <a:pt x="44" y="19"/>
                    <a:pt x="44" y="19"/>
                    <a:pt x="44" y="19"/>
                  </a:cubicBezTo>
                  <a:cubicBezTo>
                    <a:pt x="43" y="21"/>
                    <a:pt x="42" y="21"/>
                    <a:pt x="40" y="21"/>
                  </a:cubicBezTo>
                  <a:cubicBezTo>
                    <a:pt x="38" y="21"/>
                    <a:pt x="37" y="20"/>
                    <a:pt x="36" y="18"/>
                  </a:cubicBezTo>
                  <a:cubicBezTo>
                    <a:pt x="35" y="18"/>
                    <a:pt x="35" y="18"/>
                    <a:pt x="35" y="18"/>
                  </a:cubicBezTo>
                  <a:cubicBezTo>
                    <a:pt x="35" y="17"/>
                    <a:pt x="35" y="17"/>
                    <a:pt x="35" y="17"/>
                  </a:cubicBezTo>
                  <a:cubicBezTo>
                    <a:pt x="34" y="17"/>
                    <a:pt x="34" y="17"/>
                    <a:pt x="34" y="17"/>
                  </a:cubicBezTo>
                  <a:cubicBezTo>
                    <a:pt x="34" y="16"/>
                    <a:pt x="34" y="16"/>
                    <a:pt x="34" y="16"/>
                  </a:cubicBezTo>
                  <a:cubicBezTo>
                    <a:pt x="33" y="17"/>
                    <a:pt x="33" y="18"/>
                    <a:pt x="32" y="19"/>
                  </a:cubicBezTo>
                  <a:cubicBezTo>
                    <a:pt x="29" y="21"/>
                    <a:pt x="29" y="21"/>
                    <a:pt x="29" y="21"/>
                  </a:cubicBezTo>
                  <a:cubicBezTo>
                    <a:pt x="27" y="18"/>
                    <a:pt x="27" y="18"/>
                    <a:pt x="27" y="18"/>
                  </a:cubicBezTo>
                  <a:cubicBezTo>
                    <a:pt x="27" y="18"/>
                    <a:pt x="27" y="18"/>
                    <a:pt x="26" y="17"/>
                  </a:cubicBezTo>
                  <a:cubicBezTo>
                    <a:pt x="26" y="16"/>
                    <a:pt x="26" y="16"/>
                    <a:pt x="26" y="16"/>
                  </a:cubicBezTo>
                  <a:cubicBezTo>
                    <a:pt x="26" y="16"/>
                    <a:pt x="26" y="16"/>
                    <a:pt x="26" y="16"/>
                  </a:cubicBezTo>
                  <a:cubicBezTo>
                    <a:pt x="23" y="18"/>
                    <a:pt x="23" y="18"/>
                    <a:pt x="23" y="18"/>
                  </a:cubicBezTo>
                  <a:cubicBezTo>
                    <a:pt x="23" y="19"/>
                    <a:pt x="23" y="20"/>
                    <a:pt x="22" y="20"/>
                  </a:cubicBezTo>
                  <a:cubicBezTo>
                    <a:pt x="21" y="23"/>
                    <a:pt x="21" y="23"/>
                    <a:pt x="21" y="23"/>
                  </a:cubicBezTo>
                  <a:cubicBezTo>
                    <a:pt x="19" y="23"/>
                    <a:pt x="19" y="23"/>
                    <a:pt x="19" y="23"/>
                  </a:cubicBezTo>
                  <a:cubicBezTo>
                    <a:pt x="19" y="23"/>
                    <a:pt x="18" y="23"/>
                    <a:pt x="18" y="23"/>
                  </a:cubicBezTo>
                  <a:cubicBezTo>
                    <a:pt x="16" y="23"/>
                    <a:pt x="15" y="22"/>
                    <a:pt x="14" y="21"/>
                  </a:cubicBezTo>
                  <a:cubicBezTo>
                    <a:pt x="13" y="20"/>
                    <a:pt x="13" y="20"/>
                    <a:pt x="13" y="20"/>
                  </a:cubicBezTo>
                  <a:cubicBezTo>
                    <a:pt x="12" y="19"/>
                    <a:pt x="12" y="19"/>
                    <a:pt x="12" y="18"/>
                  </a:cubicBezTo>
                  <a:cubicBezTo>
                    <a:pt x="11" y="18"/>
                    <a:pt x="10" y="18"/>
                    <a:pt x="10" y="17"/>
                  </a:cubicBezTo>
                  <a:cubicBezTo>
                    <a:pt x="8" y="16"/>
                    <a:pt x="8" y="16"/>
                    <a:pt x="8" y="16"/>
                  </a:cubicBezTo>
                  <a:cubicBezTo>
                    <a:pt x="7" y="16"/>
                    <a:pt x="6" y="16"/>
                    <a:pt x="6" y="15"/>
                  </a:cubicBezTo>
                  <a:cubicBezTo>
                    <a:pt x="5" y="16"/>
                    <a:pt x="5" y="16"/>
                    <a:pt x="5" y="16"/>
                  </a:cubicBezTo>
                  <a:cubicBezTo>
                    <a:pt x="4" y="18"/>
                    <a:pt x="2" y="20"/>
                    <a:pt x="0" y="22"/>
                  </a:cubicBezTo>
                  <a:cubicBezTo>
                    <a:pt x="1" y="22"/>
                    <a:pt x="1" y="22"/>
                    <a:pt x="1" y="22"/>
                  </a:cubicBezTo>
                  <a:cubicBezTo>
                    <a:pt x="3" y="24"/>
                    <a:pt x="4" y="26"/>
                    <a:pt x="6" y="28"/>
                  </a:cubicBezTo>
                  <a:cubicBezTo>
                    <a:pt x="6" y="28"/>
                    <a:pt x="7" y="29"/>
                    <a:pt x="7" y="29"/>
                  </a:cubicBezTo>
                  <a:cubicBezTo>
                    <a:pt x="9" y="32"/>
                    <a:pt x="10" y="34"/>
                    <a:pt x="11" y="37"/>
                  </a:cubicBezTo>
                  <a:cubicBezTo>
                    <a:pt x="12" y="36"/>
                    <a:pt x="12" y="36"/>
                    <a:pt x="12" y="36"/>
                  </a:cubicBezTo>
                  <a:cubicBezTo>
                    <a:pt x="13" y="35"/>
                    <a:pt x="13" y="35"/>
                    <a:pt x="13" y="35"/>
                  </a:cubicBezTo>
                  <a:cubicBezTo>
                    <a:pt x="13" y="35"/>
                    <a:pt x="13" y="35"/>
                    <a:pt x="13" y="35"/>
                  </a:cubicBezTo>
                  <a:cubicBezTo>
                    <a:pt x="14" y="35"/>
                    <a:pt x="14" y="35"/>
                    <a:pt x="14" y="35"/>
                  </a:cubicBezTo>
                  <a:cubicBezTo>
                    <a:pt x="15" y="35"/>
                    <a:pt x="16" y="36"/>
                    <a:pt x="17" y="36"/>
                  </a:cubicBezTo>
                  <a:cubicBezTo>
                    <a:pt x="17" y="36"/>
                    <a:pt x="17" y="36"/>
                    <a:pt x="17" y="36"/>
                  </a:cubicBezTo>
                  <a:cubicBezTo>
                    <a:pt x="18" y="37"/>
                    <a:pt x="19" y="38"/>
                    <a:pt x="19" y="38"/>
                  </a:cubicBezTo>
                  <a:cubicBezTo>
                    <a:pt x="20" y="41"/>
                    <a:pt x="19" y="42"/>
                    <a:pt x="19" y="43"/>
                  </a:cubicBezTo>
                  <a:cubicBezTo>
                    <a:pt x="18" y="46"/>
                    <a:pt x="18" y="46"/>
                    <a:pt x="18" y="46"/>
                  </a:cubicBezTo>
                  <a:cubicBezTo>
                    <a:pt x="18" y="46"/>
                    <a:pt x="18" y="47"/>
                    <a:pt x="18" y="47"/>
                  </a:cubicBezTo>
                  <a:cubicBezTo>
                    <a:pt x="18" y="48"/>
                    <a:pt x="18" y="48"/>
                    <a:pt x="18" y="48"/>
                  </a:cubicBezTo>
                  <a:cubicBezTo>
                    <a:pt x="18" y="48"/>
                    <a:pt x="18" y="48"/>
                    <a:pt x="18" y="48"/>
                  </a:cubicBezTo>
                  <a:cubicBezTo>
                    <a:pt x="18" y="49"/>
                    <a:pt x="18" y="49"/>
                    <a:pt x="18" y="49"/>
                  </a:cubicBezTo>
                  <a:cubicBezTo>
                    <a:pt x="18" y="50"/>
                    <a:pt x="18" y="50"/>
                    <a:pt x="18" y="51"/>
                  </a:cubicBezTo>
                  <a:cubicBezTo>
                    <a:pt x="18" y="51"/>
                    <a:pt x="18" y="51"/>
                    <a:pt x="18" y="51"/>
                  </a:cubicBezTo>
                  <a:cubicBezTo>
                    <a:pt x="18" y="52"/>
                    <a:pt x="18" y="52"/>
                    <a:pt x="18" y="52"/>
                  </a:cubicBezTo>
                  <a:cubicBezTo>
                    <a:pt x="20" y="55"/>
                    <a:pt x="21" y="58"/>
                    <a:pt x="24" y="59"/>
                  </a:cubicBezTo>
                  <a:cubicBezTo>
                    <a:pt x="24" y="59"/>
                    <a:pt x="24" y="59"/>
                    <a:pt x="24" y="59"/>
                  </a:cubicBezTo>
                  <a:cubicBezTo>
                    <a:pt x="25" y="59"/>
                    <a:pt x="25" y="59"/>
                    <a:pt x="25" y="59"/>
                  </a:cubicBezTo>
                  <a:cubicBezTo>
                    <a:pt x="26" y="59"/>
                    <a:pt x="26" y="59"/>
                    <a:pt x="27" y="60"/>
                  </a:cubicBezTo>
                  <a:cubicBezTo>
                    <a:pt x="28" y="60"/>
                    <a:pt x="28" y="60"/>
                    <a:pt x="29" y="61"/>
                  </a:cubicBezTo>
                  <a:cubicBezTo>
                    <a:pt x="30" y="61"/>
                    <a:pt x="30" y="61"/>
                    <a:pt x="30" y="61"/>
                  </a:cubicBezTo>
                  <a:cubicBezTo>
                    <a:pt x="30" y="62"/>
                    <a:pt x="30" y="62"/>
                    <a:pt x="30" y="62"/>
                  </a:cubicBezTo>
                  <a:cubicBezTo>
                    <a:pt x="31" y="62"/>
                    <a:pt x="32" y="62"/>
                    <a:pt x="32" y="62"/>
                  </a:cubicBezTo>
                  <a:cubicBezTo>
                    <a:pt x="32" y="62"/>
                    <a:pt x="32" y="62"/>
                    <a:pt x="32" y="62"/>
                  </a:cubicBezTo>
                  <a:cubicBezTo>
                    <a:pt x="33" y="63"/>
                    <a:pt x="33" y="63"/>
                    <a:pt x="33" y="63"/>
                  </a:cubicBezTo>
                  <a:cubicBezTo>
                    <a:pt x="33" y="63"/>
                    <a:pt x="33" y="63"/>
                    <a:pt x="33" y="63"/>
                  </a:cubicBezTo>
                  <a:cubicBezTo>
                    <a:pt x="33" y="62"/>
                    <a:pt x="33" y="62"/>
                    <a:pt x="33" y="62"/>
                  </a:cubicBezTo>
                  <a:cubicBezTo>
                    <a:pt x="34" y="61"/>
                    <a:pt x="34" y="61"/>
                    <a:pt x="34" y="61"/>
                  </a:cubicBezTo>
                  <a:cubicBezTo>
                    <a:pt x="35" y="59"/>
                    <a:pt x="38" y="58"/>
                    <a:pt x="39" y="57"/>
                  </a:cubicBezTo>
                  <a:cubicBezTo>
                    <a:pt x="40" y="57"/>
                    <a:pt x="40" y="57"/>
                    <a:pt x="40" y="57"/>
                  </a:cubicBezTo>
                  <a:cubicBezTo>
                    <a:pt x="41" y="56"/>
                    <a:pt x="41" y="56"/>
                    <a:pt x="41" y="56"/>
                  </a:cubicBezTo>
                  <a:cubicBezTo>
                    <a:pt x="42" y="56"/>
                    <a:pt x="42" y="56"/>
                    <a:pt x="42" y="56"/>
                  </a:cubicBezTo>
                  <a:cubicBezTo>
                    <a:pt x="43" y="56"/>
                    <a:pt x="44" y="56"/>
                    <a:pt x="45" y="56"/>
                  </a:cubicBezTo>
                  <a:cubicBezTo>
                    <a:pt x="45" y="56"/>
                    <a:pt x="46" y="56"/>
                    <a:pt x="47" y="56"/>
                  </a:cubicBezTo>
                  <a:cubicBezTo>
                    <a:pt x="48" y="56"/>
                    <a:pt x="48" y="56"/>
                    <a:pt x="48" y="56"/>
                  </a:cubicBezTo>
                  <a:cubicBezTo>
                    <a:pt x="49" y="57"/>
                    <a:pt x="50" y="58"/>
                    <a:pt x="51" y="58"/>
                  </a:cubicBezTo>
                  <a:cubicBezTo>
                    <a:pt x="51" y="59"/>
                    <a:pt x="51" y="59"/>
                    <a:pt x="51" y="59"/>
                  </a:cubicBezTo>
                  <a:cubicBezTo>
                    <a:pt x="51" y="59"/>
                    <a:pt x="51" y="59"/>
                    <a:pt x="51" y="59"/>
                  </a:cubicBezTo>
                  <a:cubicBezTo>
                    <a:pt x="53" y="60"/>
                    <a:pt x="53" y="60"/>
                    <a:pt x="53" y="60"/>
                  </a:cubicBezTo>
                  <a:cubicBezTo>
                    <a:pt x="53" y="60"/>
                    <a:pt x="53" y="60"/>
                    <a:pt x="53" y="60"/>
                  </a:cubicBezTo>
                  <a:cubicBezTo>
                    <a:pt x="54" y="61"/>
                    <a:pt x="54" y="61"/>
                    <a:pt x="54" y="61"/>
                  </a:cubicBezTo>
                  <a:cubicBezTo>
                    <a:pt x="54" y="61"/>
                    <a:pt x="55" y="61"/>
                    <a:pt x="56" y="62"/>
                  </a:cubicBezTo>
                  <a:cubicBezTo>
                    <a:pt x="57" y="62"/>
                    <a:pt x="57" y="62"/>
                    <a:pt x="57" y="62"/>
                  </a:cubicBezTo>
                  <a:cubicBezTo>
                    <a:pt x="58" y="63"/>
                    <a:pt x="58" y="63"/>
                    <a:pt x="58" y="63"/>
                  </a:cubicBezTo>
                  <a:cubicBezTo>
                    <a:pt x="58" y="63"/>
                    <a:pt x="58" y="63"/>
                    <a:pt x="58" y="63"/>
                  </a:cubicBezTo>
                  <a:cubicBezTo>
                    <a:pt x="59" y="64"/>
                    <a:pt x="59" y="65"/>
                    <a:pt x="60" y="65"/>
                  </a:cubicBezTo>
                  <a:cubicBezTo>
                    <a:pt x="60" y="66"/>
                    <a:pt x="60" y="66"/>
                    <a:pt x="60" y="67"/>
                  </a:cubicBezTo>
                  <a:cubicBezTo>
                    <a:pt x="60" y="68"/>
                    <a:pt x="60" y="69"/>
                    <a:pt x="59" y="69"/>
                  </a:cubicBezTo>
                  <a:cubicBezTo>
                    <a:pt x="59" y="70"/>
                    <a:pt x="59" y="70"/>
                    <a:pt x="59" y="70"/>
                  </a:cubicBezTo>
                  <a:cubicBezTo>
                    <a:pt x="58" y="70"/>
                    <a:pt x="58" y="70"/>
                    <a:pt x="58" y="70"/>
                  </a:cubicBezTo>
                  <a:cubicBezTo>
                    <a:pt x="59" y="71"/>
                    <a:pt x="60" y="71"/>
                    <a:pt x="62" y="72"/>
                  </a:cubicBezTo>
                  <a:cubicBezTo>
                    <a:pt x="62" y="73"/>
                    <a:pt x="62" y="73"/>
                    <a:pt x="62" y="73"/>
                  </a:cubicBezTo>
                  <a:cubicBezTo>
                    <a:pt x="63" y="73"/>
                    <a:pt x="63" y="73"/>
                    <a:pt x="63" y="73"/>
                  </a:cubicBezTo>
                  <a:cubicBezTo>
                    <a:pt x="65" y="75"/>
                    <a:pt x="67" y="76"/>
                    <a:pt x="68" y="79"/>
                  </a:cubicBezTo>
                  <a:cubicBezTo>
                    <a:pt x="68" y="80"/>
                    <a:pt x="68" y="80"/>
                    <a:pt x="68" y="80"/>
                  </a:cubicBezTo>
                  <a:cubicBezTo>
                    <a:pt x="68" y="83"/>
                    <a:pt x="68" y="86"/>
                    <a:pt x="66" y="88"/>
                  </a:cubicBezTo>
                  <a:cubicBezTo>
                    <a:pt x="65" y="89"/>
                    <a:pt x="64" y="90"/>
                    <a:pt x="62" y="91"/>
                  </a:cubicBezTo>
                  <a:cubicBezTo>
                    <a:pt x="62" y="91"/>
                    <a:pt x="61" y="92"/>
                    <a:pt x="61" y="92"/>
                  </a:cubicBezTo>
                  <a:cubicBezTo>
                    <a:pt x="61" y="92"/>
                    <a:pt x="61" y="92"/>
                    <a:pt x="61" y="92"/>
                  </a:cubicBezTo>
                  <a:cubicBezTo>
                    <a:pt x="61" y="93"/>
                    <a:pt x="60" y="94"/>
                    <a:pt x="59" y="95"/>
                  </a:cubicBezTo>
                  <a:cubicBezTo>
                    <a:pt x="59" y="95"/>
                    <a:pt x="58" y="95"/>
                    <a:pt x="57" y="96"/>
                  </a:cubicBezTo>
                  <a:cubicBezTo>
                    <a:pt x="57" y="96"/>
                    <a:pt x="57" y="96"/>
                    <a:pt x="57" y="96"/>
                  </a:cubicBezTo>
                  <a:cubicBezTo>
                    <a:pt x="56" y="96"/>
                    <a:pt x="56" y="96"/>
                    <a:pt x="56" y="96"/>
                  </a:cubicBezTo>
                  <a:cubicBezTo>
                    <a:pt x="54" y="96"/>
                    <a:pt x="54" y="96"/>
                    <a:pt x="54" y="96"/>
                  </a:cubicBezTo>
                  <a:cubicBezTo>
                    <a:pt x="54" y="96"/>
                    <a:pt x="54" y="96"/>
                    <a:pt x="54" y="96"/>
                  </a:cubicBezTo>
                  <a:cubicBezTo>
                    <a:pt x="53" y="96"/>
                    <a:pt x="53" y="96"/>
                    <a:pt x="52" y="95"/>
                  </a:cubicBezTo>
                  <a:cubicBezTo>
                    <a:pt x="52" y="95"/>
                    <a:pt x="52" y="95"/>
                    <a:pt x="52" y="95"/>
                  </a:cubicBezTo>
                  <a:cubicBezTo>
                    <a:pt x="50" y="95"/>
                    <a:pt x="50" y="95"/>
                    <a:pt x="50" y="95"/>
                  </a:cubicBezTo>
                  <a:cubicBezTo>
                    <a:pt x="49" y="95"/>
                    <a:pt x="47" y="94"/>
                    <a:pt x="45" y="94"/>
                  </a:cubicBezTo>
                  <a:cubicBezTo>
                    <a:pt x="45" y="94"/>
                    <a:pt x="45" y="94"/>
                    <a:pt x="45" y="94"/>
                  </a:cubicBezTo>
                  <a:cubicBezTo>
                    <a:pt x="45" y="95"/>
                    <a:pt x="45" y="97"/>
                    <a:pt x="45" y="99"/>
                  </a:cubicBezTo>
                  <a:cubicBezTo>
                    <a:pt x="44" y="100"/>
                    <a:pt x="44" y="100"/>
                    <a:pt x="44" y="100"/>
                  </a:cubicBezTo>
                  <a:cubicBezTo>
                    <a:pt x="43" y="100"/>
                    <a:pt x="43" y="100"/>
                    <a:pt x="43" y="100"/>
                  </a:cubicBezTo>
                  <a:cubicBezTo>
                    <a:pt x="50" y="105"/>
                    <a:pt x="57" y="108"/>
                    <a:pt x="63" y="111"/>
                  </a:cubicBezTo>
                  <a:cubicBezTo>
                    <a:pt x="65" y="112"/>
                    <a:pt x="65" y="112"/>
                    <a:pt x="65" y="112"/>
                  </a:cubicBezTo>
                  <a:cubicBezTo>
                    <a:pt x="67" y="113"/>
                    <a:pt x="70" y="114"/>
                    <a:pt x="72" y="116"/>
                  </a:cubicBezTo>
                  <a:cubicBezTo>
                    <a:pt x="76" y="117"/>
                    <a:pt x="76" y="117"/>
                    <a:pt x="76" y="117"/>
                  </a:cubicBezTo>
                  <a:cubicBezTo>
                    <a:pt x="73" y="120"/>
                    <a:pt x="73" y="120"/>
                    <a:pt x="73" y="120"/>
                  </a:cubicBezTo>
                  <a:cubicBezTo>
                    <a:pt x="73" y="121"/>
                    <a:pt x="73" y="121"/>
                    <a:pt x="72" y="121"/>
                  </a:cubicBezTo>
                  <a:cubicBezTo>
                    <a:pt x="72" y="122"/>
                    <a:pt x="72" y="122"/>
                    <a:pt x="72" y="122"/>
                  </a:cubicBezTo>
                  <a:cubicBezTo>
                    <a:pt x="72" y="123"/>
                    <a:pt x="72" y="123"/>
                    <a:pt x="72" y="123"/>
                  </a:cubicBezTo>
                  <a:cubicBezTo>
                    <a:pt x="74" y="126"/>
                    <a:pt x="78" y="128"/>
                    <a:pt x="81" y="130"/>
                  </a:cubicBezTo>
                  <a:cubicBezTo>
                    <a:pt x="81" y="131"/>
                    <a:pt x="81" y="131"/>
                    <a:pt x="81" y="131"/>
                  </a:cubicBezTo>
                  <a:cubicBezTo>
                    <a:pt x="84" y="133"/>
                    <a:pt x="85" y="136"/>
                    <a:pt x="87" y="139"/>
                  </a:cubicBezTo>
                  <a:cubicBezTo>
                    <a:pt x="87" y="140"/>
                    <a:pt x="87" y="140"/>
                    <a:pt x="87" y="140"/>
                  </a:cubicBezTo>
                  <a:cubicBezTo>
                    <a:pt x="87" y="140"/>
                    <a:pt x="87" y="140"/>
                    <a:pt x="88" y="141"/>
                  </a:cubicBezTo>
                  <a:cubicBezTo>
                    <a:pt x="88" y="141"/>
                    <a:pt x="88" y="141"/>
                    <a:pt x="88" y="141"/>
                  </a:cubicBezTo>
                  <a:cubicBezTo>
                    <a:pt x="90" y="143"/>
                    <a:pt x="92" y="144"/>
                    <a:pt x="93" y="145"/>
                  </a:cubicBezTo>
                  <a:cubicBezTo>
                    <a:pt x="97" y="148"/>
                    <a:pt x="97" y="148"/>
                    <a:pt x="97" y="148"/>
                  </a:cubicBezTo>
                  <a:cubicBezTo>
                    <a:pt x="98" y="149"/>
                    <a:pt x="100" y="150"/>
                    <a:pt x="101" y="152"/>
                  </a:cubicBezTo>
                  <a:cubicBezTo>
                    <a:pt x="102" y="152"/>
                    <a:pt x="102" y="153"/>
                    <a:pt x="102" y="153"/>
                  </a:cubicBezTo>
                  <a:cubicBezTo>
                    <a:pt x="103" y="155"/>
                    <a:pt x="103" y="155"/>
                    <a:pt x="103" y="155"/>
                  </a:cubicBezTo>
                  <a:cubicBezTo>
                    <a:pt x="103" y="156"/>
                    <a:pt x="103" y="156"/>
                    <a:pt x="104" y="157"/>
                  </a:cubicBezTo>
                  <a:cubicBezTo>
                    <a:pt x="104" y="157"/>
                    <a:pt x="104" y="157"/>
                    <a:pt x="104" y="157"/>
                  </a:cubicBezTo>
                  <a:cubicBezTo>
                    <a:pt x="107" y="158"/>
                    <a:pt x="107" y="160"/>
                    <a:pt x="107" y="161"/>
                  </a:cubicBezTo>
                  <a:cubicBezTo>
                    <a:pt x="107" y="162"/>
                    <a:pt x="107" y="162"/>
                    <a:pt x="107" y="162"/>
                  </a:cubicBezTo>
                  <a:cubicBezTo>
                    <a:pt x="107" y="163"/>
                    <a:pt x="107" y="164"/>
                    <a:pt x="107" y="164"/>
                  </a:cubicBezTo>
                  <a:cubicBezTo>
                    <a:pt x="107" y="165"/>
                    <a:pt x="107" y="165"/>
                    <a:pt x="107" y="166"/>
                  </a:cubicBezTo>
                  <a:cubicBezTo>
                    <a:pt x="107" y="166"/>
                    <a:pt x="107" y="166"/>
                    <a:pt x="107" y="166"/>
                  </a:cubicBezTo>
                  <a:cubicBezTo>
                    <a:pt x="108" y="167"/>
                    <a:pt x="108" y="168"/>
                    <a:pt x="108" y="168"/>
                  </a:cubicBezTo>
                  <a:cubicBezTo>
                    <a:pt x="108" y="169"/>
                    <a:pt x="108" y="169"/>
                    <a:pt x="108" y="169"/>
                  </a:cubicBezTo>
                  <a:cubicBezTo>
                    <a:pt x="108" y="169"/>
                    <a:pt x="108" y="169"/>
                    <a:pt x="108" y="169"/>
                  </a:cubicBezTo>
                  <a:cubicBezTo>
                    <a:pt x="108" y="170"/>
                    <a:pt x="108" y="170"/>
                    <a:pt x="108" y="170"/>
                  </a:cubicBezTo>
                  <a:cubicBezTo>
                    <a:pt x="109" y="169"/>
                    <a:pt x="109" y="169"/>
                    <a:pt x="109" y="169"/>
                  </a:cubicBezTo>
                  <a:cubicBezTo>
                    <a:pt x="111" y="168"/>
                    <a:pt x="111" y="168"/>
                    <a:pt x="111" y="168"/>
                  </a:cubicBezTo>
                  <a:cubicBezTo>
                    <a:pt x="113" y="168"/>
                    <a:pt x="113" y="168"/>
                    <a:pt x="113" y="168"/>
                  </a:cubicBezTo>
                  <a:cubicBezTo>
                    <a:pt x="114" y="169"/>
                    <a:pt x="114" y="169"/>
                    <a:pt x="114" y="169"/>
                  </a:cubicBezTo>
                  <a:cubicBezTo>
                    <a:pt x="115" y="170"/>
                    <a:pt x="115" y="170"/>
                    <a:pt x="115" y="170"/>
                  </a:cubicBezTo>
                  <a:cubicBezTo>
                    <a:pt x="116" y="171"/>
                    <a:pt x="116" y="172"/>
                    <a:pt x="116" y="173"/>
                  </a:cubicBezTo>
                  <a:cubicBezTo>
                    <a:pt x="117" y="173"/>
                    <a:pt x="117" y="174"/>
                    <a:pt x="117" y="174"/>
                  </a:cubicBezTo>
                  <a:cubicBezTo>
                    <a:pt x="117" y="174"/>
                    <a:pt x="117" y="174"/>
                    <a:pt x="117" y="174"/>
                  </a:cubicBezTo>
                  <a:cubicBezTo>
                    <a:pt x="118" y="174"/>
                    <a:pt x="118" y="174"/>
                    <a:pt x="118" y="174"/>
                  </a:cubicBezTo>
                  <a:cubicBezTo>
                    <a:pt x="119" y="175"/>
                    <a:pt x="119" y="175"/>
                    <a:pt x="119" y="175"/>
                  </a:cubicBezTo>
                  <a:cubicBezTo>
                    <a:pt x="119" y="175"/>
                    <a:pt x="120" y="175"/>
                    <a:pt x="120" y="176"/>
                  </a:cubicBezTo>
                  <a:cubicBezTo>
                    <a:pt x="121" y="176"/>
                    <a:pt x="121" y="176"/>
                    <a:pt x="121" y="176"/>
                  </a:cubicBezTo>
                  <a:cubicBezTo>
                    <a:pt x="121" y="176"/>
                    <a:pt x="121" y="177"/>
                    <a:pt x="121" y="177"/>
                  </a:cubicBezTo>
                  <a:cubicBezTo>
                    <a:pt x="122" y="177"/>
                    <a:pt x="122" y="177"/>
                    <a:pt x="123" y="178"/>
                  </a:cubicBezTo>
                  <a:cubicBezTo>
                    <a:pt x="123" y="178"/>
                    <a:pt x="123" y="178"/>
                    <a:pt x="123" y="178"/>
                  </a:cubicBezTo>
                  <a:cubicBezTo>
                    <a:pt x="125" y="179"/>
                    <a:pt x="127" y="180"/>
                    <a:pt x="128" y="181"/>
                  </a:cubicBezTo>
                  <a:cubicBezTo>
                    <a:pt x="130" y="183"/>
                    <a:pt x="129" y="185"/>
                    <a:pt x="129" y="186"/>
                  </a:cubicBezTo>
                  <a:cubicBezTo>
                    <a:pt x="129" y="187"/>
                    <a:pt x="128" y="187"/>
                    <a:pt x="128" y="188"/>
                  </a:cubicBezTo>
                  <a:cubicBezTo>
                    <a:pt x="127" y="188"/>
                    <a:pt x="127" y="189"/>
                    <a:pt x="126" y="190"/>
                  </a:cubicBezTo>
                  <a:cubicBezTo>
                    <a:pt x="125" y="190"/>
                    <a:pt x="125" y="190"/>
                    <a:pt x="125" y="190"/>
                  </a:cubicBezTo>
                  <a:cubicBezTo>
                    <a:pt x="124" y="190"/>
                    <a:pt x="124" y="190"/>
                    <a:pt x="124" y="190"/>
                  </a:cubicBezTo>
                  <a:cubicBezTo>
                    <a:pt x="126" y="192"/>
                    <a:pt x="128" y="194"/>
                    <a:pt x="129" y="195"/>
                  </a:cubicBezTo>
                  <a:cubicBezTo>
                    <a:pt x="130" y="195"/>
                    <a:pt x="130" y="195"/>
                    <a:pt x="130" y="195"/>
                  </a:cubicBezTo>
                  <a:cubicBezTo>
                    <a:pt x="132" y="197"/>
                    <a:pt x="133" y="199"/>
                    <a:pt x="134" y="202"/>
                  </a:cubicBezTo>
                  <a:cubicBezTo>
                    <a:pt x="135" y="203"/>
                    <a:pt x="135" y="203"/>
                    <a:pt x="135" y="203"/>
                  </a:cubicBezTo>
                  <a:cubicBezTo>
                    <a:pt x="135" y="205"/>
                    <a:pt x="134" y="206"/>
                    <a:pt x="133" y="208"/>
                  </a:cubicBezTo>
                  <a:cubicBezTo>
                    <a:pt x="132" y="209"/>
                    <a:pt x="132" y="209"/>
                    <a:pt x="132" y="209"/>
                  </a:cubicBezTo>
                  <a:cubicBezTo>
                    <a:pt x="130" y="211"/>
                    <a:pt x="130" y="211"/>
                    <a:pt x="130" y="211"/>
                  </a:cubicBezTo>
                  <a:cubicBezTo>
                    <a:pt x="130" y="211"/>
                    <a:pt x="131" y="211"/>
                    <a:pt x="131" y="212"/>
                  </a:cubicBezTo>
                  <a:cubicBezTo>
                    <a:pt x="131" y="212"/>
                    <a:pt x="131" y="212"/>
                    <a:pt x="131" y="212"/>
                  </a:cubicBezTo>
                  <a:cubicBezTo>
                    <a:pt x="131" y="213"/>
                    <a:pt x="131" y="213"/>
                    <a:pt x="131" y="213"/>
                  </a:cubicBezTo>
                  <a:cubicBezTo>
                    <a:pt x="132" y="216"/>
                    <a:pt x="132" y="216"/>
                    <a:pt x="132" y="216"/>
                  </a:cubicBezTo>
                  <a:cubicBezTo>
                    <a:pt x="133" y="218"/>
                    <a:pt x="133" y="218"/>
                    <a:pt x="133" y="218"/>
                  </a:cubicBezTo>
                  <a:cubicBezTo>
                    <a:pt x="131" y="219"/>
                    <a:pt x="131" y="219"/>
                    <a:pt x="131" y="219"/>
                  </a:cubicBezTo>
                  <a:cubicBezTo>
                    <a:pt x="131" y="220"/>
                    <a:pt x="131" y="220"/>
                    <a:pt x="131" y="220"/>
                  </a:cubicBezTo>
                  <a:cubicBezTo>
                    <a:pt x="130" y="223"/>
                    <a:pt x="129" y="226"/>
                    <a:pt x="128" y="229"/>
                  </a:cubicBezTo>
                  <a:cubicBezTo>
                    <a:pt x="127" y="232"/>
                    <a:pt x="127" y="232"/>
                    <a:pt x="127" y="232"/>
                  </a:cubicBezTo>
                  <a:cubicBezTo>
                    <a:pt x="127" y="233"/>
                    <a:pt x="128" y="233"/>
                    <a:pt x="129" y="234"/>
                  </a:cubicBezTo>
                  <a:cubicBezTo>
                    <a:pt x="129" y="235"/>
                    <a:pt x="129" y="235"/>
                    <a:pt x="129" y="235"/>
                  </a:cubicBezTo>
                  <a:cubicBezTo>
                    <a:pt x="130" y="236"/>
                    <a:pt x="130" y="237"/>
                    <a:pt x="130" y="238"/>
                  </a:cubicBezTo>
                  <a:cubicBezTo>
                    <a:pt x="130" y="239"/>
                    <a:pt x="130" y="240"/>
                    <a:pt x="130" y="241"/>
                  </a:cubicBezTo>
                  <a:cubicBezTo>
                    <a:pt x="131" y="243"/>
                    <a:pt x="131" y="243"/>
                    <a:pt x="131" y="243"/>
                  </a:cubicBezTo>
                  <a:cubicBezTo>
                    <a:pt x="133" y="245"/>
                    <a:pt x="135" y="248"/>
                    <a:pt x="134" y="251"/>
                  </a:cubicBezTo>
                  <a:cubicBezTo>
                    <a:pt x="133" y="252"/>
                    <a:pt x="133" y="252"/>
                    <a:pt x="133" y="252"/>
                  </a:cubicBezTo>
                  <a:cubicBezTo>
                    <a:pt x="133" y="255"/>
                    <a:pt x="132" y="257"/>
                    <a:pt x="132" y="259"/>
                  </a:cubicBezTo>
                  <a:cubicBezTo>
                    <a:pt x="131" y="261"/>
                    <a:pt x="131" y="261"/>
                    <a:pt x="131" y="261"/>
                  </a:cubicBezTo>
                  <a:cubicBezTo>
                    <a:pt x="131" y="261"/>
                    <a:pt x="132" y="264"/>
                    <a:pt x="132" y="265"/>
                  </a:cubicBezTo>
                  <a:cubicBezTo>
                    <a:pt x="132" y="266"/>
                    <a:pt x="132" y="266"/>
                    <a:pt x="132" y="266"/>
                  </a:cubicBezTo>
                  <a:cubicBezTo>
                    <a:pt x="132" y="268"/>
                    <a:pt x="133" y="270"/>
                    <a:pt x="133" y="272"/>
                  </a:cubicBezTo>
                  <a:cubicBezTo>
                    <a:pt x="133" y="272"/>
                    <a:pt x="133" y="272"/>
                    <a:pt x="133" y="272"/>
                  </a:cubicBezTo>
                  <a:cubicBezTo>
                    <a:pt x="139" y="273"/>
                    <a:pt x="139" y="273"/>
                    <a:pt x="139" y="273"/>
                  </a:cubicBezTo>
                  <a:cubicBezTo>
                    <a:pt x="133" y="274"/>
                    <a:pt x="133" y="274"/>
                    <a:pt x="133" y="274"/>
                  </a:cubicBezTo>
                  <a:cubicBezTo>
                    <a:pt x="133" y="274"/>
                    <a:pt x="133" y="275"/>
                    <a:pt x="132" y="275"/>
                  </a:cubicBezTo>
                  <a:cubicBezTo>
                    <a:pt x="132" y="279"/>
                    <a:pt x="129" y="281"/>
                    <a:pt x="127" y="282"/>
                  </a:cubicBezTo>
                  <a:cubicBezTo>
                    <a:pt x="127" y="282"/>
                    <a:pt x="126" y="282"/>
                    <a:pt x="126" y="282"/>
                  </a:cubicBezTo>
                  <a:cubicBezTo>
                    <a:pt x="125" y="282"/>
                    <a:pt x="124" y="281"/>
                    <a:pt x="123" y="281"/>
                  </a:cubicBezTo>
                  <a:cubicBezTo>
                    <a:pt x="122" y="281"/>
                    <a:pt x="122" y="281"/>
                    <a:pt x="121" y="281"/>
                  </a:cubicBezTo>
                  <a:cubicBezTo>
                    <a:pt x="121" y="281"/>
                    <a:pt x="121" y="281"/>
                    <a:pt x="121" y="281"/>
                  </a:cubicBezTo>
                  <a:cubicBezTo>
                    <a:pt x="121" y="281"/>
                    <a:pt x="120" y="282"/>
                    <a:pt x="120" y="282"/>
                  </a:cubicBezTo>
                  <a:cubicBezTo>
                    <a:pt x="119" y="283"/>
                    <a:pt x="119" y="283"/>
                    <a:pt x="119" y="283"/>
                  </a:cubicBezTo>
                  <a:cubicBezTo>
                    <a:pt x="117" y="285"/>
                    <a:pt x="115" y="286"/>
                    <a:pt x="112" y="286"/>
                  </a:cubicBezTo>
                  <a:cubicBezTo>
                    <a:pt x="112" y="286"/>
                    <a:pt x="112" y="286"/>
                    <a:pt x="112" y="286"/>
                  </a:cubicBezTo>
                  <a:cubicBezTo>
                    <a:pt x="109" y="287"/>
                    <a:pt x="107" y="287"/>
                    <a:pt x="104" y="288"/>
                  </a:cubicBezTo>
                  <a:cubicBezTo>
                    <a:pt x="104" y="289"/>
                    <a:pt x="104" y="290"/>
                    <a:pt x="105" y="291"/>
                  </a:cubicBezTo>
                  <a:cubicBezTo>
                    <a:pt x="105" y="292"/>
                    <a:pt x="105" y="292"/>
                    <a:pt x="105" y="292"/>
                  </a:cubicBezTo>
                  <a:cubicBezTo>
                    <a:pt x="105" y="292"/>
                    <a:pt x="105" y="293"/>
                    <a:pt x="105" y="293"/>
                  </a:cubicBezTo>
                  <a:cubicBezTo>
                    <a:pt x="105" y="297"/>
                    <a:pt x="105" y="297"/>
                    <a:pt x="105" y="297"/>
                  </a:cubicBezTo>
                  <a:cubicBezTo>
                    <a:pt x="92" y="294"/>
                    <a:pt x="92" y="294"/>
                    <a:pt x="92" y="294"/>
                  </a:cubicBezTo>
                  <a:cubicBezTo>
                    <a:pt x="91" y="295"/>
                    <a:pt x="90" y="295"/>
                    <a:pt x="89" y="296"/>
                  </a:cubicBezTo>
                  <a:cubicBezTo>
                    <a:pt x="90" y="297"/>
                    <a:pt x="90" y="297"/>
                    <a:pt x="90" y="297"/>
                  </a:cubicBezTo>
                  <a:cubicBezTo>
                    <a:pt x="90" y="300"/>
                    <a:pt x="90" y="301"/>
                    <a:pt x="91" y="303"/>
                  </a:cubicBezTo>
                  <a:cubicBezTo>
                    <a:pt x="92" y="304"/>
                    <a:pt x="93" y="305"/>
                    <a:pt x="95" y="306"/>
                  </a:cubicBezTo>
                  <a:cubicBezTo>
                    <a:pt x="96" y="307"/>
                    <a:pt x="97" y="308"/>
                    <a:pt x="98" y="309"/>
                  </a:cubicBezTo>
                  <a:cubicBezTo>
                    <a:pt x="105" y="315"/>
                    <a:pt x="105" y="315"/>
                    <a:pt x="105" y="315"/>
                  </a:cubicBezTo>
                  <a:cubicBezTo>
                    <a:pt x="98" y="314"/>
                    <a:pt x="98" y="314"/>
                    <a:pt x="98" y="314"/>
                  </a:cubicBezTo>
                  <a:cubicBezTo>
                    <a:pt x="99" y="315"/>
                    <a:pt x="99" y="315"/>
                    <a:pt x="99" y="315"/>
                  </a:cubicBezTo>
                  <a:cubicBezTo>
                    <a:pt x="100" y="320"/>
                    <a:pt x="100" y="320"/>
                    <a:pt x="100" y="320"/>
                  </a:cubicBezTo>
                  <a:cubicBezTo>
                    <a:pt x="95" y="319"/>
                    <a:pt x="95" y="319"/>
                    <a:pt x="95" y="319"/>
                  </a:cubicBezTo>
                  <a:cubicBezTo>
                    <a:pt x="91" y="318"/>
                    <a:pt x="89" y="316"/>
                    <a:pt x="86" y="314"/>
                  </a:cubicBezTo>
                  <a:cubicBezTo>
                    <a:pt x="85" y="314"/>
                    <a:pt x="85" y="314"/>
                    <a:pt x="85" y="314"/>
                  </a:cubicBezTo>
                  <a:cubicBezTo>
                    <a:pt x="85" y="314"/>
                    <a:pt x="85" y="314"/>
                    <a:pt x="85" y="314"/>
                  </a:cubicBezTo>
                  <a:cubicBezTo>
                    <a:pt x="85" y="314"/>
                    <a:pt x="85" y="313"/>
                    <a:pt x="84" y="313"/>
                  </a:cubicBezTo>
                  <a:cubicBezTo>
                    <a:pt x="84" y="313"/>
                    <a:pt x="83" y="314"/>
                    <a:pt x="83" y="314"/>
                  </a:cubicBezTo>
                  <a:cubicBezTo>
                    <a:pt x="81" y="314"/>
                    <a:pt x="79" y="314"/>
                    <a:pt x="78" y="314"/>
                  </a:cubicBezTo>
                  <a:cubicBezTo>
                    <a:pt x="77" y="314"/>
                    <a:pt x="77" y="314"/>
                    <a:pt x="77" y="314"/>
                  </a:cubicBezTo>
                  <a:cubicBezTo>
                    <a:pt x="76" y="315"/>
                    <a:pt x="75" y="315"/>
                    <a:pt x="74" y="315"/>
                  </a:cubicBezTo>
                  <a:cubicBezTo>
                    <a:pt x="77" y="319"/>
                    <a:pt x="81" y="322"/>
                    <a:pt x="85" y="326"/>
                  </a:cubicBezTo>
                  <a:cubicBezTo>
                    <a:pt x="87" y="327"/>
                    <a:pt x="90" y="328"/>
                    <a:pt x="93" y="328"/>
                  </a:cubicBezTo>
                  <a:cubicBezTo>
                    <a:pt x="95" y="328"/>
                    <a:pt x="97" y="328"/>
                    <a:pt x="98" y="327"/>
                  </a:cubicBezTo>
                  <a:cubicBezTo>
                    <a:pt x="99" y="327"/>
                    <a:pt x="99" y="327"/>
                    <a:pt x="100" y="327"/>
                  </a:cubicBezTo>
                  <a:cubicBezTo>
                    <a:pt x="102" y="327"/>
                    <a:pt x="104" y="328"/>
                    <a:pt x="106" y="328"/>
                  </a:cubicBezTo>
                  <a:cubicBezTo>
                    <a:pt x="106" y="328"/>
                    <a:pt x="107" y="328"/>
                    <a:pt x="107" y="328"/>
                  </a:cubicBezTo>
                  <a:cubicBezTo>
                    <a:pt x="113" y="328"/>
                    <a:pt x="110" y="326"/>
                    <a:pt x="106" y="324"/>
                  </a:cubicBezTo>
                  <a:cubicBezTo>
                    <a:pt x="106" y="324"/>
                    <a:pt x="107" y="323"/>
                    <a:pt x="108" y="323"/>
                  </a:cubicBezTo>
                  <a:cubicBezTo>
                    <a:pt x="107" y="323"/>
                    <a:pt x="107" y="323"/>
                    <a:pt x="107" y="323"/>
                  </a:cubicBezTo>
                  <a:cubicBezTo>
                    <a:pt x="105" y="322"/>
                    <a:pt x="105" y="322"/>
                    <a:pt x="105" y="322"/>
                  </a:cubicBezTo>
                  <a:cubicBezTo>
                    <a:pt x="107" y="319"/>
                    <a:pt x="107" y="319"/>
                    <a:pt x="107" y="319"/>
                  </a:cubicBezTo>
                  <a:cubicBezTo>
                    <a:pt x="110" y="316"/>
                    <a:pt x="110" y="316"/>
                    <a:pt x="110" y="316"/>
                  </a:cubicBezTo>
                  <a:cubicBezTo>
                    <a:pt x="111" y="318"/>
                    <a:pt x="111" y="318"/>
                    <a:pt x="111" y="318"/>
                  </a:cubicBezTo>
                  <a:cubicBezTo>
                    <a:pt x="114" y="316"/>
                    <a:pt x="114" y="316"/>
                    <a:pt x="114" y="316"/>
                  </a:cubicBezTo>
                  <a:cubicBezTo>
                    <a:pt x="114" y="318"/>
                    <a:pt x="113" y="319"/>
                    <a:pt x="113" y="320"/>
                  </a:cubicBezTo>
                  <a:cubicBezTo>
                    <a:pt x="114" y="321"/>
                    <a:pt x="115" y="322"/>
                    <a:pt x="116" y="323"/>
                  </a:cubicBezTo>
                  <a:cubicBezTo>
                    <a:pt x="116" y="322"/>
                    <a:pt x="116" y="320"/>
                    <a:pt x="116" y="319"/>
                  </a:cubicBezTo>
                  <a:cubicBezTo>
                    <a:pt x="117" y="323"/>
                    <a:pt x="115" y="324"/>
                    <a:pt x="119" y="325"/>
                  </a:cubicBezTo>
                  <a:cubicBezTo>
                    <a:pt x="119" y="325"/>
                    <a:pt x="116" y="326"/>
                    <a:pt x="117" y="326"/>
                  </a:cubicBezTo>
                  <a:cubicBezTo>
                    <a:pt x="118" y="327"/>
                    <a:pt x="118" y="327"/>
                    <a:pt x="118" y="327"/>
                  </a:cubicBezTo>
                  <a:cubicBezTo>
                    <a:pt x="121" y="327"/>
                    <a:pt x="125" y="323"/>
                    <a:pt x="127" y="323"/>
                  </a:cubicBezTo>
                  <a:cubicBezTo>
                    <a:pt x="133" y="319"/>
                    <a:pt x="139" y="315"/>
                    <a:pt x="145" y="312"/>
                  </a:cubicBezTo>
                  <a:cubicBezTo>
                    <a:pt x="152" y="308"/>
                    <a:pt x="161" y="305"/>
                    <a:pt x="164" y="298"/>
                  </a:cubicBezTo>
                  <a:cubicBezTo>
                    <a:pt x="165" y="297"/>
                    <a:pt x="172" y="292"/>
                    <a:pt x="169" y="290"/>
                  </a:cubicBezTo>
                  <a:cubicBezTo>
                    <a:pt x="167" y="289"/>
                    <a:pt x="168" y="285"/>
                    <a:pt x="169" y="282"/>
                  </a:cubicBezTo>
                  <a:cubicBezTo>
                    <a:pt x="169" y="284"/>
                    <a:pt x="170" y="287"/>
                    <a:pt x="172" y="288"/>
                  </a:cubicBezTo>
                  <a:cubicBezTo>
                    <a:pt x="172" y="286"/>
                    <a:pt x="171" y="286"/>
                    <a:pt x="171" y="285"/>
                  </a:cubicBezTo>
                  <a:cubicBezTo>
                    <a:pt x="171" y="283"/>
                    <a:pt x="171" y="281"/>
                    <a:pt x="171" y="278"/>
                  </a:cubicBezTo>
                  <a:cubicBezTo>
                    <a:pt x="170" y="277"/>
                    <a:pt x="169" y="276"/>
                    <a:pt x="168" y="274"/>
                  </a:cubicBezTo>
                  <a:cubicBezTo>
                    <a:pt x="168" y="274"/>
                    <a:pt x="168" y="274"/>
                    <a:pt x="169" y="274"/>
                  </a:cubicBezTo>
                  <a:cubicBezTo>
                    <a:pt x="169" y="274"/>
                    <a:pt x="170" y="274"/>
                    <a:pt x="171" y="275"/>
                  </a:cubicBezTo>
                  <a:cubicBezTo>
                    <a:pt x="172" y="275"/>
                    <a:pt x="173" y="275"/>
                    <a:pt x="173" y="275"/>
                  </a:cubicBezTo>
                  <a:cubicBezTo>
                    <a:pt x="173" y="275"/>
                    <a:pt x="173" y="275"/>
                    <a:pt x="173" y="275"/>
                  </a:cubicBezTo>
                  <a:cubicBezTo>
                    <a:pt x="173" y="275"/>
                    <a:pt x="172" y="275"/>
                    <a:pt x="172" y="274"/>
                  </a:cubicBezTo>
                  <a:cubicBezTo>
                    <a:pt x="172" y="269"/>
                    <a:pt x="169" y="269"/>
                    <a:pt x="173" y="265"/>
                  </a:cubicBezTo>
                  <a:cubicBezTo>
                    <a:pt x="174" y="267"/>
                    <a:pt x="175" y="269"/>
                    <a:pt x="176" y="271"/>
                  </a:cubicBezTo>
                  <a:cubicBezTo>
                    <a:pt x="176" y="269"/>
                    <a:pt x="175" y="269"/>
                    <a:pt x="175" y="268"/>
                  </a:cubicBezTo>
                  <a:cubicBezTo>
                    <a:pt x="175" y="267"/>
                    <a:pt x="174" y="267"/>
                    <a:pt x="174" y="266"/>
                  </a:cubicBezTo>
                  <a:cubicBezTo>
                    <a:pt x="174" y="265"/>
                    <a:pt x="174" y="265"/>
                    <a:pt x="175" y="264"/>
                  </a:cubicBezTo>
                  <a:cubicBezTo>
                    <a:pt x="176" y="263"/>
                    <a:pt x="176" y="263"/>
                    <a:pt x="176" y="263"/>
                  </a:cubicBezTo>
                  <a:cubicBezTo>
                    <a:pt x="175" y="260"/>
                    <a:pt x="174" y="257"/>
                    <a:pt x="173" y="254"/>
                  </a:cubicBezTo>
                  <a:cubicBezTo>
                    <a:pt x="172" y="250"/>
                    <a:pt x="171" y="246"/>
                    <a:pt x="170" y="243"/>
                  </a:cubicBezTo>
                  <a:cubicBezTo>
                    <a:pt x="170" y="242"/>
                    <a:pt x="172" y="240"/>
                    <a:pt x="172" y="239"/>
                  </a:cubicBezTo>
                  <a:cubicBezTo>
                    <a:pt x="172" y="238"/>
                    <a:pt x="171" y="236"/>
                    <a:pt x="171" y="235"/>
                  </a:cubicBezTo>
                  <a:cubicBezTo>
                    <a:pt x="170" y="229"/>
                    <a:pt x="168" y="222"/>
                    <a:pt x="166" y="216"/>
                  </a:cubicBezTo>
                  <a:cubicBezTo>
                    <a:pt x="164" y="212"/>
                    <a:pt x="163" y="210"/>
                    <a:pt x="163" y="205"/>
                  </a:cubicBezTo>
                  <a:cubicBezTo>
                    <a:pt x="163" y="204"/>
                    <a:pt x="163" y="204"/>
                    <a:pt x="162" y="203"/>
                  </a:cubicBezTo>
                  <a:cubicBezTo>
                    <a:pt x="156" y="198"/>
                    <a:pt x="152" y="192"/>
                    <a:pt x="148" y="186"/>
                  </a:cubicBezTo>
                  <a:cubicBezTo>
                    <a:pt x="148" y="186"/>
                    <a:pt x="148" y="186"/>
                    <a:pt x="148" y="186"/>
                  </a:cubicBezTo>
                  <a:cubicBezTo>
                    <a:pt x="148" y="184"/>
                    <a:pt x="148" y="184"/>
                    <a:pt x="148" y="184"/>
                  </a:cubicBezTo>
                  <a:cubicBezTo>
                    <a:pt x="148" y="184"/>
                    <a:pt x="148" y="184"/>
                    <a:pt x="148" y="184"/>
                  </a:cubicBezTo>
                  <a:cubicBezTo>
                    <a:pt x="148" y="183"/>
                    <a:pt x="149" y="182"/>
                    <a:pt x="148" y="181"/>
                  </a:cubicBezTo>
                  <a:cubicBezTo>
                    <a:pt x="148" y="181"/>
                    <a:pt x="148" y="181"/>
                    <a:pt x="147" y="181"/>
                  </a:cubicBezTo>
                  <a:cubicBezTo>
                    <a:pt x="146" y="181"/>
                    <a:pt x="145" y="182"/>
                    <a:pt x="145" y="183"/>
                  </a:cubicBezTo>
                  <a:cubicBezTo>
                    <a:pt x="145" y="183"/>
                    <a:pt x="145" y="183"/>
                    <a:pt x="145" y="183"/>
                  </a:cubicBezTo>
                  <a:cubicBezTo>
                    <a:pt x="144" y="182"/>
                    <a:pt x="144" y="180"/>
                    <a:pt x="145" y="179"/>
                  </a:cubicBezTo>
                  <a:cubicBezTo>
                    <a:pt x="141" y="177"/>
                    <a:pt x="134" y="175"/>
                    <a:pt x="131" y="172"/>
                  </a:cubicBezTo>
                  <a:cubicBezTo>
                    <a:pt x="129" y="170"/>
                    <a:pt x="127" y="167"/>
                    <a:pt x="125" y="166"/>
                  </a:cubicBezTo>
                  <a:cubicBezTo>
                    <a:pt x="123" y="165"/>
                    <a:pt x="121" y="164"/>
                    <a:pt x="119" y="162"/>
                  </a:cubicBezTo>
                  <a:cubicBezTo>
                    <a:pt x="117" y="160"/>
                    <a:pt x="117" y="157"/>
                    <a:pt x="115" y="155"/>
                  </a:cubicBezTo>
                  <a:cubicBezTo>
                    <a:pt x="113" y="154"/>
                    <a:pt x="111" y="152"/>
                    <a:pt x="109" y="150"/>
                  </a:cubicBezTo>
                  <a:cubicBezTo>
                    <a:pt x="105" y="147"/>
                    <a:pt x="101" y="143"/>
                    <a:pt x="98" y="140"/>
                  </a:cubicBezTo>
                  <a:cubicBezTo>
                    <a:pt x="98" y="140"/>
                    <a:pt x="98" y="140"/>
                    <a:pt x="98" y="140"/>
                  </a:cubicBezTo>
                  <a:cubicBezTo>
                    <a:pt x="100" y="140"/>
                    <a:pt x="101" y="141"/>
                    <a:pt x="103" y="142"/>
                  </a:cubicBezTo>
                  <a:cubicBezTo>
                    <a:pt x="102" y="139"/>
                    <a:pt x="101" y="137"/>
                    <a:pt x="103" y="136"/>
                  </a:cubicBezTo>
                  <a:cubicBezTo>
                    <a:pt x="104" y="135"/>
                    <a:pt x="90" y="123"/>
                    <a:pt x="89" y="121"/>
                  </a:cubicBezTo>
                  <a:cubicBezTo>
                    <a:pt x="85" y="117"/>
                    <a:pt x="83" y="114"/>
                    <a:pt x="81" y="109"/>
                  </a:cubicBezTo>
                  <a:cubicBezTo>
                    <a:pt x="81" y="109"/>
                    <a:pt x="81" y="109"/>
                    <a:pt x="81" y="109"/>
                  </a:cubicBezTo>
                  <a:cubicBezTo>
                    <a:pt x="82" y="106"/>
                    <a:pt x="84" y="104"/>
                    <a:pt x="86" y="102"/>
                  </a:cubicBezTo>
                  <a:cubicBezTo>
                    <a:pt x="87" y="100"/>
                    <a:pt x="85" y="96"/>
                    <a:pt x="86" y="93"/>
                  </a:cubicBezTo>
                  <a:cubicBezTo>
                    <a:pt x="86" y="92"/>
                    <a:pt x="88" y="89"/>
                    <a:pt x="89" y="88"/>
                  </a:cubicBezTo>
                  <a:cubicBezTo>
                    <a:pt x="91" y="84"/>
                    <a:pt x="93" y="83"/>
                    <a:pt x="96" y="80"/>
                  </a:cubicBezTo>
                  <a:cubicBezTo>
                    <a:pt x="98" y="79"/>
                    <a:pt x="101" y="75"/>
                    <a:pt x="104" y="75"/>
                  </a:cubicBezTo>
                  <a:cubicBezTo>
                    <a:pt x="104" y="75"/>
                    <a:pt x="104" y="76"/>
                    <a:pt x="105" y="76"/>
                  </a:cubicBezTo>
                  <a:cubicBezTo>
                    <a:pt x="105" y="73"/>
                    <a:pt x="105" y="70"/>
                    <a:pt x="105" y="67"/>
                  </a:cubicBezTo>
                  <a:cubicBezTo>
                    <a:pt x="105" y="66"/>
                    <a:pt x="110" y="66"/>
                    <a:pt x="111" y="66"/>
                  </a:cubicBezTo>
                  <a:cubicBezTo>
                    <a:pt x="109" y="64"/>
                    <a:pt x="109" y="64"/>
                    <a:pt x="109" y="64"/>
                  </a:cubicBezTo>
                  <a:cubicBezTo>
                    <a:pt x="109" y="60"/>
                    <a:pt x="110" y="60"/>
                    <a:pt x="107" y="57"/>
                  </a:cubicBezTo>
                  <a:cubicBezTo>
                    <a:pt x="109" y="58"/>
                    <a:pt x="110" y="60"/>
                    <a:pt x="112" y="60"/>
                  </a:cubicBezTo>
                  <a:cubicBezTo>
                    <a:pt x="113" y="60"/>
                    <a:pt x="113" y="60"/>
                    <a:pt x="114" y="60"/>
                  </a:cubicBezTo>
                  <a:cubicBezTo>
                    <a:pt x="113" y="59"/>
                    <a:pt x="113" y="59"/>
                    <a:pt x="113" y="59"/>
                  </a:cubicBezTo>
                  <a:cubicBezTo>
                    <a:pt x="114" y="59"/>
                    <a:pt x="115" y="59"/>
                    <a:pt x="116" y="58"/>
                  </a:cubicBezTo>
                  <a:cubicBezTo>
                    <a:pt x="117" y="58"/>
                    <a:pt x="117" y="58"/>
                    <a:pt x="117" y="58"/>
                  </a:cubicBezTo>
                  <a:cubicBezTo>
                    <a:pt x="118" y="58"/>
                    <a:pt x="118" y="58"/>
                    <a:pt x="118" y="58"/>
                  </a:cubicBezTo>
                  <a:cubicBezTo>
                    <a:pt x="119" y="59"/>
                    <a:pt x="119" y="59"/>
                    <a:pt x="120" y="59"/>
                  </a:cubicBezTo>
                  <a:cubicBezTo>
                    <a:pt x="120" y="59"/>
                    <a:pt x="120" y="59"/>
                    <a:pt x="120" y="59"/>
                  </a:cubicBezTo>
                  <a:cubicBezTo>
                    <a:pt x="121" y="59"/>
                    <a:pt x="123" y="58"/>
                    <a:pt x="124" y="57"/>
                  </a:cubicBezTo>
                  <a:cubicBezTo>
                    <a:pt x="125" y="56"/>
                    <a:pt x="124" y="56"/>
                    <a:pt x="124" y="56"/>
                  </a:cubicBezTo>
                  <a:cubicBezTo>
                    <a:pt x="125" y="54"/>
                    <a:pt x="125" y="54"/>
                    <a:pt x="124" y="53"/>
                  </a:cubicBezTo>
                  <a:cubicBezTo>
                    <a:pt x="125" y="52"/>
                    <a:pt x="126" y="52"/>
                    <a:pt x="127" y="51"/>
                  </a:cubicBezTo>
                  <a:cubicBezTo>
                    <a:pt x="126" y="52"/>
                    <a:pt x="125" y="54"/>
                    <a:pt x="125" y="56"/>
                  </a:cubicBezTo>
                  <a:cubicBezTo>
                    <a:pt x="127" y="55"/>
                    <a:pt x="129" y="54"/>
                    <a:pt x="130" y="52"/>
                  </a:cubicBezTo>
                  <a:cubicBezTo>
                    <a:pt x="129" y="52"/>
                    <a:pt x="129" y="51"/>
                    <a:pt x="128" y="51"/>
                  </a:cubicBezTo>
                  <a:cubicBezTo>
                    <a:pt x="130" y="49"/>
                    <a:pt x="133" y="47"/>
                    <a:pt x="136" y="46"/>
                  </a:cubicBezTo>
                  <a:cubicBezTo>
                    <a:pt x="136" y="45"/>
                    <a:pt x="136" y="45"/>
                    <a:pt x="136" y="45"/>
                  </a:cubicBezTo>
                  <a:cubicBezTo>
                    <a:pt x="135" y="45"/>
                    <a:pt x="135" y="45"/>
                    <a:pt x="135" y="45"/>
                  </a:cubicBezTo>
                  <a:cubicBezTo>
                    <a:pt x="133" y="45"/>
                    <a:pt x="131" y="44"/>
                    <a:pt x="129" y="44"/>
                  </a:cubicBezTo>
                  <a:cubicBezTo>
                    <a:pt x="128" y="44"/>
                    <a:pt x="128" y="44"/>
                    <a:pt x="128" y="44"/>
                  </a:cubicBezTo>
                  <a:cubicBezTo>
                    <a:pt x="127" y="44"/>
                    <a:pt x="127" y="44"/>
                    <a:pt x="127" y="44"/>
                  </a:cubicBezTo>
                  <a:cubicBezTo>
                    <a:pt x="126" y="44"/>
                    <a:pt x="125" y="44"/>
                    <a:pt x="125" y="44"/>
                  </a:cubicBezTo>
                  <a:cubicBezTo>
                    <a:pt x="122" y="44"/>
                    <a:pt x="120" y="42"/>
                    <a:pt x="119" y="41"/>
                  </a:cubicBezTo>
                  <a:cubicBezTo>
                    <a:pt x="119" y="40"/>
                    <a:pt x="118" y="40"/>
                    <a:pt x="118" y="40"/>
                  </a:cubicBezTo>
                  <a:cubicBezTo>
                    <a:pt x="116" y="38"/>
                    <a:pt x="116" y="38"/>
                    <a:pt x="116" y="38"/>
                  </a:cubicBezTo>
                  <a:cubicBezTo>
                    <a:pt x="115" y="36"/>
                    <a:pt x="114" y="36"/>
                    <a:pt x="114" y="36"/>
                  </a:cubicBezTo>
                  <a:cubicBezTo>
                    <a:pt x="114" y="36"/>
                    <a:pt x="113" y="36"/>
                    <a:pt x="113" y="36"/>
                  </a:cubicBezTo>
                  <a:cubicBezTo>
                    <a:pt x="112" y="36"/>
                    <a:pt x="112" y="36"/>
                    <a:pt x="112" y="36"/>
                  </a:cubicBezTo>
                  <a:cubicBezTo>
                    <a:pt x="110" y="36"/>
                    <a:pt x="108" y="36"/>
                    <a:pt x="107" y="35"/>
                  </a:cubicBezTo>
                  <a:cubicBezTo>
                    <a:pt x="106" y="35"/>
                    <a:pt x="106" y="35"/>
                    <a:pt x="106" y="35"/>
                  </a:cubicBezTo>
                  <a:cubicBezTo>
                    <a:pt x="105" y="34"/>
                    <a:pt x="105" y="34"/>
                    <a:pt x="105" y="34"/>
                  </a:cubicBezTo>
                  <a:cubicBezTo>
                    <a:pt x="104" y="32"/>
                    <a:pt x="104" y="32"/>
                    <a:pt x="104" y="32"/>
                  </a:cubicBezTo>
                  <a:cubicBezTo>
                    <a:pt x="105" y="32"/>
                    <a:pt x="105" y="32"/>
                    <a:pt x="105" y="32"/>
                  </a:cubicBezTo>
                  <a:cubicBezTo>
                    <a:pt x="104" y="32"/>
                    <a:pt x="104" y="32"/>
                    <a:pt x="104" y="32"/>
                  </a:cubicBezTo>
                  <a:cubicBezTo>
                    <a:pt x="105" y="30"/>
                    <a:pt x="105" y="30"/>
                    <a:pt x="105" y="30"/>
                  </a:cubicBezTo>
                  <a:cubicBezTo>
                    <a:pt x="105" y="29"/>
                    <a:pt x="105" y="29"/>
                    <a:pt x="105" y="29"/>
                  </a:cubicBezTo>
                  <a:cubicBezTo>
                    <a:pt x="105" y="29"/>
                    <a:pt x="105" y="29"/>
                    <a:pt x="104" y="28"/>
                  </a:cubicBezTo>
                  <a:cubicBezTo>
                    <a:pt x="104" y="27"/>
                    <a:pt x="103" y="26"/>
                    <a:pt x="103" y="25"/>
                  </a:cubicBezTo>
                  <a:cubicBezTo>
                    <a:pt x="102" y="24"/>
                    <a:pt x="102" y="24"/>
                    <a:pt x="102" y="24"/>
                  </a:cubicBezTo>
                  <a:cubicBezTo>
                    <a:pt x="101" y="20"/>
                    <a:pt x="102" y="18"/>
                    <a:pt x="104" y="16"/>
                  </a:cubicBezTo>
                  <a:cubicBezTo>
                    <a:pt x="105" y="14"/>
                    <a:pt x="105" y="14"/>
                    <a:pt x="105" y="14"/>
                  </a:cubicBezTo>
                  <a:cubicBezTo>
                    <a:pt x="106" y="14"/>
                    <a:pt x="106" y="13"/>
                    <a:pt x="106" y="12"/>
                  </a:cubicBezTo>
                  <a:cubicBezTo>
                    <a:pt x="106" y="12"/>
                    <a:pt x="106" y="12"/>
                    <a:pt x="106" y="12"/>
                  </a:cubicBezTo>
                  <a:cubicBezTo>
                    <a:pt x="106" y="12"/>
                    <a:pt x="106" y="12"/>
                    <a:pt x="106" y="12"/>
                  </a:cubicBezTo>
                  <a:cubicBezTo>
                    <a:pt x="105" y="12"/>
                    <a:pt x="103" y="11"/>
                    <a:pt x="102" y="11"/>
                  </a:cubicBezTo>
                  <a:cubicBezTo>
                    <a:pt x="101" y="11"/>
                    <a:pt x="101" y="12"/>
                    <a:pt x="100" y="12"/>
                  </a:cubicBezTo>
                  <a:cubicBezTo>
                    <a:pt x="100" y="12"/>
                    <a:pt x="99" y="12"/>
                    <a:pt x="98" y="12"/>
                  </a:cubicBezTo>
                  <a:cubicBezTo>
                    <a:pt x="98" y="12"/>
                    <a:pt x="98" y="12"/>
                    <a:pt x="97" y="11"/>
                  </a:cubicBezTo>
                  <a:cubicBezTo>
                    <a:pt x="96" y="11"/>
                    <a:pt x="96" y="11"/>
                    <a:pt x="96" y="11"/>
                  </a:cubicBezTo>
                  <a:cubicBezTo>
                    <a:pt x="92" y="11"/>
                    <a:pt x="88" y="11"/>
                    <a:pt x="83" y="8"/>
                  </a:cubicBezTo>
                  <a:cubicBezTo>
                    <a:pt x="82" y="8"/>
                    <a:pt x="82" y="8"/>
                    <a:pt x="82" y="8"/>
                  </a:cubicBezTo>
                  <a:cubicBezTo>
                    <a:pt x="80" y="6"/>
                    <a:pt x="78" y="5"/>
                    <a:pt x="77" y="3"/>
                  </a:cubicBezTo>
                  <a:cubicBezTo>
                    <a:pt x="76" y="2"/>
                    <a:pt x="76" y="2"/>
                    <a:pt x="76" y="2"/>
                  </a:cubicBezTo>
                  <a:cubicBezTo>
                    <a:pt x="76" y="1"/>
                    <a:pt x="75" y="1"/>
                    <a:pt x="75" y="1"/>
                  </a:cubicBezTo>
                  <a:cubicBezTo>
                    <a:pt x="75" y="1"/>
                    <a:pt x="75" y="1"/>
                    <a:pt x="75" y="1"/>
                  </a:cubicBezTo>
                  <a:cubicBezTo>
                    <a:pt x="74" y="0"/>
                    <a:pt x="74" y="0"/>
                    <a:pt x="74" y="0"/>
                  </a:cubicBezTo>
                  <a:cubicBezTo>
                    <a:pt x="73" y="0"/>
                    <a:pt x="73" y="0"/>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530"/>
            <p:cNvSpPr/>
            <p:nvPr/>
          </p:nvSpPr>
          <p:spPr bwMode="auto">
            <a:xfrm>
              <a:off x="5803892" y="5003143"/>
              <a:ext cx="130283" cy="174606"/>
            </a:xfrm>
            <a:custGeom>
              <a:gdLst>
                <a:gd name="T0" fmla="*/ 18 w 41"/>
                <a:gd name="T1" fmla="*/ 0 h 55"/>
                <a:gd name="T2" fmla="*/ 16 w 41"/>
                <a:gd name="T3" fmla="*/ 0 h 55"/>
                <a:gd name="T4" fmla="*/ 16 w 41"/>
                <a:gd name="T5" fmla="*/ 0 h 55"/>
                <a:gd name="T6" fmla="*/ 16 w 41"/>
                <a:gd name="T7" fmla="*/ 1 h 55"/>
                <a:gd name="T8" fmla="*/ 6 w 41"/>
                <a:gd name="T9" fmla="*/ 10 h 55"/>
                <a:gd name="T10" fmla="*/ 0 w 41"/>
                <a:gd name="T11" fmla="*/ 12 h 55"/>
                <a:gd name="T12" fmla="*/ 3 w 41"/>
                <a:gd name="T13" fmla="*/ 16 h 55"/>
                <a:gd name="T14" fmla="*/ 15 w 41"/>
                <a:gd name="T15" fmla="*/ 23 h 55"/>
                <a:gd name="T16" fmla="*/ 14 w 41"/>
                <a:gd name="T17" fmla="*/ 22 h 55"/>
                <a:gd name="T18" fmla="*/ 9 w 41"/>
                <a:gd name="T19" fmla="*/ 25 h 55"/>
                <a:gd name="T20" fmla="*/ 8 w 41"/>
                <a:gd name="T21" fmla="*/ 40 h 55"/>
                <a:gd name="T22" fmla="*/ 10 w 41"/>
                <a:gd name="T23" fmla="*/ 52 h 55"/>
                <a:gd name="T24" fmla="*/ 11 w 41"/>
                <a:gd name="T25" fmla="*/ 52 h 55"/>
                <a:gd name="T26" fmla="*/ 5 w 41"/>
                <a:gd name="T27" fmla="*/ 55 h 55"/>
                <a:gd name="T28" fmla="*/ 17 w 41"/>
                <a:gd name="T29" fmla="*/ 52 h 55"/>
                <a:gd name="T30" fmla="*/ 22 w 41"/>
                <a:gd name="T31" fmla="*/ 47 h 55"/>
                <a:gd name="T32" fmla="*/ 36 w 41"/>
                <a:gd name="T33" fmla="*/ 37 h 55"/>
                <a:gd name="T34" fmla="*/ 39 w 41"/>
                <a:gd name="T35" fmla="*/ 32 h 55"/>
                <a:gd name="T36" fmla="*/ 34 w 41"/>
                <a:gd name="T37" fmla="*/ 22 h 55"/>
                <a:gd name="T38" fmla="*/ 32 w 41"/>
                <a:gd name="T39" fmla="*/ 19 h 55"/>
                <a:gd name="T40" fmla="*/ 32 w 41"/>
                <a:gd name="T41" fmla="*/ 19 h 55"/>
                <a:gd name="T42" fmla="*/ 28 w 41"/>
                <a:gd name="T43" fmla="*/ 15 h 55"/>
                <a:gd name="T44" fmla="*/ 28 w 41"/>
                <a:gd name="T45" fmla="*/ 15 h 55"/>
                <a:gd name="T46" fmla="*/ 22 w 41"/>
                <a:gd name="T47" fmla="*/ 10 h 55"/>
                <a:gd name="T48" fmla="*/ 18 w 41"/>
                <a:gd name="T49" fmla="*/ 6 h 55"/>
                <a:gd name="T50" fmla="*/ 20 w 41"/>
                <a:gd name="T51" fmla="*/ 6 h 55"/>
                <a:gd name="T52" fmla="*/ 20 w 41"/>
                <a:gd name="T53" fmla="*/ 6 h 55"/>
                <a:gd name="T54" fmla="*/ 18 w 41"/>
                <a:gd name="T55" fmla="*/ 0 h 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55">
                  <a:moveTo>
                    <a:pt x="18" y="0"/>
                  </a:moveTo>
                  <a:cubicBezTo>
                    <a:pt x="18" y="0"/>
                    <a:pt x="17" y="0"/>
                    <a:pt x="16" y="0"/>
                  </a:cubicBezTo>
                  <a:cubicBezTo>
                    <a:pt x="16" y="0"/>
                    <a:pt x="16" y="0"/>
                    <a:pt x="16" y="0"/>
                  </a:cubicBezTo>
                  <a:cubicBezTo>
                    <a:pt x="16" y="1"/>
                    <a:pt x="16" y="1"/>
                    <a:pt x="16" y="1"/>
                  </a:cubicBezTo>
                  <a:cubicBezTo>
                    <a:pt x="16" y="5"/>
                    <a:pt x="11" y="9"/>
                    <a:pt x="6" y="10"/>
                  </a:cubicBezTo>
                  <a:cubicBezTo>
                    <a:pt x="3" y="10"/>
                    <a:pt x="1" y="12"/>
                    <a:pt x="0" y="12"/>
                  </a:cubicBezTo>
                  <a:cubicBezTo>
                    <a:pt x="1" y="14"/>
                    <a:pt x="2" y="16"/>
                    <a:pt x="3" y="16"/>
                  </a:cubicBezTo>
                  <a:cubicBezTo>
                    <a:pt x="6" y="18"/>
                    <a:pt x="15" y="18"/>
                    <a:pt x="15" y="23"/>
                  </a:cubicBezTo>
                  <a:cubicBezTo>
                    <a:pt x="15" y="22"/>
                    <a:pt x="14" y="22"/>
                    <a:pt x="14" y="22"/>
                  </a:cubicBezTo>
                  <a:cubicBezTo>
                    <a:pt x="12" y="22"/>
                    <a:pt x="10" y="24"/>
                    <a:pt x="9" y="25"/>
                  </a:cubicBezTo>
                  <a:cubicBezTo>
                    <a:pt x="7" y="29"/>
                    <a:pt x="8" y="36"/>
                    <a:pt x="8" y="40"/>
                  </a:cubicBezTo>
                  <a:cubicBezTo>
                    <a:pt x="7" y="43"/>
                    <a:pt x="6" y="52"/>
                    <a:pt x="10" y="52"/>
                  </a:cubicBezTo>
                  <a:cubicBezTo>
                    <a:pt x="10" y="52"/>
                    <a:pt x="11" y="52"/>
                    <a:pt x="11" y="52"/>
                  </a:cubicBezTo>
                  <a:cubicBezTo>
                    <a:pt x="9" y="53"/>
                    <a:pt x="8" y="54"/>
                    <a:pt x="5" y="55"/>
                  </a:cubicBezTo>
                  <a:cubicBezTo>
                    <a:pt x="11" y="54"/>
                    <a:pt x="13" y="55"/>
                    <a:pt x="17" y="52"/>
                  </a:cubicBezTo>
                  <a:cubicBezTo>
                    <a:pt x="20" y="50"/>
                    <a:pt x="20" y="50"/>
                    <a:pt x="22" y="47"/>
                  </a:cubicBezTo>
                  <a:cubicBezTo>
                    <a:pt x="24" y="41"/>
                    <a:pt x="31" y="40"/>
                    <a:pt x="36" y="37"/>
                  </a:cubicBezTo>
                  <a:cubicBezTo>
                    <a:pt x="40" y="35"/>
                    <a:pt x="41" y="36"/>
                    <a:pt x="39" y="32"/>
                  </a:cubicBezTo>
                  <a:cubicBezTo>
                    <a:pt x="38" y="29"/>
                    <a:pt x="36" y="25"/>
                    <a:pt x="34" y="22"/>
                  </a:cubicBezTo>
                  <a:cubicBezTo>
                    <a:pt x="34" y="21"/>
                    <a:pt x="33" y="20"/>
                    <a:pt x="32" y="19"/>
                  </a:cubicBezTo>
                  <a:cubicBezTo>
                    <a:pt x="32" y="19"/>
                    <a:pt x="32" y="19"/>
                    <a:pt x="32" y="19"/>
                  </a:cubicBezTo>
                  <a:cubicBezTo>
                    <a:pt x="31" y="18"/>
                    <a:pt x="29" y="17"/>
                    <a:pt x="28" y="15"/>
                  </a:cubicBezTo>
                  <a:cubicBezTo>
                    <a:pt x="28" y="15"/>
                    <a:pt x="28" y="15"/>
                    <a:pt x="28" y="15"/>
                  </a:cubicBezTo>
                  <a:cubicBezTo>
                    <a:pt x="26" y="13"/>
                    <a:pt x="23" y="12"/>
                    <a:pt x="22" y="10"/>
                  </a:cubicBezTo>
                  <a:cubicBezTo>
                    <a:pt x="21" y="8"/>
                    <a:pt x="19" y="7"/>
                    <a:pt x="18" y="6"/>
                  </a:cubicBezTo>
                  <a:cubicBezTo>
                    <a:pt x="19" y="6"/>
                    <a:pt x="19" y="6"/>
                    <a:pt x="20" y="6"/>
                  </a:cubicBezTo>
                  <a:cubicBezTo>
                    <a:pt x="20" y="6"/>
                    <a:pt x="20" y="6"/>
                    <a:pt x="20" y="6"/>
                  </a:cubicBezTo>
                  <a:cubicBezTo>
                    <a:pt x="22" y="6"/>
                    <a:pt x="20" y="3"/>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531"/>
            <p:cNvSpPr/>
            <p:nvPr/>
          </p:nvSpPr>
          <p:spPr bwMode="auto">
            <a:xfrm>
              <a:off x="5676295" y="4927928"/>
              <a:ext cx="4029" cy="9402"/>
            </a:xfrm>
            <a:custGeom>
              <a:gdLst>
                <a:gd name="T0" fmla="*/ 0 w 1"/>
                <a:gd name="T1" fmla="*/ 0 h 3"/>
                <a:gd name="T2" fmla="*/ 0 w 1"/>
                <a:gd name="T3" fmla="*/ 0 h 3"/>
                <a:gd name="T4" fmla="*/ 0 w 1"/>
                <a:gd name="T5" fmla="*/ 0 h 3"/>
                <a:gd name="T6" fmla="*/ 1 w 1"/>
                <a:gd name="T7" fmla="*/ 3 h 3"/>
                <a:gd name="T8" fmla="*/ 0 w 1"/>
                <a:gd name="T9" fmla="*/ 0 h 3"/>
              </a:gd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0" y="0"/>
                    <a:pt x="0" y="0"/>
                    <a:pt x="0" y="0"/>
                  </a:cubicBezTo>
                  <a:cubicBezTo>
                    <a:pt x="0" y="2"/>
                    <a:pt x="0" y="3"/>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532"/>
            <p:cNvSpPr>
              <a:spLocks noEditPoints="1"/>
            </p:cNvSpPr>
            <p:nvPr/>
          </p:nvSpPr>
          <p:spPr bwMode="auto">
            <a:xfrm>
              <a:off x="5641374" y="4714371"/>
              <a:ext cx="397565" cy="314291"/>
            </a:xfrm>
            <a:custGeom>
              <a:gdLst>
                <a:gd name="T0" fmla="*/ 14 w 125"/>
                <a:gd name="T1" fmla="*/ 72 h 99"/>
                <a:gd name="T2" fmla="*/ 96 w 125"/>
                <a:gd name="T3" fmla="*/ 2 h 99"/>
                <a:gd name="T4" fmla="*/ 95 w 125"/>
                <a:gd name="T5" fmla="*/ 10 h 99"/>
                <a:gd name="T6" fmla="*/ 89 w 125"/>
                <a:gd name="T7" fmla="*/ 19 h 99"/>
                <a:gd name="T8" fmla="*/ 86 w 125"/>
                <a:gd name="T9" fmla="*/ 16 h 99"/>
                <a:gd name="T10" fmla="*/ 83 w 125"/>
                <a:gd name="T11" fmla="*/ 14 h 99"/>
                <a:gd name="T12" fmla="*/ 80 w 125"/>
                <a:gd name="T13" fmla="*/ 11 h 99"/>
                <a:gd name="T14" fmla="*/ 78 w 125"/>
                <a:gd name="T15" fmla="*/ 11 h 99"/>
                <a:gd name="T16" fmla="*/ 74 w 125"/>
                <a:gd name="T17" fmla="*/ 12 h 99"/>
                <a:gd name="T18" fmla="*/ 68 w 125"/>
                <a:gd name="T19" fmla="*/ 7 h 99"/>
                <a:gd name="T20" fmla="*/ 61 w 125"/>
                <a:gd name="T21" fmla="*/ 5 h 99"/>
                <a:gd name="T22" fmla="*/ 60 w 125"/>
                <a:gd name="T23" fmla="*/ 4 h 99"/>
                <a:gd name="T24" fmla="*/ 52 w 125"/>
                <a:gd name="T25" fmla="*/ 5 h 99"/>
                <a:gd name="T26" fmla="*/ 38 w 125"/>
                <a:gd name="T27" fmla="*/ 5 h 99"/>
                <a:gd name="T28" fmla="*/ 26 w 125"/>
                <a:gd name="T29" fmla="*/ 4 h 99"/>
                <a:gd name="T30" fmla="*/ 14 w 125"/>
                <a:gd name="T31" fmla="*/ 9 h 99"/>
                <a:gd name="T32" fmla="*/ 2 w 125"/>
                <a:gd name="T33" fmla="*/ 24 h 99"/>
                <a:gd name="T34" fmla="*/ 3 w 125"/>
                <a:gd name="T35" fmla="*/ 33 h 99"/>
                <a:gd name="T36" fmla="*/ 5 w 125"/>
                <a:gd name="T37" fmla="*/ 43 h 99"/>
                <a:gd name="T38" fmla="*/ 10 w 125"/>
                <a:gd name="T39" fmla="*/ 48 h 99"/>
                <a:gd name="T40" fmla="*/ 11 w 125"/>
                <a:gd name="T41" fmla="*/ 51 h 99"/>
                <a:gd name="T42" fmla="*/ 13 w 125"/>
                <a:gd name="T43" fmla="*/ 65 h 99"/>
                <a:gd name="T44" fmla="*/ 14 w 125"/>
                <a:gd name="T45" fmla="*/ 72 h 99"/>
                <a:gd name="T46" fmla="*/ 18 w 125"/>
                <a:gd name="T47" fmla="*/ 89 h 99"/>
                <a:gd name="T48" fmla="*/ 27 w 125"/>
                <a:gd name="T49" fmla="*/ 82 h 99"/>
                <a:gd name="T50" fmla="*/ 28 w 125"/>
                <a:gd name="T51" fmla="*/ 97 h 99"/>
                <a:gd name="T52" fmla="*/ 47 w 125"/>
                <a:gd name="T53" fmla="*/ 99 h 99"/>
                <a:gd name="T54" fmla="*/ 61 w 125"/>
                <a:gd name="T55" fmla="*/ 92 h 99"/>
                <a:gd name="T56" fmla="*/ 65 w 125"/>
                <a:gd name="T57" fmla="*/ 85 h 99"/>
                <a:gd name="T58" fmla="*/ 73 w 125"/>
                <a:gd name="T59" fmla="*/ 84 h 99"/>
                <a:gd name="T60" fmla="*/ 81 w 125"/>
                <a:gd name="T61" fmla="*/ 83 h 99"/>
                <a:gd name="T62" fmla="*/ 81 w 125"/>
                <a:gd name="T63" fmla="*/ 74 h 99"/>
                <a:gd name="T64" fmla="*/ 86 w 125"/>
                <a:gd name="T65" fmla="*/ 65 h 99"/>
                <a:gd name="T66" fmla="*/ 95 w 125"/>
                <a:gd name="T67" fmla="*/ 65 h 99"/>
                <a:gd name="T68" fmla="*/ 109 w 125"/>
                <a:gd name="T69" fmla="*/ 56 h 99"/>
                <a:gd name="T70" fmla="*/ 115 w 125"/>
                <a:gd name="T71" fmla="*/ 52 h 99"/>
                <a:gd name="T72" fmla="*/ 122 w 125"/>
                <a:gd name="T73" fmla="*/ 51 h 99"/>
                <a:gd name="T74" fmla="*/ 124 w 125"/>
                <a:gd name="T75" fmla="*/ 50 h 99"/>
                <a:gd name="T76" fmla="*/ 124 w 125"/>
                <a:gd name="T77" fmla="*/ 48 h 99"/>
                <a:gd name="T78" fmla="*/ 123 w 125"/>
                <a:gd name="T79" fmla="*/ 34 h 99"/>
                <a:gd name="T80" fmla="*/ 123 w 125"/>
                <a:gd name="T81" fmla="*/ 22 h 99"/>
                <a:gd name="T82" fmla="*/ 121 w 125"/>
                <a:gd name="T83" fmla="*/ 14 h 99"/>
                <a:gd name="T84" fmla="*/ 119 w 125"/>
                <a:gd name="T85" fmla="*/ 3 h 99"/>
                <a:gd name="T86" fmla="*/ 115 w 125"/>
                <a:gd name="T87" fmla="*/ 4 h 99"/>
                <a:gd name="T88" fmla="*/ 108 w 125"/>
                <a:gd name="T89" fmla="*/ 4 h 99"/>
                <a:gd name="T90" fmla="*/ 100 w 125"/>
                <a:gd name="T91" fmla="*/ 0 h 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 h="99">
                  <a:moveTo>
                    <a:pt x="14" y="72"/>
                  </a:moveTo>
                  <a:cubicBezTo>
                    <a:pt x="14" y="72"/>
                    <a:pt x="14" y="73"/>
                    <a:pt x="14" y="73"/>
                  </a:cubicBezTo>
                  <a:cubicBezTo>
                    <a:pt x="14" y="73"/>
                    <a:pt x="14" y="72"/>
                    <a:pt x="14" y="72"/>
                  </a:cubicBezTo>
                  <a:moveTo>
                    <a:pt x="100" y="0"/>
                  </a:moveTo>
                  <a:cubicBezTo>
                    <a:pt x="98" y="0"/>
                    <a:pt x="97" y="1"/>
                    <a:pt x="96" y="2"/>
                  </a:cubicBezTo>
                  <a:cubicBezTo>
                    <a:pt x="96" y="2"/>
                    <a:pt x="96" y="2"/>
                    <a:pt x="96" y="2"/>
                  </a:cubicBezTo>
                  <a:cubicBezTo>
                    <a:pt x="95" y="3"/>
                    <a:pt x="94" y="3"/>
                    <a:pt x="94" y="4"/>
                  </a:cubicBezTo>
                  <a:cubicBezTo>
                    <a:pt x="93" y="4"/>
                    <a:pt x="93" y="4"/>
                    <a:pt x="93" y="4"/>
                  </a:cubicBezTo>
                  <a:cubicBezTo>
                    <a:pt x="94" y="6"/>
                    <a:pt x="95" y="8"/>
                    <a:pt x="95" y="10"/>
                  </a:cubicBezTo>
                  <a:cubicBezTo>
                    <a:pt x="95" y="11"/>
                    <a:pt x="95" y="12"/>
                    <a:pt x="94" y="13"/>
                  </a:cubicBezTo>
                  <a:cubicBezTo>
                    <a:pt x="93" y="15"/>
                    <a:pt x="91" y="16"/>
                    <a:pt x="89" y="16"/>
                  </a:cubicBezTo>
                  <a:cubicBezTo>
                    <a:pt x="89" y="19"/>
                    <a:pt x="89" y="19"/>
                    <a:pt x="89" y="19"/>
                  </a:cubicBezTo>
                  <a:cubicBezTo>
                    <a:pt x="88" y="16"/>
                    <a:pt x="88" y="16"/>
                    <a:pt x="88" y="16"/>
                  </a:cubicBezTo>
                  <a:cubicBezTo>
                    <a:pt x="87" y="16"/>
                    <a:pt x="87" y="16"/>
                    <a:pt x="86" y="16"/>
                  </a:cubicBezTo>
                  <a:cubicBezTo>
                    <a:pt x="86" y="16"/>
                    <a:pt x="86" y="16"/>
                    <a:pt x="86" y="16"/>
                  </a:cubicBezTo>
                  <a:cubicBezTo>
                    <a:pt x="85" y="16"/>
                    <a:pt x="85" y="15"/>
                    <a:pt x="85" y="15"/>
                  </a:cubicBezTo>
                  <a:cubicBezTo>
                    <a:pt x="84" y="15"/>
                    <a:pt x="84" y="15"/>
                    <a:pt x="84" y="15"/>
                  </a:cubicBezTo>
                  <a:cubicBezTo>
                    <a:pt x="84" y="15"/>
                    <a:pt x="83" y="15"/>
                    <a:pt x="83" y="14"/>
                  </a:cubicBezTo>
                  <a:cubicBezTo>
                    <a:pt x="82" y="14"/>
                    <a:pt x="82" y="13"/>
                    <a:pt x="81" y="13"/>
                  </a:cubicBezTo>
                  <a:cubicBezTo>
                    <a:pt x="80" y="12"/>
                    <a:pt x="80" y="12"/>
                    <a:pt x="80" y="12"/>
                  </a:cubicBezTo>
                  <a:cubicBezTo>
                    <a:pt x="80" y="11"/>
                    <a:pt x="80" y="11"/>
                    <a:pt x="80" y="11"/>
                  </a:cubicBezTo>
                  <a:cubicBezTo>
                    <a:pt x="80" y="11"/>
                    <a:pt x="80" y="11"/>
                    <a:pt x="80" y="11"/>
                  </a:cubicBezTo>
                  <a:cubicBezTo>
                    <a:pt x="79" y="11"/>
                    <a:pt x="79" y="11"/>
                    <a:pt x="79" y="11"/>
                  </a:cubicBezTo>
                  <a:cubicBezTo>
                    <a:pt x="79" y="11"/>
                    <a:pt x="78" y="11"/>
                    <a:pt x="78" y="11"/>
                  </a:cubicBezTo>
                  <a:cubicBezTo>
                    <a:pt x="77" y="11"/>
                    <a:pt x="77" y="11"/>
                    <a:pt x="77" y="11"/>
                  </a:cubicBezTo>
                  <a:cubicBezTo>
                    <a:pt x="77" y="12"/>
                    <a:pt x="76" y="12"/>
                    <a:pt x="75" y="12"/>
                  </a:cubicBezTo>
                  <a:cubicBezTo>
                    <a:pt x="74" y="12"/>
                    <a:pt x="74" y="12"/>
                    <a:pt x="74" y="12"/>
                  </a:cubicBezTo>
                  <a:cubicBezTo>
                    <a:pt x="74" y="12"/>
                    <a:pt x="73" y="11"/>
                    <a:pt x="73" y="11"/>
                  </a:cubicBezTo>
                  <a:cubicBezTo>
                    <a:pt x="73" y="11"/>
                    <a:pt x="71" y="11"/>
                    <a:pt x="70" y="10"/>
                  </a:cubicBezTo>
                  <a:cubicBezTo>
                    <a:pt x="70" y="9"/>
                    <a:pt x="69" y="8"/>
                    <a:pt x="68" y="7"/>
                  </a:cubicBezTo>
                  <a:cubicBezTo>
                    <a:pt x="68" y="8"/>
                    <a:pt x="67" y="8"/>
                    <a:pt x="66" y="8"/>
                  </a:cubicBezTo>
                  <a:cubicBezTo>
                    <a:pt x="64" y="8"/>
                    <a:pt x="63" y="7"/>
                    <a:pt x="62" y="7"/>
                  </a:cubicBezTo>
                  <a:cubicBezTo>
                    <a:pt x="62" y="6"/>
                    <a:pt x="61" y="6"/>
                    <a:pt x="61" y="5"/>
                  </a:cubicBezTo>
                  <a:cubicBezTo>
                    <a:pt x="61" y="4"/>
                    <a:pt x="61" y="4"/>
                    <a:pt x="61" y="4"/>
                  </a:cubicBezTo>
                  <a:cubicBezTo>
                    <a:pt x="61" y="4"/>
                    <a:pt x="61" y="4"/>
                    <a:pt x="61" y="4"/>
                  </a:cubicBezTo>
                  <a:cubicBezTo>
                    <a:pt x="60" y="4"/>
                    <a:pt x="60" y="4"/>
                    <a:pt x="60" y="4"/>
                  </a:cubicBezTo>
                  <a:cubicBezTo>
                    <a:pt x="60" y="4"/>
                    <a:pt x="60" y="4"/>
                    <a:pt x="60" y="4"/>
                  </a:cubicBezTo>
                  <a:cubicBezTo>
                    <a:pt x="58" y="4"/>
                    <a:pt x="56" y="4"/>
                    <a:pt x="54" y="4"/>
                  </a:cubicBezTo>
                  <a:cubicBezTo>
                    <a:pt x="54" y="4"/>
                    <a:pt x="53" y="5"/>
                    <a:pt x="52" y="5"/>
                  </a:cubicBezTo>
                  <a:cubicBezTo>
                    <a:pt x="50" y="5"/>
                    <a:pt x="47" y="5"/>
                    <a:pt x="45" y="5"/>
                  </a:cubicBezTo>
                  <a:cubicBezTo>
                    <a:pt x="44" y="5"/>
                    <a:pt x="44" y="5"/>
                    <a:pt x="43" y="5"/>
                  </a:cubicBezTo>
                  <a:cubicBezTo>
                    <a:pt x="42" y="5"/>
                    <a:pt x="40" y="5"/>
                    <a:pt x="38" y="5"/>
                  </a:cubicBezTo>
                  <a:cubicBezTo>
                    <a:pt x="37" y="5"/>
                    <a:pt x="37" y="5"/>
                    <a:pt x="37" y="5"/>
                  </a:cubicBezTo>
                  <a:cubicBezTo>
                    <a:pt x="34" y="5"/>
                    <a:pt x="31" y="4"/>
                    <a:pt x="28" y="4"/>
                  </a:cubicBezTo>
                  <a:cubicBezTo>
                    <a:pt x="28" y="4"/>
                    <a:pt x="27" y="4"/>
                    <a:pt x="26" y="4"/>
                  </a:cubicBezTo>
                  <a:cubicBezTo>
                    <a:pt x="26" y="4"/>
                    <a:pt x="25" y="4"/>
                    <a:pt x="24" y="5"/>
                  </a:cubicBezTo>
                  <a:cubicBezTo>
                    <a:pt x="20" y="5"/>
                    <a:pt x="17" y="6"/>
                    <a:pt x="16" y="8"/>
                  </a:cubicBezTo>
                  <a:cubicBezTo>
                    <a:pt x="15" y="9"/>
                    <a:pt x="15" y="9"/>
                    <a:pt x="14" y="9"/>
                  </a:cubicBezTo>
                  <a:cubicBezTo>
                    <a:pt x="14" y="10"/>
                    <a:pt x="13" y="11"/>
                    <a:pt x="12" y="13"/>
                  </a:cubicBezTo>
                  <a:cubicBezTo>
                    <a:pt x="10" y="17"/>
                    <a:pt x="7" y="20"/>
                    <a:pt x="4" y="23"/>
                  </a:cubicBezTo>
                  <a:cubicBezTo>
                    <a:pt x="3" y="24"/>
                    <a:pt x="3" y="24"/>
                    <a:pt x="2" y="24"/>
                  </a:cubicBezTo>
                  <a:cubicBezTo>
                    <a:pt x="1" y="26"/>
                    <a:pt x="1" y="26"/>
                    <a:pt x="1" y="26"/>
                  </a:cubicBezTo>
                  <a:cubicBezTo>
                    <a:pt x="0" y="26"/>
                    <a:pt x="1" y="28"/>
                    <a:pt x="3" y="32"/>
                  </a:cubicBezTo>
                  <a:cubicBezTo>
                    <a:pt x="3" y="33"/>
                    <a:pt x="3" y="33"/>
                    <a:pt x="3" y="33"/>
                  </a:cubicBezTo>
                  <a:cubicBezTo>
                    <a:pt x="4" y="35"/>
                    <a:pt x="5" y="37"/>
                    <a:pt x="5" y="39"/>
                  </a:cubicBezTo>
                  <a:cubicBezTo>
                    <a:pt x="5" y="40"/>
                    <a:pt x="5" y="40"/>
                    <a:pt x="5" y="40"/>
                  </a:cubicBezTo>
                  <a:cubicBezTo>
                    <a:pt x="5" y="41"/>
                    <a:pt x="5" y="43"/>
                    <a:pt x="5" y="43"/>
                  </a:cubicBezTo>
                  <a:cubicBezTo>
                    <a:pt x="5" y="43"/>
                    <a:pt x="5" y="43"/>
                    <a:pt x="5" y="43"/>
                  </a:cubicBezTo>
                  <a:cubicBezTo>
                    <a:pt x="7" y="45"/>
                    <a:pt x="7" y="45"/>
                    <a:pt x="7" y="45"/>
                  </a:cubicBezTo>
                  <a:cubicBezTo>
                    <a:pt x="9" y="46"/>
                    <a:pt x="10" y="47"/>
                    <a:pt x="10" y="48"/>
                  </a:cubicBezTo>
                  <a:cubicBezTo>
                    <a:pt x="11" y="49"/>
                    <a:pt x="11" y="49"/>
                    <a:pt x="11" y="49"/>
                  </a:cubicBezTo>
                  <a:cubicBezTo>
                    <a:pt x="11" y="49"/>
                    <a:pt x="11" y="50"/>
                    <a:pt x="11" y="50"/>
                  </a:cubicBezTo>
                  <a:cubicBezTo>
                    <a:pt x="11" y="51"/>
                    <a:pt x="11" y="51"/>
                    <a:pt x="11" y="51"/>
                  </a:cubicBezTo>
                  <a:cubicBezTo>
                    <a:pt x="11" y="51"/>
                    <a:pt x="11" y="51"/>
                    <a:pt x="12" y="52"/>
                  </a:cubicBezTo>
                  <a:cubicBezTo>
                    <a:pt x="12" y="52"/>
                    <a:pt x="12" y="53"/>
                    <a:pt x="12" y="54"/>
                  </a:cubicBezTo>
                  <a:cubicBezTo>
                    <a:pt x="12" y="57"/>
                    <a:pt x="12" y="62"/>
                    <a:pt x="13" y="65"/>
                  </a:cubicBezTo>
                  <a:cubicBezTo>
                    <a:pt x="13" y="67"/>
                    <a:pt x="13" y="67"/>
                    <a:pt x="13" y="67"/>
                  </a:cubicBezTo>
                  <a:cubicBezTo>
                    <a:pt x="13" y="67"/>
                    <a:pt x="13" y="67"/>
                    <a:pt x="13" y="67"/>
                  </a:cubicBezTo>
                  <a:cubicBezTo>
                    <a:pt x="14" y="69"/>
                    <a:pt x="15" y="71"/>
                    <a:pt x="14" y="72"/>
                  </a:cubicBezTo>
                  <a:cubicBezTo>
                    <a:pt x="14" y="72"/>
                    <a:pt x="15" y="72"/>
                    <a:pt x="15" y="72"/>
                  </a:cubicBezTo>
                  <a:cubicBezTo>
                    <a:pt x="17" y="72"/>
                    <a:pt x="19" y="78"/>
                    <a:pt x="17" y="79"/>
                  </a:cubicBezTo>
                  <a:cubicBezTo>
                    <a:pt x="14" y="81"/>
                    <a:pt x="17" y="86"/>
                    <a:pt x="18" y="89"/>
                  </a:cubicBezTo>
                  <a:cubicBezTo>
                    <a:pt x="18" y="89"/>
                    <a:pt x="19" y="89"/>
                    <a:pt x="19" y="89"/>
                  </a:cubicBezTo>
                  <a:cubicBezTo>
                    <a:pt x="21" y="89"/>
                    <a:pt x="24" y="89"/>
                    <a:pt x="24" y="88"/>
                  </a:cubicBezTo>
                  <a:cubicBezTo>
                    <a:pt x="25" y="87"/>
                    <a:pt x="27" y="84"/>
                    <a:pt x="27" y="82"/>
                  </a:cubicBezTo>
                  <a:cubicBezTo>
                    <a:pt x="28" y="85"/>
                    <a:pt x="29" y="89"/>
                    <a:pt x="30" y="92"/>
                  </a:cubicBezTo>
                  <a:cubicBezTo>
                    <a:pt x="31" y="93"/>
                    <a:pt x="29" y="93"/>
                    <a:pt x="28" y="93"/>
                  </a:cubicBezTo>
                  <a:cubicBezTo>
                    <a:pt x="27" y="94"/>
                    <a:pt x="28" y="96"/>
                    <a:pt x="28" y="97"/>
                  </a:cubicBezTo>
                  <a:cubicBezTo>
                    <a:pt x="31" y="97"/>
                    <a:pt x="33" y="96"/>
                    <a:pt x="36" y="96"/>
                  </a:cubicBezTo>
                  <a:cubicBezTo>
                    <a:pt x="40" y="96"/>
                    <a:pt x="43" y="97"/>
                    <a:pt x="47" y="99"/>
                  </a:cubicBezTo>
                  <a:cubicBezTo>
                    <a:pt x="47" y="99"/>
                    <a:pt x="47" y="99"/>
                    <a:pt x="47" y="99"/>
                  </a:cubicBezTo>
                  <a:cubicBezTo>
                    <a:pt x="48" y="98"/>
                    <a:pt x="48" y="98"/>
                    <a:pt x="48" y="98"/>
                  </a:cubicBezTo>
                  <a:cubicBezTo>
                    <a:pt x="49" y="97"/>
                    <a:pt x="52" y="96"/>
                    <a:pt x="55" y="95"/>
                  </a:cubicBezTo>
                  <a:cubicBezTo>
                    <a:pt x="58" y="94"/>
                    <a:pt x="60" y="92"/>
                    <a:pt x="61" y="92"/>
                  </a:cubicBezTo>
                  <a:cubicBezTo>
                    <a:pt x="60" y="90"/>
                    <a:pt x="61" y="87"/>
                    <a:pt x="62" y="86"/>
                  </a:cubicBezTo>
                  <a:cubicBezTo>
                    <a:pt x="63" y="86"/>
                    <a:pt x="63" y="85"/>
                    <a:pt x="64" y="85"/>
                  </a:cubicBezTo>
                  <a:cubicBezTo>
                    <a:pt x="65" y="85"/>
                    <a:pt x="65" y="85"/>
                    <a:pt x="65" y="85"/>
                  </a:cubicBezTo>
                  <a:cubicBezTo>
                    <a:pt x="66" y="85"/>
                    <a:pt x="66" y="85"/>
                    <a:pt x="67" y="85"/>
                  </a:cubicBezTo>
                  <a:cubicBezTo>
                    <a:pt x="67" y="85"/>
                    <a:pt x="67" y="85"/>
                    <a:pt x="68" y="85"/>
                  </a:cubicBezTo>
                  <a:cubicBezTo>
                    <a:pt x="70" y="85"/>
                    <a:pt x="72" y="85"/>
                    <a:pt x="73" y="84"/>
                  </a:cubicBezTo>
                  <a:cubicBezTo>
                    <a:pt x="74" y="84"/>
                    <a:pt x="74" y="84"/>
                    <a:pt x="74" y="84"/>
                  </a:cubicBezTo>
                  <a:cubicBezTo>
                    <a:pt x="76" y="84"/>
                    <a:pt x="81" y="83"/>
                    <a:pt x="81" y="83"/>
                  </a:cubicBezTo>
                  <a:cubicBezTo>
                    <a:pt x="81" y="83"/>
                    <a:pt x="81" y="83"/>
                    <a:pt x="81" y="83"/>
                  </a:cubicBezTo>
                  <a:cubicBezTo>
                    <a:pt x="82" y="83"/>
                    <a:pt x="84" y="84"/>
                    <a:pt x="85" y="84"/>
                  </a:cubicBezTo>
                  <a:cubicBezTo>
                    <a:pt x="85" y="84"/>
                    <a:pt x="84" y="83"/>
                    <a:pt x="84" y="83"/>
                  </a:cubicBezTo>
                  <a:cubicBezTo>
                    <a:pt x="81" y="80"/>
                    <a:pt x="81" y="77"/>
                    <a:pt x="81" y="74"/>
                  </a:cubicBezTo>
                  <a:cubicBezTo>
                    <a:pt x="81" y="74"/>
                    <a:pt x="81" y="74"/>
                    <a:pt x="81" y="74"/>
                  </a:cubicBezTo>
                  <a:cubicBezTo>
                    <a:pt x="80" y="73"/>
                    <a:pt x="80" y="73"/>
                    <a:pt x="80" y="72"/>
                  </a:cubicBezTo>
                  <a:cubicBezTo>
                    <a:pt x="80" y="69"/>
                    <a:pt x="84" y="66"/>
                    <a:pt x="86" y="65"/>
                  </a:cubicBezTo>
                  <a:cubicBezTo>
                    <a:pt x="87" y="64"/>
                    <a:pt x="88" y="64"/>
                    <a:pt x="88" y="64"/>
                  </a:cubicBezTo>
                  <a:cubicBezTo>
                    <a:pt x="89" y="64"/>
                    <a:pt x="89" y="64"/>
                    <a:pt x="89" y="64"/>
                  </a:cubicBezTo>
                  <a:cubicBezTo>
                    <a:pt x="95" y="65"/>
                    <a:pt x="95" y="65"/>
                    <a:pt x="95" y="65"/>
                  </a:cubicBezTo>
                  <a:cubicBezTo>
                    <a:pt x="95" y="63"/>
                    <a:pt x="95" y="60"/>
                    <a:pt x="98" y="59"/>
                  </a:cubicBezTo>
                  <a:cubicBezTo>
                    <a:pt x="101" y="58"/>
                    <a:pt x="104" y="57"/>
                    <a:pt x="108" y="56"/>
                  </a:cubicBezTo>
                  <a:cubicBezTo>
                    <a:pt x="109" y="56"/>
                    <a:pt x="109" y="56"/>
                    <a:pt x="109" y="56"/>
                  </a:cubicBezTo>
                  <a:cubicBezTo>
                    <a:pt x="110" y="56"/>
                    <a:pt x="111" y="56"/>
                    <a:pt x="111" y="55"/>
                  </a:cubicBezTo>
                  <a:cubicBezTo>
                    <a:pt x="112" y="55"/>
                    <a:pt x="112" y="55"/>
                    <a:pt x="112" y="55"/>
                  </a:cubicBezTo>
                  <a:cubicBezTo>
                    <a:pt x="113" y="54"/>
                    <a:pt x="114" y="53"/>
                    <a:pt x="115" y="52"/>
                  </a:cubicBezTo>
                  <a:cubicBezTo>
                    <a:pt x="116" y="51"/>
                    <a:pt x="116" y="51"/>
                    <a:pt x="116" y="51"/>
                  </a:cubicBezTo>
                  <a:cubicBezTo>
                    <a:pt x="117" y="51"/>
                    <a:pt x="118" y="51"/>
                    <a:pt x="119" y="51"/>
                  </a:cubicBezTo>
                  <a:cubicBezTo>
                    <a:pt x="120" y="51"/>
                    <a:pt x="121" y="51"/>
                    <a:pt x="122" y="51"/>
                  </a:cubicBezTo>
                  <a:cubicBezTo>
                    <a:pt x="122" y="52"/>
                    <a:pt x="123" y="52"/>
                    <a:pt x="123" y="52"/>
                  </a:cubicBezTo>
                  <a:cubicBezTo>
                    <a:pt x="123" y="52"/>
                    <a:pt x="123" y="52"/>
                    <a:pt x="123" y="52"/>
                  </a:cubicBezTo>
                  <a:cubicBezTo>
                    <a:pt x="123" y="52"/>
                    <a:pt x="123" y="52"/>
                    <a:pt x="124" y="50"/>
                  </a:cubicBezTo>
                  <a:cubicBezTo>
                    <a:pt x="124" y="49"/>
                    <a:pt x="124" y="49"/>
                    <a:pt x="124" y="49"/>
                  </a:cubicBezTo>
                  <a:cubicBezTo>
                    <a:pt x="124" y="49"/>
                    <a:pt x="124" y="49"/>
                    <a:pt x="124" y="49"/>
                  </a:cubicBezTo>
                  <a:cubicBezTo>
                    <a:pt x="124" y="48"/>
                    <a:pt x="124" y="48"/>
                    <a:pt x="124" y="48"/>
                  </a:cubicBezTo>
                  <a:cubicBezTo>
                    <a:pt x="124" y="46"/>
                    <a:pt x="123" y="44"/>
                    <a:pt x="123" y="42"/>
                  </a:cubicBezTo>
                  <a:cubicBezTo>
                    <a:pt x="123" y="40"/>
                    <a:pt x="122" y="37"/>
                    <a:pt x="122" y="36"/>
                  </a:cubicBezTo>
                  <a:cubicBezTo>
                    <a:pt x="123" y="34"/>
                    <a:pt x="123" y="34"/>
                    <a:pt x="123" y="34"/>
                  </a:cubicBezTo>
                  <a:cubicBezTo>
                    <a:pt x="124" y="32"/>
                    <a:pt x="124" y="29"/>
                    <a:pt x="124" y="27"/>
                  </a:cubicBezTo>
                  <a:cubicBezTo>
                    <a:pt x="125" y="25"/>
                    <a:pt x="125" y="25"/>
                    <a:pt x="125" y="25"/>
                  </a:cubicBezTo>
                  <a:cubicBezTo>
                    <a:pt x="125" y="25"/>
                    <a:pt x="124" y="23"/>
                    <a:pt x="123" y="22"/>
                  </a:cubicBezTo>
                  <a:cubicBezTo>
                    <a:pt x="123" y="21"/>
                    <a:pt x="122" y="21"/>
                    <a:pt x="122" y="20"/>
                  </a:cubicBezTo>
                  <a:cubicBezTo>
                    <a:pt x="121" y="18"/>
                    <a:pt x="121" y="17"/>
                    <a:pt x="121" y="15"/>
                  </a:cubicBezTo>
                  <a:cubicBezTo>
                    <a:pt x="121" y="14"/>
                    <a:pt x="121" y="14"/>
                    <a:pt x="121" y="14"/>
                  </a:cubicBezTo>
                  <a:cubicBezTo>
                    <a:pt x="121" y="14"/>
                    <a:pt x="121" y="14"/>
                    <a:pt x="121" y="14"/>
                  </a:cubicBezTo>
                  <a:cubicBezTo>
                    <a:pt x="119" y="11"/>
                    <a:pt x="117" y="9"/>
                    <a:pt x="118" y="7"/>
                  </a:cubicBezTo>
                  <a:cubicBezTo>
                    <a:pt x="119" y="3"/>
                    <a:pt x="119" y="3"/>
                    <a:pt x="119" y="3"/>
                  </a:cubicBezTo>
                  <a:cubicBezTo>
                    <a:pt x="120" y="2"/>
                    <a:pt x="120" y="2"/>
                    <a:pt x="120" y="1"/>
                  </a:cubicBezTo>
                  <a:cubicBezTo>
                    <a:pt x="120" y="1"/>
                    <a:pt x="119" y="1"/>
                    <a:pt x="119" y="2"/>
                  </a:cubicBezTo>
                  <a:cubicBezTo>
                    <a:pt x="117" y="3"/>
                    <a:pt x="116" y="3"/>
                    <a:pt x="115" y="4"/>
                  </a:cubicBezTo>
                  <a:cubicBezTo>
                    <a:pt x="114" y="4"/>
                    <a:pt x="114" y="4"/>
                    <a:pt x="114" y="4"/>
                  </a:cubicBezTo>
                  <a:cubicBezTo>
                    <a:pt x="113" y="5"/>
                    <a:pt x="112" y="5"/>
                    <a:pt x="111" y="5"/>
                  </a:cubicBezTo>
                  <a:cubicBezTo>
                    <a:pt x="110" y="5"/>
                    <a:pt x="109" y="5"/>
                    <a:pt x="108" y="4"/>
                  </a:cubicBezTo>
                  <a:cubicBezTo>
                    <a:pt x="101" y="2"/>
                    <a:pt x="101" y="2"/>
                    <a:pt x="101" y="2"/>
                  </a:cubicBezTo>
                  <a:cubicBezTo>
                    <a:pt x="101" y="1"/>
                    <a:pt x="100" y="1"/>
                    <a:pt x="100" y="0"/>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533"/>
            <p:cNvSpPr/>
            <p:nvPr/>
          </p:nvSpPr>
          <p:spPr bwMode="auto">
            <a:xfrm>
              <a:off x="4588363" y="3587489"/>
              <a:ext cx="235047" cy="114166"/>
            </a:xfrm>
            <a:custGeom>
              <a:gdLst>
                <a:gd name="T0" fmla="*/ 27 w 74"/>
                <a:gd name="T1" fmla="*/ 0 h 36"/>
                <a:gd name="T2" fmla="*/ 14 w 74"/>
                <a:gd name="T3" fmla="*/ 8 h 36"/>
                <a:gd name="T4" fmla="*/ 8 w 74"/>
                <a:gd name="T5" fmla="*/ 15 h 36"/>
                <a:gd name="T6" fmla="*/ 2 w 74"/>
                <a:gd name="T7" fmla="*/ 23 h 36"/>
                <a:gd name="T8" fmla="*/ 2 w 74"/>
                <a:gd name="T9" fmla="*/ 26 h 36"/>
                <a:gd name="T10" fmla="*/ 0 w 74"/>
                <a:gd name="T11" fmla="*/ 28 h 36"/>
                <a:gd name="T12" fmla="*/ 2 w 74"/>
                <a:gd name="T13" fmla="*/ 31 h 36"/>
                <a:gd name="T14" fmla="*/ 6 w 74"/>
                <a:gd name="T15" fmla="*/ 33 h 36"/>
                <a:gd name="T16" fmla="*/ 7 w 74"/>
                <a:gd name="T17" fmla="*/ 33 h 36"/>
                <a:gd name="T18" fmla="*/ 9 w 74"/>
                <a:gd name="T19" fmla="*/ 33 h 36"/>
                <a:gd name="T20" fmla="*/ 11 w 74"/>
                <a:gd name="T21" fmla="*/ 33 h 36"/>
                <a:gd name="T22" fmla="*/ 14 w 74"/>
                <a:gd name="T23" fmla="*/ 34 h 36"/>
                <a:gd name="T24" fmla="*/ 18 w 74"/>
                <a:gd name="T25" fmla="*/ 35 h 36"/>
                <a:gd name="T26" fmla="*/ 19 w 74"/>
                <a:gd name="T27" fmla="*/ 36 h 36"/>
                <a:gd name="T28" fmla="*/ 22 w 74"/>
                <a:gd name="T29" fmla="*/ 36 h 36"/>
                <a:gd name="T30" fmla="*/ 28 w 74"/>
                <a:gd name="T31" fmla="*/ 34 h 36"/>
                <a:gd name="T32" fmla="*/ 31 w 74"/>
                <a:gd name="T33" fmla="*/ 33 h 36"/>
                <a:gd name="T34" fmla="*/ 35 w 74"/>
                <a:gd name="T35" fmla="*/ 32 h 36"/>
                <a:gd name="T36" fmla="*/ 40 w 74"/>
                <a:gd name="T37" fmla="*/ 33 h 36"/>
                <a:gd name="T38" fmla="*/ 44 w 74"/>
                <a:gd name="T39" fmla="*/ 34 h 36"/>
                <a:gd name="T40" fmla="*/ 45 w 74"/>
                <a:gd name="T41" fmla="*/ 34 h 36"/>
                <a:gd name="T42" fmla="*/ 48 w 74"/>
                <a:gd name="T43" fmla="*/ 35 h 36"/>
                <a:gd name="T44" fmla="*/ 54 w 74"/>
                <a:gd name="T45" fmla="*/ 34 h 36"/>
                <a:gd name="T46" fmla="*/ 63 w 74"/>
                <a:gd name="T47" fmla="*/ 34 h 36"/>
                <a:gd name="T48" fmla="*/ 65 w 74"/>
                <a:gd name="T49" fmla="*/ 34 h 36"/>
                <a:gd name="T50" fmla="*/ 71 w 74"/>
                <a:gd name="T51" fmla="*/ 33 h 36"/>
                <a:gd name="T52" fmla="*/ 72 w 74"/>
                <a:gd name="T53" fmla="*/ 33 h 36"/>
                <a:gd name="T54" fmla="*/ 73 w 74"/>
                <a:gd name="T55" fmla="*/ 33 h 36"/>
                <a:gd name="T56" fmla="*/ 74 w 74"/>
                <a:gd name="T57" fmla="*/ 33 h 36"/>
                <a:gd name="T58" fmla="*/ 72 w 74"/>
                <a:gd name="T59" fmla="*/ 27 h 36"/>
                <a:gd name="T60" fmla="*/ 72 w 74"/>
                <a:gd name="T61" fmla="*/ 24 h 36"/>
                <a:gd name="T62" fmla="*/ 65 w 74"/>
                <a:gd name="T63" fmla="*/ 21 h 36"/>
                <a:gd name="T64" fmla="*/ 63 w 74"/>
                <a:gd name="T65" fmla="*/ 19 h 36"/>
                <a:gd name="T66" fmla="*/ 62 w 74"/>
                <a:gd name="T67" fmla="*/ 17 h 36"/>
                <a:gd name="T68" fmla="*/ 62 w 74"/>
                <a:gd name="T69" fmla="*/ 14 h 36"/>
                <a:gd name="T70" fmla="*/ 63 w 74"/>
                <a:gd name="T71" fmla="*/ 12 h 36"/>
                <a:gd name="T72" fmla="*/ 63 w 74"/>
                <a:gd name="T73" fmla="*/ 12 h 36"/>
                <a:gd name="T74" fmla="*/ 64 w 74"/>
                <a:gd name="T75" fmla="*/ 11 h 36"/>
                <a:gd name="T76" fmla="*/ 64 w 74"/>
                <a:gd name="T77" fmla="*/ 9 h 36"/>
                <a:gd name="T78" fmla="*/ 61 w 74"/>
                <a:gd name="T79" fmla="*/ 8 h 36"/>
                <a:gd name="T80" fmla="*/ 54 w 74"/>
                <a:gd name="T81" fmla="*/ 7 h 36"/>
                <a:gd name="T82" fmla="*/ 50 w 74"/>
                <a:gd name="T83" fmla="*/ 8 h 36"/>
                <a:gd name="T84" fmla="*/ 46 w 74"/>
                <a:gd name="T85" fmla="*/ 8 h 36"/>
                <a:gd name="T86" fmla="*/ 45 w 74"/>
                <a:gd name="T87" fmla="*/ 7 h 36"/>
                <a:gd name="T88" fmla="*/ 39 w 74"/>
                <a:gd name="T89" fmla="*/ 6 h 36"/>
                <a:gd name="T90" fmla="*/ 37 w 74"/>
                <a:gd name="T91" fmla="*/ 6 h 36"/>
                <a:gd name="T92" fmla="*/ 33 w 74"/>
                <a:gd name="T93" fmla="*/ 1 h 36"/>
                <a:gd name="T94" fmla="*/ 30 w 74"/>
                <a:gd name="T95" fmla="*/ 0 h 36"/>
                <a:gd name="T96" fmla="*/ 28 w 74"/>
                <a:gd name="T97"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4" h="36">
                  <a:moveTo>
                    <a:pt x="28" y="0"/>
                  </a:moveTo>
                  <a:cubicBezTo>
                    <a:pt x="27" y="0"/>
                    <a:pt x="27" y="0"/>
                    <a:pt x="27" y="0"/>
                  </a:cubicBezTo>
                  <a:cubicBezTo>
                    <a:pt x="22" y="2"/>
                    <a:pt x="18" y="3"/>
                    <a:pt x="16" y="6"/>
                  </a:cubicBezTo>
                  <a:cubicBezTo>
                    <a:pt x="15" y="6"/>
                    <a:pt x="14" y="7"/>
                    <a:pt x="14" y="8"/>
                  </a:cubicBezTo>
                  <a:cubicBezTo>
                    <a:pt x="13" y="8"/>
                    <a:pt x="13" y="8"/>
                    <a:pt x="13" y="8"/>
                  </a:cubicBezTo>
                  <a:cubicBezTo>
                    <a:pt x="12" y="10"/>
                    <a:pt x="9" y="13"/>
                    <a:pt x="8" y="15"/>
                  </a:cubicBezTo>
                  <a:cubicBezTo>
                    <a:pt x="7" y="16"/>
                    <a:pt x="6" y="17"/>
                    <a:pt x="5" y="19"/>
                  </a:cubicBezTo>
                  <a:cubicBezTo>
                    <a:pt x="4" y="20"/>
                    <a:pt x="3" y="22"/>
                    <a:pt x="2" y="23"/>
                  </a:cubicBezTo>
                  <a:cubicBezTo>
                    <a:pt x="2" y="25"/>
                    <a:pt x="2" y="25"/>
                    <a:pt x="2" y="25"/>
                  </a:cubicBezTo>
                  <a:cubicBezTo>
                    <a:pt x="2" y="26"/>
                    <a:pt x="2" y="26"/>
                    <a:pt x="2" y="26"/>
                  </a:cubicBezTo>
                  <a:cubicBezTo>
                    <a:pt x="0" y="27"/>
                    <a:pt x="0" y="27"/>
                    <a:pt x="0" y="27"/>
                  </a:cubicBezTo>
                  <a:cubicBezTo>
                    <a:pt x="0" y="28"/>
                    <a:pt x="0" y="28"/>
                    <a:pt x="0" y="28"/>
                  </a:cubicBezTo>
                  <a:cubicBezTo>
                    <a:pt x="1" y="29"/>
                    <a:pt x="1" y="30"/>
                    <a:pt x="2" y="31"/>
                  </a:cubicBezTo>
                  <a:cubicBezTo>
                    <a:pt x="2" y="31"/>
                    <a:pt x="2" y="31"/>
                    <a:pt x="2" y="31"/>
                  </a:cubicBezTo>
                  <a:cubicBezTo>
                    <a:pt x="3" y="31"/>
                    <a:pt x="3" y="32"/>
                    <a:pt x="4" y="32"/>
                  </a:cubicBezTo>
                  <a:cubicBezTo>
                    <a:pt x="4" y="32"/>
                    <a:pt x="5" y="33"/>
                    <a:pt x="6" y="33"/>
                  </a:cubicBezTo>
                  <a:cubicBezTo>
                    <a:pt x="6" y="33"/>
                    <a:pt x="6" y="33"/>
                    <a:pt x="6" y="33"/>
                  </a:cubicBezTo>
                  <a:cubicBezTo>
                    <a:pt x="7" y="33"/>
                    <a:pt x="7" y="33"/>
                    <a:pt x="7" y="33"/>
                  </a:cubicBezTo>
                  <a:cubicBezTo>
                    <a:pt x="8" y="33"/>
                    <a:pt x="8" y="33"/>
                    <a:pt x="8" y="33"/>
                  </a:cubicBezTo>
                  <a:cubicBezTo>
                    <a:pt x="9" y="33"/>
                    <a:pt x="9" y="33"/>
                    <a:pt x="9" y="33"/>
                  </a:cubicBezTo>
                  <a:cubicBezTo>
                    <a:pt x="9" y="33"/>
                    <a:pt x="9" y="33"/>
                    <a:pt x="9" y="33"/>
                  </a:cubicBezTo>
                  <a:cubicBezTo>
                    <a:pt x="10" y="33"/>
                    <a:pt x="11" y="33"/>
                    <a:pt x="11" y="33"/>
                  </a:cubicBezTo>
                  <a:cubicBezTo>
                    <a:pt x="11" y="33"/>
                    <a:pt x="11" y="33"/>
                    <a:pt x="11" y="33"/>
                  </a:cubicBezTo>
                  <a:cubicBezTo>
                    <a:pt x="12" y="33"/>
                    <a:pt x="13" y="33"/>
                    <a:pt x="14" y="34"/>
                  </a:cubicBezTo>
                  <a:cubicBezTo>
                    <a:pt x="15" y="34"/>
                    <a:pt x="16" y="35"/>
                    <a:pt x="18" y="35"/>
                  </a:cubicBezTo>
                  <a:cubicBezTo>
                    <a:pt x="18" y="35"/>
                    <a:pt x="18" y="35"/>
                    <a:pt x="18" y="35"/>
                  </a:cubicBezTo>
                  <a:cubicBezTo>
                    <a:pt x="20" y="29"/>
                    <a:pt x="20" y="29"/>
                    <a:pt x="20" y="29"/>
                  </a:cubicBezTo>
                  <a:cubicBezTo>
                    <a:pt x="19" y="36"/>
                    <a:pt x="19" y="36"/>
                    <a:pt x="19" y="36"/>
                  </a:cubicBezTo>
                  <a:cubicBezTo>
                    <a:pt x="19" y="36"/>
                    <a:pt x="19" y="36"/>
                    <a:pt x="19" y="36"/>
                  </a:cubicBezTo>
                  <a:cubicBezTo>
                    <a:pt x="20" y="36"/>
                    <a:pt x="21" y="36"/>
                    <a:pt x="22" y="36"/>
                  </a:cubicBezTo>
                  <a:cubicBezTo>
                    <a:pt x="22" y="36"/>
                    <a:pt x="22" y="36"/>
                    <a:pt x="22" y="36"/>
                  </a:cubicBezTo>
                  <a:cubicBezTo>
                    <a:pt x="24" y="36"/>
                    <a:pt x="27" y="35"/>
                    <a:pt x="28" y="34"/>
                  </a:cubicBezTo>
                  <a:cubicBezTo>
                    <a:pt x="30" y="33"/>
                    <a:pt x="30" y="33"/>
                    <a:pt x="30" y="33"/>
                  </a:cubicBezTo>
                  <a:cubicBezTo>
                    <a:pt x="31" y="33"/>
                    <a:pt x="31" y="33"/>
                    <a:pt x="31" y="33"/>
                  </a:cubicBezTo>
                  <a:cubicBezTo>
                    <a:pt x="31" y="33"/>
                    <a:pt x="32" y="32"/>
                    <a:pt x="33" y="32"/>
                  </a:cubicBezTo>
                  <a:cubicBezTo>
                    <a:pt x="34" y="32"/>
                    <a:pt x="34" y="32"/>
                    <a:pt x="35" y="32"/>
                  </a:cubicBezTo>
                  <a:cubicBezTo>
                    <a:pt x="36" y="32"/>
                    <a:pt x="37" y="32"/>
                    <a:pt x="38" y="32"/>
                  </a:cubicBezTo>
                  <a:cubicBezTo>
                    <a:pt x="38" y="33"/>
                    <a:pt x="39" y="33"/>
                    <a:pt x="40" y="33"/>
                  </a:cubicBezTo>
                  <a:cubicBezTo>
                    <a:pt x="40" y="34"/>
                    <a:pt x="40" y="34"/>
                    <a:pt x="40" y="34"/>
                  </a:cubicBezTo>
                  <a:cubicBezTo>
                    <a:pt x="41" y="34"/>
                    <a:pt x="42" y="34"/>
                    <a:pt x="44" y="34"/>
                  </a:cubicBezTo>
                  <a:cubicBezTo>
                    <a:pt x="44" y="34"/>
                    <a:pt x="44" y="34"/>
                    <a:pt x="44" y="34"/>
                  </a:cubicBezTo>
                  <a:cubicBezTo>
                    <a:pt x="45" y="34"/>
                    <a:pt x="45" y="34"/>
                    <a:pt x="45" y="34"/>
                  </a:cubicBezTo>
                  <a:cubicBezTo>
                    <a:pt x="46" y="34"/>
                    <a:pt x="46" y="35"/>
                    <a:pt x="47" y="35"/>
                  </a:cubicBezTo>
                  <a:cubicBezTo>
                    <a:pt x="47" y="35"/>
                    <a:pt x="48" y="35"/>
                    <a:pt x="48" y="35"/>
                  </a:cubicBezTo>
                  <a:cubicBezTo>
                    <a:pt x="50" y="34"/>
                    <a:pt x="51" y="34"/>
                    <a:pt x="53" y="34"/>
                  </a:cubicBezTo>
                  <a:cubicBezTo>
                    <a:pt x="54" y="34"/>
                    <a:pt x="54" y="34"/>
                    <a:pt x="54" y="34"/>
                  </a:cubicBezTo>
                  <a:cubicBezTo>
                    <a:pt x="56" y="34"/>
                    <a:pt x="58" y="34"/>
                    <a:pt x="60" y="34"/>
                  </a:cubicBezTo>
                  <a:cubicBezTo>
                    <a:pt x="61" y="34"/>
                    <a:pt x="62" y="34"/>
                    <a:pt x="63" y="34"/>
                  </a:cubicBezTo>
                  <a:cubicBezTo>
                    <a:pt x="65" y="34"/>
                    <a:pt x="65" y="34"/>
                    <a:pt x="65" y="34"/>
                  </a:cubicBezTo>
                  <a:cubicBezTo>
                    <a:pt x="65" y="34"/>
                    <a:pt x="65" y="34"/>
                    <a:pt x="65" y="34"/>
                  </a:cubicBezTo>
                  <a:cubicBezTo>
                    <a:pt x="67" y="33"/>
                    <a:pt x="68" y="33"/>
                    <a:pt x="70" y="33"/>
                  </a:cubicBezTo>
                  <a:cubicBezTo>
                    <a:pt x="70" y="33"/>
                    <a:pt x="71" y="33"/>
                    <a:pt x="71" y="33"/>
                  </a:cubicBezTo>
                  <a:cubicBezTo>
                    <a:pt x="71" y="33"/>
                    <a:pt x="71" y="33"/>
                    <a:pt x="71" y="33"/>
                  </a:cubicBezTo>
                  <a:cubicBezTo>
                    <a:pt x="72" y="33"/>
                    <a:pt x="72" y="33"/>
                    <a:pt x="72" y="33"/>
                  </a:cubicBezTo>
                  <a:cubicBezTo>
                    <a:pt x="72" y="33"/>
                    <a:pt x="72" y="33"/>
                    <a:pt x="72" y="33"/>
                  </a:cubicBezTo>
                  <a:cubicBezTo>
                    <a:pt x="72" y="33"/>
                    <a:pt x="72" y="33"/>
                    <a:pt x="73" y="33"/>
                  </a:cubicBezTo>
                  <a:cubicBezTo>
                    <a:pt x="73" y="34"/>
                    <a:pt x="73" y="34"/>
                    <a:pt x="73" y="34"/>
                  </a:cubicBezTo>
                  <a:cubicBezTo>
                    <a:pt x="74" y="33"/>
                    <a:pt x="74" y="33"/>
                    <a:pt x="74" y="33"/>
                  </a:cubicBezTo>
                  <a:cubicBezTo>
                    <a:pt x="74" y="32"/>
                    <a:pt x="73" y="31"/>
                    <a:pt x="72" y="30"/>
                  </a:cubicBezTo>
                  <a:cubicBezTo>
                    <a:pt x="72" y="29"/>
                    <a:pt x="72" y="28"/>
                    <a:pt x="72" y="27"/>
                  </a:cubicBezTo>
                  <a:cubicBezTo>
                    <a:pt x="73" y="26"/>
                    <a:pt x="73" y="25"/>
                    <a:pt x="74" y="24"/>
                  </a:cubicBezTo>
                  <a:cubicBezTo>
                    <a:pt x="73" y="24"/>
                    <a:pt x="73" y="24"/>
                    <a:pt x="72" y="24"/>
                  </a:cubicBezTo>
                  <a:cubicBezTo>
                    <a:pt x="71" y="23"/>
                    <a:pt x="70" y="23"/>
                    <a:pt x="68" y="23"/>
                  </a:cubicBezTo>
                  <a:cubicBezTo>
                    <a:pt x="67" y="22"/>
                    <a:pt x="66" y="22"/>
                    <a:pt x="65" y="21"/>
                  </a:cubicBezTo>
                  <a:cubicBezTo>
                    <a:pt x="65" y="21"/>
                    <a:pt x="64" y="20"/>
                    <a:pt x="64" y="20"/>
                  </a:cubicBezTo>
                  <a:cubicBezTo>
                    <a:pt x="63" y="19"/>
                    <a:pt x="63" y="19"/>
                    <a:pt x="63" y="19"/>
                  </a:cubicBezTo>
                  <a:cubicBezTo>
                    <a:pt x="63" y="18"/>
                    <a:pt x="63" y="18"/>
                    <a:pt x="63" y="17"/>
                  </a:cubicBezTo>
                  <a:cubicBezTo>
                    <a:pt x="62" y="17"/>
                    <a:pt x="62" y="17"/>
                    <a:pt x="62" y="17"/>
                  </a:cubicBezTo>
                  <a:cubicBezTo>
                    <a:pt x="62" y="16"/>
                    <a:pt x="62" y="15"/>
                    <a:pt x="62" y="14"/>
                  </a:cubicBezTo>
                  <a:cubicBezTo>
                    <a:pt x="62" y="14"/>
                    <a:pt x="62" y="14"/>
                    <a:pt x="62" y="14"/>
                  </a:cubicBezTo>
                  <a:cubicBezTo>
                    <a:pt x="62" y="13"/>
                    <a:pt x="63" y="13"/>
                    <a:pt x="63" y="13"/>
                  </a:cubicBezTo>
                  <a:cubicBezTo>
                    <a:pt x="63" y="12"/>
                    <a:pt x="63" y="12"/>
                    <a:pt x="63" y="12"/>
                  </a:cubicBezTo>
                  <a:cubicBezTo>
                    <a:pt x="64" y="12"/>
                    <a:pt x="64" y="12"/>
                    <a:pt x="64" y="12"/>
                  </a:cubicBezTo>
                  <a:cubicBezTo>
                    <a:pt x="63" y="12"/>
                    <a:pt x="63" y="12"/>
                    <a:pt x="63" y="12"/>
                  </a:cubicBezTo>
                  <a:cubicBezTo>
                    <a:pt x="63" y="11"/>
                    <a:pt x="63" y="11"/>
                    <a:pt x="63" y="11"/>
                  </a:cubicBezTo>
                  <a:cubicBezTo>
                    <a:pt x="64" y="11"/>
                    <a:pt x="64" y="11"/>
                    <a:pt x="64" y="11"/>
                  </a:cubicBezTo>
                  <a:cubicBezTo>
                    <a:pt x="64" y="10"/>
                    <a:pt x="64" y="10"/>
                    <a:pt x="64" y="10"/>
                  </a:cubicBezTo>
                  <a:cubicBezTo>
                    <a:pt x="64" y="10"/>
                    <a:pt x="64" y="9"/>
                    <a:pt x="64" y="9"/>
                  </a:cubicBezTo>
                  <a:cubicBezTo>
                    <a:pt x="64" y="9"/>
                    <a:pt x="64" y="9"/>
                    <a:pt x="64" y="9"/>
                  </a:cubicBezTo>
                  <a:cubicBezTo>
                    <a:pt x="64" y="9"/>
                    <a:pt x="63" y="8"/>
                    <a:pt x="61" y="8"/>
                  </a:cubicBezTo>
                  <a:cubicBezTo>
                    <a:pt x="58" y="7"/>
                    <a:pt x="57" y="6"/>
                    <a:pt x="56" y="6"/>
                  </a:cubicBezTo>
                  <a:cubicBezTo>
                    <a:pt x="56" y="6"/>
                    <a:pt x="55" y="7"/>
                    <a:pt x="54" y="7"/>
                  </a:cubicBezTo>
                  <a:cubicBezTo>
                    <a:pt x="53" y="8"/>
                    <a:pt x="53" y="8"/>
                    <a:pt x="53" y="8"/>
                  </a:cubicBezTo>
                  <a:cubicBezTo>
                    <a:pt x="52" y="8"/>
                    <a:pt x="51" y="8"/>
                    <a:pt x="50" y="8"/>
                  </a:cubicBezTo>
                  <a:cubicBezTo>
                    <a:pt x="50" y="8"/>
                    <a:pt x="49" y="8"/>
                    <a:pt x="48" y="8"/>
                  </a:cubicBezTo>
                  <a:cubicBezTo>
                    <a:pt x="46" y="8"/>
                    <a:pt x="46" y="8"/>
                    <a:pt x="46" y="8"/>
                  </a:cubicBezTo>
                  <a:cubicBezTo>
                    <a:pt x="46" y="7"/>
                    <a:pt x="45" y="7"/>
                    <a:pt x="45" y="7"/>
                  </a:cubicBezTo>
                  <a:cubicBezTo>
                    <a:pt x="45" y="7"/>
                    <a:pt x="45" y="7"/>
                    <a:pt x="45" y="7"/>
                  </a:cubicBezTo>
                  <a:cubicBezTo>
                    <a:pt x="43" y="7"/>
                    <a:pt x="42" y="7"/>
                    <a:pt x="41" y="6"/>
                  </a:cubicBezTo>
                  <a:cubicBezTo>
                    <a:pt x="40" y="6"/>
                    <a:pt x="40" y="6"/>
                    <a:pt x="39" y="6"/>
                  </a:cubicBezTo>
                  <a:cubicBezTo>
                    <a:pt x="39" y="6"/>
                    <a:pt x="39" y="6"/>
                    <a:pt x="39" y="6"/>
                  </a:cubicBezTo>
                  <a:cubicBezTo>
                    <a:pt x="38" y="6"/>
                    <a:pt x="37" y="6"/>
                    <a:pt x="37" y="6"/>
                  </a:cubicBezTo>
                  <a:cubicBezTo>
                    <a:pt x="35" y="6"/>
                    <a:pt x="35" y="6"/>
                    <a:pt x="35" y="6"/>
                  </a:cubicBezTo>
                  <a:cubicBezTo>
                    <a:pt x="33" y="4"/>
                    <a:pt x="33" y="2"/>
                    <a:pt x="33" y="1"/>
                  </a:cubicBezTo>
                  <a:cubicBezTo>
                    <a:pt x="33" y="1"/>
                    <a:pt x="33" y="1"/>
                    <a:pt x="33" y="1"/>
                  </a:cubicBezTo>
                  <a:cubicBezTo>
                    <a:pt x="32" y="0"/>
                    <a:pt x="31" y="0"/>
                    <a:pt x="30" y="0"/>
                  </a:cubicBezTo>
                  <a:cubicBezTo>
                    <a:pt x="29" y="0"/>
                    <a:pt x="29" y="0"/>
                    <a:pt x="29" y="0"/>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534"/>
            <p:cNvSpPr/>
            <p:nvPr/>
          </p:nvSpPr>
          <p:spPr bwMode="auto">
            <a:xfrm>
              <a:off x="3061229" y="2257794"/>
              <a:ext cx="835424" cy="351899"/>
            </a:xfrm>
            <a:custGeom>
              <a:gdLst>
                <a:gd name="T0" fmla="*/ 108 w 263"/>
                <a:gd name="T1" fmla="*/ 3 h 111"/>
                <a:gd name="T2" fmla="*/ 100 w 263"/>
                <a:gd name="T3" fmla="*/ 23 h 111"/>
                <a:gd name="T4" fmla="*/ 68 w 263"/>
                <a:gd name="T5" fmla="*/ 14 h 111"/>
                <a:gd name="T6" fmla="*/ 50 w 263"/>
                <a:gd name="T7" fmla="*/ 14 h 111"/>
                <a:gd name="T8" fmla="*/ 45 w 263"/>
                <a:gd name="T9" fmla="*/ 16 h 111"/>
                <a:gd name="T10" fmla="*/ 41 w 263"/>
                <a:gd name="T11" fmla="*/ 23 h 111"/>
                <a:gd name="T12" fmla="*/ 44 w 263"/>
                <a:gd name="T13" fmla="*/ 32 h 111"/>
                <a:gd name="T14" fmla="*/ 27 w 263"/>
                <a:gd name="T15" fmla="*/ 47 h 111"/>
                <a:gd name="T16" fmla="*/ 37 w 263"/>
                <a:gd name="T17" fmla="*/ 53 h 111"/>
                <a:gd name="T18" fmla="*/ 51 w 263"/>
                <a:gd name="T19" fmla="*/ 44 h 111"/>
                <a:gd name="T20" fmla="*/ 67 w 263"/>
                <a:gd name="T21" fmla="*/ 53 h 111"/>
                <a:gd name="T22" fmla="*/ 74 w 263"/>
                <a:gd name="T23" fmla="*/ 59 h 111"/>
                <a:gd name="T24" fmla="*/ 92 w 263"/>
                <a:gd name="T25" fmla="*/ 64 h 111"/>
                <a:gd name="T26" fmla="*/ 90 w 263"/>
                <a:gd name="T27" fmla="*/ 72 h 111"/>
                <a:gd name="T28" fmla="*/ 85 w 263"/>
                <a:gd name="T29" fmla="*/ 75 h 111"/>
                <a:gd name="T30" fmla="*/ 77 w 263"/>
                <a:gd name="T31" fmla="*/ 80 h 111"/>
                <a:gd name="T32" fmla="*/ 68 w 263"/>
                <a:gd name="T33" fmla="*/ 83 h 111"/>
                <a:gd name="T34" fmla="*/ 50 w 263"/>
                <a:gd name="T35" fmla="*/ 87 h 111"/>
                <a:gd name="T36" fmla="*/ 46 w 263"/>
                <a:gd name="T37" fmla="*/ 86 h 111"/>
                <a:gd name="T38" fmla="*/ 39 w 263"/>
                <a:gd name="T39" fmla="*/ 87 h 111"/>
                <a:gd name="T40" fmla="*/ 33 w 263"/>
                <a:gd name="T41" fmla="*/ 92 h 111"/>
                <a:gd name="T42" fmla="*/ 30 w 263"/>
                <a:gd name="T43" fmla="*/ 95 h 111"/>
                <a:gd name="T44" fmla="*/ 26 w 263"/>
                <a:gd name="T45" fmla="*/ 96 h 111"/>
                <a:gd name="T46" fmla="*/ 8 w 263"/>
                <a:gd name="T47" fmla="*/ 90 h 111"/>
                <a:gd name="T48" fmla="*/ 2 w 263"/>
                <a:gd name="T49" fmla="*/ 95 h 111"/>
                <a:gd name="T50" fmla="*/ 39 w 263"/>
                <a:gd name="T51" fmla="*/ 105 h 111"/>
                <a:gd name="T52" fmla="*/ 50 w 263"/>
                <a:gd name="T53" fmla="*/ 100 h 111"/>
                <a:gd name="T54" fmla="*/ 61 w 263"/>
                <a:gd name="T55" fmla="*/ 109 h 111"/>
                <a:gd name="T56" fmla="*/ 84 w 263"/>
                <a:gd name="T57" fmla="*/ 107 h 111"/>
                <a:gd name="T58" fmla="*/ 102 w 263"/>
                <a:gd name="T59" fmla="*/ 104 h 111"/>
                <a:gd name="T60" fmla="*/ 108 w 263"/>
                <a:gd name="T61" fmla="*/ 101 h 111"/>
                <a:gd name="T62" fmla="*/ 110 w 263"/>
                <a:gd name="T63" fmla="*/ 93 h 111"/>
                <a:gd name="T64" fmla="*/ 131 w 263"/>
                <a:gd name="T65" fmla="*/ 80 h 111"/>
                <a:gd name="T66" fmla="*/ 135 w 263"/>
                <a:gd name="T67" fmla="*/ 74 h 111"/>
                <a:gd name="T68" fmla="*/ 145 w 263"/>
                <a:gd name="T69" fmla="*/ 73 h 111"/>
                <a:gd name="T70" fmla="*/ 153 w 263"/>
                <a:gd name="T71" fmla="*/ 70 h 111"/>
                <a:gd name="T72" fmla="*/ 157 w 263"/>
                <a:gd name="T73" fmla="*/ 79 h 111"/>
                <a:gd name="T74" fmla="*/ 164 w 263"/>
                <a:gd name="T75" fmla="*/ 77 h 111"/>
                <a:gd name="T76" fmla="*/ 171 w 263"/>
                <a:gd name="T77" fmla="*/ 77 h 111"/>
                <a:gd name="T78" fmla="*/ 176 w 263"/>
                <a:gd name="T79" fmla="*/ 68 h 111"/>
                <a:gd name="T80" fmla="*/ 200 w 263"/>
                <a:gd name="T81" fmla="*/ 56 h 111"/>
                <a:gd name="T82" fmla="*/ 218 w 263"/>
                <a:gd name="T83" fmla="*/ 53 h 111"/>
                <a:gd name="T84" fmla="*/ 228 w 263"/>
                <a:gd name="T85" fmla="*/ 43 h 111"/>
                <a:gd name="T86" fmla="*/ 262 w 263"/>
                <a:gd name="T87" fmla="*/ 30 h 111"/>
                <a:gd name="T88" fmla="*/ 263 w 263"/>
                <a:gd name="T89" fmla="*/ 28 h 111"/>
                <a:gd name="T90" fmla="*/ 252 w 263"/>
                <a:gd name="T91" fmla="*/ 22 h 111"/>
                <a:gd name="T92" fmla="*/ 239 w 263"/>
                <a:gd name="T93" fmla="*/ 12 h 111"/>
                <a:gd name="T94" fmla="*/ 225 w 263"/>
                <a:gd name="T95" fmla="*/ 10 h 111"/>
                <a:gd name="T96" fmla="*/ 216 w 263"/>
                <a:gd name="T97" fmla="*/ 10 h 111"/>
                <a:gd name="T98" fmla="*/ 197 w 263"/>
                <a:gd name="T99" fmla="*/ 9 h 111"/>
                <a:gd name="T100" fmla="*/ 172 w 263"/>
                <a:gd name="T101" fmla="*/ 8 h 111"/>
                <a:gd name="T102" fmla="*/ 147 w 263"/>
                <a:gd name="T103" fmla="*/ 11 h 111"/>
                <a:gd name="T104" fmla="*/ 135 w 263"/>
                <a:gd name="T105" fmla="*/ 8 h 111"/>
                <a:gd name="T106" fmla="*/ 124 w 263"/>
                <a:gd name="T107" fmla="*/ 2 h 1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3" h="110">
                  <a:moveTo>
                    <a:pt x="115" y="0"/>
                  </a:moveTo>
                  <a:cubicBezTo>
                    <a:pt x="114" y="0"/>
                    <a:pt x="112" y="1"/>
                    <a:pt x="110" y="2"/>
                  </a:cubicBezTo>
                  <a:cubicBezTo>
                    <a:pt x="110" y="2"/>
                    <a:pt x="110" y="2"/>
                    <a:pt x="110" y="2"/>
                  </a:cubicBezTo>
                  <a:cubicBezTo>
                    <a:pt x="108" y="3"/>
                    <a:pt x="108" y="3"/>
                    <a:pt x="108" y="3"/>
                  </a:cubicBezTo>
                  <a:cubicBezTo>
                    <a:pt x="108" y="3"/>
                    <a:pt x="108" y="3"/>
                    <a:pt x="108" y="3"/>
                  </a:cubicBezTo>
                  <a:cubicBezTo>
                    <a:pt x="103" y="5"/>
                    <a:pt x="102" y="11"/>
                    <a:pt x="103" y="15"/>
                  </a:cubicBezTo>
                  <a:cubicBezTo>
                    <a:pt x="103" y="16"/>
                    <a:pt x="103" y="16"/>
                    <a:pt x="103" y="16"/>
                  </a:cubicBezTo>
                  <a:cubicBezTo>
                    <a:pt x="103" y="17"/>
                    <a:pt x="103" y="18"/>
                    <a:pt x="104" y="19"/>
                  </a:cubicBezTo>
                  <a:cubicBezTo>
                    <a:pt x="108" y="26"/>
                    <a:pt x="108" y="26"/>
                    <a:pt x="108" y="26"/>
                  </a:cubicBezTo>
                  <a:cubicBezTo>
                    <a:pt x="100" y="23"/>
                    <a:pt x="100" y="23"/>
                    <a:pt x="100" y="23"/>
                  </a:cubicBezTo>
                  <a:cubicBezTo>
                    <a:pt x="97" y="22"/>
                    <a:pt x="93" y="21"/>
                    <a:pt x="90" y="20"/>
                  </a:cubicBezTo>
                  <a:cubicBezTo>
                    <a:pt x="84" y="18"/>
                    <a:pt x="79" y="16"/>
                    <a:pt x="73" y="15"/>
                  </a:cubicBezTo>
                  <a:cubicBezTo>
                    <a:pt x="72" y="14"/>
                    <a:pt x="71" y="14"/>
                    <a:pt x="70" y="14"/>
                  </a:cubicBezTo>
                  <a:cubicBezTo>
                    <a:pt x="69" y="14"/>
                    <a:pt x="69" y="14"/>
                    <a:pt x="69" y="14"/>
                  </a:cubicBezTo>
                  <a:cubicBezTo>
                    <a:pt x="68" y="14"/>
                    <a:pt x="68" y="14"/>
                    <a:pt x="68" y="14"/>
                  </a:cubicBezTo>
                  <a:cubicBezTo>
                    <a:pt x="68" y="14"/>
                    <a:pt x="67" y="13"/>
                    <a:pt x="66" y="13"/>
                  </a:cubicBezTo>
                  <a:cubicBezTo>
                    <a:pt x="54" y="14"/>
                    <a:pt x="54" y="14"/>
                    <a:pt x="54" y="14"/>
                  </a:cubicBezTo>
                  <a:cubicBezTo>
                    <a:pt x="54" y="14"/>
                    <a:pt x="54" y="14"/>
                    <a:pt x="54" y="14"/>
                  </a:cubicBezTo>
                  <a:cubicBezTo>
                    <a:pt x="54" y="14"/>
                    <a:pt x="53" y="14"/>
                    <a:pt x="52" y="14"/>
                  </a:cubicBezTo>
                  <a:cubicBezTo>
                    <a:pt x="52" y="14"/>
                    <a:pt x="51" y="14"/>
                    <a:pt x="50" y="14"/>
                  </a:cubicBezTo>
                  <a:cubicBezTo>
                    <a:pt x="50" y="14"/>
                    <a:pt x="49" y="14"/>
                    <a:pt x="49" y="14"/>
                  </a:cubicBezTo>
                  <a:cubicBezTo>
                    <a:pt x="49" y="13"/>
                    <a:pt x="49" y="13"/>
                    <a:pt x="49" y="13"/>
                  </a:cubicBezTo>
                  <a:cubicBezTo>
                    <a:pt x="49" y="14"/>
                    <a:pt x="49" y="14"/>
                    <a:pt x="49" y="14"/>
                  </a:cubicBezTo>
                  <a:cubicBezTo>
                    <a:pt x="48" y="14"/>
                    <a:pt x="47" y="16"/>
                    <a:pt x="46" y="16"/>
                  </a:cubicBezTo>
                  <a:cubicBezTo>
                    <a:pt x="45" y="16"/>
                    <a:pt x="45" y="16"/>
                    <a:pt x="45" y="16"/>
                  </a:cubicBezTo>
                  <a:cubicBezTo>
                    <a:pt x="46" y="17"/>
                    <a:pt x="46" y="17"/>
                    <a:pt x="46" y="17"/>
                  </a:cubicBezTo>
                  <a:cubicBezTo>
                    <a:pt x="46" y="17"/>
                    <a:pt x="45" y="18"/>
                    <a:pt x="45" y="18"/>
                  </a:cubicBezTo>
                  <a:cubicBezTo>
                    <a:pt x="43" y="20"/>
                    <a:pt x="43" y="20"/>
                    <a:pt x="43" y="20"/>
                  </a:cubicBezTo>
                  <a:cubicBezTo>
                    <a:pt x="42" y="21"/>
                    <a:pt x="41" y="22"/>
                    <a:pt x="41" y="23"/>
                  </a:cubicBezTo>
                  <a:cubicBezTo>
                    <a:pt x="41" y="23"/>
                    <a:pt x="41" y="23"/>
                    <a:pt x="41" y="23"/>
                  </a:cubicBezTo>
                  <a:cubicBezTo>
                    <a:pt x="41" y="23"/>
                    <a:pt x="41" y="23"/>
                    <a:pt x="41" y="23"/>
                  </a:cubicBezTo>
                  <a:cubicBezTo>
                    <a:pt x="42" y="23"/>
                    <a:pt x="43" y="23"/>
                    <a:pt x="44" y="23"/>
                  </a:cubicBezTo>
                  <a:cubicBezTo>
                    <a:pt x="45" y="24"/>
                    <a:pt x="46" y="24"/>
                    <a:pt x="46" y="24"/>
                  </a:cubicBezTo>
                  <a:cubicBezTo>
                    <a:pt x="53" y="25"/>
                    <a:pt x="53" y="25"/>
                    <a:pt x="53" y="25"/>
                  </a:cubicBezTo>
                  <a:cubicBezTo>
                    <a:pt x="44" y="32"/>
                    <a:pt x="44" y="32"/>
                    <a:pt x="44" y="32"/>
                  </a:cubicBezTo>
                  <a:cubicBezTo>
                    <a:pt x="40" y="34"/>
                    <a:pt x="29" y="41"/>
                    <a:pt x="24" y="45"/>
                  </a:cubicBezTo>
                  <a:cubicBezTo>
                    <a:pt x="24" y="45"/>
                    <a:pt x="24" y="45"/>
                    <a:pt x="24" y="45"/>
                  </a:cubicBezTo>
                  <a:cubicBezTo>
                    <a:pt x="24" y="45"/>
                    <a:pt x="25" y="45"/>
                    <a:pt x="25" y="45"/>
                  </a:cubicBezTo>
                  <a:cubicBezTo>
                    <a:pt x="26" y="46"/>
                    <a:pt x="26" y="46"/>
                    <a:pt x="26" y="46"/>
                  </a:cubicBezTo>
                  <a:cubicBezTo>
                    <a:pt x="26" y="46"/>
                    <a:pt x="27" y="46"/>
                    <a:pt x="27" y="47"/>
                  </a:cubicBezTo>
                  <a:cubicBezTo>
                    <a:pt x="33" y="44"/>
                    <a:pt x="33" y="44"/>
                    <a:pt x="33" y="44"/>
                  </a:cubicBezTo>
                  <a:cubicBezTo>
                    <a:pt x="34" y="47"/>
                    <a:pt x="34" y="47"/>
                    <a:pt x="34" y="47"/>
                  </a:cubicBezTo>
                  <a:cubicBezTo>
                    <a:pt x="34" y="48"/>
                    <a:pt x="35" y="49"/>
                    <a:pt x="35" y="49"/>
                  </a:cubicBezTo>
                  <a:cubicBezTo>
                    <a:pt x="35" y="51"/>
                    <a:pt x="36" y="52"/>
                    <a:pt x="36" y="52"/>
                  </a:cubicBezTo>
                  <a:cubicBezTo>
                    <a:pt x="37" y="53"/>
                    <a:pt x="37" y="53"/>
                    <a:pt x="37" y="53"/>
                  </a:cubicBezTo>
                  <a:cubicBezTo>
                    <a:pt x="40" y="54"/>
                    <a:pt x="43" y="54"/>
                    <a:pt x="47" y="55"/>
                  </a:cubicBezTo>
                  <a:cubicBezTo>
                    <a:pt x="47" y="54"/>
                    <a:pt x="47" y="53"/>
                    <a:pt x="47" y="51"/>
                  </a:cubicBezTo>
                  <a:cubicBezTo>
                    <a:pt x="48" y="48"/>
                    <a:pt x="48" y="48"/>
                    <a:pt x="48" y="48"/>
                  </a:cubicBezTo>
                  <a:cubicBezTo>
                    <a:pt x="51" y="49"/>
                    <a:pt x="51" y="49"/>
                    <a:pt x="51" y="49"/>
                  </a:cubicBezTo>
                  <a:cubicBezTo>
                    <a:pt x="51" y="44"/>
                    <a:pt x="51" y="44"/>
                    <a:pt x="51" y="44"/>
                  </a:cubicBezTo>
                  <a:cubicBezTo>
                    <a:pt x="55" y="45"/>
                    <a:pt x="55" y="45"/>
                    <a:pt x="55" y="45"/>
                  </a:cubicBezTo>
                  <a:cubicBezTo>
                    <a:pt x="60" y="46"/>
                    <a:pt x="62" y="49"/>
                    <a:pt x="64" y="53"/>
                  </a:cubicBezTo>
                  <a:cubicBezTo>
                    <a:pt x="64" y="53"/>
                    <a:pt x="64" y="53"/>
                    <a:pt x="64" y="53"/>
                  </a:cubicBezTo>
                  <a:cubicBezTo>
                    <a:pt x="65" y="53"/>
                    <a:pt x="65" y="53"/>
                    <a:pt x="65" y="53"/>
                  </a:cubicBezTo>
                  <a:cubicBezTo>
                    <a:pt x="65" y="53"/>
                    <a:pt x="66" y="53"/>
                    <a:pt x="67" y="53"/>
                  </a:cubicBezTo>
                  <a:cubicBezTo>
                    <a:pt x="68" y="53"/>
                    <a:pt x="69" y="53"/>
                    <a:pt x="70" y="54"/>
                  </a:cubicBezTo>
                  <a:cubicBezTo>
                    <a:pt x="71" y="55"/>
                    <a:pt x="71" y="57"/>
                    <a:pt x="71" y="58"/>
                  </a:cubicBezTo>
                  <a:cubicBezTo>
                    <a:pt x="72" y="59"/>
                    <a:pt x="72" y="59"/>
                    <a:pt x="72" y="59"/>
                  </a:cubicBezTo>
                  <a:cubicBezTo>
                    <a:pt x="74" y="53"/>
                    <a:pt x="74" y="53"/>
                    <a:pt x="74" y="53"/>
                  </a:cubicBezTo>
                  <a:cubicBezTo>
                    <a:pt x="74" y="59"/>
                    <a:pt x="74" y="59"/>
                    <a:pt x="74" y="59"/>
                  </a:cubicBezTo>
                  <a:cubicBezTo>
                    <a:pt x="76" y="60"/>
                    <a:pt x="76" y="60"/>
                    <a:pt x="76" y="60"/>
                  </a:cubicBezTo>
                  <a:cubicBezTo>
                    <a:pt x="77" y="60"/>
                    <a:pt x="78" y="60"/>
                    <a:pt x="79" y="61"/>
                  </a:cubicBezTo>
                  <a:cubicBezTo>
                    <a:pt x="80" y="61"/>
                    <a:pt x="80" y="62"/>
                    <a:pt x="81" y="63"/>
                  </a:cubicBezTo>
                  <a:cubicBezTo>
                    <a:pt x="82" y="64"/>
                    <a:pt x="86" y="64"/>
                    <a:pt x="88" y="64"/>
                  </a:cubicBezTo>
                  <a:cubicBezTo>
                    <a:pt x="90" y="64"/>
                    <a:pt x="91" y="64"/>
                    <a:pt x="92" y="64"/>
                  </a:cubicBezTo>
                  <a:cubicBezTo>
                    <a:pt x="96" y="64"/>
                    <a:pt x="96" y="64"/>
                    <a:pt x="96" y="64"/>
                  </a:cubicBezTo>
                  <a:cubicBezTo>
                    <a:pt x="95" y="68"/>
                    <a:pt x="95" y="68"/>
                    <a:pt x="95" y="68"/>
                  </a:cubicBezTo>
                  <a:cubicBezTo>
                    <a:pt x="94" y="69"/>
                    <a:pt x="94" y="70"/>
                    <a:pt x="93" y="71"/>
                  </a:cubicBezTo>
                  <a:cubicBezTo>
                    <a:pt x="92" y="71"/>
                    <a:pt x="92" y="71"/>
                    <a:pt x="92" y="71"/>
                  </a:cubicBezTo>
                  <a:cubicBezTo>
                    <a:pt x="91" y="72"/>
                    <a:pt x="91" y="72"/>
                    <a:pt x="90" y="72"/>
                  </a:cubicBezTo>
                  <a:cubicBezTo>
                    <a:pt x="89" y="73"/>
                    <a:pt x="88" y="73"/>
                    <a:pt x="87" y="74"/>
                  </a:cubicBezTo>
                  <a:cubicBezTo>
                    <a:pt x="86" y="74"/>
                    <a:pt x="86" y="74"/>
                    <a:pt x="86" y="74"/>
                  </a:cubicBezTo>
                  <a:cubicBezTo>
                    <a:pt x="86" y="74"/>
                    <a:pt x="86" y="74"/>
                    <a:pt x="86" y="74"/>
                  </a:cubicBezTo>
                  <a:cubicBezTo>
                    <a:pt x="85" y="75"/>
                    <a:pt x="85" y="75"/>
                    <a:pt x="85" y="75"/>
                  </a:cubicBezTo>
                  <a:cubicBezTo>
                    <a:pt x="85" y="75"/>
                    <a:pt x="85" y="75"/>
                    <a:pt x="85" y="75"/>
                  </a:cubicBezTo>
                  <a:cubicBezTo>
                    <a:pt x="84" y="77"/>
                    <a:pt x="83" y="79"/>
                    <a:pt x="80" y="79"/>
                  </a:cubicBezTo>
                  <a:cubicBezTo>
                    <a:pt x="80" y="79"/>
                    <a:pt x="80" y="79"/>
                    <a:pt x="80" y="79"/>
                  </a:cubicBezTo>
                  <a:cubicBezTo>
                    <a:pt x="80" y="79"/>
                    <a:pt x="79" y="79"/>
                    <a:pt x="79" y="79"/>
                  </a:cubicBezTo>
                  <a:cubicBezTo>
                    <a:pt x="78" y="79"/>
                    <a:pt x="77" y="79"/>
                    <a:pt x="77" y="79"/>
                  </a:cubicBezTo>
                  <a:cubicBezTo>
                    <a:pt x="77" y="80"/>
                    <a:pt x="77" y="80"/>
                    <a:pt x="77" y="80"/>
                  </a:cubicBezTo>
                  <a:cubicBezTo>
                    <a:pt x="78" y="85"/>
                    <a:pt x="78" y="85"/>
                    <a:pt x="78" y="85"/>
                  </a:cubicBezTo>
                  <a:cubicBezTo>
                    <a:pt x="72" y="83"/>
                    <a:pt x="72" y="83"/>
                    <a:pt x="72" y="83"/>
                  </a:cubicBezTo>
                  <a:cubicBezTo>
                    <a:pt x="71" y="82"/>
                    <a:pt x="69" y="82"/>
                    <a:pt x="68" y="82"/>
                  </a:cubicBezTo>
                  <a:cubicBezTo>
                    <a:pt x="68" y="82"/>
                    <a:pt x="68" y="82"/>
                    <a:pt x="68" y="82"/>
                  </a:cubicBezTo>
                  <a:cubicBezTo>
                    <a:pt x="68" y="83"/>
                    <a:pt x="68" y="83"/>
                    <a:pt x="68" y="83"/>
                  </a:cubicBezTo>
                  <a:cubicBezTo>
                    <a:pt x="67" y="84"/>
                    <a:pt x="66" y="86"/>
                    <a:pt x="64" y="87"/>
                  </a:cubicBezTo>
                  <a:cubicBezTo>
                    <a:pt x="63" y="88"/>
                    <a:pt x="63" y="88"/>
                    <a:pt x="63" y="88"/>
                  </a:cubicBezTo>
                  <a:cubicBezTo>
                    <a:pt x="61" y="89"/>
                    <a:pt x="59" y="89"/>
                    <a:pt x="57" y="89"/>
                  </a:cubicBezTo>
                  <a:cubicBezTo>
                    <a:pt x="56" y="89"/>
                    <a:pt x="54" y="89"/>
                    <a:pt x="52" y="88"/>
                  </a:cubicBezTo>
                  <a:cubicBezTo>
                    <a:pt x="51" y="88"/>
                    <a:pt x="51" y="87"/>
                    <a:pt x="50" y="87"/>
                  </a:cubicBezTo>
                  <a:cubicBezTo>
                    <a:pt x="49" y="86"/>
                    <a:pt x="49" y="86"/>
                    <a:pt x="49" y="86"/>
                  </a:cubicBezTo>
                  <a:cubicBezTo>
                    <a:pt x="48" y="86"/>
                    <a:pt x="48" y="86"/>
                    <a:pt x="48" y="86"/>
                  </a:cubicBezTo>
                  <a:cubicBezTo>
                    <a:pt x="48" y="86"/>
                    <a:pt x="48" y="86"/>
                    <a:pt x="48" y="86"/>
                  </a:cubicBezTo>
                  <a:cubicBezTo>
                    <a:pt x="47" y="86"/>
                    <a:pt x="47" y="86"/>
                    <a:pt x="46" y="86"/>
                  </a:cubicBezTo>
                  <a:cubicBezTo>
                    <a:pt x="46" y="86"/>
                    <a:pt x="46" y="86"/>
                    <a:pt x="46" y="86"/>
                  </a:cubicBezTo>
                  <a:cubicBezTo>
                    <a:pt x="45" y="86"/>
                    <a:pt x="45" y="86"/>
                    <a:pt x="44" y="86"/>
                  </a:cubicBezTo>
                  <a:cubicBezTo>
                    <a:pt x="43" y="86"/>
                    <a:pt x="42" y="86"/>
                    <a:pt x="42" y="86"/>
                  </a:cubicBezTo>
                  <a:cubicBezTo>
                    <a:pt x="41" y="86"/>
                    <a:pt x="41" y="86"/>
                    <a:pt x="41" y="86"/>
                  </a:cubicBezTo>
                  <a:cubicBezTo>
                    <a:pt x="41" y="87"/>
                    <a:pt x="40" y="87"/>
                    <a:pt x="40" y="87"/>
                  </a:cubicBezTo>
                  <a:cubicBezTo>
                    <a:pt x="39" y="87"/>
                    <a:pt x="39" y="87"/>
                    <a:pt x="39" y="87"/>
                  </a:cubicBezTo>
                  <a:cubicBezTo>
                    <a:pt x="37" y="89"/>
                    <a:pt x="37" y="89"/>
                    <a:pt x="37" y="89"/>
                  </a:cubicBezTo>
                  <a:cubicBezTo>
                    <a:pt x="36" y="90"/>
                    <a:pt x="36" y="90"/>
                    <a:pt x="36" y="90"/>
                  </a:cubicBezTo>
                  <a:cubicBezTo>
                    <a:pt x="36" y="90"/>
                    <a:pt x="36" y="90"/>
                    <a:pt x="36" y="90"/>
                  </a:cubicBezTo>
                  <a:cubicBezTo>
                    <a:pt x="35" y="91"/>
                    <a:pt x="35" y="91"/>
                    <a:pt x="34" y="91"/>
                  </a:cubicBezTo>
                  <a:cubicBezTo>
                    <a:pt x="33" y="92"/>
                    <a:pt x="33" y="92"/>
                    <a:pt x="33" y="92"/>
                  </a:cubicBezTo>
                  <a:cubicBezTo>
                    <a:pt x="33" y="92"/>
                    <a:pt x="33" y="92"/>
                    <a:pt x="33" y="92"/>
                  </a:cubicBezTo>
                  <a:cubicBezTo>
                    <a:pt x="32" y="93"/>
                    <a:pt x="32" y="93"/>
                    <a:pt x="32" y="93"/>
                  </a:cubicBezTo>
                  <a:cubicBezTo>
                    <a:pt x="31" y="94"/>
                    <a:pt x="31" y="94"/>
                    <a:pt x="31" y="94"/>
                  </a:cubicBezTo>
                  <a:cubicBezTo>
                    <a:pt x="30" y="94"/>
                    <a:pt x="30" y="94"/>
                    <a:pt x="30" y="94"/>
                  </a:cubicBezTo>
                  <a:cubicBezTo>
                    <a:pt x="30" y="95"/>
                    <a:pt x="30" y="95"/>
                    <a:pt x="30" y="95"/>
                  </a:cubicBezTo>
                  <a:cubicBezTo>
                    <a:pt x="29" y="95"/>
                    <a:pt x="29" y="95"/>
                    <a:pt x="29" y="95"/>
                  </a:cubicBezTo>
                  <a:cubicBezTo>
                    <a:pt x="29" y="95"/>
                    <a:pt x="29" y="95"/>
                    <a:pt x="29" y="95"/>
                  </a:cubicBezTo>
                  <a:cubicBezTo>
                    <a:pt x="29" y="95"/>
                    <a:pt x="29" y="95"/>
                    <a:pt x="29" y="95"/>
                  </a:cubicBezTo>
                  <a:cubicBezTo>
                    <a:pt x="28" y="96"/>
                    <a:pt x="28" y="96"/>
                    <a:pt x="28" y="96"/>
                  </a:cubicBezTo>
                  <a:cubicBezTo>
                    <a:pt x="27" y="96"/>
                    <a:pt x="26" y="96"/>
                    <a:pt x="26" y="96"/>
                  </a:cubicBezTo>
                  <a:cubicBezTo>
                    <a:pt x="24" y="96"/>
                    <a:pt x="24" y="96"/>
                    <a:pt x="24" y="96"/>
                  </a:cubicBezTo>
                  <a:cubicBezTo>
                    <a:pt x="23" y="94"/>
                    <a:pt x="23" y="94"/>
                    <a:pt x="23" y="94"/>
                  </a:cubicBezTo>
                  <a:cubicBezTo>
                    <a:pt x="23" y="93"/>
                    <a:pt x="23" y="92"/>
                    <a:pt x="23" y="92"/>
                  </a:cubicBezTo>
                  <a:cubicBezTo>
                    <a:pt x="20" y="90"/>
                    <a:pt x="15" y="89"/>
                    <a:pt x="13" y="88"/>
                  </a:cubicBezTo>
                  <a:cubicBezTo>
                    <a:pt x="12" y="88"/>
                    <a:pt x="10" y="89"/>
                    <a:pt x="8" y="90"/>
                  </a:cubicBezTo>
                  <a:cubicBezTo>
                    <a:pt x="7" y="90"/>
                    <a:pt x="7" y="90"/>
                    <a:pt x="7" y="90"/>
                  </a:cubicBezTo>
                  <a:cubicBezTo>
                    <a:pt x="6" y="90"/>
                    <a:pt x="6" y="91"/>
                    <a:pt x="5" y="91"/>
                  </a:cubicBezTo>
                  <a:cubicBezTo>
                    <a:pt x="5" y="91"/>
                    <a:pt x="5" y="91"/>
                    <a:pt x="5" y="91"/>
                  </a:cubicBezTo>
                  <a:cubicBezTo>
                    <a:pt x="5" y="91"/>
                    <a:pt x="4" y="91"/>
                    <a:pt x="3" y="93"/>
                  </a:cubicBezTo>
                  <a:cubicBezTo>
                    <a:pt x="3" y="94"/>
                    <a:pt x="2" y="95"/>
                    <a:pt x="2" y="95"/>
                  </a:cubicBezTo>
                  <a:cubicBezTo>
                    <a:pt x="1" y="97"/>
                    <a:pt x="1" y="97"/>
                    <a:pt x="1" y="97"/>
                  </a:cubicBezTo>
                  <a:cubicBezTo>
                    <a:pt x="0" y="102"/>
                    <a:pt x="0" y="102"/>
                    <a:pt x="0" y="102"/>
                  </a:cubicBezTo>
                  <a:cubicBezTo>
                    <a:pt x="5" y="102"/>
                    <a:pt x="9" y="101"/>
                    <a:pt x="13" y="101"/>
                  </a:cubicBezTo>
                  <a:cubicBezTo>
                    <a:pt x="18" y="101"/>
                    <a:pt x="22" y="102"/>
                    <a:pt x="26" y="102"/>
                  </a:cubicBezTo>
                  <a:cubicBezTo>
                    <a:pt x="31" y="103"/>
                    <a:pt x="35" y="104"/>
                    <a:pt x="39" y="105"/>
                  </a:cubicBezTo>
                  <a:cubicBezTo>
                    <a:pt x="40" y="100"/>
                    <a:pt x="40" y="100"/>
                    <a:pt x="40" y="100"/>
                  </a:cubicBezTo>
                  <a:cubicBezTo>
                    <a:pt x="40" y="105"/>
                    <a:pt x="40" y="105"/>
                    <a:pt x="40" y="105"/>
                  </a:cubicBezTo>
                  <a:cubicBezTo>
                    <a:pt x="42" y="105"/>
                    <a:pt x="45" y="103"/>
                    <a:pt x="47" y="102"/>
                  </a:cubicBezTo>
                  <a:cubicBezTo>
                    <a:pt x="47" y="102"/>
                    <a:pt x="47" y="102"/>
                    <a:pt x="47" y="102"/>
                  </a:cubicBezTo>
                  <a:cubicBezTo>
                    <a:pt x="49" y="101"/>
                    <a:pt x="50" y="101"/>
                    <a:pt x="50" y="100"/>
                  </a:cubicBezTo>
                  <a:cubicBezTo>
                    <a:pt x="54" y="99"/>
                    <a:pt x="54" y="99"/>
                    <a:pt x="54" y="99"/>
                  </a:cubicBezTo>
                  <a:cubicBezTo>
                    <a:pt x="55" y="104"/>
                    <a:pt x="55" y="104"/>
                    <a:pt x="55" y="104"/>
                  </a:cubicBezTo>
                  <a:cubicBezTo>
                    <a:pt x="55" y="104"/>
                    <a:pt x="55" y="104"/>
                    <a:pt x="55" y="104"/>
                  </a:cubicBezTo>
                  <a:cubicBezTo>
                    <a:pt x="60" y="104"/>
                    <a:pt x="60" y="108"/>
                    <a:pt x="61" y="109"/>
                  </a:cubicBezTo>
                  <a:cubicBezTo>
                    <a:pt x="61" y="109"/>
                    <a:pt x="61" y="109"/>
                    <a:pt x="61" y="109"/>
                  </a:cubicBezTo>
                  <a:cubicBezTo>
                    <a:pt x="63" y="109"/>
                    <a:pt x="63" y="109"/>
                    <a:pt x="63" y="109"/>
                  </a:cubicBezTo>
                  <a:cubicBezTo>
                    <a:pt x="65" y="110"/>
                    <a:pt x="67" y="110"/>
                    <a:pt x="69" y="111"/>
                  </a:cubicBezTo>
                  <a:cubicBezTo>
                    <a:pt x="71" y="109"/>
                    <a:pt x="73" y="106"/>
                    <a:pt x="78" y="106"/>
                  </a:cubicBezTo>
                  <a:cubicBezTo>
                    <a:pt x="79" y="106"/>
                    <a:pt x="79" y="106"/>
                    <a:pt x="79" y="106"/>
                  </a:cubicBezTo>
                  <a:cubicBezTo>
                    <a:pt x="84" y="107"/>
                    <a:pt x="84" y="107"/>
                    <a:pt x="84" y="107"/>
                  </a:cubicBezTo>
                  <a:cubicBezTo>
                    <a:pt x="86" y="107"/>
                    <a:pt x="88" y="106"/>
                    <a:pt x="90" y="106"/>
                  </a:cubicBezTo>
                  <a:cubicBezTo>
                    <a:pt x="92" y="106"/>
                    <a:pt x="93" y="106"/>
                    <a:pt x="94" y="106"/>
                  </a:cubicBezTo>
                  <a:cubicBezTo>
                    <a:pt x="97" y="105"/>
                    <a:pt x="97" y="105"/>
                    <a:pt x="97" y="105"/>
                  </a:cubicBezTo>
                  <a:cubicBezTo>
                    <a:pt x="99" y="105"/>
                    <a:pt x="100" y="105"/>
                    <a:pt x="102" y="105"/>
                  </a:cubicBezTo>
                  <a:cubicBezTo>
                    <a:pt x="102" y="104"/>
                    <a:pt x="102" y="104"/>
                    <a:pt x="102" y="104"/>
                  </a:cubicBezTo>
                  <a:cubicBezTo>
                    <a:pt x="103" y="104"/>
                    <a:pt x="103" y="104"/>
                    <a:pt x="103" y="104"/>
                  </a:cubicBezTo>
                  <a:cubicBezTo>
                    <a:pt x="105" y="103"/>
                    <a:pt x="105" y="103"/>
                    <a:pt x="105" y="103"/>
                  </a:cubicBezTo>
                  <a:cubicBezTo>
                    <a:pt x="106" y="103"/>
                    <a:pt x="106" y="103"/>
                    <a:pt x="107" y="102"/>
                  </a:cubicBezTo>
                  <a:cubicBezTo>
                    <a:pt x="108" y="102"/>
                    <a:pt x="108" y="102"/>
                    <a:pt x="108" y="102"/>
                  </a:cubicBezTo>
                  <a:cubicBezTo>
                    <a:pt x="108" y="101"/>
                    <a:pt x="108" y="101"/>
                    <a:pt x="108" y="101"/>
                  </a:cubicBezTo>
                  <a:cubicBezTo>
                    <a:pt x="108" y="100"/>
                    <a:pt x="108" y="99"/>
                    <a:pt x="109" y="98"/>
                  </a:cubicBezTo>
                  <a:cubicBezTo>
                    <a:pt x="109" y="97"/>
                    <a:pt x="109" y="97"/>
                    <a:pt x="109" y="97"/>
                  </a:cubicBezTo>
                  <a:cubicBezTo>
                    <a:pt x="109" y="96"/>
                    <a:pt x="109" y="96"/>
                    <a:pt x="109" y="95"/>
                  </a:cubicBezTo>
                  <a:cubicBezTo>
                    <a:pt x="109" y="94"/>
                    <a:pt x="109" y="94"/>
                    <a:pt x="109" y="94"/>
                  </a:cubicBezTo>
                  <a:cubicBezTo>
                    <a:pt x="110" y="94"/>
                    <a:pt x="110" y="93"/>
                    <a:pt x="110" y="93"/>
                  </a:cubicBezTo>
                  <a:cubicBezTo>
                    <a:pt x="110" y="91"/>
                    <a:pt x="111" y="87"/>
                    <a:pt x="113" y="86"/>
                  </a:cubicBezTo>
                  <a:cubicBezTo>
                    <a:pt x="121" y="84"/>
                    <a:pt x="121" y="84"/>
                    <a:pt x="121" y="84"/>
                  </a:cubicBezTo>
                  <a:cubicBezTo>
                    <a:pt x="121" y="84"/>
                    <a:pt x="122" y="83"/>
                    <a:pt x="122" y="83"/>
                  </a:cubicBezTo>
                  <a:cubicBezTo>
                    <a:pt x="123" y="83"/>
                    <a:pt x="123" y="83"/>
                    <a:pt x="123" y="83"/>
                  </a:cubicBezTo>
                  <a:cubicBezTo>
                    <a:pt x="125" y="82"/>
                    <a:pt x="129" y="81"/>
                    <a:pt x="131" y="80"/>
                  </a:cubicBezTo>
                  <a:cubicBezTo>
                    <a:pt x="131" y="80"/>
                    <a:pt x="131" y="80"/>
                    <a:pt x="131" y="80"/>
                  </a:cubicBezTo>
                  <a:cubicBezTo>
                    <a:pt x="131" y="80"/>
                    <a:pt x="131" y="80"/>
                    <a:pt x="131" y="80"/>
                  </a:cubicBezTo>
                  <a:cubicBezTo>
                    <a:pt x="131" y="78"/>
                    <a:pt x="130" y="77"/>
                    <a:pt x="130" y="77"/>
                  </a:cubicBezTo>
                  <a:cubicBezTo>
                    <a:pt x="130" y="73"/>
                    <a:pt x="130" y="73"/>
                    <a:pt x="130" y="73"/>
                  </a:cubicBezTo>
                  <a:cubicBezTo>
                    <a:pt x="135" y="74"/>
                    <a:pt x="135" y="74"/>
                    <a:pt x="135" y="74"/>
                  </a:cubicBezTo>
                  <a:cubicBezTo>
                    <a:pt x="135" y="74"/>
                    <a:pt x="136" y="74"/>
                    <a:pt x="137" y="74"/>
                  </a:cubicBezTo>
                  <a:cubicBezTo>
                    <a:pt x="137" y="74"/>
                    <a:pt x="138" y="74"/>
                    <a:pt x="138" y="75"/>
                  </a:cubicBezTo>
                  <a:cubicBezTo>
                    <a:pt x="139" y="75"/>
                    <a:pt x="140" y="75"/>
                    <a:pt x="141" y="75"/>
                  </a:cubicBezTo>
                  <a:cubicBezTo>
                    <a:pt x="142" y="75"/>
                    <a:pt x="143" y="75"/>
                    <a:pt x="145" y="73"/>
                  </a:cubicBezTo>
                  <a:cubicBezTo>
                    <a:pt x="145" y="73"/>
                    <a:pt x="145" y="73"/>
                    <a:pt x="145" y="73"/>
                  </a:cubicBezTo>
                  <a:cubicBezTo>
                    <a:pt x="146" y="73"/>
                    <a:pt x="146" y="73"/>
                    <a:pt x="146" y="73"/>
                  </a:cubicBezTo>
                  <a:cubicBezTo>
                    <a:pt x="147" y="72"/>
                    <a:pt x="149" y="70"/>
                    <a:pt x="151" y="70"/>
                  </a:cubicBezTo>
                  <a:cubicBezTo>
                    <a:pt x="151" y="70"/>
                    <a:pt x="151" y="70"/>
                    <a:pt x="151" y="70"/>
                  </a:cubicBezTo>
                  <a:cubicBezTo>
                    <a:pt x="152" y="70"/>
                    <a:pt x="152" y="70"/>
                    <a:pt x="152" y="70"/>
                  </a:cubicBezTo>
                  <a:cubicBezTo>
                    <a:pt x="152" y="70"/>
                    <a:pt x="152" y="70"/>
                    <a:pt x="153" y="70"/>
                  </a:cubicBezTo>
                  <a:cubicBezTo>
                    <a:pt x="153" y="70"/>
                    <a:pt x="153" y="70"/>
                    <a:pt x="153" y="70"/>
                  </a:cubicBezTo>
                  <a:cubicBezTo>
                    <a:pt x="154" y="71"/>
                    <a:pt x="154" y="71"/>
                    <a:pt x="154" y="71"/>
                  </a:cubicBezTo>
                  <a:cubicBezTo>
                    <a:pt x="156" y="72"/>
                    <a:pt x="156" y="73"/>
                    <a:pt x="156" y="74"/>
                  </a:cubicBezTo>
                  <a:cubicBezTo>
                    <a:pt x="156" y="75"/>
                    <a:pt x="157" y="77"/>
                    <a:pt x="157" y="78"/>
                  </a:cubicBezTo>
                  <a:cubicBezTo>
                    <a:pt x="157" y="78"/>
                    <a:pt x="157" y="79"/>
                    <a:pt x="157" y="79"/>
                  </a:cubicBezTo>
                  <a:cubicBezTo>
                    <a:pt x="157" y="80"/>
                    <a:pt x="158" y="80"/>
                    <a:pt x="158" y="80"/>
                  </a:cubicBezTo>
                  <a:cubicBezTo>
                    <a:pt x="158" y="80"/>
                    <a:pt x="158" y="80"/>
                    <a:pt x="158" y="80"/>
                  </a:cubicBezTo>
                  <a:cubicBezTo>
                    <a:pt x="159" y="80"/>
                    <a:pt x="159" y="80"/>
                    <a:pt x="159" y="80"/>
                  </a:cubicBezTo>
                  <a:cubicBezTo>
                    <a:pt x="159" y="79"/>
                    <a:pt x="160" y="78"/>
                    <a:pt x="161" y="78"/>
                  </a:cubicBezTo>
                  <a:cubicBezTo>
                    <a:pt x="162" y="78"/>
                    <a:pt x="163" y="77"/>
                    <a:pt x="164" y="77"/>
                  </a:cubicBezTo>
                  <a:cubicBezTo>
                    <a:pt x="165" y="77"/>
                    <a:pt x="166" y="77"/>
                    <a:pt x="167" y="77"/>
                  </a:cubicBezTo>
                  <a:cubicBezTo>
                    <a:pt x="167" y="77"/>
                    <a:pt x="167" y="77"/>
                    <a:pt x="168" y="77"/>
                  </a:cubicBezTo>
                  <a:cubicBezTo>
                    <a:pt x="169" y="77"/>
                    <a:pt x="170" y="77"/>
                    <a:pt x="170" y="77"/>
                  </a:cubicBezTo>
                  <a:cubicBezTo>
                    <a:pt x="171" y="78"/>
                    <a:pt x="171" y="78"/>
                    <a:pt x="171" y="78"/>
                  </a:cubicBezTo>
                  <a:cubicBezTo>
                    <a:pt x="171" y="77"/>
                    <a:pt x="171" y="77"/>
                    <a:pt x="171" y="77"/>
                  </a:cubicBezTo>
                  <a:cubicBezTo>
                    <a:pt x="172" y="77"/>
                    <a:pt x="172" y="76"/>
                    <a:pt x="173" y="75"/>
                  </a:cubicBezTo>
                  <a:cubicBezTo>
                    <a:pt x="174" y="74"/>
                    <a:pt x="174" y="73"/>
                    <a:pt x="175" y="72"/>
                  </a:cubicBezTo>
                  <a:cubicBezTo>
                    <a:pt x="175" y="72"/>
                    <a:pt x="175" y="72"/>
                    <a:pt x="175" y="72"/>
                  </a:cubicBezTo>
                  <a:cubicBezTo>
                    <a:pt x="175" y="71"/>
                    <a:pt x="175" y="70"/>
                    <a:pt x="175" y="69"/>
                  </a:cubicBezTo>
                  <a:cubicBezTo>
                    <a:pt x="176" y="68"/>
                    <a:pt x="176" y="68"/>
                    <a:pt x="176" y="68"/>
                  </a:cubicBezTo>
                  <a:cubicBezTo>
                    <a:pt x="177" y="66"/>
                    <a:pt x="178" y="66"/>
                    <a:pt x="178" y="65"/>
                  </a:cubicBezTo>
                  <a:cubicBezTo>
                    <a:pt x="179" y="65"/>
                    <a:pt x="179" y="64"/>
                    <a:pt x="180" y="64"/>
                  </a:cubicBezTo>
                  <a:cubicBezTo>
                    <a:pt x="182" y="61"/>
                    <a:pt x="183" y="59"/>
                    <a:pt x="186" y="58"/>
                  </a:cubicBezTo>
                  <a:cubicBezTo>
                    <a:pt x="189" y="57"/>
                    <a:pt x="193" y="57"/>
                    <a:pt x="196" y="57"/>
                  </a:cubicBezTo>
                  <a:cubicBezTo>
                    <a:pt x="197" y="56"/>
                    <a:pt x="199" y="56"/>
                    <a:pt x="200" y="56"/>
                  </a:cubicBezTo>
                  <a:cubicBezTo>
                    <a:pt x="202" y="56"/>
                    <a:pt x="202" y="56"/>
                    <a:pt x="202" y="56"/>
                  </a:cubicBezTo>
                  <a:cubicBezTo>
                    <a:pt x="205" y="56"/>
                    <a:pt x="207" y="56"/>
                    <a:pt x="209" y="55"/>
                  </a:cubicBezTo>
                  <a:cubicBezTo>
                    <a:pt x="216" y="54"/>
                    <a:pt x="216" y="54"/>
                    <a:pt x="216" y="54"/>
                  </a:cubicBezTo>
                  <a:cubicBezTo>
                    <a:pt x="216" y="54"/>
                    <a:pt x="216" y="54"/>
                    <a:pt x="216" y="54"/>
                  </a:cubicBezTo>
                  <a:cubicBezTo>
                    <a:pt x="217" y="54"/>
                    <a:pt x="217" y="53"/>
                    <a:pt x="218" y="53"/>
                  </a:cubicBezTo>
                  <a:cubicBezTo>
                    <a:pt x="219" y="52"/>
                    <a:pt x="219" y="52"/>
                    <a:pt x="219" y="52"/>
                  </a:cubicBezTo>
                  <a:cubicBezTo>
                    <a:pt x="219" y="51"/>
                    <a:pt x="219" y="51"/>
                    <a:pt x="220" y="50"/>
                  </a:cubicBezTo>
                  <a:cubicBezTo>
                    <a:pt x="220" y="50"/>
                    <a:pt x="221" y="49"/>
                    <a:pt x="221" y="49"/>
                  </a:cubicBezTo>
                  <a:cubicBezTo>
                    <a:pt x="223" y="47"/>
                    <a:pt x="225" y="44"/>
                    <a:pt x="228" y="43"/>
                  </a:cubicBezTo>
                  <a:cubicBezTo>
                    <a:pt x="228" y="43"/>
                    <a:pt x="228" y="43"/>
                    <a:pt x="228" y="43"/>
                  </a:cubicBezTo>
                  <a:cubicBezTo>
                    <a:pt x="231" y="41"/>
                    <a:pt x="235" y="40"/>
                    <a:pt x="238" y="39"/>
                  </a:cubicBezTo>
                  <a:cubicBezTo>
                    <a:pt x="239" y="38"/>
                    <a:pt x="239" y="38"/>
                    <a:pt x="239" y="38"/>
                  </a:cubicBezTo>
                  <a:cubicBezTo>
                    <a:pt x="241" y="38"/>
                    <a:pt x="242" y="37"/>
                    <a:pt x="243" y="37"/>
                  </a:cubicBezTo>
                  <a:cubicBezTo>
                    <a:pt x="248" y="35"/>
                    <a:pt x="253" y="33"/>
                    <a:pt x="258" y="31"/>
                  </a:cubicBezTo>
                  <a:cubicBezTo>
                    <a:pt x="262" y="30"/>
                    <a:pt x="262" y="30"/>
                    <a:pt x="262" y="30"/>
                  </a:cubicBezTo>
                  <a:cubicBezTo>
                    <a:pt x="263" y="30"/>
                    <a:pt x="263" y="30"/>
                    <a:pt x="263" y="30"/>
                  </a:cubicBezTo>
                  <a:cubicBezTo>
                    <a:pt x="263" y="29"/>
                    <a:pt x="263" y="29"/>
                    <a:pt x="263" y="29"/>
                  </a:cubicBezTo>
                  <a:cubicBezTo>
                    <a:pt x="263" y="28"/>
                    <a:pt x="263" y="28"/>
                    <a:pt x="263" y="28"/>
                  </a:cubicBezTo>
                  <a:cubicBezTo>
                    <a:pt x="263" y="28"/>
                    <a:pt x="263" y="28"/>
                    <a:pt x="263" y="28"/>
                  </a:cubicBezTo>
                  <a:cubicBezTo>
                    <a:pt x="263" y="28"/>
                    <a:pt x="263" y="28"/>
                    <a:pt x="263" y="28"/>
                  </a:cubicBezTo>
                  <a:cubicBezTo>
                    <a:pt x="262" y="27"/>
                    <a:pt x="262" y="27"/>
                    <a:pt x="261" y="26"/>
                  </a:cubicBezTo>
                  <a:cubicBezTo>
                    <a:pt x="260" y="25"/>
                    <a:pt x="260" y="25"/>
                    <a:pt x="259" y="24"/>
                  </a:cubicBezTo>
                  <a:cubicBezTo>
                    <a:pt x="258" y="24"/>
                    <a:pt x="258" y="23"/>
                    <a:pt x="257" y="23"/>
                  </a:cubicBezTo>
                  <a:cubicBezTo>
                    <a:pt x="257" y="23"/>
                    <a:pt x="256" y="23"/>
                    <a:pt x="255" y="23"/>
                  </a:cubicBezTo>
                  <a:cubicBezTo>
                    <a:pt x="254" y="22"/>
                    <a:pt x="253" y="22"/>
                    <a:pt x="252" y="22"/>
                  </a:cubicBezTo>
                  <a:cubicBezTo>
                    <a:pt x="248" y="22"/>
                    <a:pt x="245" y="22"/>
                    <a:pt x="242" y="17"/>
                  </a:cubicBezTo>
                  <a:cubicBezTo>
                    <a:pt x="241" y="16"/>
                    <a:pt x="241" y="16"/>
                    <a:pt x="241" y="16"/>
                  </a:cubicBezTo>
                  <a:cubicBezTo>
                    <a:pt x="241" y="16"/>
                    <a:pt x="240" y="14"/>
                    <a:pt x="240" y="13"/>
                  </a:cubicBezTo>
                  <a:cubicBezTo>
                    <a:pt x="239" y="12"/>
                    <a:pt x="239" y="12"/>
                    <a:pt x="239" y="12"/>
                  </a:cubicBezTo>
                  <a:cubicBezTo>
                    <a:pt x="239" y="12"/>
                    <a:pt x="239" y="12"/>
                    <a:pt x="239" y="12"/>
                  </a:cubicBezTo>
                  <a:cubicBezTo>
                    <a:pt x="238" y="12"/>
                    <a:pt x="238" y="12"/>
                    <a:pt x="238" y="12"/>
                  </a:cubicBezTo>
                  <a:cubicBezTo>
                    <a:pt x="237" y="13"/>
                    <a:pt x="236" y="13"/>
                    <a:pt x="235" y="13"/>
                  </a:cubicBezTo>
                  <a:cubicBezTo>
                    <a:pt x="234" y="13"/>
                    <a:pt x="232" y="12"/>
                    <a:pt x="230" y="12"/>
                  </a:cubicBezTo>
                  <a:cubicBezTo>
                    <a:pt x="227" y="11"/>
                    <a:pt x="227" y="11"/>
                    <a:pt x="227" y="11"/>
                  </a:cubicBezTo>
                  <a:cubicBezTo>
                    <a:pt x="227" y="11"/>
                    <a:pt x="226" y="10"/>
                    <a:pt x="225" y="10"/>
                  </a:cubicBezTo>
                  <a:cubicBezTo>
                    <a:pt x="224" y="10"/>
                    <a:pt x="224" y="10"/>
                    <a:pt x="223" y="10"/>
                  </a:cubicBezTo>
                  <a:cubicBezTo>
                    <a:pt x="222" y="10"/>
                    <a:pt x="222" y="10"/>
                    <a:pt x="222" y="10"/>
                  </a:cubicBezTo>
                  <a:cubicBezTo>
                    <a:pt x="221" y="10"/>
                    <a:pt x="221" y="10"/>
                    <a:pt x="220" y="10"/>
                  </a:cubicBezTo>
                  <a:cubicBezTo>
                    <a:pt x="219" y="10"/>
                    <a:pt x="219" y="10"/>
                    <a:pt x="219" y="10"/>
                  </a:cubicBezTo>
                  <a:cubicBezTo>
                    <a:pt x="218" y="10"/>
                    <a:pt x="217" y="10"/>
                    <a:pt x="216" y="10"/>
                  </a:cubicBezTo>
                  <a:cubicBezTo>
                    <a:pt x="211" y="10"/>
                    <a:pt x="207" y="10"/>
                    <a:pt x="203" y="9"/>
                  </a:cubicBezTo>
                  <a:cubicBezTo>
                    <a:pt x="201" y="9"/>
                    <a:pt x="201" y="9"/>
                    <a:pt x="201" y="9"/>
                  </a:cubicBezTo>
                  <a:cubicBezTo>
                    <a:pt x="200" y="9"/>
                    <a:pt x="200" y="9"/>
                    <a:pt x="199" y="9"/>
                  </a:cubicBezTo>
                  <a:cubicBezTo>
                    <a:pt x="199" y="13"/>
                    <a:pt x="199" y="13"/>
                    <a:pt x="199" y="13"/>
                  </a:cubicBezTo>
                  <a:cubicBezTo>
                    <a:pt x="197" y="9"/>
                    <a:pt x="197" y="9"/>
                    <a:pt x="197" y="9"/>
                  </a:cubicBezTo>
                  <a:cubicBezTo>
                    <a:pt x="197" y="9"/>
                    <a:pt x="197" y="9"/>
                    <a:pt x="197" y="9"/>
                  </a:cubicBezTo>
                  <a:cubicBezTo>
                    <a:pt x="191" y="9"/>
                    <a:pt x="185" y="9"/>
                    <a:pt x="180" y="8"/>
                  </a:cubicBezTo>
                  <a:cubicBezTo>
                    <a:pt x="178" y="8"/>
                    <a:pt x="178" y="8"/>
                    <a:pt x="178" y="8"/>
                  </a:cubicBezTo>
                  <a:cubicBezTo>
                    <a:pt x="176" y="8"/>
                    <a:pt x="174" y="8"/>
                    <a:pt x="172" y="8"/>
                  </a:cubicBezTo>
                  <a:cubicBezTo>
                    <a:pt x="172" y="8"/>
                    <a:pt x="172" y="8"/>
                    <a:pt x="172" y="8"/>
                  </a:cubicBezTo>
                  <a:cubicBezTo>
                    <a:pt x="169" y="8"/>
                    <a:pt x="166" y="8"/>
                    <a:pt x="163" y="8"/>
                  </a:cubicBezTo>
                  <a:cubicBezTo>
                    <a:pt x="161" y="8"/>
                    <a:pt x="160" y="8"/>
                    <a:pt x="158" y="8"/>
                  </a:cubicBezTo>
                  <a:cubicBezTo>
                    <a:pt x="158" y="8"/>
                    <a:pt x="158" y="8"/>
                    <a:pt x="158" y="8"/>
                  </a:cubicBezTo>
                  <a:cubicBezTo>
                    <a:pt x="157" y="8"/>
                    <a:pt x="156" y="8"/>
                    <a:pt x="155" y="9"/>
                  </a:cubicBezTo>
                  <a:cubicBezTo>
                    <a:pt x="152" y="10"/>
                    <a:pt x="150" y="11"/>
                    <a:pt x="147" y="11"/>
                  </a:cubicBezTo>
                  <a:cubicBezTo>
                    <a:pt x="146" y="11"/>
                    <a:pt x="145" y="11"/>
                    <a:pt x="145" y="10"/>
                  </a:cubicBezTo>
                  <a:cubicBezTo>
                    <a:pt x="143" y="10"/>
                    <a:pt x="143" y="10"/>
                    <a:pt x="143" y="10"/>
                  </a:cubicBezTo>
                  <a:cubicBezTo>
                    <a:pt x="142" y="10"/>
                    <a:pt x="141" y="10"/>
                    <a:pt x="141" y="10"/>
                  </a:cubicBezTo>
                  <a:cubicBezTo>
                    <a:pt x="138" y="9"/>
                    <a:pt x="138" y="9"/>
                    <a:pt x="138" y="9"/>
                  </a:cubicBezTo>
                  <a:cubicBezTo>
                    <a:pt x="137" y="9"/>
                    <a:pt x="136" y="8"/>
                    <a:pt x="135" y="8"/>
                  </a:cubicBezTo>
                  <a:cubicBezTo>
                    <a:pt x="134" y="7"/>
                    <a:pt x="134" y="7"/>
                    <a:pt x="134" y="7"/>
                  </a:cubicBezTo>
                  <a:cubicBezTo>
                    <a:pt x="132" y="7"/>
                    <a:pt x="131" y="6"/>
                    <a:pt x="129" y="5"/>
                  </a:cubicBezTo>
                  <a:cubicBezTo>
                    <a:pt x="128" y="5"/>
                    <a:pt x="128" y="5"/>
                    <a:pt x="128" y="5"/>
                  </a:cubicBezTo>
                  <a:cubicBezTo>
                    <a:pt x="127" y="4"/>
                    <a:pt x="127" y="4"/>
                    <a:pt x="127" y="4"/>
                  </a:cubicBezTo>
                  <a:cubicBezTo>
                    <a:pt x="126" y="3"/>
                    <a:pt x="125" y="3"/>
                    <a:pt x="124" y="2"/>
                  </a:cubicBezTo>
                  <a:cubicBezTo>
                    <a:pt x="122" y="1"/>
                    <a:pt x="120" y="1"/>
                    <a:pt x="118" y="1"/>
                  </a:cubicBezTo>
                  <a:cubicBezTo>
                    <a:pt x="117" y="0"/>
                    <a:pt x="116"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Rectangle 535"/>
            <p:cNvSpPr>
              <a:spLocks noChangeArrowheads="1"/>
            </p:cNvSpPr>
            <p:nvPr/>
          </p:nvSpPr>
          <p:spPr bwMode="auto">
            <a:xfrm>
              <a:off x="3217032" y="2295402"/>
              <a:ext cx="1343" cy="26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Rectangle 536"/>
            <p:cNvSpPr>
              <a:spLocks noChangeArrowheads="1"/>
            </p:cNvSpPr>
            <p:nvPr/>
          </p:nvSpPr>
          <p:spPr bwMode="auto">
            <a:xfrm>
              <a:off x="3217032" y="2295402"/>
              <a:ext cx="1343" cy="26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537"/>
            <p:cNvSpPr>
              <a:spLocks noEditPoints="1"/>
            </p:cNvSpPr>
            <p:nvPr/>
          </p:nvSpPr>
          <p:spPr bwMode="auto">
            <a:xfrm>
              <a:off x="2020307" y="1997228"/>
              <a:ext cx="1301489" cy="796474"/>
            </a:xfrm>
            <a:custGeom>
              <a:gdLst>
                <a:gd name="T0" fmla="*/ 79 w 410"/>
                <a:gd name="T1" fmla="*/ 12 h 251"/>
                <a:gd name="T2" fmla="*/ 71 w 410"/>
                <a:gd name="T3" fmla="*/ 2 h 251"/>
                <a:gd name="T4" fmla="*/ 66 w 410"/>
                <a:gd name="T5" fmla="*/ 10 h 251"/>
                <a:gd name="T6" fmla="*/ 64 w 410"/>
                <a:gd name="T7" fmla="*/ 26 h 251"/>
                <a:gd name="T8" fmla="*/ 64 w 410"/>
                <a:gd name="T9" fmla="*/ 34 h 251"/>
                <a:gd name="T10" fmla="*/ 55 w 410"/>
                <a:gd name="T11" fmla="*/ 43 h 251"/>
                <a:gd name="T12" fmla="*/ 61 w 410"/>
                <a:gd name="T13" fmla="*/ 11 h 251"/>
                <a:gd name="T14" fmla="*/ 1 w 410"/>
                <a:gd name="T15" fmla="*/ 27 h 251"/>
                <a:gd name="T16" fmla="*/ 10 w 410"/>
                <a:gd name="T17" fmla="*/ 132 h 251"/>
                <a:gd name="T18" fmla="*/ 20 w 410"/>
                <a:gd name="T19" fmla="*/ 131 h 251"/>
                <a:gd name="T20" fmla="*/ 36 w 410"/>
                <a:gd name="T21" fmla="*/ 108 h 251"/>
                <a:gd name="T22" fmla="*/ 53 w 410"/>
                <a:gd name="T23" fmla="*/ 98 h 251"/>
                <a:gd name="T24" fmla="*/ 71 w 410"/>
                <a:gd name="T25" fmla="*/ 96 h 251"/>
                <a:gd name="T26" fmla="*/ 88 w 410"/>
                <a:gd name="T27" fmla="*/ 103 h 251"/>
                <a:gd name="T28" fmla="*/ 104 w 410"/>
                <a:gd name="T29" fmla="*/ 124 h 251"/>
                <a:gd name="T30" fmla="*/ 104 w 410"/>
                <a:gd name="T31" fmla="*/ 132 h 251"/>
                <a:gd name="T32" fmla="*/ 126 w 410"/>
                <a:gd name="T33" fmla="*/ 136 h 251"/>
                <a:gd name="T34" fmla="*/ 152 w 410"/>
                <a:gd name="T35" fmla="*/ 157 h 251"/>
                <a:gd name="T36" fmla="*/ 165 w 410"/>
                <a:gd name="T37" fmla="*/ 176 h 251"/>
                <a:gd name="T38" fmla="*/ 217 w 410"/>
                <a:gd name="T39" fmla="*/ 209 h 251"/>
                <a:gd name="T40" fmla="*/ 237 w 410"/>
                <a:gd name="T41" fmla="*/ 221 h 251"/>
                <a:gd name="T42" fmla="*/ 263 w 410"/>
                <a:gd name="T43" fmla="*/ 233 h 251"/>
                <a:gd name="T44" fmla="*/ 268 w 410"/>
                <a:gd name="T45" fmla="*/ 246 h 251"/>
                <a:gd name="T46" fmla="*/ 281 w 410"/>
                <a:gd name="T47" fmla="*/ 251 h 251"/>
                <a:gd name="T48" fmla="*/ 286 w 410"/>
                <a:gd name="T49" fmla="*/ 245 h 251"/>
                <a:gd name="T50" fmla="*/ 298 w 410"/>
                <a:gd name="T51" fmla="*/ 224 h 251"/>
                <a:gd name="T52" fmla="*/ 290 w 410"/>
                <a:gd name="T53" fmla="*/ 205 h 251"/>
                <a:gd name="T54" fmla="*/ 281 w 410"/>
                <a:gd name="T55" fmla="*/ 184 h 251"/>
                <a:gd name="T56" fmla="*/ 303 w 410"/>
                <a:gd name="T57" fmla="*/ 184 h 251"/>
                <a:gd name="T58" fmla="*/ 318 w 410"/>
                <a:gd name="T59" fmla="*/ 164 h 251"/>
                <a:gd name="T60" fmla="*/ 326 w 410"/>
                <a:gd name="T61" fmla="*/ 148 h 251"/>
                <a:gd name="T62" fmla="*/ 334 w 410"/>
                <a:gd name="T63" fmla="*/ 151 h 251"/>
                <a:gd name="T64" fmla="*/ 345 w 410"/>
                <a:gd name="T65" fmla="*/ 146 h 251"/>
                <a:gd name="T66" fmla="*/ 364 w 410"/>
                <a:gd name="T67" fmla="*/ 155 h 251"/>
                <a:gd name="T68" fmla="*/ 368 w 410"/>
                <a:gd name="T69" fmla="*/ 162 h 251"/>
                <a:gd name="T70" fmla="*/ 388 w 410"/>
                <a:gd name="T71" fmla="*/ 164 h 251"/>
                <a:gd name="T72" fmla="*/ 395 w 410"/>
                <a:gd name="T73" fmla="*/ 158 h 251"/>
                <a:gd name="T74" fmla="*/ 400 w 410"/>
                <a:gd name="T75" fmla="*/ 153 h 251"/>
                <a:gd name="T76" fmla="*/ 408 w 410"/>
                <a:gd name="T77" fmla="*/ 154 h 251"/>
                <a:gd name="T78" fmla="*/ 402 w 410"/>
                <a:gd name="T79" fmla="*/ 148 h 251"/>
                <a:gd name="T80" fmla="*/ 394 w 410"/>
                <a:gd name="T81" fmla="*/ 148 h 251"/>
                <a:gd name="T82" fmla="*/ 387 w 410"/>
                <a:gd name="T83" fmla="*/ 138 h 251"/>
                <a:gd name="T84" fmla="*/ 381 w 410"/>
                <a:gd name="T85" fmla="*/ 140 h 251"/>
                <a:gd name="T86" fmla="*/ 358 w 410"/>
                <a:gd name="T87" fmla="*/ 135 h 251"/>
                <a:gd name="T88" fmla="*/ 349 w 410"/>
                <a:gd name="T89" fmla="*/ 132 h 251"/>
                <a:gd name="T90" fmla="*/ 332 w 410"/>
                <a:gd name="T91" fmla="*/ 131 h 251"/>
                <a:gd name="T92" fmla="*/ 312 w 410"/>
                <a:gd name="T93" fmla="*/ 148 h 251"/>
                <a:gd name="T94" fmla="*/ 306 w 410"/>
                <a:gd name="T95" fmla="*/ 159 h 251"/>
                <a:gd name="T96" fmla="*/ 289 w 410"/>
                <a:gd name="T97" fmla="*/ 150 h 251"/>
                <a:gd name="T98" fmla="*/ 289 w 410"/>
                <a:gd name="T99" fmla="*/ 141 h 251"/>
                <a:gd name="T100" fmla="*/ 258 w 410"/>
                <a:gd name="T101" fmla="*/ 135 h 251"/>
                <a:gd name="T102" fmla="*/ 251 w 410"/>
                <a:gd name="T103" fmla="*/ 118 h 251"/>
                <a:gd name="T104" fmla="*/ 242 w 410"/>
                <a:gd name="T105" fmla="*/ 105 h 251"/>
                <a:gd name="T106" fmla="*/ 236 w 410"/>
                <a:gd name="T107" fmla="*/ 85 h 251"/>
                <a:gd name="T108" fmla="*/ 217 w 410"/>
                <a:gd name="T109" fmla="*/ 66 h 251"/>
                <a:gd name="T110" fmla="*/ 198 w 410"/>
                <a:gd name="T111" fmla="*/ 70 h 251"/>
                <a:gd name="T112" fmla="*/ 145 w 410"/>
                <a:gd name="T113" fmla="*/ 73 h 251"/>
                <a:gd name="T114" fmla="*/ 101 w 410"/>
                <a:gd name="T115" fmla="*/ 34 h 251"/>
                <a:gd name="T116" fmla="*/ 90 w 410"/>
                <a:gd name="T117" fmla="*/ 52 h 251"/>
                <a:gd name="T118" fmla="*/ 83 w 410"/>
                <a:gd name="T119" fmla="*/ 20 h 251"/>
                <a:gd name="T120" fmla="*/ 82 w 410"/>
                <a:gd name="T121" fmla="*/ 17 h 2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0" h="251">
                  <a:moveTo>
                    <a:pt x="79" y="12"/>
                  </a:moveTo>
                  <a:cubicBezTo>
                    <a:pt x="79" y="12"/>
                    <a:pt x="79" y="12"/>
                    <a:pt x="79" y="12"/>
                  </a:cubicBezTo>
                  <a:cubicBezTo>
                    <a:pt x="79" y="12"/>
                    <a:pt x="79" y="12"/>
                    <a:pt x="79" y="12"/>
                  </a:cubicBezTo>
                  <a:cubicBezTo>
                    <a:pt x="79" y="12"/>
                    <a:pt x="79" y="12"/>
                    <a:pt x="79" y="12"/>
                  </a:cubicBezTo>
                  <a:moveTo>
                    <a:pt x="79" y="14"/>
                  </a:moveTo>
                  <a:cubicBezTo>
                    <a:pt x="79" y="14"/>
                    <a:pt x="79" y="14"/>
                    <a:pt x="79" y="14"/>
                  </a:cubicBezTo>
                  <a:cubicBezTo>
                    <a:pt x="79" y="13"/>
                    <a:pt x="79" y="11"/>
                    <a:pt x="79" y="9"/>
                  </a:cubicBezTo>
                  <a:cubicBezTo>
                    <a:pt x="81" y="10"/>
                    <a:pt x="79" y="10"/>
                    <a:pt x="79" y="12"/>
                  </a:cubicBezTo>
                  <a:cubicBezTo>
                    <a:pt x="79" y="12"/>
                    <a:pt x="79" y="12"/>
                    <a:pt x="79" y="13"/>
                  </a:cubicBezTo>
                  <a:cubicBezTo>
                    <a:pt x="79" y="14"/>
                    <a:pt x="79" y="14"/>
                    <a:pt x="79" y="14"/>
                  </a:cubicBezTo>
                  <a:moveTo>
                    <a:pt x="74" y="0"/>
                  </a:moveTo>
                  <a:cubicBezTo>
                    <a:pt x="73" y="0"/>
                    <a:pt x="73" y="2"/>
                    <a:pt x="73" y="3"/>
                  </a:cubicBezTo>
                  <a:cubicBezTo>
                    <a:pt x="73" y="4"/>
                    <a:pt x="73" y="5"/>
                    <a:pt x="72" y="5"/>
                  </a:cubicBezTo>
                  <a:cubicBezTo>
                    <a:pt x="72" y="5"/>
                    <a:pt x="72" y="5"/>
                    <a:pt x="72" y="5"/>
                  </a:cubicBezTo>
                  <a:cubicBezTo>
                    <a:pt x="71" y="4"/>
                    <a:pt x="73" y="2"/>
                    <a:pt x="72" y="2"/>
                  </a:cubicBezTo>
                  <a:cubicBezTo>
                    <a:pt x="72" y="2"/>
                    <a:pt x="71" y="2"/>
                    <a:pt x="71" y="2"/>
                  </a:cubicBezTo>
                  <a:cubicBezTo>
                    <a:pt x="70" y="2"/>
                    <a:pt x="70" y="4"/>
                    <a:pt x="70" y="5"/>
                  </a:cubicBezTo>
                  <a:cubicBezTo>
                    <a:pt x="71" y="7"/>
                    <a:pt x="69" y="8"/>
                    <a:pt x="67" y="9"/>
                  </a:cubicBezTo>
                  <a:cubicBezTo>
                    <a:pt x="67" y="9"/>
                    <a:pt x="67" y="9"/>
                    <a:pt x="67" y="9"/>
                  </a:cubicBezTo>
                  <a:cubicBezTo>
                    <a:pt x="66" y="10"/>
                    <a:pt x="66" y="10"/>
                    <a:pt x="66" y="10"/>
                  </a:cubicBezTo>
                  <a:cubicBezTo>
                    <a:pt x="66" y="10"/>
                    <a:pt x="66" y="10"/>
                    <a:pt x="66" y="10"/>
                  </a:cubicBezTo>
                  <a:cubicBezTo>
                    <a:pt x="66" y="10"/>
                    <a:pt x="66" y="10"/>
                    <a:pt x="66" y="10"/>
                  </a:cubicBezTo>
                  <a:cubicBezTo>
                    <a:pt x="66" y="10"/>
                    <a:pt x="66" y="10"/>
                    <a:pt x="66" y="10"/>
                  </a:cubicBezTo>
                  <a:cubicBezTo>
                    <a:pt x="66" y="10"/>
                    <a:pt x="66" y="10"/>
                    <a:pt x="66" y="10"/>
                  </a:cubicBezTo>
                  <a:cubicBezTo>
                    <a:pt x="66" y="10"/>
                    <a:pt x="66" y="10"/>
                    <a:pt x="66" y="10"/>
                  </a:cubicBezTo>
                  <a:cubicBezTo>
                    <a:pt x="64" y="12"/>
                    <a:pt x="64" y="12"/>
                    <a:pt x="64" y="12"/>
                  </a:cubicBezTo>
                  <a:cubicBezTo>
                    <a:pt x="65" y="12"/>
                    <a:pt x="65" y="12"/>
                    <a:pt x="65" y="12"/>
                  </a:cubicBezTo>
                  <a:cubicBezTo>
                    <a:pt x="63" y="14"/>
                    <a:pt x="63" y="15"/>
                    <a:pt x="64" y="17"/>
                  </a:cubicBezTo>
                  <a:cubicBezTo>
                    <a:pt x="64" y="18"/>
                    <a:pt x="66" y="20"/>
                    <a:pt x="66" y="20"/>
                  </a:cubicBezTo>
                  <a:cubicBezTo>
                    <a:pt x="66" y="21"/>
                    <a:pt x="63" y="23"/>
                    <a:pt x="63" y="24"/>
                  </a:cubicBezTo>
                  <a:cubicBezTo>
                    <a:pt x="62" y="25"/>
                    <a:pt x="62" y="27"/>
                    <a:pt x="63" y="27"/>
                  </a:cubicBezTo>
                  <a:cubicBezTo>
                    <a:pt x="63" y="27"/>
                    <a:pt x="63" y="27"/>
                    <a:pt x="64" y="26"/>
                  </a:cubicBezTo>
                  <a:cubicBezTo>
                    <a:pt x="65" y="26"/>
                    <a:pt x="66" y="25"/>
                    <a:pt x="66" y="25"/>
                  </a:cubicBezTo>
                  <a:cubicBezTo>
                    <a:pt x="67" y="25"/>
                    <a:pt x="66" y="25"/>
                    <a:pt x="66" y="25"/>
                  </a:cubicBezTo>
                  <a:cubicBezTo>
                    <a:pt x="67" y="27"/>
                    <a:pt x="65" y="27"/>
                    <a:pt x="65" y="28"/>
                  </a:cubicBezTo>
                  <a:cubicBezTo>
                    <a:pt x="65" y="28"/>
                    <a:pt x="65" y="29"/>
                    <a:pt x="65" y="30"/>
                  </a:cubicBezTo>
                  <a:cubicBezTo>
                    <a:pt x="65" y="33"/>
                    <a:pt x="67" y="32"/>
                    <a:pt x="67" y="34"/>
                  </a:cubicBezTo>
                  <a:cubicBezTo>
                    <a:pt x="66" y="34"/>
                    <a:pt x="66" y="34"/>
                    <a:pt x="66" y="34"/>
                  </a:cubicBezTo>
                  <a:cubicBezTo>
                    <a:pt x="66" y="34"/>
                    <a:pt x="66" y="34"/>
                    <a:pt x="65" y="34"/>
                  </a:cubicBezTo>
                  <a:cubicBezTo>
                    <a:pt x="65" y="34"/>
                    <a:pt x="65" y="34"/>
                    <a:pt x="64" y="34"/>
                  </a:cubicBezTo>
                  <a:cubicBezTo>
                    <a:pt x="64" y="34"/>
                    <a:pt x="64" y="34"/>
                    <a:pt x="64" y="34"/>
                  </a:cubicBezTo>
                  <a:cubicBezTo>
                    <a:pt x="64" y="34"/>
                    <a:pt x="63" y="33"/>
                    <a:pt x="62" y="33"/>
                  </a:cubicBezTo>
                  <a:cubicBezTo>
                    <a:pt x="62" y="33"/>
                    <a:pt x="62" y="33"/>
                    <a:pt x="61" y="34"/>
                  </a:cubicBezTo>
                  <a:cubicBezTo>
                    <a:pt x="61" y="35"/>
                    <a:pt x="61" y="36"/>
                    <a:pt x="62" y="36"/>
                  </a:cubicBezTo>
                  <a:cubicBezTo>
                    <a:pt x="62" y="36"/>
                    <a:pt x="62" y="36"/>
                    <a:pt x="62" y="36"/>
                  </a:cubicBezTo>
                  <a:cubicBezTo>
                    <a:pt x="62" y="35"/>
                    <a:pt x="62" y="35"/>
                    <a:pt x="63" y="35"/>
                  </a:cubicBezTo>
                  <a:cubicBezTo>
                    <a:pt x="63" y="35"/>
                    <a:pt x="63" y="36"/>
                    <a:pt x="63" y="38"/>
                  </a:cubicBezTo>
                  <a:cubicBezTo>
                    <a:pt x="62" y="41"/>
                    <a:pt x="58" y="43"/>
                    <a:pt x="55" y="43"/>
                  </a:cubicBezTo>
                  <a:cubicBezTo>
                    <a:pt x="53" y="43"/>
                    <a:pt x="52" y="42"/>
                    <a:pt x="52" y="39"/>
                  </a:cubicBezTo>
                  <a:cubicBezTo>
                    <a:pt x="53" y="38"/>
                    <a:pt x="54" y="38"/>
                    <a:pt x="54" y="36"/>
                  </a:cubicBezTo>
                  <a:cubicBezTo>
                    <a:pt x="54" y="35"/>
                    <a:pt x="53" y="34"/>
                    <a:pt x="52" y="33"/>
                  </a:cubicBezTo>
                  <a:cubicBezTo>
                    <a:pt x="51" y="29"/>
                    <a:pt x="53" y="28"/>
                    <a:pt x="54" y="26"/>
                  </a:cubicBezTo>
                  <a:cubicBezTo>
                    <a:pt x="54" y="24"/>
                    <a:pt x="55" y="20"/>
                    <a:pt x="56" y="19"/>
                  </a:cubicBezTo>
                  <a:cubicBezTo>
                    <a:pt x="57" y="18"/>
                    <a:pt x="57" y="17"/>
                    <a:pt x="57" y="16"/>
                  </a:cubicBezTo>
                  <a:cubicBezTo>
                    <a:pt x="58" y="15"/>
                    <a:pt x="59" y="14"/>
                    <a:pt x="60" y="13"/>
                  </a:cubicBezTo>
                  <a:cubicBezTo>
                    <a:pt x="60" y="12"/>
                    <a:pt x="60" y="12"/>
                    <a:pt x="61" y="11"/>
                  </a:cubicBezTo>
                  <a:cubicBezTo>
                    <a:pt x="60" y="11"/>
                    <a:pt x="60" y="11"/>
                    <a:pt x="60" y="11"/>
                  </a:cubicBezTo>
                  <a:cubicBezTo>
                    <a:pt x="58" y="11"/>
                    <a:pt x="58" y="11"/>
                    <a:pt x="58" y="11"/>
                  </a:cubicBezTo>
                  <a:cubicBezTo>
                    <a:pt x="56" y="12"/>
                    <a:pt x="54" y="12"/>
                    <a:pt x="52" y="13"/>
                  </a:cubicBezTo>
                  <a:cubicBezTo>
                    <a:pt x="50" y="13"/>
                    <a:pt x="50" y="13"/>
                    <a:pt x="50" y="13"/>
                  </a:cubicBezTo>
                  <a:cubicBezTo>
                    <a:pt x="43" y="15"/>
                    <a:pt x="43" y="15"/>
                    <a:pt x="43" y="15"/>
                  </a:cubicBezTo>
                  <a:cubicBezTo>
                    <a:pt x="32" y="18"/>
                    <a:pt x="20" y="21"/>
                    <a:pt x="9" y="25"/>
                  </a:cubicBezTo>
                  <a:cubicBezTo>
                    <a:pt x="8" y="25"/>
                    <a:pt x="7" y="25"/>
                    <a:pt x="6" y="25"/>
                  </a:cubicBezTo>
                  <a:cubicBezTo>
                    <a:pt x="4" y="26"/>
                    <a:pt x="2" y="26"/>
                    <a:pt x="1" y="27"/>
                  </a:cubicBezTo>
                  <a:cubicBezTo>
                    <a:pt x="0" y="27"/>
                    <a:pt x="0" y="27"/>
                    <a:pt x="0" y="27"/>
                  </a:cubicBezTo>
                  <a:cubicBezTo>
                    <a:pt x="0" y="27"/>
                    <a:pt x="0" y="27"/>
                    <a:pt x="0" y="27"/>
                  </a:cubicBezTo>
                  <a:cubicBezTo>
                    <a:pt x="0" y="44"/>
                    <a:pt x="0" y="60"/>
                    <a:pt x="0" y="76"/>
                  </a:cubicBezTo>
                  <a:cubicBezTo>
                    <a:pt x="0" y="131"/>
                    <a:pt x="0" y="131"/>
                    <a:pt x="0" y="131"/>
                  </a:cubicBezTo>
                  <a:cubicBezTo>
                    <a:pt x="7" y="131"/>
                    <a:pt x="7" y="131"/>
                    <a:pt x="7" y="131"/>
                  </a:cubicBezTo>
                  <a:cubicBezTo>
                    <a:pt x="6" y="132"/>
                    <a:pt x="6" y="132"/>
                    <a:pt x="6" y="132"/>
                  </a:cubicBezTo>
                  <a:cubicBezTo>
                    <a:pt x="6" y="132"/>
                    <a:pt x="6" y="132"/>
                    <a:pt x="6" y="132"/>
                  </a:cubicBezTo>
                  <a:cubicBezTo>
                    <a:pt x="7" y="132"/>
                    <a:pt x="9" y="132"/>
                    <a:pt x="10" y="132"/>
                  </a:cubicBezTo>
                  <a:cubicBezTo>
                    <a:pt x="10" y="132"/>
                    <a:pt x="10" y="132"/>
                    <a:pt x="10" y="132"/>
                  </a:cubicBezTo>
                  <a:cubicBezTo>
                    <a:pt x="11" y="132"/>
                    <a:pt x="11" y="132"/>
                    <a:pt x="11" y="132"/>
                  </a:cubicBezTo>
                  <a:cubicBezTo>
                    <a:pt x="11" y="132"/>
                    <a:pt x="11" y="132"/>
                    <a:pt x="11" y="132"/>
                  </a:cubicBezTo>
                  <a:cubicBezTo>
                    <a:pt x="11" y="132"/>
                    <a:pt x="11" y="132"/>
                    <a:pt x="12" y="132"/>
                  </a:cubicBezTo>
                  <a:cubicBezTo>
                    <a:pt x="13" y="132"/>
                    <a:pt x="14" y="132"/>
                    <a:pt x="15" y="132"/>
                  </a:cubicBezTo>
                  <a:cubicBezTo>
                    <a:pt x="17" y="132"/>
                    <a:pt x="17" y="132"/>
                    <a:pt x="17" y="132"/>
                  </a:cubicBezTo>
                  <a:cubicBezTo>
                    <a:pt x="18" y="132"/>
                    <a:pt x="19" y="132"/>
                    <a:pt x="21" y="131"/>
                  </a:cubicBezTo>
                  <a:cubicBezTo>
                    <a:pt x="20" y="131"/>
                    <a:pt x="20" y="131"/>
                    <a:pt x="20" y="131"/>
                  </a:cubicBezTo>
                  <a:cubicBezTo>
                    <a:pt x="20" y="130"/>
                    <a:pt x="20" y="129"/>
                    <a:pt x="19" y="127"/>
                  </a:cubicBezTo>
                  <a:cubicBezTo>
                    <a:pt x="19" y="125"/>
                    <a:pt x="19" y="124"/>
                    <a:pt x="20" y="122"/>
                  </a:cubicBezTo>
                  <a:cubicBezTo>
                    <a:pt x="20" y="121"/>
                    <a:pt x="20" y="120"/>
                    <a:pt x="21" y="119"/>
                  </a:cubicBezTo>
                  <a:cubicBezTo>
                    <a:pt x="22" y="116"/>
                    <a:pt x="23" y="113"/>
                    <a:pt x="25" y="111"/>
                  </a:cubicBezTo>
                  <a:cubicBezTo>
                    <a:pt x="26" y="111"/>
                    <a:pt x="26" y="111"/>
                    <a:pt x="26" y="111"/>
                  </a:cubicBezTo>
                  <a:cubicBezTo>
                    <a:pt x="27" y="110"/>
                    <a:pt x="27" y="110"/>
                    <a:pt x="28" y="110"/>
                  </a:cubicBezTo>
                  <a:cubicBezTo>
                    <a:pt x="30" y="109"/>
                    <a:pt x="33" y="109"/>
                    <a:pt x="35" y="108"/>
                  </a:cubicBezTo>
                  <a:cubicBezTo>
                    <a:pt x="36" y="108"/>
                    <a:pt x="36" y="108"/>
                    <a:pt x="36" y="108"/>
                  </a:cubicBezTo>
                  <a:cubicBezTo>
                    <a:pt x="37" y="108"/>
                    <a:pt x="37" y="108"/>
                    <a:pt x="38" y="108"/>
                  </a:cubicBezTo>
                  <a:cubicBezTo>
                    <a:pt x="41" y="107"/>
                    <a:pt x="41" y="107"/>
                    <a:pt x="42" y="105"/>
                  </a:cubicBezTo>
                  <a:cubicBezTo>
                    <a:pt x="42" y="105"/>
                    <a:pt x="42" y="104"/>
                    <a:pt x="43" y="103"/>
                  </a:cubicBezTo>
                  <a:cubicBezTo>
                    <a:pt x="43" y="101"/>
                    <a:pt x="45" y="98"/>
                    <a:pt x="48" y="97"/>
                  </a:cubicBezTo>
                  <a:cubicBezTo>
                    <a:pt x="48" y="97"/>
                    <a:pt x="48" y="97"/>
                    <a:pt x="49" y="97"/>
                  </a:cubicBezTo>
                  <a:cubicBezTo>
                    <a:pt x="50" y="97"/>
                    <a:pt x="50" y="97"/>
                    <a:pt x="51" y="97"/>
                  </a:cubicBezTo>
                  <a:cubicBezTo>
                    <a:pt x="51" y="97"/>
                    <a:pt x="52" y="98"/>
                    <a:pt x="53" y="98"/>
                  </a:cubicBezTo>
                  <a:cubicBezTo>
                    <a:pt x="53" y="98"/>
                    <a:pt x="53" y="98"/>
                    <a:pt x="53" y="98"/>
                  </a:cubicBezTo>
                  <a:cubicBezTo>
                    <a:pt x="54" y="95"/>
                    <a:pt x="56" y="93"/>
                    <a:pt x="58" y="92"/>
                  </a:cubicBezTo>
                  <a:cubicBezTo>
                    <a:pt x="58" y="91"/>
                    <a:pt x="59" y="90"/>
                    <a:pt x="60" y="89"/>
                  </a:cubicBezTo>
                  <a:cubicBezTo>
                    <a:pt x="62" y="87"/>
                    <a:pt x="62" y="87"/>
                    <a:pt x="62" y="87"/>
                  </a:cubicBezTo>
                  <a:cubicBezTo>
                    <a:pt x="64" y="89"/>
                    <a:pt x="64" y="89"/>
                    <a:pt x="64" y="89"/>
                  </a:cubicBezTo>
                  <a:cubicBezTo>
                    <a:pt x="64" y="89"/>
                    <a:pt x="65" y="90"/>
                    <a:pt x="66" y="91"/>
                  </a:cubicBezTo>
                  <a:cubicBezTo>
                    <a:pt x="67" y="92"/>
                    <a:pt x="67" y="92"/>
                    <a:pt x="67" y="92"/>
                  </a:cubicBezTo>
                  <a:cubicBezTo>
                    <a:pt x="68" y="93"/>
                    <a:pt x="70" y="95"/>
                    <a:pt x="71" y="96"/>
                  </a:cubicBezTo>
                  <a:cubicBezTo>
                    <a:pt x="71" y="96"/>
                    <a:pt x="71" y="96"/>
                    <a:pt x="71" y="96"/>
                  </a:cubicBezTo>
                  <a:cubicBezTo>
                    <a:pt x="72" y="96"/>
                    <a:pt x="72" y="96"/>
                    <a:pt x="72" y="96"/>
                  </a:cubicBezTo>
                  <a:cubicBezTo>
                    <a:pt x="73" y="96"/>
                    <a:pt x="73" y="96"/>
                    <a:pt x="74" y="96"/>
                  </a:cubicBezTo>
                  <a:cubicBezTo>
                    <a:pt x="75" y="96"/>
                    <a:pt x="77" y="97"/>
                    <a:pt x="78" y="98"/>
                  </a:cubicBezTo>
                  <a:cubicBezTo>
                    <a:pt x="80" y="101"/>
                    <a:pt x="80" y="101"/>
                    <a:pt x="80" y="101"/>
                  </a:cubicBezTo>
                  <a:cubicBezTo>
                    <a:pt x="80" y="101"/>
                    <a:pt x="80" y="102"/>
                    <a:pt x="81" y="102"/>
                  </a:cubicBezTo>
                  <a:cubicBezTo>
                    <a:pt x="81" y="102"/>
                    <a:pt x="81" y="102"/>
                    <a:pt x="81" y="102"/>
                  </a:cubicBezTo>
                  <a:cubicBezTo>
                    <a:pt x="81" y="102"/>
                    <a:pt x="81" y="102"/>
                    <a:pt x="81" y="102"/>
                  </a:cubicBezTo>
                  <a:cubicBezTo>
                    <a:pt x="83" y="103"/>
                    <a:pt x="86" y="102"/>
                    <a:pt x="88" y="103"/>
                  </a:cubicBezTo>
                  <a:cubicBezTo>
                    <a:pt x="89" y="103"/>
                    <a:pt x="89" y="103"/>
                    <a:pt x="89" y="103"/>
                  </a:cubicBezTo>
                  <a:cubicBezTo>
                    <a:pt x="92" y="103"/>
                    <a:pt x="96" y="105"/>
                    <a:pt x="99" y="107"/>
                  </a:cubicBezTo>
                  <a:cubicBezTo>
                    <a:pt x="104" y="109"/>
                    <a:pt x="104" y="109"/>
                    <a:pt x="104" y="109"/>
                  </a:cubicBezTo>
                  <a:cubicBezTo>
                    <a:pt x="99" y="112"/>
                    <a:pt x="99" y="112"/>
                    <a:pt x="99" y="112"/>
                  </a:cubicBezTo>
                  <a:cubicBezTo>
                    <a:pt x="99" y="113"/>
                    <a:pt x="99" y="114"/>
                    <a:pt x="99" y="115"/>
                  </a:cubicBezTo>
                  <a:cubicBezTo>
                    <a:pt x="101" y="116"/>
                    <a:pt x="103" y="117"/>
                    <a:pt x="105" y="119"/>
                  </a:cubicBezTo>
                  <a:cubicBezTo>
                    <a:pt x="108" y="122"/>
                    <a:pt x="108" y="122"/>
                    <a:pt x="108" y="122"/>
                  </a:cubicBezTo>
                  <a:cubicBezTo>
                    <a:pt x="104" y="124"/>
                    <a:pt x="104" y="124"/>
                    <a:pt x="104" y="124"/>
                  </a:cubicBezTo>
                  <a:cubicBezTo>
                    <a:pt x="104" y="124"/>
                    <a:pt x="103" y="124"/>
                    <a:pt x="102" y="125"/>
                  </a:cubicBezTo>
                  <a:cubicBezTo>
                    <a:pt x="103" y="126"/>
                    <a:pt x="103" y="126"/>
                    <a:pt x="103" y="127"/>
                  </a:cubicBezTo>
                  <a:cubicBezTo>
                    <a:pt x="102" y="128"/>
                    <a:pt x="102" y="128"/>
                    <a:pt x="102" y="128"/>
                  </a:cubicBezTo>
                  <a:cubicBezTo>
                    <a:pt x="102" y="128"/>
                    <a:pt x="102" y="129"/>
                    <a:pt x="102" y="129"/>
                  </a:cubicBezTo>
                  <a:cubicBezTo>
                    <a:pt x="102" y="130"/>
                    <a:pt x="102" y="130"/>
                    <a:pt x="102" y="130"/>
                  </a:cubicBezTo>
                  <a:cubicBezTo>
                    <a:pt x="101" y="130"/>
                    <a:pt x="101" y="130"/>
                    <a:pt x="101" y="130"/>
                  </a:cubicBezTo>
                  <a:cubicBezTo>
                    <a:pt x="103" y="132"/>
                    <a:pt x="103" y="132"/>
                    <a:pt x="103" y="132"/>
                  </a:cubicBezTo>
                  <a:cubicBezTo>
                    <a:pt x="103" y="132"/>
                    <a:pt x="104" y="132"/>
                    <a:pt x="104" y="132"/>
                  </a:cubicBezTo>
                  <a:cubicBezTo>
                    <a:pt x="105" y="133"/>
                    <a:pt x="105" y="133"/>
                    <a:pt x="105" y="133"/>
                  </a:cubicBezTo>
                  <a:cubicBezTo>
                    <a:pt x="107" y="134"/>
                    <a:pt x="107" y="134"/>
                    <a:pt x="108" y="134"/>
                  </a:cubicBezTo>
                  <a:cubicBezTo>
                    <a:pt x="109" y="134"/>
                    <a:pt x="109" y="134"/>
                    <a:pt x="110" y="134"/>
                  </a:cubicBezTo>
                  <a:cubicBezTo>
                    <a:pt x="111" y="134"/>
                    <a:pt x="111" y="134"/>
                    <a:pt x="112" y="134"/>
                  </a:cubicBezTo>
                  <a:cubicBezTo>
                    <a:pt x="113" y="134"/>
                    <a:pt x="113" y="134"/>
                    <a:pt x="113" y="134"/>
                  </a:cubicBezTo>
                  <a:cubicBezTo>
                    <a:pt x="116" y="134"/>
                    <a:pt x="119" y="135"/>
                    <a:pt x="122" y="135"/>
                  </a:cubicBezTo>
                  <a:cubicBezTo>
                    <a:pt x="123" y="135"/>
                    <a:pt x="124" y="136"/>
                    <a:pt x="125" y="136"/>
                  </a:cubicBezTo>
                  <a:cubicBezTo>
                    <a:pt x="126" y="136"/>
                    <a:pt x="126" y="136"/>
                    <a:pt x="126" y="136"/>
                  </a:cubicBezTo>
                  <a:cubicBezTo>
                    <a:pt x="127" y="136"/>
                    <a:pt x="127" y="136"/>
                    <a:pt x="128" y="136"/>
                  </a:cubicBezTo>
                  <a:cubicBezTo>
                    <a:pt x="128" y="135"/>
                    <a:pt x="128" y="134"/>
                    <a:pt x="129" y="134"/>
                  </a:cubicBezTo>
                  <a:cubicBezTo>
                    <a:pt x="129" y="133"/>
                    <a:pt x="130" y="133"/>
                    <a:pt x="131" y="133"/>
                  </a:cubicBezTo>
                  <a:cubicBezTo>
                    <a:pt x="132" y="132"/>
                    <a:pt x="132" y="132"/>
                    <a:pt x="133" y="132"/>
                  </a:cubicBezTo>
                  <a:cubicBezTo>
                    <a:pt x="136" y="132"/>
                    <a:pt x="138" y="134"/>
                    <a:pt x="141" y="137"/>
                  </a:cubicBezTo>
                  <a:cubicBezTo>
                    <a:pt x="145" y="140"/>
                    <a:pt x="148" y="147"/>
                    <a:pt x="150" y="152"/>
                  </a:cubicBezTo>
                  <a:cubicBezTo>
                    <a:pt x="151" y="153"/>
                    <a:pt x="151" y="153"/>
                    <a:pt x="151" y="153"/>
                  </a:cubicBezTo>
                  <a:cubicBezTo>
                    <a:pt x="151" y="154"/>
                    <a:pt x="152" y="156"/>
                    <a:pt x="152" y="157"/>
                  </a:cubicBezTo>
                  <a:cubicBezTo>
                    <a:pt x="152" y="157"/>
                    <a:pt x="153" y="158"/>
                    <a:pt x="154" y="159"/>
                  </a:cubicBezTo>
                  <a:cubicBezTo>
                    <a:pt x="155" y="160"/>
                    <a:pt x="157" y="162"/>
                    <a:pt x="158" y="164"/>
                  </a:cubicBezTo>
                  <a:cubicBezTo>
                    <a:pt x="158" y="165"/>
                    <a:pt x="158" y="165"/>
                    <a:pt x="158" y="165"/>
                  </a:cubicBezTo>
                  <a:cubicBezTo>
                    <a:pt x="158" y="166"/>
                    <a:pt x="158" y="167"/>
                    <a:pt x="159" y="168"/>
                  </a:cubicBezTo>
                  <a:cubicBezTo>
                    <a:pt x="159" y="168"/>
                    <a:pt x="159" y="168"/>
                    <a:pt x="159" y="168"/>
                  </a:cubicBezTo>
                  <a:cubicBezTo>
                    <a:pt x="159" y="169"/>
                    <a:pt x="160" y="171"/>
                    <a:pt x="160" y="172"/>
                  </a:cubicBezTo>
                  <a:cubicBezTo>
                    <a:pt x="161" y="173"/>
                    <a:pt x="161" y="173"/>
                    <a:pt x="161" y="173"/>
                  </a:cubicBezTo>
                  <a:cubicBezTo>
                    <a:pt x="161" y="174"/>
                    <a:pt x="163" y="175"/>
                    <a:pt x="165" y="176"/>
                  </a:cubicBezTo>
                  <a:cubicBezTo>
                    <a:pt x="166" y="176"/>
                    <a:pt x="166" y="177"/>
                    <a:pt x="167" y="177"/>
                  </a:cubicBezTo>
                  <a:cubicBezTo>
                    <a:pt x="171" y="180"/>
                    <a:pt x="171" y="180"/>
                    <a:pt x="171" y="180"/>
                  </a:cubicBezTo>
                  <a:cubicBezTo>
                    <a:pt x="173" y="181"/>
                    <a:pt x="174" y="182"/>
                    <a:pt x="176" y="183"/>
                  </a:cubicBezTo>
                  <a:cubicBezTo>
                    <a:pt x="179" y="186"/>
                    <a:pt x="183" y="189"/>
                    <a:pt x="187" y="191"/>
                  </a:cubicBezTo>
                  <a:cubicBezTo>
                    <a:pt x="188" y="192"/>
                    <a:pt x="190" y="192"/>
                    <a:pt x="191" y="193"/>
                  </a:cubicBezTo>
                  <a:cubicBezTo>
                    <a:pt x="193" y="194"/>
                    <a:pt x="193" y="194"/>
                    <a:pt x="193" y="194"/>
                  </a:cubicBezTo>
                  <a:cubicBezTo>
                    <a:pt x="198" y="197"/>
                    <a:pt x="204" y="199"/>
                    <a:pt x="208" y="203"/>
                  </a:cubicBezTo>
                  <a:cubicBezTo>
                    <a:pt x="210" y="206"/>
                    <a:pt x="213" y="207"/>
                    <a:pt x="217" y="209"/>
                  </a:cubicBezTo>
                  <a:cubicBezTo>
                    <a:pt x="220" y="211"/>
                    <a:pt x="220" y="211"/>
                    <a:pt x="220" y="211"/>
                  </a:cubicBezTo>
                  <a:cubicBezTo>
                    <a:pt x="221" y="211"/>
                    <a:pt x="222" y="212"/>
                    <a:pt x="223" y="212"/>
                  </a:cubicBezTo>
                  <a:cubicBezTo>
                    <a:pt x="225" y="214"/>
                    <a:pt x="227" y="215"/>
                    <a:pt x="229" y="216"/>
                  </a:cubicBezTo>
                  <a:cubicBezTo>
                    <a:pt x="230" y="217"/>
                    <a:pt x="230" y="217"/>
                    <a:pt x="230" y="217"/>
                  </a:cubicBezTo>
                  <a:cubicBezTo>
                    <a:pt x="230" y="218"/>
                    <a:pt x="231" y="218"/>
                    <a:pt x="232" y="219"/>
                  </a:cubicBezTo>
                  <a:cubicBezTo>
                    <a:pt x="233" y="219"/>
                    <a:pt x="233" y="219"/>
                    <a:pt x="233" y="219"/>
                  </a:cubicBezTo>
                  <a:cubicBezTo>
                    <a:pt x="235" y="221"/>
                    <a:pt x="236" y="221"/>
                    <a:pt x="237" y="221"/>
                  </a:cubicBezTo>
                  <a:cubicBezTo>
                    <a:pt x="237" y="221"/>
                    <a:pt x="237" y="221"/>
                    <a:pt x="237" y="221"/>
                  </a:cubicBezTo>
                  <a:cubicBezTo>
                    <a:pt x="238" y="221"/>
                    <a:pt x="238" y="221"/>
                    <a:pt x="238" y="221"/>
                  </a:cubicBezTo>
                  <a:cubicBezTo>
                    <a:pt x="239" y="220"/>
                    <a:pt x="239" y="220"/>
                    <a:pt x="239" y="220"/>
                  </a:cubicBezTo>
                  <a:cubicBezTo>
                    <a:pt x="240" y="220"/>
                    <a:pt x="241" y="220"/>
                    <a:pt x="242" y="220"/>
                  </a:cubicBezTo>
                  <a:cubicBezTo>
                    <a:pt x="244" y="220"/>
                    <a:pt x="247" y="222"/>
                    <a:pt x="250" y="223"/>
                  </a:cubicBezTo>
                  <a:cubicBezTo>
                    <a:pt x="251" y="224"/>
                    <a:pt x="251" y="224"/>
                    <a:pt x="251" y="224"/>
                  </a:cubicBezTo>
                  <a:cubicBezTo>
                    <a:pt x="252" y="224"/>
                    <a:pt x="254" y="225"/>
                    <a:pt x="255" y="226"/>
                  </a:cubicBezTo>
                  <a:cubicBezTo>
                    <a:pt x="261" y="229"/>
                    <a:pt x="261" y="229"/>
                    <a:pt x="261" y="229"/>
                  </a:cubicBezTo>
                  <a:cubicBezTo>
                    <a:pt x="263" y="230"/>
                    <a:pt x="263" y="232"/>
                    <a:pt x="263" y="233"/>
                  </a:cubicBezTo>
                  <a:cubicBezTo>
                    <a:pt x="263" y="233"/>
                    <a:pt x="263" y="234"/>
                    <a:pt x="263" y="234"/>
                  </a:cubicBezTo>
                  <a:cubicBezTo>
                    <a:pt x="263" y="235"/>
                    <a:pt x="263" y="236"/>
                    <a:pt x="263" y="236"/>
                  </a:cubicBezTo>
                  <a:cubicBezTo>
                    <a:pt x="262" y="237"/>
                    <a:pt x="262" y="237"/>
                    <a:pt x="262" y="237"/>
                  </a:cubicBezTo>
                  <a:cubicBezTo>
                    <a:pt x="262" y="238"/>
                    <a:pt x="262" y="239"/>
                    <a:pt x="262" y="240"/>
                  </a:cubicBezTo>
                  <a:cubicBezTo>
                    <a:pt x="261" y="245"/>
                    <a:pt x="261" y="245"/>
                    <a:pt x="261" y="245"/>
                  </a:cubicBezTo>
                  <a:cubicBezTo>
                    <a:pt x="261" y="245"/>
                    <a:pt x="261" y="246"/>
                    <a:pt x="261" y="246"/>
                  </a:cubicBezTo>
                  <a:cubicBezTo>
                    <a:pt x="264" y="246"/>
                    <a:pt x="264" y="246"/>
                    <a:pt x="264" y="246"/>
                  </a:cubicBezTo>
                  <a:cubicBezTo>
                    <a:pt x="266" y="246"/>
                    <a:pt x="267" y="246"/>
                    <a:pt x="268" y="246"/>
                  </a:cubicBezTo>
                  <a:cubicBezTo>
                    <a:pt x="270" y="247"/>
                    <a:pt x="272" y="248"/>
                    <a:pt x="275" y="250"/>
                  </a:cubicBezTo>
                  <a:cubicBezTo>
                    <a:pt x="275" y="250"/>
                    <a:pt x="275" y="250"/>
                    <a:pt x="275" y="250"/>
                  </a:cubicBezTo>
                  <a:cubicBezTo>
                    <a:pt x="276" y="251"/>
                    <a:pt x="276" y="251"/>
                    <a:pt x="276" y="251"/>
                  </a:cubicBezTo>
                  <a:cubicBezTo>
                    <a:pt x="276" y="251"/>
                    <a:pt x="276" y="251"/>
                    <a:pt x="276" y="251"/>
                  </a:cubicBezTo>
                  <a:cubicBezTo>
                    <a:pt x="276" y="251"/>
                    <a:pt x="276" y="251"/>
                    <a:pt x="276" y="251"/>
                  </a:cubicBezTo>
                  <a:cubicBezTo>
                    <a:pt x="277" y="251"/>
                    <a:pt x="277" y="251"/>
                    <a:pt x="277" y="251"/>
                  </a:cubicBezTo>
                  <a:cubicBezTo>
                    <a:pt x="278" y="251"/>
                    <a:pt x="278" y="251"/>
                    <a:pt x="279" y="251"/>
                  </a:cubicBezTo>
                  <a:cubicBezTo>
                    <a:pt x="280" y="251"/>
                    <a:pt x="281" y="251"/>
                    <a:pt x="281" y="251"/>
                  </a:cubicBezTo>
                  <a:cubicBezTo>
                    <a:pt x="283" y="251"/>
                    <a:pt x="284" y="251"/>
                    <a:pt x="285" y="251"/>
                  </a:cubicBezTo>
                  <a:cubicBezTo>
                    <a:pt x="285" y="249"/>
                    <a:pt x="285" y="249"/>
                    <a:pt x="285" y="249"/>
                  </a:cubicBezTo>
                  <a:cubicBezTo>
                    <a:pt x="286" y="250"/>
                    <a:pt x="286" y="250"/>
                    <a:pt x="286" y="250"/>
                  </a:cubicBezTo>
                  <a:cubicBezTo>
                    <a:pt x="286" y="250"/>
                    <a:pt x="286" y="249"/>
                    <a:pt x="286" y="249"/>
                  </a:cubicBezTo>
                  <a:cubicBezTo>
                    <a:pt x="286" y="248"/>
                    <a:pt x="286" y="248"/>
                    <a:pt x="286" y="248"/>
                  </a:cubicBezTo>
                  <a:cubicBezTo>
                    <a:pt x="286" y="248"/>
                    <a:pt x="286" y="248"/>
                    <a:pt x="286" y="247"/>
                  </a:cubicBezTo>
                  <a:cubicBezTo>
                    <a:pt x="286" y="246"/>
                    <a:pt x="286" y="246"/>
                    <a:pt x="286" y="246"/>
                  </a:cubicBezTo>
                  <a:cubicBezTo>
                    <a:pt x="286" y="245"/>
                    <a:pt x="286" y="245"/>
                    <a:pt x="286" y="245"/>
                  </a:cubicBezTo>
                  <a:cubicBezTo>
                    <a:pt x="286" y="245"/>
                    <a:pt x="287" y="244"/>
                    <a:pt x="287" y="244"/>
                  </a:cubicBezTo>
                  <a:cubicBezTo>
                    <a:pt x="288" y="243"/>
                    <a:pt x="289" y="241"/>
                    <a:pt x="290" y="240"/>
                  </a:cubicBezTo>
                  <a:cubicBezTo>
                    <a:pt x="291" y="238"/>
                    <a:pt x="291" y="238"/>
                    <a:pt x="291" y="238"/>
                  </a:cubicBezTo>
                  <a:cubicBezTo>
                    <a:pt x="291" y="238"/>
                    <a:pt x="291" y="237"/>
                    <a:pt x="292" y="237"/>
                  </a:cubicBezTo>
                  <a:cubicBezTo>
                    <a:pt x="293" y="236"/>
                    <a:pt x="293" y="236"/>
                    <a:pt x="293" y="236"/>
                  </a:cubicBezTo>
                  <a:cubicBezTo>
                    <a:pt x="298" y="229"/>
                    <a:pt x="299" y="226"/>
                    <a:pt x="299" y="226"/>
                  </a:cubicBezTo>
                  <a:cubicBezTo>
                    <a:pt x="299" y="225"/>
                    <a:pt x="299" y="225"/>
                    <a:pt x="299" y="225"/>
                  </a:cubicBezTo>
                  <a:cubicBezTo>
                    <a:pt x="299" y="225"/>
                    <a:pt x="298" y="224"/>
                    <a:pt x="298" y="224"/>
                  </a:cubicBezTo>
                  <a:cubicBezTo>
                    <a:pt x="297" y="224"/>
                    <a:pt x="297" y="223"/>
                    <a:pt x="296" y="223"/>
                  </a:cubicBezTo>
                  <a:cubicBezTo>
                    <a:pt x="296" y="222"/>
                    <a:pt x="296" y="222"/>
                    <a:pt x="296" y="222"/>
                  </a:cubicBezTo>
                  <a:cubicBezTo>
                    <a:pt x="296" y="222"/>
                    <a:pt x="295" y="222"/>
                    <a:pt x="295" y="221"/>
                  </a:cubicBezTo>
                  <a:cubicBezTo>
                    <a:pt x="294" y="220"/>
                    <a:pt x="293" y="219"/>
                    <a:pt x="293" y="217"/>
                  </a:cubicBezTo>
                  <a:cubicBezTo>
                    <a:pt x="293" y="217"/>
                    <a:pt x="293" y="216"/>
                    <a:pt x="293" y="216"/>
                  </a:cubicBezTo>
                  <a:cubicBezTo>
                    <a:pt x="294" y="212"/>
                    <a:pt x="294" y="212"/>
                    <a:pt x="294" y="212"/>
                  </a:cubicBezTo>
                  <a:cubicBezTo>
                    <a:pt x="295" y="208"/>
                    <a:pt x="295" y="207"/>
                    <a:pt x="295" y="206"/>
                  </a:cubicBezTo>
                  <a:cubicBezTo>
                    <a:pt x="294" y="206"/>
                    <a:pt x="292" y="205"/>
                    <a:pt x="290" y="205"/>
                  </a:cubicBezTo>
                  <a:cubicBezTo>
                    <a:pt x="285" y="205"/>
                    <a:pt x="284" y="205"/>
                    <a:pt x="280" y="201"/>
                  </a:cubicBezTo>
                  <a:cubicBezTo>
                    <a:pt x="280" y="201"/>
                    <a:pt x="280" y="201"/>
                    <a:pt x="280" y="201"/>
                  </a:cubicBezTo>
                  <a:cubicBezTo>
                    <a:pt x="279" y="200"/>
                    <a:pt x="279" y="200"/>
                    <a:pt x="279" y="200"/>
                  </a:cubicBezTo>
                  <a:cubicBezTo>
                    <a:pt x="278" y="199"/>
                    <a:pt x="277" y="198"/>
                    <a:pt x="277" y="198"/>
                  </a:cubicBezTo>
                  <a:cubicBezTo>
                    <a:pt x="276" y="197"/>
                    <a:pt x="275" y="195"/>
                    <a:pt x="275" y="192"/>
                  </a:cubicBezTo>
                  <a:cubicBezTo>
                    <a:pt x="275" y="192"/>
                    <a:pt x="275" y="192"/>
                    <a:pt x="275" y="192"/>
                  </a:cubicBezTo>
                  <a:cubicBezTo>
                    <a:pt x="276" y="189"/>
                    <a:pt x="277" y="186"/>
                    <a:pt x="280" y="184"/>
                  </a:cubicBezTo>
                  <a:cubicBezTo>
                    <a:pt x="281" y="184"/>
                    <a:pt x="281" y="184"/>
                    <a:pt x="281" y="184"/>
                  </a:cubicBezTo>
                  <a:cubicBezTo>
                    <a:pt x="282" y="183"/>
                    <a:pt x="283" y="182"/>
                    <a:pt x="284" y="182"/>
                  </a:cubicBezTo>
                  <a:cubicBezTo>
                    <a:pt x="285" y="182"/>
                    <a:pt x="285" y="182"/>
                    <a:pt x="285" y="182"/>
                  </a:cubicBezTo>
                  <a:cubicBezTo>
                    <a:pt x="286" y="182"/>
                    <a:pt x="286" y="182"/>
                    <a:pt x="287" y="181"/>
                  </a:cubicBezTo>
                  <a:cubicBezTo>
                    <a:pt x="288" y="181"/>
                    <a:pt x="289" y="182"/>
                    <a:pt x="290" y="182"/>
                  </a:cubicBezTo>
                  <a:cubicBezTo>
                    <a:pt x="293" y="182"/>
                    <a:pt x="295" y="183"/>
                    <a:pt x="298" y="183"/>
                  </a:cubicBezTo>
                  <a:cubicBezTo>
                    <a:pt x="300" y="183"/>
                    <a:pt x="301" y="183"/>
                    <a:pt x="302" y="183"/>
                  </a:cubicBezTo>
                  <a:cubicBezTo>
                    <a:pt x="302" y="183"/>
                    <a:pt x="302" y="183"/>
                    <a:pt x="303" y="184"/>
                  </a:cubicBezTo>
                  <a:cubicBezTo>
                    <a:pt x="303" y="184"/>
                    <a:pt x="303" y="184"/>
                    <a:pt x="303" y="184"/>
                  </a:cubicBezTo>
                  <a:cubicBezTo>
                    <a:pt x="304" y="184"/>
                    <a:pt x="304" y="184"/>
                    <a:pt x="304" y="184"/>
                  </a:cubicBezTo>
                  <a:cubicBezTo>
                    <a:pt x="304" y="183"/>
                    <a:pt x="305" y="181"/>
                    <a:pt x="305" y="179"/>
                  </a:cubicBezTo>
                  <a:cubicBezTo>
                    <a:pt x="305" y="178"/>
                    <a:pt x="305" y="178"/>
                    <a:pt x="305" y="178"/>
                  </a:cubicBezTo>
                  <a:cubicBezTo>
                    <a:pt x="306" y="176"/>
                    <a:pt x="307" y="175"/>
                    <a:pt x="308" y="174"/>
                  </a:cubicBezTo>
                  <a:cubicBezTo>
                    <a:pt x="309" y="173"/>
                    <a:pt x="309" y="173"/>
                    <a:pt x="310" y="172"/>
                  </a:cubicBezTo>
                  <a:cubicBezTo>
                    <a:pt x="308" y="172"/>
                    <a:pt x="307" y="171"/>
                    <a:pt x="306" y="169"/>
                  </a:cubicBezTo>
                  <a:cubicBezTo>
                    <a:pt x="305" y="166"/>
                    <a:pt x="305" y="166"/>
                    <a:pt x="305" y="166"/>
                  </a:cubicBezTo>
                  <a:cubicBezTo>
                    <a:pt x="318" y="164"/>
                    <a:pt x="318" y="164"/>
                    <a:pt x="318" y="164"/>
                  </a:cubicBezTo>
                  <a:cubicBezTo>
                    <a:pt x="318" y="164"/>
                    <a:pt x="318" y="164"/>
                    <a:pt x="319" y="164"/>
                  </a:cubicBezTo>
                  <a:cubicBezTo>
                    <a:pt x="319" y="164"/>
                    <a:pt x="320" y="164"/>
                    <a:pt x="321" y="164"/>
                  </a:cubicBezTo>
                  <a:cubicBezTo>
                    <a:pt x="320" y="161"/>
                    <a:pt x="320" y="159"/>
                    <a:pt x="320" y="156"/>
                  </a:cubicBezTo>
                  <a:cubicBezTo>
                    <a:pt x="321" y="154"/>
                    <a:pt x="321" y="153"/>
                    <a:pt x="322" y="152"/>
                  </a:cubicBezTo>
                  <a:cubicBezTo>
                    <a:pt x="323" y="151"/>
                    <a:pt x="323" y="151"/>
                    <a:pt x="323" y="151"/>
                  </a:cubicBezTo>
                  <a:cubicBezTo>
                    <a:pt x="324" y="150"/>
                    <a:pt x="324" y="150"/>
                    <a:pt x="324" y="150"/>
                  </a:cubicBezTo>
                  <a:cubicBezTo>
                    <a:pt x="324" y="148"/>
                    <a:pt x="324" y="148"/>
                    <a:pt x="324" y="148"/>
                  </a:cubicBezTo>
                  <a:cubicBezTo>
                    <a:pt x="326" y="148"/>
                    <a:pt x="326" y="148"/>
                    <a:pt x="326" y="148"/>
                  </a:cubicBezTo>
                  <a:cubicBezTo>
                    <a:pt x="326" y="148"/>
                    <a:pt x="326" y="148"/>
                    <a:pt x="326" y="148"/>
                  </a:cubicBezTo>
                  <a:cubicBezTo>
                    <a:pt x="327" y="148"/>
                    <a:pt x="327" y="148"/>
                    <a:pt x="327" y="148"/>
                  </a:cubicBezTo>
                  <a:cubicBezTo>
                    <a:pt x="328" y="148"/>
                    <a:pt x="328" y="148"/>
                    <a:pt x="328" y="148"/>
                  </a:cubicBezTo>
                  <a:cubicBezTo>
                    <a:pt x="329" y="149"/>
                    <a:pt x="329" y="149"/>
                    <a:pt x="330" y="149"/>
                  </a:cubicBezTo>
                  <a:cubicBezTo>
                    <a:pt x="330" y="149"/>
                    <a:pt x="330" y="149"/>
                    <a:pt x="330" y="149"/>
                  </a:cubicBezTo>
                  <a:cubicBezTo>
                    <a:pt x="331" y="150"/>
                    <a:pt x="331" y="150"/>
                    <a:pt x="331" y="150"/>
                  </a:cubicBezTo>
                  <a:cubicBezTo>
                    <a:pt x="332" y="150"/>
                    <a:pt x="332" y="150"/>
                    <a:pt x="333" y="151"/>
                  </a:cubicBezTo>
                  <a:cubicBezTo>
                    <a:pt x="334" y="151"/>
                    <a:pt x="334" y="151"/>
                    <a:pt x="334" y="151"/>
                  </a:cubicBezTo>
                  <a:cubicBezTo>
                    <a:pt x="334" y="151"/>
                    <a:pt x="335" y="151"/>
                    <a:pt x="335" y="151"/>
                  </a:cubicBezTo>
                  <a:cubicBezTo>
                    <a:pt x="335" y="151"/>
                    <a:pt x="335" y="151"/>
                    <a:pt x="335" y="151"/>
                  </a:cubicBezTo>
                  <a:cubicBezTo>
                    <a:pt x="335" y="151"/>
                    <a:pt x="335" y="151"/>
                    <a:pt x="335" y="151"/>
                  </a:cubicBezTo>
                  <a:cubicBezTo>
                    <a:pt x="336" y="151"/>
                    <a:pt x="336" y="151"/>
                    <a:pt x="337" y="150"/>
                  </a:cubicBezTo>
                  <a:cubicBezTo>
                    <a:pt x="338" y="150"/>
                    <a:pt x="339" y="149"/>
                    <a:pt x="341" y="149"/>
                  </a:cubicBezTo>
                  <a:cubicBezTo>
                    <a:pt x="341" y="149"/>
                    <a:pt x="341" y="149"/>
                    <a:pt x="341" y="149"/>
                  </a:cubicBezTo>
                  <a:cubicBezTo>
                    <a:pt x="342" y="148"/>
                    <a:pt x="342" y="148"/>
                    <a:pt x="342" y="148"/>
                  </a:cubicBezTo>
                  <a:cubicBezTo>
                    <a:pt x="343" y="148"/>
                    <a:pt x="344" y="146"/>
                    <a:pt x="345" y="146"/>
                  </a:cubicBezTo>
                  <a:cubicBezTo>
                    <a:pt x="346" y="145"/>
                    <a:pt x="346" y="145"/>
                    <a:pt x="346" y="145"/>
                  </a:cubicBezTo>
                  <a:cubicBezTo>
                    <a:pt x="347" y="145"/>
                    <a:pt x="347" y="144"/>
                    <a:pt x="348" y="144"/>
                  </a:cubicBezTo>
                  <a:cubicBezTo>
                    <a:pt x="348" y="143"/>
                    <a:pt x="349" y="143"/>
                    <a:pt x="349" y="143"/>
                  </a:cubicBezTo>
                  <a:cubicBezTo>
                    <a:pt x="350" y="142"/>
                    <a:pt x="351" y="141"/>
                    <a:pt x="352" y="141"/>
                  </a:cubicBezTo>
                  <a:cubicBezTo>
                    <a:pt x="352" y="141"/>
                    <a:pt x="352" y="141"/>
                    <a:pt x="352" y="141"/>
                  </a:cubicBezTo>
                  <a:cubicBezTo>
                    <a:pt x="354" y="139"/>
                    <a:pt x="354" y="139"/>
                    <a:pt x="354" y="139"/>
                  </a:cubicBezTo>
                  <a:cubicBezTo>
                    <a:pt x="366" y="153"/>
                    <a:pt x="366" y="153"/>
                    <a:pt x="366" y="153"/>
                  </a:cubicBezTo>
                  <a:cubicBezTo>
                    <a:pt x="364" y="155"/>
                    <a:pt x="364" y="155"/>
                    <a:pt x="364" y="155"/>
                  </a:cubicBezTo>
                  <a:cubicBezTo>
                    <a:pt x="361" y="157"/>
                    <a:pt x="359" y="159"/>
                    <a:pt x="356" y="161"/>
                  </a:cubicBezTo>
                  <a:cubicBezTo>
                    <a:pt x="358" y="162"/>
                    <a:pt x="359" y="163"/>
                    <a:pt x="360" y="163"/>
                  </a:cubicBezTo>
                  <a:cubicBezTo>
                    <a:pt x="360" y="163"/>
                    <a:pt x="361" y="164"/>
                    <a:pt x="363" y="164"/>
                  </a:cubicBezTo>
                  <a:cubicBezTo>
                    <a:pt x="363" y="164"/>
                    <a:pt x="363" y="164"/>
                    <a:pt x="363" y="164"/>
                  </a:cubicBezTo>
                  <a:cubicBezTo>
                    <a:pt x="364" y="164"/>
                    <a:pt x="364" y="164"/>
                    <a:pt x="365" y="164"/>
                  </a:cubicBezTo>
                  <a:cubicBezTo>
                    <a:pt x="366" y="162"/>
                    <a:pt x="366" y="162"/>
                    <a:pt x="366" y="162"/>
                  </a:cubicBezTo>
                  <a:cubicBezTo>
                    <a:pt x="367" y="163"/>
                    <a:pt x="367" y="163"/>
                    <a:pt x="367" y="163"/>
                  </a:cubicBezTo>
                  <a:cubicBezTo>
                    <a:pt x="367" y="163"/>
                    <a:pt x="368" y="163"/>
                    <a:pt x="368" y="162"/>
                  </a:cubicBezTo>
                  <a:cubicBezTo>
                    <a:pt x="369" y="162"/>
                    <a:pt x="369" y="162"/>
                    <a:pt x="369" y="162"/>
                  </a:cubicBezTo>
                  <a:cubicBezTo>
                    <a:pt x="371" y="162"/>
                    <a:pt x="372" y="162"/>
                    <a:pt x="374" y="162"/>
                  </a:cubicBezTo>
                  <a:cubicBezTo>
                    <a:pt x="375" y="162"/>
                    <a:pt x="375" y="162"/>
                    <a:pt x="375" y="162"/>
                  </a:cubicBezTo>
                  <a:cubicBezTo>
                    <a:pt x="376" y="162"/>
                    <a:pt x="377" y="162"/>
                    <a:pt x="377" y="162"/>
                  </a:cubicBezTo>
                  <a:cubicBezTo>
                    <a:pt x="378" y="162"/>
                    <a:pt x="379" y="163"/>
                    <a:pt x="380" y="163"/>
                  </a:cubicBezTo>
                  <a:cubicBezTo>
                    <a:pt x="381" y="164"/>
                    <a:pt x="382" y="164"/>
                    <a:pt x="383" y="165"/>
                  </a:cubicBezTo>
                  <a:cubicBezTo>
                    <a:pt x="384" y="165"/>
                    <a:pt x="385" y="165"/>
                    <a:pt x="385" y="165"/>
                  </a:cubicBezTo>
                  <a:cubicBezTo>
                    <a:pt x="386" y="165"/>
                    <a:pt x="387" y="165"/>
                    <a:pt x="388" y="164"/>
                  </a:cubicBezTo>
                  <a:cubicBezTo>
                    <a:pt x="388" y="164"/>
                    <a:pt x="388" y="164"/>
                    <a:pt x="388" y="164"/>
                  </a:cubicBezTo>
                  <a:cubicBezTo>
                    <a:pt x="389" y="164"/>
                    <a:pt x="389" y="164"/>
                    <a:pt x="389" y="164"/>
                  </a:cubicBezTo>
                  <a:cubicBezTo>
                    <a:pt x="390" y="163"/>
                    <a:pt x="390" y="163"/>
                    <a:pt x="390" y="163"/>
                  </a:cubicBezTo>
                  <a:cubicBezTo>
                    <a:pt x="390" y="163"/>
                    <a:pt x="390" y="162"/>
                    <a:pt x="391" y="161"/>
                  </a:cubicBezTo>
                  <a:cubicBezTo>
                    <a:pt x="391" y="160"/>
                    <a:pt x="392" y="159"/>
                    <a:pt x="393" y="159"/>
                  </a:cubicBezTo>
                  <a:cubicBezTo>
                    <a:pt x="393" y="158"/>
                    <a:pt x="394" y="158"/>
                    <a:pt x="394" y="158"/>
                  </a:cubicBezTo>
                  <a:cubicBezTo>
                    <a:pt x="395" y="158"/>
                    <a:pt x="395" y="158"/>
                    <a:pt x="395" y="158"/>
                  </a:cubicBezTo>
                  <a:cubicBezTo>
                    <a:pt x="395" y="158"/>
                    <a:pt x="395" y="158"/>
                    <a:pt x="395" y="158"/>
                  </a:cubicBezTo>
                  <a:cubicBezTo>
                    <a:pt x="395" y="159"/>
                    <a:pt x="395" y="159"/>
                    <a:pt x="395" y="159"/>
                  </a:cubicBezTo>
                  <a:cubicBezTo>
                    <a:pt x="395" y="158"/>
                    <a:pt x="395" y="158"/>
                    <a:pt x="395" y="158"/>
                  </a:cubicBezTo>
                  <a:cubicBezTo>
                    <a:pt x="396" y="158"/>
                    <a:pt x="396" y="158"/>
                    <a:pt x="396" y="158"/>
                  </a:cubicBezTo>
                  <a:cubicBezTo>
                    <a:pt x="397" y="158"/>
                    <a:pt x="397" y="158"/>
                    <a:pt x="397" y="158"/>
                  </a:cubicBezTo>
                  <a:cubicBezTo>
                    <a:pt x="397" y="158"/>
                    <a:pt x="397" y="158"/>
                    <a:pt x="398" y="158"/>
                  </a:cubicBezTo>
                  <a:cubicBezTo>
                    <a:pt x="398" y="157"/>
                    <a:pt x="398" y="157"/>
                    <a:pt x="398" y="157"/>
                  </a:cubicBezTo>
                  <a:cubicBezTo>
                    <a:pt x="398" y="156"/>
                    <a:pt x="398" y="156"/>
                    <a:pt x="398" y="156"/>
                  </a:cubicBezTo>
                  <a:cubicBezTo>
                    <a:pt x="398" y="155"/>
                    <a:pt x="399" y="154"/>
                    <a:pt x="400" y="153"/>
                  </a:cubicBezTo>
                  <a:cubicBezTo>
                    <a:pt x="401" y="153"/>
                    <a:pt x="401" y="153"/>
                    <a:pt x="401" y="153"/>
                  </a:cubicBezTo>
                  <a:cubicBezTo>
                    <a:pt x="401" y="153"/>
                    <a:pt x="401" y="153"/>
                    <a:pt x="401" y="153"/>
                  </a:cubicBezTo>
                  <a:cubicBezTo>
                    <a:pt x="402" y="153"/>
                    <a:pt x="403" y="153"/>
                    <a:pt x="404" y="153"/>
                  </a:cubicBezTo>
                  <a:cubicBezTo>
                    <a:pt x="404" y="153"/>
                    <a:pt x="404" y="153"/>
                    <a:pt x="404" y="153"/>
                  </a:cubicBezTo>
                  <a:cubicBezTo>
                    <a:pt x="405" y="154"/>
                    <a:pt x="405" y="154"/>
                    <a:pt x="406" y="154"/>
                  </a:cubicBezTo>
                  <a:cubicBezTo>
                    <a:pt x="406" y="155"/>
                    <a:pt x="407" y="155"/>
                    <a:pt x="407" y="155"/>
                  </a:cubicBezTo>
                  <a:cubicBezTo>
                    <a:pt x="407" y="155"/>
                    <a:pt x="407" y="155"/>
                    <a:pt x="407" y="155"/>
                  </a:cubicBezTo>
                  <a:cubicBezTo>
                    <a:pt x="408" y="154"/>
                    <a:pt x="408" y="154"/>
                    <a:pt x="408" y="154"/>
                  </a:cubicBezTo>
                  <a:cubicBezTo>
                    <a:pt x="408" y="153"/>
                    <a:pt x="408" y="153"/>
                    <a:pt x="409" y="153"/>
                  </a:cubicBezTo>
                  <a:cubicBezTo>
                    <a:pt x="410" y="151"/>
                    <a:pt x="410" y="151"/>
                    <a:pt x="410" y="151"/>
                  </a:cubicBezTo>
                  <a:cubicBezTo>
                    <a:pt x="410" y="151"/>
                    <a:pt x="410" y="151"/>
                    <a:pt x="410" y="151"/>
                  </a:cubicBezTo>
                  <a:cubicBezTo>
                    <a:pt x="408" y="151"/>
                    <a:pt x="407" y="151"/>
                    <a:pt x="405" y="150"/>
                  </a:cubicBezTo>
                  <a:cubicBezTo>
                    <a:pt x="405" y="150"/>
                    <a:pt x="405" y="150"/>
                    <a:pt x="405" y="150"/>
                  </a:cubicBezTo>
                  <a:cubicBezTo>
                    <a:pt x="404" y="149"/>
                    <a:pt x="404" y="149"/>
                    <a:pt x="404" y="149"/>
                  </a:cubicBezTo>
                  <a:cubicBezTo>
                    <a:pt x="404" y="148"/>
                    <a:pt x="404" y="148"/>
                    <a:pt x="403" y="148"/>
                  </a:cubicBezTo>
                  <a:cubicBezTo>
                    <a:pt x="403" y="148"/>
                    <a:pt x="403" y="148"/>
                    <a:pt x="402" y="148"/>
                  </a:cubicBezTo>
                  <a:cubicBezTo>
                    <a:pt x="401" y="147"/>
                    <a:pt x="401" y="147"/>
                    <a:pt x="401" y="147"/>
                  </a:cubicBezTo>
                  <a:cubicBezTo>
                    <a:pt x="400" y="151"/>
                    <a:pt x="400" y="151"/>
                    <a:pt x="400" y="151"/>
                  </a:cubicBezTo>
                  <a:cubicBezTo>
                    <a:pt x="400" y="147"/>
                    <a:pt x="400" y="147"/>
                    <a:pt x="400" y="147"/>
                  </a:cubicBezTo>
                  <a:cubicBezTo>
                    <a:pt x="400" y="147"/>
                    <a:pt x="400" y="147"/>
                    <a:pt x="400" y="147"/>
                  </a:cubicBezTo>
                  <a:cubicBezTo>
                    <a:pt x="400" y="147"/>
                    <a:pt x="399" y="147"/>
                    <a:pt x="399" y="147"/>
                  </a:cubicBezTo>
                  <a:cubicBezTo>
                    <a:pt x="399" y="147"/>
                    <a:pt x="399" y="147"/>
                    <a:pt x="399" y="147"/>
                  </a:cubicBezTo>
                  <a:cubicBezTo>
                    <a:pt x="398" y="147"/>
                    <a:pt x="398" y="147"/>
                    <a:pt x="397" y="147"/>
                  </a:cubicBezTo>
                  <a:cubicBezTo>
                    <a:pt x="394" y="148"/>
                    <a:pt x="394" y="148"/>
                    <a:pt x="394" y="148"/>
                  </a:cubicBezTo>
                  <a:cubicBezTo>
                    <a:pt x="393" y="144"/>
                    <a:pt x="393" y="144"/>
                    <a:pt x="393" y="144"/>
                  </a:cubicBezTo>
                  <a:cubicBezTo>
                    <a:pt x="393" y="144"/>
                    <a:pt x="393" y="144"/>
                    <a:pt x="393" y="143"/>
                  </a:cubicBezTo>
                  <a:cubicBezTo>
                    <a:pt x="393" y="142"/>
                    <a:pt x="393" y="142"/>
                    <a:pt x="393" y="141"/>
                  </a:cubicBezTo>
                  <a:cubicBezTo>
                    <a:pt x="392" y="142"/>
                    <a:pt x="392" y="142"/>
                    <a:pt x="392" y="142"/>
                  </a:cubicBezTo>
                  <a:cubicBezTo>
                    <a:pt x="392" y="142"/>
                    <a:pt x="392" y="142"/>
                    <a:pt x="392" y="142"/>
                  </a:cubicBezTo>
                  <a:cubicBezTo>
                    <a:pt x="391" y="142"/>
                    <a:pt x="391" y="142"/>
                    <a:pt x="391" y="142"/>
                  </a:cubicBezTo>
                  <a:cubicBezTo>
                    <a:pt x="390" y="141"/>
                    <a:pt x="389" y="141"/>
                    <a:pt x="388" y="140"/>
                  </a:cubicBezTo>
                  <a:cubicBezTo>
                    <a:pt x="388" y="139"/>
                    <a:pt x="387" y="138"/>
                    <a:pt x="387" y="138"/>
                  </a:cubicBezTo>
                  <a:cubicBezTo>
                    <a:pt x="386" y="137"/>
                    <a:pt x="386" y="136"/>
                    <a:pt x="385" y="135"/>
                  </a:cubicBezTo>
                  <a:cubicBezTo>
                    <a:pt x="385" y="138"/>
                    <a:pt x="385" y="138"/>
                    <a:pt x="385" y="138"/>
                  </a:cubicBezTo>
                  <a:cubicBezTo>
                    <a:pt x="382" y="138"/>
                    <a:pt x="382" y="138"/>
                    <a:pt x="382" y="138"/>
                  </a:cubicBezTo>
                  <a:cubicBezTo>
                    <a:pt x="382" y="138"/>
                    <a:pt x="382" y="138"/>
                    <a:pt x="381" y="138"/>
                  </a:cubicBezTo>
                  <a:cubicBezTo>
                    <a:pt x="381" y="138"/>
                    <a:pt x="381" y="138"/>
                    <a:pt x="381" y="138"/>
                  </a:cubicBezTo>
                  <a:cubicBezTo>
                    <a:pt x="381" y="138"/>
                    <a:pt x="381" y="138"/>
                    <a:pt x="381" y="138"/>
                  </a:cubicBezTo>
                  <a:cubicBezTo>
                    <a:pt x="381" y="139"/>
                    <a:pt x="381" y="139"/>
                    <a:pt x="381" y="139"/>
                  </a:cubicBezTo>
                  <a:cubicBezTo>
                    <a:pt x="381" y="139"/>
                    <a:pt x="381" y="140"/>
                    <a:pt x="381" y="140"/>
                  </a:cubicBezTo>
                  <a:cubicBezTo>
                    <a:pt x="381" y="144"/>
                    <a:pt x="381" y="144"/>
                    <a:pt x="381" y="144"/>
                  </a:cubicBezTo>
                  <a:cubicBezTo>
                    <a:pt x="377" y="143"/>
                    <a:pt x="377" y="143"/>
                    <a:pt x="377" y="143"/>
                  </a:cubicBezTo>
                  <a:cubicBezTo>
                    <a:pt x="377" y="143"/>
                    <a:pt x="376" y="143"/>
                    <a:pt x="376" y="143"/>
                  </a:cubicBezTo>
                  <a:cubicBezTo>
                    <a:pt x="375" y="143"/>
                    <a:pt x="375" y="143"/>
                    <a:pt x="374" y="143"/>
                  </a:cubicBezTo>
                  <a:cubicBezTo>
                    <a:pt x="373" y="143"/>
                    <a:pt x="373" y="143"/>
                    <a:pt x="373" y="143"/>
                  </a:cubicBezTo>
                  <a:cubicBezTo>
                    <a:pt x="373" y="143"/>
                    <a:pt x="372" y="143"/>
                    <a:pt x="371" y="143"/>
                  </a:cubicBezTo>
                  <a:cubicBezTo>
                    <a:pt x="368" y="142"/>
                    <a:pt x="365" y="141"/>
                    <a:pt x="362" y="140"/>
                  </a:cubicBezTo>
                  <a:cubicBezTo>
                    <a:pt x="359" y="139"/>
                    <a:pt x="358" y="137"/>
                    <a:pt x="358" y="135"/>
                  </a:cubicBezTo>
                  <a:cubicBezTo>
                    <a:pt x="357" y="134"/>
                    <a:pt x="357" y="134"/>
                    <a:pt x="357" y="134"/>
                  </a:cubicBezTo>
                  <a:cubicBezTo>
                    <a:pt x="356" y="135"/>
                    <a:pt x="356" y="135"/>
                    <a:pt x="356" y="135"/>
                  </a:cubicBezTo>
                  <a:cubicBezTo>
                    <a:pt x="355" y="135"/>
                    <a:pt x="355" y="135"/>
                    <a:pt x="354" y="135"/>
                  </a:cubicBezTo>
                  <a:cubicBezTo>
                    <a:pt x="353" y="135"/>
                    <a:pt x="352" y="135"/>
                    <a:pt x="351" y="133"/>
                  </a:cubicBezTo>
                  <a:cubicBezTo>
                    <a:pt x="351" y="133"/>
                    <a:pt x="351" y="133"/>
                    <a:pt x="351" y="133"/>
                  </a:cubicBezTo>
                  <a:cubicBezTo>
                    <a:pt x="349" y="132"/>
                    <a:pt x="349" y="132"/>
                    <a:pt x="349" y="132"/>
                  </a:cubicBezTo>
                  <a:cubicBezTo>
                    <a:pt x="349" y="132"/>
                    <a:pt x="349" y="132"/>
                    <a:pt x="349" y="132"/>
                  </a:cubicBezTo>
                  <a:cubicBezTo>
                    <a:pt x="349" y="132"/>
                    <a:pt x="349" y="132"/>
                    <a:pt x="349" y="132"/>
                  </a:cubicBezTo>
                  <a:cubicBezTo>
                    <a:pt x="348" y="132"/>
                    <a:pt x="347" y="132"/>
                    <a:pt x="346" y="132"/>
                  </a:cubicBezTo>
                  <a:cubicBezTo>
                    <a:pt x="346" y="132"/>
                    <a:pt x="346" y="132"/>
                    <a:pt x="346" y="132"/>
                  </a:cubicBezTo>
                  <a:cubicBezTo>
                    <a:pt x="345" y="131"/>
                    <a:pt x="345" y="131"/>
                    <a:pt x="344" y="130"/>
                  </a:cubicBezTo>
                  <a:cubicBezTo>
                    <a:pt x="343" y="127"/>
                    <a:pt x="345" y="125"/>
                    <a:pt x="347" y="123"/>
                  </a:cubicBezTo>
                  <a:cubicBezTo>
                    <a:pt x="350" y="121"/>
                    <a:pt x="353" y="118"/>
                    <a:pt x="357" y="116"/>
                  </a:cubicBezTo>
                  <a:cubicBezTo>
                    <a:pt x="343" y="124"/>
                    <a:pt x="343" y="124"/>
                    <a:pt x="343" y="124"/>
                  </a:cubicBezTo>
                  <a:cubicBezTo>
                    <a:pt x="339" y="126"/>
                    <a:pt x="336" y="128"/>
                    <a:pt x="333" y="130"/>
                  </a:cubicBezTo>
                  <a:cubicBezTo>
                    <a:pt x="332" y="131"/>
                    <a:pt x="332" y="131"/>
                    <a:pt x="332" y="131"/>
                  </a:cubicBezTo>
                  <a:cubicBezTo>
                    <a:pt x="330" y="132"/>
                    <a:pt x="329" y="133"/>
                    <a:pt x="327" y="135"/>
                  </a:cubicBezTo>
                  <a:cubicBezTo>
                    <a:pt x="330" y="140"/>
                    <a:pt x="330" y="140"/>
                    <a:pt x="330" y="140"/>
                  </a:cubicBezTo>
                  <a:cubicBezTo>
                    <a:pt x="325" y="136"/>
                    <a:pt x="325" y="136"/>
                    <a:pt x="325" y="136"/>
                  </a:cubicBezTo>
                  <a:cubicBezTo>
                    <a:pt x="325" y="136"/>
                    <a:pt x="325" y="136"/>
                    <a:pt x="325" y="136"/>
                  </a:cubicBezTo>
                  <a:cubicBezTo>
                    <a:pt x="324" y="137"/>
                    <a:pt x="323" y="138"/>
                    <a:pt x="322" y="139"/>
                  </a:cubicBezTo>
                  <a:cubicBezTo>
                    <a:pt x="321" y="140"/>
                    <a:pt x="321" y="141"/>
                    <a:pt x="319" y="141"/>
                  </a:cubicBezTo>
                  <a:cubicBezTo>
                    <a:pt x="317" y="143"/>
                    <a:pt x="317" y="143"/>
                    <a:pt x="317" y="143"/>
                  </a:cubicBezTo>
                  <a:cubicBezTo>
                    <a:pt x="313" y="145"/>
                    <a:pt x="312" y="147"/>
                    <a:pt x="312" y="148"/>
                  </a:cubicBezTo>
                  <a:cubicBezTo>
                    <a:pt x="312" y="149"/>
                    <a:pt x="312" y="149"/>
                    <a:pt x="312" y="149"/>
                  </a:cubicBezTo>
                  <a:cubicBezTo>
                    <a:pt x="312" y="150"/>
                    <a:pt x="312" y="150"/>
                    <a:pt x="312" y="150"/>
                  </a:cubicBezTo>
                  <a:cubicBezTo>
                    <a:pt x="312" y="153"/>
                    <a:pt x="312" y="156"/>
                    <a:pt x="310" y="158"/>
                  </a:cubicBezTo>
                  <a:cubicBezTo>
                    <a:pt x="309" y="158"/>
                    <a:pt x="309" y="158"/>
                    <a:pt x="308" y="159"/>
                  </a:cubicBezTo>
                  <a:cubicBezTo>
                    <a:pt x="308" y="159"/>
                    <a:pt x="308" y="159"/>
                    <a:pt x="308" y="159"/>
                  </a:cubicBezTo>
                  <a:cubicBezTo>
                    <a:pt x="307" y="157"/>
                    <a:pt x="307" y="157"/>
                    <a:pt x="307" y="157"/>
                  </a:cubicBezTo>
                  <a:cubicBezTo>
                    <a:pt x="307" y="159"/>
                    <a:pt x="307" y="159"/>
                    <a:pt x="307" y="159"/>
                  </a:cubicBezTo>
                  <a:cubicBezTo>
                    <a:pt x="306" y="159"/>
                    <a:pt x="306" y="159"/>
                    <a:pt x="306" y="159"/>
                  </a:cubicBezTo>
                  <a:cubicBezTo>
                    <a:pt x="306" y="159"/>
                    <a:pt x="306" y="159"/>
                    <a:pt x="306" y="159"/>
                  </a:cubicBezTo>
                  <a:cubicBezTo>
                    <a:pt x="305" y="159"/>
                    <a:pt x="305" y="159"/>
                    <a:pt x="305" y="159"/>
                  </a:cubicBezTo>
                  <a:cubicBezTo>
                    <a:pt x="305" y="157"/>
                    <a:pt x="305" y="157"/>
                    <a:pt x="305" y="157"/>
                  </a:cubicBezTo>
                  <a:cubicBezTo>
                    <a:pt x="305" y="157"/>
                    <a:pt x="305" y="157"/>
                    <a:pt x="305" y="157"/>
                  </a:cubicBezTo>
                  <a:cubicBezTo>
                    <a:pt x="305" y="159"/>
                    <a:pt x="305" y="159"/>
                    <a:pt x="305" y="159"/>
                  </a:cubicBezTo>
                  <a:cubicBezTo>
                    <a:pt x="304" y="158"/>
                    <a:pt x="304" y="158"/>
                    <a:pt x="303" y="158"/>
                  </a:cubicBezTo>
                  <a:cubicBezTo>
                    <a:pt x="299" y="157"/>
                    <a:pt x="296" y="155"/>
                    <a:pt x="292" y="152"/>
                  </a:cubicBezTo>
                  <a:cubicBezTo>
                    <a:pt x="289" y="150"/>
                    <a:pt x="289" y="150"/>
                    <a:pt x="289" y="150"/>
                  </a:cubicBezTo>
                  <a:cubicBezTo>
                    <a:pt x="291" y="147"/>
                    <a:pt x="291" y="147"/>
                    <a:pt x="291" y="147"/>
                  </a:cubicBezTo>
                  <a:cubicBezTo>
                    <a:pt x="292" y="147"/>
                    <a:pt x="293" y="146"/>
                    <a:pt x="293" y="145"/>
                  </a:cubicBezTo>
                  <a:cubicBezTo>
                    <a:pt x="293" y="144"/>
                    <a:pt x="293" y="144"/>
                    <a:pt x="293" y="144"/>
                  </a:cubicBezTo>
                  <a:cubicBezTo>
                    <a:pt x="292" y="144"/>
                    <a:pt x="292" y="144"/>
                    <a:pt x="292" y="144"/>
                  </a:cubicBezTo>
                  <a:cubicBezTo>
                    <a:pt x="292" y="144"/>
                    <a:pt x="292" y="144"/>
                    <a:pt x="292" y="144"/>
                  </a:cubicBezTo>
                  <a:cubicBezTo>
                    <a:pt x="292" y="143"/>
                    <a:pt x="291" y="143"/>
                    <a:pt x="291" y="143"/>
                  </a:cubicBezTo>
                  <a:cubicBezTo>
                    <a:pt x="290" y="142"/>
                    <a:pt x="290" y="142"/>
                    <a:pt x="290" y="142"/>
                  </a:cubicBezTo>
                  <a:cubicBezTo>
                    <a:pt x="289" y="142"/>
                    <a:pt x="289" y="141"/>
                    <a:pt x="289" y="141"/>
                  </a:cubicBezTo>
                  <a:cubicBezTo>
                    <a:pt x="288" y="141"/>
                    <a:pt x="287" y="142"/>
                    <a:pt x="286" y="142"/>
                  </a:cubicBezTo>
                  <a:cubicBezTo>
                    <a:pt x="285" y="142"/>
                    <a:pt x="285" y="142"/>
                    <a:pt x="285" y="142"/>
                  </a:cubicBezTo>
                  <a:cubicBezTo>
                    <a:pt x="285" y="142"/>
                    <a:pt x="284" y="142"/>
                    <a:pt x="284" y="142"/>
                  </a:cubicBezTo>
                  <a:cubicBezTo>
                    <a:pt x="263" y="142"/>
                    <a:pt x="263" y="142"/>
                    <a:pt x="263" y="142"/>
                  </a:cubicBezTo>
                  <a:cubicBezTo>
                    <a:pt x="263" y="142"/>
                    <a:pt x="263" y="142"/>
                    <a:pt x="263" y="142"/>
                  </a:cubicBezTo>
                  <a:cubicBezTo>
                    <a:pt x="261" y="142"/>
                    <a:pt x="260" y="141"/>
                    <a:pt x="259" y="140"/>
                  </a:cubicBezTo>
                  <a:cubicBezTo>
                    <a:pt x="259" y="139"/>
                    <a:pt x="259" y="137"/>
                    <a:pt x="258" y="136"/>
                  </a:cubicBezTo>
                  <a:cubicBezTo>
                    <a:pt x="258" y="135"/>
                    <a:pt x="258" y="135"/>
                    <a:pt x="258" y="135"/>
                  </a:cubicBezTo>
                  <a:cubicBezTo>
                    <a:pt x="258" y="134"/>
                    <a:pt x="258" y="134"/>
                    <a:pt x="258" y="134"/>
                  </a:cubicBezTo>
                  <a:cubicBezTo>
                    <a:pt x="257" y="130"/>
                    <a:pt x="257" y="130"/>
                    <a:pt x="257" y="130"/>
                  </a:cubicBezTo>
                  <a:cubicBezTo>
                    <a:pt x="256" y="127"/>
                    <a:pt x="255" y="124"/>
                    <a:pt x="254" y="121"/>
                  </a:cubicBezTo>
                  <a:cubicBezTo>
                    <a:pt x="254" y="120"/>
                    <a:pt x="254" y="120"/>
                    <a:pt x="254" y="119"/>
                  </a:cubicBezTo>
                  <a:cubicBezTo>
                    <a:pt x="254" y="119"/>
                    <a:pt x="254" y="119"/>
                    <a:pt x="254" y="119"/>
                  </a:cubicBezTo>
                  <a:cubicBezTo>
                    <a:pt x="254" y="118"/>
                    <a:pt x="254" y="118"/>
                    <a:pt x="254" y="117"/>
                  </a:cubicBezTo>
                  <a:cubicBezTo>
                    <a:pt x="253" y="117"/>
                    <a:pt x="253" y="117"/>
                    <a:pt x="253" y="117"/>
                  </a:cubicBezTo>
                  <a:cubicBezTo>
                    <a:pt x="253" y="118"/>
                    <a:pt x="252" y="118"/>
                    <a:pt x="251" y="118"/>
                  </a:cubicBezTo>
                  <a:cubicBezTo>
                    <a:pt x="250" y="118"/>
                    <a:pt x="250" y="118"/>
                    <a:pt x="249" y="118"/>
                  </a:cubicBezTo>
                  <a:cubicBezTo>
                    <a:pt x="249" y="118"/>
                    <a:pt x="248" y="118"/>
                    <a:pt x="248" y="118"/>
                  </a:cubicBezTo>
                  <a:cubicBezTo>
                    <a:pt x="248" y="118"/>
                    <a:pt x="248" y="118"/>
                    <a:pt x="248" y="118"/>
                  </a:cubicBezTo>
                  <a:cubicBezTo>
                    <a:pt x="247" y="118"/>
                    <a:pt x="247" y="118"/>
                    <a:pt x="247" y="118"/>
                  </a:cubicBezTo>
                  <a:cubicBezTo>
                    <a:pt x="244" y="118"/>
                    <a:pt x="243" y="117"/>
                    <a:pt x="242" y="115"/>
                  </a:cubicBezTo>
                  <a:cubicBezTo>
                    <a:pt x="242" y="113"/>
                    <a:pt x="242" y="112"/>
                    <a:pt x="242" y="109"/>
                  </a:cubicBezTo>
                  <a:cubicBezTo>
                    <a:pt x="242" y="108"/>
                    <a:pt x="242" y="107"/>
                    <a:pt x="242" y="106"/>
                  </a:cubicBezTo>
                  <a:cubicBezTo>
                    <a:pt x="242" y="106"/>
                    <a:pt x="242" y="105"/>
                    <a:pt x="242" y="105"/>
                  </a:cubicBezTo>
                  <a:cubicBezTo>
                    <a:pt x="242" y="103"/>
                    <a:pt x="243" y="101"/>
                    <a:pt x="243" y="99"/>
                  </a:cubicBezTo>
                  <a:cubicBezTo>
                    <a:pt x="243" y="97"/>
                    <a:pt x="243" y="95"/>
                    <a:pt x="243" y="94"/>
                  </a:cubicBezTo>
                  <a:cubicBezTo>
                    <a:pt x="244" y="93"/>
                    <a:pt x="244" y="93"/>
                    <a:pt x="244" y="93"/>
                  </a:cubicBezTo>
                  <a:cubicBezTo>
                    <a:pt x="244" y="92"/>
                    <a:pt x="244" y="91"/>
                    <a:pt x="244" y="90"/>
                  </a:cubicBezTo>
                  <a:cubicBezTo>
                    <a:pt x="244" y="90"/>
                    <a:pt x="243" y="90"/>
                    <a:pt x="243" y="90"/>
                  </a:cubicBezTo>
                  <a:cubicBezTo>
                    <a:pt x="240" y="90"/>
                    <a:pt x="238" y="87"/>
                    <a:pt x="237" y="86"/>
                  </a:cubicBezTo>
                  <a:cubicBezTo>
                    <a:pt x="236" y="86"/>
                    <a:pt x="236" y="86"/>
                    <a:pt x="236" y="86"/>
                  </a:cubicBezTo>
                  <a:cubicBezTo>
                    <a:pt x="236" y="85"/>
                    <a:pt x="236" y="85"/>
                    <a:pt x="236" y="85"/>
                  </a:cubicBezTo>
                  <a:cubicBezTo>
                    <a:pt x="235" y="85"/>
                    <a:pt x="235" y="85"/>
                    <a:pt x="235" y="85"/>
                  </a:cubicBezTo>
                  <a:cubicBezTo>
                    <a:pt x="234" y="83"/>
                    <a:pt x="234" y="83"/>
                    <a:pt x="234" y="83"/>
                  </a:cubicBezTo>
                  <a:cubicBezTo>
                    <a:pt x="232" y="80"/>
                    <a:pt x="230" y="78"/>
                    <a:pt x="227" y="76"/>
                  </a:cubicBezTo>
                  <a:cubicBezTo>
                    <a:pt x="225" y="75"/>
                    <a:pt x="225" y="75"/>
                    <a:pt x="225" y="75"/>
                  </a:cubicBezTo>
                  <a:cubicBezTo>
                    <a:pt x="225" y="74"/>
                    <a:pt x="224" y="74"/>
                    <a:pt x="224" y="73"/>
                  </a:cubicBezTo>
                  <a:cubicBezTo>
                    <a:pt x="221" y="71"/>
                    <a:pt x="221" y="71"/>
                    <a:pt x="221" y="71"/>
                  </a:cubicBezTo>
                  <a:cubicBezTo>
                    <a:pt x="220" y="70"/>
                    <a:pt x="219" y="68"/>
                    <a:pt x="218" y="68"/>
                  </a:cubicBezTo>
                  <a:cubicBezTo>
                    <a:pt x="217" y="67"/>
                    <a:pt x="217" y="67"/>
                    <a:pt x="217" y="66"/>
                  </a:cubicBezTo>
                  <a:cubicBezTo>
                    <a:pt x="216" y="67"/>
                    <a:pt x="214" y="68"/>
                    <a:pt x="214" y="68"/>
                  </a:cubicBezTo>
                  <a:cubicBezTo>
                    <a:pt x="214" y="68"/>
                    <a:pt x="214" y="68"/>
                    <a:pt x="214" y="68"/>
                  </a:cubicBezTo>
                  <a:cubicBezTo>
                    <a:pt x="216" y="73"/>
                    <a:pt x="216" y="73"/>
                    <a:pt x="216" y="73"/>
                  </a:cubicBezTo>
                  <a:cubicBezTo>
                    <a:pt x="212" y="69"/>
                    <a:pt x="212" y="69"/>
                    <a:pt x="212" y="69"/>
                  </a:cubicBezTo>
                  <a:cubicBezTo>
                    <a:pt x="212" y="69"/>
                    <a:pt x="212" y="69"/>
                    <a:pt x="212" y="69"/>
                  </a:cubicBezTo>
                  <a:cubicBezTo>
                    <a:pt x="210" y="70"/>
                    <a:pt x="208" y="70"/>
                    <a:pt x="205" y="71"/>
                  </a:cubicBezTo>
                  <a:cubicBezTo>
                    <a:pt x="205" y="71"/>
                    <a:pt x="205" y="71"/>
                    <a:pt x="205" y="71"/>
                  </a:cubicBezTo>
                  <a:cubicBezTo>
                    <a:pt x="198" y="70"/>
                    <a:pt x="198" y="70"/>
                    <a:pt x="198" y="70"/>
                  </a:cubicBezTo>
                  <a:cubicBezTo>
                    <a:pt x="195" y="70"/>
                    <a:pt x="193" y="70"/>
                    <a:pt x="190" y="70"/>
                  </a:cubicBezTo>
                  <a:cubicBezTo>
                    <a:pt x="186" y="69"/>
                    <a:pt x="182" y="69"/>
                    <a:pt x="178" y="69"/>
                  </a:cubicBezTo>
                  <a:cubicBezTo>
                    <a:pt x="177" y="69"/>
                    <a:pt x="176" y="69"/>
                    <a:pt x="175" y="69"/>
                  </a:cubicBezTo>
                  <a:cubicBezTo>
                    <a:pt x="170" y="69"/>
                    <a:pt x="166" y="70"/>
                    <a:pt x="160" y="71"/>
                  </a:cubicBezTo>
                  <a:cubicBezTo>
                    <a:pt x="157" y="72"/>
                    <a:pt x="153" y="73"/>
                    <a:pt x="149" y="73"/>
                  </a:cubicBezTo>
                  <a:cubicBezTo>
                    <a:pt x="149" y="73"/>
                    <a:pt x="149" y="73"/>
                    <a:pt x="148" y="73"/>
                  </a:cubicBezTo>
                  <a:cubicBezTo>
                    <a:pt x="147" y="73"/>
                    <a:pt x="146" y="73"/>
                    <a:pt x="145" y="73"/>
                  </a:cubicBezTo>
                  <a:cubicBezTo>
                    <a:pt x="145" y="73"/>
                    <a:pt x="145" y="73"/>
                    <a:pt x="145" y="73"/>
                  </a:cubicBezTo>
                  <a:cubicBezTo>
                    <a:pt x="144" y="72"/>
                    <a:pt x="143" y="72"/>
                    <a:pt x="142" y="71"/>
                  </a:cubicBezTo>
                  <a:cubicBezTo>
                    <a:pt x="141" y="70"/>
                    <a:pt x="141" y="70"/>
                    <a:pt x="141" y="70"/>
                  </a:cubicBezTo>
                  <a:cubicBezTo>
                    <a:pt x="141" y="70"/>
                    <a:pt x="140" y="69"/>
                    <a:pt x="139" y="69"/>
                  </a:cubicBezTo>
                  <a:cubicBezTo>
                    <a:pt x="138" y="67"/>
                    <a:pt x="138" y="67"/>
                    <a:pt x="138" y="67"/>
                  </a:cubicBezTo>
                  <a:cubicBezTo>
                    <a:pt x="138" y="67"/>
                    <a:pt x="138" y="67"/>
                    <a:pt x="137" y="66"/>
                  </a:cubicBezTo>
                  <a:cubicBezTo>
                    <a:pt x="134" y="63"/>
                    <a:pt x="131" y="60"/>
                    <a:pt x="128" y="57"/>
                  </a:cubicBezTo>
                  <a:cubicBezTo>
                    <a:pt x="128" y="57"/>
                    <a:pt x="123" y="52"/>
                    <a:pt x="121" y="47"/>
                  </a:cubicBezTo>
                  <a:cubicBezTo>
                    <a:pt x="119" y="45"/>
                    <a:pt x="106" y="37"/>
                    <a:pt x="101" y="34"/>
                  </a:cubicBezTo>
                  <a:cubicBezTo>
                    <a:pt x="99" y="33"/>
                    <a:pt x="99" y="33"/>
                    <a:pt x="99" y="33"/>
                  </a:cubicBezTo>
                  <a:cubicBezTo>
                    <a:pt x="99" y="37"/>
                    <a:pt x="99" y="41"/>
                    <a:pt x="99" y="44"/>
                  </a:cubicBezTo>
                  <a:cubicBezTo>
                    <a:pt x="98" y="46"/>
                    <a:pt x="98" y="47"/>
                    <a:pt x="97" y="48"/>
                  </a:cubicBezTo>
                  <a:cubicBezTo>
                    <a:pt x="96" y="49"/>
                    <a:pt x="93" y="50"/>
                    <a:pt x="93" y="50"/>
                  </a:cubicBezTo>
                  <a:cubicBezTo>
                    <a:pt x="92" y="51"/>
                    <a:pt x="94" y="54"/>
                    <a:pt x="93" y="54"/>
                  </a:cubicBezTo>
                  <a:cubicBezTo>
                    <a:pt x="93" y="54"/>
                    <a:pt x="93" y="54"/>
                    <a:pt x="93" y="54"/>
                  </a:cubicBezTo>
                  <a:cubicBezTo>
                    <a:pt x="92" y="54"/>
                    <a:pt x="92" y="52"/>
                    <a:pt x="91" y="52"/>
                  </a:cubicBezTo>
                  <a:cubicBezTo>
                    <a:pt x="91" y="52"/>
                    <a:pt x="91" y="52"/>
                    <a:pt x="90" y="52"/>
                  </a:cubicBezTo>
                  <a:cubicBezTo>
                    <a:pt x="90" y="52"/>
                    <a:pt x="89" y="52"/>
                    <a:pt x="89" y="53"/>
                  </a:cubicBezTo>
                  <a:cubicBezTo>
                    <a:pt x="88" y="53"/>
                    <a:pt x="87" y="53"/>
                    <a:pt x="86" y="53"/>
                  </a:cubicBezTo>
                  <a:cubicBezTo>
                    <a:pt x="86" y="53"/>
                    <a:pt x="86" y="53"/>
                    <a:pt x="86" y="53"/>
                  </a:cubicBezTo>
                  <a:cubicBezTo>
                    <a:pt x="83" y="53"/>
                    <a:pt x="84" y="50"/>
                    <a:pt x="83" y="49"/>
                  </a:cubicBezTo>
                  <a:cubicBezTo>
                    <a:pt x="79" y="46"/>
                    <a:pt x="77" y="42"/>
                    <a:pt x="76" y="38"/>
                  </a:cubicBezTo>
                  <a:cubicBezTo>
                    <a:pt x="75" y="32"/>
                    <a:pt x="79" y="27"/>
                    <a:pt x="82" y="22"/>
                  </a:cubicBezTo>
                  <a:cubicBezTo>
                    <a:pt x="82" y="22"/>
                    <a:pt x="82" y="22"/>
                    <a:pt x="82" y="22"/>
                  </a:cubicBezTo>
                  <a:cubicBezTo>
                    <a:pt x="83" y="20"/>
                    <a:pt x="83" y="20"/>
                    <a:pt x="83" y="20"/>
                  </a:cubicBezTo>
                  <a:cubicBezTo>
                    <a:pt x="83" y="20"/>
                    <a:pt x="83" y="20"/>
                    <a:pt x="83" y="20"/>
                  </a:cubicBezTo>
                  <a:cubicBezTo>
                    <a:pt x="87" y="23"/>
                    <a:pt x="92" y="25"/>
                    <a:pt x="96" y="28"/>
                  </a:cubicBezTo>
                  <a:cubicBezTo>
                    <a:pt x="92" y="25"/>
                    <a:pt x="87" y="23"/>
                    <a:pt x="83" y="20"/>
                  </a:cubicBezTo>
                  <a:cubicBezTo>
                    <a:pt x="83" y="20"/>
                    <a:pt x="83" y="19"/>
                    <a:pt x="83" y="19"/>
                  </a:cubicBezTo>
                  <a:cubicBezTo>
                    <a:pt x="83" y="18"/>
                    <a:pt x="83" y="18"/>
                    <a:pt x="83" y="18"/>
                  </a:cubicBezTo>
                  <a:cubicBezTo>
                    <a:pt x="83" y="18"/>
                    <a:pt x="83" y="18"/>
                    <a:pt x="83" y="18"/>
                  </a:cubicBezTo>
                  <a:cubicBezTo>
                    <a:pt x="83" y="18"/>
                    <a:pt x="83" y="17"/>
                    <a:pt x="83" y="16"/>
                  </a:cubicBezTo>
                  <a:cubicBezTo>
                    <a:pt x="82" y="17"/>
                    <a:pt x="82" y="17"/>
                    <a:pt x="82" y="17"/>
                  </a:cubicBezTo>
                  <a:cubicBezTo>
                    <a:pt x="81" y="16"/>
                    <a:pt x="81" y="14"/>
                    <a:pt x="81" y="12"/>
                  </a:cubicBezTo>
                  <a:cubicBezTo>
                    <a:pt x="81" y="10"/>
                    <a:pt x="81" y="8"/>
                    <a:pt x="81" y="8"/>
                  </a:cubicBezTo>
                  <a:cubicBezTo>
                    <a:pt x="80" y="8"/>
                    <a:pt x="80" y="8"/>
                    <a:pt x="79" y="9"/>
                  </a:cubicBezTo>
                  <a:cubicBezTo>
                    <a:pt x="79" y="8"/>
                    <a:pt x="79" y="7"/>
                    <a:pt x="79" y="6"/>
                  </a:cubicBezTo>
                  <a:cubicBezTo>
                    <a:pt x="78" y="5"/>
                    <a:pt x="77" y="6"/>
                    <a:pt x="77" y="5"/>
                  </a:cubicBezTo>
                  <a:cubicBezTo>
                    <a:pt x="76" y="4"/>
                    <a:pt x="76" y="2"/>
                    <a:pt x="75" y="1"/>
                  </a:cubicBezTo>
                  <a:cubicBezTo>
                    <a:pt x="75" y="0"/>
                    <a:pt x="74" y="0"/>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538"/>
            <p:cNvSpPr/>
            <p:nvPr/>
          </p:nvSpPr>
          <p:spPr bwMode="auto">
            <a:xfrm>
              <a:off x="4505090" y="1371331"/>
              <a:ext cx="2491498" cy="1015403"/>
            </a:xfrm>
            <a:custGeom>
              <a:gdLst>
                <a:gd name="T0" fmla="*/ 259 w 785"/>
                <a:gd name="T1" fmla="*/ 12 h 320"/>
                <a:gd name="T2" fmla="*/ 250 w 785"/>
                <a:gd name="T3" fmla="*/ 28 h 320"/>
                <a:gd name="T4" fmla="*/ 258 w 785"/>
                <a:gd name="T5" fmla="*/ 56 h 320"/>
                <a:gd name="T6" fmla="*/ 241 w 785"/>
                <a:gd name="T7" fmla="*/ 71 h 320"/>
                <a:gd name="T8" fmla="*/ 212 w 785"/>
                <a:gd name="T9" fmla="*/ 71 h 320"/>
                <a:gd name="T10" fmla="*/ 190 w 785"/>
                <a:gd name="T11" fmla="*/ 70 h 320"/>
                <a:gd name="T12" fmla="*/ 158 w 785"/>
                <a:gd name="T13" fmla="*/ 56 h 320"/>
                <a:gd name="T14" fmla="*/ 129 w 785"/>
                <a:gd name="T15" fmla="*/ 46 h 320"/>
                <a:gd name="T16" fmla="*/ 111 w 785"/>
                <a:gd name="T17" fmla="*/ 41 h 320"/>
                <a:gd name="T18" fmla="*/ 91 w 785"/>
                <a:gd name="T19" fmla="*/ 49 h 320"/>
                <a:gd name="T20" fmla="*/ 48 w 785"/>
                <a:gd name="T21" fmla="*/ 75 h 320"/>
                <a:gd name="T22" fmla="*/ 11 w 785"/>
                <a:gd name="T23" fmla="*/ 85 h 320"/>
                <a:gd name="T24" fmla="*/ 9 w 785"/>
                <a:gd name="T25" fmla="*/ 91 h 320"/>
                <a:gd name="T26" fmla="*/ 2 w 785"/>
                <a:gd name="T27" fmla="*/ 102 h 320"/>
                <a:gd name="T28" fmla="*/ 20 w 785"/>
                <a:gd name="T29" fmla="*/ 118 h 320"/>
                <a:gd name="T30" fmla="*/ 43 w 785"/>
                <a:gd name="T31" fmla="*/ 127 h 320"/>
                <a:gd name="T32" fmla="*/ 66 w 785"/>
                <a:gd name="T33" fmla="*/ 146 h 320"/>
                <a:gd name="T34" fmla="*/ 80 w 785"/>
                <a:gd name="T35" fmla="*/ 189 h 320"/>
                <a:gd name="T36" fmla="*/ 77 w 785"/>
                <a:gd name="T37" fmla="*/ 213 h 320"/>
                <a:gd name="T38" fmla="*/ 162 w 785"/>
                <a:gd name="T39" fmla="*/ 234 h 320"/>
                <a:gd name="T40" fmla="*/ 188 w 785"/>
                <a:gd name="T41" fmla="*/ 245 h 320"/>
                <a:gd name="T42" fmla="*/ 208 w 785"/>
                <a:gd name="T43" fmla="*/ 282 h 320"/>
                <a:gd name="T44" fmla="*/ 227 w 785"/>
                <a:gd name="T45" fmla="*/ 286 h 320"/>
                <a:gd name="T46" fmla="*/ 288 w 785"/>
                <a:gd name="T47" fmla="*/ 291 h 320"/>
                <a:gd name="T48" fmla="*/ 343 w 785"/>
                <a:gd name="T49" fmla="*/ 296 h 320"/>
                <a:gd name="T50" fmla="*/ 389 w 785"/>
                <a:gd name="T51" fmla="*/ 314 h 320"/>
                <a:gd name="T52" fmla="*/ 410 w 785"/>
                <a:gd name="T53" fmla="*/ 316 h 320"/>
                <a:gd name="T54" fmla="*/ 420 w 785"/>
                <a:gd name="T55" fmla="*/ 320 h 320"/>
                <a:gd name="T56" fmla="*/ 462 w 785"/>
                <a:gd name="T57" fmla="*/ 301 h 320"/>
                <a:gd name="T58" fmla="*/ 515 w 785"/>
                <a:gd name="T59" fmla="*/ 296 h 320"/>
                <a:gd name="T60" fmla="*/ 556 w 785"/>
                <a:gd name="T61" fmla="*/ 283 h 320"/>
                <a:gd name="T62" fmla="*/ 589 w 785"/>
                <a:gd name="T63" fmla="*/ 258 h 320"/>
                <a:gd name="T64" fmla="*/ 582 w 785"/>
                <a:gd name="T65" fmla="*/ 227 h 320"/>
                <a:gd name="T66" fmla="*/ 627 w 785"/>
                <a:gd name="T67" fmla="*/ 226 h 320"/>
                <a:gd name="T68" fmla="*/ 649 w 785"/>
                <a:gd name="T69" fmla="*/ 209 h 320"/>
                <a:gd name="T70" fmla="*/ 663 w 785"/>
                <a:gd name="T71" fmla="*/ 205 h 320"/>
                <a:gd name="T72" fmla="*/ 690 w 785"/>
                <a:gd name="T73" fmla="*/ 201 h 320"/>
                <a:gd name="T74" fmla="*/ 717 w 785"/>
                <a:gd name="T75" fmla="*/ 177 h 320"/>
                <a:gd name="T76" fmla="*/ 773 w 785"/>
                <a:gd name="T77" fmla="*/ 167 h 320"/>
                <a:gd name="T78" fmla="*/ 766 w 785"/>
                <a:gd name="T79" fmla="*/ 142 h 320"/>
                <a:gd name="T80" fmla="*/ 752 w 785"/>
                <a:gd name="T81" fmla="*/ 133 h 320"/>
                <a:gd name="T82" fmla="*/ 726 w 785"/>
                <a:gd name="T83" fmla="*/ 143 h 320"/>
                <a:gd name="T84" fmla="*/ 691 w 785"/>
                <a:gd name="T85" fmla="*/ 142 h 320"/>
                <a:gd name="T86" fmla="*/ 683 w 785"/>
                <a:gd name="T87" fmla="*/ 120 h 320"/>
                <a:gd name="T88" fmla="*/ 704 w 785"/>
                <a:gd name="T89" fmla="*/ 71 h 320"/>
                <a:gd name="T90" fmla="*/ 677 w 785"/>
                <a:gd name="T91" fmla="*/ 70 h 320"/>
                <a:gd name="T92" fmla="*/ 640 w 785"/>
                <a:gd name="T93" fmla="*/ 64 h 320"/>
                <a:gd name="T94" fmla="*/ 563 w 785"/>
                <a:gd name="T95" fmla="*/ 95 h 320"/>
                <a:gd name="T96" fmla="*/ 508 w 785"/>
                <a:gd name="T97" fmla="*/ 90 h 320"/>
                <a:gd name="T98" fmla="*/ 485 w 785"/>
                <a:gd name="T99" fmla="*/ 69 h 320"/>
                <a:gd name="T100" fmla="*/ 450 w 785"/>
                <a:gd name="T101" fmla="*/ 58 h 320"/>
                <a:gd name="T102" fmla="*/ 409 w 785"/>
                <a:gd name="T103" fmla="*/ 58 h 320"/>
                <a:gd name="T104" fmla="*/ 357 w 785"/>
                <a:gd name="T105" fmla="*/ 52 h 320"/>
                <a:gd name="T106" fmla="*/ 349 w 785"/>
                <a:gd name="T107" fmla="*/ 31 h 320"/>
                <a:gd name="T108" fmla="*/ 313 w 785"/>
                <a:gd name="T109" fmla="*/ 13 h 320"/>
                <a:gd name="T110" fmla="*/ 274 w 785"/>
                <a:gd name="T111" fmla="*/ 0 h 3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5" h="320">
                  <a:moveTo>
                    <a:pt x="272" y="0"/>
                  </a:moveTo>
                  <a:cubicBezTo>
                    <a:pt x="268" y="4"/>
                    <a:pt x="268" y="4"/>
                    <a:pt x="268" y="4"/>
                  </a:cubicBezTo>
                  <a:cubicBezTo>
                    <a:pt x="266" y="6"/>
                    <a:pt x="264" y="8"/>
                    <a:pt x="262" y="10"/>
                  </a:cubicBezTo>
                  <a:cubicBezTo>
                    <a:pt x="261" y="10"/>
                    <a:pt x="261" y="10"/>
                    <a:pt x="261" y="10"/>
                  </a:cubicBezTo>
                  <a:cubicBezTo>
                    <a:pt x="261" y="10"/>
                    <a:pt x="260" y="11"/>
                    <a:pt x="260" y="11"/>
                  </a:cubicBezTo>
                  <a:cubicBezTo>
                    <a:pt x="260" y="11"/>
                    <a:pt x="260" y="11"/>
                    <a:pt x="260" y="11"/>
                  </a:cubicBezTo>
                  <a:cubicBezTo>
                    <a:pt x="260" y="12"/>
                    <a:pt x="260" y="12"/>
                    <a:pt x="260" y="12"/>
                  </a:cubicBezTo>
                  <a:cubicBezTo>
                    <a:pt x="259" y="12"/>
                    <a:pt x="259" y="12"/>
                    <a:pt x="259" y="12"/>
                  </a:cubicBezTo>
                  <a:cubicBezTo>
                    <a:pt x="259" y="12"/>
                    <a:pt x="259" y="12"/>
                    <a:pt x="259" y="12"/>
                  </a:cubicBezTo>
                  <a:cubicBezTo>
                    <a:pt x="259" y="13"/>
                    <a:pt x="259" y="13"/>
                    <a:pt x="259" y="13"/>
                  </a:cubicBezTo>
                  <a:cubicBezTo>
                    <a:pt x="259" y="13"/>
                    <a:pt x="258" y="14"/>
                    <a:pt x="258" y="15"/>
                  </a:cubicBezTo>
                  <a:cubicBezTo>
                    <a:pt x="258" y="17"/>
                    <a:pt x="257" y="20"/>
                    <a:pt x="253" y="21"/>
                  </a:cubicBezTo>
                  <a:cubicBezTo>
                    <a:pt x="252" y="21"/>
                    <a:pt x="252" y="21"/>
                    <a:pt x="252" y="21"/>
                  </a:cubicBezTo>
                  <a:cubicBezTo>
                    <a:pt x="252" y="22"/>
                    <a:pt x="251" y="24"/>
                    <a:pt x="251" y="26"/>
                  </a:cubicBezTo>
                  <a:cubicBezTo>
                    <a:pt x="250" y="26"/>
                    <a:pt x="250" y="26"/>
                    <a:pt x="250" y="26"/>
                  </a:cubicBezTo>
                  <a:cubicBezTo>
                    <a:pt x="250" y="27"/>
                    <a:pt x="250" y="27"/>
                    <a:pt x="250" y="28"/>
                  </a:cubicBezTo>
                  <a:cubicBezTo>
                    <a:pt x="250" y="28"/>
                    <a:pt x="250" y="29"/>
                    <a:pt x="250" y="30"/>
                  </a:cubicBezTo>
                  <a:cubicBezTo>
                    <a:pt x="249" y="30"/>
                    <a:pt x="249" y="31"/>
                    <a:pt x="249" y="32"/>
                  </a:cubicBezTo>
                  <a:cubicBezTo>
                    <a:pt x="249" y="32"/>
                    <a:pt x="249" y="32"/>
                    <a:pt x="249" y="32"/>
                  </a:cubicBezTo>
                  <a:cubicBezTo>
                    <a:pt x="249" y="34"/>
                    <a:pt x="250" y="37"/>
                    <a:pt x="251" y="39"/>
                  </a:cubicBezTo>
                  <a:cubicBezTo>
                    <a:pt x="251" y="41"/>
                    <a:pt x="252" y="42"/>
                    <a:pt x="253" y="43"/>
                  </a:cubicBezTo>
                  <a:cubicBezTo>
                    <a:pt x="254" y="44"/>
                    <a:pt x="255" y="44"/>
                    <a:pt x="255" y="45"/>
                  </a:cubicBezTo>
                  <a:cubicBezTo>
                    <a:pt x="258" y="46"/>
                    <a:pt x="260" y="47"/>
                    <a:pt x="259" y="53"/>
                  </a:cubicBezTo>
                  <a:cubicBezTo>
                    <a:pt x="258" y="54"/>
                    <a:pt x="258" y="55"/>
                    <a:pt x="258" y="56"/>
                  </a:cubicBezTo>
                  <a:cubicBezTo>
                    <a:pt x="256" y="62"/>
                    <a:pt x="256" y="62"/>
                    <a:pt x="256" y="62"/>
                  </a:cubicBezTo>
                  <a:cubicBezTo>
                    <a:pt x="256" y="62"/>
                    <a:pt x="256" y="63"/>
                    <a:pt x="255" y="63"/>
                  </a:cubicBezTo>
                  <a:cubicBezTo>
                    <a:pt x="253" y="67"/>
                    <a:pt x="249" y="68"/>
                    <a:pt x="246" y="69"/>
                  </a:cubicBezTo>
                  <a:cubicBezTo>
                    <a:pt x="245" y="69"/>
                    <a:pt x="244" y="69"/>
                    <a:pt x="244" y="70"/>
                  </a:cubicBezTo>
                  <a:cubicBezTo>
                    <a:pt x="243" y="70"/>
                    <a:pt x="243" y="70"/>
                    <a:pt x="242" y="70"/>
                  </a:cubicBezTo>
                  <a:cubicBezTo>
                    <a:pt x="242" y="70"/>
                    <a:pt x="242" y="70"/>
                    <a:pt x="242" y="70"/>
                  </a:cubicBezTo>
                  <a:cubicBezTo>
                    <a:pt x="242" y="70"/>
                    <a:pt x="242" y="70"/>
                    <a:pt x="242" y="70"/>
                  </a:cubicBezTo>
                  <a:cubicBezTo>
                    <a:pt x="241" y="71"/>
                    <a:pt x="241" y="71"/>
                    <a:pt x="241" y="71"/>
                  </a:cubicBezTo>
                  <a:cubicBezTo>
                    <a:pt x="241" y="71"/>
                    <a:pt x="240" y="71"/>
                    <a:pt x="240" y="72"/>
                  </a:cubicBezTo>
                  <a:cubicBezTo>
                    <a:pt x="239" y="73"/>
                    <a:pt x="238" y="75"/>
                    <a:pt x="236" y="76"/>
                  </a:cubicBezTo>
                  <a:cubicBezTo>
                    <a:pt x="234" y="76"/>
                    <a:pt x="233" y="77"/>
                    <a:pt x="232" y="77"/>
                  </a:cubicBezTo>
                  <a:cubicBezTo>
                    <a:pt x="230" y="77"/>
                    <a:pt x="228" y="76"/>
                    <a:pt x="226" y="75"/>
                  </a:cubicBezTo>
                  <a:cubicBezTo>
                    <a:pt x="225" y="74"/>
                    <a:pt x="224" y="74"/>
                    <a:pt x="223" y="74"/>
                  </a:cubicBezTo>
                  <a:cubicBezTo>
                    <a:pt x="221" y="73"/>
                    <a:pt x="220" y="73"/>
                    <a:pt x="218" y="73"/>
                  </a:cubicBezTo>
                  <a:cubicBezTo>
                    <a:pt x="213" y="72"/>
                    <a:pt x="213" y="72"/>
                    <a:pt x="213" y="72"/>
                  </a:cubicBezTo>
                  <a:cubicBezTo>
                    <a:pt x="212" y="71"/>
                    <a:pt x="212" y="71"/>
                    <a:pt x="212" y="71"/>
                  </a:cubicBezTo>
                  <a:cubicBezTo>
                    <a:pt x="211" y="71"/>
                    <a:pt x="211" y="71"/>
                    <a:pt x="211" y="71"/>
                  </a:cubicBezTo>
                  <a:cubicBezTo>
                    <a:pt x="210" y="71"/>
                    <a:pt x="208" y="70"/>
                    <a:pt x="207" y="70"/>
                  </a:cubicBezTo>
                  <a:cubicBezTo>
                    <a:pt x="206" y="70"/>
                    <a:pt x="206" y="70"/>
                    <a:pt x="206" y="70"/>
                  </a:cubicBezTo>
                  <a:cubicBezTo>
                    <a:pt x="205" y="69"/>
                    <a:pt x="203" y="69"/>
                    <a:pt x="202" y="69"/>
                  </a:cubicBezTo>
                  <a:cubicBezTo>
                    <a:pt x="201" y="68"/>
                    <a:pt x="200" y="68"/>
                    <a:pt x="199" y="68"/>
                  </a:cubicBezTo>
                  <a:cubicBezTo>
                    <a:pt x="199" y="68"/>
                    <a:pt x="198" y="68"/>
                    <a:pt x="197" y="68"/>
                  </a:cubicBezTo>
                  <a:cubicBezTo>
                    <a:pt x="196" y="68"/>
                    <a:pt x="194" y="69"/>
                    <a:pt x="192" y="70"/>
                  </a:cubicBezTo>
                  <a:cubicBezTo>
                    <a:pt x="190" y="70"/>
                    <a:pt x="190" y="70"/>
                    <a:pt x="190" y="70"/>
                  </a:cubicBezTo>
                  <a:cubicBezTo>
                    <a:pt x="190" y="71"/>
                    <a:pt x="189" y="71"/>
                    <a:pt x="189" y="71"/>
                  </a:cubicBezTo>
                  <a:cubicBezTo>
                    <a:pt x="188" y="71"/>
                    <a:pt x="187" y="71"/>
                    <a:pt x="186" y="71"/>
                  </a:cubicBezTo>
                  <a:cubicBezTo>
                    <a:pt x="186" y="71"/>
                    <a:pt x="185" y="71"/>
                    <a:pt x="185" y="71"/>
                  </a:cubicBezTo>
                  <a:cubicBezTo>
                    <a:pt x="184" y="71"/>
                    <a:pt x="184" y="71"/>
                    <a:pt x="183" y="71"/>
                  </a:cubicBezTo>
                  <a:cubicBezTo>
                    <a:pt x="169" y="68"/>
                    <a:pt x="169" y="68"/>
                    <a:pt x="169" y="68"/>
                  </a:cubicBezTo>
                  <a:cubicBezTo>
                    <a:pt x="164" y="67"/>
                    <a:pt x="163" y="66"/>
                    <a:pt x="160" y="62"/>
                  </a:cubicBezTo>
                  <a:cubicBezTo>
                    <a:pt x="160" y="61"/>
                    <a:pt x="160" y="61"/>
                    <a:pt x="160" y="61"/>
                  </a:cubicBezTo>
                  <a:cubicBezTo>
                    <a:pt x="159" y="60"/>
                    <a:pt x="158" y="58"/>
                    <a:pt x="158" y="56"/>
                  </a:cubicBezTo>
                  <a:cubicBezTo>
                    <a:pt x="158" y="56"/>
                    <a:pt x="158" y="56"/>
                    <a:pt x="158" y="56"/>
                  </a:cubicBezTo>
                  <a:cubicBezTo>
                    <a:pt x="157" y="54"/>
                    <a:pt x="156" y="52"/>
                    <a:pt x="155" y="50"/>
                  </a:cubicBezTo>
                  <a:cubicBezTo>
                    <a:pt x="155" y="50"/>
                    <a:pt x="155" y="50"/>
                    <a:pt x="155" y="50"/>
                  </a:cubicBezTo>
                  <a:cubicBezTo>
                    <a:pt x="155" y="50"/>
                    <a:pt x="154" y="50"/>
                    <a:pt x="154" y="50"/>
                  </a:cubicBezTo>
                  <a:cubicBezTo>
                    <a:pt x="143" y="49"/>
                    <a:pt x="143" y="49"/>
                    <a:pt x="143" y="49"/>
                  </a:cubicBezTo>
                  <a:cubicBezTo>
                    <a:pt x="140" y="49"/>
                    <a:pt x="137" y="48"/>
                    <a:pt x="134" y="48"/>
                  </a:cubicBezTo>
                  <a:cubicBezTo>
                    <a:pt x="134" y="48"/>
                    <a:pt x="133" y="47"/>
                    <a:pt x="132" y="47"/>
                  </a:cubicBezTo>
                  <a:cubicBezTo>
                    <a:pt x="131" y="47"/>
                    <a:pt x="130" y="47"/>
                    <a:pt x="129" y="46"/>
                  </a:cubicBezTo>
                  <a:cubicBezTo>
                    <a:pt x="128" y="46"/>
                    <a:pt x="127" y="45"/>
                    <a:pt x="126" y="44"/>
                  </a:cubicBezTo>
                  <a:cubicBezTo>
                    <a:pt x="125" y="44"/>
                    <a:pt x="124" y="43"/>
                    <a:pt x="124" y="43"/>
                  </a:cubicBezTo>
                  <a:cubicBezTo>
                    <a:pt x="123" y="43"/>
                    <a:pt x="123" y="43"/>
                    <a:pt x="123" y="43"/>
                  </a:cubicBezTo>
                  <a:cubicBezTo>
                    <a:pt x="120" y="43"/>
                    <a:pt x="120" y="43"/>
                    <a:pt x="120" y="43"/>
                  </a:cubicBezTo>
                  <a:cubicBezTo>
                    <a:pt x="119" y="43"/>
                    <a:pt x="118" y="42"/>
                    <a:pt x="116" y="42"/>
                  </a:cubicBezTo>
                  <a:cubicBezTo>
                    <a:pt x="116" y="42"/>
                    <a:pt x="116" y="42"/>
                    <a:pt x="116" y="42"/>
                  </a:cubicBezTo>
                  <a:cubicBezTo>
                    <a:pt x="115" y="42"/>
                    <a:pt x="114" y="42"/>
                    <a:pt x="114" y="42"/>
                  </a:cubicBezTo>
                  <a:cubicBezTo>
                    <a:pt x="113" y="42"/>
                    <a:pt x="112" y="42"/>
                    <a:pt x="111" y="41"/>
                  </a:cubicBezTo>
                  <a:cubicBezTo>
                    <a:pt x="111" y="42"/>
                    <a:pt x="111" y="42"/>
                    <a:pt x="111" y="42"/>
                  </a:cubicBezTo>
                  <a:cubicBezTo>
                    <a:pt x="111" y="43"/>
                    <a:pt x="110" y="44"/>
                    <a:pt x="109" y="45"/>
                  </a:cubicBezTo>
                  <a:cubicBezTo>
                    <a:pt x="108" y="45"/>
                    <a:pt x="108" y="45"/>
                    <a:pt x="108" y="45"/>
                  </a:cubicBezTo>
                  <a:cubicBezTo>
                    <a:pt x="107" y="46"/>
                    <a:pt x="106" y="46"/>
                    <a:pt x="105" y="46"/>
                  </a:cubicBezTo>
                  <a:cubicBezTo>
                    <a:pt x="103" y="46"/>
                    <a:pt x="102" y="46"/>
                    <a:pt x="101" y="47"/>
                  </a:cubicBezTo>
                  <a:cubicBezTo>
                    <a:pt x="99" y="47"/>
                    <a:pt x="99" y="47"/>
                    <a:pt x="99" y="47"/>
                  </a:cubicBezTo>
                  <a:cubicBezTo>
                    <a:pt x="97" y="47"/>
                    <a:pt x="95" y="47"/>
                    <a:pt x="94" y="47"/>
                  </a:cubicBezTo>
                  <a:cubicBezTo>
                    <a:pt x="91" y="49"/>
                    <a:pt x="91" y="49"/>
                    <a:pt x="91" y="49"/>
                  </a:cubicBezTo>
                  <a:cubicBezTo>
                    <a:pt x="88" y="50"/>
                    <a:pt x="86" y="51"/>
                    <a:pt x="84" y="52"/>
                  </a:cubicBezTo>
                  <a:cubicBezTo>
                    <a:pt x="75" y="57"/>
                    <a:pt x="75" y="57"/>
                    <a:pt x="75" y="57"/>
                  </a:cubicBezTo>
                  <a:cubicBezTo>
                    <a:pt x="71" y="59"/>
                    <a:pt x="66" y="61"/>
                    <a:pt x="62" y="63"/>
                  </a:cubicBezTo>
                  <a:cubicBezTo>
                    <a:pt x="61" y="64"/>
                    <a:pt x="61" y="64"/>
                    <a:pt x="60" y="65"/>
                  </a:cubicBezTo>
                  <a:cubicBezTo>
                    <a:pt x="57" y="66"/>
                    <a:pt x="57" y="66"/>
                    <a:pt x="57" y="66"/>
                  </a:cubicBezTo>
                  <a:cubicBezTo>
                    <a:pt x="56" y="67"/>
                    <a:pt x="55" y="67"/>
                    <a:pt x="54" y="68"/>
                  </a:cubicBezTo>
                  <a:cubicBezTo>
                    <a:pt x="47" y="72"/>
                    <a:pt x="47" y="72"/>
                    <a:pt x="47" y="72"/>
                  </a:cubicBezTo>
                  <a:cubicBezTo>
                    <a:pt x="48" y="73"/>
                    <a:pt x="48" y="74"/>
                    <a:pt x="48" y="75"/>
                  </a:cubicBezTo>
                  <a:cubicBezTo>
                    <a:pt x="47" y="77"/>
                    <a:pt x="45" y="78"/>
                    <a:pt x="43" y="79"/>
                  </a:cubicBezTo>
                  <a:cubicBezTo>
                    <a:pt x="37" y="82"/>
                    <a:pt x="32" y="83"/>
                    <a:pt x="27" y="84"/>
                  </a:cubicBezTo>
                  <a:cubicBezTo>
                    <a:pt x="21" y="84"/>
                    <a:pt x="21" y="84"/>
                    <a:pt x="21" y="84"/>
                  </a:cubicBezTo>
                  <a:cubicBezTo>
                    <a:pt x="20" y="85"/>
                    <a:pt x="19" y="85"/>
                    <a:pt x="18" y="85"/>
                  </a:cubicBezTo>
                  <a:cubicBezTo>
                    <a:pt x="17" y="85"/>
                    <a:pt x="16" y="85"/>
                    <a:pt x="15" y="86"/>
                  </a:cubicBezTo>
                  <a:cubicBezTo>
                    <a:pt x="14" y="86"/>
                    <a:pt x="14" y="86"/>
                    <a:pt x="14" y="86"/>
                  </a:cubicBezTo>
                  <a:cubicBezTo>
                    <a:pt x="14" y="86"/>
                    <a:pt x="13" y="85"/>
                    <a:pt x="12" y="85"/>
                  </a:cubicBezTo>
                  <a:cubicBezTo>
                    <a:pt x="11" y="85"/>
                    <a:pt x="11" y="85"/>
                    <a:pt x="11" y="85"/>
                  </a:cubicBezTo>
                  <a:cubicBezTo>
                    <a:pt x="11" y="85"/>
                    <a:pt x="11" y="85"/>
                    <a:pt x="11" y="85"/>
                  </a:cubicBezTo>
                  <a:cubicBezTo>
                    <a:pt x="11" y="85"/>
                    <a:pt x="11" y="85"/>
                    <a:pt x="11" y="85"/>
                  </a:cubicBezTo>
                  <a:cubicBezTo>
                    <a:pt x="10" y="86"/>
                    <a:pt x="10" y="86"/>
                    <a:pt x="10" y="86"/>
                  </a:cubicBezTo>
                  <a:cubicBezTo>
                    <a:pt x="10" y="87"/>
                    <a:pt x="10" y="87"/>
                    <a:pt x="10" y="87"/>
                  </a:cubicBezTo>
                  <a:cubicBezTo>
                    <a:pt x="11" y="91"/>
                    <a:pt x="11" y="91"/>
                    <a:pt x="11" y="91"/>
                  </a:cubicBezTo>
                  <a:cubicBezTo>
                    <a:pt x="10" y="89"/>
                    <a:pt x="10" y="89"/>
                    <a:pt x="10" y="89"/>
                  </a:cubicBezTo>
                  <a:cubicBezTo>
                    <a:pt x="10" y="89"/>
                    <a:pt x="10" y="89"/>
                    <a:pt x="10" y="89"/>
                  </a:cubicBezTo>
                  <a:cubicBezTo>
                    <a:pt x="9" y="91"/>
                    <a:pt x="9" y="91"/>
                    <a:pt x="9" y="91"/>
                  </a:cubicBezTo>
                  <a:cubicBezTo>
                    <a:pt x="6" y="92"/>
                    <a:pt x="6" y="92"/>
                    <a:pt x="6" y="92"/>
                  </a:cubicBezTo>
                  <a:cubicBezTo>
                    <a:pt x="3" y="94"/>
                    <a:pt x="3" y="94"/>
                    <a:pt x="3" y="94"/>
                  </a:cubicBezTo>
                  <a:cubicBezTo>
                    <a:pt x="3" y="95"/>
                    <a:pt x="3" y="95"/>
                    <a:pt x="3" y="95"/>
                  </a:cubicBezTo>
                  <a:cubicBezTo>
                    <a:pt x="2" y="95"/>
                    <a:pt x="2" y="95"/>
                    <a:pt x="2" y="95"/>
                  </a:cubicBezTo>
                  <a:cubicBezTo>
                    <a:pt x="2" y="97"/>
                    <a:pt x="1" y="98"/>
                    <a:pt x="1" y="99"/>
                  </a:cubicBezTo>
                  <a:cubicBezTo>
                    <a:pt x="0" y="100"/>
                    <a:pt x="0" y="101"/>
                    <a:pt x="0" y="101"/>
                  </a:cubicBezTo>
                  <a:cubicBezTo>
                    <a:pt x="1" y="102"/>
                    <a:pt x="1" y="102"/>
                    <a:pt x="1" y="102"/>
                  </a:cubicBezTo>
                  <a:cubicBezTo>
                    <a:pt x="1" y="102"/>
                    <a:pt x="1" y="102"/>
                    <a:pt x="2" y="102"/>
                  </a:cubicBezTo>
                  <a:cubicBezTo>
                    <a:pt x="4" y="103"/>
                    <a:pt x="7" y="104"/>
                    <a:pt x="8" y="107"/>
                  </a:cubicBezTo>
                  <a:cubicBezTo>
                    <a:pt x="8" y="108"/>
                    <a:pt x="7" y="109"/>
                    <a:pt x="7" y="110"/>
                  </a:cubicBezTo>
                  <a:cubicBezTo>
                    <a:pt x="7" y="110"/>
                    <a:pt x="7" y="110"/>
                    <a:pt x="7" y="110"/>
                  </a:cubicBezTo>
                  <a:cubicBezTo>
                    <a:pt x="8" y="110"/>
                    <a:pt x="8" y="110"/>
                    <a:pt x="8" y="110"/>
                  </a:cubicBezTo>
                  <a:cubicBezTo>
                    <a:pt x="8" y="112"/>
                    <a:pt x="8" y="112"/>
                    <a:pt x="8" y="112"/>
                  </a:cubicBezTo>
                  <a:cubicBezTo>
                    <a:pt x="8" y="110"/>
                    <a:pt x="8" y="110"/>
                    <a:pt x="8" y="110"/>
                  </a:cubicBezTo>
                  <a:cubicBezTo>
                    <a:pt x="10" y="111"/>
                    <a:pt x="11" y="111"/>
                    <a:pt x="12" y="112"/>
                  </a:cubicBezTo>
                  <a:cubicBezTo>
                    <a:pt x="15" y="113"/>
                    <a:pt x="18" y="115"/>
                    <a:pt x="20" y="118"/>
                  </a:cubicBezTo>
                  <a:cubicBezTo>
                    <a:pt x="22" y="121"/>
                    <a:pt x="24" y="122"/>
                    <a:pt x="27" y="124"/>
                  </a:cubicBezTo>
                  <a:cubicBezTo>
                    <a:pt x="28" y="125"/>
                    <a:pt x="28" y="125"/>
                    <a:pt x="28" y="125"/>
                  </a:cubicBezTo>
                  <a:cubicBezTo>
                    <a:pt x="29" y="125"/>
                    <a:pt x="29" y="125"/>
                    <a:pt x="29" y="125"/>
                  </a:cubicBezTo>
                  <a:cubicBezTo>
                    <a:pt x="29" y="126"/>
                    <a:pt x="30" y="126"/>
                    <a:pt x="30" y="126"/>
                  </a:cubicBezTo>
                  <a:cubicBezTo>
                    <a:pt x="31" y="126"/>
                    <a:pt x="31" y="126"/>
                    <a:pt x="32" y="126"/>
                  </a:cubicBezTo>
                  <a:cubicBezTo>
                    <a:pt x="33" y="126"/>
                    <a:pt x="34" y="126"/>
                    <a:pt x="35" y="126"/>
                  </a:cubicBezTo>
                  <a:cubicBezTo>
                    <a:pt x="36" y="126"/>
                    <a:pt x="37" y="125"/>
                    <a:pt x="38" y="125"/>
                  </a:cubicBezTo>
                  <a:cubicBezTo>
                    <a:pt x="40" y="125"/>
                    <a:pt x="42" y="126"/>
                    <a:pt x="43" y="127"/>
                  </a:cubicBezTo>
                  <a:cubicBezTo>
                    <a:pt x="44" y="128"/>
                    <a:pt x="44" y="128"/>
                    <a:pt x="44" y="128"/>
                  </a:cubicBezTo>
                  <a:cubicBezTo>
                    <a:pt x="47" y="131"/>
                    <a:pt x="48" y="131"/>
                    <a:pt x="50" y="131"/>
                  </a:cubicBezTo>
                  <a:cubicBezTo>
                    <a:pt x="50" y="131"/>
                    <a:pt x="51" y="131"/>
                    <a:pt x="51" y="131"/>
                  </a:cubicBezTo>
                  <a:cubicBezTo>
                    <a:pt x="52" y="131"/>
                    <a:pt x="52" y="131"/>
                    <a:pt x="52" y="131"/>
                  </a:cubicBezTo>
                  <a:cubicBezTo>
                    <a:pt x="56" y="131"/>
                    <a:pt x="58" y="134"/>
                    <a:pt x="60" y="136"/>
                  </a:cubicBezTo>
                  <a:cubicBezTo>
                    <a:pt x="61" y="136"/>
                    <a:pt x="61" y="136"/>
                    <a:pt x="61" y="136"/>
                  </a:cubicBezTo>
                  <a:cubicBezTo>
                    <a:pt x="61" y="137"/>
                    <a:pt x="62" y="137"/>
                    <a:pt x="62" y="138"/>
                  </a:cubicBezTo>
                  <a:cubicBezTo>
                    <a:pt x="64" y="140"/>
                    <a:pt x="65" y="143"/>
                    <a:pt x="66" y="146"/>
                  </a:cubicBezTo>
                  <a:cubicBezTo>
                    <a:pt x="67" y="147"/>
                    <a:pt x="67" y="147"/>
                    <a:pt x="67" y="147"/>
                  </a:cubicBezTo>
                  <a:cubicBezTo>
                    <a:pt x="67" y="149"/>
                    <a:pt x="68" y="151"/>
                    <a:pt x="70" y="153"/>
                  </a:cubicBezTo>
                  <a:cubicBezTo>
                    <a:pt x="79" y="167"/>
                    <a:pt x="79" y="167"/>
                    <a:pt x="79" y="167"/>
                  </a:cubicBezTo>
                  <a:cubicBezTo>
                    <a:pt x="81" y="170"/>
                    <a:pt x="80" y="173"/>
                    <a:pt x="80" y="175"/>
                  </a:cubicBezTo>
                  <a:cubicBezTo>
                    <a:pt x="80" y="176"/>
                    <a:pt x="80" y="176"/>
                    <a:pt x="80" y="176"/>
                  </a:cubicBezTo>
                  <a:cubicBezTo>
                    <a:pt x="80" y="180"/>
                    <a:pt x="80" y="184"/>
                    <a:pt x="80" y="187"/>
                  </a:cubicBezTo>
                  <a:cubicBezTo>
                    <a:pt x="80" y="188"/>
                    <a:pt x="80" y="188"/>
                    <a:pt x="80" y="188"/>
                  </a:cubicBezTo>
                  <a:cubicBezTo>
                    <a:pt x="80" y="188"/>
                    <a:pt x="80" y="189"/>
                    <a:pt x="80" y="189"/>
                  </a:cubicBezTo>
                  <a:cubicBezTo>
                    <a:pt x="80" y="190"/>
                    <a:pt x="80" y="191"/>
                    <a:pt x="80" y="192"/>
                  </a:cubicBezTo>
                  <a:cubicBezTo>
                    <a:pt x="79" y="192"/>
                    <a:pt x="79" y="193"/>
                    <a:pt x="79" y="194"/>
                  </a:cubicBezTo>
                  <a:cubicBezTo>
                    <a:pt x="78" y="196"/>
                    <a:pt x="77" y="197"/>
                    <a:pt x="76" y="198"/>
                  </a:cubicBezTo>
                  <a:cubicBezTo>
                    <a:pt x="75" y="200"/>
                    <a:pt x="75" y="200"/>
                    <a:pt x="75" y="200"/>
                  </a:cubicBezTo>
                  <a:cubicBezTo>
                    <a:pt x="75" y="201"/>
                    <a:pt x="74" y="202"/>
                    <a:pt x="74" y="203"/>
                  </a:cubicBezTo>
                  <a:cubicBezTo>
                    <a:pt x="72" y="205"/>
                    <a:pt x="72" y="206"/>
                    <a:pt x="72" y="207"/>
                  </a:cubicBezTo>
                  <a:cubicBezTo>
                    <a:pt x="73" y="209"/>
                    <a:pt x="74" y="211"/>
                    <a:pt x="76" y="212"/>
                  </a:cubicBezTo>
                  <a:cubicBezTo>
                    <a:pt x="77" y="213"/>
                    <a:pt x="77" y="213"/>
                    <a:pt x="77" y="213"/>
                  </a:cubicBezTo>
                  <a:cubicBezTo>
                    <a:pt x="77" y="213"/>
                    <a:pt x="77" y="213"/>
                    <a:pt x="77" y="213"/>
                  </a:cubicBezTo>
                  <a:cubicBezTo>
                    <a:pt x="80" y="214"/>
                    <a:pt x="84" y="215"/>
                    <a:pt x="87" y="215"/>
                  </a:cubicBezTo>
                  <a:cubicBezTo>
                    <a:pt x="92" y="215"/>
                    <a:pt x="97" y="216"/>
                    <a:pt x="102" y="216"/>
                  </a:cubicBezTo>
                  <a:cubicBezTo>
                    <a:pt x="111" y="217"/>
                    <a:pt x="121" y="218"/>
                    <a:pt x="130" y="219"/>
                  </a:cubicBezTo>
                  <a:cubicBezTo>
                    <a:pt x="134" y="219"/>
                    <a:pt x="134" y="219"/>
                    <a:pt x="134" y="219"/>
                  </a:cubicBezTo>
                  <a:cubicBezTo>
                    <a:pt x="136" y="219"/>
                    <a:pt x="139" y="220"/>
                    <a:pt x="142" y="221"/>
                  </a:cubicBezTo>
                  <a:cubicBezTo>
                    <a:pt x="159" y="231"/>
                    <a:pt x="159" y="231"/>
                    <a:pt x="159" y="231"/>
                  </a:cubicBezTo>
                  <a:cubicBezTo>
                    <a:pt x="160" y="232"/>
                    <a:pt x="161" y="233"/>
                    <a:pt x="162" y="234"/>
                  </a:cubicBezTo>
                  <a:cubicBezTo>
                    <a:pt x="166" y="236"/>
                    <a:pt x="170" y="239"/>
                    <a:pt x="175" y="240"/>
                  </a:cubicBezTo>
                  <a:cubicBezTo>
                    <a:pt x="176" y="241"/>
                    <a:pt x="177" y="241"/>
                    <a:pt x="178" y="241"/>
                  </a:cubicBezTo>
                  <a:cubicBezTo>
                    <a:pt x="179" y="241"/>
                    <a:pt x="181" y="241"/>
                    <a:pt x="182" y="241"/>
                  </a:cubicBezTo>
                  <a:cubicBezTo>
                    <a:pt x="189" y="240"/>
                    <a:pt x="189" y="240"/>
                    <a:pt x="189" y="240"/>
                  </a:cubicBezTo>
                  <a:cubicBezTo>
                    <a:pt x="188" y="244"/>
                    <a:pt x="188" y="244"/>
                    <a:pt x="188" y="244"/>
                  </a:cubicBezTo>
                  <a:cubicBezTo>
                    <a:pt x="188" y="245"/>
                    <a:pt x="187" y="246"/>
                    <a:pt x="187" y="247"/>
                  </a:cubicBezTo>
                  <a:cubicBezTo>
                    <a:pt x="187" y="248"/>
                    <a:pt x="186" y="248"/>
                    <a:pt x="186" y="249"/>
                  </a:cubicBezTo>
                  <a:cubicBezTo>
                    <a:pt x="188" y="245"/>
                    <a:pt x="188" y="245"/>
                    <a:pt x="188" y="245"/>
                  </a:cubicBezTo>
                  <a:cubicBezTo>
                    <a:pt x="188" y="250"/>
                    <a:pt x="188" y="250"/>
                    <a:pt x="188" y="250"/>
                  </a:cubicBezTo>
                  <a:cubicBezTo>
                    <a:pt x="188" y="250"/>
                    <a:pt x="188" y="250"/>
                    <a:pt x="188" y="250"/>
                  </a:cubicBezTo>
                  <a:cubicBezTo>
                    <a:pt x="190" y="250"/>
                    <a:pt x="191" y="252"/>
                    <a:pt x="192" y="253"/>
                  </a:cubicBezTo>
                  <a:cubicBezTo>
                    <a:pt x="193" y="256"/>
                    <a:pt x="193" y="256"/>
                    <a:pt x="193" y="256"/>
                  </a:cubicBezTo>
                  <a:cubicBezTo>
                    <a:pt x="193" y="257"/>
                    <a:pt x="193" y="257"/>
                    <a:pt x="194" y="258"/>
                  </a:cubicBezTo>
                  <a:cubicBezTo>
                    <a:pt x="199" y="271"/>
                    <a:pt x="199" y="271"/>
                    <a:pt x="199" y="271"/>
                  </a:cubicBezTo>
                  <a:cubicBezTo>
                    <a:pt x="200" y="274"/>
                    <a:pt x="203" y="277"/>
                    <a:pt x="205" y="279"/>
                  </a:cubicBezTo>
                  <a:cubicBezTo>
                    <a:pt x="206" y="280"/>
                    <a:pt x="207" y="281"/>
                    <a:pt x="208" y="282"/>
                  </a:cubicBezTo>
                  <a:cubicBezTo>
                    <a:pt x="209" y="283"/>
                    <a:pt x="209" y="283"/>
                    <a:pt x="209" y="283"/>
                  </a:cubicBezTo>
                  <a:cubicBezTo>
                    <a:pt x="209" y="283"/>
                    <a:pt x="209" y="283"/>
                    <a:pt x="209" y="283"/>
                  </a:cubicBezTo>
                  <a:cubicBezTo>
                    <a:pt x="209" y="283"/>
                    <a:pt x="210" y="284"/>
                    <a:pt x="210" y="284"/>
                  </a:cubicBezTo>
                  <a:cubicBezTo>
                    <a:pt x="211" y="285"/>
                    <a:pt x="211" y="286"/>
                    <a:pt x="211" y="287"/>
                  </a:cubicBezTo>
                  <a:cubicBezTo>
                    <a:pt x="211" y="287"/>
                    <a:pt x="211" y="287"/>
                    <a:pt x="211" y="287"/>
                  </a:cubicBezTo>
                  <a:cubicBezTo>
                    <a:pt x="216" y="286"/>
                    <a:pt x="216" y="286"/>
                    <a:pt x="216" y="286"/>
                  </a:cubicBezTo>
                  <a:cubicBezTo>
                    <a:pt x="219" y="286"/>
                    <a:pt x="221" y="286"/>
                    <a:pt x="224" y="286"/>
                  </a:cubicBezTo>
                  <a:cubicBezTo>
                    <a:pt x="225" y="286"/>
                    <a:pt x="226" y="286"/>
                    <a:pt x="227" y="286"/>
                  </a:cubicBezTo>
                  <a:cubicBezTo>
                    <a:pt x="232" y="286"/>
                    <a:pt x="236" y="286"/>
                    <a:pt x="240" y="287"/>
                  </a:cubicBezTo>
                  <a:cubicBezTo>
                    <a:pt x="244" y="288"/>
                    <a:pt x="244" y="288"/>
                    <a:pt x="244" y="288"/>
                  </a:cubicBezTo>
                  <a:cubicBezTo>
                    <a:pt x="246" y="288"/>
                    <a:pt x="247" y="288"/>
                    <a:pt x="248" y="288"/>
                  </a:cubicBezTo>
                  <a:cubicBezTo>
                    <a:pt x="251" y="289"/>
                    <a:pt x="251" y="289"/>
                    <a:pt x="251" y="289"/>
                  </a:cubicBezTo>
                  <a:cubicBezTo>
                    <a:pt x="253" y="289"/>
                    <a:pt x="255" y="289"/>
                    <a:pt x="256" y="290"/>
                  </a:cubicBezTo>
                  <a:cubicBezTo>
                    <a:pt x="266" y="291"/>
                    <a:pt x="277" y="291"/>
                    <a:pt x="287" y="291"/>
                  </a:cubicBezTo>
                  <a:cubicBezTo>
                    <a:pt x="288" y="291"/>
                    <a:pt x="288" y="291"/>
                    <a:pt x="288" y="291"/>
                  </a:cubicBezTo>
                  <a:cubicBezTo>
                    <a:pt x="288" y="291"/>
                    <a:pt x="288" y="291"/>
                    <a:pt x="288" y="291"/>
                  </a:cubicBezTo>
                  <a:cubicBezTo>
                    <a:pt x="289" y="291"/>
                    <a:pt x="290" y="290"/>
                    <a:pt x="291" y="290"/>
                  </a:cubicBezTo>
                  <a:cubicBezTo>
                    <a:pt x="293" y="289"/>
                    <a:pt x="295" y="288"/>
                    <a:pt x="298" y="288"/>
                  </a:cubicBezTo>
                  <a:cubicBezTo>
                    <a:pt x="298" y="288"/>
                    <a:pt x="298" y="288"/>
                    <a:pt x="299" y="288"/>
                  </a:cubicBezTo>
                  <a:cubicBezTo>
                    <a:pt x="299" y="289"/>
                    <a:pt x="299" y="289"/>
                    <a:pt x="299" y="289"/>
                  </a:cubicBezTo>
                  <a:cubicBezTo>
                    <a:pt x="300" y="289"/>
                    <a:pt x="301" y="289"/>
                    <a:pt x="302" y="289"/>
                  </a:cubicBezTo>
                  <a:cubicBezTo>
                    <a:pt x="335" y="295"/>
                    <a:pt x="335" y="295"/>
                    <a:pt x="335" y="295"/>
                  </a:cubicBezTo>
                  <a:cubicBezTo>
                    <a:pt x="336" y="295"/>
                    <a:pt x="336" y="295"/>
                    <a:pt x="337" y="295"/>
                  </a:cubicBezTo>
                  <a:cubicBezTo>
                    <a:pt x="339" y="295"/>
                    <a:pt x="342" y="295"/>
                    <a:pt x="343" y="296"/>
                  </a:cubicBezTo>
                  <a:cubicBezTo>
                    <a:pt x="344" y="297"/>
                    <a:pt x="345" y="298"/>
                    <a:pt x="345" y="298"/>
                  </a:cubicBezTo>
                  <a:cubicBezTo>
                    <a:pt x="346" y="299"/>
                    <a:pt x="347" y="301"/>
                    <a:pt x="348" y="302"/>
                  </a:cubicBezTo>
                  <a:cubicBezTo>
                    <a:pt x="348" y="302"/>
                    <a:pt x="348" y="302"/>
                    <a:pt x="348" y="302"/>
                  </a:cubicBezTo>
                  <a:cubicBezTo>
                    <a:pt x="349" y="303"/>
                    <a:pt x="349" y="303"/>
                    <a:pt x="349" y="303"/>
                  </a:cubicBezTo>
                  <a:cubicBezTo>
                    <a:pt x="360" y="306"/>
                    <a:pt x="360" y="306"/>
                    <a:pt x="360" y="306"/>
                  </a:cubicBezTo>
                  <a:cubicBezTo>
                    <a:pt x="364" y="307"/>
                    <a:pt x="368" y="307"/>
                    <a:pt x="371" y="308"/>
                  </a:cubicBezTo>
                  <a:cubicBezTo>
                    <a:pt x="374" y="309"/>
                    <a:pt x="378" y="310"/>
                    <a:pt x="381" y="311"/>
                  </a:cubicBezTo>
                  <a:cubicBezTo>
                    <a:pt x="384" y="313"/>
                    <a:pt x="386" y="314"/>
                    <a:pt x="389" y="314"/>
                  </a:cubicBezTo>
                  <a:cubicBezTo>
                    <a:pt x="390" y="315"/>
                    <a:pt x="392" y="315"/>
                    <a:pt x="393" y="315"/>
                  </a:cubicBezTo>
                  <a:cubicBezTo>
                    <a:pt x="394" y="315"/>
                    <a:pt x="395" y="315"/>
                    <a:pt x="396" y="314"/>
                  </a:cubicBezTo>
                  <a:cubicBezTo>
                    <a:pt x="396" y="314"/>
                    <a:pt x="397" y="314"/>
                    <a:pt x="397" y="314"/>
                  </a:cubicBezTo>
                  <a:cubicBezTo>
                    <a:pt x="398" y="314"/>
                    <a:pt x="398" y="314"/>
                    <a:pt x="398" y="314"/>
                  </a:cubicBezTo>
                  <a:cubicBezTo>
                    <a:pt x="399" y="314"/>
                    <a:pt x="402" y="313"/>
                    <a:pt x="404" y="313"/>
                  </a:cubicBezTo>
                  <a:cubicBezTo>
                    <a:pt x="408" y="313"/>
                    <a:pt x="409" y="314"/>
                    <a:pt x="410" y="316"/>
                  </a:cubicBezTo>
                  <a:cubicBezTo>
                    <a:pt x="410" y="316"/>
                    <a:pt x="410" y="316"/>
                    <a:pt x="410" y="316"/>
                  </a:cubicBezTo>
                  <a:cubicBezTo>
                    <a:pt x="410" y="316"/>
                    <a:pt x="410" y="316"/>
                    <a:pt x="410" y="316"/>
                  </a:cubicBezTo>
                  <a:cubicBezTo>
                    <a:pt x="411" y="318"/>
                    <a:pt x="411" y="318"/>
                    <a:pt x="411" y="318"/>
                  </a:cubicBezTo>
                  <a:cubicBezTo>
                    <a:pt x="412" y="319"/>
                    <a:pt x="412" y="319"/>
                    <a:pt x="412" y="319"/>
                  </a:cubicBezTo>
                  <a:cubicBezTo>
                    <a:pt x="412" y="319"/>
                    <a:pt x="412" y="319"/>
                    <a:pt x="412" y="319"/>
                  </a:cubicBezTo>
                  <a:cubicBezTo>
                    <a:pt x="413" y="319"/>
                    <a:pt x="413" y="319"/>
                    <a:pt x="413" y="319"/>
                  </a:cubicBezTo>
                  <a:cubicBezTo>
                    <a:pt x="414" y="319"/>
                    <a:pt x="414" y="319"/>
                    <a:pt x="414" y="319"/>
                  </a:cubicBezTo>
                  <a:cubicBezTo>
                    <a:pt x="415" y="320"/>
                    <a:pt x="418" y="320"/>
                    <a:pt x="420" y="320"/>
                  </a:cubicBezTo>
                  <a:cubicBezTo>
                    <a:pt x="420" y="320"/>
                    <a:pt x="420" y="320"/>
                    <a:pt x="420" y="320"/>
                  </a:cubicBezTo>
                  <a:cubicBezTo>
                    <a:pt x="420" y="320"/>
                    <a:pt x="420" y="320"/>
                    <a:pt x="420" y="320"/>
                  </a:cubicBezTo>
                  <a:cubicBezTo>
                    <a:pt x="422" y="318"/>
                    <a:pt x="425" y="317"/>
                    <a:pt x="427" y="316"/>
                  </a:cubicBezTo>
                  <a:cubicBezTo>
                    <a:pt x="430" y="314"/>
                    <a:pt x="435" y="312"/>
                    <a:pt x="439" y="311"/>
                  </a:cubicBezTo>
                  <a:cubicBezTo>
                    <a:pt x="441" y="310"/>
                    <a:pt x="443" y="309"/>
                    <a:pt x="444" y="308"/>
                  </a:cubicBezTo>
                  <a:cubicBezTo>
                    <a:pt x="447" y="307"/>
                    <a:pt x="447" y="307"/>
                    <a:pt x="447" y="307"/>
                  </a:cubicBezTo>
                  <a:cubicBezTo>
                    <a:pt x="451" y="305"/>
                    <a:pt x="455" y="303"/>
                    <a:pt x="459" y="302"/>
                  </a:cubicBezTo>
                  <a:cubicBezTo>
                    <a:pt x="458" y="298"/>
                    <a:pt x="458" y="298"/>
                    <a:pt x="458" y="298"/>
                  </a:cubicBezTo>
                  <a:cubicBezTo>
                    <a:pt x="461" y="301"/>
                    <a:pt x="461" y="301"/>
                    <a:pt x="461" y="301"/>
                  </a:cubicBezTo>
                  <a:cubicBezTo>
                    <a:pt x="462" y="301"/>
                    <a:pt x="462" y="301"/>
                    <a:pt x="462" y="301"/>
                  </a:cubicBezTo>
                  <a:cubicBezTo>
                    <a:pt x="463" y="301"/>
                    <a:pt x="463" y="300"/>
                    <a:pt x="464" y="300"/>
                  </a:cubicBezTo>
                  <a:cubicBezTo>
                    <a:pt x="469" y="299"/>
                    <a:pt x="475" y="298"/>
                    <a:pt x="481" y="298"/>
                  </a:cubicBezTo>
                  <a:cubicBezTo>
                    <a:pt x="483" y="298"/>
                    <a:pt x="486" y="297"/>
                    <a:pt x="489" y="297"/>
                  </a:cubicBezTo>
                  <a:cubicBezTo>
                    <a:pt x="494" y="296"/>
                    <a:pt x="494" y="296"/>
                    <a:pt x="494" y="296"/>
                  </a:cubicBezTo>
                  <a:cubicBezTo>
                    <a:pt x="498" y="296"/>
                    <a:pt x="502" y="296"/>
                    <a:pt x="506" y="296"/>
                  </a:cubicBezTo>
                  <a:cubicBezTo>
                    <a:pt x="511" y="296"/>
                    <a:pt x="511" y="296"/>
                    <a:pt x="511" y="296"/>
                  </a:cubicBezTo>
                  <a:cubicBezTo>
                    <a:pt x="512" y="296"/>
                    <a:pt x="513" y="296"/>
                    <a:pt x="514" y="296"/>
                  </a:cubicBezTo>
                  <a:cubicBezTo>
                    <a:pt x="515" y="296"/>
                    <a:pt x="515" y="296"/>
                    <a:pt x="515" y="296"/>
                  </a:cubicBezTo>
                  <a:cubicBezTo>
                    <a:pt x="516" y="296"/>
                    <a:pt x="518" y="296"/>
                    <a:pt x="519" y="296"/>
                  </a:cubicBezTo>
                  <a:cubicBezTo>
                    <a:pt x="520" y="296"/>
                    <a:pt x="522" y="296"/>
                    <a:pt x="523" y="296"/>
                  </a:cubicBezTo>
                  <a:cubicBezTo>
                    <a:pt x="526" y="296"/>
                    <a:pt x="529" y="296"/>
                    <a:pt x="532" y="295"/>
                  </a:cubicBezTo>
                  <a:cubicBezTo>
                    <a:pt x="534" y="294"/>
                    <a:pt x="536" y="293"/>
                    <a:pt x="539" y="292"/>
                  </a:cubicBezTo>
                  <a:cubicBezTo>
                    <a:pt x="541" y="291"/>
                    <a:pt x="541" y="291"/>
                    <a:pt x="541" y="291"/>
                  </a:cubicBezTo>
                  <a:cubicBezTo>
                    <a:pt x="545" y="289"/>
                    <a:pt x="545" y="289"/>
                    <a:pt x="545" y="289"/>
                  </a:cubicBezTo>
                  <a:cubicBezTo>
                    <a:pt x="547" y="288"/>
                    <a:pt x="549" y="287"/>
                    <a:pt x="552" y="286"/>
                  </a:cubicBezTo>
                  <a:cubicBezTo>
                    <a:pt x="553" y="286"/>
                    <a:pt x="555" y="285"/>
                    <a:pt x="556" y="283"/>
                  </a:cubicBezTo>
                  <a:cubicBezTo>
                    <a:pt x="557" y="282"/>
                    <a:pt x="558" y="281"/>
                    <a:pt x="559" y="280"/>
                  </a:cubicBezTo>
                  <a:cubicBezTo>
                    <a:pt x="559" y="279"/>
                    <a:pt x="559" y="279"/>
                    <a:pt x="559" y="279"/>
                  </a:cubicBezTo>
                  <a:cubicBezTo>
                    <a:pt x="561" y="276"/>
                    <a:pt x="563" y="273"/>
                    <a:pt x="567" y="271"/>
                  </a:cubicBezTo>
                  <a:cubicBezTo>
                    <a:pt x="569" y="268"/>
                    <a:pt x="573" y="267"/>
                    <a:pt x="576" y="266"/>
                  </a:cubicBezTo>
                  <a:cubicBezTo>
                    <a:pt x="578" y="265"/>
                    <a:pt x="578" y="265"/>
                    <a:pt x="578" y="265"/>
                  </a:cubicBezTo>
                  <a:cubicBezTo>
                    <a:pt x="582" y="263"/>
                    <a:pt x="585" y="261"/>
                    <a:pt x="588" y="259"/>
                  </a:cubicBezTo>
                  <a:cubicBezTo>
                    <a:pt x="589" y="258"/>
                    <a:pt x="589" y="258"/>
                    <a:pt x="589" y="258"/>
                  </a:cubicBezTo>
                  <a:cubicBezTo>
                    <a:pt x="589" y="258"/>
                    <a:pt x="589" y="258"/>
                    <a:pt x="589" y="258"/>
                  </a:cubicBezTo>
                  <a:cubicBezTo>
                    <a:pt x="589" y="257"/>
                    <a:pt x="589" y="257"/>
                    <a:pt x="589" y="257"/>
                  </a:cubicBezTo>
                  <a:cubicBezTo>
                    <a:pt x="588" y="256"/>
                    <a:pt x="587" y="255"/>
                    <a:pt x="586" y="255"/>
                  </a:cubicBezTo>
                  <a:cubicBezTo>
                    <a:pt x="585" y="254"/>
                    <a:pt x="584" y="254"/>
                    <a:pt x="584" y="253"/>
                  </a:cubicBezTo>
                  <a:cubicBezTo>
                    <a:pt x="582" y="252"/>
                    <a:pt x="581" y="251"/>
                    <a:pt x="581" y="249"/>
                  </a:cubicBezTo>
                  <a:cubicBezTo>
                    <a:pt x="580" y="248"/>
                    <a:pt x="578" y="245"/>
                    <a:pt x="577" y="242"/>
                  </a:cubicBezTo>
                  <a:cubicBezTo>
                    <a:pt x="576" y="239"/>
                    <a:pt x="577" y="238"/>
                    <a:pt x="578" y="236"/>
                  </a:cubicBezTo>
                  <a:cubicBezTo>
                    <a:pt x="578" y="235"/>
                    <a:pt x="578" y="235"/>
                    <a:pt x="578" y="235"/>
                  </a:cubicBezTo>
                  <a:cubicBezTo>
                    <a:pt x="580" y="233"/>
                    <a:pt x="581" y="230"/>
                    <a:pt x="582" y="227"/>
                  </a:cubicBezTo>
                  <a:cubicBezTo>
                    <a:pt x="583" y="224"/>
                    <a:pt x="585" y="222"/>
                    <a:pt x="588" y="220"/>
                  </a:cubicBezTo>
                  <a:cubicBezTo>
                    <a:pt x="589" y="219"/>
                    <a:pt x="590" y="218"/>
                    <a:pt x="591" y="217"/>
                  </a:cubicBezTo>
                  <a:cubicBezTo>
                    <a:pt x="592" y="216"/>
                    <a:pt x="594" y="216"/>
                    <a:pt x="595" y="216"/>
                  </a:cubicBezTo>
                  <a:cubicBezTo>
                    <a:pt x="597" y="216"/>
                    <a:pt x="598" y="216"/>
                    <a:pt x="600" y="216"/>
                  </a:cubicBezTo>
                  <a:cubicBezTo>
                    <a:pt x="602" y="216"/>
                    <a:pt x="604" y="217"/>
                    <a:pt x="607" y="218"/>
                  </a:cubicBezTo>
                  <a:cubicBezTo>
                    <a:pt x="611" y="219"/>
                    <a:pt x="615" y="221"/>
                    <a:pt x="619" y="223"/>
                  </a:cubicBezTo>
                  <a:cubicBezTo>
                    <a:pt x="620" y="223"/>
                    <a:pt x="621" y="224"/>
                    <a:pt x="622" y="224"/>
                  </a:cubicBezTo>
                  <a:cubicBezTo>
                    <a:pt x="624" y="225"/>
                    <a:pt x="626" y="225"/>
                    <a:pt x="627" y="226"/>
                  </a:cubicBezTo>
                  <a:cubicBezTo>
                    <a:pt x="628" y="226"/>
                    <a:pt x="628" y="226"/>
                    <a:pt x="629" y="226"/>
                  </a:cubicBezTo>
                  <a:cubicBezTo>
                    <a:pt x="629" y="226"/>
                    <a:pt x="629" y="226"/>
                    <a:pt x="629" y="226"/>
                  </a:cubicBezTo>
                  <a:cubicBezTo>
                    <a:pt x="630" y="226"/>
                    <a:pt x="631" y="226"/>
                    <a:pt x="631" y="226"/>
                  </a:cubicBezTo>
                  <a:cubicBezTo>
                    <a:pt x="633" y="226"/>
                    <a:pt x="635" y="225"/>
                    <a:pt x="636" y="224"/>
                  </a:cubicBezTo>
                  <a:cubicBezTo>
                    <a:pt x="637" y="224"/>
                    <a:pt x="637" y="224"/>
                    <a:pt x="637" y="224"/>
                  </a:cubicBezTo>
                  <a:cubicBezTo>
                    <a:pt x="638" y="223"/>
                    <a:pt x="639" y="222"/>
                    <a:pt x="640" y="222"/>
                  </a:cubicBezTo>
                  <a:cubicBezTo>
                    <a:pt x="644" y="219"/>
                    <a:pt x="648" y="215"/>
                    <a:pt x="652" y="212"/>
                  </a:cubicBezTo>
                  <a:cubicBezTo>
                    <a:pt x="649" y="209"/>
                    <a:pt x="649" y="209"/>
                    <a:pt x="649" y="209"/>
                  </a:cubicBezTo>
                  <a:cubicBezTo>
                    <a:pt x="653" y="211"/>
                    <a:pt x="653" y="211"/>
                    <a:pt x="653" y="211"/>
                  </a:cubicBezTo>
                  <a:cubicBezTo>
                    <a:pt x="653" y="211"/>
                    <a:pt x="653" y="211"/>
                    <a:pt x="653" y="211"/>
                  </a:cubicBezTo>
                  <a:cubicBezTo>
                    <a:pt x="653" y="211"/>
                    <a:pt x="653" y="211"/>
                    <a:pt x="653" y="211"/>
                  </a:cubicBezTo>
                  <a:cubicBezTo>
                    <a:pt x="654" y="210"/>
                    <a:pt x="654" y="210"/>
                    <a:pt x="654" y="210"/>
                  </a:cubicBezTo>
                  <a:cubicBezTo>
                    <a:pt x="655" y="210"/>
                    <a:pt x="655" y="210"/>
                    <a:pt x="655" y="210"/>
                  </a:cubicBezTo>
                  <a:cubicBezTo>
                    <a:pt x="655" y="209"/>
                    <a:pt x="656" y="208"/>
                    <a:pt x="657" y="207"/>
                  </a:cubicBezTo>
                  <a:cubicBezTo>
                    <a:pt x="657" y="207"/>
                    <a:pt x="657" y="207"/>
                    <a:pt x="657" y="207"/>
                  </a:cubicBezTo>
                  <a:cubicBezTo>
                    <a:pt x="659" y="206"/>
                    <a:pt x="660" y="205"/>
                    <a:pt x="663" y="205"/>
                  </a:cubicBezTo>
                  <a:cubicBezTo>
                    <a:pt x="664" y="205"/>
                    <a:pt x="665" y="205"/>
                    <a:pt x="665" y="205"/>
                  </a:cubicBezTo>
                  <a:cubicBezTo>
                    <a:pt x="666" y="205"/>
                    <a:pt x="666" y="205"/>
                    <a:pt x="666" y="205"/>
                  </a:cubicBezTo>
                  <a:cubicBezTo>
                    <a:pt x="667" y="205"/>
                    <a:pt x="667" y="205"/>
                    <a:pt x="667" y="205"/>
                  </a:cubicBezTo>
                  <a:cubicBezTo>
                    <a:pt x="682" y="205"/>
                    <a:pt x="682" y="205"/>
                    <a:pt x="682" y="205"/>
                  </a:cubicBezTo>
                  <a:cubicBezTo>
                    <a:pt x="683" y="205"/>
                    <a:pt x="683" y="205"/>
                    <a:pt x="684" y="204"/>
                  </a:cubicBezTo>
                  <a:cubicBezTo>
                    <a:pt x="684" y="204"/>
                    <a:pt x="685" y="204"/>
                    <a:pt x="685" y="204"/>
                  </a:cubicBezTo>
                  <a:cubicBezTo>
                    <a:pt x="686" y="203"/>
                    <a:pt x="687" y="202"/>
                    <a:pt x="687" y="202"/>
                  </a:cubicBezTo>
                  <a:cubicBezTo>
                    <a:pt x="688" y="202"/>
                    <a:pt x="689" y="201"/>
                    <a:pt x="690" y="201"/>
                  </a:cubicBezTo>
                  <a:cubicBezTo>
                    <a:pt x="690" y="200"/>
                    <a:pt x="691" y="200"/>
                    <a:pt x="691" y="200"/>
                  </a:cubicBezTo>
                  <a:cubicBezTo>
                    <a:pt x="692" y="199"/>
                    <a:pt x="692" y="199"/>
                    <a:pt x="692" y="199"/>
                  </a:cubicBezTo>
                  <a:cubicBezTo>
                    <a:pt x="693" y="199"/>
                    <a:pt x="694" y="198"/>
                    <a:pt x="695" y="198"/>
                  </a:cubicBezTo>
                  <a:cubicBezTo>
                    <a:pt x="695" y="197"/>
                    <a:pt x="695" y="197"/>
                    <a:pt x="695" y="197"/>
                  </a:cubicBezTo>
                  <a:cubicBezTo>
                    <a:pt x="695" y="197"/>
                    <a:pt x="695" y="196"/>
                    <a:pt x="695" y="195"/>
                  </a:cubicBezTo>
                  <a:cubicBezTo>
                    <a:pt x="695" y="195"/>
                    <a:pt x="695" y="195"/>
                    <a:pt x="695" y="194"/>
                  </a:cubicBezTo>
                  <a:cubicBezTo>
                    <a:pt x="695" y="189"/>
                    <a:pt x="702" y="182"/>
                    <a:pt x="703" y="181"/>
                  </a:cubicBezTo>
                  <a:cubicBezTo>
                    <a:pt x="707" y="177"/>
                    <a:pt x="713" y="177"/>
                    <a:pt x="717" y="177"/>
                  </a:cubicBezTo>
                  <a:cubicBezTo>
                    <a:pt x="719" y="177"/>
                    <a:pt x="721" y="177"/>
                    <a:pt x="723" y="177"/>
                  </a:cubicBezTo>
                  <a:cubicBezTo>
                    <a:pt x="725" y="177"/>
                    <a:pt x="725" y="177"/>
                    <a:pt x="725" y="177"/>
                  </a:cubicBezTo>
                  <a:cubicBezTo>
                    <a:pt x="725" y="177"/>
                    <a:pt x="726" y="177"/>
                    <a:pt x="726" y="177"/>
                  </a:cubicBezTo>
                  <a:cubicBezTo>
                    <a:pt x="735" y="174"/>
                    <a:pt x="743" y="171"/>
                    <a:pt x="751" y="167"/>
                  </a:cubicBezTo>
                  <a:cubicBezTo>
                    <a:pt x="754" y="167"/>
                    <a:pt x="756" y="166"/>
                    <a:pt x="759" y="166"/>
                  </a:cubicBezTo>
                  <a:cubicBezTo>
                    <a:pt x="762" y="166"/>
                    <a:pt x="764" y="167"/>
                    <a:pt x="766" y="167"/>
                  </a:cubicBezTo>
                  <a:cubicBezTo>
                    <a:pt x="767" y="167"/>
                    <a:pt x="767" y="167"/>
                    <a:pt x="767" y="167"/>
                  </a:cubicBezTo>
                  <a:cubicBezTo>
                    <a:pt x="769" y="167"/>
                    <a:pt x="771" y="167"/>
                    <a:pt x="773" y="167"/>
                  </a:cubicBezTo>
                  <a:cubicBezTo>
                    <a:pt x="785" y="167"/>
                    <a:pt x="785" y="167"/>
                    <a:pt x="785" y="167"/>
                  </a:cubicBezTo>
                  <a:cubicBezTo>
                    <a:pt x="785" y="164"/>
                    <a:pt x="785" y="162"/>
                    <a:pt x="782" y="158"/>
                  </a:cubicBezTo>
                  <a:cubicBezTo>
                    <a:pt x="781" y="157"/>
                    <a:pt x="780" y="156"/>
                    <a:pt x="779" y="155"/>
                  </a:cubicBezTo>
                  <a:cubicBezTo>
                    <a:pt x="779" y="155"/>
                    <a:pt x="779" y="155"/>
                    <a:pt x="779" y="155"/>
                  </a:cubicBezTo>
                  <a:cubicBezTo>
                    <a:pt x="777" y="154"/>
                    <a:pt x="776" y="153"/>
                    <a:pt x="774" y="151"/>
                  </a:cubicBezTo>
                  <a:cubicBezTo>
                    <a:pt x="774" y="150"/>
                    <a:pt x="773" y="149"/>
                    <a:pt x="771" y="148"/>
                  </a:cubicBezTo>
                  <a:cubicBezTo>
                    <a:pt x="770" y="147"/>
                    <a:pt x="769" y="146"/>
                    <a:pt x="768" y="145"/>
                  </a:cubicBezTo>
                  <a:cubicBezTo>
                    <a:pt x="767" y="144"/>
                    <a:pt x="766" y="143"/>
                    <a:pt x="766" y="142"/>
                  </a:cubicBezTo>
                  <a:cubicBezTo>
                    <a:pt x="765" y="142"/>
                    <a:pt x="764" y="141"/>
                    <a:pt x="762" y="140"/>
                  </a:cubicBezTo>
                  <a:cubicBezTo>
                    <a:pt x="760" y="139"/>
                    <a:pt x="758" y="138"/>
                    <a:pt x="757" y="137"/>
                  </a:cubicBezTo>
                  <a:cubicBezTo>
                    <a:pt x="756" y="136"/>
                    <a:pt x="756" y="135"/>
                    <a:pt x="755" y="135"/>
                  </a:cubicBezTo>
                  <a:cubicBezTo>
                    <a:pt x="755" y="135"/>
                    <a:pt x="755" y="135"/>
                    <a:pt x="755" y="135"/>
                  </a:cubicBezTo>
                  <a:cubicBezTo>
                    <a:pt x="755" y="134"/>
                    <a:pt x="754" y="134"/>
                    <a:pt x="754" y="134"/>
                  </a:cubicBezTo>
                  <a:cubicBezTo>
                    <a:pt x="754" y="133"/>
                    <a:pt x="754" y="133"/>
                    <a:pt x="754" y="133"/>
                  </a:cubicBezTo>
                  <a:cubicBezTo>
                    <a:pt x="753" y="133"/>
                    <a:pt x="753" y="133"/>
                    <a:pt x="753" y="133"/>
                  </a:cubicBezTo>
                  <a:cubicBezTo>
                    <a:pt x="753" y="133"/>
                    <a:pt x="752" y="133"/>
                    <a:pt x="752" y="133"/>
                  </a:cubicBezTo>
                  <a:cubicBezTo>
                    <a:pt x="750" y="133"/>
                    <a:pt x="748" y="133"/>
                    <a:pt x="746" y="134"/>
                  </a:cubicBezTo>
                  <a:cubicBezTo>
                    <a:pt x="745" y="134"/>
                    <a:pt x="743" y="134"/>
                    <a:pt x="742" y="134"/>
                  </a:cubicBezTo>
                  <a:cubicBezTo>
                    <a:pt x="740" y="134"/>
                    <a:pt x="739" y="134"/>
                    <a:pt x="737" y="135"/>
                  </a:cubicBezTo>
                  <a:cubicBezTo>
                    <a:pt x="735" y="135"/>
                    <a:pt x="733" y="136"/>
                    <a:pt x="731" y="139"/>
                  </a:cubicBezTo>
                  <a:cubicBezTo>
                    <a:pt x="731" y="139"/>
                    <a:pt x="731" y="139"/>
                    <a:pt x="731" y="139"/>
                  </a:cubicBezTo>
                  <a:cubicBezTo>
                    <a:pt x="730" y="141"/>
                    <a:pt x="729" y="142"/>
                    <a:pt x="727" y="143"/>
                  </a:cubicBezTo>
                  <a:cubicBezTo>
                    <a:pt x="726" y="143"/>
                    <a:pt x="726" y="143"/>
                    <a:pt x="726" y="143"/>
                  </a:cubicBezTo>
                  <a:cubicBezTo>
                    <a:pt x="726" y="143"/>
                    <a:pt x="726" y="143"/>
                    <a:pt x="726" y="143"/>
                  </a:cubicBezTo>
                  <a:cubicBezTo>
                    <a:pt x="723" y="143"/>
                    <a:pt x="721" y="141"/>
                    <a:pt x="717" y="138"/>
                  </a:cubicBezTo>
                  <a:cubicBezTo>
                    <a:pt x="717" y="138"/>
                    <a:pt x="716" y="138"/>
                    <a:pt x="716" y="137"/>
                  </a:cubicBezTo>
                  <a:cubicBezTo>
                    <a:pt x="715" y="137"/>
                    <a:pt x="714" y="137"/>
                    <a:pt x="714" y="137"/>
                  </a:cubicBezTo>
                  <a:cubicBezTo>
                    <a:pt x="713" y="137"/>
                    <a:pt x="713" y="137"/>
                    <a:pt x="713" y="137"/>
                  </a:cubicBezTo>
                  <a:cubicBezTo>
                    <a:pt x="702" y="138"/>
                    <a:pt x="702" y="138"/>
                    <a:pt x="702" y="138"/>
                  </a:cubicBezTo>
                  <a:cubicBezTo>
                    <a:pt x="699" y="138"/>
                    <a:pt x="697" y="139"/>
                    <a:pt x="695" y="139"/>
                  </a:cubicBezTo>
                  <a:cubicBezTo>
                    <a:pt x="695" y="139"/>
                    <a:pt x="695" y="139"/>
                    <a:pt x="695" y="139"/>
                  </a:cubicBezTo>
                  <a:cubicBezTo>
                    <a:pt x="694" y="140"/>
                    <a:pt x="693" y="142"/>
                    <a:pt x="691" y="142"/>
                  </a:cubicBezTo>
                  <a:cubicBezTo>
                    <a:pt x="691" y="142"/>
                    <a:pt x="691" y="142"/>
                    <a:pt x="691" y="142"/>
                  </a:cubicBezTo>
                  <a:cubicBezTo>
                    <a:pt x="688" y="142"/>
                    <a:pt x="686" y="140"/>
                    <a:pt x="683" y="137"/>
                  </a:cubicBezTo>
                  <a:cubicBezTo>
                    <a:pt x="682" y="136"/>
                    <a:pt x="680" y="134"/>
                    <a:pt x="680" y="133"/>
                  </a:cubicBezTo>
                  <a:cubicBezTo>
                    <a:pt x="679" y="132"/>
                    <a:pt x="679" y="131"/>
                    <a:pt x="679" y="131"/>
                  </a:cubicBezTo>
                  <a:cubicBezTo>
                    <a:pt x="679" y="130"/>
                    <a:pt x="679" y="130"/>
                    <a:pt x="679" y="130"/>
                  </a:cubicBezTo>
                  <a:cubicBezTo>
                    <a:pt x="679" y="130"/>
                    <a:pt x="679" y="130"/>
                    <a:pt x="679" y="130"/>
                  </a:cubicBezTo>
                  <a:cubicBezTo>
                    <a:pt x="678" y="129"/>
                    <a:pt x="678" y="128"/>
                    <a:pt x="678" y="127"/>
                  </a:cubicBezTo>
                  <a:cubicBezTo>
                    <a:pt x="677" y="123"/>
                    <a:pt x="681" y="121"/>
                    <a:pt x="683" y="120"/>
                  </a:cubicBezTo>
                  <a:cubicBezTo>
                    <a:pt x="684" y="120"/>
                    <a:pt x="684" y="120"/>
                    <a:pt x="685" y="119"/>
                  </a:cubicBezTo>
                  <a:cubicBezTo>
                    <a:pt x="685" y="119"/>
                    <a:pt x="685" y="119"/>
                    <a:pt x="685" y="118"/>
                  </a:cubicBezTo>
                  <a:cubicBezTo>
                    <a:pt x="684" y="116"/>
                    <a:pt x="684" y="114"/>
                    <a:pt x="685" y="112"/>
                  </a:cubicBezTo>
                  <a:cubicBezTo>
                    <a:pt x="694" y="94"/>
                    <a:pt x="694" y="94"/>
                    <a:pt x="694" y="94"/>
                  </a:cubicBezTo>
                  <a:cubicBezTo>
                    <a:pt x="696" y="90"/>
                    <a:pt x="698" y="86"/>
                    <a:pt x="700" y="83"/>
                  </a:cubicBezTo>
                  <a:cubicBezTo>
                    <a:pt x="705" y="72"/>
                    <a:pt x="705" y="72"/>
                    <a:pt x="705" y="72"/>
                  </a:cubicBezTo>
                  <a:cubicBezTo>
                    <a:pt x="705" y="72"/>
                    <a:pt x="705" y="72"/>
                    <a:pt x="704" y="72"/>
                  </a:cubicBezTo>
                  <a:cubicBezTo>
                    <a:pt x="704" y="71"/>
                    <a:pt x="704" y="71"/>
                    <a:pt x="704" y="71"/>
                  </a:cubicBezTo>
                  <a:cubicBezTo>
                    <a:pt x="699" y="68"/>
                    <a:pt x="698" y="68"/>
                    <a:pt x="698" y="68"/>
                  </a:cubicBezTo>
                  <a:cubicBezTo>
                    <a:pt x="698" y="68"/>
                    <a:pt x="698" y="68"/>
                    <a:pt x="698" y="68"/>
                  </a:cubicBezTo>
                  <a:cubicBezTo>
                    <a:pt x="682" y="71"/>
                    <a:pt x="682" y="71"/>
                    <a:pt x="682" y="71"/>
                  </a:cubicBezTo>
                  <a:cubicBezTo>
                    <a:pt x="682" y="72"/>
                    <a:pt x="682" y="72"/>
                    <a:pt x="681" y="72"/>
                  </a:cubicBezTo>
                  <a:cubicBezTo>
                    <a:pt x="681" y="72"/>
                    <a:pt x="680" y="72"/>
                    <a:pt x="680" y="71"/>
                  </a:cubicBezTo>
                  <a:cubicBezTo>
                    <a:pt x="680" y="71"/>
                    <a:pt x="680" y="71"/>
                    <a:pt x="680" y="71"/>
                  </a:cubicBezTo>
                  <a:cubicBezTo>
                    <a:pt x="679" y="71"/>
                    <a:pt x="679" y="71"/>
                    <a:pt x="679" y="71"/>
                  </a:cubicBezTo>
                  <a:cubicBezTo>
                    <a:pt x="678" y="71"/>
                    <a:pt x="678" y="71"/>
                    <a:pt x="677" y="70"/>
                  </a:cubicBezTo>
                  <a:cubicBezTo>
                    <a:pt x="662" y="61"/>
                    <a:pt x="662" y="61"/>
                    <a:pt x="662" y="61"/>
                  </a:cubicBezTo>
                  <a:cubicBezTo>
                    <a:pt x="660" y="61"/>
                    <a:pt x="660" y="61"/>
                    <a:pt x="660" y="61"/>
                  </a:cubicBezTo>
                  <a:cubicBezTo>
                    <a:pt x="658" y="61"/>
                    <a:pt x="657" y="61"/>
                    <a:pt x="656" y="61"/>
                  </a:cubicBezTo>
                  <a:cubicBezTo>
                    <a:pt x="654" y="61"/>
                    <a:pt x="653" y="61"/>
                    <a:pt x="651" y="61"/>
                  </a:cubicBezTo>
                  <a:cubicBezTo>
                    <a:pt x="650" y="61"/>
                    <a:pt x="648" y="61"/>
                    <a:pt x="647" y="61"/>
                  </a:cubicBezTo>
                  <a:cubicBezTo>
                    <a:pt x="647" y="61"/>
                    <a:pt x="647" y="61"/>
                    <a:pt x="647" y="61"/>
                  </a:cubicBezTo>
                  <a:cubicBezTo>
                    <a:pt x="645" y="61"/>
                    <a:pt x="642" y="63"/>
                    <a:pt x="641" y="64"/>
                  </a:cubicBezTo>
                  <a:cubicBezTo>
                    <a:pt x="640" y="64"/>
                    <a:pt x="640" y="64"/>
                    <a:pt x="640" y="64"/>
                  </a:cubicBezTo>
                  <a:cubicBezTo>
                    <a:pt x="639" y="65"/>
                    <a:pt x="638" y="66"/>
                    <a:pt x="637" y="66"/>
                  </a:cubicBezTo>
                  <a:cubicBezTo>
                    <a:pt x="634" y="68"/>
                    <a:pt x="634" y="68"/>
                    <a:pt x="634" y="68"/>
                  </a:cubicBezTo>
                  <a:cubicBezTo>
                    <a:pt x="629" y="71"/>
                    <a:pt x="629" y="71"/>
                    <a:pt x="629" y="71"/>
                  </a:cubicBezTo>
                  <a:cubicBezTo>
                    <a:pt x="617" y="83"/>
                    <a:pt x="617" y="83"/>
                    <a:pt x="617" y="83"/>
                  </a:cubicBezTo>
                  <a:cubicBezTo>
                    <a:pt x="616" y="83"/>
                    <a:pt x="615" y="83"/>
                    <a:pt x="615" y="84"/>
                  </a:cubicBezTo>
                  <a:cubicBezTo>
                    <a:pt x="597" y="87"/>
                    <a:pt x="597" y="87"/>
                    <a:pt x="597" y="87"/>
                  </a:cubicBezTo>
                  <a:cubicBezTo>
                    <a:pt x="568" y="95"/>
                    <a:pt x="568" y="95"/>
                    <a:pt x="568" y="95"/>
                  </a:cubicBezTo>
                  <a:cubicBezTo>
                    <a:pt x="566" y="95"/>
                    <a:pt x="565" y="95"/>
                    <a:pt x="563" y="95"/>
                  </a:cubicBezTo>
                  <a:cubicBezTo>
                    <a:pt x="551" y="93"/>
                    <a:pt x="551" y="93"/>
                    <a:pt x="551" y="93"/>
                  </a:cubicBezTo>
                  <a:cubicBezTo>
                    <a:pt x="529" y="90"/>
                    <a:pt x="529" y="90"/>
                    <a:pt x="529" y="90"/>
                  </a:cubicBezTo>
                  <a:cubicBezTo>
                    <a:pt x="528" y="90"/>
                    <a:pt x="528" y="90"/>
                    <a:pt x="527" y="90"/>
                  </a:cubicBezTo>
                  <a:cubicBezTo>
                    <a:pt x="524" y="89"/>
                    <a:pt x="524" y="89"/>
                    <a:pt x="524" y="89"/>
                  </a:cubicBezTo>
                  <a:cubicBezTo>
                    <a:pt x="508" y="90"/>
                    <a:pt x="508" y="90"/>
                    <a:pt x="508" y="90"/>
                  </a:cubicBezTo>
                  <a:cubicBezTo>
                    <a:pt x="508" y="90"/>
                    <a:pt x="508" y="90"/>
                    <a:pt x="508" y="90"/>
                  </a:cubicBezTo>
                  <a:cubicBezTo>
                    <a:pt x="508" y="88"/>
                    <a:pt x="508" y="88"/>
                    <a:pt x="508" y="88"/>
                  </a:cubicBezTo>
                  <a:cubicBezTo>
                    <a:pt x="508" y="90"/>
                    <a:pt x="508" y="90"/>
                    <a:pt x="508" y="90"/>
                  </a:cubicBezTo>
                  <a:cubicBezTo>
                    <a:pt x="507" y="89"/>
                    <a:pt x="507" y="89"/>
                    <a:pt x="506" y="89"/>
                  </a:cubicBezTo>
                  <a:cubicBezTo>
                    <a:pt x="495" y="81"/>
                    <a:pt x="495" y="81"/>
                    <a:pt x="495" y="81"/>
                  </a:cubicBezTo>
                  <a:cubicBezTo>
                    <a:pt x="494" y="80"/>
                    <a:pt x="494" y="80"/>
                    <a:pt x="493" y="79"/>
                  </a:cubicBezTo>
                  <a:cubicBezTo>
                    <a:pt x="493" y="78"/>
                    <a:pt x="493" y="78"/>
                    <a:pt x="493" y="78"/>
                  </a:cubicBezTo>
                  <a:cubicBezTo>
                    <a:pt x="492" y="70"/>
                    <a:pt x="492" y="70"/>
                    <a:pt x="492" y="70"/>
                  </a:cubicBezTo>
                  <a:cubicBezTo>
                    <a:pt x="491" y="70"/>
                    <a:pt x="491" y="70"/>
                    <a:pt x="491" y="70"/>
                  </a:cubicBezTo>
                  <a:cubicBezTo>
                    <a:pt x="490" y="69"/>
                    <a:pt x="490" y="69"/>
                    <a:pt x="489" y="69"/>
                  </a:cubicBezTo>
                  <a:cubicBezTo>
                    <a:pt x="487" y="69"/>
                    <a:pt x="486" y="69"/>
                    <a:pt x="485" y="69"/>
                  </a:cubicBezTo>
                  <a:cubicBezTo>
                    <a:pt x="482" y="69"/>
                    <a:pt x="482" y="69"/>
                    <a:pt x="482" y="69"/>
                  </a:cubicBezTo>
                  <a:cubicBezTo>
                    <a:pt x="477" y="68"/>
                    <a:pt x="474" y="65"/>
                    <a:pt x="470" y="63"/>
                  </a:cubicBezTo>
                  <a:cubicBezTo>
                    <a:pt x="468" y="61"/>
                    <a:pt x="466" y="59"/>
                    <a:pt x="464" y="58"/>
                  </a:cubicBezTo>
                  <a:cubicBezTo>
                    <a:pt x="464" y="58"/>
                    <a:pt x="463" y="58"/>
                    <a:pt x="462" y="58"/>
                  </a:cubicBezTo>
                  <a:cubicBezTo>
                    <a:pt x="461" y="58"/>
                    <a:pt x="461" y="58"/>
                    <a:pt x="460" y="58"/>
                  </a:cubicBezTo>
                  <a:cubicBezTo>
                    <a:pt x="459" y="58"/>
                    <a:pt x="459" y="58"/>
                    <a:pt x="459" y="58"/>
                  </a:cubicBezTo>
                  <a:cubicBezTo>
                    <a:pt x="457" y="58"/>
                    <a:pt x="457" y="58"/>
                    <a:pt x="457" y="58"/>
                  </a:cubicBezTo>
                  <a:cubicBezTo>
                    <a:pt x="450" y="58"/>
                    <a:pt x="450" y="58"/>
                    <a:pt x="450" y="58"/>
                  </a:cubicBezTo>
                  <a:cubicBezTo>
                    <a:pt x="448" y="58"/>
                    <a:pt x="447" y="57"/>
                    <a:pt x="446" y="56"/>
                  </a:cubicBezTo>
                  <a:cubicBezTo>
                    <a:pt x="445" y="56"/>
                    <a:pt x="445" y="56"/>
                    <a:pt x="445" y="56"/>
                  </a:cubicBezTo>
                  <a:cubicBezTo>
                    <a:pt x="443" y="55"/>
                    <a:pt x="439" y="54"/>
                    <a:pt x="438" y="54"/>
                  </a:cubicBezTo>
                  <a:cubicBezTo>
                    <a:pt x="435" y="54"/>
                    <a:pt x="433" y="54"/>
                    <a:pt x="431" y="53"/>
                  </a:cubicBezTo>
                  <a:cubicBezTo>
                    <a:pt x="430" y="53"/>
                    <a:pt x="430" y="53"/>
                    <a:pt x="430" y="53"/>
                  </a:cubicBezTo>
                  <a:cubicBezTo>
                    <a:pt x="427" y="53"/>
                    <a:pt x="424" y="54"/>
                    <a:pt x="421" y="55"/>
                  </a:cubicBezTo>
                  <a:cubicBezTo>
                    <a:pt x="420" y="55"/>
                    <a:pt x="420" y="55"/>
                    <a:pt x="420" y="55"/>
                  </a:cubicBezTo>
                  <a:cubicBezTo>
                    <a:pt x="416" y="56"/>
                    <a:pt x="412" y="57"/>
                    <a:pt x="409" y="58"/>
                  </a:cubicBezTo>
                  <a:cubicBezTo>
                    <a:pt x="408" y="59"/>
                    <a:pt x="408" y="59"/>
                    <a:pt x="407" y="59"/>
                  </a:cubicBezTo>
                  <a:cubicBezTo>
                    <a:pt x="407" y="60"/>
                    <a:pt x="407" y="60"/>
                    <a:pt x="407" y="60"/>
                  </a:cubicBezTo>
                  <a:cubicBezTo>
                    <a:pt x="406" y="60"/>
                    <a:pt x="406" y="60"/>
                    <a:pt x="405" y="60"/>
                  </a:cubicBezTo>
                  <a:cubicBezTo>
                    <a:pt x="404" y="61"/>
                    <a:pt x="404" y="61"/>
                    <a:pt x="404" y="61"/>
                  </a:cubicBezTo>
                  <a:cubicBezTo>
                    <a:pt x="402" y="62"/>
                    <a:pt x="400" y="63"/>
                    <a:pt x="397" y="63"/>
                  </a:cubicBezTo>
                  <a:cubicBezTo>
                    <a:pt x="396" y="63"/>
                    <a:pt x="395" y="63"/>
                    <a:pt x="394" y="63"/>
                  </a:cubicBezTo>
                  <a:cubicBezTo>
                    <a:pt x="366" y="56"/>
                    <a:pt x="366" y="56"/>
                    <a:pt x="366" y="56"/>
                  </a:cubicBezTo>
                  <a:cubicBezTo>
                    <a:pt x="363" y="55"/>
                    <a:pt x="360" y="54"/>
                    <a:pt x="357" y="52"/>
                  </a:cubicBezTo>
                  <a:cubicBezTo>
                    <a:pt x="356" y="51"/>
                    <a:pt x="355" y="50"/>
                    <a:pt x="354" y="49"/>
                  </a:cubicBezTo>
                  <a:cubicBezTo>
                    <a:pt x="353" y="48"/>
                    <a:pt x="353" y="48"/>
                    <a:pt x="353" y="48"/>
                  </a:cubicBezTo>
                  <a:cubicBezTo>
                    <a:pt x="352" y="47"/>
                    <a:pt x="351" y="45"/>
                    <a:pt x="351" y="44"/>
                  </a:cubicBezTo>
                  <a:cubicBezTo>
                    <a:pt x="351" y="43"/>
                    <a:pt x="351" y="42"/>
                    <a:pt x="350" y="40"/>
                  </a:cubicBezTo>
                  <a:cubicBezTo>
                    <a:pt x="350" y="39"/>
                    <a:pt x="350" y="39"/>
                    <a:pt x="350" y="39"/>
                  </a:cubicBezTo>
                  <a:cubicBezTo>
                    <a:pt x="350" y="37"/>
                    <a:pt x="350" y="37"/>
                    <a:pt x="350" y="37"/>
                  </a:cubicBezTo>
                  <a:cubicBezTo>
                    <a:pt x="350" y="36"/>
                    <a:pt x="349" y="35"/>
                    <a:pt x="349" y="35"/>
                  </a:cubicBezTo>
                  <a:cubicBezTo>
                    <a:pt x="349" y="33"/>
                    <a:pt x="349" y="32"/>
                    <a:pt x="349" y="31"/>
                  </a:cubicBezTo>
                  <a:cubicBezTo>
                    <a:pt x="349" y="29"/>
                    <a:pt x="349" y="28"/>
                    <a:pt x="348" y="27"/>
                  </a:cubicBezTo>
                  <a:cubicBezTo>
                    <a:pt x="348" y="26"/>
                    <a:pt x="348" y="25"/>
                    <a:pt x="349" y="24"/>
                  </a:cubicBezTo>
                  <a:cubicBezTo>
                    <a:pt x="347" y="24"/>
                    <a:pt x="346" y="24"/>
                    <a:pt x="345" y="23"/>
                  </a:cubicBezTo>
                  <a:cubicBezTo>
                    <a:pt x="344" y="23"/>
                    <a:pt x="344" y="23"/>
                    <a:pt x="344" y="23"/>
                  </a:cubicBezTo>
                  <a:cubicBezTo>
                    <a:pt x="341" y="23"/>
                    <a:pt x="339" y="22"/>
                    <a:pt x="337" y="21"/>
                  </a:cubicBezTo>
                  <a:cubicBezTo>
                    <a:pt x="330" y="19"/>
                    <a:pt x="330" y="19"/>
                    <a:pt x="330" y="19"/>
                  </a:cubicBezTo>
                  <a:cubicBezTo>
                    <a:pt x="327" y="19"/>
                    <a:pt x="325" y="18"/>
                    <a:pt x="322" y="16"/>
                  </a:cubicBezTo>
                  <a:cubicBezTo>
                    <a:pt x="319" y="15"/>
                    <a:pt x="316" y="14"/>
                    <a:pt x="313" y="13"/>
                  </a:cubicBezTo>
                  <a:cubicBezTo>
                    <a:pt x="312" y="13"/>
                    <a:pt x="312" y="13"/>
                    <a:pt x="311" y="13"/>
                  </a:cubicBezTo>
                  <a:cubicBezTo>
                    <a:pt x="310" y="13"/>
                    <a:pt x="310" y="13"/>
                    <a:pt x="310" y="13"/>
                  </a:cubicBezTo>
                  <a:cubicBezTo>
                    <a:pt x="310" y="13"/>
                    <a:pt x="309" y="13"/>
                    <a:pt x="309" y="13"/>
                  </a:cubicBezTo>
                  <a:cubicBezTo>
                    <a:pt x="309" y="13"/>
                    <a:pt x="309" y="13"/>
                    <a:pt x="309" y="13"/>
                  </a:cubicBezTo>
                  <a:cubicBezTo>
                    <a:pt x="308" y="13"/>
                    <a:pt x="308" y="13"/>
                    <a:pt x="308" y="13"/>
                  </a:cubicBezTo>
                  <a:cubicBezTo>
                    <a:pt x="300" y="12"/>
                    <a:pt x="295" y="11"/>
                    <a:pt x="287" y="7"/>
                  </a:cubicBezTo>
                  <a:cubicBezTo>
                    <a:pt x="274" y="0"/>
                    <a:pt x="274" y="0"/>
                    <a:pt x="274" y="0"/>
                  </a:cubicBezTo>
                  <a:cubicBezTo>
                    <a:pt x="274" y="0"/>
                    <a:pt x="274" y="0"/>
                    <a:pt x="274" y="0"/>
                  </a:cubicBezTo>
                  <a:cubicBezTo>
                    <a:pt x="272" y="0"/>
                    <a:pt x="272" y="0"/>
                    <a:pt x="2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539"/>
            <p:cNvSpPr/>
            <p:nvPr/>
          </p:nvSpPr>
          <p:spPr bwMode="auto">
            <a:xfrm>
              <a:off x="7352516" y="2276598"/>
              <a:ext cx="482182" cy="482182"/>
            </a:xfrm>
            <a:custGeom>
              <a:gdLst>
                <a:gd name="T0" fmla="*/ 139 w 152"/>
                <a:gd name="T1" fmla="*/ 0 h 152"/>
                <a:gd name="T2" fmla="*/ 137 w 152"/>
                <a:gd name="T3" fmla="*/ 8 h 152"/>
                <a:gd name="T4" fmla="*/ 134 w 152"/>
                <a:gd name="T5" fmla="*/ 13 h 152"/>
                <a:gd name="T6" fmla="*/ 123 w 152"/>
                <a:gd name="T7" fmla="*/ 18 h 152"/>
                <a:gd name="T8" fmla="*/ 117 w 152"/>
                <a:gd name="T9" fmla="*/ 27 h 152"/>
                <a:gd name="T10" fmla="*/ 104 w 152"/>
                <a:gd name="T11" fmla="*/ 29 h 152"/>
                <a:gd name="T12" fmla="*/ 98 w 152"/>
                <a:gd name="T13" fmla="*/ 34 h 152"/>
                <a:gd name="T14" fmla="*/ 100 w 152"/>
                <a:gd name="T15" fmla="*/ 41 h 152"/>
                <a:gd name="T16" fmla="*/ 93 w 152"/>
                <a:gd name="T17" fmla="*/ 48 h 152"/>
                <a:gd name="T18" fmla="*/ 85 w 152"/>
                <a:gd name="T19" fmla="*/ 47 h 152"/>
                <a:gd name="T20" fmla="*/ 71 w 152"/>
                <a:gd name="T21" fmla="*/ 45 h 152"/>
                <a:gd name="T22" fmla="*/ 66 w 152"/>
                <a:gd name="T23" fmla="*/ 39 h 152"/>
                <a:gd name="T24" fmla="*/ 63 w 152"/>
                <a:gd name="T25" fmla="*/ 36 h 152"/>
                <a:gd name="T26" fmla="*/ 61 w 152"/>
                <a:gd name="T27" fmla="*/ 37 h 152"/>
                <a:gd name="T28" fmla="*/ 59 w 152"/>
                <a:gd name="T29" fmla="*/ 40 h 152"/>
                <a:gd name="T30" fmla="*/ 46 w 152"/>
                <a:gd name="T31" fmla="*/ 58 h 152"/>
                <a:gd name="T32" fmla="*/ 41 w 152"/>
                <a:gd name="T33" fmla="*/ 62 h 152"/>
                <a:gd name="T34" fmla="*/ 34 w 152"/>
                <a:gd name="T35" fmla="*/ 65 h 152"/>
                <a:gd name="T36" fmla="*/ 27 w 152"/>
                <a:gd name="T37" fmla="*/ 70 h 152"/>
                <a:gd name="T38" fmla="*/ 3 w 152"/>
                <a:gd name="T39" fmla="*/ 86 h 152"/>
                <a:gd name="T40" fmla="*/ 1 w 152"/>
                <a:gd name="T41" fmla="*/ 87 h 152"/>
                <a:gd name="T42" fmla="*/ 0 w 152"/>
                <a:gd name="T43" fmla="*/ 88 h 152"/>
                <a:gd name="T44" fmla="*/ 10 w 152"/>
                <a:gd name="T45" fmla="*/ 92 h 152"/>
                <a:gd name="T46" fmla="*/ 24 w 152"/>
                <a:gd name="T47" fmla="*/ 98 h 152"/>
                <a:gd name="T48" fmla="*/ 24 w 152"/>
                <a:gd name="T49" fmla="*/ 109 h 152"/>
                <a:gd name="T50" fmla="*/ 33 w 152"/>
                <a:gd name="T51" fmla="*/ 125 h 152"/>
                <a:gd name="T52" fmla="*/ 27 w 152"/>
                <a:gd name="T53" fmla="*/ 123 h 152"/>
                <a:gd name="T54" fmla="*/ 19 w 152"/>
                <a:gd name="T55" fmla="*/ 125 h 152"/>
                <a:gd name="T56" fmla="*/ 15 w 152"/>
                <a:gd name="T57" fmla="*/ 137 h 152"/>
                <a:gd name="T58" fmla="*/ 8 w 152"/>
                <a:gd name="T59" fmla="*/ 139 h 152"/>
                <a:gd name="T60" fmla="*/ 18 w 152"/>
                <a:gd name="T61" fmla="*/ 144 h 152"/>
                <a:gd name="T62" fmla="*/ 23 w 152"/>
                <a:gd name="T63" fmla="*/ 148 h 152"/>
                <a:gd name="T64" fmla="*/ 23 w 152"/>
                <a:gd name="T65" fmla="*/ 148 h 152"/>
                <a:gd name="T66" fmla="*/ 27 w 152"/>
                <a:gd name="T67" fmla="*/ 147 h 152"/>
                <a:gd name="T68" fmla="*/ 26 w 152"/>
                <a:gd name="T69" fmla="*/ 149 h 152"/>
                <a:gd name="T70" fmla="*/ 25 w 152"/>
                <a:gd name="T71" fmla="*/ 152 h 152"/>
                <a:gd name="T72" fmla="*/ 34 w 152"/>
                <a:gd name="T73" fmla="*/ 145 h 152"/>
                <a:gd name="T74" fmla="*/ 41 w 152"/>
                <a:gd name="T75" fmla="*/ 148 h 152"/>
                <a:gd name="T76" fmla="*/ 47 w 152"/>
                <a:gd name="T77" fmla="*/ 149 h 152"/>
                <a:gd name="T78" fmla="*/ 55 w 152"/>
                <a:gd name="T79" fmla="*/ 147 h 152"/>
                <a:gd name="T80" fmla="*/ 56 w 152"/>
                <a:gd name="T81" fmla="*/ 146 h 152"/>
                <a:gd name="T82" fmla="*/ 61 w 152"/>
                <a:gd name="T83" fmla="*/ 139 h 152"/>
                <a:gd name="T84" fmla="*/ 66 w 152"/>
                <a:gd name="T85" fmla="*/ 134 h 152"/>
                <a:gd name="T86" fmla="*/ 75 w 152"/>
                <a:gd name="T87" fmla="*/ 133 h 152"/>
                <a:gd name="T88" fmla="*/ 91 w 152"/>
                <a:gd name="T89" fmla="*/ 131 h 152"/>
                <a:gd name="T90" fmla="*/ 93 w 152"/>
                <a:gd name="T91" fmla="*/ 129 h 152"/>
                <a:gd name="T92" fmla="*/ 96 w 152"/>
                <a:gd name="T93" fmla="*/ 125 h 152"/>
                <a:gd name="T94" fmla="*/ 98 w 152"/>
                <a:gd name="T95" fmla="*/ 123 h 152"/>
                <a:gd name="T96" fmla="*/ 91 w 152"/>
                <a:gd name="T97" fmla="*/ 117 h 152"/>
                <a:gd name="T98" fmla="*/ 77 w 152"/>
                <a:gd name="T99" fmla="*/ 109 h 152"/>
                <a:gd name="T100" fmla="*/ 79 w 152"/>
                <a:gd name="T101" fmla="*/ 106 h 152"/>
                <a:gd name="T102" fmla="*/ 80 w 152"/>
                <a:gd name="T103" fmla="*/ 98 h 152"/>
                <a:gd name="T104" fmla="*/ 98 w 152"/>
                <a:gd name="T105" fmla="*/ 85 h 152"/>
                <a:gd name="T106" fmla="*/ 134 w 152"/>
                <a:gd name="T107" fmla="*/ 59 h 152"/>
                <a:gd name="T108" fmla="*/ 133 w 152"/>
                <a:gd name="T109" fmla="*/ 51 h 152"/>
                <a:gd name="T110" fmla="*/ 134 w 152"/>
                <a:gd name="T111" fmla="*/ 45 h 152"/>
                <a:gd name="T112" fmla="*/ 150 w 152"/>
                <a:gd name="T113" fmla="*/ 18 h 152"/>
                <a:gd name="T114" fmla="*/ 152 w 152"/>
                <a:gd name="T115" fmla="*/ 17 h 152"/>
                <a:gd name="T116" fmla="*/ 150 w 152"/>
                <a:gd name="T117" fmla="*/ 14 h 152"/>
                <a:gd name="T118" fmla="*/ 142 w 152"/>
                <a:gd name="T119" fmla="*/ 8 h 152"/>
                <a:gd name="T120" fmla="*/ 143 w 152"/>
                <a:gd name="T121" fmla="*/ 4 h 152"/>
                <a:gd name="T122" fmla="*/ 139 w 152"/>
                <a:gd name="T123" fmla="*/ 0 h 1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152">
                  <a:moveTo>
                    <a:pt x="139" y="0"/>
                  </a:moveTo>
                  <a:cubicBezTo>
                    <a:pt x="139" y="0"/>
                    <a:pt x="139" y="0"/>
                    <a:pt x="139" y="0"/>
                  </a:cubicBezTo>
                  <a:cubicBezTo>
                    <a:pt x="138" y="1"/>
                    <a:pt x="138" y="3"/>
                    <a:pt x="137" y="6"/>
                  </a:cubicBezTo>
                  <a:cubicBezTo>
                    <a:pt x="137" y="7"/>
                    <a:pt x="137" y="7"/>
                    <a:pt x="137" y="8"/>
                  </a:cubicBezTo>
                  <a:cubicBezTo>
                    <a:pt x="137" y="9"/>
                    <a:pt x="136" y="10"/>
                    <a:pt x="136" y="11"/>
                  </a:cubicBezTo>
                  <a:cubicBezTo>
                    <a:pt x="135" y="12"/>
                    <a:pt x="135" y="13"/>
                    <a:pt x="134" y="13"/>
                  </a:cubicBezTo>
                  <a:cubicBezTo>
                    <a:pt x="132" y="14"/>
                    <a:pt x="130" y="15"/>
                    <a:pt x="127" y="16"/>
                  </a:cubicBezTo>
                  <a:cubicBezTo>
                    <a:pt x="125" y="17"/>
                    <a:pt x="124" y="17"/>
                    <a:pt x="123" y="18"/>
                  </a:cubicBezTo>
                  <a:cubicBezTo>
                    <a:pt x="123" y="19"/>
                    <a:pt x="123" y="19"/>
                    <a:pt x="123" y="19"/>
                  </a:cubicBezTo>
                  <a:cubicBezTo>
                    <a:pt x="123" y="22"/>
                    <a:pt x="118" y="26"/>
                    <a:pt x="117" y="27"/>
                  </a:cubicBezTo>
                  <a:cubicBezTo>
                    <a:pt x="114" y="28"/>
                    <a:pt x="110" y="28"/>
                    <a:pt x="107" y="28"/>
                  </a:cubicBezTo>
                  <a:cubicBezTo>
                    <a:pt x="106" y="28"/>
                    <a:pt x="105" y="29"/>
                    <a:pt x="104" y="29"/>
                  </a:cubicBezTo>
                  <a:cubicBezTo>
                    <a:pt x="95" y="30"/>
                    <a:pt x="95" y="30"/>
                    <a:pt x="95" y="30"/>
                  </a:cubicBezTo>
                  <a:cubicBezTo>
                    <a:pt x="96" y="31"/>
                    <a:pt x="97" y="33"/>
                    <a:pt x="98" y="34"/>
                  </a:cubicBezTo>
                  <a:cubicBezTo>
                    <a:pt x="98" y="35"/>
                    <a:pt x="98" y="35"/>
                    <a:pt x="98" y="35"/>
                  </a:cubicBezTo>
                  <a:cubicBezTo>
                    <a:pt x="99" y="36"/>
                    <a:pt x="101" y="37"/>
                    <a:pt x="100" y="41"/>
                  </a:cubicBezTo>
                  <a:cubicBezTo>
                    <a:pt x="100" y="44"/>
                    <a:pt x="99" y="45"/>
                    <a:pt x="97" y="46"/>
                  </a:cubicBezTo>
                  <a:cubicBezTo>
                    <a:pt x="96" y="48"/>
                    <a:pt x="94" y="48"/>
                    <a:pt x="93" y="48"/>
                  </a:cubicBezTo>
                  <a:cubicBezTo>
                    <a:pt x="92" y="48"/>
                    <a:pt x="92" y="48"/>
                    <a:pt x="92" y="48"/>
                  </a:cubicBezTo>
                  <a:cubicBezTo>
                    <a:pt x="89" y="48"/>
                    <a:pt x="87" y="48"/>
                    <a:pt x="85" y="47"/>
                  </a:cubicBezTo>
                  <a:cubicBezTo>
                    <a:pt x="84" y="47"/>
                    <a:pt x="84" y="47"/>
                    <a:pt x="84" y="47"/>
                  </a:cubicBezTo>
                  <a:cubicBezTo>
                    <a:pt x="79" y="47"/>
                    <a:pt x="74" y="47"/>
                    <a:pt x="71" y="45"/>
                  </a:cubicBezTo>
                  <a:cubicBezTo>
                    <a:pt x="70" y="44"/>
                    <a:pt x="70" y="44"/>
                    <a:pt x="70" y="44"/>
                  </a:cubicBezTo>
                  <a:cubicBezTo>
                    <a:pt x="68" y="43"/>
                    <a:pt x="67" y="41"/>
                    <a:pt x="66" y="39"/>
                  </a:cubicBezTo>
                  <a:cubicBezTo>
                    <a:pt x="65" y="38"/>
                    <a:pt x="64" y="37"/>
                    <a:pt x="63" y="36"/>
                  </a:cubicBezTo>
                  <a:cubicBezTo>
                    <a:pt x="63" y="36"/>
                    <a:pt x="63" y="36"/>
                    <a:pt x="63" y="36"/>
                  </a:cubicBezTo>
                  <a:cubicBezTo>
                    <a:pt x="62" y="37"/>
                    <a:pt x="62" y="37"/>
                    <a:pt x="62" y="37"/>
                  </a:cubicBezTo>
                  <a:cubicBezTo>
                    <a:pt x="61" y="37"/>
                    <a:pt x="61" y="37"/>
                    <a:pt x="61" y="37"/>
                  </a:cubicBezTo>
                  <a:cubicBezTo>
                    <a:pt x="61" y="37"/>
                    <a:pt x="61" y="37"/>
                    <a:pt x="61" y="37"/>
                  </a:cubicBezTo>
                  <a:cubicBezTo>
                    <a:pt x="60" y="38"/>
                    <a:pt x="60" y="39"/>
                    <a:pt x="59" y="40"/>
                  </a:cubicBezTo>
                  <a:cubicBezTo>
                    <a:pt x="56" y="46"/>
                    <a:pt x="52" y="52"/>
                    <a:pt x="48" y="56"/>
                  </a:cubicBezTo>
                  <a:cubicBezTo>
                    <a:pt x="47" y="57"/>
                    <a:pt x="47" y="57"/>
                    <a:pt x="46" y="58"/>
                  </a:cubicBezTo>
                  <a:cubicBezTo>
                    <a:pt x="45" y="60"/>
                    <a:pt x="44" y="62"/>
                    <a:pt x="41" y="62"/>
                  </a:cubicBezTo>
                  <a:cubicBezTo>
                    <a:pt x="41" y="62"/>
                    <a:pt x="41" y="62"/>
                    <a:pt x="41" y="62"/>
                  </a:cubicBezTo>
                  <a:cubicBezTo>
                    <a:pt x="40" y="63"/>
                    <a:pt x="38" y="63"/>
                    <a:pt x="37" y="63"/>
                  </a:cubicBezTo>
                  <a:cubicBezTo>
                    <a:pt x="36" y="64"/>
                    <a:pt x="35" y="64"/>
                    <a:pt x="34" y="65"/>
                  </a:cubicBezTo>
                  <a:cubicBezTo>
                    <a:pt x="32" y="66"/>
                    <a:pt x="32" y="66"/>
                    <a:pt x="32" y="66"/>
                  </a:cubicBezTo>
                  <a:cubicBezTo>
                    <a:pt x="31" y="67"/>
                    <a:pt x="29" y="69"/>
                    <a:pt x="27" y="70"/>
                  </a:cubicBezTo>
                  <a:cubicBezTo>
                    <a:pt x="19" y="75"/>
                    <a:pt x="12" y="79"/>
                    <a:pt x="5" y="84"/>
                  </a:cubicBezTo>
                  <a:cubicBezTo>
                    <a:pt x="4" y="85"/>
                    <a:pt x="3" y="86"/>
                    <a:pt x="3" y="86"/>
                  </a:cubicBezTo>
                  <a:cubicBezTo>
                    <a:pt x="3" y="87"/>
                    <a:pt x="3" y="87"/>
                    <a:pt x="3" y="87"/>
                  </a:cubicBezTo>
                  <a:cubicBezTo>
                    <a:pt x="1" y="87"/>
                    <a:pt x="1" y="87"/>
                    <a:pt x="1" y="87"/>
                  </a:cubicBezTo>
                  <a:cubicBezTo>
                    <a:pt x="1" y="87"/>
                    <a:pt x="1" y="87"/>
                    <a:pt x="1" y="87"/>
                  </a:cubicBezTo>
                  <a:cubicBezTo>
                    <a:pt x="1" y="87"/>
                    <a:pt x="0" y="88"/>
                    <a:pt x="0" y="88"/>
                  </a:cubicBezTo>
                  <a:cubicBezTo>
                    <a:pt x="1" y="92"/>
                    <a:pt x="9" y="92"/>
                    <a:pt x="7" y="97"/>
                  </a:cubicBezTo>
                  <a:cubicBezTo>
                    <a:pt x="9" y="96"/>
                    <a:pt x="11" y="94"/>
                    <a:pt x="10" y="92"/>
                  </a:cubicBezTo>
                  <a:cubicBezTo>
                    <a:pt x="13" y="93"/>
                    <a:pt x="15" y="96"/>
                    <a:pt x="18" y="97"/>
                  </a:cubicBezTo>
                  <a:cubicBezTo>
                    <a:pt x="20" y="98"/>
                    <a:pt x="22" y="98"/>
                    <a:pt x="24" y="98"/>
                  </a:cubicBezTo>
                  <a:cubicBezTo>
                    <a:pt x="25" y="98"/>
                    <a:pt x="26" y="98"/>
                    <a:pt x="28" y="98"/>
                  </a:cubicBezTo>
                  <a:cubicBezTo>
                    <a:pt x="26" y="102"/>
                    <a:pt x="25" y="106"/>
                    <a:pt x="24" y="109"/>
                  </a:cubicBezTo>
                  <a:cubicBezTo>
                    <a:pt x="23" y="112"/>
                    <a:pt x="21" y="115"/>
                    <a:pt x="21" y="117"/>
                  </a:cubicBezTo>
                  <a:cubicBezTo>
                    <a:pt x="21" y="123"/>
                    <a:pt x="30" y="121"/>
                    <a:pt x="33" y="125"/>
                  </a:cubicBezTo>
                  <a:cubicBezTo>
                    <a:pt x="30" y="124"/>
                    <a:pt x="29" y="123"/>
                    <a:pt x="27" y="123"/>
                  </a:cubicBezTo>
                  <a:cubicBezTo>
                    <a:pt x="27" y="123"/>
                    <a:pt x="27" y="123"/>
                    <a:pt x="27" y="123"/>
                  </a:cubicBezTo>
                  <a:cubicBezTo>
                    <a:pt x="25" y="123"/>
                    <a:pt x="23" y="124"/>
                    <a:pt x="22" y="124"/>
                  </a:cubicBezTo>
                  <a:cubicBezTo>
                    <a:pt x="20" y="125"/>
                    <a:pt x="21" y="124"/>
                    <a:pt x="19" y="125"/>
                  </a:cubicBezTo>
                  <a:cubicBezTo>
                    <a:pt x="18" y="127"/>
                    <a:pt x="17" y="131"/>
                    <a:pt x="16" y="133"/>
                  </a:cubicBezTo>
                  <a:cubicBezTo>
                    <a:pt x="15" y="134"/>
                    <a:pt x="14" y="137"/>
                    <a:pt x="15" y="137"/>
                  </a:cubicBezTo>
                  <a:cubicBezTo>
                    <a:pt x="15" y="137"/>
                    <a:pt x="16" y="137"/>
                    <a:pt x="16" y="137"/>
                  </a:cubicBezTo>
                  <a:cubicBezTo>
                    <a:pt x="14" y="138"/>
                    <a:pt x="11" y="138"/>
                    <a:pt x="8" y="139"/>
                  </a:cubicBezTo>
                  <a:cubicBezTo>
                    <a:pt x="12" y="141"/>
                    <a:pt x="16" y="142"/>
                    <a:pt x="20" y="144"/>
                  </a:cubicBezTo>
                  <a:cubicBezTo>
                    <a:pt x="20" y="144"/>
                    <a:pt x="19" y="144"/>
                    <a:pt x="18" y="144"/>
                  </a:cubicBezTo>
                  <a:cubicBezTo>
                    <a:pt x="17" y="144"/>
                    <a:pt x="16" y="144"/>
                    <a:pt x="17" y="145"/>
                  </a:cubicBezTo>
                  <a:cubicBezTo>
                    <a:pt x="17" y="147"/>
                    <a:pt x="22" y="147"/>
                    <a:pt x="23" y="148"/>
                  </a:cubicBezTo>
                  <a:cubicBezTo>
                    <a:pt x="22" y="148"/>
                    <a:pt x="22" y="148"/>
                    <a:pt x="22" y="148"/>
                  </a:cubicBezTo>
                  <a:cubicBezTo>
                    <a:pt x="23" y="148"/>
                    <a:pt x="23" y="148"/>
                    <a:pt x="23" y="148"/>
                  </a:cubicBezTo>
                  <a:cubicBezTo>
                    <a:pt x="24" y="148"/>
                    <a:pt x="24" y="148"/>
                    <a:pt x="25" y="147"/>
                  </a:cubicBezTo>
                  <a:cubicBezTo>
                    <a:pt x="26" y="147"/>
                    <a:pt x="27" y="147"/>
                    <a:pt x="27" y="147"/>
                  </a:cubicBezTo>
                  <a:cubicBezTo>
                    <a:pt x="28" y="147"/>
                    <a:pt x="29" y="147"/>
                    <a:pt x="29" y="148"/>
                  </a:cubicBezTo>
                  <a:cubicBezTo>
                    <a:pt x="29" y="149"/>
                    <a:pt x="27" y="149"/>
                    <a:pt x="26" y="149"/>
                  </a:cubicBezTo>
                  <a:cubicBezTo>
                    <a:pt x="27" y="150"/>
                    <a:pt x="27" y="150"/>
                    <a:pt x="27" y="150"/>
                  </a:cubicBezTo>
                  <a:cubicBezTo>
                    <a:pt x="26" y="150"/>
                    <a:pt x="25" y="151"/>
                    <a:pt x="25" y="152"/>
                  </a:cubicBezTo>
                  <a:cubicBezTo>
                    <a:pt x="28" y="151"/>
                    <a:pt x="31" y="149"/>
                    <a:pt x="32" y="147"/>
                  </a:cubicBezTo>
                  <a:cubicBezTo>
                    <a:pt x="33" y="146"/>
                    <a:pt x="31" y="145"/>
                    <a:pt x="34" y="145"/>
                  </a:cubicBezTo>
                  <a:cubicBezTo>
                    <a:pt x="33" y="144"/>
                    <a:pt x="31" y="144"/>
                    <a:pt x="31" y="142"/>
                  </a:cubicBezTo>
                  <a:cubicBezTo>
                    <a:pt x="34" y="144"/>
                    <a:pt x="38" y="146"/>
                    <a:pt x="41" y="148"/>
                  </a:cubicBezTo>
                  <a:cubicBezTo>
                    <a:pt x="43" y="149"/>
                    <a:pt x="44" y="150"/>
                    <a:pt x="45" y="150"/>
                  </a:cubicBezTo>
                  <a:cubicBezTo>
                    <a:pt x="45" y="150"/>
                    <a:pt x="46" y="150"/>
                    <a:pt x="47" y="149"/>
                  </a:cubicBezTo>
                  <a:cubicBezTo>
                    <a:pt x="50" y="147"/>
                    <a:pt x="51" y="147"/>
                    <a:pt x="52" y="147"/>
                  </a:cubicBezTo>
                  <a:cubicBezTo>
                    <a:pt x="53" y="147"/>
                    <a:pt x="54" y="147"/>
                    <a:pt x="55" y="147"/>
                  </a:cubicBezTo>
                  <a:cubicBezTo>
                    <a:pt x="55" y="147"/>
                    <a:pt x="55" y="147"/>
                    <a:pt x="55" y="147"/>
                  </a:cubicBezTo>
                  <a:cubicBezTo>
                    <a:pt x="56" y="146"/>
                    <a:pt x="56" y="146"/>
                    <a:pt x="56" y="146"/>
                  </a:cubicBezTo>
                  <a:cubicBezTo>
                    <a:pt x="56" y="144"/>
                    <a:pt x="58" y="142"/>
                    <a:pt x="59" y="141"/>
                  </a:cubicBezTo>
                  <a:cubicBezTo>
                    <a:pt x="60" y="140"/>
                    <a:pt x="60" y="139"/>
                    <a:pt x="61" y="139"/>
                  </a:cubicBezTo>
                  <a:cubicBezTo>
                    <a:pt x="61" y="138"/>
                    <a:pt x="61" y="138"/>
                    <a:pt x="61" y="138"/>
                  </a:cubicBezTo>
                  <a:cubicBezTo>
                    <a:pt x="62" y="136"/>
                    <a:pt x="64" y="135"/>
                    <a:pt x="66" y="134"/>
                  </a:cubicBezTo>
                  <a:cubicBezTo>
                    <a:pt x="68" y="133"/>
                    <a:pt x="70" y="133"/>
                    <a:pt x="72" y="133"/>
                  </a:cubicBezTo>
                  <a:cubicBezTo>
                    <a:pt x="73" y="133"/>
                    <a:pt x="74" y="133"/>
                    <a:pt x="75" y="133"/>
                  </a:cubicBezTo>
                  <a:cubicBezTo>
                    <a:pt x="90" y="131"/>
                    <a:pt x="90" y="131"/>
                    <a:pt x="90" y="131"/>
                  </a:cubicBezTo>
                  <a:cubicBezTo>
                    <a:pt x="91" y="131"/>
                    <a:pt x="91" y="131"/>
                    <a:pt x="91" y="131"/>
                  </a:cubicBezTo>
                  <a:cubicBezTo>
                    <a:pt x="91" y="131"/>
                    <a:pt x="92" y="131"/>
                    <a:pt x="92" y="130"/>
                  </a:cubicBezTo>
                  <a:cubicBezTo>
                    <a:pt x="92" y="130"/>
                    <a:pt x="93" y="130"/>
                    <a:pt x="93" y="129"/>
                  </a:cubicBezTo>
                  <a:cubicBezTo>
                    <a:pt x="96" y="126"/>
                    <a:pt x="96" y="126"/>
                    <a:pt x="96" y="126"/>
                  </a:cubicBezTo>
                  <a:cubicBezTo>
                    <a:pt x="96" y="125"/>
                    <a:pt x="96" y="125"/>
                    <a:pt x="96" y="125"/>
                  </a:cubicBezTo>
                  <a:cubicBezTo>
                    <a:pt x="97" y="123"/>
                    <a:pt x="97" y="123"/>
                    <a:pt x="97" y="123"/>
                  </a:cubicBezTo>
                  <a:cubicBezTo>
                    <a:pt x="98" y="123"/>
                    <a:pt x="98" y="123"/>
                    <a:pt x="98" y="123"/>
                  </a:cubicBezTo>
                  <a:cubicBezTo>
                    <a:pt x="97" y="122"/>
                    <a:pt x="97" y="122"/>
                    <a:pt x="97" y="122"/>
                  </a:cubicBezTo>
                  <a:cubicBezTo>
                    <a:pt x="95" y="121"/>
                    <a:pt x="92" y="119"/>
                    <a:pt x="91" y="117"/>
                  </a:cubicBezTo>
                  <a:cubicBezTo>
                    <a:pt x="89" y="115"/>
                    <a:pt x="87" y="113"/>
                    <a:pt x="85" y="111"/>
                  </a:cubicBezTo>
                  <a:cubicBezTo>
                    <a:pt x="83" y="110"/>
                    <a:pt x="79" y="110"/>
                    <a:pt x="77" y="109"/>
                  </a:cubicBezTo>
                  <a:cubicBezTo>
                    <a:pt x="74" y="108"/>
                    <a:pt x="76" y="105"/>
                    <a:pt x="77" y="103"/>
                  </a:cubicBezTo>
                  <a:cubicBezTo>
                    <a:pt x="78" y="103"/>
                    <a:pt x="79" y="105"/>
                    <a:pt x="79" y="106"/>
                  </a:cubicBezTo>
                  <a:cubicBezTo>
                    <a:pt x="79" y="104"/>
                    <a:pt x="79" y="102"/>
                    <a:pt x="79" y="101"/>
                  </a:cubicBezTo>
                  <a:cubicBezTo>
                    <a:pt x="79" y="100"/>
                    <a:pt x="80" y="98"/>
                    <a:pt x="80" y="98"/>
                  </a:cubicBezTo>
                  <a:cubicBezTo>
                    <a:pt x="80" y="96"/>
                    <a:pt x="78" y="96"/>
                    <a:pt x="78" y="94"/>
                  </a:cubicBezTo>
                  <a:cubicBezTo>
                    <a:pt x="79" y="90"/>
                    <a:pt x="94" y="86"/>
                    <a:pt x="98" y="85"/>
                  </a:cubicBezTo>
                  <a:cubicBezTo>
                    <a:pt x="107" y="81"/>
                    <a:pt x="112" y="74"/>
                    <a:pt x="119" y="69"/>
                  </a:cubicBezTo>
                  <a:cubicBezTo>
                    <a:pt x="123" y="67"/>
                    <a:pt x="133" y="63"/>
                    <a:pt x="134" y="59"/>
                  </a:cubicBezTo>
                  <a:cubicBezTo>
                    <a:pt x="134" y="58"/>
                    <a:pt x="133" y="56"/>
                    <a:pt x="133" y="55"/>
                  </a:cubicBezTo>
                  <a:cubicBezTo>
                    <a:pt x="133" y="54"/>
                    <a:pt x="133" y="52"/>
                    <a:pt x="133" y="51"/>
                  </a:cubicBezTo>
                  <a:cubicBezTo>
                    <a:pt x="133" y="50"/>
                    <a:pt x="134" y="48"/>
                    <a:pt x="134" y="47"/>
                  </a:cubicBezTo>
                  <a:cubicBezTo>
                    <a:pt x="135" y="46"/>
                    <a:pt x="134" y="45"/>
                    <a:pt x="134" y="45"/>
                  </a:cubicBezTo>
                  <a:cubicBezTo>
                    <a:pt x="135" y="35"/>
                    <a:pt x="138" y="28"/>
                    <a:pt x="145" y="22"/>
                  </a:cubicBezTo>
                  <a:cubicBezTo>
                    <a:pt x="147" y="20"/>
                    <a:pt x="149" y="18"/>
                    <a:pt x="150" y="18"/>
                  </a:cubicBezTo>
                  <a:cubicBezTo>
                    <a:pt x="151" y="17"/>
                    <a:pt x="151" y="17"/>
                    <a:pt x="151" y="17"/>
                  </a:cubicBezTo>
                  <a:cubicBezTo>
                    <a:pt x="152" y="17"/>
                    <a:pt x="152" y="17"/>
                    <a:pt x="152" y="17"/>
                  </a:cubicBezTo>
                  <a:cubicBezTo>
                    <a:pt x="152" y="16"/>
                    <a:pt x="151" y="15"/>
                    <a:pt x="150" y="15"/>
                  </a:cubicBezTo>
                  <a:cubicBezTo>
                    <a:pt x="150" y="14"/>
                    <a:pt x="150" y="14"/>
                    <a:pt x="150" y="14"/>
                  </a:cubicBezTo>
                  <a:cubicBezTo>
                    <a:pt x="148" y="13"/>
                    <a:pt x="146" y="11"/>
                    <a:pt x="144" y="8"/>
                  </a:cubicBezTo>
                  <a:cubicBezTo>
                    <a:pt x="142" y="8"/>
                    <a:pt x="142" y="8"/>
                    <a:pt x="142" y="8"/>
                  </a:cubicBezTo>
                  <a:cubicBezTo>
                    <a:pt x="144" y="6"/>
                    <a:pt x="144" y="6"/>
                    <a:pt x="144" y="6"/>
                  </a:cubicBezTo>
                  <a:cubicBezTo>
                    <a:pt x="143" y="5"/>
                    <a:pt x="143" y="5"/>
                    <a:pt x="143" y="4"/>
                  </a:cubicBezTo>
                  <a:cubicBezTo>
                    <a:pt x="143" y="3"/>
                    <a:pt x="143" y="2"/>
                    <a:pt x="142" y="2"/>
                  </a:cubicBezTo>
                  <a:cubicBezTo>
                    <a:pt x="142" y="2"/>
                    <a:pt x="141" y="1"/>
                    <a:pt x="139" y="0"/>
                  </a:cubicBezTo>
                  <a:cubicBezTo>
                    <a:pt x="139" y="0"/>
                    <a:pt x="139" y="0"/>
                    <a:pt x="1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540"/>
            <p:cNvSpPr>
              <a:spLocks noEditPoints="1"/>
            </p:cNvSpPr>
            <p:nvPr/>
          </p:nvSpPr>
          <p:spPr bwMode="auto">
            <a:xfrm>
              <a:off x="7494888" y="2686251"/>
              <a:ext cx="267282" cy="377418"/>
            </a:xfrm>
            <a:custGeom>
              <a:gdLst>
                <a:gd name="T0" fmla="*/ 57 w 84"/>
                <a:gd name="T1" fmla="*/ 102 h 119"/>
                <a:gd name="T2" fmla="*/ 56 w 84"/>
                <a:gd name="T3" fmla="*/ 0 h 119"/>
                <a:gd name="T4" fmla="*/ 55 w 84"/>
                <a:gd name="T5" fmla="*/ 2 h 119"/>
                <a:gd name="T6" fmla="*/ 52 w 84"/>
                <a:gd name="T7" fmla="*/ 5 h 119"/>
                <a:gd name="T8" fmla="*/ 46 w 84"/>
                <a:gd name="T9" fmla="*/ 8 h 119"/>
                <a:gd name="T10" fmla="*/ 28 w 84"/>
                <a:gd name="T11" fmla="*/ 10 h 119"/>
                <a:gd name="T12" fmla="*/ 22 w 84"/>
                <a:gd name="T13" fmla="*/ 12 h 119"/>
                <a:gd name="T14" fmla="*/ 19 w 84"/>
                <a:gd name="T15" fmla="*/ 15 h 119"/>
                <a:gd name="T16" fmla="*/ 16 w 84"/>
                <a:gd name="T17" fmla="*/ 19 h 119"/>
                <a:gd name="T18" fmla="*/ 15 w 84"/>
                <a:gd name="T19" fmla="*/ 21 h 119"/>
                <a:gd name="T20" fmla="*/ 14 w 84"/>
                <a:gd name="T21" fmla="*/ 25 h 119"/>
                <a:gd name="T22" fmla="*/ 11 w 84"/>
                <a:gd name="T23" fmla="*/ 22 h 119"/>
                <a:gd name="T24" fmla="*/ 10 w 84"/>
                <a:gd name="T25" fmla="*/ 21 h 119"/>
                <a:gd name="T26" fmla="*/ 12 w 84"/>
                <a:gd name="T27" fmla="*/ 26 h 119"/>
                <a:gd name="T28" fmla="*/ 17 w 84"/>
                <a:gd name="T29" fmla="*/ 35 h 119"/>
                <a:gd name="T30" fmla="*/ 13 w 84"/>
                <a:gd name="T31" fmla="*/ 39 h 119"/>
                <a:gd name="T32" fmla="*/ 14 w 84"/>
                <a:gd name="T33" fmla="*/ 38 h 119"/>
                <a:gd name="T34" fmla="*/ 17 w 84"/>
                <a:gd name="T35" fmla="*/ 38 h 119"/>
                <a:gd name="T36" fmla="*/ 17 w 84"/>
                <a:gd name="T37" fmla="*/ 42 h 119"/>
                <a:gd name="T38" fmla="*/ 17 w 84"/>
                <a:gd name="T39" fmla="*/ 49 h 119"/>
                <a:gd name="T40" fmla="*/ 16 w 84"/>
                <a:gd name="T41" fmla="*/ 46 h 119"/>
                <a:gd name="T42" fmla="*/ 14 w 84"/>
                <a:gd name="T43" fmla="*/ 44 h 119"/>
                <a:gd name="T44" fmla="*/ 12 w 84"/>
                <a:gd name="T45" fmla="*/ 45 h 119"/>
                <a:gd name="T46" fmla="*/ 9 w 84"/>
                <a:gd name="T47" fmla="*/ 41 h 119"/>
                <a:gd name="T48" fmla="*/ 6 w 84"/>
                <a:gd name="T49" fmla="*/ 42 h 119"/>
                <a:gd name="T50" fmla="*/ 3 w 84"/>
                <a:gd name="T51" fmla="*/ 48 h 119"/>
                <a:gd name="T52" fmla="*/ 0 w 84"/>
                <a:gd name="T53" fmla="*/ 48 h 119"/>
                <a:gd name="T54" fmla="*/ 0 w 84"/>
                <a:gd name="T55" fmla="*/ 49 h 119"/>
                <a:gd name="T56" fmla="*/ 8 w 84"/>
                <a:gd name="T57" fmla="*/ 50 h 119"/>
                <a:gd name="T58" fmla="*/ 9 w 84"/>
                <a:gd name="T59" fmla="*/ 59 h 119"/>
                <a:gd name="T60" fmla="*/ 18 w 84"/>
                <a:gd name="T61" fmla="*/ 69 h 119"/>
                <a:gd name="T62" fmla="*/ 12 w 84"/>
                <a:gd name="T63" fmla="*/ 74 h 119"/>
                <a:gd name="T64" fmla="*/ 12 w 84"/>
                <a:gd name="T65" fmla="*/ 74 h 119"/>
                <a:gd name="T66" fmla="*/ 15 w 84"/>
                <a:gd name="T67" fmla="*/ 77 h 119"/>
                <a:gd name="T68" fmla="*/ 8 w 84"/>
                <a:gd name="T69" fmla="*/ 82 h 119"/>
                <a:gd name="T70" fmla="*/ 4 w 84"/>
                <a:gd name="T71" fmla="*/ 91 h 119"/>
                <a:gd name="T72" fmla="*/ 2 w 84"/>
                <a:gd name="T73" fmla="*/ 96 h 119"/>
                <a:gd name="T74" fmla="*/ 7 w 84"/>
                <a:gd name="T75" fmla="*/ 104 h 119"/>
                <a:gd name="T76" fmla="*/ 9 w 84"/>
                <a:gd name="T77" fmla="*/ 104 h 119"/>
                <a:gd name="T78" fmla="*/ 12 w 84"/>
                <a:gd name="T79" fmla="*/ 104 h 119"/>
                <a:gd name="T80" fmla="*/ 5 w 84"/>
                <a:gd name="T81" fmla="*/ 106 h 119"/>
                <a:gd name="T82" fmla="*/ 11 w 84"/>
                <a:gd name="T83" fmla="*/ 109 h 119"/>
                <a:gd name="T84" fmla="*/ 9 w 84"/>
                <a:gd name="T85" fmla="*/ 109 h 119"/>
                <a:gd name="T86" fmla="*/ 3 w 84"/>
                <a:gd name="T87" fmla="*/ 108 h 119"/>
                <a:gd name="T88" fmla="*/ 5 w 84"/>
                <a:gd name="T89" fmla="*/ 111 h 119"/>
                <a:gd name="T90" fmla="*/ 20 w 84"/>
                <a:gd name="T91" fmla="*/ 109 h 119"/>
                <a:gd name="T92" fmla="*/ 29 w 84"/>
                <a:gd name="T93" fmla="*/ 106 h 119"/>
                <a:gd name="T94" fmla="*/ 30 w 84"/>
                <a:gd name="T95" fmla="*/ 113 h 119"/>
                <a:gd name="T96" fmla="*/ 33 w 84"/>
                <a:gd name="T97" fmla="*/ 110 h 119"/>
                <a:gd name="T98" fmla="*/ 34 w 84"/>
                <a:gd name="T99" fmla="*/ 102 h 119"/>
                <a:gd name="T100" fmla="*/ 40 w 84"/>
                <a:gd name="T101" fmla="*/ 104 h 119"/>
                <a:gd name="T102" fmla="*/ 47 w 84"/>
                <a:gd name="T103" fmla="*/ 97 h 119"/>
                <a:gd name="T104" fmla="*/ 56 w 84"/>
                <a:gd name="T105" fmla="*/ 103 h 119"/>
                <a:gd name="T106" fmla="*/ 57 w 84"/>
                <a:gd name="T107" fmla="*/ 102 h 119"/>
                <a:gd name="T108" fmla="*/ 61 w 84"/>
                <a:gd name="T109" fmla="*/ 97 h 119"/>
                <a:gd name="T110" fmla="*/ 69 w 84"/>
                <a:gd name="T111" fmla="*/ 95 h 119"/>
                <a:gd name="T112" fmla="*/ 71 w 84"/>
                <a:gd name="T113" fmla="*/ 96 h 119"/>
                <a:gd name="T114" fmla="*/ 84 w 84"/>
                <a:gd name="T115" fmla="*/ 69 h 119"/>
                <a:gd name="T116" fmla="*/ 80 w 84"/>
                <a:gd name="T117" fmla="*/ 69 h 119"/>
                <a:gd name="T118" fmla="*/ 76 w 84"/>
                <a:gd name="T119" fmla="*/ 33 h 119"/>
                <a:gd name="T120" fmla="*/ 56 w 84"/>
                <a:gd name="T121" fmla="*/ 0 h 1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19">
                  <a:moveTo>
                    <a:pt x="57" y="102"/>
                  </a:moveTo>
                  <a:cubicBezTo>
                    <a:pt x="57" y="102"/>
                    <a:pt x="57" y="102"/>
                    <a:pt x="57" y="102"/>
                  </a:cubicBezTo>
                  <a:cubicBezTo>
                    <a:pt x="57" y="102"/>
                    <a:pt x="57" y="102"/>
                    <a:pt x="57" y="102"/>
                  </a:cubicBezTo>
                  <a:moveTo>
                    <a:pt x="56" y="0"/>
                  </a:moveTo>
                  <a:cubicBezTo>
                    <a:pt x="56" y="0"/>
                    <a:pt x="56" y="0"/>
                    <a:pt x="56" y="0"/>
                  </a:cubicBezTo>
                  <a:cubicBezTo>
                    <a:pt x="56" y="1"/>
                    <a:pt x="55" y="1"/>
                    <a:pt x="55" y="2"/>
                  </a:cubicBezTo>
                  <a:cubicBezTo>
                    <a:pt x="53" y="4"/>
                    <a:pt x="53" y="4"/>
                    <a:pt x="53" y="4"/>
                  </a:cubicBezTo>
                  <a:cubicBezTo>
                    <a:pt x="52" y="5"/>
                    <a:pt x="52" y="5"/>
                    <a:pt x="52" y="5"/>
                  </a:cubicBezTo>
                  <a:cubicBezTo>
                    <a:pt x="51" y="6"/>
                    <a:pt x="50" y="7"/>
                    <a:pt x="49" y="7"/>
                  </a:cubicBezTo>
                  <a:cubicBezTo>
                    <a:pt x="48" y="8"/>
                    <a:pt x="47" y="8"/>
                    <a:pt x="46" y="8"/>
                  </a:cubicBezTo>
                  <a:cubicBezTo>
                    <a:pt x="30" y="10"/>
                    <a:pt x="30" y="10"/>
                    <a:pt x="30" y="10"/>
                  </a:cubicBezTo>
                  <a:cubicBezTo>
                    <a:pt x="30" y="10"/>
                    <a:pt x="29" y="10"/>
                    <a:pt x="28" y="10"/>
                  </a:cubicBezTo>
                  <a:cubicBezTo>
                    <a:pt x="26" y="10"/>
                    <a:pt x="24" y="10"/>
                    <a:pt x="23" y="10"/>
                  </a:cubicBezTo>
                  <a:cubicBezTo>
                    <a:pt x="23" y="10"/>
                    <a:pt x="22" y="11"/>
                    <a:pt x="22" y="12"/>
                  </a:cubicBezTo>
                  <a:cubicBezTo>
                    <a:pt x="21" y="13"/>
                    <a:pt x="21" y="13"/>
                    <a:pt x="21" y="14"/>
                  </a:cubicBezTo>
                  <a:cubicBezTo>
                    <a:pt x="20" y="14"/>
                    <a:pt x="20" y="15"/>
                    <a:pt x="19" y="15"/>
                  </a:cubicBezTo>
                  <a:cubicBezTo>
                    <a:pt x="19" y="16"/>
                    <a:pt x="19" y="16"/>
                    <a:pt x="19" y="16"/>
                  </a:cubicBezTo>
                  <a:cubicBezTo>
                    <a:pt x="18" y="17"/>
                    <a:pt x="17" y="18"/>
                    <a:pt x="16" y="19"/>
                  </a:cubicBezTo>
                  <a:cubicBezTo>
                    <a:pt x="16" y="20"/>
                    <a:pt x="16" y="20"/>
                    <a:pt x="16" y="20"/>
                  </a:cubicBezTo>
                  <a:cubicBezTo>
                    <a:pt x="15" y="21"/>
                    <a:pt x="15" y="21"/>
                    <a:pt x="15" y="21"/>
                  </a:cubicBezTo>
                  <a:cubicBezTo>
                    <a:pt x="15" y="21"/>
                    <a:pt x="14" y="22"/>
                    <a:pt x="14" y="22"/>
                  </a:cubicBezTo>
                  <a:cubicBezTo>
                    <a:pt x="14" y="23"/>
                    <a:pt x="14" y="24"/>
                    <a:pt x="14" y="25"/>
                  </a:cubicBezTo>
                  <a:cubicBezTo>
                    <a:pt x="13" y="24"/>
                    <a:pt x="13" y="23"/>
                    <a:pt x="12" y="22"/>
                  </a:cubicBezTo>
                  <a:cubicBezTo>
                    <a:pt x="11" y="22"/>
                    <a:pt x="11" y="22"/>
                    <a:pt x="11" y="22"/>
                  </a:cubicBezTo>
                  <a:cubicBezTo>
                    <a:pt x="11" y="22"/>
                    <a:pt x="11" y="22"/>
                    <a:pt x="11" y="22"/>
                  </a:cubicBezTo>
                  <a:cubicBezTo>
                    <a:pt x="11" y="21"/>
                    <a:pt x="10" y="21"/>
                    <a:pt x="10" y="21"/>
                  </a:cubicBezTo>
                  <a:cubicBezTo>
                    <a:pt x="10" y="21"/>
                    <a:pt x="10" y="22"/>
                    <a:pt x="9" y="22"/>
                  </a:cubicBezTo>
                  <a:cubicBezTo>
                    <a:pt x="9" y="24"/>
                    <a:pt x="11" y="25"/>
                    <a:pt x="12" y="26"/>
                  </a:cubicBezTo>
                  <a:cubicBezTo>
                    <a:pt x="13" y="27"/>
                    <a:pt x="13" y="30"/>
                    <a:pt x="14" y="32"/>
                  </a:cubicBezTo>
                  <a:cubicBezTo>
                    <a:pt x="15" y="33"/>
                    <a:pt x="17" y="34"/>
                    <a:pt x="17" y="35"/>
                  </a:cubicBezTo>
                  <a:cubicBezTo>
                    <a:pt x="17" y="35"/>
                    <a:pt x="17" y="35"/>
                    <a:pt x="17" y="35"/>
                  </a:cubicBezTo>
                  <a:cubicBezTo>
                    <a:pt x="16" y="35"/>
                    <a:pt x="13" y="38"/>
                    <a:pt x="13" y="39"/>
                  </a:cubicBezTo>
                  <a:cubicBezTo>
                    <a:pt x="13" y="39"/>
                    <a:pt x="13" y="39"/>
                    <a:pt x="13" y="39"/>
                  </a:cubicBezTo>
                  <a:cubicBezTo>
                    <a:pt x="13" y="39"/>
                    <a:pt x="14" y="39"/>
                    <a:pt x="14" y="38"/>
                  </a:cubicBezTo>
                  <a:cubicBezTo>
                    <a:pt x="15" y="38"/>
                    <a:pt x="16" y="38"/>
                    <a:pt x="16" y="38"/>
                  </a:cubicBezTo>
                  <a:cubicBezTo>
                    <a:pt x="17" y="38"/>
                    <a:pt x="17" y="38"/>
                    <a:pt x="17" y="38"/>
                  </a:cubicBezTo>
                  <a:cubicBezTo>
                    <a:pt x="17" y="39"/>
                    <a:pt x="16" y="40"/>
                    <a:pt x="15" y="41"/>
                  </a:cubicBezTo>
                  <a:cubicBezTo>
                    <a:pt x="16" y="41"/>
                    <a:pt x="16" y="42"/>
                    <a:pt x="17" y="42"/>
                  </a:cubicBezTo>
                  <a:cubicBezTo>
                    <a:pt x="15" y="44"/>
                    <a:pt x="19" y="44"/>
                    <a:pt x="21" y="44"/>
                  </a:cubicBezTo>
                  <a:cubicBezTo>
                    <a:pt x="18" y="46"/>
                    <a:pt x="17" y="46"/>
                    <a:pt x="17" y="49"/>
                  </a:cubicBezTo>
                  <a:cubicBezTo>
                    <a:pt x="17" y="48"/>
                    <a:pt x="17" y="45"/>
                    <a:pt x="16" y="45"/>
                  </a:cubicBezTo>
                  <a:cubicBezTo>
                    <a:pt x="16" y="45"/>
                    <a:pt x="16" y="45"/>
                    <a:pt x="16" y="46"/>
                  </a:cubicBezTo>
                  <a:cubicBezTo>
                    <a:pt x="16" y="44"/>
                    <a:pt x="16" y="44"/>
                    <a:pt x="15" y="44"/>
                  </a:cubicBezTo>
                  <a:cubicBezTo>
                    <a:pt x="15" y="44"/>
                    <a:pt x="14" y="44"/>
                    <a:pt x="14" y="44"/>
                  </a:cubicBezTo>
                  <a:cubicBezTo>
                    <a:pt x="14" y="44"/>
                    <a:pt x="14" y="43"/>
                    <a:pt x="13" y="43"/>
                  </a:cubicBezTo>
                  <a:cubicBezTo>
                    <a:pt x="13" y="44"/>
                    <a:pt x="12" y="44"/>
                    <a:pt x="12" y="45"/>
                  </a:cubicBezTo>
                  <a:cubicBezTo>
                    <a:pt x="12" y="44"/>
                    <a:pt x="11" y="43"/>
                    <a:pt x="10" y="42"/>
                  </a:cubicBezTo>
                  <a:cubicBezTo>
                    <a:pt x="10" y="42"/>
                    <a:pt x="9" y="41"/>
                    <a:pt x="9" y="41"/>
                  </a:cubicBezTo>
                  <a:cubicBezTo>
                    <a:pt x="8" y="41"/>
                    <a:pt x="8" y="44"/>
                    <a:pt x="8" y="46"/>
                  </a:cubicBezTo>
                  <a:cubicBezTo>
                    <a:pt x="8" y="45"/>
                    <a:pt x="7" y="42"/>
                    <a:pt x="6" y="42"/>
                  </a:cubicBezTo>
                  <a:cubicBezTo>
                    <a:pt x="6" y="42"/>
                    <a:pt x="6" y="42"/>
                    <a:pt x="6" y="42"/>
                  </a:cubicBezTo>
                  <a:cubicBezTo>
                    <a:pt x="3" y="42"/>
                    <a:pt x="5" y="47"/>
                    <a:pt x="3" y="48"/>
                  </a:cubicBezTo>
                  <a:cubicBezTo>
                    <a:pt x="3" y="47"/>
                    <a:pt x="4" y="45"/>
                    <a:pt x="3" y="44"/>
                  </a:cubicBezTo>
                  <a:cubicBezTo>
                    <a:pt x="3" y="48"/>
                    <a:pt x="1" y="44"/>
                    <a:pt x="0" y="48"/>
                  </a:cubicBezTo>
                  <a:cubicBezTo>
                    <a:pt x="0" y="47"/>
                    <a:pt x="0" y="47"/>
                    <a:pt x="0" y="47"/>
                  </a:cubicBezTo>
                  <a:cubicBezTo>
                    <a:pt x="0" y="48"/>
                    <a:pt x="0" y="48"/>
                    <a:pt x="0" y="49"/>
                  </a:cubicBezTo>
                  <a:cubicBezTo>
                    <a:pt x="2" y="50"/>
                    <a:pt x="5" y="49"/>
                    <a:pt x="7" y="51"/>
                  </a:cubicBezTo>
                  <a:cubicBezTo>
                    <a:pt x="7" y="50"/>
                    <a:pt x="7" y="50"/>
                    <a:pt x="8" y="50"/>
                  </a:cubicBezTo>
                  <a:cubicBezTo>
                    <a:pt x="8" y="50"/>
                    <a:pt x="8" y="51"/>
                    <a:pt x="8" y="53"/>
                  </a:cubicBezTo>
                  <a:cubicBezTo>
                    <a:pt x="8" y="55"/>
                    <a:pt x="8" y="57"/>
                    <a:pt x="9" y="59"/>
                  </a:cubicBezTo>
                  <a:cubicBezTo>
                    <a:pt x="9" y="61"/>
                    <a:pt x="11" y="66"/>
                    <a:pt x="8" y="67"/>
                  </a:cubicBezTo>
                  <a:cubicBezTo>
                    <a:pt x="11" y="68"/>
                    <a:pt x="15" y="68"/>
                    <a:pt x="18" y="69"/>
                  </a:cubicBezTo>
                  <a:cubicBezTo>
                    <a:pt x="17" y="70"/>
                    <a:pt x="12" y="72"/>
                    <a:pt x="11" y="73"/>
                  </a:cubicBezTo>
                  <a:cubicBezTo>
                    <a:pt x="11" y="74"/>
                    <a:pt x="11" y="74"/>
                    <a:pt x="12" y="74"/>
                  </a:cubicBezTo>
                  <a:cubicBezTo>
                    <a:pt x="12" y="74"/>
                    <a:pt x="12" y="74"/>
                    <a:pt x="12" y="74"/>
                  </a:cubicBezTo>
                  <a:cubicBezTo>
                    <a:pt x="12" y="74"/>
                    <a:pt x="12" y="74"/>
                    <a:pt x="12" y="74"/>
                  </a:cubicBezTo>
                  <a:cubicBezTo>
                    <a:pt x="12" y="74"/>
                    <a:pt x="12" y="74"/>
                    <a:pt x="12" y="74"/>
                  </a:cubicBezTo>
                  <a:cubicBezTo>
                    <a:pt x="12" y="74"/>
                    <a:pt x="15" y="77"/>
                    <a:pt x="15" y="77"/>
                  </a:cubicBezTo>
                  <a:cubicBezTo>
                    <a:pt x="15" y="77"/>
                    <a:pt x="15" y="77"/>
                    <a:pt x="15" y="77"/>
                  </a:cubicBezTo>
                  <a:cubicBezTo>
                    <a:pt x="13" y="77"/>
                    <a:pt x="7" y="81"/>
                    <a:pt x="8" y="82"/>
                  </a:cubicBezTo>
                  <a:cubicBezTo>
                    <a:pt x="8" y="83"/>
                    <a:pt x="11" y="82"/>
                    <a:pt x="13" y="83"/>
                  </a:cubicBezTo>
                  <a:cubicBezTo>
                    <a:pt x="9" y="85"/>
                    <a:pt x="5" y="88"/>
                    <a:pt x="4" y="91"/>
                  </a:cubicBezTo>
                  <a:cubicBezTo>
                    <a:pt x="4" y="94"/>
                    <a:pt x="6" y="96"/>
                    <a:pt x="7" y="98"/>
                  </a:cubicBezTo>
                  <a:cubicBezTo>
                    <a:pt x="6" y="97"/>
                    <a:pt x="4" y="96"/>
                    <a:pt x="2" y="96"/>
                  </a:cubicBezTo>
                  <a:cubicBezTo>
                    <a:pt x="3" y="98"/>
                    <a:pt x="4" y="100"/>
                    <a:pt x="4" y="102"/>
                  </a:cubicBezTo>
                  <a:cubicBezTo>
                    <a:pt x="5" y="105"/>
                    <a:pt x="5" y="104"/>
                    <a:pt x="7" y="104"/>
                  </a:cubicBezTo>
                  <a:cubicBezTo>
                    <a:pt x="7" y="104"/>
                    <a:pt x="7" y="104"/>
                    <a:pt x="8" y="104"/>
                  </a:cubicBezTo>
                  <a:cubicBezTo>
                    <a:pt x="8" y="104"/>
                    <a:pt x="9" y="104"/>
                    <a:pt x="9" y="104"/>
                  </a:cubicBezTo>
                  <a:cubicBezTo>
                    <a:pt x="10" y="104"/>
                    <a:pt x="10" y="104"/>
                    <a:pt x="11" y="104"/>
                  </a:cubicBezTo>
                  <a:cubicBezTo>
                    <a:pt x="11" y="104"/>
                    <a:pt x="12" y="104"/>
                    <a:pt x="12" y="104"/>
                  </a:cubicBezTo>
                  <a:cubicBezTo>
                    <a:pt x="11" y="105"/>
                    <a:pt x="10" y="104"/>
                    <a:pt x="10" y="105"/>
                  </a:cubicBezTo>
                  <a:cubicBezTo>
                    <a:pt x="9" y="106"/>
                    <a:pt x="7" y="106"/>
                    <a:pt x="5" y="106"/>
                  </a:cubicBezTo>
                  <a:cubicBezTo>
                    <a:pt x="6" y="106"/>
                    <a:pt x="6" y="106"/>
                    <a:pt x="6" y="106"/>
                  </a:cubicBezTo>
                  <a:cubicBezTo>
                    <a:pt x="8" y="106"/>
                    <a:pt x="10" y="108"/>
                    <a:pt x="11" y="109"/>
                  </a:cubicBezTo>
                  <a:cubicBezTo>
                    <a:pt x="11" y="109"/>
                    <a:pt x="10" y="109"/>
                    <a:pt x="10" y="109"/>
                  </a:cubicBezTo>
                  <a:cubicBezTo>
                    <a:pt x="10" y="109"/>
                    <a:pt x="9" y="109"/>
                    <a:pt x="9" y="109"/>
                  </a:cubicBezTo>
                  <a:cubicBezTo>
                    <a:pt x="7" y="110"/>
                    <a:pt x="7" y="110"/>
                    <a:pt x="7" y="110"/>
                  </a:cubicBezTo>
                  <a:cubicBezTo>
                    <a:pt x="6" y="110"/>
                    <a:pt x="5" y="108"/>
                    <a:pt x="3" y="108"/>
                  </a:cubicBezTo>
                  <a:cubicBezTo>
                    <a:pt x="3" y="108"/>
                    <a:pt x="3" y="108"/>
                    <a:pt x="3" y="108"/>
                  </a:cubicBezTo>
                  <a:cubicBezTo>
                    <a:pt x="3" y="111"/>
                    <a:pt x="4" y="110"/>
                    <a:pt x="5" y="111"/>
                  </a:cubicBezTo>
                  <a:cubicBezTo>
                    <a:pt x="7" y="113"/>
                    <a:pt x="8" y="116"/>
                    <a:pt x="9" y="119"/>
                  </a:cubicBezTo>
                  <a:cubicBezTo>
                    <a:pt x="13" y="114"/>
                    <a:pt x="14" y="111"/>
                    <a:pt x="20" y="109"/>
                  </a:cubicBezTo>
                  <a:cubicBezTo>
                    <a:pt x="20" y="108"/>
                    <a:pt x="26" y="106"/>
                    <a:pt x="28" y="106"/>
                  </a:cubicBezTo>
                  <a:cubicBezTo>
                    <a:pt x="29" y="106"/>
                    <a:pt x="29" y="106"/>
                    <a:pt x="29" y="106"/>
                  </a:cubicBezTo>
                  <a:cubicBezTo>
                    <a:pt x="29" y="107"/>
                    <a:pt x="24" y="110"/>
                    <a:pt x="24" y="111"/>
                  </a:cubicBezTo>
                  <a:cubicBezTo>
                    <a:pt x="24" y="111"/>
                    <a:pt x="29" y="113"/>
                    <a:pt x="30" y="113"/>
                  </a:cubicBezTo>
                  <a:cubicBezTo>
                    <a:pt x="30" y="113"/>
                    <a:pt x="30" y="113"/>
                    <a:pt x="30" y="113"/>
                  </a:cubicBezTo>
                  <a:cubicBezTo>
                    <a:pt x="31" y="113"/>
                    <a:pt x="33" y="110"/>
                    <a:pt x="33" y="110"/>
                  </a:cubicBezTo>
                  <a:cubicBezTo>
                    <a:pt x="33" y="109"/>
                    <a:pt x="32" y="109"/>
                    <a:pt x="32" y="108"/>
                  </a:cubicBezTo>
                  <a:cubicBezTo>
                    <a:pt x="31" y="106"/>
                    <a:pt x="32" y="104"/>
                    <a:pt x="34" y="102"/>
                  </a:cubicBezTo>
                  <a:cubicBezTo>
                    <a:pt x="34" y="104"/>
                    <a:pt x="35" y="108"/>
                    <a:pt x="37" y="109"/>
                  </a:cubicBezTo>
                  <a:cubicBezTo>
                    <a:pt x="37" y="107"/>
                    <a:pt x="39" y="106"/>
                    <a:pt x="40" y="104"/>
                  </a:cubicBezTo>
                  <a:cubicBezTo>
                    <a:pt x="40" y="103"/>
                    <a:pt x="39" y="102"/>
                    <a:pt x="40" y="100"/>
                  </a:cubicBezTo>
                  <a:cubicBezTo>
                    <a:pt x="40" y="99"/>
                    <a:pt x="45" y="97"/>
                    <a:pt x="47" y="97"/>
                  </a:cubicBezTo>
                  <a:cubicBezTo>
                    <a:pt x="46" y="99"/>
                    <a:pt x="50" y="100"/>
                    <a:pt x="52" y="101"/>
                  </a:cubicBezTo>
                  <a:cubicBezTo>
                    <a:pt x="53" y="101"/>
                    <a:pt x="54" y="103"/>
                    <a:pt x="56" y="103"/>
                  </a:cubicBezTo>
                  <a:cubicBezTo>
                    <a:pt x="56" y="103"/>
                    <a:pt x="56" y="103"/>
                    <a:pt x="57" y="102"/>
                  </a:cubicBezTo>
                  <a:cubicBezTo>
                    <a:pt x="57" y="102"/>
                    <a:pt x="57" y="102"/>
                    <a:pt x="57" y="102"/>
                  </a:cubicBezTo>
                  <a:cubicBezTo>
                    <a:pt x="56" y="102"/>
                    <a:pt x="56" y="100"/>
                    <a:pt x="56" y="100"/>
                  </a:cubicBezTo>
                  <a:cubicBezTo>
                    <a:pt x="57" y="99"/>
                    <a:pt x="60" y="98"/>
                    <a:pt x="61" y="97"/>
                  </a:cubicBezTo>
                  <a:cubicBezTo>
                    <a:pt x="60" y="96"/>
                    <a:pt x="60" y="94"/>
                    <a:pt x="60" y="93"/>
                  </a:cubicBezTo>
                  <a:cubicBezTo>
                    <a:pt x="62" y="94"/>
                    <a:pt x="67" y="94"/>
                    <a:pt x="69" y="95"/>
                  </a:cubicBezTo>
                  <a:cubicBezTo>
                    <a:pt x="70" y="95"/>
                    <a:pt x="70" y="97"/>
                    <a:pt x="71" y="97"/>
                  </a:cubicBezTo>
                  <a:cubicBezTo>
                    <a:pt x="71" y="97"/>
                    <a:pt x="71" y="97"/>
                    <a:pt x="71" y="96"/>
                  </a:cubicBezTo>
                  <a:cubicBezTo>
                    <a:pt x="72" y="96"/>
                    <a:pt x="75" y="94"/>
                    <a:pt x="76" y="93"/>
                  </a:cubicBezTo>
                  <a:cubicBezTo>
                    <a:pt x="80" y="85"/>
                    <a:pt x="82" y="78"/>
                    <a:pt x="84" y="69"/>
                  </a:cubicBezTo>
                  <a:cubicBezTo>
                    <a:pt x="83" y="69"/>
                    <a:pt x="81" y="69"/>
                    <a:pt x="80" y="69"/>
                  </a:cubicBezTo>
                  <a:cubicBezTo>
                    <a:pt x="80" y="69"/>
                    <a:pt x="80" y="69"/>
                    <a:pt x="80" y="69"/>
                  </a:cubicBezTo>
                  <a:cubicBezTo>
                    <a:pt x="81" y="60"/>
                    <a:pt x="80" y="49"/>
                    <a:pt x="79" y="39"/>
                  </a:cubicBezTo>
                  <a:cubicBezTo>
                    <a:pt x="79" y="37"/>
                    <a:pt x="77" y="35"/>
                    <a:pt x="76" y="33"/>
                  </a:cubicBezTo>
                  <a:cubicBezTo>
                    <a:pt x="73" y="28"/>
                    <a:pt x="70" y="24"/>
                    <a:pt x="68" y="19"/>
                  </a:cubicBezTo>
                  <a:cubicBezTo>
                    <a:pt x="64" y="13"/>
                    <a:pt x="60" y="6"/>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541"/>
            <p:cNvSpPr/>
            <p:nvPr/>
          </p:nvSpPr>
          <p:spPr bwMode="auto">
            <a:xfrm>
              <a:off x="7406241" y="6504758"/>
              <a:ext cx="177293" cy="85960"/>
            </a:xfrm>
            <a:custGeom>
              <a:gdLst>
                <a:gd name="T0" fmla="*/ 54 w 56"/>
                <a:gd name="T1" fmla="*/ 0 h 27"/>
                <a:gd name="T2" fmla="*/ 18 w 56"/>
                <a:gd name="T3" fmla="*/ 5 h 27"/>
                <a:gd name="T4" fmla="*/ 7 w 56"/>
                <a:gd name="T5" fmla="*/ 6 h 27"/>
                <a:gd name="T6" fmla="*/ 0 w 56"/>
                <a:gd name="T7" fmla="*/ 12 h 27"/>
                <a:gd name="T8" fmla="*/ 0 w 56"/>
                <a:gd name="T9" fmla="*/ 13 h 27"/>
                <a:gd name="T10" fmla="*/ 1 w 56"/>
                <a:gd name="T11" fmla="*/ 13 h 27"/>
                <a:gd name="T12" fmla="*/ 4 w 56"/>
                <a:gd name="T13" fmla="*/ 14 h 27"/>
                <a:gd name="T14" fmla="*/ 4 w 56"/>
                <a:gd name="T15" fmla="*/ 14 h 27"/>
                <a:gd name="T16" fmla="*/ 5 w 56"/>
                <a:gd name="T17" fmla="*/ 14 h 27"/>
                <a:gd name="T18" fmla="*/ 6 w 56"/>
                <a:gd name="T19" fmla="*/ 16 h 27"/>
                <a:gd name="T20" fmla="*/ 6 w 56"/>
                <a:gd name="T21" fmla="*/ 16 h 27"/>
                <a:gd name="T22" fmla="*/ 6 w 56"/>
                <a:gd name="T23" fmla="*/ 17 h 27"/>
                <a:gd name="T24" fmla="*/ 7 w 56"/>
                <a:gd name="T25" fmla="*/ 19 h 27"/>
                <a:gd name="T26" fmla="*/ 6 w 56"/>
                <a:gd name="T27" fmla="*/ 20 h 27"/>
                <a:gd name="T28" fmla="*/ 6 w 56"/>
                <a:gd name="T29" fmla="*/ 22 h 27"/>
                <a:gd name="T30" fmla="*/ 6 w 56"/>
                <a:gd name="T31" fmla="*/ 22 h 27"/>
                <a:gd name="T32" fmla="*/ 5 w 56"/>
                <a:gd name="T33" fmla="*/ 25 h 27"/>
                <a:gd name="T34" fmla="*/ 4 w 56"/>
                <a:gd name="T35" fmla="*/ 27 h 27"/>
                <a:gd name="T36" fmla="*/ 34 w 56"/>
                <a:gd name="T37" fmla="*/ 15 h 27"/>
                <a:gd name="T38" fmla="*/ 48 w 56"/>
                <a:gd name="T39" fmla="*/ 9 h 27"/>
                <a:gd name="T40" fmla="*/ 55 w 56"/>
                <a:gd name="T41" fmla="*/ 3 h 27"/>
                <a:gd name="T42" fmla="*/ 54 w 56"/>
                <a:gd name="T43" fmla="*/ 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27">
                  <a:moveTo>
                    <a:pt x="54" y="0"/>
                  </a:moveTo>
                  <a:cubicBezTo>
                    <a:pt x="42" y="1"/>
                    <a:pt x="30" y="3"/>
                    <a:pt x="18" y="5"/>
                  </a:cubicBezTo>
                  <a:cubicBezTo>
                    <a:pt x="14" y="5"/>
                    <a:pt x="11" y="5"/>
                    <a:pt x="7" y="6"/>
                  </a:cubicBezTo>
                  <a:cubicBezTo>
                    <a:pt x="3" y="7"/>
                    <a:pt x="2" y="9"/>
                    <a:pt x="0" y="12"/>
                  </a:cubicBezTo>
                  <a:cubicBezTo>
                    <a:pt x="0" y="13"/>
                    <a:pt x="0" y="13"/>
                    <a:pt x="0" y="13"/>
                  </a:cubicBezTo>
                  <a:cubicBezTo>
                    <a:pt x="1" y="13"/>
                    <a:pt x="1" y="13"/>
                    <a:pt x="1" y="13"/>
                  </a:cubicBezTo>
                  <a:cubicBezTo>
                    <a:pt x="2" y="13"/>
                    <a:pt x="3" y="13"/>
                    <a:pt x="4" y="14"/>
                  </a:cubicBezTo>
                  <a:cubicBezTo>
                    <a:pt x="4" y="14"/>
                    <a:pt x="4" y="14"/>
                    <a:pt x="4" y="14"/>
                  </a:cubicBezTo>
                  <a:cubicBezTo>
                    <a:pt x="5" y="14"/>
                    <a:pt x="5" y="14"/>
                    <a:pt x="5" y="14"/>
                  </a:cubicBezTo>
                  <a:cubicBezTo>
                    <a:pt x="5" y="14"/>
                    <a:pt x="6" y="15"/>
                    <a:pt x="6" y="16"/>
                  </a:cubicBezTo>
                  <a:cubicBezTo>
                    <a:pt x="6" y="16"/>
                    <a:pt x="6" y="16"/>
                    <a:pt x="6" y="16"/>
                  </a:cubicBezTo>
                  <a:cubicBezTo>
                    <a:pt x="6" y="17"/>
                    <a:pt x="6" y="17"/>
                    <a:pt x="6" y="17"/>
                  </a:cubicBezTo>
                  <a:cubicBezTo>
                    <a:pt x="6" y="18"/>
                    <a:pt x="7" y="18"/>
                    <a:pt x="7" y="19"/>
                  </a:cubicBezTo>
                  <a:cubicBezTo>
                    <a:pt x="6" y="20"/>
                    <a:pt x="6" y="20"/>
                    <a:pt x="6" y="20"/>
                  </a:cubicBezTo>
                  <a:cubicBezTo>
                    <a:pt x="6" y="20"/>
                    <a:pt x="6" y="21"/>
                    <a:pt x="6" y="22"/>
                  </a:cubicBezTo>
                  <a:cubicBezTo>
                    <a:pt x="6" y="22"/>
                    <a:pt x="6" y="22"/>
                    <a:pt x="6" y="22"/>
                  </a:cubicBezTo>
                  <a:cubicBezTo>
                    <a:pt x="5" y="23"/>
                    <a:pt x="5" y="24"/>
                    <a:pt x="5" y="25"/>
                  </a:cubicBezTo>
                  <a:cubicBezTo>
                    <a:pt x="4" y="27"/>
                    <a:pt x="4" y="27"/>
                    <a:pt x="4" y="27"/>
                  </a:cubicBezTo>
                  <a:cubicBezTo>
                    <a:pt x="14" y="23"/>
                    <a:pt x="24" y="18"/>
                    <a:pt x="34" y="15"/>
                  </a:cubicBezTo>
                  <a:cubicBezTo>
                    <a:pt x="39" y="14"/>
                    <a:pt x="43" y="11"/>
                    <a:pt x="48" y="9"/>
                  </a:cubicBezTo>
                  <a:cubicBezTo>
                    <a:pt x="50" y="8"/>
                    <a:pt x="54" y="5"/>
                    <a:pt x="55" y="3"/>
                  </a:cubicBezTo>
                  <a:cubicBezTo>
                    <a:pt x="56" y="2"/>
                    <a:pt x="56" y="2"/>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542"/>
            <p:cNvSpPr/>
            <p:nvPr/>
          </p:nvSpPr>
          <p:spPr bwMode="auto">
            <a:xfrm>
              <a:off x="7285360" y="6555797"/>
              <a:ext cx="123568" cy="108793"/>
            </a:xfrm>
            <a:custGeom>
              <a:gdLst>
                <a:gd name="T0" fmla="*/ 35 w 39"/>
                <a:gd name="T1" fmla="*/ 0 h 34"/>
                <a:gd name="T2" fmla="*/ 28 w 39"/>
                <a:gd name="T3" fmla="*/ 3 h 34"/>
                <a:gd name="T4" fmla="*/ 28 w 39"/>
                <a:gd name="T5" fmla="*/ 3 h 34"/>
                <a:gd name="T6" fmla="*/ 28 w 39"/>
                <a:gd name="T7" fmla="*/ 4 h 34"/>
                <a:gd name="T8" fmla="*/ 25 w 39"/>
                <a:gd name="T9" fmla="*/ 10 h 34"/>
                <a:gd name="T10" fmla="*/ 23 w 39"/>
                <a:gd name="T11" fmla="*/ 14 h 34"/>
                <a:gd name="T12" fmla="*/ 22 w 39"/>
                <a:gd name="T13" fmla="*/ 16 h 34"/>
                <a:gd name="T14" fmla="*/ 8 w 39"/>
                <a:gd name="T15" fmla="*/ 14 h 34"/>
                <a:gd name="T16" fmla="*/ 8 w 39"/>
                <a:gd name="T17" fmla="*/ 13 h 34"/>
                <a:gd name="T18" fmla="*/ 5 w 39"/>
                <a:gd name="T19" fmla="*/ 16 h 34"/>
                <a:gd name="T20" fmla="*/ 5 w 39"/>
                <a:gd name="T21" fmla="*/ 22 h 34"/>
                <a:gd name="T22" fmla="*/ 6 w 39"/>
                <a:gd name="T23" fmla="*/ 26 h 34"/>
                <a:gd name="T24" fmla="*/ 7 w 39"/>
                <a:gd name="T25" fmla="*/ 27 h 34"/>
                <a:gd name="T26" fmla="*/ 0 w 39"/>
                <a:gd name="T27" fmla="*/ 34 h 34"/>
                <a:gd name="T28" fmla="*/ 15 w 39"/>
                <a:gd name="T29" fmla="*/ 30 h 34"/>
                <a:gd name="T30" fmla="*/ 24 w 39"/>
                <a:gd name="T31" fmla="*/ 29 h 34"/>
                <a:gd name="T32" fmla="*/ 39 w 39"/>
                <a:gd name="T33" fmla="*/ 13 h 34"/>
                <a:gd name="T34" fmla="*/ 37 w 39"/>
                <a:gd name="T35" fmla="*/ 13 h 34"/>
                <a:gd name="T36" fmla="*/ 37 w 39"/>
                <a:gd name="T37" fmla="*/ 12 h 34"/>
                <a:gd name="T38" fmla="*/ 37 w 39"/>
                <a:gd name="T39" fmla="*/ 11 h 34"/>
                <a:gd name="T40" fmla="*/ 37 w 39"/>
                <a:gd name="T41" fmla="*/ 9 h 34"/>
                <a:gd name="T42" fmla="*/ 38 w 39"/>
                <a:gd name="T43" fmla="*/ 4 h 34"/>
                <a:gd name="T44" fmla="*/ 39 w 39"/>
                <a:gd name="T45" fmla="*/ 3 h 34"/>
                <a:gd name="T46" fmla="*/ 39 w 39"/>
                <a:gd name="T47" fmla="*/ 3 h 34"/>
                <a:gd name="T48" fmla="*/ 39 w 39"/>
                <a:gd name="T49" fmla="*/ 2 h 34"/>
                <a:gd name="T50" fmla="*/ 39 w 39"/>
                <a:gd name="T51" fmla="*/ 2 h 34"/>
                <a:gd name="T52" fmla="*/ 38 w 39"/>
                <a:gd name="T53" fmla="*/ 2 h 34"/>
                <a:gd name="T54" fmla="*/ 37 w 39"/>
                <a:gd name="T55" fmla="*/ 2 h 34"/>
                <a:gd name="T56" fmla="*/ 36 w 39"/>
                <a:gd name="T57" fmla="*/ 1 h 34"/>
                <a:gd name="T58" fmla="*/ 35 w 39"/>
                <a:gd name="T59" fmla="*/ 1 h 34"/>
                <a:gd name="T60" fmla="*/ 35 w 39"/>
                <a:gd name="T61" fmla="*/ 0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 h="34">
                  <a:moveTo>
                    <a:pt x="35" y="0"/>
                  </a:moveTo>
                  <a:cubicBezTo>
                    <a:pt x="32" y="1"/>
                    <a:pt x="30" y="2"/>
                    <a:pt x="28" y="3"/>
                  </a:cubicBezTo>
                  <a:cubicBezTo>
                    <a:pt x="28" y="3"/>
                    <a:pt x="28" y="3"/>
                    <a:pt x="28" y="3"/>
                  </a:cubicBezTo>
                  <a:cubicBezTo>
                    <a:pt x="28" y="4"/>
                    <a:pt x="28" y="4"/>
                    <a:pt x="28" y="4"/>
                  </a:cubicBezTo>
                  <a:cubicBezTo>
                    <a:pt x="28" y="5"/>
                    <a:pt x="27" y="7"/>
                    <a:pt x="25" y="10"/>
                  </a:cubicBezTo>
                  <a:cubicBezTo>
                    <a:pt x="25" y="11"/>
                    <a:pt x="23" y="14"/>
                    <a:pt x="23" y="14"/>
                  </a:cubicBezTo>
                  <a:cubicBezTo>
                    <a:pt x="22" y="16"/>
                    <a:pt x="22" y="16"/>
                    <a:pt x="22" y="16"/>
                  </a:cubicBezTo>
                  <a:cubicBezTo>
                    <a:pt x="8" y="14"/>
                    <a:pt x="8" y="14"/>
                    <a:pt x="8" y="14"/>
                  </a:cubicBezTo>
                  <a:cubicBezTo>
                    <a:pt x="8" y="13"/>
                    <a:pt x="8" y="13"/>
                    <a:pt x="8" y="13"/>
                  </a:cubicBezTo>
                  <a:cubicBezTo>
                    <a:pt x="7" y="14"/>
                    <a:pt x="6" y="15"/>
                    <a:pt x="5" y="16"/>
                  </a:cubicBezTo>
                  <a:cubicBezTo>
                    <a:pt x="4" y="17"/>
                    <a:pt x="5" y="20"/>
                    <a:pt x="5" y="22"/>
                  </a:cubicBezTo>
                  <a:cubicBezTo>
                    <a:pt x="5" y="24"/>
                    <a:pt x="6" y="25"/>
                    <a:pt x="6" y="26"/>
                  </a:cubicBezTo>
                  <a:cubicBezTo>
                    <a:pt x="6" y="27"/>
                    <a:pt x="8" y="26"/>
                    <a:pt x="7" y="27"/>
                  </a:cubicBezTo>
                  <a:cubicBezTo>
                    <a:pt x="5" y="30"/>
                    <a:pt x="2" y="32"/>
                    <a:pt x="0" y="34"/>
                  </a:cubicBezTo>
                  <a:cubicBezTo>
                    <a:pt x="5" y="33"/>
                    <a:pt x="10" y="32"/>
                    <a:pt x="15" y="30"/>
                  </a:cubicBezTo>
                  <a:cubicBezTo>
                    <a:pt x="17" y="30"/>
                    <a:pt x="22" y="30"/>
                    <a:pt x="24" y="29"/>
                  </a:cubicBezTo>
                  <a:cubicBezTo>
                    <a:pt x="28" y="25"/>
                    <a:pt x="36" y="19"/>
                    <a:pt x="39" y="13"/>
                  </a:cubicBezTo>
                  <a:cubicBezTo>
                    <a:pt x="37" y="13"/>
                    <a:pt x="37" y="13"/>
                    <a:pt x="37" y="13"/>
                  </a:cubicBezTo>
                  <a:cubicBezTo>
                    <a:pt x="37" y="12"/>
                    <a:pt x="37" y="12"/>
                    <a:pt x="37" y="12"/>
                  </a:cubicBezTo>
                  <a:cubicBezTo>
                    <a:pt x="37" y="11"/>
                    <a:pt x="37" y="11"/>
                    <a:pt x="37" y="11"/>
                  </a:cubicBezTo>
                  <a:cubicBezTo>
                    <a:pt x="37" y="9"/>
                    <a:pt x="37" y="9"/>
                    <a:pt x="37" y="9"/>
                  </a:cubicBezTo>
                  <a:cubicBezTo>
                    <a:pt x="37" y="7"/>
                    <a:pt x="38" y="6"/>
                    <a:pt x="38" y="4"/>
                  </a:cubicBezTo>
                  <a:cubicBezTo>
                    <a:pt x="39" y="3"/>
                    <a:pt x="39" y="3"/>
                    <a:pt x="39" y="3"/>
                  </a:cubicBezTo>
                  <a:cubicBezTo>
                    <a:pt x="39" y="3"/>
                    <a:pt x="39" y="3"/>
                    <a:pt x="39" y="3"/>
                  </a:cubicBezTo>
                  <a:cubicBezTo>
                    <a:pt x="39" y="2"/>
                    <a:pt x="39" y="2"/>
                    <a:pt x="39" y="2"/>
                  </a:cubicBezTo>
                  <a:cubicBezTo>
                    <a:pt x="39" y="2"/>
                    <a:pt x="39" y="2"/>
                    <a:pt x="39" y="2"/>
                  </a:cubicBezTo>
                  <a:cubicBezTo>
                    <a:pt x="39" y="2"/>
                    <a:pt x="39" y="2"/>
                    <a:pt x="38" y="2"/>
                  </a:cubicBezTo>
                  <a:cubicBezTo>
                    <a:pt x="37" y="2"/>
                    <a:pt x="37" y="2"/>
                    <a:pt x="37" y="2"/>
                  </a:cubicBezTo>
                  <a:cubicBezTo>
                    <a:pt x="37" y="2"/>
                    <a:pt x="36" y="1"/>
                    <a:pt x="36" y="1"/>
                  </a:cubicBezTo>
                  <a:cubicBezTo>
                    <a:pt x="35" y="1"/>
                    <a:pt x="35" y="1"/>
                    <a:pt x="35" y="1"/>
                  </a:cubicBezTo>
                  <a:cubicBezTo>
                    <a:pt x="35" y="0"/>
                    <a:pt x="35"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543"/>
            <p:cNvSpPr>
              <a:spLocks noEditPoints="1"/>
            </p:cNvSpPr>
            <p:nvPr/>
          </p:nvSpPr>
          <p:spPr bwMode="auto">
            <a:xfrm>
              <a:off x="1712731" y="3866859"/>
              <a:ext cx="599034" cy="670220"/>
            </a:xfrm>
            <a:custGeom>
              <a:gdLst>
                <a:gd name="T0" fmla="*/ 140 w 189"/>
                <a:gd name="T1" fmla="*/ 151 h 211"/>
                <a:gd name="T2" fmla="*/ 105 w 189"/>
                <a:gd name="T3" fmla="*/ 0 h 211"/>
                <a:gd name="T4" fmla="*/ 99 w 189"/>
                <a:gd name="T5" fmla="*/ 5 h 211"/>
                <a:gd name="T6" fmla="*/ 94 w 189"/>
                <a:gd name="T7" fmla="*/ 6 h 211"/>
                <a:gd name="T8" fmla="*/ 92 w 189"/>
                <a:gd name="T9" fmla="*/ 15 h 211"/>
                <a:gd name="T10" fmla="*/ 93 w 189"/>
                <a:gd name="T11" fmla="*/ 15 h 211"/>
                <a:gd name="T12" fmla="*/ 100 w 189"/>
                <a:gd name="T13" fmla="*/ 23 h 211"/>
                <a:gd name="T14" fmla="*/ 89 w 189"/>
                <a:gd name="T15" fmla="*/ 25 h 211"/>
                <a:gd name="T16" fmla="*/ 89 w 189"/>
                <a:gd name="T17" fmla="*/ 30 h 211"/>
                <a:gd name="T18" fmla="*/ 86 w 189"/>
                <a:gd name="T19" fmla="*/ 25 h 211"/>
                <a:gd name="T20" fmla="*/ 83 w 189"/>
                <a:gd name="T21" fmla="*/ 31 h 211"/>
                <a:gd name="T22" fmla="*/ 81 w 189"/>
                <a:gd name="T23" fmla="*/ 43 h 211"/>
                <a:gd name="T24" fmla="*/ 79 w 189"/>
                <a:gd name="T25" fmla="*/ 52 h 211"/>
                <a:gd name="T26" fmla="*/ 78 w 189"/>
                <a:gd name="T27" fmla="*/ 56 h 211"/>
                <a:gd name="T28" fmla="*/ 80 w 189"/>
                <a:gd name="T29" fmla="*/ 60 h 211"/>
                <a:gd name="T30" fmla="*/ 84 w 189"/>
                <a:gd name="T31" fmla="*/ 66 h 211"/>
                <a:gd name="T32" fmla="*/ 86 w 189"/>
                <a:gd name="T33" fmla="*/ 71 h 211"/>
                <a:gd name="T34" fmla="*/ 87 w 189"/>
                <a:gd name="T35" fmla="*/ 82 h 211"/>
                <a:gd name="T36" fmla="*/ 81 w 189"/>
                <a:gd name="T37" fmla="*/ 101 h 211"/>
                <a:gd name="T38" fmla="*/ 78 w 189"/>
                <a:gd name="T39" fmla="*/ 111 h 211"/>
                <a:gd name="T40" fmla="*/ 77 w 189"/>
                <a:gd name="T41" fmla="*/ 113 h 211"/>
                <a:gd name="T42" fmla="*/ 76 w 189"/>
                <a:gd name="T43" fmla="*/ 117 h 211"/>
                <a:gd name="T44" fmla="*/ 75 w 189"/>
                <a:gd name="T45" fmla="*/ 119 h 211"/>
                <a:gd name="T46" fmla="*/ 71 w 189"/>
                <a:gd name="T47" fmla="*/ 129 h 211"/>
                <a:gd name="T48" fmla="*/ 70 w 189"/>
                <a:gd name="T49" fmla="*/ 129 h 211"/>
                <a:gd name="T50" fmla="*/ 43 w 189"/>
                <a:gd name="T51" fmla="*/ 139 h 211"/>
                <a:gd name="T52" fmla="*/ 0 w 189"/>
                <a:gd name="T53" fmla="*/ 153 h 211"/>
                <a:gd name="T54" fmla="*/ 26 w 189"/>
                <a:gd name="T55" fmla="*/ 211 h 211"/>
                <a:gd name="T56" fmla="*/ 55 w 189"/>
                <a:gd name="T57" fmla="*/ 202 h 211"/>
                <a:gd name="T58" fmla="*/ 61 w 189"/>
                <a:gd name="T59" fmla="*/ 202 h 211"/>
                <a:gd name="T60" fmla="*/ 70 w 189"/>
                <a:gd name="T61" fmla="*/ 202 h 211"/>
                <a:gd name="T62" fmla="*/ 83 w 189"/>
                <a:gd name="T63" fmla="*/ 180 h 211"/>
                <a:gd name="T64" fmla="*/ 98 w 189"/>
                <a:gd name="T65" fmla="*/ 179 h 211"/>
                <a:gd name="T66" fmla="*/ 108 w 189"/>
                <a:gd name="T67" fmla="*/ 172 h 211"/>
                <a:gd name="T68" fmla="*/ 114 w 189"/>
                <a:gd name="T69" fmla="*/ 158 h 211"/>
                <a:gd name="T70" fmla="*/ 140 w 189"/>
                <a:gd name="T71" fmla="*/ 151 h 211"/>
                <a:gd name="T72" fmla="*/ 139 w 189"/>
                <a:gd name="T73" fmla="*/ 149 h 211"/>
                <a:gd name="T74" fmla="*/ 139 w 189"/>
                <a:gd name="T75" fmla="*/ 147 h 211"/>
                <a:gd name="T76" fmla="*/ 138 w 189"/>
                <a:gd name="T77" fmla="*/ 141 h 211"/>
                <a:gd name="T78" fmla="*/ 139 w 189"/>
                <a:gd name="T79" fmla="*/ 126 h 211"/>
                <a:gd name="T80" fmla="*/ 149 w 189"/>
                <a:gd name="T81" fmla="*/ 111 h 211"/>
                <a:gd name="T82" fmla="*/ 151 w 189"/>
                <a:gd name="T83" fmla="*/ 116 h 211"/>
                <a:gd name="T84" fmla="*/ 157 w 189"/>
                <a:gd name="T85" fmla="*/ 113 h 211"/>
                <a:gd name="T86" fmla="*/ 170 w 189"/>
                <a:gd name="T87" fmla="*/ 94 h 211"/>
                <a:gd name="T88" fmla="*/ 185 w 189"/>
                <a:gd name="T89" fmla="*/ 75 h 211"/>
                <a:gd name="T90" fmla="*/ 185 w 189"/>
                <a:gd name="T91" fmla="*/ 60 h 211"/>
                <a:gd name="T92" fmla="*/ 175 w 189"/>
                <a:gd name="T93" fmla="*/ 53 h 211"/>
                <a:gd name="T94" fmla="*/ 163 w 189"/>
                <a:gd name="T95" fmla="*/ 38 h 211"/>
                <a:gd name="T96" fmla="*/ 157 w 189"/>
                <a:gd name="T97" fmla="*/ 32 h 211"/>
                <a:gd name="T98" fmla="*/ 154 w 189"/>
                <a:gd name="T99" fmla="*/ 33 h 211"/>
                <a:gd name="T100" fmla="*/ 139 w 189"/>
                <a:gd name="T101" fmla="*/ 29 h 211"/>
                <a:gd name="T102" fmla="*/ 115 w 189"/>
                <a:gd name="T103" fmla="*/ 16 h 211"/>
                <a:gd name="T104" fmla="*/ 107 w 189"/>
                <a:gd name="T105" fmla="*/ 5 h 211"/>
                <a:gd name="T106" fmla="*/ 105 w 189"/>
                <a:gd name="T107" fmla="*/ 0 h 2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11">
                  <a:moveTo>
                    <a:pt x="140" y="151"/>
                  </a:moveTo>
                  <a:cubicBezTo>
                    <a:pt x="140" y="151"/>
                    <a:pt x="140" y="151"/>
                    <a:pt x="140" y="151"/>
                  </a:cubicBezTo>
                  <a:cubicBezTo>
                    <a:pt x="140" y="151"/>
                    <a:pt x="140" y="151"/>
                    <a:pt x="140" y="151"/>
                  </a:cubicBezTo>
                  <a:moveTo>
                    <a:pt x="105" y="0"/>
                  </a:moveTo>
                  <a:cubicBezTo>
                    <a:pt x="104" y="3"/>
                    <a:pt x="103" y="3"/>
                    <a:pt x="102" y="3"/>
                  </a:cubicBezTo>
                  <a:cubicBezTo>
                    <a:pt x="101" y="4"/>
                    <a:pt x="100" y="4"/>
                    <a:pt x="99" y="5"/>
                  </a:cubicBezTo>
                  <a:cubicBezTo>
                    <a:pt x="94" y="9"/>
                    <a:pt x="94" y="9"/>
                    <a:pt x="94" y="9"/>
                  </a:cubicBezTo>
                  <a:cubicBezTo>
                    <a:pt x="94" y="6"/>
                    <a:pt x="94" y="6"/>
                    <a:pt x="94" y="6"/>
                  </a:cubicBezTo>
                  <a:cubicBezTo>
                    <a:pt x="94" y="6"/>
                    <a:pt x="94" y="6"/>
                    <a:pt x="94" y="6"/>
                  </a:cubicBezTo>
                  <a:cubicBezTo>
                    <a:pt x="93" y="9"/>
                    <a:pt x="92" y="11"/>
                    <a:pt x="92" y="15"/>
                  </a:cubicBezTo>
                  <a:cubicBezTo>
                    <a:pt x="93" y="15"/>
                    <a:pt x="93" y="15"/>
                    <a:pt x="93" y="15"/>
                  </a:cubicBezTo>
                  <a:cubicBezTo>
                    <a:pt x="93" y="15"/>
                    <a:pt x="93" y="15"/>
                    <a:pt x="93" y="15"/>
                  </a:cubicBezTo>
                  <a:cubicBezTo>
                    <a:pt x="96" y="17"/>
                    <a:pt x="97" y="18"/>
                    <a:pt x="97" y="19"/>
                  </a:cubicBezTo>
                  <a:cubicBezTo>
                    <a:pt x="100" y="23"/>
                    <a:pt x="100" y="23"/>
                    <a:pt x="100" y="23"/>
                  </a:cubicBezTo>
                  <a:cubicBezTo>
                    <a:pt x="94" y="24"/>
                    <a:pt x="94" y="24"/>
                    <a:pt x="94" y="24"/>
                  </a:cubicBezTo>
                  <a:cubicBezTo>
                    <a:pt x="92" y="25"/>
                    <a:pt x="90" y="25"/>
                    <a:pt x="89" y="25"/>
                  </a:cubicBezTo>
                  <a:cubicBezTo>
                    <a:pt x="88" y="25"/>
                    <a:pt x="88" y="25"/>
                    <a:pt x="88" y="25"/>
                  </a:cubicBezTo>
                  <a:cubicBezTo>
                    <a:pt x="89" y="30"/>
                    <a:pt x="89" y="30"/>
                    <a:pt x="89" y="30"/>
                  </a:cubicBezTo>
                  <a:cubicBezTo>
                    <a:pt x="86" y="25"/>
                    <a:pt x="86" y="25"/>
                    <a:pt x="86" y="25"/>
                  </a:cubicBezTo>
                  <a:cubicBezTo>
                    <a:pt x="86" y="25"/>
                    <a:pt x="86" y="25"/>
                    <a:pt x="86" y="25"/>
                  </a:cubicBezTo>
                  <a:cubicBezTo>
                    <a:pt x="84" y="26"/>
                    <a:pt x="84" y="27"/>
                    <a:pt x="83" y="29"/>
                  </a:cubicBezTo>
                  <a:cubicBezTo>
                    <a:pt x="83" y="31"/>
                    <a:pt x="83" y="31"/>
                    <a:pt x="83" y="31"/>
                  </a:cubicBezTo>
                  <a:cubicBezTo>
                    <a:pt x="83" y="32"/>
                    <a:pt x="83" y="33"/>
                    <a:pt x="83" y="33"/>
                  </a:cubicBezTo>
                  <a:cubicBezTo>
                    <a:pt x="82" y="37"/>
                    <a:pt x="82" y="40"/>
                    <a:pt x="81" y="43"/>
                  </a:cubicBezTo>
                  <a:cubicBezTo>
                    <a:pt x="79" y="50"/>
                    <a:pt x="79" y="50"/>
                    <a:pt x="79" y="50"/>
                  </a:cubicBezTo>
                  <a:cubicBezTo>
                    <a:pt x="79" y="51"/>
                    <a:pt x="79" y="51"/>
                    <a:pt x="79" y="52"/>
                  </a:cubicBezTo>
                  <a:cubicBezTo>
                    <a:pt x="79" y="53"/>
                    <a:pt x="79" y="53"/>
                    <a:pt x="79" y="53"/>
                  </a:cubicBezTo>
                  <a:cubicBezTo>
                    <a:pt x="79" y="54"/>
                    <a:pt x="78" y="55"/>
                    <a:pt x="78" y="56"/>
                  </a:cubicBezTo>
                  <a:cubicBezTo>
                    <a:pt x="79" y="57"/>
                    <a:pt x="80" y="58"/>
                    <a:pt x="80" y="59"/>
                  </a:cubicBezTo>
                  <a:cubicBezTo>
                    <a:pt x="80" y="60"/>
                    <a:pt x="80" y="60"/>
                    <a:pt x="80" y="60"/>
                  </a:cubicBezTo>
                  <a:cubicBezTo>
                    <a:pt x="81" y="61"/>
                    <a:pt x="82" y="63"/>
                    <a:pt x="83" y="65"/>
                  </a:cubicBezTo>
                  <a:cubicBezTo>
                    <a:pt x="84" y="66"/>
                    <a:pt x="84" y="66"/>
                    <a:pt x="84" y="66"/>
                  </a:cubicBezTo>
                  <a:cubicBezTo>
                    <a:pt x="84" y="67"/>
                    <a:pt x="85" y="69"/>
                    <a:pt x="85" y="70"/>
                  </a:cubicBezTo>
                  <a:cubicBezTo>
                    <a:pt x="86" y="70"/>
                    <a:pt x="86" y="70"/>
                    <a:pt x="86" y="71"/>
                  </a:cubicBezTo>
                  <a:cubicBezTo>
                    <a:pt x="87" y="73"/>
                    <a:pt x="87" y="75"/>
                    <a:pt x="87" y="77"/>
                  </a:cubicBezTo>
                  <a:cubicBezTo>
                    <a:pt x="87" y="78"/>
                    <a:pt x="87" y="80"/>
                    <a:pt x="87" y="82"/>
                  </a:cubicBezTo>
                  <a:cubicBezTo>
                    <a:pt x="86" y="85"/>
                    <a:pt x="85" y="88"/>
                    <a:pt x="84" y="91"/>
                  </a:cubicBezTo>
                  <a:cubicBezTo>
                    <a:pt x="81" y="101"/>
                    <a:pt x="81" y="101"/>
                    <a:pt x="81" y="101"/>
                  </a:cubicBezTo>
                  <a:cubicBezTo>
                    <a:pt x="80" y="104"/>
                    <a:pt x="79" y="107"/>
                    <a:pt x="78" y="110"/>
                  </a:cubicBezTo>
                  <a:cubicBezTo>
                    <a:pt x="78" y="111"/>
                    <a:pt x="78" y="111"/>
                    <a:pt x="78" y="111"/>
                  </a:cubicBezTo>
                  <a:cubicBezTo>
                    <a:pt x="78" y="111"/>
                    <a:pt x="78" y="112"/>
                    <a:pt x="77" y="112"/>
                  </a:cubicBezTo>
                  <a:cubicBezTo>
                    <a:pt x="77" y="113"/>
                    <a:pt x="77" y="113"/>
                    <a:pt x="77" y="113"/>
                  </a:cubicBezTo>
                  <a:cubicBezTo>
                    <a:pt x="77" y="115"/>
                    <a:pt x="77" y="115"/>
                    <a:pt x="77" y="115"/>
                  </a:cubicBezTo>
                  <a:cubicBezTo>
                    <a:pt x="76" y="116"/>
                    <a:pt x="76" y="116"/>
                    <a:pt x="76" y="117"/>
                  </a:cubicBezTo>
                  <a:cubicBezTo>
                    <a:pt x="76" y="118"/>
                    <a:pt x="76" y="118"/>
                    <a:pt x="76" y="118"/>
                  </a:cubicBezTo>
                  <a:cubicBezTo>
                    <a:pt x="75" y="119"/>
                    <a:pt x="75" y="119"/>
                    <a:pt x="75" y="119"/>
                  </a:cubicBezTo>
                  <a:cubicBezTo>
                    <a:pt x="75" y="121"/>
                    <a:pt x="74" y="124"/>
                    <a:pt x="73" y="126"/>
                  </a:cubicBezTo>
                  <a:cubicBezTo>
                    <a:pt x="73" y="127"/>
                    <a:pt x="72" y="128"/>
                    <a:pt x="71" y="129"/>
                  </a:cubicBezTo>
                  <a:cubicBezTo>
                    <a:pt x="72" y="132"/>
                    <a:pt x="72" y="132"/>
                    <a:pt x="72" y="132"/>
                  </a:cubicBezTo>
                  <a:cubicBezTo>
                    <a:pt x="70" y="129"/>
                    <a:pt x="70" y="129"/>
                    <a:pt x="70" y="129"/>
                  </a:cubicBezTo>
                  <a:cubicBezTo>
                    <a:pt x="66" y="131"/>
                    <a:pt x="66" y="131"/>
                    <a:pt x="66" y="131"/>
                  </a:cubicBezTo>
                  <a:cubicBezTo>
                    <a:pt x="58" y="133"/>
                    <a:pt x="50" y="136"/>
                    <a:pt x="43" y="139"/>
                  </a:cubicBezTo>
                  <a:cubicBezTo>
                    <a:pt x="3" y="152"/>
                    <a:pt x="3" y="152"/>
                    <a:pt x="3" y="152"/>
                  </a:cubicBezTo>
                  <a:cubicBezTo>
                    <a:pt x="2" y="153"/>
                    <a:pt x="1" y="153"/>
                    <a:pt x="0" y="153"/>
                  </a:cubicBezTo>
                  <a:cubicBezTo>
                    <a:pt x="8" y="170"/>
                    <a:pt x="8" y="170"/>
                    <a:pt x="8" y="170"/>
                  </a:cubicBezTo>
                  <a:cubicBezTo>
                    <a:pt x="14" y="184"/>
                    <a:pt x="20" y="198"/>
                    <a:pt x="26" y="211"/>
                  </a:cubicBezTo>
                  <a:cubicBezTo>
                    <a:pt x="30" y="210"/>
                    <a:pt x="35" y="207"/>
                    <a:pt x="37" y="206"/>
                  </a:cubicBezTo>
                  <a:cubicBezTo>
                    <a:pt x="43" y="204"/>
                    <a:pt x="48" y="202"/>
                    <a:pt x="55" y="202"/>
                  </a:cubicBezTo>
                  <a:cubicBezTo>
                    <a:pt x="55" y="202"/>
                    <a:pt x="55" y="202"/>
                    <a:pt x="55" y="202"/>
                  </a:cubicBezTo>
                  <a:cubicBezTo>
                    <a:pt x="57" y="202"/>
                    <a:pt x="59" y="202"/>
                    <a:pt x="61" y="202"/>
                  </a:cubicBezTo>
                  <a:cubicBezTo>
                    <a:pt x="63" y="203"/>
                    <a:pt x="65" y="203"/>
                    <a:pt x="67" y="203"/>
                  </a:cubicBezTo>
                  <a:cubicBezTo>
                    <a:pt x="68" y="203"/>
                    <a:pt x="69" y="203"/>
                    <a:pt x="70" y="202"/>
                  </a:cubicBezTo>
                  <a:cubicBezTo>
                    <a:pt x="70" y="202"/>
                    <a:pt x="70" y="202"/>
                    <a:pt x="71" y="202"/>
                  </a:cubicBezTo>
                  <a:cubicBezTo>
                    <a:pt x="79" y="197"/>
                    <a:pt x="73" y="184"/>
                    <a:pt x="83" y="180"/>
                  </a:cubicBezTo>
                  <a:cubicBezTo>
                    <a:pt x="85" y="180"/>
                    <a:pt x="88" y="180"/>
                    <a:pt x="90" y="180"/>
                  </a:cubicBezTo>
                  <a:cubicBezTo>
                    <a:pt x="93" y="179"/>
                    <a:pt x="96" y="180"/>
                    <a:pt x="98" y="179"/>
                  </a:cubicBezTo>
                  <a:cubicBezTo>
                    <a:pt x="100" y="177"/>
                    <a:pt x="105" y="176"/>
                    <a:pt x="107" y="174"/>
                  </a:cubicBezTo>
                  <a:cubicBezTo>
                    <a:pt x="109" y="173"/>
                    <a:pt x="108" y="173"/>
                    <a:pt x="108" y="172"/>
                  </a:cubicBezTo>
                  <a:cubicBezTo>
                    <a:pt x="109" y="171"/>
                    <a:pt x="109" y="169"/>
                    <a:pt x="110" y="168"/>
                  </a:cubicBezTo>
                  <a:cubicBezTo>
                    <a:pt x="111" y="165"/>
                    <a:pt x="113" y="161"/>
                    <a:pt x="114" y="158"/>
                  </a:cubicBezTo>
                  <a:cubicBezTo>
                    <a:pt x="115" y="157"/>
                    <a:pt x="121" y="156"/>
                    <a:pt x="122" y="156"/>
                  </a:cubicBezTo>
                  <a:cubicBezTo>
                    <a:pt x="126" y="155"/>
                    <a:pt x="138" y="153"/>
                    <a:pt x="140" y="151"/>
                  </a:cubicBezTo>
                  <a:cubicBezTo>
                    <a:pt x="140" y="151"/>
                    <a:pt x="140" y="151"/>
                    <a:pt x="140" y="151"/>
                  </a:cubicBezTo>
                  <a:cubicBezTo>
                    <a:pt x="140" y="151"/>
                    <a:pt x="139" y="150"/>
                    <a:pt x="139" y="149"/>
                  </a:cubicBezTo>
                  <a:cubicBezTo>
                    <a:pt x="139" y="148"/>
                    <a:pt x="139" y="147"/>
                    <a:pt x="139" y="147"/>
                  </a:cubicBezTo>
                  <a:cubicBezTo>
                    <a:pt x="139" y="147"/>
                    <a:pt x="139" y="147"/>
                    <a:pt x="139" y="147"/>
                  </a:cubicBezTo>
                  <a:cubicBezTo>
                    <a:pt x="139" y="147"/>
                    <a:pt x="138" y="146"/>
                    <a:pt x="137" y="145"/>
                  </a:cubicBezTo>
                  <a:cubicBezTo>
                    <a:pt x="137" y="143"/>
                    <a:pt x="138" y="142"/>
                    <a:pt x="138" y="141"/>
                  </a:cubicBezTo>
                  <a:cubicBezTo>
                    <a:pt x="138" y="139"/>
                    <a:pt x="136" y="137"/>
                    <a:pt x="136" y="134"/>
                  </a:cubicBezTo>
                  <a:cubicBezTo>
                    <a:pt x="137" y="132"/>
                    <a:pt x="138" y="129"/>
                    <a:pt x="139" y="126"/>
                  </a:cubicBezTo>
                  <a:cubicBezTo>
                    <a:pt x="141" y="122"/>
                    <a:pt x="143" y="112"/>
                    <a:pt x="148" y="111"/>
                  </a:cubicBezTo>
                  <a:cubicBezTo>
                    <a:pt x="148" y="111"/>
                    <a:pt x="149" y="111"/>
                    <a:pt x="149" y="111"/>
                  </a:cubicBezTo>
                  <a:cubicBezTo>
                    <a:pt x="150" y="111"/>
                    <a:pt x="151" y="111"/>
                    <a:pt x="149" y="113"/>
                  </a:cubicBezTo>
                  <a:cubicBezTo>
                    <a:pt x="147" y="116"/>
                    <a:pt x="149" y="116"/>
                    <a:pt x="151" y="116"/>
                  </a:cubicBezTo>
                  <a:cubicBezTo>
                    <a:pt x="152" y="116"/>
                    <a:pt x="153" y="116"/>
                    <a:pt x="153" y="116"/>
                  </a:cubicBezTo>
                  <a:cubicBezTo>
                    <a:pt x="157" y="115"/>
                    <a:pt x="156" y="115"/>
                    <a:pt x="157" y="113"/>
                  </a:cubicBezTo>
                  <a:cubicBezTo>
                    <a:pt x="158" y="111"/>
                    <a:pt x="160" y="109"/>
                    <a:pt x="161" y="107"/>
                  </a:cubicBezTo>
                  <a:cubicBezTo>
                    <a:pt x="165" y="102"/>
                    <a:pt x="165" y="97"/>
                    <a:pt x="170" y="94"/>
                  </a:cubicBezTo>
                  <a:cubicBezTo>
                    <a:pt x="174" y="91"/>
                    <a:pt x="177" y="89"/>
                    <a:pt x="179" y="85"/>
                  </a:cubicBezTo>
                  <a:cubicBezTo>
                    <a:pt x="181" y="82"/>
                    <a:pt x="185" y="78"/>
                    <a:pt x="185" y="75"/>
                  </a:cubicBezTo>
                  <a:cubicBezTo>
                    <a:pt x="186" y="71"/>
                    <a:pt x="189" y="69"/>
                    <a:pt x="189" y="65"/>
                  </a:cubicBezTo>
                  <a:cubicBezTo>
                    <a:pt x="189" y="61"/>
                    <a:pt x="188" y="61"/>
                    <a:pt x="185" y="60"/>
                  </a:cubicBezTo>
                  <a:cubicBezTo>
                    <a:pt x="182" y="60"/>
                    <a:pt x="181" y="60"/>
                    <a:pt x="179" y="58"/>
                  </a:cubicBezTo>
                  <a:cubicBezTo>
                    <a:pt x="177" y="56"/>
                    <a:pt x="176" y="55"/>
                    <a:pt x="175" y="53"/>
                  </a:cubicBezTo>
                  <a:cubicBezTo>
                    <a:pt x="174" y="51"/>
                    <a:pt x="172" y="49"/>
                    <a:pt x="170" y="47"/>
                  </a:cubicBezTo>
                  <a:cubicBezTo>
                    <a:pt x="168" y="44"/>
                    <a:pt x="166" y="41"/>
                    <a:pt x="163" y="38"/>
                  </a:cubicBezTo>
                  <a:cubicBezTo>
                    <a:pt x="162" y="37"/>
                    <a:pt x="160" y="33"/>
                    <a:pt x="158" y="32"/>
                  </a:cubicBezTo>
                  <a:cubicBezTo>
                    <a:pt x="158" y="32"/>
                    <a:pt x="157" y="32"/>
                    <a:pt x="157" y="32"/>
                  </a:cubicBezTo>
                  <a:cubicBezTo>
                    <a:pt x="156" y="32"/>
                    <a:pt x="156" y="32"/>
                    <a:pt x="155" y="33"/>
                  </a:cubicBezTo>
                  <a:cubicBezTo>
                    <a:pt x="154" y="33"/>
                    <a:pt x="154" y="33"/>
                    <a:pt x="154" y="33"/>
                  </a:cubicBezTo>
                  <a:cubicBezTo>
                    <a:pt x="152" y="33"/>
                    <a:pt x="151" y="32"/>
                    <a:pt x="149" y="31"/>
                  </a:cubicBezTo>
                  <a:cubicBezTo>
                    <a:pt x="145" y="30"/>
                    <a:pt x="142" y="30"/>
                    <a:pt x="139" y="29"/>
                  </a:cubicBezTo>
                  <a:cubicBezTo>
                    <a:pt x="133" y="26"/>
                    <a:pt x="125" y="26"/>
                    <a:pt x="120" y="22"/>
                  </a:cubicBezTo>
                  <a:cubicBezTo>
                    <a:pt x="117" y="20"/>
                    <a:pt x="116" y="18"/>
                    <a:pt x="115" y="16"/>
                  </a:cubicBezTo>
                  <a:cubicBezTo>
                    <a:pt x="113" y="14"/>
                    <a:pt x="111" y="12"/>
                    <a:pt x="109" y="10"/>
                  </a:cubicBezTo>
                  <a:cubicBezTo>
                    <a:pt x="108" y="8"/>
                    <a:pt x="108" y="6"/>
                    <a:pt x="107" y="5"/>
                  </a:cubicBezTo>
                  <a:cubicBezTo>
                    <a:pt x="106" y="4"/>
                    <a:pt x="106" y="3"/>
                    <a:pt x="106" y="1"/>
                  </a:cubicBezTo>
                  <a:cubicBezTo>
                    <a:pt x="105" y="0"/>
                    <a:pt x="105" y="0"/>
                    <a:pt x="1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544"/>
            <p:cNvSpPr/>
            <p:nvPr/>
          </p:nvSpPr>
          <p:spPr bwMode="auto">
            <a:xfrm>
              <a:off x="965953" y="4358443"/>
              <a:ext cx="809905" cy="499643"/>
            </a:xfrm>
            <a:custGeom>
              <a:gdLst>
                <a:gd name="T0" fmla="*/ 218 w 255"/>
                <a:gd name="T1" fmla="*/ 2 h 157"/>
                <a:gd name="T2" fmla="*/ 182 w 255"/>
                <a:gd name="T3" fmla="*/ 7 h 157"/>
                <a:gd name="T4" fmla="*/ 151 w 255"/>
                <a:gd name="T5" fmla="*/ 14 h 157"/>
                <a:gd name="T6" fmla="*/ 139 w 255"/>
                <a:gd name="T7" fmla="*/ 20 h 157"/>
                <a:gd name="T8" fmla="*/ 117 w 255"/>
                <a:gd name="T9" fmla="*/ 49 h 157"/>
                <a:gd name="T10" fmla="*/ 112 w 255"/>
                <a:gd name="T11" fmla="*/ 51 h 157"/>
                <a:gd name="T12" fmla="*/ 109 w 255"/>
                <a:gd name="T13" fmla="*/ 51 h 157"/>
                <a:gd name="T14" fmla="*/ 104 w 255"/>
                <a:gd name="T15" fmla="*/ 48 h 157"/>
                <a:gd name="T16" fmla="*/ 100 w 255"/>
                <a:gd name="T17" fmla="*/ 43 h 157"/>
                <a:gd name="T18" fmla="*/ 98 w 255"/>
                <a:gd name="T19" fmla="*/ 43 h 157"/>
                <a:gd name="T20" fmla="*/ 85 w 255"/>
                <a:gd name="T21" fmla="*/ 42 h 157"/>
                <a:gd name="T22" fmla="*/ 58 w 255"/>
                <a:gd name="T23" fmla="*/ 40 h 157"/>
                <a:gd name="T24" fmla="*/ 45 w 255"/>
                <a:gd name="T25" fmla="*/ 41 h 157"/>
                <a:gd name="T26" fmla="*/ 41 w 255"/>
                <a:gd name="T27" fmla="*/ 42 h 157"/>
                <a:gd name="T28" fmla="*/ 35 w 255"/>
                <a:gd name="T29" fmla="*/ 43 h 157"/>
                <a:gd name="T30" fmla="*/ 30 w 255"/>
                <a:gd name="T31" fmla="*/ 42 h 157"/>
                <a:gd name="T32" fmla="*/ 24 w 255"/>
                <a:gd name="T33" fmla="*/ 38 h 157"/>
                <a:gd name="T34" fmla="*/ 20 w 255"/>
                <a:gd name="T35" fmla="*/ 38 h 157"/>
                <a:gd name="T36" fmla="*/ 19 w 255"/>
                <a:gd name="T37" fmla="*/ 38 h 157"/>
                <a:gd name="T38" fmla="*/ 16 w 255"/>
                <a:gd name="T39" fmla="*/ 46 h 157"/>
                <a:gd name="T40" fmla="*/ 16 w 255"/>
                <a:gd name="T41" fmla="*/ 47 h 157"/>
                <a:gd name="T42" fmla="*/ 15 w 255"/>
                <a:gd name="T43" fmla="*/ 49 h 157"/>
                <a:gd name="T44" fmla="*/ 16 w 255"/>
                <a:gd name="T45" fmla="*/ 51 h 157"/>
                <a:gd name="T46" fmla="*/ 13 w 255"/>
                <a:gd name="T47" fmla="*/ 60 h 157"/>
                <a:gd name="T48" fmla="*/ 8 w 255"/>
                <a:gd name="T49" fmla="*/ 64 h 157"/>
                <a:gd name="T50" fmla="*/ 5 w 255"/>
                <a:gd name="T51" fmla="*/ 67 h 157"/>
                <a:gd name="T52" fmla="*/ 5 w 255"/>
                <a:gd name="T53" fmla="*/ 75 h 157"/>
                <a:gd name="T54" fmla="*/ 4 w 255"/>
                <a:gd name="T55" fmla="*/ 85 h 157"/>
                <a:gd name="T56" fmla="*/ 3 w 255"/>
                <a:gd name="T57" fmla="*/ 91 h 157"/>
                <a:gd name="T58" fmla="*/ 1 w 255"/>
                <a:gd name="T59" fmla="*/ 93 h 157"/>
                <a:gd name="T60" fmla="*/ 2 w 255"/>
                <a:gd name="T61" fmla="*/ 93 h 157"/>
                <a:gd name="T62" fmla="*/ 4 w 255"/>
                <a:gd name="T63" fmla="*/ 94 h 157"/>
                <a:gd name="T64" fmla="*/ 9 w 255"/>
                <a:gd name="T65" fmla="*/ 113 h 157"/>
                <a:gd name="T66" fmla="*/ 15 w 255"/>
                <a:gd name="T67" fmla="*/ 139 h 157"/>
                <a:gd name="T68" fmla="*/ 21 w 255"/>
                <a:gd name="T69" fmla="*/ 156 h 157"/>
                <a:gd name="T70" fmla="*/ 37 w 255"/>
                <a:gd name="T71" fmla="*/ 156 h 157"/>
                <a:gd name="T72" fmla="*/ 43 w 255"/>
                <a:gd name="T73" fmla="*/ 156 h 157"/>
                <a:gd name="T74" fmla="*/ 47 w 255"/>
                <a:gd name="T75" fmla="*/ 155 h 157"/>
                <a:gd name="T76" fmla="*/ 52 w 255"/>
                <a:gd name="T77" fmla="*/ 154 h 157"/>
                <a:gd name="T78" fmla="*/ 60 w 255"/>
                <a:gd name="T79" fmla="*/ 154 h 157"/>
                <a:gd name="T80" fmla="*/ 82 w 255"/>
                <a:gd name="T81" fmla="*/ 138 h 157"/>
                <a:gd name="T82" fmla="*/ 128 w 255"/>
                <a:gd name="T83" fmla="*/ 125 h 157"/>
                <a:gd name="T84" fmla="*/ 139 w 255"/>
                <a:gd name="T85" fmla="*/ 123 h 157"/>
                <a:gd name="T86" fmla="*/ 149 w 255"/>
                <a:gd name="T87" fmla="*/ 122 h 157"/>
                <a:gd name="T88" fmla="*/ 167 w 255"/>
                <a:gd name="T89" fmla="*/ 107 h 157"/>
                <a:gd name="T90" fmla="*/ 198 w 255"/>
                <a:gd name="T91" fmla="*/ 97 h 157"/>
                <a:gd name="T92" fmla="*/ 229 w 255"/>
                <a:gd name="T93" fmla="*/ 86 h 157"/>
                <a:gd name="T94" fmla="*/ 236 w 255"/>
                <a:gd name="T95" fmla="*/ 79 h 157"/>
                <a:gd name="T96" fmla="*/ 235 w 255"/>
                <a:gd name="T97" fmla="*/ 76 h 157"/>
                <a:gd name="T98" fmla="*/ 248 w 255"/>
                <a:gd name="T99" fmla="*/ 60 h 157"/>
                <a:gd name="T100" fmla="*/ 237 w 255"/>
                <a:gd name="T101" fmla="*/ 16 h 1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5" h="157">
                  <a:moveTo>
                    <a:pt x="229" y="0"/>
                  </a:moveTo>
                  <a:cubicBezTo>
                    <a:pt x="225" y="1"/>
                    <a:pt x="222" y="1"/>
                    <a:pt x="218" y="2"/>
                  </a:cubicBezTo>
                  <a:cubicBezTo>
                    <a:pt x="207" y="4"/>
                    <a:pt x="196" y="5"/>
                    <a:pt x="187" y="7"/>
                  </a:cubicBezTo>
                  <a:cubicBezTo>
                    <a:pt x="182" y="7"/>
                    <a:pt x="182" y="7"/>
                    <a:pt x="182" y="7"/>
                  </a:cubicBezTo>
                  <a:cubicBezTo>
                    <a:pt x="173" y="7"/>
                    <a:pt x="164" y="8"/>
                    <a:pt x="156" y="12"/>
                  </a:cubicBezTo>
                  <a:cubicBezTo>
                    <a:pt x="155" y="13"/>
                    <a:pt x="153" y="13"/>
                    <a:pt x="151" y="14"/>
                  </a:cubicBezTo>
                  <a:cubicBezTo>
                    <a:pt x="147" y="16"/>
                    <a:pt x="142" y="17"/>
                    <a:pt x="140" y="20"/>
                  </a:cubicBezTo>
                  <a:cubicBezTo>
                    <a:pt x="139" y="20"/>
                    <a:pt x="139" y="20"/>
                    <a:pt x="139" y="20"/>
                  </a:cubicBezTo>
                  <a:cubicBezTo>
                    <a:pt x="123" y="44"/>
                    <a:pt x="123" y="44"/>
                    <a:pt x="123" y="44"/>
                  </a:cubicBezTo>
                  <a:cubicBezTo>
                    <a:pt x="122" y="46"/>
                    <a:pt x="119" y="48"/>
                    <a:pt x="117" y="49"/>
                  </a:cubicBezTo>
                  <a:cubicBezTo>
                    <a:pt x="115" y="50"/>
                    <a:pt x="114" y="50"/>
                    <a:pt x="113" y="51"/>
                  </a:cubicBezTo>
                  <a:cubicBezTo>
                    <a:pt x="112" y="51"/>
                    <a:pt x="112" y="51"/>
                    <a:pt x="112" y="51"/>
                  </a:cubicBezTo>
                  <a:cubicBezTo>
                    <a:pt x="111" y="51"/>
                    <a:pt x="111" y="51"/>
                    <a:pt x="110" y="51"/>
                  </a:cubicBezTo>
                  <a:cubicBezTo>
                    <a:pt x="109" y="51"/>
                    <a:pt x="109" y="51"/>
                    <a:pt x="109" y="51"/>
                  </a:cubicBezTo>
                  <a:cubicBezTo>
                    <a:pt x="109" y="51"/>
                    <a:pt x="109" y="51"/>
                    <a:pt x="109" y="51"/>
                  </a:cubicBezTo>
                  <a:cubicBezTo>
                    <a:pt x="107" y="51"/>
                    <a:pt x="105" y="50"/>
                    <a:pt x="104" y="48"/>
                  </a:cubicBezTo>
                  <a:cubicBezTo>
                    <a:pt x="103" y="48"/>
                    <a:pt x="103" y="47"/>
                    <a:pt x="102" y="46"/>
                  </a:cubicBezTo>
                  <a:cubicBezTo>
                    <a:pt x="101" y="44"/>
                    <a:pt x="100" y="43"/>
                    <a:pt x="100" y="43"/>
                  </a:cubicBezTo>
                  <a:cubicBezTo>
                    <a:pt x="100" y="43"/>
                    <a:pt x="100" y="43"/>
                    <a:pt x="99" y="43"/>
                  </a:cubicBezTo>
                  <a:cubicBezTo>
                    <a:pt x="98" y="43"/>
                    <a:pt x="98" y="43"/>
                    <a:pt x="98" y="43"/>
                  </a:cubicBezTo>
                  <a:cubicBezTo>
                    <a:pt x="94" y="43"/>
                    <a:pt x="90" y="42"/>
                    <a:pt x="86" y="42"/>
                  </a:cubicBezTo>
                  <a:cubicBezTo>
                    <a:pt x="85" y="42"/>
                    <a:pt x="85" y="42"/>
                    <a:pt x="85" y="42"/>
                  </a:cubicBezTo>
                  <a:cubicBezTo>
                    <a:pt x="77" y="41"/>
                    <a:pt x="70" y="40"/>
                    <a:pt x="62" y="40"/>
                  </a:cubicBezTo>
                  <a:cubicBezTo>
                    <a:pt x="61" y="40"/>
                    <a:pt x="59" y="40"/>
                    <a:pt x="58" y="40"/>
                  </a:cubicBezTo>
                  <a:cubicBezTo>
                    <a:pt x="54" y="40"/>
                    <a:pt x="51" y="40"/>
                    <a:pt x="47" y="41"/>
                  </a:cubicBezTo>
                  <a:cubicBezTo>
                    <a:pt x="45" y="41"/>
                    <a:pt x="45" y="41"/>
                    <a:pt x="45" y="41"/>
                  </a:cubicBezTo>
                  <a:cubicBezTo>
                    <a:pt x="44" y="41"/>
                    <a:pt x="43" y="41"/>
                    <a:pt x="42" y="42"/>
                  </a:cubicBezTo>
                  <a:cubicBezTo>
                    <a:pt x="42" y="42"/>
                    <a:pt x="41" y="42"/>
                    <a:pt x="41" y="42"/>
                  </a:cubicBezTo>
                  <a:cubicBezTo>
                    <a:pt x="39" y="42"/>
                    <a:pt x="39" y="42"/>
                    <a:pt x="39" y="42"/>
                  </a:cubicBezTo>
                  <a:cubicBezTo>
                    <a:pt x="38" y="42"/>
                    <a:pt x="36" y="43"/>
                    <a:pt x="35" y="43"/>
                  </a:cubicBezTo>
                  <a:cubicBezTo>
                    <a:pt x="33" y="43"/>
                    <a:pt x="32" y="42"/>
                    <a:pt x="31" y="42"/>
                  </a:cubicBezTo>
                  <a:cubicBezTo>
                    <a:pt x="30" y="42"/>
                    <a:pt x="30" y="42"/>
                    <a:pt x="30" y="42"/>
                  </a:cubicBezTo>
                  <a:cubicBezTo>
                    <a:pt x="27" y="41"/>
                    <a:pt x="25" y="40"/>
                    <a:pt x="24" y="39"/>
                  </a:cubicBezTo>
                  <a:cubicBezTo>
                    <a:pt x="24" y="38"/>
                    <a:pt x="24" y="38"/>
                    <a:pt x="24" y="38"/>
                  </a:cubicBezTo>
                  <a:cubicBezTo>
                    <a:pt x="23" y="38"/>
                    <a:pt x="23" y="38"/>
                    <a:pt x="22" y="38"/>
                  </a:cubicBezTo>
                  <a:cubicBezTo>
                    <a:pt x="21" y="38"/>
                    <a:pt x="21" y="38"/>
                    <a:pt x="20" y="38"/>
                  </a:cubicBezTo>
                  <a:cubicBezTo>
                    <a:pt x="20" y="38"/>
                    <a:pt x="20" y="38"/>
                    <a:pt x="20" y="38"/>
                  </a:cubicBezTo>
                  <a:cubicBezTo>
                    <a:pt x="19" y="38"/>
                    <a:pt x="19" y="38"/>
                    <a:pt x="19" y="38"/>
                  </a:cubicBezTo>
                  <a:cubicBezTo>
                    <a:pt x="18" y="39"/>
                    <a:pt x="18" y="41"/>
                    <a:pt x="17" y="44"/>
                  </a:cubicBezTo>
                  <a:cubicBezTo>
                    <a:pt x="16" y="45"/>
                    <a:pt x="16" y="45"/>
                    <a:pt x="16" y="46"/>
                  </a:cubicBezTo>
                  <a:cubicBezTo>
                    <a:pt x="16" y="46"/>
                    <a:pt x="16" y="46"/>
                    <a:pt x="16" y="47"/>
                  </a:cubicBezTo>
                  <a:cubicBezTo>
                    <a:pt x="16" y="47"/>
                    <a:pt x="16" y="47"/>
                    <a:pt x="16" y="47"/>
                  </a:cubicBezTo>
                  <a:cubicBezTo>
                    <a:pt x="16" y="47"/>
                    <a:pt x="16" y="47"/>
                    <a:pt x="16" y="47"/>
                  </a:cubicBezTo>
                  <a:cubicBezTo>
                    <a:pt x="15" y="49"/>
                    <a:pt x="15" y="49"/>
                    <a:pt x="15" y="49"/>
                  </a:cubicBezTo>
                  <a:cubicBezTo>
                    <a:pt x="16" y="49"/>
                    <a:pt x="16" y="50"/>
                    <a:pt x="16" y="50"/>
                  </a:cubicBezTo>
                  <a:cubicBezTo>
                    <a:pt x="16" y="51"/>
                    <a:pt x="16" y="51"/>
                    <a:pt x="16" y="51"/>
                  </a:cubicBezTo>
                  <a:cubicBezTo>
                    <a:pt x="17" y="54"/>
                    <a:pt x="18" y="57"/>
                    <a:pt x="15" y="59"/>
                  </a:cubicBezTo>
                  <a:cubicBezTo>
                    <a:pt x="15" y="59"/>
                    <a:pt x="14" y="60"/>
                    <a:pt x="13" y="60"/>
                  </a:cubicBezTo>
                  <a:cubicBezTo>
                    <a:pt x="13" y="60"/>
                    <a:pt x="13" y="60"/>
                    <a:pt x="13" y="60"/>
                  </a:cubicBezTo>
                  <a:cubicBezTo>
                    <a:pt x="9" y="63"/>
                    <a:pt x="8" y="64"/>
                    <a:pt x="8" y="64"/>
                  </a:cubicBezTo>
                  <a:cubicBezTo>
                    <a:pt x="8" y="64"/>
                    <a:pt x="8" y="64"/>
                    <a:pt x="8" y="64"/>
                  </a:cubicBezTo>
                  <a:cubicBezTo>
                    <a:pt x="5" y="67"/>
                    <a:pt x="5" y="67"/>
                    <a:pt x="5" y="67"/>
                  </a:cubicBezTo>
                  <a:cubicBezTo>
                    <a:pt x="4" y="66"/>
                    <a:pt x="4" y="66"/>
                    <a:pt x="4" y="66"/>
                  </a:cubicBezTo>
                  <a:cubicBezTo>
                    <a:pt x="5" y="69"/>
                    <a:pt x="5" y="72"/>
                    <a:pt x="5" y="75"/>
                  </a:cubicBezTo>
                  <a:cubicBezTo>
                    <a:pt x="5" y="76"/>
                    <a:pt x="4" y="77"/>
                    <a:pt x="4" y="78"/>
                  </a:cubicBezTo>
                  <a:cubicBezTo>
                    <a:pt x="4" y="80"/>
                    <a:pt x="4" y="83"/>
                    <a:pt x="4" y="85"/>
                  </a:cubicBezTo>
                  <a:cubicBezTo>
                    <a:pt x="4" y="87"/>
                    <a:pt x="5" y="90"/>
                    <a:pt x="4" y="93"/>
                  </a:cubicBezTo>
                  <a:cubicBezTo>
                    <a:pt x="4" y="93"/>
                    <a:pt x="4" y="91"/>
                    <a:pt x="3" y="91"/>
                  </a:cubicBezTo>
                  <a:cubicBezTo>
                    <a:pt x="3" y="91"/>
                    <a:pt x="3" y="91"/>
                    <a:pt x="3" y="91"/>
                  </a:cubicBezTo>
                  <a:cubicBezTo>
                    <a:pt x="0" y="92"/>
                    <a:pt x="0" y="92"/>
                    <a:pt x="1" y="93"/>
                  </a:cubicBezTo>
                  <a:cubicBezTo>
                    <a:pt x="1" y="93"/>
                    <a:pt x="1" y="93"/>
                    <a:pt x="1" y="93"/>
                  </a:cubicBezTo>
                  <a:cubicBezTo>
                    <a:pt x="2" y="93"/>
                    <a:pt x="2" y="93"/>
                    <a:pt x="2" y="93"/>
                  </a:cubicBezTo>
                  <a:cubicBezTo>
                    <a:pt x="2" y="93"/>
                    <a:pt x="2" y="93"/>
                    <a:pt x="3" y="93"/>
                  </a:cubicBezTo>
                  <a:cubicBezTo>
                    <a:pt x="3" y="93"/>
                    <a:pt x="4" y="93"/>
                    <a:pt x="4" y="94"/>
                  </a:cubicBezTo>
                  <a:cubicBezTo>
                    <a:pt x="6" y="95"/>
                    <a:pt x="6" y="102"/>
                    <a:pt x="7" y="104"/>
                  </a:cubicBezTo>
                  <a:cubicBezTo>
                    <a:pt x="8" y="107"/>
                    <a:pt x="8" y="110"/>
                    <a:pt x="9" y="113"/>
                  </a:cubicBezTo>
                  <a:cubicBezTo>
                    <a:pt x="10" y="119"/>
                    <a:pt x="12" y="123"/>
                    <a:pt x="14" y="128"/>
                  </a:cubicBezTo>
                  <a:cubicBezTo>
                    <a:pt x="17" y="132"/>
                    <a:pt x="16" y="134"/>
                    <a:pt x="15" y="139"/>
                  </a:cubicBezTo>
                  <a:cubicBezTo>
                    <a:pt x="15" y="140"/>
                    <a:pt x="15" y="141"/>
                    <a:pt x="15" y="142"/>
                  </a:cubicBezTo>
                  <a:cubicBezTo>
                    <a:pt x="16" y="147"/>
                    <a:pt x="19" y="152"/>
                    <a:pt x="21" y="156"/>
                  </a:cubicBezTo>
                  <a:cubicBezTo>
                    <a:pt x="21" y="156"/>
                    <a:pt x="24" y="157"/>
                    <a:pt x="28" y="157"/>
                  </a:cubicBezTo>
                  <a:cubicBezTo>
                    <a:pt x="31" y="157"/>
                    <a:pt x="34" y="157"/>
                    <a:pt x="37" y="156"/>
                  </a:cubicBezTo>
                  <a:cubicBezTo>
                    <a:pt x="40" y="156"/>
                    <a:pt x="42" y="156"/>
                    <a:pt x="43" y="156"/>
                  </a:cubicBezTo>
                  <a:cubicBezTo>
                    <a:pt x="43" y="156"/>
                    <a:pt x="43" y="156"/>
                    <a:pt x="43" y="156"/>
                  </a:cubicBezTo>
                  <a:cubicBezTo>
                    <a:pt x="43" y="156"/>
                    <a:pt x="43" y="156"/>
                    <a:pt x="43" y="156"/>
                  </a:cubicBezTo>
                  <a:cubicBezTo>
                    <a:pt x="45" y="156"/>
                    <a:pt x="46" y="156"/>
                    <a:pt x="47" y="155"/>
                  </a:cubicBezTo>
                  <a:cubicBezTo>
                    <a:pt x="49" y="154"/>
                    <a:pt x="50" y="154"/>
                    <a:pt x="51" y="154"/>
                  </a:cubicBezTo>
                  <a:cubicBezTo>
                    <a:pt x="51" y="154"/>
                    <a:pt x="52" y="154"/>
                    <a:pt x="52" y="154"/>
                  </a:cubicBezTo>
                  <a:cubicBezTo>
                    <a:pt x="54" y="154"/>
                    <a:pt x="56" y="154"/>
                    <a:pt x="59" y="154"/>
                  </a:cubicBezTo>
                  <a:cubicBezTo>
                    <a:pt x="59" y="154"/>
                    <a:pt x="60" y="154"/>
                    <a:pt x="60" y="154"/>
                  </a:cubicBezTo>
                  <a:cubicBezTo>
                    <a:pt x="59" y="148"/>
                    <a:pt x="68" y="146"/>
                    <a:pt x="72" y="142"/>
                  </a:cubicBezTo>
                  <a:cubicBezTo>
                    <a:pt x="75" y="139"/>
                    <a:pt x="77" y="139"/>
                    <a:pt x="82" y="138"/>
                  </a:cubicBezTo>
                  <a:cubicBezTo>
                    <a:pt x="91" y="137"/>
                    <a:pt x="101" y="135"/>
                    <a:pt x="111" y="133"/>
                  </a:cubicBezTo>
                  <a:cubicBezTo>
                    <a:pt x="118" y="132"/>
                    <a:pt x="122" y="128"/>
                    <a:pt x="128" y="125"/>
                  </a:cubicBezTo>
                  <a:cubicBezTo>
                    <a:pt x="131" y="123"/>
                    <a:pt x="132" y="122"/>
                    <a:pt x="134" y="122"/>
                  </a:cubicBezTo>
                  <a:cubicBezTo>
                    <a:pt x="135" y="122"/>
                    <a:pt x="137" y="123"/>
                    <a:pt x="139" y="123"/>
                  </a:cubicBezTo>
                  <a:cubicBezTo>
                    <a:pt x="140" y="123"/>
                    <a:pt x="141" y="123"/>
                    <a:pt x="142" y="123"/>
                  </a:cubicBezTo>
                  <a:cubicBezTo>
                    <a:pt x="145" y="123"/>
                    <a:pt x="148" y="123"/>
                    <a:pt x="149" y="122"/>
                  </a:cubicBezTo>
                  <a:cubicBezTo>
                    <a:pt x="152" y="119"/>
                    <a:pt x="154" y="116"/>
                    <a:pt x="157" y="113"/>
                  </a:cubicBezTo>
                  <a:cubicBezTo>
                    <a:pt x="160" y="110"/>
                    <a:pt x="163" y="108"/>
                    <a:pt x="167" y="107"/>
                  </a:cubicBezTo>
                  <a:cubicBezTo>
                    <a:pt x="171" y="105"/>
                    <a:pt x="174" y="104"/>
                    <a:pt x="177" y="103"/>
                  </a:cubicBezTo>
                  <a:cubicBezTo>
                    <a:pt x="184" y="101"/>
                    <a:pt x="191" y="100"/>
                    <a:pt x="198" y="97"/>
                  </a:cubicBezTo>
                  <a:cubicBezTo>
                    <a:pt x="204" y="95"/>
                    <a:pt x="210" y="94"/>
                    <a:pt x="215" y="92"/>
                  </a:cubicBezTo>
                  <a:cubicBezTo>
                    <a:pt x="220" y="90"/>
                    <a:pt x="224" y="88"/>
                    <a:pt x="229" y="86"/>
                  </a:cubicBezTo>
                  <a:cubicBezTo>
                    <a:pt x="230" y="85"/>
                    <a:pt x="236" y="84"/>
                    <a:pt x="237" y="82"/>
                  </a:cubicBezTo>
                  <a:cubicBezTo>
                    <a:pt x="237" y="81"/>
                    <a:pt x="236" y="80"/>
                    <a:pt x="236" y="79"/>
                  </a:cubicBezTo>
                  <a:cubicBezTo>
                    <a:pt x="236" y="78"/>
                    <a:pt x="237" y="78"/>
                    <a:pt x="236" y="77"/>
                  </a:cubicBezTo>
                  <a:cubicBezTo>
                    <a:pt x="236" y="77"/>
                    <a:pt x="235" y="76"/>
                    <a:pt x="235" y="76"/>
                  </a:cubicBezTo>
                  <a:cubicBezTo>
                    <a:pt x="235" y="72"/>
                    <a:pt x="239" y="69"/>
                    <a:pt x="241" y="66"/>
                  </a:cubicBezTo>
                  <a:cubicBezTo>
                    <a:pt x="243" y="62"/>
                    <a:pt x="244" y="62"/>
                    <a:pt x="248" y="60"/>
                  </a:cubicBezTo>
                  <a:cubicBezTo>
                    <a:pt x="250" y="59"/>
                    <a:pt x="253" y="58"/>
                    <a:pt x="255" y="58"/>
                  </a:cubicBezTo>
                  <a:cubicBezTo>
                    <a:pt x="250" y="45"/>
                    <a:pt x="243" y="30"/>
                    <a:pt x="237" y="16"/>
                  </a:cubicBezTo>
                  <a:cubicBezTo>
                    <a:pt x="229" y="0"/>
                    <a:pt x="229" y="0"/>
                    <a:pt x="2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545"/>
            <p:cNvSpPr/>
            <p:nvPr/>
          </p:nvSpPr>
          <p:spPr bwMode="auto">
            <a:xfrm>
              <a:off x="1687212" y="3778213"/>
              <a:ext cx="355928" cy="256537"/>
            </a:xfrm>
            <a:custGeom>
              <a:gdLst>
                <a:gd name="T0" fmla="*/ 102 w 112"/>
                <a:gd name="T1" fmla="*/ 0 h 81"/>
                <a:gd name="T2" fmla="*/ 97 w 112"/>
                <a:gd name="T3" fmla="*/ 7 h 81"/>
                <a:gd name="T4" fmla="*/ 90 w 112"/>
                <a:gd name="T5" fmla="*/ 13 h 81"/>
                <a:gd name="T6" fmla="*/ 73 w 112"/>
                <a:gd name="T7" fmla="*/ 29 h 81"/>
                <a:gd name="T8" fmla="*/ 68 w 112"/>
                <a:gd name="T9" fmla="*/ 35 h 81"/>
                <a:gd name="T10" fmla="*/ 63 w 112"/>
                <a:gd name="T11" fmla="*/ 44 h 81"/>
                <a:gd name="T12" fmla="*/ 60 w 112"/>
                <a:gd name="T13" fmla="*/ 45 h 81"/>
                <a:gd name="T14" fmla="*/ 55 w 112"/>
                <a:gd name="T15" fmla="*/ 43 h 81"/>
                <a:gd name="T16" fmla="*/ 48 w 112"/>
                <a:gd name="T17" fmla="*/ 49 h 81"/>
                <a:gd name="T18" fmla="*/ 46 w 112"/>
                <a:gd name="T19" fmla="*/ 49 h 81"/>
                <a:gd name="T20" fmla="*/ 41 w 112"/>
                <a:gd name="T21" fmla="*/ 48 h 81"/>
                <a:gd name="T22" fmla="*/ 32 w 112"/>
                <a:gd name="T23" fmla="*/ 47 h 81"/>
                <a:gd name="T24" fmla="*/ 22 w 112"/>
                <a:gd name="T25" fmla="*/ 48 h 81"/>
                <a:gd name="T26" fmla="*/ 5 w 112"/>
                <a:gd name="T27" fmla="*/ 52 h 81"/>
                <a:gd name="T28" fmla="*/ 0 w 112"/>
                <a:gd name="T29" fmla="*/ 51 h 81"/>
                <a:gd name="T30" fmla="*/ 3 w 112"/>
                <a:gd name="T31" fmla="*/ 54 h 81"/>
                <a:gd name="T32" fmla="*/ 4 w 112"/>
                <a:gd name="T33" fmla="*/ 56 h 81"/>
                <a:gd name="T34" fmla="*/ 8 w 112"/>
                <a:gd name="T35" fmla="*/ 60 h 81"/>
                <a:gd name="T36" fmla="*/ 11 w 112"/>
                <a:gd name="T37" fmla="*/ 64 h 81"/>
                <a:gd name="T38" fmla="*/ 20 w 112"/>
                <a:gd name="T39" fmla="*/ 75 h 81"/>
                <a:gd name="T40" fmla="*/ 80 w 112"/>
                <a:gd name="T41" fmla="*/ 81 h 81"/>
                <a:gd name="T42" fmla="*/ 81 w 112"/>
                <a:gd name="T43" fmla="*/ 78 h 81"/>
                <a:gd name="T44" fmla="*/ 81 w 112"/>
                <a:gd name="T45" fmla="*/ 77 h 81"/>
                <a:gd name="T46" fmla="*/ 83 w 112"/>
                <a:gd name="T47" fmla="*/ 71 h 81"/>
                <a:gd name="T48" fmla="*/ 85 w 112"/>
                <a:gd name="T49" fmla="*/ 60 h 81"/>
                <a:gd name="T50" fmla="*/ 85 w 112"/>
                <a:gd name="T51" fmla="*/ 58 h 81"/>
                <a:gd name="T52" fmla="*/ 85 w 112"/>
                <a:gd name="T53" fmla="*/ 57 h 81"/>
                <a:gd name="T54" fmla="*/ 86 w 112"/>
                <a:gd name="T55" fmla="*/ 56 h 81"/>
                <a:gd name="T56" fmla="*/ 92 w 112"/>
                <a:gd name="T57" fmla="*/ 47 h 81"/>
                <a:gd name="T58" fmla="*/ 93 w 112"/>
                <a:gd name="T59" fmla="*/ 47 h 81"/>
                <a:gd name="T60" fmla="*/ 94 w 112"/>
                <a:gd name="T61" fmla="*/ 47 h 81"/>
                <a:gd name="T62" fmla="*/ 95 w 112"/>
                <a:gd name="T63" fmla="*/ 47 h 81"/>
                <a:gd name="T64" fmla="*/ 95 w 112"/>
                <a:gd name="T65" fmla="*/ 47 h 81"/>
                <a:gd name="T66" fmla="*/ 96 w 112"/>
                <a:gd name="T67" fmla="*/ 47 h 81"/>
                <a:gd name="T68" fmla="*/ 94 w 112"/>
                <a:gd name="T69" fmla="*/ 44 h 81"/>
                <a:gd name="T70" fmla="*/ 97 w 112"/>
                <a:gd name="T71" fmla="*/ 30 h 81"/>
                <a:gd name="T72" fmla="*/ 97 w 112"/>
                <a:gd name="T73" fmla="*/ 28 h 81"/>
                <a:gd name="T74" fmla="*/ 104 w 112"/>
                <a:gd name="T75" fmla="*/ 28 h 81"/>
                <a:gd name="T76" fmla="*/ 108 w 112"/>
                <a:gd name="T77" fmla="*/ 26 h 81"/>
                <a:gd name="T78" fmla="*/ 109 w 112"/>
                <a:gd name="T79" fmla="*/ 23 h 81"/>
                <a:gd name="T80" fmla="*/ 110 w 112"/>
                <a:gd name="T81" fmla="*/ 22 h 81"/>
                <a:gd name="T82" fmla="*/ 111 w 112"/>
                <a:gd name="T83" fmla="*/ 22 h 81"/>
                <a:gd name="T84" fmla="*/ 111 w 112"/>
                <a:gd name="T85" fmla="*/ 21 h 81"/>
                <a:gd name="T86" fmla="*/ 112 w 112"/>
                <a:gd name="T87" fmla="*/ 21 h 81"/>
                <a:gd name="T88" fmla="*/ 112 w 112"/>
                <a:gd name="T89" fmla="*/ 16 h 81"/>
                <a:gd name="T90" fmla="*/ 110 w 112"/>
                <a:gd name="T91" fmla="*/ 11 h 81"/>
                <a:gd name="T92" fmla="*/ 108 w 112"/>
                <a:gd name="T93" fmla="*/ 11 h 81"/>
                <a:gd name="T94" fmla="*/ 106 w 112"/>
                <a:gd name="T95" fmla="*/ 10 h 81"/>
                <a:gd name="T96" fmla="*/ 102 w 112"/>
                <a:gd name="T97" fmla="*/ 0 h 81"/>
                <a:gd name="T98" fmla="*/ 102 w 112"/>
                <a:gd name="T99"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2" h="81">
                  <a:moveTo>
                    <a:pt x="102" y="0"/>
                  </a:moveTo>
                  <a:cubicBezTo>
                    <a:pt x="100" y="2"/>
                    <a:pt x="98" y="4"/>
                    <a:pt x="97" y="7"/>
                  </a:cubicBezTo>
                  <a:cubicBezTo>
                    <a:pt x="95" y="9"/>
                    <a:pt x="92" y="11"/>
                    <a:pt x="90" y="13"/>
                  </a:cubicBezTo>
                  <a:cubicBezTo>
                    <a:pt x="84" y="19"/>
                    <a:pt x="79" y="24"/>
                    <a:pt x="73" y="29"/>
                  </a:cubicBezTo>
                  <a:cubicBezTo>
                    <a:pt x="70" y="31"/>
                    <a:pt x="69" y="32"/>
                    <a:pt x="68" y="35"/>
                  </a:cubicBezTo>
                  <a:cubicBezTo>
                    <a:pt x="66" y="38"/>
                    <a:pt x="65" y="42"/>
                    <a:pt x="63" y="44"/>
                  </a:cubicBezTo>
                  <a:cubicBezTo>
                    <a:pt x="62" y="45"/>
                    <a:pt x="61" y="45"/>
                    <a:pt x="60" y="45"/>
                  </a:cubicBezTo>
                  <a:cubicBezTo>
                    <a:pt x="59" y="45"/>
                    <a:pt x="57" y="43"/>
                    <a:pt x="55" y="43"/>
                  </a:cubicBezTo>
                  <a:cubicBezTo>
                    <a:pt x="59" y="46"/>
                    <a:pt x="50" y="49"/>
                    <a:pt x="48" y="49"/>
                  </a:cubicBezTo>
                  <a:cubicBezTo>
                    <a:pt x="47" y="49"/>
                    <a:pt x="47" y="49"/>
                    <a:pt x="46" y="49"/>
                  </a:cubicBezTo>
                  <a:cubicBezTo>
                    <a:pt x="44" y="49"/>
                    <a:pt x="43" y="49"/>
                    <a:pt x="41" y="48"/>
                  </a:cubicBezTo>
                  <a:cubicBezTo>
                    <a:pt x="38" y="48"/>
                    <a:pt x="35" y="47"/>
                    <a:pt x="32" y="47"/>
                  </a:cubicBezTo>
                  <a:cubicBezTo>
                    <a:pt x="29" y="47"/>
                    <a:pt x="25" y="48"/>
                    <a:pt x="22" y="48"/>
                  </a:cubicBezTo>
                  <a:cubicBezTo>
                    <a:pt x="19" y="49"/>
                    <a:pt x="11" y="52"/>
                    <a:pt x="5" y="52"/>
                  </a:cubicBezTo>
                  <a:cubicBezTo>
                    <a:pt x="3" y="52"/>
                    <a:pt x="1" y="52"/>
                    <a:pt x="0" y="51"/>
                  </a:cubicBezTo>
                  <a:cubicBezTo>
                    <a:pt x="1" y="52"/>
                    <a:pt x="2" y="53"/>
                    <a:pt x="3" y="54"/>
                  </a:cubicBezTo>
                  <a:cubicBezTo>
                    <a:pt x="4" y="56"/>
                    <a:pt x="4" y="56"/>
                    <a:pt x="4" y="56"/>
                  </a:cubicBezTo>
                  <a:cubicBezTo>
                    <a:pt x="5" y="57"/>
                    <a:pt x="8" y="60"/>
                    <a:pt x="8" y="60"/>
                  </a:cubicBezTo>
                  <a:cubicBezTo>
                    <a:pt x="11" y="64"/>
                    <a:pt x="11" y="64"/>
                    <a:pt x="11" y="64"/>
                  </a:cubicBezTo>
                  <a:cubicBezTo>
                    <a:pt x="14" y="68"/>
                    <a:pt x="17" y="72"/>
                    <a:pt x="20" y="75"/>
                  </a:cubicBezTo>
                  <a:cubicBezTo>
                    <a:pt x="80" y="81"/>
                    <a:pt x="80" y="81"/>
                    <a:pt x="80" y="81"/>
                  </a:cubicBezTo>
                  <a:cubicBezTo>
                    <a:pt x="81" y="80"/>
                    <a:pt x="81" y="79"/>
                    <a:pt x="81" y="78"/>
                  </a:cubicBezTo>
                  <a:cubicBezTo>
                    <a:pt x="81" y="78"/>
                    <a:pt x="81" y="77"/>
                    <a:pt x="81" y="77"/>
                  </a:cubicBezTo>
                  <a:cubicBezTo>
                    <a:pt x="83" y="71"/>
                    <a:pt x="83" y="71"/>
                    <a:pt x="83" y="71"/>
                  </a:cubicBezTo>
                  <a:cubicBezTo>
                    <a:pt x="83" y="67"/>
                    <a:pt x="84" y="64"/>
                    <a:pt x="85" y="60"/>
                  </a:cubicBezTo>
                  <a:cubicBezTo>
                    <a:pt x="85" y="59"/>
                    <a:pt x="85" y="59"/>
                    <a:pt x="85" y="58"/>
                  </a:cubicBezTo>
                  <a:cubicBezTo>
                    <a:pt x="85" y="57"/>
                    <a:pt x="85" y="57"/>
                    <a:pt x="85" y="57"/>
                  </a:cubicBezTo>
                  <a:cubicBezTo>
                    <a:pt x="85" y="57"/>
                    <a:pt x="85" y="56"/>
                    <a:pt x="86" y="56"/>
                  </a:cubicBezTo>
                  <a:cubicBezTo>
                    <a:pt x="86" y="53"/>
                    <a:pt x="87" y="50"/>
                    <a:pt x="92" y="47"/>
                  </a:cubicBezTo>
                  <a:cubicBezTo>
                    <a:pt x="92" y="47"/>
                    <a:pt x="93" y="47"/>
                    <a:pt x="93" y="47"/>
                  </a:cubicBezTo>
                  <a:cubicBezTo>
                    <a:pt x="94" y="47"/>
                    <a:pt x="94" y="47"/>
                    <a:pt x="94" y="47"/>
                  </a:cubicBezTo>
                  <a:cubicBezTo>
                    <a:pt x="95" y="47"/>
                    <a:pt x="95" y="47"/>
                    <a:pt x="95" y="47"/>
                  </a:cubicBezTo>
                  <a:cubicBezTo>
                    <a:pt x="95" y="47"/>
                    <a:pt x="95" y="47"/>
                    <a:pt x="95" y="47"/>
                  </a:cubicBezTo>
                  <a:cubicBezTo>
                    <a:pt x="96" y="47"/>
                    <a:pt x="96" y="47"/>
                    <a:pt x="96" y="47"/>
                  </a:cubicBezTo>
                  <a:cubicBezTo>
                    <a:pt x="95" y="46"/>
                    <a:pt x="94" y="45"/>
                    <a:pt x="94" y="44"/>
                  </a:cubicBezTo>
                  <a:cubicBezTo>
                    <a:pt x="94" y="39"/>
                    <a:pt x="95" y="34"/>
                    <a:pt x="97" y="30"/>
                  </a:cubicBezTo>
                  <a:cubicBezTo>
                    <a:pt x="97" y="28"/>
                    <a:pt x="97" y="28"/>
                    <a:pt x="97" y="28"/>
                  </a:cubicBezTo>
                  <a:cubicBezTo>
                    <a:pt x="104" y="28"/>
                    <a:pt x="104" y="28"/>
                    <a:pt x="104" y="28"/>
                  </a:cubicBezTo>
                  <a:cubicBezTo>
                    <a:pt x="106" y="27"/>
                    <a:pt x="107" y="26"/>
                    <a:pt x="108" y="26"/>
                  </a:cubicBezTo>
                  <a:cubicBezTo>
                    <a:pt x="108" y="25"/>
                    <a:pt x="109" y="24"/>
                    <a:pt x="109" y="23"/>
                  </a:cubicBezTo>
                  <a:cubicBezTo>
                    <a:pt x="110" y="22"/>
                    <a:pt x="110" y="22"/>
                    <a:pt x="110" y="22"/>
                  </a:cubicBezTo>
                  <a:cubicBezTo>
                    <a:pt x="111" y="22"/>
                    <a:pt x="111" y="22"/>
                    <a:pt x="111" y="22"/>
                  </a:cubicBezTo>
                  <a:cubicBezTo>
                    <a:pt x="111" y="21"/>
                    <a:pt x="111" y="21"/>
                    <a:pt x="111" y="21"/>
                  </a:cubicBezTo>
                  <a:cubicBezTo>
                    <a:pt x="112" y="21"/>
                    <a:pt x="112" y="21"/>
                    <a:pt x="112" y="21"/>
                  </a:cubicBezTo>
                  <a:cubicBezTo>
                    <a:pt x="112" y="19"/>
                    <a:pt x="112" y="16"/>
                    <a:pt x="112" y="16"/>
                  </a:cubicBezTo>
                  <a:cubicBezTo>
                    <a:pt x="111" y="14"/>
                    <a:pt x="111" y="12"/>
                    <a:pt x="110" y="11"/>
                  </a:cubicBezTo>
                  <a:cubicBezTo>
                    <a:pt x="109" y="11"/>
                    <a:pt x="109" y="11"/>
                    <a:pt x="108" y="11"/>
                  </a:cubicBezTo>
                  <a:cubicBezTo>
                    <a:pt x="107" y="11"/>
                    <a:pt x="106" y="11"/>
                    <a:pt x="106" y="10"/>
                  </a:cubicBezTo>
                  <a:cubicBezTo>
                    <a:pt x="103" y="9"/>
                    <a:pt x="102" y="4"/>
                    <a:pt x="102" y="0"/>
                  </a:cubicBezTo>
                  <a:cubicBezTo>
                    <a:pt x="102" y="0"/>
                    <a:pt x="102" y="0"/>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546"/>
            <p:cNvSpPr/>
            <p:nvPr/>
          </p:nvSpPr>
          <p:spPr bwMode="auto">
            <a:xfrm>
              <a:off x="331998" y="3261109"/>
              <a:ext cx="1637270" cy="1288058"/>
            </a:xfrm>
            <a:custGeom>
              <a:gdLst>
                <a:gd name="T0" fmla="*/ 100 w 516"/>
                <a:gd name="T1" fmla="*/ 5 h 406"/>
                <a:gd name="T2" fmla="*/ 83 w 516"/>
                <a:gd name="T3" fmla="*/ 32 h 406"/>
                <a:gd name="T4" fmla="*/ 87 w 516"/>
                <a:gd name="T5" fmla="*/ 37 h 406"/>
                <a:gd name="T6" fmla="*/ 68 w 516"/>
                <a:gd name="T7" fmla="*/ 59 h 406"/>
                <a:gd name="T8" fmla="*/ 61 w 516"/>
                <a:gd name="T9" fmla="*/ 60 h 406"/>
                <a:gd name="T10" fmla="*/ 46 w 516"/>
                <a:gd name="T11" fmla="*/ 73 h 406"/>
                <a:gd name="T12" fmla="*/ 31 w 516"/>
                <a:gd name="T13" fmla="*/ 78 h 406"/>
                <a:gd name="T14" fmla="*/ 12 w 516"/>
                <a:gd name="T15" fmla="*/ 75 h 406"/>
                <a:gd name="T16" fmla="*/ 3 w 516"/>
                <a:gd name="T17" fmla="*/ 108 h 406"/>
                <a:gd name="T18" fmla="*/ 6 w 516"/>
                <a:gd name="T19" fmla="*/ 106 h 406"/>
                <a:gd name="T20" fmla="*/ 11 w 516"/>
                <a:gd name="T21" fmla="*/ 106 h 406"/>
                <a:gd name="T22" fmla="*/ 34 w 516"/>
                <a:gd name="T23" fmla="*/ 135 h 406"/>
                <a:gd name="T24" fmla="*/ 68 w 516"/>
                <a:gd name="T25" fmla="*/ 185 h 406"/>
                <a:gd name="T26" fmla="*/ 95 w 516"/>
                <a:gd name="T27" fmla="*/ 217 h 406"/>
                <a:gd name="T28" fmla="*/ 114 w 516"/>
                <a:gd name="T29" fmla="*/ 256 h 406"/>
                <a:gd name="T30" fmla="*/ 121 w 516"/>
                <a:gd name="T31" fmla="*/ 297 h 406"/>
                <a:gd name="T32" fmla="*/ 144 w 516"/>
                <a:gd name="T33" fmla="*/ 315 h 406"/>
                <a:gd name="T34" fmla="*/ 189 w 516"/>
                <a:gd name="T35" fmla="*/ 379 h 406"/>
                <a:gd name="T36" fmla="*/ 210 w 516"/>
                <a:gd name="T37" fmla="*/ 401 h 406"/>
                <a:gd name="T38" fmla="*/ 210 w 516"/>
                <a:gd name="T39" fmla="*/ 393 h 406"/>
                <a:gd name="T40" fmla="*/ 219 w 516"/>
                <a:gd name="T41" fmla="*/ 378 h 406"/>
                <a:gd name="T42" fmla="*/ 231 w 516"/>
                <a:gd name="T43" fmla="*/ 382 h 406"/>
                <a:gd name="T44" fmla="*/ 238 w 516"/>
                <a:gd name="T45" fmla="*/ 382 h 406"/>
                <a:gd name="T46" fmla="*/ 258 w 516"/>
                <a:gd name="T47" fmla="*/ 380 h 406"/>
                <a:gd name="T48" fmla="*/ 300 w 516"/>
                <a:gd name="T49" fmla="*/ 383 h 406"/>
                <a:gd name="T50" fmla="*/ 308 w 516"/>
                <a:gd name="T51" fmla="*/ 390 h 406"/>
                <a:gd name="T52" fmla="*/ 311 w 516"/>
                <a:gd name="T53" fmla="*/ 391 h 406"/>
                <a:gd name="T54" fmla="*/ 336 w 516"/>
                <a:gd name="T55" fmla="*/ 361 h 406"/>
                <a:gd name="T56" fmla="*/ 382 w 516"/>
                <a:gd name="T57" fmla="*/ 347 h 406"/>
                <a:gd name="T58" fmla="*/ 431 w 516"/>
                <a:gd name="T59" fmla="*/ 339 h 406"/>
                <a:gd name="T60" fmla="*/ 503 w 516"/>
                <a:gd name="T61" fmla="*/ 315 h 406"/>
                <a:gd name="T62" fmla="*/ 505 w 516"/>
                <a:gd name="T63" fmla="*/ 306 h 406"/>
                <a:gd name="T64" fmla="*/ 513 w 516"/>
                <a:gd name="T65" fmla="*/ 280 h 406"/>
                <a:gd name="T66" fmla="*/ 515 w 516"/>
                <a:gd name="T67" fmla="*/ 264 h 406"/>
                <a:gd name="T68" fmla="*/ 510 w 516"/>
                <a:gd name="T69" fmla="*/ 254 h 406"/>
                <a:gd name="T70" fmla="*/ 444 w 516"/>
                <a:gd name="T71" fmla="*/ 244 h 406"/>
                <a:gd name="T72" fmla="*/ 425 w 516"/>
                <a:gd name="T73" fmla="*/ 221 h 406"/>
                <a:gd name="T74" fmla="*/ 414 w 516"/>
                <a:gd name="T75" fmla="*/ 203 h 406"/>
                <a:gd name="T76" fmla="*/ 418 w 516"/>
                <a:gd name="T77" fmla="*/ 197 h 406"/>
                <a:gd name="T78" fmla="*/ 413 w 516"/>
                <a:gd name="T79" fmla="*/ 198 h 406"/>
                <a:gd name="T80" fmla="*/ 407 w 516"/>
                <a:gd name="T81" fmla="*/ 198 h 406"/>
                <a:gd name="T82" fmla="*/ 402 w 516"/>
                <a:gd name="T83" fmla="*/ 194 h 406"/>
                <a:gd name="T84" fmla="*/ 382 w 516"/>
                <a:gd name="T85" fmla="*/ 161 h 406"/>
                <a:gd name="T86" fmla="*/ 387 w 516"/>
                <a:gd name="T87" fmla="*/ 151 h 406"/>
                <a:gd name="T88" fmla="*/ 380 w 516"/>
                <a:gd name="T89" fmla="*/ 139 h 406"/>
                <a:gd name="T90" fmla="*/ 370 w 516"/>
                <a:gd name="T91" fmla="*/ 131 h 406"/>
                <a:gd name="T92" fmla="*/ 361 w 516"/>
                <a:gd name="T93" fmla="*/ 121 h 406"/>
                <a:gd name="T94" fmla="*/ 352 w 516"/>
                <a:gd name="T95" fmla="*/ 117 h 406"/>
                <a:gd name="T96" fmla="*/ 343 w 516"/>
                <a:gd name="T97" fmla="*/ 97 h 406"/>
                <a:gd name="T98" fmla="*/ 338 w 516"/>
                <a:gd name="T99" fmla="*/ 97 h 406"/>
                <a:gd name="T100" fmla="*/ 319 w 516"/>
                <a:gd name="T101" fmla="*/ 91 h 406"/>
                <a:gd name="T102" fmla="*/ 319 w 516"/>
                <a:gd name="T103" fmla="*/ 89 h 406"/>
                <a:gd name="T104" fmla="*/ 318 w 516"/>
                <a:gd name="T105" fmla="*/ 87 h 406"/>
                <a:gd name="T106" fmla="*/ 296 w 516"/>
                <a:gd name="T107" fmla="*/ 82 h 406"/>
                <a:gd name="T108" fmla="*/ 290 w 516"/>
                <a:gd name="T109" fmla="*/ 83 h 406"/>
                <a:gd name="T110" fmla="*/ 237 w 516"/>
                <a:gd name="T111" fmla="*/ 69 h 406"/>
                <a:gd name="T112" fmla="*/ 185 w 516"/>
                <a:gd name="T113" fmla="*/ 28 h 406"/>
                <a:gd name="T114" fmla="*/ 150 w 516"/>
                <a:gd name="T115" fmla="*/ 8 h 40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 h="406">
                  <a:moveTo>
                    <a:pt x="115" y="0"/>
                  </a:moveTo>
                  <a:cubicBezTo>
                    <a:pt x="114" y="0"/>
                    <a:pt x="114" y="0"/>
                    <a:pt x="114" y="0"/>
                  </a:cubicBezTo>
                  <a:cubicBezTo>
                    <a:pt x="110" y="2"/>
                    <a:pt x="106" y="4"/>
                    <a:pt x="101" y="5"/>
                  </a:cubicBezTo>
                  <a:cubicBezTo>
                    <a:pt x="100" y="5"/>
                    <a:pt x="100" y="5"/>
                    <a:pt x="100" y="5"/>
                  </a:cubicBezTo>
                  <a:cubicBezTo>
                    <a:pt x="98" y="6"/>
                    <a:pt x="97" y="7"/>
                    <a:pt x="95" y="7"/>
                  </a:cubicBezTo>
                  <a:cubicBezTo>
                    <a:pt x="87" y="10"/>
                    <a:pt x="78" y="13"/>
                    <a:pt x="70" y="15"/>
                  </a:cubicBezTo>
                  <a:cubicBezTo>
                    <a:pt x="67" y="16"/>
                    <a:pt x="67" y="16"/>
                    <a:pt x="67" y="16"/>
                  </a:cubicBezTo>
                  <a:cubicBezTo>
                    <a:pt x="72" y="21"/>
                    <a:pt x="77" y="26"/>
                    <a:pt x="83" y="32"/>
                  </a:cubicBezTo>
                  <a:cubicBezTo>
                    <a:pt x="83" y="33"/>
                    <a:pt x="83" y="33"/>
                    <a:pt x="84" y="34"/>
                  </a:cubicBezTo>
                  <a:cubicBezTo>
                    <a:pt x="85" y="34"/>
                    <a:pt x="85" y="34"/>
                    <a:pt x="85" y="34"/>
                  </a:cubicBezTo>
                  <a:cubicBezTo>
                    <a:pt x="85" y="35"/>
                    <a:pt x="86" y="35"/>
                    <a:pt x="86" y="36"/>
                  </a:cubicBezTo>
                  <a:cubicBezTo>
                    <a:pt x="86" y="36"/>
                    <a:pt x="87" y="37"/>
                    <a:pt x="87" y="37"/>
                  </a:cubicBezTo>
                  <a:cubicBezTo>
                    <a:pt x="88" y="39"/>
                    <a:pt x="89" y="40"/>
                    <a:pt x="89" y="41"/>
                  </a:cubicBezTo>
                  <a:cubicBezTo>
                    <a:pt x="89" y="42"/>
                    <a:pt x="89" y="45"/>
                    <a:pt x="78" y="55"/>
                  </a:cubicBezTo>
                  <a:cubicBezTo>
                    <a:pt x="77" y="56"/>
                    <a:pt x="76" y="57"/>
                    <a:pt x="76" y="57"/>
                  </a:cubicBezTo>
                  <a:cubicBezTo>
                    <a:pt x="73" y="59"/>
                    <a:pt x="71" y="59"/>
                    <a:pt x="68" y="59"/>
                  </a:cubicBezTo>
                  <a:cubicBezTo>
                    <a:pt x="67" y="59"/>
                    <a:pt x="67" y="59"/>
                    <a:pt x="67" y="59"/>
                  </a:cubicBezTo>
                  <a:cubicBezTo>
                    <a:pt x="66" y="59"/>
                    <a:pt x="65" y="59"/>
                    <a:pt x="65" y="60"/>
                  </a:cubicBezTo>
                  <a:cubicBezTo>
                    <a:pt x="64" y="60"/>
                    <a:pt x="63" y="60"/>
                    <a:pt x="63" y="60"/>
                  </a:cubicBezTo>
                  <a:cubicBezTo>
                    <a:pt x="61" y="60"/>
                    <a:pt x="61" y="60"/>
                    <a:pt x="61" y="60"/>
                  </a:cubicBezTo>
                  <a:cubicBezTo>
                    <a:pt x="60" y="60"/>
                    <a:pt x="59" y="61"/>
                    <a:pt x="59" y="61"/>
                  </a:cubicBezTo>
                  <a:cubicBezTo>
                    <a:pt x="56" y="62"/>
                    <a:pt x="54" y="64"/>
                    <a:pt x="52" y="67"/>
                  </a:cubicBezTo>
                  <a:cubicBezTo>
                    <a:pt x="51" y="67"/>
                    <a:pt x="50" y="68"/>
                    <a:pt x="50" y="69"/>
                  </a:cubicBezTo>
                  <a:cubicBezTo>
                    <a:pt x="46" y="73"/>
                    <a:pt x="46" y="73"/>
                    <a:pt x="46" y="73"/>
                  </a:cubicBezTo>
                  <a:cubicBezTo>
                    <a:pt x="44" y="76"/>
                    <a:pt x="42" y="78"/>
                    <a:pt x="40" y="79"/>
                  </a:cubicBezTo>
                  <a:cubicBezTo>
                    <a:pt x="40" y="79"/>
                    <a:pt x="39" y="80"/>
                    <a:pt x="38" y="80"/>
                  </a:cubicBezTo>
                  <a:cubicBezTo>
                    <a:pt x="37" y="80"/>
                    <a:pt x="34" y="79"/>
                    <a:pt x="31" y="78"/>
                  </a:cubicBezTo>
                  <a:cubicBezTo>
                    <a:pt x="31" y="78"/>
                    <a:pt x="31" y="78"/>
                    <a:pt x="31" y="78"/>
                  </a:cubicBezTo>
                  <a:cubicBezTo>
                    <a:pt x="30" y="78"/>
                    <a:pt x="30" y="78"/>
                    <a:pt x="30" y="78"/>
                  </a:cubicBezTo>
                  <a:cubicBezTo>
                    <a:pt x="14" y="75"/>
                    <a:pt x="14" y="75"/>
                    <a:pt x="14" y="75"/>
                  </a:cubicBezTo>
                  <a:cubicBezTo>
                    <a:pt x="14" y="75"/>
                    <a:pt x="14" y="75"/>
                    <a:pt x="13" y="75"/>
                  </a:cubicBezTo>
                  <a:cubicBezTo>
                    <a:pt x="13" y="75"/>
                    <a:pt x="12" y="75"/>
                    <a:pt x="12" y="75"/>
                  </a:cubicBezTo>
                  <a:cubicBezTo>
                    <a:pt x="11" y="77"/>
                    <a:pt x="11" y="77"/>
                    <a:pt x="11" y="77"/>
                  </a:cubicBezTo>
                  <a:cubicBezTo>
                    <a:pt x="10" y="76"/>
                    <a:pt x="10" y="76"/>
                    <a:pt x="10" y="76"/>
                  </a:cubicBezTo>
                  <a:cubicBezTo>
                    <a:pt x="9" y="83"/>
                    <a:pt x="7" y="90"/>
                    <a:pt x="5" y="97"/>
                  </a:cubicBezTo>
                  <a:cubicBezTo>
                    <a:pt x="4" y="98"/>
                    <a:pt x="0" y="107"/>
                    <a:pt x="3" y="108"/>
                  </a:cubicBezTo>
                  <a:cubicBezTo>
                    <a:pt x="3" y="108"/>
                    <a:pt x="3" y="108"/>
                    <a:pt x="3" y="108"/>
                  </a:cubicBezTo>
                  <a:cubicBezTo>
                    <a:pt x="4" y="108"/>
                    <a:pt x="4" y="106"/>
                    <a:pt x="4" y="106"/>
                  </a:cubicBezTo>
                  <a:cubicBezTo>
                    <a:pt x="4" y="105"/>
                    <a:pt x="5" y="105"/>
                    <a:pt x="5" y="105"/>
                  </a:cubicBezTo>
                  <a:cubicBezTo>
                    <a:pt x="5" y="105"/>
                    <a:pt x="6" y="105"/>
                    <a:pt x="6" y="106"/>
                  </a:cubicBezTo>
                  <a:cubicBezTo>
                    <a:pt x="6" y="106"/>
                    <a:pt x="7" y="106"/>
                    <a:pt x="7" y="106"/>
                  </a:cubicBezTo>
                  <a:cubicBezTo>
                    <a:pt x="7" y="106"/>
                    <a:pt x="8" y="106"/>
                    <a:pt x="8" y="106"/>
                  </a:cubicBezTo>
                  <a:cubicBezTo>
                    <a:pt x="8" y="106"/>
                    <a:pt x="9" y="106"/>
                    <a:pt x="9" y="106"/>
                  </a:cubicBezTo>
                  <a:cubicBezTo>
                    <a:pt x="10" y="106"/>
                    <a:pt x="10" y="106"/>
                    <a:pt x="11" y="106"/>
                  </a:cubicBezTo>
                  <a:cubicBezTo>
                    <a:pt x="11" y="106"/>
                    <a:pt x="12" y="105"/>
                    <a:pt x="12" y="105"/>
                  </a:cubicBezTo>
                  <a:cubicBezTo>
                    <a:pt x="12" y="105"/>
                    <a:pt x="12" y="105"/>
                    <a:pt x="12" y="105"/>
                  </a:cubicBezTo>
                  <a:cubicBezTo>
                    <a:pt x="14" y="105"/>
                    <a:pt x="16" y="107"/>
                    <a:pt x="18" y="109"/>
                  </a:cubicBezTo>
                  <a:cubicBezTo>
                    <a:pt x="24" y="117"/>
                    <a:pt x="28" y="126"/>
                    <a:pt x="34" y="135"/>
                  </a:cubicBezTo>
                  <a:cubicBezTo>
                    <a:pt x="41" y="143"/>
                    <a:pt x="45" y="155"/>
                    <a:pt x="54" y="161"/>
                  </a:cubicBezTo>
                  <a:cubicBezTo>
                    <a:pt x="55" y="161"/>
                    <a:pt x="54" y="163"/>
                    <a:pt x="54" y="164"/>
                  </a:cubicBezTo>
                  <a:cubicBezTo>
                    <a:pt x="54" y="168"/>
                    <a:pt x="56" y="169"/>
                    <a:pt x="58" y="172"/>
                  </a:cubicBezTo>
                  <a:cubicBezTo>
                    <a:pt x="61" y="175"/>
                    <a:pt x="66" y="180"/>
                    <a:pt x="68" y="185"/>
                  </a:cubicBezTo>
                  <a:cubicBezTo>
                    <a:pt x="69" y="188"/>
                    <a:pt x="69" y="192"/>
                    <a:pt x="70" y="195"/>
                  </a:cubicBezTo>
                  <a:cubicBezTo>
                    <a:pt x="71" y="199"/>
                    <a:pt x="72" y="201"/>
                    <a:pt x="75" y="205"/>
                  </a:cubicBezTo>
                  <a:cubicBezTo>
                    <a:pt x="77" y="208"/>
                    <a:pt x="79" y="207"/>
                    <a:pt x="83" y="208"/>
                  </a:cubicBezTo>
                  <a:cubicBezTo>
                    <a:pt x="87" y="208"/>
                    <a:pt x="92" y="214"/>
                    <a:pt x="95" y="217"/>
                  </a:cubicBezTo>
                  <a:cubicBezTo>
                    <a:pt x="96" y="218"/>
                    <a:pt x="97" y="219"/>
                    <a:pt x="98" y="221"/>
                  </a:cubicBezTo>
                  <a:cubicBezTo>
                    <a:pt x="101" y="226"/>
                    <a:pt x="104" y="231"/>
                    <a:pt x="106" y="237"/>
                  </a:cubicBezTo>
                  <a:cubicBezTo>
                    <a:pt x="108" y="242"/>
                    <a:pt x="111" y="246"/>
                    <a:pt x="113" y="251"/>
                  </a:cubicBezTo>
                  <a:cubicBezTo>
                    <a:pt x="113" y="253"/>
                    <a:pt x="114" y="254"/>
                    <a:pt x="114" y="256"/>
                  </a:cubicBezTo>
                  <a:cubicBezTo>
                    <a:pt x="114" y="256"/>
                    <a:pt x="113" y="258"/>
                    <a:pt x="113" y="259"/>
                  </a:cubicBezTo>
                  <a:cubicBezTo>
                    <a:pt x="111" y="262"/>
                    <a:pt x="113" y="266"/>
                    <a:pt x="113" y="270"/>
                  </a:cubicBezTo>
                  <a:cubicBezTo>
                    <a:pt x="114" y="277"/>
                    <a:pt x="113" y="285"/>
                    <a:pt x="116" y="290"/>
                  </a:cubicBezTo>
                  <a:cubicBezTo>
                    <a:pt x="118" y="293"/>
                    <a:pt x="120" y="295"/>
                    <a:pt x="121" y="297"/>
                  </a:cubicBezTo>
                  <a:cubicBezTo>
                    <a:pt x="124" y="303"/>
                    <a:pt x="128" y="307"/>
                    <a:pt x="133" y="310"/>
                  </a:cubicBezTo>
                  <a:cubicBezTo>
                    <a:pt x="133" y="309"/>
                    <a:pt x="133" y="309"/>
                    <a:pt x="133" y="309"/>
                  </a:cubicBezTo>
                  <a:cubicBezTo>
                    <a:pt x="135" y="310"/>
                    <a:pt x="136" y="310"/>
                    <a:pt x="138" y="310"/>
                  </a:cubicBezTo>
                  <a:cubicBezTo>
                    <a:pt x="140" y="311"/>
                    <a:pt x="143" y="314"/>
                    <a:pt x="144" y="315"/>
                  </a:cubicBezTo>
                  <a:cubicBezTo>
                    <a:pt x="146" y="317"/>
                    <a:pt x="147" y="317"/>
                    <a:pt x="148" y="320"/>
                  </a:cubicBezTo>
                  <a:cubicBezTo>
                    <a:pt x="153" y="328"/>
                    <a:pt x="158" y="336"/>
                    <a:pt x="162" y="344"/>
                  </a:cubicBezTo>
                  <a:cubicBezTo>
                    <a:pt x="166" y="351"/>
                    <a:pt x="171" y="358"/>
                    <a:pt x="174" y="364"/>
                  </a:cubicBezTo>
                  <a:cubicBezTo>
                    <a:pt x="178" y="370"/>
                    <a:pt x="185" y="374"/>
                    <a:pt x="189" y="379"/>
                  </a:cubicBezTo>
                  <a:cubicBezTo>
                    <a:pt x="194" y="384"/>
                    <a:pt x="192" y="386"/>
                    <a:pt x="194" y="393"/>
                  </a:cubicBezTo>
                  <a:cubicBezTo>
                    <a:pt x="194" y="392"/>
                    <a:pt x="194" y="392"/>
                    <a:pt x="194" y="392"/>
                  </a:cubicBezTo>
                  <a:cubicBezTo>
                    <a:pt x="200" y="393"/>
                    <a:pt x="202" y="400"/>
                    <a:pt x="203" y="406"/>
                  </a:cubicBezTo>
                  <a:cubicBezTo>
                    <a:pt x="204" y="404"/>
                    <a:pt x="206" y="403"/>
                    <a:pt x="210" y="401"/>
                  </a:cubicBezTo>
                  <a:cubicBezTo>
                    <a:pt x="210" y="401"/>
                    <a:pt x="211" y="401"/>
                    <a:pt x="211" y="401"/>
                  </a:cubicBezTo>
                  <a:cubicBezTo>
                    <a:pt x="211" y="400"/>
                    <a:pt x="211" y="400"/>
                    <a:pt x="211" y="399"/>
                  </a:cubicBezTo>
                  <a:cubicBezTo>
                    <a:pt x="210" y="398"/>
                    <a:pt x="210" y="397"/>
                    <a:pt x="209" y="396"/>
                  </a:cubicBezTo>
                  <a:cubicBezTo>
                    <a:pt x="209" y="395"/>
                    <a:pt x="209" y="394"/>
                    <a:pt x="210" y="393"/>
                  </a:cubicBezTo>
                  <a:cubicBezTo>
                    <a:pt x="210" y="392"/>
                    <a:pt x="210" y="391"/>
                    <a:pt x="210" y="391"/>
                  </a:cubicBezTo>
                  <a:cubicBezTo>
                    <a:pt x="210" y="389"/>
                    <a:pt x="211" y="388"/>
                    <a:pt x="211" y="387"/>
                  </a:cubicBezTo>
                  <a:cubicBezTo>
                    <a:pt x="214" y="380"/>
                    <a:pt x="216" y="378"/>
                    <a:pt x="218" y="378"/>
                  </a:cubicBezTo>
                  <a:cubicBezTo>
                    <a:pt x="219" y="378"/>
                    <a:pt x="219" y="378"/>
                    <a:pt x="219" y="378"/>
                  </a:cubicBezTo>
                  <a:cubicBezTo>
                    <a:pt x="220" y="378"/>
                    <a:pt x="221" y="378"/>
                    <a:pt x="222" y="378"/>
                  </a:cubicBezTo>
                  <a:cubicBezTo>
                    <a:pt x="224" y="378"/>
                    <a:pt x="225" y="378"/>
                    <a:pt x="226" y="379"/>
                  </a:cubicBezTo>
                  <a:cubicBezTo>
                    <a:pt x="227" y="379"/>
                    <a:pt x="228" y="380"/>
                    <a:pt x="228" y="380"/>
                  </a:cubicBezTo>
                  <a:cubicBezTo>
                    <a:pt x="229" y="381"/>
                    <a:pt x="230" y="382"/>
                    <a:pt x="231" y="382"/>
                  </a:cubicBezTo>
                  <a:cubicBezTo>
                    <a:pt x="231" y="382"/>
                    <a:pt x="231" y="382"/>
                    <a:pt x="231" y="382"/>
                  </a:cubicBezTo>
                  <a:cubicBezTo>
                    <a:pt x="231" y="382"/>
                    <a:pt x="232" y="382"/>
                    <a:pt x="233" y="382"/>
                  </a:cubicBezTo>
                  <a:cubicBezTo>
                    <a:pt x="233" y="383"/>
                    <a:pt x="234" y="383"/>
                    <a:pt x="235" y="383"/>
                  </a:cubicBezTo>
                  <a:cubicBezTo>
                    <a:pt x="236" y="383"/>
                    <a:pt x="237" y="382"/>
                    <a:pt x="238" y="382"/>
                  </a:cubicBezTo>
                  <a:cubicBezTo>
                    <a:pt x="239" y="382"/>
                    <a:pt x="239" y="382"/>
                    <a:pt x="239" y="382"/>
                  </a:cubicBezTo>
                  <a:cubicBezTo>
                    <a:pt x="240" y="382"/>
                    <a:pt x="241" y="382"/>
                    <a:pt x="242" y="382"/>
                  </a:cubicBezTo>
                  <a:cubicBezTo>
                    <a:pt x="243" y="381"/>
                    <a:pt x="245" y="381"/>
                    <a:pt x="246" y="381"/>
                  </a:cubicBezTo>
                  <a:cubicBezTo>
                    <a:pt x="250" y="380"/>
                    <a:pt x="254" y="380"/>
                    <a:pt x="258" y="380"/>
                  </a:cubicBezTo>
                  <a:cubicBezTo>
                    <a:pt x="259" y="380"/>
                    <a:pt x="261" y="380"/>
                    <a:pt x="262" y="380"/>
                  </a:cubicBezTo>
                  <a:cubicBezTo>
                    <a:pt x="270" y="380"/>
                    <a:pt x="278" y="381"/>
                    <a:pt x="286" y="382"/>
                  </a:cubicBezTo>
                  <a:cubicBezTo>
                    <a:pt x="291" y="382"/>
                    <a:pt x="295" y="383"/>
                    <a:pt x="299" y="383"/>
                  </a:cubicBezTo>
                  <a:cubicBezTo>
                    <a:pt x="300" y="383"/>
                    <a:pt x="300" y="383"/>
                    <a:pt x="300" y="383"/>
                  </a:cubicBezTo>
                  <a:cubicBezTo>
                    <a:pt x="300" y="383"/>
                    <a:pt x="300" y="383"/>
                    <a:pt x="301" y="383"/>
                  </a:cubicBezTo>
                  <a:cubicBezTo>
                    <a:pt x="301" y="383"/>
                    <a:pt x="301" y="383"/>
                    <a:pt x="301" y="383"/>
                  </a:cubicBezTo>
                  <a:cubicBezTo>
                    <a:pt x="304" y="384"/>
                    <a:pt x="306" y="387"/>
                    <a:pt x="308" y="389"/>
                  </a:cubicBezTo>
                  <a:cubicBezTo>
                    <a:pt x="308" y="390"/>
                    <a:pt x="308" y="390"/>
                    <a:pt x="308" y="390"/>
                  </a:cubicBezTo>
                  <a:cubicBezTo>
                    <a:pt x="308" y="390"/>
                    <a:pt x="308" y="390"/>
                    <a:pt x="309" y="391"/>
                  </a:cubicBezTo>
                  <a:cubicBezTo>
                    <a:pt x="309" y="391"/>
                    <a:pt x="309" y="391"/>
                    <a:pt x="309" y="391"/>
                  </a:cubicBezTo>
                  <a:cubicBezTo>
                    <a:pt x="310" y="391"/>
                    <a:pt x="310" y="391"/>
                    <a:pt x="310" y="391"/>
                  </a:cubicBezTo>
                  <a:cubicBezTo>
                    <a:pt x="311" y="391"/>
                    <a:pt x="311" y="391"/>
                    <a:pt x="311" y="391"/>
                  </a:cubicBezTo>
                  <a:cubicBezTo>
                    <a:pt x="312" y="390"/>
                    <a:pt x="313" y="390"/>
                    <a:pt x="314" y="390"/>
                  </a:cubicBezTo>
                  <a:cubicBezTo>
                    <a:pt x="316" y="389"/>
                    <a:pt x="317" y="388"/>
                    <a:pt x="318" y="386"/>
                  </a:cubicBezTo>
                  <a:cubicBezTo>
                    <a:pt x="334" y="363"/>
                    <a:pt x="334" y="363"/>
                    <a:pt x="334" y="363"/>
                  </a:cubicBezTo>
                  <a:cubicBezTo>
                    <a:pt x="335" y="362"/>
                    <a:pt x="335" y="362"/>
                    <a:pt x="336" y="361"/>
                  </a:cubicBezTo>
                  <a:cubicBezTo>
                    <a:pt x="339" y="358"/>
                    <a:pt x="344" y="356"/>
                    <a:pt x="348" y="355"/>
                  </a:cubicBezTo>
                  <a:cubicBezTo>
                    <a:pt x="349" y="354"/>
                    <a:pt x="349" y="354"/>
                    <a:pt x="349" y="354"/>
                  </a:cubicBezTo>
                  <a:cubicBezTo>
                    <a:pt x="351" y="354"/>
                    <a:pt x="352" y="353"/>
                    <a:pt x="353" y="352"/>
                  </a:cubicBezTo>
                  <a:cubicBezTo>
                    <a:pt x="362" y="348"/>
                    <a:pt x="372" y="347"/>
                    <a:pt x="382" y="347"/>
                  </a:cubicBezTo>
                  <a:cubicBezTo>
                    <a:pt x="386" y="346"/>
                    <a:pt x="386" y="346"/>
                    <a:pt x="386" y="346"/>
                  </a:cubicBezTo>
                  <a:cubicBezTo>
                    <a:pt x="395" y="345"/>
                    <a:pt x="406" y="344"/>
                    <a:pt x="417" y="342"/>
                  </a:cubicBezTo>
                  <a:cubicBezTo>
                    <a:pt x="421" y="341"/>
                    <a:pt x="425" y="340"/>
                    <a:pt x="430" y="339"/>
                  </a:cubicBezTo>
                  <a:cubicBezTo>
                    <a:pt x="431" y="339"/>
                    <a:pt x="431" y="339"/>
                    <a:pt x="431" y="339"/>
                  </a:cubicBezTo>
                  <a:cubicBezTo>
                    <a:pt x="433" y="338"/>
                    <a:pt x="435" y="338"/>
                    <a:pt x="436" y="338"/>
                  </a:cubicBezTo>
                  <a:cubicBezTo>
                    <a:pt x="474" y="325"/>
                    <a:pt x="474" y="325"/>
                    <a:pt x="474" y="325"/>
                  </a:cubicBezTo>
                  <a:cubicBezTo>
                    <a:pt x="482" y="322"/>
                    <a:pt x="491" y="319"/>
                    <a:pt x="499" y="316"/>
                  </a:cubicBezTo>
                  <a:cubicBezTo>
                    <a:pt x="503" y="315"/>
                    <a:pt x="503" y="315"/>
                    <a:pt x="503" y="315"/>
                  </a:cubicBezTo>
                  <a:cubicBezTo>
                    <a:pt x="503" y="314"/>
                    <a:pt x="503" y="314"/>
                    <a:pt x="503" y="314"/>
                  </a:cubicBezTo>
                  <a:cubicBezTo>
                    <a:pt x="503" y="313"/>
                    <a:pt x="504" y="311"/>
                    <a:pt x="504" y="310"/>
                  </a:cubicBezTo>
                  <a:cubicBezTo>
                    <a:pt x="504" y="309"/>
                    <a:pt x="504" y="309"/>
                    <a:pt x="504" y="309"/>
                  </a:cubicBezTo>
                  <a:cubicBezTo>
                    <a:pt x="505" y="308"/>
                    <a:pt x="505" y="307"/>
                    <a:pt x="505" y="306"/>
                  </a:cubicBezTo>
                  <a:cubicBezTo>
                    <a:pt x="506" y="305"/>
                    <a:pt x="506" y="304"/>
                    <a:pt x="507" y="302"/>
                  </a:cubicBezTo>
                  <a:cubicBezTo>
                    <a:pt x="507" y="302"/>
                    <a:pt x="507" y="301"/>
                    <a:pt x="507" y="300"/>
                  </a:cubicBezTo>
                  <a:cubicBezTo>
                    <a:pt x="508" y="298"/>
                    <a:pt x="508" y="296"/>
                    <a:pt x="509" y="294"/>
                  </a:cubicBezTo>
                  <a:cubicBezTo>
                    <a:pt x="513" y="280"/>
                    <a:pt x="513" y="280"/>
                    <a:pt x="513" y="280"/>
                  </a:cubicBezTo>
                  <a:cubicBezTo>
                    <a:pt x="514" y="278"/>
                    <a:pt x="515" y="275"/>
                    <a:pt x="516" y="272"/>
                  </a:cubicBezTo>
                  <a:cubicBezTo>
                    <a:pt x="516" y="271"/>
                    <a:pt x="516" y="269"/>
                    <a:pt x="516" y="268"/>
                  </a:cubicBezTo>
                  <a:cubicBezTo>
                    <a:pt x="516" y="267"/>
                    <a:pt x="516" y="265"/>
                    <a:pt x="515" y="264"/>
                  </a:cubicBezTo>
                  <a:cubicBezTo>
                    <a:pt x="515" y="264"/>
                    <a:pt x="515" y="264"/>
                    <a:pt x="515" y="264"/>
                  </a:cubicBezTo>
                  <a:cubicBezTo>
                    <a:pt x="515" y="263"/>
                    <a:pt x="515" y="263"/>
                    <a:pt x="515" y="263"/>
                  </a:cubicBezTo>
                  <a:cubicBezTo>
                    <a:pt x="514" y="262"/>
                    <a:pt x="514" y="261"/>
                    <a:pt x="513" y="260"/>
                  </a:cubicBezTo>
                  <a:cubicBezTo>
                    <a:pt x="513" y="258"/>
                    <a:pt x="513" y="258"/>
                    <a:pt x="513" y="258"/>
                  </a:cubicBezTo>
                  <a:cubicBezTo>
                    <a:pt x="512" y="257"/>
                    <a:pt x="511" y="255"/>
                    <a:pt x="510" y="254"/>
                  </a:cubicBezTo>
                  <a:cubicBezTo>
                    <a:pt x="510" y="254"/>
                    <a:pt x="510" y="254"/>
                    <a:pt x="510" y="254"/>
                  </a:cubicBezTo>
                  <a:cubicBezTo>
                    <a:pt x="509" y="252"/>
                    <a:pt x="509" y="251"/>
                    <a:pt x="508" y="250"/>
                  </a:cubicBezTo>
                  <a:cubicBezTo>
                    <a:pt x="507" y="250"/>
                    <a:pt x="507" y="250"/>
                    <a:pt x="507" y="250"/>
                  </a:cubicBezTo>
                  <a:cubicBezTo>
                    <a:pt x="444" y="244"/>
                    <a:pt x="444" y="244"/>
                    <a:pt x="444" y="244"/>
                  </a:cubicBezTo>
                  <a:cubicBezTo>
                    <a:pt x="444" y="244"/>
                    <a:pt x="443" y="243"/>
                    <a:pt x="442" y="242"/>
                  </a:cubicBezTo>
                  <a:cubicBezTo>
                    <a:pt x="439" y="238"/>
                    <a:pt x="436" y="234"/>
                    <a:pt x="433" y="230"/>
                  </a:cubicBezTo>
                  <a:cubicBezTo>
                    <a:pt x="427" y="223"/>
                    <a:pt x="427" y="223"/>
                    <a:pt x="427" y="223"/>
                  </a:cubicBezTo>
                  <a:cubicBezTo>
                    <a:pt x="425" y="221"/>
                    <a:pt x="425" y="221"/>
                    <a:pt x="425" y="221"/>
                  </a:cubicBezTo>
                  <a:cubicBezTo>
                    <a:pt x="422" y="218"/>
                    <a:pt x="419" y="214"/>
                    <a:pt x="418" y="210"/>
                  </a:cubicBezTo>
                  <a:cubicBezTo>
                    <a:pt x="417" y="206"/>
                    <a:pt x="417" y="206"/>
                    <a:pt x="417" y="206"/>
                  </a:cubicBezTo>
                  <a:cubicBezTo>
                    <a:pt x="416" y="206"/>
                    <a:pt x="415" y="206"/>
                    <a:pt x="414" y="206"/>
                  </a:cubicBezTo>
                  <a:cubicBezTo>
                    <a:pt x="413" y="205"/>
                    <a:pt x="414" y="203"/>
                    <a:pt x="414" y="203"/>
                  </a:cubicBezTo>
                  <a:cubicBezTo>
                    <a:pt x="415" y="201"/>
                    <a:pt x="417" y="201"/>
                    <a:pt x="417" y="199"/>
                  </a:cubicBezTo>
                  <a:cubicBezTo>
                    <a:pt x="418" y="199"/>
                    <a:pt x="418" y="199"/>
                    <a:pt x="418" y="199"/>
                  </a:cubicBezTo>
                  <a:cubicBezTo>
                    <a:pt x="418" y="197"/>
                    <a:pt x="418" y="197"/>
                    <a:pt x="418" y="197"/>
                  </a:cubicBezTo>
                  <a:cubicBezTo>
                    <a:pt x="418" y="197"/>
                    <a:pt x="418" y="197"/>
                    <a:pt x="418" y="197"/>
                  </a:cubicBezTo>
                  <a:cubicBezTo>
                    <a:pt x="417" y="197"/>
                    <a:pt x="415" y="198"/>
                    <a:pt x="415" y="198"/>
                  </a:cubicBezTo>
                  <a:cubicBezTo>
                    <a:pt x="415" y="198"/>
                    <a:pt x="415" y="198"/>
                    <a:pt x="415" y="198"/>
                  </a:cubicBezTo>
                  <a:cubicBezTo>
                    <a:pt x="414" y="198"/>
                    <a:pt x="414" y="198"/>
                    <a:pt x="413" y="198"/>
                  </a:cubicBezTo>
                  <a:cubicBezTo>
                    <a:pt x="413" y="198"/>
                    <a:pt x="413" y="198"/>
                    <a:pt x="413" y="198"/>
                  </a:cubicBezTo>
                  <a:cubicBezTo>
                    <a:pt x="412" y="198"/>
                    <a:pt x="411" y="198"/>
                    <a:pt x="409" y="198"/>
                  </a:cubicBezTo>
                  <a:cubicBezTo>
                    <a:pt x="409" y="198"/>
                    <a:pt x="408" y="198"/>
                    <a:pt x="407" y="198"/>
                  </a:cubicBezTo>
                  <a:cubicBezTo>
                    <a:pt x="407" y="198"/>
                    <a:pt x="407" y="198"/>
                    <a:pt x="407" y="198"/>
                  </a:cubicBezTo>
                  <a:cubicBezTo>
                    <a:pt x="407" y="198"/>
                    <a:pt x="407" y="198"/>
                    <a:pt x="407" y="198"/>
                  </a:cubicBezTo>
                  <a:cubicBezTo>
                    <a:pt x="406" y="198"/>
                    <a:pt x="406" y="198"/>
                    <a:pt x="406" y="198"/>
                  </a:cubicBezTo>
                  <a:cubicBezTo>
                    <a:pt x="406" y="198"/>
                    <a:pt x="406" y="198"/>
                    <a:pt x="406" y="198"/>
                  </a:cubicBezTo>
                  <a:cubicBezTo>
                    <a:pt x="405" y="198"/>
                    <a:pt x="405" y="198"/>
                    <a:pt x="405" y="198"/>
                  </a:cubicBezTo>
                  <a:cubicBezTo>
                    <a:pt x="404" y="197"/>
                    <a:pt x="403" y="196"/>
                    <a:pt x="402" y="194"/>
                  </a:cubicBezTo>
                  <a:cubicBezTo>
                    <a:pt x="401" y="192"/>
                    <a:pt x="401" y="192"/>
                    <a:pt x="401" y="192"/>
                  </a:cubicBezTo>
                  <a:cubicBezTo>
                    <a:pt x="401" y="193"/>
                    <a:pt x="401" y="193"/>
                    <a:pt x="401" y="193"/>
                  </a:cubicBezTo>
                  <a:cubicBezTo>
                    <a:pt x="398" y="187"/>
                    <a:pt x="395" y="182"/>
                    <a:pt x="391" y="177"/>
                  </a:cubicBezTo>
                  <a:cubicBezTo>
                    <a:pt x="388" y="172"/>
                    <a:pt x="383" y="166"/>
                    <a:pt x="382" y="161"/>
                  </a:cubicBezTo>
                  <a:cubicBezTo>
                    <a:pt x="381" y="160"/>
                    <a:pt x="381" y="158"/>
                    <a:pt x="382" y="157"/>
                  </a:cubicBezTo>
                  <a:cubicBezTo>
                    <a:pt x="382" y="157"/>
                    <a:pt x="382" y="157"/>
                    <a:pt x="382" y="157"/>
                  </a:cubicBezTo>
                  <a:cubicBezTo>
                    <a:pt x="384" y="157"/>
                    <a:pt x="384" y="159"/>
                    <a:pt x="385" y="160"/>
                  </a:cubicBezTo>
                  <a:cubicBezTo>
                    <a:pt x="386" y="158"/>
                    <a:pt x="387" y="153"/>
                    <a:pt x="387" y="151"/>
                  </a:cubicBezTo>
                  <a:cubicBezTo>
                    <a:pt x="385" y="147"/>
                    <a:pt x="380" y="147"/>
                    <a:pt x="382" y="142"/>
                  </a:cubicBezTo>
                  <a:cubicBezTo>
                    <a:pt x="382" y="143"/>
                    <a:pt x="383" y="144"/>
                    <a:pt x="385" y="144"/>
                  </a:cubicBezTo>
                  <a:cubicBezTo>
                    <a:pt x="385" y="144"/>
                    <a:pt x="385" y="144"/>
                    <a:pt x="385" y="144"/>
                  </a:cubicBezTo>
                  <a:cubicBezTo>
                    <a:pt x="383" y="142"/>
                    <a:pt x="382" y="140"/>
                    <a:pt x="380" y="139"/>
                  </a:cubicBezTo>
                  <a:cubicBezTo>
                    <a:pt x="379" y="138"/>
                    <a:pt x="377" y="138"/>
                    <a:pt x="376" y="137"/>
                  </a:cubicBezTo>
                  <a:cubicBezTo>
                    <a:pt x="374" y="135"/>
                    <a:pt x="373" y="130"/>
                    <a:pt x="370" y="130"/>
                  </a:cubicBezTo>
                  <a:cubicBezTo>
                    <a:pt x="370" y="130"/>
                    <a:pt x="370" y="130"/>
                    <a:pt x="369" y="130"/>
                  </a:cubicBezTo>
                  <a:cubicBezTo>
                    <a:pt x="370" y="130"/>
                    <a:pt x="370" y="131"/>
                    <a:pt x="370" y="131"/>
                  </a:cubicBezTo>
                  <a:cubicBezTo>
                    <a:pt x="366" y="131"/>
                    <a:pt x="364" y="125"/>
                    <a:pt x="360" y="123"/>
                  </a:cubicBezTo>
                  <a:cubicBezTo>
                    <a:pt x="362" y="123"/>
                    <a:pt x="363" y="123"/>
                    <a:pt x="364" y="122"/>
                  </a:cubicBezTo>
                  <a:cubicBezTo>
                    <a:pt x="364" y="121"/>
                    <a:pt x="363" y="120"/>
                    <a:pt x="362" y="120"/>
                  </a:cubicBezTo>
                  <a:cubicBezTo>
                    <a:pt x="362" y="120"/>
                    <a:pt x="361" y="120"/>
                    <a:pt x="361" y="121"/>
                  </a:cubicBezTo>
                  <a:cubicBezTo>
                    <a:pt x="361" y="121"/>
                    <a:pt x="361" y="121"/>
                    <a:pt x="361" y="121"/>
                  </a:cubicBezTo>
                  <a:cubicBezTo>
                    <a:pt x="360" y="121"/>
                    <a:pt x="360" y="120"/>
                    <a:pt x="359" y="120"/>
                  </a:cubicBezTo>
                  <a:cubicBezTo>
                    <a:pt x="358" y="120"/>
                    <a:pt x="358" y="119"/>
                    <a:pt x="357" y="119"/>
                  </a:cubicBezTo>
                  <a:cubicBezTo>
                    <a:pt x="354" y="118"/>
                    <a:pt x="354" y="119"/>
                    <a:pt x="352" y="117"/>
                  </a:cubicBezTo>
                  <a:cubicBezTo>
                    <a:pt x="351" y="115"/>
                    <a:pt x="350" y="110"/>
                    <a:pt x="349" y="108"/>
                  </a:cubicBezTo>
                  <a:cubicBezTo>
                    <a:pt x="347" y="104"/>
                    <a:pt x="346" y="100"/>
                    <a:pt x="344" y="97"/>
                  </a:cubicBezTo>
                  <a:cubicBezTo>
                    <a:pt x="344" y="98"/>
                    <a:pt x="344" y="98"/>
                    <a:pt x="344" y="98"/>
                  </a:cubicBezTo>
                  <a:cubicBezTo>
                    <a:pt x="343" y="97"/>
                    <a:pt x="343" y="97"/>
                    <a:pt x="343" y="97"/>
                  </a:cubicBezTo>
                  <a:cubicBezTo>
                    <a:pt x="342" y="97"/>
                    <a:pt x="342" y="97"/>
                    <a:pt x="342" y="97"/>
                  </a:cubicBezTo>
                  <a:cubicBezTo>
                    <a:pt x="341" y="97"/>
                    <a:pt x="341" y="97"/>
                    <a:pt x="341" y="97"/>
                  </a:cubicBezTo>
                  <a:cubicBezTo>
                    <a:pt x="340" y="97"/>
                    <a:pt x="339" y="97"/>
                    <a:pt x="339" y="97"/>
                  </a:cubicBezTo>
                  <a:cubicBezTo>
                    <a:pt x="338" y="97"/>
                    <a:pt x="338" y="97"/>
                    <a:pt x="338" y="97"/>
                  </a:cubicBezTo>
                  <a:cubicBezTo>
                    <a:pt x="336" y="97"/>
                    <a:pt x="334" y="97"/>
                    <a:pt x="332" y="97"/>
                  </a:cubicBezTo>
                  <a:cubicBezTo>
                    <a:pt x="329" y="97"/>
                    <a:pt x="326" y="97"/>
                    <a:pt x="324" y="96"/>
                  </a:cubicBezTo>
                  <a:cubicBezTo>
                    <a:pt x="323" y="95"/>
                    <a:pt x="321" y="94"/>
                    <a:pt x="320" y="92"/>
                  </a:cubicBezTo>
                  <a:cubicBezTo>
                    <a:pt x="320" y="92"/>
                    <a:pt x="319" y="91"/>
                    <a:pt x="319" y="91"/>
                  </a:cubicBezTo>
                  <a:cubicBezTo>
                    <a:pt x="319" y="90"/>
                    <a:pt x="319" y="90"/>
                    <a:pt x="319" y="90"/>
                  </a:cubicBezTo>
                  <a:cubicBezTo>
                    <a:pt x="319" y="90"/>
                    <a:pt x="319" y="90"/>
                    <a:pt x="319" y="90"/>
                  </a:cubicBezTo>
                  <a:cubicBezTo>
                    <a:pt x="319" y="89"/>
                    <a:pt x="319" y="89"/>
                    <a:pt x="319" y="89"/>
                  </a:cubicBezTo>
                  <a:cubicBezTo>
                    <a:pt x="319" y="89"/>
                    <a:pt x="319" y="89"/>
                    <a:pt x="319" y="89"/>
                  </a:cubicBezTo>
                  <a:cubicBezTo>
                    <a:pt x="319" y="88"/>
                    <a:pt x="319" y="88"/>
                    <a:pt x="319" y="88"/>
                  </a:cubicBezTo>
                  <a:cubicBezTo>
                    <a:pt x="319" y="88"/>
                    <a:pt x="319" y="88"/>
                    <a:pt x="319" y="88"/>
                  </a:cubicBezTo>
                  <a:cubicBezTo>
                    <a:pt x="319" y="87"/>
                    <a:pt x="318" y="87"/>
                    <a:pt x="318" y="87"/>
                  </a:cubicBezTo>
                  <a:cubicBezTo>
                    <a:pt x="318" y="87"/>
                    <a:pt x="318" y="87"/>
                    <a:pt x="318" y="87"/>
                  </a:cubicBezTo>
                  <a:cubicBezTo>
                    <a:pt x="298" y="82"/>
                    <a:pt x="298" y="82"/>
                    <a:pt x="298" y="82"/>
                  </a:cubicBezTo>
                  <a:cubicBezTo>
                    <a:pt x="297" y="82"/>
                    <a:pt x="297" y="82"/>
                    <a:pt x="297" y="82"/>
                  </a:cubicBezTo>
                  <a:cubicBezTo>
                    <a:pt x="297" y="82"/>
                    <a:pt x="297" y="82"/>
                    <a:pt x="297" y="82"/>
                  </a:cubicBezTo>
                  <a:cubicBezTo>
                    <a:pt x="296" y="82"/>
                    <a:pt x="296" y="82"/>
                    <a:pt x="296" y="82"/>
                  </a:cubicBezTo>
                  <a:cubicBezTo>
                    <a:pt x="295" y="83"/>
                    <a:pt x="295" y="83"/>
                    <a:pt x="294" y="83"/>
                  </a:cubicBezTo>
                  <a:cubicBezTo>
                    <a:pt x="294" y="83"/>
                    <a:pt x="293" y="83"/>
                    <a:pt x="293" y="83"/>
                  </a:cubicBezTo>
                  <a:cubicBezTo>
                    <a:pt x="292" y="83"/>
                    <a:pt x="291" y="83"/>
                    <a:pt x="290" y="83"/>
                  </a:cubicBezTo>
                  <a:cubicBezTo>
                    <a:pt x="290" y="83"/>
                    <a:pt x="290" y="83"/>
                    <a:pt x="290" y="83"/>
                  </a:cubicBezTo>
                  <a:cubicBezTo>
                    <a:pt x="289" y="83"/>
                    <a:pt x="289" y="83"/>
                    <a:pt x="289" y="83"/>
                  </a:cubicBezTo>
                  <a:cubicBezTo>
                    <a:pt x="255" y="79"/>
                    <a:pt x="255" y="79"/>
                    <a:pt x="255" y="79"/>
                  </a:cubicBezTo>
                  <a:cubicBezTo>
                    <a:pt x="253" y="79"/>
                    <a:pt x="251" y="79"/>
                    <a:pt x="249" y="78"/>
                  </a:cubicBezTo>
                  <a:cubicBezTo>
                    <a:pt x="245" y="75"/>
                    <a:pt x="241" y="72"/>
                    <a:pt x="237" y="69"/>
                  </a:cubicBezTo>
                  <a:cubicBezTo>
                    <a:pt x="234" y="66"/>
                    <a:pt x="231" y="64"/>
                    <a:pt x="228" y="62"/>
                  </a:cubicBezTo>
                  <a:cubicBezTo>
                    <a:pt x="212" y="49"/>
                    <a:pt x="212" y="49"/>
                    <a:pt x="212" y="49"/>
                  </a:cubicBezTo>
                  <a:cubicBezTo>
                    <a:pt x="208" y="46"/>
                    <a:pt x="205" y="43"/>
                    <a:pt x="202" y="41"/>
                  </a:cubicBezTo>
                  <a:cubicBezTo>
                    <a:pt x="196" y="36"/>
                    <a:pt x="191" y="31"/>
                    <a:pt x="185" y="28"/>
                  </a:cubicBezTo>
                  <a:cubicBezTo>
                    <a:pt x="179" y="25"/>
                    <a:pt x="179" y="25"/>
                    <a:pt x="179" y="25"/>
                  </a:cubicBezTo>
                  <a:cubicBezTo>
                    <a:pt x="177" y="24"/>
                    <a:pt x="175" y="22"/>
                    <a:pt x="173" y="21"/>
                  </a:cubicBezTo>
                  <a:cubicBezTo>
                    <a:pt x="167" y="18"/>
                    <a:pt x="159" y="14"/>
                    <a:pt x="152" y="10"/>
                  </a:cubicBezTo>
                  <a:cubicBezTo>
                    <a:pt x="151" y="9"/>
                    <a:pt x="151" y="9"/>
                    <a:pt x="150" y="8"/>
                  </a:cubicBezTo>
                  <a:cubicBezTo>
                    <a:pt x="149" y="7"/>
                    <a:pt x="146" y="5"/>
                    <a:pt x="145" y="5"/>
                  </a:cubicBezTo>
                  <a:cubicBezTo>
                    <a:pt x="115" y="0"/>
                    <a:pt x="115"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547"/>
            <p:cNvSpPr>
              <a:spLocks noEditPoints="1"/>
            </p:cNvSpPr>
            <p:nvPr/>
          </p:nvSpPr>
          <p:spPr bwMode="auto">
            <a:xfrm>
              <a:off x="5464081" y="5342954"/>
              <a:ext cx="330409" cy="409653"/>
            </a:xfrm>
            <a:custGeom>
              <a:gdLst>
                <a:gd name="T0" fmla="*/ 33 w 104"/>
                <a:gd name="T1" fmla="*/ 18 h 129"/>
                <a:gd name="T2" fmla="*/ 3 w 104"/>
                <a:gd name="T3" fmla="*/ 0 h 129"/>
                <a:gd name="T4" fmla="*/ 0 w 104"/>
                <a:gd name="T5" fmla="*/ 4 h 129"/>
                <a:gd name="T6" fmla="*/ 5 w 104"/>
                <a:gd name="T7" fmla="*/ 13 h 129"/>
                <a:gd name="T8" fmla="*/ 6 w 104"/>
                <a:gd name="T9" fmla="*/ 33 h 129"/>
                <a:gd name="T10" fmla="*/ 10 w 104"/>
                <a:gd name="T11" fmla="*/ 52 h 129"/>
                <a:gd name="T12" fmla="*/ 13 w 104"/>
                <a:gd name="T13" fmla="*/ 64 h 129"/>
                <a:gd name="T14" fmla="*/ 23 w 104"/>
                <a:gd name="T15" fmla="*/ 74 h 129"/>
                <a:gd name="T16" fmla="*/ 30 w 104"/>
                <a:gd name="T17" fmla="*/ 90 h 129"/>
                <a:gd name="T18" fmla="*/ 47 w 104"/>
                <a:gd name="T19" fmla="*/ 103 h 129"/>
                <a:gd name="T20" fmla="*/ 73 w 104"/>
                <a:gd name="T21" fmla="*/ 119 h 129"/>
                <a:gd name="T22" fmla="*/ 89 w 104"/>
                <a:gd name="T23" fmla="*/ 124 h 129"/>
                <a:gd name="T24" fmla="*/ 92 w 104"/>
                <a:gd name="T25" fmla="*/ 124 h 129"/>
                <a:gd name="T26" fmla="*/ 94 w 104"/>
                <a:gd name="T27" fmla="*/ 121 h 129"/>
                <a:gd name="T28" fmla="*/ 98 w 104"/>
                <a:gd name="T29" fmla="*/ 127 h 129"/>
                <a:gd name="T30" fmla="*/ 97 w 104"/>
                <a:gd name="T31" fmla="*/ 113 h 129"/>
                <a:gd name="T32" fmla="*/ 80 w 104"/>
                <a:gd name="T33" fmla="*/ 87 h 129"/>
                <a:gd name="T34" fmla="*/ 81 w 104"/>
                <a:gd name="T35" fmla="*/ 55 h 129"/>
                <a:gd name="T36" fmla="*/ 62 w 104"/>
                <a:gd name="T37" fmla="*/ 19 h 129"/>
                <a:gd name="T38" fmla="*/ 50 w 104"/>
                <a:gd name="T39" fmla="*/ 8 h 129"/>
                <a:gd name="T40" fmla="*/ 49 w 104"/>
                <a:gd name="T41" fmla="*/ 10 h 129"/>
                <a:gd name="T42" fmla="*/ 48 w 104"/>
                <a:gd name="T43" fmla="*/ 13 h 129"/>
                <a:gd name="T44" fmla="*/ 38 w 104"/>
                <a:gd name="T45" fmla="*/ 21 h 129"/>
                <a:gd name="T46" fmla="*/ 33 w 104"/>
                <a:gd name="T47" fmla="*/ 18 h 129"/>
                <a:gd name="T48" fmla="*/ 30 w 104"/>
                <a:gd name="T49" fmla="*/ 21 h 129"/>
                <a:gd name="T50" fmla="*/ 28 w 104"/>
                <a:gd name="T51" fmla="*/ 22 h 129"/>
                <a:gd name="T52" fmla="*/ 26 w 104"/>
                <a:gd name="T53" fmla="*/ 23 h 129"/>
                <a:gd name="T54" fmla="*/ 23 w 104"/>
                <a:gd name="T55" fmla="*/ 23 h 129"/>
                <a:gd name="T56" fmla="*/ 20 w 104"/>
                <a:gd name="T57" fmla="*/ 12 h 129"/>
                <a:gd name="T58" fmla="*/ 19 w 104"/>
                <a:gd name="T59" fmla="*/ 9 h 129"/>
                <a:gd name="T60" fmla="*/ 14 w 104"/>
                <a:gd name="T61" fmla="*/ 6 h 129"/>
                <a:gd name="T62" fmla="*/ 13 w 104"/>
                <a:gd name="T63" fmla="*/ 3 h 129"/>
                <a:gd name="T64" fmla="*/ 12 w 104"/>
                <a:gd name="T65" fmla="*/ 2 h 129"/>
                <a:gd name="T66" fmla="*/ 8 w 104"/>
                <a:gd name="T67" fmla="*/ 2 h 1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129">
                  <a:moveTo>
                    <a:pt x="33" y="18"/>
                  </a:moveTo>
                  <a:cubicBezTo>
                    <a:pt x="33" y="18"/>
                    <a:pt x="33" y="18"/>
                    <a:pt x="33" y="18"/>
                  </a:cubicBezTo>
                  <a:cubicBezTo>
                    <a:pt x="33" y="18"/>
                    <a:pt x="33" y="18"/>
                    <a:pt x="33" y="18"/>
                  </a:cubicBezTo>
                  <a:moveTo>
                    <a:pt x="3" y="0"/>
                  </a:moveTo>
                  <a:cubicBezTo>
                    <a:pt x="2" y="4"/>
                    <a:pt x="2" y="4"/>
                    <a:pt x="2" y="4"/>
                  </a:cubicBezTo>
                  <a:cubicBezTo>
                    <a:pt x="0" y="4"/>
                    <a:pt x="0" y="4"/>
                    <a:pt x="0" y="4"/>
                  </a:cubicBezTo>
                  <a:cubicBezTo>
                    <a:pt x="0" y="5"/>
                    <a:pt x="0" y="5"/>
                    <a:pt x="0" y="5"/>
                  </a:cubicBezTo>
                  <a:cubicBezTo>
                    <a:pt x="1" y="8"/>
                    <a:pt x="4" y="10"/>
                    <a:pt x="5" y="13"/>
                  </a:cubicBezTo>
                  <a:cubicBezTo>
                    <a:pt x="5" y="16"/>
                    <a:pt x="5" y="19"/>
                    <a:pt x="5" y="22"/>
                  </a:cubicBezTo>
                  <a:cubicBezTo>
                    <a:pt x="4" y="26"/>
                    <a:pt x="5" y="30"/>
                    <a:pt x="6" y="33"/>
                  </a:cubicBezTo>
                  <a:cubicBezTo>
                    <a:pt x="6" y="36"/>
                    <a:pt x="8" y="39"/>
                    <a:pt x="9" y="42"/>
                  </a:cubicBezTo>
                  <a:cubicBezTo>
                    <a:pt x="11" y="47"/>
                    <a:pt x="11" y="47"/>
                    <a:pt x="10" y="52"/>
                  </a:cubicBezTo>
                  <a:cubicBezTo>
                    <a:pt x="10" y="56"/>
                    <a:pt x="13" y="58"/>
                    <a:pt x="16" y="61"/>
                  </a:cubicBezTo>
                  <a:cubicBezTo>
                    <a:pt x="15" y="61"/>
                    <a:pt x="12" y="62"/>
                    <a:pt x="13" y="64"/>
                  </a:cubicBezTo>
                  <a:cubicBezTo>
                    <a:pt x="14" y="65"/>
                    <a:pt x="17" y="65"/>
                    <a:pt x="18" y="67"/>
                  </a:cubicBezTo>
                  <a:cubicBezTo>
                    <a:pt x="19" y="69"/>
                    <a:pt x="21" y="71"/>
                    <a:pt x="23" y="74"/>
                  </a:cubicBezTo>
                  <a:cubicBezTo>
                    <a:pt x="25" y="77"/>
                    <a:pt x="28" y="80"/>
                    <a:pt x="28" y="85"/>
                  </a:cubicBezTo>
                  <a:cubicBezTo>
                    <a:pt x="28" y="88"/>
                    <a:pt x="27" y="88"/>
                    <a:pt x="30" y="90"/>
                  </a:cubicBezTo>
                  <a:cubicBezTo>
                    <a:pt x="32" y="92"/>
                    <a:pt x="34" y="94"/>
                    <a:pt x="36" y="95"/>
                  </a:cubicBezTo>
                  <a:cubicBezTo>
                    <a:pt x="39" y="98"/>
                    <a:pt x="43" y="100"/>
                    <a:pt x="47" y="103"/>
                  </a:cubicBezTo>
                  <a:cubicBezTo>
                    <a:pt x="51" y="106"/>
                    <a:pt x="56" y="107"/>
                    <a:pt x="59" y="110"/>
                  </a:cubicBezTo>
                  <a:cubicBezTo>
                    <a:pt x="64" y="114"/>
                    <a:pt x="68" y="116"/>
                    <a:pt x="73" y="119"/>
                  </a:cubicBezTo>
                  <a:cubicBezTo>
                    <a:pt x="77" y="122"/>
                    <a:pt x="79" y="125"/>
                    <a:pt x="83" y="129"/>
                  </a:cubicBezTo>
                  <a:cubicBezTo>
                    <a:pt x="83" y="127"/>
                    <a:pt x="86" y="125"/>
                    <a:pt x="89" y="124"/>
                  </a:cubicBezTo>
                  <a:cubicBezTo>
                    <a:pt x="89" y="124"/>
                    <a:pt x="89" y="124"/>
                    <a:pt x="90" y="124"/>
                  </a:cubicBezTo>
                  <a:cubicBezTo>
                    <a:pt x="90" y="124"/>
                    <a:pt x="91" y="124"/>
                    <a:pt x="92" y="124"/>
                  </a:cubicBezTo>
                  <a:cubicBezTo>
                    <a:pt x="92" y="125"/>
                    <a:pt x="93" y="125"/>
                    <a:pt x="93" y="125"/>
                  </a:cubicBezTo>
                  <a:cubicBezTo>
                    <a:pt x="94" y="125"/>
                    <a:pt x="95" y="124"/>
                    <a:pt x="94" y="121"/>
                  </a:cubicBezTo>
                  <a:cubicBezTo>
                    <a:pt x="99" y="123"/>
                    <a:pt x="97" y="122"/>
                    <a:pt x="97" y="126"/>
                  </a:cubicBezTo>
                  <a:cubicBezTo>
                    <a:pt x="98" y="127"/>
                    <a:pt x="98" y="127"/>
                    <a:pt x="98" y="127"/>
                  </a:cubicBezTo>
                  <a:cubicBezTo>
                    <a:pt x="99" y="127"/>
                    <a:pt x="101" y="126"/>
                    <a:pt x="101" y="125"/>
                  </a:cubicBezTo>
                  <a:cubicBezTo>
                    <a:pt x="104" y="122"/>
                    <a:pt x="98" y="116"/>
                    <a:pt x="97" y="113"/>
                  </a:cubicBezTo>
                  <a:cubicBezTo>
                    <a:pt x="95" y="106"/>
                    <a:pt x="90" y="100"/>
                    <a:pt x="86" y="94"/>
                  </a:cubicBezTo>
                  <a:cubicBezTo>
                    <a:pt x="84" y="92"/>
                    <a:pt x="81" y="89"/>
                    <a:pt x="80" y="87"/>
                  </a:cubicBezTo>
                  <a:cubicBezTo>
                    <a:pt x="80" y="82"/>
                    <a:pt x="80" y="78"/>
                    <a:pt x="80" y="74"/>
                  </a:cubicBezTo>
                  <a:cubicBezTo>
                    <a:pt x="79" y="67"/>
                    <a:pt x="81" y="61"/>
                    <a:pt x="81" y="55"/>
                  </a:cubicBezTo>
                  <a:cubicBezTo>
                    <a:pt x="81" y="46"/>
                    <a:pt x="80" y="41"/>
                    <a:pt x="76" y="33"/>
                  </a:cubicBezTo>
                  <a:cubicBezTo>
                    <a:pt x="73" y="27"/>
                    <a:pt x="68" y="23"/>
                    <a:pt x="62" y="19"/>
                  </a:cubicBezTo>
                  <a:cubicBezTo>
                    <a:pt x="59" y="17"/>
                    <a:pt x="57" y="14"/>
                    <a:pt x="56" y="11"/>
                  </a:cubicBezTo>
                  <a:cubicBezTo>
                    <a:pt x="55" y="10"/>
                    <a:pt x="53" y="9"/>
                    <a:pt x="50" y="8"/>
                  </a:cubicBezTo>
                  <a:cubicBezTo>
                    <a:pt x="50" y="8"/>
                    <a:pt x="50" y="8"/>
                    <a:pt x="50" y="8"/>
                  </a:cubicBezTo>
                  <a:cubicBezTo>
                    <a:pt x="50" y="9"/>
                    <a:pt x="50" y="9"/>
                    <a:pt x="49" y="10"/>
                  </a:cubicBezTo>
                  <a:cubicBezTo>
                    <a:pt x="49" y="10"/>
                    <a:pt x="49" y="10"/>
                    <a:pt x="49" y="10"/>
                  </a:cubicBezTo>
                  <a:cubicBezTo>
                    <a:pt x="49" y="11"/>
                    <a:pt x="49" y="12"/>
                    <a:pt x="48" y="13"/>
                  </a:cubicBezTo>
                  <a:cubicBezTo>
                    <a:pt x="47" y="16"/>
                    <a:pt x="45" y="19"/>
                    <a:pt x="40" y="21"/>
                  </a:cubicBezTo>
                  <a:cubicBezTo>
                    <a:pt x="39" y="21"/>
                    <a:pt x="39" y="21"/>
                    <a:pt x="38" y="21"/>
                  </a:cubicBezTo>
                  <a:cubicBezTo>
                    <a:pt x="36" y="21"/>
                    <a:pt x="35" y="20"/>
                    <a:pt x="34" y="19"/>
                  </a:cubicBezTo>
                  <a:cubicBezTo>
                    <a:pt x="33" y="18"/>
                    <a:pt x="33" y="18"/>
                    <a:pt x="33" y="18"/>
                  </a:cubicBezTo>
                  <a:cubicBezTo>
                    <a:pt x="33" y="18"/>
                    <a:pt x="32" y="18"/>
                    <a:pt x="32" y="19"/>
                  </a:cubicBezTo>
                  <a:cubicBezTo>
                    <a:pt x="30" y="21"/>
                    <a:pt x="30" y="21"/>
                    <a:pt x="30" y="21"/>
                  </a:cubicBezTo>
                  <a:cubicBezTo>
                    <a:pt x="29" y="21"/>
                    <a:pt x="29" y="21"/>
                    <a:pt x="29" y="21"/>
                  </a:cubicBezTo>
                  <a:cubicBezTo>
                    <a:pt x="28" y="22"/>
                    <a:pt x="28" y="22"/>
                    <a:pt x="28" y="22"/>
                  </a:cubicBezTo>
                  <a:cubicBezTo>
                    <a:pt x="28" y="22"/>
                    <a:pt x="27" y="23"/>
                    <a:pt x="27" y="23"/>
                  </a:cubicBezTo>
                  <a:cubicBezTo>
                    <a:pt x="26" y="23"/>
                    <a:pt x="26" y="23"/>
                    <a:pt x="26" y="23"/>
                  </a:cubicBezTo>
                  <a:cubicBezTo>
                    <a:pt x="26" y="24"/>
                    <a:pt x="25" y="24"/>
                    <a:pt x="24" y="24"/>
                  </a:cubicBezTo>
                  <a:cubicBezTo>
                    <a:pt x="23" y="23"/>
                    <a:pt x="23" y="23"/>
                    <a:pt x="23" y="23"/>
                  </a:cubicBezTo>
                  <a:cubicBezTo>
                    <a:pt x="22" y="23"/>
                    <a:pt x="21" y="22"/>
                    <a:pt x="19" y="21"/>
                  </a:cubicBezTo>
                  <a:cubicBezTo>
                    <a:pt x="16" y="18"/>
                    <a:pt x="18" y="14"/>
                    <a:pt x="20" y="12"/>
                  </a:cubicBezTo>
                  <a:cubicBezTo>
                    <a:pt x="20" y="11"/>
                    <a:pt x="20" y="10"/>
                    <a:pt x="21" y="9"/>
                  </a:cubicBezTo>
                  <a:cubicBezTo>
                    <a:pt x="20" y="9"/>
                    <a:pt x="20" y="9"/>
                    <a:pt x="19" y="9"/>
                  </a:cubicBezTo>
                  <a:cubicBezTo>
                    <a:pt x="19" y="9"/>
                    <a:pt x="19" y="9"/>
                    <a:pt x="19" y="9"/>
                  </a:cubicBezTo>
                  <a:cubicBezTo>
                    <a:pt x="15" y="9"/>
                    <a:pt x="14" y="7"/>
                    <a:pt x="14" y="6"/>
                  </a:cubicBezTo>
                  <a:cubicBezTo>
                    <a:pt x="14" y="6"/>
                    <a:pt x="14" y="5"/>
                    <a:pt x="14" y="4"/>
                  </a:cubicBezTo>
                  <a:cubicBezTo>
                    <a:pt x="14" y="3"/>
                    <a:pt x="14" y="3"/>
                    <a:pt x="13" y="3"/>
                  </a:cubicBezTo>
                  <a:cubicBezTo>
                    <a:pt x="13" y="3"/>
                    <a:pt x="13" y="3"/>
                    <a:pt x="13" y="3"/>
                  </a:cubicBezTo>
                  <a:cubicBezTo>
                    <a:pt x="12" y="2"/>
                    <a:pt x="12" y="2"/>
                    <a:pt x="12" y="2"/>
                  </a:cubicBezTo>
                  <a:cubicBezTo>
                    <a:pt x="12" y="2"/>
                    <a:pt x="10" y="2"/>
                    <a:pt x="9" y="2"/>
                  </a:cubicBezTo>
                  <a:cubicBezTo>
                    <a:pt x="8" y="2"/>
                    <a:pt x="8" y="2"/>
                    <a:pt x="8" y="2"/>
                  </a:cubicBezTo>
                  <a:cubicBezTo>
                    <a:pt x="6" y="2"/>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548"/>
            <p:cNvSpPr/>
            <p:nvPr/>
          </p:nvSpPr>
          <p:spPr bwMode="auto">
            <a:xfrm>
              <a:off x="2022993" y="3743291"/>
              <a:ext cx="29549" cy="53725"/>
            </a:xfrm>
            <a:custGeom>
              <a:gdLst>
                <a:gd name="T0" fmla="*/ 6 w 9"/>
                <a:gd name="T1" fmla="*/ 0 h 17"/>
                <a:gd name="T2" fmla="*/ 0 w 9"/>
                <a:gd name="T3" fmla="*/ 5 h 17"/>
                <a:gd name="T4" fmla="*/ 2 w 9"/>
                <a:gd name="T5" fmla="*/ 5 h 17"/>
                <a:gd name="T6" fmla="*/ 2 w 9"/>
                <a:gd name="T7" fmla="*/ 6 h 17"/>
                <a:gd name="T8" fmla="*/ 2 w 9"/>
                <a:gd name="T9" fmla="*/ 8 h 17"/>
                <a:gd name="T10" fmla="*/ 2 w 9"/>
                <a:gd name="T11" fmla="*/ 11 h 17"/>
                <a:gd name="T12" fmla="*/ 3 w 9"/>
                <a:gd name="T13" fmla="*/ 15 h 17"/>
                <a:gd name="T14" fmla="*/ 3 w 9"/>
                <a:gd name="T15" fmla="*/ 15 h 17"/>
                <a:gd name="T16" fmla="*/ 4 w 9"/>
                <a:gd name="T17" fmla="*/ 17 h 17"/>
                <a:gd name="T18" fmla="*/ 8 w 9"/>
                <a:gd name="T19" fmla="*/ 7 h 17"/>
                <a:gd name="T20" fmla="*/ 5 w 9"/>
                <a:gd name="T21" fmla="*/ 5 h 17"/>
                <a:gd name="T22" fmla="*/ 9 w 9"/>
                <a:gd name="T23" fmla="*/ 1 h 17"/>
                <a:gd name="T24" fmla="*/ 6 w 9"/>
                <a:gd name="T25"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7">
                  <a:moveTo>
                    <a:pt x="6" y="0"/>
                  </a:moveTo>
                  <a:cubicBezTo>
                    <a:pt x="3" y="0"/>
                    <a:pt x="2" y="2"/>
                    <a:pt x="0" y="5"/>
                  </a:cubicBezTo>
                  <a:cubicBezTo>
                    <a:pt x="2" y="5"/>
                    <a:pt x="2" y="5"/>
                    <a:pt x="2" y="5"/>
                  </a:cubicBezTo>
                  <a:cubicBezTo>
                    <a:pt x="2" y="6"/>
                    <a:pt x="2" y="6"/>
                    <a:pt x="2" y="6"/>
                  </a:cubicBezTo>
                  <a:cubicBezTo>
                    <a:pt x="2" y="6"/>
                    <a:pt x="2" y="7"/>
                    <a:pt x="2" y="8"/>
                  </a:cubicBezTo>
                  <a:cubicBezTo>
                    <a:pt x="2" y="11"/>
                    <a:pt x="2" y="11"/>
                    <a:pt x="2" y="11"/>
                  </a:cubicBezTo>
                  <a:cubicBezTo>
                    <a:pt x="2" y="13"/>
                    <a:pt x="2" y="15"/>
                    <a:pt x="3" y="15"/>
                  </a:cubicBezTo>
                  <a:cubicBezTo>
                    <a:pt x="3" y="15"/>
                    <a:pt x="3" y="15"/>
                    <a:pt x="3" y="15"/>
                  </a:cubicBezTo>
                  <a:cubicBezTo>
                    <a:pt x="4" y="17"/>
                    <a:pt x="4" y="17"/>
                    <a:pt x="4" y="17"/>
                  </a:cubicBezTo>
                  <a:cubicBezTo>
                    <a:pt x="6" y="14"/>
                    <a:pt x="7" y="9"/>
                    <a:pt x="8" y="7"/>
                  </a:cubicBezTo>
                  <a:cubicBezTo>
                    <a:pt x="7" y="7"/>
                    <a:pt x="5" y="6"/>
                    <a:pt x="5" y="5"/>
                  </a:cubicBezTo>
                  <a:cubicBezTo>
                    <a:pt x="6" y="3"/>
                    <a:pt x="8" y="2"/>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549"/>
            <p:cNvSpPr>
              <a:spLocks noEditPoints="1"/>
            </p:cNvSpPr>
            <p:nvPr/>
          </p:nvSpPr>
          <p:spPr bwMode="auto">
            <a:xfrm>
              <a:off x="1589" y="0"/>
              <a:ext cx="88646" cy="247135"/>
            </a:xfrm>
            <a:custGeom>
              <a:gdLst>
                <a:gd name="T0" fmla="*/ 0 w 28"/>
                <a:gd name="T1" fmla="*/ 21 h 78"/>
                <a:gd name="T2" fmla="*/ 0 w 28"/>
                <a:gd name="T3" fmla="*/ 78 h 78"/>
                <a:gd name="T4" fmla="*/ 13 w 28"/>
                <a:gd name="T5" fmla="*/ 66 h 78"/>
                <a:gd name="T6" fmla="*/ 16 w 28"/>
                <a:gd name="T7" fmla="*/ 64 h 78"/>
                <a:gd name="T8" fmla="*/ 22 w 28"/>
                <a:gd name="T9" fmla="*/ 58 h 78"/>
                <a:gd name="T10" fmla="*/ 25 w 28"/>
                <a:gd name="T11" fmla="*/ 53 h 78"/>
                <a:gd name="T12" fmla="*/ 25 w 28"/>
                <a:gd name="T13" fmla="*/ 52 h 78"/>
                <a:gd name="T14" fmla="*/ 27 w 28"/>
                <a:gd name="T15" fmla="*/ 46 h 78"/>
                <a:gd name="T16" fmla="*/ 27 w 28"/>
                <a:gd name="T17" fmla="*/ 43 h 78"/>
                <a:gd name="T18" fmla="*/ 25 w 28"/>
                <a:gd name="T19" fmla="*/ 41 h 78"/>
                <a:gd name="T20" fmla="*/ 1 w 28"/>
                <a:gd name="T21" fmla="*/ 21 h 78"/>
                <a:gd name="T22" fmla="*/ 0 w 28"/>
                <a:gd name="T23" fmla="*/ 21 h 78"/>
                <a:gd name="T24" fmla="*/ 0 w 28"/>
                <a:gd name="T25" fmla="*/ 21 h 78"/>
                <a:gd name="T26" fmla="*/ 4 w 28"/>
                <a:gd name="T27" fmla="*/ 0 h 78"/>
                <a:gd name="T28" fmla="*/ 0 w 28"/>
                <a:gd name="T29" fmla="*/ 0 h 78"/>
                <a:gd name="T30" fmla="*/ 0 w 28"/>
                <a:gd name="T31" fmla="*/ 4 h 78"/>
                <a:gd name="T32" fmla="*/ 2 w 28"/>
                <a:gd name="T33" fmla="*/ 2 h 78"/>
                <a:gd name="T34" fmla="*/ 4 w 28"/>
                <a:gd name="T35" fmla="*/ 1 h 78"/>
                <a:gd name="T36" fmla="*/ 4 w 28"/>
                <a:gd name="T37" fmla="*/ 0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78">
                  <a:moveTo>
                    <a:pt x="0" y="21"/>
                  </a:moveTo>
                  <a:cubicBezTo>
                    <a:pt x="0" y="78"/>
                    <a:pt x="0" y="78"/>
                    <a:pt x="0" y="78"/>
                  </a:cubicBezTo>
                  <a:cubicBezTo>
                    <a:pt x="4" y="74"/>
                    <a:pt x="8" y="70"/>
                    <a:pt x="13" y="66"/>
                  </a:cubicBezTo>
                  <a:cubicBezTo>
                    <a:pt x="14" y="65"/>
                    <a:pt x="15" y="64"/>
                    <a:pt x="16" y="64"/>
                  </a:cubicBezTo>
                  <a:cubicBezTo>
                    <a:pt x="18" y="62"/>
                    <a:pt x="21" y="60"/>
                    <a:pt x="22" y="58"/>
                  </a:cubicBezTo>
                  <a:cubicBezTo>
                    <a:pt x="23" y="56"/>
                    <a:pt x="24" y="54"/>
                    <a:pt x="25" y="53"/>
                  </a:cubicBezTo>
                  <a:cubicBezTo>
                    <a:pt x="25" y="52"/>
                    <a:pt x="25" y="52"/>
                    <a:pt x="25" y="52"/>
                  </a:cubicBezTo>
                  <a:cubicBezTo>
                    <a:pt x="25" y="50"/>
                    <a:pt x="26" y="48"/>
                    <a:pt x="27" y="46"/>
                  </a:cubicBezTo>
                  <a:cubicBezTo>
                    <a:pt x="28" y="45"/>
                    <a:pt x="28" y="45"/>
                    <a:pt x="27" y="43"/>
                  </a:cubicBezTo>
                  <a:cubicBezTo>
                    <a:pt x="27" y="43"/>
                    <a:pt x="26" y="42"/>
                    <a:pt x="25" y="41"/>
                  </a:cubicBezTo>
                  <a:cubicBezTo>
                    <a:pt x="19" y="33"/>
                    <a:pt x="10" y="27"/>
                    <a:pt x="1" y="21"/>
                  </a:cubicBezTo>
                  <a:cubicBezTo>
                    <a:pt x="0" y="21"/>
                    <a:pt x="0" y="21"/>
                    <a:pt x="0" y="21"/>
                  </a:cubicBezTo>
                  <a:cubicBezTo>
                    <a:pt x="0" y="21"/>
                    <a:pt x="0" y="21"/>
                    <a:pt x="0" y="21"/>
                  </a:cubicBezTo>
                  <a:moveTo>
                    <a:pt x="4" y="0"/>
                  </a:moveTo>
                  <a:cubicBezTo>
                    <a:pt x="0" y="0"/>
                    <a:pt x="0" y="0"/>
                    <a:pt x="0" y="0"/>
                  </a:cubicBezTo>
                  <a:cubicBezTo>
                    <a:pt x="0" y="4"/>
                    <a:pt x="0" y="4"/>
                    <a:pt x="0" y="4"/>
                  </a:cubicBezTo>
                  <a:cubicBezTo>
                    <a:pt x="1" y="4"/>
                    <a:pt x="1" y="3"/>
                    <a:pt x="2" y="2"/>
                  </a:cubicBezTo>
                  <a:cubicBezTo>
                    <a:pt x="4" y="1"/>
                    <a:pt x="4" y="1"/>
                    <a:pt x="4" y="1"/>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550"/>
            <p:cNvSpPr/>
            <p:nvPr/>
          </p:nvSpPr>
          <p:spPr bwMode="auto">
            <a:xfrm>
              <a:off x="769857" y="2222873"/>
              <a:ext cx="500986" cy="212214"/>
            </a:xfrm>
            <a:custGeom>
              <a:gdLst>
                <a:gd name="T0" fmla="*/ 0 w 158"/>
                <a:gd name="T1" fmla="*/ 4 h 67"/>
                <a:gd name="T2" fmla="*/ 11 w 158"/>
                <a:gd name="T3" fmla="*/ 10 h 67"/>
                <a:gd name="T4" fmla="*/ 35 w 158"/>
                <a:gd name="T5" fmla="*/ 28 h 67"/>
                <a:gd name="T6" fmla="*/ 41 w 158"/>
                <a:gd name="T7" fmla="*/ 48 h 67"/>
                <a:gd name="T8" fmla="*/ 37 w 158"/>
                <a:gd name="T9" fmla="*/ 55 h 67"/>
                <a:gd name="T10" fmla="*/ 43 w 158"/>
                <a:gd name="T11" fmla="*/ 56 h 67"/>
                <a:gd name="T12" fmla="*/ 48 w 158"/>
                <a:gd name="T13" fmla="*/ 56 h 67"/>
                <a:gd name="T14" fmla="*/ 57 w 158"/>
                <a:gd name="T15" fmla="*/ 57 h 67"/>
                <a:gd name="T16" fmla="*/ 64 w 158"/>
                <a:gd name="T17" fmla="*/ 53 h 67"/>
                <a:gd name="T18" fmla="*/ 71 w 158"/>
                <a:gd name="T19" fmla="*/ 58 h 67"/>
                <a:gd name="T20" fmla="*/ 73 w 158"/>
                <a:gd name="T21" fmla="*/ 58 h 67"/>
                <a:gd name="T22" fmla="*/ 75 w 158"/>
                <a:gd name="T23" fmla="*/ 60 h 67"/>
                <a:gd name="T24" fmla="*/ 80 w 158"/>
                <a:gd name="T25" fmla="*/ 63 h 67"/>
                <a:gd name="T26" fmla="*/ 83 w 158"/>
                <a:gd name="T27" fmla="*/ 66 h 67"/>
                <a:gd name="T28" fmla="*/ 84 w 158"/>
                <a:gd name="T29" fmla="*/ 67 h 67"/>
                <a:gd name="T30" fmla="*/ 87 w 158"/>
                <a:gd name="T31" fmla="*/ 66 h 67"/>
                <a:gd name="T32" fmla="*/ 107 w 158"/>
                <a:gd name="T33" fmla="*/ 64 h 67"/>
                <a:gd name="T34" fmla="*/ 111 w 158"/>
                <a:gd name="T35" fmla="*/ 64 h 67"/>
                <a:gd name="T36" fmla="*/ 114 w 158"/>
                <a:gd name="T37" fmla="*/ 64 h 67"/>
                <a:gd name="T38" fmla="*/ 115 w 158"/>
                <a:gd name="T39" fmla="*/ 63 h 67"/>
                <a:gd name="T40" fmla="*/ 123 w 158"/>
                <a:gd name="T41" fmla="*/ 60 h 67"/>
                <a:gd name="T42" fmla="*/ 129 w 158"/>
                <a:gd name="T43" fmla="*/ 57 h 67"/>
                <a:gd name="T44" fmla="*/ 137 w 158"/>
                <a:gd name="T45" fmla="*/ 61 h 67"/>
                <a:gd name="T46" fmla="*/ 141 w 158"/>
                <a:gd name="T47" fmla="*/ 63 h 67"/>
                <a:gd name="T48" fmla="*/ 155 w 158"/>
                <a:gd name="T49" fmla="*/ 66 h 67"/>
                <a:gd name="T50" fmla="*/ 158 w 158"/>
                <a:gd name="T51" fmla="*/ 64 h 67"/>
                <a:gd name="T52" fmla="*/ 149 w 158"/>
                <a:gd name="T53" fmla="*/ 58 h 67"/>
                <a:gd name="T54" fmla="*/ 152 w 158"/>
                <a:gd name="T55" fmla="*/ 48 h 67"/>
                <a:gd name="T56" fmla="*/ 136 w 158"/>
                <a:gd name="T57" fmla="*/ 41 h 67"/>
                <a:gd name="T58" fmla="*/ 135 w 158"/>
                <a:gd name="T59" fmla="*/ 32 h 67"/>
                <a:gd name="T60" fmla="*/ 119 w 158"/>
                <a:gd name="T61" fmla="*/ 25 h 67"/>
                <a:gd name="T62" fmla="*/ 117 w 158"/>
                <a:gd name="T63" fmla="*/ 34 h 67"/>
                <a:gd name="T64" fmla="*/ 111 w 158"/>
                <a:gd name="T65" fmla="*/ 25 h 67"/>
                <a:gd name="T66" fmla="*/ 104 w 158"/>
                <a:gd name="T67" fmla="*/ 27 h 67"/>
                <a:gd name="T68" fmla="*/ 93 w 158"/>
                <a:gd name="T69" fmla="*/ 29 h 67"/>
                <a:gd name="T70" fmla="*/ 86 w 158"/>
                <a:gd name="T71" fmla="*/ 24 h 67"/>
                <a:gd name="T72" fmla="*/ 87 w 158"/>
                <a:gd name="T73" fmla="*/ 23 h 67"/>
                <a:gd name="T74" fmla="*/ 58 w 158"/>
                <a:gd name="T75" fmla="*/ 10 h 67"/>
                <a:gd name="T76" fmla="*/ 49 w 158"/>
                <a:gd name="T77" fmla="*/ 11 h 67"/>
                <a:gd name="T78" fmla="*/ 13 w 158"/>
                <a:gd name="T79" fmla="*/ 1 h 67"/>
                <a:gd name="T80" fmla="*/ 10 w 158"/>
                <a:gd name="T81" fmla="*/ 2 h 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8" h="67">
                  <a:moveTo>
                    <a:pt x="2" y="0"/>
                  </a:moveTo>
                  <a:cubicBezTo>
                    <a:pt x="1" y="1"/>
                    <a:pt x="1" y="2"/>
                    <a:pt x="0" y="4"/>
                  </a:cubicBezTo>
                  <a:cubicBezTo>
                    <a:pt x="0" y="5"/>
                    <a:pt x="0" y="5"/>
                    <a:pt x="0" y="5"/>
                  </a:cubicBezTo>
                  <a:cubicBezTo>
                    <a:pt x="4" y="7"/>
                    <a:pt x="7" y="9"/>
                    <a:pt x="11" y="10"/>
                  </a:cubicBezTo>
                  <a:cubicBezTo>
                    <a:pt x="16" y="12"/>
                    <a:pt x="22" y="13"/>
                    <a:pt x="24" y="18"/>
                  </a:cubicBezTo>
                  <a:cubicBezTo>
                    <a:pt x="27" y="23"/>
                    <a:pt x="34" y="22"/>
                    <a:pt x="35" y="28"/>
                  </a:cubicBezTo>
                  <a:cubicBezTo>
                    <a:pt x="35" y="31"/>
                    <a:pt x="37" y="40"/>
                    <a:pt x="41" y="40"/>
                  </a:cubicBezTo>
                  <a:cubicBezTo>
                    <a:pt x="38" y="43"/>
                    <a:pt x="42" y="45"/>
                    <a:pt x="41" y="48"/>
                  </a:cubicBezTo>
                  <a:cubicBezTo>
                    <a:pt x="40" y="51"/>
                    <a:pt x="39" y="53"/>
                    <a:pt x="37" y="55"/>
                  </a:cubicBezTo>
                  <a:cubicBezTo>
                    <a:pt x="37" y="55"/>
                    <a:pt x="37" y="55"/>
                    <a:pt x="37" y="55"/>
                  </a:cubicBezTo>
                  <a:cubicBezTo>
                    <a:pt x="38" y="56"/>
                    <a:pt x="39" y="56"/>
                    <a:pt x="40" y="56"/>
                  </a:cubicBezTo>
                  <a:cubicBezTo>
                    <a:pt x="41" y="56"/>
                    <a:pt x="42" y="56"/>
                    <a:pt x="43" y="56"/>
                  </a:cubicBezTo>
                  <a:cubicBezTo>
                    <a:pt x="44" y="56"/>
                    <a:pt x="45" y="56"/>
                    <a:pt x="46" y="56"/>
                  </a:cubicBezTo>
                  <a:cubicBezTo>
                    <a:pt x="47" y="56"/>
                    <a:pt x="47" y="56"/>
                    <a:pt x="48" y="56"/>
                  </a:cubicBezTo>
                  <a:cubicBezTo>
                    <a:pt x="50" y="56"/>
                    <a:pt x="50" y="56"/>
                    <a:pt x="50" y="56"/>
                  </a:cubicBezTo>
                  <a:cubicBezTo>
                    <a:pt x="52" y="56"/>
                    <a:pt x="55" y="56"/>
                    <a:pt x="57" y="57"/>
                  </a:cubicBezTo>
                  <a:cubicBezTo>
                    <a:pt x="58" y="55"/>
                    <a:pt x="60" y="54"/>
                    <a:pt x="62" y="53"/>
                  </a:cubicBezTo>
                  <a:cubicBezTo>
                    <a:pt x="62" y="53"/>
                    <a:pt x="63" y="53"/>
                    <a:pt x="64" y="53"/>
                  </a:cubicBezTo>
                  <a:cubicBezTo>
                    <a:pt x="67" y="53"/>
                    <a:pt x="70" y="55"/>
                    <a:pt x="72" y="57"/>
                  </a:cubicBezTo>
                  <a:cubicBezTo>
                    <a:pt x="71" y="58"/>
                    <a:pt x="71" y="58"/>
                    <a:pt x="71" y="58"/>
                  </a:cubicBezTo>
                  <a:cubicBezTo>
                    <a:pt x="72" y="57"/>
                    <a:pt x="72" y="57"/>
                    <a:pt x="72" y="57"/>
                  </a:cubicBezTo>
                  <a:cubicBezTo>
                    <a:pt x="73" y="58"/>
                    <a:pt x="73" y="58"/>
                    <a:pt x="73" y="58"/>
                  </a:cubicBezTo>
                  <a:cubicBezTo>
                    <a:pt x="73" y="58"/>
                    <a:pt x="73" y="59"/>
                    <a:pt x="74" y="59"/>
                  </a:cubicBezTo>
                  <a:cubicBezTo>
                    <a:pt x="75" y="60"/>
                    <a:pt x="75" y="60"/>
                    <a:pt x="75" y="60"/>
                  </a:cubicBezTo>
                  <a:cubicBezTo>
                    <a:pt x="75" y="60"/>
                    <a:pt x="75" y="60"/>
                    <a:pt x="76" y="60"/>
                  </a:cubicBezTo>
                  <a:cubicBezTo>
                    <a:pt x="77" y="61"/>
                    <a:pt x="78" y="62"/>
                    <a:pt x="80" y="63"/>
                  </a:cubicBezTo>
                  <a:cubicBezTo>
                    <a:pt x="81" y="64"/>
                    <a:pt x="81" y="64"/>
                    <a:pt x="81" y="64"/>
                  </a:cubicBezTo>
                  <a:cubicBezTo>
                    <a:pt x="82" y="64"/>
                    <a:pt x="82" y="65"/>
                    <a:pt x="83" y="66"/>
                  </a:cubicBezTo>
                  <a:cubicBezTo>
                    <a:pt x="84" y="67"/>
                    <a:pt x="84" y="67"/>
                    <a:pt x="84" y="67"/>
                  </a:cubicBezTo>
                  <a:cubicBezTo>
                    <a:pt x="84" y="67"/>
                    <a:pt x="84" y="67"/>
                    <a:pt x="84" y="67"/>
                  </a:cubicBezTo>
                  <a:cubicBezTo>
                    <a:pt x="85" y="67"/>
                    <a:pt x="85" y="67"/>
                    <a:pt x="85" y="67"/>
                  </a:cubicBezTo>
                  <a:cubicBezTo>
                    <a:pt x="87" y="66"/>
                    <a:pt x="87" y="66"/>
                    <a:pt x="87" y="66"/>
                  </a:cubicBezTo>
                  <a:cubicBezTo>
                    <a:pt x="92" y="66"/>
                    <a:pt x="97" y="65"/>
                    <a:pt x="102" y="64"/>
                  </a:cubicBezTo>
                  <a:cubicBezTo>
                    <a:pt x="104" y="64"/>
                    <a:pt x="105" y="64"/>
                    <a:pt x="107" y="64"/>
                  </a:cubicBezTo>
                  <a:cubicBezTo>
                    <a:pt x="109" y="64"/>
                    <a:pt x="109" y="64"/>
                    <a:pt x="110" y="64"/>
                  </a:cubicBezTo>
                  <a:cubicBezTo>
                    <a:pt x="111" y="64"/>
                    <a:pt x="111" y="64"/>
                    <a:pt x="111" y="64"/>
                  </a:cubicBezTo>
                  <a:cubicBezTo>
                    <a:pt x="112" y="64"/>
                    <a:pt x="113" y="64"/>
                    <a:pt x="114" y="64"/>
                  </a:cubicBezTo>
                  <a:cubicBezTo>
                    <a:pt x="114" y="64"/>
                    <a:pt x="114" y="64"/>
                    <a:pt x="114" y="64"/>
                  </a:cubicBezTo>
                  <a:cubicBezTo>
                    <a:pt x="115" y="64"/>
                    <a:pt x="115" y="64"/>
                    <a:pt x="115" y="64"/>
                  </a:cubicBezTo>
                  <a:cubicBezTo>
                    <a:pt x="115" y="63"/>
                    <a:pt x="115" y="63"/>
                    <a:pt x="115" y="63"/>
                  </a:cubicBezTo>
                  <a:cubicBezTo>
                    <a:pt x="120" y="62"/>
                    <a:pt x="120" y="62"/>
                    <a:pt x="120" y="62"/>
                  </a:cubicBezTo>
                  <a:cubicBezTo>
                    <a:pt x="121" y="61"/>
                    <a:pt x="122" y="60"/>
                    <a:pt x="123" y="60"/>
                  </a:cubicBezTo>
                  <a:cubicBezTo>
                    <a:pt x="125" y="58"/>
                    <a:pt x="125" y="58"/>
                    <a:pt x="125" y="58"/>
                  </a:cubicBezTo>
                  <a:cubicBezTo>
                    <a:pt x="126" y="57"/>
                    <a:pt x="128" y="57"/>
                    <a:pt x="129" y="57"/>
                  </a:cubicBezTo>
                  <a:cubicBezTo>
                    <a:pt x="129" y="57"/>
                    <a:pt x="130" y="57"/>
                    <a:pt x="130" y="57"/>
                  </a:cubicBezTo>
                  <a:cubicBezTo>
                    <a:pt x="133" y="58"/>
                    <a:pt x="135" y="60"/>
                    <a:pt x="137" y="61"/>
                  </a:cubicBezTo>
                  <a:cubicBezTo>
                    <a:pt x="138" y="61"/>
                    <a:pt x="138" y="61"/>
                    <a:pt x="138" y="61"/>
                  </a:cubicBezTo>
                  <a:cubicBezTo>
                    <a:pt x="139" y="62"/>
                    <a:pt x="140" y="63"/>
                    <a:pt x="141" y="63"/>
                  </a:cubicBezTo>
                  <a:cubicBezTo>
                    <a:pt x="141" y="63"/>
                    <a:pt x="142" y="64"/>
                    <a:pt x="143" y="64"/>
                  </a:cubicBezTo>
                  <a:cubicBezTo>
                    <a:pt x="146" y="65"/>
                    <a:pt x="151" y="66"/>
                    <a:pt x="155" y="66"/>
                  </a:cubicBezTo>
                  <a:cubicBezTo>
                    <a:pt x="156" y="67"/>
                    <a:pt x="157" y="67"/>
                    <a:pt x="158" y="67"/>
                  </a:cubicBezTo>
                  <a:cubicBezTo>
                    <a:pt x="158" y="65"/>
                    <a:pt x="158" y="65"/>
                    <a:pt x="158" y="64"/>
                  </a:cubicBezTo>
                  <a:cubicBezTo>
                    <a:pt x="156" y="63"/>
                    <a:pt x="154" y="62"/>
                    <a:pt x="153" y="61"/>
                  </a:cubicBezTo>
                  <a:cubicBezTo>
                    <a:pt x="152" y="59"/>
                    <a:pt x="150" y="58"/>
                    <a:pt x="149" y="58"/>
                  </a:cubicBezTo>
                  <a:cubicBezTo>
                    <a:pt x="146" y="56"/>
                    <a:pt x="146" y="56"/>
                    <a:pt x="146" y="56"/>
                  </a:cubicBezTo>
                  <a:cubicBezTo>
                    <a:pt x="152" y="48"/>
                    <a:pt x="152" y="48"/>
                    <a:pt x="152" y="48"/>
                  </a:cubicBezTo>
                  <a:cubicBezTo>
                    <a:pt x="151" y="48"/>
                    <a:pt x="150" y="47"/>
                    <a:pt x="150" y="47"/>
                  </a:cubicBezTo>
                  <a:cubicBezTo>
                    <a:pt x="145" y="47"/>
                    <a:pt x="136" y="41"/>
                    <a:pt x="136" y="41"/>
                  </a:cubicBezTo>
                  <a:cubicBezTo>
                    <a:pt x="135" y="41"/>
                    <a:pt x="134" y="39"/>
                    <a:pt x="134" y="38"/>
                  </a:cubicBezTo>
                  <a:cubicBezTo>
                    <a:pt x="134" y="36"/>
                    <a:pt x="134" y="34"/>
                    <a:pt x="135" y="32"/>
                  </a:cubicBezTo>
                  <a:cubicBezTo>
                    <a:pt x="130" y="30"/>
                    <a:pt x="123" y="28"/>
                    <a:pt x="120" y="26"/>
                  </a:cubicBezTo>
                  <a:cubicBezTo>
                    <a:pt x="119" y="25"/>
                    <a:pt x="119" y="25"/>
                    <a:pt x="119" y="25"/>
                  </a:cubicBezTo>
                  <a:cubicBezTo>
                    <a:pt x="119" y="25"/>
                    <a:pt x="119" y="26"/>
                    <a:pt x="119" y="27"/>
                  </a:cubicBezTo>
                  <a:cubicBezTo>
                    <a:pt x="117" y="34"/>
                    <a:pt x="117" y="34"/>
                    <a:pt x="117" y="34"/>
                  </a:cubicBezTo>
                  <a:cubicBezTo>
                    <a:pt x="113" y="27"/>
                    <a:pt x="113" y="27"/>
                    <a:pt x="113" y="27"/>
                  </a:cubicBezTo>
                  <a:cubicBezTo>
                    <a:pt x="112" y="26"/>
                    <a:pt x="112" y="25"/>
                    <a:pt x="111" y="25"/>
                  </a:cubicBezTo>
                  <a:cubicBezTo>
                    <a:pt x="110" y="25"/>
                    <a:pt x="110" y="25"/>
                    <a:pt x="110" y="25"/>
                  </a:cubicBezTo>
                  <a:cubicBezTo>
                    <a:pt x="108" y="25"/>
                    <a:pt x="106" y="26"/>
                    <a:pt x="104" y="27"/>
                  </a:cubicBezTo>
                  <a:cubicBezTo>
                    <a:pt x="101" y="29"/>
                    <a:pt x="98" y="30"/>
                    <a:pt x="96" y="30"/>
                  </a:cubicBezTo>
                  <a:cubicBezTo>
                    <a:pt x="95" y="30"/>
                    <a:pt x="94" y="30"/>
                    <a:pt x="93" y="29"/>
                  </a:cubicBezTo>
                  <a:cubicBezTo>
                    <a:pt x="93" y="29"/>
                    <a:pt x="88" y="28"/>
                    <a:pt x="87" y="26"/>
                  </a:cubicBezTo>
                  <a:cubicBezTo>
                    <a:pt x="86" y="24"/>
                    <a:pt x="86" y="24"/>
                    <a:pt x="86" y="24"/>
                  </a:cubicBezTo>
                  <a:cubicBezTo>
                    <a:pt x="87" y="23"/>
                    <a:pt x="87" y="23"/>
                    <a:pt x="87" y="23"/>
                  </a:cubicBezTo>
                  <a:cubicBezTo>
                    <a:pt x="87" y="23"/>
                    <a:pt x="87" y="23"/>
                    <a:pt x="87" y="23"/>
                  </a:cubicBezTo>
                  <a:cubicBezTo>
                    <a:pt x="81" y="22"/>
                    <a:pt x="70" y="16"/>
                    <a:pt x="68" y="14"/>
                  </a:cubicBezTo>
                  <a:cubicBezTo>
                    <a:pt x="67" y="12"/>
                    <a:pt x="63" y="10"/>
                    <a:pt x="58" y="10"/>
                  </a:cubicBezTo>
                  <a:cubicBezTo>
                    <a:pt x="56" y="10"/>
                    <a:pt x="55" y="10"/>
                    <a:pt x="54" y="11"/>
                  </a:cubicBezTo>
                  <a:cubicBezTo>
                    <a:pt x="52" y="11"/>
                    <a:pt x="51" y="11"/>
                    <a:pt x="49" y="11"/>
                  </a:cubicBezTo>
                  <a:cubicBezTo>
                    <a:pt x="39" y="11"/>
                    <a:pt x="22" y="6"/>
                    <a:pt x="19" y="4"/>
                  </a:cubicBezTo>
                  <a:cubicBezTo>
                    <a:pt x="17" y="2"/>
                    <a:pt x="14" y="1"/>
                    <a:pt x="13" y="1"/>
                  </a:cubicBezTo>
                  <a:cubicBezTo>
                    <a:pt x="12" y="1"/>
                    <a:pt x="12" y="1"/>
                    <a:pt x="12" y="1"/>
                  </a:cubicBezTo>
                  <a:cubicBezTo>
                    <a:pt x="12" y="2"/>
                    <a:pt x="11" y="2"/>
                    <a:pt x="10" y="2"/>
                  </a:cubicBezTo>
                  <a:cubicBezTo>
                    <a:pt x="7" y="2"/>
                    <a:pt x="4"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551"/>
            <p:cNvSpPr/>
            <p:nvPr/>
          </p:nvSpPr>
          <p:spPr bwMode="auto">
            <a:xfrm>
              <a:off x="2448764" y="1254479"/>
              <a:ext cx="16118" cy="5373"/>
            </a:xfrm>
            <a:custGeom>
              <a:gdLst>
                <a:gd name="T0" fmla="*/ 0 w 5"/>
                <a:gd name="T1" fmla="*/ 0 h 2"/>
                <a:gd name="T2" fmla="*/ 0 w 5"/>
                <a:gd name="T3" fmla="*/ 2 h 2"/>
                <a:gd name="T4" fmla="*/ 1 w 5"/>
                <a:gd name="T5" fmla="*/ 2 h 2"/>
                <a:gd name="T6" fmla="*/ 2 w 5"/>
                <a:gd name="T7" fmla="*/ 2 h 2"/>
                <a:gd name="T8" fmla="*/ 3 w 5"/>
                <a:gd name="T9" fmla="*/ 2 h 2"/>
                <a:gd name="T10" fmla="*/ 4 w 5"/>
                <a:gd name="T11" fmla="*/ 2 h 2"/>
                <a:gd name="T12" fmla="*/ 4 w 5"/>
                <a:gd name="T13" fmla="*/ 2 h 2"/>
                <a:gd name="T14" fmla="*/ 5 w 5"/>
                <a:gd name="T15" fmla="*/ 2 h 2"/>
                <a:gd name="T16" fmla="*/ 3 w 5"/>
                <a:gd name="T17" fmla="*/ 1 h 2"/>
                <a:gd name="T18" fmla="*/ 0 w 5"/>
                <a:gd name="T19"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cubicBezTo>
                    <a:pt x="0" y="2"/>
                    <a:pt x="0" y="2"/>
                    <a:pt x="0" y="2"/>
                  </a:cubicBezTo>
                  <a:cubicBezTo>
                    <a:pt x="1" y="2"/>
                    <a:pt x="1" y="2"/>
                    <a:pt x="1" y="2"/>
                  </a:cubicBezTo>
                  <a:cubicBezTo>
                    <a:pt x="2" y="2"/>
                    <a:pt x="2" y="2"/>
                    <a:pt x="2" y="2"/>
                  </a:cubicBezTo>
                  <a:cubicBezTo>
                    <a:pt x="2" y="2"/>
                    <a:pt x="3" y="2"/>
                    <a:pt x="3" y="2"/>
                  </a:cubicBezTo>
                  <a:cubicBezTo>
                    <a:pt x="3" y="2"/>
                    <a:pt x="4" y="2"/>
                    <a:pt x="4" y="2"/>
                  </a:cubicBezTo>
                  <a:cubicBezTo>
                    <a:pt x="4" y="2"/>
                    <a:pt x="4" y="2"/>
                    <a:pt x="4" y="2"/>
                  </a:cubicBezTo>
                  <a:cubicBezTo>
                    <a:pt x="5" y="2"/>
                    <a:pt x="5" y="2"/>
                    <a:pt x="5" y="2"/>
                  </a:cubicBezTo>
                  <a:cubicBezTo>
                    <a:pt x="3" y="1"/>
                    <a:pt x="3" y="1"/>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Rectangle 552"/>
            <p:cNvSpPr>
              <a:spLocks noChangeArrowheads="1"/>
            </p:cNvSpPr>
            <p:nvPr/>
          </p:nvSpPr>
          <p:spPr bwMode="auto">
            <a:xfrm>
              <a:off x="2775144" y="1085246"/>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Rectangle 553"/>
            <p:cNvSpPr>
              <a:spLocks noChangeArrowheads="1"/>
            </p:cNvSpPr>
            <p:nvPr/>
          </p:nvSpPr>
          <p:spPr bwMode="auto">
            <a:xfrm>
              <a:off x="2775144" y="1085246"/>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554"/>
            <p:cNvSpPr/>
            <p:nvPr/>
          </p:nvSpPr>
          <p:spPr bwMode="auto">
            <a:xfrm>
              <a:off x="1484400" y="1952905"/>
              <a:ext cx="5373" cy="0"/>
            </a:xfrm>
            <a:custGeom>
              <a:gdLst>
                <a:gd name="T0" fmla="*/ 0 w 2"/>
                <a:gd name="T1" fmla="*/ 0 w 2"/>
                <a:gd name="T2" fmla="*/ 2 w 2"/>
                <a:gd name="T3" fmla="*/ 0 w 2"/>
              </a:gdLst>
              <a:cxnLst>
                <a:cxn ang="0">
                  <a:pos x="T0" y="0"/>
                </a:cxn>
                <a:cxn ang="0">
                  <a:pos x="T1" y="0"/>
                </a:cxn>
                <a:cxn ang="0">
                  <a:pos x="T2" y="0"/>
                </a:cxn>
                <a:cxn ang="0">
                  <a:pos x="T3" y="0"/>
                </a:cxn>
              </a:cxnLst>
              <a:rect l="0" t="0" r="r" b="b"/>
              <a:pathLst>
                <a:path w="2">
                  <a:moveTo>
                    <a:pt x="0" y="0"/>
                  </a:moveTo>
                  <a:cubicBezTo>
                    <a:pt x="0" y="0"/>
                    <a:pt x="0" y="0"/>
                    <a:pt x="0" y="0"/>
                  </a:cubicBezTo>
                  <a:cubicBezTo>
                    <a:pt x="0" y="0"/>
                    <a:pt x="1" y="0"/>
                    <a:pt x="2"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Rectangle 555"/>
            <p:cNvSpPr>
              <a:spLocks noChangeArrowheads="1"/>
            </p:cNvSpPr>
            <p:nvPr/>
          </p:nvSpPr>
          <p:spPr bwMode="auto">
            <a:xfrm>
              <a:off x="1458880" y="1904552"/>
              <a:ext cx="1343" cy="13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556"/>
            <p:cNvSpPr/>
            <p:nvPr/>
          </p:nvSpPr>
          <p:spPr bwMode="auto">
            <a:xfrm flipH="1">
              <a:off x="1458880" y="1904552"/>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557"/>
            <p:cNvSpPr>
              <a:spLocks noEditPoints="1"/>
            </p:cNvSpPr>
            <p:nvPr/>
          </p:nvSpPr>
          <p:spPr bwMode="auto">
            <a:xfrm>
              <a:off x="1589" y="0"/>
              <a:ext cx="11673106" cy="2425685"/>
            </a:xfrm>
            <a:custGeom>
              <a:gdLst>
                <a:gd name="T0" fmla="*/ 1938 w 3678"/>
                <a:gd name="T1" fmla="*/ 388 h 764"/>
                <a:gd name="T2" fmla="*/ 112 w 3678"/>
                <a:gd name="T3" fmla="*/ 57 h 764"/>
                <a:gd name="T4" fmla="*/ 90 w 3678"/>
                <a:gd name="T5" fmla="*/ 61 h 764"/>
                <a:gd name="T6" fmla="*/ 174 w 3678"/>
                <a:gd name="T7" fmla="*/ 10 h 764"/>
                <a:gd name="T8" fmla="*/ 57 w 3678"/>
                <a:gd name="T9" fmla="*/ 144 h 764"/>
                <a:gd name="T10" fmla="*/ 56 w 3678"/>
                <a:gd name="T11" fmla="*/ 378 h 764"/>
                <a:gd name="T12" fmla="*/ 44 w 3678"/>
                <a:gd name="T13" fmla="*/ 428 h 764"/>
                <a:gd name="T14" fmla="*/ 142 w 3678"/>
                <a:gd name="T15" fmla="*/ 481 h 764"/>
                <a:gd name="T16" fmla="*/ 230 w 3678"/>
                <a:gd name="T17" fmla="*/ 569 h 764"/>
                <a:gd name="T18" fmla="*/ 192 w 3678"/>
                <a:gd name="T19" fmla="*/ 629 h 764"/>
                <a:gd name="T20" fmla="*/ 264 w 3678"/>
                <a:gd name="T21" fmla="*/ 699 h 764"/>
                <a:gd name="T22" fmla="*/ 431 w 3678"/>
                <a:gd name="T23" fmla="*/ 764 h 764"/>
                <a:gd name="T24" fmla="*/ 443 w 3678"/>
                <a:gd name="T25" fmla="*/ 631 h 764"/>
                <a:gd name="T26" fmla="*/ 457 w 3678"/>
                <a:gd name="T27" fmla="*/ 598 h 764"/>
                <a:gd name="T28" fmla="*/ 408 w 3678"/>
                <a:gd name="T29" fmla="*/ 527 h 764"/>
                <a:gd name="T30" fmla="*/ 450 w 3678"/>
                <a:gd name="T31" fmla="*/ 499 h 764"/>
                <a:gd name="T32" fmla="*/ 494 w 3678"/>
                <a:gd name="T33" fmla="*/ 449 h 764"/>
                <a:gd name="T34" fmla="*/ 553 w 3678"/>
                <a:gd name="T35" fmla="*/ 447 h 764"/>
                <a:gd name="T36" fmla="*/ 659 w 3678"/>
                <a:gd name="T37" fmla="*/ 459 h 764"/>
                <a:gd name="T38" fmla="*/ 729 w 3678"/>
                <a:gd name="T39" fmla="*/ 469 h 764"/>
                <a:gd name="T40" fmla="*/ 740 w 3678"/>
                <a:gd name="T41" fmla="*/ 426 h 764"/>
                <a:gd name="T42" fmla="*/ 763 w 3678"/>
                <a:gd name="T43" fmla="*/ 393 h 764"/>
                <a:gd name="T44" fmla="*/ 769 w 3678"/>
                <a:gd name="T45" fmla="*/ 361 h 764"/>
                <a:gd name="T46" fmla="*/ 832 w 3678"/>
                <a:gd name="T47" fmla="*/ 351 h 764"/>
                <a:gd name="T48" fmla="*/ 882 w 3678"/>
                <a:gd name="T49" fmla="*/ 341 h 764"/>
                <a:gd name="T50" fmla="*/ 956 w 3678"/>
                <a:gd name="T51" fmla="*/ 316 h 764"/>
                <a:gd name="T52" fmla="*/ 1012 w 3678"/>
                <a:gd name="T53" fmla="*/ 359 h 764"/>
                <a:gd name="T54" fmla="*/ 1073 w 3678"/>
                <a:gd name="T55" fmla="*/ 377 h 764"/>
                <a:gd name="T56" fmla="*/ 1234 w 3678"/>
                <a:gd name="T57" fmla="*/ 464 h 764"/>
                <a:gd name="T58" fmla="*/ 1271 w 3678"/>
                <a:gd name="T59" fmla="*/ 470 h 764"/>
                <a:gd name="T60" fmla="*/ 1351 w 3678"/>
                <a:gd name="T61" fmla="*/ 499 h 764"/>
                <a:gd name="T62" fmla="*/ 1423 w 3678"/>
                <a:gd name="T63" fmla="*/ 517 h 764"/>
                <a:gd name="T64" fmla="*/ 1475 w 3678"/>
                <a:gd name="T65" fmla="*/ 492 h 764"/>
                <a:gd name="T66" fmla="*/ 1583 w 3678"/>
                <a:gd name="T67" fmla="*/ 486 h 764"/>
                <a:gd name="T68" fmla="*/ 1670 w 3678"/>
                <a:gd name="T69" fmla="*/ 488 h 764"/>
                <a:gd name="T70" fmla="*/ 1731 w 3678"/>
                <a:gd name="T71" fmla="*/ 439 h 764"/>
                <a:gd name="T72" fmla="*/ 1867 w 3678"/>
                <a:gd name="T73" fmla="*/ 483 h 764"/>
                <a:gd name="T74" fmla="*/ 2054 w 3678"/>
                <a:gd name="T75" fmla="*/ 493 h 764"/>
                <a:gd name="T76" fmla="*/ 2190 w 3678"/>
                <a:gd name="T77" fmla="*/ 488 h 764"/>
                <a:gd name="T78" fmla="*/ 2232 w 3678"/>
                <a:gd name="T79" fmla="*/ 387 h 764"/>
                <a:gd name="T80" fmla="*/ 2348 w 3678"/>
                <a:gd name="T81" fmla="*/ 395 h 764"/>
                <a:gd name="T82" fmla="*/ 2396 w 3678"/>
                <a:gd name="T83" fmla="*/ 487 h 764"/>
                <a:gd name="T84" fmla="*/ 2478 w 3678"/>
                <a:gd name="T85" fmla="*/ 561 h 764"/>
                <a:gd name="T86" fmla="*/ 2576 w 3678"/>
                <a:gd name="T87" fmla="*/ 570 h 764"/>
                <a:gd name="T88" fmla="*/ 2535 w 3678"/>
                <a:gd name="T89" fmla="*/ 644 h 764"/>
                <a:gd name="T90" fmla="*/ 2476 w 3678"/>
                <a:gd name="T91" fmla="*/ 724 h 764"/>
                <a:gd name="T92" fmla="*/ 2606 w 3678"/>
                <a:gd name="T93" fmla="*/ 670 h 764"/>
                <a:gd name="T94" fmla="*/ 2732 w 3678"/>
                <a:gd name="T95" fmla="*/ 400 h 764"/>
                <a:gd name="T96" fmla="*/ 2635 w 3678"/>
                <a:gd name="T97" fmla="*/ 366 h 764"/>
                <a:gd name="T98" fmla="*/ 2720 w 3678"/>
                <a:gd name="T99" fmla="*/ 218 h 764"/>
                <a:gd name="T100" fmla="*/ 2906 w 3678"/>
                <a:gd name="T101" fmla="*/ 176 h 764"/>
                <a:gd name="T102" fmla="*/ 3006 w 3678"/>
                <a:gd name="T103" fmla="*/ 190 h 764"/>
                <a:gd name="T104" fmla="*/ 3055 w 3678"/>
                <a:gd name="T105" fmla="*/ 159 h 764"/>
                <a:gd name="T106" fmla="*/ 3195 w 3678"/>
                <a:gd name="T107" fmla="*/ 100 h 764"/>
                <a:gd name="T108" fmla="*/ 3308 w 3678"/>
                <a:gd name="T109" fmla="*/ 55 h 764"/>
                <a:gd name="T110" fmla="*/ 3151 w 3678"/>
                <a:gd name="T111" fmla="*/ 226 h 764"/>
                <a:gd name="T112" fmla="*/ 3157 w 3678"/>
                <a:gd name="T113" fmla="*/ 413 h 764"/>
                <a:gd name="T114" fmla="*/ 3242 w 3678"/>
                <a:gd name="T115" fmla="*/ 300 h 764"/>
                <a:gd name="T116" fmla="*/ 3272 w 3678"/>
                <a:gd name="T117" fmla="*/ 185 h 764"/>
                <a:gd name="T118" fmla="*/ 3419 w 3678"/>
                <a:gd name="T119" fmla="*/ 132 h 764"/>
                <a:gd name="T120" fmla="*/ 3514 w 3678"/>
                <a:gd name="T121" fmla="*/ 101 h 764"/>
                <a:gd name="T122" fmla="*/ 3677 w 3678"/>
                <a:gd name="T123" fmla="*/ 52 h 7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78" h="764">
                  <a:moveTo>
                    <a:pt x="158" y="643"/>
                  </a:moveTo>
                  <a:cubicBezTo>
                    <a:pt x="157" y="643"/>
                    <a:pt x="157" y="644"/>
                    <a:pt x="157" y="644"/>
                  </a:cubicBezTo>
                  <a:cubicBezTo>
                    <a:pt x="157" y="644"/>
                    <a:pt x="157" y="643"/>
                    <a:pt x="158" y="643"/>
                  </a:cubicBezTo>
                  <a:moveTo>
                    <a:pt x="671" y="467"/>
                  </a:moveTo>
                  <a:cubicBezTo>
                    <a:pt x="671" y="467"/>
                    <a:pt x="671" y="467"/>
                    <a:pt x="671" y="467"/>
                  </a:cubicBezTo>
                  <a:cubicBezTo>
                    <a:pt x="671" y="467"/>
                    <a:pt x="671" y="467"/>
                    <a:pt x="671" y="467"/>
                  </a:cubicBezTo>
                  <a:moveTo>
                    <a:pt x="3456" y="141"/>
                  </a:moveTo>
                  <a:cubicBezTo>
                    <a:pt x="3456" y="141"/>
                    <a:pt x="3456" y="141"/>
                    <a:pt x="3456" y="141"/>
                  </a:cubicBezTo>
                  <a:cubicBezTo>
                    <a:pt x="3456" y="141"/>
                    <a:pt x="3456" y="141"/>
                    <a:pt x="3456" y="141"/>
                  </a:cubicBezTo>
                  <a:moveTo>
                    <a:pt x="1959" y="306"/>
                  </a:moveTo>
                  <a:cubicBezTo>
                    <a:pt x="1957" y="305"/>
                    <a:pt x="1956" y="305"/>
                    <a:pt x="1954" y="305"/>
                  </a:cubicBezTo>
                  <a:cubicBezTo>
                    <a:pt x="1954" y="305"/>
                    <a:pt x="1954" y="305"/>
                    <a:pt x="1955" y="305"/>
                  </a:cubicBezTo>
                  <a:cubicBezTo>
                    <a:pt x="1958" y="305"/>
                    <a:pt x="1961" y="306"/>
                    <a:pt x="1962" y="309"/>
                  </a:cubicBezTo>
                  <a:cubicBezTo>
                    <a:pt x="1961" y="311"/>
                    <a:pt x="1960" y="311"/>
                    <a:pt x="1960" y="313"/>
                  </a:cubicBezTo>
                  <a:cubicBezTo>
                    <a:pt x="1960" y="314"/>
                    <a:pt x="1961" y="315"/>
                    <a:pt x="1961" y="316"/>
                  </a:cubicBezTo>
                  <a:cubicBezTo>
                    <a:pt x="1960" y="316"/>
                    <a:pt x="1960" y="316"/>
                    <a:pt x="1960" y="316"/>
                  </a:cubicBezTo>
                  <a:cubicBezTo>
                    <a:pt x="1959" y="317"/>
                    <a:pt x="1959" y="318"/>
                    <a:pt x="1959" y="319"/>
                  </a:cubicBezTo>
                  <a:cubicBezTo>
                    <a:pt x="1958" y="321"/>
                    <a:pt x="1959" y="322"/>
                    <a:pt x="1958" y="324"/>
                  </a:cubicBezTo>
                  <a:cubicBezTo>
                    <a:pt x="1958" y="325"/>
                    <a:pt x="1957" y="325"/>
                    <a:pt x="1957" y="326"/>
                  </a:cubicBezTo>
                  <a:cubicBezTo>
                    <a:pt x="1957" y="327"/>
                    <a:pt x="1958" y="329"/>
                    <a:pt x="1958" y="330"/>
                  </a:cubicBezTo>
                  <a:cubicBezTo>
                    <a:pt x="1957" y="331"/>
                    <a:pt x="1957" y="333"/>
                    <a:pt x="1956" y="334"/>
                  </a:cubicBezTo>
                  <a:cubicBezTo>
                    <a:pt x="1956" y="336"/>
                    <a:pt x="1955" y="337"/>
                    <a:pt x="1954" y="338"/>
                  </a:cubicBezTo>
                  <a:cubicBezTo>
                    <a:pt x="1954" y="341"/>
                    <a:pt x="1954" y="341"/>
                    <a:pt x="1953" y="343"/>
                  </a:cubicBezTo>
                  <a:cubicBezTo>
                    <a:pt x="1952" y="345"/>
                    <a:pt x="1952" y="345"/>
                    <a:pt x="1951" y="347"/>
                  </a:cubicBezTo>
                  <a:cubicBezTo>
                    <a:pt x="1951" y="349"/>
                    <a:pt x="1951" y="351"/>
                    <a:pt x="1951" y="354"/>
                  </a:cubicBezTo>
                  <a:cubicBezTo>
                    <a:pt x="1951" y="358"/>
                    <a:pt x="1952" y="361"/>
                    <a:pt x="1950" y="366"/>
                  </a:cubicBezTo>
                  <a:cubicBezTo>
                    <a:pt x="1948" y="368"/>
                    <a:pt x="1945" y="378"/>
                    <a:pt x="1941" y="379"/>
                  </a:cubicBezTo>
                  <a:cubicBezTo>
                    <a:pt x="1941" y="379"/>
                    <a:pt x="1940" y="379"/>
                    <a:pt x="1940" y="379"/>
                  </a:cubicBezTo>
                  <a:cubicBezTo>
                    <a:pt x="1938" y="379"/>
                    <a:pt x="1941" y="376"/>
                    <a:pt x="1940" y="374"/>
                  </a:cubicBezTo>
                  <a:cubicBezTo>
                    <a:pt x="1939" y="373"/>
                    <a:pt x="1938" y="373"/>
                    <a:pt x="1937" y="373"/>
                  </a:cubicBezTo>
                  <a:cubicBezTo>
                    <a:pt x="1933" y="373"/>
                    <a:pt x="1928" y="380"/>
                    <a:pt x="1927" y="383"/>
                  </a:cubicBezTo>
                  <a:cubicBezTo>
                    <a:pt x="1929" y="382"/>
                    <a:pt x="1932" y="379"/>
                    <a:pt x="1935" y="379"/>
                  </a:cubicBezTo>
                  <a:cubicBezTo>
                    <a:pt x="1935" y="379"/>
                    <a:pt x="1936" y="379"/>
                    <a:pt x="1936" y="380"/>
                  </a:cubicBezTo>
                  <a:cubicBezTo>
                    <a:pt x="1938" y="381"/>
                    <a:pt x="1939" y="386"/>
                    <a:pt x="1938" y="388"/>
                  </a:cubicBezTo>
                  <a:cubicBezTo>
                    <a:pt x="1937" y="389"/>
                    <a:pt x="1934" y="390"/>
                    <a:pt x="1932" y="390"/>
                  </a:cubicBezTo>
                  <a:cubicBezTo>
                    <a:pt x="1930" y="391"/>
                    <a:pt x="1927" y="392"/>
                    <a:pt x="1925" y="393"/>
                  </a:cubicBezTo>
                  <a:cubicBezTo>
                    <a:pt x="1922" y="396"/>
                    <a:pt x="1919" y="400"/>
                    <a:pt x="1917" y="403"/>
                  </a:cubicBezTo>
                  <a:cubicBezTo>
                    <a:pt x="1913" y="407"/>
                    <a:pt x="1910" y="409"/>
                    <a:pt x="1905" y="409"/>
                  </a:cubicBezTo>
                  <a:cubicBezTo>
                    <a:pt x="1898" y="410"/>
                    <a:pt x="1892" y="417"/>
                    <a:pt x="1886" y="421"/>
                  </a:cubicBezTo>
                  <a:cubicBezTo>
                    <a:pt x="1885" y="422"/>
                    <a:pt x="1884" y="422"/>
                    <a:pt x="1882" y="422"/>
                  </a:cubicBezTo>
                  <a:cubicBezTo>
                    <a:pt x="1882" y="422"/>
                    <a:pt x="1881" y="422"/>
                    <a:pt x="1880" y="422"/>
                  </a:cubicBezTo>
                  <a:cubicBezTo>
                    <a:pt x="1879" y="421"/>
                    <a:pt x="1878" y="421"/>
                    <a:pt x="1877" y="421"/>
                  </a:cubicBezTo>
                  <a:cubicBezTo>
                    <a:pt x="1876" y="421"/>
                    <a:pt x="1876" y="421"/>
                    <a:pt x="1875" y="422"/>
                  </a:cubicBezTo>
                  <a:cubicBezTo>
                    <a:pt x="1872" y="422"/>
                    <a:pt x="1871" y="423"/>
                    <a:pt x="1871" y="425"/>
                  </a:cubicBezTo>
                  <a:cubicBezTo>
                    <a:pt x="1871" y="428"/>
                    <a:pt x="1872" y="427"/>
                    <a:pt x="1870" y="430"/>
                  </a:cubicBezTo>
                  <a:cubicBezTo>
                    <a:pt x="1869" y="432"/>
                    <a:pt x="1868" y="433"/>
                    <a:pt x="1867" y="435"/>
                  </a:cubicBezTo>
                  <a:cubicBezTo>
                    <a:pt x="1864" y="440"/>
                    <a:pt x="1863" y="441"/>
                    <a:pt x="1859" y="442"/>
                  </a:cubicBezTo>
                  <a:cubicBezTo>
                    <a:pt x="1849" y="445"/>
                    <a:pt x="1839" y="449"/>
                    <a:pt x="1828" y="449"/>
                  </a:cubicBezTo>
                  <a:cubicBezTo>
                    <a:pt x="1826" y="449"/>
                    <a:pt x="1824" y="449"/>
                    <a:pt x="1822" y="449"/>
                  </a:cubicBezTo>
                  <a:cubicBezTo>
                    <a:pt x="1819" y="448"/>
                    <a:pt x="1817" y="447"/>
                    <a:pt x="1814" y="446"/>
                  </a:cubicBezTo>
                  <a:cubicBezTo>
                    <a:pt x="1813" y="445"/>
                    <a:pt x="1810" y="445"/>
                    <a:pt x="1809" y="444"/>
                  </a:cubicBezTo>
                  <a:cubicBezTo>
                    <a:pt x="1807" y="441"/>
                    <a:pt x="1815" y="441"/>
                    <a:pt x="1818" y="440"/>
                  </a:cubicBezTo>
                  <a:cubicBezTo>
                    <a:pt x="1831" y="438"/>
                    <a:pt x="1847" y="437"/>
                    <a:pt x="1857" y="426"/>
                  </a:cubicBezTo>
                  <a:cubicBezTo>
                    <a:pt x="1861" y="420"/>
                    <a:pt x="1865" y="415"/>
                    <a:pt x="1872" y="412"/>
                  </a:cubicBezTo>
                  <a:cubicBezTo>
                    <a:pt x="1875" y="412"/>
                    <a:pt x="1876" y="411"/>
                    <a:pt x="1878" y="409"/>
                  </a:cubicBezTo>
                  <a:cubicBezTo>
                    <a:pt x="1880" y="408"/>
                    <a:pt x="1887" y="402"/>
                    <a:pt x="1883" y="399"/>
                  </a:cubicBezTo>
                  <a:cubicBezTo>
                    <a:pt x="1896" y="388"/>
                    <a:pt x="1912" y="380"/>
                    <a:pt x="1921" y="365"/>
                  </a:cubicBezTo>
                  <a:cubicBezTo>
                    <a:pt x="1928" y="352"/>
                    <a:pt x="1936" y="339"/>
                    <a:pt x="1941" y="325"/>
                  </a:cubicBezTo>
                  <a:cubicBezTo>
                    <a:pt x="1942" y="319"/>
                    <a:pt x="1943" y="314"/>
                    <a:pt x="1947" y="310"/>
                  </a:cubicBezTo>
                  <a:cubicBezTo>
                    <a:pt x="1950" y="308"/>
                    <a:pt x="1951" y="305"/>
                    <a:pt x="1954" y="305"/>
                  </a:cubicBezTo>
                  <a:cubicBezTo>
                    <a:pt x="1954" y="305"/>
                    <a:pt x="1955" y="305"/>
                    <a:pt x="1955" y="305"/>
                  </a:cubicBezTo>
                  <a:cubicBezTo>
                    <a:pt x="1956" y="306"/>
                    <a:pt x="1957" y="306"/>
                    <a:pt x="1959" y="306"/>
                  </a:cubicBezTo>
                  <a:moveTo>
                    <a:pt x="117" y="63"/>
                  </a:moveTo>
                  <a:cubicBezTo>
                    <a:pt x="116" y="62"/>
                    <a:pt x="115" y="61"/>
                    <a:pt x="115" y="59"/>
                  </a:cubicBezTo>
                  <a:cubicBezTo>
                    <a:pt x="115" y="59"/>
                    <a:pt x="115" y="59"/>
                    <a:pt x="115" y="59"/>
                  </a:cubicBezTo>
                  <a:cubicBezTo>
                    <a:pt x="115" y="60"/>
                    <a:pt x="116" y="62"/>
                    <a:pt x="117" y="63"/>
                  </a:cubicBezTo>
                  <a:moveTo>
                    <a:pt x="115" y="59"/>
                  </a:moveTo>
                  <a:cubicBezTo>
                    <a:pt x="114" y="59"/>
                    <a:pt x="113" y="58"/>
                    <a:pt x="112" y="57"/>
                  </a:cubicBezTo>
                  <a:cubicBezTo>
                    <a:pt x="110" y="56"/>
                    <a:pt x="109" y="55"/>
                    <a:pt x="108" y="53"/>
                  </a:cubicBezTo>
                  <a:cubicBezTo>
                    <a:pt x="106" y="51"/>
                    <a:pt x="106" y="50"/>
                    <a:pt x="105" y="48"/>
                  </a:cubicBezTo>
                  <a:cubicBezTo>
                    <a:pt x="105" y="48"/>
                    <a:pt x="102" y="47"/>
                    <a:pt x="103" y="46"/>
                  </a:cubicBezTo>
                  <a:cubicBezTo>
                    <a:pt x="103" y="45"/>
                    <a:pt x="103" y="45"/>
                    <a:pt x="104" y="45"/>
                  </a:cubicBezTo>
                  <a:cubicBezTo>
                    <a:pt x="105" y="45"/>
                    <a:pt x="108" y="47"/>
                    <a:pt x="109" y="48"/>
                  </a:cubicBezTo>
                  <a:cubicBezTo>
                    <a:pt x="117" y="52"/>
                    <a:pt x="125" y="56"/>
                    <a:pt x="134" y="60"/>
                  </a:cubicBezTo>
                  <a:cubicBezTo>
                    <a:pt x="136" y="62"/>
                    <a:pt x="137" y="70"/>
                    <a:pt x="135" y="73"/>
                  </a:cubicBezTo>
                  <a:cubicBezTo>
                    <a:pt x="135" y="75"/>
                    <a:pt x="131" y="77"/>
                    <a:pt x="133" y="79"/>
                  </a:cubicBezTo>
                  <a:cubicBezTo>
                    <a:pt x="139" y="86"/>
                    <a:pt x="144" y="94"/>
                    <a:pt x="150" y="101"/>
                  </a:cubicBezTo>
                  <a:cubicBezTo>
                    <a:pt x="153" y="104"/>
                    <a:pt x="149" y="104"/>
                    <a:pt x="150" y="109"/>
                  </a:cubicBezTo>
                  <a:cubicBezTo>
                    <a:pt x="150" y="110"/>
                    <a:pt x="151" y="111"/>
                    <a:pt x="152" y="111"/>
                  </a:cubicBezTo>
                  <a:cubicBezTo>
                    <a:pt x="148" y="115"/>
                    <a:pt x="143" y="118"/>
                    <a:pt x="138" y="121"/>
                  </a:cubicBezTo>
                  <a:cubicBezTo>
                    <a:pt x="140" y="121"/>
                    <a:pt x="140" y="122"/>
                    <a:pt x="138" y="122"/>
                  </a:cubicBezTo>
                  <a:cubicBezTo>
                    <a:pt x="138" y="122"/>
                    <a:pt x="138" y="122"/>
                    <a:pt x="137" y="122"/>
                  </a:cubicBezTo>
                  <a:cubicBezTo>
                    <a:pt x="135" y="122"/>
                    <a:pt x="129" y="121"/>
                    <a:pt x="129" y="120"/>
                  </a:cubicBezTo>
                  <a:cubicBezTo>
                    <a:pt x="129" y="119"/>
                    <a:pt x="129" y="118"/>
                    <a:pt x="128" y="117"/>
                  </a:cubicBezTo>
                  <a:cubicBezTo>
                    <a:pt x="129" y="117"/>
                    <a:pt x="129" y="117"/>
                    <a:pt x="129" y="117"/>
                  </a:cubicBezTo>
                  <a:cubicBezTo>
                    <a:pt x="130" y="117"/>
                    <a:pt x="130" y="117"/>
                    <a:pt x="131" y="116"/>
                  </a:cubicBezTo>
                  <a:cubicBezTo>
                    <a:pt x="133" y="114"/>
                    <a:pt x="133" y="112"/>
                    <a:pt x="130" y="110"/>
                  </a:cubicBezTo>
                  <a:cubicBezTo>
                    <a:pt x="127" y="107"/>
                    <a:pt x="123" y="104"/>
                    <a:pt x="119" y="101"/>
                  </a:cubicBezTo>
                  <a:cubicBezTo>
                    <a:pt x="116" y="98"/>
                    <a:pt x="113" y="98"/>
                    <a:pt x="110" y="96"/>
                  </a:cubicBezTo>
                  <a:cubicBezTo>
                    <a:pt x="106" y="94"/>
                    <a:pt x="104" y="90"/>
                    <a:pt x="100" y="87"/>
                  </a:cubicBezTo>
                  <a:cubicBezTo>
                    <a:pt x="101" y="87"/>
                    <a:pt x="102" y="87"/>
                    <a:pt x="102" y="87"/>
                  </a:cubicBezTo>
                  <a:cubicBezTo>
                    <a:pt x="103" y="87"/>
                    <a:pt x="105" y="88"/>
                    <a:pt x="105" y="89"/>
                  </a:cubicBezTo>
                  <a:cubicBezTo>
                    <a:pt x="106" y="86"/>
                    <a:pt x="105" y="82"/>
                    <a:pt x="104" y="79"/>
                  </a:cubicBezTo>
                  <a:cubicBezTo>
                    <a:pt x="104" y="78"/>
                    <a:pt x="101" y="78"/>
                    <a:pt x="100" y="76"/>
                  </a:cubicBezTo>
                  <a:cubicBezTo>
                    <a:pt x="97" y="74"/>
                    <a:pt x="99" y="73"/>
                    <a:pt x="98" y="70"/>
                  </a:cubicBezTo>
                  <a:cubicBezTo>
                    <a:pt x="98" y="69"/>
                    <a:pt x="94" y="65"/>
                    <a:pt x="94" y="65"/>
                  </a:cubicBezTo>
                  <a:cubicBezTo>
                    <a:pt x="94" y="65"/>
                    <a:pt x="93" y="65"/>
                    <a:pt x="93" y="65"/>
                  </a:cubicBezTo>
                  <a:cubicBezTo>
                    <a:pt x="93" y="65"/>
                    <a:pt x="92" y="65"/>
                    <a:pt x="92" y="65"/>
                  </a:cubicBezTo>
                  <a:cubicBezTo>
                    <a:pt x="92" y="65"/>
                    <a:pt x="92" y="65"/>
                    <a:pt x="92" y="65"/>
                  </a:cubicBezTo>
                  <a:cubicBezTo>
                    <a:pt x="91" y="65"/>
                    <a:pt x="91" y="65"/>
                    <a:pt x="91" y="65"/>
                  </a:cubicBezTo>
                  <a:cubicBezTo>
                    <a:pt x="90" y="65"/>
                    <a:pt x="90" y="63"/>
                    <a:pt x="90" y="62"/>
                  </a:cubicBezTo>
                  <a:cubicBezTo>
                    <a:pt x="90" y="61"/>
                    <a:pt x="90" y="61"/>
                    <a:pt x="90" y="61"/>
                  </a:cubicBezTo>
                  <a:cubicBezTo>
                    <a:pt x="93" y="63"/>
                    <a:pt x="95" y="66"/>
                    <a:pt x="98" y="68"/>
                  </a:cubicBezTo>
                  <a:cubicBezTo>
                    <a:pt x="99" y="69"/>
                    <a:pt x="100" y="69"/>
                    <a:pt x="101" y="70"/>
                  </a:cubicBezTo>
                  <a:cubicBezTo>
                    <a:pt x="101" y="71"/>
                    <a:pt x="99" y="71"/>
                    <a:pt x="99" y="72"/>
                  </a:cubicBezTo>
                  <a:cubicBezTo>
                    <a:pt x="100" y="76"/>
                    <a:pt x="106" y="77"/>
                    <a:pt x="109" y="79"/>
                  </a:cubicBezTo>
                  <a:cubicBezTo>
                    <a:pt x="108" y="77"/>
                    <a:pt x="107" y="74"/>
                    <a:pt x="106" y="72"/>
                  </a:cubicBezTo>
                  <a:cubicBezTo>
                    <a:pt x="107" y="73"/>
                    <a:pt x="108" y="73"/>
                    <a:pt x="109" y="74"/>
                  </a:cubicBezTo>
                  <a:cubicBezTo>
                    <a:pt x="109" y="71"/>
                    <a:pt x="106" y="66"/>
                    <a:pt x="103" y="64"/>
                  </a:cubicBezTo>
                  <a:cubicBezTo>
                    <a:pt x="106" y="66"/>
                    <a:pt x="108" y="69"/>
                    <a:pt x="111" y="70"/>
                  </a:cubicBezTo>
                  <a:cubicBezTo>
                    <a:pt x="110" y="66"/>
                    <a:pt x="104" y="63"/>
                    <a:pt x="103" y="59"/>
                  </a:cubicBezTo>
                  <a:cubicBezTo>
                    <a:pt x="107" y="60"/>
                    <a:pt x="111" y="65"/>
                    <a:pt x="112" y="69"/>
                  </a:cubicBezTo>
                  <a:cubicBezTo>
                    <a:pt x="113" y="71"/>
                    <a:pt x="113" y="73"/>
                    <a:pt x="115" y="75"/>
                  </a:cubicBezTo>
                  <a:cubicBezTo>
                    <a:pt x="115" y="76"/>
                    <a:pt x="118" y="79"/>
                    <a:pt x="119" y="79"/>
                  </a:cubicBezTo>
                  <a:cubicBezTo>
                    <a:pt x="120" y="79"/>
                    <a:pt x="120" y="79"/>
                    <a:pt x="120" y="79"/>
                  </a:cubicBezTo>
                  <a:cubicBezTo>
                    <a:pt x="122" y="77"/>
                    <a:pt x="117" y="73"/>
                    <a:pt x="117" y="71"/>
                  </a:cubicBezTo>
                  <a:cubicBezTo>
                    <a:pt x="119" y="72"/>
                    <a:pt x="120" y="73"/>
                    <a:pt x="122" y="74"/>
                  </a:cubicBezTo>
                  <a:cubicBezTo>
                    <a:pt x="123" y="74"/>
                    <a:pt x="124" y="74"/>
                    <a:pt x="125" y="75"/>
                  </a:cubicBezTo>
                  <a:cubicBezTo>
                    <a:pt x="127" y="72"/>
                    <a:pt x="130" y="66"/>
                    <a:pt x="127" y="62"/>
                  </a:cubicBezTo>
                  <a:cubicBezTo>
                    <a:pt x="127" y="61"/>
                    <a:pt x="126" y="60"/>
                    <a:pt x="125" y="60"/>
                  </a:cubicBezTo>
                  <a:cubicBezTo>
                    <a:pt x="125" y="59"/>
                    <a:pt x="125" y="59"/>
                    <a:pt x="124" y="58"/>
                  </a:cubicBezTo>
                  <a:cubicBezTo>
                    <a:pt x="124" y="58"/>
                    <a:pt x="124" y="58"/>
                    <a:pt x="124" y="58"/>
                  </a:cubicBezTo>
                  <a:cubicBezTo>
                    <a:pt x="124" y="58"/>
                    <a:pt x="123" y="59"/>
                    <a:pt x="122" y="60"/>
                  </a:cubicBezTo>
                  <a:cubicBezTo>
                    <a:pt x="122" y="60"/>
                    <a:pt x="122" y="60"/>
                    <a:pt x="122" y="60"/>
                  </a:cubicBezTo>
                  <a:cubicBezTo>
                    <a:pt x="120" y="60"/>
                    <a:pt x="119" y="58"/>
                    <a:pt x="118" y="57"/>
                  </a:cubicBezTo>
                  <a:cubicBezTo>
                    <a:pt x="117" y="56"/>
                    <a:pt x="116" y="55"/>
                    <a:pt x="115" y="55"/>
                  </a:cubicBezTo>
                  <a:cubicBezTo>
                    <a:pt x="115" y="55"/>
                    <a:pt x="115" y="55"/>
                    <a:pt x="115" y="55"/>
                  </a:cubicBezTo>
                  <a:cubicBezTo>
                    <a:pt x="113" y="55"/>
                    <a:pt x="114" y="57"/>
                    <a:pt x="115" y="59"/>
                  </a:cubicBezTo>
                  <a:moveTo>
                    <a:pt x="3651" y="0"/>
                  </a:moveTo>
                  <a:cubicBezTo>
                    <a:pt x="192" y="0"/>
                    <a:pt x="192" y="0"/>
                    <a:pt x="192" y="0"/>
                  </a:cubicBezTo>
                  <a:cubicBezTo>
                    <a:pt x="192" y="0"/>
                    <a:pt x="192" y="1"/>
                    <a:pt x="192" y="1"/>
                  </a:cubicBezTo>
                  <a:cubicBezTo>
                    <a:pt x="191" y="3"/>
                    <a:pt x="188" y="5"/>
                    <a:pt x="186" y="6"/>
                  </a:cubicBezTo>
                  <a:cubicBezTo>
                    <a:pt x="184" y="6"/>
                    <a:pt x="183" y="6"/>
                    <a:pt x="181" y="6"/>
                  </a:cubicBezTo>
                  <a:cubicBezTo>
                    <a:pt x="180" y="7"/>
                    <a:pt x="181" y="7"/>
                    <a:pt x="180" y="8"/>
                  </a:cubicBezTo>
                  <a:cubicBezTo>
                    <a:pt x="178" y="9"/>
                    <a:pt x="178" y="10"/>
                    <a:pt x="176" y="10"/>
                  </a:cubicBezTo>
                  <a:cubicBezTo>
                    <a:pt x="176" y="10"/>
                    <a:pt x="175" y="10"/>
                    <a:pt x="174" y="10"/>
                  </a:cubicBezTo>
                  <a:cubicBezTo>
                    <a:pt x="170" y="9"/>
                    <a:pt x="165" y="7"/>
                    <a:pt x="160" y="6"/>
                  </a:cubicBezTo>
                  <a:cubicBezTo>
                    <a:pt x="155" y="4"/>
                    <a:pt x="153" y="3"/>
                    <a:pt x="150" y="0"/>
                  </a:cubicBezTo>
                  <a:cubicBezTo>
                    <a:pt x="11" y="0"/>
                    <a:pt x="11" y="0"/>
                    <a:pt x="11" y="0"/>
                  </a:cubicBezTo>
                  <a:cubicBezTo>
                    <a:pt x="10" y="2"/>
                    <a:pt x="9" y="4"/>
                    <a:pt x="8" y="5"/>
                  </a:cubicBezTo>
                  <a:cubicBezTo>
                    <a:pt x="6" y="6"/>
                    <a:pt x="6" y="6"/>
                    <a:pt x="6" y="6"/>
                  </a:cubicBezTo>
                  <a:cubicBezTo>
                    <a:pt x="4" y="9"/>
                    <a:pt x="2" y="10"/>
                    <a:pt x="0" y="12"/>
                  </a:cubicBezTo>
                  <a:cubicBezTo>
                    <a:pt x="0" y="13"/>
                    <a:pt x="0" y="13"/>
                    <a:pt x="0" y="13"/>
                  </a:cubicBezTo>
                  <a:cubicBezTo>
                    <a:pt x="1" y="14"/>
                    <a:pt x="3" y="15"/>
                    <a:pt x="4" y="16"/>
                  </a:cubicBezTo>
                  <a:cubicBezTo>
                    <a:pt x="14" y="22"/>
                    <a:pt x="24" y="28"/>
                    <a:pt x="30" y="37"/>
                  </a:cubicBezTo>
                  <a:cubicBezTo>
                    <a:pt x="31" y="38"/>
                    <a:pt x="31" y="39"/>
                    <a:pt x="32" y="39"/>
                  </a:cubicBezTo>
                  <a:cubicBezTo>
                    <a:pt x="32" y="39"/>
                    <a:pt x="32" y="39"/>
                    <a:pt x="32" y="39"/>
                  </a:cubicBezTo>
                  <a:cubicBezTo>
                    <a:pt x="34" y="42"/>
                    <a:pt x="36" y="44"/>
                    <a:pt x="33" y="49"/>
                  </a:cubicBezTo>
                  <a:cubicBezTo>
                    <a:pt x="32" y="51"/>
                    <a:pt x="31" y="53"/>
                    <a:pt x="30" y="54"/>
                  </a:cubicBezTo>
                  <a:cubicBezTo>
                    <a:pt x="30" y="57"/>
                    <a:pt x="29" y="59"/>
                    <a:pt x="27" y="61"/>
                  </a:cubicBezTo>
                  <a:cubicBezTo>
                    <a:pt x="25" y="64"/>
                    <a:pt x="22" y="66"/>
                    <a:pt x="20" y="68"/>
                  </a:cubicBezTo>
                  <a:cubicBezTo>
                    <a:pt x="19" y="69"/>
                    <a:pt x="18" y="70"/>
                    <a:pt x="17" y="71"/>
                  </a:cubicBezTo>
                  <a:cubicBezTo>
                    <a:pt x="12" y="75"/>
                    <a:pt x="7" y="79"/>
                    <a:pt x="3" y="83"/>
                  </a:cubicBezTo>
                  <a:cubicBezTo>
                    <a:pt x="2" y="84"/>
                    <a:pt x="1" y="86"/>
                    <a:pt x="0" y="87"/>
                  </a:cubicBezTo>
                  <a:cubicBezTo>
                    <a:pt x="0" y="98"/>
                    <a:pt x="0" y="98"/>
                    <a:pt x="0" y="98"/>
                  </a:cubicBezTo>
                  <a:cubicBezTo>
                    <a:pt x="1" y="98"/>
                    <a:pt x="3" y="98"/>
                    <a:pt x="4" y="98"/>
                  </a:cubicBezTo>
                  <a:cubicBezTo>
                    <a:pt x="5" y="98"/>
                    <a:pt x="5" y="98"/>
                    <a:pt x="5" y="98"/>
                  </a:cubicBezTo>
                  <a:cubicBezTo>
                    <a:pt x="6" y="98"/>
                    <a:pt x="6" y="98"/>
                    <a:pt x="6" y="98"/>
                  </a:cubicBezTo>
                  <a:cubicBezTo>
                    <a:pt x="7" y="98"/>
                    <a:pt x="7" y="98"/>
                    <a:pt x="7" y="98"/>
                  </a:cubicBezTo>
                  <a:cubicBezTo>
                    <a:pt x="9" y="98"/>
                    <a:pt x="12" y="91"/>
                    <a:pt x="13" y="89"/>
                  </a:cubicBezTo>
                  <a:cubicBezTo>
                    <a:pt x="13" y="89"/>
                    <a:pt x="14" y="89"/>
                    <a:pt x="14" y="89"/>
                  </a:cubicBezTo>
                  <a:cubicBezTo>
                    <a:pt x="15" y="89"/>
                    <a:pt x="17" y="91"/>
                    <a:pt x="18" y="91"/>
                  </a:cubicBezTo>
                  <a:cubicBezTo>
                    <a:pt x="26" y="96"/>
                    <a:pt x="35" y="101"/>
                    <a:pt x="43" y="107"/>
                  </a:cubicBezTo>
                  <a:cubicBezTo>
                    <a:pt x="49" y="110"/>
                    <a:pt x="51" y="113"/>
                    <a:pt x="56" y="118"/>
                  </a:cubicBezTo>
                  <a:cubicBezTo>
                    <a:pt x="58" y="122"/>
                    <a:pt x="61" y="125"/>
                    <a:pt x="64" y="129"/>
                  </a:cubicBezTo>
                  <a:cubicBezTo>
                    <a:pt x="65" y="130"/>
                    <a:pt x="63" y="135"/>
                    <a:pt x="62" y="137"/>
                  </a:cubicBezTo>
                  <a:cubicBezTo>
                    <a:pt x="61" y="136"/>
                    <a:pt x="60" y="136"/>
                    <a:pt x="59" y="136"/>
                  </a:cubicBezTo>
                  <a:cubicBezTo>
                    <a:pt x="58" y="136"/>
                    <a:pt x="58" y="136"/>
                    <a:pt x="59" y="138"/>
                  </a:cubicBezTo>
                  <a:cubicBezTo>
                    <a:pt x="59" y="140"/>
                    <a:pt x="59" y="140"/>
                    <a:pt x="58" y="142"/>
                  </a:cubicBezTo>
                  <a:cubicBezTo>
                    <a:pt x="58" y="143"/>
                    <a:pt x="58" y="143"/>
                    <a:pt x="57" y="144"/>
                  </a:cubicBezTo>
                  <a:cubicBezTo>
                    <a:pt x="57" y="144"/>
                    <a:pt x="58" y="145"/>
                    <a:pt x="58" y="146"/>
                  </a:cubicBezTo>
                  <a:cubicBezTo>
                    <a:pt x="57" y="148"/>
                    <a:pt x="56" y="148"/>
                    <a:pt x="55" y="148"/>
                  </a:cubicBezTo>
                  <a:cubicBezTo>
                    <a:pt x="54" y="148"/>
                    <a:pt x="54" y="148"/>
                    <a:pt x="54" y="148"/>
                  </a:cubicBezTo>
                  <a:cubicBezTo>
                    <a:pt x="49" y="148"/>
                    <a:pt x="45" y="147"/>
                    <a:pt x="41" y="146"/>
                  </a:cubicBezTo>
                  <a:cubicBezTo>
                    <a:pt x="40" y="146"/>
                    <a:pt x="38" y="146"/>
                    <a:pt x="37" y="146"/>
                  </a:cubicBezTo>
                  <a:cubicBezTo>
                    <a:pt x="37" y="146"/>
                    <a:pt x="36" y="146"/>
                    <a:pt x="36" y="146"/>
                  </a:cubicBezTo>
                  <a:cubicBezTo>
                    <a:pt x="34" y="147"/>
                    <a:pt x="33" y="153"/>
                    <a:pt x="32" y="155"/>
                  </a:cubicBezTo>
                  <a:cubicBezTo>
                    <a:pt x="32" y="155"/>
                    <a:pt x="32" y="155"/>
                    <a:pt x="32" y="155"/>
                  </a:cubicBezTo>
                  <a:cubicBezTo>
                    <a:pt x="32" y="155"/>
                    <a:pt x="31" y="158"/>
                    <a:pt x="29" y="158"/>
                  </a:cubicBezTo>
                  <a:cubicBezTo>
                    <a:pt x="29" y="159"/>
                    <a:pt x="28" y="159"/>
                    <a:pt x="27" y="159"/>
                  </a:cubicBezTo>
                  <a:cubicBezTo>
                    <a:pt x="24" y="159"/>
                    <a:pt x="22" y="158"/>
                    <a:pt x="19" y="157"/>
                  </a:cubicBezTo>
                  <a:cubicBezTo>
                    <a:pt x="20" y="157"/>
                    <a:pt x="20" y="156"/>
                    <a:pt x="21" y="155"/>
                  </a:cubicBezTo>
                  <a:cubicBezTo>
                    <a:pt x="18" y="148"/>
                    <a:pt x="14" y="142"/>
                    <a:pt x="11" y="135"/>
                  </a:cubicBezTo>
                  <a:cubicBezTo>
                    <a:pt x="9" y="131"/>
                    <a:pt x="7" y="126"/>
                    <a:pt x="4" y="122"/>
                  </a:cubicBezTo>
                  <a:cubicBezTo>
                    <a:pt x="3" y="121"/>
                    <a:pt x="2" y="120"/>
                    <a:pt x="0" y="119"/>
                  </a:cubicBezTo>
                  <a:cubicBezTo>
                    <a:pt x="0" y="300"/>
                    <a:pt x="0" y="300"/>
                    <a:pt x="0" y="300"/>
                  </a:cubicBezTo>
                  <a:cubicBezTo>
                    <a:pt x="0" y="300"/>
                    <a:pt x="0" y="300"/>
                    <a:pt x="0" y="300"/>
                  </a:cubicBezTo>
                  <a:cubicBezTo>
                    <a:pt x="1" y="300"/>
                    <a:pt x="1" y="300"/>
                    <a:pt x="1" y="300"/>
                  </a:cubicBezTo>
                  <a:cubicBezTo>
                    <a:pt x="3" y="301"/>
                    <a:pt x="4" y="301"/>
                    <a:pt x="6" y="302"/>
                  </a:cubicBezTo>
                  <a:cubicBezTo>
                    <a:pt x="15" y="306"/>
                    <a:pt x="17" y="308"/>
                    <a:pt x="18" y="309"/>
                  </a:cubicBezTo>
                  <a:cubicBezTo>
                    <a:pt x="19" y="310"/>
                    <a:pt x="19" y="310"/>
                    <a:pt x="19" y="310"/>
                  </a:cubicBezTo>
                  <a:cubicBezTo>
                    <a:pt x="19" y="320"/>
                    <a:pt x="19" y="320"/>
                    <a:pt x="19" y="320"/>
                  </a:cubicBezTo>
                  <a:cubicBezTo>
                    <a:pt x="17" y="322"/>
                    <a:pt x="17" y="322"/>
                    <a:pt x="17" y="322"/>
                  </a:cubicBezTo>
                  <a:cubicBezTo>
                    <a:pt x="17" y="323"/>
                    <a:pt x="17" y="323"/>
                    <a:pt x="17" y="323"/>
                  </a:cubicBezTo>
                  <a:cubicBezTo>
                    <a:pt x="18" y="324"/>
                    <a:pt x="23" y="329"/>
                    <a:pt x="21" y="332"/>
                  </a:cubicBezTo>
                  <a:cubicBezTo>
                    <a:pt x="21" y="333"/>
                    <a:pt x="21" y="333"/>
                    <a:pt x="21" y="333"/>
                  </a:cubicBezTo>
                  <a:cubicBezTo>
                    <a:pt x="20" y="333"/>
                    <a:pt x="18" y="335"/>
                    <a:pt x="17" y="337"/>
                  </a:cubicBezTo>
                  <a:cubicBezTo>
                    <a:pt x="21" y="339"/>
                    <a:pt x="26" y="342"/>
                    <a:pt x="26" y="346"/>
                  </a:cubicBezTo>
                  <a:cubicBezTo>
                    <a:pt x="26" y="348"/>
                    <a:pt x="27" y="354"/>
                    <a:pt x="34" y="357"/>
                  </a:cubicBezTo>
                  <a:cubicBezTo>
                    <a:pt x="39" y="360"/>
                    <a:pt x="41" y="363"/>
                    <a:pt x="41" y="366"/>
                  </a:cubicBezTo>
                  <a:cubicBezTo>
                    <a:pt x="42" y="367"/>
                    <a:pt x="41" y="369"/>
                    <a:pt x="41" y="370"/>
                  </a:cubicBezTo>
                  <a:cubicBezTo>
                    <a:pt x="43" y="371"/>
                    <a:pt x="47" y="372"/>
                    <a:pt x="55" y="373"/>
                  </a:cubicBezTo>
                  <a:cubicBezTo>
                    <a:pt x="62" y="373"/>
                    <a:pt x="62" y="373"/>
                    <a:pt x="62" y="373"/>
                  </a:cubicBezTo>
                  <a:cubicBezTo>
                    <a:pt x="56" y="378"/>
                    <a:pt x="56" y="378"/>
                    <a:pt x="56" y="378"/>
                  </a:cubicBezTo>
                  <a:cubicBezTo>
                    <a:pt x="56" y="378"/>
                    <a:pt x="56" y="378"/>
                    <a:pt x="56" y="378"/>
                  </a:cubicBezTo>
                  <a:cubicBezTo>
                    <a:pt x="56" y="378"/>
                    <a:pt x="57" y="379"/>
                    <a:pt x="58" y="380"/>
                  </a:cubicBezTo>
                  <a:cubicBezTo>
                    <a:pt x="59" y="380"/>
                    <a:pt x="60" y="381"/>
                    <a:pt x="61" y="381"/>
                  </a:cubicBezTo>
                  <a:cubicBezTo>
                    <a:pt x="63" y="383"/>
                    <a:pt x="64" y="385"/>
                    <a:pt x="64" y="387"/>
                  </a:cubicBezTo>
                  <a:cubicBezTo>
                    <a:pt x="64" y="388"/>
                    <a:pt x="64" y="389"/>
                    <a:pt x="63" y="390"/>
                  </a:cubicBezTo>
                  <a:cubicBezTo>
                    <a:pt x="62" y="390"/>
                    <a:pt x="62" y="391"/>
                    <a:pt x="61" y="391"/>
                  </a:cubicBezTo>
                  <a:cubicBezTo>
                    <a:pt x="60" y="392"/>
                    <a:pt x="59" y="392"/>
                    <a:pt x="58" y="393"/>
                  </a:cubicBezTo>
                  <a:cubicBezTo>
                    <a:pt x="57" y="394"/>
                    <a:pt x="57" y="394"/>
                    <a:pt x="56" y="394"/>
                  </a:cubicBezTo>
                  <a:cubicBezTo>
                    <a:pt x="56" y="395"/>
                    <a:pt x="56" y="395"/>
                    <a:pt x="56" y="395"/>
                  </a:cubicBezTo>
                  <a:cubicBezTo>
                    <a:pt x="54" y="395"/>
                    <a:pt x="54" y="395"/>
                    <a:pt x="54" y="395"/>
                  </a:cubicBezTo>
                  <a:cubicBezTo>
                    <a:pt x="54" y="396"/>
                    <a:pt x="54" y="396"/>
                    <a:pt x="54" y="396"/>
                  </a:cubicBezTo>
                  <a:cubicBezTo>
                    <a:pt x="51" y="397"/>
                    <a:pt x="51" y="397"/>
                    <a:pt x="51" y="397"/>
                  </a:cubicBezTo>
                  <a:cubicBezTo>
                    <a:pt x="50" y="398"/>
                    <a:pt x="50" y="398"/>
                    <a:pt x="50" y="398"/>
                  </a:cubicBezTo>
                  <a:cubicBezTo>
                    <a:pt x="49" y="398"/>
                    <a:pt x="49" y="398"/>
                    <a:pt x="49" y="398"/>
                  </a:cubicBezTo>
                  <a:cubicBezTo>
                    <a:pt x="49" y="398"/>
                    <a:pt x="49" y="398"/>
                    <a:pt x="48" y="398"/>
                  </a:cubicBezTo>
                  <a:cubicBezTo>
                    <a:pt x="48" y="398"/>
                    <a:pt x="48" y="398"/>
                    <a:pt x="48" y="398"/>
                  </a:cubicBezTo>
                  <a:cubicBezTo>
                    <a:pt x="46" y="399"/>
                    <a:pt x="44" y="399"/>
                    <a:pt x="43" y="399"/>
                  </a:cubicBezTo>
                  <a:cubicBezTo>
                    <a:pt x="42" y="399"/>
                    <a:pt x="41" y="399"/>
                    <a:pt x="40" y="399"/>
                  </a:cubicBezTo>
                  <a:cubicBezTo>
                    <a:pt x="39" y="399"/>
                    <a:pt x="37" y="398"/>
                    <a:pt x="35" y="398"/>
                  </a:cubicBezTo>
                  <a:cubicBezTo>
                    <a:pt x="35" y="398"/>
                    <a:pt x="35" y="398"/>
                    <a:pt x="35" y="398"/>
                  </a:cubicBezTo>
                  <a:cubicBezTo>
                    <a:pt x="34" y="398"/>
                    <a:pt x="33" y="398"/>
                    <a:pt x="32" y="398"/>
                  </a:cubicBezTo>
                  <a:cubicBezTo>
                    <a:pt x="31" y="398"/>
                    <a:pt x="31" y="398"/>
                    <a:pt x="31" y="398"/>
                  </a:cubicBezTo>
                  <a:cubicBezTo>
                    <a:pt x="30" y="398"/>
                    <a:pt x="30" y="398"/>
                    <a:pt x="29" y="398"/>
                  </a:cubicBezTo>
                  <a:cubicBezTo>
                    <a:pt x="29" y="398"/>
                    <a:pt x="29" y="398"/>
                    <a:pt x="29" y="398"/>
                  </a:cubicBezTo>
                  <a:cubicBezTo>
                    <a:pt x="29" y="398"/>
                    <a:pt x="29" y="398"/>
                    <a:pt x="29" y="398"/>
                  </a:cubicBezTo>
                  <a:cubicBezTo>
                    <a:pt x="30" y="400"/>
                    <a:pt x="31" y="402"/>
                    <a:pt x="32" y="402"/>
                  </a:cubicBezTo>
                  <a:cubicBezTo>
                    <a:pt x="34" y="403"/>
                    <a:pt x="36" y="407"/>
                    <a:pt x="35" y="418"/>
                  </a:cubicBezTo>
                  <a:cubicBezTo>
                    <a:pt x="35" y="421"/>
                    <a:pt x="36" y="422"/>
                    <a:pt x="37" y="423"/>
                  </a:cubicBezTo>
                  <a:cubicBezTo>
                    <a:pt x="37" y="423"/>
                    <a:pt x="37" y="423"/>
                    <a:pt x="37" y="423"/>
                  </a:cubicBezTo>
                  <a:cubicBezTo>
                    <a:pt x="38" y="424"/>
                    <a:pt x="38" y="424"/>
                    <a:pt x="38" y="424"/>
                  </a:cubicBezTo>
                  <a:cubicBezTo>
                    <a:pt x="38" y="424"/>
                    <a:pt x="38" y="424"/>
                    <a:pt x="38" y="424"/>
                  </a:cubicBezTo>
                  <a:cubicBezTo>
                    <a:pt x="39" y="425"/>
                    <a:pt x="39" y="425"/>
                    <a:pt x="39" y="425"/>
                  </a:cubicBezTo>
                  <a:cubicBezTo>
                    <a:pt x="40" y="427"/>
                    <a:pt x="40" y="427"/>
                    <a:pt x="40" y="427"/>
                  </a:cubicBezTo>
                  <a:cubicBezTo>
                    <a:pt x="41" y="428"/>
                    <a:pt x="43" y="428"/>
                    <a:pt x="44" y="428"/>
                  </a:cubicBezTo>
                  <a:cubicBezTo>
                    <a:pt x="45" y="428"/>
                    <a:pt x="46" y="428"/>
                    <a:pt x="47" y="427"/>
                  </a:cubicBezTo>
                  <a:cubicBezTo>
                    <a:pt x="47" y="426"/>
                    <a:pt x="47" y="426"/>
                    <a:pt x="47" y="426"/>
                  </a:cubicBezTo>
                  <a:cubicBezTo>
                    <a:pt x="49" y="423"/>
                    <a:pt x="52" y="419"/>
                    <a:pt x="57" y="419"/>
                  </a:cubicBezTo>
                  <a:cubicBezTo>
                    <a:pt x="58" y="419"/>
                    <a:pt x="59" y="419"/>
                    <a:pt x="60" y="419"/>
                  </a:cubicBezTo>
                  <a:cubicBezTo>
                    <a:pt x="61" y="419"/>
                    <a:pt x="63" y="420"/>
                    <a:pt x="65" y="420"/>
                  </a:cubicBezTo>
                  <a:cubicBezTo>
                    <a:pt x="68" y="420"/>
                    <a:pt x="71" y="419"/>
                    <a:pt x="75" y="418"/>
                  </a:cubicBezTo>
                  <a:cubicBezTo>
                    <a:pt x="78" y="417"/>
                    <a:pt x="81" y="417"/>
                    <a:pt x="83" y="417"/>
                  </a:cubicBezTo>
                  <a:cubicBezTo>
                    <a:pt x="86" y="417"/>
                    <a:pt x="88" y="417"/>
                    <a:pt x="89" y="419"/>
                  </a:cubicBezTo>
                  <a:cubicBezTo>
                    <a:pt x="90" y="419"/>
                    <a:pt x="90" y="419"/>
                    <a:pt x="90" y="419"/>
                  </a:cubicBezTo>
                  <a:cubicBezTo>
                    <a:pt x="96" y="424"/>
                    <a:pt x="98" y="427"/>
                    <a:pt x="97" y="430"/>
                  </a:cubicBezTo>
                  <a:cubicBezTo>
                    <a:pt x="97" y="431"/>
                    <a:pt x="97" y="431"/>
                    <a:pt x="97" y="431"/>
                  </a:cubicBezTo>
                  <a:cubicBezTo>
                    <a:pt x="97" y="432"/>
                    <a:pt x="98" y="432"/>
                    <a:pt x="98" y="433"/>
                  </a:cubicBezTo>
                  <a:cubicBezTo>
                    <a:pt x="100" y="433"/>
                    <a:pt x="103" y="435"/>
                    <a:pt x="104" y="437"/>
                  </a:cubicBezTo>
                  <a:cubicBezTo>
                    <a:pt x="105" y="438"/>
                    <a:pt x="105" y="439"/>
                    <a:pt x="105" y="440"/>
                  </a:cubicBezTo>
                  <a:cubicBezTo>
                    <a:pt x="106" y="443"/>
                    <a:pt x="106" y="443"/>
                    <a:pt x="106" y="443"/>
                  </a:cubicBezTo>
                  <a:cubicBezTo>
                    <a:pt x="103" y="443"/>
                    <a:pt x="103" y="443"/>
                    <a:pt x="103" y="443"/>
                  </a:cubicBezTo>
                  <a:cubicBezTo>
                    <a:pt x="101" y="444"/>
                    <a:pt x="100" y="444"/>
                    <a:pt x="99" y="444"/>
                  </a:cubicBezTo>
                  <a:cubicBezTo>
                    <a:pt x="100" y="447"/>
                    <a:pt x="101" y="450"/>
                    <a:pt x="100" y="452"/>
                  </a:cubicBezTo>
                  <a:cubicBezTo>
                    <a:pt x="100" y="453"/>
                    <a:pt x="100" y="454"/>
                    <a:pt x="100" y="455"/>
                  </a:cubicBezTo>
                  <a:cubicBezTo>
                    <a:pt x="101" y="454"/>
                    <a:pt x="102" y="454"/>
                    <a:pt x="103" y="454"/>
                  </a:cubicBezTo>
                  <a:cubicBezTo>
                    <a:pt x="104" y="454"/>
                    <a:pt x="106" y="455"/>
                    <a:pt x="108" y="456"/>
                  </a:cubicBezTo>
                  <a:cubicBezTo>
                    <a:pt x="109" y="456"/>
                    <a:pt x="109" y="457"/>
                    <a:pt x="110" y="457"/>
                  </a:cubicBezTo>
                  <a:cubicBezTo>
                    <a:pt x="111" y="457"/>
                    <a:pt x="112" y="456"/>
                    <a:pt x="112" y="456"/>
                  </a:cubicBezTo>
                  <a:cubicBezTo>
                    <a:pt x="113" y="456"/>
                    <a:pt x="114" y="456"/>
                    <a:pt x="115" y="456"/>
                  </a:cubicBezTo>
                  <a:cubicBezTo>
                    <a:pt x="117" y="456"/>
                    <a:pt x="119" y="457"/>
                    <a:pt x="122" y="458"/>
                  </a:cubicBezTo>
                  <a:cubicBezTo>
                    <a:pt x="124" y="460"/>
                    <a:pt x="127" y="461"/>
                    <a:pt x="127" y="461"/>
                  </a:cubicBezTo>
                  <a:cubicBezTo>
                    <a:pt x="130" y="463"/>
                    <a:pt x="130" y="463"/>
                    <a:pt x="130" y="463"/>
                  </a:cubicBezTo>
                  <a:cubicBezTo>
                    <a:pt x="128" y="466"/>
                    <a:pt x="128" y="466"/>
                    <a:pt x="128" y="466"/>
                  </a:cubicBezTo>
                  <a:cubicBezTo>
                    <a:pt x="128" y="466"/>
                    <a:pt x="127" y="467"/>
                    <a:pt x="127" y="469"/>
                  </a:cubicBezTo>
                  <a:cubicBezTo>
                    <a:pt x="130" y="472"/>
                    <a:pt x="131" y="477"/>
                    <a:pt x="131" y="480"/>
                  </a:cubicBezTo>
                  <a:cubicBezTo>
                    <a:pt x="131" y="480"/>
                    <a:pt x="131" y="481"/>
                    <a:pt x="132" y="482"/>
                  </a:cubicBezTo>
                  <a:cubicBezTo>
                    <a:pt x="133" y="482"/>
                    <a:pt x="133" y="483"/>
                    <a:pt x="135" y="483"/>
                  </a:cubicBezTo>
                  <a:cubicBezTo>
                    <a:pt x="135" y="483"/>
                    <a:pt x="136" y="483"/>
                    <a:pt x="137" y="482"/>
                  </a:cubicBezTo>
                  <a:cubicBezTo>
                    <a:pt x="138" y="482"/>
                    <a:pt x="140" y="481"/>
                    <a:pt x="142" y="481"/>
                  </a:cubicBezTo>
                  <a:cubicBezTo>
                    <a:pt x="145" y="481"/>
                    <a:pt x="148" y="482"/>
                    <a:pt x="150" y="484"/>
                  </a:cubicBezTo>
                  <a:cubicBezTo>
                    <a:pt x="152" y="485"/>
                    <a:pt x="154" y="485"/>
                    <a:pt x="157" y="485"/>
                  </a:cubicBezTo>
                  <a:cubicBezTo>
                    <a:pt x="159" y="485"/>
                    <a:pt x="161" y="485"/>
                    <a:pt x="163" y="485"/>
                  </a:cubicBezTo>
                  <a:cubicBezTo>
                    <a:pt x="168" y="483"/>
                    <a:pt x="175" y="481"/>
                    <a:pt x="175" y="481"/>
                  </a:cubicBezTo>
                  <a:cubicBezTo>
                    <a:pt x="176" y="481"/>
                    <a:pt x="176" y="481"/>
                    <a:pt x="176" y="481"/>
                  </a:cubicBezTo>
                  <a:cubicBezTo>
                    <a:pt x="177" y="481"/>
                    <a:pt x="180" y="481"/>
                    <a:pt x="184" y="486"/>
                  </a:cubicBezTo>
                  <a:cubicBezTo>
                    <a:pt x="186" y="488"/>
                    <a:pt x="189" y="493"/>
                    <a:pt x="191" y="496"/>
                  </a:cubicBezTo>
                  <a:cubicBezTo>
                    <a:pt x="193" y="494"/>
                    <a:pt x="195" y="493"/>
                    <a:pt x="197" y="492"/>
                  </a:cubicBezTo>
                  <a:cubicBezTo>
                    <a:pt x="197" y="492"/>
                    <a:pt x="197" y="492"/>
                    <a:pt x="197" y="492"/>
                  </a:cubicBezTo>
                  <a:cubicBezTo>
                    <a:pt x="199" y="492"/>
                    <a:pt x="200" y="493"/>
                    <a:pt x="201" y="493"/>
                  </a:cubicBezTo>
                  <a:cubicBezTo>
                    <a:pt x="202" y="493"/>
                    <a:pt x="203" y="494"/>
                    <a:pt x="204" y="494"/>
                  </a:cubicBezTo>
                  <a:cubicBezTo>
                    <a:pt x="209" y="494"/>
                    <a:pt x="212" y="498"/>
                    <a:pt x="213" y="500"/>
                  </a:cubicBezTo>
                  <a:cubicBezTo>
                    <a:pt x="213" y="500"/>
                    <a:pt x="214" y="501"/>
                    <a:pt x="214" y="501"/>
                  </a:cubicBezTo>
                  <a:cubicBezTo>
                    <a:pt x="214" y="500"/>
                    <a:pt x="214" y="500"/>
                    <a:pt x="214" y="500"/>
                  </a:cubicBezTo>
                  <a:cubicBezTo>
                    <a:pt x="215" y="500"/>
                    <a:pt x="217" y="499"/>
                    <a:pt x="219" y="499"/>
                  </a:cubicBezTo>
                  <a:cubicBezTo>
                    <a:pt x="222" y="499"/>
                    <a:pt x="225" y="500"/>
                    <a:pt x="228" y="503"/>
                  </a:cubicBezTo>
                  <a:cubicBezTo>
                    <a:pt x="228" y="503"/>
                    <a:pt x="229" y="504"/>
                    <a:pt x="229" y="505"/>
                  </a:cubicBezTo>
                  <a:cubicBezTo>
                    <a:pt x="231" y="507"/>
                    <a:pt x="233" y="509"/>
                    <a:pt x="236" y="509"/>
                  </a:cubicBezTo>
                  <a:cubicBezTo>
                    <a:pt x="238" y="509"/>
                    <a:pt x="239" y="509"/>
                    <a:pt x="241" y="508"/>
                  </a:cubicBezTo>
                  <a:cubicBezTo>
                    <a:pt x="244" y="506"/>
                    <a:pt x="244" y="506"/>
                    <a:pt x="244" y="506"/>
                  </a:cubicBezTo>
                  <a:cubicBezTo>
                    <a:pt x="245" y="510"/>
                    <a:pt x="245" y="510"/>
                    <a:pt x="245" y="510"/>
                  </a:cubicBezTo>
                  <a:cubicBezTo>
                    <a:pt x="247" y="516"/>
                    <a:pt x="246" y="520"/>
                    <a:pt x="245" y="522"/>
                  </a:cubicBezTo>
                  <a:cubicBezTo>
                    <a:pt x="245" y="522"/>
                    <a:pt x="245" y="522"/>
                    <a:pt x="245" y="522"/>
                  </a:cubicBezTo>
                  <a:cubicBezTo>
                    <a:pt x="244" y="525"/>
                    <a:pt x="240" y="528"/>
                    <a:pt x="237" y="531"/>
                  </a:cubicBezTo>
                  <a:cubicBezTo>
                    <a:pt x="239" y="531"/>
                    <a:pt x="242" y="532"/>
                    <a:pt x="242" y="532"/>
                  </a:cubicBezTo>
                  <a:cubicBezTo>
                    <a:pt x="259" y="535"/>
                    <a:pt x="259" y="535"/>
                    <a:pt x="259" y="535"/>
                  </a:cubicBezTo>
                  <a:cubicBezTo>
                    <a:pt x="241" y="538"/>
                    <a:pt x="241" y="538"/>
                    <a:pt x="241" y="538"/>
                  </a:cubicBezTo>
                  <a:cubicBezTo>
                    <a:pt x="238" y="538"/>
                    <a:pt x="236" y="539"/>
                    <a:pt x="235" y="540"/>
                  </a:cubicBezTo>
                  <a:cubicBezTo>
                    <a:pt x="238" y="542"/>
                    <a:pt x="239" y="544"/>
                    <a:pt x="239" y="545"/>
                  </a:cubicBezTo>
                  <a:cubicBezTo>
                    <a:pt x="240" y="547"/>
                    <a:pt x="242" y="550"/>
                    <a:pt x="242" y="553"/>
                  </a:cubicBezTo>
                  <a:cubicBezTo>
                    <a:pt x="241" y="554"/>
                    <a:pt x="241" y="555"/>
                    <a:pt x="241" y="556"/>
                  </a:cubicBezTo>
                  <a:cubicBezTo>
                    <a:pt x="240" y="557"/>
                    <a:pt x="238" y="561"/>
                    <a:pt x="237" y="564"/>
                  </a:cubicBezTo>
                  <a:cubicBezTo>
                    <a:pt x="237" y="566"/>
                    <a:pt x="236" y="567"/>
                    <a:pt x="235" y="568"/>
                  </a:cubicBezTo>
                  <a:cubicBezTo>
                    <a:pt x="234" y="569"/>
                    <a:pt x="232" y="569"/>
                    <a:pt x="230" y="569"/>
                  </a:cubicBezTo>
                  <a:cubicBezTo>
                    <a:pt x="229" y="569"/>
                    <a:pt x="228" y="569"/>
                    <a:pt x="227" y="569"/>
                  </a:cubicBezTo>
                  <a:cubicBezTo>
                    <a:pt x="225" y="569"/>
                    <a:pt x="221" y="568"/>
                    <a:pt x="218" y="568"/>
                  </a:cubicBezTo>
                  <a:cubicBezTo>
                    <a:pt x="217" y="568"/>
                    <a:pt x="216" y="568"/>
                    <a:pt x="216" y="569"/>
                  </a:cubicBezTo>
                  <a:cubicBezTo>
                    <a:pt x="214" y="571"/>
                    <a:pt x="210" y="573"/>
                    <a:pt x="206" y="574"/>
                  </a:cubicBezTo>
                  <a:cubicBezTo>
                    <a:pt x="203" y="574"/>
                    <a:pt x="200" y="576"/>
                    <a:pt x="200" y="580"/>
                  </a:cubicBezTo>
                  <a:cubicBezTo>
                    <a:pt x="199" y="581"/>
                    <a:pt x="199" y="582"/>
                    <a:pt x="199" y="583"/>
                  </a:cubicBezTo>
                  <a:cubicBezTo>
                    <a:pt x="199" y="585"/>
                    <a:pt x="199" y="585"/>
                    <a:pt x="199" y="585"/>
                  </a:cubicBezTo>
                  <a:cubicBezTo>
                    <a:pt x="199" y="586"/>
                    <a:pt x="199" y="587"/>
                    <a:pt x="199" y="588"/>
                  </a:cubicBezTo>
                  <a:cubicBezTo>
                    <a:pt x="201" y="587"/>
                    <a:pt x="202" y="587"/>
                    <a:pt x="204" y="586"/>
                  </a:cubicBezTo>
                  <a:cubicBezTo>
                    <a:pt x="203" y="587"/>
                    <a:pt x="202" y="587"/>
                    <a:pt x="202" y="588"/>
                  </a:cubicBezTo>
                  <a:cubicBezTo>
                    <a:pt x="205" y="588"/>
                    <a:pt x="209" y="588"/>
                    <a:pt x="212" y="587"/>
                  </a:cubicBezTo>
                  <a:cubicBezTo>
                    <a:pt x="213" y="586"/>
                    <a:pt x="213" y="585"/>
                    <a:pt x="214" y="585"/>
                  </a:cubicBezTo>
                  <a:cubicBezTo>
                    <a:pt x="215" y="585"/>
                    <a:pt x="215" y="585"/>
                    <a:pt x="215" y="585"/>
                  </a:cubicBezTo>
                  <a:cubicBezTo>
                    <a:pt x="217" y="585"/>
                    <a:pt x="219" y="585"/>
                    <a:pt x="222" y="585"/>
                  </a:cubicBezTo>
                  <a:cubicBezTo>
                    <a:pt x="221" y="587"/>
                    <a:pt x="221" y="589"/>
                    <a:pt x="222" y="589"/>
                  </a:cubicBezTo>
                  <a:cubicBezTo>
                    <a:pt x="223" y="589"/>
                    <a:pt x="223" y="589"/>
                    <a:pt x="224" y="589"/>
                  </a:cubicBezTo>
                  <a:cubicBezTo>
                    <a:pt x="220" y="591"/>
                    <a:pt x="211" y="596"/>
                    <a:pt x="205" y="597"/>
                  </a:cubicBezTo>
                  <a:cubicBezTo>
                    <a:pt x="205" y="597"/>
                    <a:pt x="205" y="597"/>
                    <a:pt x="205" y="597"/>
                  </a:cubicBezTo>
                  <a:cubicBezTo>
                    <a:pt x="204" y="597"/>
                    <a:pt x="204" y="597"/>
                    <a:pt x="204" y="597"/>
                  </a:cubicBezTo>
                  <a:cubicBezTo>
                    <a:pt x="203" y="597"/>
                    <a:pt x="203" y="597"/>
                    <a:pt x="203" y="597"/>
                  </a:cubicBezTo>
                  <a:cubicBezTo>
                    <a:pt x="202" y="597"/>
                    <a:pt x="201" y="597"/>
                    <a:pt x="201" y="598"/>
                  </a:cubicBezTo>
                  <a:cubicBezTo>
                    <a:pt x="201" y="598"/>
                    <a:pt x="205" y="601"/>
                    <a:pt x="205" y="602"/>
                  </a:cubicBezTo>
                  <a:cubicBezTo>
                    <a:pt x="204" y="604"/>
                    <a:pt x="192" y="604"/>
                    <a:pt x="190" y="604"/>
                  </a:cubicBezTo>
                  <a:cubicBezTo>
                    <a:pt x="190" y="604"/>
                    <a:pt x="190" y="604"/>
                    <a:pt x="190" y="604"/>
                  </a:cubicBezTo>
                  <a:cubicBezTo>
                    <a:pt x="189" y="604"/>
                    <a:pt x="188" y="604"/>
                    <a:pt x="187" y="603"/>
                  </a:cubicBezTo>
                  <a:cubicBezTo>
                    <a:pt x="186" y="603"/>
                    <a:pt x="185" y="603"/>
                    <a:pt x="185" y="603"/>
                  </a:cubicBezTo>
                  <a:cubicBezTo>
                    <a:pt x="185" y="603"/>
                    <a:pt x="184" y="603"/>
                    <a:pt x="184" y="603"/>
                  </a:cubicBezTo>
                  <a:cubicBezTo>
                    <a:pt x="184" y="603"/>
                    <a:pt x="184" y="606"/>
                    <a:pt x="185" y="607"/>
                  </a:cubicBezTo>
                  <a:cubicBezTo>
                    <a:pt x="186" y="609"/>
                    <a:pt x="187" y="610"/>
                    <a:pt x="189" y="611"/>
                  </a:cubicBezTo>
                  <a:cubicBezTo>
                    <a:pt x="193" y="613"/>
                    <a:pt x="205" y="618"/>
                    <a:pt x="204" y="622"/>
                  </a:cubicBezTo>
                  <a:cubicBezTo>
                    <a:pt x="202" y="622"/>
                    <a:pt x="200" y="621"/>
                    <a:pt x="198" y="621"/>
                  </a:cubicBezTo>
                  <a:cubicBezTo>
                    <a:pt x="198" y="620"/>
                    <a:pt x="197" y="620"/>
                    <a:pt x="197" y="619"/>
                  </a:cubicBezTo>
                  <a:cubicBezTo>
                    <a:pt x="197" y="619"/>
                    <a:pt x="197" y="619"/>
                    <a:pt x="197" y="619"/>
                  </a:cubicBezTo>
                  <a:cubicBezTo>
                    <a:pt x="194" y="619"/>
                    <a:pt x="192" y="626"/>
                    <a:pt x="192" y="629"/>
                  </a:cubicBezTo>
                  <a:cubicBezTo>
                    <a:pt x="192" y="627"/>
                    <a:pt x="192" y="623"/>
                    <a:pt x="191" y="622"/>
                  </a:cubicBezTo>
                  <a:cubicBezTo>
                    <a:pt x="192" y="622"/>
                    <a:pt x="192" y="622"/>
                    <a:pt x="192" y="622"/>
                  </a:cubicBezTo>
                  <a:cubicBezTo>
                    <a:pt x="192" y="622"/>
                    <a:pt x="192" y="622"/>
                    <a:pt x="192" y="622"/>
                  </a:cubicBezTo>
                  <a:cubicBezTo>
                    <a:pt x="191" y="622"/>
                    <a:pt x="190" y="622"/>
                    <a:pt x="189" y="623"/>
                  </a:cubicBezTo>
                  <a:cubicBezTo>
                    <a:pt x="188" y="624"/>
                    <a:pt x="183" y="634"/>
                    <a:pt x="181" y="634"/>
                  </a:cubicBezTo>
                  <a:cubicBezTo>
                    <a:pt x="181" y="634"/>
                    <a:pt x="181" y="634"/>
                    <a:pt x="181" y="634"/>
                  </a:cubicBezTo>
                  <a:cubicBezTo>
                    <a:pt x="180" y="635"/>
                    <a:pt x="188" y="644"/>
                    <a:pt x="181" y="644"/>
                  </a:cubicBezTo>
                  <a:cubicBezTo>
                    <a:pt x="181" y="644"/>
                    <a:pt x="181" y="644"/>
                    <a:pt x="181" y="644"/>
                  </a:cubicBezTo>
                  <a:cubicBezTo>
                    <a:pt x="176" y="644"/>
                    <a:pt x="172" y="643"/>
                    <a:pt x="166" y="642"/>
                  </a:cubicBezTo>
                  <a:cubicBezTo>
                    <a:pt x="165" y="641"/>
                    <a:pt x="164" y="641"/>
                    <a:pt x="163" y="641"/>
                  </a:cubicBezTo>
                  <a:cubicBezTo>
                    <a:pt x="161" y="641"/>
                    <a:pt x="160" y="642"/>
                    <a:pt x="158" y="643"/>
                  </a:cubicBezTo>
                  <a:cubicBezTo>
                    <a:pt x="159" y="643"/>
                    <a:pt x="159" y="642"/>
                    <a:pt x="160" y="642"/>
                  </a:cubicBezTo>
                  <a:cubicBezTo>
                    <a:pt x="161" y="642"/>
                    <a:pt x="161" y="643"/>
                    <a:pt x="162" y="643"/>
                  </a:cubicBezTo>
                  <a:cubicBezTo>
                    <a:pt x="162" y="644"/>
                    <a:pt x="163" y="644"/>
                    <a:pt x="164" y="644"/>
                  </a:cubicBezTo>
                  <a:cubicBezTo>
                    <a:pt x="164" y="644"/>
                    <a:pt x="164" y="644"/>
                    <a:pt x="165" y="644"/>
                  </a:cubicBezTo>
                  <a:cubicBezTo>
                    <a:pt x="162" y="648"/>
                    <a:pt x="159" y="647"/>
                    <a:pt x="155" y="648"/>
                  </a:cubicBezTo>
                  <a:cubicBezTo>
                    <a:pt x="159" y="650"/>
                    <a:pt x="162" y="651"/>
                    <a:pt x="166" y="653"/>
                  </a:cubicBezTo>
                  <a:cubicBezTo>
                    <a:pt x="170" y="654"/>
                    <a:pt x="174" y="660"/>
                    <a:pt x="177" y="663"/>
                  </a:cubicBezTo>
                  <a:cubicBezTo>
                    <a:pt x="177" y="664"/>
                    <a:pt x="178" y="664"/>
                    <a:pt x="179" y="664"/>
                  </a:cubicBezTo>
                  <a:cubicBezTo>
                    <a:pt x="181" y="664"/>
                    <a:pt x="183" y="663"/>
                    <a:pt x="184" y="663"/>
                  </a:cubicBezTo>
                  <a:cubicBezTo>
                    <a:pt x="184" y="663"/>
                    <a:pt x="185" y="663"/>
                    <a:pt x="185" y="663"/>
                  </a:cubicBezTo>
                  <a:cubicBezTo>
                    <a:pt x="187" y="663"/>
                    <a:pt x="188" y="664"/>
                    <a:pt x="190" y="666"/>
                  </a:cubicBezTo>
                  <a:cubicBezTo>
                    <a:pt x="191" y="668"/>
                    <a:pt x="193" y="671"/>
                    <a:pt x="194" y="672"/>
                  </a:cubicBezTo>
                  <a:cubicBezTo>
                    <a:pt x="197" y="674"/>
                    <a:pt x="201" y="674"/>
                    <a:pt x="204" y="674"/>
                  </a:cubicBezTo>
                  <a:cubicBezTo>
                    <a:pt x="209" y="675"/>
                    <a:pt x="213" y="680"/>
                    <a:pt x="217" y="683"/>
                  </a:cubicBezTo>
                  <a:cubicBezTo>
                    <a:pt x="224" y="688"/>
                    <a:pt x="230" y="695"/>
                    <a:pt x="237" y="701"/>
                  </a:cubicBezTo>
                  <a:cubicBezTo>
                    <a:pt x="238" y="696"/>
                    <a:pt x="240" y="695"/>
                    <a:pt x="241" y="694"/>
                  </a:cubicBezTo>
                  <a:cubicBezTo>
                    <a:pt x="242" y="694"/>
                    <a:pt x="242" y="694"/>
                    <a:pt x="243" y="694"/>
                  </a:cubicBezTo>
                  <a:cubicBezTo>
                    <a:pt x="244" y="694"/>
                    <a:pt x="244" y="694"/>
                    <a:pt x="244" y="694"/>
                  </a:cubicBezTo>
                  <a:cubicBezTo>
                    <a:pt x="245" y="694"/>
                    <a:pt x="245" y="694"/>
                    <a:pt x="245" y="694"/>
                  </a:cubicBezTo>
                  <a:cubicBezTo>
                    <a:pt x="248" y="695"/>
                    <a:pt x="251" y="696"/>
                    <a:pt x="252" y="696"/>
                  </a:cubicBezTo>
                  <a:cubicBezTo>
                    <a:pt x="252" y="696"/>
                    <a:pt x="252" y="696"/>
                    <a:pt x="253" y="696"/>
                  </a:cubicBezTo>
                  <a:cubicBezTo>
                    <a:pt x="253" y="695"/>
                    <a:pt x="254" y="695"/>
                    <a:pt x="255" y="695"/>
                  </a:cubicBezTo>
                  <a:cubicBezTo>
                    <a:pt x="258" y="695"/>
                    <a:pt x="262" y="697"/>
                    <a:pt x="264" y="699"/>
                  </a:cubicBezTo>
                  <a:cubicBezTo>
                    <a:pt x="265" y="699"/>
                    <a:pt x="265" y="699"/>
                    <a:pt x="267" y="700"/>
                  </a:cubicBezTo>
                  <a:cubicBezTo>
                    <a:pt x="273" y="702"/>
                    <a:pt x="284" y="705"/>
                    <a:pt x="291" y="705"/>
                  </a:cubicBezTo>
                  <a:cubicBezTo>
                    <a:pt x="292" y="705"/>
                    <a:pt x="293" y="705"/>
                    <a:pt x="294" y="705"/>
                  </a:cubicBezTo>
                  <a:cubicBezTo>
                    <a:pt x="296" y="704"/>
                    <a:pt x="298" y="704"/>
                    <a:pt x="300" y="704"/>
                  </a:cubicBezTo>
                  <a:cubicBezTo>
                    <a:pt x="306" y="704"/>
                    <a:pt x="312" y="707"/>
                    <a:pt x="315" y="709"/>
                  </a:cubicBezTo>
                  <a:cubicBezTo>
                    <a:pt x="317" y="712"/>
                    <a:pt x="328" y="717"/>
                    <a:pt x="330" y="717"/>
                  </a:cubicBezTo>
                  <a:cubicBezTo>
                    <a:pt x="332" y="717"/>
                    <a:pt x="333" y="718"/>
                    <a:pt x="334" y="719"/>
                  </a:cubicBezTo>
                  <a:cubicBezTo>
                    <a:pt x="335" y="720"/>
                    <a:pt x="335" y="722"/>
                    <a:pt x="335" y="723"/>
                  </a:cubicBezTo>
                  <a:cubicBezTo>
                    <a:pt x="335" y="723"/>
                    <a:pt x="336" y="723"/>
                    <a:pt x="336" y="724"/>
                  </a:cubicBezTo>
                  <a:cubicBezTo>
                    <a:pt x="337" y="724"/>
                    <a:pt x="337" y="724"/>
                    <a:pt x="338" y="724"/>
                  </a:cubicBezTo>
                  <a:cubicBezTo>
                    <a:pt x="339" y="724"/>
                    <a:pt x="341" y="723"/>
                    <a:pt x="343" y="722"/>
                  </a:cubicBezTo>
                  <a:cubicBezTo>
                    <a:pt x="346" y="720"/>
                    <a:pt x="349" y="719"/>
                    <a:pt x="352" y="719"/>
                  </a:cubicBezTo>
                  <a:cubicBezTo>
                    <a:pt x="352" y="719"/>
                    <a:pt x="353" y="719"/>
                    <a:pt x="354" y="719"/>
                  </a:cubicBezTo>
                  <a:cubicBezTo>
                    <a:pt x="355" y="719"/>
                    <a:pt x="356" y="720"/>
                    <a:pt x="357" y="721"/>
                  </a:cubicBezTo>
                  <a:cubicBezTo>
                    <a:pt x="358" y="720"/>
                    <a:pt x="358" y="719"/>
                    <a:pt x="359" y="719"/>
                  </a:cubicBezTo>
                  <a:cubicBezTo>
                    <a:pt x="360" y="719"/>
                    <a:pt x="360" y="719"/>
                    <a:pt x="361" y="719"/>
                  </a:cubicBezTo>
                  <a:cubicBezTo>
                    <a:pt x="362" y="719"/>
                    <a:pt x="364" y="719"/>
                    <a:pt x="366" y="721"/>
                  </a:cubicBezTo>
                  <a:cubicBezTo>
                    <a:pt x="369" y="723"/>
                    <a:pt x="379" y="727"/>
                    <a:pt x="381" y="727"/>
                  </a:cubicBezTo>
                  <a:cubicBezTo>
                    <a:pt x="387" y="727"/>
                    <a:pt x="387" y="727"/>
                    <a:pt x="387" y="727"/>
                  </a:cubicBezTo>
                  <a:cubicBezTo>
                    <a:pt x="384" y="731"/>
                    <a:pt x="384" y="731"/>
                    <a:pt x="384" y="731"/>
                  </a:cubicBezTo>
                  <a:cubicBezTo>
                    <a:pt x="382" y="734"/>
                    <a:pt x="382" y="736"/>
                    <a:pt x="382" y="736"/>
                  </a:cubicBezTo>
                  <a:cubicBezTo>
                    <a:pt x="385" y="738"/>
                    <a:pt x="391" y="741"/>
                    <a:pt x="393" y="741"/>
                  </a:cubicBezTo>
                  <a:cubicBezTo>
                    <a:pt x="394" y="741"/>
                    <a:pt x="394" y="741"/>
                    <a:pt x="394" y="741"/>
                  </a:cubicBezTo>
                  <a:cubicBezTo>
                    <a:pt x="395" y="741"/>
                    <a:pt x="395" y="741"/>
                    <a:pt x="395" y="741"/>
                  </a:cubicBezTo>
                  <a:cubicBezTo>
                    <a:pt x="395" y="742"/>
                    <a:pt x="396" y="743"/>
                    <a:pt x="397" y="743"/>
                  </a:cubicBezTo>
                  <a:cubicBezTo>
                    <a:pt x="398" y="743"/>
                    <a:pt x="398" y="743"/>
                    <a:pt x="398" y="743"/>
                  </a:cubicBezTo>
                  <a:cubicBezTo>
                    <a:pt x="399" y="743"/>
                    <a:pt x="399" y="743"/>
                    <a:pt x="399" y="743"/>
                  </a:cubicBezTo>
                  <a:cubicBezTo>
                    <a:pt x="400" y="743"/>
                    <a:pt x="401" y="744"/>
                    <a:pt x="402" y="744"/>
                  </a:cubicBezTo>
                  <a:cubicBezTo>
                    <a:pt x="403" y="744"/>
                    <a:pt x="403" y="744"/>
                    <a:pt x="404" y="744"/>
                  </a:cubicBezTo>
                  <a:cubicBezTo>
                    <a:pt x="408" y="744"/>
                    <a:pt x="411" y="748"/>
                    <a:pt x="413" y="751"/>
                  </a:cubicBezTo>
                  <a:cubicBezTo>
                    <a:pt x="414" y="753"/>
                    <a:pt x="415" y="755"/>
                    <a:pt x="416" y="755"/>
                  </a:cubicBezTo>
                  <a:cubicBezTo>
                    <a:pt x="418" y="756"/>
                    <a:pt x="421" y="760"/>
                    <a:pt x="421" y="760"/>
                  </a:cubicBezTo>
                  <a:cubicBezTo>
                    <a:pt x="421" y="761"/>
                    <a:pt x="422" y="763"/>
                    <a:pt x="427" y="763"/>
                  </a:cubicBezTo>
                  <a:cubicBezTo>
                    <a:pt x="429" y="764"/>
                    <a:pt x="430" y="764"/>
                    <a:pt x="431" y="764"/>
                  </a:cubicBezTo>
                  <a:cubicBezTo>
                    <a:pt x="432" y="764"/>
                    <a:pt x="433" y="764"/>
                    <a:pt x="433" y="762"/>
                  </a:cubicBezTo>
                  <a:cubicBezTo>
                    <a:pt x="435" y="758"/>
                    <a:pt x="437" y="757"/>
                    <a:pt x="438" y="756"/>
                  </a:cubicBezTo>
                  <a:cubicBezTo>
                    <a:pt x="439" y="756"/>
                    <a:pt x="439" y="756"/>
                    <a:pt x="440" y="755"/>
                  </a:cubicBezTo>
                  <a:cubicBezTo>
                    <a:pt x="440" y="755"/>
                    <a:pt x="441" y="754"/>
                    <a:pt x="442" y="754"/>
                  </a:cubicBezTo>
                  <a:cubicBezTo>
                    <a:pt x="444" y="752"/>
                    <a:pt x="448" y="749"/>
                    <a:pt x="448" y="747"/>
                  </a:cubicBezTo>
                  <a:cubicBezTo>
                    <a:pt x="448" y="746"/>
                    <a:pt x="448" y="746"/>
                    <a:pt x="448" y="746"/>
                  </a:cubicBezTo>
                  <a:cubicBezTo>
                    <a:pt x="448" y="746"/>
                    <a:pt x="448" y="746"/>
                    <a:pt x="448" y="746"/>
                  </a:cubicBezTo>
                  <a:cubicBezTo>
                    <a:pt x="443" y="742"/>
                    <a:pt x="440" y="735"/>
                    <a:pt x="436" y="730"/>
                  </a:cubicBezTo>
                  <a:cubicBezTo>
                    <a:pt x="433" y="728"/>
                    <a:pt x="432" y="726"/>
                    <a:pt x="430" y="722"/>
                  </a:cubicBezTo>
                  <a:cubicBezTo>
                    <a:pt x="429" y="721"/>
                    <a:pt x="429" y="719"/>
                    <a:pt x="428" y="718"/>
                  </a:cubicBezTo>
                  <a:cubicBezTo>
                    <a:pt x="427" y="717"/>
                    <a:pt x="425" y="716"/>
                    <a:pt x="425" y="715"/>
                  </a:cubicBezTo>
                  <a:cubicBezTo>
                    <a:pt x="426" y="708"/>
                    <a:pt x="427" y="700"/>
                    <a:pt x="428" y="693"/>
                  </a:cubicBezTo>
                  <a:cubicBezTo>
                    <a:pt x="428" y="691"/>
                    <a:pt x="428" y="689"/>
                    <a:pt x="429" y="688"/>
                  </a:cubicBezTo>
                  <a:cubicBezTo>
                    <a:pt x="428" y="688"/>
                    <a:pt x="428" y="688"/>
                    <a:pt x="428" y="688"/>
                  </a:cubicBezTo>
                  <a:cubicBezTo>
                    <a:pt x="424" y="688"/>
                    <a:pt x="424" y="694"/>
                    <a:pt x="423" y="698"/>
                  </a:cubicBezTo>
                  <a:cubicBezTo>
                    <a:pt x="422" y="698"/>
                    <a:pt x="421" y="697"/>
                    <a:pt x="421" y="696"/>
                  </a:cubicBezTo>
                  <a:cubicBezTo>
                    <a:pt x="422" y="695"/>
                    <a:pt x="424" y="692"/>
                    <a:pt x="424" y="691"/>
                  </a:cubicBezTo>
                  <a:cubicBezTo>
                    <a:pt x="424" y="690"/>
                    <a:pt x="423" y="688"/>
                    <a:pt x="422" y="686"/>
                  </a:cubicBezTo>
                  <a:cubicBezTo>
                    <a:pt x="420" y="681"/>
                    <a:pt x="418" y="677"/>
                    <a:pt x="413" y="675"/>
                  </a:cubicBezTo>
                  <a:cubicBezTo>
                    <a:pt x="411" y="673"/>
                    <a:pt x="408" y="673"/>
                    <a:pt x="406" y="672"/>
                  </a:cubicBezTo>
                  <a:cubicBezTo>
                    <a:pt x="402" y="669"/>
                    <a:pt x="408" y="663"/>
                    <a:pt x="410" y="660"/>
                  </a:cubicBezTo>
                  <a:cubicBezTo>
                    <a:pt x="415" y="656"/>
                    <a:pt x="417" y="654"/>
                    <a:pt x="420" y="648"/>
                  </a:cubicBezTo>
                  <a:cubicBezTo>
                    <a:pt x="421" y="644"/>
                    <a:pt x="422" y="641"/>
                    <a:pt x="423" y="637"/>
                  </a:cubicBezTo>
                  <a:cubicBezTo>
                    <a:pt x="424" y="637"/>
                    <a:pt x="424" y="636"/>
                    <a:pt x="423" y="636"/>
                  </a:cubicBezTo>
                  <a:cubicBezTo>
                    <a:pt x="424" y="636"/>
                    <a:pt x="424" y="636"/>
                    <a:pt x="424" y="636"/>
                  </a:cubicBezTo>
                  <a:cubicBezTo>
                    <a:pt x="423" y="636"/>
                    <a:pt x="423" y="636"/>
                    <a:pt x="423" y="636"/>
                  </a:cubicBezTo>
                  <a:cubicBezTo>
                    <a:pt x="424" y="634"/>
                    <a:pt x="424" y="634"/>
                    <a:pt x="424" y="634"/>
                  </a:cubicBezTo>
                  <a:cubicBezTo>
                    <a:pt x="425" y="635"/>
                    <a:pt x="427" y="636"/>
                    <a:pt x="428" y="637"/>
                  </a:cubicBezTo>
                  <a:cubicBezTo>
                    <a:pt x="428" y="635"/>
                    <a:pt x="427" y="633"/>
                    <a:pt x="427" y="631"/>
                  </a:cubicBezTo>
                  <a:cubicBezTo>
                    <a:pt x="428" y="632"/>
                    <a:pt x="430" y="634"/>
                    <a:pt x="432" y="635"/>
                  </a:cubicBezTo>
                  <a:cubicBezTo>
                    <a:pt x="434" y="632"/>
                    <a:pt x="434" y="632"/>
                    <a:pt x="436" y="632"/>
                  </a:cubicBezTo>
                  <a:cubicBezTo>
                    <a:pt x="437" y="632"/>
                    <a:pt x="438" y="632"/>
                    <a:pt x="439" y="632"/>
                  </a:cubicBezTo>
                  <a:cubicBezTo>
                    <a:pt x="439" y="632"/>
                    <a:pt x="440" y="632"/>
                    <a:pt x="440" y="632"/>
                  </a:cubicBezTo>
                  <a:cubicBezTo>
                    <a:pt x="442" y="632"/>
                    <a:pt x="442" y="632"/>
                    <a:pt x="443" y="631"/>
                  </a:cubicBezTo>
                  <a:cubicBezTo>
                    <a:pt x="446" y="628"/>
                    <a:pt x="448" y="627"/>
                    <a:pt x="451" y="625"/>
                  </a:cubicBezTo>
                  <a:cubicBezTo>
                    <a:pt x="451" y="625"/>
                    <a:pt x="451" y="625"/>
                    <a:pt x="451" y="625"/>
                  </a:cubicBezTo>
                  <a:cubicBezTo>
                    <a:pt x="451" y="625"/>
                    <a:pt x="455" y="628"/>
                    <a:pt x="456" y="628"/>
                  </a:cubicBezTo>
                  <a:cubicBezTo>
                    <a:pt x="455" y="627"/>
                    <a:pt x="454" y="623"/>
                    <a:pt x="454" y="621"/>
                  </a:cubicBezTo>
                  <a:cubicBezTo>
                    <a:pt x="454" y="619"/>
                    <a:pt x="455" y="619"/>
                    <a:pt x="457" y="619"/>
                  </a:cubicBezTo>
                  <a:cubicBezTo>
                    <a:pt x="457" y="619"/>
                    <a:pt x="458" y="619"/>
                    <a:pt x="459" y="619"/>
                  </a:cubicBezTo>
                  <a:cubicBezTo>
                    <a:pt x="459" y="619"/>
                    <a:pt x="460" y="619"/>
                    <a:pt x="461" y="619"/>
                  </a:cubicBezTo>
                  <a:cubicBezTo>
                    <a:pt x="462" y="619"/>
                    <a:pt x="463" y="619"/>
                    <a:pt x="463" y="619"/>
                  </a:cubicBezTo>
                  <a:cubicBezTo>
                    <a:pt x="464" y="618"/>
                    <a:pt x="464" y="616"/>
                    <a:pt x="464" y="615"/>
                  </a:cubicBezTo>
                  <a:cubicBezTo>
                    <a:pt x="464" y="615"/>
                    <a:pt x="463" y="614"/>
                    <a:pt x="462" y="614"/>
                  </a:cubicBezTo>
                  <a:cubicBezTo>
                    <a:pt x="461" y="613"/>
                    <a:pt x="459" y="612"/>
                    <a:pt x="458" y="612"/>
                  </a:cubicBezTo>
                  <a:cubicBezTo>
                    <a:pt x="456" y="616"/>
                    <a:pt x="456" y="616"/>
                    <a:pt x="456" y="616"/>
                  </a:cubicBezTo>
                  <a:cubicBezTo>
                    <a:pt x="457" y="611"/>
                    <a:pt x="457" y="611"/>
                    <a:pt x="457" y="611"/>
                  </a:cubicBezTo>
                  <a:cubicBezTo>
                    <a:pt x="456" y="611"/>
                    <a:pt x="456" y="611"/>
                    <a:pt x="456" y="611"/>
                  </a:cubicBezTo>
                  <a:cubicBezTo>
                    <a:pt x="455" y="610"/>
                    <a:pt x="454" y="610"/>
                    <a:pt x="453" y="609"/>
                  </a:cubicBezTo>
                  <a:cubicBezTo>
                    <a:pt x="452" y="609"/>
                    <a:pt x="452" y="609"/>
                    <a:pt x="452" y="609"/>
                  </a:cubicBezTo>
                  <a:cubicBezTo>
                    <a:pt x="452" y="609"/>
                    <a:pt x="452" y="609"/>
                    <a:pt x="452" y="609"/>
                  </a:cubicBezTo>
                  <a:cubicBezTo>
                    <a:pt x="451" y="609"/>
                    <a:pt x="451" y="609"/>
                    <a:pt x="451" y="609"/>
                  </a:cubicBezTo>
                  <a:cubicBezTo>
                    <a:pt x="450" y="609"/>
                    <a:pt x="450" y="609"/>
                    <a:pt x="450" y="609"/>
                  </a:cubicBezTo>
                  <a:cubicBezTo>
                    <a:pt x="449" y="609"/>
                    <a:pt x="449" y="609"/>
                    <a:pt x="449" y="609"/>
                  </a:cubicBezTo>
                  <a:cubicBezTo>
                    <a:pt x="448" y="608"/>
                    <a:pt x="447" y="607"/>
                    <a:pt x="447" y="606"/>
                  </a:cubicBezTo>
                  <a:cubicBezTo>
                    <a:pt x="447" y="605"/>
                    <a:pt x="447" y="605"/>
                    <a:pt x="447" y="605"/>
                  </a:cubicBezTo>
                  <a:cubicBezTo>
                    <a:pt x="445" y="604"/>
                    <a:pt x="445" y="604"/>
                    <a:pt x="445" y="604"/>
                  </a:cubicBezTo>
                  <a:cubicBezTo>
                    <a:pt x="446" y="601"/>
                    <a:pt x="446" y="601"/>
                    <a:pt x="446" y="601"/>
                  </a:cubicBezTo>
                  <a:cubicBezTo>
                    <a:pt x="446" y="601"/>
                    <a:pt x="447" y="600"/>
                    <a:pt x="447" y="599"/>
                  </a:cubicBezTo>
                  <a:cubicBezTo>
                    <a:pt x="448" y="598"/>
                    <a:pt x="448" y="598"/>
                    <a:pt x="449" y="597"/>
                  </a:cubicBezTo>
                  <a:cubicBezTo>
                    <a:pt x="450" y="597"/>
                    <a:pt x="451" y="597"/>
                    <a:pt x="452" y="597"/>
                  </a:cubicBezTo>
                  <a:cubicBezTo>
                    <a:pt x="453" y="597"/>
                    <a:pt x="455" y="597"/>
                    <a:pt x="456" y="598"/>
                  </a:cubicBezTo>
                  <a:cubicBezTo>
                    <a:pt x="456" y="598"/>
                    <a:pt x="456" y="598"/>
                    <a:pt x="457" y="599"/>
                  </a:cubicBezTo>
                  <a:cubicBezTo>
                    <a:pt x="458" y="599"/>
                    <a:pt x="458" y="599"/>
                    <a:pt x="458" y="599"/>
                  </a:cubicBezTo>
                  <a:cubicBezTo>
                    <a:pt x="458" y="599"/>
                    <a:pt x="458" y="599"/>
                    <a:pt x="458" y="599"/>
                  </a:cubicBezTo>
                  <a:cubicBezTo>
                    <a:pt x="458" y="599"/>
                    <a:pt x="458" y="599"/>
                    <a:pt x="458" y="599"/>
                  </a:cubicBezTo>
                  <a:cubicBezTo>
                    <a:pt x="458" y="598"/>
                    <a:pt x="458" y="598"/>
                    <a:pt x="458" y="598"/>
                  </a:cubicBezTo>
                  <a:cubicBezTo>
                    <a:pt x="457" y="598"/>
                    <a:pt x="457" y="598"/>
                    <a:pt x="457" y="598"/>
                  </a:cubicBezTo>
                  <a:cubicBezTo>
                    <a:pt x="457" y="597"/>
                    <a:pt x="457" y="597"/>
                    <a:pt x="457" y="597"/>
                  </a:cubicBezTo>
                  <a:cubicBezTo>
                    <a:pt x="457" y="597"/>
                    <a:pt x="457" y="597"/>
                    <a:pt x="457" y="597"/>
                  </a:cubicBezTo>
                  <a:cubicBezTo>
                    <a:pt x="457" y="596"/>
                    <a:pt x="456" y="596"/>
                    <a:pt x="456" y="596"/>
                  </a:cubicBezTo>
                  <a:cubicBezTo>
                    <a:pt x="456" y="595"/>
                    <a:pt x="456" y="595"/>
                    <a:pt x="456" y="595"/>
                  </a:cubicBezTo>
                  <a:cubicBezTo>
                    <a:pt x="455" y="595"/>
                    <a:pt x="455" y="594"/>
                    <a:pt x="455" y="594"/>
                  </a:cubicBezTo>
                  <a:cubicBezTo>
                    <a:pt x="454" y="593"/>
                    <a:pt x="453" y="592"/>
                    <a:pt x="452" y="591"/>
                  </a:cubicBezTo>
                  <a:cubicBezTo>
                    <a:pt x="451" y="589"/>
                    <a:pt x="449" y="587"/>
                    <a:pt x="448" y="585"/>
                  </a:cubicBezTo>
                  <a:cubicBezTo>
                    <a:pt x="444" y="579"/>
                    <a:pt x="444" y="579"/>
                    <a:pt x="444" y="579"/>
                  </a:cubicBezTo>
                  <a:cubicBezTo>
                    <a:pt x="443" y="578"/>
                    <a:pt x="442" y="576"/>
                    <a:pt x="441" y="575"/>
                  </a:cubicBezTo>
                  <a:cubicBezTo>
                    <a:pt x="440" y="574"/>
                    <a:pt x="439" y="572"/>
                    <a:pt x="439" y="572"/>
                  </a:cubicBezTo>
                  <a:cubicBezTo>
                    <a:pt x="438" y="571"/>
                    <a:pt x="438" y="571"/>
                    <a:pt x="438" y="571"/>
                  </a:cubicBezTo>
                  <a:cubicBezTo>
                    <a:pt x="438" y="571"/>
                    <a:pt x="438" y="571"/>
                    <a:pt x="438" y="571"/>
                  </a:cubicBezTo>
                  <a:cubicBezTo>
                    <a:pt x="438" y="571"/>
                    <a:pt x="437" y="571"/>
                    <a:pt x="437" y="571"/>
                  </a:cubicBezTo>
                  <a:cubicBezTo>
                    <a:pt x="436" y="571"/>
                    <a:pt x="436" y="571"/>
                    <a:pt x="435" y="571"/>
                  </a:cubicBezTo>
                  <a:cubicBezTo>
                    <a:pt x="433" y="572"/>
                    <a:pt x="431" y="572"/>
                    <a:pt x="430" y="572"/>
                  </a:cubicBezTo>
                  <a:cubicBezTo>
                    <a:pt x="429" y="573"/>
                    <a:pt x="428" y="573"/>
                    <a:pt x="427" y="573"/>
                  </a:cubicBezTo>
                  <a:cubicBezTo>
                    <a:pt x="426" y="573"/>
                    <a:pt x="425" y="573"/>
                    <a:pt x="424" y="573"/>
                  </a:cubicBezTo>
                  <a:cubicBezTo>
                    <a:pt x="421" y="573"/>
                    <a:pt x="419" y="573"/>
                    <a:pt x="417" y="571"/>
                  </a:cubicBezTo>
                  <a:cubicBezTo>
                    <a:pt x="413" y="569"/>
                    <a:pt x="413" y="566"/>
                    <a:pt x="412" y="562"/>
                  </a:cubicBezTo>
                  <a:cubicBezTo>
                    <a:pt x="412" y="561"/>
                    <a:pt x="412" y="560"/>
                    <a:pt x="412" y="559"/>
                  </a:cubicBezTo>
                  <a:cubicBezTo>
                    <a:pt x="413" y="558"/>
                    <a:pt x="413" y="556"/>
                    <a:pt x="412" y="556"/>
                  </a:cubicBezTo>
                  <a:cubicBezTo>
                    <a:pt x="412" y="555"/>
                    <a:pt x="412" y="555"/>
                    <a:pt x="412" y="555"/>
                  </a:cubicBezTo>
                  <a:cubicBezTo>
                    <a:pt x="411" y="555"/>
                    <a:pt x="411" y="555"/>
                    <a:pt x="410" y="555"/>
                  </a:cubicBezTo>
                  <a:cubicBezTo>
                    <a:pt x="409" y="554"/>
                    <a:pt x="409" y="554"/>
                    <a:pt x="409" y="554"/>
                  </a:cubicBezTo>
                  <a:cubicBezTo>
                    <a:pt x="408" y="554"/>
                    <a:pt x="406" y="553"/>
                    <a:pt x="404" y="553"/>
                  </a:cubicBezTo>
                  <a:cubicBezTo>
                    <a:pt x="402" y="552"/>
                    <a:pt x="402" y="552"/>
                    <a:pt x="402" y="552"/>
                  </a:cubicBezTo>
                  <a:cubicBezTo>
                    <a:pt x="401" y="552"/>
                    <a:pt x="401" y="552"/>
                    <a:pt x="401" y="552"/>
                  </a:cubicBezTo>
                  <a:cubicBezTo>
                    <a:pt x="401" y="552"/>
                    <a:pt x="401" y="552"/>
                    <a:pt x="401" y="552"/>
                  </a:cubicBezTo>
                  <a:cubicBezTo>
                    <a:pt x="399" y="551"/>
                    <a:pt x="397" y="549"/>
                    <a:pt x="397" y="547"/>
                  </a:cubicBezTo>
                  <a:cubicBezTo>
                    <a:pt x="397" y="547"/>
                    <a:pt x="397" y="547"/>
                    <a:pt x="397" y="547"/>
                  </a:cubicBezTo>
                  <a:cubicBezTo>
                    <a:pt x="397" y="546"/>
                    <a:pt x="397" y="546"/>
                    <a:pt x="397" y="546"/>
                  </a:cubicBezTo>
                  <a:cubicBezTo>
                    <a:pt x="398" y="543"/>
                    <a:pt x="399" y="540"/>
                    <a:pt x="400" y="538"/>
                  </a:cubicBezTo>
                  <a:cubicBezTo>
                    <a:pt x="401" y="538"/>
                    <a:pt x="401" y="538"/>
                    <a:pt x="401" y="538"/>
                  </a:cubicBezTo>
                  <a:cubicBezTo>
                    <a:pt x="403" y="534"/>
                    <a:pt x="405" y="531"/>
                    <a:pt x="408" y="527"/>
                  </a:cubicBezTo>
                  <a:cubicBezTo>
                    <a:pt x="409" y="527"/>
                    <a:pt x="409" y="527"/>
                    <a:pt x="409" y="527"/>
                  </a:cubicBezTo>
                  <a:cubicBezTo>
                    <a:pt x="409" y="526"/>
                    <a:pt x="409" y="526"/>
                    <a:pt x="409" y="526"/>
                  </a:cubicBezTo>
                  <a:cubicBezTo>
                    <a:pt x="410" y="525"/>
                    <a:pt x="410" y="524"/>
                    <a:pt x="409" y="523"/>
                  </a:cubicBezTo>
                  <a:cubicBezTo>
                    <a:pt x="408" y="523"/>
                    <a:pt x="408" y="523"/>
                    <a:pt x="408" y="523"/>
                  </a:cubicBezTo>
                  <a:cubicBezTo>
                    <a:pt x="406" y="521"/>
                    <a:pt x="406" y="521"/>
                    <a:pt x="406" y="521"/>
                  </a:cubicBezTo>
                  <a:cubicBezTo>
                    <a:pt x="406" y="521"/>
                    <a:pt x="405" y="520"/>
                    <a:pt x="405" y="520"/>
                  </a:cubicBezTo>
                  <a:cubicBezTo>
                    <a:pt x="404" y="519"/>
                    <a:pt x="404" y="518"/>
                    <a:pt x="404" y="517"/>
                  </a:cubicBezTo>
                  <a:cubicBezTo>
                    <a:pt x="404" y="516"/>
                    <a:pt x="404" y="515"/>
                    <a:pt x="405" y="515"/>
                  </a:cubicBezTo>
                  <a:cubicBezTo>
                    <a:pt x="405" y="514"/>
                    <a:pt x="405" y="513"/>
                    <a:pt x="405" y="512"/>
                  </a:cubicBezTo>
                  <a:cubicBezTo>
                    <a:pt x="406" y="507"/>
                    <a:pt x="406" y="507"/>
                    <a:pt x="406" y="507"/>
                  </a:cubicBezTo>
                  <a:cubicBezTo>
                    <a:pt x="406" y="507"/>
                    <a:pt x="406" y="506"/>
                    <a:pt x="406" y="506"/>
                  </a:cubicBezTo>
                  <a:cubicBezTo>
                    <a:pt x="407" y="504"/>
                    <a:pt x="407" y="504"/>
                    <a:pt x="407" y="504"/>
                  </a:cubicBezTo>
                  <a:cubicBezTo>
                    <a:pt x="407" y="503"/>
                    <a:pt x="407" y="503"/>
                    <a:pt x="407" y="502"/>
                  </a:cubicBezTo>
                  <a:cubicBezTo>
                    <a:pt x="409" y="499"/>
                    <a:pt x="411" y="498"/>
                    <a:pt x="413" y="498"/>
                  </a:cubicBezTo>
                  <a:cubicBezTo>
                    <a:pt x="414" y="497"/>
                    <a:pt x="414" y="497"/>
                    <a:pt x="415" y="497"/>
                  </a:cubicBezTo>
                  <a:cubicBezTo>
                    <a:pt x="415" y="496"/>
                    <a:pt x="415" y="496"/>
                    <a:pt x="415" y="496"/>
                  </a:cubicBezTo>
                  <a:cubicBezTo>
                    <a:pt x="416" y="496"/>
                    <a:pt x="416" y="496"/>
                    <a:pt x="416" y="496"/>
                  </a:cubicBezTo>
                  <a:cubicBezTo>
                    <a:pt x="417" y="495"/>
                    <a:pt x="417" y="495"/>
                    <a:pt x="417" y="495"/>
                  </a:cubicBezTo>
                  <a:cubicBezTo>
                    <a:pt x="417" y="493"/>
                    <a:pt x="418" y="491"/>
                    <a:pt x="418" y="489"/>
                  </a:cubicBezTo>
                  <a:cubicBezTo>
                    <a:pt x="419" y="488"/>
                    <a:pt x="419" y="488"/>
                    <a:pt x="419" y="488"/>
                  </a:cubicBezTo>
                  <a:cubicBezTo>
                    <a:pt x="419" y="488"/>
                    <a:pt x="419" y="487"/>
                    <a:pt x="419" y="487"/>
                  </a:cubicBezTo>
                  <a:cubicBezTo>
                    <a:pt x="419" y="486"/>
                    <a:pt x="420" y="486"/>
                    <a:pt x="420" y="485"/>
                  </a:cubicBezTo>
                  <a:cubicBezTo>
                    <a:pt x="421" y="483"/>
                    <a:pt x="424" y="482"/>
                    <a:pt x="427" y="482"/>
                  </a:cubicBezTo>
                  <a:cubicBezTo>
                    <a:pt x="427" y="482"/>
                    <a:pt x="427" y="482"/>
                    <a:pt x="427" y="482"/>
                  </a:cubicBezTo>
                  <a:cubicBezTo>
                    <a:pt x="428" y="482"/>
                    <a:pt x="428" y="482"/>
                    <a:pt x="429" y="482"/>
                  </a:cubicBezTo>
                  <a:cubicBezTo>
                    <a:pt x="430" y="482"/>
                    <a:pt x="430" y="482"/>
                    <a:pt x="430" y="482"/>
                  </a:cubicBezTo>
                  <a:cubicBezTo>
                    <a:pt x="433" y="484"/>
                    <a:pt x="437" y="488"/>
                    <a:pt x="439" y="490"/>
                  </a:cubicBezTo>
                  <a:cubicBezTo>
                    <a:pt x="440" y="491"/>
                    <a:pt x="440" y="491"/>
                    <a:pt x="440" y="491"/>
                  </a:cubicBezTo>
                  <a:cubicBezTo>
                    <a:pt x="440" y="492"/>
                    <a:pt x="441" y="493"/>
                    <a:pt x="442" y="493"/>
                  </a:cubicBezTo>
                  <a:cubicBezTo>
                    <a:pt x="443" y="494"/>
                    <a:pt x="443" y="494"/>
                    <a:pt x="443" y="494"/>
                  </a:cubicBezTo>
                  <a:cubicBezTo>
                    <a:pt x="444" y="496"/>
                    <a:pt x="446" y="498"/>
                    <a:pt x="447" y="499"/>
                  </a:cubicBezTo>
                  <a:cubicBezTo>
                    <a:pt x="447" y="499"/>
                    <a:pt x="448" y="500"/>
                    <a:pt x="448" y="500"/>
                  </a:cubicBezTo>
                  <a:cubicBezTo>
                    <a:pt x="448" y="500"/>
                    <a:pt x="448" y="500"/>
                    <a:pt x="448" y="500"/>
                  </a:cubicBezTo>
                  <a:cubicBezTo>
                    <a:pt x="449" y="500"/>
                    <a:pt x="449" y="499"/>
                    <a:pt x="450" y="499"/>
                  </a:cubicBezTo>
                  <a:cubicBezTo>
                    <a:pt x="450" y="499"/>
                    <a:pt x="450" y="499"/>
                    <a:pt x="450" y="499"/>
                  </a:cubicBezTo>
                  <a:cubicBezTo>
                    <a:pt x="451" y="498"/>
                    <a:pt x="454" y="497"/>
                    <a:pt x="455" y="497"/>
                  </a:cubicBezTo>
                  <a:cubicBezTo>
                    <a:pt x="455" y="496"/>
                    <a:pt x="455" y="496"/>
                    <a:pt x="455" y="496"/>
                  </a:cubicBezTo>
                  <a:cubicBezTo>
                    <a:pt x="454" y="496"/>
                    <a:pt x="454" y="496"/>
                    <a:pt x="454" y="496"/>
                  </a:cubicBezTo>
                  <a:cubicBezTo>
                    <a:pt x="454" y="495"/>
                    <a:pt x="454" y="495"/>
                    <a:pt x="454" y="495"/>
                  </a:cubicBezTo>
                  <a:cubicBezTo>
                    <a:pt x="453" y="494"/>
                    <a:pt x="453" y="493"/>
                    <a:pt x="453" y="492"/>
                  </a:cubicBezTo>
                  <a:cubicBezTo>
                    <a:pt x="453" y="492"/>
                    <a:pt x="453" y="492"/>
                    <a:pt x="453" y="492"/>
                  </a:cubicBezTo>
                  <a:cubicBezTo>
                    <a:pt x="453" y="492"/>
                    <a:pt x="453" y="492"/>
                    <a:pt x="453" y="492"/>
                  </a:cubicBezTo>
                  <a:cubicBezTo>
                    <a:pt x="453" y="491"/>
                    <a:pt x="452" y="490"/>
                    <a:pt x="452" y="490"/>
                  </a:cubicBezTo>
                  <a:cubicBezTo>
                    <a:pt x="452" y="489"/>
                    <a:pt x="452" y="488"/>
                    <a:pt x="451" y="487"/>
                  </a:cubicBezTo>
                  <a:cubicBezTo>
                    <a:pt x="451" y="485"/>
                    <a:pt x="451" y="484"/>
                    <a:pt x="451" y="483"/>
                  </a:cubicBezTo>
                  <a:cubicBezTo>
                    <a:pt x="450" y="483"/>
                    <a:pt x="450" y="482"/>
                    <a:pt x="450" y="482"/>
                  </a:cubicBezTo>
                  <a:cubicBezTo>
                    <a:pt x="449" y="480"/>
                    <a:pt x="449" y="479"/>
                    <a:pt x="449" y="477"/>
                  </a:cubicBezTo>
                  <a:cubicBezTo>
                    <a:pt x="448" y="472"/>
                    <a:pt x="448" y="472"/>
                    <a:pt x="448" y="472"/>
                  </a:cubicBezTo>
                  <a:cubicBezTo>
                    <a:pt x="450" y="472"/>
                    <a:pt x="450" y="472"/>
                    <a:pt x="450" y="472"/>
                  </a:cubicBezTo>
                  <a:cubicBezTo>
                    <a:pt x="453" y="474"/>
                    <a:pt x="453" y="474"/>
                    <a:pt x="453" y="474"/>
                  </a:cubicBezTo>
                  <a:cubicBezTo>
                    <a:pt x="454" y="474"/>
                    <a:pt x="454" y="474"/>
                    <a:pt x="454" y="474"/>
                  </a:cubicBezTo>
                  <a:cubicBezTo>
                    <a:pt x="455" y="474"/>
                    <a:pt x="457" y="474"/>
                    <a:pt x="459" y="472"/>
                  </a:cubicBezTo>
                  <a:cubicBezTo>
                    <a:pt x="459" y="472"/>
                    <a:pt x="460" y="472"/>
                    <a:pt x="461" y="471"/>
                  </a:cubicBezTo>
                  <a:cubicBezTo>
                    <a:pt x="462" y="471"/>
                    <a:pt x="462" y="471"/>
                    <a:pt x="462" y="471"/>
                  </a:cubicBezTo>
                  <a:cubicBezTo>
                    <a:pt x="463" y="470"/>
                    <a:pt x="463" y="470"/>
                    <a:pt x="463" y="470"/>
                  </a:cubicBezTo>
                  <a:cubicBezTo>
                    <a:pt x="463" y="470"/>
                    <a:pt x="464" y="470"/>
                    <a:pt x="465" y="470"/>
                  </a:cubicBezTo>
                  <a:cubicBezTo>
                    <a:pt x="465" y="469"/>
                    <a:pt x="465" y="469"/>
                    <a:pt x="465" y="469"/>
                  </a:cubicBezTo>
                  <a:cubicBezTo>
                    <a:pt x="466" y="469"/>
                    <a:pt x="467" y="469"/>
                    <a:pt x="468" y="468"/>
                  </a:cubicBezTo>
                  <a:cubicBezTo>
                    <a:pt x="468" y="468"/>
                    <a:pt x="468" y="468"/>
                    <a:pt x="468" y="468"/>
                  </a:cubicBezTo>
                  <a:cubicBezTo>
                    <a:pt x="466" y="464"/>
                    <a:pt x="466" y="464"/>
                    <a:pt x="466" y="464"/>
                  </a:cubicBezTo>
                  <a:cubicBezTo>
                    <a:pt x="487" y="455"/>
                    <a:pt x="487" y="455"/>
                    <a:pt x="487" y="455"/>
                  </a:cubicBezTo>
                  <a:cubicBezTo>
                    <a:pt x="488" y="455"/>
                    <a:pt x="488" y="455"/>
                    <a:pt x="489" y="454"/>
                  </a:cubicBezTo>
                  <a:cubicBezTo>
                    <a:pt x="489" y="454"/>
                    <a:pt x="489" y="454"/>
                    <a:pt x="489" y="454"/>
                  </a:cubicBezTo>
                  <a:cubicBezTo>
                    <a:pt x="491" y="454"/>
                    <a:pt x="491" y="453"/>
                    <a:pt x="492" y="453"/>
                  </a:cubicBezTo>
                  <a:cubicBezTo>
                    <a:pt x="492" y="453"/>
                    <a:pt x="492" y="453"/>
                    <a:pt x="492" y="453"/>
                  </a:cubicBezTo>
                  <a:cubicBezTo>
                    <a:pt x="493" y="451"/>
                    <a:pt x="493" y="451"/>
                    <a:pt x="493" y="451"/>
                  </a:cubicBezTo>
                  <a:cubicBezTo>
                    <a:pt x="493" y="450"/>
                    <a:pt x="493" y="450"/>
                    <a:pt x="493" y="450"/>
                  </a:cubicBezTo>
                  <a:cubicBezTo>
                    <a:pt x="494" y="449"/>
                    <a:pt x="494" y="449"/>
                    <a:pt x="494" y="449"/>
                  </a:cubicBezTo>
                  <a:cubicBezTo>
                    <a:pt x="496" y="445"/>
                    <a:pt x="498" y="444"/>
                    <a:pt x="502" y="443"/>
                  </a:cubicBezTo>
                  <a:cubicBezTo>
                    <a:pt x="503" y="443"/>
                    <a:pt x="503" y="443"/>
                    <a:pt x="503" y="443"/>
                  </a:cubicBezTo>
                  <a:cubicBezTo>
                    <a:pt x="503" y="443"/>
                    <a:pt x="503" y="443"/>
                    <a:pt x="503" y="443"/>
                  </a:cubicBezTo>
                  <a:cubicBezTo>
                    <a:pt x="503" y="443"/>
                    <a:pt x="503" y="442"/>
                    <a:pt x="503" y="441"/>
                  </a:cubicBezTo>
                  <a:cubicBezTo>
                    <a:pt x="501" y="436"/>
                    <a:pt x="501" y="436"/>
                    <a:pt x="501" y="436"/>
                  </a:cubicBezTo>
                  <a:cubicBezTo>
                    <a:pt x="507" y="438"/>
                    <a:pt x="507" y="438"/>
                    <a:pt x="507" y="438"/>
                  </a:cubicBezTo>
                  <a:cubicBezTo>
                    <a:pt x="508" y="438"/>
                    <a:pt x="510" y="438"/>
                    <a:pt x="512" y="439"/>
                  </a:cubicBezTo>
                  <a:cubicBezTo>
                    <a:pt x="513" y="439"/>
                    <a:pt x="514" y="439"/>
                    <a:pt x="514" y="439"/>
                  </a:cubicBezTo>
                  <a:cubicBezTo>
                    <a:pt x="516" y="440"/>
                    <a:pt x="517" y="440"/>
                    <a:pt x="519" y="441"/>
                  </a:cubicBezTo>
                  <a:cubicBezTo>
                    <a:pt x="520" y="441"/>
                    <a:pt x="522" y="443"/>
                    <a:pt x="523" y="445"/>
                  </a:cubicBezTo>
                  <a:cubicBezTo>
                    <a:pt x="524" y="442"/>
                    <a:pt x="524" y="442"/>
                    <a:pt x="524" y="442"/>
                  </a:cubicBezTo>
                  <a:cubicBezTo>
                    <a:pt x="524" y="447"/>
                    <a:pt x="524" y="447"/>
                    <a:pt x="524" y="447"/>
                  </a:cubicBezTo>
                  <a:cubicBezTo>
                    <a:pt x="524" y="447"/>
                    <a:pt x="524" y="447"/>
                    <a:pt x="524" y="447"/>
                  </a:cubicBezTo>
                  <a:cubicBezTo>
                    <a:pt x="524" y="447"/>
                    <a:pt x="525" y="447"/>
                    <a:pt x="526" y="447"/>
                  </a:cubicBezTo>
                  <a:cubicBezTo>
                    <a:pt x="526" y="447"/>
                    <a:pt x="526" y="447"/>
                    <a:pt x="526" y="447"/>
                  </a:cubicBezTo>
                  <a:cubicBezTo>
                    <a:pt x="527" y="447"/>
                    <a:pt x="527" y="447"/>
                    <a:pt x="527" y="447"/>
                  </a:cubicBezTo>
                  <a:cubicBezTo>
                    <a:pt x="527" y="447"/>
                    <a:pt x="527" y="447"/>
                    <a:pt x="527" y="447"/>
                  </a:cubicBezTo>
                  <a:cubicBezTo>
                    <a:pt x="527" y="447"/>
                    <a:pt x="527" y="446"/>
                    <a:pt x="527" y="446"/>
                  </a:cubicBezTo>
                  <a:cubicBezTo>
                    <a:pt x="527" y="445"/>
                    <a:pt x="527" y="445"/>
                    <a:pt x="527" y="445"/>
                  </a:cubicBezTo>
                  <a:cubicBezTo>
                    <a:pt x="527" y="444"/>
                    <a:pt x="528" y="441"/>
                    <a:pt x="532" y="441"/>
                  </a:cubicBezTo>
                  <a:cubicBezTo>
                    <a:pt x="537" y="440"/>
                    <a:pt x="538" y="440"/>
                    <a:pt x="542" y="437"/>
                  </a:cubicBezTo>
                  <a:cubicBezTo>
                    <a:pt x="545" y="435"/>
                    <a:pt x="545" y="435"/>
                    <a:pt x="545" y="435"/>
                  </a:cubicBezTo>
                  <a:cubicBezTo>
                    <a:pt x="546" y="438"/>
                    <a:pt x="546" y="438"/>
                    <a:pt x="546" y="438"/>
                  </a:cubicBezTo>
                  <a:cubicBezTo>
                    <a:pt x="547" y="439"/>
                    <a:pt x="547" y="440"/>
                    <a:pt x="547" y="441"/>
                  </a:cubicBezTo>
                  <a:cubicBezTo>
                    <a:pt x="548" y="442"/>
                    <a:pt x="548" y="444"/>
                    <a:pt x="549" y="445"/>
                  </a:cubicBezTo>
                  <a:cubicBezTo>
                    <a:pt x="549" y="446"/>
                    <a:pt x="549" y="446"/>
                    <a:pt x="549" y="446"/>
                  </a:cubicBezTo>
                  <a:cubicBezTo>
                    <a:pt x="550" y="446"/>
                    <a:pt x="550" y="446"/>
                    <a:pt x="550" y="447"/>
                  </a:cubicBezTo>
                  <a:cubicBezTo>
                    <a:pt x="550" y="447"/>
                    <a:pt x="550" y="447"/>
                    <a:pt x="550" y="447"/>
                  </a:cubicBezTo>
                  <a:cubicBezTo>
                    <a:pt x="550" y="447"/>
                    <a:pt x="550" y="447"/>
                    <a:pt x="550" y="447"/>
                  </a:cubicBezTo>
                  <a:cubicBezTo>
                    <a:pt x="550" y="447"/>
                    <a:pt x="550" y="447"/>
                    <a:pt x="550" y="447"/>
                  </a:cubicBezTo>
                  <a:cubicBezTo>
                    <a:pt x="551" y="447"/>
                    <a:pt x="551" y="447"/>
                    <a:pt x="551" y="447"/>
                  </a:cubicBezTo>
                  <a:cubicBezTo>
                    <a:pt x="551" y="447"/>
                    <a:pt x="551" y="447"/>
                    <a:pt x="551" y="447"/>
                  </a:cubicBezTo>
                  <a:cubicBezTo>
                    <a:pt x="550" y="441"/>
                    <a:pt x="550" y="441"/>
                    <a:pt x="550" y="441"/>
                  </a:cubicBezTo>
                  <a:cubicBezTo>
                    <a:pt x="553" y="447"/>
                    <a:pt x="553" y="447"/>
                    <a:pt x="553" y="447"/>
                  </a:cubicBezTo>
                  <a:cubicBezTo>
                    <a:pt x="553" y="446"/>
                    <a:pt x="553" y="446"/>
                    <a:pt x="553" y="446"/>
                  </a:cubicBezTo>
                  <a:cubicBezTo>
                    <a:pt x="555" y="446"/>
                    <a:pt x="558" y="446"/>
                    <a:pt x="561" y="446"/>
                  </a:cubicBezTo>
                  <a:cubicBezTo>
                    <a:pt x="561" y="446"/>
                    <a:pt x="562" y="446"/>
                    <a:pt x="562" y="446"/>
                  </a:cubicBezTo>
                  <a:cubicBezTo>
                    <a:pt x="565" y="446"/>
                    <a:pt x="569" y="446"/>
                    <a:pt x="572" y="447"/>
                  </a:cubicBezTo>
                  <a:cubicBezTo>
                    <a:pt x="578" y="450"/>
                    <a:pt x="584" y="455"/>
                    <a:pt x="590" y="460"/>
                  </a:cubicBezTo>
                  <a:cubicBezTo>
                    <a:pt x="590" y="461"/>
                    <a:pt x="590" y="461"/>
                    <a:pt x="590" y="461"/>
                  </a:cubicBezTo>
                  <a:cubicBezTo>
                    <a:pt x="592" y="462"/>
                    <a:pt x="593" y="463"/>
                    <a:pt x="595" y="464"/>
                  </a:cubicBezTo>
                  <a:cubicBezTo>
                    <a:pt x="595" y="465"/>
                    <a:pt x="595" y="465"/>
                    <a:pt x="595" y="465"/>
                  </a:cubicBezTo>
                  <a:cubicBezTo>
                    <a:pt x="595" y="463"/>
                    <a:pt x="595" y="463"/>
                    <a:pt x="595" y="463"/>
                  </a:cubicBezTo>
                  <a:cubicBezTo>
                    <a:pt x="597" y="462"/>
                    <a:pt x="597" y="462"/>
                    <a:pt x="597" y="462"/>
                  </a:cubicBezTo>
                  <a:cubicBezTo>
                    <a:pt x="598" y="462"/>
                    <a:pt x="599" y="461"/>
                    <a:pt x="600" y="461"/>
                  </a:cubicBezTo>
                  <a:cubicBezTo>
                    <a:pt x="600" y="461"/>
                    <a:pt x="600" y="461"/>
                    <a:pt x="600" y="461"/>
                  </a:cubicBezTo>
                  <a:cubicBezTo>
                    <a:pt x="601" y="461"/>
                    <a:pt x="601" y="461"/>
                    <a:pt x="602" y="461"/>
                  </a:cubicBezTo>
                  <a:cubicBezTo>
                    <a:pt x="603" y="462"/>
                    <a:pt x="603" y="462"/>
                    <a:pt x="603" y="462"/>
                  </a:cubicBezTo>
                  <a:cubicBezTo>
                    <a:pt x="603" y="462"/>
                    <a:pt x="603" y="462"/>
                    <a:pt x="603" y="462"/>
                  </a:cubicBezTo>
                  <a:cubicBezTo>
                    <a:pt x="604" y="462"/>
                    <a:pt x="604" y="462"/>
                    <a:pt x="604" y="462"/>
                  </a:cubicBezTo>
                  <a:cubicBezTo>
                    <a:pt x="605" y="463"/>
                    <a:pt x="607" y="464"/>
                    <a:pt x="608" y="465"/>
                  </a:cubicBezTo>
                  <a:cubicBezTo>
                    <a:pt x="611" y="467"/>
                    <a:pt x="611" y="467"/>
                    <a:pt x="611" y="467"/>
                  </a:cubicBezTo>
                  <a:cubicBezTo>
                    <a:pt x="614" y="470"/>
                    <a:pt x="617" y="472"/>
                    <a:pt x="621" y="474"/>
                  </a:cubicBezTo>
                  <a:cubicBezTo>
                    <a:pt x="624" y="476"/>
                    <a:pt x="626" y="477"/>
                    <a:pt x="626" y="477"/>
                  </a:cubicBezTo>
                  <a:cubicBezTo>
                    <a:pt x="627" y="476"/>
                    <a:pt x="627" y="476"/>
                    <a:pt x="627" y="476"/>
                  </a:cubicBezTo>
                  <a:cubicBezTo>
                    <a:pt x="628" y="476"/>
                    <a:pt x="628" y="476"/>
                    <a:pt x="628" y="476"/>
                  </a:cubicBezTo>
                  <a:cubicBezTo>
                    <a:pt x="628" y="475"/>
                    <a:pt x="629" y="475"/>
                    <a:pt x="629" y="475"/>
                  </a:cubicBezTo>
                  <a:cubicBezTo>
                    <a:pt x="630" y="474"/>
                    <a:pt x="631" y="474"/>
                    <a:pt x="631" y="474"/>
                  </a:cubicBezTo>
                  <a:cubicBezTo>
                    <a:pt x="632" y="473"/>
                    <a:pt x="632" y="473"/>
                    <a:pt x="633" y="473"/>
                  </a:cubicBezTo>
                  <a:cubicBezTo>
                    <a:pt x="633" y="472"/>
                    <a:pt x="633" y="472"/>
                    <a:pt x="633" y="472"/>
                  </a:cubicBezTo>
                  <a:cubicBezTo>
                    <a:pt x="633" y="472"/>
                    <a:pt x="633" y="472"/>
                    <a:pt x="633" y="472"/>
                  </a:cubicBezTo>
                  <a:cubicBezTo>
                    <a:pt x="634" y="471"/>
                    <a:pt x="634" y="471"/>
                    <a:pt x="634" y="471"/>
                  </a:cubicBezTo>
                  <a:cubicBezTo>
                    <a:pt x="634" y="470"/>
                    <a:pt x="634" y="470"/>
                    <a:pt x="634" y="470"/>
                  </a:cubicBezTo>
                  <a:cubicBezTo>
                    <a:pt x="636" y="467"/>
                    <a:pt x="638" y="467"/>
                    <a:pt x="639" y="467"/>
                  </a:cubicBezTo>
                  <a:cubicBezTo>
                    <a:pt x="640" y="466"/>
                    <a:pt x="640" y="466"/>
                    <a:pt x="640" y="466"/>
                  </a:cubicBezTo>
                  <a:cubicBezTo>
                    <a:pt x="641" y="465"/>
                    <a:pt x="641" y="465"/>
                    <a:pt x="641" y="465"/>
                  </a:cubicBezTo>
                  <a:cubicBezTo>
                    <a:pt x="642" y="462"/>
                    <a:pt x="644" y="461"/>
                    <a:pt x="647" y="461"/>
                  </a:cubicBezTo>
                  <a:cubicBezTo>
                    <a:pt x="651" y="460"/>
                    <a:pt x="655" y="460"/>
                    <a:pt x="659" y="459"/>
                  </a:cubicBezTo>
                  <a:cubicBezTo>
                    <a:pt x="660" y="459"/>
                    <a:pt x="660" y="459"/>
                    <a:pt x="661" y="459"/>
                  </a:cubicBezTo>
                  <a:cubicBezTo>
                    <a:pt x="663" y="459"/>
                    <a:pt x="665" y="460"/>
                    <a:pt x="666" y="462"/>
                  </a:cubicBezTo>
                  <a:cubicBezTo>
                    <a:pt x="666" y="462"/>
                    <a:pt x="667" y="463"/>
                    <a:pt x="667" y="463"/>
                  </a:cubicBezTo>
                  <a:cubicBezTo>
                    <a:pt x="668" y="464"/>
                    <a:pt x="668" y="464"/>
                    <a:pt x="668" y="464"/>
                  </a:cubicBezTo>
                  <a:cubicBezTo>
                    <a:pt x="669" y="465"/>
                    <a:pt x="670" y="466"/>
                    <a:pt x="671" y="467"/>
                  </a:cubicBezTo>
                  <a:cubicBezTo>
                    <a:pt x="671" y="467"/>
                    <a:pt x="671" y="467"/>
                    <a:pt x="672" y="466"/>
                  </a:cubicBezTo>
                  <a:cubicBezTo>
                    <a:pt x="673" y="466"/>
                    <a:pt x="673" y="466"/>
                    <a:pt x="674" y="466"/>
                  </a:cubicBezTo>
                  <a:cubicBezTo>
                    <a:pt x="674" y="466"/>
                    <a:pt x="674" y="466"/>
                    <a:pt x="674" y="466"/>
                  </a:cubicBezTo>
                  <a:cubicBezTo>
                    <a:pt x="674" y="465"/>
                    <a:pt x="674" y="465"/>
                    <a:pt x="674" y="465"/>
                  </a:cubicBezTo>
                  <a:cubicBezTo>
                    <a:pt x="674" y="464"/>
                    <a:pt x="674" y="464"/>
                    <a:pt x="674" y="464"/>
                  </a:cubicBezTo>
                  <a:cubicBezTo>
                    <a:pt x="674" y="460"/>
                    <a:pt x="676" y="458"/>
                    <a:pt x="681" y="458"/>
                  </a:cubicBezTo>
                  <a:cubicBezTo>
                    <a:pt x="682" y="458"/>
                    <a:pt x="682" y="458"/>
                    <a:pt x="682" y="458"/>
                  </a:cubicBezTo>
                  <a:cubicBezTo>
                    <a:pt x="683" y="458"/>
                    <a:pt x="684" y="458"/>
                    <a:pt x="686" y="458"/>
                  </a:cubicBezTo>
                  <a:cubicBezTo>
                    <a:pt x="692" y="458"/>
                    <a:pt x="700" y="459"/>
                    <a:pt x="702" y="468"/>
                  </a:cubicBezTo>
                  <a:cubicBezTo>
                    <a:pt x="702" y="468"/>
                    <a:pt x="702" y="468"/>
                    <a:pt x="702" y="468"/>
                  </a:cubicBezTo>
                  <a:cubicBezTo>
                    <a:pt x="702" y="469"/>
                    <a:pt x="702" y="470"/>
                    <a:pt x="702" y="470"/>
                  </a:cubicBezTo>
                  <a:cubicBezTo>
                    <a:pt x="702" y="470"/>
                    <a:pt x="703" y="470"/>
                    <a:pt x="704" y="471"/>
                  </a:cubicBezTo>
                  <a:cubicBezTo>
                    <a:pt x="705" y="472"/>
                    <a:pt x="706" y="472"/>
                    <a:pt x="706" y="472"/>
                  </a:cubicBezTo>
                  <a:cubicBezTo>
                    <a:pt x="706" y="472"/>
                    <a:pt x="706" y="472"/>
                    <a:pt x="706" y="472"/>
                  </a:cubicBezTo>
                  <a:cubicBezTo>
                    <a:pt x="706" y="472"/>
                    <a:pt x="706" y="472"/>
                    <a:pt x="706" y="472"/>
                  </a:cubicBezTo>
                  <a:cubicBezTo>
                    <a:pt x="707" y="473"/>
                    <a:pt x="707" y="473"/>
                    <a:pt x="707" y="473"/>
                  </a:cubicBezTo>
                  <a:cubicBezTo>
                    <a:pt x="708" y="473"/>
                    <a:pt x="709" y="473"/>
                    <a:pt x="710" y="473"/>
                  </a:cubicBezTo>
                  <a:cubicBezTo>
                    <a:pt x="710" y="473"/>
                    <a:pt x="710" y="473"/>
                    <a:pt x="710" y="473"/>
                  </a:cubicBezTo>
                  <a:cubicBezTo>
                    <a:pt x="711" y="473"/>
                    <a:pt x="712" y="473"/>
                    <a:pt x="712" y="473"/>
                  </a:cubicBezTo>
                  <a:cubicBezTo>
                    <a:pt x="716" y="474"/>
                    <a:pt x="718" y="475"/>
                    <a:pt x="721" y="475"/>
                  </a:cubicBezTo>
                  <a:cubicBezTo>
                    <a:pt x="722" y="476"/>
                    <a:pt x="723" y="476"/>
                    <a:pt x="724" y="477"/>
                  </a:cubicBezTo>
                  <a:cubicBezTo>
                    <a:pt x="724" y="478"/>
                    <a:pt x="724" y="478"/>
                    <a:pt x="724" y="478"/>
                  </a:cubicBezTo>
                  <a:cubicBezTo>
                    <a:pt x="724" y="477"/>
                    <a:pt x="724" y="477"/>
                    <a:pt x="724" y="477"/>
                  </a:cubicBezTo>
                  <a:cubicBezTo>
                    <a:pt x="725" y="477"/>
                    <a:pt x="725" y="477"/>
                    <a:pt x="725" y="477"/>
                  </a:cubicBezTo>
                  <a:cubicBezTo>
                    <a:pt x="726" y="476"/>
                    <a:pt x="726" y="476"/>
                    <a:pt x="726" y="476"/>
                  </a:cubicBezTo>
                  <a:cubicBezTo>
                    <a:pt x="727" y="476"/>
                    <a:pt x="727" y="475"/>
                    <a:pt x="727" y="474"/>
                  </a:cubicBezTo>
                  <a:cubicBezTo>
                    <a:pt x="728" y="473"/>
                    <a:pt x="729" y="472"/>
                    <a:pt x="729" y="470"/>
                  </a:cubicBezTo>
                  <a:cubicBezTo>
                    <a:pt x="729" y="469"/>
                    <a:pt x="729" y="469"/>
                    <a:pt x="729" y="469"/>
                  </a:cubicBezTo>
                  <a:cubicBezTo>
                    <a:pt x="729" y="469"/>
                    <a:pt x="729" y="469"/>
                    <a:pt x="729" y="469"/>
                  </a:cubicBezTo>
                  <a:cubicBezTo>
                    <a:pt x="731" y="466"/>
                    <a:pt x="731" y="466"/>
                    <a:pt x="731" y="466"/>
                  </a:cubicBezTo>
                  <a:cubicBezTo>
                    <a:pt x="738" y="470"/>
                    <a:pt x="738" y="470"/>
                    <a:pt x="738" y="470"/>
                  </a:cubicBezTo>
                  <a:cubicBezTo>
                    <a:pt x="740" y="471"/>
                    <a:pt x="740" y="471"/>
                    <a:pt x="740" y="471"/>
                  </a:cubicBezTo>
                  <a:cubicBezTo>
                    <a:pt x="743" y="472"/>
                    <a:pt x="746" y="473"/>
                    <a:pt x="749" y="473"/>
                  </a:cubicBezTo>
                  <a:cubicBezTo>
                    <a:pt x="751" y="473"/>
                    <a:pt x="751" y="473"/>
                    <a:pt x="751" y="473"/>
                  </a:cubicBezTo>
                  <a:cubicBezTo>
                    <a:pt x="751" y="473"/>
                    <a:pt x="751" y="473"/>
                    <a:pt x="751" y="473"/>
                  </a:cubicBezTo>
                  <a:cubicBezTo>
                    <a:pt x="752" y="473"/>
                    <a:pt x="753" y="473"/>
                    <a:pt x="754" y="473"/>
                  </a:cubicBezTo>
                  <a:cubicBezTo>
                    <a:pt x="757" y="472"/>
                    <a:pt x="761" y="471"/>
                    <a:pt x="764" y="470"/>
                  </a:cubicBezTo>
                  <a:cubicBezTo>
                    <a:pt x="765" y="469"/>
                    <a:pt x="765" y="469"/>
                    <a:pt x="765" y="469"/>
                  </a:cubicBezTo>
                  <a:cubicBezTo>
                    <a:pt x="765" y="469"/>
                    <a:pt x="765" y="469"/>
                    <a:pt x="765" y="469"/>
                  </a:cubicBezTo>
                  <a:cubicBezTo>
                    <a:pt x="765" y="469"/>
                    <a:pt x="765" y="469"/>
                    <a:pt x="765" y="468"/>
                  </a:cubicBezTo>
                  <a:cubicBezTo>
                    <a:pt x="765" y="467"/>
                    <a:pt x="765" y="467"/>
                    <a:pt x="765" y="467"/>
                  </a:cubicBezTo>
                  <a:cubicBezTo>
                    <a:pt x="765" y="466"/>
                    <a:pt x="765" y="465"/>
                    <a:pt x="766" y="465"/>
                  </a:cubicBezTo>
                  <a:cubicBezTo>
                    <a:pt x="766" y="464"/>
                    <a:pt x="766" y="464"/>
                    <a:pt x="766" y="464"/>
                  </a:cubicBezTo>
                  <a:cubicBezTo>
                    <a:pt x="767" y="461"/>
                    <a:pt x="768" y="459"/>
                    <a:pt x="769" y="458"/>
                  </a:cubicBezTo>
                  <a:cubicBezTo>
                    <a:pt x="756" y="452"/>
                    <a:pt x="756" y="452"/>
                    <a:pt x="756" y="452"/>
                  </a:cubicBezTo>
                  <a:cubicBezTo>
                    <a:pt x="748" y="448"/>
                    <a:pt x="748" y="448"/>
                    <a:pt x="748" y="448"/>
                  </a:cubicBezTo>
                  <a:cubicBezTo>
                    <a:pt x="744" y="447"/>
                    <a:pt x="744" y="447"/>
                    <a:pt x="744" y="447"/>
                  </a:cubicBezTo>
                  <a:cubicBezTo>
                    <a:pt x="743" y="447"/>
                    <a:pt x="743" y="447"/>
                    <a:pt x="742" y="446"/>
                  </a:cubicBezTo>
                  <a:cubicBezTo>
                    <a:pt x="739" y="445"/>
                    <a:pt x="739" y="445"/>
                    <a:pt x="739" y="445"/>
                  </a:cubicBezTo>
                  <a:cubicBezTo>
                    <a:pt x="737" y="443"/>
                    <a:pt x="737" y="443"/>
                    <a:pt x="737" y="443"/>
                  </a:cubicBezTo>
                  <a:cubicBezTo>
                    <a:pt x="737" y="442"/>
                    <a:pt x="737" y="442"/>
                    <a:pt x="737" y="442"/>
                  </a:cubicBezTo>
                  <a:cubicBezTo>
                    <a:pt x="736" y="442"/>
                    <a:pt x="735" y="441"/>
                    <a:pt x="734" y="440"/>
                  </a:cubicBezTo>
                  <a:cubicBezTo>
                    <a:pt x="733" y="439"/>
                    <a:pt x="733" y="439"/>
                    <a:pt x="733" y="439"/>
                  </a:cubicBezTo>
                  <a:cubicBezTo>
                    <a:pt x="731" y="437"/>
                    <a:pt x="731" y="437"/>
                    <a:pt x="731" y="437"/>
                  </a:cubicBezTo>
                  <a:cubicBezTo>
                    <a:pt x="731" y="437"/>
                    <a:pt x="731" y="436"/>
                    <a:pt x="730" y="436"/>
                  </a:cubicBezTo>
                  <a:cubicBezTo>
                    <a:pt x="729" y="434"/>
                    <a:pt x="729" y="434"/>
                    <a:pt x="729" y="434"/>
                  </a:cubicBezTo>
                  <a:cubicBezTo>
                    <a:pt x="730" y="431"/>
                    <a:pt x="730" y="431"/>
                    <a:pt x="730" y="431"/>
                  </a:cubicBezTo>
                  <a:cubicBezTo>
                    <a:pt x="730" y="429"/>
                    <a:pt x="730" y="429"/>
                    <a:pt x="730" y="429"/>
                  </a:cubicBezTo>
                  <a:cubicBezTo>
                    <a:pt x="733" y="429"/>
                    <a:pt x="733" y="429"/>
                    <a:pt x="733" y="429"/>
                  </a:cubicBezTo>
                  <a:cubicBezTo>
                    <a:pt x="736" y="429"/>
                    <a:pt x="736" y="429"/>
                    <a:pt x="736" y="429"/>
                  </a:cubicBezTo>
                  <a:cubicBezTo>
                    <a:pt x="736" y="429"/>
                    <a:pt x="736" y="429"/>
                    <a:pt x="736" y="429"/>
                  </a:cubicBezTo>
                  <a:cubicBezTo>
                    <a:pt x="737" y="429"/>
                    <a:pt x="737" y="429"/>
                    <a:pt x="737" y="429"/>
                  </a:cubicBezTo>
                  <a:cubicBezTo>
                    <a:pt x="738" y="428"/>
                    <a:pt x="739" y="427"/>
                    <a:pt x="740" y="426"/>
                  </a:cubicBezTo>
                  <a:cubicBezTo>
                    <a:pt x="742" y="425"/>
                    <a:pt x="742" y="425"/>
                    <a:pt x="742" y="425"/>
                  </a:cubicBezTo>
                  <a:cubicBezTo>
                    <a:pt x="743" y="424"/>
                    <a:pt x="744" y="424"/>
                    <a:pt x="745" y="424"/>
                  </a:cubicBezTo>
                  <a:cubicBezTo>
                    <a:pt x="745" y="424"/>
                    <a:pt x="746" y="424"/>
                    <a:pt x="746" y="424"/>
                  </a:cubicBezTo>
                  <a:cubicBezTo>
                    <a:pt x="748" y="424"/>
                    <a:pt x="748" y="424"/>
                    <a:pt x="749" y="424"/>
                  </a:cubicBezTo>
                  <a:cubicBezTo>
                    <a:pt x="749" y="423"/>
                    <a:pt x="749" y="423"/>
                    <a:pt x="750" y="423"/>
                  </a:cubicBezTo>
                  <a:cubicBezTo>
                    <a:pt x="750" y="422"/>
                    <a:pt x="750" y="422"/>
                    <a:pt x="751" y="422"/>
                  </a:cubicBezTo>
                  <a:cubicBezTo>
                    <a:pt x="752" y="422"/>
                    <a:pt x="753" y="421"/>
                    <a:pt x="754" y="420"/>
                  </a:cubicBezTo>
                  <a:cubicBezTo>
                    <a:pt x="753" y="420"/>
                    <a:pt x="753" y="420"/>
                    <a:pt x="753" y="420"/>
                  </a:cubicBezTo>
                  <a:cubicBezTo>
                    <a:pt x="747" y="412"/>
                    <a:pt x="747" y="412"/>
                    <a:pt x="747" y="412"/>
                  </a:cubicBezTo>
                  <a:cubicBezTo>
                    <a:pt x="727" y="408"/>
                    <a:pt x="727" y="408"/>
                    <a:pt x="727" y="408"/>
                  </a:cubicBezTo>
                  <a:cubicBezTo>
                    <a:pt x="747" y="407"/>
                    <a:pt x="747" y="407"/>
                    <a:pt x="747" y="407"/>
                  </a:cubicBezTo>
                  <a:cubicBezTo>
                    <a:pt x="747" y="406"/>
                    <a:pt x="747" y="406"/>
                    <a:pt x="747" y="406"/>
                  </a:cubicBezTo>
                  <a:cubicBezTo>
                    <a:pt x="748" y="406"/>
                    <a:pt x="748" y="406"/>
                    <a:pt x="748" y="406"/>
                  </a:cubicBezTo>
                  <a:cubicBezTo>
                    <a:pt x="749" y="405"/>
                    <a:pt x="749" y="405"/>
                    <a:pt x="749" y="405"/>
                  </a:cubicBezTo>
                  <a:cubicBezTo>
                    <a:pt x="751" y="403"/>
                    <a:pt x="752" y="402"/>
                    <a:pt x="753" y="401"/>
                  </a:cubicBezTo>
                  <a:cubicBezTo>
                    <a:pt x="754" y="400"/>
                    <a:pt x="754" y="400"/>
                    <a:pt x="754" y="400"/>
                  </a:cubicBezTo>
                  <a:cubicBezTo>
                    <a:pt x="754" y="399"/>
                    <a:pt x="754" y="399"/>
                    <a:pt x="754" y="399"/>
                  </a:cubicBezTo>
                  <a:cubicBezTo>
                    <a:pt x="756" y="397"/>
                    <a:pt x="756" y="397"/>
                    <a:pt x="756" y="397"/>
                  </a:cubicBezTo>
                  <a:cubicBezTo>
                    <a:pt x="757" y="397"/>
                    <a:pt x="757" y="397"/>
                    <a:pt x="757" y="397"/>
                  </a:cubicBezTo>
                  <a:cubicBezTo>
                    <a:pt x="758" y="397"/>
                    <a:pt x="759" y="396"/>
                    <a:pt x="760" y="396"/>
                  </a:cubicBezTo>
                  <a:cubicBezTo>
                    <a:pt x="760" y="396"/>
                    <a:pt x="760" y="396"/>
                    <a:pt x="760" y="396"/>
                  </a:cubicBezTo>
                  <a:cubicBezTo>
                    <a:pt x="760" y="396"/>
                    <a:pt x="761" y="396"/>
                    <a:pt x="762" y="396"/>
                  </a:cubicBezTo>
                  <a:cubicBezTo>
                    <a:pt x="763" y="396"/>
                    <a:pt x="763" y="396"/>
                    <a:pt x="764" y="396"/>
                  </a:cubicBezTo>
                  <a:cubicBezTo>
                    <a:pt x="765" y="396"/>
                    <a:pt x="765" y="396"/>
                    <a:pt x="765" y="396"/>
                  </a:cubicBezTo>
                  <a:cubicBezTo>
                    <a:pt x="766" y="396"/>
                    <a:pt x="767" y="395"/>
                    <a:pt x="768" y="395"/>
                  </a:cubicBezTo>
                  <a:cubicBezTo>
                    <a:pt x="768" y="395"/>
                    <a:pt x="768" y="395"/>
                    <a:pt x="768" y="395"/>
                  </a:cubicBezTo>
                  <a:cubicBezTo>
                    <a:pt x="770" y="396"/>
                    <a:pt x="770" y="396"/>
                    <a:pt x="770" y="396"/>
                  </a:cubicBezTo>
                  <a:cubicBezTo>
                    <a:pt x="770" y="396"/>
                    <a:pt x="770" y="396"/>
                    <a:pt x="770" y="396"/>
                  </a:cubicBezTo>
                  <a:cubicBezTo>
                    <a:pt x="770" y="395"/>
                    <a:pt x="770" y="395"/>
                    <a:pt x="770" y="395"/>
                  </a:cubicBezTo>
                  <a:cubicBezTo>
                    <a:pt x="770" y="395"/>
                    <a:pt x="770" y="395"/>
                    <a:pt x="770" y="395"/>
                  </a:cubicBezTo>
                  <a:cubicBezTo>
                    <a:pt x="769" y="395"/>
                    <a:pt x="768" y="395"/>
                    <a:pt x="768" y="395"/>
                  </a:cubicBezTo>
                  <a:cubicBezTo>
                    <a:pt x="766" y="394"/>
                    <a:pt x="766" y="394"/>
                    <a:pt x="766" y="394"/>
                  </a:cubicBezTo>
                  <a:cubicBezTo>
                    <a:pt x="765" y="394"/>
                    <a:pt x="765" y="393"/>
                    <a:pt x="764" y="393"/>
                  </a:cubicBezTo>
                  <a:cubicBezTo>
                    <a:pt x="764" y="393"/>
                    <a:pt x="763" y="393"/>
                    <a:pt x="763" y="393"/>
                  </a:cubicBezTo>
                  <a:cubicBezTo>
                    <a:pt x="762" y="393"/>
                    <a:pt x="762" y="393"/>
                    <a:pt x="762" y="393"/>
                  </a:cubicBezTo>
                  <a:cubicBezTo>
                    <a:pt x="760" y="392"/>
                    <a:pt x="760" y="392"/>
                    <a:pt x="760" y="392"/>
                  </a:cubicBezTo>
                  <a:cubicBezTo>
                    <a:pt x="760" y="391"/>
                    <a:pt x="760" y="391"/>
                    <a:pt x="760" y="391"/>
                  </a:cubicBezTo>
                  <a:cubicBezTo>
                    <a:pt x="754" y="394"/>
                    <a:pt x="754" y="394"/>
                    <a:pt x="754" y="394"/>
                  </a:cubicBezTo>
                  <a:cubicBezTo>
                    <a:pt x="756" y="391"/>
                    <a:pt x="756" y="391"/>
                    <a:pt x="756" y="391"/>
                  </a:cubicBezTo>
                  <a:cubicBezTo>
                    <a:pt x="752" y="393"/>
                    <a:pt x="752" y="393"/>
                    <a:pt x="752" y="393"/>
                  </a:cubicBezTo>
                  <a:cubicBezTo>
                    <a:pt x="758" y="388"/>
                    <a:pt x="758" y="388"/>
                    <a:pt x="758" y="388"/>
                  </a:cubicBezTo>
                  <a:cubicBezTo>
                    <a:pt x="757" y="387"/>
                    <a:pt x="757" y="387"/>
                    <a:pt x="757" y="387"/>
                  </a:cubicBezTo>
                  <a:cubicBezTo>
                    <a:pt x="758" y="384"/>
                    <a:pt x="758" y="384"/>
                    <a:pt x="758" y="384"/>
                  </a:cubicBezTo>
                  <a:cubicBezTo>
                    <a:pt x="759" y="384"/>
                    <a:pt x="759" y="384"/>
                    <a:pt x="759" y="384"/>
                  </a:cubicBezTo>
                  <a:cubicBezTo>
                    <a:pt x="759" y="383"/>
                    <a:pt x="759" y="383"/>
                    <a:pt x="759" y="383"/>
                  </a:cubicBezTo>
                  <a:cubicBezTo>
                    <a:pt x="759" y="383"/>
                    <a:pt x="759" y="383"/>
                    <a:pt x="759" y="383"/>
                  </a:cubicBezTo>
                  <a:cubicBezTo>
                    <a:pt x="758" y="382"/>
                    <a:pt x="758" y="382"/>
                    <a:pt x="758" y="382"/>
                  </a:cubicBezTo>
                  <a:cubicBezTo>
                    <a:pt x="757" y="382"/>
                    <a:pt x="756" y="382"/>
                    <a:pt x="755" y="382"/>
                  </a:cubicBezTo>
                  <a:cubicBezTo>
                    <a:pt x="753" y="381"/>
                    <a:pt x="753" y="381"/>
                    <a:pt x="753" y="381"/>
                  </a:cubicBezTo>
                  <a:cubicBezTo>
                    <a:pt x="752" y="380"/>
                    <a:pt x="752" y="380"/>
                    <a:pt x="752" y="380"/>
                  </a:cubicBezTo>
                  <a:cubicBezTo>
                    <a:pt x="751" y="377"/>
                    <a:pt x="751" y="377"/>
                    <a:pt x="751" y="377"/>
                  </a:cubicBezTo>
                  <a:cubicBezTo>
                    <a:pt x="753" y="375"/>
                    <a:pt x="753" y="375"/>
                    <a:pt x="753" y="375"/>
                  </a:cubicBezTo>
                  <a:cubicBezTo>
                    <a:pt x="753" y="374"/>
                    <a:pt x="753" y="374"/>
                    <a:pt x="753" y="374"/>
                  </a:cubicBezTo>
                  <a:cubicBezTo>
                    <a:pt x="754" y="374"/>
                    <a:pt x="755" y="374"/>
                    <a:pt x="755" y="374"/>
                  </a:cubicBezTo>
                  <a:cubicBezTo>
                    <a:pt x="755" y="374"/>
                    <a:pt x="756" y="374"/>
                    <a:pt x="756" y="374"/>
                  </a:cubicBezTo>
                  <a:cubicBezTo>
                    <a:pt x="756" y="374"/>
                    <a:pt x="756" y="374"/>
                    <a:pt x="756" y="374"/>
                  </a:cubicBezTo>
                  <a:cubicBezTo>
                    <a:pt x="758" y="373"/>
                    <a:pt x="758" y="373"/>
                    <a:pt x="758" y="373"/>
                  </a:cubicBezTo>
                  <a:cubicBezTo>
                    <a:pt x="750" y="368"/>
                    <a:pt x="750" y="368"/>
                    <a:pt x="750" y="368"/>
                  </a:cubicBezTo>
                  <a:cubicBezTo>
                    <a:pt x="755" y="366"/>
                    <a:pt x="755" y="366"/>
                    <a:pt x="755" y="366"/>
                  </a:cubicBezTo>
                  <a:cubicBezTo>
                    <a:pt x="756" y="365"/>
                    <a:pt x="756" y="365"/>
                    <a:pt x="756" y="365"/>
                  </a:cubicBezTo>
                  <a:cubicBezTo>
                    <a:pt x="756" y="364"/>
                    <a:pt x="757" y="364"/>
                    <a:pt x="758" y="364"/>
                  </a:cubicBezTo>
                  <a:cubicBezTo>
                    <a:pt x="759" y="364"/>
                    <a:pt x="759" y="364"/>
                    <a:pt x="759" y="364"/>
                  </a:cubicBezTo>
                  <a:cubicBezTo>
                    <a:pt x="760" y="363"/>
                    <a:pt x="762" y="361"/>
                    <a:pt x="764" y="361"/>
                  </a:cubicBezTo>
                  <a:cubicBezTo>
                    <a:pt x="765" y="361"/>
                    <a:pt x="765" y="361"/>
                    <a:pt x="766" y="361"/>
                  </a:cubicBezTo>
                  <a:cubicBezTo>
                    <a:pt x="766" y="361"/>
                    <a:pt x="766" y="361"/>
                    <a:pt x="766" y="361"/>
                  </a:cubicBezTo>
                  <a:cubicBezTo>
                    <a:pt x="767" y="361"/>
                    <a:pt x="767" y="361"/>
                    <a:pt x="767" y="361"/>
                  </a:cubicBezTo>
                  <a:cubicBezTo>
                    <a:pt x="767" y="360"/>
                    <a:pt x="767" y="360"/>
                    <a:pt x="767" y="360"/>
                  </a:cubicBezTo>
                  <a:cubicBezTo>
                    <a:pt x="769" y="361"/>
                    <a:pt x="769" y="361"/>
                    <a:pt x="769" y="361"/>
                  </a:cubicBezTo>
                  <a:cubicBezTo>
                    <a:pt x="772" y="362"/>
                    <a:pt x="773" y="363"/>
                    <a:pt x="776" y="363"/>
                  </a:cubicBezTo>
                  <a:cubicBezTo>
                    <a:pt x="776" y="363"/>
                    <a:pt x="776" y="363"/>
                    <a:pt x="776" y="363"/>
                  </a:cubicBezTo>
                  <a:cubicBezTo>
                    <a:pt x="777" y="362"/>
                    <a:pt x="777" y="362"/>
                    <a:pt x="777" y="362"/>
                  </a:cubicBezTo>
                  <a:cubicBezTo>
                    <a:pt x="777" y="363"/>
                    <a:pt x="777" y="363"/>
                    <a:pt x="777" y="363"/>
                  </a:cubicBezTo>
                  <a:cubicBezTo>
                    <a:pt x="784" y="362"/>
                    <a:pt x="784" y="362"/>
                    <a:pt x="784" y="362"/>
                  </a:cubicBezTo>
                  <a:cubicBezTo>
                    <a:pt x="784" y="358"/>
                    <a:pt x="784" y="358"/>
                    <a:pt x="784" y="358"/>
                  </a:cubicBezTo>
                  <a:cubicBezTo>
                    <a:pt x="785" y="362"/>
                    <a:pt x="785" y="362"/>
                    <a:pt x="785" y="362"/>
                  </a:cubicBezTo>
                  <a:cubicBezTo>
                    <a:pt x="785" y="362"/>
                    <a:pt x="785" y="362"/>
                    <a:pt x="785" y="362"/>
                  </a:cubicBezTo>
                  <a:cubicBezTo>
                    <a:pt x="786" y="362"/>
                    <a:pt x="787" y="362"/>
                    <a:pt x="788" y="362"/>
                  </a:cubicBezTo>
                  <a:cubicBezTo>
                    <a:pt x="789" y="362"/>
                    <a:pt x="789" y="362"/>
                    <a:pt x="789" y="362"/>
                  </a:cubicBezTo>
                  <a:cubicBezTo>
                    <a:pt x="789" y="362"/>
                    <a:pt x="789" y="362"/>
                    <a:pt x="789" y="362"/>
                  </a:cubicBezTo>
                  <a:cubicBezTo>
                    <a:pt x="790" y="362"/>
                    <a:pt x="790" y="362"/>
                    <a:pt x="791" y="362"/>
                  </a:cubicBezTo>
                  <a:cubicBezTo>
                    <a:pt x="792" y="362"/>
                    <a:pt x="792" y="362"/>
                    <a:pt x="792" y="362"/>
                  </a:cubicBezTo>
                  <a:cubicBezTo>
                    <a:pt x="794" y="361"/>
                    <a:pt x="794" y="361"/>
                    <a:pt x="794" y="361"/>
                  </a:cubicBezTo>
                  <a:cubicBezTo>
                    <a:pt x="794" y="360"/>
                    <a:pt x="794" y="360"/>
                    <a:pt x="794" y="360"/>
                  </a:cubicBezTo>
                  <a:cubicBezTo>
                    <a:pt x="796" y="361"/>
                    <a:pt x="796" y="361"/>
                    <a:pt x="796" y="361"/>
                  </a:cubicBezTo>
                  <a:cubicBezTo>
                    <a:pt x="796" y="360"/>
                    <a:pt x="796" y="360"/>
                    <a:pt x="796" y="360"/>
                  </a:cubicBezTo>
                  <a:cubicBezTo>
                    <a:pt x="797" y="360"/>
                    <a:pt x="797" y="360"/>
                    <a:pt x="798" y="360"/>
                  </a:cubicBezTo>
                  <a:cubicBezTo>
                    <a:pt x="799" y="360"/>
                    <a:pt x="799" y="360"/>
                    <a:pt x="799" y="360"/>
                  </a:cubicBezTo>
                  <a:cubicBezTo>
                    <a:pt x="799" y="360"/>
                    <a:pt x="799" y="360"/>
                    <a:pt x="799" y="360"/>
                  </a:cubicBezTo>
                  <a:cubicBezTo>
                    <a:pt x="799" y="360"/>
                    <a:pt x="800" y="360"/>
                    <a:pt x="800" y="360"/>
                  </a:cubicBezTo>
                  <a:cubicBezTo>
                    <a:pt x="801" y="359"/>
                    <a:pt x="801" y="359"/>
                    <a:pt x="801" y="359"/>
                  </a:cubicBezTo>
                  <a:cubicBezTo>
                    <a:pt x="796" y="359"/>
                    <a:pt x="796" y="359"/>
                    <a:pt x="796" y="359"/>
                  </a:cubicBezTo>
                  <a:cubicBezTo>
                    <a:pt x="809" y="356"/>
                    <a:pt x="809" y="356"/>
                    <a:pt x="809" y="356"/>
                  </a:cubicBezTo>
                  <a:cubicBezTo>
                    <a:pt x="809" y="350"/>
                    <a:pt x="809" y="350"/>
                    <a:pt x="809" y="350"/>
                  </a:cubicBezTo>
                  <a:cubicBezTo>
                    <a:pt x="811" y="356"/>
                    <a:pt x="811" y="356"/>
                    <a:pt x="811" y="356"/>
                  </a:cubicBezTo>
                  <a:cubicBezTo>
                    <a:pt x="822" y="354"/>
                    <a:pt x="822" y="354"/>
                    <a:pt x="822" y="354"/>
                  </a:cubicBezTo>
                  <a:cubicBezTo>
                    <a:pt x="822" y="354"/>
                    <a:pt x="823" y="354"/>
                    <a:pt x="823" y="354"/>
                  </a:cubicBezTo>
                  <a:cubicBezTo>
                    <a:pt x="825" y="353"/>
                    <a:pt x="825" y="353"/>
                    <a:pt x="825" y="353"/>
                  </a:cubicBezTo>
                  <a:cubicBezTo>
                    <a:pt x="826" y="354"/>
                    <a:pt x="826" y="354"/>
                    <a:pt x="826" y="354"/>
                  </a:cubicBezTo>
                  <a:cubicBezTo>
                    <a:pt x="828" y="353"/>
                    <a:pt x="828" y="353"/>
                    <a:pt x="828" y="353"/>
                  </a:cubicBezTo>
                  <a:cubicBezTo>
                    <a:pt x="829" y="352"/>
                    <a:pt x="829" y="352"/>
                    <a:pt x="829" y="352"/>
                  </a:cubicBezTo>
                  <a:cubicBezTo>
                    <a:pt x="830" y="352"/>
                    <a:pt x="830" y="352"/>
                    <a:pt x="830" y="352"/>
                  </a:cubicBezTo>
                  <a:cubicBezTo>
                    <a:pt x="832" y="351"/>
                    <a:pt x="832" y="351"/>
                    <a:pt x="832" y="351"/>
                  </a:cubicBezTo>
                  <a:cubicBezTo>
                    <a:pt x="832" y="352"/>
                    <a:pt x="832" y="352"/>
                    <a:pt x="832" y="352"/>
                  </a:cubicBezTo>
                  <a:cubicBezTo>
                    <a:pt x="834" y="351"/>
                    <a:pt x="834" y="351"/>
                    <a:pt x="834" y="351"/>
                  </a:cubicBezTo>
                  <a:cubicBezTo>
                    <a:pt x="835" y="352"/>
                    <a:pt x="835" y="352"/>
                    <a:pt x="835" y="352"/>
                  </a:cubicBezTo>
                  <a:cubicBezTo>
                    <a:pt x="838" y="351"/>
                    <a:pt x="838" y="351"/>
                    <a:pt x="838" y="351"/>
                  </a:cubicBezTo>
                  <a:cubicBezTo>
                    <a:pt x="839" y="351"/>
                    <a:pt x="839" y="351"/>
                    <a:pt x="839" y="351"/>
                  </a:cubicBezTo>
                  <a:cubicBezTo>
                    <a:pt x="839" y="351"/>
                    <a:pt x="839" y="351"/>
                    <a:pt x="840" y="351"/>
                  </a:cubicBezTo>
                  <a:cubicBezTo>
                    <a:pt x="840" y="351"/>
                    <a:pt x="840" y="351"/>
                    <a:pt x="840" y="351"/>
                  </a:cubicBezTo>
                  <a:cubicBezTo>
                    <a:pt x="841" y="351"/>
                    <a:pt x="841" y="350"/>
                    <a:pt x="842" y="350"/>
                  </a:cubicBezTo>
                  <a:cubicBezTo>
                    <a:pt x="842" y="350"/>
                    <a:pt x="842" y="350"/>
                    <a:pt x="842" y="350"/>
                  </a:cubicBezTo>
                  <a:cubicBezTo>
                    <a:pt x="843" y="350"/>
                    <a:pt x="843" y="350"/>
                    <a:pt x="844" y="350"/>
                  </a:cubicBezTo>
                  <a:cubicBezTo>
                    <a:pt x="844" y="350"/>
                    <a:pt x="844" y="350"/>
                    <a:pt x="845" y="350"/>
                  </a:cubicBezTo>
                  <a:cubicBezTo>
                    <a:pt x="845" y="350"/>
                    <a:pt x="845" y="350"/>
                    <a:pt x="845" y="350"/>
                  </a:cubicBezTo>
                  <a:cubicBezTo>
                    <a:pt x="846" y="350"/>
                    <a:pt x="846" y="350"/>
                    <a:pt x="846" y="350"/>
                  </a:cubicBezTo>
                  <a:cubicBezTo>
                    <a:pt x="846" y="350"/>
                    <a:pt x="847" y="350"/>
                    <a:pt x="847" y="350"/>
                  </a:cubicBezTo>
                  <a:cubicBezTo>
                    <a:pt x="848" y="351"/>
                    <a:pt x="848" y="351"/>
                    <a:pt x="848" y="351"/>
                  </a:cubicBezTo>
                  <a:cubicBezTo>
                    <a:pt x="849" y="351"/>
                    <a:pt x="849" y="351"/>
                    <a:pt x="849" y="351"/>
                  </a:cubicBezTo>
                  <a:cubicBezTo>
                    <a:pt x="850" y="350"/>
                    <a:pt x="850" y="350"/>
                    <a:pt x="850" y="350"/>
                  </a:cubicBezTo>
                  <a:cubicBezTo>
                    <a:pt x="850" y="350"/>
                    <a:pt x="852" y="349"/>
                    <a:pt x="854" y="349"/>
                  </a:cubicBezTo>
                  <a:cubicBezTo>
                    <a:pt x="854" y="349"/>
                    <a:pt x="855" y="349"/>
                    <a:pt x="856" y="349"/>
                  </a:cubicBezTo>
                  <a:cubicBezTo>
                    <a:pt x="856" y="349"/>
                    <a:pt x="856" y="349"/>
                    <a:pt x="857" y="348"/>
                  </a:cubicBezTo>
                  <a:cubicBezTo>
                    <a:pt x="857" y="348"/>
                    <a:pt x="857" y="348"/>
                    <a:pt x="857" y="348"/>
                  </a:cubicBezTo>
                  <a:cubicBezTo>
                    <a:pt x="858" y="347"/>
                    <a:pt x="858" y="347"/>
                    <a:pt x="858" y="347"/>
                  </a:cubicBezTo>
                  <a:cubicBezTo>
                    <a:pt x="858" y="347"/>
                    <a:pt x="858" y="347"/>
                    <a:pt x="858" y="347"/>
                  </a:cubicBezTo>
                  <a:cubicBezTo>
                    <a:pt x="859" y="345"/>
                    <a:pt x="859" y="345"/>
                    <a:pt x="859" y="345"/>
                  </a:cubicBezTo>
                  <a:cubicBezTo>
                    <a:pt x="851" y="344"/>
                    <a:pt x="851" y="344"/>
                    <a:pt x="851" y="344"/>
                  </a:cubicBezTo>
                  <a:cubicBezTo>
                    <a:pt x="867" y="341"/>
                    <a:pt x="867" y="341"/>
                    <a:pt x="867" y="341"/>
                  </a:cubicBezTo>
                  <a:cubicBezTo>
                    <a:pt x="869" y="341"/>
                    <a:pt x="869" y="341"/>
                    <a:pt x="869" y="341"/>
                  </a:cubicBezTo>
                  <a:cubicBezTo>
                    <a:pt x="873" y="341"/>
                    <a:pt x="873" y="341"/>
                    <a:pt x="873" y="341"/>
                  </a:cubicBezTo>
                  <a:cubicBezTo>
                    <a:pt x="876" y="340"/>
                    <a:pt x="876" y="340"/>
                    <a:pt x="876" y="340"/>
                  </a:cubicBezTo>
                  <a:cubicBezTo>
                    <a:pt x="876" y="339"/>
                    <a:pt x="877" y="339"/>
                    <a:pt x="878" y="339"/>
                  </a:cubicBezTo>
                  <a:cubicBezTo>
                    <a:pt x="878" y="339"/>
                    <a:pt x="878" y="339"/>
                    <a:pt x="879" y="339"/>
                  </a:cubicBezTo>
                  <a:cubicBezTo>
                    <a:pt x="879" y="339"/>
                    <a:pt x="879" y="339"/>
                    <a:pt x="879" y="339"/>
                  </a:cubicBezTo>
                  <a:cubicBezTo>
                    <a:pt x="879" y="339"/>
                    <a:pt x="880" y="339"/>
                    <a:pt x="880" y="339"/>
                  </a:cubicBezTo>
                  <a:cubicBezTo>
                    <a:pt x="881" y="340"/>
                    <a:pt x="882" y="340"/>
                    <a:pt x="882" y="341"/>
                  </a:cubicBezTo>
                  <a:cubicBezTo>
                    <a:pt x="885" y="340"/>
                    <a:pt x="885" y="340"/>
                    <a:pt x="885" y="340"/>
                  </a:cubicBezTo>
                  <a:cubicBezTo>
                    <a:pt x="886" y="340"/>
                    <a:pt x="887" y="339"/>
                    <a:pt x="889" y="339"/>
                  </a:cubicBezTo>
                  <a:cubicBezTo>
                    <a:pt x="890" y="339"/>
                    <a:pt x="890" y="339"/>
                    <a:pt x="890" y="339"/>
                  </a:cubicBezTo>
                  <a:cubicBezTo>
                    <a:pt x="892" y="338"/>
                    <a:pt x="893" y="338"/>
                    <a:pt x="895" y="338"/>
                  </a:cubicBezTo>
                  <a:cubicBezTo>
                    <a:pt x="893" y="337"/>
                    <a:pt x="893" y="337"/>
                    <a:pt x="893" y="337"/>
                  </a:cubicBezTo>
                  <a:cubicBezTo>
                    <a:pt x="902" y="336"/>
                    <a:pt x="902" y="336"/>
                    <a:pt x="902" y="336"/>
                  </a:cubicBezTo>
                  <a:cubicBezTo>
                    <a:pt x="904" y="336"/>
                    <a:pt x="904" y="336"/>
                    <a:pt x="904" y="336"/>
                  </a:cubicBezTo>
                  <a:cubicBezTo>
                    <a:pt x="906" y="335"/>
                    <a:pt x="907" y="335"/>
                    <a:pt x="908" y="334"/>
                  </a:cubicBezTo>
                  <a:cubicBezTo>
                    <a:pt x="910" y="334"/>
                    <a:pt x="910" y="334"/>
                    <a:pt x="910" y="334"/>
                  </a:cubicBezTo>
                  <a:cubicBezTo>
                    <a:pt x="912" y="333"/>
                    <a:pt x="912" y="333"/>
                    <a:pt x="912" y="333"/>
                  </a:cubicBezTo>
                  <a:cubicBezTo>
                    <a:pt x="913" y="333"/>
                    <a:pt x="913" y="333"/>
                    <a:pt x="913" y="333"/>
                  </a:cubicBezTo>
                  <a:cubicBezTo>
                    <a:pt x="922" y="332"/>
                    <a:pt x="922" y="332"/>
                    <a:pt x="922" y="332"/>
                  </a:cubicBezTo>
                  <a:cubicBezTo>
                    <a:pt x="923" y="331"/>
                    <a:pt x="923" y="331"/>
                    <a:pt x="923" y="331"/>
                  </a:cubicBezTo>
                  <a:cubicBezTo>
                    <a:pt x="923" y="330"/>
                    <a:pt x="923" y="330"/>
                    <a:pt x="923" y="330"/>
                  </a:cubicBezTo>
                  <a:cubicBezTo>
                    <a:pt x="924" y="330"/>
                    <a:pt x="925" y="330"/>
                    <a:pt x="926" y="330"/>
                  </a:cubicBezTo>
                  <a:cubicBezTo>
                    <a:pt x="926" y="329"/>
                    <a:pt x="927" y="329"/>
                    <a:pt x="927" y="329"/>
                  </a:cubicBezTo>
                  <a:cubicBezTo>
                    <a:pt x="928" y="329"/>
                    <a:pt x="929" y="330"/>
                    <a:pt x="929" y="330"/>
                  </a:cubicBezTo>
                  <a:cubicBezTo>
                    <a:pt x="930" y="330"/>
                    <a:pt x="930" y="330"/>
                    <a:pt x="930" y="330"/>
                  </a:cubicBezTo>
                  <a:cubicBezTo>
                    <a:pt x="930" y="330"/>
                    <a:pt x="930" y="330"/>
                    <a:pt x="930" y="330"/>
                  </a:cubicBezTo>
                  <a:cubicBezTo>
                    <a:pt x="931" y="330"/>
                    <a:pt x="931" y="330"/>
                    <a:pt x="932" y="330"/>
                  </a:cubicBezTo>
                  <a:cubicBezTo>
                    <a:pt x="934" y="328"/>
                    <a:pt x="934" y="328"/>
                    <a:pt x="934" y="328"/>
                  </a:cubicBezTo>
                  <a:cubicBezTo>
                    <a:pt x="934" y="328"/>
                    <a:pt x="934" y="328"/>
                    <a:pt x="934" y="328"/>
                  </a:cubicBezTo>
                  <a:cubicBezTo>
                    <a:pt x="935" y="327"/>
                    <a:pt x="935" y="327"/>
                    <a:pt x="935" y="327"/>
                  </a:cubicBezTo>
                  <a:cubicBezTo>
                    <a:pt x="936" y="327"/>
                    <a:pt x="937" y="326"/>
                    <a:pt x="938" y="326"/>
                  </a:cubicBezTo>
                  <a:cubicBezTo>
                    <a:pt x="939" y="325"/>
                    <a:pt x="942" y="324"/>
                    <a:pt x="942" y="323"/>
                  </a:cubicBezTo>
                  <a:cubicBezTo>
                    <a:pt x="943" y="322"/>
                    <a:pt x="943" y="321"/>
                    <a:pt x="943" y="320"/>
                  </a:cubicBezTo>
                  <a:cubicBezTo>
                    <a:pt x="944" y="318"/>
                    <a:pt x="944" y="318"/>
                    <a:pt x="944" y="318"/>
                  </a:cubicBezTo>
                  <a:cubicBezTo>
                    <a:pt x="945" y="317"/>
                    <a:pt x="946" y="317"/>
                    <a:pt x="948" y="317"/>
                  </a:cubicBezTo>
                  <a:cubicBezTo>
                    <a:pt x="948" y="317"/>
                    <a:pt x="948" y="317"/>
                    <a:pt x="949" y="317"/>
                  </a:cubicBezTo>
                  <a:cubicBezTo>
                    <a:pt x="949" y="317"/>
                    <a:pt x="949" y="317"/>
                    <a:pt x="949" y="317"/>
                  </a:cubicBezTo>
                  <a:cubicBezTo>
                    <a:pt x="949" y="316"/>
                    <a:pt x="949" y="316"/>
                    <a:pt x="949" y="316"/>
                  </a:cubicBezTo>
                  <a:cubicBezTo>
                    <a:pt x="955" y="317"/>
                    <a:pt x="955" y="317"/>
                    <a:pt x="955" y="317"/>
                  </a:cubicBezTo>
                  <a:cubicBezTo>
                    <a:pt x="956" y="317"/>
                    <a:pt x="956" y="317"/>
                    <a:pt x="956" y="317"/>
                  </a:cubicBezTo>
                  <a:cubicBezTo>
                    <a:pt x="956" y="316"/>
                    <a:pt x="956" y="316"/>
                    <a:pt x="956" y="316"/>
                  </a:cubicBezTo>
                  <a:cubicBezTo>
                    <a:pt x="959" y="317"/>
                    <a:pt x="959" y="317"/>
                    <a:pt x="959" y="317"/>
                  </a:cubicBezTo>
                  <a:cubicBezTo>
                    <a:pt x="959" y="316"/>
                    <a:pt x="959" y="316"/>
                    <a:pt x="959" y="316"/>
                  </a:cubicBezTo>
                  <a:cubicBezTo>
                    <a:pt x="960" y="317"/>
                    <a:pt x="960" y="317"/>
                    <a:pt x="960" y="317"/>
                  </a:cubicBezTo>
                  <a:cubicBezTo>
                    <a:pt x="961" y="317"/>
                    <a:pt x="961" y="317"/>
                    <a:pt x="961" y="317"/>
                  </a:cubicBezTo>
                  <a:cubicBezTo>
                    <a:pt x="970" y="317"/>
                    <a:pt x="970" y="317"/>
                    <a:pt x="970" y="317"/>
                  </a:cubicBezTo>
                  <a:cubicBezTo>
                    <a:pt x="971" y="317"/>
                    <a:pt x="972" y="317"/>
                    <a:pt x="973" y="318"/>
                  </a:cubicBezTo>
                  <a:cubicBezTo>
                    <a:pt x="975" y="319"/>
                    <a:pt x="975" y="319"/>
                    <a:pt x="975" y="319"/>
                  </a:cubicBezTo>
                  <a:cubicBezTo>
                    <a:pt x="976" y="320"/>
                    <a:pt x="977" y="321"/>
                    <a:pt x="978" y="322"/>
                  </a:cubicBezTo>
                  <a:cubicBezTo>
                    <a:pt x="979" y="322"/>
                    <a:pt x="979" y="322"/>
                    <a:pt x="979" y="322"/>
                  </a:cubicBezTo>
                  <a:cubicBezTo>
                    <a:pt x="979" y="322"/>
                    <a:pt x="979" y="322"/>
                    <a:pt x="979" y="322"/>
                  </a:cubicBezTo>
                  <a:cubicBezTo>
                    <a:pt x="980" y="322"/>
                    <a:pt x="981" y="323"/>
                    <a:pt x="983" y="323"/>
                  </a:cubicBezTo>
                  <a:cubicBezTo>
                    <a:pt x="983" y="323"/>
                    <a:pt x="983" y="323"/>
                    <a:pt x="983" y="323"/>
                  </a:cubicBezTo>
                  <a:cubicBezTo>
                    <a:pt x="985" y="322"/>
                    <a:pt x="988" y="320"/>
                    <a:pt x="991" y="319"/>
                  </a:cubicBezTo>
                  <a:cubicBezTo>
                    <a:pt x="991" y="318"/>
                    <a:pt x="991" y="318"/>
                    <a:pt x="991" y="318"/>
                  </a:cubicBezTo>
                  <a:cubicBezTo>
                    <a:pt x="997" y="318"/>
                    <a:pt x="997" y="318"/>
                    <a:pt x="997" y="318"/>
                  </a:cubicBezTo>
                  <a:cubicBezTo>
                    <a:pt x="998" y="318"/>
                    <a:pt x="998" y="318"/>
                    <a:pt x="998" y="318"/>
                  </a:cubicBezTo>
                  <a:cubicBezTo>
                    <a:pt x="1000" y="319"/>
                    <a:pt x="1001" y="320"/>
                    <a:pt x="1002" y="321"/>
                  </a:cubicBezTo>
                  <a:cubicBezTo>
                    <a:pt x="1003" y="325"/>
                    <a:pt x="1005" y="328"/>
                    <a:pt x="1007" y="331"/>
                  </a:cubicBezTo>
                  <a:cubicBezTo>
                    <a:pt x="1012" y="341"/>
                    <a:pt x="1012" y="341"/>
                    <a:pt x="1012" y="341"/>
                  </a:cubicBezTo>
                  <a:cubicBezTo>
                    <a:pt x="1012" y="342"/>
                    <a:pt x="1012" y="343"/>
                    <a:pt x="1012" y="344"/>
                  </a:cubicBezTo>
                  <a:cubicBezTo>
                    <a:pt x="1011" y="345"/>
                    <a:pt x="1011" y="345"/>
                    <a:pt x="1011" y="345"/>
                  </a:cubicBezTo>
                  <a:cubicBezTo>
                    <a:pt x="1010" y="347"/>
                    <a:pt x="1010" y="347"/>
                    <a:pt x="1010" y="347"/>
                  </a:cubicBezTo>
                  <a:cubicBezTo>
                    <a:pt x="1010" y="348"/>
                    <a:pt x="1010" y="348"/>
                    <a:pt x="1010" y="348"/>
                  </a:cubicBezTo>
                  <a:cubicBezTo>
                    <a:pt x="1010" y="349"/>
                    <a:pt x="1010" y="349"/>
                    <a:pt x="1010" y="349"/>
                  </a:cubicBezTo>
                  <a:cubicBezTo>
                    <a:pt x="1010" y="349"/>
                    <a:pt x="1010" y="349"/>
                    <a:pt x="1010" y="349"/>
                  </a:cubicBezTo>
                  <a:cubicBezTo>
                    <a:pt x="1011" y="350"/>
                    <a:pt x="1011" y="350"/>
                    <a:pt x="1011" y="350"/>
                  </a:cubicBezTo>
                  <a:cubicBezTo>
                    <a:pt x="1011" y="350"/>
                    <a:pt x="1011" y="350"/>
                    <a:pt x="1011" y="350"/>
                  </a:cubicBezTo>
                  <a:cubicBezTo>
                    <a:pt x="1011" y="352"/>
                    <a:pt x="1011" y="352"/>
                    <a:pt x="1011" y="352"/>
                  </a:cubicBezTo>
                  <a:cubicBezTo>
                    <a:pt x="1011" y="354"/>
                    <a:pt x="1010" y="356"/>
                    <a:pt x="1009" y="357"/>
                  </a:cubicBezTo>
                  <a:cubicBezTo>
                    <a:pt x="1009" y="357"/>
                    <a:pt x="1008" y="358"/>
                    <a:pt x="1008" y="358"/>
                  </a:cubicBezTo>
                  <a:cubicBezTo>
                    <a:pt x="1009" y="359"/>
                    <a:pt x="1009" y="359"/>
                    <a:pt x="1009" y="359"/>
                  </a:cubicBezTo>
                  <a:cubicBezTo>
                    <a:pt x="1011" y="359"/>
                    <a:pt x="1011" y="359"/>
                    <a:pt x="1011" y="359"/>
                  </a:cubicBezTo>
                  <a:cubicBezTo>
                    <a:pt x="1011" y="359"/>
                    <a:pt x="1011" y="359"/>
                    <a:pt x="1011" y="359"/>
                  </a:cubicBezTo>
                  <a:cubicBezTo>
                    <a:pt x="1011" y="359"/>
                    <a:pt x="1012" y="359"/>
                    <a:pt x="1012" y="359"/>
                  </a:cubicBezTo>
                  <a:cubicBezTo>
                    <a:pt x="1013" y="359"/>
                    <a:pt x="1015" y="359"/>
                    <a:pt x="1016" y="359"/>
                  </a:cubicBezTo>
                  <a:cubicBezTo>
                    <a:pt x="1020" y="358"/>
                    <a:pt x="1020" y="358"/>
                    <a:pt x="1020" y="358"/>
                  </a:cubicBezTo>
                  <a:cubicBezTo>
                    <a:pt x="1026" y="356"/>
                    <a:pt x="1026" y="356"/>
                    <a:pt x="1026" y="356"/>
                  </a:cubicBezTo>
                  <a:cubicBezTo>
                    <a:pt x="1027" y="356"/>
                    <a:pt x="1027" y="356"/>
                    <a:pt x="1027" y="356"/>
                  </a:cubicBezTo>
                  <a:cubicBezTo>
                    <a:pt x="1027" y="355"/>
                    <a:pt x="1026" y="355"/>
                    <a:pt x="1026" y="354"/>
                  </a:cubicBezTo>
                  <a:cubicBezTo>
                    <a:pt x="1026" y="351"/>
                    <a:pt x="1026" y="351"/>
                    <a:pt x="1026" y="351"/>
                  </a:cubicBezTo>
                  <a:cubicBezTo>
                    <a:pt x="1031" y="350"/>
                    <a:pt x="1031" y="350"/>
                    <a:pt x="1031" y="350"/>
                  </a:cubicBezTo>
                  <a:cubicBezTo>
                    <a:pt x="1033" y="350"/>
                    <a:pt x="1033" y="350"/>
                    <a:pt x="1033" y="350"/>
                  </a:cubicBezTo>
                  <a:cubicBezTo>
                    <a:pt x="1034" y="351"/>
                    <a:pt x="1034" y="351"/>
                    <a:pt x="1034" y="351"/>
                  </a:cubicBezTo>
                  <a:cubicBezTo>
                    <a:pt x="1038" y="355"/>
                    <a:pt x="1038" y="355"/>
                    <a:pt x="1038" y="355"/>
                  </a:cubicBezTo>
                  <a:cubicBezTo>
                    <a:pt x="1039" y="357"/>
                    <a:pt x="1039" y="358"/>
                    <a:pt x="1040" y="359"/>
                  </a:cubicBezTo>
                  <a:cubicBezTo>
                    <a:pt x="1040" y="359"/>
                    <a:pt x="1040" y="359"/>
                    <a:pt x="1040" y="359"/>
                  </a:cubicBezTo>
                  <a:cubicBezTo>
                    <a:pt x="1041" y="359"/>
                    <a:pt x="1041" y="359"/>
                    <a:pt x="1041" y="359"/>
                  </a:cubicBezTo>
                  <a:cubicBezTo>
                    <a:pt x="1041" y="358"/>
                    <a:pt x="1042" y="358"/>
                    <a:pt x="1043" y="358"/>
                  </a:cubicBezTo>
                  <a:cubicBezTo>
                    <a:pt x="1043" y="358"/>
                    <a:pt x="1044" y="358"/>
                    <a:pt x="1044" y="358"/>
                  </a:cubicBezTo>
                  <a:cubicBezTo>
                    <a:pt x="1045" y="359"/>
                    <a:pt x="1045" y="359"/>
                    <a:pt x="1046" y="359"/>
                  </a:cubicBezTo>
                  <a:cubicBezTo>
                    <a:pt x="1046" y="359"/>
                    <a:pt x="1046" y="359"/>
                    <a:pt x="1046" y="359"/>
                  </a:cubicBezTo>
                  <a:cubicBezTo>
                    <a:pt x="1047" y="359"/>
                    <a:pt x="1048" y="360"/>
                    <a:pt x="1049" y="360"/>
                  </a:cubicBezTo>
                  <a:cubicBezTo>
                    <a:pt x="1049" y="361"/>
                    <a:pt x="1049" y="361"/>
                    <a:pt x="1049" y="361"/>
                  </a:cubicBezTo>
                  <a:cubicBezTo>
                    <a:pt x="1051" y="362"/>
                    <a:pt x="1054" y="363"/>
                    <a:pt x="1055" y="363"/>
                  </a:cubicBezTo>
                  <a:cubicBezTo>
                    <a:pt x="1055" y="363"/>
                    <a:pt x="1055" y="363"/>
                    <a:pt x="1055" y="363"/>
                  </a:cubicBezTo>
                  <a:cubicBezTo>
                    <a:pt x="1076" y="360"/>
                    <a:pt x="1076" y="360"/>
                    <a:pt x="1076" y="360"/>
                  </a:cubicBezTo>
                  <a:cubicBezTo>
                    <a:pt x="1073" y="365"/>
                    <a:pt x="1073" y="365"/>
                    <a:pt x="1073" y="365"/>
                  </a:cubicBezTo>
                  <a:cubicBezTo>
                    <a:pt x="1073" y="366"/>
                    <a:pt x="1073" y="366"/>
                    <a:pt x="1072" y="367"/>
                  </a:cubicBezTo>
                  <a:cubicBezTo>
                    <a:pt x="1070" y="369"/>
                    <a:pt x="1070" y="369"/>
                    <a:pt x="1070" y="369"/>
                  </a:cubicBezTo>
                  <a:cubicBezTo>
                    <a:pt x="1069" y="370"/>
                    <a:pt x="1068" y="371"/>
                    <a:pt x="1067" y="372"/>
                  </a:cubicBezTo>
                  <a:cubicBezTo>
                    <a:pt x="1065" y="373"/>
                    <a:pt x="1065" y="373"/>
                    <a:pt x="1065" y="373"/>
                  </a:cubicBezTo>
                  <a:cubicBezTo>
                    <a:pt x="1064" y="374"/>
                    <a:pt x="1064" y="374"/>
                    <a:pt x="1064" y="374"/>
                  </a:cubicBezTo>
                  <a:cubicBezTo>
                    <a:pt x="1063" y="375"/>
                    <a:pt x="1062" y="376"/>
                    <a:pt x="1062" y="377"/>
                  </a:cubicBezTo>
                  <a:cubicBezTo>
                    <a:pt x="1062" y="378"/>
                    <a:pt x="1062" y="378"/>
                    <a:pt x="1062" y="378"/>
                  </a:cubicBezTo>
                  <a:cubicBezTo>
                    <a:pt x="1064" y="380"/>
                    <a:pt x="1064" y="380"/>
                    <a:pt x="1064" y="380"/>
                  </a:cubicBezTo>
                  <a:cubicBezTo>
                    <a:pt x="1066" y="379"/>
                    <a:pt x="1066" y="379"/>
                    <a:pt x="1066" y="379"/>
                  </a:cubicBezTo>
                  <a:cubicBezTo>
                    <a:pt x="1068" y="377"/>
                    <a:pt x="1070" y="377"/>
                    <a:pt x="1073" y="377"/>
                  </a:cubicBezTo>
                  <a:cubicBezTo>
                    <a:pt x="1073" y="377"/>
                    <a:pt x="1073" y="377"/>
                    <a:pt x="1073" y="377"/>
                  </a:cubicBezTo>
                  <a:cubicBezTo>
                    <a:pt x="1080" y="377"/>
                    <a:pt x="1080" y="377"/>
                    <a:pt x="1080" y="377"/>
                  </a:cubicBezTo>
                  <a:cubicBezTo>
                    <a:pt x="1083" y="378"/>
                    <a:pt x="1083" y="378"/>
                    <a:pt x="1083" y="378"/>
                  </a:cubicBezTo>
                  <a:cubicBezTo>
                    <a:pt x="1083" y="378"/>
                    <a:pt x="1084" y="378"/>
                    <a:pt x="1085" y="379"/>
                  </a:cubicBezTo>
                  <a:cubicBezTo>
                    <a:pt x="1085" y="378"/>
                    <a:pt x="1085" y="378"/>
                    <a:pt x="1085" y="378"/>
                  </a:cubicBezTo>
                  <a:cubicBezTo>
                    <a:pt x="1085" y="377"/>
                    <a:pt x="1085" y="377"/>
                    <a:pt x="1085" y="377"/>
                  </a:cubicBezTo>
                  <a:cubicBezTo>
                    <a:pt x="1085" y="375"/>
                    <a:pt x="1086" y="374"/>
                    <a:pt x="1087" y="374"/>
                  </a:cubicBezTo>
                  <a:cubicBezTo>
                    <a:pt x="1088" y="373"/>
                    <a:pt x="1088" y="373"/>
                    <a:pt x="1088" y="373"/>
                  </a:cubicBezTo>
                  <a:cubicBezTo>
                    <a:pt x="1099" y="369"/>
                    <a:pt x="1099" y="369"/>
                    <a:pt x="1099" y="369"/>
                  </a:cubicBezTo>
                  <a:cubicBezTo>
                    <a:pt x="1102" y="367"/>
                    <a:pt x="1106" y="365"/>
                    <a:pt x="1109" y="363"/>
                  </a:cubicBezTo>
                  <a:cubicBezTo>
                    <a:pt x="1112" y="362"/>
                    <a:pt x="1116" y="360"/>
                    <a:pt x="1119" y="358"/>
                  </a:cubicBezTo>
                  <a:cubicBezTo>
                    <a:pt x="1166" y="339"/>
                    <a:pt x="1166" y="339"/>
                    <a:pt x="1166" y="339"/>
                  </a:cubicBezTo>
                  <a:cubicBezTo>
                    <a:pt x="1148" y="354"/>
                    <a:pt x="1148" y="354"/>
                    <a:pt x="1148" y="354"/>
                  </a:cubicBezTo>
                  <a:cubicBezTo>
                    <a:pt x="1148" y="357"/>
                    <a:pt x="1148" y="357"/>
                    <a:pt x="1148" y="357"/>
                  </a:cubicBezTo>
                  <a:cubicBezTo>
                    <a:pt x="1148" y="358"/>
                    <a:pt x="1148" y="359"/>
                    <a:pt x="1148" y="361"/>
                  </a:cubicBezTo>
                  <a:cubicBezTo>
                    <a:pt x="1147" y="361"/>
                    <a:pt x="1147" y="361"/>
                    <a:pt x="1147" y="361"/>
                  </a:cubicBezTo>
                  <a:cubicBezTo>
                    <a:pt x="1147" y="362"/>
                    <a:pt x="1147" y="362"/>
                    <a:pt x="1147" y="362"/>
                  </a:cubicBezTo>
                  <a:cubicBezTo>
                    <a:pt x="1146" y="362"/>
                    <a:pt x="1146" y="362"/>
                    <a:pt x="1146" y="362"/>
                  </a:cubicBezTo>
                  <a:cubicBezTo>
                    <a:pt x="1146" y="363"/>
                    <a:pt x="1146" y="363"/>
                    <a:pt x="1146" y="363"/>
                  </a:cubicBezTo>
                  <a:cubicBezTo>
                    <a:pt x="1146" y="363"/>
                    <a:pt x="1145" y="363"/>
                    <a:pt x="1145" y="364"/>
                  </a:cubicBezTo>
                  <a:cubicBezTo>
                    <a:pt x="1144" y="364"/>
                    <a:pt x="1144" y="364"/>
                    <a:pt x="1144" y="364"/>
                  </a:cubicBezTo>
                  <a:cubicBezTo>
                    <a:pt x="1145" y="365"/>
                    <a:pt x="1146" y="366"/>
                    <a:pt x="1147" y="367"/>
                  </a:cubicBezTo>
                  <a:cubicBezTo>
                    <a:pt x="1153" y="371"/>
                    <a:pt x="1153" y="371"/>
                    <a:pt x="1153" y="371"/>
                  </a:cubicBezTo>
                  <a:cubicBezTo>
                    <a:pt x="1166" y="381"/>
                    <a:pt x="1166" y="381"/>
                    <a:pt x="1166" y="381"/>
                  </a:cubicBezTo>
                  <a:cubicBezTo>
                    <a:pt x="1170" y="384"/>
                    <a:pt x="1174" y="388"/>
                    <a:pt x="1176" y="391"/>
                  </a:cubicBezTo>
                  <a:cubicBezTo>
                    <a:pt x="1187" y="406"/>
                    <a:pt x="1187" y="406"/>
                    <a:pt x="1187" y="406"/>
                  </a:cubicBezTo>
                  <a:cubicBezTo>
                    <a:pt x="1192" y="412"/>
                    <a:pt x="1192" y="412"/>
                    <a:pt x="1192" y="412"/>
                  </a:cubicBezTo>
                  <a:cubicBezTo>
                    <a:pt x="1198" y="422"/>
                    <a:pt x="1204" y="432"/>
                    <a:pt x="1210" y="440"/>
                  </a:cubicBezTo>
                  <a:cubicBezTo>
                    <a:pt x="1215" y="449"/>
                    <a:pt x="1220" y="458"/>
                    <a:pt x="1226" y="466"/>
                  </a:cubicBezTo>
                  <a:cubicBezTo>
                    <a:pt x="1227" y="468"/>
                    <a:pt x="1227" y="468"/>
                    <a:pt x="1227" y="468"/>
                  </a:cubicBezTo>
                  <a:cubicBezTo>
                    <a:pt x="1227" y="467"/>
                    <a:pt x="1228" y="467"/>
                    <a:pt x="1229" y="466"/>
                  </a:cubicBezTo>
                  <a:cubicBezTo>
                    <a:pt x="1229" y="466"/>
                    <a:pt x="1229" y="466"/>
                    <a:pt x="1229" y="466"/>
                  </a:cubicBezTo>
                  <a:cubicBezTo>
                    <a:pt x="1230" y="465"/>
                    <a:pt x="1231" y="465"/>
                    <a:pt x="1232" y="465"/>
                  </a:cubicBezTo>
                  <a:cubicBezTo>
                    <a:pt x="1233" y="465"/>
                    <a:pt x="1233" y="465"/>
                    <a:pt x="1233" y="465"/>
                  </a:cubicBezTo>
                  <a:cubicBezTo>
                    <a:pt x="1234" y="464"/>
                    <a:pt x="1234" y="464"/>
                    <a:pt x="1234" y="464"/>
                  </a:cubicBezTo>
                  <a:cubicBezTo>
                    <a:pt x="1233" y="464"/>
                    <a:pt x="1233" y="464"/>
                    <a:pt x="1233" y="464"/>
                  </a:cubicBezTo>
                  <a:cubicBezTo>
                    <a:pt x="1233" y="463"/>
                    <a:pt x="1233" y="463"/>
                    <a:pt x="1233" y="463"/>
                  </a:cubicBezTo>
                  <a:cubicBezTo>
                    <a:pt x="1232" y="463"/>
                    <a:pt x="1232" y="462"/>
                    <a:pt x="1232" y="461"/>
                  </a:cubicBezTo>
                  <a:cubicBezTo>
                    <a:pt x="1232" y="461"/>
                    <a:pt x="1232" y="461"/>
                    <a:pt x="1232" y="461"/>
                  </a:cubicBezTo>
                  <a:cubicBezTo>
                    <a:pt x="1232" y="460"/>
                    <a:pt x="1232" y="460"/>
                    <a:pt x="1232" y="460"/>
                  </a:cubicBezTo>
                  <a:cubicBezTo>
                    <a:pt x="1232" y="460"/>
                    <a:pt x="1232" y="460"/>
                    <a:pt x="1232" y="460"/>
                  </a:cubicBezTo>
                  <a:cubicBezTo>
                    <a:pt x="1232" y="459"/>
                    <a:pt x="1232" y="459"/>
                    <a:pt x="1232" y="459"/>
                  </a:cubicBezTo>
                  <a:cubicBezTo>
                    <a:pt x="1233" y="458"/>
                    <a:pt x="1233" y="458"/>
                    <a:pt x="1233" y="458"/>
                  </a:cubicBezTo>
                  <a:cubicBezTo>
                    <a:pt x="1233" y="457"/>
                    <a:pt x="1233" y="456"/>
                    <a:pt x="1234" y="456"/>
                  </a:cubicBezTo>
                  <a:cubicBezTo>
                    <a:pt x="1235" y="456"/>
                    <a:pt x="1236" y="455"/>
                    <a:pt x="1237" y="455"/>
                  </a:cubicBezTo>
                  <a:cubicBezTo>
                    <a:pt x="1237" y="455"/>
                    <a:pt x="1237" y="455"/>
                    <a:pt x="1237" y="455"/>
                  </a:cubicBezTo>
                  <a:cubicBezTo>
                    <a:pt x="1237" y="455"/>
                    <a:pt x="1237" y="455"/>
                    <a:pt x="1237" y="455"/>
                  </a:cubicBezTo>
                  <a:cubicBezTo>
                    <a:pt x="1238" y="455"/>
                    <a:pt x="1238" y="455"/>
                    <a:pt x="1238" y="455"/>
                  </a:cubicBezTo>
                  <a:cubicBezTo>
                    <a:pt x="1238" y="455"/>
                    <a:pt x="1238" y="455"/>
                    <a:pt x="1238" y="455"/>
                  </a:cubicBezTo>
                  <a:cubicBezTo>
                    <a:pt x="1239" y="454"/>
                    <a:pt x="1240" y="452"/>
                    <a:pt x="1242" y="452"/>
                  </a:cubicBezTo>
                  <a:cubicBezTo>
                    <a:pt x="1242" y="452"/>
                    <a:pt x="1243" y="452"/>
                    <a:pt x="1243" y="452"/>
                  </a:cubicBezTo>
                  <a:cubicBezTo>
                    <a:pt x="1252" y="455"/>
                    <a:pt x="1252" y="455"/>
                    <a:pt x="1252" y="455"/>
                  </a:cubicBezTo>
                  <a:cubicBezTo>
                    <a:pt x="1255" y="456"/>
                    <a:pt x="1256" y="459"/>
                    <a:pt x="1256" y="460"/>
                  </a:cubicBezTo>
                  <a:cubicBezTo>
                    <a:pt x="1255" y="461"/>
                    <a:pt x="1255" y="461"/>
                    <a:pt x="1255" y="461"/>
                  </a:cubicBezTo>
                  <a:cubicBezTo>
                    <a:pt x="1255" y="462"/>
                    <a:pt x="1255" y="462"/>
                    <a:pt x="1255" y="463"/>
                  </a:cubicBezTo>
                  <a:cubicBezTo>
                    <a:pt x="1255" y="463"/>
                    <a:pt x="1254" y="464"/>
                    <a:pt x="1254" y="464"/>
                  </a:cubicBezTo>
                  <a:cubicBezTo>
                    <a:pt x="1254" y="464"/>
                    <a:pt x="1254" y="464"/>
                    <a:pt x="1254" y="464"/>
                  </a:cubicBezTo>
                  <a:cubicBezTo>
                    <a:pt x="1255" y="465"/>
                    <a:pt x="1255" y="465"/>
                    <a:pt x="1255" y="465"/>
                  </a:cubicBezTo>
                  <a:cubicBezTo>
                    <a:pt x="1256" y="465"/>
                    <a:pt x="1257" y="466"/>
                    <a:pt x="1258" y="467"/>
                  </a:cubicBezTo>
                  <a:cubicBezTo>
                    <a:pt x="1258" y="467"/>
                    <a:pt x="1258" y="467"/>
                    <a:pt x="1258" y="467"/>
                  </a:cubicBezTo>
                  <a:cubicBezTo>
                    <a:pt x="1259" y="469"/>
                    <a:pt x="1260" y="470"/>
                    <a:pt x="1261" y="470"/>
                  </a:cubicBezTo>
                  <a:cubicBezTo>
                    <a:pt x="1262" y="471"/>
                    <a:pt x="1262" y="471"/>
                    <a:pt x="1262" y="471"/>
                  </a:cubicBezTo>
                  <a:cubicBezTo>
                    <a:pt x="1263" y="471"/>
                    <a:pt x="1263" y="471"/>
                    <a:pt x="1263" y="471"/>
                  </a:cubicBezTo>
                  <a:cubicBezTo>
                    <a:pt x="1263" y="471"/>
                    <a:pt x="1264" y="471"/>
                    <a:pt x="1264" y="471"/>
                  </a:cubicBezTo>
                  <a:cubicBezTo>
                    <a:pt x="1264" y="471"/>
                    <a:pt x="1264" y="471"/>
                    <a:pt x="1264" y="471"/>
                  </a:cubicBezTo>
                  <a:cubicBezTo>
                    <a:pt x="1265" y="471"/>
                    <a:pt x="1265" y="471"/>
                    <a:pt x="1265" y="471"/>
                  </a:cubicBezTo>
                  <a:cubicBezTo>
                    <a:pt x="1265" y="471"/>
                    <a:pt x="1266" y="470"/>
                    <a:pt x="1266" y="470"/>
                  </a:cubicBezTo>
                  <a:cubicBezTo>
                    <a:pt x="1267" y="470"/>
                    <a:pt x="1267" y="470"/>
                    <a:pt x="1267" y="470"/>
                  </a:cubicBezTo>
                  <a:cubicBezTo>
                    <a:pt x="1268" y="470"/>
                    <a:pt x="1269" y="470"/>
                    <a:pt x="1271" y="470"/>
                  </a:cubicBezTo>
                  <a:cubicBezTo>
                    <a:pt x="1271" y="470"/>
                    <a:pt x="1272" y="470"/>
                    <a:pt x="1272" y="470"/>
                  </a:cubicBezTo>
                  <a:cubicBezTo>
                    <a:pt x="1286" y="471"/>
                    <a:pt x="1286" y="471"/>
                    <a:pt x="1286" y="471"/>
                  </a:cubicBezTo>
                  <a:cubicBezTo>
                    <a:pt x="1286" y="471"/>
                    <a:pt x="1286" y="471"/>
                    <a:pt x="1286" y="471"/>
                  </a:cubicBezTo>
                  <a:cubicBezTo>
                    <a:pt x="1287" y="470"/>
                    <a:pt x="1287" y="470"/>
                    <a:pt x="1288" y="470"/>
                  </a:cubicBezTo>
                  <a:cubicBezTo>
                    <a:pt x="1289" y="470"/>
                    <a:pt x="1289" y="470"/>
                    <a:pt x="1289" y="470"/>
                  </a:cubicBezTo>
                  <a:cubicBezTo>
                    <a:pt x="1289" y="469"/>
                    <a:pt x="1289" y="469"/>
                    <a:pt x="1289" y="469"/>
                  </a:cubicBezTo>
                  <a:cubicBezTo>
                    <a:pt x="1289" y="469"/>
                    <a:pt x="1289" y="469"/>
                    <a:pt x="1289" y="469"/>
                  </a:cubicBezTo>
                  <a:cubicBezTo>
                    <a:pt x="1290" y="467"/>
                    <a:pt x="1291" y="466"/>
                    <a:pt x="1292" y="465"/>
                  </a:cubicBezTo>
                  <a:cubicBezTo>
                    <a:pt x="1293" y="465"/>
                    <a:pt x="1293" y="465"/>
                    <a:pt x="1293" y="465"/>
                  </a:cubicBezTo>
                  <a:cubicBezTo>
                    <a:pt x="1301" y="462"/>
                    <a:pt x="1301" y="462"/>
                    <a:pt x="1301" y="462"/>
                  </a:cubicBezTo>
                  <a:cubicBezTo>
                    <a:pt x="1301" y="462"/>
                    <a:pt x="1302" y="462"/>
                    <a:pt x="1302" y="462"/>
                  </a:cubicBezTo>
                  <a:cubicBezTo>
                    <a:pt x="1302" y="462"/>
                    <a:pt x="1303" y="462"/>
                    <a:pt x="1303" y="462"/>
                  </a:cubicBezTo>
                  <a:cubicBezTo>
                    <a:pt x="1304" y="462"/>
                    <a:pt x="1304" y="462"/>
                    <a:pt x="1304" y="462"/>
                  </a:cubicBezTo>
                  <a:cubicBezTo>
                    <a:pt x="1315" y="465"/>
                    <a:pt x="1315" y="465"/>
                    <a:pt x="1315" y="465"/>
                  </a:cubicBezTo>
                  <a:cubicBezTo>
                    <a:pt x="1316" y="465"/>
                    <a:pt x="1317" y="465"/>
                    <a:pt x="1318" y="466"/>
                  </a:cubicBezTo>
                  <a:cubicBezTo>
                    <a:pt x="1319" y="466"/>
                    <a:pt x="1320" y="466"/>
                    <a:pt x="1321" y="467"/>
                  </a:cubicBezTo>
                  <a:cubicBezTo>
                    <a:pt x="1321" y="467"/>
                    <a:pt x="1321" y="467"/>
                    <a:pt x="1321" y="467"/>
                  </a:cubicBezTo>
                  <a:cubicBezTo>
                    <a:pt x="1323" y="468"/>
                    <a:pt x="1323" y="468"/>
                    <a:pt x="1323" y="468"/>
                  </a:cubicBezTo>
                  <a:cubicBezTo>
                    <a:pt x="1325" y="470"/>
                    <a:pt x="1325" y="470"/>
                    <a:pt x="1325" y="470"/>
                  </a:cubicBezTo>
                  <a:cubicBezTo>
                    <a:pt x="1327" y="474"/>
                    <a:pt x="1327" y="474"/>
                    <a:pt x="1327" y="474"/>
                  </a:cubicBezTo>
                  <a:cubicBezTo>
                    <a:pt x="1329" y="476"/>
                    <a:pt x="1329" y="478"/>
                    <a:pt x="1330" y="480"/>
                  </a:cubicBezTo>
                  <a:cubicBezTo>
                    <a:pt x="1331" y="482"/>
                    <a:pt x="1331" y="482"/>
                    <a:pt x="1331" y="482"/>
                  </a:cubicBezTo>
                  <a:cubicBezTo>
                    <a:pt x="1331" y="482"/>
                    <a:pt x="1331" y="483"/>
                    <a:pt x="1331" y="484"/>
                  </a:cubicBezTo>
                  <a:cubicBezTo>
                    <a:pt x="1332" y="485"/>
                    <a:pt x="1332" y="485"/>
                    <a:pt x="1332" y="485"/>
                  </a:cubicBezTo>
                  <a:cubicBezTo>
                    <a:pt x="1332" y="486"/>
                    <a:pt x="1332" y="486"/>
                    <a:pt x="1332" y="486"/>
                  </a:cubicBezTo>
                  <a:cubicBezTo>
                    <a:pt x="1332" y="486"/>
                    <a:pt x="1332" y="486"/>
                    <a:pt x="1332" y="486"/>
                  </a:cubicBezTo>
                  <a:cubicBezTo>
                    <a:pt x="1335" y="486"/>
                    <a:pt x="1335" y="486"/>
                    <a:pt x="1335" y="486"/>
                  </a:cubicBezTo>
                  <a:cubicBezTo>
                    <a:pt x="1335" y="486"/>
                    <a:pt x="1336" y="486"/>
                    <a:pt x="1336" y="487"/>
                  </a:cubicBezTo>
                  <a:cubicBezTo>
                    <a:pt x="1351" y="495"/>
                    <a:pt x="1351" y="495"/>
                    <a:pt x="1351" y="495"/>
                  </a:cubicBezTo>
                  <a:cubicBezTo>
                    <a:pt x="1352" y="496"/>
                    <a:pt x="1352" y="496"/>
                    <a:pt x="1352" y="496"/>
                  </a:cubicBezTo>
                  <a:cubicBezTo>
                    <a:pt x="1352" y="497"/>
                    <a:pt x="1352" y="497"/>
                    <a:pt x="1352" y="497"/>
                  </a:cubicBezTo>
                  <a:cubicBezTo>
                    <a:pt x="1356" y="497"/>
                    <a:pt x="1356" y="497"/>
                    <a:pt x="1356" y="497"/>
                  </a:cubicBezTo>
                  <a:cubicBezTo>
                    <a:pt x="1352" y="498"/>
                    <a:pt x="1352" y="498"/>
                    <a:pt x="1352" y="498"/>
                  </a:cubicBezTo>
                  <a:cubicBezTo>
                    <a:pt x="1351" y="499"/>
                    <a:pt x="1351" y="499"/>
                    <a:pt x="1351" y="499"/>
                  </a:cubicBezTo>
                  <a:cubicBezTo>
                    <a:pt x="1351" y="499"/>
                    <a:pt x="1351" y="499"/>
                    <a:pt x="1351" y="499"/>
                  </a:cubicBezTo>
                  <a:cubicBezTo>
                    <a:pt x="1352" y="500"/>
                    <a:pt x="1352" y="500"/>
                    <a:pt x="1352" y="500"/>
                  </a:cubicBezTo>
                  <a:cubicBezTo>
                    <a:pt x="1353" y="501"/>
                    <a:pt x="1353" y="501"/>
                    <a:pt x="1353" y="501"/>
                  </a:cubicBezTo>
                  <a:cubicBezTo>
                    <a:pt x="1353" y="502"/>
                    <a:pt x="1353" y="502"/>
                    <a:pt x="1353" y="502"/>
                  </a:cubicBezTo>
                  <a:cubicBezTo>
                    <a:pt x="1354" y="503"/>
                    <a:pt x="1354" y="503"/>
                    <a:pt x="1354" y="503"/>
                  </a:cubicBezTo>
                  <a:cubicBezTo>
                    <a:pt x="1353" y="503"/>
                    <a:pt x="1353" y="503"/>
                    <a:pt x="1353" y="503"/>
                  </a:cubicBezTo>
                  <a:cubicBezTo>
                    <a:pt x="1354" y="504"/>
                    <a:pt x="1354" y="504"/>
                    <a:pt x="1354" y="504"/>
                  </a:cubicBezTo>
                  <a:cubicBezTo>
                    <a:pt x="1354" y="504"/>
                    <a:pt x="1355" y="505"/>
                    <a:pt x="1356" y="506"/>
                  </a:cubicBezTo>
                  <a:cubicBezTo>
                    <a:pt x="1356" y="507"/>
                    <a:pt x="1356" y="507"/>
                    <a:pt x="1356" y="507"/>
                  </a:cubicBezTo>
                  <a:cubicBezTo>
                    <a:pt x="1356" y="507"/>
                    <a:pt x="1356" y="507"/>
                    <a:pt x="1356" y="507"/>
                  </a:cubicBezTo>
                  <a:cubicBezTo>
                    <a:pt x="1360" y="506"/>
                    <a:pt x="1360" y="506"/>
                    <a:pt x="1360" y="506"/>
                  </a:cubicBezTo>
                  <a:cubicBezTo>
                    <a:pt x="1357" y="508"/>
                    <a:pt x="1357" y="508"/>
                    <a:pt x="1357" y="508"/>
                  </a:cubicBezTo>
                  <a:cubicBezTo>
                    <a:pt x="1369" y="509"/>
                    <a:pt x="1369" y="509"/>
                    <a:pt x="1369" y="509"/>
                  </a:cubicBezTo>
                  <a:cubicBezTo>
                    <a:pt x="1370" y="509"/>
                    <a:pt x="1370" y="509"/>
                    <a:pt x="1370" y="509"/>
                  </a:cubicBezTo>
                  <a:cubicBezTo>
                    <a:pt x="1375" y="509"/>
                    <a:pt x="1375" y="509"/>
                    <a:pt x="1375" y="509"/>
                  </a:cubicBezTo>
                  <a:cubicBezTo>
                    <a:pt x="1375" y="511"/>
                    <a:pt x="1375" y="511"/>
                    <a:pt x="1375" y="511"/>
                  </a:cubicBezTo>
                  <a:cubicBezTo>
                    <a:pt x="1375" y="511"/>
                    <a:pt x="1376" y="511"/>
                    <a:pt x="1376" y="511"/>
                  </a:cubicBezTo>
                  <a:cubicBezTo>
                    <a:pt x="1379" y="509"/>
                    <a:pt x="1379" y="509"/>
                    <a:pt x="1379" y="509"/>
                  </a:cubicBezTo>
                  <a:cubicBezTo>
                    <a:pt x="1380" y="507"/>
                    <a:pt x="1382" y="506"/>
                    <a:pt x="1383" y="504"/>
                  </a:cubicBezTo>
                  <a:cubicBezTo>
                    <a:pt x="1390" y="497"/>
                    <a:pt x="1390" y="497"/>
                    <a:pt x="1390" y="497"/>
                  </a:cubicBezTo>
                  <a:cubicBezTo>
                    <a:pt x="1391" y="504"/>
                    <a:pt x="1391" y="504"/>
                    <a:pt x="1391" y="504"/>
                  </a:cubicBezTo>
                  <a:cubicBezTo>
                    <a:pt x="1391" y="505"/>
                    <a:pt x="1391" y="506"/>
                    <a:pt x="1391" y="507"/>
                  </a:cubicBezTo>
                  <a:cubicBezTo>
                    <a:pt x="1391" y="508"/>
                    <a:pt x="1390" y="509"/>
                    <a:pt x="1391" y="509"/>
                  </a:cubicBezTo>
                  <a:cubicBezTo>
                    <a:pt x="1391" y="510"/>
                    <a:pt x="1391" y="510"/>
                    <a:pt x="1391" y="510"/>
                  </a:cubicBezTo>
                  <a:cubicBezTo>
                    <a:pt x="1392" y="511"/>
                    <a:pt x="1392" y="511"/>
                    <a:pt x="1392" y="511"/>
                  </a:cubicBezTo>
                  <a:cubicBezTo>
                    <a:pt x="1396" y="514"/>
                    <a:pt x="1400" y="518"/>
                    <a:pt x="1404" y="521"/>
                  </a:cubicBezTo>
                  <a:cubicBezTo>
                    <a:pt x="1405" y="523"/>
                    <a:pt x="1405" y="523"/>
                    <a:pt x="1405" y="523"/>
                  </a:cubicBezTo>
                  <a:cubicBezTo>
                    <a:pt x="1406" y="523"/>
                    <a:pt x="1406" y="523"/>
                    <a:pt x="1407" y="523"/>
                  </a:cubicBezTo>
                  <a:cubicBezTo>
                    <a:pt x="1408" y="523"/>
                    <a:pt x="1409" y="523"/>
                    <a:pt x="1410" y="522"/>
                  </a:cubicBezTo>
                  <a:cubicBezTo>
                    <a:pt x="1411" y="522"/>
                    <a:pt x="1412" y="522"/>
                    <a:pt x="1413" y="522"/>
                  </a:cubicBezTo>
                  <a:cubicBezTo>
                    <a:pt x="1413" y="522"/>
                    <a:pt x="1413" y="522"/>
                    <a:pt x="1413" y="522"/>
                  </a:cubicBezTo>
                  <a:cubicBezTo>
                    <a:pt x="1417" y="521"/>
                    <a:pt x="1417" y="521"/>
                    <a:pt x="1417" y="521"/>
                  </a:cubicBezTo>
                  <a:cubicBezTo>
                    <a:pt x="1423" y="518"/>
                    <a:pt x="1423" y="518"/>
                    <a:pt x="1423" y="518"/>
                  </a:cubicBezTo>
                  <a:cubicBezTo>
                    <a:pt x="1423" y="518"/>
                    <a:pt x="1423" y="518"/>
                    <a:pt x="1423" y="517"/>
                  </a:cubicBezTo>
                  <a:cubicBezTo>
                    <a:pt x="1424" y="515"/>
                    <a:pt x="1424" y="515"/>
                    <a:pt x="1424" y="515"/>
                  </a:cubicBezTo>
                  <a:cubicBezTo>
                    <a:pt x="1424" y="514"/>
                    <a:pt x="1425" y="513"/>
                    <a:pt x="1425" y="512"/>
                  </a:cubicBezTo>
                  <a:cubicBezTo>
                    <a:pt x="1426" y="512"/>
                    <a:pt x="1426" y="512"/>
                    <a:pt x="1426" y="512"/>
                  </a:cubicBezTo>
                  <a:cubicBezTo>
                    <a:pt x="1426" y="512"/>
                    <a:pt x="1426" y="512"/>
                    <a:pt x="1426" y="512"/>
                  </a:cubicBezTo>
                  <a:cubicBezTo>
                    <a:pt x="1428" y="512"/>
                    <a:pt x="1428" y="512"/>
                    <a:pt x="1428" y="512"/>
                  </a:cubicBezTo>
                  <a:cubicBezTo>
                    <a:pt x="1428" y="512"/>
                    <a:pt x="1428" y="512"/>
                    <a:pt x="1428" y="512"/>
                  </a:cubicBezTo>
                  <a:cubicBezTo>
                    <a:pt x="1428" y="512"/>
                    <a:pt x="1428" y="512"/>
                    <a:pt x="1428" y="512"/>
                  </a:cubicBezTo>
                  <a:cubicBezTo>
                    <a:pt x="1429" y="511"/>
                    <a:pt x="1429" y="511"/>
                    <a:pt x="1430" y="511"/>
                  </a:cubicBezTo>
                  <a:cubicBezTo>
                    <a:pt x="1430" y="511"/>
                    <a:pt x="1430" y="511"/>
                    <a:pt x="1430" y="511"/>
                  </a:cubicBezTo>
                  <a:cubicBezTo>
                    <a:pt x="1431" y="511"/>
                    <a:pt x="1431" y="511"/>
                    <a:pt x="1431" y="511"/>
                  </a:cubicBezTo>
                  <a:cubicBezTo>
                    <a:pt x="1431" y="511"/>
                    <a:pt x="1431" y="511"/>
                    <a:pt x="1431" y="511"/>
                  </a:cubicBezTo>
                  <a:cubicBezTo>
                    <a:pt x="1432" y="511"/>
                    <a:pt x="1432" y="511"/>
                    <a:pt x="1432" y="511"/>
                  </a:cubicBezTo>
                  <a:cubicBezTo>
                    <a:pt x="1432" y="511"/>
                    <a:pt x="1433" y="512"/>
                    <a:pt x="1433" y="512"/>
                  </a:cubicBezTo>
                  <a:cubicBezTo>
                    <a:pt x="1433" y="512"/>
                    <a:pt x="1433" y="512"/>
                    <a:pt x="1433" y="512"/>
                  </a:cubicBezTo>
                  <a:cubicBezTo>
                    <a:pt x="1434" y="511"/>
                    <a:pt x="1435" y="511"/>
                    <a:pt x="1436" y="511"/>
                  </a:cubicBezTo>
                  <a:cubicBezTo>
                    <a:pt x="1437" y="511"/>
                    <a:pt x="1438" y="511"/>
                    <a:pt x="1439" y="510"/>
                  </a:cubicBezTo>
                  <a:cubicBezTo>
                    <a:pt x="1445" y="510"/>
                    <a:pt x="1445" y="510"/>
                    <a:pt x="1445" y="510"/>
                  </a:cubicBezTo>
                  <a:cubicBezTo>
                    <a:pt x="1450" y="509"/>
                    <a:pt x="1454" y="508"/>
                    <a:pt x="1459" y="505"/>
                  </a:cubicBezTo>
                  <a:cubicBezTo>
                    <a:pt x="1460" y="506"/>
                    <a:pt x="1460" y="506"/>
                    <a:pt x="1460" y="506"/>
                  </a:cubicBezTo>
                  <a:cubicBezTo>
                    <a:pt x="1460" y="506"/>
                    <a:pt x="1460" y="506"/>
                    <a:pt x="1460" y="506"/>
                  </a:cubicBezTo>
                  <a:cubicBezTo>
                    <a:pt x="1460" y="505"/>
                    <a:pt x="1460" y="505"/>
                    <a:pt x="1460" y="505"/>
                  </a:cubicBezTo>
                  <a:cubicBezTo>
                    <a:pt x="1460" y="505"/>
                    <a:pt x="1460" y="505"/>
                    <a:pt x="1460" y="505"/>
                  </a:cubicBezTo>
                  <a:cubicBezTo>
                    <a:pt x="1460" y="505"/>
                    <a:pt x="1460" y="505"/>
                    <a:pt x="1460" y="505"/>
                  </a:cubicBezTo>
                  <a:cubicBezTo>
                    <a:pt x="1459" y="501"/>
                    <a:pt x="1459" y="501"/>
                    <a:pt x="1459" y="501"/>
                  </a:cubicBezTo>
                  <a:cubicBezTo>
                    <a:pt x="1455" y="492"/>
                    <a:pt x="1455" y="492"/>
                    <a:pt x="1455" y="492"/>
                  </a:cubicBezTo>
                  <a:cubicBezTo>
                    <a:pt x="1463" y="497"/>
                    <a:pt x="1463" y="497"/>
                    <a:pt x="1463" y="497"/>
                  </a:cubicBezTo>
                  <a:cubicBezTo>
                    <a:pt x="1464" y="496"/>
                    <a:pt x="1466" y="496"/>
                    <a:pt x="1468" y="496"/>
                  </a:cubicBezTo>
                  <a:cubicBezTo>
                    <a:pt x="1468" y="496"/>
                    <a:pt x="1469" y="495"/>
                    <a:pt x="1470" y="495"/>
                  </a:cubicBezTo>
                  <a:cubicBezTo>
                    <a:pt x="1470" y="495"/>
                    <a:pt x="1471" y="494"/>
                    <a:pt x="1471" y="494"/>
                  </a:cubicBezTo>
                  <a:cubicBezTo>
                    <a:pt x="1472" y="494"/>
                    <a:pt x="1472" y="494"/>
                    <a:pt x="1472" y="494"/>
                  </a:cubicBezTo>
                  <a:cubicBezTo>
                    <a:pt x="1471" y="493"/>
                    <a:pt x="1471" y="493"/>
                    <a:pt x="1471" y="493"/>
                  </a:cubicBezTo>
                  <a:cubicBezTo>
                    <a:pt x="1473" y="492"/>
                    <a:pt x="1473" y="492"/>
                    <a:pt x="1473" y="492"/>
                  </a:cubicBezTo>
                  <a:cubicBezTo>
                    <a:pt x="1474" y="493"/>
                    <a:pt x="1474" y="493"/>
                    <a:pt x="1474" y="493"/>
                  </a:cubicBezTo>
                  <a:cubicBezTo>
                    <a:pt x="1475" y="492"/>
                    <a:pt x="1475" y="492"/>
                    <a:pt x="1475" y="492"/>
                  </a:cubicBezTo>
                  <a:cubicBezTo>
                    <a:pt x="1476" y="491"/>
                    <a:pt x="1477" y="491"/>
                    <a:pt x="1478" y="490"/>
                  </a:cubicBezTo>
                  <a:cubicBezTo>
                    <a:pt x="1482" y="487"/>
                    <a:pt x="1487" y="485"/>
                    <a:pt x="1492" y="483"/>
                  </a:cubicBezTo>
                  <a:cubicBezTo>
                    <a:pt x="1500" y="479"/>
                    <a:pt x="1500" y="479"/>
                    <a:pt x="1500" y="479"/>
                  </a:cubicBezTo>
                  <a:cubicBezTo>
                    <a:pt x="1502" y="478"/>
                    <a:pt x="1505" y="477"/>
                    <a:pt x="1507" y="475"/>
                  </a:cubicBezTo>
                  <a:cubicBezTo>
                    <a:pt x="1510" y="474"/>
                    <a:pt x="1510" y="474"/>
                    <a:pt x="1510" y="474"/>
                  </a:cubicBezTo>
                  <a:cubicBezTo>
                    <a:pt x="1513" y="473"/>
                    <a:pt x="1516" y="473"/>
                    <a:pt x="1518" y="473"/>
                  </a:cubicBezTo>
                  <a:cubicBezTo>
                    <a:pt x="1519" y="473"/>
                    <a:pt x="1519" y="473"/>
                    <a:pt x="1519" y="473"/>
                  </a:cubicBezTo>
                  <a:cubicBezTo>
                    <a:pt x="1520" y="472"/>
                    <a:pt x="1521" y="472"/>
                    <a:pt x="1522" y="472"/>
                  </a:cubicBezTo>
                  <a:cubicBezTo>
                    <a:pt x="1523" y="472"/>
                    <a:pt x="1524" y="472"/>
                    <a:pt x="1524" y="472"/>
                  </a:cubicBezTo>
                  <a:cubicBezTo>
                    <a:pt x="1524" y="472"/>
                    <a:pt x="1525" y="471"/>
                    <a:pt x="1525" y="471"/>
                  </a:cubicBezTo>
                  <a:cubicBezTo>
                    <a:pt x="1525" y="470"/>
                    <a:pt x="1526" y="469"/>
                    <a:pt x="1526" y="468"/>
                  </a:cubicBezTo>
                  <a:cubicBezTo>
                    <a:pt x="1527" y="467"/>
                    <a:pt x="1529" y="467"/>
                    <a:pt x="1530" y="466"/>
                  </a:cubicBezTo>
                  <a:cubicBezTo>
                    <a:pt x="1530" y="466"/>
                    <a:pt x="1530" y="466"/>
                    <a:pt x="1530" y="466"/>
                  </a:cubicBezTo>
                  <a:cubicBezTo>
                    <a:pt x="1531" y="466"/>
                    <a:pt x="1532" y="467"/>
                    <a:pt x="1533" y="468"/>
                  </a:cubicBezTo>
                  <a:cubicBezTo>
                    <a:pt x="1533" y="468"/>
                    <a:pt x="1534" y="468"/>
                    <a:pt x="1534" y="468"/>
                  </a:cubicBezTo>
                  <a:cubicBezTo>
                    <a:pt x="1534" y="468"/>
                    <a:pt x="1534" y="468"/>
                    <a:pt x="1534" y="468"/>
                  </a:cubicBezTo>
                  <a:cubicBezTo>
                    <a:pt x="1534" y="468"/>
                    <a:pt x="1535" y="468"/>
                    <a:pt x="1535" y="468"/>
                  </a:cubicBezTo>
                  <a:cubicBezTo>
                    <a:pt x="1536" y="468"/>
                    <a:pt x="1536" y="468"/>
                    <a:pt x="1536" y="468"/>
                  </a:cubicBezTo>
                  <a:cubicBezTo>
                    <a:pt x="1537" y="468"/>
                    <a:pt x="1538" y="469"/>
                    <a:pt x="1539" y="469"/>
                  </a:cubicBezTo>
                  <a:cubicBezTo>
                    <a:pt x="1540" y="469"/>
                    <a:pt x="1540" y="469"/>
                    <a:pt x="1540" y="469"/>
                  </a:cubicBezTo>
                  <a:cubicBezTo>
                    <a:pt x="1541" y="469"/>
                    <a:pt x="1541" y="469"/>
                    <a:pt x="1542" y="469"/>
                  </a:cubicBezTo>
                  <a:cubicBezTo>
                    <a:pt x="1543" y="469"/>
                    <a:pt x="1543" y="469"/>
                    <a:pt x="1543" y="469"/>
                  </a:cubicBezTo>
                  <a:cubicBezTo>
                    <a:pt x="1544" y="469"/>
                    <a:pt x="1545" y="469"/>
                    <a:pt x="1546" y="470"/>
                  </a:cubicBezTo>
                  <a:cubicBezTo>
                    <a:pt x="1546" y="470"/>
                    <a:pt x="1547" y="471"/>
                    <a:pt x="1548" y="471"/>
                  </a:cubicBezTo>
                  <a:cubicBezTo>
                    <a:pt x="1549" y="472"/>
                    <a:pt x="1550" y="472"/>
                    <a:pt x="1551" y="473"/>
                  </a:cubicBezTo>
                  <a:cubicBezTo>
                    <a:pt x="1551" y="473"/>
                    <a:pt x="1552" y="473"/>
                    <a:pt x="1553" y="473"/>
                  </a:cubicBezTo>
                  <a:cubicBezTo>
                    <a:pt x="1553" y="474"/>
                    <a:pt x="1553" y="474"/>
                    <a:pt x="1553" y="474"/>
                  </a:cubicBezTo>
                  <a:cubicBezTo>
                    <a:pt x="1554" y="474"/>
                    <a:pt x="1554" y="474"/>
                    <a:pt x="1555" y="474"/>
                  </a:cubicBezTo>
                  <a:cubicBezTo>
                    <a:pt x="1557" y="474"/>
                    <a:pt x="1560" y="475"/>
                    <a:pt x="1563" y="475"/>
                  </a:cubicBezTo>
                  <a:cubicBezTo>
                    <a:pt x="1573" y="476"/>
                    <a:pt x="1573" y="476"/>
                    <a:pt x="1573" y="476"/>
                  </a:cubicBezTo>
                  <a:cubicBezTo>
                    <a:pt x="1574" y="476"/>
                    <a:pt x="1575" y="476"/>
                    <a:pt x="1576" y="477"/>
                  </a:cubicBezTo>
                  <a:cubicBezTo>
                    <a:pt x="1578" y="477"/>
                    <a:pt x="1579" y="478"/>
                    <a:pt x="1580" y="479"/>
                  </a:cubicBezTo>
                  <a:cubicBezTo>
                    <a:pt x="1581" y="481"/>
                    <a:pt x="1582" y="483"/>
                    <a:pt x="1582" y="486"/>
                  </a:cubicBezTo>
                  <a:cubicBezTo>
                    <a:pt x="1583" y="486"/>
                    <a:pt x="1583" y="486"/>
                    <a:pt x="1583" y="486"/>
                  </a:cubicBezTo>
                  <a:cubicBezTo>
                    <a:pt x="1583" y="488"/>
                    <a:pt x="1584" y="489"/>
                    <a:pt x="1584" y="490"/>
                  </a:cubicBezTo>
                  <a:cubicBezTo>
                    <a:pt x="1584" y="491"/>
                    <a:pt x="1584" y="491"/>
                    <a:pt x="1584" y="491"/>
                  </a:cubicBezTo>
                  <a:cubicBezTo>
                    <a:pt x="1586" y="493"/>
                    <a:pt x="1586" y="493"/>
                    <a:pt x="1589" y="494"/>
                  </a:cubicBezTo>
                  <a:cubicBezTo>
                    <a:pt x="1603" y="497"/>
                    <a:pt x="1603" y="497"/>
                    <a:pt x="1603" y="497"/>
                  </a:cubicBezTo>
                  <a:cubicBezTo>
                    <a:pt x="1604" y="497"/>
                    <a:pt x="1605" y="497"/>
                    <a:pt x="1605" y="497"/>
                  </a:cubicBezTo>
                  <a:cubicBezTo>
                    <a:pt x="1606" y="497"/>
                    <a:pt x="1606" y="497"/>
                    <a:pt x="1606" y="497"/>
                  </a:cubicBezTo>
                  <a:cubicBezTo>
                    <a:pt x="1607" y="497"/>
                    <a:pt x="1607" y="497"/>
                    <a:pt x="1607" y="497"/>
                  </a:cubicBezTo>
                  <a:cubicBezTo>
                    <a:pt x="1607" y="497"/>
                    <a:pt x="1607" y="497"/>
                    <a:pt x="1607" y="497"/>
                  </a:cubicBezTo>
                  <a:cubicBezTo>
                    <a:pt x="1609" y="496"/>
                    <a:pt x="1609" y="496"/>
                    <a:pt x="1609" y="496"/>
                  </a:cubicBezTo>
                  <a:cubicBezTo>
                    <a:pt x="1611" y="495"/>
                    <a:pt x="1613" y="494"/>
                    <a:pt x="1616" y="494"/>
                  </a:cubicBezTo>
                  <a:cubicBezTo>
                    <a:pt x="1617" y="494"/>
                    <a:pt x="1617" y="494"/>
                    <a:pt x="1617" y="494"/>
                  </a:cubicBezTo>
                  <a:cubicBezTo>
                    <a:pt x="1617" y="494"/>
                    <a:pt x="1617" y="494"/>
                    <a:pt x="1617" y="494"/>
                  </a:cubicBezTo>
                  <a:cubicBezTo>
                    <a:pt x="1618" y="494"/>
                    <a:pt x="1619" y="494"/>
                    <a:pt x="1619" y="494"/>
                  </a:cubicBezTo>
                  <a:cubicBezTo>
                    <a:pt x="1620" y="494"/>
                    <a:pt x="1621" y="494"/>
                    <a:pt x="1622" y="495"/>
                  </a:cubicBezTo>
                  <a:cubicBezTo>
                    <a:pt x="1624" y="495"/>
                    <a:pt x="1625" y="495"/>
                    <a:pt x="1627" y="496"/>
                  </a:cubicBezTo>
                  <a:cubicBezTo>
                    <a:pt x="1627" y="496"/>
                    <a:pt x="1627" y="496"/>
                    <a:pt x="1627" y="496"/>
                  </a:cubicBezTo>
                  <a:cubicBezTo>
                    <a:pt x="1629" y="496"/>
                    <a:pt x="1630" y="497"/>
                    <a:pt x="1632" y="497"/>
                  </a:cubicBezTo>
                  <a:cubicBezTo>
                    <a:pt x="1632" y="497"/>
                    <a:pt x="1633" y="497"/>
                    <a:pt x="1633" y="498"/>
                  </a:cubicBezTo>
                  <a:cubicBezTo>
                    <a:pt x="1637" y="498"/>
                    <a:pt x="1637" y="498"/>
                    <a:pt x="1637" y="498"/>
                  </a:cubicBezTo>
                  <a:cubicBezTo>
                    <a:pt x="1639" y="499"/>
                    <a:pt x="1641" y="499"/>
                    <a:pt x="1643" y="500"/>
                  </a:cubicBezTo>
                  <a:cubicBezTo>
                    <a:pt x="1645" y="500"/>
                    <a:pt x="1646" y="501"/>
                    <a:pt x="1647" y="501"/>
                  </a:cubicBezTo>
                  <a:cubicBezTo>
                    <a:pt x="1647" y="501"/>
                    <a:pt x="1647" y="501"/>
                    <a:pt x="1647" y="501"/>
                  </a:cubicBezTo>
                  <a:cubicBezTo>
                    <a:pt x="1649" y="502"/>
                    <a:pt x="1650" y="502"/>
                    <a:pt x="1651" y="502"/>
                  </a:cubicBezTo>
                  <a:cubicBezTo>
                    <a:pt x="1652" y="502"/>
                    <a:pt x="1652" y="502"/>
                    <a:pt x="1652" y="502"/>
                  </a:cubicBezTo>
                  <a:cubicBezTo>
                    <a:pt x="1653" y="502"/>
                    <a:pt x="1654" y="501"/>
                    <a:pt x="1654" y="500"/>
                  </a:cubicBezTo>
                  <a:cubicBezTo>
                    <a:pt x="1655" y="500"/>
                    <a:pt x="1655" y="499"/>
                    <a:pt x="1655" y="499"/>
                  </a:cubicBezTo>
                  <a:cubicBezTo>
                    <a:pt x="1656" y="499"/>
                    <a:pt x="1656" y="498"/>
                    <a:pt x="1657" y="498"/>
                  </a:cubicBezTo>
                  <a:cubicBezTo>
                    <a:pt x="1658" y="497"/>
                    <a:pt x="1658" y="497"/>
                    <a:pt x="1658" y="497"/>
                  </a:cubicBezTo>
                  <a:cubicBezTo>
                    <a:pt x="1658" y="497"/>
                    <a:pt x="1658" y="497"/>
                    <a:pt x="1659" y="496"/>
                  </a:cubicBezTo>
                  <a:cubicBezTo>
                    <a:pt x="1659" y="496"/>
                    <a:pt x="1659" y="496"/>
                    <a:pt x="1659" y="496"/>
                  </a:cubicBezTo>
                  <a:cubicBezTo>
                    <a:pt x="1660" y="496"/>
                    <a:pt x="1660" y="496"/>
                    <a:pt x="1661" y="496"/>
                  </a:cubicBezTo>
                  <a:cubicBezTo>
                    <a:pt x="1662" y="495"/>
                    <a:pt x="1662" y="495"/>
                    <a:pt x="1663" y="495"/>
                  </a:cubicBezTo>
                  <a:cubicBezTo>
                    <a:pt x="1666" y="494"/>
                    <a:pt x="1668" y="494"/>
                    <a:pt x="1669" y="492"/>
                  </a:cubicBezTo>
                  <a:cubicBezTo>
                    <a:pt x="1670" y="488"/>
                    <a:pt x="1670" y="488"/>
                    <a:pt x="1670" y="488"/>
                  </a:cubicBezTo>
                  <a:cubicBezTo>
                    <a:pt x="1671" y="487"/>
                    <a:pt x="1671" y="486"/>
                    <a:pt x="1671" y="485"/>
                  </a:cubicBezTo>
                  <a:cubicBezTo>
                    <a:pt x="1672" y="483"/>
                    <a:pt x="1672" y="483"/>
                    <a:pt x="1672" y="483"/>
                  </a:cubicBezTo>
                  <a:cubicBezTo>
                    <a:pt x="1672" y="482"/>
                    <a:pt x="1672" y="482"/>
                    <a:pt x="1672" y="482"/>
                  </a:cubicBezTo>
                  <a:cubicBezTo>
                    <a:pt x="1672" y="482"/>
                    <a:pt x="1672" y="482"/>
                    <a:pt x="1672" y="482"/>
                  </a:cubicBezTo>
                  <a:cubicBezTo>
                    <a:pt x="1671" y="482"/>
                    <a:pt x="1669" y="481"/>
                    <a:pt x="1668" y="480"/>
                  </a:cubicBezTo>
                  <a:cubicBezTo>
                    <a:pt x="1666" y="478"/>
                    <a:pt x="1665" y="476"/>
                    <a:pt x="1664" y="474"/>
                  </a:cubicBezTo>
                  <a:cubicBezTo>
                    <a:pt x="1663" y="470"/>
                    <a:pt x="1662" y="467"/>
                    <a:pt x="1662" y="464"/>
                  </a:cubicBezTo>
                  <a:cubicBezTo>
                    <a:pt x="1662" y="463"/>
                    <a:pt x="1662" y="463"/>
                    <a:pt x="1662" y="463"/>
                  </a:cubicBezTo>
                  <a:cubicBezTo>
                    <a:pt x="1662" y="462"/>
                    <a:pt x="1662" y="461"/>
                    <a:pt x="1663" y="461"/>
                  </a:cubicBezTo>
                  <a:cubicBezTo>
                    <a:pt x="1663" y="460"/>
                    <a:pt x="1663" y="459"/>
                    <a:pt x="1663" y="458"/>
                  </a:cubicBezTo>
                  <a:cubicBezTo>
                    <a:pt x="1664" y="457"/>
                    <a:pt x="1664" y="457"/>
                    <a:pt x="1664" y="457"/>
                  </a:cubicBezTo>
                  <a:cubicBezTo>
                    <a:pt x="1664" y="456"/>
                    <a:pt x="1664" y="456"/>
                    <a:pt x="1664" y="456"/>
                  </a:cubicBezTo>
                  <a:cubicBezTo>
                    <a:pt x="1664" y="454"/>
                    <a:pt x="1665" y="452"/>
                    <a:pt x="1666" y="450"/>
                  </a:cubicBezTo>
                  <a:cubicBezTo>
                    <a:pt x="1666" y="449"/>
                    <a:pt x="1667" y="449"/>
                    <a:pt x="1667" y="448"/>
                  </a:cubicBezTo>
                  <a:cubicBezTo>
                    <a:pt x="1668" y="447"/>
                    <a:pt x="1669" y="447"/>
                    <a:pt x="1671" y="447"/>
                  </a:cubicBezTo>
                  <a:cubicBezTo>
                    <a:pt x="1671" y="446"/>
                    <a:pt x="1671" y="446"/>
                    <a:pt x="1671" y="446"/>
                  </a:cubicBezTo>
                  <a:cubicBezTo>
                    <a:pt x="1671" y="446"/>
                    <a:pt x="1671" y="446"/>
                    <a:pt x="1671" y="446"/>
                  </a:cubicBezTo>
                  <a:cubicBezTo>
                    <a:pt x="1672" y="445"/>
                    <a:pt x="1672" y="444"/>
                    <a:pt x="1672" y="442"/>
                  </a:cubicBezTo>
                  <a:cubicBezTo>
                    <a:pt x="1673" y="441"/>
                    <a:pt x="1673" y="441"/>
                    <a:pt x="1673" y="441"/>
                  </a:cubicBezTo>
                  <a:cubicBezTo>
                    <a:pt x="1673" y="441"/>
                    <a:pt x="1673" y="440"/>
                    <a:pt x="1674" y="440"/>
                  </a:cubicBezTo>
                  <a:cubicBezTo>
                    <a:pt x="1674" y="440"/>
                    <a:pt x="1674" y="440"/>
                    <a:pt x="1674" y="440"/>
                  </a:cubicBezTo>
                  <a:cubicBezTo>
                    <a:pt x="1674" y="439"/>
                    <a:pt x="1674" y="439"/>
                    <a:pt x="1674" y="439"/>
                  </a:cubicBezTo>
                  <a:cubicBezTo>
                    <a:pt x="1675" y="439"/>
                    <a:pt x="1675" y="438"/>
                    <a:pt x="1676" y="438"/>
                  </a:cubicBezTo>
                  <a:cubicBezTo>
                    <a:pt x="1677" y="437"/>
                    <a:pt x="1677" y="437"/>
                    <a:pt x="1677" y="437"/>
                  </a:cubicBezTo>
                  <a:cubicBezTo>
                    <a:pt x="1679" y="435"/>
                    <a:pt x="1681" y="433"/>
                    <a:pt x="1683" y="431"/>
                  </a:cubicBezTo>
                  <a:cubicBezTo>
                    <a:pt x="1690" y="424"/>
                    <a:pt x="1690" y="424"/>
                    <a:pt x="1690" y="424"/>
                  </a:cubicBezTo>
                  <a:cubicBezTo>
                    <a:pt x="1694" y="426"/>
                    <a:pt x="1694" y="426"/>
                    <a:pt x="1694" y="426"/>
                  </a:cubicBezTo>
                  <a:cubicBezTo>
                    <a:pt x="1696" y="422"/>
                    <a:pt x="1696" y="422"/>
                    <a:pt x="1696" y="422"/>
                  </a:cubicBezTo>
                  <a:cubicBezTo>
                    <a:pt x="1695" y="427"/>
                    <a:pt x="1695" y="427"/>
                    <a:pt x="1695" y="427"/>
                  </a:cubicBezTo>
                  <a:cubicBezTo>
                    <a:pt x="1709" y="434"/>
                    <a:pt x="1709" y="434"/>
                    <a:pt x="1709" y="434"/>
                  </a:cubicBezTo>
                  <a:cubicBezTo>
                    <a:pt x="1716" y="437"/>
                    <a:pt x="1720" y="438"/>
                    <a:pt x="1728" y="439"/>
                  </a:cubicBezTo>
                  <a:cubicBezTo>
                    <a:pt x="1729" y="439"/>
                    <a:pt x="1729" y="439"/>
                    <a:pt x="1729" y="439"/>
                  </a:cubicBezTo>
                  <a:cubicBezTo>
                    <a:pt x="1729" y="439"/>
                    <a:pt x="1729" y="439"/>
                    <a:pt x="1729" y="439"/>
                  </a:cubicBezTo>
                  <a:cubicBezTo>
                    <a:pt x="1731" y="439"/>
                    <a:pt x="1731" y="439"/>
                    <a:pt x="1731" y="439"/>
                  </a:cubicBezTo>
                  <a:cubicBezTo>
                    <a:pt x="1731" y="439"/>
                    <a:pt x="1732" y="439"/>
                    <a:pt x="1733" y="439"/>
                  </a:cubicBezTo>
                  <a:cubicBezTo>
                    <a:pt x="1737" y="440"/>
                    <a:pt x="1740" y="441"/>
                    <a:pt x="1744" y="443"/>
                  </a:cubicBezTo>
                  <a:cubicBezTo>
                    <a:pt x="1746" y="444"/>
                    <a:pt x="1748" y="445"/>
                    <a:pt x="1751" y="446"/>
                  </a:cubicBezTo>
                  <a:cubicBezTo>
                    <a:pt x="1764" y="449"/>
                    <a:pt x="1764" y="449"/>
                    <a:pt x="1764" y="449"/>
                  </a:cubicBezTo>
                  <a:cubicBezTo>
                    <a:pt x="1764" y="449"/>
                    <a:pt x="1765" y="449"/>
                    <a:pt x="1765" y="450"/>
                  </a:cubicBezTo>
                  <a:cubicBezTo>
                    <a:pt x="1771" y="451"/>
                    <a:pt x="1773" y="452"/>
                    <a:pt x="1774" y="453"/>
                  </a:cubicBezTo>
                  <a:cubicBezTo>
                    <a:pt x="1775" y="454"/>
                    <a:pt x="1775" y="454"/>
                    <a:pt x="1775" y="454"/>
                  </a:cubicBezTo>
                  <a:cubicBezTo>
                    <a:pt x="1775" y="456"/>
                    <a:pt x="1774" y="457"/>
                    <a:pt x="1774" y="458"/>
                  </a:cubicBezTo>
                  <a:cubicBezTo>
                    <a:pt x="1773" y="458"/>
                    <a:pt x="1773" y="458"/>
                    <a:pt x="1773" y="458"/>
                  </a:cubicBezTo>
                  <a:cubicBezTo>
                    <a:pt x="1774" y="459"/>
                    <a:pt x="1774" y="461"/>
                    <a:pt x="1774" y="462"/>
                  </a:cubicBezTo>
                  <a:cubicBezTo>
                    <a:pt x="1774" y="463"/>
                    <a:pt x="1774" y="464"/>
                    <a:pt x="1774" y="466"/>
                  </a:cubicBezTo>
                  <a:cubicBezTo>
                    <a:pt x="1774" y="466"/>
                    <a:pt x="1775" y="467"/>
                    <a:pt x="1775" y="469"/>
                  </a:cubicBezTo>
                  <a:cubicBezTo>
                    <a:pt x="1775" y="471"/>
                    <a:pt x="1775" y="471"/>
                    <a:pt x="1775" y="471"/>
                  </a:cubicBezTo>
                  <a:cubicBezTo>
                    <a:pt x="1776" y="472"/>
                    <a:pt x="1776" y="474"/>
                    <a:pt x="1776" y="475"/>
                  </a:cubicBezTo>
                  <a:cubicBezTo>
                    <a:pt x="1776" y="475"/>
                    <a:pt x="1776" y="476"/>
                    <a:pt x="1777" y="477"/>
                  </a:cubicBezTo>
                  <a:cubicBezTo>
                    <a:pt x="1778" y="477"/>
                    <a:pt x="1778" y="477"/>
                    <a:pt x="1778" y="477"/>
                  </a:cubicBezTo>
                  <a:cubicBezTo>
                    <a:pt x="1778" y="478"/>
                    <a:pt x="1779" y="479"/>
                    <a:pt x="1780" y="480"/>
                  </a:cubicBezTo>
                  <a:cubicBezTo>
                    <a:pt x="1782" y="481"/>
                    <a:pt x="1784" y="482"/>
                    <a:pt x="1786" y="482"/>
                  </a:cubicBezTo>
                  <a:cubicBezTo>
                    <a:pt x="1814" y="489"/>
                    <a:pt x="1814" y="489"/>
                    <a:pt x="1814" y="489"/>
                  </a:cubicBezTo>
                  <a:cubicBezTo>
                    <a:pt x="1815" y="489"/>
                    <a:pt x="1815" y="489"/>
                    <a:pt x="1816" y="489"/>
                  </a:cubicBezTo>
                  <a:cubicBezTo>
                    <a:pt x="1816" y="489"/>
                    <a:pt x="1816" y="489"/>
                    <a:pt x="1816" y="489"/>
                  </a:cubicBezTo>
                  <a:cubicBezTo>
                    <a:pt x="1817" y="489"/>
                    <a:pt x="1817" y="489"/>
                    <a:pt x="1817" y="489"/>
                  </a:cubicBezTo>
                  <a:cubicBezTo>
                    <a:pt x="1818" y="489"/>
                    <a:pt x="1818" y="489"/>
                    <a:pt x="1818" y="489"/>
                  </a:cubicBezTo>
                  <a:cubicBezTo>
                    <a:pt x="1818" y="489"/>
                    <a:pt x="1818" y="489"/>
                    <a:pt x="1818" y="489"/>
                  </a:cubicBezTo>
                  <a:cubicBezTo>
                    <a:pt x="1819" y="488"/>
                    <a:pt x="1820" y="488"/>
                    <a:pt x="1820" y="488"/>
                  </a:cubicBezTo>
                  <a:cubicBezTo>
                    <a:pt x="1821" y="487"/>
                    <a:pt x="1821" y="487"/>
                    <a:pt x="1821" y="487"/>
                  </a:cubicBezTo>
                  <a:cubicBezTo>
                    <a:pt x="1822" y="487"/>
                    <a:pt x="1822" y="486"/>
                    <a:pt x="1823" y="486"/>
                  </a:cubicBezTo>
                  <a:cubicBezTo>
                    <a:pt x="1824" y="486"/>
                    <a:pt x="1824" y="486"/>
                    <a:pt x="1824" y="486"/>
                  </a:cubicBezTo>
                  <a:cubicBezTo>
                    <a:pt x="1825" y="485"/>
                    <a:pt x="1825" y="485"/>
                    <a:pt x="1825" y="485"/>
                  </a:cubicBezTo>
                  <a:cubicBezTo>
                    <a:pt x="1829" y="483"/>
                    <a:pt x="1833" y="482"/>
                    <a:pt x="1838" y="481"/>
                  </a:cubicBezTo>
                  <a:cubicBezTo>
                    <a:pt x="1841" y="480"/>
                    <a:pt x="1845" y="479"/>
                    <a:pt x="1849" y="479"/>
                  </a:cubicBezTo>
                  <a:cubicBezTo>
                    <a:pt x="1849" y="479"/>
                    <a:pt x="1850" y="479"/>
                    <a:pt x="1850" y="479"/>
                  </a:cubicBezTo>
                  <a:cubicBezTo>
                    <a:pt x="1852" y="480"/>
                    <a:pt x="1855" y="480"/>
                    <a:pt x="1857" y="480"/>
                  </a:cubicBezTo>
                  <a:cubicBezTo>
                    <a:pt x="1860" y="480"/>
                    <a:pt x="1865" y="481"/>
                    <a:pt x="1867" y="483"/>
                  </a:cubicBezTo>
                  <a:cubicBezTo>
                    <a:pt x="1868" y="483"/>
                    <a:pt x="1869" y="483"/>
                    <a:pt x="1869" y="484"/>
                  </a:cubicBezTo>
                  <a:cubicBezTo>
                    <a:pt x="1877" y="484"/>
                    <a:pt x="1877" y="484"/>
                    <a:pt x="1877" y="484"/>
                  </a:cubicBezTo>
                  <a:cubicBezTo>
                    <a:pt x="1877" y="484"/>
                    <a:pt x="1877" y="484"/>
                    <a:pt x="1877" y="484"/>
                  </a:cubicBezTo>
                  <a:cubicBezTo>
                    <a:pt x="1878" y="484"/>
                    <a:pt x="1878" y="484"/>
                    <a:pt x="1878" y="484"/>
                  </a:cubicBezTo>
                  <a:cubicBezTo>
                    <a:pt x="1880" y="484"/>
                    <a:pt x="1880" y="484"/>
                    <a:pt x="1880" y="484"/>
                  </a:cubicBezTo>
                  <a:cubicBezTo>
                    <a:pt x="1880" y="484"/>
                    <a:pt x="1880" y="484"/>
                    <a:pt x="1880" y="484"/>
                  </a:cubicBezTo>
                  <a:cubicBezTo>
                    <a:pt x="1882" y="484"/>
                    <a:pt x="1882" y="484"/>
                    <a:pt x="1882" y="484"/>
                  </a:cubicBezTo>
                  <a:cubicBezTo>
                    <a:pt x="1883" y="484"/>
                    <a:pt x="1884" y="484"/>
                    <a:pt x="1885" y="485"/>
                  </a:cubicBezTo>
                  <a:cubicBezTo>
                    <a:pt x="1888" y="486"/>
                    <a:pt x="1891" y="488"/>
                    <a:pt x="1893" y="490"/>
                  </a:cubicBezTo>
                  <a:cubicBezTo>
                    <a:pt x="1896" y="492"/>
                    <a:pt x="1899" y="495"/>
                    <a:pt x="1902" y="495"/>
                  </a:cubicBezTo>
                  <a:cubicBezTo>
                    <a:pt x="1904" y="495"/>
                    <a:pt x="1904" y="495"/>
                    <a:pt x="1904" y="495"/>
                  </a:cubicBezTo>
                  <a:cubicBezTo>
                    <a:pt x="1904" y="495"/>
                    <a:pt x="1905" y="495"/>
                    <a:pt x="1906" y="495"/>
                  </a:cubicBezTo>
                  <a:cubicBezTo>
                    <a:pt x="1906" y="494"/>
                    <a:pt x="1906" y="494"/>
                    <a:pt x="1906" y="494"/>
                  </a:cubicBezTo>
                  <a:cubicBezTo>
                    <a:pt x="1912" y="496"/>
                    <a:pt x="1912" y="496"/>
                    <a:pt x="1912" y="496"/>
                  </a:cubicBezTo>
                  <a:cubicBezTo>
                    <a:pt x="1912" y="496"/>
                    <a:pt x="1912" y="496"/>
                    <a:pt x="1912" y="496"/>
                  </a:cubicBezTo>
                  <a:cubicBezTo>
                    <a:pt x="1912" y="496"/>
                    <a:pt x="1913" y="496"/>
                    <a:pt x="1913" y="496"/>
                  </a:cubicBezTo>
                  <a:cubicBezTo>
                    <a:pt x="1913" y="496"/>
                    <a:pt x="1913" y="496"/>
                    <a:pt x="1913" y="496"/>
                  </a:cubicBezTo>
                  <a:cubicBezTo>
                    <a:pt x="1915" y="497"/>
                    <a:pt x="1915" y="497"/>
                    <a:pt x="1915" y="497"/>
                  </a:cubicBezTo>
                  <a:cubicBezTo>
                    <a:pt x="1916" y="499"/>
                    <a:pt x="1916" y="499"/>
                    <a:pt x="1916" y="499"/>
                  </a:cubicBezTo>
                  <a:cubicBezTo>
                    <a:pt x="1917" y="502"/>
                    <a:pt x="1917" y="502"/>
                    <a:pt x="1917" y="502"/>
                  </a:cubicBezTo>
                  <a:cubicBezTo>
                    <a:pt x="1918" y="508"/>
                    <a:pt x="1918" y="508"/>
                    <a:pt x="1918" y="508"/>
                  </a:cubicBezTo>
                  <a:cubicBezTo>
                    <a:pt x="1928" y="516"/>
                    <a:pt x="1928" y="516"/>
                    <a:pt x="1928" y="516"/>
                  </a:cubicBezTo>
                  <a:cubicBezTo>
                    <a:pt x="1944" y="515"/>
                    <a:pt x="1944" y="515"/>
                    <a:pt x="1944" y="515"/>
                  </a:cubicBezTo>
                  <a:cubicBezTo>
                    <a:pt x="1948" y="516"/>
                    <a:pt x="1948" y="516"/>
                    <a:pt x="1948" y="516"/>
                  </a:cubicBezTo>
                  <a:cubicBezTo>
                    <a:pt x="1949" y="516"/>
                    <a:pt x="1949" y="516"/>
                    <a:pt x="1949" y="516"/>
                  </a:cubicBezTo>
                  <a:cubicBezTo>
                    <a:pt x="1950" y="517"/>
                    <a:pt x="1950" y="517"/>
                    <a:pt x="1950" y="517"/>
                  </a:cubicBezTo>
                  <a:cubicBezTo>
                    <a:pt x="1983" y="521"/>
                    <a:pt x="1983" y="521"/>
                    <a:pt x="1983" y="521"/>
                  </a:cubicBezTo>
                  <a:cubicBezTo>
                    <a:pt x="1984" y="521"/>
                    <a:pt x="1984" y="521"/>
                    <a:pt x="1985" y="521"/>
                  </a:cubicBezTo>
                  <a:cubicBezTo>
                    <a:pt x="2015" y="513"/>
                    <a:pt x="2015" y="513"/>
                    <a:pt x="2015" y="513"/>
                  </a:cubicBezTo>
                  <a:cubicBezTo>
                    <a:pt x="2032" y="510"/>
                    <a:pt x="2032" y="510"/>
                    <a:pt x="2032" y="510"/>
                  </a:cubicBezTo>
                  <a:cubicBezTo>
                    <a:pt x="2033" y="509"/>
                    <a:pt x="2033" y="509"/>
                    <a:pt x="2033" y="509"/>
                  </a:cubicBezTo>
                  <a:cubicBezTo>
                    <a:pt x="2044" y="499"/>
                    <a:pt x="2044" y="499"/>
                    <a:pt x="2044" y="499"/>
                  </a:cubicBezTo>
                  <a:cubicBezTo>
                    <a:pt x="2050" y="495"/>
                    <a:pt x="2050" y="495"/>
                    <a:pt x="2050" y="495"/>
                  </a:cubicBezTo>
                  <a:cubicBezTo>
                    <a:pt x="2054" y="493"/>
                    <a:pt x="2054" y="493"/>
                    <a:pt x="2054" y="493"/>
                  </a:cubicBezTo>
                  <a:cubicBezTo>
                    <a:pt x="2054" y="492"/>
                    <a:pt x="2055" y="492"/>
                    <a:pt x="2056" y="491"/>
                  </a:cubicBezTo>
                  <a:cubicBezTo>
                    <a:pt x="2056" y="491"/>
                    <a:pt x="2056" y="491"/>
                    <a:pt x="2056" y="491"/>
                  </a:cubicBezTo>
                  <a:cubicBezTo>
                    <a:pt x="2057" y="491"/>
                    <a:pt x="2058" y="490"/>
                    <a:pt x="2058" y="490"/>
                  </a:cubicBezTo>
                  <a:cubicBezTo>
                    <a:pt x="2060" y="489"/>
                    <a:pt x="2062" y="487"/>
                    <a:pt x="2065" y="487"/>
                  </a:cubicBezTo>
                  <a:cubicBezTo>
                    <a:pt x="2065" y="487"/>
                    <a:pt x="2065" y="487"/>
                    <a:pt x="2065" y="487"/>
                  </a:cubicBezTo>
                  <a:cubicBezTo>
                    <a:pt x="2067" y="487"/>
                    <a:pt x="2068" y="487"/>
                    <a:pt x="2069" y="487"/>
                  </a:cubicBezTo>
                  <a:cubicBezTo>
                    <a:pt x="2070" y="487"/>
                    <a:pt x="2070" y="487"/>
                    <a:pt x="2070" y="487"/>
                  </a:cubicBezTo>
                  <a:cubicBezTo>
                    <a:pt x="2072" y="487"/>
                    <a:pt x="2073" y="487"/>
                    <a:pt x="2075" y="487"/>
                  </a:cubicBezTo>
                  <a:cubicBezTo>
                    <a:pt x="2076" y="487"/>
                    <a:pt x="2078" y="487"/>
                    <a:pt x="2079" y="487"/>
                  </a:cubicBezTo>
                  <a:cubicBezTo>
                    <a:pt x="2083" y="487"/>
                    <a:pt x="2083" y="487"/>
                    <a:pt x="2083" y="487"/>
                  </a:cubicBezTo>
                  <a:cubicBezTo>
                    <a:pt x="2099" y="497"/>
                    <a:pt x="2099" y="497"/>
                    <a:pt x="2099" y="497"/>
                  </a:cubicBezTo>
                  <a:cubicBezTo>
                    <a:pt x="2100" y="497"/>
                    <a:pt x="2100" y="497"/>
                    <a:pt x="2100" y="497"/>
                  </a:cubicBezTo>
                  <a:cubicBezTo>
                    <a:pt x="2100" y="498"/>
                    <a:pt x="2100" y="498"/>
                    <a:pt x="2100" y="498"/>
                  </a:cubicBezTo>
                  <a:cubicBezTo>
                    <a:pt x="2100" y="498"/>
                    <a:pt x="2100" y="498"/>
                    <a:pt x="2100" y="498"/>
                  </a:cubicBezTo>
                  <a:cubicBezTo>
                    <a:pt x="2100" y="498"/>
                    <a:pt x="2100" y="498"/>
                    <a:pt x="2100" y="498"/>
                  </a:cubicBezTo>
                  <a:cubicBezTo>
                    <a:pt x="2117" y="493"/>
                    <a:pt x="2117" y="493"/>
                    <a:pt x="2117" y="493"/>
                  </a:cubicBezTo>
                  <a:cubicBezTo>
                    <a:pt x="2118" y="494"/>
                    <a:pt x="2118" y="494"/>
                    <a:pt x="2118" y="494"/>
                  </a:cubicBezTo>
                  <a:cubicBezTo>
                    <a:pt x="2120" y="494"/>
                    <a:pt x="2122" y="496"/>
                    <a:pt x="2126" y="498"/>
                  </a:cubicBezTo>
                  <a:cubicBezTo>
                    <a:pt x="2126" y="498"/>
                    <a:pt x="2126" y="498"/>
                    <a:pt x="2126" y="498"/>
                  </a:cubicBezTo>
                  <a:cubicBezTo>
                    <a:pt x="2127" y="499"/>
                    <a:pt x="2128" y="499"/>
                    <a:pt x="2128" y="499"/>
                  </a:cubicBezTo>
                  <a:cubicBezTo>
                    <a:pt x="2128" y="500"/>
                    <a:pt x="2128" y="500"/>
                    <a:pt x="2128" y="500"/>
                  </a:cubicBezTo>
                  <a:cubicBezTo>
                    <a:pt x="2129" y="500"/>
                    <a:pt x="2129" y="500"/>
                    <a:pt x="2130" y="501"/>
                  </a:cubicBezTo>
                  <a:cubicBezTo>
                    <a:pt x="2131" y="501"/>
                    <a:pt x="2134" y="501"/>
                    <a:pt x="2135" y="502"/>
                  </a:cubicBezTo>
                  <a:cubicBezTo>
                    <a:pt x="2148" y="506"/>
                    <a:pt x="2148" y="506"/>
                    <a:pt x="2148" y="506"/>
                  </a:cubicBezTo>
                  <a:cubicBezTo>
                    <a:pt x="2148" y="506"/>
                    <a:pt x="2148" y="506"/>
                    <a:pt x="2148" y="506"/>
                  </a:cubicBezTo>
                  <a:cubicBezTo>
                    <a:pt x="2157" y="509"/>
                    <a:pt x="2157" y="509"/>
                    <a:pt x="2157" y="509"/>
                  </a:cubicBezTo>
                  <a:cubicBezTo>
                    <a:pt x="2164" y="504"/>
                    <a:pt x="2164" y="504"/>
                    <a:pt x="2164" y="504"/>
                  </a:cubicBezTo>
                  <a:cubicBezTo>
                    <a:pt x="2166" y="501"/>
                    <a:pt x="2169" y="498"/>
                    <a:pt x="2173" y="497"/>
                  </a:cubicBezTo>
                  <a:cubicBezTo>
                    <a:pt x="2174" y="497"/>
                    <a:pt x="2174" y="497"/>
                    <a:pt x="2174" y="497"/>
                  </a:cubicBezTo>
                  <a:cubicBezTo>
                    <a:pt x="2184" y="495"/>
                    <a:pt x="2184" y="495"/>
                    <a:pt x="2184" y="495"/>
                  </a:cubicBezTo>
                  <a:cubicBezTo>
                    <a:pt x="2190" y="492"/>
                    <a:pt x="2190" y="492"/>
                    <a:pt x="2190" y="492"/>
                  </a:cubicBezTo>
                  <a:cubicBezTo>
                    <a:pt x="2190" y="491"/>
                    <a:pt x="2190" y="491"/>
                    <a:pt x="2190" y="491"/>
                  </a:cubicBezTo>
                  <a:cubicBezTo>
                    <a:pt x="2190" y="490"/>
                    <a:pt x="2190" y="490"/>
                    <a:pt x="2190" y="489"/>
                  </a:cubicBezTo>
                  <a:cubicBezTo>
                    <a:pt x="2190" y="488"/>
                    <a:pt x="2190" y="488"/>
                    <a:pt x="2190" y="488"/>
                  </a:cubicBezTo>
                  <a:cubicBezTo>
                    <a:pt x="2190" y="485"/>
                    <a:pt x="2190" y="485"/>
                    <a:pt x="2190" y="485"/>
                  </a:cubicBezTo>
                  <a:cubicBezTo>
                    <a:pt x="2192" y="475"/>
                    <a:pt x="2192" y="475"/>
                    <a:pt x="2192" y="475"/>
                  </a:cubicBezTo>
                  <a:cubicBezTo>
                    <a:pt x="2196" y="466"/>
                    <a:pt x="2196" y="466"/>
                    <a:pt x="2196" y="466"/>
                  </a:cubicBezTo>
                  <a:cubicBezTo>
                    <a:pt x="2200" y="459"/>
                    <a:pt x="2200" y="459"/>
                    <a:pt x="2200" y="459"/>
                  </a:cubicBezTo>
                  <a:cubicBezTo>
                    <a:pt x="2202" y="456"/>
                    <a:pt x="2203" y="453"/>
                    <a:pt x="2205" y="450"/>
                  </a:cubicBezTo>
                  <a:cubicBezTo>
                    <a:pt x="2207" y="447"/>
                    <a:pt x="2207" y="447"/>
                    <a:pt x="2207" y="447"/>
                  </a:cubicBezTo>
                  <a:cubicBezTo>
                    <a:pt x="2220" y="433"/>
                    <a:pt x="2220" y="433"/>
                    <a:pt x="2220" y="433"/>
                  </a:cubicBezTo>
                  <a:cubicBezTo>
                    <a:pt x="2222" y="431"/>
                    <a:pt x="2224" y="429"/>
                    <a:pt x="2225" y="427"/>
                  </a:cubicBezTo>
                  <a:cubicBezTo>
                    <a:pt x="2225" y="426"/>
                    <a:pt x="2225" y="426"/>
                    <a:pt x="2225" y="426"/>
                  </a:cubicBezTo>
                  <a:cubicBezTo>
                    <a:pt x="2224" y="426"/>
                    <a:pt x="2224" y="426"/>
                    <a:pt x="2224" y="426"/>
                  </a:cubicBezTo>
                  <a:cubicBezTo>
                    <a:pt x="2223" y="425"/>
                    <a:pt x="2223" y="425"/>
                    <a:pt x="2223" y="425"/>
                  </a:cubicBezTo>
                  <a:cubicBezTo>
                    <a:pt x="2223" y="423"/>
                    <a:pt x="2223" y="423"/>
                    <a:pt x="2223" y="423"/>
                  </a:cubicBezTo>
                  <a:cubicBezTo>
                    <a:pt x="2223" y="420"/>
                    <a:pt x="2223" y="420"/>
                    <a:pt x="2223" y="420"/>
                  </a:cubicBezTo>
                  <a:cubicBezTo>
                    <a:pt x="2224" y="417"/>
                    <a:pt x="2224" y="417"/>
                    <a:pt x="2224" y="417"/>
                  </a:cubicBezTo>
                  <a:cubicBezTo>
                    <a:pt x="2223" y="416"/>
                    <a:pt x="2223" y="416"/>
                    <a:pt x="2222" y="416"/>
                  </a:cubicBezTo>
                  <a:cubicBezTo>
                    <a:pt x="2222" y="416"/>
                    <a:pt x="2222" y="416"/>
                    <a:pt x="2222" y="416"/>
                  </a:cubicBezTo>
                  <a:cubicBezTo>
                    <a:pt x="2221" y="415"/>
                    <a:pt x="2221" y="415"/>
                    <a:pt x="2221" y="415"/>
                  </a:cubicBezTo>
                  <a:cubicBezTo>
                    <a:pt x="2220" y="415"/>
                    <a:pt x="2220" y="415"/>
                    <a:pt x="2220" y="415"/>
                  </a:cubicBezTo>
                  <a:cubicBezTo>
                    <a:pt x="2220" y="415"/>
                    <a:pt x="2219" y="415"/>
                    <a:pt x="2218" y="415"/>
                  </a:cubicBezTo>
                  <a:cubicBezTo>
                    <a:pt x="2218" y="415"/>
                    <a:pt x="2218" y="415"/>
                    <a:pt x="2218" y="415"/>
                  </a:cubicBezTo>
                  <a:cubicBezTo>
                    <a:pt x="2216" y="416"/>
                    <a:pt x="2215" y="416"/>
                    <a:pt x="2214" y="416"/>
                  </a:cubicBezTo>
                  <a:cubicBezTo>
                    <a:pt x="2209" y="417"/>
                    <a:pt x="2209" y="417"/>
                    <a:pt x="2209" y="417"/>
                  </a:cubicBezTo>
                  <a:cubicBezTo>
                    <a:pt x="2209" y="414"/>
                    <a:pt x="2209" y="414"/>
                    <a:pt x="2209" y="414"/>
                  </a:cubicBezTo>
                  <a:cubicBezTo>
                    <a:pt x="2208" y="413"/>
                    <a:pt x="2207" y="411"/>
                    <a:pt x="2207" y="408"/>
                  </a:cubicBezTo>
                  <a:cubicBezTo>
                    <a:pt x="2207" y="405"/>
                    <a:pt x="2207" y="405"/>
                    <a:pt x="2207" y="405"/>
                  </a:cubicBezTo>
                  <a:cubicBezTo>
                    <a:pt x="2210" y="404"/>
                    <a:pt x="2210" y="404"/>
                    <a:pt x="2210" y="404"/>
                  </a:cubicBezTo>
                  <a:cubicBezTo>
                    <a:pt x="2211" y="403"/>
                    <a:pt x="2213" y="402"/>
                    <a:pt x="2214" y="401"/>
                  </a:cubicBezTo>
                  <a:cubicBezTo>
                    <a:pt x="2215" y="400"/>
                    <a:pt x="2215" y="400"/>
                    <a:pt x="2216" y="399"/>
                  </a:cubicBezTo>
                  <a:cubicBezTo>
                    <a:pt x="2221" y="395"/>
                    <a:pt x="2221" y="395"/>
                    <a:pt x="2221" y="395"/>
                  </a:cubicBezTo>
                  <a:cubicBezTo>
                    <a:pt x="2223" y="393"/>
                    <a:pt x="2224" y="392"/>
                    <a:pt x="2226" y="390"/>
                  </a:cubicBezTo>
                  <a:cubicBezTo>
                    <a:pt x="2228" y="389"/>
                    <a:pt x="2228" y="389"/>
                    <a:pt x="2228" y="389"/>
                  </a:cubicBezTo>
                  <a:cubicBezTo>
                    <a:pt x="2229" y="388"/>
                    <a:pt x="2229" y="388"/>
                    <a:pt x="2229" y="388"/>
                  </a:cubicBezTo>
                  <a:cubicBezTo>
                    <a:pt x="2230" y="387"/>
                    <a:pt x="2230" y="387"/>
                    <a:pt x="2230" y="387"/>
                  </a:cubicBezTo>
                  <a:cubicBezTo>
                    <a:pt x="2232" y="387"/>
                    <a:pt x="2232" y="387"/>
                    <a:pt x="2232" y="387"/>
                  </a:cubicBezTo>
                  <a:cubicBezTo>
                    <a:pt x="2233" y="387"/>
                    <a:pt x="2233" y="387"/>
                    <a:pt x="2233" y="387"/>
                  </a:cubicBezTo>
                  <a:cubicBezTo>
                    <a:pt x="2234" y="387"/>
                    <a:pt x="2235" y="387"/>
                    <a:pt x="2237" y="386"/>
                  </a:cubicBezTo>
                  <a:cubicBezTo>
                    <a:pt x="2237" y="386"/>
                    <a:pt x="2238" y="386"/>
                    <a:pt x="2239" y="386"/>
                  </a:cubicBezTo>
                  <a:cubicBezTo>
                    <a:pt x="2244" y="386"/>
                    <a:pt x="2249" y="385"/>
                    <a:pt x="2255" y="383"/>
                  </a:cubicBezTo>
                  <a:cubicBezTo>
                    <a:pt x="2259" y="383"/>
                    <a:pt x="2259" y="383"/>
                    <a:pt x="2259" y="383"/>
                  </a:cubicBezTo>
                  <a:cubicBezTo>
                    <a:pt x="2271" y="382"/>
                    <a:pt x="2271" y="382"/>
                    <a:pt x="2271" y="382"/>
                  </a:cubicBezTo>
                  <a:cubicBezTo>
                    <a:pt x="2276" y="381"/>
                    <a:pt x="2279" y="381"/>
                    <a:pt x="2282" y="380"/>
                  </a:cubicBezTo>
                  <a:cubicBezTo>
                    <a:pt x="2284" y="380"/>
                    <a:pt x="2284" y="380"/>
                    <a:pt x="2284" y="380"/>
                  </a:cubicBezTo>
                  <a:cubicBezTo>
                    <a:pt x="2285" y="379"/>
                    <a:pt x="2286" y="379"/>
                    <a:pt x="2287" y="379"/>
                  </a:cubicBezTo>
                  <a:cubicBezTo>
                    <a:pt x="2288" y="378"/>
                    <a:pt x="2289" y="378"/>
                    <a:pt x="2290" y="378"/>
                  </a:cubicBezTo>
                  <a:cubicBezTo>
                    <a:pt x="2290" y="378"/>
                    <a:pt x="2291" y="378"/>
                    <a:pt x="2291" y="378"/>
                  </a:cubicBezTo>
                  <a:cubicBezTo>
                    <a:pt x="2294" y="378"/>
                    <a:pt x="2294" y="378"/>
                    <a:pt x="2294" y="378"/>
                  </a:cubicBezTo>
                  <a:cubicBezTo>
                    <a:pt x="2296" y="378"/>
                    <a:pt x="2296" y="378"/>
                    <a:pt x="2296" y="378"/>
                  </a:cubicBezTo>
                  <a:cubicBezTo>
                    <a:pt x="2300" y="378"/>
                    <a:pt x="2300" y="378"/>
                    <a:pt x="2300" y="378"/>
                  </a:cubicBezTo>
                  <a:cubicBezTo>
                    <a:pt x="2302" y="379"/>
                    <a:pt x="2302" y="379"/>
                    <a:pt x="2302" y="379"/>
                  </a:cubicBezTo>
                  <a:cubicBezTo>
                    <a:pt x="2305" y="381"/>
                    <a:pt x="2309" y="382"/>
                    <a:pt x="2312" y="384"/>
                  </a:cubicBezTo>
                  <a:cubicBezTo>
                    <a:pt x="2324" y="390"/>
                    <a:pt x="2324" y="390"/>
                    <a:pt x="2324" y="390"/>
                  </a:cubicBezTo>
                  <a:cubicBezTo>
                    <a:pt x="2329" y="391"/>
                    <a:pt x="2329" y="391"/>
                    <a:pt x="2329" y="391"/>
                  </a:cubicBezTo>
                  <a:cubicBezTo>
                    <a:pt x="2330" y="391"/>
                    <a:pt x="2330" y="391"/>
                    <a:pt x="2330" y="391"/>
                  </a:cubicBezTo>
                  <a:cubicBezTo>
                    <a:pt x="2330" y="390"/>
                    <a:pt x="2330" y="390"/>
                    <a:pt x="2330" y="390"/>
                  </a:cubicBezTo>
                  <a:cubicBezTo>
                    <a:pt x="2332" y="390"/>
                    <a:pt x="2334" y="390"/>
                    <a:pt x="2335" y="390"/>
                  </a:cubicBezTo>
                  <a:cubicBezTo>
                    <a:pt x="2336" y="390"/>
                    <a:pt x="2336" y="390"/>
                    <a:pt x="2337" y="390"/>
                  </a:cubicBezTo>
                  <a:cubicBezTo>
                    <a:pt x="2337" y="390"/>
                    <a:pt x="2337" y="390"/>
                    <a:pt x="2337" y="390"/>
                  </a:cubicBezTo>
                  <a:cubicBezTo>
                    <a:pt x="2339" y="391"/>
                    <a:pt x="2339" y="391"/>
                    <a:pt x="2339" y="391"/>
                  </a:cubicBezTo>
                  <a:cubicBezTo>
                    <a:pt x="2339" y="391"/>
                    <a:pt x="2339" y="391"/>
                    <a:pt x="2339" y="391"/>
                  </a:cubicBezTo>
                  <a:cubicBezTo>
                    <a:pt x="2340" y="391"/>
                    <a:pt x="2340" y="391"/>
                    <a:pt x="2340" y="391"/>
                  </a:cubicBezTo>
                  <a:cubicBezTo>
                    <a:pt x="2340" y="391"/>
                    <a:pt x="2340" y="391"/>
                    <a:pt x="2340" y="391"/>
                  </a:cubicBezTo>
                  <a:cubicBezTo>
                    <a:pt x="2341" y="392"/>
                    <a:pt x="2341" y="392"/>
                    <a:pt x="2341" y="392"/>
                  </a:cubicBezTo>
                  <a:cubicBezTo>
                    <a:pt x="2343" y="393"/>
                    <a:pt x="2343" y="393"/>
                    <a:pt x="2343" y="393"/>
                  </a:cubicBezTo>
                  <a:cubicBezTo>
                    <a:pt x="2343" y="393"/>
                    <a:pt x="2344" y="393"/>
                    <a:pt x="2344" y="393"/>
                  </a:cubicBezTo>
                  <a:cubicBezTo>
                    <a:pt x="2345" y="394"/>
                    <a:pt x="2345" y="394"/>
                    <a:pt x="2345" y="394"/>
                  </a:cubicBezTo>
                  <a:cubicBezTo>
                    <a:pt x="2346" y="394"/>
                    <a:pt x="2346" y="394"/>
                    <a:pt x="2346" y="394"/>
                  </a:cubicBezTo>
                  <a:cubicBezTo>
                    <a:pt x="2347" y="394"/>
                    <a:pt x="2347" y="394"/>
                    <a:pt x="2347" y="394"/>
                  </a:cubicBezTo>
                  <a:cubicBezTo>
                    <a:pt x="2348" y="395"/>
                    <a:pt x="2348" y="395"/>
                    <a:pt x="2348" y="395"/>
                  </a:cubicBezTo>
                  <a:cubicBezTo>
                    <a:pt x="2349" y="395"/>
                    <a:pt x="2349" y="395"/>
                    <a:pt x="2349" y="395"/>
                  </a:cubicBezTo>
                  <a:cubicBezTo>
                    <a:pt x="2356" y="401"/>
                    <a:pt x="2356" y="401"/>
                    <a:pt x="2356" y="401"/>
                  </a:cubicBezTo>
                  <a:cubicBezTo>
                    <a:pt x="2359" y="397"/>
                    <a:pt x="2359" y="397"/>
                    <a:pt x="2359" y="397"/>
                  </a:cubicBezTo>
                  <a:cubicBezTo>
                    <a:pt x="2357" y="402"/>
                    <a:pt x="2357" y="402"/>
                    <a:pt x="2357" y="402"/>
                  </a:cubicBezTo>
                  <a:cubicBezTo>
                    <a:pt x="2357" y="402"/>
                    <a:pt x="2357" y="402"/>
                    <a:pt x="2357" y="402"/>
                  </a:cubicBezTo>
                  <a:cubicBezTo>
                    <a:pt x="2357" y="402"/>
                    <a:pt x="2358" y="403"/>
                    <a:pt x="2359" y="403"/>
                  </a:cubicBezTo>
                  <a:cubicBezTo>
                    <a:pt x="2359" y="403"/>
                    <a:pt x="2359" y="403"/>
                    <a:pt x="2359" y="403"/>
                  </a:cubicBezTo>
                  <a:cubicBezTo>
                    <a:pt x="2360" y="404"/>
                    <a:pt x="2360" y="404"/>
                    <a:pt x="2360" y="404"/>
                  </a:cubicBezTo>
                  <a:cubicBezTo>
                    <a:pt x="2362" y="405"/>
                    <a:pt x="2362" y="405"/>
                    <a:pt x="2362" y="405"/>
                  </a:cubicBezTo>
                  <a:cubicBezTo>
                    <a:pt x="2362" y="407"/>
                    <a:pt x="2362" y="407"/>
                    <a:pt x="2362" y="407"/>
                  </a:cubicBezTo>
                  <a:cubicBezTo>
                    <a:pt x="2362" y="409"/>
                    <a:pt x="2362" y="409"/>
                    <a:pt x="2362" y="409"/>
                  </a:cubicBezTo>
                  <a:cubicBezTo>
                    <a:pt x="2362" y="410"/>
                    <a:pt x="2361" y="411"/>
                    <a:pt x="2361" y="412"/>
                  </a:cubicBezTo>
                  <a:cubicBezTo>
                    <a:pt x="2360" y="412"/>
                    <a:pt x="2360" y="412"/>
                    <a:pt x="2360" y="412"/>
                  </a:cubicBezTo>
                  <a:cubicBezTo>
                    <a:pt x="2361" y="413"/>
                    <a:pt x="2361" y="413"/>
                    <a:pt x="2361" y="413"/>
                  </a:cubicBezTo>
                  <a:cubicBezTo>
                    <a:pt x="2362" y="414"/>
                    <a:pt x="2362" y="415"/>
                    <a:pt x="2363" y="415"/>
                  </a:cubicBezTo>
                  <a:cubicBezTo>
                    <a:pt x="2366" y="418"/>
                    <a:pt x="2370" y="422"/>
                    <a:pt x="2371" y="426"/>
                  </a:cubicBezTo>
                  <a:cubicBezTo>
                    <a:pt x="2373" y="427"/>
                    <a:pt x="2373" y="427"/>
                    <a:pt x="2373" y="427"/>
                  </a:cubicBezTo>
                  <a:cubicBezTo>
                    <a:pt x="2372" y="430"/>
                    <a:pt x="2372" y="430"/>
                    <a:pt x="2372" y="430"/>
                  </a:cubicBezTo>
                  <a:cubicBezTo>
                    <a:pt x="2372" y="432"/>
                    <a:pt x="2372" y="432"/>
                    <a:pt x="2372" y="432"/>
                  </a:cubicBezTo>
                  <a:cubicBezTo>
                    <a:pt x="2371" y="433"/>
                    <a:pt x="2371" y="433"/>
                    <a:pt x="2371" y="433"/>
                  </a:cubicBezTo>
                  <a:cubicBezTo>
                    <a:pt x="2372" y="433"/>
                    <a:pt x="2372" y="433"/>
                    <a:pt x="2372" y="433"/>
                  </a:cubicBezTo>
                  <a:cubicBezTo>
                    <a:pt x="2372" y="435"/>
                    <a:pt x="2372" y="435"/>
                    <a:pt x="2372" y="435"/>
                  </a:cubicBezTo>
                  <a:cubicBezTo>
                    <a:pt x="2374" y="440"/>
                    <a:pt x="2377" y="445"/>
                    <a:pt x="2378" y="449"/>
                  </a:cubicBezTo>
                  <a:cubicBezTo>
                    <a:pt x="2380" y="453"/>
                    <a:pt x="2380" y="453"/>
                    <a:pt x="2380" y="453"/>
                  </a:cubicBezTo>
                  <a:cubicBezTo>
                    <a:pt x="2381" y="453"/>
                    <a:pt x="2381" y="453"/>
                    <a:pt x="2381" y="453"/>
                  </a:cubicBezTo>
                  <a:cubicBezTo>
                    <a:pt x="2384" y="452"/>
                    <a:pt x="2384" y="452"/>
                    <a:pt x="2384" y="452"/>
                  </a:cubicBezTo>
                  <a:cubicBezTo>
                    <a:pt x="2386" y="465"/>
                    <a:pt x="2386" y="465"/>
                    <a:pt x="2386" y="465"/>
                  </a:cubicBezTo>
                  <a:cubicBezTo>
                    <a:pt x="2386" y="466"/>
                    <a:pt x="2386" y="466"/>
                    <a:pt x="2386" y="466"/>
                  </a:cubicBezTo>
                  <a:cubicBezTo>
                    <a:pt x="2387" y="466"/>
                    <a:pt x="2387" y="466"/>
                    <a:pt x="2387" y="466"/>
                  </a:cubicBezTo>
                  <a:cubicBezTo>
                    <a:pt x="2387" y="466"/>
                    <a:pt x="2387" y="466"/>
                    <a:pt x="2387" y="466"/>
                  </a:cubicBezTo>
                  <a:cubicBezTo>
                    <a:pt x="2388" y="467"/>
                    <a:pt x="2388" y="467"/>
                    <a:pt x="2388" y="467"/>
                  </a:cubicBezTo>
                  <a:cubicBezTo>
                    <a:pt x="2395" y="484"/>
                    <a:pt x="2395" y="484"/>
                    <a:pt x="2395" y="484"/>
                  </a:cubicBezTo>
                  <a:cubicBezTo>
                    <a:pt x="2396" y="485"/>
                    <a:pt x="2396" y="486"/>
                    <a:pt x="2397" y="486"/>
                  </a:cubicBezTo>
                  <a:cubicBezTo>
                    <a:pt x="2396" y="487"/>
                    <a:pt x="2396" y="487"/>
                    <a:pt x="2396" y="487"/>
                  </a:cubicBezTo>
                  <a:cubicBezTo>
                    <a:pt x="2397" y="487"/>
                    <a:pt x="2397" y="487"/>
                    <a:pt x="2397" y="487"/>
                  </a:cubicBezTo>
                  <a:cubicBezTo>
                    <a:pt x="2397" y="487"/>
                    <a:pt x="2398" y="488"/>
                    <a:pt x="2398" y="488"/>
                  </a:cubicBezTo>
                  <a:cubicBezTo>
                    <a:pt x="2398" y="489"/>
                    <a:pt x="2398" y="489"/>
                    <a:pt x="2398" y="489"/>
                  </a:cubicBezTo>
                  <a:cubicBezTo>
                    <a:pt x="2399" y="491"/>
                    <a:pt x="2399" y="491"/>
                    <a:pt x="2399" y="491"/>
                  </a:cubicBezTo>
                  <a:cubicBezTo>
                    <a:pt x="2399" y="494"/>
                    <a:pt x="2399" y="494"/>
                    <a:pt x="2399" y="494"/>
                  </a:cubicBezTo>
                  <a:cubicBezTo>
                    <a:pt x="2399" y="494"/>
                    <a:pt x="2398" y="495"/>
                    <a:pt x="2398" y="496"/>
                  </a:cubicBezTo>
                  <a:cubicBezTo>
                    <a:pt x="2398" y="497"/>
                    <a:pt x="2398" y="497"/>
                    <a:pt x="2398" y="497"/>
                  </a:cubicBezTo>
                  <a:cubicBezTo>
                    <a:pt x="2398" y="498"/>
                    <a:pt x="2398" y="499"/>
                    <a:pt x="2398" y="500"/>
                  </a:cubicBezTo>
                  <a:cubicBezTo>
                    <a:pt x="2403" y="507"/>
                    <a:pt x="2403" y="507"/>
                    <a:pt x="2403" y="507"/>
                  </a:cubicBezTo>
                  <a:cubicBezTo>
                    <a:pt x="2403" y="508"/>
                    <a:pt x="2404" y="508"/>
                    <a:pt x="2406" y="508"/>
                  </a:cubicBezTo>
                  <a:cubicBezTo>
                    <a:pt x="2419" y="508"/>
                    <a:pt x="2419" y="508"/>
                    <a:pt x="2419" y="508"/>
                  </a:cubicBezTo>
                  <a:cubicBezTo>
                    <a:pt x="2422" y="508"/>
                    <a:pt x="2424" y="509"/>
                    <a:pt x="2427" y="510"/>
                  </a:cubicBezTo>
                  <a:cubicBezTo>
                    <a:pt x="2428" y="511"/>
                    <a:pt x="2428" y="511"/>
                    <a:pt x="2428" y="511"/>
                  </a:cubicBezTo>
                  <a:cubicBezTo>
                    <a:pt x="2428" y="511"/>
                    <a:pt x="2429" y="511"/>
                    <a:pt x="2430" y="512"/>
                  </a:cubicBezTo>
                  <a:cubicBezTo>
                    <a:pt x="2437" y="514"/>
                    <a:pt x="2437" y="514"/>
                    <a:pt x="2437" y="514"/>
                  </a:cubicBezTo>
                  <a:cubicBezTo>
                    <a:pt x="2441" y="513"/>
                    <a:pt x="2441" y="513"/>
                    <a:pt x="2441" y="513"/>
                  </a:cubicBezTo>
                  <a:cubicBezTo>
                    <a:pt x="2445" y="514"/>
                    <a:pt x="2445" y="514"/>
                    <a:pt x="2445" y="514"/>
                  </a:cubicBezTo>
                  <a:cubicBezTo>
                    <a:pt x="2462" y="531"/>
                    <a:pt x="2462" y="531"/>
                    <a:pt x="2462" y="531"/>
                  </a:cubicBezTo>
                  <a:cubicBezTo>
                    <a:pt x="2463" y="530"/>
                    <a:pt x="2463" y="530"/>
                    <a:pt x="2463" y="530"/>
                  </a:cubicBezTo>
                  <a:cubicBezTo>
                    <a:pt x="2464" y="530"/>
                    <a:pt x="2464" y="530"/>
                    <a:pt x="2464" y="530"/>
                  </a:cubicBezTo>
                  <a:cubicBezTo>
                    <a:pt x="2466" y="530"/>
                    <a:pt x="2466" y="530"/>
                    <a:pt x="2466" y="530"/>
                  </a:cubicBezTo>
                  <a:cubicBezTo>
                    <a:pt x="2475" y="531"/>
                    <a:pt x="2475" y="531"/>
                    <a:pt x="2475" y="531"/>
                  </a:cubicBezTo>
                  <a:cubicBezTo>
                    <a:pt x="2473" y="540"/>
                    <a:pt x="2473" y="540"/>
                    <a:pt x="2473" y="540"/>
                  </a:cubicBezTo>
                  <a:cubicBezTo>
                    <a:pt x="2472" y="541"/>
                    <a:pt x="2472" y="541"/>
                    <a:pt x="2472" y="541"/>
                  </a:cubicBezTo>
                  <a:cubicBezTo>
                    <a:pt x="2473" y="541"/>
                    <a:pt x="2473" y="542"/>
                    <a:pt x="2474" y="542"/>
                  </a:cubicBezTo>
                  <a:cubicBezTo>
                    <a:pt x="2475" y="542"/>
                    <a:pt x="2475" y="543"/>
                    <a:pt x="2476" y="543"/>
                  </a:cubicBezTo>
                  <a:cubicBezTo>
                    <a:pt x="2476" y="543"/>
                    <a:pt x="2477" y="544"/>
                    <a:pt x="2477" y="545"/>
                  </a:cubicBezTo>
                  <a:cubicBezTo>
                    <a:pt x="2478" y="546"/>
                    <a:pt x="2478" y="547"/>
                    <a:pt x="2478" y="548"/>
                  </a:cubicBezTo>
                  <a:cubicBezTo>
                    <a:pt x="2479" y="549"/>
                    <a:pt x="2479" y="549"/>
                    <a:pt x="2479" y="550"/>
                  </a:cubicBezTo>
                  <a:cubicBezTo>
                    <a:pt x="2479" y="551"/>
                    <a:pt x="2479" y="553"/>
                    <a:pt x="2477" y="555"/>
                  </a:cubicBezTo>
                  <a:cubicBezTo>
                    <a:pt x="2477" y="556"/>
                    <a:pt x="2477" y="556"/>
                    <a:pt x="2477" y="557"/>
                  </a:cubicBezTo>
                  <a:cubicBezTo>
                    <a:pt x="2476" y="557"/>
                    <a:pt x="2476" y="558"/>
                    <a:pt x="2476" y="558"/>
                  </a:cubicBezTo>
                  <a:cubicBezTo>
                    <a:pt x="2476" y="559"/>
                    <a:pt x="2477" y="559"/>
                    <a:pt x="2477" y="560"/>
                  </a:cubicBezTo>
                  <a:cubicBezTo>
                    <a:pt x="2477" y="560"/>
                    <a:pt x="2478" y="560"/>
                    <a:pt x="2478" y="561"/>
                  </a:cubicBezTo>
                  <a:cubicBezTo>
                    <a:pt x="2478" y="561"/>
                    <a:pt x="2478" y="561"/>
                    <a:pt x="2478" y="561"/>
                  </a:cubicBezTo>
                  <a:cubicBezTo>
                    <a:pt x="2479" y="561"/>
                    <a:pt x="2479" y="562"/>
                    <a:pt x="2480" y="563"/>
                  </a:cubicBezTo>
                  <a:cubicBezTo>
                    <a:pt x="2480" y="563"/>
                    <a:pt x="2480" y="563"/>
                    <a:pt x="2480" y="563"/>
                  </a:cubicBezTo>
                  <a:cubicBezTo>
                    <a:pt x="2481" y="564"/>
                    <a:pt x="2481" y="564"/>
                    <a:pt x="2481" y="564"/>
                  </a:cubicBezTo>
                  <a:cubicBezTo>
                    <a:pt x="2481" y="565"/>
                    <a:pt x="2481" y="565"/>
                    <a:pt x="2482" y="566"/>
                  </a:cubicBezTo>
                  <a:cubicBezTo>
                    <a:pt x="2482" y="566"/>
                    <a:pt x="2482" y="567"/>
                    <a:pt x="2482" y="567"/>
                  </a:cubicBezTo>
                  <a:cubicBezTo>
                    <a:pt x="2482" y="567"/>
                    <a:pt x="2482" y="567"/>
                    <a:pt x="2482" y="567"/>
                  </a:cubicBezTo>
                  <a:cubicBezTo>
                    <a:pt x="2485" y="568"/>
                    <a:pt x="2489" y="568"/>
                    <a:pt x="2492" y="568"/>
                  </a:cubicBezTo>
                  <a:cubicBezTo>
                    <a:pt x="2494" y="568"/>
                    <a:pt x="2496" y="568"/>
                    <a:pt x="2499" y="568"/>
                  </a:cubicBezTo>
                  <a:cubicBezTo>
                    <a:pt x="2504" y="568"/>
                    <a:pt x="2509" y="568"/>
                    <a:pt x="2515" y="567"/>
                  </a:cubicBezTo>
                  <a:cubicBezTo>
                    <a:pt x="2516" y="567"/>
                    <a:pt x="2516" y="567"/>
                    <a:pt x="2516" y="566"/>
                  </a:cubicBezTo>
                  <a:cubicBezTo>
                    <a:pt x="2517" y="565"/>
                    <a:pt x="2517" y="564"/>
                    <a:pt x="2518" y="563"/>
                  </a:cubicBezTo>
                  <a:cubicBezTo>
                    <a:pt x="2520" y="560"/>
                    <a:pt x="2523" y="559"/>
                    <a:pt x="2525" y="558"/>
                  </a:cubicBezTo>
                  <a:cubicBezTo>
                    <a:pt x="2527" y="557"/>
                    <a:pt x="2530" y="555"/>
                    <a:pt x="2533" y="555"/>
                  </a:cubicBezTo>
                  <a:cubicBezTo>
                    <a:pt x="2536" y="555"/>
                    <a:pt x="2537" y="555"/>
                    <a:pt x="2540" y="554"/>
                  </a:cubicBezTo>
                  <a:cubicBezTo>
                    <a:pt x="2546" y="551"/>
                    <a:pt x="2546" y="551"/>
                    <a:pt x="2546" y="551"/>
                  </a:cubicBezTo>
                  <a:cubicBezTo>
                    <a:pt x="2549" y="550"/>
                    <a:pt x="2552" y="549"/>
                    <a:pt x="2556" y="548"/>
                  </a:cubicBezTo>
                  <a:cubicBezTo>
                    <a:pt x="2554" y="547"/>
                    <a:pt x="2554" y="547"/>
                    <a:pt x="2554" y="547"/>
                  </a:cubicBezTo>
                  <a:cubicBezTo>
                    <a:pt x="2566" y="546"/>
                    <a:pt x="2566" y="546"/>
                    <a:pt x="2566" y="546"/>
                  </a:cubicBezTo>
                  <a:cubicBezTo>
                    <a:pt x="2570" y="545"/>
                    <a:pt x="2573" y="545"/>
                    <a:pt x="2576" y="545"/>
                  </a:cubicBezTo>
                  <a:cubicBezTo>
                    <a:pt x="2577" y="545"/>
                    <a:pt x="2577" y="545"/>
                    <a:pt x="2577" y="545"/>
                  </a:cubicBezTo>
                  <a:cubicBezTo>
                    <a:pt x="2578" y="545"/>
                    <a:pt x="2578" y="545"/>
                    <a:pt x="2578" y="545"/>
                  </a:cubicBezTo>
                  <a:cubicBezTo>
                    <a:pt x="2579" y="545"/>
                    <a:pt x="2579" y="545"/>
                    <a:pt x="2579" y="545"/>
                  </a:cubicBezTo>
                  <a:cubicBezTo>
                    <a:pt x="2587" y="545"/>
                    <a:pt x="2587" y="545"/>
                    <a:pt x="2587" y="545"/>
                  </a:cubicBezTo>
                  <a:cubicBezTo>
                    <a:pt x="2581" y="550"/>
                    <a:pt x="2581" y="550"/>
                    <a:pt x="2581" y="550"/>
                  </a:cubicBezTo>
                  <a:cubicBezTo>
                    <a:pt x="2580" y="550"/>
                    <a:pt x="2580" y="551"/>
                    <a:pt x="2579" y="551"/>
                  </a:cubicBezTo>
                  <a:cubicBezTo>
                    <a:pt x="2577" y="553"/>
                    <a:pt x="2576" y="554"/>
                    <a:pt x="2574" y="555"/>
                  </a:cubicBezTo>
                  <a:cubicBezTo>
                    <a:pt x="2574" y="555"/>
                    <a:pt x="2574" y="555"/>
                    <a:pt x="2574" y="555"/>
                  </a:cubicBezTo>
                  <a:cubicBezTo>
                    <a:pt x="2573" y="557"/>
                    <a:pt x="2571" y="560"/>
                    <a:pt x="2571" y="561"/>
                  </a:cubicBezTo>
                  <a:cubicBezTo>
                    <a:pt x="2571" y="562"/>
                    <a:pt x="2572" y="563"/>
                    <a:pt x="2573" y="564"/>
                  </a:cubicBezTo>
                  <a:cubicBezTo>
                    <a:pt x="2574" y="565"/>
                    <a:pt x="2575" y="566"/>
                    <a:pt x="2575" y="567"/>
                  </a:cubicBezTo>
                  <a:cubicBezTo>
                    <a:pt x="2576" y="568"/>
                    <a:pt x="2576" y="568"/>
                    <a:pt x="2576" y="568"/>
                  </a:cubicBezTo>
                  <a:cubicBezTo>
                    <a:pt x="2576" y="569"/>
                    <a:pt x="2576" y="569"/>
                    <a:pt x="2576" y="569"/>
                  </a:cubicBezTo>
                  <a:cubicBezTo>
                    <a:pt x="2576" y="569"/>
                    <a:pt x="2576" y="570"/>
                    <a:pt x="2576" y="570"/>
                  </a:cubicBezTo>
                  <a:cubicBezTo>
                    <a:pt x="2576" y="575"/>
                    <a:pt x="2570" y="578"/>
                    <a:pt x="2567" y="580"/>
                  </a:cubicBezTo>
                  <a:cubicBezTo>
                    <a:pt x="2566" y="580"/>
                    <a:pt x="2566" y="580"/>
                    <a:pt x="2566" y="580"/>
                  </a:cubicBezTo>
                  <a:cubicBezTo>
                    <a:pt x="2566" y="581"/>
                    <a:pt x="2565" y="581"/>
                    <a:pt x="2565" y="581"/>
                  </a:cubicBezTo>
                  <a:cubicBezTo>
                    <a:pt x="2564" y="581"/>
                    <a:pt x="2564" y="582"/>
                    <a:pt x="2563" y="582"/>
                  </a:cubicBezTo>
                  <a:cubicBezTo>
                    <a:pt x="2563" y="583"/>
                    <a:pt x="2563" y="583"/>
                    <a:pt x="2563" y="583"/>
                  </a:cubicBezTo>
                  <a:cubicBezTo>
                    <a:pt x="2562" y="583"/>
                    <a:pt x="2562" y="584"/>
                    <a:pt x="2562" y="585"/>
                  </a:cubicBezTo>
                  <a:cubicBezTo>
                    <a:pt x="2562" y="585"/>
                    <a:pt x="2562" y="587"/>
                    <a:pt x="2562" y="588"/>
                  </a:cubicBezTo>
                  <a:cubicBezTo>
                    <a:pt x="2562" y="588"/>
                    <a:pt x="2562" y="588"/>
                    <a:pt x="2562" y="588"/>
                  </a:cubicBezTo>
                  <a:cubicBezTo>
                    <a:pt x="2561" y="590"/>
                    <a:pt x="2561" y="592"/>
                    <a:pt x="2560" y="594"/>
                  </a:cubicBezTo>
                  <a:cubicBezTo>
                    <a:pt x="2560" y="595"/>
                    <a:pt x="2560" y="595"/>
                    <a:pt x="2560" y="595"/>
                  </a:cubicBezTo>
                  <a:cubicBezTo>
                    <a:pt x="2560" y="595"/>
                    <a:pt x="2559" y="596"/>
                    <a:pt x="2559" y="597"/>
                  </a:cubicBezTo>
                  <a:cubicBezTo>
                    <a:pt x="2559" y="599"/>
                    <a:pt x="2559" y="599"/>
                    <a:pt x="2559" y="599"/>
                  </a:cubicBezTo>
                  <a:cubicBezTo>
                    <a:pt x="2558" y="600"/>
                    <a:pt x="2558" y="601"/>
                    <a:pt x="2558" y="602"/>
                  </a:cubicBezTo>
                  <a:cubicBezTo>
                    <a:pt x="2558" y="603"/>
                    <a:pt x="2557" y="604"/>
                    <a:pt x="2557" y="604"/>
                  </a:cubicBezTo>
                  <a:cubicBezTo>
                    <a:pt x="2557" y="606"/>
                    <a:pt x="2556" y="607"/>
                    <a:pt x="2555" y="607"/>
                  </a:cubicBezTo>
                  <a:cubicBezTo>
                    <a:pt x="2555" y="608"/>
                    <a:pt x="2555" y="608"/>
                    <a:pt x="2555" y="608"/>
                  </a:cubicBezTo>
                  <a:cubicBezTo>
                    <a:pt x="2555" y="608"/>
                    <a:pt x="2555" y="608"/>
                    <a:pt x="2555" y="608"/>
                  </a:cubicBezTo>
                  <a:cubicBezTo>
                    <a:pt x="2554" y="609"/>
                    <a:pt x="2554" y="609"/>
                    <a:pt x="2554" y="610"/>
                  </a:cubicBezTo>
                  <a:cubicBezTo>
                    <a:pt x="2554" y="610"/>
                    <a:pt x="2554" y="610"/>
                    <a:pt x="2554" y="610"/>
                  </a:cubicBezTo>
                  <a:cubicBezTo>
                    <a:pt x="2554" y="613"/>
                    <a:pt x="2554" y="616"/>
                    <a:pt x="2553" y="618"/>
                  </a:cubicBezTo>
                  <a:cubicBezTo>
                    <a:pt x="2552" y="621"/>
                    <a:pt x="2550" y="623"/>
                    <a:pt x="2548" y="626"/>
                  </a:cubicBezTo>
                  <a:cubicBezTo>
                    <a:pt x="2547" y="626"/>
                    <a:pt x="2547" y="627"/>
                    <a:pt x="2546" y="628"/>
                  </a:cubicBezTo>
                  <a:cubicBezTo>
                    <a:pt x="2545" y="629"/>
                    <a:pt x="2545" y="630"/>
                    <a:pt x="2545" y="632"/>
                  </a:cubicBezTo>
                  <a:cubicBezTo>
                    <a:pt x="2545" y="632"/>
                    <a:pt x="2545" y="632"/>
                    <a:pt x="2545" y="632"/>
                  </a:cubicBezTo>
                  <a:cubicBezTo>
                    <a:pt x="2550" y="633"/>
                    <a:pt x="2550" y="633"/>
                    <a:pt x="2550" y="633"/>
                  </a:cubicBezTo>
                  <a:cubicBezTo>
                    <a:pt x="2545" y="634"/>
                    <a:pt x="2545" y="634"/>
                    <a:pt x="2545" y="634"/>
                  </a:cubicBezTo>
                  <a:cubicBezTo>
                    <a:pt x="2544" y="634"/>
                    <a:pt x="2544" y="634"/>
                    <a:pt x="2544" y="634"/>
                  </a:cubicBezTo>
                  <a:cubicBezTo>
                    <a:pt x="2544" y="635"/>
                    <a:pt x="2544" y="635"/>
                    <a:pt x="2544" y="635"/>
                  </a:cubicBezTo>
                  <a:cubicBezTo>
                    <a:pt x="2544" y="635"/>
                    <a:pt x="2544" y="635"/>
                    <a:pt x="2544" y="635"/>
                  </a:cubicBezTo>
                  <a:cubicBezTo>
                    <a:pt x="2543" y="636"/>
                    <a:pt x="2543" y="636"/>
                    <a:pt x="2543" y="636"/>
                  </a:cubicBezTo>
                  <a:cubicBezTo>
                    <a:pt x="2543" y="637"/>
                    <a:pt x="2543" y="637"/>
                    <a:pt x="2543" y="637"/>
                  </a:cubicBezTo>
                  <a:cubicBezTo>
                    <a:pt x="2541" y="639"/>
                    <a:pt x="2539" y="640"/>
                    <a:pt x="2538" y="641"/>
                  </a:cubicBezTo>
                  <a:cubicBezTo>
                    <a:pt x="2537" y="642"/>
                    <a:pt x="2537" y="642"/>
                    <a:pt x="2537" y="642"/>
                  </a:cubicBezTo>
                  <a:cubicBezTo>
                    <a:pt x="2536" y="643"/>
                    <a:pt x="2536" y="643"/>
                    <a:pt x="2535" y="644"/>
                  </a:cubicBezTo>
                  <a:cubicBezTo>
                    <a:pt x="2535" y="645"/>
                    <a:pt x="2535" y="645"/>
                    <a:pt x="2535" y="646"/>
                  </a:cubicBezTo>
                  <a:cubicBezTo>
                    <a:pt x="2535" y="649"/>
                    <a:pt x="2535" y="649"/>
                    <a:pt x="2535" y="649"/>
                  </a:cubicBezTo>
                  <a:cubicBezTo>
                    <a:pt x="2536" y="649"/>
                    <a:pt x="2535" y="651"/>
                    <a:pt x="2534" y="652"/>
                  </a:cubicBezTo>
                  <a:cubicBezTo>
                    <a:pt x="2532" y="654"/>
                    <a:pt x="2529" y="655"/>
                    <a:pt x="2526" y="655"/>
                  </a:cubicBezTo>
                  <a:cubicBezTo>
                    <a:pt x="2526" y="655"/>
                    <a:pt x="2526" y="655"/>
                    <a:pt x="2525" y="655"/>
                  </a:cubicBezTo>
                  <a:cubicBezTo>
                    <a:pt x="2525" y="655"/>
                    <a:pt x="2525" y="655"/>
                    <a:pt x="2525" y="655"/>
                  </a:cubicBezTo>
                  <a:cubicBezTo>
                    <a:pt x="2523" y="655"/>
                    <a:pt x="2520" y="654"/>
                    <a:pt x="2517" y="653"/>
                  </a:cubicBezTo>
                  <a:cubicBezTo>
                    <a:pt x="2517" y="653"/>
                    <a:pt x="2517" y="653"/>
                    <a:pt x="2517" y="653"/>
                  </a:cubicBezTo>
                  <a:cubicBezTo>
                    <a:pt x="2516" y="653"/>
                    <a:pt x="2516" y="653"/>
                    <a:pt x="2515" y="652"/>
                  </a:cubicBezTo>
                  <a:cubicBezTo>
                    <a:pt x="2514" y="652"/>
                    <a:pt x="2513" y="652"/>
                    <a:pt x="2512" y="652"/>
                  </a:cubicBezTo>
                  <a:cubicBezTo>
                    <a:pt x="2509" y="651"/>
                    <a:pt x="2505" y="651"/>
                    <a:pt x="2502" y="648"/>
                  </a:cubicBezTo>
                  <a:cubicBezTo>
                    <a:pt x="2502" y="648"/>
                    <a:pt x="2502" y="648"/>
                    <a:pt x="2502" y="648"/>
                  </a:cubicBezTo>
                  <a:cubicBezTo>
                    <a:pt x="2502" y="649"/>
                    <a:pt x="2502" y="649"/>
                    <a:pt x="2502" y="649"/>
                  </a:cubicBezTo>
                  <a:cubicBezTo>
                    <a:pt x="2506" y="653"/>
                    <a:pt x="2506" y="653"/>
                    <a:pt x="2506" y="653"/>
                  </a:cubicBezTo>
                  <a:cubicBezTo>
                    <a:pt x="2501" y="650"/>
                    <a:pt x="2501" y="650"/>
                    <a:pt x="2501" y="650"/>
                  </a:cubicBezTo>
                  <a:cubicBezTo>
                    <a:pt x="2499" y="652"/>
                    <a:pt x="2497" y="654"/>
                    <a:pt x="2495" y="655"/>
                  </a:cubicBezTo>
                  <a:cubicBezTo>
                    <a:pt x="2495" y="656"/>
                    <a:pt x="2495" y="656"/>
                    <a:pt x="2495" y="656"/>
                  </a:cubicBezTo>
                  <a:cubicBezTo>
                    <a:pt x="2492" y="658"/>
                    <a:pt x="2488" y="659"/>
                    <a:pt x="2484" y="660"/>
                  </a:cubicBezTo>
                  <a:cubicBezTo>
                    <a:pt x="2484" y="660"/>
                    <a:pt x="2484" y="660"/>
                    <a:pt x="2484" y="660"/>
                  </a:cubicBezTo>
                  <a:cubicBezTo>
                    <a:pt x="2487" y="667"/>
                    <a:pt x="2489" y="675"/>
                    <a:pt x="2489" y="684"/>
                  </a:cubicBezTo>
                  <a:cubicBezTo>
                    <a:pt x="2489" y="687"/>
                    <a:pt x="2489" y="691"/>
                    <a:pt x="2490" y="694"/>
                  </a:cubicBezTo>
                  <a:cubicBezTo>
                    <a:pt x="2490" y="695"/>
                    <a:pt x="2490" y="697"/>
                    <a:pt x="2490" y="699"/>
                  </a:cubicBezTo>
                  <a:cubicBezTo>
                    <a:pt x="2491" y="703"/>
                    <a:pt x="2489" y="707"/>
                    <a:pt x="2488" y="711"/>
                  </a:cubicBezTo>
                  <a:cubicBezTo>
                    <a:pt x="2488" y="713"/>
                    <a:pt x="2488" y="713"/>
                    <a:pt x="2488" y="713"/>
                  </a:cubicBezTo>
                  <a:cubicBezTo>
                    <a:pt x="2486" y="718"/>
                    <a:pt x="2484" y="721"/>
                    <a:pt x="2478" y="722"/>
                  </a:cubicBezTo>
                  <a:cubicBezTo>
                    <a:pt x="2476" y="722"/>
                    <a:pt x="2474" y="722"/>
                    <a:pt x="2472" y="723"/>
                  </a:cubicBezTo>
                  <a:cubicBezTo>
                    <a:pt x="2473" y="724"/>
                    <a:pt x="2474" y="725"/>
                    <a:pt x="2474" y="726"/>
                  </a:cubicBezTo>
                  <a:cubicBezTo>
                    <a:pt x="2474" y="728"/>
                    <a:pt x="2474" y="728"/>
                    <a:pt x="2474" y="728"/>
                  </a:cubicBezTo>
                  <a:cubicBezTo>
                    <a:pt x="2471" y="728"/>
                    <a:pt x="2471" y="728"/>
                    <a:pt x="2471" y="728"/>
                  </a:cubicBezTo>
                  <a:cubicBezTo>
                    <a:pt x="2472" y="729"/>
                    <a:pt x="2473" y="731"/>
                    <a:pt x="2474" y="733"/>
                  </a:cubicBezTo>
                  <a:cubicBezTo>
                    <a:pt x="2476" y="731"/>
                    <a:pt x="2477" y="729"/>
                    <a:pt x="2477" y="728"/>
                  </a:cubicBezTo>
                  <a:cubicBezTo>
                    <a:pt x="2476" y="727"/>
                    <a:pt x="2474" y="725"/>
                    <a:pt x="2473" y="724"/>
                  </a:cubicBezTo>
                  <a:cubicBezTo>
                    <a:pt x="2474" y="724"/>
                    <a:pt x="2474" y="723"/>
                    <a:pt x="2474" y="723"/>
                  </a:cubicBezTo>
                  <a:cubicBezTo>
                    <a:pt x="2475" y="723"/>
                    <a:pt x="2475" y="724"/>
                    <a:pt x="2476" y="724"/>
                  </a:cubicBezTo>
                  <a:cubicBezTo>
                    <a:pt x="2475" y="725"/>
                    <a:pt x="2475" y="725"/>
                    <a:pt x="2475" y="725"/>
                  </a:cubicBezTo>
                  <a:cubicBezTo>
                    <a:pt x="2476" y="725"/>
                    <a:pt x="2478" y="725"/>
                    <a:pt x="2479" y="725"/>
                  </a:cubicBezTo>
                  <a:cubicBezTo>
                    <a:pt x="2478" y="725"/>
                    <a:pt x="2478" y="725"/>
                    <a:pt x="2477" y="725"/>
                  </a:cubicBezTo>
                  <a:cubicBezTo>
                    <a:pt x="2477" y="725"/>
                    <a:pt x="2476" y="725"/>
                    <a:pt x="2476" y="725"/>
                  </a:cubicBezTo>
                  <a:cubicBezTo>
                    <a:pt x="2477" y="726"/>
                    <a:pt x="2477" y="726"/>
                    <a:pt x="2477" y="726"/>
                  </a:cubicBezTo>
                  <a:cubicBezTo>
                    <a:pt x="2478" y="726"/>
                    <a:pt x="2479" y="725"/>
                    <a:pt x="2480" y="725"/>
                  </a:cubicBezTo>
                  <a:cubicBezTo>
                    <a:pt x="2481" y="725"/>
                    <a:pt x="2482" y="725"/>
                    <a:pt x="2482" y="725"/>
                  </a:cubicBezTo>
                  <a:cubicBezTo>
                    <a:pt x="2484" y="725"/>
                    <a:pt x="2484" y="726"/>
                    <a:pt x="2486" y="727"/>
                  </a:cubicBezTo>
                  <a:cubicBezTo>
                    <a:pt x="2485" y="724"/>
                    <a:pt x="2491" y="720"/>
                    <a:pt x="2492" y="717"/>
                  </a:cubicBezTo>
                  <a:cubicBezTo>
                    <a:pt x="2494" y="715"/>
                    <a:pt x="2495" y="713"/>
                    <a:pt x="2496" y="711"/>
                  </a:cubicBezTo>
                  <a:cubicBezTo>
                    <a:pt x="2496" y="710"/>
                    <a:pt x="2496" y="710"/>
                    <a:pt x="2496" y="710"/>
                  </a:cubicBezTo>
                  <a:cubicBezTo>
                    <a:pt x="2496" y="707"/>
                    <a:pt x="2499" y="704"/>
                    <a:pt x="2502" y="704"/>
                  </a:cubicBezTo>
                  <a:cubicBezTo>
                    <a:pt x="2504" y="704"/>
                    <a:pt x="2505" y="704"/>
                    <a:pt x="2506" y="705"/>
                  </a:cubicBezTo>
                  <a:cubicBezTo>
                    <a:pt x="2506" y="705"/>
                    <a:pt x="2506" y="705"/>
                    <a:pt x="2506" y="705"/>
                  </a:cubicBezTo>
                  <a:cubicBezTo>
                    <a:pt x="2507" y="706"/>
                    <a:pt x="2508" y="707"/>
                    <a:pt x="2509" y="709"/>
                  </a:cubicBezTo>
                  <a:cubicBezTo>
                    <a:pt x="2511" y="707"/>
                    <a:pt x="2512" y="705"/>
                    <a:pt x="2512" y="705"/>
                  </a:cubicBezTo>
                  <a:cubicBezTo>
                    <a:pt x="2512" y="707"/>
                    <a:pt x="2511" y="717"/>
                    <a:pt x="2513" y="719"/>
                  </a:cubicBezTo>
                  <a:cubicBezTo>
                    <a:pt x="2513" y="719"/>
                    <a:pt x="2513" y="719"/>
                    <a:pt x="2513" y="719"/>
                  </a:cubicBezTo>
                  <a:cubicBezTo>
                    <a:pt x="2514" y="719"/>
                    <a:pt x="2513" y="717"/>
                    <a:pt x="2514" y="717"/>
                  </a:cubicBezTo>
                  <a:cubicBezTo>
                    <a:pt x="2514" y="717"/>
                    <a:pt x="2514" y="717"/>
                    <a:pt x="2514" y="717"/>
                  </a:cubicBezTo>
                  <a:cubicBezTo>
                    <a:pt x="2515" y="717"/>
                    <a:pt x="2516" y="718"/>
                    <a:pt x="2517" y="718"/>
                  </a:cubicBezTo>
                  <a:cubicBezTo>
                    <a:pt x="2517" y="718"/>
                    <a:pt x="2518" y="718"/>
                    <a:pt x="2518" y="718"/>
                  </a:cubicBezTo>
                  <a:cubicBezTo>
                    <a:pt x="2520" y="718"/>
                    <a:pt x="2522" y="717"/>
                    <a:pt x="2523" y="717"/>
                  </a:cubicBezTo>
                  <a:cubicBezTo>
                    <a:pt x="2523" y="717"/>
                    <a:pt x="2523" y="717"/>
                    <a:pt x="2523" y="717"/>
                  </a:cubicBezTo>
                  <a:cubicBezTo>
                    <a:pt x="2524" y="717"/>
                    <a:pt x="2526" y="719"/>
                    <a:pt x="2527" y="720"/>
                  </a:cubicBezTo>
                  <a:cubicBezTo>
                    <a:pt x="2529" y="722"/>
                    <a:pt x="2531" y="724"/>
                    <a:pt x="2532" y="724"/>
                  </a:cubicBezTo>
                  <a:cubicBezTo>
                    <a:pt x="2532" y="724"/>
                    <a:pt x="2532" y="724"/>
                    <a:pt x="2533" y="724"/>
                  </a:cubicBezTo>
                  <a:cubicBezTo>
                    <a:pt x="2534" y="723"/>
                    <a:pt x="2535" y="722"/>
                    <a:pt x="2537" y="721"/>
                  </a:cubicBezTo>
                  <a:cubicBezTo>
                    <a:pt x="2541" y="720"/>
                    <a:pt x="2545" y="719"/>
                    <a:pt x="2549" y="719"/>
                  </a:cubicBezTo>
                  <a:cubicBezTo>
                    <a:pt x="2555" y="717"/>
                    <a:pt x="2561" y="712"/>
                    <a:pt x="2566" y="708"/>
                  </a:cubicBezTo>
                  <a:cubicBezTo>
                    <a:pt x="2571" y="705"/>
                    <a:pt x="2578" y="703"/>
                    <a:pt x="2582" y="699"/>
                  </a:cubicBezTo>
                  <a:cubicBezTo>
                    <a:pt x="2586" y="696"/>
                    <a:pt x="2590" y="691"/>
                    <a:pt x="2592" y="686"/>
                  </a:cubicBezTo>
                  <a:cubicBezTo>
                    <a:pt x="2593" y="685"/>
                    <a:pt x="2595" y="679"/>
                    <a:pt x="2596" y="678"/>
                  </a:cubicBezTo>
                  <a:cubicBezTo>
                    <a:pt x="2599" y="675"/>
                    <a:pt x="2603" y="672"/>
                    <a:pt x="2606" y="670"/>
                  </a:cubicBezTo>
                  <a:cubicBezTo>
                    <a:pt x="2611" y="665"/>
                    <a:pt x="2615" y="659"/>
                    <a:pt x="2619" y="654"/>
                  </a:cubicBezTo>
                  <a:cubicBezTo>
                    <a:pt x="2624" y="648"/>
                    <a:pt x="2631" y="643"/>
                    <a:pt x="2636" y="637"/>
                  </a:cubicBezTo>
                  <a:cubicBezTo>
                    <a:pt x="2641" y="633"/>
                    <a:pt x="2645" y="629"/>
                    <a:pt x="2649" y="624"/>
                  </a:cubicBezTo>
                  <a:cubicBezTo>
                    <a:pt x="2653" y="618"/>
                    <a:pt x="2659" y="612"/>
                    <a:pt x="2662" y="605"/>
                  </a:cubicBezTo>
                  <a:cubicBezTo>
                    <a:pt x="2664" y="600"/>
                    <a:pt x="2665" y="594"/>
                    <a:pt x="2668" y="590"/>
                  </a:cubicBezTo>
                  <a:cubicBezTo>
                    <a:pt x="2672" y="585"/>
                    <a:pt x="2677" y="582"/>
                    <a:pt x="2680" y="576"/>
                  </a:cubicBezTo>
                  <a:cubicBezTo>
                    <a:pt x="2682" y="571"/>
                    <a:pt x="2684" y="567"/>
                    <a:pt x="2688" y="564"/>
                  </a:cubicBezTo>
                  <a:cubicBezTo>
                    <a:pt x="2692" y="559"/>
                    <a:pt x="2698" y="556"/>
                    <a:pt x="2702" y="551"/>
                  </a:cubicBezTo>
                  <a:cubicBezTo>
                    <a:pt x="2705" y="546"/>
                    <a:pt x="2707" y="539"/>
                    <a:pt x="2710" y="534"/>
                  </a:cubicBezTo>
                  <a:cubicBezTo>
                    <a:pt x="2711" y="532"/>
                    <a:pt x="2712" y="529"/>
                    <a:pt x="2710" y="529"/>
                  </a:cubicBezTo>
                  <a:cubicBezTo>
                    <a:pt x="2709" y="529"/>
                    <a:pt x="2709" y="529"/>
                    <a:pt x="2708" y="529"/>
                  </a:cubicBezTo>
                  <a:cubicBezTo>
                    <a:pt x="2710" y="524"/>
                    <a:pt x="2715" y="517"/>
                    <a:pt x="2716" y="511"/>
                  </a:cubicBezTo>
                  <a:cubicBezTo>
                    <a:pt x="2716" y="510"/>
                    <a:pt x="2715" y="508"/>
                    <a:pt x="2715" y="506"/>
                  </a:cubicBezTo>
                  <a:cubicBezTo>
                    <a:pt x="2715" y="503"/>
                    <a:pt x="2712" y="503"/>
                    <a:pt x="2713" y="500"/>
                  </a:cubicBezTo>
                  <a:cubicBezTo>
                    <a:pt x="2714" y="497"/>
                    <a:pt x="2717" y="497"/>
                    <a:pt x="2719" y="495"/>
                  </a:cubicBezTo>
                  <a:cubicBezTo>
                    <a:pt x="2718" y="495"/>
                    <a:pt x="2718" y="495"/>
                    <a:pt x="2718" y="495"/>
                  </a:cubicBezTo>
                  <a:cubicBezTo>
                    <a:pt x="2716" y="495"/>
                    <a:pt x="2715" y="494"/>
                    <a:pt x="2715" y="490"/>
                  </a:cubicBezTo>
                  <a:cubicBezTo>
                    <a:pt x="2715" y="487"/>
                    <a:pt x="2715" y="485"/>
                    <a:pt x="2714" y="483"/>
                  </a:cubicBezTo>
                  <a:cubicBezTo>
                    <a:pt x="2714" y="477"/>
                    <a:pt x="2713" y="474"/>
                    <a:pt x="2716" y="469"/>
                  </a:cubicBezTo>
                  <a:cubicBezTo>
                    <a:pt x="2719" y="465"/>
                    <a:pt x="2718" y="460"/>
                    <a:pt x="2719" y="455"/>
                  </a:cubicBezTo>
                  <a:cubicBezTo>
                    <a:pt x="2719" y="454"/>
                    <a:pt x="2721" y="453"/>
                    <a:pt x="2722" y="453"/>
                  </a:cubicBezTo>
                  <a:cubicBezTo>
                    <a:pt x="2725" y="451"/>
                    <a:pt x="2722" y="451"/>
                    <a:pt x="2722" y="450"/>
                  </a:cubicBezTo>
                  <a:cubicBezTo>
                    <a:pt x="2723" y="444"/>
                    <a:pt x="2733" y="438"/>
                    <a:pt x="2737" y="434"/>
                  </a:cubicBezTo>
                  <a:cubicBezTo>
                    <a:pt x="2732" y="430"/>
                    <a:pt x="2736" y="429"/>
                    <a:pt x="2740" y="425"/>
                  </a:cubicBezTo>
                  <a:cubicBezTo>
                    <a:pt x="2739" y="425"/>
                    <a:pt x="2739" y="426"/>
                    <a:pt x="2738" y="426"/>
                  </a:cubicBezTo>
                  <a:cubicBezTo>
                    <a:pt x="2735" y="426"/>
                    <a:pt x="2732" y="420"/>
                    <a:pt x="2730" y="418"/>
                  </a:cubicBezTo>
                  <a:cubicBezTo>
                    <a:pt x="2729" y="417"/>
                    <a:pt x="2731" y="417"/>
                    <a:pt x="2732" y="416"/>
                  </a:cubicBezTo>
                  <a:cubicBezTo>
                    <a:pt x="2733" y="413"/>
                    <a:pt x="2733" y="408"/>
                    <a:pt x="2733" y="404"/>
                  </a:cubicBezTo>
                  <a:cubicBezTo>
                    <a:pt x="2732" y="404"/>
                    <a:pt x="2732" y="404"/>
                    <a:pt x="2732" y="404"/>
                  </a:cubicBezTo>
                  <a:cubicBezTo>
                    <a:pt x="2730" y="404"/>
                    <a:pt x="2729" y="403"/>
                    <a:pt x="2727" y="402"/>
                  </a:cubicBezTo>
                  <a:cubicBezTo>
                    <a:pt x="2726" y="401"/>
                    <a:pt x="2726" y="399"/>
                    <a:pt x="2724" y="398"/>
                  </a:cubicBezTo>
                  <a:cubicBezTo>
                    <a:pt x="2723" y="397"/>
                    <a:pt x="2721" y="397"/>
                    <a:pt x="2720" y="395"/>
                  </a:cubicBezTo>
                  <a:cubicBezTo>
                    <a:pt x="2723" y="397"/>
                    <a:pt x="2727" y="398"/>
                    <a:pt x="2731" y="399"/>
                  </a:cubicBezTo>
                  <a:cubicBezTo>
                    <a:pt x="2731" y="400"/>
                    <a:pt x="2731" y="400"/>
                    <a:pt x="2732" y="400"/>
                  </a:cubicBezTo>
                  <a:cubicBezTo>
                    <a:pt x="2732" y="400"/>
                    <a:pt x="2732" y="399"/>
                    <a:pt x="2732" y="398"/>
                  </a:cubicBezTo>
                  <a:cubicBezTo>
                    <a:pt x="2736" y="397"/>
                    <a:pt x="2737" y="395"/>
                    <a:pt x="2737" y="392"/>
                  </a:cubicBezTo>
                  <a:cubicBezTo>
                    <a:pt x="2737" y="387"/>
                    <a:pt x="2728" y="385"/>
                    <a:pt x="2724" y="382"/>
                  </a:cubicBezTo>
                  <a:cubicBezTo>
                    <a:pt x="2720" y="380"/>
                    <a:pt x="2717" y="378"/>
                    <a:pt x="2713" y="375"/>
                  </a:cubicBezTo>
                  <a:cubicBezTo>
                    <a:pt x="2708" y="370"/>
                    <a:pt x="2703" y="364"/>
                    <a:pt x="2699" y="357"/>
                  </a:cubicBezTo>
                  <a:cubicBezTo>
                    <a:pt x="2698" y="357"/>
                    <a:pt x="2696" y="356"/>
                    <a:pt x="2694" y="356"/>
                  </a:cubicBezTo>
                  <a:cubicBezTo>
                    <a:pt x="2693" y="356"/>
                    <a:pt x="2691" y="356"/>
                    <a:pt x="2690" y="357"/>
                  </a:cubicBezTo>
                  <a:cubicBezTo>
                    <a:pt x="2689" y="357"/>
                    <a:pt x="2688" y="357"/>
                    <a:pt x="2687" y="357"/>
                  </a:cubicBezTo>
                  <a:cubicBezTo>
                    <a:pt x="2686" y="357"/>
                    <a:pt x="2686" y="357"/>
                    <a:pt x="2686" y="357"/>
                  </a:cubicBezTo>
                  <a:cubicBezTo>
                    <a:pt x="2680" y="356"/>
                    <a:pt x="2675" y="356"/>
                    <a:pt x="2669" y="356"/>
                  </a:cubicBezTo>
                  <a:cubicBezTo>
                    <a:pt x="2673" y="357"/>
                    <a:pt x="2670" y="361"/>
                    <a:pt x="2669" y="363"/>
                  </a:cubicBezTo>
                  <a:cubicBezTo>
                    <a:pt x="2670" y="363"/>
                    <a:pt x="2671" y="363"/>
                    <a:pt x="2671" y="363"/>
                  </a:cubicBezTo>
                  <a:cubicBezTo>
                    <a:pt x="2673" y="363"/>
                    <a:pt x="2670" y="369"/>
                    <a:pt x="2670" y="370"/>
                  </a:cubicBezTo>
                  <a:cubicBezTo>
                    <a:pt x="2669" y="371"/>
                    <a:pt x="2670" y="371"/>
                    <a:pt x="2670" y="372"/>
                  </a:cubicBezTo>
                  <a:cubicBezTo>
                    <a:pt x="2669" y="374"/>
                    <a:pt x="2667" y="377"/>
                    <a:pt x="2666" y="379"/>
                  </a:cubicBezTo>
                  <a:cubicBezTo>
                    <a:pt x="2663" y="383"/>
                    <a:pt x="2662" y="382"/>
                    <a:pt x="2658" y="383"/>
                  </a:cubicBezTo>
                  <a:cubicBezTo>
                    <a:pt x="2659" y="381"/>
                    <a:pt x="2660" y="379"/>
                    <a:pt x="2661" y="378"/>
                  </a:cubicBezTo>
                  <a:cubicBezTo>
                    <a:pt x="2663" y="376"/>
                    <a:pt x="2664" y="375"/>
                    <a:pt x="2666" y="373"/>
                  </a:cubicBezTo>
                  <a:cubicBezTo>
                    <a:pt x="2667" y="372"/>
                    <a:pt x="2669" y="367"/>
                    <a:pt x="2666" y="367"/>
                  </a:cubicBezTo>
                  <a:cubicBezTo>
                    <a:pt x="2666" y="367"/>
                    <a:pt x="2666" y="367"/>
                    <a:pt x="2665" y="367"/>
                  </a:cubicBezTo>
                  <a:cubicBezTo>
                    <a:pt x="2663" y="367"/>
                    <a:pt x="2656" y="375"/>
                    <a:pt x="2655" y="376"/>
                  </a:cubicBezTo>
                  <a:cubicBezTo>
                    <a:pt x="2652" y="379"/>
                    <a:pt x="2649" y="381"/>
                    <a:pt x="2645" y="381"/>
                  </a:cubicBezTo>
                  <a:cubicBezTo>
                    <a:pt x="2644" y="381"/>
                    <a:pt x="2643" y="381"/>
                    <a:pt x="2641" y="381"/>
                  </a:cubicBezTo>
                  <a:cubicBezTo>
                    <a:pt x="2638" y="381"/>
                    <a:pt x="2633" y="381"/>
                    <a:pt x="2634" y="379"/>
                  </a:cubicBezTo>
                  <a:cubicBezTo>
                    <a:pt x="2634" y="377"/>
                    <a:pt x="2639" y="377"/>
                    <a:pt x="2640" y="376"/>
                  </a:cubicBezTo>
                  <a:cubicBezTo>
                    <a:pt x="2642" y="375"/>
                    <a:pt x="2642" y="373"/>
                    <a:pt x="2643" y="371"/>
                  </a:cubicBezTo>
                  <a:cubicBezTo>
                    <a:pt x="2644" y="371"/>
                    <a:pt x="2649" y="368"/>
                    <a:pt x="2647" y="368"/>
                  </a:cubicBezTo>
                  <a:cubicBezTo>
                    <a:pt x="2644" y="368"/>
                    <a:pt x="2643" y="367"/>
                    <a:pt x="2640" y="366"/>
                  </a:cubicBezTo>
                  <a:cubicBezTo>
                    <a:pt x="2637" y="364"/>
                    <a:pt x="2633" y="363"/>
                    <a:pt x="2639" y="363"/>
                  </a:cubicBezTo>
                  <a:cubicBezTo>
                    <a:pt x="2640" y="363"/>
                    <a:pt x="2642" y="360"/>
                    <a:pt x="2641" y="359"/>
                  </a:cubicBezTo>
                  <a:cubicBezTo>
                    <a:pt x="2640" y="357"/>
                    <a:pt x="2639" y="356"/>
                    <a:pt x="2638" y="356"/>
                  </a:cubicBezTo>
                  <a:cubicBezTo>
                    <a:pt x="2636" y="356"/>
                    <a:pt x="2635" y="357"/>
                    <a:pt x="2633" y="358"/>
                  </a:cubicBezTo>
                  <a:cubicBezTo>
                    <a:pt x="2630" y="360"/>
                    <a:pt x="2629" y="361"/>
                    <a:pt x="2631" y="363"/>
                  </a:cubicBezTo>
                  <a:cubicBezTo>
                    <a:pt x="2633" y="365"/>
                    <a:pt x="2635" y="364"/>
                    <a:pt x="2635" y="366"/>
                  </a:cubicBezTo>
                  <a:cubicBezTo>
                    <a:pt x="2634" y="368"/>
                    <a:pt x="2625" y="373"/>
                    <a:pt x="2622" y="373"/>
                  </a:cubicBezTo>
                  <a:cubicBezTo>
                    <a:pt x="2622" y="373"/>
                    <a:pt x="2621" y="373"/>
                    <a:pt x="2621" y="373"/>
                  </a:cubicBezTo>
                  <a:cubicBezTo>
                    <a:pt x="2617" y="370"/>
                    <a:pt x="2621" y="366"/>
                    <a:pt x="2622" y="364"/>
                  </a:cubicBezTo>
                  <a:cubicBezTo>
                    <a:pt x="2624" y="362"/>
                    <a:pt x="2623" y="360"/>
                    <a:pt x="2622" y="358"/>
                  </a:cubicBezTo>
                  <a:cubicBezTo>
                    <a:pt x="2623" y="357"/>
                    <a:pt x="2623" y="357"/>
                    <a:pt x="2623" y="357"/>
                  </a:cubicBezTo>
                  <a:cubicBezTo>
                    <a:pt x="2623" y="357"/>
                    <a:pt x="2622" y="357"/>
                    <a:pt x="2622" y="356"/>
                  </a:cubicBezTo>
                  <a:cubicBezTo>
                    <a:pt x="2622" y="356"/>
                    <a:pt x="2623" y="356"/>
                    <a:pt x="2623" y="356"/>
                  </a:cubicBezTo>
                  <a:cubicBezTo>
                    <a:pt x="2623" y="355"/>
                    <a:pt x="2623" y="355"/>
                    <a:pt x="2623" y="355"/>
                  </a:cubicBezTo>
                  <a:cubicBezTo>
                    <a:pt x="2623" y="354"/>
                    <a:pt x="2622" y="353"/>
                    <a:pt x="2622" y="352"/>
                  </a:cubicBezTo>
                  <a:cubicBezTo>
                    <a:pt x="2622" y="352"/>
                    <a:pt x="2622" y="352"/>
                    <a:pt x="2622" y="352"/>
                  </a:cubicBezTo>
                  <a:cubicBezTo>
                    <a:pt x="2622" y="352"/>
                    <a:pt x="2623" y="352"/>
                    <a:pt x="2623" y="352"/>
                  </a:cubicBezTo>
                  <a:cubicBezTo>
                    <a:pt x="2623" y="352"/>
                    <a:pt x="2623" y="352"/>
                    <a:pt x="2623" y="352"/>
                  </a:cubicBezTo>
                  <a:cubicBezTo>
                    <a:pt x="2623" y="352"/>
                    <a:pt x="2623" y="352"/>
                    <a:pt x="2624" y="352"/>
                  </a:cubicBezTo>
                  <a:cubicBezTo>
                    <a:pt x="2624" y="350"/>
                    <a:pt x="2624" y="350"/>
                    <a:pt x="2624" y="350"/>
                  </a:cubicBezTo>
                  <a:cubicBezTo>
                    <a:pt x="2624" y="349"/>
                    <a:pt x="2624" y="346"/>
                    <a:pt x="2622" y="345"/>
                  </a:cubicBezTo>
                  <a:cubicBezTo>
                    <a:pt x="2620" y="343"/>
                    <a:pt x="2617" y="343"/>
                    <a:pt x="2614" y="343"/>
                  </a:cubicBezTo>
                  <a:cubicBezTo>
                    <a:pt x="2613" y="343"/>
                    <a:pt x="2612" y="343"/>
                    <a:pt x="2611" y="343"/>
                  </a:cubicBezTo>
                  <a:cubicBezTo>
                    <a:pt x="2609" y="343"/>
                    <a:pt x="2608" y="343"/>
                    <a:pt x="2607" y="343"/>
                  </a:cubicBezTo>
                  <a:cubicBezTo>
                    <a:pt x="2607" y="343"/>
                    <a:pt x="2607" y="343"/>
                    <a:pt x="2606" y="343"/>
                  </a:cubicBezTo>
                  <a:cubicBezTo>
                    <a:pt x="2599" y="343"/>
                    <a:pt x="2592" y="343"/>
                    <a:pt x="2585" y="342"/>
                  </a:cubicBezTo>
                  <a:cubicBezTo>
                    <a:pt x="2586" y="340"/>
                    <a:pt x="2583" y="339"/>
                    <a:pt x="2583" y="337"/>
                  </a:cubicBezTo>
                  <a:cubicBezTo>
                    <a:pt x="2583" y="335"/>
                    <a:pt x="2586" y="333"/>
                    <a:pt x="2587" y="332"/>
                  </a:cubicBezTo>
                  <a:cubicBezTo>
                    <a:pt x="2591" y="329"/>
                    <a:pt x="2595" y="328"/>
                    <a:pt x="2598" y="325"/>
                  </a:cubicBezTo>
                  <a:cubicBezTo>
                    <a:pt x="2603" y="323"/>
                    <a:pt x="2607" y="321"/>
                    <a:pt x="2611" y="317"/>
                  </a:cubicBezTo>
                  <a:cubicBezTo>
                    <a:pt x="2615" y="312"/>
                    <a:pt x="2624" y="308"/>
                    <a:pt x="2630" y="305"/>
                  </a:cubicBezTo>
                  <a:cubicBezTo>
                    <a:pt x="2636" y="301"/>
                    <a:pt x="2641" y="298"/>
                    <a:pt x="2646" y="293"/>
                  </a:cubicBezTo>
                  <a:cubicBezTo>
                    <a:pt x="2648" y="292"/>
                    <a:pt x="2659" y="284"/>
                    <a:pt x="2659" y="281"/>
                  </a:cubicBezTo>
                  <a:cubicBezTo>
                    <a:pt x="2659" y="281"/>
                    <a:pt x="2656" y="281"/>
                    <a:pt x="2656" y="280"/>
                  </a:cubicBezTo>
                  <a:cubicBezTo>
                    <a:pt x="2656" y="278"/>
                    <a:pt x="2660" y="274"/>
                    <a:pt x="2661" y="273"/>
                  </a:cubicBezTo>
                  <a:cubicBezTo>
                    <a:pt x="2665" y="267"/>
                    <a:pt x="2668" y="263"/>
                    <a:pt x="2674" y="259"/>
                  </a:cubicBezTo>
                  <a:cubicBezTo>
                    <a:pt x="2682" y="253"/>
                    <a:pt x="2690" y="247"/>
                    <a:pt x="2697" y="241"/>
                  </a:cubicBezTo>
                  <a:cubicBezTo>
                    <a:pt x="2702" y="238"/>
                    <a:pt x="2707" y="236"/>
                    <a:pt x="2713" y="234"/>
                  </a:cubicBezTo>
                  <a:cubicBezTo>
                    <a:pt x="2715" y="233"/>
                    <a:pt x="2715" y="231"/>
                    <a:pt x="2715" y="229"/>
                  </a:cubicBezTo>
                  <a:cubicBezTo>
                    <a:pt x="2716" y="225"/>
                    <a:pt x="2718" y="222"/>
                    <a:pt x="2720" y="218"/>
                  </a:cubicBezTo>
                  <a:cubicBezTo>
                    <a:pt x="2722" y="215"/>
                    <a:pt x="2724" y="214"/>
                    <a:pt x="2727" y="212"/>
                  </a:cubicBezTo>
                  <a:cubicBezTo>
                    <a:pt x="2734" y="206"/>
                    <a:pt x="2742" y="200"/>
                    <a:pt x="2749" y="194"/>
                  </a:cubicBezTo>
                  <a:cubicBezTo>
                    <a:pt x="2753" y="190"/>
                    <a:pt x="2758" y="187"/>
                    <a:pt x="2763" y="184"/>
                  </a:cubicBezTo>
                  <a:cubicBezTo>
                    <a:pt x="2768" y="181"/>
                    <a:pt x="2776" y="177"/>
                    <a:pt x="2782" y="177"/>
                  </a:cubicBezTo>
                  <a:cubicBezTo>
                    <a:pt x="2782" y="177"/>
                    <a:pt x="2782" y="177"/>
                    <a:pt x="2782" y="177"/>
                  </a:cubicBezTo>
                  <a:cubicBezTo>
                    <a:pt x="2784" y="177"/>
                    <a:pt x="2785" y="179"/>
                    <a:pt x="2787" y="179"/>
                  </a:cubicBezTo>
                  <a:cubicBezTo>
                    <a:pt x="2788" y="179"/>
                    <a:pt x="2788" y="179"/>
                    <a:pt x="2788" y="179"/>
                  </a:cubicBezTo>
                  <a:cubicBezTo>
                    <a:pt x="2791" y="179"/>
                    <a:pt x="2795" y="176"/>
                    <a:pt x="2798" y="176"/>
                  </a:cubicBezTo>
                  <a:cubicBezTo>
                    <a:pt x="2799" y="176"/>
                    <a:pt x="2800" y="176"/>
                    <a:pt x="2801" y="176"/>
                  </a:cubicBezTo>
                  <a:cubicBezTo>
                    <a:pt x="2804" y="176"/>
                    <a:pt x="2807" y="176"/>
                    <a:pt x="2810" y="177"/>
                  </a:cubicBezTo>
                  <a:cubicBezTo>
                    <a:pt x="2810" y="177"/>
                    <a:pt x="2811" y="177"/>
                    <a:pt x="2812" y="177"/>
                  </a:cubicBezTo>
                  <a:cubicBezTo>
                    <a:pt x="2813" y="177"/>
                    <a:pt x="2816" y="177"/>
                    <a:pt x="2817" y="177"/>
                  </a:cubicBezTo>
                  <a:cubicBezTo>
                    <a:pt x="2817" y="177"/>
                    <a:pt x="2817" y="177"/>
                    <a:pt x="2817" y="177"/>
                  </a:cubicBezTo>
                  <a:cubicBezTo>
                    <a:pt x="2818" y="177"/>
                    <a:pt x="2819" y="177"/>
                    <a:pt x="2820" y="177"/>
                  </a:cubicBezTo>
                  <a:cubicBezTo>
                    <a:pt x="2821" y="177"/>
                    <a:pt x="2821" y="177"/>
                    <a:pt x="2822" y="177"/>
                  </a:cubicBezTo>
                  <a:cubicBezTo>
                    <a:pt x="2823" y="177"/>
                    <a:pt x="2823" y="177"/>
                    <a:pt x="2823" y="177"/>
                  </a:cubicBezTo>
                  <a:cubicBezTo>
                    <a:pt x="2826" y="177"/>
                    <a:pt x="2829" y="176"/>
                    <a:pt x="2832" y="176"/>
                  </a:cubicBezTo>
                  <a:cubicBezTo>
                    <a:pt x="2832" y="176"/>
                    <a:pt x="2832" y="176"/>
                    <a:pt x="2832" y="176"/>
                  </a:cubicBezTo>
                  <a:cubicBezTo>
                    <a:pt x="2833" y="176"/>
                    <a:pt x="2834" y="176"/>
                    <a:pt x="2835" y="176"/>
                  </a:cubicBezTo>
                  <a:cubicBezTo>
                    <a:pt x="2835" y="176"/>
                    <a:pt x="2835" y="176"/>
                    <a:pt x="2835" y="176"/>
                  </a:cubicBezTo>
                  <a:cubicBezTo>
                    <a:pt x="2837" y="176"/>
                    <a:pt x="2838" y="176"/>
                    <a:pt x="2839" y="176"/>
                  </a:cubicBezTo>
                  <a:cubicBezTo>
                    <a:pt x="2840" y="176"/>
                    <a:pt x="2841" y="176"/>
                    <a:pt x="2843" y="176"/>
                  </a:cubicBezTo>
                  <a:cubicBezTo>
                    <a:pt x="2845" y="176"/>
                    <a:pt x="2847" y="176"/>
                    <a:pt x="2848" y="176"/>
                  </a:cubicBezTo>
                  <a:cubicBezTo>
                    <a:pt x="2849" y="178"/>
                    <a:pt x="2844" y="180"/>
                    <a:pt x="2845" y="182"/>
                  </a:cubicBezTo>
                  <a:cubicBezTo>
                    <a:pt x="2846" y="183"/>
                    <a:pt x="2852" y="184"/>
                    <a:pt x="2856" y="184"/>
                  </a:cubicBezTo>
                  <a:cubicBezTo>
                    <a:pt x="2857" y="184"/>
                    <a:pt x="2858" y="184"/>
                    <a:pt x="2858" y="184"/>
                  </a:cubicBezTo>
                  <a:cubicBezTo>
                    <a:pt x="2859" y="183"/>
                    <a:pt x="2857" y="182"/>
                    <a:pt x="2858" y="182"/>
                  </a:cubicBezTo>
                  <a:cubicBezTo>
                    <a:pt x="2858" y="179"/>
                    <a:pt x="2859" y="178"/>
                    <a:pt x="2860" y="176"/>
                  </a:cubicBezTo>
                  <a:cubicBezTo>
                    <a:pt x="2861" y="175"/>
                    <a:pt x="2862" y="174"/>
                    <a:pt x="2863" y="174"/>
                  </a:cubicBezTo>
                  <a:cubicBezTo>
                    <a:pt x="2866" y="174"/>
                    <a:pt x="2869" y="176"/>
                    <a:pt x="2872" y="178"/>
                  </a:cubicBezTo>
                  <a:cubicBezTo>
                    <a:pt x="2877" y="179"/>
                    <a:pt x="2883" y="182"/>
                    <a:pt x="2888" y="182"/>
                  </a:cubicBezTo>
                  <a:cubicBezTo>
                    <a:pt x="2890" y="182"/>
                    <a:pt x="2892" y="182"/>
                    <a:pt x="2894" y="181"/>
                  </a:cubicBezTo>
                  <a:cubicBezTo>
                    <a:pt x="2898" y="179"/>
                    <a:pt x="2901" y="177"/>
                    <a:pt x="2905" y="176"/>
                  </a:cubicBezTo>
                  <a:cubicBezTo>
                    <a:pt x="2905" y="176"/>
                    <a:pt x="2906" y="176"/>
                    <a:pt x="2906" y="176"/>
                  </a:cubicBezTo>
                  <a:cubicBezTo>
                    <a:pt x="2908" y="176"/>
                    <a:pt x="2912" y="179"/>
                    <a:pt x="2914" y="179"/>
                  </a:cubicBezTo>
                  <a:cubicBezTo>
                    <a:pt x="2915" y="180"/>
                    <a:pt x="2918" y="182"/>
                    <a:pt x="2920" y="182"/>
                  </a:cubicBezTo>
                  <a:cubicBezTo>
                    <a:pt x="2920" y="182"/>
                    <a:pt x="2920" y="182"/>
                    <a:pt x="2920" y="182"/>
                  </a:cubicBezTo>
                  <a:cubicBezTo>
                    <a:pt x="2920" y="182"/>
                    <a:pt x="2921" y="182"/>
                    <a:pt x="2921" y="182"/>
                  </a:cubicBezTo>
                  <a:cubicBezTo>
                    <a:pt x="2921" y="182"/>
                    <a:pt x="2921" y="182"/>
                    <a:pt x="2921" y="182"/>
                  </a:cubicBezTo>
                  <a:cubicBezTo>
                    <a:pt x="2921" y="182"/>
                    <a:pt x="2922" y="182"/>
                    <a:pt x="2922" y="182"/>
                  </a:cubicBezTo>
                  <a:cubicBezTo>
                    <a:pt x="2922" y="182"/>
                    <a:pt x="2922" y="182"/>
                    <a:pt x="2922" y="180"/>
                  </a:cubicBezTo>
                  <a:cubicBezTo>
                    <a:pt x="2922" y="178"/>
                    <a:pt x="2921" y="178"/>
                    <a:pt x="2919" y="178"/>
                  </a:cubicBezTo>
                  <a:cubicBezTo>
                    <a:pt x="2917" y="177"/>
                    <a:pt x="2915" y="177"/>
                    <a:pt x="2917" y="175"/>
                  </a:cubicBezTo>
                  <a:cubicBezTo>
                    <a:pt x="2918" y="173"/>
                    <a:pt x="2920" y="172"/>
                    <a:pt x="2921" y="172"/>
                  </a:cubicBezTo>
                  <a:cubicBezTo>
                    <a:pt x="2924" y="172"/>
                    <a:pt x="2926" y="173"/>
                    <a:pt x="2929" y="174"/>
                  </a:cubicBezTo>
                  <a:cubicBezTo>
                    <a:pt x="2929" y="171"/>
                    <a:pt x="2926" y="172"/>
                    <a:pt x="2926" y="170"/>
                  </a:cubicBezTo>
                  <a:cubicBezTo>
                    <a:pt x="2925" y="166"/>
                    <a:pt x="2932" y="163"/>
                    <a:pt x="2935" y="163"/>
                  </a:cubicBezTo>
                  <a:cubicBezTo>
                    <a:pt x="2936" y="163"/>
                    <a:pt x="2937" y="163"/>
                    <a:pt x="2937" y="163"/>
                  </a:cubicBezTo>
                  <a:cubicBezTo>
                    <a:pt x="2940" y="163"/>
                    <a:pt x="2942" y="164"/>
                    <a:pt x="2945" y="165"/>
                  </a:cubicBezTo>
                  <a:cubicBezTo>
                    <a:pt x="2948" y="165"/>
                    <a:pt x="2950" y="166"/>
                    <a:pt x="2953" y="167"/>
                  </a:cubicBezTo>
                  <a:cubicBezTo>
                    <a:pt x="2955" y="168"/>
                    <a:pt x="2959" y="169"/>
                    <a:pt x="2961" y="170"/>
                  </a:cubicBezTo>
                  <a:cubicBezTo>
                    <a:pt x="2961" y="170"/>
                    <a:pt x="2963" y="173"/>
                    <a:pt x="2964" y="174"/>
                  </a:cubicBezTo>
                  <a:cubicBezTo>
                    <a:pt x="2965" y="174"/>
                    <a:pt x="2966" y="175"/>
                    <a:pt x="2967" y="175"/>
                  </a:cubicBezTo>
                  <a:cubicBezTo>
                    <a:pt x="2969" y="175"/>
                    <a:pt x="2972" y="174"/>
                    <a:pt x="2974" y="170"/>
                  </a:cubicBezTo>
                  <a:cubicBezTo>
                    <a:pt x="2975" y="170"/>
                    <a:pt x="2976" y="171"/>
                    <a:pt x="2978" y="171"/>
                  </a:cubicBezTo>
                  <a:cubicBezTo>
                    <a:pt x="2981" y="172"/>
                    <a:pt x="2984" y="174"/>
                    <a:pt x="2987" y="175"/>
                  </a:cubicBezTo>
                  <a:cubicBezTo>
                    <a:pt x="2988" y="176"/>
                    <a:pt x="2989" y="176"/>
                    <a:pt x="2990" y="178"/>
                  </a:cubicBezTo>
                  <a:cubicBezTo>
                    <a:pt x="2991" y="179"/>
                    <a:pt x="2989" y="179"/>
                    <a:pt x="2990" y="180"/>
                  </a:cubicBezTo>
                  <a:cubicBezTo>
                    <a:pt x="2993" y="182"/>
                    <a:pt x="3001" y="182"/>
                    <a:pt x="3004" y="183"/>
                  </a:cubicBezTo>
                  <a:cubicBezTo>
                    <a:pt x="3001" y="185"/>
                    <a:pt x="2996" y="186"/>
                    <a:pt x="2992" y="186"/>
                  </a:cubicBezTo>
                  <a:cubicBezTo>
                    <a:pt x="2992" y="186"/>
                    <a:pt x="2991" y="186"/>
                    <a:pt x="2991" y="186"/>
                  </a:cubicBezTo>
                  <a:cubicBezTo>
                    <a:pt x="2990" y="186"/>
                    <a:pt x="2989" y="186"/>
                    <a:pt x="2988" y="185"/>
                  </a:cubicBezTo>
                  <a:cubicBezTo>
                    <a:pt x="2987" y="185"/>
                    <a:pt x="2986" y="185"/>
                    <a:pt x="2985" y="185"/>
                  </a:cubicBezTo>
                  <a:cubicBezTo>
                    <a:pt x="2984" y="185"/>
                    <a:pt x="2983" y="185"/>
                    <a:pt x="2982" y="186"/>
                  </a:cubicBezTo>
                  <a:cubicBezTo>
                    <a:pt x="2980" y="186"/>
                    <a:pt x="2978" y="188"/>
                    <a:pt x="2975" y="188"/>
                  </a:cubicBezTo>
                  <a:cubicBezTo>
                    <a:pt x="2975" y="188"/>
                    <a:pt x="2975" y="188"/>
                    <a:pt x="2975" y="188"/>
                  </a:cubicBezTo>
                  <a:cubicBezTo>
                    <a:pt x="2976" y="191"/>
                    <a:pt x="2981" y="193"/>
                    <a:pt x="2980" y="197"/>
                  </a:cubicBezTo>
                  <a:cubicBezTo>
                    <a:pt x="2989" y="195"/>
                    <a:pt x="2998" y="192"/>
                    <a:pt x="3006" y="190"/>
                  </a:cubicBezTo>
                  <a:cubicBezTo>
                    <a:pt x="3006" y="189"/>
                    <a:pt x="3006" y="189"/>
                    <a:pt x="3006" y="189"/>
                  </a:cubicBezTo>
                  <a:cubicBezTo>
                    <a:pt x="3008" y="190"/>
                    <a:pt x="3014" y="195"/>
                    <a:pt x="3017" y="195"/>
                  </a:cubicBezTo>
                  <a:cubicBezTo>
                    <a:pt x="3018" y="195"/>
                    <a:pt x="3019" y="195"/>
                    <a:pt x="3019" y="194"/>
                  </a:cubicBezTo>
                  <a:cubicBezTo>
                    <a:pt x="3020" y="193"/>
                    <a:pt x="3020" y="190"/>
                    <a:pt x="3021" y="189"/>
                  </a:cubicBezTo>
                  <a:cubicBezTo>
                    <a:pt x="3023" y="187"/>
                    <a:pt x="3027" y="188"/>
                    <a:pt x="3030" y="186"/>
                  </a:cubicBezTo>
                  <a:cubicBezTo>
                    <a:pt x="3029" y="185"/>
                    <a:pt x="3030" y="183"/>
                    <a:pt x="3032" y="183"/>
                  </a:cubicBezTo>
                  <a:cubicBezTo>
                    <a:pt x="3032" y="183"/>
                    <a:pt x="3032" y="183"/>
                    <a:pt x="3033" y="183"/>
                  </a:cubicBezTo>
                  <a:cubicBezTo>
                    <a:pt x="3035" y="184"/>
                    <a:pt x="3038" y="185"/>
                    <a:pt x="3041" y="186"/>
                  </a:cubicBezTo>
                  <a:cubicBezTo>
                    <a:pt x="3043" y="187"/>
                    <a:pt x="3044" y="188"/>
                    <a:pt x="3046" y="189"/>
                  </a:cubicBezTo>
                  <a:cubicBezTo>
                    <a:pt x="3046" y="189"/>
                    <a:pt x="3046" y="189"/>
                    <a:pt x="3047" y="189"/>
                  </a:cubicBezTo>
                  <a:cubicBezTo>
                    <a:pt x="3050" y="189"/>
                    <a:pt x="3053" y="184"/>
                    <a:pt x="3057" y="183"/>
                  </a:cubicBezTo>
                  <a:cubicBezTo>
                    <a:pt x="3057" y="183"/>
                    <a:pt x="3058" y="183"/>
                    <a:pt x="3058" y="183"/>
                  </a:cubicBezTo>
                  <a:cubicBezTo>
                    <a:pt x="3064" y="183"/>
                    <a:pt x="3070" y="184"/>
                    <a:pt x="3076" y="185"/>
                  </a:cubicBezTo>
                  <a:cubicBezTo>
                    <a:pt x="3076" y="184"/>
                    <a:pt x="3076" y="179"/>
                    <a:pt x="3076" y="178"/>
                  </a:cubicBezTo>
                  <a:cubicBezTo>
                    <a:pt x="3074" y="176"/>
                    <a:pt x="3071" y="174"/>
                    <a:pt x="3069" y="174"/>
                  </a:cubicBezTo>
                  <a:cubicBezTo>
                    <a:pt x="3069" y="174"/>
                    <a:pt x="3069" y="174"/>
                    <a:pt x="3069" y="174"/>
                  </a:cubicBezTo>
                  <a:cubicBezTo>
                    <a:pt x="3068" y="174"/>
                    <a:pt x="3068" y="174"/>
                    <a:pt x="3068" y="174"/>
                  </a:cubicBezTo>
                  <a:cubicBezTo>
                    <a:pt x="3068" y="174"/>
                    <a:pt x="3068" y="174"/>
                    <a:pt x="3068" y="174"/>
                  </a:cubicBezTo>
                  <a:cubicBezTo>
                    <a:pt x="3067" y="174"/>
                    <a:pt x="3067" y="174"/>
                    <a:pt x="3066" y="174"/>
                  </a:cubicBezTo>
                  <a:cubicBezTo>
                    <a:pt x="3065" y="173"/>
                    <a:pt x="3064" y="172"/>
                    <a:pt x="3063" y="172"/>
                  </a:cubicBezTo>
                  <a:cubicBezTo>
                    <a:pt x="3063" y="172"/>
                    <a:pt x="3061" y="171"/>
                    <a:pt x="3060" y="171"/>
                  </a:cubicBezTo>
                  <a:cubicBezTo>
                    <a:pt x="3059" y="171"/>
                    <a:pt x="3057" y="172"/>
                    <a:pt x="3057" y="172"/>
                  </a:cubicBezTo>
                  <a:cubicBezTo>
                    <a:pt x="3057" y="173"/>
                    <a:pt x="3058" y="175"/>
                    <a:pt x="3058" y="175"/>
                  </a:cubicBezTo>
                  <a:cubicBezTo>
                    <a:pt x="3058" y="175"/>
                    <a:pt x="3058" y="175"/>
                    <a:pt x="3057" y="175"/>
                  </a:cubicBezTo>
                  <a:cubicBezTo>
                    <a:pt x="3057" y="175"/>
                    <a:pt x="3056" y="174"/>
                    <a:pt x="3055" y="173"/>
                  </a:cubicBezTo>
                  <a:cubicBezTo>
                    <a:pt x="3055" y="174"/>
                    <a:pt x="3053" y="175"/>
                    <a:pt x="3052" y="175"/>
                  </a:cubicBezTo>
                  <a:cubicBezTo>
                    <a:pt x="3052" y="175"/>
                    <a:pt x="3051" y="175"/>
                    <a:pt x="3051" y="175"/>
                  </a:cubicBezTo>
                  <a:cubicBezTo>
                    <a:pt x="3048" y="173"/>
                    <a:pt x="3052" y="170"/>
                    <a:pt x="3055" y="170"/>
                  </a:cubicBezTo>
                  <a:cubicBezTo>
                    <a:pt x="3055" y="170"/>
                    <a:pt x="3055" y="170"/>
                    <a:pt x="3055" y="170"/>
                  </a:cubicBezTo>
                  <a:cubicBezTo>
                    <a:pt x="3055" y="167"/>
                    <a:pt x="3052" y="166"/>
                    <a:pt x="3052" y="163"/>
                  </a:cubicBezTo>
                  <a:cubicBezTo>
                    <a:pt x="3052" y="162"/>
                    <a:pt x="3052" y="160"/>
                    <a:pt x="3053" y="159"/>
                  </a:cubicBezTo>
                  <a:cubicBezTo>
                    <a:pt x="3053" y="159"/>
                    <a:pt x="3054" y="159"/>
                    <a:pt x="3054" y="159"/>
                  </a:cubicBezTo>
                  <a:cubicBezTo>
                    <a:pt x="3055" y="159"/>
                    <a:pt x="3055" y="159"/>
                    <a:pt x="3055" y="159"/>
                  </a:cubicBezTo>
                  <a:cubicBezTo>
                    <a:pt x="3055" y="159"/>
                    <a:pt x="3055" y="159"/>
                    <a:pt x="3055" y="159"/>
                  </a:cubicBezTo>
                  <a:cubicBezTo>
                    <a:pt x="3056" y="159"/>
                    <a:pt x="3056" y="159"/>
                    <a:pt x="3057" y="159"/>
                  </a:cubicBezTo>
                  <a:cubicBezTo>
                    <a:pt x="3057" y="159"/>
                    <a:pt x="3059" y="156"/>
                    <a:pt x="3060" y="154"/>
                  </a:cubicBezTo>
                  <a:cubicBezTo>
                    <a:pt x="3060" y="154"/>
                    <a:pt x="3061" y="153"/>
                    <a:pt x="3061" y="153"/>
                  </a:cubicBezTo>
                  <a:cubicBezTo>
                    <a:pt x="3068" y="147"/>
                    <a:pt x="3075" y="141"/>
                    <a:pt x="3082" y="135"/>
                  </a:cubicBezTo>
                  <a:cubicBezTo>
                    <a:pt x="3085" y="133"/>
                    <a:pt x="3087" y="131"/>
                    <a:pt x="3090" y="129"/>
                  </a:cubicBezTo>
                  <a:cubicBezTo>
                    <a:pt x="3091" y="129"/>
                    <a:pt x="3093" y="128"/>
                    <a:pt x="3093" y="127"/>
                  </a:cubicBezTo>
                  <a:cubicBezTo>
                    <a:pt x="3095" y="125"/>
                    <a:pt x="3096" y="121"/>
                    <a:pt x="3098" y="118"/>
                  </a:cubicBezTo>
                  <a:cubicBezTo>
                    <a:pt x="3099" y="115"/>
                    <a:pt x="3104" y="114"/>
                    <a:pt x="3107" y="112"/>
                  </a:cubicBezTo>
                  <a:cubicBezTo>
                    <a:pt x="3109" y="111"/>
                    <a:pt x="3112" y="110"/>
                    <a:pt x="3112" y="106"/>
                  </a:cubicBezTo>
                  <a:cubicBezTo>
                    <a:pt x="3112" y="105"/>
                    <a:pt x="3111" y="103"/>
                    <a:pt x="3112" y="102"/>
                  </a:cubicBezTo>
                  <a:cubicBezTo>
                    <a:pt x="3112" y="98"/>
                    <a:pt x="3115" y="97"/>
                    <a:pt x="3118" y="95"/>
                  </a:cubicBezTo>
                  <a:cubicBezTo>
                    <a:pt x="3130" y="90"/>
                    <a:pt x="3144" y="86"/>
                    <a:pt x="3157" y="86"/>
                  </a:cubicBezTo>
                  <a:cubicBezTo>
                    <a:pt x="3157" y="86"/>
                    <a:pt x="3157" y="86"/>
                    <a:pt x="3157" y="86"/>
                  </a:cubicBezTo>
                  <a:cubicBezTo>
                    <a:pt x="3158" y="86"/>
                    <a:pt x="3159" y="86"/>
                    <a:pt x="3159" y="86"/>
                  </a:cubicBezTo>
                  <a:cubicBezTo>
                    <a:pt x="3160" y="86"/>
                    <a:pt x="3161" y="86"/>
                    <a:pt x="3161" y="86"/>
                  </a:cubicBezTo>
                  <a:cubicBezTo>
                    <a:pt x="3163" y="86"/>
                    <a:pt x="3164" y="86"/>
                    <a:pt x="3165" y="86"/>
                  </a:cubicBezTo>
                  <a:cubicBezTo>
                    <a:pt x="3166" y="85"/>
                    <a:pt x="3167" y="84"/>
                    <a:pt x="3168" y="84"/>
                  </a:cubicBezTo>
                  <a:cubicBezTo>
                    <a:pt x="3170" y="83"/>
                    <a:pt x="3171" y="83"/>
                    <a:pt x="3172" y="83"/>
                  </a:cubicBezTo>
                  <a:cubicBezTo>
                    <a:pt x="3174" y="83"/>
                    <a:pt x="3176" y="84"/>
                    <a:pt x="3178" y="85"/>
                  </a:cubicBezTo>
                  <a:cubicBezTo>
                    <a:pt x="3178" y="86"/>
                    <a:pt x="3181" y="87"/>
                    <a:pt x="3181" y="88"/>
                  </a:cubicBezTo>
                  <a:cubicBezTo>
                    <a:pt x="3182" y="89"/>
                    <a:pt x="3182" y="89"/>
                    <a:pt x="3182" y="90"/>
                  </a:cubicBezTo>
                  <a:cubicBezTo>
                    <a:pt x="3182" y="90"/>
                    <a:pt x="3182" y="91"/>
                    <a:pt x="3182" y="91"/>
                  </a:cubicBezTo>
                  <a:cubicBezTo>
                    <a:pt x="3182" y="92"/>
                    <a:pt x="3183" y="92"/>
                    <a:pt x="3184" y="92"/>
                  </a:cubicBezTo>
                  <a:cubicBezTo>
                    <a:pt x="3187" y="92"/>
                    <a:pt x="3191" y="88"/>
                    <a:pt x="3193" y="87"/>
                  </a:cubicBezTo>
                  <a:cubicBezTo>
                    <a:pt x="3195" y="85"/>
                    <a:pt x="3198" y="84"/>
                    <a:pt x="3200" y="83"/>
                  </a:cubicBezTo>
                  <a:cubicBezTo>
                    <a:pt x="3201" y="83"/>
                    <a:pt x="3202" y="82"/>
                    <a:pt x="3202" y="82"/>
                  </a:cubicBezTo>
                  <a:cubicBezTo>
                    <a:pt x="3202" y="82"/>
                    <a:pt x="3203" y="83"/>
                    <a:pt x="3203" y="84"/>
                  </a:cubicBezTo>
                  <a:cubicBezTo>
                    <a:pt x="3203" y="85"/>
                    <a:pt x="3204" y="88"/>
                    <a:pt x="3204" y="88"/>
                  </a:cubicBezTo>
                  <a:cubicBezTo>
                    <a:pt x="3203" y="89"/>
                    <a:pt x="3202" y="90"/>
                    <a:pt x="3201" y="91"/>
                  </a:cubicBezTo>
                  <a:cubicBezTo>
                    <a:pt x="3200" y="91"/>
                    <a:pt x="3201" y="92"/>
                    <a:pt x="3201" y="92"/>
                  </a:cubicBezTo>
                  <a:cubicBezTo>
                    <a:pt x="3200" y="93"/>
                    <a:pt x="3200" y="93"/>
                    <a:pt x="3200" y="93"/>
                  </a:cubicBezTo>
                  <a:cubicBezTo>
                    <a:pt x="3200" y="94"/>
                    <a:pt x="3200" y="96"/>
                    <a:pt x="3200" y="96"/>
                  </a:cubicBezTo>
                  <a:cubicBezTo>
                    <a:pt x="3199" y="98"/>
                    <a:pt x="3197" y="97"/>
                    <a:pt x="3196" y="98"/>
                  </a:cubicBezTo>
                  <a:cubicBezTo>
                    <a:pt x="3196" y="99"/>
                    <a:pt x="3195" y="100"/>
                    <a:pt x="3195" y="100"/>
                  </a:cubicBezTo>
                  <a:cubicBezTo>
                    <a:pt x="3199" y="102"/>
                    <a:pt x="3189" y="105"/>
                    <a:pt x="3194" y="106"/>
                  </a:cubicBezTo>
                  <a:cubicBezTo>
                    <a:pt x="3192" y="107"/>
                    <a:pt x="3190" y="106"/>
                    <a:pt x="3188" y="108"/>
                  </a:cubicBezTo>
                  <a:cubicBezTo>
                    <a:pt x="3192" y="109"/>
                    <a:pt x="3194" y="111"/>
                    <a:pt x="3192" y="115"/>
                  </a:cubicBezTo>
                  <a:cubicBezTo>
                    <a:pt x="3191" y="118"/>
                    <a:pt x="3187" y="120"/>
                    <a:pt x="3193" y="120"/>
                  </a:cubicBezTo>
                  <a:cubicBezTo>
                    <a:pt x="3193" y="120"/>
                    <a:pt x="3194" y="120"/>
                    <a:pt x="3194" y="120"/>
                  </a:cubicBezTo>
                  <a:cubicBezTo>
                    <a:pt x="3196" y="120"/>
                    <a:pt x="3198" y="120"/>
                    <a:pt x="3200" y="120"/>
                  </a:cubicBezTo>
                  <a:cubicBezTo>
                    <a:pt x="3200" y="120"/>
                    <a:pt x="3201" y="120"/>
                    <a:pt x="3201" y="120"/>
                  </a:cubicBezTo>
                  <a:cubicBezTo>
                    <a:pt x="3203" y="120"/>
                    <a:pt x="3202" y="120"/>
                    <a:pt x="3202" y="121"/>
                  </a:cubicBezTo>
                  <a:cubicBezTo>
                    <a:pt x="3202" y="122"/>
                    <a:pt x="3199" y="123"/>
                    <a:pt x="3199" y="124"/>
                  </a:cubicBezTo>
                  <a:cubicBezTo>
                    <a:pt x="3199" y="124"/>
                    <a:pt x="3200" y="125"/>
                    <a:pt x="3200" y="126"/>
                  </a:cubicBezTo>
                  <a:cubicBezTo>
                    <a:pt x="3200" y="127"/>
                    <a:pt x="3199" y="127"/>
                    <a:pt x="3199" y="128"/>
                  </a:cubicBezTo>
                  <a:cubicBezTo>
                    <a:pt x="3198" y="130"/>
                    <a:pt x="3198" y="130"/>
                    <a:pt x="3198" y="132"/>
                  </a:cubicBezTo>
                  <a:cubicBezTo>
                    <a:pt x="3201" y="132"/>
                    <a:pt x="3203" y="131"/>
                    <a:pt x="3206" y="130"/>
                  </a:cubicBezTo>
                  <a:cubicBezTo>
                    <a:pt x="3208" y="129"/>
                    <a:pt x="3212" y="128"/>
                    <a:pt x="3213" y="127"/>
                  </a:cubicBezTo>
                  <a:cubicBezTo>
                    <a:pt x="3215" y="126"/>
                    <a:pt x="3215" y="123"/>
                    <a:pt x="3217" y="121"/>
                  </a:cubicBezTo>
                  <a:cubicBezTo>
                    <a:pt x="3218" y="119"/>
                    <a:pt x="3220" y="118"/>
                    <a:pt x="3221" y="117"/>
                  </a:cubicBezTo>
                  <a:cubicBezTo>
                    <a:pt x="3229" y="112"/>
                    <a:pt x="3236" y="107"/>
                    <a:pt x="3243" y="102"/>
                  </a:cubicBezTo>
                  <a:cubicBezTo>
                    <a:pt x="3246" y="100"/>
                    <a:pt x="3254" y="96"/>
                    <a:pt x="3256" y="92"/>
                  </a:cubicBezTo>
                  <a:cubicBezTo>
                    <a:pt x="3256" y="92"/>
                    <a:pt x="3256" y="92"/>
                    <a:pt x="3256" y="92"/>
                  </a:cubicBezTo>
                  <a:cubicBezTo>
                    <a:pt x="3261" y="94"/>
                    <a:pt x="3261" y="94"/>
                    <a:pt x="3261" y="94"/>
                  </a:cubicBezTo>
                  <a:cubicBezTo>
                    <a:pt x="3263" y="94"/>
                    <a:pt x="3264" y="91"/>
                    <a:pt x="3265" y="91"/>
                  </a:cubicBezTo>
                  <a:cubicBezTo>
                    <a:pt x="3265" y="91"/>
                    <a:pt x="3266" y="91"/>
                    <a:pt x="3266" y="91"/>
                  </a:cubicBezTo>
                  <a:cubicBezTo>
                    <a:pt x="3267" y="92"/>
                    <a:pt x="3267" y="96"/>
                    <a:pt x="3268" y="97"/>
                  </a:cubicBezTo>
                  <a:cubicBezTo>
                    <a:pt x="3268" y="97"/>
                    <a:pt x="3269" y="97"/>
                    <a:pt x="3269" y="97"/>
                  </a:cubicBezTo>
                  <a:cubicBezTo>
                    <a:pt x="3271" y="97"/>
                    <a:pt x="3276" y="92"/>
                    <a:pt x="3276" y="90"/>
                  </a:cubicBezTo>
                  <a:cubicBezTo>
                    <a:pt x="3275" y="88"/>
                    <a:pt x="3269" y="90"/>
                    <a:pt x="3268" y="88"/>
                  </a:cubicBezTo>
                  <a:cubicBezTo>
                    <a:pt x="3267" y="87"/>
                    <a:pt x="3269" y="83"/>
                    <a:pt x="3270" y="82"/>
                  </a:cubicBezTo>
                  <a:cubicBezTo>
                    <a:pt x="3271" y="79"/>
                    <a:pt x="3271" y="77"/>
                    <a:pt x="3272" y="75"/>
                  </a:cubicBezTo>
                  <a:cubicBezTo>
                    <a:pt x="3273" y="73"/>
                    <a:pt x="3276" y="70"/>
                    <a:pt x="3276" y="67"/>
                  </a:cubicBezTo>
                  <a:cubicBezTo>
                    <a:pt x="3277" y="65"/>
                    <a:pt x="3275" y="64"/>
                    <a:pt x="3275" y="62"/>
                  </a:cubicBezTo>
                  <a:cubicBezTo>
                    <a:pt x="3275" y="57"/>
                    <a:pt x="3279" y="58"/>
                    <a:pt x="3282" y="57"/>
                  </a:cubicBezTo>
                  <a:cubicBezTo>
                    <a:pt x="3286" y="56"/>
                    <a:pt x="3290" y="55"/>
                    <a:pt x="3295" y="54"/>
                  </a:cubicBezTo>
                  <a:cubicBezTo>
                    <a:pt x="3298" y="54"/>
                    <a:pt x="3300" y="53"/>
                    <a:pt x="3303" y="53"/>
                  </a:cubicBezTo>
                  <a:cubicBezTo>
                    <a:pt x="3305" y="53"/>
                    <a:pt x="3307" y="53"/>
                    <a:pt x="3308" y="55"/>
                  </a:cubicBezTo>
                  <a:cubicBezTo>
                    <a:pt x="3310" y="56"/>
                    <a:pt x="3310" y="57"/>
                    <a:pt x="3313" y="58"/>
                  </a:cubicBezTo>
                  <a:cubicBezTo>
                    <a:pt x="3314" y="59"/>
                    <a:pt x="3316" y="59"/>
                    <a:pt x="3318" y="60"/>
                  </a:cubicBezTo>
                  <a:cubicBezTo>
                    <a:pt x="3323" y="61"/>
                    <a:pt x="3328" y="60"/>
                    <a:pt x="3333" y="63"/>
                  </a:cubicBezTo>
                  <a:cubicBezTo>
                    <a:pt x="3333" y="63"/>
                    <a:pt x="3333" y="63"/>
                    <a:pt x="3332" y="63"/>
                  </a:cubicBezTo>
                  <a:cubicBezTo>
                    <a:pt x="3331" y="63"/>
                    <a:pt x="3329" y="62"/>
                    <a:pt x="3328" y="62"/>
                  </a:cubicBezTo>
                  <a:cubicBezTo>
                    <a:pt x="3326" y="62"/>
                    <a:pt x="3325" y="61"/>
                    <a:pt x="3323" y="61"/>
                  </a:cubicBezTo>
                  <a:cubicBezTo>
                    <a:pt x="3322" y="61"/>
                    <a:pt x="3321" y="62"/>
                    <a:pt x="3320" y="62"/>
                  </a:cubicBezTo>
                  <a:cubicBezTo>
                    <a:pt x="3321" y="64"/>
                    <a:pt x="3324" y="65"/>
                    <a:pt x="3325" y="67"/>
                  </a:cubicBezTo>
                  <a:cubicBezTo>
                    <a:pt x="3322" y="65"/>
                    <a:pt x="3321" y="64"/>
                    <a:pt x="3317" y="64"/>
                  </a:cubicBezTo>
                  <a:cubicBezTo>
                    <a:pt x="3315" y="63"/>
                    <a:pt x="3312" y="62"/>
                    <a:pt x="3309" y="62"/>
                  </a:cubicBezTo>
                  <a:cubicBezTo>
                    <a:pt x="3309" y="62"/>
                    <a:pt x="3309" y="62"/>
                    <a:pt x="3309" y="62"/>
                  </a:cubicBezTo>
                  <a:cubicBezTo>
                    <a:pt x="3306" y="62"/>
                    <a:pt x="3305" y="64"/>
                    <a:pt x="3302" y="66"/>
                  </a:cubicBezTo>
                  <a:cubicBezTo>
                    <a:pt x="3300" y="67"/>
                    <a:pt x="3297" y="67"/>
                    <a:pt x="3295" y="70"/>
                  </a:cubicBezTo>
                  <a:cubicBezTo>
                    <a:pt x="3295" y="72"/>
                    <a:pt x="3295" y="75"/>
                    <a:pt x="3295" y="76"/>
                  </a:cubicBezTo>
                  <a:cubicBezTo>
                    <a:pt x="3295" y="78"/>
                    <a:pt x="3295" y="80"/>
                    <a:pt x="3295" y="82"/>
                  </a:cubicBezTo>
                  <a:cubicBezTo>
                    <a:pt x="3294" y="85"/>
                    <a:pt x="3295" y="87"/>
                    <a:pt x="3294" y="89"/>
                  </a:cubicBezTo>
                  <a:cubicBezTo>
                    <a:pt x="3294" y="92"/>
                    <a:pt x="3291" y="91"/>
                    <a:pt x="3289" y="93"/>
                  </a:cubicBezTo>
                  <a:cubicBezTo>
                    <a:pt x="3288" y="95"/>
                    <a:pt x="3289" y="98"/>
                    <a:pt x="3290" y="99"/>
                  </a:cubicBezTo>
                  <a:cubicBezTo>
                    <a:pt x="3293" y="102"/>
                    <a:pt x="3293" y="103"/>
                    <a:pt x="3293" y="106"/>
                  </a:cubicBezTo>
                  <a:cubicBezTo>
                    <a:pt x="3291" y="110"/>
                    <a:pt x="3285" y="110"/>
                    <a:pt x="3283" y="114"/>
                  </a:cubicBezTo>
                  <a:cubicBezTo>
                    <a:pt x="3282" y="115"/>
                    <a:pt x="3285" y="122"/>
                    <a:pt x="3284" y="122"/>
                  </a:cubicBezTo>
                  <a:cubicBezTo>
                    <a:pt x="3278" y="125"/>
                    <a:pt x="3271" y="127"/>
                    <a:pt x="3265" y="130"/>
                  </a:cubicBezTo>
                  <a:cubicBezTo>
                    <a:pt x="3258" y="133"/>
                    <a:pt x="3250" y="135"/>
                    <a:pt x="3243" y="138"/>
                  </a:cubicBezTo>
                  <a:cubicBezTo>
                    <a:pt x="3241" y="139"/>
                    <a:pt x="3242" y="141"/>
                    <a:pt x="3241" y="143"/>
                  </a:cubicBezTo>
                  <a:cubicBezTo>
                    <a:pt x="3242" y="143"/>
                    <a:pt x="3242" y="143"/>
                    <a:pt x="3242" y="143"/>
                  </a:cubicBezTo>
                  <a:cubicBezTo>
                    <a:pt x="3235" y="151"/>
                    <a:pt x="3226" y="157"/>
                    <a:pt x="3218" y="164"/>
                  </a:cubicBezTo>
                  <a:cubicBezTo>
                    <a:pt x="3210" y="171"/>
                    <a:pt x="3199" y="178"/>
                    <a:pt x="3192" y="187"/>
                  </a:cubicBezTo>
                  <a:cubicBezTo>
                    <a:pt x="3188" y="193"/>
                    <a:pt x="3183" y="199"/>
                    <a:pt x="3179" y="206"/>
                  </a:cubicBezTo>
                  <a:cubicBezTo>
                    <a:pt x="3178" y="207"/>
                    <a:pt x="3177" y="210"/>
                    <a:pt x="3176" y="210"/>
                  </a:cubicBezTo>
                  <a:cubicBezTo>
                    <a:pt x="3176" y="210"/>
                    <a:pt x="3176" y="211"/>
                    <a:pt x="3175" y="211"/>
                  </a:cubicBezTo>
                  <a:cubicBezTo>
                    <a:pt x="3175" y="211"/>
                    <a:pt x="3175" y="210"/>
                    <a:pt x="3175" y="210"/>
                  </a:cubicBezTo>
                  <a:cubicBezTo>
                    <a:pt x="3175" y="210"/>
                    <a:pt x="3174" y="210"/>
                    <a:pt x="3174" y="210"/>
                  </a:cubicBezTo>
                  <a:cubicBezTo>
                    <a:pt x="3173" y="210"/>
                    <a:pt x="3173" y="210"/>
                    <a:pt x="3172" y="211"/>
                  </a:cubicBezTo>
                  <a:cubicBezTo>
                    <a:pt x="3166" y="216"/>
                    <a:pt x="3158" y="220"/>
                    <a:pt x="3151" y="226"/>
                  </a:cubicBezTo>
                  <a:cubicBezTo>
                    <a:pt x="3152" y="226"/>
                    <a:pt x="3153" y="227"/>
                    <a:pt x="3153" y="229"/>
                  </a:cubicBezTo>
                  <a:cubicBezTo>
                    <a:pt x="3152" y="227"/>
                    <a:pt x="3151" y="226"/>
                    <a:pt x="3150" y="226"/>
                  </a:cubicBezTo>
                  <a:cubicBezTo>
                    <a:pt x="3149" y="226"/>
                    <a:pt x="3148" y="227"/>
                    <a:pt x="3146" y="227"/>
                  </a:cubicBezTo>
                  <a:cubicBezTo>
                    <a:pt x="3145" y="227"/>
                    <a:pt x="3144" y="228"/>
                    <a:pt x="3143" y="228"/>
                  </a:cubicBezTo>
                  <a:cubicBezTo>
                    <a:pt x="3143" y="228"/>
                    <a:pt x="3143" y="228"/>
                    <a:pt x="3143" y="228"/>
                  </a:cubicBezTo>
                  <a:cubicBezTo>
                    <a:pt x="3141" y="228"/>
                    <a:pt x="3140" y="227"/>
                    <a:pt x="3138" y="227"/>
                  </a:cubicBezTo>
                  <a:cubicBezTo>
                    <a:pt x="3138" y="227"/>
                    <a:pt x="3138" y="227"/>
                    <a:pt x="3138" y="227"/>
                  </a:cubicBezTo>
                  <a:cubicBezTo>
                    <a:pt x="3135" y="227"/>
                    <a:pt x="3135" y="232"/>
                    <a:pt x="3133" y="233"/>
                  </a:cubicBezTo>
                  <a:cubicBezTo>
                    <a:pt x="3131" y="235"/>
                    <a:pt x="3126" y="234"/>
                    <a:pt x="3124" y="235"/>
                  </a:cubicBezTo>
                  <a:cubicBezTo>
                    <a:pt x="3121" y="235"/>
                    <a:pt x="3118" y="236"/>
                    <a:pt x="3115" y="236"/>
                  </a:cubicBezTo>
                  <a:cubicBezTo>
                    <a:pt x="3116" y="240"/>
                    <a:pt x="3118" y="244"/>
                    <a:pt x="3119" y="248"/>
                  </a:cubicBezTo>
                  <a:cubicBezTo>
                    <a:pt x="3120" y="249"/>
                    <a:pt x="3118" y="251"/>
                    <a:pt x="3117" y="252"/>
                  </a:cubicBezTo>
                  <a:cubicBezTo>
                    <a:pt x="3116" y="255"/>
                    <a:pt x="3115" y="258"/>
                    <a:pt x="3113" y="261"/>
                  </a:cubicBezTo>
                  <a:cubicBezTo>
                    <a:pt x="3112" y="260"/>
                    <a:pt x="3112" y="259"/>
                    <a:pt x="3111" y="259"/>
                  </a:cubicBezTo>
                  <a:cubicBezTo>
                    <a:pt x="3110" y="259"/>
                    <a:pt x="3108" y="263"/>
                    <a:pt x="3107" y="264"/>
                  </a:cubicBezTo>
                  <a:cubicBezTo>
                    <a:pt x="3106" y="265"/>
                    <a:pt x="3104" y="265"/>
                    <a:pt x="3103" y="266"/>
                  </a:cubicBezTo>
                  <a:cubicBezTo>
                    <a:pt x="3102" y="268"/>
                    <a:pt x="3100" y="269"/>
                    <a:pt x="3099" y="271"/>
                  </a:cubicBezTo>
                  <a:cubicBezTo>
                    <a:pt x="3094" y="275"/>
                    <a:pt x="3093" y="281"/>
                    <a:pt x="3091" y="287"/>
                  </a:cubicBezTo>
                  <a:cubicBezTo>
                    <a:pt x="3086" y="307"/>
                    <a:pt x="3085" y="328"/>
                    <a:pt x="3088" y="348"/>
                  </a:cubicBezTo>
                  <a:cubicBezTo>
                    <a:pt x="3091" y="360"/>
                    <a:pt x="3094" y="373"/>
                    <a:pt x="3096" y="385"/>
                  </a:cubicBezTo>
                  <a:cubicBezTo>
                    <a:pt x="3097" y="393"/>
                    <a:pt x="3097" y="403"/>
                    <a:pt x="3101" y="410"/>
                  </a:cubicBezTo>
                  <a:cubicBezTo>
                    <a:pt x="3102" y="412"/>
                    <a:pt x="3102" y="413"/>
                    <a:pt x="3104" y="414"/>
                  </a:cubicBezTo>
                  <a:cubicBezTo>
                    <a:pt x="3105" y="416"/>
                    <a:pt x="3106" y="415"/>
                    <a:pt x="3107" y="417"/>
                  </a:cubicBezTo>
                  <a:cubicBezTo>
                    <a:pt x="3107" y="417"/>
                    <a:pt x="3107" y="417"/>
                    <a:pt x="3106" y="417"/>
                  </a:cubicBezTo>
                  <a:cubicBezTo>
                    <a:pt x="3106" y="417"/>
                    <a:pt x="3105" y="417"/>
                    <a:pt x="3105" y="417"/>
                  </a:cubicBezTo>
                  <a:cubicBezTo>
                    <a:pt x="3106" y="425"/>
                    <a:pt x="3108" y="433"/>
                    <a:pt x="3108" y="442"/>
                  </a:cubicBezTo>
                  <a:cubicBezTo>
                    <a:pt x="3108" y="446"/>
                    <a:pt x="3108" y="452"/>
                    <a:pt x="3109" y="456"/>
                  </a:cubicBezTo>
                  <a:cubicBezTo>
                    <a:pt x="3110" y="458"/>
                    <a:pt x="3112" y="459"/>
                    <a:pt x="3113" y="461"/>
                  </a:cubicBezTo>
                  <a:cubicBezTo>
                    <a:pt x="3115" y="464"/>
                    <a:pt x="3113" y="466"/>
                    <a:pt x="3112" y="469"/>
                  </a:cubicBezTo>
                  <a:cubicBezTo>
                    <a:pt x="3118" y="464"/>
                    <a:pt x="3125" y="459"/>
                    <a:pt x="3131" y="454"/>
                  </a:cubicBezTo>
                  <a:cubicBezTo>
                    <a:pt x="3135" y="451"/>
                    <a:pt x="3139" y="446"/>
                    <a:pt x="3142" y="441"/>
                  </a:cubicBezTo>
                  <a:cubicBezTo>
                    <a:pt x="3148" y="435"/>
                    <a:pt x="3153" y="429"/>
                    <a:pt x="3159" y="423"/>
                  </a:cubicBezTo>
                  <a:cubicBezTo>
                    <a:pt x="3160" y="421"/>
                    <a:pt x="3158" y="418"/>
                    <a:pt x="3158" y="416"/>
                  </a:cubicBezTo>
                  <a:cubicBezTo>
                    <a:pt x="3158" y="415"/>
                    <a:pt x="3157" y="414"/>
                    <a:pt x="3157" y="413"/>
                  </a:cubicBezTo>
                  <a:cubicBezTo>
                    <a:pt x="3157" y="412"/>
                    <a:pt x="3156" y="412"/>
                    <a:pt x="3157" y="411"/>
                  </a:cubicBezTo>
                  <a:cubicBezTo>
                    <a:pt x="3157" y="410"/>
                    <a:pt x="3159" y="410"/>
                    <a:pt x="3160" y="409"/>
                  </a:cubicBezTo>
                  <a:cubicBezTo>
                    <a:pt x="3160" y="409"/>
                    <a:pt x="3160" y="407"/>
                    <a:pt x="3160" y="405"/>
                  </a:cubicBezTo>
                  <a:cubicBezTo>
                    <a:pt x="3157" y="405"/>
                    <a:pt x="3155" y="402"/>
                    <a:pt x="3155" y="399"/>
                  </a:cubicBezTo>
                  <a:cubicBezTo>
                    <a:pt x="3155" y="395"/>
                    <a:pt x="3157" y="392"/>
                    <a:pt x="3161" y="392"/>
                  </a:cubicBezTo>
                  <a:cubicBezTo>
                    <a:pt x="3165" y="392"/>
                    <a:pt x="3168" y="395"/>
                    <a:pt x="3168" y="399"/>
                  </a:cubicBezTo>
                  <a:cubicBezTo>
                    <a:pt x="3168" y="398"/>
                    <a:pt x="3168" y="398"/>
                    <a:pt x="3168" y="398"/>
                  </a:cubicBezTo>
                  <a:cubicBezTo>
                    <a:pt x="3171" y="396"/>
                    <a:pt x="3173" y="395"/>
                    <a:pt x="3176" y="394"/>
                  </a:cubicBezTo>
                  <a:cubicBezTo>
                    <a:pt x="3178" y="394"/>
                    <a:pt x="3180" y="392"/>
                    <a:pt x="3183" y="391"/>
                  </a:cubicBezTo>
                  <a:cubicBezTo>
                    <a:pt x="3185" y="391"/>
                    <a:pt x="3187" y="392"/>
                    <a:pt x="3189" y="390"/>
                  </a:cubicBezTo>
                  <a:cubicBezTo>
                    <a:pt x="3186" y="393"/>
                    <a:pt x="3194" y="396"/>
                    <a:pt x="3196" y="396"/>
                  </a:cubicBezTo>
                  <a:cubicBezTo>
                    <a:pt x="3196" y="394"/>
                    <a:pt x="3195" y="393"/>
                    <a:pt x="3195" y="391"/>
                  </a:cubicBezTo>
                  <a:cubicBezTo>
                    <a:pt x="3194" y="392"/>
                    <a:pt x="3194" y="392"/>
                    <a:pt x="3193" y="392"/>
                  </a:cubicBezTo>
                  <a:cubicBezTo>
                    <a:pt x="3193" y="392"/>
                    <a:pt x="3194" y="390"/>
                    <a:pt x="3193" y="390"/>
                  </a:cubicBezTo>
                  <a:cubicBezTo>
                    <a:pt x="3193" y="389"/>
                    <a:pt x="3194" y="389"/>
                    <a:pt x="3194" y="388"/>
                  </a:cubicBezTo>
                  <a:cubicBezTo>
                    <a:pt x="3192" y="388"/>
                    <a:pt x="3192" y="388"/>
                    <a:pt x="3192" y="388"/>
                  </a:cubicBezTo>
                  <a:cubicBezTo>
                    <a:pt x="3192" y="386"/>
                    <a:pt x="3190" y="384"/>
                    <a:pt x="3190" y="382"/>
                  </a:cubicBezTo>
                  <a:cubicBezTo>
                    <a:pt x="3191" y="382"/>
                    <a:pt x="3192" y="383"/>
                    <a:pt x="3193" y="383"/>
                  </a:cubicBezTo>
                  <a:cubicBezTo>
                    <a:pt x="3194" y="383"/>
                    <a:pt x="3194" y="382"/>
                    <a:pt x="3193" y="379"/>
                  </a:cubicBezTo>
                  <a:cubicBezTo>
                    <a:pt x="3193" y="379"/>
                    <a:pt x="3191" y="379"/>
                    <a:pt x="3191" y="378"/>
                  </a:cubicBezTo>
                  <a:cubicBezTo>
                    <a:pt x="3191" y="378"/>
                    <a:pt x="3190" y="375"/>
                    <a:pt x="3191" y="374"/>
                  </a:cubicBezTo>
                  <a:cubicBezTo>
                    <a:pt x="3191" y="370"/>
                    <a:pt x="3193" y="364"/>
                    <a:pt x="3195" y="360"/>
                  </a:cubicBezTo>
                  <a:cubicBezTo>
                    <a:pt x="3197" y="358"/>
                    <a:pt x="3202" y="356"/>
                    <a:pt x="3204" y="354"/>
                  </a:cubicBezTo>
                  <a:cubicBezTo>
                    <a:pt x="3208" y="350"/>
                    <a:pt x="3213" y="347"/>
                    <a:pt x="3219" y="346"/>
                  </a:cubicBezTo>
                  <a:cubicBezTo>
                    <a:pt x="3220" y="346"/>
                    <a:pt x="3221" y="346"/>
                    <a:pt x="3221" y="346"/>
                  </a:cubicBezTo>
                  <a:cubicBezTo>
                    <a:pt x="3222" y="346"/>
                    <a:pt x="3222" y="346"/>
                    <a:pt x="3222" y="346"/>
                  </a:cubicBezTo>
                  <a:cubicBezTo>
                    <a:pt x="3224" y="346"/>
                    <a:pt x="3223" y="347"/>
                    <a:pt x="3224" y="348"/>
                  </a:cubicBezTo>
                  <a:cubicBezTo>
                    <a:pt x="3226" y="349"/>
                    <a:pt x="3227" y="349"/>
                    <a:pt x="3228" y="349"/>
                  </a:cubicBezTo>
                  <a:cubicBezTo>
                    <a:pt x="3229" y="349"/>
                    <a:pt x="3230" y="349"/>
                    <a:pt x="3231" y="348"/>
                  </a:cubicBezTo>
                  <a:cubicBezTo>
                    <a:pt x="3236" y="347"/>
                    <a:pt x="3241" y="344"/>
                    <a:pt x="3245" y="341"/>
                  </a:cubicBezTo>
                  <a:cubicBezTo>
                    <a:pt x="3249" y="338"/>
                    <a:pt x="3247" y="337"/>
                    <a:pt x="3245" y="334"/>
                  </a:cubicBezTo>
                  <a:cubicBezTo>
                    <a:pt x="3244" y="333"/>
                    <a:pt x="3243" y="331"/>
                    <a:pt x="3241" y="330"/>
                  </a:cubicBezTo>
                  <a:cubicBezTo>
                    <a:pt x="3237" y="326"/>
                    <a:pt x="3238" y="316"/>
                    <a:pt x="3238" y="311"/>
                  </a:cubicBezTo>
                  <a:cubicBezTo>
                    <a:pt x="3238" y="308"/>
                    <a:pt x="3241" y="303"/>
                    <a:pt x="3242" y="300"/>
                  </a:cubicBezTo>
                  <a:cubicBezTo>
                    <a:pt x="3244" y="297"/>
                    <a:pt x="3245" y="294"/>
                    <a:pt x="3249" y="292"/>
                  </a:cubicBezTo>
                  <a:cubicBezTo>
                    <a:pt x="3251" y="291"/>
                    <a:pt x="3258" y="290"/>
                    <a:pt x="3257" y="287"/>
                  </a:cubicBezTo>
                  <a:cubicBezTo>
                    <a:pt x="3257" y="284"/>
                    <a:pt x="3252" y="285"/>
                    <a:pt x="3257" y="282"/>
                  </a:cubicBezTo>
                  <a:cubicBezTo>
                    <a:pt x="3260" y="281"/>
                    <a:pt x="3260" y="281"/>
                    <a:pt x="3263" y="281"/>
                  </a:cubicBezTo>
                  <a:cubicBezTo>
                    <a:pt x="3265" y="281"/>
                    <a:pt x="3265" y="280"/>
                    <a:pt x="3266" y="279"/>
                  </a:cubicBezTo>
                  <a:cubicBezTo>
                    <a:pt x="3267" y="279"/>
                    <a:pt x="3268" y="279"/>
                    <a:pt x="3268" y="279"/>
                  </a:cubicBezTo>
                  <a:cubicBezTo>
                    <a:pt x="3269" y="279"/>
                    <a:pt x="3269" y="279"/>
                    <a:pt x="3270" y="280"/>
                  </a:cubicBezTo>
                  <a:cubicBezTo>
                    <a:pt x="3270" y="281"/>
                    <a:pt x="3267" y="283"/>
                    <a:pt x="3266" y="284"/>
                  </a:cubicBezTo>
                  <a:cubicBezTo>
                    <a:pt x="3263" y="286"/>
                    <a:pt x="3260" y="286"/>
                    <a:pt x="3257" y="289"/>
                  </a:cubicBezTo>
                  <a:cubicBezTo>
                    <a:pt x="3260" y="290"/>
                    <a:pt x="3261" y="293"/>
                    <a:pt x="3263" y="294"/>
                  </a:cubicBezTo>
                  <a:cubicBezTo>
                    <a:pt x="3264" y="295"/>
                    <a:pt x="3265" y="296"/>
                    <a:pt x="3266" y="296"/>
                  </a:cubicBezTo>
                  <a:cubicBezTo>
                    <a:pt x="3269" y="296"/>
                    <a:pt x="3272" y="293"/>
                    <a:pt x="3275" y="292"/>
                  </a:cubicBezTo>
                  <a:cubicBezTo>
                    <a:pt x="3278" y="290"/>
                    <a:pt x="3277" y="288"/>
                    <a:pt x="3276" y="284"/>
                  </a:cubicBezTo>
                  <a:cubicBezTo>
                    <a:pt x="3275" y="280"/>
                    <a:pt x="3275" y="276"/>
                    <a:pt x="3274" y="273"/>
                  </a:cubicBezTo>
                  <a:cubicBezTo>
                    <a:pt x="3273" y="271"/>
                    <a:pt x="3267" y="272"/>
                    <a:pt x="3264" y="270"/>
                  </a:cubicBezTo>
                  <a:cubicBezTo>
                    <a:pt x="3262" y="268"/>
                    <a:pt x="3263" y="267"/>
                    <a:pt x="3263" y="264"/>
                  </a:cubicBezTo>
                  <a:cubicBezTo>
                    <a:pt x="3264" y="260"/>
                    <a:pt x="3263" y="257"/>
                    <a:pt x="3263" y="253"/>
                  </a:cubicBezTo>
                  <a:cubicBezTo>
                    <a:pt x="3262" y="246"/>
                    <a:pt x="3272" y="243"/>
                    <a:pt x="3274" y="236"/>
                  </a:cubicBezTo>
                  <a:cubicBezTo>
                    <a:pt x="3275" y="231"/>
                    <a:pt x="3271" y="233"/>
                    <a:pt x="3268" y="232"/>
                  </a:cubicBezTo>
                  <a:cubicBezTo>
                    <a:pt x="3265" y="231"/>
                    <a:pt x="3263" y="228"/>
                    <a:pt x="3260" y="228"/>
                  </a:cubicBezTo>
                  <a:cubicBezTo>
                    <a:pt x="3259" y="228"/>
                    <a:pt x="3258" y="228"/>
                    <a:pt x="3258" y="229"/>
                  </a:cubicBezTo>
                  <a:cubicBezTo>
                    <a:pt x="3253" y="231"/>
                    <a:pt x="3257" y="236"/>
                    <a:pt x="3252" y="238"/>
                  </a:cubicBezTo>
                  <a:cubicBezTo>
                    <a:pt x="3254" y="234"/>
                    <a:pt x="3253" y="234"/>
                    <a:pt x="3249" y="232"/>
                  </a:cubicBezTo>
                  <a:cubicBezTo>
                    <a:pt x="3247" y="230"/>
                    <a:pt x="3242" y="229"/>
                    <a:pt x="3242" y="225"/>
                  </a:cubicBezTo>
                  <a:cubicBezTo>
                    <a:pt x="3242" y="221"/>
                    <a:pt x="3245" y="214"/>
                    <a:pt x="3247" y="211"/>
                  </a:cubicBezTo>
                  <a:cubicBezTo>
                    <a:pt x="3248" y="209"/>
                    <a:pt x="3251" y="206"/>
                    <a:pt x="3253" y="203"/>
                  </a:cubicBezTo>
                  <a:cubicBezTo>
                    <a:pt x="3255" y="202"/>
                    <a:pt x="3256" y="201"/>
                    <a:pt x="3258" y="200"/>
                  </a:cubicBezTo>
                  <a:cubicBezTo>
                    <a:pt x="3259" y="199"/>
                    <a:pt x="3265" y="196"/>
                    <a:pt x="3261" y="196"/>
                  </a:cubicBezTo>
                  <a:cubicBezTo>
                    <a:pt x="3263" y="194"/>
                    <a:pt x="3268" y="193"/>
                    <a:pt x="3269" y="190"/>
                  </a:cubicBezTo>
                  <a:cubicBezTo>
                    <a:pt x="3267" y="190"/>
                    <a:pt x="3266" y="187"/>
                    <a:pt x="3267" y="186"/>
                  </a:cubicBezTo>
                  <a:cubicBezTo>
                    <a:pt x="3267" y="185"/>
                    <a:pt x="3267" y="185"/>
                    <a:pt x="3268" y="185"/>
                  </a:cubicBezTo>
                  <a:cubicBezTo>
                    <a:pt x="3269" y="185"/>
                    <a:pt x="3269" y="186"/>
                    <a:pt x="3270" y="187"/>
                  </a:cubicBezTo>
                  <a:cubicBezTo>
                    <a:pt x="3271" y="187"/>
                    <a:pt x="3272" y="187"/>
                    <a:pt x="3273" y="187"/>
                  </a:cubicBezTo>
                  <a:cubicBezTo>
                    <a:pt x="3273" y="187"/>
                    <a:pt x="3274" y="187"/>
                    <a:pt x="3272" y="185"/>
                  </a:cubicBezTo>
                  <a:cubicBezTo>
                    <a:pt x="3270" y="182"/>
                    <a:pt x="3270" y="182"/>
                    <a:pt x="3273" y="180"/>
                  </a:cubicBezTo>
                  <a:cubicBezTo>
                    <a:pt x="3276" y="178"/>
                    <a:pt x="3276" y="178"/>
                    <a:pt x="3275" y="175"/>
                  </a:cubicBezTo>
                  <a:cubicBezTo>
                    <a:pt x="3275" y="174"/>
                    <a:pt x="3273" y="172"/>
                    <a:pt x="3273" y="171"/>
                  </a:cubicBezTo>
                  <a:cubicBezTo>
                    <a:pt x="3273" y="169"/>
                    <a:pt x="3275" y="165"/>
                    <a:pt x="3276" y="164"/>
                  </a:cubicBezTo>
                  <a:cubicBezTo>
                    <a:pt x="3277" y="162"/>
                    <a:pt x="3279" y="159"/>
                    <a:pt x="3281" y="158"/>
                  </a:cubicBezTo>
                  <a:cubicBezTo>
                    <a:pt x="3283" y="157"/>
                    <a:pt x="3285" y="158"/>
                    <a:pt x="3287" y="155"/>
                  </a:cubicBezTo>
                  <a:cubicBezTo>
                    <a:pt x="3287" y="155"/>
                    <a:pt x="3287" y="155"/>
                    <a:pt x="3286" y="155"/>
                  </a:cubicBezTo>
                  <a:cubicBezTo>
                    <a:pt x="3285" y="155"/>
                    <a:pt x="3284" y="154"/>
                    <a:pt x="3284" y="153"/>
                  </a:cubicBezTo>
                  <a:cubicBezTo>
                    <a:pt x="3285" y="153"/>
                    <a:pt x="3286" y="153"/>
                    <a:pt x="3287" y="153"/>
                  </a:cubicBezTo>
                  <a:cubicBezTo>
                    <a:pt x="3289" y="153"/>
                    <a:pt x="3290" y="153"/>
                    <a:pt x="3293" y="153"/>
                  </a:cubicBezTo>
                  <a:cubicBezTo>
                    <a:pt x="3294" y="154"/>
                    <a:pt x="3297" y="154"/>
                    <a:pt x="3297" y="156"/>
                  </a:cubicBezTo>
                  <a:cubicBezTo>
                    <a:pt x="3296" y="157"/>
                    <a:pt x="3293" y="160"/>
                    <a:pt x="3295" y="160"/>
                  </a:cubicBezTo>
                  <a:cubicBezTo>
                    <a:pt x="3296" y="160"/>
                    <a:pt x="3296" y="160"/>
                    <a:pt x="3297" y="159"/>
                  </a:cubicBezTo>
                  <a:cubicBezTo>
                    <a:pt x="3294" y="156"/>
                    <a:pt x="3299" y="155"/>
                    <a:pt x="3302" y="153"/>
                  </a:cubicBezTo>
                  <a:cubicBezTo>
                    <a:pt x="3304" y="153"/>
                    <a:pt x="3305" y="152"/>
                    <a:pt x="3306" y="152"/>
                  </a:cubicBezTo>
                  <a:cubicBezTo>
                    <a:pt x="3307" y="152"/>
                    <a:pt x="3309" y="153"/>
                    <a:pt x="3310" y="155"/>
                  </a:cubicBezTo>
                  <a:cubicBezTo>
                    <a:pt x="3312" y="158"/>
                    <a:pt x="3313" y="162"/>
                    <a:pt x="3315" y="162"/>
                  </a:cubicBezTo>
                  <a:cubicBezTo>
                    <a:pt x="3316" y="162"/>
                    <a:pt x="3316" y="161"/>
                    <a:pt x="3318" y="160"/>
                  </a:cubicBezTo>
                  <a:cubicBezTo>
                    <a:pt x="3319" y="159"/>
                    <a:pt x="3321" y="157"/>
                    <a:pt x="3321" y="156"/>
                  </a:cubicBezTo>
                  <a:cubicBezTo>
                    <a:pt x="3322" y="155"/>
                    <a:pt x="3322" y="155"/>
                    <a:pt x="3322" y="154"/>
                  </a:cubicBezTo>
                  <a:cubicBezTo>
                    <a:pt x="3322" y="153"/>
                    <a:pt x="3320" y="153"/>
                    <a:pt x="3322" y="151"/>
                  </a:cubicBezTo>
                  <a:cubicBezTo>
                    <a:pt x="3325" y="150"/>
                    <a:pt x="3328" y="148"/>
                    <a:pt x="3331" y="147"/>
                  </a:cubicBezTo>
                  <a:cubicBezTo>
                    <a:pt x="3338" y="143"/>
                    <a:pt x="3344" y="140"/>
                    <a:pt x="3351" y="136"/>
                  </a:cubicBezTo>
                  <a:cubicBezTo>
                    <a:pt x="3351" y="137"/>
                    <a:pt x="3352" y="140"/>
                    <a:pt x="3349" y="140"/>
                  </a:cubicBezTo>
                  <a:cubicBezTo>
                    <a:pt x="3349" y="140"/>
                    <a:pt x="3348" y="140"/>
                    <a:pt x="3348" y="140"/>
                  </a:cubicBezTo>
                  <a:cubicBezTo>
                    <a:pt x="3349" y="142"/>
                    <a:pt x="3349" y="144"/>
                    <a:pt x="3349" y="146"/>
                  </a:cubicBezTo>
                  <a:cubicBezTo>
                    <a:pt x="3349" y="148"/>
                    <a:pt x="3348" y="148"/>
                    <a:pt x="3346" y="150"/>
                  </a:cubicBezTo>
                  <a:cubicBezTo>
                    <a:pt x="3345" y="153"/>
                    <a:pt x="3344" y="161"/>
                    <a:pt x="3348" y="161"/>
                  </a:cubicBezTo>
                  <a:cubicBezTo>
                    <a:pt x="3348" y="161"/>
                    <a:pt x="3349" y="161"/>
                    <a:pt x="3349" y="160"/>
                  </a:cubicBezTo>
                  <a:cubicBezTo>
                    <a:pt x="3352" y="160"/>
                    <a:pt x="3355" y="155"/>
                    <a:pt x="3357" y="153"/>
                  </a:cubicBezTo>
                  <a:cubicBezTo>
                    <a:pt x="3359" y="151"/>
                    <a:pt x="3365" y="145"/>
                    <a:pt x="3365" y="144"/>
                  </a:cubicBezTo>
                  <a:cubicBezTo>
                    <a:pt x="3369" y="142"/>
                    <a:pt x="3373" y="141"/>
                    <a:pt x="3377" y="139"/>
                  </a:cubicBezTo>
                  <a:cubicBezTo>
                    <a:pt x="3383" y="136"/>
                    <a:pt x="3386" y="134"/>
                    <a:pt x="3392" y="134"/>
                  </a:cubicBezTo>
                  <a:cubicBezTo>
                    <a:pt x="3401" y="133"/>
                    <a:pt x="3410" y="132"/>
                    <a:pt x="3419" y="132"/>
                  </a:cubicBezTo>
                  <a:cubicBezTo>
                    <a:pt x="3419" y="132"/>
                    <a:pt x="3419" y="132"/>
                    <a:pt x="3419" y="132"/>
                  </a:cubicBezTo>
                  <a:cubicBezTo>
                    <a:pt x="3422" y="132"/>
                    <a:pt x="3427" y="134"/>
                    <a:pt x="3422" y="134"/>
                  </a:cubicBezTo>
                  <a:cubicBezTo>
                    <a:pt x="3425" y="135"/>
                    <a:pt x="3431" y="137"/>
                    <a:pt x="3433" y="139"/>
                  </a:cubicBezTo>
                  <a:cubicBezTo>
                    <a:pt x="3434" y="140"/>
                    <a:pt x="3433" y="142"/>
                    <a:pt x="3434" y="144"/>
                  </a:cubicBezTo>
                  <a:cubicBezTo>
                    <a:pt x="3436" y="145"/>
                    <a:pt x="3438" y="145"/>
                    <a:pt x="3440" y="146"/>
                  </a:cubicBezTo>
                  <a:cubicBezTo>
                    <a:pt x="3436" y="146"/>
                    <a:pt x="3437" y="149"/>
                    <a:pt x="3439" y="151"/>
                  </a:cubicBezTo>
                  <a:cubicBezTo>
                    <a:pt x="3441" y="153"/>
                    <a:pt x="3443" y="154"/>
                    <a:pt x="3446" y="156"/>
                  </a:cubicBezTo>
                  <a:cubicBezTo>
                    <a:pt x="3446" y="157"/>
                    <a:pt x="3447" y="158"/>
                    <a:pt x="3448" y="158"/>
                  </a:cubicBezTo>
                  <a:cubicBezTo>
                    <a:pt x="3451" y="158"/>
                    <a:pt x="3452" y="150"/>
                    <a:pt x="3452" y="148"/>
                  </a:cubicBezTo>
                  <a:cubicBezTo>
                    <a:pt x="3453" y="146"/>
                    <a:pt x="3453" y="144"/>
                    <a:pt x="3456" y="143"/>
                  </a:cubicBezTo>
                  <a:cubicBezTo>
                    <a:pt x="3458" y="143"/>
                    <a:pt x="3456" y="142"/>
                    <a:pt x="3456" y="141"/>
                  </a:cubicBezTo>
                  <a:cubicBezTo>
                    <a:pt x="3456" y="141"/>
                    <a:pt x="3456" y="141"/>
                    <a:pt x="3456" y="141"/>
                  </a:cubicBezTo>
                  <a:cubicBezTo>
                    <a:pt x="3456" y="141"/>
                    <a:pt x="3456" y="141"/>
                    <a:pt x="3456" y="140"/>
                  </a:cubicBezTo>
                  <a:cubicBezTo>
                    <a:pt x="3456" y="139"/>
                    <a:pt x="3457" y="140"/>
                    <a:pt x="3458" y="139"/>
                  </a:cubicBezTo>
                  <a:cubicBezTo>
                    <a:pt x="3458" y="138"/>
                    <a:pt x="3459" y="139"/>
                    <a:pt x="3460" y="138"/>
                  </a:cubicBezTo>
                  <a:cubicBezTo>
                    <a:pt x="3460" y="138"/>
                    <a:pt x="3460" y="137"/>
                    <a:pt x="3460" y="137"/>
                  </a:cubicBezTo>
                  <a:cubicBezTo>
                    <a:pt x="3461" y="136"/>
                    <a:pt x="3463" y="136"/>
                    <a:pt x="3464" y="135"/>
                  </a:cubicBezTo>
                  <a:cubicBezTo>
                    <a:pt x="3467" y="135"/>
                    <a:pt x="3471" y="134"/>
                    <a:pt x="3473" y="132"/>
                  </a:cubicBezTo>
                  <a:cubicBezTo>
                    <a:pt x="3474" y="131"/>
                    <a:pt x="3474" y="130"/>
                    <a:pt x="3475" y="128"/>
                  </a:cubicBezTo>
                  <a:cubicBezTo>
                    <a:pt x="3477" y="127"/>
                    <a:pt x="3482" y="126"/>
                    <a:pt x="3485" y="125"/>
                  </a:cubicBezTo>
                  <a:cubicBezTo>
                    <a:pt x="3487" y="124"/>
                    <a:pt x="3495" y="121"/>
                    <a:pt x="3495" y="118"/>
                  </a:cubicBezTo>
                  <a:cubicBezTo>
                    <a:pt x="3494" y="116"/>
                    <a:pt x="3492" y="115"/>
                    <a:pt x="3491" y="114"/>
                  </a:cubicBezTo>
                  <a:cubicBezTo>
                    <a:pt x="3492" y="115"/>
                    <a:pt x="3495" y="116"/>
                    <a:pt x="3497" y="116"/>
                  </a:cubicBezTo>
                  <a:cubicBezTo>
                    <a:pt x="3499" y="116"/>
                    <a:pt x="3501" y="115"/>
                    <a:pt x="3502" y="115"/>
                  </a:cubicBezTo>
                  <a:cubicBezTo>
                    <a:pt x="3502" y="115"/>
                    <a:pt x="3502" y="115"/>
                    <a:pt x="3501" y="115"/>
                  </a:cubicBezTo>
                  <a:cubicBezTo>
                    <a:pt x="3500" y="115"/>
                    <a:pt x="3499" y="114"/>
                    <a:pt x="3498" y="113"/>
                  </a:cubicBezTo>
                  <a:cubicBezTo>
                    <a:pt x="3501" y="113"/>
                    <a:pt x="3500" y="111"/>
                    <a:pt x="3499" y="109"/>
                  </a:cubicBezTo>
                  <a:cubicBezTo>
                    <a:pt x="3500" y="109"/>
                    <a:pt x="3500" y="109"/>
                    <a:pt x="3501" y="109"/>
                  </a:cubicBezTo>
                  <a:cubicBezTo>
                    <a:pt x="3504" y="109"/>
                    <a:pt x="3509" y="108"/>
                    <a:pt x="3507" y="105"/>
                  </a:cubicBezTo>
                  <a:cubicBezTo>
                    <a:pt x="3508" y="105"/>
                    <a:pt x="3510" y="106"/>
                    <a:pt x="3512" y="106"/>
                  </a:cubicBezTo>
                  <a:cubicBezTo>
                    <a:pt x="3512" y="106"/>
                    <a:pt x="3513" y="106"/>
                    <a:pt x="3513" y="106"/>
                  </a:cubicBezTo>
                  <a:cubicBezTo>
                    <a:pt x="3513" y="103"/>
                    <a:pt x="3504" y="100"/>
                    <a:pt x="3512" y="100"/>
                  </a:cubicBezTo>
                  <a:cubicBezTo>
                    <a:pt x="3512" y="100"/>
                    <a:pt x="3513" y="101"/>
                    <a:pt x="3514" y="101"/>
                  </a:cubicBezTo>
                  <a:cubicBezTo>
                    <a:pt x="3514" y="101"/>
                    <a:pt x="3514" y="101"/>
                    <a:pt x="3514" y="101"/>
                  </a:cubicBezTo>
                  <a:cubicBezTo>
                    <a:pt x="3516" y="101"/>
                    <a:pt x="3518" y="100"/>
                    <a:pt x="3519" y="99"/>
                  </a:cubicBezTo>
                  <a:cubicBezTo>
                    <a:pt x="3521" y="99"/>
                    <a:pt x="3524" y="98"/>
                    <a:pt x="3526" y="97"/>
                  </a:cubicBezTo>
                  <a:cubicBezTo>
                    <a:pt x="3527" y="95"/>
                    <a:pt x="3526" y="95"/>
                    <a:pt x="3527" y="93"/>
                  </a:cubicBezTo>
                  <a:cubicBezTo>
                    <a:pt x="3527" y="93"/>
                    <a:pt x="3528" y="89"/>
                    <a:pt x="3529" y="89"/>
                  </a:cubicBezTo>
                  <a:cubicBezTo>
                    <a:pt x="3529" y="89"/>
                    <a:pt x="3529" y="89"/>
                    <a:pt x="3529" y="89"/>
                  </a:cubicBezTo>
                  <a:cubicBezTo>
                    <a:pt x="3530" y="89"/>
                    <a:pt x="3530" y="89"/>
                    <a:pt x="3530" y="90"/>
                  </a:cubicBezTo>
                  <a:cubicBezTo>
                    <a:pt x="3530" y="90"/>
                    <a:pt x="3531" y="90"/>
                    <a:pt x="3531" y="90"/>
                  </a:cubicBezTo>
                  <a:cubicBezTo>
                    <a:pt x="3531" y="90"/>
                    <a:pt x="3531" y="90"/>
                    <a:pt x="3531" y="90"/>
                  </a:cubicBezTo>
                  <a:cubicBezTo>
                    <a:pt x="3534" y="90"/>
                    <a:pt x="3537" y="87"/>
                    <a:pt x="3540" y="86"/>
                  </a:cubicBezTo>
                  <a:cubicBezTo>
                    <a:pt x="3541" y="86"/>
                    <a:pt x="3541" y="86"/>
                    <a:pt x="3542" y="86"/>
                  </a:cubicBezTo>
                  <a:cubicBezTo>
                    <a:pt x="3543" y="86"/>
                    <a:pt x="3544" y="87"/>
                    <a:pt x="3546" y="87"/>
                  </a:cubicBezTo>
                  <a:cubicBezTo>
                    <a:pt x="3546" y="87"/>
                    <a:pt x="3547" y="87"/>
                    <a:pt x="3547" y="87"/>
                  </a:cubicBezTo>
                  <a:cubicBezTo>
                    <a:pt x="3551" y="87"/>
                    <a:pt x="3554" y="86"/>
                    <a:pt x="3557" y="84"/>
                  </a:cubicBezTo>
                  <a:cubicBezTo>
                    <a:pt x="3556" y="83"/>
                    <a:pt x="3553" y="81"/>
                    <a:pt x="3555" y="80"/>
                  </a:cubicBezTo>
                  <a:cubicBezTo>
                    <a:pt x="3559" y="80"/>
                    <a:pt x="3562" y="80"/>
                    <a:pt x="3565" y="79"/>
                  </a:cubicBezTo>
                  <a:cubicBezTo>
                    <a:pt x="3571" y="78"/>
                    <a:pt x="3568" y="77"/>
                    <a:pt x="3570" y="74"/>
                  </a:cubicBezTo>
                  <a:cubicBezTo>
                    <a:pt x="3572" y="72"/>
                    <a:pt x="3576" y="71"/>
                    <a:pt x="3578" y="70"/>
                  </a:cubicBezTo>
                  <a:cubicBezTo>
                    <a:pt x="3587" y="67"/>
                    <a:pt x="3595" y="63"/>
                    <a:pt x="3603" y="60"/>
                  </a:cubicBezTo>
                  <a:cubicBezTo>
                    <a:pt x="3608" y="58"/>
                    <a:pt x="3614" y="59"/>
                    <a:pt x="3619" y="57"/>
                  </a:cubicBezTo>
                  <a:cubicBezTo>
                    <a:pt x="3618" y="57"/>
                    <a:pt x="3618" y="57"/>
                    <a:pt x="3617" y="57"/>
                  </a:cubicBezTo>
                  <a:cubicBezTo>
                    <a:pt x="3617" y="57"/>
                    <a:pt x="3617" y="57"/>
                    <a:pt x="3617" y="57"/>
                  </a:cubicBezTo>
                  <a:cubicBezTo>
                    <a:pt x="3615" y="57"/>
                    <a:pt x="3612" y="57"/>
                    <a:pt x="3612" y="55"/>
                  </a:cubicBezTo>
                  <a:cubicBezTo>
                    <a:pt x="3611" y="53"/>
                    <a:pt x="3613" y="53"/>
                    <a:pt x="3613" y="51"/>
                  </a:cubicBezTo>
                  <a:cubicBezTo>
                    <a:pt x="3614" y="50"/>
                    <a:pt x="3613" y="49"/>
                    <a:pt x="3613" y="47"/>
                  </a:cubicBezTo>
                  <a:cubicBezTo>
                    <a:pt x="3614" y="48"/>
                    <a:pt x="3616" y="49"/>
                    <a:pt x="3618" y="49"/>
                  </a:cubicBezTo>
                  <a:cubicBezTo>
                    <a:pt x="3618" y="49"/>
                    <a:pt x="3622" y="49"/>
                    <a:pt x="3623" y="49"/>
                  </a:cubicBezTo>
                  <a:cubicBezTo>
                    <a:pt x="3624" y="49"/>
                    <a:pt x="3625" y="49"/>
                    <a:pt x="3623" y="50"/>
                  </a:cubicBezTo>
                  <a:cubicBezTo>
                    <a:pt x="3620" y="51"/>
                    <a:pt x="3620" y="56"/>
                    <a:pt x="3621" y="58"/>
                  </a:cubicBezTo>
                  <a:cubicBezTo>
                    <a:pt x="3627" y="58"/>
                    <a:pt x="3632" y="58"/>
                    <a:pt x="3638" y="59"/>
                  </a:cubicBezTo>
                  <a:cubicBezTo>
                    <a:pt x="3643" y="60"/>
                    <a:pt x="3648" y="63"/>
                    <a:pt x="3653" y="64"/>
                  </a:cubicBezTo>
                  <a:cubicBezTo>
                    <a:pt x="3657" y="65"/>
                    <a:pt x="3660" y="67"/>
                    <a:pt x="3664" y="68"/>
                  </a:cubicBezTo>
                  <a:cubicBezTo>
                    <a:pt x="3664" y="68"/>
                    <a:pt x="3664" y="68"/>
                    <a:pt x="3664" y="68"/>
                  </a:cubicBezTo>
                  <a:cubicBezTo>
                    <a:pt x="3667" y="68"/>
                    <a:pt x="3666" y="63"/>
                    <a:pt x="3666" y="62"/>
                  </a:cubicBezTo>
                  <a:cubicBezTo>
                    <a:pt x="3669" y="58"/>
                    <a:pt x="3678" y="58"/>
                    <a:pt x="3677" y="52"/>
                  </a:cubicBezTo>
                  <a:cubicBezTo>
                    <a:pt x="3677" y="49"/>
                    <a:pt x="3675" y="47"/>
                    <a:pt x="3673" y="46"/>
                  </a:cubicBezTo>
                  <a:cubicBezTo>
                    <a:pt x="3668" y="44"/>
                    <a:pt x="3670" y="44"/>
                    <a:pt x="3672" y="39"/>
                  </a:cubicBezTo>
                  <a:cubicBezTo>
                    <a:pt x="3673" y="37"/>
                    <a:pt x="3672" y="35"/>
                    <a:pt x="3670" y="33"/>
                  </a:cubicBezTo>
                  <a:cubicBezTo>
                    <a:pt x="3666" y="31"/>
                    <a:pt x="3660" y="32"/>
                    <a:pt x="3659" y="26"/>
                  </a:cubicBezTo>
                  <a:cubicBezTo>
                    <a:pt x="3660" y="27"/>
                    <a:pt x="3661" y="28"/>
                    <a:pt x="3662" y="29"/>
                  </a:cubicBezTo>
                  <a:cubicBezTo>
                    <a:pt x="3660" y="26"/>
                    <a:pt x="3658" y="22"/>
                    <a:pt x="3656" y="19"/>
                  </a:cubicBezTo>
                  <a:cubicBezTo>
                    <a:pt x="3656" y="21"/>
                    <a:pt x="3660" y="26"/>
                    <a:pt x="3655" y="26"/>
                  </a:cubicBezTo>
                  <a:cubicBezTo>
                    <a:pt x="3655" y="26"/>
                    <a:pt x="3655" y="26"/>
                    <a:pt x="3655" y="26"/>
                  </a:cubicBezTo>
                  <a:cubicBezTo>
                    <a:pt x="3653" y="26"/>
                    <a:pt x="3657" y="21"/>
                    <a:pt x="3655" y="19"/>
                  </a:cubicBezTo>
                  <a:cubicBezTo>
                    <a:pt x="3654" y="19"/>
                    <a:pt x="3654" y="19"/>
                    <a:pt x="3653" y="19"/>
                  </a:cubicBezTo>
                  <a:cubicBezTo>
                    <a:pt x="3652" y="19"/>
                    <a:pt x="3651" y="19"/>
                    <a:pt x="3650" y="20"/>
                  </a:cubicBezTo>
                  <a:cubicBezTo>
                    <a:pt x="3649" y="20"/>
                    <a:pt x="3648" y="20"/>
                    <a:pt x="3647" y="20"/>
                  </a:cubicBezTo>
                  <a:cubicBezTo>
                    <a:pt x="3646" y="20"/>
                    <a:pt x="3646" y="20"/>
                    <a:pt x="3646" y="18"/>
                  </a:cubicBezTo>
                  <a:cubicBezTo>
                    <a:pt x="3646" y="17"/>
                    <a:pt x="3648" y="17"/>
                    <a:pt x="3649" y="17"/>
                  </a:cubicBezTo>
                  <a:cubicBezTo>
                    <a:pt x="3651" y="17"/>
                    <a:pt x="3654" y="18"/>
                    <a:pt x="3655" y="18"/>
                  </a:cubicBezTo>
                  <a:cubicBezTo>
                    <a:pt x="3655" y="17"/>
                    <a:pt x="3654" y="16"/>
                    <a:pt x="3654" y="16"/>
                  </a:cubicBezTo>
                  <a:cubicBezTo>
                    <a:pt x="3654" y="16"/>
                    <a:pt x="3656" y="16"/>
                    <a:pt x="3656" y="16"/>
                  </a:cubicBezTo>
                  <a:cubicBezTo>
                    <a:pt x="3656" y="14"/>
                    <a:pt x="3655" y="11"/>
                    <a:pt x="3655" y="8"/>
                  </a:cubicBezTo>
                  <a:cubicBezTo>
                    <a:pt x="3655" y="7"/>
                    <a:pt x="3655" y="6"/>
                    <a:pt x="3654" y="5"/>
                  </a:cubicBezTo>
                  <a:cubicBezTo>
                    <a:pt x="3653" y="4"/>
                    <a:pt x="3651" y="5"/>
                    <a:pt x="3651" y="3"/>
                  </a:cubicBezTo>
                  <a:cubicBezTo>
                    <a:pt x="3651" y="2"/>
                    <a:pt x="3651" y="1"/>
                    <a:pt x="36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561"/>
            <p:cNvSpPr>
              <a:spLocks noEditPoints="1"/>
            </p:cNvSpPr>
            <p:nvPr/>
          </p:nvSpPr>
          <p:spPr bwMode="auto">
            <a:xfrm>
              <a:off x="1589" y="1336410"/>
              <a:ext cx="768268" cy="796474"/>
            </a:xfrm>
            <a:custGeom>
              <a:gdLst>
                <a:gd name="T0" fmla="*/ 40 w 242"/>
                <a:gd name="T1" fmla="*/ 171 h 251"/>
                <a:gd name="T2" fmla="*/ 76 w 242"/>
                <a:gd name="T3" fmla="*/ 1 h 251"/>
                <a:gd name="T4" fmla="*/ 51 w 242"/>
                <a:gd name="T5" fmla="*/ 8 h 251"/>
                <a:gd name="T6" fmla="*/ 34 w 242"/>
                <a:gd name="T7" fmla="*/ 9 h 251"/>
                <a:gd name="T8" fmla="*/ 27 w 242"/>
                <a:gd name="T9" fmla="*/ 9 h 251"/>
                <a:gd name="T10" fmla="*/ 21 w 242"/>
                <a:gd name="T11" fmla="*/ 10 h 251"/>
                <a:gd name="T12" fmla="*/ 10 w 242"/>
                <a:gd name="T13" fmla="*/ 20 h 251"/>
                <a:gd name="T14" fmla="*/ 8 w 242"/>
                <a:gd name="T15" fmla="*/ 39 h 251"/>
                <a:gd name="T16" fmla="*/ 1 w 242"/>
                <a:gd name="T17" fmla="*/ 191 h 251"/>
                <a:gd name="T18" fmla="*/ 6 w 242"/>
                <a:gd name="T19" fmla="*/ 193 h 251"/>
                <a:gd name="T20" fmla="*/ 21 w 242"/>
                <a:gd name="T21" fmla="*/ 183 h 251"/>
                <a:gd name="T22" fmla="*/ 33 w 242"/>
                <a:gd name="T23" fmla="*/ 177 h 251"/>
                <a:gd name="T24" fmla="*/ 41 w 242"/>
                <a:gd name="T25" fmla="*/ 174 h 251"/>
                <a:gd name="T26" fmla="*/ 40 w 242"/>
                <a:gd name="T27" fmla="*/ 173 h 251"/>
                <a:gd name="T28" fmla="*/ 39 w 242"/>
                <a:gd name="T29" fmla="*/ 172 h 251"/>
                <a:gd name="T30" fmla="*/ 38 w 242"/>
                <a:gd name="T31" fmla="*/ 165 h 251"/>
                <a:gd name="T32" fmla="*/ 40 w 242"/>
                <a:gd name="T33" fmla="*/ 171 h 251"/>
                <a:gd name="T34" fmla="*/ 42 w 242"/>
                <a:gd name="T35" fmla="*/ 172 h 251"/>
                <a:gd name="T36" fmla="*/ 42 w 242"/>
                <a:gd name="T37" fmla="*/ 181 h 251"/>
                <a:gd name="T38" fmla="*/ 49 w 242"/>
                <a:gd name="T39" fmla="*/ 188 h 251"/>
                <a:gd name="T40" fmla="*/ 34 w 242"/>
                <a:gd name="T41" fmla="*/ 188 h 251"/>
                <a:gd name="T42" fmla="*/ 42 w 242"/>
                <a:gd name="T43" fmla="*/ 192 h 251"/>
                <a:gd name="T44" fmla="*/ 41 w 242"/>
                <a:gd name="T45" fmla="*/ 195 h 251"/>
                <a:gd name="T46" fmla="*/ 53 w 242"/>
                <a:gd name="T47" fmla="*/ 199 h 251"/>
                <a:gd name="T48" fmla="*/ 71 w 242"/>
                <a:gd name="T49" fmla="*/ 196 h 251"/>
                <a:gd name="T50" fmla="*/ 80 w 242"/>
                <a:gd name="T51" fmla="*/ 200 h 251"/>
                <a:gd name="T52" fmla="*/ 78 w 242"/>
                <a:gd name="T53" fmla="*/ 207 h 251"/>
                <a:gd name="T54" fmla="*/ 66 w 242"/>
                <a:gd name="T55" fmla="*/ 213 h 251"/>
                <a:gd name="T56" fmla="*/ 55 w 242"/>
                <a:gd name="T57" fmla="*/ 220 h 251"/>
                <a:gd name="T58" fmla="*/ 82 w 242"/>
                <a:gd name="T59" fmla="*/ 235 h 251"/>
                <a:gd name="T60" fmla="*/ 76 w 242"/>
                <a:gd name="T61" fmla="*/ 246 h 251"/>
                <a:gd name="T62" fmla="*/ 88 w 242"/>
                <a:gd name="T63" fmla="*/ 250 h 251"/>
                <a:gd name="T64" fmla="*/ 138 w 242"/>
                <a:gd name="T65" fmla="*/ 233 h 251"/>
                <a:gd name="T66" fmla="*/ 145 w 242"/>
                <a:gd name="T67" fmla="*/ 232 h 251"/>
                <a:gd name="T68" fmla="*/ 151 w 242"/>
                <a:gd name="T69" fmla="*/ 227 h 251"/>
                <a:gd name="T70" fmla="*/ 153 w 242"/>
                <a:gd name="T71" fmla="*/ 222 h 251"/>
                <a:gd name="T72" fmla="*/ 138 w 242"/>
                <a:gd name="T73" fmla="*/ 221 h 251"/>
                <a:gd name="T74" fmla="*/ 130 w 242"/>
                <a:gd name="T75" fmla="*/ 224 h 251"/>
                <a:gd name="T76" fmla="*/ 114 w 242"/>
                <a:gd name="T77" fmla="*/ 195 h 251"/>
                <a:gd name="T78" fmla="*/ 124 w 242"/>
                <a:gd name="T79" fmla="*/ 191 h 251"/>
                <a:gd name="T80" fmla="*/ 136 w 242"/>
                <a:gd name="T81" fmla="*/ 183 h 251"/>
                <a:gd name="T82" fmla="*/ 154 w 242"/>
                <a:gd name="T83" fmla="*/ 179 h 251"/>
                <a:gd name="T84" fmla="*/ 160 w 242"/>
                <a:gd name="T85" fmla="*/ 183 h 251"/>
                <a:gd name="T86" fmla="*/ 182 w 242"/>
                <a:gd name="T87" fmla="*/ 169 h 251"/>
                <a:gd name="T88" fmla="*/ 193 w 242"/>
                <a:gd name="T89" fmla="*/ 168 h 251"/>
                <a:gd name="T90" fmla="*/ 194 w 242"/>
                <a:gd name="T91" fmla="*/ 167 h 251"/>
                <a:gd name="T92" fmla="*/ 218 w 242"/>
                <a:gd name="T93" fmla="*/ 142 h 251"/>
                <a:gd name="T94" fmla="*/ 232 w 242"/>
                <a:gd name="T95" fmla="*/ 142 h 251"/>
                <a:gd name="T96" fmla="*/ 230 w 242"/>
                <a:gd name="T97" fmla="*/ 123 h 251"/>
                <a:gd name="T98" fmla="*/ 228 w 242"/>
                <a:gd name="T99" fmla="*/ 109 h 251"/>
                <a:gd name="T100" fmla="*/ 236 w 242"/>
                <a:gd name="T101" fmla="*/ 93 h 251"/>
                <a:gd name="T102" fmla="*/ 215 w 242"/>
                <a:gd name="T103" fmla="*/ 84 h 251"/>
                <a:gd name="T104" fmla="*/ 204 w 242"/>
                <a:gd name="T105" fmla="*/ 77 h 251"/>
                <a:gd name="T106" fmla="*/ 190 w 242"/>
                <a:gd name="T107" fmla="*/ 82 h 251"/>
                <a:gd name="T108" fmla="*/ 157 w 242"/>
                <a:gd name="T109" fmla="*/ 69 h 251"/>
                <a:gd name="T110" fmla="*/ 129 w 242"/>
                <a:gd name="T111" fmla="*/ 64 h 251"/>
                <a:gd name="T112" fmla="*/ 115 w 242"/>
                <a:gd name="T113" fmla="*/ 39 h 251"/>
                <a:gd name="T114" fmla="*/ 99 w 242"/>
                <a:gd name="T115" fmla="*/ 38 h 251"/>
                <a:gd name="T116" fmla="*/ 92 w 242"/>
                <a:gd name="T117" fmla="*/ 23 h 251"/>
                <a:gd name="T118" fmla="*/ 86 w 242"/>
                <a:gd name="T119" fmla="*/ 1 h 2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 h="251">
                  <a:moveTo>
                    <a:pt x="0" y="196"/>
                  </a:moveTo>
                  <a:cubicBezTo>
                    <a:pt x="0" y="205"/>
                    <a:pt x="0" y="205"/>
                    <a:pt x="0" y="205"/>
                  </a:cubicBezTo>
                  <a:cubicBezTo>
                    <a:pt x="2" y="203"/>
                    <a:pt x="3" y="202"/>
                    <a:pt x="3" y="201"/>
                  </a:cubicBezTo>
                  <a:cubicBezTo>
                    <a:pt x="2" y="200"/>
                    <a:pt x="1" y="198"/>
                    <a:pt x="0" y="196"/>
                  </a:cubicBezTo>
                  <a:moveTo>
                    <a:pt x="40" y="171"/>
                  </a:moveTo>
                  <a:cubicBezTo>
                    <a:pt x="40" y="171"/>
                    <a:pt x="40" y="171"/>
                    <a:pt x="40" y="171"/>
                  </a:cubicBezTo>
                  <a:cubicBezTo>
                    <a:pt x="40" y="171"/>
                    <a:pt x="40" y="171"/>
                    <a:pt x="40" y="171"/>
                  </a:cubicBezTo>
                  <a:cubicBezTo>
                    <a:pt x="40" y="171"/>
                    <a:pt x="40" y="171"/>
                    <a:pt x="40" y="171"/>
                  </a:cubicBezTo>
                  <a:moveTo>
                    <a:pt x="83" y="0"/>
                  </a:moveTo>
                  <a:cubicBezTo>
                    <a:pt x="82" y="0"/>
                    <a:pt x="80" y="1"/>
                    <a:pt x="76" y="1"/>
                  </a:cubicBezTo>
                  <a:cubicBezTo>
                    <a:pt x="72" y="3"/>
                    <a:pt x="68" y="3"/>
                    <a:pt x="65" y="3"/>
                  </a:cubicBezTo>
                  <a:cubicBezTo>
                    <a:pt x="63" y="3"/>
                    <a:pt x="61" y="3"/>
                    <a:pt x="59" y="2"/>
                  </a:cubicBezTo>
                  <a:cubicBezTo>
                    <a:pt x="58" y="2"/>
                    <a:pt x="58" y="2"/>
                    <a:pt x="58" y="2"/>
                  </a:cubicBezTo>
                  <a:cubicBezTo>
                    <a:pt x="55" y="2"/>
                    <a:pt x="53" y="5"/>
                    <a:pt x="51" y="8"/>
                  </a:cubicBezTo>
                  <a:cubicBezTo>
                    <a:pt x="51" y="8"/>
                    <a:pt x="51" y="8"/>
                    <a:pt x="51" y="8"/>
                  </a:cubicBezTo>
                  <a:cubicBezTo>
                    <a:pt x="49" y="11"/>
                    <a:pt x="47" y="11"/>
                    <a:pt x="44" y="11"/>
                  </a:cubicBezTo>
                  <a:cubicBezTo>
                    <a:pt x="41" y="11"/>
                    <a:pt x="38" y="11"/>
                    <a:pt x="36" y="10"/>
                  </a:cubicBezTo>
                  <a:cubicBezTo>
                    <a:pt x="35" y="9"/>
                    <a:pt x="35" y="9"/>
                    <a:pt x="35" y="9"/>
                  </a:cubicBezTo>
                  <a:cubicBezTo>
                    <a:pt x="35" y="9"/>
                    <a:pt x="35" y="9"/>
                    <a:pt x="35" y="9"/>
                  </a:cubicBezTo>
                  <a:cubicBezTo>
                    <a:pt x="34" y="9"/>
                    <a:pt x="34" y="9"/>
                    <a:pt x="34" y="9"/>
                  </a:cubicBezTo>
                  <a:cubicBezTo>
                    <a:pt x="33" y="9"/>
                    <a:pt x="33" y="9"/>
                    <a:pt x="33" y="9"/>
                  </a:cubicBezTo>
                  <a:cubicBezTo>
                    <a:pt x="33" y="9"/>
                    <a:pt x="32" y="9"/>
                    <a:pt x="31" y="9"/>
                  </a:cubicBezTo>
                  <a:cubicBezTo>
                    <a:pt x="31" y="9"/>
                    <a:pt x="30" y="9"/>
                    <a:pt x="29" y="9"/>
                  </a:cubicBezTo>
                  <a:cubicBezTo>
                    <a:pt x="29" y="9"/>
                    <a:pt x="29" y="9"/>
                    <a:pt x="29" y="9"/>
                  </a:cubicBezTo>
                  <a:cubicBezTo>
                    <a:pt x="28" y="9"/>
                    <a:pt x="27" y="9"/>
                    <a:pt x="27" y="9"/>
                  </a:cubicBezTo>
                  <a:cubicBezTo>
                    <a:pt x="26" y="10"/>
                    <a:pt x="26" y="10"/>
                    <a:pt x="26" y="10"/>
                  </a:cubicBezTo>
                  <a:cubicBezTo>
                    <a:pt x="26" y="10"/>
                    <a:pt x="25" y="11"/>
                    <a:pt x="24" y="11"/>
                  </a:cubicBezTo>
                  <a:cubicBezTo>
                    <a:pt x="23" y="11"/>
                    <a:pt x="23" y="11"/>
                    <a:pt x="23" y="11"/>
                  </a:cubicBezTo>
                  <a:cubicBezTo>
                    <a:pt x="23" y="11"/>
                    <a:pt x="22" y="11"/>
                    <a:pt x="21" y="11"/>
                  </a:cubicBezTo>
                  <a:cubicBezTo>
                    <a:pt x="21" y="10"/>
                    <a:pt x="21" y="10"/>
                    <a:pt x="21" y="10"/>
                  </a:cubicBezTo>
                  <a:cubicBezTo>
                    <a:pt x="17" y="10"/>
                    <a:pt x="17" y="12"/>
                    <a:pt x="14" y="15"/>
                  </a:cubicBezTo>
                  <a:cubicBezTo>
                    <a:pt x="12" y="17"/>
                    <a:pt x="12" y="17"/>
                    <a:pt x="12" y="17"/>
                  </a:cubicBezTo>
                  <a:cubicBezTo>
                    <a:pt x="12" y="18"/>
                    <a:pt x="11" y="18"/>
                    <a:pt x="11" y="18"/>
                  </a:cubicBezTo>
                  <a:cubicBezTo>
                    <a:pt x="11" y="19"/>
                    <a:pt x="11" y="19"/>
                    <a:pt x="11" y="19"/>
                  </a:cubicBezTo>
                  <a:cubicBezTo>
                    <a:pt x="10" y="20"/>
                    <a:pt x="10" y="20"/>
                    <a:pt x="10" y="20"/>
                  </a:cubicBezTo>
                  <a:cubicBezTo>
                    <a:pt x="10" y="20"/>
                    <a:pt x="10" y="21"/>
                    <a:pt x="9" y="21"/>
                  </a:cubicBezTo>
                  <a:cubicBezTo>
                    <a:pt x="9" y="23"/>
                    <a:pt x="8" y="24"/>
                    <a:pt x="9" y="26"/>
                  </a:cubicBezTo>
                  <a:cubicBezTo>
                    <a:pt x="9" y="27"/>
                    <a:pt x="9" y="28"/>
                    <a:pt x="9" y="28"/>
                  </a:cubicBezTo>
                  <a:cubicBezTo>
                    <a:pt x="10" y="31"/>
                    <a:pt x="10" y="33"/>
                    <a:pt x="9" y="36"/>
                  </a:cubicBezTo>
                  <a:cubicBezTo>
                    <a:pt x="8" y="39"/>
                    <a:pt x="8" y="39"/>
                    <a:pt x="8" y="39"/>
                  </a:cubicBezTo>
                  <a:cubicBezTo>
                    <a:pt x="6" y="37"/>
                    <a:pt x="6" y="37"/>
                    <a:pt x="6" y="37"/>
                  </a:cubicBezTo>
                  <a:cubicBezTo>
                    <a:pt x="5" y="36"/>
                    <a:pt x="4" y="35"/>
                    <a:pt x="3" y="34"/>
                  </a:cubicBezTo>
                  <a:cubicBezTo>
                    <a:pt x="2" y="33"/>
                    <a:pt x="1" y="32"/>
                    <a:pt x="0" y="32"/>
                  </a:cubicBezTo>
                  <a:cubicBezTo>
                    <a:pt x="0" y="192"/>
                    <a:pt x="0" y="192"/>
                    <a:pt x="0" y="192"/>
                  </a:cubicBezTo>
                  <a:cubicBezTo>
                    <a:pt x="0" y="192"/>
                    <a:pt x="1" y="191"/>
                    <a:pt x="1" y="191"/>
                  </a:cubicBezTo>
                  <a:cubicBezTo>
                    <a:pt x="1" y="192"/>
                    <a:pt x="1" y="192"/>
                    <a:pt x="1" y="193"/>
                  </a:cubicBezTo>
                  <a:cubicBezTo>
                    <a:pt x="2" y="193"/>
                    <a:pt x="3" y="194"/>
                    <a:pt x="3" y="194"/>
                  </a:cubicBezTo>
                  <a:cubicBezTo>
                    <a:pt x="3" y="195"/>
                    <a:pt x="3" y="195"/>
                    <a:pt x="3" y="196"/>
                  </a:cubicBezTo>
                  <a:cubicBezTo>
                    <a:pt x="3" y="196"/>
                    <a:pt x="3" y="196"/>
                    <a:pt x="3" y="196"/>
                  </a:cubicBezTo>
                  <a:cubicBezTo>
                    <a:pt x="4" y="195"/>
                    <a:pt x="5" y="194"/>
                    <a:pt x="6" y="193"/>
                  </a:cubicBezTo>
                  <a:cubicBezTo>
                    <a:pt x="7" y="191"/>
                    <a:pt x="8" y="190"/>
                    <a:pt x="9" y="189"/>
                  </a:cubicBezTo>
                  <a:cubicBezTo>
                    <a:pt x="11" y="187"/>
                    <a:pt x="13" y="185"/>
                    <a:pt x="16" y="185"/>
                  </a:cubicBezTo>
                  <a:cubicBezTo>
                    <a:pt x="16" y="184"/>
                    <a:pt x="17" y="184"/>
                    <a:pt x="18" y="184"/>
                  </a:cubicBezTo>
                  <a:cubicBezTo>
                    <a:pt x="19" y="184"/>
                    <a:pt x="19" y="184"/>
                    <a:pt x="20" y="184"/>
                  </a:cubicBezTo>
                  <a:cubicBezTo>
                    <a:pt x="20" y="183"/>
                    <a:pt x="21" y="183"/>
                    <a:pt x="21" y="183"/>
                  </a:cubicBezTo>
                  <a:cubicBezTo>
                    <a:pt x="22" y="183"/>
                    <a:pt x="23" y="184"/>
                    <a:pt x="24" y="184"/>
                  </a:cubicBezTo>
                  <a:cubicBezTo>
                    <a:pt x="24" y="183"/>
                    <a:pt x="24" y="183"/>
                    <a:pt x="24" y="183"/>
                  </a:cubicBezTo>
                  <a:cubicBezTo>
                    <a:pt x="25" y="183"/>
                    <a:pt x="26" y="183"/>
                    <a:pt x="26" y="183"/>
                  </a:cubicBezTo>
                  <a:cubicBezTo>
                    <a:pt x="28" y="182"/>
                    <a:pt x="28" y="182"/>
                    <a:pt x="28" y="182"/>
                  </a:cubicBezTo>
                  <a:cubicBezTo>
                    <a:pt x="29" y="180"/>
                    <a:pt x="31" y="179"/>
                    <a:pt x="33" y="177"/>
                  </a:cubicBezTo>
                  <a:cubicBezTo>
                    <a:pt x="32" y="179"/>
                    <a:pt x="32" y="179"/>
                    <a:pt x="32" y="179"/>
                  </a:cubicBezTo>
                  <a:cubicBezTo>
                    <a:pt x="32" y="180"/>
                    <a:pt x="31" y="180"/>
                    <a:pt x="33" y="180"/>
                  </a:cubicBezTo>
                  <a:cubicBezTo>
                    <a:pt x="35" y="181"/>
                    <a:pt x="38" y="182"/>
                    <a:pt x="40" y="182"/>
                  </a:cubicBezTo>
                  <a:cubicBezTo>
                    <a:pt x="40" y="179"/>
                    <a:pt x="40" y="178"/>
                    <a:pt x="41" y="175"/>
                  </a:cubicBezTo>
                  <a:cubicBezTo>
                    <a:pt x="42" y="175"/>
                    <a:pt x="42" y="174"/>
                    <a:pt x="41" y="174"/>
                  </a:cubicBezTo>
                  <a:cubicBezTo>
                    <a:pt x="41" y="174"/>
                    <a:pt x="41" y="174"/>
                    <a:pt x="41" y="174"/>
                  </a:cubicBezTo>
                  <a:cubicBezTo>
                    <a:pt x="41" y="174"/>
                    <a:pt x="41" y="174"/>
                    <a:pt x="41" y="174"/>
                  </a:cubicBezTo>
                  <a:cubicBezTo>
                    <a:pt x="41" y="174"/>
                    <a:pt x="41" y="174"/>
                    <a:pt x="41" y="174"/>
                  </a:cubicBezTo>
                  <a:cubicBezTo>
                    <a:pt x="41" y="174"/>
                    <a:pt x="40" y="173"/>
                    <a:pt x="40" y="173"/>
                  </a:cubicBezTo>
                  <a:cubicBezTo>
                    <a:pt x="40" y="173"/>
                    <a:pt x="40" y="173"/>
                    <a:pt x="40" y="173"/>
                  </a:cubicBezTo>
                  <a:cubicBezTo>
                    <a:pt x="41" y="172"/>
                    <a:pt x="41" y="172"/>
                    <a:pt x="41" y="172"/>
                  </a:cubicBezTo>
                  <a:cubicBezTo>
                    <a:pt x="41" y="171"/>
                    <a:pt x="41" y="171"/>
                    <a:pt x="41" y="171"/>
                  </a:cubicBezTo>
                  <a:cubicBezTo>
                    <a:pt x="41" y="171"/>
                    <a:pt x="41" y="171"/>
                    <a:pt x="41" y="171"/>
                  </a:cubicBezTo>
                  <a:cubicBezTo>
                    <a:pt x="41" y="171"/>
                    <a:pt x="40" y="172"/>
                    <a:pt x="39" y="172"/>
                  </a:cubicBezTo>
                  <a:cubicBezTo>
                    <a:pt x="39" y="172"/>
                    <a:pt x="39" y="172"/>
                    <a:pt x="39" y="172"/>
                  </a:cubicBezTo>
                  <a:cubicBezTo>
                    <a:pt x="39" y="171"/>
                    <a:pt x="40" y="170"/>
                    <a:pt x="39" y="169"/>
                  </a:cubicBezTo>
                  <a:cubicBezTo>
                    <a:pt x="39" y="168"/>
                    <a:pt x="38" y="168"/>
                    <a:pt x="38" y="168"/>
                  </a:cubicBezTo>
                  <a:cubicBezTo>
                    <a:pt x="38" y="167"/>
                    <a:pt x="38" y="167"/>
                    <a:pt x="38" y="166"/>
                  </a:cubicBezTo>
                  <a:cubicBezTo>
                    <a:pt x="38" y="166"/>
                    <a:pt x="38" y="166"/>
                    <a:pt x="37" y="165"/>
                  </a:cubicBezTo>
                  <a:cubicBezTo>
                    <a:pt x="38" y="165"/>
                    <a:pt x="38" y="165"/>
                    <a:pt x="38" y="165"/>
                  </a:cubicBezTo>
                  <a:cubicBezTo>
                    <a:pt x="38" y="165"/>
                    <a:pt x="38" y="166"/>
                    <a:pt x="39" y="166"/>
                  </a:cubicBezTo>
                  <a:cubicBezTo>
                    <a:pt x="39" y="167"/>
                    <a:pt x="39" y="170"/>
                    <a:pt x="40" y="170"/>
                  </a:cubicBezTo>
                  <a:cubicBezTo>
                    <a:pt x="40" y="170"/>
                    <a:pt x="40" y="170"/>
                    <a:pt x="40" y="170"/>
                  </a:cubicBezTo>
                  <a:cubicBezTo>
                    <a:pt x="40" y="170"/>
                    <a:pt x="40" y="170"/>
                    <a:pt x="40" y="170"/>
                  </a:cubicBezTo>
                  <a:cubicBezTo>
                    <a:pt x="40" y="171"/>
                    <a:pt x="40" y="171"/>
                    <a:pt x="40" y="171"/>
                  </a:cubicBezTo>
                  <a:cubicBezTo>
                    <a:pt x="40" y="171"/>
                    <a:pt x="40" y="171"/>
                    <a:pt x="40" y="171"/>
                  </a:cubicBezTo>
                  <a:cubicBezTo>
                    <a:pt x="40" y="171"/>
                    <a:pt x="40" y="171"/>
                    <a:pt x="41" y="171"/>
                  </a:cubicBezTo>
                  <a:cubicBezTo>
                    <a:pt x="41" y="171"/>
                    <a:pt x="41" y="171"/>
                    <a:pt x="41" y="171"/>
                  </a:cubicBezTo>
                  <a:cubicBezTo>
                    <a:pt x="42" y="171"/>
                    <a:pt x="42" y="171"/>
                    <a:pt x="42" y="171"/>
                  </a:cubicBezTo>
                  <a:cubicBezTo>
                    <a:pt x="42" y="172"/>
                    <a:pt x="42" y="172"/>
                    <a:pt x="42" y="172"/>
                  </a:cubicBezTo>
                  <a:cubicBezTo>
                    <a:pt x="42" y="172"/>
                    <a:pt x="41" y="172"/>
                    <a:pt x="41" y="173"/>
                  </a:cubicBezTo>
                  <a:cubicBezTo>
                    <a:pt x="41" y="174"/>
                    <a:pt x="41" y="173"/>
                    <a:pt x="42" y="174"/>
                  </a:cubicBezTo>
                  <a:cubicBezTo>
                    <a:pt x="42" y="174"/>
                    <a:pt x="42" y="174"/>
                    <a:pt x="42" y="175"/>
                  </a:cubicBezTo>
                  <a:cubicBezTo>
                    <a:pt x="42" y="175"/>
                    <a:pt x="42" y="175"/>
                    <a:pt x="42" y="175"/>
                  </a:cubicBezTo>
                  <a:cubicBezTo>
                    <a:pt x="43" y="177"/>
                    <a:pt x="40" y="178"/>
                    <a:pt x="42" y="181"/>
                  </a:cubicBezTo>
                  <a:cubicBezTo>
                    <a:pt x="44" y="183"/>
                    <a:pt x="46" y="185"/>
                    <a:pt x="48" y="185"/>
                  </a:cubicBezTo>
                  <a:cubicBezTo>
                    <a:pt x="48" y="185"/>
                    <a:pt x="49" y="185"/>
                    <a:pt x="49" y="185"/>
                  </a:cubicBezTo>
                  <a:cubicBezTo>
                    <a:pt x="50" y="185"/>
                    <a:pt x="50" y="185"/>
                    <a:pt x="51" y="185"/>
                  </a:cubicBezTo>
                  <a:cubicBezTo>
                    <a:pt x="54" y="185"/>
                    <a:pt x="56" y="183"/>
                    <a:pt x="58" y="183"/>
                  </a:cubicBezTo>
                  <a:cubicBezTo>
                    <a:pt x="55" y="185"/>
                    <a:pt x="53" y="188"/>
                    <a:pt x="49" y="188"/>
                  </a:cubicBezTo>
                  <a:cubicBezTo>
                    <a:pt x="49" y="188"/>
                    <a:pt x="49" y="188"/>
                    <a:pt x="49" y="188"/>
                  </a:cubicBezTo>
                  <a:cubicBezTo>
                    <a:pt x="46" y="187"/>
                    <a:pt x="43" y="187"/>
                    <a:pt x="40" y="186"/>
                  </a:cubicBezTo>
                  <a:cubicBezTo>
                    <a:pt x="37" y="186"/>
                    <a:pt x="34" y="185"/>
                    <a:pt x="30" y="185"/>
                  </a:cubicBezTo>
                  <a:cubicBezTo>
                    <a:pt x="31" y="185"/>
                    <a:pt x="32" y="186"/>
                    <a:pt x="33" y="187"/>
                  </a:cubicBezTo>
                  <a:cubicBezTo>
                    <a:pt x="33" y="187"/>
                    <a:pt x="34" y="188"/>
                    <a:pt x="34" y="188"/>
                  </a:cubicBezTo>
                  <a:cubicBezTo>
                    <a:pt x="34" y="188"/>
                    <a:pt x="35" y="188"/>
                    <a:pt x="35" y="188"/>
                  </a:cubicBezTo>
                  <a:cubicBezTo>
                    <a:pt x="35" y="188"/>
                    <a:pt x="36" y="188"/>
                    <a:pt x="36" y="188"/>
                  </a:cubicBezTo>
                  <a:cubicBezTo>
                    <a:pt x="37" y="188"/>
                    <a:pt x="37" y="188"/>
                    <a:pt x="37" y="188"/>
                  </a:cubicBezTo>
                  <a:cubicBezTo>
                    <a:pt x="38" y="188"/>
                    <a:pt x="38" y="188"/>
                    <a:pt x="39" y="188"/>
                  </a:cubicBezTo>
                  <a:cubicBezTo>
                    <a:pt x="40" y="189"/>
                    <a:pt x="41" y="190"/>
                    <a:pt x="42" y="192"/>
                  </a:cubicBezTo>
                  <a:cubicBezTo>
                    <a:pt x="41" y="192"/>
                    <a:pt x="41" y="192"/>
                    <a:pt x="41" y="192"/>
                  </a:cubicBezTo>
                  <a:cubicBezTo>
                    <a:pt x="41" y="192"/>
                    <a:pt x="40" y="192"/>
                    <a:pt x="40" y="192"/>
                  </a:cubicBezTo>
                  <a:cubicBezTo>
                    <a:pt x="40" y="192"/>
                    <a:pt x="40" y="192"/>
                    <a:pt x="40" y="192"/>
                  </a:cubicBezTo>
                  <a:cubicBezTo>
                    <a:pt x="39" y="192"/>
                    <a:pt x="37" y="192"/>
                    <a:pt x="37" y="193"/>
                  </a:cubicBezTo>
                  <a:cubicBezTo>
                    <a:pt x="36" y="194"/>
                    <a:pt x="39" y="194"/>
                    <a:pt x="41" y="195"/>
                  </a:cubicBezTo>
                  <a:cubicBezTo>
                    <a:pt x="44" y="196"/>
                    <a:pt x="47" y="196"/>
                    <a:pt x="48" y="197"/>
                  </a:cubicBezTo>
                  <a:cubicBezTo>
                    <a:pt x="49" y="197"/>
                    <a:pt x="49" y="198"/>
                    <a:pt x="49" y="198"/>
                  </a:cubicBezTo>
                  <a:cubicBezTo>
                    <a:pt x="50" y="198"/>
                    <a:pt x="50" y="199"/>
                    <a:pt x="50" y="199"/>
                  </a:cubicBezTo>
                  <a:cubicBezTo>
                    <a:pt x="51" y="199"/>
                    <a:pt x="52" y="199"/>
                    <a:pt x="53" y="199"/>
                  </a:cubicBezTo>
                  <a:cubicBezTo>
                    <a:pt x="53" y="199"/>
                    <a:pt x="53" y="199"/>
                    <a:pt x="53" y="199"/>
                  </a:cubicBezTo>
                  <a:cubicBezTo>
                    <a:pt x="54" y="199"/>
                    <a:pt x="55" y="199"/>
                    <a:pt x="56" y="199"/>
                  </a:cubicBezTo>
                  <a:cubicBezTo>
                    <a:pt x="58" y="199"/>
                    <a:pt x="60" y="198"/>
                    <a:pt x="61" y="198"/>
                  </a:cubicBezTo>
                  <a:cubicBezTo>
                    <a:pt x="62" y="198"/>
                    <a:pt x="62" y="198"/>
                    <a:pt x="62" y="198"/>
                  </a:cubicBezTo>
                  <a:cubicBezTo>
                    <a:pt x="65" y="197"/>
                    <a:pt x="68" y="197"/>
                    <a:pt x="71" y="196"/>
                  </a:cubicBezTo>
                  <a:cubicBezTo>
                    <a:pt x="71" y="196"/>
                    <a:pt x="71" y="196"/>
                    <a:pt x="71" y="196"/>
                  </a:cubicBezTo>
                  <a:cubicBezTo>
                    <a:pt x="73" y="196"/>
                    <a:pt x="73" y="197"/>
                    <a:pt x="73" y="198"/>
                  </a:cubicBezTo>
                  <a:cubicBezTo>
                    <a:pt x="73" y="198"/>
                    <a:pt x="74" y="199"/>
                    <a:pt x="74" y="199"/>
                  </a:cubicBezTo>
                  <a:cubicBezTo>
                    <a:pt x="75" y="200"/>
                    <a:pt x="76" y="200"/>
                    <a:pt x="76" y="200"/>
                  </a:cubicBezTo>
                  <a:cubicBezTo>
                    <a:pt x="77" y="201"/>
                    <a:pt x="77" y="201"/>
                    <a:pt x="77" y="201"/>
                  </a:cubicBezTo>
                  <a:cubicBezTo>
                    <a:pt x="78" y="201"/>
                    <a:pt x="79" y="200"/>
                    <a:pt x="80" y="200"/>
                  </a:cubicBezTo>
                  <a:cubicBezTo>
                    <a:pt x="81" y="199"/>
                    <a:pt x="82" y="199"/>
                    <a:pt x="82" y="198"/>
                  </a:cubicBezTo>
                  <a:cubicBezTo>
                    <a:pt x="83" y="199"/>
                    <a:pt x="83" y="200"/>
                    <a:pt x="83" y="201"/>
                  </a:cubicBezTo>
                  <a:cubicBezTo>
                    <a:pt x="83" y="203"/>
                    <a:pt x="82" y="205"/>
                    <a:pt x="85" y="205"/>
                  </a:cubicBezTo>
                  <a:cubicBezTo>
                    <a:pt x="84" y="207"/>
                    <a:pt x="82" y="207"/>
                    <a:pt x="80" y="207"/>
                  </a:cubicBezTo>
                  <a:cubicBezTo>
                    <a:pt x="79" y="207"/>
                    <a:pt x="78" y="207"/>
                    <a:pt x="78" y="207"/>
                  </a:cubicBezTo>
                  <a:cubicBezTo>
                    <a:pt x="77" y="208"/>
                    <a:pt x="76" y="209"/>
                    <a:pt x="75" y="209"/>
                  </a:cubicBezTo>
                  <a:cubicBezTo>
                    <a:pt x="74" y="210"/>
                    <a:pt x="74" y="210"/>
                    <a:pt x="73" y="210"/>
                  </a:cubicBezTo>
                  <a:cubicBezTo>
                    <a:pt x="73" y="210"/>
                    <a:pt x="73" y="210"/>
                    <a:pt x="73" y="210"/>
                  </a:cubicBezTo>
                  <a:cubicBezTo>
                    <a:pt x="72" y="210"/>
                    <a:pt x="72" y="210"/>
                    <a:pt x="71" y="210"/>
                  </a:cubicBezTo>
                  <a:cubicBezTo>
                    <a:pt x="71" y="211"/>
                    <a:pt x="67" y="212"/>
                    <a:pt x="66" y="213"/>
                  </a:cubicBezTo>
                  <a:cubicBezTo>
                    <a:pt x="65" y="213"/>
                    <a:pt x="64" y="214"/>
                    <a:pt x="64" y="214"/>
                  </a:cubicBezTo>
                  <a:cubicBezTo>
                    <a:pt x="63" y="215"/>
                    <a:pt x="63" y="216"/>
                    <a:pt x="62" y="216"/>
                  </a:cubicBezTo>
                  <a:cubicBezTo>
                    <a:pt x="61" y="216"/>
                    <a:pt x="60" y="217"/>
                    <a:pt x="59" y="217"/>
                  </a:cubicBezTo>
                  <a:cubicBezTo>
                    <a:pt x="58" y="217"/>
                    <a:pt x="58" y="218"/>
                    <a:pt x="57" y="218"/>
                  </a:cubicBezTo>
                  <a:cubicBezTo>
                    <a:pt x="56" y="219"/>
                    <a:pt x="55" y="219"/>
                    <a:pt x="55" y="220"/>
                  </a:cubicBezTo>
                  <a:cubicBezTo>
                    <a:pt x="55" y="221"/>
                    <a:pt x="55" y="221"/>
                    <a:pt x="55" y="221"/>
                  </a:cubicBezTo>
                  <a:cubicBezTo>
                    <a:pt x="55" y="224"/>
                    <a:pt x="64" y="225"/>
                    <a:pt x="69" y="227"/>
                  </a:cubicBezTo>
                  <a:cubicBezTo>
                    <a:pt x="71" y="227"/>
                    <a:pt x="72" y="227"/>
                    <a:pt x="73" y="227"/>
                  </a:cubicBezTo>
                  <a:cubicBezTo>
                    <a:pt x="76" y="229"/>
                    <a:pt x="80" y="229"/>
                    <a:pt x="81" y="231"/>
                  </a:cubicBezTo>
                  <a:cubicBezTo>
                    <a:pt x="82" y="232"/>
                    <a:pt x="82" y="233"/>
                    <a:pt x="82" y="235"/>
                  </a:cubicBezTo>
                  <a:cubicBezTo>
                    <a:pt x="82" y="237"/>
                    <a:pt x="81" y="237"/>
                    <a:pt x="81" y="238"/>
                  </a:cubicBezTo>
                  <a:cubicBezTo>
                    <a:pt x="80" y="239"/>
                    <a:pt x="80" y="239"/>
                    <a:pt x="80" y="240"/>
                  </a:cubicBezTo>
                  <a:cubicBezTo>
                    <a:pt x="80" y="240"/>
                    <a:pt x="80" y="241"/>
                    <a:pt x="80" y="243"/>
                  </a:cubicBezTo>
                  <a:cubicBezTo>
                    <a:pt x="80" y="244"/>
                    <a:pt x="81" y="245"/>
                    <a:pt x="81" y="245"/>
                  </a:cubicBezTo>
                  <a:cubicBezTo>
                    <a:pt x="79" y="245"/>
                    <a:pt x="78" y="245"/>
                    <a:pt x="76" y="246"/>
                  </a:cubicBezTo>
                  <a:cubicBezTo>
                    <a:pt x="77" y="246"/>
                    <a:pt x="77" y="247"/>
                    <a:pt x="78" y="247"/>
                  </a:cubicBezTo>
                  <a:cubicBezTo>
                    <a:pt x="78" y="248"/>
                    <a:pt x="79" y="248"/>
                    <a:pt x="80" y="248"/>
                  </a:cubicBezTo>
                  <a:cubicBezTo>
                    <a:pt x="82" y="250"/>
                    <a:pt x="83" y="251"/>
                    <a:pt x="85" y="251"/>
                  </a:cubicBezTo>
                  <a:cubicBezTo>
                    <a:pt x="85" y="251"/>
                    <a:pt x="85" y="251"/>
                    <a:pt x="85" y="251"/>
                  </a:cubicBezTo>
                  <a:cubicBezTo>
                    <a:pt x="86" y="251"/>
                    <a:pt x="87" y="250"/>
                    <a:pt x="88" y="250"/>
                  </a:cubicBezTo>
                  <a:cubicBezTo>
                    <a:pt x="94" y="247"/>
                    <a:pt x="101" y="244"/>
                    <a:pt x="107" y="240"/>
                  </a:cubicBezTo>
                  <a:cubicBezTo>
                    <a:pt x="114" y="237"/>
                    <a:pt x="120" y="234"/>
                    <a:pt x="127" y="231"/>
                  </a:cubicBezTo>
                  <a:cubicBezTo>
                    <a:pt x="128" y="230"/>
                    <a:pt x="129" y="230"/>
                    <a:pt x="130" y="230"/>
                  </a:cubicBezTo>
                  <a:cubicBezTo>
                    <a:pt x="132" y="230"/>
                    <a:pt x="134" y="231"/>
                    <a:pt x="136" y="232"/>
                  </a:cubicBezTo>
                  <a:cubicBezTo>
                    <a:pt x="137" y="232"/>
                    <a:pt x="137" y="233"/>
                    <a:pt x="138" y="233"/>
                  </a:cubicBezTo>
                  <a:cubicBezTo>
                    <a:pt x="138" y="233"/>
                    <a:pt x="138" y="233"/>
                    <a:pt x="138" y="233"/>
                  </a:cubicBezTo>
                  <a:cubicBezTo>
                    <a:pt x="139" y="233"/>
                    <a:pt x="139" y="233"/>
                    <a:pt x="139" y="233"/>
                  </a:cubicBezTo>
                  <a:cubicBezTo>
                    <a:pt x="141" y="233"/>
                    <a:pt x="143" y="232"/>
                    <a:pt x="144" y="232"/>
                  </a:cubicBezTo>
                  <a:cubicBezTo>
                    <a:pt x="144" y="232"/>
                    <a:pt x="144" y="232"/>
                    <a:pt x="144" y="232"/>
                  </a:cubicBezTo>
                  <a:cubicBezTo>
                    <a:pt x="145" y="232"/>
                    <a:pt x="145" y="232"/>
                    <a:pt x="145" y="232"/>
                  </a:cubicBezTo>
                  <a:cubicBezTo>
                    <a:pt x="146" y="232"/>
                    <a:pt x="146" y="232"/>
                    <a:pt x="146" y="232"/>
                  </a:cubicBezTo>
                  <a:cubicBezTo>
                    <a:pt x="147" y="232"/>
                    <a:pt x="147" y="232"/>
                    <a:pt x="147" y="232"/>
                  </a:cubicBezTo>
                  <a:cubicBezTo>
                    <a:pt x="147" y="232"/>
                    <a:pt x="147" y="232"/>
                    <a:pt x="147" y="232"/>
                  </a:cubicBezTo>
                  <a:cubicBezTo>
                    <a:pt x="148" y="232"/>
                    <a:pt x="148" y="232"/>
                    <a:pt x="149" y="232"/>
                  </a:cubicBezTo>
                  <a:cubicBezTo>
                    <a:pt x="151" y="231"/>
                    <a:pt x="150" y="229"/>
                    <a:pt x="151" y="227"/>
                  </a:cubicBezTo>
                  <a:cubicBezTo>
                    <a:pt x="152" y="225"/>
                    <a:pt x="152" y="224"/>
                    <a:pt x="153" y="224"/>
                  </a:cubicBezTo>
                  <a:cubicBezTo>
                    <a:pt x="154" y="224"/>
                    <a:pt x="154" y="223"/>
                    <a:pt x="155" y="223"/>
                  </a:cubicBezTo>
                  <a:cubicBezTo>
                    <a:pt x="155" y="223"/>
                    <a:pt x="156" y="223"/>
                    <a:pt x="157" y="222"/>
                  </a:cubicBezTo>
                  <a:cubicBezTo>
                    <a:pt x="156" y="222"/>
                    <a:pt x="154" y="222"/>
                    <a:pt x="153" y="222"/>
                  </a:cubicBezTo>
                  <a:cubicBezTo>
                    <a:pt x="153" y="222"/>
                    <a:pt x="153" y="222"/>
                    <a:pt x="153" y="222"/>
                  </a:cubicBezTo>
                  <a:cubicBezTo>
                    <a:pt x="152" y="222"/>
                    <a:pt x="150" y="222"/>
                    <a:pt x="149" y="222"/>
                  </a:cubicBezTo>
                  <a:cubicBezTo>
                    <a:pt x="148" y="222"/>
                    <a:pt x="147" y="222"/>
                    <a:pt x="147" y="222"/>
                  </a:cubicBezTo>
                  <a:cubicBezTo>
                    <a:pt x="145" y="222"/>
                    <a:pt x="144" y="222"/>
                    <a:pt x="143" y="222"/>
                  </a:cubicBezTo>
                  <a:cubicBezTo>
                    <a:pt x="142" y="222"/>
                    <a:pt x="142" y="222"/>
                    <a:pt x="141" y="222"/>
                  </a:cubicBezTo>
                  <a:cubicBezTo>
                    <a:pt x="140" y="222"/>
                    <a:pt x="139" y="222"/>
                    <a:pt x="138" y="221"/>
                  </a:cubicBezTo>
                  <a:cubicBezTo>
                    <a:pt x="137" y="221"/>
                    <a:pt x="137" y="221"/>
                    <a:pt x="136" y="221"/>
                  </a:cubicBezTo>
                  <a:cubicBezTo>
                    <a:pt x="136" y="221"/>
                    <a:pt x="136" y="221"/>
                    <a:pt x="136" y="221"/>
                  </a:cubicBezTo>
                  <a:cubicBezTo>
                    <a:pt x="136" y="221"/>
                    <a:pt x="135" y="221"/>
                    <a:pt x="135" y="221"/>
                  </a:cubicBezTo>
                  <a:cubicBezTo>
                    <a:pt x="134" y="222"/>
                    <a:pt x="132" y="224"/>
                    <a:pt x="130" y="224"/>
                  </a:cubicBezTo>
                  <a:cubicBezTo>
                    <a:pt x="130" y="224"/>
                    <a:pt x="130" y="224"/>
                    <a:pt x="130" y="224"/>
                  </a:cubicBezTo>
                  <a:cubicBezTo>
                    <a:pt x="127" y="224"/>
                    <a:pt x="126" y="221"/>
                    <a:pt x="124" y="219"/>
                  </a:cubicBezTo>
                  <a:cubicBezTo>
                    <a:pt x="119" y="214"/>
                    <a:pt x="116" y="210"/>
                    <a:pt x="114" y="205"/>
                  </a:cubicBezTo>
                  <a:cubicBezTo>
                    <a:pt x="113" y="203"/>
                    <a:pt x="113" y="201"/>
                    <a:pt x="112" y="199"/>
                  </a:cubicBezTo>
                  <a:cubicBezTo>
                    <a:pt x="112" y="198"/>
                    <a:pt x="112" y="197"/>
                    <a:pt x="112" y="197"/>
                  </a:cubicBezTo>
                  <a:cubicBezTo>
                    <a:pt x="112" y="196"/>
                    <a:pt x="113" y="196"/>
                    <a:pt x="114" y="195"/>
                  </a:cubicBezTo>
                  <a:cubicBezTo>
                    <a:pt x="114" y="195"/>
                    <a:pt x="115" y="195"/>
                    <a:pt x="115" y="195"/>
                  </a:cubicBezTo>
                  <a:cubicBezTo>
                    <a:pt x="116" y="194"/>
                    <a:pt x="117" y="194"/>
                    <a:pt x="119" y="193"/>
                  </a:cubicBezTo>
                  <a:cubicBezTo>
                    <a:pt x="120" y="193"/>
                    <a:pt x="120" y="189"/>
                    <a:pt x="121" y="187"/>
                  </a:cubicBezTo>
                  <a:cubicBezTo>
                    <a:pt x="121" y="188"/>
                    <a:pt x="122" y="189"/>
                    <a:pt x="123" y="189"/>
                  </a:cubicBezTo>
                  <a:cubicBezTo>
                    <a:pt x="123" y="190"/>
                    <a:pt x="123" y="191"/>
                    <a:pt x="124" y="191"/>
                  </a:cubicBezTo>
                  <a:cubicBezTo>
                    <a:pt x="127" y="192"/>
                    <a:pt x="117" y="199"/>
                    <a:pt x="116" y="199"/>
                  </a:cubicBezTo>
                  <a:cubicBezTo>
                    <a:pt x="120" y="197"/>
                    <a:pt x="124" y="194"/>
                    <a:pt x="127" y="191"/>
                  </a:cubicBezTo>
                  <a:cubicBezTo>
                    <a:pt x="128" y="190"/>
                    <a:pt x="129" y="190"/>
                    <a:pt x="130" y="189"/>
                  </a:cubicBezTo>
                  <a:cubicBezTo>
                    <a:pt x="130" y="188"/>
                    <a:pt x="131" y="187"/>
                    <a:pt x="132" y="186"/>
                  </a:cubicBezTo>
                  <a:cubicBezTo>
                    <a:pt x="134" y="185"/>
                    <a:pt x="135" y="184"/>
                    <a:pt x="136" y="183"/>
                  </a:cubicBezTo>
                  <a:cubicBezTo>
                    <a:pt x="137" y="183"/>
                    <a:pt x="137" y="183"/>
                    <a:pt x="138" y="183"/>
                  </a:cubicBezTo>
                  <a:cubicBezTo>
                    <a:pt x="139" y="182"/>
                    <a:pt x="140" y="182"/>
                    <a:pt x="141" y="182"/>
                  </a:cubicBezTo>
                  <a:cubicBezTo>
                    <a:pt x="142" y="182"/>
                    <a:pt x="143" y="182"/>
                    <a:pt x="143" y="182"/>
                  </a:cubicBezTo>
                  <a:cubicBezTo>
                    <a:pt x="146" y="182"/>
                    <a:pt x="148" y="181"/>
                    <a:pt x="150" y="180"/>
                  </a:cubicBezTo>
                  <a:cubicBezTo>
                    <a:pt x="152" y="179"/>
                    <a:pt x="153" y="179"/>
                    <a:pt x="154" y="179"/>
                  </a:cubicBezTo>
                  <a:cubicBezTo>
                    <a:pt x="155" y="179"/>
                    <a:pt x="155" y="178"/>
                    <a:pt x="156" y="178"/>
                  </a:cubicBezTo>
                  <a:cubicBezTo>
                    <a:pt x="157" y="178"/>
                    <a:pt x="157" y="178"/>
                    <a:pt x="157" y="179"/>
                  </a:cubicBezTo>
                  <a:cubicBezTo>
                    <a:pt x="158" y="179"/>
                    <a:pt x="159" y="179"/>
                    <a:pt x="159" y="179"/>
                  </a:cubicBezTo>
                  <a:cubicBezTo>
                    <a:pt x="159" y="179"/>
                    <a:pt x="160" y="179"/>
                    <a:pt x="160" y="180"/>
                  </a:cubicBezTo>
                  <a:cubicBezTo>
                    <a:pt x="160" y="180"/>
                    <a:pt x="160" y="181"/>
                    <a:pt x="160" y="183"/>
                  </a:cubicBezTo>
                  <a:cubicBezTo>
                    <a:pt x="161" y="180"/>
                    <a:pt x="163" y="179"/>
                    <a:pt x="165" y="177"/>
                  </a:cubicBezTo>
                  <a:cubicBezTo>
                    <a:pt x="166" y="176"/>
                    <a:pt x="167" y="176"/>
                    <a:pt x="168" y="175"/>
                  </a:cubicBezTo>
                  <a:cubicBezTo>
                    <a:pt x="169" y="175"/>
                    <a:pt x="171" y="175"/>
                    <a:pt x="173" y="175"/>
                  </a:cubicBezTo>
                  <a:cubicBezTo>
                    <a:pt x="174" y="174"/>
                    <a:pt x="175" y="174"/>
                    <a:pt x="176" y="173"/>
                  </a:cubicBezTo>
                  <a:cubicBezTo>
                    <a:pt x="178" y="171"/>
                    <a:pt x="178" y="169"/>
                    <a:pt x="182" y="169"/>
                  </a:cubicBezTo>
                  <a:cubicBezTo>
                    <a:pt x="183" y="168"/>
                    <a:pt x="185" y="168"/>
                    <a:pt x="187" y="168"/>
                  </a:cubicBezTo>
                  <a:cubicBezTo>
                    <a:pt x="187" y="168"/>
                    <a:pt x="188" y="168"/>
                    <a:pt x="188" y="168"/>
                  </a:cubicBezTo>
                  <a:cubicBezTo>
                    <a:pt x="188" y="168"/>
                    <a:pt x="189" y="168"/>
                    <a:pt x="189" y="168"/>
                  </a:cubicBezTo>
                  <a:cubicBezTo>
                    <a:pt x="189" y="168"/>
                    <a:pt x="189" y="168"/>
                    <a:pt x="189" y="168"/>
                  </a:cubicBezTo>
                  <a:cubicBezTo>
                    <a:pt x="191" y="168"/>
                    <a:pt x="192" y="168"/>
                    <a:pt x="193" y="168"/>
                  </a:cubicBezTo>
                  <a:cubicBezTo>
                    <a:pt x="193" y="168"/>
                    <a:pt x="193" y="168"/>
                    <a:pt x="193" y="168"/>
                  </a:cubicBezTo>
                  <a:cubicBezTo>
                    <a:pt x="194" y="168"/>
                    <a:pt x="195" y="168"/>
                    <a:pt x="195" y="168"/>
                  </a:cubicBezTo>
                  <a:cubicBezTo>
                    <a:pt x="196" y="168"/>
                    <a:pt x="196" y="168"/>
                    <a:pt x="196" y="168"/>
                  </a:cubicBezTo>
                  <a:cubicBezTo>
                    <a:pt x="196" y="168"/>
                    <a:pt x="196" y="168"/>
                    <a:pt x="196" y="168"/>
                  </a:cubicBezTo>
                  <a:cubicBezTo>
                    <a:pt x="194" y="167"/>
                    <a:pt x="194" y="167"/>
                    <a:pt x="194" y="167"/>
                  </a:cubicBezTo>
                  <a:cubicBezTo>
                    <a:pt x="194" y="167"/>
                    <a:pt x="194" y="165"/>
                    <a:pt x="194" y="163"/>
                  </a:cubicBezTo>
                  <a:cubicBezTo>
                    <a:pt x="195" y="162"/>
                    <a:pt x="195" y="161"/>
                    <a:pt x="195" y="159"/>
                  </a:cubicBezTo>
                  <a:cubicBezTo>
                    <a:pt x="195" y="153"/>
                    <a:pt x="199" y="149"/>
                    <a:pt x="205" y="148"/>
                  </a:cubicBezTo>
                  <a:cubicBezTo>
                    <a:pt x="208" y="147"/>
                    <a:pt x="211" y="145"/>
                    <a:pt x="213" y="144"/>
                  </a:cubicBezTo>
                  <a:cubicBezTo>
                    <a:pt x="214" y="143"/>
                    <a:pt x="216" y="142"/>
                    <a:pt x="218" y="142"/>
                  </a:cubicBezTo>
                  <a:cubicBezTo>
                    <a:pt x="221" y="142"/>
                    <a:pt x="224" y="143"/>
                    <a:pt x="228" y="143"/>
                  </a:cubicBezTo>
                  <a:cubicBezTo>
                    <a:pt x="229" y="143"/>
                    <a:pt x="229" y="143"/>
                    <a:pt x="230" y="143"/>
                  </a:cubicBezTo>
                  <a:cubicBezTo>
                    <a:pt x="231" y="143"/>
                    <a:pt x="232" y="143"/>
                    <a:pt x="232" y="143"/>
                  </a:cubicBezTo>
                  <a:cubicBezTo>
                    <a:pt x="232" y="142"/>
                    <a:pt x="232" y="142"/>
                    <a:pt x="232" y="142"/>
                  </a:cubicBezTo>
                  <a:cubicBezTo>
                    <a:pt x="232" y="142"/>
                    <a:pt x="232" y="142"/>
                    <a:pt x="232" y="142"/>
                  </a:cubicBezTo>
                  <a:cubicBezTo>
                    <a:pt x="232" y="141"/>
                    <a:pt x="235" y="134"/>
                    <a:pt x="237" y="132"/>
                  </a:cubicBezTo>
                  <a:cubicBezTo>
                    <a:pt x="237" y="132"/>
                    <a:pt x="237" y="130"/>
                    <a:pt x="235" y="126"/>
                  </a:cubicBezTo>
                  <a:cubicBezTo>
                    <a:pt x="234" y="125"/>
                    <a:pt x="234" y="123"/>
                    <a:pt x="232" y="123"/>
                  </a:cubicBezTo>
                  <a:cubicBezTo>
                    <a:pt x="231" y="123"/>
                    <a:pt x="231" y="123"/>
                    <a:pt x="231" y="123"/>
                  </a:cubicBezTo>
                  <a:cubicBezTo>
                    <a:pt x="230" y="123"/>
                    <a:pt x="230" y="123"/>
                    <a:pt x="230" y="123"/>
                  </a:cubicBezTo>
                  <a:cubicBezTo>
                    <a:pt x="229" y="122"/>
                    <a:pt x="229" y="120"/>
                    <a:pt x="229" y="118"/>
                  </a:cubicBezTo>
                  <a:cubicBezTo>
                    <a:pt x="230" y="117"/>
                    <a:pt x="232" y="115"/>
                    <a:pt x="234" y="114"/>
                  </a:cubicBezTo>
                  <a:cubicBezTo>
                    <a:pt x="233" y="113"/>
                    <a:pt x="232" y="112"/>
                    <a:pt x="232" y="111"/>
                  </a:cubicBezTo>
                  <a:cubicBezTo>
                    <a:pt x="231" y="111"/>
                    <a:pt x="231" y="111"/>
                    <a:pt x="231" y="111"/>
                  </a:cubicBezTo>
                  <a:cubicBezTo>
                    <a:pt x="228" y="109"/>
                    <a:pt x="228" y="109"/>
                    <a:pt x="228" y="109"/>
                  </a:cubicBezTo>
                  <a:cubicBezTo>
                    <a:pt x="231" y="107"/>
                    <a:pt x="231" y="107"/>
                    <a:pt x="231" y="107"/>
                  </a:cubicBezTo>
                  <a:cubicBezTo>
                    <a:pt x="235" y="105"/>
                    <a:pt x="240" y="101"/>
                    <a:pt x="241" y="99"/>
                  </a:cubicBezTo>
                  <a:cubicBezTo>
                    <a:pt x="241" y="99"/>
                    <a:pt x="241" y="99"/>
                    <a:pt x="241" y="99"/>
                  </a:cubicBezTo>
                  <a:cubicBezTo>
                    <a:pt x="241" y="97"/>
                    <a:pt x="242" y="95"/>
                    <a:pt x="241" y="92"/>
                  </a:cubicBezTo>
                  <a:cubicBezTo>
                    <a:pt x="239" y="92"/>
                    <a:pt x="238" y="93"/>
                    <a:pt x="236" y="93"/>
                  </a:cubicBezTo>
                  <a:cubicBezTo>
                    <a:pt x="231" y="93"/>
                    <a:pt x="228" y="89"/>
                    <a:pt x="226" y="86"/>
                  </a:cubicBezTo>
                  <a:cubicBezTo>
                    <a:pt x="225" y="86"/>
                    <a:pt x="225" y="85"/>
                    <a:pt x="224" y="85"/>
                  </a:cubicBezTo>
                  <a:cubicBezTo>
                    <a:pt x="222" y="83"/>
                    <a:pt x="221" y="82"/>
                    <a:pt x="219" y="82"/>
                  </a:cubicBezTo>
                  <a:cubicBezTo>
                    <a:pt x="218" y="82"/>
                    <a:pt x="218" y="83"/>
                    <a:pt x="217" y="83"/>
                  </a:cubicBezTo>
                  <a:cubicBezTo>
                    <a:pt x="216" y="84"/>
                    <a:pt x="215" y="84"/>
                    <a:pt x="215" y="84"/>
                  </a:cubicBezTo>
                  <a:cubicBezTo>
                    <a:pt x="214" y="84"/>
                    <a:pt x="214" y="84"/>
                    <a:pt x="214" y="84"/>
                  </a:cubicBezTo>
                  <a:cubicBezTo>
                    <a:pt x="214" y="84"/>
                    <a:pt x="214" y="84"/>
                    <a:pt x="214" y="84"/>
                  </a:cubicBezTo>
                  <a:cubicBezTo>
                    <a:pt x="213" y="84"/>
                    <a:pt x="213" y="84"/>
                    <a:pt x="213" y="84"/>
                  </a:cubicBezTo>
                  <a:cubicBezTo>
                    <a:pt x="211" y="84"/>
                    <a:pt x="209" y="82"/>
                    <a:pt x="209" y="81"/>
                  </a:cubicBezTo>
                  <a:cubicBezTo>
                    <a:pt x="208" y="80"/>
                    <a:pt x="206" y="78"/>
                    <a:pt x="204" y="77"/>
                  </a:cubicBezTo>
                  <a:cubicBezTo>
                    <a:pt x="202" y="77"/>
                    <a:pt x="200" y="77"/>
                    <a:pt x="199" y="76"/>
                  </a:cubicBezTo>
                  <a:cubicBezTo>
                    <a:pt x="199" y="76"/>
                    <a:pt x="198" y="76"/>
                    <a:pt x="198" y="76"/>
                  </a:cubicBezTo>
                  <a:cubicBezTo>
                    <a:pt x="198" y="76"/>
                    <a:pt x="197" y="76"/>
                    <a:pt x="197" y="76"/>
                  </a:cubicBezTo>
                  <a:cubicBezTo>
                    <a:pt x="197" y="76"/>
                    <a:pt x="194" y="78"/>
                    <a:pt x="192" y="80"/>
                  </a:cubicBezTo>
                  <a:cubicBezTo>
                    <a:pt x="190" y="82"/>
                    <a:pt x="190" y="82"/>
                    <a:pt x="190" y="82"/>
                  </a:cubicBezTo>
                  <a:cubicBezTo>
                    <a:pt x="189" y="80"/>
                    <a:pt x="189" y="80"/>
                    <a:pt x="189" y="80"/>
                  </a:cubicBezTo>
                  <a:cubicBezTo>
                    <a:pt x="189" y="80"/>
                    <a:pt x="183" y="71"/>
                    <a:pt x="180" y="67"/>
                  </a:cubicBezTo>
                  <a:cubicBezTo>
                    <a:pt x="178" y="65"/>
                    <a:pt x="177" y="64"/>
                    <a:pt x="176" y="64"/>
                  </a:cubicBezTo>
                  <a:cubicBezTo>
                    <a:pt x="175" y="65"/>
                    <a:pt x="169" y="66"/>
                    <a:pt x="165" y="68"/>
                  </a:cubicBezTo>
                  <a:cubicBezTo>
                    <a:pt x="162" y="69"/>
                    <a:pt x="160" y="69"/>
                    <a:pt x="157" y="69"/>
                  </a:cubicBezTo>
                  <a:cubicBezTo>
                    <a:pt x="154" y="69"/>
                    <a:pt x="150" y="68"/>
                    <a:pt x="148" y="67"/>
                  </a:cubicBezTo>
                  <a:cubicBezTo>
                    <a:pt x="146" y="65"/>
                    <a:pt x="144" y="65"/>
                    <a:pt x="142" y="65"/>
                  </a:cubicBezTo>
                  <a:cubicBezTo>
                    <a:pt x="141" y="65"/>
                    <a:pt x="140" y="65"/>
                    <a:pt x="139" y="66"/>
                  </a:cubicBezTo>
                  <a:cubicBezTo>
                    <a:pt x="137" y="66"/>
                    <a:pt x="136" y="66"/>
                    <a:pt x="135" y="66"/>
                  </a:cubicBezTo>
                  <a:cubicBezTo>
                    <a:pt x="133" y="66"/>
                    <a:pt x="131" y="66"/>
                    <a:pt x="129" y="64"/>
                  </a:cubicBezTo>
                  <a:cubicBezTo>
                    <a:pt x="128" y="63"/>
                    <a:pt x="125" y="60"/>
                    <a:pt x="126" y="58"/>
                  </a:cubicBezTo>
                  <a:cubicBezTo>
                    <a:pt x="126" y="57"/>
                    <a:pt x="125" y="53"/>
                    <a:pt x="123" y="50"/>
                  </a:cubicBezTo>
                  <a:cubicBezTo>
                    <a:pt x="122" y="48"/>
                    <a:pt x="122" y="45"/>
                    <a:pt x="123" y="44"/>
                  </a:cubicBezTo>
                  <a:cubicBezTo>
                    <a:pt x="122" y="43"/>
                    <a:pt x="120" y="42"/>
                    <a:pt x="119" y="41"/>
                  </a:cubicBezTo>
                  <a:cubicBezTo>
                    <a:pt x="117" y="39"/>
                    <a:pt x="115" y="39"/>
                    <a:pt x="115" y="39"/>
                  </a:cubicBezTo>
                  <a:cubicBezTo>
                    <a:pt x="114" y="39"/>
                    <a:pt x="114" y="39"/>
                    <a:pt x="114" y="39"/>
                  </a:cubicBezTo>
                  <a:cubicBezTo>
                    <a:pt x="113" y="40"/>
                    <a:pt x="112" y="40"/>
                    <a:pt x="110" y="40"/>
                  </a:cubicBezTo>
                  <a:cubicBezTo>
                    <a:pt x="109" y="40"/>
                    <a:pt x="107" y="40"/>
                    <a:pt x="105" y="39"/>
                  </a:cubicBezTo>
                  <a:cubicBezTo>
                    <a:pt x="104" y="38"/>
                    <a:pt x="103" y="38"/>
                    <a:pt x="102" y="38"/>
                  </a:cubicBezTo>
                  <a:cubicBezTo>
                    <a:pt x="101" y="38"/>
                    <a:pt x="101" y="38"/>
                    <a:pt x="99" y="38"/>
                  </a:cubicBezTo>
                  <a:cubicBezTo>
                    <a:pt x="99" y="38"/>
                    <a:pt x="99" y="38"/>
                    <a:pt x="98" y="38"/>
                  </a:cubicBezTo>
                  <a:cubicBezTo>
                    <a:pt x="97" y="38"/>
                    <a:pt x="97" y="38"/>
                    <a:pt x="96" y="37"/>
                  </a:cubicBezTo>
                  <a:cubicBezTo>
                    <a:pt x="95" y="36"/>
                    <a:pt x="95" y="34"/>
                    <a:pt x="96" y="30"/>
                  </a:cubicBezTo>
                  <a:cubicBezTo>
                    <a:pt x="96" y="28"/>
                    <a:pt x="94" y="25"/>
                    <a:pt x="93" y="24"/>
                  </a:cubicBezTo>
                  <a:cubicBezTo>
                    <a:pt x="92" y="23"/>
                    <a:pt x="92" y="23"/>
                    <a:pt x="92" y="23"/>
                  </a:cubicBezTo>
                  <a:cubicBezTo>
                    <a:pt x="92" y="22"/>
                    <a:pt x="92" y="22"/>
                    <a:pt x="92" y="22"/>
                  </a:cubicBezTo>
                  <a:cubicBezTo>
                    <a:pt x="93" y="21"/>
                    <a:pt x="93" y="19"/>
                    <a:pt x="99" y="18"/>
                  </a:cubicBezTo>
                  <a:cubicBezTo>
                    <a:pt x="99" y="17"/>
                    <a:pt x="98" y="16"/>
                    <a:pt x="97" y="16"/>
                  </a:cubicBezTo>
                  <a:cubicBezTo>
                    <a:pt x="93" y="15"/>
                    <a:pt x="92" y="11"/>
                    <a:pt x="92" y="8"/>
                  </a:cubicBezTo>
                  <a:cubicBezTo>
                    <a:pt x="92" y="7"/>
                    <a:pt x="92" y="6"/>
                    <a:pt x="86" y="1"/>
                  </a:cubicBezTo>
                  <a:cubicBezTo>
                    <a:pt x="86" y="1"/>
                    <a:pt x="86" y="1"/>
                    <a:pt x="86" y="1"/>
                  </a:cubicBezTo>
                  <a:cubicBezTo>
                    <a:pt x="86" y="1"/>
                    <a:pt x="85" y="0"/>
                    <a:pt x="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566"/>
            <p:cNvSpPr/>
            <p:nvPr/>
          </p:nvSpPr>
          <p:spPr bwMode="auto">
            <a:xfrm>
              <a:off x="3051187" y="2460029"/>
              <a:ext cx="112854" cy="83953"/>
            </a:xfrm>
            <a:custGeom>
              <a:gdLst>
                <a:gd name="T0" fmla="*/ 1 w 32"/>
                <a:gd name="T1" fmla="*/ 17 h 23"/>
                <a:gd name="T2" fmla="*/ 2 w 32"/>
                <a:gd name="T3" fmla="*/ 20 h 23"/>
                <a:gd name="T4" fmla="*/ 2 w 32"/>
                <a:gd name="T5" fmla="*/ 22 h 23"/>
                <a:gd name="T6" fmla="*/ 5 w 32"/>
                <a:gd name="T7" fmla="*/ 20 h 23"/>
                <a:gd name="T8" fmla="*/ 7 w 32"/>
                <a:gd name="T9" fmla="*/ 19 h 23"/>
                <a:gd name="T10" fmla="*/ 8 w 32"/>
                <a:gd name="T11" fmla="*/ 19 h 23"/>
                <a:gd name="T12" fmla="*/ 15 w 32"/>
                <a:gd name="T13" fmla="*/ 17 h 23"/>
                <a:gd name="T14" fmla="*/ 31 w 32"/>
                <a:gd name="T15" fmla="*/ 23 h 23"/>
                <a:gd name="T16" fmla="*/ 32 w 32"/>
                <a:gd name="T17" fmla="*/ 22 h 23"/>
                <a:gd name="T18" fmla="*/ 31 w 32"/>
                <a:gd name="T19" fmla="*/ 22 h 23"/>
                <a:gd name="T20" fmla="*/ 31 w 32"/>
                <a:gd name="T21" fmla="*/ 22 h 23"/>
                <a:gd name="T22" fmla="*/ 24 w 32"/>
                <a:gd name="T23" fmla="*/ 17 h 23"/>
                <a:gd name="T24" fmla="*/ 20 w 32"/>
                <a:gd name="T25" fmla="*/ 15 h 23"/>
                <a:gd name="T26" fmla="*/ 23 w 32"/>
                <a:gd name="T27" fmla="*/ 12 h 23"/>
                <a:gd name="T28" fmla="*/ 31 w 32"/>
                <a:gd name="T29" fmla="*/ 5 h 23"/>
                <a:gd name="T30" fmla="*/ 27 w 32"/>
                <a:gd name="T31" fmla="*/ 0 h 23"/>
                <a:gd name="T32" fmla="*/ 27 w 32"/>
                <a:gd name="T33" fmla="*/ 0 h 23"/>
                <a:gd name="T34" fmla="*/ 26 w 32"/>
                <a:gd name="T35" fmla="*/ 1 h 23"/>
                <a:gd name="T36" fmla="*/ 25 w 32"/>
                <a:gd name="T37" fmla="*/ 2 h 23"/>
                <a:gd name="T38" fmla="*/ 24 w 32"/>
                <a:gd name="T39" fmla="*/ 3 h 23"/>
                <a:gd name="T40" fmla="*/ 23 w 32"/>
                <a:gd name="T41" fmla="*/ 3 h 23"/>
                <a:gd name="T42" fmla="*/ 19 w 32"/>
                <a:gd name="T43" fmla="*/ 7 h 23"/>
                <a:gd name="T44" fmla="*/ 18 w 32"/>
                <a:gd name="T45" fmla="*/ 7 h 23"/>
                <a:gd name="T46" fmla="*/ 16 w 32"/>
                <a:gd name="T47" fmla="*/ 8 h 23"/>
                <a:gd name="T48" fmla="*/ 14 w 32"/>
                <a:gd name="T49" fmla="*/ 9 h 23"/>
                <a:gd name="T50" fmla="*/ 6 w 32"/>
                <a:gd name="T51" fmla="*/ 10 h 23"/>
                <a:gd name="T52" fmla="*/ 5 w 32"/>
                <a:gd name="T53" fmla="*/ 9 h 23"/>
                <a:gd name="T54" fmla="*/ 5 w 32"/>
                <a:gd name="T55" fmla="*/ 9 h 23"/>
                <a:gd name="T56" fmla="*/ 2 w 32"/>
                <a:gd name="T57" fmla="*/ 8 h 23"/>
                <a:gd name="T58" fmla="*/ 1 w 32"/>
                <a:gd name="T59" fmla="*/ 8 h 23"/>
                <a:gd name="T60" fmla="*/ 0 w 32"/>
                <a:gd name="T61" fmla="*/ 10 h 23"/>
                <a:gd name="T62" fmla="*/ 1 w 32"/>
                <a:gd name="T63" fmla="*/ 17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23">
                  <a:moveTo>
                    <a:pt x="1" y="17"/>
                  </a:moveTo>
                  <a:cubicBezTo>
                    <a:pt x="1" y="18"/>
                    <a:pt x="2" y="19"/>
                    <a:pt x="2" y="20"/>
                  </a:cubicBezTo>
                  <a:cubicBezTo>
                    <a:pt x="2" y="22"/>
                    <a:pt x="2" y="22"/>
                    <a:pt x="2" y="22"/>
                  </a:cubicBezTo>
                  <a:cubicBezTo>
                    <a:pt x="3" y="21"/>
                    <a:pt x="4" y="20"/>
                    <a:pt x="5" y="20"/>
                  </a:cubicBezTo>
                  <a:cubicBezTo>
                    <a:pt x="6" y="20"/>
                    <a:pt x="6" y="20"/>
                    <a:pt x="7" y="19"/>
                  </a:cubicBezTo>
                  <a:cubicBezTo>
                    <a:pt x="8" y="19"/>
                    <a:pt x="8" y="19"/>
                    <a:pt x="8" y="19"/>
                  </a:cubicBezTo>
                  <a:cubicBezTo>
                    <a:pt x="10" y="18"/>
                    <a:pt x="13" y="17"/>
                    <a:pt x="15" y="17"/>
                  </a:cubicBezTo>
                  <a:cubicBezTo>
                    <a:pt x="20" y="18"/>
                    <a:pt x="27" y="21"/>
                    <a:pt x="31" y="23"/>
                  </a:cubicBezTo>
                  <a:cubicBezTo>
                    <a:pt x="32" y="22"/>
                    <a:pt x="32" y="22"/>
                    <a:pt x="32" y="22"/>
                  </a:cubicBezTo>
                  <a:cubicBezTo>
                    <a:pt x="31" y="22"/>
                    <a:pt x="31" y="22"/>
                    <a:pt x="31" y="22"/>
                  </a:cubicBezTo>
                  <a:cubicBezTo>
                    <a:pt x="31" y="22"/>
                    <a:pt x="31" y="22"/>
                    <a:pt x="31" y="22"/>
                  </a:cubicBezTo>
                  <a:cubicBezTo>
                    <a:pt x="29" y="20"/>
                    <a:pt x="27" y="19"/>
                    <a:pt x="24" y="17"/>
                  </a:cubicBezTo>
                  <a:cubicBezTo>
                    <a:pt x="20" y="15"/>
                    <a:pt x="20" y="15"/>
                    <a:pt x="20" y="15"/>
                  </a:cubicBezTo>
                  <a:cubicBezTo>
                    <a:pt x="23" y="12"/>
                    <a:pt x="23" y="12"/>
                    <a:pt x="23" y="12"/>
                  </a:cubicBezTo>
                  <a:cubicBezTo>
                    <a:pt x="26" y="10"/>
                    <a:pt x="29" y="7"/>
                    <a:pt x="31" y="5"/>
                  </a:cubicBezTo>
                  <a:cubicBezTo>
                    <a:pt x="27" y="0"/>
                    <a:pt x="27" y="0"/>
                    <a:pt x="27" y="0"/>
                  </a:cubicBezTo>
                  <a:cubicBezTo>
                    <a:pt x="27" y="0"/>
                    <a:pt x="27" y="0"/>
                    <a:pt x="27" y="0"/>
                  </a:cubicBezTo>
                  <a:cubicBezTo>
                    <a:pt x="26" y="1"/>
                    <a:pt x="26" y="1"/>
                    <a:pt x="26" y="1"/>
                  </a:cubicBezTo>
                  <a:cubicBezTo>
                    <a:pt x="26" y="1"/>
                    <a:pt x="26" y="1"/>
                    <a:pt x="25" y="2"/>
                  </a:cubicBezTo>
                  <a:cubicBezTo>
                    <a:pt x="25" y="2"/>
                    <a:pt x="24" y="2"/>
                    <a:pt x="24" y="3"/>
                  </a:cubicBezTo>
                  <a:cubicBezTo>
                    <a:pt x="23" y="3"/>
                    <a:pt x="23" y="3"/>
                    <a:pt x="23" y="3"/>
                  </a:cubicBezTo>
                  <a:cubicBezTo>
                    <a:pt x="22" y="5"/>
                    <a:pt x="20" y="6"/>
                    <a:pt x="19" y="7"/>
                  </a:cubicBezTo>
                  <a:cubicBezTo>
                    <a:pt x="18" y="7"/>
                    <a:pt x="18" y="7"/>
                    <a:pt x="18" y="7"/>
                  </a:cubicBezTo>
                  <a:cubicBezTo>
                    <a:pt x="17" y="7"/>
                    <a:pt x="17" y="7"/>
                    <a:pt x="16" y="8"/>
                  </a:cubicBezTo>
                  <a:cubicBezTo>
                    <a:pt x="15" y="8"/>
                    <a:pt x="15" y="8"/>
                    <a:pt x="14" y="9"/>
                  </a:cubicBezTo>
                  <a:cubicBezTo>
                    <a:pt x="12" y="10"/>
                    <a:pt x="9" y="11"/>
                    <a:pt x="6" y="10"/>
                  </a:cubicBezTo>
                  <a:cubicBezTo>
                    <a:pt x="6" y="10"/>
                    <a:pt x="5" y="9"/>
                    <a:pt x="5" y="9"/>
                  </a:cubicBezTo>
                  <a:cubicBezTo>
                    <a:pt x="5" y="9"/>
                    <a:pt x="5" y="9"/>
                    <a:pt x="5" y="9"/>
                  </a:cubicBezTo>
                  <a:cubicBezTo>
                    <a:pt x="4" y="9"/>
                    <a:pt x="3" y="8"/>
                    <a:pt x="2" y="8"/>
                  </a:cubicBezTo>
                  <a:cubicBezTo>
                    <a:pt x="1" y="8"/>
                    <a:pt x="1" y="8"/>
                    <a:pt x="1" y="8"/>
                  </a:cubicBezTo>
                  <a:cubicBezTo>
                    <a:pt x="0" y="9"/>
                    <a:pt x="0" y="10"/>
                    <a:pt x="0" y="10"/>
                  </a:cubicBezTo>
                  <a:cubicBezTo>
                    <a:pt x="0" y="12"/>
                    <a:pt x="0" y="15"/>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72729283"/>
      </p:ext>
    </p:extLst>
  </p:cSld>
  <p:clrMapOvr>
    <a:masterClrMapping/>
  </p:clrMapOvr>
  <p:transition/>
  <p:timing/>
</p:sldLayout>
</file>

<file path=ppt/slideLayouts/slideLayout9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Oceani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1199" name="Text Placeholder 377"/>
          <p:cNvSpPr>
            <a:spLocks noGrp="1"/>
          </p:cNvSpPr>
          <p:nvPr>
            <p:ph type="body" sz="quarter" idx="12" hasCustomPrompt="1"/>
          </p:nvPr>
        </p:nvSpPr>
        <p:spPr>
          <a:xfrm>
            <a:off x="8201602"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grpSp>
        <p:nvGrpSpPr>
          <p:cNvPr id="477" name="Group 476"/>
          <p:cNvGrpSpPr/>
          <p:nvPr userDrawn="1"/>
        </p:nvGrpSpPr>
        <p:grpSpPr>
          <a:xfrm>
            <a:off x="0" y="1"/>
            <a:ext cx="8911766" cy="6857999"/>
            <a:chOff x="0" y="1"/>
            <a:chExt cx="8911766" cy="6857999"/>
          </a:xfrm>
          <a:gradFill>
            <a:gsLst>
              <a:gs pos="0">
                <a:schemeClr val="accent5"/>
              </a:gs>
              <a:gs pos="100000">
                <a:schemeClr val="accent1"/>
              </a:gs>
            </a:gsLst>
            <a:lin ang="18900000" scaled="1"/>
          </a:gradFill>
        </p:grpSpPr>
        <p:sp>
          <p:nvSpPr>
            <p:cNvPr id="478" name="Oval 1053"/>
            <p:cNvSpPr>
              <a:spLocks noChangeArrowheads="1"/>
            </p:cNvSpPr>
            <p:nvPr/>
          </p:nvSpPr>
          <p:spPr bwMode="auto">
            <a:xfrm>
              <a:off x="8839280" y="6147904"/>
              <a:ext cx="1342" cy="134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054"/>
            <p:cNvSpPr/>
            <p:nvPr/>
          </p:nvSpPr>
          <p:spPr bwMode="auto">
            <a:xfrm>
              <a:off x="2718230" y="4087417"/>
              <a:ext cx="16108" cy="18793"/>
            </a:xfrm>
            <a:custGeom>
              <a:gdLst>
                <a:gd name="T0" fmla="*/ 1 w 5"/>
                <a:gd name="T1" fmla="*/ 0 h 6"/>
                <a:gd name="T2" fmla="*/ 0 w 5"/>
                <a:gd name="T3" fmla="*/ 1 h 6"/>
                <a:gd name="T4" fmla="*/ 5 w 5"/>
                <a:gd name="T5" fmla="*/ 6 h 6"/>
                <a:gd name="T6" fmla="*/ 3 w 5"/>
                <a:gd name="T7" fmla="*/ 0 h 6"/>
                <a:gd name="T8" fmla="*/ 2 w 5"/>
                <a:gd name="T9" fmla="*/ 0 h 6"/>
                <a:gd name="T10" fmla="*/ 2 w 5"/>
                <a:gd name="T11" fmla="*/ 0 h 6"/>
                <a:gd name="T12" fmla="*/ 1 w 5"/>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5" h="6">
                  <a:moveTo>
                    <a:pt x="1" y="0"/>
                  </a:moveTo>
                  <a:cubicBezTo>
                    <a:pt x="1" y="0"/>
                    <a:pt x="0" y="0"/>
                    <a:pt x="0" y="1"/>
                  </a:cubicBezTo>
                  <a:cubicBezTo>
                    <a:pt x="0" y="3"/>
                    <a:pt x="4" y="5"/>
                    <a:pt x="5" y="6"/>
                  </a:cubicBezTo>
                  <a:cubicBezTo>
                    <a:pt x="4" y="5"/>
                    <a:pt x="4" y="1"/>
                    <a:pt x="3" y="0"/>
                  </a:cubicBezTo>
                  <a:cubicBezTo>
                    <a:pt x="2" y="0"/>
                    <a:pt x="2" y="0"/>
                    <a:pt x="2" y="0"/>
                  </a:cubicBezTo>
                  <a:cubicBezTo>
                    <a:pt x="2"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Oval 1055"/>
            <p:cNvSpPr>
              <a:spLocks noChangeArrowheads="1"/>
            </p:cNvSpPr>
            <p:nvPr/>
          </p:nvSpPr>
          <p:spPr bwMode="auto">
            <a:xfrm>
              <a:off x="6123735" y="5671374"/>
              <a:ext cx="1342" cy="26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056"/>
            <p:cNvSpPr/>
            <p:nvPr/>
          </p:nvSpPr>
          <p:spPr bwMode="auto">
            <a:xfrm>
              <a:off x="732915" y="3970633"/>
              <a:ext cx="21477" cy="21477"/>
            </a:xfrm>
            <a:custGeom>
              <a:gdLst>
                <a:gd name="T0" fmla="*/ 7 w 7"/>
                <a:gd name="T1" fmla="*/ 0 h 7"/>
                <a:gd name="T2" fmla="*/ 0 w 7"/>
                <a:gd name="T3" fmla="*/ 0 h 7"/>
                <a:gd name="T4" fmla="*/ 0 w 7"/>
                <a:gd name="T5" fmla="*/ 7 h 7"/>
                <a:gd name="T6" fmla="*/ 7 w 7"/>
                <a:gd name="T7" fmla="*/ 0 h 7"/>
              </a:gdLst>
              <a:cxnLst>
                <a:cxn ang="0">
                  <a:pos x="T0" y="T1"/>
                </a:cxn>
                <a:cxn ang="0">
                  <a:pos x="T2" y="T3"/>
                </a:cxn>
                <a:cxn ang="0">
                  <a:pos x="T4" y="T5"/>
                </a:cxn>
                <a:cxn ang="0">
                  <a:pos x="T6" y="T7"/>
                </a:cxn>
              </a:cxnLst>
              <a:rect l="0" t="0" r="r" b="b"/>
              <a:pathLst>
                <a:path w="7" h="7">
                  <a:moveTo>
                    <a:pt x="7" y="0"/>
                  </a:moveTo>
                  <a:cubicBezTo>
                    <a:pt x="5" y="0"/>
                    <a:pt x="3" y="0"/>
                    <a:pt x="0" y="0"/>
                  </a:cubicBezTo>
                  <a:cubicBezTo>
                    <a:pt x="0" y="3"/>
                    <a:pt x="0" y="5"/>
                    <a:pt x="0" y="7"/>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057"/>
            <p:cNvSpPr/>
            <p:nvPr/>
          </p:nvSpPr>
          <p:spPr bwMode="auto">
            <a:xfrm>
              <a:off x="2331637" y="3389401"/>
              <a:ext cx="9396" cy="22820"/>
            </a:xfrm>
            <a:custGeom>
              <a:gdLst>
                <a:gd name="T0" fmla="*/ 0 w 3"/>
                <a:gd name="T1" fmla="*/ 0 h 7"/>
                <a:gd name="T2" fmla="*/ 2 w 3"/>
                <a:gd name="T3" fmla="*/ 4 h 7"/>
                <a:gd name="T4" fmla="*/ 3 w 3"/>
                <a:gd name="T5" fmla="*/ 7 h 7"/>
                <a:gd name="T6" fmla="*/ 2 w 3"/>
                <a:gd name="T7" fmla="*/ 3 h 7"/>
                <a:gd name="T8" fmla="*/ 0 w 3"/>
                <a:gd name="T9" fmla="*/ 0 h 7"/>
              </a:gdLst>
              <a:cxnLst>
                <a:cxn ang="0">
                  <a:pos x="T0" y="T1"/>
                </a:cxn>
                <a:cxn ang="0">
                  <a:pos x="T2" y="T3"/>
                </a:cxn>
                <a:cxn ang="0">
                  <a:pos x="T4" y="T5"/>
                </a:cxn>
                <a:cxn ang="0">
                  <a:pos x="T6" y="T7"/>
                </a:cxn>
                <a:cxn ang="0">
                  <a:pos x="T8" y="T9"/>
                </a:cxn>
              </a:cxnLst>
              <a:rect l="0" t="0" r="r" b="b"/>
              <a:pathLst>
                <a:path w="3" h="7">
                  <a:moveTo>
                    <a:pt x="0" y="0"/>
                  </a:moveTo>
                  <a:cubicBezTo>
                    <a:pt x="1" y="1"/>
                    <a:pt x="1" y="3"/>
                    <a:pt x="2" y="4"/>
                  </a:cubicBezTo>
                  <a:cubicBezTo>
                    <a:pt x="2" y="5"/>
                    <a:pt x="2" y="6"/>
                    <a:pt x="3" y="7"/>
                  </a:cubicBezTo>
                  <a:cubicBezTo>
                    <a:pt x="3" y="6"/>
                    <a:pt x="2" y="4"/>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058"/>
            <p:cNvSpPr/>
            <p:nvPr/>
          </p:nvSpPr>
          <p:spPr bwMode="auto">
            <a:xfrm>
              <a:off x="1338309" y="4138425"/>
              <a:ext cx="4027" cy="0"/>
            </a:xfrm>
            <a:custGeom>
              <a:gdLst>
                <a:gd name="T0" fmla="*/ 0 w 3"/>
                <a:gd name="T1" fmla="*/ 0 w 3"/>
                <a:gd name="T2" fmla="*/ 3 w 3"/>
                <a:gd name="T3" fmla="*/ 0 w 3"/>
              </a:gd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059"/>
            <p:cNvSpPr/>
            <p:nvPr/>
          </p:nvSpPr>
          <p:spPr bwMode="auto">
            <a:xfrm>
              <a:off x="1338309" y="4138425"/>
              <a:ext cx="4027" cy="0"/>
            </a:xfrm>
            <a:custGeom>
              <a:gdLst>
                <a:gd name="T0" fmla="*/ 0 w 3"/>
                <a:gd name="T1" fmla="*/ 0 w 3"/>
                <a:gd name="T2" fmla="*/ 3 w 3"/>
                <a:gd name="T3" fmla="*/ 0 w 3"/>
              </a:gdLst>
              <a:cxnLst>
                <a:cxn ang="0">
                  <a:pos x="T0" y="0"/>
                </a:cxn>
                <a:cxn ang="0">
                  <a:pos x="T1" y="0"/>
                </a:cxn>
                <a:cxn ang="0">
                  <a:pos x="T2" y="0"/>
                </a:cxn>
                <a:cxn ang="0">
                  <a:pos x="T3" y="0"/>
                </a:cxn>
              </a:cxnLst>
              <a:rect l="0" t="0" r="r" b="b"/>
              <a:pathLst>
                <a:path w="3">
                  <a:moveTo>
                    <a:pt x="0" y="0"/>
                  </a:moveTo>
                  <a:lnTo>
                    <a:pt x="0" y="0"/>
                  </a:lnTo>
                  <a:lnTo>
                    <a:pt x="3"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Oval 1060"/>
            <p:cNvSpPr>
              <a:spLocks noChangeArrowheads="1"/>
            </p:cNvSpPr>
            <p:nvPr/>
          </p:nvSpPr>
          <p:spPr bwMode="auto">
            <a:xfrm>
              <a:off x="6707651" y="4354542"/>
              <a:ext cx="1342" cy="134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061"/>
            <p:cNvSpPr/>
            <p:nvPr/>
          </p:nvSpPr>
          <p:spPr bwMode="auto">
            <a:xfrm>
              <a:off x="6729129" y="4373334"/>
              <a:ext cx="4027" cy="0"/>
            </a:xfrm>
            <a:custGeom>
              <a:gdLst>
                <a:gd name="T0" fmla="*/ 1 w 1"/>
                <a:gd name="T1" fmla="*/ 1 w 1"/>
                <a:gd name="T2" fmla="*/ 0 w 1"/>
                <a:gd name="T3" fmla="*/ 1 w 1"/>
                <a:gd name="T4" fmla="*/ 1 w 1"/>
              </a:gd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0" y="0"/>
                    <a:pt x="0" y="0"/>
                  </a:cubicBezTo>
                  <a:cubicBezTo>
                    <a:pt x="0" y="0"/>
                    <a:pt x="0"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062"/>
            <p:cNvSpPr/>
            <p:nvPr/>
          </p:nvSpPr>
          <p:spPr bwMode="auto">
            <a:xfrm>
              <a:off x="8906397" y="6204282"/>
              <a:ext cx="5369" cy="6712"/>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063"/>
            <p:cNvSpPr/>
            <p:nvPr/>
          </p:nvSpPr>
          <p:spPr bwMode="auto">
            <a:xfrm>
              <a:off x="8827199" y="6169381"/>
              <a:ext cx="18793" cy="18793"/>
            </a:xfrm>
            <a:custGeom>
              <a:gdLst>
                <a:gd name="T0" fmla="*/ 5 w 6"/>
                <a:gd name="T1" fmla="*/ 0 h 6"/>
                <a:gd name="T2" fmla="*/ 3 w 6"/>
                <a:gd name="T3" fmla="*/ 1 h 6"/>
                <a:gd name="T4" fmla="*/ 2 w 6"/>
                <a:gd name="T5" fmla="*/ 3 h 6"/>
                <a:gd name="T6" fmla="*/ 2 w 6"/>
                <a:gd name="T7" fmla="*/ 2 h 6"/>
                <a:gd name="T8" fmla="*/ 0 w 6"/>
                <a:gd name="T9" fmla="*/ 6 h 6"/>
                <a:gd name="T10" fmla="*/ 1 w 6"/>
                <a:gd name="T11" fmla="*/ 6 h 6"/>
                <a:gd name="T12" fmla="*/ 2 w 6"/>
                <a:gd name="T13" fmla="*/ 6 h 6"/>
                <a:gd name="T14" fmla="*/ 2 w 6"/>
                <a:gd name="T15" fmla="*/ 6 h 6"/>
                <a:gd name="T16" fmla="*/ 6 w 6"/>
                <a:gd name="T17" fmla="*/ 1 h 6"/>
                <a:gd name="T18" fmla="*/ 5 w 6"/>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5" y="0"/>
                  </a:moveTo>
                  <a:cubicBezTo>
                    <a:pt x="4" y="0"/>
                    <a:pt x="4" y="1"/>
                    <a:pt x="3" y="1"/>
                  </a:cubicBezTo>
                  <a:cubicBezTo>
                    <a:pt x="3" y="1"/>
                    <a:pt x="2" y="2"/>
                    <a:pt x="2" y="3"/>
                  </a:cubicBezTo>
                  <a:cubicBezTo>
                    <a:pt x="2" y="2"/>
                    <a:pt x="2" y="2"/>
                    <a:pt x="2" y="2"/>
                  </a:cubicBezTo>
                  <a:cubicBezTo>
                    <a:pt x="1" y="3"/>
                    <a:pt x="0" y="4"/>
                    <a:pt x="0" y="6"/>
                  </a:cubicBezTo>
                  <a:cubicBezTo>
                    <a:pt x="0" y="6"/>
                    <a:pt x="1" y="6"/>
                    <a:pt x="1" y="6"/>
                  </a:cubicBezTo>
                  <a:cubicBezTo>
                    <a:pt x="2" y="6"/>
                    <a:pt x="2" y="6"/>
                    <a:pt x="2" y="6"/>
                  </a:cubicBezTo>
                  <a:cubicBezTo>
                    <a:pt x="2" y="6"/>
                    <a:pt x="2" y="6"/>
                    <a:pt x="2" y="6"/>
                  </a:cubicBezTo>
                  <a:cubicBezTo>
                    <a:pt x="3" y="5"/>
                    <a:pt x="6" y="2"/>
                    <a:pt x="6" y="1"/>
                  </a:cubicBezTo>
                  <a:cubicBezTo>
                    <a:pt x="6" y="1"/>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064"/>
            <p:cNvSpPr/>
            <p:nvPr/>
          </p:nvSpPr>
          <p:spPr bwMode="auto">
            <a:xfrm>
              <a:off x="7776150" y="5708960"/>
              <a:ext cx="22820" cy="13423"/>
            </a:xfrm>
            <a:custGeom>
              <a:gdLst>
                <a:gd name="T0" fmla="*/ 3 w 7"/>
                <a:gd name="T1" fmla="*/ 0 h 4"/>
                <a:gd name="T2" fmla="*/ 3 w 7"/>
                <a:gd name="T3" fmla="*/ 0 h 4"/>
                <a:gd name="T4" fmla="*/ 0 w 7"/>
                <a:gd name="T5" fmla="*/ 4 h 4"/>
                <a:gd name="T6" fmla="*/ 3 w 7"/>
                <a:gd name="T7" fmla="*/ 2 h 4"/>
                <a:gd name="T8" fmla="*/ 4 w 7"/>
                <a:gd name="T9" fmla="*/ 3 h 4"/>
                <a:gd name="T10" fmla="*/ 4 w 7"/>
                <a:gd name="T11" fmla="*/ 2 h 4"/>
                <a:gd name="T12" fmla="*/ 5 w 7"/>
                <a:gd name="T13" fmla="*/ 3 h 4"/>
                <a:gd name="T14" fmla="*/ 7 w 7"/>
                <a:gd name="T15" fmla="*/ 2 h 4"/>
                <a:gd name="T16" fmla="*/ 7 w 7"/>
                <a:gd name="T17" fmla="*/ 0 h 4"/>
                <a:gd name="T18" fmla="*/ 3 w 7"/>
                <a:gd name="T19"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3" y="0"/>
                  </a:moveTo>
                  <a:cubicBezTo>
                    <a:pt x="3" y="0"/>
                    <a:pt x="3" y="0"/>
                    <a:pt x="3" y="0"/>
                  </a:cubicBezTo>
                  <a:cubicBezTo>
                    <a:pt x="1" y="0"/>
                    <a:pt x="1" y="1"/>
                    <a:pt x="0" y="4"/>
                  </a:cubicBezTo>
                  <a:cubicBezTo>
                    <a:pt x="2" y="4"/>
                    <a:pt x="2" y="2"/>
                    <a:pt x="3" y="2"/>
                  </a:cubicBezTo>
                  <a:cubicBezTo>
                    <a:pt x="3" y="2"/>
                    <a:pt x="3" y="2"/>
                    <a:pt x="4" y="3"/>
                  </a:cubicBezTo>
                  <a:cubicBezTo>
                    <a:pt x="4" y="2"/>
                    <a:pt x="4" y="2"/>
                    <a:pt x="4" y="2"/>
                  </a:cubicBezTo>
                  <a:cubicBezTo>
                    <a:pt x="4" y="2"/>
                    <a:pt x="5" y="3"/>
                    <a:pt x="5" y="3"/>
                  </a:cubicBezTo>
                  <a:cubicBezTo>
                    <a:pt x="6" y="3"/>
                    <a:pt x="6" y="2"/>
                    <a:pt x="7" y="2"/>
                  </a:cubicBezTo>
                  <a:cubicBezTo>
                    <a:pt x="7" y="1"/>
                    <a:pt x="7" y="1"/>
                    <a:pt x="7"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065"/>
            <p:cNvSpPr/>
            <p:nvPr/>
          </p:nvSpPr>
          <p:spPr bwMode="auto">
            <a:xfrm>
              <a:off x="7849979" y="5778761"/>
              <a:ext cx="12081" cy="10739"/>
            </a:xfrm>
            <a:custGeom>
              <a:gdLst>
                <a:gd name="T0" fmla="*/ 1 w 4"/>
                <a:gd name="T1" fmla="*/ 0 h 3"/>
                <a:gd name="T2" fmla="*/ 0 w 4"/>
                <a:gd name="T3" fmla="*/ 0 h 3"/>
                <a:gd name="T4" fmla="*/ 0 w 4"/>
                <a:gd name="T5" fmla="*/ 0 h 3"/>
                <a:gd name="T6" fmla="*/ 0 w 4"/>
                <a:gd name="T7" fmla="*/ 0 h 3"/>
                <a:gd name="T8" fmla="*/ 1 w 4"/>
                <a:gd name="T9" fmla="*/ 3 h 3"/>
                <a:gd name="T10" fmla="*/ 2 w 4"/>
                <a:gd name="T11" fmla="*/ 3 h 3"/>
                <a:gd name="T12" fmla="*/ 4 w 4"/>
                <a:gd name="T13" fmla="*/ 3 h 3"/>
                <a:gd name="T14" fmla="*/ 1 w 4"/>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1" y="0"/>
                  </a:moveTo>
                  <a:cubicBezTo>
                    <a:pt x="1" y="0"/>
                    <a:pt x="1" y="0"/>
                    <a:pt x="0" y="0"/>
                  </a:cubicBezTo>
                  <a:cubicBezTo>
                    <a:pt x="0" y="0"/>
                    <a:pt x="0" y="0"/>
                    <a:pt x="0" y="0"/>
                  </a:cubicBezTo>
                  <a:cubicBezTo>
                    <a:pt x="0" y="0"/>
                    <a:pt x="0" y="0"/>
                    <a:pt x="0" y="0"/>
                  </a:cubicBezTo>
                  <a:cubicBezTo>
                    <a:pt x="0" y="1"/>
                    <a:pt x="1" y="2"/>
                    <a:pt x="1" y="3"/>
                  </a:cubicBezTo>
                  <a:cubicBezTo>
                    <a:pt x="1" y="3"/>
                    <a:pt x="2" y="3"/>
                    <a:pt x="2" y="3"/>
                  </a:cubicBezTo>
                  <a:cubicBezTo>
                    <a:pt x="3" y="3"/>
                    <a:pt x="3" y="3"/>
                    <a:pt x="4"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086"/>
            <p:cNvSpPr/>
            <p:nvPr/>
          </p:nvSpPr>
          <p:spPr bwMode="auto">
            <a:xfrm>
              <a:off x="3134354" y="4805567"/>
              <a:ext cx="22820" cy="5369"/>
            </a:xfrm>
            <a:custGeom>
              <a:gdLst>
                <a:gd name="T0" fmla="*/ 5 w 7"/>
                <a:gd name="T1" fmla="*/ 0 h 2"/>
                <a:gd name="T2" fmla="*/ 0 w 7"/>
                <a:gd name="T3" fmla="*/ 2 h 2"/>
                <a:gd name="T4" fmla="*/ 7 w 7"/>
                <a:gd name="T5" fmla="*/ 1 h 2"/>
                <a:gd name="T6" fmla="*/ 5 w 7"/>
                <a:gd name="T7" fmla="*/ 0 h 2"/>
              </a:gdLst>
              <a:cxnLst>
                <a:cxn ang="0">
                  <a:pos x="T0" y="T1"/>
                </a:cxn>
                <a:cxn ang="0">
                  <a:pos x="T2" y="T3"/>
                </a:cxn>
                <a:cxn ang="0">
                  <a:pos x="T4" y="T5"/>
                </a:cxn>
                <a:cxn ang="0">
                  <a:pos x="T6" y="T7"/>
                </a:cxn>
              </a:cxnLst>
              <a:rect l="0" t="0" r="r" b="b"/>
              <a:pathLst>
                <a:path w="7" h="2">
                  <a:moveTo>
                    <a:pt x="5" y="0"/>
                  </a:moveTo>
                  <a:cubicBezTo>
                    <a:pt x="4" y="0"/>
                    <a:pt x="0" y="0"/>
                    <a:pt x="0" y="2"/>
                  </a:cubicBezTo>
                  <a:cubicBezTo>
                    <a:pt x="2" y="2"/>
                    <a:pt x="5" y="1"/>
                    <a:pt x="7"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087"/>
            <p:cNvSpPr>
              <a:spLocks noEditPoints="1"/>
            </p:cNvSpPr>
            <p:nvPr/>
          </p:nvSpPr>
          <p:spPr bwMode="auto">
            <a:xfrm>
              <a:off x="4635085" y="4147822"/>
              <a:ext cx="63090" cy="44297"/>
            </a:xfrm>
            <a:custGeom>
              <a:gdLst>
                <a:gd name="T0" fmla="*/ 1 w 20"/>
                <a:gd name="T1" fmla="*/ 10 h 14"/>
                <a:gd name="T2" fmla="*/ 1 w 20"/>
                <a:gd name="T3" fmla="*/ 10 h 14"/>
                <a:gd name="T4" fmla="*/ 1 w 20"/>
                <a:gd name="T5" fmla="*/ 10 h 14"/>
                <a:gd name="T6" fmla="*/ 12 w 20"/>
                <a:gd name="T7" fmla="*/ 0 h 14"/>
                <a:gd name="T8" fmla="*/ 7 w 20"/>
                <a:gd name="T9" fmla="*/ 4 h 14"/>
                <a:gd name="T10" fmla="*/ 1 w 20"/>
                <a:gd name="T11" fmla="*/ 10 h 14"/>
                <a:gd name="T12" fmla="*/ 1 w 20"/>
                <a:gd name="T13" fmla="*/ 10 h 14"/>
                <a:gd name="T14" fmla="*/ 1 w 20"/>
                <a:gd name="T15" fmla="*/ 11 h 14"/>
                <a:gd name="T16" fmla="*/ 2 w 20"/>
                <a:gd name="T17" fmla="*/ 12 h 14"/>
                <a:gd name="T18" fmla="*/ 2 w 20"/>
                <a:gd name="T19" fmla="*/ 12 h 14"/>
                <a:gd name="T20" fmla="*/ 7 w 20"/>
                <a:gd name="T21" fmla="*/ 14 h 14"/>
                <a:gd name="T22" fmla="*/ 18 w 20"/>
                <a:gd name="T23" fmla="*/ 10 h 14"/>
                <a:gd name="T24" fmla="*/ 19 w 20"/>
                <a:gd name="T25" fmla="*/ 8 h 14"/>
                <a:gd name="T26" fmla="*/ 18 w 20"/>
                <a:gd name="T27" fmla="*/ 8 h 14"/>
                <a:gd name="T28" fmla="*/ 19 w 20"/>
                <a:gd name="T29" fmla="*/ 7 h 14"/>
                <a:gd name="T30" fmla="*/ 18 w 20"/>
                <a:gd name="T31" fmla="*/ 3 h 14"/>
                <a:gd name="T32" fmla="*/ 12 w 20"/>
                <a:gd name="T33" fmla="*/ 0 h 14"/>
                <a:gd name="T34" fmla="*/ 12 w 20"/>
                <a:gd name="T35"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4">
                  <a:moveTo>
                    <a:pt x="1" y="10"/>
                  </a:moveTo>
                  <a:cubicBezTo>
                    <a:pt x="1" y="10"/>
                    <a:pt x="1" y="10"/>
                    <a:pt x="1" y="10"/>
                  </a:cubicBezTo>
                  <a:cubicBezTo>
                    <a:pt x="1" y="10"/>
                    <a:pt x="1" y="10"/>
                    <a:pt x="1" y="10"/>
                  </a:cubicBezTo>
                  <a:moveTo>
                    <a:pt x="12" y="0"/>
                  </a:moveTo>
                  <a:cubicBezTo>
                    <a:pt x="9" y="0"/>
                    <a:pt x="8" y="2"/>
                    <a:pt x="7" y="4"/>
                  </a:cubicBezTo>
                  <a:cubicBezTo>
                    <a:pt x="5" y="6"/>
                    <a:pt x="0" y="6"/>
                    <a:pt x="1" y="10"/>
                  </a:cubicBezTo>
                  <a:cubicBezTo>
                    <a:pt x="1" y="10"/>
                    <a:pt x="1" y="10"/>
                    <a:pt x="1" y="10"/>
                  </a:cubicBezTo>
                  <a:cubicBezTo>
                    <a:pt x="1" y="10"/>
                    <a:pt x="1" y="10"/>
                    <a:pt x="1" y="11"/>
                  </a:cubicBezTo>
                  <a:cubicBezTo>
                    <a:pt x="2" y="11"/>
                    <a:pt x="2" y="12"/>
                    <a:pt x="2" y="12"/>
                  </a:cubicBezTo>
                  <a:cubicBezTo>
                    <a:pt x="2" y="12"/>
                    <a:pt x="2" y="12"/>
                    <a:pt x="2" y="12"/>
                  </a:cubicBezTo>
                  <a:cubicBezTo>
                    <a:pt x="3" y="13"/>
                    <a:pt x="5" y="14"/>
                    <a:pt x="7" y="14"/>
                  </a:cubicBezTo>
                  <a:cubicBezTo>
                    <a:pt x="10" y="13"/>
                    <a:pt x="16" y="12"/>
                    <a:pt x="18" y="10"/>
                  </a:cubicBezTo>
                  <a:cubicBezTo>
                    <a:pt x="20" y="9"/>
                    <a:pt x="19" y="10"/>
                    <a:pt x="19" y="8"/>
                  </a:cubicBezTo>
                  <a:cubicBezTo>
                    <a:pt x="18" y="8"/>
                    <a:pt x="18" y="8"/>
                    <a:pt x="18" y="8"/>
                  </a:cubicBezTo>
                  <a:cubicBezTo>
                    <a:pt x="19" y="7"/>
                    <a:pt x="19" y="7"/>
                    <a:pt x="19" y="7"/>
                  </a:cubicBezTo>
                  <a:cubicBezTo>
                    <a:pt x="19" y="5"/>
                    <a:pt x="19" y="4"/>
                    <a:pt x="18" y="3"/>
                  </a:cubicBezTo>
                  <a:cubicBezTo>
                    <a:pt x="18" y="2"/>
                    <a:pt x="14"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088"/>
            <p:cNvSpPr/>
            <p:nvPr/>
          </p:nvSpPr>
          <p:spPr bwMode="auto">
            <a:xfrm>
              <a:off x="4672670" y="3963922"/>
              <a:ext cx="104702" cy="114099"/>
            </a:xfrm>
            <a:custGeom>
              <a:gdLst>
                <a:gd name="T0" fmla="*/ 18 w 33"/>
                <a:gd name="T1" fmla="*/ 0 h 36"/>
                <a:gd name="T2" fmla="*/ 14 w 33"/>
                <a:gd name="T3" fmla="*/ 1 h 36"/>
                <a:gd name="T4" fmla="*/ 0 w 33"/>
                <a:gd name="T5" fmla="*/ 1 h 36"/>
                <a:gd name="T6" fmla="*/ 8 w 33"/>
                <a:gd name="T7" fmla="*/ 12 h 36"/>
                <a:gd name="T8" fmla="*/ 18 w 33"/>
                <a:gd name="T9" fmla="*/ 21 h 36"/>
                <a:gd name="T10" fmla="*/ 17 w 33"/>
                <a:gd name="T11" fmla="*/ 23 h 36"/>
                <a:gd name="T12" fmla="*/ 18 w 33"/>
                <a:gd name="T13" fmla="*/ 30 h 36"/>
                <a:gd name="T14" fmla="*/ 22 w 33"/>
                <a:gd name="T15" fmla="*/ 36 h 36"/>
                <a:gd name="T16" fmla="*/ 23 w 33"/>
                <a:gd name="T17" fmla="*/ 36 h 36"/>
                <a:gd name="T18" fmla="*/ 24 w 33"/>
                <a:gd name="T19" fmla="*/ 36 h 36"/>
                <a:gd name="T20" fmla="*/ 25 w 33"/>
                <a:gd name="T21" fmla="*/ 35 h 36"/>
                <a:gd name="T22" fmla="*/ 25 w 33"/>
                <a:gd name="T23" fmla="*/ 35 h 36"/>
                <a:gd name="T24" fmla="*/ 29 w 33"/>
                <a:gd name="T25" fmla="*/ 36 h 36"/>
                <a:gd name="T26" fmla="*/ 30 w 33"/>
                <a:gd name="T27" fmla="*/ 35 h 36"/>
                <a:gd name="T28" fmla="*/ 30 w 33"/>
                <a:gd name="T29" fmla="*/ 35 h 36"/>
                <a:gd name="T30" fmla="*/ 31 w 33"/>
                <a:gd name="T31" fmla="*/ 35 h 36"/>
                <a:gd name="T32" fmla="*/ 32 w 33"/>
                <a:gd name="T33" fmla="*/ 35 h 36"/>
                <a:gd name="T34" fmla="*/ 30 w 33"/>
                <a:gd name="T35" fmla="*/ 34 h 36"/>
                <a:gd name="T36" fmla="*/ 32 w 33"/>
                <a:gd name="T37" fmla="*/ 30 h 36"/>
                <a:gd name="T38" fmla="*/ 30 w 33"/>
                <a:gd name="T39" fmla="*/ 20 h 36"/>
                <a:gd name="T40" fmla="*/ 29 w 33"/>
                <a:gd name="T41" fmla="*/ 10 h 36"/>
                <a:gd name="T42" fmla="*/ 29 w 33"/>
                <a:gd name="T43" fmla="*/ 10 h 36"/>
                <a:gd name="T44" fmla="*/ 26 w 33"/>
                <a:gd name="T45" fmla="*/ 8 h 36"/>
                <a:gd name="T46" fmla="*/ 24 w 33"/>
                <a:gd name="T47" fmla="*/ 5 h 36"/>
                <a:gd name="T48" fmla="*/ 25 w 33"/>
                <a:gd name="T49" fmla="*/ 5 h 36"/>
                <a:gd name="T50" fmla="*/ 21 w 33"/>
                <a:gd name="T51" fmla="*/ 1 h 36"/>
                <a:gd name="T52" fmla="*/ 18 w 33"/>
                <a:gd name="T53"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 h="36">
                  <a:moveTo>
                    <a:pt x="18" y="0"/>
                  </a:moveTo>
                  <a:cubicBezTo>
                    <a:pt x="16" y="0"/>
                    <a:pt x="15" y="1"/>
                    <a:pt x="14" y="1"/>
                  </a:cubicBezTo>
                  <a:cubicBezTo>
                    <a:pt x="9" y="1"/>
                    <a:pt x="4" y="1"/>
                    <a:pt x="0" y="1"/>
                  </a:cubicBezTo>
                  <a:cubicBezTo>
                    <a:pt x="2" y="7"/>
                    <a:pt x="3" y="8"/>
                    <a:pt x="8" y="12"/>
                  </a:cubicBezTo>
                  <a:cubicBezTo>
                    <a:pt x="11" y="15"/>
                    <a:pt x="16" y="18"/>
                    <a:pt x="18" y="21"/>
                  </a:cubicBezTo>
                  <a:cubicBezTo>
                    <a:pt x="17" y="21"/>
                    <a:pt x="17" y="22"/>
                    <a:pt x="17" y="23"/>
                  </a:cubicBezTo>
                  <a:cubicBezTo>
                    <a:pt x="17" y="26"/>
                    <a:pt x="16" y="28"/>
                    <a:pt x="18" y="30"/>
                  </a:cubicBezTo>
                  <a:cubicBezTo>
                    <a:pt x="19" y="32"/>
                    <a:pt x="21" y="34"/>
                    <a:pt x="22" y="36"/>
                  </a:cubicBezTo>
                  <a:cubicBezTo>
                    <a:pt x="22" y="36"/>
                    <a:pt x="23" y="36"/>
                    <a:pt x="23" y="36"/>
                  </a:cubicBezTo>
                  <a:cubicBezTo>
                    <a:pt x="23" y="36"/>
                    <a:pt x="24" y="36"/>
                    <a:pt x="24" y="36"/>
                  </a:cubicBezTo>
                  <a:cubicBezTo>
                    <a:pt x="24" y="36"/>
                    <a:pt x="24" y="35"/>
                    <a:pt x="25" y="35"/>
                  </a:cubicBezTo>
                  <a:cubicBezTo>
                    <a:pt x="25" y="35"/>
                    <a:pt x="25" y="35"/>
                    <a:pt x="25" y="35"/>
                  </a:cubicBezTo>
                  <a:cubicBezTo>
                    <a:pt x="26" y="36"/>
                    <a:pt x="29" y="36"/>
                    <a:pt x="29" y="36"/>
                  </a:cubicBezTo>
                  <a:cubicBezTo>
                    <a:pt x="29" y="35"/>
                    <a:pt x="29" y="35"/>
                    <a:pt x="30" y="35"/>
                  </a:cubicBezTo>
                  <a:cubicBezTo>
                    <a:pt x="30" y="35"/>
                    <a:pt x="30" y="35"/>
                    <a:pt x="30" y="35"/>
                  </a:cubicBezTo>
                  <a:cubicBezTo>
                    <a:pt x="31" y="35"/>
                    <a:pt x="31" y="35"/>
                    <a:pt x="31" y="35"/>
                  </a:cubicBezTo>
                  <a:cubicBezTo>
                    <a:pt x="32" y="35"/>
                    <a:pt x="32" y="35"/>
                    <a:pt x="32" y="35"/>
                  </a:cubicBezTo>
                  <a:cubicBezTo>
                    <a:pt x="31" y="35"/>
                    <a:pt x="31" y="34"/>
                    <a:pt x="30" y="34"/>
                  </a:cubicBezTo>
                  <a:cubicBezTo>
                    <a:pt x="30" y="33"/>
                    <a:pt x="32" y="31"/>
                    <a:pt x="32" y="30"/>
                  </a:cubicBezTo>
                  <a:cubicBezTo>
                    <a:pt x="33" y="28"/>
                    <a:pt x="31" y="22"/>
                    <a:pt x="30" y="20"/>
                  </a:cubicBezTo>
                  <a:cubicBezTo>
                    <a:pt x="30" y="18"/>
                    <a:pt x="28" y="11"/>
                    <a:pt x="29" y="10"/>
                  </a:cubicBezTo>
                  <a:cubicBezTo>
                    <a:pt x="29" y="10"/>
                    <a:pt x="29" y="10"/>
                    <a:pt x="29" y="10"/>
                  </a:cubicBezTo>
                  <a:cubicBezTo>
                    <a:pt x="28" y="9"/>
                    <a:pt x="27" y="9"/>
                    <a:pt x="26" y="8"/>
                  </a:cubicBezTo>
                  <a:cubicBezTo>
                    <a:pt x="23" y="7"/>
                    <a:pt x="25" y="8"/>
                    <a:pt x="24" y="5"/>
                  </a:cubicBezTo>
                  <a:cubicBezTo>
                    <a:pt x="24" y="5"/>
                    <a:pt x="25" y="5"/>
                    <a:pt x="25" y="5"/>
                  </a:cubicBezTo>
                  <a:cubicBezTo>
                    <a:pt x="24" y="4"/>
                    <a:pt x="23" y="2"/>
                    <a:pt x="21" y="1"/>
                  </a:cubicBezTo>
                  <a:cubicBezTo>
                    <a:pt x="20" y="1"/>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089"/>
            <p:cNvSpPr/>
            <p:nvPr/>
          </p:nvSpPr>
          <p:spPr bwMode="auto">
            <a:xfrm>
              <a:off x="4672670" y="4047147"/>
              <a:ext cx="73828" cy="110072"/>
            </a:xfrm>
            <a:custGeom>
              <a:gdLst>
                <a:gd name="T0" fmla="*/ 0 w 23"/>
                <a:gd name="T1" fmla="*/ 0 h 35"/>
                <a:gd name="T2" fmla="*/ 3 w 23"/>
                <a:gd name="T3" fmla="*/ 6 h 35"/>
                <a:gd name="T4" fmla="*/ 3 w 23"/>
                <a:gd name="T5" fmla="*/ 11 h 35"/>
                <a:gd name="T6" fmla="*/ 3 w 23"/>
                <a:gd name="T7" fmla="*/ 14 h 35"/>
                <a:gd name="T8" fmla="*/ 4 w 23"/>
                <a:gd name="T9" fmla="*/ 13 h 35"/>
                <a:gd name="T10" fmla="*/ 4 w 23"/>
                <a:gd name="T11" fmla="*/ 15 h 35"/>
                <a:gd name="T12" fmla="*/ 6 w 23"/>
                <a:gd name="T13" fmla="*/ 14 h 35"/>
                <a:gd name="T14" fmla="*/ 8 w 23"/>
                <a:gd name="T15" fmla="*/ 12 h 35"/>
                <a:gd name="T16" fmla="*/ 8 w 23"/>
                <a:gd name="T17" fmla="*/ 12 h 35"/>
                <a:gd name="T18" fmla="*/ 11 w 23"/>
                <a:gd name="T19" fmla="*/ 32 h 35"/>
                <a:gd name="T20" fmla="*/ 18 w 23"/>
                <a:gd name="T21" fmla="*/ 35 h 35"/>
                <a:gd name="T22" fmla="*/ 17 w 23"/>
                <a:gd name="T23" fmla="*/ 27 h 35"/>
                <a:gd name="T24" fmla="*/ 20 w 23"/>
                <a:gd name="T25" fmla="*/ 32 h 35"/>
                <a:gd name="T26" fmla="*/ 23 w 23"/>
                <a:gd name="T27" fmla="*/ 28 h 35"/>
                <a:gd name="T28" fmla="*/ 21 w 23"/>
                <a:gd name="T29" fmla="*/ 21 h 35"/>
                <a:gd name="T30" fmla="*/ 17 w 23"/>
                <a:gd name="T31" fmla="*/ 3 h 35"/>
                <a:gd name="T32" fmla="*/ 9 w 23"/>
                <a:gd name="T33" fmla="*/ 5 h 35"/>
                <a:gd name="T34" fmla="*/ 7 w 23"/>
                <a:gd name="T35" fmla="*/ 4 h 35"/>
                <a:gd name="T36" fmla="*/ 0 w 23"/>
                <a:gd name="T37"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5">
                  <a:moveTo>
                    <a:pt x="0" y="0"/>
                  </a:moveTo>
                  <a:cubicBezTo>
                    <a:pt x="1" y="2"/>
                    <a:pt x="2" y="4"/>
                    <a:pt x="3" y="6"/>
                  </a:cubicBezTo>
                  <a:cubicBezTo>
                    <a:pt x="3" y="7"/>
                    <a:pt x="3" y="9"/>
                    <a:pt x="3" y="11"/>
                  </a:cubicBezTo>
                  <a:cubicBezTo>
                    <a:pt x="2" y="12"/>
                    <a:pt x="2" y="14"/>
                    <a:pt x="3" y="14"/>
                  </a:cubicBezTo>
                  <a:cubicBezTo>
                    <a:pt x="3" y="14"/>
                    <a:pt x="3" y="14"/>
                    <a:pt x="4" y="13"/>
                  </a:cubicBezTo>
                  <a:cubicBezTo>
                    <a:pt x="4" y="15"/>
                    <a:pt x="4" y="15"/>
                    <a:pt x="4" y="15"/>
                  </a:cubicBezTo>
                  <a:cubicBezTo>
                    <a:pt x="5" y="15"/>
                    <a:pt x="5" y="14"/>
                    <a:pt x="6" y="14"/>
                  </a:cubicBezTo>
                  <a:cubicBezTo>
                    <a:pt x="7" y="13"/>
                    <a:pt x="7" y="12"/>
                    <a:pt x="8" y="12"/>
                  </a:cubicBezTo>
                  <a:cubicBezTo>
                    <a:pt x="8" y="12"/>
                    <a:pt x="8" y="12"/>
                    <a:pt x="8" y="12"/>
                  </a:cubicBezTo>
                  <a:cubicBezTo>
                    <a:pt x="14" y="13"/>
                    <a:pt x="11" y="29"/>
                    <a:pt x="11" y="32"/>
                  </a:cubicBezTo>
                  <a:cubicBezTo>
                    <a:pt x="13" y="33"/>
                    <a:pt x="16" y="34"/>
                    <a:pt x="18" y="35"/>
                  </a:cubicBezTo>
                  <a:cubicBezTo>
                    <a:pt x="18" y="32"/>
                    <a:pt x="16" y="30"/>
                    <a:pt x="17" y="27"/>
                  </a:cubicBezTo>
                  <a:cubicBezTo>
                    <a:pt x="18" y="29"/>
                    <a:pt x="19" y="30"/>
                    <a:pt x="20" y="32"/>
                  </a:cubicBezTo>
                  <a:cubicBezTo>
                    <a:pt x="22" y="31"/>
                    <a:pt x="23" y="30"/>
                    <a:pt x="23" y="28"/>
                  </a:cubicBezTo>
                  <a:cubicBezTo>
                    <a:pt x="23" y="26"/>
                    <a:pt x="21" y="22"/>
                    <a:pt x="21" y="21"/>
                  </a:cubicBezTo>
                  <a:cubicBezTo>
                    <a:pt x="16" y="16"/>
                    <a:pt x="17" y="10"/>
                    <a:pt x="17" y="3"/>
                  </a:cubicBezTo>
                  <a:cubicBezTo>
                    <a:pt x="14" y="4"/>
                    <a:pt x="12" y="5"/>
                    <a:pt x="9" y="5"/>
                  </a:cubicBezTo>
                  <a:cubicBezTo>
                    <a:pt x="8" y="5"/>
                    <a:pt x="7" y="5"/>
                    <a:pt x="7" y="4"/>
                  </a:cubicBezTo>
                  <a:cubicBezTo>
                    <a:pt x="5"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090"/>
            <p:cNvSpPr/>
            <p:nvPr/>
          </p:nvSpPr>
          <p:spPr bwMode="auto">
            <a:xfrm>
              <a:off x="4323663" y="3507527"/>
              <a:ext cx="343638" cy="459079"/>
            </a:xfrm>
            <a:custGeom>
              <a:gdLst>
                <a:gd name="T0" fmla="*/ 28 w 108"/>
                <a:gd name="T1" fmla="*/ 1 h 145"/>
                <a:gd name="T2" fmla="*/ 26 w 108"/>
                <a:gd name="T3" fmla="*/ 1 h 145"/>
                <a:gd name="T4" fmla="*/ 24 w 108"/>
                <a:gd name="T5" fmla="*/ 1 h 145"/>
                <a:gd name="T6" fmla="*/ 22 w 108"/>
                <a:gd name="T7" fmla="*/ 8 h 145"/>
                <a:gd name="T8" fmla="*/ 19 w 108"/>
                <a:gd name="T9" fmla="*/ 38 h 145"/>
                <a:gd name="T10" fmla="*/ 18 w 108"/>
                <a:gd name="T11" fmla="*/ 60 h 145"/>
                <a:gd name="T12" fmla="*/ 14 w 108"/>
                <a:gd name="T13" fmla="*/ 61 h 145"/>
                <a:gd name="T14" fmla="*/ 7 w 108"/>
                <a:gd name="T15" fmla="*/ 53 h 145"/>
                <a:gd name="T16" fmla="*/ 8 w 108"/>
                <a:gd name="T17" fmla="*/ 70 h 145"/>
                <a:gd name="T18" fmla="*/ 13 w 108"/>
                <a:gd name="T19" fmla="*/ 92 h 145"/>
                <a:gd name="T20" fmla="*/ 18 w 108"/>
                <a:gd name="T21" fmla="*/ 96 h 145"/>
                <a:gd name="T22" fmla="*/ 20 w 108"/>
                <a:gd name="T23" fmla="*/ 100 h 145"/>
                <a:gd name="T24" fmla="*/ 22 w 108"/>
                <a:gd name="T25" fmla="*/ 91 h 145"/>
                <a:gd name="T26" fmla="*/ 33 w 108"/>
                <a:gd name="T27" fmla="*/ 90 h 145"/>
                <a:gd name="T28" fmla="*/ 33 w 108"/>
                <a:gd name="T29" fmla="*/ 103 h 145"/>
                <a:gd name="T30" fmla="*/ 23 w 108"/>
                <a:gd name="T31" fmla="*/ 106 h 145"/>
                <a:gd name="T32" fmla="*/ 27 w 108"/>
                <a:gd name="T33" fmla="*/ 113 h 145"/>
                <a:gd name="T34" fmla="*/ 30 w 108"/>
                <a:gd name="T35" fmla="*/ 118 h 145"/>
                <a:gd name="T36" fmla="*/ 39 w 108"/>
                <a:gd name="T37" fmla="*/ 120 h 145"/>
                <a:gd name="T38" fmla="*/ 45 w 108"/>
                <a:gd name="T39" fmla="*/ 114 h 145"/>
                <a:gd name="T40" fmla="*/ 55 w 108"/>
                <a:gd name="T41" fmla="*/ 114 h 145"/>
                <a:gd name="T42" fmla="*/ 64 w 108"/>
                <a:gd name="T43" fmla="*/ 121 h 145"/>
                <a:gd name="T44" fmla="*/ 64 w 108"/>
                <a:gd name="T45" fmla="*/ 121 h 145"/>
                <a:gd name="T46" fmla="*/ 68 w 108"/>
                <a:gd name="T47" fmla="*/ 118 h 145"/>
                <a:gd name="T48" fmla="*/ 68 w 108"/>
                <a:gd name="T49" fmla="*/ 112 h 145"/>
                <a:gd name="T50" fmla="*/ 85 w 108"/>
                <a:gd name="T51" fmla="*/ 126 h 145"/>
                <a:gd name="T52" fmla="*/ 93 w 108"/>
                <a:gd name="T53" fmla="*/ 135 h 145"/>
                <a:gd name="T54" fmla="*/ 101 w 108"/>
                <a:gd name="T55" fmla="*/ 136 h 145"/>
                <a:gd name="T56" fmla="*/ 102 w 108"/>
                <a:gd name="T57" fmla="*/ 135 h 145"/>
                <a:gd name="T58" fmla="*/ 104 w 108"/>
                <a:gd name="T59" fmla="*/ 135 h 145"/>
                <a:gd name="T60" fmla="*/ 102 w 108"/>
                <a:gd name="T61" fmla="*/ 138 h 145"/>
                <a:gd name="T62" fmla="*/ 101 w 108"/>
                <a:gd name="T63" fmla="*/ 138 h 145"/>
                <a:gd name="T64" fmla="*/ 100 w 108"/>
                <a:gd name="T65" fmla="*/ 138 h 145"/>
                <a:gd name="T66" fmla="*/ 108 w 108"/>
                <a:gd name="T67" fmla="*/ 133 h 145"/>
                <a:gd name="T68" fmla="*/ 102 w 108"/>
                <a:gd name="T69" fmla="*/ 132 h 145"/>
                <a:gd name="T70" fmla="*/ 100 w 108"/>
                <a:gd name="T71" fmla="*/ 129 h 145"/>
                <a:gd name="T72" fmla="*/ 94 w 108"/>
                <a:gd name="T73" fmla="*/ 117 h 145"/>
                <a:gd name="T74" fmla="*/ 97 w 108"/>
                <a:gd name="T75" fmla="*/ 118 h 145"/>
                <a:gd name="T76" fmla="*/ 100 w 108"/>
                <a:gd name="T77" fmla="*/ 117 h 145"/>
                <a:gd name="T78" fmla="*/ 103 w 108"/>
                <a:gd name="T79" fmla="*/ 117 h 145"/>
                <a:gd name="T80" fmla="*/ 88 w 108"/>
                <a:gd name="T81" fmla="*/ 108 h 145"/>
                <a:gd name="T82" fmla="*/ 88 w 108"/>
                <a:gd name="T83" fmla="*/ 114 h 145"/>
                <a:gd name="T84" fmla="*/ 81 w 108"/>
                <a:gd name="T85" fmla="*/ 109 h 145"/>
                <a:gd name="T86" fmla="*/ 70 w 108"/>
                <a:gd name="T87" fmla="*/ 102 h 145"/>
                <a:gd name="T88" fmla="*/ 62 w 108"/>
                <a:gd name="T89" fmla="*/ 111 h 145"/>
                <a:gd name="T90" fmla="*/ 62 w 108"/>
                <a:gd name="T91" fmla="*/ 113 h 145"/>
                <a:gd name="T92" fmla="*/ 51 w 108"/>
                <a:gd name="T93" fmla="*/ 103 h 145"/>
                <a:gd name="T94" fmla="*/ 46 w 108"/>
                <a:gd name="T95" fmla="*/ 87 h 145"/>
                <a:gd name="T96" fmla="*/ 48 w 108"/>
                <a:gd name="T97" fmla="*/ 69 h 145"/>
                <a:gd name="T98" fmla="*/ 47 w 108"/>
                <a:gd name="T99" fmla="*/ 68 h 145"/>
                <a:gd name="T100" fmla="*/ 46 w 108"/>
                <a:gd name="T101" fmla="*/ 68 h 145"/>
                <a:gd name="T102" fmla="*/ 58 w 108"/>
                <a:gd name="T103" fmla="*/ 61 h 145"/>
                <a:gd name="T104" fmla="*/ 68 w 108"/>
                <a:gd name="T105" fmla="*/ 38 h 145"/>
                <a:gd name="T106" fmla="*/ 61 w 108"/>
                <a:gd name="T107" fmla="*/ 25 h 145"/>
                <a:gd name="T108" fmla="*/ 62 w 108"/>
                <a:gd name="T109" fmla="*/ 2 h 145"/>
                <a:gd name="T110" fmla="*/ 55 w 108"/>
                <a:gd name="T111" fmla="*/ 7 h 145"/>
                <a:gd name="T112" fmla="*/ 52 w 108"/>
                <a:gd name="T113" fmla="*/ 7 h 145"/>
                <a:gd name="T114" fmla="*/ 33 w 108"/>
                <a:gd name="T115" fmla="*/ 0 h 1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145">
                  <a:moveTo>
                    <a:pt x="33" y="0"/>
                  </a:moveTo>
                  <a:cubicBezTo>
                    <a:pt x="31" y="0"/>
                    <a:pt x="29" y="0"/>
                    <a:pt x="28" y="1"/>
                  </a:cubicBezTo>
                  <a:cubicBezTo>
                    <a:pt x="27" y="1"/>
                    <a:pt x="27" y="1"/>
                    <a:pt x="27" y="1"/>
                  </a:cubicBezTo>
                  <a:cubicBezTo>
                    <a:pt x="27" y="1"/>
                    <a:pt x="26" y="1"/>
                    <a:pt x="26" y="1"/>
                  </a:cubicBezTo>
                  <a:cubicBezTo>
                    <a:pt x="26" y="1"/>
                    <a:pt x="25" y="1"/>
                    <a:pt x="25" y="1"/>
                  </a:cubicBezTo>
                  <a:cubicBezTo>
                    <a:pt x="25" y="1"/>
                    <a:pt x="25" y="1"/>
                    <a:pt x="24" y="1"/>
                  </a:cubicBezTo>
                  <a:cubicBezTo>
                    <a:pt x="24" y="1"/>
                    <a:pt x="23" y="1"/>
                    <a:pt x="23" y="2"/>
                  </a:cubicBezTo>
                  <a:cubicBezTo>
                    <a:pt x="22" y="3"/>
                    <a:pt x="22" y="6"/>
                    <a:pt x="22" y="8"/>
                  </a:cubicBezTo>
                  <a:cubicBezTo>
                    <a:pt x="21" y="10"/>
                    <a:pt x="20" y="14"/>
                    <a:pt x="20" y="17"/>
                  </a:cubicBezTo>
                  <a:cubicBezTo>
                    <a:pt x="20" y="24"/>
                    <a:pt x="19" y="31"/>
                    <a:pt x="19" y="38"/>
                  </a:cubicBezTo>
                  <a:cubicBezTo>
                    <a:pt x="19" y="41"/>
                    <a:pt x="18" y="47"/>
                    <a:pt x="16" y="47"/>
                  </a:cubicBezTo>
                  <a:cubicBezTo>
                    <a:pt x="17" y="51"/>
                    <a:pt x="21" y="57"/>
                    <a:pt x="18" y="60"/>
                  </a:cubicBezTo>
                  <a:cubicBezTo>
                    <a:pt x="18" y="61"/>
                    <a:pt x="16" y="62"/>
                    <a:pt x="15" y="62"/>
                  </a:cubicBezTo>
                  <a:cubicBezTo>
                    <a:pt x="15" y="62"/>
                    <a:pt x="15" y="61"/>
                    <a:pt x="14" y="61"/>
                  </a:cubicBezTo>
                  <a:cubicBezTo>
                    <a:pt x="12" y="60"/>
                    <a:pt x="7" y="57"/>
                    <a:pt x="8" y="55"/>
                  </a:cubicBezTo>
                  <a:cubicBezTo>
                    <a:pt x="8" y="53"/>
                    <a:pt x="8" y="53"/>
                    <a:pt x="7" y="53"/>
                  </a:cubicBezTo>
                  <a:cubicBezTo>
                    <a:pt x="7" y="53"/>
                    <a:pt x="7" y="53"/>
                    <a:pt x="6" y="53"/>
                  </a:cubicBezTo>
                  <a:cubicBezTo>
                    <a:pt x="0" y="54"/>
                    <a:pt x="7" y="68"/>
                    <a:pt x="8" y="70"/>
                  </a:cubicBezTo>
                  <a:cubicBezTo>
                    <a:pt x="9" y="77"/>
                    <a:pt x="10" y="85"/>
                    <a:pt x="11" y="91"/>
                  </a:cubicBezTo>
                  <a:cubicBezTo>
                    <a:pt x="12" y="92"/>
                    <a:pt x="12" y="92"/>
                    <a:pt x="13" y="92"/>
                  </a:cubicBezTo>
                  <a:cubicBezTo>
                    <a:pt x="14" y="92"/>
                    <a:pt x="15" y="91"/>
                    <a:pt x="16" y="91"/>
                  </a:cubicBezTo>
                  <a:cubicBezTo>
                    <a:pt x="14" y="95"/>
                    <a:pt x="17" y="94"/>
                    <a:pt x="18" y="96"/>
                  </a:cubicBezTo>
                  <a:cubicBezTo>
                    <a:pt x="19" y="97"/>
                    <a:pt x="18" y="98"/>
                    <a:pt x="18" y="98"/>
                  </a:cubicBezTo>
                  <a:cubicBezTo>
                    <a:pt x="19" y="99"/>
                    <a:pt x="19" y="100"/>
                    <a:pt x="20" y="100"/>
                  </a:cubicBezTo>
                  <a:cubicBezTo>
                    <a:pt x="20" y="100"/>
                    <a:pt x="21" y="100"/>
                    <a:pt x="21" y="100"/>
                  </a:cubicBezTo>
                  <a:cubicBezTo>
                    <a:pt x="24" y="100"/>
                    <a:pt x="23" y="93"/>
                    <a:pt x="22" y="91"/>
                  </a:cubicBezTo>
                  <a:cubicBezTo>
                    <a:pt x="24" y="92"/>
                    <a:pt x="26" y="92"/>
                    <a:pt x="28" y="93"/>
                  </a:cubicBezTo>
                  <a:cubicBezTo>
                    <a:pt x="29" y="91"/>
                    <a:pt x="31" y="90"/>
                    <a:pt x="33" y="90"/>
                  </a:cubicBezTo>
                  <a:cubicBezTo>
                    <a:pt x="37" y="90"/>
                    <a:pt x="39" y="93"/>
                    <a:pt x="39" y="96"/>
                  </a:cubicBezTo>
                  <a:cubicBezTo>
                    <a:pt x="39" y="100"/>
                    <a:pt x="37" y="103"/>
                    <a:pt x="33" y="103"/>
                  </a:cubicBezTo>
                  <a:cubicBezTo>
                    <a:pt x="31" y="103"/>
                    <a:pt x="30" y="102"/>
                    <a:pt x="29" y="101"/>
                  </a:cubicBezTo>
                  <a:cubicBezTo>
                    <a:pt x="27" y="103"/>
                    <a:pt x="23" y="104"/>
                    <a:pt x="23" y="106"/>
                  </a:cubicBezTo>
                  <a:cubicBezTo>
                    <a:pt x="24" y="109"/>
                    <a:pt x="24" y="113"/>
                    <a:pt x="25" y="116"/>
                  </a:cubicBezTo>
                  <a:cubicBezTo>
                    <a:pt x="26" y="114"/>
                    <a:pt x="26" y="113"/>
                    <a:pt x="27" y="113"/>
                  </a:cubicBezTo>
                  <a:cubicBezTo>
                    <a:pt x="28" y="113"/>
                    <a:pt x="29" y="113"/>
                    <a:pt x="31" y="115"/>
                  </a:cubicBezTo>
                  <a:cubicBezTo>
                    <a:pt x="32" y="116"/>
                    <a:pt x="30" y="117"/>
                    <a:pt x="30" y="118"/>
                  </a:cubicBezTo>
                  <a:cubicBezTo>
                    <a:pt x="31" y="118"/>
                    <a:pt x="34" y="120"/>
                    <a:pt x="36" y="120"/>
                  </a:cubicBezTo>
                  <a:cubicBezTo>
                    <a:pt x="36" y="120"/>
                    <a:pt x="38" y="120"/>
                    <a:pt x="39" y="120"/>
                  </a:cubicBezTo>
                  <a:cubicBezTo>
                    <a:pt x="39" y="120"/>
                    <a:pt x="39" y="120"/>
                    <a:pt x="40" y="120"/>
                  </a:cubicBezTo>
                  <a:cubicBezTo>
                    <a:pt x="42" y="119"/>
                    <a:pt x="43" y="116"/>
                    <a:pt x="45" y="114"/>
                  </a:cubicBezTo>
                  <a:cubicBezTo>
                    <a:pt x="47" y="113"/>
                    <a:pt x="49" y="112"/>
                    <a:pt x="50" y="112"/>
                  </a:cubicBezTo>
                  <a:cubicBezTo>
                    <a:pt x="51" y="112"/>
                    <a:pt x="52" y="113"/>
                    <a:pt x="55" y="114"/>
                  </a:cubicBezTo>
                  <a:cubicBezTo>
                    <a:pt x="56" y="115"/>
                    <a:pt x="58" y="115"/>
                    <a:pt x="59" y="116"/>
                  </a:cubicBezTo>
                  <a:cubicBezTo>
                    <a:pt x="61" y="118"/>
                    <a:pt x="61" y="121"/>
                    <a:pt x="64" y="121"/>
                  </a:cubicBezTo>
                  <a:cubicBezTo>
                    <a:pt x="64" y="121"/>
                    <a:pt x="64" y="121"/>
                    <a:pt x="64" y="121"/>
                  </a:cubicBezTo>
                  <a:cubicBezTo>
                    <a:pt x="64" y="121"/>
                    <a:pt x="64" y="121"/>
                    <a:pt x="64" y="121"/>
                  </a:cubicBezTo>
                  <a:cubicBezTo>
                    <a:pt x="68" y="121"/>
                    <a:pt x="68" y="129"/>
                    <a:pt x="71" y="131"/>
                  </a:cubicBezTo>
                  <a:cubicBezTo>
                    <a:pt x="70" y="126"/>
                    <a:pt x="69" y="122"/>
                    <a:pt x="68" y="118"/>
                  </a:cubicBezTo>
                  <a:cubicBezTo>
                    <a:pt x="68" y="116"/>
                    <a:pt x="68" y="114"/>
                    <a:pt x="67" y="112"/>
                  </a:cubicBezTo>
                  <a:cubicBezTo>
                    <a:pt x="67" y="112"/>
                    <a:pt x="68" y="112"/>
                    <a:pt x="68" y="112"/>
                  </a:cubicBezTo>
                  <a:cubicBezTo>
                    <a:pt x="70" y="112"/>
                    <a:pt x="71" y="113"/>
                    <a:pt x="73" y="115"/>
                  </a:cubicBezTo>
                  <a:cubicBezTo>
                    <a:pt x="77" y="119"/>
                    <a:pt x="81" y="122"/>
                    <a:pt x="85" y="126"/>
                  </a:cubicBezTo>
                  <a:cubicBezTo>
                    <a:pt x="87" y="128"/>
                    <a:pt x="87" y="129"/>
                    <a:pt x="87" y="133"/>
                  </a:cubicBezTo>
                  <a:cubicBezTo>
                    <a:pt x="87" y="134"/>
                    <a:pt x="91" y="135"/>
                    <a:pt x="93" y="135"/>
                  </a:cubicBezTo>
                  <a:cubicBezTo>
                    <a:pt x="95" y="136"/>
                    <a:pt x="97" y="137"/>
                    <a:pt x="98" y="137"/>
                  </a:cubicBezTo>
                  <a:cubicBezTo>
                    <a:pt x="99" y="137"/>
                    <a:pt x="100" y="137"/>
                    <a:pt x="101" y="136"/>
                  </a:cubicBezTo>
                  <a:cubicBezTo>
                    <a:pt x="101" y="136"/>
                    <a:pt x="101" y="135"/>
                    <a:pt x="101" y="135"/>
                  </a:cubicBezTo>
                  <a:cubicBezTo>
                    <a:pt x="102" y="135"/>
                    <a:pt x="102" y="135"/>
                    <a:pt x="102" y="135"/>
                  </a:cubicBezTo>
                  <a:cubicBezTo>
                    <a:pt x="102" y="135"/>
                    <a:pt x="102" y="135"/>
                    <a:pt x="103" y="135"/>
                  </a:cubicBezTo>
                  <a:cubicBezTo>
                    <a:pt x="103" y="135"/>
                    <a:pt x="103" y="135"/>
                    <a:pt x="104" y="135"/>
                  </a:cubicBezTo>
                  <a:cubicBezTo>
                    <a:pt x="104" y="135"/>
                    <a:pt x="104" y="135"/>
                    <a:pt x="104" y="135"/>
                  </a:cubicBezTo>
                  <a:cubicBezTo>
                    <a:pt x="103" y="136"/>
                    <a:pt x="103" y="137"/>
                    <a:pt x="102" y="138"/>
                  </a:cubicBezTo>
                  <a:cubicBezTo>
                    <a:pt x="102" y="138"/>
                    <a:pt x="102" y="138"/>
                    <a:pt x="102" y="138"/>
                  </a:cubicBezTo>
                  <a:cubicBezTo>
                    <a:pt x="101" y="138"/>
                    <a:pt x="101" y="138"/>
                    <a:pt x="101" y="138"/>
                  </a:cubicBezTo>
                  <a:cubicBezTo>
                    <a:pt x="101" y="138"/>
                    <a:pt x="101" y="138"/>
                    <a:pt x="101" y="138"/>
                  </a:cubicBezTo>
                  <a:cubicBezTo>
                    <a:pt x="100" y="138"/>
                    <a:pt x="100" y="138"/>
                    <a:pt x="100" y="138"/>
                  </a:cubicBezTo>
                  <a:cubicBezTo>
                    <a:pt x="99" y="141"/>
                    <a:pt x="104" y="144"/>
                    <a:pt x="106" y="145"/>
                  </a:cubicBezTo>
                  <a:cubicBezTo>
                    <a:pt x="106" y="144"/>
                    <a:pt x="108" y="133"/>
                    <a:pt x="108" y="133"/>
                  </a:cubicBezTo>
                  <a:cubicBezTo>
                    <a:pt x="107" y="133"/>
                    <a:pt x="104" y="132"/>
                    <a:pt x="103" y="132"/>
                  </a:cubicBezTo>
                  <a:cubicBezTo>
                    <a:pt x="102" y="132"/>
                    <a:pt x="102" y="132"/>
                    <a:pt x="102" y="132"/>
                  </a:cubicBezTo>
                  <a:cubicBezTo>
                    <a:pt x="99" y="133"/>
                    <a:pt x="99" y="133"/>
                    <a:pt x="99" y="133"/>
                  </a:cubicBezTo>
                  <a:cubicBezTo>
                    <a:pt x="97" y="133"/>
                    <a:pt x="99" y="129"/>
                    <a:pt x="100" y="129"/>
                  </a:cubicBezTo>
                  <a:cubicBezTo>
                    <a:pt x="100" y="129"/>
                    <a:pt x="100" y="129"/>
                    <a:pt x="101" y="129"/>
                  </a:cubicBezTo>
                  <a:cubicBezTo>
                    <a:pt x="99" y="127"/>
                    <a:pt x="91" y="120"/>
                    <a:pt x="94" y="117"/>
                  </a:cubicBezTo>
                  <a:cubicBezTo>
                    <a:pt x="94" y="117"/>
                    <a:pt x="94" y="117"/>
                    <a:pt x="95" y="117"/>
                  </a:cubicBezTo>
                  <a:cubicBezTo>
                    <a:pt x="95" y="117"/>
                    <a:pt x="96" y="117"/>
                    <a:pt x="97" y="118"/>
                  </a:cubicBezTo>
                  <a:cubicBezTo>
                    <a:pt x="97" y="118"/>
                    <a:pt x="97" y="118"/>
                    <a:pt x="98" y="118"/>
                  </a:cubicBezTo>
                  <a:cubicBezTo>
                    <a:pt x="98" y="118"/>
                    <a:pt x="99" y="117"/>
                    <a:pt x="100" y="117"/>
                  </a:cubicBezTo>
                  <a:cubicBezTo>
                    <a:pt x="101" y="117"/>
                    <a:pt x="101" y="117"/>
                    <a:pt x="102" y="117"/>
                  </a:cubicBezTo>
                  <a:cubicBezTo>
                    <a:pt x="102" y="117"/>
                    <a:pt x="103" y="117"/>
                    <a:pt x="103" y="117"/>
                  </a:cubicBezTo>
                  <a:cubicBezTo>
                    <a:pt x="102" y="112"/>
                    <a:pt x="91" y="112"/>
                    <a:pt x="88" y="110"/>
                  </a:cubicBezTo>
                  <a:cubicBezTo>
                    <a:pt x="89" y="109"/>
                    <a:pt x="88" y="109"/>
                    <a:pt x="88" y="108"/>
                  </a:cubicBezTo>
                  <a:cubicBezTo>
                    <a:pt x="88" y="110"/>
                    <a:pt x="88" y="111"/>
                    <a:pt x="88" y="112"/>
                  </a:cubicBezTo>
                  <a:cubicBezTo>
                    <a:pt x="88" y="114"/>
                    <a:pt x="88" y="114"/>
                    <a:pt x="88" y="114"/>
                  </a:cubicBezTo>
                  <a:cubicBezTo>
                    <a:pt x="87" y="116"/>
                    <a:pt x="84" y="117"/>
                    <a:pt x="83" y="118"/>
                  </a:cubicBezTo>
                  <a:cubicBezTo>
                    <a:pt x="81" y="115"/>
                    <a:pt x="83" y="112"/>
                    <a:pt x="81" y="109"/>
                  </a:cubicBezTo>
                  <a:cubicBezTo>
                    <a:pt x="81" y="109"/>
                    <a:pt x="79" y="106"/>
                    <a:pt x="78" y="105"/>
                  </a:cubicBezTo>
                  <a:cubicBezTo>
                    <a:pt x="76" y="104"/>
                    <a:pt x="73" y="102"/>
                    <a:pt x="70" y="102"/>
                  </a:cubicBezTo>
                  <a:cubicBezTo>
                    <a:pt x="69" y="102"/>
                    <a:pt x="69" y="102"/>
                    <a:pt x="68" y="102"/>
                  </a:cubicBezTo>
                  <a:cubicBezTo>
                    <a:pt x="65" y="104"/>
                    <a:pt x="65" y="111"/>
                    <a:pt x="62" y="111"/>
                  </a:cubicBezTo>
                  <a:cubicBezTo>
                    <a:pt x="62" y="111"/>
                    <a:pt x="61" y="111"/>
                    <a:pt x="61" y="111"/>
                  </a:cubicBezTo>
                  <a:cubicBezTo>
                    <a:pt x="61" y="111"/>
                    <a:pt x="61" y="112"/>
                    <a:pt x="62" y="113"/>
                  </a:cubicBezTo>
                  <a:cubicBezTo>
                    <a:pt x="59" y="112"/>
                    <a:pt x="57" y="112"/>
                    <a:pt x="54" y="110"/>
                  </a:cubicBezTo>
                  <a:cubicBezTo>
                    <a:pt x="51" y="108"/>
                    <a:pt x="51" y="106"/>
                    <a:pt x="51" y="103"/>
                  </a:cubicBezTo>
                  <a:cubicBezTo>
                    <a:pt x="50" y="100"/>
                    <a:pt x="51" y="96"/>
                    <a:pt x="50" y="94"/>
                  </a:cubicBezTo>
                  <a:cubicBezTo>
                    <a:pt x="50" y="92"/>
                    <a:pt x="47" y="89"/>
                    <a:pt x="46" y="87"/>
                  </a:cubicBezTo>
                  <a:cubicBezTo>
                    <a:pt x="43" y="81"/>
                    <a:pt x="41" y="80"/>
                    <a:pt x="44" y="75"/>
                  </a:cubicBezTo>
                  <a:cubicBezTo>
                    <a:pt x="45" y="73"/>
                    <a:pt x="48" y="70"/>
                    <a:pt x="48" y="69"/>
                  </a:cubicBezTo>
                  <a:cubicBezTo>
                    <a:pt x="48" y="68"/>
                    <a:pt x="48" y="68"/>
                    <a:pt x="47" y="68"/>
                  </a:cubicBezTo>
                  <a:cubicBezTo>
                    <a:pt x="47" y="68"/>
                    <a:pt x="47" y="68"/>
                    <a:pt x="47" y="68"/>
                  </a:cubicBezTo>
                  <a:cubicBezTo>
                    <a:pt x="47" y="68"/>
                    <a:pt x="47" y="68"/>
                    <a:pt x="47" y="68"/>
                  </a:cubicBezTo>
                  <a:cubicBezTo>
                    <a:pt x="47" y="68"/>
                    <a:pt x="46" y="68"/>
                    <a:pt x="46" y="68"/>
                  </a:cubicBezTo>
                  <a:cubicBezTo>
                    <a:pt x="45" y="61"/>
                    <a:pt x="57" y="61"/>
                    <a:pt x="59" y="56"/>
                  </a:cubicBezTo>
                  <a:cubicBezTo>
                    <a:pt x="58" y="58"/>
                    <a:pt x="58" y="59"/>
                    <a:pt x="58" y="61"/>
                  </a:cubicBezTo>
                  <a:cubicBezTo>
                    <a:pt x="60" y="55"/>
                    <a:pt x="63" y="50"/>
                    <a:pt x="66" y="44"/>
                  </a:cubicBezTo>
                  <a:cubicBezTo>
                    <a:pt x="67" y="42"/>
                    <a:pt x="68" y="40"/>
                    <a:pt x="68" y="38"/>
                  </a:cubicBezTo>
                  <a:cubicBezTo>
                    <a:pt x="68" y="37"/>
                    <a:pt x="69" y="37"/>
                    <a:pt x="69" y="36"/>
                  </a:cubicBezTo>
                  <a:cubicBezTo>
                    <a:pt x="66" y="32"/>
                    <a:pt x="64" y="29"/>
                    <a:pt x="61" y="25"/>
                  </a:cubicBezTo>
                  <a:cubicBezTo>
                    <a:pt x="60" y="24"/>
                    <a:pt x="63" y="14"/>
                    <a:pt x="64" y="12"/>
                  </a:cubicBezTo>
                  <a:cubicBezTo>
                    <a:pt x="64" y="8"/>
                    <a:pt x="64" y="5"/>
                    <a:pt x="62" y="2"/>
                  </a:cubicBezTo>
                  <a:cubicBezTo>
                    <a:pt x="61" y="3"/>
                    <a:pt x="59" y="6"/>
                    <a:pt x="57" y="7"/>
                  </a:cubicBezTo>
                  <a:cubicBezTo>
                    <a:pt x="56" y="7"/>
                    <a:pt x="56" y="7"/>
                    <a:pt x="55" y="7"/>
                  </a:cubicBezTo>
                  <a:cubicBezTo>
                    <a:pt x="54" y="7"/>
                    <a:pt x="54" y="7"/>
                    <a:pt x="53" y="7"/>
                  </a:cubicBezTo>
                  <a:cubicBezTo>
                    <a:pt x="53" y="7"/>
                    <a:pt x="52" y="7"/>
                    <a:pt x="52" y="7"/>
                  </a:cubicBezTo>
                  <a:cubicBezTo>
                    <a:pt x="50" y="7"/>
                    <a:pt x="49" y="7"/>
                    <a:pt x="49" y="9"/>
                  </a:cubicBezTo>
                  <a:cubicBezTo>
                    <a:pt x="49" y="3"/>
                    <a:pt x="37" y="1"/>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091"/>
            <p:cNvSpPr/>
            <p:nvPr/>
          </p:nvSpPr>
          <p:spPr bwMode="auto">
            <a:xfrm>
              <a:off x="4143790" y="4052516"/>
              <a:ext cx="190612" cy="234909"/>
            </a:xfrm>
            <a:custGeom>
              <a:gdLst>
                <a:gd name="T0" fmla="*/ 54 w 60"/>
                <a:gd name="T1" fmla="*/ 0 h 74"/>
                <a:gd name="T2" fmla="*/ 50 w 60"/>
                <a:gd name="T3" fmla="*/ 12 h 74"/>
                <a:gd name="T4" fmla="*/ 53 w 60"/>
                <a:gd name="T5" fmla="*/ 17 h 74"/>
                <a:gd name="T6" fmla="*/ 53 w 60"/>
                <a:gd name="T7" fmla="*/ 17 h 74"/>
                <a:gd name="T8" fmla="*/ 50 w 60"/>
                <a:gd name="T9" fmla="*/ 13 h 74"/>
                <a:gd name="T10" fmla="*/ 48 w 60"/>
                <a:gd name="T11" fmla="*/ 12 h 74"/>
                <a:gd name="T12" fmla="*/ 48 w 60"/>
                <a:gd name="T13" fmla="*/ 13 h 74"/>
                <a:gd name="T14" fmla="*/ 49 w 60"/>
                <a:gd name="T15" fmla="*/ 21 h 74"/>
                <a:gd name="T16" fmla="*/ 46 w 60"/>
                <a:gd name="T17" fmla="*/ 25 h 74"/>
                <a:gd name="T18" fmla="*/ 46 w 60"/>
                <a:gd name="T19" fmla="*/ 23 h 74"/>
                <a:gd name="T20" fmla="*/ 39 w 60"/>
                <a:gd name="T21" fmla="*/ 32 h 74"/>
                <a:gd name="T22" fmla="*/ 38 w 60"/>
                <a:gd name="T23" fmla="*/ 33 h 74"/>
                <a:gd name="T24" fmla="*/ 37 w 60"/>
                <a:gd name="T25" fmla="*/ 32 h 74"/>
                <a:gd name="T26" fmla="*/ 26 w 60"/>
                <a:gd name="T27" fmla="*/ 45 h 74"/>
                <a:gd name="T28" fmla="*/ 19 w 60"/>
                <a:gd name="T29" fmla="*/ 52 h 74"/>
                <a:gd name="T30" fmla="*/ 19 w 60"/>
                <a:gd name="T31" fmla="*/ 51 h 74"/>
                <a:gd name="T32" fmla="*/ 10 w 60"/>
                <a:gd name="T33" fmla="*/ 59 h 74"/>
                <a:gd name="T34" fmla="*/ 3 w 60"/>
                <a:gd name="T35" fmla="*/ 66 h 74"/>
                <a:gd name="T36" fmla="*/ 0 w 60"/>
                <a:gd name="T37" fmla="*/ 74 h 74"/>
                <a:gd name="T38" fmla="*/ 17 w 60"/>
                <a:gd name="T39" fmla="*/ 61 h 74"/>
                <a:gd name="T40" fmla="*/ 31 w 60"/>
                <a:gd name="T41" fmla="*/ 50 h 74"/>
                <a:gd name="T42" fmla="*/ 35 w 60"/>
                <a:gd name="T43" fmla="*/ 45 h 74"/>
                <a:gd name="T44" fmla="*/ 37 w 60"/>
                <a:gd name="T45" fmla="*/ 42 h 74"/>
                <a:gd name="T46" fmla="*/ 41 w 60"/>
                <a:gd name="T47" fmla="*/ 34 h 74"/>
                <a:gd name="T48" fmla="*/ 45 w 60"/>
                <a:gd name="T49" fmla="*/ 34 h 74"/>
                <a:gd name="T50" fmla="*/ 52 w 60"/>
                <a:gd name="T51" fmla="*/ 26 h 74"/>
                <a:gd name="T52" fmla="*/ 60 w 60"/>
                <a:gd name="T53" fmla="*/ 21 h 74"/>
                <a:gd name="T54" fmla="*/ 59 w 60"/>
                <a:gd name="T55" fmla="*/ 21 h 74"/>
                <a:gd name="T56" fmla="*/ 58 w 60"/>
                <a:gd name="T57" fmla="*/ 18 h 74"/>
                <a:gd name="T58" fmla="*/ 57 w 60"/>
                <a:gd name="T59" fmla="*/ 18 h 74"/>
                <a:gd name="T60" fmla="*/ 57 w 60"/>
                <a:gd name="T61" fmla="*/ 16 h 74"/>
                <a:gd name="T62" fmla="*/ 56 w 60"/>
                <a:gd name="T63" fmla="*/ 15 h 74"/>
                <a:gd name="T64" fmla="*/ 56 w 60"/>
                <a:gd name="T65" fmla="*/ 15 h 74"/>
                <a:gd name="T66" fmla="*/ 56 w 60"/>
                <a:gd name="T67" fmla="*/ 15 h 74"/>
                <a:gd name="T68" fmla="*/ 56 w 60"/>
                <a:gd name="T69" fmla="*/ 14 h 74"/>
                <a:gd name="T70" fmla="*/ 54 w 60"/>
                <a:gd name="T71" fmla="*/ 13 h 74"/>
                <a:gd name="T72" fmla="*/ 56 w 60"/>
                <a:gd name="T73" fmla="*/ 8 h 74"/>
                <a:gd name="T74" fmla="*/ 56 w 60"/>
                <a:gd name="T75" fmla="*/ 8 h 74"/>
                <a:gd name="T76" fmla="*/ 56 w 60"/>
                <a:gd name="T77" fmla="*/ 5 h 74"/>
                <a:gd name="T78" fmla="*/ 54 w 60"/>
                <a:gd name="T79" fmla="*/ 0 h 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0" h="74">
                  <a:moveTo>
                    <a:pt x="54" y="0"/>
                  </a:moveTo>
                  <a:cubicBezTo>
                    <a:pt x="53" y="3"/>
                    <a:pt x="50" y="8"/>
                    <a:pt x="50" y="12"/>
                  </a:cubicBezTo>
                  <a:cubicBezTo>
                    <a:pt x="51" y="13"/>
                    <a:pt x="53" y="15"/>
                    <a:pt x="53" y="17"/>
                  </a:cubicBezTo>
                  <a:cubicBezTo>
                    <a:pt x="53" y="17"/>
                    <a:pt x="53" y="17"/>
                    <a:pt x="53" y="17"/>
                  </a:cubicBezTo>
                  <a:cubicBezTo>
                    <a:pt x="53" y="16"/>
                    <a:pt x="51" y="14"/>
                    <a:pt x="50" y="13"/>
                  </a:cubicBezTo>
                  <a:cubicBezTo>
                    <a:pt x="49" y="12"/>
                    <a:pt x="49" y="12"/>
                    <a:pt x="48" y="12"/>
                  </a:cubicBezTo>
                  <a:cubicBezTo>
                    <a:pt x="48" y="12"/>
                    <a:pt x="48" y="12"/>
                    <a:pt x="48" y="13"/>
                  </a:cubicBezTo>
                  <a:cubicBezTo>
                    <a:pt x="47" y="15"/>
                    <a:pt x="49" y="19"/>
                    <a:pt x="49" y="21"/>
                  </a:cubicBezTo>
                  <a:cubicBezTo>
                    <a:pt x="49" y="22"/>
                    <a:pt x="47" y="25"/>
                    <a:pt x="46" y="25"/>
                  </a:cubicBezTo>
                  <a:cubicBezTo>
                    <a:pt x="46" y="25"/>
                    <a:pt x="46" y="24"/>
                    <a:pt x="46" y="23"/>
                  </a:cubicBezTo>
                  <a:cubicBezTo>
                    <a:pt x="44" y="26"/>
                    <a:pt x="42" y="31"/>
                    <a:pt x="39" y="32"/>
                  </a:cubicBezTo>
                  <a:cubicBezTo>
                    <a:pt x="38" y="33"/>
                    <a:pt x="38" y="33"/>
                    <a:pt x="38" y="33"/>
                  </a:cubicBezTo>
                  <a:cubicBezTo>
                    <a:pt x="37" y="33"/>
                    <a:pt x="37" y="33"/>
                    <a:pt x="37" y="32"/>
                  </a:cubicBezTo>
                  <a:cubicBezTo>
                    <a:pt x="34" y="36"/>
                    <a:pt x="30" y="41"/>
                    <a:pt x="26" y="45"/>
                  </a:cubicBezTo>
                  <a:cubicBezTo>
                    <a:pt x="25" y="46"/>
                    <a:pt x="21" y="52"/>
                    <a:pt x="19" y="52"/>
                  </a:cubicBezTo>
                  <a:cubicBezTo>
                    <a:pt x="19" y="52"/>
                    <a:pt x="19" y="51"/>
                    <a:pt x="19" y="51"/>
                  </a:cubicBezTo>
                  <a:cubicBezTo>
                    <a:pt x="15" y="52"/>
                    <a:pt x="13" y="56"/>
                    <a:pt x="10" y="59"/>
                  </a:cubicBezTo>
                  <a:cubicBezTo>
                    <a:pt x="8" y="61"/>
                    <a:pt x="5" y="63"/>
                    <a:pt x="3" y="66"/>
                  </a:cubicBezTo>
                  <a:cubicBezTo>
                    <a:pt x="1" y="68"/>
                    <a:pt x="1" y="71"/>
                    <a:pt x="0" y="74"/>
                  </a:cubicBezTo>
                  <a:cubicBezTo>
                    <a:pt x="6" y="70"/>
                    <a:pt x="11" y="65"/>
                    <a:pt x="17" y="61"/>
                  </a:cubicBezTo>
                  <a:cubicBezTo>
                    <a:pt x="21" y="58"/>
                    <a:pt x="28" y="55"/>
                    <a:pt x="31" y="50"/>
                  </a:cubicBezTo>
                  <a:cubicBezTo>
                    <a:pt x="32" y="49"/>
                    <a:pt x="33" y="47"/>
                    <a:pt x="35" y="45"/>
                  </a:cubicBezTo>
                  <a:cubicBezTo>
                    <a:pt x="35" y="44"/>
                    <a:pt x="38" y="42"/>
                    <a:pt x="37" y="42"/>
                  </a:cubicBezTo>
                  <a:cubicBezTo>
                    <a:pt x="40" y="39"/>
                    <a:pt x="35" y="36"/>
                    <a:pt x="41" y="34"/>
                  </a:cubicBezTo>
                  <a:cubicBezTo>
                    <a:pt x="42" y="34"/>
                    <a:pt x="43" y="34"/>
                    <a:pt x="45" y="34"/>
                  </a:cubicBezTo>
                  <a:cubicBezTo>
                    <a:pt x="49" y="32"/>
                    <a:pt x="48" y="27"/>
                    <a:pt x="52" y="26"/>
                  </a:cubicBezTo>
                  <a:cubicBezTo>
                    <a:pt x="54" y="25"/>
                    <a:pt x="59" y="23"/>
                    <a:pt x="60" y="21"/>
                  </a:cubicBezTo>
                  <a:cubicBezTo>
                    <a:pt x="60" y="21"/>
                    <a:pt x="59" y="21"/>
                    <a:pt x="59" y="21"/>
                  </a:cubicBezTo>
                  <a:cubicBezTo>
                    <a:pt x="59" y="19"/>
                    <a:pt x="59" y="18"/>
                    <a:pt x="58" y="18"/>
                  </a:cubicBezTo>
                  <a:cubicBezTo>
                    <a:pt x="57" y="18"/>
                    <a:pt x="57" y="18"/>
                    <a:pt x="57" y="18"/>
                  </a:cubicBezTo>
                  <a:cubicBezTo>
                    <a:pt x="57" y="17"/>
                    <a:pt x="57" y="17"/>
                    <a:pt x="57" y="16"/>
                  </a:cubicBezTo>
                  <a:cubicBezTo>
                    <a:pt x="57" y="15"/>
                    <a:pt x="56" y="15"/>
                    <a:pt x="56" y="15"/>
                  </a:cubicBezTo>
                  <a:cubicBezTo>
                    <a:pt x="56" y="15"/>
                    <a:pt x="56" y="15"/>
                    <a:pt x="56" y="15"/>
                  </a:cubicBezTo>
                  <a:cubicBezTo>
                    <a:pt x="56" y="15"/>
                    <a:pt x="56" y="15"/>
                    <a:pt x="56" y="15"/>
                  </a:cubicBezTo>
                  <a:cubicBezTo>
                    <a:pt x="56" y="15"/>
                    <a:pt x="56" y="15"/>
                    <a:pt x="56" y="14"/>
                  </a:cubicBezTo>
                  <a:cubicBezTo>
                    <a:pt x="55" y="14"/>
                    <a:pt x="54" y="14"/>
                    <a:pt x="54" y="13"/>
                  </a:cubicBezTo>
                  <a:cubicBezTo>
                    <a:pt x="54" y="11"/>
                    <a:pt x="57" y="11"/>
                    <a:pt x="56" y="8"/>
                  </a:cubicBezTo>
                  <a:cubicBezTo>
                    <a:pt x="56" y="8"/>
                    <a:pt x="56" y="8"/>
                    <a:pt x="56" y="8"/>
                  </a:cubicBezTo>
                  <a:cubicBezTo>
                    <a:pt x="54" y="8"/>
                    <a:pt x="56" y="6"/>
                    <a:pt x="56" y="5"/>
                  </a:cubicBezTo>
                  <a:cubicBezTo>
                    <a:pt x="56" y="1"/>
                    <a:pt x="55" y="4"/>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092"/>
            <p:cNvSpPr/>
            <p:nvPr/>
          </p:nvSpPr>
          <p:spPr bwMode="auto">
            <a:xfrm>
              <a:off x="4600184" y="4061912"/>
              <a:ext cx="57720" cy="143630"/>
            </a:xfrm>
            <a:custGeom>
              <a:gdLst>
                <a:gd name="T0" fmla="*/ 18 w 18"/>
                <a:gd name="T1" fmla="*/ 0 h 45"/>
                <a:gd name="T2" fmla="*/ 15 w 18"/>
                <a:gd name="T3" fmla="*/ 7 h 45"/>
                <a:gd name="T4" fmla="*/ 12 w 18"/>
                <a:gd name="T5" fmla="*/ 14 h 45"/>
                <a:gd name="T6" fmla="*/ 5 w 18"/>
                <a:gd name="T7" fmla="*/ 27 h 45"/>
                <a:gd name="T8" fmla="*/ 2 w 18"/>
                <a:gd name="T9" fmla="*/ 34 h 45"/>
                <a:gd name="T10" fmla="*/ 1 w 18"/>
                <a:gd name="T11" fmla="*/ 45 h 45"/>
                <a:gd name="T12" fmla="*/ 10 w 18"/>
                <a:gd name="T13" fmla="*/ 27 h 45"/>
                <a:gd name="T14" fmla="*/ 17 w 18"/>
                <a:gd name="T15" fmla="*/ 20 h 45"/>
                <a:gd name="T16" fmla="*/ 17 w 18"/>
                <a:gd name="T17" fmla="*/ 14 h 45"/>
                <a:gd name="T18" fmla="*/ 18 w 18"/>
                <a:gd name="T19"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45">
                  <a:moveTo>
                    <a:pt x="18" y="0"/>
                  </a:moveTo>
                  <a:cubicBezTo>
                    <a:pt x="15" y="1"/>
                    <a:pt x="15" y="5"/>
                    <a:pt x="15" y="7"/>
                  </a:cubicBezTo>
                  <a:cubicBezTo>
                    <a:pt x="14" y="9"/>
                    <a:pt x="13" y="12"/>
                    <a:pt x="12" y="14"/>
                  </a:cubicBezTo>
                  <a:cubicBezTo>
                    <a:pt x="9" y="19"/>
                    <a:pt x="8" y="23"/>
                    <a:pt x="5" y="27"/>
                  </a:cubicBezTo>
                  <a:cubicBezTo>
                    <a:pt x="3" y="30"/>
                    <a:pt x="2" y="31"/>
                    <a:pt x="2" y="34"/>
                  </a:cubicBezTo>
                  <a:cubicBezTo>
                    <a:pt x="1" y="38"/>
                    <a:pt x="0" y="41"/>
                    <a:pt x="1" y="45"/>
                  </a:cubicBezTo>
                  <a:cubicBezTo>
                    <a:pt x="3" y="39"/>
                    <a:pt x="6" y="32"/>
                    <a:pt x="10" y="27"/>
                  </a:cubicBezTo>
                  <a:cubicBezTo>
                    <a:pt x="13" y="24"/>
                    <a:pt x="17" y="24"/>
                    <a:pt x="17" y="20"/>
                  </a:cubicBezTo>
                  <a:cubicBezTo>
                    <a:pt x="18" y="18"/>
                    <a:pt x="17" y="16"/>
                    <a:pt x="17" y="14"/>
                  </a:cubicBezTo>
                  <a:cubicBezTo>
                    <a:pt x="17" y="10"/>
                    <a:pt x="18" y="5"/>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093"/>
            <p:cNvSpPr/>
            <p:nvPr/>
          </p:nvSpPr>
          <p:spPr bwMode="auto">
            <a:xfrm>
              <a:off x="4588103" y="3963922"/>
              <a:ext cx="69801" cy="67117"/>
            </a:xfrm>
            <a:custGeom>
              <a:gdLst>
                <a:gd name="T0" fmla="*/ 3 w 22"/>
                <a:gd name="T1" fmla="*/ 0 h 21"/>
                <a:gd name="T2" fmla="*/ 3 w 22"/>
                <a:gd name="T3" fmla="*/ 6 h 21"/>
                <a:gd name="T4" fmla="*/ 2 w 22"/>
                <a:gd name="T5" fmla="*/ 9 h 21"/>
                <a:gd name="T6" fmla="*/ 3 w 22"/>
                <a:gd name="T7" fmla="*/ 9 h 21"/>
                <a:gd name="T8" fmla="*/ 3 w 22"/>
                <a:gd name="T9" fmla="*/ 9 h 21"/>
                <a:gd name="T10" fmla="*/ 3 w 22"/>
                <a:gd name="T11" fmla="*/ 9 h 21"/>
                <a:gd name="T12" fmla="*/ 3 w 22"/>
                <a:gd name="T13" fmla="*/ 9 h 21"/>
                <a:gd name="T14" fmla="*/ 3 w 22"/>
                <a:gd name="T15" fmla="*/ 9 h 21"/>
                <a:gd name="T16" fmla="*/ 4 w 22"/>
                <a:gd name="T17" fmla="*/ 10 h 21"/>
                <a:gd name="T18" fmla="*/ 3 w 22"/>
                <a:gd name="T19" fmla="*/ 11 h 21"/>
                <a:gd name="T20" fmla="*/ 1 w 22"/>
                <a:gd name="T21" fmla="*/ 16 h 21"/>
                <a:gd name="T22" fmla="*/ 3 w 22"/>
                <a:gd name="T23" fmla="*/ 15 h 21"/>
                <a:gd name="T24" fmla="*/ 9 w 22"/>
                <a:gd name="T25" fmla="*/ 9 h 21"/>
                <a:gd name="T26" fmla="*/ 10 w 22"/>
                <a:gd name="T27" fmla="*/ 10 h 21"/>
                <a:gd name="T28" fmla="*/ 12 w 22"/>
                <a:gd name="T29" fmla="*/ 13 h 21"/>
                <a:gd name="T30" fmla="*/ 14 w 22"/>
                <a:gd name="T31" fmla="*/ 16 h 21"/>
                <a:gd name="T32" fmla="*/ 17 w 22"/>
                <a:gd name="T33" fmla="*/ 17 h 21"/>
                <a:gd name="T34" fmla="*/ 22 w 22"/>
                <a:gd name="T35" fmla="*/ 21 h 21"/>
                <a:gd name="T36" fmla="*/ 18 w 22"/>
                <a:gd name="T37" fmla="*/ 9 h 21"/>
                <a:gd name="T38" fmla="*/ 15 w 22"/>
                <a:gd name="T39" fmla="*/ 8 h 21"/>
                <a:gd name="T40" fmla="*/ 3 w 22"/>
                <a:gd name="T41"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21">
                  <a:moveTo>
                    <a:pt x="3" y="0"/>
                  </a:moveTo>
                  <a:cubicBezTo>
                    <a:pt x="3" y="2"/>
                    <a:pt x="4" y="4"/>
                    <a:pt x="3" y="6"/>
                  </a:cubicBezTo>
                  <a:cubicBezTo>
                    <a:pt x="3" y="7"/>
                    <a:pt x="2" y="8"/>
                    <a:pt x="2" y="9"/>
                  </a:cubicBezTo>
                  <a:cubicBezTo>
                    <a:pt x="2" y="9"/>
                    <a:pt x="3" y="9"/>
                    <a:pt x="3" y="9"/>
                  </a:cubicBezTo>
                  <a:cubicBezTo>
                    <a:pt x="3" y="9"/>
                    <a:pt x="3" y="9"/>
                    <a:pt x="3" y="9"/>
                  </a:cubicBezTo>
                  <a:cubicBezTo>
                    <a:pt x="3" y="9"/>
                    <a:pt x="3" y="9"/>
                    <a:pt x="3" y="9"/>
                  </a:cubicBezTo>
                  <a:cubicBezTo>
                    <a:pt x="3" y="9"/>
                    <a:pt x="3" y="9"/>
                    <a:pt x="3" y="9"/>
                  </a:cubicBezTo>
                  <a:cubicBezTo>
                    <a:pt x="3" y="9"/>
                    <a:pt x="3" y="9"/>
                    <a:pt x="3" y="9"/>
                  </a:cubicBezTo>
                  <a:cubicBezTo>
                    <a:pt x="4" y="9"/>
                    <a:pt x="4" y="9"/>
                    <a:pt x="4" y="10"/>
                  </a:cubicBezTo>
                  <a:cubicBezTo>
                    <a:pt x="4" y="10"/>
                    <a:pt x="4" y="10"/>
                    <a:pt x="3" y="11"/>
                  </a:cubicBezTo>
                  <a:cubicBezTo>
                    <a:pt x="3" y="12"/>
                    <a:pt x="0" y="16"/>
                    <a:pt x="1" y="16"/>
                  </a:cubicBezTo>
                  <a:cubicBezTo>
                    <a:pt x="1" y="16"/>
                    <a:pt x="2" y="16"/>
                    <a:pt x="3" y="15"/>
                  </a:cubicBezTo>
                  <a:cubicBezTo>
                    <a:pt x="5" y="14"/>
                    <a:pt x="6" y="9"/>
                    <a:pt x="9" y="9"/>
                  </a:cubicBezTo>
                  <a:cubicBezTo>
                    <a:pt x="9" y="9"/>
                    <a:pt x="10" y="10"/>
                    <a:pt x="10" y="10"/>
                  </a:cubicBezTo>
                  <a:cubicBezTo>
                    <a:pt x="11" y="11"/>
                    <a:pt x="12" y="13"/>
                    <a:pt x="12" y="13"/>
                  </a:cubicBezTo>
                  <a:cubicBezTo>
                    <a:pt x="13" y="13"/>
                    <a:pt x="14" y="16"/>
                    <a:pt x="14" y="16"/>
                  </a:cubicBezTo>
                  <a:cubicBezTo>
                    <a:pt x="15" y="16"/>
                    <a:pt x="16" y="16"/>
                    <a:pt x="17" y="17"/>
                  </a:cubicBezTo>
                  <a:cubicBezTo>
                    <a:pt x="19" y="18"/>
                    <a:pt x="21" y="19"/>
                    <a:pt x="22" y="21"/>
                  </a:cubicBezTo>
                  <a:cubicBezTo>
                    <a:pt x="21" y="18"/>
                    <a:pt x="20" y="12"/>
                    <a:pt x="18" y="9"/>
                  </a:cubicBezTo>
                  <a:cubicBezTo>
                    <a:pt x="18" y="9"/>
                    <a:pt x="15" y="8"/>
                    <a:pt x="15" y="8"/>
                  </a:cubicBezTo>
                  <a:cubicBezTo>
                    <a:pt x="11" y="4"/>
                    <a:pt x="8"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094"/>
            <p:cNvSpPr/>
            <p:nvPr/>
          </p:nvSpPr>
          <p:spPr bwMode="auto">
            <a:xfrm>
              <a:off x="4346483" y="4012246"/>
              <a:ext cx="12081" cy="24162"/>
            </a:xfrm>
            <a:custGeom>
              <a:gdLst>
                <a:gd name="T0" fmla="*/ 0 w 4"/>
                <a:gd name="T1" fmla="*/ 0 h 8"/>
                <a:gd name="T2" fmla="*/ 1 w 4"/>
                <a:gd name="T3" fmla="*/ 8 h 8"/>
                <a:gd name="T4" fmla="*/ 3 w 4"/>
                <a:gd name="T5" fmla="*/ 3 h 8"/>
                <a:gd name="T6" fmla="*/ 4 w 4"/>
                <a:gd name="T7" fmla="*/ 3 h 8"/>
                <a:gd name="T8" fmla="*/ 2 w 4"/>
                <a:gd name="T9" fmla="*/ 2 h 8"/>
                <a:gd name="T10" fmla="*/ 3 w 4"/>
                <a:gd name="T11" fmla="*/ 1 h 8"/>
                <a:gd name="T12" fmla="*/ 0 w 4"/>
                <a:gd name="T13" fmla="*/ 0 h 8"/>
              </a:gd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cubicBezTo>
                    <a:pt x="0" y="2"/>
                    <a:pt x="1" y="5"/>
                    <a:pt x="1" y="8"/>
                  </a:cubicBezTo>
                  <a:cubicBezTo>
                    <a:pt x="4" y="6"/>
                    <a:pt x="4" y="5"/>
                    <a:pt x="3" y="3"/>
                  </a:cubicBezTo>
                  <a:cubicBezTo>
                    <a:pt x="4" y="3"/>
                    <a:pt x="4" y="3"/>
                    <a:pt x="4" y="3"/>
                  </a:cubicBezTo>
                  <a:cubicBezTo>
                    <a:pt x="4" y="2"/>
                    <a:pt x="3" y="2"/>
                    <a:pt x="2" y="2"/>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095"/>
            <p:cNvSpPr/>
            <p:nvPr/>
          </p:nvSpPr>
          <p:spPr bwMode="auto">
            <a:xfrm>
              <a:off x="4704886" y="4217623"/>
              <a:ext cx="6712" cy="13423"/>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0" y="1"/>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096"/>
            <p:cNvSpPr/>
            <p:nvPr/>
          </p:nvSpPr>
          <p:spPr bwMode="auto">
            <a:xfrm>
              <a:off x="4527698" y="4087417"/>
              <a:ext cx="91279" cy="146315"/>
            </a:xfrm>
            <a:custGeom>
              <a:gdLst>
                <a:gd name="T0" fmla="*/ 21 w 29"/>
                <a:gd name="T1" fmla="*/ 0 h 46"/>
                <a:gd name="T2" fmla="*/ 20 w 29"/>
                <a:gd name="T3" fmla="*/ 0 h 46"/>
                <a:gd name="T4" fmla="*/ 8 w 29"/>
                <a:gd name="T5" fmla="*/ 19 h 46"/>
                <a:gd name="T6" fmla="*/ 6 w 29"/>
                <a:gd name="T7" fmla="*/ 24 h 46"/>
                <a:gd name="T8" fmla="*/ 5 w 29"/>
                <a:gd name="T9" fmla="*/ 23 h 46"/>
                <a:gd name="T10" fmla="*/ 3 w 29"/>
                <a:gd name="T11" fmla="*/ 24 h 46"/>
                <a:gd name="T12" fmla="*/ 7 w 29"/>
                <a:gd name="T13" fmla="*/ 36 h 46"/>
                <a:gd name="T14" fmla="*/ 12 w 29"/>
                <a:gd name="T15" fmla="*/ 38 h 46"/>
                <a:gd name="T16" fmla="*/ 13 w 29"/>
                <a:gd name="T17" fmla="*/ 41 h 46"/>
                <a:gd name="T18" fmla="*/ 17 w 29"/>
                <a:gd name="T19" fmla="*/ 46 h 46"/>
                <a:gd name="T20" fmla="*/ 18 w 29"/>
                <a:gd name="T21" fmla="*/ 46 h 46"/>
                <a:gd name="T22" fmla="*/ 19 w 29"/>
                <a:gd name="T23" fmla="*/ 34 h 46"/>
                <a:gd name="T24" fmla="*/ 23 w 29"/>
                <a:gd name="T25" fmla="*/ 18 h 46"/>
                <a:gd name="T26" fmla="*/ 29 w 29"/>
                <a:gd name="T27" fmla="*/ 3 h 46"/>
                <a:gd name="T28" fmla="*/ 28 w 29"/>
                <a:gd name="T29" fmla="*/ 1 h 46"/>
                <a:gd name="T30" fmla="*/ 25 w 29"/>
                <a:gd name="T31" fmla="*/ 0 h 46"/>
                <a:gd name="T32" fmla="*/ 21 w 29"/>
                <a:gd name="T33" fmla="*/ 0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6">
                  <a:moveTo>
                    <a:pt x="21" y="0"/>
                  </a:moveTo>
                  <a:cubicBezTo>
                    <a:pt x="20" y="0"/>
                    <a:pt x="20" y="0"/>
                    <a:pt x="20" y="0"/>
                  </a:cubicBezTo>
                  <a:cubicBezTo>
                    <a:pt x="12" y="2"/>
                    <a:pt x="11" y="12"/>
                    <a:pt x="8" y="19"/>
                  </a:cubicBezTo>
                  <a:cubicBezTo>
                    <a:pt x="8" y="20"/>
                    <a:pt x="7" y="23"/>
                    <a:pt x="6" y="24"/>
                  </a:cubicBezTo>
                  <a:cubicBezTo>
                    <a:pt x="5" y="23"/>
                    <a:pt x="5" y="23"/>
                    <a:pt x="5" y="23"/>
                  </a:cubicBezTo>
                  <a:cubicBezTo>
                    <a:pt x="4" y="24"/>
                    <a:pt x="4" y="23"/>
                    <a:pt x="3" y="24"/>
                  </a:cubicBezTo>
                  <a:cubicBezTo>
                    <a:pt x="0" y="27"/>
                    <a:pt x="5" y="34"/>
                    <a:pt x="7" y="36"/>
                  </a:cubicBezTo>
                  <a:cubicBezTo>
                    <a:pt x="8" y="38"/>
                    <a:pt x="10" y="37"/>
                    <a:pt x="12" y="38"/>
                  </a:cubicBezTo>
                  <a:cubicBezTo>
                    <a:pt x="13" y="39"/>
                    <a:pt x="12" y="39"/>
                    <a:pt x="13" y="41"/>
                  </a:cubicBezTo>
                  <a:cubicBezTo>
                    <a:pt x="14" y="43"/>
                    <a:pt x="14" y="45"/>
                    <a:pt x="17" y="46"/>
                  </a:cubicBezTo>
                  <a:cubicBezTo>
                    <a:pt x="17" y="46"/>
                    <a:pt x="17" y="46"/>
                    <a:pt x="18" y="46"/>
                  </a:cubicBezTo>
                  <a:cubicBezTo>
                    <a:pt x="24" y="46"/>
                    <a:pt x="20" y="37"/>
                    <a:pt x="19" y="34"/>
                  </a:cubicBezTo>
                  <a:cubicBezTo>
                    <a:pt x="18" y="29"/>
                    <a:pt x="21" y="23"/>
                    <a:pt x="23" y="18"/>
                  </a:cubicBezTo>
                  <a:cubicBezTo>
                    <a:pt x="24" y="13"/>
                    <a:pt x="27" y="8"/>
                    <a:pt x="29" y="3"/>
                  </a:cubicBezTo>
                  <a:cubicBezTo>
                    <a:pt x="28" y="3"/>
                    <a:pt x="29" y="2"/>
                    <a:pt x="28" y="1"/>
                  </a:cubicBezTo>
                  <a:cubicBezTo>
                    <a:pt x="27" y="1"/>
                    <a:pt x="27" y="1"/>
                    <a:pt x="25" y="0"/>
                  </a:cubicBezTo>
                  <a:cubicBezTo>
                    <a:pt x="24" y="0"/>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097"/>
            <p:cNvSpPr/>
            <p:nvPr/>
          </p:nvSpPr>
          <p:spPr bwMode="auto">
            <a:xfrm>
              <a:off x="4488770" y="4173326"/>
              <a:ext cx="358404" cy="320819"/>
            </a:xfrm>
            <a:custGeom>
              <a:gdLst>
                <a:gd name="T0" fmla="*/ 87 w 113"/>
                <a:gd name="T1" fmla="*/ 15 h 101"/>
                <a:gd name="T2" fmla="*/ 80 w 113"/>
                <a:gd name="T3" fmla="*/ 18 h 101"/>
                <a:gd name="T4" fmla="*/ 75 w 113"/>
                <a:gd name="T5" fmla="*/ 21 h 101"/>
                <a:gd name="T6" fmla="*/ 72 w 113"/>
                <a:gd name="T7" fmla="*/ 19 h 101"/>
                <a:gd name="T8" fmla="*/ 62 w 113"/>
                <a:gd name="T9" fmla="*/ 29 h 101"/>
                <a:gd name="T10" fmla="*/ 55 w 113"/>
                <a:gd name="T11" fmla="*/ 37 h 101"/>
                <a:gd name="T12" fmla="*/ 44 w 113"/>
                <a:gd name="T13" fmla="*/ 43 h 101"/>
                <a:gd name="T14" fmla="*/ 46 w 113"/>
                <a:gd name="T15" fmla="*/ 30 h 101"/>
                <a:gd name="T16" fmla="*/ 37 w 113"/>
                <a:gd name="T17" fmla="*/ 26 h 101"/>
                <a:gd name="T18" fmla="*/ 28 w 113"/>
                <a:gd name="T19" fmla="*/ 35 h 101"/>
                <a:gd name="T20" fmla="*/ 23 w 113"/>
                <a:gd name="T21" fmla="*/ 41 h 101"/>
                <a:gd name="T22" fmla="*/ 8 w 113"/>
                <a:gd name="T23" fmla="*/ 53 h 101"/>
                <a:gd name="T24" fmla="*/ 4 w 113"/>
                <a:gd name="T25" fmla="*/ 68 h 101"/>
                <a:gd name="T26" fmla="*/ 9 w 113"/>
                <a:gd name="T27" fmla="*/ 67 h 101"/>
                <a:gd name="T28" fmla="*/ 14 w 113"/>
                <a:gd name="T29" fmla="*/ 58 h 101"/>
                <a:gd name="T30" fmla="*/ 15 w 113"/>
                <a:gd name="T31" fmla="*/ 53 h 101"/>
                <a:gd name="T32" fmla="*/ 23 w 113"/>
                <a:gd name="T33" fmla="*/ 52 h 101"/>
                <a:gd name="T34" fmla="*/ 30 w 113"/>
                <a:gd name="T35" fmla="*/ 51 h 101"/>
                <a:gd name="T36" fmla="*/ 33 w 113"/>
                <a:gd name="T37" fmla="*/ 53 h 101"/>
                <a:gd name="T38" fmla="*/ 32 w 113"/>
                <a:gd name="T39" fmla="*/ 56 h 101"/>
                <a:gd name="T40" fmla="*/ 37 w 113"/>
                <a:gd name="T41" fmla="*/ 59 h 101"/>
                <a:gd name="T42" fmla="*/ 41 w 113"/>
                <a:gd name="T43" fmla="*/ 47 h 101"/>
                <a:gd name="T44" fmla="*/ 56 w 113"/>
                <a:gd name="T45" fmla="*/ 61 h 101"/>
                <a:gd name="T46" fmla="*/ 53 w 113"/>
                <a:gd name="T47" fmla="*/ 77 h 101"/>
                <a:gd name="T48" fmla="*/ 70 w 113"/>
                <a:gd name="T49" fmla="*/ 92 h 101"/>
                <a:gd name="T50" fmla="*/ 77 w 113"/>
                <a:gd name="T51" fmla="*/ 92 h 101"/>
                <a:gd name="T52" fmla="*/ 81 w 113"/>
                <a:gd name="T53" fmla="*/ 88 h 101"/>
                <a:gd name="T54" fmla="*/ 83 w 113"/>
                <a:gd name="T55" fmla="*/ 101 h 101"/>
                <a:gd name="T56" fmla="*/ 91 w 113"/>
                <a:gd name="T57" fmla="*/ 92 h 101"/>
                <a:gd name="T58" fmla="*/ 85 w 113"/>
                <a:gd name="T59" fmla="*/ 76 h 101"/>
                <a:gd name="T60" fmla="*/ 85 w 113"/>
                <a:gd name="T61" fmla="*/ 72 h 101"/>
                <a:gd name="T62" fmla="*/ 94 w 113"/>
                <a:gd name="T63" fmla="*/ 59 h 101"/>
                <a:gd name="T64" fmla="*/ 100 w 113"/>
                <a:gd name="T65" fmla="*/ 71 h 101"/>
                <a:gd name="T66" fmla="*/ 103 w 113"/>
                <a:gd name="T67" fmla="*/ 84 h 101"/>
                <a:gd name="T68" fmla="*/ 104 w 113"/>
                <a:gd name="T69" fmla="*/ 69 h 101"/>
                <a:gd name="T70" fmla="*/ 106 w 113"/>
                <a:gd name="T71" fmla="*/ 70 h 101"/>
                <a:gd name="T72" fmla="*/ 108 w 113"/>
                <a:gd name="T73" fmla="*/ 69 h 101"/>
                <a:gd name="T74" fmla="*/ 112 w 113"/>
                <a:gd name="T75" fmla="*/ 62 h 101"/>
                <a:gd name="T76" fmla="*/ 107 w 113"/>
                <a:gd name="T77" fmla="*/ 46 h 101"/>
                <a:gd name="T78" fmla="*/ 107 w 113"/>
                <a:gd name="T79" fmla="*/ 39 h 101"/>
                <a:gd name="T80" fmla="*/ 105 w 113"/>
                <a:gd name="T81" fmla="*/ 31 h 101"/>
                <a:gd name="T82" fmla="*/ 103 w 113"/>
                <a:gd name="T83" fmla="*/ 31 h 101"/>
                <a:gd name="T84" fmla="*/ 105 w 113"/>
                <a:gd name="T85" fmla="*/ 25 h 101"/>
                <a:gd name="T86" fmla="*/ 101 w 113"/>
                <a:gd name="T87" fmla="*/ 14 h 101"/>
                <a:gd name="T88" fmla="*/ 85 w 113"/>
                <a:gd name="T89" fmla="*/ 0 h 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3" h="100">
                  <a:moveTo>
                    <a:pt x="85" y="0"/>
                  </a:moveTo>
                  <a:cubicBezTo>
                    <a:pt x="86" y="5"/>
                    <a:pt x="87" y="10"/>
                    <a:pt x="87" y="15"/>
                  </a:cubicBezTo>
                  <a:cubicBezTo>
                    <a:pt x="88" y="16"/>
                    <a:pt x="88" y="18"/>
                    <a:pt x="88" y="19"/>
                  </a:cubicBezTo>
                  <a:cubicBezTo>
                    <a:pt x="85" y="19"/>
                    <a:pt x="82" y="18"/>
                    <a:pt x="80" y="18"/>
                  </a:cubicBezTo>
                  <a:cubicBezTo>
                    <a:pt x="79" y="21"/>
                    <a:pt x="80" y="23"/>
                    <a:pt x="78" y="23"/>
                  </a:cubicBezTo>
                  <a:cubicBezTo>
                    <a:pt x="78" y="23"/>
                    <a:pt x="77" y="22"/>
                    <a:pt x="75" y="21"/>
                  </a:cubicBezTo>
                  <a:cubicBezTo>
                    <a:pt x="75" y="21"/>
                    <a:pt x="73" y="19"/>
                    <a:pt x="72" y="19"/>
                  </a:cubicBezTo>
                  <a:cubicBezTo>
                    <a:pt x="72" y="19"/>
                    <a:pt x="72" y="19"/>
                    <a:pt x="72" y="19"/>
                  </a:cubicBezTo>
                  <a:cubicBezTo>
                    <a:pt x="69" y="20"/>
                    <a:pt x="70" y="29"/>
                    <a:pt x="69" y="31"/>
                  </a:cubicBezTo>
                  <a:cubicBezTo>
                    <a:pt x="68" y="31"/>
                    <a:pt x="62" y="29"/>
                    <a:pt x="62" y="29"/>
                  </a:cubicBezTo>
                  <a:cubicBezTo>
                    <a:pt x="62" y="29"/>
                    <a:pt x="62" y="29"/>
                    <a:pt x="62" y="29"/>
                  </a:cubicBezTo>
                  <a:cubicBezTo>
                    <a:pt x="60" y="32"/>
                    <a:pt x="58" y="35"/>
                    <a:pt x="55" y="37"/>
                  </a:cubicBezTo>
                  <a:cubicBezTo>
                    <a:pt x="53" y="38"/>
                    <a:pt x="47" y="44"/>
                    <a:pt x="44" y="44"/>
                  </a:cubicBezTo>
                  <a:cubicBezTo>
                    <a:pt x="44" y="44"/>
                    <a:pt x="44" y="43"/>
                    <a:pt x="44" y="43"/>
                  </a:cubicBezTo>
                  <a:cubicBezTo>
                    <a:pt x="46" y="42"/>
                    <a:pt x="48" y="41"/>
                    <a:pt x="48" y="38"/>
                  </a:cubicBezTo>
                  <a:cubicBezTo>
                    <a:pt x="49" y="36"/>
                    <a:pt x="47" y="31"/>
                    <a:pt x="46" y="30"/>
                  </a:cubicBezTo>
                  <a:cubicBezTo>
                    <a:pt x="45" y="29"/>
                    <a:pt x="46" y="29"/>
                    <a:pt x="44" y="29"/>
                  </a:cubicBezTo>
                  <a:cubicBezTo>
                    <a:pt x="41" y="29"/>
                    <a:pt x="39" y="27"/>
                    <a:pt x="37" y="26"/>
                  </a:cubicBezTo>
                  <a:cubicBezTo>
                    <a:pt x="38" y="27"/>
                    <a:pt x="38" y="27"/>
                    <a:pt x="38" y="27"/>
                  </a:cubicBezTo>
                  <a:cubicBezTo>
                    <a:pt x="33" y="29"/>
                    <a:pt x="30" y="30"/>
                    <a:pt x="28" y="35"/>
                  </a:cubicBezTo>
                  <a:cubicBezTo>
                    <a:pt x="27" y="36"/>
                    <a:pt x="26" y="39"/>
                    <a:pt x="26" y="40"/>
                  </a:cubicBezTo>
                  <a:cubicBezTo>
                    <a:pt x="25" y="41"/>
                    <a:pt x="23" y="40"/>
                    <a:pt x="23" y="41"/>
                  </a:cubicBezTo>
                  <a:cubicBezTo>
                    <a:pt x="17" y="42"/>
                    <a:pt x="11" y="43"/>
                    <a:pt x="8" y="47"/>
                  </a:cubicBezTo>
                  <a:cubicBezTo>
                    <a:pt x="7" y="49"/>
                    <a:pt x="6" y="52"/>
                    <a:pt x="8" y="53"/>
                  </a:cubicBezTo>
                  <a:cubicBezTo>
                    <a:pt x="6" y="54"/>
                    <a:pt x="6" y="54"/>
                    <a:pt x="7" y="55"/>
                  </a:cubicBezTo>
                  <a:cubicBezTo>
                    <a:pt x="5" y="58"/>
                    <a:pt x="0" y="67"/>
                    <a:pt x="4" y="68"/>
                  </a:cubicBezTo>
                  <a:cubicBezTo>
                    <a:pt x="5" y="69"/>
                    <a:pt x="6" y="69"/>
                    <a:pt x="7" y="69"/>
                  </a:cubicBezTo>
                  <a:cubicBezTo>
                    <a:pt x="7" y="69"/>
                    <a:pt x="8" y="69"/>
                    <a:pt x="9" y="67"/>
                  </a:cubicBezTo>
                  <a:cubicBezTo>
                    <a:pt x="9" y="66"/>
                    <a:pt x="10" y="65"/>
                    <a:pt x="11" y="64"/>
                  </a:cubicBezTo>
                  <a:cubicBezTo>
                    <a:pt x="11" y="62"/>
                    <a:pt x="10" y="59"/>
                    <a:pt x="14" y="58"/>
                  </a:cubicBezTo>
                  <a:cubicBezTo>
                    <a:pt x="11" y="57"/>
                    <a:pt x="15" y="54"/>
                    <a:pt x="16" y="53"/>
                  </a:cubicBezTo>
                  <a:cubicBezTo>
                    <a:pt x="16" y="53"/>
                    <a:pt x="15" y="53"/>
                    <a:pt x="15" y="53"/>
                  </a:cubicBezTo>
                  <a:cubicBezTo>
                    <a:pt x="16" y="52"/>
                    <a:pt x="18" y="50"/>
                    <a:pt x="20" y="50"/>
                  </a:cubicBezTo>
                  <a:cubicBezTo>
                    <a:pt x="21" y="50"/>
                    <a:pt x="22" y="50"/>
                    <a:pt x="23" y="52"/>
                  </a:cubicBezTo>
                  <a:cubicBezTo>
                    <a:pt x="25" y="54"/>
                    <a:pt x="23" y="55"/>
                    <a:pt x="24" y="57"/>
                  </a:cubicBezTo>
                  <a:cubicBezTo>
                    <a:pt x="26" y="56"/>
                    <a:pt x="28" y="53"/>
                    <a:pt x="30" y="51"/>
                  </a:cubicBezTo>
                  <a:cubicBezTo>
                    <a:pt x="30" y="51"/>
                    <a:pt x="30" y="51"/>
                    <a:pt x="31" y="51"/>
                  </a:cubicBezTo>
                  <a:cubicBezTo>
                    <a:pt x="32" y="51"/>
                    <a:pt x="33" y="52"/>
                    <a:pt x="33" y="53"/>
                  </a:cubicBezTo>
                  <a:cubicBezTo>
                    <a:pt x="32" y="54"/>
                    <a:pt x="30" y="53"/>
                    <a:pt x="31" y="55"/>
                  </a:cubicBezTo>
                  <a:cubicBezTo>
                    <a:pt x="31" y="56"/>
                    <a:pt x="32" y="56"/>
                    <a:pt x="32" y="56"/>
                  </a:cubicBezTo>
                  <a:cubicBezTo>
                    <a:pt x="33" y="56"/>
                    <a:pt x="34" y="55"/>
                    <a:pt x="35" y="55"/>
                  </a:cubicBezTo>
                  <a:cubicBezTo>
                    <a:pt x="35" y="57"/>
                    <a:pt x="36" y="58"/>
                    <a:pt x="37" y="59"/>
                  </a:cubicBezTo>
                  <a:cubicBezTo>
                    <a:pt x="38" y="55"/>
                    <a:pt x="35" y="52"/>
                    <a:pt x="38" y="49"/>
                  </a:cubicBezTo>
                  <a:cubicBezTo>
                    <a:pt x="39" y="48"/>
                    <a:pt x="40" y="47"/>
                    <a:pt x="41" y="47"/>
                  </a:cubicBezTo>
                  <a:cubicBezTo>
                    <a:pt x="46" y="47"/>
                    <a:pt x="52" y="54"/>
                    <a:pt x="54" y="56"/>
                  </a:cubicBezTo>
                  <a:cubicBezTo>
                    <a:pt x="57" y="58"/>
                    <a:pt x="58" y="58"/>
                    <a:pt x="56" y="61"/>
                  </a:cubicBezTo>
                  <a:cubicBezTo>
                    <a:pt x="55" y="62"/>
                    <a:pt x="54" y="63"/>
                    <a:pt x="53" y="64"/>
                  </a:cubicBezTo>
                  <a:cubicBezTo>
                    <a:pt x="50" y="68"/>
                    <a:pt x="53" y="73"/>
                    <a:pt x="53" y="77"/>
                  </a:cubicBezTo>
                  <a:cubicBezTo>
                    <a:pt x="53" y="78"/>
                    <a:pt x="52" y="80"/>
                    <a:pt x="53" y="81"/>
                  </a:cubicBezTo>
                  <a:cubicBezTo>
                    <a:pt x="59" y="87"/>
                    <a:pt x="63" y="89"/>
                    <a:pt x="70" y="92"/>
                  </a:cubicBezTo>
                  <a:cubicBezTo>
                    <a:pt x="72" y="93"/>
                    <a:pt x="74" y="94"/>
                    <a:pt x="75" y="94"/>
                  </a:cubicBezTo>
                  <a:cubicBezTo>
                    <a:pt x="76" y="94"/>
                    <a:pt x="77" y="93"/>
                    <a:pt x="77" y="92"/>
                  </a:cubicBezTo>
                  <a:cubicBezTo>
                    <a:pt x="78" y="91"/>
                    <a:pt x="78" y="88"/>
                    <a:pt x="80" y="88"/>
                  </a:cubicBezTo>
                  <a:cubicBezTo>
                    <a:pt x="80" y="88"/>
                    <a:pt x="81" y="88"/>
                    <a:pt x="81" y="88"/>
                  </a:cubicBezTo>
                  <a:cubicBezTo>
                    <a:pt x="81" y="93"/>
                    <a:pt x="79" y="94"/>
                    <a:pt x="81" y="99"/>
                  </a:cubicBezTo>
                  <a:cubicBezTo>
                    <a:pt x="82" y="100"/>
                    <a:pt x="83" y="101"/>
                    <a:pt x="83" y="101"/>
                  </a:cubicBezTo>
                  <a:cubicBezTo>
                    <a:pt x="84" y="101"/>
                    <a:pt x="85" y="99"/>
                    <a:pt x="87" y="98"/>
                  </a:cubicBezTo>
                  <a:cubicBezTo>
                    <a:pt x="88" y="96"/>
                    <a:pt x="90" y="94"/>
                    <a:pt x="91" y="92"/>
                  </a:cubicBezTo>
                  <a:cubicBezTo>
                    <a:pt x="92" y="89"/>
                    <a:pt x="90" y="81"/>
                    <a:pt x="88" y="78"/>
                  </a:cubicBezTo>
                  <a:cubicBezTo>
                    <a:pt x="87" y="78"/>
                    <a:pt x="86" y="77"/>
                    <a:pt x="85" y="76"/>
                  </a:cubicBezTo>
                  <a:cubicBezTo>
                    <a:pt x="85" y="76"/>
                    <a:pt x="85" y="77"/>
                    <a:pt x="85" y="77"/>
                  </a:cubicBezTo>
                  <a:cubicBezTo>
                    <a:pt x="84" y="77"/>
                    <a:pt x="85" y="73"/>
                    <a:pt x="85" y="72"/>
                  </a:cubicBezTo>
                  <a:cubicBezTo>
                    <a:pt x="86" y="69"/>
                    <a:pt x="90" y="60"/>
                    <a:pt x="93" y="59"/>
                  </a:cubicBezTo>
                  <a:cubicBezTo>
                    <a:pt x="94" y="59"/>
                    <a:pt x="94" y="59"/>
                    <a:pt x="94" y="59"/>
                  </a:cubicBezTo>
                  <a:cubicBezTo>
                    <a:pt x="96" y="59"/>
                    <a:pt x="97" y="64"/>
                    <a:pt x="98" y="66"/>
                  </a:cubicBezTo>
                  <a:cubicBezTo>
                    <a:pt x="98" y="69"/>
                    <a:pt x="100" y="69"/>
                    <a:pt x="100" y="71"/>
                  </a:cubicBezTo>
                  <a:cubicBezTo>
                    <a:pt x="101" y="73"/>
                    <a:pt x="100" y="76"/>
                    <a:pt x="101" y="78"/>
                  </a:cubicBezTo>
                  <a:cubicBezTo>
                    <a:pt x="101" y="81"/>
                    <a:pt x="103" y="82"/>
                    <a:pt x="103" y="84"/>
                  </a:cubicBezTo>
                  <a:cubicBezTo>
                    <a:pt x="104" y="81"/>
                    <a:pt x="103" y="76"/>
                    <a:pt x="103" y="73"/>
                  </a:cubicBezTo>
                  <a:cubicBezTo>
                    <a:pt x="103" y="72"/>
                    <a:pt x="102" y="69"/>
                    <a:pt x="104" y="69"/>
                  </a:cubicBezTo>
                  <a:cubicBezTo>
                    <a:pt x="104" y="69"/>
                    <a:pt x="104" y="69"/>
                    <a:pt x="104" y="69"/>
                  </a:cubicBezTo>
                  <a:cubicBezTo>
                    <a:pt x="105" y="69"/>
                    <a:pt x="105" y="70"/>
                    <a:pt x="106" y="70"/>
                  </a:cubicBezTo>
                  <a:cubicBezTo>
                    <a:pt x="106" y="71"/>
                    <a:pt x="106" y="72"/>
                    <a:pt x="107" y="72"/>
                  </a:cubicBezTo>
                  <a:cubicBezTo>
                    <a:pt x="107" y="72"/>
                    <a:pt x="107" y="71"/>
                    <a:pt x="108" y="69"/>
                  </a:cubicBezTo>
                  <a:cubicBezTo>
                    <a:pt x="108" y="67"/>
                    <a:pt x="109" y="67"/>
                    <a:pt x="109" y="67"/>
                  </a:cubicBezTo>
                  <a:cubicBezTo>
                    <a:pt x="110" y="66"/>
                    <a:pt x="112" y="63"/>
                    <a:pt x="112" y="62"/>
                  </a:cubicBezTo>
                  <a:cubicBezTo>
                    <a:pt x="113" y="59"/>
                    <a:pt x="112" y="55"/>
                    <a:pt x="112" y="52"/>
                  </a:cubicBezTo>
                  <a:cubicBezTo>
                    <a:pt x="112" y="49"/>
                    <a:pt x="109" y="48"/>
                    <a:pt x="107" y="46"/>
                  </a:cubicBezTo>
                  <a:cubicBezTo>
                    <a:pt x="110" y="44"/>
                    <a:pt x="108" y="41"/>
                    <a:pt x="110" y="38"/>
                  </a:cubicBezTo>
                  <a:cubicBezTo>
                    <a:pt x="108" y="38"/>
                    <a:pt x="108" y="39"/>
                    <a:pt x="107" y="39"/>
                  </a:cubicBezTo>
                  <a:cubicBezTo>
                    <a:pt x="105" y="39"/>
                    <a:pt x="108" y="35"/>
                    <a:pt x="108" y="32"/>
                  </a:cubicBezTo>
                  <a:cubicBezTo>
                    <a:pt x="107" y="31"/>
                    <a:pt x="106" y="31"/>
                    <a:pt x="105" y="31"/>
                  </a:cubicBezTo>
                  <a:cubicBezTo>
                    <a:pt x="105" y="31"/>
                    <a:pt x="104" y="31"/>
                    <a:pt x="104" y="31"/>
                  </a:cubicBezTo>
                  <a:cubicBezTo>
                    <a:pt x="104" y="31"/>
                    <a:pt x="103" y="31"/>
                    <a:pt x="103" y="31"/>
                  </a:cubicBezTo>
                  <a:cubicBezTo>
                    <a:pt x="102" y="31"/>
                    <a:pt x="102" y="31"/>
                    <a:pt x="102" y="31"/>
                  </a:cubicBezTo>
                  <a:cubicBezTo>
                    <a:pt x="99" y="28"/>
                    <a:pt x="105" y="26"/>
                    <a:pt x="105" y="25"/>
                  </a:cubicBezTo>
                  <a:cubicBezTo>
                    <a:pt x="108" y="21"/>
                    <a:pt x="103" y="17"/>
                    <a:pt x="104" y="13"/>
                  </a:cubicBezTo>
                  <a:cubicBezTo>
                    <a:pt x="102" y="13"/>
                    <a:pt x="101" y="14"/>
                    <a:pt x="101" y="14"/>
                  </a:cubicBezTo>
                  <a:cubicBezTo>
                    <a:pt x="99" y="14"/>
                    <a:pt x="99" y="12"/>
                    <a:pt x="97" y="9"/>
                  </a:cubicBezTo>
                  <a:cubicBezTo>
                    <a:pt x="95" y="5"/>
                    <a:pt x="89" y="3"/>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098"/>
            <p:cNvSpPr/>
            <p:nvPr/>
          </p:nvSpPr>
          <p:spPr bwMode="auto">
            <a:xfrm>
              <a:off x="4533067" y="3970633"/>
              <a:ext cx="22820" cy="18793"/>
            </a:xfrm>
            <a:custGeom>
              <a:gdLst>
                <a:gd name="T0" fmla="*/ 4 w 7"/>
                <a:gd name="T1" fmla="*/ 0 h 6"/>
                <a:gd name="T2" fmla="*/ 1 w 7"/>
                <a:gd name="T3" fmla="*/ 2 h 6"/>
                <a:gd name="T4" fmla="*/ 6 w 7"/>
                <a:gd name="T5" fmla="*/ 6 h 6"/>
                <a:gd name="T6" fmla="*/ 5 w 7"/>
                <a:gd name="T7" fmla="*/ 0 h 6"/>
                <a:gd name="T8" fmla="*/ 4 w 7"/>
                <a:gd name="T9" fmla="*/ 0 h 6"/>
              </a:gdLst>
              <a:cxnLst>
                <a:cxn ang="0">
                  <a:pos x="T0" y="T1"/>
                </a:cxn>
                <a:cxn ang="0">
                  <a:pos x="T2" y="T3"/>
                </a:cxn>
                <a:cxn ang="0">
                  <a:pos x="T4" y="T5"/>
                </a:cxn>
                <a:cxn ang="0">
                  <a:pos x="T6" y="T7"/>
                </a:cxn>
                <a:cxn ang="0">
                  <a:pos x="T8" y="T9"/>
                </a:cxn>
              </a:cxnLst>
              <a:rect l="0" t="0" r="r" b="b"/>
              <a:pathLst>
                <a:path w="7" h="6">
                  <a:moveTo>
                    <a:pt x="4" y="0"/>
                  </a:moveTo>
                  <a:cubicBezTo>
                    <a:pt x="3" y="0"/>
                    <a:pt x="1" y="1"/>
                    <a:pt x="1" y="2"/>
                  </a:cubicBezTo>
                  <a:cubicBezTo>
                    <a:pt x="0" y="2"/>
                    <a:pt x="5" y="6"/>
                    <a:pt x="6" y="6"/>
                  </a:cubicBezTo>
                  <a:cubicBezTo>
                    <a:pt x="6" y="4"/>
                    <a:pt x="7" y="2"/>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099"/>
            <p:cNvSpPr/>
            <p:nvPr/>
          </p:nvSpPr>
          <p:spPr bwMode="auto">
            <a:xfrm>
              <a:off x="4479374" y="3777337"/>
              <a:ext cx="32216" cy="30874"/>
            </a:xfrm>
            <a:custGeom>
              <a:gdLst>
                <a:gd name="T0" fmla="*/ 7 w 10"/>
                <a:gd name="T1" fmla="*/ 0 h 10"/>
                <a:gd name="T2" fmla="*/ 6 w 10"/>
                <a:gd name="T3" fmla="*/ 0 h 10"/>
                <a:gd name="T4" fmla="*/ 6 w 10"/>
                <a:gd name="T5" fmla="*/ 10 h 10"/>
                <a:gd name="T6" fmla="*/ 7 w 10"/>
                <a:gd name="T7" fmla="*/ 5 h 10"/>
                <a:gd name="T8" fmla="*/ 8 w 10"/>
                <a:gd name="T9" fmla="*/ 2 h 10"/>
                <a:gd name="T10" fmla="*/ 7 w 10"/>
                <a:gd name="T11" fmla="*/ 0 h 10"/>
              </a:gdLst>
              <a:cxnLst>
                <a:cxn ang="0">
                  <a:pos x="T0" y="T1"/>
                </a:cxn>
                <a:cxn ang="0">
                  <a:pos x="T2" y="T3"/>
                </a:cxn>
                <a:cxn ang="0">
                  <a:pos x="T4" y="T5"/>
                </a:cxn>
                <a:cxn ang="0">
                  <a:pos x="T6" y="T7"/>
                </a:cxn>
                <a:cxn ang="0">
                  <a:pos x="T8" y="T9"/>
                </a:cxn>
                <a:cxn ang="0">
                  <a:pos x="T10" y="T11"/>
                </a:cxn>
              </a:cxnLst>
              <a:rect l="0" t="0" r="r" b="b"/>
              <a:pathLst>
                <a:path w="10" h="10">
                  <a:moveTo>
                    <a:pt x="7" y="0"/>
                  </a:moveTo>
                  <a:cubicBezTo>
                    <a:pt x="7" y="0"/>
                    <a:pt x="6" y="0"/>
                    <a:pt x="6" y="0"/>
                  </a:cubicBezTo>
                  <a:cubicBezTo>
                    <a:pt x="0" y="1"/>
                    <a:pt x="5" y="8"/>
                    <a:pt x="6" y="10"/>
                  </a:cubicBezTo>
                  <a:cubicBezTo>
                    <a:pt x="10" y="8"/>
                    <a:pt x="7" y="7"/>
                    <a:pt x="7" y="5"/>
                  </a:cubicBezTo>
                  <a:cubicBezTo>
                    <a:pt x="7" y="4"/>
                    <a:pt x="8" y="4"/>
                    <a:pt x="8" y="2"/>
                  </a:cubicBezTo>
                  <a:cubicBezTo>
                    <a:pt x="8"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1100"/>
            <p:cNvSpPr/>
            <p:nvPr/>
          </p:nvSpPr>
          <p:spPr bwMode="auto">
            <a:xfrm>
              <a:off x="4539779" y="4103525"/>
              <a:ext cx="16108" cy="25504"/>
            </a:xfrm>
            <a:custGeom>
              <a:gdLst>
                <a:gd name="T0" fmla="*/ 4 w 5"/>
                <a:gd name="T1" fmla="*/ 0 h 8"/>
                <a:gd name="T2" fmla="*/ 1 w 5"/>
                <a:gd name="T3" fmla="*/ 5 h 8"/>
                <a:gd name="T4" fmla="*/ 1 w 5"/>
                <a:gd name="T5" fmla="*/ 8 h 8"/>
                <a:gd name="T6" fmla="*/ 4 w 5"/>
                <a:gd name="T7" fmla="*/ 0 h 8"/>
              </a:gdLst>
              <a:cxnLst>
                <a:cxn ang="0">
                  <a:pos x="T0" y="T1"/>
                </a:cxn>
                <a:cxn ang="0">
                  <a:pos x="T2" y="T3"/>
                </a:cxn>
                <a:cxn ang="0">
                  <a:pos x="T4" y="T5"/>
                </a:cxn>
                <a:cxn ang="0">
                  <a:pos x="T6" y="T7"/>
                </a:cxn>
              </a:cxnLst>
              <a:rect l="0" t="0" r="r" b="b"/>
              <a:pathLst>
                <a:path w="5" h="8">
                  <a:moveTo>
                    <a:pt x="4" y="0"/>
                  </a:moveTo>
                  <a:cubicBezTo>
                    <a:pt x="3" y="2"/>
                    <a:pt x="0" y="3"/>
                    <a:pt x="1" y="5"/>
                  </a:cubicBezTo>
                  <a:cubicBezTo>
                    <a:pt x="0" y="6"/>
                    <a:pt x="0" y="7"/>
                    <a:pt x="1" y="8"/>
                  </a:cubicBezTo>
                  <a:cubicBezTo>
                    <a:pt x="3" y="5"/>
                    <a:pt x="5"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101"/>
            <p:cNvSpPr/>
            <p:nvPr/>
          </p:nvSpPr>
          <p:spPr bwMode="auto">
            <a:xfrm>
              <a:off x="4793481" y="4157218"/>
              <a:ext cx="22820" cy="22820"/>
            </a:xfrm>
            <a:custGeom>
              <a:gdLst>
                <a:gd name="T0" fmla="*/ 4 w 7"/>
                <a:gd name="T1" fmla="*/ 0 h 7"/>
                <a:gd name="T2" fmla="*/ 3 w 7"/>
                <a:gd name="T3" fmla="*/ 7 h 7"/>
                <a:gd name="T4" fmla="*/ 7 w 7"/>
                <a:gd name="T5" fmla="*/ 6 h 7"/>
                <a:gd name="T6" fmla="*/ 4 w 7"/>
                <a:gd name="T7" fmla="*/ 0 h 7"/>
              </a:gdLst>
              <a:cxnLst>
                <a:cxn ang="0">
                  <a:pos x="T0" y="T1"/>
                </a:cxn>
                <a:cxn ang="0">
                  <a:pos x="T2" y="T3"/>
                </a:cxn>
                <a:cxn ang="0">
                  <a:pos x="T4" y="T5"/>
                </a:cxn>
                <a:cxn ang="0">
                  <a:pos x="T6" y="T7"/>
                </a:cxn>
              </a:cxnLst>
              <a:rect l="0" t="0" r="r" b="b"/>
              <a:pathLst>
                <a:path w="7" h="7">
                  <a:moveTo>
                    <a:pt x="4" y="0"/>
                  </a:moveTo>
                  <a:cubicBezTo>
                    <a:pt x="3" y="3"/>
                    <a:pt x="0" y="4"/>
                    <a:pt x="3" y="7"/>
                  </a:cubicBezTo>
                  <a:cubicBezTo>
                    <a:pt x="4" y="7"/>
                    <a:pt x="6" y="6"/>
                    <a:pt x="7" y="6"/>
                  </a:cubicBezTo>
                  <a:cubicBezTo>
                    <a:pt x="5"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102"/>
            <p:cNvSpPr/>
            <p:nvPr/>
          </p:nvSpPr>
          <p:spPr bwMode="auto">
            <a:xfrm>
              <a:off x="4613608" y="4214939"/>
              <a:ext cx="18793" cy="16108"/>
            </a:xfrm>
            <a:custGeom>
              <a:gdLst>
                <a:gd name="T0" fmla="*/ 3 w 6"/>
                <a:gd name="T1" fmla="*/ 0 h 5"/>
                <a:gd name="T2" fmla="*/ 0 w 6"/>
                <a:gd name="T3" fmla="*/ 2 h 5"/>
                <a:gd name="T4" fmla="*/ 3 w 6"/>
                <a:gd name="T5" fmla="*/ 5 h 5"/>
                <a:gd name="T6" fmla="*/ 3 w 6"/>
                <a:gd name="T7" fmla="*/ 0 h 5"/>
              </a:gdLst>
              <a:cxnLst>
                <a:cxn ang="0">
                  <a:pos x="T0" y="T1"/>
                </a:cxn>
                <a:cxn ang="0">
                  <a:pos x="T2" y="T3"/>
                </a:cxn>
                <a:cxn ang="0">
                  <a:pos x="T4" y="T5"/>
                </a:cxn>
                <a:cxn ang="0">
                  <a:pos x="T6" y="T7"/>
                </a:cxn>
              </a:cxnLst>
              <a:rect l="0" t="0" r="r" b="b"/>
              <a:pathLst>
                <a:path w="6" h="5">
                  <a:moveTo>
                    <a:pt x="3" y="0"/>
                  </a:moveTo>
                  <a:cubicBezTo>
                    <a:pt x="3" y="1"/>
                    <a:pt x="0" y="1"/>
                    <a:pt x="0" y="2"/>
                  </a:cubicBezTo>
                  <a:cubicBezTo>
                    <a:pt x="0" y="3"/>
                    <a:pt x="3" y="4"/>
                    <a:pt x="3" y="5"/>
                  </a:cubicBezTo>
                  <a:cubicBezTo>
                    <a:pt x="6" y="4"/>
                    <a:pt x="6"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103"/>
            <p:cNvSpPr/>
            <p:nvPr/>
          </p:nvSpPr>
          <p:spPr bwMode="auto">
            <a:xfrm>
              <a:off x="4124997" y="4303533"/>
              <a:ext cx="14766" cy="22820"/>
            </a:xfrm>
            <a:custGeom>
              <a:gdLst>
                <a:gd name="T0" fmla="*/ 2 w 5"/>
                <a:gd name="T1" fmla="*/ 0 h 7"/>
                <a:gd name="T2" fmla="*/ 2 w 5"/>
                <a:gd name="T3" fmla="*/ 7 h 7"/>
                <a:gd name="T4" fmla="*/ 3 w 5"/>
                <a:gd name="T5" fmla="*/ 2 h 7"/>
                <a:gd name="T6" fmla="*/ 4 w 5"/>
                <a:gd name="T7" fmla="*/ 1 h 7"/>
                <a:gd name="T8" fmla="*/ 2 w 5"/>
                <a:gd name="T9" fmla="*/ 0 h 7"/>
              </a:gdLst>
              <a:cxnLst>
                <a:cxn ang="0">
                  <a:pos x="T0" y="T1"/>
                </a:cxn>
                <a:cxn ang="0">
                  <a:pos x="T2" y="T3"/>
                </a:cxn>
                <a:cxn ang="0">
                  <a:pos x="T4" y="T5"/>
                </a:cxn>
                <a:cxn ang="0">
                  <a:pos x="T6" y="T7"/>
                </a:cxn>
                <a:cxn ang="0">
                  <a:pos x="T8" y="T9"/>
                </a:cxn>
              </a:cxnLst>
              <a:rect l="0" t="0" r="r" b="b"/>
              <a:pathLst>
                <a:path w="5" h="7">
                  <a:moveTo>
                    <a:pt x="2" y="0"/>
                  </a:moveTo>
                  <a:cubicBezTo>
                    <a:pt x="0" y="0"/>
                    <a:pt x="2" y="6"/>
                    <a:pt x="2" y="7"/>
                  </a:cubicBezTo>
                  <a:cubicBezTo>
                    <a:pt x="3" y="5"/>
                    <a:pt x="5" y="4"/>
                    <a:pt x="3" y="2"/>
                  </a:cubicBezTo>
                  <a:cubicBezTo>
                    <a:pt x="3" y="2"/>
                    <a:pt x="4" y="1"/>
                    <a:pt x="4" y="1"/>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1104"/>
            <p:cNvSpPr/>
            <p:nvPr/>
          </p:nvSpPr>
          <p:spPr bwMode="auto">
            <a:xfrm>
              <a:off x="4492797" y="4405551"/>
              <a:ext cx="40270" cy="25504"/>
            </a:xfrm>
            <a:custGeom>
              <a:gdLst>
                <a:gd name="T0" fmla="*/ 5 w 13"/>
                <a:gd name="T1" fmla="*/ 0 h 8"/>
                <a:gd name="T2" fmla="*/ 3 w 13"/>
                <a:gd name="T3" fmla="*/ 1 h 8"/>
                <a:gd name="T4" fmla="*/ 1 w 13"/>
                <a:gd name="T5" fmla="*/ 2 h 8"/>
                <a:gd name="T6" fmla="*/ 0 w 13"/>
                <a:gd name="T7" fmla="*/ 2 h 8"/>
                <a:gd name="T8" fmla="*/ 3 w 13"/>
                <a:gd name="T9" fmla="*/ 8 h 8"/>
                <a:gd name="T10" fmla="*/ 8 w 13"/>
                <a:gd name="T11" fmla="*/ 7 h 8"/>
                <a:gd name="T12" fmla="*/ 8 w 13"/>
                <a:gd name="T13" fmla="*/ 5 h 8"/>
                <a:gd name="T14" fmla="*/ 9 w 13"/>
                <a:gd name="T15" fmla="*/ 2 h 8"/>
                <a:gd name="T16" fmla="*/ 5 w 13"/>
                <a:gd name="T17" fmla="*/ 0 h 8"/>
                <a:gd name="T18" fmla="*/ 5 w 13"/>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8">
                  <a:moveTo>
                    <a:pt x="5" y="0"/>
                  </a:moveTo>
                  <a:cubicBezTo>
                    <a:pt x="4" y="0"/>
                    <a:pt x="3" y="0"/>
                    <a:pt x="3" y="1"/>
                  </a:cubicBezTo>
                  <a:cubicBezTo>
                    <a:pt x="2" y="1"/>
                    <a:pt x="1" y="2"/>
                    <a:pt x="1" y="2"/>
                  </a:cubicBezTo>
                  <a:cubicBezTo>
                    <a:pt x="0" y="2"/>
                    <a:pt x="0" y="2"/>
                    <a:pt x="0" y="2"/>
                  </a:cubicBezTo>
                  <a:cubicBezTo>
                    <a:pt x="0" y="4"/>
                    <a:pt x="2" y="6"/>
                    <a:pt x="3" y="8"/>
                  </a:cubicBezTo>
                  <a:cubicBezTo>
                    <a:pt x="4" y="8"/>
                    <a:pt x="7" y="8"/>
                    <a:pt x="8" y="7"/>
                  </a:cubicBezTo>
                  <a:cubicBezTo>
                    <a:pt x="8" y="6"/>
                    <a:pt x="8" y="5"/>
                    <a:pt x="8" y="5"/>
                  </a:cubicBezTo>
                  <a:cubicBezTo>
                    <a:pt x="10" y="3"/>
                    <a:pt x="13" y="3"/>
                    <a:pt x="9" y="2"/>
                  </a:cubicBezTo>
                  <a:cubicBezTo>
                    <a:pt x="7" y="2"/>
                    <a:pt x="7"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105"/>
            <p:cNvSpPr/>
            <p:nvPr/>
          </p:nvSpPr>
          <p:spPr bwMode="auto">
            <a:xfrm>
              <a:off x="4774688" y="4373334"/>
              <a:ext cx="9396" cy="22820"/>
            </a:xfrm>
            <a:custGeom>
              <a:gdLst>
                <a:gd name="T0" fmla="*/ 1 w 3"/>
                <a:gd name="T1" fmla="*/ 0 h 7"/>
                <a:gd name="T2" fmla="*/ 3 w 3"/>
                <a:gd name="T3" fmla="*/ 7 h 7"/>
                <a:gd name="T4" fmla="*/ 1 w 3"/>
                <a:gd name="T5" fmla="*/ 0 h 7"/>
              </a:gdLst>
              <a:cxnLst>
                <a:cxn ang="0">
                  <a:pos x="T0" y="T1"/>
                </a:cxn>
                <a:cxn ang="0">
                  <a:pos x="T2" y="T3"/>
                </a:cxn>
                <a:cxn ang="0">
                  <a:pos x="T4" y="T5"/>
                </a:cxn>
              </a:cxnLst>
              <a:rect l="0" t="0" r="r" b="b"/>
              <a:pathLst>
                <a:path w="3" h="7">
                  <a:moveTo>
                    <a:pt x="1" y="0"/>
                  </a:moveTo>
                  <a:cubicBezTo>
                    <a:pt x="0" y="2"/>
                    <a:pt x="2" y="4"/>
                    <a:pt x="3" y="7"/>
                  </a:cubicBezTo>
                  <a:cubicBezTo>
                    <a:pt x="3"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106"/>
            <p:cNvSpPr/>
            <p:nvPr/>
          </p:nvSpPr>
          <p:spPr bwMode="auto">
            <a:xfrm>
              <a:off x="4488770" y="3333023"/>
              <a:ext cx="4027" cy="9396"/>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107"/>
            <p:cNvSpPr/>
            <p:nvPr/>
          </p:nvSpPr>
          <p:spPr bwMode="auto">
            <a:xfrm>
              <a:off x="4618977" y="3957210"/>
              <a:ext cx="18793" cy="25504"/>
            </a:xfrm>
            <a:custGeom>
              <a:gdLst>
                <a:gd name="T0" fmla="*/ 1 w 6"/>
                <a:gd name="T1" fmla="*/ 0 h 8"/>
                <a:gd name="T2" fmla="*/ 6 w 6"/>
                <a:gd name="T3" fmla="*/ 8 h 8"/>
                <a:gd name="T4" fmla="*/ 1 w 6"/>
                <a:gd name="T5" fmla="*/ 0 h 8"/>
              </a:gdLst>
              <a:cxnLst>
                <a:cxn ang="0">
                  <a:pos x="T0" y="T1"/>
                </a:cxn>
                <a:cxn ang="0">
                  <a:pos x="T2" y="T3"/>
                </a:cxn>
                <a:cxn ang="0">
                  <a:pos x="T4" y="T5"/>
                </a:cxn>
              </a:cxnLst>
              <a:rect l="0" t="0" r="r" b="b"/>
              <a:pathLst>
                <a:path w="6" h="8">
                  <a:moveTo>
                    <a:pt x="1" y="0"/>
                  </a:moveTo>
                  <a:cubicBezTo>
                    <a:pt x="0" y="2"/>
                    <a:pt x="4" y="7"/>
                    <a:pt x="6" y="8"/>
                  </a:cubicBezTo>
                  <a:cubicBezTo>
                    <a:pt x="4" y="5"/>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108"/>
            <p:cNvSpPr/>
            <p:nvPr/>
          </p:nvSpPr>
          <p:spPr bwMode="auto">
            <a:xfrm>
              <a:off x="4492797" y="3475311"/>
              <a:ext cx="5369" cy="12081"/>
            </a:xfrm>
            <a:custGeom>
              <a:gdLst>
                <a:gd name="T0" fmla="*/ 2 w 2"/>
                <a:gd name="T1" fmla="*/ 0 h 4"/>
                <a:gd name="T2" fmla="*/ 0 w 2"/>
                <a:gd name="T3" fmla="*/ 4 h 4"/>
                <a:gd name="T4" fmla="*/ 2 w 2"/>
                <a:gd name="T5" fmla="*/ 0 h 4"/>
              </a:gdLst>
              <a:cxnLst>
                <a:cxn ang="0">
                  <a:pos x="T0" y="T1"/>
                </a:cxn>
                <a:cxn ang="0">
                  <a:pos x="T2" y="T3"/>
                </a:cxn>
                <a:cxn ang="0">
                  <a:pos x="T4" y="T5"/>
                </a:cxn>
              </a:cxnLst>
              <a:rect l="0" t="0" r="r" b="b"/>
              <a:pathLst>
                <a:path w="2" h="4">
                  <a:moveTo>
                    <a:pt x="2" y="0"/>
                  </a:moveTo>
                  <a:cubicBezTo>
                    <a:pt x="0" y="0"/>
                    <a:pt x="0" y="2"/>
                    <a:pt x="0" y="4"/>
                  </a:cubicBezTo>
                  <a:cubicBezTo>
                    <a:pt x="1"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109"/>
            <p:cNvSpPr/>
            <p:nvPr/>
          </p:nvSpPr>
          <p:spPr bwMode="auto">
            <a:xfrm>
              <a:off x="4492797" y="4014930"/>
              <a:ext cx="95306" cy="111414"/>
            </a:xfrm>
            <a:custGeom>
              <a:gdLst>
                <a:gd name="T0" fmla="*/ 2 w 30"/>
                <a:gd name="T1" fmla="*/ 0 h 35"/>
                <a:gd name="T2" fmla="*/ 0 w 30"/>
                <a:gd name="T3" fmla="*/ 4 h 35"/>
                <a:gd name="T4" fmla="*/ 1 w 30"/>
                <a:gd name="T5" fmla="*/ 4 h 35"/>
                <a:gd name="T6" fmla="*/ 5 w 30"/>
                <a:gd name="T7" fmla="*/ 10 h 35"/>
                <a:gd name="T8" fmla="*/ 5 w 30"/>
                <a:gd name="T9" fmla="*/ 18 h 35"/>
                <a:gd name="T10" fmla="*/ 3 w 30"/>
                <a:gd name="T11" fmla="*/ 25 h 35"/>
                <a:gd name="T12" fmla="*/ 3 w 30"/>
                <a:gd name="T13" fmla="*/ 35 h 35"/>
                <a:gd name="T14" fmla="*/ 5 w 30"/>
                <a:gd name="T15" fmla="*/ 35 h 35"/>
                <a:gd name="T16" fmla="*/ 23 w 30"/>
                <a:gd name="T17" fmla="*/ 25 h 35"/>
                <a:gd name="T18" fmla="*/ 30 w 30"/>
                <a:gd name="T19" fmla="*/ 18 h 35"/>
                <a:gd name="T20" fmla="*/ 29 w 30"/>
                <a:gd name="T21" fmla="*/ 16 h 35"/>
                <a:gd name="T22" fmla="*/ 30 w 30"/>
                <a:gd name="T23" fmla="*/ 12 h 35"/>
                <a:gd name="T24" fmla="*/ 29 w 30"/>
                <a:gd name="T25" fmla="*/ 10 h 35"/>
                <a:gd name="T26" fmla="*/ 24 w 30"/>
                <a:gd name="T27" fmla="*/ 12 h 35"/>
                <a:gd name="T28" fmla="*/ 16 w 30"/>
                <a:gd name="T29" fmla="*/ 8 h 35"/>
                <a:gd name="T30" fmla="*/ 2 w 30"/>
                <a:gd name="T31" fmla="*/ 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35">
                  <a:moveTo>
                    <a:pt x="2" y="0"/>
                  </a:moveTo>
                  <a:cubicBezTo>
                    <a:pt x="1" y="1"/>
                    <a:pt x="1" y="2"/>
                    <a:pt x="0" y="4"/>
                  </a:cubicBezTo>
                  <a:cubicBezTo>
                    <a:pt x="1" y="4"/>
                    <a:pt x="1" y="4"/>
                    <a:pt x="1" y="4"/>
                  </a:cubicBezTo>
                  <a:cubicBezTo>
                    <a:pt x="6" y="6"/>
                    <a:pt x="6" y="6"/>
                    <a:pt x="5" y="10"/>
                  </a:cubicBezTo>
                  <a:cubicBezTo>
                    <a:pt x="5" y="13"/>
                    <a:pt x="5" y="15"/>
                    <a:pt x="5" y="18"/>
                  </a:cubicBezTo>
                  <a:cubicBezTo>
                    <a:pt x="5" y="21"/>
                    <a:pt x="4" y="22"/>
                    <a:pt x="3" y="25"/>
                  </a:cubicBezTo>
                  <a:cubicBezTo>
                    <a:pt x="3" y="28"/>
                    <a:pt x="0" y="35"/>
                    <a:pt x="3" y="35"/>
                  </a:cubicBezTo>
                  <a:cubicBezTo>
                    <a:pt x="3" y="35"/>
                    <a:pt x="4" y="35"/>
                    <a:pt x="5" y="35"/>
                  </a:cubicBezTo>
                  <a:cubicBezTo>
                    <a:pt x="11" y="32"/>
                    <a:pt x="18" y="30"/>
                    <a:pt x="23" y="25"/>
                  </a:cubicBezTo>
                  <a:cubicBezTo>
                    <a:pt x="25" y="23"/>
                    <a:pt x="29" y="20"/>
                    <a:pt x="30" y="18"/>
                  </a:cubicBezTo>
                  <a:cubicBezTo>
                    <a:pt x="30" y="17"/>
                    <a:pt x="29" y="17"/>
                    <a:pt x="29" y="16"/>
                  </a:cubicBezTo>
                  <a:cubicBezTo>
                    <a:pt x="30" y="15"/>
                    <a:pt x="30" y="14"/>
                    <a:pt x="30" y="12"/>
                  </a:cubicBezTo>
                  <a:cubicBezTo>
                    <a:pt x="30" y="10"/>
                    <a:pt x="30" y="10"/>
                    <a:pt x="29" y="10"/>
                  </a:cubicBezTo>
                  <a:cubicBezTo>
                    <a:pt x="28" y="10"/>
                    <a:pt x="26" y="11"/>
                    <a:pt x="24" y="12"/>
                  </a:cubicBezTo>
                  <a:cubicBezTo>
                    <a:pt x="22" y="10"/>
                    <a:pt x="18" y="10"/>
                    <a:pt x="16" y="8"/>
                  </a:cubicBezTo>
                  <a:cubicBezTo>
                    <a:pt x="11" y="5"/>
                    <a:pt x="7"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1110"/>
            <p:cNvSpPr/>
            <p:nvPr/>
          </p:nvSpPr>
          <p:spPr bwMode="auto">
            <a:xfrm>
              <a:off x="4574680" y="3926336"/>
              <a:ext cx="6712" cy="9396"/>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0" y="2"/>
                    <a:pt x="1" y="2"/>
                    <a:pt x="2"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111"/>
            <p:cNvSpPr/>
            <p:nvPr/>
          </p:nvSpPr>
          <p:spPr bwMode="auto">
            <a:xfrm>
              <a:off x="4343798" y="4512937"/>
              <a:ext cx="30874" cy="18793"/>
            </a:xfrm>
            <a:custGeom>
              <a:gdLst>
                <a:gd name="T0" fmla="*/ 8 w 10"/>
                <a:gd name="T1" fmla="*/ 0 h 6"/>
                <a:gd name="T2" fmla="*/ 0 w 10"/>
                <a:gd name="T3" fmla="*/ 6 h 6"/>
                <a:gd name="T4" fmla="*/ 3 w 10"/>
                <a:gd name="T5" fmla="*/ 4 h 6"/>
                <a:gd name="T6" fmla="*/ 4 w 10"/>
                <a:gd name="T7" fmla="*/ 3 h 6"/>
                <a:gd name="T8" fmla="*/ 5 w 10"/>
                <a:gd name="T9" fmla="*/ 3 h 6"/>
                <a:gd name="T10" fmla="*/ 5 w 10"/>
                <a:gd name="T11" fmla="*/ 3 h 6"/>
                <a:gd name="T12" fmla="*/ 6 w 10"/>
                <a:gd name="T13" fmla="*/ 3 h 6"/>
                <a:gd name="T14" fmla="*/ 6 w 10"/>
                <a:gd name="T15" fmla="*/ 2 h 6"/>
                <a:gd name="T16" fmla="*/ 7 w 10"/>
                <a:gd name="T17" fmla="*/ 3 h 6"/>
                <a:gd name="T18" fmla="*/ 9 w 10"/>
                <a:gd name="T19" fmla="*/ 4 h 6"/>
                <a:gd name="T20" fmla="*/ 9 w 10"/>
                <a:gd name="T21" fmla="*/ 1 h 6"/>
                <a:gd name="T22" fmla="*/ 8 w 10"/>
                <a:gd name="T2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8" y="0"/>
                  </a:moveTo>
                  <a:cubicBezTo>
                    <a:pt x="6" y="0"/>
                    <a:pt x="2" y="5"/>
                    <a:pt x="0" y="6"/>
                  </a:cubicBezTo>
                  <a:cubicBezTo>
                    <a:pt x="1" y="6"/>
                    <a:pt x="3" y="5"/>
                    <a:pt x="3" y="4"/>
                  </a:cubicBezTo>
                  <a:cubicBezTo>
                    <a:pt x="4" y="4"/>
                    <a:pt x="4" y="4"/>
                    <a:pt x="4" y="3"/>
                  </a:cubicBezTo>
                  <a:cubicBezTo>
                    <a:pt x="4" y="3"/>
                    <a:pt x="5" y="3"/>
                    <a:pt x="5" y="3"/>
                  </a:cubicBezTo>
                  <a:cubicBezTo>
                    <a:pt x="5" y="3"/>
                    <a:pt x="5" y="3"/>
                    <a:pt x="5" y="3"/>
                  </a:cubicBezTo>
                  <a:cubicBezTo>
                    <a:pt x="5" y="3"/>
                    <a:pt x="6" y="3"/>
                    <a:pt x="6" y="3"/>
                  </a:cubicBezTo>
                  <a:cubicBezTo>
                    <a:pt x="6" y="3"/>
                    <a:pt x="6" y="3"/>
                    <a:pt x="6" y="2"/>
                  </a:cubicBezTo>
                  <a:cubicBezTo>
                    <a:pt x="7" y="2"/>
                    <a:pt x="7" y="3"/>
                    <a:pt x="7" y="3"/>
                  </a:cubicBezTo>
                  <a:cubicBezTo>
                    <a:pt x="7" y="3"/>
                    <a:pt x="8" y="3"/>
                    <a:pt x="9" y="4"/>
                  </a:cubicBezTo>
                  <a:cubicBezTo>
                    <a:pt x="9" y="4"/>
                    <a:pt x="10" y="2"/>
                    <a:pt x="9" y="1"/>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112"/>
            <p:cNvSpPr/>
            <p:nvPr/>
          </p:nvSpPr>
          <p:spPr bwMode="auto">
            <a:xfrm>
              <a:off x="4453870" y="3443095"/>
              <a:ext cx="13423" cy="13423"/>
            </a:xfrm>
            <a:custGeom>
              <a:gdLst>
                <a:gd name="T0" fmla="*/ 4 w 4"/>
                <a:gd name="T1" fmla="*/ 0 h 4"/>
                <a:gd name="T2" fmla="*/ 0 w 4"/>
                <a:gd name="T3" fmla="*/ 1 h 4"/>
                <a:gd name="T4" fmla="*/ 4 w 4"/>
                <a:gd name="T5" fmla="*/ 4 h 4"/>
                <a:gd name="T6" fmla="*/ 4 w 4"/>
                <a:gd name="T7" fmla="*/ 0 h 4"/>
              </a:gdLst>
              <a:cxnLst>
                <a:cxn ang="0">
                  <a:pos x="T0" y="T1"/>
                </a:cxn>
                <a:cxn ang="0">
                  <a:pos x="T2" y="T3"/>
                </a:cxn>
                <a:cxn ang="0">
                  <a:pos x="T4" y="T5"/>
                </a:cxn>
                <a:cxn ang="0">
                  <a:pos x="T6" y="T7"/>
                </a:cxn>
              </a:cxnLst>
              <a:rect l="0" t="0" r="r" b="b"/>
              <a:pathLst>
                <a:path w="4" h="4">
                  <a:moveTo>
                    <a:pt x="4" y="0"/>
                  </a:moveTo>
                  <a:cubicBezTo>
                    <a:pt x="3" y="0"/>
                    <a:pt x="2" y="1"/>
                    <a:pt x="0" y="1"/>
                  </a:cubicBezTo>
                  <a:cubicBezTo>
                    <a:pt x="1" y="2"/>
                    <a:pt x="2" y="3"/>
                    <a:pt x="4" y="4"/>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113"/>
            <p:cNvSpPr/>
            <p:nvPr/>
          </p:nvSpPr>
          <p:spPr bwMode="auto">
            <a:xfrm>
              <a:off x="4676697" y="4033723"/>
              <a:ext cx="28189" cy="16108"/>
            </a:xfrm>
            <a:custGeom>
              <a:gdLst>
                <a:gd name="T0" fmla="*/ 2 w 9"/>
                <a:gd name="T1" fmla="*/ 0 h 5"/>
                <a:gd name="T2" fmla="*/ 0 w 9"/>
                <a:gd name="T3" fmla="*/ 0 h 5"/>
                <a:gd name="T4" fmla="*/ 4 w 9"/>
                <a:gd name="T5" fmla="*/ 5 h 5"/>
                <a:gd name="T6" fmla="*/ 2 w 9"/>
                <a:gd name="T7" fmla="*/ 0 h 5"/>
              </a:gdLst>
              <a:cxnLst>
                <a:cxn ang="0">
                  <a:pos x="T0" y="T1"/>
                </a:cxn>
                <a:cxn ang="0">
                  <a:pos x="T2" y="T3"/>
                </a:cxn>
                <a:cxn ang="0">
                  <a:pos x="T4" y="T5"/>
                </a:cxn>
                <a:cxn ang="0">
                  <a:pos x="T6" y="T7"/>
                </a:cxn>
              </a:cxnLst>
              <a:rect l="0" t="0" r="r" b="b"/>
              <a:pathLst>
                <a:path w="9" h="5">
                  <a:moveTo>
                    <a:pt x="2" y="0"/>
                  </a:moveTo>
                  <a:cubicBezTo>
                    <a:pt x="2" y="0"/>
                    <a:pt x="1" y="0"/>
                    <a:pt x="0" y="0"/>
                  </a:cubicBezTo>
                  <a:cubicBezTo>
                    <a:pt x="2" y="1"/>
                    <a:pt x="2" y="4"/>
                    <a:pt x="4" y="5"/>
                  </a:cubicBezTo>
                  <a:cubicBezTo>
                    <a:pt x="9" y="3"/>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114"/>
            <p:cNvSpPr/>
            <p:nvPr/>
          </p:nvSpPr>
          <p:spPr bwMode="auto">
            <a:xfrm>
              <a:off x="4488770" y="3891436"/>
              <a:ext cx="29531" cy="28189"/>
            </a:xfrm>
            <a:custGeom>
              <a:gdLst>
                <a:gd name="T0" fmla="*/ 1 w 9"/>
                <a:gd name="T1" fmla="*/ 0 h 9"/>
                <a:gd name="T2" fmla="*/ 0 w 9"/>
                <a:gd name="T3" fmla="*/ 4 h 9"/>
                <a:gd name="T4" fmla="*/ 5 w 9"/>
                <a:gd name="T5" fmla="*/ 9 h 9"/>
                <a:gd name="T6" fmla="*/ 5 w 9"/>
                <a:gd name="T7" fmla="*/ 1 h 9"/>
                <a:gd name="T8" fmla="*/ 1 w 9"/>
                <a:gd name="T9" fmla="*/ 0 h 9"/>
              </a:gdLst>
              <a:cxnLst>
                <a:cxn ang="0">
                  <a:pos x="T0" y="T1"/>
                </a:cxn>
                <a:cxn ang="0">
                  <a:pos x="T2" y="T3"/>
                </a:cxn>
                <a:cxn ang="0">
                  <a:pos x="T4" y="T5"/>
                </a:cxn>
                <a:cxn ang="0">
                  <a:pos x="T6" y="T7"/>
                </a:cxn>
                <a:cxn ang="0">
                  <a:pos x="T8" y="T9"/>
                </a:cxn>
              </a:cxnLst>
              <a:rect l="0" t="0" r="r" b="b"/>
              <a:pathLst>
                <a:path w="9" h="9">
                  <a:moveTo>
                    <a:pt x="1" y="0"/>
                  </a:moveTo>
                  <a:cubicBezTo>
                    <a:pt x="1" y="1"/>
                    <a:pt x="0" y="2"/>
                    <a:pt x="0" y="4"/>
                  </a:cubicBezTo>
                  <a:cubicBezTo>
                    <a:pt x="1" y="7"/>
                    <a:pt x="3" y="7"/>
                    <a:pt x="5" y="9"/>
                  </a:cubicBezTo>
                  <a:cubicBezTo>
                    <a:pt x="6" y="5"/>
                    <a:pt x="9" y="3"/>
                    <a:pt x="5" y="1"/>
                  </a:cubicBezTo>
                  <a:cubicBezTo>
                    <a:pt x="5"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115"/>
            <p:cNvSpPr/>
            <p:nvPr/>
          </p:nvSpPr>
          <p:spPr bwMode="auto">
            <a:xfrm>
              <a:off x="4343798" y="3986741"/>
              <a:ext cx="34901" cy="25504"/>
            </a:xfrm>
            <a:custGeom>
              <a:gdLst>
                <a:gd name="T0" fmla="*/ 1 w 11"/>
                <a:gd name="T1" fmla="*/ 0 h 8"/>
                <a:gd name="T2" fmla="*/ 1 w 11"/>
                <a:gd name="T3" fmla="*/ 1 h 8"/>
                <a:gd name="T4" fmla="*/ 0 w 11"/>
                <a:gd name="T5" fmla="*/ 3 h 8"/>
                <a:gd name="T6" fmla="*/ 1 w 11"/>
                <a:gd name="T7" fmla="*/ 3 h 8"/>
                <a:gd name="T8" fmla="*/ 2 w 11"/>
                <a:gd name="T9" fmla="*/ 5 h 8"/>
                <a:gd name="T10" fmla="*/ 6 w 11"/>
                <a:gd name="T11" fmla="*/ 8 h 8"/>
                <a:gd name="T12" fmla="*/ 11 w 11"/>
                <a:gd name="T13" fmla="*/ 5 h 8"/>
                <a:gd name="T14" fmla="*/ 9 w 11"/>
                <a:gd name="T15" fmla="*/ 2 h 8"/>
                <a:gd name="T16" fmla="*/ 9 w 11"/>
                <a:gd name="T17" fmla="*/ 4 h 8"/>
                <a:gd name="T18" fmla="*/ 9 w 11"/>
                <a:gd name="T19" fmla="*/ 4 h 8"/>
                <a:gd name="T20" fmla="*/ 5 w 11"/>
                <a:gd name="T21" fmla="*/ 2 h 8"/>
                <a:gd name="T22" fmla="*/ 1 w 11"/>
                <a:gd name="T23"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1" y="0"/>
                  </a:moveTo>
                  <a:cubicBezTo>
                    <a:pt x="1" y="0"/>
                    <a:pt x="1" y="0"/>
                    <a:pt x="1" y="1"/>
                  </a:cubicBezTo>
                  <a:cubicBezTo>
                    <a:pt x="0" y="2"/>
                    <a:pt x="0" y="2"/>
                    <a:pt x="0" y="3"/>
                  </a:cubicBezTo>
                  <a:cubicBezTo>
                    <a:pt x="0" y="3"/>
                    <a:pt x="1" y="3"/>
                    <a:pt x="1" y="3"/>
                  </a:cubicBezTo>
                  <a:cubicBezTo>
                    <a:pt x="2" y="3"/>
                    <a:pt x="2" y="4"/>
                    <a:pt x="2" y="5"/>
                  </a:cubicBezTo>
                  <a:cubicBezTo>
                    <a:pt x="3" y="7"/>
                    <a:pt x="4" y="8"/>
                    <a:pt x="6" y="8"/>
                  </a:cubicBezTo>
                  <a:cubicBezTo>
                    <a:pt x="8" y="7"/>
                    <a:pt x="10" y="6"/>
                    <a:pt x="11" y="5"/>
                  </a:cubicBezTo>
                  <a:cubicBezTo>
                    <a:pt x="10" y="4"/>
                    <a:pt x="9" y="3"/>
                    <a:pt x="9" y="2"/>
                  </a:cubicBezTo>
                  <a:cubicBezTo>
                    <a:pt x="9" y="3"/>
                    <a:pt x="9" y="4"/>
                    <a:pt x="9" y="4"/>
                  </a:cubicBezTo>
                  <a:cubicBezTo>
                    <a:pt x="9" y="4"/>
                    <a:pt x="9" y="4"/>
                    <a:pt x="9" y="4"/>
                  </a:cubicBezTo>
                  <a:cubicBezTo>
                    <a:pt x="8" y="4"/>
                    <a:pt x="6" y="3"/>
                    <a:pt x="5" y="2"/>
                  </a:cubicBezTo>
                  <a:cubicBezTo>
                    <a:pt x="3"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116"/>
            <p:cNvSpPr/>
            <p:nvPr/>
          </p:nvSpPr>
          <p:spPr bwMode="auto">
            <a:xfrm>
              <a:off x="4762607" y="4126344"/>
              <a:ext cx="12081" cy="37585"/>
            </a:xfrm>
            <a:custGeom>
              <a:gdLst>
                <a:gd name="T0" fmla="*/ 4 w 4"/>
                <a:gd name="T1" fmla="*/ 0 h 12"/>
                <a:gd name="T2" fmla="*/ 1 w 4"/>
                <a:gd name="T3" fmla="*/ 6 h 12"/>
                <a:gd name="T4" fmla="*/ 1 w 4"/>
                <a:gd name="T5" fmla="*/ 9 h 12"/>
                <a:gd name="T6" fmla="*/ 2 w 4"/>
                <a:gd name="T7" fmla="*/ 11 h 12"/>
                <a:gd name="T8" fmla="*/ 3 w 4"/>
                <a:gd name="T9" fmla="*/ 11 h 12"/>
                <a:gd name="T10" fmla="*/ 3 w 4"/>
                <a:gd name="T11" fmla="*/ 12 h 12"/>
                <a:gd name="T12" fmla="*/ 4 w 4"/>
                <a:gd name="T13" fmla="*/ 12 h 12"/>
                <a:gd name="T14" fmla="*/ 4 w 4"/>
                <a:gd name="T15" fmla="*/ 0 h 1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4" y="0"/>
                  </a:moveTo>
                  <a:cubicBezTo>
                    <a:pt x="3" y="3"/>
                    <a:pt x="1" y="3"/>
                    <a:pt x="1" y="6"/>
                  </a:cubicBezTo>
                  <a:cubicBezTo>
                    <a:pt x="1" y="8"/>
                    <a:pt x="0" y="8"/>
                    <a:pt x="1" y="9"/>
                  </a:cubicBezTo>
                  <a:cubicBezTo>
                    <a:pt x="1" y="10"/>
                    <a:pt x="4" y="9"/>
                    <a:pt x="2" y="11"/>
                  </a:cubicBezTo>
                  <a:cubicBezTo>
                    <a:pt x="3" y="11"/>
                    <a:pt x="3" y="11"/>
                    <a:pt x="3" y="11"/>
                  </a:cubicBezTo>
                  <a:cubicBezTo>
                    <a:pt x="3" y="12"/>
                    <a:pt x="3" y="12"/>
                    <a:pt x="3" y="12"/>
                  </a:cubicBezTo>
                  <a:cubicBezTo>
                    <a:pt x="4" y="12"/>
                    <a:pt x="4" y="12"/>
                    <a:pt x="4" y="12"/>
                  </a:cubicBezTo>
                  <a:cubicBezTo>
                    <a:pt x="4" y="8"/>
                    <a:pt x="4"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117"/>
            <p:cNvSpPr/>
            <p:nvPr/>
          </p:nvSpPr>
          <p:spPr bwMode="auto">
            <a:xfrm>
              <a:off x="4378699" y="3894120"/>
              <a:ext cx="91279" cy="97991"/>
            </a:xfrm>
            <a:custGeom>
              <a:gdLst>
                <a:gd name="T0" fmla="*/ 3 w 29"/>
                <a:gd name="T1" fmla="*/ 0 h 31"/>
                <a:gd name="T2" fmla="*/ 0 w 29"/>
                <a:gd name="T3" fmla="*/ 2 h 31"/>
                <a:gd name="T4" fmla="*/ 10 w 29"/>
                <a:gd name="T5" fmla="*/ 16 h 31"/>
                <a:gd name="T6" fmla="*/ 22 w 29"/>
                <a:gd name="T7" fmla="*/ 31 h 31"/>
                <a:gd name="T8" fmla="*/ 24 w 29"/>
                <a:gd name="T9" fmla="*/ 29 h 31"/>
                <a:gd name="T10" fmla="*/ 25 w 29"/>
                <a:gd name="T11" fmla="*/ 30 h 31"/>
                <a:gd name="T12" fmla="*/ 26 w 29"/>
                <a:gd name="T13" fmla="*/ 28 h 31"/>
                <a:gd name="T14" fmla="*/ 26 w 29"/>
                <a:gd name="T15" fmla="*/ 28 h 31"/>
                <a:gd name="T16" fmla="*/ 27 w 29"/>
                <a:gd name="T17" fmla="*/ 24 h 31"/>
                <a:gd name="T18" fmla="*/ 28 w 29"/>
                <a:gd name="T19" fmla="*/ 17 h 31"/>
                <a:gd name="T20" fmla="*/ 28 w 29"/>
                <a:gd name="T21" fmla="*/ 12 h 31"/>
                <a:gd name="T22" fmla="*/ 29 w 29"/>
                <a:gd name="T23" fmla="*/ 10 h 31"/>
                <a:gd name="T24" fmla="*/ 24 w 29"/>
                <a:gd name="T25" fmla="*/ 7 h 31"/>
                <a:gd name="T26" fmla="*/ 14 w 29"/>
                <a:gd name="T27" fmla="*/ 1 h 31"/>
                <a:gd name="T28" fmla="*/ 10 w 29"/>
                <a:gd name="T29" fmla="*/ 1 h 31"/>
                <a:gd name="T30" fmla="*/ 8 w 29"/>
                <a:gd name="T31" fmla="*/ 1 h 31"/>
                <a:gd name="T32" fmla="*/ 5 w 29"/>
                <a:gd name="T33" fmla="*/ 0 h 31"/>
                <a:gd name="T34" fmla="*/ 3 w 29"/>
                <a:gd name="T35"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31">
                  <a:moveTo>
                    <a:pt x="3" y="0"/>
                  </a:moveTo>
                  <a:cubicBezTo>
                    <a:pt x="1" y="0"/>
                    <a:pt x="0" y="0"/>
                    <a:pt x="0" y="2"/>
                  </a:cubicBezTo>
                  <a:cubicBezTo>
                    <a:pt x="6" y="3"/>
                    <a:pt x="8" y="10"/>
                    <a:pt x="10" y="16"/>
                  </a:cubicBezTo>
                  <a:cubicBezTo>
                    <a:pt x="12" y="22"/>
                    <a:pt x="17" y="26"/>
                    <a:pt x="22" y="31"/>
                  </a:cubicBezTo>
                  <a:cubicBezTo>
                    <a:pt x="23" y="30"/>
                    <a:pt x="23" y="29"/>
                    <a:pt x="24" y="29"/>
                  </a:cubicBezTo>
                  <a:cubicBezTo>
                    <a:pt x="25" y="29"/>
                    <a:pt x="25" y="29"/>
                    <a:pt x="25" y="30"/>
                  </a:cubicBezTo>
                  <a:cubicBezTo>
                    <a:pt x="25" y="28"/>
                    <a:pt x="25" y="28"/>
                    <a:pt x="26" y="28"/>
                  </a:cubicBezTo>
                  <a:cubicBezTo>
                    <a:pt x="26" y="28"/>
                    <a:pt x="26" y="28"/>
                    <a:pt x="26" y="28"/>
                  </a:cubicBezTo>
                  <a:cubicBezTo>
                    <a:pt x="25" y="25"/>
                    <a:pt x="27" y="25"/>
                    <a:pt x="27" y="24"/>
                  </a:cubicBezTo>
                  <a:cubicBezTo>
                    <a:pt x="29" y="21"/>
                    <a:pt x="29" y="21"/>
                    <a:pt x="28" y="17"/>
                  </a:cubicBezTo>
                  <a:cubicBezTo>
                    <a:pt x="28" y="15"/>
                    <a:pt x="27" y="13"/>
                    <a:pt x="28" y="12"/>
                  </a:cubicBezTo>
                  <a:cubicBezTo>
                    <a:pt x="28" y="11"/>
                    <a:pt x="29" y="11"/>
                    <a:pt x="29" y="10"/>
                  </a:cubicBezTo>
                  <a:cubicBezTo>
                    <a:pt x="29" y="9"/>
                    <a:pt x="25" y="7"/>
                    <a:pt x="24" y="7"/>
                  </a:cubicBezTo>
                  <a:cubicBezTo>
                    <a:pt x="21" y="5"/>
                    <a:pt x="17" y="3"/>
                    <a:pt x="14" y="1"/>
                  </a:cubicBezTo>
                  <a:cubicBezTo>
                    <a:pt x="14" y="1"/>
                    <a:pt x="12" y="1"/>
                    <a:pt x="10" y="1"/>
                  </a:cubicBezTo>
                  <a:cubicBezTo>
                    <a:pt x="9" y="1"/>
                    <a:pt x="9" y="1"/>
                    <a:pt x="8" y="1"/>
                  </a:cubicBezTo>
                  <a:cubicBezTo>
                    <a:pt x="7" y="1"/>
                    <a:pt x="6" y="1"/>
                    <a:pt x="5"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1118"/>
            <p:cNvSpPr/>
            <p:nvPr/>
          </p:nvSpPr>
          <p:spPr bwMode="auto">
            <a:xfrm>
              <a:off x="4492797" y="3957210"/>
              <a:ext cx="25504" cy="44297"/>
            </a:xfrm>
            <a:custGeom>
              <a:gdLst>
                <a:gd name="T0" fmla="*/ 6 w 8"/>
                <a:gd name="T1" fmla="*/ 0 h 14"/>
                <a:gd name="T2" fmla="*/ 6 w 8"/>
                <a:gd name="T3" fmla="*/ 1 h 14"/>
                <a:gd name="T4" fmla="*/ 4 w 8"/>
                <a:gd name="T5" fmla="*/ 14 h 14"/>
                <a:gd name="T6" fmla="*/ 7 w 8"/>
                <a:gd name="T7" fmla="*/ 3 h 14"/>
                <a:gd name="T8" fmla="*/ 6 w 8"/>
                <a:gd name="T9" fmla="*/ 0 h 14"/>
              </a:gdLst>
              <a:cxnLst>
                <a:cxn ang="0">
                  <a:pos x="T0" y="T1"/>
                </a:cxn>
                <a:cxn ang="0">
                  <a:pos x="T2" y="T3"/>
                </a:cxn>
                <a:cxn ang="0">
                  <a:pos x="T4" y="T5"/>
                </a:cxn>
                <a:cxn ang="0">
                  <a:pos x="T6" y="T7"/>
                </a:cxn>
                <a:cxn ang="0">
                  <a:pos x="T8" y="T9"/>
                </a:cxn>
              </a:cxnLst>
              <a:rect l="0" t="0" r="r" b="b"/>
              <a:pathLst>
                <a:path w="8" h="14">
                  <a:moveTo>
                    <a:pt x="6" y="0"/>
                  </a:moveTo>
                  <a:cubicBezTo>
                    <a:pt x="6" y="0"/>
                    <a:pt x="6" y="0"/>
                    <a:pt x="6" y="1"/>
                  </a:cubicBezTo>
                  <a:cubicBezTo>
                    <a:pt x="0" y="3"/>
                    <a:pt x="2" y="10"/>
                    <a:pt x="4" y="14"/>
                  </a:cubicBezTo>
                  <a:cubicBezTo>
                    <a:pt x="6" y="13"/>
                    <a:pt x="6" y="6"/>
                    <a:pt x="7" y="3"/>
                  </a:cubicBezTo>
                  <a:cubicBezTo>
                    <a:pt x="7" y="2"/>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119"/>
            <p:cNvSpPr/>
            <p:nvPr/>
          </p:nvSpPr>
          <p:spPr bwMode="auto">
            <a:xfrm>
              <a:off x="4651193" y="3852508"/>
              <a:ext cx="34901" cy="41612"/>
            </a:xfrm>
            <a:custGeom>
              <a:gdLst>
                <a:gd name="T0" fmla="*/ 5 w 11"/>
                <a:gd name="T1" fmla="*/ 0 h 13"/>
                <a:gd name="T2" fmla="*/ 4 w 11"/>
                <a:gd name="T3" fmla="*/ 4 h 13"/>
                <a:gd name="T4" fmla="*/ 2 w 11"/>
                <a:gd name="T5" fmla="*/ 9 h 13"/>
                <a:gd name="T6" fmla="*/ 5 w 11"/>
                <a:gd name="T7" fmla="*/ 13 h 13"/>
                <a:gd name="T8" fmla="*/ 10 w 11"/>
                <a:gd name="T9" fmla="*/ 4 h 13"/>
                <a:gd name="T10" fmla="*/ 9 w 11"/>
                <a:gd name="T11" fmla="*/ 4 h 13"/>
                <a:gd name="T12" fmla="*/ 8 w 11"/>
                <a:gd name="T13" fmla="*/ 4 h 13"/>
                <a:gd name="T14" fmla="*/ 5 w 11"/>
                <a:gd name="T15" fmla="*/ 0 h 1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3">
                  <a:moveTo>
                    <a:pt x="5" y="0"/>
                  </a:moveTo>
                  <a:cubicBezTo>
                    <a:pt x="4" y="0"/>
                    <a:pt x="4" y="2"/>
                    <a:pt x="4" y="4"/>
                  </a:cubicBezTo>
                  <a:cubicBezTo>
                    <a:pt x="4" y="7"/>
                    <a:pt x="3" y="7"/>
                    <a:pt x="2" y="9"/>
                  </a:cubicBezTo>
                  <a:cubicBezTo>
                    <a:pt x="0" y="11"/>
                    <a:pt x="5" y="12"/>
                    <a:pt x="5" y="13"/>
                  </a:cubicBezTo>
                  <a:cubicBezTo>
                    <a:pt x="7" y="11"/>
                    <a:pt x="11" y="7"/>
                    <a:pt x="10" y="4"/>
                  </a:cubicBezTo>
                  <a:cubicBezTo>
                    <a:pt x="10" y="4"/>
                    <a:pt x="9" y="4"/>
                    <a:pt x="9" y="4"/>
                  </a:cubicBezTo>
                  <a:cubicBezTo>
                    <a:pt x="9" y="4"/>
                    <a:pt x="8" y="4"/>
                    <a:pt x="8" y="4"/>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120"/>
            <p:cNvSpPr/>
            <p:nvPr/>
          </p:nvSpPr>
          <p:spPr bwMode="auto">
            <a:xfrm>
              <a:off x="4418969" y="4456559"/>
              <a:ext cx="44297" cy="14766"/>
            </a:xfrm>
            <a:custGeom>
              <a:gdLst>
                <a:gd name="T0" fmla="*/ 5 w 14"/>
                <a:gd name="T1" fmla="*/ 0 h 5"/>
                <a:gd name="T2" fmla="*/ 2 w 14"/>
                <a:gd name="T3" fmla="*/ 1 h 5"/>
                <a:gd name="T4" fmla="*/ 0 w 14"/>
                <a:gd name="T5" fmla="*/ 2 h 5"/>
                <a:gd name="T6" fmla="*/ 10 w 14"/>
                <a:gd name="T7" fmla="*/ 5 h 5"/>
                <a:gd name="T8" fmla="*/ 10 w 14"/>
                <a:gd name="T9" fmla="*/ 1 h 5"/>
                <a:gd name="T10" fmla="*/ 10 w 14"/>
                <a:gd name="T11" fmla="*/ 1 h 5"/>
                <a:gd name="T12" fmla="*/ 9 w 14"/>
                <a:gd name="T13" fmla="*/ 2 h 5"/>
                <a:gd name="T14" fmla="*/ 8 w 14"/>
                <a:gd name="T15" fmla="*/ 2 h 5"/>
                <a:gd name="T16" fmla="*/ 8 w 14"/>
                <a:gd name="T17" fmla="*/ 2 h 5"/>
                <a:gd name="T18" fmla="*/ 7 w 14"/>
                <a:gd name="T19" fmla="*/ 1 h 5"/>
                <a:gd name="T20" fmla="*/ 5 w 14"/>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5">
                  <a:moveTo>
                    <a:pt x="5" y="0"/>
                  </a:moveTo>
                  <a:cubicBezTo>
                    <a:pt x="4" y="0"/>
                    <a:pt x="3" y="0"/>
                    <a:pt x="2" y="1"/>
                  </a:cubicBezTo>
                  <a:cubicBezTo>
                    <a:pt x="2" y="1"/>
                    <a:pt x="0" y="1"/>
                    <a:pt x="0" y="2"/>
                  </a:cubicBezTo>
                  <a:cubicBezTo>
                    <a:pt x="0" y="4"/>
                    <a:pt x="9" y="5"/>
                    <a:pt x="10" y="5"/>
                  </a:cubicBezTo>
                  <a:cubicBezTo>
                    <a:pt x="13" y="4"/>
                    <a:pt x="14" y="2"/>
                    <a:pt x="10" y="1"/>
                  </a:cubicBezTo>
                  <a:cubicBezTo>
                    <a:pt x="10" y="1"/>
                    <a:pt x="10" y="1"/>
                    <a:pt x="10" y="1"/>
                  </a:cubicBezTo>
                  <a:cubicBezTo>
                    <a:pt x="10" y="1"/>
                    <a:pt x="10" y="2"/>
                    <a:pt x="9" y="2"/>
                  </a:cubicBezTo>
                  <a:cubicBezTo>
                    <a:pt x="9" y="2"/>
                    <a:pt x="8" y="2"/>
                    <a:pt x="8" y="2"/>
                  </a:cubicBezTo>
                  <a:cubicBezTo>
                    <a:pt x="8" y="2"/>
                    <a:pt x="8" y="2"/>
                    <a:pt x="8" y="2"/>
                  </a:cubicBezTo>
                  <a:cubicBezTo>
                    <a:pt x="8" y="1"/>
                    <a:pt x="8" y="1"/>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121"/>
            <p:cNvSpPr/>
            <p:nvPr/>
          </p:nvSpPr>
          <p:spPr bwMode="auto">
            <a:xfrm>
              <a:off x="5437802" y="4335749"/>
              <a:ext cx="9396" cy="25504"/>
            </a:xfrm>
            <a:custGeom>
              <a:gdLst>
                <a:gd name="T0" fmla="*/ 3 w 3"/>
                <a:gd name="T1" fmla="*/ 0 h 8"/>
                <a:gd name="T2" fmla="*/ 3 w 3"/>
                <a:gd name="T3" fmla="*/ 0 h 8"/>
                <a:gd name="T4" fmla="*/ 2 w 3"/>
                <a:gd name="T5" fmla="*/ 1 h 8"/>
                <a:gd name="T6" fmla="*/ 0 w 3"/>
                <a:gd name="T7" fmla="*/ 6 h 8"/>
                <a:gd name="T8" fmla="*/ 0 w 3"/>
                <a:gd name="T9" fmla="*/ 8 h 8"/>
                <a:gd name="T10" fmla="*/ 1 w 3"/>
                <a:gd name="T11" fmla="*/ 7 h 8"/>
                <a:gd name="T12" fmla="*/ 3 w 3"/>
                <a:gd name="T13" fmla="*/ 2 h 8"/>
                <a:gd name="T14" fmla="*/ 3 w 3"/>
                <a:gd name="T15" fmla="*/ 0 h 8"/>
                <a:gd name="T16" fmla="*/ 3 w 3"/>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3" y="0"/>
                  </a:moveTo>
                  <a:cubicBezTo>
                    <a:pt x="3" y="0"/>
                    <a:pt x="3" y="0"/>
                    <a:pt x="3" y="0"/>
                  </a:cubicBezTo>
                  <a:cubicBezTo>
                    <a:pt x="3" y="0"/>
                    <a:pt x="2" y="1"/>
                    <a:pt x="2" y="1"/>
                  </a:cubicBezTo>
                  <a:cubicBezTo>
                    <a:pt x="1" y="3"/>
                    <a:pt x="0" y="4"/>
                    <a:pt x="0" y="6"/>
                  </a:cubicBezTo>
                  <a:cubicBezTo>
                    <a:pt x="0" y="7"/>
                    <a:pt x="0" y="7"/>
                    <a:pt x="0" y="8"/>
                  </a:cubicBezTo>
                  <a:cubicBezTo>
                    <a:pt x="1" y="7"/>
                    <a:pt x="1" y="7"/>
                    <a:pt x="1" y="7"/>
                  </a:cubicBezTo>
                  <a:cubicBezTo>
                    <a:pt x="2" y="6"/>
                    <a:pt x="3" y="4"/>
                    <a:pt x="3" y="2"/>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122"/>
            <p:cNvSpPr/>
            <p:nvPr/>
          </p:nvSpPr>
          <p:spPr bwMode="auto">
            <a:xfrm>
              <a:off x="5428405" y="4363938"/>
              <a:ext cx="6712" cy="6712"/>
            </a:xfrm>
            <a:custGeom>
              <a:gdLst>
                <a:gd name="T0" fmla="*/ 2 w 2"/>
                <a:gd name="T1" fmla="*/ 0 h 2"/>
                <a:gd name="T2" fmla="*/ 1 w 2"/>
                <a:gd name="T3" fmla="*/ 0 h 2"/>
                <a:gd name="T4" fmla="*/ 0 w 2"/>
                <a:gd name="T5" fmla="*/ 2 h 2"/>
                <a:gd name="T6" fmla="*/ 1 w 2"/>
                <a:gd name="T7" fmla="*/ 0 h 2"/>
                <a:gd name="T8" fmla="*/ 2 w 2"/>
                <a:gd name="T9" fmla="*/ 0 h 2"/>
              </a:gdLst>
              <a:cxnLst>
                <a:cxn ang="0">
                  <a:pos x="T0" y="T1"/>
                </a:cxn>
                <a:cxn ang="0">
                  <a:pos x="T2" y="T3"/>
                </a:cxn>
                <a:cxn ang="0">
                  <a:pos x="T4" y="T5"/>
                </a:cxn>
                <a:cxn ang="0">
                  <a:pos x="T6" y="T7"/>
                </a:cxn>
                <a:cxn ang="0">
                  <a:pos x="T8" y="T9"/>
                </a:cxn>
              </a:cxnLst>
              <a:rect l="0" t="0" r="r" b="b"/>
              <a:pathLst>
                <a:path w="2" h="2">
                  <a:moveTo>
                    <a:pt x="2" y="0"/>
                  </a:moveTo>
                  <a:cubicBezTo>
                    <a:pt x="1" y="0"/>
                    <a:pt x="1" y="0"/>
                    <a:pt x="1" y="0"/>
                  </a:cubicBezTo>
                  <a:cubicBezTo>
                    <a:pt x="1" y="1"/>
                    <a:pt x="0" y="1"/>
                    <a:pt x="0" y="2"/>
                  </a:cubicBezTo>
                  <a:cubicBezTo>
                    <a:pt x="0" y="2"/>
                    <a:pt x="1" y="1"/>
                    <a:pt x="1"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123"/>
            <p:cNvSpPr/>
            <p:nvPr/>
          </p:nvSpPr>
          <p:spPr bwMode="auto">
            <a:xfrm>
              <a:off x="7890249" y="5973400"/>
              <a:ext cx="18793" cy="12081"/>
            </a:xfrm>
            <a:custGeom>
              <a:gdLst>
                <a:gd name="T0" fmla="*/ 4 w 6"/>
                <a:gd name="T1" fmla="*/ 0 h 4"/>
                <a:gd name="T2" fmla="*/ 1 w 6"/>
                <a:gd name="T3" fmla="*/ 4 h 4"/>
                <a:gd name="T4" fmla="*/ 3 w 6"/>
                <a:gd name="T5" fmla="*/ 4 h 4"/>
                <a:gd name="T6" fmla="*/ 4 w 6"/>
                <a:gd name="T7" fmla="*/ 4 h 4"/>
                <a:gd name="T8" fmla="*/ 4 w 6"/>
                <a:gd name="T9" fmla="*/ 4 h 4"/>
                <a:gd name="T10" fmla="*/ 4 w 6"/>
                <a:gd name="T11" fmla="*/ 0 h 4"/>
                <a:gd name="T12" fmla="*/ 4 w 6"/>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0" y="3"/>
                    <a:pt x="1" y="4"/>
                  </a:cubicBezTo>
                  <a:cubicBezTo>
                    <a:pt x="2" y="4"/>
                    <a:pt x="2" y="4"/>
                    <a:pt x="3" y="4"/>
                  </a:cubicBezTo>
                  <a:cubicBezTo>
                    <a:pt x="3" y="4"/>
                    <a:pt x="3" y="4"/>
                    <a:pt x="4" y="4"/>
                  </a:cubicBezTo>
                  <a:cubicBezTo>
                    <a:pt x="4" y="4"/>
                    <a:pt x="4" y="4"/>
                    <a:pt x="4" y="4"/>
                  </a:cubicBezTo>
                  <a:cubicBezTo>
                    <a:pt x="5" y="3"/>
                    <a:pt x="6"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124"/>
            <p:cNvSpPr>
              <a:spLocks noEditPoints="1"/>
            </p:cNvSpPr>
            <p:nvPr/>
          </p:nvSpPr>
          <p:spPr bwMode="auto">
            <a:xfrm>
              <a:off x="7909042" y="5934472"/>
              <a:ext cx="6712" cy="4027"/>
            </a:xfrm>
            <a:custGeom>
              <a:gdLst>
                <a:gd name="T0" fmla="*/ 1 w 2"/>
                <a:gd name="T1" fmla="*/ 1 h 1"/>
                <a:gd name="T2" fmla="*/ 0 w 2"/>
                <a:gd name="T3" fmla="*/ 1 h 1"/>
                <a:gd name="T4" fmla="*/ 1 w 2"/>
                <a:gd name="T5" fmla="*/ 1 h 1"/>
                <a:gd name="T6" fmla="*/ 2 w 2"/>
                <a:gd name="T7" fmla="*/ 0 h 1"/>
                <a:gd name="T8" fmla="*/ 1 w 2"/>
                <a:gd name="T9" fmla="*/ 1 h 1"/>
                <a:gd name="T10" fmla="*/ 2 w 2"/>
                <a:gd name="T11" fmla="*/ 0 h 1"/>
                <a:gd name="T12" fmla="*/ 2 w 2"/>
                <a:gd name="T13" fmla="*/ 0 h 1"/>
              </a:gd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0" y="1"/>
                    <a:pt x="0" y="1"/>
                    <a:pt x="0" y="1"/>
                  </a:cubicBezTo>
                  <a:cubicBezTo>
                    <a:pt x="0" y="1"/>
                    <a:pt x="0" y="1"/>
                    <a:pt x="1" y="1"/>
                  </a:cubicBezTo>
                  <a:moveTo>
                    <a:pt x="2" y="0"/>
                  </a:moveTo>
                  <a:cubicBezTo>
                    <a:pt x="1" y="0"/>
                    <a:pt x="1" y="1"/>
                    <a:pt x="1" y="1"/>
                  </a:cubicBezTo>
                  <a:cubicBezTo>
                    <a:pt x="1" y="1"/>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125"/>
            <p:cNvSpPr/>
            <p:nvPr/>
          </p:nvSpPr>
          <p:spPr bwMode="auto">
            <a:xfrm>
              <a:off x="7868772" y="6087499"/>
              <a:ext cx="12081" cy="9396"/>
            </a:xfrm>
            <a:custGeom>
              <a:gdLst>
                <a:gd name="T0" fmla="*/ 2 w 4"/>
                <a:gd name="T1" fmla="*/ 0 h 3"/>
                <a:gd name="T2" fmla="*/ 1 w 4"/>
                <a:gd name="T3" fmla="*/ 0 h 3"/>
                <a:gd name="T4" fmla="*/ 0 w 4"/>
                <a:gd name="T5" fmla="*/ 0 h 3"/>
                <a:gd name="T6" fmla="*/ 1 w 4"/>
                <a:gd name="T7" fmla="*/ 0 h 3"/>
                <a:gd name="T8" fmla="*/ 3 w 4"/>
                <a:gd name="T9" fmla="*/ 3 h 3"/>
                <a:gd name="T10" fmla="*/ 2 w 4"/>
                <a:gd name="T11" fmla="*/ 0 h 3"/>
              </a:gdLst>
              <a:cxnLst>
                <a:cxn ang="0">
                  <a:pos x="T0" y="T1"/>
                </a:cxn>
                <a:cxn ang="0">
                  <a:pos x="T2" y="T3"/>
                </a:cxn>
                <a:cxn ang="0">
                  <a:pos x="T4" y="T5"/>
                </a:cxn>
                <a:cxn ang="0">
                  <a:pos x="T6" y="T7"/>
                </a:cxn>
                <a:cxn ang="0">
                  <a:pos x="T8" y="T9"/>
                </a:cxn>
                <a:cxn ang="0">
                  <a:pos x="T10" y="T11"/>
                </a:cxn>
              </a:cxnLst>
              <a:rect l="0" t="0" r="r" b="b"/>
              <a:pathLst>
                <a:path w="4" h="3">
                  <a:moveTo>
                    <a:pt x="2" y="0"/>
                  </a:moveTo>
                  <a:cubicBezTo>
                    <a:pt x="2" y="0"/>
                    <a:pt x="1" y="0"/>
                    <a:pt x="1" y="0"/>
                  </a:cubicBezTo>
                  <a:cubicBezTo>
                    <a:pt x="0" y="0"/>
                    <a:pt x="0" y="0"/>
                    <a:pt x="0" y="0"/>
                  </a:cubicBezTo>
                  <a:cubicBezTo>
                    <a:pt x="1" y="0"/>
                    <a:pt x="1" y="0"/>
                    <a:pt x="1" y="0"/>
                  </a:cubicBezTo>
                  <a:cubicBezTo>
                    <a:pt x="1" y="1"/>
                    <a:pt x="2" y="2"/>
                    <a:pt x="3" y="3"/>
                  </a:cubicBezTo>
                  <a:cubicBezTo>
                    <a:pt x="4"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126"/>
            <p:cNvSpPr/>
            <p:nvPr/>
          </p:nvSpPr>
          <p:spPr bwMode="auto">
            <a:xfrm>
              <a:off x="7947969" y="6159985"/>
              <a:ext cx="25504" cy="18793"/>
            </a:xfrm>
            <a:custGeom>
              <a:gdLst>
                <a:gd name="T0" fmla="*/ 0 w 8"/>
                <a:gd name="T1" fmla="*/ 0 h 6"/>
                <a:gd name="T2" fmla="*/ 0 w 8"/>
                <a:gd name="T3" fmla="*/ 2 h 6"/>
                <a:gd name="T4" fmla="*/ 0 w 8"/>
                <a:gd name="T5" fmla="*/ 3 h 6"/>
                <a:gd name="T6" fmla="*/ 8 w 8"/>
                <a:gd name="T7" fmla="*/ 6 h 6"/>
                <a:gd name="T8" fmla="*/ 4 w 8"/>
                <a:gd name="T9" fmla="*/ 2 h 6"/>
                <a:gd name="T10" fmla="*/ 4 w 8"/>
                <a:gd name="T11" fmla="*/ 2 h 6"/>
                <a:gd name="T12" fmla="*/ 3 w 8"/>
                <a:gd name="T13" fmla="*/ 2 h 6"/>
                <a:gd name="T14" fmla="*/ 3 w 8"/>
                <a:gd name="T15" fmla="*/ 2 h 6"/>
                <a:gd name="T16" fmla="*/ 2 w 8"/>
                <a:gd name="T17" fmla="*/ 1 h 6"/>
                <a:gd name="T18" fmla="*/ 0 w 8"/>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0" y="0"/>
                  </a:moveTo>
                  <a:cubicBezTo>
                    <a:pt x="0" y="0"/>
                    <a:pt x="0" y="0"/>
                    <a:pt x="0" y="2"/>
                  </a:cubicBezTo>
                  <a:cubicBezTo>
                    <a:pt x="0" y="3"/>
                    <a:pt x="0" y="3"/>
                    <a:pt x="0" y="3"/>
                  </a:cubicBezTo>
                  <a:cubicBezTo>
                    <a:pt x="1" y="6"/>
                    <a:pt x="5" y="6"/>
                    <a:pt x="8" y="6"/>
                  </a:cubicBezTo>
                  <a:cubicBezTo>
                    <a:pt x="7" y="5"/>
                    <a:pt x="5" y="3"/>
                    <a:pt x="4" y="2"/>
                  </a:cubicBezTo>
                  <a:cubicBezTo>
                    <a:pt x="4" y="2"/>
                    <a:pt x="4" y="2"/>
                    <a:pt x="4" y="2"/>
                  </a:cubicBezTo>
                  <a:cubicBezTo>
                    <a:pt x="3" y="2"/>
                    <a:pt x="3" y="2"/>
                    <a:pt x="3" y="2"/>
                  </a:cubicBezTo>
                  <a:cubicBezTo>
                    <a:pt x="3" y="2"/>
                    <a:pt x="3" y="2"/>
                    <a:pt x="3" y="2"/>
                  </a:cubicBezTo>
                  <a:cubicBezTo>
                    <a:pt x="2" y="1"/>
                    <a:pt x="2"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127"/>
            <p:cNvSpPr/>
            <p:nvPr/>
          </p:nvSpPr>
          <p:spPr bwMode="auto">
            <a:xfrm>
              <a:off x="7827159" y="6010986"/>
              <a:ext cx="53693" cy="76513"/>
            </a:xfrm>
            <a:custGeom>
              <a:gdLst>
                <a:gd name="T0" fmla="*/ 1 w 17"/>
                <a:gd name="T1" fmla="*/ 0 h 24"/>
                <a:gd name="T2" fmla="*/ 0 w 17"/>
                <a:gd name="T3" fmla="*/ 4 h 24"/>
                <a:gd name="T4" fmla="*/ 0 w 17"/>
                <a:gd name="T5" fmla="*/ 6 h 24"/>
                <a:gd name="T6" fmla="*/ 2 w 17"/>
                <a:gd name="T7" fmla="*/ 10 h 24"/>
                <a:gd name="T8" fmla="*/ 3 w 17"/>
                <a:gd name="T9" fmla="*/ 17 h 24"/>
                <a:gd name="T10" fmla="*/ 6 w 17"/>
                <a:gd name="T11" fmla="*/ 24 h 24"/>
                <a:gd name="T12" fmla="*/ 11 w 17"/>
                <a:gd name="T13" fmla="*/ 23 h 24"/>
                <a:gd name="T14" fmla="*/ 11 w 17"/>
                <a:gd name="T15" fmla="*/ 23 h 24"/>
                <a:gd name="T16" fmla="*/ 12 w 17"/>
                <a:gd name="T17" fmla="*/ 23 h 24"/>
                <a:gd name="T18" fmla="*/ 13 w 17"/>
                <a:gd name="T19" fmla="*/ 23 h 24"/>
                <a:gd name="T20" fmla="*/ 13 w 17"/>
                <a:gd name="T21" fmla="*/ 23 h 24"/>
                <a:gd name="T22" fmla="*/ 16 w 17"/>
                <a:gd name="T23" fmla="*/ 21 h 24"/>
                <a:gd name="T24" fmla="*/ 17 w 17"/>
                <a:gd name="T25" fmla="*/ 21 h 24"/>
                <a:gd name="T26" fmla="*/ 17 w 17"/>
                <a:gd name="T27" fmla="*/ 21 h 24"/>
                <a:gd name="T28" fmla="*/ 17 w 17"/>
                <a:gd name="T29" fmla="*/ 21 h 24"/>
                <a:gd name="T30" fmla="*/ 14 w 17"/>
                <a:gd name="T31" fmla="*/ 12 h 24"/>
                <a:gd name="T32" fmla="*/ 13 w 17"/>
                <a:gd name="T33" fmla="*/ 7 h 24"/>
                <a:gd name="T34" fmla="*/ 12 w 17"/>
                <a:gd name="T35" fmla="*/ 7 h 24"/>
                <a:gd name="T36" fmla="*/ 10 w 17"/>
                <a:gd name="T37" fmla="*/ 12 h 24"/>
                <a:gd name="T38" fmla="*/ 8 w 17"/>
                <a:gd name="T39" fmla="*/ 13 h 24"/>
                <a:gd name="T40" fmla="*/ 6 w 17"/>
                <a:gd name="T41" fmla="*/ 11 h 24"/>
                <a:gd name="T42" fmla="*/ 6 w 17"/>
                <a:gd name="T43" fmla="*/ 6 h 24"/>
                <a:gd name="T44" fmla="*/ 4 w 17"/>
                <a:gd name="T45" fmla="*/ 4 h 24"/>
                <a:gd name="T46" fmla="*/ 4 w 17"/>
                <a:gd name="T47" fmla="*/ 3 h 24"/>
                <a:gd name="T48" fmla="*/ 1 w 17"/>
                <a:gd name="T49"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24">
                  <a:moveTo>
                    <a:pt x="1" y="0"/>
                  </a:moveTo>
                  <a:cubicBezTo>
                    <a:pt x="1" y="0"/>
                    <a:pt x="0" y="1"/>
                    <a:pt x="0" y="4"/>
                  </a:cubicBezTo>
                  <a:cubicBezTo>
                    <a:pt x="0" y="4"/>
                    <a:pt x="0" y="5"/>
                    <a:pt x="0" y="6"/>
                  </a:cubicBezTo>
                  <a:cubicBezTo>
                    <a:pt x="1" y="7"/>
                    <a:pt x="1" y="9"/>
                    <a:pt x="2" y="10"/>
                  </a:cubicBezTo>
                  <a:cubicBezTo>
                    <a:pt x="3" y="13"/>
                    <a:pt x="3" y="14"/>
                    <a:pt x="3" y="17"/>
                  </a:cubicBezTo>
                  <a:cubicBezTo>
                    <a:pt x="3" y="19"/>
                    <a:pt x="6" y="22"/>
                    <a:pt x="6" y="24"/>
                  </a:cubicBezTo>
                  <a:cubicBezTo>
                    <a:pt x="7" y="24"/>
                    <a:pt x="9" y="23"/>
                    <a:pt x="11" y="23"/>
                  </a:cubicBezTo>
                  <a:cubicBezTo>
                    <a:pt x="11" y="23"/>
                    <a:pt x="11" y="23"/>
                    <a:pt x="11" y="23"/>
                  </a:cubicBezTo>
                  <a:cubicBezTo>
                    <a:pt x="11" y="23"/>
                    <a:pt x="12" y="23"/>
                    <a:pt x="12" y="23"/>
                  </a:cubicBezTo>
                  <a:cubicBezTo>
                    <a:pt x="12" y="23"/>
                    <a:pt x="12" y="23"/>
                    <a:pt x="13" y="23"/>
                  </a:cubicBezTo>
                  <a:cubicBezTo>
                    <a:pt x="13" y="23"/>
                    <a:pt x="13" y="23"/>
                    <a:pt x="13" y="23"/>
                  </a:cubicBezTo>
                  <a:cubicBezTo>
                    <a:pt x="14" y="23"/>
                    <a:pt x="15" y="21"/>
                    <a:pt x="16" y="21"/>
                  </a:cubicBezTo>
                  <a:cubicBezTo>
                    <a:pt x="16" y="21"/>
                    <a:pt x="16" y="21"/>
                    <a:pt x="17" y="21"/>
                  </a:cubicBezTo>
                  <a:cubicBezTo>
                    <a:pt x="17" y="21"/>
                    <a:pt x="17" y="21"/>
                    <a:pt x="17" y="21"/>
                  </a:cubicBezTo>
                  <a:cubicBezTo>
                    <a:pt x="17" y="21"/>
                    <a:pt x="17" y="21"/>
                    <a:pt x="17" y="21"/>
                  </a:cubicBezTo>
                  <a:cubicBezTo>
                    <a:pt x="16" y="18"/>
                    <a:pt x="15" y="15"/>
                    <a:pt x="14" y="12"/>
                  </a:cubicBezTo>
                  <a:cubicBezTo>
                    <a:pt x="13" y="10"/>
                    <a:pt x="12" y="8"/>
                    <a:pt x="13" y="7"/>
                  </a:cubicBezTo>
                  <a:cubicBezTo>
                    <a:pt x="13" y="7"/>
                    <a:pt x="12" y="7"/>
                    <a:pt x="12" y="7"/>
                  </a:cubicBezTo>
                  <a:cubicBezTo>
                    <a:pt x="10" y="7"/>
                    <a:pt x="11" y="11"/>
                    <a:pt x="10" y="12"/>
                  </a:cubicBezTo>
                  <a:cubicBezTo>
                    <a:pt x="9" y="13"/>
                    <a:pt x="9" y="13"/>
                    <a:pt x="8" y="13"/>
                  </a:cubicBezTo>
                  <a:cubicBezTo>
                    <a:pt x="7" y="13"/>
                    <a:pt x="7" y="11"/>
                    <a:pt x="6" y="11"/>
                  </a:cubicBezTo>
                  <a:cubicBezTo>
                    <a:pt x="6" y="9"/>
                    <a:pt x="6" y="8"/>
                    <a:pt x="6" y="6"/>
                  </a:cubicBezTo>
                  <a:cubicBezTo>
                    <a:pt x="5" y="5"/>
                    <a:pt x="5" y="4"/>
                    <a:pt x="4" y="4"/>
                  </a:cubicBezTo>
                  <a:cubicBezTo>
                    <a:pt x="4" y="3"/>
                    <a:pt x="4" y="3"/>
                    <a:pt x="4"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128"/>
            <p:cNvSpPr/>
            <p:nvPr/>
          </p:nvSpPr>
          <p:spPr bwMode="auto">
            <a:xfrm>
              <a:off x="7871456" y="6106291"/>
              <a:ext cx="53693" cy="53693"/>
            </a:xfrm>
            <a:custGeom>
              <a:gdLst>
                <a:gd name="T0" fmla="*/ 3 w 17"/>
                <a:gd name="T1" fmla="*/ 0 h 17"/>
                <a:gd name="T2" fmla="*/ 2 w 17"/>
                <a:gd name="T3" fmla="*/ 2 h 17"/>
                <a:gd name="T4" fmla="*/ 3 w 17"/>
                <a:gd name="T5" fmla="*/ 6 h 17"/>
                <a:gd name="T6" fmla="*/ 3 w 17"/>
                <a:gd name="T7" fmla="*/ 7 h 17"/>
                <a:gd name="T8" fmla="*/ 4 w 17"/>
                <a:gd name="T9" fmla="*/ 6 h 17"/>
                <a:gd name="T10" fmla="*/ 5 w 17"/>
                <a:gd name="T11" fmla="*/ 6 h 17"/>
                <a:gd name="T12" fmla="*/ 6 w 17"/>
                <a:gd name="T13" fmla="*/ 7 h 17"/>
                <a:gd name="T14" fmla="*/ 6 w 17"/>
                <a:gd name="T15" fmla="*/ 10 h 17"/>
                <a:gd name="T16" fmla="*/ 9 w 17"/>
                <a:gd name="T17" fmla="*/ 17 h 17"/>
                <a:gd name="T18" fmla="*/ 14 w 17"/>
                <a:gd name="T19" fmla="*/ 15 h 17"/>
                <a:gd name="T20" fmla="*/ 17 w 17"/>
                <a:gd name="T21" fmla="*/ 13 h 17"/>
                <a:gd name="T22" fmla="*/ 16 w 17"/>
                <a:gd name="T23" fmla="*/ 13 h 17"/>
                <a:gd name="T24" fmla="*/ 12 w 17"/>
                <a:gd name="T25" fmla="*/ 9 h 17"/>
                <a:gd name="T26" fmla="*/ 8 w 17"/>
                <a:gd name="T27" fmla="*/ 5 h 17"/>
                <a:gd name="T28" fmla="*/ 8 w 17"/>
                <a:gd name="T29" fmla="*/ 6 h 17"/>
                <a:gd name="T30" fmla="*/ 5 w 17"/>
                <a:gd name="T31" fmla="*/ 1 h 17"/>
                <a:gd name="T32" fmla="*/ 3 w 17"/>
                <a:gd name="T3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3" y="0"/>
                  </a:moveTo>
                  <a:cubicBezTo>
                    <a:pt x="2" y="0"/>
                    <a:pt x="2" y="1"/>
                    <a:pt x="2" y="2"/>
                  </a:cubicBezTo>
                  <a:cubicBezTo>
                    <a:pt x="1" y="4"/>
                    <a:pt x="0" y="6"/>
                    <a:pt x="3" y="6"/>
                  </a:cubicBezTo>
                  <a:cubicBezTo>
                    <a:pt x="3" y="7"/>
                    <a:pt x="3" y="7"/>
                    <a:pt x="3" y="7"/>
                  </a:cubicBezTo>
                  <a:cubicBezTo>
                    <a:pt x="4" y="7"/>
                    <a:pt x="4" y="6"/>
                    <a:pt x="4" y="6"/>
                  </a:cubicBezTo>
                  <a:cubicBezTo>
                    <a:pt x="4" y="6"/>
                    <a:pt x="5" y="6"/>
                    <a:pt x="5" y="6"/>
                  </a:cubicBezTo>
                  <a:cubicBezTo>
                    <a:pt x="5" y="6"/>
                    <a:pt x="5" y="6"/>
                    <a:pt x="6" y="7"/>
                  </a:cubicBezTo>
                  <a:cubicBezTo>
                    <a:pt x="6" y="8"/>
                    <a:pt x="6" y="9"/>
                    <a:pt x="6" y="10"/>
                  </a:cubicBezTo>
                  <a:cubicBezTo>
                    <a:pt x="7" y="12"/>
                    <a:pt x="7" y="16"/>
                    <a:pt x="9" y="17"/>
                  </a:cubicBezTo>
                  <a:cubicBezTo>
                    <a:pt x="10" y="16"/>
                    <a:pt x="12" y="16"/>
                    <a:pt x="14" y="15"/>
                  </a:cubicBezTo>
                  <a:cubicBezTo>
                    <a:pt x="15" y="14"/>
                    <a:pt x="16" y="14"/>
                    <a:pt x="17" y="13"/>
                  </a:cubicBezTo>
                  <a:cubicBezTo>
                    <a:pt x="16" y="13"/>
                    <a:pt x="16" y="13"/>
                    <a:pt x="16" y="13"/>
                  </a:cubicBezTo>
                  <a:cubicBezTo>
                    <a:pt x="16" y="11"/>
                    <a:pt x="14" y="10"/>
                    <a:pt x="12" y="9"/>
                  </a:cubicBezTo>
                  <a:cubicBezTo>
                    <a:pt x="11" y="8"/>
                    <a:pt x="9" y="7"/>
                    <a:pt x="8" y="5"/>
                  </a:cubicBezTo>
                  <a:cubicBezTo>
                    <a:pt x="8" y="6"/>
                    <a:pt x="8" y="6"/>
                    <a:pt x="8" y="6"/>
                  </a:cubicBezTo>
                  <a:cubicBezTo>
                    <a:pt x="7" y="5"/>
                    <a:pt x="6" y="3"/>
                    <a:pt x="5"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129"/>
            <p:cNvSpPr/>
            <p:nvPr/>
          </p:nvSpPr>
          <p:spPr bwMode="auto">
            <a:xfrm>
              <a:off x="7896961" y="5941184"/>
              <a:ext cx="9396" cy="16108"/>
            </a:xfrm>
            <a:custGeom>
              <a:gdLst>
                <a:gd name="T0" fmla="*/ 1 w 3"/>
                <a:gd name="T1" fmla="*/ 0 h 5"/>
                <a:gd name="T2" fmla="*/ 0 w 3"/>
                <a:gd name="T3" fmla="*/ 2 h 5"/>
                <a:gd name="T4" fmla="*/ 0 w 3"/>
                <a:gd name="T5" fmla="*/ 5 h 5"/>
                <a:gd name="T6" fmla="*/ 2 w 3"/>
                <a:gd name="T7" fmla="*/ 2 h 5"/>
                <a:gd name="T8" fmla="*/ 1 w 3"/>
                <a:gd name="T9" fmla="*/ 0 h 5"/>
              </a:gdLst>
              <a:cxnLst>
                <a:cxn ang="0">
                  <a:pos x="T0" y="T1"/>
                </a:cxn>
                <a:cxn ang="0">
                  <a:pos x="T2" y="T3"/>
                </a:cxn>
                <a:cxn ang="0">
                  <a:pos x="T4" y="T5"/>
                </a:cxn>
                <a:cxn ang="0">
                  <a:pos x="T6" y="T7"/>
                </a:cxn>
                <a:cxn ang="0">
                  <a:pos x="T8" y="T9"/>
                </a:cxn>
              </a:cxnLst>
              <a:rect l="0" t="0" r="r" b="b"/>
              <a:pathLst>
                <a:path w="3" h="5">
                  <a:moveTo>
                    <a:pt x="1" y="0"/>
                  </a:moveTo>
                  <a:cubicBezTo>
                    <a:pt x="1" y="0"/>
                    <a:pt x="1" y="1"/>
                    <a:pt x="0" y="2"/>
                  </a:cubicBezTo>
                  <a:cubicBezTo>
                    <a:pt x="0" y="3"/>
                    <a:pt x="0" y="4"/>
                    <a:pt x="0" y="5"/>
                  </a:cubicBezTo>
                  <a:cubicBezTo>
                    <a:pt x="2" y="4"/>
                    <a:pt x="3" y="3"/>
                    <a:pt x="2" y="2"/>
                  </a:cubicBezTo>
                  <a:cubicBezTo>
                    <a:pt x="2"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130"/>
            <p:cNvSpPr/>
            <p:nvPr/>
          </p:nvSpPr>
          <p:spPr bwMode="auto">
            <a:xfrm>
              <a:off x="7913069" y="6061994"/>
              <a:ext cx="25504" cy="12081"/>
            </a:xfrm>
            <a:custGeom>
              <a:gdLst>
                <a:gd name="T0" fmla="*/ 7 w 8"/>
                <a:gd name="T1" fmla="*/ 0 h 4"/>
                <a:gd name="T2" fmla="*/ 2 w 8"/>
                <a:gd name="T3" fmla="*/ 2 h 4"/>
                <a:gd name="T4" fmla="*/ 0 w 8"/>
                <a:gd name="T5" fmla="*/ 3 h 4"/>
                <a:gd name="T6" fmla="*/ 3 w 8"/>
                <a:gd name="T7" fmla="*/ 4 h 4"/>
                <a:gd name="T8" fmla="*/ 3 w 8"/>
                <a:gd name="T9" fmla="*/ 4 h 4"/>
                <a:gd name="T10" fmla="*/ 4 w 8"/>
                <a:gd name="T11" fmla="*/ 4 h 4"/>
                <a:gd name="T12" fmla="*/ 8 w 8"/>
                <a:gd name="T13" fmla="*/ 0 h 4"/>
                <a:gd name="T14" fmla="*/ 8 w 8"/>
                <a:gd name="T15" fmla="*/ 0 h 4"/>
                <a:gd name="T16" fmla="*/ 7 w 8"/>
                <a:gd name="T1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7" y="0"/>
                  </a:moveTo>
                  <a:cubicBezTo>
                    <a:pt x="4" y="0"/>
                    <a:pt x="3" y="0"/>
                    <a:pt x="2" y="2"/>
                  </a:cubicBezTo>
                  <a:cubicBezTo>
                    <a:pt x="1" y="2"/>
                    <a:pt x="1" y="2"/>
                    <a:pt x="0" y="3"/>
                  </a:cubicBezTo>
                  <a:cubicBezTo>
                    <a:pt x="1" y="3"/>
                    <a:pt x="2" y="4"/>
                    <a:pt x="3" y="4"/>
                  </a:cubicBezTo>
                  <a:cubicBezTo>
                    <a:pt x="3" y="4"/>
                    <a:pt x="3" y="4"/>
                    <a:pt x="3" y="4"/>
                  </a:cubicBezTo>
                  <a:cubicBezTo>
                    <a:pt x="4" y="4"/>
                    <a:pt x="4" y="4"/>
                    <a:pt x="4" y="4"/>
                  </a:cubicBezTo>
                  <a:cubicBezTo>
                    <a:pt x="6" y="3"/>
                    <a:pt x="6" y="1"/>
                    <a:pt x="8" y="0"/>
                  </a:cubicBezTo>
                  <a:cubicBezTo>
                    <a:pt x="8" y="0"/>
                    <a:pt x="8" y="0"/>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131"/>
            <p:cNvSpPr/>
            <p:nvPr/>
          </p:nvSpPr>
          <p:spPr bwMode="auto">
            <a:xfrm>
              <a:off x="7947969" y="6033805"/>
              <a:ext cx="2685" cy="34901"/>
            </a:xfrm>
            <a:custGeom>
              <a:gdLst>
                <a:gd name="T0" fmla="*/ 0 w 1"/>
                <a:gd name="T1" fmla="*/ 0 h 11"/>
                <a:gd name="T2" fmla="*/ 0 w 1"/>
                <a:gd name="T3" fmla="*/ 2 h 11"/>
                <a:gd name="T4" fmla="*/ 0 w 1"/>
                <a:gd name="T5" fmla="*/ 8 h 11"/>
                <a:gd name="T6" fmla="*/ 0 w 1"/>
                <a:gd name="T7" fmla="*/ 11 h 11"/>
                <a:gd name="T8" fmla="*/ 1 w 1"/>
                <a:gd name="T9" fmla="*/ 8 h 11"/>
                <a:gd name="T10" fmla="*/ 1 w 1"/>
                <a:gd name="T11" fmla="*/ 2 h 11"/>
                <a:gd name="T12" fmla="*/ 0 w 1"/>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1" h="11">
                  <a:moveTo>
                    <a:pt x="0" y="0"/>
                  </a:moveTo>
                  <a:cubicBezTo>
                    <a:pt x="0" y="0"/>
                    <a:pt x="0" y="1"/>
                    <a:pt x="0" y="2"/>
                  </a:cubicBezTo>
                  <a:cubicBezTo>
                    <a:pt x="0" y="4"/>
                    <a:pt x="0" y="6"/>
                    <a:pt x="0" y="8"/>
                  </a:cubicBezTo>
                  <a:cubicBezTo>
                    <a:pt x="0" y="9"/>
                    <a:pt x="0" y="10"/>
                    <a:pt x="0" y="11"/>
                  </a:cubicBezTo>
                  <a:cubicBezTo>
                    <a:pt x="1" y="10"/>
                    <a:pt x="1" y="9"/>
                    <a:pt x="1" y="8"/>
                  </a:cubicBezTo>
                  <a:cubicBezTo>
                    <a:pt x="1" y="6"/>
                    <a:pt x="1" y="4"/>
                    <a:pt x="1" y="2"/>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132"/>
            <p:cNvSpPr/>
            <p:nvPr/>
          </p:nvSpPr>
          <p:spPr bwMode="auto">
            <a:xfrm>
              <a:off x="7950654" y="6078102"/>
              <a:ext cx="6712" cy="37585"/>
            </a:xfrm>
            <a:custGeom>
              <a:gdLst>
                <a:gd name="T0" fmla="*/ 0 w 2"/>
                <a:gd name="T1" fmla="*/ 0 h 12"/>
                <a:gd name="T2" fmla="*/ 0 w 2"/>
                <a:gd name="T3" fmla="*/ 3 h 12"/>
                <a:gd name="T4" fmla="*/ 0 w 2"/>
                <a:gd name="T5" fmla="*/ 5 h 12"/>
                <a:gd name="T6" fmla="*/ 0 w 2"/>
                <a:gd name="T7" fmla="*/ 6 h 12"/>
                <a:gd name="T8" fmla="*/ 1 w 2"/>
                <a:gd name="T9" fmla="*/ 12 h 12"/>
                <a:gd name="T10" fmla="*/ 2 w 2"/>
                <a:gd name="T11" fmla="*/ 7 h 12"/>
                <a:gd name="T12" fmla="*/ 1 w 2"/>
                <a:gd name="T13" fmla="*/ 3 h 12"/>
                <a:gd name="T14" fmla="*/ 2 w 2"/>
                <a:gd name="T15" fmla="*/ 3 h 12"/>
                <a:gd name="T16" fmla="*/ 1 w 2"/>
                <a:gd name="T17" fmla="*/ 3 h 12"/>
                <a:gd name="T18" fmla="*/ 0 w 2"/>
                <a:gd name="T19"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2">
                  <a:moveTo>
                    <a:pt x="0" y="0"/>
                  </a:moveTo>
                  <a:cubicBezTo>
                    <a:pt x="0" y="1"/>
                    <a:pt x="0" y="2"/>
                    <a:pt x="0" y="3"/>
                  </a:cubicBezTo>
                  <a:cubicBezTo>
                    <a:pt x="0" y="3"/>
                    <a:pt x="0" y="4"/>
                    <a:pt x="0" y="5"/>
                  </a:cubicBezTo>
                  <a:cubicBezTo>
                    <a:pt x="0" y="5"/>
                    <a:pt x="0" y="6"/>
                    <a:pt x="0" y="6"/>
                  </a:cubicBezTo>
                  <a:cubicBezTo>
                    <a:pt x="0" y="8"/>
                    <a:pt x="1" y="10"/>
                    <a:pt x="1" y="12"/>
                  </a:cubicBezTo>
                  <a:cubicBezTo>
                    <a:pt x="2" y="11"/>
                    <a:pt x="2" y="9"/>
                    <a:pt x="2" y="7"/>
                  </a:cubicBezTo>
                  <a:cubicBezTo>
                    <a:pt x="2" y="6"/>
                    <a:pt x="1" y="4"/>
                    <a:pt x="1" y="3"/>
                  </a:cubicBezTo>
                  <a:cubicBezTo>
                    <a:pt x="2" y="3"/>
                    <a:pt x="2" y="3"/>
                    <a:pt x="2" y="3"/>
                  </a:cubicBezTo>
                  <a:cubicBezTo>
                    <a:pt x="1" y="3"/>
                    <a:pt x="1" y="3"/>
                    <a:pt x="1" y="3"/>
                  </a:cubicBezTo>
                  <a:cubicBezTo>
                    <a:pt x="1" y="2"/>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133"/>
            <p:cNvSpPr/>
            <p:nvPr/>
          </p:nvSpPr>
          <p:spPr bwMode="auto">
            <a:xfrm>
              <a:off x="7931861" y="6122399"/>
              <a:ext cx="32216" cy="18793"/>
            </a:xfrm>
            <a:custGeom>
              <a:gdLst>
                <a:gd name="T0" fmla="*/ 6 w 10"/>
                <a:gd name="T1" fmla="*/ 0 h 6"/>
                <a:gd name="T2" fmla="*/ 4 w 10"/>
                <a:gd name="T3" fmla="*/ 2 h 6"/>
                <a:gd name="T4" fmla="*/ 2 w 10"/>
                <a:gd name="T5" fmla="*/ 2 h 6"/>
                <a:gd name="T6" fmla="*/ 1 w 10"/>
                <a:gd name="T7" fmla="*/ 2 h 6"/>
                <a:gd name="T8" fmla="*/ 1 w 10"/>
                <a:gd name="T9" fmla="*/ 3 h 6"/>
                <a:gd name="T10" fmla="*/ 1 w 10"/>
                <a:gd name="T11" fmla="*/ 4 h 6"/>
                <a:gd name="T12" fmla="*/ 1 w 10"/>
                <a:gd name="T13" fmla="*/ 5 h 6"/>
                <a:gd name="T14" fmla="*/ 1 w 10"/>
                <a:gd name="T15" fmla="*/ 6 h 6"/>
                <a:gd name="T16" fmla="*/ 2 w 10"/>
                <a:gd name="T17" fmla="*/ 5 h 6"/>
                <a:gd name="T18" fmla="*/ 5 w 10"/>
                <a:gd name="T19" fmla="*/ 6 h 6"/>
                <a:gd name="T20" fmla="*/ 8 w 10"/>
                <a:gd name="T21" fmla="*/ 4 h 6"/>
                <a:gd name="T22" fmla="*/ 8 w 10"/>
                <a:gd name="T23" fmla="*/ 3 h 6"/>
                <a:gd name="T24" fmla="*/ 7 w 10"/>
                <a:gd name="T25" fmla="*/ 2 h 6"/>
                <a:gd name="T26" fmla="*/ 6 w 10"/>
                <a:gd name="T2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6">
                  <a:moveTo>
                    <a:pt x="6" y="0"/>
                  </a:moveTo>
                  <a:cubicBezTo>
                    <a:pt x="5" y="0"/>
                    <a:pt x="5" y="1"/>
                    <a:pt x="4" y="2"/>
                  </a:cubicBezTo>
                  <a:cubicBezTo>
                    <a:pt x="3" y="2"/>
                    <a:pt x="3" y="2"/>
                    <a:pt x="2" y="2"/>
                  </a:cubicBezTo>
                  <a:cubicBezTo>
                    <a:pt x="1" y="2"/>
                    <a:pt x="1" y="2"/>
                    <a:pt x="1" y="2"/>
                  </a:cubicBezTo>
                  <a:cubicBezTo>
                    <a:pt x="1" y="3"/>
                    <a:pt x="1" y="3"/>
                    <a:pt x="1" y="3"/>
                  </a:cubicBezTo>
                  <a:cubicBezTo>
                    <a:pt x="0" y="3"/>
                    <a:pt x="0" y="3"/>
                    <a:pt x="1" y="4"/>
                  </a:cubicBezTo>
                  <a:cubicBezTo>
                    <a:pt x="1" y="5"/>
                    <a:pt x="1" y="5"/>
                    <a:pt x="1" y="5"/>
                  </a:cubicBezTo>
                  <a:cubicBezTo>
                    <a:pt x="1" y="6"/>
                    <a:pt x="1" y="6"/>
                    <a:pt x="1" y="6"/>
                  </a:cubicBezTo>
                  <a:cubicBezTo>
                    <a:pt x="2" y="5"/>
                    <a:pt x="2" y="5"/>
                    <a:pt x="2" y="5"/>
                  </a:cubicBezTo>
                  <a:cubicBezTo>
                    <a:pt x="3" y="6"/>
                    <a:pt x="4" y="6"/>
                    <a:pt x="5" y="6"/>
                  </a:cubicBezTo>
                  <a:cubicBezTo>
                    <a:pt x="10" y="5"/>
                    <a:pt x="9" y="5"/>
                    <a:pt x="8" y="4"/>
                  </a:cubicBezTo>
                  <a:cubicBezTo>
                    <a:pt x="8" y="3"/>
                    <a:pt x="8" y="3"/>
                    <a:pt x="8" y="3"/>
                  </a:cubicBezTo>
                  <a:cubicBezTo>
                    <a:pt x="7" y="2"/>
                    <a:pt x="7" y="2"/>
                    <a:pt x="7" y="2"/>
                  </a:cubicBezTo>
                  <a:cubicBezTo>
                    <a:pt x="6" y="1"/>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1134"/>
            <p:cNvSpPr/>
            <p:nvPr/>
          </p:nvSpPr>
          <p:spPr bwMode="auto">
            <a:xfrm>
              <a:off x="8011059" y="6315696"/>
              <a:ext cx="25504" cy="25504"/>
            </a:xfrm>
            <a:custGeom>
              <a:gdLst>
                <a:gd name="T0" fmla="*/ 2 w 8"/>
                <a:gd name="T1" fmla="*/ 0 h 8"/>
                <a:gd name="T2" fmla="*/ 0 w 8"/>
                <a:gd name="T3" fmla="*/ 5 h 8"/>
                <a:gd name="T4" fmla="*/ 8 w 8"/>
                <a:gd name="T5" fmla="*/ 8 h 8"/>
                <a:gd name="T6" fmla="*/ 7 w 8"/>
                <a:gd name="T7" fmla="*/ 5 h 8"/>
                <a:gd name="T8" fmla="*/ 4 w 8"/>
                <a:gd name="T9" fmla="*/ 1 h 8"/>
                <a:gd name="T10" fmla="*/ 2 w 8"/>
                <a:gd name="T11" fmla="*/ 0 h 8"/>
              </a:gdLst>
              <a:cxnLst>
                <a:cxn ang="0">
                  <a:pos x="T0" y="T1"/>
                </a:cxn>
                <a:cxn ang="0">
                  <a:pos x="T2" y="T3"/>
                </a:cxn>
                <a:cxn ang="0">
                  <a:pos x="T4" y="T5"/>
                </a:cxn>
                <a:cxn ang="0">
                  <a:pos x="T6" y="T7"/>
                </a:cxn>
                <a:cxn ang="0">
                  <a:pos x="T8" y="T9"/>
                </a:cxn>
                <a:cxn ang="0">
                  <a:pos x="T10" y="T11"/>
                </a:cxn>
              </a:cxnLst>
              <a:rect l="0" t="0" r="r" b="b"/>
              <a:pathLst>
                <a:path w="8" h="8">
                  <a:moveTo>
                    <a:pt x="2" y="0"/>
                  </a:moveTo>
                  <a:cubicBezTo>
                    <a:pt x="0" y="0"/>
                    <a:pt x="0" y="3"/>
                    <a:pt x="0" y="5"/>
                  </a:cubicBezTo>
                  <a:cubicBezTo>
                    <a:pt x="3" y="6"/>
                    <a:pt x="6" y="7"/>
                    <a:pt x="8" y="8"/>
                  </a:cubicBezTo>
                  <a:cubicBezTo>
                    <a:pt x="8" y="7"/>
                    <a:pt x="7" y="6"/>
                    <a:pt x="7" y="5"/>
                  </a:cubicBezTo>
                  <a:cubicBezTo>
                    <a:pt x="7" y="4"/>
                    <a:pt x="5" y="1"/>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135"/>
            <p:cNvSpPr/>
            <p:nvPr/>
          </p:nvSpPr>
          <p:spPr bwMode="auto">
            <a:xfrm>
              <a:off x="8064753" y="6436506"/>
              <a:ext cx="9396" cy="6712"/>
            </a:xfrm>
            <a:custGeom>
              <a:gdLst>
                <a:gd name="T0" fmla="*/ 1 w 3"/>
                <a:gd name="T1" fmla="*/ 0 h 2"/>
                <a:gd name="T2" fmla="*/ 3 w 3"/>
                <a:gd name="T3" fmla="*/ 2 h 2"/>
                <a:gd name="T4" fmla="*/ 1 w 3"/>
                <a:gd name="T5" fmla="*/ 0 h 2"/>
              </a:gdLst>
              <a:cxnLst>
                <a:cxn ang="0">
                  <a:pos x="T0" y="T1"/>
                </a:cxn>
                <a:cxn ang="0">
                  <a:pos x="T2" y="T3"/>
                </a:cxn>
                <a:cxn ang="0">
                  <a:pos x="T4" y="T5"/>
                </a:cxn>
              </a:cxnLst>
              <a:rect l="0" t="0" r="r" b="b"/>
              <a:pathLst>
                <a:path w="3" h="2">
                  <a:moveTo>
                    <a:pt x="1" y="0"/>
                  </a:moveTo>
                  <a:cubicBezTo>
                    <a:pt x="0" y="1"/>
                    <a:pt x="2" y="2"/>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136"/>
            <p:cNvSpPr/>
            <p:nvPr/>
          </p:nvSpPr>
          <p:spPr bwMode="auto">
            <a:xfrm>
              <a:off x="8027167" y="6373416"/>
              <a:ext cx="25504" cy="21477"/>
            </a:xfrm>
            <a:custGeom>
              <a:gdLst>
                <a:gd name="T0" fmla="*/ 1 w 8"/>
                <a:gd name="T1" fmla="*/ 0 h 7"/>
                <a:gd name="T2" fmla="*/ 1 w 8"/>
                <a:gd name="T3" fmla="*/ 4 h 7"/>
                <a:gd name="T4" fmla="*/ 5 w 8"/>
                <a:gd name="T5" fmla="*/ 7 h 7"/>
                <a:gd name="T6" fmla="*/ 1 w 8"/>
                <a:gd name="T7" fmla="*/ 0 h 7"/>
              </a:gdLst>
              <a:cxnLst>
                <a:cxn ang="0">
                  <a:pos x="T0" y="T1"/>
                </a:cxn>
                <a:cxn ang="0">
                  <a:pos x="T2" y="T3"/>
                </a:cxn>
                <a:cxn ang="0">
                  <a:pos x="T4" y="T5"/>
                </a:cxn>
                <a:cxn ang="0">
                  <a:pos x="T6" y="T7"/>
                </a:cxn>
              </a:cxnLst>
              <a:rect l="0" t="0" r="r" b="b"/>
              <a:pathLst>
                <a:path w="8" h="7">
                  <a:moveTo>
                    <a:pt x="1" y="0"/>
                  </a:moveTo>
                  <a:cubicBezTo>
                    <a:pt x="1" y="2"/>
                    <a:pt x="0" y="2"/>
                    <a:pt x="1" y="4"/>
                  </a:cubicBezTo>
                  <a:cubicBezTo>
                    <a:pt x="1" y="6"/>
                    <a:pt x="4" y="7"/>
                    <a:pt x="5" y="7"/>
                  </a:cubicBezTo>
                  <a:cubicBezTo>
                    <a:pt x="8" y="3"/>
                    <a:pt x="5"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137"/>
            <p:cNvSpPr/>
            <p:nvPr/>
          </p:nvSpPr>
          <p:spPr bwMode="auto">
            <a:xfrm>
              <a:off x="7947969" y="6232471"/>
              <a:ext cx="34901" cy="22820"/>
            </a:xfrm>
            <a:custGeom>
              <a:gdLst>
                <a:gd name="T0" fmla="*/ 6 w 11"/>
                <a:gd name="T1" fmla="*/ 0 h 7"/>
                <a:gd name="T2" fmla="*/ 1 w 11"/>
                <a:gd name="T3" fmla="*/ 5 h 7"/>
                <a:gd name="T4" fmla="*/ 3 w 11"/>
                <a:gd name="T5" fmla="*/ 4 h 7"/>
                <a:gd name="T6" fmla="*/ 3 w 11"/>
                <a:gd name="T7" fmla="*/ 6 h 7"/>
                <a:gd name="T8" fmla="*/ 4 w 11"/>
                <a:gd name="T9" fmla="*/ 6 h 7"/>
                <a:gd name="T10" fmla="*/ 6 w 11"/>
                <a:gd name="T11" fmla="*/ 7 h 7"/>
                <a:gd name="T12" fmla="*/ 11 w 11"/>
                <a:gd name="T13" fmla="*/ 4 h 7"/>
                <a:gd name="T14" fmla="*/ 7 w 11"/>
                <a:gd name="T15" fmla="*/ 0 h 7"/>
                <a:gd name="T16" fmla="*/ 6 w 11"/>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6" y="0"/>
                  </a:moveTo>
                  <a:cubicBezTo>
                    <a:pt x="3" y="0"/>
                    <a:pt x="0" y="3"/>
                    <a:pt x="1" y="5"/>
                  </a:cubicBezTo>
                  <a:cubicBezTo>
                    <a:pt x="1" y="4"/>
                    <a:pt x="2" y="4"/>
                    <a:pt x="3" y="4"/>
                  </a:cubicBezTo>
                  <a:cubicBezTo>
                    <a:pt x="3" y="4"/>
                    <a:pt x="4" y="5"/>
                    <a:pt x="3" y="6"/>
                  </a:cubicBezTo>
                  <a:cubicBezTo>
                    <a:pt x="3" y="6"/>
                    <a:pt x="3" y="6"/>
                    <a:pt x="4" y="6"/>
                  </a:cubicBezTo>
                  <a:cubicBezTo>
                    <a:pt x="5" y="6"/>
                    <a:pt x="5" y="6"/>
                    <a:pt x="6" y="7"/>
                  </a:cubicBezTo>
                  <a:cubicBezTo>
                    <a:pt x="7" y="6"/>
                    <a:pt x="9" y="5"/>
                    <a:pt x="11" y="4"/>
                  </a:cubicBezTo>
                  <a:cubicBezTo>
                    <a:pt x="9" y="3"/>
                    <a:pt x="9" y="1"/>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138"/>
            <p:cNvSpPr/>
            <p:nvPr/>
          </p:nvSpPr>
          <p:spPr bwMode="auto">
            <a:xfrm>
              <a:off x="2845752" y="4443136"/>
              <a:ext cx="2685" cy="6712"/>
            </a:xfrm>
            <a:custGeom>
              <a:gdLst>
                <a:gd name="T0" fmla="*/ 1 w 1"/>
                <a:gd name="T1" fmla="*/ 0 h 2"/>
                <a:gd name="T2" fmla="*/ 0 w 1"/>
                <a:gd name="T3" fmla="*/ 1 h 2"/>
                <a:gd name="T4" fmla="*/ 1 w 1"/>
                <a:gd name="T5" fmla="*/ 2 h 2"/>
                <a:gd name="T6" fmla="*/ 1 w 1"/>
                <a:gd name="T7" fmla="*/ 0 h 2"/>
              </a:gdLst>
              <a:cxnLst>
                <a:cxn ang="0">
                  <a:pos x="T0" y="T1"/>
                </a:cxn>
                <a:cxn ang="0">
                  <a:pos x="T2" y="T3"/>
                </a:cxn>
                <a:cxn ang="0">
                  <a:pos x="T4" y="T5"/>
                </a:cxn>
                <a:cxn ang="0">
                  <a:pos x="T6" y="T7"/>
                </a:cxn>
              </a:cxnLst>
              <a:rect l="0" t="0" r="r" b="b"/>
              <a:pathLst>
                <a:path w="1" h="2">
                  <a:moveTo>
                    <a:pt x="1" y="0"/>
                  </a:moveTo>
                  <a:cubicBezTo>
                    <a:pt x="1" y="0"/>
                    <a:pt x="1" y="1"/>
                    <a:pt x="0" y="1"/>
                  </a:cubicBezTo>
                  <a:cubicBezTo>
                    <a:pt x="1" y="2"/>
                    <a:pt x="1" y="2"/>
                    <a:pt x="1" y="2"/>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139"/>
            <p:cNvSpPr/>
            <p:nvPr/>
          </p:nvSpPr>
          <p:spPr bwMode="auto">
            <a:xfrm>
              <a:off x="4253862" y="4573343"/>
              <a:ext cx="6712" cy="2685"/>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1" y="0"/>
                    <a:pt x="1" y="1"/>
                    <a:pt x="2" y="1"/>
                  </a:cubicBezTo>
                  <a:cubicBezTo>
                    <a:pt x="2" y="1"/>
                    <a:pt x="2"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140"/>
            <p:cNvSpPr/>
            <p:nvPr/>
          </p:nvSpPr>
          <p:spPr bwMode="auto">
            <a:xfrm>
              <a:off x="3994791" y="4506226"/>
              <a:ext cx="5369"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0" y="3"/>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141"/>
            <p:cNvSpPr/>
            <p:nvPr/>
          </p:nvSpPr>
          <p:spPr bwMode="auto">
            <a:xfrm>
              <a:off x="2836355" y="4427028"/>
              <a:ext cx="18793" cy="13423"/>
            </a:xfrm>
            <a:custGeom>
              <a:gdLst>
                <a:gd name="T0" fmla="*/ 4 w 6"/>
                <a:gd name="T1" fmla="*/ 0 h 4"/>
                <a:gd name="T2" fmla="*/ 1 w 6"/>
                <a:gd name="T3" fmla="*/ 1 h 4"/>
                <a:gd name="T4" fmla="*/ 0 w 6"/>
                <a:gd name="T5" fmla="*/ 1 h 4"/>
                <a:gd name="T6" fmla="*/ 3 w 6"/>
                <a:gd name="T7" fmla="*/ 4 h 4"/>
                <a:gd name="T8" fmla="*/ 4 w 6"/>
                <a:gd name="T9" fmla="*/ 0 h 4"/>
              </a:gdLst>
              <a:cxnLst>
                <a:cxn ang="0">
                  <a:pos x="T0" y="T1"/>
                </a:cxn>
                <a:cxn ang="0">
                  <a:pos x="T2" y="T3"/>
                </a:cxn>
                <a:cxn ang="0">
                  <a:pos x="T4" y="T5"/>
                </a:cxn>
                <a:cxn ang="0">
                  <a:pos x="T6" y="T7"/>
                </a:cxn>
                <a:cxn ang="0">
                  <a:pos x="T8" y="T9"/>
                </a:cxn>
              </a:cxnLst>
              <a:rect l="0" t="0" r="r" b="b"/>
              <a:pathLst>
                <a:path w="6" h="4">
                  <a:moveTo>
                    <a:pt x="4" y="0"/>
                  </a:moveTo>
                  <a:cubicBezTo>
                    <a:pt x="3" y="1"/>
                    <a:pt x="2" y="1"/>
                    <a:pt x="1" y="1"/>
                  </a:cubicBezTo>
                  <a:cubicBezTo>
                    <a:pt x="1" y="1"/>
                    <a:pt x="0" y="1"/>
                    <a:pt x="0" y="1"/>
                  </a:cubicBezTo>
                  <a:cubicBezTo>
                    <a:pt x="0" y="3"/>
                    <a:pt x="2" y="4"/>
                    <a:pt x="3" y="4"/>
                  </a:cubicBezTo>
                  <a:cubicBezTo>
                    <a:pt x="5"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1142"/>
            <p:cNvSpPr/>
            <p:nvPr/>
          </p:nvSpPr>
          <p:spPr bwMode="auto">
            <a:xfrm>
              <a:off x="4155871" y="4408235"/>
              <a:ext cx="13423" cy="6712"/>
            </a:xfrm>
            <a:custGeom>
              <a:gdLst>
                <a:gd name="T0" fmla="*/ 3 w 4"/>
                <a:gd name="T1" fmla="*/ 0 h 2"/>
                <a:gd name="T2" fmla="*/ 0 w 4"/>
                <a:gd name="T3" fmla="*/ 1 h 2"/>
                <a:gd name="T4" fmla="*/ 2 w 4"/>
                <a:gd name="T5" fmla="*/ 2 h 2"/>
                <a:gd name="T6" fmla="*/ 4 w 4"/>
                <a:gd name="T7" fmla="*/ 0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1" y="1"/>
                    <a:pt x="0" y="1"/>
                  </a:cubicBezTo>
                  <a:cubicBezTo>
                    <a:pt x="1" y="1"/>
                    <a:pt x="1" y="2"/>
                    <a:pt x="2" y="2"/>
                  </a:cubicBezTo>
                  <a:cubicBezTo>
                    <a:pt x="3" y="2"/>
                    <a:pt x="4" y="1"/>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143"/>
            <p:cNvSpPr/>
            <p:nvPr/>
          </p:nvSpPr>
          <p:spPr bwMode="auto">
            <a:xfrm>
              <a:off x="4134394" y="4361253"/>
              <a:ext cx="18793" cy="18793"/>
            </a:xfrm>
            <a:custGeom>
              <a:gdLst>
                <a:gd name="T0" fmla="*/ 5 w 6"/>
                <a:gd name="T1" fmla="*/ 0 h 6"/>
                <a:gd name="T2" fmla="*/ 1 w 6"/>
                <a:gd name="T3" fmla="*/ 1 h 6"/>
                <a:gd name="T4" fmla="*/ 0 w 6"/>
                <a:gd name="T5" fmla="*/ 6 h 6"/>
                <a:gd name="T6" fmla="*/ 5 w 6"/>
                <a:gd name="T7" fmla="*/ 3 h 6"/>
                <a:gd name="T8" fmla="*/ 5 w 6"/>
                <a:gd name="T9" fmla="*/ 0 h 6"/>
              </a:gdLst>
              <a:cxnLst>
                <a:cxn ang="0">
                  <a:pos x="T0" y="T1"/>
                </a:cxn>
                <a:cxn ang="0">
                  <a:pos x="T2" y="T3"/>
                </a:cxn>
                <a:cxn ang="0">
                  <a:pos x="T4" y="T5"/>
                </a:cxn>
                <a:cxn ang="0">
                  <a:pos x="T6" y="T7"/>
                </a:cxn>
                <a:cxn ang="0">
                  <a:pos x="T8" y="T9"/>
                </a:cxn>
              </a:cxnLst>
              <a:rect l="0" t="0" r="r" b="b"/>
              <a:pathLst>
                <a:path w="6" h="6">
                  <a:moveTo>
                    <a:pt x="5" y="0"/>
                  </a:moveTo>
                  <a:cubicBezTo>
                    <a:pt x="4" y="0"/>
                    <a:pt x="3" y="1"/>
                    <a:pt x="1" y="1"/>
                  </a:cubicBezTo>
                  <a:cubicBezTo>
                    <a:pt x="0" y="3"/>
                    <a:pt x="0" y="4"/>
                    <a:pt x="0" y="6"/>
                  </a:cubicBezTo>
                  <a:cubicBezTo>
                    <a:pt x="1" y="5"/>
                    <a:pt x="5" y="4"/>
                    <a:pt x="5" y="3"/>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1144"/>
            <p:cNvSpPr/>
            <p:nvPr/>
          </p:nvSpPr>
          <p:spPr bwMode="auto">
            <a:xfrm>
              <a:off x="3166570" y="4696838"/>
              <a:ext cx="5369" cy="9396"/>
            </a:xfrm>
            <a:custGeom>
              <a:gdLst>
                <a:gd name="T0" fmla="*/ 2 w 2"/>
                <a:gd name="T1" fmla="*/ 0 h 3"/>
                <a:gd name="T2" fmla="*/ 2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2"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1145"/>
            <p:cNvSpPr/>
            <p:nvPr/>
          </p:nvSpPr>
          <p:spPr bwMode="auto">
            <a:xfrm>
              <a:off x="3706189" y="4703549"/>
              <a:ext cx="9396" cy="28189"/>
            </a:xfrm>
            <a:custGeom>
              <a:gdLst>
                <a:gd name="T0" fmla="*/ 1 w 3"/>
                <a:gd name="T1" fmla="*/ 0 h 9"/>
                <a:gd name="T2" fmla="*/ 0 w 3"/>
                <a:gd name="T3" fmla="*/ 6 h 9"/>
                <a:gd name="T4" fmla="*/ 2 w 3"/>
                <a:gd name="T5" fmla="*/ 9 h 9"/>
                <a:gd name="T6" fmla="*/ 1 w 3"/>
                <a:gd name="T7" fmla="*/ 0 h 9"/>
              </a:gdLst>
              <a:cxnLst>
                <a:cxn ang="0">
                  <a:pos x="T0" y="T1"/>
                </a:cxn>
                <a:cxn ang="0">
                  <a:pos x="T2" y="T3"/>
                </a:cxn>
                <a:cxn ang="0">
                  <a:pos x="T4" y="T5"/>
                </a:cxn>
                <a:cxn ang="0">
                  <a:pos x="T6" y="T7"/>
                </a:cxn>
              </a:cxnLst>
              <a:rect l="0" t="0" r="r" b="b"/>
              <a:pathLst>
                <a:path w="3" h="9">
                  <a:moveTo>
                    <a:pt x="1" y="0"/>
                  </a:moveTo>
                  <a:cubicBezTo>
                    <a:pt x="0" y="2"/>
                    <a:pt x="0" y="4"/>
                    <a:pt x="0" y="6"/>
                  </a:cubicBezTo>
                  <a:cubicBezTo>
                    <a:pt x="1" y="8"/>
                    <a:pt x="1" y="9"/>
                    <a:pt x="2" y="9"/>
                  </a:cubicBezTo>
                  <a:cubicBezTo>
                    <a:pt x="3" y="9"/>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1146"/>
            <p:cNvSpPr/>
            <p:nvPr/>
          </p:nvSpPr>
          <p:spPr bwMode="auto">
            <a:xfrm>
              <a:off x="4235069" y="4561262"/>
              <a:ext cx="13423" cy="5369"/>
            </a:xfrm>
            <a:custGeom>
              <a:gdLst>
                <a:gd name="T0" fmla="*/ 0 w 4"/>
                <a:gd name="T1" fmla="*/ 0 h 2"/>
                <a:gd name="T2" fmla="*/ 3 w 4"/>
                <a:gd name="T3" fmla="*/ 2 h 2"/>
                <a:gd name="T4" fmla="*/ 4 w 4"/>
                <a:gd name="T5" fmla="*/ 1 h 2"/>
                <a:gd name="T6" fmla="*/ 0 w 4"/>
                <a:gd name="T7" fmla="*/ 0 h 2"/>
              </a:gdLst>
              <a:cxnLst>
                <a:cxn ang="0">
                  <a:pos x="T0" y="T1"/>
                </a:cxn>
                <a:cxn ang="0">
                  <a:pos x="T2" y="T3"/>
                </a:cxn>
                <a:cxn ang="0">
                  <a:pos x="T4" y="T5"/>
                </a:cxn>
                <a:cxn ang="0">
                  <a:pos x="T6" y="T7"/>
                </a:cxn>
              </a:cxnLst>
              <a:rect l="0" t="0" r="r" b="b"/>
              <a:pathLst>
                <a:path w="4" h="2">
                  <a:moveTo>
                    <a:pt x="0" y="0"/>
                  </a:moveTo>
                  <a:cubicBezTo>
                    <a:pt x="1" y="1"/>
                    <a:pt x="2" y="2"/>
                    <a:pt x="3" y="2"/>
                  </a:cubicBezTo>
                  <a:cubicBezTo>
                    <a:pt x="4" y="2"/>
                    <a:pt x="4" y="1"/>
                    <a:pt x="4" y="1"/>
                  </a:cubicBezTo>
                  <a:cubicBezTo>
                    <a:pt x="3"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1147"/>
            <p:cNvSpPr/>
            <p:nvPr/>
          </p:nvSpPr>
          <p:spPr bwMode="auto">
            <a:xfrm>
              <a:off x="123495" y="6397579"/>
              <a:ext cx="12081" cy="6712"/>
            </a:xfrm>
            <a:custGeom>
              <a:gdLst>
                <a:gd name="T0" fmla="*/ 4 w 4"/>
                <a:gd name="T1" fmla="*/ 0 h 2"/>
                <a:gd name="T2" fmla="*/ 0 w 4"/>
                <a:gd name="T3" fmla="*/ 2 h 2"/>
                <a:gd name="T4" fmla="*/ 1 w 4"/>
                <a:gd name="T5" fmla="*/ 2 h 2"/>
                <a:gd name="T6" fmla="*/ 4 w 4"/>
                <a:gd name="T7" fmla="*/ 0 h 2"/>
              </a:gdLst>
              <a:cxnLst>
                <a:cxn ang="0">
                  <a:pos x="T0" y="T1"/>
                </a:cxn>
                <a:cxn ang="0">
                  <a:pos x="T2" y="T3"/>
                </a:cxn>
                <a:cxn ang="0">
                  <a:pos x="T4" y="T5"/>
                </a:cxn>
                <a:cxn ang="0">
                  <a:pos x="T6" y="T7"/>
                </a:cxn>
              </a:cxnLst>
              <a:rect l="0" t="0" r="r" b="b"/>
              <a:pathLst>
                <a:path w="4" h="2">
                  <a:moveTo>
                    <a:pt x="4" y="0"/>
                  </a:moveTo>
                  <a:cubicBezTo>
                    <a:pt x="2" y="0"/>
                    <a:pt x="1" y="1"/>
                    <a:pt x="0" y="2"/>
                  </a:cubicBezTo>
                  <a:cubicBezTo>
                    <a:pt x="1" y="2"/>
                    <a:pt x="1" y="2"/>
                    <a:pt x="1" y="2"/>
                  </a:cubicBezTo>
                  <a:cubicBezTo>
                    <a:pt x="2" y="2"/>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1148"/>
            <p:cNvSpPr/>
            <p:nvPr/>
          </p:nvSpPr>
          <p:spPr bwMode="auto">
            <a:xfrm>
              <a:off x="4986777" y="2190695"/>
              <a:ext cx="20135" cy="18793"/>
            </a:xfrm>
            <a:custGeom>
              <a:gdLst>
                <a:gd name="T0" fmla="*/ 5 w 6"/>
                <a:gd name="T1" fmla="*/ 0 h 6"/>
                <a:gd name="T2" fmla="*/ 1 w 6"/>
                <a:gd name="T3" fmla="*/ 1 h 6"/>
                <a:gd name="T4" fmla="*/ 3 w 6"/>
                <a:gd name="T5" fmla="*/ 5 h 6"/>
                <a:gd name="T6" fmla="*/ 3 w 6"/>
                <a:gd name="T7" fmla="*/ 6 h 6"/>
                <a:gd name="T8" fmla="*/ 6 w 6"/>
                <a:gd name="T9" fmla="*/ 0 h 6"/>
                <a:gd name="T10" fmla="*/ 5 w 6"/>
                <a:gd name="T11" fmla="*/ 0 h 6"/>
              </a:gdLst>
              <a:cxnLst>
                <a:cxn ang="0">
                  <a:pos x="T0" y="T1"/>
                </a:cxn>
                <a:cxn ang="0">
                  <a:pos x="T2" y="T3"/>
                </a:cxn>
                <a:cxn ang="0">
                  <a:pos x="T4" y="T5"/>
                </a:cxn>
                <a:cxn ang="0">
                  <a:pos x="T6" y="T7"/>
                </a:cxn>
                <a:cxn ang="0">
                  <a:pos x="T8" y="T9"/>
                </a:cxn>
                <a:cxn ang="0">
                  <a:pos x="T10" y="T11"/>
                </a:cxn>
              </a:cxnLst>
              <a:rect l="0" t="0" r="r" b="b"/>
              <a:pathLst>
                <a:path w="6" h="6">
                  <a:moveTo>
                    <a:pt x="5" y="0"/>
                  </a:moveTo>
                  <a:cubicBezTo>
                    <a:pt x="4" y="0"/>
                    <a:pt x="1" y="1"/>
                    <a:pt x="1" y="1"/>
                  </a:cubicBezTo>
                  <a:cubicBezTo>
                    <a:pt x="1" y="3"/>
                    <a:pt x="0" y="5"/>
                    <a:pt x="3" y="5"/>
                  </a:cubicBezTo>
                  <a:cubicBezTo>
                    <a:pt x="3" y="6"/>
                    <a:pt x="3" y="6"/>
                    <a:pt x="3" y="6"/>
                  </a:cubicBezTo>
                  <a:cubicBezTo>
                    <a:pt x="4" y="4"/>
                    <a:pt x="5" y="2"/>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149"/>
            <p:cNvSpPr/>
            <p:nvPr/>
          </p:nvSpPr>
          <p:spPr bwMode="auto">
            <a:xfrm>
              <a:off x="5037786" y="2244388"/>
              <a:ext cx="13423" cy="16108"/>
            </a:xfrm>
            <a:custGeom>
              <a:gdLst>
                <a:gd name="T0" fmla="*/ 1 w 4"/>
                <a:gd name="T1" fmla="*/ 0 h 5"/>
                <a:gd name="T2" fmla="*/ 0 w 4"/>
                <a:gd name="T3" fmla="*/ 5 h 5"/>
                <a:gd name="T4" fmla="*/ 4 w 4"/>
                <a:gd name="T5" fmla="*/ 2 h 5"/>
                <a:gd name="T6" fmla="*/ 1 w 4"/>
                <a:gd name="T7" fmla="*/ 0 h 5"/>
              </a:gdLst>
              <a:cxnLst>
                <a:cxn ang="0">
                  <a:pos x="T0" y="T1"/>
                </a:cxn>
                <a:cxn ang="0">
                  <a:pos x="T2" y="T3"/>
                </a:cxn>
                <a:cxn ang="0">
                  <a:pos x="T4" y="T5"/>
                </a:cxn>
                <a:cxn ang="0">
                  <a:pos x="T6" y="T7"/>
                </a:cxn>
              </a:cxnLst>
              <a:rect l="0" t="0" r="r" b="b"/>
              <a:pathLst>
                <a:path w="4" h="5">
                  <a:moveTo>
                    <a:pt x="1" y="0"/>
                  </a:moveTo>
                  <a:cubicBezTo>
                    <a:pt x="1" y="1"/>
                    <a:pt x="0" y="3"/>
                    <a:pt x="0" y="5"/>
                  </a:cubicBezTo>
                  <a:cubicBezTo>
                    <a:pt x="2" y="4"/>
                    <a:pt x="3" y="3"/>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1150"/>
            <p:cNvSpPr/>
            <p:nvPr/>
          </p:nvSpPr>
          <p:spPr bwMode="auto">
            <a:xfrm>
              <a:off x="5044497" y="2212172"/>
              <a:ext cx="16108" cy="28189"/>
            </a:xfrm>
            <a:custGeom>
              <a:gdLst>
                <a:gd name="T0" fmla="*/ 5 w 5"/>
                <a:gd name="T1" fmla="*/ 0 h 9"/>
                <a:gd name="T2" fmla="*/ 2 w 5"/>
                <a:gd name="T3" fmla="*/ 2 h 9"/>
                <a:gd name="T4" fmla="*/ 1 w 5"/>
                <a:gd name="T5" fmla="*/ 5 h 9"/>
                <a:gd name="T6" fmla="*/ 0 w 5"/>
                <a:gd name="T7" fmla="*/ 9 h 9"/>
                <a:gd name="T8" fmla="*/ 2 w 5"/>
                <a:gd name="T9" fmla="*/ 9 h 9"/>
                <a:gd name="T10" fmla="*/ 5 w 5"/>
                <a:gd name="T11" fmla="*/ 0 h 9"/>
              </a:gdLst>
              <a:cxnLst>
                <a:cxn ang="0">
                  <a:pos x="T0" y="T1"/>
                </a:cxn>
                <a:cxn ang="0">
                  <a:pos x="T2" y="T3"/>
                </a:cxn>
                <a:cxn ang="0">
                  <a:pos x="T4" y="T5"/>
                </a:cxn>
                <a:cxn ang="0">
                  <a:pos x="T6" y="T7"/>
                </a:cxn>
                <a:cxn ang="0">
                  <a:pos x="T8" y="T9"/>
                </a:cxn>
                <a:cxn ang="0">
                  <a:pos x="T10" y="T11"/>
                </a:cxn>
              </a:cxnLst>
              <a:rect l="0" t="0" r="r" b="b"/>
              <a:pathLst>
                <a:path w="5" h="9">
                  <a:moveTo>
                    <a:pt x="5" y="0"/>
                  </a:moveTo>
                  <a:cubicBezTo>
                    <a:pt x="4" y="1"/>
                    <a:pt x="2" y="1"/>
                    <a:pt x="2" y="2"/>
                  </a:cubicBezTo>
                  <a:cubicBezTo>
                    <a:pt x="1" y="3"/>
                    <a:pt x="1" y="4"/>
                    <a:pt x="1" y="5"/>
                  </a:cubicBezTo>
                  <a:cubicBezTo>
                    <a:pt x="1" y="6"/>
                    <a:pt x="1" y="8"/>
                    <a:pt x="0" y="9"/>
                  </a:cubicBezTo>
                  <a:cubicBezTo>
                    <a:pt x="1" y="9"/>
                    <a:pt x="2" y="9"/>
                    <a:pt x="2" y="9"/>
                  </a:cubicBezTo>
                  <a:cubicBezTo>
                    <a:pt x="3" y="6"/>
                    <a:pt x="4"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1151"/>
            <p:cNvSpPr/>
            <p:nvPr/>
          </p:nvSpPr>
          <p:spPr bwMode="auto">
            <a:xfrm>
              <a:off x="4809589" y="2221568"/>
              <a:ext cx="22820" cy="13423"/>
            </a:xfrm>
            <a:custGeom>
              <a:gdLst>
                <a:gd name="T0" fmla="*/ 4 w 7"/>
                <a:gd name="T1" fmla="*/ 0 h 4"/>
                <a:gd name="T2" fmla="*/ 2 w 7"/>
                <a:gd name="T3" fmla="*/ 2 h 4"/>
                <a:gd name="T4" fmla="*/ 0 w 7"/>
                <a:gd name="T5" fmla="*/ 4 h 4"/>
                <a:gd name="T6" fmla="*/ 7 w 7"/>
                <a:gd name="T7" fmla="*/ 2 h 4"/>
                <a:gd name="T8" fmla="*/ 4 w 7"/>
                <a:gd name="T9" fmla="*/ 0 h 4"/>
              </a:gdLst>
              <a:cxnLst>
                <a:cxn ang="0">
                  <a:pos x="T0" y="T1"/>
                </a:cxn>
                <a:cxn ang="0">
                  <a:pos x="T2" y="T3"/>
                </a:cxn>
                <a:cxn ang="0">
                  <a:pos x="T4" y="T5"/>
                </a:cxn>
                <a:cxn ang="0">
                  <a:pos x="T6" y="T7"/>
                </a:cxn>
                <a:cxn ang="0">
                  <a:pos x="T8" y="T9"/>
                </a:cxn>
              </a:cxnLst>
              <a:rect l="0" t="0" r="r" b="b"/>
              <a:pathLst>
                <a:path w="7" h="4">
                  <a:moveTo>
                    <a:pt x="4" y="0"/>
                  </a:moveTo>
                  <a:cubicBezTo>
                    <a:pt x="3" y="0"/>
                    <a:pt x="3" y="1"/>
                    <a:pt x="2" y="2"/>
                  </a:cubicBezTo>
                  <a:cubicBezTo>
                    <a:pt x="1" y="3"/>
                    <a:pt x="1" y="4"/>
                    <a:pt x="0" y="4"/>
                  </a:cubicBezTo>
                  <a:cubicBezTo>
                    <a:pt x="2" y="4"/>
                    <a:pt x="4" y="3"/>
                    <a:pt x="7" y="2"/>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1152"/>
            <p:cNvSpPr/>
            <p:nvPr/>
          </p:nvSpPr>
          <p:spPr bwMode="auto">
            <a:xfrm>
              <a:off x="4937111" y="2193379"/>
              <a:ext cx="18793" cy="18793"/>
            </a:xfrm>
            <a:custGeom>
              <a:gdLst>
                <a:gd name="T0" fmla="*/ 3 w 6"/>
                <a:gd name="T1" fmla="*/ 0 h 6"/>
                <a:gd name="T2" fmla="*/ 1 w 6"/>
                <a:gd name="T3" fmla="*/ 4 h 6"/>
                <a:gd name="T4" fmla="*/ 6 w 6"/>
                <a:gd name="T5" fmla="*/ 6 h 6"/>
                <a:gd name="T6" fmla="*/ 3 w 6"/>
                <a:gd name="T7" fmla="*/ 0 h 6"/>
              </a:gdLst>
              <a:cxnLst>
                <a:cxn ang="0">
                  <a:pos x="T0" y="T1"/>
                </a:cxn>
                <a:cxn ang="0">
                  <a:pos x="T2" y="T3"/>
                </a:cxn>
                <a:cxn ang="0">
                  <a:pos x="T4" y="T5"/>
                </a:cxn>
                <a:cxn ang="0">
                  <a:pos x="T6" y="T7"/>
                </a:cxn>
              </a:cxnLst>
              <a:rect l="0" t="0" r="r" b="b"/>
              <a:pathLst>
                <a:path w="6" h="6">
                  <a:moveTo>
                    <a:pt x="3" y="0"/>
                  </a:moveTo>
                  <a:cubicBezTo>
                    <a:pt x="0" y="0"/>
                    <a:pt x="0" y="2"/>
                    <a:pt x="1" y="4"/>
                  </a:cubicBezTo>
                  <a:cubicBezTo>
                    <a:pt x="2" y="6"/>
                    <a:pt x="4" y="5"/>
                    <a:pt x="6" y="6"/>
                  </a:cubicBezTo>
                  <a:cubicBezTo>
                    <a:pt x="5" y="4"/>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1153"/>
            <p:cNvSpPr/>
            <p:nvPr/>
          </p:nvSpPr>
          <p:spPr bwMode="auto">
            <a:xfrm>
              <a:off x="4812273" y="2310163"/>
              <a:ext cx="60405" cy="25504"/>
            </a:xfrm>
            <a:custGeom>
              <a:gdLst>
                <a:gd name="T0" fmla="*/ 8 w 19"/>
                <a:gd name="T1" fmla="*/ 0 h 8"/>
                <a:gd name="T2" fmla="*/ 0 w 19"/>
                <a:gd name="T3" fmla="*/ 6 h 8"/>
                <a:gd name="T4" fmla="*/ 5 w 19"/>
                <a:gd name="T5" fmla="*/ 8 h 8"/>
                <a:gd name="T6" fmla="*/ 19 w 19"/>
                <a:gd name="T7" fmla="*/ 1 h 8"/>
                <a:gd name="T8" fmla="*/ 8 w 19"/>
                <a:gd name="T9" fmla="*/ 0 h 8"/>
              </a:gdLst>
              <a:cxnLst>
                <a:cxn ang="0">
                  <a:pos x="T0" y="T1"/>
                </a:cxn>
                <a:cxn ang="0">
                  <a:pos x="T2" y="T3"/>
                </a:cxn>
                <a:cxn ang="0">
                  <a:pos x="T4" y="T5"/>
                </a:cxn>
                <a:cxn ang="0">
                  <a:pos x="T6" y="T7"/>
                </a:cxn>
                <a:cxn ang="0">
                  <a:pos x="T8" y="T9"/>
                </a:cxn>
              </a:cxnLst>
              <a:rect l="0" t="0" r="r" b="b"/>
              <a:pathLst>
                <a:path w="19" h="8">
                  <a:moveTo>
                    <a:pt x="8" y="0"/>
                  </a:moveTo>
                  <a:cubicBezTo>
                    <a:pt x="6" y="2"/>
                    <a:pt x="3" y="4"/>
                    <a:pt x="0" y="6"/>
                  </a:cubicBezTo>
                  <a:cubicBezTo>
                    <a:pt x="2" y="8"/>
                    <a:pt x="4" y="8"/>
                    <a:pt x="5" y="8"/>
                  </a:cubicBezTo>
                  <a:cubicBezTo>
                    <a:pt x="10" y="8"/>
                    <a:pt x="15" y="4"/>
                    <a:pt x="19" y="1"/>
                  </a:cubicBezTo>
                  <a:cubicBezTo>
                    <a:pt x="15" y="1"/>
                    <a:pt x="12"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1154"/>
            <p:cNvSpPr/>
            <p:nvPr/>
          </p:nvSpPr>
          <p:spPr bwMode="auto">
            <a:xfrm>
              <a:off x="5802917" y="2205460"/>
              <a:ext cx="2685" cy="6712"/>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1"/>
                    <a:pt x="0" y="2"/>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1155"/>
            <p:cNvSpPr/>
            <p:nvPr/>
          </p:nvSpPr>
          <p:spPr bwMode="auto">
            <a:xfrm>
              <a:off x="5831106" y="1256428"/>
              <a:ext cx="451025" cy="371827"/>
            </a:xfrm>
            <a:custGeom>
              <a:gdLst>
                <a:gd name="T0" fmla="*/ 46 w 142"/>
                <a:gd name="T1" fmla="*/ 3 h 117"/>
                <a:gd name="T2" fmla="*/ 45 w 142"/>
                <a:gd name="T3" fmla="*/ 2 h 117"/>
                <a:gd name="T4" fmla="*/ 44 w 142"/>
                <a:gd name="T5" fmla="*/ 13 h 117"/>
                <a:gd name="T6" fmla="*/ 44 w 142"/>
                <a:gd name="T7" fmla="*/ 42 h 117"/>
                <a:gd name="T8" fmla="*/ 38 w 142"/>
                <a:gd name="T9" fmla="*/ 59 h 117"/>
                <a:gd name="T10" fmla="*/ 32 w 142"/>
                <a:gd name="T11" fmla="*/ 68 h 117"/>
                <a:gd name="T12" fmla="*/ 27 w 142"/>
                <a:gd name="T13" fmla="*/ 66 h 117"/>
                <a:gd name="T14" fmla="*/ 26 w 142"/>
                <a:gd name="T15" fmla="*/ 67 h 117"/>
                <a:gd name="T16" fmla="*/ 24 w 142"/>
                <a:gd name="T17" fmla="*/ 67 h 117"/>
                <a:gd name="T18" fmla="*/ 15 w 142"/>
                <a:gd name="T19" fmla="*/ 62 h 117"/>
                <a:gd name="T20" fmla="*/ 16 w 142"/>
                <a:gd name="T21" fmla="*/ 70 h 117"/>
                <a:gd name="T22" fmla="*/ 12 w 142"/>
                <a:gd name="T23" fmla="*/ 79 h 117"/>
                <a:gd name="T24" fmla="*/ 10 w 142"/>
                <a:gd name="T25" fmla="*/ 79 h 117"/>
                <a:gd name="T26" fmla="*/ 9 w 142"/>
                <a:gd name="T27" fmla="*/ 79 h 117"/>
                <a:gd name="T28" fmla="*/ 5 w 142"/>
                <a:gd name="T29" fmla="*/ 82 h 117"/>
                <a:gd name="T30" fmla="*/ 4 w 142"/>
                <a:gd name="T31" fmla="*/ 82 h 117"/>
                <a:gd name="T32" fmla="*/ 0 w 142"/>
                <a:gd name="T33" fmla="*/ 91 h 117"/>
                <a:gd name="T34" fmla="*/ 6 w 142"/>
                <a:gd name="T35" fmla="*/ 109 h 117"/>
                <a:gd name="T36" fmla="*/ 10 w 142"/>
                <a:gd name="T37" fmla="*/ 117 h 117"/>
                <a:gd name="T38" fmla="*/ 15 w 142"/>
                <a:gd name="T39" fmla="*/ 112 h 117"/>
                <a:gd name="T40" fmla="*/ 19 w 142"/>
                <a:gd name="T41" fmla="*/ 107 h 117"/>
                <a:gd name="T42" fmla="*/ 21 w 142"/>
                <a:gd name="T43" fmla="*/ 106 h 117"/>
                <a:gd name="T44" fmla="*/ 28 w 142"/>
                <a:gd name="T45" fmla="*/ 109 h 117"/>
                <a:gd name="T46" fmla="*/ 28 w 142"/>
                <a:gd name="T47" fmla="*/ 104 h 117"/>
                <a:gd name="T48" fmla="*/ 20 w 142"/>
                <a:gd name="T49" fmla="*/ 97 h 117"/>
                <a:gd name="T50" fmla="*/ 12 w 142"/>
                <a:gd name="T51" fmla="*/ 90 h 117"/>
                <a:gd name="T52" fmla="*/ 24 w 142"/>
                <a:gd name="T53" fmla="*/ 86 h 117"/>
                <a:gd name="T54" fmla="*/ 27 w 142"/>
                <a:gd name="T55" fmla="*/ 92 h 117"/>
                <a:gd name="T56" fmla="*/ 37 w 142"/>
                <a:gd name="T57" fmla="*/ 86 h 117"/>
                <a:gd name="T58" fmla="*/ 50 w 142"/>
                <a:gd name="T59" fmla="*/ 85 h 117"/>
                <a:gd name="T60" fmla="*/ 61 w 142"/>
                <a:gd name="T61" fmla="*/ 92 h 117"/>
                <a:gd name="T62" fmla="*/ 80 w 142"/>
                <a:gd name="T63" fmla="*/ 102 h 117"/>
                <a:gd name="T64" fmla="*/ 83 w 142"/>
                <a:gd name="T65" fmla="*/ 97 h 117"/>
                <a:gd name="T66" fmla="*/ 90 w 142"/>
                <a:gd name="T67" fmla="*/ 83 h 117"/>
                <a:gd name="T68" fmla="*/ 109 w 142"/>
                <a:gd name="T69" fmla="*/ 74 h 117"/>
                <a:gd name="T70" fmla="*/ 115 w 142"/>
                <a:gd name="T71" fmla="*/ 74 h 117"/>
                <a:gd name="T72" fmla="*/ 118 w 142"/>
                <a:gd name="T73" fmla="*/ 72 h 117"/>
                <a:gd name="T74" fmla="*/ 121 w 142"/>
                <a:gd name="T75" fmla="*/ 73 h 117"/>
                <a:gd name="T76" fmla="*/ 125 w 142"/>
                <a:gd name="T77" fmla="*/ 72 h 117"/>
                <a:gd name="T78" fmla="*/ 135 w 142"/>
                <a:gd name="T79" fmla="*/ 66 h 117"/>
                <a:gd name="T80" fmla="*/ 129 w 142"/>
                <a:gd name="T81" fmla="*/ 60 h 117"/>
                <a:gd name="T82" fmla="*/ 131 w 142"/>
                <a:gd name="T83" fmla="*/ 56 h 117"/>
                <a:gd name="T84" fmla="*/ 125 w 142"/>
                <a:gd name="T85" fmla="*/ 48 h 117"/>
                <a:gd name="T86" fmla="*/ 131 w 142"/>
                <a:gd name="T87" fmla="*/ 34 h 117"/>
                <a:gd name="T88" fmla="*/ 115 w 142"/>
                <a:gd name="T89" fmla="*/ 46 h 117"/>
                <a:gd name="T90" fmla="*/ 105 w 142"/>
                <a:gd name="T91" fmla="*/ 44 h 117"/>
                <a:gd name="T92" fmla="*/ 102 w 142"/>
                <a:gd name="T93" fmla="*/ 41 h 117"/>
                <a:gd name="T94" fmla="*/ 98 w 142"/>
                <a:gd name="T95" fmla="*/ 41 h 117"/>
                <a:gd name="T96" fmla="*/ 76 w 142"/>
                <a:gd name="T97" fmla="*/ 27 h 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17">
                  <a:moveTo>
                    <a:pt x="51" y="0"/>
                  </a:moveTo>
                  <a:cubicBezTo>
                    <a:pt x="50" y="1"/>
                    <a:pt x="48" y="3"/>
                    <a:pt x="46" y="3"/>
                  </a:cubicBezTo>
                  <a:cubicBezTo>
                    <a:pt x="46" y="3"/>
                    <a:pt x="46" y="3"/>
                    <a:pt x="46" y="3"/>
                  </a:cubicBezTo>
                  <a:cubicBezTo>
                    <a:pt x="46" y="3"/>
                    <a:pt x="44" y="3"/>
                    <a:pt x="45" y="2"/>
                  </a:cubicBezTo>
                  <a:cubicBezTo>
                    <a:pt x="44" y="3"/>
                    <a:pt x="44" y="2"/>
                    <a:pt x="44" y="5"/>
                  </a:cubicBezTo>
                  <a:cubicBezTo>
                    <a:pt x="43" y="7"/>
                    <a:pt x="43" y="10"/>
                    <a:pt x="44" y="13"/>
                  </a:cubicBezTo>
                  <a:cubicBezTo>
                    <a:pt x="44" y="15"/>
                    <a:pt x="46" y="17"/>
                    <a:pt x="47" y="19"/>
                  </a:cubicBezTo>
                  <a:cubicBezTo>
                    <a:pt x="49" y="27"/>
                    <a:pt x="45" y="35"/>
                    <a:pt x="44" y="42"/>
                  </a:cubicBezTo>
                  <a:cubicBezTo>
                    <a:pt x="44" y="47"/>
                    <a:pt x="36" y="48"/>
                    <a:pt x="37" y="52"/>
                  </a:cubicBezTo>
                  <a:cubicBezTo>
                    <a:pt x="37" y="55"/>
                    <a:pt x="38" y="57"/>
                    <a:pt x="38" y="59"/>
                  </a:cubicBezTo>
                  <a:cubicBezTo>
                    <a:pt x="38" y="61"/>
                    <a:pt x="40" y="62"/>
                    <a:pt x="38" y="63"/>
                  </a:cubicBezTo>
                  <a:cubicBezTo>
                    <a:pt x="36" y="65"/>
                    <a:pt x="34" y="68"/>
                    <a:pt x="32" y="68"/>
                  </a:cubicBezTo>
                  <a:cubicBezTo>
                    <a:pt x="31" y="68"/>
                    <a:pt x="30" y="68"/>
                    <a:pt x="30" y="68"/>
                  </a:cubicBezTo>
                  <a:cubicBezTo>
                    <a:pt x="28" y="67"/>
                    <a:pt x="29" y="66"/>
                    <a:pt x="27" y="66"/>
                  </a:cubicBezTo>
                  <a:cubicBezTo>
                    <a:pt x="27" y="66"/>
                    <a:pt x="27" y="66"/>
                    <a:pt x="27" y="66"/>
                  </a:cubicBezTo>
                  <a:cubicBezTo>
                    <a:pt x="27" y="66"/>
                    <a:pt x="26" y="66"/>
                    <a:pt x="26" y="67"/>
                  </a:cubicBezTo>
                  <a:cubicBezTo>
                    <a:pt x="25" y="67"/>
                    <a:pt x="25" y="67"/>
                    <a:pt x="24" y="67"/>
                  </a:cubicBezTo>
                  <a:cubicBezTo>
                    <a:pt x="24" y="67"/>
                    <a:pt x="24" y="67"/>
                    <a:pt x="24" y="67"/>
                  </a:cubicBezTo>
                  <a:cubicBezTo>
                    <a:pt x="23" y="66"/>
                    <a:pt x="21" y="65"/>
                    <a:pt x="20" y="64"/>
                  </a:cubicBezTo>
                  <a:cubicBezTo>
                    <a:pt x="19" y="63"/>
                    <a:pt x="17" y="62"/>
                    <a:pt x="15" y="62"/>
                  </a:cubicBezTo>
                  <a:cubicBezTo>
                    <a:pt x="14" y="62"/>
                    <a:pt x="13" y="63"/>
                    <a:pt x="13" y="64"/>
                  </a:cubicBezTo>
                  <a:cubicBezTo>
                    <a:pt x="12" y="66"/>
                    <a:pt x="15" y="68"/>
                    <a:pt x="16" y="70"/>
                  </a:cubicBezTo>
                  <a:cubicBezTo>
                    <a:pt x="18" y="73"/>
                    <a:pt x="17" y="72"/>
                    <a:pt x="14" y="75"/>
                  </a:cubicBezTo>
                  <a:cubicBezTo>
                    <a:pt x="14" y="75"/>
                    <a:pt x="12" y="79"/>
                    <a:pt x="12" y="79"/>
                  </a:cubicBezTo>
                  <a:cubicBezTo>
                    <a:pt x="12" y="79"/>
                    <a:pt x="12" y="79"/>
                    <a:pt x="11" y="79"/>
                  </a:cubicBezTo>
                  <a:cubicBezTo>
                    <a:pt x="11" y="79"/>
                    <a:pt x="11" y="79"/>
                    <a:pt x="10" y="79"/>
                  </a:cubicBezTo>
                  <a:cubicBezTo>
                    <a:pt x="10" y="79"/>
                    <a:pt x="10" y="78"/>
                    <a:pt x="9" y="78"/>
                  </a:cubicBezTo>
                  <a:cubicBezTo>
                    <a:pt x="9" y="78"/>
                    <a:pt x="9" y="78"/>
                    <a:pt x="9" y="79"/>
                  </a:cubicBezTo>
                  <a:cubicBezTo>
                    <a:pt x="8" y="79"/>
                    <a:pt x="7" y="81"/>
                    <a:pt x="6" y="81"/>
                  </a:cubicBezTo>
                  <a:cubicBezTo>
                    <a:pt x="6" y="82"/>
                    <a:pt x="5" y="82"/>
                    <a:pt x="5" y="82"/>
                  </a:cubicBezTo>
                  <a:cubicBezTo>
                    <a:pt x="5" y="82"/>
                    <a:pt x="5" y="82"/>
                    <a:pt x="4" y="82"/>
                  </a:cubicBezTo>
                  <a:cubicBezTo>
                    <a:pt x="4" y="82"/>
                    <a:pt x="4" y="82"/>
                    <a:pt x="4" y="82"/>
                  </a:cubicBezTo>
                  <a:cubicBezTo>
                    <a:pt x="3" y="82"/>
                    <a:pt x="3" y="82"/>
                    <a:pt x="2" y="82"/>
                  </a:cubicBezTo>
                  <a:cubicBezTo>
                    <a:pt x="0" y="83"/>
                    <a:pt x="0" y="89"/>
                    <a:pt x="0" y="91"/>
                  </a:cubicBezTo>
                  <a:cubicBezTo>
                    <a:pt x="0" y="95"/>
                    <a:pt x="3" y="95"/>
                    <a:pt x="5" y="98"/>
                  </a:cubicBezTo>
                  <a:cubicBezTo>
                    <a:pt x="9" y="101"/>
                    <a:pt x="8" y="104"/>
                    <a:pt x="6" y="109"/>
                  </a:cubicBezTo>
                  <a:cubicBezTo>
                    <a:pt x="5" y="110"/>
                    <a:pt x="4" y="112"/>
                    <a:pt x="5" y="113"/>
                  </a:cubicBezTo>
                  <a:cubicBezTo>
                    <a:pt x="5" y="114"/>
                    <a:pt x="8" y="117"/>
                    <a:pt x="10" y="117"/>
                  </a:cubicBezTo>
                  <a:cubicBezTo>
                    <a:pt x="10" y="117"/>
                    <a:pt x="10" y="117"/>
                    <a:pt x="10" y="117"/>
                  </a:cubicBezTo>
                  <a:cubicBezTo>
                    <a:pt x="12" y="115"/>
                    <a:pt x="14" y="114"/>
                    <a:pt x="15" y="112"/>
                  </a:cubicBezTo>
                  <a:cubicBezTo>
                    <a:pt x="16" y="111"/>
                    <a:pt x="15" y="110"/>
                    <a:pt x="16" y="110"/>
                  </a:cubicBezTo>
                  <a:cubicBezTo>
                    <a:pt x="17" y="109"/>
                    <a:pt x="19" y="108"/>
                    <a:pt x="19" y="107"/>
                  </a:cubicBezTo>
                  <a:cubicBezTo>
                    <a:pt x="21" y="107"/>
                    <a:pt x="19" y="106"/>
                    <a:pt x="21" y="106"/>
                  </a:cubicBezTo>
                  <a:cubicBezTo>
                    <a:pt x="21" y="106"/>
                    <a:pt x="21" y="106"/>
                    <a:pt x="21" y="106"/>
                  </a:cubicBezTo>
                  <a:cubicBezTo>
                    <a:pt x="22" y="106"/>
                    <a:pt x="25" y="107"/>
                    <a:pt x="26" y="108"/>
                  </a:cubicBezTo>
                  <a:cubicBezTo>
                    <a:pt x="27" y="108"/>
                    <a:pt x="28" y="109"/>
                    <a:pt x="28" y="109"/>
                  </a:cubicBezTo>
                  <a:cubicBezTo>
                    <a:pt x="29" y="109"/>
                    <a:pt x="29" y="108"/>
                    <a:pt x="30" y="107"/>
                  </a:cubicBezTo>
                  <a:cubicBezTo>
                    <a:pt x="32" y="104"/>
                    <a:pt x="30" y="105"/>
                    <a:pt x="28" y="104"/>
                  </a:cubicBezTo>
                  <a:cubicBezTo>
                    <a:pt x="26" y="102"/>
                    <a:pt x="25" y="100"/>
                    <a:pt x="24" y="99"/>
                  </a:cubicBezTo>
                  <a:cubicBezTo>
                    <a:pt x="22" y="97"/>
                    <a:pt x="22" y="98"/>
                    <a:pt x="20" y="97"/>
                  </a:cubicBezTo>
                  <a:cubicBezTo>
                    <a:pt x="18" y="97"/>
                    <a:pt x="18" y="97"/>
                    <a:pt x="16" y="96"/>
                  </a:cubicBezTo>
                  <a:cubicBezTo>
                    <a:pt x="13" y="94"/>
                    <a:pt x="11" y="94"/>
                    <a:pt x="12" y="90"/>
                  </a:cubicBezTo>
                  <a:cubicBezTo>
                    <a:pt x="13" y="86"/>
                    <a:pt x="16" y="85"/>
                    <a:pt x="18" y="85"/>
                  </a:cubicBezTo>
                  <a:cubicBezTo>
                    <a:pt x="20" y="85"/>
                    <a:pt x="22" y="85"/>
                    <a:pt x="24" y="86"/>
                  </a:cubicBezTo>
                  <a:cubicBezTo>
                    <a:pt x="25" y="87"/>
                    <a:pt x="25" y="88"/>
                    <a:pt x="26" y="89"/>
                  </a:cubicBezTo>
                  <a:cubicBezTo>
                    <a:pt x="27" y="90"/>
                    <a:pt x="28" y="91"/>
                    <a:pt x="27" y="92"/>
                  </a:cubicBezTo>
                  <a:cubicBezTo>
                    <a:pt x="27" y="92"/>
                    <a:pt x="28" y="92"/>
                    <a:pt x="28" y="92"/>
                  </a:cubicBezTo>
                  <a:cubicBezTo>
                    <a:pt x="30" y="92"/>
                    <a:pt x="35" y="87"/>
                    <a:pt x="37" y="86"/>
                  </a:cubicBezTo>
                  <a:cubicBezTo>
                    <a:pt x="39" y="85"/>
                    <a:pt x="41" y="84"/>
                    <a:pt x="44" y="84"/>
                  </a:cubicBezTo>
                  <a:cubicBezTo>
                    <a:pt x="45" y="84"/>
                    <a:pt x="47" y="84"/>
                    <a:pt x="50" y="85"/>
                  </a:cubicBezTo>
                  <a:cubicBezTo>
                    <a:pt x="51" y="85"/>
                    <a:pt x="54" y="88"/>
                    <a:pt x="56" y="88"/>
                  </a:cubicBezTo>
                  <a:cubicBezTo>
                    <a:pt x="58" y="89"/>
                    <a:pt x="59" y="91"/>
                    <a:pt x="61" y="92"/>
                  </a:cubicBezTo>
                  <a:cubicBezTo>
                    <a:pt x="66" y="95"/>
                    <a:pt x="73" y="96"/>
                    <a:pt x="78" y="100"/>
                  </a:cubicBezTo>
                  <a:cubicBezTo>
                    <a:pt x="78" y="100"/>
                    <a:pt x="80" y="102"/>
                    <a:pt x="80" y="102"/>
                  </a:cubicBezTo>
                  <a:cubicBezTo>
                    <a:pt x="80" y="102"/>
                    <a:pt x="80" y="102"/>
                    <a:pt x="81" y="102"/>
                  </a:cubicBezTo>
                  <a:cubicBezTo>
                    <a:pt x="82" y="102"/>
                    <a:pt x="83" y="99"/>
                    <a:pt x="83" y="97"/>
                  </a:cubicBezTo>
                  <a:cubicBezTo>
                    <a:pt x="84" y="94"/>
                    <a:pt x="83" y="92"/>
                    <a:pt x="85" y="89"/>
                  </a:cubicBezTo>
                  <a:cubicBezTo>
                    <a:pt x="87" y="87"/>
                    <a:pt x="88" y="84"/>
                    <a:pt x="90" y="83"/>
                  </a:cubicBezTo>
                  <a:cubicBezTo>
                    <a:pt x="92" y="81"/>
                    <a:pt x="96" y="77"/>
                    <a:pt x="98" y="76"/>
                  </a:cubicBezTo>
                  <a:cubicBezTo>
                    <a:pt x="101" y="74"/>
                    <a:pt x="106" y="74"/>
                    <a:pt x="109" y="74"/>
                  </a:cubicBezTo>
                  <a:cubicBezTo>
                    <a:pt x="111" y="74"/>
                    <a:pt x="112" y="74"/>
                    <a:pt x="113" y="74"/>
                  </a:cubicBezTo>
                  <a:cubicBezTo>
                    <a:pt x="114" y="74"/>
                    <a:pt x="115" y="74"/>
                    <a:pt x="115" y="74"/>
                  </a:cubicBezTo>
                  <a:cubicBezTo>
                    <a:pt x="116" y="74"/>
                    <a:pt x="117" y="74"/>
                    <a:pt x="117" y="74"/>
                  </a:cubicBezTo>
                  <a:cubicBezTo>
                    <a:pt x="118" y="73"/>
                    <a:pt x="118" y="72"/>
                    <a:pt x="118" y="72"/>
                  </a:cubicBezTo>
                  <a:cubicBezTo>
                    <a:pt x="118" y="72"/>
                    <a:pt x="119" y="72"/>
                    <a:pt x="119" y="72"/>
                  </a:cubicBezTo>
                  <a:cubicBezTo>
                    <a:pt x="120" y="73"/>
                    <a:pt x="120" y="73"/>
                    <a:pt x="121" y="73"/>
                  </a:cubicBezTo>
                  <a:cubicBezTo>
                    <a:pt x="121" y="73"/>
                    <a:pt x="121" y="73"/>
                    <a:pt x="121" y="73"/>
                  </a:cubicBezTo>
                  <a:cubicBezTo>
                    <a:pt x="122" y="73"/>
                    <a:pt x="124" y="72"/>
                    <a:pt x="125" y="72"/>
                  </a:cubicBezTo>
                  <a:cubicBezTo>
                    <a:pt x="130" y="68"/>
                    <a:pt x="136" y="65"/>
                    <a:pt x="142" y="62"/>
                  </a:cubicBezTo>
                  <a:cubicBezTo>
                    <a:pt x="141" y="62"/>
                    <a:pt x="133" y="63"/>
                    <a:pt x="135" y="66"/>
                  </a:cubicBezTo>
                  <a:cubicBezTo>
                    <a:pt x="134" y="65"/>
                    <a:pt x="132" y="65"/>
                    <a:pt x="131" y="65"/>
                  </a:cubicBezTo>
                  <a:cubicBezTo>
                    <a:pt x="129" y="64"/>
                    <a:pt x="130" y="62"/>
                    <a:pt x="129" y="60"/>
                  </a:cubicBezTo>
                  <a:cubicBezTo>
                    <a:pt x="129" y="58"/>
                    <a:pt x="128" y="57"/>
                    <a:pt x="128" y="55"/>
                  </a:cubicBezTo>
                  <a:cubicBezTo>
                    <a:pt x="129" y="56"/>
                    <a:pt x="130" y="56"/>
                    <a:pt x="131" y="56"/>
                  </a:cubicBezTo>
                  <a:cubicBezTo>
                    <a:pt x="129" y="55"/>
                    <a:pt x="125" y="53"/>
                    <a:pt x="124" y="50"/>
                  </a:cubicBezTo>
                  <a:cubicBezTo>
                    <a:pt x="125" y="48"/>
                    <a:pt x="125" y="48"/>
                    <a:pt x="125" y="48"/>
                  </a:cubicBezTo>
                  <a:cubicBezTo>
                    <a:pt x="126" y="46"/>
                    <a:pt x="126" y="45"/>
                    <a:pt x="127" y="43"/>
                  </a:cubicBezTo>
                  <a:cubicBezTo>
                    <a:pt x="129" y="41"/>
                    <a:pt x="133" y="37"/>
                    <a:pt x="131" y="34"/>
                  </a:cubicBezTo>
                  <a:cubicBezTo>
                    <a:pt x="127" y="37"/>
                    <a:pt x="123" y="41"/>
                    <a:pt x="120" y="45"/>
                  </a:cubicBezTo>
                  <a:cubicBezTo>
                    <a:pt x="118" y="46"/>
                    <a:pt x="117" y="46"/>
                    <a:pt x="115" y="46"/>
                  </a:cubicBezTo>
                  <a:cubicBezTo>
                    <a:pt x="114" y="46"/>
                    <a:pt x="113" y="46"/>
                    <a:pt x="112" y="46"/>
                  </a:cubicBezTo>
                  <a:cubicBezTo>
                    <a:pt x="109" y="45"/>
                    <a:pt x="107" y="45"/>
                    <a:pt x="105" y="44"/>
                  </a:cubicBezTo>
                  <a:cubicBezTo>
                    <a:pt x="104" y="44"/>
                    <a:pt x="103" y="44"/>
                    <a:pt x="102" y="43"/>
                  </a:cubicBezTo>
                  <a:cubicBezTo>
                    <a:pt x="102" y="43"/>
                    <a:pt x="103" y="42"/>
                    <a:pt x="102" y="41"/>
                  </a:cubicBezTo>
                  <a:cubicBezTo>
                    <a:pt x="102" y="41"/>
                    <a:pt x="101" y="41"/>
                    <a:pt x="100" y="41"/>
                  </a:cubicBezTo>
                  <a:cubicBezTo>
                    <a:pt x="100" y="41"/>
                    <a:pt x="99" y="41"/>
                    <a:pt x="98" y="41"/>
                  </a:cubicBezTo>
                  <a:cubicBezTo>
                    <a:pt x="98" y="41"/>
                    <a:pt x="98" y="41"/>
                    <a:pt x="97" y="41"/>
                  </a:cubicBezTo>
                  <a:cubicBezTo>
                    <a:pt x="90" y="41"/>
                    <a:pt x="82" y="32"/>
                    <a:pt x="76" y="27"/>
                  </a:cubicBezTo>
                  <a:cubicBezTo>
                    <a:pt x="67" y="19"/>
                    <a:pt x="59" y="9"/>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1156"/>
            <p:cNvSpPr/>
            <p:nvPr/>
          </p:nvSpPr>
          <p:spPr bwMode="auto">
            <a:xfrm>
              <a:off x="5067317" y="2275262"/>
              <a:ext cx="186585" cy="244305"/>
            </a:xfrm>
            <a:custGeom>
              <a:gdLst>
                <a:gd name="T0" fmla="*/ 31 w 59"/>
                <a:gd name="T1" fmla="*/ 0 h 77"/>
                <a:gd name="T2" fmla="*/ 29 w 59"/>
                <a:gd name="T3" fmla="*/ 0 h 77"/>
                <a:gd name="T4" fmla="*/ 22 w 59"/>
                <a:gd name="T5" fmla="*/ 4 h 77"/>
                <a:gd name="T6" fmla="*/ 12 w 59"/>
                <a:gd name="T7" fmla="*/ 12 h 77"/>
                <a:gd name="T8" fmla="*/ 6 w 59"/>
                <a:gd name="T9" fmla="*/ 16 h 77"/>
                <a:gd name="T10" fmla="*/ 4 w 59"/>
                <a:gd name="T11" fmla="*/ 22 h 77"/>
                <a:gd name="T12" fmla="*/ 5 w 59"/>
                <a:gd name="T13" fmla="*/ 36 h 77"/>
                <a:gd name="T14" fmla="*/ 15 w 59"/>
                <a:gd name="T15" fmla="*/ 35 h 77"/>
                <a:gd name="T16" fmla="*/ 19 w 59"/>
                <a:gd name="T17" fmla="*/ 34 h 77"/>
                <a:gd name="T18" fmla="*/ 15 w 59"/>
                <a:gd name="T19" fmla="*/ 26 h 77"/>
                <a:gd name="T20" fmla="*/ 17 w 59"/>
                <a:gd name="T21" fmla="*/ 20 h 77"/>
                <a:gd name="T22" fmla="*/ 22 w 59"/>
                <a:gd name="T23" fmla="*/ 27 h 77"/>
                <a:gd name="T24" fmla="*/ 22 w 59"/>
                <a:gd name="T25" fmla="*/ 35 h 77"/>
                <a:gd name="T26" fmla="*/ 26 w 59"/>
                <a:gd name="T27" fmla="*/ 34 h 77"/>
                <a:gd name="T28" fmla="*/ 22 w 59"/>
                <a:gd name="T29" fmla="*/ 42 h 77"/>
                <a:gd name="T30" fmla="*/ 16 w 59"/>
                <a:gd name="T31" fmla="*/ 67 h 77"/>
                <a:gd name="T32" fmla="*/ 14 w 59"/>
                <a:gd name="T33" fmla="*/ 67 h 77"/>
                <a:gd name="T34" fmla="*/ 21 w 59"/>
                <a:gd name="T35" fmla="*/ 71 h 77"/>
                <a:gd name="T36" fmla="*/ 26 w 59"/>
                <a:gd name="T37" fmla="*/ 72 h 77"/>
                <a:gd name="T38" fmla="*/ 25 w 59"/>
                <a:gd name="T39" fmla="*/ 60 h 77"/>
                <a:gd name="T40" fmla="*/ 30 w 59"/>
                <a:gd name="T41" fmla="*/ 60 h 77"/>
                <a:gd name="T42" fmla="*/ 27 w 59"/>
                <a:gd name="T43" fmla="*/ 77 h 77"/>
                <a:gd name="T44" fmla="*/ 38 w 59"/>
                <a:gd name="T45" fmla="*/ 65 h 77"/>
                <a:gd name="T46" fmla="*/ 45 w 59"/>
                <a:gd name="T47" fmla="*/ 61 h 77"/>
                <a:gd name="T48" fmla="*/ 51 w 59"/>
                <a:gd name="T49" fmla="*/ 41 h 77"/>
                <a:gd name="T50" fmla="*/ 59 w 59"/>
                <a:gd name="T51" fmla="*/ 26 h 77"/>
                <a:gd name="T52" fmla="*/ 55 w 59"/>
                <a:gd name="T53" fmla="*/ 18 h 77"/>
                <a:gd name="T54" fmla="*/ 54 w 59"/>
                <a:gd name="T55" fmla="*/ 18 h 77"/>
                <a:gd name="T56" fmla="*/ 52 w 59"/>
                <a:gd name="T57" fmla="*/ 18 h 77"/>
                <a:gd name="T58" fmla="*/ 46 w 59"/>
                <a:gd name="T59" fmla="*/ 15 h 77"/>
                <a:gd name="T60" fmla="*/ 48 w 59"/>
                <a:gd name="T61" fmla="*/ 7 h 77"/>
                <a:gd name="T62" fmla="*/ 46 w 59"/>
                <a:gd name="T63" fmla="*/ 8 h 77"/>
                <a:gd name="T64" fmla="*/ 42 w 59"/>
                <a:gd name="T65" fmla="*/ 10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77">
                  <a:moveTo>
                    <a:pt x="34" y="0"/>
                  </a:moveTo>
                  <a:cubicBezTo>
                    <a:pt x="33" y="0"/>
                    <a:pt x="32" y="0"/>
                    <a:pt x="31" y="0"/>
                  </a:cubicBezTo>
                  <a:cubicBezTo>
                    <a:pt x="31" y="0"/>
                    <a:pt x="30" y="0"/>
                    <a:pt x="30" y="0"/>
                  </a:cubicBezTo>
                  <a:cubicBezTo>
                    <a:pt x="30" y="0"/>
                    <a:pt x="29" y="0"/>
                    <a:pt x="29" y="0"/>
                  </a:cubicBezTo>
                  <a:cubicBezTo>
                    <a:pt x="28" y="0"/>
                    <a:pt x="27" y="1"/>
                    <a:pt x="26" y="1"/>
                  </a:cubicBezTo>
                  <a:cubicBezTo>
                    <a:pt x="23" y="2"/>
                    <a:pt x="23" y="2"/>
                    <a:pt x="22" y="4"/>
                  </a:cubicBezTo>
                  <a:cubicBezTo>
                    <a:pt x="20" y="7"/>
                    <a:pt x="20" y="6"/>
                    <a:pt x="17" y="7"/>
                  </a:cubicBezTo>
                  <a:cubicBezTo>
                    <a:pt x="14" y="8"/>
                    <a:pt x="13" y="10"/>
                    <a:pt x="12" y="12"/>
                  </a:cubicBezTo>
                  <a:cubicBezTo>
                    <a:pt x="10" y="12"/>
                    <a:pt x="9" y="11"/>
                    <a:pt x="8" y="10"/>
                  </a:cubicBezTo>
                  <a:cubicBezTo>
                    <a:pt x="6" y="12"/>
                    <a:pt x="6" y="13"/>
                    <a:pt x="6" y="16"/>
                  </a:cubicBezTo>
                  <a:cubicBezTo>
                    <a:pt x="5" y="16"/>
                    <a:pt x="3" y="15"/>
                    <a:pt x="1" y="15"/>
                  </a:cubicBezTo>
                  <a:cubicBezTo>
                    <a:pt x="0" y="19"/>
                    <a:pt x="2" y="19"/>
                    <a:pt x="4" y="22"/>
                  </a:cubicBezTo>
                  <a:cubicBezTo>
                    <a:pt x="2" y="25"/>
                    <a:pt x="2" y="27"/>
                    <a:pt x="4" y="30"/>
                  </a:cubicBezTo>
                  <a:cubicBezTo>
                    <a:pt x="6" y="32"/>
                    <a:pt x="8" y="33"/>
                    <a:pt x="5" y="36"/>
                  </a:cubicBezTo>
                  <a:cubicBezTo>
                    <a:pt x="8" y="34"/>
                    <a:pt x="12" y="32"/>
                    <a:pt x="15" y="30"/>
                  </a:cubicBezTo>
                  <a:cubicBezTo>
                    <a:pt x="16" y="32"/>
                    <a:pt x="13" y="34"/>
                    <a:pt x="15" y="35"/>
                  </a:cubicBezTo>
                  <a:cubicBezTo>
                    <a:pt x="15" y="35"/>
                    <a:pt x="15" y="35"/>
                    <a:pt x="15" y="35"/>
                  </a:cubicBezTo>
                  <a:cubicBezTo>
                    <a:pt x="16" y="35"/>
                    <a:pt x="18" y="34"/>
                    <a:pt x="19" y="34"/>
                  </a:cubicBezTo>
                  <a:cubicBezTo>
                    <a:pt x="17" y="32"/>
                    <a:pt x="15" y="30"/>
                    <a:pt x="13" y="29"/>
                  </a:cubicBezTo>
                  <a:cubicBezTo>
                    <a:pt x="14" y="28"/>
                    <a:pt x="16" y="26"/>
                    <a:pt x="15" y="26"/>
                  </a:cubicBezTo>
                  <a:cubicBezTo>
                    <a:pt x="15" y="24"/>
                    <a:pt x="14" y="23"/>
                    <a:pt x="14" y="21"/>
                  </a:cubicBezTo>
                  <a:cubicBezTo>
                    <a:pt x="15" y="21"/>
                    <a:pt x="15" y="20"/>
                    <a:pt x="17" y="20"/>
                  </a:cubicBezTo>
                  <a:cubicBezTo>
                    <a:pt x="17" y="20"/>
                    <a:pt x="18" y="20"/>
                    <a:pt x="18" y="21"/>
                  </a:cubicBezTo>
                  <a:cubicBezTo>
                    <a:pt x="20" y="21"/>
                    <a:pt x="21" y="25"/>
                    <a:pt x="22" y="27"/>
                  </a:cubicBezTo>
                  <a:cubicBezTo>
                    <a:pt x="23" y="29"/>
                    <a:pt x="24" y="30"/>
                    <a:pt x="25" y="32"/>
                  </a:cubicBezTo>
                  <a:cubicBezTo>
                    <a:pt x="24" y="33"/>
                    <a:pt x="23" y="34"/>
                    <a:pt x="22" y="35"/>
                  </a:cubicBezTo>
                  <a:cubicBezTo>
                    <a:pt x="23" y="34"/>
                    <a:pt x="24" y="34"/>
                    <a:pt x="25" y="34"/>
                  </a:cubicBezTo>
                  <a:cubicBezTo>
                    <a:pt x="25" y="34"/>
                    <a:pt x="26" y="34"/>
                    <a:pt x="26" y="34"/>
                  </a:cubicBezTo>
                  <a:cubicBezTo>
                    <a:pt x="25" y="35"/>
                    <a:pt x="23" y="42"/>
                    <a:pt x="22" y="42"/>
                  </a:cubicBezTo>
                  <a:cubicBezTo>
                    <a:pt x="22" y="42"/>
                    <a:pt x="22" y="42"/>
                    <a:pt x="22" y="42"/>
                  </a:cubicBezTo>
                  <a:cubicBezTo>
                    <a:pt x="19" y="49"/>
                    <a:pt x="12" y="49"/>
                    <a:pt x="15" y="57"/>
                  </a:cubicBezTo>
                  <a:cubicBezTo>
                    <a:pt x="16" y="58"/>
                    <a:pt x="19" y="67"/>
                    <a:pt x="16" y="67"/>
                  </a:cubicBezTo>
                  <a:cubicBezTo>
                    <a:pt x="15" y="67"/>
                    <a:pt x="15" y="67"/>
                    <a:pt x="14" y="66"/>
                  </a:cubicBezTo>
                  <a:cubicBezTo>
                    <a:pt x="14" y="67"/>
                    <a:pt x="14" y="67"/>
                    <a:pt x="14" y="67"/>
                  </a:cubicBezTo>
                  <a:cubicBezTo>
                    <a:pt x="14" y="68"/>
                    <a:pt x="17" y="70"/>
                    <a:pt x="17" y="70"/>
                  </a:cubicBezTo>
                  <a:cubicBezTo>
                    <a:pt x="19" y="71"/>
                    <a:pt x="20" y="71"/>
                    <a:pt x="21" y="71"/>
                  </a:cubicBezTo>
                  <a:cubicBezTo>
                    <a:pt x="22" y="71"/>
                    <a:pt x="23" y="73"/>
                    <a:pt x="25" y="73"/>
                  </a:cubicBezTo>
                  <a:cubicBezTo>
                    <a:pt x="25" y="73"/>
                    <a:pt x="25" y="73"/>
                    <a:pt x="26" y="72"/>
                  </a:cubicBezTo>
                  <a:cubicBezTo>
                    <a:pt x="27" y="71"/>
                    <a:pt x="24" y="68"/>
                    <a:pt x="24" y="67"/>
                  </a:cubicBezTo>
                  <a:cubicBezTo>
                    <a:pt x="23" y="64"/>
                    <a:pt x="23" y="62"/>
                    <a:pt x="25" y="60"/>
                  </a:cubicBezTo>
                  <a:cubicBezTo>
                    <a:pt x="25" y="60"/>
                    <a:pt x="27" y="58"/>
                    <a:pt x="28" y="58"/>
                  </a:cubicBezTo>
                  <a:cubicBezTo>
                    <a:pt x="29" y="58"/>
                    <a:pt x="29" y="58"/>
                    <a:pt x="30" y="60"/>
                  </a:cubicBezTo>
                  <a:cubicBezTo>
                    <a:pt x="30" y="61"/>
                    <a:pt x="29" y="62"/>
                    <a:pt x="28" y="62"/>
                  </a:cubicBezTo>
                  <a:cubicBezTo>
                    <a:pt x="29" y="69"/>
                    <a:pt x="30" y="70"/>
                    <a:pt x="27" y="77"/>
                  </a:cubicBezTo>
                  <a:cubicBezTo>
                    <a:pt x="30" y="74"/>
                    <a:pt x="34" y="72"/>
                    <a:pt x="37" y="70"/>
                  </a:cubicBezTo>
                  <a:cubicBezTo>
                    <a:pt x="37" y="68"/>
                    <a:pt x="38" y="66"/>
                    <a:pt x="38" y="65"/>
                  </a:cubicBezTo>
                  <a:cubicBezTo>
                    <a:pt x="39" y="65"/>
                    <a:pt x="41" y="66"/>
                    <a:pt x="41" y="66"/>
                  </a:cubicBezTo>
                  <a:cubicBezTo>
                    <a:pt x="43" y="66"/>
                    <a:pt x="44" y="64"/>
                    <a:pt x="45" y="61"/>
                  </a:cubicBezTo>
                  <a:cubicBezTo>
                    <a:pt x="45" y="59"/>
                    <a:pt x="46" y="58"/>
                    <a:pt x="46" y="56"/>
                  </a:cubicBezTo>
                  <a:cubicBezTo>
                    <a:pt x="47" y="51"/>
                    <a:pt x="49" y="46"/>
                    <a:pt x="51" y="41"/>
                  </a:cubicBezTo>
                  <a:cubicBezTo>
                    <a:pt x="52" y="38"/>
                    <a:pt x="54" y="35"/>
                    <a:pt x="55" y="32"/>
                  </a:cubicBezTo>
                  <a:cubicBezTo>
                    <a:pt x="56" y="30"/>
                    <a:pt x="58" y="28"/>
                    <a:pt x="59" y="26"/>
                  </a:cubicBezTo>
                  <a:cubicBezTo>
                    <a:pt x="59" y="26"/>
                    <a:pt x="59" y="26"/>
                    <a:pt x="58" y="26"/>
                  </a:cubicBezTo>
                  <a:cubicBezTo>
                    <a:pt x="58" y="24"/>
                    <a:pt x="58" y="19"/>
                    <a:pt x="55" y="18"/>
                  </a:cubicBezTo>
                  <a:cubicBezTo>
                    <a:pt x="55" y="18"/>
                    <a:pt x="55" y="18"/>
                    <a:pt x="55" y="18"/>
                  </a:cubicBezTo>
                  <a:cubicBezTo>
                    <a:pt x="55" y="18"/>
                    <a:pt x="54" y="18"/>
                    <a:pt x="54" y="18"/>
                  </a:cubicBezTo>
                  <a:cubicBezTo>
                    <a:pt x="53" y="18"/>
                    <a:pt x="52" y="18"/>
                    <a:pt x="52" y="18"/>
                  </a:cubicBezTo>
                  <a:cubicBezTo>
                    <a:pt x="52" y="18"/>
                    <a:pt x="52" y="18"/>
                    <a:pt x="52" y="18"/>
                  </a:cubicBezTo>
                  <a:cubicBezTo>
                    <a:pt x="50" y="18"/>
                    <a:pt x="46" y="17"/>
                    <a:pt x="46" y="15"/>
                  </a:cubicBezTo>
                  <a:cubicBezTo>
                    <a:pt x="46" y="15"/>
                    <a:pt x="46" y="15"/>
                    <a:pt x="46" y="15"/>
                  </a:cubicBezTo>
                  <a:cubicBezTo>
                    <a:pt x="47" y="15"/>
                    <a:pt x="49" y="15"/>
                    <a:pt x="49" y="15"/>
                  </a:cubicBezTo>
                  <a:cubicBezTo>
                    <a:pt x="51" y="13"/>
                    <a:pt x="51" y="7"/>
                    <a:pt x="48" y="7"/>
                  </a:cubicBezTo>
                  <a:cubicBezTo>
                    <a:pt x="48" y="7"/>
                    <a:pt x="48" y="7"/>
                    <a:pt x="48" y="7"/>
                  </a:cubicBezTo>
                  <a:cubicBezTo>
                    <a:pt x="47" y="7"/>
                    <a:pt x="46" y="7"/>
                    <a:pt x="46" y="8"/>
                  </a:cubicBezTo>
                  <a:cubicBezTo>
                    <a:pt x="44" y="9"/>
                    <a:pt x="45" y="9"/>
                    <a:pt x="43" y="10"/>
                  </a:cubicBezTo>
                  <a:cubicBezTo>
                    <a:pt x="43" y="10"/>
                    <a:pt x="43" y="10"/>
                    <a:pt x="42" y="10"/>
                  </a:cubicBezTo>
                  <a:cubicBezTo>
                    <a:pt x="38" y="10"/>
                    <a:pt x="32" y="4"/>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1157"/>
            <p:cNvSpPr/>
            <p:nvPr/>
          </p:nvSpPr>
          <p:spPr bwMode="auto">
            <a:xfrm>
              <a:off x="5076713" y="2284658"/>
              <a:ext cx="5369" cy="6712"/>
            </a:xfrm>
            <a:custGeom>
              <a:gdLst>
                <a:gd name="T0" fmla="*/ 2 w 2"/>
                <a:gd name="T1" fmla="*/ 0 h 2"/>
                <a:gd name="T2" fmla="*/ 0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0" y="2"/>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1158"/>
            <p:cNvSpPr/>
            <p:nvPr/>
          </p:nvSpPr>
          <p:spPr bwMode="auto">
            <a:xfrm>
              <a:off x="5165308" y="1618859"/>
              <a:ext cx="844329" cy="698015"/>
            </a:xfrm>
            <a:custGeom>
              <a:gdLst>
                <a:gd name="T0" fmla="*/ 233 w 266"/>
                <a:gd name="T1" fmla="*/ 10 h 220"/>
                <a:gd name="T2" fmla="*/ 243 w 266"/>
                <a:gd name="T3" fmla="*/ 8 h 220"/>
                <a:gd name="T4" fmla="*/ 242 w 266"/>
                <a:gd name="T5" fmla="*/ 19 h 220"/>
                <a:gd name="T6" fmla="*/ 236 w 266"/>
                <a:gd name="T7" fmla="*/ 19 h 220"/>
                <a:gd name="T8" fmla="*/ 234 w 266"/>
                <a:gd name="T9" fmla="*/ 20 h 220"/>
                <a:gd name="T10" fmla="*/ 223 w 266"/>
                <a:gd name="T11" fmla="*/ 8 h 220"/>
                <a:gd name="T12" fmla="*/ 213 w 266"/>
                <a:gd name="T13" fmla="*/ 31 h 220"/>
                <a:gd name="T14" fmla="*/ 211 w 266"/>
                <a:gd name="T15" fmla="*/ 47 h 220"/>
                <a:gd name="T16" fmla="*/ 213 w 266"/>
                <a:gd name="T17" fmla="*/ 46 h 220"/>
                <a:gd name="T18" fmla="*/ 214 w 266"/>
                <a:gd name="T19" fmla="*/ 59 h 220"/>
                <a:gd name="T20" fmla="*/ 201 w 266"/>
                <a:gd name="T21" fmla="*/ 94 h 220"/>
                <a:gd name="T22" fmla="*/ 179 w 266"/>
                <a:gd name="T23" fmla="*/ 116 h 220"/>
                <a:gd name="T24" fmla="*/ 146 w 266"/>
                <a:gd name="T25" fmla="*/ 131 h 220"/>
                <a:gd name="T26" fmla="*/ 145 w 266"/>
                <a:gd name="T27" fmla="*/ 123 h 220"/>
                <a:gd name="T28" fmla="*/ 144 w 266"/>
                <a:gd name="T29" fmla="*/ 123 h 220"/>
                <a:gd name="T30" fmla="*/ 148 w 266"/>
                <a:gd name="T31" fmla="*/ 117 h 220"/>
                <a:gd name="T32" fmla="*/ 150 w 266"/>
                <a:gd name="T33" fmla="*/ 117 h 220"/>
                <a:gd name="T34" fmla="*/ 150 w 266"/>
                <a:gd name="T35" fmla="*/ 111 h 220"/>
                <a:gd name="T36" fmla="*/ 139 w 266"/>
                <a:gd name="T37" fmla="*/ 127 h 220"/>
                <a:gd name="T38" fmla="*/ 123 w 266"/>
                <a:gd name="T39" fmla="*/ 161 h 220"/>
                <a:gd name="T40" fmla="*/ 114 w 266"/>
                <a:gd name="T41" fmla="*/ 165 h 220"/>
                <a:gd name="T42" fmla="*/ 105 w 266"/>
                <a:gd name="T43" fmla="*/ 167 h 220"/>
                <a:gd name="T44" fmla="*/ 103 w 266"/>
                <a:gd name="T45" fmla="*/ 159 h 220"/>
                <a:gd name="T46" fmla="*/ 42 w 266"/>
                <a:gd name="T47" fmla="*/ 168 h 220"/>
                <a:gd name="T48" fmla="*/ 14 w 266"/>
                <a:gd name="T49" fmla="*/ 191 h 220"/>
                <a:gd name="T50" fmla="*/ 6 w 266"/>
                <a:gd name="T51" fmla="*/ 195 h 220"/>
                <a:gd name="T52" fmla="*/ 2 w 266"/>
                <a:gd name="T53" fmla="*/ 195 h 220"/>
                <a:gd name="T54" fmla="*/ 0 w 266"/>
                <a:gd name="T55" fmla="*/ 202 h 220"/>
                <a:gd name="T56" fmla="*/ 1 w 266"/>
                <a:gd name="T57" fmla="*/ 207 h 220"/>
                <a:gd name="T58" fmla="*/ 3 w 266"/>
                <a:gd name="T59" fmla="*/ 207 h 220"/>
                <a:gd name="T60" fmla="*/ 29 w 266"/>
                <a:gd name="T61" fmla="*/ 209 h 220"/>
                <a:gd name="T62" fmla="*/ 42 w 266"/>
                <a:gd name="T63" fmla="*/ 200 h 220"/>
                <a:gd name="T64" fmla="*/ 62 w 266"/>
                <a:gd name="T65" fmla="*/ 193 h 220"/>
                <a:gd name="T66" fmla="*/ 71 w 266"/>
                <a:gd name="T67" fmla="*/ 193 h 220"/>
                <a:gd name="T68" fmla="*/ 106 w 266"/>
                <a:gd name="T69" fmla="*/ 187 h 220"/>
                <a:gd name="T70" fmla="*/ 101 w 266"/>
                <a:gd name="T71" fmla="*/ 201 h 220"/>
                <a:gd name="T72" fmla="*/ 107 w 266"/>
                <a:gd name="T73" fmla="*/ 213 h 220"/>
                <a:gd name="T74" fmla="*/ 134 w 266"/>
                <a:gd name="T75" fmla="*/ 198 h 220"/>
                <a:gd name="T76" fmla="*/ 137 w 266"/>
                <a:gd name="T77" fmla="*/ 196 h 220"/>
                <a:gd name="T78" fmla="*/ 141 w 266"/>
                <a:gd name="T79" fmla="*/ 199 h 220"/>
                <a:gd name="T80" fmla="*/ 134 w 266"/>
                <a:gd name="T81" fmla="*/ 186 h 220"/>
                <a:gd name="T82" fmla="*/ 142 w 266"/>
                <a:gd name="T83" fmla="*/ 186 h 220"/>
                <a:gd name="T84" fmla="*/ 149 w 266"/>
                <a:gd name="T85" fmla="*/ 188 h 220"/>
                <a:gd name="T86" fmla="*/ 175 w 266"/>
                <a:gd name="T87" fmla="*/ 185 h 220"/>
                <a:gd name="T88" fmla="*/ 180 w 266"/>
                <a:gd name="T89" fmla="*/ 179 h 220"/>
                <a:gd name="T90" fmla="*/ 189 w 266"/>
                <a:gd name="T91" fmla="*/ 178 h 220"/>
                <a:gd name="T92" fmla="*/ 190 w 266"/>
                <a:gd name="T93" fmla="*/ 188 h 220"/>
                <a:gd name="T94" fmla="*/ 201 w 266"/>
                <a:gd name="T95" fmla="*/ 174 h 220"/>
                <a:gd name="T96" fmla="*/ 211 w 266"/>
                <a:gd name="T97" fmla="*/ 181 h 220"/>
                <a:gd name="T98" fmla="*/ 224 w 266"/>
                <a:gd name="T99" fmla="*/ 171 h 220"/>
                <a:gd name="T100" fmla="*/ 230 w 266"/>
                <a:gd name="T101" fmla="*/ 141 h 220"/>
                <a:gd name="T102" fmla="*/ 239 w 266"/>
                <a:gd name="T103" fmla="*/ 119 h 220"/>
                <a:gd name="T104" fmla="*/ 243 w 266"/>
                <a:gd name="T105" fmla="*/ 88 h 220"/>
                <a:gd name="T106" fmla="*/ 251 w 266"/>
                <a:gd name="T107" fmla="*/ 91 h 220"/>
                <a:gd name="T108" fmla="*/ 256 w 266"/>
                <a:gd name="T109" fmla="*/ 71 h 220"/>
                <a:gd name="T110" fmla="*/ 262 w 266"/>
                <a:gd name="T111" fmla="*/ 57 h 220"/>
                <a:gd name="T112" fmla="*/ 249 w 266"/>
                <a:gd name="T113" fmla="*/ 6 h 220"/>
                <a:gd name="T114" fmla="*/ 238 w 266"/>
                <a:gd name="T115" fmla="*/ 0 h 2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6" h="220">
                  <a:moveTo>
                    <a:pt x="238" y="0"/>
                  </a:moveTo>
                  <a:cubicBezTo>
                    <a:pt x="238" y="0"/>
                    <a:pt x="238" y="0"/>
                    <a:pt x="238" y="1"/>
                  </a:cubicBezTo>
                  <a:cubicBezTo>
                    <a:pt x="237" y="1"/>
                    <a:pt x="232" y="8"/>
                    <a:pt x="233" y="10"/>
                  </a:cubicBezTo>
                  <a:cubicBezTo>
                    <a:pt x="233" y="11"/>
                    <a:pt x="234" y="11"/>
                    <a:pt x="235" y="11"/>
                  </a:cubicBezTo>
                  <a:cubicBezTo>
                    <a:pt x="236" y="11"/>
                    <a:pt x="237" y="10"/>
                    <a:pt x="239" y="10"/>
                  </a:cubicBezTo>
                  <a:cubicBezTo>
                    <a:pt x="240" y="9"/>
                    <a:pt x="242" y="8"/>
                    <a:pt x="243" y="8"/>
                  </a:cubicBezTo>
                  <a:cubicBezTo>
                    <a:pt x="243" y="8"/>
                    <a:pt x="243" y="8"/>
                    <a:pt x="243" y="8"/>
                  </a:cubicBezTo>
                  <a:cubicBezTo>
                    <a:pt x="246" y="9"/>
                    <a:pt x="245" y="13"/>
                    <a:pt x="244" y="15"/>
                  </a:cubicBezTo>
                  <a:cubicBezTo>
                    <a:pt x="244" y="16"/>
                    <a:pt x="243" y="18"/>
                    <a:pt x="242" y="19"/>
                  </a:cubicBezTo>
                  <a:cubicBezTo>
                    <a:pt x="242" y="19"/>
                    <a:pt x="241" y="19"/>
                    <a:pt x="240" y="19"/>
                  </a:cubicBezTo>
                  <a:cubicBezTo>
                    <a:pt x="240" y="19"/>
                    <a:pt x="239" y="19"/>
                    <a:pt x="238" y="19"/>
                  </a:cubicBezTo>
                  <a:cubicBezTo>
                    <a:pt x="237" y="19"/>
                    <a:pt x="237" y="19"/>
                    <a:pt x="236" y="19"/>
                  </a:cubicBezTo>
                  <a:cubicBezTo>
                    <a:pt x="236" y="19"/>
                    <a:pt x="236" y="19"/>
                    <a:pt x="235" y="19"/>
                  </a:cubicBezTo>
                  <a:cubicBezTo>
                    <a:pt x="235" y="19"/>
                    <a:pt x="235" y="20"/>
                    <a:pt x="234" y="20"/>
                  </a:cubicBezTo>
                  <a:cubicBezTo>
                    <a:pt x="234" y="20"/>
                    <a:pt x="234" y="20"/>
                    <a:pt x="234" y="20"/>
                  </a:cubicBezTo>
                  <a:cubicBezTo>
                    <a:pt x="231" y="19"/>
                    <a:pt x="231" y="15"/>
                    <a:pt x="230" y="12"/>
                  </a:cubicBezTo>
                  <a:cubicBezTo>
                    <a:pt x="230" y="11"/>
                    <a:pt x="231" y="11"/>
                    <a:pt x="230" y="10"/>
                  </a:cubicBezTo>
                  <a:cubicBezTo>
                    <a:pt x="229" y="9"/>
                    <a:pt x="224" y="8"/>
                    <a:pt x="223" y="8"/>
                  </a:cubicBezTo>
                  <a:cubicBezTo>
                    <a:pt x="223" y="12"/>
                    <a:pt x="225" y="14"/>
                    <a:pt x="222" y="17"/>
                  </a:cubicBezTo>
                  <a:cubicBezTo>
                    <a:pt x="220" y="19"/>
                    <a:pt x="217" y="21"/>
                    <a:pt x="215" y="23"/>
                  </a:cubicBezTo>
                  <a:cubicBezTo>
                    <a:pt x="212" y="26"/>
                    <a:pt x="212" y="26"/>
                    <a:pt x="213" y="31"/>
                  </a:cubicBezTo>
                  <a:cubicBezTo>
                    <a:pt x="215" y="33"/>
                    <a:pt x="212" y="41"/>
                    <a:pt x="210" y="44"/>
                  </a:cubicBezTo>
                  <a:cubicBezTo>
                    <a:pt x="210" y="44"/>
                    <a:pt x="209" y="43"/>
                    <a:pt x="208" y="43"/>
                  </a:cubicBezTo>
                  <a:cubicBezTo>
                    <a:pt x="209" y="44"/>
                    <a:pt x="210" y="46"/>
                    <a:pt x="211" y="47"/>
                  </a:cubicBezTo>
                  <a:cubicBezTo>
                    <a:pt x="211" y="47"/>
                    <a:pt x="211" y="47"/>
                    <a:pt x="211" y="47"/>
                  </a:cubicBezTo>
                  <a:cubicBezTo>
                    <a:pt x="212" y="47"/>
                    <a:pt x="212" y="46"/>
                    <a:pt x="212" y="46"/>
                  </a:cubicBezTo>
                  <a:cubicBezTo>
                    <a:pt x="212" y="46"/>
                    <a:pt x="212" y="46"/>
                    <a:pt x="213" y="46"/>
                  </a:cubicBezTo>
                  <a:cubicBezTo>
                    <a:pt x="213" y="46"/>
                    <a:pt x="213" y="46"/>
                    <a:pt x="213" y="46"/>
                  </a:cubicBezTo>
                  <a:cubicBezTo>
                    <a:pt x="214" y="46"/>
                    <a:pt x="215" y="46"/>
                    <a:pt x="216" y="48"/>
                  </a:cubicBezTo>
                  <a:cubicBezTo>
                    <a:pt x="218" y="51"/>
                    <a:pt x="215" y="56"/>
                    <a:pt x="214" y="59"/>
                  </a:cubicBezTo>
                  <a:cubicBezTo>
                    <a:pt x="212" y="67"/>
                    <a:pt x="210" y="73"/>
                    <a:pt x="206" y="80"/>
                  </a:cubicBezTo>
                  <a:cubicBezTo>
                    <a:pt x="204" y="83"/>
                    <a:pt x="203" y="86"/>
                    <a:pt x="202" y="90"/>
                  </a:cubicBezTo>
                  <a:cubicBezTo>
                    <a:pt x="202" y="92"/>
                    <a:pt x="202" y="93"/>
                    <a:pt x="201" y="94"/>
                  </a:cubicBezTo>
                  <a:cubicBezTo>
                    <a:pt x="200" y="97"/>
                    <a:pt x="197" y="99"/>
                    <a:pt x="195" y="100"/>
                  </a:cubicBezTo>
                  <a:cubicBezTo>
                    <a:pt x="191" y="104"/>
                    <a:pt x="187" y="108"/>
                    <a:pt x="183" y="112"/>
                  </a:cubicBezTo>
                  <a:cubicBezTo>
                    <a:pt x="182" y="113"/>
                    <a:pt x="182" y="115"/>
                    <a:pt x="179" y="116"/>
                  </a:cubicBezTo>
                  <a:cubicBezTo>
                    <a:pt x="173" y="119"/>
                    <a:pt x="166" y="122"/>
                    <a:pt x="159" y="126"/>
                  </a:cubicBezTo>
                  <a:cubicBezTo>
                    <a:pt x="156" y="127"/>
                    <a:pt x="153" y="132"/>
                    <a:pt x="149" y="132"/>
                  </a:cubicBezTo>
                  <a:cubicBezTo>
                    <a:pt x="148" y="132"/>
                    <a:pt x="147" y="132"/>
                    <a:pt x="146" y="131"/>
                  </a:cubicBezTo>
                  <a:cubicBezTo>
                    <a:pt x="145" y="130"/>
                    <a:pt x="145" y="130"/>
                    <a:pt x="145" y="128"/>
                  </a:cubicBezTo>
                  <a:cubicBezTo>
                    <a:pt x="146" y="127"/>
                    <a:pt x="146" y="124"/>
                    <a:pt x="146" y="123"/>
                  </a:cubicBezTo>
                  <a:cubicBezTo>
                    <a:pt x="145" y="123"/>
                    <a:pt x="145" y="123"/>
                    <a:pt x="145" y="123"/>
                  </a:cubicBezTo>
                  <a:cubicBezTo>
                    <a:pt x="145" y="123"/>
                    <a:pt x="145" y="123"/>
                    <a:pt x="145" y="123"/>
                  </a:cubicBezTo>
                  <a:cubicBezTo>
                    <a:pt x="145" y="123"/>
                    <a:pt x="145" y="123"/>
                    <a:pt x="144" y="123"/>
                  </a:cubicBezTo>
                  <a:cubicBezTo>
                    <a:pt x="144" y="123"/>
                    <a:pt x="144" y="123"/>
                    <a:pt x="144" y="123"/>
                  </a:cubicBezTo>
                  <a:cubicBezTo>
                    <a:pt x="143" y="123"/>
                    <a:pt x="141" y="123"/>
                    <a:pt x="141" y="122"/>
                  </a:cubicBezTo>
                  <a:cubicBezTo>
                    <a:pt x="141" y="119"/>
                    <a:pt x="144" y="120"/>
                    <a:pt x="145" y="120"/>
                  </a:cubicBezTo>
                  <a:cubicBezTo>
                    <a:pt x="146" y="119"/>
                    <a:pt x="147" y="118"/>
                    <a:pt x="148" y="117"/>
                  </a:cubicBezTo>
                  <a:cubicBezTo>
                    <a:pt x="148" y="117"/>
                    <a:pt x="148" y="117"/>
                    <a:pt x="148" y="117"/>
                  </a:cubicBezTo>
                  <a:cubicBezTo>
                    <a:pt x="148" y="117"/>
                    <a:pt x="149" y="117"/>
                    <a:pt x="149" y="117"/>
                  </a:cubicBezTo>
                  <a:cubicBezTo>
                    <a:pt x="149" y="117"/>
                    <a:pt x="149" y="117"/>
                    <a:pt x="150" y="117"/>
                  </a:cubicBezTo>
                  <a:cubicBezTo>
                    <a:pt x="150" y="117"/>
                    <a:pt x="150" y="117"/>
                    <a:pt x="150" y="117"/>
                  </a:cubicBezTo>
                  <a:cubicBezTo>
                    <a:pt x="152" y="116"/>
                    <a:pt x="154" y="112"/>
                    <a:pt x="151" y="111"/>
                  </a:cubicBezTo>
                  <a:cubicBezTo>
                    <a:pt x="151" y="111"/>
                    <a:pt x="150" y="111"/>
                    <a:pt x="150" y="111"/>
                  </a:cubicBezTo>
                  <a:cubicBezTo>
                    <a:pt x="150" y="111"/>
                    <a:pt x="148" y="112"/>
                    <a:pt x="147" y="112"/>
                  </a:cubicBezTo>
                  <a:cubicBezTo>
                    <a:pt x="145" y="113"/>
                    <a:pt x="141" y="114"/>
                    <a:pt x="140" y="115"/>
                  </a:cubicBezTo>
                  <a:cubicBezTo>
                    <a:pt x="136" y="118"/>
                    <a:pt x="139" y="124"/>
                    <a:pt x="139" y="127"/>
                  </a:cubicBezTo>
                  <a:cubicBezTo>
                    <a:pt x="138" y="131"/>
                    <a:pt x="135" y="134"/>
                    <a:pt x="132" y="137"/>
                  </a:cubicBezTo>
                  <a:cubicBezTo>
                    <a:pt x="129" y="142"/>
                    <a:pt x="122" y="148"/>
                    <a:pt x="122" y="154"/>
                  </a:cubicBezTo>
                  <a:cubicBezTo>
                    <a:pt x="121" y="156"/>
                    <a:pt x="124" y="158"/>
                    <a:pt x="123" y="161"/>
                  </a:cubicBezTo>
                  <a:cubicBezTo>
                    <a:pt x="123" y="161"/>
                    <a:pt x="122" y="160"/>
                    <a:pt x="122" y="160"/>
                  </a:cubicBezTo>
                  <a:cubicBezTo>
                    <a:pt x="120" y="160"/>
                    <a:pt x="118" y="164"/>
                    <a:pt x="116" y="165"/>
                  </a:cubicBezTo>
                  <a:cubicBezTo>
                    <a:pt x="115" y="165"/>
                    <a:pt x="114" y="165"/>
                    <a:pt x="114" y="165"/>
                  </a:cubicBezTo>
                  <a:cubicBezTo>
                    <a:pt x="113" y="165"/>
                    <a:pt x="112" y="165"/>
                    <a:pt x="111" y="165"/>
                  </a:cubicBezTo>
                  <a:cubicBezTo>
                    <a:pt x="110" y="165"/>
                    <a:pt x="110" y="165"/>
                    <a:pt x="109" y="165"/>
                  </a:cubicBezTo>
                  <a:cubicBezTo>
                    <a:pt x="108" y="165"/>
                    <a:pt x="106" y="165"/>
                    <a:pt x="105" y="167"/>
                  </a:cubicBezTo>
                  <a:cubicBezTo>
                    <a:pt x="104" y="165"/>
                    <a:pt x="103" y="164"/>
                    <a:pt x="103" y="162"/>
                  </a:cubicBezTo>
                  <a:cubicBezTo>
                    <a:pt x="103" y="161"/>
                    <a:pt x="105" y="161"/>
                    <a:pt x="105" y="160"/>
                  </a:cubicBezTo>
                  <a:cubicBezTo>
                    <a:pt x="104" y="159"/>
                    <a:pt x="104" y="159"/>
                    <a:pt x="103" y="159"/>
                  </a:cubicBezTo>
                  <a:cubicBezTo>
                    <a:pt x="100" y="159"/>
                    <a:pt x="95" y="161"/>
                    <a:pt x="94" y="161"/>
                  </a:cubicBezTo>
                  <a:cubicBezTo>
                    <a:pt x="86" y="163"/>
                    <a:pt x="76" y="163"/>
                    <a:pt x="67" y="164"/>
                  </a:cubicBezTo>
                  <a:cubicBezTo>
                    <a:pt x="58" y="164"/>
                    <a:pt x="50" y="166"/>
                    <a:pt x="42" y="168"/>
                  </a:cubicBezTo>
                  <a:cubicBezTo>
                    <a:pt x="43" y="172"/>
                    <a:pt x="40" y="172"/>
                    <a:pt x="37" y="174"/>
                  </a:cubicBezTo>
                  <a:cubicBezTo>
                    <a:pt x="32" y="178"/>
                    <a:pt x="26" y="182"/>
                    <a:pt x="21" y="186"/>
                  </a:cubicBezTo>
                  <a:cubicBezTo>
                    <a:pt x="19" y="188"/>
                    <a:pt x="16" y="189"/>
                    <a:pt x="14" y="191"/>
                  </a:cubicBezTo>
                  <a:cubicBezTo>
                    <a:pt x="13" y="193"/>
                    <a:pt x="13" y="195"/>
                    <a:pt x="9" y="195"/>
                  </a:cubicBezTo>
                  <a:cubicBezTo>
                    <a:pt x="9" y="195"/>
                    <a:pt x="9" y="195"/>
                    <a:pt x="9" y="195"/>
                  </a:cubicBezTo>
                  <a:cubicBezTo>
                    <a:pt x="8" y="195"/>
                    <a:pt x="7" y="195"/>
                    <a:pt x="6" y="195"/>
                  </a:cubicBezTo>
                  <a:cubicBezTo>
                    <a:pt x="5" y="195"/>
                    <a:pt x="4" y="194"/>
                    <a:pt x="4" y="194"/>
                  </a:cubicBezTo>
                  <a:cubicBezTo>
                    <a:pt x="3" y="194"/>
                    <a:pt x="2" y="194"/>
                    <a:pt x="2" y="195"/>
                  </a:cubicBezTo>
                  <a:cubicBezTo>
                    <a:pt x="2" y="195"/>
                    <a:pt x="2" y="195"/>
                    <a:pt x="2" y="195"/>
                  </a:cubicBezTo>
                  <a:cubicBezTo>
                    <a:pt x="2" y="195"/>
                    <a:pt x="1" y="197"/>
                    <a:pt x="0" y="197"/>
                  </a:cubicBezTo>
                  <a:cubicBezTo>
                    <a:pt x="0" y="198"/>
                    <a:pt x="1" y="200"/>
                    <a:pt x="1" y="201"/>
                  </a:cubicBezTo>
                  <a:cubicBezTo>
                    <a:pt x="1" y="201"/>
                    <a:pt x="0" y="202"/>
                    <a:pt x="0" y="202"/>
                  </a:cubicBezTo>
                  <a:cubicBezTo>
                    <a:pt x="0" y="203"/>
                    <a:pt x="1" y="203"/>
                    <a:pt x="1" y="204"/>
                  </a:cubicBezTo>
                  <a:cubicBezTo>
                    <a:pt x="1" y="205"/>
                    <a:pt x="2" y="206"/>
                    <a:pt x="0" y="207"/>
                  </a:cubicBezTo>
                  <a:cubicBezTo>
                    <a:pt x="1" y="207"/>
                    <a:pt x="1" y="207"/>
                    <a:pt x="1" y="207"/>
                  </a:cubicBezTo>
                  <a:cubicBezTo>
                    <a:pt x="2" y="207"/>
                    <a:pt x="2" y="207"/>
                    <a:pt x="2" y="207"/>
                  </a:cubicBezTo>
                  <a:cubicBezTo>
                    <a:pt x="2" y="207"/>
                    <a:pt x="3" y="207"/>
                    <a:pt x="3" y="207"/>
                  </a:cubicBezTo>
                  <a:cubicBezTo>
                    <a:pt x="3" y="207"/>
                    <a:pt x="3" y="207"/>
                    <a:pt x="3" y="207"/>
                  </a:cubicBezTo>
                  <a:cubicBezTo>
                    <a:pt x="9" y="207"/>
                    <a:pt x="16" y="206"/>
                    <a:pt x="22" y="205"/>
                  </a:cubicBezTo>
                  <a:cubicBezTo>
                    <a:pt x="21" y="206"/>
                    <a:pt x="24" y="206"/>
                    <a:pt x="26" y="207"/>
                  </a:cubicBezTo>
                  <a:cubicBezTo>
                    <a:pt x="27" y="207"/>
                    <a:pt x="28" y="208"/>
                    <a:pt x="29" y="209"/>
                  </a:cubicBezTo>
                  <a:cubicBezTo>
                    <a:pt x="30" y="207"/>
                    <a:pt x="33" y="196"/>
                    <a:pt x="35" y="196"/>
                  </a:cubicBezTo>
                  <a:cubicBezTo>
                    <a:pt x="36" y="196"/>
                    <a:pt x="36" y="196"/>
                    <a:pt x="36" y="196"/>
                  </a:cubicBezTo>
                  <a:cubicBezTo>
                    <a:pt x="39" y="198"/>
                    <a:pt x="39" y="200"/>
                    <a:pt x="42" y="200"/>
                  </a:cubicBezTo>
                  <a:cubicBezTo>
                    <a:pt x="42" y="200"/>
                    <a:pt x="43" y="200"/>
                    <a:pt x="44" y="200"/>
                  </a:cubicBezTo>
                  <a:cubicBezTo>
                    <a:pt x="49" y="200"/>
                    <a:pt x="55" y="197"/>
                    <a:pt x="59" y="194"/>
                  </a:cubicBezTo>
                  <a:cubicBezTo>
                    <a:pt x="60" y="193"/>
                    <a:pt x="61" y="193"/>
                    <a:pt x="62" y="193"/>
                  </a:cubicBezTo>
                  <a:cubicBezTo>
                    <a:pt x="63" y="193"/>
                    <a:pt x="65" y="193"/>
                    <a:pt x="66" y="193"/>
                  </a:cubicBezTo>
                  <a:cubicBezTo>
                    <a:pt x="67" y="194"/>
                    <a:pt x="68" y="194"/>
                    <a:pt x="69" y="194"/>
                  </a:cubicBezTo>
                  <a:cubicBezTo>
                    <a:pt x="70" y="194"/>
                    <a:pt x="70" y="194"/>
                    <a:pt x="71" y="193"/>
                  </a:cubicBezTo>
                  <a:cubicBezTo>
                    <a:pt x="73" y="193"/>
                    <a:pt x="72" y="191"/>
                    <a:pt x="74" y="189"/>
                  </a:cubicBezTo>
                  <a:cubicBezTo>
                    <a:pt x="75" y="188"/>
                    <a:pt x="80" y="186"/>
                    <a:pt x="81" y="186"/>
                  </a:cubicBezTo>
                  <a:cubicBezTo>
                    <a:pt x="89" y="187"/>
                    <a:pt x="97" y="187"/>
                    <a:pt x="106" y="187"/>
                  </a:cubicBezTo>
                  <a:cubicBezTo>
                    <a:pt x="111" y="187"/>
                    <a:pt x="107" y="192"/>
                    <a:pt x="105" y="193"/>
                  </a:cubicBezTo>
                  <a:cubicBezTo>
                    <a:pt x="103" y="194"/>
                    <a:pt x="101" y="196"/>
                    <a:pt x="100" y="197"/>
                  </a:cubicBezTo>
                  <a:cubicBezTo>
                    <a:pt x="99" y="198"/>
                    <a:pt x="101" y="200"/>
                    <a:pt x="101" y="201"/>
                  </a:cubicBezTo>
                  <a:cubicBezTo>
                    <a:pt x="101" y="202"/>
                    <a:pt x="100" y="202"/>
                    <a:pt x="100" y="203"/>
                  </a:cubicBezTo>
                  <a:cubicBezTo>
                    <a:pt x="100" y="205"/>
                    <a:pt x="101" y="206"/>
                    <a:pt x="99" y="208"/>
                  </a:cubicBezTo>
                  <a:cubicBezTo>
                    <a:pt x="101" y="210"/>
                    <a:pt x="104" y="211"/>
                    <a:pt x="107" y="213"/>
                  </a:cubicBezTo>
                  <a:cubicBezTo>
                    <a:pt x="102" y="215"/>
                    <a:pt x="115" y="219"/>
                    <a:pt x="115" y="220"/>
                  </a:cubicBezTo>
                  <a:cubicBezTo>
                    <a:pt x="121" y="215"/>
                    <a:pt x="126" y="209"/>
                    <a:pt x="129" y="202"/>
                  </a:cubicBezTo>
                  <a:cubicBezTo>
                    <a:pt x="131" y="200"/>
                    <a:pt x="132" y="199"/>
                    <a:pt x="134" y="198"/>
                  </a:cubicBezTo>
                  <a:cubicBezTo>
                    <a:pt x="134" y="198"/>
                    <a:pt x="136" y="198"/>
                    <a:pt x="136" y="198"/>
                  </a:cubicBezTo>
                  <a:cubicBezTo>
                    <a:pt x="137" y="197"/>
                    <a:pt x="137" y="196"/>
                    <a:pt x="137" y="196"/>
                  </a:cubicBezTo>
                  <a:cubicBezTo>
                    <a:pt x="137" y="196"/>
                    <a:pt x="137" y="196"/>
                    <a:pt x="137" y="196"/>
                  </a:cubicBezTo>
                  <a:cubicBezTo>
                    <a:pt x="138" y="196"/>
                    <a:pt x="138" y="197"/>
                    <a:pt x="138" y="197"/>
                  </a:cubicBezTo>
                  <a:cubicBezTo>
                    <a:pt x="138" y="197"/>
                    <a:pt x="139" y="197"/>
                    <a:pt x="139" y="197"/>
                  </a:cubicBezTo>
                  <a:cubicBezTo>
                    <a:pt x="140" y="197"/>
                    <a:pt x="141" y="197"/>
                    <a:pt x="141" y="199"/>
                  </a:cubicBezTo>
                  <a:cubicBezTo>
                    <a:pt x="142" y="198"/>
                    <a:pt x="142" y="198"/>
                    <a:pt x="142" y="198"/>
                  </a:cubicBezTo>
                  <a:cubicBezTo>
                    <a:pt x="140" y="194"/>
                    <a:pt x="139" y="192"/>
                    <a:pt x="136" y="190"/>
                  </a:cubicBezTo>
                  <a:cubicBezTo>
                    <a:pt x="134" y="188"/>
                    <a:pt x="133" y="190"/>
                    <a:pt x="134" y="186"/>
                  </a:cubicBezTo>
                  <a:cubicBezTo>
                    <a:pt x="135" y="183"/>
                    <a:pt x="138" y="178"/>
                    <a:pt x="142" y="177"/>
                  </a:cubicBezTo>
                  <a:cubicBezTo>
                    <a:pt x="141" y="180"/>
                    <a:pt x="140" y="181"/>
                    <a:pt x="141" y="184"/>
                  </a:cubicBezTo>
                  <a:cubicBezTo>
                    <a:pt x="142" y="185"/>
                    <a:pt x="142" y="186"/>
                    <a:pt x="142" y="186"/>
                  </a:cubicBezTo>
                  <a:cubicBezTo>
                    <a:pt x="142" y="186"/>
                    <a:pt x="142" y="186"/>
                    <a:pt x="143" y="184"/>
                  </a:cubicBezTo>
                  <a:cubicBezTo>
                    <a:pt x="143" y="183"/>
                    <a:pt x="143" y="182"/>
                    <a:pt x="144" y="181"/>
                  </a:cubicBezTo>
                  <a:cubicBezTo>
                    <a:pt x="145" y="185"/>
                    <a:pt x="146" y="185"/>
                    <a:pt x="149" y="188"/>
                  </a:cubicBezTo>
                  <a:cubicBezTo>
                    <a:pt x="147" y="189"/>
                    <a:pt x="146" y="188"/>
                    <a:pt x="145" y="190"/>
                  </a:cubicBezTo>
                  <a:cubicBezTo>
                    <a:pt x="151" y="189"/>
                    <a:pt x="157" y="188"/>
                    <a:pt x="163" y="187"/>
                  </a:cubicBezTo>
                  <a:cubicBezTo>
                    <a:pt x="166" y="187"/>
                    <a:pt x="173" y="187"/>
                    <a:pt x="175" y="185"/>
                  </a:cubicBezTo>
                  <a:cubicBezTo>
                    <a:pt x="177" y="184"/>
                    <a:pt x="176" y="182"/>
                    <a:pt x="178" y="180"/>
                  </a:cubicBezTo>
                  <a:cubicBezTo>
                    <a:pt x="179" y="180"/>
                    <a:pt x="180" y="180"/>
                    <a:pt x="181" y="179"/>
                  </a:cubicBezTo>
                  <a:cubicBezTo>
                    <a:pt x="181" y="179"/>
                    <a:pt x="181" y="179"/>
                    <a:pt x="180" y="179"/>
                  </a:cubicBezTo>
                  <a:cubicBezTo>
                    <a:pt x="180" y="179"/>
                    <a:pt x="180" y="177"/>
                    <a:pt x="181" y="177"/>
                  </a:cubicBezTo>
                  <a:cubicBezTo>
                    <a:pt x="182" y="176"/>
                    <a:pt x="183" y="176"/>
                    <a:pt x="184" y="176"/>
                  </a:cubicBezTo>
                  <a:cubicBezTo>
                    <a:pt x="186" y="176"/>
                    <a:pt x="188" y="176"/>
                    <a:pt x="189" y="178"/>
                  </a:cubicBezTo>
                  <a:cubicBezTo>
                    <a:pt x="188" y="178"/>
                    <a:pt x="187" y="178"/>
                    <a:pt x="186" y="179"/>
                  </a:cubicBezTo>
                  <a:cubicBezTo>
                    <a:pt x="185" y="181"/>
                    <a:pt x="187" y="187"/>
                    <a:pt x="188" y="189"/>
                  </a:cubicBezTo>
                  <a:cubicBezTo>
                    <a:pt x="189" y="189"/>
                    <a:pt x="189" y="189"/>
                    <a:pt x="190" y="188"/>
                  </a:cubicBezTo>
                  <a:cubicBezTo>
                    <a:pt x="193" y="186"/>
                    <a:pt x="195" y="183"/>
                    <a:pt x="194" y="179"/>
                  </a:cubicBezTo>
                  <a:cubicBezTo>
                    <a:pt x="194" y="178"/>
                    <a:pt x="194" y="177"/>
                    <a:pt x="194" y="176"/>
                  </a:cubicBezTo>
                  <a:cubicBezTo>
                    <a:pt x="196" y="175"/>
                    <a:pt x="198" y="174"/>
                    <a:pt x="201" y="174"/>
                  </a:cubicBezTo>
                  <a:cubicBezTo>
                    <a:pt x="205" y="174"/>
                    <a:pt x="209" y="176"/>
                    <a:pt x="211" y="180"/>
                  </a:cubicBezTo>
                  <a:cubicBezTo>
                    <a:pt x="210" y="180"/>
                    <a:pt x="210" y="180"/>
                    <a:pt x="210" y="180"/>
                  </a:cubicBezTo>
                  <a:cubicBezTo>
                    <a:pt x="210" y="181"/>
                    <a:pt x="211" y="181"/>
                    <a:pt x="211" y="181"/>
                  </a:cubicBezTo>
                  <a:cubicBezTo>
                    <a:pt x="211" y="181"/>
                    <a:pt x="212" y="181"/>
                    <a:pt x="212" y="181"/>
                  </a:cubicBezTo>
                  <a:cubicBezTo>
                    <a:pt x="212" y="181"/>
                    <a:pt x="213" y="181"/>
                    <a:pt x="213" y="181"/>
                  </a:cubicBezTo>
                  <a:cubicBezTo>
                    <a:pt x="217" y="180"/>
                    <a:pt x="224" y="176"/>
                    <a:pt x="224" y="171"/>
                  </a:cubicBezTo>
                  <a:cubicBezTo>
                    <a:pt x="225" y="164"/>
                    <a:pt x="229" y="163"/>
                    <a:pt x="235" y="159"/>
                  </a:cubicBezTo>
                  <a:cubicBezTo>
                    <a:pt x="233" y="156"/>
                    <a:pt x="230" y="153"/>
                    <a:pt x="229" y="149"/>
                  </a:cubicBezTo>
                  <a:cubicBezTo>
                    <a:pt x="228" y="146"/>
                    <a:pt x="229" y="144"/>
                    <a:pt x="230" y="141"/>
                  </a:cubicBezTo>
                  <a:cubicBezTo>
                    <a:pt x="231" y="137"/>
                    <a:pt x="233" y="133"/>
                    <a:pt x="234" y="129"/>
                  </a:cubicBezTo>
                  <a:cubicBezTo>
                    <a:pt x="234" y="128"/>
                    <a:pt x="237" y="128"/>
                    <a:pt x="237" y="126"/>
                  </a:cubicBezTo>
                  <a:cubicBezTo>
                    <a:pt x="239" y="124"/>
                    <a:pt x="239" y="121"/>
                    <a:pt x="239" y="119"/>
                  </a:cubicBezTo>
                  <a:cubicBezTo>
                    <a:pt x="238" y="112"/>
                    <a:pt x="237" y="105"/>
                    <a:pt x="237" y="98"/>
                  </a:cubicBezTo>
                  <a:cubicBezTo>
                    <a:pt x="237" y="96"/>
                    <a:pt x="237" y="94"/>
                    <a:pt x="238" y="92"/>
                  </a:cubicBezTo>
                  <a:cubicBezTo>
                    <a:pt x="240" y="89"/>
                    <a:pt x="240" y="90"/>
                    <a:pt x="243" y="88"/>
                  </a:cubicBezTo>
                  <a:cubicBezTo>
                    <a:pt x="244" y="88"/>
                    <a:pt x="244" y="87"/>
                    <a:pt x="246" y="87"/>
                  </a:cubicBezTo>
                  <a:cubicBezTo>
                    <a:pt x="246" y="87"/>
                    <a:pt x="246" y="87"/>
                    <a:pt x="246" y="87"/>
                  </a:cubicBezTo>
                  <a:cubicBezTo>
                    <a:pt x="248" y="87"/>
                    <a:pt x="250" y="89"/>
                    <a:pt x="251" y="91"/>
                  </a:cubicBezTo>
                  <a:cubicBezTo>
                    <a:pt x="250" y="83"/>
                    <a:pt x="249" y="80"/>
                    <a:pt x="252" y="74"/>
                  </a:cubicBezTo>
                  <a:cubicBezTo>
                    <a:pt x="253" y="72"/>
                    <a:pt x="253" y="72"/>
                    <a:pt x="254" y="72"/>
                  </a:cubicBezTo>
                  <a:cubicBezTo>
                    <a:pt x="254" y="72"/>
                    <a:pt x="255" y="72"/>
                    <a:pt x="256" y="71"/>
                  </a:cubicBezTo>
                  <a:cubicBezTo>
                    <a:pt x="256" y="70"/>
                    <a:pt x="256" y="70"/>
                    <a:pt x="256" y="70"/>
                  </a:cubicBezTo>
                  <a:cubicBezTo>
                    <a:pt x="258" y="70"/>
                    <a:pt x="258" y="70"/>
                    <a:pt x="258" y="70"/>
                  </a:cubicBezTo>
                  <a:cubicBezTo>
                    <a:pt x="260" y="68"/>
                    <a:pt x="264" y="58"/>
                    <a:pt x="262" y="57"/>
                  </a:cubicBezTo>
                  <a:cubicBezTo>
                    <a:pt x="266" y="55"/>
                    <a:pt x="258" y="39"/>
                    <a:pt x="256" y="35"/>
                  </a:cubicBezTo>
                  <a:cubicBezTo>
                    <a:pt x="254" y="29"/>
                    <a:pt x="249" y="26"/>
                    <a:pt x="248" y="21"/>
                  </a:cubicBezTo>
                  <a:cubicBezTo>
                    <a:pt x="247" y="16"/>
                    <a:pt x="248" y="11"/>
                    <a:pt x="249" y="6"/>
                  </a:cubicBezTo>
                  <a:cubicBezTo>
                    <a:pt x="249" y="6"/>
                    <a:pt x="250" y="5"/>
                    <a:pt x="250" y="4"/>
                  </a:cubicBezTo>
                  <a:cubicBezTo>
                    <a:pt x="249" y="3"/>
                    <a:pt x="245" y="3"/>
                    <a:pt x="243" y="2"/>
                  </a:cubicBezTo>
                  <a:cubicBezTo>
                    <a:pt x="242" y="2"/>
                    <a:pt x="239"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159"/>
            <p:cNvSpPr>
              <a:spLocks noEditPoints="1"/>
            </p:cNvSpPr>
            <p:nvPr/>
          </p:nvSpPr>
          <p:spPr bwMode="auto">
            <a:xfrm>
              <a:off x="5251217" y="2240361"/>
              <a:ext cx="202693" cy="136918"/>
            </a:xfrm>
            <a:custGeom>
              <a:gdLst>
                <a:gd name="T0" fmla="*/ 0 w 64"/>
                <a:gd name="T1" fmla="*/ 27 h 43"/>
                <a:gd name="T2" fmla="*/ 0 w 64"/>
                <a:gd name="T3" fmla="*/ 27 h 43"/>
                <a:gd name="T4" fmla="*/ 0 w 64"/>
                <a:gd name="T5" fmla="*/ 27 h 43"/>
                <a:gd name="T6" fmla="*/ 46 w 64"/>
                <a:gd name="T7" fmla="*/ 0 h 43"/>
                <a:gd name="T8" fmla="*/ 37 w 64"/>
                <a:gd name="T9" fmla="*/ 3 h 43"/>
                <a:gd name="T10" fmla="*/ 37 w 64"/>
                <a:gd name="T11" fmla="*/ 9 h 43"/>
                <a:gd name="T12" fmla="*/ 28 w 64"/>
                <a:gd name="T13" fmla="*/ 11 h 43"/>
                <a:gd name="T14" fmla="*/ 25 w 64"/>
                <a:gd name="T15" fmla="*/ 11 h 43"/>
                <a:gd name="T16" fmla="*/ 22 w 64"/>
                <a:gd name="T17" fmla="*/ 6 h 43"/>
                <a:gd name="T18" fmla="*/ 21 w 64"/>
                <a:gd name="T19" fmla="*/ 7 h 43"/>
                <a:gd name="T20" fmla="*/ 17 w 64"/>
                <a:gd name="T21" fmla="*/ 12 h 43"/>
                <a:gd name="T22" fmla="*/ 15 w 64"/>
                <a:gd name="T23" fmla="*/ 16 h 43"/>
                <a:gd name="T24" fmla="*/ 0 w 64"/>
                <a:gd name="T25" fmla="*/ 27 h 43"/>
                <a:gd name="T26" fmla="*/ 4 w 64"/>
                <a:gd name="T27" fmla="*/ 26 h 43"/>
                <a:gd name="T28" fmla="*/ 7 w 64"/>
                <a:gd name="T29" fmla="*/ 24 h 43"/>
                <a:gd name="T30" fmla="*/ 8 w 64"/>
                <a:gd name="T31" fmla="*/ 24 h 43"/>
                <a:gd name="T32" fmla="*/ 9 w 64"/>
                <a:gd name="T33" fmla="*/ 26 h 43"/>
                <a:gd name="T34" fmla="*/ 10 w 64"/>
                <a:gd name="T35" fmla="*/ 28 h 43"/>
                <a:gd name="T36" fmla="*/ 11 w 64"/>
                <a:gd name="T37" fmla="*/ 28 h 43"/>
                <a:gd name="T38" fmla="*/ 9 w 64"/>
                <a:gd name="T39" fmla="*/ 31 h 43"/>
                <a:gd name="T40" fmla="*/ 10 w 64"/>
                <a:gd name="T41" fmla="*/ 34 h 43"/>
                <a:gd name="T42" fmla="*/ 11 w 64"/>
                <a:gd name="T43" fmla="*/ 38 h 43"/>
                <a:gd name="T44" fmla="*/ 13 w 64"/>
                <a:gd name="T45" fmla="*/ 37 h 43"/>
                <a:gd name="T46" fmla="*/ 15 w 64"/>
                <a:gd name="T47" fmla="*/ 42 h 43"/>
                <a:gd name="T48" fmla="*/ 16 w 64"/>
                <a:gd name="T49" fmla="*/ 42 h 43"/>
                <a:gd name="T50" fmla="*/ 19 w 64"/>
                <a:gd name="T51" fmla="*/ 42 h 43"/>
                <a:gd name="T52" fmla="*/ 22 w 64"/>
                <a:gd name="T53" fmla="*/ 43 h 43"/>
                <a:gd name="T54" fmla="*/ 24 w 64"/>
                <a:gd name="T55" fmla="*/ 42 h 43"/>
                <a:gd name="T56" fmla="*/ 23 w 64"/>
                <a:gd name="T57" fmla="*/ 41 h 43"/>
                <a:gd name="T58" fmla="*/ 23 w 64"/>
                <a:gd name="T59" fmla="*/ 39 h 43"/>
                <a:gd name="T60" fmla="*/ 33 w 64"/>
                <a:gd name="T61" fmla="*/ 28 h 43"/>
                <a:gd name="T62" fmla="*/ 41 w 64"/>
                <a:gd name="T63" fmla="*/ 22 h 43"/>
                <a:gd name="T64" fmla="*/ 45 w 64"/>
                <a:gd name="T65" fmla="*/ 23 h 43"/>
                <a:gd name="T66" fmla="*/ 51 w 64"/>
                <a:gd name="T67" fmla="*/ 29 h 43"/>
                <a:gd name="T68" fmla="*/ 64 w 64"/>
                <a:gd name="T69" fmla="*/ 14 h 43"/>
                <a:gd name="T70" fmla="*/ 61 w 64"/>
                <a:gd name="T71" fmla="*/ 10 h 43"/>
                <a:gd name="T72" fmla="*/ 62 w 64"/>
                <a:gd name="T73" fmla="*/ 3 h 43"/>
                <a:gd name="T74" fmla="*/ 61 w 64"/>
                <a:gd name="T75" fmla="*/ 4 h 43"/>
                <a:gd name="T76" fmla="*/ 61 w 64"/>
                <a:gd name="T77" fmla="*/ 3 h 43"/>
                <a:gd name="T78" fmla="*/ 60 w 64"/>
                <a:gd name="T79" fmla="*/ 3 h 43"/>
                <a:gd name="T80" fmla="*/ 60 w 64"/>
                <a:gd name="T81" fmla="*/ 4 h 43"/>
                <a:gd name="T82" fmla="*/ 59 w 64"/>
                <a:gd name="T83" fmla="*/ 4 h 43"/>
                <a:gd name="T84" fmla="*/ 48 w 64"/>
                <a:gd name="T85" fmla="*/ 0 h 43"/>
                <a:gd name="T86" fmla="*/ 46 w 64"/>
                <a:gd name="T87"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43">
                  <a:moveTo>
                    <a:pt x="0" y="27"/>
                  </a:moveTo>
                  <a:cubicBezTo>
                    <a:pt x="0" y="27"/>
                    <a:pt x="0" y="27"/>
                    <a:pt x="0" y="27"/>
                  </a:cubicBezTo>
                  <a:cubicBezTo>
                    <a:pt x="0" y="27"/>
                    <a:pt x="0" y="27"/>
                    <a:pt x="0" y="27"/>
                  </a:cubicBezTo>
                  <a:moveTo>
                    <a:pt x="46" y="0"/>
                  </a:moveTo>
                  <a:cubicBezTo>
                    <a:pt x="43" y="0"/>
                    <a:pt x="39" y="2"/>
                    <a:pt x="37" y="3"/>
                  </a:cubicBezTo>
                  <a:cubicBezTo>
                    <a:pt x="39" y="4"/>
                    <a:pt x="38" y="6"/>
                    <a:pt x="37" y="9"/>
                  </a:cubicBezTo>
                  <a:cubicBezTo>
                    <a:pt x="35" y="9"/>
                    <a:pt x="31" y="11"/>
                    <a:pt x="28" y="11"/>
                  </a:cubicBezTo>
                  <a:cubicBezTo>
                    <a:pt x="27" y="11"/>
                    <a:pt x="26" y="11"/>
                    <a:pt x="25" y="11"/>
                  </a:cubicBezTo>
                  <a:cubicBezTo>
                    <a:pt x="24" y="10"/>
                    <a:pt x="24" y="6"/>
                    <a:pt x="22" y="6"/>
                  </a:cubicBezTo>
                  <a:cubicBezTo>
                    <a:pt x="21" y="6"/>
                    <a:pt x="21" y="6"/>
                    <a:pt x="21" y="7"/>
                  </a:cubicBezTo>
                  <a:cubicBezTo>
                    <a:pt x="21" y="7"/>
                    <a:pt x="17" y="11"/>
                    <a:pt x="17" y="12"/>
                  </a:cubicBezTo>
                  <a:cubicBezTo>
                    <a:pt x="16" y="14"/>
                    <a:pt x="17" y="15"/>
                    <a:pt x="15" y="16"/>
                  </a:cubicBezTo>
                  <a:cubicBezTo>
                    <a:pt x="10" y="20"/>
                    <a:pt x="5" y="23"/>
                    <a:pt x="0" y="27"/>
                  </a:cubicBezTo>
                  <a:cubicBezTo>
                    <a:pt x="2" y="26"/>
                    <a:pt x="2" y="26"/>
                    <a:pt x="4" y="26"/>
                  </a:cubicBezTo>
                  <a:cubicBezTo>
                    <a:pt x="5" y="25"/>
                    <a:pt x="6" y="24"/>
                    <a:pt x="7" y="24"/>
                  </a:cubicBezTo>
                  <a:cubicBezTo>
                    <a:pt x="7" y="24"/>
                    <a:pt x="7" y="24"/>
                    <a:pt x="8" y="24"/>
                  </a:cubicBezTo>
                  <a:cubicBezTo>
                    <a:pt x="9" y="24"/>
                    <a:pt x="9" y="25"/>
                    <a:pt x="9" y="26"/>
                  </a:cubicBezTo>
                  <a:cubicBezTo>
                    <a:pt x="9" y="27"/>
                    <a:pt x="9" y="28"/>
                    <a:pt x="10" y="28"/>
                  </a:cubicBezTo>
                  <a:cubicBezTo>
                    <a:pt x="10" y="28"/>
                    <a:pt x="11" y="28"/>
                    <a:pt x="11" y="28"/>
                  </a:cubicBezTo>
                  <a:cubicBezTo>
                    <a:pt x="11" y="29"/>
                    <a:pt x="10" y="30"/>
                    <a:pt x="9" y="31"/>
                  </a:cubicBezTo>
                  <a:cubicBezTo>
                    <a:pt x="11" y="31"/>
                    <a:pt x="11" y="33"/>
                    <a:pt x="10" y="34"/>
                  </a:cubicBezTo>
                  <a:cubicBezTo>
                    <a:pt x="12" y="35"/>
                    <a:pt x="12" y="36"/>
                    <a:pt x="11" y="38"/>
                  </a:cubicBezTo>
                  <a:cubicBezTo>
                    <a:pt x="12" y="38"/>
                    <a:pt x="13" y="37"/>
                    <a:pt x="13" y="37"/>
                  </a:cubicBezTo>
                  <a:cubicBezTo>
                    <a:pt x="15" y="37"/>
                    <a:pt x="15" y="40"/>
                    <a:pt x="15" y="42"/>
                  </a:cubicBezTo>
                  <a:cubicBezTo>
                    <a:pt x="15" y="42"/>
                    <a:pt x="16" y="42"/>
                    <a:pt x="16" y="42"/>
                  </a:cubicBezTo>
                  <a:cubicBezTo>
                    <a:pt x="17" y="42"/>
                    <a:pt x="18" y="42"/>
                    <a:pt x="19" y="42"/>
                  </a:cubicBezTo>
                  <a:cubicBezTo>
                    <a:pt x="21" y="43"/>
                    <a:pt x="22" y="43"/>
                    <a:pt x="22" y="43"/>
                  </a:cubicBezTo>
                  <a:cubicBezTo>
                    <a:pt x="23" y="43"/>
                    <a:pt x="24" y="43"/>
                    <a:pt x="24" y="42"/>
                  </a:cubicBezTo>
                  <a:cubicBezTo>
                    <a:pt x="24" y="42"/>
                    <a:pt x="23" y="41"/>
                    <a:pt x="23" y="41"/>
                  </a:cubicBezTo>
                  <a:cubicBezTo>
                    <a:pt x="23" y="40"/>
                    <a:pt x="23" y="40"/>
                    <a:pt x="23" y="39"/>
                  </a:cubicBezTo>
                  <a:cubicBezTo>
                    <a:pt x="24" y="35"/>
                    <a:pt x="29" y="31"/>
                    <a:pt x="33" y="28"/>
                  </a:cubicBezTo>
                  <a:cubicBezTo>
                    <a:pt x="36" y="25"/>
                    <a:pt x="38" y="22"/>
                    <a:pt x="41" y="22"/>
                  </a:cubicBezTo>
                  <a:cubicBezTo>
                    <a:pt x="43" y="22"/>
                    <a:pt x="44" y="22"/>
                    <a:pt x="45" y="23"/>
                  </a:cubicBezTo>
                  <a:cubicBezTo>
                    <a:pt x="48" y="24"/>
                    <a:pt x="48" y="28"/>
                    <a:pt x="51" y="29"/>
                  </a:cubicBezTo>
                  <a:cubicBezTo>
                    <a:pt x="52" y="21"/>
                    <a:pt x="59" y="18"/>
                    <a:pt x="64" y="14"/>
                  </a:cubicBezTo>
                  <a:cubicBezTo>
                    <a:pt x="63" y="14"/>
                    <a:pt x="64" y="10"/>
                    <a:pt x="61" y="10"/>
                  </a:cubicBezTo>
                  <a:cubicBezTo>
                    <a:pt x="61" y="8"/>
                    <a:pt x="62" y="5"/>
                    <a:pt x="62" y="3"/>
                  </a:cubicBezTo>
                  <a:cubicBezTo>
                    <a:pt x="62" y="3"/>
                    <a:pt x="62" y="3"/>
                    <a:pt x="61" y="4"/>
                  </a:cubicBezTo>
                  <a:cubicBezTo>
                    <a:pt x="61" y="3"/>
                    <a:pt x="61" y="3"/>
                    <a:pt x="61" y="3"/>
                  </a:cubicBezTo>
                  <a:cubicBezTo>
                    <a:pt x="61" y="3"/>
                    <a:pt x="61" y="3"/>
                    <a:pt x="60" y="3"/>
                  </a:cubicBezTo>
                  <a:cubicBezTo>
                    <a:pt x="60" y="3"/>
                    <a:pt x="60" y="4"/>
                    <a:pt x="60" y="4"/>
                  </a:cubicBezTo>
                  <a:cubicBezTo>
                    <a:pt x="60" y="4"/>
                    <a:pt x="60" y="4"/>
                    <a:pt x="59" y="4"/>
                  </a:cubicBezTo>
                  <a:cubicBezTo>
                    <a:pt x="55" y="3"/>
                    <a:pt x="52" y="2"/>
                    <a:pt x="48" y="0"/>
                  </a:cubicBezTo>
                  <a:cubicBezTo>
                    <a:pt x="47" y="0"/>
                    <a:pt x="47"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160"/>
            <p:cNvSpPr/>
            <p:nvPr/>
          </p:nvSpPr>
          <p:spPr bwMode="auto">
            <a:xfrm>
              <a:off x="4746499" y="3014889"/>
              <a:ext cx="12081" cy="9396"/>
            </a:xfrm>
            <a:custGeom>
              <a:gdLst>
                <a:gd name="T0" fmla="*/ 1 w 4"/>
                <a:gd name="T1" fmla="*/ 0 h 3"/>
                <a:gd name="T2" fmla="*/ 2 w 4"/>
                <a:gd name="T3" fmla="*/ 3 h 3"/>
                <a:gd name="T4" fmla="*/ 4 w 4"/>
                <a:gd name="T5" fmla="*/ 3 h 3"/>
                <a:gd name="T6" fmla="*/ 1 w 4"/>
                <a:gd name="T7" fmla="*/ 0 h 3"/>
              </a:gdLst>
              <a:cxnLst>
                <a:cxn ang="0">
                  <a:pos x="T0" y="T1"/>
                </a:cxn>
                <a:cxn ang="0">
                  <a:pos x="T2" y="T3"/>
                </a:cxn>
                <a:cxn ang="0">
                  <a:pos x="T4" y="T5"/>
                </a:cxn>
                <a:cxn ang="0">
                  <a:pos x="T6" y="T7"/>
                </a:cxn>
              </a:cxnLst>
              <a:rect l="0" t="0" r="r" b="b"/>
              <a:pathLst>
                <a:path w="4" h="3">
                  <a:moveTo>
                    <a:pt x="1" y="0"/>
                  </a:moveTo>
                  <a:cubicBezTo>
                    <a:pt x="0" y="3"/>
                    <a:pt x="0" y="3"/>
                    <a:pt x="2" y="3"/>
                  </a:cubicBezTo>
                  <a:cubicBezTo>
                    <a:pt x="2" y="3"/>
                    <a:pt x="3" y="3"/>
                    <a:pt x="4" y="3"/>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1161"/>
            <p:cNvSpPr/>
            <p:nvPr/>
          </p:nvSpPr>
          <p:spPr bwMode="auto">
            <a:xfrm>
              <a:off x="5919700" y="1263140"/>
              <a:ext cx="4027" cy="13423"/>
            </a:xfrm>
            <a:custGeom>
              <a:gdLst>
                <a:gd name="T0" fmla="*/ 0 w 1"/>
                <a:gd name="T1" fmla="*/ 0 h 4"/>
                <a:gd name="T2" fmla="*/ 1 w 1"/>
                <a:gd name="T3" fmla="*/ 4 h 4"/>
                <a:gd name="T4" fmla="*/ 0 w 1"/>
                <a:gd name="T5" fmla="*/ 0 h 4"/>
              </a:gdLst>
              <a:cxnLst>
                <a:cxn ang="0">
                  <a:pos x="T0" y="T1"/>
                </a:cxn>
                <a:cxn ang="0">
                  <a:pos x="T2" y="T3"/>
                </a:cxn>
                <a:cxn ang="0">
                  <a:pos x="T4" y="T5"/>
                </a:cxn>
              </a:cxnLst>
              <a:rect l="0" t="0" r="r" b="b"/>
              <a:pathLst>
                <a:path w="1" h="4">
                  <a:moveTo>
                    <a:pt x="0" y="0"/>
                  </a:moveTo>
                  <a:cubicBezTo>
                    <a:pt x="1" y="1"/>
                    <a:pt x="0" y="3"/>
                    <a:pt x="1" y="4"/>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162"/>
            <p:cNvSpPr/>
            <p:nvPr/>
          </p:nvSpPr>
          <p:spPr bwMode="auto">
            <a:xfrm>
              <a:off x="5000200" y="2370568"/>
              <a:ext cx="18793" cy="16108"/>
            </a:xfrm>
            <a:custGeom>
              <a:gdLst>
                <a:gd name="T0" fmla="*/ 4 w 6"/>
                <a:gd name="T1" fmla="*/ 0 h 5"/>
                <a:gd name="T2" fmla="*/ 0 w 6"/>
                <a:gd name="T3" fmla="*/ 2 h 5"/>
                <a:gd name="T4" fmla="*/ 1 w 6"/>
                <a:gd name="T5" fmla="*/ 5 h 5"/>
                <a:gd name="T6" fmla="*/ 3 w 6"/>
                <a:gd name="T7" fmla="*/ 5 h 5"/>
                <a:gd name="T8" fmla="*/ 6 w 6"/>
                <a:gd name="T9" fmla="*/ 4 h 5"/>
                <a:gd name="T10" fmla="*/ 6 w 6"/>
                <a:gd name="T11" fmla="*/ 4 h 5"/>
                <a:gd name="T12" fmla="*/ 4 w 6"/>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6" h="5">
                  <a:moveTo>
                    <a:pt x="4" y="0"/>
                  </a:moveTo>
                  <a:cubicBezTo>
                    <a:pt x="2" y="1"/>
                    <a:pt x="1" y="2"/>
                    <a:pt x="0" y="2"/>
                  </a:cubicBezTo>
                  <a:cubicBezTo>
                    <a:pt x="0" y="5"/>
                    <a:pt x="0" y="5"/>
                    <a:pt x="1" y="5"/>
                  </a:cubicBezTo>
                  <a:cubicBezTo>
                    <a:pt x="2" y="5"/>
                    <a:pt x="3" y="5"/>
                    <a:pt x="3" y="5"/>
                  </a:cubicBezTo>
                  <a:cubicBezTo>
                    <a:pt x="4" y="4"/>
                    <a:pt x="5" y="4"/>
                    <a:pt x="6" y="4"/>
                  </a:cubicBezTo>
                  <a:cubicBezTo>
                    <a:pt x="6" y="4"/>
                    <a:pt x="6" y="4"/>
                    <a:pt x="6" y="4"/>
                  </a:cubicBezTo>
                  <a:cubicBezTo>
                    <a:pt x="5"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163"/>
            <p:cNvSpPr/>
            <p:nvPr/>
          </p:nvSpPr>
          <p:spPr bwMode="auto">
            <a:xfrm>
              <a:off x="5161281" y="2532991"/>
              <a:ext cx="20135" cy="37585"/>
            </a:xfrm>
            <a:custGeom>
              <a:gdLst>
                <a:gd name="T0" fmla="*/ 6 w 6"/>
                <a:gd name="T1" fmla="*/ 0 h 12"/>
                <a:gd name="T2" fmla="*/ 3 w 6"/>
                <a:gd name="T3" fmla="*/ 7 h 12"/>
                <a:gd name="T4" fmla="*/ 1 w 6"/>
                <a:gd name="T5" fmla="*/ 12 h 12"/>
                <a:gd name="T6" fmla="*/ 6 w 6"/>
                <a:gd name="T7" fmla="*/ 0 h 12"/>
              </a:gdLst>
              <a:cxnLst>
                <a:cxn ang="0">
                  <a:pos x="T0" y="T1"/>
                </a:cxn>
                <a:cxn ang="0">
                  <a:pos x="T2" y="T3"/>
                </a:cxn>
                <a:cxn ang="0">
                  <a:pos x="T4" y="T5"/>
                </a:cxn>
                <a:cxn ang="0">
                  <a:pos x="T6" y="T7"/>
                </a:cxn>
              </a:cxnLst>
              <a:rect l="0" t="0" r="r" b="b"/>
              <a:pathLst>
                <a:path w="6" h="12">
                  <a:moveTo>
                    <a:pt x="6" y="0"/>
                  </a:moveTo>
                  <a:cubicBezTo>
                    <a:pt x="3" y="3"/>
                    <a:pt x="4" y="4"/>
                    <a:pt x="3" y="7"/>
                  </a:cubicBezTo>
                  <a:cubicBezTo>
                    <a:pt x="2" y="9"/>
                    <a:pt x="0" y="10"/>
                    <a:pt x="1" y="12"/>
                  </a:cubicBezTo>
                  <a:cubicBezTo>
                    <a:pt x="3" y="8"/>
                    <a:pt x="4"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164"/>
            <p:cNvSpPr/>
            <p:nvPr/>
          </p:nvSpPr>
          <p:spPr bwMode="auto">
            <a:xfrm>
              <a:off x="5016308" y="2770584"/>
              <a:ext cx="5369" cy="18793"/>
            </a:xfrm>
            <a:custGeom>
              <a:gdLst>
                <a:gd name="T0" fmla="*/ 2 w 2"/>
                <a:gd name="T1" fmla="*/ 0 h 6"/>
                <a:gd name="T2" fmla="*/ 2 w 2"/>
                <a:gd name="T3" fmla="*/ 6 h 6"/>
                <a:gd name="T4" fmla="*/ 2 w 2"/>
                <a:gd name="T5" fmla="*/ 0 h 6"/>
              </a:gdLst>
              <a:cxnLst>
                <a:cxn ang="0">
                  <a:pos x="T0" y="T1"/>
                </a:cxn>
                <a:cxn ang="0">
                  <a:pos x="T2" y="T3"/>
                </a:cxn>
                <a:cxn ang="0">
                  <a:pos x="T4" y="T5"/>
                </a:cxn>
              </a:cxnLst>
              <a:rect l="0" t="0" r="r" b="b"/>
              <a:pathLst>
                <a:path w="2" h="6">
                  <a:moveTo>
                    <a:pt x="2" y="0"/>
                  </a:moveTo>
                  <a:cubicBezTo>
                    <a:pt x="0" y="2"/>
                    <a:pt x="0" y="5"/>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165"/>
            <p:cNvSpPr/>
            <p:nvPr/>
          </p:nvSpPr>
          <p:spPr bwMode="auto">
            <a:xfrm>
              <a:off x="5041813" y="2749107"/>
              <a:ext cx="9396" cy="9396"/>
            </a:xfrm>
            <a:custGeom>
              <a:gdLst>
                <a:gd name="T0" fmla="*/ 0 w 3"/>
                <a:gd name="T1" fmla="*/ 0 h 3"/>
                <a:gd name="T2" fmla="*/ 3 w 3"/>
                <a:gd name="T3" fmla="*/ 3 h 3"/>
                <a:gd name="T4" fmla="*/ 3 w 3"/>
                <a:gd name="T5" fmla="*/ 3 h 3"/>
                <a:gd name="T6" fmla="*/ 0 w 3"/>
                <a:gd name="T7" fmla="*/ 0 h 3"/>
              </a:gdLst>
              <a:cxnLst>
                <a:cxn ang="0">
                  <a:pos x="T0" y="T1"/>
                </a:cxn>
                <a:cxn ang="0">
                  <a:pos x="T2" y="T3"/>
                </a:cxn>
                <a:cxn ang="0">
                  <a:pos x="T4" y="T5"/>
                </a:cxn>
                <a:cxn ang="0">
                  <a:pos x="T6" y="T7"/>
                </a:cxn>
              </a:cxnLst>
              <a:rect l="0" t="0" r="r" b="b"/>
              <a:pathLst>
                <a:path w="3" h="3">
                  <a:moveTo>
                    <a:pt x="0" y="0"/>
                  </a:moveTo>
                  <a:cubicBezTo>
                    <a:pt x="0" y="2"/>
                    <a:pt x="1" y="3"/>
                    <a:pt x="3" y="3"/>
                  </a:cubicBezTo>
                  <a:cubicBezTo>
                    <a:pt x="3"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1166"/>
            <p:cNvSpPr/>
            <p:nvPr/>
          </p:nvSpPr>
          <p:spPr bwMode="auto">
            <a:xfrm>
              <a:off x="6005610" y="2865890"/>
              <a:ext cx="4027" cy="9396"/>
            </a:xfrm>
            <a:custGeom>
              <a:gdLst>
                <a:gd name="T0" fmla="*/ 0 w 1"/>
                <a:gd name="T1" fmla="*/ 0 h 3"/>
                <a:gd name="T2" fmla="*/ 1 w 1"/>
                <a:gd name="T3" fmla="*/ 3 h 3"/>
                <a:gd name="T4" fmla="*/ 1 w 1"/>
                <a:gd name="T5" fmla="*/ 3 h 3"/>
                <a:gd name="T6" fmla="*/ 1 w 1"/>
                <a:gd name="T7" fmla="*/ 3 h 3"/>
                <a:gd name="T8" fmla="*/ 0 w 1"/>
                <a:gd name="T9" fmla="*/ 0 h 3"/>
              </a:gdLst>
              <a:cxnLst>
                <a:cxn ang="0">
                  <a:pos x="T0" y="T1"/>
                </a:cxn>
                <a:cxn ang="0">
                  <a:pos x="T2" y="T3"/>
                </a:cxn>
                <a:cxn ang="0">
                  <a:pos x="T4" y="T5"/>
                </a:cxn>
                <a:cxn ang="0">
                  <a:pos x="T6" y="T7"/>
                </a:cxn>
                <a:cxn ang="0">
                  <a:pos x="T8" y="T9"/>
                </a:cxn>
              </a:cxnLst>
              <a:rect l="0" t="0" r="r" b="b"/>
              <a:pathLst>
                <a:path w="1" h="3">
                  <a:moveTo>
                    <a:pt x="0" y="0"/>
                  </a:moveTo>
                  <a:cubicBezTo>
                    <a:pt x="0" y="1"/>
                    <a:pt x="1" y="2"/>
                    <a:pt x="1" y="3"/>
                  </a:cubicBezTo>
                  <a:cubicBezTo>
                    <a:pt x="1" y="3"/>
                    <a:pt x="1" y="3"/>
                    <a:pt x="1" y="3"/>
                  </a:cubicBezTo>
                  <a:cubicBezTo>
                    <a:pt x="1" y="3"/>
                    <a:pt x="1" y="3"/>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167"/>
            <p:cNvSpPr/>
            <p:nvPr/>
          </p:nvSpPr>
          <p:spPr bwMode="auto">
            <a:xfrm>
              <a:off x="5025705" y="2349090"/>
              <a:ext cx="9396" cy="18793"/>
            </a:xfrm>
            <a:custGeom>
              <a:gdLst>
                <a:gd name="T0" fmla="*/ 3 w 3"/>
                <a:gd name="T1" fmla="*/ 0 h 6"/>
                <a:gd name="T2" fmla="*/ 0 w 3"/>
                <a:gd name="T3" fmla="*/ 3 h 6"/>
                <a:gd name="T4" fmla="*/ 1 w 3"/>
                <a:gd name="T5" fmla="*/ 6 h 6"/>
                <a:gd name="T6" fmla="*/ 3 w 3"/>
                <a:gd name="T7" fmla="*/ 0 h 6"/>
              </a:gdLst>
              <a:cxnLst>
                <a:cxn ang="0">
                  <a:pos x="T0" y="T1"/>
                </a:cxn>
                <a:cxn ang="0">
                  <a:pos x="T2" y="T3"/>
                </a:cxn>
                <a:cxn ang="0">
                  <a:pos x="T4" y="T5"/>
                </a:cxn>
                <a:cxn ang="0">
                  <a:pos x="T6" y="T7"/>
                </a:cxn>
              </a:cxnLst>
              <a:rect l="0" t="0" r="r" b="b"/>
              <a:pathLst>
                <a:path w="3" h="6">
                  <a:moveTo>
                    <a:pt x="3" y="0"/>
                  </a:moveTo>
                  <a:cubicBezTo>
                    <a:pt x="0" y="3"/>
                    <a:pt x="0" y="3"/>
                    <a:pt x="0" y="3"/>
                  </a:cubicBezTo>
                  <a:cubicBezTo>
                    <a:pt x="0" y="4"/>
                    <a:pt x="2" y="5"/>
                    <a:pt x="1" y="6"/>
                  </a:cubicBezTo>
                  <a:cubicBezTo>
                    <a:pt x="2"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1168"/>
            <p:cNvSpPr/>
            <p:nvPr/>
          </p:nvSpPr>
          <p:spPr bwMode="auto">
            <a:xfrm>
              <a:off x="5333100" y="2072569"/>
              <a:ext cx="18793" cy="12081"/>
            </a:xfrm>
            <a:custGeom>
              <a:gdLst>
                <a:gd name="T0" fmla="*/ 4 w 6"/>
                <a:gd name="T1" fmla="*/ 0 h 4"/>
                <a:gd name="T2" fmla="*/ 4 w 6"/>
                <a:gd name="T3" fmla="*/ 4 h 4"/>
                <a:gd name="T4" fmla="*/ 4 w 6"/>
                <a:gd name="T5" fmla="*/ 0 h 4"/>
              </a:gdLst>
              <a:cxnLst>
                <a:cxn ang="0">
                  <a:pos x="T0" y="T1"/>
                </a:cxn>
                <a:cxn ang="0">
                  <a:pos x="T2" y="T3"/>
                </a:cxn>
                <a:cxn ang="0">
                  <a:pos x="T4" y="T5"/>
                </a:cxn>
              </a:cxnLst>
              <a:rect l="0" t="0" r="r" b="b"/>
              <a:pathLst>
                <a:path w="6" h="4">
                  <a:moveTo>
                    <a:pt x="4" y="0"/>
                  </a:moveTo>
                  <a:cubicBezTo>
                    <a:pt x="0" y="2"/>
                    <a:pt x="3" y="4"/>
                    <a:pt x="4" y="4"/>
                  </a:cubicBezTo>
                  <a:cubicBezTo>
                    <a:pt x="5"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1169"/>
            <p:cNvSpPr/>
            <p:nvPr/>
          </p:nvSpPr>
          <p:spPr bwMode="auto">
            <a:xfrm>
              <a:off x="5440486" y="2225595"/>
              <a:ext cx="32216" cy="28189"/>
            </a:xfrm>
            <a:custGeom>
              <a:gdLst>
                <a:gd name="T0" fmla="*/ 10 w 10"/>
                <a:gd name="T1" fmla="*/ 0 h 9"/>
                <a:gd name="T2" fmla="*/ 5 w 10"/>
                <a:gd name="T3" fmla="*/ 9 h 9"/>
                <a:gd name="T4" fmla="*/ 8 w 10"/>
                <a:gd name="T5" fmla="*/ 8 h 9"/>
                <a:gd name="T6" fmla="*/ 8 w 10"/>
                <a:gd name="T7" fmla="*/ 5 h 9"/>
                <a:gd name="T8" fmla="*/ 10 w 10"/>
                <a:gd name="T9" fmla="*/ 0 h 9"/>
              </a:gdLst>
              <a:cxnLst>
                <a:cxn ang="0">
                  <a:pos x="T0" y="T1"/>
                </a:cxn>
                <a:cxn ang="0">
                  <a:pos x="T2" y="T3"/>
                </a:cxn>
                <a:cxn ang="0">
                  <a:pos x="T4" y="T5"/>
                </a:cxn>
                <a:cxn ang="0">
                  <a:pos x="T6" y="T7"/>
                </a:cxn>
                <a:cxn ang="0">
                  <a:pos x="T8" y="T9"/>
                </a:cxn>
              </a:cxnLst>
              <a:rect l="0" t="0" r="r" b="b"/>
              <a:pathLst>
                <a:path w="10" h="9">
                  <a:moveTo>
                    <a:pt x="10" y="0"/>
                  </a:moveTo>
                  <a:cubicBezTo>
                    <a:pt x="9" y="1"/>
                    <a:pt x="0" y="9"/>
                    <a:pt x="5" y="9"/>
                  </a:cubicBezTo>
                  <a:cubicBezTo>
                    <a:pt x="6" y="9"/>
                    <a:pt x="8" y="8"/>
                    <a:pt x="8" y="8"/>
                  </a:cubicBezTo>
                  <a:cubicBezTo>
                    <a:pt x="10" y="6"/>
                    <a:pt x="8" y="7"/>
                    <a:pt x="8" y="5"/>
                  </a:cubicBezTo>
                  <a:cubicBezTo>
                    <a:pt x="8" y="3"/>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1170"/>
            <p:cNvSpPr/>
            <p:nvPr/>
          </p:nvSpPr>
          <p:spPr bwMode="auto">
            <a:xfrm>
              <a:off x="4923687" y="2859178"/>
              <a:ext cx="44297" cy="57720"/>
            </a:xfrm>
            <a:custGeom>
              <a:gdLst>
                <a:gd name="T0" fmla="*/ 14 w 14"/>
                <a:gd name="T1" fmla="*/ 0 h 18"/>
                <a:gd name="T2" fmla="*/ 12 w 14"/>
                <a:gd name="T3" fmla="*/ 2 h 18"/>
                <a:gd name="T4" fmla="*/ 11 w 14"/>
                <a:gd name="T5" fmla="*/ 4 h 18"/>
                <a:gd name="T6" fmla="*/ 10 w 14"/>
                <a:gd name="T7" fmla="*/ 4 h 18"/>
                <a:gd name="T8" fmla="*/ 9 w 14"/>
                <a:gd name="T9" fmla="*/ 3 h 18"/>
                <a:gd name="T10" fmla="*/ 8 w 14"/>
                <a:gd name="T11" fmla="*/ 3 h 18"/>
                <a:gd name="T12" fmla="*/ 8 w 14"/>
                <a:gd name="T13" fmla="*/ 3 h 18"/>
                <a:gd name="T14" fmla="*/ 7 w 14"/>
                <a:gd name="T15" fmla="*/ 5 h 18"/>
                <a:gd name="T16" fmla="*/ 6 w 14"/>
                <a:gd name="T17" fmla="*/ 7 h 18"/>
                <a:gd name="T18" fmla="*/ 4 w 14"/>
                <a:gd name="T19" fmla="*/ 9 h 18"/>
                <a:gd name="T20" fmla="*/ 2 w 14"/>
                <a:gd name="T21" fmla="*/ 11 h 18"/>
                <a:gd name="T22" fmla="*/ 2 w 14"/>
                <a:gd name="T23" fmla="*/ 14 h 18"/>
                <a:gd name="T24" fmla="*/ 1 w 14"/>
                <a:gd name="T25" fmla="*/ 18 h 18"/>
                <a:gd name="T26" fmla="*/ 9 w 14"/>
                <a:gd name="T27" fmla="*/ 8 h 18"/>
                <a:gd name="T28" fmla="*/ 14 w 14"/>
                <a:gd name="T29"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8">
                  <a:moveTo>
                    <a:pt x="14" y="0"/>
                  </a:moveTo>
                  <a:cubicBezTo>
                    <a:pt x="13" y="1"/>
                    <a:pt x="12" y="2"/>
                    <a:pt x="12" y="2"/>
                  </a:cubicBezTo>
                  <a:cubicBezTo>
                    <a:pt x="11" y="3"/>
                    <a:pt x="11" y="4"/>
                    <a:pt x="11" y="4"/>
                  </a:cubicBezTo>
                  <a:cubicBezTo>
                    <a:pt x="11" y="4"/>
                    <a:pt x="10" y="4"/>
                    <a:pt x="10" y="4"/>
                  </a:cubicBezTo>
                  <a:cubicBezTo>
                    <a:pt x="10" y="4"/>
                    <a:pt x="9" y="4"/>
                    <a:pt x="9" y="3"/>
                  </a:cubicBezTo>
                  <a:cubicBezTo>
                    <a:pt x="9" y="3"/>
                    <a:pt x="8" y="3"/>
                    <a:pt x="8" y="3"/>
                  </a:cubicBezTo>
                  <a:cubicBezTo>
                    <a:pt x="8" y="3"/>
                    <a:pt x="8" y="3"/>
                    <a:pt x="8" y="3"/>
                  </a:cubicBezTo>
                  <a:cubicBezTo>
                    <a:pt x="6" y="3"/>
                    <a:pt x="5" y="4"/>
                    <a:pt x="7" y="5"/>
                  </a:cubicBezTo>
                  <a:cubicBezTo>
                    <a:pt x="9" y="6"/>
                    <a:pt x="7" y="6"/>
                    <a:pt x="6" y="7"/>
                  </a:cubicBezTo>
                  <a:cubicBezTo>
                    <a:pt x="6" y="8"/>
                    <a:pt x="5" y="9"/>
                    <a:pt x="4" y="9"/>
                  </a:cubicBezTo>
                  <a:cubicBezTo>
                    <a:pt x="2" y="10"/>
                    <a:pt x="3" y="9"/>
                    <a:pt x="2" y="11"/>
                  </a:cubicBezTo>
                  <a:cubicBezTo>
                    <a:pt x="2" y="11"/>
                    <a:pt x="2" y="13"/>
                    <a:pt x="2" y="14"/>
                  </a:cubicBezTo>
                  <a:cubicBezTo>
                    <a:pt x="1" y="16"/>
                    <a:pt x="0" y="14"/>
                    <a:pt x="1" y="18"/>
                  </a:cubicBezTo>
                  <a:cubicBezTo>
                    <a:pt x="4" y="15"/>
                    <a:pt x="6" y="12"/>
                    <a:pt x="9" y="8"/>
                  </a:cubicBezTo>
                  <a:cubicBezTo>
                    <a:pt x="10" y="6"/>
                    <a:pt x="13" y="3"/>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171"/>
            <p:cNvSpPr/>
            <p:nvPr/>
          </p:nvSpPr>
          <p:spPr bwMode="auto">
            <a:xfrm>
              <a:off x="4993489" y="2809512"/>
              <a:ext cx="9396" cy="2685"/>
            </a:xfrm>
            <a:custGeom>
              <a:gdLst>
                <a:gd name="T0" fmla="*/ 3 w 3"/>
                <a:gd name="T1" fmla="*/ 0 h 1"/>
                <a:gd name="T2" fmla="*/ 0 w 3"/>
                <a:gd name="T3" fmla="*/ 1 h 1"/>
                <a:gd name="T4" fmla="*/ 1 w 3"/>
                <a:gd name="T5" fmla="*/ 1 h 1"/>
                <a:gd name="T6" fmla="*/ 3 w 3"/>
                <a:gd name="T7" fmla="*/ 0 h 1"/>
              </a:gdLst>
              <a:cxnLst>
                <a:cxn ang="0">
                  <a:pos x="T0" y="T1"/>
                </a:cxn>
                <a:cxn ang="0">
                  <a:pos x="T2" y="T3"/>
                </a:cxn>
                <a:cxn ang="0">
                  <a:pos x="T4" y="T5"/>
                </a:cxn>
                <a:cxn ang="0">
                  <a:pos x="T6" y="T7"/>
                </a:cxn>
              </a:cxnLst>
              <a:rect l="0" t="0" r="r" b="b"/>
              <a:pathLst>
                <a:path w="3" h="1">
                  <a:moveTo>
                    <a:pt x="3" y="0"/>
                  </a:moveTo>
                  <a:cubicBezTo>
                    <a:pt x="2" y="0"/>
                    <a:pt x="1" y="0"/>
                    <a:pt x="0" y="1"/>
                  </a:cubicBezTo>
                  <a:cubicBezTo>
                    <a:pt x="0" y="1"/>
                    <a:pt x="1" y="1"/>
                    <a:pt x="1" y="1"/>
                  </a:cubicBezTo>
                  <a:cubicBezTo>
                    <a:pt x="2" y="1"/>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172"/>
            <p:cNvSpPr/>
            <p:nvPr/>
          </p:nvSpPr>
          <p:spPr bwMode="auto">
            <a:xfrm>
              <a:off x="5929097" y="1281933"/>
              <a:ext cx="16108" cy="13423"/>
            </a:xfrm>
            <a:custGeom>
              <a:gdLst>
                <a:gd name="T0" fmla="*/ 2 w 5"/>
                <a:gd name="T1" fmla="*/ 0 h 4"/>
                <a:gd name="T2" fmla="*/ 4 w 5"/>
                <a:gd name="T3" fmla="*/ 4 h 4"/>
                <a:gd name="T4" fmla="*/ 2 w 5"/>
                <a:gd name="T5" fmla="*/ 0 h 4"/>
              </a:gdLst>
              <a:cxnLst>
                <a:cxn ang="0">
                  <a:pos x="T0" y="T1"/>
                </a:cxn>
                <a:cxn ang="0">
                  <a:pos x="T2" y="T3"/>
                </a:cxn>
                <a:cxn ang="0">
                  <a:pos x="T4" y="T5"/>
                </a:cxn>
              </a:cxnLst>
              <a:rect l="0" t="0" r="r" b="b"/>
              <a:pathLst>
                <a:path w="5" h="4">
                  <a:moveTo>
                    <a:pt x="2" y="0"/>
                  </a:moveTo>
                  <a:cubicBezTo>
                    <a:pt x="0" y="2"/>
                    <a:pt x="2" y="4"/>
                    <a:pt x="4" y="4"/>
                  </a:cubicBezTo>
                  <a:cubicBezTo>
                    <a:pt x="5" y="4"/>
                    <a:pt x="5"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1173"/>
            <p:cNvSpPr/>
            <p:nvPr/>
          </p:nvSpPr>
          <p:spPr bwMode="auto">
            <a:xfrm>
              <a:off x="5714323" y="1904777"/>
              <a:ext cx="25504" cy="40270"/>
            </a:xfrm>
            <a:custGeom>
              <a:gdLst>
                <a:gd name="T0" fmla="*/ 7 w 8"/>
                <a:gd name="T1" fmla="*/ 0 h 13"/>
                <a:gd name="T2" fmla="*/ 0 w 8"/>
                <a:gd name="T3" fmla="*/ 7 h 13"/>
                <a:gd name="T4" fmla="*/ 0 w 8"/>
                <a:gd name="T5" fmla="*/ 13 h 13"/>
                <a:gd name="T6" fmla="*/ 1 w 8"/>
                <a:gd name="T7" fmla="*/ 13 h 13"/>
                <a:gd name="T8" fmla="*/ 7 w 8"/>
                <a:gd name="T9" fmla="*/ 0 h 13"/>
              </a:gdLst>
              <a:cxnLst>
                <a:cxn ang="0">
                  <a:pos x="T0" y="T1"/>
                </a:cxn>
                <a:cxn ang="0">
                  <a:pos x="T2" y="T3"/>
                </a:cxn>
                <a:cxn ang="0">
                  <a:pos x="T4" y="T5"/>
                </a:cxn>
                <a:cxn ang="0">
                  <a:pos x="T6" y="T7"/>
                </a:cxn>
                <a:cxn ang="0">
                  <a:pos x="T8" y="T9"/>
                </a:cxn>
              </a:cxnLst>
              <a:rect l="0" t="0" r="r" b="b"/>
              <a:pathLst>
                <a:path w="8" h="13">
                  <a:moveTo>
                    <a:pt x="7" y="0"/>
                  </a:moveTo>
                  <a:cubicBezTo>
                    <a:pt x="5" y="1"/>
                    <a:pt x="1" y="4"/>
                    <a:pt x="0" y="7"/>
                  </a:cubicBezTo>
                  <a:cubicBezTo>
                    <a:pt x="0" y="10"/>
                    <a:pt x="3" y="11"/>
                    <a:pt x="0" y="13"/>
                  </a:cubicBezTo>
                  <a:cubicBezTo>
                    <a:pt x="0" y="13"/>
                    <a:pt x="1" y="13"/>
                    <a:pt x="1" y="13"/>
                  </a:cubicBezTo>
                  <a:cubicBezTo>
                    <a:pt x="8" y="13"/>
                    <a:pt x="7" y="5"/>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174"/>
            <p:cNvSpPr/>
            <p:nvPr/>
          </p:nvSpPr>
          <p:spPr bwMode="auto">
            <a:xfrm>
              <a:off x="4628373" y="3049790"/>
              <a:ext cx="20135" cy="13423"/>
            </a:xfrm>
            <a:custGeom>
              <a:gdLst>
                <a:gd name="T0" fmla="*/ 3 w 6"/>
                <a:gd name="T1" fmla="*/ 0 h 4"/>
                <a:gd name="T2" fmla="*/ 0 w 6"/>
                <a:gd name="T3" fmla="*/ 3 h 4"/>
                <a:gd name="T4" fmla="*/ 3 w 6"/>
                <a:gd name="T5" fmla="*/ 4 h 4"/>
                <a:gd name="T6" fmla="*/ 4 w 6"/>
                <a:gd name="T7" fmla="*/ 4 h 4"/>
                <a:gd name="T8" fmla="*/ 3 w 6"/>
                <a:gd name="T9" fmla="*/ 0 h 4"/>
              </a:gdLst>
              <a:cxnLst>
                <a:cxn ang="0">
                  <a:pos x="T0" y="T1"/>
                </a:cxn>
                <a:cxn ang="0">
                  <a:pos x="T2" y="T3"/>
                </a:cxn>
                <a:cxn ang="0">
                  <a:pos x="T4" y="T5"/>
                </a:cxn>
                <a:cxn ang="0">
                  <a:pos x="T6" y="T7"/>
                </a:cxn>
                <a:cxn ang="0">
                  <a:pos x="T8" y="T9"/>
                </a:cxn>
              </a:cxnLst>
              <a:rect l="0" t="0" r="r" b="b"/>
              <a:pathLst>
                <a:path w="6" h="4">
                  <a:moveTo>
                    <a:pt x="3" y="0"/>
                  </a:moveTo>
                  <a:cubicBezTo>
                    <a:pt x="2" y="2"/>
                    <a:pt x="1" y="3"/>
                    <a:pt x="0" y="3"/>
                  </a:cubicBezTo>
                  <a:cubicBezTo>
                    <a:pt x="0" y="3"/>
                    <a:pt x="2" y="4"/>
                    <a:pt x="3" y="4"/>
                  </a:cubicBezTo>
                  <a:cubicBezTo>
                    <a:pt x="4" y="4"/>
                    <a:pt x="4" y="4"/>
                    <a:pt x="4" y="4"/>
                  </a:cubicBezTo>
                  <a:cubicBezTo>
                    <a:pt x="6" y="3"/>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175"/>
            <p:cNvSpPr/>
            <p:nvPr/>
          </p:nvSpPr>
          <p:spPr bwMode="auto">
            <a:xfrm>
              <a:off x="5802917" y="1555769"/>
              <a:ext cx="12081" cy="14766"/>
            </a:xfrm>
            <a:custGeom>
              <a:gdLst>
                <a:gd name="T0" fmla="*/ 3 w 4"/>
                <a:gd name="T1" fmla="*/ 0 h 5"/>
                <a:gd name="T2" fmla="*/ 1 w 4"/>
                <a:gd name="T3" fmla="*/ 1 h 5"/>
                <a:gd name="T4" fmla="*/ 1 w 4"/>
                <a:gd name="T5" fmla="*/ 1 h 5"/>
                <a:gd name="T6" fmla="*/ 1 w 4"/>
                <a:gd name="T7" fmla="*/ 5 h 5"/>
                <a:gd name="T8" fmla="*/ 1 w 4"/>
                <a:gd name="T9" fmla="*/ 5 h 5"/>
                <a:gd name="T10" fmla="*/ 3 w 4"/>
                <a:gd name="T11" fmla="*/ 3 h 5"/>
                <a:gd name="T12" fmla="*/ 3 w 4"/>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4" h="5">
                  <a:moveTo>
                    <a:pt x="3" y="0"/>
                  </a:moveTo>
                  <a:cubicBezTo>
                    <a:pt x="2" y="0"/>
                    <a:pt x="2" y="0"/>
                    <a:pt x="1" y="1"/>
                  </a:cubicBezTo>
                  <a:cubicBezTo>
                    <a:pt x="1" y="1"/>
                    <a:pt x="1" y="1"/>
                    <a:pt x="1" y="1"/>
                  </a:cubicBezTo>
                  <a:cubicBezTo>
                    <a:pt x="1" y="1"/>
                    <a:pt x="0" y="5"/>
                    <a:pt x="1" y="5"/>
                  </a:cubicBezTo>
                  <a:cubicBezTo>
                    <a:pt x="1" y="5"/>
                    <a:pt x="1" y="5"/>
                    <a:pt x="1" y="5"/>
                  </a:cubicBezTo>
                  <a:cubicBezTo>
                    <a:pt x="1" y="5"/>
                    <a:pt x="2" y="4"/>
                    <a:pt x="3" y="3"/>
                  </a:cubicBezTo>
                  <a:cubicBezTo>
                    <a:pt x="4" y="2"/>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176"/>
            <p:cNvSpPr/>
            <p:nvPr/>
          </p:nvSpPr>
          <p:spPr bwMode="auto">
            <a:xfrm>
              <a:off x="5102218" y="2393387"/>
              <a:ext cx="14766" cy="28189"/>
            </a:xfrm>
            <a:custGeom>
              <a:gdLst>
                <a:gd name="T0" fmla="*/ 0 w 5"/>
                <a:gd name="T1" fmla="*/ 0 h 9"/>
                <a:gd name="T2" fmla="*/ 0 w 5"/>
                <a:gd name="T3" fmla="*/ 9 h 9"/>
                <a:gd name="T4" fmla="*/ 5 w 5"/>
                <a:gd name="T5" fmla="*/ 4 h 9"/>
                <a:gd name="T6" fmla="*/ 4 w 5"/>
                <a:gd name="T7" fmla="*/ 1 h 9"/>
                <a:gd name="T8" fmla="*/ 3 w 5"/>
                <a:gd name="T9" fmla="*/ 0 h 9"/>
                <a:gd name="T10" fmla="*/ 2 w 5"/>
                <a:gd name="T11" fmla="*/ 0 h 9"/>
                <a:gd name="T12" fmla="*/ 1 w 5"/>
                <a:gd name="T13" fmla="*/ 0 h 9"/>
                <a:gd name="T14" fmla="*/ 0 w 5"/>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0" y="0"/>
                  </a:moveTo>
                  <a:cubicBezTo>
                    <a:pt x="0" y="3"/>
                    <a:pt x="0" y="6"/>
                    <a:pt x="0" y="9"/>
                  </a:cubicBezTo>
                  <a:cubicBezTo>
                    <a:pt x="2" y="8"/>
                    <a:pt x="4" y="6"/>
                    <a:pt x="5" y="4"/>
                  </a:cubicBezTo>
                  <a:cubicBezTo>
                    <a:pt x="4" y="1"/>
                    <a:pt x="4" y="1"/>
                    <a:pt x="4" y="1"/>
                  </a:cubicBezTo>
                  <a:cubicBezTo>
                    <a:pt x="4" y="0"/>
                    <a:pt x="3" y="0"/>
                    <a:pt x="3" y="0"/>
                  </a:cubicBezTo>
                  <a:cubicBezTo>
                    <a:pt x="3" y="0"/>
                    <a:pt x="2" y="0"/>
                    <a:pt x="2" y="0"/>
                  </a:cubicBezTo>
                  <a:cubicBezTo>
                    <a:pt x="2"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1177"/>
            <p:cNvSpPr/>
            <p:nvPr/>
          </p:nvSpPr>
          <p:spPr bwMode="auto">
            <a:xfrm>
              <a:off x="4660589" y="3037709"/>
              <a:ext cx="16108" cy="18793"/>
            </a:xfrm>
            <a:custGeom>
              <a:gdLst>
                <a:gd name="T0" fmla="*/ 5 w 5"/>
                <a:gd name="T1" fmla="*/ 0 h 6"/>
                <a:gd name="T2" fmla="*/ 0 w 5"/>
                <a:gd name="T3" fmla="*/ 3 h 6"/>
                <a:gd name="T4" fmla="*/ 1 w 5"/>
                <a:gd name="T5" fmla="*/ 6 h 6"/>
                <a:gd name="T6" fmla="*/ 4 w 5"/>
                <a:gd name="T7" fmla="*/ 4 h 6"/>
                <a:gd name="T8" fmla="*/ 5 w 5"/>
                <a:gd name="T9" fmla="*/ 0 h 6"/>
              </a:gdLst>
              <a:cxnLst>
                <a:cxn ang="0">
                  <a:pos x="T0" y="T1"/>
                </a:cxn>
                <a:cxn ang="0">
                  <a:pos x="T2" y="T3"/>
                </a:cxn>
                <a:cxn ang="0">
                  <a:pos x="T4" y="T5"/>
                </a:cxn>
                <a:cxn ang="0">
                  <a:pos x="T6" y="T7"/>
                </a:cxn>
                <a:cxn ang="0">
                  <a:pos x="T8" y="T9"/>
                </a:cxn>
              </a:cxnLst>
              <a:rect l="0" t="0" r="r" b="b"/>
              <a:pathLst>
                <a:path w="5" h="6">
                  <a:moveTo>
                    <a:pt x="5" y="0"/>
                  </a:moveTo>
                  <a:cubicBezTo>
                    <a:pt x="3" y="1"/>
                    <a:pt x="2" y="2"/>
                    <a:pt x="0" y="3"/>
                  </a:cubicBezTo>
                  <a:cubicBezTo>
                    <a:pt x="0" y="5"/>
                    <a:pt x="1" y="6"/>
                    <a:pt x="1" y="6"/>
                  </a:cubicBezTo>
                  <a:cubicBezTo>
                    <a:pt x="2" y="6"/>
                    <a:pt x="3" y="5"/>
                    <a:pt x="4" y="4"/>
                  </a:cubicBezTo>
                  <a:cubicBezTo>
                    <a:pt x="4" y="2"/>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1178"/>
            <p:cNvSpPr/>
            <p:nvPr/>
          </p:nvSpPr>
          <p:spPr bwMode="auto">
            <a:xfrm>
              <a:off x="5126380" y="2563864"/>
              <a:ext cx="29531" cy="20135"/>
            </a:xfrm>
            <a:custGeom>
              <a:gdLst>
                <a:gd name="T0" fmla="*/ 4 w 9"/>
                <a:gd name="T1" fmla="*/ 0 h 6"/>
                <a:gd name="T2" fmla="*/ 2 w 9"/>
                <a:gd name="T3" fmla="*/ 4 h 6"/>
                <a:gd name="T4" fmla="*/ 4 w 9"/>
                <a:gd name="T5" fmla="*/ 6 h 6"/>
                <a:gd name="T6" fmla="*/ 5 w 9"/>
                <a:gd name="T7" fmla="*/ 5 h 6"/>
                <a:gd name="T8" fmla="*/ 4 w 9"/>
                <a:gd name="T9" fmla="*/ 0 h 6"/>
              </a:gdLst>
              <a:cxnLst>
                <a:cxn ang="0">
                  <a:pos x="T0" y="T1"/>
                </a:cxn>
                <a:cxn ang="0">
                  <a:pos x="T2" y="T3"/>
                </a:cxn>
                <a:cxn ang="0">
                  <a:pos x="T4" y="T5"/>
                </a:cxn>
                <a:cxn ang="0">
                  <a:pos x="T6" y="T7"/>
                </a:cxn>
                <a:cxn ang="0">
                  <a:pos x="T8" y="T9"/>
                </a:cxn>
              </a:cxnLst>
              <a:rect l="0" t="0" r="r" b="b"/>
              <a:pathLst>
                <a:path w="9" h="6">
                  <a:moveTo>
                    <a:pt x="4" y="0"/>
                  </a:moveTo>
                  <a:cubicBezTo>
                    <a:pt x="2" y="1"/>
                    <a:pt x="0" y="1"/>
                    <a:pt x="2" y="4"/>
                  </a:cubicBezTo>
                  <a:cubicBezTo>
                    <a:pt x="2" y="5"/>
                    <a:pt x="3" y="6"/>
                    <a:pt x="4" y="6"/>
                  </a:cubicBezTo>
                  <a:cubicBezTo>
                    <a:pt x="5" y="6"/>
                    <a:pt x="5" y="6"/>
                    <a:pt x="5" y="5"/>
                  </a:cubicBezTo>
                  <a:cubicBezTo>
                    <a:pt x="9" y="4"/>
                    <a:pt x="6"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1179"/>
            <p:cNvSpPr/>
            <p:nvPr/>
          </p:nvSpPr>
          <p:spPr bwMode="auto">
            <a:xfrm>
              <a:off x="5037786" y="2728972"/>
              <a:ext cx="34901" cy="25504"/>
            </a:xfrm>
            <a:custGeom>
              <a:gdLst>
                <a:gd name="T0" fmla="*/ 10 w 11"/>
                <a:gd name="T1" fmla="*/ 0 h 8"/>
                <a:gd name="T2" fmla="*/ 6 w 11"/>
                <a:gd name="T3" fmla="*/ 1 h 8"/>
                <a:gd name="T4" fmla="*/ 0 w 11"/>
                <a:gd name="T5" fmla="*/ 4 h 8"/>
                <a:gd name="T6" fmla="*/ 0 w 11"/>
                <a:gd name="T7" fmla="*/ 4 h 8"/>
                <a:gd name="T8" fmla="*/ 3 w 11"/>
                <a:gd name="T9" fmla="*/ 6 h 8"/>
                <a:gd name="T10" fmla="*/ 4 w 11"/>
                <a:gd name="T11" fmla="*/ 8 h 8"/>
                <a:gd name="T12" fmla="*/ 4 w 11"/>
                <a:gd name="T13" fmla="*/ 8 h 8"/>
                <a:gd name="T14" fmla="*/ 11 w 11"/>
                <a:gd name="T15" fmla="*/ 0 h 8"/>
                <a:gd name="T16" fmla="*/ 10 w 11"/>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10" y="0"/>
                  </a:moveTo>
                  <a:cubicBezTo>
                    <a:pt x="8" y="0"/>
                    <a:pt x="7" y="1"/>
                    <a:pt x="6" y="1"/>
                  </a:cubicBezTo>
                  <a:cubicBezTo>
                    <a:pt x="4" y="2"/>
                    <a:pt x="2" y="4"/>
                    <a:pt x="0" y="4"/>
                  </a:cubicBezTo>
                  <a:cubicBezTo>
                    <a:pt x="0" y="4"/>
                    <a:pt x="0" y="4"/>
                    <a:pt x="0" y="4"/>
                  </a:cubicBezTo>
                  <a:cubicBezTo>
                    <a:pt x="1" y="5"/>
                    <a:pt x="2" y="6"/>
                    <a:pt x="3" y="6"/>
                  </a:cubicBezTo>
                  <a:cubicBezTo>
                    <a:pt x="3" y="7"/>
                    <a:pt x="3" y="7"/>
                    <a:pt x="4" y="8"/>
                  </a:cubicBezTo>
                  <a:cubicBezTo>
                    <a:pt x="4" y="8"/>
                    <a:pt x="4" y="8"/>
                    <a:pt x="4" y="8"/>
                  </a:cubicBezTo>
                  <a:cubicBezTo>
                    <a:pt x="7" y="8"/>
                    <a:pt x="10" y="2"/>
                    <a:pt x="11" y="0"/>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1180"/>
            <p:cNvSpPr/>
            <p:nvPr/>
          </p:nvSpPr>
          <p:spPr bwMode="auto">
            <a:xfrm>
              <a:off x="1966522" y="3249798"/>
              <a:ext cx="9396" cy="18793"/>
            </a:xfrm>
            <a:custGeom>
              <a:gdLst>
                <a:gd name="T0" fmla="*/ 3 w 3"/>
                <a:gd name="T1" fmla="*/ 0 h 6"/>
                <a:gd name="T2" fmla="*/ 1 w 3"/>
                <a:gd name="T3" fmla="*/ 6 h 6"/>
                <a:gd name="T4" fmla="*/ 3 w 3"/>
                <a:gd name="T5" fmla="*/ 0 h 6"/>
              </a:gdLst>
              <a:cxnLst>
                <a:cxn ang="0">
                  <a:pos x="T0" y="T1"/>
                </a:cxn>
                <a:cxn ang="0">
                  <a:pos x="T2" y="T3"/>
                </a:cxn>
                <a:cxn ang="0">
                  <a:pos x="T4" y="T5"/>
                </a:cxn>
              </a:cxnLst>
              <a:rect l="0" t="0" r="r" b="b"/>
              <a:pathLst>
                <a:path w="3" h="6">
                  <a:moveTo>
                    <a:pt x="3" y="0"/>
                  </a:moveTo>
                  <a:cubicBezTo>
                    <a:pt x="2" y="2"/>
                    <a:pt x="0" y="4"/>
                    <a:pt x="1" y="6"/>
                  </a:cubicBezTo>
                  <a:cubicBezTo>
                    <a:pt x="2" y="4"/>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1181"/>
            <p:cNvSpPr/>
            <p:nvPr/>
          </p:nvSpPr>
          <p:spPr bwMode="auto">
            <a:xfrm>
              <a:off x="1342336" y="4138425"/>
              <a:ext cx="9396" cy="2685"/>
            </a:xfrm>
            <a:custGeom>
              <a:gdLst>
                <a:gd name="T0" fmla="*/ 0 w 3"/>
                <a:gd name="T1" fmla="*/ 0 h 1"/>
                <a:gd name="T2" fmla="*/ 0 w 3"/>
                <a:gd name="T3" fmla="*/ 0 h 1"/>
                <a:gd name="T4" fmla="*/ 3 w 3"/>
                <a:gd name="T5" fmla="*/ 1 h 1"/>
                <a:gd name="T6" fmla="*/ 0 w 3"/>
                <a:gd name="T7" fmla="*/ 0 h 1"/>
                <a:gd name="T8" fmla="*/ 0 w 3"/>
                <a:gd name="T9" fmla="*/ 0 h 1"/>
              </a:gd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0"/>
                    <a:pt x="2" y="1"/>
                    <a:pt x="3" y="1"/>
                  </a:cubicBezTo>
                  <a:cubicBezTo>
                    <a:pt x="2"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1182"/>
            <p:cNvSpPr/>
            <p:nvPr/>
          </p:nvSpPr>
          <p:spPr bwMode="auto">
            <a:xfrm flipH="1">
              <a:off x="1973233" y="3247114"/>
              <a:ext cx="0" cy="6712"/>
            </a:xfrm>
            <a:custGeom>
              <a:gdLst>
                <a:gd name="T0" fmla="*/ 0 h 2"/>
                <a:gd name="T1" fmla="*/ 2 h 2"/>
                <a:gd name="T2" fmla="*/ 0 h 2"/>
                <a:gd name="T3" fmla="*/ 0 h 2"/>
              </a:gdLst>
              <a:cxnLst>
                <a:cxn ang="0">
                  <a:pos x="0" y="T0"/>
                </a:cxn>
                <a:cxn ang="0">
                  <a:pos x="0" y="T1"/>
                </a:cxn>
                <a:cxn ang="0">
                  <a:pos x="0" y="T2"/>
                </a:cxn>
                <a:cxn ang="0">
                  <a:pos x="0" y="T3"/>
                </a:cxn>
              </a:cxnLst>
              <a:rect l="0" t="0" r="r" b="b"/>
              <a:pathLst>
                <a:path h="2">
                  <a:moveTo>
                    <a:pt x="0" y="0"/>
                  </a:moveTo>
                  <a:cubicBezTo>
                    <a:pt x="0" y="0"/>
                    <a:pt x="0" y="1"/>
                    <a:pt x="0" y="2"/>
                  </a:cubicBezTo>
                  <a:cubicBezTo>
                    <a:pt x="0" y="1"/>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1183"/>
            <p:cNvSpPr/>
            <p:nvPr/>
          </p:nvSpPr>
          <p:spPr bwMode="auto">
            <a:xfrm>
              <a:off x="2490033" y="4480721"/>
              <a:ext cx="6712" cy="4027"/>
            </a:xfrm>
            <a:custGeom>
              <a:gdLst>
                <a:gd name="T0" fmla="*/ 0 w 2"/>
                <a:gd name="T1" fmla="*/ 0 h 1"/>
                <a:gd name="T2" fmla="*/ 0 w 2"/>
                <a:gd name="T3" fmla="*/ 0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0" y="0"/>
                    <a:pt x="0" y="0"/>
                    <a:pt x="0" y="0"/>
                  </a:cubicBezTo>
                  <a:cubicBezTo>
                    <a:pt x="0" y="0"/>
                    <a:pt x="1" y="1"/>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1184"/>
            <p:cNvSpPr/>
            <p:nvPr/>
          </p:nvSpPr>
          <p:spPr bwMode="auto">
            <a:xfrm>
              <a:off x="3192074" y="4896846"/>
              <a:ext cx="2685" cy="9396"/>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0"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1185"/>
            <p:cNvSpPr/>
            <p:nvPr/>
          </p:nvSpPr>
          <p:spPr bwMode="auto">
            <a:xfrm>
              <a:off x="5116983" y="4910269"/>
              <a:ext cx="85909" cy="34901"/>
            </a:xfrm>
            <a:custGeom>
              <a:gdLst>
                <a:gd name="T0" fmla="*/ 14 w 27"/>
                <a:gd name="T1" fmla="*/ 0 h 11"/>
                <a:gd name="T2" fmla="*/ 0 w 27"/>
                <a:gd name="T3" fmla="*/ 5 h 11"/>
                <a:gd name="T4" fmla="*/ 4 w 27"/>
                <a:gd name="T5" fmla="*/ 6 h 11"/>
                <a:gd name="T6" fmla="*/ 4 w 27"/>
                <a:gd name="T7" fmla="*/ 6 h 11"/>
                <a:gd name="T8" fmla="*/ 5 w 27"/>
                <a:gd name="T9" fmla="*/ 6 h 11"/>
                <a:gd name="T10" fmla="*/ 6 w 27"/>
                <a:gd name="T11" fmla="*/ 6 h 11"/>
                <a:gd name="T12" fmla="*/ 6 w 27"/>
                <a:gd name="T13" fmla="*/ 6 h 11"/>
                <a:gd name="T14" fmla="*/ 8 w 27"/>
                <a:gd name="T15" fmla="*/ 10 h 11"/>
                <a:gd name="T16" fmla="*/ 9 w 27"/>
                <a:gd name="T17" fmla="*/ 8 h 11"/>
                <a:gd name="T18" fmla="*/ 10 w 27"/>
                <a:gd name="T19" fmla="*/ 7 h 11"/>
                <a:gd name="T20" fmla="*/ 12 w 27"/>
                <a:gd name="T21" fmla="*/ 11 h 11"/>
                <a:gd name="T22" fmla="*/ 13 w 27"/>
                <a:gd name="T23" fmla="*/ 11 h 11"/>
                <a:gd name="T24" fmla="*/ 16 w 27"/>
                <a:gd name="T25" fmla="*/ 8 h 11"/>
                <a:gd name="T26" fmla="*/ 18 w 27"/>
                <a:gd name="T27" fmla="*/ 8 h 11"/>
                <a:gd name="T28" fmla="*/ 19 w 27"/>
                <a:gd name="T29" fmla="*/ 8 h 11"/>
                <a:gd name="T30" fmla="*/ 20 w 27"/>
                <a:gd name="T31" fmla="*/ 8 h 11"/>
                <a:gd name="T32" fmla="*/ 20 w 27"/>
                <a:gd name="T33" fmla="*/ 8 h 11"/>
                <a:gd name="T34" fmla="*/ 24 w 27"/>
                <a:gd name="T35" fmla="*/ 9 h 11"/>
                <a:gd name="T36" fmla="*/ 24 w 27"/>
                <a:gd name="T37" fmla="*/ 9 h 11"/>
                <a:gd name="T38" fmla="*/ 25 w 27"/>
                <a:gd name="T39" fmla="*/ 4 h 11"/>
                <a:gd name="T40" fmla="*/ 20 w 27"/>
                <a:gd name="T41" fmla="*/ 2 h 11"/>
                <a:gd name="T42" fmla="*/ 18 w 27"/>
                <a:gd name="T43" fmla="*/ 1 h 11"/>
                <a:gd name="T44" fmla="*/ 14 w 27"/>
                <a:gd name="T45"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11">
                  <a:moveTo>
                    <a:pt x="14" y="0"/>
                  </a:moveTo>
                  <a:cubicBezTo>
                    <a:pt x="9" y="2"/>
                    <a:pt x="5" y="3"/>
                    <a:pt x="0" y="5"/>
                  </a:cubicBezTo>
                  <a:cubicBezTo>
                    <a:pt x="2" y="5"/>
                    <a:pt x="2" y="6"/>
                    <a:pt x="4" y="6"/>
                  </a:cubicBezTo>
                  <a:cubicBezTo>
                    <a:pt x="4" y="6"/>
                    <a:pt x="4" y="6"/>
                    <a:pt x="4" y="6"/>
                  </a:cubicBezTo>
                  <a:cubicBezTo>
                    <a:pt x="4" y="6"/>
                    <a:pt x="5" y="6"/>
                    <a:pt x="5" y="6"/>
                  </a:cubicBezTo>
                  <a:cubicBezTo>
                    <a:pt x="6" y="6"/>
                    <a:pt x="6" y="6"/>
                    <a:pt x="6" y="6"/>
                  </a:cubicBezTo>
                  <a:cubicBezTo>
                    <a:pt x="6" y="6"/>
                    <a:pt x="6" y="6"/>
                    <a:pt x="6" y="6"/>
                  </a:cubicBezTo>
                  <a:cubicBezTo>
                    <a:pt x="7" y="7"/>
                    <a:pt x="7" y="9"/>
                    <a:pt x="8" y="10"/>
                  </a:cubicBezTo>
                  <a:cubicBezTo>
                    <a:pt x="8" y="9"/>
                    <a:pt x="8" y="8"/>
                    <a:pt x="9" y="8"/>
                  </a:cubicBezTo>
                  <a:cubicBezTo>
                    <a:pt x="9" y="7"/>
                    <a:pt x="9" y="7"/>
                    <a:pt x="10" y="7"/>
                  </a:cubicBezTo>
                  <a:cubicBezTo>
                    <a:pt x="11" y="7"/>
                    <a:pt x="11" y="10"/>
                    <a:pt x="12" y="11"/>
                  </a:cubicBezTo>
                  <a:cubicBezTo>
                    <a:pt x="13" y="11"/>
                    <a:pt x="13" y="11"/>
                    <a:pt x="13" y="11"/>
                  </a:cubicBezTo>
                  <a:cubicBezTo>
                    <a:pt x="15" y="11"/>
                    <a:pt x="17" y="9"/>
                    <a:pt x="16" y="8"/>
                  </a:cubicBezTo>
                  <a:cubicBezTo>
                    <a:pt x="17" y="8"/>
                    <a:pt x="17" y="8"/>
                    <a:pt x="18" y="8"/>
                  </a:cubicBezTo>
                  <a:cubicBezTo>
                    <a:pt x="18" y="8"/>
                    <a:pt x="18" y="8"/>
                    <a:pt x="19" y="8"/>
                  </a:cubicBezTo>
                  <a:cubicBezTo>
                    <a:pt x="19" y="8"/>
                    <a:pt x="19" y="8"/>
                    <a:pt x="20" y="8"/>
                  </a:cubicBezTo>
                  <a:cubicBezTo>
                    <a:pt x="20" y="8"/>
                    <a:pt x="20" y="8"/>
                    <a:pt x="20" y="8"/>
                  </a:cubicBezTo>
                  <a:cubicBezTo>
                    <a:pt x="20" y="8"/>
                    <a:pt x="23" y="9"/>
                    <a:pt x="24" y="9"/>
                  </a:cubicBezTo>
                  <a:cubicBezTo>
                    <a:pt x="24" y="9"/>
                    <a:pt x="24" y="9"/>
                    <a:pt x="24" y="9"/>
                  </a:cubicBezTo>
                  <a:cubicBezTo>
                    <a:pt x="27" y="9"/>
                    <a:pt x="26" y="5"/>
                    <a:pt x="25" y="4"/>
                  </a:cubicBezTo>
                  <a:cubicBezTo>
                    <a:pt x="24" y="3"/>
                    <a:pt x="21" y="2"/>
                    <a:pt x="20" y="2"/>
                  </a:cubicBezTo>
                  <a:cubicBezTo>
                    <a:pt x="19" y="1"/>
                    <a:pt x="19" y="1"/>
                    <a:pt x="18" y="1"/>
                  </a:cubicBezTo>
                  <a:cubicBezTo>
                    <a:pt x="17" y="1"/>
                    <a:pt x="16"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1186"/>
            <p:cNvSpPr/>
            <p:nvPr/>
          </p:nvSpPr>
          <p:spPr bwMode="auto">
            <a:xfrm>
              <a:off x="4644481" y="5525060"/>
              <a:ext cx="32216" cy="25504"/>
            </a:xfrm>
            <a:custGeom>
              <a:gdLst>
                <a:gd name="T0" fmla="*/ 10 w 10"/>
                <a:gd name="T1" fmla="*/ 0 h 8"/>
                <a:gd name="T2" fmla="*/ 2 w 10"/>
                <a:gd name="T3" fmla="*/ 3 h 8"/>
                <a:gd name="T4" fmla="*/ 4 w 10"/>
                <a:gd name="T5" fmla="*/ 7 h 8"/>
                <a:gd name="T6" fmla="*/ 5 w 10"/>
                <a:gd name="T7" fmla="*/ 8 h 8"/>
                <a:gd name="T8" fmla="*/ 6 w 10"/>
                <a:gd name="T9" fmla="*/ 8 h 8"/>
                <a:gd name="T10" fmla="*/ 10 w 10"/>
                <a:gd name="T11" fmla="*/ 0 h 8"/>
              </a:gdLst>
              <a:cxnLst>
                <a:cxn ang="0">
                  <a:pos x="T0" y="T1"/>
                </a:cxn>
                <a:cxn ang="0">
                  <a:pos x="T2" y="T3"/>
                </a:cxn>
                <a:cxn ang="0">
                  <a:pos x="T4" y="T5"/>
                </a:cxn>
                <a:cxn ang="0">
                  <a:pos x="T6" y="T7"/>
                </a:cxn>
                <a:cxn ang="0">
                  <a:pos x="T8" y="T9"/>
                </a:cxn>
                <a:cxn ang="0">
                  <a:pos x="T10" y="T11"/>
                </a:cxn>
              </a:cxnLst>
              <a:rect l="0" t="0" r="r" b="b"/>
              <a:pathLst>
                <a:path w="10" h="8">
                  <a:moveTo>
                    <a:pt x="10" y="0"/>
                  </a:moveTo>
                  <a:cubicBezTo>
                    <a:pt x="7" y="0"/>
                    <a:pt x="5" y="2"/>
                    <a:pt x="2" y="3"/>
                  </a:cubicBezTo>
                  <a:cubicBezTo>
                    <a:pt x="0" y="6"/>
                    <a:pt x="1" y="5"/>
                    <a:pt x="4" y="7"/>
                  </a:cubicBezTo>
                  <a:cubicBezTo>
                    <a:pt x="4" y="7"/>
                    <a:pt x="4" y="8"/>
                    <a:pt x="5" y="8"/>
                  </a:cubicBezTo>
                  <a:cubicBezTo>
                    <a:pt x="5" y="8"/>
                    <a:pt x="5" y="8"/>
                    <a:pt x="6" y="8"/>
                  </a:cubicBezTo>
                  <a:cubicBezTo>
                    <a:pt x="8" y="7"/>
                    <a:pt x="10"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1187"/>
            <p:cNvSpPr/>
            <p:nvPr/>
          </p:nvSpPr>
          <p:spPr bwMode="auto">
            <a:xfrm>
              <a:off x="3178651" y="4935774"/>
              <a:ext cx="28189" cy="24162"/>
            </a:xfrm>
            <a:custGeom>
              <a:gdLst>
                <a:gd name="T0" fmla="*/ 5 w 9"/>
                <a:gd name="T1" fmla="*/ 0 h 8"/>
                <a:gd name="T2" fmla="*/ 2 w 9"/>
                <a:gd name="T3" fmla="*/ 2 h 8"/>
                <a:gd name="T4" fmla="*/ 1 w 9"/>
                <a:gd name="T5" fmla="*/ 1 h 8"/>
                <a:gd name="T6" fmla="*/ 0 w 9"/>
                <a:gd name="T7" fmla="*/ 2 h 8"/>
                <a:gd name="T8" fmla="*/ 2 w 9"/>
                <a:gd name="T9" fmla="*/ 6 h 8"/>
                <a:gd name="T10" fmla="*/ 2 w 9"/>
                <a:gd name="T11" fmla="*/ 8 h 8"/>
                <a:gd name="T12" fmla="*/ 3 w 9"/>
                <a:gd name="T13" fmla="*/ 8 h 8"/>
                <a:gd name="T14" fmla="*/ 6 w 9"/>
                <a:gd name="T15" fmla="*/ 6 h 8"/>
                <a:gd name="T16" fmla="*/ 5 w 9"/>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5" y="0"/>
                  </a:moveTo>
                  <a:cubicBezTo>
                    <a:pt x="4" y="2"/>
                    <a:pt x="3" y="1"/>
                    <a:pt x="2" y="2"/>
                  </a:cubicBezTo>
                  <a:cubicBezTo>
                    <a:pt x="2" y="2"/>
                    <a:pt x="1" y="1"/>
                    <a:pt x="1" y="1"/>
                  </a:cubicBezTo>
                  <a:cubicBezTo>
                    <a:pt x="1" y="1"/>
                    <a:pt x="0" y="2"/>
                    <a:pt x="0" y="2"/>
                  </a:cubicBezTo>
                  <a:cubicBezTo>
                    <a:pt x="0" y="3"/>
                    <a:pt x="1" y="5"/>
                    <a:pt x="2" y="6"/>
                  </a:cubicBezTo>
                  <a:cubicBezTo>
                    <a:pt x="3" y="6"/>
                    <a:pt x="2" y="7"/>
                    <a:pt x="2" y="8"/>
                  </a:cubicBezTo>
                  <a:cubicBezTo>
                    <a:pt x="2" y="8"/>
                    <a:pt x="3" y="8"/>
                    <a:pt x="3" y="8"/>
                  </a:cubicBezTo>
                  <a:cubicBezTo>
                    <a:pt x="4" y="8"/>
                    <a:pt x="6" y="7"/>
                    <a:pt x="6" y="6"/>
                  </a:cubicBezTo>
                  <a:cubicBezTo>
                    <a:pt x="9" y="4"/>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1188"/>
            <p:cNvSpPr/>
            <p:nvPr/>
          </p:nvSpPr>
          <p:spPr bwMode="auto">
            <a:xfrm>
              <a:off x="3271272" y="5350556"/>
              <a:ext cx="681906" cy="216116"/>
            </a:xfrm>
            <a:custGeom>
              <a:gdLst>
                <a:gd name="T0" fmla="*/ 0 w 215"/>
                <a:gd name="T1" fmla="*/ 21 h 68"/>
                <a:gd name="T2" fmla="*/ 22 w 215"/>
                <a:gd name="T3" fmla="*/ 35 h 68"/>
                <a:gd name="T4" fmla="*/ 27 w 215"/>
                <a:gd name="T5" fmla="*/ 36 h 68"/>
                <a:gd name="T6" fmla="*/ 60 w 215"/>
                <a:gd name="T7" fmla="*/ 44 h 68"/>
                <a:gd name="T8" fmla="*/ 70 w 215"/>
                <a:gd name="T9" fmla="*/ 44 h 68"/>
                <a:gd name="T10" fmla="*/ 79 w 215"/>
                <a:gd name="T11" fmla="*/ 42 h 68"/>
                <a:gd name="T12" fmla="*/ 119 w 215"/>
                <a:gd name="T13" fmla="*/ 52 h 68"/>
                <a:gd name="T14" fmla="*/ 140 w 215"/>
                <a:gd name="T15" fmla="*/ 56 h 68"/>
                <a:gd name="T16" fmla="*/ 148 w 215"/>
                <a:gd name="T17" fmla="*/ 56 h 68"/>
                <a:gd name="T18" fmla="*/ 156 w 215"/>
                <a:gd name="T19" fmla="*/ 57 h 68"/>
                <a:gd name="T20" fmla="*/ 169 w 215"/>
                <a:gd name="T21" fmla="*/ 60 h 68"/>
                <a:gd name="T22" fmla="*/ 180 w 215"/>
                <a:gd name="T23" fmla="*/ 57 h 68"/>
                <a:gd name="T24" fmla="*/ 215 w 215"/>
                <a:gd name="T25" fmla="*/ 68 h 68"/>
                <a:gd name="T26" fmla="*/ 210 w 215"/>
                <a:gd name="T27" fmla="*/ 51 h 68"/>
                <a:gd name="T28" fmla="*/ 201 w 215"/>
                <a:gd name="T29" fmla="*/ 41 h 68"/>
                <a:gd name="T30" fmla="*/ 191 w 215"/>
                <a:gd name="T31" fmla="*/ 43 h 68"/>
                <a:gd name="T32" fmla="*/ 173 w 215"/>
                <a:gd name="T33" fmla="*/ 40 h 68"/>
                <a:gd name="T34" fmla="*/ 169 w 215"/>
                <a:gd name="T35" fmla="*/ 32 h 68"/>
                <a:gd name="T36" fmla="*/ 165 w 215"/>
                <a:gd name="T37" fmla="*/ 23 h 68"/>
                <a:gd name="T38" fmla="*/ 158 w 215"/>
                <a:gd name="T39" fmla="*/ 24 h 68"/>
                <a:gd name="T40" fmla="*/ 136 w 215"/>
                <a:gd name="T41" fmla="*/ 19 h 68"/>
                <a:gd name="T42" fmla="*/ 128 w 215"/>
                <a:gd name="T43" fmla="*/ 12 h 68"/>
                <a:gd name="T44" fmla="*/ 116 w 215"/>
                <a:gd name="T45" fmla="*/ 25 h 68"/>
                <a:gd name="T46" fmla="*/ 97 w 215"/>
                <a:gd name="T47" fmla="*/ 23 h 68"/>
                <a:gd name="T48" fmla="*/ 92 w 215"/>
                <a:gd name="T49" fmla="*/ 23 h 68"/>
                <a:gd name="T50" fmla="*/ 88 w 215"/>
                <a:gd name="T51" fmla="*/ 23 h 68"/>
                <a:gd name="T52" fmla="*/ 73 w 215"/>
                <a:gd name="T53" fmla="*/ 18 h 68"/>
                <a:gd name="T54" fmla="*/ 65 w 215"/>
                <a:gd name="T55" fmla="*/ 9 h 68"/>
                <a:gd name="T56" fmla="*/ 63 w 215"/>
                <a:gd name="T57" fmla="*/ 9 h 68"/>
                <a:gd name="T58" fmla="*/ 53 w 215"/>
                <a:gd name="T59" fmla="*/ 8 h 68"/>
                <a:gd name="T60" fmla="*/ 39 w 215"/>
                <a:gd name="T61" fmla="*/ 1 h 68"/>
                <a:gd name="T62" fmla="*/ 36 w 215"/>
                <a:gd name="T63" fmla="*/ 13 h 68"/>
                <a:gd name="T64" fmla="*/ 30 w 215"/>
                <a:gd name="T65" fmla="*/ 4 h 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5" h="68">
                  <a:moveTo>
                    <a:pt x="13" y="0"/>
                  </a:moveTo>
                  <a:cubicBezTo>
                    <a:pt x="8" y="6"/>
                    <a:pt x="5" y="14"/>
                    <a:pt x="0" y="21"/>
                  </a:cubicBezTo>
                  <a:cubicBezTo>
                    <a:pt x="8" y="22"/>
                    <a:pt x="15" y="23"/>
                    <a:pt x="22" y="26"/>
                  </a:cubicBezTo>
                  <a:cubicBezTo>
                    <a:pt x="27" y="28"/>
                    <a:pt x="23" y="30"/>
                    <a:pt x="22" y="35"/>
                  </a:cubicBezTo>
                  <a:cubicBezTo>
                    <a:pt x="22" y="35"/>
                    <a:pt x="22" y="35"/>
                    <a:pt x="23" y="35"/>
                  </a:cubicBezTo>
                  <a:cubicBezTo>
                    <a:pt x="24" y="35"/>
                    <a:pt x="26" y="36"/>
                    <a:pt x="27" y="36"/>
                  </a:cubicBezTo>
                  <a:cubicBezTo>
                    <a:pt x="33" y="37"/>
                    <a:pt x="39" y="37"/>
                    <a:pt x="45" y="38"/>
                  </a:cubicBezTo>
                  <a:cubicBezTo>
                    <a:pt x="50" y="39"/>
                    <a:pt x="55" y="43"/>
                    <a:pt x="60" y="44"/>
                  </a:cubicBezTo>
                  <a:cubicBezTo>
                    <a:pt x="63" y="44"/>
                    <a:pt x="65" y="45"/>
                    <a:pt x="67" y="45"/>
                  </a:cubicBezTo>
                  <a:cubicBezTo>
                    <a:pt x="68" y="45"/>
                    <a:pt x="69" y="44"/>
                    <a:pt x="70" y="44"/>
                  </a:cubicBezTo>
                  <a:cubicBezTo>
                    <a:pt x="73" y="43"/>
                    <a:pt x="76" y="42"/>
                    <a:pt x="78" y="42"/>
                  </a:cubicBezTo>
                  <a:cubicBezTo>
                    <a:pt x="79" y="42"/>
                    <a:pt x="79" y="42"/>
                    <a:pt x="79" y="42"/>
                  </a:cubicBezTo>
                  <a:cubicBezTo>
                    <a:pt x="87" y="43"/>
                    <a:pt x="94" y="44"/>
                    <a:pt x="102" y="46"/>
                  </a:cubicBezTo>
                  <a:cubicBezTo>
                    <a:pt x="108" y="47"/>
                    <a:pt x="114" y="50"/>
                    <a:pt x="119" y="52"/>
                  </a:cubicBezTo>
                  <a:cubicBezTo>
                    <a:pt x="123" y="53"/>
                    <a:pt x="126" y="55"/>
                    <a:pt x="129" y="55"/>
                  </a:cubicBezTo>
                  <a:cubicBezTo>
                    <a:pt x="133" y="55"/>
                    <a:pt x="137" y="55"/>
                    <a:pt x="140" y="56"/>
                  </a:cubicBezTo>
                  <a:cubicBezTo>
                    <a:pt x="142" y="56"/>
                    <a:pt x="144" y="58"/>
                    <a:pt x="145" y="58"/>
                  </a:cubicBezTo>
                  <a:cubicBezTo>
                    <a:pt x="146" y="58"/>
                    <a:pt x="147" y="58"/>
                    <a:pt x="148" y="56"/>
                  </a:cubicBezTo>
                  <a:cubicBezTo>
                    <a:pt x="148" y="56"/>
                    <a:pt x="148" y="56"/>
                    <a:pt x="149" y="56"/>
                  </a:cubicBezTo>
                  <a:cubicBezTo>
                    <a:pt x="151" y="56"/>
                    <a:pt x="155" y="57"/>
                    <a:pt x="156" y="57"/>
                  </a:cubicBezTo>
                  <a:cubicBezTo>
                    <a:pt x="161" y="58"/>
                    <a:pt x="164" y="58"/>
                    <a:pt x="168" y="59"/>
                  </a:cubicBezTo>
                  <a:cubicBezTo>
                    <a:pt x="169" y="60"/>
                    <a:pt x="169" y="60"/>
                    <a:pt x="169" y="60"/>
                  </a:cubicBezTo>
                  <a:cubicBezTo>
                    <a:pt x="171" y="60"/>
                    <a:pt x="174" y="58"/>
                    <a:pt x="176" y="58"/>
                  </a:cubicBezTo>
                  <a:cubicBezTo>
                    <a:pt x="178" y="57"/>
                    <a:pt x="179" y="57"/>
                    <a:pt x="180" y="57"/>
                  </a:cubicBezTo>
                  <a:cubicBezTo>
                    <a:pt x="186" y="57"/>
                    <a:pt x="190" y="60"/>
                    <a:pt x="196" y="62"/>
                  </a:cubicBezTo>
                  <a:cubicBezTo>
                    <a:pt x="202" y="65"/>
                    <a:pt x="209" y="66"/>
                    <a:pt x="215" y="68"/>
                  </a:cubicBezTo>
                  <a:cubicBezTo>
                    <a:pt x="212" y="65"/>
                    <a:pt x="209" y="62"/>
                    <a:pt x="209" y="58"/>
                  </a:cubicBezTo>
                  <a:cubicBezTo>
                    <a:pt x="209" y="56"/>
                    <a:pt x="210" y="53"/>
                    <a:pt x="210" y="51"/>
                  </a:cubicBezTo>
                  <a:cubicBezTo>
                    <a:pt x="211" y="46"/>
                    <a:pt x="212" y="46"/>
                    <a:pt x="208" y="44"/>
                  </a:cubicBezTo>
                  <a:cubicBezTo>
                    <a:pt x="206" y="43"/>
                    <a:pt x="203" y="41"/>
                    <a:pt x="201" y="41"/>
                  </a:cubicBezTo>
                  <a:cubicBezTo>
                    <a:pt x="201" y="41"/>
                    <a:pt x="201" y="41"/>
                    <a:pt x="201" y="41"/>
                  </a:cubicBezTo>
                  <a:cubicBezTo>
                    <a:pt x="198" y="41"/>
                    <a:pt x="194" y="42"/>
                    <a:pt x="191" y="43"/>
                  </a:cubicBezTo>
                  <a:cubicBezTo>
                    <a:pt x="188" y="43"/>
                    <a:pt x="186" y="43"/>
                    <a:pt x="185" y="43"/>
                  </a:cubicBezTo>
                  <a:cubicBezTo>
                    <a:pt x="181" y="43"/>
                    <a:pt x="177" y="42"/>
                    <a:pt x="173" y="40"/>
                  </a:cubicBezTo>
                  <a:cubicBezTo>
                    <a:pt x="171" y="39"/>
                    <a:pt x="172" y="37"/>
                    <a:pt x="172" y="35"/>
                  </a:cubicBezTo>
                  <a:cubicBezTo>
                    <a:pt x="172" y="33"/>
                    <a:pt x="171" y="33"/>
                    <a:pt x="169" y="32"/>
                  </a:cubicBezTo>
                  <a:cubicBezTo>
                    <a:pt x="166" y="30"/>
                    <a:pt x="168" y="28"/>
                    <a:pt x="167" y="25"/>
                  </a:cubicBezTo>
                  <a:cubicBezTo>
                    <a:pt x="167" y="23"/>
                    <a:pt x="166" y="23"/>
                    <a:pt x="165" y="23"/>
                  </a:cubicBezTo>
                  <a:cubicBezTo>
                    <a:pt x="164" y="23"/>
                    <a:pt x="163" y="23"/>
                    <a:pt x="162" y="23"/>
                  </a:cubicBezTo>
                  <a:cubicBezTo>
                    <a:pt x="160" y="24"/>
                    <a:pt x="159" y="24"/>
                    <a:pt x="158" y="24"/>
                  </a:cubicBezTo>
                  <a:cubicBezTo>
                    <a:pt x="158" y="24"/>
                    <a:pt x="158" y="24"/>
                    <a:pt x="158" y="24"/>
                  </a:cubicBezTo>
                  <a:cubicBezTo>
                    <a:pt x="150" y="21"/>
                    <a:pt x="144" y="20"/>
                    <a:pt x="136" y="19"/>
                  </a:cubicBezTo>
                  <a:cubicBezTo>
                    <a:pt x="133" y="19"/>
                    <a:pt x="131" y="15"/>
                    <a:pt x="129" y="12"/>
                  </a:cubicBezTo>
                  <a:cubicBezTo>
                    <a:pt x="129" y="12"/>
                    <a:pt x="128" y="12"/>
                    <a:pt x="128" y="12"/>
                  </a:cubicBezTo>
                  <a:cubicBezTo>
                    <a:pt x="127" y="12"/>
                    <a:pt x="123" y="14"/>
                    <a:pt x="122" y="15"/>
                  </a:cubicBezTo>
                  <a:cubicBezTo>
                    <a:pt x="122" y="17"/>
                    <a:pt x="120" y="25"/>
                    <a:pt x="116" y="25"/>
                  </a:cubicBezTo>
                  <a:cubicBezTo>
                    <a:pt x="116" y="25"/>
                    <a:pt x="116" y="25"/>
                    <a:pt x="116" y="25"/>
                  </a:cubicBezTo>
                  <a:cubicBezTo>
                    <a:pt x="110" y="25"/>
                    <a:pt x="104" y="23"/>
                    <a:pt x="97" y="23"/>
                  </a:cubicBezTo>
                  <a:cubicBezTo>
                    <a:pt x="97" y="22"/>
                    <a:pt x="96" y="22"/>
                    <a:pt x="95" y="22"/>
                  </a:cubicBezTo>
                  <a:cubicBezTo>
                    <a:pt x="94" y="22"/>
                    <a:pt x="93" y="22"/>
                    <a:pt x="92" y="23"/>
                  </a:cubicBezTo>
                  <a:cubicBezTo>
                    <a:pt x="91" y="23"/>
                    <a:pt x="90" y="23"/>
                    <a:pt x="89" y="23"/>
                  </a:cubicBezTo>
                  <a:cubicBezTo>
                    <a:pt x="89" y="23"/>
                    <a:pt x="88" y="23"/>
                    <a:pt x="88" y="23"/>
                  </a:cubicBezTo>
                  <a:cubicBezTo>
                    <a:pt x="85" y="22"/>
                    <a:pt x="82" y="22"/>
                    <a:pt x="80" y="22"/>
                  </a:cubicBezTo>
                  <a:cubicBezTo>
                    <a:pt x="77" y="21"/>
                    <a:pt x="73" y="21"/>
                    <a:pt x="73" y="18"/>
                  </a:cubicBezTo>
                  <a:cubicBezTo>
                    <a:pt x="72" y="15"/>
                    <a:pt x="70" y="13"/>
                    <a:pt x="68" y="10"/>
                  </a:cubicBezTo>
                  <a:cubicBezTo>
                    <a:pt x="67" y="9"/>
                    <a:pt x="66" y="9"/>
                    <a:pt x="65" y="9"/>
                  </a:cubicBezTo>
                  <a:cubicBezTo>
                    <a:pt x="65" y="9"/>
                    <a:pt x="64" y="9"/>
                    <a:pt x="64" y="9"/>
                  </a:cubicBezTo>
                  <a:cubicBezTo>
                    <a:pt x="64" y="9"/>
                    <a:pt x="63" y="9"/>
                    <a:pt x="63" y="9"/>
                  </a:cubicBezTo>
                  <a:cubicBezTo>
                    <a:pt x="63" y="9"/>
                    <a:pt x="63" y="9"/>
                    <a:pt x="63" y="9"/>
                  </a:cubicBezTo>
                  <a:cubicBezTo>
                    <a:pt x="59" y="9"/>
                    <a:pt x="56" y="8"/>
                    <a:pt x="53" y="8"/>
                  </a:cubicBezTo>
                  <a:cubicBezTo>
                    <a:pt x="49" y="8"/>
                    <a:pt x="47" y="6"/>
                    <a:pt x="44" y="4"/>
                  </a:cubicBezTo>
                  <a:cubicBezTo>
                    <a:pt x="44" y="4"/>
                    <a:pt x="41" y="2"/>
                    <a:pt x="39" y="1"/>
                  </a:cubicBezTo>
                  <a:cubicBezTo>
                    <a:pt x="41" y="2"/>
                    <a:pt x="42" y="4"/>
                    <a:pt x="42" y="7"/>
                  </a:cubicBezTo>
                  <a:cubicBezTo>
                    <a:pt x="42" y="10"/>
                    <a:pt x="39" y="13"/>
                    <a:pt x="36" y="13"/>
                  </a:cubicBezTo>
                  <a:cubicBezTo>
                    <a:pt x="32" y="13"/>
                    <a:pt x="29" y="10"/>
                    <a:pt x="29" y="7"/>
                  </a:cubicBezTo>
                  <a:cubicBezTo>
                    <a:pt x="29" y="6"/>
                    <a:pt x="30" y="5"/>
                    <a:pt x="30" y="4"/>
                  </a:cubicBezTo>
                  <a:cubicBezTo>
                    <a:pt x="24" y="3"/>
                    <a:pt x="19"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1189"/>
            <p:cNvSpPr/>
            <p:nvPr/>
          </p:nvSpPr>
          <p:spPr bwMode="auto">
            <a:xfrm>
              <a:off x="3017571" y="4805567"/>
              <a:ext cx="30874" cy="34901"/>
            </a:xfrm>
            <a:custGeom>
              <a:gdLst>
                <a:gd name="T0" fmla="*/ 4 w 10"/>
                <a:gd name="T1" fmla="*/ 0 h 11"/>
                <a:gd name="T2" fmla="*/ 7 w 10"/>
                <a:gd name="T3" fmla="*/ 11 h 11"/>
                <a:gd name="T4" fmla="*/ 7 w 10"/>
                <a:gd name="T5" fmla="*/ 2 h 11"/>
                <a:gd name="T6" fmla="*/ 4 w 10"/>
                <a:gd name="T7" fmla="*/ 0 h 11"/>
              </a:gdLst>
              <a:cxnLst>
                <a:cxn ang="0">
                  <a:pos x="T0" y="T1"/>
                </a:cxn>
                <a:cxn ang="0">
                  <a:pos x="T2" y="T3"/>
                </a:cxn>
                <a:cxn ang="0">
                  <a:pos x="T4" y="T5"/>
                </a:cxn>
                <a:cxn ang="0">
                  <a:pos x="T6" y="T7"/>
                </a:cxn>
              </a:cxnLst>
              <a:rect l="0" t="0" r="r" b="b"/>
              <a:pathLst>
                <a:path w="10" h="11">
                  <a:moveTo>
                    <a:pt x="4" y="0"/>
                  </a:moveTo>
                  <a:cubicBezTo>
                    <a:pt x="0" y="2"/>
                    <a:pt x="5" y="9"/>
                    <a:pt x="7" y="11"/>
                  </a:cubicBezTo>
                  <a:cubicBezTo>
                    <a:pt x="9" y="7"/>
                    <a:pt x="10" y="5"/>
                    <a:pt x="7"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1190"/>
            <p:cNvSpPr/>
            <p:nvPr/>
          </p:nvSpPr>
          <p:spPr bwMode="auto">
            <a:xfrm>
              <a:off x="4683409" y="5029737"/>
              <a:ext cx="69801" cy="29531"/>
            </a:xfrm>
            <a:custGeom>
              <a:gdLst>
                <a:gd name="T0" fmla="*/ 4 w 22"/>
                <a:gd name="T1" fmla="*/ 0 h 9"/>
                <a:gd name="T2" fmla="*/ 1 w 22"/>
                <a:gd name="T3" fmla="*/ 1 h 9"/>
                <a:gd name="T4" fmla="*/ 0 w 22"/>
                <a:gd name="T5" fmla="*/ 9 h 9"/>
                <a:gd name="T6" fmla="*/ 7 w 22"/>
                <a:gd name="T7" fmla="*/ 8 h 9"/>
                <a:gd name="T8" fmla="*/ 10 w 22"/>
                <a:gd name="T9" fmla="*/ 7 h 9"/>
                <a:gd name="T10" fmla="*/ 11 w 22"/>
                <a:gd name="T11" fmla="*/ 7 h 9"/>
                <a:gd name="T12" fmla="*/ 15 w 22"/>
                <a:gd name="T13" fmla="*/ 8 h 9"/>
                <a:gd name="T14" fmla="*/ 20 w 22"/>
                <a:gd name="T15" fmla="*/ 7 h 9"/>
                <a:gd name="T16" fmla="*/ 22 w 22"/>
                <a:gd name="T17" fmla="*/ 4 h 9"/>
                <a:gd name="T18" fmla="*/ 21 w 22"/>
                <a:gd name="T19" fmla="*/ 3 h 9"/>
                <a:gd name="T20" fmla="*/ 21 w 22"/>
                <a:gd name="T21" fmla="*/ 3 h 9"/>
                <a:gd name="T22" fmla="*/ 20 w 22"/>
                <a:gd name="T23" fmla="*/ 3 h 9"/>
                <a:gd name="T24" fmla="*/ 19 w 22"/>
                <a:gd name="T25" fmla="*/ 4 h 9"/>
                <a:gd name="T26" fmla="*/ 19 w 22"/>
                <a:gd name="T27" fmla="*/ 3 h 9"/>
                <a:gd name="T28" fmla="*/ 19 w 22"/>
                <a:gd name="T29" fmla="*/ 3 h 9"/>
                <a:gd name="T30" fmla="*/ 17 w 22"/>
                <a:gd name="T31" fmla="*/ 2 h 9"/>
                <a:gd name="T32" fmla="*/ 17 w 22"/>
                <a:gd name="T33" fmla="*/ 2 h 9"/>
                <a:gd name="T34" fmla="*/ 15 w 22"/>
                <a:gd name="T35" fmla="*/ 3 h 9"/>
                <a:gd name="T36" fmla="*/ 15 w 22"/>
                <a:gd name="T37" fmla="*/ 4 h 9"/>
                <a:gd name="T38" fmla="*/ 14 w 22"/>
                <a:gd name="T39" fmla="*/ 3 h 9"/>
                <a:gd name="T40" fmla="*/ 4 w 22"/>
                <a:gd name="T41"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9">
                  <a:moveTo>
                    <a:pt x="4" y="0"/>
                  </a:moveTo>
                  <a:cubicBezTo>
                    <a:pt x="3" y="0"/>
                    <a:pt x="1" y="0"/>
                    <a:pt x="1" y="1"/>
                  </a:cubicBezTo>
                  <a:cubicBezTo>
                    <a:pt x="0" y="4"/>
                    <a:pt x="0" y="7"/>
                    <a:pt x="0" y="9"/>
                  </a:cubicBezTo>
                  <a:cubicBezTo>
                    <a:pt x="3" y="9"/>
                    <a:pt x="5" y="9"/>
                    <a:pt x="7" y="8"/>
                  </a:cubicBezTo>
                  <a:cubicBezTo>
                    <a:pt x="8" y="8"/>
                    <a:pt x="9" y="7"/>
                    <a:pt x="10" y="7"/>
                  </a:cubicBezTo>
                  <a:cubicBezTo>
                    <a:pt x="10" y="7"/>
                    <a:pt x="10" y="7"/>
                    <a:pt x="11" y="7"/>
                  </a:cubicBezTo>
                  <a:cubicBezTo>
                    <a:pt x="12" y="7"/>
                    <a:pt x="13" y="8"/>
                    <a:pt x="15" y="8"/>
                  </a:cubicBezTo>
                  <a:cubicBezTo>
                    <a:pt x="16" y="8"/>
                    <a:pt x="18" y="7"/>
                    <a:pt x="20" y="7"/>
                  </a:cubicBezTo>
                  <a:cubicBezTo>
                    <a:pt x="21" y="6"/>
                    <a:pt x="22" y="6"/>
                    <a:pt x="22" y="4"/>
                  </a:cubicBezTo>
                  <a:cubicBezTo>
                    <a:pt x="21" y="3"/>
                    <a:pt x="21" y="3"/>
                    <a:pt x="21" y="3"/>
                  </a:cubicBezTo>
                  <a:cubicBezTo>
                    <a:pt x="21" y="3"/>
                    <a:pt x="21" y="3"/>
                    <a:pt x="21" y="3"/>
                  </a:cubicBezTo>
                  <a:cubicBezTo>
                    <a:pt x="20" y="3"/>
                    <a:pt x="19" y="3"/>
                    <a:pt x="20" y="3"/>
                  </a:cubicBezTo>
                  <a:cubicBezTo>
                    <a:pt x="19" y="4"/>
                    <a:pt x="19" y="4"/>
                    <a:pt x="19" y="4"/>
                  </a:cubicBezTo>
                  <a:cubicBezTo>
                    <a:pt x="19" y="4"/>
                    <a:pt x="19" y="3"/>
                    <a:pt x="19" y="3"/>
                  </a:cubicBezTo>
                  <a:cubicBezTo>
                    <a:pt x="19" y="3"/>
                    <a:pt x="19" y="3"/>
                    <a:pt x="19" y="3"/>
                  </a:cubicBezTo>
                  <a:cubicBezTo>
                    <a:pt x="18" y="3"/>
                    <a:pt x="18" y="2"/>
                    <a:pt x="17" y="2"/>
                  </a:cubicBezTo>
                  <a:cubicBezTo>
                    <a:pt x="17" y="2"/>
                    <a:pt x="17" y="2"/>
                    <a:pt x="17" y="2"/>
                  </a:cubicBezTo>
                  <a:cubicBezTo>
                    <a:pt x="17" y="2"/>
                    <a:pt x="16" y="3"/>
                    <a:pt x="15" y="3"/>
                  </a:cubicBezTo>
                  <a:cubicBezTo>
                    <a:pt x="15" y="3"/>
                    <a:pt x="15" y="4"/>
                    <a:pt x="15" y="4"/>
                  </a:cubicBezTo>
                  <a:cubicBezTo>
                    <a:pt x="15" y="4"/>
                    <a:pt x="15" y="3"/>
                    <a:pt x="14" y="3"/>
                  </a:cubicBezTo>
                  <a:cubicBezTo>
                    <a:pt x="12"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1191"/>
            <p:cNvSpPr/>
            <p:nvPr/>
          </p:nvSpPr>
          <p:spPr bwMode="auto">
            <a:xfrm>
              <a:off x="4593473" y="5525060"/>
              <a:ext cx="55036" cy="25504"/>
            </a:xfrm>
            <a:custGeom>
              <a:gdLst>
                <a:gd name="T0" fmla="*/ 14 w 17"/>
                <a:gd name="T1" fmla="*/ 0 h 8"/>
                <a:gd name="T2" fmla="*/ 11 w 17"/>
                <a:gd name="T3" fmla="*/ 1 h 8"/>
                <a:gd name="T4" fmla="*/ 11 w 17"/>
                <a:gd name="T5" fmla="*/ 1 h 8"/>
                <a:gd name="T6" fmla="*/ 11 w 17"/>
                <a:gd name="T7" fmla="*/ 0 h 8"/>
                <a:gd name="T8" fmla="*/ 11 w 17"/>
                <a:gd name="T9" fmla="*/ 0 h 8"/>
                <a:gd name="T10" fmla="*/ 10 w 17"/>
                <a:gd name="T11" fmla="*/ 0 h 8"/>
                <a:gd name="T12" fmla="*/ 10 w 17"/>
                <a:gd name="T13" fmla="*/ 2 h 8"/>
                <a:gd name="T14" fmla="*/ 9 w 17"/>
                <a:gd name="T15" fmla="*/ 4 h 8"/>
                <a:gd name="T16" fmla="*/ 8 w 17"/>
                <a:gd name="T17" fmla="*/ 4 h 8"/>
                <a:gd name="T18" fmla="*/ 7 w 17"/>
                <a:gd name="T19" fmla="*/ 1 h 8"/>
                <a:gd name="T20" fmla="*/ 5 w 17"/>
                <a:gd name="T21" fmla="*/ 1 h 8"/>
                <a:gd name="T22" fmla="*/ 0 w 17"/>
                <a:gd name="T23" fmla="*/ 8 h 8"/>
                <a:gd name="T24" fmla="*/ 5 w 17"/>
                <a:gd name="T25" fmla="*/ 8 h 8"/>
                <a:gd name="T26" fmla="*/ 7 w 17"/>
                <a:gd name="T27" fmla="*/ 8 h 8"/>
                <a:gd name="T28" fmla="*/ 9 w 17"/>
                <a:gd name="T29" fmla="*/ 8 h 8"/>
                <a:gd name="T30" fmla="*/ 9 w 17"/>
                <a:gd name="T31" fmla="*/ 7 h 8"/>
                <a:gd name="T32" fmla="*/ 9 w 17"/>
                <a:gd name="T33" fmla="*/ 6 h 8"/>
                <a:gd name="T34" fmla="*/ 12 w 17"/>
                <a:gd name="T35" fmla="*/ 5 h 8"/>
                <a:gd name="T36" fmla="*/ 17 w 17"/>
                <a:gd name="T37" fmla="*/ 0 h 8"/>
                <a:gd name="T38" fmla="*/ 14 w 17"/>
                <a:gd name="T3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8">
                  <a:moveTo>
                    <a:pt x="14" y="0"/>
                  </a:moveTo>
                  <a:cubicBezTo>
                    <a:pt x="13" y="0"/>
                    <a:pt x="12" y="0"/>
                    <a:pt x="11" y="1"/>
                  </a:cubicBezTo>
                  <a:cubicBezTo>
                    <a:pt x="11" y="1"/>
                    <a:pt x="11" y="1"/>
                    <a:pt x="11" y="1"/>
                  </a:cubicBezTo>
                  <a:cubicBezTo>
                    <a:pt x="11" y="1"/>
                    <a:pt x="11" y="1"/>
                    <a:pt x="11" y="0"/>
                  </a:cubicBezTo>
                  <a:cubicBezTo>
                    <a:pt x="11" y="0"/>
                    <a:pt x="11" y="0"/>
                    <a:pt x="11" y="0"/>
                  </a:cubicBezTo>
                  <a:cubicBezTo>
                    <a:pt x="10" y="0"/>
                    <a:pt x="10" y="0"/>
                    <a:pt x="10" y="0"/>
                  </a:cubicBezTo>
                  <a:cubicBezTo>
                    <a:pt x="10" y="0"/>
                    <a:pt x="10" y="1"/>
                    <a:pt x="10" y="2"/>
                  </a:cubicBezTo>
                  <a:cubicBezTo>
                    <a:pt x="9" y="2"/>
                    <a:pt x="9" y="4"/>
                    <a:pt x="9" y="4"/>
                  </a:cubicBezTo>
                  <a:cubicBezTo>
                    <a:pt x="8" y="4"/>
                    <a:pt x="8" y="4"/>
                    <a:pt x="8" y="4"/>
                  </a:cubicBezTo>
                  <a:cubicBezTo>
                    <a:pt x="6" y="3"/>
                    <a:pt x="9" y="1"/>
                    <a:pt x="7" y="1"/>
                  </a:cubicBezTo>
                  <a:cubicBezTo>
                    <a:pt x="7" y="1"/>
                    <a:pt x="6" y="1"/>
                    <a:pt x="5" y="1"/>
                  </a:cubicBezTo>
                  <a:cubicBezTo>
                    <a:pt x="9" y="4"/>
                    <a:pt x="2" y="6"/>
                    <a:pt x="0" y="8"/>
                  </a:cubicBezTo>
                  <a:cubicBezTo>
                    <a:pt x="2" y="8"/>
                    <a:pt x="4" y="8"/>
                    <a:pt x="5" y="8"/>
                  </a:cubicBezTo>
                  <a:cubicBezTo>
                    <a:pt x="6" y="8"/>
                    <a:pt x="6" y="8"/>
                    <a:pt x="7" y="8"/>
                  </a:cubicBezTo>
                  <a:cubicBezTo>
                    <a:pt x="8" y="8"/>
                    <a:pt x="9" y="8"/>
                    <a:pt x="9" y="8"/>
                  </a:cubicBezTo>
                  <a:cubicBezTo>
                    <a:pt x="9" y="8"/>
                    <a:pt x="9" y="7"/>
                    <a:pt x="9" y="7"/>
                  </a:cubicBezTo>
                  <a:cubicBezTo>
                    <a:pt x="9" y="6"/>
                    <a:pt x="9" y="6"/>
                    <a:pt x="9" y="6"/>
                  </a:cubicBezTo>
                  <a:cubicBezTo>
                    <a:pt x="10" y="5"/>
                    <a:pt x="11" y="5"/>
                    <a:pt x="12" y="5"/>
                  </a:cubicBezTo>
                  <a:cubicBezTo>
                    <a:pt x="13" y="4"/>
                    <a:pt x="16" y="2"/>
                    <a:pt x="17" y="0"/>
                  </a:cubicBezTo>
                  <a:cubicBezTo>
                    <a:pt x="16"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1192"/>
            <p:cNvSpPr/>
            <p:nvPr/>
          </p:nvSpPr>
          <p:spPr bwMode="auto">
            <a:xfrm>
              <a:off x="2813536" y="5061953"/>
              <a:ext cx="38928" cy="25504"/>
            </a:xfrm>
            <a:custGeom>
              <a:gdLst>
                <a:gd name="T0" fmla="*/ 6 w 12"/>
                <a:gd name="T1" fmla="*/ 0 h 8"/>
                <a:gd name="T2" fmla="*/ 5 w 12"/>
                <a:gd name="T3" fmla="*/ 0 h 8"/>
                <a:gd name="T4" fmla="*/ 12 w 12"/>
                <a:gd name="T5" fmla="*/ 8 h 8"/>
                <a:gd name="T6" fmla="*/ 8 w 12"/>
                <a:gd name="T7" fmla="*/ 1 h 8"/>
                <a:gd name="T8" fmla="*/ 6 w 12"/>
                <a:gd name="T9" fmla="*/ 0 h 8"/>
              </a:gdLst>
              <a:cxnLst>
                <a:cxn ang="0">
                  <a:pos x="T0" y="T1"/>
                </a:cxn>
                <a:cxn ang="0">
                  <a:pos x="T2" y="T3"/>
                </a:cxn>
                <a:cxn ang="0">
                  <a:pos x="T4" y="T5"/>
                </a:cxn>
                <a:cxn ang="0">
                  <a:pos x="T6" y="T7"/>
                </a:cxn>
                <a:cxn ang="0">
                  <a:pos x="T8" y="T9"/>
                </a:cxn>
              </a:cxnLst>
              <a:rect l="0" t="0" r="r" b="b"/>
              <a:pathLst>
                <a:path w="12" h="8">
                  <a:moveTo>
                    <a:pt x="6" y="0"/>
                  </a:moveTo>
                  <a:cubicBezTo>
                    <a:pt x="5" y="0"/>
                    <a:pt x="5" y="0"/>
                    <a:pt x="5" y="0"/>
                  </a:cubicBezTo>
                  <a:cubicBezTo>
                    <a:pt x="0" y="3"/>
                    <a:pt x="10" y="7"/>
                    <a:pt x="12" y="8"/>
                  </a:cubicBezTo>
                  <a:cubicBezTo>
                    <a:pt x="11" y="7"/>
                    <a:pt x="9" y="2"/>
                    <a:pt x="8" y="1"/>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1193"/>
            <p:cNvSpPr/>
            <p:nvPr/>
          </p:nvSpPr>
          <p:spPr bwMode="auto">
            <a:xfrm>
              <a:off x="4174664" y="4601532"/>
              <a:ext cx="6712" cy="9396"/>
            </a:xfrm>
            <a:custGeom>
              <a:gdLst>
                <a:gd name="T0" fmla="*/ 0 w 2"/>
                <a:gd name="T1" fmla="*/ 0 h 3"/>
                <a:gd name="T2" fmla="*/ 1 w 2"/>
                <a:gd name="T3" fmla="*/ 2 h 3"/>
                <a:gd name="T4" fmla="*/ 1 w 2"/>
                <a:gd name="T5" fmla="*/ 3 h 3"/>
                <a:gd name="T6" fmla="*/ 2 w 2"/>
                <a:gd name="T7" fmla="*/ 3 h 3"/>
                <a:gd name="T8" fmla="*/ 2 w 2"/>
                <a:gd name="T9" fmla="*/ 3 h 3"/>
                <a:gd name="T10" fmla="*/ 0 w 2"/>
                <a:gd name="T11" fmla="*/ 0 h 3"/>
              </a:gdLst>
              <a:cxnLst>
                <a:cxn ang="0">
                  <a:pos x="T0" y="T1"/>
                </a:cxn>
                <a:cxn ang="0">
                  <a:pos x="T2" y="T3"/>
                </a:cxn>
                <a:cxn ang="0">
                  <a:pos x="T4" y="T5"/>
                </a:cxn>
                <a:cxn ang="0">
                  <a:pos x="T6" y="T7"/>
                </a:cxn>
                <a:cxn ang="0">
                  <a:pos x="T8" y="T9"/>
                </a:cxn>
                <a:cxn ang="0">
                  <a:pos x="T10" y="T11"/>
                </a:cxn>
              </a:cxnLst>
              <a:rect l="0" t="0" r="r" b="b"/>
              <a:pathLst>
                <a:path w="2" h="3">
                  <a:moveTo>
                    <a:pt x="0" y="0"/>
                  </a:moveTo>
                  <a:cubicBezTo>
                    <a:pt x="0" y="1"/>
                    <a:pt x="1" y="2"/>
                    <a:pt x="1" y="2"/>
                  </a:cubicBezTo>
                  <a:cubicBezTo>
                    <a:pt x="1" y="3"/>
                    <a:pt x="1" y="3"/>
                    <a:pt x="1" y="3"/>
                  </a:cubicBezTo>
                  <a:cubicBezTo>
                    <a:pt x="1" y="3"/>
                    <a:pt x="2" y="3"/>
                    <a:pt x="2" y="3"/>
                  </a:cubicBezTo>
                  <a:cubicBezTo>
                    <a:pt x="2" y="3"/>
                    <a:pt x="2" y="3"/>
                    <a:pt x="2" y="3"/>
                  </a:cubicBezTo>
                  <a:cubicBezTo>
                    <a:pt x="2"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1194"/>
            <p:cNvSpPr/>
            <p:nvPr/>
          </p:nvSpPr>
          <p:spPr bwMode="auto">
            <a:xfrm>
              <a:off x="5672710" y="5461970"/>
              <a:ext cx="104702" cy="79198"/>
            </a:xfrm>
            <a:custGeom>
              <a:gdLst>
                <a:gd name="T0" fmla="*/ 24 w 33"/>
                <a:gd name="T1" fmla="*/ 0 h 25"/>
                <a:gd name="T2" fmla="*/ 15 w 33"/>
                <a:gd name="T3" fmla="*/ 1 h 25"/>
                <a:gd name="T4" fmla="*/ 5 w 33"/>
                <a:gd name="T5" fmla="*/ 12 h 25"/>
                <a:gd name="T6" fmla="*/ 0 w 33"/>
                <a:gd name="T7" fmla="*/ 25 h 25"/>
                <a:gd name="T8" fmla="*/ 2 w 33"/>
                <a:gd name="T9" fmla="*/ 24 h 25"/>
                <a:gd name="T10" fmla="*/ 7 w 33"/>
                <a:gd name="T11" fmla="*/ 24 h 25"/>
                <a:gd name="T12" fmla="*/ 9 w 33"/>
                <a:gd name="T13" fmla="*/ 24 h 25"/>
                <a:gd name="T14" fmla="*/ 15 w 33"/>
                <a:gd name="T15" fmla="*/ 25 h 25"/>
                <a:gd name="T16" fmla="*/ 18 w 33"/>
                <a:gd name="T17" fmla="*/ 24 h 25"/>
                <a:gd name="T18" fmla="*/ 23 w 33"/>
                <a:gd name="T19" fmla="*/ 20 h 25"/>
                <a:gd name="T20" fmla="*/ 25 w 33"/>
                <a:gd name="T21" fmla="*/ 18 h 25"/>
                <a:gd name="T22" fmla="*/ 29 w 33"/>
                <a:gd name="T23" fmla="*/ 16 h 25"/>
                <a:gd name="T24" fmla="*/ 29 w 33"/>
                <a:gd name="T25" fmla="*/ 13 h 25"/>
                <a:gd name="T26" fmla="*/ 31 w 33"/>
                <a:gd name="T27" fmla="*/ 11 h 25"/>
                <a:gd name="T28" fmla="*/ 31 w 33"/>
                <a:gd name="T29" fmla="*/ 9 h 25"/>
                <a:gd name="T30" fmla="*/ 32 w 33"/>
                <a:gd name="T31" fmla="*/ 5 h 25"/>
                <a:gd name="T32" fmla="*/ 29 w 33"/>
                <a:gd name="T33" fmla="*/ 3 h 25"/>
                <a:gd name="T34" fmla="*/ 24 w 33"/>
                <a:gd name="T35" fmla="*/ 0 h 25"/>
                <a:gd name="T36" fmla="*/ 24 w 33"/>
                <a:gd name="T37"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5">
                  <a:moveTo>
                    <a:pt x="24" y="0"/>
                  </a:moveTo>
                  <a:cubicBezTo>
                    <a:pt x="21" y="0"/>
                    <a:pt x="18" y="0"/>
                    <a:pt x="15" y="1"/>
                  </a:cubicBezTo>
                  <a:cubicBezTo>
                    <a:pt x="10" y="5"/>
                    <a:pt x="7" y="7"/>
                    <a:pt x="5" y="12"/>
                  </a:cubicBezTo>
                  <a:cubicBezTo>
                    <a:pt x="3" y="16"/>
                    <a:pt x="1" y="21"/>
                    <a:pt x="0" y="25"/>
                  </a:cubicBezTo>
                  <a:cubicBezTo>
                    <a:pt x="0" y="25"/>
                    <a:pt x="1" y="24"/>
                    <a:pt x="2" y="24"/>
                  </a:cubicBezTo>
                  <a:cubicBezTo>
                    <a:pt x="4" y="24"/>
                    <a:pt x="5" y="24"/>
                    <a:pt x="7" y="24"/>
                  </a:cubicBezTo>
                  <a:cubicBezTo>
                    <a:pt x="8" y="24"/>
                    <a:pt x="9" y="24"/>
                    <a:pt x="9" y="24"/>
                  </a:cubicBezTo>
                  <a:cubicBezTo>
                    <a:pt x="11" y="24"/>
                    <a:pt x="13" y="25"/>
                    <a:pt x="15" y="25"/>
                  </a:cubicBezTo>
                  <a:cubicBezTo>
                    <a:pt x="16" y="25"/>
                    <a:pt x="17" y="24"/>
                    <a:pt x="18" y="24"/>
                  </a:cubicBezTo>
                  <a:cubicBezTo>
                    <a:pt x="20" y="23"/>
                    <a:pt x="21" y="21"/>
                    <a:pt x="23" y="20"/>
                  </a:cubicBezTo>
                  <a:cubicBezTo>
                    <a:pt x="23" y="20"/>
                    <a:pt x="24" y="19"/>
                    <a:pt x="25" y="18"/>
                  </a:cubicBezTo>
                  <a:cubicBezTo>
                    <a:pt x="26" y="18"/>
                    <a:pt x="28" y="18"/>
                    <a:pt x="29" y="16"/>
                  </a:cubicBezTo>
                  <a:cubicBezTo>
                    <a:pt x="29" y="16"/>
                    <a:pt x="29" y="14"/>
                    <a:pt x="29" y="13"/>
                  </a:cubicBezTo>
                  <a:cubicBezTo>
                    <a:pt x="29" y="12"/>
                    <a:pt x="30" y="12"/>
                    <a:pt x="31" y="11"/>
                  </a:cubicBezTo>
                  <a:cubicBezTo>
                    <a:pt x="31" y="10"/>
                    <a:pt x="31" y="10"/>
                    <a:pt x="31" y="9"/>
                  </a:cubicBezTo>
                  <a:cubicBezTo>
                    <a:pt x="32" y="8"/>
                    <a:pt x="33" y="6"/>
                    <a:pt x="32" y="5"/>
                  </a:cubicBezTo>
                  <a:cubicBezTo>
                    <a:pt x="31" y="4"/>
                    <a:pt x="30" y="4"/>
                    <a:pt x="29" y="3"/>
                  </a:cubicBezTo>
                  <a:cubicBezTo>
                    <a:pt x="27" y="1"/>
                    <a:pt x="27" y="0"/>
                    <a:pt x="24" y="0"/>
                  </a:cubicBezTo>
                  <a:cubicBezTo>
                    <a:pt x="24" y="0"/>
                    <a:pt x="24"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1195"/>
            <p:cNvSpPr/>
            <p:nvPr/>
          </p:nvSpPr>
          <p:spPr bwMode="auto">
            <a:xfrm>
              <a:off x="5402901" y="5369348"/>
              <a:ext cx="44297" cy="57720"/>
            </a:xfrm>
            <a:custGeom>
              <a:gdLst>
                <a:gd name="T0" fmla="*/ 2 w 14"/>
                <a:gd name="T1" fmla="*/ 0 h 18"/>
                <a:gd name="T2" fmla="*/ 4 w 14"/>
                <a:gd name="T3" fmla="*/ 8 h 18"/>
                <a:gd name="T4" fmla="*/ 3 w 14"/>
                <a:gd name="T5" fmla="*/ 8 h 18"/>
                <a:gd name="T6" fmla="*/ 1 w 14"/>
                <a:gd name="T7" fmla="*/ 16 h 18"/>
                <a:gd name="T8" fmla="*/ 4 w 14"/>
                <a:gd name="T9" fmla="*/ 18 h 18"/>
                <a:gd name="T10" fmla="*/ 9 w 14"/>
                <a:gd name="T11" fmla="*/ 12 h 18"/>
                <a:gd name="T12" fmla="*/ 9 w 14"/>
                <a:gd name="T13" fmla="*/ 12 h 18"/>
                <a:gd name="T14" fmla="*/ 2 w 14"/>
                <a:gd name="T15" fmla="*/ 0 h 1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2" y="0"/>
                  </a:moveTo>
                  <a:cubicBezTo>
                    <a:pt x="1" y="3"/>
                    <a:pt x="1" y="7"/>
                    <a:pt x="4" y="8"/>
                  </a:cubicBezTo>
                  <a:cubicBezTo>
                    <a:pt x="4" y="8"/>
                    <a:pt x="3" y="8"/>
                    <a:pt x="3" y="8"/>
                  </a:cubicBezTo>
                  <a:cubicBezTo>
                    <a:pt x="0" y="8"/>
                    <a:pt x="0" y="15"/>
                    <a:pt x="1" y="16"/>
                  </a:cubicBezTo>
                  <a:cubicBezTo>
                    <a:pt x="2" y="17"/>
                    <a:pt x="3" y="18"/>
                    <a:pt x="4" y="18"/>
                  </a:cubicBezTo>
                  <a:cubicBezTo>
                    <a:pt x="6" y="18"/>
                    <a:pt x="8" y="14"/>
                    <a:pt x="9" y="12"/>
                  </a:cubicBezTo>
                  <a:cubicBezTo>
                    <a:pt x="9" y="12"/>
                    <a:pt x="9" y="12"/>
                    <a:pt x="9" y="12"/>
                  </a:cubicBezTo>
                  <a:cubicBezTo>
                    <a:pt x="14" y="1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1196"/>
            <p:cNvSpPr/>
            <p:nvPr/>
          </p:nvSpPr>
          <p:spPr bwMode="auto">
            <a:xfrm>
              <a:off x="3806864" y="5424384"/>
              <a:ext cx="108729" cy="25504"/>
            </a:xfrm>
            <a:custGeom>
              <a:gdLst>
                <a:gd name="T0" fmla="*/ 13 w 34"/>
                <a:gd name="T1" fmla="*/ 0 h 8"/>
                <a:gd name="T2" fmla="*/ 2 w 34"/>
                <a:gd name="T3" fmla="*/ 4 h 8"/>
                <a:gd name="T4" fmla="*/ 4 w 34"/>
                <a:gd name="T5" fmla="*/ 7 h 8"/>
                <a:gd name="T6" fmla="*/ 12 w 34"/>
                <a:gd name="T7" fmla="*/ 8 h 8"/>
                <a:gd name="T8" fmla="*/ 34 w 34"/>
                <a:gd name="T9" fmla="*/ 2 h 8"/>
                <a:gd name="T10" fmla="*/ 28 w 34"/>
                <a:gd name="T11" fmla="*/ 0 h 8"/>
                <a:gd name="T12" fmla="*/ 23 w 34"/>
                <a:gd name="T13" fmla="*/ 0 h 8"/>
                <a:gd name="T14" fmla="*/ 13 w 34"/>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8">
                  <a:moveTo>
                    <a:pt x="13" y="0"/>
                  </a:moveTo>
                  <a:cubicBezTo>
                    <a:pt x="8" y="0"/>
                    <a:pt x="3" y="1"/>
                    <a:pt x="2" y="4"/>
                  </a:cubicBezTo>
                  <a:cubicBezTo>
                    <a:pt x="0" y="7"/>
                    <a:pt x="2" y="6"/>
                    <a:pt x="4" y="7"/>
                  </a:cubicBezTo>
                  <a:cubicBezTo>
                    <a:pt x="6" y="8"/>
                    <a:pt x="9" y="8"/>
                    <a:pt x="12" y="8"/>
                  </a:cubicBezTo>
                  <a:cubicBezTo>
                    <a:pt x="20" y="8"/>
                    <a:pt x="27" y="5"/>
                    <a:pt x="34" y="2"/>
                  </a:cubicBezTo>
                  <a:cubicBezTo>
                    <a:pt x="32" y="0"/>
                    <a:pt x="30" y="0"/>
                    <a:pt x="28" y="0"/>
                  </a:cubicBezTo>
                  <a:cubicBezTo>
                    <a:pt x="26" y="0"/>
                    <a:pt x="24" y="0"/>
                    <a:pt x="23" y="0"/>
                  </a:cubicBezTo>
                  <a:cubicBezTo>
                    <a:pt x="20" y="0"/>
                    <a:pt x="16"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1197"/>
            <p:cNvSpPr/>
            <p:nvPr/>
          </p:nvSpPr>
          <p:spPr bwMode="auto">
            <a:xfrm>
              <a:off x="5326388" y="5306259"/>
              <a:ext cx="9396" cy="25504"/>
            </a:xfrm>
            <a:custGeom>
              <a:gdLst>
                <a:gd name="T0" fmla="*/ 3 w 3"/>
                <a:gd name="T1" fmla="*/ 0 h 8"/>
                <a:gd name="T2" fmla="*/ 0 w 3"/>
                <a:gd name="T3" fmla="*/ 8 h 8"/>
                <a:gd name="T4" fmla="*/ 3 w 3"/>
                <a:gd name="T5" fmla="*/ 0 h 8"/>
              </a:gdLst>
              <a:cxnLst>
                <a:cxn ang="0">
                  <a:pos x="T0" y="T1"/>
                </a:cxn>
                <a:cxn ang="0">
                  <a:pos x="T2" y="T3"/>
                </a:cxn>
                <a:cxn ang="0">
                  <a:pos x="T4" y="T5"/>
                </a:cxn>
              </a:cxnLst>
              <a:rect l="0" t="0" r="r" b="b"/>
              <a:pathLst>
                <a:path w="3" h="8">
                  <a:moveTo>
                    <a:pt x="3" y="0"/>
                  </a:moveTo>
                  <a:cubicBezTo>
                    <a:pt x="1" y="0"/>
                    <a:pt x="0" y="6"/>
                    <a:pt x="0" y="8"/>
                  </a:cubicBezTo>
                  <a:cubicBezTo>
                    <a:pt x="1" y="5"/>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1198"/>
            <p:cNvSpPr/>
            <p:nvPr/>
          </p:nvSpPr>
          <p:spPr bwMode="auto">
            <a:xfrm>
              <a:off x="5314307" y="5331763"/>
              <a:ext cx="9396" cy="25504"/>
            </a:xfrm>
            <a:custGeom>
              <a:gdLst>
                <a:gd name="T0" fmla="*/ 3 w 3"/>
                <a:gd name="T1" fmla="*/ 0 h 8"/>
                <a:gd name="T2" fmla="*/ 0 w 3"/>
                <a:gd name="T3" fmla="*/ 8 h 8"/>
                <a:gd name="T4" fmla="*/ 3 w 3"/>
                <a:gd name="T5" fmla="*/ 0 h 8"/>
                <a:gd name="T6" fmla="*/ 3 w 3"/>
                <a:gd name="T7" fmla="*/ 0 h 8"/>
              </a:gdLst>
              <a:cxnLst>
                <a:cxn ang="0">
                  <a:pos x="T0" y="T1"/>
                </a:cxn>
                <a:cxn ang="0">
                  <a:pos x="T2" y="T3"/>
                </a:cxn>
                <a:cxn ang="0">
                  <a:pos x="T4" y="T5"/>
                </a:cxn>
                <a:cxn ang="0">
                  <a:pos x="T6" y="T7"/>
                </a:cxn>
              </a:cxnLst>
              <a:rect l="0" t="0" r="r" b="b"/>
              <a:pathLst>
                <a:path w="3" h="8">
                  <a:moveTo>
                    <a:pt x="3" y="0"/>
                  </a:moveTo>
                  <a:cubicBezTo>
                    <a:pt x="1" y="0"/>
                    <a:pt x="0" y="7"/>
                    <a:pt x="0" y="8"/>
                  </a:cubicBezTo>
                  <a:cubicBezTo>
                    <a:pt x="1" y="6"/>
                    <a:pt x="2" y="3"/>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1199"/>
            <p:cNvSpPr/>
            <p:nvPr/>
          </p:nvSpPr>
          <p:spPr bwMode="auto">
            <a:xfrm>
              <a:off x="4337086" y="5512979"/>
              <a:ext cx="244305" cy="65775"/>
            </a:xfrm>
            <a:custGeom>
              <a:gdLst>
                <a:gd name="T0" fmla="*/ 73 w 77"/>
                <a:gd name="T1" fmla="*/ 0 h 21"/>
                <a:gd name="T2" fmla="*/ 75 w 77"/>
                <a:gd name="T3" fmla="*/ 3 h 21"/>
                <a:gd name="T4" fmla="*/ 64 w 77"/>
                <a:gd name="T5" fmla="*/ 11 h 21"/>
                <a:gd name="T6" fmla="*/ 64 w 77"/>
                <a:gd name="T7" fmla="*/ 13 h 21"/>
                <a:gd name="T8" fmla="*/ 61 w 77"/>
                <a:gd name="T9" fmla="*/ 14 h 21"/>
                <a:gd name="T10" fmla="*/ 57 w 77"/>
                <a:gd name="T11" fmla="*/ 13 h 21"/>
                <a:gd name="T12" fmla="*/ 47 w 77"/>
                <a:gd name="T13" fmla="*/ 10 h 21"/>
                <a:gd name="T14" fmla="*/ 44 w 77"/>
                <a:gd name="T15" fmla="*/ 10 h 21"/>
                <a:gd name="T16" fmla="*/ 41 w 77"/>
                <a:gd name="T17" fmla="*/ 13 h 21"/>
                <a:gd name="T18" fmla="*/ 40 w 77"/>
                <a:gd name="T19" fmla="*/ 13 h 21"/>
                <a:gd name="T20" fmla="*/ 32 w 77"/>
                <a:gd name="T21" fmla="*/ 8 h 21"/>
                <a:gd name="T22" fmla="*/ 18 w 77"/>
                <a:gd name="T23" fmla="*/ 6 h 21"/>
                <a:gd name="T24" fmla="*/ 13 w 77"/>
                <a:gd name="T25" fmla="*/ 6 h 21"/>
                <a:gd name="T26" fmla="*/ 1 w 77"/>
                <a:gd name="T27" fmla="*/ 12 h 21"/>
                <a:gd name="T28" fmla="*/ 9 w 77"/>
                <a:gd name="T29" fmla="*/ 18 h 21"/>
                <a:gd name="T30" fmla="*/ 12 w 77"/>
                <a:gd name="T31" fmla="*/ 18 h 21"/>
                <a:gd name="T32" fmla="*/ 21 w 77"/>
                <a:gd name="T33" fmla="*/ 18 h 21"/>
                <a:gd name="T34" fmla="*/ 25 w 77"/>
                <a:gd name="T35" fmla="*/ 18 h 21"/>
                <a:gd name="T36" fmla="*/ 28 w 77"/>
                <a:gd name="T37" fmla="*/ 21 h 21"/>
                <a:gd name="T38" fmla="*/ 29 w 77"/>
                <a:gd name="T39" fmla="*/ 21 h 21"/>
                <a:gd name="T40" fmla="*/ 37 w 77"/>
                <a:gd name="T41" fmla="*/ 18 h 21"/>
                <a:gd name="T42" fmla="*/ 38 w 77"/>
                <a:gd name="T43" fmla="*/ 18 h 21"/>
                <a:gd name="T44" fmla="*/ 41 w 77"/>
                <a:gd name="T45" fmla="*/ 19 h 21"/>
                <a:gd name="T46" fmla="*/ 45 w 77"/>
                <a:gd name="T47" fmla="*/ 20 h 21"/>
                <a:gd name="T48" fmla="*/ 45 w 77"/>
                <a:gd name="T49" fmla="*/ 20 h 21"/>
                <a:gd name="T50" fmla="*/ 53 w 77"/>
                <a:gd name="T51" fmla="*/ 18 h 21"/>
                <a:gd name="T52" fmla="*/ 65 w 77"/>
                <a:gd name="T53" fmla="*/ 15 h 21"/>
                <a:gd name="T54" fmla="*/ 71 w 77"/>
                <a:gd name="T55" fmla="*/ 13 h 21"/>
                <a:gd name="T56" fmla="*/ 73 w 77"/>
                <a:gd name="T57" fmla="*/ 11 h 21"/>
                <a:gd name="T58" fmla="*/ 76 w 77"/>
                <a:gd name="T59" fmla="*/ 7 h 21"/>
                <a:gd name="T60" fmla="*/ 76 w 77"/>
                <a:gd name="T61" fmla="*/ 7 h 21"/>
                <a:gd name="T62" fmla="*/ 77 w 77"/>
                <a:gd name="T63" fmla="*/ 6 h 21"/>
                <a:gd name="T64" fmla="*/ 73 w 77"/>
                <a:gd name="T65"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7" h="21">
                  <a:moveTo>
                    <a:pt x="73" y="0"/>
                  </a:moveTo>
                  <a:cubicBezTo>
                    <a:pt x="73" y="2"/>
                    <a:pt x="73" y="3"/>
                    <a:pt x="75" y="3"/>
                  </a:cubicBezTo>
                  <a:cubicBezTo>
                    <a:pt x="71" y="6"/>
                    <a:pt x="67" y="7"/>
                    <a:pt x="64" y="11"/>
                  </a:cubicBezTo>
                  <a:cubicBezTo>
                    <a:pt x="64" y="11"/>
                    <a:pt x="65" y="12"/>
                    <a:pt x="64" y="13"/>
                  </a:cubicBezTo>
                  <a:cubicBezTo>
                    <a:pt x="63" y="13"/>
                    <a:pt x="62" y="14"/>
                    <a:pt x="61" y="14"/>
                  </a:cubicBezTo>
                  <a:cubicBezTo>
                    <a:pt x="60" y="14"/>
                    <a:pt x="58" y="13"/>
                    <a:pt x="57" y="13"/>
                  </a:cubicBezTo>
                  <a:cubicBezTo>
                    <a:pt x="54" y="11"/>
                    <a:pt x="51" y="10"/>
                    <a:pt x="47" y="10"/>
                  </a:cubicBezTo>
                  <a:cubicBezTo>
                    <a:pt x="46" y="10"/>
                    <a:pt x="45" y="10"/>
                    <a:pt x="44" y="10"/>
                  </a:cubicBezTo>
                  <a:cubicBezTo>
                    <a:pt x="43" y="10"/>
                    <a:pt x="42" y="13"/>
                    <a:pt x="41" y="13"/>
                  </a:cubicBezTo>
                  <a:cubicBezTo>
                    <a:pt x="41" y="13"/>
                    <a:pt x="41" y="13"/>
                    <a:pt x="40" y="13"/>
                  </a:cubicBezTo>
                  <a:cubicBezTo>
                    <a:pt x="38" y="11"/>
                    <a:pt x="35" y="10"/>
                    <a:pt x="32" y="8"/>
                  </a:cubicBezTo>
                  <a:cubicBezTo>
                    <a:pt x="27" y="6"/>
                    <a:pt x="23" y="7"/>
                    <a:pt x="18" y="6"/>
                  </a:cubicBezTo>
                  <a:cubicBezTo>
                    <a:pt x="16" y="6"/>
                    <a:pt x="15" y="6"/>
                    <a:pt x="13" y="6"/>
                  </a:cubicBezTo>
                  <a:cubicBezTo>
                    <a:pt x="8" y="6"/>
                    <a:pt x="2" y="7"/>
                    <a:pt x="1" y="12"/>
                  </a:cubicBezTo>
                  <a:cubicBezTo>
                    <a:pt x="0" y="18"/>
                    <a:pt x="4" y="18"/>
                    <a:pt x="9" y="18"/>
                  </a:cubicBezTo>
                  <a:cubicBezTo>
                    <a:pt x="10" y="18"/>
                    <a:pt x="11" y="18"/>
                    <a:pt x="12" y="18"/>
                  </a:cubicBezTo>
                  <a:cubicBezTo>
                    <a:pt x="15" y="18"/>
                    <a:pt x="18" y="18"/>
                    <a:pt x="21" y="18"/>
                  </a:cubicBezTo>
                  <a:cubicBezTo>
                    <a:pt x="22" y="18"/>
                    <a:pt x="24" y="18"/>
                    <a:pt x="25" y="18"/>
                  </a:cubicBezTo>
                  <a:cubicBezTo>
                    <a:pt x="26" y="19"/>
                    <a:pt x="26" y="20"/>
                    <a:pt x="28" y="21"/>
                  </a:cubicBezTo>
                  <a:cubicBezTo>
                    <a:pt x="28" y="21"/>
                    <a:pt x="29" y="21"/>
                    <a:pt x="29" y="21"/>
                  </a:cubicBezTo>
                  <a:cubicBezTo>
                    <a:pt x="32" y="21"/>
                    <a:pt x="35" y="19"/>
                    <a:pt x="37" y="18"/>
                  </a:cubicBezTo>
                  <a:cubicBezTo>
                    <a:pt x="38" y="18"/>
                    <a:pt x="38" y="18"/>
                    <a:pt x="38" y="18"/>
                  </a:cubicBezTo>
                  <a:cubicBezTo>
                    <a:pt x="39" y="18"/>
                    <a:pt x="40" y="18"/>
                    <a:pt x="41" y="19"/>
                  </a:cubicBezTo>
                  <a:cubicBezTo>
                    <a:pt x="43" y="19"/>
                    <a:pt x="44" y="20"/>
                    <a:pt x="45" y="20"/>
                  </a:cubicBezTo>
                  <a:cubicBezTo>
                    <a:pt x="45" y="20"/>
                    <a:pt x="45" y="20"/>
                    <a:pt x="45" y="20"/>
                  </a:cubicBezTo>
                  <a:cubicBezTo>
                    <a:pt x="47" y="20"/>
                    <a:pt x="50" y="18"/>
                    <a:pt x="53" y="18"/>
                  </a:cubicBezTo>
                  <a:cubicBezTo>
                    <a:pt x="57" y="17"/>
                    <a:pt x="61" y="16"/>
                    <a:pt x="65" y="15"/>
                  </a:cubicBezTo>
                  <a:cubicBezTo>
                    <a:pt x="67" y="14"/>
                    <a:pt x="70" y="14"/>
                    <a:pt x="71" y="13"/>
                  </a:cubicBezTo>
                  <a:cubicBezTo>
                    <a:pt x="72" y="12"/>
                    <a:pt x="73" y="12"/>
                    <a:pt x="73" y="11"/>
                  </a:cubicBezTo>
                  <a:cubicBezTo>
                    <a:pt x="74" y="10"/>
                    <a:pt x="76" y="7"/>
                    <a:pt x="76" y="7"/>
                  </a:cubicBezTo>
                  <a:cubicBezTo>
                    <a:pt x="76" y="7"/>
                    <a:pt x="76" y="7"/>
                    <a:pt x="76" y="7"/>
                  </a:cubicBezTo>
                  <a:cubicBezTo>
                    <a:pt x="76" y="7"/>
                    <a:pt x="77" y="7"/>
                    <a:pt x="77" y="6"/>
                  </a:cubicBezTo>
                  <a:cubicBezTo>
                    <a:pt x="77" y="5"/>
                    <a:pt x="74" y="1"/>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1200"/>
            <p:cNvSpPr/>
            <p:nvPr/>
          </p:nvSpPr>
          <p:spPr bwMode="auto">
            <a:xfrm>
              <a:off x="3939755" y="5512979"/>
              <a:ext cx="95306" cy="60405"/>
            </a:xfrm>
            <a:custGeom>
              <a:gdLst>
                <a:gd name="T0" fmla="*/ 15 w 30"/>
                <a:gd name="T1" fmla="*/ 0 h 19"/>
                <a:gd name="T2" fmla="*/ 0 w 30"/>
                <a:gd name="T3" fmla="*/ 2 h 19"/>
                <a:gd name="T4" fmla="*/ 11 w 30"/>
                <a:gd name="T5" fmla="*/ 10 h 19"/>
                <a:gd name="T6" fmla="*/ 15 w 30"/>
                <a:gd name="T7" fmla="*/ 14 h 19"/>
                <a:gd name="T8" fmla="*/ 16 w 30"/>
                <a:gd name="T9" fmla="*/ 19 h 19"/>
                <a:gd name="T10" fmla="*/ 16 w 30"/>
                <a:gd name="T11" fmla="*/ 19 h 19"/>
                <a:gd name="T12" fmla="*/ 20 w 30"/>
                <a:gd name="T13" fmla="*/ 14 h 19"/>
                <a:gd name="T14" fmla="*/ 29 w 30"/>
                <a:gd name="T15" fmla="*/ 7 h 19"/>
                <a:gd name="T16" fmla="*/ 26 w 30"/>
                <a:gd name="T17" fmla="*/ 4 h 19"/>
                <a:gd name="T18" fmla="*/ 15 w 30"/>
                <a:gd name="T1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9">
                  <a:moveTo>
                    <a:pt x="15" y="0"/>
                  </a:moveTo>
                  <a:cubicBezTo>
                    <a:pt x="10" y="0"/>
                    <a:pt x="5" y="2"/>
                    <a:pt x="0" y="2"/>
                  </a:cubicBezTo>
                  <a:cubicBezTo>
                    <a:pt x="4" y="8"/>
                    <a:pt x="4" y="8"/>
                    <a:pt x="11" y="10"/>
                  </a:cubicBezTo>
                  <a:cubicBezTo>
                    <a:pt x="12" y="10"/>
                    <a:pt x="15" y="13"/>
                    <a:pt x="15" y="14"/>
                  </a:cubicBezTo>
                  <a:cubicBezTo>
                    <a:pt x="15" y="15"/>
                    <a:pt x="15" y="18"/>
                    <a:pt x="16" y="19"/>
                  </a:cubicBezTo>
                  <a:cubicBezTo>
                    <a:pt x="16" y="19"/>
                    <a:pt x="16" y="19"/>
                    <a:pt x="16" y="19"/>
                  </a:cubicBezTo>
                  <a:cubicBezTo>
                    <a:pt x="18" y="19"/>
                    <a:pt x="19" y="15"/>
                    <a:pt x="20" y="14"/>
                  </a:cubicBezTo>
                  <a:cubicBezTo>
                    <a:pt x="22" y="12"/>
                    <a:pt x="30" y="10"/>
                    <a:pt x="29" y="7"/>
                  </a:cubicBezTo>
                  <a:cubicBezTo>
                    <a:pt x="26" y="4"/>
                    <a:pt x="26" y="4"/>
                    <a:pt x="26" y="4"/>
                  </a:cubicBezTo>
                  <a:cubicBezTo>
                    <a:pt x="23" y="1"/>
                    <a:pt x="19"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201"/>
            <p:cNvSpPr/>
            <p:nvPr/>
          </p:nvSpPr>
          <p:spPr bwMode="auto">
            <a:xfrm>
              <a:off x="2743734" y="4782747"/>
              <a:ext cx="9396" cy="6712"/>
            </a:xfrm>
            <a:custGeom>
              <a:gdLst>
                <a:gd name="T0" fmla="*/ 1 w 3"/>
                <a:gd name="T1" fmla="*/ 0 h 2"/>
                <a:gd name="T2" fmla="*/ 0 w 3"/>
                <a:gd name="T3" fmla="*/ 0 h 2"/>
                <a:gd name="T4" fmla="*/ 3 w 3"/>
                <a:gd name="T5" fmla="*/ 2 h 2"/>
                <a:gd name="T6" fmla="*/ 1 w 3"/>
                <a:gd name="T7" fmla="*/ 0 h 2"/>
              </a:gdLst>
              <a:cxnLst>
                <a:cxn ang="0">
                  <a:pos x="T0" y="T1"/>
                </a:cxn>
                <a:cxn ang="0">
                  <a:pos x="T2" y="T3"/>
                </a:cxn>
                <a:cxn ang="0">
                  <a:pos x="T4" y="T5"/>
                </a:cxn>
                <a:cxn ang="0">
                  <a:pos x="T6" y="T7"/>
                </a:cxn>
              </a:cxnLst>
              <a:rect l="0" t="0" r="r" b="b"/>
              <a:pathLst>
                <a:path w="3" h="2">
                  <a:moveTo>
                    <a:pt x="1" y="0"/>
                  </a:moveTo>
                  <a:cubicBezTo>
                    <a:pt x="1" y="0"/>
                    <a:pt x="0" y="0"/>
                    <a:pt x="0" y="0"/>
                  </a:cubicBezTo>
                  <a:cubicBezTo>
                    <a:pt x="1" y="1"/>
                    <a:pt x="2" y="1"/>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1202"/>
            <p:cNvSpPr/>
            <p:nvPr/>
          </p:nvSpPr>
          <p:spPr bwMode="auto">
            <a:xfrm>
              <a:off x="4020295" y="5557276"/>
              <a:ext cx="5369" cy="12081"/>
            </a:xfrm>
            <a:custGeom>
              <a:gdLst>
                <a:gd name="T0" fmla="*/ 0 w 2"/>
                <a:gd name="T1" fmla="*/ 0 h 4"/>
                <a:gd name="T2" fmla="*/ 0 w 2"/>
                <a:gd name="T3" fmla="*/ 0 h 4"/>
                <a:gd name="T4" fmla="*/ 2 w 2"/>
                <a:gd name="T5" fmla="*/ 4 h 4"/>
                <a:gd name="T6" fmla="*/ 0 w 2"/>
                <a:gd name="T7" fmla="*/ 0 h 4"/>
              </a:gdLst>
              <a:cxnLst>
                <a:cxn ang="0">
                  <a:pos x="T0" y="T1"/>
                </a:cxn>
                <a:cxn ang="0">
                  <a:pos x="T2" y="T3"/>
                </a:cxn>
                <a:cxn ang="0">
                  <a:pos x="T4" y="T5"/>
                </a:cxn>
                <a:cxn ang="0">
                  <a:pos x="T6" y="T7"/>
                </a:cxn>
              </a:cxnLst>
              <a:rect l="0" t="0" r="r" b="b"/>
              <a:pathLst>
                <a:path w="2" h="4">
                  <a:moveTo>
                    <a:pt x="0" y="0"/>
                  </a:moveTo>
                  <a:cubicBezTo>
                    <a:pt x="0" y="0"/>
                    <a:pt x="0" y="0"/>
                    <a:pt x="0" y="0"/>
                  </a:cubicBezTo>
                  <a:cubicBezTo>
                    <a:pt x="0" y="2"/>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1203"/>
            <p:cNvSpPr/>
            <p:nvPr/>
          </p:nvSpPr>
          <p:spPr bwMode="auto">
            <a:xfrm>
              <a:off x="3362551" y="5125043"/>
              <a:ext cx="13423" cy="9396"/>
            </a:xfrm>
            <a:custGeom>
              <a:gdLst>
                <a:gd name="T0" fmla="*/ 3 w 4"/>
                <a:gd name="T1" fmla="*/ 0 h 3"/>
                <a:gd name="T2" fmla="*/ 0 w 4"/>
                <a:gd name="T3" fmla="*/ 2 h 3"/>
                <a:gd name="T4" fmla="*/ 3 w 4"/>
                <a:gd name="T5" fmla="*/ 3 h 3"/>
                <a:gd name="T6" fmla="*/ 3 w 4"/>
                <a:gd name="T7" fmla="*/ 0 h 3"/>
              </a:gdLst>
              <a:cxnLst>
                <a:cxn ang="0">
                  <a:pos x="T0" y="T1"/>
                </a:cxn>
                <a:cxn ang="0">
                  <a:pos x="T2" y="T3"/>
                </a:cxn>
                <a:cxn ang="0">
                  <a:pos x="T4" y="T5"/>
                </a:cxn>
                <a:cxn ang="0">
                  <a:pos x="T6" y="T7"/>
                </a:cxn>
              </a:cxnLst>
              <a:rect l="0" t="0" r="r" b="b"/>
              <a:pathLst>
                <a:path w="4" h="3">
                  <a:moveTo>
                    <a:pt x="3" y="0"/>
                  </a:moveTo>
                  <a:cubicBezTo>
                    <a:pt x="2" y="0"/>
                    <a:pt x="1" y="1"/>
                    <a:pt x="0" y="2"/>
                  </a:cubicBezTo>
                  <a:cubicBezTo>
                    <a:pt x="1" y="2"/>
                    <a:pt x="2" y="3"/>
                    <a:pt x="3" y="3"/>
                  </a:cubicBezTo>
                  <a:cubicBezTo>
                    <a:pt x="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1204"/>
            <p:cNvSpPr/>
            <p:nvPr/>
          </p:nvSpPr>
          <p:spPr bwMode="auto">
            <a:xfrm>
              <a:off x="3118246" y="4925035"/>
              <a:ext cx="18793" cy="10739"/>
            </a:xfrm>
            <a:custGeom>
              <a:gdLst>
                <a:gd name="T0" fmla="*/ 3 w 6"/>
                <a:gd name="T1" fmla="*/ 0 h 3"/>
                <a:gd name="T2" fmla="*/ 0 w 6"/>
                <a:gd name="T3" fmla="*/ 3 h 3"/>
                <a:gd name="T4" fmla="*/ 6 w 6"/>
                <a:gd name="T5" fmla="*/ 1 h 3"/>
                <a:gd name="T6" fmla="*/ 3 w 6"/>
                <a:gd name="T7" fmla="*/ 0 h 3"/>
              </a:gdLst>
              <a:cxnLst>
                <a:cxn ang="0">
                  <a:pos x="T0" y="T1"/>
                </a:cxn>
                <a:cxn ang="0">
                  <a:pos x="T2" y="T3"/>
                </a:cxn>
                <a:cxn ang="0">
                  <a:pos x="T4" y="T5"/>
                </a:cxn>
                <a:cxn ang="0">
                  <a:pos x="T6" y="T7"/>
                </a:cxn>
              </a:cxnLst>
              <a:rect l="0" t="0" r="r" b="b"/>
              <a:pathLst>
                <a:path w="6" h="3">
                  <a:moveTo>
                    <a:pt x="3" y="0"/>
                  </a:moveTo>
                  <a:cubicBezTo>
                    <a:pt x="2" y="0"/>
                    <a:pt x="1" y="1"/>
                    <a:pt x="0" y="3"/>
                  </a:cubicBezTo>
                  <a:cubicBezTo>
                    <a:pt x="2" y="3"/>
                    <a:pt x="4" y="2"/>
                    <a:pt x="6"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1205"/>
            <p:cNvSpPr/>
            <p:nvPr/>
          </p:nvSpPr>
          <p:spPr bwMode="auto">
            <a:xfrm>
              <a:off x="3236371" y="5020341"/>
              <a:ext cx="135576" cy="120810"/>
            </a:xfrm>
            <a:custGeom>
              <a:gdLst>
                <a:gd name="T0" fmla="*/ 20 w 43"/>
                <a:gd name="T1" fmla="*/ 0 h 38"/>
                <a:gd name="T2" fmla="*/ 16 w 43"/>
                <a:gd name="T3" fmla="*/ 1 h 38"/>
                <a:gd name="T4" fmla="*/ 18 w 43"/>
                <a:gd name="T5" fmla="*/ 7 h 38"/>
                <a:gd name="T6" fmla="*/ 12 w 43"/>
                <a:gd name="T7" fmla="*/ 1 h 38"/>
                <a:gd name="T8" fmla="*/ 10 w 43"/>
                <a:gd name="T9" fmla="*/ 2 h 38"/>
                <a:gd name="T10" fmla="*/ 8 w 43"/>
                <a:gd name="T11" fmla="*/ 4 h 38"/>
                <a:gd name="T12" fmla="*/ 8 w 43"/>
                <a:gd name="T13" fmla="*/ 8 h 38"/>
                <a:gd name="T14" fmla="*/ 6 w 43"/>
                <a:gd name="T15" fmla="*/ 14 h 38"/>
                <a:gd name="T16" fmla="*/ 8 w 43"/>
                <a:gd name="T17" fmla="*/ 15 h 38"/>
                <a:gd name="T18" fmla="*/ 8 w 43"/>
                <a:gd name="T19" fmla="*/ 15 h 38"/>
                <a:gd name="T20" fmla="*/ 11 w 43"/>
                <a:gd name="T21" fmla="*/ 15 h 38"/>
                <a:gd name="T22" fmla="*/ 13 w 43"/>
                <a:gd name="T23" fmla="*/ 14 h 38"/>
                <a:gd name="T24" fmla="*/ 14 w 43"/>
                <a:gd name="T25" fmla="*/ 15 h 38"/>
                <a:gd name="T26" fmla="*/ 15 w 43"/>
                <a:gd name="T27" fmla="*/ 15 h 38"/>
                <a:gd name="T28" fmla="*/ 15 w 43"/>
                <a:gd name="T29" fmla="*/ 15 h 38"/>
                <a:gd name="T30" fmla="*/ 16 w 43"/>
                <a:gd name="T31" fmla="*/ 15 h 38"/>
                <a:gd name="T32" fmla="*/ 17 w 43"/>
                <a:gd name="T33" fmla="*/ 15 h 38"/>
                <a:gd name="T34" fmla="*/ 19 w 43"/>
                <a:gd name="T35" fmla="*/ 21 h 38"/>
                <a:gd name="T36" fmla="*/ 22 w 43"/>
                <a:gd name="T37" fmla="*/ 24 h 38"/>
                <a:gd name="T38" fmla="*/ 22 w 43"/>
                <a:gd name="T39" fmla="*/ 30 h 38"/>
                <a:gd name="T40" fmla="*/ 24 w 43"/>
                <a:gd name="T41" fmla="*/ 32 h 38"/>
                <a:gd name="T42" fmla="*/ 27 w 43"/>
                <a:gd name="T43" fmla="*/ 33 h 38"/>
                <a:gd name="T44" fmla="*/ 39 w 43"/>
                <a:gd name="T45" fmla="*/ 38 h 38"/>
                <a:gd name="T46" fmla="*/ 41 w 43"/>
                <a:gd name="T47" fmla="*/ 37 h 38"/>
                <a:gd name="T48" fmla="*/ 37 w 43"/>
                <a:gd name="T49" fmla="*/ 34 h 38"/>
                <a:gd name="T50" fmla="*/ 43 w 43"/>
                <a:gd name="T51" fmla="*/ 26 h 38"/>
                <a:gd name="T52" fmla="*/ 30 w 43"/>
                <a:gd name="T53" fmla="*/ 21 h 38"/>
                <a:gd name="T54" fmla="*/ 26 w 43"/>
                <a:gd name="T55" fmla="*/ 12 h 38"/>
                <a:gd name="T56" fmla="*/ 23 w 43"/>
                <a:gd name="T57" fmla="*/ 2 h 38"/>
                <a:gd name="T58" fmla="*/ 20 w 43"/>
                <a:gd name="T59" fmla="*/ 0 h 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38">
                  <a:moveTo>
                    <a:pt x="20" y="0"/>
                  </a:moveTo>
                  <a:cubicBezTo>
                    <a:pt x="19" y="0"/>
                    <a:pt x="18" y="1"/>
                    <a:pt x="16" y="1"/>
                  </a:cubicBezTo>
                  <a:cubicBezTo>
                    <a:pt x="17" y="3"/>
                    <a:pt x="18" y="5"/>
                    <a:pt x="18" y="7"/>
                  </a:cubicBezTo>
                  <a:cubicBezTo>
                    <a:pt x="16" y="5"/>
                    <a:pt x="15" y="1"/>
                    <a:pt x="12" y="1"/>
                  </a:cubicBezTo>
                  <a:cubicBezTo>
                    <a:pt x="12" y="1"/>
                    <a:pt x="11" y="2"/>
                    <a:pt x="10" y="2"/>
                  </a:cubicBezTo>
                  <a:cubicBezTo>
                    <a:pt x="9" y="3"/>
                    <a:pt x="8" y="3"/>
                    <a:pt x="8" y="4"/>
                  </a:cubicBezTo>
                  <a:cubicBezTo>
                    <a:pt x="7" y="6"/>
                    <a:pt x="10" y="6"/>
                    <a:pt x="8" y="8"/>
                  </a:cubicBezTo>
                  <a:cubicBezTo>
                    <a:pt x="4" y="12"/>
                    <a:pt x="0" y="13"/>
                    <a:pt x="6" y="14"/>
                  </a:cubicBezTo>
                  <a:cubicBezTo>
                    <a:pt x="6" y="14"/>
                    <a:pt x="7" y="15"/>
                    <a:pt x="8" y="15"/>
                  </a:cubicBezTo>
                  <a:cubicBezTo>
                    <a:pt x="8" y="15"/>
                    <a:pt x="8" y="15"/>
                    <a:pt x="8" y="15"/>
                  </a:cubicBezTo>
                  <a:cubicBezTo>
                    <a:pt x="9" y="15"/>
                    <a:pt x="10" y="15"/>
                    <a:pt x="11" y="15"/>
                  </a:cubicBezTo>
                  <a:cubicBezTo>
                    <a:pt x="11" y="15"/>
                    <a:pt x="12" y="14"/>
                    <a:pt x="13" y="14"/>
                  </a:cubicBezTo>
                  <a:cubicBezTo>
                    <a:pt x="14" y="15"/>
                    <a:pt x="14" y="15"/>
                    <a:pt x="14" y="15"/>
                  </a:cubicBezTo>
                  <a:cubicBezTo>
                    <a:pt x="14" y="15"/>
                    <a:pt x="15" y="15"/>
                    <a:pt x="15" y="15"/>
                  </a:cubicBezTo>
                  <a:cubicBezTo>
                    <a:pt x="15" y="15"/>
                    <a:pt x="15" y="15"/>
                    <a:pt x="15" y="15"/>
                  </a:cubicBezTo>
                  <a:cubicBezTo>
                    <a:pt x="16" y="15"/>
                    <a:pt x="16" y="15"/>
                    <a:pt x="16" y="15"/>
                  </a:cubicBezTo>
                  <a:cubicBezTo>
                    <a:pt x="17" y="15"/>
                    <a:pt x="17" y="15"/>
                    <a:pt x="17" y="15"/>
                  </a:cubicBezTo>
                  <a:cubicBezTo>
                    <a:pt x="18" y="17"/>
                    <a:pt x="18" y="19"/>
                    <a:pt x="19" y="21"/>
                  </a:cubicBezTo>
                  <a:cubicBezTo>
                    <a:pt x="20" y="22"/>
                    <a:pt x="21" y="22"/>
                    <a:pt x="22" y="24"/>
                  </a:cubicBezTo>
                  <a:cubicBezTo>
                    <a:pt x="22" y="26"/>
                    <a:pt x="22" y="28"/>
                    <a:pt x="22" y="30"/>
                  </a:cubicBezTo>
                  <a:cubicBezTo>
                    <a:pt x="23" y="31"/>
                    <a:pt x="23" y="31"/>
                    <a:pt x="24" y="32"/>
                  </a:cubicBezTo>
                  <a:cubicBezTo>
                    <a:pt x="24" y="32"/>
                    <a:pt x="26" y="32"/>
                    <a:pt x="27" y="33"/>
                  </a:cubicBezTo>
                  <a:cubicBezTo>
                    <a:pt x="28" y="33"/>
                    <a:pt x="35" y="38"/>
                    <a:pt x="39" y="38"/>
                  </a:cubicBezTo>
                  <a:cubicBezTo>
                    <a:pt x="40" y="38"/>
                    <a:pt x="40" y="38"/>
                    <a:pt x="41" y="37"/>
                  </a:cubicBezTo>
                  <a:cubicBezTo>
                    <a:pt x="41" y="35"/>
                    <a:pt x="38" y="35"/>
                    <a:pt x="37" y="34"/>
                  </a:cubicBezTo>
                  <a:cubicBezTo>
                    <a:pt x="36" y="31"/>
                    <a:pt x="41" y="27"/>
                    <a:pt x="43" y="26"/>
                  </a:cubicBezTo>
                  <a:cubicBezTo>
                    <a:pt x="39" y="25"/>
                    <a:pt x="32" y="25"/>
                    <a:pt x="30" y="21"/>
                  </a:cubicBezTo>
                  <a:cubicBezTo>
                    <a:pt x="28" y="18"/>
                    <a:pt x="28" y="15"/>
                    <a:pt x="26" y="12"/>
                  </a:cubicBezTo>
                  <a:cubicBezTo>
                    <a:pt x="26" y="9"/>
                    <a:pt x="25" y="4"/>
                    <a:pt x="23" y="2"/>
                  </a:cubicBezTo>
                  <a:cubicBezTo>
                    <a:pt x="23" y="1"/>
                    <a:pt x="21"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1206"/>
            <p:cNvSpPr/>
            <p:nvPr/>
          </p:nvSpPr>
          <p:spPr bwMode="auto">
            <a:xfrm>
              <a:off x="3422956" y="5099539"/>
              <a:ext cx="57720" cy="51009"/>
            </a:xfrm>
            <a:custGeom>
              <a:gdLst>
                <a:gd name="T0" fmla="*/ 6 w 18"/>
                <a:gd name="T1" fmla="*/ 0 h 16"/>
                <a:gd name="T2" fmla="*/ 3 w 18"/>
                <a:gd name="T3" fmla="*/ 0 h 16"/>
                <a:gd name="T4" fmla="*/ 3 w 18"/>
                <a:gd name="T5" fmla="*/ 3 h 16"/>
                <a:gd name="T6" fmla="*/ 1 w 18"/>
                <a:gd name="T7" fmla="*/ 9 h 16"/>
                <a:gd name="T8" fmla="*/ 1 w 18"/>
                <a:gd name="T9" fmla="*/ 9 h 16"/>
                <a:gd name="T10" fmla="*/ 2 w 18"/>
                <a:gd name="T11" fmla="*/ 16 h 16"/>
                <a:gd name="T12" fmla="*/ 3 w 18"/>
                <a:gd name="T13" fmla="*/ 16 h 16"/>
                <a:gd name="T14" fmla="*/ 8 w 18"/>
                <a:gd name="T15" fmla="*/ 12 h 16"/>
                <a:gd name="T16" fmla="*/ 13 w 18"/>
                <a:gd name="T17" fmla="*/ 16 h 16"/>
                <a:gd name="T18" fmla="*/ 16 w 18"/>
                <a:gd name="T19" fmla="*/ 14 h 16"/>
                <a:gd name="T20" fmla="*/ 18 w 18"/>
                <a:gd name="T21" fmla="*/ 6 h 16"/>
                <a:gd name="T22" fmla="*/ 15 w 18"/>
                <a:gd name="T23" fmla="*/ 3 h 16"/>
                <a:gd name="T24" fmla="*/ 6 w 18"/>
                <a:gd name="T25"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6">
                  <a:moveTo>
                    <a:pt x="6" y="0"/>
                  </a:moveTo>
                  <a:cubicBezTo>
                    <a:pt x="5" y="0"/>
                    <a:pt x="4" y="0"/>
                    <a:pt x="3" y="0"/>
                  </a:cubicBezTo>
                  <a:cubicBezTo>
                    <a:pt x="3" y="1"/>
                    <a:pt x="3" y="3"/>
                    <a:pt x="3" y="3"/>
                  </a:cubicBezTo>
                  <a:cubicBezTo>
                    <a:pt x="2" y="5"/>
                    <a:pt x="0" y="9"/>
                    <a:pt x="1" y="9"/>
                  </a:cubicBezTo>
                  <a:cubicBezTo>
                    <a:pt x="1" y="9"/>
                    <a:pt x="1" y="9"/>
                    <a:pt x="1" y="9"/>
                  </a:cubicBezTo>
                  <a:cubicBezTo>
                    <a:pt x="1" y="10"/>
                    <a:pt x="2" y="15"/>
                    <a:pt x="2" y="16"/>
                  </a:cubicBezTo>
                  <a:cubicBezTo>
                    <a:pt x="2" y="16"/>
                    <a:pt x="3" y="16"/>
                    <a:pt x="3" y="16"/>
                  </a:cubicBezTo>
                  <a:cubicBezTo>
                    <a:pt x="5" y="16"/>
                    <a:pt x="7" y="13"/>
                    <a:pt x="8" y="12"/>
                  </a:cubicBezTo>
                  <a:cubicBezTo>
                    <a:pt x="10" y="13"/>
                    <a:pt x="11" y="15"/>
                    <a:pt x="13" y="16"/>
                  </a:cubicBezTo>
                  <a:cubicBezTo>
                    <a:pt x="14" y="15"/>
                    <a:pt x="15" y="14"/>
                    <a:pt x="16" y="14"/>
                  </a:cubicBezTo>
                  <a:cubicBezTo>
                    <a:pt x="15" y="11"/>
                    <a:pt x="18" y="9"/>
                    <a:pt x="18" y="6"/>
                  </a:cubicBezTo>
                  <a:cubicBezTo>
                    <a:pt x="17" y="4"/>
                    <a:pt x="16" y="3"/>
                    <a:pt x="15" y="3"/>
                  </a:cubicBezTo>
                  <a:cubicBezTo>
                    <a:pt x="13"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1207"/>
            <p:cNvSpPr/>
            <p:nvPr/>
          </p:nvSpPr>
          <p:spPr bwMode="auto">
            <a:xfrm>
              <a:off x="4939795" y="5119674"/>
              <a:ext cx="228197" cy="79198"/>
            </a:xfrm>
            <a:custGeom>
              <a:gdLst>
                <a:gd name="T0" fmla="*/ 39 w 72"/>
                <a:gd name="T1" fmla="*/ 0 h 25"/>
                <a:gd name="T2" fmla="*/ 34 w 72"/>
                <a:gd name="T3" fmla="*/ 2 h 25"/>
                <a:gd name="T4" fmla="*/ 31 w 72"/>
                <a:gd name="T5" fmla="*/ 3 h 25"/>
                <a:gd name="T6" fmla="*/ 29 w 72"/>
                <a:gd name="T7" fmla="*/ 3 h 25"/>
                <a:gd name="T8" fmla="*/ 28 w 72"/>
                <a:gd name="T9" fmla="*/ 0 h 25"/>
                <a:gd name="T10" fmla="*/ 28 w 72"/>
                <a:gd name="T11" fmla="*/ 0 h 25"/>
                <a:gd name="T12" fmla="*/ 26 w 72"/>
                <a:gd name="T13" fmla="*/ 1 h 25"/>
                <a:gd name="T14" fmla="*/ 21 w 72"/>
                <a:gd name="T15" fmla="*/ 2 h 25"/>
                <a:gd name="T16" fmla="*/ 17 w 72"/>
                <a:gd name="T17" fmla="*/ 2 h 25"/>
                <a:gd name="T18" fmla="*/ 13 w 72"/>
                <a:gd name="T19" fmla="*/ 1 h 25"/>
                <a:gd name="T20" fmla="*/ 12 w 72"/>
                <a:gd name="T21" fmla="*/ 1 h 25"/>
                <a:gd name="T22" fmla="*/ 5 w 72"/>
                <a:gd name="T23" fmla="*/ 4 h 25"/>
                <a:gd name="T24" fmla="*/ 0 w 72"/>
                <a:gd name="T25" fmla="*/ 8 h 25"/>
                <a:gd name="T26" fmla="*/ 2 w 72"/>
                <a:gd name="T27" fmla="*/ 14 h 25"/>
                <a:gd name="T28" fmla="*/ 2 w 72"/>
                <a:gd name="T29" fmla="*/ 18 h 25"/>
                <a:gd name="T30" fmla="*/ 4 w 72"/>
                <a:gd name="T31" fmla="*/ 13 h 25"/>
                <a:gd name="T32" fmla="*/ 5 w 72"/>
                <a:gd name="T33" fmla="*/ 9 h 25"/>
                <a:gd name="T34" fmla="*/ 7 w 72"/>
                <a:gd name="T35" fmla="*/ 7 h 25"/>
                <a:gd name="T36" fmla="*/ 7 w 72"/>
                <a:gd name="T37" fmla="*/ 6 h 25"/>
                <a:gd name="T38" fmla="*/ 8 w 72"/>
                <a:gd name="T39" fmla="*/ 8 h 25"/>
                <a:gd name="T40" fmla="*/ 8 w 72"/>
                <a:gd name="T41" fmla="*/ 9 h 25"/>
                <a:gd name="T42" fmla="*/ 10 w 72"/>
                <a:gd name="T43" fmla="*/ 10 h 25"/>
                <a:gd name="T44" fmla="*/ 14 w 72"/>
                <a:gd name="T45" fmla="*/ 15 h 25"/>
                <a:gd name="T46" fmla="*/ 15 w 72"/>
                <a:gd name="T47" fmla="*/ 15 h 25"/>
                <a:gd name="T48" fmla="*/ 22 w 72"/>
                <a:gd name="T49" fmla="*/ 11 h 25"/>
                <a:gd name="T50" fmla="*/ 24 w 72"/>
                <a:gd name="T51" fmla="*/ 10 h 25"/>
                <a:gd name="T52" fmla="*/ 25 w 72"/>
                <a:gd name="T53" fmla="*/ 11 h 25"/>
                <a:gd name="T54" fmla="*/ 36 w 72"/>
                <a:gd name="T55" fmla="*/ 14 h 25"/>
                <a:gd name="T56" fmla="*/ 38 w 72"/>
                <a:gd name="T57" fmla="*/ 14 h 25"/>
                <a:gd name="T58" fmla="*/ 40 w 72"/>
                <a:gd name="T59" fmla="*/ 14 h 25"/>
                <a:gd name="T60" fmla="*/ 40 w 72"/>
                <a:gd name="T61" fmla="*/ 14 h 25"/>
                <a:gd name="T62" fmla="*/ 41 w 72"/>
                <a:gd name="T63" fmla="*/ 12 h 25"/>
                <a:gd name="T64" fmla="*/ 45 w 72"/>
                <a:gd name="T65" fmla="*/ 12 h 25"/>
                <a:gd name="T66" fmla="*/ 70 w 72"/>
                <a:gd name="T67" fmla="*/ 25 h 25"/>
                <a:gd name="T68" fmla="*/ 70 w 72"/>
                <a:gd name="T69" fmla="*/ 16 h 25"/>
                <a:gd name="T70" fmla="*/ 67 w 72"/>
                <a:gd name="T71" fmla="*/ 14 h 25"/>
                <a:gd name="T72" fmla="*/ 66 w 72"/>
                <a:gd name="T73" fmla="*/ 11 h 25"/>
                <a:gd name="T74" fmla="*/ 57 w 72"/>
                <a:gd name="T75" fmla="*/ 4 h 25"/>
                <a:gd name="T76" fmla="*/ 47 w 72"/>
                <a:gd name="T77" fmla="*/ 3 h 25"/>
                <a:gd name="T78" fmla="*/ 41 w 72"/>
                <a:gd name="T79" fmla="*/ 0 h 25"/>
                <a:gd name="T80" fmla="*/ 39 w 72"/>
                <a:gd name="T81"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 h="25">
                  <a:moveTo>
                    <a:pt x="39" y="0"/>
                  </a:moveTo>
                  <a:cubicBezTo>
                    <a:pt x="37" y="0"/>
                    <a:pt x="36" y="1"/>
                    <a:pt x="34" y="2"/>
                  </a:cubicBezTo>
                  <a:cubicBezTo>
                    <a:pt x="33" y="3"/>
                    <a:pt x="32" y="3"/>
                    <a:pt x="31" y="3"/>
                  </a:cubicBezTo>
                  <a:cubicBezTo>
                    <a:pt x="30" y="3"/>
                    <a:pt x="30" y="3"/>
                    <a:pt x="29" y="3"/>
                  </a:cubicBezTo>
                  <a:cubicBezTo>
                    <a:pt x="28" y="2"/>
                    <a:pt x="30" y="0"/>
                    <a:pt x="28" y="0"/>
                  </a:cubicBezTo>
                  <a:cubicBezTo>
                    <a:pt x="28" y="0"/>
                    <a:pt x="28" y="0"/>
                    <a:pt x="28" y="0"/>
                  </a:cubicBezTo>
                  <a:cubicBezTo>
                    <a:pt x="28" y="0"/>
                    <a:pt x="26" y="1"/>
                    <a:pt x="26" y="1"/>
                  </a:cubicBezTo>
                  <a:cubicBezTo>
                    <a:pt x="24" y="2"/>
                    <a:pt x="23" y="2"/>
                    <a:pt x="21" y="2"/>
                  </a:cubicBezTo>
                  <a:cubicBezTo>
                    <a:pt x="20" y="2"/>
                    <a:pt x="18" y="2"/>
                    <a:pt x="17" y="2"/>
                  </a:cubicBezTo>
                  <a:cubicBezTo>
                    <a:pt x="16" y="1"/>
                    <a:pt x="14" y="1"/>
                    <a:pt x="13" y="1"/>
                  </a:cubicBezTo>
                  <a:cubicBezTo>
                    <a:pt x="13" y="1"/>
                    <a:pt x="12" y="1"/>
                    <a:pt x="12" y="1"/>
                  </a:cubicBezTo>
                  <a:cubicBezTo>
                    <a:pt x="9" y="2"/>
                    <a:pt x="6" y="1"/>
                    <a:pt x="5" y="4"/>
                  </a:cubicBezTo>
                  <a:cubicBezTo>
                    <a:pt x="5" y="6"/>
                    <a:pt x="2" y="8"/>
                    <a:pt x="0" y="8"/>
                  </a:cubicBezTo>
                  <a:cubicBezTo>
                    <a:pt x="1" y="11"/>
                    <a:pt x="2" y="12"/>
                    <a:pt x="2" y="14"/>
                  </a:cubicBezTo>
                  <a:cubicBezTo>
                    <a:pt x="2" y="16"/>
                    <a:pt x="1" y="16"/>
                    <a:pt x="2" y="18"/>
                  </a:cubicBezTo>
                  <a:cubicBezTo>
                    <a:pt x="2" y="16"/>
                    <a:pt x="4" y="14"/>
                    <a:pt x="4" y="13"/>
                  </a:cubicBezTo>
                  <a:cubicBezTo>
                    <a:pt x="5" y="12"/>
                    <a:pt x="5" y="11"/>
                    <a:pt x="5" y="9"/>
                  </a:cubicBezTo>
                  <a:cubicBezTo>
                    <a:pt x="6" y="9"/>
                    <a:pt x="6" y="7"/>
                    <a:pt x="7" y="7"/>
                  </a:cubicBezTo>
                  <a:cubicBezTo>
                    <a:pt x="7" y="7"/>
                    <a:pt x="7" y="6"/>
                    <a:pt x="7" y="6"/>
                  </a:cubicBezTo>
                  <a:cubicBezTo>
                    <a:pt x="8" y="6"/>
                    <a:pt x="7" y="7"/>
                    <a:pt x="8" y="8"/>
                  </a:cubicBezTo>
                  <a:cubicBezTo>
                    <a:pt x="8" y="9"/>
                    <a:pt x="8" y="9"/>
                    <a:pt x="8" y="9"/>
                  </a:cubicBezTo>
                  <a:cubicBezTo>
                    <a:pt x="9" y="10"/>
                    <a:pt x="10" y="10"/>
                    <a:pt x="10" y="10"/>
                  </a:cubicBezTo>
                  <a:cubicBezTo>
                    <a:pt x="12" y="12"/>
                    <a:pt x="12" y="14"/>
                    <a:pt x="14" y="15"/>
                  </a:cubicBezTo>
                  <a:cubicBezTo>
                    <a:pt x="14" y="15"/>
                    <a:pt x="15" y="15"/>
                    <a:pt x="15" y="15"/>
                  </a:cubicBezTo>
                  <a:cubicBezTo>
                    <a:pt x="18" y="15"/>
                    <a:pt x="20" y="12"/>
                    <a:pt x="22" y="11"/>
                  </a:cubicBezTo>
                  <a:cubicBezTo>
                    <a:pt x="23" y="10"/>
                    <a:pt x="24" y="10"/>
                    <a:pt x="24" y="10"/>
                  </a:cubicBezTo>
                  <a:cubicBezTo>
                    <a:pt x="25" y="10"/>
                    <a:pt x="25" y="10"/>
                    <a:pt x="25" y="11"/>
                  </a:cubicBezTo>
                  <a:cubicBezTo>
                    <a:pt x="26" y="14"/>
                    <a:pt x="32" y="14"/>
                    <a:pt x="36" y="14"/>
                  </a:cubicBezTo>
                  <a:cubicBezTo>
                    <a:pt x="37" y="14"/>
                    <a:pt x="37" y="14"/>
                    <a:pt x="38" y="14"/>
                  </a:cubicBezTo>
                  <a:cubicBezTo>
                    <a:pt x="39" y="14"/>
                    <a:pt x="39" y="14"/>
                    <a:pt x="40" y="14"/>
                  </a:cubicBezTo>
                  <a:cubicBezTo>
                    <a:pt x="40" y="14"/>
                    <a:pt x="40" y="14"/>
                    <a:pt x="40" y="14"/>
                  </a:cubicBezTo>
                  <a:cubicBezTo>
                    <a:pt x="38" y="12"/>
                    <a:pt x="39" y="12"/>
                    <a:pt x="41" y="12"/>
                  </a:cubicBezTo>
                  <a:cubicBezTo>
                    <a:pt x="42" y="12"/>
                    <a:pt x="44" y="12"/>
                    <a:pt x="45" y="12"/>
                  </a:cubicBezTo>
                  <a:cubicBezTo>
                    <a:pt x="54" y="13"/>
                    <a:pt x="62" y="21"/>
                    <a:pt x="70" y="25"/>
                  </a:cubicBezTo>
                  <a:cubicBezTo>
                    <a:pt x="70" y="22"/>
                    <a:pt x="72" y="19"/>
                    <a:pt x="70" y="16"/>
                  </a:cubicBezTo>
                  <a:cubicBezTo>
                    <a:pt x="69" y="15"/>
                    <a:pt x="69" y="15"/>
                    <a:pt x="67" y="14"/>
                  </a:cubicBezTo>
                  <a:cubicBezTo>
                    <a:pt x="66" y="13"/>
                    <a:pt x="66" y="13"/>
                    <a:pt x="66" y="11"/>
                  </a:cubicBezTo>
                  <a:cubicBezTo>
                    <a:pt x="65" y="8"/>
                    <a:pt x="61" y="4"/>
                    <a:pt x="57" y="4"/>
                  </a:cubicBezTo>
                  <a:cubicBezTo>
                    <a:pt x="53" y="4"/>
                    <a:pt x="50" y="4"/>
                    <a:pt x="47" y="3"/>
                  </a:cubicBezTo>
                  <a:cubicBezTo>
                    <a:pt x="45" y="2"/>
                    <a:pt x="43" y="1"/>
                    <a:pt x="41" y="0"/>
                  </a:cubicBezTo>
                  <a:cubicBezTo>
                    <a:pt x="40" y="0"/>
                    <a:pt x="40"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1208"/>
            <p:cNvSpPr/>
            <p:nvPr/>
          </p:nvSpPr>
          <p:spPr bwMode="auto">
            <a:xfrm>
              <a:off x="3112876" y="4827044"/>
              <a:ext cx="5369" cy="6712"/>
            </a:xfrm>
            <a:custGeom>
              <a:gdLst>
                <a:gd name="T0" fmla="*/ 0 w 2"/>
                <a:gd name="T1" fmla="*/ 0 h 2"/>
                <a:gd name="T2" fmla="*/ 0 w 2"/>
                <a:gd name="T3" fmla="*/ 0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cubicBezTo>
                    <a:pt x="0" y="0"/>
                    <a:pt x="0" y="0"/>
                    <a:pt x="0" y="0"/>
                  </a:cubicBezTo>
                  <a:cubicBezTo>
                    <a:pt x="0" y="0"/>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1209"/>
            <p:cNvSpPr/>
            <p:nvPr/>
          </p:nvSpPr>
          <p:spPr bwMode="auto">
            <a:xfrm>
              <a:off x="3141065" y="4843152"/>
              <a:ext cx="6712" cy="9396"/>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0" y="1"/>
                    <a:pt x="1" y="2"/>
                    <a:pt x="2" y="3"/>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1210"/>
            <p:cNvSpPr/>
            <p:nvPr/>
          </p:nvSpPr>
          <p:spPr bwMode="auto">
            <a:xfrm>
              <a:off x="4793481" y="5138467"/>
              <a:ext cx="102018" cy="56378"/>
            </a:xfrm>
            <a:custGeom>
              <a:gdLst>
                <a:gd name="T0" fmla="*/ 15 w 32"/>
                <a:gd name="T1" fmla="*/ 0 h 18"/>
                <a:gd name="T2" fmla="*/ 13 w 32"/>
                <a:gd name="T3" fmla="*/ 0 h 18"/>
                <a:gd name="T4" fmla="*/ 4 w 32"/>
                <a:gd name="T5" fmla="*/ 8 h 18"/>
                <a:gd name="T6" fmla="*/ 8 w 32"/>
                <a:gd name="T7" fmla="*/ 13 h 18"/>
                <a:gd name="T8" fmla="*/ 19 w 32"/>
                <a:gd name="T9" fmla="*/ 18 h 18"/>
                <a:gd name="T10" fmla="*/ 19 w 32"/>
                <a:gd name="T11" fmla="*/ 18 h 18"/>
                <a:gd name="T12" fmla="*/ 32 w 32"/>
                <a:gd name="T13" fmla="*/ 13 h 18"/>
                <a:gd name="T14" fmla="*/ 32 w 32"/>
                <a:gd name="T15" fmla="*/ 7 h 18"/>
                <a:gd name="T16" fmla="*/ 29 w 32"/>
                <a:gd name="T17" fmla="*/ 5 h 18"/>
                <a:gd name="T18" fmla="*/ 27 w 32"/>
                <a:gd name="T19" fmla="*/ 2 h 18"/>
                <a:gd name="T20" fmla="*/ 15 w 32"/>
                <a:gd name="T2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8">
                  <a:moveTo>
                    <a:pt x="15" y="0"/>
                  </a:moveTo>
                  <a:cubicBezTo>
                    <a:pt x="15" y="0"/>
                    <a:pt x="14" y="0"/>
                    <a:pt x="13" y="0"/>
                  </a:cubicBezTo>
                  <a:cubicBezTo>
                    <a:pt x="8" y="1"/>
                    <a:pt x="0" y="1"/>
                    <a:pt x="4" y="8"/>
                  </a:cubicBezTo>
                  <a:cubicBezTo>
                    <a:pt x="4" y="10"/>
                    <a:pt x="7" y="12"/>
                    <a:pt x="8" y="13"/>
                  </a:cubicBezTo>
                  <a:cubicBezTo>
                    <a:pt x="10" y="15"/>
                    <a:pt x="16" y="18"/>
                    <a:pt x="19" y="18"/>
                  </a:cubicBezTo>
                  <a:cubicBezTo>
                    <a:pt x="19" y="18"/>
                    <a:pt x="19" y="18"/>
                    <a:pt x="19" y="18"/>
                  </a:cubicBezTo>
                  <a:cubicBezTo>
                    <a:pt x="22" y="18"/>
                    <a:pt x="30" y="15"/>
                    <a:pt x="32" y="13"/>
                  </a:cubicBezTo>
                  <a:cubicBezTo>
                    <a:pt x="32" y="12"/>
                    <a:pt x="32" y="8"/>
                    <a:pt x="32" y="7"/>
                  </a:cubicBezTo>
                  <a:cubicBezTo>
                    <a:pt x="31" y="6"/>
                    <a:pt x="30" y="7"/>
                    <a:pt x="29" y="5"/>
                  </a:cubicBezTo>
                  <a:cubicBezTo>
                    <a:pt x="29" y="4"/>
                    <a:pt x="28" y="3"/>
                    <a:pt x="27" y="2"/>
                  </a:cubicBezTo>
                  <a:cubicBezTo>
                    <a:pt x="23" y="0"/>
                    <a:pt x="20"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1211"/>
            <p:cNvSpPr/>
            <p:nvPr/>
          </p:nvSpPr>
          <p:spPr bwMode="auto">
            <a:xfrm>
              <a:off x="4273997" y="5608284"/>
              <a:ext cx="144972" cy="72486"/>
            </a:xfrm>
            <a:custGeom>
              <a:gdLst>
                <a:gd name="T0" fmla="*/ 23 w 46"/>
                <a:gd name="T1" fmla="*/ 0 h 23"/>
                <a:gd name="T2" fmla="*/ 22 w 46"/>
                <a:gd name="T3" fmla="*/ 0 h 23"/>
                <a:gd name="T4" fmla="*/ 1 w 46"/>
                <a:gd name="T5" fmla="*/ 5 h 23"/>
                <a:gd name="T6" fmla="*/ 3 w 46"/>
                <a:gd name="T7" fmla="*/ 8 h 23"/>
                <a:gd name="T8" fmla="*/ 11 w 46"/>
                <a:gd name="T9" fmla="*/ 11 h 23"/>
                <a:gd name="T10" fmla="*/ 11 w 46"/>
                <a:gd name="T11" fmla="*/ 11 h 23"/>
                <a:gd name="T12" fmla="*/ 13 w 46"/>
                <a:gd name="T13" fmla="*/ 11 h 23"/>
                <a:gd name="T14" fmla="*/ 14 w 46"/>
                <a:gd name="T15" fmla="*/ 11 h 23"/>
                <a:gd name="T16" fmla="*/ 18 w 46"/>
                <a:gd name="T17" fmla="*/ 12 h 23"/>
                <a:gd name="T18" fmla="*/ 36 w 46"/>
                <a:gd name="T19" fmla="*/ 23 h 23"/>
                <a:gd name="T20" fmla="*/ 36 w 46"/>
                <a:gd name="T21" fmla="*/ 23 h 23"/>
                <a:gd name="T22" fmla="*/ 39 w 46"/>
                <a:gd name="T23" fmla="*/ 22 h 23"/>
                <a:gd name="T24" fmla="*/ 45 w 46"/>
                <a:gd name="T25" fmla="*/ 16 h 23"/>
                <a:gd name="T26" fmla="*/ 41 w 46"/>
                <a:gd name="T27" fmla="*/ 13 h 23"/>
                <a:gd name="T28" fmla="*/ 37 w 46"/>
                <a:gd name="T29" fmla="*/ 8 h 23"/>
                <a:gd name="T30" fmla="*/ 35 w 46"/>
                <a:gd name="T31" fmla="*/ 8 h 23"/>
                <a:gd name="T32" fmla="*/ 34 w 46"/>
                <a:gd name="T33" fmla="*/ 8 h 23"/>
                <a:gd name="T34" fmla="*/ 34 w 46"/>
                <a:gd name="T35" fmla="*/ 8 h 23"/>
                <a:gd name="T36" fmla="*/ 33 w 46"/>
                <a:gd name="T37" fmla="*/ 8 h 23"/>
                <a:gd name="T38" fmla="*/ 32 w 46"/>
                <a:gd name="T39" fmla="*/ 8 h 23"/>
                <a:gd name="T40" fmla="*/ 31 w 46"/>
                <a:gd name="T41" fmla="*/ 5 h 23"/>
                <a:gd name="T42" fmla="*/ 29 w 46"/>
                <a:gd name="T43" fmla="*/ 4 h 23"/>
                <a:gd name="T44" fmla="*/ 23 w 46"/>
                <a:gd name="T45"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23">
                  <a:moveTo>
                    <a:pt x="23" y="0"/>
                  </a:moveTo>
                  <a:cubicBezTo>
                    <a:pt x="23" y="0"/>
                    <a:pt x="23" y="0"/>
                    <a:pt x="22" y="0"/>
                  </a:cubicBezTo>
                  <a:cubicBezTo>
                    <a:pt x="14" y="1"/>
                    <a:pt x="7" y="0"/>
                    <a:pt x="1" y="5"/>
                  </a:cubicBezTo>
                  <a:cubicBezTo>
                    <a:pt x="0" y="6"/>
                    <a:pt x="2" y="8"/>
                    <a:pt x="3" y="8"/>
                  </a:cubicBezTo>
                  <a:cubicBezTo>
                    <a:pt x="5" y="10"/>
                    <a:pt x="8" y="11"/>
                    <a:pt x="11" y="11"/>
                  </a:cubicBezTo>
                  <a:cubicBezTo>
                    <a:pt x="11" y="11"/>
                    <a:pt x="11" y="11"/>
                    <a:pt x="11" y="11"/>
                  </a:cubicBezTo>
                  <a:cubicBezTo>
                    <a:pt x="12" y="11"/>
                    <a:pt x="12" y="11"/>
                    <a:pt x="13" y="11"/>
                  </a:cubicBezTo>
                  <a:cubicBezTo>
                    <a:pt x="13" y="11"/>
                    <a:pt x="14" y="11"/>
                    <a:pt x="14" y="11"/>
                  </a:cubicBezTo>
                  <a:cubicBezTo>
                    <a:pt x="15" y="11"/>
                    <a:pt x="17" y="11"/>
                    <a:pt x="18" y="12"/>
                  </a:cubicBezTo>
                  <a:cubicBezTo>
                    <a:pt x="24" y="16"/>
                    <a:pt x="30" y="20"/>
                    <a:pt x="36" y="23"/>
                  </a:cubicBezTo>
                  <a:cubicBezTo>
                    <a:pt x="36" y="23"/>
                    <a:pt x="36" y="23"/>
                    <a:pt x="36" y="23"/>
                  </a:cubicBezTo>
                  <a:cubicBezTo>
                    <a:pt x="37" y="23"/>
                    <a:pt x="38" y="22"/>
                    <a:pt x="39" y="22"/>
                  </a:cubicBezTo>
                  <a:cubicBezTo>
                    <a:pt x="41" y="21"/>
                    <a:pt x="46" y="21"/>
                    <a:pt x="45" y="16"/>
                  </a:cubicBezTo>
                  <a:cubicBezTo>
                    <a:pt x="44" y="14"/>
                    <a:pt x="42" y="14"/>
                    <a:pt x="41" y="13"/>
                  </a:cubicBezTo>
                  <a:cubicBezTo>
                    <a:pt x="39" y="11"/>
                    <a:pt x="39" y="9"/>
                    <a:pt x="37" y="8"/>
                  </a:cubicBezTo>
                  <a:cubicBezTo>
                    <a:pt x="36" y="8"/>
                    <a:pt x="36" y="8"/>
                    <a:pt x="35" y="8"/>
                  </a:cubicBezTo>
                  <a:cubicBezTo>
                    <a:pt x="35" y="8"/>
                    <a:pt x="34" y="8"/>
                    <a:pt x="34" y="8"/>
                  </a:cubicBezTo>
                  <a:cubicBezTo>
                    <a:pt x="34" y="8"/>
                    <a:pt x="34" y="8"/>
                    <a:pt x="34" y="8"/>
                  </a:cubicBezTo>
                  <a:cubicBezTo>
                    <a:pt x="33" y="8"/>
                    <a:pt x="33" y="8"/>
                    <a:pt x="33" y="8"/>
                  </a:cubicBezTo>
                  <a:cubicBezTo>
                    <a:pt x="33" y="8"/>
                    <a:pt x="32" y="8"/>
                    <a:pt x="32" y="8"/>
                  </a:cubicBezTo>
                  <a:cubicBezTo>
                    <a:pt x="31" y="7"/>
                    <a:pt x="32" y="6"/>
                    <a:pt x="31" y="5"/>
                  </a:cubicBezTo>
                  <a:cubicBezTo>
                    <a:pt x="30" y="4"/>
                    <a:pt x="30" y="4"/>
                    <a:pt x="29" y="4"/>
                  </a:cubicBezTo>
                  <a:cubicBezTo>
                    <a:pt x="27" y="2"/>
                    <a:pt x="26"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1212"/>
            <p:cNvSpPr/>
            <p:nvPr/>
          </p:nvSpPr>
          <p:spPr bwMode="auto">
            <a:xfrm>
              <a:off x="4546491" y="5239142"/>
              <a:ext cx="51009" cy="92621"/>
            </a:xfrm>
            <a:custGeom>
              <a:gdLst>
                <a:gd name="T0" fmla="*/ 11 w 16"/>
                <a:gd name="T1" fmla="*/ 0 h 29"/>
                <a:gd name="T2" fmla="*/ 8 w 16"/>
                <a:gd name="T3" fmla="*/ 2 h 29"/>
                <a:gd name="T4" fmla="*/ 7 w 16"/>
                <a:gd name="T5" fmla="*/ 8 h 29"/>
                <a:gd name="T6" fmla="*/ 5 w 16"/>
                <a:gd name="T7" fmla="*/ 16 h 29"/>
                <a:gd name="T8" fmla="*/ 2 w 16"/>
                <a:gd name="T9" fmla="*/ 24 h 29"/>
                <a:gd name="T10" fmla="*/ 1 w 16"/>
                <a:gd name="T11" fmla="*/ 27 h 29"/>
                <a:gd name="T12" fmla="*/ 5 w 16"/>
                <a:gd name="T13" fmla="*/ 29 h 29"/>
                <a:gd name="T14" fmla="*/ 6 w 16"/>
                <a:gd name="T15" fmla="*/ 29 h 29"/>
                <a:gd name="T16" fmla="*/ 7 w 16"/>
                <a:gd name="T17" fmla="*/ 28 h 29"/>
                <a:gd name="T18" fmla="*/ 15 w 16"/>
                <a:gd name="T19" fmla="*/ 20 h 29"/>
                <a:gd name="T20" fmla="*/ 12 w 16"/>
                <a:gd name="T21" fmla="*/ 18 h 29"/>
                <a:gd name="T22" fmla="*/ 11 w 16"/>
                <a:gd name="T23" fmla="*/ 8 h 29"/>
                <a:gd name="T24" fmla="*/ 13 w 16"/>
                <a:gd name="T25" fmla="*/ 7 h 29"/>
                <a:gd name="T26" fmla="*/ 15 w 16"/>
                <a:gd name="T27" fmla="*/ 9 h 29"/>
                <a:gd name="T28" fmla="*/ 11 w 16"/>
                <a:gd name="T29"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1" y="0"/>
                  </a:moveTo>
                  <a:cubicBezTo>
                    <a:pt x="10" y="0"/>
                    <a:pt x="9" y="0"/>
                    <a:pt x="8" y="2"/>
                  </a:cubicBezTo>
                  <a:cubicBezTo>
                    <a:pt x="6" y="4"/>
                    <a:pt x="7" y="6"/>
                    <a:pt x="7" y="8"/>
                  </a:cubicBezTo>
                  <a:cubicBezTo>
                    <a:pt x="6" y="11"/>
                    <a:pt x="4" y="14"/>
                    <a:pt x="5" y="16"/>
                  </a:cubicBezTo>
                  <a:cubicBezTo>
                    <a:pt x="4" y="19"/>
                    <a:pt x="3" y="21"/>
                    <a:pt x="2" y="24"/>
                  </a:cubicBezTo>
                  <a:cubicBezTo>
                    <a:pt x="1" y="25"/>
                    <a:pt x="0" y="26"/>
                    <a:pt x="1" y="27"/>
                  </a:cubicBezTo>
                  <a:cubicBezTo>
                    <a:pt x="2" y="28"/>
                    <a:pt x="4" y="29"/>
                    <a:pt x="5" y="29"/>
                  </a:cubicBezTo>
                  <a:cubicBezTo>
                    <a:pt x="5" y="29"/>
                    <a:pt x="5" y="29"/>
                    <a:pt x="6" y="29"/>
                  </a:cubicBezTo>
                  <a:cubicBezTo>
                    <a:pt x="6" y="29"/>
                    <a:pt x="6" y="29"/>
                    <a:pt x="7" y="28"/>
                  </a:cubicBezTo>
                  <a:cubicBezTo>
                    <a:pt x="9" y="27"/>
                    <a:pt x="16" y="23"/>
                    <a:pt x="15" y="20"/>
                  </a:cubicBezTo>
                  <a:cubicBezTo>
                    <a:pt x="15" y="19"/>
                    <a:pt x="12" y="18"/>
                    <a:pt x="12" y="18"/>
                  </a:cubicBezTo>
                  <a:cubicBezTo>
                    <a:pt x="10" y="16"/>
                    <a:pt x="9" y="10"/>
                    <a:pt x="11" y="8"/>
                  </a:cubicBezTo>
                  <a:cubicBezTo>
                    <a:pt x="12" y="7"/>
                    <a:pt x="12" y="7"/>
                    <a:pt x="13" y="7"/>
                  </a:cubicBezTo>
                  <a:cubicBezTo>
                    <a:pt x="14" y="7"/>
                    <a:pt x="14" y="8"/>
                    <a:pt x="15" y="9"/>
                  </a:cubicBezTo>
                  <a:cubicBezTo>
                    <a:pt x="15" y="6"/>
                    <a:pt x="13"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1213"/>
            <p:cNvSpPr/>
            <p:nvPr/>
          </p:nvSpPr>
          <p:spPr bwMode="auto">
            <a:xfrm>
              <a:off x="2877968" y="5115647"/>
              <a:ext cx="28189" cy="41612"/>
            </a:xfrm>
            <a:custGeom>
              <a:gdLst>
                <a:gd name="T0" fmla="*/ 0 w 9"/>
                <a:gd name="T1" fmla="*/ 0 h 13"/>
                <a:gd name="T2" fmla="*/ 6 w 9"/>
                <a:gd name="T3" fmla="*/ 13 h 13"/>
                <a:gd name="T4" fmla="*/ 4 w 9"/>
                <a:gd name="T5" fmla="*/ 9 h 13"/>
                <a:gd name="T6" fmla="*/ 0 w 9"/>
                <a:gd name="T7" fmla="*/ 0 h 13"/>
              </a:gdLst>
              <a:cxnLst>
                <a:cxn ang="0">
                  <a:pos x="T0" y="T1"/>
                </a:cxn>
                <a:cxn ang="0">
                  <a:pos x="T2" y="T3"/>
                </a:cxn>
                <a:cxn ang="0">
                  <a:pos x="T4" y="T5"/>
                </a:cxn>
                <a:cxn ang="0">
                  <a:pos x="T6" y="T7"/>
                </a:cxn>
              </a:cxnLst>
              <a:rect l="0" t="0" r="r" b="b"/>
              <a:pathLst>
                <a:path w="9" h="13">
                  <a:moveTo>
                    <a:pt x="0" y="0"/>
                  </a:moveTo>
                  <a:cubicBezTo>
                    <a:pt x="1" y="5"/>
                    <a:pt x="4" y="9"/>
                    <a:pt x="6" y="13"/>
                  </a:cubicBezTo>
                  <a:cubicBezTo>
                    <a:pt x="5" y="12"/>
                    <a:pt x="5" y="10"/>
                    <a:pt x="4" y="9"/>
                  </a:cubicBezTo>
                  <a:cubicBezTo>
                    <a:pt x="9" y="8"/>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1214"/>
            <p:cNvSpPr/>
            <p:nvPr/>
          </p:nvSpPr>
          <p:spPr bwMode="auto">
            <a:xfrm>
              <a:off x="4079358" y="5163971"/>
              <a:ext cx="6712" cy="18793"/>
            </a:xfrm>
            <a:custGeom>
              <a:gdLst>
                <a:gd name="T0" fmla="*/ 2 w 2"/>
                <a:gd name="T1" fmla="*/ 0 h 6"/>
                <a:gd name="T2" fmla="*/ 1 w 2"/>
                <a:gd name="T3" fmla="*/ 1 h 6"/>
                <a:gd name="T4" fmla="*/ 1 w 2"/>
                <a:gd name="T5" fmla="*/ 2 h 6"/>
                <a:gd name="T6" fmla="*/ 1 w 2"/>
                <a:gd name="T7" fmla="*/ 2 h 6"/>
                <a:gd name="T8" fmla="*/ 1 w 2"/>
                <a:gd name="T9" fmla="*/ 6 h 6"/>
                <a:gd name="T10" fmla="*/ 2 w 2"/>
                <a:gd name="T11" fmla="*/ 0 h 6"/>
              </a:gdLst>
              <a:cxnLst>
                <a:cxn ang="0">
                  <a:pos x="T0" y="T1"/>
                </a:cxn>
                <a:cxn ang="0">
                  <a:pos x="T2" y="T3"/>
                </a:cxn>
                <a:cxn ang="0">
                  <a:pos x="T4" y="T5"/>
                </a:cxn>
                <a:cxn ang="0">
                  <a:pos x="T6" y="T7"/>
                </a:cxn>
                <a:cxn ang="0">
                  <a:pos x="T8" y="T9"/>
                </a:cxn>
                <a:cxn ang="0">
                  <a:pos x="T10" y="T11"/>
                </a:cxn>
              </a:cxnLst>
              <a:rect l="0" t="0" r="r" b="b"/>
              <a:pathLst>
                <a:path w="2" h="6">
                  <a:moveTo>
                    <a:pt x="2" y="0"/>
                  </a:moveTo>
                  <a:cubicBezTo>
                    <a:pt x="2" y="1"/>
                    <a:pt x="1" y="1"/>
                    <a:pt x="1" y="1"/>
                  </a:cubicBezTo>
                  <a:cubicBezTo>
                    <a:pt x="1" y="2"/>
                    <a:pt x="1" y="2"/>
                    <a:pt x="1" y="2"/>
                  </a:cubicBezTo>
                  <a:cubicBezTo>
                    <a:pt x="1" y="2"/>
                    <a:pt x="1" y="2"/>
                    <a:pt x="1" y="2"/>
                  </a:cubicBezTo>
                  <a:cubicBezTo>
                    <a:pt x="0" y="3"/>
                    <a:pt x="0" y="4"/>
                    <a:pt x="1"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215"/>
            <p:cNvSpPr/>
            <p:nvPr/>
          </p:nvSpPr>
          <p:spPr bwMode="auto">
            <a:xfrm>
              <a:off x="5412297" y="5315655"/>
              <a:ext cx="48324" cy="69802"/>
            </a:xfrm>
            <a:custGeom>
              <a:gdLst>
                <a:gd name="T0" fmla="*/ 8 w 15"/>
                <a:gd name="T1" fmla="*/ 0 h 22"/>
                <a:gd name="T2" fmla="*/ 7 w 15"/>
                <a:gd name="T3" fmla="*/ 1 h 22"/>
                <a:gd name="T4" fmla="*/ 8 w 15"/>
                <a:gd name="T5" fmla="*/ 3 h 22"/>
                <a:gd name="T6" fmla="*/ 8 w 15"/>
                <a:gd name="T7" fmla="*/ 3 h 22"/>
                <a:gd name="T8" fmla="*/ 6 w 15"/>
                <a:gd name="T9" fmla="*/ 3 h 22"/>
                <a:gd name="T10" fmla="*/ 4 w 15"/>
                <a:gd name="T11" fmla="*/ 6 h 22"/>
                <a:gd name="T12" fmla="*/ 2 w 15"/>
                <a:gd name="T13" fmla="*/ 8 h 22"/>
                <a:gd name="T14" fmla="*/ 4 w 15"/>
                <a:gd name="T15" fmla="*/ 9 h 22"/>
                <a:gd name="T16" fmla="*/ 3 w 15"/>
                <a:gd name="T17" fmla="*/ 11 h 22"/>
                <a:gd name="T18" fmla="*/ 2 w 15"/>
                <a:gd name="T19" fmla="*/ 15 h 22"/>
                <a:gd name="T20" fmla="*/ 10 w 15"/>
                <a:gd name="T21" fmla="*/ 22 h 22"/>
                <a:gd name="T22" fmla="*/ 11 w 15"/>
                <a:gd name="T23" fmla="*/ 22 h 22"/>
                <a:gd name="T24" fmla="*/ 13 w 15"/>
                <a:gd name="T25" fmla="*/ 18 h 22"/>
                <a:gd name="T26" fmla="*/ 12 w 15"/>
                <a:gd name="T27" fmla="*/ 18 h 22"/>
                <a:gd name="T28" fmla="*/ 12 w 15"/>
                <a:gd name="T29" fmla="*/ 13 h 22"/>
                <a:gd name="T30" fmla="*/ 12 w 15"/>
                <a:gd name="T31" fmla="*/ 2 h 22"/>
                <a:gd name="T32" fmla="*/ 10 w 15"/>
                <a:gd name="T33" fmla="*/ 0 h 22"/>
                <a:gd name="T34" fmla="*/ 8 w 15"/>
                <a:gd name="T35"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2">
                  <a:moveTo>
                    <a:pt x="8" y="0"/>
                  </a:moveTo>
                  <a:cubicBezTo>
                    <a:pt x="8" y="0"/>
                    <a:pt x="8" y="1"/>
                    <a:pt x="7" y="1"/>
                  </a:cubicBezTo>
                  <a:cubicBezTo>
                    <a:pt x="7" y="1"/>
                    <a:pt x="8" y="2"/>
                    <a:pt x="8" y="3"/>
                  </a:cubicBezTo>
                  <a:cubicBezTo>
                    <a:pt x="8" y="3"/>
                    <a:pt x="8" y="3"/>
                    <a:pt x="8" y="3"/>
                  </a:cubicBezTo>
                  <a:cubicBezTo>
                    <a:pt x="7" y="3"/>
                    <a:pt x="6" y="3"/>
                    <a:pt x="6" y="3"/>
                  </a:cubicBezTo>
                  <a:cubicBezTo>
                    <a:pt x="5" y="4"/>
                    <a:pt x="5" y="5"/>
                    <a:pt x="4" y="6"/>
                  </a:cubicBezTo>
                  <a:cubicBezTo>
                    <a:pt x="2" y="7"/>
                    <a:pt x="0" y="6"/>
                    <a:pt x="2" y="8"/>
                  </a:cubicBezTo>
                  <a:cubicBezTo>
                    <a:pt x="3" y="9"/>
                    <a:pt x="4" y="8"/>
                    <a:pt x="4" y="9"/>
                  </a:cubicBezTo>
                  <a:cubicBezTo>
                    <a:pt x="4" y="10"/>
                    <a:pt x="3" y="10"/>
                    <a:pt x="3" y="11"/>
                  </a:cubicBezTo>
                  <a:cubicBezTo>
                    <a:pt x="2" y="15"/>
                    <a:pt x="2" y="15"/>
                    <a:pt x="2" y="15"/>
                  </a:cubicBezTo>
                  <a:cubicBezTo>
                    <a:pt x="2" y="18"/>
                    <a:pt x="7" y="22"/>
                    <a:pt x="10" y="22"/>
                  </a:cubicBezTo>
                  <a:cubicBezTo>
                    <a:pt x="10" y="22"/>
                    <a:pt x="10" y="22"/>
                    <a:pt x="11" y="22"/>
                  </a:cubicBezTo>
                  <a:cubicBezTo>
                    <a:pt x="12" y="21"/>
                    <a:pt x="15" y="18"/>
                    <a:pt x="13" y="18"/>
                  </a:cubicBezTo>
                  <a:cubicBezTo>
                    <a:pt x="12" y="18"/>
                    <a:pt x="12" y="18"/>
                    <a:pt x="12" y="18"/>
                  </a:cubicBezTo>
                  <a:cubicBezTo>
                    <a:pt x="15" y="17"/>
                    <a:pt x="14" y="15"/>
                    <a:pt x="12" y="13"/>
                  </a:cubicBezTo>
                  <a:cubicBezTo>
                    <a:pt x="13" y="9"/>
                    <a:pt x="14" y="5"/>
                    <a:pt x="12" y="2"/>
                  </a:cubicBezTo>
                  <a:cubicBezTo>
                    <a:pt x="11" y="1"/>
                    <a:pt x="11"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216"/>
            <p:cNvSpPr>
              <a:spLocks noEditPoints="1"/>
            </p:cNvSpPr>
            <p:nvPr/>
          </p:nvSpPr>
          <p:spPr bwMode="auto">
            <a:xfrm>
              <a:off x="5137119" y="4941143"/>
              <a:ext cx="12081" cy="6712"/>
            </a:xfrm>
            <a:custGeom>
              <a:gdLst>
                <a:gd name="T0" fmla="*/ 3 w 4"/>
                <a:gd name="T1" fmla="*/ 0 h 2"/>
                <a:gd name="T2" fmla="*/ 0 w 4"/>
                <a:gd name="T3" fmla="*/ 1 h 2"/>
                <a:gd name="T4" fmla="*/ 0 w 4"/>
                <a:gd name="T5" fmla="*/ 2 h 2"/>
                <a:gd name="T6" fmla="*/ 3 w 4"/>
                <a:gd name="T7" fmla="*/ 0 h 2"/>
                <a:gd name="T8" fmla="*/ 4 w 4"/>
                <a:gd name="T9" fmla="*/ 0 h 2"/>
                <a:gd name="T10" fmla="*/ 3 w 4"/>
                <a:gd name="T11" fmla="*/ 0 h 2"/>
                <a:gd name="T12" fmla="*/ 4 w 4"/>
                <a:gd name="T13" fmla="*/ 0 h 2"/>
              </a:gdLst>
              <a:cxnLst>
                <a:cxn ang="0">
                  <a:pos x="T0" y="T1"/>
                </a:cxn>
                <a:cxn ang="0">
                  <a:pos x="T2" y="T3"/>
                </a:cxn>
                <a:cxn ang="0">
                  <a:pos x="T4" y="T5"/>
                </a:cxn>
                <a:cxn ang="0">
                  <a:pos x="T6" y="T7"/>
                </a:cxn>
                <a:cxn ang="0">
                  <a:pos x="T8" y="T9"/>
                </a:cxn>
                <a:cxn ang="0">
                  <a:pos x="T10" y="T11"/>
                </a:cxn>
                <a:cxn ang="0">
                  <a:pos x="T12" y="T13"/>
                </a:cxn>
              </a:cxnLst>
              <a:rect l="0" t="0" r="r" b="b"/>
              <a:pathLst>
                <a:path w="4" h="2">
                  <a:moveTo>
                    <a:pt x="3" y="0"/>
                  </a:moveTo>
                  <a:cubicBezTo>
                    <a:pt x="2" y="1"/>
                    <a:pt x="1" y="1"/>
                    <a:pt x="0" y="1"/>
                  </a:cubicBezTo>
                  <a:cubicBezTo>
                    <a:pt x="0" y="2"/>
                    <a:pt x="0" y="2"/>
                    <a:pt x="0" y="2"/>
                  </a:cubicBezTo>
                  <a:cubicBezTo>
                    <a:pt x="1" y="2"/>
                    <a:pt x="2" y="1"/>
                    <a:pt x="3" y="0"/>
                  </a:cubicBezTo>
                  <a:moveTo>
                    <a:pt x="4" y="0"/>
                  </a:moveTo>
                  <a:cubicBezTo>
                    <a:pt x="4" y="0"/>
                    <a:pt x="3" y="0"/>
                    <a:pt x="3" y="0"/>
                  </a:cubicBezTo>
                  <a:cubicBezTo>
                    <a:pt x="3"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217"/>
            <p:cNvSpPr/>
            <p:nvPr/>
          </p:nvSpPr>
          <p:spPr bwMode="auto">
            <a:xfrm>
              <a:off x="4562599" y="4994836"/>
              <a:ext cx="56378" cy="38928"/>
            </a:xfrm>
            <a:custGeom>
              <a:gdLst>
                <a:gd name="T0" fmla="*/ 9 w 18"/>
                <a:gd name="T1" fmla="*/ 0 h 12"/>
                <a:gd name="T2" fmla="*/ 7 w 18"/>
                <a:gd name="T3" fmla="*/ 0 h 12"/>
                <a:gd name="T4" fmla="*/ 7 w 18"/>
                <a:gd name="T5" fmla="*/ 0 h 12"/>
                <a:gd name="T6" fmla="*/ 2 w 18"/>
                <a:gd name="T7" fmla="*/ 2 h 12"/>
                <a:gd name="T8" fmla="*/ 1 w 18"/>
                <a:gd name="T9" fmla="*/ 8 h 12"/>
                <a:gd name="T10" fmla="*/ 3 w 18"/>
                <a:gd name="T11" fmla="*/ 10 h 12"/>
                <a:gd name="T12" fmla="*/ 9 w 18"/>
                <a:gd name="T13" fmla="*/ 4 h 12"/>
                <a:gd name="T14" fmla="*/ 9 w 18"/>
                <a:gd name="T15" fmla="*/ 7 h 12"/>
                <a:gd name="T16" fmla="*/ 11 w 18"/>
                <a:gd name="T17" fmla="*/ 12 h 12"/>
                <a:gd name="T18" fmla="*/ 18 w 18"/>
                <a:gd name="T19" fmla="*/ 3 h 12"/>
                <a:gd name="T20" fmla="*/ 14 w 18"/>
                <a:gd name="T21" fmla="*/ 2 h 12"/>
                <a:gd name="T22" fmla="*/ 13 w 18"/>
                <a:gd name="T23" fmla="*/ 3 h 12"/>
                <a:gd name="T24" fmla="*/ 9 w 18"/>
                <a:gd name="T25"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2">
                  <a:moveTo>
                    <a:pt x="9" y="0"/>
                  </a:moveTo>
                  <a:cubicBezTo>
                    <a:pt x="10" y="0"/>
                    <a:pt x="8" y="0"/>
                    <a:pt x="7" y="0"/>
                  </a:cubicBezTo>
                  <a:cubicBezTo>
                    <a:pt x="7" y="0"/>
                    <a:pt x="7" y="0"/>
                    <a:pt x="7" y="0"/>
                  </a:cubicBezTo>
                  <a:cubicBezTo>
                    <a:pt x="5" y="1"/>
                    <a:pt x="3" y="1"/>
                    <a:pt x="2" y="2"/>
                  </a:cubicBezTo>
                  <a:cubicBezTo>
                    <a:pt x="0" y="3"/>
                    <a:pt x="0" y="6"/>
                    <a:pt x="1" y="8"/>
                  </a:cubicBezTo>
                  <a:cubicBezTo>
                    <a:pt x="1" y="9"/>
                    <a:pt x="2" y="10"/>
                    <a:pt x="3" y="10"/>
                  </a:cubicBezTo>
                  <a:cubicBezTo>
                    <a:pt x="4" y="10"/>
                    <a:pt x="7" y="5"/>
                    <a:pt x="9" y="4"/>
                  </a:cubicBezTo>
                  <a:cubicBezTo>
                    <a:pt x="9" y="5"/>
                    <a:pt x="9" y="6"/>
                    <a:pt x="9" y="7"/>
                  </a:cubicBezTo>
                  <a:cubicBezTo>
                    <a:pt x="9" y="11"/>
                    <a:pt x="7" y="10"/>
                    <a:pt x="11" y="12"/>
                  </a:cubicBezTo>
                  <a:cubicBezTo>
                    <a:pt x="12" y="5"/>
                    <a:pt x="13" y="7"/>
                    <a:pt x="18" y="3"/>
                  </a:cubicBezTo>
                  <a:cubicBezTo>
                    <a:pt x="17" y="3"/>
                    <a:pt x="16" y="2"/>
                    <a:pt x="14" y="2"/>
                  </a:cubicBezTo>
                  <a:cubicBezTo>
                    <a:pt x="14" y="2"/>
                    <a:pt x="13" y="2"/>
                    <a:pt x="13" y="3"/>
                  </a:cubicBezTo>
                  <a:cubicBezTo>
                    <a:pt x="11" y="2"/>
                    <a:pt x="11"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1218"/>
            <p:cNvSpPr/>
            <p:nvPr/>
          </p:nvSpPr>
          <p:spPr bwMode="auto">
            <a:xfrm>
              <a:off x="4986777" y="5439150"/>
              <a:ext cx="13423" cy="10739"/>
            </a:xfrm>
            <a:custGeom>
              <a:gdLst>
                <a:gd name="T0" fmla="*/ 3 w 4"/>
                <a:gd name="T1" fmla="*/ 0 h 3"/>
                <a:gd name="T2" fmla="*/ 3 w 4"/>
                <a:gd name="T3" fmla="*/ 3 h 3"/>
                <a:gd name="T4" fmla="*/ 3 w 4"/>
                <a:gd name="T5" fmla="*/ 0 h 3"/>
              </a:gdLst>
              <a:cxnLst>
                <a:cxn ang="0">
                  <a:pos x="T0" y="T1"/>
                </a:cxn>
                <a:cxn ang="0">
                  <a:pos x="T2" y="T3"/>
                </a:cxn>
                <a:cxn ang="0">
                  <a:pos x="T4" y="T5"/>
                </a:cxn>
              </a:cxnLst>
              <a:rect l="0" t="0" r="r" b="b"/>
              <a:pathLst>
                <a:path w="4" h="3">
                  <a:moveTo>
                    <a:pt x="3" y="0"/>
                  </a:moveTo>
                  <a:cubicBezTo>
                    <a:pt x="0" y="1"/>
                    <a:pt x="1" y="2"/>
                    <a:pt x="3" y="3"/>
                  </a:cubicBezTo>
                  <a:cubicBezTo>
                    <a:pt x="4"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1219"/>
            <p:cNvSpPr/>
            <p:nvPr/>
          </p:nvSpPr>
          <p:spPr bwMode="auto">
            <a:xfrm>
              <a:off x="4904894" y="5010944"/>
              <a:ext cx="60405" cy="29531"/>
            </a:xfrm>
            <a:custGeom>
              <a:gdLst>
                <a:gd name="T0" fmla="*/ 8 w 19"/>
                <a:gd name="T1" fmla="*/ 0 h 9"/>
                <a:gd name="T2" fmla="*/ 2 w 19"/>
                <a:gd name="T3" fmla="*/ 2 h 9"/>
                <a:gd name="T4" fmla="*/ 0 w 19"/>
                <a:gd name="T5" fmla="*/ 7 h 9"/>
                <a:gd name="T6" fmla="*/ 4 w 19"/>
                <a:gd name="T7" fmla="*/ 9 h 9"/>
                <a:gd name="T8" fmla="*/ 7 w 19"/>
                <a:gd name="T9" fmla="*/ 8 h 9"/>
                <a:gd name="T10" fmla="*/ 12 w 19"/>
                <a:gd name="T11" fmla="*/ 8 h 9"/>
                <a:gd name="T12" fmla="*/ 14 w 19"/>
                <a:gd name="T13" fmla="*/ 8 h 9"/>
                <a:gd name="T14" fmla="*/ 15 w 19"/>
                <a:gd name="T15" fmla="*/ 8 h 9"/>
                <a:gd name="T16" fmla="*/ 15 w 19"/>
                <a:gd name="T17" fmla="*/ 3 h 9"/>
                <a:gd name="T18" fmla="*/ 8 w 19"/>
                <a:gd name="T1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9">
                  <a:moveTo>
                    <a:pt x="8" y="0"/>
                  </a:moveTo>
                  <a:cubicBezTo>
                    <a:pt x="6" y="0"/>
                    <a:pt x="4" y="1"/>
                    <a:pt x="2" y="2"/>
                  </a:cubicBezTo>
                  <a:cubicBezTo>
                    <a:pt x="1" y="3"/>
                    <a:pt x="0" y="5"/>
                    <a:pt x="0" y="7"/>
                  </a:cubicBezTo>
                  <a:cubicBezTo>
                    <a:pt x="1" y="8"/>
                    <a:pt x="3" y="9"/>
                    <a:pt x="4" y="9"/>
                  </a:cubicBezTo>
                  <a:cubicBezTo>
                    <a:pt x="5" y="9"/>
                    <a:pt x="6" y="9"/>
                    <a:pt x="7" y="8"/>
                  </a:cubicBezTo>
                  <a:cubicBezTo>
                    <a:pt x="8" y="8"/>
                    <a:pt x="10" y="8"/>
                    <a:pt x="12" y="8"/>
                  </a:cubicBezTo>
                  <a:cubicBezTo>
                    <a:pt x="13" y="8"/>
                    <a:pt x="13" y="8"/>
                    <a:pt x="14" y="8"/>
                  </a:cubicBezTo>
                  <a:cubicBezTo>
                    <a:pt x="14" y="8"/>
                    <a:pt x="15" y="8"/>
                    <a:pt x="15" y="8"/>
                  </a:cubicBezTo>
                  <a:cubicBezTo>
                    <a:pt x="18" y="8"/>
                    <a:pt x="19" y="7"/>
                    <a:pt x="15" y="3"/>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1220"/>
            <p:cNvSpPr/>
            <p:nvPr/>
          </p:nvSpPr>
          <p:spPr bwMode="auto">
            <a:xfrm>
              <a:off x="2643059" y="4796171"/>
              <a:ext cx="63090" cy="72486"/>
            </a:xfrm>
            <a:custGeom>
              <a:gdLst>
                <a:gd name="T0" fmla="*/ 6 w 20"/>
                <a:gd name="T1" fmla="*/ 0 h 23"/>
                <a:gd name="T2" fmla="*/ 0 w 20"/>
                <a:gd name="T3" fmla="*/ 3 h 23"/>
                <a:gd name="T4" fmla="*/ 10 w 20"/>
                <a:gd name="T5" fmla="*/ 15 h 23"/>
                <a:gd name="T6" fmla="*/ 18 w 20"/>
                <a:gd name="T7" fmla="*/ 23 h 23"/>
                <a:gd name="T8" fmla="*/ 19 w 20"/>
                <a:gd name="T9" fmla="*/ 18 h 23"/>
                <a:gd name="T10" fmla="*/ 18 w 20"/>
                <a:gd name="T11" fmla="*/ 12 h 23"/>
                <a:gd name="T12" fmla="*/ 6 w 20"/>
                <a:gd name="T13" fmla="*/ 0 h 23"/>
              </a:gdLst>
              <a:cxnLst>
                <a:cxn ang="0">
                  <a:pos x="T0" y="T1"/>
                </a:cxn>
                <a:cxn ang="0">
                  <a:pos x="T2" y="T3"/>
                </a:cxn>
                <a:cxn ang="0">
                  <a:pos x="T4" y="T5"/>
                </a:cxn>
                <a:cxn ang="0">
                  <a:pos x="T6" y="T7"/>
                </a:cxn>
                <a:cxn ang="0">
                  <a:pos x="T8" y="T9"/>
                </a:cxn>
                <a:cxn ang="0">
                  <a:pos x="T10" y="T11"/>
                </a:cxn>
                <a:cxn ang="0">
                  <a:pos x="T12" y="T13"/>
                </a:cxn>
              </a:cxnLst>
              <a:rect l="0" t="0" r="r" b="b"/>
              <a:pathLst>
                <a:path w="20" h="23">
                  <a:moveTo>
                    <a:pt x="6" y="0"/>
                  </a:moveTo>
                  <a:cubicBezTo>
                    <a:pt x="6" y="3"/>
                    <a:pt x="2" y="2"/>
                    <a:pt x="0" y="3"/>
                  </a:cubicBezTo>
                  <a:cubicBezTo>
                    <a:pt x="4" y="4"/>
                    <a:pt x="7" y="12"/>
                    <a:pt x="10" y="15"/>
                  </a:cubicBezTo>
                  <a:cubicBezTo>
                    <a:pt x="13" y="18"/>
                    <a:pt x="15" y="21"/>
                    <a:pt x="18" y="23"/>
                  </a:cubicBezTo>
                  <a:cubicBezTo>
                    <a:pt x="19" y="21"/>
                    <a:pt x="19" y="20"/>
                    <a:pt x="19" y="18"/>
                  </a:cubicBezTo>
                  <a:cubicBezTo>
                    <a:pt x="19" y="15"/>
                    <a:pt x="20" y="15"/>
                    <a:pt x="18" y="12"/>
                  </a:cubicBezTo>
                  <a:cubicBezTo>
                    <a:pt x="14" y="8"/>
                    <a:pt x="10"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1221"/>
            <p:cNvSpPr/>
            <p:nvPr/>
          </p:nvSpPr>
          <p:spPr bwMode="auto">
            <a:xfrm>
              <a:off x="5421694" y="5059269"/>
              <a:ext cx="9396" cy="12081"/>
            </a:xfrm>
            <a:custGeom>
              <a:gdLst>
                <a:gd name="T0" fmla="*/ 3 w 3"/>
                <a:gd name="T1" fmla="*/ 0 h 4"/>
                <a:gd name="T2" fmla="*/ 1 w 3"/>
                <a:gd name="T3" fmla="*/ 4 h 4"/>
                <a:gd name="T4" fmla="*/ 3 w 3"/>
                <a:gd name="T5" fmla="*/ 0 h 4"/>
              </a:gdLst>
              <a:cxnLst>
                <a:cxn ang="0">
                  <a:pos x="T0" y="T1"/>
                </a:cxn>
                <a:cxn ang="0">
                  <a:pos x="T2" y="T3"/>
                </a:cxn>
                <a:cxn ang="0">
                  <a:pos x="T4" y="T5"/>
                </a:cxn>
              </a:cxnLst>
              <a:rect l="0" t="0" r="r" b="b"/>
              <a:pathLst>
                <a:path w="3" h="4">
                  <a:moveTo>
                    <a:pt x="3" y="0"/>
                  </a:moveTo>
                  <a:cubicBezTo>
                    <a:pt x="1" y="1"/>
                    <a:pt x="0" y="2"/>
                    <a:pt x="1" y="4"/>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1222"/>
            <p:cNvSpPr/>
            <p:nvPr/>
          </p:nvSpPr>
          <p:spPr bwMode="auto">
            <a:xfrm>
              <a:off x="4895498" y="4931747"/>
              <a:ext cx="51009" cy="44297"/>
            </a:xfrm>
            <a:custGeom>
              <a:gdLst>
                <a:gd name="T0" fmla="*/ 7 w 16"/>
                <a:gd name="T1" fmla="*/ 0 h 14"/>
                <a:gd name="T2" fmla="*/ 4 w 16"/>
                <a:gd name="T3" fmla="*/ 3 h 14"/>
                <a:gd name="T4" fmla="*/ 4 w 16"/>
                <a:gd name="T5" fmla="*/ 3 h 14"/>
                <a:gd name="T6" fmla="*/ 4 w 16"/>
                <a:gd name="T7" fmla="*/ 2 h 14"/>
                <a:gd name="T8" fmla="*/ 3 w 16"/>
                <a:gd name="T9" fmla="*/ 1 h 14"/>
                <a:gd name="T10" fmla="*/ 3 w 16"/>
                <a:gd name="T11" fmla="*/ 1 h 14"/>
                <a:gd name="T12" fmla="*/ 3 w 16"/>
                <a:gd name="T13" fmla="*/ 7 h 14"/>
                <a:gd name="T14" fmla="*/ 5 w 16"/>
                <a:gd name="T15" fmla="*/ 9 h 14"/>
                <a:gd name="T16" fmla="*/ 5 w 16"/>
                <a:gd name="T17" fmla="*/ 10 h 14"/>
                <a:gd name="T18" fmla="*/ 5 w 16"/>
                <a:gd name="T19" fmla="*/ 12 h 14"/>
                <a:gd name="T20" fmla="*/ 7 w 16"/>
                <a:gd name="T21" fmla="*/ 12 h 14"/>
                <a:gd name="T22" fmla="*/ 9 w 16"/>
                <a:gd name="T23" fmla="*/ 11 h 14"/>
                <a:gd name="T24" fmla="*/ 12 w 16"/>
                <a:gd name="T25" fmla="*/ 14 h 14"/>
                <a:gd name="T26" fmla="*/ 12 w 16"/>
                <a:gd name="T27" fmla="*/ 14 h 14"/>
                <a:gd name="T28" fmla="*/ 15 w 16"/>
                <a:gd name="T29" fmla="*/ 12 h 14"/>
                <a:gd name="T30" fmla="*/ 11 w 16"/>
                <a:gd name="T31" fmla="*/ 10 h 14"/>
                <a:gd name="T32" fmla="*/ 10 w 16"/>
                <a:gd name="T33" fmla="*/ 10 h 14"/>
                <a:gd name="T34" fmla="*/ 10 w 16"/>
                <a:gd name="T35" fmla="*/ 10 h 14"/>
                <a:gd name="T36" fmla="*/ 10 w 16"/>
                <a:gd name="T37" fmla="*/ 10 h 14"/>
                <a:gd name="T38" fmla="*/ 10 w 16"/>
                <a:gd name="T39" fmla="*/ 9 h 14"/>
                <a:gd name="T40" fmla="*/ 7 w 16"/>
                <a:gd name="T41"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4">
                  <a:moveTo>
                    <a:pt x="7" y="0"/>
                  </a:moveTo>
                  <a:cubicBezTo>
                    <a:pt x="6" y="1"/>
                    <a:pt x="5" y="3"/>
                    <a:pt x="4" y="3"/>
                  </a:cubicBezTo>
                  <a:cubicBezTo>
                    <a:pt x="4" y="3"/>
                    <a:pt x="4" y="3"/>
                    <a:pt x="4" y="3"/>
                  </a:cubicBezTo>
                  <a:cubicBezTo>
                    <a:pt x="4" y="3"/>
                    <a:pt x="4" y="2"/>
                    <a:pt x="4" y="2"/>
                  </a:cubicBezTo>
                  <a:cubicBezTo>
                    <a:pt x="3" y="1"/>
                    <a:pt x="3" y="1"/>
                    <a:pt x="3" y="1"/>
                  </a:cubicBezTo>
                  <a:cubicBezTo>
                    <a:pt x="3" y="1"/>
                    <a:pt x="3" y="1"/>
                    <a:pt x="3" y="1"/>
                  </a:cubicBezTo>
                  <a:cubicBezTo>
                    <a:pt x="0" y="1"/>
                    <a:pt x="2" y="6"/>
                    <a:pt x="3" y="7"/>
                  </a:cubicBezTo>
                  <a:cubicBezTo>
                    <a:pt x="3" y="7"/>
                    <a:pt x="5" y="8"/>
                    <a:pt x="5" y="9"/>
                  </a:cubicBezTo>
                  <a:cubicBezTo>
                    <a:pt x="5" y="9"/>
                    <a:pt x="4" y="9"/>
                    <a:pt x="5" y="10"/>
                  </a:cubicBezTo>
                  <a:cubicBezTo>
                    <a:pt x="5" y="11"/>
                    <a:pt x="4" y="12"/>
                    <a:pt x="5" y="12"/>
                  </a:cubicBezTo>
                  <a:cubicBezTo>
                    <a:pt x="6" y="12"/>
                    <a:pt x="6" y="12"/>
                    <a:pt x="7" y="12"/>
                  </a:cubicBezTo>
                  <a:cubicBezTo>
                    <a:pt x="8" y="11"/>
                    <a:pt x="8" y="11"/>
                    <a:pt x="9" y="11"/>
                  </a:cubicBezTo>
                  <a:cubicBezTo>
                    <a:pt x="10" y="11"/>
                    <a:pt x="9" y="14"/>
                    <a:pt x="12" y="14"/>
                  </a:cubicBezTo>
                  <a:cubicBezTo>
                    <a:pt x="12" y="14"/>
                    <a:pt x="12" y="14"/>
                    <a:pt x="12" y="14"/>
                  </a:cubicBezTo>
                  <a:cubicBezTo>
                    <a:pt x="13" y="14"/>
                    <a:pt x="14" y="13"/>
                    <a:pt x="15" y="12"/>
                  </a:cubicBezTo>
                  <a:cubicBezTo>
                    <a:pt x="16" y="11"/>
                    <a:pt x="11" y="10"/>
                    <a:pt x="11" y="10"/>
                  </a:cubicBezTo>
                  <a:cubicBezTo>
                    <a:pt x="11" y="10"/>
                    <a:pt x="10" y="10"/>
                    <a:pt x="10" y="10"/>
                  </a:cubicBezTo>
                  <a:cubicBezTo>
                    <a:pt x="10" y="10"/>
                    <a:pt x="10" y="10"/>
                    <a:pt x="10" y="10"/>
                  </a:cubicBezTo>
                  <a:cubicBezTo>
                    <a:pt x="10" y="10"/>
                    <a:pt x="10" y="10"/>
                    <a:pt x="10" y="10"/>
                  </a:cubicBezTo>
                  <a:cubicBezTo>
                    <a:pt x="10" y="10"/>
                    <a:pt x="10" y="10"/>
                    <a:pt x="10" y="9"/>
                  </a:cubicBezTo>
                  <a:cubicBezTo>
                    <a:pt x="9" y="5"/>
                    <a:pt x="9"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1223"/>
            <p:cNvSpPr/>
            <p:nvPr/>
          </p:nvSpPr>
          <p:spPr bwMode="auto">
            <a:xfrm>
              <a:off x="3800152" y="5338475"/>
              <a:ext cx="10739" cy="9396"/>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1" y="0"/>
                    <a:pt x="0" y="1"/>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1224"/>
            <p:cNvSpPr/>
            <p:nvPr/>
          </p:nvSpPr>
          <p:spPr bwMode="auto">
            <a:xfrm>
              <a:off x="2503456" y="4487433"/>
              <a:ext cx="812113" cy="867150"/>
            </a:xfrm>
            <a:custGeom>
              <a:gdLst>
                <a:gd name="T0" fmla="*/ 1 w 256"/>
                <a:gd name="T1" fmla="*/ 5 h 273"/>
                <a:gd name="T2" fmla="*/ 44 w 256"/>
                <a:gd name="T3" fmla="*/ 52 h 273"/>
                <a:gd name="T4" fmla="*/ 57 w 256"/>
                <a:gd name="T5" fmla="*/ 71 h 273"/>
                <a:gd name="T6" fmla="*/ 73 w 256"/>
                <a:gd name="T7" fmla="*/ 85 h 273"/>
                <a:gd name="T8" fmla="*/ 84 w 256"/>
                <a:gd name="T9" fmla="*/ 95 h 273"/>
                <a:gd name="T10" fmla="*/ 100 w 256"/>
                <a:gd name="T11" fmla="*/ 129 h 273"/>
                <a:gd name="T12" fmla="*/ 131 w 256"/>
                <a:gd name="T13" fmla="*/ 175 h 273"/>
                <a:gd name="T14" fmla="*/ 165 w 256"/>
                <a:gd name="T15" fmla="*/ 221 h 273"/>
                <a:gd name="T16" fmla="*/ 193 w 256"/>
                <a:gd name="T17" fmla="*/ 245 h 273"/>
                <a:gd name="T18" fmla="*/ 222 w 256"/>
                <a:gd name="T19" fmla="*/ 273 h 273"/>
                <a:gd name="T20" fmla="*/ 223 w 256"/>
                <a:gd name="T21" fmla="*/ 263 h 273"/>
                <a:gd name="T22" fmla="*/ 233 w 256"/>
                <a:gd name="T23" fmla="*/ 268 h 273"/>
                <a:gd name="T24" fmla="*/ 239 w 256"/>
                <a:gd name="T25" fmla="*/ 263 h 273"/>
                <a:gd name="T26" fmla="*/ 250 w 256"/>
                <a:gd name="T27" fmla="*/ 236 h 273"/>
                <a:gd name="T28" fmla="*/ 251 w 256"/>
                <a:gd name="T29" fmla="*/ 214 h 273"/>
                <a:gd name="T30" fmla="*/ 236 w 256"/>
                <a:gd name="T31" fmla="*/ 188 h 273"/>
                <a:gd name="T32" fmla="*/ 226 w 256"/>
                <a:gd name="T33" fmla="*/ 189 h 273"/>
                <a:gd name="T34" fmla="*/ 221 w 256"/>
                <a:gd name="T35" fmla="*/ 189 h 273"/>
                <a:gd name="T36" fmla="*/ 219 w 256"/>
                <a:gd name="T37" fmla="*/ 177 h 273"/>
                <a:gd name="T38" fmla="*/ 214 w 256"/>
                <a:gd name="T39" fmla="*/ 158 h 273"/>
                <a:gd name="T40" fmla="*/ 211 w 256"/>
                <a:gd name="T41" fmla="*/ 158 h 273"/>
                <a:gd name="T42" fmla="*/ 192 w 256"/>
                <a:gd name="T43" fmla="*/ 144 h 273"/>
                <a:gd name="T44" fmla="*/ 192 w 256"/>
                <a:gd name="T45" fmla="*/ 142 h 273"/>
                <a:gd name="T46" fmla="*/ 190 w 256"/>
                <a:gd name="T47" fmla="*/ 139 h 273"/>
                <a:gd name="T48" fmla="*/ 198 w 256"/>
                <a:gd name="T49" fmla="*/ 134 h 273"/>
                <a:gd name="T50" fmla="*/ 198 w 256"/>
                <a:gd name="T51" fmla="*/ 126 h 273"/>
                <a:gd name="T52" fmla="*/ 183 w 256"/>
                <a:gd name="T53" fmla="*/ 125 h 273"/>
                <a:gd name="T54" fmla="*/ 174 w 256"/>
                <a:gd name="T55" fmla="*/ 128 h 273"/>
                <a:gd name="T56" fmla="*/ 185 w 256"/>
                <a:gd name="T57" fmla="*/ 122 h 273"/>
                <a:gd name="T58" fmla="*/ 169 w 256"/>
                <a:gd name="T59" fmla="*/ 113 h 273"/>
                <a:gd name="T60" fmla="*/ 148 w 256"/>
                <a:gd name="T61" fmla="*/ 93 h 273"/>
                <a:gd name="T62" fmla="*/ 133 w 256"/>
                <a:gd name="T63" fmla="*/ 81 h 273"/>
                <a:gd name="T64" fmla="*/ 135 w 256"/>
                <a:gd name="T65" fmla="*/ 90 h 273"/>
                <a:gd name="T66" fmla="*/ 123 w 256"/>
                <a:gd name="T67" fmla="*/ 79 h 273"/>
                <a:gd name="T68" fmla="*/ 113 w 256"/>
                <a:gd name="T69" fmla="*/ 71 h 273"/>
                <a:gd name="T70" fmla="*/ 88 w 256"/>
                <a:gd name="T71" fmla="*/ 47 h 273"/>
                <a:gd name="T72" fmla="*/ 75 w 256"/>
                <a:gd name="T73" fmla="*/ 49 h 273"/>
                <a:gd name="T74" fmla="*/ 75 w 256"/>
                <a:gd name="T75" fmla="*/ 38 h 273"/>
                <a:gd name="T76" fmla="*/ 72 w 256"/>
                <a:gd name="T77" fmla="*/ 31 h 273"/>
                <a:gd name="T78" fmla="*/ 55 w 256"/>
                <a:gd name="T79" fmla="*/ 10 h 273"/>
                <a:gd name="T80" fmla="*/ 47 w 256"/>
                <a:gd name="T81" fmla="*/ 11 h 273"/>
                <a:gd name="T82" fmla="*/ 31 w 256"/>
                <a:gd name="T83" fmla="*/ 10 h 2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73">
                  <a:moveTo>
                    <a:pt x="9" y="0"/>
                  </a:moveTo>
                  <a:cubicBezTo>
                    <a:pt x="6" y="0"/>
                    <a:pt x="5" y="0"/>
                    <a:pt x="2" y="2"/>
                  </a:cubicBezTo>
                  <a:cubicBezTo>
                    <a:pt x="0" y="3"/>
                    <a:pt x="0" y="3"/>
                    <a:pt x="1" y="5"/>
                  </a:cubicBezTo>
                  <a:cubicBezTo>
                    <a:pt x="2" y="10"/>
                    <a:pt x="3" y="13"/>
                    <a:pt x="6" y="17"/>
                  </a:cubicBezTo>
                  <a:cubicBezTo>
                    <a:pt x="14" y="27"/>
                    <a:pt x="23" y="39"/>
                    <a:pt x="35" y="46"/>
                  </a:cubicBezTo>
                  <a:cubicBezTo>
                    <a:pt x="38" y="48"/>
                    <a:pt x="42" y="49"/>
                    <a:pt x="44" y="52"/>
                  </a:cubicBezTo>
                  <a:cubicBezTo>
                    <a:pt x="46" y="55"/>
                    <a:pt x="49" y="58"/>
                    <a:pt x="52" y="61"/>
                  </a:cubicBezTo>
                  <a:cubicBezTo>
                    <a:pt x="53" y="63"/>
                    <a:pt x="55" y="64"/>
                    <a:pt x="56" y="65"/>
                  </a:cubicBezTo>
                  <a:cubicBezTo>
                    <a:pt x="57" y="67"/>
                    <a:pt x="57" y="69"/>
                    <a:pt x="57" y="71"/>
                  </a:cubicBezTo>
                  <a:cubicBezTo>
                    <a:pt x="58" y="73"/>
                    <a:pt x="58" y="77"/>
                    <a:pt x="60" y="79"/>
                  </a:cubicBezTo>
                  <a:cubicBezTo>
                    <a:pt x="61" y="80"/>
                    <a:pt x="63" y="80"/>
                    <a:pt x="64" y="81"/>
                  </a:cubicBezTo>
                  <a:cubicBezTo>
                    <a:pt x="68" y="81"/>
                    <a:pt x="70" y="83"/>
                    <a:pt x="73" y="85"/>
                  </a:cubicBezTo>
                  <a:cubicBezTo>
                    <a:pt x="77" y="87"/>
                    <a:pt x="79" y="89"/>
                    <a:pt x="83" y="92"/>
                  </a:cubicBezTo>
                  <a:cubicBezTo>
                    <a:pt x="83" y="91"/>
                    <a:pt x="83" y="91"/>
                    <a:pt x="83" y="91"/>
                  </a:cubicBezTo>
                  <a:cubicBezTo>
                    <a:pt x="84" y="92"/>
                    <a:pt x="84" y="93"/>
                    <a:pt x="84" y="95"/>
                  </a:cubicBezTo>
                  <a:cubicBezTo>
                    <a:pt x="84" y="99"/>
                    <a:pt x="86" y="102"/>
                    <a:pt x="87" y="106"/>
                  </a:cubicBezTo>
                  <a:cubicBezTo>
                    <a:pt x="88" y="112"/>
                    <a:pt x="90" y="118"/>
                    <a:pt x="92" y="124"/>
                  </a:cubicBezTo>
                  <a:cubicBezTo>
                    <a:pt x="93" y="128"/>
                    <a:pt x="95" y="128"/>
                    <a:pt x="100" y="129"/>
                  </a:cubicBezTo>
                  <a:cubicBezTo>
                    <a:pt x="103" y="130"/>
                    <a:pt x="104" y="131"/>
                    <a:pt x="106" y="135"/>
                  </a:cubicBezTo>
                  <a:cubicBezTo>
                    <a:pt x="110" y="142"/>
                    <a:pt x="120" y="149"/>
                    <a:pt x="121" y="157"/>
                  </a:cubicBezTo>
                  <a:cubicBezTo>
                    <a:pt x="122" y="163"/>
                    <a:pt x="127" y="169"/>
                    <a:pt x="131" y="175"/>
                  </a:cubicBezTo>
                  <a:cubicBezTo>
                    <a:pt x="134" y="179"/>
                    <a:pt x="135" y="185"/>
                    <a:pt x="137" y="190"/>
                  </a:cubicBezTo>
                  <a:cubicBezTo>
                    <a:pt x="138" y="196"/>
                    <a:pt x="146" y="202"/>
                    <a:pt x="149" y="207"/>
                  </a:cubicBezTo>
                  <a:cubicBezTo>
                    <a:pt x="154" y="212"/>
                    <a:pt x="160" y="216"/>
                    <a:pt x="165" y="221"/>
                  </a:cubicBezTo>
                  <a:cubicBezTo>
                    <a:pt x="167" y="222"/>
                    <a:pt x="166" y="226"/>
                    <a:pt x="167" y="227"/>
                  </a:cubicBezTo>
                  <a:cubicBezTo>
                    <a:pt x="171" y="229"/>
                    <a:pt x="174" y="232"/>
                    <a:pt x="177" y="234"/>
                  </a:cubicBezTo>
                  <a:cubicBezTo>
                    <a:pt x="182" y="238"/>
                    <a:pt x="188" y="242"/>
                    <a:pt x="193" y="245"/>
                  </a:cubicBezTo>
                  <a:cubicBezTo>
                    <a:pt x="198" y="249"/>
                    <a:pt x="202" y="254"/>
                    <a:pt x="207" y="258"/>
                  </a:cubicBezTo>
                  <a:cubicBezTo>
                    <a:pt x="210" y="262"/>
                    <a:pt x="214" y="266"/>
                    <a:pt x="217" y="269"/>
                  </a:cubicBezTo>
                  <a:cubicBezTo>
                    <a:pt x="218" y="271"/>
                    <a:pt x="220" y="273"/>
                    <a:pt x="222" y="273"/>
                  </a:cubicBezTo>
                  <a:cubicBezTo>
                    <a:pt x="222" y="273"/>
                    <a:pt x="222" y="273"/>
                    <a:pt x="222" y="273"/>
                  </a:cubicBezTo>
                  <a:cubicBezTo>
                    <a:pt x="222" y="271"/>
                    <a:pt x="219" y="263"/>
                    <a:pt x="222" y="263"/>
                  </a:cubicBezTo>
                  <a:cubicBezTo>
                    <a:pt x="222" y="263"/>
                    <a:pt x="223" y="263"/>
                    <a:pt x="223" y="263"/>
                  </a:cubicBezTo>
                  <a:cubicBezTo>
                    <a:pt x="224" y="263"/>
                    <a:pt x="225" y="265"/>
                    <a:pt x="226" y="265"/>
                  </a:cubicBezTo>
                  <a:cubicBezTo>
                    <a:pt x="227" y="266"/>
                    <a:pt x="229" y="267"/>
                    <a:pt x="230" y="267"/>
                  </a:cubicBezTo>
                  <a:cubicBezTo>
                    <a:pt x="231" y="268"/>
                    <a:pt x="232" y="268"/>
                    <a:pt x="233" y="268"/>
                  </a:cubicBezTo>
                  <a:cubicBezTo>
                    <a:pt x="234" y="268"/>
                    <a:pt x="234" y="268"/>
                    <a:pt x="235" y="267"/>
                  </a:cubicBezTo>
                  <a:cubicBezTo>
                    <a:pt x="235" y="266"/>
                    <a:pt x="236" y="263"/>
                    <a:pt x="238" y="263"/>
                  </a:cubicBezTo>
                  <a:cubicBezTo>
                    <a:pt x="238" y="263"/>
                    <a:pt x="238" y="263"/>
                    <a:pt x="239" y="263"/>
                  </a:cubicBezTo>
                  <a:cubicBezTo>
                    <a:pt x="241" y="263"/>
                    <a:pt x="245" y="270"/>
                    <a:pt x="248" y="272"/>
                  </a:cubicBezTo>
                  <a:cubicBezTo>
                    <a:pt x="249" y="270"/>
                    <a:pt x="249" y="269"/>
                    <a:pt x="250" y="267"/>
                  </a:cubicBezTo>
                  <a:cubicBezTo>
                    <a:pt x="251" y="257"/>
                    <a:pt x="251" y="246"/>
                    <a:pt x="250" y="236"/>
                  </a:cubicBezTo>
                  <a:cubicBezTo>
                    <a:pt x="250" y="232"/>
                    <a:pt x="250" y="230"/>
                    <a:pt x="252" y="226"/>
                  </a:cubicBezTo>
                  <a:cubicBezTo>
                    <a:pt x="252" y="225"/>
                    <a:pt x="253" y="224"/>
                    <a:pt x="253" y="223"/>
                  </a:cubicBezTo>
                  <a:cubicBezTo>
                    <a:pt x="252" y="219"/>
                    <a:pt x="249" y="219"/>
                    <a:pt x="251" y="214"/>
                  </a:cubicBezTo>
                  <a:cubicBezTo>
                    <a:pt x="252" y="213"/>
                    <a:pt x="256" y="210"/>
                    <a:pt x="256" y="210"/>
                  </a:cubicBezTo>
                  <a:cubicBezTo>
                    <a:pt x="255" y="202"/>
                    <a:pt x="250" y="197"/>
                    <a:pt x="246" y="191"/>
                  </a:cubicBezTo>
                  <a:cubicBezTo>
                    <a:pt x="244" y="188"/>
                    <a:pt x="239" y="189"/>
                    <a:pt x="236" y="188"/>
                  </a:cubicBezTo>
                  <a:cubicBezTo>
                    <a:pt x="234" y="188"/>
                    <a:pt x="231" y="187"/>
                    <a:pt x="228" y="187"/>
                  </a:cubicBezTo>
                  <a:cubicBezTo>
                    <a:pt x="228" y="187"/>
                    <a:pt x="228" y="187"/>
                    <a:pt x="228" y="187"/>
                  </a:cubicBezTo>
                  <a:cubicBezTo>
                    <a:pt x="227" y="187"/>
                    <a:pt x="226" y="189"/>
                    <a:pt x="226" y="189"/>
                  </a:cubicBezTo>
                  <a:cubicBezTo>
                    <a:pt x="225" y="190"/>
                    <a:pt x="225" y="191"/>
                    <a:pt x="225" y="192"/>
                  </a:cubicBezTo>
                  <a:cubicBezTo>
                    <a:pt x="224" y="195"/>
                    <a:pt x="222" y="196"/>
                    <a:pt x="220" y="198"/>
                  </a:cubicBezTo>
                  <a:cubicBezTo>
                    <a:pt x="220" y="193"/>
                    <a:pt x="227" y="195"/>
                    <a:pt x="221" y="189"/>
                  </a:cubicBezTo>
                  <a:cubicBezTo>
                    <a:pt x="223" y="188"/>
                    <a:pt x="224" y="188"/>
                    <a:pt x="225" y="187"/>
                  </a:cubicBezTo>
                  <a:cubicBezTo>
                    <a:pt x="229" y="183"/>
                    <a:pt x="222" y="183"/>
                    <a:pt x="221" y="180"/>
                  </a:cubicBezTo>
                  <a:cubicBezTo>
                    <a:pt x="219" y="179"/>
                    <a:pt x="219" y="179"/>
                    <a:pt x="219" y="177"/>
                  </a:cubicBezTo>
                  <a:cubicBezTo>
                    <a:pt x="218" y="174"/>
                    <a:pt x="219" y="173"/>
                    <a:pt x="219" y="171"/>
                  </a:cubicBezTo>
                  <a:cubicBezTo>
                    <a:pt x="218" y="167"/>
                    <a:pt x="217" y="164"/>
                    <a:pt x="216" y="160"/>
                  </a:cubicBezTo>
                  <a:cubicBezTo>
                    <a:pt x="216" y="158"/>
                    <a:pt x="215" y="158"/>
                    <a:pt x="214" y="158"/>
                  </a:cubicBezTo>
                  <a:cubicBezTo>
                    <a:pt x="214" y="158"/>
                    <a:pt x="213" y="158"/>
                    <a:pt x="213" y="158"/>
                  </a:cubicBezTo>
                  <a:cubicBezTo>
                    <a:pt x="213" y="158"/>
                    <a:pt x="212" y="158"/>
                    <a:pt x="211" y="158"/>
                  </a:cubicBezTo>
                  <a:cubicBezTo>
                    <a:pt x="211" y="158"/>
                    <a:pt x="211" y="158"/>
                    <a:pt x="211" y="158"/>
                  </a:cubicBezTo>
                  <a:cubicBezTo>
                    <a:pt x="209" y="158"/>
                    <a:pt x="207" y="156"/>
                    <a:pt x="206" y="156"/>
                  </a:cubicBezTo>
                  <a:cubicBezTo>
                    <a:pt x="204" y="156"/>
                    <a:pt x="202" y="156"/>
                    <a:pt x="200" y="155"/>
                  </a:cubicBezTo>
                  <a:cubicBezTo>
                    <a:pt x="194" y="153"/>
                    <a:pt x="193" y="149"/>
                    <a:pt x="192" y="144"/>
                  </a:cubicBezTo>
                  <a:cubicBezTo>
                    <a:pt x="192" y="145"/>
                    <a:pt x="193" y="145"/>
                    <a:pt x="194" y="145"/>
                  </a:cubicBezTo>
                  <a:cubicBezTo>
                    <a:pt x="195" y="145"/>
                    <a:pt x="196" y="144"/>
                    <a:pt x="197" y="143"/>
                  </a:cubicBezTo>
                  <a:cubicBezTo>
                    <a:pt x="196" y="142"/>
                    <a:pt x="194" y="142"/>
                    <a:pt x="192" y="142"/>
                  </a:cubicBezTo>
                  <a:cubicBezTo>
                    <a:pt x="193" y="141"/>
                    <a:pt x="194" y="139"/>
                    <a:pt x="195" y="138"/>
                  </a:cubicBezTo>
                  <a:cubicBezTo>
                    <a:pt x="194" y="138"/>
                    <a:pt x="192" y="139"/>
                    <a:pt x="191" y="139"/>
                  </a:cubicBezTo>
                  <a:cubicBezTo>
                    <a:pt x="191" y="139"/>
                    <a:pt x="190" y="139"/>
                    <a:pt x="190" y="139"/>
                  </a:cubicBezTo>
                  <a:cubicBezTo>
                    <a:pt x="193" y="138"/>
                    <a:pt x="193" y="138"/>
                    <a:pt x="196" y="135"/>
                  </a:cubicBezTo>
                  <a:cubicBezTo>
                    <a:pt x="196" y="135"/>
                    <a:pt x="197" y="134"/>
                    <a:pt x="197" y="133"/>
                  </a:cubicBezTo>
                  <a:cubicBezTo>
                    <a:pt x="198" y="134"/>
                    <a:pt x="198" y="134"/>
                    <a:pt x="198" y="134"/>
                  </a:cubicBezTo>
                  <a:cubicBezTo>
                    <a:pt x="199" y="134"/>
                    <a:pt x="201" y="133"/>
                    <a:pt x="203" y="133"/>
                  </a:cubicBezTo>
                  <a:cubicBezTo>
                    <a:pt x="202" y="132"/>
                    <a:pt x="201" y="125"/>
                    <a:pt x="199" y="125"/>
                  </a:cubicBezTo>
                  <a:cubicBezTo>
                    <a:pt x="199" y="125"/>
                    <a:pt x="198" y="125"/>
                    <a:pt x="198" y="126"/>
                  </a:cubicBezTo>
                  <a:cubicBezTo>
                    <a:pt x="198" y="124"/>
                    <a:pt x="195" y="122"/>
                    <a:pt x="194" y="121"/>
                  </a:cubicBezTo>
                  <a:cubicBezTo>
                    <a:pt x="193" y="121"/>
                    <a:pt x="192" y="121"/>
                    <a:pt x="192" y="121"/>
                  </a:cubicBezTo>
                  <a:cubicBezTo>
                    <a:pt x="189" y="121"/>
                    <a:pt x="186" y="123"/>
                    <a:pt x="183" y="125"/>
                  </a:cubicBezTo>
                  <a:cubicBezTo>
                    <a:pt x="180" y="127"/>
                    <a:pt x="177" y="129"/>
                    <a:pt x="174" y="129"/>
                  </a:cubicBezTo>
                  <a:cubicBezTo>
                    <a:pt x="173" y="129"/>
                    <a:pt x="172" y="128"/>
                    <a:pt x="170" y="127"/>
                  </a:cubicBezTo>
                  <a:cubicBezTo>
                    <a:pt x="172" y="128"/>
                    <a:pt x="173" y="128"/>
                    <a:pt x="174" y="128"/>
                  </a:cubicBezTo>
                  <a:cubicBezTo>
                    <a:pt x="174" y="128"/>
                    <a:pt x="175" y="128"/>
                    <a:pt x="177" y="127"/>
                  </a:cubicBezTo>
                  <a:cubicBezTo>
                    <a:pt x="178" y="126"/>
                    <a:pt x="180" y="126"/>
                    <a:pt x="181" y="125"/>
                  </a:cubicBezTo>
                  <a:cubicBezTo>
                    <a:pt x="182" y="124"/>
                    <a:pt x="185" y="123"/>
                    <a:pt x="185" y="122"/>
                  </a:cubicBezTo>
                  <a:cubicBezTo>
                    <a:pt x="186" y="121"/>
                    <a:pt x="183" y="117"/>
                    <a:pt x="182" y="117"/>
                  </a:cubicBezTo>
                  <a:cubicBezTo>
                    <a:pt x="179" y="116"/>
                    <a:pt x="176" y="116"/>
                    <a:pt x="173" y="115"/>
                  </a:cubicBezTo>
                  <a:cubicBezTo>
                    <a:pt x="171" y="115"/>
                    <a:pt x="170" y="114"/>
                    <a:pt x="169" y="113"/>
                  </a:cubicBezTo>
                  <a:cubicBezTo>
                    <a:pt x="166" y="110"/>
                    <a:pt x="165" y="109"/>
                    <a:pt x="164" y="105"/>
                  </a:cubicBezTo>
                  <a:cubicBezTo>
                    <a:pt x="163" y="102"/>
                    <a:pt x="159" y="99"/>
                    <a:pt x="157" y="96"/>
                  </a:cubicBezTo>
                  <a:cubicBezTo>
                    <a:pt x="155" y="94"/>
                    <a:pt x="151" y="94"/>
                    <a:pt x="148" y="93"/>
                  </a:cubicBezTo>
                  <a:cubicBezTo>
                    <a:pt x="145" y="92"/>
                    <a:pt x="146" y="92"/>
                    <a:pt x="145" y="90"/>
                  </a:cubicBezTo>
                  <a:cubicBezTo>
                    <a:pt x="144" y="89"/>
                    <a:pt x="143" y="87"/>
                    <a:pt x="142" y="85"/>
                  </a:cubicBezTo>
                  <a:cubicBezTo>
                    <a:pt x="139" y="81"/>
                    <a:pt x="138" y="82"/>
                    <a:pt x="133" y="81"/>
                  </a:cubicBezTo>
                  <a:cubicBezTo>
                    <a:pt x="133" y="80"/>
                    <a:pt x="133" y="80"/>
                    <a:pt x="133" y="80"/>
                  </a:cubicBezTo>
                  <a:cubicBezTo>
                    <a:pt x="131" y="80"/>
                    <a:pt x="131" y="82"/>
                    <a:pt x="132" y="83"/>
                  </a:cubicBezTo>
                  <a:cubicBezTo>
                    <a:pt x="133" y="86"/>
                    <a:pt x="135" y="86"/>
                    <a:pt x="135" y="90"/>
                  </a:cubicBezTo>
                  <a:cubicBezTo>
                    <a:pt x="134" y="89"/>
                    <a:pt x="134" y="87"/>
                    <a:pt x="133" y="86"/>
                  </a:cubicBezTo>
                  <a:cubicBezTo>
                    <a:pt x="131" y="84"/>
                    <a:pt x="128" y="84"/>
                    <a:pt x="126" y="82"/>
                  </a:cubicBezTo>
                  <a:cubicBezTo>
                    <a:pt x="125" y="81"/>
                    <a:pt x="123" y="80"/>
                    <a:pt x="123" y="79"/>
                  </a:cubicBezTo>
                  <a:cubicBezTo>
                    <a:pt x="120" y="76"/>
                    <a:pt x="122" y="72"/>
                    <a:pt x="116" y="72"/>
                  </a:cubicBezTo>
                  <a:cubicBezTo>
                    <a:pt x="116" y="72"/>
                    <a:pt x="116" y="73"/>
                    <a:pt x="116" y="74"/>
                  </a:cubicBezTo>
                  <a:cubicBezTo>
                    <a:pt x="115" y="73"/>
                    <a:pt x="113" y="72"/>
                    <a:pt x="113" y="71"/>
                  </a:cubicBezTo>
                  <a:cubicBezTo>
                    <a:pt x="112" y="67"/>
                    <a:pt x="114" y="66"/>
                    <a:pt x="110" y="64"/>
                  </a:cubicBezTo>
                  <a:cubicBezTo>
                    <a:pt x="105" y="59"/>
                    <a:pt x="99" y="53"/>
                    <a:pt x="93" y="50"/>
                  </a:cubicBezTo>
                  <a:cubicBezTo>
                    <a:pt x="92" y="49"/>
                    <a:pt x="90" y="48"/>
                    <a:pt x="88" y="47"/>
                  </a:cubicBezTo>
                  <a:cubicBezTo>
                    <a:pt x="88" y="48"/>
                    <a:pt x="88" y="48"/>
                    <a:pt x="88" y="49"/>
                  </a:cubicBezTo>
                  <a:cubicBezTo>
                    <a:pt x="88" y="52"/>
                    <a:pt x="85" y="55"/>
                    <a:pt x="82" y="55"/>
                  </a:cubicBezTo>
                  <a:cubicBezTo>
                    <a:pt x="78" y="55"/>
                    <a:pt x="75" y="52"/>
                    <a:pt x="75" y="49"/>
                  </a:cubicBezTo>
                  <a:cubicBezTo>
                    <a:pt x="75" y="45"/>
                    <a:pt x="78" y="42"/>
                    <a:pt x="82" y="42"/>
                  </a:cubicBezTo>
                  <a:cubicBezTo>
                    <a:pt x="82" y="42"/>
                    <a:pt x="82" y="42"/>
                    <a:pt x="82" y="42"/>
                  </a:cubicBezTo>
                  <a:cubicBezTo>
                    <a:pt x="80" y="40"/>
                    <a:pt x="79" y="39"/>
                    <a:pt x="75" y="38"/>
                  </a:cubicBezTo>
                  <a:cubicBezTo>
                    <a:pt x="74" y="37"/>
                    <a:pt x="72" y="36"/>
                    <a:pt x="71" y="36"/>
                  </a:cubicBezTo>
                  <a:cubicBezTo>
                    <a:pt x="71" y="36"/>
                    <a:pt x="70" y="36"/>
                    <a:pt x="70" y="36"/>
                  </a:cubicBezTo>
                  <a:cubicBezTo>
                    <a:pt x="71" y="35"/>
                    <a:pt x="73" y="33"/>
                    <a:pt x="72" y="31"/>
                  </a:cubicBezTo>
                  <a:cubicBezTo>
                    <a:pt x="70" y="30"/>
                    <a:pt x="69" y="27"/>
                    <a:pt x="67" y="26"/>
                  </a:cubicBezTo>
                  <a:cubicBezTo>
                    <a:pt x="64" y="26"/>
                    <a:pt x="66" y="22"/>
                    <a:pt x="65" y="20"/>
                  </a:cubicBezTo>
                  <a:cubicBezTo>
                    <a:pt x="63" y="16"/>
                    <a:pt x="58" y="13"/>
                    <a:pt x="55" y="10"/>
                  </a:cubicBezTo>
                  <a:cubicBezTo>
                    <a:pt x="55" y="10"/>
                    <a:pt x="54" y="10"/>
                    <a:pt x="53" y="10"/>
                  </a:cubicBezTo>
                  <a:cubicBezTo>
                    <a:pt x="52" y="10"/>
                    <a:pt x="51" y="10"/>
                    <a:pt x="49" y="11"/>
                  </a:cubicBezTo>
                  <a:cubicBezTo>
                    <a:pt x="48" y="11"/>
                    <a:pt x="47" y="11"/>
                    <a:pt x="47" y="11"/>
                  </a:cubicBezTo>
                  <a:cubicBezTo>
                    <a:pt x="46" y="11"/>
                    <a:pt x="45" y="11"/>
                    <a:pt x="44" y="10"/>
                  </a:cubicBezTo>
                  <a:cubicBezTo>
                    <a:pt x="42" y="9"/>
                    <a:pt x="41" y="9"/>
                    <a:pt x="39" y="9"/>
                  </a:cubicBezTo>
                  <a:cubicBezTo>
                    <a:pt x="36" y="9"/>
                    <a:pt x="34" y="9"/>
                    <a:pt x="31" y="10"/>
                  </a:cubicBezTo>
                  <a:cubicBezTo>
                    <a:pt x="31" y="10"/>
                    <a:pt x="30" y="10"/>
                    <a:pt x="30" y="10"/>
                  </a:cubicBezTo>
                  <a:cubicBezTo>
                    <a:pt x="22" y="10"/>
                    <a:pt x="16"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1225"/>
            <p:cNvSpPr/>
            <p:nvPr/>
          </p:nvSpPr>
          <p:spPr bwMode="auto">
            <a:xfrm>
              <a:off x="5500891" y="4957251"/>
              <a:ext cx="38928" cy="16108"/>
            </a:xfrm>
            <a:custGeom>
              <a:gdLst>
                <a:gd name="T0" fmla="*/ 0 w 12"/>
                <a:gd name="T1" fmla="*/ 0 h 5"/>
                <a:gd name="T2" fmla="*/ 8 w 12"/>
                <a:gd name="T3" fmla="*/ 5 h 5"/>
                <a:gd name="T4" fmla="*/ 0 w 12"/>
                <a:gd name="T5" fmla="*/ 0 h 5"/>
              </a:gdLst>
              <a:cxnLst>
                <a:cxn ang="0">
                  <a:pos x="T0" y="T1"/>
                </a:cxn>
                <a:cxn ang="0">
                  <a:pos x="T2" y="T3"/>
                </a:cxn>
                <a:cxn ang="0">
                  <a:pos x="T4" y="T5"/>
                </a:cxn>
              </a:cxnLst>
              <a:rect l="0" t="0" r="r" b="b"/>
              <a:pathLst>
                <a:path w="12" h="5">
                  <a:moveTo>
                    <a:pt x="0" y="0"/>
                  </a:moveTo>
                  <a:cubicBezTo>
                    <a:pt x="3" y="2"/>
                    <a:pt x="5" y="3"/>
                    <a:pt x="8" y="5"/>
                  </a:cubicBezTo>
                  <a:cubicBezTo>
                    <a:pt x="1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1226"/>
            <p:cNvSpPr/>
            <p:nvPr/>
          </p:nvSpPr>
          <p:spPr bwMode="auto">
            <a:xfrm>
              <a:off x="4904894" y="4747846"/>
              <a:ext cx="114099" cy="228197"/>
            </a:xfrm>
            <a:custGeom>
              <a:gdLst>
                <a:gd name="T0" fmla="*/ 16 w 36"/>
                <a:gd name="T1" fmla="*/ 0 h 72"/>
                <a:gd name="T2" fmla="*/ 8 w 36"/>
                <a:gd name="T3" fmla="*/ 5 h 72"/>
                <a:gd name="T4" fmla="*/ 4 w 36"/>
                <a:gd name="T5" fmla="*/ 11 h 72"/>
                <a:gd name="T6" fmla="*/ 2 w 36"/>
                <a:gd name="T7" fmla="*/ 21 h 72"/>
                <a:gd name="T8" fmla="*/ 2 w 36"/>
                <a:gd name="T9" fmla="*/ 27 h 72"/>
                <a:gd name="T10" fmla="*/ 5 w 36"/>
                <a:gd name="T11" fmla="*/ 31 h 72"/>
                <a:gd name="T12" fmla="*/ 4 w 36"/>
                <a:gd name="T13" fmla="*/ 36 h 72"/>
                <a:gd name="T14" fmla="*/ 8 w 36"/>
                <a:gd name="T15" fmla="*/ 45 h 72"/>
                <a:gd name="T16" fmla="*/ 7 w 36"/>
                <a:gd name="T17" fmla="*/ 56 h 72"/>
                <a:gd name="T18" fmla="*/ 14 w 36"/>
                <a:gd name="T19" fmla="*/ 66 h 72"/>
                <a:gd name="T20" fmla="*/ 25 w 36"/>
                <a:gd name="T21" fmla="*/ 72 h 72"/>
                <a:gd name="T22" fmla="*/ 13 w 36"/>
                <a:gd name="T23" fmla="*/ 53 h 72"/>
                <a:gd name="T24" fmla="*/ 13 w 36"/>
                <a:gd name="T25" fmla="*/ 46 h 72"/>
                <a:gd name="T26" fmla="*/ 14 w 36"/>
                <a:gd name="T27" fmla="*/ 41 h 72"/>
                <a:gd name="T28" fmla="*/ 15 w 36"/>
                <a:gd name="T29" fmla="*/ 41 h 72"/>
                <a:gd name="T30" fmla="*/ 30 w 36"/>
                <a:gd name="T31" fmla="*/ 44 h 72"/>
                <a:gd name="T32" fmla="*/ 36 w 36"/>
                <a:gd name="T33" fmla="*/ 46 h 72"/>
                <a:gd name="T34" fmla="*/ 26 w 36"/>
                <a:gd name="T35" fmla="*/ 37 h 72"/>
                <a:gd name="T36" fmla="*/ 23 w 36"/>
                <a:gd name="T37" fmla="*/ 36 h 72"/>
                <a:gd name="T38" fmla="*/ 29 w 36"/>
                <a:gd name="T39" fmla="*/ 27 h 72"/>
                <a:gd name="T40" fmla="*/ 31 w 36"/>
                <a:gd name="T41" fmla="*/ 22 h 72"/>
                <a:gd name="T42" fmla="*/ 32 w 36"/>
                <a:gd name="T43" fmla="*/ 19 h 72"/>
                <a:gd name="T44" fmla="*/ 32 w 36"/>
                <a:gd name="T45" fmla="*/ 15 h 72"/>
                <a:gd name="T46" fmla="*/ 29 w 36"/>
                <a:gd name="T47" fmla="*/ 15 h 72"/>
                <a:gd name="T48" fmla="*/ 24 w 36"/>
                <a:gd name="T49" fmla="*/ 15 h 72"/>
                <a:gd name="T50" fmla="*/ 19 w 36"/>
                <a:gd name="T51" fmla="*/ 19 h 72"/>
                <a:gd name="T52" fmla="*/ 17 w 36"/>
                <a:gd name="T53" fmla="*/ 21 h 72"/>
                <a:gd name="T54" fmla="*/ 19 w 36"/>
                <a:gd name="T55" fmla="*/ 24 h 72"/>
                <a:gd name="T56" fmla="*/ 14 w 36"/>
                <a:gd name="T57" fmla="*/ 27 h 72"/>
                <a:gd name="T58" fmla="*/ 12 w 36"/>
                <a:gd name="T59" fmla="*/ 32 h 72"/>
                <a:gd name="T60" fmla="*/ 10 w 36"/>
                <a:gd name="T61" fmla="*/ 32 h 72"/>
                <a:gd name="T62" fmla="*/ 7 w 36"/>
                <a:gd name="T63" fmla="*/ 29 h 72"/>
                <a:gd name="T64" fmla="*/ 10 w 36"/>
                <a:gd name="T65" fmla="*/ 24 h 72"/>
                <a:gd name="T66" fmla="*/ 11 w 36"/>
                <a:gd name="T67" fmla="*/ 24 h 72"/>
                <a:gd name="T68" fmla="*/ 11 w 36"/>
                <a:gd name="T69" fmla="*/ 24 h 72"/>
                <a:gd name="T70" fmla="*/ 12 w 36"/>
                <a:gd name="T71" fmla="*/ 24 h 72"/>
                <a:gd name="T72" fmla="*/ 12 w 36"/>
                <a:gd name="T73" fmla="*/ 24 h 72"/>
                <a:gd name="T74" fmla="*/ 13 w 36"/>
                <a:gd name="T75" fmla="*/ 23 h 72"/>
                <a:gd name="T76" fmla="*/ 14 w 36"/>
                <a:gd name="T77" fmla="*/ 21 h 72"/>
                <a:gd name="T78" fmla="*/ 13 w 36"/>
                <a:gd name="T79" fmla="*/ 9 h 72"/>
                <a:gd name="T80" fmla="*/ 13 w 36"/>
                <a:gd name="T81" fmla="*/ 4 h 72"/>
                <a:gd name="T82" fmla="*/ 16 w 36"/>
                <a:gd name="T83" fmla="*/ 0 h 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72">
                  <a:moveTo>
                    <a:pt x="16" y="0"/>
                  </a:moveTo>
                  <a:cubicBezTo>
                    <a:pt x="13" y="1"/>
                    <a:pt x="11" y="3"/>
                    <a:pt x="8" y="5"/>
                  </a:cubicBezTo>
                  <a:cubicBezTo>
                    <a:pt x="7" y="7"/>
                    <a:pt x="5" y="9"/>
                    <a:pt x="4" y="11"/>
                  </a:cubicBezTo>
                  <a:cubicBezTo>
                    <a:pt x="3" y="14"/>
                    <a:pt x="3" y="18"/>
                    <a:pt x="2" y="21"/>
                  </a:cubicBezTo>
                  <a:cubicBezTo>
                    <a:pt x="1" y="23"/>
                    <a:pt x="0" y="25"/>
                    <a:pt x="2" y="27"/>
                  </a:cubicBezTo>
                  <a:cubicBezTo>
                    <a:pt x="2" y="28"/>
                    <a:pt x="5" y="30"/>
                    <a:pt x="5" y="31"/>
                  </a:cubicBezTo>
                  <a:cubicBezTo>
                    <a:pt x="6" y="32"/>
                    <a:pt x="4" y="34"/>
                    <a:pt x="4" y="36"/>
                  </a:cubicBezTo>
                  <a:cubicBezTo>
                    <a:pt x="4" y="39"/>
                    <a:pt x="8" y="41"/>
                    <a:pt x="8" y="45"/>
                  </a:cubicBezTo>
                  <a:cubicBezTo>
                    <a:pt x="8" y="48"/>
                    <a:pt x="6" y="53"/>
                    <a:pt x="7" y="56"/>
                  </a:cubicBezTo>
                  <a:cubicBezTo>
                    <a:pt x="8" y="59"/>
                    <a:pt x="12" y="63"/>
                    <a:pt x="14" y="66"/>
                  </a:cubicBezTo>
                  <a:cubicBezTo>
                    <a:pt x="17" y="69"/>
                    <a:pt x="21" y="70"/>
                    <a:pt x="25" y="72"/>
                  </a:cubicBezTo>
                  <a:cubicBezTo>
                    <a:pt x="21" y="66"/>
                    <a:pt x="17" y="59"/>
                    <a:pt x="13" y="53"/>
                  </a:cubicBezTo>
                  <a:cubicBezTo>
                    <a:pt x="12" y="50"/>
                    <a:pt x="13" y="48"/>
                    <a:pt x="13" y="46"/>
                  </a:cubicBezTo>
                  <a:cubicBezTo>
                    <a:pt x="13" y="44"/>
                    <a:pt x="11" y="41"/>
                    <a:pt x="14" y="41"/>
                  </a:cubicBezTo>
                  <a:cubicBezTo>
                    <a:pt x="14" y="41"/>
                    <a:pt x="14" y="41"/>
                    <a:pt x="15" y="41"/>
                  </a:cubicBezTo>
                  <a:cubicBezTo>
                    <a:pt x="20" y="41"/>
                    <a:pt x="25" y="42"/>
                    <a:pt x="30" y="44"/>
                  </a:cubicBezTo>
                  <a:cubicBezTo>
                    <a:pt x="32" y="45"/>
                    <a:pt x="34" y="45"/>
                    <a:pt x="36" y="46"/>
                  </a:cubicBezTo>
                  <a:cubicBezTo>
                    <a:pt x="33" y="42"/>
                    <a:pt x="30" y="39"/>
                    <a:pt x="26" y="37"/>
                  </a:cubicBezTo>
                  <a:cubicBezTo>
                    <a:pt x="25" y="36"/>
                    <a:pt x="24" y="36"/>
                    <a:pt x="23" y="36"/>
                  </a:cubicBezTo>
                  <a:cubicBezTo>
                    <a:pt x="16" y="32"/>
                    <a:pt x="26" y="29"/>
                    <a:pt x="29" y="27"/>
                  </a:cubicBezTo>
                  <a:cubicBezTo>
                    <a:pt x="32" y="25"/>
                    <a:pt x="31" y="25"/>
                    <a:pt x="31" y="22"/>
                  </a:cubicBezTo>
                  <a:cubicBezTo>
                    <a:pt x="32" y="21"/>
                    <a:pt x="32" y="20"/>
                    <a:pt x="32" y="19"/>
                  </a:cubicBezTo>
                  <a:cubicBezTo>
                    <a:pt x="32" y="17"/>
                    <a:pt x="30" y="16"/>
                    <a:pt x="32" y="15"/>
                  </a:cubicBezTo>
                  <a:cubicBezTo>
                    <a:pt x="31" y="15"/>
                    <a:pt x="30" y="15"/>
                    <a:pt x="29" y="15"/>
                  </a:cubicBezTo>
                  <a:cubicBezTo>
                    <a:pt x="27" y="15"/>
                    <a:pt x="25" y="15"/>
                    <a:pt x="24" y="15"/>
                  </a:cubicBezTo>
                  <a:cubicBezTo>
                    <a:pt x="22" y="16"/>
                    <a:pt x="20" y="18"/>
                    <a:pt x="19" y="19"/>
                  </a:cubicBezTo>
                  <a:cubicBezTo>
                    <a:pt x="17" y="21"/>
                    <a:pt x="17" y="21"/>
                    <a:pt x="17" y="21"/>
                  </a:cubicBezTo>
                  <a:cubicBezTo>
                    <a:pt x="17" y="23"/>
                    <a:pt x="20" y="23"/>
                    <a:pt x="19" y="24"/>
                  </a:cubicBezTo>
                  <a:cubicBezTo>
                    <a:pt x="17" y="26"/>
                    <a:pt x="15" y="24"/>
                    <a:pt x="14" y="27"/>
                  </a:cubicBezTo>
                  <a:cubicBezTo>
                    <a:pt x="13" y="28"/>
                    <a:pt x="14" y="31"/>
                    <a:pt x="12" y="32"/>
                  </a:cubicBezTo>
                  <a:cubicBezTo>
                    <a:pt x="11" y="32"/>
                    <a:pt x="11" y="32"/>
                    <a:pt x="10" y="32"/>
                  </a:cubicBezTo>
                  <a:cubicBezTo>
                    <a:pt x="8" y="32"/>
                    <a:pt x="7" y="31"/>
                    <a:pt x="7" y="29"/>
                  </a:cubicBezTo>
                  <a:cubicBezTo>
                    <a:pt x="7" y="27"/>
                    <a:pt x="9" y="26"/>
                    <a:pt x="10" y="24"/>
                  </a:cubicBezTo>
                  <a:cubicBezTo>
                    <a:pt x="11" y="24"/>
                    <a:pt x="11" y="24"/>
                    <a:pt x="11" y="24"/>
                  </a:cubicBezTo>
                  <a:cubicBezTo>
                    <a:pt x="11" y="24"/>
                    <a:pt x="11" y="24"/>
                    <a:pt x="11" y="24"/>
                  </a:cubicBezTo>
                  <a:cubicBezTo>
                    <a:pt x="11" y="24"/>
                    <a:pt x="11" y="24"/>
                    <a:pt x="12" y="24"/>
                  </a:cubicBezTo>
                  <a:cubicBezTo>
                    <a:pt x="12" y="24"/>
                    <a:pt x="12" y="24"/>
                    <a:pt x="12" y="24"/>
                  </a:cubicBezTo>
                  <a:cubicBezTo>
                    <a:pt x="12" y="24"/>
                    <a:pt x="12" y="23"/>
                    <a:pt x="13" y="23"/>
                  </a:cubicBezTo>
                  <a:cubicBezTo>
                    <a:pt x="13" y="22"/>
                    <a:pt x="14" y="21"/>
                    <a:pt x="14" y="21"/>
                  </a:cubicBezTo>
                  <a:cubicBezTo>
                    <a:pt x="16" y="17"/>
                    <a:pt x="15" y="13"/>
                    <a:pt x="13" y="9"/>
                  </a:cubicBezTo>
                  <a:cubicBezTo>
                    <a:pt x="12" y="6"/>
                    <a:pt x="12" y="7"/>
                    <a:pt x="13" y="4"/>
                  </a:cubicBezTo>
                  <a:cubicBezTo>
                    <a:pt x="14" y="3"/>
                    <a:pt x="16" y="1"/>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1227"/>
            <p:cNvSpPr/>
            <p:nvPr/>
          </p:nvSpPr>
          <p:spPr bwMode="auto">
            <a:xfrm>
              <a:off x="3520946" y="5484789"/>
              <a:ext cx="16108" cy="5369"/>
            </a:xfrm>
            <a:custGeom>
              <a:gdLst>
                <a:gd name="T0" fmla="*/ 0 w 5"/>
                <a:gd name="T1" fmla="*/ 0 h 2"/>
                <a:gd name="T2" fmla="*/ 5 w 5"/>
                <a:gd name="T3" fmla="*/ 2 h 2"/>
                <a:gd name="T4" fmla="*/ 0 w 5"/>
                <a:gd name="T5" fmla="*/ 0 h 2"/>
              </a:gdLst>
              <a:cxnLst>
                <a:cxn ang="0">
                  <a:pos x="T0" y="T1"/>
                </a:cxn>
                <a:cxn ang="0">
                  <a:pos x="T2" y="T3"/>
                </a:cxn>
                <a:cxn ang="0">
                  <a:pos x="T4" y="T5"/>
                </a:cxn>
              </a:cxnLst>
              <a:rect l="0" t="0" r="r" b="b"/>
              <a:pathLst>
                <a:path w="5" h="2">
                  <a:moveTo>
                    <a:pt x="0" y="0"/>
                  </a:moveTo>
                  <a:cubicBezTo>
                    <a:pt x="1" y="2"/>
                    <a:pt x="3" y="2"/>
                    <a:pt x="5" y="2"/>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1228"/>
            <p:cNvSpPr/>
            <p:nvPr/>
          </p:nvSpPr>
          <p:spPr bwMode="auto">
            <a:xfrm>
              <a:off x="5298199" y="5329078"/>
              <a:ext cx="6712" cy="25504"/>
            </a:xfrm>
            <a:custGeom>
              <a:gdLst>
                <a:gd name="T0" fmla="*/ 0 w 2"/>
                <a:gd name="T1" fmla="*/ 0 h 8"/>
                <a:gd name="T2" fmla="*/ 2 w 2"/>
                <a:gd name="T3" fmla="*/ 8 h 8"/>
                <a:gd name="T4" fmla="*/ 2 w 2"/>
                <a:gd name="T5" fmla="*/ 2 h 8"/>
                <a:gd name="T6" fmla="*/ 0 w 2"/>
                <a:gd name="T7" fmla="*/ 0 h 8"/>
              </a:gdLst>
              <a:cxnLst>
                <a:cxn ang="0">
                  <a:pos x="T0" y="T1"/>
                </a:cxn>
                <a:cxn ang="0">
                  <a:pos x="T2" y="T3"/>
                </a:cxn>
                <a:cxn ang="0">
                  <a:pos x="T4" y="T5"/>
                </a:cxn>
                <a:cxn ang="0">
                  <a:pos x="T6" y="T7"/>
                </a:cxn>
              </a:cxnLst>
              <a:rect l="0" t="0" r="r" b="b"/>
              <a:pathLst>
                <a:path w="2" h="8">
                  <a:moveTo>
                    <a:pt x="0" y="0"/>
                  </a:moveTo>
                  <a:cubicBezTo>
                    <a:pt x="0" y="2"/>
                    <a:pt x="0" y="7"/>
                    <a:pt x="2" y="8"/>
                  </a:cubicBezTo>
                  <a:cubicBezTo>
                    <a:pt x="2" y="6"/>
                    <a:pt x="2" y="4"/>
                    <a:pt x="2"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1229"/>
            <p:cNvSpPr/>
            <p:nvPr/>
          </p:nvSpPr>
          <p:spPr bwMode="auto">
            <a:xfrm>
              <a:off x="2753130" y="4980071"/>
              <a:ext cx="55036" cy="63090"/>
            </a:xfrm>
            <a:custGeom>
              <a:gdLst>
                <a:gd name="T0" fmla="*/ 7 w 17"/>
                <a:gd name="T1" fmla="*/ 0 h 20"/>
                <a:gd name="T2" fmla="*/ 2 w 17"/>
                <a:gd name="T3" fmla="*/ 2 h 20"/>
                <a:gd name="T4" fmla="*/ 4 w 17"/>
                <a:gd name="T5" fmla="*/ 12 h 20"/>
                <a:gd name="T6" fmla="*/ 13 w 17"/>
                <a:gd name="T7" fmla="*/ 20 h 20"/>
                <a:gd name="T8" fmla="*/ 15 w 17"/>
                <a:gd name="T9" fmla="*/ 12 h 20"/>
                <a:gd name="T10" fmla="*/ 9 w 17"/>
                <a:gd name="T11" fmla="*/ 1 h 20"/>
                <a:gd name="T12" fmla="*/ 7 w 17"/>
                <a:gd name="T13" fmla="*/ 0 h 20"/>
              </a:gdLst>
              <a:cxnLst>
                <a:cxn ang="0">
                  <a:pos x="T0" y="T1"/>
                </a:cxn>
                <a:cxn ang="0">
                  <a:pos x="T2" y="T3"/>
                </a:cxn>
                <a:cxn ang="0">
                  <a:pos x="T4" y="T5"/>
                </a:cxn>
                <a:cxn ang="0">
                  <a:pos x="T6" y="T7"/>
                </a:cxn>
                <a:cxn ang="0">
                  <a:pos x="T8" y="T9"/>
                </a:cxn>
                <a:cxn ang="0">
                  <a:pos x="T10" y="T11"/>
                </a:cxn>
                <a:cxn ang="0">
                  <a:pos x="T12" y="T13"/>
                </a:cxn>
              </a:cxnLst>
              <a:rect l="0" t="0" r="r" b="b"/>
              <a:pathLst>
                <a:path w="17" h="20">
                  <a:moveTo>
                    <a:pt x="7" y="0"/>
                  </a:moveTo>
                  <a:cubicBezTo>
                    <a:pt x="5" y="0"/>
                    <a:pt x="3" y="1"/>
                    <a:pt x="2" y="2"/>
                  </a:cubicBezTo>
                  <a:cubicBezTo>
                    <a:pt x="0" y="6"/>
                    <a:pt x="2" y="9"/>
                    <a:pt x="4" y="12"/>
                  </a:cubicBezTo>
                  <a:cubicBezTo>
                    <a:pt x="7" y="16"/>
                    <a:pt x="8" y="19"/>
                    <a:pt x="13" y="20"/>
                  </a:cubicBezTo>
                  <a:cubicBezTo>
                    <a:pt x="17" y="16"/>
                    <a:pt x="17" y="17"/>
                    <a:pt x="15" y="12"/>
                  </a:cubicBezTo>
                  <a:cubicBezTo>
                    <a:pt x="13" y="8"/>
                    <a:pt x="11" y="4"/>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1230"/>
            <p:cNvSpPr/>
            <p:nvPr/>
          </p:nvSpPr>
          <p:spPr bwMode="auto">
            <a:xfrm>
              <a:off x="4788111" y="5478078"/>
              <a:ext cx="81882" cy="30874"/>
            </a:xfrm>
            <a:custGeom>
              <a:gdLst>
                <a:gd name="T0" fmla="*/ 18 w 26"/>
                <a:gd name="T1" fmla="*/ 0 h 10"/>
                <a:gd name="T2" fmla="*/ 17 w 26"/>
                <a:gd name="T3" fmla="*/ 0 h 10"/>
                <a:gd name="T4" fmla="*/ 14 w 26"/>
                <a:gd name="T5" fmla="*/ 1 h 10"/>
                <a:gd name="T6" fmla="*/ 8 w 26"/>
                <a:gd name="T7" fmla="*/ 3 h 10"/>
                <a:gd name="T8" fmla="*/ 8 w 26"/>
                <a:gd name="T9" fmla="*/ 3 h 10"/>
                <a:gd name="T10" fmla="*/ 5 w 26"/>
                <a:gd name="T11" fmla="*/ 2 h 10"/>
                <a:gd name="T12" fmla="*/ 3 w 26"/>
                <a:gd name="T13" fmla="*/ 3 h 10"/>
                <a:gd name="T14" fmla="*/ 0 w 26"/>
                <a:gd name="T15" fmla="*/ 10 h 10"/>
                <a:gd name="T16" fmla="*/ 8 w 26"/>
                <a:gd name="T17" fmla="*/ 7 h 10"/>
                <a:gd name="T18" fmla="*/ 11 w 26"/>
                <a:gd name="T19" fmla="*/ 8 h 10"/>
                <a:gd name="T20" fmla="*/ 14 w 26"/>
                <a:gd name="T21" fmla="*/ 8 h 10"/>
                <a:gd name="T22" fmla="*/ 22 w 26"/>
                <a:gd name="T23" fmla="*/ 5 h 10"/>
                <a:gd name="T24" fmla="*/ 20 w 26"/>
                <a:gd name="T25" fmla="*/ 0 h 10"/>
                <a:gd name="T26" fmla="*/ 18 w 26"/>
                <a:gd name="T2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10">
                  <a:moveTo>
                    <a:pt x="18" y="0"/>
                  </a:moveTo>
                  <a:cubicBezTo>
                    <a:pt x="18" y="0"/>
                    <a:pt x="17" y="0"/>
                    <a:pt x="17" y="0"/>
                  </a:cubicBezTo>
                  <a:cubicBezTo>
                    <a:pt x="16" y="0"/>
                    <a:pt x="15" y="1"/>
                    <a:pt x="14" y="1"/>
                  </a:cubicBezTo>
                  <a:cubicBezTo>
                    <a:pt x="12" y="2"/>
                    <a:pt x="11" y="3"/>
                    <a:pt x="8" y="3"/>
                  </a:cubicBezTo>
                  <a:cubicBezTo>
                    <a:pt x="8" y="3"/>
                    <a:pt x="8" y="3"/>
                    <a:pt x="8" y="3"/>
                  </a:cubicBezTo>
                  <a:cubicBezTo>
                    <a:pt x="6" y="3"/>
                    <a:pt x="6" y="2"/>
                    <a:pt x="5" y="2"/>
                  </a:cubicBezTo>
                  <a:cubicBezTo>
                    <a:pt x="4" y="2"/>
                    <a:pt x="4" y="2"/>
                    <a:pt x="3" y="3"/>
                  </a:cubicBezTo>
                  <a:cubicBezTo>
                    <a:pt x="0" y="6"/>
                    <a:pt x="1" y="7"/>
                    <a:pt x="0" y="10"/>
                  </a:cubicBezTo>
                  <a:cubicBezTo>
                    <a:pt x="3" y="8"/>
                    <a:pt x="5" y="7"/>
                    <a:pt x="8" y="7"/>
                  </a:cubicBezTo>
                  <a:cubicBezTo>
                    <a:pt x="9" y="7"/>
                    <a:pt x="10" y="7"/>
                    <a:pt x="11" y="8"/>
                  </a:cubicBezTo>
                  <a:cubicBezTo>
                    <a:pt x="12" y="8"/>
                    <a:pt x="13" y="8"/>
                    <a:pt x="14" y="8"/>
                  </a:cubicBezTo>
                  <a:cubicBezTo>
                    <a:pt x="17" y="8"/>
                    <a:pt x="18" y="7"/>
                    <a:pt x="22" y="5"/>
                  </a:cubicBezTo>
                  <a:cubicBezTo>
                    <a:pt x="26" y="2"/>
                    <a:pt x="23" y="2"/>
                    <a:pt x="20" y="0"/>
                  </a:cubicBezTo>
                  <a:cubicBezTo>
                    <a:pt x="19" y="0"/>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1231"/>
            <p:cNvSpPr/>
            <p:nvPr/>
          </p:nvSpPr>
          <p:spPr bwMode="auto">
            <a:xfrm>
              <a:off x="5184100" y="5443177"/>
              <a:ext cx="46982" cy="65775"/>
            </a:xfrm>
            <a:custGeom>
              <a:gdLst>
                <a:gd name="T0" fmla="*/ 12 w 15"/>
                <a:gd name="T1" fmla="*/ 0 h 21"/>
                <a:gd name="T2" fmla="*/ 3 w 15"/>
                <a:gd name="T3" fmla="*/ 10 h 21"/>
                <a:gd name="T4" fmla="*/ 1 w 15"/>
                <a:gd name="T5" fmla="*/ 14 h 21"/>
                <a:gd name="T6" fmla="*/ 0 w 15"/>
                <a:gd name="T7" fmla="*/ 14 h 21"/>
                <a:gd name="T8" fmla="*/ 0 w 15"/>
                <a:gd name="T9" fmla="*/ 14 h 21"/>
                <a:gd name="T10" fmla="*/ 0 w 15"/>
                <a:gd name="T11" fmla="*/ 19 h 21"/>
                <a:gd name="T12" fmla="*/ 1 w 15"/>
                <a:gd name="T13" fmla="*/ 21 h 21"/>
                <a:gd name="T14" fmla="*/ 3 w 15"/>
                <a:gd name="T15" fmla="*/ 21 h 21"/>
                <a:gd name="T16" fmla="*/ 5 w 15"/>
                <a:gd name="T17" fmla="*/ 21 h 21"/>
                <a:gd name="T18" fmla="*/ 6 w 15"/>
                <a:gd name="T19" fmla="*/ 18 h 21"/>
                <a:gd name="T20" fmla="*/ 8 w 15"/>
                <a:gd name="T21" fmla="*/ 16 h 21"/>
                <a:gd name="T22" fmla="*/ 12 w 15"/>
                <a:gd name="T23" fmla="*/ 12 h 21"/>
                <a:gd name="T24" fmla="*/ 14 w 15"/>
                <a:gd name="T25" fmla="*/ 7 h 21"/>
                <a:gd name="T26" fmla="*/ 15 w 15"/>
                <a:gd name="T27" fmla="*/ 2 h 21"/>
                <a:gd name="T28" fmla="*/ 12 w 15"/>
                <a:gd name="T29"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1">
                  <a:moveTo>
                    <a:pt x="12" y="0"/>
                  </a:moveTo>
                  <a:cubicBezTo>
                    <a:pt x="10" y="2"/>
                    <a:pt x="4" y="6"/>
                    <a:pt x="3" y="10"/>
                  </a:cubicBezTo>
                  <a:cubicBezTo>
                    <a:pt x="2" y="11"/>
                    <a:pt x="3" y="14"/>
                    <a:pt x="1" y="14"/>
                  </a:cubicBezTo>
                  <a:cubicBezTo>
                    <a:pt x="0" y="14"/>
                    <a:pt x="0" y="14"/>
                    <a:pt x="0" y="14"/>
                  </a:cubicBezTo>
                  <a:cubicBezTo>
                    <a:pt x="0" y="14"/>
                    <a:pt x="0" y="14"/>
                    <a:pt x="0" y="14"/>
                  </a:cubicBezTo>
                  <a:cubicBezTo>
                    <a:pt x="0" y="19"/>
                    <a:pt x="0" y="19"/>
                    <a:pt x="0" y="19"/>
                  </a:cubicBezTo>
                  <a:cubicBezTo>
                    <a:pt x="1" y="21"/>
                    <a:pt x="0" y="20"/>
                    <a:pt x="1" y="21"/>
                  </a:cubicBezTo>
                  <a:cubicBezTo>
                    <a:pt x="2" y="21"/>
                    <a:pt x="2" y="21"/>
                    <a:pt x="3" y="21"/>
                  </a:cubicBezTo>
                  <a:cubicBezTo>
                    <a:pt x="4" y="21"/>
                    <a:pt x="5" y="21"/>
                    <a:pt x="5" y="21"/>
                  </a:cubicBezTo>
                  <a:cubicBezTo>
                    <a:pt x="6" y="18"/>
                    <a:pt x="6" y="18"/>
                    <a:pt x="6" y="18"/>
                  </a:cubicBezTo>
                  <a:cubicBezTo>
                    <a:pt x="7" y="18"/>
                    <a:pt x="7" y="17"/>
                    <a:pt x="8" y="16"/>
                  </a:cubicBezTo>
                  <a:cubicBezTo>
                    <a:pt x="9" y="15"/>
                    <a:pt x="10" y="14"/>
                    <a:pt x="12" y="12"/>
                  </a:cubicBezTo>
                  <a:cubicBezTo>
                    <a:pt x="13" y="11"/>
                    <a:pt x="13" y="8"/>
                    <a:pt x="14" y="7"/>
                  </a:cubicBezTo>
                  <a:cubicBezTo>
                    <a:pt x="12" y="6"/>
                    <a:pt x="12" y="3"/>
                    <a:pt x="15" y="2"/>
                  </a:cubicBezTo>
                  <a:cubicBezTo>
                    <a:pt x="14" y="1"/>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Freeform 1232"/>
            <p:cNvSpPr/>
            <p:nvPr/>
          </p:nvSpPr>
          <p:spPr bwMode="auto">
            <a:xfrm>
              <a:off x="5510288" y="5029737"/>
              <a:ext cx="104702" cy="22820"/>
            </a:xfrm>
            <a:custGeom>
              <a:gdLst>
                <a:gd name="T0" fmla="*/ 0 w 33"/>
                <a:gd name="T1" fmla="*/ 0 h 7"/>
                <a:gd name="T2" fmla="*/ 23 w 33"/>
                <a:gd name="T3" fmla="*/ 7 h 7"/>
                <a:gd name="T4" fmla="*/ 25 w 33"/>
                <a:gd name="T5" fmla="*/ 6 h 7"/>
                <a:gd name="T6" fmla="*/ 26 w 33"/>
                <a:gd name="T7" fmla="*/ 6 h 7"/>
                <a:gd name="T8" fmla="*/ 33 w 33"/>
                <a:gd name="T9" fmla="*/ 4 h 7"/>
                <a:gd name="T10" fmla="*/ 30 w 33"/>
                <a:gd name="T11" fmla="*/ 3 h 7"/>
                <a:gd name="T12" fmla="*/ 23 w 33"/>
                <a:gd name="T13" fmla="*/ 3 h 7"/>
                <a:gd name="T14" fmla="*/ 16 w 33"/>
                <a:gd name="T15" fmla="*/ 1 h 7"/>
                <a:gd name="T16" fmla="*/ 0 w 33"/>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7">
                  <a:moveTo>
                    <a:pt x="0" y="0"/>
                  </a:moveTo>
                  <a:cubicBezTo>
                    <a:pt x="1" y="0"/>
                    <a:pt x="17" y="7"/>
                    <a:pt x="23" y="7"/>
                  </a:cubicBezTo>
                  <a:cubicBezTo>
                    <a:pt x="24" y="7"/>
                    <a:pt x="24" y="7"/>
                    <a:pt x="25" y="6"/>
                  </a:cubicBezTo>
                  <a:cubicBezTo>
                    <a:pt x="25" y="6"/>
                    <a:pt x="25" y="6"/>
                    <a:pt x="26" y="6"/>
                  </a:cubicBezTo>
                  <a:cubicBezTo>
                    <a:pt x="28" y="6"/>
                    <a:pt x="31" y="5"/>
                    <a:pt x="33" y="4"/>
                  </a:cubicBezTo>
                  <a:cubicBezTo>
                    <a:pt x="32" y="3"/>
                    <a:pt x="31" y="3"/>
                    <a:pt x="30" y="3"/>
                  </a:cubicBezTo>
                  <a:cubicBezTo>
                    <a:pt x="27" y="3"/>
                    <a:pt x="25" y="3"/>
                    <a:pt x="23" y="3"/>
                  </a:cubicBezTo>
                  <a:cubicBezTo>
                    <a:pt x="20" y="2"/>
                    <a:pt x="19" y="1"/>
                    <a:pt x="16" y="1"/>
                  </a:cubicBezTo>
                  <a:cubicBezTo>
                    <a:pt x="11" y="0"/>
                    <a:pt x="6"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Freeform 1233"/>
            <p:cNvSpPr/>
            <p:nvPr/>
          </p:nvSpPr>
          <p:spPr bwMode="auto">
            <a:xfrm>
              <a:off x="4488770" y="5290151"/>
              <a:ext cx="13423" cy="29531"/>
            </a:xfrm>
            <a:custGeom>
              <a:gdLst>
                <a:gd name="T0" fmla="*/ 3 w 4"/>
                <a:gd name="T1" fmla="*/ 0 h 9"/>
                <a:gd name="T2" fmla="*/ 0 w 4"/>
                <a:gd name="T3" fmla="*/ 4 h 9"/>
                <a:gd name="T4" fmla="*/ 4 w 4"/>
                <a:gd name="T5" fmla="*/ 9 h 9"/>
                <a:gd name="T6" fmla="*/ 4 w 4"/>
                <a:gd name="T7" fmla="*/ 0 h 9"/>
                <a:gd name="T8" fmla="*/ 3 w 4"/>
                <a:gd name="T9" fmla="*/ 0 h 9"/>
              </a:gdLst>
              <a:cxnLst>
                <a:cxn ang="0">
                  <a:pos x="T0" y="T1"/>
                </a:cxn>
                <a:cxn ang="0">
                  <a:pos x="T2" y="T3"/>
                </a:cxn>
                <a:cxn ang="0">
                  <a:pos x="T4" y="T5"/>
                </a:cxn>
                <a:cxn ang="0">
                  <a:pos x="T6" y="T7"/>
                </a:cxn>
                <a:cxn ang="0">
                  <a:pos x="T8" y="T9"/>
                </a:cxn>
              </a:cxnLst>
              <a:rect l="0" t="0" r="r" b="b"/>
              <a:pathLst>
                <a:path w="4" h="9">
                  <a:moveTo>
                    <a:pt x="3" y="0"/>
                  </a:moveTo>
                  <a:cubicBezTo>
                    <a:pt x="1" y="0"/>
                    <a:pt x="0" y="2"/>
                    <a:pt x="0" y="4"/>
                  </a:cubicBezTo>
                  <a:cubicBezTo>
                    <a:pt x="0" y="6"/>
                    <a:pt x="3" y="7"/>
                    <a:pt x="4" y="9"/>
                  </a:cubicBezTo>
                  <a:cubicBezTo>
                    <a:pt x="4" y="6"/>
                    <a:pt x="4" y="3"/>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1234"/>
            <p:cNvSpPr/>
            <p:nvPr/>
          </p:nvSpPr>
          <p:spPr bwMode="auto">
            <a:xfrm>
              <a:off x="4264600" y="4780063"/>
              <a:ext cx="481898" cy="554385"/>
            </a:xfrm>
            <a:custGeom>
              <a:gdLst>
                <a:gd name="T0" fmla="*/ 136 w 152"/>
                <a:gd name="T1" fmla="*/ 9 h 175"/>
                <a:gd name="T2" fmla="*/ 121 w 152"/>
                <a:gd name="T3" fmla="*/ 21 h 175"/>
                <a:gd name="T4" fmla="*/ 97 w 152"/>
                <a:gd name="T5" fmla="*/ 21 h 175"/>
                <a:gd name="T6" fmla="*/ 73 w 152"/>
                <a:gd name="T7" fmla="*/ 16 h 175"/>
                <a:gd name="T8" fmla="*/ 68 w 152"/>
                <a:gd name="T9" fmla="*/ 16 h 175"/>
                <a:gd name="T10" fmla="*/ 60 w 152"/>
                <a:gd name="T11" fmla="*/ 11 h 175"/>
                <a:gd name="T12" fmla="*/ 47 w 152"/>
                <a:gd name="T13" fmla="*/ 15 h 175"/>
                <a:gd name="T14" fmla="*/ 39 w 152"/>
                <a:gd name="T15" fmla="*/ 22 h 175"/>
                <a:gd name="T16" fmla="*/ 36 w 152"/>
                <a:gd name="T17" fmla="*/ 18 h 175"/>
                <a:gd name="T18" fmla="*/ 29 w 152"/>
                <a:gd name="T19" fmla="*/ 25 h 175"/>
                <a:gd name="T20" fmla="*/ 22 w 152"/>
                <a:gd name="T21" fmla="*/ 41 h 175"/>
                <a:gd name="T22" fmla="*/ 24 w 152"/>
                <a:gd name="T23" fmla="*/ 46 h 175"/>
                <a:gd name="T24" fmla="*/ 14 w 152"/>
                <a:gd name="T25" fmla="*/ 68 h 175"/>
                <a:gd name="T26" fmla="*/ 2 w 152"/>
                <a:gd name="T27" fmla="*/ 104 h 175"/>
                <a:gd name="T28" fmla="*/ 1 w 152"/>
                <a:gd name="T29" fmla="*/ 108 h 175"/>
                <a:gd name="T30" fmla="*/ 6 w 152"/>
                <a:gd name="T31" fmla="*/ 124 h 175"/>
                <a:gd name="T32" fmla="*/ 19 w 152"/>
                <a:gd name="T33" fmla="*/ 133 h 175"/>
                <a:gd name="T34" fmla="*/ 15 w 152"/>
                <a:gd name="T35" fmla="*/ 173 h 175"/>
                <a:gd name="T36" fmla="*/ 21 w 152"/>
                <a:gd name="T37" fmla="*/ 175 h 175"/>
                <a:gd name="T38" fmla="*/ 35 w 152"/>
                <a:gd name="T39" fmla="*/ 171 h 175"/>
                <a:gd name="T40" fmla="*/ 39 w 152"/>
                <a:gd name="T41" fmla="*/ 149 h 175"/>
                <a:gd name="T42" fmla="*/ 35 w 152"/>
                <a:gd name="T43" fmla="*/ 112 h 175"/>
                <a:gd name="T44" fmla="*/ 50 w 152"/>
                <a:gd name="T45" fmla="*/ 103 h 175"/>
                <a:gd name="T46" fmla="*/ 50 w 152"/>
                <a:gd name="T47" fmla="*/ 125 h 175"/>
                <a:gd name="T48" fmla="*/ 57 w 152"/>
                <a:gd name="T49" fmla="*/ 131 h 175"/>
                <a:gd name="T50" fmla="*/ 62 w 152"/>
                <a:gd name="T51" fmla="*/ 135 h 175"/>
                <a:gd name="T52" fmla="*/ 64 w 152"/>
                <a:gd name="T53" fmla="*/ 149 h 175"/>
                <a:gd name="T54" fmla="*/ 76 w 152"/>
                <a:gd name="T55" fmla="*/ 155 h 175"/>
                <a:gd name="T56" fmla="*/ 89 w 152"/>
                <a:gd name="T57" fmla="*/ 145 h 175"/>
                <a:gd name="T58" fmla="*/ 95 w 152"/>
                <a:gd name="T59" fmla="*/ 138 h 175"/>
                <a:gd name="T60" fmla="*/ 88 w 152"/>
                <a:gd name="T61" fmla="*/ 135 h 175"/>
                <a:gd name="T62" fmla="*/ 85 w 152"/>
                <a:gd name="T63" fmla="*/ 129 h 175"/>
                <a:gd name="T64" fmla="*/ 84 w 152"/>
                <a:gd name="T65" fmla="*/ 129 h 175"/>
                <a:gd name="T66" fmla="*/ 85 w 152"/>
                <a:gd name="T67" fmla="*/ 117 h 175"/>
                <a:gd name="T68" fmla="*/ 76 w 152"/>
                <a:gd name="T69" fmla="*/ 104 h 175"/>
                <a:gd name="T70" fmla="*/ 67 w 152"/>
                <a:gd name="T71" fmla="*/ 92 h 175"/>
                <a:gd name="T72" fmla="*/ 64 w 152"/>
                <a:gd name="T73" fmla="*/ 89 h 175"/>
                <a:gd name="T74" fmla="*/ 60 w 152"/>
                <a:gd name="T75" fmla="*/ 85 h 175"/>
                <a:gd name="T76" fmla="*/ 91 w 152"/>
                <a:gd name="T77" fmla="*/ 69 h 175"/>
                <a:gd name="T78" fmla="*/ 101 w 152"/>
                <a:gd name="T79" fmla="*/ 61 h 175"/>
                <a:gd name="T80" fmla="*/ 103 w 152"/>
                <a:gd name="T81" fmla="*/ 54 h 175"/>
                <a:gd name="T82" fmla="*/ 93 w 152"/>
                <a:gd name="T83" fmla="*/ 59 h 175"/>
                <a:gd name="T84" fmla="*/ 81 w 152"/>
                <a:gd name="T85" fmla="*/ 59 h 175"/>
                <a:gd name="T86" fmla="*/ 67 w 152"/>
                <a:gd name="T87" fmla="*/ 61 h 175"/>
                <a:gd name="T88" fmla="*/ 61 w 152"/>
                <a:gd name="T89" fmla="*/ 64 h 175"/>
                <a:gd name="T90" fmla="*/ 53 w 152"/>
                <a:gd name="T91" fmla="*/ 74 h 175"/>
                <a:gd name="T92" fmla="*/ 44 w 152"/>
                <a:gd name="T93" fmla="*/ 74 h 175"/>
                <a:gd name="T94" fmla="*/ 37 w 152"/>
                <a:gd name="T95" fmla="*/ 62 h 175"/>
                <a:gd name="T96" fmla="*/ 36 w 152"/>
                <a:gd name="T97" fmla="*/ 63 h 175"/>
                <a:gd name="T98" fmla="*/ 28 w 152"/>
                <a:gd name="T99" fmla="*/ 46 h 175"/>
                <a:gd name="T100" fmla="*/ 52 w 152"/>
                <a:gd name="T101" fmla="*/ 29 h 175"/>
                <a:gd name="T102" fmla="*/ 78 w 152"/>
                <a:gd name="T103" fmla="*/ 30 h 175"/>
                <a:gd name="T104" fmla="*/ 86 w 152"/>
                <a:gd name="T105" fmla="*/ 29 h 175"/>
                <a:gd name="T106" fmla="*/ 110 w 152"/>
                <a:gd name="T107" fmla="*/ 34 h 175"/>
                <a:gd name="T108" fmla="*/ 129 w 152"/>
                <a:gd name="T109" fmla="*/ 32 h 175"/>
                <a:gd name="T110" fmla="*/ 149 w 152"/>
                <a:gd name="T111" fmla="*/ 8 h 1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75">
                  <a:moveTo>
                    <a:pt x="147" y="0"/>
                  </a:moveTo>
                  <a:cubicBezTo>
                    <a:pt x="145" y="0"/>
                    <a:pt x="143" y="3"/>
                    <a:pt x="142" y="4"/>
                  </a:cubicBezTo>
                  <a:cubicBezTo>
                    <a:pt x="140" y="7"/>
                    <a:pt x="140" y="7"/>
                    <a:pt x="136" y="9"/>
                  </a:cubicBezTo>
                  <a:cubicBezTo>
                    <a:pt x="137" y="12"/>
                    <a:pt x="138" y="11"/>
                    <a:pt x="135" y="14"/>
                  </a:cubicBezTo>
                  <a:cubicBezTo>
                    <a:pt x="133" y="16"/>
                    <a:pt x="129" y="17"/>
                    <a:pt x="127" y="18"/>
                  </a:cubicBezTo>
                  <a:cubicBezTo>
                    <a:pt x="125" y="19"/>
                    <a:pt x="122" y="20"/>
                    <a:pt x="121" y="21"/>
                  </a:cubicBezTo>
                  <a:cubicBezTo>
                    <a:pt x="117" y="21"/>
                    <a:pt x="113" y="21"/>
                    <a:pt x="108" y="20"/>
                  </a:cubicBezTo>
                  <a:cubicBezTo>
                    <a:pt x="107" y="20"/>
                    <a:pt x="105" y="20"/>
                    <a:pt x="104" y="20"/>
                  </a:cubicBezTo>
                  <a:cubicBezTo>
                    <a:pt x="102" y="20"/>
                    <a:pt x="100" y="20"/>
                    <a:pt x="97" y="21"/>
                  </a:cubicBezTo>
                  <a:cubicBezTo>
                    <a:pt x="97" y="21"/>
                    <a:pt x="96" y="21"/>
                    <a:pt x="95" y="21"/>
                  </a:cubicBezTo>
                  <a:cubicBezTo>
                    <a:pt x="90" y="21"/>
                    <a:pt x="85" y="18"/>
                    <a:pt x="80" y="17"/>
                  </a:cubicBezTo>
                  <a:cubicBezTo>
                    <a:pt x="78" y="16"/>
                    <a:pt x="76" y="16"/>
                    <a:pt x="73" y="16"/>
                  </a:cubicBezTo>
                  <a:cubicBezTo>
                    <a:pt x="72" y="16"/>
                    <a:pt x="72" y="16"/>
                    <a:pt x="71" y="16"/>
                  </a:cubicBezTo>
                  <a:cubicBezTo>
                    <a:pt x="70" y="16"/>
                    <a:pt x="69" y="16"/>
                    <a:pt x="69" y="16"/>
                  </a:cubicBezTo>
                  <a:cubicBezTo>
                    <a:pt x="69" y="16"/>
                    <a:pt x="68" y="16"/>
                    <a:pt x="68" y="16"/>
                  </a:cubicBezTo>
                  <a:cubicBezTo>
                    <a:pt x="64" y="16"/>
                    <a:pt x="65" y="13"/>
                    <a:pt x="63" y="12"/>
                  </a:cubicBezTo>
                  <a:cubicBezTo>
                    <a:pt x="62" y="11"/>
                    <a:pt x="62" y="11"/>
                    <a:pt x="61" y="11"/>
                  </a:cubicBezTo>
                  <a:cubicBezTo>
                    <a:pt x="61" y="11"/>
                    <a:pt x="61" y="11"/>
                    <a:pt x="60" y="11"/>
                  </a:cubicBezTo>
                  <a:cubicBezTo>
                    <a:pt x="59" y="11"/>
                    <a:pt x="58" y="11"/>
                    <a:pt x="57" y="11"/>
                  </a:cubicBezTo>
                  <a:cubicBezTo>
                    <a:pt x="54" y="11"/>
                    <a:pt x="51" y="10"/>
                    <a:pt x="48" y="10"/>
                  </a:cubicBezTo>
                  <a:cubicBezTo>
                    <a:pt x="48" y="12"/>
                    <a:pt x="48" y="14"/>
                    <a:pt x="47" y="15"/>
                  </a:cubicBezTo>
                  <a:cubicBezTo>
                    <a:pt x="47" y="17"/>
                    <a:pt x="45" y="18"/>
                    <a:pt x="44" y="20"/>
                  </a:cubicBezTo>
                  <a:cubicBezTo>
                    <a:pt x="42" y="21"/>
                    <a:pt x="42" y="22"/>
                    <a:pt x="41" y="22"/>
                  </a:cubicBezTo>
                  <a:cubicBezTo>
                    <a:pt x="41" y="22"/>
                    <a:pt x="40" y="22"/>
                    <a:pt x="39" y="22"/>
                  </a:cubicBezTo>
                  <a:cubicBezTo>
                    <a:pt x="38" y="21"/>
                    <a:pt x="37" y="20"/>
                    <a:pt x="36" y="20"/>
                  </a:cubicBezTo>
                  <a:cubicBezTo>
                    <a:pt x="36" y="19"/>
                    <a:pt x="37" y="18"/>
                    <a:pt x="36" y="18"/>
                  </a:cubicBezTo>
                  <a:cubicBezTo>
                    <a:pt x="36" y="18"/>
                    <a:pt x="36" y="18"/>
                    <a:pt x="36" y="18"/>
                  </a:cubicBezTo>
                  <a:cubicBezTo>
                    <a:pt x="35" y="18"/>
                    <a:pt x="35" y="19"/>
                    <a:pt x="34" y="19"/>
                  </a:cubicBezTo>
                  <a:cubicBezTo>
                    <a:pt x="34" y="21"/>
                    <a:pt x="33" y="23"/>
                    <a:pt x="31" y="23"/>
                  </a:cubicBezTo>
                  <a:cubicBezTo>
                    <a:pt x="31" y="24"/>
                    <a:pt x="29" y="24"/>
                    <a:pt x="29" y="25"/>
                  </a:cubicBezTo>
                  <a:cubicBezTo>
                    <a:pt x="29" y="26"/>
                    <a:pt x="28" y="28"/>
                    <a:pt x="28" y="29"/>
                  </a:cubicBezTo>
                  <a:cubicBezTo>
                    <a:pt x="26" y="30"/>
                    <a:pt x="26" y="30"/>
                    <a:pt x="26" y="30"/>
                  </a:cubicBezTo>
                  <a:cubicBezTo>
                    <a:pt x="24" y="34"/>
                    <a:pt x="23" y="37"/>
                    <a:pt x="22" y="41"/>
                  </a:cubicBezTo>
                  <a:cubicBezTo>
                    <a:pt x="21" y="41"/>
                    <a:pt x="21" y="41"/>
                    <a:pt x="21" y="41"/>
                  </a:cubicBezTo>
                  <a:cubicBezTo>
                    <a:pt x="20" y="41"/>
                    <a:pt x="20" y="41"/>
                    <a:pt x="20" y="41"/>
                  </a:cubicBezTo>
                  <a:cubicBezTo>
                    <a:pt x="22" y="43"/>
                    <a:pt x="23" y="43"/>
                    <a:pt x="24" y="46"/>
                  </a:cubicBezTo>
                  <a:cubicBezTo>
                    <a:pt x="25" y="49"/>
                    <a:pt x="26" y="57"/>
                    <a:pt x="24" y="59"/>
                  </a:cubicBezTo>
                  <a:cubicBezTo>
                    <a:pt x="23" y="58"/>
                    <a:pt x="23" y="57"/>
                    <a:pt x="22" y="56"/>
                  </a:cubicBezTo>
                  <a:cubicBezTo>
                    <a:pt x="18" y="59"/>
                    <a:pt x="16" y="64"/>
                    <a:pt x="14" y="68"/>
                  </a:cubicBezTo>
                  <a:cubicBezTo>
                    <a:pt x="13" y="69"/>
                    <a:pt x="13" y="69"/>
                    <a:pt x="12" y="70"/>
                  </a:cubicBezTo>
                  <a:cubicBezTo>
                    <a:pt x="11" y="75"/>
                    <a:pt x="14" y="81"/>
                    <a:pt x="12" y="86"/>
                  </a:cubicBezTo>
                  <a:cubicBezTo>
                    <a:pt x="8" y="92"/>
                    <a:pt x="5" y="98"/>
                    <a:pt x="2" y="104"/>
                  </a:cubicBezTo>
                  <a:cubicBezTo>
                    <a:pt x="1" y="103"/>
                    <a:pt x="1" y="103"/>
                    <a:pt x="1" y="103"/>
                  </a:cubicBezTo>
                  <a:cubicBezTo>
                    <a:pt x="0" y="103"/>
                    <a:pt x="0" y="103"/>
                    <a:pt x="0" y="104"/>
                  </a:cubicBezTo>
                  <a:cubicBezTo>
                    <a:pt x="0" y="105"/>
                    <a:pt x="1" y="107"/>
                    <a:pt x="1" y="108"/>
                  </a:cubicBezTo>
                  <a:cubicBezTo>
                    <a:pt x="2" y="111"/>
                    <a:pt x="1" y="111"/>
                    <a:pt x="0" y="113"/>
                  </a:cubicBezTo>
                  <a:cubicBezTo>
                    <a:pt x="0" y="115"/>
                    <a:pt x="2" y="118"/>
                    <a:pt x="3" y="121"/>
                  </a:cubicBezTo>
                  <a:cubicBezTo>
                    <a:pt x="4" y="123"/>
                    <a:pt x="5" y="124"/>
                    <a:pt x="6" y="124"/>
                  </a:cubicBezTo>
                  <a:cubicBezTo>
                    <a:pt x="7" y="124"/>
                    <a:pt x="7" y="124"/>
                    <a:pt x="8" y="124"/>
                  </a:cubicBezTo>
                  <a:cubicBezTo>
                    <a:pt x="11" y="124"/>
                    <a:pt x="14" y="123"/>
                    <a:pt x="17" y="123"/>
                  </a:cubicBezTo>
                  <a:cubicBezTo>
                    <a:pt x="15" y="128"/>
                    <a:pt x="16" y="129"/>
                    <a:pt x="19" y="133"/>
                  </a:cubicBezTo>
                  <a:cubicBezTo>
                    <a:pt x="21" y="136"/>
                    <a:pt x="19" y="144"/>
                    <a:pt x="19" y="147"/>
                  </a:cubicBezTo>
                  <a:cubicBezTo>
                    <a:pt x="19" y="152"/>
                    <a:pt x="17" y="156"/>
                    <a:pt x="16" y="160"/>
                  </a:cubicBezTo>
                  <a:cubicBezTo>
                    <a:pt x="14" y="165"/>
                    <a:pt x="14" y="168"/>
                    <a:pt x="15" y="173"/>
                  </a:cubicBezTo>
                  <a:cubicBezTo>
                    <a:pt x="16" y="172"/>
                    <a:pt x="16" y="172"/>
                    <a:pt x="17" y="172"/>
                  </a:cubicBezTo>
                  <a:cubicBezTo>
                    <a:pt x="18" y="172"/>
                    <a:pt x="19" y="174"/>
                    <a:pt x="20" y="175"/>
                  </a:cubicBezTo>
                  <a:cubicBezTo>
                    <a:pt x="21" y="175"/>
                    <a:pt x="21" y="175"/>
                    <a:pt x="21" y="175"/>
                  </a:cubicBezTo>
                  <a:cubicBezTo>
                    <a:pt x="22" y="175"/>
                    <a:pt x="23" y="174"/>
                    <a:pt x="24" y="174"/>
                  </a:cubicBezTo>
                  <a:cubicBezTo>
                    <a:pt x="27" y="172"/>
                    <a:pt x="30" y="173"/>
                    <a:pt x="33" y="172"/>
                  </a:cubicBezTo>
                  <a:cubicBezTo>
                    <a:pt x="34" y="172"/>
                    <a:pt x="35" y="171"/>
                    <a:pt x="35" y="171"/>
                  </a:cubicBezTo>
                  <a:cubicBezTo>
                    <a:pt x="37" y="171"/>
                    <a:pt x="38" y="172"/>
                    <a:pt x="39" y="174"/>
                  </a:cubicBezTo>
                  <a:cubicBezTo>
                    <a:pt x="38" y="169"/>
                    <a:pt x="34" y="164"/>
                    <a:pt x="36" y="159"/>
                  </a:cubicBezTo>
                  <a:cubicBezTo>
                    <a:pt x="37" y="156"/>
                    <a:pt x="39" y="152"/>
                    <a:pt x="39" y="149"/>
                  </a:cubicBezTo>
                  <a:cubicBezTo>
                    <a:pt x="37" y="143"/>
                    <a:pt x="38" y="139"/>
                    <a:pt x="38" y="133"/>
                  </a:cubicBezTo>
                  <a:cubicBezTo>
                    <a:pt x="39" y="128"/>
                    <a:pt x="39" y="123"/>
                    <a:pt x="38" y="119"/>
                  </a:cubicBezTo>
                  <a:cubicBezTo>
                    <a:pt x="37" y="116"/>
                    <a:pt x="35" y="115"/>
                    <a:pt x="35" y="112"/>
                  </a:cubicBezTo>
                  <a:cubicBezTo>
                    <a:pt x="35" y="109"/>
                    <a:pt x="36" y="109"/>
                    <a:pt x="38" y="108"/>
                  </a:cubicBezTo>
                  <a:cubicBezTo>
                    <a:pt x="42" y="105"/>
                    <a:pt x="44" y="103"/>
                    <a:pt x="48" y="103"/>
                  </a:cubicBezTo>
                  <a:cubicBezTo>
                    <a:pt x="48" y="103"/>
                    <a:pt x="49" y="103"/>
                    <a:pt x="50" y="103"/>
                  </a:cubicBezTo>
                  <a:cubicBezTo>
                    <a:pt x="55" y="104"/>
                    <a:pt x="54" y="111"/>
                    <a:pt x="53" y="115"/>
                  </a:cubicBezTo>
                  <a:cubicBezTo>
                    <a:pt x="53" y="118"/>
                    <a:pt x="51" y="118"/>
                    <a:pt x="50" y="120"/>
                  </a:cubicBezTo>
                  <a:cubicBezTo>
                    <a:pt x="49" y="122"/>
                    <a:pt x="49" y="122"/>
                    <a:pt x="50" y="125"/>
                  </a:cubicBezTo>
                  <a:cubicBezTo>
                    <a:pt x="52" y="127"/>
                    <a:pt x="54" y="129"/>
                    <a:pt x="56" y="131"/>
                  </a:cubicBezTo>
                  <a:cubicBezTo>
                    <a:pt x="56" y="131"/>
                    <a:pt x="56" y="131"/>
                    <a:pt x="56" y="131"/>
                  </a:cubicBezTo>
                  <a:cubicBezTo>
                    <a:pt x="56" y="131"/>
                    <a:pt x="57" y="131"/>
                    <a:pt x="57" y="131"/>
                  </a:cubicBezTo>
                  <a:cubicBezTo>
                    <a:pt x="57" y="131"/>
                    <a:pt x="57" y="131"/>
                    <a:pt x="57" y="131"/>
                  </a:cubicBezTo>
                  <a:cubicBezTo>
                    <a:pt x="57" y="131"/>
                    <a:pt x="58" y="131"/>
                    <a:pt x="58" y="131"/>
                  </a:cubicBezTo>
                  <a:cubicBezTo>
                    <a:pt x="59" y="132"/>
                    <a:pt x="60" y="134"/>
                    <a:pt x="62" y="135"/>
                  </a:cubicBezTo>
                  <a:cubicBezTo>
                    <a:pt x="63" y="135"/>
                    <a:pt x="63" y="135"/>
                    <a:pt x="64" y="136"/>
                  </a:cubicBezTo>
                  <a:cubicBezTo>
                    <a:pt x="66" y="137"/>
                    <a:pt x="67" y="136"/>
                    <a:pt x="66" y="139"/>
                  </a:cubicBezTo>
                  <a:cubicBezTo>
                    <a:pt x="65" y="142"/>
                    <a:pt x="62" y="148"/>
                    <a:pt x="64" y="149"/>
                  </a:cubicBezTo>
                  <a:cubicBezTo>
                    <a:pt x="67" y="153"/>
                    <a:pt x="68" y="155"/>
                    <a:pt x="72" y="155"/>
                  </a:cubicBezTo>
                  <a:cubicBezTo>
                    <a:pt x="73" y="155"/>
                    <a:pt x="74" y="155"/>
                    <a:pt x="75" y="155"/>
                  </a:cubicBezTo>
                  <a:cubicBezTo>
                    <a:pt x="75" y="155"/>
                    <a:pt x="75" y="155"/>
                    <a:pt x="76" y="155"/>
                  </a:cubicBezTo>
                  <a:cubicBezTo>
                    <a:pt x="79" y="154"/>
                    <a:pt x="79" y="150"/>
                    <a:pt x="80" y="147"/>
                  </a:cubicBezTo>
                  <a:cubicBezTo>
                    <a:pt x="80" y="146"/>
                    <a:pt x="85" y="145"/>
                    <a:pt x="86" y="145"/>
                  </a:cubicBezTo>
                  <a:cubicBezTo>
                    <a:pt x="89" y="145"/>
                    <a:pt x="89" y="145"/>
                    <a:pt x="89" y="145"/>
                  </a:cubicBezTo>
                  <a:cubicBezTo>
                    <a:pt x="91" y="145"/>
                    <a:pt x="92" y="146"/>
                    <a:pt x="93" y="146"/>
                  </a:cubicBezTo>
                  <a:cubicBezTo>
                    <a:pt x="93" y="146"/>
                    <a:pt x="94" y="146"/>
                    <a:pt x="95" y="145"/>
                  </a:cubicBezTo>
                  <a:cubicBezTo>
                    <a:pt x="97" y="144"/>
                    <a:pt x="98" y="138"/>
                    <a:pt x="95" y="138"/>
                  </a:cubicBezTo>
                  <a:cubicBezTo>
                    <a:pt x="94" y="138"/>
                    <a:pt x="93" y="138"/>
                    <a:pt x="92" y="139"/>
                  </a:cubicBezTo>
                  <a:cubicBezTo>
                    <a:pt x="91" y="137"/>
                    <a:pt x="91" y="135"/>
                    <a:pt x="89" y="135"/>
                  </a:cubicBezTo>
                  <a:cubicBezTo>
                    <a:pt x="89" y="135"/>
                    <a:pt x="88" y="135"/>
                    <a:pt x="88" y="135"/>
                  </a:cubicBezTo>
                  <a:cubicBezTo>
                    <a:pt x="89" y="134"/>
                    <a:pt x="90" y="134"/>
                    <a:pt x="91" y="133"/>
                  </a:cubicBezTo>
                  <a:cubicBezTo>
                    <a:pt x="89" y="132"/>
                    <a:pt x="87" y="130"/>
                    <a:pt x="86" y="129"/>
                  </a:cubicBezTo>
                  <a:cubicBezTo>
                    <a:pt x="86" y="129"/>
                    <a:pt x="85" y="129"/>
                    <a:pt x="85" y="129"/>
                  </a:cubicBezTo>
                  <a:cubicBezTo>
                    <a:pt x="85" y="129"/>
                    <a:pt x="85" y="129"/>
                    <a:pt x="85" y="129"/>
                  </a:cubicBezTo>
                  <a:cubicBezTo>
                    <a:pt x="85" y="129"/>
                    <a:pt x="85" y="129"/>
                    <a:pt x="85" y="129"/>
                  </a:cubicBezTo>
                  <a:cubicBezTo>
                    <a:pt x="85" y="129"/>
                    <a:pt x="84" y="129"/>
                    <a:pt x="84" y="129"/>
                  </a:cubicBezTo>
                  <a:cubicBezTo>
                    <a:pt x="84" y="129"/>
                    <a:pt x="82" y="128"/>
                    <a:pt x="81" y="127"/>
                  </a:cubicBezTo>
                  <a:cubicBezTo>
                    <a:pt x="79" y="124"/>
                    <a:pt x="83" y="125"/>
                    <a:pt x="84" y="122"/>
                  </a:cubicBezTo>
                  <a:cubicBezTo>
                    <a:pt x="85" y="120"/>
                    <a:pt x="82" y="118"/>
                    <a:pt x="85" y="117"/>
                  </a:cubicBezTo>
                  <a:cubicBezTo>
                    <a:pt x="86" y="117"/>
                    <a:pt x="86" y="116"/>
                    <a:pt x="87" y="116"/>
                  </a:cubicBezTo>
                  <a:cubicBezTo>
                    <a:pt x="83" y="113"/>
                    <a:pt x="83" y="113"/>
                    <a:pt x="80" y="109"/>
                  </a:cubicBezTo>
                  <a:cubicBezTo>
                    <a:pt x="79" y="107"/>
                    <a:pt x="77" y="106"/>
                    <a:pt x="76" y="104"/>
                  </a:cubicBezTo>
                  <a:cubicBezTo>
                    <a:pt x="74" y="101"/>
                    <a:pt x="73" y="94"/>
                    <a:pt x="69" y="92"/>
                  </a:cubicBezTo>
                  <a:cubicBezTo>
                    <a:pt x="69" y="92"/>
                    <a:pt x="68" y="92"/>
                    <a:pt x="68" y="92"/>
                  </a:cubicBezTo>
                  <a:cubicBezTo>
                    <a:pt x="68" y="92"/>
                    <a:pt x="68" y="92"/>
                    <a:pt x="67" y="92"/>
                  </a:cubicBezTo>
                  <a:cubicBezTo>
                    <a:pt x="67" y="92"/>
                    <a:pt x="67" y="92"/>
                    <a:pt x="67" y="92"/>
                  </a:cubicBezTo>
                  <a:cubicBezTo>
                    <a:pt x="66" y="92"/>
                    <a:pt x="66" y="92"/>
                    <a:pt x="66" y="92"/>
                  </a:cubicBezTo>
                  <a:cubicBezTo>
                    <a:pt x="65" y="91"/>
                    <a:pt x="64" y="90"/>
                    <a:pt x="64" y="89"/>
                  </a:cubicBezTo>
                  <a:cubicBezTo>
                    <a:pt x="63" y="88"/>
                    <a:pt x="62" y="87"/>
                    <a:pt x="61" y="87"/>
                  </a:cubicBezTo>
                  <a:cubicBezTo>
                    <a:pt x="61" y="87"/>
                    <a:pt x="61" y="87"/>
                    <a:pt x="60" y="88"/>
                  </a:cubicBezTo>
                  <a:cubicBezTo>
                    <a:pt x="60" y="87"/>
                    <a:pt x="60" y="86"/>
                    <a:pt x="60" y="85"/>
                  </a:cubicBezTo>
                  <a:cubicBezTo>
                    <a:pt x="63" y="85"/>
                    <a:pt x="65" y="86"/>
                    <a:pt x="66" y="86"/>
                  </a:cubicBezTo>
                  <a:cubicBezTo>
                    <a:pt x="67" y="86"/>
                    <a:pt x="68" y="86"/>
                    <a:pt x="71" y="84"/>
                  </a:cubicBezTo>
                  <a:cubicBezTo>
                    <a:pt x="77" y="78"/>
                    <a:pt x="86" y="74"/>
                    <a:pt x="91" y="69"/>
                  </a:cubicBezTo>
                  <a:cubicBezTo>
                    <a:pt x="92" y="67"/>
                    <a:pt x="93" y="66"/>
                    <a:pt x="94" y="64"/>
                  </a:cubicBezTo>
                  <a:cubicBezTo>
                    <a:pt x="96" y="62"/>
                    <a:pt x="96" y="62"/>
                    <a:pt x="99" y="62"/>
                  </a:cubicBezTo>
                  <a:cubicBezTo>
                    <a:pt x="100" y="61"/>
                    <a:pt x="100" y="61"/>
                    <a:pt x="101" y="61"/>
                  </a:cubicBezTo>
                  <a:cubicBezTo>
                    <a:pt x="103" y="61"/>
                    <a:pt x="105" y="63"/>
                    <a:pt x="108" y="65"/>
                  </a:cubicBezTo>
                  <a:cubicBezTo>
                    <a:pt x="108" y="61"/>
                    <a:pt x="110" y="56"/>
                    <a:pt x="106" y="55"/>
                  </a:cubicBezTo>
                  <a:cubicBezTo>
                    <a:pt x="105" y="55"/>
                    <a:pt x="104" y="54"/>
                    <a:pt x="103" y="54"/>
                  </a:cubicBezTo>
                  <a:cubicBezTo>
                    <a:pt x="103" y="54"/>
                    <a:pt x="103" y="54"/>
                    <a:pt x="102" y="54"/>
                  </a:cubicBezTo>
                  <a:cubicBezTo>
                    <a:pt x="100" y="54"/>
                    <a:pt x="99" y="55"/>
                    <a:pt x="97" y="58"/>
                  </a:cubicBezTo>
                  <a:cubicBezTo>
                    <a:pt x="100" y="59"/>
                    <a:pt x="95" y="59"/>
                    <a:pt x="93" y="59"/>
                  </a:cubicBezTo>
                  <a:cubicBezTo>
                    <a:pt x="92" y="59"/>
                    <a:pt x="92" y="59"/>
                    <a:pt x="92" y="59"/>
                  </a:cubicBezTo>
                  <a:cubicBezTo>
                    <a:pt x="89" y="59"/>
                    <a:pt x="87" y="59"/>
                    <a:pt x="84" y="59"/>
                  </a:cubicBezTo>
                  <a:cubicBezTo>
                    <a:pt x="83" y="59"/>
                    <a:pt x="82" y="59"/>
                    <a:pt x="81" y="59"/>
                  </a:cubicBezTo>
                  <a:cubicBezTo>
                    <a:pt x="78" y="60"/>
                    <a:pt x="76" y="62"/>
                    <a:pt x="73" y="63"/>
                  </a:cubicBezTo>
                  <a:cubicBezTo>
                    <a:pt x="73" y="63"/>
                    <a:pt x="72" y="63"/>
                    <a:pt x="72" y="63"/>
                  </a:cubicBezTo>
                  <a:cubicBezTo>
                    <a:pt x="71" y="63"/>
                    <a:pt x="69" y="62"/>
                    <a:pt x="67" y="61"/>
                  </a:cubicBezTo>
                  <a:cubicBezTo>
                    <a:pt x="67" y="61"/>
                    <a:pt x="68" y="60"/>
                    <a:pt x="67" y="60"/>
                  </a:cubicBezTo>
                  <a:cubicBezTo>
                    <a:pt x="67" y="60"/>
                    <a:pt x="67" y="60"/>
                    <a:pt x="66" y="61"/>
                  </a:cubicBezTo>
                  <a:cubicBezTo>
                    <a:pt x="64" y="62"/>
                    <a:pt x="63" y="63"/>
                    <a:pt x="61" y="64"/>
                  </a:cubicBezTo>
                  <a:cubicBezTo>
                    <a:pt x="60" y="65"/>
                    <a:pt x="59" y="67"/>
                    <a:pt x="58" y="68"/>
                  </a:cubicBezTo>
                  <a:cubicBezTo>
                    <a:pt x="57" y="70"/>
                    <a:pt x="56" y="72"/>
                    <a:pt x="55" y="73"/>
                  </a:cubicBezTo>
                  <a:cubicBezTo>
                    <a:pt x="54" y="74"/>
                    <a:pt x="53" y="74"/>
                    <a:pt x="53" y="74"/>
                  </a:cubicBezTo>
                  <a:cubicBezTo>
                    <a:pt x="52" y="74"/>
                    <a:pt x="51" y="74"/>
                    <a:pt x="50" y="74"/>
                  </a:cubicBezTo>
                  <a:cubicBezTo>
                    <a:pt x="49" y="73"/>
                    <a:pt x="48" y="73"/>
                    <a:pt x="47" y="73"/>
                  </a:cubicBezTo>
                  <a:cubicBezTo>
                    <a:pt x="46" y="73"/>
                    <a:pt x="45" y="73"/>
                    <a:pt x="44" y="74"/>
                  </a:cubicBezTo>
                  <a:cubicBezTo>
                    <a:pt x="43" y="71"/>
                    <a:pt x="42" y="65"/>
                    <a:pt x="39" y="63"/>
                  </a:cubicBezTo>
                  <a:cubicBezTo>
                    <a:pt x="38" y="63"/>
                    <a:pt x="38" y="63"/>
                    <a:pt x="37" y="62"/>
                  </a:cubicBezTo>
                  <a:cubicBezTo>
                    <a:pt x="37" y="62"/>
                    <a:pt x="37" y="62"/>
                    <a:pt x="37" y="62"/>
                  </a:cubicBezTo>
                  <a:cubicBezTo>
                    <a:pt x="37" y="62"/>
                    <a:pt x="37" y="63"/>
                    <a:pt x="37" y="63"/>
                  </a:cubicBezTo>
                  <a:cubicBezTo>
                    <a:pt x="37" y="63"/>
                    <a:pt x="36" y="63"/>
                    <a:pt x="36" y="63"/>
                  </a:cubicBezTo>
                  <a:cubicBezTo>
                    <a:pt x="36" y="63"/>
                    <a:pt x="36" y="63"/>
                    <a:pt x="36" y="63"/>
                  </a:cubicBezTo>
                  <a:cubicBezTo>
                    <a:pt x="34" y="62"/>
                    <a:pt x="33" y="60"/>
                    <a:pt x="32" y="58"/>
                  </a:cubicBezTo>
                  <a:cubicBezTo>
                    <a:pt x="30" y="57"/>
                    <a:pt x="30" y="55"/>
                    <a:pt x="30" y="53"/>
                  </a:cubicBezTo>
                  <a:cubicBezTo>
                    <a:pt x="29" y="51"/>
                    <a:pt x="28" y="49"/>
                    <a:pt x="28" y="46"/>
                  </a:cubicBezTo>
                  <a:cubicBezTo>
                    <a:pt x="29" y="41"/>
                    <a:pt x="32" y="33"/>
                    <a:pt x="37" y="30"/>
                  </a:cubicBezTo>
                  <a:cubicBezTo>
                    <a:pt x="39" y="29"/>
                    <a:pt x="41" y="28"/>
                    <a:pt x="44" y="28"/>
                  </a:cubicBezTo>
                  <a:cubicBezTo>
                    <a:pt x="46" y="28"/>
                    <a:pt x="49" y="29"/>
                    <a:pt x="52" y="29"/>
                  </a:cubicBezTo>
                  <a:cubicBezTo>
                    <a:pt x="55" y="30"/>
                    <a:pt x="57" y="30"/>
                    <a:pt x="59" y="30"/>
                  </a:cubicBezTo>
                  <a:cubicBezTo>
                    <a:pt x="60" y="30"/>
                    <a:pt x="60" y="30"/>
                    <a:pt x="60" y="30"/>
                  </a:cubicBezTo>
                  <a:cubicBezTo>
                    <a:pt x="66" y="30"/>
                    <a:pt x="72" y="30"/>
                    <a:pt x="78" y="30"/>
                  </a:cubicBezTo>
                  <a:cubicBezTo>
                    <a:pt x="78" y="30"/>
                    <a:pt x="79" y="30"/>
                    <a:pt x="80" y="30"/>
                  </a:cubicBezTo>
                  <a:cubicBezTo>
                    <a:pt x="80" y="30"/>
                    <a:pt x="80" y="30"/>
                    <a:pt x="80" y="30"/>
                  </a:cubicBezTo>
                  <a:cubicBezTo>
                    <a:pt x="82" y="30"/>
                    <a:pt x="84" y="30"/>
                    <a:pt x="86" y="29"/>
                  </a:cubicBezTo>
                  <a:cubicBezTo>
                    <a:pt x="88" y="29"/>
                    <a:pt x="90" y="29"/>
                    <a:pt x="92" y="29"/>
                  </a:cubicBezTo>
                  <a:cubicBezTo>
                    <a:pt x="95" y="29"/>
                    <a:pt x="99" y="30"/>
                    <a:pt x="101" y="30"/>
                  </a:cubicBezTo>
                  <a:cubicBezTo>
                    <a:pt x="104" y="31"/>
                    <a:pt x="107" y="33"/>
                    <a:pt x="110" y="34"/>
                  </a:cubicBezTo>
                  <a:cubicBezTo>
                    <a:pt x="112" y="34"/>
                    <a:pt x="113" y="34"/>
                    <a:pt x="114" y="34"/>
                  </a:cubicBezTo>
                  <a:cubicBezTo>
                    <a:pt x="116" y="34"/>
                    <a:pt x="117" y="34"/>
                    <a:pt x="120" y="34"/>
                  </a:cubicBezTo>
                  <a:cubicBezTo>
                    <a:pt x="122" y="33"/>
                    <a:pt x="128" y="33"/>
                    <a:pt x="129" y="32"/>
                  </a:cubicBezTo>
                  <a:cubicBezTo>
                    <a:pt x="132" y="29"/>
                    <a:pt x="135" y="26"/>
                    <a:pt x="138" y="22"/>
                  </a:cubicBezTo>
                  <a:cubicBezTo>
                    <a:pt x="140" y="21"/>
                    <a:pt x="143" y="19"/>
                    <a:pt x="144" y="17"/>
                  </a:cubicBezTo>
                  <a:cubicBezTo>
                    <a:pt x="146" y="14"/>
                    <a:pt x="148" y="11"/>
                    <a:pt x="149" y="8"/>
                  </a:cubicBezTo>
                  <a:cubicBezTo>
                    <a:pt x="150" y="4"/>
                    <a:pt x="152" y="2"/>
                    <a:pt x="147" y="0"/>
                  </a:cubicBezTo>
                  <a:cubicBezTo>
                    <a:pt x="147"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1235"/>
            <p:cNvSpPr/>
            <p:nvPr/>
          </p:nvSpPr>
          <p:spPr bwMode="auto">
            <a:xfrm>
              <a:off x="5082083" y="4994836"/>
              <a:ext cx="9396" cy="4027"/>
            </a:xfrm>
            <a:custGeom>
              <a:gdLst>
                <a:gd name="T0" fmla="*/ 3 w 3"/>
                <a:gd name="T1" fmla="*/ 0 h 1"/>
                <a:gd name="T2" fmla="*/ 0 w 3"/>
                <a:gd name="T3" fmla="*/ 1 h 1"/>
                <a:gd name="T4" fmla="*/ 3 w 3"/>
                <a:gd name="T5" fmla="*/ 0 h 1"/>
              </a:gdLst>
              <a:cxnLst>
                <a:cxn ang="0">
                  <a:pos x="T0" y="T1"/>
                </a:cxn>
                <a:cxn ang="0">
                  <a:pos x="T2" y="T3"/>
                </a:cxn>
                <a:cxn ang="0">
                  <a:pos x="T4" y="T5"/>
                </a:cxn>
              </a:cxnLst>
              <a:rect l="0" t="0" r="r" b="b"/>
              <a:pathLst>
                <a:path w="3" h="1">
                  <a:moveTo>
                    <a:pt x="3" y="0"/>
                  </a:moveTo>
                  <a:cubicBezTo>
                    <a:pt x="2" y="0"/>
                    <a:pt x="0" y="0"/>
                    <a:pt x="0" y="1"/>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Freeform 1236"/>
            <p:cNvSpPr/>
            <p:nvPr/>
          </p:nvSpPr>
          <p:spPr bwMode="auto">
            <a:xfrm>
              <a:off x="4044457" y="5529087"/>
              <a:ext cx="80540" cy="49666"/>
            </a:xfrm>
            <a:custGeom>
              <a:gdLst>
                <a:gd name="T0" fmla="*/ 14 w 25"/>
                <a:gd name="T1" fmla="*/ 0 h 16"/>
                <a:gd name="T2" fmla="*/ 5 w 25"/>
                <a:gd name="T3" fmla="*/ 6 h 16"/>
                <a:gd name="T4" fmla="*/ 0 w 25"/>
                <a:gd name="T5" fmla="*/ 13 h 16"/>
                <a:gd name="T6" fmla="*/ 2 w 25"/>
                <a:gd name="T7" fmla="*/ 14 h 16"/>
                <a:gd name="T8" fmla="*/ 2 w 25"/>
                <a:gd name="T9" fmla="*/ 14 h 16"/>
                <a:gd name="T10" fmla="*/ 3 w 25"/>
                <a:gd name="T11" fmla="*/ 14 h 16"/>
                <a:gd name="T12" fmla="*/ 3 w 25"/>
                <a:gd name="T13" fmla="*/ 15 h 16"/>
                <a:gd name="T14" fmla="*/ 3 w 25"/>
                <a:gd name="T15" fmla="*/ 15 h 16"/>
                <a:gd name="T16" fmla="*/ 10 w 25"/>
                <a:gd name="T17" fmla="*/ 15 h 16"/>
                <a:gd name="T18" fmla="*/ 12 w 25"/>
                <a:gd name="T19" fmla="*/ 16 h 16"/>
                <a:gd name="T20" fmla="*/ 13 w 25"/>
                <a:gd name="T21" fmla="*/ 16 h 16"/>
                <a:gd name="T22" fmla="*/ 14 w 25"/>
                <a:gd name="T23" fmla="*/ 14 h 16"/>
                <a:gd name="T24" fmla="*/ 15 w 25"/>
                <a:gd name="T25" fmla="*/ 14 h 16"/>
                <a:gd name="T26" fmla="*/ 17 w 25"/>
                <a:gd name="T27" fmla="*/ 14 h 16"/>
                <a:gd name="T28" fmla="*/ 18 w 25"/>
                <a:gd name="T29" fmla="*/ 0 h 16"/>
                <a:gd name="T30" fmla="*/ 14 w 25"/>
                <a:gd name="T31"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6">
                  <a:moveTo>
                    <a:pt x="14" y="0"/>
                  </a:moveTo>
                  <a:cubicBezTo>
                    <a:pt x="10" y="0"/>
                    <a:pt x="4" y="2"/>
                    <a:pt x="5" y="6"/>
                  </a:cubicBezTo>
                  <a:cubicBezTo>
                    <a:pt x="7" y="10"/>
                    <a:pt x="2" y="12"/>
                    <a:pt x="0" y="13"/>
                  </a:cubicBezTo>
                  <a:cubicBezTo>
                    <a:pt x="1" y="13"/>
                    <a:pt x="2" y="14"/>
                    <a:pt x="2" y="14"/>
                  </a:cubicBezTo>
                  <a:cubicBezTo>
                    <a:pt x="2" y="14"/>
                    <a:pt x="2" y="14"/>
                    <a:pt x="2" y="14"/>
                  </a:cubicBezTo>
                  <a:cubicBezTo>
                    <a:pt x="2" y="14"/>
                    <a:pt x="2" y="14"/>
                    <a:pt x="3" y="14"/>
                  </a:cubicBezTo>
                  <a:cubicBezTo>
                    <a:pt x="3" y="15"/>
                    <a:pt x="3" y="15"/>
                    <a:pt x="3" y="15"/>
                  </a:cubicBezTo>
                  <a:cubicBezTo>
                    <a:pt x="3" y="15"/>
                    <a:pt x="3" y="15"/>
                    <a:pt x="3" y="15"/>
                  </a:cubicBezTo>
                  <a:cubicBezTo>
                    <a:pt x="5" y="15"/>
                    <a:pt x="7" y="15"/>
                    <a:pt x="10" y="15"/>
                  </a:cubicBezTo>
                  <a:cubicBezTo>
                    <a:pt x="11" y="16"/>
                    <a:pt x="11" y="16"/>
                    <a:pt x="12" y="16"/>
                  </a:cubicBezTo>
                  <a:cubicBezTo>
                    <a:pt x="12" y="16"/>
                    <a:pt x="13" y="16"/>
                    <a:pt x="13" y="16"/>
                  </a:cubicBezTo>
                  <a:cubicBezTo>
                    <a:pt x="15" y="15"/>
                    <a:pt x="13" y="14"/>
                    <a:pt x="14" y="14"/>
                  </a:cubicBezTo>
                  <a:cubicBezTo>
                    <a:pt x="15" y="14"/>
                    <a:pt x="15" y="14"/>
                    <a:pt x="15" y="14"/>
                  </a:cubicBezTo>
                  <a:cubicBezTo>
                    <a:pt x="16" y="14"/>
                    <a:pt x="17" y="14"/>
                    <a:pt x="17" y="14"/>
                  </a:cubicBezTo>
                  <a:cubicBezTo>
                    <a:pt x="14" y="13"/>
                    <a:pt x="25" y="3"/>
                    <a:pt x="18" y="0"/>
                  </a:cubicBezTo>
                  <a:cubicBezTo>
                    <a:pt x="17" y="0"/>
                    <a:pt x="16"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1237"/>
            <p:cNvSpPr/>
            <p:nvPr/>
          </p:nvSpPr>
          <p:spPr bwMode="auto">
            <a:xfrm>
              <a:off x="4108889" y="5515663"/>
              <a:ext cx="183900" cy="76513"/>
            </a:xfrm>
            <a:custGeom>
              <a:gdLst>
                <a:gd name="T0" fmla="*/ 30 w 58"/>
                <a:gd name="T1" fmla="*/ 0 h 24"/>
                <a:gd name="T2" fmla="*/ 25 w 58"/>
                <a:gd name="T3" fmla="*/ 1 h 24"/>
                <a:gd name="T4" fmla="*/ 28 w 58"/>
                <a:gd name="T5" fmla="*/ 7 h 24"/>
                <a:gd name="T6" fmla="*/ 37 w 58"/>
                <a:gd name="T7" fmla="*/ 12 h 24"/>
                <a:gd name="T8" fmla="*/ 26 w 58"/>
                <a:gd name="T9" fmla="*/ 14 h 24"/>
                <a:gd name="T10" fmla="*/ 25 w 58"/>
                <a:gd name="T11" fmla="*/ 14 h 24"/>
                <a:gd name="T12" fmla="*/ 24 w 58"/>
                <a:gd name="T13" fmla="*/ 13 h 24"/>
                <a:gd name="T14" fmla="*/ 15 w 58"/>
                <a:gd name="T15" fmla="*/ 9 h 24"/>
                <a:gd name="T16" fmla="*/ 11 w 58"/>
                <a:gd name="T17" fmla="*/ 7 h 24"/>
                <a:gd name="T18" fmla="*/ 6 w 58"/>
                <a:gd name="T19" fmla="*/ 9 h 24"/>
                <a:gd name="T20" fmla="*/ 2 w 58"/>
                <a:gd name="T21" fmla="*/ 12 h 24"/>
                <a:gd name="T22" fmla="*/ 2 w 58"/>
                <a:gd name="T23" fmla="*/ 16 h 24"/>
                <a:gd name="T24" fmla="*/ 6 w 58"/>
                <a:gd name="T25" fmla="*/ 23 h 24"/>
                <a:gd name="T26" fmla="*/ 9 w 58"/>
                <a:gd name="T27" fmla="*/ 24 h 24"/>
                <a:gd name="T28" fmla="*/ 9 w 58"/>
                <a:gd name="T29" fmla="*/ 24 h 24"/>
                <a:gd name="T30" fmla="*/ 25 w 58"/>
                <a:gd name="T31" fmla="*/ 21 h 24"/>
                <a:gd name="T32" fmla="*/ 34 w 58"/>
                <a:gd name="T33" fmla="*/ 17 h 24"/>
                <a:gd name="T34" fmla="*/ 40 w 58"/>
                <a:gd name="T35" fmla="*/ 12 h 24"/>
                <a:gd name="T36" fmla="*/ 41 w 58"/>
                <a:gd name="T37" fmla="*/ 14 h 24"/>
                <a:gd name="T38" fmla="*/ 42 w 58"/>
                <a:gd name="T39" fmla="*/ 18 h 24"/>
                <a:gd name="T40" fmla="*/ 42 w 58"/>
                <a:gd name="T41" fmla="*/ 18 h 24"/>
                <a:gd name="T42" fmla="*/ 48 w 58"/>
                <a:gd name="T43" fmla="*/ 17 h 24"/>
                <a:gd name="T44" fmla="*/ 58 w 58"/>
                <a:gd name="T45" fmla="*/ 14 h 24"/>
                <a:gd name="T46" fmla="*/ 58 w 58"/>
                <a:gd name="T47" fmla="*/ 12 h 24"/>
                <a:gd name="T48" fmla="*/ 56 w 58"/>
                <a:gd name="T49" fmla="*/ 13 h 24"/>
                <a:gd name="T50" fmla="*/ 55 w 58"/>
                <a:gd name="T51" fmla="*/ 11 h 24"/>
                <a:gd name="T52" fmla="*/ 55 w 58"/>
                <a:gd name="T53" fmla="*/ 8 h 24"/>
                <a:gd name="T54" fmla="*/ 52 w 58"/>
                <a:gd name="T55" fmla="*/ 5 h 24"/>
                <a:gd name="T56" fmla="*/ 52 w 58"/>
                <a:gd name="T57" fmla="*/ 5 h 24"/>
                <a:gd name="T58" fmla="*/ 47 w 58"/>
                <a:gd name="T59" fmla="*/ 10 h 24"/>
                <a:gd name="T60" fmla="*/ 43 w 58"/>
                <a:gd name="T61" fmla="*/ 4 h 24"/>
                <a:gd name="T62" fmla="*/ 38 w 58"/>
                <a:gd name="T63" fmla="*/ 6 h 24"/>
                <a:gd name="T64" fmla="*/ 30 w 58"/>
                <a:gd name="T65"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24">
                  <a:moveTo>
                    <a:pt x="30" y="0"/>
                  </a:moveTo>
                  <a:cubicBezTo>
                    <a:pt x="28" y="0"/>
                    <a:pt x="27" y="0"/>
                    <a:pt x="25" y="1"/>
                  </a:cubicBezTo>
                  <a:cubicBezTo>
                    <a:pt x="26" y="4"/>
                    <a:pt x="26" y="5"/>
                    <a:pt x="28" y="7"/>
                  </a:cubicBezTo>
                  <a:cubicBezTo>
                    <a:pt x="30" y="9"/>
                    <a:pt x="37" y="11"/>
                    <a:pt x="37" y="12"/>
                  </a:cubicBezTo>
                  <a:cubicBezTo>
                    <a:pt x="37" y="13"/>
                    <a:pt x="30" y="14"/>
                    <a:pt x="26" y="14"/>
                  </a:cubicBezTo>
                  <a:cubicBezTo>
                    <a:pt x="26" y="14"/>
                    <a:pt x="26" y="14"/>
                    <a:pt x="25" y="14"/>
                  </a:cubicBezTo>
                  <a:cubicBezTo>
                    <a:pt x="25" y="14"/>
                    <a:pt x="25" y="13"/>
                    <a:pt x="24" y="13"/>
                  </a:cubicBezTo>
                  <a:cubicBezTo>
                    <a:pt x="21" y="11"/>
                    <a:pt x="18" y="10"/>
                    <a:pt x="15" y="9"/>
                  </a:cubicBezTo>
                  <a:cubicBezTo>
                    <a:pt x="13" y="7"/>
                    <a:pt x="12" y="7"/>
                    <a:pt x="11" y="7"/>
                  </a:cubicBezTo>
                  <a:cubicBezTo>
                    <a:pt x="9" y="7"/>
                    <a:pt x="8" y="7"/>
                    <a:pt x="6" y="9"/>
                  </a:cubicBezTo>
                  <a:cubicBezTo>
                    <a:pt x="4" y="9"/>
                    <a:pt x="3" y="10"/>
                    <a:pt x="2" y="12"/>
                  </a:cubicBezTo>
                  <a:cubicBezTo>
                    <a:pt x="2" y="13"/>
                    <a:pt x="2" y="15"/>
                    <a:pt x="2" y="16"/>
                  </a:cubicBezTo>
                  <a:cubicBezTo>
                    <a:pt x="2" y="22"/>
                    <a:pt x="0" y="21"/>
                    <a:pt x="6" y="23"/>
                  </a:cubicBezTo>
                  <a:cubicBezTo>
                    <a:pt x="7" y="24"/>
                    <a:pt x="8" y="24"/>
                    <a:pt x="9" y="24"/>
                  </a:cubicBezTo>
                  <a:cubicBezTo>
                    <a:pt x="9" y="24"/>
                    <a:pt x="9" y="24"/>
                    <a:pt x="9" y="24"/>
                  </a:cubicBezTo>
                  <a:cubicBezTo>
                    <a:pt x="14" y="24"/>
                    <a:pt x="20" y="22"/>
                    <a:pt x="25" y="21"/>
                  </a:cubicBezTo>
                  <a:cubicBezTo>
                    <a:pt x="29" y="20"/>
                    <a:pt x="31" y="18"/>
                    <a:pt x="34" y="17"/>
                  </a:cubicBezTo>
                  <a:cubicBezTo>
                    <a:pt x="37" y="15"/>
                    <a:pt x="38" y="14"/>
                    <a:pt x="40" y="12"/>
                  </a:cubicBezTo>
                  <a:cubicBezTo>
                    <a:pt x="41" y="13"/>
                    <a:pt x="40" y="13"/>
                    <a:pt x="41" y="14"/>
                  </a:cubicBezTo>
                  <a:cubicBezTo>
                    <a:pt x="41" y="15"/>
                    <a:pt x="41" y="18"/>
                    <a:pt x="42" y="18"/>
                  </a:cubicBezTo>
                  <a:cubicBezTo>
                    <a:pt x="42" y="18"/>
                    <a:pt x="42" y="18"/>
                    <a:pt x="42" y="18"/>
                  </a:cubicBezTo>
                  <a:cubicBezTo>
                    <a:pt x="44" y="18"/>
                    <a:pt x="46" y="17"/>
                    <a:pt x="48" y="17"/>
                  </a:cubicBezTo>
                  <a:cubicBezTo>
                    <a:pt x="50" y="17"/>
                    <a:pt x="57" y="16"/>
                    <a:pt x="58" y="14"/>
                  </a:cubicBezTo>
                  <a:cubicBezTo>
                    <a:pt x="58" y="14"/>
                    <a:pt x="58" y="12"/>
                    <a:pt x="58" y="12"/>
                  </a:cubicBezTo>
                  <a:cubicBezTo>
                    <a:pt x="57" y="13"/>
                    <a:pt x="57" y="13"/>
                    <a:pt x="56" y="13"/>
                  </a:cubicBezTo>
                  <a:cubicBezTo>
                    <a:pt x="55" y="13"/>
                    <a:pt x="55" y="12"/>
                    <a:pt x="55" y="11"/>
                  </a:cubicBezTo>
                  <a:cubicBezTo>
                    <a:pt x="54" y="10"/>
                    <a:pt x="55" y="9"/>
                    <a:pt x="55" y="8"/>
                  </a:cubicBezTo>
                  <a:cubicBezTo>
                    <a:pt x="55" y="6"/>
                    <a:pt x="54" y="5"/>
                    <a:pt x="52" y="5"/>
                  </a:cubicBezTo>
                  <a:cubicBezTo>
                    <a:pt x="52" y="5"/>
                    <a:pt x="52" y="5"/>
                    <a:pt x="52" y="5"/>
                  </a:cubicBezTo>
                  <a:cubicBezTo>
                    <a:pt x="48" y="5"/>
                    <a:pt x="48" y="6"/>
                    <a:pt x="47" y="10"/>
                  </a:cubicBezTo>
                  <a:cubicBezTo>
                    <a:pt x="46" y="6"/>
                    <a:pt x="45" y="4"/>
                    <a:pt x="43" y="4"/>
                  </a:cubicBezTo>
                  <a:cubicBezTo>
                    <a:pt x="42" y="4"/>
                    <a:pt x="40" y="5"/>
                    <a:pt x="38" y="6"/>
                  </a:cubicBezTo>
                  <a:cubicBezTo>
                    <a:pt x="34" y="2"/>
                    <a:pt x="33"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1238"/>
            <p:cNvSpPr/>
            <p:nvPr/>
          </p:nvSpPr>
          <p:spPr bwMode="auto">
            <a:xfrm>
              <a:off x="4902210" y="5471366"/>
              <a:ext cx="5369" cy="9396"/>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1239"/>
            <p:cNvSpPr/>
            <p:nvPr/>
          </p:nvSpPr>
          <p:spPr bwMode="auto">
            <a:xfrm>
              <a:off x="3990764" y="5420357"/>
              <a:ext cx="32216" cy="13423"/>
            </a:xfrm>
            <a:custGeom>
              <a:gdLst>
                <a:gd name="T0" fmla="*/ 4 w 10"/>
                <a:gd name="T1" fmla="*/ 0 h 4"/>
                <a:gd name="T2" fmla="*/ 5 w 10"/>
                <a:gd name="T3" fmla="*/ 4 h 4"/>
                <a:gd name="T4" fmla="*/ 6 w 10"/>
                <a:gd name="T5" fmla="*/ 4 h 4"/>
                <a:gd name="T6" fmla="*/ 9 w 10"/>
                <a:gd name="T7" fmla="*/ 2 h 4"/>
                <a:gd name="T8" fmla="*/ 10 w 10"/>
                <a:gd name="T9" fmla="*/ 2 h 4"/>
                <a:gd name="T10" fmla="*/ 4 w 10"/>
                <a:gd name="T11" fmla="*/ 0 h 4"/>
              </a:gdLst>
              <a:cxnLst>
                <a:cxn ang="0">
                  <a:pos x="T0" y="T1"/>
                </a:cxn>
                <a:cxn ang="0">
                  <a:pos x="T2" y="T3"/>
                </a:cxn>
                <a:cxn ang="0">
                  <a:pos x="T4" y="T5"/>
                </a:cxn>
                <a:cxn ang="0">
                  <a:pos x="T6" y="T7"/>
                </a:cxn>
                <a:cxn ang="0">
                  <a:pos x="T8" y="T9"/>
                </a:cxn>
                <a:cxn ang="0">
                  <a:pos x="T10" y="T11"/>
                </a:cxn>
              </a:cxnLst>
              <a:rect l="0" t="0" r="r" b="b"/>
              <a:pathLst>
                <a:path w="10" h="4">
                  <a:moveTo>
                    <a:pt x="4" y="0"/>
                  </a:moveTo>
                  <a:cubicBezTo>
                    <a:pt x="0" y="2"/>
                    <a:pt x="3" y="4"/>
                    <a:pt x="5" y="4"/>
                  </a:cubicBezTo>
                  <a:cubicBezTo>
                    <a:pt x="5" y="4"/>
                    <a:pt x="5" y="4"/>
                    <a:pt x="6" y="4"/>
                  </a:cubicBezTo>
                  <a:cubicBezTo>
                    <a:pt x="9" y="2"/>
                    <a:pt x="9" y="2"/>
                    <a:pt x="9" y="2"/>
                  </a:cubicBezTo>
                  <a:cubicBezTo>
                    <a:pt x="10" y="2"/>
                    <a:pt x="10" y="2"/>
                    <a:pt x="10" y="2"/>
                  </a:cubicBezTo>
                  <a:cubicBezTo>
                    <a:pt x="8" y="1"/>
                    <a:pt x="6"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1240"/>
            <p:cNvSpPr/>
            <p:nvPr/>
          </p:nvSpPr>
          <p:spPr bwMode="auto">
            <a:xfrm>
              <a:off x="4279366" y="5519690"/>
              <a:ext cx="6712" cy="9396"/>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1241"/>
            <p:cNvSpPr/>
            <p:nvPr/>
          </p:nvSpPr>
          <p:spPr bwMode="auto">
            <a:xfrm>
              <a:off x="3518262" y="5027053"/>
              <a:ext cx="13423" cy="0"/>
            </a:xfrm>
            <a:custGeom>
              <a:gdLst>
                <a:gd name="T0" fmla="*/ 1 w 4"/>
                <a:gd name="T1" fmla="*/ 0 w 4"/>
                <a:gd name="T2" fmla="*/ 1 w 4"/>
                <a:gd name="T3" fmla="*/ 4 w 4"/>
                <a:gd name="T4" fmla="*/ 1 w 4"/>
              </a:gdLst>
              <a:cxnLst>
                <a:cxn ang="0">
                  <a:pos x="T0" y="0"/>
                </a:cxn>
                <a:cxn ang="0">
                  <a:pos x="T1" y="0"/>
                </a:cxn>
                <a:cxn ang="0">
                  <a:pos x="T2" y="0"/>
                </a:cxn>
                <a:cxn ang="0">
                  <a:pos x="T3" y="0"/>
                </a:cxn>
                <a:cxn ang="0">
                  <a:pos x="T4" y="0"/>
                </a:cxn>
              </a:cxnLst>
              <a:rect l="0" t="0" r="r" b="b"/>
              <a:pathLst>
                <a:path w="4">
                  <a:moveTo>
                    <a:pt x="1" y="0"/>
                  </a:moveTo>
                  <a:cubicBezTo>
                    <a:pt x="1" y="0"/>
                    <a:pt x="0" y="0"/>
                    <a:pt x="0" y="0"/>
                  </a:cubicBezTo>
                  <a:cubicBezTo>
                    <a:pt x="0" y="0"/>
                    <a:pt x="1" y="0"/>
                    <a:pt x="1" y="0"/>
                  </a:cubicBezTo>
                  <a:cubicBezTo>
                    <a:pt x="2" y="0"/>
                    <a:pt x="3" y="0"/>
                    <a:pt x="4" y="0"/>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1242"/>
            <p:cNvSpPr/>
            <p:nvPr/>
          </p:nvSpPr>
          <p:spPr bwMode="auto">
            <a:xfrm>
              <a:off x="5158596" y="5515663"/>
              <a:ext cx="28189" cy="18793"/>
            </a:xfrm>
            <a:custGeom>
              <a:gdLst>
                <a:gd name="T0" fmla="*/ 6 w 9"/>
                <a:gd name="T1" fmla="*/ 0 h 6"/>
                <a:gd name="T2" fmla="*/ 0 w 9"/>
                <a:gd name="T3" fmla="*/ 6 h 6"/>
                <a:gd name="T4" fmla="*/ 6 w 9"/>
                <a:gd name="T5" fmla="*/ 3 h 6"/>
                <a:gd name="T6" fmla="*/ 9 w 9"/>
                <a:gd name="T7" fmla="*/ 1 h 6"/>
                <a:gd name="T8" fmla="*/ 6 w 9"/>
                <a:gd name="T9" fmla="*/ 0 h 6"/>
              </a:gdLst>
              <a:cxnLst>
                <a:cxn ang="0">
                  <a:pos x="T0" y="T1"/>
                </a:cxn>
                <a:cxn ang="0">
                  <a:pos x="T2" y="T3"/>
                </a:cxn>
                <a:cxn ang="0">
                  <a:pos x="T4" y="T5"/>
                </a:cxn>
                <a:cxn ang="0">
                  <a:pos x="T6" y="T7"/>
                </a:cxn>
                <a:cxn ang="0">
                  <a:pos x="T8" y="T9"/>
                </a:cxn>
              </a:cxnLst>
              <a:rect l="0" t="0" r="r" b="b"/>
              <a:pathLst>
                <a:path w="9" h="6">
                  <a:moveTo>
                    <a:pt x="6" y="0"/>
                  </a:moveTo>
                  <a:cubicBezTo>
                    <a:pt x="4" y="0"/>
                    <a:pt x="2" y="3"/>
                    <a:pt x="0" y="6"/>
                  </a:cubicBezTo>
                  <a:cubicBezTo>
                    <a:pt x="3" y="5"/>
                    <a:pt x="3" y="4"/>
                    <a:pt x="6" y="3"/>
                  </a:cubicBezTo>
                  <a:cubicBezTo>
                    <a:pt x="7" y="3"/>
                    <a:pt x="8" y="2"/>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1243"/>
            <p:cNvSpPr/>
            <p:nvPr/>
          </p:nvSpPr>
          <p:spPr bwMode="auto">
            <a:xfrm>
              <a:off x="4902210" y="4855233"/>
              <a:ext cx="5369" cy="6712"/>
            </a:xfrm>
            <a:custGeom>
              <a:gdLst>
                <a:gd name="T0" fmla="*/ 2 w 2"/>
                <a:gd name="T1" fmla="*/ 0 h 2"/>
                <a:gd name="T2" fmla="*/ 1 w 2"/>
                <a:gd name="T3" fmla="*/ 2 h 2"/>
                <a:gd name="T4" fmla="*/ 2 w 2"/>
                <a:gd name="T5" fmla="*/ 0 h 2"/>
              </a:gdLst>
              <a:cxnLst>
                <a:cxn ang="0">
                  <a:pos x="T0" y="T1"/>
                </a:cxn>
                <a:cxn ang="0">
                  <a:pos x="T2" y="T3"/>
                </a:cxn>
                <a:cxn ang="0">
                  <a:pos x="T4" y="T5"/>
                </a:cxn>
              </a:cxnLst>
              <a:rect l="0" t="0" r="r" b="b"/>
              <a:pathLst>
                <a:path w="2" h="2">
                  <a:moveTo>
                    <a:pt x="2" y="0"/>
                  </a:moveTo>
                  <a:cubicBezTo>
                    <a:pt x="1" y="0"/>
                    <a:pt x="0" y="1"/>
                    <a:pt x="1" y="2"/>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1244"/>
            <p:cNvSpPr/>
            <p:nvPr/>
          </p:nvSpPr>
          <p:spPr bwMode="auto">
            <a:xfrm>
              <a:off x="4942480" y="5176052"/>
              <a:ext cx="29531" cy="13423"/>
            </a:xfrm>
            <a:custGeom>
              <a:gdLst>
                <a:gd name="T0" fmla="*/ 5 w 9"/>
                <a:gd name="T1" fmla="*/ 0 h 4"/>
                <a:gd name="T2" fmla="*/ 1 w 9"/>
                <a:gd name="T3" fmla="*/ 2 h 4"/>
                <a:gd name="T4" fmla="*/ 2 w 9"/>
                <a:gd name="T5" fmla="*/ 4 h 4"/>
                <a:gd name="T6" fmla="*/ 5 w 9"/>
                <a:gd name="T7" fmla="*/ 3 h 4"/>
                <a:gd name="T8" fmla="*/ 9 w 9"/>
                <a:gd name="T9" fmla="*/ 1 h 4"/>
                <a:gd name="T10" fmla="*/ 5 w 9"/>
                <a:gd name="T11" fmla="*/ 0 h 4"/>
              </a:gdLst>
              <a:cxnLst>
                <a:cxn ang="0">
                  <a:pos x="T0" y="T1"/>
                </a:cxn>
                <a:cxn ang="0">
                  <a:pos x="T2" y="T3"/>
                </a:cxn>
                <a:cxn ang="0">
                  <a:pos x="T4" y="T5"/>
                </a:cxn>
                <a:cxn ang="0">
                  <a:pos x="T6" y="T7"/>
                </a:cxn>
                <a:cxn ang="0">
                  <a:pos x="T8" y="T9"/>
                </a:cxn>
                <a:cxn ang="0">
                  <a:pos x="T10" y="T11"/>
                </a:cxn>
              </a:cxnLst>
              <a:rect l="0" t="0" r="r" b="b"/>
              <a:pathLst>
                <a:path w="9" h="4">
                  <a:moveTo>
                    <a:pt x="5" y="0"/>
                  </a:moveTo>
                  <a:cubicBezTo>
                    <a:pt x="3" y="0"/>
                    <a:pt x="2" y="1"/>
                    <a:pt x="1" y="2"/>
                  </a:cubicBezTo>
                  <a:cubicBezTo>
                    <a:pt x="0" y="4"/>
                    <a:pt x="1" y="4"/>
                    <a:pt x="2" y="4"/>
                  </a:cubicBezTo>
                  <a:cubicBezTo>
                    <a:pt x="2" y="4"/>
                    <a:pt x="4" y="4"/>
                    <a:pt x="5" y="3"/>
                  </a:cubicBezTo>
                  <a:cubicBezTo>
                    <a:pt x="6" y="3"/>
                    <a:pt x="8" y="2"/>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1245"/>
            <p:cNvSpPr/>
            <p:nvPr/>
          </p:nvSpPr>
          <p:spPr bwMode="auto">
            <a:xfrm>
              <a:off x="4857913" y="4570658"/>
              <a:ext cx="12081" cy="40270"/>
            </a:xfrm>
            <a:custGeom>
              <a:gdLst>
                <a:gd name="T0" fmla="*/ 0 w 4"/>
                <a:gd name="T1" fmla="*/ 0 h 13"/>
                <a:gd name="T2" fmla="*/ 0 w 4"/>
                <a:gd name="T3" fmla="*/ 13 h 13"/>
                <a:gd name="T4" fmla="*/ 3 w 4"/>
                <a:gd name="T5" fmla="*/ 8 h 13"/>
                <a:gd name="T6" fmla="*/ 4 w 4"/>
                <a:gd name="T7" fmla="*/ 6 h 13"/>
                <a:gd name="T8" fmla="*/ 3 w 4"/>
                <a:gd name="T9" fmla="*/ 5 h 13"/>
                <a:gd name="T10" fmla="*/ 3 w 4"/>
                <a:gd name="T11" fmla="*/ 3 h 13"/>
                <a:gd name="T12" fmla="*/ 0 w 4"/>
                <a:gd name="T13" fmla="*/ 0 h 13"/>
              </a:gdLst>
              <a:cxnLst>
                <a:cxn ang="0">
                  <a:pos x="T0" y="T1"/>
                </a:cxn>
                <a:cxn ang="0">
                  <a:pos x="T2" y="T3"/>
                </a:cxn>
                <a:cxn ang="0">
                  <a:pos x="T4" y="T5"/>
                </a:cxn>
                <a:cxn ang="0">
                  <a:pos x="T6" y="T7"/>
                </a:cxn>
                <a:cxn ang="0">
                  <a:pos x="T8" y="T9"/>
                </a:cxn>
                <a:cxn ang="0">
                  <a:pos x="T10" y="T11"/>
                </a:cxn>
                <a:cxn ang="0">
                  <a:pos x="T12" y="T13"/>
                </a:cxn>
              </a:cxnLst>
              <a:rect l="0" t="0" r="r" b="b"/>
              <a:pathLst>
                <a:path w="4" h="13">
                  <a:moveTo>
                    <a:pt x="0" y="0"/>
                  </a:moveTo>
                  <a:cubicBezTo>
                    <a:pt x="0" y="4"/>
                    <a:pt x="0" y="9"/>
                    <a:pt x="0" y="13"/>
                  </a:cubicBezTo>
                  <a:cubicBezTo>
                    <a:pt x="2" y="12"/>
                    <a:pt x="2" y="10"/>
                    <a:pt x="3" y="8"/>
                  </a:cubicBezTo>
                  <a:cubicBezTo>
                    <a:pt x="3" y="8"/>
                    <a:pt x="4" y="7"/>
                    <a:pt x="4" y="6"/>
                  </a:cubicBezTo>
                  <a:cubicBezTo>
                    <a:pt x="4" y="5"/>
                    <a:pt x="3" y="5"/>
                    <a:pt x="3" y="5"/>
                  </a:cubicBezTo>
                  <a:cubicBezTo>
                    <a:pt x="3" y="4"/>
                    <a:pt x="3" y="3"/>
                    <a:pt x="3" y="3"/>
                  </a:cubicBezTo>
                  <a:cubicBezTo>
                    <a:pt x="2"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1246"/>
            <p:cNvSpPr/>
            <p:nvPr/>
          </p:nvSpPr>
          <p:spPr bwMode="auto">
            <a:xfrm>
              <a:off x="3457857" y="4592135"/>
              <a:ext cx="32216" cy="44297"/>
            </a:xfrm>
            <a:custGeom>
              <a:gdLst>
                <a:gd name="T0" fmla="*/ 6 w 10"/>
                <a:gd name="T1" fmla="*/ 0 h 14"/>
                <a:gd name="T2" fmla="*/ 1 w 10"/>
                <a:gd name="T3" fmla="*/ 5 h 14"/>
                <a:gd name="T4" fmla="*/ 2 w 10"/>
                <a:gd name="T5" fmla="*/ 9 h 14"/>
                <a:gd name="T6" fmla="*/ 7 w 10"/>
                <a:gd name="T7" fmla="*/ 12 h 14"/>
                <a:gd name="T8" fmla="*/ 3 w 10"/>
                <a:gd name="T9" fmla="*/ 13 h 14"/>
                <a:gd name="T10" fmla="*/ 5 w 10"/>
                <a:gd name="T11" fmla="*/ 14 h 14"/>
                <a:gd name="T12" fmla="*/ 6 w 10"/>
                <a:gd name="T13" fmla="*/ 14 h 14"/>
                <a:gd name="T14" fmla="*/ 9 w 10"/>
                <a:gd name="T15" fmla="*/ 10 h 14"/>
                <a:gd name="T16" fmla="*/ 6 w 10"/>
                <a:gd name="T1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4">
                  <a:moveTo>
                    <a:pt x="6" y="0"/>
                  </a:moveTo>
                  <a:cubicBezTo>
                    <a:pt x="4" y="1"/>
                    <a:pt x="1" y="3"/>
                    <a:pt x="1" y="5"/>
                  </a:cubicBezTo>
                  <a:cubicBezTo>
                    <a:pt x="0" y="6"/>
                    <a:pt x="0" y="7"/>
                    <a:pt x="2" y="9"/>
                  </a:cubicBezTo>
                  <a:cubicBezTo>
                    <a:pt x="3" y="10"/>
                    <a:pt x="6" y="10"/>
                    <a:pt x="7" y="12"/>
                  </a:cubicBezTo>
                  <a:cubicBezTo>
                    <a:pt x="6" y="12"/>
                    <a:pt x="2" y="12"/>
                    <a:pt x="3" y="13"/>
                  </a:cubicBezTo>
                  <a:cubicBezTo>
                    <a:pt x="3" y="14"/>
                    <a:pt x="4" y="14"/>
                    <a:pt x="5" y="14"/>
                  </a:cubicBezTo>
                  <a:cubicBezTo>
                    <a:pt x="6" y="14"/>
                    <a:pt x="6" y="14"/>
                    <a:pt x="6" y="14"/>
                  </a:cubicBezTo>
                  <a:cubicBezTo>
                    <a:pt x="8" y="13"/>
                    <a:pt x="9" y="11"/>
                    <a:pt x="9" y="10"/>
                  </a:cubicBezTo>
                  <a:cubicBezTo>
                    <a:pt x="10" y="6"/>
                    <a:pt x="6"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1247"/>
            <p:cNvSpPr/>
            <p:nvPr/>
          </p:nvSpPr>
          <p:spPr bwMode="auto">
            <a:xfrm>
              <a:off x="3096768" y="4859260"/>
              <a:ext cx="9396" cy="9396"/>
            </a:xfrm>
            <a:custGeom>
              <a:gdLst>
                <a:gd name="T0" fmla="*/ 1 w 3"/>
                <a:gd name="T1" fmla="*/ 0 h 3"/>
                <a:gd name="T2" fmla="*/ 0 w 3"/>
                <a:gd name="T3" fmla="*/ 3 h 3"/>
                <a:gd name="T4" fmla="*/ 3 w 3"/>
                <a:gd name="T5" fmla="*/ 2 h 3"/>
                <a:gd name="T6" fmla="*/ 1 w 3"/>
                <a:gd name="T7" fmla="*/ 0 h 3"/>
              </a:gdLst>
              <a:cxnLst>
                <a:cxn ang="0">
                  <a:pos x="T0" y="T1"/>
                </a:cxn>
                <a:cxn ang="0">
                  <a:pos x="T2" y="T3"/>
                </a:cxn>
                <a:cxn ang="0">
                  <a:pos x="T4" y="T5"/>
                </a:cxn>
                <a:cxn ang="0">
                  <a:pos x="T6" y="T7"/>
                </a:cxn>
              </a:cxnLst>
              <a:rect l="0" t="0" r="r" b="b"/>
              <a:pathLst>
                <a:path w="3" h="3">
                  <a:moveTo>
                    <a:pt x="1" y="0"/>
                  </a:moveTo>
                  <a:cubicBezTo>
                    <a:pt x="1" y="0"/>
                    <a:pt x="0" y="1"/>
                    <a:pt x="0" y="3"/>
                  </a:cubicBezTo>
                  <a:cubicBezTo>
                    <a:pt x="1" y="3"/>
                    <a:pt x="2" y="2"/>
                    <a:pt x="3" y="2"/>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1248"/>
            <p:cNvSpPr/>
            <p:nvPr/>
          </p:nvSpPr>
          <p:spPr bwMode="auto">
            <a:xfrm>
              <a:off x="3043075" y="4824360"/>
              <a:ext cx="53693" cy="28189"/>
            </a:xfrm>
            <a:custGeom>
              <a:gdLst>
                <a:gd name="T0" fmla="*/ 8 w 17"/>
                <a:gd name="T1" fmla="*/ 0 h 9"/>
                <a:gd name="T2" fmla="*/ 8 w 17"/>
                <a:gd name="T3" fmla="*/ 0 h 9"/>
                <a:gd name="T4" fmla="*/ 5 w 17"/>
                <a:gd name="T5" fmla="*/ 3 h 9"/>
                <a:gd name="T6" fmla="*/ 4 w 17"/>
                <a:gd name="T7" fmla="*/ 2 h 9"/>
                <a:gd name="T8" fmla="*/ 2 w 17"/>
                <a:gd name="T9" fmla="*/ 0 h 9"/>
                <a:gd name="T10" fmla="*/ 2 w 17"/>
                <a:gd name="T11" fmla="*/ 0 h 9"/>
                <a:gd name="T12" fmla="*/ 2 w 17"/>
                <a:gd name="T13" fmla="*/ 5 h 9"/>
                <a:gd name="T14" fmla="*/ 0 w 17"/>
                <a:gd name="T15" fmla="*/ 6 h 9"/>
                <a:gd name="T16" fmla="*/ 7 w 17"/>
                <a:gd name="T17" fmla="*/ 9 h 9"/>
                <a:gd name="T18" fmla="*/ 12 w 17"/>
                <a:gd name="T19" fmla="*/ 9 h 9"/>
                <a:gd name="T20" fmla="*/ 15 w 17"/>
                <a:gd name="T21" fmla="*/ 9 h 9"/>
                <a:gd name="T22" fmla="*/ 15 w 17"/>
                <a:gd name="T23" fmla="*/ 9 h 9"/>
                <a:gd name="T24" fmla="*/ 6 w 17"/>
                <a:gd name="T25" fmla="*/ 4 h 9"/>
                <a:gd name="T26" fmla="*/ 5 w 17"/>
                <a:gd name="T27" fmla="*/ 3 h 9"/>
                <a:gd name="T28" fmla="*/ 6 w 17"/>
                <a:gd name="T29" fmla="*/ 3 h 9"/>
                <a:gd name="T30" fmla="*/ 7 w 17"/>
                <a:gd name="T31" fmla="*/ 3 h 9"/>
                <a:gd name="T32" fmla="*/ 17 w 17"/>
                <a:gd name="T33" fmla="*/ 7 h 9"/>
                <a:gd name="T34" fmla="*/ 12 w 17"/>
                <a:gd name="T35" fmla="*/ 1 h 9"/>
                <a:gd name="T36" fmla="*/ 8 w 17"/>
                <a:gd name="T3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9">
                  <a:moveTo>
                    <a:pt x="8" y="0"/>
                  </a:moveTo>
                  <a:cubicBezTo>
                    <a:pt x="8" y="0"/>
                    <a:pt x="8" y="0"/>
                    <a:pt x="8" y="0"/>
                  </a:cubicBezTo>
                  <a:cubicBezTo>
                    <a:pt x="6" y="0"/>
                    <a:pt x="6" y="2"/>
                    <a:pt x="5" y="3"/>
                  </a:cubicBezTo>
                  <a:cubicBezTo>
                    <a:pt x="4" y="2"/>
                    <a:pt x="4" y="2"/>
                    <a:pt x="4" y="2"/>
                  </a:cubicBezTo>
                  <a:cubicBezTo>
                    <a:pt x="4" y="2"/>
                    <a:pt x="3" y="0"/>
                    <a:pt x="2" y="0"/>
                  </a:cubicBezTo>
                  <a:cubicBezTo>
                    <a:pt x="2" y="0"/>
                    <a:pt x="2" y="0"/>
                    <a:pt x="2" y="0"/>
                  </a:cubicBezTo>
                  <a:cubicBezTo>
                    <a:pt x="0" y="0"/>
                    <a:pt x="2" y="3"/>
                    <a:pt x="2" y="5"/>
                  </a:cubicBezTo>
                  <a:cubicBezTo>
                    <a:pt x="1" y="5"/>
                    <a:pt x="0" y="5"/>
                    <a:pt x="0" y="6"/>
                  </a:cubicBezTo>
                  <a:cubicBezTo>
                    <a:pt x="0" y="8"/>
                    <a:pt x="4" y="9"/>
                    <a:pt x="7" y="9"/>
                  </a:cubicBezTo>
                  <a:cubicBezTo>
                    <a:pt x="9" y="9"/>
                    <a:pt x="11" y="9"/>
                    <a:pt x="12" y="9"/>
                  </a:cubicBezTo>
                  <a:cubicBezTo>
                    <a:pt x="13" y="9"/>
                    <a:pt x="14" y="9"/>
                    <a:pt x="15" y="9"/>
                  </a:cubicBezTo>
                  <a:cubicBezTo>
                    <a:pt x="15" y="9"/>
                    <a:pt x="15" y="9"/>
                    <a:pt x="15" y="9"/>
                  </a:cubicBezTo>
                  <a:cubicBezTo>
                    <a:pt x="12" y="5"/>
                    <a:pt x="9" y="6"/>
                    <a:pt x="6" y="4"/>
                  </a:cubicBezTo>
                  <a:cubicBezTo>
                    <a:pt x="5" y="3"/>
                    <a:pt x="5" y="3"/>
                    <a:pt x="5" y="3"/>
                  </a:cubicBezTo>
                  <a:cubicBezTo>
                    <a:pt x="5" y="3"/>
                    <a:pt x="6" y="3"/>
                    <a:pt x="6" y="3"/>
                  </a:cubicBezTo>
                  <a:cubicBezTo>
                    <a:pt x="6" y="3"/>
                    <a:pt x="7" y="3"/>
                    <a:pt x="7" y="3"/>
                  </a:cubicBezTo>
                  <a:cubicBezTo>
                    <a:pt x="10" y="3"/>
                    <a:pt x="16" y="7"/>
                    <a:pt x="17" y="7"/>
                  </a:cubicBezTo>
                  <a:cubicBezTo>
                    <a:pt x="16" y="4"/>
                    <a:pt x="15" y="2"/>
                    <a:pt x="12" y="1"/>
                  </a:cubicBezTo>
                  <a:cubicBezTo>
                    <a:pt x="11"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1249"/>
            <p:cNvSpPr/>
            <p:nvPr/>
          </p:nvSpPr>
          <p:spPr bwMode="auto">
            <a:xfrm>
              <a:off x="5349208" y="5217664"/>
              <a:ext cx="16108" cy="9396"/>
            </a:xfrm>
            <a:custGeom>
              <a:gdLst>
                <a:gd name="T0" fmla="*/ 0 w 5"/>
                <a:gd name="T1" fmla="*/ 0 h 3"/>
                <a:gd name="T2" fmla="*/ 4 w 5"/>
                <a:gd name="T3" fmla="*/ 3 h 3"/>
                <a:gd name="T4" fmla="*/ 5 w 5"/>
                <a:gd name="T5" fmla="*/ 3 h 3"/>
                <a:gd name="T6" fmla="*/ 0 w 5"/>
                <a:gd name="T7" fmla="*/ 0 h 3"/>
              </a:gdLst>
              <a:cxnLst>
                <a:cxn ang="0">
                  <a:pos x="T0" y="T1"/>
                </a:cxn>
                <a:cxn ang="0">
                  <a:pos x="T2" y="T3"/>
                </a:cxn>
                <a:cxn ang="0">
                  <a:pos x="T4" y="T5"/>
                </a:cxn>
                <a:cxn ang="0">
                  <a:pos x="T6" y="T7"/>
                </a:cxn>
              </a:cxnLst>
              <a:rect l="0" t="0" r="r" b="b"/>
              <a:pathLst>
                <a:path w="5" h="3">
                  <a:moveTo>
                    <a:pt x="0" y="0"/>
                  </a:moveTo>
                  <a:cubicBezTo>
                    <a:pt x="0" y="1"/>
                    <a:pt x="2" y="3"/>
                    <a:pt x="4" y="3"/>
                  </a:cubicBezTo>
                  <a:cubicBezTo>
                    <a:pt x="4" y="3"/>
                    <a:pt x="4" y="3"/>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1250"/>
            <p:cNvSpPr/>
            <p:nvPr/>
          </p:nvSpPr>
          <p:spPr bwMode="auto">
            <a:xfrm>
              <a:off x="4492797" y="4935774"/>
              <a:ext cx="12081" cy="0"/>
            </a:xfrm>
            <a:custGeom>
              <a:gdLst>
                <a:gd name="T0" fmla="*/ 3 w 4"/>
                <a:gd name="T1" fmla="*/ 0 w 4"/>
                <a:gd name="T2" fmla="*/ 4 w 4"/>
                <a:gd name="T3" fmla="*/ 3 w 4"/>
              </a:gdLst>
              <a:cxnLst>
                <a:cxn ang="0">
                  <a:pos x="T0" y="0"/>
                </a:cxn>
                <a:cxn ang="0">
                  <a:pos x="T1" y="0"/>
                </a:cxn>
                <a:cxn ang="0">
                  <a:pos x="T2" y="0"/>
                </a:cxn>
                <a:cxn ang="0">
                  <a:pos x="T3" y="0"/>
                </a:cxn>
              </a:cxnLst>
              <a:rect l="0" t="0" r="r" b="b"/>
              <a:pathLst>
                <a:path w="4">
                  <a:moveTo>
                    <a:pt x="3" y="0"/>
                  </a:moveTo>
                  <a:cubicBezTo>
                    <a:pt x="2" y="0"/>
                    <a:pt x="1" y="0"/>
                    <a:pt x="0" y="0"/>
                  </a:cubicBezTo>
                  <a:cubicBezTo>
                    <a:pt x="1" y="0"/>
                    <a:pt x="3" y="0"/>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1251"/>
            <p:cNvSpPr/>
            <p:nvPr/>
          </p:nvSpPr>
          <p:spPr bwMode="auto">
            <a:xfrm>
              <a:off x="4635085" y="5052557"/>
              <a:ext cx="6712" cy="2685"/>
            </a:xfrm>
            <a:custGeom>
              <a:gdLst>
                <a:gd name="T0" fmla="*/ 0 w 2"/>
                <a:gd name="T1" fmla="*/ 0 h 1"/>
                <a:gd name="T2" fmla="*/ 2 w 2"/>
                <a:gd name="T3" fmla="*/ 1 h 1"/>
                <a:gd name="T4" fmla="*/ 0 w 2"/>
                <a:gd name="T5" fmla="*/ 0 h 1"/>
              </a:gdLst>
              <a:cxnLst>
                <a:cxn ang="0">
                  <a:pos x="T0" y="T1"/>
                </a:cxn>
                <a:cxn ang="0">
                  <a:pos x="T2" y="T3"/>
                </a:cxn>
                <a:cxn ang="0">
                  <a:pos x="T4" y="T5"/>
                </a:cxn>
              </a:cxnLst>
              <a:rect l="0" t="0" r="r" b="b"/>
              <a:pathLst>
                <a:path w="2" h="1">
                  <a:moveTo>
                    <a:pt x="0" y="0"/>
                  </a:moveTo>
                  <a:cubicBezTo>
                    <a:pt x="1" y="0"/>
                    <a:pt x="2" y="1"/>
                    <a:pt x="2"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1252"/>
            <p:cNvSpPr/>
            <p:nvPr/>
          </p:nvSpPr>
          <p:spPr bwMode="auto">
            <a:xfrm>
              <a:off x="3147777" y="4843152"/>
              <a:ext cx="9396" cy="6712"/>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1"/>
                    <a:pt x="2"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Freeform 1254"/>
            <p:cNvSpPr/>
            <p:nvPr/>
          </p:nvSpPr>
          <p:spPr bwMode="auto">
            <a:xfrm>
              <a:off x="3175966" y="4852549"/>
              <a:ext cx="6712" cy="2685"/>
            </a:xfrm>
            <a:custGeom>
              <a:gdLst>
                <a:gd name="T0" fmla="*/ 0 w 2"/>
                <a:gd name="T1" fmla="*/ 0 h 1"/>
                <a:gd name="T2" fmla="*/ 2 w 2"/>
                <a:gd name="T3" fmla="*/ 1 h 1"/>
                <a:gd name="T4" fmla="*/ 0 w 2"/>
                <a:gd name="T5" fmla="*/ 0 h 1"/>
              </a:gdLst>
              <a:cxnLst>
                <a:cxn ang="0">
                  <a:pos x="T0" y="T1"/>
                </a:cxn>
                <a:cxn ang="0">
                  <a:pos x="T2" y="T3"/>
                </a:cxn>
                <a:cxn ang="0">
                  <a:pos x="T4" y="T5"/>
                </a:cxn>
              </a:cxnLst>
              <a:rect l="0" t="0" r="r" b="b"/>
              <a:pathLst>
                <a:path w="2" h="1">
                  <a:moveTo>
                    <a:pt x="0" y="0"/>
                  </a:moveTo>
                  <a:cubicBezTo>
                    <a:pt x="0" y="0"/>
                    <a:pt x="1" y="1"/>
                    <a:pt x="2"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Freeform 1255"/>
            <p:cNvSpPr/>
            <p:nvPr/>
          </p:nvSpPr>
          <p:spPr bwMode="auto">
            <a:xfrm>
              <a:off x="3112876" y="4843152"/>
              <a:ext cx="9396" cy="16108"/>
            </a:xfrm>
            <a:custGeom>
              <a:gdLst>
                <a:gd name="T0" fmla="*/ 0 w 3"/>
                <a:gd name="T1" fmla="*/ 0 h 5"/>
                <a:gd name="T2" fmla="*/ 1 w 3"/>
                <a:gd name="T3" fmla="*/ 5 h 5"/>
                <a:gd name="T4" fmla="*/ 3 w 3"/>
                <a:gd name="T5" fmla="*/ 4 h 5"/>
                <a:gd name="T6" fmla="*/ 0 w 3"/>
                <a:gd name="T7" fmla="*/ 0 h 5"/>
              </a:gdLst>
              <a:cxnLst>
                <a:cxn ang="0">
                  <a:pos x="T0" y="T1"/>
                </a:cxn>
                <a:cxn ang="0">
                  <a:pos x="T2" y="T3"/>
                </a:cxn>
                <a:cxn ang="0">
                  <a:pos x="T4" y="T5"/>
                </a:cxn>
                <a:cxn ang="0">
                  <a:pos x="T6" y="T7"/>
                </a:cxn>
              </a:cxnLst>
              <a:rect l="0" t="0" r="r" b="b"/>
              <a:pathLst>
                <a:path w="3" h="5">
                  <a:moveTo>
                    <a:pt x="0" y="0"/>
                  </a:moveTo>
                  <a:cubicBezTo>
                    <a:pt x="0" y="2"/>
                    <a:pt x="0" y="5"/>
                    <a:pt x="1" y="5"/>
                  </a:cubicBezTo>
                  <a:cubicBezTo>
                    <a:pt x="2" y="5"/>
                    <a:pt x="3" y="5"/>
                    <a:pt x="3"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1256"/>
            <p:cNvSpPr/>
            <p:nvPr/>
          </p:nvSpPr>
          <p:spPr bwMode="auto">
            <a:xfrm>
              <a:off x="4937110" y="5515663"/>
              <a:ext cx="25504" cy="9396"/>
            </a:xfrm>
            <a:custGeom>
              <a:gdLst>
                <a:gd name="T0" fmla="*/ 0 w 8"/>
                <a:gd name="T1" fmla="*/ 0 h 3"/>
                <a:gd name="T2" fmla="*/ 4 w 8"/>
                <a:gd name="T3" fmla="*/ 3 h 3"/>
                <a:gd name="T4" fmla="*/ 4 w 8"/>
                <a:gd name="T5" fmla="*/ 3 h 3"/>
                <a:gd name="T6" fmla="*/ 8 w 8"/>
                <a:gd name="T7" fmla="*/ 2 h 3"/>
                <a:gd name="T8" fmla="*/ 0 w 8"/>
                <a:gd name="T9" fmla="*/ 0 h 3"/>
              </a:gdLst>
              <a:cxnLst>
                <a:cxn ang="0">
                  <a:pos x="T0" y="T1"/>
                </a:cxn>
                <a:cxn ang="0">
                  <a:pos x="T2" y="T3"/>
                </a:cxn>
                <a:cxn ang="0">
                  <a:pos x="T4" y="T5"/>
                </a:cxn>
                <a:cxn ang="0">
                  <a:pos x="T6" y="T7"/>
                </a:cxn>
                <a:cxn ang="0">
                  <a:pos x="T8" y="T9"/>
                </a:cxn>
              </a:cxnLst>
              <a:rect l="0" t="0" r="r" b="b"/>
              <a:pathLst>
                <a:path w="8" h="3">
                  <a:moveTo>
                    <a:pt x="0" y="0"/>
                  </a:moveTo>
                  <a:cubicBezTo>
                    <a:pt x="0" y="2"/>
                    <a:pt x="2" y="3"/>
                    <a:pt x="4" y="3"/>
                  </a:cubicBezTo>
                  <a:cubicBezTo>
                    <a:pt x="4" y="3"/>
                    <a:pt x="4" y="3"/>
                    <a:pt x="4" y="3"/>
                  </a:cubicBezTo>
                  <a:cubicBezTo>
                    <a:pt x="6" y="3"/>
                    <a:pt x="6" y="3"/>
                    <a:pt x="8" y="2"/>
                  </a:cubicBezTo>
                  <a:cubicBezTo>
                    <a:pt x="5"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1257"/>
            <p:cNvSpPr/>
            <p:nvPr/>
          </p:nvSpPr>
          <p:spPr bwMode="auto">
            <a:xfrm>
              <a:off x="4381383" y="5341159"/>
              <a:ext cx="9396" cy="53693"/>
            </a:xfrm>
            <a:custGeom>
              <a:gdLst>
                <a:gd name="T0" fmla="*/ 3 w 3"/>
                <a:gd name="T1" fmla="*/ 0 h 17"/>
                <a:gd name="T2" fmla="*/ 3 w 3"/>
                <a:gd name="T3" fmla="*/ 17 h 17"/>
                <a:gd name="T4" fmla="*/ 3 w 3"/>
                <a:gd name="T5" fmla="*/ 0 h 17"/>
              </a:gdLst>
              <a:cxnLst>
                <a:cxn ang="0">
                  <a:pos x="T0" y="T1"/>
                </a:cxn>
                <a:cxn ang="0">
                  <a:pos x="T2" y="T3"/>
                </a:cxn>
                <a:cxn ang="0">
                  <a:pos x="T4" y="T5"/>
                </a:cxn>
              </a:cxnLst>
              <a:rect l="0" t="0" r="r" b="b"/>
              <a:pathLst>
                <a:path w="3" h="17">
                  <a:moveTo>
                    <a:pt x="3" y="0"/>
                  </a:moveTo>
                  <a:cubicBezTo>
                    <a:pt x="0" y="4"/>
                    <a:pt x="2" y="12"/>
                    <a:pt x="3" y="17"/>
                  </a:cubicBezTo>
                  <a:cubicBezTo>
                    <a:pt x="3" y="11"/>
                    <a:pt x="3" y="6"/>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Freeform 1258"/>
            <p:cNvSpPr/>
            <p:nvPr/>
          </p:nvSpPr>
          <p:spPr bwMode="auto">
            <a:xfrm>
              <a:off x="3201470" y="4894161"/>
              <a:ext cx="9396" cy="12081"/>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0" y="3"/>
                    <a:pt x="2" y="3"/>
                    <a:pt x="3" y="4"/>
                  </a:cubicBezTo>
                  <a:cubicBezTo>
                    <a:pt x="3"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1259"/>
            <p:cNvSpPr/>
            <p:nvPr/>
          </p:nvSpPr>
          <p:spPr bwMode="auto">
            <a:xfrm>
              <a:off x="5244505" y="5449889"/>
              <a:ext cx="2685" cy="2685"/>
            </a:xfrm>
            <a:custGeom>
              <a:gdLst>
                <a:gd name="T0" fmla="*/ 0 w 1"/>
                <a:gd name="T1" fmla="*/ 0 h 1"/>
                <a:gd name="T2" fmla="*/ 1 w 1"/>
                <a:gd name="T3" fmla="*/ 1 h 1"/>
                <a:gd name="T4" fmla="*/ 0 w 1"/>
                <a:gd name="T5" fmla="*/ 0 h 1"/>
              </a:gdLst>
              <a:cxnLst>
                <a:cxn ang="0">
                  <a:pos x="T0" y="T1"/>
                </a:cxn>
                <a:cxn ang="0">
                  <a:pos x="T2" y="T3"/>
                </a:cxn>
                <a:cxn ang="0">
                  <a:pos x="T4" y="T5"/>
                </a:cxn>
              </a:cxnLst>
              <a:rect l="0" t="0" r="r" b="b"/>
              <a:pathLst>
                <a:path w="1" h="1">
                  <a:moveTo>
                    <a:pt x="0" y="0"/>
                  </a:moveTo>
                  <a:cubicBezTo>
                    <a:pt x="0" y="0"/>
                    <a:pt x="0" y="1"/>
                    <a:pt x="1"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1260"/>
            <p:cNvSpPr>
              <a:spLocks noEditPoints="1"/>
            </p:cNvSpPr>
            <p:nvPr/>
          </p:nvSpPr>
          <p:spPr bwMode="auto">
            <a:xfrm>
              <a:off x="5231082" y="5443177"/>
              <a:ext cx="13423" cy="6712"/>
            </a:xfrm>
            <a:custGeom>
              <a:gdLst>
                <a:gd name="T0" fmla="*/ 0 w 4"/>
                <a:gd name="T1" fmla="*/ 0 h 2"/>
                <a:gd name="T2" fmla="*/ 4 w 4"/>
                <a:gd name="T3" fmla="*/ 2 h 2"/>
                <a:gd name="T4" fmla="*/ 0 w 4"/>
                <a:gd name="T5" fmla="*/ 0 h 2"/>
                <a:gd name="T6" fmla="*/ 0 w 4"/>
                <a:gd name="T7" fmla="*/ 0 h 2"/>
                <a:gd name="T8" fmla="*/ 0 w 4"/>
                <a:gd name="T9" fmla="*/ 0 h 2"/>
                <a:gd name="T10" fmla="*/ 0 w 4"/>
                <a:gd name="T11" fmla="*/ 0 h 2"/>
              </a:gdLst>
              <a:cxnLst>
                <a:cxn ang="0">
                  <a:pos x="T0" y="T1"/>
                </a:cxn>
                <a:cxn ang="0">
                  <a:pos x="T2" y="T3"/>
                </a:cxn>
                <a:cxn ang="0">
                  <a:pos x="T4" y="T5"/>
                </a:cxn>
                <a:cxn ang="0">
                  <a:pos x="T6" y="T7"/>
                </a:cxn>
                <a:cxn ang="0">
                  <a:pos x="T8" y="T9"/>
                </a:cxn>
                <a:cxn ang="0">
                  <a:pos x="T10" y="T11"/>
                </a:cxn>
              </a:cxnLst>
              <a:rect l="0" t="0" r="r" b="b"/>
              <a:pathLst>
                <a:path w="4" h="2">
                  <a:moveTo>
                    <a:pt x="0" y="0"/>
                  </a:moveTo>
                  <a:cubicBezTo>
                    <a:pt x="1" y="0"/>
                    <a:pt x="2" y="1"/>
                    <a:pt x="4" y="2"/>
                  </a:cubicBezTo>
                  <a:cubicBezTo>
                    <a:pt x="3" y="0"/>
                    <a:pt x="1"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1261"/>
            <p:cNvSpPr/>
            <p:nvPr/>
          </p:nvSpPr>
          <p:spPr bwMode="auto">
            <a:xfrm>
              <a:off x="4523671" y="5255250"/>
              <a:ext cx="41612" cy="60405"/>
            </a:xfrm>
            <a:custGeom>
              <a:gdLst>
                <a:gd name="T0" fmla="*/ 10 w 13"/>
                <a:gd name="T1" fmla="*/ 0 h 19"/>
                <a:gd name="T2" fmla="*/ 6 w 13"/>
                <a:gd name="T3" fmla="*/ 2 h 19"/>
                <a:gd name="T4" fmla="*/ 2 w 13"/>
                <a:gd name="T5" fmla="*/ 4 h 19"/>
                <a:gd name="T6" fmla="*/ 1 w 13"/>
                <a:gd name="T7" fmla="*/ 13 h 19"/>
                <a:gd name="T8" fmla="*/ 3 w 13"/>
                <a:gd name="T9" fmla="*/ 18 h 19"/>
                <a:gd name="T10" fmla="*/ 6 w 13"/>
                <a:gd name="T11" fmla="*/ 19 h 19"/>
                <a:gd name="T12" fmla="*/ 8 w 13"/>
                <a:gd name="T13" fmla="*/ 17 h 19"/>
                <a:gd name="T14" fmla="*/ 9 w 13"/>
                <a:gd name="T15" fmla="*/ 15 h 19"/>
                <a:gd name="T16" fmla="*/ 9 w 13"/>
                <a:gd name="T17" fmla="*/ 11 h 19"/>
                <a:gd name="T18" fmla="*/ 11 w 13"/>
                <a:gd name="T19" fmla="*/ 8 h 19"/>
                <a:gd name="T20" fmla="*/ 10 w 13"/>
                <a:gd name="T21"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9">
                  <a:moveTo>
                    <a:pt x="10" y="0"/>
                  </a:moveTo>
                  <a:cubicBezTo>
                    <a:pt x="8" y="0"/>
                    <a:pt x="8" y="1"/>
                    <a:pt x="6" y="2"/>
                  </a:cubicBezTo>
                  <a:cubicBezTo>
                    <a:pt x="5" y="3"/>
                    <a:pt x="3" y="2"/>
                    <a:pt x="2" y="4"/>
                  </a:cubicBezTo>
                  <a:cubicBezTo>
                    <a:pt x="0" y="6"/>
                    <a:pt x="4" y="9"/>
                    <a:pt x="1" y="13"/>
                  </a:cubicBezTo>
                  <a:cubicBezTo>
                    <a:pt x="0" y="18"/>
                    <a:pt x="0" y="17"/>
                    <a:pt x="3" y="18"/>
                  </a:cubicBezTo>
                  <a:cubicBezTo>
                    <a:pt x="5" y="19"/>
                    <a:pt x="6" y="19"/>
                    <a:pt x="6" y="19"/>
                  </a:cubicBezTo>
                  <a:cubicBezTo>
                    <a:pt x="7" y="19"/>
                    <a:pt x="7" y="18"/>
                    <a:pt x="8" y="17"/>
                  </a:cubicBezTo>
                  <a:cubicBezTo>
                    <a:pt x="9" y="16"/>
                    <a:pt x="9" y="17"/>
                    <a:pt x="9" y="15"/>
                  </a:cubicBezTo>
                  <a:cubicBezTo>
                    <a:pt x="9" y="13"/>
                    <a:pt x="8" y="14"/>
                    <a:pt x="9" y="11"/>
                  </a:cubicBezTo>
                  <a:cubicBezTo>
                    <a:pt x="10" y="10"/>
                    <a:pt x="11" y="9"/>
                    <a:pt x="11" y="8"/>
                  </a:cubicBezTo>
                  <a:cubicBezTo>
                    <a:pt x="13" y="6"/>
                    <a:pt x="11"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1262"/>
            <p:cNvSpPr/>
            <p:nvPr/>
          </p:nvSpPr>
          <p:spPr bwMode="auto">
            <a:xfrm>
              <a:off x="4574679" y="5529086"/>
              <a:ext cx="32216" cy="9396"/>
            </a:xfrm>
            <a:custGeom>
              <a:gdLst>
                <a:gd name="T0" fmla="*/ 6 w 10"/>
                <a:gd name="T1" fmla="*/ 0 h 3"/>
                <a:gd name="T2" fmla="*/ 3 w 10"/>
                <a:gd name="T3" fmla="*/ 0 h 3"/>
                <a:gd name="T4" fmla="*/ 4 w 10"/>
                <a:gd name="T5" fmla="*/ 3 h 3"/>
                <a:gd name="T6" fmla="*/ 7 w 10"/>
                <a:gd name="T7" fmla="*/ 3 h 3"/>
                <a:gd name="T8" fmla="*/ 7 w 10"/>
                <a:gd name="T9" fmla="*/ 3 h 3"/>
                <a:gd name="T10" fmla="*/ 7 w 10"/>
                <a:gd name="T11" fmla="*/ 3 h 3"/>
                <a:gd name="T12" fmla="*/ 8 w 10"/>
                <a:gd name="T13" fmla="*/ 3 h 3"/>
                <a:gd name="T14" fmla="*/ 9 w 10"/>
                <a:gd name="T15" fmla="*/ 3 h 3"/>
                <a:gd name="T16" fmla="*/ 6 w 10"/>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
                  <a:moveTo>
                    <a:pt x="6" y="0"/>
                  </a:moveTo>
                  <a:cubicBezTo>
                    <a:pt x="4" y="0"/>
                    <a:pt x="3" y="0"/>
                    <a:pt x="3" y="0"/>
                  </a:cubicBezTo>
                  <a:cubicBezTo>
                    <a:pt x="0" y="3"/>
                    <a:pt x="2" y="3"/>
                    <a:pt x="4" y="3"/>
                  </a:cubicBezTo>
                  <a:cubicBezTo>
                    <a:pt x="5" y="3"/>
                    <a:pt x="6" y="3"/>
                    <a:pt x="7" y="3"/>
                  </a:cubicBezTo>
                  <a:cubicBezTo>
                    <a:pt x="7" y="3"/>
                    <a:pt x="7" y="3"/>
                    <a:pt x="7" y="3"/>
                  </a:cubicBezTo>
                  <a:cubicBezTo>
                    <a:pt x="7" y="3"/>
                    <a:pt x="7" y="3"/>
                    <a:pt x="7" y="3"/>
                  </a:cubicBezTo>
                  <a:cubicBezTo>
                    <a:pt x="8" y="3"/>
                    <a:pt x="8" y="3"/>
                    <a:pt x="8" y="3"/>
                  </a:cubicBezTo>
                  <a:cubicBezTo>
                    <a:pt x="8" y="3"/>
                    <a:pt x="8" y="3"/>
                    <a:pt x="9" y="3"/>
                  </a:cubicBezTo>
                  <a:cubicBezTo>
                    <a:pt x="10"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1263"/>
            <p:cNvSpPr/>
            <p:nvPr/>
          </p:nvSpPr>
          <p:spPr bwMode="auto">
            <a:xfrm>
              <a:off x="4483401" y="5694194"/>
              <a:ext cx="21477" cy="9396"/>
            </a:xfrm>
            <a:custGeom>
              <a:gdLst>
                <a:gd name="T0" fmla="*/ 7 w 7"/>
                <a:gd name="T1" fmla="*/ 0 h 3"/>
                <a:gd name="T2" fmla="*/ 0 w 7"/>
                <a:gd name="T3" fmla="*/ 2 h 3"/>
                <a:gd name="T4" fmla="*/ 3 w 7"/>
                <a:gd name="T5" fmla="*/ 3 h 3"/>
                <a:gd name="T6" fmla="*/ 7 w 7"/>
                <a:gd name="T7" fmla="*/ 0 h 3"/>
              </a:gdLst>
              <a:cxnLst>
                <a:cxn ang="0">
                  <a:pos x="T0" y="T1"/>
                </a:cxn>
                <a:cxn ang="0">
                  <a:pos x="T2" y="T3"/>
                </a:cxn>
                <a:cxn ang="0">
                  <a:pos x="T4" y="T5"/>
                </a:cxn>
                <a:cxn ang="0">
                  <a:pos x="T6" y="T7"/>
                </a:cxn>
              </a:cxnLst>
              <a:rect l="0" t="0" r="r" b="b"/>
              <a:pathLst>
                <a:path w="7" h="3">
                  <a:moveTo>
                    <a:pt x="7" y="0"/>
                  </a:moveTo>
                  <a:cubicBezTo>
                    <a:pt x="4" y="0"/>
                    <a:pt x="2" y="1"/>
                    <a:pt x="0" y="2"/>
                  </a:cubicBezTo>
                  <a:cubicBezTo>
                    <a:pt x="1" y="3"/>
                    <a:pt x="2" y="3"/>
                    <a:pt x="3" y="3"/>
                  </a:cubicBezTo>
                  <a:cubicBezTo>
                    <a:pt x="5" y="3"/>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1264"/>
            <p:cNvSpPr/>
            <p:nvPr/>
          </p:nvSpPr>
          <p:spPr bwMode="auto">
            <a:xfrm>
              <a:off x="4886101" y="4954566"/>
              <a:ext cx="16108" cy="16108"/>
            </a:xfrm>
            <a:custGeom>
              <a:gdLst>
                <a:gd name="T0" fmla="*/ 3 w 5"/>
                <a:gd name="T1" fmla="*/ 0 h 5"/>
                <a:gd name="T2" fmla="*/ 1 w 5"/>
                <a:gd name="T3" fmla="*/ 4 h 5"/>
                <a:gd name="T4" fmla="*/ 3 w 5"/>
                <a:gd name="T5" fmla="*/ 5 h 5"/>
                <a:gd name="T6" fmla="*/ 3 w 5"/>
                <a:gd name="T7" fmla="*/ 0 h 5"/>
              </a:gdLst>
              <a:cxnLst>
                <a:cxn ang="0">
                  <a:pos x="T0" y="T1"/>
                </a:cxn>
                <a:cxn ang="0">
                  <a:pos x="T2" y="T3"/>
                </a:cxn>
                <a:cxn ang="0">
                  <a:pos x="T4" y="T5"/>
                </a:cxn>
                <a:cxn ang="0">
                  <a:pos x="T6" y="T7"/>
                </a:cxn>
              </a:cxnLst>
              <a:rect l="0" t="0" r="r" b="b"/>
              <a:pathLst>
                <a:path w="5" h="5">
                  <a:moveTo>
                    <a:pt x="3" y="0"/>
                  </a:moveTo>
                  <a:cubicBezTo>
                    <a:pt x="2" y="1"/>
                    <a:pt x="0" y="3"/>
                    <a:pt x="1" y="4"/>
                  </a:cubicBezTo>
                  <a:cubicBezTo>
                    <a:pt x="3" y="5"/>
                    <a:pt x="3" y="5"/>
                    <a:pt x="3" y="5"/>
                  </a:cubicBezTo>
                  <a:cubicBezTo>
                    <a:pt x="5"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1265"/>
            <p:cNvSpPr/>
            <p:nvPr/>
          </p:nvSpPr>
          <p:spPr bwMode="auto">
            <a:xfrm>
              <a:off x="5047182" y="4906242"/>
              <a:ext cx="20135" cy="18793"/>
            </a:xfrm>
            <a:custGeom>
              <a:gdLst>
                <a:gd name="T0" fmla="*/ 0 w 6"/>
                <a:gd name="T1" fmla="*/ 0 h 6"/>
                <a:gd name="T2" fmla="*/ 6 w 6"/>
                <a:gd name="T3" fmla="*/ 6 h 6"/>
                <a:gd name="T4" fmla="*/ 0 w 6"/>
                <a:gd name="T5" fmla="*/ 0 h 6"/>
              </a:gdLst>
              <a:cxnLst>
                <a:cxn ang="0">
                  <a:pos x="T0" y="T1"/>
                </a:cxn>
                <a:cxn ang="0">
                  <a:pos x="T2" y="T3"/>
                </a:cxn>
                <a:cxn ang="0">
                  <a:pos x="T4" y="T5"/>
                </a:cxn>
              </a:cxnLst>
              <a:rect l="0" t="0" r="r" b="b"/>
              <a:pathLst>
                <a:path w="6" h="6">
                  <a:moveTo>
                    <a:pt x="0" y="0"/>
                  </a:moveTo>
                  <a:cubicBezTo>
                    <a:pt x="2" y="2"/>
                    <a:pt x="4" y="4"/>
                    <a:pt x="6" y="6"/>
                  </a:cubicBezTo>
                  <a:cubicBezTo>
                    <a:pt x="6"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Freeform 1266"/>
            <p:cNvSpPr/>
            <p:nvPr/>
          </p:nvSpPr>
          <p:spPr bwMode="auto">
            <a:xfrm>
              <a:off x="2506140" y="4468640"/>
              <a:ext cx="9396" cy="2685"/>
            </a:xfrm>
            <a:custGeom>
              <a:gdLst>
                <a:gd name="T0" fmla="*/ 0 w 3"/>
                <a:gd name="T1" fmla="*/ 0 h 1"/>
                <a:gd name="T2" fmla="*/ 3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1" y="1"/>
                    <a:pt x="2" y="1"/>
                    <a:pt x="3" y="1"/>
                  </a:cubicBezTo>
                  <a:cubicBezTo>
                    <a:pt x="3" y="1"/>
                    <a:pt x="3" y="1"/>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1267"/>
            <p:cNvSpPr/>
            <p:nvPr/>
          </p:nvSpPr>
          <p:spPr bwMode="auto">
            <a:xfrm>
              <a:off x="2962534" y="4750531"/>
              <a:ext cx="32216" cy="32216"/>
            </a:xfrm>
            <a:custGeom>
              <a:gdLst>
                <a:gd name="T0" fmla="*/ 6 w 10"/>
                <a:gd name="T1" fmla="*/ 0 h 10"/>
                <a:gd name="T2" fmla="*/ 6 w 10"/>
                <a:gd name="T3" fmla="*/ 0 h 10"/>
                <a:gd name="T4" fmla="*/ 3 w 10"/>
                <a:gd name="T5" fmla="*/ 1 h 10"/>
                <a:gd name="T6" fmla="*/ 3 w 10"/>
                <a:gd name="T7" fmla="*/ 2 h 10"/>
                <a:gd name="T8" fmla="*/ 3 w 10"/>
                <a:gd name="T9" fmla="*/ 2 h 10"/>
                <a:gd name="T10" fmla="*/ 2 w 10"/>
                <a:gd name="T11" fmla="*/ 2 h 10"/>
                <a:gd name="T12" fmla="*/ 1 w 10"/>
                <a:gd name="T13" fmla="*/ 2 h 10"/>
                <a:gd name="T14" fmla="*/ 2 w 10"/>
                <a:gd name="T15" fmla="*/ 9 h 10"/>
                <a:gd name="T16" fmla="*/ 4 w 10"/>
                <a:gd name="T17" fmla="*/ 10 h 10"/>
                <a:gd name="T18" fmla="*/ 10 w 10"/>
                <a:gd name="T19" fmla="*/ 4 h 10"/>
                <a:gd name="T20" fmla="*/ 6 w 10"/>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6" y="0"/>
                  </a:moveTo>
                  <a:cubicBezTo>
                    <a:pt x="6" y="0"/>
                    <a:pt x="6" y="0"/>
                    <a:pt x="6" y="0"/>
                  </a:cubicBezTo>
                  <a:cubicBezTo>
                    <a:pt x="3" y="1"/>
                    <a:pt x="3" y="1"/>
                    <a:pt x="3" y="1"/>
                  </a:cubicBezTo>
                  <a:cubicBezTo>
                    <a:pt x="3" y="2"/>
                    <a:pt x="3" y="2"/>
                    <a:pt x="3" y="2"/>
                  </a:cubicBezTo>
                  <a:cubicBezTo>
                    <a:pt x="3" y="2"/>
                    <a:pt x="3" y="2"/>
                    <a:pt x="3" y="2"/>
                  </a:cubicBezTo>
                  <a:cubicBezTo>
                    <a:pt x="2" y="2"/>
                    <a:pt x="2" y="2"/>
                    <a:pt x="2" y="2"/>
                  </a:cubicBezTo>
                  <a:cubicBezTo>
                    <a:pt x="2" y="2"/>
                    <a:pt x="2" y="2"/>
                    <a:pt x="1" y="2"/>
                  </a:cubicBezTo>
                  <a:cubicBezTo>
                    <a:pt x="0" y="3"/>
                    <a:pt x="1" y="8"/>
                    <a:pt x="2" y="9"/>
                  </a:cubicBezTo>
                  <a:cubicBezTo>
                    <a:pt x="3" y="9"/>
                    <a:pt x="4" y="10"/>
                    <a:pt x="4" y="10"/>
                  </a:cubicBezTo>
                  <a:cubicBezTo>
                    <a:pt x="7" y="10"/>
                    <a:pt x="8" y="6"/>
                    <a:pt x="10" y="4"/>
                  </a:cubicBezTo>
                  <a:cubicBezTo>
                    <a:pt x="9" y="2"/>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1268"/>
            <p:cNvSpPr/>
            <p:nvPr/>
          </p:nvSpPr>
          <p:spPr bwMode="auto">
            <a:xfrm>
              <a:off x="4755895" y="4703549"/>
              <a:ext cx="6712"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0" y="1"/>
                    <a:pt x="0" y="2"/>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1269"/>
            <p:cNvSpPr/>
            <p:nvPr/>
          </p:nvSpPr>
          <p:spPr bwMode="auto">
            <a:xfrm>
              <a:off x="3531685" y="4719657"/>
              <a:ext cx="9396" cy="2685"/>
            </a:xfrm>
            <a:custGeom>
              <a:gdLst>
                <a:gd name="T0" fmla="*/ 0 w 3"/>
                <a:gd name="T1" fmla="*/ 0 h 1"/>
                <a:gd name="T2" fmla="*/ 2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1" y="1"/>
                    <a:pt x="1" y="1"/>
                    <a:pt x="2" y="1"/>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1270"/>
            <p:cNvSpPr/>
            <p:nvPr/>
          </p:nvSpPr>
          <p:spPr bwMode="auto">
            <a:xfrm>
              <a:off x="3010858" y="4789459"/>
              <a:ext cx="41612" cy="25504"/>
            </a:xfrm>
            <a:custGeom>
              <a:gdLst>
                <a:gd name="T0" fmla="*/ 1 w 13"/>
                <a:gd name="T1" fmla="*/ 0 h 8"/>
                <a:gd name="T2" fmla="*/ 0 w 13"/>
                <a:gd name="T3" fmla="*/ 0 h 8"/>
                <a:gd name="T4" fmla="*/ 6 w 13"/>
                <a:gd name="T5" fmla="*/ 5 h 8"/>
                <a:gd name="T6" fmla="*/ 11 w 13"/>
                <a:gd name="T7" fmla="*/ 8 h 8"/>
                <a:gd name="T8" fmla="*/ 6 w 13"/>
                <a:gd name="T9" fmla="*/ 1 h 8"/>
                <a:gd name="T10" fmla="*/ 1 w 13"/>
                <a:gd name="T11" fmla="*/ 0 h 8"/>
              </a:gdLst>
              <a:cxnLst>
                <a:cxn ang="0">
                  <a:pos x="T0" y="T1"/>
                </a:cxn>
                <a:cxn ang="0">
                  <a:pos x="T2" y="T3"/>
                </a:cxn>
                <a:cxn ang="0">
                  <a:pos x="T4" y="T5"/>
                </a:cxn>
                <a:cxn ang="0">
                  <a:pos x="T6" y="T7"/>
                </a:cxn>
                <a:cxn ang="0">
                  <a:pos x="T8" y="T9"/>
                </a:cxn>
                <a:cxn ang="0">
                  <a:pos x="T10" y="T11"/>
                </a:cxn>
              </a:cxnLst>
              <a:rect l="0" t="0" r="r" b="b"/>
              <a:pathLst>
                <a:path w="13" h="8">
                  <a:moveTo>
                    <a:pt x="1" y="0"/>
                  </a:moveTo>
                  <a:cubicBezTo>
                    <a:pt x="0" y="0"/>
                    <a:pt x="0" y="0"/>
                    <a:pt x="0" y="0"/>
                  </a:cubicBezTo>
                  <a:cubicBezTo>
                    <a:pt x="2" y="3"/>
                    <a:pt x="3" y="4"/>
                    <a:pt x="6" y="5"/>
                  </a:cubicBezTo>
                  <a:cubicBezTo>
                    <a:pt x="8" y="5"/>
                    <a:pt x="9" y="7"/>
                    <a:pt x="11" y="8"/>
                  </a:cubicBezTo>
                  <a:cubicBezTo>
                    <a:pt x="13" y="2"/>
                    <a:pt x="10" y="2"/>
                    <a:pt x="6" y="1"/>
                  </a:cubicBezTo>
                  <a:cubicBezTo>
                    <a:pt x="4"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1271"/>
            <p:cNvSpPr/>
            <p:nvPr/>
          </p:nvSpPr>
          <p:spPr bwMode="auto">
            <a:xfrm>
              <a:off x="4981407" y="5173367"/>
              <a:ext cx="12081" cy="6712"/>
            </a:xfrm>
            <a:custGeom>
              <a:gdLst>
                <a:gd name="T0" fmla="*/ 1 w 4"/>
                <a:gd name="T1" fmla="*/ 0 h 2"/>
                <a:gd name="T2" fmla="*/ 0 w 4"/>
                <a:gd name="T3" fmla="*/ 2 h 2"/>
                <a:gd name="T4" fmla="*/ 0 w 4"/>
                <a:gd name="T5" fmla="*/ 2 h 2"/>
                <a:gd name="T6" fmla="*/ 4 w 4"/>
                <a:gd name="T7" fmla="*/ 2 h 2"/>
                <a:gd name="T8" fmla="*/ 1 w 4"/>
                <a:gd name="T9" fmla="*/ 0 h 2"/>
              </a:gdLst>
              <a:cxnLst>
                <a:cxn ang="0">
                  <a:pos x="T0" y="T1"/>
                </a:cxn>
                <a:cxn ang="0">
                  <a:pos x="T2" y="T3"/>
                </a:cxn>
                <a:cxn ang="0">
                  <a:pos x="T4" y="T5"/>
                </a:cxn>
                <a:cxn ang="0">
                  <a:pos x="T6" y="T7"/>
                </a:cxn>
                <a:cxn ang="0">
                  <a:pos x="T8" y="T9"/>
                </a:cxn>
              </a:cxnLst>
              <a:rect l="0" t="0" r="r" b="b"/>
              <a:pathLst>
                <a:path w="4" h="2">
                  <a:moveTo>
                    <a:pt x="1" y="0"/>
                  </a:moveTo>
                  <a:cubicBezTo>
                    <a:pt x="0" y="1"/>
                    <a:pt x="0" y="2"/>
                    <a:pt x="0" y="2"/>
                  </a:cubicBezTo>
                  <a:cubicBezTo>
                    <a:pt x="0" y="2"/>
                    <a:pt x="0" y="2"/>
                    <a:pt x="0" y="2"/>
                  </a:cubicBezTo>
                  <a:cubicBezTo>
                    <a:pt x="2" y="2"/>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1272"/>
            <p:cNvSpPr/>
            <p:nvPr/>
          </p:nvSpPr>
          <p:spPr bwMode="auto">
            <a:xfrm>
              <a:off x="5453909" y="4980071"/>
              <a:ext cx="18793" cy="12081"/>
            </a:xfrm>
            <a:custGeom>
              <a:gdLst>
                <a:gd name="T0" fmla="*/ 4 w 6"/>
                <a:gd name="T1" fmla="*/ 0 h 4"/>
                <a:gd name="T2" fmla="*/ 5 w 6"/>
                <a:gd name="T3" fmla="*/ 4 h 4"/>
                <a:gd name="T4" fmla="*/ 4 w 6"/>
                <a:gd name="T5" fmla="*/ 0 h 4"/>
              </a:gdLst>
              <a:cxnLst>
                <a:cxn ang="0">
                  <a:pos x="T0" y="T1"/>
                </a:cxn>
                <a:cxn ang="0">
                  <a:pos x="T2" y="T3"/>
                </a:cxn>
                <a:cxn ang="0">
                  <a:pos x="T4" y="T5"/>
                </a:cxn>
              </a:cxnLst>
              <a:rect l="0" t="0" r="r" b="b"/>
              <a:pathLst>
                <a:path w="6" h="4">
                  <a:moveTo>
                    <a:pt x="4" y="0"/>
                  </a:moveTo>
                  <a:cubicBezTo>
                    <a:pt x="0" y="2"/>
                    <a:pt x="3" y="4"/>
                    <a:pt x="5" y="4"/>
                  </a:cubicBezTo>
                  <a:cubicBezTo>
                    <a:pt x="6"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1273"/>
            <p:cNvSpPr/>
            <p:nvPr/>
          </p:nvSpPr>
          <p:spPr bwMode="auto">
            <a:xfrm>
              <a:off x="3153146" y="4824360"/>
              <a:ext cx="18793" cy="12081"/>
            </a:xfrm>
            <a:custGeom>
              <a:gdLst>
                <a:gd name="T0" fmla="*/ 2 w 6"/>
                <a:gd name="T1" fmla="*/ 0 h 4"/>
                <a:gd name="T2" fmla="*/ 1 w 6"/>
                <a:gd name="T3" fmla="*/ 2 h 4"/>
                <a:gd name="T4" fmla="*/ 0 w 6"/>
                <a:gd name="T5" fmla="*/ 1 h 4"/>
                <a:gd name="T6" fmla="*/ 3 w 6"/>
                <a:gd name="T7" fmla="*/ 4 h 4"/>
                <a:gd name="T8" fmla="*/ 6 w 6"/>
                <a:gd name="T9" fmla="*/ 0 h 4"/>
                <a:gd name="T10" fmla="*/ 2 w 6"/>
                <a:gd name="T11" fmla="*/ 0 h 4"/>
              </a:gdLst>
              <a:cxnLst>
                <a:cxn ang="0">
                  <a:pos x="T0" y="T1"/>
                </a:cxn>
                <a:cxn ang="0">
                  <a:pos x="T2" y="T3"/>
                </a:cxn>
                <a:cxn ang="0">
                  <a:pos x="T4" y="T5"/>
                </a:cxn>
                <a:cxn ang="0">
                  <a:pos x="T6" y="T7"/>
                </a:cxn>
                <a:cxn ang="0">
                  <a:pos x="T8" y="T9"/>
                </a:cxn>
                <a:cxn ang="0">
                  <a:pos x="T10" y="T11"/>
                </a:cxn>
              </a:cxnLst>
              <a:rect l="0" t="0" r="r" b="b"/>
              <a:pathLst>
                <a:path w="6" h="4">
                  <a:moveTo>
                    <a:pt x="2" y="0"/>
                  </a:moveTo>
                  <a:cubicBezTo>
                    <a:pt x="1" y="0"/>
                    <a:pt x="1" y="0"/>
                    <a:pt x="1" y="2"/>
                  </a:cubicBezTo>
                  <a:cubicBezTo>
                    <a:pt x="0" y="1"/>
                    <a:pt x="0" y="1"/>
                    <a:pt x="0" y="1"/>
                  </a:cubicBezTo>
                  <a:cubicBezTo>
                    <a:pt x="1" y="3"/>
                    <a:pt x="2" y="4"/>
                    <a:pt x="3" y="4"/>
                  </a:cubicBezTo>
                  <a:cubicBezTo>
                    <a:pt x="4" y="4"/>
                    <a:pt x="5" y="2"/>
                    <a:pt x="6" y="0"/>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1274"/>
            <p:cNvSpPr/>
            <p:nvPr/>
          </p:nvSpPr>
          <p:spPr bwMode="auto">
            <a:xfrm>
              <a:off x="3178650" y="4817648"/>
              <a:ext cx="32216" cy="28189"/>
            </a:xfrm>
            <a:custGeom>
              <a:gdLst>
                <a:gd name="T0" fmla="*/ 7 w 10"/>
                <a:gd name="T1" fmla="*/ 0 h 9"/>
                <a:gd name="T2" fmla="*/ 0 w 10"/>
                <a:gd name="T3" fmla="*/ 3 h 9"/>
                <a:gd name="T4" fmla="*/ 3 w 10"/>
                <a:gd name="T5" fmla="*/ 5 h 9"/>
                <a:gd name="T6" fmla="*/ 6 w 10"/>
                <a:gd name="T7" fmla="*/ 9 h 9"/>
                <a:gd name="T8" fmla="*/ 8 w 10"/>
                <a:gd name="T9" fmla="*/ 8 h 9"/>
                <a:gd name="T10" fmla="*/ 9 w 10"/>
                <a:gd name="T11" fmla="*/ 7 h 9"/>
                <a:gd name="T12" fmla="*/ 9 w 10"/>
                <a:gd name="T13" fmla="*/ 4 h 9"/>
                <a:gd name="T14" fmla="*/ 9 w 10"/>
                <a:gd name="T15" fmla="*/ 4 h 9"/>
                <a:gd name="T16" fmla="*/ 8 w 10"/>
                <a:gd name="T17" fmla="*/ 2 h 9"/>
                <a:gd name="T18" fmla="*/ 8 w 10"/>
                <a:gd name="T19" fmla="*/ 0 h 9"/>
                <a:gd name="T20" fmla="*/ 8 w 10"/>
                <a:gd name="T21" fmla="*/ 0 h 9"/>
                <a:gd name="T22" fmla="*/ 7 w 10"/>
                <a:gd name="T23"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7" y="0"/>
                  </a:moveTo>
                  <a:cubicBezTo>
                    <a:pt x="4" y="0"/>
                    <a:pt x="2" y="1"/>
                    <a:pt x="0" y="3"/>
                  </a:cubicBezTo>
                  <a:cubicBezTo>
                    <a:pt x="1" y="4"/>
                    <a:pt x="2" y="5"/>
                    <a:pt x="3" y="5"/>
                  </a:cubicBezTo>
                  <a:cubicBezTo>
                    <a:pt x="5" y="5"/>
                    <a:pt x="5" y="9"/>
                    <a:pt x="6" y="9"/>
                  </a:cubicBezTo>
                  <a:cubicBezTo>
                    <a:pt x="7" y="9"/>
                    <a:pt x="7" y="9"/>
                    <a:pt x="8" y="8"/>
                  </a:cubicBezTo>
                  <a:cubicBezTo>
                    <a:pt x="9" y="7"/>
                    <a:pt x="9" y="8"/>
                    <a:pt x="9" y="7"/>
                  </a:cubicBezTo>
                  <a:cubicBezTo>
                    <a:pt x="10" y="6"/>
                    <a:pt x="10" y="4"/>
                    <a:pt x="9" y="4"/>
                  </a:cubicBezTo>
                  <a:cubicBezTo>
                    <a:pt x="9" y="4"/>
                    <a:pt x="9" y="4"/>
                    <a:pt x="9" y="4"/>
                  </a:cubicBezTo>
                  <a:cubicBezTo>
                    <a:pt x="9" y="4"/>
                    <a:pt x="9" y="3"/>
                    <a:pt x="8" y="2"/>
                  </a:cubicBezTo>
                  <a:cubicBezTo>
                    <a:pt x="8" y="1"/>
                    <a:pt x="7" y="0"/>
                    <a:pt x="8" y="0"/>
                  </a:cubicBezTo>
                  <a:cubicBezTo>
                    <a:pt x="8" y="0"/>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1275"/>
            <p:cNvSpPr/>
            <p:nvPr/>
          </p:nvSpPr>
          <p:spPr bwMode="auto">
            <a:xfrm>
              <a:off x="2734337" y="4910269"/>
              <a:ext cx="18793" cy="28189"/>
            </a:xfrm>
            <a:custGeom>
              <a:gdLst>
                <a:gd name="T0" fmla="*/ 0 w 6"/>
                <a:gd name="T1" fmla="*/ 0 h 9"/>
                <a:gd name="T2" fmla="*/ 6 w 6"/>
                <a:gd name="T3" fmla="*/ 9 h 9"/>
                <a:gd name="T4" fmla="*/ 0 w 6"/>
                <a:gd name="T5" fmla="*/ 0 h 9"/>
              </a:gdLst>
              <a:cxnLst>
                <a:cxn ang="0">
                  <a:pos x="T0" y="T1"/>
                </a:cxn>
                <a:cxn ang="0">
                  <a:pos x="T2" y="T3"/>
                </a:cxn>
                <a:cxn ang="0">
                  <a:pos x="T4" y="T5"/>
                </a:cxn>
              </a:cxnLst>
              <a:rect l="0" t="0" r="r" b="b"/>
              <a:pathLst>
                <a:path w="6" h="9">
                  <a:moveTo>
                    <a:pt x="0" y="0"/>
                  </a:moveTo>
                  <a:cubicBezTo>
                    <a:pt x="2" y="3"/>
                    <a:pt x="4" y="6"/>
                    <a:pt x="6" y="9"/>
                  </a:cubicBezTo>
                  <a:cubicBezTo>
                    <a:pt x="5" y="7"/>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1276"/>
            <p:cNvSpPr/>
            <p:nvPr/>
          </p:nvSpPr>
          <p:spPr bwMode="auto">
            <a:xfrm>
              <a:off x="4762606" y="4633748"/>
              <a:ext cx="18793" cy="25504"/>
            </a:xfrm>
            <a:custGeom>
              <a:gdLst>
                <a:gd name="T0" fmla="*/ 0 w 6"/>
                <a:gd name="T1" fmla="*/ 0 h 8"/>
                <a:gd name="T2" fmla="*/ 0 w 6"/>
                <a:gd name="T3" fmla="*/ 0 h 8"/>
                <a:gd name="T4" fmla="*/ 5 w 6"/>
                <a:gd name="T5" fmla="*/ 8 h 8"/>
                <a:gd name="T6" fmla="*/ 3 w 6"/>
                <a:gd name="T7" fmla="*/ 3 h 8"/>
                <a:gd name="T8" fmla="*/ 0 w 6"/>
                <a:gd name="T9" fmla="*/ 0 h 8"/>
              </a:gdLst>
              <a:cxnLst>
                <a:cxn ang="0">
                  <a:pos x="T0" y="T1"/>
                </a:cxn>
                <a:cxn ang="0">
                  <a:pos x="T2" y="T3"/>
                </a:cxn>
                <a:cxn ang="0">
                  <a:pos x="T4" y="T5"/>
                </a:cxn>
                <a:cxn ang="0">
                  <a:pos x="T6" y="T7"/>
                </a:cxn>
                <a:cxn ang="0">
                  <a:pos x="T8" y="T9"/>
                </a:cxn>
              </a:cxnLst>
              <a:rect l="0" t="0" r="r" b="b"/>
              <a:pathLst>
                <a:path w="6" h="8">
                  <a:moveTo>
                    <a:pt x="0" y="0"/>
                  </a:moveTo>
                  <a:cubicBezTo>
                    <a:pt x="0" y="0"/>
                    <a:pt x="0" y="0"/>
                    <a:pt x="0" y="0"/>
                  </a:cubicBezTo>
                  <a:cubicBezTo>
                    <a:pt x="1" y="3"/>
                    <a:pt x="3" y="5"/>
                    <a:pt x="5" y="8"/>
                  </a:cubicBezTo>
                  <a:cubicBezTo>
                    <a:pt x="6" y="5"/>
                    <a:pt x="5" y="5"/>
                    <a:pt x="3"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1277"/>
            <p:cNvSpPr/>
            <p:nvPr/>
          </p:nvSpPr>
          <p:spPr bwMode="auto">
            <a:xfrm>
              <a:off x="4476689" y="4945170"/>
              <a:ext cx="18793" cy="5369"/>
            </a:xfrm>
            <a:custGeom>
              <a:gdLst>
                <a:gd name="T0" fmla="*/ 1 w 6"/>
                <a:gd name="T1" fmla="*/ 0 h 2"/>
                <a:gd name="T2" fmla="*/ 0 w 6"/>
                <a:gd name="T3" fmla="*/ 2 h 2"/>
                <a:gd name="T4" fmla="*/ 6 w 6"/>
                <a:gd name="T5" fmla="*/ 1 h 2"/>
                <a:gd name="T6" fmla="*/ 1 w 6"/>
                <a:gd name="T7" fmla="*/ 0 h 2"/>
              </a:gdLst>
              <a:cxnLst>
                <a:cxn ang="0">
                  <a:pos x="T0" y="T1"/>
                </a:cxn>
                <a:cxn ang="0">
                  <a:pos x="T2" y="T3"/>
                </a:cxn>
                <a:cxn ang="0">
                  <a:pos x="T4" y="T5"/>
                </a:cxn>
                <a:cxn ang="0">
                  <a:pos x="T6" y="T7"/>
                </a:cxn>
              </a:cxnLst>
              <a:rect l="0" t="0" r="r" b="b"/>
              <a:pathLst>
                <a:path w="6" h="2">
                  <a:moveTo>
                    <a:pt x="1" y="0"/>
                  </a:moveTo>
                  <a:cubicBezTo>
                    <a:pt x="1" y="0"/>
                    <a:pt x="1" y="1"/>
                    <a:pt x="0" y="2"/>
                  </a:cubicBezTo>
                  <a:cubicBezTo>
                    <a:pt x="3" y="1"/>
                    <a:pt x="5" y="1"/>
                    <a:pt x="6" y="1"/>
                  </a:cubicBezTo>
                  <a:cubicBezTo>
                    <a:pt x="5"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1278"/>
            <p:cNvSpPr/>
            <p:nvPr/>
          </p:nvSpPr>
          <p:spPr bwMode="auto">
            <a:xfrm>
              <a:off x="3518261" y="4687441"/>
              <a:ext cx="6712" cy="6712"/>
            </a:xfrm>
            <a:custGeom>
              <a:gdLst>
                <a:gd name="T0" fmla="*/ 2 w 2"/>
                <a:gd name="T1" fmla="*/ 0 h 2"/>
                <a:gd name="T2" fmla="*/ 0 w 2"/>
                <a:gd name="T3" fmla="*/ 2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0"/>
                    <a:pt x="0" y="1"/>
                    <a:pt x="0" y="2"/>
                  </a:cubicBezTo>
                  <a:cubicBezTo>
                    <a:pt x="0" y="2"/>
                    <a:pt x="0" y="2"/>
                    <a:pt x="1" y="2"/>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Freeform 1279"/>
            <p:cNvSpPr>
              <a:spLocks noEditPoints="1"/>
            </p:cNvSpPr>
            <p:nvPr/>
          </p:nvSpPr>
          <p:spPr bwMode="auto">
            <a:xfrm>
              <a:off x="4248492" y="4738450"/>
              <a:ext cx="5369" cy="9396"/>
            </a:xfrm>
            <a:custGeom>
              <a:gdLst>
                <a:gd name="T0" fmla="*/ 2 w 2"/>
                <a:gd name="T1" fmla="*/ 3 h 3"/>
                <a:gd name="T2" fmla="*/ 2 w 2"/>
                <a:gd name="T3" fmla="*/ 3 h 3"/>
                <a:gd name="T4" fmla="*/ 2 w 2"/>
                <a:gd name="T5" fmla="*/ 3 h 3"/>
                <a:gd name="T6" fmla="*/ 0 w 2"/>
                <a:gd name="T7" fmla="*/ 0 h 3"/>
                <a:gd name="T8" fmla="*/ 2 w 2"/>
                <a:gd name="T9" fmla="*/ 3 h 3"/>
                <a:gd name="T10" fmla="*/ 0 w 2"/>
                <a:gd name="T11" fmla="*/ 0 h 3"/>
              </a:gdLst>
              <a:cxnLst>
                <a:cxn ang="0">
                  <a:pos x="T0" y="T1"/>
                </a:cxn>
                <a:cxn ang="0">
                  <a:pos x="T2" y="T3"/>
                </a:cxn>
                <a:cxn ang="0">
                  <a:pos x="T4" y="T5"/>
                </a:cxn>
                <a:cxn ang="0">
                  <a:pos x="T6" y="T7"/>
                </a:cxn>
                <a:cxn ang="0">
                  <a:pos x="T8" y="T9"/>
                </a:cxn>
                <a:cxn ang="0">
                  <a:pos x="T10" y="T11"/>
                </a:cxn>
              </a:cxnLst>
              <a:rect l="0" t="0" r="r" b="b"/>
              <a:pathLst>
                <a:path w="2" h="3">
                  <a:moveTo>
                    <a:pt x="2" y="3"/>
                  </a:moveTo>
                  <a:cubicBezTo>
                    <a:pt x="2" y="3"/>
                    <a:pt x="2" y="3"/>
                    <a:pt x="2" y="3"/>
                  </a:cubicBezTo>
                  <a:cubicBezTo>
                    <a:pt x="2" y="3"/>
                    <a:pt x="2" y="3"/>
                    <a:pt x="2" y="3"/>
                  </a:cubicBezTo>
                  <a:moveTo>
                    <a:pt x="0" y="0"/>
                  </a:moveTo>
                  <a:cubicBezTo>
                    <a:pt x="0" y="1"/>
                    <a:pt x="1" y="2"/>
                    <a:pt x="2"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1280"/>
            <p:cNvSpPr/>
            <p:nvPr/>
          </p:nvSpPr>
          <p:spPr bwMode="auto">
            <a:xfrm>
              <a:off x="3562558" y="4982755"/>
              <a:ext cx="28189" cy="22820"/>
            </a:xfrm>
            <a:custGeom>
              <a:gdLst>
                <a:gd name="T0" fmla="*/ 3 w 9"/>
                <a:gd name="T1" fmla="*/ 0 h 7"/>
                <a:gd name="T2" fmla="*/ 2 w 9"/>
                <a:gd name="T3" fmla="*/ 0 h 7"/>
                <a:gd name="T4" fmla="*/ 2 w 9"/>
                <a:gd name="T5" fmla="*/ 0 h 7"/>
                <a:gd name="T6" fmla="*/ 2 w 9"/>
                <a:gd name="T7" fmla="*/ 0 h 7"/>
                <a:gd name="T8" fmla="*/ 2 w 9"/>
                <a:gd name="T9" fmla="*/ 0 h 7"/>
                <a:gd name="T10" fmla="*/ 2 w 9"/>
                <a:gd name="T11" fmla="*/ 0 h 7"/>
                <a:gd name="T12" fmla="*/ 1 w 9"/>
                <a:gd name="T13" fmla="*/ 1 h 7"/>
                <a:gd name="T14" fmla="*/ 0 w 9"/>
                <a:gd name="T15" fmla="*/ 7 h 7"/>
                <a:gd name="T16" fmla="*/ 8 w 9"/>
                <a:gd name="T17" fmla="*/ 4 h 7"/>
                <a:gd name="T18" fmla="*/ 9 w 9"/>
                <a:gd name="T19" fmla="*/ 3 h 7"/>
                <a:gd name="T20" fmla="*/ 9 w 9"/>
                <a:gd name="T21" fmla="*/ 2 h 7"/>
                <a:gd name="T22" fmla="*/ 9 w 9"/>
                <a:gd name="T23" fmla="*/ 2 h 7"/>
                <a:gd name="T24" fmla="*/ 8 w 9"/>
                <a:gd name="T25" fmla="*/ 1 h 7"/>
                <a:gd name="T26" fmla="*/ 6 w 9"/>
                <a:gd name="T27" fmla="*/ 0 h 7"/>
                <a:gd name="T28" fmla="*/ 5 w 9"/>
                <a:gd name="T29" fmla="*/ 0 h 7"/>
                <a:gd name="T30" fmla="*/ 3 w 9"/>
                <a:gd name="T3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7">
                  <a:moveTo>
                    <a:pt x="3" y="0"/>
                  </a:moveTo>
                  <a:cubicBezTo>
                    <a:pt x="3" y="0"/>
                    <a:pt x="3" y="0"/>
                    <a:pt x="2" y="0"/>
                  </a:cubicBezTo>
                  <a:cubicBezTo>
                    <a:pt x="2" y="0"/>
                    <a:pt x="2" y="0"/>
                    <a:pt x="2" y="0"/>
                  </a:cubicBezTo>
                  <a:cubicBezTo>
                    <a:pt x="2" y="0"/>
                    <a:pt x="2" y="0"/>
                    <a:pt x="2" y="0"/>
                  </a:cubicBezTo>
                  <a:cubicBezTo>
                    <a:pt x="2" y="0"/>
                    <a:pt x="2" y="0"/>
                    <a:pt x="2" y="0"/>
                  </a:cubicBezTo>
                  <a:cubicBezTo>
                    <a:pt x="2" y="0"/>
                    <a:pt x="2" y="0"/>
                    <a:pt x="2" y="0"/>
                  </a:cubicBezTo>
                  <a:cubicBezTo>
                    <a:pt x="1" y="1"/>
                    <a:pt x="1" y="1"/>
                    <a:pt x="1" y="1"/>
                  </a:cubicBezTo>
                  <a:cubicBezTo>
                    <a:pt x="1" y="2"/>
                    <a:pt x="1" y="5"/>
                    <a:pt x="0" y="7"/>
                  </a:cubicBezTo>
                  <a:cubicBezTo>
                    <a:pt x="2" y="6"/>
                    <a:pt x="7" y="6"/>
                    <a:pt x="8" y="4"/>
                  </a:cubicBezTo>
                  <a:cubicBezTo>
                    <a:pt x="9" y="3"/>
                    <a:pt x="9" y="3"/>
                    <a:pt x="9" y="3"/>
                  </a:cubicBezTo>
                  <a:cubicBezTo>
                    <a:pt x="9" y="2"/>
                    <a:pt x="9" y="2"/>
                    <a:pt x="9" y="2"/>
                  </a:cubicBezTo>
                  <a:cubicBezTo>
                    <a:pt x="9" y="2"/>
                    <a:pt x="9" y="2"/>
                    <a:pt x="9" y="2"/>
                  </a:cubicBezTo>
                  <a:cubicBezTo>
                    <a:pt x="9" y="2"/>
                    <a:pt x="9" y="2"/>
                    <a:pt x="8" y="1"/>
                  </a:cubicBezTo>
                  <a:cubicBezTo>
                    <a:pt x="8" y="1"/>
                    <a:pt x="7" y="1"/>
                    <a:pt x="6" y="0"/>
                  </a:cubicBezTo>
                  <a:cubicBezTo>
                    <a:pt x="5" y="0"/>
                    <a:pt x="5" y="0"/>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1281"/>
            <p:cNvSpPr/>
            <p:nvPr/>
          </p:nvSpPr>
          <p:spPr bwMode="auto">
            <a:xfrm>
              <a:off x="4882074" y="4929062"/>
              <a:ext cx="13423" cy="18793"/>
            </a:xfrm>
            <a:custGeom>
              <a:gdLst>
                <a:gd name="T0" fmla="*/ 3 w 4"/>
                <a:gd name="T1" fmla="*/ 0 h 6"/>
                <a:gd name="T2" fmla="*/ 0 w 4"/>
                <a:gd name="T3" fmla="*/ 4 h 6"/>
                <a:gd name="T4" fmla="*/ 0 w 4"/>
                <a:gd name="T5" fmla="*/ 4 h 6"/>
                <a:gd name="T6" fmla="*/ 1 w 4"/>
                <a:gd name="T7" fmla="*/ 5 h 6"/>
                <a:gd name="T8" fmla="*/ 1 w 4"/>
                <a:gd name="T9" fmla="*/ 6 h 6"/>
                <a:gd name="T10" fmla="*/ 1 w 4"/>
                <a:gd name="T11" fmla="*/ 6 h 6"/>
                <a:gd name="T12" fmla="*/ 2 w 4"/>
                <a:gd name="T13" fmla="*/ 6 h 6"/>
                <a:gd name="T14" fmla="*/ 4 w 4"/>
                <a:gd name="T15" fmla="*/ 0 h 6"/>
                <a:gd name="T16" fmla="*/ 3 w 4"/>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3" y="0"/>
                  </a:moveTo>
                  <a:cubicBezTo>
                    <a:pt x="1" y="0"/>
                    <a:pt x="0" y="2"/>
                    <a:pt x="0" y="4"/>
                  </a:cubicBezTo>
                  <a:cubicBezTo>
                    <a:pt x="0" y="4"/>
                    <a:pt x="0" y="4"/>
                    <a:pt x="0" y="4"/>
                  </a:cubicBezTo>
                  <a:cubicBezTo>
                    <a:pt x="0" y="4"/>
                    <a:pt x="1" y="4"/>
                    <a:pt x="1" y="5"/>
                  </a:cubicBezTo>
                  <a:cubicBezTo>
                    <a:pt x="1" y="5"/>
                    <a:pt x="1" y="6"/>
                    <a:pt x="1" y="6"/>
                  </a:cubicBezTo>
                  <a:cubicBezTo>
                    <a:pt x="1" y="6"/>
                    <a:pt x="1" y="6"/>
                    <a:pt x="1" y="6"/>
                  </a:cubicBezTo>
                  <a:cubicBezTo>
                    <a:pt x="1" y="6"/>
                    <a:pt x="2" y="6"/>
                    <a:pt x="2" y="6"/>
                  </a:cubicBezTo>
                  <a:cubicBezTo>
                    <a:pt x="4" y="6"/>
                    <a:pt x="4" y="2"/>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1282"/>
            <p:cNvSpPr/>
            <p:nvPr/>
          </p:nvSpPr>
          <p:spPr bwMode="auto">
            <a:xfrm>
              <a:off x="3017570" y="5306258"/>
              <a:ext cx="25504" cy="13423"/>
            </a:xfrm>
            <a:custGeom>
              <a:gdLst>
                <a:gd name="T0" fmla="*/ 2 w 8"/>
                <a:gd name="T1" fmla="*/ 0 h 4"/>
                <a:gd name="T2" fmla="*/ 0 w 8"/>
                <a:gd name="T3" fmla="*/ 0 h 4"/>
                <a:gd name="T4" fmla="*/ 7 w 8"/>
                <a:gd name="T5" fmla="*/ 4 h 4"/>
                <a:gd name="T6" fmla="*/ 2 w 8"/>
                <a:gd name="T7" fmla="*/ 0 h 4"/>
              </a:gdLst>
              <a:cxnLst>
                <a:cxn ang="0">
                  <a:pos x="T0" y="T1"/>
                </a:cxn>
                <a:cxn ang="0">
                  <a:pos x="T2" y="T3"/>
                </a:cxn>
                <a:cxn ang="0">
                  <a:pos x="T4" y="T5"/>
                </a:cxn>
                <a:cxn ang="0">
                  <a:pos x="T6" y="T7"/>
                </a:cxn>
              </a:cxnLst>
              <a:rect l="0" t="0" r="r" b="b"/>
              <a:pathLst>
                <a:path w="8" h="4">
                  <a:moveTo>
                    <a:pt x="2" y="0"/>
                  </a:moveTo>
                  <a:cubicBezTo>
                    <a:pt x="2" y="0"/>
                    <a:pt x="1" y="0"/>
                    <a:pt x="0" y="0"/>
                  </a:cubicBezTo>
                  <a:cubicBezTo>
                    <a:pt x="2" y="2"/>
                    <a:pt x="5" y="3"/>
                    <a:pt x="7" y="4"/>
                  </a:cubicBezTo>
                  <a:cubicBezTo>
                    <a:pt x="8" y="2"/>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Freeform 1283"/>
            <p:cNvSpPr/>
            <p:nvPr/>
          </p:nvSpPr>
          <p:spPr bwMode="auto">
            <a:xfrm>
              <a:off x="5482098" y="5020341"/>
              <a:ext cx="16108" cy="4027"/>
            </a:xfrm>
            <a:custGeom>
              <a:gdLst>
                <a:gd name="T0" fmla="*/ 0 w 5"/>
                <a:gd name="T1" fmla="*/ 0 h 1"/>
                <a:gd name="T2" fmla="*/ 4 w 5"/>
                <a:gd name="T3" fmla="*/ 1 h 1"/>
                <a:gd name="T4" fmla="*/ 5 w 5"/>
                <a:gd name="T5" fmla="*/ 0 h 1"/>
                <a:gd name="T6" fmla="*/ 0 w 5"/>
                <a:gd name="T7" fmla="*/ 0 h 1"/>
              </a:gdLst>
              <a:cxnLst>
                <a:cxn ang="0">
                  <a:pos x="T0" y="T1"/>
                </a:cxn>
                <a:cxn ang="0">
                  <a:pos x="T2" y="T3"/>
                </a:cxn>
                <a:cxn ang="0">
                  <a:pos x="T4" y="T5"/>
                </a:cxn>
                <a:cxn ang="0">
                  <a:pos x="T6" y="T7"/>
                </a:cxn>
              </a:cxnLst>
              <a:rect l="0" t="0" r="r" b="b"/>
              <a:pathLst>
                <a:path w="5" h="1">
                  <a:moveTo>
                    <a:pt x="0" y="0"/>
                  </a:moveTo>
                  <a:cubicBezTo>
                    <a:pt x="1" y="0"/>
                    <a:pt x="2" y="1"/>
                    <a:pt x="4" y="1"/>
                  </a:cubicBezTo>
                  <a:cubicBezTo>
                    <a:pt x="4" y="1"/>
                    <a:pt x="5" y="1"/>
                    <a:pt x="5" y="0"/>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1284"/>
            <p:cNvSpPr>
              <a:spLocks noEditPoints="1"/>
            </p:cNvSpPr>
            <p:nvPr/>
          </p:nvSpPr>
          <p:spPr bwMode="auto">
            <a:xfrm>
              <a:off x="4600184" y="5671374"/>
              <a:ext cx="9396" cy="12081"/>
            </a:xfrm>
            <a:custGeom>
              <a:gdLst>
                <a:gd name="T0" fmla="*/ 3 w 3"/>
                <a:gd name="T1" fmla="*/ 0 h 4"/>
                <a:gd name="T2" fmla="*/ 1 w 3"/>
                <a:gd name="T3" fmla="*/ 4 h 4"/>
                <a:gd name="T4" fmla="*/ 3 w 3"/>
                <a:gd name="T5" fmla="*/ 0 h 4"/>
                <a:gd name="T6" fmla="*/ 3 w 3"/>
                <a:gd name="T7" fmla="*/ 0 h 4"/>
                <a:gd name="T8" fmla="*/ 3 w 3"/>
                <a:gd name="T9" fmla="*/ 0 h 4"/>
                <a:gd name="T10" fmla="*/ 3 w 3"/>
                <a:gd name="T11" fmla="*/ 0 h 4"/>
              </a:gdLst>
              <a:cxnLst>
                <a:cxn ang="0">
                  <a:pos x="T0" y="T1"/>
                </a:cxn>
                <a:cxn ang="0">
                  <a:pos x="T2" y="T3"/>
                </a:cxn>
                <a:cxn ang="0">
                  <a:pos x="T4" y="T5"/>
                </a:cxn>
                <a:cxn ang="0">
                  <a:pos x="T6" y="T7"/>
                </a:cxn>
                <a:cxn ang="0">
                  <a:pos x="T8" y="T9"/>
                </a:cxn>
                <a:cxn ang="0">
                  <a:pos x="T10" y="T11"/>
                </a:cxn>
              </a:cxnLst>
              <a:rect l="0" t="0" r="r" b="b"/>
              <a:pathLst>
                <a:path w="3" h="4">
                  <a:moveTo>
                    <a:pt x="3" y="0"/>
                  </a:moveTo>
                  <a:cubicBezTo>
                    <a:pt x="2" y="1"/>
                    <a:pt x="0" y="2"/>
                    <a:pt x="1" y="4"/>
                  </a:cubicBezTo>
                  <a:cubicBezTo>
                    <a:pt x="2" y="3"/>
                    <a:pt x="2" y="1"/>
                    <a:pt x="3" y="0"/>
                  </a:cubicBezTo>
                  <a:moveTo>
                    <a:pt x="3" y="0"/>
                  </a:move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Freeform 1285"/>
            <p:cNvSpPr/>
            <p:nvPr/>
          </p:nvSpPr>
          <p:spPr bwMode="auto">
            <a:xfrm>
              <a:off x="3147777" y="4833756"/>
              <a:ext cx="9396" cy="6712"/>
            </a:xfrm>
            <a:custGeom>
              <a:gdLst>
                <a:gd name="T0" fmla="*/ 1 w 3"/>
                <a:gd name="T1" fmla="*/ 0 h 2"/>
                <a:gd name="T2" fmla="*/ 0 w 3"/>
                <a:gd name="T3" fmla="*/ 0 h 2"/>
                <a:gd name="T4" fmla="*/ 3 w 3"/>
                <a:gd name="T5" fmla="*/ 2 h 2"/>
                <a:gd name="T6" fmla="*/ 1 w 3"/>
                <a:gd name="T7" fmla="*/ 0 h 2"/>
              </a:gdLst>
              <a:cxnLst>
                <a:cxn ang="0">
                  <a:pos x="T0" y="T1"/>
                </a:cxn>
                <a:cxn ang="0">
                  <a:pos x="T2" y="T3"/>
                </a:cxn>
                <a:cxn ang="0">
                  <a:pos x="T4" y="T5"/>
                </a:cxn>
                <a:cxn ang="0">
                  <a:pos x="T6" y="T7"/>
                </a:cxn>
              </a:cxnLst>
              <a:rect l="0" t="0" r="r" b="b"/>
              <a:pathLst>
                <a:path w="3" h="2">
                  <a:moveTo>
                    <a:pt x="1" y="0"/>
                  </a:moveTo>
                  <a:cubicBezTo>
                    <a:pt x="1" y="0"/>
                    <a:pt x="1" y="0"/>
                    <a:pt x="0" y="0"/>
                  </a:cubicBezTo>
                  <a:cubicBezTo>
                    <a:pt x="1" y="1"/>
                    <a:pt x="2" y="2"/>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1286"/>
            <p:cNvSpPr/>
            <p:nvPr/>
          </p:nvSpPr>
          <p:spPr bwMode="auto">
            <a:xfrm>
              <a:off x="5409612" y="5040476"/>
              <a:ext cx="9396" cy="14766"/>
            </a:xfrm>
            <a:custGeom>
              <a:gdLst>
                <a:gd name="T0" fmla="*/ 3 w 3"/>
                <a:gd name="T1" fmla="*/ 0 h 5"/>
                <a:gd name="T2" fmla="*/ 1 w 3"/>
                <a:gd name="T3" fmla="*/ 5 h 5"/>
                <a:gd name="T4" fmla="*/ 3 w 3"/>
                <a:gd name="T5" fmla="*/ 0 h 5"/>
              </a:gdLst>
              <a:cxnLst>
                <a:cxn ang="0">
                  <a:pos x="T0" y="T1"/>
                </a:cxn>
                <a:cxn ang="0">
                  <a:pos x="T2" y="T3"/>
                </a:cxn>
                <a:cxn ang="0">
                  <a:pos x="T4" y="T5"/>
                </a:cxn>
              </a:cxnLst>
              <a:rect l="0" t="0" r="r" b="b"/>
              <a:pathLst>
                <a:path w="3" h="5">
                  <a:moveTo>
                    <a:pt x="3" y="0"/>
                  </a:moveTo>
                  <a:cubicBezTo>
                    <a:pt x="1" y="1"/>
                    <a:pt x="0" y="3"/>
                    <a:pt x="1"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1287"/>
            <p:cNvSpPr/>
            <p:nvPr/>
          </p:nvSpPr>
          <p:spPr bwMode="auto">
            <a:xfrm>
              <a:off x="3241740" y="5398880"/>
              <a:ext cx="13423" cy="5369"/>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2" y="0"/>
                    <a:pt x="1" y="1"/>
                    <a:pt x="0" y="2"/>
                  </a:cubicBezTo>
                  <a:cubicBezTo>
                    <a:pt x="1"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1288"/>
            <p:cNvSpPr/>
            <p:nvPr/>
          </p:nvSpPr>
          <p:spPr bwMode="auto">
            <a:xfrm>
              <a:off x="3166569" y="4840468"/>
              <a:ext cx="12081" cy="9396"/>
            </a:xfrm>
            <a:custGeom>
              <a:gdLst>
                <a:gd name="T0" fmla="*/ 0 w 4"/>
                <a:gd name="T1" fmla="*/ 0 h 3"/>
                <a:gd name="T2" fmla="*/ 2 w 4"/>
                <a:gd name="T3" fmla="*/ 3 h 3"/>
                <a:gd name="T4" fmla="*/ 4 w 4"/>
                <a:gd name="T5" fmla="*/ 2 h 3"/>
                <a:gd name="T6" fmla="*/ 0 w 4"/>
                <a:gd name="T7" fmla="*/ 0 h 3"/>
              </a:gdLst>
              <a:cxnLst>
                <a:cxn ang="0">
                  <a:pos x="T0" y="T1"/>
                </a:cxn>
                <a:cxn ang="0">
                  <a:pos x="T2" y="T3"/>
                </a:cxn>
                <a:cxn ang="0">
                  <a:pos x="T4" y="T5"/>
                </a:cxn>
                <a:cxn ang="0">
                  <a:pos x="T6" y="T7"/>
                </a:cxn>
              </a:cxnLst>
              <a:rect l="0" t="0" r="r" b="b"/>
              <a:pathLst>
                <a:path w="4" h="3">
                  <a:moveTo>
                    <a:pt x="0" y="0"/>
                  </a:moveTo>
                  <a:cubicBezTo>
                    <a:pt x="1" y="1"/>
                    <a:pt x="2" y="2"/>
                    <a:pt x="2" y="3"/>
                  </a:cubicBezTo>
                  <a:cubicBezTo>
                    <a:pt x="3" y="3"/>
                    <a:pt x="4" y="3"/>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1289"/>
            <p:cNvSpPr/>
            <p:nvPr/>
          </p:nvSpPr>
          <p:spPr bwMode="auto">
            <a:xfrm>
              <a:off x="5070001" y="5494186"/>
              <a:ext cx="21477" cy="18793"/>
            </a:xfrm>
            <a:custGeom>
              <a:gdLst>
                <a:gd name="T0" fmla="*/ 1 w 7"/>
                <a:gd name="T1" fmla="*/ 0 h 6"/>
                <a:gd name="T2" fmla="*/ 2 w 7"/>
                <a:gd name="T3" fmla="*/ 6 h 6"/>
                <a:gd name="T4" fmla="*/ 4 w 7"/>
                <a:gd name="T5" fmla="*/ 6 h 6"/>
                <a:gd name="T6" fmla="*/ 6 w 7"/>
                <a:gd name="T7" fmla="*/ 3 h 6"/>
                <a:gd name="T8" fmla="*/ 1 w 7"/>
                <a:gd name="T9" fmla="*/ 0 h 6"/>
              </a:gdLst>
              <a:cxnLst>
                <a:cxn ang="0">
                  <a:pos x="T0" y="T1"/>
                </a:cxn>
                <a:cxn ang="0">
                  <a:pos x="T2" y="T3"/>
                </a:cxn>
                <a:cxn ang="0">
                  <a:pos x="T4" y="T5"/>
                </a:cxn>
                <a:cxn ang="0">
                  <a:pos x="T6" y="T7"/>
                </a:cxn>
                <a:cxn ang="0">
                  <a:pos x="T8" y="T9"/>
                </a:cxn>
              </a:cxnLst>
              <a:rect l="0" t="0" r="r" b="b"/>
              <a:pathLst>
                <a:path w="7" h="6">
                  <a:moveTo>
                    <a:pt x="1" y="0"/>
                  </a:moveTo>
                  <a:cubicBezTo>
                    <a:pt x="0" y="1"/>
                    <a:pt x="0" y="5"/>
                    <a:pt x="2" y="6"/>
                  </a:cubicBezTo>
                  <a:cubicBezTo>
                    <a:pt x="3" y="6"/>
                    <a:pt x="3" y="6"/>
                    <a:pt x="4" y="6"/>
                  </a:cubicBezTo>
                  <a:cubicBezTo>
                    <a:pt x="5" y="6"/>
                    <a:pt x="6" y="5"/>
                    <a:pt x="6" y="3"/>
                  </a:cubicBezTo>
                  <a:cubicBezTo>
                    <a:pt x="7" y="0"/>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1290"/>
            <p:cNvSpPr/>
            <p:nvPr/>
          </p:nvSpPr>
          <p:spPr bwMode="auto">
            <a:xfrm>
              <a:off x="4993488" y="5169340"/>
              <a:ext cx="13423" cy="10739"/>
            </a:xfrm>
            <a:custGeom>
              <a:gdLst>
                <a:gd name="T0" fmla="*/ 0 w 4"/>
                <a:gd name="T1" fmla="*/ 0 h 3"/>
                <a:gd name="T2" fmla="*/ 2 w 4"/>
                <a:gd name="T3" fmla="*/ 3 h 3"/>
                <a:gd name="T4" fmla="*/ 4 w 4"/>
                <a:gd name="T5" fmla="*/ 3 h 3"/>
                <a:gd name="T6" fmla="*/ 0 w 4"/>
                <a:gd name="T7" fmla="*/ 0 h 3"/>
              </a:gdLst>
              <a:cxnLst>
                <a:cxn ang="0">
                  <a:pos x="T0" y="T1"/>
                </a:cxn>
                <a:cxn ang="0">
                  <a:pos x="T2" y="T3"/>
                </a:cxn>
                <a:cxn ang="0">
                  <a:pos x="T4" y="T5"/>
                </a:cxn>
                <a:cxn ang="0">
                  <a:pos x="T6" y="T7"/>
                </a:cxn>
              </a:cxnLst>
              <a:rect l="0" t="0" r="r" b="b"/>
              <a:pathLst>
                <a:path w="4" h="3">
                  <a:moveTo>
                    <a:pt x="0" y="0"/>
                  </a:moveTo>
                  <a:cubicBezTo>
                    <a:pt x="1" y="2"/>
                    <a:pt x="1" y="3"/>
                    <a:pt x="2" y="3"/>
                  </a:cubicBezTo>
                  <a:cubicBezTo>
                    <a:pt x="3" y="3"/>
                    <a:pt x="3"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1291"/>
            <p:cNvSpPr/>
            <p:nvPr/>
          </p:nvSpPr>
          <p:spPr bwMode="auto">
            <a:xfrm>
              <a:off x="3287380" y="4680729"/>
              <a:ext cx="9396" cy="16108"/>
            </a:xfrm>
            <a:custGeom>
              <a:gdLst>
                <a:gd name="T0" fmla="*/ 0 w 3"/>
                <a:gd name="T1" fmla="*/ 0 h 5"/>
                <a:gd name="T2" fmla="*/ 0 w 3"/>
                <a:gd name="T3" fmla="*/ 5 h 5"/>
                <a:gd name="T4" fmla="*/ 3 w 3"/>
                <a:gd name="T5" fmla="*/ 2 h 5"/>
                <a:gd name="T6" fmla="*/ 0 w 3"/>
                <a:gd name="T7" fmla="*/ 0 h 5"/>
              </a:gdLst>
              <a:cxnLst>
                <a:cxn ang="0">
                  <a:pos x="T0" y="T1"/>
                </a:cxn>
                <a:cxn ang="0">
                  <a:pos x="T2" y="T3"/>
                </a:cxn>
                <a:cxn ang="0">
                  <a:pos x="T4" y="T5"/>
                </a:cxn>
                <a:cxn ang="0">
                  <a:pos x="T6" y="T7"/>
                </a:cxn>
              </a:cxnLst>
              <a:rect l="0" t="0" r="r" b="b"/>
              <a:pathLst>
                <a:path w="3" h="5">
                  <a:moveTo>
                    <a:pt x="0" y="0"/>
                  </a:moveTo>
                  <a:cubicBezTo>
                    <a:pt x="0" y="2"/>
                    <a:pt x="0" y="3"/>
                    <a:pt x="0" y="5"/>
                  </a:cubicBezTo>
                  <a:cubicBezTo>
                    <a:pt x="2" y="4"/>
                    <a:pt x="3" y="4"/>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1292"/>
            <p:cNvSpPr/>
            <p:nvPr/>
          </p:nvSpPr>
          <p:spPr bwMode="auto">
            <a:xfrm>
              <a:off x="4911606" y="4998863"/>
              <a:ext cx="16108" cy="6712"/>
            </a:xfrm>
            <a:custGeom>
              <a:gdLst>
                <a:gd name="T0" fmla="*/ 2 w 5"/>
                <a:gd name="T1" fmla="*/ 0 h 2"/>
                <a:gd name="T2" fmla="*/ 0 w 5"/>
                <a:gd name="T3" fmla="*/ 1 h 2"/>
                <a:gd name="T4" fmla="*/ 5 w 5"/>
                <a:gd name="T5" fmla="*/ 2 h 2"/>
                <a:gd name="T6" fmla="*/ 5 w 5"/>
                <a:gd name="T7" fmla="*/ 2 h 2"/>
                <a:gd name="T8" fmla="*/ 2 w 5"/>
                <a:gd name="T9" fmla="*/ 0 h 2"/>
              </a:gdLst>
              <a:cxnLst>
                <a:cxn ang="0">
                  <a:pos x="T0" y="T1"/>
                </a:cxn>
                <a:cxn ang="0">
                  <a:pos x="T2" y="T3"/>
                </a:cxn>
                <a:cxn ang="0">
                  <a:pos x="T4" y="T5"/>
                </a:cxn>
                <a:cxn ang="0">
                  <a:pos x="T6" y="T7"/>
                </a:cxn>
                <a:cxn ang="0">
                  <a:pos x="T8" y="T9"/>
                </a:cxn>
              </a:cxnLst>
              <a:rect l="0" t="0" r="r" b="b"/>
              <a:pathLst>
                <a:path w="5" h="2">
                  <a:moveTo>
                    <a:pt x="2" y="0"/>
                  </a:moveTo>
                  <a:cubicBezTo>
                    <a:pt x="2" y="0"/>
                    <a:pt x="1" y="0"/>
                    <a:pt x="0" y="1"/>
                  </a:cubicBezTo>
                  <a:cubicBezTo>
                    <a:pt x="1" y="1"/>
                    <a:pt x="3" y="2"/>
                    <a:pt x="5" y="2"/>
                  </a:cubicBezTo>
                  <a:cubicBezTo>
                    <a:pt x="5" y="2"/>
                    <a:pt x="5" y="2"/>
                    <a:pt x="5" y="2"/>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Freeform 1293"/>
            <p:cNvSpPr/>
            <p:nvPr/>
          </p:nvSpPr>
          <p:spPr bwMode="auto">
            <a:xfrm>
              <a:off x="2861859" y="5096854"/>
              <a:ext cx="16108" cy="25504"/>
            </a:xfrm>
            <a:custGeom>
              <a:gdLst>
                <a:gd name="T0" fmla="*/ 0 w 5"/>
                <a:gd name="T1" fmla="*/ 0 h 8"/>
                <a:gd name="T2" fmla="*/ 0 w 5"/>
                <a:gd name="T3" fmla="*/ 8 h 8"/>
                <a:gd name="T4" fmla="*/ 1 w 5"/>
                <a:gd name="T5" fmla="*/ 8 h 8"/>
                <a:gd name="T6" fmla="*/ 4 w 5"/>
                <a:gd name="T7" fmla="*/ 4 h 8"/>
                <a:gd name="T8" fmla="*/ 0 w 5"/>
                <a:gd name="T9" fmla="*/ 0 h 8"/>
              </a:gdLst>
              <a:cxnLst>
                <a:cxn ang="0">
                  <a:pos x="T0" y="T1"/>
                </a:cxn>
                <a:cxn ang="0">
                  <a:pos x="T2" y="T3"/>
                </a:cxn>
                <a:cxn ang="0">
                  <a:pos x="T4" y="T5"/>
                </a:cxn>
                <a:cxn ang="0">
                  <a:pos x="T6" y="T7"/>
                </a:cxn>
                <a:cxn ang="0">
                  <a:pos x="T8" y="T9"/>
                </a:cxn>
              </a:cxnLst>
              <a:rect l="0" t="0" r="r" b="b"/>
              <a:pathLst>
                <a:path w="5" h="8">
                  <a:moveTo>
                    <a:pt x="0" y="0"/>
                  </a:moveTo>
                  <a:cubicBezTo>
                    <a:pt x="0" y="2"/>
                    <a:pt x="0" y="5"/>
                    <a:pt x="0" y="8"/>
                  </a:cubicBezTo>
                  <a:cubicBezTo>
                    <a:pt x="1" y="8"/>
                    <a:pt x="1" y="8"/>
                    <a:pt x="1" y="8"/>
                  </a:cubicBezTo>
                  <a:cubicBezTo>
                    <a:pt x="3" y="8"/>
                    <a:pt x="5" y="6"/>
                    <a:pt x="4"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1294"/>
            <p:cNvSpPr/>
            <p:nvPr/>
          </p:nvSpPr>
          <p:spPr bwMode="auto">
            <a:xfrm>
              <a:off x="2731653" y="4929062"/>
              <a:ext cx="18793" cy="21477"/>
            </a:xfrm>
            <a:custGeom>
              <a:gdLst>
                <a:gd name="T0" fmla="*/ 4 w 6"/>
                <a:gd name="T1" fmla="*/ 0 h 7"/>
                <a:gd name="T2" fmla="*/ 2 w 6"/>
                <a:gd name="T3" fmla="*/ 3 h 7"/>
                <a:gd name="T4" fmla="*/ 0 w 6"/>
                <a:gd name="T5" fmla="*/ 6 h 7"/>
                <a:gd name="T6" fmla="*/ 2 w 6"/>
                <a:gd name="T7" fmla="*/ 7 h 7"/>
                <a:gd name="T8" fmla="*/ 6 w 6"/>
                <a:gd name="T9" fmla="*/ 5 h 7"/>
                <a:gd name="T10" fmla="*/ 4 w 6"/>
                <a:gd name="T11" fmla="*/ 0 h 7"/>
              </a:gdLst>
              <a:cxnLst>
                <a:cxn ang="0">
                  <a:pos x="T0" y="T1"/>
                </a:cxn>
                <a:cxn ang="0">
                  <a:pos x="T2" y="T3"/>
                </a:cxn>
                <a:cxn ang="0">
                  <a:pos x="T4" y="T5"/>
                </a:cxn>
                <a:cxn ang="0">
                  <a:pos x="T6" y="T7"/>
                </a:cxn>
                <a:cxn ang="0">
                  <a:pos x="T8" y="T9"/>
                </a:cxn>
                <a:cxn ang="0">
                  <a:pos x="T10" y="T11"/>
                </a:cxn>
              </a:cxnLst>
              <a:rect l="0" t="0" r="r" b="b"/>
              <a:pathLst>
                <a:path w="6" h="7">
                  <a:moveTo>
                    <a:pt x="4" y="0"/>
                  </a:moveTo>
                  <a:cubicBezTo>
                    <a:pt x="4" y="0"/>
                    <a:pt x="3" y="1"/>
                    <a:pt x="2" y="3"/>
                  </a:cubicBezTo>
                  <a:cubicBezTo>
                    <a:pt x="2" y="5"/>
                    <a:pt x="3" y="6"/>
                    <a:pt x="0" y="6"/>
                  </a:cubicBezTo>
                  <a:cubicBezTo>
                    <a:pt x="1" y="7"/>
                    <a:pt x="2" y="7"/>
                    <a:pt x="2" y="7"/>
                  </a:cubicBezTo>
                  <a:cubicBezTo>
                    <a:pt x="3" y="7"/>
                    <a:pt x="4" y="6"/>
                    <a:pt x="6" y="5"/>
                  </a:cubicBezTo>
                  <a:cubicBezTo>
                    <a:pt x="6" y="3"/>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1295"/>
            <p:cNvSpPr/>
            <p:nvPr/>
          </p:nvSpPr>
          <p:spPr bwMode="auto">
            <a:xfrm>
              <a:off x="4788111" y="5059268"/>
              <a:ext cx="18793" cy="34901"/>
            </a:xfrm>
            <a:custGeom>
              <a:gdLst>
                <a:gd name="T0" fmla="*/ 4 w 6"/>
                <a:gd name="T1" fmla="*/ 0 h 11"/>
                <a:gd name="T2" fmla="*/ 3 w 6"/>
                <a:gd name="T3" fmla="*/ 6 h 11"/>
                <a:gd name="T4" fmla="*/ 6 w 6"/>
                <a:gd name="T5" fmla="*/ 11 h 11"/>
                <a:gd name="T6" fmla="*/ 4 w 6"/>
                <a:gd name="T7" fmla="*/ 0 h 11"/>
              </a:gdLst>
              <a:cxnLst>
                <a:cxn ang="0">
                  <a:pos x="T0" y="T1"/>
                </a:cxn>
                <a:cxn ang="0">
                  <a:pos x="T2" y="T3"/>
                </a:cxn>
                <a:cxn ang="0">
                  <a:pos x="T4" y="T5"/>
                </a:cxn>
                <a:cxn ang="0">
                  <a:pos x="T6" y="T7"/>
                </a:cxn>
              </a:cxnLst>
              <a:rect l="0" t="0" r="r" b="b"/>
              <a:pathLst>
                <a:path w="6" h="11">
                  <a:moveTo>
                    <a:pt x="4" y="0"/>
                  </a:moveTo>
                  <a:cubicBezTo>
                    <a:pt x="0" y="1"/>
                    <a:pt x="2" y="4"/>
                    <a:pt x="3" y="6"/>
                  </a:cubicBezTo>
                  <a:cubicBezTo>
                    <a:pt x="4" y="8"/>
                    <a:pt x="4" y="11"/>
                    <a:pt x="6" y="11"/>
                  </a:cubicBezTo>
                  <a:cubicBezTo>
                    <a:pt x="5" y="7"/>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1296"/>
            <p:cNvSpPr/>
            <p:nvPr/>
          </p:nvSpPr>
          <p:spPr bwMode="auto">
            <a:xfrm>
              <a:off x="2645743" y="4745162"/>
              <a:ext cx="16108" cy="12081"/>
            </a:xfrm>
            <a:custGeom>
              <a:gdLst>
                <a:gd name="T0" fmla="*/ 2 w 5"/>
                <a:gd name="T1" fmla="*/ 0 h 4"/>
                <a:gd name="T2" fmla="*/ 0 w 5"/>
                <a:gd name="T3" fmla="*/ 0 h 4"/>
                <a:gd name="T4" fmla="*/ 5 w 5"/>
                <a:gd name="T5" fmla="*/ 4 h 4"/>
                <a:gd name="T6" fmla="*/ 2 w 5"/>
                <a:gd name="T7" fmla="*/ 0 h 4"/>
              </a:gdLst>
              <a:cxnLst>
                <a:cxn ang="0">
                  <a:pos x="T0" y="T1"/>
                </a:cxn>
                <a:cxn ang="0">
                  <a:pos x="T2" y="T3"/>
                </a:cxn>
                <a:cxn ang="0">
                  <a:pos x="T4" y="T5"/>
                </a:cxn>
                <a:cxn ang="0">
                  <a:pos x="T6" y="T7"/>
                </a:cxn>
              </a:cxnLst>
              <a:rect l="0" t="0" r="r" b="b"/>
              <a:pathLst>
                <a:path w="5" h="4">
                  <a:moveTo>
                    <a:pt x="2" y="0"/>
                  </a:moveTo>
                  <a:cubicBezTo>
                    <a:pt x="1" y="0"/>
                    <a:pt x="1" y="0"/>
                    <a:pt x="0" y="0"/>
                  </a:cubicBezTo>
                  <a:cubicBezTo>
                    <a:pt x="2" y="1"/>
                    <a:pt x="4" y="2"/>
                    <a:pt x="5" y="4"/>
                  </a:cubicBezTo>
                  <a:cubicBezTo>
                    <a:pt x="5"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Freeform 1297"/>
            <p:cNvSpPr/>
            <p:nvPr/>
          </p:nvSpPr>
          <p:spPr bwMode="auto">
            <a:xfrm>
              <a:off x="4613607" y="5020341"/>
              <a:ext cx="5369" cy="20135"/>
            </a:xfrm>
            <a:custGeom>
              <a:gdLst>
                <a:gd name="T0" fmla="*/ 1 w 2"/>
                <a:gd name="T1" fmla="*/ 0 h 6"/>
                <a:gd name="T2" fmla="*/ 0 w 2"/>
                <a:gd name="T3" fmla="*/ 5 h 6"/>
                <a:gd name="T4" fmla="*/ 1 w 2"/>
                <a:gd name="T5" fmla="*/ 6 h 6"/>
                <a:gd name="T6" fmla="*/ 1 w 2"/>
                <a:gd name="T7" fmla="*/ 0 h 6"/>
              </a:gdLst>
              <a:cxnLst>
                <a:cxn ang="0">
                  <a:pos x="T0" y="T1"/>
                </a:cxn>
                <a:cxn ang="0">
                  <a:pos x="T2" y="T3"/>
                </a:cxn>
                <a:cxn ang="0">
                  <a:pos x="T4" y="T5"/>
                </a:cxn>
                <a:cxn ang="0">
                  <a:pos x="T6" y="T7"/>
                </a:cxn>
              </a:cxnLst>
              <a:rect l="0" t="0" r="r" b="b"/>
              <a:pathLst>
                <a:path w="2" h="6">
                  <a:moveTo>
                    <a:pt x="1" y="0"/>
                  </a:moveTo>
                  <a:cubicBezTo>
                    <a:pt x="1" y="1"/>
                    <a:pt x="0" y="4"/>
                    <a:pt x="0" y="5"/>
                  </a:cubicBezTo>
                  <a:cubicBezTo>
                    <a:pt x="1" y="6"/>
                    <a:pt x="1" y="6"/>
                    <a:pt x="1" y="6"/>
                  </a:cubicBezTo>
                  <a:cubicBezTo>
                    <a:pt x="2" y="6"/>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1298"/>
            <p:cNvSpPr/>
            <p:nvPr/>
          </p:nvSpPr>
          <p:spPr bwMode="auto">
            <a:xfrm>
              <a:off x="4571995" y="5208268"/>
              <a:ext cx="25504" cy="18793"/>
            </a:xfrm>
            <a:custGeom>
              <a:gdLst>
                <a:gd name="T0" fmla="*/ 3 w 8"/>
                <a:gd name="T1" fmla="*/ 0 h 6"/>
                <a:gd name="T2" fmla="*/ 3 w 8"/>
                <a:gd name="T3" fmla="*/ 5 h 6"/>
                <a:gd name="T4" fmla="*/ 5 w 8"/>
                <a:gd name="T5" fmla="*/ 6 h 6"/>
                <a:gd name="T6" fmla="*/ 7 w 8"/>
                <a:gd name="T7" fmla="*/ 3 h 6"/>
                <a:gd name="T8" fmla="*/ 3 w 8"/>
                <a:gd name="T9" fmla="*/ 0 h 6"/>
              </a:gdLst>
              <a:cxnLst>
                <a:cxn ang="0">
                  <a:pos x="T0" y="T1"/>
                </a:cxn>
                <a:cxn ang="0">
                  <a:pos x="T2" y="T3"/>
                </a:cxn>
                <a:cxn ang="0">
                  <a:pos x="T4" y="T5"/>
                </a:cxn>
                <a:cxn ang="0">
                  <a:pos x="T6" y="T7"/>
                </a:cxn>
                <a:cxn ang="0">
                  <a:pos x="T8" y="T9"/>
                </a:cxn>
              </a:cxnLst>
              <a:rect l="0" t="0" r="r" b="b"/>
              <a:pathLst>
                <a:path w="8" h="6">
                  <a:moveTo>
                    <a:pt x="3" y="0"/>
                  </a:moveTo>
                  <a:cubicBezTo>
                    <a:pt x="0" y="1"/>
                    <a:pt x="1" y="4"/>
                    <a:pt x="3" y="5"/>
                  </a:cubicBezTo>
                  <a:cubicBezTo>
                    <a:pt x="4" y="6"/>
                    <a:pt x="4" y="6"/>
                    <a:pt x="5" y="6"/>
                  </a:cubicBezTo>
                  <a:cubicBezTo>
                    <a:pt x="6" y="6"/>
                    <a:pt x="7" y="5"/>
                    <a:pt x="7" y="3"/>
                  </a:cubicBezTo>
                  <a:cubicBezTo>
                    <a:pt x="8" y="1"/>
                    <a:pt x="6"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1299"/>
            <p:cNvSpPr/>
            <p:nvPr/>
          </p:nvSpPr>
          <p:spPr bwMode="auto">
            <a:xfrm>
              <a:off x="4304870" y="5541167"/>
              <a:ext cx="18793" cy="22820"/>
            </a:xfrm>
            <a:custGeom>
              <a:gdLst>
                <a:gd name="T0" fmla="*/ 3 w 6"/>
                <a:gd name="T1" fmla="*/ 0 h 7"/>
                <a:gd name="T2" fmla="*/ 1 w 6"/>
                <a:gd name="T3" fmla="*/ 6 h 7"/>
                <a:gd name="T4" fmla="*/ 2 w 6"/>
                <a:gd name="T5" fmla="*/ 7 h 7"/>
                <a:gd name="T6" fmla="*/ 3 w 6"/>
                <a:gd name="T7" fmla="*/ 6 h 7"/>
                <a:gd name="T8" fmla="*/ 3 w 6"/>
                <a:gd name="T9" fmla="*/ 0 h 7"/>
              </a:gdLst>
              <a:cxnLst>
                <a:cxn ang="0">
                  <a:pos x="T0" y="T1"/>
                </a:cxn>
                <a:cxn ang="0">
                  <a:pos x="T2" y="T3"/>
                </a:cxn>
                <a:cxn ang="0">
                  <a:pos x="T4" y="T5"/>
                </a:cxn>
                <a:cxn ang="0">
                  <a:pos x="T6" y="T7"/>
                </a:cxn>
                <a:cxn ang="0">
                  <a:pos x="T8" y="T9"/>
                </a:cxn>
              </a:cxnLst>
              <a:rect l="0" t="0" r="r" b="b"/>
              <a:pathLst>
                <a:path w="6" h="7">
                  <a:moveTo>
                    <a:pt x="3" y="0"/>
                  </a:moveTo>
                  <a:cubicBezTo>
                    <a:pt x="2" y="3"/>
                    <a:pt x="0" y="3"/>
                    <a:pt x="1" y="6"/>
                  </a:cubicBezTo>
                  <a:cubicBezTo>
                    <a:pt x="1" y="6"/>
                    <a:pt x="1" y="7"/>
                    <a:pt x="2" y="7"/>
                  </a:cubicBezTo>
                  <a:cubicBezTo>
                    <a:pt x="2" y="7"/>
                    <a:pt x="3" y="7"/>
                    <a:pt x="3" y="6"/>
                  </a:cubicBezTo>
                  <a:cubicBezTo>
                    <a:pt x="6" y="3"/>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1300"/>
            <p:cNvSpPr/>
            <p:nvPr/>
          </p:nvSpPr>
          <p:spPr bwMode="auto">
            <a:xfrm>
              <a:off x="5735800" y="5522375"/>
              <a:ext cx="32216" cy="16108"/>
            </a:xfrm>
            <a:custGeom>
              <a:gdLst>
                <a:gd name="T0" fmla="*/ 7 w 10"/>
                <a:gd name="T1" fmla="*/ 0 h 5"/>
                <a:gd name="T2" fmla="*/ 1 w 10"/>
                <a:gd name="T3" fmla="*/ 4 h 5"/>
                <a:gd name="T4" fmla="*/ 6 w 10"/>
                <a:gd name="T5" fmla="*/ 5 h 5"/>
                <a:gd name="T6" fmla="*/ 7 w 10"/>
                <a:gd name="T7" fmla="*/ 5 h 5"/>
                <a:gd name="T8" fmla="*/ 7 w 10"/>
                <a:gd name="T9" fmla="*/ 0 h 5"/>
              </a:gdLst>
              <a:cxnLst>
                <a:cxn ang="0">
                  <a:pos x="T0" y="T1"/>
                </a:cxn>
                <a:cxn ang="0">
                  <a:pos x="T2" y="T3"/>
                </a:cxn>
                <a:cxn ang="0">
                  <a:pos x="T4" y="T5"/>
                </a:cxn>
                <a:cxn ang="0">
                  <a:pos x="T6" y="T7"/>
                </a:cxn>
                <a:cxn ang="0">
                  <a:pos x="T8" y="T9"/>
                </a:cxn>
              </a:cxnLst>
              <a:rect l="0" t="0" r="r" b="b"/>
              <a:pathLst>
                <a:path w="10" h="5">
                  <a:moveTo>
                    <a:pt x="7" y="0"/>
                  </a:moveTo>
                  <a:cubicBezTo>
                    <a:pt x="6" y="0"/>
                    <a:pt x="0" y="2"/>
                    <a:pt x="1" y="4"/>
                  </a:cubicBezTo>
                  <a:cubicBezTo>
                    <a:pt x="1" y="4"/>
                    <a:pt x="5" y="5"/>
                    <a:pt x="6" y="5"/>
                  </a:cubicBezTo>
                  <a:cubicBezTo>
                    <a:pt x="7" y="5"/>
                    <a:pt x="7" y="5"/>
                    <a:pt x="7" y="5"/>
                  </a:cubicBezTo>
                  <a:cubicBezTo>
                    <a:pt x="10" y="5"/>
                    <a:pt x="9"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Freeform 1301"/>
            <p:cNvSpPr/>
            <p:nvPr/>
          </p:nvSpPr>
          <p:spPr bwMode="auto">
            <a:xfrm>
              <a:off x="5533107" y="4966647"/>
              <a:ext cx="44297" cy="32216"/>
            </a:xfrm>
            <a:custGeom>
              <a:gdLst>
                <a:gd name="T0" fmla="*/ 0 w 14"/>
                <a:gd name="T1" fmla="*/ 0 h 10"/>
                <a:gd name="T2" fmla="*/ 0 w 14"/>
                <a:gd name="T3" fmla="*/ 0 h 10"/>
                <a:gd name="T4" fmla="*/ 3 w 14"/>
                <a:gd name="T5" fmla="*/ 10 h 10"/>
                <a:gd name="T6" fmla="*/ 4 w 14"/>
                <a:gd name="T7" fmla="*/ 10 h 10"/>
                <a:gd name="T8" fmla="*/ 5 w 14"/>
                <a:gd name="T9" fmla="*/ 10 h 10"/>
                <a:gd name="T10" fmla="*/ 6 w 14"/>
                <a:gd name="T11" fmla="*/ 10 h 10"/>
                <a:gd name="T12" fmla="*/ 6 w 14"/>
                <a:gd name="T13" fmla="*/ 10 h 10"/>
                <a:gd name="T14" fmla="*/ 8 w 14"/>
                <a:gd name="T15" fmla="*/ 10 h 10"/>
                <a:gd name="T16" fmla="*/ 14 w 14"/>
                <a:gd name="T17" fmla="*/ 8 h 10"/>
                <a:gd name="T18" fmla="*/ 14 w 14"/>
                <a:gd name="T19" fmla="*/ 8 h 10"/>
                <a:gd name="T20" fmla="*/ 12 w 14"/>
                <a:gd name="T21" fmla="*/ 7 h 10"/>
                <a:gd name="T22" fmla="*/ 9 w 14"/>
                <a:gd name="T23" fmla="*/ 7 h 10"/>
                <a:gd name="T24" fmla="*/ 6 w 14"/>
                <a:gd name="T25" fmla="*/ 4 h 10"/>
                <a:gd name="T26" fmla="*/ 0 w 14"/>
                <a:gd name="T2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0">
                  <a:moveTo>
                    <a:pt x="0" y="0"/>
                  </a:moveTo>
                  <a:cubicBezTo>
                    <a:pt x="0" y="0"/>
                    <a:pt x="0" y="0"/>
                    <a:pt x="0" y="0"/>
                  </a:cubicBezTo>
                  <a:cubicBezTo>
                    <a:pt x="0" y="2"/>
                    <a:pt x="0" y="9"/>
                    <a:pt x="3" y="10"/>
                  </a:cubicBezTo>
                  <a:cubicBezTo>
                    <a:pt x="2" y="10"/>
                    <a:pt x="3" y="10"/>
                    <a:pt x="4" y="10"/>
                  </a:cubicBezTo>
                  <a:cubicBezTo>
                    <a:pt x="4" y="10"/>
                    <a:pt x="5" y="10"/>
                    <a:pt x="5" y="10"/>
                  </a:cubicBezTo>
                  <a:cubicBezTo>
                    <a:pt x="6" y="10"/>
                    <a:pt x="6" y="10"/>
                    <a:pt x="6" y="10"/>
                  </a:cubicBezTo>
                  <a:cubicBezTo>
                    <a:pt x="6" y="10"/>
                    <a:pt x="6" y="10"/>
                    <a:pt x="6" y="10"/>
                  </a:cubicBezTo>
                  <a:cubicBezTo>
                    <a:pt x="7" y="10"/>
                    <a:pt x="8" y="10"/>
                    <a:pt x="8" y="10"/>
                  </a:cubicBezTo>
                  <a:cubicBezTo>
                    <a:pt x="10" y="10"/>
                    <a:pt x="12" y="10"/>
                    <a:pt x="14" y="8"/>
                  </a:cubicBezTo>
                  <a:cubicBezTo>
                    <a:pt x="14" y="8"/>
                    <a:pt x="14" y="8"/>
                    <a:pt x="14" y="8"/>
                  </a:cubicBezTo>
                  <a:cubicBezTo>
                    <a:pt x="13" y="8"/>
                    <a:pt x="12" y="8"/>
                    <a:pt x="12" y="7"/>
                  </a:cubicBezTo>
                  <a:cubicBezTo>
                    <a:pt x="9" y="7"/>
                    <a:pt x="9" y="7"/>
                    <a:pt x="9" y="7"/>
                  </a:cubicBezTo>
                  <a:cubicBezTo>
                    <a:pt x="8" y="6"/>
                    <a:pt x="8" y="4"/>
                    <a:pt x="6" y="4"/>
                  </a:cubicBezTo>
                  <a:cubicBezTo>
                    <a:pt x="6" y="2"/>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1302"/>
            <p:cNvSpPr/>
            <p:nvPr/>
          </p:nvSpPr>
          <p:spPr bwMode="auto">
            <a:xfrm>
              <a:off x="4676697" y="5519690"/>
              <a:ext cx="63090" cy="21477"/>
            </a:xfrm>
            <a:custGeom>
              <a:gdLst>
                <a:gd name="T0" fmla="*/ 12 w 20"/>
                <a:gd name="T1" fmla="*/ 0 h 7"/>
                <a:gd name="T2" fmla="*/ 7 w 20"/>
                <a:gd name="T3" fmla="*/ 0 h 7"/>
                <a:gd name="T4" fmla="*/ 4 w 20"/>
                <a:gd name="T5" fmla="*/ 0 h 7"/>
                <a:gd name="T6" fmla="*/ 4 w 20"/>
                <a:gd name="T7" fmla="*/ 0 h 7"/>
                <a:gd name="T8" fmla="*/ 3 w 20"/>
                <a:gd name="T9" fmla="*/ 3 h 7"/>
                <a:gd name="T10" fmla="*/ 5 w 20"/>
                <a:gd name="T11" fmla="*/ 2 h 7"/>
                <a:gd name="T12" fmla="*/ 2 w 20"/>
                <a:gd name="T13" fmla="*/ 4 h 7"/>
                <a:gd name="T14" fmla="*/ 3 w 20"/>
                <a:gd name="T15" fmla="*/ 7 h 7"/>
                <a:gd name="T16" fmla="*/ 5 w 20"/>
                <a:gd name="T17" fmla="*/ 7 h 7"/>
                <a:gd name="T18" fmla="*/ 11 w 20"/>
                <a:gd name="T19" fmla="*/ 6 h 7"/>
                <a:gd name="T20" fmla="*/ 18 w 20"/>
                <a:gd name="T21" fmla="*/ 5 h 7"/>
                <a:gd name="T22" fmla="*/ 19 w 20"/>
                <a:gd name="T23" fmla="*/ 1 h 7"/>
                <a:gd name="T24" fmla="*/ 12 w 20"/>
                <a:gd name="T25"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7">
                  <a:moveTo>
                    <a:pt x="12" y="0"/>
                  </a:moveTo>
                  <a:cubicBezTo>
                    <a:pt x="10" y="0"/>
                    <a:pt x="9" y="0"/>
                    <a:pt x="7" y="0"/>
                  </a:cubicBezTo>
                  <a:cubicBezTo>
                    <a:pt x="6" y="0"/>
                    <a:pt x="5" y="0"/>
                    <a:pt x="4" y="0"/>
                  </a:cubicBezTo>
                  <a:cubicBezTo>
                    <a:pt x="4" y="0"/>
                    <a:pt x="4" y="0"/>
                    <a:pt x="4" y="0"/>
                  </a:cubicBezTo>
                  <a:cubicBezTo>
                    <a:pt x="2" y="1"/>
                    <a:pt x="1" y="3"/>
                    <a:pt x="3" y="3"/>
                  </a:cubicBezTo>
                  <a:cubicBezTo>
                    <a:pt x="3" y="3"/>
                    <a:pt x="4" y="3"/>
                    <a:pt x="5" y="2"/>
                  </a:cubicBezTo>
                  <a:cubicBezTo>
                    <a:pt x="4" y="3"/>
                    <a:pt x="3" y="3"/>
                    <a:pt x="2" y="4"/>
                  </a:cubicBezTo>
                  <a:cubicBezTo>
                    <a:pt x="0" y="7"/>
                    <a:pt x="1" y="7"/>
                    <a:pt x="3" y="7"/>
                  </a:cubicBezTo>
                  <a:cubicBezTo>
                    <a:pt x="4" y="7"/>
                    <a:pt x="4" y="7"/>
                    <a:pt x="5" y="7"/>
                  </a:cubicBezTo>
                  <a:cubicBezTo>
                    <a:pt x="7" y="7"/>
                    <a:pt x="9" y="7"/>
                    <a:pt x="11" y="6"/>
                  </a:cubicBezTo>
                  <a:cubicBezTo>
                    <a:pt x="13" y="6"/>
                    <a:pt x="17" y="6"/>
                    <a:pt x="18" y="5"/>
                  </a:cubicBezTo>
                  <a:cubicBezTo>
                    <a:pt x="19" y="4"/>
                    <a:pt x="20" y="3"/>
                    <a:pt x="19" y="1"/>
                  </a:cubicBezTo>
                  <a:cubicBezTo>
                    <a:pt x="18" y="0"/>
                    <a:pt x="15"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Freeform 1303"/>
            <p:cNvSpPr/>
            <p:nvPr/>
          </p:nvSpPr>
          <p:spPr bwMode="auto">
            <a:xfrm>
              <a:off x="5149199" y="4976044"/>
              <a:ext cx="32216" cy="32216"/>
            </a:xfrm>
            <a:custGeom>
              <a:gdLst>
                <a:gd name="T0" fmla="*/ 6 w 10"/>
                <a:gd name="T1" fmla="*/ 0 h 10"/>
                <a:gd name="T2" fmla="*/ 5 w 10"/>
                <a:gd name="T3" fmla="*/ 0 h 10"/>
                <a:gd name="T4" fmla="*/ 1 w 10"/>
                <a:gd name="T5" fmla="*/ 5 h 10"/>
                <a:gd name="T6" fmla="*/ 5 w 10"/>
                <a:gd name="T7" fmla="*/ 10 h 10"/>
                <a:gd name="T8" fmla="*/ 5 w 10"/>
                <a:gd name="T9" fmla="*/ 10 h 10"/>
                <a:gd name="T10" fmla="*/ 10 w 10"/>
                <a:gd name="T11" fmla="*/ 3 h 10"/>
                <a:gd name="T12" fmla="*/ 6 w 10"/>
                <a:gd name="T13" fmla="*/ 0 h 10"/>
              </a:gdLst>
              <a:cxnLst>
                <a:cxn ang="0">
                  <a:pos x="T0" y="T1"/>
                </a:cxn>
                <a:cxn ang="0">
                  <a:pos x="T2" y="T3"/>
                </a:cxn>
                <a:cxn ang="0">
                  <a:pos x="T4" y="T5"/>
                </a:cxn>
                <a:cxn ang="0">
                  <a:pos x="T6" y="T7"/>
                </a:cxn>
                <a:cxn ang="0">
                  <a:pos x="T8" y="T9"/>
                </a:cxn>
                <a:cxn ang="0">
                  <a:pos x="T10" y="T11"/>
                </a:cxn>
                <a:cxn ang="0">
                  <a:pos x="T12" y="T13"/>
                </a:cxn>
              </a:cxnLst>
              <a:rect l="0" t="0" r="r" b="b"/>
              <a:pathLst>
                <a:path w="10" h="10">
                  <a:moveTo>
                    <a:pt x="6" y="0"/>
                  </a:moveTo>
                  <a:cubicBezTo>
                    <a:pt x="6" y="0"/>
                    <a:pt x="5" y="0"/>
                    <a:pt x="5" y="0"/>
                  </a:cubicBezTo>
                  <a:cubicBezTo>
                    <a:pt x="1" y="0"/>
                    <a:pt x="0" y="2"/>
                    <a:pt x="1" y="5"/>
                  </a:cubicBezTo>
                  <a:cubicBezTo>
                    <a:pt x="2" y="6"/>
                    <a:pt x="3" y="10"/>
                    <a:pt x="5" y="10"/>
                  </a:cubicBezTo>
                  <a:cubicBezTo>
                    <a:pt x="5" y="10"/>
                    <a:pt x="5" y="10"/>
                    <a:pt x="5" y="10"/>
                  </a:cubicBezTo>
                  <a:cubicBezTo>
                    <a:pt x="8" y="10"/>
                    <a:pt x="10" y="5"/>
                    <a:pt x="10" y="3"/>
                  </a:cubicBezTo>
                  <a:cubicBezTo>
                    <a:pt x="9"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1304"/>
            <p:cNvSpPr/>
            <p:nvPr/>
          </p:nvSpPr>
          <p:spPr bwMode="auto">
            <a:xfrm>
              <a:off x="5130406" y="4970674"/>
              <a:ext cx="21477" cy="9396"/>
            </a:xfrm>
            <a:custGeom>
              <a:gdLst>
                <a:gd name="T0" fmla="*/ 4 w 7"/>
                <a:gd name="T1" fmla="*/ 0 h 3"/>
                <a:gd name="T2" fmla="*/ 3 w 7"/>
                <a:gd name="T3" fmla="*/ 1 h 3"/>
                <a:gd name="T4" fmla="*/ 2 w 7"/>
                <a:gd name="T5" fmla="*/ 0 h 3"/>
                <a:gd name="T6" fmla="*/ 2 w 7"/>
                <a:gd name="T7" fmla="*/ 0 h 3"/>
                <a:gd name="T8" fmla="*/ 2 w 7"/>
                <a:gd name="T9" fmla="*/ 0 h 3"/>
                <a:gd name="T10" fmla="*/ 0 w 7"/>
                <a:gd name="T11" fmla="*/ 3 h 3"/>
                <a:gd name="T12" fmla="*/ 7 w 7"/>
                <a:gd name="T13" fmla="*/ 0 h 3"/>
                <a:gd name="T14" fmla="*/ 6 w 7"/>
                <a:gd name="T15" fmla="*/ 0 h 3"/>
                <a:gd name="T16" fmla="*/ 6 w 7"/>
                <a:gd name="T17" fmla="*/ 0 h 3"/>
                <a:gd name="T18" fmla="*/ 5 w 7"/>
                <a:gd name="T19" fmla="*/ 0 h 3"/>
                <a:gd name="T20" fmla="*/ 4 w 7"/>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4" y="0"/>
                  </a:moveTo>
                  <a:cubicBezTo>
                    <a:pt x="4" y="1"/>
                    <a:pt x="3" y="1"/>
                    <a:pt x="3" y="1"/>
                  </a:cubicBezTo>
                  <a:cubicBezTo>
                    <a:pt x="3" y="1"/>
                    <a:pt x="3" y="1"/>
                    <a:pt x="2" y="0"/>
                  </a:cubicBezTo>
                  <a:cubicBezTo>
                    <a:pt x="2" y="0"/>
                    <a:pt x="2" y="0"/>
                    <a:pt x="2" y="0"/>
                  </a:cubicBezTo>
                  <a:cubicBezTo>
                    <a:pt x="2" y="0"/>
                    <a:pt x="2" y="0"/>
                    <a:pt x="2" y="0"/>
                  </a:cubicBezTo>
                  <a:cubicBezTo>
                    <a:pt x="1" y="1"/>
                    <a:pt x="1" y="2"/>
                    <a:pt x="0" y="3"/>
                  </a:cubicBezTo>
                  <a:cubicBezTo>
                    <a:pt x="3" y="2"/>
                    <a:pt x="5" y="1"/>
                    <a:pt x="7" y="0"/>
                  </a:cubicBezTo>
                  <a:cubicBezTo>
                    <a:pt x="7" y="0"/>
                    <a:pt x="7" y="0"/>
                    <a:pt x="6" y="0"/>
                  </a:cubicBezTo>
                  <a:cubicBezTo>
                    <a:pt x="6" y="0"/>
                    <a:pt x="6" y="0"/>
                    <a:pt x="6" y="0"/>
                  </a:cubicBezTo>
                  <a:cubicBezTo>
                    <a:pt x="6" y="0"/>
                    <a:pt x="5" y="0"/>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Freeform 1305"/>
            <p:cNvSpPr/>
            <p:nvPr/>
          </p:nvSpPr>
          <p:spPr bwMode="auto">
            <a:xfrm>
              <a:off x="3192074" y="4910269"/>
              <a:ext cx="37585" cy="25504"/>
            </a:xfrm>
            <a:custGeom>
              <a:gdLst>
                <a:gd name="T0" fmla="*/ 2 w 12"/>
                <a:gd name="T1" fmla="*/ 0 h 8"/>
                <a:gd name="T2" fmla="*/ 0 w 12"/>
                <a:gd name="T3" fmla="*/ 5 h 8"/>
                <a:gd name="T4" fmla="*/ 3 w 12"/>
                <a:gd name="T5" fmla="*/ 6 h 8"/>
                <a:gd name="T6" fmla="*/ 3 w 12"/>
                <a:gd name="T7" fmla="*/ 6 h 8"/>
                <a:gd name="T8" fmla="*/ 7 w 12"/>
                <a:gd name="T9" fmla="*/ 5 h 8"/>
                <a:gd name="T10" fmla="*/ 7 w 12"/>
                <a:gd name="T11" fmla="*/ 5 h 8"/>
                <a:gd name="T12" fmla="*/ 12 w 12"/>
                <a:gd name="T13" fmla="*/ 8 h 8"/>
                <a:gd name="T14" fmla="*/ 2 w 12"/>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2" y="0"/>
                  </a:moveTo>
                  <a:cubicBezTo>
                    <a:pt x="2" y="2"/>
                    <a:pt x="0" y="4"/>
                    <a:pt x="0" y="5"/>
                  </a:cubicBezTo>
                  <a:cubicBezTo>
                    <a:pt x="0" y="6"/>
                    <a:pt x="3" y="6"/>
                    <a:pt x="3" y="6"/>
                  </a:cubicBezTo>
                  <a:cubicBezTo>
                    <a:pt x="3" y="6"/>
                    <a:pt x="3" y="6"/>
                    <a:pt x="3" y="6"/>
                  </a:cubicBezTo>
                  <a:cubicBezTo>
                    <a:pt x="4" y="6"/>
                    <a:pt x="5" y="5"/>
                    <a:pt x="7" y="5"/>
                  </a:cubicBezTo>
                  <a:cubicBezTo>
                    <a:pt x="7" y="5"/>
                    <a:pt x="7" y="5"/>
                    <a:pt x="7" y="5"/>
                  </a:cubicBezTo>
                  <a:cubicBezTo>
                    <a:pt x="8" y="5"/>
                    <a:pt x="10" y="7"/>
                    <a:pt x="12" y="8"/>
                  </a:cubicBezTo>
                  <a:cubicBezTo>
                    <a:pt x="9" y="5"/>
                    <a:pt x="6"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Freeform 1306"/>
            <p:cNvSpPr/>
            <p:nvPr/>
          </p:nvSpPr>
          <p:spPr bwMode="auto">
            <a:xfrm>
              <a:off x="4967984" y="4712946"/>
              <a:ext cx="32216" cy="48324"/>
            </a:xfrm>
            <a:custGeom>
              <a:gdLst>
                <a:gd name="T0" fmla="*/ 8 w 10"/>
                <a:gd name="T1" fmla="*/ 0 h 15"/>
                <a:gd name="T2" fmla="*/ 0 w 10"/>
                <a:gd name="T3" fmla="*/ 8 h 15"/>
                <a:gd name="T4" fmla="*/ 0 w 10"/>
                <a:gd name="T5" fmla="*/ 11 h 15"/>
                <a:gd name="T6" fmla="*/ 1 w 10"/>
                <a:gd name="T7" fmla="*/ 15 h 15"/>
                <a:gd name="T8" fmla="*/ 7 w 10"/>
                <a:gd name="T9" fmla="*/ 13 h 15"/>
                <a:gd name="T10" fmla="*/ 8 w 10"/>
                <a:gd name="T11" fmla="*/ 0 h 15"/>
              </a:gdLst>
              <a:cxnLst>
                <a:cxn ang="0">
                  <a:pos x="T0" y="T1"/>
                </a:cxn>
                <a:cxn ang="0">
                  <a:pos x="T2" y="T3"/>
                </a:cxn>
                <a:cxn ang="0">
                  <a:pos x="T4" y="T5"/>
                </a:cxn>
                <a:cxn ang="0">
                  <a:pos x="T6" y="T7"/>
                </a:cxn>
                <a:cxn ang="0">
                  <a:pos x="T8" y="T9"/>
                </a:cxn>
                <a:cxn ang="0">
                  <a:pos x="T10" y="T11"/>
                </a:cxn>
              </a:cxnLst>
              <a:rect l="0" t="0" r="r" b="b"/>
              <a:pathLst>
                <a:path w="10" h="15">
                  <a:moveTo>
                    <a:pt x="8" y="0"/>
                  </a:moveTo>
                  <a:cubicBezTo>
                    <a:pt x="5" y="1"/>
                    <a:pt x="1" y="4"/>
                    <a:pt x="0" y="8"/>
                  </a:cubicBezTo>
                  <a:cubicBezTo>
                    <a:pt x="0" y="9"/>
                    <a:pt x="0" y="10"/>
                    <a:pt x="0" y="11"/>
                  </a:cubicBezTo>
                  <a:cubicBezTo>
                    <a:pt x="1" y="12"/>
                    <a:pt x="2" y="14"/>
                    <a:pt x="1" y="15"/>
                  </a:cubicBezTo>
                  <a:cubicBezTo>
                    <a:pt x="3" y="15"/>
                    <a:pt x="6" y="14"/>
                    <a:pt x="7" y="13"/>
                  </a:cubicBezTo>
                  <a:cubicBezTo>
                    <a:pt x="10" y="11"/>
                    <a:pt x="10"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Freeform 1307"/>
            <p:cNvSpPr/>
            <p:nvPr/>
          </p:nvSpPr>
          <p:spPr bwMode="auto">
            <a:xfrm>
              <a:off x="4742471" y="5043160"/>
              <a:ext cx="85909" cy="12081"/>
            </a:xfrm>
            <a:custGeom>
              <a:gdLst>
                <a:gd name="T0" fmla="*/ 5 w 27"/>
                <a:gd name="T1" fmla="*/ 0 h 4"/>
                <a:gd name="T2" fmla="*/ 5 w 27"/>
                <a:gd name="T3" fmla="*/ 4 h 4"/>
                <a:gd name="T4" fmla="*/ 12 w 27"/>
                <a:gd name="T5" fmla="*/ 3 h 4"/>
                <a:gd name="T6" fmla="*/ 13 w 27"/>
                <a:gd name="T7" fmla="*/ 3 h 4"/>
                <a:gd name="T8" fmla="*/ 15 w 27"/>
                <a:gd name="T9" fmla="*/ 3 h 4"/>
                <a:gd name="T10" fmla="*/ 16 w 27"/>
                <a:gd name="T11" fmla="*/ 4 h 4"/>
                <a:gd name="T12" fmla="*/ 17 w 27"/>
                <a:gd name="T13" fmla="*/ 4 h 4"/>
                <a:gd name="T14" fmla="*/ 27 w 27"/>
                <a:gd name="T15" fmla="*/ 1 h 4"/>
                <a:gd name="T16" fmla="*/ 5 w 27"/>
                <a:gd name="T17"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4">
                  <a:moveTo>
                    <a:pt x="5" y="0"/>
                  </a:moveTo>
                  <a:cubicBezTo>
                    <a:pt x="0" y="2"/>
                    <a:pt x="5" y="2"/>
                    <a:pt x="5" y="4"/>
                  </a:cubicBezTo>
                  <a:cubicBezTo>
                    <a:pt x="7" y="4"/>
                    <a:pt x="10" y="3"/>
                    <a:pt x="12" y="3"/>
                  </a:cubicBezTo>
                  <a:cubicBezTo>
                    <a:pt x="12" y="3"/>
                    <a:pt x="12" y="3"/>
                    <a:pt x="13" y="3"/>
                  </a:cubicBezTo>
                  <a:cubicBezTo>
                    <a:pt x="13" y="3"/>
                    <a:pt x="14" y="3"/>
                    <a:pt x="15" y="3"/>
                  </a:cubicBezTo>
                  <a:cubicBezTo>
                    <a:pt x="15" y="3"/>
                    <a:pt x="16" y="4"/>
                    <a:pt x="16" y="4"/>
                  </a:cubicBezTo>
                  <a:cubicBezTo>
                    <a:pt x="17" y="4"/>
                    <a:pt x="17" y="4"/>
                    <a:pt x="17" y="4"/>
                  </a:cubicBezTo>
                  <a:cubicBezTo>
                    <a:pt x="19" y="3"/>
                    <a:pt x="25" y="3"/>
                    <a:pt x="27" y="1"/>
                  </a:cubicBezTo>
                  <a:cubicBezTo>
                    <a:pt x="19" y="0"/>
                    <a:pt x="12"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1308"/>
            <p:cNvSpPr/>
            <p:nvPr/>
          </p:nvSpPr>
          <p:spPr bwMode="auto">
            <a:xfrm>
              <a:off x="4562598" y="5694194"/>
              <a:ext cx="46982" cy="34901"/>
            </a:xfrm>
            <a:custGeom>
              <a:gdLst>
                <a:gd name="T0" fmla="*/ 14 w 15"/>
                <a:gd name="T1" fmla="*/ 0 h 11"/>
                <a:gd name="T2" fmla="*/ 6 w 15"/>
                <a:gd name="T3" fmla="*/ 5 h 11"/>
                <a:gd name="T4" fmla="*/ 1 w 15"/>
                <a:gd name="T5" fmla="*/ 7 h 11"/>
                <a:gd name="T6" fmla="*/ 1 w 15"/>
                <a:gd name="T7" fmla="*/ 11 h 11"/>
                <a:gd name="T8" fmla="*/ 8 w 15"/>
                <a:gd name="T9" fmla="*/ 9 h 11"/>
                <a:gd name="T10" fmla="*/ 11 w 15"/>
                <a:gd name="T11" fmla="*/ 8 h 11"/>
                <a:gd name="T12" fmla="*/ 14 w 15"/>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15" h="11">
                  <a:moveTo>
                    <a:pt x="14" y="0"/>
                  </a:moveTo>
                  <a:cubicBezTo>
                    <a:pt x="12" y="1"/>
                    <a:pt x="9" y="3"/>
                    <a:pt x="6" y="5"/>
                  </a:cubicBezTo>
                  <a:cubicBezTo>
                    <a:pt x="5" y="5"/>
                    <a:pt x="2" y="6"/>
                    <a:pt x="1" y="7"/>
                  </a:cubicBezTo>
                  <a:cubicBezTo>
                    <a:pt x="0" y="10"/>
                    <a:pt x="0" y="11"/>
                    <a:pt x="1" y="11"/>
                  </a:cubicBezTo>
                  <a:cubicBezTo>
                    <a:pt x="3" y="11"/>
                    <a:pt x="7" y="9"/>
                    <a:pt x="8" y="9"/>
                  </a:cubicBezTo>
                  <a:cubicBezTo>
                    <a:pt x="9" y="8"/>
                    <a:pt x="9" y="9"/>
                    <a:pt x="11" y="8"/>
                  </a:cubicBezTo>
                  <a:cubicBezTo>
                    <a:pt x="15" y="5"/>
                    <a:pt x="15" y="5"/>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Freeform 1309"/>
            <p:cNvSpPr/>
            <p:nvPr/>
          </p:nvSpPr>
          <p:spPr bwMode="auto">
            <a:xfrm>
              <a:off x="5079398" y="5036449"/>
              <a:ext cx="53693" cy="28189"/>
            </a:xfrm>
            <a:custGeom>
              <a:gdLst>
                <a:gd name="T0" fmla="*/ 14 w 17"/>
                <a:gd name="T1" fmla="*/ 0 h 9"/>
                <a:gd name="T2" fmla="*/ 6 w 17"/>
                <a:gd name="T3" fmla="*/ 2 h 9"/>
                <a:gd name="T4" fmla="*/ 0 w 17"/>
                <a:gd name="T5" fmla="*/ 4 h 9"/>
                <a:gd name="T6" fmla="*/ 10 w 17"/>
                <a:gd name="T7" fmla="*/ 9 h 9"/>
                <a:gd name="T8" fmla="*/ 12 w 17"/>
                <a:gd name="T9" fmla="*/ 8 h 9"/>
                <a:gd name="T10" fmla="*/ 14 w 17"/>
                <a:gd name="T11" fmla="*/ 7 h 9"/>
                <a:gd name="T12" fmla="*/ 14 w 17"/>
                <a:gd name="T13" fmla="*/ 7 h 9"/>
                <a:gd name="T14" fmla="*/ 15 w 17"/>
                <a:gd name="T15" fmla="*/ 7 h 9"/>
                <a:gd name="T16" fmla="*/ 16 w 17"/>
                <a:gd name="T17" fmla="*/ 7 h 9"/>
                <a:gd name="T18" fmla="*/ 16 w 17"/>
                <a:gd name="T19" fmla="*/ 7 h 9"/>
                <a:gd name="T20" fmla="*/ 17 w 17"/>
                <a:gd name="T21" fmla="*/ 3 h 9"/>
                <a:gd name="T22" fmla="*/ 15 w 17"/>
                <a:gd name="T23" fmla="*/ 0 h 9"/>
                <a:gd name="T24" fmla="*/ 15 w 17"/>
                <a:gd name="T25" fmla="*/ 0 h 9"/>
                <a:gd name="T26" fmla="*/ 14 w 17"/>
                <a:gd name="T2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9">
                  <a:moveTo>
                    <a:pt x="14" y="0"/>
                  </a:moveTo>
                  <a:cubicBezTo>
                    <a:pt x="12" y="0"/>
                    <a:pt x="8" y="1"/>
                    <a:pt x="6" y="2"/>
                  </a:cubicBezTo>
                  <a:cubicBezTo>
                    <a:pt x="4" y="2"/>
                    <a:pt x="2" y="3"/>
                    <a:pt x="0" y="4"/>
                  </a:cubicBezTo>
                  <a:cubicBezTo>
                    <a:pt x="3" y="6"/>
                    <a:pt x="7" y="7"/>
                    <a:pt x="10" y="9"/>
                  </a:cubicBezTo>
                  <a:cubicBezTo>
                    <a:pt x="10" y="9"/>
                    <a:pt x="12" y="9"/>
                    <a:pt x="12" y="8"/>
                  </a:cubicBezTo>
                  <a:cubicBezTo>
                    <a:pt x="13" y="8"/>
                    <a:pt x="13" y="7"/>
                    <a:pt x="14" y="7"/>
                  </a:cubicBezTo>
                  <a:cubicBezTo>
                    <a:pt x="14" y="7"/>
                    <a:pt x="14" y="7"/>
                    <a:pt x="14" y="7"/>
                  </a:cubicBezTo>
                  <a:cubicBezTo>
                    <a:pt x="15" y="7"/>
                    <a:pt x="15" y="7"/>
                    <a:pt x="15" y="7"/>
                  </a:cubicBezTo>
                  <a:cubicBezTo>
                    <a:pt x="15" y="7"/>
                    <a:pt x="15" y="7"/>
                    <a:pt x="16" y="7"/>
                  </a:cubicBezTo>
                  <a:cubicBezTo>
                    <a:pt x="16" y="7"/>
                    <a:pt x="16" y="7"/>
                    <a:pt x="16" y="7"/>
                  </a:cubicBezTo>
                  <a:cubicBezTo>
                    <a:pt x="16" y="7"/>
                    <a:pt x="17" y="4"/>
                    <a:pt x="17" y="3"/>
                  </a:cubicBezTo>
                  <a:cubicBezTo>
                    <a:pt x="17" y="2"/>
                    <a:pt x="15" y="0"/>
                    <a:pt x="15" y="0"/>
                  </a:cubicBezTo>
                  <a:cubicBezTo>
                    <a:pt x="15" y="0"/>
                    <a:pt x="15" y="0"/>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1310"/>
            <p:cNvSpPr/>
            <p:nvPr/>
          </p:nvSpPr>
          <p:spPr bwMode="auto">
            <a:xfrm>
              <a:off x="2534329" y="4690126"/>
              <a:ext cx="60405" cy="45639"/>
            </a:xfrm>
            <a:custGeom>
              <a:gdLst>
                <a:gd name="T0" fmla="*/ 4 w 19"/>
                <a:gd name="T1" fmla="*/ 0 h 14"/>
                <a:gd name="T2" fmla="*/ 2 w 19"/>
                <a:gd name="T3" fmla="*/ 4 h 14"/>
                <a:gd name="T4" fmla="*/ 2 w 19"/>
                <a:gd name="T5" fmla="*/ 4 h 14"/>
                <a:gd name="T6" fmla="*/ 5 w 19"/>
                <a:gd name="T7" fmla="*/ 7 h 14"/>
                <a:gd name="T8" fmla="*/ 9 w 19"/>
                <a:gd name="T9" fmla="*/ 8 h 14"/>
                <a:gd name="T10" fmla="*/ 18 w 19"/>
                <a:gd name="T11" fmla="*/ 14 h 14"/>
                <a:gd name="T12" fmla="*/ 19 w 19"/>
                <a:gd name="T13" fmla="*/ 14 h 14"/>
                <a:gd name="T14" fmla="*/ 14 w 19"/>
                <a:gd name="T15" fmla="*/ 7 h 14"/>
                <a:gd name="T16" fmla="*/ 4 w 19"/>
                <a:gd name="T1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4">
                  <a:moveTo>
                    <a:pt x="4" y="0"/>
                  </a:moveTo>
                  <a:cubicBezTo>
                    <a:pt x="3" y="1"/>
                    <a:pt x="0" y="4"/>
                    <a:pt x="2" y="4"/>
                  </a:cubicBezTo>
                  <a:cubicBezTo>
                    <a:pt x="2" y="4"/>
                    <a:pt x="2" y="4"/>
                    <a:pt x="2" y="4"/>
                  </a:cubicBezTo>
                  <a:cubicBezTo>
                    <a:pt x="3" y="5"/>
                    <a:pt x="4" y="6"/>
                    <a:pt x="5" y="7"/>
                  </a:cubicBezTo>
                  <a:cubicBezTo>
                    <a:pt x="6" y="8"/>
                    <a:pt x="7" y="8"/>
                    <a:pt x="9" y="8"/>
                  </a:cubicBezTo>
                  <a:cubicBezTo>
                    <a:pt x="12" y="9"/>
                    <a:pt x="16" y="14"/>
                    <a:pt x="18" y="14"/>
                  </a:cubicBezTo>
                  <a:cubicBezTo>
                    <a:pt x="18" y="14"/>
                    <a:pt x="19" y="14"/>
                    <a:pt x="19" y="14"/>
                  </a:cubicBezTo>
                  <a:cubicBezTo>
                    <a:pt x="19" y="9"/>
                    <a:pt x="18" y="10"/>
                    <a:pt x="14" y="7"/>
                  </a:cubicBezTo>
                  <a:cubicBezTo>
                    <a:pt x="11" y="5"/>
                    <a:pt x="7"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Freeform 1311"/>
            <p:cNvSpPr/>
            <p:nvPr/>
          </p:nvSpPr>
          <p:spPr bwMode="auto">
            <a:xfrm>
              <a:off x="4055196" y="5154574"/>
              <a:ext cx="24162" cy="60405"/>
            </a:xfrm>
            <a:custGeom>
              <a:gdLst>
                <a:gd name="T0" fmla="*/ 7 w 8"/>
                <a:gd name="T1" fmla="*/ 0 h 19"/>
                <a:gd name="T2" fmla="*/ 5 w 8"/>
                <a:gd name="T3" fmla="*/ 1 h 19"/>
                <a:gd name="T4" fmla="*/ 4 w 8"/>
                <a:gd name="T5" fmla="*/ 1 h 19"/>
                <a:gd name="T6" fmla="*/ 4 w 8"/>
                <a:gd name="T7" fmla="*/ 1 h 19"/>
                <a:gd name="T8" fmla="*/ 3 w 8"/>
                <a:gd name="T9" fmla="*/ 2 h 19"/>
                <a:gd name="T10" fmla="*/ 3 w 8"/>
                <a:gd name="T11" fmla="*/ 3 h 19"/>
                <a:gd name="T12" fmla="*/ 2 w 8"/>
                <a:gd name="T13" fmla="*/ 3 h 19"/>
                <a:gd name="T14" fmla="*/ 1 w 8"/>
                <a:gd name="T15" fmla="*/ 11 h 19"/>
                <a:gd name="T16" fmla="*/ 2 w 8"/>
                <a:gd name="T17" fmla="*/ 16 h 19"/>
                <a:gd name="T18" fmla="*/ 2 w 8"/>
                <a:gd name="T19" fmla="*/ 16 h 19"/>
                <a:gd name="T20" fmla="*/ 2 w 8"/>
                <a:gd name="T21" fmla="*/ 17 h 19"/>
                <a:gd name="T22" fmla="*/ 2 w 8"/>
                <a:gd name="T23" fmla="*/ 18 h 19"/>
                <a:gd name="T24" fmla="*/ 2 w 8"/>
                <a:gd name="T25" fmla="*/ 19 h 19"/>
                <a:gd name="T26" fmla="*/ 3 w 8"/>
                <a:gd name="T27" fmla="*/ 18 h 19"/>
                <a:gd name="T28" fmla="*/ 3 w 8"/>
                <a:gd name="T29" fmla="*/ 18 h 19"/>
                <a:gd name="T30" fmla="*/ 3 w 8"/>
                <a:gd name="T31" fmla="*/ 18 h 19"/>
                <a:gd name="T32" fmla="*/ 7 w 8"/>
                <a:gd name="T33" fmla="*/ 15 h 19"/>
                <a:gd name="T34" fmla="*/ 7 w 8"/>
                <a:gd name="T35"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9">
                  <a:moveTo>
                    <a:pt x="7" y="0"/>
                  </a:moveTo>
                  <a:cubicBezTo>
                    <a:pt x="6" y="0"/>
                    <a:pt x="6" y="0"/>
                    <a:pt x="5" y="1"/>
                  </a:cubicBezTo>
                  <a:cubicBezTo>
                    <a:pt x="5" y="1"/>
                    <a:pt x="4" y="1"/>
                    <a:pt x="4" y="1"/>
                  </a:cubicBezTo>
                  <a:cubicBezTo>
                    <a:pt x="4" y="1"/>
                    <a:pt x="4" y="1"/>
                    <a:pt x="4" y="1"/>
                  </a:cubicBezTo>
                  <a:cubicBezTo>
                    <a:pt x="3" y="2"/>
                    <a:pt x="3" y="2"/>
                    <a:pt x="3" y="2"/>
                  </a:cubicBezTo>
                  <a:cubicBezTo>
                    <a:pt x="3" y="3"/>
                    <a:pt x="3" y="3"/>
                    <a:pt x="3" y="3"/>
                  </a:cubicBezTo>
                  <a:cubicBezTo>
                    <a:pt x="2" y="3"/>
                    <a:pt x="2" y="3"/>
                    <a:pt x="2" y="3"/>
                  </a:cubicBezTo>
                  <a:cubicBezTo>
                    <a:pt x="1" y="6"/>
                    <a:pt x="0" y="9"/>
                    <a:pt x="1" y="11"/>
                  </a:cubicBezTo>
                  <a:cubicBezTo>
                    <a:pt x="1" y="13"/>
                    <a:pt x="2" y="14"/>
                    <a:pt x="2" y="16"/>
                  </a:cubicBezTo>
                  <a:cubicBezTo>
                    <a:pt x="2" y="16"/>
                    <a:pt x="2" y="16"/>
                    <a:pt x="2" y="16"/>
                  </a:cubicBezTo>
                  <a:cubicBezTo>
                    <a:pt x="2" y="16"/>
                    <a:pt x="2" y="16"/>
                    <a:pt x="2" y="17"/>
                  </a:cubicBezTo>
                  <a:cubicBezTo>
                    <a:pt x="2" y="17"/>
                    <a:pt x="1" y="18"/>
                    <a:pt x="2" y="18"/>
                  </a:cubicBezTo>
                  <a:cubicBezTo>
                    <a:pt x="2" y="18"/>
                    <a:pt x="2" y="19"/>
                    <a:pt x="2" y="19"/>
                  </a:cubicBezTo>
                  <a:cubicBezTo>
                    <a:pt x="2" y="19"/>
                    <a:pt x="2" y="19"/>
                    <a:pt x="3" y="18"/>
                  </a:cubicBezTo>
                  <a:cubicBezTo>
                    <a:pt x="3" y="18"/>
                    <a:pt x="3" y="18"/>
                    <a:pt x="3" y="18"/>
                  </a:cubicBezTo>
                  <a:cubicBezTo>
                    <a:pt x="3" y="18"/>
                    <a:pt x="3" y="18"/>
                    <a:pt x="3" y="18"/>
                  </a:cubicBezTo>
                  <a:cubicBezTo>
                    <a:pt x="4" y="18"/>
                    <a:pt x="6" y="15"/>
                    <a:pt x="7" y="15"/>
                  </a:cubicBezTo>
                  <a:cubicBezTo>
                    <a:pt x="8" y="10"/>
                    <a:pt x="7" y="5"/>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1312"/>
            <p:cNvSpPr/>
            <p:nvPr/>
          </p:nvSpPr>
          <p:spPr bwMode="auto">
            <a:xfrm>
              <a:off x="6193536" y="3891435"/>
              <a:ext cx="21477" cy="21477"/>
            </a:xfrm>
            <a:custGeom>
              <a:gdLst>
                <a:gd name="T0" fmla="*/ 7 w 7"/>
                <a:gd name="T1" fmla="*/ 0 h 7"/>
                <a:gd name="T2" fmla="*/ 4 w 7"/>
                <a:gd name="T3" fmla="*/ 1 h 7"/>
                <a:gd name="T4" fmla="*/ 0 w 7"/>
                <a:gd name="T5" fmla="*/ 3 h 7"/>
                <a:gd name="T6" fmla="*/ 0 w 7"/>
                <a:gd name="T7" fmla="*/ 3 h 7"/>
                <a:gd name="T8" fmla="*/ 1 w 7"/>
                <a:gd name="T9" fmla="*/ 7 h 7"/>
                <a:gd name="T10" fmla="*/ 1 w 7"/>
                <a:gd name="T11" fmla="*/ 7 h 7"/>
                <a:gd name="T12" fmla="*/ 7 w 7"/>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7" h="7">
                  <a:moveTo>
                    <a:pt x="7" y="0"/>
                  </a:moveTo>
                  <a:cubicBezTo>
                    <a:pt x="6" y="0"/>
                    <a:pt x="5" y="0"/>
                    <a:pt x="4" y="1"/>
                  </a:cubicBezTo>
                  <a:cubicBezTo>
                    <a:pt x="3" y="1"/>
                    <a:pt x="1" y="3"/>
                    <a:pt x="0" y="3"/>
                  </a:cubicBezTo>
                  <a:cubicBezTo>
                    <a:pt x="0" y="3"/>
                    <a:pt x="0" y="3"/>
                    <a:pt x="0" y="3"/>
                  </a:cubicBezTo>
                  <a:cubicBezTo>
                    <a:pt x="0" y="4"/>
                    <a:pt x="0" y="7"/>
                    <a:pt x="1" y="7"/>
                  </a:cubicBezTo>
                  <a:cubicBezTo>
                    <a:pt x="1" y="7"/>
                    <a:pt x="1" y="7"/>
                    <a:pt x="1" y="7"/>
                  </a:cubicBezTo>
                  <a:cubicBezTo>
                    <a:pt x="3" y="7"/>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Freeform 1313"/>
            <p:cNvSpPr/>
            <p:nvPr/>
          </p:nvSpPr>
          <p:spPr bwMode="auto">
            <a:xfrm>
              <a:off x="5700899" y="4196146"/>
              <a:ext cx="6712"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2"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Freeform 1314"/>
            <p:cNvSpPr/>
            <p:nvPr/>
          </p:nvSpPr>
          <p:spPr bwMode="auto">
            <a:xfrm>
              <a:off x="7560034" y="4510253"/>
              <a:ext cx="6712" cy="5369"/>
            </a:xfrm>
            <a:custGeom>
              <a:gdLst>
                <a:gd name="T0" fmla="*/ 2 w 2"/>
                <a:gd name="T1" fmla="*/ 0 h 2"/>
                <a:gd name="T2" fmla="*/ 0 w 2"/>
                <a:gd name="T3" fmla="*/ 1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0"/>
                    <a:pt x="0" y="0"/>
                    <a:pt x="0" y="1"/>
                  </a:cubicBezTo>
                  <a:cubicBezTo>
                    <a:pt x="0" y="1"/>
                    <a:pt x="1" y="2"/>
                    <a:pt x="1" y="2"/>
                  </a:cubicBezTo>
                  <a:cubicBezTo>
                    <a:pt x="2"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Freeform 1315"/>
            <p:cNvSpPr/>
            <p:nvPr/>
          </p:nvSpPr>
          <p:spPr bwMode="auto">
            <a:xfrm>
              <a:off x="7205657" y="4389442"/>
              <a:ext cx="16108" cy="12081"/>
            </a:xfrm>
            <a:custGeom>
              <a:gdLst>
                <a:gd name="T0" fmla="*/ 0 w 5"/>
                <a:gd name="T1" fmla="*/ 0 h 4"/>
                <a:gd name="T2" fmla="*/ 1 w 5"/>
                <a:gd name="T3" fmla="*/ 4 h 4"/>
                <a:gd name="T4" fmla="*/ 3 w 5"/>
                <a:gd name="T5" fmla="*/ 2 h 4"/>
                <a:gd name="T6" fmla="*/ 0 w 5"/>
                <a:gd name="T7" fmla="*/ 0 h 4"/>
              </a:gdLst>
              <a:cxnLst>
                <a:cxn ang="0">
                  <a:pos x="T0" y="T1"/>
                </a:cxn>
                <a:cxn ang="0">
                  <a:pos x="T2" y="T3"/>
                </a:cxn>
                <a:cxn ang="0">
                  <a:pos x="T4" y="T5"/>
                </a:cxn>
                <a:cxn ang="0">
                  <a:pos x="T6" y="T7"/>
                </a:cxn>
              </a:cxnLst>
              <a:rect l="0" t="0" r="r" b="b"/>
              <a:pathLst>
                <a:path w="5" h="4">
                  <a:moveTo>
                    <a:pt x="0" y="0"/>
                  </a:moveTo>
                  <a:cubicBezTo>
                    <a:pt x="0" y="1"/>
                    <a:pt x="1" y="3"/>
                    <a:pt x="1" y="4"/>
                  </a:cubicBezTo>
                  <a:cubicBezTo>
                    <a:pt x="2" y="4"/>
                    <a:pt x="3" y="3"/>
                    <a:pt x="3" y="2"/>
                  </a:cubicBezTo>
                  <a:cubicBezTo>
                    <a:pt x="5"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1316"/>
            <p:cNvSpPr/>
            <p:nvPr/>
          </p:nvSpPr>
          <p:spPr bwMode="auto">
            <a:xfrm>
              <a:off x="8617794" y="6213678"/>
              <a:ext cx="119468" cy="73829"/>
            </a:xfrm>
            <a:custGeom>
              <a:gdLst>
                <a:gd name="T0" fmla="*/ 26 w 38"/>
                <a:gd name="T1" fmla="*/ 0 h 23"/>
                <a:gd name="T2" fmla="*/ 16 w 38"/>
                <a:gd name="T3" fmla="*/ 2 h 23"/>
                <a:gd name="T4" fmla="*/ 5 w 38"/>
                <a:gd name="T5" fmla="*/ 18 h 23"/>
                <a:gd name="T6" fmla="*/ 9 w 38"/>
                <a:gd name="T7" fmla="*/ 21 h 23"/>
                <a:gd name="T8" fmla="*/ 16 w 38"/>
                <a:gd name="T9" fmla="*/ 23 h 23"/>
                <a:gd name="T10" fmla="*/ 17 w 38"/>
                <a:gd name="T11" fmla="*/ 23 h 23"/>
                <a:gd name="T12" fmla="*/ 33 w 38"/>
                <a:gd name="T13" fmla="*/ 20 h 23"/>
                <a:gd name="T14" fmla="*/ 38 w 38"/>
                <a:gd name="T15" fmla="*/ 17 h 23"/>
                <a:gd name="T16" fmla="*/ 37 w 38"/>
                <a:gd name="T17" fmla="*/ 17 h 23"/>
                <a:gd name="T18" fmla="*/ 35 w 38"/>
                <a:gd name="T19" fmla="*/ 12 h 23"/>
                <a:gd name="T20" fmla="*/ 35 w 38"/>
                <a:gd name="T21" fmla="*/ 10 h 23"/>
                <a:gd name="T22" fmla="*/ 35 w 38"/>
                <a:gd name="T23" fmla="*/ 8 h 23"/>
                <a:gd name="T24" fmla="*/ 33 w 38"/>
                <a:gd name="T25" fmla="*/ 7 h 23"/>
                <a:gd name="T26" fmla="*/ 26 w 38"/>
                <a:gd name="T27"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23">
                  <a:moveTo>
                    <a:pt x="26" y="0"/>
                  </a:moveTo>
                  <a:cubicBezTo>
                    <a:pt x="24" y="2"/>
                    <a:pt x="18" y="2"/>
                    <a:pt x="16" y="2"/>
                  </a:cubicBezTo>
                  <a:cubicBezTo>
                    <a:pt x="11" y="5"/>
                    <a:pt x="0" y="12"/>
                    <a:pt x="5" y="18"/>
                  </a:cubicBezTo>
                  <a:cubicBezTo>
                    <a:pt x="6" y="20"/>
                    <a:pt x="7" y="21"/>
                    <a:pt x="9" y="21"/>
                  </a:cubicBezTo>
                  <a:cubicBezTo>
                    <a:pt x="11" y="21"/>
                    <a:pt x="14" y="23"/>
                    <a:pt x="16" y="23"/>
                  </a:cubicBezTo>
                  <a:cubicBezTo>
                    <a:pt x="16" y="23"/>
                    <a:pt x="17" y="23"/>
                    <a:pt x="17" y="23"/>
                  </a:cubicBezTo>
                  <a:cubicBezTo>
                    <a:pt x="22" y="23"/>
                    <a:pt x="28" y="20"/>
                    <a:pt x="33" y="20"/>
                  </a:cubicBezTo>
                  <a:cubicBezTo>
                    <a:pt x="35" y="19"/>
                    <a:pt x="38" y="19"/>
                    <a:pt x="38" y="17"/>
                  </a:cubicBezTo>
                  <a:cubicBezTo>
                    <a:pt x="38" y="17"/>
                    <a:pt x="37" y="17"/>
                    <a:pt x="37" y="17"/>
                  </a:cubicBezTo>
                  <a:cubicBezTo>
                    <a:pt x="35" y="17"/>
                    <a:pt x="35" y="13"/>
                    <a:pt x="35" y="12"/>
                  </a:cubicBezTo>
                  <a:cubicBezTo>
                    <a:pt x="35" y="10"/>
                    <a:pt x="35" y="10"/>
                    <a:pt x="35" y="10"/>
                  </a:cubicBezTo>
                  <a:cubicBezTo>
                    <a:pt x="35" y="10"/>
                    <a:pt x="36" y="9"/>
                    <a:pt x="35" y="8"/>
                  </a:cubicBezTo>
                  <a:cubicBezTo>
                    <a:pt x="35" y="8"/>
                    <a:pt x="33" y="7"/>
                    <a:pt x="33" y="7"/>
                  </a:cubicBezTo>
                  <a:cubicBezTo>
                    <a:pt x="30" y="5"/>
                    <a:pt x="28" y="2"/>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Freeform 1317"/>
            <p:cNvSpPr/>
            <p:nvPr/>
          </p:nvSpPr>
          <p:spPr bwMode="auto">
            <a:xfrm>
              <a:off x="8737262" y="6239183"/>
              <a:ext cx="6712" cy="9396"/>
            </a:xfrm>
            <a:custGeom>
              <a:gdLst>
                <a:gd name="T0" fmla="*/ 2 w 2"/>
                <a:gd name="T1" fmla="*/ 0 h 3"/>
                <a:gd name="T2" fmla="*/ 1 w 2"/>
                <a:gd name="T3" fmla="*/ 3 h 3"/>
                <a:gd name="T4" fmla="*/ 2 w 2"/>
                <a:gd name="T5" fmla="*/ 0 h 3"/>
              </a:gdLst>
              <a:cxnLst>
                <a:cxn ang="0">
                  <a:pos x="T0" y="T1"/>
                </a:cxn>
                <a:cxn ang="0">
                  <a:pos x="T2" y="T3"/>
                </a:cxn>
                <a:cxn ang="0">
                  <a:pos x="T4" y="T5"/>
                </a:cxn>
              </a:cxnLst>
              <a:rect l="0" t="0" r="r" b="b"/>
              <a:pathLst>
                <a:path w="2" h="3">
                  <a:moveTo>
                    <a:pt x="2" y="0"/>
                  </a:moveTo>
                  <a:cubicBezTo>
                    <a:pt x="1" y="0"/>
                    <a:pt x="0" y="2"/>
                    <a:pt x="1"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Freeform 1318"/>
            <p:cNvSpPr/>
            <p:nvPr/>
          </p:nvSpPr>
          <p:spPr bwMode="auto">
            <a:xfrm>
              <a:off x="8722496" y="6125084"/>
              <a:ext cx="110072" cy="67117"/>
            </a:xfrm>
            <a:custGeom>
              <a:gdLst>
                <a:gd name="T0" fmla="*/ 35 w 35"/>
                <a:gd name="T1" fmla="*/ 0 h 21"/>
                <a:gd name="T2" fmla="*/ 31 w 35"/>
                <a:gd name="T3" fmla="*/ 2 h 21"/>
                <a:gd name="T4" fmla="*/ 30 w 35"/>
                <a:gd name="T5" fmla="*/ 1 h 21"/>
                <a:gd name="T6" fmla="*/ 29 w 35"/>
                <a:gd name="T7" fmla="*/ 1 h 21"/>
                <a:gd name="T8" fmla="*/ 26 w 35"/>
                <a:gd name="T9" fmla="*/ 3 h 21"/>
                <a:gd name="T10" fmla="*/ 25 w 35"/>
                <a:gd name="T11" fmla="*/ 2 h 21"/>
                <a:gd name="T12" fmla="*/ 25 w 35"/>
                <a:gd name="T13" fmla="*/ 3 h 21"/>
                <a:gd name="T14" fmla="*/ 24 w 35"/>
                <a:gd name="T15" fmla="*/ 3 h 21"/>
                <a:gd name="T16" fmla="*/ 20 w 35"/>
                <a:gd name="T17" fmla="*/ 6 h 21"/>
                <a:gd name="T18" fmla="*/ 14 w 35"/>
                <a:gd name="T19" fmla="*/ 7 h 21"/>
                <a:gd name="T20" fmla="*/ 10 w 35"/>
                <a:gd name="T21" fmla="*/ 8 h 21"/>
                <a:gd name="T22" fmla="*/ 8 w 35"/>
                <a:gd name="T23" fmla="*/ 10 h 21"/>
                <a:gd name="T24" fmla="*/ 7 w 35"/>
                <a:gd name="T25" fmla="*/ 12 h 21"/>
                <a:gd name="T26" fmla="*/ 6 w 35"/>
                <a:gd name="T27" fmla="*/ 11 h 21"/>
                <a:gd name="T28" fmla="*/ 5 w 35"/>
                <a:gd name="T29" fmla="*/ 12 h 21"/>
                <a:gd name="T30" fmla="*/ 5 w 35"/>
                <a:gd name="T31" fmla="*/ 12 h 21"/>
                <a:gd name="T32" fmla="*/ 4 w 35"/>
                <a:gd name="T33" fmla="*/ 12 h 21"/>
                <a:gd name="T34" fmla="*/ 3 w 35"/>
                <a:gd name="T35" fmla="*/ 12 h 21"/>
                <a:gd name="T36" fmla="*/ 3 w 35"/>
                <a:gd name="T37" fmla="*/ 12 h 21"/>
                <a:gd name="T38" fmla="*/ 3 w 35"/>
                <a:gd name="T39" fmla="*/ 12 h 21"/>
                <a:gd name="T40" fmla="*/ 2 w 35"/>
                <a:gd name="T41" fmla="*/ 12 h 21"/>
                <a:gd name="T42" fmla="*/ 1 w 35"/>
                <a:gd name="T43" fmla="*/ 12 h 21"/>
                <a:gd name="T44" fmla="*/ 1 w 35"/>
                <a:gd name="T45" fmla="*/ 12 h 21"/>
                <a:gd name="T46" fmla="*/ 0 w 35"/>
                <a:gd name="T47" fmla="*/ 15 h 21"/>
                <a:gd name="T48" fmla="*/ 4 w 35"/>
                <a:gd name="T49" fmla="*/ 19 h 21"/>
                <a:gd name="T50" fmla="*/ 5 w 35"/>
                <a:gd name="T51" fmla="*/ 21 h 21"/>
                <a:gd name="T52" fmla="*/ 6 w 35"/>
                <a:gd name="T53" fmla="*/ 21 h 21"/>
                <a:gd name="T54" fmla="*/ 12 w 35"/>
                <a:gd name="T55" fmla="*/ 19 h 21"/>
                <a:gd name="T56" fmla="*/ 24 w 35"/>
                <a:gd name="T57" fmla="*/ 16 h 21"/>
                <a:gd name="T58" fmla="*/ 30 w 35"/>
                <a:gd name="T59" fmla="*/ 14 h 21"/>
                <a:gd name="T60" fmla="*/ 32 w 35"/>
                <a:gd name="T61" fmla="*/ 15 h 21"/>
                <a:gd name="T62" fmla="*/ 33 w 35"/>
                <a:gd name="T63" fmla="*/ 15 h 21"/>
                <a:gd name="T64" fmla="*/ 31 w 35"/>
                <a:gd name="T65" fmla="*/ 9 h 21"/>
                <a:gd name="T66" fmla="*/ 23 w 35"/>
                <a:gd name="T67" fmla="*/ 15 h 21"/>
                <a:gd name="T68" fmla="*/ 23 w 35"/>
                <a:gd name="T69" fmla="*/ 15 h 21"/>
                <a:gd name="T70" fmla="*/ 35 w 35"/>
                <a:gd name="T71"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21">
                  <a:moveTo>
                    <a:pt x="35" y="0"/>
                  </a:moveTo>
                  <a:cubicBezTo>
                    <a:pt x="34" y="1"/>
                    <a:pt x="32" y="2"/>
                    <a:pt x="31" y="2"/>
                  </a:cubicBezTo>
                  <a:cubicBezTo>
                    <a:pt x="30" y="1"/>
                    <a:pt x="30" y="1"/>
                    <a:pt x="30" y="1"/>
                  </a:cubicBezTo>
                  <a:cubicBezTo>
                    <a:pt x="30" y="1"/>
                    <a:pt x="29" y="1"/>
                    <a:pt x="29" y="1"/>
                  </a:cubicBezTo>
                  <a:cubicBezTo>
                    <a:pt x="28" y="1"/>
                    <a:pt x="27" y="2"/>
                    <a:pt x="26" y="3"/>
                  </a:cubicBezTo>
                  <a:cubicBezTo>
                    <a:pt x="26" y="3"/>
                    <a:pt x="25" y="3"/>
                    <a:pt x="25" y="2"/>
                  </a:cubicBezTo>
                  <a:cubicBezTo>
                    <a:pt x="25" y="3"/>
                    <a:pt x="25" y="3"/>
                    <a:pt x="25" y="3"/>
                  </a:cubicBezTo>
                  <a:cubicBezTo>
                    <a:pt x="24" y="3"/>
                    <a:pt x="24" y="3"/>
                    <a:pt x="24" y="3"/>
                  </a:cubicBezTo>
                  <a:cubicBezTo>
                    <a:pt x="23" y="3"/>
                    <a:pt x="21" y="5"/>
                    <a:pt x="20" y="6"/>
                  </a:cubicBezTo>
                  <a:cubicBezTo>
                    <a:pt x="18" y="6"/>
                    <a:pt x="16" y="7"/>
                    <a:pt x="14" y="7"/>
                  </a:cubicBezTo>
                  <a:cubicBezTo>
                    <a:pt x="13" y="7"/>
                    <a:pt x="11" y="8"/>
                    <a:pt x="10" y="8"/>
                  </a:cubicBezTo>
                  <a:cubicBezTo>
                    <a:pt x="9" y="8"/>
                    <a:pt x="9" y="10"/>
                    <a:pt x="8" y="10"/>
                  </a:cubicBezTo>
                  <a:cubicBezTo>
                    <a:pt x="8" y="11"/>
                    <a:pt x="8" y="11"/>
                    <a:pt x="7" y="12"/>
                  </a:cubicBezTo>
                  <a:cubicBezTo>
                    <a:pt x="7" y="11"/>
                    <a:pt x="7" y="11"/>
                    <a:pt x="6" y="11"/>
                  </a:cubicBezTo>
                  <a:cubicBezTo>
                    <a:pt x="6" y="11"/>
                    <a:pt x="6" y="12"/>
                    <a:pt x="5" y="12"/>
                  </a:cubicBezTo>
                  <a:cubicBezTo>
                    <a:pt x="5" y="12"/>
                    <a:pt x="5" y="12"/>
                    <a:pt x="5" y="12"/>
                  </a:cubicBezTo>
                  <a:cubicBezTo>
                    <a:pt x="5" y="12"/>
                    <a:pt x="4" y="12"/>
                    <a:pt x="4" y="12"/>
                  </a:cubicBezTo>
                  <a:cubicBezTo>
                    <a:pt x="4" y="12"/>
                    <a:pt x="4" y="12"/>
                    <a:pt x="3" y="12"/>
                  </a:cubicBezTo>
                  <a:cubicBezTo>
                    <a:pt x="3" y="12"/>
                    <a:pt x="3" y="12"/>
                    <a:pt x="3" y="12"/>
                  </a:cubicBezTo>
                  <a:cubicBezTo>
                    <a:pt x="3" y="12"/>
                    <a:pt x="3" y="12"/>
                    <a:pt x="3" y="12"/>
                  </a:cubicBezTo>
                  <a:cubicBezTo>
                    <a:pt x="3" y="12"/>
                    <a:pt x="2" y="12"/>
                    <a:pt x="2" y="12"/>
                  </a:cubicBezTo>
                  <a:cubicBezTo>
                    <a:pt x="2" y="12"/>
                    <a:pt x="2" y="12"/>
                    <a:pt x="1" y="12"/>
                  </a:cubicBezTo>
                  <a:cubicBezTo>
                    <a:pt x="1" y="12"/>
                    <a:pt x="1" y="12"/>
                    <a:pt x="1" y="12"/>
                  </a:cubicBezTo>
                  <a:cubicBezTo>
                    <a:pt x="0" y="12"/>
                    <a:pt x="0" y="14"/>
                    <a:pt x="0" y="15"/>
                  </a:cubicBezTo>
                  <a:cubicBezTo>
                    <a:pt x="3" y="16"/>
                    <a:pt x="2" y="17"/>
                    <a:pt x="4" y="19"/>
                  </a:cubicBezTo>
                  <a:cubicBezTo>
                    <a:pt x="5" y="20"/>
                    <a:pt x="4" y="20"/>
                    <a:pt x="5" y="21"/>
                  </a:cubicBezTo>
                  <a:cubicBezTo>
                    <a:pt x="5" y="21"/>
                    <a:pt x="5" y="21"/>
                    <a:pt x="6" y="21"/>
                  </a:cubicBezTo>
                  <a:cubicBezTo>
                    <a:pt x="7" y="21"/>
                    <a:pt x="11" y="19"/>
                    <a:pt x="12" y="19"/>
                  </a:cubicBezTo>
                  <a:cubicBezTo>
                    <a:pt x="16" y="17"/>
                    <a:pt x="20" y="17"/>
                    <a:pt x="24" y="16"/>
                  </a:cubicBezTo>
                  <a:cubicBezTo>
                    <a:pt x="26" y="16"/>
                    <a:pt x="28" y="14"/>
                    <a:pt x="30" y="14"/>
                  </a:cubicBezTo>
                  <a:cubicBezTo>
                    <a:pt x="31" y="14"/>
                    <a:pt x="31" y="14"/>
                    <a:pt x="32" y="15"/>
                  </a:cubicBezTo>
                  <a:cubicBezTo>
                    <a:pt x="32" y="15"/>
                    <a:pt x="32" y="15"/>
                    <a:pt x="33" y="15"/>
                  </a:cubicBezTo>
                  <a:cubicBezTo>
                    <a:pt x="33" y="13"/>
                    <a:pt x="32" y="11"/>
                    <a:pt x="31" y="9"/>
                  </a:cubicBezTo>
                  <a:cubicBezTo>
                    <a:pt x="29" y="11"/>
                    <a:pt x="26" y="15"/>
                    <a:pt x="23" y="15"/>
                  </a:cubicBezTo>
                  <a:cubicBezTo>
                    <a:pt x="23" y="15"/>
                    <a:pt x="23" y="15"/>
                    <a:pt x="23" y="15"/>
                  </a:cubicBezTo>
                  <a:cubicBezTo>
                    <a:pt x="23" y="10"/>
                    <a:pt x="34" y="5"/>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Freeform 1319"/>
            <p:cNvSpPr/>
            <p:nvPr/>
          </p:nvSpPr>
          <p:spPr bwMode="auto">
            <a:xfrm>
              <a:off x="8623164" y="6194886"/>
              <a:ext cx="6712" cy="9396"/>
            </a:xfrm>
            <a:custGeom>
              <a:gdLst>
                <a:gd name="T0" fmla="*/ 2 w 2"/>
                <a:gd name="T1" fmla="*/ 0 h 3"/>
                <a:gd name="T2" fmla="*/ 0 w 2"/>
                <a:gd name="T3" fmla="*/ 3 h 3"/>
                <a:gd name="T4" fmla="*/ 2 w 2"/>
                <a:gd name="T5" fmla="*/ 0 h 3"/>
                <a:gd name="T6" fmla="*/ 2 w 2"/>
                <a:gd name="T7" fmla="*/ 0 h 3"/>
              </a:gdLst>
              <a:cxnLst>
                <a:cxn ang="0">
                  <a:pos x="T0" y="T1"/>
                </a:cxn>
                <a:cxn ang="0">
                  <a:pos x="T2" y="T3"/>
                </a:cxn>
                <a:cxn ang="0">
                  <a:pos x="T4" y="T5"/>
                </a:cxn>
                <a:cxn ang="0">
                  <a:pos x="T6" y="T7"/>
                </a:cxn>
              </a:cxnLst>
              <a:rect l="0" t="0" r="r" b="b"/>
              <a:pathLst>
                <a:path w="2" h="3">
                  <a:moveTo>
                    <a:pt x="2" y="0"/>
                  </a:moveTo>
                  <a:cubicBezTo>
                    <a:pt x="1" y="0"/>
                    <a:pt x="0" y="1"/>
                    <a:pt x="0" y="3"/>
                  </a:cubicBezTo>
                  <a:cubicBezTo>
                    <a:pt x="1" y="2"/>
                    <a:pt x="2"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Freeform 1320"/>
            <p:cNvSpPr/>
            <p:nvPr/>
          </p:nvSpPr>
          <p:spPr bwMode="auto">
            <a:xfrm>
              <a:off x="8788271" y="6210994"/>
              <a:ext cx="4027" cy="9396"/>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Freeform 1321"/>
            <p:cNvSpPr/>
            <p:nvPr/>
          </p:nvSpPr>
          <p:spPr bwMode="auto">
            <a:xfrm>
              <a:off x="8778875" y="6264687"/>
              <a:ext cx="6712" cy="13423"/>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0" y="0"/>
                    <a:pt x="0" y="1"/>
                    <a:pt x="2" y="4"/>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1322"/>
            <p:cNvSpPr/>
            <p:nvPr/>
          </p:nvSpPr>
          <p:spPr bwMode="auto">
            <a:xfrm>
              <a:off x="8641956" y="6169381"/>
              <a:ext cx="6712"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Freeform 1323"/>
            <p:cNvSpPr/>
            <p:nvPr/>
          </p:nvSpPr>
          <p:spPr bwMode="auto">
            <a:xfrm>
              <a:off x="8680884" y="6341200"/>
              <a:ext cx="41612" cy="16108"/>
            </a:xfrm>
            <a:custGeom>
              <a:gdLst>
                <a:gd name="T0" fmla="*/ 9 w 13"/>
                <a:gd name="T1" fmla="*/ 0 h 5"/>
                <a:gd name="T2" fmla="*/ 0 w 13"/>
                <a:gd name="T3" fmla="*/ 4 h 5"/>
                <a:gd name="T4" fmla="*/ 3 w 13"/>
                <a:gd name="T5" fmla="*/ 5 h 5"/>
                <a:gd name="T6" fmla="*/ 4 w 13"/>
                <a:gd name="T7" fmla="*/ 5 h 5"/>
                <a:gd name="T8" fmla="*/ 7 w 13"/>
                <a:gd name="T9" fmla="*/ 2 h 5"/>
                <a:gd name="T10" fmla="*/ 8 w 13"/>
                <a:gd name="T11" fmla="*/ 2 h 5"/>
                <a:gd name="T12" fmla="*/ 9 w 13"/>
                <a:gd name="T13" fmla="*/ 2 h 5"/>
                <a:gd name="T14" fmla="*/ 11 w 13"/>
                <a:gd name="T15" fmla="*/ 2 h 5"/>
                <a:gd name="T16" fmla="*/ 11 w 13"/>
                <a:gd name="T17" fmla="*/ 2 h 5"/>
                <a:gd name="T18" fmla="*/ 10 w 13"/>
                <a:gd name="T19" fmla="*/ 0 h 5"/>
                <a:gd name="T20" fmla="*/ 9 w 13"/>
                <a:gd name="T21"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5">
                  <a:moveTo>
                    <a:pt x="9" y="0"/>
                  </a:moveTo>
                  <a:cubicBezTo>
                    <a:pt x="6" y="0"/>
                    <a:pt x="3" y="3"/>
                    <a:pt x="0" y="4"/>
                  </a:cubicBezTo>
                  <a:cubicBezTo>
                    <a:pt x="1" y="5"/>
                    <a:pt x="2" y="5"/>
                    <a:pt x="3" y="5"/>
                  </a:cubicBezTo>
                  <a:cubicBezTo>
                    <a:pt x="3" y="5"/>
                    <a:pt x="4" y="5"/>
                    <a:pt x="4" y="5"/>
                  </a:cubicBezTo>
                  <a:cubicBezTo>
                    <a:pt x="7" y="5"/>
                    <a:pt x="4" y="3"/>
                    <a:pt x="7" y="2"/>
                  </a:cubicBezTo>
                  <a:cubicBezTo>
                    <a:pt x="7" y="2"/>
                    <a:pt x="8" y="2"/>
                    <a:pt x="8" y="2"/>
                  </a:cubicBezTo>
                  <a:cubicBezTo>
                    <a:pt x="8" y="2"/>
                    <a:pt x="9" y="2"/>
                    <a:pt x="9" y="2"/>
                  </a:cubicBezTo>
                  <a:cubicBezTo>
                    <a:pt x="10" y="2"/>
                    <a:pt x="10" y="2"/>
                    <a:pt x="11" y="2"/>
                  </a:cubicBezTo>
                  <a:cubicBezTo>
                    <a:pt x="11" y="2"/>
                    <a:pt x="11" y="2"/>
                    <a:pt x="11" y="2"/>
                  </a:cubicBezTo>
                  <a:cubicBezTo>
                    <a:pt x="13" y="2"/>
                    <a:pt x="13" y="0"/>
                    <a:pt x="10" y="0"/>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1324"/>
            <p:cNvSpPr/>
            <p:nvPr/>
          </p:nvSpPr>
          <p:spPr bwMode="auto">
            <a:xfrm>
              <a:off x="6266022" y="3777337"/>
              <a:ext cx="2685" cy="12081"/>
            </a:xfrm>
            <a:custGeom>
              <a:gdLst>
                <a:gd name="T0" fmla="*/ 1 w 1"/>
                <a:gd name="T1" fmla="*/ 0 h 4"/>
                <a:gd name="T2" fmla="*/ 0 w 1"/>
                <a:gd name="T3" fmla="*/ 4 h 4"/>
                <a:gd name="T4" fmla="*/ 1 w 1"/>
                <a:gd name="T5" fmla="*/ 0 h 4"/>
              </a:gdLst>
              <a:cxnLst>
                <a:cxn ang="0">
                  <a:pos x="T0" y="T1"/>
                </a:cxn>
                <a:cxn ang="0">
                  <a:pos x="T2" y="T3"/>
                </a:cxn>
                <a:cxn ang="0">
                  <a:pos x="T4" y="T5"/>
                </a:cxn>
              </a:cxnLst>
              <a:rect l="0" t="0" r="r" b="b"/>
              <a:pathLst>
                <a:path w="1" h="4">
                  <a:moveTo>
                    <a:pt x="1" y="0"/>
                  </a:moveTo>
                  <a:cubicBezTo>
                    <a:pt x="0" y="1"/>
                    <a:pt x="0" y="2"/>
                    <a:pt x="0" y="4"/>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Freeform 1325"/>
            <p:cNvSpPr/>
            <p:nvPr/>
          </p:nvSpPr>
          <p:spPr bwMode="auto">
            <a:xfrm>
              <a:off x="6275419" y="3761229"/>
              <a:ext cx="6712" cy="12081"/>
            </a:xfrm>
            <a:custGeom>
              <a:gdLst>
                <a:gd name="T0" fmla="*/ 2 w 2"/>
                <a:gd name="T1" fmla="*/ 0 h 4"/>
                <a:gd name="T2" fmla="*/ 2 w 2"/>
                <a:gd name="T3" fmla="*/ 0 h 4"/>
                <a:gd name="T4" fmla="*/ 0 w 2"/>
                <a:gd name="T5" fmla="*/ 4 h 4"/>
                <a:gd name="T6" fmla="*/ 2 w 2"/>
                <a:gd name="T7" fmla="*/ 0 h 4"/>
                <a:gd name="T8" fmla="*/ 2 w 2"/>
                <a:gd name="T9" fmla="*/ 0 h 4"/>
              </a:gdLst>
              <a:cxnLst>
                <a:cxn ang="0">
                  <a:pos x="T0" y="T1"/>
                </a:cxn>
                <a:cxn ang="0">
                  <a:pos x="T2" y="T3"/>
                </a:cxn>
                <a:cxn ang="0">
                  <a:pos x="T4" y="T5"/>
                </a:cxn>
                <a:cxn ang="0">
                  <a:pos x="T6" y="T7"/>
                </a:cxn>
                <a:cxn ang="0">
                  <a:pos x="T8" y="T9"/>
                </a:cxn>
              </a:cxnLst>
              <a:rect l="0" t="0" r="r" b="b"/>
              <a:pathLst>
                <a:path w="2" h="4">
                  <a:moveTo>
                    <a:pt x="2" y="0"/>
                  </a:moveTo>
                  <a:cubicBezTo>
                    <a:pt x="2" y="0"/>
                    <a:pt x="2" y="0"/>
                    <a:pt x="2" y="0"/>
                  </a:cubicBezTo>
                  <a:cubicBezTo>
                    <a:pt x="1" y="1"/>
                    <a:pt x="1" y="3"/>
                    <a:pt x="0" y="4"/>
                  </a:cubicBezTo>
                  <a:cubicBezTo>
                    <a:pt x="1" y="3"/>
                    <a:pt x="1" y="2"/>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1326"/>
            <p:cNvSpPr/>
            <p:nvPr/>
          </p:nvSpPr>
          <p:spPr bwMode="auto">
            <a:xfrm>
              <a:off x="6275419" y="3538401"/>
              <a:ext cx="6712" cy="9396"/>
            </a:xfrm>
            <a:custGeom>
              <a:gdLst>
                <a:gd name="T0" fmla="*/ 2 w 2"/>
                <a:gd name="T1" fmla="*/ 0 h 3"/>
                <a:gd name="T2" fmla="*/ 0 w 2"/>
                <a:gd name="T3" fmla="*/ 2 h 3"/>
                <a:gd name="T4" fmla="*/ 0 w 2"/>
                <a:gd name="T5" fmla="*/ 3 h 3"/>
                <a:gd name="T6" fmla="*/ 0 w 2"/>
                <a:gd name="T7" fmla="*/ 2 h 3"/>
                <a:gd name="T8" fmla="*/ 2 w 2"/>
                <a:gd name="T9" fmla="*/ 0 h 3"/>
              </a:gdLst>
              <a:cxnLst>
                <a:cxn ang="0">
                  <a:pos x="T0" y="T1"/>
                </a:cxn>
                <a:cxn ang="0">
                  <a:pos x="T2" y="T3"/>
                </a:cxn>
                <a:cxn ang="0">
                  <a:pos x="T4" y="T5"/>
                </a:cxn>
                <a:cxn ang="0">
                  <a:pos x="T6" y="T7"/>
                </a:cxn>
                <a:cxn ang="0">
                  <a:pos x="T8" y="T9"/>
                </a:cxn>
              </a:cxnLst>
              <a:rect l="0" t="0" r="r" b="b"/>
              <a:pathLst>
                <a:path w="2" h="3">
                  <a:moveTo>
                    <a:pt x="2" y="0"/>
                  </a:moveTo>
                  <a:cubicBezTo>
                    <a:pt x="1" y="1"/>
                    <a:pt x="1" y="2"/>
                    <a:pt x="0" y="2"/>
                  </a:cubicBezTo>
                  <a:cubicBezTo>
                    <a:pt x="0" y="3"/>
                    <a:pt x="0" y="3"/>
                    <a:pt x="0" y="3"/>
                  </a:cubicBezTo>
                  <a:cubicBezTo>
                    <a:pt x="0" y="2"/>
                    <a:pt x="0"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Freeform 1327"/>
            <p:cNvSpPr/>
            <p:nvPr/>
          </p:nvSpPr>
          <p:spPr bwMode="auto">
            <a:xfrm>
              <a:off x="3083345" y="4056543"/>
              <a:ext cx="4027" cy="9396"/>
            </a:xfrm>
            <a:custGeom>
              <a:gdLst>
                <a:gd name="T0" fmla="*/ 1 w 1"/>
                <a:gd name="T1" fmla="*/ 0 h 3"/>
                <a:gd name="T2" fmla="*/ 1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1328"/>
            <p:cNvSpPr/>
            <p:nvPr/>
          </p:nvSpPr>
          <p:spPr bwMode="auto">
            <a:xfrm>
              <a:off x="7224450" y="5474051"/>
              <a:ext cx="107387" cy="76513"/>
            </a:xfrm>
            <a:custGeom>
              <a:gdLst>
                <a:gd name="T0" fmla="*/ 1 w 34"/>
                <a:gd name="T1" fmla="*/ 0 h 24"/>
                <a:gd name="T2" fmla="*/ 0 w 34"/>
                <a:gd name="T3" fmla="*/ 0 h 24"/>
                <a:gd name="T4" fmla="*/ 1 w 34"/>
                <a:gd name="T5" fmla="*/ 1 h 24"/>
                <a:gd name="T6" fmla="*/ 3 w 34"/>
                <a:gd name="T7" fmla="*/ 3 h 24"/>
                <a:gd name="T8" fmla="*/ 4 w 34"/>
                <a:gd name="T9" fmla="*/ 5 h 24"/>
                <a:gd name="T10" fmla="*/ 6 w 34"/>
                <a:gd name="T11" fmla="*/ 6 h 24"/>
                <a:gd name="T12" fmla="*/ 15 w 34"/>
                <a:gd name="T13" fmla="*/ 13 h 24"/>
                <a:gd name="T14" fmla="*/ 27 w 34"/>
                <a:gd name="T15" fmla="*/ 20 h 24"/>
                <a:gd name="T16" fmla="*/ 28 w 34"/>
                <a:gd name="T17" fmla="*/ 20 h 24"/>
                <a:gd name="T18" fmla="*/ 34 w 34"/>
                <a:gd name="T19" fmla="*/ 24 h 24"/>
                <a:gd name="T20" fmla="*/ 33 w 34"/>
                <a:gd name="T21" fmla="*/ 21 h 24"/>
                <a:gd name="T22" fmla="*/ 31 w 34"/>
                <a:gd name="T23" fmla="*/ 21 h 24"/>
                <a:gd name="T24" fmla="*/ 33 w 34"/>
                <a:gd name="T25" fmla="*/ 19 h 24"/>
                <a:gd name="T26" fmla="*/ 31 w 34"/>
                <a:gd name="T27" fmla="*/ 17 h 24"/>
                <a:gd name="T28" fmla="*/ 25 w 34"/>
                <a:gd name="T29" fmla="*/ 13 h 24"/>
                <a:gd name="T30" fmla="*/ 17 w 34"/>
                <a:gd name="T31" fmla="*/ 8 h 24"/>
                <a:gd name="T32" fmla="*/ 17 w 34"/>
                <a:gd name="T33" fmla="*/ 8 h 24"/>
                <a:gd name="T34" fmla="*/ 17 w 34"/>
                <a:gd name="T35" fmla="*/ 8 h 24"/>
                <a:gd name="T36" fmla="*/ 16 w 34"/>
                <a:gd name="T37" fmla="*/ 9 h 24"/>
                <a:gd name="T38" fmla="*/ 16 w 34"/>
                <a:gd name="T39" fmla="*/ 8 h 24"/>
                <a:gd name="T40" fmla="*/ 11 w 34"/>
                <a:gd name="T41" fmla="*/ 5 h 24"/>
                <a:gd name="T42" fmla="*/ 5 w 34"/>
                <a:gd name="T43" fmla="*/ 1 h 24"/>
                <a:gd name="T44" fmla="*/ 1 w 34"/>
                <a:gd name="T45"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24">
                  <a:moveTo>
                    <a:pt x="1" y="0"/>
                  </a:moveTo>
                  <a:cubicBezTo>
                    <a:pt x="0" y="0"/>
                    <a:pt x="0" y="0"/>
                    <a:pt x="0" y="0"/>
                  </a:cubicBezTo>
                  <a:cubicBezTo>
                    <a:pt x="0" y="1"/>
                    <a:pt x="1" y="1"/>
                    <a:pt x="1" y="1"/>
                  </a:cubicBezTo>
                  <a:cubicBezTo>
                    <a:pt x="1" y="2"/>
                    <a:pt x="3" y="2"/>
                    <a:pt x="3" y="3"/>
                  </a:cubicBezTo>
                  <a:cubicBezTo>
                    <a:pt x="4" y="4"/>
                    <a:pt x="3" y="4"/>
                    <a:pt x="4" y="5"/>
                  </a:cubicBezTo>
                  <a:cubicBezTo>
                    <a:pt x="4" y="6"/>
                    <a:pt x="5" y="6"/>
                    <a:pt x="6" y="6"/>
                  </a:cubicBezTo>
                  <a:cubicBezTo>
                    <a:pt x="9" y="9"/>
                    <a:pt x="11" y="11"/>
                    <a:pt x="15" y="13"/>
                  </a:cubicBezTo>
                  <a:cubicBezTo>
                    <a:pt x="19" y="16"/>
                    <a:pt x="23" y="18"/>
                    <a:pt x="27" y="20"/>
                  </a:cubicBezTo>
                  <a:cubicBezTo>
                    <a:pt x="27" y="20"/>
                    <a:pt x="28" y="20"/>
                    <a:pt x="28" y="20"/>
                  </a:cubicBezTo>
                  <a:cubicBezTo>
                    <a:pt x="30" y="21"/>
                    <a:pt x="32" y="22"/>
                    <a:pt x="34" y="24"/>
                  </a:cubicBezTo>
                  <a:cubicBezTo>
                    <a:pt x="34" y="23"/>
                    <a:pt x="33" y="22"/>
                    <a:pt x="33" y="21"/>
                  </a:cubicBezTo>
                  <a:cubicBezTo>
                    <a:pt x="33" y="21"/>
                    <a:pt x="31" y="21"/>
                    <a:pt x="31" y="21"/>
                  </a:cubicBezTo>
                  <a:cubicBezTo>
                    <a:pt x="31" y="20"/>
                    <a:pt x="33" y="19"/>
                    <a:pt x="33" y="19"/>
                  </a:cubicBezTo>
                  <a:cubicBezTo>
                    <a:pt x="32" y="18"/>
                    <a:pt x="32" y="18"/>
                    <a:pt x="31" y="17"/>
                  </a:cubicBezTo>
                  <a:cubicBezTo>
                    <a:pt x="30" y="15"/>
                    <a:pt x="27" y="14"/>
                    <a:pt x="25" y="13"/>
                  </a:cubicBezTo>
                  <a:cubicBezTo>
                    <a:pt x="22" y="10"/>
                    <a:pt x="20" y="10"/>
                    <a:pt x="17" y="8"/>
                  </a:cubicBezTo>
                  <a:cubicBezTo>
                    <a:pt x="17" y="8"/>
                    <a:pt x="17" y="8"/>
                    <a:pt x="17" y="8"/>
                  </a:cubicBezTo>
                  <a:cubicBezTo>
                    <a:pt x="17" y="8"/>
                    <a:pt x="17" y="8"/>
                    <a:pt x="17" y="8"/>
                  </a:cubicBezTo>
                  <a:cubicBezTo>
                    <a:pt x="16" y="8"/>
                    <a:pt x="16" y="9"/>
                    <a:pt x="16" y="9"/>
                  </a:cubicBezTo>
                  <a:cubicBezTo>
                    <a:pt x="16" y="9"/>
                    <a:pt x="16" y="9"/>
                    <a:pt x="16" y="8"/>
                  </a:cubicBezTo>
                  <a:cubicBezTo>
                    <a:pt x="14" y="8"/>
                    <a:pt x="13" y="6"/>
                    <a:pt x="11" y="5"/>
                  </a:cubicBezTo>
                  <a:cubicBezTo>
                    <a:pt x="9" y="3"/>
                    <a:pt x="8" y="1"/>
                    <a:pt x="5" y="1"/>
                  </a:cubicBezTo>
                  <a:cubicBezTo>
                    <a:pt x="4"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Freeform 1329"/>
            <p:cNvSpPr/>
            <p:nvPr/>
          </p:nvSpPr>
          <p:spPr bwMode="auto">
            <a:xfrm>
              <a:off x="7131829" y="5506267"/>
              <a:ext cx="51009" cy="44297"/>
            </a:xfrm>
            <a:custGeom>
              <a:gdLst>
                <a:gd name="T0" fmla="*/ 7 w 16"/>
                <a:gd name="T1" fmla="*/ 0 h 14"/>
                <a:gd name="T2" fmla="*/ 1 w 16"/>
                <a:gd name="T3" fmla="*/ 5 h 14"/>
                <a:gd name="T4" fmla="*/ 1 w 16"/>
                <a:gd name="T5" fmla="*/ 8 h 14"/>
                <a:gd name="T6" fmla="*/ 2 w 16"/>
                <a:gd name="T7" fmla="*/ 8 h 14"/>
                <a:gd name="T8" fmla="*/ 4 w 16"/>
                <a:gd name="T9" fmla="*/ 7 h 14"/>
                <a:gd name="T10" fmla="*/ 6 w 16"/>
                <a:gd name="T11" fmla="*/ 7 h 14"/>
                <a:gd name="T12" fmla="*/ 7 w 16"/>
                <a:gd name="T13" fmla="*/ 7 h 14"/>
                <a:gd name="T14" fmla="*/ 8 w 16"/>
                <a:gd name="T15" fmla="*/ 9 h 14"/>
                <a:gd name="T16" fmla="*/ 14 w 16"/>
                <a:gd name="T17" fmla="*/ 14 h 14"/>
                <a:gd name="T18" fmla="*/ 13 w 16"/>
                <a:gd name="T19" fmla="*/ 6 h 14"/>
                <a:gd name="T20" fmla="*/ 9 w 16"/>
                <a:gd name="T21" fmla="*/ 1 h 14"/>
                <a:gd name="T22" fmla="*/ 7 w 16"/>
                <a:gd name="T23"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7" y="0"/>
                  </a:moveTo>
                  <a:cubicBezTo>
                    <a:pt x="4" y="0"/>
                    <a:pt x="2" y="3"/>
                    <a:pt x="1" y="5"/>
                  </a:cubicBezTo>
                  <a:cubicBezTo>
                    <a:pt x="0" y="6"/>
                    <a:pt x="0" y="7"/>
                    <a:pt x="1" y="8"/>
                  </a:cubicBezTo>
                  <a:cubicBezTo>
                    <a:pt x="1" y="8"/>
                    <a:pt x="1" y="8"/>
                    <a:pt x="2" y="8"/>
                  </a:cubicBezTo>
                  <a:cubicBezTo>
                    <a:pt x="2" y="8"/>
                    <a:pt x="3" y="8"/>
                    <a:pt x="4" y="7"/>
                  </a:cubicBezTo>
                  <a:cubicBezTo>
                    <a:pt x="4" y="7"/>
                    <a:pt x="6" y="7"/>
                    <a:pt x="6" y="7"/>
                  </a:cubicBezTo>
                  <a:cubicBezTo>
                    <a:pt x="6" y="7"/>
                    <a:pt x="7" y="7"/>
                    <a:pt x="7" y="7"/>
                  </a:cubicBezTo>
                  <a:cubicBezTo>
                    <a:pt x="9" y="7"/>
                    <a:pt x="7" y="7"/>
                    <a:pt x="8" y="9"/>
                  </a:cubicBezTo>
                  <a:cubicBezTo>
                    <a:pt x="10" y="12"/>
                    <a:pt x="10" y="12"/>
                    <a:pt x="14" y="14"/>
                  </a:cubicBezTo>
                  <a:cubicBezTo>
                    <a:pt x="16" y="11"/>
                    <a:pt x="15" y="9"/>
                    <a:pt x="13" y="6"/>
                  </a:cubicBezTo>
                  <a:cubicBezTo>
                    <a:pt x="12" y="5"/>
                    <a:pt x="10" y="2"/>
                    <a:pt x="9" y="1"/>
                  </a:cubicBezTo>
                  <a:cubicBezTo>
                    <a:pt x="8"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1330"/>
            <p:cNvSpPr/>
            <p:nvPr/>
          </p:nvSpPr>
          <p:spPr bwMode="auto">
            <a:xfrm>
              <a:off x="7433854" y="5674059"/>
              <a:ext cx="85909" cy="48324"/>
            </a:xfrm>
            <a:custGeom>
              <a:gdLst>
                <a:gd name="T0" fmla="*/ 3 w 27"/>
                <a:gd name="T1" fmla="*/ 0 h 15"/>
                <a:gd name="T2" fmla="*/ 3 w 27"/>
                <a:gd name="T3" fmla="*/ 0 h 15"/>
                <a:gd name="T4" fmla="*/ 2 w 27"/>
                <a:gd name="T5" fmla="*/ 3 h 15"/>
                <a:gd name="T6" fmla="*/ 2 w 27"/>
                <a:gd name="T7" fmla="*/ 3 h 15"/>
                <a:gd name="T8" fmla="*/ 3 w 27"/>
                <a:gd name="T9" fmla="*/ 3 h 15"/>
                <a:gd name="T10" fmla="*/ 4 w 27"/>
                <a:gd name="T11" fmla="*/ 3 h 15"/>
                <a:gd name="T12" fmla="*/ 5 w 27"/>
                <a:gd name="T13" fmla="*/ 3 h 15"/>
                <a:gd name="T14" fmla="*/ 7 w 27"/>
                <a:gd name="T15" fmla="*/ 9 h 15"/>
                <a:gd name="T16" fmla="*/ 10 w 27"/>
                <a:gd name="T17" fmla="*/ 10 h 15"/>
                <a:gd name="T18" fmla="*/ 14 w 27"/>
                <a:gd name="T19" fmla="*/ 13 h 15"/>
                <a:gd name="T20" fmla="*/ 20 w 27"/>
                <a:gd name="T21" fmla="*/ 14 h 15"/>
                <a:gd name="T22" fmla="*/ 26 w 27"/>
                <a:gd name="T23" fmla="*/ 15 h 15"/>
                <a:gd name="T24" fmla="*/ 27 w 27"/>
                <a:gd name="T25" fmla="*/ 15 h 15"/>
                <a:gd name="T26" fmla="*/ 20 w 27"/>
                <a:gd name="T27" fmla="*/ 6 h 15"/>
                <a:gd name="T28" fmla="*/ 20 w 27"/>
                <a:gd name="T29" fmla="*/ 6 h 15"/>
                <a:gd name="T30" fmla="*/ 19 w 27"/>
                <a:gd name="T31" fmla="*/ 6 h 15"/>
                <a:gd name="T32" fmla="*/ 19 w 27"/>
                <a:gd name="T33" fmla="*/ 6 h 15"/>
                <a:gd name="T34" fmla="*/ 19 w 27"/>
                <a:gd name="T35" fmla="*/ 6 h 15"/>
                <a:gd name="T36" fmla="*/ 9 w 27"/>
                <a:gd name="T37" fmla="*/ 2 h 15"/>
                <a:gd name="T38" fmla="*/ 3 w 27"/>
                <a:gd name="T3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15">
                  <a:moveTo>
                    <a:pt x="3" y="0"/>
                  </a:moveTo>
                  <a:cubicBezTo>
                    <a:pt x="3" y="0"/>
                    <a:pt x="3" y="0"/>
                    <a:pt x="3" y="0"/>
                  </a:cubicBezTo>
                  <a:cubicBezTo>
                    <a:pt x="1" y="0"/>
                    <a:pt x="0" y="2"/>
                    <a:pt x="2" y="3"/>
                  </a:cubicBezTo>
                  <a:cubicBezTo>
                    <a:pt x="2" y="3"/>
                    <a:pt x="2" y="3"/>
                    <a:pt x="2" y="3"/>
                  </a:cubicBezTo>
                  <a:cubicBezTo>
                    <a:pt x="3" y="3"/>
                    <a:pt x="3" y="3"/>
                    <a:pt x="3" y="3"/>
                  </a:cubicBezTo>
                  <a:cubicBezTo>
                    <a:pt x="4" y="3"/>
                    <a:pt x="4" y="3"/>
                    <a:pt x="4" y="3"/>
                  </a:cubicBezTo>
                  <a:cubicBezTo>
                    <a:pt x="5" y="3"/>
                    <a:pt x="5" y="3"/>
                    <a:pt x="5" y="3"/>
                  </a:cubicBezTo>
                  <a:cubicBezTo>
                    <a:pt x="6" y="4"/>
                    <a:pt x="6" y="7"/>
                    <a:pt x="7" y="9"/>
                  </a:cubicBezTo>
                  <a:cubicBezTo>
                    <a:pt x="8" y="9"/>
                    <a:pt x="9" y="10"/>
                    <a:pt x="10" y="10"/>
                  </a:cubicBezTo>
                  <a:cubicBezTo>
                    <a:pt x="11" y="11"/>
                    <a:pt x="13" y="12"/>
                    <a:pt x="14" y="13"/>
                  </a:cubicBezTo>
                  <a:cubicBezTo>
                    <a:pt x="16" y="13"/>
                    <a:pt x="18" y="14"/>
                    <a:pt x="20" y="14"/>
                  </a:cubicBezTo>
                  <a:cubicBezTo>
                    <a:pt x="21" y="14"/>
                    <a:pt x="24" y="15"/>
                    <a:pt x="26" y="15"/>
                  </a:cubicBezTo>
                  <a:cubicBezTo>
                    <a:pt x="26" y="15"/>
                    <a:pt x="27" y="15"/>
                    <a:pt x="27" y="15"/>
                  </a:cubicBezTo>
                  <a:cubicBezTo>
                    <a:pt x="26" y="12"/>
                    <a:pt x="23" y="9"/>
                    <a:pt x="20" y="6"/>
                  </a:cubicBezTo>
                  <a:cubicBezTo>
                    <a:pt x="20" y="6"/>
                    <a:pt x="20" y="6"/>
                    <a:pt x="20" y="6"/>
                  </a:cubicBezTo>
                  <a:cubicBezTo>
                    <a:pt x="20" y="6"/>
                    <a:pt x="19" y="6"/>
                    <a:pt x="19" y="6"/>
                  </a:cubicBezTo>
                  <a:cubicBezTo>
                    <a:pt x="19" y="6"/>
                    <a:pt x="19" y="6"/>
                    <a:pt x="19" y="6"/>
                  </a:cubicBezTo>
                  <a:cubicBezTo>
                    <a:pt x="19" y="6"/>
                    <a:pt x="19" y="6"/>
                    <a:pt x="19" y="6"/>
                  </a:cubicBezTo>
                  <a:cubicBezTo>
                    <a:pt x="15" y="5"/>
                    <a:pt x="12" y="4"/>
                    <a:pt x="9" y="2"/>
                  </a:cubicBezTo>
                  <a:cubicBezTo>
                    <a:pt x="7"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1331"/>
            <p:cNvSpPr/>
            <p:nvPr/>
          </p:nvSpPr>
          <p:spPr bwMode="auto">
            <a:xfrm>
              <a:off x="7122432" y="5519690"/>
              <a:ext cx="9396" cy="12081"/>
            </a:xfrm>
            <a:custGeom>
              <a:gdLst>
                <a:gd name="T0" fmla="*/ 1 w 3"/>
                <a:gd name="T1" fmla="*/ 0 h 4"/>
                <a:gd name="T2" fmla="*/ 0 w 3"/>
                <a:gd name="T3" fmla="*/ 1 h 4"/>
                <a:gd name="T4" fmla="*/ 3 w 3"/>
                <a:gd name="T5" fmla="*/ 4 h 4"/>
                <a:gd name="T6" fmla="*/ 1 w 3"/>
                <a:gd name="T7" fmla="*/ 0 h 4"/>
              </a:gdLst>
              <a:cxnLst>
                <a:cxn ang="0">
                  <a:pos x="T0" y="T1"/>
                </a:cxn>
                <a:cxn ang="0">
                  <a:pos x="T2" y="T3"/>
                </a:cxn>
                <a:cxn ang="0">
                  <a:pos x="T4" y="T5"/>
                </a:cxn>
                <a:cxn ang="0">
                  <a:pos x="T6" y="T7"/>
                </a:cxn>
              </a:cxnLst>
              <a:rect l="0" t="0" r="r" b="b"/>
              <a:pathLst>
                <a:path w="3" h="4">
                  <a:moveTo>
                    <a:pt x="1" y="0"/>
                  </a:moveTo>
                  <a:cubicBezTo>
                    <a:pt x="1" y="0"/>
                    <a:pt x="1" y="0"/>
                    <a:pt x="0" y="1"/>
                  </a:cubicBezTo>
                  <a:cubicBezTo>
                    <a:pt x="1" y="2"/>
                    <a:pt x="2" y="3"/>
                    <a:pt x="3" y="4"/>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1332"/>
            <p:cNvSpPr/>
            <p:nvPr/>
          </p:nvSpPr>
          <p:spPr bwMode="auto">
            <a:xfrm>
              <a:off x="7382846" y="5531771"/>
              <a:ext cx="60405" cy="97991"/>
            </a:xfrm>
            <a:custGeom>
              <a:gdLst>
                <a:gd name="T0" fmla="*/ 4 w 19"/>
                <a:gd name="T1" fmla="*/ 0 h 31"/>
                <a:gd name="T2" fmla="*/ 4 w 19"/>
                <a:gd name="T3" fmla="*/ 1 h 31"/>
                <a:gd name="T4" fmla="*/ 1 w 19"/>
                <a:gd name="T5" fmla="*/ 1 h 31"/>
                <a:gd name="T6" fmla="*/ 2 w 19"/>
                <a:gd name="T7" fmla="*/ 4 h 31"/>
                <a:gd name="T8" fmla="*/ 2 w 19"/>
                <a:gd name="T9" fmla="*/ 8 h 31"/>
                <a:gd name="T10" fmla="*/ 7 w 19"/>
                <a:gd name="T11" fmla="*/ 20 h 31"/>
                <a:gd name="T12" fmla="*/ 19 w 19"/>
                <a:gd name="T13" fmla="*/ 31 h 31"/>
                <a:gd name="T14" fmla="*/ 19 w 19"/>
                <a:gd name="T15" fmla="*/ 28 h 31"/>
                <a:gd name="T16" fmla="*/ 17 w 19"/>
                <a:gd name="T17" fmla="*/ 25 h 31"/>
                <a:gd name="T18" fmla="*/ 17 w 19"/>
                <a:gd name="T19" fmla="*/ 23 h 31"/>
                <a:gd name="T20" fmla="*/ 14 w 19"/>
                <a:gd name="T21" fmla="*/ 16 h 31"/>
                <a:gd name="T22" fmla="*/ 12 w 19"/>
                <a:gd name="T23" fmla="*/ 14 h 31"/>
                <a:gd name="T24" fmla="*/ 8 w 19"/>
                <a:gd name="T25" fmla="*/ 5 h 31"/>
                <a:gd name="T26" fmla="*/ 4 w 19"/>
                <a:gd name="T27"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1">
                  <a:moveTo>
                    <a:pt x="4" y="0"/>
                  </a:moveTo>
                  <a:cubicBezTo>
                    <a:pt x="4" y="0"/>
                    <a:pt x="4" y="1"/>
                    <a:pt x="4" y="1"/>
                  </a:cubicBezTo>
                  <a:cubicBezTo>
                    <a:pt x="2" y="1"/>
                    <a:pt x="1" y="1"/>
                    <a:pt x="1" y="1"/>
                  </a:cubicBezTo>
                  <a:cubicBezTo>
                    <a:pt x="0" y="1"/>
                    <a:pt x="1" y="2"/>
                    <a:pt x="2" y="4"/>
                  </a:cubicBezTo>
                  <a:cubicBezTo>
                    <a:pt x="4" y="6"/>
                    <a:pt x="3" y="6"/>
                    <a:pt x="2" y="8"/>
                  </a:cubicBezTo>
                  <a:cubicBezTo>
                    <a:pt x="2" y="11"/>
                    <a:pt x="5" y="18"/>
                    <a:pt x="7" y="20"/>
                  </a:cubicBezTo>
                  <a:cubicBezTo>
                    <a:pt x="11" y="24"/>
                    <a:pt x="15" y="28"/>
                    <a:pt x="19" y="31"/>
                  </a:cubicBezTo>
                  <a:cubicBezTo>
                    <a:pt x="19" y="30"/>
                    <a:pt x="19" y="29"/>
                    <a:pt x="19" y="28"/>
                  </a:cubicBezTo>
                  <a:cubicBezTo>
                    <a:pt x="19" y="27"/>
                    <a:pt x="18" y="26"/>
                    <a:pt x="17" y="25"/>
                  </a:cubicBezTo>
                  <a:cubicBezTo>
                    <a:pt x="17" y="24"/>
                    <a:pt x="17" y="24"/>
                    <a:pt x="17" y="23"/>
                  </a:cubicBezTo>
                  <a:cubicBezTo>
                    <a:pt x="16" y="20"/>
                    <a:pt x="15" y="18"/>
                    <a:pt x="14" y="16"/>
                  </a:cubicBezTo>
                  <a:cubicBezTo>
                    <a:pt x="14" y="16"/>
                    <a:pt x="12" y="15"/>
                    <a:pt x="12" y="14"/>
                  </a:cubicBezTo>
                  <a:cubicBezTo>
                    <a:pt x="10" y="12"/>
                    <a:pt x="10" y="8"/>
                    <a:pt x="8" y="5"/>
                  </a:cubicBezTo>
                  <a:cubicBezTo>
                    <a:pt x="7" y="3"/>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1333"/>
            <p:cNvSpPr/>
            <p:nvPr/>
          </p:nvSpPr>
          <p:spPr bwMode="auto">
            <a:xfrm>
              <a:off x="7082162" y="5503582"/>
              <a:ext cx="5369" cy="18793"/>
            </a:xfrm>
            <a:custGeom>
              <a:gdLst>
                <a:gd name="T0" fmla="*/ 0 w 2"/>
                <a:gd name="T1" fmla="*/ 0 h 6"/>
                <a:gd name="T2" fmla="*/ 1 w 2"/>
                <a:gd name="T3" fmla="*/ 6 h 6"/>
                <a:gd name="T4" fmla="*/ 0 w 2"/>
                <a:gd name="T5" fmla="*/ 0 h 6"/>
              </a:gdLst>
              <a:cxnLst>
                <a:cxn ang="0">
                  <a:pos x="T0" y="T1"/>
                </a:cxn>
                <a:cxn ang="0">
                  <a:pos x="T2" y="T3"/>
                </a:cxn>
                <a:cxn ang="0">
                  <a:pos x="T4" y="T5"/>
                </a:cxn>
              </a:cxnLst>
              <a:rect l="0" t="0" r="r" b="b"/>
              <a:pathLst>
                <a:path w="2" h="6">
                  <a:moveTo>
                    <a:pt x="0" y="0"/>
                  </a:moveTo>
                  <a:cubicBezTo>
                    <a:pt x="0" y="2"/>
                    <a:pt x="1" y="4"/>
                    <a:pt x="1" y="6"/>
                  </a:cubicBezTo>
                  <a:cubicBezTo>
                    <a:pt x="2"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1334"/>
            <p:cNvSpPr/>
            <p:nvPr/>
          </p:nvSpPr>
          <p:spPr bwMode="auto">
            <a:xfrm>
              <a:off x="7151964" y="5559960"/>
              <a:ext cx="12081" cy="9396"/>
            </a:xfrm>
            <a:custGeom>
              <a:gdLst>
                <a:gd name="T0" fmla="*/ 2 w 4"/>
                <a:gd name="T1" fmla="*/ 0 h 3"/>
                <a:gd name="T2" fmla="*/ 0 w 4"/>
                <a:gd name="T3" fmla="*/ 0 h 3"/>
                <a:gd name="T4" fmla="*/ 4 w 4"/>
                <a:gd name="T5" fmla="*/ 3 h 3"/>
                <a:gd name="T6" fmla="*/ 2 w 4"/>
                <a:gd name="T7" fmla="*/ 0 h 3"/>
              </a:gdLst>
              <a:cxnLst>
                <a:cxn ang="0">
                  <a:pos x="T0" y="T1"/>
                </a:cxn>
                <a:cxn ang="0">
                  <a:pos x="T2" y="T3"/>
                </a:cxn>
                <a:cxn ang="0">
                  <a:pos x="T4" y="T5"/>
                </a:cxn>
                <a:cxn ang="0">
                  <a:pos x="T6" y="T7"/>
                </a:cxn>
              </a:cxnLst>
              <a:rect l="0" t="0" r="r" b="b"/>
              <a:pathLst>
                <a:path w="4" h="3">
                  <a:moveTo>
                    <a:pt x="2" y="0"/>
                  </a:moveTo>
                  <a:cubicBezTo>
                    <a:pt x="1" y="0"/>
                    <a:pt x="1" y="0"/>
                    <a:pt x="0" y="0"/>
                  </a:cubicBezTo>
                  <a:cubicBezTo>
                    <a:pt x="1" y="1"/>
                    <a:pt x="2" y="2"/>
                    <a:pt x="4" y="3"/>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Freeform 1335"/>
            <p:cNvSpPr/>
            <p:nvPr/>
          </p:nvSpPr>
          <p:spPr bwMode="auto">
            <a:xfrm>
              <a:off x="7129144" y="5541167"/>
              <a:ext cx="22820" cy="22820"/>
            </a:xfrm>
            <a:custGeom>
              <a:gdLst>
                <a:gd name="T0" fmla="*/ 4 w 7"/>
                <a:gd name="T1" fmla="*/ 0 h 7"/>
                <a:gd name="T2" fmla="*/ 2 w 7"/>
                <a:gd name="T3" fmla="*/ 2 h 7"/>
                <a:gd name="T4" fmla="*/ 5 w 7"/>
                <a:gd name="T5" fmla="*/ 7 h 7"/>
                <a:gd name="T6" fmla="*/ 5 w 7"/>
                <a:gd name="T7" fmla="*/ 0 h 7"/>
                <a:gd name="T8" fmla="*/ 4 w 7"/>
                <a:gd name="T9" fmla="*/ 0 h 7"/>
              </a:gdLst>
              <a:cxnLst>
                <a:cxn ang="0">
                  <a:pos x="T0" y="T1"/>
                </a:cxn>
                <a:cxn ang="0">
                  <a:pos x="T2" y="T3"/>
                </a:cxn>
                <a:cxn ang="0">
                  <a:pos x="T4" y="T5"/>
                </a:cxn>
                <a:cxn ang="0">
                  <a:pos x="T6" y="T7"/>
                </a:cxn>
                <a:cxn ang="0">
                  <a:pos x="T8" y="T9"/>
                </a:cxn>
              </a:cxnLst>
              <a:rect l="0" t="0" r="r" b="b"/>
              <a:pathLst>
                <a:path w="7" h="7">
                  <a:moveTo>
                    <a:pt x="4" y="0"/>
                  </a:moveTo>
                  <a:cubicBezTo>
                    <a:pt x="3" y="0"/>
                    <a:pt x="2" y="1"/>
                    <a:pt x="2" y="2"/>
                  </a:cubicBezTo>
                  <a:cubicBezTo>
                    <a:pt x="0" y="4"/>
                    <a:pt x="3" y="5"/>
                    <a:pt x="5" y="7"/>
                  </a:cubicBezTo>
                  <a:cubicBezTo>
                    <a:pt x="2" y="3"/>
                    <a:pt x="7" y="3"/>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1336"/>
            <p:cNvSpPr/>
            <p:nvPr/>
          </p:nvSpPr>
          <p:spPr bwMode="auto">
            <a:xfrm>
              <a:off x="7071424" y="5404249"/>
              <a:ext cx="89936" cy="57720"/>
            </a:xfrm>
            <a:custGeom>
              <a:gdLst>
                <a:gd name="T0" fmla="*/ 2 w 28"/>
                <a:gd name="T1" fmla="*/ 0 h 18"/>
                <a:gd name="T2" fmla="*/ 1 w 28"/>
                <a:gd name="T3" fmla="*/ 3 h 18"/>
                <a:gd name="T4" fmla="*/ 6 w 28"/>
                <a:gd name="T5" fmla="*/ 6 h 18"/>
                <a:gd name="T6" fmla="*/ 10 w 28"/>
                <a:gd name="T7" fmla="*/ 12 h 18"/>
                <a:gd name="T8" fmla="*/ 20 w 28"/>
                <a:gd name="T9" fmla="*/ 18 h 18"/>
                <a:gd name="T10" fmla="*/ 22 w 28"/>
                <a:gd name="T11" fmla="*/ 18 h 18"/>
                <a:gd name="T12" fmla="*/ 26 w 28"/>
                <a:gd name="T13" fmla="*/ 16 h 18"/>
                <a:gd name="T14" fmla="*/ 22 w 28"/>
                <a:gd name="T15" fmla="*/ 16 h 18"/>
                <a:gd name="T16" fmla="*/ 18 w 28"/>
                <a:gd name="T17" fmla="*/ 13 h 18"/>
                <a:gd name="T18" fmla="*/ 14 w 28"/>
                <a:gd name="T19" fmla="*/ 6 h 18"/>
                <a:gd name="T20" fmla="*/ 9 w 28"/>
                <a:gd name="T21" fmla="*/ 3 h 18"/>
                <a:gd name="T22" fmla="*/ 4 w 28"/>
                <a:gd name="T23" fmla="*/ 1 h 18"/>
                <a:gd name="T24" fmla="*/ 2 w 28"/>
                <a:gd name="T2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8">
                  <a:moveTo>
                    <a:pt x="2" y="0"/>
                  </a:moveTo>
                  <a:cubicBezTo>
                    <a:pt x="1" y="0"/>
                    <a:pt x="0" y="1"/>
                    <a:pt x="1" y="3"/>
                  </a:cubicBezTo>
                  <a:cubicBezTo>
                    <a:pt x="2" y="4"/>
                    <a:pt x="5" y="5"/>
                    <a:pt x="6" y="6"/>
                  </a:cubicBezTo>
                  <a:cubicBezTo>
                    <a:pt x="8" y="8"/>
                    <a:pt x="9" y="10"/>
                    <a:pt x="10" y="12"/>
                  </a:cubicBezTo>
                  <a:cubicBezTo>
                    <a:pt x="14" y="15"/>
                    <a:pt x="16" y="16"/>
                    <a:pt x="20" y="18"/>
                  </a:cubicBezTo>
                  <a:cubicBezTo>
                    <a:pt x="20" y="18"/>
                    <a:pt x="21" y="18"/>
                    <a:pt x="22" y="18"/>
                  </a:cubicBezTo>
                  <a:cubicBezTo>
                    <a:pt x="25" y="18"/>
                    <a:pt x="28" y="18"/>
                    <a:pt x="26" y="16"/>
                  </a:cubicBezTo>
                  <a:cubicBezTo>
                    <a:pt x="26" y="16"/>
                    <a:pt x="23" y="16"/>
                    <a:pt x="22" y="16"/>
                  </a:cubicBezTo>
                  <a:cubicBezTo>
                    <a:pt x="21" y="15"/>
                    <a:pt x="19" y="14"/>
                    <a:pt x="18" y="13"/>
                  </a:cubicBezTo>
                  <a:cubicBezTo>
                    <a:pt x="16" y="11"/>
                    <a:pt x="17" y="8"/>
                    <a:pt x="14" y="6"/>
                  </a:cubicBezTo>
                  <a:cubicBezTo>
                    <a:pt x="12" y="5"/>
                    <a:pt x="10" y="5"/>
                    <a:pt x="9" y="3"/>
                  </a:cubicBezTo>
                  <a:cubicBezTo>
                    <a:pt x="7" y="2"/>
                    <a:pt x="6" y="1"/>
                    <a:pt x="4"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Freeform 1337"/>
            <p:cNvSpPr/>
            <p:nvPr/>
          </p:nvSpPr>
          <p:spPr bwMode="auto">
            <a:xfrm>
              <a:off x="7211027" y="5468681"/>
              <a:ext cx="10739" cy="5369"/>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1"/>
                    <a:pt x="2" y="2"/>
                    <a:pt x="3" y="2"/>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1338"/>
            <p:cNvSpPr/>
            <p:nvPr/>
          </p:nvSpPr>
          <p:spPr bwMode="auto">
            <a:xfrm>
              <a:off x="7484863" y="5636473"/>
              <a:ext cx="2685" cy="12081"/>
            </a:xfrm>
            <a:custGeom>
              <a:gdLst>
                <a:gd name="T0" fmla="*/ 1 w 1"/>
                <a:gd name="T1" fmla="*/ 0 h 4"/>
                <a:gd name="T2" fmla="*/ 1 w 1"/>
                <a:gd name="T3" fmla="*/ 4 h 4"/>
                <a:gd name="T4" fmla="*/ 1 w 1"/>
                <a:gd name="T5" fmla="*/ 0 h 4"/>
              </a:gdLst>
              <a:cxnLst>
                <a:cxn ang="0">
                  <a:pos x="T0" y="T1"/>
                </a:cxn>
                <a:cxn ang="0">
                  <a:pos x="T2" y="T3"/>
                </a:cxn>
                <a:cxn ang="0">
                  <a:pos x="T4" y="T5"/>
                </a:cxn>
              </a:cxnLst>
              <a:rect l="0" t="0" r="r" b="b"/>
              <a:pathLst>
                <a:path w="1" h="4">
                  <a:moveTo>
                    <a:pt x="1" y="0"/>
                  </a:moveTo>
                  <a:cubicBezTo>
                    <a:pt x="0" y="1"/>
                    <a:pt x="1" y="2"/>
                    <a:pt x="1" y="4"/>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1339"/>
            <p:cNvSpPr/>
            <p:nvPr/>
          </p:nvSpPr>
          <p:spPr bwMode="auto">
            <a:xfrm>
              <a:off x="7306332" y="5604257"/>
              <a:ext cx="92621" cy="51009"/>
            </a:xfrm>
            <a:custGeom>
              <a:gdLst>
                <a:gd name="T0" fmla="*/ 4 w 29"/>
                <a:gd name="T1" fmla="*/ 0 h 16"/>
                <a:gd name="T2" fmla="*/ 1 w 29"/>
                <a:gd name="T3" fmla="*/ 1 h 16"/>
                <a:gd name="T4" fmla="*/ 3 w 29"/>
                <a:gd name="T5" fmla="*/ 8 h 16"/>
                <a:gd name="T6" fmla="*/ 11 w 29"/>
                <a:gd name="T7" fmla="*/ 13 h 16"/>
                <a:gd name="T8" fmla="*/ 12 w 29"/>
                <a:gd name="T9" fmla="*/ 13 h 16"/>
                <a:gd name="T10" fmla="*/ 14 w 29"/>
                <a:gd name="T11" fmla="*/ 13 h 16"/>
                <a:gd name="T12" fmla="*/ 16 w 29"/>
                <a:gd name="T13" fmla="*/ 13 h 16"/>
                <a:gd name="T14" fmla="*/ 18 w 29"/>
                <a:gd name="T15" fmla="*/ 13 h 16"/>
                <a:gd name="T16" fmla="*/ 21 w 29"/>
                <a:gd name="T17" fmla="*/ 15 h 16"/>
                <a:gd name="T18" fmla="*/ 26 w 29"/>
                <a:gd name="T19" fmla="*/ 16 h 16"/>
                <a:gd name="T20" fmla="*/ 29 w 29"/>
                <a:gd name="T21" fmla="*/ 11 h 16"/>
                <a:gd name="T22" fmla="*/ 27 w 29"/>
                <a:gd name="T23" fmla="*/ 10 h 16"/>
                <a:gd name="T24" fmla="*/ 24 w 29"/>
                <a:gd name="T25" fmla="*/ 6 h 16"/>
                <a:gd name="T26" fmla="*/ 15 w 29"/>
                <a:gd name="T27" fmla="*/ 3 h 16"/>
                <a:gd name="T28" fmla="*/ 15 w 29"/>
                <a:gd name="T29" fmla="*/ 3 h 16"/>
                <a:gd name="T30" fmla="*/ 13 w 29"/>
                <a:gd name="T31" fmla="*/ 3 h 16"/>
                <a:gd name="T32" fmla="*/ 12 w 29"/>
                <a:gd name="T33" fmla="*/ 3 h 16"/>
                <a:gd name="T34" fmla="*/ 12 w 29"/>
                <a:gd name="T35" fmla="*/ 3 h 16"/>
                <a:gd name="T36" fmla="*/ 4 w 29"/>
                <a:gd name="T37"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16">
                  <a:moveTo>
                    <a:pt x="4" y="0"/>
                  </a:moveTo>
                  <a:cubicBezTo>
                    <a:pt x="3" y="0"/>
                    <a:pt x="2" y="0"/>
                    <a:pt x="1" y="1"/>
                  </a:cubicBezTo>
                  <a:cubicBezTo>
                    <a:pt x="0" y="3"/>
                    <a:pt x="2" y="6"/>
                    <a:pt x="3" y="8"/>
                  </a:cubicBezTo>
                  <a:cubicBezTo>
                    <a:pt x="5" y="11"/>
                    <a:pt x="7" y="12"/>
                    <a:pt x="11" y="13"/>
                  </a:cubicBezTo>
                  <a:cubicBezTo>
                    <a:pt x="12" y="13"/>
                    <a:pt x="12" y="13"/>
                    <a:pt x="12" y="13"/>
                  </a:cubicBezTo>
                  <a:cubicBezTo>
                    <a:pt x="13" y="13"/>
                    <a:pt x="14" y="13"/>
                    <a:pt x="14" y="13"/>
                  </a:cubicBezTo>
                  <a:cubicBezTo>
                    <a:pt x="15" y="13"/>
                    <a:pt x="16" y="13"/>
                    <a:pt x="16" y="13"/>
                  </a:cubicBezTo>
                  <a:cubicBezTo>
                    <a:pt x="17" y="13"/>
                    <a:pt x="18" y="13"/>
                    <a:pt x="18" y="13"/>
                  </a:cubicBezTo>
                  <a:cubicBezTo>
                    <a:pt x="19" y="13"/>
                    <a:pt x="20" y="14"/>
                    <a:pt x="21" y="15"/>
                  </a:cubicBezTo>
                  <a:cubicBezTo>
                    <a:pt x="22" y="15"/>
                    <a:pt x="24" y="15"/>
                    <a:pt x="26" y="16"/>
                  </a:cubicBezTo>
                  <a:cubicBezTo>
                    <a:pt x="27" y="14"/>
                    <a:pt x="29" y="13"/>
                    <a:pt x="29" y="11"/>
                  </a:cubicBezTo>
                  <a:cubicBezTo>
                    <a:pt x="27" y="10"/>
                    <a:pt x="27" y="10"/>
                    <a:pt x="27" y="10"/>
                  </a:cubicBezTo>
                  <a:cubicBezTo>
                    <a:pt x="27" y="9"/>
                    <a:pt x="26" y="7"/>
                    <a:pt x="24" y="6"/>
                  </a:cubicBezTo>
                  <a:cubicBezTo>
                    <a:pt x="21" y="4"/>
                    <a:pt x="18" y="3"/>
                    <a:pt x="15" y="3"/>
                  </a:cubicBezTo>
                  <a:cubicBezTo>
                    <a:pt x="15" y="3"/>
                    <a:pt x="15" y="3"/>
                    <a:pt x="15" y="3"/>
                  </a:cubicBezTo>
                  <a:cubicBezTo>
                    <a:pt x="14" y="3"/>
                    <a:pt x="14" y="3"/>
                    <a:pt x="13" y="3"/>
                  </a:cubicBezTo>
                  <a:cubicBezTo>
                    <a:pt x="13" y="3"/>
                    <a:pt x="13" y="3"/>
                    <a:pt x="12" y="3"/>
                  </a:cubicBezTo>
                  <a:cubicBezTo>
                    <a:pt x="12" y="3"/>
                    <a:pt x="12" y="3"/>
                    <a:pt x="12" y="3"/>
                  </a:cubicBezTo>
                  <a:cubicBezTo>
                    <a:pt x="10" y="3"/>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1340"/>
            <p:cNvSpPr/>
            <p:nvPr/>
          </p:nvSpPr>
          <p:spPr bwMode="auto">
            <a:xfrm>
              <a:off x="7443251" y="5608284"/>
              <a:ext cx="12081" cy="34901"/>
            </a:xfrm>
            <a:custGeom>
              <a:gdLst>
                <a:gd name="T0" fmla="*/ 0 w 4"/>
                <a:gd name="T1" fmla="*/ 0 h 11"/>
                <a:gd name="T2" fmla="*/ 4 w 4"/>
                <a:gd name="T3" fmla="*/ 11 h 11"/>
                <a:gd name="T4" fmla="*/ 0 w 4"/>
                <a:gd name="T5" fmla="*/ 0 h 11"/>
              </a:gdLst>
              <a:cxnLst>
                <a:cxn ang="0">
                  <a:pos x="T0" y="T1"/>
                </a:cxn>
                <a:cxn ang="0">
                  <a:pos x="T2" y="T3"/>
                </a:cxn>
                <a:cxn ang="0">
                  <a:pos x="T4" y="T5"/>
                </a:cxn>
              </a:cxnLst>
              <a:rect l="0" t="0" r="r" b="b"/>
              <a:pathLst>
                <a:path w="4" h="11">
                  <a:moveTo>
                    <a:pt x="0" y="0"/>
                  </a:moveTo>
                  <a:cubicBezTo>
                    <a:pt x="1" y="4"/>
                    <a:pt x="3" y="8"/>
                    <a:pt x="4" y="11"/>
                  </a:cubicBezTo>
                  <a:cubicBezTo>
                    <a:pt x="4" y="7"/>
                    <a:pt x="3"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7" name="Freeform 1341"/>
            <p:cNvSpPr/>
            <p:nvPr/>
          </p:nvSpPr>
          <p:spPr bwMode="auto">
            <a:xfrm>
              <a:off x="7310359" y="5538483"/>
              <a:ext cx="5369" cy="12081"/>
            </a:xfrm>
            <a:custGeom>
              <a:gdLst>
                <a:gd name="T0" fmla="*/ 0 w 2"/>
                <a:gd name="T1" fmla="*/ 0 h 4"/>
                <a:gd name="T2" fmla="*/ 2 w 2"/>
                <a:gd name="T3" fmla="*/ 4 h 4"/>
                <a:gd name="T4" fmla="*/ 1 w 2"/>
                <a:gd name="T5" fmla="*/ 0 h 4"/>
                <a:gd name="T6" fmla="*/ 0 w 2"/>
                <a:gd name="T7" fmla="*/ 0 h 4"/>
                <a:gd name="T8" fmla="*/ 0 w 2"/>
                <a:gd name="T9" fmla="*/ 0 h 4"/>
              </a:gdLst>
              <a:cxnLst>
                <a:cxn ang="0">
                  <a:pos x="T0" y="T1"/>
                </a:cxn>
                <a:cxn ang="0">
                  <a:pos x="T2" y="T3"/>
                </a:cxn>
                <a:cxn ang="0">
                  <a:pos x="T4" y="T5"/>
                </a:cxn>
                <a:cxn ang="0">
                  <a:pos x="T6" y="T7"/>
                </a:cxn>
                <a:cxn ang="0">
                  <a:pos x="T8" y="T9"/>
                </a:cxn>
              </a:cxnLst>
              <a:rect l="0" t="0" r="r" b="b"/>
              <a:pathLst>
                <a:path w="2" h="4">
                  <a:moveTo>
                    <a:pt x="0" y="0"/>
                  </a:moveTo>
                  <a:cubicBezTo>
                    <a:pt x="0" y="1"/>
                    <a:pt x="1" y="2"/>
                    <a:pt x="2" y="4"/>
                  </a:cubicBezTo>
                  <a:cubicBezTo>
                    <a:pt x="1" y="2"/>
                    <a:pt x="2" y="1"/>
                    <a:pt x="1" y="0"/>
                  </a:cubicBezTo>
                  <a:cubicBezTo>
                    <a:pt x="1"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1342"/>
            <p:cNvSpPr/>
            <p:nvPr/>
          </p:nvSpPr>
          <p:spPr bwMode="auto">
            <a:xfrm>
              <a:off x="7215054" y="5474051"/>
              <a:ext cx="16108" cy="10739"/>
            </a:xfrm>
            <a:custGeom>
              <a:gdLst>
                <a:gd name="T0" fmla="*/ 1 w 5"/>
                <a:gd name="T1" fmla="*/ 0 h 3"/>
                <a:gd name="T2" fmla="*/ 0 w 5"/>
                <a:gd name="T3" fmla="*/ 1 h 3"/>
                <a:gd name="T4" fmla="*/ 5 w 5"/>
                <a:gd name="T5" fmla="*/ 3 h 3"/>
                <a:gd name="T6" fmla="*/ 1 w 5"/>
                <a:gd name="T7" fmla="*/ 0 h 3"/>
              </a:gdLst>
              <a:cxnLst>
                <a:cxn ang="0">
                  <a:pos x="T0" y="T1"/>
                </a:cxn>
                <a:cxn ang="0">
                  <a:pos x="T2" y="T3"/>
                </a:cxn>
                <a:cxn ang="0">
                  <a:pos x="T4" y="T5"/>
                </a:cxn>
                <a:cxn ang="0">
                  <a:pos x="T6" y="T7"/>
                </a:cxn>
              </a:cxnLst>
              <a:rect l="0" t="0" r="r" b="b"/>
              <a:pathLst>
                <a:path w="5" h="3">
                  <a:moveTo>
                    <a:pt x="1" y="0"/>
                  </a:moveTo>
                  <a:cubicBezTo>
                    <a:pt x="1" y="0"/>
                    <a:pt x="0" y="1"/>
                    <a:pt x="0" y="1"/>
                  </a:cubicBezTo>
                  <a:cubicBezTo>
                    <a:pt x="2" y="1"/>
                    <a:pt x="3" y="2"/>
                    <a:pt x="5" y="3"/>
                  </a:cubicBezTo>
                  <a:cubicBezTo>
                    <a:pt x="3"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9" name="Freeform 1343"/>
            <p:cNvSpPr/>
            <p:nvPr/>
          </p:nvSpPr>
          <p:spPr bwMode="auto">
            <a:xfrm>
              <a:off x="7106324" y="5496870"/>
              <a:ext cx="25504" cy="22820"/>
            </a:xfrm>
            <a:custGeom>
              <a:gdLst>
                <a:gd name="T0" fmla="*/ 5 w 8"/>
                <a:gd name="T1" fmla="*/ 0 h 7"/>
                <a:gd name="T2" fmla="*/ 2 w 8"/>
                <a:gd name="T3" fmla="*/ 2 h 7"/>
                <a:gd name="T4" fmla="*/ 7 w 8"/>
                <a:gd name="T5" fmla="*/ 7 h 7"/>
                <a:gd name="T6" fmla="*/ 6 w 8"/>
                <a:gd name="T7" fmla="*/ 1 h 7"/>
                <a:gd name="T8" fmla="*/ 5 w 8"/>
                <a:gd name="T9" fmla="*/ 0 h 7"/>
              </a:gdLst>
              <a:cxnLst>
                <a:cxn ang="0">
                  <a:pos x="T0" y="T1"/>
                </a:cxn>
                <a:cxn ang="0">
                  <a:pos x="T2" y="T3"/>
                </a:cxn>
                <a:cxn ang="0">
                  <a:pos x="T4" y="T5"/>
                </a:cxn>
                <a:cxn ang="0">
                  <a:pos x="T6" y="T7"/>
                </a:cxn>
                <a:cxn ang="0">
                  <a:pos x="T8" y="T9"/>
                </a:cxn>
              </a:cxnLst>
              <a:rect l="0" t="0" r="r" b="b"/>
              <a:pathLst>
                <a:path w="8" h="7">
                  <a:moveTo>
                    <a:pt x="5" y="0"/>
                  </a:moveTo>
                  <a:cubicBezTo>
                    <a:pt x="4" y="0"/>
                    <a:pt x="3" y="1"/>
                    <a:pt x="2" y="2"/>
                  </a:cubicBezTo>
                  <a:cubicBezTo>
                    <a:pt x="0" y="4"/>
                    <a:pt x="5" y="6"/>
                    <a:pt x="7" y="7"/>
                  </a:cubicBezTo>
                  <a:cubicBezTo>
                    <a:pt x="8" y="6"/>
                    <a:pt x="8" y="2"/>
                    <a:pt x="6"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1344"/>
            <p:cNvSpPr/>
            <p:nvPr/>
          </p:nvSpPr>
          <p:spPr bwMode="auto">
            <a:xfrm>
              <a:off x="7205657" y="5559960"/>
              <a:ext cx="2685" cy="9396"/>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1345"/>
            <p:cNvSpPr/>
            <p:nvPr/>
          </p:nvSpPr>
          <p:spPr bwMode="auto">
            <a:xfrm>
              <a:off x="7021757" y="5429753"/>
              <a:ext cx="18793" cy="13423"/>
            </a:xfrm>
            <a:custGeom>
              <a:gdLst>
                <a:gd name="T0" fmla="*/ 0 w 6"/>
                <a:gd name="T1" fmla="*/ 0 h 4"/>
                <a:gd name="T2" fmla="*/ 1 w 6"/>
                <a:gd name="T3" fmla="*/ 4 h 4"/>
                <a:gd name="T4" fmla="*/ 0 w 6"/>
                <a:gd name="T5" fmla="*/ 0 h 4"/>
              </a:gdLst>
              <a:cxnLst>
                <a:cxn ang="0">
                  <a:pos x="T0" y="T1"/>
                </a:cxn>
                <a:cxn ang="0">
                  <a:pos x="T2" y="T3"/>
                </a:cxn>
                <a:cxn ang="0">
                  <a:pos x="T4" y="T5"/>
                </a:cxn>
              </a:cxnLst>
              <a:rect l="0" t="0" r="r" b="b"/>
              <a:pathLst>
                <a:path w="6" h="4">
                  <a:moveTo>
                    <a:pt x="0" y="0"/>
                  </a:moveTo>
                  <a:cubicBezTo>
                    <a:pt x="0" y="2"/>
                    <a:pt x="1" y="3"/>
                    <a:pt x="1" y="4"/>
                  </a:cubicBezTo>
                  <a:cubicBezTo>
                    <a:pt x="6"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1346"/>
            <p:cNvSpPr/>
            <p:nvPr/>
          </p:nvSpPr>
          <p:spPr bwMode="auto">
            <a:xfrm>
              <a:off x="7357341" y="5592176"/>
              <a:ext cx="13423" cy="6712"/>
            </a:xfrm>
            <a:custGeom>
              <a:gdLst>
                <a:gd name="T0" fmla="*/ 3 w 4"/>
                <a:gd name="T1" fmla="*/ 0 h 2"/>
                <a:gd name="T2" fmla="*/ 0 w 4"/>
                <a:gd name="T3" fmla="*/ 2 h 2"/>
                <a:gd name="T4" fmla="*/ 1 w 4"/>
                <a:gd name="T5" fmla="*/ 2 h 2"/>
                <a:gd name="T6" fmla="*/ 4 w 4"/>
                <a:gd name="T7" fmla="*/ 1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1" y="1"/>
                    <a:pt x="0" y="2"/>
                  </a:cubicBezTo>
                  <a:cubicBezTo>
                    <a:pt x="1" y="2"/>
                    <a:pt x="1" y="2"/>
                    <a:pt x="1" y="2"/>
                  </a:cubicBezTo>
                  <a:cubicBezTo>
                    <a:pt x="3" y="2"/>
                    <a:pt x="3" y="2"/>
                    <a:pt x="4"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1347"/>
            <p:cNvSpPr/>
            <p:nvPr/>
          </p:nvSpPr>
          <p:spPr bwMode="auto">
            <a:xfrm>
              <a:off x="7119748" y="5522375"/>
              <a:ext cx="9396" cy="12081"/>
            </a:xfrm>
            <a:custGeom>
              <a:gdLst>
                <a:gd name="T0" fmla="*/ 0 w 3"/>
                <a:gd name="T1" fmla="*/ 0 h 4"/>
                <a:gd name="T2" fmla="*/ 0 w 3"/>
                <a:gd name="T3" fmla="*/ 0 h 4"/>
                <a:gd name="T4" fmla="*/ 3 w 3"/>
                <a:gd name="T5" fmla="*/ 4 h 4"/>
                <a:gd name="T6" fmla="*/ 0 w 3"/>
                <a:gd name="T7" fmla="*/ 0 h 4"/>
              </a:gdLst>
              <a:cxnLst>
                <a:cxn ang="0">
                  <a:pos x="T0" y="T1"/>
                </a:cxn>
                <a:cxn ang="0">
                  <a:pos x="T2" y="T3"/>
                </a:cxn>
                <a:cxn ang="0">
                  <a:pos x="T4" y="T5"/>
                </a:cxn>
                <a:cxn ang="0">
                  <a:pos x="T6" y="T7"/>
                </a:cxn>
              </a:cxnLst>
              <a:rect l="0" t="0" r="r" b="b"/>
              <a:pathLst>
                <a:path w="3" h="4">
                  <a:moveTo>
                    <a:pt x="0" y="0"/>
                  </a:moveTo>
                  <a:cubicBezTo>
                    <a:pt x="0" y="0"/>
                    <a:pt x="0" y="0"/>
                    <a:pt x="0" y="0"/>
                  </a:cubicBezTo>
                  <a:cubicBezTo>
                    <a:pt x="1" y="1"/>
                    <a:pt x="2" y="3"/>
                    <a:pt x="3"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1348"/>
            <p:cNvSpPr/>
            <p:nvPr/>
          </p:nvSpPr>
          <p:spPr bwMode="auto">
            <a:xfrm>
              <a:off x="7347945" y="5582780"/>
              <a:ext cx="16108" cy="9396"/>
            </a:xfrm>
            <a:custGeom>
              <a:gdLst>
                <a:gd name="T0" fmla="*/ 2 w 5"/>
                <a:gd name="T1" fmla="*/ 0 h 3"/>
                <a:gd name="T2" fmla="*/ 0 w 5"/>
                <a:gd name="T3" fmla="*/ 1 h 3"/>
                <a:gd name="T4" fmla="*/ 4 w 5"/>
                <a:gd name="T5" fmla="*/ 3 h 3"/>
                <a:gd name="T6" fmla="*/ 2 w 5"/>
                <a:gd name="T7" fmla="*/ 0 h 3"/>
              </a:gdLst>
              <a:cxnLst>
                <a:cxn ang="0">
                  <a:pos x="T0" y="T1"/>
                </a:cxn>
                <a:cxn ang="0">
                  <a:pos x="T2" y="T3"/>
                </a:cxn>
                <a:cxn ang="0">
                  <a:pos x="T4" y="T5"/>
                </a:cxn>
                <a:cxn ang="0">
                  <a:pos x="T6" y="T7"/>
                </a:cxn>
              </a:cxnLst>
              <a:rect l="0" t="0" r="r" b="b"/>
              <a:pathLst>
                <a:path w="5" h="3">
                  <a:moveTo>
                    <a:pt x="2" y="0"/>
                  </a:moveTo>
                  <a:cubicBezTo>
                    <a:pt x="1" y="0"/>
                    <a:pt x="0" y="1"/>
                    <a:pt x="0" y="1"/>
                  </a:cubicBezTo>
                  <a:cubicBezTo>
                    <a:pt x="1" y="2"/>
                    <a:pt x="2" y="3"/>
                    <a:pt x="4" y="3"/>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Freeform 1349"/>
            <p:cNvSpPr>
              <a:spLocks noEditPoints="1"/>
            </p:cNvSpPr>
            <p:nvPr/>
          </p:nvSpPr>
          <p:spPr bwMode="auto">
            <a:xfrm>
              <a:off x="7182838" y="5547879"/>
              <a:ext cx="18793" cy="18793"/>
            </a:xfrm>
            <a:custGeom>
              <a:gdLst>
                <a:gd name="T0" fmla="*/ 6 w 6"/>
                <a:gd name="T1" fmla="*/ 1 h 6"/>
                <a:gd name="T2" fmla="*/ 6 w 6"/>
                <a:gd name="T3" fmla="*/ 1 h 6"/>
                <a:gd name="T4" fmla="*/ 6 w 6"/>
                <a:gd name="T5" fmla="*/ 1 h 6"/>
                <a:gd name="T6" fmla="*/ 4 w 6"/>
                <a:gd name="T7" fmla="*/ 0 h 6"/>
                <a:gd name="T8" fmla="*/ 0 w 6"/>
                <a:gd name="T9" fmla="*/ 1 h 6"/>
                <a:gd name="T10" fmla="*/ 2 w 6"/>
                <a:gd name="T11" fmla="*/ 6 h 6"/>
                <a:gd name="T12" fmla="*/ 5 w 6"/>
                <a:gd name="T13" fmla="*/ 3 h 6"/>
                <a:gd name="T14" fmla="*/ 5 w 6"/>
                <a:gd name="T15" fmla="*/ 3 h 6"/>
                <a:gd name="T16" fmla="*/ 5 w 6"/>
                <a:gd name="T17" fmla="*/ 2 h 6"/>
                <a:gd name="T18" fmla="*/ 6 w 6"/>
                <a:gd name="T19" fmla="*/ 1 h 6"/>
                <a:gd name="T20" fmla="*/ 6 w 6"/>
                <a:gd name="T21" fmla="*/ 1 h 6"/>
                <a:gd name="T22" fmla="*/ 4 w 6"/>
                <a:gd name="T23"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6" y="1"/>
                  </a:moveTo>
                  <a:cubicBezTo>
                    <a:pt x="6" y="1"/>
                    <a:pt x="6" y="1"/>
                    <a:pt x="6" y="1"/>
                  </a:cubicBezTo>
                  <a:cubicBezTo>
                    <a:pt x="6" y="1"/>
                    <a:pt x="6" y="1"/>
                    <a:pt x="6" y="1"/>
                  </a:cubicBezTo>
                  <a:moveTo>
                    <a:pt x="4" y="0"/>
                  </a:moveTo>
                  <a:cubicBezTo>
                    <a:pt x="2" y="0"/>
                    <a:pt x="1" y="0"/>
                    <a:pt x="0" y="1"/>
                  </a:cubicBezTo>
                  <a:cubicBezTo>
                    <a:pt x="1" y="3"/>
                    <a:pt x="2" y="4"/>
                    <a:pt x="2" y="6"/>
                  </a:cubicBezTo>
                  <a:cubicBezTo>
                    <a:pt x="5" y="4"/>
                    <a:pt x="4" y="5"/>
                    <a:pt x="5" y="3"/>
                  </a:cubicBezTo>
                  <a:cubicBezTo>
                    <a:pt x="5" y="3"/>
                    <a:pt x="5" y="3"/>
                    <a:pt x="5" y="3"/>
                  </a:cubicBezTo>
                  <a:cubicBezTo>
                    <a:pt x="5" y="3"/>
                    <a:pt x="5" y="2"/>
                    <a:pt x="5" y="2"/>
                  </a:cubicBezTo>
                  <a:cubicBezTo>
                    <a:pt x="5" y="2"/>
                    <a:pt x="6" y="1"/>
                    <a:pt x="6" y="1"/>
                  </a:cubicBezTo>
                  <a:cubicBezTo>
                    <a:pt x="6" y="1"/>
                    <a:pt x="6" y="1"/>
                    <a:pt x="6"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350"/>
            <p:cNvSpPr/>
            <p:nvPr/>
          </p:nvSpPr>
          <p:spPr bwMode="auto">
            <a:xfrm>
              <a:off x="7084847" y="5478078"/>
              <a:ext cx="18793" cy="25504"/>
            </a:xfrm>
            <a:custGeom>
              <a:gdLst>
                <a:gd name="T0" fmla="*/ 0 w 6"/>
                <a:gd name="T1" fmla="*/ 0 h 8"/>
                <a:gd name="T2" fmla="*/ 3 w 6"/>
                <a:gd name="T3" fmla="*/ 8 h 8"/>
                <a:gd name="T4" fmla="*/ 5 w 6"/>
                <a:gd name="T5" fmla="*/ 3 h 8"/>
                <a:gd name="T6" fmla="*/ 0 w 6"/>
                <a:gd name="T7" fmla="*/ 0 h 8"/>
              </a:gdLst>
              <a:cxnLst>
                <a:cxn ang="0">
                  <a:pos x="T0" y="T1"/>
                </a:cxn>
                <a:cxn ang="0">
                  <a:pos x="T2" y="T3"/>
                </a:cxn>
                <a:cxn ang="0">
                  <a:pos x="T4" y="T5"/>
                </a:cxn>
                <a:cxn ang="0">
                  <a:pos x="T6" y="T7"/>
                </a:cxn>
              </a:cxnLst>
              <a:rect l="0" t="0" r="r" b="b"/>
              <a:pathLst>
                <a:path w="6" h="8">
                  <a:moveTo>
                    <a:pt x="0" y="0"/>
                  </a:moveTo>
                  <a:cubicBezTo>
                    <a:pt x="0" y="3"/>
                    <a:pt x="2" y="6"/>
                    <a:pt x="3" y="8"/>
                  </a:cubicBezTo>
                  <a:cubicBezTo>
                    <a:pt x="3" y="5"/>
                    <a:pt x="6" y="5"/>
                    <a:pt x="5" y="3"/>
                  </a:cubicBezTo>
                  <a:cubicBezTo>
                    <a:pt x="5"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1351"/>
            <p:cNvSpPr/>
            <p:nvPr/>
          </p:nvSpPr>
          <p:spPr bwMode="auto">
            <a:xfrm>
              <a:off x="7338548" y="5769365"/>
              <a:ext cx="51009" cy="29531"/>
            </a:xfrm>
            <a:custGeom>
              <a:gdLst>
                <a:gd name="T0" fmla="*/ 1 w 16"/>
                <a:gd name="T1" fmla="*/ 0 h 9"/>
                <a:gd name="T2" fmla="*/ 0 w 16"/>
                <a:gd name="T3" fmla="*/ 1 h 9"/>
                <a:gd name="T4" fmla="*/ 12 w 16"/>
                <a:gd name="T5" fmla="*/ 9 h 9"/>
                <a:gd name="T6" fmla="*/ 7 w 16"/>
                <a:gd name="T7" fmla="*/ 3 h 9"/>
                <a:gd name="T8" fmla="*/ 1 w 16"/>
                <a:gd name="T9" fmla="*/ 0 h 9"/>
              </a:gdLst>
              <a:cxnLst>
                <a:cxn ang="0">
                  <a:pos x="T0" y="T1"/>
                </a:cxn>
                <a:cxn ang="0">
                  <a:pos x="T2" y="T3"/>
                </a:cxn>
                <a:cxn ang="0">
                  <a:pos x="T4" y="T5"/>
                </a:cxn>
                <a:cxn ang="0">
                  <a:pos x="T6" y="T7"/>
                </a:cxn>
                <a:cxn ang="0">
                  <a:pos x="T8" y="T9"/>
                </a:cxn>
              </a:cxnLst>
              <a:rect l="0" t="0" r="r" b="b"/>
              <a:pathLst>
                <a:path w="16" h="9">
                  <a:moveTo>
                    <a:pt x="1" y="0"/>
                  </a:moveTo>
                  <a:cubicBezTo>
                    <a:pt x="1" y="0"/>
                    <a:pt x="0" y="0"/>
                    <a:pt x="0" y="1"/>
                  </a:cubicBezTo>
                  <a:cubicBezTo>
                    <a:pt x="4" y="4"/>
                    <a:pt x="8" y="6"/>
                    <a:pt x="12" y="9"/>
                  </a:cubicBezTo>
                  <a:cubicBezTo>
                    <a:pt x="16" y="7"/>
                    <a:pt x="8" y="4"/>
                    <a:pt x="7" y="3"/>
                  </a:cubicBezTo>
                  <a:cubicBezTo>
                    <a:pt x="5"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1352"/>
            <p:cNvSpPr/>
            <p:nvPr/>
          </p:nvSpPr>
          <p:spPr bwMode="auto">
            <a:xfrm>
              <a:off x="2724941" y="4147822"/>
              <a:ext cx="6712" cy="9396"/>
            </a:xfrm>
            <a:custGeom>
              <a:gdLst>
                <a:gd name="T0" fmla="*/ 1 w 2"/>
                <a:gd name="T1" fmla="*/ 0 h 3"/>
                <a:gd name="T2" fmla="*/ 0 w 2"/>
                <a:gd name="T3" fmla="*/ 3 h 3"/>
                <a:gd name="T4" fmla="*/ 1 w 2"/>
                <a:gd name="T5" fmla="*/ 0 h 3"/>
              </a:gdLst>
              <a:cxnLst>
                <a:cxn ang="0">
                  <a:pos x="T0" y="T1"/>
                </a:cxn>
                <a:cxn ang="0">
                  <a:pos x="T2" y="T3"/>
                </a:cxn>
                <a:cxn ang="0">
                  <a:pos x="T4" y="T5"/>
                </a:cxn>
              </a:cxnLst>
              <a:rect l="0" t="0" r="r" b="b"/>
              <a:pathLst>
                <a:path w="2" h="3">
                  <a:moveTo>
                    <a:pt x="1" y="0"/>
                  </a:moveTo>
                  <a:cubicBezTo>
                    <a:pt x="0" y="1"/>
                    <a:pt x="0" y="2"/>
                    <a:pt x="0" y="3"/>
                  </a:cubicBezTo>
                  <a:cubicBezTo>
                    <a:pt x="1"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Freeform 1353"/>
            <p:cNvSpPr/>
            <p:nvPr/>
          </p:nvSpPr>
          <p:spPr bwMode="auto">
            <a:xfrm>
              <a:off x="2728968" y="4157218"/>
              <a:ext cx="2685" cy="6712"/>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1" y="1"/>
                    <a:pt x="0" y="2"/>
                    <a:pt x="0" y="2"/>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1354"/>
            <p:cNvSpPr/>
            <p:nvPr/>
          </p:nvSpPr>
          <p:spPr bwMode="auto">
            <a:xfrm>
              <a:off x="2671248" y="3665923"/>
              <a:ext cx="6712" cy="21477"/>
            </a:xfrm>
            <a:custGeom>
              <a:gdLst>
                <a:gd name="T0" fmla="*/ 2 w 2"/>
                <a:gd name="T1" fmla="*/ 0 h 7"/>
                <a:gd name="T2" fmla="*/ 2 w 2"/>
                <a:gd name="T3" fmla="*/ 7 h 7"/>
                <a:gd name="T4" fmla="*/ 2 w 2"/>
                <a:gd name="T5" fmla="*/ 0 h 7"/>
              </a:gdLst>
              <a:cxnLst>
                <a:cxn ang="0">
                  <a:pos x="T0" y="T1"/>
                </a:cxn>
                <a:cxn ang="0">
                  <a:pos x="T2" y="T3"/>
                </a:cxn>
                <a:cxn ang="0">
                  <a:pos x="T4" y="T5"/>
                </a:cxn>
              </a:cxnLst>
              <a:rect l="0" t="0" r="r" b="b"/>
              <a:pathLst>
                <a:path w="2" h="7">
                  <a:moveTo>
                    <a:pt x="2" y="0"/>
                  </a:moveTo>
                  <a:cubicBezTo>
                    <a:pt x="0" y="2"/>
                    <a:pt x="0" y="6"/>
                    <a:pt x="2" y="7"/>
                  </a:cubicBezTo>
                  <a:cubicBezTo>
                    <a:pt x="2" y="5"/>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1355"/>
            <p:cNvSpPr/>
            <p:nvPr/>
          </p:nvSpPr>
          <p:spPr bwMode="auto">
            <a:xfrm>
              <a:off x="2712860" y="4024327"/>
              <a:ext cx="2685" cy="9396"/>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1" y="1"/>
                    <a:pt x="1" y="2"/>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1356"/>
            <p:cNvSpPr/>
            <p:nvPr/>
          </p:nvSpPr>
          <p:spPr bwMode="auto">
            <a:xfrm>
              <a:off x="2731653" y="3916940"/>
              <a:ext cx="2685" cy="18793"/>
            </a:xfrm>
            <a:custGeom>
              <a:gdLst>
                <a:gd name="T0" fmla="*/ 0 w 1"/>
                <a:gd name="T1" fmla="*/ 0 h 6"/>
                <a:gd name="T2" fmla="*/ 0 w 1"/>
                <a:gd name="T3" fmla="*/ 5 h 6"/>
                <a:gd name="T4" fmla="*/ 1 w 1"/>
                <a:gd name="T5" fmla="*/ 6 h 6"/>
                <a:gd name="T6" fmla="*/ 1 w 1"/>
                <a:gd name="T7" fmla="*/ 4 h 6"/>
                <a:gd name="T8" fmla="*/ 0 w 1"/>
                <a:gd name="T9" fmla="*/ 0 h 6"/>
              </a:gdLst>
              <a:cxnLst>
                <a:cxn ang="0">
                  <a:pos x="T0" y="T1"/>
                </a:cxn>
                <a:cxn ang="0">
                  <a:pos x="T2" y="T3"/>
                </a:cxn>
                <a:cxn ang="0">
                  <a:pos x="T4" y="T5"/>
                </a:cxn>
                <a:cxn ang="0">
                  <a:pos x="T6" y="T7"/>
                </a:cxn>
                <a:cxn ang="0">
                  <a:pos x="T8" y="T9"/>
                </a:cxn>
              </a:cxnLst>
              <a:rect l="0" t="0" r="r" b="b"/>
              <a:pathLst>
                <a:path w="1" h="6">
                  <a:moveTo>
                    <a:pt x="0" y="0"/>
                  </a:moveTo>
                  <a:cubicBezTo>
                    <a:pt x="0" y="2"/>
                    <a:pt x="0" y="4"/>
                    <a:pt x="0" y="5"/>
                  </a:cubicBezTo>
                  <a:cubicBezTo>
                    <a:pt x="1" y="6"/>
                    <a:pt x="1" y="6"/>
                    <a:pt x="1" y="6"/>
                  </a:cubicBezTo>
                  <a:cubicBezTo>
                    <a:pt x="1" y="5"/>
                    <a:pt x="1" y="5"/>
                    <a:pt x="1" y="4"/>
                  </a:cubicBezTo>
                  <a:cubicBezTo>
                    <a:pt x="1" y="3"/>
                    <a:pt x="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1357"/>
            <p:cNvSpPr/>
            <p:nvPr/>
          </p:nvSpPr>
          <p:spPr bwMode="auto">
            <a:xfrm>
              <a:off x="2734337" y="3957210"/>
              <a:ext cx="16108" cy="25504"/>
            </a:xfrm>
            <a:custGeom>
              <a:gdLst>
                <a:gd name="T0" fmla="*/ 0 w 5"/>
                <a:gd name="T1" fmla="*/ 0 h 8"/>
                <a:gd name="T2" fmla="*/ 0 w 5"/>
                <a:gd name="T3" fmla="*/ 0 h 8"/>
                <a:gd name="T4" fmla="*/ 0 w 5"/>
                <a:gd name="T5" fmla="*/ 8 h 8"/>
                <a:gd name="T6" fmla="*/ 1 w 5"/>
                <a:gd name="T7" fmla="*/ 0 h 8"/>
                <a:gd name="T8" fmla="*/ 0 w 5"/>
                <a:gd name="T9" fmla="*/ 0 h 8"/>
              </a:gdLst>
              <a:cxnLst>
                <a:cxn ang="0">
                  <a:pos x="T0" y="T1"/>
                </a:cxn>
                <a:cxn ang="0">
                  <a:pos x="T2" y="T3"/>
                </a:cxn>
                <a:cxn ang="0">
                  <a:pos x="T4" y="T5"/>
                </a:cxn>
                <a:cxn ang="0">
                  <a:pos x="T6" y="T7"/>
                </a:cxn>
                <a:cxn ang="0">
                  <a:pos x="T8" y="T9"/>
                </a:cxn>
              </a:cxnLst>
              <a:rect l="0" t="0" r="r" b="b"/>
              <a:pathLst>
                <a:path w="5" h="8">
                  <a:moveTo>
                    <a:pt x="0" y="0"/>
                  </a:moveTo>
                  <a:cubicBezTo>
                    <a:pt x="0" y="0"/>
                    <a:pt x="0" y="0"/>
                    <a:pt x="0" y="0"/>
                  </a:cubicBezTo>
                  <a:cubicBezTo>
                    <a:pt x="0" y="3"/>
                    <a:pt x="0" y="5"/>
                    <a:pt x="0" y="8"/>
                  </a:cubicBezTo>
                  <a:cubicBezTo>
                    <a:pt x="5" y="7"/>
                    <a:pt x="5"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1358"/>
            <p:cNvSpPr/>
            <p:nvPr/>
          </p:nvSpPr>
          <p:spPr bwMode="auto">
            <a:xfrm>
              <a:off x="2724941" y="4024327"/>
              <a:ext cx="13423" cy="25504"/>
            </a:xfrm>
            <a:custGeom>
              <a:gdLst>
                <a:gd name="T0" fmla="*/ 3 w 4"/>
                <a:gd name="T1" fmla="*/ 0 h 8"/>
                <a:gd name="T2" fmla="*/ 0 w 4"/>
                <a:gd name="T3" fmla="*/ 8 h 8"/>
                <a:gd name="T4" fmla="*/ 3 w 4"/>
                <a:gd name="T5" fmla="*/ 4 h 8"/>
                <a:gd name="T6" fmla="*/ 3 w 4"/>
                <a:gd name="T7" fmla="*/ 0 h 8"/>
              </a:gdLst>
              <a:cxnLst>
                <a:cxn ang="0">
                  <a:pos x="T0" y="T1"/>
                </a:cxn>
                <a:cxn ang="0">
                  <a:pos x="T2" y="T3"/>
                </a:cxn>
                <a:cxn ang="0">
                  <a:pos x="T4" y="T5"/>
                </a:cxn>
                <a:cxn ang="0">
                  <a:pos x="T6" y="T7"/>
                </a:cxn>
              </a:cxnLst>
              <a:rect l="0" t="0" r="r" b="b"/>
              <a:pathLst>
                <a:path w="4" h="8">
                  <a:moveTo>
                    <a:pt x="3" y="0"/>
                  </a:moveTo>
                  <a:cubicBezTo>
                    <a:pt x="1" y="3"/>
                    <a:pt x="1" y="6"/>
                    <a:pt x="0" y="8"/>
                  </a:cubicBezTo>
                  <a:cubicBezTo>
                    <a:pt x="3" y="8"/>
                    <a:pt x="2" y="7"/>
                    <a:pt x="3" y="4"/>
                  </a:cubicBezTo>
                  <a:cubicBezTo>
                    <a:pt x="3"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1359"/>
            <p:cNvSpPr/>
            <p:nvPr/>
          </p:nvSpPr>
          <p:spPr bwMode="auto">
            <a:xfrm>
              <a:off x="2738364" y="4024327"/>
              <a:ext cx="14766" cy="22820"/>
            </a:xfrm>
            <a:custGeom>
              <a:gdLst>
                <a:gd name="T0" fmla="*/ 3 w 5"/>
                <a:gd name="T1" fmla="*/ 0 h 7"/>
                <a:gd name="T2" fmla="*/ 1 w 5"/>
                <a:gd name="T3" fmla="*/ 0 h 7"/>
                <a:gd name="T4" fmla="*/ 2 w 5"/>
                <a:gd name="T5" fmla="*/ 4 h 7"/>
                <a:gd name="T6" fmla="*/ 2 w 5"/>
                <a:gd name="T7" fmla="*/ 5 h 7"/>
                <a:gd name="T8" fmla="*/ 4 w 5"/>
                <a:gd name="T9" fmla="*/ 7 h 7"/>
                <a:gd name="T10" fmla="*/ 5 w 5"/>
                <a:gd name="T11" fmla="*/ 1 h 7"/>
                <a:gd name="T12" fmla="*/ 5 w 5"/>
                <a:gd name="T13" fmla="*/ 1 h 7"/>
                <a:gd name="T14" fmla="*/ 3 w 5"/>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3" y="0"/>
                  </a:moveTo>
                  <a:cubicBezTo>
                    <a:pt x="3" y="0"/>
                    <a:pt x="2" y="0"/>
                    <a:pt x="1" y="0"/>
                  </a:cubicBezTo>
                  <a:cubicBezTo>
                    <a:pt x="0" y="0"/>
                    <a:pt x="1" y="3"/>
                    <a:pt x="2" y="4"/>
                  </a:cubicBezTo>
                  <a:cubicBezTo>
                    <a:pt x="2" y="5"/>
                    <a:pt x="2" y="5"/>
                    <a:pt x="2" y="5"/>
                  </a:cubicBezTo>
                  <a:cubicBezTo>
                    <a:pt x="3" y="5"/>
                    <a:pt x="4" y="6"/>
                    <a:pt x="4" y="7"/>
                  </a:cubicBezTo>
                  <a:cubicBezTo>
                    <a:pt x="4" y="6"/>
                    <a:pt x="5" y="2"/>
                    <a:pt x="5" y="1"/>
                  </a:cubicBezTo>
                  <a:cubicBezTo>
                    <a:pt x="5" y="1"/>
                    <a:pt x="5"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360"/>
            <p:cNvSpPr/>
            <p:nvPr/>
          </p:nvSpPr>
          <p:spPr bwMode="auto">
            <a:xfrm>
              <a:off x="2712860" y="3977345"/>
              <a:ext cx="5369"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0" y="3"/>
                  </a:cubicBezTo>
                  <a:cubicBezTo>
                    <a:pt x="1" y="2"/>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1361"/>
            <p:cNvSpPr/>
            <p:nvPr/>
          </p:nvSpPr>
          <p:spPr bwMode="auto">
            <a:xfrm>
              <a:off x="2150421" y="3182681"/>
              <a:ext cx="34901" cy="57720"/>
            </a:xfrm>
            <a:custGeom>
              <a:gdLst>
                <a:gd name="T0" fmla="*/ 4 w 11"/>
                <a:gd name="T1" fmla="*/ 0 h 18"/>
                <a:gd name="T2" fmla="*/ 4 w 11"/>
                <a:gd name="T3" fmla="*/ 4 h 18"/>
                <a:gd name="T4" fmla="*/ 4 w 11"/>
                <a:gd name="T5" fmla="*/ 11 h 18"/>
                <a:gd name="T6" fmla="*/ 4 w 11"/>
                <a:gd name="T7" fmla="*/ 17 h 18"/>
                <a:gd name="T8" fmla="*/ 4 w 11"/>
                <a:gd name="T9" fmla="*/ 18 h 18"/>
                <a:gd name="T10" fmla="*/ 5 w 11"/>
                <a:gd name="T11" fmla="*/ 18 h 18"/>
                <a:gd name="T12" fmla="*/ 5 w 11"/>
                <a:gd name="T13" fmla="*/ 18 h 18"/>
                <a:gd name="T14" fmla="*/ 6 w 11"/>
                <a:gd name="T15" fmla="*/ 17 h 18"/>
                <a:gd name="T16" fmla="*/ 7 w 11"/>
                <a:gd name="T17" fmla="*/ 16 h 18"/>
                <a:gd name="T18" fmla="*/ 7 w 11"/>
                <a:gd name="T19" fmla="*/ 16 h 18"/>
                <a:gd name="T20" fmla="*/ 5 w 11"/>
                <a:gd name="T21" fmla="*/ 0 h 18"/>
                <a:gd name="T22" fmla="*/ 4 w 11"/>
                <a:gd name="T23"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8">
                  <a:moveTo>
                    <a:pt x="4" y="0"/>
                  </a:moveTo>
                  <a:cubicBezTo>
                    <a:pt x="2" y="0"/>
                    <a:pt x="0" y="3"/>
                    <a:pt x="4" y="4"/>
                  </a:cubicBezTo>
                  <a:cubicBezTo>
                    <a:pt x="4" y="7"/>
                    <a:pt x="5" y="9"/>
                    <a:pt x="4" y="11"/>
                  </a:cubicBezTo>
                  <a:cubicBezTo>
                    <a:pt x="4" y="13"/>
                    <a:pt x="3" y="16"/>
                    <a:pt x="4" y="17"/>
                  </a:cubicBezTo>
                  <a:cubicBezTo>
                    <a:pt x="4" y="18"/>
                    <a:pt x="4" y="18"/>
                    <a:pt x="4" y="18"/>
                  </a:cubicBezTo>
                  <a:cubicBezTo>
                    <a:pt x="4" y="18"/>
                    <a:pt x="4" y="18"/>
                    <a:pt x="5" y="18"/>
                  </a:cubicBezTo>
                  <a:cubicBezTo>
                    <a:pt x="5" y="18"/>
                    <a:pt x="5" y="18"/>
                    <a:pt x="5" y="18"/>
                  </a:cubicBezTo>
                  <a:cubicBezTo>
                    <a:pt x="5" y="18"/>
                    <a:pt x="5" y="18"/>
                    <a:pt x="6" y="17"/>
                  </a:cubicBezTo>
                  <a:cubicBezTo>
                    <a:pt x="6" y="17"/>
                    <a:pt x="7" y="16"/>
                    <a:pt x="7" y="16"/>
                  </a:cubicBezTo>
                  <a:cubicBezTo>
                    <a:pt x="7" y="16"/>
                    <a:pt x="7" y="16"/>
                    <a:pt x="7" y="16"/>
                  </a:cubicBezTo>
                  <a:cubicBezTo>
                    <a:pt x="11" y="11"/>
                    <a:pt x="8" y="5"/>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362"/>
            <p:cNvSpPr/>
            <p:nvPr/>
          </p:nvSpPr>
          <p:spPr bwMode="auto">
            <a:xfrm>
              <a:off x="2249754" y="3247114"/>
              <a:ext cx="5369" cy="16108"/>
            </a:xfrm>
            <a:custGeom>
              <a:gdLst>
                <a:gd name="T0" fmla="*/ 2 w 2"/>
                <a:gd name="T1" fmla="*/ 0 h 5"/>
                <a:gd name="T2" fmla="*/ 0 w 2"/>
                <a:gd name="T3" fmla="*/ 5 h 5"/>
                <a:gd name="T4" fmla="*/ 2 w 2"/>
                <a:gd name="T5" fmla="*/ 0 h 5"/>
              </a:gdLst>
              <a:cxnLst>
                <a:cxn ang="0">
                  <a:pos x="T0" y="T1"/>
                </a:cxn>
                <a:cxn ang="0">
                  <a:pos x="T2" y="T3"/>
                </a:cxn>
                <a:cxn ang="0">
                  <a:pos x="T4" y="T5"/>
                </a:cxn>
              </a:cxnLst>
              <a:rect l="0" t="0" r="r" b="b"/>
              <a:pathLst>
                <a:path w="2" h="5">
                  <a:moveTo>
                    <a:pt x="2" y="0"/>
                  </a:moveTo>
                  <a:cubicBezTo>
                    <a:pt x="1" y="2"/>
                    <a:pt x="1" y="3"/>
                    <a:pt x="0" y="5"/>
                  </a:cubicBezTo>
                  <a:cubicBezTo>
                    <a:pt x="1" y="3"/>
                    <a:pt x="1"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9" name="Freeform 1363"/>
            <p:cNvSpPr/>
            <p:nvPr/>
          </p:nvSpPr>
          <p:spPr bwMode="auto">
            <a:xfrm>
              <a:off x="2220223" y="3193420"/>
              <a:ext cx="13423" cy="21477"/>
            </a:xfrm>
            <a:custGeom>
              <a:gdLst>
                <a:gd name="T0" fmla="*/ 0 w 4"/>
                <a:gd name="T1" fmla="*/ 0 h 7"/>
                <a:gd name="T2" fmla="*/ 2 w 4"/>
                <a:gd name="T3" fmla="*/ 7 h 7"/>
                <a:gd name="T4" fmla="*/ 0 w 4"/>
                <a:gd name="T5" fmla="*/ 0 h 7"/>
              </a:gdLst>
              <a:cxnLst>
                <a:cxn ang="0">
                  <a:pos x="T0" y="T1"/>
                </a:cxn>
                <a:cxn ang="0">
                  <a:pos x="T2" y="T3"/>
                </a:cxn>
                <a:cxn ang="0">
                  <a:pos x="T4" y="T5"/>
                </a:cxn>
              </a:cxnLst>
              <a:rect l="0" t="0" r="r" b="b"/>
              <a:pathLst>
                <a:path w="4" h="7">
                  <a:moveTo>
                    <a:pt x="0" y="0"/>
                  </a:moveTo>
                  <a:cubicBezTo>
                    <a:pt x="1" y="2"/>
                    <a:pt x="2" y="4"/>
                    <a:pt x="2" y="7"/>
                  </a:cubicBezTo>
                  <a:cubicBezTo>
                    <a:pt x="4"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1364"/>
            <p:cNvSpPr/>
            <p:nvPr/>
          </p:nvSpPr>
          <p:spPr bwMode="auto">
            <a:xfrm>
              <a:off x="2192034" y="3198789"/>
              <a:ext cx="13423" cy="34901"/>
            </a:xfrm>
            <a:custGeom>
              <a:gdLst>
                <a:gd name="T0" fmla="*/ 1 w 4"/>
                <a:gd name="T1" fmla="*/ 0 h 11"/>
                <a:gd name="T2" fmla="*/ 0 w 4"/>
                <a:gd name="T3" fmla="*/ 11 h 11"/>
                <a:gd name="T4" fmla="*/ 3 w 4"/>
                <a:gd name="T5" fmla="*/ 5 h 11"/>
                <a:gd name="T6" fmla="*/ 1 w 4"/>
                <a:gd name="T7" fmla="*/ 0 h 11"/>
              </a:gdLst>
              <a:cxnLst>
                <a:cxn ang="0">
                  <a:pos x="T0" y="T1"/>
                </a:cxn>
                <a:cxn ang="0">
                  <a:pos x="T2" y="T3"/>
                </a:cxn>
                <a:cxn ang="0">
                  <a:pos x="T4" y="T5"/>
                </a:cxn>
                <a:cxn ang="0">
                  <a:pos x="T6" y="T7"/>
                </a:cxn>
              </a:cxnLst>
              <a:rect l="0" t="0" r="r" b="b"/>
              <a:pathLst>
                <a:path w="4" h="11">
                  <a:moveTo>
                    <a:pt x="1" y="0"/>
                  </a:moveTo>
                  <a:cubicBezTo>
                    <a:pt x="1" y="4"/>
                    <a:pt x="0" y="7"/>
                    <a:pt x="0" y="11"/>
                  </a:cubicBezTo>
                  <a:cubicBezTo>
                    <a:pt x="2" y="8"/>
                    <a:pt x="4" y="9"/>
                    <a:pt x="3" y="5"/>
                  </a:cubicBezTo>
                  <a:cubicBezTo>
                    <a:pt x="3"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1" name="Freeform 1365"/>
            <p:cNvSpPr/>
            <p:nvPr/>
          </p:nvSpPr>
          <p:spPr bwMode="auto">
            <a:xfrm>
              <a:off x="5574719" y="5934472"/>
              <a:ext cx="46982" cy="48324"/>
            </a:xfrm>
            <a:custGeom>
              <a:gdLst>
                <a:gd name="T0" fmla="*/ 9 w 15"/>
                <a:gd name="T1" fmla="*/ 0 h 15"/>
                <a:gd name="T2" fmla="*/ 6 w 15"/>
                <a:gd name="T3" fmla="*/ 1 h 15"/>
                <a:gd name="T4" fmla="*/ 5 w 15"/>
                <a:gd name="T5" fmla="*/ 1 h 15"/>
                <a:gd name="T6" fmla="*/ 2 w 15"/>
                <a:gd name="T7" fmla="*/ 5 h 15"/>
                <a:gd name="T8" fmla="*/ 1 w 15"/>
                <a:gd name="T9" fmla="*/ 13 h 15"/>
                <a:gd name="T10" fmla="*/ 14 w 15"/>
                <a:gd name="T11" fmla="*/ 15 h 15"/>
                <a:gd name="T12" fmla="*/ 14 w 15"/>
                <a:gd name="T13" fmla="*/ 15 h 15"/>
                <a:gd name="T14" fmla="*/ 15 w 15"/>
                <a:gd name="T15" fmla="*/ 12 h 15"/>
                <a:gd name="T16" fmla="*/ 11 w 15"/>
                <a:gd name="T17" fmla="*/ 13 h 15"/>
                <a:gd name="T18" fmla="*/ 10 w 15"/>
                <a:gd name="T19" fmla="*/ 13 h 15"/>
                <a:gd name="T20" fmla="*/ 11 w 15"/>
                <a:gd name="T21" fmla="*/ 9 h 15"/>
                <a:gd name="T22" fmla="*/ 10 w 15"/>
                <a:gd name="T23" fmla="*/ 9 h 15"/>
                <a:gd name="T24" fmla="*/ 13 w 15"/>
                <a:gd name="T25" fmla="*/ 3 h 15"/>
                <a:gd name="T26" fmla="*/ 12 w 15"/>
                <a:gd name="T27" fmla="*/ 3 h 15"/>
                <a:gd name="T28" fmla="*/ 11 w 15"/>
                <a:gd name="T29" fmla="*/ 5 h 15"/>
                <a:gd name="T30" fmla="*/ 10 w 15"/>
                <a:gd name="T31" fmla="*/ 5 h 15"/>
                <a:gd name="T32" fmla="*/ 9 w 15"/>
                <a:gd name="T3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5">
                  <a:moveTo>
                    <a:pt x="9" y="0"/>
                  </a:moveTo>
                  <a:cubicBezTo>
                    <a:pt x="8" y="1"/>
                    <a:pt x="7" y="1"/>
                    <a:pt x="6" y="1"/>
                  </a:cubicBezTo>
                  <a:cubicBezTo>
                    <a:pt x="6" y="1"/>
                    <a:pt x="6" y="1"/>
                    <a:pt x="5" y="1"/>
                  </a:cubicBezTo>
                  <a:cubicBezTo>
                    <a:pt x="8" y="5"/>
                    <a:pt x="3" y="3"/>
                    <a:pt x="2" y="5"/>
                  </a:cubicBezTo>
                  <a:cubicBezTo>
                    <a:pt x="0" y="7"/>
                    <a:pt x="4" y="11"/>
                    <a:pt x="1" y="13"/>
                  </a:cubicBezTo>
                  <a:cubicBezTo>
                    <a:pt x="5" y="14"/>
                    <a:pt x="9" y="15"/>
                    <a:pt x="14" y="15"/>
                  </a:cubicBezTo>
                  <a:cubicBezTo>
                    <a:pt x="14" y="15"/>
                    <a:pt x="14" y="15"/>
                    <a:pt x="14" y="15"/>
                  </a:cubicBezTo>
                  <a:cubicBezTo>
                    <a:pt x="14" y="14"/>
                    <a:pt x="14" y="13"/>
                    <a:pt x="15" y="12"/>
                  </a:cubicBezTo>
                  <a:cubicBezTo>
                    <a:pt x="14" y="13"/>
                    <a:pt x="12" y="13"/>
                    <a:pt x="11" y="13"/>
                  </a:cubicBezTo>
                  <a:cubicBezTo>
                    <a:pt x="10" y="13"/>
                    <a:pt x="10" y="13"/>
                    <a:pt x="10" y="13"/>
                  </a:cubicBezTo>
                  <a:cubicBezTo>
                    <a:pt x="8" y="12"/>
                    <a:pt x="9" y="11"/>
                    <a:pt x="11" y="9"/>
                  </a:cubicBezTo>
                  <a:cubicBezTo>
                    <a:pt x="10" y="9"/>
                    <a:pt x="10" y="9"/>
                    <a:pt x="10" y="9"/>
                  </a:cubicBezTo>
                  <a:cubicBezTo>
                    <a:pt x="11" y="8"/>
                    <a:pt x="14" y="3"/>
                    <a:pt x="13" y="3"/>
                  </a:cubicBezTo>
                  <a:cubicBezTo>
                    <a:pt x="13" y="3"/>
                    <a:pt x="13" y="3"/>
                    <a:pt x="12" y="3"/>
                  </a:cubicBezTo>
                  <a:cubicBezTo>
                    <a:pt x="12" y="3"/>
                    <a:pt x="12" y="5"/>
                    <a:pt x="11" y="5"/>
                  </a:cubicBezTo>
                  <a:cubicBezTo>
                    <a:pt x="11" y="5"/>
                    <a:pt x="11" y="5"/>
                    <a:pt x="10" y="5"/>
                  </a:cubicBezTo>
                  <a:cubicBezTo>
                    <a:pt x="8" y="5"/>
                    <a:pt x="9" y="2"/>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1366"/>
            <p:cNvSpPr/>
            <p:nvPr/>
          </p:nvSpPr>
          <p:spPr bwMode="auto">
            <a:xfrm>
              <a:off x="5561296" y="5769365"/>
              <a:ext cx="22820" cy="16108"/>
            </a:xfrm>
            <a:custGeom>
              <a:gdLst>
                <a:gd name="T0" fmla="*/ 7 w 7"/>
                <a:gd name="T1" fmla="*/ 0 h 5"/>
                <a:gd name="T2" fmla="*/ 0 w 7"/>
                <a:gd name="T3" fmla="*/ 5 h 5"/>
                <a:gd name="T4" fmla="*/ 7 w 7"/>
                <a:gd name="T5" fmla="*/ 0 h 5"/>
              </a:gdLst>
              <a:cxnLst>
                <a:cxn ang="0">
                  <a:pos x="T0" y="T1"/>
                </a:cxn>
                <a:cxn ang="0">
                  <a:pos x="T2" y="T3"/>
                </a:cxn>
                <a:cxn ang="0">
                  <a:pos x="T4" y="T5"/>
                </a:cxn>
              </a:cxnLst>
              <a:rect l="0" t="0" r="r" b="b"/>
              <a:pathLst>
                <a:path w="7" h="5">
                  <a:moveTo>
                    <a:pt x="7" y="0"/>
                  </a:moveTo>
                  <a:cubicBezTo>
                    <a:pt x="5" y="2"/>
                    <a:pt x="3" y="4"/>
                    <a:pt x="0" y="5"/>
                  </a:cubicBezTo>
                  <a:cubicBezTo>
                    <a:pt x="2" y="5"/>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3" name="Freeform 1367"/>
            <p:cNvSpPr/>
            <p:nvPr/>
          </p:nvSpPr>
          <p:spPr bwMode="auto">
            <a:xfrm>
              <a:off x="6005609" y="5661978"/>
              <a:ext cx="6712" cy="12081"/>
            </a:xfrm>
            <a:custGeom>
              <a:gdLst>
                <a:gd name="T0" fmla="*/ 1 w 2"/>
                <a:gd name="T1" fmla="*/ 0 h 4"/>
                <a:gd name="T2" fmla="*/ 1 w 2"/>
                <a:gd name="T3" fmla="*/ 4 h 4"/>
                <a:gd name="T4" fmla="*/ 1 w 2"/>
                <a:gd name="T5" fmla="*/ 0 h 4"/>
              </a:gdLst>
              <a:cxnLst>
                <a:cxn ang="0">
                  <a:pos x="T0" y="T1"/>
                </a:cxn>
                <a:cxn ang="0">
                  <a:pos x="T2" y="T3"/>
                </a:cxn>
                <a:cxn ang="0">
                  <a:pos x="T4" y="T5"/>
                </a:cxn>
              </a:cxnLst>
              <a:rect l="0" t="0" r="r" b="b"/>
              <a:pathLst>
                <a:path w="2" h="4">
                  <a:moveTo>
                    <a:pt x="1" y="0"/>
                  </a:moveTo>
                  <a:cubicBezTo>
                    <a:pt x="1" y="1"/>
                    <a:pt x="0" y="3"/>
                    <a:pt x="1" y="4"/>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1368"/>
            <p:cNvSpPr/>
            <p:nvPr/>
          </p:nvSpPr>
          <p:spPr bwMode="auto">
            <a:xfrm>
              <a:off x="6303608" y="6283480"/>
              <a:ext cx="20135" cy="22820"/>
            </a:xfrm>
            <a:custGeom>
              <a:gdLst>
                <a:gd name="T0" fmla="*/ 3 w 6"/>
                <a:gd name="T1" fmla="*/ 0 h 7"/>
                <a:gd name="T2" fmla="*/ 0 w 6"/>
                <a:gd name="T3" fmla="*/ 1 h 7"/>
                <a:gd name="T4" fmla="*/ 4 w 6"/>
                <a:gd name="T5" fmla="*/ 7 h 7"/>
                <a:gd name="T6" fmla="*/ 4 w 6"/>
                <a:gd name="T7" fmla="*/ 1 h 7"/>
                <a:gd name="T8" fmla="*/ 3 w 6"/>
                <a:gd name="T9" fmla="*/ 0 h 7"/>
              </a:gdLst>
              <a:cxnLst>
                <a:cxn ang="0">
                  <a:pos x="T0" y="T1"/>
                </a:cxn>
                <a:cxn ang="0">
                  <a:pos x="T2" y="T3"/>
                </a:cxn>
                <a:cxn ang="0">
                  <a:pos x="T4" y="T5"/>
                </a:cxn>
                <a:cxn ang="0">
                  <a:pos x="T6" y="T7"/>
                </a:cxn>
                <a:cxn ang="0">
                  <a:pos x="T8" y="T9"/>
                </a:cxn>
              </a:cxnLst>
              <a:rect l="0" t="0" r="r" b="b"/>
              <a:pathLst>
                <a:path w="6" h="7">
                  <a:moveTo>
                    <a:pt x="3" y="0"/>
                  </a:moveTo>
                  <a:cubicBezTo>
                    <a:pt x="2" y="0"/>
                    <a:pt x="1" y="1"/>
                    <a:pt x="0" y="1"/>
                  </a:cubicBezTo>
                  <a:cubicBezTo>
                    <a:pt x="1" y="3"/>
                    <a:pt x="2" y="5"/>
                    <a:pt x="4" y="7"/>
                  </a:cubicBezTo>
                  <a:cubicBezTo>
                    <a:pt x="6" y="4"/>
                    <a:pt x="2" y="3"/>
                    <a:pt x="4"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5" name="Freeform 1369"/>
            <p:cNvSpPr/>
            <p:nvPr/>
          </p:nvSpPr>
          <p:spPr bwMode="auto">
            <a:xfrm>
              <a:off x="5286117" y="5731779"/>
              <a:ext cx="12081" cy="28189"/>
            </a:xfrm>
            <a:custGeom>
              <a:gdLst>
                <a:gd name="T0" fmla="*/ 3 w 4"/>
                <a:gd name="T1" fmla="*/ 0 h 9"/>
                <a:gd name="T2" fmla="*/ 0 w 4"/>
                <a:gd name="T3" fmla="*/ 1 h 9"/>
                <a:gd name="T4" fmla="*/ 3 w 4"/>
                <a:gd name="T5" fmla="*/ 9 h 9"/>
                <a:gd name="T6" fmla="*/ 3 w 4"/>
                <a:gd name="T7" fmla="*/ 4 h 9"/>
                <a:gd name="T8" fmla="*/ 3 w 4"/>
                <a:gd name="T9" fmla="*/ 0 h 9"/>
              </a:gdLst>
              <a:cxnLst>
                <a:cxn ang="0">
                  <a:pos x="T0" y="T1"/>
                </a:cxn>
                <a:cxn ang="0">
                  <a:pos x="T2" y="T3"/>
                </a:cxn>
                <a:cxn ang="0">
                  <a:pos x="T4" y="T5"/>
                </a:cxn>
                <a:cxn ang="0">
                  <a:pos x="T6" y="T7"/>
                </a:cxn>
                <a:cxn ang="0">
                  <a:pos x="T8" y="T9"/>
                </a:cxn>
              </a:cxnLst>
              <a:rect l="0" t="0" r="r" b="b"/>
              <a:pathLst>
                <a:path w="4" h="9">
                  <a:moveTo>
                    <a:pt x="3" y="0"/>
                  </a:moveTo>
                  <a:cubicBezTo>
                    <a:pt x="2" y="1"/>
                    <a:pt x="1" y="1"/>
                    <a:pt x="0" y="1"/>
                  </a:cubicBezTo>
                  <a:cubicBezTo>
                    <a:pt x="1" y="4"/>
                    <a:pt x="2" y="7"/>
                    <a:pt x="3" y="9"/>
                  </a:cubicBezTo>
                  <a:cubicBezTo>
                    <a:pt x="4" y="6"/>
                    <a:pt x="3" y="5"/>
                    <a:pt x="3" y="4"/>
                  </a:cubicBezTo>
                  <a:cubicBezTo>
                    <a:pt x="3" y="3"/>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1370"/>
            <p:cNvSpPr/>
            <p:nvPr/>
          </p:nvSpPr>
          <p:spPr bwMode="auto">
            <a:xfrm>
              <a:off x="4006872" y="6474092"/>
              <a:ext cx="9396" cy="16108"/>
            </a:xfrm>
            <a:custGeom>
              <a:gdLst>
                <a:gd name="T0" fmla="*/ 2 w 3"/>
                <a:gd name="T1" fmla="*/ 0 h 5"/>
                <a:gd name="T2" fmla="*/ 0 w 3"/>
                <a:gd name="T3" fmla="*/ 5 h 5"/>
                <a:gd name="T4" fmla="*/ 2 w 3"/>
                <a:gd name="T5" fmla="*/ 0 h 5"/>
              </a:gdLst>
              <a:cxnLst>
                <a:cxn ang="0">
                  <a:pos x="T0" y="T1"/>
                </a:cxn>
                <a:cxn ang="0">
                  <a:pos x="T2" y="T3"/>
                </a:cxn>
                <a:cxn ang="0">
                  <a:pos x="T4" y="T5"/>
                </a:cxn>
              </a:cxnLst>
              <a:rect l="0" t="0" r="r" b="b"/>
              <a:pathLst>
                <a:path w="3" h="5">
                  <a:moveTo>
                    <a:pt x="2" y="0"/>
                  </a:moveTo>
                  <a:cubicBezTo>
                    <a:pt x="2" y="2"/>
                    <a:pt x="1" y="4"/>
                    <a:pt x="0" y="5"/>
                  </a:cubicBezTo>
                  <a:cubicBezTo>
                    <a:pt x="2" y="4"/>
                    <a:pt x="3"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7" name="Freeform 1371"/>
            <p:cNvSpPr/>
            <p:nvPr/>
          </p:nvSpPr>
          <p:spPr bwMode="auto">
            <a:xfrm>
              <a:off x="6631138" y="6594902"/>
              <a:ext cx="2685" cy="12081"/>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1"/>
                    <a:pt x="0" y="3"/>
                    <a:pt x="0" y="4"/>
                  </a:cubicBezTo>
                  <a:cubicBezTo>
                    <a:pt x="0"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1372"/>
            <p:cNvSpPr/>
            <p:nvPr/>
          </p:nvSpPr>
          <p:spPr bwMode="auto">
            <a:xfrm>
              <a:off x="5126379" y="5750572"/>
              <a:ext cx="89936" cy="53693"/>
            </a:xfrm>
            <a:custGeom>
              <a:gdLst>
                <a:gd name="T0" fmla="*/ 22 w 28"/>
                <a:gd name="T1" fmla="*/ 0 h 17"/>
                <a:gd name="T2" fmla="*/ 21 w 28"/>
                <a:gd name="T3" fmla="*/ 4 h 17"/>
                <a:gd name="T4" fmla="*/ 18 w 28"/>
                <a:gd name="T5" fmla="*/ 1 h 17"/>
                <a:gd name="T6" fmla="*/ 17 w 28"/>
                <a:gd name="T7" fmla="*/ 2 h 17"/>
                <a:gd name="T8" fmla="*/ 8 w 28"/>
                <a:gd name="T9" fmla="*/ 5 h 17"/>
                <a:gd name="T10" fmla="*/ 7 w 28"/>
                <a:gd name="T11" fmla="*/ 5 h 17"/>
                <a:gd name="T12" fmla="*/ 0 w 28"/>
                <a:gd name="T13" fmla="*/ 0 h 17"/>
                <a:gd name="T14" fmla="*/ 5 w 28"/>
                <a:gd name="T15" fmla="*/ 11 h 17"/>
                <a:gd name="T16" fmla="*/ 9 w 28"/>
                <a:gd name="T17" fmla="*/ 14 h 17"/>
                <a:gd name="T18" fmla="*/ 14 w 28"/>
                <a:gd name="T19" fmla="*/ 17 h 17"/>
                <a:gd name="T20" fmla="*/ 14 w 28"/>
                <a:gd name="T21" fmla="*/ 17 h 17"/>
                <a:gd name="T22" fmla="*/ 24 w 28"/>
                <a:gd name="T23" fmla="*/ 10 h 17"/>
                <a:gd name="T24" fmla="*/ 28 w 28"/>
                <a:gd name="T25" fmla="*/ 5 h 17"/>
                <a:gd name="T26" fmla="*/ 26 w 28"/>
                <a:gd name="T27" fmla="*/ 2 h 17"/>
                <a:gd name="T28" fmla="*/ 22 w 28"/>
                <a:gd name="T29"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7">
                  <a:moveTo>
                    <a:pt x="22" y="0"/>
                  </a:moveTo>
                  <a:cubicBezTo>
                    <a:pt x="20" y="0"/>
                    <a:pt x="19" y="1"/>
                    <a:pt x="21" y="4"/>
                  </a:cubicBezTo>
                  <a:cubicBezTo>
                    <a:pt x="19" y="2"/>
                    <a:pt x="19" y="1"/>
                    <a:pt x="18" y="1"/>
                  </a:cubicBezTo>
                  <a:cubicBezTo>
                    <a:pt x="18" y="1"/>
                    <a:pt x="17" y="1"/>
                    <a:pt x="17" y="2"/>
                  </a:cubicBezTo>
                  <a:cubicBezTo>
                    <a:pt x="14" y="2"/>
                    <a:pt x="11" y="4"/>
                    <a:pt x="8" y="5"/>
                  </a:cubicBezTo>
                  <a:cubicBezTo>
                    <a:pt x="8" y="5"/>
                    <a:pt x="8" y="5"/>
                    <a:pt x="7" y="5"/>
                  </a:cubicBezTo>
                  <a:cubicBezTo>
                    <a:pt x="4" y="5"/>
                    <a:pt x="4" y="1"/>
                    <a:pt x="0" y="0"/>
                  </a:cubicBezTo>
                  <a:cubicBezTo>
                    <a:pt x="1" y="4"/>
                    <a:pt x="2" y="8"/>
                    <a:pt x="5" y="11"/>
                  </a:cubicBezTo>
                  <a:cubicBezTo>
                    <a:pt x="6" y="12"/>
                    <a:pt x="7" y="13"/>
                    <a:pt x="9" y="14"/>
                  </a:cubicBezTo>
                  <a:cubicBezTo>
                    <a:pt x="10" y="15"/>
                    <a:pt x="13" y="17"/>
                    <a:pt x="14" y="17"/>
                  </a:cubicBezTo>
                  <a:cubicBezTo>
                    <a:pt x="14" y="17"/>
                    <a:pt x="14" y="17"/>
                    <a:pt x="14" y="17"/>
                  </a:cubicBezTo>
                  <a:cubicBezTo>
                    <a:pt x="17" y="17"/>
                    <a:pt x="21" y="11"/>
                    <a:pt x="24" y="10"/>
                  </a:cubicBezTo>
                  <a:cubicBezTo>
                    <a:pt x="26" y="9"/>
                    <a:pt x="28" y="7"/>
                    <a:pt x="28" y="5"/>
                  </a:cubicBezTo>
                  <a:cubicBezTo>
                    <a:pt x="28" y="4"/>
                    <a:pt x="27" y="4"/>
                    <a:pt x="26" y="2"/>
                  </a:cubicBezTo>
                  <a:cubicBezTo>
                    <a:pt x="25" y="1"/>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1373"/>
            <p:cNvSpPr/>
            <p:nvPr/>
          </p:nvSpPr>
          <p:spPr bwMode="auto">
            <a:xfrm>
              <a:off x="6815038" y="6794910"/>
              <a:ext cx="34901" cy="63090"/>
            </a:xfrm>
            <a:custGeom>
              <a:gdLst>
                <a:gd name="T0" fmla="*/ 7 w 11"/>
                <a:gd name="T1" fmla="*/ 0 h 20"/>
                <a:gd name="T2" fmla="*/ 4 w 11"/>
                <a:gd name="T3" fmla="*/ 2 h 20"/>
                <a:gd name="T4" fmla="*/ 1 w 11"/>
                <a:gd name="T5" fmla="*/ 12 h 20"/>
                <a:gd name="T6" fmla="*/ 1 w 11"/>
                <a:gd name="T7" fmla="*/ 19 h 20"/>
                <a:gd name="T8" fmla="*/ 0 w 11"/>
                <a:gd name="T9" fmla="*/ 20 h 20"/>
                <a:gd name="T10" fmla="*/ 5 w 11"/>
                <a:gd name="T11" fmla="*/ 20 h 20"/>
                <a:gd name="T12" fmla="*/ 8 w 11"/>
                <a:gd name="T13" fmla="*/ 10 h 20"/>
                <a:gd name="T14" fmla="*/ 8 w 11"/>
                <a:gd name="T15" fmla="*/ 4 h 20"/>
                <a:gd name="T16" fmla="*/ 7 w 11"/>
                <a:gd name="T17"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0">
                  <a:moveTo>
                    <a:pt x="7" y="0"/>
                  </a:moveTo>
                  <a:cubicBezTo>
                    <a:pt x="6" y="0"/>
                    <a:pt x="6" y="0"/>
                    <a:pt x="4" y="2"/>
                  </a:cubicBezTo>
                  <a:cubicBezTo>
                    <a:pt x="11" y="5"/>
                    <a:pt x="2" y="10"/>
                    <a:pt x="1" y="12"/>
                  </a:cubicBezTo>
                  <a:cubicBezTo>
                    <a:pt x="4" y="12"/>
                    <a:pt x="1" y="17"/>
                    <a:pt x="1" y="19"/>
                  </a:cubicBezTo>
                  <a:cubicBezTo>
                    <a:pt x="1" y="19"/>
                    <a:pt x="0" y="19"/>
                    <a:pt x="0" y="20"/>
                  </a:cubicBezTo>
                  <a:cubicBezTo>
                    <a:pt x="5" y="20"/>
                    <a:pt x="5" y="20"/>
                    <a:pt x="5" y="20"/>
                  </a:cubicBezTo>
                  <a:cubicBezTo>
                    <a:pt x="6" y="16"/>
                    <a:pt x="7" y="13"/>
                    <a:pt x="8" y="10"/>
                  </a:cubicBezTo>
                  <a:cubicBezTo>
                    <a:pt x="10" y="6"/>
                    <a:pt x="9" y="7"/>
                    <a:pt x="8" y="4"/>
                  </a:cubicBezTo>
                  <a:cubicBezTo>
                    <a:pt x="8"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1374"/>
            <p:cNvSpPr/>
            <p:nvPr/>
          </p:nvSpPr>
          <p:spPr bwMode="auto">
            <a:xfrm>
              <a:off x="5558611" y="5912995"/>
              <a:ext cx="2685" cy="12081"/>
            </a:xfrm>
            <a:custGeom>
              <a:gdLst>
                <a:gd name="T0" fmla="*/ 0 w 1"/>
                <a:gd name="T1" fmla="*/ 0 h 4"/>
                <a:gd name="T2" fmla="*/ 1 w 1"/>
                <a:gd name="T3" fmla="*/ 4 h 4"/>
                <a:gd name="T4" fmla="*/ 0 w 1"/>
                <a:gd name="T5" fmla="*/ 0 h 4"/>
              </a:gdLst>
              <a:cxnLst>
                <a:cxn ang="0">
                  <a:pos x="T0" y="T1"/>
                </a:cxn>
                <a:cxn ang="0">
                  <a:pos x="T2" y="T3"/>
                </a:cxn>
                <a:cxn ang="0">
                  <a:pos x="T4" y="T5"/>
                </a:cxn>
              </a:cxnLst>
              <a:rect l="0" t="0" r="r" b="b"/>
              <a:pathLst>
                <a:path w="1" h="4">
                  <a:moveTo>
                    <a:pt x="0" y="0"/>
                  </a:moveTo>
                  <a:cubicBezTo>
                    <a:pt x="0" y="2"/>
                    <a:pt x="0" y="3"/>
                    <a:pt x="1" y="4"/>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1375"/>
            <p:cNvSpPr/>
            <p:nvPr/>
          </p:nvSpPr>
          <p:spPr bwMode="auto">
            <a:xfrm>
              <a:off x="5805601" y="6192201"/>
              <a:ext cx="9396" cy="9396"/>
            </a:xfrm>
            <a:custGeom>
              <a:gdLst>
                <a:gd name="T0" fmla="*/ 2 w 3"/>
                <a:gd name="T1" fmla="*/ 0 h 3"/>
                <a:gd name="T2" fmla="*/ 0 w 3"/>
                <a:gd name="T3" fmla="*/ 3 h 3"/>
                <a:gd name="T4" fmla="*/ 3 w 3"/>
                <a:gd name="T5" fmla="*/ 2 h 3"/>
                <a:gd name="T6" fmla="*/ 2 w 3"/>
                <a:gd name="T7" fmla="*/ 0 h 3"/>
              </a:gdLst>
              <a:cxnLst>
                <a:cxn ang="0">
                  <a:pos x="T0" y="T1"/>
                </a:cxn>
                <a:cxn ang="0">
                  <a:pos x="T2" y="T3"/>
                </a:cxn>
                <a:cxn ang="0">
                  <a:pos x="T4" y="T5"/>
                </a:cxn>
                <a:cxn ang="0">
                  <a:pos x="T6" y="T7"/>
                </a:cxn>
              </a:cxnLst>
              <a:rect l="0" t="0" r="r" b="b"/>
              <a:pathLst>
                <a:path w="3" h="3">
                  <a:moveTo>
                    <a:pt x="2" y="0"/>
                  </a:moveTo>
                  <a:cubicBezTo>
                    <a:pt x="1" y="0"/>
                    <a:pt x="0" y="2"/>
                    <a:pt x="0" y="3"/>
                  </a:cubicBezTo>
                  <a:cubicBezTo>
                    <a:pt x="0" y="3"/>
                    <a:pt x="3" y="3"/>
                    <a:pt x="3" y="2"/>
                  </a:cubicBezTo>
                  <a:cubicBezTo>
                    <a:pt x="2"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1376"/>
            <p:cNvSpPr/>
            <p:nvPr/>
          </p:nvSpPr>
          <p:spPr bwMode="auto">
            <a:xfrm>
              <a:off x="6009636" y="5703590"/>
              <a:ext cx="12081" cy="12081"/>
            </a:xfrm>
            <a:custGeom>
              <a:gdLst>
                <a:gd name="T0" fmla="*/ 1 w 4"/>
                <a:gd name="T1" fmla="*/ 0 h 4"/>
                <a:gd name="T2" fmla="*/ 0 w 4"/>
                <a:gd name="T3" fmla="*/ 4 h 4"/>
                <a:gd name="T4" fmla="*/ 1 w 4"/>
                <a:gd name="T5" fmla="*/ 0 h 4"/>
              </a:gdLst>
              <a:cxnLst>
                <a:cxn ang="0">
                  <a:pos x="T0" y="T1"/>
                </a:cxn>
                <a:cxn ang="0">
                  <a:pos x="T2" y="T3"/>
                </a:cxn>
                <a:cxn ang="0">
                  <a:pos x="T4" y="T5"/>
                </a:cxn>
              </a:cxnLst>
              <a:rect l="0" t="0" r="r" b="b"/>
              <a:pathLst>
                <a:path w="4" h="4">
                  <a:moveTo>
                    <a:pt x="1" y="0"/>
                  </a:moveTo>
                  <a:cubicBezTo>
                    <a:pt x="1" y="2"/>
                    <a:pt x="1" y="3"/>
                    <a:pt x="0" y="4"/>
                  </a:cubicBezTo>
                  <a:cubicBezTo>
                    <a:pt x="4"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1377"/>
            <p:cNvSpPr/>
            <p:nvPr/>
          </p:nvSpPr>
          <p:spPr bwMode="auto">
            <a:xfrm>
              <a:off x="6517039" y="6436506"/>
              <a:ext cx="12081" cy="12081"/>
            </a:xfrm>
            <a:custGeom>
              <a:gdLst>
                <a:gd name="T0" fmla="*/ 0 w 4"/>
                <a:gd name="T1" fmla="*/ 0 h 4"/>
                <a:gd name="T2" fmla="*/ 0 w 4"/>
                <a:gd name="T3" fmla="*/ 4 h 4"/>
                <a:gd name="T4" fmla="*/ 0 w 4"/>
                <a:gd name="T5" fmla="*/ 4 h 4"/>
                <a:gd name="T6" fmla="*/ 0 w 4"/>
                <a:gd name="T7" fmla="*/ 0 h 4"/>
              </a:gdLst>
              <a:cxnLst>
                <a:cxn ang="0">
                  <a:pos x="T0" y="T1"/>
                </a:cxn>
                <a:cxn ang="0">
                  <a:pos x="T2" y="T3"/>
                </a:cxn>
                <a:cxn ang="0">
                  <a:pos x="T4" y="T5"/>
                </a:cxn>
                <a:cxn ang="0">
                  <a:pos x="T6" y="T7"/>
                </a:cxn>
              </a:cxnLst>
              <a:rect l="0" t="0" r="r" b="b"/>
              <a:pathLst>
                <a:path w="4" h="4">
                  <a:moveTo>
                    <a:pt x="0" y="0"/>
                  </a:moveTo>
                  <a:cubicBezTo>
                    <a:pt x="0" y="1"/>
                    <a:pt x="0" y="3"/>
                    <a:pt x="0" y="4"/>
                  </a:cubicBezTo>
                  <a:cubicBezTo>
                    <a:pt x="0" y="4"/>
                    <a:pt x="0" y="4"/>
                    <a:pt x="0" y="4"/>
                  </a:cubicBezTo>
                  <a:cubicBezTo>
                    <a:pt x="4"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1378"/>
            <p:cNvSpPr/>
            <p:nvPr/>
          </p:nvSpPr>
          <p:spPr bwMode="auto">
            <a:xfrm>
              <a:off x="5586801" y="6078102"/>
              <a:ext cx="6712" cy="9396"/>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1379"/>
            <p:cNvSpPr/>
            <p:nvPr/>
          </p:nvSpPr>
          <p:spPr bwMode="auto">
            <a:xfrm>
              <a:off x="5565323" y="5938499"/>
              <a:ext cx="5369" cy="12081"/>
            </a:xfrm>
            <a:custGeom>
              <a:gdLst>
                <a:gd name="T0" fmla="*/ 1 w 2"/>
                <a:gd name="T1" fmla="*/ 0 h 4"/>
                <a:gd name="T2" fmla="*/ 0 w 2"/>
                <a:gd name="T3" fmla="*/ 4 h 4"/>
                <a:gd name="T4" fmla="*/ 1 w 2"/>
                <a:gd name="T5" fmla="*/ 0 h 4"/>
              </a:gdLst>
              <a:cxnLst>
                <a:cxn ang="0">
                  <a:pos x="T0" y="T1"/>
                </a:cxn>
                <a:cxn ang="0">
                  <a:pos x="T2" y="T3"/>
                </a:cxn>
                <a:cxn ang="0">
                  <a:pos x="T4" y="T5"/>
                </a:cxn>
              </a:cxnLst>
              <a:rect l="0" t="0" r="r" b="b"/>
              <a:pathLst>
                <a:path w="2" h="4">
                  <a:moveTo>
                    <a:pt x="1" y="0"/>
                  </a:moveTo>
                  <a:cubicBezTo>
                    <a:pt x="0" y="0"/>
                    <a:pt x="0" y="1"/>
                    <a:pt x="0" y="4"/>
                  </a:cubicBezTo>
                  <a:cubicBezTo>
                    <a:pt x="2" y="3"/>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1380"/>
            <p:cNvSpPr/>
            <p:nvPr/>
          </p:nvSpPr>
          <p:spPr bwMode="auto">
            <a:xfrm>
              <a:off x="5625728" y="6083472"/>
              <a:ext cx="2685" cy="20135"/>
            </a:xfrm>
            <a:custGeom>
              <a:gdLst>
                <a:gd name="T0" fmla="*/ 0 w 1"/>
                <a:gd name="T1" fmla="*/ 0 h 6"/>
                <a:gd name="T2" fmla="*/ 1 w 1"/>
                <a:gd name="T3" fmla="*/ 6 h 6"/>
                <a:gd name="T4" fmla="*/ 0 w 1"/>
                <a:gd name="T5" fmla="*/ 0 h 6"/>
              </a:gdLst>
              <a:cxnLst>
                <a:cxn ang="0">
                  <a:pos x="T0" y="T1"/>
                </a:cxn>
                <a:cxn ang="0">
                  <a:pos x="T2" y="T3"/>
                </a:cxn>
                <a:cxn ang="0">
                  <a:pos x="T4" y="T5"/>
                </a:cxn>
              </a:cxnLst>
              <a:rect l="0" t="0" r="r" b="b"/>
              <a:pathLst>
                <a:path w="1" h="6">
                  <a:moveTo>
                    <a:pt x="0" y="0"/>
                  </a:moveTo>
                  <a:cubicBezTo>
                    <a:pt x="0" y="2"/>
                    <a:pt x="0" y="4"/>
                    <a:pt x="1" y="6"/>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7" name="Freeform 1381"/>
            <p:cNvSpPr/>
            <p:nvPr/>
          </p:nvSpPr>
          <p:spPr bwMode="auto">
            <a:xfrm>
              <a:off x="6015006" y="5671374"/>
              <a:ext cx="9396" cy="6712"/>
            </a:xfrm>
            <a:custGeom>
              <a:gdLst>
                <a:gd name="T0" fmla="*/ 1 w 3"/>
                <a:gd name="T1" fmla="*/ 0 h 2"/>
                <a:gd name="T2" fmla="*/ 1 w 3"/>
                <a:gd name="T3" fmla="*/ 2 h 2"/>
                <a:gd name="T4" fmla="*/ 1 w 3"/>
                <a:gd name="T5" fmla="*/ 0 h 2"/>
              </a:gdLst>
              <a:cxnLst>
                <a:cxn ang="0">
                  <a:pos x="T0" y="T1"/>
                </a:cxn>
                <a:cxn ang="0">
                  <a:pos x="T2" y="T3"/>
                </a:cxn>
                <a:cxn ang="0">
                  <a:pos x="T4" y="T5"/>
                </a:cxn>
              </a:cxnLst>
              <a:rect l="0" t="0" r="r" b="b"/>
              <a:pathLst>
                <a:path w="3" h="2">
                  <a:moveTo>
                    <a:pt x="1" y="0"/>
                  </a:moveTo>
                  <a:cubicBezTo>
                    <a:pt x="0" y="0"/>
                    <a:pt x="0" y="0"/>
                    <a:pt x="1"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1382"/>
            <p:cNvSpPr/>
            <p:nvPr/>
          </p:nvSpPr>
          <p:spPr bwMode="auto">
            <a:xfrm>
              <a:off x="6586841" y="6585506"/>
              <a:ext cx="2685" cy="12081"/>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1"/>
                    <a:pt x="0" y="2"/>
                    <a:pt x="0"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9" name="Freeform 1383"/>
            <p:cNvSpPr/>
            <p:nvPr/>
          </p:nvSpPr>
          <p:spPr bwMode="auto">
            <a:xfrm>
              <a:off x="5561296" y="5810977"/>
              <a:ext cx="9396" cy="6712"/>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0"/>
                    <a:pt x="1" y="1"/>
                    <a:pt x="0" y="2"/>
                  </a:cubicBezTo>
                  <a:cubicBezTo>
                    <a:pt x="2"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1384"/>
            <p:cNvSpPr/>
            <p:nvPr/>
          </p:nvSpPr>
          <p:spPr bwMode="auto">
            <a:xfrm>
              <a:off x="6672750" y="6692893"/>
              <a:ext cx="18793" cy="25504"/>
            </a:xfrm>
            <a:custGeom>
              <a:gdLst>
                <a:gd name="T0" fmla="*/ 0 w 6"/>
                <a:gd name="T1" fmla="*/ 0 h 8"/>
                <a:gd name="T2" fmla="*/ 3 w 6"/>
                <a:gd name="T3" fmla="*/ 7 h 8"/>
                <a:gd name="T4" fmla="*/ 5 w 6"/>
                <a:gd name="T5" fmla="*/ 8 h 8"/>
                <a:gd name="T6" fmla="*/ 4 w 6"/>
                <a:gd name="T7" fmla="*/ 2 h 8"/>
                <a:gd name="T8" fmla="*/ 0 w 6"/>
                <a:gd name="T9" fmla="*/ 0 h 8"/>
              </a:gdLst>
              <a:cxnLst>
                <a:cxn ang="0">
                  <a:pos x="T0" y="T1"/>
                </a:cxn>
                <a:cxn ang="0">
                  <a:pos x="T2" y="T3"/>
                </a:cxn>
                <a:cxn ang="0">
                  <a:pos x="T4" y="T5"/>
                </a:cxn>
                <a:cxn ang="0">
                  <a:pos x="T6" y="T7"/>
                </a:cxn>
                <a:cxn ang="0">
                  <a:pos x="T8" y="T9"/>
                </a:cxn>
              </a:cxnLst>
              <a:rect l="0" t="0" r="r" b="b"/>
              <a:pathLst>
                <a:path w="6" h="8">
                  <a:moveTo>
                    <a:pt x="0" y="0"/>
                  </a:moveTo>
                  <a:cubicBezTo>
                    <a:pt x="0" y="2"/>
                    <a:pt x="2" y="5"/>
                    <a:pt x="3" y="7"/>
                  </a:cubicBezTo>
                  <a:cubicBezTo>
                    <a:pt x="4" y="7"/>
                    <a:pt x="4" y="7"/>
                    <a:pt x="5" y="8"/>
                  </a:cubicBezTo>
                  <a:cubicBezTo>
                    <a:pt x="6" y="7"/>
                    <a:pt x="5" y="3"/>
                    <a:pt x="4" y="2"/>
                  </a:cubicBezTo>
                  <a:cubicBezTo>
                    <a:pt x="4"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1" name="Freeform 1385"/>
            <p:cNvSpPr/>
            <p:nvPr/>
          </p:nvSpPr>
          <p:spPr bwMode="auto">
            <a:xfrm>
              <a:off x="5586801" y="5738491"/>
              <a:ext cx="18793" cy="30874"/>
            </a:xfrm>
            <a:custGeom>
              <a:gdLst>
                <a:gd name="T0" fmla="*/ 6 w 6"/>
                <a:gd name="T1" fmla="*/ 0 h 10"/>
                <a:gd name="T2" fmla="*/ 0 w 6"/>
                <a:gd name="T3" fmla="*/ 10 h 10"/>
                <a:gd name="T4" fmla="*/ 6 w 6"/>
                <a:gd name="T5" fmla="*/ 0 h 10"/>
              </a:gdLst>
              <a:cxnLst>
                <a:cxn ang="0">
                  <a:pos x="T0" y="T1"/>
                </a:cxn>
                <a:cxn ang="0">
                  <a:pos x="T2" y="T3"/>
                </a:cxn>
                <a:cxn ang="0">
                  <a:pos x="T4" y="T5"/>
                </a:cxn>
              </a:cxnLst>
              <a:rect l="0" t="0" r="r" b="b"/>
              <a:pathLst>
                <a:path w="6" h="10">
                  <a:moveTo>
                    <a:pt x="6" y="0"/>
                  </a:moveTo>
                  <a:cubicBezTo>
                    <a:pt x="4" y="3"/>
                    <a:pt x="2" y="6"/>
                    <a:pt x="0" y="10"/>
                  </a:cubicBezTo>
                  <a:cubicBezTo>
                    <a:pt x="3" y="7"/>
                    <a:pt x="5"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1386"/>
            <p:cNvSpPr/>
            <p:nvPr/>
          </p:nvSpPr>
          <p:spPr bwMode="auto">
            <a:xfrm>
              <a:off x="5098190" y="5759968"/>
              <a:ext cx="51009" cy="38928"/>
            </a:xfrm>
            <a:custGeom>
              <a:gdLst>
                <a:gd name="T0" fmla="*/ 8 w 16"/>
                <a:gd name="T1" fmla="*/ 0 h 12"/>
                <a:gd name="T2" fmla="*/ 5 w 16"/>
                <a:gd name="T3" fmla="*/ 3 h 12"/>
                <a:gd name="T4" fmla="*/ 5 w 16"/>
                <a:gd name="T5" fmla="*/ 8 h 12"/>
                <a:gd name="T6" fmla="*/ 4 w 16"/>
                <a:gd name="T7" fmla="*/ 8 h 12"/>
                <a:gd name="T8" fmla="*/ 4 w 16"/>
                <a:gd name="T9" fmla="*/ 8 h 12"/>
                <a:gd name="T10" fmla="*/ 3 w 16"/>
                <a:gd name="T11" fmla="*/ 8 h 12"/>
                <a:gd name="T12" fmla="*/ 3 w 16"/>
                <a:gd name="T13" fmla="*/ 8 h 12"/>
                <a:gd name="T14" fmla="*/ 2 w 16"/>
                <a:gd name="T15" fmla="*/ 10 h 12"/>
                <a:gd name="T16" fmla="*/ 3 w 16"/>
                <a:gd name="T17" fmla="*/ 11 h 12"/>
                <a:gd name="T18" fmla="*/ 12 w 16"/>
                <a:gd name="T19" fmla="*/ 12 h 12"/>
                <a:gd name="T20" fmla="*/ 13 w 16"/>
                <a:gd name="T21" fmla="*/ 12 h 12"/>
                <a:gd name="T22" fmla="*/ 15 w 16"/>
                <a:gd name="T23" fmla="*/ 10 h 12"/>
                <a:gd name="T24" fmla="*/ 12 w 16"/>
                <a:gd name="T25" fmla="*/ 8 h 12"/>
                <a:gd name="T26" fmla="*/ 11 w 16"/>
                <a:gd name="T27" fmla="*/ 8 h 12"/>
                <a:gd name="T28" fmla="*/ 10 w 16"/>
                <a:gd name="T29" fmla="*/ 3 h 12"/>
                <a:gd name="T30" fmla="*/ 9 w 16"/>
                <a:gd name="T31" fmla="*/ 0 h 12"/>
                <a:gd name="T32" fmla="*/ 8 w 16"/>
                <a:gd name="T3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2">
                  <a:moveTo>
                    <a:pt x="8" y="0"/>
                  </a:moveTo>
                  <a:cubicBezTo>
                    <a:pt x="7" y="0"/>
                    <a:pt x="5" y="1"/>
                    <a:pt x="5" y="3"/>
                  </a:cubicBezTo>
                  <a:cubicBezTo>
                    <a:pt x="4" y="4"/>
                    <a:pt x="6" y="6"/>
                    <a:pt x="5" y="8"/>
                  </a:cubicBezTo>
                  <a:cubicBezTo>
                    <a:pt x="5" y="8"/>
                    <a:pt x="5" y="8"/>
                    <a:pt x="4" y="8"/>
                  </a:cubicBezTo>
                  <a:cubicBezTo>
                    <a:pt x="4" y="8"/>
                    <a:pt x="4" y="8"/>
                    <a:pt x="4" y="8"/>
                  </a:cubicBezTo>
                  <a:cubicBezTo>
                    <a:pt x="3" y="8"/>
                    <a:pt x="3" y="8"/>
                    <a:pt x="3" y="8"/>
                  </a:cubicBezTo>
                  <a:cubicBezTo>
                    <a:pt x="3" y="8"/>
                    <a:pt x="3" y="8"/>
                    <a:pt x="3" y="8"/>
                  </a:cubicBezTo>
                  <a:cubicBezTo>
                    <a:pt x="2" y="10"/>
                    <a:pt x="2" y="10"/>
                    <a:pt x="2" y="10"/>
                  </a:cubicBezTo>
                  <a:cubicBezTo>
                    <a:pt x="2" y="10"/>
                    <a:pt x="0" y="10"/>
                    <a:pt x="3" y="11"/>
                  </a:cubicBezTo>
                  <a:cubicBezTo>
                    <a:pt x="6" y="11"/>
                    <a:pt x="9" y="12"/>
                    <a:pt x="12" y="12"/>
                  </a:cubicBezTo>
                  <a:cubicBezTo>
                    <a:pt x="12" y="12"/>
                    <a:pt x="13" y="12"/>
                    <a:pt x="13" y="12"/>
                  </a:cubicBezTo>
                  <a:cubicBezTo>
                    <a:pt x="15" y="12"/>
                    <a:pt x="16" y="11"/>
                    <a:pt x="15" y="10"/>
                  </a:cubicBezTo>
                  <a:cubicBezTo>
                    <a:pt x="15" y="9"/>
                    <a:pt x="13" y="8"/>
                    <a:pt x="12" y="8"/>
                  </a:cubicBezTo>
                  <a:cubicBezTo>
                    <a:pt x="12" y="8"/>
                    <a:pt x="12" y="8"/>
                    <a:pt x="11" y="8"/>
                  </a:cubicBezTo>
                  <a:cubicBezTo>
                    <a:pt x="12" y="6"/>
                    <a:pt x="10" y="4"/>
                    <a:pt x="10" y="3"/>
                  </a:cubicBezTo>
                  <a:cubicBezTo>
                    <a:pt x="10" y="2"/>
                    <a:pt x="10" y="1"/>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1387"/>
            <p:cNvSpPr>
              <a:spLocks noEditPoints="1"/>
            </p:cNvSpPr>
            <p:nvPr/>
          </p:nvSpPr>
          <p:spPr bwMode="auto">
            <a:xfrm>
              <a:off x="5784124" y="6143877"/>
              <a:ext cx="44297" cy="25504"/>
            </a:xfrm>
            <a:custGeom>
              <a:gdLst>
                <a:gd name="T0" fmla="*/ 6 w 14"/>
                <a:gd name="T1" fmla="*/ 7 h 8"/>
                <a:gd name="T2" fmla="*/ 6 w 14"/>
                <a:gd name="T3" fmla="*/ 7 h 8"/>
                <a:gd name="T4" fmla="*/ 6 w 14"/>
                <a:gd name="T5" fmla="*/ 7 h 8"/>
                <a:gd name="T6" fmla="*/ 11 w 14"/>
                <a:gd name="T7" fmla="*/ 0 h 8"/>
                <a:gd name="T8" fmla="*/ 6 w 14"/>
                <a:gd name="T9" fmla="*/ 1 h 8"/>
                <a:gd name="T10" fmla="*/ 0 w 14"/>
                <a:gd name="T11" fmla="*/ 7 h 8"/>
                <a:gd name="T12" fmla="*/ 2 w 14"/>
                <a:gd name="T13" fmla="*/ 8 h 8"/>
                <a:gd name="T14" fmla="*/ 4 w 14"/>
                <a:gd name="T15" fmla="*/ 8 h 8"/>
                <a:gd name="T16" fmla="*/ 6 w 14"/>
                <a:gd name="T17" fmla="*/ 7 h 8"/>
                <a:gd name="T18" fmla="*/ 6 w 14"/>
                <a:gd name="T19" fmla="*/ 7 h 8"/>
                <a:gd name="T20" fmla="*/ 9 w 14"/>
                <a:gd name="T21" fmla="*/ 3 h 8"/>
                <a:gd name="T22" fmla="*/ 9 w 14"/>
                <a:gd name="T23" fmla="*/ 3 h 8"/>
                <a:gd name="T24" fmla="*/ 10 w 14"/>
                <a:gd name="T25" fmla="*/ 3 h 8"/>
                <a:gd name="T26" fmla="*/ 11 w 14"/>
                <a:gd name="T27" fmla="*/ 4 h 8"/>
                <a:gd name="T28" fmla="*/ 11 w 14"/>
                <a:gd name="T29" fmla="*/ 4 h 8"/>
                <a:gd name="T30" fmla="*/ 12 w 14"/>
                <a:gd name="T31" fmla="*/ 3 h 8"/>
                <a:gd name="T32" fmla="*/ 14 w 14"/>
                <a:gd name="T33" fmla="*/ 2 h 8"/>
                <a:gd name="T34" fmla="*/ 11 w 14"/>
                <a:gd name="T35"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8">
                  <a:moveTo>
                    <a:pt x="6" y="7"/>
                  </a:moveTo>
                  <a:cubicBezTo>
                    <a:pt x="6" y="7"/>
                    <a:pt x="6" y="7"/>
                    <a:pt x="6" y="7"/>
                  </a:cubicBezTo>
                  <a:cubicBezTo>
                    <a:pt x="6" y="7"/>
                    <a:pt x="6" y="7"/>
                    <a:pt x="6" y="7"/>
                  </a:cubicBezTo>
                  <a:moveTo>
                    <a:pt x="11" y="0"/>
                  </a:moveTo>
                  <a:cubicBezTo>
                    <a:pt x="9" y="0"/>
                    <a:pt x="7" y="1"/>
                    <a:pt x="6" y="1"/>
                  </a:cubicBezTo>
                  <a:cubicBezTo>
                    <a:pt x="3" y="2"/>
                    <a:pt x="3" y="4"/>
                    <a:pt x="0" y="7"/>
                  </a:cubicBezTo>
                  <a:cubicBezTo>
                    <a:pt x="1" y="8"/>
                    <a:pt x="2" y="8"/>
                    <a:pt x="2" y="8"/>
                  </a:cubicBezTo>
                  <a:cubicBezTo>
                    <a:pt x="3" y="8"/>
                    <a:pt x="4" y="8"/>
                    <a:pt x="4" y="8"/>
                  </a:cubicBezTo>
                  <a:cubicBezTo>
                    <a:pt x="5" y="8"/>
                    <a:pt x="6" y="7"/>
                    <a:pt x="6" y="7"/>
                  </a:cubicBezTo>
                  <a:cubicBezTo>
                    <a:pt x="6" y="7"/>
                    <a:pt x="6" y="7"/>
                    <a:pt x="6" y="7"/>
                  </a:cubicBezTo>
                  <a:cubicBezTo>
                    <a:pt x="7" y="6"/>
                    <a:pt x="9" y="3"/>
                    <a:pt x="9" y="3"/>
                  </a:cubicBezTo>
                  <a:cubicBezTo>
                    <a:pt x="9" y="3"/>
                    <a:pt x="9" y="3"/>
                    <a:pt x="9" y="3"/>
                  </a:cubicBezTo>
                  <a:cubicBezTo>
                    <a:pt x="10" y="3"/>
                    <a:pt x="10" y="3"/>
                    <a:pt x="10" y="3"/>
                  </a:cubicBezTo>
                  <a:cubicBezTo>
                    <a:pt x="10" y="4"/>
                    <a:pt x="10" y="4"/>
                    <a:pt x="11" y="4"/>
                  </a:cubicBezTo>
                  <a:cubicBezTo>
                    <a:pt x="11" y="4"/>
                    <a:pt x="11" y="4"/>
                    <a:pt x="11" y="4"/>
                  </a:cubicBezTo>
                  <a:cubicBezTo>
                    <a:pt x="11" y="4"/>
                    <a:pt x="11" y="3"/>
                    <a:pt x="12" y="3"/>
                  </a:cubicBezTo>
                  <a:cubicBezTo>
                    <a:pt x="13" y="3"/>
                    <a:pt x="14" y="3"/>
                    <a:pt x="14" y="2"/>
                  </a:cubicBezTo>
                  <a:cubicBezTo>
                    <a:pt x="14"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388"/>
            <p:cNvSpPr/>
            <p:nvPr/>
          </p:nvSpPr>
          <p:spPr bwMode="auto">
            <a:xfrm>
              <a:off x="6084807" y="5541167"/>
              <a:ext cx="34901" cy="22820"/>
            </a:xfrm>
            <a:custGeom>
              <a:gdLst>
                <a:gd name="T0" fmla="*/ 0 w 11"/>
                <a:gd name="T1" fmla="*/ 0 h 7"/>
                <a:gd name="T2" fmla="*/ 11 w 11"/>
                <a:gd name="T3" fmla="*/ 7 h 7"/>
                <a:gd name="T4" fmla="*/ 0 w 11"/>
                <a:gd name="T5" fmla="*/ 0 h 7"/>
              </a:gdLst>
              <a:cxnLst>
                <a:cxn ang="0">
                  <a:pos x="T0" y="T1"/>
                </a:cxn>
                <a:cxn ang="0">
                  <a:pos x="T2" y="T3"/>
                </a:cxn>
                <a:cxn ang="0">
                  <a:pos x="T4" y="T5"/>
                </a:cxn>
              </a:cxnLst>
              <a:rect l="0" t="0" r="r" b="b"/>
              <a:pathLst>
                <a:path w="11" h="7">
                  <a:moveTo>
                    <a:pt x="0" y="0"/>
                  </a:moveTo>
                  <a:cubicBezTo>
                    <a:pt x="3" y="2"/>
                    <a:pt x="7" y="5"/>
                    <a:pt x="11" y="7"/>
                  </a:cubicBezTo>
                  <a:cubicBezTo>
                    <a:pt x="10" y="2"/>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1389"/>
            <p:cNvSpPr>
              <a:spLocks noEditPoints="1"/>
            </p:cNvSpPr>
            <p:nvPr/>
          </p:nvSpPr>
          <p:spPr bwMode="auto">
            <a:xfrm>
              <a:off x="6663354" y="5541167"/>
              <a:ext cx="14766" cy="28189"/>
            </a:xfrm>
            <a:custGeom>
              <a:gdLst>
                <a:gd name="T0" fmla="*/ 5 w 5"/>
                <a:gd name="T1" fmla="*/ 8 h 9"/>
                <a:gd name="T2" fmla="*/ 5 w 5"/>
                <a:gd name="T3" fmla="*/ 9 h 9"/>
                <a:gd name="T4" fmla="*/ 5 w 5"/>
                <a:gd name="T5" fmla="*/ 8 h 9"/>
                <a:gd name="T6" fmla="*/ 5 w 5"/>
                <a:gd name="T7" fmla="*/ 0 h 9"/>
                <a:gd name="T8" fmla="*/ 5 w 5"/>
                <a:gd name="T9" fmla="*/ 8 h 9"/>
                <a:gd name="T10" fmla="*/ 5 w 5"/>
                <a:gd name="T11" fmla="*/ 3 h 9"/>
                <a:gd name="T12" fmla="*/ 5 w 5"/>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5" h="9">
                  <a:moveTo>
                    <a:pt x="5" y="8"/>
                  </a:moveTo>
                  <a:cubicBezTo>
                    <a:pt x="5" y="9"/>
                    <a:pt x="5" y="9"/>
                    <a:pt x="5" y="9"/>
                  </a:cubicBezTo>
                  <a:cubicBezTo>
                    <a:pt x="5" y="9"/>
                    <a:pt x="5" y="9"/>
                    <a:pt x="5" y="8"/>
                  </a:cubicBezTo>
                  <a:moveTo>
                    <a:pt x="5" y="0"/>
                  </a:moveTo>
                  <a:cubicBezTo>
                    <a:pt x="0" y="1"/>
                    <a:pt x="3" y="5"/>
                    <a:pt x="5" y="8"/>
                  </a:cubicBezTo>
                  <a:cubicBezTo>
                    <a:pt x="4" y="6"/>
                    <a:pt x="5" y="5"/>
                    <a:pt x="5" y="3"/>
                  </a:cubicBezTo>
                  <a:cubicBezTo>
                    <a:pt x="5" y="2"/>
                    <a:pt x="4"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390"/>
            <p:cNvSpPr/>
            <p:nvPr/>
          </p:nvSpPr>
          <p:spPr bwMode="auto">
            <a:xfrm>
              <a:off x="6782822" y="5706275"/>
              <a:ext cx="25504" cy="6712"/>
            </a:xfrm>
            <a:custGeom>
              <a:gdLst>
                <a:gd name="T0" fmla="*/ 0 w 8"/>
                <a:gd name="T1" fmla="*/ 0 h 2"/>
                <a:gd name="T2" fmla="*/ 5 w 8"/>
                <a:gd name="T3" fmla="*/ 2 h 2"/>
                <a:gd name="T4" fmla="*/ 8 w 8"/>
                <a:gd name="T5" fmla="*/ 1 h 2"/>
                <a:gd name="T6" fmla="*/ 0 w 8"/>
                <a:gd name="T7" fmla="*/ 0 h 2"/>
              </a:gdLst>
              <a:cxnLst>
                <a:cxn ang="0">
                  <a:pos x="T0" y="T1"/>
                </a:cxn>
                <a:cxn ang="0">
                  <a:pos x="T2" y="T3"/>
                </a:cxn>
                <a:cxn ang="0">
                  <a:pos x="T4" y="T5"/>
                </a:cxn>
                <a:cxn ang="0">
                  <a:pos x="T6" y="T7"/>
                </a:cxn>
              </a:cxnLst>
              <a:rect l="0" t="0" r="r" b="b"/>
              <a:pathLst>
                <a:path w="8" h="2">
                  <a:moveTo>
                    <a:pt x="0" y="0"/>
                  </a:moveTo>
                  <a:cubicBezTo>
                    <a:pt x="2" y="1"/>
                    <a:pt x="3" y="1"/>
                    <a:pt x="5" y="2"/>
                  </a:cubicBezTo>
                  <a:cubicBezTo>
                    <a:pt x="6" y="2"/>
                    <a:pt x="7" y="2"/>
                    <a:pt x="8" y="1"/>
                  </a:cubicBezTo>
                  <a:cubicBezTo>
                    <a:pt x="6" y="0"/>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1391"/>
            <p:cNvSpPr/>
            <p:nvPr/>
          </p:nvSpPr>
          <p:spPr bwMode="auto">
            <a:xfrm>
              <a:off x="6598922" y="5598888"/>
              <a:ext cx="25504" cy="25504"/>
            </a:xfrm>
            <a:custGeom>
              <a:gdLst>
                <a:gd name="T0" fmla="*/ 3 w 8"/>
                <a:gd name="T1" fmla="*/ 0 h 8"/>
                <a:gd name="T2" fmla="*/ 1 w 8"/>
                <a:gd name="T3" fmla="*/ 2 h 8"/>
                <a:gd name="T4" fmla="*/ 6 w 8"/>
                <a:gd name="T5" fmla="*/ 8 h 8"/>
                <a:gd name="T6" fmla="*/ 5 w 8"/>
                <a:gd name="T7" fmla="*/ 1 h 8"/>
                <a:gd name="T8" fmla="*/ 3 w 8"/>
                <a:gd name="T9" fmla="*/ 0 h 8"/>
              </a:gdLst>
              <a:cxnLst>
                <a:cxn ang="0">
                  <a:pos x="T0" y="T1"/>
                </a:cxn>
                <a:cxn ang="0">
                  <a:pos x="T2" y="T3"/>
                </a:cxn>
                <a:cxn ang="0">
                  <a:pos x="T4" y="T5"/>
                </a:cxn>
                <a:cxn ang="0">
                  <a:pos x="T6" y="T7"/>
                </a:cxn>
                <a:cxn ang="0">
                  <a:pos x="T8" y="T9"/>
                </a:cxn>
              </a:cxnLst>
              <a:rect l="0" t="0" r="r" b="b"/>
              <a:pathLst>
                <a:path w="8" h="8">
                  <a:moveTo>
                    <a:pt x="3" y="0"/>
                  </a:moveTo>
                  <a:cubicBezTo>
                    <a:pt x="3" y="0"/>
                    <a:pt x="2" y="1"/>
                    <a:pt x="1" y="2"/>
                  </a:cubicBezTo>
                  <a:cubicBezTo>
                    <a:pt x="0" y="5"/>
                    <a:pt x="4" y="6"/>
                    <a:pt x="6" y="8"/>
                  </a:cubicBezTo>
                  <a:cubicBezTo>
                    <a:pt x="7" y="5"/>
                    <a:pt x="8" y="3"/>
                    <a:pt x="5" y="1"/>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1392"/>
            <p:cNvSpPr/>
            <p:nvPr/>
          </p:nvSpPr>
          <p:spPr bwMode="auto">
            <a:xfrm>
              <a:off x="6833830" y="5759968"/>
              <a:ext cx="41612" cy="22820"/>
            </a:xfrm>
            <a:custGeom>
              <a:gdLst>
                <a:gd name="T0" fmla="*/ 0 w 13"/>
                <a:gd name="T1" fmla="*/ 0 h 7"/>
                <a:gd name="T2" fmla="*/ 8 w 13"/>
                <a:gd name="T3" fmla="*/ 7 h 7"/>
                <a:gd name="T4" fmla="*/ 13 w 13"/>
                <a:gd name="T5" fmla="*/ 6 h 7"/>
                <a:gd name="T6" fmla="*/ 0 w 13"/>
                <a:gd name="T7" fmla="*/ 0 h 7"/>
              </a:gdLst>
              <a:cxnLst>
                <a:cxn ang="0">
                  <a:pos x="T0" y="T1"/>
                </a:cxn>
                <a:cxn ang="0">
                  <a:pos x="T2" y="T3"/>
                </a:cxn>
                <a:cxn ang="0">
                  <a:pos x="T4" y="T5"/>
                </a:cxn>
                <a:cxn ang="0">
                  <a:pos x="T6" y="T7"/>
                </a:cxn>
              </a:cxnLst>
              <a:rect l="0" t="0" r="r" b="b"/>
              <a:pathLst>
                <a:path w="13" h="7">
                  <a:moveTo>
                    <a:pt x="0" y="0"/>
                  </a:moveTo>
                  <a:cubicBezTo>
                    <a:pt x="3" y="2"/>
                    <a:pt x="5" y="5"/>
                    <a:pt x="8" y="7"/>
                  </a:cubicBezTo>
                  <a:cubicBezTo>
                    <a:pt x="10" y="7"/>
                    <a:pt x="11" y="7"/>
                    <a:pt x="13" y="6"/>
                  </a:cubicBezTo>
                  <a:cubicBezTo>
                    <a:pt x="10" y="3"/>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1393"/>
            <p:cNvSpPr/>
            <p:nvPr/>
          </p:nvSpPr>
          <p:spPr bwMode="auto">
            <a:xfrm>
              <a:off x="6649930" y="5103566"/>
              <a:ext cx="181215" cy="167792"/>
            </a:xfrm>
            <a:custGeom>
              <a:gdLst>
                <a:gd name="T0" fmla="*/ 1 w 57"/>
                <a:gd name="T1" fmla="*/ 0 h 53"/>
                <a:gd name="T2" fmla="*/ 0 w 57"/>
                <a:gd name="T3" fmla="*/ 4 h 53"/>
                <a:gd name="T4" fmla="*/ 1 w 57"/>
                <a:gd name="T5" fmla="*/ 4 h 53"/>
                <a:gd name="T6" fmla="*/ 2 w 57"/>
                <a:gd name="T7" fmla="*/ 5 h 53"/>
                <a:gd name="T8" fmla="*/ 3 w 57"/>
                <a:gd name="T9" fmla="*/ 5 h 53"/>
                <a:gd name="T10" fmla="*/ 4 w 57"/>
                <a:gd name="T11" fmla="*/ 4 h 53"/>
                <a:gd name="T12" fmla="*/ 5 w 57"/>
                <a:gd name="T13" fmla="*/ 5 h 53"/>
                <a:gd name="T14" fmla="*/ 27 w 57"/>
                <a:gd name="T15" fmla="*/ 18 h 53"/>
                <a:gd name="T16" fmla="*/ 43 w 57"/>
                <a:gd name="T17" fmla="*/ 33 h 53"/>
                <a:gd name="T18" fmla="*/ 46 w 57"/>
                <a:gd name="T19" fmla="*/ 39 h 53"/>
                <a:gd name="T20" fmla="*/ 46 w 57"/>
                <a:gd name="T21" fmla="*/ 42 h 53"/>
                <a:gd name="T22" fmla="*/ 51 w 57"/>
                <a:gd name="T23" fmla="*/ 53 h 53"/>
                <a:gd name="T24" fmla="*/ 56 w 57"/>
                <a:gd name="T25" fmla="*/ 39 h 53"/>
                <a:gd name="T26" fmla="*/ 54 w 57"/>
                <a:gd name="T27" fmla="*/ 37 h 53"/>
                <a:gd name="T28" fmla="*/ 49 w 57"/>
                <a:gd name="T29" fmla="*/ 30 h 53"/>
                <a:gd name="T30" fmla="*/ 49 w 57"/>
                <a:gd name="T31" fmla="*/ 30 h 53"/>
                <a:gd name="T32" fmla="*/ 48 w 57"/>
                <a:gd name="T33" fmla="*/ 30 h 53"/>
                <a:gd name="T34" fmla="*/ 47 w 57"/>
                <a:gd name="T35" fmla="*/ 31 h 53"/>
                <a:gd name="T36" fmla="*/ 46 w 57"/>
                <a:gd name="T37" fmla="*/ 30 h 53"/>
                <a:gd name="T38" fmla="*/ 40 w 57"/>
                <a:gd name="T39" fmla="*/ 24 h 53"/>
                <a:gd name="T40" fmla="*/ 33 w 57"/>
                <a:gd name="T41" fmla="*/ 18 h 53"/>
                <a:gd name="T42" fmla="*/ 24 w 57"/>
                <a:gd name="T43" fmla="*/ 13 h 53"/>
                <a:gd name="T44" fmla="*/ 16 w 57"/>
                <a:gd name="T45" fmla="*/ 7 h 53"/>
                <a:gd name="T46" fmla="*/ 12 w 57"/>
                <a:gd name="T47" fmla="*/ 6 h 53"/>
                <a:gd name="T48" fmla="*/ 1 w 57"/>
                <a:gd name="T49" fmla="*/ 0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 h="52">
                  <a:moveTo>
                    <a:pt x="1" y="0"/>
                  </a:moveTo>
                  <a:cubicBezTo>
                    <a:pt x="4" y="3"/>
                    <a:pt x="3" y="2"/>
                    <a:pt x="0" y="4"/>
                  </a:cubicBezTo>
                  <a:cubicBezTo>
                    <a:pt x="1" y="4"/>
                    <a:pt x="1" y="4"/>
                    <a:pt x="1" y="4"/>
                  </a:cubicBezTo>
                  <a:cubicBezTo>
                    <a:pt x="2" y="5"/>
                    <a:pt x="2" y="5"/>
                    <a:pt x="2" y="5"/>
                  </a:cubicBezTo>
                  <a:cubicBezTo>
                    <a:pt x="2" y="5"/>
                    <a:pt x="3" y="5"/>
                    <a:pt x="3" y="5"/>
                  </a:cubicBezTo>
                  <a:cubicBezTo>
                    <a:pt x="3" y="4"/>
                    <a:pt x="3" y="4"/>
                    <a:pt x="4" y="4"/>
                  </a:cubicBezTo>
                  <a:cubicBezTo>
                    <a:pt x="4" y="4"/>
                    <a:pt x="4" y="4"/>
                    <a:pt x="5" y="5"/>
                  </a:cubicBezTo>
                  <a:cubicBezTo>
                    <a:pt x="12" y="9"/>
                    <a:pt x="19" y="14"/>
                    <a:pt x="27" y="18"/>
                  </a:cubicBezTo>
                  <a:cubicBezTo>
                    <a:pt x="33" y="22"/>
                    <a:pt x="39" y="25"/>
                    <a:pt x="43" y="33"/>
                  </a:cubicBezTo>
                  <a:cubicBezTo>
                    <a:pt x="44" y="35"/>
                    <a:pt x="45" y="37"/>
                    <a:pt x="46" y="39"/>
                  </a:cubicBezTo>
                  <a:cubicBezTo>
                    <a:pt x="46" y="40"/>
                    <a:pt x="46" y="41"/>
                    <a:pt x="46" y="42"/>
                  </a:cubicBezTo>
                  <a:cubicBezTo>
                    <a:pt x="46" y="46"/>
                    <a:pt x="49" y="49"/>
                    <a:pt x="51" y="53"/>
                  </a:cubicBezTo>
                  <a:cubicBezTo>
                    <a:pt x="52" y="50"/>
                    <a:pt x="57" y="43"/>
                    <a:pt x="56" y="39"/>
                  </a:cubicBezTo>
                  <a:cubicBezTo>
                    <a:pt x="56" y="39"/>
                    <a:pt x="55" y="38"/>
                    <a:pt x="54" y="37"/>
                  </a:cubicBezTo>
                  <a:cubicBezTo>
                    <a:pt x="53" y="35"/>
                    <a:pt x="51" y="31"/>
                    <a:pt x="49" y="30"/>
                  </a:cubicBezTo>
                  <a:cubicBezTo>
                    <a:pt x="49" y="30"/>
                    <a:pt x="49" y="30"/>
                    <a:pt x="49" y="30"/>
                  </a:cubicBezTo>
                  <a:cubicBezTo>
                    <a:pt x="48" y="30"/>
                    <a:pt x="48" y="30"/>
                    <a:pt x="48" y="30"/>
                  </a:cubicBezTo>
                  <a:cubicBezTo>
                    <a:pt x="48" y="30"/>
                    <a:pt x="47" y="31"/>
                    <a:pt x="47" y="31"/>
                  </a:cubicBezTo>
                  <a:cubicBezTo>
                    <a:pt x="47" y="31"/>
                    <a:pt x="46" y="31"/>
                    <a:pt x="46" y="30"/>
                  </a:cubicBezTo>
                  <a:cubicBezTo>
                    <a:pt x="44" y="30"/>
                    <a:pt x="41" y="26"/>
                    <a:pt x="40" y="24"/>
                  </a:cubicBezTo>
                  <a:cubicBezTo>
                    <a:pt x="37" y="22"/>
                    <a:pt x="35" y="20"/>
                    <a:pt x="33" y="18"/>
                  </a:cubicBezTo>
                  <a:cubicBezTo>
                    <a:pt x="30" y="15"/>
                    <a:pt x="27" y="15"/>
                    <a:pt x="24" y="13"/>
                  </a:cubicBezTo>
                  <a:cubicBezTo>
                    <a:pt x="21" y="11"/>
                    <a:pt x="18" y="9"/>
                    <a:pt x="16" y="7"/>
                  </a:cubicBezTo>
                  <a:cubicBezTo>
                    <a:pt x="15" y="7"/>
                    <a:pt x="13" y="7"/>
                    <a:pt x="12" y="6"/>
                  </a:cubicBezTo>
                  <a:cubicBezTo>
                    <a:pt x="8" y="4"/>
                    <a:pt x="5"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1394"/>
            <p:cNvSpPr/>
            <p:nvPr/>
          </p:nvSpPr>
          <p:spPr bwMode="auto">
            <a:xfrm>
              <a:off x="6896920" y="5757284"/>
              <a:ext cx="16108" cy="9396"/>
            </a:xfrm>
            <a:custGeom>
              <a:gdLst>
                <a:gd name="T0" fmla="*/ 2 w 5"/>
                <a:gd name="T1" fmla="*/ 0 h 3"/>
                <a:gd name="T2" fmla="*/ 1 w 5"/>
                <a:gd name="T3" fmla="*/ 3 h 3"/>
                <a:gd name="T4" fmla="*/ 5 w 5"/>
                <a:gd name="T5" fmla="*/ 2 h 3"/>
                <a:gd name="T6" fmla="*/ 2 w 5"/>
                <a:gd name="T7" fmla="*/ 0 h 3"/>
              </a:gdLst>
              <a:cxnLst>
                <a:cxn ang="0">
                  <a:pos x="T0" y="T1"/>
                </a:cxn>
                <a:cxn ang="0">
                  <a:pos x="T2" y="T3"/>
                </a:cxn>
                <a:cxn ang="0">
                  <a:pos x="T4" y="T5"/>
                </a:cxn>
                <a:cxn ang="0">
                  <a:pos x="T6" y="T7"/>
                </a:cxn>
              </a:cxnLst>
              <a:rect l="0" t="0" r="r" b="b"/>
              <a:pathLst>
                <a:path w="5" h="3">
                  <a:moveTo>
                    <a:pt x="2" y="0"/>
                  </a:moveTo>
                  <a:cubicBezTo>
                    <a:pt x="1" y="0"/>
                    <a:pt x="0" y="1"/>
                    <a:pt x="1" y="3"/>
                  </a:cubicBezTo>
                  <a:cubicBezTo>
                    <a:pt x="2" y="3"/>
                    <a:pt x="5" y="3"/>
                    <a:pt x="5" y="2"/>
                  </a:cubicBezTo>
                  <a:cubicBezTo>
                    <a:pt x="5"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Freeform 1395"/>
            <p:cNvSpPr/>
            <p:nvPr/>
          </p:nvSpPr>
          <p:spPr bwMode="auto">
            <a:xfrm>
              <a:off x="6624426" y="5610969"/>
              <a:ext cx="41612" cy="25504"/>
            </a:xfrm>
            <a:custGeom>
              <a:gdLst>
                <a:gd name="T0" fmla="*/ 2 w 13"/>
                <a:gd name="T1" fmla="*/ 0 h 8"/>
                <a:gd name="T2" fmla="*/ 2 w 13"/>
                <a:gd name="T3" fmla="*/ 5 h 8"/>
                <a:gd name="T4" fmla="*/ 0 w 13"/>
                <a:gd name="T5" fmla="*/ 6 h 8"/>
                <a:gd name="T6" fmla="*/ 10 w 13"/>
                <a:gd name="T7" fmla="*/ 8 h 8"/>
                <a:gd name="T8" fmla="*/ 11 w 13"/>
                <a:gd name="T9" fmla="*/ 5 h 8"/>
                <a:gd name="T10" fmla="*/ 9 w 13"/>
                <a:gd name="T11" fmla="*/ 2 h 8"/>
                <a:gd name="T12" fmla="*/ 8 w 13"/>
                <a:gd name="T13" fmla="*/ 1 h 8"/>
                <a:gd name="T14" fmla="*/ 7 w 13"/>
                <a:gd name="T15" fmla="*/ 1 h 8"/>
                <a:gd name="T16" fmla="*/ 6 w 13"/>
                <a:gd name="T17" fmla="*/ 2 h 8"/>
                <a:gd name="T18" fmla="*/ 6 w 13"/>
                <a:gd name="T19" fmla="*/ 2 h 8"/>
                <a:gd name="T20" fmla="*/ 4 w 13"/>
                <a:gd name="T21" fmla="*/ 0 h 8"/>
                <a:gd name="T22" fmla="*/ 2 w 13"/>
                <a:gd name="T23"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8">
                  <a:moveTo>
                    <a:pt x="2" y="0"/>
                  </a:moveTo>
                  <a:cubicBezTo>
                    <a:pt x="0" y="0"/>
                    <a:pt x="2" y="1"/>
                    <a:pt x="2" y="5"/>
                  </a:cubicBezTo>
                  <a:cubicBezTo>
                    <a:pt x="2" y="5"/>
                    <a:pt x="0" y="6"/>
                    <a:pt x="0" y="6"/>
                  </a:cubicBezTo>
                  <a:cubicBezTo>
                    <a:pt x="1" y="8"/>
                    <a:pt x="8" y="8"/>
                    <a:pt x="10" y="8"/>
                  </a:cubicBezTo>
                  <a:cubicBezTo>
                    <a:pt x="13" y="7"/>
                    <a:pt x="12" y="6"/>
                    <a:pt x="11" y="5"/>
                  </a:cubicBezTo>
                  <a:cubicBezTo>
                    <a:pt x="11" y="4"/>
                    <a:pt x="10" y="2"/>
                    <a:pt x="9" y="2"/>
                  </a:cubicBezTo>
                  <a:cubicBezTo>
                    <a:pt x="9" y="1"/>
                    <a:pt x="8" y="1"/>
                    <a:pt x="8" y="1"/>
                  </a:cubicBezTo>
                  <a:cubicBezTo>
                    <a:pt x="8" y="1"/>
                    <a:pt x="8" y="1"/>
                    <a:pt x="7" y="1"/>
                  </a:cubicBezTo>
                  <a:cubicBezTo>
                    <a:pt x="7" y="2"/>
                    <a:pt x="7" y="2"/>
                    <a:pt x="6" y="2"/>
                  </a:cubicBezTo>
                  <a:cubicBezTo>
                    <a:pt x="6" y="2"/>
                    <a:pt x="6" y="2"/>
                    <a:pt x="6" y="2"/>
                  </a:cubicBezTo>
                  <a:cubicBezTo>
                    <a:pt x="5" y="1"/>
                    <a:pt x="5" y="0"/>
                    <a:pt x="4"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1396"/>
            <p:cNvSpPr/>
            <p:nvPr/>
          </p:nvSpPr>
          <p:spPr bwMode="auto">
            <a:xfrm>
              <a:off x="6466030" y="5220349"/>
              <a:ext cx="311422" cy="162423"/>
            </a:xfrm>
            <a:custGeom>
              <a:gdLst>
                <a:gd name="T0" fmla="*/ 90 w 98"/>
                <a:gd name="T1" fmla="*/ 1 h 51"/>
                <a:gd name="T2" fmla="*/ 89 w 98"/>
                <a:gd name="T3" fmla="*/ 1 h 51"/>
                <a:gd name="T4" fmla="*/ 88 w 98"/>
                <a:gd name="T5" fmla="*/ 1 h 51"/>
                <a:gd name="T6" fmla="*/ 88 w 98"/>
                <a:gd name="T7" fmla="*/ 1 h 51"/>
                <a:gd name="T8" fmla="*/ 77 w 98"/>
                <a:gd name="T9" fmla="*/ 1 h 51"/>
                <a:gd name="T10" fmla="*/ 75 w 98"/>
                <a:gd name="T11" fmla="*/ 18 h 51"/>
                <a:gd name="T12" fmla="*/ 59 w 98"/>
                <a:gd name="T13" fmla="*/ 30 h 51"/>
                <a:gd name="T14" fmla="*/ 55 w 98"/>
                <a:gd name="T15" fmla="*/ 33 h 51"/>
                <a:gd name="T16" fmla="*/ 52 w 98"/>
                <a:gd name="T17" fmla="*/ 30 h 51"/>
                <a:gd name="T18" fmla="*/ 46 w 98"/>
                <a:gd name="T19" fmla="*/ 33 h 51"/>
                <a:gd name="T20" fmla="*/ 43 w 98"/>
                <a:gd name="T21" fmla="*/ 30 h 51"/>
                <a:gd name="T22" fmla="*/ 43 w 98"/>
                <a:gd name="T23" fmla="*/ 20 h 51"/>
                <a:gd name="T24" fmla="*/ 39 w 98"/>
                <a:gd name="T25" fmla="*/ 26 h 51"/>
                <a:gd name="T26" fmla="*/ 40 w 98"/>
                <a:gd name="T27" fmla="*/ 30 h 51"/>
                <a:gd name="T28" fmla="*/ 33 w 98"/>
                <a:gd name="T29" fmla="*/ 33 h 51"/>
                <a:gd name="T30" fmla="*/ 32 w 98"/>
                <a:gd name="T31" fmla="*/ 32 h 51"/>
                <a:gd name="T32" fmla="*/ 24 w 98"/>
                <a:gd name="T33" fmla="*/ 34 h 51"/>
                <a:gd name="T34" fmla="*/ 19 w 98"/>
                <a:gd name="T35" fmla="*/ 32 h 51"/>
                <a:gd name="T36" fmla="*/ 13 w 98"/>
                <a:gd name="T37" fmla="*/ 32 h 51"/>
                <a:gd name="T38" fmla="*/ 10 w 98"/>
                <a:gd name="T39" fmla="*/ 31 h 51"/>
                <a:gd name="T40" fmla="*/ 9 w 98"/>
                <a:gd name="T41" fmla="*/ 32 h 51"/>
                <a:gd name="T42" fmla="*/ 8 w 98"/>
                <a:gd name="T43" fmla="*/ 32 h 51"/>
                <a:gd name="T44" fmla="*/ 3 w 98"/>
                <a:gd name="T45" fmla="*/ 31 h 51"/>
                <a:gd name="T46" fmla="*/ 2 w 98"/>
                <a:gd name="T47" fmla="*/ 38 h 51"/>
                <a:gd name="T48" fmla="*/ 18 w 98"/>
                <a:gd name="T49" fmla="*/ 45 h 51"/>
                <a:gd name="T50" fmla="*/ 24 w 98"/>
                <a:gd name="T51" fmla="*/ 46 h 51"/>
                <a:gd name="T52" fmla="*/ 30 w 98"/>
                <a:gd name="T53" fmla="*/ 49 h 51"/>
                <a:gd name="T54" fmla="*/ 44 w 98"/>
                <a:gd name="T55" fmla="*/ 50 h 51"/>
                <a:gd name="T56" fmla="*/ 65 w 98"/>
                <a:gd name="T57" fmla="*/ 44 h 51"/>
                <a:gd name="T58" fmla="*/ 73 w 98"/>
                <a:gd name="T59" fmla="*/ 39 h 51"/>
                <a:gd name="T60" fmla="*/ 80 w 98"/>
                <a:gd name="T61" fmla="*/ 33 h 51"/>
                <a:gd name="T62" fmla="*/ 84 w 98"/>
                <a:gd name="T63" fmla="*/ 33 h 51"/>
                <a:gd name="T64" fmla="*/ 90 w 98"/>
                <a:gd name="T65" fmla="*/ 30 h 51"/>
                <a:gd name="T66" fmla="*/ 88 w 98"/>
                <a:gd name="T67" fmla="*/ 19 h 51"/>
                <a:gd name="T68" fmla="*/ 91 w 98"/>
                <a:gd name="T69" fmla="*/ 20 h 51"/>
                <a:gd name="T70" fmla="*/ 96 w 98"/>
                <a:gd name="T71" fmla="*/ 16 h 51"/>
                <a:gd name="T72" fmla="*/ 92 w 98"/>
                <a:gd name="T73" fmla="*/ 1 h 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51">
                  <a:moveTo>
                    <a:pt x="92" y="0"/>
                  </a:moveTo>
                  <a:cubicBezTo>
                    <a:pt x="92" y="0"/>
                    <a:pt x="91" y="0"/>
                    <a:pt x="90" y="1"/>
                  </a:cubicBezTo>
                  <a:cubicBezTo>
                    <a:pt x="90" y="1"/>
                    <a:pt x="89" y="1"/>
                    <a:pt x="89" y="1"/>
                  </a:cubicBezTo>
                  <a:cubicBezTo>
                    <a:pt x="89" y="1"/>
                    <a:pt x="89" y="1"/>
                    <a:pt x="89" y="1"/>
                  </a:cubicBezTo>
                  <a:cubicBezTo>
                    <a:pt x="89" y="1"/>
                    <a:pt x="89" y="1"/>
                    <a:pt x="89" y="1"/>
                  </a:cubicBezTo>
                  <a:cubicBezTo>
                    <a:pt x="89" y="1"/>
                    <a:pt x="89" y="1"/>
                    <a:pt x="88" y="1"/>
                  </a:cubicBezTo>
                  <a:cubicBezTo>
                    <a:pt x="88" y="1"/>
                    <a:pt x="88" y="1"/>
                    <a:pt x="88" y="1"/>
                  </a:cubicBezTo>
                  <a:cubicBezTo>
                    <a:pt x="88" y="1"/>
                    <a:pt x="88" y="1"/>
                    <a:pt x="88" y="1"/>
                  </a:cubicBezTo>
                  <a:cubicBezTo>
                    <a:pt x="87" y="1"/>
                    <a:pt x="86" y="2"/>
                    <a:pt x="84" y="3"/>
                  </a:cubicBezTo>
                  <a:cubicBezTo>
                    <a:pt x="84" y="0"/>
                    <a:pt x="79" y="1"/>
                    <a:pt x="77" y="1"/>
                  </a:cubicBezTo>
                  <a:cubicBezTo>
                    <a:pt x="77" y="7"/>
                    <a:pt x="78" y="13"/>
                    <a:pt x="79" y="19"/>
                  </a:cubicBezTo>
                  <a:cubicBezTo>
                    <a:pt x="78" y="18"/>
                    <a:pt x="77" y="18"/>
                    <a:pt x="75" y="18"/>
                  </a:cubicBezTo>
                  <a:cubicBezTo>
                    <a:pt x="69" y="18"/>
                    <a:pt x="65" y="26"/>
                    <a:pt x="61" y="31"/>
                  </a:cubicBezTo>
                  <a:cubicBezTo>
                    <a:pt x="60" y="31"/>
                    <a:pt x="60" y="30"/>
                    <a:pt x="59" y="30"/>
                  </a:cubicBezTo>
                  <a:cubicBezTo>
                    <a:pt x="59" y="30"/>
                    <a:pt x="58" y="31"/>
                    <a:pt x="57" y="32"/>
                  </a:cubicBezTo>
                  <a:cubicBezTo>
                    <a:pt x="57" y="32"/>
                    <a:pt x="56" y="33"/>
                    <a:pt x="55" y="33"/>
                  </a:cubicBezTo>
                  <a:cubicBezTo>
                    <a:pt x="55" y="33"/>
                    <a:pt x="55" y="33"/>
                    <a:pt x="55" y="33"/>
                  </a:cubicBezTo>
                  <a:cubicBezTo>
                    <a:pt x="54" y="33"/>
                    <a:pt x="54" y="30"/>
                    <a:pt x="52" y="30"/>
                  </a:cubicBezTo>
                  <a:cubicBezTo>
                    <a:pt x="51" y="30"/>
                    <a:pt x="51" y="30"/>
                    <a:pt x="51" y="30"/>
                  </a:cubicBezTo>
                  <a:cubicBezTo>
                    <a:pt x="49" y="31"/>
                    <a:pt x="48" y="33"/>
                    <a:pt x="46" y="33"/>
                  </a:cubicBezTo>
                  <a:cubicBezTo>
                    <a:pt x="46" y="33"/>
                    <a:pt x="46" y="33"/>
                    <a:pt x="46" y="33"/>
                  </a:cubicBezTo>
                  <a:cubicBezTo>
                    <a:pt x="43" y="33"/>
                    <a:pt x="44" y="32"/>
                    <a:pt x="43" y="30"/>
                  </a:cubicBezTo>
                  <a:cubicBezTo>
                    <a:pt x="42" y="27"/>
                    <a:pt x="40" y="24"/>
                    <a:pt x="43" y="23"/>
                  </a:cubicBezTo>
                  <a:cubicBezTo>
                    <a:pt x="45" y="22"/>
                    <a:pt x="44" y="20"/>
                    <a:pt x="43" y="20"/>
                  </a:cubicBezTo>
                  <a:cubicBezTo>
                    <a:pt x="42" y="20"/>
                    <a:pt x="41" y="21"/>
                    <a:pt x="41" y="23"/>
                  </a:cubicBezTo>
                  <a:cubicBezTo>
                    <a:pt x="41" y="26"/>
                    <a:pt x="40" y="25"/>
                    <a:pt x="39" y="26"/>
                  </a:cubicBezTo>
                  <a:cubicBezTo>
                    <a:pt x="39" y="27"/>
                    <a:pt x="39" y="27"/>
                    <a:pt x="39" y="28"/>
                  </a:cubicBezTo>
                  <a:cubicBezTo>
                    <a:pt x="38" y="29"/>
                    <a:pt x="40" y="29"/>
                    <a:pt x="40" y="30"/>
                  </a:cubicBezTo>
                  <a:cubicBezTo>
                    <a:pt x="39" y="32"/>
                    <a:pt x="36" y="32"/>
                    <a:pt x="35" y="32"/>
                  </a:cubicBezTo>
                  <a:cubicBezTo>
                    <a:pt x="35" y="32"/>
                    <a:pt x="34" y="33"/>
                    <a:pt x="33" y="33"/>
                  </a:cubicBezTo>
                  <a:cubicBezTo>
                    <a:pt x="33" y="33"/>
                    <a:pt x="33" y="33"/>
                    <a:pt x="33" y="32"/>
                  </a:cubicBezTo>
                  <a:cubicBezTo>
                    <a:pt x="33" y="32"/>
                    <a:pt x="33" y="32"/>
                    <a:pt x="32" y="32"/>
                  </a:cubicBezTo>
                  <a:cubicBezTo>
                    <a:pt x="32" y="32"/>
                    <a:pt x="31" y="32"/>
                    <a:pt x="30" y="32"/>
                  </a:cubicBezTo>
                  <a:cubicBezTo>
                    <a:pt x="28" y="33"/>
                    <a:pt x="26" y="34"/>
                    <a:pt x="24" y="34"/>
                  </a:cubicBezTo>
                  <a:cubicBezTo>
                    <a:pt x="24" y="34"/>
                    <a:pt x="24" y="34"/>
                    <a:pt x="24" y="34"/>
                  </a:cubicBezTo>
                  <a:cubicBezTo>
                    <a:pt x="22" y="34"/>
                    <a:pt x="21" y="33"/>
                    <a:pt x="19" y="32"/>
                  </a:cubicBezTo>
                  <a:cubicBezTo>
                    <a:pt x="18" y="32"/>
                    <a:pt x="17" y="31"/>
                    <a:pt x="17" y="31"/>
                  </a:cubicBezTo>
                  <a:cubicBezTo>
                    <a:pt x="15" y="31"/>
                    <a:pt x="15" y="32"/>
                    <a:pt x="13" y="32"/>
                  </a:cubicBezTo>
                  <a:cubicBezTo>
                    <a:pt x="13" y="32"/>
                    <a:pt x="13" y="32"/>
                    <a:pt x="13" y="32"/>
                  </a:cubicBezTo>
                  <a:cubicBezTo>
                    <a:pt x="12" y="32"/>
                    <a:pt x="11" y="31"/>
                    <a:pt x="10" y="31"/>
                  </a:cubicBezTo>
                  <a:cubicBezTo>
                    <a:pt x="10" y="31"/>
                    <a:pt x="10" y="31"/>
                    <a:pt x="10" y="31"/>
                  </a:cubicBezTo>
                  <a:cubicBezTo>
                    <a:pt x="10" y="31"/>
                    <a:pt x="9" y="32"/>
                    <a:pt x="9" y="32"/>
                  </a:cubicBezTo>
                  <a:cubicBezTo>
                    <a:pt x="8" y="32"/>
                    <a:pt x="8" y="32"/>
                    <a:pt x="8" y="32"/>
                  </a:cubicBezTo>
                  <a:cubicBezTo>
                    <a:pt x="8" y="32"/>
                    <a:pt x="8" y="32"/>
                    <a:pt x="8" y="32"/>
                  </a:cubicBezTo>
                  <a:cubicBezTo>
                    <a:pt x="6" y="32"/>
                    <a:pt x="7" y="32"/>
                    <a:pt x="5" y="31"/>
                  </a:cubicBezTo>
                  <a:cubicBezTo>
                    <a:pt x="4" y="31"/>
                    <a:pt x="4" y="31"/>
                    <a:pt x="3" y="31"/>
                  </a:cubicBezTo>
                  <a:cubicBezTo>
                    <a:pt x="3" y="31"/>
                    <a:pt x="3" y="31"/>
                    <a:pt x="2" y="31"/>
                  </a:cubicBezTo>
                  <a:cubicBezTo>
                    <a:pt x="0" y="32"/>
                    <a:pt x="1" y="36"/>
                    <a:pt x="2" y="38"/>
                  </a:cubicBezTo>
                  <a:cubicBezTo>
                    <a:pt x="5" y="40"/>
                    <a:pt x="9" y="40"/>
                    <a:pt x="11" y="41"/>
                  </a:cubicBezTo>
                  <a:cubicBezTo>
                    <a:pt x="13" y="42"/>
                    <a:pt x="15" y="43"/>
                    <a:pt x="18" y="45"/>
                  </a:cubicBezTo>
                  <a:cubicBezTo>
                    <a:pt x="18" y="45"/>
                    <a:pt x="19" y="46"/>
                    <a:pt x="18" y="47"/>
                  </a:cubicBezTo>
                  <a:cubicBezTo>
                    <a:pt x="21" y="46"/>
                    <a:pt x="22" y="46"/>
                    <a:pt x="24" y="46"/>
                  </a:cubicBezTo>
                  <a:cubicBezTo>
                    <a:pt x="25" y="46"/>
                    <a:pt x="27" y="46"/>
                    <a:pt x="29" y="47"/>
                  </a:cubicBezTo>
                  <a:cubicBezTo>
                    <a:pt x="30" y="48"/>
                    <a:pt x="30" y="49"/>
                    <a:pt x="30" y="49"/>
                  </a:cubicBezTo>
                  <a:cubicBezTo>
                    <a:pt x="32" y="51"/>
                    <a:pt x="34" y="51"/>
                    <a:pt x="37" y="51"/>
                  </a:cubicBezTo>
                  <a:cubicBezTo>
                    <a:pt x="39" y="51"/>
                    <a:pt x="42" y="51"/>
                    <a:pt x="44" y="50"/>
                  </a:cubicBezTo>
                  <a:cubicBezTo>
                    <a:pt x="50" y="49"/>
                    <a:pt x="56" y="48"/>
                    <a:pt x="61" y="46"/>
                  </a:cubicBezTo>
                  <a:cubicBezTo>
                    <a:pt x="62" y="45"/>
                    <a:pt x="64" y="45"/>
                    <a:pt x="65" y="44"/>
                  </a:cubicBezTo>
                  <a:cubicBezTo>
                    <a:pt x="65" y="44"/>
                    <a:pt x="68" y="42"/>
                    <a:pt x="69" y="42"/>
                  </a:cubicBezTo>
                  <a:cubicBezTo>
                    <a:pt x="70" y="40"/>
                    <a:pt x="71" y="40"/>
                    <a:pt x="73" y="39"/>
                  </a:cubicBezTo>
                  <a:cubicBezTo>
                    <a:pt x="75" y="37"/>
                    <a:pt x="76" y="35"/>
                    <a:pt x="78" y="33"/>
                  </a:cubicBezTo>
                  <a:cubicBezTo>
                    <a:pt x="79" y="33"/>
                    <a:pt x="80" y="33"/>
                    <a:pt x="80" y="33"/>
                  </a:cubicBezTo>
                  <a:cubicBezTo>
                    <a:pt x="81" y="33"/>
                    <a:pt x="81" y="33"/>
                    <a:pt x="82" y="33"/>
                  </a:cubicBezTo>
                  <a:cubicBezTo>
                    <a:pt x="82" y="33"/>
                    <a:pt x="83" y="33"/>
                    <a:pt x="84" y="33"/>
                  </a:cubicBezTo>
                  <a:cubicBezTo>
                    <a:pt x="84" y="33"/>
                    <a:pt x="84" y="33"/>
                    <a:pt x="84" y="33"/>
                  </a:cubicBezTo>
                  <a:cubicBezTo>
                    <a:pt x="85" y="33"/>
                    <a:pt x="89" y="31"/>
                    <a:pt x="90" y="30"/>
                  </a:cubicBezTo>
                  <a:cubicBezTo>
                    <a:pt x="93" y="26"/>
                    <a:pt x="84" y="24"/>
                    <a:pt x="87" y="20"/>
                  </a:cubicBezTo>
                  <a:cubicBezTo>
                    <a:pt x="87" y="19"/>
                    <a:pt x="87" y="19"/>
                    <a:pt x="88" y="19"/>
                  </a:cubicBezTo>
                  <a:cubicBezTo>
                    <a:pt x="88" y="19"/>
                    <a:pt x="89" y="19"/>
                    <a:pt x="89" y="20"/>
                  </a:cubicBezTo>
                  <a:cubicBezTo>
                    <a:pt x="90" y="20"/>
                    <a:pt x="91" y="20"/>
                    <a:pt x="91" y="20"/>
                  </a:cubicBezTo>
                  <a:cubicBezTo>
                    <a:pt x="91" y="20"/>
                    <a:pt x="91" y="20"/>
                    <a:pt x="91" y="20"/>
                  </a:cubicBezTo>
                  <a:cubicBezTo>
                    <a:pt x="93" y="19"/>
                    <a:pt x="95" y="18"/>
                    <a:pt x="96" y="16"/>
                  </a:cubicBezTo>
                  <a:cubicBezTo>
                    <a:pt x="98" y="12"/>
                    <a:pt x="95" y="9"/>
                    <a:pt x="97" y="4"/>
                  </a:cubicBezTo>
                  <a:cubicBezTo>
                    <a:pt x="96" y="4"/>
                    <a:pt x="89" y="4"/>
                    <a:pt x="92" y="1"/>
                  </a:cubicBezTo>
                  <a:cubicBezTo>
                    <a:pt x="93" y="0"/>
                    <a:pt x="93" y="0"/>
                    <a:pt x="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1397"/>
            <p:cNvSpPr/>
            <p:nvPr/>
          </p:nvSpPr>
          <p:spPr bwMode="auto">
            <a:xfrm>
              <a:off x="6929136" y="5284781"/>
              <a:ext cx="16108" cy="34901"/>
            </a:xfrm>
            <a:custGeom>
              <a:gdLst>
                <a:gd name="T0" fmla="*/ 4 w 5"/>
                <a:gd name="T1" fmla="*/ 0 h 11"/>
                <a:gd name="T2" fmla="*/ 1 w 5"/>
                <a:gd name="T3" fmla="*/ 3 h 11"/>
                <a:gd name="T4" fmla="*/ 3 w 5"/>
                <a:gd name="T5" fmla="*/ 11 h 11"/>
                <a:gd name="T6" fmla="*/ 5 w 5"/>
                <a:gd name="T7" fmla="*/ 6 h 11"/>
                <a:gd name="T8" fmla="*/ 4 w 5"/>
                <a:gd name="T9" fmla="*/ 3 h 11"/>
                <a:gd name="T10" fmla="*/ 4 w 5"/>
                <a:gd name="T11" fmla="*/ 0 h 11"/>
                <a:gd name="T12" fmla="*/ 4 w 5"/>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5" h="11">
                  <a:moveTo>
                    <a:pt x="4" y="0"/>
                  </a:moveTo>
                  <a:cubicBezTo>
                    <a:pt x="3" y="0"/>
                    <a:pt x="1" y="2"/>
                    <a:pt x="1" y="3"/>
                  </a:cubicBezTo>
                  <a:cubicBezTo>
                    <a:pt x="0" y="4"/>
                    <a:pt x="3" y="9"/>
                    <a:pt x="3" y="11"/>
                  </a:cubicBezTo>
                  <a:cubicBezTo>
                    <a:pt x="4" y="10"/>
                    <a:pt x="5" y="7"/>
                    <a:pt x="5" y="6"/>
                  </a:cubicBezTo>
                  <a:cubicBezTo>
                    <a:pt x="5" y="4"/>
                    <a:pt x="5" y="4"/>
                    <a:pt x="4" y="3"/>
                  </a:cubicBezTo>
                  <a:cubicBezTo>
                    <a:pt x="4" y="3"/>
                    <a:pt x="5"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1398"/>
            <p:cNvSpPr/>
            <p:nvPr/>
          </p:nvSpPr>
          <p:spPr bwMode="auto">
            <a:xfrm>
              <a:off x="6652615" y="5699563"/>
              <a:ext cx="10739" cy="9396"/>
            </a:xfrm>
            <a:custGeom>
              <a:gdLst>
                <a:gd name="T0" fmla="*/ 1 w 3"/>
                <a:gd name="T1" fmla="*/ 0 h 3"/>
                <a:gd name="T2" fmla="*/ 0 w 3"/>
                <a:gd name="T3" fmla="*/ 0 h 3"/>
                <a:gd name="T4" fmla="*/ 2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1" y="0"/>
                    <a:pt x="0" y="0"/>
                    <a:pt x="0" y="0"/>
                  </a:cubicBezTo>
                  <a:cubicBezTo>
                    <a:pt x="1" y="1"/>
                    <a:pt x="1" y="2"/>
                    <a:pt x="2"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1399"/>
            <p:cNvSpPr/>
            <p:nvPr/>
          </p:nvSpPr>
          <p:spPr bwMode="auto">
            <a:xfrm>
              <a:off x="6945244" y="5315655"/>
              <a:ext cx="95306" cy="108729"/>
            </a:xfrm>
            <a:custGeom>
              <a:gdLst>
                <a:gd name="T0" fmla="*/ 0 w 30"/>
                <a:gd name="T1" fmla="*/ 0 h 34"/>
                <a:gd name="T2" fmla="*/ 1 w 30"/>
                <a:gd name="T3" fmla="*/ 9 h 34"/>
                <a:gd name="T4" fmla="*/ 11 w 30"/>
                <a:gd name="T5" fmla="*/ 26 h 34"/>
                <a:gd name="T6" fmla="*/ 11 w 30"/>
                <a:gd name="T7" fmla="*/ 26 h 34"/>
                <a:gd name="T8" fmla="*/ 12 w 30"/>
                <a:gd name="T9" fmla="*/ 27 h 34"/>
                <a:gd name="T10" fmla="*/ 23 w 30"/>
                <a:gd name="T11" fmla="*/ 34 h 34"/>
                <a:gd name="T12" fmla="*/ 27 w 30"/>
                <a:gd name="T13" fmla="*/ 31 h 34"/>
                <a:gd name="T14" fmla="*/ 29 w 30"/>
                <a:gd name="T15" fmla="*/ 31 h 34"/>
                <a:gd name="T16" fmla="*/ 29 w 30"/>
                <a:gd name="T17" fmla="*/ 31 h 34"/>
                <a:gd name="T18" fmla="*/ 29 w 30"/>
                <a:gd name="T19" fmla="*/ 25 h 34"/>
                <a:gd name="T20" fmla="*/ 24 w 30"/>
                <a:gd name="T21" fmla="*/ 21 h 34"/>
                <a:gd name="T22" fmla="*/ 22 w 30"/>
                <a:gd name="T23" fmla="*/ 17 h 34"/>
                <a:gd name="T24" fmla="*/ 19 w 30"/>
                <a:gd name="T25" fmla="*/ 17 h 34"/>
                <a:gd name="T26" fmla="*/ 19 w 30"/>
                <a:gd name="T27" fmla="*/ 17 h 34"/>
                <a:gd name="T28" fmla="*/ 17 w 30"/>
                <a:gd name="T29" fmla="*/ 15 h 34"/>
                <a:gd name="T30" fmla="*/ 15 w 30"/>
                <a:gd name="T31" fmla="*/ 12 h 34"/>
                <a:gd name="T32" fmla="*/ 12 w 30"/>
                <a:gd name="T33" fmla="*/ 10 h 34"/>
                <a:gd name="T34" fmla="*/ 11 w 30"/>
                <a:gd name="T35" fmla="*/ 7 h 34"/>
                <a:gd name="T36" fmla="*/ 7 w 30"/>
                <a:gd name="T37" fmla="*/ 2 h 34"/>
                <a:gd name="T38" fmla="*/ 0 w 30"/>
                <a:gd name="T39" fmla="*/ 0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34">
                  <a:moveTo>
                    <a:pt x="0" y="0"/>
                  </a:moveTo>
                  <a:cubicBezTo>
                    <a:pt x="0" y="3"/>
                    <a:pt x="0" y="6"/>
                    <a:pt x="1" y="9"/>
                  </a:cubicBezTo>
                  <a:cubicBezTo>
                    <a:pt x="2" y="15"/>
                    <a:pt x="8" y="21"/>
                    <a:pt x="11" y="26"/>
                  </a:cubicBezTo>
                  <a:cubicBezTo>
                    <a:pt x="11" y="26"/>
                    <a:pt x="11" y="26"/>
                    <a:pt x="11" y="26"/>
                  </a:cubicBezTo>
                  <a:cubicBezTo>
                    <a:pt x="10" y="26"/>
                    <a:pt x="11" y="27"/>
                    <a:pt x="12" y="27"/>
                  </a:cubicBezTo>
                  <a:cubicBezTo>
                    <a:pt x="15" y="31"/>
                    <a:pt x="19" y="32"/>
                    <a:pt x="23" y="34"/>
                  </a:cubicBezTo>
                  <a:cubicBezTo>
                    <a:pt x="25" y="32"/>
                    <a:pt x="26" y="32"/>
                    <a:pt x="27" y="31"/>
                  </a:cubicBezTo>
                  <a:cubicBezTo>
                    <a:pt x="27" y="31"/>
                    <a:pt x="28" y="31"/>
                    <a:pt x="29" y="31"/>
                  </a:cubicBezTo>
                  <a:cubicBezTo>
                    <a:pt x="29" y="31"/>
                    <a:pt x="29" y="31"/>
                    <a:pt x="29" y="31"/>
                  </a:cubicBezTo>
                  <a:cubicBezTo>
                    <a:pt x="30" y="30"/>
                    <a:pt x="29" y="26"/>
                    <a:pt x="29" y="25"/>
                  </a:cubicBezTo>
                  <a:cubicBezTo>
                    <a:pt x="28" y="24"/>
                    <a:pt x="26" y="22"/>
                    <a:pt x="24" y="21"/>
                  </a:cubicBezTo>
                  <a:cubicBezTo>
                    <a:pt x="24" y="20"/>
                    <a:pt x="22" y="17"/>
                    <a:pt x="22" y="17"/>
                  </a:cubicBezTo>
                  <a:cubicBezTo>
                    <a:pt x="21" y="17"/>
                    <a:pt x="20" y="17"/>
                    <a:pt x="19" y="17"/>
                  </a:cubicBezTo>
                  <a:cubicBezTo>
                    <a:pt x="19" y="17"/>
                    <a:pt x="19" y="17"/>
                    <a:pt x="19" y="17"/>
                  </a:cubicBezTo>
                  <a:cubicBezTo>
                    <a:pt x="18" y="17"/>
                    <a:pt x="18" y="17"/>
                    <a:pt x="17" y="15"/>
                  </a:cubicBezTo>
                  <a:cubicBezTo>
                    <a:pt x="16" y="14"/>
                    <a:pt x="16" y="13"/>
                    <a:pt x="15" y="12"/>
                  </a:cubicBezTo>
                  <a:cubicBezTo>
                    <a:pt x="15" y="11"/>
                    <a:pt x="13" y="11"/>
                    <a:pt x="12" y="10"/>
                  </a:cubicBezTo>
                  <a:cubicBezTo>
                    <a:pt x="11" y="9"/>
                    <a:pt x="12" y="9"/>
                    <a:pt x="11" y="7"/>
                  </a:cubicBezTo>
                  <a:cubicBezTo>
                    <a:pt x="10" y="5"/>
                    <a:pt x="9" y="3"/>
                    <a:pt x="7" y="2"/>
                  </a:cubicBezTo>
                  <a:cubicBezTo>
                    <a:pt x="4" y="1"/>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1400"/>
            <p:cNvSpPr/>
            <p:nvPr/>
          </p:nvSpPr>
          <p:spPr bwMode="auto">
            <a:xfrm>
              <a:off x="6738524" y="5112962"/>
              <a:ext cx="6712" cy="9396"/>
            </a:xfrm>
            <a:custGeom>
              <a:gdLst>
                <a:gd name="T0" fmla="*/ 0 w 2"/>
                <a:gd name="T1" fmla="*/ 0 h 3"/>
                <a:gd name="T2" fmla="*/ 0 w 2"/>
                <a:gd name="T3" fmla="*/ 3 h 3"/>
                <a:gd name="T4" fmla="*/ 0 w 2"/>
                <a:gd name="T5" fmla="*/ 0 h 3"/>
              </a:gdLst>
              <a:cxnLst>
                <a:cxn ang="0">
                  <a:pos x="T0" y="T1"/>
                </a:cxn>
                <a:cxn ang="0">
                  <a:pos x="T2" y="T3"/>
                </a:cxn>
                <a:cxn ang="0">
                  <a:pos x="T4" y="T5"/>
                </a:cxn>
              </a:cxnLst>
              <a:rect l="0" t="0" r="r" b="b"/>
              <a:pathLst>
                <a:path w="2" h="3">
                  <a:moveTo>
                    <a:pt x="0" y="0"/>
                  </a:moveTo>
                  <a:cubicBezTo>
                    <a:pt x="0" y="1"/>
                    <a:pt x="0" y="2"/>
                    <a:pt x="0" y="3"/>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1401"/>
            <p:cNvSpPr/>
            <p:nvPr/>
          </p:nvSpPr>
          <p:spPr bwMode="auto">
            <a:xfrm>
              <a:off x="6364013" y="5299547"/>
              <a:ext cx="25504" cy="16108"/>
            </a:xfrm>
            <a:custGeom>
              <a:gdLst>
                <a:gd name="T0" fmla="*/ 4 w 8"/>
                <a:gd name="T1" fmla="*/ 0 h 5"/>
                <a:gd name="T2" fmla="*/ 3 w 8"/>
                <a:gd name="T3" fmla="*/ 0 h 5"/>
                <a:gd name="T4" fmla="*/ 5 w 8"/>
                <a:gd name="T5" fmla="*/ 5 h 5"/>
                <a:gd name="T6" fmla="*/ 6 w 8"/>
                <a:gd name="T7" fmla="*/ 0 h 5"/>
                <a:gd name="T8" fmla="*/ 4 w 8"/>
                <a:gd name="T9" fmla="*/ 0 h 5"/>
              </a:gdLst>
              <a:cxnLst>
                <a:cxn ang="0">
                  <a:pos x="T0" y="T1"/>
                </a:cxn>
                <a:cxn ang="0">
                  <a:pos x="T2" y="T3"/>
                </a:cxn>
                <a:cxn ang="0">
                  <a:pos x="T4" y="T5"/>
                </a:cxn>
                <a:cxn ang="0">
                  <a:pos x="T6" y="T7"/>
                </a:cxn>
                <a:cxn ang="0">
                  <a:pos x="T8" y="T9"/>
                </a:cxn>
              </a:cxnLst>
              <a:rect l="0" t="0" r="r" b="b"/>
              <a:pathLst>
                <a:path w="8" h="5">
                  <a:moveTo>
                    <a:pt x="4" y="0"/>
                  </a:moveTo>
                  <a:cubicBezTo>
                    <a:pt x="4" y="0"/>
                    <a:pt x="4" y="0"/>
                    <a:pt x="3" y="0"/>
                  </a:cubicBezTo>
                  <a:cubicBezTo>
                    <a:pt x="0" y="1"/>
                    <a:pt x="4" y="5"/>
                    <a:pt x="5" y="5"/>
                  </a:cubicBezTo>
                  <a:cubicBezTo>
                    <a:pt x="8" y="5"/>
                    <a:pt x="8" y="2"/>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1402"/>
            <p:cNvSpPr/>
            <p:nvPr/>
          </p:nvSpPr>
          <p:spPr bwMode="auto">
            <a:xfrm>
              <a:off x="6428445" y="5080746"/>
              <a:ext cx="5369" cy="4027"/>
            </a:xfrm>
            <a:custGeom>
              <a:gdLst>
                <a:gd name="T0" fmla="*/ 2 w 2"/>
                <a:gd name="T1" fmla="*/ 0 h 1"/>
                <a:gd name="T2" fmla="*/ 0 w 2"/>
                <a:gd name="T3" fmla="*/ 1 h 1"/>
                <a:gd name="T4" fmla="*/ 2 w 2"/>
                <a:gd name="T5" fmla="*/ 0 h 1"/>
              </a:gdLst>
              <a:cxnLst>
                <a:cxn ang="0">
                  <a:pos x="T0" y="T1"/>
                </a:cxn>
                <a:cxn ang="0">
                  <a:pos x="T2" y="T3"/>
                </a:cxn>
                <a:cxn ang="0">
                  <a:pos x="T4" y="T5"/>
                </a:cxn>
              </a:cxnLst>
              <a:rect l="0" t="0" r="r" b="b"/>
              <a:pathLst>
                <a:path w="2" h="1">
                  <a:moveTo>
                    <a:pt x="2" y="0"/>
                  </a:moveTo>
                  <a:cubicBezTo>
                    <a:pt x="1" y="0"/>
                    <a:pt x="0" y="1"/>
                    <a:pt x="0" y="1"/>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1403"/>
            <p:cNvSpPr/>
            <p:nvPr/>
          </p:nvSpPr>
          <p:spPr bwMode="auto">
            <a:xfrm>
              <a:off x="6780137" y="5138466"/>
              <a:ext cx="12081" cy="12081"/>
            </a:xfrm>
            <a:custGeom>
              <a:gdLst>
                <a:gd name="T0" fmla="*/ 4 w 4"/>
                <a:gd name="T1" fmla="*/ 0 h 4"/>
                <a:gd name="T2" fmla="*/ 3 w 4"/>
                <a:gd name="T3" fmla="*/ 4 h 4"/>
                <a:gd name="T4" fmla="*/ 4 w 4"/>
                <a:gd name="T5" fmla="*/ 0 h 4"/>
              </a:gdLst>
              <a:cxnLst>
                <a:cxn ang="0">
                  <a:pos x="T0" y="T1"/>
                </a:cxn>
                <a:cxn ang="0">
                  <a:pos x="T2" y="T3"/>
                </a:cxn>
                <a:cxn ang="0">
                  <a:pos x="T4" y="T5"/>
                </a:cxn>
              </a:cxnLst>
              <a:rect l="0" t="0" r="r" b="b"/>
              <a:pathLst>
                <a:path w="4" h="4">
                  <a:moveTo>
                    <a:pt x="4" y="0"/>
                  </a:moveTo>
                  <a:cubicBezTo>
                    <a:pt x="0" y="0"/>
                    <a:pt x="2" y="3"/>
                    <a:pt x="3" y="4"/>
                  </a:cubicBezTo>
                  <a:cubicBezTo>
                    <a:pt x="4"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1404"/>
            <p:cNvSpPr/>
            <p:nvPr/>
          </p:nvSpPr>
          <p:spPr bwMode="auto">
            <a:xfrm>
              <a:off x="6291527" y="5249880"/>
              <a:ext cx="12081" cy="14766"/>
            </a:xfrm>
            <a:custGeom>
              <a:gdLst>
                <a:gd name="T0" fmla="*/ 1 w 4"/>
                <a:gd name="T1" fmla="*/ 0 h 5"/>
                <a:gd name="T2" fmla="*/ 0 w 4"/>
                <a:gd name="T3" fmla="*/ 5 h 5"/>
                <a:gd name="T4" fmla="*/ 1 w 4"/>
                <a:gd name="T5" fmla="*/ 0 h 5"/>
              </a:gdLst>
              <a:cxnLst>
                <a:cxn ang="0">
                  <a:pos x="T0" y="T1"/>
                </a:cxn>
                <a:cxn ang="0">
                  <a:pos x="T2" y="T3"/>
                </a:cxn>
                <a:cxn ang="0">
                  <a:pos x="T4" y="T5"/>
                </a:cxn>
              </a:cxnLst>
              <a:rect l="0" t="0" r="r" b="b"/>
              <a:pathLst>
                <a:path w="4" h="5">
                  <a:moveTo>
                    <a:pt x="1" y="0"/>
                  </a:moveTo>
                  <a:cubicBezTo>
                    <a:pt x="0" y="1"/>
                    <a:pt x="0" y="3"/>
                    <a:pt x="0" y="5"/>
                  </a:cubicBezTo>
                  <a:cubicBezTo>
                    <a:pt x="3" y="4"/>
                    <a:pt x="4"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Freeform 1405"/>
            <p:cNvSpPr/>
            <p:nvPr/>
          </p:nvSpPr>
          <p:spPr bwMode="auto">
            <a:xfrm>
              <a:off x="6561336" y="5010944"/>
              <a:ext cx="16108" cy="18793"/>
            </a:xfrm>
            <a:custGeom>
              <a:gdLst>
                <a:gd name="T0" fmla="*/ 0 w 5"/>
                <a:gd name="T1" fmla="*/ 0 h 6"/>
                <a:gd name="T2" fmla="*/ 4 w 5"/>
                <a:gd name="T3" fmla="*/ 6 h 6"/>
                <a:gd name="T4" fmla="*/ 0 w 5"/>
                <a:gd name="T5" fmla="*/ 0 h 6"/>
              </a:gdLst>
              <a:cxnLst>
                <a:cxn ang="0">
                  <a:pos x="T0" y="T1"/>
                </a:cxn>
                <a:cxn ang="0">
                  <a:pos x="T2" y="T3"/>
                </a:cxn>
                <a:cxn ang="0">
                  <a:pos x="T4" y="T5"/>
                </a:cxn>
              </a:cxnLst>
              <a:rect l="0" t="0" r="r" b="b"/>
              <a:pathLst>
                <a:path w="5" h="6">
                  <a:moveTo>
                    <a:pt x="0" y="0"/>
                  </a:moveTo>
                  <a:cubicBezTo>
                    <a:pt x="1" y="2"/>
                    <a:pt x="3" y="4"/>
                    <a:pt x="4" y="6"/>
                  </a:cubicBezTo>
                  <a:cubicBezTo>
                    <a:pt x="5"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1406"/>
            <p:cNvSpPr/>
            <p:nvPr/>
          </p:nvSpPr>
          <p:spPr bwMode="auto">
            <a:xfrm>
              <a:off x="6094203" y="5534456"/>
              <a:ext cx="22820" cy="9396"/>
            </a:xfrm>
            <a:custGeom>
              <a:gdLst>
                <a:gd name="T0" fmla="*/ 3 w 7"/>
                <a:gd name="T1" fmla="*/ 0 h 3"/>
                <a:gd name="T2" fmla="*/ 0 w 7"/>
                <a:gd name="T3" fmla="*/ 0 h 3"/>
                <a:gd name="T4" fmla="*/ 6 w 7"/>
                <a:gd name="T5" fmla="*/ 3 h 3"/>
                <a:gd name="T6" fmla="*/ 3 w 7"/>
                <a:gd name="T7" fmla="*/ 0 h 3"/>
              </a:gdLst>
              <a:cxnLst>
                <a:cxn ang="0">
                  <a:pos x="T0" y="T1"/>
                </a:cxn>
                <a:cxn ang="0">
                  <a:pos x="T2" y="T3"/>
                </a:cxn>
                <a:cxn ang="0">
                  <a:pos x="T4" y="T5"/>
                </a:cxn>
                <a:cxn ang="0">
                  <a:pos x="T6" y="T7"/>
                </a:cxn>
              </a:cxnLst>
              <a:rect l="0" t="0" r="r" b="b"/>
              <a:pathLst>
                <a:path w="7" h="3">
                  <a:moveTo>
                    <a:pt x="3" y="0"/>
                  </a:moveTo>
                  <a:cubicBezTo>
                    <a:pt x="2" y="0"/>
                    <a:pt x="1" y="0"/>
                    <a:pt x="0" y="0"/>
                  </a:cubicBezTo>
                  <a:cubicBezTo>
                    <a:pt x="2" y="2"/>
                    <a:pt x="4" y="2"/>
                    <a:pt x="6" y="3"/>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Freeform 1407"/>
            <p:cNvSpPr/>
            <p:nvPr/>
          </p:nvSpPr>
          <p:spPr bwMode="auto">
            <a:xfrm>
              <a:off x="6431130" y="5319682"/>
              <a:ext cx="28189" cy="28189"/>
            </a:xfrm>
            <a:custGeom>
              <a:gdLst>
                <a:gd name="T0" fmla="*/ 0 w 9"/>
                <a:gd name="T1" fmla="*/ 0 h 9"/>
                <a:gd name="T2" fmla="*/ 0 w 9"/>
                <a:gd name="T3" fmla="*/ 0 h 9"/>
                <a:gd name="T4" fmla="*/ 4 w 9"/>
                <a:gd name="T5" fmla="*/ 9 h 9"/>
                <a:gd name="T6" fmla="*/ 0 w 9"/>
                <a:gd name="T7" fmla="*/ 0 h 9"/>
              </a:gdLst>
              <a:cxnLst>
                <a:cxn ang="0">
                  <a:pos x="T0" y="T1"/>
                </a:cxn>
                <a:cxn ang="0">
                  <a:pos x="T2" y="T3"/>
                </a:cxn>
                <a:cxn ang="0">
                  <a:pos x="T4" y="T5"/>
                </a:cxn>
                <a:cxn ang="0">
                  <a:pos x="T6" y="T7"/>
                </a:cxn>
              </a:cxnLst>
              <a:rect l="0" t="0" r="r" b="b"/>
              <a:pathLst>
                <a:path w="9" h="9">
                  <a:moveTo>
                    <a:pt x="0" y="0"/>
                  </a:moveTo>
                  <a:cubicBezTo>
                    <a:pt x="0" y="0"/>
                    <a:pt x="0" y="0"/>
                    <a:pt x="0" y="0"/>
                  </a:cubicBezTo>
                  <a:cubicBezTo>
                    <a:pt x="0" y="3"/>
                    <a:pt x="2" y="6"/>
                    <a:pt x="4" y="9"/>
                  </a:cubicBezTo>
                  <a:cubicBezTo>
                    <a:pt x="9" y="5"/>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1408"/>
            <p:cNvSpPr/>
            <p:nvPr/>
          </p:nvSpPr>
          <p:spPr bwMode="auto">
            <a:xfrm>
              <a:off x="6780137" y="5578753"/>
              <a:ext cx="41612" cy="22820"/>
            </a:xfrm>
            <a:custGeom>
              <a:gdLst>
                <a:gd name="T0" fmla="*/ 4 w 13"/>
                <a:gd name="T1" fmla="*/ 0 h 7"/>
                <a:gd name="T2" fmla="*/ 0 w 13"/>
                <a:gd name="T3" fmla="*/ 2 h 7"/>
                <a:gd name="T4" fmla="*/ 8 w 13"/>
                <a:gd name="T5" fmla="*/ 7 h 7"/>
                <a:gd name="T6" fmla="*/ 10 w 13"/>
                <a:gd name="T7" fmla="*/ 6 h 7"/>
                <a:gd name="T8" fmla="*/ 11 w 13"/>
                <a:gd name="T9" fmla="*/ 7 h 7"/>
                <a:gd name="T10" fmla="*/ 11 w 13"/>
                <a:gd name="T11" fmla="*/ 5 h 7"/>
                <a:gd name="T12" fmla="*/ 12 w 13"/>
                <a:gd name="T13" fmla="*/ 5 h 7"/>
                <a:gd name="T14" fmla="*/ 10 w 13"/>
                <a:gd name="T15" fmla="*/ 2 h 7"/>
                <a:gd name="T16" fmla="*/ 8 w 13"/>
                <a:gd name="T17" fmla="*/ 1 h 7"/>
                <a:gd name="T18" fmla="*/ 4 w 13"/>
                <a:gd name="T1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7">
                  <a:moveTo>
                    <a:pt x="4" y="0"/>
                  </a:moveTo>
                  <a:cubicBezTo>
                    <a:pt x="3" y="0"/>
                    <a:pt x="1" y="1"/>
                    <a:pt x="0" y="2"/>
                  </a:cubicBezTo>
                  <a:cubicBezTo>
                    <a:pt x="3" y="4"/>
                    <a:pt x="5" y="5"/>
                    <a:pt x="8" y="7"/>
                  </a:cubicBezTo>
                  <a:cubicBezTo>
                    <a:pt x="9" y="7"/>
                    <a:pt x="9" y="6"/>
                    <a:pt x="10" y="6"/>
                  </a:cubicBezTo>
                  <a:cubicBezTo>
                    <a:pt x="10" y="6"/>
                    <a:pt x="11" y="6"/>
                    <a:pt x="11" y="7"/>
                  </a:cubicBezTo>
                  <a:cubicBezTo>
                    <a:pt x="11" y="6"/>
                    <a:pt x="11" y="5"/>
                    <a:pt x="11" y="5"/>
                  </a:cubicBezTo>
                  <a:cubicBezTo>
                    <a:pt x="11" y="5"/>
                    <a:pt x="12" y="5"/>
                    <a:pt x="12" y="5"/>
                  </a:cubicBezTo>
                  <a:cubicBezTo>
                    <a:pt x="13" y="5"/>
                    <a:pt x="11" y="3"/>
                    <a:pt x="10" y="2"/>
                  </a:cubicBezTo>
                  <a:cubicBezTo>
                    <a:pt x="8" y="1"/>
                    <a:pt x="8" y="1"/>
                    <a:pt x="8" y="1"/>
                  </a:cubicBezTo>
                  <a:cubicBezTo>
                    <a:pt x="7"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5" name="Freeform 1409"/>
            <p:cNvSpPr/>
            <p:nvPr/>
          </p:nvSpPr>
          <p:spPr bwMode="auto">
            <a:xfrm>
              <a:off x="6326427" y="5055241"/>
              <a:ext cx="72486" cy="22820"/>
            </a:xfrm>
            <a:custGeom>
              <a:gdLst>
                <a:gd name="T0" fmla="*/ 14 w 23"/>
                <a:gd name="T1" fmla="*/ 0 h 7"/>
                <a:gd name="T2" fmla="*/ 9 w 23"/>
                <a:gd name="T3" fmla="*/ 1 h 7"/>
                <a:gd name="T4" fmla="*/ 8 w 23"/>
                <a:gd name="T5" fmla="*/ 1 h 7"/>
                <a:gd name="T6" fmla="*/ 7 w 23"/>
                <a:gd name="T7" fmla="*/ 1 h 7"/>
                <a:gd name="T8" fmla="*/ 6 w 23"/>
                <a:gd name="T9" fmla="*/ 0 h 7"/>
                <a:gd name="T10" fmla="*/ 4 w 23"/>
                <a:gd name="T11" fmla="*/ 2 h 7"/>
                <a:gd name="T12" fmla="*/ 5 w 23"/>
                <a:gd name="T13" fmla="*/ 3 h 7"/>
                <a:gd name="T14" fmla="*/ 4 w 23"/>
                <a:gd name="T15" fmla="*/ 7 h 7"/>
                <a:gd name="T16" fmla="*/ 9 w 23"/>
                <a:gd name="T17" fmla="*/ 4 h 7"/>
                <a:gd name="T18" fmla="*/ 15 w 23"/>
                <a:gd name="T19" fmla="*/ 5 h 7"/>
                <a:gd name="T20" fmla="*/ 17 w 23"/>
                <a:gd name="T21" fmla="*/ 5 h 7"/>
                <a:gd name="T22" fmla="*/ 23 w 23"/>
                <a:gd name="T23" fmla="*/ 2 h 7"/>
                <a:gd name="T24" fmla="*/ 18 w 23"/>
                <a:gd name="T25" fmla="*/ 1 h 7"/>
                <a:gd name="T26" fmla="*/ 17 w 23"/>
                <a:gd name="T27" fmla="*/ 1 h 7"/>
                <a:gd name="T28" fmla="*/ 14 w 23"/>
                <a:gd name="T2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7">
                  <a:moveTo>
                    <a:pt x="14" y="0"/>
                  </a:moveTo>
                  <a:cubicBezTo>
                    <a:pt x="12" y="0"/>
                    <a:pt x="10" y="1"/>
                    <a:pt x="9" y="1"/>
                  </a:cubicBezTo>
                  <a:cubicBezTo>
                    <a:pt x="9" y="1"/>
                    <a:pt x="9" y="1"/>
                    <a:pt x="8" y="1"/>
                  </a:cubicBezTo>
                  <a:cubicBezTo>
                    <a:pt x="8" y="1"/>
                    <a:pt x="8" y="1"/>
                    <a:pt x="7" y="1"/>
                  </a:cubicBezTo>
                  <a:cubicBezTo>
                    <a:pt x="7" y="1"/>
                    <a:pt x="7" y="0"/>
                    <a:pt x="6" y="0"/>
                  </a:cubicBezTo>
                  <a:cubicBezTo>
                    <a:pt x="5" y="0"/>
                    <a:pt x="4" y="1"/>
                    <a:pt x="4" y="2"/>
                  </a:cubicBezTo>
                  <a:cubicBezTo>
                    <a:pt x="3" y="2"/>
                    <a:pt x="5" y="3"/>
                    <a:pt x="5" y="3"/>
                  </a:cubicBezTo>
                  <a:cubicBezTo>
                    <a:pt x="4" y="5"/>
                    <a:pt x="0" y="4"/>
                    <a:pt x="4" y="7"/>
                  </a:cubicBezTo>
                  <a:cubicBezTo>
                    <a:pt x="6" y="5"/>
                    <a:pt x="7" y="4"/>
                    <a:pt x="9" y="4"/>
                  </a:cubicBezTo>
                  <a:cubicBezTo>
                    <a:pt x="11" y="4"/>
                    <a:pt x="12" y="5"/>
                    <a:pt x="15" y="5"/>
                  </a:cubicBezTo>
                  <a:cubicBezTo>
                    <a:pt x="16" y="5"/>
                    <a:pt x="16" y="5"/>
                    <a:pt x="17" y="5"/>
                  </a:cubicBezTo>
                  <a:cubicBezTo>
                    <a:pt x="20" y="5"/>
                    <a:pt x="21" y="4"/>
                    <a:pt x="23" y="2"/>
                  </a:cubicBezTo>
                  <a:cubicBezTo>
                    <a:pt x="22" y="2"/>
                    <a:pt x="20" y="1"/>
                    <a:pt x="18" y="1"/>
                  </a:cubicBezTo>
                  <a:cubicBezTo>
                    <a:pt x="18" y="1"/>
                    <a:pt x="18" y="1"/>
                    <a:pt x="17" y="1"/>
                  </a:cubicBezTo>
                  <a:cubicBezTo>
                    <a:pt x="16"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1410"/>
            <p:cNvSpPr/>
            <p:nvPr/>
          </p:nvSpPr>
          <p:spPr bwMode="auto">
            <a:xfrm>
              <a:off x="6589525" y="5087458"/>
              <a:ext cx="41612" cy="22820"/>
            </a:xfrm>
            <a:custGeom>
              <a:gdLst>
                <a:gd name="T0" fmla="*/ 5 w 13"/>
                <a:gd name="T1" fmla="*/ 0 h 7"/>
                <a:gd name="T2" fmla="*/ 3 w 13"/>
                <a:gd name="T3" fmla="*/ 1 h 7"/>
                <a:gd name="T4" fmla="*/ 1 w 13"/>
                <a:gd name="T5" fmla="*/ 2 h 7"/>
                <a:gd name="T6" fmla="*/ 0 w 13"/>
                <a:gd name="T7" fmla="*/ 2 h 7"/>
                <a:gd name="T8" fmla="*/ 10 w 13"/>
                <a:gd name="T9" fmla="*/ 7 h 7"/>
                <a:gd name="T10" fmla="*/ 12 w 13"/>
                <a:gd name="T11" fmla="*/ 3 h 7"/>
                <a:gd name="T12" fmla="*/ 8 w 13"/>
                <a:gd name="T13" fmla="*/ 1 h 7"/>
                <a:gd name="T14" fmla="*/ 5 w 13"/>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5" y="0"/>
                  </a:moveTo>
                  <a:cubicBezTo>
                    <a:pt x="5" y="0"/>
                    <a:pt x="4" y="0"/>
                    <a:pt x="3" y="1"/>
                  </a:cubicBezTo>
                  <a:cubicBezTo>
                    <a:pt x="2" y="1"/>
                    <a:pt x="1" y="2"/>
                    <a:pt x="1" y="2"/>
                  </a:cubicBezTo>
                  <a:cubicBezTo>
                    <a:pt x="1" y="2"/>
                    <a:pt x="0" y="2"/>
                    <a:pt x="0" y="2"/>
                  </a:cubicBezTo>
                  <a:cubicBezTo>
                    <a:pt x="3" y="4"/>
                    <a:pt x="7" y="6"/>
                    <a:pt x="10" y="7"/>
                  </a:cubicBezTo>
                  <a:cubicBezTo>
                    <a:pt x="12" y="7"/>
                    <a:pt x="13" y="4"/>
                    <a:pt x="12" y="3"/>
                  </a:cubicBezTo>
                  <a:cubicBezTo>
                    <a:pt x="11" y="2"/>
                    <a:pt x="9" y="1"/>
                    <a:pt x="8"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7" name="Freeform 1411"/>
            <p:cNvSpPr/>
            <p:nvPr/>
          </p:nvSpPr>
          <p:spPr bwMode="auto">
            <a:xfrm>
              <a:off x="6652615" y="5131755"/>
              <a:ext cx="10739" cy="0"/>
            </a:xfrm>
            <a:custGeom>
              <a:gdLst>
                <a:gd name="T0" fmla="*/ 2 w 3"/>
                <a:gd name="T1" fmla="*/ 0 w 3"/>
                <a:gd name="T2" fmla="*/ 3 w 3"/>
                <a:gd name="T3" fmla="*/ 2 w 3"/>
              </a:gdLst>
              <a:cxnLst>
                <a:cxn ang="0">
                  <a:pos x="T0" y="0"/>
                </a:cxn>
                <a:cxn ang="0">
                  <a:pos x="T1" y="0"/>
                </a:cxn>
                <a:cxn ang="0">
                  <a:pos x="T2" y="0"/>
                </a:cxn>
                <a:cxn ang="0">
                  <a:pos x="T3" y="0"/>
                </a:cxn>
              </a:cxnLst>
              <a:rect l="0" t="0" r="r" b="b"/>
              <a:pathLst>
                <a:path w="3">
                  <a:moveTo>
                    <a:pt x="2" y="0"/>
                  </a:moveTo>
                  <a:cubicBezTo>
                    <a:pt x="1" y="0"/>
                    <a:pt x="0" y="0"/>
                    <a:pt x="0" y="0"/>
                  </a:cubicBezTo>
                  <a:cubicBezTo>
                    <a:pt x="1" y="0"/>
                    <a:pt x="2"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Freeform 1412"/>
            <p:cNvSpPr/>
            <p:nvPr/>
          </p:nvSpPr>
          <p:spPr bwMode="auto">
            <a:xfrm>
              <a:off x="6666038" y="5131755"/>
              <a:ext cx="2685" cy="0"/>
            </a:xfrm>
            <a:custGeom>
              <a:gdLst>
                <a:gd name="T0" fmla="*/ 0 w 1"/>
                <a:gd name="T1" fmla="*/ 1 w 1"/>
                <a:gd name="T2" fmla="*/ 1 w 1"/>
                <a:gd name="T3" fmla="*/ 0 w 1"/>
              </a:gd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9" name="Freeform 1413"/>
            <p:cNvSpPr/>
            <p:nvPr/>
          </p:nvSpPr>
          <p:spPr bwMode="auto">
            <a:xfrm>
              <a:off x="6649930" y="5636473"/>
              <a:ext cx="44297" cy="37585"/>
            </a:xfrm>
            <a:custGeom>
              <a:gdLst>
                <a:gd name="T0" fmla="*/ 0 w 14"/>
                <a:gd name="T1" fmla="*/ 0 h 12"/>
                <a:gd name="T2" fmla="*/ 5 w 14"/>
                <a:gd name="T3" fmla="*/ 9 h 12"/>
                <a:gd name="T4" fmla="*/ 11 w 14"/>
                <a:gd name="T5" fmla="*/ 12 h 12"/>
                <a:gd name="T6" fmla="*/ 13 w 14"/>
                <a:gd name="T7" fmla="*/ 5 h 12"/>
                <a:gd name="T8" fmla="*/ 12 w 14"/>
                <a:gd name="T9" fmla="*/ 5 h 12"/>
                <a:gd name="T10" fmla="*/ 10 w 14"/>
                <a:gd name="T11" fmla="*/ 7 h 12"/>
                <a:gd name="T12" fmla="*/ 8 w 14"/>
                <a:gd name="T13" fmla="*/ 8 h 12"/>
                <a:gd name="T14" fmla="*/ 8 w 14"/>
                <a:gd name="T15" fmla="*/ 8 h 12"/>
                <a:gd name="T16" fmla="*/ 7 w 14"/>
                <a:gd name="T17" fmla="*/ 7 h 12"/>
                <a:gd name="T18" fmla="*/ 5 w 14"/>
                <a:gd name="T19" fmla="*/ 5 h 12"/>
                <a:gd name="T20" fmla="*/ 4 w 14"/>
                <a:gd name="T21" fmla="*/ 3 h 12"/>
                <a:gd name="T22" fmla="*/ 0 w 14"/>
                <a:gd name="T2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0" y="0"/>
                  </a:moveTo>
                  <a:cubicBezTo>
                    <a:pt x="2" y="3"/>
                    <a:pt x="3" y="6"/>
                    <a:pt x="5" y="9"/>
                  </a:cubicBezTo>
                  <a:cubicBezTo>
                    <a:pt x="6" y="10"/>
                    <a:pt x="9" y="11"/>
                    <a:pt x="11" y="12"/>
                  </a:cubicBezTo>
                  <a:cubicBezTo>
                    <a:pt x="11" y="11"/>
                    <a:pt x="14" y="6"/>
                    <a:pt x="13" y="5"/>
                  </a:cubicBezTo>
                  <a:cubicBezTo>
                    <a:pt x="12" y="5"/>
                    <a:pt x="12" y="5"/>
                    <a:pt x="12" y="5"/>
                  </a:cubicBezTo>
                  <a:cubicBezTo>
                    <a:pt x="11" y="5"/>
                    <a:pt x="10" y="6"/>
                    <a:pt x="10" y="7"/>
                  </a:cubicBezTo>
                  <a:cubicBezTo>
                    <a:pt x="9" y="7"/>
                    <a:pt x="8" y="8"/>
                    <a:pt x="8" y="8"/>
                  </a:cubicBezTo>
                  <a:cubicBezTo>
                    <a:pt x="8" y="8"/>
                    <a:pt x="8" y="8"/>
                    <a:pt x="8" y="8"/>
                  </a:cubicBezTo>
                  <a:cubicBezTo>
                    <a:pt x="7" y="8"/>
                    <a:pt x="7" y="7"/>
                    <a:pt x="7" y="7"/>
                  </a:cubicBezTo>
                  <a:cubicBezTo>
                    <a:pt x="5" y="5"/>
                    <a:pt x="5" y="5"/>
                    <a:pt x="5" y="5"/>
                  </a:cubicBezTo>
                  <a:cubicBezTo>
                    <a:pt x="5" y="4"/>
                    <a:pt x="4" y="4"/>
                    <a:pt x="4"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Freeform 1414"/>
            <p:cNvSpPr/>
            <p:nvPr/>
          </p:nvSpPr>
          <p:spPr bwMode="auto">
            <a:xfrm>
              <a:off x="6663354" y="5703590"/>
              <a:ext cx="12081" cy="5369"/>
            </a:xfrm>
            <a:custGeom>
              <a:gdLst>
                <a:gd name="T0" fmla="*/ 3 w 4"/>
                <a:gd name="T1" fmla="*/ 0 h 2"/>
                <a:gd name="T2" fmla="*/ 0 w 4"/>
                <a:gd name="T3" fmla="*/ 2 h 2"/>
                <a:gd name="T4" fmla="*/ 1 w 4"/>
                <a:gd name="T5" fmla="*/ 2 h 2"/>
                <a:gd name="T6" fmla="*/ 3 w 4"/>
                <a:gd name="T7" fmla="*/ 0 h 2"/>
              </a:gdLst>
              <a:cxnLst>
                <a:cxn ang="0">
                  <a:pos x="T0" y="T1"/>
                </a:cxn>
                <a:cxn ang="0">
                  <a:pos x="T2" y="T3"/>
                </a:cxn>
                <a:cxn ang="0">
                  <a:pos x="T4" y="T5"/>
                </a:cxn>
                <a:cxn ang="0">
                  <a:pos x="T6" y="T7"/>
                </a:cxn>
              </a:cxnLst>
              <a:rect l="0" t="0" r="r" b="b"/>
              <a:pathLst>
                <a:path w="4" h="2">
                  <a:moveTo>
                    <a:pt x="3" y="0"/>
                  </a:moveTo>
                  <a:cubicBezTo>
                    <a:pt x="2" y="1"/>
                    <a:pt x="1" y="2"/>
                    <a:pt x="0" y="2"/>
                  </a:cubicBezTo>
                  <a:cubicBezTo>
                    <a:pt x="0" y="2"/>
                    <a:pt x="1" y="2"/>
                    <a:pt x="1" y="2"/>
                  </a:cubicBezTo>
                  <a:cubicBezTo>
                    <a:pt x="2" y="2"/>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Freeform 1415"/>
            <p:cNvSpPr/>
            <p:nvPr/>
          </p:nvSpPr>
          <p:spPr bwMode="auto">
            <a:xfrm>
              <a:off x="3448460" y="3288726"/>
              <a:ext cx="9396" cy="2685"/>
            </a:xfrm>
            <a:custGeom>
              <a:gdLst>
                <a:gd name="T0" fmla="*/ 3 w 3"/>
                <a:gd name="T1" fmla="*/ 0 h 1"/>
                <a:gd name="T2" fmla="*/ 0 w 3"/>
                <a:gd name="T3" fmla="*/ 1 h 1"/>
                <a:gd name="T4" fmla="*/ 0 w 3"/>
                <a:gd name="T5" fmla="*/ 1 h 1"/>
                <a:gd name="T6" fmla="*/ 3 w 3"/>
                <a:gd name="T7" fmla="*/ 0 h 1"/>
              </a:gdLst>
              <a:cxnLst>
                <a:cxn ang="0">
                  <a:pos x="T0" y="T1"/>
                </a:cxn>
                <a:cxn ang="0">
                  <a:pos x="T2" y="T3"/>
                </a:cxn>
                <a:cxn ang="0">
                  <a:pos x="T4" y="T5"/>
                </a:cxn>
                <a:cxn ang="0">
                  <a:pos x="T6" y="T7"/>
                </a:cxn>
              </a:cxnLst>
              <a:rect l="0" t="0" r="r" b="b"/>
              <a:pathLst>
                <a:path w="3" h="1">
                  <a:moveTo>
                    <a:pt x="3" y="0"/>
                  </a:moveTo>
                  <a:cubicBezTo>
                    <a:pt x="2" y="0"/>
                    <a:pt x="1" y="1"/>
                    <a:pt x="0" y="1"/>
                  </a:cubicBezTo>
                  <a:cubicBezTo>
                    <a:pt x="0" y="1"/>
                    <a:pt x="0" y="1"/>
                    <a:pt x="0" y="1"/>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2" name="Freeform 1416"/>
            <p:cNvSpPr/>
            <p:nvPr/>
          </p:nvSpPr>
          <p:spPr bwMode="auto">
            <a:xfrm>
              <a:off x="3147777" y="4129029"/>
              <a:ext cx="21477" cy="28189"/>
            </a:xfrm>
            <a:custGeom>
              <a:gdLst>
                <a:gd name="T0" fmla="*/ 4 w 7"/>
                <a:gd name="T1" fmla="*/ 0 h 9"/>
                <a:gd name="T2" fmla="*/ 3 w 7"/>
                <a:gd name="T3" fmla="*/ 1 h 9"/>
                <a:gd name="T4" fmla="*/ 1 w 7"/>
                <a:gd name="T5" fmla="*/ 1 h 9"/>
                <a:gd name="T6" fmla="*/ 0 w 7"/>
                <a:gd name="T7" fmla="*/ 1 h 9"/>
                <a:gd name="T8" fmla="*/ 4 w 7"/>
                <a:gd name="T9" fmla="*/ 9 h 9"/>
                <a:gd name="T10" fmla="*/ 6 w 7"/>
                <a:gd name="T11" fmla="*/ 2 h 9"/>
                <a:gd name="T12" fmla="*/ 4 w 7"/>
                <a:gd name="T13" fmla="*/ 0 h 9"/>
              </a:gdLst>
              <a:cxnLst>
                <a:cxn ang="0">
                  <a:pos x="T0" y="T1"/>
                </a:cxn>
                <a:cxn ang="0">
                  <a:pos x="T2" y="T3"/>
                </a:cxn>
                <a:cxn ang="0">
                  <a:pos x="T4" y="T5"/>
                </a:cxn>
                <a:cxn ang="0">
                  <a:pos x="T6" y="T7"/>
                </a:cxn>
                <a:cxn ang="0">
                  <a:pos x="T8" y="T9"/>
                </a:cxn>
                <a:cxn ang="0">
                  <a:pos x="T10" y="T11"/>
                </a:cxn>
                <a:cxn ang="0">
                  <a:pos x="T12" y="T13"/>
                </a:cxn>
              </a:cxnLst>
              <a:rect l="0" t="0" r="r" b="b"/>
              <a:pathLst>
                <a:path w="7" h="9">
                  <a:moveTo>
                    <a:pt x="4" y="0"/>
                  </a:moveTo>
                  <a:cubicBezTo>
                    <a:pt x="4" y="0"/>
                    <a:pt x="3" y="0"/>
                    <a:pt x="3" y="1"/>
                  </a:cubicBezTo>
                  <a:cubicBezTo>
                    <a:pt x="2" y="1"/>
                    <a:pt x="1" y="1"/>
                    <a:pt x="1" y="1"/>
                  </a:cubicBezTo>
                  <a:cubicBezTo>
                    <a:pt x="1" y="1"/>
                    <a:pt x="0" y="1"/>
                    <a:pt x="0" y="1"/>
                  </a:cubicBezTo>
                  <a:cubicBezTo>
                    <a:pt x="1" y="4"/>
                    <a:pt x="3" y="6"/>
                    <a:pt x="4" y="9"/>
                  </a:cubicBezTo>
                  <a:cubicBezTo>
                    <a:pt x="5" y="7"/>
                    <a:pt x="7" y="4"/>
                    <a:pt x="6" y="2"/>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3" name="Freeform 1417"/>
            <p:cNvSpPr>
              <a:spLocks noEditPoints="1"/>
            </p:cNvSpPr>
            <p:nvPr/>
          </p:nvSpPr>
          <p:spPr bwMode="auto">
            <a:xfrm>
              <a:off x="3261875" y="4122317"/>
              <a:ext cx="110072" cy="69802"/>
            </a:xfrm>
            <a:custGeom>
              <a:gdLst>
                <a:gd name="T0" fmla="*/ 0 w 35"/>
                <a:gd name="T1" fmla="*/ 0 h 22"/>
                <a:gd name="T2" fmla="*/ 3 w 35"/>
                <a:gd name="T3" fmla="*/ 4 h 22"/>
                <a:gd name="T4" fmla="*/ 7 w 35"/>
                <a:gd name="T5" fmla="*/ 7 h 22"/>
                <a:gd name="T6" fmla="*/ 7 w 35"/>
                <a:gd name="T7" fmla="*/ 7 h 22"/>
                <a:gd name="T8" fmla="*/ 11 w 35"/>
                <a:gd name="T9" fmla="*/ 11 h 22"/>
                <a:gd name="T10" fmla="*/ 11 w 35"/>
                <a:gd name="T11" fmla="*/ 11 h 22"/>
                <a:gd name="T12" fmla="*/ 19 w 35"/>
                <a:gd name="T13" fmla="*/ 18 h 22"/>
                <a:gd name="T14" fmla="*/ 27 w 35"/>
                <a:gd name="T15" fmla="*/ 22 h 22"/>
                <a:gd name="T16" fmla="*/ 28 w 35"/>
                <a:gd name="T17" fmla="*/ 22 h 22"/>
                <a:gd name="T18" fmla="*/ 0 w 35"/>
                <a:gd name="T19" fmla="*/ 0 h 22"/>
                <a:gd name="T20" fmla="*/ 0 w 35"/>
                <a:gd name="T21" fmla="*/ 0 h 22"/>
                <a:gd name="T22" fmla="*/ 0 w 35"/>
                <a:gd name="T23" fmla="*/ 0 h 22"/>
                <a:gd name="T24" fmla="*/ 0 w 35"/>
                <a:gd name="T25" fmla="*/ 0 h 22"/>
                <a:gd name="T26" fmla="*/ 0 w 35"/>
                <a:gd name="T27"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22">
                  <a:moveTo>
                    <a:pt x="0" y="0"/>
                  </a:moveTo>
                  <a:cubicBezTo>
                    <a:pt x="0" y="1"/>
                    <a:pt x="2" y="2"/>
                    <a:pt x="3" y="4"/>
                  </a:cubicBezTo>
                  <a:cubicBezTo>
                    <a:pt x="4" y="5"/>
                    <a:pt x="6" y="6"/>
                    <a:pt x="7" y="7"/>
                  </a:cubicBezTo>
                  <a:cubicBezTo>
                    <a:pt x="7" y="7"/>
                    <a:pt x="7" y="7"/>
                    <a:pt x="7" y="7"/>
                  </a:cubicBezTo>
                  <a:cubicBezTo>
                    <a:pt x="8" y="9"/>
                    <a:pt x="9" y="10"/>
                    <a:pt x="11" y="11"/>
                  </a:cubicBezTo>
                  <a:cubicBezTo>
                    <a:pt x="11" y="11"/>
                    <a:pt x="11" y="11"/>
                    <a:pt x="11" y="11"/>
                  </a:cubicBezTo>
                  <a:cubicBezTo>
                    <a:pt x="13" y="13"/>
                    <a:pt x="16" y="16"/>
                    <a:pt x="19" y="18"/>
                  </a:cubicBezTo>
                  <a:cubicBezTo>
                    <a:pt x="21" y="19"/>
                    <a:pt x="25" y="22"/>
                    <a:pt x="27" y="22"/>
                  </a:cubicBezTo>
                  <a:cubicBezTo>
                    <a:pt x="27" y="22"/>
                    <a:pt x="28" y="22"/>
                    <a:pt x="28" y="22"/>
                  </a:cubicBezTo>
                  <a:cubicBezTo>
                    <a:pt x="35" y="15"/>
                    <a:pt x="0" y="0"/>
                    <a:pt x="0" y="0"/>
                  </a:cubicBezTo>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Freeform 1418"/>
            <p:cNvSpPr/>
            <p:nvPr/>
          </p:nvSpPr>
          <p:spPr bwMode="auto">
            <a:xfrm>
              <a:off x="3350469" y="4252524"/>
              <a:ext cx="9396" cy="9396"/>
            </a:xfrm>
            <a:custGeom>
              <a:gdLst>
                <a:gd name="T0" fmla="*/ 3 w 3"/>
                <a:gd name="T1" fmla="*/ 0 h 3"/>
                <a:gd name="T2" fmla="*/ 1 w 3"/>
                <a:gd name="T3" fmla="*/ 3 h 3"/>
                <a:gd name="T4" fmla="*/ 3 w 3"/>
                <a:gd name="T5" fmla="*/ 0 h 3"/>
              </a:gdLst>
              <a:cxnLst>
                <a:cxn ang="0">
                  <a:pos x="T0" y="T1"/>
                </a:cxn>
                <a:cxn ang="0">
                  <a:pos x="T2" y="T3"/>
                </a:cxn>
                <a:cxn ang="0">
                  <a:pos x="T4" y="T5"/>
                </a:cxn>
              </a:cxnLst>
              <a:rect l="0" t="0" r="r" b="b"/>
              <a:pathLst>
                <a:path w="3" h="3">
                  <a:moveTo>
                    <a:pt x="3" y="0"/>
                  </a:moveTo>
                  <a:cubicBezTo>
                    <a:pt x="1" y="1"/>
                    <a:pt x="0" y="2"/>
                    <a:pt x="1"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Freeform 1419"/>
            <p:cNvSpPr/>
            <p:nvPr/>
          </p:nvSpPr>
          <p:spPr bwMode="auto">
            <a:xfrm>
              <a:off x="3311542" y="4138425"/>
              <a:ext cx="55036" cy="34901"/>
            </a:xfrm>
            <a:custGeom>
              <a:gdLst>
                <a:gd name="T0" fmla="*/ 5 w 17"/>
                <a:gd name="T1" fmla="*/ 0 h 11"/>
                <a:gd name="T2" fmla="*/ 3 w 17"/>
                <a:gd name="T3" fmla="*/ 1 h 11"/>
                <a:gd name="T4" fmla="*/ 6 w 17"/>
                <a:gd name="T5" fmla="*/ 1 h 11"/>
                <a:gd name="T6" fmla="*/ 4 w 17"/>
                <a:gd name="T7" fmla="*/ 2 h 11"/>
                <a:gd name="T8" fmla="*/ 4 w 17"/>
                <a:gd name="T9" fmla="*/ 2 h 11"/>
                <a:gd name="T10" fmla="*/ 0 w 17"/>
                <a:gd name="T11" fmla="*/ 0 h 11"/>
                <a:gd name="T12" fmla="*/ 11 w 17"/>
                <a:gd name="T13" fmla="*/ 9 h 11"/>
                <a:gd name="T14" fmla="*/ 14 w 17"/>
                <a:gd name="T15" fmla="*/ 11 h 11"/>
                <a:gd name="T16" fmla="*/ 15 w 17"/>
                <a:gd name="T17" fmla="*/ 10 h 11"/>
                <a:gd name="T18" fmla="*/ 13 w 17"/>
                <a:gd name="T19" fmla="*/ 8 h 11"/>
                <a:gd name="T20" fmla="*/ 10 w 17"/>
                <a:gd name="T21" fmla="*/ 6 h 11"/>
                <a:gd name="T22" fmla="*/ 6 w 17"/>
                <a:gd name="T23" fmla="*/ 1 h 11"/>
                <a:gd name="T24" fmla="*/ 8 w 17"/>
                <a:gd name="T25" fmla="*/ 3 h 11"/>
                <a:gd name="T26" fmla="*/ 15 w 17"/>
                <a:gd name="T27" fmla="*/ 8 h 11"/>
                <a:gd name="T28" fmla="*/ 14 w 17"/>
                <a:gd name="T29" fmla="*/ 3 h 11"/>
                <a:gd name="T30" fmla="*/ 15 w 17"/>
                <a:gd name="T31" fmla="*/ 4 h 11"/>
                <a:gd name="T32" fmla="*/ 17 w 17"/>
                <a:gd name="T33" fmla="*/ 3 h 11"/>
                <a:gd name="T34" fmla="*/ 5 w 17"/>
                <a:gd name="T35"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1">
                  <a:moveTo>
                    <a:pt x="5" y="0"/>
                  </a:moveTo>
                  <a:cubicBezTo>
                    <a:pt x="4" y="0"/>
                    <a:pt x="4" y="0"/>
                    <a:pt x="3" y="1"/>
                  </a:cubicBezTo>
                  <a:cubicBezTo>
                    <a:pt x="4" y="1"/>
                    <a:pt x="5" y="1"/>
                    <a:pt x="6" y="1"/>
                  </a:cubicBezTo>
                  <a:cubicBezTo>
                    <a:pt x="5" y="1"/>
                    <a:pt x="4" y="2"/>
                    <a:pt x="4" y="2"/>
                  </a:cubicBezTo>
                  <a:cubicBezTo>
                    <a:pt x="4" y="2"/>
                    <a:pt x="4" y="2"/>
                    <a:pt x="4" y="2"/>
                  </a:cubicBezTo>
                  <a:cubicBezTo>
                    <a:pt x="3" y="1"/>
                    <a:pt x="1" y="1"/>
                    <a:pt x="0" y="0"/>
                  </a:cubicBezTo>
                  <a:cubicBezTo>
                    <a:pt x="2" y="4"/>
                    <a:pt x="7" y="7"/>
                    <a:pt x="11" y="9"/>
                  </a:cubicBezTo>
                  <a:cubicBezTo>
                    <a:pt x="11" y="10"/>
                    <a:pt x="13" y="11"/>
                    <a:pt x="14" y="11"/>
                  </a:cubicBezTo>
                  <a:cubicBezTo>
                    <a:pt x="15" y="11"/>
                    <a:pt x="16" y="11"/>
                    <a:pt x="15" y="10"/>
                  </a:cubicBezTo>
                  <a:cubicBezTo>
                    <a:pt x="15" y="9"/>
                    <a:pt x="14" y="9"/>
                    <a:pt x="13" y="8"/>
                  </a:cubicBezTo>
                  <a:cubicBezTo>
                    <a:pt x="12" y="8"/>
                    <a:pt x="11" y="7"/>
                    <a:pt x="10" y="6"/>
                  </a:cubicBezTo>
                  <a:cubicBezTo>
                    <a:pt x="9" y="5"/>
                    <a:pt x="8" y="2"/>
                    <a:pt x="6" y="1"/>
                  </a:cubicBezTo>
                  <a:cubicBezTo>
                    <a:pt x="7" y="1"/>
                    <a:pt x="7" y="2"/>
                    <a:pt x="8" y="3"/>
                  </a:cubicBezTo>
                  <a:cubicBezTo>
                    <a:pt x="10" y="5"/>
                    <a:pt x="12" y="7"/>
                    <a:pt x="15" y="8"/>
                  </a:cubicBezTo>
                  <a:cubicBezTo>
                    <a:pt x="14" y="7"/>
                    <a:pt x="14" y="5"/>
                    <a:pt x="14" y="3"/>
                  </a:cubicBezTo>
                  <a:cubicBezTo>
                    <a:pt x="14" y="4"/>
                    <a:pt x="14" y="4"/>
                    <a:pt x="15" y="4"/>
                  </a:cubicBezTo>
                  <a:cubicBezTo>
                    <a:pt x="15" y="4"/>
                    <a:pt x="16" y="3"/>
                    <a:pt x="17" y="3"/>
                  </a:cubicBezTo>
                  <a:cubicBezTo>
                    <a:pt x="13" y="1"/>
                    <a:pt x="9"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Freeform 1420"/>
            <p:cNvSpPr/>
            <p:nvPr/>
          </p:nvSpPr>
          <p:spPr bwMode="auto">
            <a:xfrm>
              <a:off x="3413559" y="3316915"/>
              <a:ext cx="13423" cy="9396"/>
            </a:xfrm>
            <a:custGeom>
              <a:gdLst>
                <a:gd name="T0" fmla="*/ 4 w 4"/>
                <a:gd name="T1" fmla="*/ 0 h 3"/>
                <a:gd name="T2" fmla="*/ 0 w 4"/>
                <a:gd name="T3" fmla="*/ 3 h 3"/>
                <a:gd name="T4" fmla="*/ 1 w 4"/>
                <a:gd name="T5" fmla="*/ 3 h 3"/>
                <a:gd name="T6" fmla="*/ 4 w 4"/>
                <a:gd name="T7" fmla="*/ 0 h 3"/>
              </a:gdLst>
              <a:cxnLst>
                <a:cxn ang="0">
                  <a:pos x="T0" y="T1"/>
                </a:cxn>
                <a:cxn ang="0">
                  <a:pos x="T2" y="T3"/>
                </a:cxn>
                <a:cxn ang="0">
                  <a:pos x="T4" y="T5"/>
                </a:cxn>
                <a:cxn ang="0">
                  <a:pos x="T6" y="T7"/>
                </a:cxn>
              </a:cxnLst>
              <a:rect l="0" t="0" r="r" b="b"/>
              <a:pathLst>
                <a:path w="4" h="3">
                  <a:moveTo>
                    <a:pt x="4" y="0"/>
                  </a:moveTo>
                  <a:cubicBezTo>
                    <a:pt x="2" y="1"/>
                    <a:pt x="1" y="2"/>
                    <a:pt x="0" y="3"/>
                  </a:cubicBezTo>
                  <a:cubicBezTo>
                    <a:pt x="0" y="3"/>
                    <a:pt x="1" y="3"/>
                    <a:pt x="1" y="3"/>
                  </a:cubicBezTo>
                  <a:cubicBezTo>
                    <a:pt x="3" y="3"/>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Freeform 1421"/>
            <p:cNvSpPr/>
            <p:nvPr/>
          </p:nvSpPr>
          <p:spPr bwMode="auto">
            <a:xfrm>
              <a:off x="3369262" y="4116948"/>
              <a:ext cx="6712" cy="14766"/>
            </a:xfrm>
            <a:custGeom>
              <a:gdLst>
                <a:gd name="T0" fmla="*/ 1 w 2"/>
                <a:gd name="T1" fmla="*/ 0 h 5"/>
                <a:gd name="T2" fmla="*/ 0 w 2"/>
                <a:gd name="T3" fmla="*/ 1 h 5"/>
                <a:gd name="T4" fmla="*/ 2 w 2"/>
                <a:gd name="T5" fmla="*/ 5 h 5"/>
                <a:gd name="T6" fmla="*/ 1 w 2"/>
                <a:gd name="T7" fmla="*/ 0 h 5"/>
              </a:gdLst>
              <a:cxnLst>
                <a:cxn ang="0">
                  <a:pos x="T0" y="T1"/>
                </a:cxn>
                <a:cxn ang="0">
                  <a:pos x="T2" y="T3"/>
                </a:cxn>
                <a:cxn ang="0">
                  <a:pos x="T4" y="T5"/>
                </a:cxn>
                <a:cxn ang="0">
                  <a:pos x="T6" y="T7"/>
                </a:cxn>
              </a:cxnLst>
              <a:rect l="0" t="0" r="r" b="b"/>
              <a:pathLst>
                <a:path w="2" h="5">
                  <a:moveTo>
                    <a:pt x="1" y="0"/>
                  </a:moveTo>
                  <a:cubicBezTo>
                    <a:pt x="1" y="1"/>
                    <a:pt x="1" y="1"/>
                    <a:pt x="0" y="1"/>
                  </a:cubicBezTo>
                  <a:cubicBezTo>
                    <a:pt x="0" y="3"/>
                    <a:pt x="1" y="4"/>
                    <a:pt x="2" y="5"/>
                  </a:cubicBezTo>
                  <a:cubicBezTo>
                    <a:pt x="2"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Freeform 1422"/>
            <p:cNvSpPr/>
            <p:nvPr/>
          </p:nvSpPr>
          <p:spPr bwMode="auto">
            <a:xfrm>
              <a:off x="3381343" y="3328996"/>
              <a:ext cx="10739" cy="13423"/>
            </a:xfrm>
            <a:custGeom>
              <a:gdLst>
                <a:gd name="T0" fmla="*/ 0 w 3"/>
                <a:gd name="T1" fmla="*/ 0 h 4"/>
                <a:gd name="T2" fmla="*/ 0 w 3"/>
                <a:gd name="T3" fmla="*/ 0 h 4"/>
                <a:gd name="T4" fmla="*/ 2 w 3"/>
                <a:gd name="T5" fmla="*/ 4 h 4"/>
                <a:gd name="T6" fmla="*/ 3 w 3"/>
                <a:gd name="T7" fmla="*/ 2 h 4"/>
                <a:gd name="T8" fmla="*/ 0 w 3"/>
                <a:gd name="T9" fmla="*/ 0 h 4"/>
              </a:gdLst>
              <a:cxnLst>
                <a:cxn ang="0">
                  <a:pos x="T0" y="T1"/>
                </a:cxn>
                <a:cxn ang="0">
                  <a:pos x="T2" y="T3"/>
                </a:cxn>
                <a:cxn ang="0">
                  <a:pos x="T4" y="T5"/>
                </a:cxn>
                <a:cxn ang="0">
                  <a:pos x="T6" y="T7"/>
                </a:cxn>
                <a:cxn ang="0">
                  <a:pos x="T8" y="T9"/>
                </a:cxn>
              </a:cxnLst>
              <a:rect l="0" t="0" r="r" b="b"/>
              <a:pathLst>
                <a:path w="3" h="4">
                  <a:moveTo>
                    <a:pt x="0" y="0"/>
                  </a:moveTo>
                  <a:cubicBezTo>
                    <a:pt x="0" y="0"/>
                    <a:pt x="0" y="0"/>
                    <a:pt x="0" y="0"/>
                  </a:cubicBezTo>
                  <a:cubicBezTo>
                    <a:pt x="0" y="1"/>
                    <a:pt x="1" y="3"/>
                    <a:pt x="2" y="4"/>
                  </a:cubicBezTo>
                  <a:cubicBezTo>
                    <a:pt x="2" y="3"/>
                    <a:pt x="2"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Freeform 1423"/>
            <p:cNvSpPr/>
            <p:nvPr/>
          </p:nvSpPr>
          <p:spPr bwMode="auto">
            <a:xfrm>
              <a:off x="4358563" y="2989385"/>
              <a:ext cx="146315" cy="257729"/>
            </a:xfrm>
            <a:custGeom>
              <a:gdLst>
                <a:gd name="T0" fmla="*/ 37 w 46"/>
                <a:gd name="T1" fmla="*/ 0 h 81"/>
                <a:gd name="T2" fmla="*/ 39 w 46"/>
                <a:gd name="T3" fmla="*/ 4 h 81"/>
                <a:gd name="T4" fmla="*/ 33 w 46"/>
                <a:gd name="T5" fmla="*/ 10 h 81"/>
                <a:gd name="T6" fmla="*/ 26 w 46"/>
                <a:gd name="T7" fmla="*/ 4 h 81"/>
                <a:gd name="T8" fmla="*/ 27 w 46"/>
                <a:gd name="T9" fmla="*/ 3 h 81"/>
                <a:gd name="T10" fmla="*/ 21 w 46"/>
                <a:gd name="T11" fmla="*/ 6 h 81"/>
                <a:gd name="T12" fmla="*/ 19 w 46"/>
                <a:gd name="T13" fmla="*/ 11 h 81"/>
                <a:gd name="T14" fmla="*/ 15 w 46"/>
                <a:gd name="T15" fmla="*/ 16 h 81"/>
                <a:gd name="T16" fmla="*/ 3 w 46"/>
                <a:gd name="T17" fmla="*/ 38 h 81"/>
                <a:gd name="T18" fmla="*/ 1 w 46"/>
                <a:gd name="T19" fmla="*/ 51 h 81"/>
                <a:gd name="T20" fmla="*/ 4 w 46"/>
                <a:gd name="T21" fmla="*/ 61 h 81"/>
                <a:gd name="T22" fmla="*/ 11 w 46"/>
                <a:gd name="T23" fmla="*/ 72 h 81"/>
                <a:gd name="T24" fmla="*/ 18 w 46"/>
                <a:gd name="T25" fmla="*/ 81 h 81"/>
                <a:gd name="T26" fmla="*/ 24 w 46"/>
                <a:gd name="T27" fmla="*/ 64 h 81"/>
                <a:gd name="T28" fmla="*/ 33 w 46"/>
                <a:gd name="T29" fmla="*/ 44 h 81"/>
                <a:gd name="T30" fmla="*/ 40 w 46"/>
                <a:gd name="T31" fmla="*/ 22 h 81"/>
                <a:gd name="T32" fmla="*/ 42 w 46"/>
                <a:gd name="T33" fmla="*/ 13 h 81"/>
                <a:gd name="T34" fmla="*/ 46 w 46"/>
                <a:gd name="T35" fmla="*/ 4 h 81"/>
                <a:gd name="T36" fmla="*/ 37 w 46"/>
                <a:gd name="T37" fmla="*/ 0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81">
                  <a:moveTo>
                    <a:pt x="37" y="0"/>
                  </a:moveTo>
                  <a:cubicBezTo>
                    <a:pt x="38" y="1"/>
                    <a:pt x="39" y="2"/>
                    <a:pt x="39" y="4"/>
                  </a:cubicBezTo>
                  <a:cubicBezTo>
                    <a:pt x="39" y="8"/>
                    <a:pt x="36" y="10"/>
                    <a:pt x="33" y="10"/>
                  </a:cubicBezTo>
                  <a:cubicBezTo>
                    <a:pt x="29" y="10"/>
                    <a:pt x="26" y="8"/>
                    <a:pt x="26" y="4"/>
                  </a:cubicBezTo>
                  <a:cubicBezTo>
                    <a:pt x="26" y="3"/>
                    <a:pt x="26" y="3"/>
                    <a:pt x="27" y="3"/>
                  </a:cubicBezTo>
                  <a:cubicBezTo>
                    <a:pt x="25" y="4"/>
                    <a:pt x="23" y="5"/>
                    <a:pt x="21" y="6"/>
                  </a:cubicBezTo>
                  <a:cubicBezTo>
                    <a:pt x="20" y="6"/>
                    <a:pt x="20" y="9"/>
                    <a:pt x="19" y="11"/>
                  </a:cubicBezTo>
                  <a:cubicBezTo>
                    <a:pt x="18" y="12"/>
                    <a:pt x="16" y="14"/>
                    <a:pt x="15" y="16"/>
                  </a:cubicBezTo>
                  <a:cubicBezTo>
                    <a:pt x="10" y="22"/>
                    <a:pt x="5" y="30"/>
                    <a:pt x="3" y="38"/>
                  </a:cubicBezTo>
                  <a:cubicBezTo>
                    <a:pt x="1" y="42"/>
                    <a:pt x="2" y="46"/>
                    <a:pt x="1" y="51"/>
                  </a:cubicBezTo>
                  <a:cubicBezTo>
                    <a:pt x="0" y="54"/>
                    <a:pt x="3" y="58"/>
                    <a:pt x="4" y="61"/>
                  </a:cubicBezTo>
                  <a:cubicBezTo>
                    <a:pt x="6" y="66"/>
                    <a:pt x="9" y="68"/>
                    <a:pt x="11" y="72"/>
                  </a:cubicBezTo>
                  <a:cubicBezTo>
                    <a:pt x="13" y="76"/>
                    <a:pt x="13" y="80"/>
                    <a:pt x="18" y="81"/>
                  </a:cubicBezTo>
                  <a:cubicBezTo>
                    <a:pt x="19" y="74"/>
                    <a:pt x="21" y="70"/>
                    <a:pt x="24" y="64"/>
                  </a:cubicBezTo>
                  <a:cubicBezTo>
                    <a:pt x="27" y="57"/>
                    <a:pt x="31" y="51"/>
                    <a:pt x="33" y="44"/>
                  </a:cubicBezTo>
                  <a:cubicBezTo>
                    <a:pt x="36" y="37"/>
                    <a:pt x="38" y="29"/>
                    <a:pt x="40" y="22"/>
                  </a:cubicBezTo>
                  <a:cubicBezTo>
                    <a:pt x="41" y="19"/>
                    <a:pt x="42" y="16"/>
                    <a:pt x="42" y="13"/>
                  </a:cubicBezTo>
                  <a:cubicBezTo>
                    <a:pt x="43" y="11"/>
                    <a:pt x="43" y="5"/>
                    <a:pt x="46" y="4"/>
                  </a:cubicBezTo>
                  <a:cubicBezTo>
                    <a:pt x="43" y="3"/>
                    <a:pt x="40" y="1"/>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Freeform 1424"/>
            <p:cNvSpPr/>
            <p:nvPr/>
          </p:nvSpPr>
          <p:spPr bwMode="auto">
            <a:xfrm>
              <a:off x="4463266" y="2984016"/>
              <a:ext cx="4027" cy="0"/>
            </a:xfrm>
            <a:custGeom>
              <a:gdLst>
                <a:gd name="T0" fmla="*/ 0 w 3"/>
                <a:gd name="T1" fmla="*/ 0 w 3"/>
                <a:gd name="T2" fmla="*/ 3 w 3"/>
                <a:gd name="T3" fmla="*/ 0 w 3"/>
              </a:gd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Freeform 1425"/>
            <p:cNvSpPr/>
            <p:nvPr/>
          </p:nvSpPr>
          <p:spPr bwMode="auto">
            <a:xfrm>
              <a:off x="4463266" y="2984016"/>
              <a:ext cx="4027" cy="0"/>
            </a:xfrm>
            <a:custGeom>
              <a:gdLst>
                <a:gd name="T0" fmla="*/ 0 w 3"/>
                <a:gd name="T1" fmla="*/ 0 w 3"/>
                <a:gd name="T2" fmla="*/ 3 w 3"/>
                <a:gd name="T3" fmla="*/ 0 w 3"/>
              </a:gdLst>
              <a:cxnLst>
                <a:cxn ang="0">
                  <a:pos x="T0" y="0"/>
                </a:cxn>
                <a:cxn ang="0">
                  <a:pos x="T1" y="0"/>
                </a:cxn>
                <a:cxn ang="0">
                  <a:pos x="T2" y="0"/>
                </a:cxn>
                <a:cxn ang="0">
                  <a:pos x="T3" y="0"/>
                </a:cxn>
              </a:cxnLst>
              <a:rect l="0" t="0" r="r" b="b"/>
              <a:pathLst>
                <a:path w="3">
                  <a:moveTo>
                    <a:pt x="0" y="0"/>
                  </a:moveTo>
                  <a:lnTo>
                    <a:pt x="0" y="0"/>
                  </a:lnTo>
                  <a:lnTo>
                    <a:pt x="3"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2" name="Freeform 1426"/>
            <p:cNvSpPr/>
            <p:nvPr/>
          </p:nvSpPr>
          <p:spPr bwMode="auto">
            <a:xfrm>
              <a:off x="4225672" y="3043078"/>
              <a:ext cx="16108" cy="10739"/>
            </a:xfrm>
            <a:custGeom>
              <a:gdLst>
                <a:gd name="T0" fmla="*/ 4 w 5"/>
                <a:gd name="T1" fmla="*/ 0 h 3"/>
                <a:gd name="T2" fmla="*/ 1 w 5"/>
                <a:gd name="T3" fmla="*/ 2 h 3"/>
                <a:gd name="T4" fmla="*/ 3 w 5"/>
                <a:gd name="T5" fmla="*/ 3 h 3"/>
                <a:gd name="T6" fmla="*/ 4 w 5"/>
                <a:gd name="T7" fmla="*/ 0 h 3"/>
              </a:gdLst>
              <a:cxnLst>
                <a:cxn ang="0">
                  <a:pos x="T0" y="T1"/>
                </a:cxn>
                <a:cxn ang="0">
                  <a:pos x="T2" y="T3"/>
                </a:cxn>
                <a:cxn ang="0">
                  <a:pos x="T4" y="T5"/>
                </a:cxn>
                <a:cxn ang="0">
                  <a:pos x="T6" y="T7"/>
                </a:cxn>
              </a:cxnLst>
              <a:rect l="0" t="0" r="r" b="b"/>
              <a:pathLst>
                <a:path w="5" h="3">
                  <a:moveTo>
                    <a:pt x="4" y="0"/>
                  </a:moveTo>
                  <a:cubicBezTo>
                    <a:pt x="2" y="1"/>
                    <a:pt x="0" y="0"/>
                    <a:pt x="1" y="2"/>
                  </a:cubicBezTo>
                  <a:cubicBezTo>
                    <a:pt x="1" y="3"/>
                    <a:pt x="2" y="3"/>
                    <a:pt x="3" y="3"/>
                  </a:cubicBezTo>
                  <a:cubicBezTo>
                    <a:pt x="4" y="3"/>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3" name="Freeform 1427"/>
            <p:cNvSpPr/>
            <p:nvPr/>
          </p:nvSpPr>
          <p:spPr bwMode="auto">
            <a:xfrm>
              <a:off x="4318293" y="3119592"/>
              <a:ext cx="12081" cy="0"/>
            </a:xfrm>
            <a:custGeom>
              <a:gdLst>
                <a:gd name="T0" fmla="*/ 3 w 4"/>
                <a:gd name="T1" fmla="*/ 0 w 4"/>
                <a:gd name="T2" fmla="*/ 4 w 4"/>
                <a:gd name="T3" fmla="*/ 3 w 4"/>
              </a:gdLst>
              <a:cxnLst>
                <a:cxn ang="0">
                  <a:pos x="T0" y="0"/>
                </a:cxn>
                <a:cxn ang="0">
                  <a:pos x="T1" y="0"/>
                </a:cxn>
                <a:cxn ang="0">
                  <a:pos x="T2" y="0"/>
                </a:cxn>
                <a:cxn ang="0">
                  <a:pos x="T3" y="0"/>
                </a:cxn>
              </a:cxnLst>
              <a:rect l="0" t="0" r="r" b="b"/>
              <a:pathLst>
                <a:path w="4">
                  <a:moveTo>
                    <a:pt x="3" y="0"/>
                  </a:moveTo>
                  <a:cubicBezTo>
                    <a:pt x="2" y="0"/>
                    <a:pt x="1" y="0"/>
                    <a:pt x="0" y="0"/>
                  </a:cubicBezTo>
                  <a:cubicBezTo>
                    <a:pt x="1" y="0"/>
                    <a:pt x="2"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Freeform 1428"/>
            <p:cNvSpPr/>
            <p:nvPr/>
          </p:nvSpPr>
          <p:spPr bwMode="auto">
            <a:xfrm>
              <a:off x="4828381" y="1945047"/>
              <a:ext cx="9396" cy="20135"/>
            </a:xfrm>
            <a:custGeom>
              <a:gdLst>
                <a:gd name="T0" fmla="*/ 2 w 3"/>
                <a:gd name="T1" fmla="*/ 0 h 6"/>
                <a:gd name="T2" fmla="*/ 3 w 3"/>
                <a:gd name="T3" fmla="*/ 6 h 6"/>
                <a:gd name="T4" fmla="*/ 3 w 3"/>
                <a:gd name="T5" fmla="*/ 6 h 6"/>
                <a:gd name="T6" fmla="*/ 2 w 3"/>
                <a:gd name="T7" fmla="*/ 0 h 6"/>
              </a:gdLst>
              <a:cxnLst>
                <a:cxn ang="0">
                  <a:pos x="T0" y="T1"/>
                </a:cxn>
                <a:cxn ang="0">
                  <a:pos x="T2" y="T3"/>
                </a:cxn>
                <a:cxn ang="0">
                  <a:pos x="T4" y="T5"/>
                </a:cxn>
                <a:cxn ang="0">
                  <a:pos x="T6" y="T7"/>
                </a:cxn>
              </a:cxnLst>
              <a:rect l="0" t="0" r="r" b="b"/>
              <a:pathLst>
                <a:path w="3" h="6">
                  <a:moveTo>
                    <a:pt x="2" y="0"/>
                  </a:moveTo>
                  <a:cubicBezTo>
                    <a:pt x="0" y="2"/>
                    <a:pt x="0" y="6"/>
                    <a:pt x="3" y="6"/>
                  </a:cubicBezTo>
                  <a:cubicBezTo>
                    <a:pt x="3" y="6"/>
                    <a:pt x="3" y="6"/>
                    <a:pt x="3" y="6"/>
                  </a:cubicBezTo>
                  <a:cubicBezTo>
                    <a:pt x="3"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Freeform 1429"/>
            <p:cNvSpPr>
              <a:spLocks noEditPoints="1"/>
            </p:cNvSpPr>
            <p:nvPr/>
          </p:nvSpPr>
          <p:spPr bwMode="auto">
            <a:xfrm>
              <a:off x="3506180" y="3382690"/>
              <a:ext cx="177188" cy="155711"/>
            </a:xfrm>
            <a:custGeom>
              <a:gdLst>
                <a:gd name="T0" fmla="*/ 16 w 56"/>
                <a:gd name="T1" fmla="*/ 7 h 49"/>
                <a:gd name="T2" fmla="*/ 16 w 56"/>
                <a:gd name="T3" fmla="*/ 7 h 49"/>
                <a:gd name="T4" fmla="*/ 16 w 56"/>
                <a:gd name="T5" fmla="*/ 7 h 49"/>
                <a:gd name="T6" fmla="*/ 48 w 56"/>
                <a:gd name="T7" fmla="*/ 0 h 49"/>
                <a:gd name="T8" fmla="*/ 46 w 56"/>
                <a:gd name="T9" fmla="*/ 6 h 49"/>
                <a:gd name="T10" fmla="*/ 41 w 56"/>
                <a:gd name="T11" fmla="*/ 4 h 49"/>
                <a:gd name="T12" fmla="*/ 37 w 56"/>
                <a:gd name="T13" fmla="*/ 3 h 49"/>
                <a:gd name="T14" fmla="*/ 36 w 56"/>
                <a:gd name="T15" fmla="*/ 4 h 49"/>
                <a:gd name="T16" fmla="*/ 32 w 56"/>
                <a:gd name="T17" fmla="*/ 5 h 49"/>
                <a:gd name="T18" fmla="*/ 29 w 56"/>
                <a:gd name="T19" fmla="*/ 5 h 49"/>
                <a:gd name="T20" fmla="*/ 28 w 56"/>
                <a:gd name="T21" fmla="*/ 5 h 49"/>
                <a:gd name="T22" fmla="*/ 27 w 56"/>
                <a:gd name="T23" fmla="*/ 5 h 49"/>
                <a:gd name="T24" fmla="*/ 27 w 56"/>
                <a:gd name="T25" fmla="*/ 5 h 49"/>
                <a:gd name="T26" fmla="*/ 26 w 56"/>
                <a:gd name="T27" fmla="*/ 4 h 49"/>
                <a:gd name="T28" fmla="*/ 25 w 56"/>
                <a:gd name="T29" fmla="*/ 4 h 49"/>
                <a:gd name="T30" fmla="*/ 22 w 56"/>
                <a:gd name="T31" fmla="*/ 5 h 49"/>
                <a:gd name="T32" fmla="*/ 20 w 56"/>
                <a:gd name="T33" fmla="*/ 7 h 49"/>
                <a:gd name="T34" fmla="*/ 19 w 56"/>
                <a:gd name="T35" fmla="*/ 8 h 49"/>
                <a:gd name="T36" fmla="*/ 18 w 56"/>
                <a:gd name="T37" fmla="*/ 7 h 49"/>
                <a:gd name="T38" fmla="*/ 17 w 56"/>
                <a:gd name="T39" fmla="*/ 7 h 49"/>
                <a:gd name="T40" fmla="*/ 16 w 56"/>
                <a:gd name="T41" fmla="*/ 7 h 49"/>
                <a:gd name="T42" fmla="*/ 16 w 56"/>
                <a:gd name="T43" fmla="*/ 11 h 49"/>
                <a:gd name="T44" fmla="*/ 7 w 56"/>
                <a:gd name="T45" fmla="*/ 17 h 49"/>
                <a:gd name="T46" fmla="*/ 0 w 56"/>
                <a:gd name="T47" fmla="*/ 25 h 49"/>
                <a:gd name="T48" fmla="*/ 0 w 56"/>
                <a:gd name="T49" fmla="*/ 29 h 49"/>
                <a:gd name="T50" fmla="*/ 1 w 56"/>
                <a:gd name="T51" fmla="*/ 38 h 49"/>
                <a:gd name="T52" fmla="*/ 1 w 56"/>
                <a:gd name="T53" fmla="*/ 40 h 49"/>
                <a:gd name="T54" fmla="*/ 17 w 56"/>
                <a:gd name="T55" fmla="*/ 47 h 49"/>
                <a:gd name="T56" fmla="*/ 22 w 56"/>
                <a:gd name="T57" fmla="*/ 49 h 49"/>
                <a:gd name="T58" fmla="*/ 25 w 56"/>
                <a:gd name="T59" fmla="*/ 48 h 49"/>
                <a:gd name="T60" fmla="*/ 27 w 56"/>
                <a:gd name="T61" fmla="*/ 44 h 49"/>
                <a:gd name="T62" fmla="*/ 32 w 56"/>
                <a:gd name="T63" fmla="*/ 42 h 49"/>
                <a:gd name="T64" fmla="*/ 35 w 56"/>
                <a:gd name="T65" fmla="*/ 40 h 49"/>
                <a:gd name="T66" fmla="*/ 36 w 56"/>
                <a:gd name="T67" fmla="*/ 39 h 49"/>
                <a:gd name="T68" fmla="*/ 41 w 56"/>
                <a:gd name="T69" fmla="*/ 36 h 49"/>
                <a:gd name="T70" fmla="*/ 42 w 56"/>
                <a:gd name="T71" fmla="*/ 37 h 49"/>
                <a:gd name="T72" fmla="*/ 43 w 56"/>
                <a:gd name="T73" fmla="*/ 34 h 49"/>
                <a:gd name="T74" fmla="*/ 43 w 56"/>
                <a:gd name="T75" fmla="*/ 34 h 49"/>
                <a:gd name="T76" fmla="*/ 44 w 56"/>
                <a:gd name="T77" fmla="*/ 34 h 49"/>
                <a:gd name="T78" fmla="*/ 44 w 56"/>
                <a:gd name="T79" fmla="*/ 34 h 49"/>
                <a:gd name="T80" fmla="*/ 44 w 56"/>
                <a:gd name="T81" fmla="*/ 34 h 49"/>
                <a:gd name="T82" fmla="*/ 47 w 56"/>
                <a:gd name="T83" fmla="*/ 23 h 49"/>
                <a:gd name="T84" fmla="*/ 52 w 56"/>
                <a:gd name="T85" fmla="*/ 13 h 49"/>
                <a:gd name="T86" fmla="*/ 52 w 56"/>
                <a:gd name="T87" fmla="*/ 16 h 49"/>
                <a:gd name="T88" fmla="*/ 56 w 56"/>
                <a:gd name="T89" fmla="*/ 13 h 49"/>
                <a:gd name="T90" fmla="*/ 56 w 56"/>
                <a:gd name="T91" fmla="*/ 13 h 49"/>
                <a:gd name="T92" fmla="*/ 55 w 56"/>
                <a:gd name="T93" fmla="*/ 6 h 49"/>
                <a:gd name="T94" fmla="*/ 48 w 56"/>
                <a:gd name="T95"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49">
                  <a:moveTo>
                    <a:pt x="16" y="7"/>
                  </a:moveTo>
                  <a:cubicBezTo>
                    <a:pt x="16" y="7"/>
                    <a:pt x="16" y="7"/>
                    <a:pt x="16" y="7"/>
                  </a:cubicBezTo>
                  <a:cubicBezTo>
                    <a:pt x="16" y="7"/>
                    <a:pt x="16" y="7"/>
                    <a:pt x="16" y="7"/>
                  </a:cubicBezTo>
                  <a:moveTo>
                    <a:pt x="48" y="0"/>
                  </a:moveTo>
                  <a:cubicBezTo>
                    <a:pt x="46" y="4"/>
                    <a:pt x="47" y="6"/>
                    <a:pt x="46" y="6"/>
                  </a:cubicBezTo>
                  <a:cubicBezTo>
                    <a:pt x="45" y="6"/>
                    <a:pt x="44" y="5"/>
                    <a:pt x="41" y="4"/>
                  </a:cubicBezTo>
                  <a:cubicBezTo>
                    <a:pt x="40" y="4"/>
                    <a:pt x="38" y="3"/>
                    <a:pt x="37" y="3"/>
                  </a:cubicBezTo>
                  <a:cubicBezTo>
                    <a:pt x="36" y="3"/>
                    <a:pt x="35" y="3"/>
                    <a:pt x="36" y="4"/>
                  </a:cubicBezTo>
                  <a:cubicBezTo>
                    <a:pt x="34" y="5"/>
                    <a:pt x="33" y="5"/>
                    <a:pt x="32" y="5"/>
                  </a:cubicBezTo>
                  <a:cubicBezTo>
                    <a:pt x="31" y="5"/>
                    <a:pt x="30" y="5"/>
                    <a:pt x="29" y="5"/>
                  </a:cubicBezTo>
                  <a:cubicBezTo>
                    <a:pt x="28" y="5"/>
                    <a:pt x="28" y="5"/>
                    <a:pt x="28" y="5"/>
                  </a:cubicBezTo>
                  <a:cubicBezTo>
                    <a:pt x="28" y="5"/>
                    <a:pt x="28" y="5"/>
                    <a:pt x="27" y="5"/>
                  </a:cubicBezTo>
                  <a:cubicBezTo>
                    <a:pt x="27" y="5"/>
                    <a:pt x="27" y="5"/>
                    <a:pt x="27" y="5"/>
                  </a:cubicBezTo>
                  <a:cubicBezTo>
                    <a:pt x="26" y="5"/>
                    <a:pt x="26" y="4"/>
                    <a:pt x="26" y="4"/>
                  </a:cubicBezTo>
                  <a:cubicBezTo>
                    <a:pt x="26" y="4"/>
                    <a:pt x="25" y="4"/>
                    <a:pt x="25" y="4"/>
                  </a:cubicBezTo>
                  <a:cubicBezTo>
                    <a:pt x="24" y="4"/>
                    <a:pt x="24" y="5"/>
                    <a:pt x="22" y="5"/>
                  </a:cubicBezTo>
                  <a:cubicBezTo>
                    <a:pt x="21" y="6"/>
                    <a:pt x="22" y="7"/>
                    <a:pt x="20" y="7"/>
                  </a:cubicBezTo>
                  <a:cubicBezTo>
                    <a:pt x="19" y="7"/>
                    <a:pt x="19" y="8"/>
                    <a:pt x="19" y="8"/>
                  </a:cubicBezTo>
                  <a:cubicBezTo>
                    <a:pt x="19" y="8"/>
                    <a:pt x="18" y="7"/>
                    <a:pt x="18" y="7"/>
                  </a:cubicBezTo>
                  <a:cubicBezTo>
                    <a:pt x="17" y="7"/>
                    <a:pt x="17" y="7"/>
                    <a:pt x="17" y="7"/>
                  </a:cubicBezTo>
                  <a:cubicBezTo>
                    <a:pt x="17" y="7"/>
                    <a:pt x="16" y="7"/>
                    <a:pt x="16" y="7"/>
                  </a:cubicBezTo>
                  <a:cubicBezTo>
                    <a:pt x="15" y="7"/>
                    <a:pt x="15" y="10"/>
                    <a:pt x="16" y="11"/>
                  </a:cubicBezTo>
                  <a:cubicBezTo>
                    <a:pt x="13" y="13"/>
                    <a:pt x="10" y="15"/>
                    <a:pt x="7" y="17"/>
                  </a:cubicBezTo>
                  <a:cubicBezTo>
                    <a:pt x="3" y="20"/>
                    <a:pt x="1" y="20"/>
                    <a:pt x="0" y="25"/>
                  </a:cubicBezTo>
                  <a:cubicBezTo>
                    <a:pt x="0" y="26"/>
                    <a:pt x="0" y="27"/>
                    <a:pt x="0" y="29"/>
                  </a:cubicBezTo>
                  <a:cubicBezTo>
                    <a:pt x="0" y="32"/>
                    <a:pt x="0" y="34"/>
                    <a:pt x="1" y="38"/>
                  </a:cubicBezTo>
                  <a:cubicBezTo>
                    <a:pt x="2" y="39"/>
                    <a:pt x="1" y="39"/>
                    <a:pt x="1" y="40"/>
                  </a:cubicBezTo>
                  <a:cubicBezTo>
                    <a:pt x="3" y="44"/>
                    <a:pt x="13" y="46"/>
                    <a:pt x="17" y="47"/>
                  </a:cubicBezTo>
                  <a:cubicBezTo>
                    <a:pt x="18" y="48"/>
                    <a:pt x="20" y="49"/>
                    <a:pt x="22" y="49"/>
                  </a:cubicBezTo>
                  <a:cubicBezTo>
                    <a:pt x="23" y="49"/>
                    <a:pt x="24" y="48"/>
                    <a:pt x="25" y="48"/>
                  </a:cubicBezTo>
                  <a:cubicBezTo>
                    <a:pt x="26" y="47"/>
                    <a:pt x="26" y="45"/>
                    <a:pt x="27" y="44"/>
                  </a:cubicBezTo>
                  <a:cubicBezTo>
                    <a:pt x="27" y="43"/>
                    <a:pt x="31" y="43"/>
                    <a:pt x="32" y="42"/>
                  </a:cubicBezTo>
                  <a:cubicBezTo>
                    <a:pt x="33" y="42"/>
                    <a:pt x="34" y="41"/>
                    <a:pt x="35" y="40"/>
                  </a:cubicBezTo>
                  <a:cubicBezTo>
                    <a:pt x="36" y="39"/>
                    <a:pt x="36" y="39"/>
                    <a:pt x="36" y="39"/>
                  </a:cubicBezTo>
                  <a:cubicBezTo>
                    <a:pt x="37" y="38"/>
                    <a:pt x="40" y="36"/>
                    <a:pt x="41" y="36"/>
                  </a:cubicBezTo>
                  <a:cubicBezTo>
                    <a:pt x="41" y="36"/>
                    <a:pt x="42" y="36"/>
                    <a:pt x="42" y="37"/>
                  </a:cubicBezTo>
                  <a:cubicBezTo>
                    <a:pt x="42" y="36"/>
                    <a:pt x="42" y="35"/>
                    <a:pt x="43" y="34"/>
                  </a:cubicBezTo>
                  <a:cubicBezTo>
                    <a:pt x="43" y="34"/>
                    <a:pt x="43" y="34"/>
                    <a:pt x="43" y="34"/>
                  </a:cubicBezTo>
                  <a:cubicBezTo>
                    <a:pt x="44" y="34"/>
                    <a:pt x="44" y="34"/>
                    <a:pt x="44" y="34"/>
                  </a:cubicBezTo>
                  <a:cubicBezTo>
                    <a:pt x="44" y="34"/>
                    <a:pt x="44" y="34"/>
                    <a:pt x="44" y="34"/>
                  </a:cubicBezTo>
                  <a:cubicBezTo>
                    <a:pt x="44" y="34"/>
                    <a:pt x="44" y="34"/>
                    <a:pt x="44" y="34"/>
                  </a:cubicBezTo>
                  <a:cubicBezTo>
                    <a:pt x="46" y="31"/>
                    <a:pt x="45" y="26"/>
                    <a:pt x="47" y="23"/>
                  </a:cubicBezTo>
                  <a:cubicBezTo>
                    <a:pt x="48" y="19"/>
                    <a:pt x="50" y="17"/>
                    <a:pt x="52" y="13"/>
                  </a:cubicBezTo>
                  <a:cubicBezTo>
                    <a:pt x="52" y="14"/>
                    <a:pt x="52" y="15"/>
                    <a:pt x="52" y="16"/>
                  </a:cubicBezTo>
                  <a:cubicBezTo>
                    <a:pt x="53" y="15"/>
                    <a:pt x="55" y="13"/>
                    <a:pt x="56" y="13"/>
                  </a:cubicBezTo>
                  <a:cubicBezTo>
                    <a:pt x="56" y="13"/>
                    <a:pt x="56" y="13"/>
                    <a:pt x="56" y="13"/>
                  </a:cubicBezTo>
                  <a:cubicBezTo>
                    <a:pt x="56" y="11"/>
                    <a:pt x="56" y="8"/>
                    <a:pt x="55" y="6"/>
                  </a:cubicBezTo>
                  <a:cubicBezTo>
                    <a:pt x="53" y="3"/>
                    <a:pt x="49" y="3"/>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Freeform 1430"/>
            <p:cNvSpPr/>
            <p:nvPr/>
          </p:nvSpPr>
          <p:spPr bwMode="auto">
            <a:xfrm>
              <a:off x="3625648" y="3312888"/>
              <a:ext cx="20135" cy="10739"/>
            </a:xfrm>
            <a:custGeom>
              <a:gdLst>
                <a:gd name="T0" fmla="*/ 5 w 6"/>
                <a:gd name="T1" fmla="*/ 0 h 3"/>
                <a:gd name="T2" fmla="*/ 0 w 6"/>
                <a:gd name="T3" fmla="*/ 3 h 3"/>
                <a:gd name="T4" fmla="*/ 2 w 6"/>
                <a:gd name="T5" fmla="*/ 2 h 3"/>
                <a:gd name="T6" fmla="*/ 2 w 6"/>
                <a:gd name="T7" fmla="*/ 2 h 3"/>
                <a:gd name="T8" fmla="*/ 6 w 6"/>
                <a:gd name="T9" fmla="*/ 3 h 3"/>
                <a:gd name="T10" fmla="*/ 5 w 6"/>
                <a:gd name="T11" fmla="*/ 0 h 3"/>
              </a:gdLst>
              <a:cxnLst>
                <a:cxn ang="0">
                  <a:pos x="T0" y="T1"/>
                </a:cxn>
                <a:cxn ang="0">
                  <a:pos x="T2" y="T3"/>
                </a:cxn>
                <a:cxn ang="0">
                  <a:pos x="T4" y="T5"/>
                </a:cxn>
                <a:cxn ang="0">
                  <a:pos x="T6" y="T7"/>
                </a:cxn>
                <a:cxn ang="0">
                  <a:pos x="T8" y="T9"/>
                </a:cxn>
                <a:cxn ang="0">
                  <a:pos x="T10" y="T11"/>
                </a:cxn>
              </a:cxnLst>
              <a:rect l="0" t="0" r="r" b="b"/>
              <a:pathLst>
                <a:path w="6" h="3">
                  <a:moveTo>
                    <a:pt x="5" y="0"/>
                  </a:moveTo>
                  <a:cubicBezTo>
                    <a:pt x="3" y="1"/>
                    <a:pt x="1" y="2"/>
                    <a:pt x="0" y="3"/>
                  </a:cubicBezTo>
                  <a:cubicBezTo>
                    <a:pt x="1" y="3"/>
                    <a:pt x="2" y="2"/>
                    <a:pt x="2" y="2"/>
                  </a:cubicBezTo>
                  <a:cubicBezTo>
                    <a:pt x="2" y="2"/>
                    <a:pt x="2" y="2"/>
                    <a:pt x="2" y="2"/>
                  </a:cubicBezTo>
                  <a:cubicBezTo>
                    <a:pt x="4" y="2"/>
                    <a:pt x="5" y="3"/>
                    <a:pt x="6" y="3"/>
                  </a:cubicBezTo>
                  <a:cubicBezTo>
                    <a:pt x="6" y="2"/>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1431"/>
            <p:cNvSpPr/>
            <p:nvPr/>
          </p:nvSpPr>
          <p:spPr bwMode="auto">
            <a:xfrm>
              <a:off x="4213591" y="3040394"/>
              <a:ext cx="9396" cy="9396"/>
            </a:xfrm>
            <a:custGeom>
              <a:gdLst>
                <a:gd name="T0" fmla="*/ 0 w 3"/>
                <a:gd name="T1" fmla="*/ 0 h 3"/>
                <a:gd name="T2" fmla="*/ 1 w 3"/>
                <a:gd name="T3" fmla="*/ 3 h 3"/>
                <a:gd name="T4" fmla="*/ 0 w 3"/>
                <a:gd name="T5" fmla="*/ 0 h 3"/>
              </a:gdLst>
              <a:cxnLst>
                <a:cxn ang="0">
                  <a:pos x="T0" y="T1"/>
                </a:cxn>
                <a:cxn ang="0">
                  <a:pos x="T2" y="T3"/>
                </a:cxn>
                <a:cxn ang="0">
                  <a:pos x="T4" y="T5"/>
                </a:cxn>
              </a:cxnLst>
              <a:rect l="0" t="0" r="r" b="b"/>
              <a:pathLst>
                <a:path w="3" h="3">
                  <a:moveTo>
                    <a:pt x="0" y="0"/>
                  </a:moveTo>
                  <a:cubicBezTo>
                    <a:pt x="0" y="2"/>
                    <a:pt x="1" y="3"/>
                    <a:pt x="1" y="3"/>
                  </a:cubicBezTo>
                  <a:cubicBezTo>
                    <a:pt x="2"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Freeform 1432"/>
            <p:cNvSpPr/>
            <p:nvPr/>
          </p:nvSpPr>
          <p:spPr bwMode="auto">
            <a:xfrm>
              <a:off x="4330374" y="2951799"/>
              <a:ext cx="13423" cy="18793"/>
            </a:xfrm>
            <a:custGeom>
              <a:gdLst>
                <a:gd name="T0" fmla="*/ 2 w 4"/>
                <a:gd name="T1" fmla="*/ 0 h 6"/>
                <a:gd name="T2" fmla="*/ 0 w 4"/>
                <a:gd name="T3" fmla="*/ 6 h 6"/>
                <a:gd name="T4" fmla="*/ 3 w 4"/>
                <a:gd name="T5" fmla="*/ 5 h 6"/>
                <a:gd name="T6" fmla="*/ 4 w 4"/>
                <a:gd name="T7" fmla="*/ 5 h 6"/>
                <a:gd name="T8" fmla="*/ 4 w 4"/>
                <a:gd name="T9" fmla="*/ 3 h 6"/>
                <a:gd name="T10" fmla="*/ 4 w 4"/>
                <a:gd name="T11" fmla="*/ 3 h 6"/>
                <a:gd name="T12" fmla="*/ 2 w 4"/>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1" y="2"/>
                    <a:pt x="1" y="4"/>
                    <a:pt x="0" y="6"/>
                  </a:cubicBezTo>
                  <a:cubicBezTo>
                    <a:pt x="1" y="5"/>
                    <a:pt x="2" y="5"/>
                    <a:pt x="3" y="5"/>
                  </a:cubicBezTo>
                  <a:cubicBezTo>
                    <a:pt x="4" y="5"/>
                    <a:pt x="4" y="5"/>
                    <a:pt x="4" y="5"/>
                  </a:cubicBezTo>
                  <a:cubicBezTo>
                    <a:pt x="3" y="4"/>
                    <a:pt x="4" y="3"/>
                    <a:pt x="4" y="3"/>
                  </a:cubicBezTo>
                  <a:cubicBezTo>
                    <a:pt x="4" y="3"/>
                    <a:pt x="4" y="3"/>
                    <a:pt x="4" y="3"/>
                  </a:cubicBezTo>
                  <a:cubicBezTo>
                    <a:pt x="4"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Freeform 1433"/>
            <p:cNvSpPr/>
            <p:nvPr/>
          </p:nvSpPr>
          <p:spPr bwMode="auto">
            <a:xfrm>
              <a:off x="3639072" y="3303492"/>
              <a:ext cx="9396" cy="6712"/>
            </a:xfrm>
            <a:custGeom>
              <a:gdLst>
                <a:gd name="T0" fmla="*/ 3 w 3"/>
                <a:gd name="T1" fmla="*/ 0 h 2"/>
                <a:gd name="T2" fmla="*/ 0 w 3"/>
                <a:gd name="T3" fmla="*/ 0 h 2"/>
                <a:gd name="T4" fmla="*/ 3 w 3"/>
                <a:gd name="T5" fmla="*/ 2 h 2"/>
                <a:gd name="T6" fmla="*/ 3 w 3"/>
                <a:gd name="T7" fmla="*/ 0 h 2"/>
                <a:gd name="T8" fmla="*/ 3 w 3"/>
                <a:gd name="T9" fmla="*/ 0 h 2"/>
              </a:gdLst>
              <a:cxnLst>
                <a:cxn ang="0">
                  <a:pos x="T0" y="T1"/>
                </a:cxn>
                <a:cxn ang="0">
                  <a:pos x="T2" y="T3"/>
                </a:cxn>
                <a:cxn ang="0">
                  <a:pos x="T4" y="T5"/>
                </a:cxn>
                <a:cxn ang="0">
                  <a:pos x="T6" y="T7"/>
                </a:cxn>
                <a:cxn ang="0">
                  <a:pos x="T8" y="T9"/>
                </a:cxn>
              </a:cxnLst>
              <a:rect l="0" t="0" r="r" b="b"/>
              <a:pathLst>
                <a:path w="3" h="2">
                  <a:moveTo>
                    <a:pt x="3" y="0"/>
                  </a:moveTo>
                  <a:cubicBezTo>
                    <a:pt x="2" y="0"/>
                    <a:pt x="1" y="0"/>
                    <a:pt x="0" y="0"/>
                  </a:cubicBezTo>
                  <a:cubicBezTo>
                    <a:pt x="1" y="1"/>
                    <a:pt x="2" y="2"/>
                    <a:pt x="3" y="2"/>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Freeform 1434"/>
            <p:cNvSpPr/>
            <p:nvPr/>
          </p:nvSpPr>
          <p:spPr bwMode="auto">
            <a:xfrm>
              <a:off x="2731653" y="4300848"/>
              <a:ext cx="16108" cy="28189"/>
            </a:xfrm>
            <a:custGeom>
              <a:gdLst>
                <a:gd name="T0" fmla="*/ 2 w 5"/>
                <a:gd name="T1" fmla="*/ 0 h 9"/>
                <a:gd name="T2" fmla="*/ 0 w 5"/>
                <a:gd name="T3" fmla="*/ 6 h 9"/>
                <a:gd name="T4" fmla="*/ 1 w 5"/>
                <a:gd name="T5" fmla="*/ 9 h 9"/>
                <a:gd name="T6" fmla="*/ 1 w 5"/>
                <a:gd name="T7" fmla="*/ 9 h 9"/>
                <a:gd name="T8" fmla="*/ 4 w 5"/>
                <a:gd name="T9" fmla="*/ 6 h 9"/>
                <a:gd name="T10" fmla="*/ 2 w 5"/>
                <a:gd name="T11" fmla="*/ 0 h 9"/>
              </a:gdLst>
              <a:cxnLst>
                <a:cxn ang="0">
                  <a:pos x="T0" y="T1"/>
                </a:cxn>
                <a:cxn ang="0">
                  <a:pos x="T2" y="T3"/>
                </a:cxn>
                <a:cxn ang="0">
                  <a:pos x="T4" y="T5"/>
                </a:cxn>
                <a:cxn ang="0">
                  <a:pos x="T6" y="T7"/>
                </a:cxn>
                <a:cxn ang="0">
                  <a:pos x="T8" y="T9"/>
                </a:cxn>
                <a:cxn ang="0">
                  <a:pos x="T10" y="T11"/>
                </a:cxn>
              </a:cxnLst>
              <a:rect l="0" t="0" r="r" b="b"/>
              <a:pathLst>
                <a:path w="5" h="9">
                  <a:moveTo>
                    <a:pt x="2" y="0"/>
                  </a:moveTo>
                  <a:cubicBezTo>
                    <a:pt x="0" y="1"/>
                    <a:pt x="0" y="5"/>
                    <a:pt x="0" y="6"/>
                  </a:cubicBezTo>
                  <a:cubicBezTo>
                    <a:pt x="0" y="7"/>
                    <a:pt x="1" y="9"/>
                    <a:pt x="1" y="9"/>
                  </a:cubicBezTo>
                  <a:cubicBezTo>
                    <a:pt x="1" y="9"/>
                    <a:pt x="1" y="9"/>
                    <a:pt x="1" y="9"/>
                  </a:cubicBezTo>
                  <a:cubicBezTo>
                    <a:pt x="2" y="9"/>
                    <a:pt x="4" y="7"/>
                    <a:pt x="4" y="6"/>
                  </a:cubicBezTo>
                  <a:cubicBezTo>
                    <a:pt x="5" y="5"/>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Freeform 1435"/>
            <p:cNvSpPr/>
            <p:nvPr/>
          </p:nvSpPr>
          <p:spPr bwMode="auto">
            <a:xfrm>
              <a:off x="2757157" y="4296821"/>
              <a:ext cx="2685" cy="6712"/>
            </a:xfrm>
            <a:custGeom>
              <a:gdLst>
                <a:gd name="T0" fmla="*/ 1 w 1"/>
                <a:gd name="T1" fmla="*/ 0 h 2"/>
                <a:gd name="T2" fmla="*/ 0 w 1"/>
                <a:gd name="T3" fmla="*/ 2 h 2"/>
                <a:gd name="T4" fmla="*/ 1 w 1"/>
                <a:gd name="T5" fmla="*/ 0 h 2"/>
                <a:gd name="T6" fmla="*/ 1 w 1"/>
                <a:gd name="T7" fmla="*/ 0 h 2"/>
              </a:gdLst>
              <a:cxnLst>
                <a:cxn ang="0">
                  <a:pos x="T0" y="T1"/>
                </a:cxn>
                <a:cxn ang="0">
                  <a:pos x="T2" y="T3"/>
                </a:cxn>
                <a:cxn ang="0">
                  <a:pos x="T4" y="T5"/>
                </a:cxn>
                <a:cxn ang="0">
                  <a:pos x="T6" y="T7"/>
                </a:cxn>
              </a:cxnLst>
              <a:rect l="0" t="0" r="r" b="b"/>
              <a:pathLst>
                <a:path w="1" h="2">
                  <a:moveTo>
                    <a:pt x="1" y="0"/>
                  </a:moveTo>
                  <a:cubicBezTo>
                    <a:pt x="0" y="1"/>
                    <a:pt x="0" y="2"/>
                    <a:pt x="0" y="2"/>
                  </a:cubicBezTo>
                  <a:cubicBezTo>
                    <a:pt x="0" y="2"/>
                    <a:pt x="1" y="1"/>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Freeform 1436"/>
            <p:cNvSpPr/>
            <p:nvPr/>
          </p:nvSpPr>
          <p:spPr bwMode="auto">
            <a:xfrm>
              <a:off x="2873940" y="4503541"/>
              <a:ext cx="16108" cy="9396"/>
            </a:xfrm>
            <a:custGeom>
              <a:gdLst>
                <a:gd name="T0" fmla="*/ 3 w 5"/>
                <a:gd name="T1" fmla="*/ 0 h 3"/>
                <a:gd name="T2" fmla="*/ 0 w 5"/>
                <a:gd name="T3" fmla="*/ 2 h 3"/>
                <a:gd name="T4" fmla="*/ 2 w 5"/>
                <a:gd name="T5" fmla="*/ 3 h 3"/>
                <a:gd name="T6" fmla="*/ 3 w 5"/>
                <a:gd name="T7" fmla="*/ 0 h 3"/>
                <a:gd name="T8" fmla="*/ 3 w 5"/>
                <a:gd name="T9" fmla="*/ 0 h 3"/>
              </a:gdLst>
              <a:cxnLst>
                <a:cxn ang="0">
                  <a:pos x="T0" y="T1"/>
                </a:cxn>
                <a:cxn ang="0">
                  <a:pos x="T2" y="T3"/>
                </a:cxn>
                <a:cxn ang="0">
                  <a:pos x="T4" y="T5"/>
                </a:cxn>
                <a:cxn ang="0">
                  <a:pos x="T6" y="T7"/>
                </a:cxn>
                <a:cxn ang="0">
                  <a:pos x="T8" y="T9"/>
                </a:cxn>
              </a:cxnLst>
              <a:rect l="0" t="0" r="r" b="b"/>
              <a:pathLst>
                <a:path w="5" h="3">
                  <a:moveTo>
                    <a:pt x="3" y="0"/>
                  </a:moveTo>
                  <a:cubicBezTo>
                    <a:pt x="2" y="0"/>
                    <a:pt x="1" y="1"/>
                    <a:pt x="0" y="2"/>
                  </a:cubicBezTo>
                  <a:cubicBezTo>
                    <a:pt x="1" y="2"/>
                    <a:pt x="1" y="3"/>
                    <a:pt x="2" y="3"/>
                  </a:cubicBezTo>
                  <a:cubicBezTo>
                    <a:pt x="4" y="3"/>
                    <a:pt x="5"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Freeform 1437"/>
            <p:cNvSpPr/>
            <p:nvPr/>
          </p:nvSpPr>
          <p:spPr bwMode="auto">
            <a:xfrm>
              <a:off x="3029651" y="3998822"/>
              <a:ext cx="13423" cy="13423"/>
            </a:xfrm>
            <a:custGeom>
              <a:gdLst>
                <a:gd name="T0" fmla="*/ 0 w 4"/>
                <a:gd name="T1" fmla="*/ 0 h 4"/>
                <a:gd name="T2" fmla="*/ 1 w 4"/>
                <a:gd name="T3" fmla="*/ 4 h 4"/>
                <a:gd name="T4" fmla="*/ 4 w 4"/>
                <a:gd name="T5" fmla="*/ 3 h 4"/>
                <a:gd name="T6" fmla="*/ 0 w 4"/>
                <a:gd name="T7" fmla="*/ 0 h 4"/>
              </a:gdLst>
              <a:cxnLst>
                <a:cxn ang="0">
                  <a:pos x="T0" y="T1"/>
                </a:cxn>
                <a:cxn ang="0">
                  <a:pos x="T2" y="T3"/>
                </a:cxn>
                <a:cxn ang="0">
                  <a:pos x="T4" y="T5"/>
                </a:cxn>
                <a:cxn ang="0">
                  <a:pos x="T6" y="T7"/>
                </a:cxn>
              </a:cxnLst>
              <a:rect l="0" t="0" r="r" b="b"/>
              <a:pathLst>
                <a:path w="4" h="4">
                  <a:moveTo>
                    <a:pt x="0" y="0"/>
                  </a:moveTo>
                  <a:cubicBezTo>
                    <a:pt x="1" y="1"/>
                    <a:pt x="1" y="3"/>
                    <a:pt x="1" y="4"/>
                  </a:cubicBezTo>
                  <a:cubicBezTo>
                    <a:pt x="2" y="4"/>
                    <a:pt x="3"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Freeform 1438"/>
            <p:cNvSpPr/>
            <p:nvPr/>
          </p:nvSpPr>
          <p:spPr bwMode="auto">
            <a:xfrm>
              <a:off x="2788031" y="4338434"/>
              <a:ext cx="6712" cy="13423"/>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1" y="1"/>
                    <a:pt x="1" y="3"/>
                    <a:pt x="2"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Freeform 1439"/>
            <p:cNvSpPr/>
            <p:nvPr/>
          </p:nvSpPr>
          <p:spPr bwMode="auto">
            <a:xfrm>
              <a:off x="2861859" y="4176011"/>
              <a:ext cx="6712" cy="10739"/>
            </a:xfrm>
            <a:custGeom>
              <a:gdLst>
                <a:gd name="T0" fmla="*/ 0 w 2"/>
                <a:gd name="T1" fmla="*/ 0 h 3"/>
                <a:gd name="T2" fmla="*/ 0 w 2"/>
                <a:gd name="T3" fmla="*/ 0 h 3"/>
                <a:gd name="T4" fmla="*/ 2 w 2"/>
                <a:gd name="T5" fmla="*/ 3 h 3"/>
                <a:gd name="T6" fmla="*/ 0 w 2"/>
                <a:gd name="T7" fmla="*/ 0 h 3"/>
              </a:gdLst>
              <a:cxnLst>
                <a:cxn ang="0">
                  <a:pos x="T0" y="T1"/>
                </a:cxn>
                <a:cxn ang="0">
                  <a:pos x="T2" y="T3"/>
                </a:cxn>
                <a:cxn ang="0">
                  <a:pos x="T4" y="T5"/>
                </a:cxn>
                <a:cxn ang="0">
                  <a:pos x="T6" y="T7"/>
                </a:cxn>
              </a:cxnLst>
              <a:rect l="0" t="0" r="r" b="b"/>
              <a:pathLst>
                <a:path w="2" h="3">
                  <a:moveTo>
                    <a:pt x="0" y="0"/>
                  </a:moveTo>
                  <a:cubicBezTo>
                    <a:pt x="0" y="0"/>
                    <a:pt x="0" y="0"/>
                    <a:pt x="0" y="0"/>
                  </a:cubicBezTo>
                  <a:cubicBezTo>
                    <a:pt x="0" y="1"/>
                    <a:pt x="1" y="2"/>
                    <a:pt x="2" y="3"/>
                  </a:cubicBezTo>
                  <a:cubicBezTo>
                    <a:pt x="2"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Freeform 1440"/>
            <p:cNvSpPr/>
            <p:nvPr/>
          </p:nvSpPr>
          <p:spPr bwMode="auto">
            <a:xfrm>
              <a:off x="2829643" y="4408235"/>
              <a:ext cx="6712" cy="16108"/>
            </a:xfrm>
            <a:custGeom>
              <a:gdLst>
                <a:gd name="T0" fmla="*/ 2 w 2"/>
                <a:gd name="T1" fmla="*/ 0 h 5"/>
                <a:gd name="T2" fmla="*/ 2 w 2"/>
                <a:gd name="T3" fmla="*/ 5 h 5"/>
                <a:gd name="T4" fmla="*/ 2 w 2"/>
                <a:gd name="T5" fmla="*/ 0 h 5"/>
              </a:gdLst>
              <a:cxnLst>
                <a:cxn ang="0">
                  <a:pos x="T0" y="T1"/>
                </a:cxn>
                <a:cxn ang="0">
                  <a:pos x="T2" y="T3"/>
                </a:cxn>
                <a:cxn ang="0">
                  <a:pos x="T4" y="T5"/>
                </a:cxn>
              </a:cxnLst>
              <a:rect l="0" t="0" r="r" b="b"/>
              <a:pathLst>
                <a:path w="2" h="5">
                  <a:moveTo>
                    <a:pt x="2" y="0"/>
                  </a:moveTo>
                  <a:cubicBezTo>
                    <a:pt x="1" y="3"/>
                    <a:pt x="0" y="3"/>
                    <a:pt x="2" y="5"/>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Freeform 1441"/>
            <p:cNvSpPr/>
            <p:nvPr/>
          </p:nvSpPr>
          <p:spPr bwMode="auto">
            <a:xfrm>
              <a:off x="2753130" y="4312929"/>
              <a:ext cx="4027" cy="6712"/>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0"/>
                    <a:pt x="0" y="1"/>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Freeform 1442"/>
            <p:cNvSpPr/>
            <p:nvPr/>
          </p:nvSpPr>
          <p:spPr bwMode="auto">
            <a:xfrm>
              <a:off x="2852463" y="4192119"/>
              <a:ext cx="16108" cy="13423"/>
            </a:xfrm>
            <a:custGeom>
              <a:gdLst>
                <a:gd name="T0" fmla="*/ 4 w 5"/>
                <a:gd name="T1" fmla="*/ 0 h 4"/>
                <a:gd name="T2" fmla="*/ 2 w 5"/>
                <a:gd name="T3" fmla="*/ 0 h 4"/>
                <a:gd name="T4" fmla="*/ 2 w 5"/>
                <a:gd name="T5" fmla="*/ 4 h 4"/>
                <a:gd name="T6" fmla="*/ 5 w 5"/>
                <a:gd name="T7" fmla="*/ 1 h 4"/>
                <a:gd name="T8" fmla="*/ 4 w 5"/>
                <a:gd name="T9" fmla="*/ 0 h 4"/>
              </a:gdLst>
              <a:cxnLst>
                <a:cxn ang="0">
                  <a:pos x="T0" y="T1"/>
                </a:cxn>
                <a:cxn ang="0">
                  <a:pos x="T2" y="T3"/>
                </a:cxn>
                <a:cxn ang="0">
                  <a:pos x="T4" y="T5"/>
                </a:cxn>
                <a:cxn ang="0">
                  <a:pos x="T6" y="T7"/>
                </a:cxn>
                <a:cxn ang="0">
                  <a:pos x="T8" y="T9"/>
                </a:cxn>
              </a:cxnLst>
              <a:rect l="0" t="0" r="r" b="b"/>
              <a:pathLst>
                <a:path w="5" h="4">
                  <a:moveTo>
                    <a:pt x="4" y="0"/>
                  </a:moveTo>
                  <a:cubicBezTo>
                    <a:pt x="3" y="0"/>
                    <a:pt x="3" y="0"/>
                    <a:pt x="2" y="0"/>
                  </a:cubicBezTo>
                  <a:cubicBezTo>
                    <a:pt x="0" y="0"/>
                    <a:pt x="2" y="2"/>
                    <a:pt x="2" y="4"/>
                  </a:cubicBezTo>
                  <a:cubicBezTo>
                    <a:pt x="3" y="4"/>
                    <a:pt x="5" y="2"/>
                    <a:pt x="5"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Freeform 1443"/>
            <p:cNvSpPr/>
            <p:nvPr/>
          </p:nvSpPr>
          <p:spPr bwMode="auto">
            <a:xfrm>
              <a:off x="3048444" y="4027011"/>
              <a:ext cx="6712" cy="16108"/>
            </a:xfrm>
            <a:custGeom>
              <a:gdLst>
                <a:gd name="T0" fmla="*/ 1 w 2"/>
                <a:gd name="T1" fmla="*/ 0 h 5"/>
                <a:gd name="T2" fmla="*/ 2 w 2"/>
                <a:gd name="T3" fmla="*/ 5 h 5"/>
                <a:gd name="T4" fmla="*/ 1 w 2"/>
                <a:gd name="T5" fmla="*/ 0 h 5"/>
              </a:gdLst>
              <a:cxnLst>
                <a:cxn ang="0">
                  <a:pos x="T0" y="T1"/>
                </a:cxn>
                <a:cxn ang="0">
                  <a:pos x="T2" y="T3"/>
                </a:cxn>
                <a:cxn ang="0">
                  <a:pos x="T4" y="T5"/>
                </a:cxn>
              </a:cxnLst>
              <a:rect l="0" t="0" r="r" b="b"/>
              <a:pathLst>
                <a:path w="2" h="5">
                  <a:moveTo>
                    <a:pt x="1" y="0"/>
                  </a:moveTo>
                  <a:cubicBezTo>
                    <a:pt x="0" y="2"/>
                    <a:pt x="0" y="4"/>
                    <a:pt x="2" y="5"/>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0" name="Freeform 1444"/>
            <p:cNvSpPr/>
            <p:nvPr/>
          </p:nvSpPr>
          <p:spPr bwMode="auto">
            <a:xfrm>
              <a:off x="1345020" y="4173326"/>
              <a:ext cx="161080" cy="295314"/>
            </a:xfrm>
            <a:custGeom>
              <a:gdLst>
                <a:gd name="T0" fmla="*/ 11 w 51"/>
                <a:gd name="T1" fmla="*/ 0 h 93"/>
                <a:gd name="T2" fmla="*/ 18 w 51"/>
                <a:gd name="T3" fmla="*/ 6 h 93"/>
                <a:gd name="T4" fmla="*/ 12 w 51"/>
                <a:gd name="T5" fmla="*/ 2 h 93"/>
                <a:gd name="T6" fmla="*/ 10 w 51"/>
                <a:gd name="T7" fmla="*/ 5 h 93"/>
                <a:gd name="T8" fmla="*/ 12 w 51"/>
                <a:gd name="T9" fmla="*/ 5 h 93"/>
                <a:gd name="T10" fmla="*/ 17 w 51"/>
                <a:gd name="T11" fmla="*/ 7 h 93"/>
                <a:gd name="T12" fmla="*/ 17 w 51"/>
                <a:gd name="T13" fmla="*/ 8 h 93"/>
                <a:gd name="T14" fmla="*/ 16 w 51"/>
                <a:gd name="T15" fmla="*/ 8 h 93"/>
                <a:gd name="T16" fmla="*/ 14 w 51"/>
                <a:gd name="T17" fmla="*/ 9 h 93"/>
                <a:gd name="T18" fmla="*/ 9 w 51"/>
                <a:gd name="T19" fmla="*/ 6 h 93"/>
                <a:gd name="T20" fmla="*/ 9 w 51"/>
                <a:gd name="T21" fmla="*/ 6 h 93"/>
                <a:gd name="T22" fmla="*/ 10 w 51"/>
                <a:gd name="T23" fmla="*/ 14 h 93"/>
                <a:gd name="T24" fmla="*/ 5 w 51"/>
                <a:gd name="T25" fmla="*/ 21 h 93"/>
                <a:gd name="T26" fmla="*/ 5 w 51"/>
                <a:gd name="T27" fmla="*/ 30 h 93"/>
                <a:gd name="T28" fmla="*/ 3 w 51"/>
                <a:gd name="T29" fmla="*/ 39 h 93"/>
                <a:gd name="T30" fmla="*/ 1 w 51"/>
                <a:gd name="T31" fmla="*/ 41 h 93"/>
                <a:gd name="T32" fmla="*/ 1 w 51"/>
                <a:gd name="T33" fmla="*/ 42 h 93"/>
                <a:gd name="T34" fmla="*/ 2 w 51"/>
                <a:gd name="T35" fmla="*/ 49 h 93"/>
                <a:gd name="T36" fmla="*/ 3 w 51"/>
                <a:gd name="T37" fmla="*/ 60 h 93"/>
                <a:gd name="T38" fmla="*/ 5 w 51"/>
                <a:gd name="T39" fmla="*/ 68 h 93"/>
                <a:gd name="T40" fmla="*/ 7 w 51"/>
                <a:gd name="T41" fmla="*/ 80 h 93"/>
                <a:gd name="T42" fmla="*/ 10 w 51"/>
                <a:gd name="T43" fmla="*/ 87 h 93"/>
                <a:gd name="T44" fmla="*/ 15 w 51"/>
                <a:gd name="T45" fmla="*/ 91 h 93"/>
                <a:gd name="T46" fmla="*/ 21 w 51"/>
                <a:gd name="T47" fmla="*/ 93 h 93"/>
                <a:gd name="T48" fmla="*/ 31 w 51"/>
                <a:gd name="T49" fmla="*/ 88 h 93"/>
                <a:gd name="T50" fmla="*/ 47 w 51"/>
                <a:gd name="T51" fmla="*/ 79 h 93"/>
                <a:gd name="T52" fmla="*/ 51 w 51"/>
                <a:gd name="T53" fmla="*/ 69 h 93"/>
                <a:gd name="T54" fmla="*/ 50 w 51"/>
                <a:gd name="T55" fmla="*/ 57 h 93"/>
                <a:gd name="T56" fmla="*/ 50 w 51"/>
                <a:gd name="T57" fmla="*/ 56 h 93"/>
                <a:gd name="T58" fmla="*/ 43 w 51"/>
                <a:gd name="T59" fmla="*/ 44 h 93"/>
                <a:gd name="T60" fmla="*/ 41 w 51"/>
                <a:gd name="T61" fmla="*/ 38 h 93"/>
                <a:gd name="T62" fmla="*/ 34 w 51"/>
                <a:gd name="T63" fmla="*/ 27 h 93"/>
                <a:gd name="T64" fmla="*/ 30 w 51"/>
                <a:gd name="T65" fmla="*/ 21 h 93"/>
                <a:gd name="T66" fmla="*/ 23 w 51"/>
                <a:gd name="T67" fmla="*/ 10 h 93"/>
                <a:gd name="T68" fmla="*/ 18 w 51"/>
                <a:gd name="T69" fmla="*/ 6 h 93"/>
                <a:gd name="T70" fmla="*/ 11 w 51"/>
                <a:gd name="T71" fmla="*/ 0 h 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93">
                  <a:moveTo>
                    <a:pt x="11" y="0"/>
                  </a:moveTo>
                  <a:cubicBezTo>
                    <a:pt x="11" y="0"/>
                    <a:pt x="11" y="0"/>
                    <a:pt x="11" y="0"/>
                  </a:cubicBezTo>
                  <a:cubicBezTo>
                    <a:pt x="12" y="1"/>
                    <a:pt x="12" y="1"/>
                    <a:pt x="13" y="2"/>
                  </a:cubicBezTo>
                  <a:cubicBezTo>
                    <a:pt x="14" y="3"/>
                    <a:pt x="16" y="5"/>
                    <a:pt x="18" y="6"/>
                  </a:cubicBezTo>
                  <a:cubicBezTo>
                    <a:pt x="15" y="5"/>
                    <a:pt x="14" y="4"/>
                    <a:pt x="13" y="2"/>
                  </a:cubicBezTo>
                  <a:cubicBezTo>
                    <a:pt x="12" y="2"/>
                    <a:pt x="12" y="2"/>
                    <a:pt x="12" y="2"/>
                  </a:cubicBezTo>
                  <a:cubicBezTo>
                    <a:pt x="11" y="1"/>
                    <a:pt x="9" y="0"/>
                    <a:pt x="7" y="0"/>
                  </a:cubicBezTo>
                  <a:cubicBezTo>
                    <a:pt x="7" y="1"/>
                    <a:pt x="9" y="3"/>
                    <a:pt x="10" y="5"/>
                  </a:cubicBezTo>
                  <a:cubicBezTo>
                    <a:pt x="11" y="5"/>
                    <a:pt x="11" y="6"/>
                    <a:pt x="12" y="6"/>
                  </a:cubicBezTo>
                  <a:cubicBezTo>
                    <a:pt x="12" y="6"/>
                    <a:pt x="12" y="5"/>
                    <a:pt x="12" y="5"/>
                  </a:cubicBezTo>
                  <a:cubicBezTo>
                    <a:pt x="14" y="5"/>
                    <a:pt x="15" y="7"/>
                    <a:pt x="17" y="7"/>
                  </a:cubicBezTo>
                  <a:cubicBezTo>
                    <a:pt x="17" y="7"/>
                    <a:pt x="17" y="7"/>
                    <a:pt x="17" y="7"/>
                  </a:cubicBezTo>
                  <a:cubicBezTo>
                    <a:pt x="18" y="8"/>
                    <a:pt x="20" y="8"/>
                    <a:pt x="22" y="9"/>
                  </a:cubicBezTo>
                  <a:cubicBezTo>
                    <a:pt x="20" y="9"/>
                    <a:pt x="19" y="8"/>
                    <a:pt x="17" y="8"/>
                  </a:cubicBezTo>
                  <a:cubicBezTo>
                    <a:pt x="17" y="8"/>
                    <a:pt x="17" y="8"/>
                    <a:pt x="17" y="8"/>
                  </a:cubicBezTo>
                  <a:cubicBezTo>
                    <a:pt x="16" y="8"/>
                    <a:pt x="16" y="8"/>
                    <a:pt x="16" y="8"/>
                  </a:cubicBezTo>
                  <a:cubicBezTo>
                    <a:pt x="15" y="8"/>
                    <a:pt x="15" y="9"/>
                    <a:pt x="14" y="9"/>
                  </a:cubicBezTo>
                  <a:cubicBezTo>
                    <a:pt x="14" y="9"/>
                    <a:pt x="14" y="9"/>
                    <a:pt x="14" y="9"/>
                  </a:cubicBezTo>
                  <a:cubicBezTo>
                    <a:pt x="13" y="9"/>
                    <a:pt x="14" y="8"/>
                    <a:pt x="14" y="8"/>
                  </a:cubicBezTo>
                  <a:cubicBezTo>
                    <a:pt x="12" y="7"/>
                    <a:pt x="11" y="6"/>
                    <a:pt x="9" y="6"/>
                  </a:cubicBezTo>
                  <a:cubicBezTo>
                    <a:pt x="9" y="6"/>
                    <a:pt x="9" y="6"/>
                    <a:pt x="9" y="6"/>
                  </a:cubicBezTo>
                  <a:cubicBezTo>
                    <a:pt x="9" y="6"/>
                    <a:pt x="9" y="6"/>
                    <a:pt x="9" y="6"/>
                  </a:cubicBezTo>
                  <a:cubicBezTo>
                    <a:pt x="10" y="6"/>
                    <a:pt x="12" y="8"/>
                    <a:pt x="11" y="9"/>
                  </a:cubicBezTo>
                  <a:cubicBezTo>
                    <a:pt x="8" y="11"/>
                    <a:pt x="9" y="11"/>
                    <a:pt x="10" y="14"/>
                  </a:cubicBezTo>
                  <a:cubicBezTo>
                    <a:pt x="10" y="15"/>
                    <a:pt x="10" y="15"/>
                    <a:pt x="10" y="15"/>
                  </a:cubicBezTo>
                  <a:cubicBezTo>
                    <a:pt x="9" y="17"/>
                    <a:pt x="6" y="19"/>
                    <a:pt x="5" y="21"/>
                  </a:cubicBezTo>
                  <a:cubicBezTo>
                    <a:pt x="5" y="23"/>
                    <a:pt x="5" y="25"/>
                    <a:pt x="5" y="28"/>
                  </a:cubicBezTo>
                  <a:cubicBezTo>
                    <a:pt x="5" y="28"/>
                    <a:pt x="5" y="29"/>
                    <a:pt x="5" y="30"/>
                  </a:cubicBezTo>
                  <a:cubicBezTo>
                    <a:pt x="5" y="31"/>
                    <a:pt x="5" y="33"/>
                    <a:pt x="5" y="35"/>
                  </a:cubicBezTo>
                  <a:cubicBezTo>
                    <a:pt x="4" y="36"/>
                    <a:pt x="4" y="37"/>
                    <a:pt x="3" y="39"/>
                  </a:cubicBezTo>
                  <a:cubicBezTo>
                    <a:pt x="3" y="41"/>
                    <a:pt x="2" y="42"/>
                    <a:pt x="2" y="44"/>
                  </a:cubicBezTo>
                  <a:cubicBezTo>
                    <a:pt x="1" y="43"/>
                    <a:pt x="1" y="42"/>
                    <a:pt x="1" y="41"/>
                  </a:cubicBezTo>
                  <a:cubicBezTo>
                    <a:pt x="1" y="40"/>
                    <a:pt x="1" y="38"/>
                    <a:pt x="1" y="37"/>
                  </a:cubicBezTo>
                  <a:cubicBezTo>
                    <a:pt x="0" y="38"/>
                    <a:pt x="0" y="40"/>
                    <a:pt x="1" y="42"/>
                  </a:cubicBezTo>
                  <a:cubicBezTo>
                    <a:pt x="1" y="42"/>
                    <a:pt x="1" y="43"/>
                    <a:pt x="1" y="43"/>
                  </a:cubicBezTo>
                  <a:cubicBezTo>
                    <a:pt x="1" y="45"/>
                    <a:pt x="2" y="47"/>
                    <a:pt x="2" y="49"/>
                  </a:cubicBezTo>
                  <a:cubicBezTo>
                    <a:pt x="2" y="52"/>
                    <a:pt x="3" y="55"/>
                    <a:pt x="3" y="57"/>
                  </a:cubicBezTo>
                  <a:cubicBezTo>
                    <a:pt x="3" y="58"/>
                    <a:pt x="3" y="59"/>
                    <a:pt x="3" y="60"/>
                  </a:cubicBezTo>
                  <a:cubicBezTo>
                    <a:pt x="4" y="62"/>
                    <a:pt x="4" y="64"/>
                    <a:pt x="4" y="65"/>
                  </a:cubicBezTo>
                  <a:cubicBezTo>
                    <a:pt x="4" y="66"/>
                    <a:pt x="4" y="67"/>
                    <a:pt x="5" y="68"/>
                  </a:cubicBezTo>
                  <a:cubicBezTo>
                    <a:pt x="5" y="70"/>
                    <a:pt x="5" y="72"/>
                    <a:pt x="5" y="73"/>
                  </a:cubicBezTo>
                  <a:cubicBezTo>
                    <a:pt x="6" y="76"/>
                    <a:pt x="7" y="78"/>
                    <a:pt x="7" y="80"/>
                  </a:cubicBezTo>
                  <a:cubicBezTo>
                    <a:pt x="8" y="82"/>
                    <a:pt x="8" y="83"/>
                    <a:pt x="9" y="85"/>
                  </a:cubicBezTo>
                  <a:cubicBezTo>
                    <a:pt x="9" y="85"/>
                    <a:pt x="10" y="86"/>
                    <a:pt x="10" y="87"/>
                  </a:cubicBezTo>
                  <a:cubicBezTo>
                    <a:pt x="11" y="88"/>
                    <a:pt x="11" y="90"/>
                    <a:pt x="13" y="90"/>
                  </a:cubicBezTo>
                  <a:cubicBezTo>
                    <a:pt x="14" y="90"/>
                    <a:pt x="14" y="91"/>
                    <a:pt x="15" y="91"/>
                  </a:cubicBezTo>
                  <a:cubicBezTo>
                    <a:pt x="17" y="92"/>
                    <a:pt x="19" y="92"/>
                    <a:pt x="21" y="93"/>
                  </a:cubicBezTo>
                  <a:cubicBezTo>
                    <a:pt x="21" y="93"/>
                    <a:pt x="21" y="93"/>
                    <a:pt x="21" y="93"/>
                  </a:cubicBezTo>
                  <a:cubicBezTo>
                    <a:pt x="22" y="93"/>
                    <a:pt x="22" y="92"/>
                    <a:pt x="23" y="92"/>
                  </a:cubicBezTo>
                  <a:cubicBezTo>
                    <a:pt x="26" y="91"/>
                    <a:pt x="29" y="89"/>
                    <a:pt x="31" y="88"/>
                  </a:cubicBezTo>
                  <a:cubicBezTo>
                    <a:pt x="35" y="86"/>
                    <a:pt x="39" y="84"/>
                    <a:pt x="43" y="81"/>
                  </a:cubicBezTo>
                  <a:cubicBezTo>
                    <a:pt x="44" y="81"/>
                    <a:pt x="45" y="80"/>
                    <a:pt x="47" y="79"/>
                  </a:cubicBezTo>
                  <a:cubicBezTo>
                    <a:pt x="48" y="79"/>
                    <a:pt x="49" y="77"/>
                    <a:pt x="50" y="75"/>
                  </a:cubicBezTo>
                  <a:cubicBezTo>
                    <a:pt x="50" y="73"/>
                    <a:pt x="51" y="71"/>
                    <a:pt x="51" y="69"/>
                  </a:cubicBezTo>
                  <a:cubicBezTo>
                    <a:pt x="51" y="68"/>
                    <a:pt x="51" y="66"/>
                    <a:pt x="51" y="64"/>
                  </a:cubicBezTo>
                  <a:cubicBezTo>
                    <a:pt x="51" y="60"/>
                    <a:pt x="51" y="57"/>
                    <a:pt x="50" y="57"/>
                  </a:cubicBezTo>
                  <a:cubicBezTo>
                    <a:pt x="50" y="57"/>
                    <a:pt x="50" y="57"/>
                    <a:pt x="50" y="57"/>
                  </a:cubicBezTo>
                  <a:cubicBezTo>
                    <a:pt x="50" y="56"/>
                    <a:pt x="50" y="56"/>
                    <a:pt x="50" y="56"/>
                  </a:cubicBezTo>
                  <a:cubicBezTo>
                    <a:pt x="48" y="56"/>
                    <a:pt x="47" y="54"/>
                    <a:pt x="46" y="51"/>
                  </a:cubicBezTo>
                  <a:cubicBezTo>
                    <a:pt x="45" y="49"/>
                    <a:pt x="44" y="47"/>
                    <a:pt x="43" y="44"/>
                  </a:cubicBezTo>
                  <a:cubicBezTo>
                    <a:pt x="42" y="42"/>
                    <a:pt x="41" y="39"/>
                    <a:pt x="41" y="38"/>
                  </a:cubicBezTo>
                  <a:cubicBezTo>
                    <a:pt x="41" y="38"/>
                    <a:pt x="41" y="38"/>
                    <a:pt x="41" y="38"/>
                  </a:cubicBezTo>
                  <a:cubicBezTo>
                    <a:pt x="40" y="36"/>
                    <a:pt x="39" y="34"/>
                    <a:pt x="37" y="32"/>
                  </a:cubicBezTo>
                  <a:cubicBezTo>
                    <a:pt x="36" y="30"/>
                    <a:pt x="35" y="29"/>
                    <a:pt x="34" y="27"/>
                  </a:cubicBezTo>
                  <a:cubicBezTo>
                    <a:pt x="32" y="25"/>
                    <a:pt x="31" y="23"/>
                    <a:pt x="30" y="21"/>
                  </a:cubicBezTo>
                  <a:cubicBezTo>
                    <a:pt x="30" y="21"/>
                    <a:pt x="30" y="21"/>
                    <a:pt x="30" y="21"/>
                  </a:cubicBezTo>
                  <a:cubicBezTo>
                    <a:pt x="28" y="19"/>
                    <a:pt x="27" y="18"/>
                    <a:pt x="26" y="16"/>
                  </a:cubicBezTo>
                  <a:cubicBezTo>
                    <a:pt x="25" y="14"/>
                    <a:pt x="24" y="12"/>
                    <a:pt x="23" y="10"/>
                  </a:cubicBezTo>
                  <a:cubicBezTo>
                    <a:pt x="22" y="9"/>
                    <a:pt x="21" y="8"/>
                    <a:pt x="20" y="7"/>
                  </a:cubicBezTo>
                  <a:cubicBezTo>
                    <a:pt x="19" y="7"/>
                    <a:pt x="19" y="6"/>
                    <a:pt x="18" y="6"/>
                  </a:cubicBezTo>
                  <a:cubicBezTo>
                    <a:pt x="17" y="4"/>
                    <a:pt x="15" y="2"/>
                    <a:pt x="14" y="1"/>
                  </a:cubicBezTo>
                  <a:cubicBezTo>
                    <a:pt x="13"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1" name="Freeform 1445"/>
            <p:cNvSpPr/>
            <p:nvPr/>
          </p:nvSpPr>
          <p:spPr bwMode="auto">
            <a:xfrm>
              <a:off x="1496704" y="4331722"/>
              <a:ext cx="6712" cy="20135"/>
            </a:xfrm>
            <a:custGeom>
              <a:gdLst>
                <a:gd name="T0" fmla="*/ 0 w 2"/>
                <a:gd name="T1" fmla="*/ 0 h 6"/>
                <a:gd name="T2" fmla="*/ 2 w 2"/>
                <a:gd name="T3" fmla="*/ 6 h 6"/>
                <a:gd name="T4" fmla="*/ 0 w 2"/>
                <a:gd name="T5" fmla="*/ 0 h 6"/>
              </a:gdLst>
              <a:cxnLst>
                <a:cxn ang="0">
                  <a:pos x="T0" y="T1"/>
                </a:cxn>
                <a:cxn ang="0">
                  <a:pos x="T2" y="T3"/>
                </a:cxn>
                <a:cxn ang="0">
                  <a:pos x="T4" y="T5"/>
                </a:cxn>
              </a:cxnLst>
              <a:rect l="0" t="0" r="r" b="b"/>
              <a:pathLst>
                <a:path w="2" h="6">
                  <a:moveTo>
                    <a:pt x="0" y="0"/>
                  </a:moveTo>
                  <a:cubicBezTo>
                    <a:pt x="0" y="2"/>
                    <a:pt x="1" y="4"/>
                    <a:pt x="2" y="6"/>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Freeform 1446"/>
            <p:cNvSpPr/>
            <p:nvPr/>
          </p:nvSpPr>
          <p:spPr bwMode="auto">
            <a:xfrm>
              <a:off x="1351732" y="4227020"/>
              <a:ext cx="9396" cy="9396"/>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Freeform 1447"/>
            <p:cNvSpPr/>
            <p:nvPr/>
          </p:nvSpPr>
          <p:spPr bwMode="auto">
            <a:xfrm>
              <a:off x="5963997" y="387936"/>
              <a:ext cx="234909" cy="833591"/>
            </a:xfrm>
            <a:custGeom>
              <a:gdLst>
                <a:gd name="T0" fmla="*/ 26 w 74"/>
                <a:gd name="T1" fmla="*/ 0 h 263"/>
                <a:gd name="T2" fmla="*/ 24 w 74"/>
                <a:gd name="T3" fmla="*/ 4 h 263"/>
                <a:gd name="T4" fmla="*/ 20 w 74"/>
                <a:gd name="T5" fmla="*/ 4 h 263"/>
                <a:gd name="T6" fmla="*/ 27 w 74"/>
                <a:gd name="T7" fmla="*/ 17 h 263"/>
                <a:gd name="T8" fmla="*/ 26 w 74"/>
                <a:gd name="T9" fmla="*/ 25 h 263"/>
                <a:gd name="T10" fmla="*/ 26 w 74"/>
                <a:gd name="T11" fmla="*/ 25 h 263"/>
                <a:gd name="T12" fmla="*/ 24 w 74"/>
                <a:gd name="T13" fmla="*/ 24 h 263"/>
                <a:gd name="T14" fmla="*/ 23 w 74"/>
                <a:gd name="T15" fmla="*/ 28 h 263"/>
                <a:gd name="T16" fmla="*/ 25 w 74"/>
                <a:gd name="T17" fmla="*/ 29 h 263"/>
                <a:gd name="T18" fmla="*/ 21 w 74"/>
                <a:gd name="T19" fmla="*/ 34 h 263"/>
                <a:gd name="T20" fmla="*/ 16 w 74"/>
                <a:gd name="T21" fmla="*/ 32 h 263"/>
                <a:gd name="T22" fmla="*/ 12 w 74"/>
                <a:gd name="T23" fmla="*/ 30 h 263"/>
                <a:gd name="T24" fmla="*/ 8 w 74"/>
                <a:gd name="T25" fmla="*/ 47 h 263"/>
                <a:gd name="T26" fmla="*/ 5 w 74"/>
                <a:gd name="T27" fmla="*/ 65 h 263"/>
                <a:gd name="T28" fmla="*/ 15 w 74"/>
                <a:gd name="T29" fmla="*/ 103 h 263"/>
                <a:gd name="T30" fmla="*/ 12 w 74"/>
                <a:gd name="T31" fmla="*/ 118 h 263"/>
                <a:gd name="T32" fmla="*/ 11 w 74"/>
                <a:gd name="T33" fmla="*/ 157 h 263"/>
                <a:gd name="T34" fmla="*/ 8 w 74"/>
                <a:gd name="T35" fmla="*/ 181 h 263"/>
                <a:gd name="T36" fmla="*/ 14 w 74"/>
                <a:gd name="T37" fmla="*/ 203 h 263"/>
                <a:gd name="T38" fmla="*/ 11 w 74"/>
                <a:gd name="T39" fmla="*/ 229 h 263"/>
                <a:gd name="T40" fmla="*/ 7 w 74"/>
                <a:gd name="T41" fmla="*/ 251 h 263"/>
                <a:gd name="T42" fmla="*/ 20 w 74"/>
                <a:gd name="T43" fmla="*/ 242 h 263"/>
                <a:gd name="T44" fmla="*/ 30 w 74"/>
                <a:gd name="T45" fmla="*/ 242 h 263"/>
                <a:gd name="T46" fmla="*/ 35 w 74"/>
                <a:gd name="T47" fmla="*/ 243 h 263"/>
                <a:gd name="T48" fmla="*/ 41 w 74"/>
                <a:gd name="T49" fmla="*/ 243 h 263"/>
                <a:gd name="T50" fmla="*/ 43 w 74"/>
                <a:gd name="T51" fmla="*/ 251 h 263"/>
                <a:gd name="T52" fmla="*/ 45 w 74"/>
                <a:gd name="T53" fmla="*/ 254 h 263"/>
                <a:gd name="T54" fmla="*/ 47 w 74"/>
                <a:gd name="T55" fmla="*/ 248 h 263"/>
                <a:gd name="T56" fmla="*/ 41 w 74"/>
                <a:gd name="T57" fmla="*/ 235 h 263"/>
                <a:gd name="T58" fmla="*/ 43 w 74"/>
                <a:gd name="T59" fmla="*/ 239 h 263"/>
                <a:gd name="T60" fmla="*/ 37 w 74"/>
                <a:gd name="T61" fmla="*/ 239 h 263"/>
                <a:gd name="T62" fmla="*/ 37 w 74"/>
                <a:gd name="T63" fmla="*/ 234 h 263"/>
                <a:gd name="T64" fmla="*/ 23 w 74"/>
                <a:gd name="T65" fmla="*/ 201 h 263"/>
                <a:gd name="T66" fmla="*/ 37 w 74"/>
                <a:gd name="T67" fmla="*/ 163 h 263"/>
                <a:gd name="T68" fmla="*/ 43 w 74"/>
                <a:gd name="T69" fmla="*/ 158 h 263"/>
                <a:gd name="T70" fmla="*/ 50 w 74"/>
                <a:gd name="T71" fmla="*/ 160 h 263"/>
                <a:gd name="T72" fmla="*/ 65 w 74"/>
                <a:gd name="T73" fmla="*/ 169 h 263"/>
                <a:gd name="T74" fmla="*/ 73 w 74"/>
                <a:gd name="T75" fmla="*/ 179 h 263"/>
                <a:gd name="T76" fmla="*/ 69 w 74"/>
                <a:gd name="T77" fmla="*/ 171 h 263"/>
                <a:gd name="T78" fmla="*/ 63 w 74"/>
                <a:gd name="T79" fmla="*/ 158 h 263"/>
                <a:gd name="T80" fmla="*/ 60 w 74"/>
                <a:gd name="T81" fmla="*/ 151 h 263"/>
                <a:gd name="T82" fmla="*/ 43 w 74"/>
                <a:gd name="T83" fmla="*/ 98 h 263"/>
                <a:gd name="T84" fmla="*/ 42 w 74"/>
                <a:gd name="T85" fmla="*/ 89 h 263"/>
                <a:gd name="T86" fmla="*/ 41 w 74"/>
                <a:gd name="T87" fmla="*/ 90 h 263"/>
                <a:gd name="T88" fmla="*/ 40 w 74"/>
                <a:gd name="T89" fmla="*/ 92 h 263"/>
                <a:gd name="T90" fmla="*/ 36 w 74"/>
                <a:gd name="T91" fmla="*/ 73 h 263"/>
                <a:gd name="T92" fmla="*/ 38 w 74"/>
                <a:gd name="T93" fmla="*/ 64 h 263"/>
                <a:gd name="T94" fmla="*/ 36 w 74"/>
                <a:gd name="T95" fmla="*/ 39 h 263"/>
                <a:gd name="T96" fmla="*/ 38 w 74"/>
                <a:gd name="T97" fmla="*/ 34 h 263"/>
                <a:gd name="T98" fmla="*/ 40 w 74"/>
                <a:gd name="T99" fmla="*/ 42 h 263"/>
                <a:gd name="T100" fmla="*/ 37 w 74"/>
                <a:gd name="T101" fmla="*/ 30 h 263"/>
                <a:gd name="T102" fmla="*/ 32 w 74"/>
                <a:gd name="T103" fmla="*/ 15 h 263"/>
                <a:gd name="T104" fmla="*/ 30 w 74"/>
                <a:gd name="T105" fmla="*/ 4 h 2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263">
                  <a:moveTo>
                    <a:pt x="27" y="0"/>
                  </a:moveTo>
                  <a:cubicBezTo>
                    <a:pt x="27" y="0"/>
                    <a:pt x="26" y="0"/>
                    <a:pt x="26" y="0"/>
                  </a:cubicBezTo>
                  <a:cubicBezTo>
                    <a:pt x="25" y="5"/>
                    <a:pt x="25" y="5"/>
                    <a:pt x="25" y="5"/>
                  </a:cubicBezTo>
                  <a:cubicBezTo>
                    <a:pt x="25" y="4"/>
                    <a:pt x="24" y="4"/>
                    <a:pt x="24" y="4"/>
                  </a:cubicBezTo>
                  <a:cubicBezTo>
                    <a:pt x="24" y="4"/>
                    <a:pt x="23" y="4"/>
                    <a:pt x="22" y="4"/>
                  </a:cubicBezTo>
                  <a:cubicBezTo>
                    <a:pt x="21" y="4"/>
                    <a:pt x="20" y="4"/>
                    <a:pt x="20" y="4"/>
                  </a:cubicBezTo>
                  <a:cubicBezTo>
                    <a:pt x="19" y="4"/>
                    <a:pt x="18" y="4"/>
                    <a:pt x="17" y="4"/>
                  </a:cubicBezTo>
                  <a:cubicBezTo>
                    <a:pt x="19" y="7"/>
                    <a:pt x="27" y="13"/>
                    <a:pt x="27" y="17"/>
                  </a:cubicBezTo>
                  <a:cubicBezTo>
                    <a:pt x="27" y="19"/>
                    <a:pt x="24" y="21"/>
                    <a:pt x="25" y="23"/>
                  </a:cubicBezTo>
                  <a:cubicBezTo>
                    <a:pt x="25" y="23"/>
                    <a:pt x="31" y="24"/>
                    <a:pt x="26" y="25"/>
                  </a:cubicBezTo>
                  <a:cubicBezTo>
                    <a:pt x="26" y="25"/>
                    <a:pt x="26" y="25"/>
                    <a:pt x="26" y="25"/>
                  </a:cubicBezTo>
                  <a:cubicBezTo>
                    <a:pt x="26" y="25"/>
                    <a:pt x="26" y="25"/>
                    <a:pt x="26" y="25"/>
                  </a:cubicBezTo>
                  <a:cubicBezTo>
                    <a:pt x="26" y="24"/>
                    <a:pt x="25" y="24"/>
                    <a:pt x="25" y="24"/>
                  </a:cubicBezTo>
                  <a:cubicBezTo>
                    <a:pt x="25" y="24"/>
                    <a:pt x="24" y="24"/>
                    <a:pt x="24" y="24"/>
                  </a:cubicBezTo>
                  <a:cubicBezTo>
                    <a:pt x="23" y="25"/>
                    <a:pt x="22" y="27"/>
                    <a:pt x="22" y="28"/>
                  </a:cubicBezTo>
                  <a:cubicBezTo>
                    <a:pt x="23" y="28"/>
                    <a:pt x="23" y="28"/>
                    <a:pt x="23" y="28"/>
                  </a:cubicBezTo>
                  <a:cubicBezTo>
                    <a:pt x="24" y="28"/>
                    <a:pt x="25" y="28"/>
                    <a:pt x="25" y="29"/>
                  </a:cubicBezTo>
                  <a:cubicBezTo>
                    <a:pt x="25" y="29"/>
                    <a:pt x="25" y="29"/>
                    <a:pt x="25" y="29"/>
                  </a:cubicBezTo>
                  <a:cubicBezTo>
                    <a:pt x="25" y="29"/>
                    <a:pt x="25" y="29"/>
                    <a:pt x="25" y="29"/>
                  </a:cubicBezTo>
                  <a:cubicBezTo>
                    <a:pt x="25" y="29"/>
                    <a:pt x="21" y="33"/>
                    <a:pt x="21" y="34"/>
                  </a:cubicBezTo>
                  <a:cubicBezTo>
                    <a:pt x="20" y="34"/>
                    <a:pt x="19" y="34"/>
                    <a:pt x="19" y="34"/>
                  </a:cubicBezTo>
                  <a:cubicBezTo>
                    <a:pt x="17" y="34"/>
                    <a:pt x="16" y="33"/>
                    <a:pt x="16" y="32"/>
                  </a:cubicBezTo>
                  <a:cubicBezTo>
                    <a:pt x="15" y="30"/>
                    <a:pt x="15" y="29"/>
                    <a:pt x="15" y="29"/>
                  </a:cubicBezTo>
                  <a:cubicBezTo>
                    <a:pt x="14" y="29"/>
                    <a:pt x="13" y="29"/>
                    <a:pt x="12" y="30"/>
                  </a:cubicBezTo>
                  <a:cubicBezTo>
                    <a:pt x="10" y="31"/>
                    <a:pt x="4" y="33"/>
                    <a:pt x="5" y="35"/>
                  </a:cubicBezTo>
                  <a:cubicBezTo>
                    <a:pt x="6" y="39"/>
                    <a:pt x="8" y="43"/>
                    <a:pt x="8" y="47"/>
                  </a:cubicBezTo>
                  <a:cubicBezTo>
                    <a:pt x="7" y="50"/>
                    <a:pt x="7" y="53"/>
                    <a:pt x="6" y="55"/>
                  </a:cubicBezTo>
                  <a:cubicBezTo>
                    <a:pt x="6" y="59"/>
                    <a:pt x="5" y="62"/>
                    <a:pt x="5" y="65"/>
                  </a:cubicBezTo>
                  <a:cubicBezTo>
                    <a:pt x="4" y="70"/>
                    <a:pt x="0" y="79"/>
                    <a:pt x="3" y="83"/>
                  </a:cubicBezTo>
                  <a:cubicBezTo>
                    <a:pt x="7" y="90"/>
                    <a:pt x="11" y="96"/>
                    <a:pt x="15" y="103"/>
                  </a:cubicBezTo>
                  <a:cubicBezTo>
                    <a:pt x="16" y="105"/>
                    <a:pt x="17" y="106"/>
                    <a:pt x="16" y="108"/>
                  </a:cubicBezTo>
                  <a:cubicBezTo>
                    <a:pt x="14" y="112"/>
                    <a:pt x="12" y="114"/>
                    <a:pt x="12" y="118"/>
                  </a:cubicBezTo>
                  <a:cubicBezTo>
                    <a:pt x="13" y="124"/>
                    <a:pt x="14" y="131"/>
                    <a:pt x="14" y="137"/>
                  </a:cubicBezTo>
                  <a:cubicBezTo>
                    <a:pt x="14" y="144"/>
                    <a:pt x="13" y="150"/>
                    <a:pt x="11" y="157"/>
                  </a:cubicBezTo>
                  <a:cubicBezTo>
                    <a:pt x="10" y="163"/>
                    <a:pt x="6" y="171"/>
                    <a:pt x="7" y="178"/>
                  </a:cubicBezTo>
                  <a:cubicBezTo>
                    <a:pt x="7" y="179"/>
                    <a:pt x="7" y="180"/>
                    <a:pt x="8" y="181"/>
                  </a:cubicBezTo>
                  <a:cubicBezTo>
                    <a:pt x="9" y="183"/>
                    <a:pt x="11" y="185"/>
                    <a:pt x="12" y="188"/>
                  </a:cubicBezTo>
                  <a:cubicBezTo>
                    <a:pt x="13" y="191"/>
                    <a:pt x="15" y="199"/>
                    <a:pt x="14" y="203"/>
                  </a:cubicBezTo>
                  <a:cubicBezTo>
                    <a:pt x="13" y="206"/>
                    <a:pt x="9" y="209"/>
                    <a:pt x="9" y="212"/>
                  </a:cubicBezTo>
                  <a:cubicBezTo>
                    <a:pt x="10" y="217"/>
                    <a:pt x="12" y="224"/>
                    <a:pt x="11" y="229"/>
                  </a:cubicBezTo>
                  <a:cubicBezTo>
                    <a:pt x="10" y="235"/>
                    <a:pt x="6" y="239"/>
                    <a:pt x="6" y="245"/>
                  </a:cubicBezTo>
                  <a:cubicBezTo>
                    <a:pt x="6" y="247"/>
                    <a:pt x="7" y="249"/>
                    <a:pt x="7" y="251"/>
                  </a:cubicBezTo>
                  <a:cubicBezTo>
                    <a:pt x="9" y="257"/>
                    <a:pt x="8" y="258"/>
                    <a:pt x="12" y="263"/>
                  </a:cubicBezTo>
                  <a:cubicBezTo>
                    <a:pt x="15" y="256"/>
                    <a:pt x="17" y="249"/>
                    <a:pt x="20" y="242"/>
                  </a:cubicBezTo>
                  <a:cubicBezTo>
                    <a:pt x="21" y="239"/>
                    <a:pt x="24" y="239"/>
                    <a:pt x="27" y="238"/>
                  </a:cubicBezTo>
                  <a:cubicBezTo>
                    <a:pt x="28" y="240"/>
                    <a:pt x="28" y="241"/>
                    <a:pt x="30" y="242"/>
                  </a:cubicBezTo>
                  <a:cubicBezTo>
                    <a:pt x="31" y="242"/>
                    <a:pt x="32" y="243"/>
                    <a:pt x="34" y="243"/>
                  </a:cubicBezTo>
                  <a:cubicBezTo>
                    <a:pt x="34" y="243"/>
                    <a:pt x="35" y="243"/>
                    <a:pt x="35" y="243"/>
                  </a:cubicBezTo>
                  <a:cubicBezTo>
                    <a:pt x="36" y="243"/>
                    <a:pt x="37" y="242"/>
                    <a:pt x="37" y="242"/>
                  </a:cubicBezTo>
                  <a:cubicBezTo>
                    <a:pt x="39" y="242"/>
                    <a:pt x="40" y="243"/>
                    <a:pt x="41" y="243"/>
                  </a:cubicBezTo>
                  <a:cubicBezTo>
                    <a:pt x="43" y="245"/>
                    <a:pt x="42" y="245"/>
                    <a:pt x="42" y="247"/>
                  </a:cubicBezTo>
                  <a:cubicBezTo>
                    <a:pt x="42" y="249"/>
                    <a:pt x="42" y="250"/>
                    <a:pt x="43" y="251"/>
                  </a:cubicBezTo>
                  <a:cubicBezTo>
                    <a:pt x="44" y="254"/>
                    <a:pt x="44" y="256"/>
                    <a:pt x="44" y="258"/>
                  </a:cubicBezTo>
                  <a:cubicBezTo>
                    <a:pt x="45" y="257"/>
                    <a:pt x="44" y="255"/>
                    <a:pt x="45" y="254"/>
                  </a:cubicBezTo>
                  <a:cubicBezTo>
                    <a:pt x="46" y="252"/>
                    <a:pt x="47" y="251"/>
                    <a:pt x="48" y="249"/>
                  </a:cubicBezTo>
                  <a:cubicBezTo>
                    <a:pt x="48" y="248"/>
                    <a:pt x="47" y="249"/>
                    <a:pt x="47" y="248"/>
                  </a:cubicBezTo>
                  <a:cubicBezTo>
                    <a:pt x="47" y="246"/>
                    <a:pt x="46" y="245"/>
                    <a:pt x="46" y="243"/>
                  </a:cubicBezTo>
                  <a:cubicBezTo>
                    <a:pt x="45" y="238"/>
                    <a:pt x="46" y="235"/>
                    <a:pt x="41" y="235"/>
                  </a:cubicBezTo>
                  <a:cubicBezTo>
                    <a:pt x="40" y="235"/>
                    <a:pt x="39" y="235"/>
                    <a:pt x="38" y="235"/>
                  </a:cubicBezTo>
                  <a:cubicBezTo>
                    <a:pt x="39" y="237"/>
                    <a:pt x="41" y="238"/>
                    <a:pt x="43" y="239"/>
                  </a:cubicBezTo>
                  <a:cubicBezTo>
                    <a:pt x="42" y="239"/>
                    <a:pt x="42" y="239"/>
                    <a:pt x="42" y="239"/>
                  </a:cubicBezTo>
                  <a:cubicBezTo>
                    <a:pt x="40" y="239"/>
                    <a:pt x="38" y="239"/>
                    <a:pt x="37" y="239"/>
                  </a:cubicBezTo>
                  <a:cubicBezTo>
                    <a:pt x="37" y="238"/>
                    <a:pt x="37" y="237"/>
                    <a:pt x="37" y="236"/>
                  </a:cubicBezTo>
                  <a:cubicBezTo>
                    <a:pt x="37" y="234"/>
                    <a:pt x="37" y="235"/>
                    <a:pt x="37" y="234"/>
                  </a:cubicBezTo>
                  <a:cubicBezTo>
                    <a:pt x="36" y="230"/>
                    <a:pt x="35" y="225"/>
                    <a:pt x="32" y="222"/>
                  </a:cubicBezTo>
                  <a:cubicBezTo>
                    <a:pt x="28" y="217"/>
                    <a:pt x="20" y="209"/>
                    <a:pt x="23" y="201"/>
                  </a:cubicBezTo>
                  <a:cubicBezTo>
                    <a:pt x="26" y="194"/>
                    <a:pt x="28" y="186"/>
                    <a:pt x="31" y="178"/>
                  </a:cubicBezTo>
                  <a:cubicBezTo>
                    <a:pt x="32" y="174"/>
                    <a:pt x="34" y="166"/>
                    <a:pt x="37" y="163"/>
                  </a:cubicBezTo>
                  <a:cubicBezTo>
                    <a:pt x="40" y="160"/>
                    <a:pt x="46" y="161"/>
                    <a:pt x="49" y="160"/>
                  </a:cubicBezTo>
                  <a:cubicBezTo>
                    <a:pt x="47" y="160"/>
                    <a:pt x="44" y="161"/>
                    <a:pt x="43" y="158"/>
                  </a:cubicBezTo>
                  <a:cubicBezTo>
                    <a:pt x="45" y="160"/>
                    <a:pt x="48" y="159"/>
                    <a:pt x="51" y="160"/>
                  </a:cubicBezTo>
                  <a:cubicBezTo>
                    <a:pt x="50" y="160"/>
                    <a:pt x="50" y="160"/>
                    <a:pt x="50" y="160"/>
                  </a:cubicBezTo>
                  <a:cubicBezTo>
                    <a:pt x="54" y="162"/>
                    <a:pt x="57" y="161"/>
                    <a:pt x="61" y="164"/>
                  </a:cubicBezTo>
                  <a:cubicBezTo>
                    <a:pt x="63" y="165"/>
                    <a:pt x="63" y="167"/>
                    <a:pt x="65" y="169"/>
                  </a:cubicBezTo>
                  <a:cubicBezTo>
                    <a:pt x="67" y="170"/>
                    <a:pt x="68" y="171"/>
                    <a:pt x="70" y="173"/>
                  </a:cubicBezTo>
                  <a:cubicBezTo>
                    <a:pt x="71" y="174"/>
                    <a:pt x="72" y="177"/>
                    <a:pt x="73" y="179"/>
                  </a:cubicBezTo>
                  <a:cubicBezTo>
                    <a:pt x="73" y="178"/>
                    <a:pt x="74" y="177"/>
                    <a:pt x="74" y="177"/>
                  </a:cubicBezTo>
                  <a:cubicBezTo>
                    <a:pt x="74" y="173"/>
                    <a:pt x="71" y="172"/>
                    <a:pt x="69" y="171"/>
                  </a:cubicBezTo>
                  <a:cubicBezTo>
                    <a:pt x="67" y="169"/>
                    <a:pt x="66" y="167"/>
                    <a:pt x="65" y="165"/>
                  </a:cubicBezTo>
                  <a:cubicBezTo>
                    <a:pt x="64" y="163"/>
                    <a:pt x="63" y="160"/>
                    <a:pt x="63" y="158"/>
                  </a:cubicBezTo>
                  <a:cubicBezTo>
                    <a:pt x="62" y="157"/>
                    <a:pt x="63" y="155"/>
                    <a:pt x="62" y="154"/>
                  </a:cubicBezTo>
                  <a:cubicBezTo>
                    <a:pt x="62" y="153"/>
                    <a:pt x="61" y="152"/>
                    <a:pt x="60" y="151"/>
                  </a:cubicBezTo>
                  <a:cubicBezTo>
                    <a:pt x="55" y="135"/>
                    <a:pt x="51" y="119"/>
                    <a:pt x="46" y="102"/>
                  </a:cubicBezTo>
                  <a:cubicBezTo>
                    <a:pt x="46" y="100"/>
                    <a:pt x="44" y="100"/>
                    <a:pt x="43" y="98"/>
                  </a:cubicBezTo>
                  <a:cubicBezTo>
                    <a:pt x="42" y="96"/>
                    <a:pt x="44" y="94"/>
                    <a:pt x="44" y="92"/>
                  </a:cubicBezTo>
                  <a:cubicBezTo>
                    <a:pt x="44" y="92"/>
                    <a:pt x="43" y="89"/>
                    <a:pt x="42" y="89"/>
                  </a:cubicBezTo>
                  <a:cubicBezTo>
                    <a:pt x="42" y="89"/>
                    <a:pt x="42" y="89"/>
                    <a:pt x="42" y="89"/>
                  </a:cubicBezTo>
                  <a:cubicBezTo>
                    <a:pt x="41" y="89"/>
                    <a:pt x="42" y="90"/>
                    <a:pt x="41" y="90"/>
                  </a:cubicBezTo>
                  <a:cubicBezTo>
                    <a:pt x="41" y="91"/>
                    <a:pt x="43" y="93"/>
                    <a:pt x="41" y="93"/>
                  </a:cubicBezTo>
                  <a:cubicBezTo>
                    <a:pt x="41" y="93"/>
                    <a:pt x="41" y="92"/>
                    <a:pt x="40" y="92"/>
                  </a:cubicBezTo>
                  <a:cubicBezTo>
                    <a:pt x="38" y="92"/>
                    <a:pt x="39" y="89"/>
                    <a:pt x="38" y="87"/>
                  </a:cubicBezTo>
                  <a:cubicBezTo>
                    <a:pt x="37" y="83"/>
                    <a:pt x="35" y="76"/>
                    <a:pt x="36" y="73"/>
                  </a:cubicBezTo>
                  <a:cubicBezTo>
                    <a:pt x="37" y="74"/>
                    <a:pt x="37" y="74"/>
                    <a:pt x="37" y="74"/>
                  </a:cubicBezTo>
                  <a:cubicBezTo>
                    <a:pt x="38" y="70"/>
                    <a:pt x="36" y="67"/>
                    <a:pt x="38" y="64"/>
                  </a:cubicBezTo>
                  <a:cubicBezTo>
                    <a:pt x="39" y="60"/>
                    <a:pt x="40" y="57"/>
                    <a:pt x="40" y="52"/>
                  </a:cubicBezTo>
                  <a:cubicBezTo>
                    <a:pt x="40" y="47"/>
                    <a:pt x="36" y="43"/>
                    <a:pt x="36" y="39"/>
                  </a:cubicBezTo>
                  <a:cubicBezTo>
                    <a:pt x="35" y="38"/>
                    <a:pt x="35" y="34"/>
                    <a:pt x="37" y="34"/>
                  </a:cubicBezTo>
                  <a:cubicBezTo>
                    <a:pt x="37" y="34"/>
                    <a:pt x="37" y="34"/>
                    <a:pt x="38" y="34"/>
                  </a:cubicBezTo>
                  <a:cubicBezTo>
                    <a:pt x="39" y="35"/>
                    <a:pt x="37" y="37"/>
                    <a:pt x="37" y="38"/>
                  </a:cubicBezTo>
                  <a:cubicBezTo>
                    <a:pt x="38" y="39"/>
                    <a:pt x="40" y="40"/>
                    <a:pt x="40" y="42"/>
                  </a:cubicBezTo>
                  <a:cubicBezTo>
                    <a:pt x="41" y="44"/>
                    <a:pt x="41" y="47"/>
                    <a:pt x="42" y="49"/>
                  </a:cubicBezTo>
                  <a:cubicBezTo>
                    <a:pt x="41" y="43"/>
                    <a:pt x="39" y="36"/>
                    <a:pt x="37" y="30"/>
                  </a:cubicBezTo>
                  <a:cubicBezTo>
                    <a:pt x="35" y="26"/>
                    <a:pt x="33" y="23"/>
                    <a:pt x="31" y="19"/>
                  </a:cubicBezTo>
                  <a:cubicBezTo>
                    <a:pt x="30" y="17"/>
                    <a:pt x="31" y="16"/>
                    <a:pt x="32" y="15"/>
                  </a:cubicBezTo>
                  <a:cubicBezTo>
                    <a:pt x="33" y="13"/>
                    <a:pt x="34" y="10"/>
                    <a:pt x="33" y="9"/>
                  </a:cubicBezTo>
                  <a:cubicBezTo>
                    <a:pt x="32" y="7"/>
                    <a:pt x="31" y="5"/>
                    <a:pt x="30" y="4"/>
                  </a:cubicBezTo>
                  <a:cubicBezTo>
                    <a:pt x="29" y="3"/>
                    <a:pt x="28"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Freeform 1448"/>
            <p:cNvSpPr/>
            <p:nvPr/>
          </p:nvSpPr>
          <p:spPr bwMode="auto">
            <a:xfrm>
              <a:off x="6891551" y="936952"/>
              <a:ext cx="16108" cy="14766"/>
            </a:xfrm>
            <a:custGeom>
              <a:gdLst>
                <a:gd name="T0" fmla="*/ 5 w 5"/>
                <a:gd name="T1" fmla="*/ 0 h 5"/>
                <a:gd name="T2" fmla="*/ 0 w 5"/>
                <a:gd name="T3" fmla="*/ 5 h 5"/>
                <a:gd name="T4" fmla="*/ 5 w 5"/>
                <a:gd name="T5" fmla="*/ 0 h 5"/>
                <a:gd name="T6" fmla="*/ 5 w 5"/>
                <a:gd name="T7" fmla="*/ 0 h 5"/>
              </a:gdLst>
              <a:cxnLst>
                <a:cxn ang="0">
                  <a:pos x="T0" y="T1"/>
                </a:cxn>
                <a:cxn ang="0">
                  <a:pos x="T2" y="T3"/>
                </a:cxn>
                <a:cxn ang="0">
                  <a:pos x="T4" y="T5"/>
                </a:cxn>
                <a:cxn ang="0">
                  <a:pos x="T6" y="T7"/>
                </a:cxn>
              </a:cxnLst>
              <a:rect l="0" t="0" r="r" b="b"/>
              <a:pathLst>
                <a:path w="5" h="5">
                  <a:moveTo>
                    <a:pt x="5" y="0"/>
                  </a:moveTo>
                  <a:cubicBezTo>
                    <a:pt x="3" y="0"/>
                    <a:pt x="1" y="3"/>
                    <a:pt x="0" y="5"/>
                  </a:cubicBezTo>
                  <a:cubicBezTo>
                    <a:pt x="2" y="3"/>
                    <a:pt x="4" y="2"/>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1449"/>
            <p:cNvSpPr/>
            <p:nvPr/>
          </p:nvSpPr>
          <p:spPr bwMode="auto">
            <a:xfrm>
              <a:off x="6247230" y="1349049"/>
              <a:ext cx="88594" cy="79198"/>
            </a:xfrm>
            <a:custGeom>
              <a:gdLst>
                <a:gd name="T0" fmla="*/ 19 w 28"/>
                <a:gd name="T1" fmla="*/ 0 h 25"/>
                <a:gd name="T2" fmla="*/ 5 w 28"/>
                <a:gd name="T3" fmla="*/ 16 h 25"/>
                <a:gd name="T4" fmla="*/ 5 w 28"/>
                <a:gd name="T5" fmla="*/ 25 h 25"/>
                <a:gd name="T6" fmla="*/ 5 w 28"/>
                <a:gd name="T7" fmla="*/ 23 h 25"/>
                <a:gd name="T8" fmla="*/ 6 w 28"/>
                <a:gd name="T9" fmla="*/ 19 h 25"/>
                <a:gd name="T10" fmla="*/ 9 w 28"/>
                <a:gd name="T11" fmla="*/ 17 h 25"/>
                <a:gd name="T12" fmla="*/ 13 w 28"/>
                <a:gd name="T13" fmla="*/ 12 h 25"/>
                <a:gd name="T14" fmla="*/ 28 w 28"/>
                <a:gd name="T15" fmla="*/ 2 h 25"/>
                <a:gd name="T16" fmla="*/ 25 w 28"/>
                <a:gd name="T17" fmla="*/ 3 h 25"/>
                <a:gd name="T18" fmla="*/ 19 w 28"/>
                <a:gd name="T19"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5">
                  <a:moveTo>
                    <a:pt x="19" y="0"/>
                  </a:moveTo>
                  <a:cubicBezTo>
                    <a:pt x="14" y="5"/>
                    <a:pt x="9" y="11"/>
                    <a:pt x="5" y="16"/>
                  </a:cubicBezTo>
                  <a:cubicBezTo>
                    <a:pt x="2" y="19"/>
                    <a:pt x="0" y="22"/>
                    <a:pt x="5" y="25"/>
                  </a:cubicBezTo>
                  <a:cubicBezTo>
                    <a:pt x="5" y="24"/>
                    <a:pt x="5" y="23"/>
                    <a:pt x="5" y="23"/>
                  </a:cubicBezTo>
                  <a:cubicBezTo>
                    <a:pt x="6" y="21"/>
                    <a:pt x="5" y="20"/>
                    <a:pt x="6" y="19"/>
                  </a:cubicBezTo>
                  <a:cubicBezTo>
                    <a:pt x="7" y="18"/>
                    <a:pt x="8" y="18"/>
                    <a:pt x="9" y="17"/>
                  </a:cubicBezTo>
                  <a:cubicBezTo>
                    <a:pt x="11" y="16"/>
                    <a:pt x="12" y="14"/>
                    <a:pt x="13" y="12"/>
                  </a:cubicBezTo>
                  <a:cubicBezTo>
                    <a:pt x="18" y="7"/>
                    <a:pt x="24" y="7"/>
                    <a:pt x="28" y="2"/>
                  </a:cubicBezTo>
                  <a:cubicBezTo>
                    <a:pt x="27" y="2"/>
                    <a:pt x="26" y="3"/>
                    <a:pt x="25" y="3"/>
                  </a:cubicBezTo>
                  <a:cubicBezTo>
                    <a:pt x="23" y="3"/>
                    <a:pt x="21" y="1"/>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Freeform 1450"/>
            <p:cNvSpPr/>
            <p:nvPr/>
          </p:nvSpPr>
          <p:spPr bwMode="auto">
            <a:xfrm>
              <a:off x="5640494" y="308738"/>
              <a:ext cx="69801" cy="56378"/>
            </a:xfrm>
            <a:custGeom>
              <a:gdLst>
                <a:gd name="T0" fmla="*/ 8 w 22"/>
                <a:gd name="T1" fmla="*/ 0 h 18"/>
                <a:gd name="T2" fmla="*/ 6 w 22"/>
                <a:gd name="T3" fmla="*/ 2 h 18"/>
                <a:gd name="T4" fmla="*/ 6 w 22"/>
                <a:gd name="T5" fmla="*/ 4 h 18"/>
                <a:gd name="T6" fmla="*/ 4 w 22"/>
                <a:gd name="T7" fmla="*/ 6 h 18"/>
                <a:gd name="T8" fmla="*/ 0 w 22"/>
                <a:gd name="T9" fmla="*/ 12 h 18"/>
                <a:gd name="T10" fmla="*/ 1 w 22"/>
                <a:gd name="T11" fmla="*/ 13 h 18"/>
                <a:gd name="T12" fmla="*/ 4 w 22"/>
                <a:gd name="T13" fmla="*/ 11 h 18"/>
                <a:gd name="T14" fmla="*/ 5 w 22"/>
                <a:gd name="T15" fmla="*/ 11 h 18"/>
                <a:gd name="T16" fmla="*/ 11 w 22"/>
                <a:gd name="T17" fmla="*/ 18 h 18"/>
                <a:gd name="T18" fmla="*/ 22 w 22"/>
                <a:gd name="T19" fmla="*/ 4 h 18"/>
                <a:gd name="T20" fmla="*/ 22 w 22"/>
                <a:gd name="T21" fmla="*/ 4 h 18"/>
                <a:gd name="T22" fmla="*/ 21 w 22"/>
                <a:gd name="T23" fmla="*/ 4 h 18"/>
                <a:gd name="T24" fmla="*/ 20 w 22"/>
                <a:gd name="T25" fmla="*/ 4 h 18"/>
                <a:gd name="T26" fmla="*/ 19 w 22"/>
                <a:gd name="T27" fmla="*/ 4 h 18"/>
                <a:gd name="T28" fmla="*/ 19 w 22"/>
                <a:gd name="T29" fmla="*/ 4 h 18"/>
                <a:gd name="T30" fmla="*/ 19 w 22"/>
                <a:gd name="T31" fmla="*/ 4 h 18"/>
                <a:gd name="T32" fmla="*/ 18 w 22"/>
                <a:gd name="T33" fmla="*/ 4 h 18"/>
                <a:gd name="T34" fmla="*/ 18 w 22"/>
                <a:gd name="T35" fmla="*/ 4 h 18"/>
                <a:gd name="T36" fmla="*/ 17 w 22"/>
                <a:gd name="T37" fmla="*/ 2 h 18"/>
                <a:gd name="T38" fmla="*/ 15 w 22"/>
                <a:gd name="T39" fmla="*/ 1 h 18"/>
                <a:gd name="T40" fmla="*/ 14 w 22"/>
                <a:gd name="T41" fmla="*/ 1 h 18"/>
                <a:gd name="T42" fmla="*/ 14 w 22"/>
                <a:gd name="T43" fmla="*/ 1 h 18"/>
                <a:gd name="T44" fmla="*/ 11 w 22"/>
                <a:gd name="T45" fmla="*/ 1 h 18"/>
                <a:gd name="T46" fmla="*/ 8 w 22"/>
                <a:gd name="T47"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18">
                  <a:moveTo>
                    <a:pt x="8" y="0"/>
                  </a:moveTo>
                  <a:cubicBezTo>
                    <a:pt x="8" y="0"/>
                    <a:pt x="7" y="1"/>
                    <a:pt x="6" y="2"/>
                  </a:cubicBezTo>
                  <a:cubicBezTo>
                    <a:pt x="6" y="3"/>
                    <a:pt x="6" y="4"/>
                    <a:pt x="6" y="4"/>
                  </a:cubicBezTo>
                  <a:cubicBezTo>
                    <a:pt x="5" y="5"/>
                    <a:pt x="4" y="5"/>
                    <a:pt x="4" y="6"/>
                  </a:cubicBezTo>
                  <a:cubicBezTo>
                    <a:pt x="2" y="7"/>
                    <a:pt x="0" y="10"/>
                    <a:pt x="0" y="12"/>
                  </a:cubicBezTo>
                  <a:cubicBezTo>
                    <a:pt x="0" y="13"/>
                    <a:pt x="0" y="13"/>
                    <a:pt x="1" y="13"/>
                  </a:cubicBezTo>
                  <a:cubicBezTo>
                    <a:pt x="1" y="13"/>
                    <a:pt x="3" y="11"/>
                    <a:pt x="4" y="11"/>
                  </a:cubicBezTo>
                  <a:cubicBezTo>
                    <a:pt x="4" y="11"/>
                    <a:pt x="4" y="11"/>
                    <a:pt x="5" y="11"/>
                  </a:cubicBezTo>
                  <a:cubicBezTo>
                    <a:pt x="7" y="11"/>
                    <a:pt x="9" y="16"/>
                    <a:pt x="11" y="18"/>
                  </a:cubicBezTo>
                  <a:cubicBezTo>
                    <a:pt x="15" y="14"/>
                    <a:pt x="19" y="9"/>
                    <a:pt x="22" y="4"/>
                  </a:cubicBezTo>
                  <a:cubicBezTo>
                    <a:pt x="22" y="4"/>
                    <a:pt x="22" y="4"/>
                    <a:pt x="22" y="4"/>
                  </a:cubicBezTo>
                  <a:cubicBezTo>
                    <a:pt x="21" y="4"/>
                    <a:pt x="21" y="4"/>
                    <a:pt x="21" y="4"/>
                  </a:cubicBezTo>
                  <a:cubicBezTo>
                    <a:pt x="20" y="4"/>
                    <a:pt x="20" y="4"/>
                    <a:pt x="20" y="4"/>
                  </a:cubicBezTo>
                  <a:cubicBezTo>
                    <a:pt x="20"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7" y="2"/>
                    <a:pt x="17" y="2"/>
                    <a:pt x="17" y="2"/>
                  </a:cubicBezTo>
                  <a:cubicBezTo>
                    <a:pt x="16" y="1"/>
                    <a:pt x="15" y="1"/>
                    <a:pt x="15" y="1"/>
                  </a:cubicBezTo>
                  <a:cubicBezTo>
                    <a:pt x="14" y="1"/>
                    <a:pt x="14" y="1"/>
                    <a:pt x="14" y="1"/>
                  </a:cubicBezTo>
                  <a:cubicBezTo>
                    <a:pt x="14" y="1"/>
                    <a:pt x="14" y="1"/>
                    <a:pt x="14" y="1"/>
                  </a:cubicBezTo>
                  <a:cubicBezTo>
                    <a:pt x="13" y="1"/>
                    <a:pt x="12" y="1"/>
                    <a:pt x="11" y="1"/>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7" name="Freeform 1451"/>
            <p:cNvSpPr/>
            <p:nvPr/>
          </p:nvSpPr>
          <p:spPr bwMode="auto">
            <a:xfrm>
              <a:off x="6347905" y="1256428"/>
              <a:ext cx="165107" cy="102018"/>
            </a:xfrm>
            <a:custGeom>
              <a:gdLst>
                <a:gd name="T0" fmla="*/ 49 w 52"/>
                <a:gd name="T1" fmla="*/ 0 h 32"/>
                <a:gd name="T2" fmla="*/ 34 w 52"/>
                <a:gd name="T3" fmla="*/ 8 h 32"/>
                <a:gd name="T4" fmla="*/ 32 w 52"/>
                <a:gd name="T5" fmla="*/ 8 h 32"/>
                <a:gd name="T6" fmla="*/ 28 w 52"/>
                <a:gd name="T7" fmla="*/ 3 h 32"/>
                <a:gd name="T8" fmla="*/ 27 w 52"/>
                <a:gd name="T9" fmla="*/ 4 h 32"/>
                <a:gd name="T10" fmla="*/ 27 w 52"/>
                <a:gd name="T11" fmla="*/ 5 h 32"/>
                <a:gd name="T12" fmla="*/ 25 w 52"/>
                <a:gd name="T13" fmla="*/ 8 h 32"/>
                <a:gd name="T14" fmla="*/ 19 w 52"/>
                <a:gd name="T15" fmla="*/ 13 h 32"/>
                <a:gd name="T16" fmla="*/ 10 w 52"/>
                <a:gd name="T17" fmla="*/ 23 h 32"/>
                <a:gd name="T18" fmla="*/ 4 w 52"/>
                <a:gd name="T19" fmla="*/ 32 h 32"/>
                <a:gd name="T20" fmla="*/ 5 w 52"/>
                <a:gd name="T21" fmla="*/ 32 h 32"/>
                <a:gd name="T22" fmla="*/ 7 w 52"/>
                <a:gd name="T23" fmla="*/ 29 h 32"/>
                <a:gd name="T24" fmla="*/ 12 w 52"/>
                <a:gd name="T25" fmla="*/ 27 h 32"/>
                <a:gd name="T26" fmla="*/ 16 w 52"/>
                <a:gd name="T27" fmla="*/ 23 h 32"/>
                <a:gd name="T28" fmla="*/ 20 w 52"/>
                <a:gd name="T29" fmla="*/ 19 h 32"/>
                <a:gd name="T30" fmla="*/ 23 w 52"/>
                <a:gd name="T31" fmla="*/ 16 h 32"/>
                <a:gd name="T32" fmla="*/ 23 w 52"/>
                <a:gd name="T33" fmla="*/ 16 h 32"/>
                <a:gd name="T34" fmla="*/ 24 w 52"/>
                <a:gd name="T35" fmla="*/ 16 h 32"/>
                <a:gd name="T36" fmla="*/ 25 w 52"/>
                <a:gd name="T37" fmla="*/ 16 h 32"/>
                <a:gd name="T38" fmla="*/ 25 w 52"/>
                <a:gd name="T39" fmla="*/ 16 h 32"/>
                <a:gd name="T40" fmla="*/ 28 w 52"/>
                <a:gd name="T41" fmla="*/ 15 h 32"/>
                <a:gd name="T42" fmla="*/ 31 w 52"/>
                <a:gd name="T43" fmla="*/ 12 h 32"/>
                <a:gd name="T44" fmla="*/ 42 w 52"/>
                <a:gd name="T45" fmla="*/ 7 h 32"/>
                <a:gd name="T46" fmla="*/ 48 w 52"/>
                <a:gd name="T47" fmla="*/ 6 h 32"/>
                <a:gd name="T48" fmla="*/ 49 w 52"/>
                <a:gd name="T49"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2">
                  <a:moveTo>
                    <a:pt x="49" y="0"/>
                  </a:moveTo>
                  <a:cubicBezTo>
                    <a:pt x="46" y="2"/>
                    <a:pt x="39" y="8"/>
                    <a:pt x="34" y="8"/>
                  </a:cubicBezTo>
                  <a:cubicBezTo>
                    <a:pt x="33" y="8"/>
                    <a:pt x="32" y="8"/>
                    <a:pt x="32" y="8"/>
                  </a:cubicBezTo>
                  <a:cubicBezTo>
                    <a:pt x="30" y="7"/>
                    <a:pt x="30" y="3"/>
                    <a:pt x="28" y="3"/>
                  </a:cubicBezTo>
                  <a:cubicBezTo>
                    <a:pt x="28" y="3"/>
                    <a:pt x="28" y="4"/>
                    <a:pt x="27" y="4"/>
                  </a:cubicBezTo>
                  <a:cubicBezTo>
                    <a:pt x="27" y="4"/>
                    <a:pt x="27" y="5"/>
                    <a:pt x="27" y="5"/>
                  </a:cubicBezTo>
                  <a:cubicBezTo>
                    <a:pt x="27" y="6"/>
                    <a:pt x="26" y="7"/>
                    <a:pt x="25" y="8"/>
                  </a:cubicBezTo>
                  <a:cubicBezTo>
                    <a:pt x="23" y="9"/>
                    <a:pt x="20" y="11"/>
                    <a:pt x="19" y="13"/>
                  </a:cubicBezTo>
                  <a:cubicBezTo>
                    <a:pt x="17" y="15"/>
                    <a:pt x="7" y="21"/>
                    <a:pt x="10" y="23"/>
                  </a:cubicBezTo>
                  <a:cubicBezTo>
                    <a:pt x="9" y="23"/>
                    <a:pt x="0" y="30"/>
                    <a:pt x="4" y="32"/>
                  </a:cubicBezTo>
                  <a:cubicBezTo>
                    <a:pt x="4" y="32"/>
                    <a:pt x="4" y="32"/>
                    <a:pt x="5" y="32"/>
                  </a:cubicBezTo>
                  <a:cubicBezTo>
                    <a:pt x="6" y="32"/>
                    <a:pt x="6" y="30"/>
                    <a:pt x="7" y="29"/>
                  </a:cubicBezTo>
                  <a:cubicBezTo>
                    <a:pt x="9" y="28"/>
                    <a:pt x="11" y="29"/>
                    <a:pt x="12" y="27"/>
                  </a:cubicBezTo>
                  <a:cubicBezTo>
                    <a:pt x="14" y="26"/>
                    <a:pt x="14" y="24"/>
                    <a:pt x="16" y="23"/>
                  </a:cubicBezTo>
                  <a:cubicBezTo>
                    <a:pt x="17" y="22"/>
                    <a:pt x="19" y="21"/>
                    <a:pt x="20" y="19"/>
                  </a:cubicBezTo>
                  <a:cubicBezTo>
                    <a:pt x="21" y="17"/>
                    <a:pt x="20" y="16"/>
                    <a:pt x="23" y="16"/>
                  </a:cubicBezTo>
                  <a:cubicBezTo>
                    <a:pt x="23" y="16"/>
                    <a:pt x="23" y="16"/>
                    <a:pt x="23" y="16"/>
                  </a:cubicBezTo>
                  <a:cubicBezTo>
                    <a:pt x="23" y="16"/>
                    <a:pt x="24" y="16"/>
                    <a:pt x="24" y="16"/>
                  </a:cubicBezTo>
                  <a:cubicBezTo>
                    <a:pt x="25" y="16"/>
                    <a:pt x="25" y="16"/>
                    <a:pt x="25" y="16"/>
                  </a:cubicBezTo>
                  <a:cubicBezTo>
                    <a:pt x="25" y="16"/>
                    <a:pt x="25" y="16"/>
                    <a:pt x="25" y="16"/>
                  </a:cubicBezTo>
                  <a:cubicBezTo>
                    <a:pt x="26" y="16"/>
                    <a:pt x="27" y="16"/>
                    <a:pt x="28" y="15"/>
                  </a:cubicBezTo>
                  <a:cubicBezTo>
                    <a:pt x="29" y="14"/>
                    <a:pt x="30" y="13"/>
                    <a:pt x="31" y="12"/>
                  </a:cubicBezTo>
                  <a:cubicBezTo>
                    <a:pt x="34" y="9"/>
                    <a:pt x="38" y="8"/>
                    <a:pt x="42" y="7"/>
                  </a:cubicBezTo>
                  <a:cubicBezTo>
                    <a:pt x="44" y="6"/>
                    <a:pt x="46" y="6"/>
                    <a:pt x="48" y="6"/>
                  </a:cubicBezTo>
                  <a:cubicBezTo>
                    <a:pt x="52" y="5"/>
                    <a:pt x="49" y="3"/>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8" name="Freeform 1452"/>
            <p:cNvSpPr/>
            <p:nvPr/>
          </p:nvSpPr>
          <p:spPr bwMode="auto">
            <a:xfrm>
              <a:off x="5602909" y="314107"/>
              <a:ext cx="34901" cy="25504"/>
            </a:xfrm>
            <a:custGeom>
              <a:gdLst>
                <a:gd name="T0" fmla="*/ 10 w 11"/>
                <a:gd name="T1" fmla="*/ 0 h 8"/>
                <a:gd name="T2" fmla="*/ 10 w 11"/>
                <a:gd name="T3" fmla="*/ 0 h 8"/>
                <a:gd name="T4" fmla="*/ 9 w 11"/>
                <a:gd name="T5" fmla="*/ 1 h 8"/>
                <a:gd name="T6" fmla="*/ 9 w 11"/>
                <a:gd name="T7" fmla="*/ 1 h 8"/>
                <a:gd name="T8" fmla="*/ 8 w 11"/>
                <a:gd name="T9" fmla="*/ 1 h 8"/>
                <a:gd name="T10" fmla="*/ 7 w 11"/>
                <a:gd name="T11" fmla="*/ 1 h 8"/>
                <a:gd name="T12" fmla="*/ 0 w 11"/>
                <a:gd name="T13" fmla="*/ 8 h 8"/>
                <a:gd name="T14" fmla="*/ 10 w 11"/>
                <a:gd name="T15" fmla="*/ 1 h 8"/>
                <a:gd name="T16" fmla="*/ 10 w 11"/>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10" y="0"/>
                  </a:moveTo>
                  <a:cubicBezTo>
                    <a:pt x="10" y="0"/>
                    <a:pt x="10" y="0"/>
                    <a:pt x="10" y="0"/>
                  </a:cubicBezTo>
                  <a:cubicBezTo>
                    <a:pt x="10" y="0"/>
                    <a:pt x="9" y="1"/>
                    <a:pt x="9" y="1"/>
                  </a:cubicBezTo>
                  <a:cubicBezTo>
                    <a:pt x="9" y="1"/>
                    <a:pt x="9" y="1"/>
                    <a:pt x="9" y="1"/>
                  </a:cubicBezTo>
                  <a:cubicBezTo>
                    <a:pt x="9" y="1"/>
                    <a:pt x="8" y="1"/>
                    <a:pt x="8" y="1"/>
                  </a:cubicBezTo>
                  <a:cubicBezTo>
                    <a:pt x="7" y="1"/>
                    <a:pt x="7" y="1"/>
                    <a:pt x="7" y="1"/>
                  </a:cubicBezTo>
                  <a:cubicBezTo>
                    <a:pt x="4" y="2"/>
                    <a:pt x="1" y="4"/>
                    <a:pt x="0" y="8"/>
                  </a:cubicBezTo>
                  <a:cubicBezTo>
                    <a:pt x="6" y="7"/>
                    <a:pt x="9" y="7"/>
                    <a:pt x="10" y="1"/>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Freeform 1453"/>
            <p:cNvSpPr/>
            <p:nvPr/>
          </p:nvSpPr>
          <p:spPr bwMode="auto">
            <a:xfrm>
              <a:off x="6722416" y="1104744"/>
              <a:ext cx="34901" cy="34901"/>
            </a:xfrm>
            <a:custGeom>
              <a:gdLst>
                <a:gd name="T0" fmla="*/ 11 w 11"/>
                <a:gd name="T1" fmla="*/ 0 h 11"/>
                <a:gd name="T2" fmla="*/ 0 w 11"/>
                <a:gd name="T3" fmla="*/ 10 h 11"/>
                <a:gd name="T4" fmla="*/ 1 w 11"/>
                <a:gd name="T5" fmla="*/ 11 h 11"/>
                <a:gd name="T6" fmla="*/ 11 w 11"/>
                <a:gd name="T7" fmla="*/ 0 h 11"/>
              </a:gdLst>
              <a:cxnLst>
                <a:cxn ang="0">
                  <a:pos x="T0" y="T1"/>
                </a:cxn>
                <a:cxn ang="0">
                  <a:pos x="T2" y="T3"/>
                </a:cxn>
                <a:cxn ang="0">
                  <a:pos x="T4" y="T5"/>
                </a:cxn>
                <a:cxn ang="0">
                  <a:pos x="T6" y="T7"/>
                </a:cxn>
              </a:cxnLst>
              <a:rect l="0" t="0" r="r" b="b"/>
              <a:pathLst>
                <a:path w="11" h="11">
                  <a:moveTo>
                    <a:pt x="11" y="0"/>
                  </a:moveTo>
                  <a:cubicBezTo>
                    <a:pt x="7" y="3"/>
                    <a:pt x="3" y="6"/>
                    <a:pt x="0" y="10"/>
                  </a:cubicBezTo>
                  <a:cubicBezTo>
                    <a:pt x="0" y="11"/>
                    <a:pt x="1" y="11"/>
                    <a:pt x="1" y="11"/>
                  </a:cubicBezTo>
                  <a:cubicBezTo>
                    <a:pt x="5" y="11"/>
                    <a:pt x="10"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0" name="Freeform 1455"/>
            <p:cNvSpPr/>
            <p:nvPr/>
          </p:nvSpPr>
          <p:spPr bwMode="auto">
            <a:xfrm>
              <a:off x="6815038" y="1041654"/>
              <a:ext cx="9396" cy="5369"/>
            </a:xfrm>
            <a:custGeom>
              <a:gdLst>
                <a:gd name="T0" fmla="*/ 2 w 3"/>
                <a:gd name="T1" fmla="*/ 0 h 2"/>
                <a:gd name="T2" fmla="*/ 0 w 3"/>
                <a:gd name="T3" fmla="*/ 2 h 2"/>
                <a:gd name="T4" fmla="*/ 2 w 3"/>
                <a:gd name="T5" fmla="*/ 0 h 2"/>
              </a:gdLst>
              <a:cxnLst>
                <a:cxn ang="0">
                  <a:pos x="T0" y="T1"/>
                </a:cxn>
                <a:cxn ang="0">
                  <a:pos x="T2" y="T3"/>
                </a:cxn>
                <a:cxn ang="0">
                  <a:pos x="T4" y="T5"/>
                </a:cxn>
              </a:cxnLst>
              <a:rect l="0" t="0" r="r" b="b"/>
              <a:pathLst>
                <a:path w="3" h="2">
                  <a:moveTo>
                    <a:pt x="2" y="0"/>
                  </a:moveTo>
                  <a:cubicBezTo>
                    <a:pt x="2" y="0"/>
                    <a:pt x="1" y="1"/>
                    <a:pt x="0" y="2"/>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1" name="Freeform 1456"/>
            <p:cNvSpPr/>
            <p:nvPr/>
          </p:nvSpPr>
          <p:spPr bwMode="auto">
            <a:xfrm>
              <a:off x="6773426" y="1081925"/>
              <a:ext cx="9396" cy="6712"/>
            </a:xfrm>
            <a:custGeom>
              <a:gdLst>
                <a:gd name="T0" fmla="*/ 2 w 3"/>
                <a:gd name="T1" fmla="*/ 0 h 2"/>
                <a:gd name="T2" fmla="*/ 0 w 3"/>
                <a:gd name="T3" fmla="*/ 2 h 2"/>
                <a:gd name="T4" fmla="*/ 2 w 3"/>
                <a:gd name="T5" fmla="*/ 0 h 2"/>
              </a:gdLst>
              <a:cxnLst>
                <a:cxn ang="0">
                  <a:pos x="T0" y="T1"/>
                </a:cxn>
                <a:cxn ang="0">
                  <a:pos x="T2" y="T3"/>
                </a:cxn>
                <a:cxn ang="0">
                  <a:pos x="T4" y="T5"/>
                </a:cxn>
              </a:cxnLst>
              <a:rect l="0" t="0" r="r" b="b"/>
              <a:pathLst>
                <a:path w="3" h="2">
                  <a:moveTo>
                    <a:pt x="2" y="0"/>
                  </a:moveTo>
                  <a:cubicBezTo>
                    <a:pt x="2" y="0"/>
                    <a:pt x="1" y="1"/>
                    <a:pt x="0" y="2"/>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2" name="Freeform 1457"/>
            <p:cNvSpPr/>
            <p:nvPr/>
          </p:nvSpPr>
          <p:spPr bwMode="auto">
            <a:xfrm>
              <a:off x="6935848" y="867151"/>
              <a:ext cx="25504" cy="30874"/>
            </a:xfrm>
            <a:custGeom>
              <a:gdLst>
                <a:gd name="T0" fmla="*/ 6 w 8"/>
                <a:gd name="T1" fmla="*/ 0 h 10"/>
                <a:gd name="T2" fmla="*/ 5 w 8"/>
                <a:gd name="T3" fmla="*/ 0 h 10"/>
                <a:gd name="T4" fmla="*/ 0 w 8"/>
                <a:gd name="T5" fmla="*/ 10 h 10"/>
                <a:gd name="T6" fmla="*/ 6 w 8"/>
                <a:gd name="T7" fmla="*/ 5 h 10"/>
                <a:gd name="T8" fmla="*/ 6 w 8"/>
                <a:gd name="T9" fmla="*/ 0 h 10"/>
              </a:gdLst>
              <a:cxnLst>
                <a:cxn ang="0">
                  <a:pos x="T0" y="T1"/>
                </a:cxn>
                <a:cxn ang="0">
                  <a:pos x="T2" y="T3"/>
                </a:cxn>
                <a:cxn ang="0">
                  <a:pos x="T4" y="T5"/>
                </a:cxn>
                <a:cxn ang="0">
                  <a:pos x="T6" y="T7"/>
                </a:cxn>
                <a:cxn ang="0">
                  <a:pos x="T8" y="T9"/>
                </a:cxn>
              </a:cxnLst>
              <a:rect l="0" t="0" r="r" b="b"/>
              <a:pathLst>
                <a:path w="8" h="10">
                  <a:moveTo>
                    <a:pt x="6" y="0"/>
                  </a:moveTo>
                  <a:cubicBezTo>
                    <a:pt x="6" y="0"/>
                    <a:pt x="5" y="0"/>
                    <a:pt x="5" y="0"/>
                  </a:cubicBezTo>
                  <a:cubicBezTo>
                    <a:pt x="3" y="2"/>
                    <a:pt x="1" y="7"/>
                    <a:pt x="0" y="10"/>
                  </a:cubicBezTo>
                  <a:cubicBezTo>
                    <a:pt x="5" y="10"/>
                    <a:pt x="6" y="10"/>
                    <a:pt x="6" y="5"/>
                  </a:cubicBezTo>
                  <a:cubicBezTo>
                    <a:pt x="7" y="4"/>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Freeform 1458"/>
            <p:cNvSpPr/>
            <p:nvPr/>
          </p:nvSpPr>
          <p:spPr bwMode="auto">
            <a:xfrm>
              <a:off x="6551940" y="1193338"/>
              <a:ext cx="81882" cy="57720"/>
            </a:xfrm>
            <a:custGeom>
              <a:gdLst>
                <a:gd name="T0" fmla="*/ 22 w 26"/>
                <a:gd name="T1" fmla="*/ 0 h 18"/>
                <a:gd name="T2" fmla="*/ 20 w 26"/>
                <a:gd name="T3" fmla="*/ 0 h 18"/>
                <a:gd name="T4" fmla="*/ 18 w 26"/>
                <a:gd name="T5" fmla="*/ 2 h 18"/>
                <a:gd name="T6" fmla="*/ 13 w 26"/>
                <a:gd name="T7" fmla="*/ 4 h 18"/>
                <a:gd name="T8" fmla="*/ 0 w 26"/>
                <a:gd name="T9" fmla="*/ 18 h 18"/>
                <a:gd name="T10" fmla="*/ 1 w 26"/>
                <a:gd name="T11" fmla="*/ 18 h 18"/>
                <a:gd name="T12" fmla="*/ 3 w 26"/>
                <a:gd name="T13" fmla="*/ 16 h 18"/>
                <a:gd name="T14" fmla="*/ 4 w 26"/>
                <a:gd name="T15" fmla="*/ 17 h 18"/>
                <a:gd name="T16" fmla="*/ 26 w 26"/>
                <a:gd name="T17" fmla="*/ 0 h 18"/>
                <a:gd name="T18" fmla="*/ 25 w 26"/>
                <a:gd name="T19" fmla="*/ 0 h 18"/>
                <a:gd name="T20" fmla="*/ 24 w 26"/>
                <a:gd name="T21" fmla="*/ 0 h 18"/>
                <a:gd name="T22" fmla="*/ 22 w 26"/>
                <a:gd name="T23"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8">
                  <a:moveTo>
                    <a:pt x="22" y="0"/>
                  </a:moveTo>
                  <a:cubicBezTo>
                    <a:pt x="22" y="0"/>
                    <a:pt x="21" y="0"/>
                    <a:pt x="20" y="0"/>
                  </a:cubicBezTo>
                  <a:cubicBezTo>
                    <a:pt x="19" y="1"/>
                    <a:pt x="19" y="2"/>
                    <a:pt x="18" y="2"/>
                  </a:cubicBezTo>
                  <a:cubicBezTo>
                    <a:pt x="16" y="3"/>
                    <a:pt x="15" y="3"/>
                    <a:pt x="13" y="4"/>
                  </a:cubicBezTo>
                  <a:cubicBezTo>
                    <a:pt x="9" y="9"/>
                    <a:pt x="4" y="13"/>
                    <a:pt x="0" y="18"/>
                  </a:cubicBezTo>
                  <a:cubicBezTo>
                    <a:pt x="1" y="18"/>
                    <a:pt x="1" y="18"/>
                    <a:pt x="1" y="18"/>
                  </a:cubicBezTo>
                  <a:cubicBezTo>
                    <a:pt x="2" y="18"/>
                    <a:pt x="3" y="17"/>
                    <a:pt x="3" y="16"/>
                  </a:cubicBezTo>
                  <a:cubicBezTo>
                    <a:pt x="4" y="17"/>
                    <a:pt x="4" y="17"/>
                    <a:pt x="4" y="17"/>
                  </a:cubicBezTo>
                  <a:cubicBezTo>
                    <a:pt x="8" y="17"/>
                    <a:pt x="25" y="1"/>
                    <a:pt x="26" y="0"/>
                  </a:cubicBezTo>
                  <a:cubicBezTo>
                    <a:pt x="26" y="0"/>
                    <a:pt x="25" y="0"/>
                    <a:pt x="25" y="0"/>
                  </a:cubicBezTo>
                  <a:cubicBezTo>
                    <a:pt x="24" y="0"/>
                    <a:pt x="24" y="0"/>
                    <a:pt x="24" y="0"/>
                  </a:cubicBezTo>
                  <a:cubicBezTo>
                    <a:pt x="23" y="0"/>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4" name="Freeform 1459"/>
            <p:cNvSpPr/>
            <p:nvPr/>
          </p:nvSpPr>
          <p:spPr bwMode="auto">
            <a:xfrm>
              <a:off x="6338509" y="1409455"/>
              <a:ext cx="22820" cy="9396"/>
            </a:xfrm>
            <a:custGeom>
              <a:gdLst>
                <a:gd name="T0" fmla="*/ 6 w 7"/>
                <a:gd name="T1" fmla="*/ 0 h 3"/>
                <a:gd name="T2" fmla="*/ 0 w 7"/>
                <a:gd name="T3" fmla="*/ 3 h 3"/>
                <a:gd name="T4" fmla="*/ 7 w 7"/>
                <a:gd name="T5" fmla="*/ 0 h 3"/>
                <a:gd name="T6" fmla="*/ 6 w 7"/>
                <a:gd name="T7" fmla="*/ 0 h 3"/>
              </a:gdLst>
              <a:cxnLst>
                <a:cxn ang="0">
                  <a:pos x="T0" y="T1"/>
                </a:cxn>
                <a:cxn ang="0">
                  <a:pos x="T2" y="T3"/>
                </a:cxn>
                <a:cxn ang="0">
                  <a:pos x="T4" y="T5"/>
                </a:cxn>
                <a:cxn ang="0">
                  <a:pos x="T6" y="T7"/>
                </a:cxn>
              </a:cxnLst>
              <a:rect l="0" t="0" r="r" b="b"/>
              <a:pathLst>
                <a:path w="7" h="3">
                  <a:moveTo>
                    <a:pt x="6" y="0"/>
                  </a:moveTo>
                  <a:cubicBezTo>
                    <a:pt x="4" y="0"/>
                    <a:pt x="0" y="1"/>
                    <a:pt x="0" y="3"/>
                  </a:cubicBezTo>
                  <a:cubicBezTo>
                    <a:pt x="3" y="2"/>
                    <a:pt x="5" y="1"/>
                    <a:pt x="7"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5" name="Freeform 1460"/>
            <p:cNvSpPr>
              <a:spLocks noEditPoints="1"/>
            </p:cNvSpPr>
            <p:nvPr/>
          </p:nvSpPr>
          <p:spPr bwMode="auto">
            <a:xfrm>
              <a:off x="6982830" y="755737"/>
              <a:ext cx="69801" cy="76513"/>
            </a:xfrm>
            <a:custGeom>
              <a:gdLst>
                <a:gd name="T0" fmla="*/ 0 w 22"/>
                <a:gd name="T1" fmla="*/ 22 h 24"/>
                <a:gd name="T2" fmla="*/ 0 w 22"/>
                <a:gd name="T3" fmla="*/ 22 h 24"/>
                <a:gd name="T4" fmla="*/ 0 w 22"/>
                <a:gd name="T5" fmla="*/ 22 h 24"/>
                <a:gd name="T6" fmla="*/ 19 w 22"/>
                <a:gd name="T7" fmla="*/ 0 h 24"/>
                <a:gd name="T8" fmla="*/ 18 w 22"/>
                <a:gd name="T9" fmla="*/ 0 h 24"/>
                <a:gd name="T10" fmla="*/ 13 w 22"/>
                <a:gd name="T11" fmla="*/ 9 h 24"/>
                <a:gd name="T12" fmla="*/ 8 w 22"/>
                <a:gd name="T13" fmla="*/ 12 h 24"/>
                <a:gd name="T14" fmla="*/ 2 w 22"/>
                <a:gd name="T15" fmla="*/ 14 h 24"/>
                <a:gd name="T16" fmla="*/ 1 w 22"/>
                <a:gd name="T17" fmla="*/ 15 h 24"/>
                <a:gd name="T18" fmla="*/ 0 w 22"/>
                <a:gd name="T19" fmla="*/ 15 h 24"/>
                <a:gd name="T20" fmla="*/ 0 w 22"/>
                <a:gd name="T21" fmla="*/ 15 h 24"/>
                <a:gd name="T22" fmla="*/ 0 w 22"/>
                <a:gd name="T23" fmla="*/ 16 h 24"/>
                <a:gd name="T24" fmla="*/ 0 w 22"/>
                <a:gd name="T25" fmla="*/ 16 h 24"/>
                <a:gd name="T26" fmla="*/ 1 w 22"/>
                <a:gd name="T27" fmla="*/ 18 h 24"/>
                <a:gd name="T28" fmla="*/ 0 w 22"/>
                <a:gd name="T29" fmla="*/ 22 h 24"/>
                <a:gd name="T30" fmla="*/ 0 w 22"/>
                <a:gd name="T31" fmla="*/ 22 h 24"/>
                <a:gd name="T32" fmla="*/ 4 w 22"/>
                <a:gd name="T33" fmla="*/ 24 h 24"/>
                <a:gd name="T34" fmla="*/ 10 w 22"/>
                <a:gd name="T35" fmla="*/ 19 h 24"/>
                <a:gd name="T36" fmla="*/ 22 w 22"/>
                <a:gd name="T37" fmla="*/ 6 h 24"/>
                <a:gd name="T38" fmla="*/ 19 w 22"/>
                <a:gd name="T39"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4">
                  <a:moveTo>
                    <a:pt x="0" y="22"/>
                  </a:moveTo>
                  <a:cubicBezTo>
                    <a:pt x="0" y="22"/>
                    <a:pt x="0" y="22"/>
                    <a:pt x="0" y="22"/>
                  </a:cubicBezTo>
                  <a:cubicBezTo>
                    <a:pt x="0" y="22"/>
                    <a:pt x="0" y="22"/>
                    <a:pt x="0" y="22"/>
                  </a:cubicBezTo>
                  <a:moveTo>
                    <a:pt x="19" y="0"/>
                  </a:moveTo>
                  <a:cubicBezTo>
                    <a:pt x="19" y="0"/>
                    <a:pt x="19" y="0"/>
                    <a:pt x="18" y="0"/>
                  </a:cubicBezTo>
                  <a:cubicBezTo>
                    <a:pt x="15" y="1"/>
                    <a:pt x="15" y="7"/>
                    <a:pt x="13" y="9"/>
                  </a:cubicBezTo>
                  <a:cubicBezTo>
                    <a:pt x="11" y="11"/>
                    <a:pt x="10" y="12"/>
                    <a:pt x="8" y="12"/>
                  </a:cubicBezTo>
                  <a:cubicBezTo>
                    <a:pt x="5" y="12"/>
                    <a:pt x="5" y="14"/>
                    <a:pt x="2" y="14"/>
                  </a:cubicBezTo>
                  <a:cubicBezTo>
                    <a:pt x="2" y="15"/>
                    <a:pt x="1" y="15"/>
                    <a:pt x="1" y="15"/>
                  </a:cubicBezTo>
                  <a:cubicBezTo>
                    <a:pt x="1" y="15"/>
                    <a:pt x="1" y="15"/>
                    <a:pt x="0" y="15"/>
                  </a:cubicBezTo>
                  <a:cubicBezTo>
                    <a:pt x="0" y="15"/>
                    <a:pt x="0" y="15"/>
                    <a:pt x="0" y="15"/>
                  </a:cubicBezTo>
                  <a:cubicBezTo>
                    <a:pt x="0" y="15"/>
                    <a:pt x="0" y="15"/>
                    <a:pt x="0" y="16"/>
                  </a:cubicBezTo>
                  <a:cubicBezTo>
                    <a:pt x="0" y="16"/>
                    <a:pt x="0" y="16"/>
                    <a:pt x="0" y="16"/>
                  </a:cubicBezTo>
                  <a:cubicBezTo>
                    <a:pt x="0" y="16"/>
                    <a:pt x="1" y="18"/>
                    <a:pt x="1" y="18"/>
                  </a:cubicBezTo>
                  <a:cubicBezTo>
                    <a:pt x="1" y="19"/>
                    <a:pt x="0" y="20"/>
                    <a:pt x="0" y="22"/>
                  </a:cubicBezTo>
                  <a:cubicBezTo>
                    <a:pt x="0" y="22"/>
                    <a:pt x="0" y="22"/>
                    <a:pt x="0" y="22"/>
                  </a:cubicBezTo>
                  <a:cubicBezTo>
                    <a:pt x="0" y="22"/>
                    <a:pt x="4" y="23"/>
                    <a:pt x="4" y="24"/>
                  </a:cubicBezTo>
                  <a:cubicBezTo>
                    <a:pt x="6" y="22"/>
                    <a:pt x="8" y="20"/>
                    <a:pt x="10" y="19"/>
                  </a:cubicBezTo>
                  <a:cubicBezTo>
                    <a:pt x="13" y="16"/>
                    <a:pt x="21" y="10"/>
                    <a:pt x="22" y="6"/>
                  </a:cubicBezTo>
                  <a:cubicBezTo>
                    <a:pt x="22" y="3"/>
                    <a:pt x="22"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Freeform 1462"/>
            <p:cNvSpPr/>
            <p:nvPr/>
          </p:nvSpPr>
          <p:spPr bwMode="auto">
            <a:xfrm>
              <a:off x="4762607" y="5519690"/>
              <a:ext cx="12081" cy="12081"/>
            </a:xfrm>
            <a:custGeom>
              <a:gdLst>
                <a:gd name="T0" fmla="*/ 4 w 4"/>
                <a:gd name="T1" fmla="*/ 0 h 4"/>
                <a:gd name="T2" fmla="*/ 1 w 4"/>
                <a:gd name="T3" fmla="*/ 4 h 4"/>
                <a:gd name="T4" fmla="*/ 4 w 4"/>
                <a:gd name="T5" fmla="*/ 0 h 4"/>
              </a:gdLst>
              <a:cxnLst>
                <a:cxn ang="0">
                  <a:pos x="T0" y="T1"/>
                </a:cxn>
                <a:cxn ang="0">
                  <a:pos x="T2" y="T3"/>
                </a:cxn>
                <a:cxn ang="0">
                  <a:pos x="T4" y="T5"/>
                </a:cxn>
              </a:cxnLst>
              <a:rect l="0" t="0" r="r" b="b"/>
              <a:pathLst>
                <a:path w="4" h="4">
                  <a:moveTo>
                    <a:pt x="4" y="0"/>
                  </a:moveTo>
                  <a:cubicBezTo>
                    <a:pt x="3" y="1"/>
                    <a:pt x="0" y="2"/>
                    <a:pt x="1" y="4"/>
                  </a:cubicBezTo>
                  <a:cubicBezTo>
                    <a:pt x="2" y="3"/>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Freeform 1463"/>
            <p:cNvSpPr/>
            <p:nvPr/>
          </p:nvSpPr>
          <p:spPr bwMode="auto">
            <a:xfrm>
              <a:off x="7827159" y="6452614"/>
              <a:ext cx="16108" cy="25504"/>
            </a:xfrm>
            <a:custGeom>
              <a:gdLst>
                <a:gd name="T0" fmla="*/ 2 w 5"/>
                <a:gd name="T1" fmla="*/ 0 h 8"/>
                <a:gd name="T2" fmla="*/ 0 w 5"/>
                <a:gd name="T3" fmla="*/ 8 h 8"/>
                <a:gd name="T4" fmla="*/ 2 w 5"/>
                <a:gd name="T5" fmla="*/ 3 h 8"/>
                <a:gd name="T6" fmla="*/ 2 w 5"/>
                <a:gd name="T7" fmla="*/ 0 h 8"/>
              </a:gdLst>
              <a:cxnLst>
                <a:cxn ang="0">
                  <a:pos x="T0" y="T1"/>
                </a:cxn>
                <a:cxn ang="0">
                  <a:pos x="T2" y="T3"/>
                </a:cxn>
                <a:cxn ang="0">
                  <a:pos x="T4" y="T5"/>
                </a:cxn>
                <a:cxn ang="0">
                  <a:pos x="T6" y="T7"/>
                </a:cxn>
              </a:cxnLst>
              <a:rect l="0" t="0" r="r" b="b"/>
              <a:pathLst>
                <a:path w="5" h="8">
                  <a:moveTo>
                    <a:pt x="2" y="0"/>
                  </a:moveTo>
                  <a:cubicBezTo>
                    <a:pt x="1" y="3"/>
                    <a:pt x="0" y="6"/>
                    <a:pt x="0" y="8"/>
                  </a:cubicBezTo>
                  <a:cubicBezTo>
                    <a:pt x="3" y="6"/>
                    <a:pt x="1" y="6"/>
                    <a:pt x="2" y="3"/>
                  </a:cubicBezTo>
                  <a:cubicBezTo>
                    <a:pt x="2" y="1"/>
                    <a:pt x="5"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8" name="Freeform 1464"/>
            <p:cNvSpPr/>
            <p:nvPr/>
          </p:nvSpPr>
          <p:spPr bwMode="auto">
            <a:xfrm flipH="1">
              <a:off x="7611043" y="6394894"/>
              <a:ext cx="0" cy="6712"/>
            </a:xfrm>
            <a:custGeom>
              <a:gdLst>
                <a:gd name="T0" fmla="*/ 0 h 2"/>
                <a:gd name="T1" fmla="*/ 2 h 2"/>
                <a:gd name="T2" fmla="*/ 0 h 2"/>
              </a:gdLst>
              <a:cxnLst>
                <a:cxn ang="0">
                  <a:pos x="0" y="T0"/>
                </a:cxn>
                <a:cxn ang="0">
                  <a:pos x="0" y="T1"/>
                </a:cxn>
                <a:cxn ang="0">
                  <a:pos x="0" y="T2"/>
                </a:cxn>
              </a:cxnLst>
              <a:rect l="0" t="0" r="r" b="b"/>
              <a:pathLst>
                <a:path h="2">
                  <a:moveTo>
                    <a:pt x="0" y="0"/>
                  </a:moveTo>
                  <a:cubicBezTo>
                    <a:pt x="0" y="1"/>
                    <a:pt x="0" y="1"/>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Freeform 1465"/>
            <p:cNvSpPr/>
            <p:nvPr/>
          </p:nvSpPr>
          <p:spPr bwMode="auto">
            <a:xfrm>
              <a:off x="7894276" y="6623091"/>
              <a:ext cx="5369" cy="9396"/>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0" y="1"/>
                    <a:pt x="1" y="2"/>
                    <a:pt x="2" y="3"/>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Freeform 1466"/>
            <p:cNvSpPr/>
            <p:nvPr/>
          </p:nvSpPr>
          <p:spPr bwMode="auto">
            <a:xfrm>
              <a:off x="7335864" y="6353281"/>
              <a:ext cx="2685" cy="20135"/>
            </a:xfrm>
            <a:custGeom>
              <a:gdLst>
                <a:gd name="T0" fmla="*/ 0 w 1"/>
                <a:gd name="T1" fmla="*/ 0 h 6"/>
                <a:gd name="T2" fmla="*/ 0 w 1"/>
                <a:gd name="T3" fmla="*/ 6 h 6"/>
                <a:gd name="T4" fmla="*/ 0 w 1"/>
                <a:gd name="T5" fmla="*/ 0 h 6"/>
              </a:gdLst>
              <a:cxnLst>
                <a:cxn ang="0">
                  <a:pos x="T0" y="T1"/>
                </a:cxn>
                <a:cxn ang="0">
                  <a:pos x="T2" y="T3"/>
                </a:cxn>
                <a:cxn ang="0">
                  <a:pos x="T4" y="T5"/>
                </a:cxn>
              </a:cxnLst>
              <a:rect l="0" t="0" r="r" b="b"/>
              <a:pathLst>
                <a:path w="1" h="6">
                  <a:moveTo>
                    <a:pt x="0" y="0"/>
                  </a:moveTo>
                  <a:cubicBezTo>
                    <a:pt x="0" y="2"/>
                    <a:pt x="0" y="4"/>
                    <a:pt x="0" y="6"/>
                  </a:cubicBezTo>
                  <a:cubicBezTo>
                    <a:pt x="0"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Freeform 1467"/>
            <p:cNvSpPr/>
            <p:nvPr/>
          </p:nvSpPr>
          <p:spPr bwMode="auto">
            <a:xfrm>
              <a:off x="7922465" y="6527785"/>
              <a:ext cx="25504" cy="25504"/>
            </a:xfrm>
            <a:custGeom>
              <a:gdLst>
                <a:gd name="T0" fmla="*/ 4 w 8"/>
                <a:gd name="T1" fmla="*/ 0 h 8"/>
                <a:gd name="T2" fmla="*/ 0 w 8"/>
                <a:gd name="T3" fmla="*/ 1 h 8"/>
                <a:gd name="T4" fmla="*/ 2 w 8"/>
                <a:gd name="T5" fmla="*/ 6 h 8"/>
                <a:gd name="T6" fmla="*/ 2 w 8"/>
                <a:gd name="T7" fmla="*/ 6 h 8"/>
                <a:gd name="T8" fmla="*/ 5 w 8"/>
                <a:gd name="T9" fmla="*/ 8 h 8"/>
                <a:gd name="T10" fmla="*/ 8 w 8"/>
                <a:gd name="T11" fmla="*/ 2 h 8"/>
                <a:gd name="T12" fmla="*/ 7 w 8"/>
                <a:gd name="T13" fmla="*/ 2 h 8"/>
                <a:gd name="T14" fmla="*/ 4 w 8"/>
                <a:gd name="T15" fmla="*/ 0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0"/>
                  </a:moveTo>
                  <a:cubicBezTo>
                    <a:pt x="0" y="1"/>
                    <a:pt x="0" y="1"/>
                    <a:pt x="0" y="1"/>
                  </a:cubicBezTo>
                  <a:cubicBezTo>
                    <a:pt x="1" y="2"/>
                    <a:pt x="2" y="5"/>
                    <a:pt x="2" y="6"/>
                  </a:cubicBezTo>
                  <a:cubicBezTo>
                    <a:pt x="2" y="6"/>
                    <a:pt x="2" y="6"/>
                    <a:pt x="2" y="6"/>
                  </a:cubicBezTo>
                  <a:cubicBezTo>
                    <a:pt x="3" y="6"/>
                    <a:pt x="4" y="7"/>
                    <a:pt x="5" y="8"/>
                  </a:cubicBezTo>
                  <a:cubicBezTo>
                    <a:pt x="6" y="6"/>
                    <a:pt x="7" y="4"/>
                    <a:pt x="8" y="2"/>
                  </a:cubicBezTo>
                  <a:cubicBezTo>
                    <a:pt x="8" y="2"/>
                    <a:pt x="7" y="2"/>
                    <a:pt x="7" y="2"/>
                  </a:cubicBezTo>
                  <a:cubicBezTo>
                    <a:pt x="6" y="2"/>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2" name="Freeform 1468"/>
            <p:cNvSpPr/>
            <p:nvPr/>
          </p:nvSpPr>
          <p:spPr bwMode="auto">
            <a:xfrm>
              <a:off x="7864744" y="6478119"/>
              <a:ext cx="34901" cy="37585"/>
            </a:xfrm>
            <a:custGeom>
              <a:gdLst>
                <a:gd name="T0" fmla="*/ 4 w 11"/>
                <a:gd name="T1" fmla="*/ 0 h 12"/>
                <a:gd name="T2" fmla="*/ 0 w 11"/>
                <a:gd name="T3" fmla="*/ 1 h 12"/>
                <a:gd name="T4" fmla="*/ 3 w 11"/>
                <a:gd name="T5" fmla="*/ 2 h 12"/>
                <a:gd name="T6" fmla="*/ 0 w 11"/>
                <a:gd name="T7" fmla="*/ 6 h 12"/>
                <a:gd name="T8" fmla="*/ 2 w 11"/>
                <a:gd name="T9" fmla="*/ 9 h 12"/>
                <a:gd name="T10" fmla="*/ 5 w 11"/>
                <a:gd name="T11" fmla="*/ 10 h 12"/>
                <a:gd name="T12" fmla="*/ 8 w 11"/>
                <a:gd name="T13" fmla="*/ 12 h 12"/>
                <a:gd name="T14" fmla="*/ 7 w 11"/>
                <a:gd name="T15" fmla="*/ 2 h 12"/>
                <a:gd name="T16" fmla="*/ 5 w 11"/>
                <a:gd name="T17" fmla="*/ 0 h 12"/>
                <a:gd name="T18" fmla="*/ 4 w 11"/>
                <a:gd name="T19"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2">
                  <a:moveTo>
                    <a:pt x="4" y="0"/>
                  </a:moveTo>
                  <a:cubicBezTo>
                    <a:pt x="3" y="0"/>
                    <a:pt x="0" y="0"/>
                    <a:pt x="0" y="1"/>
                  </a:cubicBezTo>
                  <a:cubicBezTo>
                    <a:pt x="0" y="2"/>
                    <a:pt x="3" y="1"/>
                    <a:pt x="3" y="2"/>
                  </a:cubicBezTo>
                  <a:cubicBezTo>
                    <a:pt x="5" y="4"/>
                    <a:pt x="1" y="5"/>
                    <a:pt x="0" y="6"/>
                  </a:cubicBezTo>
                  <a:cubicBezTo>
                    <a:pt x="1" y="7"/>
                    <a:pt x="1" y="8"/>
                    <a:pt x="2" y="9"/>
                  </a:cubicBezTo>
                  <a:cubicBezTo>
                    <a:pt x="3" y="9"/>
                    <a:pt x="4" y="9"/>
                    <a:pt x="5" y="10"/>
                  </a:cubicBezTo>
                  <a:cubicBezTo>
                    <a:pt x="6" y="10"/>
                    <a:pt x="6" y="11"/>
                    <a:pt x="8" y="12"/>
                  </a:cubicBezTo>
                  <a:cubicBezTo>
                    <a:pt x="11" y="8"/>
                    <a:pt x="9" y="6"/>
                    <a:pt x="7" y="2"/>
                  </a:cubicBezTo>
                  <a:cubicBezTo>
                    <a:pt x="7" y="1"/>
                    <a:pt x="6" y="0"/>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Freeform 1469"/>
            <p:cNvSpPr/>
            <p:nvPr/>
          </p:nvSpPr>
          <p:spPr bwMode="auto">
            <a:xfrm>
              <a:off x="7636547" y="6429795"/>
              <a:ext cx="228197" cy="177188"/>
            </a:xfrm>
            <a:custGeom>
              <a:gdLst>
                <a:gd name="T0" fmla="*/ 1 w 72"/>
                <a:gd name="T1" fmla="*/ 0 h 56"/>
                <a:gd name="T2" fmla="*/ 1 w 72"/>
                <a:gd name="T3" fmla="*/ 0 h 56"/>
                <a:gd name="T4" fmla="*/ 8 w 72"/>
                <a:gd name="T5" fmla="*/ 13 h 56"/>
                <a:gd name="T6" fmla="*/ 38 w 72"/>
                <a:gd name="T7" fmla="*/ 40 h 56"/>
                <a:gd name="T8" fmla="*/ 40 w 72"/>
                <a:gd name="T9" fmla="*/ 41 h 56"/>
                <a:gd name="T10" fmla="*/ 40 w 72"/>
                <a:gd name="T11" fmla="*/ 41 h 56"/>
                <a:gd name="T12" fmla="*/ 41 w 72"/>
                <a:gd name="T13" fmla="*/ 40 h 56"/>
                <a:gd name="T14" fmla="*/ 42 w 72"/>
                <a:gd name="T15" fmla="*/ 41 h 56"/>
                <a:gd name="T16" fmla="*/ 46 w 72"/>
                <a:gd name="T17" fmla="*/ 44 h 56"/>
                <a:gd name="T18" fmla="*/ 55 w 72"/>
                <a:gd name="T19" fmla="*/ 50 h 56"/>
                <a:gd name="T20" fmla="*/ 68 w 72"/>
                <a:gd name="T21" fmla="*/ 56 h 56"/>
                <a:gd name="T22" fmla="*/ 72 w 72"/>
                <a:gd name="T23" fmla="*/ 53 h 56"/>
                <a:gd name="T24" fmla="*/ 64 w 72"/>
                <a:gd name="T25" fmla="*/ 45 h 56"/>
                <a:gd name="T26" fmla="*/ 49 w 72"/>
                <a:gd name="T27" fmla="*/ 34 h 56"/>
                <a:gd name="T28" fmla="*/ 33 w 72"/>
                <a:gd name="T29" fmla="*/ 22 h 56"/>
                <a:gd name="T30" fmla="*/ 18 w 72"/>
                <a:gd name="T31" fmla="*/ 10 h 56"/>
                <a:gd name="T32" fmla="*/ 11 w 72"/>
                <a:gd name="T33" fmla="*/ 5 h 56"/>
                <a:gd name="T34" fmla="*/ 10 w 72"/>
                <a:gd name="T35" fmla="*/ 5 h 56"/>
                <a:gd name="T36" fmla="*/ 10 w 72"/>
                <a:gd name="T37" fmla="*/ 5 h 56"/>
                <a:gd name="T38" fmla="*/ 9 w 72"/>
                <a:gd name="T39" fmla="*/ 6 h 56"/>
                <a:gd name="T40" fmla="*/ 8 w 72"/>
                <a:gd name="T41" fmla="*/ 6 h 56"/>
                <a:gd name="T42" fmla="*/ 5 w 72"/>
                <a:gd name="T43" fmla="*/ 4 h 56"/>
                <a:gd name="T44" fmla="*/ 3 w 72"/>
                <a:gd name="T45" fmla="*/ 2 h 56"/>
                <a:gd name="T46" fmla="*/ 1 w 72"/>
                <a:gd name="T47" fmla="*/ 0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56">
                  <a:moveTo>
                    <a:pt x="1" y="0"/>
                  </a:moveTo>
                  <a:cubicBezTo>
                    <a:pt x="1" y="0"/>
                    <a:pt x="1" y="0"/>
                    <a:pt x="1" y="0"/>
                  </a:cubicBezTo>
                  <a:cubicBezTo>
                    <a:pt x="0" y="0"/>
                    <a:pt x="7" y="12"/>
                    <a:pt x="8" y="13"/>
                  </a:cubicBezTo>
                  <a:cubicBezTo>
                    <a:pt x="18" y="23"/>
                    <a:pt x="25" y="35"/>
                    <a:pt x="38" y="40"/>
                  </a:cubicBezTo>
                  <a:cubicBezTo>
                    <a:pt x="39" y="40"/>
                    <a:pt x="39" y="41"/>
                    <a:pt x="40" y="41"/>
                  </a:cubicBezTo>
                  <a:cubicBezTo>
                    <a:pt x="40" y="41"/>
                    <a:pt x="40" y="41"/>
                    <a:pt x="40" y="41"/>
                  </a:cubicBezTo>
                  <a:cubicBezTo>
                    <a:pt x="41" y="40"/>
                    <a:pt x="41" y="40"/>
                    <a:pt x="41" y="40"/>
                  </a:cubicBezTo>
                  <a:cubicBezTo>
                    <a:pt x="41" y="40"/>
                    <a:pt x="42" y="41"/>
                    <a:pt x="42" y="41"/>
                  </a:cubicBezTo>
                  <a:cubicBezTo>
                    <a:pt x="43" y="42"/>
                    <a:pt x="44" y="43"/>
                    <a:pt x="46" y="44"/>
                  </a:cubicBezTo>
                  <a:cubicBezTo>
                    <a:pt x="49" y="46"/>
                    <a:pt x="52" y="48"/>
                    <a:pt x="55" y="50"/>
                  </a:cubicBezTo>
                  <a:cubicBezTo>
                    <a:pt x="57" y="52"/>
                    <a:pt x="64" y="56"/>
                    <a:pt x="68" y="56"/>
                  </a:cubicBezTo>
                  <a:cubicBezTo>
                    <a:pt x="70" y="56"/>
                    <a:pt x="71" y="55"/>
                    <a:pt x="72" y="53"/>
                  </a:cubicBezTo>
                  <a:cubicBezTo>
                    <a:pt x="72" y="50"/>
                    <a:pt x="66" y="47"/>
                    <a:pt x="64" y="45"/>
                  </a:cubicBezTo>
                  <a:cubicBezTo>
                    <a:pt x="59" y="42"/>
                    <a:pt x="54" y="37"/>
                    <a:pt x="49" y="34"/>
                  </a:cubicBezTo>
                  <a:cubicBezTo>
                    <a:pt x="43" y="31"/>
                    <a:pt x="37" y="27"/>
                    <a:pt x="33" y="22"/>
                  </a:cubicBezTo>
                  <a:cubicBezTo>
                    <a:pt x="29" y="17"/>
                    <a:pt x="23" y="14"/>
                    <a:pt x="18" y="10"/>
                  </a:cubicBezTo>
                  <a:cubicBezTo>
                    <a:pt x="15" y="8"/>
                    <a:pt x="13" y="7"/>
                    <a:pt x="11" y="5"/>
                  </a:cubicBezTo>
                  <a:cubicBezTo>
                    <a:pt x="11" y="5"/>
                    <a:pt x="11" y="5"/>
                    <a:pt x="10" y="5"/>
                  </a:cubicBezTo>
                  <a:cubicBezTo>
                    <a:pt x="10" y="5"/>
                    <a:pt x="10" y="5"/>
                    <a:pt x="10" y="5"/>
                  </a:cubicBezTo>
                  <a:cubicBezTo>
                    <a:pt x="10" y="6"/>
                    <a:pt x="9" y="6"/>
                    <a:pt x="9" y="6"/>
                  </a:cubicBezTo>
                  <a:cubicBezTo>
                    <a:pt x="9" y="6"/>
                    <a:pt x="9" y="6"/>
                    <a:pt x="8" y="6"/>
                  </a:cubicBezTo>
                  <a:cubicBezTo>
                    <a:pt x="7" y="6"/>
                    <a:pt x="6" y="5"/>
                    <a:pt x="5" y="4"/>
                  </a:cubicBezTo>
                  <a:cubicBezTo>
                    <a:pt x="4" y="3"/>
                    <a:pt x="4" y="3"/>
                    <a:pt x="3"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Freeform 1470"/>
            <p:cNvSpPr/>
            <p:nvPr/>
          </p:nvSpPr>
          <p:spPr bwMode="auto">
            <a:xfrm>
              <a:off x="449682" y="3077979"/>
              <a:ext cx="16108" cy="22820"/>
            </a:xfrm>
            <a:custGeom>
              <a:gdLst>
                <a:gd name="T0" fmla="*/ 1 w 5"/>
                <a:gd name="T1" fmla="*/ 0 h 7"/>
                <a:gd name="T2" fmla="*/ 2 w 5"/>
                <a:gd name="T3" fmla="*/ 2 h 7"/>
                <a:gd name="T4" fmla="*/ 1 w 5"/>
                <a:gd name="T5" fmla="*/ 1 h 7"/>
                <a:gd name="T6" fmla="*/ 0 w 5"/>
                <a:gd name="T7" fmla="*/ 7 h 7"/>
                <a:gd name="T8" fmla="*/ 5 w 5"/>
                <a:gd name="T9" fmla="*/ 2 h 7"/>
                <a:gd name="T10" fmla="*/ 2 w 5"/>
                <a:gd name="T11" fmla="*/ 2 h 7"/>
                <a:gd name="T12" fmla="*/ 5 w 5"/>
                <a:gd name="T13" fmla="*/ 2 h 7"/>
                <a:gd name="T14" fmla="*/ 5 w 5"/>
                <a:gd name="T15" fmla="*/ 2 h 7"/>
                <a:gd name="T16" fmla="*/ 1 w 5"/>
                <a:gd name="T17"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1" y="0"/>
                  </a:moveTo>
                  <a:cubicBezTo>
                    <a:pt x="1" y="1"/>
                    <a:pt x="2" y="1"/>
                    <a:pt x="2" y="2"/>
                  </a:cubicBezTo>
                  <a:cubicBezTo>
                    <a:pt x="2" y="1"/>
                    <a:pt x="1" y="1"/>
                    <a:pt x="1" y="1"/>
                  </a:cubicBezTo>
                  <a:cubicBezTo>
                    <a:pt x="0" y="3"/>
                    <a:pt x="0" y="5"/>
                    <a:pt x="0" y="7"/>
                  </a:cubicBezTo>
                  <a:cubicBezTo>
                    <a:pt x="5" y="6"/>
                    <a:pt x="2" y="4"/>
                    <a:pt x="5" y="2"/>
                  </a:cubicBezTo>
                  <a:cubicBezTo>
                    <a:pt x="4" y="2"/>
                    <a:pt x="3" y="2"/>
                    <a:pt x="2" y="2"/>
                  </a:cubicBezTo>
                  <a:cubicBezTo>
                    <a:pt x="3" y="2"/>
                    <a:pt x="4" y="2"/>
                    <a:pt x="5" y="2"/>
                  </a:cubicBezTo>
                  <a:cubicBezTo>
                    <a:pt x="5" y="2"/>
                    <a:pt x="5" y="2"/>
                    <a:pt x="5" y="2"/>
                  </a:cubicBezTo>
                  <a:cubicBezTo>
                    <a:pt x="4" y="1"/>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1471"/>
            <p:cNvSpPr/>
            <p:nvPr/>
          </p:nvSpPr>
          <p:spPr bwMode="auto">
            <a:xfrm>
              <a:off x="430890" y="3075295"/>
              <a:ext cx="16108" cy="18793"/>
            </a:xfrm>
            <a:custGeom>
              <a:gdLst>
                <a:gd name="T0" fmla="*/ 5 w 5"/>
                <a:gd name="T1" fmla="*/ 0 h 6"/>
                <a:gd name="T2" fmla="*/ 1 w 5"/>
                <a:gd name="T3" fmla="*/ 4 h 6"/>
                <a:gd name="T4" fmla="*/ 2 w 5"/>
                <a:gd name="T5" fmla="*/ 6 h 6"/>
                <a:gd name="T6" fmla="*/ 5 w 5"/>
                <a:gd name="T7" fmla="*/ 4 h 6"/>
                <a:gd name="T8" fmla="*/ 5 w 5"/>
                <a:gd name="T9" fmla="*/ 0 h 6"/>
              </a:gdLst>
              <a:cxnLst>
                <a:cxn ang="0">
                  <a:pos x="T0" y="T1"/>
                </a:cxn>
                <a:cxn ang="0">
                  <a:pos x="T2" y="T3"/>
                </a:cxn>
                <a:cxn ang="0">
                  <a:pos x="T4" y="T5"/>
                </a:cxn>
                <a:cxn ang="0">
                  <a:pos x="T6" y="T7"/>
                </a:cxn>
                <a:cxn ang="0">
                  <a:pos x="T8" y="T9"/>
                </a:cxn>
              </a:cxnLst>
              <a:rect l="0" t="0" r="r" b="b"/>
              <a:pathLst>
                <a:path w="5" h="6">
                  <a:moveTo>
                    <a:pt x="5" y="0"/>
                  </a:moveTo>
                  <a:cubicBezTo>
                    <a:pt x="3" y="2"/>
                    <a:pt x="0" y="1"/>
                    <a:pt x="1" y="4"/>
                  </a:cubicBezTo>
                  <a:cubicBezTo>
                    <a:pt x="1" y="5"/>
                    <a:pt x="2" y="6"/>
                    <a:pt x="2" y="6"/>
                  </a:cubicBezTo>
                  <a:cubicBezTo>
                    <a:pt x="3" y="6"/>
                    <a:pt x="4" y="5"/>
                    <a:pt x="5" y="4"/>
                  </a:cubicBezTo>
                  <a:cubicBezTo>
                    <a:pt x="5"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Freeform 1472"/>
            <p:cNvSpPr/>
            <p:nvPr/>
          </p:nvSpPr>
          <p:spPr bwMode="auto">
            <a:xfrm>
              <a:off x="456394" y="3082006"/>
              <a:ext cx="18793" cy="18793"/>
            </a:xfrm>
            <a:custGeom>
              <a:gdLst>
                <a:gd name="T0" fmla="*/ 5 w 6"/>
                <a:gd name="T1" fmla="*/ 0 h 6"/>
                <a:gd name="T2" fmla="*/ 5 w 6"/>
                <a:gd name="T3" fmla="*/ 6 h 6"/>
                <a:gd name="T4" fmla="*/ 5 w 6"/>
                <a:gd name="T5" fmla="*/ 0 h 6"/>
              </a:gdLst>
              <a:cxnLst>
                <a:cxn ang="0">
                  <a:pos x="T0" y="T1"/>
                </a:cxn>
                <a:cxn ang="0">
                  <a:pos x="T2" y="T3"/>
                </a:cxn>
                <a:cxn ang="0">
                  <a:pos x="T4" y="T5"/>
                </a:cxn>
              </a:cxnLst>
              <a:rect l="0" t="0" r="r" b="b"/>
              <a:pathLst>
                <a:path w="6" h="6">
                  <a:moveTo>
                    <a:pt x="5" y="0"/>
                  </a:moveTo>
                  <a:cubicBezTo>
                    <a:pt x="0" y="3"/>
                    <a:pt x="2" y="4"/>
                    <a:pt x="5" y="6"/>
                  </a:cubicBezTo>
                  <a:cubicBezTo>
                    <a:pt x="6" y="4"/>
                    <a:pt x="5"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Freeform 1473"/>
            <p:cNvSpPr/>
            <p:nvPr/>
          </p:nvSpPr>
          <p:spPr bwMode="auto">
            <a:xfrm>
              <a:off x="2182638" y="3177312"/>
              <a:ext cx="16108" cy="21477"/>
            </a:xfrm>
            <a:custGeom>
              <a:gdLst>
                <a:gd name="T0" fmla="*/ 0 w 5"/>
                <a:gd name="T1" fmla="*/ 0 h 7"/>
                <a:gd name="T2" fmla="*/ 2 w 5"/>
                <a:gd name="T3" fmla="*/ 7 h 7"/>
                <a:gd name="T4" fmla="*/ 0 w 5"/>
                <a:gd name="T5" fmla="*/ 0 h 7"/>
              </a:gdLst>
              <a:cxnLst>
                <a:cxn ang="0">
                  <a:pos x="T0" y="T1"/>
                </a:cxn>
                <a:cxn ang="0">
                  <a:pos x="T2" y="T3"/>
                </a:cxn>
                <a:cxn ang="0">
                  <a:pos x="T4" y="T5"/>
                </a:cxn>
              </a:cxnLst>
              <a:rect l="0" t="0" r="r" b="b"/>
              <a:pathLst>
                <a:path w="5" h="7">
                  <a:moveTo>
                    <a:pt x="0" y="0"/>
                  </a:moveTo>
                  <a:cubicBezTo>
                    <a:pt x="0" y="2"/>
                    <a:pt x="1" y="4"/>
                    <a:pt x="2" y="7"/>
                  </a:cubicBezTo>
                  <a:cubicBezTo>
                    <a:pt x="5" y="5"/>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Freeform 1474"/>
            <p:cNvSpPr/>
            <p:nvPr/>
          </p:nvSpPr>
          <p:spPr bwMode="auto">
            <a:xfrm>
              <a:off x="2375934" y="3482023"/>
              <a:ext cx="16108" cy="16108"/>
            </a:xfrm>
            <a:custGeom>
              <a:gdLst>
                <a:gd name="T0" fmla="*/ 3 w 5"/>
                <a:gd name="T1" fmla="*/ 0 h 5"/>
                <a:gd name="T2" fmla="*/ 0 w 5"/>
                <a:gd name="T3" fmla="*/ 1 h 5"/>
                <a:gd name="T4" fmla="*/ 3 w 5"/>
                <a:gd name="T5" fmla="*/ 5 h 5"/>
                <a:gd name="T6" fmla="*/ 3 w 5"/>
                <a:gd name="T7" fmla="*/ 5 h 5"/>
                <a:gd name="T8" fmla="*/ 4 w 5"/>
                <a:gd name="T9" fmla="*/ 5 h 5"/>
                <a:gd name="T10" fmla="*/ 5 w 5"/>
                <a:gd name="T11" fmla="*/ 3 h 5"/>
                <a:gd name="T12" fmla="*/ 3 w 5"/>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5" h="5">
                  <a:moveTo>
                    <a:pt x="3" y="0"/>
                  </a:moveTo>
                  <a:cubicBezTo>
                    <a:pt x="2" y="1"/>
                    <a:pt x="1" y="1"/>
                    <a:pt x="0" y="1"/>
                  </a:cubicBezTo>
                  <a:cubicBezTo>
                    <a:pt x="0" y="2"/>
                    <a:pt x="1" y="4"/>
                    <a:pt x="3" y="5"/>
                  </a:cubicBezTo>
                  <a:cubicBezTo>
                    <a:pt x="3" y="5"/>
                    <a:pt x="3" y="5"/>
                    <a:pt x="3" y="5"/>
                  </a:cubicBezTo>
                  <a:cubicBezTo>
                    <a:pt x="3" y="5"/>
                    <a:pt x="4" y="5"/>
                    <a:pt x="4" y="5"/>
                  </a:cubicBezTo>
                  <a:cubicBezTo>
                    <a:pt x="5" y="5"/>
                    <a:pt x="5" y="4"/>
                    <a:pt x="5" y="3"/>
                  </a:cubicBezTo>
                  <a:cubicBezTo>
                    <a:pt x="5" y="2"/>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1475"/>
            <p:cNvSpPr/>
            <p:nvPr/>
          </p:nvSpPr>
          <p:spPr bwMode="auto">
            <a:xfrm>
              <a:off x="3899485" y="3205501"/>
              <a:ext cx="5369" cy="6712"/>
            </a:xfrm>
            <a:custGeom>
              <a:gdLst>
                <a:gd name="T0" fmla="*/ 2 w 2"/>
                <a:gd name="T1" fmla="*/ 0 h 2"/>
                <a:gd name="T2" fmla="*/ 0 w 2"/>
                <a:gd name="T3" fmla="*/ 2 h 2"/>
                <a:gd name="T4" fmla="*/ 1 w 2"/>
                <a:gd name="T5" fmla="*/ 2 h 2"/>
                <a:gd name="T6" fmla="*/ 2 w 2"/>
                <a:gd name="T7" fmla="*/ 0 h 2"/>
              </a:gdLst>
              <a:cxnLst>
                <a:cxn ang="0">
                  <a:pos x="T0" y="T1"/>
                </a:cxn>
                <a:cxn ang="0">
                  <a:pos x="T2" y="T3"/>
                </a:cxn>
                <a:cxn ang="0">
                  <a:pos x="T4" y="T5"/>
                </a:cxn>
                <a:cxn ang="0">
                  <a:pos x="T6" y="T7"/>
                </a:cxn>
              </a:cxnLst>
              <a:rect l="0" t="0" r="r" b="b"/>
              <a:pathLst>
                <a:path w="2" h="2">
                  <a:moveTo>
                    <a:pt x="2" y="0"/>
                  </a:moveTo>
                  <a:cubicBezTo>
                    <a:pt x="1" y="0"/>
                    <a:pt x="1" y="1"/>
                    <a:pt x="0" y="2"/>
                  </a:cubicBezTo>
                  <a:cubicBezTo>
                    <a:pt x="1" y="2"/>
                    <a:pt x="1" y="2"/>
                    <a:pt x="1" y="2"/>
                  </a:cubicBezTo>
                  <a:cubicBezTo>
                    <a:pt x="1"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Freeform 1476"/>
            <p:cNvSpPr/>
            <p:nvPr/>
          </p:nvSpPr>
          <p:spPr bwMode="auto">
            <a:xfrm>
              <a:off x="3864584" y="3161204"/>
              <a:ext cx="5369" cy="6712"/>
            </a:xfrm>
            <a:custGeom>
              <a:gdLst>
                <a:gd name="T0" fmla="*/ 1 w 2"/>
                <a:gd name="T1" fmla="*/ 0 h 2"/>
                <a:gd name="T2" fmla="*/ 0 w 2"/>
                <a:gd name="T3" fmla="*/ 2 h 2"/>
                <a:gd name="T4" fmla="*/ 1 w 2"/>
                <a:gd name="T5" fmla="*/ 0 h 2"/>
              </a:gdLst>
              <a:cxnLst>
                <a:cxn ang="0">
                  <a:pos x="T0" y="T1"/>
                </a:cxn>
                <a:cxn ang="0">
                  <a:pos x="T2" y="T3"/>
                </a:cxn>
                <a:cxn ang="0">
                  <a:pos x="T4" y="T5"/>
                </a:cxn>
              </a:cxnLst>
              <a:rect l="0" t="0" r="r" b="b"/>
              <a:pathLst>
                <a:path w="2" h="2">
                  <a:moveTo>
                    <a:pt x="1" y="0"/>
                  </a:moveTo>
                  <a:cubicBezTo>
                    <a:pt x="1" y="1"/>
                    <a:pt x="1" y="1"/>
                    <a:pt x="0" y="2"/>
                  </a:cubicBezTo>
                  <a:cubicBezTo>
                    <a:pt x="1"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1477"/>
            <p:cNvSpPr/>
            <p:nvPr/>
          </p:nvSpPr>
          <p:spPr bwMode="auto">
            <a:xfrm>
              <a:off x="3835053" y="6820415"/>
              <a:ext cx="4027" cy="18793"/>
            </a:xfrm>
            <a:custGeom>
              <a:gdLst>
                <a:gd name="T0" fmla="*/ 1 w 1"/>
                <a:gd name="T1" fmla="*/ 0 h 6"/>
                <a:gd name="T2" fmla="*/ 0 w 1"/>
                <a:gd name="T3" fmla="*/ 6 h 6"/>
                <a:gd name="T4" fmla="*/ 1 w 1"/>
                <a:gd name="T5" fmla="*/ 0 h 6"/>
              </a:gdLst>
              <a:cxnLst>
                <a:cxn ang="0">
                  <a:pos x="T0" y="T1"/>
                </a:cxn>
                <a:cxn ang="0">
                  <a:pos x="T2" y="T3"/>
                </a:cxn>
                <a:cxn ang="0">
                  <a:pos x="T4" y="T5"/>
                </a:cxn>
              </a:cxnLst>
              <a:rect l="0" t="0" r="r" b="b"/>
              <a:pathLst>
                <a:path w="1" h="6">
                  <a:moveTo>
                    <a:pt x="1" y="0"/>
                  </a:moveTo>
                  <a:cubicBezTo>
                    <a:pt x="1" y="2"/>
                    <a:pt x="1" y="4"/>
                    <a:pt x="0" y="6"/>
                  </a:cubicBezTo>
                  <a:cubicBezTo>
                    <a:pt x="1" y="4"/>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Freeform 1478"/>
            <p:cNvSpPr/>
            <p:nvPr/>
          </p:nvSpPr>
          <p:spPr bwMode="auto">
            <a:xfrm>
              <a:off x="3829684" y="6855315"/>
              <a:ext cx="2685" cy="2685"/>
            </a:xfrm>
            <a:custGeom>
              <a:gdLst>
                <a:gd name="T0" fmla="*/ 0 w 1"/>
                <a:gd name="T1" fmla="*/ 0 h 1"/>
                <a:gd name="T2" fmla="*/ 0 w 1"/>
                <a:gd name="T3" fmla="*/ 1 h 1"/>
                <a:gd name="T4" fmla="*/ 1 w 1"/>
                <a:gd name="T5" fmla="*/ 1 h 1"/>
                <a:gd name="T6" fmla="*/ 1 w 1"/>
                <a:gd name="T7" fmla="*/ 0 h 1"/>
                <a:gd name="T8" fmla="*/ 0 w 1"/>
                <a:gd name="T9" fmla="*/ 0 h 1"/>
              </a:gd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1" y="1"/>
                    <a:pt x="1" y="1"/>
                    <a:pt x="1" y="1"/>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Freeform 1479"/>
            <p:cNvSpPr>
              <a:spLocks noEditPoints="1"/>
            </p:cNvSpPr>
            <p:nvPr/>
          </p:nvSpPr>
          <p:spPr bwMode="auto">
            <a:xfrm>
              <a:off x="3860557" y="5712987"/>
              <a:ext cx="2951796" cy="1145013"/>
            </a:xfrm>
            <a:custGeom>
              <a:gdLst>
                <a:gd name="T0" fmla="*/ 247 w 930"/>
                <a:gd name="T1" fmla="*/ 156 h 361"/>
                <a:gd name="T2" fmla="*/ 666 w 930"/>
                <a:gd name="T3" fmla="*/ 42 h 361"/>
                <a:gd name="T4" fmla="*/ 666 w 930"/>
                <a:gd name="T5" fmla="*/ 60 h 361"/>
                <a:gd name="T6" fmla="*/ 664 w 930"/>
                <a:gd name="T7" fmla="*/ 109 h 361"/>
                <a:gd name="T8" fmla="*/ 627 w 930"/>
                <a:gd name="T9" fmla="*/ 168 h 361"/>
                <a:gd name="T10" fmla="*/ 554 w 930"/>
                <a:gd name="T11" fmla="*/ 124 h 361"/>
                <a:gd name="T12" fmla="*/ 526 w 930"/>
                <a:gd name="T13" fmla="*/ 87 h 361"/>
                <a:gd name="T14" fmla="*/ 532 w 930"/>
                <a:gd name="T15" fmla="*/ 62 h 361"/>
                <a:gd name="T16" fmla="*/ 543 w 930"/>
                <a:gd name="T17" fmla="*/ 49 h 361"/>
                <a:gd name="T18" fmla="*/ 538 w 930"/>
                <a:gd name="T19" fmla="*/ 34 h 361"/>
                <a:gd name="T20" fmla="*/ 526 w 930"/>
                <a:gd name="T21" fmla="*/ 38 h 361"/>
                <a:gd name="T22" fmla="*/ 524 w 930"/>
                <a:gd name="T23" fmla="*/ 32 h 361"/>
                <a:gd name="T24" fmla="*/ 492 w 930"/>
                <a:gd name="T25" fmla="*/ 32 h 361"/>
                <a:gd name="T26" fmla="*/ 462 w 930"/>
                <a:gd name="T27" fmla="*/ 18 h 361"/>
                <a:gd name="T28" fmla="*/ 442 w 930"/>
                <a:gd name="T29" fmla="*/ 10 h 361"/>
                <a:gd name="T30" fmla="*/ 439 w 930"/>
                <a:gd name="T31" fmla="*/ 17 h 361"/>
                <a:gd name="T32" fmla="*/ 454 w 930"/>
                <a:gd name="T33" fmla="*/ 22 h 361"/>
                <a:gd name="T34" fmla="*/ 435 w 930"/>
                <a:gd name="T35" fmla="*/ 38 h 361"/>
                <a:gd name="T36" fmla="*/ 412 w 930"/>
                <a:gd name="T37" fmla="*/ 40 h 361"/>
                <a:gd name="T38" fmla="*/ 406 w 930"/>
                <a:gd name="T39" fmla="*/ 47 h 361"/>
                <a:gd name="T40" fmla="*/ 385 w 930"/>
                <a:gd name="T41" fmla="*/ 74 h 361"/>
                <a:gd name="T42" fmla="*/ 390 w 930"/>
                <a:gd name="T43" fmla="*/ 98 h 361"/>
                <a:gd name="T44" fmla="*/ 373 w 930"/>
                <a:gd name="T45" fmla="*/ 105 h 361"/>
                <a:gd name="T46" fmla="*/ 354 w 930"/>
                <a:gd name="T47" fmla="*/ 99 h 361"/>
                <a:gd name="T48" fmla="*/ 346 w 930"/>
                <a:gd name="T49" fmla="*/ 103 h 361"/>
                <a:gd name="T50" fmla="*/ 327 w 930"/>
                <a:gd name="T51" fmla="*/ 77 h 361"/>
                <a:gd name="T52" fmla="*/ 311 w 930"/>
                <a:gd name="T53" fmla="*/ 84 h 361"/>
                <a:gd name="T54" fmla="*/ 301 w 930"/>
                <a:gd name="T55" fmla="*/ 78 h 361"/>
                <a:gd name="T56" fmla="*/ 297 w 930"/>
                <a:gd name="T57" fmla="*/ 89 h 361"/>
                <a:gd name="T58" fmla="*/ 290 w 930"/>
                <a:gd name="T59" fmla="*/ 85 h 361"/>
                <a:gd name="T60" fmla="*/ 278 w 930"/>
                <a:gd name="T61" fmla="*/ 99 h 361"/>
                <a:gd name="T62" fmla="*/ 283 w 930"/>
                <a:gd name="T63" fmla="*/ 106 h 361"/>
                <a:gd name="T64" fmla="*/ 273 w 930"/>
                <a:gd name="T65" fmla="*/ 110 h 361"/>
                <a:gd name="T66" fmla="*/ 266 w 930"/>
                <a:gd name="T67" fmla="*/ 109 h 361"/>
                <a:gd name="T68" fmla="*/ 260 w 930"/>
                <a:gd name="T69" fmla="*/ 128 h 361"/>
                <a:gd name="T70" fmla="*/ 268 w 930"/>
                <a:gd name="T71" fmla="*/ 136 h 361"/>
                <a:gd name="T72" fmla="*/ 249 w 930"/>
                <a:gd name="T73" fmla="*/ 136 h 361"/>
                <a:gd name="T74" fmla="*/ 243 w 930"/>
                <a:gd name="T75" fmla="*/ 136 h 361"/>
                <a:gd name="T76" fmla="*/ 238 w 930"/>
                <a:gd name="T77" fmla="*/ 138 h 361"/>
                <a:gd name="T78" fmla="*/ 245 w 930"/>
                <a:gd name="T79" fmla="*/ 148 h 361"/>
                <a:gd name="T80" fmla="*/ 232 w 930"/>
                <a:gd name="T81" fmla="*/ 151 h 361"/>
                <a:gd name="T82" fmla="*/ 222 w 930"/>
                <a:gd name="T83" fmla="*/ 145 h 361"/>
                <a:gd name="T84" fmla="*/ 200 w 930"/>
                <a:gd name="T85" fmla="*/ 185 h 361"/>
                <a:gd name="T86" fmla="*/ 138 w 930"/>
                <a:gd name="T87" fmla="*/ 223 h 361"/>
                <a:gd name="T88" fmla="*/ 89 w 930"/>
                <a:gd name="T89" fmla="*/ 240 h 361"/>
                <a:gd name="T90" fmla="*/ 74 w 930"/>
                <a:gd name="T91" fmla="*/ 242 h 361"/>
                <a:gd name="T92" fmla="*/ 10 w 930"/>
                <a:gd name="T93" fmla="*/ 281 h 361"/>
                <a:gd name="T94" fmla="*/ 14 w 930"/>
                <a:gd name="T95" fmla="*/ 361 h 361"/>
                <a:gd name="T96" fmla="*/ 906 w 930"/>
                <a:gd name="T97" fmla="*/ 328 h 361"/>
                <a:gd name="T98" fmla="*/ 879 w 930"/>
                <a:gd name="T99" fmla="*/ 301 h 361"/>
                <a:gd name="T100" fmla="*/ 879 w 930"/>
                <a:gd name="T101" fmla="*/ 285 h 361"/>
                <a:gd name="T102" fmla="*/ 854 w 930"/>
                <a:gd name="T103" fmla="*/ 285 h 361"/>
                <a:gd name="T104" fmla="*/ 836 w 930"/>
                <a:gd name="T105" fmla="*/ 237 h 361"/>
                <a:gd name="T106" fmla="*/ 807 w 930"/>
                <a:gd name="T107" fmla="*/ 220 h 361"/>
                <a:gd name="T108" fmla="*/ 792 w 930"/>
                <a:gd name="T109" fmla="*/ 204 h 361"/>
                <a:gd name="T110" fmla="*/ 769 w 930"/>
                <a:gd name="T111" fmla="*/ 182 h 361"/>
                <a:gd name="T112" fmla="*/ 753 w 930"/>
                <a:gd name="T113" fmla="*/ 126 h 361"/>
                <a:gd name="T114" fmla="*/ 731 w 930"/>
                <a:gd name="T115" fmla="*/ 84 h 361"/>
                <a:gd name="T116" fmla="*/ 716 w 930"/>
                <a:gd name="T117" fmla="*/ 90 h 361"/>
                <a:gd name="T118" fmla="*/ 700 w 930"/>
                <a:gd name="T119" fmla="*/ 39 h 361"/>
                <a:gd name="T120" fmla="*/ 685 w 930"/>
                <a:gd name="T121" fmla="*/ 6 h 3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0" h="361">
                  <a:moveTo>
                    <a:pt x="2" y="360"/>
                  </a:moveTo>
                  <a:cubicBezTo>
                    <a:pt x="2" y="360"/>
                    <a:pt x="2" y="360"/>
                    <a:pt x="2" y="361"/>
                  </a:cubicBezTo>
                  <a:cubicBezTo>
                    <a:pt x="2" y="361"/>
                    <a:pt x="2" y="361"/>
                    <a:pt x="2" y="361"/>
                  </a:cubicBezTo>
                  <a:cubicBezTo>
                    <a:pt x="2" y="360"/>
                    <a:pt x="2" y="360"/>
                    <a:pt x="2" y="360"/>
                  </a:cubicBezTo>
                  <a:moveTo>
                    <a:pt x="664" y="43"/>
                  </a:moveTo>
                  <a:cubicBezTo>
                    <a:pt x="664" y="43"/>
                    <a:pt x="664" y="43"/>
                    <a:pt x="664" y="44"/>
                  </a:cubicBezTo>
                  <a:cubicBezTo>
                    <a:pt x="664" y="43"/>
                    <a:pt x="664" y="43"/>
                    <a:pt x="664" y="43"/>
                  </a:cubicBezTo>
                  <a:moveTo>
                    <a:pt x="247" y="156"/>
                  </a:moveTo>
                  <a:cubicBezTo>
                    <a:pt x="247" y="156"/>
                    <a:pt x="247" y="156"/>
                    <a:pt x="247" y="156"/>
                  </a:cubicBezTo>
                  <a:cubicBezTo>
                    <a:pt x="247" y="156"/>
                    <a:pt x="247" y="156"/>
                    <a:pt x="247" y="156"/>
                  </a:cubicBezTo>
                  <a:moveTo>
                    <a:pt x="685" y="0"/>
                  </a:moveTo>
                  <a:cubicBezTo>
                    <a:pt x="684" y="0"/>
                    <a:pt x="677" y="5"/>
                    <a:pt x="676" y="6"/>
                  </a:cubicBezTo>
                  <a:cubicBezTo>
                    <a:pt x="675" y="14"/>
                    <a:pt x="673" y="23"/>
                    <a:pt x="671" y="31"/>
                  </a:cubicBezTo>
                  <a:cubicBezTo>
                    <a:pt x="671" y="31"/>
                    <a:pt x="671" y="30"/>
                    <a:pt x="670" y="30"/>
                  </a:cubicBezTo>
                  <a:cubicBezTo>
                    <a:pt x="667" y="32"/>
                    <a:pt x="666" y="39"/>
                    <a:pt x="664" y="43"/>
                  </a:cubicBezTo>
                  <a:cubicBezTo>
                    <a:pt x="664" y="42"/>
                    <a:pt x="665" y="42"/>
                    <a:pt x="666" y="42"/>
                  </a:cubicBezTo>
                  <a:cubicBezTo>
                    <a:pt x="666" y="42"/>
                    <a:pt x="667" y="42"/>
                    <a:pt x="668" y="42"/>
                  </a:cubicBezTo>
                  <a:cubicBezTo>
                    <a:pt x="670" y="44"/>
                    <a:pt x="671" y="44"/>
                    <a:pt x="671" y="47"/>
                  </a:cubicBezTo>
                  <a:cubicBezTo>
                    <a:pt x="671" y="49"/>
                    <a:pt x="672" y="50"/>
                    <a:pt x="671" y="52"/>
                  </a:cubicBezTo>
                  <a:cubicBezTo>
                    <a:pt x="671" y="51"/>
                    <a:pt x="671" y="47"/>
                    <a:pt x="669" y="47"/>
                  </a:cubicBezTo>
                  <a:cubicBezTo>
                    <a:pt x="669" y="47"/>
                    <a:pt x="669" y="47"/>
                    <a:pt x="669" y="47"/>
                  </a:cubicBezTo>
                  <a:cubicBezTo>
                    <a:pt x="669" y="47"/>
                    <a:pt x="669" y="47"/>
                    <a:pt x="669" y="47"/>
                  </a:cubicBezTo>
                  <a:cubicBezTo>
                    <a:pt x="667" y="48"/>
                    <a:pt x="666" y="51"/>
                    <a:pt x="664" y="52"/>
                  </a:cubicBezTo>
                  <a:cubicBezTo>
                    <a:pt x="665" y="55"/>
                    <a:pt x="666" y="58"/>
                    <a:pt x="666" y="60"/>
                  </a:cubicBezTo>
                  <a:cubicBezTo>
                    <a:pt x="665" y="62"/>
                    <a:pt x="663" y="65"/>
                    <a:pt x="663" y="67"/>
                  </a:cubicBezTo>
                  <a:cubicBezTo>
                    <a:pt x="662" y="68"/>
                    <a:pt x="662" y="69"/>
                    <a:pt x="662" y="70"/>
                  </a:cubicBezTo>
                  <a:cubicBezTo>
                    <a:pt x="661" y="71"/>
                    <a:pt x="661" y="72"/>
                    <a:pt x="661" y="74"/>
                  </a:cubicBezTo>
                  <a:cubicBezTo>
                    <a:pt x="661" y="75"/>
                    <a:pt x="662" y="77"/>
                    <a:pt x="662" y="79"/>
                  </a:cubicBezTo>
                  <a:cubicBezTo>
                    <a:pt x="664" y="82"/>
                    <a:pt x="664" y="84"/>
                    <a:pt x="663" y="89"/>
                  </a:cubicBezTo>
                  <a:cubicBezTo>
                    <a:pt x="663" y="92"/>
                    <a:pt x="663" y="95"/>
                    <a:pt x="664" y="98"/>
                  </a:cubicBezTo>
                  <a:cubicBezTo>
                    <a:pt x="664" y="100"/>
                    <a:pt x="664" y="100"/>
                    <a:pt x="665" y="102"/>
                  </a:cubicBezTo>
                  <a:cubicBezTo>
                    <a:pt x="665" y="104"/>
                    <a:pt x="665" y="106"/>
                    <a:pt x="664" y="109"/>
                  </a:cubicBezTo>
                  <a:cubicBezTo>
                    <a:pt x="662" y="114"/>
                    <a:pt x="660" y="119"/>
                    <a:pt x="659" y="125"/>
                  </a:cubicBezTo>
                  <a:cubicBezTo>
                    <a:pt x="659" y="126"/>
                    <a:pt x="660" y="127"/>
                    <a:pt x="660" y="128"/>
                  </a:cubicBezTo>
                  <a:cubicBezTo>
                    <a:pt x="660" y="130"/>
                    <a:pt x="658" y="133"/>
                    <a:pt x="657" y="134"/>
                  </a:cubicBezTo>
                  <a:cubicBezTo>
                    <a:pt x="655" y="139"/>
                    <a:pt x="653" y="144"/>
                    <a:pt x="651" y="149"/>
                  </a:cubicBezTo>
                  <a:cubicBezTo>
                    <a:pt x="650" y="153"/>
                    <a:pt x="648" y="158"/>
                    <a:pt x="646" y="161"/>
                  </a:cubicBezTo>
                  <a:cubicBezTo>
                    <a:pt x="643" y="164"/>
                    <a:pt x="639" y="166"/>
                    <a:pt x="634" y="167"/>
                  </a:cubicBezTo>
                  <a:cubicBezTo>
                    <a:pt x="633" y="168"/>
                    <a:pt x="630" y="168"/>
                    <a:pt x="629" y="168"/>
                  </a:cubicBezTo>
                  <a:cubicBezTo>
                    <a:pt x="628" y="168"/>
                    <a:pt x="628" y="168"/>
                    <a:pt x="627" y="168"/>
                  </a:cubicBezTo>
                  <a:cubicBezTo>
                    <a:pt x="623" y="168"/>
                    <a:pt x="620" y="163"/>
                    <a:pt x="617" y="161"/>
                  </a:cubicBezTo>
                  <a:cubicBezTo>
                    <a:pt x="614" y="159"/>
                    <a:pt x="610" y="156"/>
                    <a:pt x="607" y="154"/>
                  </a:cubicBezTo>
                  <a:cubicBezTo>
                    <a:pt x="605" y="153"/>
                    <a:pt x="607" y="152"/>
                    <a:pt x="605" y="151"/>
                  </a:cubicBezTo>
                  <a:cubicBezTo>
                    <a:pt x="603" y="149"/>
                    <a:pt x="602" y="148"/>
                    <a:pt x="599" y="147"/>
                  </a:cubicBezTo>
                  <a:cubicBezTo>
                    <a:pt x="592" y="145"/>
                    <a:pt x="586" y="142"/>
                    <a:pt x="579" y="140"/>
                  </a:cubicBezTo>
                  <a:cubicBezTo>
                    <a:pt x="579" y="140"/>
                    <a:pt x="579" y="140"/>
                    <a:pt x="579" y="140"/>
                  </a:cubicBezTo>
                  <a:cubicBezTo>
                    <a:pt x="579" y="139"/>
                    <a:pt x="569" y="134"/>
                    <a:pt x="567" y="133"/>
                  </a:cubicBezTo>
                  <a:cubicBezTo>
                    <a:pt x="563" y="130"/>
                    <a:pt x="558" y="127"/>
                    <a:pt x="554" y="124"/>
                  </a:cubicBezTo>
                  <a:cubicBezTo>
                    <a:pt x="554" y="125"/>
                    <a:pt x="554" y="125"/>
                    <a:pt x="554" y="125"/>
                  </a:cubicBezTo>
                  <a:cubicBezTo>
                    <a:pt x="553" y="125"/>
                    <a:pt x="552" y="125"/>
                    <a:pt x="552" y="125"/>
                  </a:cubicBezTo>
                  <a:cubicBezTo>
                    <a:pt x="551" y="125"/>
                    <a:pt x="551" y="125"/>
                    <a:pt x="550" y="125"/>
                  </a:cubicBezTo>
                  <a:cubicBezTo>
                    <a:pt x="550" y="125"/>
                    <a:pt x="550" y="125"/>
                    <a:pt x="549" y="125"/>
                  </a:cubicBezTo>
                  <a:cubicBezTo>
                    <a:pt x="549" y="125"/>
                    <a:pt x="548" y="125"/>
                    <a:pt x="548" y="124"/>
                  </a:cubicBezTo>
                  <a:cubicBezTo>
                    <a:pt x="539" y="117"/>
                    <a:pt x="531" y="110"/>
                    <a:pt x="522" y="104"/>
                  </a:cubicBezTo>
                  <a:cubicBezTo>
                    <a:pt x="521" y="103"/>
                    <a:pt x="520" y="103"/>
                    <a:pt x="520" y="101"/>
                  </a:cubicBezTo>
                  <a:cubicBezTo>
                    <a:pt x="518" y="95"/>
                    <a:pt x="522" y="92"/>
                    <a:pt x="526" y="87"/>
                  </a:cubicBezTo>
                  <a:cubicBezTo>
                    <a:pt x="528" y="83"/>
                    <a:pt x="529" y="79"/>
                    <a:pt x="531" y="75"/>
                  </a:cubicBezTo>
                  <a:cubicBezTo>
                    <a:pt x="532" y="74"/>
                    <a:pt x="533" y="72"/>
                    <a:pt x="533" y="70"/>
                  </a:cubicBezTo>
                  <a:cubicBezTo>
                    <a:pt x="532" y="71"/>
                    <a:pt x="531" y="72"/>
                    <a:pt x="531" y="72"/>
                  </a:cubicBezTo>
                  <a:cubicBezTo>
                    <a:pt x="530" y="72"/>
                    <a:pt x="530" y="72"/>
                    <a:pt x="529" y="72"/>
                  </a:cubicBezTo>
                  <a:cubicBezTo>
                    <a:pt x="529" y="71"/>
                    <a:pt x="529" y="68"/>
                    <a:pt x="529" y="67"/>
                  </a:cubicBezTo>
                  <a:cubicBezTo>
                    <a:pt x="529" y="65"/>
                    <a:pt x="529" y="62"/>
                    <a:pt x="531" y="62"/>
                  </a:cubicBezTo>
                  <a:cubicBezTo>
                    <a:pt x="532" y="62"/>
                    <a:pt x="532" y="62"/>
                    <a:pt x="532" y="62"/>
                  </a:cubicBezTo>
                  <a:cubicBezTo>
                    <a:pt x="532" y="62"/>
                    <a:pt x="532" y="62"/>
                    <a:pt x="532" y="62"/>
                  </a:cubicBezTo>
                  <a:cubicBezTo>
                    <a:pt x="535" y="62"/>
                    <a:pt x="538" y="59"/>
                    <a:pt x="541" y="58"/>
                  </a:cubicBezTo>
                  <a:cubicBezTo>
                    <a:pt x="541" y="60"/>
                    <a:pt x="540" y="61"/>
                    <a:pt x="540" y="62"/>
                  </a:cubicBezTo>
                  <a:cubicBezTo>
                    <a:pt x="541" y="61"/>
                    <a:pt x="542" y="61"/>
                    <a:pt x="543" y="61"/>
                  </a:cubicBezTo>
                  <a:cubicBezTo>
                    <a:pt x="543" y="59"/>
                    <a:pt x="543" y="54"/>
                    <a:pt x="545" y="54"/>
                  </a:cubicBezTo>
                  <a:cubicBezTo>
                    <a:pt x="546" y="54"/>
                    <a:pt x="546" y="54"/>
                    <a:pt x="547" y="55"/>
                  </a:cubicBezTo>
                  <a:cubicBezTo>
                    <a:pt x="547" y="54"/>
                    <a:pt x="546" y="53"/>
                    <a:pt x="545" y="53"/>
                  </a:cubicBezTo>
                  <a:cubicBezTo>
                    <a:pt x="545" y="53"/>
                    <a:pt x="545" y="53"/>
                    <a:pt x="545" y="53"/>
                  </a:cubicBezTo>
                  <a:cubicBezTo>
                    <a:pt x="544" y="52"/>
                    <a:pt x="543" y="51"/>
                    <a:pt x="543" y="49"/>
                  </a:cubicBezTo>
                  <a:cubicBezTo>
                    <a:pt x="545" y="50"/>
                    <a:pt x="545" y="50"/>
                    <a:pt x="546" y="50"/>
                  </a:cubicBezTo>
                  <a:cubicBezTo>
                    <a:pt x="546" y="50"/>
                    <a:pt x="547" y="50"/>
                    <a:pt x="547" y="48"/>
                  </a:cubicBezTo>
                  <a:cubicBezTo>
                    <a:pt x="549" y="43"/>
                    <a:pt x="550" y="42"/>
                    <a:pt x="555" y="39"/>
                  </a:cubicBezTo>
                  <a:cubicBezTo>
                    <a:pt x="553" y="37"/>
                    <a:pt x="552" y="36"/>
                    <a:pt x="550" y="35"/>
                  </a:cubicBezTo>
                  <a:cubicBezTo>
                    <a:pt x="550" y="37"/>
                    <a:pt x="549" y="37"/>
                    <a:pt x="548" y="37"/>
                  </a:cubicBezTo>
                  <a:cubicBezTo>
                    <a:pt x="547" y="37"/>
                    <a:pt x="546" y="31"/>
                    <a:pt x="543" y="30"/>
                  </a:cubicBezTo>
                  <a:cubicBezTo>
                    <a:pt x="545" y="30"/>
                    <a:pt x="546" y="30"/>
                    <a:pt x="546" y="28"/>
                  </a:cubicBezTo>
                  <a:cubicBezTo>
                    <a:pt x="543" y="29"/>
                    <a:pt x="540" y="31"/>
                    <a:pt x="538" y="34"/>
                  </a:cubicBezTo>
                  <a:cubicBezTo>
                    <a:pt x="534" y="37"/>
                    <a:pt x="540" y="34"/>
                    <a:pt x="541" y="37"/>
                  </a:cubicBezTo>
                  <a:cubicBezTo>
                    <a:pt x="541" y="37"/>
                    <a:pt x="539" y="41"/>
                    <a:pt x="538" y="41"/>
                  </a:cubicBezTo>
                  <a:cubicBezTo>
                    <a:pt x="538" y="41"/>
                    <a:pt x="537" y="41"/>
                    <a:pt x="537" y="41"/>
                  </a:cubicBezTo>
                  <a:cubicBezTo>
                    <a:pt x="535" y="41"/>
                    <a:pt x="534" y="39"/>
                    <a:pt x="533" y="38"/>
                  </a:cubicBezTo>
                  <a:cubicBezTo>
                    <a:pt x="532" y="37"/>
                    <a:pt x="534" y="37"/>
                    <a:pt x="534" y="37"/>
                  </a:cubicBezTo>
                  <a:cubicBezTo>
                    <a:pt x="533" y="36"/>
                    <a:pt x="531" y="36"/>
                    <a:pt x="531" y="35"/>
                  </a:cubicBezTo>
                  <a:cubicBezTo>
                    <a:pt x="532" y="35"/>
                    <a:pt x="532" y="34"/>
                    <a:pt x="533" y="33"/>
                  </a:cubicBezTo>
                  <a:cubicBezTo>
                    <a:pt x="530" y="34"/>
                    <a:pt x="528" y="36"/>
                    <a:pt x="526" y="38"/>
                  </a:cubicBezTo>
                  <a:cubicBezTo>
                    <a:pt x="522" y="35"/>
                    <a:pt x="527" y="31"/>
                    <a:pt x="530" y="30"/>
                  </a:cubicBezTo>
                  <a:cubicBezTo>
                    <a:pt x="526" y="29"/>
                    <a:pt x="529" y="28"/>
                    <a:pt x="530" y="27"/>
                  </a:cubicBezTo>
                  <a:cubicBezTo>
                    <a:pt x="530" y="26"/>
                    <a:pt x="531" y="25"/>
                    <a:pt x="530" y="25"/>
                  </a:cubicBezTo>
                  <a:cubicBezTo>
                    <a:pt x="530" y="25"/>
                    <a:pt x="530" y="25"/>
                    <a:pt x="529" y="26"/>
                  </a:cubicBezTo>
                  <a:cubicBezTo>
                    <a:pt x="528" y="26"/>
                    <a:pt x="528" y="28"/>
                    <a:pt x="527" y="28"/>
                  </a:cubicBezTo>
                  <a:cubicBezTo>
                    <a:pt x="526" y="29"/>
                    <a:pt x="525" y="29"/>
                    <a:pt x="524" y="30"/>
                  </a:cubicBezTo>
                  <a:cubicBezTo>
                    <a:pt x="524" y="30"/>
                    <a:pt x="521" y="32"/>
                    <a:pt x="522" y="32"/>
                  </a:cubicBezTo>
                  <a:cubicBezTo>
                    <a:pt x="523" y="32"/>
                    <a:pt x="523" y="32"/>
                    <a:pt x="524" y="32"/>
                  </a:cubicBezTo>
                  <a:cubicBezTo>
                    <a:pt x="521" y="34"/>
                    <a:pt x="518" y="34"/>
                    <a:pt x="514" y="35"/>
                  </a:cubicBezTo>
                  <a:cubicBezTo>
                    <a:pt x="515" y="36"/>
                    <a:pt x="516" y="36"/>
                    <a:pt x="517" y="36"/>
                  </a:cubicBezTo>
                  <a:cubicBezTo>
                    <a:pt x="516" y="37"/>
                    <a:pt x="515" y="37"/>
                    <a:pt x="514" y="37"/>
                  </a:cubicBezTo>
                  <a:cubicBezTo>
                    <a:pt x="512" y="37"/>
                    <a:pt x="510" y="35"/>
                    <a:pt x="507" y="33"/>
                  </a:cubicBezTo>
                  <a:cubicBezTo>
                    <a:pt x="506" y="32"/>
                    <a:pt x="503" y="32"/>
                    <a:pt x="503" y="30"/>
                  </a:cubicBezTo>
                  <a:cubicBezTo>
                    <a:pt x="500" y="31"/>
                    <a:pt x="499" y="32"/>
                    <a:pt x="496" y="32"/>
                  </a:cubicBezTo>
                  <a:cubicBezTo>
                    <a:pt x="496" y="32"/>
                    <a:pt x="496" y="32"/>
                    <a:pt x="496" y="32"/>
                  </a:cubicBezTo>
                  <a:cubicBezTo>
                    <a:pt x="495" y="32"/>
                    <a:pt x="493" y="32"/>
                    <a:pt x="492" y="32"/>
                  </a:cubicBezTo>
                  <a:cubicBezTo>
                    <a:pt x="491" y="32"/>
                    <a:pt x="490" y="32"/>
                    <a:pt x="489" y="33"/>
                  </a:cubicBezTo>
                  <a:cubicBezTo>
                    <a:pt x="488" y="31"/>
                    <a:pt x="489" y="30"/>
                    <a:pt x="489" y="29"/>
                  </a:cubicBezTo>
                  <a:cubicBezTo>
                    <a:pt x="487" y="27"/>
                    <a:pt x="485" y="27"/>
                    <a:pt x="483" y="25"/>
                  </a:cubicBezTo>
                  <a:cubicBezTo>
                    <a:pt x="483" y="25"/>
                    <a:pt x="483" y="24"/>
                    <a:pt x="482" y="24"/>
                  </a:cubicBezTo>
                  <a:cubicBezTo>
                    <a:pt x="481" y="24"/>
                    <a:pt x="478" y="25"/>
                    <a:pt x="477" y="25"/>
                  </a:cubicBezTo>
                  <a:cubicBezTo>
                    <a:pt x="474" y="27"/>
                    <a:pt x="474" y="27"/>
                    <a:pt x="474" y="27"/>
                  </a:cubicBezTo>
                  <a:cubicBezTo>
                    <a:pt x="475" y="24"/>
                    <a:pt x="468" y="22"/>
                    <a:pt x="466" y="21"/>
                  </a:cubicBezTo>
                  <a:cubicBezTo>
                    <a:pt x="463" y="20"/>
                    <a:pt x="463" y="20"/>
                    <a:pt x="462" y="18"/>
                  </a:cubicBezTo>
                  <a:cubicBezTo>
                    <a:pt x="461" y="17"/>
                    <a:pt x="461" y="16"/>
                    <a:pt x="460" y="16"/>
                  </a:cubicBezTo>
                  <a:cubicBezTo>
                    <a:pt x="459" y="16"/>
                    <a:pt x="458" y="16"/>
                    <a:pt x="458" y="17"/>
                  </a:cubicBezTo>
                  <a:cubicBezTo>
                    <a:pt x="457" y="17"/>
                    <a:pt x="456" y="18"/>
                    <a:pt x="456" y="19"/>
                  </a:cubicBezTo>
                  <a:cubicBezTo>
                    <a:pt x="455" y="19"/>
                    <a:pt x="455" y="19"/>
                    <a:pt x="455" y="19"/>
                  </a:cubicBezTo>
                  <a:cubicBezTo>
                    <a:pt x="453" y="19"/>
                    <a:pt x="452" y="17"/>
                    <a:pt x="451" y="15"/>
                  </a:cubicBezTo>
                  <a:cubicBezTo>
                    <a:pt x="450" y="14"/>
                    <a:pt x="447" y="11"/>
                    <a:pt x="446" y="10"/>
                  </a:cubicBezTo>
                  <a:cubicBezTo>
                    <a:pt x="445" y="11"/>
                    <a:pt x="445" y="12"/>
                    <a:pt x="445" y="13"/>
                  </a:cubicBezTo>
                  <a:cubicBezTo>
                    <a:pt x="444" y="12"/>
                    <a:pt x="443" y="11"/>
                    <a:pt x="442" y="10"/>
                  </a:cubicBezTo>
                  <a:cubicBezTo>
                    <a:pt x="441" y="13"/>
                    <a:pt x="444" y="15"/>
                    <a:pt x="443" y="17"/>
                  </a:cubicBezTo>
                  <a:cubicBezTo>
                    <a:pt x="440" y="13"/>
                    <a:pt x="440" y="11"/>
                    <a:pt x="437" y="11"/>
                  </a:cubicBezTo>
                  <a:cubicBezTo>
                    <a:pt x="436" y="11"/>
                    <a:pt x="435" y="11"/>
                    <a:pt x="434" y="12"/>
                  </a:cubicBezTo>
                  <a:cubicBezTo>
                    <a:pt x="435" y="14"/>
                    <a:pt x="436" y="14"/>
                    <a:pt x="437" y="15"/>
                  </a:cubicBezTo>
                  <a:cubicBezTo>
                    <a:pt x="438" y="17"/>
                    <a:pt x="438" y="17"/>
                    <a:pt x="438" y="17"/>
                  </a:cubicBezTo>
                  <a:cubicBezTo>
                    <a:pt x="438" y="17"/>
                    <a:pt x="438" y="17"/>
                    <a:pt x="438" y="17"/>
                  </a:cubicBezTo>
                  <a:cubicBezTo>
                    <a:pt x="438" y="17"/>
                    <a:pt x="438" y="17"/>
                    <a:pt x="438" y="17"/>
                  </a:cubicBezTo>
                  <a:cubicBezTo>
                    <a:pt x="438" y="17"/>
                    <a:pt x="438" y="17"/>
                    <a:pt x="439" y="17"/>
                  </a:cubicBezTo>
                  <a:cubicBezTo>
                    <a:pt x="439" y="17"/>
                    <a:pt x="439" y="17"/>
                    <a:pt x="439" y="17"/>
                  </a:cubicBezTo>
                  <a:cubicBezTo>
                    <a:pt x="440" y="18"/>
                    <a:pt x="438" y="19"/>
                    <a:pt x="441" y="19"/>
                  </a:cubicBezTo>
                  <a:cubicBezTo>
                    <a:pt x="441" y="19"/>
                    <a:pt x="441" y="19"/>
                    <a:pt x="441" y="19"/>
                  </a:cubicBezTo>
                  <a:cubicBezTo>
                    <a:pt x="441" y="19"/>
                    <a:pt x="443" y="18"/>
                    <a:pt x="443" y="18"/>
                  </a:cubicBezTo>
                  <a:cubicBezTo>
                    <a:pt x="444" y="18"/>
                    <a:pt x="445" y="17"/>
                    <a:pt x="446" y="17"/>
                  </a:cubicBezTo>
                  <a:cubicBezTo>
                    <a:pt x="447" y="17"/>
                    <a:pt x="449" y="18"/>
                    <a:pt x="450" y="18"/>
                  </a:cubicBezTo>
                  <a:cubicBezTo>
                    <a:pt x="450" y="19"/>
                    <a:pt x="450" y="21"/>
                    <a:pt x="451" y="21"/>
                  </a:cubicBezTo>
                  <a:cubicBezTo>
                    <a:pt x="452" y="22"/>
                    <a:pt x="453" y="22"/>
                    <a:pt x="454" y="22"/>
                  </a:cubicBezTo>
                  <a:cubicBezTo>
                    <a:pt x="454" y="23"/>
                    <a:pt x="453" y="28"/>
                    <a:pt x="453" y="30"/>
                  </a:cubicBezTo>
                  <a:cubicBezTo>
                    <a:pt x="453" y="32"/>
                    <a:pt x="453" y="33"/>
                    <a:pt x="455" y="34"/>
                  </a:cubicBezTo>
                  <a:cubicBezTo>
                    <a:pt x="453" y="35"/>
                    <a:pt x="450" y="37"/>
                    <a:pt x="448" y="38"/>
                  </a:cubicBezTo>
                  <a:cubicBezTo>
                    <a:pt x="448" y="38"/>
                    <a:pt x="447" y="39"/>
                    <a:pt x="447" y="40"/>
                  </a:cubicBezTo>
                  <a:cubicBezTo>
                    <a:pt x="447" y="38"/>
                    <a:pt x="448" y="36"/>
                    <a:pt x="446" y="35"/>
                  </a:cubicBezTo>
                  <a:cubicBezTo>
                    <a:pt x="445" y="35"/>
                    <a:pt x="445" y="35"/>
                    <a:pt x="444" y="35"/>
                  </a:cubicBezTo>
                  <a:cubicBezTo>
                    <a:pt x="442" y="35"/>
                    <a:pt x="442" y="37"/>
                    <a:pt x="440" y="38"/>
                  </a:cubicBezTo>
                  <a:cubicBezTo>
                    <a:pt x="439" y="38"/>
                    <a:pt x="437" y="38"/>
                    <a:pt x="435" y="38"/>
                  </a:cubicBezTo>
                  <a:cubicBezTo>
                    <a:pt x="430" y="38"/>
                    <a:pt x="424" y="37"/>
                    <a:pt x="423" y="36"/>
                  </a:cubicBezTo>
                  <a:cubicBezTo>
                    <a:pt x="422" y="35"/>
                    <a:pt x="422" y="33"/>
                    <a:pt x="421" y="32"/>
                  </a:cubicBezTo>
                  <a:cubicBezTo>
                    <a:pt x="421" y="33"/>
                    <a:pt x="420" y="35"/>
                    <a:pt x="420" y="36"/>
                  </a:cubicBezTo>
                  <a:cubicBezTo>
                    <a:pt x="420" y="36"/>
                    <a:pt x="417" y="34"/>
                    <a:pt x="416" y="34"/>
                  </a:cubicBezTo>
                  <a:cubicBezTo>
                    <a:pt x="416" y="34"/>
                    <a:pt x="415" y="34"/>
                    <a:pt x="415" y="34"/>
                  </a:cubicBezTo>
                  <a:cubicBezTo>
                    <a:pt x="414" y="35"/>
                    <a:pt x="415" y="38"/>
                    <a:pt x="415" y="39"/>
                  </a:cubicBezTo>
                  <a:cubicBezTo>
                    <a:pt x="414" y="39"/>
                    <a:pt x="413" y="39"/>
                    <a:pt x="413" y="39"/>
                  </a:cubicBezTo>
                  <a:cubicBezTo>
                    <a:pt x="412" y="39"/>
                    <a:pt x="412" y="39"/>
                    <a:pt x="412" y="40"/>
                  </a:cubicBezTo>
                  <a:cubicBezTo>
                    <a:pt x="412" y="42"/>
                    <a:pt x="413" y="42"/>
                    <a:pt x="413" y="42"/>
                  </a:cubicBezTo>
                  <a:cubicBezTo>
                    <a:pt x="413" y="44"/>
                    <a:pt x="413" y="44"/>
                    <a:pt x="413" y="45"/>
                  </a:cubicBezTo>
                  <a:cubicBezTo>
                    <a:pt x="413" y="45"/>
                    <a:pt x="410" y="44"/>
                    <a:pt x="410" y="44"/>
                  </a:cubicBezTo>
                  <a:cubicBezTo>
                    <a:pt x="409" y="42"/>
                    <a:pt x="409" y="42"/>
                    <a:pt x="409" y="42"/>
                  </a:cubicBezTo>
                  <a:cubicBezTo>
                    <a:pt x="409" y="42"/>
                    <a:pt x="408" y="40"/>
                    <a:pt x="407" y="40"/>
                  </a:cubicBezTo>
                  <a:cubicBezTo>
                    <a:pt x="406" y="40"/>
                    <a:pt x="406" y="40"/>
                    <a:pt x="406" y="40"/>
                  </a:cubicBezTo>
                  <a:cubicBezTo>
                    <a:pt x="403" y="40"/>
                    <a:pt x="405" y="43"/>
                    <a:pt x="405" y="45"/>
                  </a:cubicBezTo>
                  <a:cubicBezTo>
                    <a:pt x="405" y="46"/>
                    <a:pt x="405" y="46"/>
                    <a:pt x="406" y="47"/>
                  </a:cubicBezTo>
                  <a:cubicBezTo>
                    <a:pt x="404" y="46"/>
                    <a:pt x="403" y="46"/>
                    <a:pt x="403" y="46"/>
                  </a:cubicBezTo>
                  <a:cubicBezTo>
                    <a:pt x="402" y="46"/>
                    <a:pt x="402" y="46"/>
                    <a:pt x="402" y="46"/>
                  </a:cubicBezTo>
                  <a:cubicBezTo>
                    <a:pt x="400" y="47"/>
                    <a:pt x="394" y="52"/>
                    <a:pt x="394" y="54"/>
                  </a:cubicBezTo>
                  <a:cubicBezTo>
                    <a:pt x="393" y="57"/>
                    <a:pt x="397" y="61"/>
                    <a:pt x="398" y="63"/>
                  </a:cubicBezTo>
                  <a:cubicBezTo>
                    <a:pt x="396" y="63"/>
                    <a:pt x="395" y="65"/>
                    <a:pt x="393" y="66"/>
                  </a:cubicBezTo>
                  <a:cubicBezTo>
                    <a:pt x="392" y="67"/>
                    <a:pt x="391" y="67"/>
                    <a:pt x="390" y="67"/>
                  </a:cubicBezTo>
                  <a:cubicBezTo>
                    <a:pt x="389" y="67"/>
                    <a:pt x="388" y="67"/>
                    <a:pt x="388" y="65"/>
                  </a:cubicBezTo>
                  <a:cubicBezTo>
                    <a:pt x="386" y="67"/>
                    <a:pt x="386" y="70"/>
                    <a:pt x="385" y="74"/>
                  </a:cubicBezTo>
                  <a:cubicBezTo>
                    <a:pt x="385" y="75"/>
                    <a:pt x="383" y="79"/>
                    <a:pt x="382" y="79"/>
                  </a:cubicBezTo>
                  <a:cubicBezTo>
                    <a:pt x="382" y="79"/>
                    <a:pt x="382" y="79"/>
                    <a:pt x="381" y="79"/>
                  </a:cubicBezTo>
                  <a:cubicBezTo>
                    <a:pt x="381" y="80"/>
                    <a:pt x="381" y="80"/>
                    <a:pt x="380" y="80"/>
                  </a:cubicBezTo>
                  <a:cubicBezTo>
                    <a:pt x="380" y="80"/>
                    <a:pt x="379" y="80"/>
                    <a:pt x="379" y="80"/>
                  </a:cubicBezTo>
                  <a:cubicBezTo>
                    <a:pt x="378" y="81"/>
                    <a:pt x="377" y="83"/>
                    <a:pt x="377" y="84"/>
                  </a:cubicBezTo>
                  <a:cubicBezTo>
                    <a:pt x="376" y="87"/>
                    <a:pt x="377" y="88"/>
                    <a:pt x="379" y="91"/>
                  </a:cubicBezTo>
                  <a:cubicBezTo>
                    <a:pt x="381" y="93"/>
                    <a:pt x="381" y="94"/>
                    <a:pt x="383" y="96"/>
                  </a:cubicBezTo>
                  <a:cubicBezTo>
                    <a:pt x="384" y="98"/>
                    <a:pt x="388" y="98"/>
                    <a:pt x="390" y="98"/>
                  </a:cubicBezTo>
                  <a:cubicBezTo>
                    <a:pt x="387" y="99"/>
                    <a:pt x="382" y="99"/>
                    <a:pt x="382" y="103"/>
                  </a:cubicBezTo>
                  <a:cubicBezTo>
                    <a:pt x="382" y="103"/>
                    <a:pt x="383" y="104"/>
                    <a:pt x="383" y="105"/>
                  </a:cubicBezTo>
                  <a:cubicBezTo>
                    <a:pt x="383" y="106"/>
                    <a:pt x="386" y="107"/>
                    <a:pt x="384" y="107"/>
                  </a:cubicBezTo>
                  <a:cubicBezTo>
                    <a:pt x="384" y="107"/>
                    <a:pt x="384" y="107"/>
                    <a:pt x="384" y="107"/>
                  </a:cubicBezTo>
                  <a:cubicBezTo>
                    <a:pt x="382" y="107"/>
                    <a:pt x="380" y="102"/>
                    <a:pt x="379" y="102"/>
                  </a:cubicBezTo>
                  <a:cubicBezTo>
                    <a:pt x="378" y="101"/>
                    <a:pt x="377" y="101"/>
                    <a:pt x="376" y="101"/>
                  </a:cubicBezTo>
                  <a:cubicBezTo>
                    <a:pt x="375" y="101"/>
                    <a:pt x="373" y="101"/>
                    <a:pt x="373" y="103"/>
                  </a:cubicBezTo>
                  <a:cubicBezTo>
                    <a:pt x="373" y="105"/>
                    <a:pt x="373" y="105"/>
                    <a:pt x="373" y="105"/>
                  </a:cubicBezTo>
                  <a:cubicBezTo>
                    <a:pt x="373" y="106"/>
                    <a:pt x="373" y="108"/>
                    <a:pt x="372" y="108"/>
                  </a:cubicBezTo>
                  <a:cubicBezTo>
                    <a:pt x="372" y="108"/>
                    <a:pt x="371" y="108"/>
                    <a:pt x="371" y="108"/>
                  </a:cubicBezTo>
                  <a:cubicBezTo>
                    <a:pt x="370" y="106"/>
                    <a:pt x="372" y="104"/>
                    <a:pt x="372" y="103"/>
                  </a:cubicBezTo>
                  <a:cubicBezTo>
                    <a:pt x="371" y="101"/>
                    <a:pt x="369" y="100"/>
                    <a:pt x="367" y="99"/>
                  </a:cubicBezTo>
                  <a:cubicBezTo>
                    <a:pt x="367" y="100"/>
                    <a:pt x="367" y="101"/>
                    <a:pt x="367" y="101"/>
                  </a:cubicBezTo>
                  <a:cubicBezTo>
                    <a:pt x="367" y="98"/>
                    <a:pt x="363" y="98"/>
                    <a:pt x="360" y="98"/>
                  </a:cubicBezTo>
                  <a:cubicBezTo>
                    <a:pt x="359" y="98"/>
                    <a:pt x="357" y="97"/>
                    <a:pt x="356" y="97"/>
                  </a:cubicBezTo>
                  <a:cubicBezTo>
                    <a:pt x="354" y="97"/>
                    <a:pt x="352" y="98"/>
                    <a:pt x="354" y="99"/>
                  </a:cubicBezTo>
                  <a:cubicBezTo>
                    <a:pt x="353" y="100"/>
                    <a:pt x="355" y="104"/>
                    <a:pt x="354" y="104"/>
                  </a:cubicBezTo>
                  <a:cubicBezTo>
                    <a:pt x="353" y="104"/>
                    <a:pt x="353" y="104"/>
                    <a:pt x="352" y="103"/>
                  </a:cubicBezTo>
                  <a:cubicBezTo>
                    <a:pt x="352" y="104"/>
                    <a:pt x="352" y="104"/>
                    <a:pt x="352" y="104"/>
                  </a:cubicBezTo>
                  <a:cubicBezTo>
                    <a:pt x="351" y="103"/>
                    <a:pt x="350" y="103"/>
                    <a:pt x="350" y="103"/>
                  </a:cubicBezTo>
                  <a:cubicBezTo>
                    <a:pt x="346" y="103"/>
                    <a:pt x="351" y="109"/>
                    <a:pt x="351" y="112"/>
                  </a:cubicBezTo>
                  <a:cubicBezTo>
                    <a:pt x="349" y="112"/>
                    <a:pt x="348" y="111"/>
                    <a:pt x="346" y="110"/>
                  </a:cubicBezTo>
                  <a:cubicBezTo>
                    <a:pt x="346" y="112"/>
                    <a:pt x="346" y="114"/>
                    <a:pt x="344" y="115"/>
                  </a:cubicBezTo>
                  <a:cubicBezTo>
                    <a:pt x="346" y="111"/>
                    <a:pt x="345" y="108"/>
                    <a:pt x="346" y="103"/>
                  </a:cubicBezTo>
                  <a:cubicBezTo>
                    <a:pt x="346" y="102"/>
                    <a:pt x="346" y="100"/>
                    <a:pt x="347" y="99"/>
                  </a:cubicBezTo>
                  <a:cubicBezTo>
                    <a:pt x="348" y="98"/>
                    <a:pt x="348" y="98"/>
                    <a:pt x="348" y="98"/>
                  </a:cubicBezTo>
                  <a:cubicBezTo>
                    <a:pt x="348" y="97"/>
                    <a:pt x="348" y="96"/>
                    <a:pt x="349" y="96"/>
                  </a:cubicBezTo>
                  <a:cubicBezTo>
                    <a:pt x="349" y="96"/>
                    <a:pt x="349" y="96"/>
                    <a:pt x="349" y="96"/>
                  </a:cubicBezTo>
                  <a:cubicBezTo>
                    <a:pt x="349" y="94"/>
                    <a:pt x="346" y="92"/>
                    <a:pt x="344" y="91"/>
                  </a:cubicBezTo>
                  <a:cubicBezTo>
                    <a:pt x="340" y="87"/>
                    <a:pt x="335" y="82"/>
                    <a:pt x="331" y="78"/>
                  </a:cubicBezTo>
                  <a:cubicBezTo>
                    <a:pt x="330" y="77"/>
                    <a:pt x="329" y="77"/>
                    <a:pt x="328" y="77"/>
                  </a:cubicBezTo>
                  <a:cubicBezTo>
                    <a:pt x="328" y="77"/>
                    <a:pt x="327" y="77"/>
                    <a:pt x="327" y="77"/>
                  </a:cubicBezTo>
                  <a:cubicBezTo>
                    <a:pt x="326" y="77"/>
                    <a:pt x="326" y="77"/>
                    <a:pt x="325" y="77"/>
                  </a:cubicBezTo>
                  <a:cubicBezTo>
                    <a:pt x="325" y="77"/>
                    <a:pt x="324" y="77"/>
                    <a:pt x="324" y="77"/>
                  </a:cubicBezTo>
                  <a:cubicBezTo>
                    <a:pt x="324" y="77"/>
                    <a:pt x="324" y="77"/>
                    <a:pt x="324" y="77"/>
                  </a:cubicBezTo>
                  <a:cubicBezTo>
                    <a:pt x="324" y="77"/>
                    <a:pt x="324" y="77"/>
                    <a:pt x="324" y="77"/>
                  </a:cubicBezTo>
                  <a:cubicBezTo>
                    <a:pt x="324" y="77"/>
                    <a:pt x="324" y="78"/>
                    <a:pt x="323" y="78"/>
                  </a:cubicBezTo>
                  <a:cubicBezTo>
                    <a:pt x="323" y="78"/>
                    <a:pt x="323" y="78"/>
                    <a:pt x="323" y="77"/>
                  </a:cubicBezTo>
                  <a:cubicBezTo>
                    <a:pt x="321" y="77"/>
                    <a:pt x="320" y="73"/>
                    <a:pt x="319" y="72"/>
                  </a:cubicBezTo>
                  <a:cubicBezTo>
                    <a:pt x="318" y="74"/>
                    <a:pt x="314" y="83"/>
                    <a:pt x="311" y="84"/>
                  </a:cubicBezTo>
                  <a:cubicBezTo>
                    <a:pt x="311" y="84"/>
                    <a:pt x="311" y="84"/>
                    <a:pt x="311" y="84"/>
                  </a:cubicBezTo>
                  <a:cubicBezTo>
                    <a:pt x="310" y="84"/>
                    <a:pt x="308" y="81"/>
                    <a:pt x="309" y="80"/>
                  </a:cubicBezTo>
                  <a:cubicBezTo>
                    <a:pt x="308" y="80"/>
                    <a:pt x="308" y="81"/>
                    <a:pt x="308" y="81"/>
                  </a:cubicBezTo>
                  <a:cubicBezTo>
                    <a:pt x="306" y="81"/>
                    <a:pt x="310" y="77"/>
                    <a:pt x="310" y="77"/>
                  </a:cubicBezTo>
                  <a:cubicBezTo>
                    <a:pt x="309" y="77"/>
                    <a:pt x="309" y="77"/>
                    <a:pt x="309" y="77"/>
                  </a:cubicBezTo>
                  <a:cubicBezTo>
                    <a:pt x="308" y="77"/>
                    <a:pt x="302" y="82"/>
                    <a:pt x="301" y="83"/>
                  </a:cubicBezTo>
                  <a:cubicBezTo>
                    <a:pt x="301" y="81"/>
                    <a:pt x="300" y="80"/>
                    <a:pt x="301" y="79"/>
                  </a:cubicBezTo>
                  <a:cubicBezTo>
                    <a:pt x="301" y="79"/>
                    <a:pt x="301" y="79"/>
                    <a:pt x="301" y="78"/>
                  </a:cubicBezTo>
                  <a:cubicBezTo>
                    <a:pt x="301" y="78"/>
                    <a:pt x="300" y="79"/>
                    <a:pt x="299" y="79"/>
                  </a:cubicBezTo>
                  <a:cubicBezTo>
                    <a:pt x="300" y="78"/>
                    <a:pt x="300" y="77"/>
                    <a:pt x="300" y="77"/>
                  </a:cubicBezTo>
                  <a:cubicBezTo>
                    <a:pt x="299" y="76"/>
                    <a:pt x="299" y="77"/>
                    <a:pt x="299" y="76"/>
                  </a:cubicBezTo>
                  <a:cubicBezTo>
                    <a:pt x="298" y="76"/>
                    <a:pt x="298" y="76"/>
                    <a:pt x="297" y="77"/>
                  </a:cubicBezTo>
                  <a:cubicBezTo>
                    <a:pt x="298" y="77"/>
                    <a:pt x="298" y="78"/>
                    <a:pt x="299" y="79"/>
                  </a:cubicBezTo>
                  <a:cubicBezTo>
                    <a:pt x="298" y="79"/>
                    <a:pt x="297" y="79"/>
                    <a:pt x="296" y="79"/>
                  </a:cubicBezTo>
                  <a:cubicBezTo>
                    <a:pt x="297" y="82"/>
                    <a:pt x="301" y="79"/>
                    <a:pt x="300" y="84"/>
                  </a:cubicBezTo>
                  <a:cubicBezTo>
                    <a:pt x="299" y="85"/>
                    <a:pt x="298" y="88"/>
                    <a:pt x="297" y="89"/>
                  </a:cubicBezTo>
                  <a:cubicBezTo>
                    <a:pt x="298" y="91"/>
                    <a:pt x="298" y="91"/>
                    <a:pt x="298" y="91"/>
                  </a:cubicBezTo>
                  <a:cubicBezTo>
                    <a:pt x="297" y="92"/>
                    <a:pt x="294" y="92"/>
                    <a:pt x="293" y="92"/>
                  </a:cubicBezTo>
                  <a:cubicBezTo>
                    <a:pt x="292" y="91"/>
                    <a:pt x="292" y="90"/>
                    <a:pt x="293" y="89"/>
                  </a:cubicBezTo>
                  <a:cubicBezTo>
                    <a:pt x="292" y="89"/>
                    <a:pt x="292" y="89"/>
                    <a:pt x="292" y="89"/>
                  </a:cubicBezTo>
                  <a:cubicBezTo>
                    <a:pt x="292" y="89"/>
                    <a:pt x="291" y="90"/>
                    <a:pt x="290" y="90"/>
                  </a:cubicBezTo>
                  <a:cubicBezTo>
                    <a:pt x="291" y="89"/>
                    <a:pt x="291" y="88"/>
                    <a:pt x="290" y="88"/>
                  </a:cubicBezTo>
                  <a:cubicBezTo>
                    <a:pt x="290" y="88"/>
                    <a:pt x="289" y="89"/>
                    <a:pt x="289" y="89"/>
                  </a:cubicBezTo>
                  <a:cubicBezTo>
                    <a:pt x="288" y="88"/>
                    <a:pt x="289" y="86"/>
                    <a:pt x="290" y="85"/>
                  </a:cubicBezTo>
                  <a:cubicBezTo>
                    <a:pt x="289" y="85"/>
                    <a:pt x="288" y="84"/>
                    <a:pt x="288" y="84"/>
                  </a:cubicBezTo>
                  <a:cubicBezTo>
                    <a:pt x="287" y="84"/>
                    <a:pt x="287" y="85"/>
                    <a:pt x="288" y="88"/>
                  </a:cubicBezTo>
                  <a:cubicBezTo>
                    <a:pt x="288" y="92"/>
                    <a:pt x="285" y="90"/>
                    <a:pt x="283" y="93"/>
                  </a:cubicBezTo>
                  <a:cubicBezTo>
                    <a:pt x="282" y="92"/>
                    <a:pt x="282" y="92"/>
                    <a:pt x="282" y="92"/>
                  </a:cubicBezTo>
                  <a:cubicBezTo>
                    <a:pt x="282" y="92"/>
                    <a:pt x="282" y="92"/>
                    <a:pt x="281" y="93"/>
                  </a:cubicBezTo>
                  <a:cubicBezTo>
                    <a:pt x="281" y="92"/>
                    <a:pt x="281" y="91"/>
                    <a:pt x="281" y="91"/>
                  </a:cubicBezTo>
                  <a:cubicBezTo>
                    <a:pt x="280" y="92"/>
                    <a:pt x="278" y="93"/>
                    <a:pt x="277" y="95"/>
                  </a:cubicBezTo>
                  <a:cubicBezTo>
                    <a:pt x="277" y="97"/>
                    <a:pt x="277" y="98"/>
                    <a:pt x="278" y="99"/>
                  </a:cubicBezTo>
                  <a:cubicBezTo>
                    <a:pt x="279" y="99"/>
                    <a:pt x="279" y="99"/>
                    <a:pt x="279" y="99"/>
                  </a:cubicBezTo>
                  <a:cubicBezTo>
                    <a:pt x="279" y="99"/>
                    <a:pt x="280" y="99"/>
                    <a:pt x="280" y="100"/>
                  </a:cubicBezTo>
                  <a:cubicBezTo>
                    <a:pt x="281" y="100"/>
                    <a:pt x="280" y="102"/>
                    <a:pt x="280" y="102"/>
                  </a:cubicBezTo>
                  <a:cubicBezTo>
                    <a:pt x="282" y="102"/>
                    <a:pt x="282" y="102"/>
                    <a:pt x="282" y="102"/>
                  </a:cubicBezTo>
                  <a:cubicBezTo>
                    <a:pt x="282" y="102"/>
                    <a:pt x="282" y="103"/>
                    <a:pt x="283" y="103"/>
                  </a:cubicBezTo>
                  <a:cubicBezTo>
                    <a:pt x="283" y="103"/>
                    <a:pt x="283" y="103"/>
                    <a:pt x="283" y="103"/>
                  </a:cubicBezTo>
                  <a:cubicBezTo>
                    <a:pt x="283" y="104"/>
                    <a:pt x="283" y="105"/>
                    <a:pt x="282" y="105"/>
                  </a:cubicBezTo>
                  <a:cubicBezTo>
                    <a:pt x="282" y="105"/>
                    <a:pt x="283" y="106"/>
                    <a:pt x="283" y="106"/>
                  </a:cubicBezTo>
                  <a:cubicBezTo>
                    <a:pt x="283" y="106"/>
                    <a:pt x="283" y="106"/>
                    <a:pt x="283" y="106"/>
                  </a:cubicBezTo>
                  <a:cubicBezTo>
                    <a:pt x="283" y="106"/>
                    <a:pt x="282" y="106"/>
                    <a:pt x="282" y="106"/>
                  </a:cubicBezTo>
                  <a:cubicBezTo>
                    <a:pt x="280" y="106"/>
                    <a:pt x="278" y="104"/>
                    <a:pt x="277" y="103"/>
                  </a:cubicBezTo>
                  <a:cubicBezTo>
                    <a:pt x="276" y="103"/>
                    <a:pt x="276" y="104"/>
                    <a:pt x="276" y="104"/>
                  </a:cubicBezTo>
                  <a:cubicBezTo>
                    <a:pt x="275" y="104"/>
                    <a:pt x="275" y="103"/>
                    <a:pt x="275" y="103"/>
                  </a:cubicBezTo>
                  <a:cubicBezTo>
                    <a:pt x="275" y="102"/>
                    <a:pt x="274" y="102"/>
                    <a:pt x="274" y="102"/>
                  </a:cubicBezTo>
                  <a:cubicBezTo>
                    <a:pt x="274" y="102"/>
                    <a:pt x="274" y="102"/>
                    <a:pt x="273" y="102"/>
                  </a:cubicBezTo>
                  <a:cubicBezTo>
                    <a:pt x="273" y="105"/>
                    <a:pt x="274" y="107"/>
                    <a:pt x="273" y="110"/>
                  </a:cubicBezTo>
                  <a:cubicBezTo>
                    <a:pt x="274" y="110"/>
                    <a:pt x="274" y="110"/>
                    <a:pt x="275" y="110"/>
                  </a:cubicBezTo>
                  <a:cubicBezTo>
                    <a:pt x="277" y="110"/>
                    <a:pt x="275" y="113"/>
                    <a:pt x="277" y="115"/>
                  </a:cubicBezTo>
                  <a:cubicBezTo>
                    <a:pt x="276" y="114"/>
                    <a:pt x="274" y="114"/>
                    <a:pt x="273" y="114"/>
                  </a:cubicBezTo>
                  <a:cubicBezTo>
                    <a:pt x="272" y="113"/>
                    <a:pt x="274" y="114"/>
                    <a:pt x="273" y="113"/>
                  </a:cubicBezTo>
                  <a:cubicBezTo>
                    <a:pt x="272" y="112"/>
                    <a:pt x="271" y="111"/>
                    <a:pt x="270" y="111"/>
                  </a:cubicBezTo>
                  <a:cubicBezTo>
                    <a:pt x="269" y="111"/>
                    <a:pt x="269" y="111"/>
                    <a:pt x="269" y="111"/>
                  </a:cubicBezTo>
                  <a:cubicBezTo>
                    <a:pt x="269" y="110"/>
                    <a:pt x="268" y="110"/>
                    <a:pt x="267" y="110"/>
                  </a:cubicBezTo>
                  <a:cubicBezTo>
                    <a:pt x="267" y="109"/>
                    <a:pt x="266" y="109"/>
                    <a:pt x="266" y="109"/>
                  </a:cubicBezTo>
                  <a:cubicBezTo>
                    <a:pt x="265" y="109"/>
                    <a:pt x="265" y="109"/>
                    <a:pt x="264" y="111"/>
                  </a:cubicBezTo>
                  <a:cubicBezTo>
                    <a:pt x="264" y="112"/>
                    <a:pt x="266" y="112"/>
                    <a:pt x="263" y="113"/>
                  </a:cubicBezTo>
                  <a:cubicBezTo>
                    <a:pt x="263" y="113"/>
                    <a:pt x="262" y="114"/>
                    <a:pt x="262" y="114"/>
                  </a:cubicBezTo>
                  <a:cubicBezTo>
                    <a:pt x="259" y="115"/>
                    <a:pt x="259" y="115"/>
                    <a:pt x="259" y="115"/>
                  </a:cubicBezTo>
                  <a:cubicBezTo>
                    <a:pt x="258" y="119"/>
                    <a:pt x="259" y="123"/>
                    <a:pt x="261" y="127"/>
                  </a:cubicBezTo>
                  <a:cubicBezTo>
                    <a:pt x="262" y="125"/>
                    <a:pt x="263" y="122"/>
                    <a:pt x="265" y="122"/>
                  </a:cubicBezTo>
                  <a:cubicBezTo>
                    <a:pt x="264" y="124"/>
                    <a:pt x="263" y="126"/>
                    <a:pt x="263" y="129"/>
                  </a:cubicBezTo>
                  <a:cubicBezTo>
                    <a:pt x="262" y="129"/>
                    <a:pt x="261" y="128"/>
                    <a:pt x="260" y="128"/>
                  </a:cubicBezTo>
                  <a:cubicBezTo>
                    <a:pt x="260" y="128"/>
                    <a:pt x="260" y="128"/>
                    <a:pt x="260" y="129"/>
                  </a:cubicBezTo>
                  <a:cubicBezTo>
                    <a:pt x="259" y="130"/>
                    <a:pt x="258" y="133"/>
                    <a:pt x="259" y="134"/>
                  </a:cubicBezTo>
                  <a:cubicBezTo>
                    <a:pt x="259" y="135"/>
                    <a:pt x="259" y="135"/>
                    <a:pt x="260" y="135"/>
                  </a:cubicBezTo>
                  <a:cubicBezTo>
                    <a:pt x="260" y="135"/>
                    <a:pt x="260" y="135"/>
                    <a:pt x="261" y="135"/>
                  </a:cubicBezTo>
                  <a:cubicBezTo>
                    <a:pt x="261" y="135"/>
                    <a:pt x="261" y="135"/>
                    <a:pt x="262" y="135"/>
                  </a:cubicBezTo>
                  <a:cubicBezTo>
                    <a:pt x="262" y="135"/>
                    <a:pt x="262" y="135"/>
                    <a:pt x="262" y="135"/>
                  </a:cubicBezTo>
                  <a:cubicBezTo>
                    <a:pt x="265" y="135"/>
                    <a:pt x="267" y="136"/>
                    <a:pt x="270" y="136"/>
                  </a:cubicBezTo>
                  <a:cubicBezTo>
                    <a:pt x="269" y="136"/>
                    <a:pt x="269" y="136"/>
                    <a:pt x="268" y="136"/>
                  </a:cubicBezTo>
                  <a:cubicBezTo>
                    <a:pt x="266" y="136"/>
                    <a:pt x="264" y="136"/>
                    <a:pt x="262" y="136"/>
                  </a:cubicBezTo>
                  <a:cubicBezTo>
                    <a:pt x="261" y="136"/>
                    <a:pt x="260" y="136"/>
                    <a:pt x="260" y="136"/>
                  </a:cubicBezTo>
                  <a:cubicBezTo>
                    <a:pt x="259" y="136"/>
                    <a:pt x="259" y="135"/>
                    <a:pt x="259" y="135"/>
                  </a:cubicBezTo>
                  <a:cubicBezTo>
                    <a:pt x="258" y="135"/>
                    <a:pt x="257" y="136"/>
                    <a:pt x="256" y="136"/>
                  </a:cubicBezTo>
                  <a:cubicBezTo>
                    <a:pt x="255" y="136"/>
                    <a:pt x="255" y="136"/>
                    <a:pt x="255" y="136"/>
                  </a:cubicBezTo>
                  <a:cubicBezTo>
                    <a:pt x="254" y="136"/>
                    <a:pt x="254" y="134"/>
                    <a:pt x="252" y="133"/>
                  </a:cubicBezTo>
                  <a:cubicBezTo>
                    <a:pt x="251" y="132"/>
                    <a:pt x="249" y="133"/>
                    <a:pt x="248" y="132"/>
                  </a:cubicBezTo>
                  <a:cubicBezTo>
                    <a:pt x="249" y="133"/>
                    <a:pt x="249" y="134"/>
                    <a:pt x="249" y="136"/>
                  </a:cubicBezTo>
                  <a:cubicBezTo>
                    <a:pt x="249" y="135"/>
                    <a:pt x="248" y="135"/>
                    <a:pt x="248" y="135"/>
                  </a:cubicBezTo>
                  <a:cubicBezTo>
                    <a:pt x="247" y="135"/>
                    <a:pt x="246" y="135"/>
                    <a:pt x="246" y="136"/>
                  </a:cubicBezTo>
                  <a:cubicBezTo>
                    <a:pt x="247" y="134"/>
                    <a:pt x="245" y="135"/>
                    <a:pt x="245" y="134"/>
                  </a:cubicBezTo>
                  <a:cubicBezTo>
                    <a:pt x="244" y="133"/>
                    <a:pt x="244" y="133"/>
                    <a:pt x="244" y="133"/>
                  </a:cubicBezTo>
                  <a:cubicBezTo>
                    <a:pt x="244" y="133"/>
                    <a:pt x="244" y="132"/>
                    <a:pt x="244" y="132"/>
                  </a:cubicBezTo>
                  <a:cubicBezTo>
                    <a:pt x="244" y="131"/>
                    <a:pt x="244" y="130"/>
                    <a:pt x="242" y="130"/>
                  </a:cubicBezTo>
                  <a:cubicBezTo>
                    <a:pt x="242" y="130"/>
                    <a:pt x="241" y="130"/>
                    <a:pt x="240" y="130"/>
                  </a:cubicBezTo>
                  <a:cubicBezTo>
                    <a:pt x="241" y="132"/>
                    <a:pt x="243" y="135"/>
                    <a:pt x="243" y="136"/>
                  </a:cubicBezTo>
                  <a:cubicBezTo>
                    <a:pt x="243" y="137"/>
                    <a:pt x="242" y="137"/>
                    <a:pt x="241" y="137"/>
                  </a:cubicBezTo>
                  <a:cubicBezTo>
                    <a:pt x="241" y="137"/>
                    <a:pt x="240" y="137"/>
                    <a:pt x="240" y="137"/>
                  </a:cubicBezTo>
                  <a:cubicBezTo>
                    <a:pt x="239" y="137"/>
                    <a:pt x="239" y="137"/>
                    <a:pt x="238" y="137"/>
                  </a:cubicBezTo>
                  <a:cubicBezTo>
                    <a:pt x="238" y="137"/>
                    <a:pt x="238" y="137"/>
                    <a:pt x="238" y="137"/>
                  </a:cubicBezTo>
                  <a:cubicBezTo>
                    <a:pt x="239" y="137"/>
                    <a:pt x="240" y="138"/>
                    <a:pt x="241" y="138"/>
                  </a:cubicBezTo>
                  <a:cubicBezTo>
                    <a:pt x="241" y="138"/>
                    <a:pt x="240" y="138"/>
                    <a:pt x="240" y="138"/>
                  </a:cubicBezTo>
                  <a:cubicBezTo>
                    <a:pt x="240" y="138"/>
                    <a:pt x="239" y="138"/>
                    <a:pt x="239" y="138"/>
                  </a:cubicBezTo>
                  <a:cubicBezTo>
                    <a:pt x="238" y="138"/>
                    <a:pt x="238" y="138"/>
                    <a:pt x="238" y="138"/>
                  </a:cubicBezTo>
                  <a:cubicBezTo>
                    <a:pt x="237" y="138"/>
                    <a:pt x="237" y="138"/>
                    <a:pt x="236" y="139"/>
                  </a:cubicBezTo>
                  <a:cubicBezTo>
                    <a:pt x="237" y="140"/>
                    <a:pt x="238" y="140"/>
                    <a:pt x="239" y="140"/>
                  </a:cubicBezTo>
                  <a:cubicBezTo>
                    <a:pt x="239" y="140"/>
                    <a:pt x="239" y="140"/>
                    <a:pt x="239" y="140"/>
                  </a:cubicBezTo>
                  <a:cubicBezTo>
                    <a:pt x="239" y="140"/>
                    <a:pt x="239" y="140"/>
                    <a:pt x="239" y="140"/>
                  </a:cubicBezTo>
                  <a:cubicBezTo>
                    <a:pt x="239" y="140"/>
                    <a:pt x="239" y="140"/>
                    <a:pt x="239" y="140"/>
                  </a:cubicBezTo>
                  <a:cubicBezTo>
                    <a:pt x="241" y="141"/>
                    <a:pt x="239" y="141"/>
                    <a:pt x="240" y="143"/>
                  </a:cubicBezTo>
                  <a:cubicBezTo>
                    <a:pt x="241" y="144"/>
                    <a:pt x="242" y="144"/>
                    <a:pt x="243" y="145"/>
                  </a:cubicBezTo>
                  <a:cubicBezTo>
                    <a:pt x="244" y="146"/>
                    <a:pt x="244" y="148"/>
                    <a:pt x="245" y="148"/>
                  </a:cubicBezTo>
                  <a:cubicBezTo>
                    <a:pt x="245" y="148"/>
                    <a:pt x="245" y="148"/>
                    <a:pt x="245" y="148"/>
                  </a:cubicBezTo>
                  <a:cubicBezTo>
                    <a:pt x="246" y="148"/>
                    <a:pt x="248" y="147"/>
                    <a:pt x="248" y="146"/>
                  </a:cubicBezTo>
                  <a:cubicBezTo>
                    <a:pt x="248" y="150"/>
                    <a:pt x="243" y="153"/>
                    <a:pt x="247" y="156"/>
                  </a:cubicBezTo>
                  <a:cubicBezTo>
                    <a:pt x="246" y="155"/>
                    <a:pt x="242" y="153"/>
                    <a:pt x="242" y="151"/>
                  </a:cubicBezTo>
                  <a:cubicBezTo>
                    <a:pt x="239" y="154"/>
                    <a:pt x="241" y="154"/>
                    <a:pt x="241" y="155"/>
                  </a:cubicBezTo>
                  <a:cubicBezTo>
                    <a:pt x="241" y="156"/>
                    <a:pt x="240" y="158"/>
                    <a:pt x="240" y="159"/>
                  </a:cubicBezTo>
                  <a:cubicBezTo>
                    <a:pt x="239" y="161"/>
                    <a:pt x="240" y="163"/>
                    <a:pt x="240" y="165"/>
                  </a:cubicBezTo>
                  <a:cubicBezTo>
                    <a:pt x="236" y="161"/>
                    <a:pt x="235" y="155"/>
                    <a:pt x="232" y="151"/>
                  </a:cubicBezTo>
                  <a:cubicBezTo>
                    <a:pt x="231" y="150"/>
                    <a:pt x="230" y="150"/>
                    <a:pt x="230" y="149"/>
                  </a:cubicBezTo>
                  <a:cubicBezTo>
                    <a:pt x="229" y="148"/>
                    <a:pt x="228" y="145"/>
                    <a:pt x="229" y="143"/>
                  </a:cubicBezTo>
                  <a:cubicBezTo>
                    <a:pt x="229" y="144"/>
                    <a:pt x="228" y="144"/>
                    <a:pt x="228" y="144"/>
                  </a:cubicBezTo>
                  <a:cubicBezTo>
                    <a:pt x="227" y="144"/>
                    <a:pt x="227" y="143"/>
                    <a:pt x="227" y="142"/>
                  </a:cubicBezTo>
                  <a:cubicBezTo>
                    <a:pt x="225" y="141"/>
                    <a:pt x="226" y="142"/>
                    <a:pt x="226" y="139"/>
                  </a:cubicBezTo>
                  <a:cubicBezTo>
                    <a:pt x="226" y="139"/>
                    <a:pt x="227" y="136"/>
                    <a:pt x="226" y="136"/>
                  </a:cubicBezTo>
                  <a:cubicBezTo>
                    <a:pt x="226" y="136"/>
                    <a:pt x="226" y="136"/>
                    <a:pt x="226" y="136"/>
                  </a:cubicBezTo>
                  <a:cubicBezTo>
                    <a:pt x="224" y="136"/>
                    <a:pt x="222" y="144"/>
                    <a:pt x="222" y="145"/>
                  </a:cubicBezTo>
                  <a:cubicBezTo>
                    <a:pt x="218" y="146"/>
                    <a:pt x="213" y="145"/>
                    <a:pt x="216" y="150"/>
                  </a:cubicBezTo>
                  <a:cubicBezTo>
                    <a:pt x="216" y="149"/>
                    <a:pt x="215" y="149"/>
                    <a:pt x="214" y="149"/>
                  </a:cubicBezTo>
                  <a:cubicBezTo>
                    <a:pt x="209" y="149"/>
                    <a:pt x="205" y="161"/>
                    <a:pt x="206" y="164"/>
                  </a:cubicBezTo>
                  <a:cubicBezTo>
                    <a:pt x="206" y="166"/>
                    <a:pt x="207" y="168"/>
                    <a:pt x="207" y="169"/>
                  </a:cubicBezTo>
                  <a:cubicBezTo>
                    <a:pt x="207" y="171"/>
                    <a:pt x="207" y="173"/>
                    <a:pt x="207" y="175"/>
                  </a:cubicBezTo>
                  <a:cubicBezTo>
                    <a:pt x="208" y="174"/>
                    <a:pt x="208" y="174"/>
                    <a:pt x="209" y="174"/>
                  </a:cubicBezTo>
                  <a:cubicBezTo>
                    <a:pt x="210" y="174"/>
                    <a:pt x="211" y="175"/>
                    <a:pt x="211" y="177"/>
                  </a:cubicBezTo>
                  <a:cubicBezTo>
                    <a:pt x="210" y="180"/>
                    <a:pt x="202" y="183"/>
                    <a:pt x="200" y="185"/>
                  </a:cubicBezTo>
                  <a:cubicBezTo>
                    <a:pt x="198" y="187"/>
                    <a:pt x="198" y="187"/>
                    <a:pt x="197" y="190"/>
                  </a:cubicBezTo>
                  <a:cubicBezTo>
                    <a:pt x="197" y="192"/>
                    <a:pt x="195" y="193"/>
                    <a:pt x="194" y="195"/>
                  </a:cubicBezTo>
                  <a:cubicBezTo>
                    <a:pt x="192" y="199"/>
                    <a:pt x="190" y="203"/>
                    <a:pt x="188" y="206"/>
                  </a:cubicBezTo>
                  <a:cubicBezTo>
                    <a:pt x="179" y="218"/>
                    <a:pt x="162" y="220"/>
                    <a:pt x="149" y="224"/>
                  </a:cubicBezTo>
                  <a:cubicBezTo>
                    <a:pt x="148" y="224"/>
                    <a:pt x="147" y="225"/>
                    <a:pt x="146" y="225"/>
                  </a:cubicBezTo>
                  <a:cubicBezTo>
                    <a:pt x="146" y="225"/>
                    <a:pt x="146" y="225"/>
                    <a:pt x="146" y="225"/>
                  </a:cubicBezTo>
                  <a:cubicBezTo>
                    <a:pt x="144" y="225"/>
                    <a:pt x="141" y="224"/>
                    <a:pt x="139" y="224"/>
                  </a:cubicBezTo>
                  <a:cubicBezTo>
                    <a:pt x="139" y="224"/>
                    <a:pt x="138" y="223"/>
                    <a:pt x="138" y="223"/>
                  </a:cubicBezTo>
                  <a:cubicBezTo>
                    <a:pt x="135" y="223"/>
                    <a:pt x="134" y="226"/>
                    <a:pt x="131" y="228"/>
                  </a:cubicBezTo>
                  <a:cubicBezTo>
                    <a:pt x="127" y="231"/>
                    <a:pt x="125" y="231"/>
                    <a:pt x="120" y="232"/>
                  </a:cubicBezTo>
                  <a:cubicBezTo>
                    <a:pt x="119" y="232"/>
                    <a:pt x="116" y="233"/>
                    <a:pt x="114" y="233"/>
                  </a:cubicBezTo>
                  <a:cubicBezTo>
                    <a:pt x="113" y="233"/>
                    <a:pt x="113" y="233"/>
                    <a:pt x="113" y="232"/>
                  </a:cubicBezTo>
                  <a:cubicBezTo>
                    <a:pt x="110" y="234"/>
                    <a:pt x="107" y="237"/>
                    <a:pt x="104" y="239"/>
                  </a:cubicBezTo>
                  <a:cubicBezTo>
                    <a:pt x="102" y="241"/>
                    <a:pt x="96" y="241"/>
                    <a:pt x="93" y="241"/>
                  </a:cubicBezTo>
                  <a:cubicBezTo>
                    <a:pt x="92" y="241"/>
                    <a:pt x="92" y="241"/>
                    <a:pt x="91" y="241"/>
                  </a:cubicBezTo>
                  <a:cubicBezTo>
                    <a:pt x="91" y="241"/>
                    <a:pt x="90" y="241"/>
                    <a:pt x="89" y="240"/>
                  </a:cubicBezTo>
                  <a:cubicBezTo>
                    <a:pt x="89" y="240"/>
                    <a:pt x="89" y="239"/>
                    <a:pt x="89" y="239"/>
                  </a:cubicBezTo>
                  <a:cubicBezTo>
                    <a:pt x="89" y="239"/>
                    <a:pt x="89" y="239"/>
                    <a:pt x="89" y="239"/>
                  </a:cubicBezTo>
                  <a:cubicBezTo>
                    <a:pt x="89" y="239"/>
                    <a:pt x="89" y="239"/>
                    <a:pt x="88" y="239"/>
                  </a:cubicBezTo>
                  <a:cubicBezTo>
                    <a:pt x="87" y="239"/>
                    <a:pt x="86" y="239"/>
                    <a:pt x="85" y="239"/>
                  </a:cubicBezTo>
                  <a:cubicBezTo>
                    <a:pt x="83" y="240"/>
                    <a:pt x="82" y="240"/>
                    <a:pt x="81" y="240"/>
                  </a:cubicBezTo>
                  <a:cubicBezTo>
                    <a:pt x="80" y="240"/>
                    <a:pt x="79" y="239"/>
                    <a:pt x="81" y="237"/>
                  </a:cubicBezTo>
                  <a:cubicBezTo>
                    <a:pt x="81" y="237"/>
                    <a:pt x="81" y="237"/>
                    <a:pt x="81" y="237"/>
                  </a:cubicBezTo>
                  <a:cubicBezTo>
                    <a:pt x="79" y="237"/>
                    <a:pt x="76" y="240"/>
                    <a:pt x="74" y="242"/>
                  </a:cubicBezTo>
                  <a:cubicBezTo>
                    <a:pt x="67" y="246"/>
                    <a:pt x="60" y="251"/>
                    <a:pt x="54" y="256"/>
                  </a:cubicBezTo>
                  <a:cubicBezTo>
                    <a:pt x="48" y="260"/>
                    <a:pt x="42" y="263"/>
                    <a:pt x="35" y="266"/>
                  </a:cubicBezTo>
                  <a:cubicBezTo>
                    <a:pt x="34" y="267"/>
                    <a:pt x="31" y="268"/>
                    <a:pt x="30" y="269"/>
                  </a:cubicBezTo>
                  <a:cubicBezTo>
                    <a:pt x="26" y="272"/>
                    <a:pt x="25" y="279"/>
                    <a:pt x="23" y="283"/>
                  </a:cubicBezTo>
                  <a:cubicBezTo>
                    <a:pt x="23" y="284"/>
                    <a:pt x="23" y="284"/>
                    <a:pt x="23" y="284"/>
                  </a:cubicBezTo>
                  <a:cubicBezTo>
                    <a:pt x="22" y="286"/>
                    <a:pt x="19" y="286"/>
                    <a:pt x="18" y="286"/>
                  </a:cubicBezTo>
                  <a:cubicBezTo>
                    <a:pt x="17" y="280"/>
                    <a:pt x="16" y="275"/>
                    <a:pt x="15" y="269"/>
                  </a:cubicBezTo>
                  <a:cubicBezTo>
                    <a:pt x="12" y="273"/>
                    <a:pt x="11" y="277"/>
                    <a:pt x="10" y="281"/>
                  </a:cubicBezTo>
                  <a:cubicBezTo>
                    <a:pt x="9" y="283"/>
                    <a:pt x="7" y="285"/>
                    <a:pt x="6" y="287"/>
                  </a:cubicBezTo>
                  <a:cubicBezTo>
                    <a:pt x="6" y="290"/>
                    <a:pt x="9" y="294"/>
                    <a:pt x="10" y="297"/>
                  </a:cubicBezTo>
                  <a:cubicBezTo>
                    <a:pt x="10" y="300"/>
                    <a:pt x="10" y="308"/>
                    <a:pt x="8" y="311"/>
                  </a:cubicBezTo>
                  <a:cubicBezTo>
                    <a:pt x="7" y="313"/>
                    <a:pt x="5" y="313"/>
                    <a:pt x="4" y="315"/>
                  </a:cubicBezTo>
                  <a:cubicBezTo>
                    <a:pt x="3" y="318"/>
                    <a:pt x="2" y="320"/>
                    <a:pt x="1" y="323"/>
                  </a:cubicBezTo>
                  <a:cubicBezTo>
                    <a:pt x="1" y="324"/>
                    <a:pt x="0" y="326"/>
                    <a:pt x="0" y="328"/>
                  </a:cubicBezTo>
                  <a:cubicBezTo>
                    <a:pt x="0" y="333"/>
                    <a:pt x="5" y="339"/>
                    <a:pt x="7" y="344"/>
                  </a:cubicBezTo>
                  <a:cubicBezTo>
                    <a:pt x="9" y="349"/>
                    <a:pt x="12" y="355"/>
                    <a:pt x="14" y="361"/>
                  </a:cubicBezTo>
                  <a:cubicBezTo>
                    <a:pt x="929" y="361"/>
                    <a:pt x="929" y="361"/>
                    <a:pt x="929" y="361"/>
                  </a:cubicBezTo>
                  <a:cubicBezTo>
                    <a:pt x="929" y="360"/>
                    <a:pt x="929" y="359"/>
                    <a:pt x="930" y="358"/>
                  </a:cubicBezTo>
                  <a:cubicBezTo>
                    <a:pt x="930" y="357"/>
                    <a:pt x="930" y="357"/>
                    <a:pt x="930" y="356"/>
                  </a:cubicBezTo>
                  <a:cubicBezTo>
                    <a:pt x="929" y="354"/>
                    <a:pt x="925" y="353"/>
                    <a:pt x="923" y="353"/>
                  </a:cubicBezTo>
                  <a:cubicBezTo>
                    <a:pt x="921" y="352"/>
                    <a:pt x="920" y="344"/>
                    <a:pt x="918" y="341"/>
                  </a:cubicBezTo>
                  <a:cubicBezTo>
                    <a:pt x="917" y="340"/>
                    <a:pt x="914" y="338"/>
                    <a:pt x="912" y="337"/>
                  </a:cubicBezTo>
                  <a:cubicBezTo>
                    <a:pt x="910" y="336"/>
                    <a:pt x="909" y="334"/>
                    <a:pt x="908" y="332"/>
                  </a:cubicBezTo>
                  <a:cubicBezTo>
                    <a:pt x="908" y="330"/>
                    <a:pt x="907" y="329"/>
                    <a:pt x="906" y="328"/>
                  </a:cubicBezTo>
                  <a:cubicBezTo>
                    <a:pt x="905" y="325"/>
                    <a:pt x="904" y="324"/>
                    <a:pt x="901" y="324"/>
                  </a:cubicBezTo>
                  <a:cubicBezTo>
                    <a:pt x="901" y="324"/>
                    <a:pt x="900" y="324"/>
                    <a:pt x="900" y="324"/>
                  </a:cubicBezTo>
                  <a:cubicBezTo>
                    <a:pt x="900" y="324"/>
                    <a:pt x="900" y="324"/>
                    <a:pt x="900" y="324"/>
                  </a:cubicBezTo>
                  <a:cubicBezTo>
                    <a:pt x="898" y="324"/>
                    <a:pt x="897" y="322"/>
                    <a:pt x="895" y="321"/>
                  </a:cubicBezTo>
                  <a:cubicBezTo>
                    <a:pt x="893" y="319"/>
                    <a:pt x="892" y="317"/>
                    <a:pt x="891" y="317"/>
                  </a:cubicBezTo>
                  <a:cubicBezTo>
                    <a:pt x="890" y="317"/>
                    <a:pt x="890" y="317"/>
                    <a:pt x="890" y="317"/>
                  </a:cubicBezTo>
                  <a:cubicBezTo>
                    <a:pt x="888" y="313"/>
                    <a:pt x="884" y="314"/>
                    <a:pt x="881" y="311"/>
                  </a:cubicBezTo>
                  <a:cubicBezTo>
                    <a:pt x="880" y="309"/>
                    <a:pt x="880" y="304"/>
                    <a:pt x="879" y="301"/>
                  </a:cubicBezTo>
                  <a:cubicBezTo>
                    <a:pt x="879" y="299"/>
                    <a:pt x="880" y="298"/>
                    <a:pt x="879" y="296"/>
                  </a:cubicBezTo>
                  <a:cubicBezTo>
                    <a:pt x="882" y="296"/>
                    <a:pt x="879" y="288"/>
                    <a:pt x="880" y="286"/>
                  </a:cubicBezTo>
                  <a:cubicBezTo>
                    <a:pt x="879" y="287"/>
                    <a:pt x="879" y="288"/>
                    <a:pt x="879" y="288"/>
                  </a:cubicBezTo>
                  <a:cubicBezTo>
                    <a:pt x="878" y="288"/>
                    <a:pt x="878" y="287"/>
                    <a:pt x="877" y="286"/>
                  </a:cubicBezTo>
                  <a:cubicBezTo>
                    <a:pt x="877" y="285"/>
                    <a:pt x="877" y="285"/>
                    <a:pt x="877" y="285"/>
                  </a:cubicBezTo>
                  <a:cubicBezTo>
                    <a:pt x="878" y="285"/>
                    <a:pt x="878" y="285"/>
                    <a:pt x="878" y="285"/>
                  </a:cubicBezTo>
                  <a:cubicBezTo>
                    <a:pt x="878" y="285"/>
                    <a:pt x="878" y="285"/>
                    <a:pt x="878" y="285"/>
                  </a:cubicBezTo>
                  <a:cubicBezTo>
                    <a:pt x="879" y="285"/>
                    <a:pt x="879" y="285"/>
                    <a:pt x="879" y="285"/>
                  </a:cubicBezTo>
                  <a:cubicBezTo>
                    <a:pt x="879" y="284"/>
                    <a:pt x="878" y="284"/>
                    <a:pt x="877" y="282"/>
                  </a:cubicBezTo>
                  <a:cubicBezTo>
                    <a:pt x="874" y="284"/>
                    <a:pt x="874" y="285"/>
                    <a:pt x="876" y="288"/>
                  </a:cubicBezTo>
                  <a:cubicBezTo>
                    <a:pt x="873" y="287"/>
                    <a:pt x="871" y="285"/>
                    <a:pt x="869" y="283"/>
                  </a:cubicBezTo>
                  <a:cubicBezTo>
                    <a:pt x="866" y="282"/>
                    <a:pt x="867" y="282"/>
                    <a:pt x="866" y="281"/>
                  </a:cubicBezTo>
                  <a:cubicBezTo>
                    <a:pt x="865" y="280"/>
                    <a:pt x="864" y="278"/>
                    <a:pt x="863" y="277"/>
                  </a:cubicBezTo>
                  <a:cubicBezTo>
                    <a:pt x="861" y="281"/>
                    <a:pt x="861" y="285"/>
                    <a:pt x="862" y="289"/>
                  </a:cubicBezTo>
                  <a:cubicBezTo>
                    <a:pt x="860" y="287"/>
                    <a:pt x="858" y="284"/>
                    <a:pt x="856" y="284"/>
                  </a:cubicBezTo>
                  <a:cubicBezTo>
                    <a:pt x="855" y="284"/>
                    <a:pt x="855" y="285"/>
                    <a:pt x="854" y="285"/>
                  </a:cubicBezTo>
                  <a:cubicBezTo>
                    <a:pt x="851" y="278"/>
                    <a:pt x="851" y="271"/>
                    <a:pt x="848" y="264"/>
                  </a:cubicBezTo>
                  <a:cubicBezTo>
                    <a:pt x="847" y="261"/>
                    <a:pt x="844" y="258"/>
                    <a:pt x="843" y="254"/>
                  </a:cubicBezTo>
                  <a:cubicBezTo>
                    <a:pt x="843" y="250"/>
                    <a:pt x="843" y="250"/>
                    <a:pt x="840" y="249"/>
                  </a:cubicBezTo>
                  <a:cubicBezTo>
                    <a:pt x="836" y="246"/>
                    <a:pt x="834" y="245"/>
                    <a:pt x="831" y="241"/>
                  </a:cubicBezTo>
                  <a:cubicBezTo>
                    <a:pt x="831" y="240"/>
                    <a:pt x="832" y="235"/>
                    <a:pt x="833" y="235"/>
                  </a:cubicBezTo>
                  <a:cubicBezTo>
                    <a:pt x="833" y="235"/>
                    <a:pt x="833" y="235"/>
                    <a:pt x="833" y="235"/>
                  </a:cubicBezTo>
                  <a:cubicBezTo>
                    <a:pt x="834" y="235"/>
                    <a:pt x="834" y="235"/>
                    <a:pt x="834" y="236"/>
                  </a:cubicBezTo>
                  <a:cubicBezTo>
                    <a:pt x="835" y="236"/>
                    <a:pt x="835" y="237"/>
                    <a:pt x="836" y="237"/>
                  </a:cubicBezTo>
                  <a:cubicBezTo>
                    <a:pt x="836" y="237"/>
                    <a:pt x="836" y="237"/>
                    <a:pt x="836" y="237"/>
                  </a:cubicBezTo>
                  <a:cubicBezTo>
                    <a:pt x="833" y="233"/>
                    <a:pt x="830" y="230"/>
                    <a:pt x="828" y="225"/>
                  </a:cubicBezTo>
                  <a:cubicBezTo>
                    <a:pt x="826" y="226"/>
                    <a:pt x="824" y="227"/>
                    <a:pt x="825" y="228"/>
                  </a:cubicBezTo>
                  <a:cubicBezTo>
                    <a:pt x="825" y="228"/>
                    <a:pt x="825" y="229"/>
                    <a:pt x="824" y="229"/>
                  </a:cubicBezTo>
                  <a:cubicBezTo>
                    <a:pt x="823" y="229"/>
                    <a:pt x="822" y="224"/>
                    <a:pt x="820" y="223"/>
                  </a:cubicBezTo>
                  <a:cubicBezTo>
                    <a:pt x="818" y="221"/>
                    <a:pt x="815" y="220"/>
                    <a:pt x="812" y="218"/>
                  </a:cubicBezTo>
                  <a:cubicBezTo>
                    <a:pt x="811" y="218"/>
                    <a:pt x="810" y="217"/>
                    <a:pt x="810" y="217"/>
                  </a:cubicBezTo>
                  <a:cubicBezTo>
                    <a:pt x="809" y="217"/>
                    <a:pt x="809" y="218"/>
                    <a:pt x="807" y="220"/>
                  </a:cubicBezTo>
                  <a:cubicBezTo>
                    <a:pt x="805" y="216"/>
                    <a:pt x="804" y="214"/>
                    <a:pt x="802" y="211"/>
                  </a:cubicBezTo>
                  <a:cubicBezTo>
                    <a:pt x="802" y="210"/>
                    <a:pt x="802" y="208"/>
                    <a:pt x="801" y="207"/>
                  </a:cubicBezTo>
                  <a:cubicBezTo>
                    <a:pt x="801" y="207"/>
                    <a:pt x="801" y="207"/>
                    <a:pt x="800" y="207"/>
                  </a:cubicBezTo>
                  <a:cubicBezTo>
                    <a:pt x="800" y="207"/>
                    <a:pt x="799" y="208"/>
                    <a:pt x="799" y="208"/>
                  </a:cubicBezTo>
                  <a:cubicBezTo>
                    <a:pt x="798" y="209"/>
                    <a:pt x="797" y="210"/>
                    <a:pt x="797" y="210"/>
                  </a:cubicBezTo>
                  <a:cubicBezTo>
                    <a:pt x="797" y="210"/>
                    <a:pt x="797" y="210"/>
                    <a:pt x="797" y="210"/>
                  </a:cubicBezTo>
                  <a:cubicBezTo>
                    <a:pt x="795" y="209"/>
                    <a:pt x="793" y="208"/>
                    <a:pt x="792" y="207"/>
                  </a:cubicBezTo>
                  <a:cubicBezTo>
                    <a:pt x="792" y="207"/>
                    <a:pt x="792" y="205"/>
                    <a:pt x="792" y="204"/>
                  </a:cubicBezTo>
                  <a:cubicBezTo>
                    <a:pt x="791" y="204"/>
                    <a:pt x="791" y="204"/>
                    <a:pt x="791" y="204"/>
                  </a:cubicBezTo>
                  <a:cubicBezTo>
                    <a:pt x="791" y="204"/>
                    <a:pt x="790" y="205"/>
                    <a:pt x="789" y="205"/>
                  </a:cubicBezTo>
                  <a:cubicBezTo>
                    <a:pt x="789" y="206"/>
                    <a:pt x="788" y="207"/>
                    <a:pt x="788" y="207"/>
                  </a:cubicBezTo>
                  <a:cubicBezTo>
                    <a:pt x="788" y="207"/>
                    <a:pt x="788" y="207"/>
                    <a:pt x="788" y="207"/>
                  </a:cubicBezTo>
                  <a:cubicBezTo>
                    <a:pt x="785" y="205"/>
                    <a:pt x="781" y="203"/>
                    <a:pt x="779" y="201"/>
                  </a:cubicBezTo>
                  <a:cubicBezTo>
                    <a:pt x="775" y="198"/>
                    <a:pt x="774" y="198"/>
                    <a:pt x="774" y="193"/>
                  </a:cubicBezTo>
                  <a:cubicBezTo>
                    <a:pt x="775" y="192"/>
                    <a:pt x="775" y="191"/>
                    <a:pt x="775" y="190"/>
                  </a:cubicBezTo>
                  <a:cubicBezTo>
                    <a:pt x="775" y="187"/>
                    <a:pt x="769" y="185"/>
                    <a:pt x="769" y="182"/>
                  </a:cubicBezTo>
                  <a:cubicBezTo>
                    <a:pt x="769" y="176"/>
                    <a:pt x="770" y="168"/>
                    <a:pt x="769" y="161"/>
                  </a:cubicBezTo>
                  <a:cubicBezTo>
                    <a:pt x="768" y="158"/>
                    <a:pt x="766" y="155"/>
                    <a:pt x="766" y="152"/>
                  </a:cubicBezTo>
                  <a:cubicBezTo>
                    <a:pt x="766" y="152"/>
                    <a:pt x="766" y="149"/>
                    <a:pt x="766" y="149"/>
                  </a:cubicBezTo>
                  <a:cubicBezTo>
                    <a:pt x="765" y="149"/>
                    <a:pt x="766" y="149"/>
                    <a:pt x="766" y="148"/>
                  </a:cubicBezTo>
                  <a:cubicBezTo>
                    <a:pt x="765" y="149"/>
                    <a:pt x="763" y="149"/>
                    <a:pt x="762" y="150"/>
                  </a:cubicBezTo>
                  <a:cubicBezTo>
                    <a:pt x="763" y="146"/>
                    <a:pt x="756" y="142"/>
                    <a:pt x="755" y="139"/>
                  </a:cubicBezTo>
                  <a:cubicBezTo>
                    <a:pt x="754" y="138"/>
                    <a:pt x="754" y="138"/>
                    <a:pt x="753" y="137"/>
                  </a:cubicBezTo>
                  <a:cubicBezTo>
                    <a:pt x="752" y="133"/>
                    <a:pt x="753" y="129"/>
                    <a:pt x="753" y="126"/>
                  </a:cubicBezTo>
                  <a:cubicBezTo>
                    <a:pt x="752" y="120"/>
                    <a:pt x="749" y="114"/>
                    <a:pt x="750" y="110"/>
                  </a:cubicBezTo>
                  <a:cubicBezTo>
                    <a:pt x="751" y="108"/>
                    <a:pt x="752" y="110"/>
                    <a:pt x="751" y="107"/>
                  </a:cubicBezTo>
                  <a:cubicBezTo>
                    <a:pt x="749" y="104"/>
                    <a:pt x="751" y="104"/>
                    <a:pt x="751" y="103"/>
                  </a:cubicBezTo>
                  <a:cubicBezTo>
                    <a:pt x="751" y="101"/>
                    <a:pt x="749" y="100"/>
                    <a:pt x="747" y="99"/>
                  </a:cubicBezTo>
                  <a:cubicBezTo>
                    <a:pt x="745" y="98"/>
                    <a:pt x="745" y="98"/>
                    <a:pt x="743" y="97"/>
                  </a:cubicBezTo>
                  <a:cubicBezTo>
                    <a:pt x="742" y="96"/>
                    <a:pt x="739" y="94"/>
                    <a:pt x="738" y="92"/>
                  </a:cubicBezTo>
                  <a:cubicBezTo>
                    <a:pt x="738" y="92"/>
                    <a:pt x="736" y="92"/>
                    <a:pt x="735" y="91"/>
                  </a:cubicBezTo>
                  <a:cubicBezTo>
                    <a:pt x="733" y="89"/>
                    <a:pt x="732" y="86"/>
                    <a:pt x="731" y="84"/>
                  </a:cubicBezTo>
                  <a:cubicBezTo>
                    <a:pt x="730" y="85"/>
                    <a:pt x="729" y="86"/>
                    <a:pt x="728" y="86"/>
                  </a:cubicBezTo>
                  <a:cubicBezTo>
                    <a:pt x="728" y="86"/>
                    <a:pt x="728" y="86"/>
                    <a:pt x="728" y="86"/>
                  </a:cubicBezTo>
                  <a:cubicBezTo>
                    <a:pt x="727" y="86"/>
                    <a:pt x="727" y="86"/>
                    <a:pt x="726" y="85"/>
                  </a:cubicBezTo>
                  <a:cubicBezTo>
                    <a:pt x="726" y="85"/>
                    <a:pt x="726" y="85"/>
                    <a:pt x="725" y="85"/>
                  </a:cubicBezTo>
                  <a:cubicBezTo>
                    <a:pt x="725" y="85"/>
                    <a:pt x="725" y="85"/>
                    <a:pt x="725" y="85"/>
                  </a:cubicBezTo>
                  <a:cubicBezTo>
                    <a:pt x="724" y="85"/>
                    <a:pt x="724" y="88"/>
                    <a:pt x="722" y="89"/>
                  </a:cubicBezTo>
                  <a:cubicBezTo>
                    <a:pt x="721" y="90"/>
                    <a:pt x="720" y="91"/>
                    <a:pt x="719" y="91"/>
                  </a:cubicBezTo>
                  <a:cubicBezTo>
                    <a:pt x="718" y="91"/>
                    <a:pt x="717" y="90"/>
                    <a:pt x="716" y="90"/>
                  </a:cubicBezTo>
                  <a:cubicBezTo>
                    <a:pt x="714" y="88"/>
                    <a:pt x="714" y="83"/>
                    <a:pt x="713" y="80"/>
                  </a:cubicBezTo>
                  <a:cubicBezTo>
                    <a:pt x="712" y="74"/>
                    <a:pt x="711" y="67"/>
                    <a:pt x="709" y="61"/>
                  </a:cubicBezTo>
                  <a:cubicBezTo>
                    <a:pt x="709" y="58"/>
                    <a:pt x="707" y="53"/>
                    <a:pt x="709" y="51"/>
                  </a:cubicBezTo>
                  <a:cubicBezTo>
                    <a:pt x="709" y="51"/>
                    <a:pt x="709" y="51"/>
                    <a:pt x="709" y="51"/>
                  </a:cubicBezTo>
                  <a:cubicBezTo>
                    <a:pt x="707" y="51"/>
                    <a:pt x="706" y="51"/>
                    <a:pt x="705" y="52"/>
                  </a:cubicBezTo>
                  <a:cubicBezTo>
                    <a:pt x="706" y="47"/>
                    <a:pt x="707" y="46"/>
                    <a:pt x="704" y="43"/>
                  </a:cubicBezTo>
                  <a:cubicBezTo>
                    <a:pt x="703" y="41"/>
                    <a:pt x="702" y="40"/>
                    <a:pt x="701" y="39"/>
                  </a:cubicBezTo>
                  <a:cubicBezTo>
                    <a:pt x="701" y="39"/>
                    <a:pt x="701" y="39"/>
                    <a:pt x="700" y="39"/>
                  </a:cubicBezTo>
                  <a:cubicBezTo>
                    <a:pt x="700" y="39"/>
                    <a:pt x="700" y="39"/>
                    <a:pt x="700" y="39"/>
                  </a:cubicBezTo>
                  <a:cubicBezTo>
                    <a:pt x="700" y="39"/>
                    <a:pt x="700" y="39"/>
                    <a:pt x="699" y="39"/>
                  </a:cubicBezTo>
                  <a:cubicBezTo>
                    <a:pt x="699" y="39"/>
                    <a:pt x="699" y="39"/>
                    <a:pt x="699" y="39"/>
                  </a:cubicBezTo>
                  <a:cubicBezTo>
                    <a:pt x="698" y="37"/>
                    <a:pt x="699" y="31"/>
                    <a:pt x="702" y="30"/>
                  </a:cubicBezTo>
                  <a:cubicBezTo>
                    <a:pt x="699" y="28"/>
                    <a:pt x="697" y="30"/>
                    <a:pt x="694" y="28"/>
                  </a:cubicBezTo>
                  <a:cubicBezTo>
                    <a:pt x="692" y="25"/>
                    <a:pt x="692" y="18"/>
                    <a:pt x="691" y="14"/>
                  </a:cubicBezTo>
                  <a:cubicBezTo>
                    <a:pt x="691" y="12"/>
                    <a:pt x="690" y="5"/>
                    <a:pt x="687" y="5"/>
                  </a:cubicBezTo>
                  <a:cubicBezTo>
                    <a:pt x="687" y="5"/>
                    <a:pt x="686" y="5"/>
                    <a:pt x="685" y="6"/>
                  </a:cubicBezTo>
                  <a:cubicBezTo>
                    <a:pt x="686" y="3"/>
                    <a:pt x="689" y="2"/>
                    <a:pt x="685" y="0"/>
                  </a:cubicBezTo>
                  <a:cubicBezTo>
                    <a:pt x="685" y="0"/>
                    <a:pt x="685" y="0"/>
                    <a:pt x="6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1480"/>
            <p:cNvSpPr/>
            <p:nvPr/>
          </p:nvSpPr>
          <p:spPr bwMode="auto">
            <a:xfrm>
              <a:off x="2366538" y="4294137"/>
              <a:ext cx="13423" cy="16108"/>
            </a:xfrm>
            <a:custGeom>
              <a:gdLst>
                <a:gd name="T0" fmla="*/ 4 w 4"/>
                <a:gd name="T1" fmla="*/ 0 h 5"/>
                <a:gd name="T2" fmla="*/ 2 w 4"/>
                <a:gd name="T3" fmla="*/ 5 h 5"/>
                <a:gd name="T4" fmla="*/ 4 w 4"/>
                <a:gd name="T5" fmla="*/ 0 h 5"/>
              </a:gdLst>
              <a:cxnLst>
                <a:cxn ang="0">
                  <a:pos x="T0" y="T1"/>
                </a:cxn>
                <a:cxn ang="0">
                  <a:pos x="T2" y="T3"/>
                </a:cxn>
                <a:cxn ang="0">
                  <a:pos x="T4" y="T5"/>
                </a:cxn>
              </a:cxnLst>
              <a:rect l="0" t="0" r="r" b="b"/>
              <a:pathLst>
                <a:path w="4" h="5">
                  <a:moveTo>
                    <a:pt x="4" y="0"/>
                  </a:moveTo>
                  <a:cubicBezTo>
                    <a:pt x="0" y="1"/>
                    <a:pt x="3" y="4"/>
                    <a:pt x="2" y="5"/>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1481"/>
            <p:cNvSpPr/>
            <p:nvPr/>
          </p:nvSpPr>
          <p:spPr bwMode="auto">
            <a:xfrm>
              <a:off x="2382646" y="4354542"/>
              <a:ext cx="9396" cy="12081"/>
            </a:xfrm>
            <a:custGeom>
              <a:gdLst>
                <a:gd name="T0" fmla="*/ 3 w 3"/>
                <a:gd name="T1" fmla="*/ 0 h 4"/>
                <a:gd name="T2" fmla="*/ 1 w 3"/>
                <a:gd name="T3" fmla="*/ 4 h 4"/>
                <a:gd name="T4" fmla="*/ 3 w 3"/>
                <a:gd name="T5" fmla="*/ 0 h 4"/>
              </a:gdLst>
              <a:cxnLst>
                <a:cxn ang="0">
                  <a:pos x="T0" y="T1"/>
                </a:cxn>
                <a:cxn ang="0">
                  <a:pos x="T2" y="T3"/>
                </a:cxn>
                <a:cxn ang="0">
                  <a:pos x="T4" y="T5"/>
                </a:cxn>
              </a:cxnLst>
              <a:rect l="0" t="0" r="r" b="b"/>
              <a:pathLst>
                <a:path w="3" h="4">
                  <a:moveTo>
                    <a:pt x="3" y="0"/>
                  </a:moveTo>
                  <a:cubicBezTo>
                    <a:pt x="1" y="1"/>
                    <a:pt x="0" y="2"/>
                    <a:pt x="1" y="4"/>
                  </a:cubicBezTo>
                  <a:cubicBezTo>
                    <a:pt x="1"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1482"/>
            <p:cNvSpPr/>
            <p:nvPr/>
          </p:nvSpPr>
          <p:spPr bwMode="auto">
            <a:xfrm>
              <a:off x="2312844" y="3935733"/>
              <a:ext cx="6712" cy="12081"/>
            </a:xfrm>
            <a:custGeom>
              <a:gdLst>
                <a:gd name="T0" fmla="*/ 2 w 2"/>
                <a:gd name="T1" fmla="*/ 0 h 4"/>
                <a:gd name="T2" fmla="*/ 1 w 2"/>
                <a:gd name="T3" fmla="*/ 3 h 4"/>
                <a:gd name="T4" fmla="*/ 1 w 2"/>
                <a:gd name="T5" fmla="*/ 4 h 4"/>
                <a:gd name="T6" fmla="*/ 1 w 2"/>
                <a:gd name="T7" fmla="*/ 2 h 4"/>
                <a:gd name="T8" fmla="*/ 2 w 2"/>
                <a:gd name="T9" fmla="*/ 0 h 4"/>
              </a:gdLst>
              <a:cxnLst>
                <a:cxn ang="0">
                  <a:pos x="T0" y="T1"/>
                </a:cxn>
                <a:cxn ang="0">
                  <a:pos x="T2" y="T3"/>
                </a:cxn>
                <a:cxn ang="0">
                  <a:pos x="T4" y="T5"/>
                </a:cxn>
                <a:cxn ang="0">
                  <a:pos x="T6" y="T7"/>
                </a:cxn>
                <a:cxn ang="0">
                  <a:pos x="T8" y="T9"/>
                </a:cxn>
              </a:cxnLst>
              <a:rect l="0" t="0" r="r" b="b"/>
              <a:pathLst>
                <a:path w="2" h="4">
                  <a:moveTo>
                    <a:pt x="2" y="0"/>
                  </a:moveTo>
                  <a:cubicBezTo>
                    <a:pt x="1" y="1"/>
                    <a:pt x="0" y="2"/>
                    <a:pt x="1" y="3"/>
                  </a:cubicBezTo>
                  <a:cubicBezTo>
                    <a:pt x="1" y="4"/>
                    <a:pt x="1" y="4"/>
                    <a:pt x="1" y="4"/>
                  </a:cubicBezTo>
                  <a:cubicBezTo>
                    <a:pt x="1" y="4"/>
                    <a:pt x="1" y="3"/>
                    <a:pt x="1" y="2"/>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1483"/>
            <p:cNvSpPr/>
            <p:nvPr/>
          </p:nvSpPr>
          <p:spPr bwMode="auto">
            <a:xfrm>
              <a:off x="2345060" y="4287425"/>
              <a:ext cx="5369" cy="6712"/>
            </a:xfrm>
            <a:custGeom>
              <a:gdLst>
                <a:gd name="T0" fmla="*/ 0 w 2"/>
                <a:gd name="T1" fmla="*/ 0 h 2"/>
                <a:gd name="T2" fmla="*/ 1 w 2"/>
                <a:gd name="T3" fmla="*/ 1 h 2"/>
                <a:gd name="T4" fmla="*/ 2 w 2"/>
                <a:gd name="T5" fmla="*/ 2 h 2"/>
                <a:gd name="T6" fmla="*/ 1 w 2"/>
                <a:gd name="T7" fmla="*/ 1 h 2"/>
                <a:gd name="T8" fmla="*/ 0 w 2"/>
                <a:gd name="T9" fmla="*/ 0 h 2"/>
              </a:gdLst>
              <a:cxnLst>
                <a:cxn ang="0">
                  <a:pos x="T0" y="T1"/>
                </a:cxn>
                <a:cxn ang="0">
                  <a:pos x="T2" y="T3"/>
                </a:cxn>
                <a:cxn ang="0">
                  <a:pos x="T4" y="T5"/>
                </a:cxn>
                <a:cxn ang="0">
                  <a:pos x="T6" y="T7"/>
                </a:cxn>
                <a:cxn ang="0">
                  <a:pos x="T8" y="T9"/>
                </a:cxn>
              </a:cxnLst>
              <a:rect l="0" t="0" r="r" b="b"/>
              <a:pathLst>
                <a:path w="2" h="2">
                  <a:moveTo>
                    <a:pt x="0" y="0"/>
                  </a:moveTo>
                  <a:cubicBezTo>
                    <a:pt x="1" y="1"/>
                    <a:pt x="1" y="1"/>
                    <a:pt x="1" y="1"/>
                  </a:cubicBezTo>
                  <a:cubicBezTo>
                    <a:pt x="1" y="1"/>
                    <a:pt x="2" y="2"/>
                    <a:pt x="2" y="2"/>
                  </a:cubicBezTo>
                  <a:cubicBezTo>
                    <a:pt x="2" y="2"/>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1484"/>
            <p:cNvSpPr/>
            <p:nvPr/>
          </p:nvSpPr>
          <p:spPr bwMode="auto">
            <a:xfrm>
              <a:off x="2290025" y="4094128"/>
              <a:ext cx="16108" cy="28189"/>
            </a:xfrm>
            <a:custGeom>
              <a:gdLst>
                <a:gd name="T0" fmla="*/ 3 w 5"/>
                <a:gd name="T1" fmla="*/ 0 h 9"/>
                <a:gd name="T2" fmla="*/ 0 w 5"/>
                <a:gd name="T3" fmla="*/ 3 h 9"/>
                <a:gd name="T4" fmla="*/ 0 w 5"/>
                <a:gd name="T5" fmla="*/ 6 h 9"/>
                <a:gd name="T6" fmla="*/ 0 w 5"/>
                <a:gd name="T7" fmla="*/ 7 h 9"/>
                <a:gd name="T8" fmla="*/ 2 w 5"/>
                <a:gd name="T9" fmla="*/ 9 h 9"/>
                <a:gd name="T10" fmla="*/ 5 w 5"/>
                <a:gd name="T11" fmla="*/ 2 h 9"/>
                <a:gd name="T12" fmla="*/ 5 w 5"/>
                <a:gd name="T13" fmla="*/ 2 h 9"/>
                <a:gd name="T14" fmla="*/ 3 w 5"/>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0"/>
                  </a:moveTo>
                  <a:cubicBezTo>
                    <a:pt x="2" y="0"/>
                    <a:pt x="0" y="2"/>
                    <a:pt x="0" y="3"/>
                  </a:cubicBezTo>
                  <a:cubicBezTo>
                    <a:pt x="0" y="4"/>
                    <a:pt x="0" y="5"/>
                    <a:pt x="0" y="6"/>
                  </a:cubicBezTo>
                  <a:cubicBezTo>
                    <a:pt x="0" y="7"/>
                    <a:pt x="0" y="7"/>
                    <a:pt x="0" y="7"/>
                  </a:cubicBezTo>
                  <a:cubicBezTo>
                    <a:pt x="1" y="8"/>
                    <a:pt x="2" y="9"/>
                    <a:pt x="2" y="9"/>
                  </a:cubicBezTo>
                  <a:cubicBezTo>
                    <a:pt x="4" y="9"/>
                    <a:pt x="4" y="4"/>
                    <a:pt x="5" y="2"/>
                  </a:cubicBezTo>
                  <a:cubicBezTo>
                    <a:pt x="5" y="2"/>
                    <a:pt x="5" y="2"/>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Freeform 1485"/>
            <p:cNvSpPr/>
            <p:nvPr/>
          </p:nvSpPr>
          <p:spPr bwMode="auto">
            <a:xfrm>
              <a:off x="2357141" y="4310245"/>
              <a:ext cx="16108" cy="9396"/>
            </a:xfrm>
            <a:custGeom>
              <a:gdLst>
                <a:gd name="T0" fmla="*/ 3 w 5"/>
                <a:gd name="T1" fmla="*/ 0 h 3"/>
                <a:gd name="T2" fmla="*/ 4 w 5"/>
                <a:gd name="T3" fmla="*/ 3 h 3"/>
                <a:gd name="T4" fmla="*/ 5 w 5"/>
                <a:gd name="T5" fmla="*/ 3 h 3"/>
                <a:gd name="T6" fmla="*/ 3 w 5"/>
                <a:gd name="T7" fmla="*/ 0 h 3"/>
              </a:gdLst>
              <a:cxnLst>
                <a:cxn ang="0">
                  <a:pos x="T0" y="T1"/>
                </a:cxn>
                <a:cxn ang="0">
                  <a:pos x="T2" y="T3"/>
                </a:cxn>
                <a:cxn ang="0">
                  <a:pos x="T4" y="T5"/>
                </a:cxn>
                <a:cxn ang="0">
                  <a:pos x="T6" y="T7"/>
                </a:cxn>
              </a:cxnLst>
              <a:rect l="0" t="0" r="r" b="b"/>
              <a:pathLst>
                <a:path w="5" h="3">
                  <a:moveTo>
                    <a:pt x="3" y="0"/>
                  </a:moveTo>
                  <a:cubicBezTo>
                    <a:pt x="0" y="1"/>
                    <a:pt x="2" y="3"/>
                    <a:pt x="4" y="3"/>
                  </a:cubicBezTo>
                  <a:cubicBezTo>
                    <a:pt x="4" y="3"/>
                    <a:pt x="4" y="3"/>
                    <a:pt x="5" y="3"/>
                  </a:cubicBezTo>
                  <a:cubicBezTo>
                    <a:pt x="4" y="2"/>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1486"/>
            <p:cNvSpPr>
              <a:spLocks noEditPoints="1"/>
            </p:cNvSpPr>
            <p:nvPr/>
          </p:nvSpPr>
          <p:spPr bwMode="auto">
            <a:xfrm>
              <a:off x="2299421" y="3891436"/>
              <a:ext cx="45639" cy="155711"/>
            </a:xfrm>
            <a:custGeom>
              <a:gdLst>
                <a:gd name="T0" fmla="*/ 14 w 14"/>
                <a:gd name="T1" fmla="*/ 4 h 49"/>
                <a:gd name="T2" fmla="*/ 14 w 14"/>
                <a:gd name="T3" fmla="*/ 4 h 49"/>
                <a:gd name="T4" fmla="*/ 14 w 14"/>
                <a:gd name="T5" fmla="*/ 4 h 49"/>
                <a:gd name="T6" fmla="*/ 13 w 14"/>
                <a:gd name="T7" fmla="*/ 0 h 49"/>
                <a:gd name="T8" fmla="*/ 9 w 14"/>
                <a:gd name="T9" fmla="*/ 13 h 49"/>
                <a:gd name="T10" fmla="*/ 8 w 14"/>
                <a:gd name="T11" fmla="*/ 16 h 49"/>
                <a:gd name="T12" fmla="*/ 9 w 14"/>
                <a:gd name="T13" fmla="*/ 16 h 49"/>
                <a:gd name="T14" fmla="*/ 7 w 14"/>
                <a:gd name="T15" fmla="*/ 24 h 49"/>
                <a:gd name="T16" fmla="*/ 7 w 14"/>
                <a:gd name="T17" fmla="*/ 30 h 49"/>
                <a:gd name="T18" fmla="*/ 8 w 14"/>
                <a:gd name="T19" fmla="*/ 30 h 49"/>
                <a:gd name="T20" fmla="*/ 7 w 14"/>
                <a:gd name="T21" fmla="*/ 33 h 49"/>
                <a:gd name="T22" fmla="*/ 6 w 14"/>
                <a:gd name="T23" fmla="*/ 34 h 49"/>
                <a:gd name="T24" fmla="*/ 5 w 14"/>
                <a:gd name="T25" fmla="*/ 33 h 49"/>
                <a:gd name="T26" fmla="*/ 4 w 14"/>
                <a:gd name="T27" fmla="*/ 34 h 49"/>
                <a:gd name="T28" fmla="*/ 3 w 14"/>
                <a:gd name="T29" fmla="*/ 37 h 49"/>
                <a:gd name="T30" fmla="*/ 3 w 14"/>
                <a:gd name="T31" fmla="*/ 40 h 49"/>
                <a:gd name="T32" fmla="*/ 2 w 14"/>
                <a:gd name="T33" fmla="*/ 39 h 49"/>
                <a:gd name="T34" fmla="*/ 1 w 14"/>
                <a:gd name="T35" fmla="*/ 40 h 49"/>
                <a:gd name="T36" fmla="*/ 3 w 14"/>
                <a:gd name="T37" fmla="*/ 45 h 49"/>
                <a:gd name="T38" fmla="*/ 3 w 14"/>
                <a:gd name="T39" fmla="*/ 46 h 49"/>
                <a:gd name="T40" fmla="*/ 5 w 14"/>
                <a:gd name="T41" fmla="*/ 49 h 49"/>
                <a:gd name="T42" fmla="*/ 6 w 14"/>
                <a:gd name="T43" fmla="*/ 43 h 49"/>
                <a:gd name="T44" fmla="*/ 6 w 14"/>
                <a:gd name="T45" fmla="*/ 36 h 49"/>
                <a:gd name="T46" fmla="*/ 9 w 14"/>
                <a:gd name="T47" fmla="*/ 31 h 49"/>
                <a:gd name="T48" fmla="*/ 9 w 14"/>
                <a:gd name="T49" fmla="*/ 30 h 49"/>
                <a:gd name="T50" fmla="*/ 9 w 14"/>
                <a:gd name="T51" fmla="*/ 30 h 49"/>
                <a:gd name="T52" fmla="*/ 12 w 14"/>
                <a:gd name="T53" fmla="*/ 25 h 49"/>
                <a:gd name="T54" fmla="*/ 11 w 14"/>
                <a:gd name="T55" fmla="*/ 20 h 49"/>
                <a:gd name="T56" fmla="*/ 10 w 14"/>
                <a:gd name="T57" fmla="*/ 16 h 49"/>
                <a:gd name="T58" fmla="*/ 9 w 14"/>
                <a:gd name="T59" fmla="*/ 16 h 49"/>
                <a:gd name="T60" fmla="*/ 11 w 14"/>
                <a:gd name="T61" fmla="*/ 12 h 49"/>
                <a:gd name="T62" fmla="*/ 13 w 14"/>
                <a:gd name="T63" fmla="*/ 10 h 49"/>
                <a:gd name="T64" fmla="*/ 14 w 14"/>
                <a:gd name="T65" fmla="*/ 8 h 49"/>
                <a:gd name="T66" fmla="*/ 13 w 14"/>
                <a:gd name="T67" fmla="*/ 6 h 49"/>
                <a:gd name="T68" fmla="*/ 12 w 14"/>
                <a:gd name="T69" fmla="*/ 5 h 49"/>
                <a:gd name="T70" fmla="*/ 12 w 14"/>
                <a:gd name="T71" fmla="*/ 5 h 49"/>
                <a:gd name="T72" fmla="*/ 13 w 14"/>
                <a:gd name="T73" fmla="*/ 4 h 49"/>
                <a:gd name="T74" fmla="*/ 14 w 14"/>
                <a:gd name="T75" fmla="*/ 3 h 49"/>
                <a:gd name="T76" fmla="*/ 14 w 14"/>
                <a:gd name="T77" fmla="*/ 4 h 49"/>
                <a:gd name="T78" fmla="*/ 13 w 14"/>
                <a:gd name="T79" fmla="*/ 0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 h="49">
                  <a:moveTo>
                    <a:pt x="14" y="4"/>
                  </a:moveTo>
                  <a:cubicBezTo>
                    <a:pt x="14" y="4"/>
                    <a:pt x="14" y="4"/>
                    <a:pt x="14" y="4"/>
                  </a:cubicBezTo>
                  <a:cubicBezTo>
                    <a:pt x="14" y="4"/>
                    <a:pt x="14" y="4"/>
                    <a:pt x="14" y="4"/>
                  </a:cubicBezTo>
                  <a:moveTo>
                    <a:pt x="13" y="0"/>
                  </a:moveTo>
                  <a:cubicBezTo>
                    <a:pt x="12" y="4"/>
                    <a:pt x="10" y="9"/>
                    <a:pt x="9" y="13"/>
                  </a:cubicBezTo>
                  <a:cubicBezTo>
                    <a:pt x="8" y="14"/>
                    <a:pt x="8" y="15"/>
                    <a:pt x="8" y="16"/>
                  </a:cubicBezTo>
                  <a:cubicBezTo>
                    <a:pt x="8" y="16"/>
                    <a:pt x="8" y="16"/>
                    <a:pt x="9" y="16"/>
                  </a:cubicBezTo>
                  <a:cubicBezTo>
                    <a:pt x="7" y="17"/>
                    <a:pt x="7" y="20"/>
                    <a:pt x="7" y="24"/>
                  </a:cubicBezTo>
                  <a:cubicBezTo>
                    <a:pt x="7" y="27"/>
                    <a:pt x="7" y="29"/>
                    <a:pt x="7" y="30"/>
                  </a:cubicBezTo>
                  <a:cubicBezTo>
                    <a:pt x="8" y="30"/>
                    <a:pt x="8" y="30"/>
                    <a:pt x="8" y="30"/>
                  </a:cubicBezTo>
                  <a:cubicBezTo>
                    <a:pt x="7" y="31"/>
                    <a:pt x="7" y="32"/>
                    <a:pt x="7" y="33"/>
                  </a:cubicBezTo>
                  <a:cubicBezTo>
                    <a:pt x="6" y="34"/>
                    <a:pt x="6" y="34"/>
                    <a:pt x="6" y="34"/>
                  </a:cubicBezTo>
                  <a:cubicBezTo>
                    <a:pt x="6" y="33"/>
                    <a:pt x="6" y="33"/>
                    <a:pt x="5" y="33"/>
                  </a:cubicBezTo>
                  <a:cubicBezTo>
                    <a:pt x="4" y="33"/>
                    <a:pt x="4" y="33"/>
                    <a:pt x="4" y="34"/>
                  </a:cubicBezTo>
                  <a:cubicBezTo>
                    <a:pt x="4" y="35"/>
                    <a:pt x="4" y="36"/>
                    <a:pt x="3" y="37"/>
                  </a:cubicBezTo>
                  <a:cubicBezTo>
                    <a:pt x="3" y="38"/>
                    <a:pt x="3" y="39"/>
                    <a:pt x="3" y="40"/>
                  </a:cubicBezTo>
                  <a:cubicBezTo>
                    <a:pt x="3" y="40"/>
                    <a:pt x="2" y="39"/>
                    <a:pt x="2" y="39"/>
                  </a:cubicBezTo>
                  <a:cubicBezTo>
                    <a:pt x="2" y="39"/>
                    <a:pt x="1" y="40"/>
                    <a:pt x="1" y="40"/>
                  </a:cubicBezTo>
                  <a:cubicBezTo>
                    <a:pt x="0" y="43"/>
                    <a:pt x="3" y="44"/>
                    <a:pt x="3" y="45"/>
                  </a:cubicBezTo>
                  <a:cubicBezTo>
                    <a:pt x="3" y="45"/>
                    <a:pt x="3" y="46"/>
                    <a:pt x="3" y="46"/>
                  </a:cubicBezTo>
                  <a:cubicBezTo>
                    <a:pt x="4" y="47"/>
                    <a:pt x="4" y="48"/>
                    <a:pt x="5" y="49"/>
                  </a:cubicBezTo>
                  <a:cubicBezTo>
                    <a:pt x="6" y="47"/>
                    <a:pt x="6" y="45"/>
                    <a:pt x="6" y="43"/>
                  </a:cubicBezTo>
                  <a:cubicBezTo>
                    <a:pt x="6" y="41"/>
                    <a:pt x="6" y="38"/>
                    <a:pt x="6" y="36"/>
                  </a:cubicBezTo>
                  <a:cubicBezTo>
                    <a:pt x="7" y="34"/>
                    <a:pt x="8" y="33"/>
                    <a:pt x="9" y="31"/>
                  </a:cubicBezTo>
                  <a:cubicBezTo>
                    <a:pt x="9" y="31"/>
                    <a:pt x="9" y="30"/>
                    <a:pt x="9" y="30"/>
                  </a:cubicBezTo>
                  <a:cubicBezTo>
                    <a:pt x="9" y="30"/>
                    <a:pt x="9" y="30"/>
                    <a:pt x="9" y="30"/>
                  </a:cubicBezTo>
                  <a:cubicBezTo>
                    <a:pt x="10" y="29"/>
                    <a:pt x="12" y="27"/>
                    <a:pt x="12" y="25"/>
                  </a:cubicBezTo>
                  <a:cubicBezTo>
                    <a:pt x="12" y="24"/>
                    <a:pt x="12" y="22"/>
                    <a:pt x="11" y="20"/>
                  </a:cubicBezTo>
                  <a:cubicBezTo>
                    <a:pt x="10" y="19"/>
                    <a:pt x="10" y="17"/>
                    <a:pt x="10" y="16"/>
                  </a:cubicBezTo>
                  <a:cubicBezTo>
                    <a:pt x="9" y="16"/>
                    <a:pt x="9" y="16"/>
                    <a:pt x="9" y="16"/>
                  </a:cubicBezTo>
                  <a:cubicBezTo>
                    <a:pt x="11" y="15"/>
                    <a:pt x="10" y="13"/>
                    <a:pt x="11" y="12"/>
                  </a:cubicBezTo>
                  <a:cubicBezTo>
                    <a:pt x="11" y="11"/>
                    <a:pt x="13" y="11"/>
                    <a:pt x="13" y="10"/>
                  </a:cubicBezTo>
                  <a:cubicBezTo>
                    <a:pt x="14" y="10"/>
                    <a:pt x="14" y="9"/>
                    <a:pt x="14" y="8"/>
                  </a:cubicBezTo>
                  <a:cubicBezTo>
                    <a:pt x="13" y="7"/>
                    <a:pt x="13" y="7"/>
                    <a:pt x="13" y="6"/>
                  </a:cubicBezTo>
                  <a:cubicBezTo>
                    <a:pt x="13" y="5"/>
                    <a:pt x="12" y="6"/>
                    <a:pt x="12" y="5"/>
                  </a:cubicBezTo>
                  <a:cubicBezTo>
                    <a:pt x="12" y="5"/>
                    <a:pt x="12" y="5"/>
                    <a:pt x="12" y="5"/>
                  </a:cubicBezTo>
                  <a:cubicBezTo>
                    <a:pt x="12" y="5"/>
                    <a:pt x="13" y="5"/>
                    <a:pt x="13" y="4"/>
                  </a:cubicBezTo>
                  <a:cubicBezTo>
                    <a:pt x="13" y="4"/>
                    <a:pt x="14" y="3"/>
                    <a:pt x="14" y="3"/>
                  </a:cubicBezTo>
                  <a:cubicBezTo>
                    <a:pt x="14" y="3"/>
                    <a:pt x="14" y="3"/>
                    <a:pt x="14" y="4"/>
                  </a:cubicBezTo>
                  <a:cubicBezTo>
                    <a:pt x="14" y="3"/>
                    <a:pt x="14"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1487"/>
            <p:cNvSpPr/>
            <p:nvPr/>
          </p:nvSpPr>
          <p:spPr bwMode="auto">
            <a:xfrm>
              <a:off x="2310160" y="4047147"/>
              <a:ext cx="9396" cy="12081"/>
            </a:xfrm>
            <a:custGeom>
              <a:gdLst>
                <a:gd name="T0" fmla="*/ 1 w 3"/>
                <a:gd name="T1" fmla="*/ 0 h 4"/>
                <a:gd name="T2" fmla="*/ 0 w 3"/>
                <a:gd name="T3" fmla="*/ 4 h 4"/>
                <a:gd name="T4" fmla="*/ 1 w 3"/>
                <a:gd name="T5" fmla="*/ 0 h 4"/>
              </a:gdLst>
              <a:cxnLst>
                <a:cxn ang="0">
                  <a:pos x="T0" y="T1"/>
                </a:cxn>
                <a:cxn ang="0">
                  <a:pos x="T2" y="T3"/>
                </a:cxn>
                <a:cxn ang="0">
                  <a:pos x="T4" y="T5"/>
                </a:cxn>
              </a:cxnLst>
              <a:rect l="0" t="0" r="r" b="b"/>
              <a:pathLst>
                <a:path w="3" h="4">
                  <a:moveTo>
                    <a:pt x="1" y="0"/>
                  </a:moveTo>
                  <a:cubicBezTo>
                    <a:pt x="1" y="1"/>
                    <a:pt x="1" y="3"/>
                    <a:pt x="0" y="4"/>
                  </a:cubicBezTo>
                  <a:cubicBezTo>
                    <a:pt x="2" y="3"/>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1488"/>
            <p:cNvSpPr/>
            <p:nvPr/>
          </p:nvSpPr>
          <p:spPr bwMode="auto">
            <a:xfrm>
              <a:off x="2315529" y="4217623"/>
              <a:ext cx="6712" cy="6712"/>
            </a:xfrm>
            <a:custGeom>
              <a:gdLst>
                <a:gd name="T0" fmla="*/ 2 w 2"/>
                <a:gd name="T1" fmla="*/ 0 h 2"/>
                <a:gd name="T2" fmla="*/ 1 w 2"/>
                <a:gd name="T3" fmla="*/ 2 h 2"/>
                <a:gd name="T4" fmla="*/ 2 w 2"/>
                <a:gd name="T5" fmla="*/ 0 h 2"/>
              </a:gdLst>
              <a:cxnLst>
                <a:cxn ang="0">
                  <a:pos x="T0" y="T1"/>
                </a:cxn>
                <a:cxn ang="0">
                  <a:pos x="T2" y="T3"/>
                </a:cxn>
                <a:cxn ang="0">
                  <a:pos x="T4" y="T5"/>
                </a:cxn>
              </a:cxnLst>
              <a:rect l="0" t="0" r="r" b="b"/>
              <a:pathLst>
                <a:path w="2" h="2">
                  <a:moveTo>
                    <a:pt x="2" y="0"/>
                  </a:moveTo>
                  <a:cubicBezTo>
                    <a:pt x="1" y="1"/>
                    <a:pt x="0" y="1"/>
                    <a:pt x="1"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1489"/>
            <p:cNvSpPr/>
            <p:nvPr/>
          </p:nvSpPr>
          <p:spPr bwMode="auto">
            <a:xfrm>
              <a:off x="2385330" y="4370650"/>
              <a:ext cx="18793" cy="34901"/>
            </a:xfrm>
            <a:custGeom>
              <a:gdLst>
                <a:gd name="T0" fmla="*/ 4 w 6"/>
                <a:gd name="T1" fmla="*/ 0 h 11"/>
                <a:gd name="T2" fmla="*/ 0 w 6"/>
                <a:gd name="T3" fmla="*/ 4 h 11"/>
                <a:gd name="T4" fmla="*/ 2 w 6"/>
                <a:gd name="T5" fmla="*/ 6 h 11"/>
                <a:gd name="T6" fmla="*/ 4 w 6"/>
                <a:gd name="T7" fmla="*/ 8 h 11"/>
                <a:gd name="T8" fmla="*/ 4 w 6"/>
                <a:gd name="T9" fmla="*/ 11 h 11"/>
                <a:gd name="T10" fmla="*/ 5 w 6"/>
                <a:gd name="T11" fmla="*/ 3 h 11"/>
                <a:gd name="T12" fmla="*/ 6 w 6"/>
                <a:gd name="T13" fmla="*/ 1 h 11"/>
                <a:gd name="T14" fmla="*/ 4 w 6"/>
                <a:gd name="T15" fmla="*/ 0 h 1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1">
                  <a:moveTo>
                    <a:pt x="4" y="0"/>
                  </a:moveTo>
                  <a:cubicBezTo>
                    <a:pt x="1" y="0"/>
                    <a:pt x="0" y="2"/>
                    <a:pt x="0" y="4"/>
                  </a:cubicBezTo>
                  <a:cubicBezTo>
                    <a:pt x="1" y="5"/>
                    <a:pt x="1" y="6"/>
                    <a:pt x="2" y="6"/>
                  </a:cubicBezTo>
                  <a:cubicBezTo>
                    <a:pt x="2" y="7"/>
                    <a:pt x="3" y="8"/>
                    <a:pt x="4" y="8"/>
                  </a:cubicBezTo>
                  <a:cubicBezTo>
                    <a:pt x="4" y="9"/>
                    <a:pt x="4" y="10"/>
                    <a:pt x="4" y="11"/>
                  </a:cubicBezTo>
                  <a:cubicBezTo>
                    <a:pt x="5" y="8"/>
                    <a:pt x="5" y="5"/>
                    <a:pt x="5" y="3"/>
                  </a:cubicBezTo>
                  <a:cubicBezTo>
                    <a:pt x="5" y="2"/>
                    <a:pt x="6" y="1"/>
                    <a:pt x="6"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1490"/>
            <p:cNvSpPr/>
            <p:nvPr/>
          </p:nvSpPr>
          <p:spPr bwMode="auto">
            <a:xfrm>
              <a:off x="802717" y="5452573"/>
              <a:ext cx="5369" cy="12081"/>
            </a:xfrm>
            <a:custGeom>
              <a:gdLst>
                <a:gd name="T0" fmla="*/ 1 w 2"/>
                <a:gd name="T1" fmla="*/ 0 h 4"/>
                <a:gd name="T2" fmla="*/ 0 w 2"/>
                <a:gd name="T3" fmla="*/ 4 h 4"/>
                <a:gd name="T4" fmla="*/ 1 w 2"/>
                <a:gd name="T5" fmla="*/ 0 h 4"/>
              </a:gdLst>
              <a:cxnLst>
                <a:cxn ang="0">
                  <a:pos x="T0" y="T1"/>
                </a:cxn>
                <a:cxn ang="0">
                  <a:pos x="T2" y="T3"/>
                </a:cxn>
                <a:cxn ang="0">
                  <a:pos x="T4" y="T5"/>
                </a:cxn>
              </a:cxnLst>
              <a:rect l="0" t="0" r="r" b="b"/>
              <a:pathLst>
                <a:path w="2" h="4">
                  <a:moveTo>
                    <a:pt x="1" y="0"/>
                  </a:moveTo>
                  <a:cubicBezTo>
                    <a:pt x="0" y="1"/>
                    <a:pt x="0" y="3"/>
                    <a:pt x="0" y="4"/>
                  </a:cubicBezTo>
                  <a:cubicBezTo>
                    <a:pt x="1"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1491"/>
            <p:cNvSpPr/>
            <p:nvPr/>
          </p:nvSpPr>
          <p:spPr bwMode="auto">
            <a:xfrm>
              <a:off x="5291487" y="5785473"/>
              <a:ext cx="6712" cy="4027"/>
            </a:xfrm>
            <a:custGeom>
              <a:gdLst>
                <a:gd name="T0" fmla="*/ 2 w 2"/>
                <a:gd name="T1" fmla="*/ 0 h 1"/>
                <a:gd name="T2" fmla="*/ 1 w 2"/>
                <a:gd name="T3" fmla="*/ 0 h 1"/>
                <a:gd name="T4" fmla="*/ 0 w 2"/>
                <a:gd name="T5" fmla="*/ 1 h 1"/>
                <a:gd name="T6" fmla="*/ 0 w 2"/>
                <a:gd name="T7" fmla="*/ 1 h 1"/>
                <a:gd name="T8" fmla="*/ 2 w 2"/>
                <a:gd name="T9" fmla="*/ 0 h 1"/>
              </a:gdLst>
              <a:cxnLst>
                <a:cxn ang="0">
                  <a:pos x="T0" y="T1"/>
                </a:cxn>
                <a:cxn ang="0">
                  <a:pos x="T2" y="T3"/>
                </a:cxn>
                <a:cxn ang="0">
                  <a:pos x="T4" y="T5"/>
                </a:cxn>
                <a:cxn ang="0">
                  <a:pos x="T6" y="T7"/>
                </a:cxn>
                <a:cxn ang="0">
                  <a:pos x="T8" y="T9"/>
                </a:cxn>
              </a:cxnLst>
              <a:rect l="0" t="0" r="r" b="b"/>
              <a:pathLst>
                <a:path w="2" h="1">
                  <a:moveTo>
                    <a:pt x="2" y="0"/>
                  </a:moveTo>
                  <a:cubicBezTo>
                    <a:pt x="1" y="0"/>
                    <a:pt x="1" y="0"/>
                    <a:pt x="1" y="0"/>
                  </a:cubicBezTo>
                  <a:cubicBezTo>
                    <a:pt x="1" y="0"/>
                    <a:pt x="0" y="1"/>
                    <a:pt x="0" y="1"/>
                  </a:cubicBezTo>
                  <a:cubicBezTo>
                    <a:pt x="0" y="1"/>
                    <a:pt x="0" y="1"/>
                    <a:pt x="0" y="1"/>
                  </a:cubicBezTo>
                  <a:cubicBezTo>
                    <a:pt x="1"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1492"/>
            <p:cNvSpPr/>
            <p:nvPr/>
          </p:nvSpPr>
          <p:spPr bwMode="auto">
            <a:xfrm>
              <a:off x="4737102" y="5994877"/>
              <a:ext cx="5369" cy="16108"/>
            </a:xfrm>
            <a:custGeom>
              <a:gdLst>
                <a:gd name="T0" fmla="*/ 1 w 2"/>
                <a:gd name="T1" fmla="*/ 0 h 5"/>
                <a:gd name="T2" fmla="*/ 0 w 2"/>
                <a:gd name="T3" fmla="*/ 5 h 5"/>
                <a:gd name="T4" fmla="*/ 1 w 2"/>
                <a:gd name="T5" fmla="*/ 3 h 5"/>
                <a:gd name="T6" fmla="*/ 1 w 2"/>
                <a:gd name="T7" fmla="*/ 3 h 5"/>
                <a:gd name="T8" fmla="*/ 2 w 2"/>
                <a:gd name="T9" fmla="*/ 1 h 5"/>
                <a:gd name="T10" fmla="*/ 2 w 2"/>
                <a:gd name="T11" fmla="*/ 1 h 5"/>
                <a:gd name="T12" fmla="*/ 1 w 2"/>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2" h="5">
                  <a:moveTo>
                    <a:pt x="1" y="0"/>
                  </a:moveTo>
                  <a:cubicBezTo>
                    <a:pt x="1" y="2"/>
                    <a:pt x="1" y="3"/>
                    <a:pt x="0" y="5"/>
                  </a:cubicBezTo>
                  <a:cubicBezTo>
                    <a:pt x="1" y="4"/>
                    <a:pt x="1" y="4"/>
                    <a:pt x="1" y="3"/>
                  </a:cubicBezTo>
                  <a:cubicBezTo>
                    <a:pt x="1" y="3"/>
                    <a:pt x="1" y="3"/>
                    <a:pt x="1" y="3"/>
                  </a:cubicBezTo>
                  <a:cubicBezTo>
                    <a:pt x="2" y="2"/>
                    <a:pt x="2" y="2"/>
                    <a:pt x="2" y="1"/>
                  </a:cubicBezTo>
                  <a:cubicBezTo>
                    <a:pt x="2" y="1"/>
                    <a:pt x="2" y="1"/>
                    <a:pt x="2" y="1"/>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1493"/>
            <p:cNvSpPr/>
            <p:nvPr/>
          </p:nvSpPr>
          <p:spPr bwMode="auto">
            <a:xfrm>
              <a:off x="4692805" y="6061994"/>
              <a:ext cx="5369" cy="9396"/>
            </a:xfrm>
            <a:custGeom>
              <a:gdLst>
                <a:gd name="T0" fmla="*/ 1 w 2"/>
                <a:gd name="T1" fmla="*/ 0 h 3"/>
                <a:gd name="T2" fmla="*/ 0 w 2"/>
                <a:gd name="T3" fmla="*/ 3 h 3"/>
                <a:gd name="T4" fmla="*/ 1 w 2"/>
                <a:gd name="T5" fmla="*/ 3 h 3"/>
                <a:gd name="T6" fmla="*/ 1 w 2"/>
                <a:gd name="T7" fmla="*/ 2 h 3"/>
                <a:gd name="T8" fmla="*/ 2 w 2"/>
                <a:gd name="T9" fmla="*/ 2 h 3"/>
                <a:gd name="T10" fmla="*/ 2 w 2"/>
                <a:gd name="T11" fmla="*/ 2 h 3"/>
                <a:gd name="T12" fmla="*/ 2 w 2"/>
                <a:gd name="T13" fmla="*/ 1 h 3"/>
                <a:gd name="T14" fmla="*/ 2 w 2"/>
                <a:gd name="T15" fmla="*/ 1 h 3"/>
                <a:gd name="T16" fmla="*/ 1 w 2"/>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1" y="0"/>
                  </a:moveTo>
                  <a:cubicBezTo>
                    <a:pt x="0" y="1"/>
                    <a:pt x="0" y="2"/>
                    <a:pt x="0" y="3"/>
                  </a:cubicBezTo>
                  <a:cubicBezTo>
                    <a:pt x="0" y="3"/>
                    <a:pt x="1" y="3"/>
                    <a:pt x="1" y="3"/>
                  </a:cubicBezTo>
                  <a:cubicBezTo>
                    <a:pt x="1" y="2"/>
                    <a:pt x="1" y="2"/>
                    <a:pt x="1" y="2"/>
                  </a:cubicBezTo>
                  <a:cubicBezTo>
                    <a:pt x="2" y="2"/>
                    <a:pt x="2" y="2"/>
                    <a:pt x="2" y="2"/>
                  </a:cubicBezTo>
                  <a:cubicBezTo>
                    <a:pt x="2" y="2"/>
                    <a:pt x="2" y="2"/>
                    <a:pt x="2" y="2"/>
                  </a:cubicBezTo>
                  <a:cubicBezTo>
                    <a:pt x="2" y="1"/>
                    <a:pt x="2" y="1"/>
                    <a:pt x="2" y="1"/>
                  </a:cubicBezTo>
                  <a:cubicBezTo>
                    <a:pt x="2" y="1"/>
                    <a:pt x="2" y="1"/>
                    <a:pt x="2"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1494"/>
            <p:cNvSpPr/>
            <p:nvPr/>
          </p:nvSpPr>
          <p:spPr bwMode="auto">
            <a:xfrm>
              <a:off x="4502194" y="2589369"/>
              <a:ext cx="30874" cy="16108"/>
            </a:xfrm>
            <a:custGeom>
              <a:gdLst>
                <a:gd name="T0" fmla="*/ 0 w 10"/>
                <a:gd name="T1" fmla="*/ 0 h 5"/>
                <a:gd name="T2" fmla="*/ 7 w 10"/>
                <a:gd name="T3" fmla="*/ 5 h 5"/>
                <a:gd name="T4" fmla="*/ 0 w 10"/>
                <a:gd name="T5" fmla="*/ 0 h 5"/>
              </a:gdLst>
              <a:cxnLst>
                <a:cxn ang="0">
                  <a:pos x="T0" y="T1"/>
                </a:cxn>
                <a:cxn ang="0">
                  <a:pos x="T2" y="T3"/>
                </a:cxn>
                <a:cxn ang="0">
                  <a:pos x="T4" y="T5"/>
                </a:cxn>
              </a:cxnLst>
              <a:rect l="0" t="0" r="r" b="b"/>
              <a:pathLst>
                <a:path w="10" h="5">
                  <a:moveTo>
                    <a:pt x="0" y="0"/>
                  </a:moveTo>
                  <a:cubicBezTo>
                    <a:pt x="2" y="2"/>
                    <a:pt x="5" y="4"/>
                    <a:pt x="7" y="5"/>
                  </a:cubicBezTo>
                  <a:cubicBezTo>
                    <a:pt x="10"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1495"/>
            <p:cNvSpPr/>
            <p:nvPr/>
          </p:nvSpPr>
          <p:spPr bwMode="auto">
            <a:xfrm>
              <a:off x="4508905" y="2618900"/>
              <a:ext cx="5369" cy="9396"/>
            </a:xfrm>
            <a:custGeom>
              <a:gdLst>
                <a:gd name="T0" fmla="*/ 0 w 2"/>
                <a:gd name="T1" fmla="*/ 0 h 3"/>
                <a:gd name="T2" fmla="*/ 1 w 2"/>
                <a:gd name="T3" fmla="*/ 3 h 3"/>
                <a:gd name="T4" fmla="*/ 0 w 2"/>
                <a:gd name="T5" fmla="*/ 0 h 3"/>
              </a:gdLst>
              <a:cxnLst>
                <a:cxn ang="0">
                  <a:pos x="T0" y="T1"/>
                </a:cxn>
                <a:cxn ang="0">
                  <a:pos x="T2" y="T3"/>
                </a:cxn>
                <a:cxn ang="0">
                  <a:pos x="T4" y="T5"/>
                </a:cxn>
              </a:cxnLst>
              <a:rect l="0" t="0" r="r" b="b"/>
              <a:pathLst>
                <a:path w="2" h="3">
                  <a:moveTo>
                    <a:pt x="0" y="0"/>
                  </a:moveTo>
                  <a:cubicBezTo>
                    <a:pt x="0" y="1"/>
                    <a:pt x="1" y="2"/>
                    <a:pt x="1" y="3"/>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1496"/>
            <p:cNvSpPr/>
            <p:nvPr/>
          </p:nvSpPr>
          <p:spPr bwMode="auto">
            <a:xfrm>
              <a:off x="4181375" y="4598847"/>
              <a:ext cx="16108" cy="9396"/>
            </a:xfrm>
            <a:custGeom>
              <a:gdLst>
                <a:gd name="T0" fmla="*/ 5 w 5"/>
                <a:gd name="T1" fmla="*/ 0 h 3"/>
                <a:gd name="T2" fmla="*/ 0 w 5"/>
                <a:gd name="T3" fmla="*/ 0 h 3"/>
                <a:gd name="T4" fmla="*/ 3 w 5"/>
                <a:gd name="T5" fmla="*/ 3 h 3"/>
                <a:gd name="T6" fmla="*/ 4 w 5"/>
                <a:gd name="T7" fmla="*/ 3 h 3"/>
                <a:gd name="T8" fmla="*/ 5 w 5"/>
                <a:gd name="T9" fmla="*/ 0 h 3"/>
              </a:gdLst>
              <a:cxnLst>
                <a:cxn ang="0">
                  <a:pos x="T0" y="T1"/>
                </a:cxn>
                <a:cxn ang="0">
                  <a:pos x="T2" y="T3"/>
                </a:cxn>
                <a:cxn ang="0">
                  <a:pos x="T4" y="T5"/>
                </a:cxn>
                <a:cxn ang="0">
                  <a:pos x="T6" y="T7"/>
                </a:cxn>
                <a:cxn ang="0">
                  <a:pos x="T8" y="T9"/>
                </a:cxn>
              </a:cxnLst>
              <a:rect l="0" t="0" r="r" b="b"/>
              <a:pathLst>
                <a:path w="5" h="3">
                  <a:moveTo>
                    <a:pt x="5" y="0"/>
                  </a:moveTo>
                  <a:cubicBezTo>
                    <a:pt x="3" y="0"/>
                    <a:pt x="2" y="0"/>
                    <a:pt x="0" y="0"/>
                  </a:cubicBezTo>
                  <a:cubicBezTo>
                    <a:pt x="1" y="1"/>
                    <a:pt x="2" y="2"/>
                    <a:pt x="3" y="3"/>
                  </a:cubicBezTo>
                  <a:cubicBezTo>
                    <a:pt x="3" y="3"/>
                    <a:pt x="4" y="3"/>
                    <a:pt x="4" y="3"/>
                  </a:cubicBezTo>
                  <a:cubicBezTo>
                    <a:pt x="5" y="3"/>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1497"/>
            <p:cNvSpPr/>
            <p:nvPr/>
          </p:nvSpPr>
          <p:spPr bwMode="auto">
            <a:xfrm>
              <a:off x="4188087" y="4643144"/>
              <a:ext cx="9396" cy="9396"/>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2"/>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1498"/>
            <p:cNvSpPr/>
            <p:nvPr/>
          </p:nvSpPr>
          <p:spPr bwMode="auto">
            <a:xfrm>
              <a:off x="4169294" y="4652541"/>
              <a:ext cx="9396" cy="16108"/>
            </a:xfrm>
            <a:custGeom>
              <a:gdLst>
                <a:gd name="T0" fmla="*/ 1 w 3"/>
                <a:gd name="T1" fmla="*/ 0 h 5"/>
                <a:gd name="T2" fmla="*/ 3 w 3"/>
                <a:gd name="T3" fmla="*/ 5 h 5"/>
                <a:gd name="T4" fmla="*/ 1 w 3"/>
                <a:gd name="T5" fmla="*/ 0 h 5"/>
              </a:gdLst>
              <a:cxnLst>
                <a:cxn ang="0">
                  <a:pos x="T0" y="T1"/>
                </a:cxn>
                <a:cxn ang="0">
                  <a:pos x="T2" y="T3"/>
                </a:cxn>
                <a:cxn ang="0">
                  <a:pos x="T4" y="T5"/>
                </a:cxn>
              </a:cxnLst>
              <a:rect l="0" t="0" r="r" b="b"/>
              <a:pathLst>
                <a:path w="3" h="5">
                  <a:moveTo>
                    <a:pt x="1" y="0"/>
                  </a:moveTo>
                  <a:cubicBezTo>
                    <a:pt x="0" y="3"/>
                    <a:pt x="2" y="3"/>
                    <a:pt x="3" y="5"/>
                  </a:cubicBezTo>
                  <a:cubicBezTo>
                    <a:pt x="3" y="3"/>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1499"/>
            <p:cNvSpPr/>
            <p:nvPr/>
          </p:nvSpPr>
          <p:spPr bwMode="auto">
            <a:xfrm>
              <a:off x="4146475" y="4643144"/>
              <a:ext cx="22820" cy="9396"/>
            </a:xfrm>
            <a:custGeom>
              <a:gdLst>
                <a:gd name="T0" fmla="*/ 0 w 7"/>
                <a:gd name="T1" fmla="*/ 0 h 3"/>
                <a:gd name="T2" fmla="*/ 2 w 7"/>
                <a:gd name="T3" fmla="*/ 2 h 3"/>
                <a:gd name="T4" fmla="*/ 2 w 7"/>
                <a:gd name="T5" fmla="*/ 2 h 3"/>
                <a:gd name="T6" fmla="*/ 3 w 7"/>
                <a:gd name="T7" fmla="*/ 2 h 3"/>
                <a:gd name="T8" fmla="*/ 6 w 7"/>
                <a:gd name="T9" fmla="*/ 2 h 3"/>
                <a:gd name="T10" fmla="*/ 6 w 7"/>
                <a:gd name="T11" fmla="*/ 3 h 3"/>
                <a:gd name="T12" fmla="*/ 7 w 7"/>
                <a:gd name="T13" fmla="*/ 2 h 3"/>
                <a:gd name="T14" fmla="*/ 0 w 7"/>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0" y="0"/>
                  </a:moveTo>
                  <a:cubicBezTo>
                    <a:pt x="1" y="0"/>
                    <a:pt x="1" y="1"/>
                    <a:pt x="2" y="2"/>
                  </a:cubicBezTo>
                  <a:cubicBezTo>
                    <a:pt x="2" y="2"/>
                    <a:pt x="2" y="2"/>
                    <a:pt x="2" y="2"/>
                  </a:cubicBezTo>
                  <a:cubicBezTo>
                    <a:pt x="3" y="2"/>
                    <a:pt x="3" y="2"/>
                    <a:pt x="3" y="2"/>
                  </a:cubicBezTo>
                  <a:cubicBezTo>
                    <a:pt x="4" y="2"/>
                    <a:pt x="5" y="2"/>
                    <a:pt x="6" y="2"/>
                  </a:cubicBezTo>
                  <a:cubicBezTo>
                    <a:pt x="6" y="3"/>
                    <a:pt x="6" y="3"/>
                    <a:pt x="6" y="3"/>
                  </a:cubicBezTo>
                  <a:cubicBezTo>
                    <a:pt x="6" y="3"/>
                    <a:pt x="7" y="2"/>
                    <a:pt x="7" y="2"/>
                  </a:cubicBezTo>
                  <a:cubicBezTo>
                    <a:pt x="5"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1500"/>
            <p:cNvSpPr>
              <a:spLocks noEditPoints="1"/>
            </p:cNvSpPr>
            <p:nvPr/>
          </p:nvSpPr>
          <p:spPr bwMode="auto">
            <a:xfrm>
              <a:off x="3908881" y="3202817"/>
              <a:ext cx="25504" cy="16108"/>
            </a:xfrm>
            <a:custGeom>
              <a:gdLst>
                <a:gd name="T0" fmla="*/ 6 w 8"/>
                <a:gd name="T1" fmla="*/ 5 h 5"/>
                <a:gd name="T2" fmla="*/ 6 w 8"/>
                <a:gd name="T3" fmla="*/ 5 h 5"/>
                <a:gd name="T4" fmla="*/ 6 w 8"/>
                <a:gd name="T5" fmla="*/ 5 h 5"/>
                <a:gd name="T6" fmla="*/ 8 w 8"/>
                <a:gd name="T7" fmla="*/ 4 h 5"/>
                <a:gd name="T8" fmla="*/ 8 w 8"/>
                <a:gd name="T9" fmla="*/ 4 h 5"/>
                <a:gd name="T10" fmla="*/ 8 w 8"/>
                <a:gd name="T11" fmla="*/ 4 h 5"/>
                <a:gd name="T12" fmla="*/ 4 w 8"/>
                <a:gd name="T13" fmla="*/ 0 h 5"/>
                <a:gd name="T14" fmla="*/ 0 w 8"/>
                <a:gd name="T15" fmla="*/ 3 h 5"/>
                <a:gd name="T16" fmla="*/ 6 w 8"/>
                <a:gd name="T17" fmla="*/ 5 h 5"/>
                <a:gd name="T18" fmla="*/ 6 w 8"/>
                <a:gd name="T19" fmla="*/ 5 h 5"/>
                <a:gd name="T20" fmla="*/ 6 w 8"/>
                <a:gd name="T21" fmla="*/ 5 h 5"/>
                <a:gd name="T22" fmla="*/ 7 w 8"/>
                <a:gd name="T23" fmla="*/ 4 h 5"/>
                <a:gd name="T24" fmla="*/ 8 w 8"/>
                <a:gd name="T25" fmla="*/ 4 h 5"/>
                <a:gd name="T26" fmla="*/ 8 w 8"/>
                <a:gd name="T27" fmla="*/ 4 h 5"/>
                <a:gd name="T28" fmla="*/ 8 w 8"/>
                <a:gd name="T29" fmla="*/ 2 h 5"/>
                <a:gd name="T30" fmla="*/ 7 w 8"/>
                <a:gd name="T31" fmla="*/ 1 h 5"/>
                <a:gd name="T32" fmla="*/ 7 w 8"/>
                <a:gd name="T33" fmla="*/ 1 h 5"/>
                <a:gd name="T34" fmla="*/ 6 w 8"/>
                <a:gd name="T35" fmla="*/ 1 h 5"/>
                <a:gd name="T36" fmla="*/ 6 w 8"/>
                <a:gd name="T37" fmla="*/ 1 h 5"/>
                <a:gd name="T38" fmla="*/ 6 w 8"/>
                <a:gd name="T39" fmla="*/ 1 h 5"/>
                <a:gd name="T40" fmla="*/ 5 w 8"/>
                <a:gd name="T41" fmla="*/ 1 h 5"/>
                <a:gd name="T42" fmla="*/ 4 w 8"/>
                <a:gd name="T43" fmla="*/ 1 h 5"/>
                <a:gd name="T44" fmla="*/ 4 w 8"/>
                <a:gd name="T45"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5">
                  <a:moveTo>
                    <a:pt x="6" y="5"/>
                  </a:moveTo>
                  <a:cubicBezTo>
                    <a:pt x="6" y="5"/>
                    <a:pt x="6" y="5"/>
                    <a:pt x="6" y="5"/>
                  </a:cubicBezTo>
                  <a:cubicBezTo>
                    <a:pt x="6" y="5"/>
                    <a:pt x="6" y="5"/>
                    <a:pt x="6" y="5"/>
                  </a:cubicBezTo>
                  <a:moveTo>
                    <a:pt x="8" y="4"/>
                  </a:moveTo>
                  <a:cubicBezTo>
                    <a:pt x="8" y="4"/>
                    <a:pt x="8" y="4"/>
                    <a:pt x="8" y="4"/>
                  </a:cubicBezTo>
                  <a:cubicBezTo>
                    <a:pt x="8" y="4"/>
                    <a:pt x="8" y="4"/>
                    <a:pt x="8" y="4"/>
                  </a:cubicBezTo>
                  <a:moveTo>
                    <a:pt x="4" y="0"/>
                  </a:moveTo>
                  <a:cubicBezTo>
                    <a:pt x="2" y="0"/>
                    <a:pt x="0" y="1"/>
                    <a:pt x="0" y="3"/>
                  </a:cubicBezTo>
                  <a:cubicBezTo>
                    <a:pt x="2" y="4"/>
                    <a:pt x="4" y="5"/>
                    <a:pt x="6" y="5"/>
                  </a:cubicBezTo>
                  <a:cubicBezTo>
                    <a:pt x="6" y="5"/>
                    <a:pt x="6" y="5"/>
                    <a:pt x="6" y="5"/>
                  </a:cubicBezTo>
                  <a:cubicBezTo>
                    <a:pt x="6" y="5"/>
                    <a:pt x="6" y="5"/>
                    <a:pt x="6" y="5"/>
                  </a:cubicBezTo>
                  <a:cubicBezTo>
                    <a:pt x="6" y="5"/>
                    <a:pt x="6" y="5"/>
                    <a:pt x="7" y="4"/>
                  </a:cubicBezTo>
                  <a:cubicBezTo>
                    <a:pt x="7" y="4"/>
                    <a:pt x="8" y="4"/>
                    <a:pt x="8" y="4"/>
                  </a:cubicBezTo>
                  <a:cubicBezTo>
                    <a:pt x="8" y="4"/>
                    <a:pt x="8" y="4"/>
                    <a:pt x="8" y="4"/>
                  </a:cubicBezTo>
                  <a:cubicBezTo>
                    <a:pt x="8" y="3"/>
                    <a:pt x="8" y="3"/>
                    <a:pt x="8" y="2"/>
                  </a:cubicBezTo>
                  <a:cubicBezTo>
                    <a:pt x="8" y="1"/>
                    <a:pt x="8" y="1"/>
                    <a:pt x="7" y="1"/>
                  </a:cubicBezTo>
                  <a:cubicBezTo>
                    <a:pt x="7" y="1"/>
                    <a:pt x="7" y="1"/>
                    <a:pt x="7" y="1"/>
                  </a:cubicBezTo>
                  <a:cubicBezTo>
                    <a:pt x="6" y="1"/>
                    <a:pt x="6" y="1"/>
                    <a:pt x="6" y="1"/>
                  </a:cubicBezTo>
                  <a:cubicBezTo>
                    <a:pt x="6" y="1"/>
                    <a:pt x="6" y="1"/>
                    <a:pt x="6" y="1"/>
                  </a:cubicBezTo>
                  <a:cubicBezTo>
                    <a:pt x="6" y="1"/>
                    <a:pt x="6" y="1"/>
                    <a:pt x="6" y="1"/>
                  </a:cubicBezTo>
                  <a:cubicBezTo>
                    <a:pt x="6" y="1"/>
                    <a:pt x="5" y="1"/>
                    <a:pt x="5" y="1"/>
                  </a:cubicBezTo>
                  <a:cubicBezTo>
                    <a:pt x="5" y="1"/>
                    <a:pt x="4" y="1"/>
                    <a:pt x="4" y="1"/>
                  </a:cubicBezTo>
                  <a:cubicBezTo>
                    <a:pt x="3"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1501"/>
            <p:cNvSpPr/>
            <p:nvPr/>
          </p:nvSpPr>
          <p:spPr bwMode="auto">
            <a:xfrm>
              <a:off x="561096" y="288603"/>
              <a:ext cx="6712" cy="4027"/>
            </a:xfrm>
            <a:custGeom>
              <a:gdLst>
                <a:gd name="T0" fmla="*/ 1 w 2"/>
                <a:gd name="T1" fmla="*/ 0 h 1"/>
                <a:gd name="T2" fmla="*/ 0 w 2"/>
                <a:gd name="T3" fmla="*/ 1 h 1"/>
                <a:gd name="T4" fmla="*/ 1 w 2"/>
                <a:gd name="T5" fmla="*/ 1 h 1"/>
                <a:gd name="T6" fmla="*/ 2 w 2"/>
                <a:gd name="T7" fmla="*/ 0 h 1"/>
                <a:gd name="T8" fmla="*/ 1 w 2"/>
                <a:gd name="T9" fmla="*/ 0 h 1"/>
              </a:gdLst>
              <a:cxnLst>
                <a:cxn ang="0">
                  <a:pos x="T0" y="T1"/>
                </a:cxn>
                <a:cxn ang="0">
                  <a:pos x="T2" y="T3"/>
                </a:cxn>
                <a:cxn ang="0">
                  <a:pos x="T4" y="T5"/>
                </a:cxn>
                <a:cxn ang="0">
                  <a:pos x="T6" y="T7"/>
                </a:cxn>
                <a:cxn ang="0">
                  <a:pos x="T8" y="T9"/>
                </a:cxn>
              </a:cxnLst>
              <a:rect l="0" t="0" r="r" b="b"/>
              <a:pathLst>
                <a:path w="2" h="1">
                  <a:moveTo>
                    <a:pt x="1" y="0"/>
                  </a:moveTo>
                  <a:cubicBezTo>
                    <a:pt x="1" y="0"/>
                    <a:pt x="0" y="1"/>
                    <a:pt x="0" y="1"/>
                  </a:cubicBezTo>
                  <a:cubicBezTo>
                    <a:pt x="1" y="1"/>
                    <a:pt x="1" y="1"/>
                    <a:pt x="1" y="1"/>
                  </a:cubicBezTo>
                  <a:cubicBezTo>
                    <a:pt x="1" y="1"/>
                    <a:pt x="2" y="1"/>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Rectangle 1502"/>
            <p:cNvSpPr>
              <a:spLocks noChangeArrowheads="1"/>
            </p:cNvSpPr>
            <p:nvPr/>
          </p:nvSpPr>
          <p:spPr bwMode="auto">
            <a:xfrm>
              <a:off x="4851201" y="1945047"/>
              <a:ext cx="1342" cy="67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1503"/>
            <p:cNvSpPr/>
            <p:nvPr/>
          </p:nvSpPr>
          <p:spPr bwMode="auto">
            <a:xfrm flipH="1">
              <a:off x="4851201" y="1945047"/>
              <a:ext cx="0" cy="6712"/>
            </a:xfrm>
            <a:custGeom>
              <a:gdLst>
                <a:gd name="T0" fmla="*/ 0 h 5"/>
                <a:gd name="T1" fmla="*/ 5 h 5"/>
                <a:gd name="T2" fmla="*/ 5 h 5"/>
                <a:gd name="T3" fmla="*/ 0 h 5"/>
              </a:gdLst>
              <a:cxnLst>
                <a:cxn ang="0">
                  <a:pos x="0" y="T0"/>
                </a:cxn>
                <a:cxn ang="0">
                  <a:pos x="0" y="T1"/>
                </a:cxn>
                <a:cxn ang="0">
                  <a:pos x="0" y="T2"/>
                </a:cxn>
                <a:cxn ang="0">
                  <a:pos x="0" y="T3"/>
                </a:cxn>
              </a:cxnLst>
              <a:rect l="0" t="0" r="r" b="b"/>
              <a:pathLst>
                <a:path h="5">
                  <a:moveTo>
                    <a:pt x="0" y="0"/>
                  </a:moveTo>
                  <a:lnTo>
                    <a:pt x="0" y="5"/>
                  </a:lnTo>
                  <a:lnTo>
                    <a:pt x="0"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1504"/>
            <p:cNvSpPr/>
            <p:nvPr/>
          </p:nvSpPr>
          <p:spPr bwMode="auto">
            <a:xfrm>
              <a:off x="374512" y="355720"/>
              <a:ext cx="5369" cy="0"/>
            </a:xfrm>
            <a:custGeom>
              <a:gdLst>
                <a:gd name="T0" fmla="*/ 2 w 2"/>
                <a:gd name="T1" fmla="*/ 1 w 2"/>
                <a:gd name="T2" fmla="*/ 0 w 2"/>
                <a:gd name="T3" fmla="*/ 0 w 2"/>
                <a:gd name="T4" fmla="*/ 2 w 2"/>
                <a:gd name="T5" fmla="*/ 2 w 2"/>
              </a:gdLst>
              <a:cxnLst>
                <a:cxn ang="0">
                  <a:pos x="T0" y="0"/>
                </a:cxn>
                <a:cxn ang="0">
                  <a:pos x="T1" y="0"/>
                </a:cxn>
                <a:cxn ang="0">
                  <a:pos x="T2" y="0"/>
                </a:cxn>
                <a:cxn ang="0">
                  <a:pos x="T3" y="0"/>
                </a:cxn>
                <a:cxn ang="0">
                  <a:pos x="T4" y="0"/>
                </a:cxn>
                <a:cxn ang="0">
                  <a:pos x="T5" y="0"/>
                </a:cxn>
              </a:cxnLst>
              <a:rect l="0" t="0" r="r" b="b"/>
              <a:pathLst>
                <a:path w="2">
                  <a:moveTo>
                    <a:pt x="2" y="0"/>
                  </a:moveTo>
                  <a:cubicBezTo>
                    <a:pt x="2" y="0"/>
                    <a:pt x="1" y="0"/>
                    <a:pt x="1" y="0"/>
                  </a:cubicBezTo>
                  <a:cubicBezTo>
                    <a:pt x="0" y="0"/>
                    <a:pt x="0" y="0"/>
                    <a:pt x="0" y="0"/>
                  </a:cubicBezTo>
                  <a:cubicBezTo>
                    <a:pt x="0" y="0"/>
                    <a:pt x="0" y="0"/>
                    <a:pt x="0" y="0"/>
                  </a:cubicBezTo>
                  <a:cubicBezTo>
                    <a:pt x="1" y="0"/>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1505"/>
            <p:cNvSpPr/>
            <p:nvPr/>
          </p:nvSpPr>
          <p:spPr bwMode="auto">
            <a:xfrm>
              <a:off x="4644481" y="5594861"/>
              <a:ext cx="44297" cy="25504"/>
            </a:xfrm>
            <a:custGeom>
              <a:gdLst>
                <a:gd name="T0" fmla="*/ 14 w 14"/>
                <a:gd name="T1" fmla="*/ 0 h 8"/>
                <a:gd name="T2" fmla="*/ 0 w 14"/>
                <a:gd name="T3" fmla="*/ 7 h 8"/>
                <a:gd name="T4" fmla="*/ 10 w 14"/>
                <a:gd name="T5" fmla="*/ 8 h 8"/>
                <a:gd name="T6" fmla="*/ 12 w 14"/>
                <a:gd name="T7" fmla="*/ 4 h 8"/>
                <a:gd name="T8" fmla="*/ 14 w 14"/>
                <a:gd name="T9" fmla="*/ 0 h 8"/>
              </a:gdLst>
              <a:cxnLst>
                <a:cxn ang="0">
                  <a:pos x="T0" y="T1"/>
                </a:cxn>
                <a:cxn ang="0">
                  <a:pos x="T2" y="T3"/>
                </a:cxn>
                <a:cxn ang="0">
                  <a:pos x="T4" y="T5"/>
                </a:cxn>
                <a:cxn ang="0">
                  <a:pos x="T6" y="T7"/>
                </a:cxn>
                <a:cxn ang="0">
                  <a:pos x="T8" y="T9"/>
                </a:cxn>
              </a:cxnLst>
              <a:rect l="0" t="0" r="r" b="b"/>
              <a:pathLst>
                <a:path w="14" h="8">
                  <a:moveTo>
                    <a:pt x="14" y="0"/>
                  </a:moveTo>
                  <a:cubicBezTo>
                    <a:pt x="14" y="0"/>
                    <a:pt x="0" y="5"/>
                    <a:pt x="0" y="7"/>
                  </a:cubicBezTo>
                  <a:cubicBezTo>
                    <a:pt x="10" y="8"/>
                    <a:pt x="10" y="8"/>
                    <a:pt x="10" y="8"/>
                  </a:cubicBezTo>
                  <a:cubicBezTo>
                    <a:pt x="10" y="8"/>
                    <a:pt x="12" y="4"/>
                    <a:pt x="12" y="4"/>
                  </a:cubicBezTo>
                  <a:cubicBezTo>
                    <a:pt x="14" y="2"/>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1506"/>
            <p:cNvSpPr/>
            <p:nvPr/>
          </p:nvSpPr>
          <p:spPr bwMode="auto">
            <a:xfrm>
              <a:off x="5923727" y="5106250"/>
              <a:ext cx="735600" cy="606736"/>
            </a:xfrm>
            <a:custGeom>
              <a:gdLst>
                <a:gd name="T0" fmla="*/ 3 w 232"/>
                <a:gd name="T1" fmla="*/ 52 h 191"/>
                <a:gd name="T2" fmla="*/ 2 w 232"/>
                <a:gd name="T3" fmla="*/ 62 h 191"/>
                <a:gd name="T4" fmla="*/ 1 w 232"/>
                <a:gd name="T5" fmla="*/ 98 h 191"/>
                <a:gd name="T6" fmla="*/ 8 w 232"/>
                <a:gd name="T7" fmla="*/ 156 h 191"/>
                <a:gd name="T8" fmla="*/ 29 w 232"/>
                <a:gd name="T9" fmla="*/ 155 h 191"/>
                <a:gd name="T10" fmla="*/ 48 w 232"/>
                <a:gd name="T11" fmla="*/ 154 h 191"/>
                <a:gd name="T12" fmla="*/ 44 w 232"/>
                <a:gd name="T13" fmla="*/ 137 h 191"/>
                <a:gd name="T14" fmla="*/ 37 w 232"/>
                <a:gd name="T15" fmla="*/ 135 h 191"/>
                <a:gd name="T16" fmla="*/ 34 w 232"/>
                <a:gd name="T17" fmla="*/ 135 h 191"/>
                <a:gd name="T18" fmla="*/ 43 w 232"/>
                <a:gd name="T19" fmla="*/ 133 h 191"/>
                <a:gd name="T20" fmla="*/ 55 w 232"/>
                <a:gd name="T21" fmla="*/ 133 h 191"/>
                <a:gd name="T22" fmla="*/ 56 w 232"/>
                <a:gd name="T23" fmla="*/ 124 h 191"/>
                <a:gd name="T24" fmla="*/ 60 w 232"/>
                <a:gd name="T25" fmla="*/ 126 h 191"/>
                <a:gd name="T26" fmla="*/ 64 w 232"/>
                <a:gd name="T27" fmla="*/ 127 h 191"/>
                <a:gd name="T28" fmla="*/ 69 w 232"/>
                <a:gd name="T29" fmla="*/ 126 h 191"/>
                <a:gd name="T30" fmla="*/ 68 w 232"/>
                <a:gd name="T31" fmla="*/ 119 h 191"/>
                <a:gd name="T32" fmla="*/ 76 w 232"/>
                <a:gd name="T33" fmla="*/ 118 h 191"/>
                <a:gd name="T34" fmla="*/ 79 w 232"/>
                <a:gd name="T35" fmla="*/ 120 h 191"/>
                <a:gd name="T36" fmla="*/ 83 w 232"/>
                <a:gd name="T37" fmla="*/ 119 h 191"/>
                <a:gd name="T38" fmla="*/ 88 w 232"/>
                <a:gd name="T39" fmla="*/ 117 h 191"/>
                <a:gd name="T40" fmla="*/ 90 w 232"/>
                <a:gd name="T41" fmla="*/ 120 h 191"/>
                <a:gd name="T42" fmla="*/ 120 w 232"/>
                <a:gd name="T43" fmla="*/ 129 h 191"/>
                <a:gd name="T44" fmla="*/ 130 w 232"/>
                <a:gd name="T45" fmla="*/ 146 h 191"/>
                <a:gd name="T46" fmla="*/ 140 w 232"/>
                <a:gd name="T47" fmla="*/ 151 h 191"/>
                <a:gd name="T48" fmla="*/ 150 w 232"/>
                <a:gd name="T49" fmla="*/ 166 h 191"/>
                <a:gd name="T50" fmla="*/ 166 w 232"/>
                <a:gd name="T51" fmla="*/ 177 h 191"/>
                <a:gd name="T52" fmla="*/ 174 w 232"/>
                <a:gd name="T53" fmla="*/ 179 h 191"/>
                <a:gd name="T54" fmla="*/ 177 w 232"/>
                <a:gd name="T55" fmla="*/ 178 h 191"/>
                <a:gd name="T56" fmla="*/ 188 w 232"/>
                <a:gd name="T57" fmla="*/ 180 h 191"/>
                <a:gd name="T58" fmla="*/ 219 w 232"/>
                <a:gd name="T59" fmla="*/ 190 h 191"/>
                <a:gd name="T60" fmla="*/ 220 w 232"/>
                <a:gd name="T61" fmla="*/ 182 h 191"/>
                <a:gd name="T62" fmla="*/ 225 w 232"/>
                <a:gd name="T63" fmla="*/ 182 h 191"/>
                <a:gd name="T64" fmla="*/ 225 w 232"/>
                <a:gd name="T65" fmla="*/ 179 h 191"/>
                <a:gd name="T66" fmla="*/ 221 w 232"/>
                <a:gd name="T67" fmla="*/ 179 h 191"/>
                <a:gd name="T68" fmla="*/ 206 w 232"/>
                <a:gd name="T69" fmla="*/ 169 h 191"/>
                <a:gd name="T70" fmla="*/ 208 w 232"/>
                <a:gd name="T71" fmla="*/ 165 h 191"/>
                <a:gd name="T72" fmla="*/ 193 w 232"/>
                <a:gd name="T73" fmla="*/ 158 h 191"/>
                <a:gd name="T74" fmla="*/ 184 w 232"/>
                <a:gd name="T75" fmla="*/ 152 h 191"/>
                <a:gd name="T76" fmla="*/ 170 w 232"/>
                <a:gd name="T77" fmla="*/ 139 h 191"/>
                <a:gd name="T78" fmla="*/ 144 w 232"/>
                <a:gd name="T79" fmla="*/ 111 h 191"/>
                <a:gd name="T80" fmla="*/ 148 w 232"/>
                <a:gd name="T81" fmla="*/ 97 h 191"/>
                <a:gd name="T82" fmla="*/ 161 w 232"/>
                <a:gd name="T83" fmla="*/ 95 h 191"/>
                <a:gd name="T84" fmla="*/ 150 w 232"/>
                <a:gd name="T85" fmla="*/ 78 h 191"/>
                <a:gd name="T86" fmla="*/ 145 w 232"/>
                <a:gd name="T87" fmla="*/ 78 h 191"/>
                <a:gd name="T88" fmla="*/ 118 w 232"/>
                <a:gd name="T89" fmla="*/ 68 h 191"/>
                <a:gd name="T90" fmla="*/ 112 w 232"/>
                <a:gd name="T91" fmla="*/ 56 h 191"/>
                <a:gd name="T92" fmla="*/ 83 w 232"/>
                <a:gd name="T93" fmla="*/ 29 h 1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1" h="191">
                  <a:moveTo>
                    <a:pt x="2" y="0"/>
                  </a:moveTo>
                  <a:cubicBezTo>
                    <a:pt x="2" y="7"/>
                    <a:pt x="2" y="13"/>
                    <a:pt x="3" y="20"/>
                  </a:cubicBezTo>
                  <a:cubicBezTo>
                    <a:pt x="3" y="30"/>
                    <a:pt x="3" y="42"/>
                    <a:pt x="3" y="52"/>
                  </a:cubicBezTo>
                  <a:cubicBezTo>
                    <a:pt x="3" y="56"/>
                    <a:pt x="3" y="56"/>
                    <a:pt x="3" y="56"/>
                  </a:cubicBezTo>
                  <a:cubicBezTo>
                    <a:pt x="3" y="57"/>
                    <a:pt x="3" y="59"/>
                    <a:pt x="2" y="60"/>
                  </a:cubicBezTo>
                  <a:cubicBezTo>
                    <a:pt x="2" y="62"/>
                    <a:pt x="2" y="62"/>
                    <a:pt x="2" y="62"/>
                  </a:cubicBezTo>
                  <a:cubicBezTo>
                    <a:pt x="2" y="66"/>
                    <a:pt x="2" y="70"/>
                    <a:pt x="2" y="75"/>
                  </a:cubicBezTo>
                  <a:cubicBezTo>
                    <a:pt x="0" y="97"/>
                    <a:pt x="0" y="97"/>
                    <a:pt x="0" y="97"/>
                  </a:cubicBezTo>
                  <a:cubicBezTo>
                    <a:pt x="1" y="97"/>
                    <a:pt x="1" y="98"/>
                    <a:pt x="1" y="98"/>
                  </a:cubicBezTo>
                  <a:cubicBezTo>
                    <a:pt x="2" y="99"/>
                    <a:pt x="3" y="100"/>
                    <a:pt x="3" y="101"/>
                  </a:cubicBezTo>
                  <a:cubicBezTo>
                    <a:pt x="3" y="155"/>
                    <a:pt x="3" y="155"/>
                    <a:pt x="3" y="155"/>
                  </a:cubicBezTo>
                  <a:cubicBezTo>
                    <a:pt x="4" y="156"/>
                    <a:pt x="6" y="156"/>
                    <a:pt x="8" y="156"/>
                  </a:cubicBezTo>
                  <a:cubicBezTo>
                    <a:pt x="12" y="156"/>
                    <a:pt x="16" y="156"/>
                    <a:pt x="19" y="155"/>
                  </a:cubicBezTo>
                  <a:cubicBezTo>
                    <a:pt x="23" y="155"/>
                    <a:pt x="26" y="155"/>
                    <a:pt x="28" y="155"/>
                  </a:cubicBezTo>
                  <a:cubicBezTo>
                    <a:pt x="29" y="155"/>
                    <a:pt x="29" y="155"/>
                    <a:pt x="29" y="155"/>
                  </a:cubicBezTo>
                  <a:cubicBezTo>
                    <a:pt x="32" y="155"/>
                    <a:pt x="35" y="157"/>
                    <a:pt x="38" y="158"/>
                  </a:cubicBezTo>
                  <a:cubicBezTo>
                    <a:pt x="38" y="158"/>
                    <a:pt x="38" y="158"/>
                    <a:pt x="39" y="158"/>
                  </a:cubicBezTo>
                  <a:cubicBezTo>
                    <a:pt x="41" y="158"/>
                    <a:pt x="47" y="154"/>
                    <a:pt x="48" y="154"/>
                  </a:cubicBezTo>
                  <a:cubicBezTo>
                    <a:pt x="50" y="153"/>
                    <a:pt x="54" y="152"/>
                    <a:pt x="55" y="150"/>
                  </a:cubicBezTo>
                  <a:cubicBezTo>
                    <a:pt x="57" y="148"/>
                    <a:pt x="56" y="145"/>
                    <a:pt x="54" y="143"/>
                  </a:cubicBezTo>
                  <a:cubicBezTo>
                    <a:pt x="51" y="139"/>
                    <a:pt x="49" y="138"/>
                    <a:pt x="44" y="137"/>
                  </a:cubicBezTo>
                  <a:cubicBezTo>
                    <a:pt x="42" y="136"/>
                    <a:pt x="41" y="134"/>
                    <a:pt x="39" y="134"/>
                  </a:cubicBezTo>
                  <a:cubicBezTo>
                    <a:pt x="39" y="134"/>
                    <a:pt x="39" y="134"/>
                    <a:pt x="39" y="134"/>
                  </a:cubicBezTo>
                  <a:cubicBezTo>
                    <a:pt x="38" y="134"/>
                    <a:pt x="37" y="134"/>
                    <a:pt x="37" y="135"/>
                  </a:cubicBezTo>
                  <a:cubicBezTo>
                    <a:pt x="36" y="135"/>
                    <a:pt x="35" y="135"/>
                    <a:pt x="34" y="135"/>
                  </a:cubicBezTo>
                  <a:cubicBezTo>
                    <a:pt x="34" y="135"/>
                    <a:pt x="33" y="135"/>
                    <a:pt x="33" y="134"/>
                  </a:cubicBezTo>
                  <a:cubicBezTo>
                    <a:pt x="33" y="134"/>
                    <a:pt x="34" y="135"/>
                    <a:pt x="34" y="135"/>
                  </a:cubicBezTo>
                  <a:cubicBezTo>
                    <a:pt x="36" y="135"/>
                    <a:pt x="37" y="134"/>
                    <a:pt x="38" y="134"/>
                  </a:cubicBezTo>
                  <a:cubicBezTo>
                    <a:pt x="39" y="134"/>
                    <a:pt x="41" y="133"/>
                    <a:pt x="42" y="133"/>
                  </a:cubicBezTo>
                  <a:cubicBezTo>
                    <a:pt x="42" y="133"/>
                    <a:pt x="43" y="133"/>
                    <a:pt x="43" y="133"/>
                  </a:cubicBezTo>
                  <a:cubicBezTo>
                    <a:pt x="45" y="134"/>
                    <a:pt x="46" y="134"/>
                    <a:pt x="47" y="134"/>
                  </a:cubicBezTo>
                  <a:cubicBezTo>
                    <a:pt x="47" y="134"/>
                    <a:pt x="48" y="134"/>
                    <a:pt x="49" y="134"/>
                  </a:cubicBezTo>
                  <a:cubicBezTo>
                    <a:pt x="51" y="133"/>
                    <a:pt x="53" y="133"/>
                    <a:pt x="55" y="133"/>
                  </a:cubicBezTo>
                  <a:cubicBezTo>
                    <a:pt x="59" y="132"/>
                    <a:pt x="63" y="133"/>
                    <a:pt x="60" y="129"/>
                  </a:cubicBezTo>
                  <a:cubicBezTo>
                    <a:pt x="59" y="127"/>
                    <a:pt x="57" y="126"/>
                    <a:pt x="55" y="124"/>
                  </a:cubicBezTo>
                  <a:cubicBezTo>
                    <a:pt x="55" y="124"/>
                    <a:pt x="56" y="124"/>
                    <a:pt x="56" y="124"/>
                  </a:cubicBezTo>
                  <a:cubicBezTo>
                    <a:pt x="57" y="124"/>
                    <a:pt x="57" y="126"/>
                    <a:pt x="58" y="126"/>
                  </a:cubicBezTo>
                  <a:cubicBezTo>
                    <a:pt x="58" y="126"/>
                    <a:pt x="59" y="126"/>
                    <a:pt x="59" y="126"/>
                  </a:cubicBezTo>
                  <a:cubicBezTo>
                    <a:pt x="59" y="126"/>
                    <a:pt x="59" y="126"/>
                    <a:pt x="60" y="126"/>
                  </a:cubicBezTo>
                  <a:cubicBezTo>
                    <a:pt x="60" y="126"/>
                    <a:pt x="60" y="126"/>
                    <a:pt x="60" y="126"/>
                  </a:cubicBezTo>
                  <a:cubicBezTo>
                    <a:pt x="60" y="126"/>
                    <a:pt x="61" y="126"/>
                    <a:pt x="61" y="126"/>
                  </a:cubicBezTo>
                  <a:cubicBezTo>
                    <a:pt x="62" y="127"/>
                    <a:pt x="63" y="127"/>
                    <a:pt x="64" y="127"/>
                  </a:cubicBezTo>
                  <a:cubicBezTo>
                    <a:pt x="64" y="127"/>
                    <a:pt x="65" y="127"/>
                    <a:pt x="65" y="127"/>
                  </a:cubicBezTo>
                  <a:cubicBezTo>
                    <a:pt x="67" y="127"/>
                    <a:pt x="69" y="127"/>
                    <a:pt x="67" y="126"/>
                  </a:cubicBezTo>
                  <a:cubicBezTo>
                    <a:pt x="68" y="126"/>
                    <a:pt x="68" y="126"/>
                    <a:pt x="69" y="126"/>
                  </a:cubicBezTo>
                  <a:cubicBezTo>
                    <a:pt x="67" y="122"/>
                    <a:pt x="64" y="118"/>
                    <a:pt x="62" y="114"/>
                  </a:cubicBezTo>
                  <a:cubicBezTo>
                    <a:pt x="63" y="115"/>
                    <a:pt x="64" y="115"/>
                    <a:pt x="65" y="116"/>
                  </a:cubicBezTo>
                  <a:cubicBezTo>
                    <a:pt x="66" y="117"/>
                    <a:pt x="66" y="118"/>
                    <a:pt x="68" y="119"/>
                  </a:cubicBezTo>
                  <a:cubicBezTo>
                    <a:pt x="69" y="120"/>
                    <a:pt x="69" y="120"/>
                    <a:pt x="70" y="120"/>
                  </a:cubicBezTo>
                  <a:cubicBezTo>
                    <a:pt x="71" y="120"/>
                    <a:pt x="72" y="119"/>
                    <a:pt x="73" y="119"/>
                  </a:cubicBezTo>
                  <a:cubicBezTo>
                    <a:pt x="74" y="118"/>
                    <a:pt x="75" y="118"/>
                    <a:pt x="76" y="118"/>
                  </a:cubicBezTo>
                  <a:cubicBezTo>
                    <a:pt x="76" y="118"/>
                    <a:pt x="77" y="118"/>
                    <a:pt x="77" y="118"/>
                  </a:cubicBezTo>
                  <a:cubicBezTo>
                    <a:pt x="78" y="118"/>
                    <a:pt x="78" y="119"/>
                    <a:pt x="79" y="119"/>
                  </a:cubicBezTo>
                  <a:cubicBezTo>
                    <a:pt x="79" y="120"/>
                    <a:pt x="79" y="120"/>
                    <a:pt x="79" y="120"/>
                  </a:cubicBezTo>
                  <a:cubicBezTo>
                    <a:pt x="79" y="121"/>
                    <a:pt x="81" y="121"/>
                    <a:pt x="82" y="122"/>
                  </a:cubicBezTo>
                  <a:cubicBezTo>
                    <a:pt x="80" y="120"/>
                    <a:pt x="80" y="118"/>
                    <a:pt x="80" y="115"/>
                  </a:cubicBezTo>
                  <a:cubicBezTo>
                    <a:pt x="80" y="117"/>
                    <a:pt x="81" y="118"/>
                    <a:pt x="83" y="119"/>
                  </a:cubicBezTo>
                  <a:cubicBezTo>
                    <a:pt x="82" y="117"/>
                    <a:pt x="82" y="116"/>
                    <a:pt x="82" y="115"/>
                  </a:cubicBezTo>
                  <a:cubicBezTo>
                    <a:pt x="83" y="117"/>
                    <a:pt x="84" y="117"/>
                    <a:pt x="85" y="117"/>
                  </a:cubicBezTo>
                  <a:cubicBezTo>
                    <a:pt x="86" y="117"/>
                    <a:pt x="87" y="117"/>
                    <a:pt x="88" y="117"/>
                  </a:cubicBezTo>
                  <a:cubicBezTo>
                    <a:pt x="88" y="117"/>
                    <a:pt x="89" y="117"/>
                    <a:pt x="90" y="117"/>
                  </a:cubicBezTo>
                  <a:cubicBezTo>
                    <a:pt x="90" y="117"/>
                    <a:pt x="90" y="117"/>
                    <a:pt x="90" y="117"/>
                  </a:cubicBezTo>
                  <a:cubicBezTo>
                    <a:pt x="91" y="117"/>
                    <a:pt x="90" y="120"/>
                    <a:pt x="90" y="120"/>
                  </a:cubicBezTo>
                  <a:cubicBezTo>
                    <a:pt x="91" y="122"/>
                    <a:pt x="94" y="122"/>
                    <a:pt x="96" y="122"/>
                  </a:cubicBezTo>
                  <a:cubicBezTo>
                    <a:pt x="101" y="123"/>
                    <a:pt x="107" y="124"/>
                    <a:pt x="112" y="125"/>
                  </a:cubicBezTo>
                  <a:cubicBezTo>
                    <a:pt x="111" y="128"/>
                    <a:pt x="117" y="128"/>
                    <a:pt x="120" y="129"/>
                  </a:cubicBezTo>
                  <a:cubicBezTo>
                    <a:pt x="119" y="131"/>
                    <a:pt x="120" y="131"/>
                    <a:pt x="122" y="132"/>
                  </a:cubicBezTo>
                  <a:cubicBezTo>
                    <a:pt x="123" y="134"/>
                    <a:pt x="123" y="135"/>
                    <a:pt x="124" y="137"/>
                  </a:cubicBezTo>
                  <a:cubicBezTo>
                    <a:pt x="125" y="140"/>
                    <a:pt x="128" y="143"/>
                    <a:pt x="130" y="146"/>
                  </a:cubicBezTo>
                  <a:cubicBezTo>
                    <a:pt x="132" y="149"/>
                    <a:pt x="131" y="150"/>
                    <a:pt x="134" y="151"/>
                  </a:cubicBezTo>
                  <a:cubicBezTo>
                    <a:pt x="135" y="152"/>
                    <a:pt x="136" y="153"/>
                    <a:pt x="137" y="153"/>
                  </a:cubicBezTo>
                  <a:cubicBezTo>
                    <a:pt x="138" y="153"/>
                    <a:pt x="139" y="152"/>
                    <a:pt x="140" y="151"/>
                  </a:cubicBezTo>
                  <a:cubicBezTo>
                    <a:pt x="140" y="152"/>
                    <a:pt x="139" y="153"/>
                    <a:pt x="140" y="155"/>
                  </a:cubicBezTo>
                  <a:cubicBezTo>
                    <a:pt x="141" y="157"/>
                    <a:pt x="142" y="162"/>
                    <a:pt x="144" y="162"/>
                  </a:cubicBezTo>
                  <a:cubicBezTo>
                    <a:pt x="148" y="163"/>
                    <a:pt x="148" y="163"/>
                    <a:pt x="150" y="166"/>
                  </a:cubicBezTo>
                  <a:cubicBezTo>
                    <a:pt x="153" y="170"/>
                    <a:pt x="155" y="175"/>
                    <a:pt x="160" y="177"/>
                  </a:cubicBezTo>
                  <a:cubicBezTo>
                    <a:pt x="162" y="177"/>
                    <a:pt x="163" y="178"/>
                    <a:pt x="164" y="178"/>
                  </a:cubicBezTo>
                  <a:cubicBezTo>
                    <a:pt x="164" y="178"/>
                    <a:pt x="165" y="177"/>
                    <a:pt x="166" y="177"/>
                  </a:cubicBezTo>
                  <a:cubicBezTo>
                    <a:pt x="166" y="177"/>
                    <a:pt x="166" y="177"/>
                    <a:pt x="166" y="177"/>
                  </a:cubicBezTo>
                  <a:cubicBezTo>
                    <a:pt x="169" y="177"/>
                    <a:pt x="171" y="179"/>
                    <a:pt x="174" y="179"/>
                  </a:cubicBezTo>
                  <a:cubicBezTo>
                    <a:pt x="174" y="179"/>
                    <a:pt x="174" y="179"/>
                    <a:pt x="174" y="179"/>
                  </a:cubicBezTo>
                  <a:cubicBezTo>
                    <a:pt x="174" y="179"/>
                    <a:pt x="175" y="179"/>
                    <a:pt x="175" y="179"/>
                  </a:cubicBezTo>
                  <a:cubicBezTo>
                    <a:pt x="176" y="178"/>
                    <a:pt x="176" y="178"/>
                    <a:pt x="177" y="178"/>
                  </a:cubicBezTo>
                  <a:cubicBezTo>
                    <a:pt x="177" y="178"/>
                    <a:pt x="177" y="178"/>
                    <a:pt x="177" y="178"/>
                  </a:cubicBezTo>
                  <a:cubicBezTo>
                    <a:pt x="179" y="178"/>
                    <a:pt x="181" y="179"/>
                    <a:pt x="183" y="180"/>
                  </a:cubicBezTo>
                  <a:cubicBezTo>
                    <a:pt x="184" y="180"/>
                    <a:pt x="185" y="180"/>
                    <a:pt x="186" y="180"/>
                  </a:cubicBezTo>
                  <a:cubicBezTo>
                    <a:pt x="187" y="180"/>
                    <a:pt x="187" y="180"/>
                    <a:pt x="188" y="180"/>
                  </a:cubicBezTo>
                  <a:cubicBezTo>
                    <a:pt x="188" y="180"/>
                    <a:pt x="189" y="180"/>
                    <a:pt x="189" y="180"/>
                  </a:cubicBezTo>
                  <a:cubicBezTo>
                    <a:pt x="196" y="180"/>
                    <a:pt x="210" y="181"/>
                    <a:pt x="214" y="187"/>
                  </a:cubicBezTo>
                  <a:cubicBezTo>
                    <a:pt x="217" y="191"/>
                    <a:pt x="216" y="190"/>
                    <a:pt x="219" y="190"/>
                  </a:cubicBezTo>
                  <a:cubicBezTo>
                    <a:pt x="220" y="190"/>
                    <a:pt x="220" y="190"/>
                    <a:pt x="220" y="190"/>
                  </a:cubicBezTo>
                  <a:cubicBezTo>
                    <a:pt x="222" y="190"/>
                    <a:pt x="224" y="189"/>
                    <a:pt x="226" y="188"/>
                  </a:cubicBezTo>
                  <a:cubicBezTo>
                    <a:pt x="224" y="186"/>
                    <a:pt x="222" y="184"/>
                    <a:pt x="220" y="182"/>
                  </a:cubicBezTo>
                  <a:cubicBezTo>
                    <a:pt x="220" y="181"/>
                    <a:pt x="221" y="181"/>
                    <a:pt x="221" y="181"/>
                  </a:cubicBezTo>
                  <a:cubicBezTo>
                    <a:pt x="222" y="181"/>
                    <a:pt x="223" y="182"/>
                    <a:pt x="224" y="182"/>
                  </a:cubicBezTo>
                  <a:cubicBezTo>
                    <a:pt x="225" y="182"/>
                    <a:pt x="225" y="182"/>
                    <a:pt x="225" y="182"/>
                  </a:cubicBezTo>
                  <a:cubicBezTo>
                    <a:pt x="228" y="182"/>
                    <a:pt x="229" y="181"/>
                    <a:pt x="232" y="179"/>
                  </a:cubicBezTo>
                  <a:cubicBezTo>
                    <a:pt x="230" y="180"/>
                    <a:pt x="230" y="180"/>
                    <a:pt x="229" y="180"/>
                  </a:cubicBezTo>
                  <a:cubicBezTo>
                    <a:pt x="228" y="180"/>
                    <a:pt x="227" y="180"/>
                    <a:pt x="225" y="179"/>
                  </a:cubicBezTo>
                  <a:cubicBezTo>
                    <a:pt x="224" y="179"/>
                    <a:pt x="224" y="179"/>
                    <a:pt x="223" y="179"/>
                  </a:cubicBezTo>
                  <a:cubicBezTo>
                    <a:pt x="223" y="179"/>
                    <a:pt x="223" y="179"/>
                    <a:pt x="222" y="179"/>
                  </a:cubicBezTo>
                  <a:cubicBezTo>
                    <a:pt x="222" y="179"/>
                    <a:pt x="222" y="179"/>
                    <a:pt x="221" y="179"/>
                  </a:cubicBezTo>
                  <a:cubicBezTo>
                    <a:pt x="221" y="179"/>
                    <a:pt x="220" y="179"/>
                    <a:pt x="219" y="179"/>
                  </a:cubicBezTo>
                  <a:cubicBezTo>
                    <a:pt x="215" y="177"/>
                    <a:pt x="211" y="174"/>
                    <a:pt x="208" y="172"/>
                  </a:cubicBezTo>
                  <a:cubicBezTo>
                    <a:pt x="205" y="171"/>
                    <a:pt x="204" y="171"/>
                    <a:pt x="206" y="169"/>
                  </a:cubicBezTo>
                  <a:cubicBezTo>
                    <a:pt x="208" y="167"/>
                    <a:pt x="211" y="170"/>
                    <a:pt x="211" y="165"/>
                  </a:cubicBezTo>
                  <a:cubicBezTo>
                    <a:pt x="211" y="165"/>
                    <a:pt x="210" y="166"/>
                    <a:pt x="209" y="166"/>
                  </a:cubicBezTo>
                  <a:cubicBezTo>
                    <a:pt x="209" y="166"/>
                    <a:pt x="209" y="166"/>
                    <a:pt x="208" y="165"/>
                  </a:cubicBezTo>
                  <a:cubicBezTo>
                    <a:pt x="205" y="165"/>
                    <a:pt x="199" y="165"/>
                    <a:pt x="197" y="163"/>
                  </a:cubicBezTo>
                  <a:cubicBezTo>
                    <a:pt x="196" y="162"/>
                    <a:pt x="192" y="160"/>
                    <a:pt x="192" y="159"/>
                  </a:cubicBezTo>
                  <a:cubicBezTo>
                    <a:pt x="192" y="158"/>
                    <a:pt x="193" y="158"/>
                    <a:pt x="193" y="158"/>
                  </a:cubicBezTo>
                  <a:cubicBezTo>
                    <a:pt x="193" y="156"/>
                    <a:pt x="195" y="152"/>
                    <a:pt x="195" y="151"/>
                  </a:cubicBezTo>
                  <a:cubicBezTo>
                    <a:pt x="195" y="150"/>
                    <a:pt x="194" y="150"/>
                    <a:pt x="193" y="150"/>
                  </a:cubicBezTo>
                  <a:cubicBezTo>
                    <a:pt x="190" y="150"/>
                    <a:pt x="186" y="152"/>
                    <a:pt x="184" y="152"/>
                  </a:cubicBezTo>
                  <a:cubicBezTo>
                    <a:pt x="183" y="152"/>
                    <a:pt x="183" y="152"/>
                    <a:pt x="182" y="152"/>
                  </a:cubicBezTo>
                  <a:cubicBezTo>
                    <a:pt x="178" y="152"/>
                    <a:pt x="178" y="151"/>
                    <a:pt x="176" y="147"/>
                  </a:cubicBezTo>
                  <a:cubicBezTo>
                    <a:pt x="174" y="144"/>
                    <a:pt x="171" y="142"/>
                    <a:pt x="170" y="139"/>
                  </a:cubicBezTo>
                  <a:cubicBezTo>
                    <a:pt x="169" y="138"/>
                    <a:pt x="170" y="138"/>
                    <a:pt x="170" y="137"/>
                  </a:cubicBezTo>
                  <a:cubicBezTo>
                    <a:pt x="169" y="135"/>
                    <a:pt x="167" y="132"/>
                    <a:pt x="166" y="130"/>
                  </a:cubicBezTo>
                  <a:cubicBezTo>
                    <a:pt x="161" y="121"/>
                    <a:pt x="148" y="120"/>
                    <a:pt x="144" y="111"/>
                  </a:cubicBezTo>
                  <a:cubicBezTo>
                    <a:pt x="143" y="108"/>
                    <a:pt x="137" y="100"/>
                    <a:pt x="141" y="97"/>
                  </a:cubicBezTo>
                  <a:cubicBezTo>
                    <a:pt x="142" y="96"/>
                    <a:pt x="143" y="96"/>
                    <a:pt x="144" y="96"/>
                  </a:cubicBezTo>
                  <a:cubicBezTo>
                    <a:pt x="145" y="96"/>
                    <a:pt x="147" y="96"/>
                    <a:pt x="148" y="97"/>
                  </a:cubicBezTo>
                  <a:cubicBezTo>
                    <a:pt x="150" y="97"/>
                    <a:pt x="151" y="97"/>
                    <a:pt x="153" y="97"/>
                  </a:cubicBezTo>
                  <a:cubicBezTo>
                    <a:pt x="153" y="97"/>
                    <a:pt x="153" y="97"/>
                    <a:pt x="153" y="97"/>
                  </a:cubicBezTo>
                  <a:cubicBezTo>
                    <a:pt x="155" y="97"/>
                    <a:pt x="159" y="97"/>
                    <a:pt x="161" y="95"/>
                  </a:cubicBezTo>
                  <a:cubicBezTo>
                    <a:pt x="162" y="94"/>
                    <a:pt x="161" y="89"/>
                    <a:pt x="160" y="87"/>
                  </a:cubicBezTo>
                  <a:cubicBezTo>
                    <a:pt x="160" y="86"/>
                    <a:pt x="158" y="85"/>
                    <a:pt x="158" y="85"/>
                  </a:cubicBezTo>
                  <a:cubicBezTo>
                    <a:pt x="155" y="82"/>
                    <a:pt x="153" y="80"/>
                    <a:pt x="150" y="78"/>
                  </a:cubicBezTo>
                  <a:cubicBezTo>
                    <a:pt x="150" y="78"/>
                    <a:pt x="149" y="78"/>
                    <a:pt x="148" y="78"/>
                  </a:cubicBezTo>
                  <a:cubicBezTo>
                    <a:pt x="148" y="78"/>
                    <a:pt x="147" y="78"/>
                    <a:pt x="147" y="78"/>
                  </a:cubicBezTo>
                  <a:cubicBezTo>
                    <a:pt x="146" y="78"/>
                    <a:pt x="146" y="78"/>
                    <a:pt x="145" y="78"/>
                  </a:cubicBezTo>
                  <a:cubicBezTo>
                    <a:pt x="145" y="78"/>
                    <a:pt x="145" y="78"/>
                    <a:pt x="145" y="78"/>
                  </a:cubicBezTo>
                  <a:cubicBezTo>
                    <a:pt x="139" y="78"/>
                    <a:pt x="134" y="72"/>
                    <a:pt x="129" y="71"/>
                  </a:cubicBezTo>
                  <a:cubicBezTo>
                    <a:pt x="125" y="70"/>
                    <a:pt x="122" y="69"/>
                    <a:pt x="118" y="68"/>
                  </a:cubicBezTo>
                  <a:cubicBezTo>
                    <a:pt x="117" y="68"/>
                    <a:pt x="112" y="68"/>
                    <a:pt x="111" y="67"/>
                  </a:cubicBezTo>
                  <a:cubicBezTo>
                    <a:pt x="110" y="65"/>
                    <a:pt x="112" y="63"/>
                    <a:pt x="112" y="61"/>
                  </a:cubicBezTo>
                  <a:cubicBezTo>
                    <a:pt x="113" y="60"/>
                    <a:pt x="113" y="57"/>
                    <a:pt x="112" y="56"/>
                  </a:cubicBezTo>
                  <a:cubicBezTo>
                    <a:pt x="111" y="51"/>
                    <a:pt x="106" y="47"/>
                    <a:pt x="103" y="43"/>
                  </a:cubicBezTo>
                  <a:cubicBezTo>
                    <a:pt x="101" y="40"/>
                    <a:pt x="100" y="42"/>
                    <a:pt x="98" y="41"/>
                  </a:cubicBezTo>
                  <a:cubicBezTo>
                    <a:pt x="92" y="38"/>
                    <a:pt x="85" y="35"/>
                    <a:pt x="83" y="29"/>
                  </a:cubicBezTo>
                  <a:cubicBezTo>
                    <a:pt x="82" y="27"/>
                    <a:pt x="80" y="28"/>
                    <a:pt x="79" y="27"/>
                  </a:cubicBezTo>
                  <a:cubicBezTo>
                    <a:pt x="53" y="19"/>
                    <a:pt x="28" y="1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1507"/>
            <p:cNvSpPr/>
            <p:nvPr/>
          </p:nvSpPr>
          <p:spPr bwMode="auto">
            <a:xfrm>
              <a:off x="5172019" y="4935774"/>
              <a:ext cx="742312" cy="649691"/>
            </a:xfrm>
            <a:custGeom>
              <a:gdLst>
                <a:gd name="T0" fmla="*/ 12 w 234"/>
                <a:gd name="T1" fmla="*/ 10 h 205"/>
                <a:gd name="T2" fmla="*/ 17 w 234"/>
                <a:gd name="T3" fmla="*/ 27 h 205"/>
                <a:gd name="T4" fmla="*/ 24 w 234"/>
                <a:gd name="T5" fmla="*/ 35 h 205"/>
                <a:gd name="T6" fmla="*/ 33 w 234"/>
                <a:gd name="T7" fmla="*/ 45 h 205"/>
                <a:gd name="T8" fmla="*/ 38 w 234"/>
                <a:gd name="T9" fmla="*/ 44 h 205"/>
                <a:gd name="T10" fmla="*/ 53 w 234"/>
                <a:gd name="T11" fmla="*/ 44 h 205"/>
                <a:gd name="T12" fmla="*/ 60 w 234"/>
                <a:gd name="T13" fmla="*/ 44 h 205"/>
                <a:gd name="T14" fmla="*/ 70 w 234"/>
                <a:gd name="T15" fmla="*/ 42 h 205"/>
                <a:gd name="T16" fmla="*/ 69 w 234"/>
                <a:gd name="T17" fmla="*/ 46 h 205"/>
                <a:gd name="T18" fmla="*/ 70 w 234"/>
                <a:gd name="T19" fmla="*/ 46 h 205"/>
                <a:gd name="T20" fmla="*/ 72 w 234"/>
                <a:gd name="T21" fmla="*/ 48 h 205"/>
                <a:gd name="T22" fmla="*/ 65 w 234"/>
                <a:gd name="T23" fmla="*/ 56 h 205"/>
                <a:gd name="T24" fmla="*/ 58 w 234"/>
                <a:gd name="T25" fmla="*/ 55 h 205"/>
                <a:gd name="T26" fmla="*/ 45 w 234"/>
                <a:gd name="T27" fmla="*/ 56 h 205"/>
                <a:gd name="T28" fmla="*/ 37 w 234"/>
                <a:gd name="T29" fmla="*/ 56 h 205"/>
                <a:gd name="T30" fmla="*/ 32 w 234"/>
                <a:gd name="T31" fmla="*/ 55 h 205"/>
                <a:gd name="T32" fmla="*/ 35 w 234"/>
                <a:gd name="T33" fmla="*/ 63 h 205"/>
                <a:gd name="T34" fmla="*/ 46 w 234"/>
                <a:gd name="T35" fmla="*/ 76 h 205"/>
                <a:gd name="T36" fmla="*/ 47 w 234"/>
                <a:gd name="T37" fmla="*/ 89 h 205"/>
                <a:gd name="T38" fmla="*/ 53 w 234"/>
                <a:gd name="T39" fmla="*/ 88 h 205"/>
                <a:gd name="T40" fmla="*/ 67 w 234"/>
                <a:gd name="T41" fmla="*/ 66 h 205"/>
                <a:gd name="T42" fmla="*/ 64 w 234"/>
                <a:gd name="T43" fmla="*/ 77 h 205"/>
                <a:gd name="T44" fmla="*/ 72 w 234"/>
                <a:gd name="T45" fmla="*/ 82 h 205"/>
                <a:gd name="T46" fmla="*/ 80 w 234"/>
                <a:gd name="T47" fmla="*/ 83 h 205"/>
                <a:gd name="T48" fmla="*/ 89 w 234"/>
                <a:gd name="T49" fmla="*/ 84 h 205"/>
                <a:gd name="T50" fmla="*/ 90 w 234"/>
                <a:gd name="T51" fmla="*/ 85 h 205"/>
                <a:gd name="T52" fmla="*/ 167 w 234"/>
                <a:gd name="T53" fmla="*/ 121 h 205"/>
                <a:gd name="T54" fmla="*/ 169 w 234"/>
                <a:gd name="T55" fmla="*/ 127 h 205"/>
                <a:gd name="T56" fmla="*/ 175 w 234"/>
                <a:gd name="T57" fmla="*/ 130 h 205"/>
                <a:gd name="T58" fmla="*/ 182 w 234"/>
                <a:gd name="T59" fmla="*/ 149 h 205"/>
                <a:gd name="T60" fmla="*/ 180 w 234"/>
                <a:gd name="T61" fmla="*/ 154 h 205"/>
                <a:gd name="T62" fmla="*/ 189 w 234"/>
                <a:gd name="T63" fmla="*/ 162 h 205"/>
                <a:gd name="T64" fmla="*/ 183 w 234"/>
                <a:gd name="T65" fmla="*/ 162 h 205"/>
                <a:gd name="T66" fmla="*/ 190 w 234"/>
                <a:gd name="T67" fmla="*/ 170 h 205"/>
                <a:gd name="T68" fmla="*/ 188 w 234"/>
                <a:gd name="T69" fmla="*/ 183 h 205"/>
                <a:gd name="T70" fmla="*/ 195 w 234"/>
                <a:gd name="T71" fmla="*/ 183 h 205"/>
                <a:gd name="T72" fmla="*/ 198 w 234"/>
                <a:gd name="T73" fmla="*/ 185 h 205"/>
                <a:gd name="T74" fmla="*/ 210 w 234"/>
                <a:gd name="T75" fmla="*/ 183 h 205"/>
                <a:gd name="T76" fmla="*/ 212 w 234"/>
                <a:gd name="T77" fmla="*/ 184 h 205"/>
                <a:gd name="T78" fmla="*/ 233 w 234"/>
                <a:gd name="T79" fmla="*/ 156 h 205"/>
                <a:gd name="T80" fmla="*/ 234 w 234"/>
                <a:gd name="T81" fmla="*/ 116 h 205"/>
                <a:gd name="T82" fmla="*/ 234 w 234"/>
                <a:gd name="T83" fmla="*/ 74 h 205"/>
                <a:gd name="T84" fmla="*/ 218 w 234"/>
                <a:gd name="T85" fmla="*/ 48 h 205"/>
                <a:gd name="T86" fmla="*/ 209 w 234"/>
                <a:gd name="T87" fmla="*/ 48 h 205"/>
                <a:gd name="T88" fmla="*/ 163 w 234"/>
                <a:gd name="T89" fmla="*/ 27 h 205"/>
                <a:gd name="T90" fmla="*/ 147 w 234"/>
                <a:gd name="T91" fmla="*/ 39 h 205"/>
                <a:gd name="T92" fmla="*/ 133 w 234"/>
                <a:gd name="T93" fmla="*/ 45 h 205"/>
                <a:gd name="T94" fmla="*/ 116 w 234"/>
                <a:gd name="T95" fmla="*/ 63 h 205"/>
                <a:gd name="T96" fmla="*/ 108 w 234"/>
                <a:gd name="T97" fmla="*/ 70 h 205"/>
                <a:gd name="T98" fmla="*/ 89 w 234"/>
                <a:gd name="T99" fmla="*/ 62 h 205"/>
                <a:gd name="T100" fmla="*/ 83 w 234"/>
                <a:gd name="T101" fmla="*/ 54 h 205"/>
                <a:gd name="T102" fmla="*/ 77 w 234"/>
                <a:gd name="T103" fmla="*/ 44 h 205"/>
                <a:gd name="T104" fmla="*/ 78 w 234"/>
                <a:gd name="T105" fmla="*/ 22 h 205"/>
                <a:gd name="T106" fmla="*/ 56 w 234"/>
                <a:gd name="T107" fmla="*/ 8 h 2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205">
                  <a:moveTo>
                    <a:pt x="37" y="0"/>
                  </a:moveTo>
                  <a:cubicBezTo>
                    <a:pt x="35" y="0"/>
                    <a:pt x="33" y="1"/>
                    <a:pt x="31" y="2"/>
                  </a:cubicBezTo>
                  <a:cubicBezTo>
                    <a:pt x="28" y="4"/>
                    <a:pt x="25" y="7"/>
                    <a:pt x="22" y="8"/>
                  </a:cubicBezTo>
                  <a:cubicBezTo>
                    <a:pt x="19" y="10"/>
                    <a:pt x="15" y="9"/>
                    <a:pt x="12" y="10"/>
                  </a:cubicBezTo>
                  <a:cubicBezTo>
                    <a:pt x="11" y="10"/>
                    <a:pt x="8" y="11"/>
                    <a:pt x="7" y="11"/>
                  </a:cubicBezTo>
                  <a:cubicBezTo>
                    <a:pt x="7" y="12"/>
                    <a:pt x="8" y="14"/>
                    <a:pt x="8" y="15"/>
                  </a:cubicBezTo>
                  <a:cubicBezTo>
                    <a:pt x="7" y="18"/>
                    <a:pt x="2" y="23"/>
                    <a:pt x="0" y="25"/>
                  </a:cubicBezTo>
                  <a:cubicBezTo>
                    <a:pt x="6" y="26"/>
                    <a:pt x="11" y="27"/>
                    <a:pt x="17" y="27"/>
                  </a:cubicBezTo>
                  <a:cubicBezTo>
                    <a:pt x="19" y="28"/>
                    <a:pt x="21" y="28"/>
                    <a:pt x="23" y="28"/>
                  </a:cubicBezTo>
                  <a:cubicBezTo>
                    <a:pt x="23" y="28"/>
                    <a:pt x="24" y="28"/>
                    <a:pt x="24" y="28"/>
                  </a:cubicBezTo>
                  <a:cubicBezTo>
                    <a:pt x="22" y="29"/>
                    <a:pt x="22" y="31"/>
                    <a:pt x="23" y="32"/>
                  </a:cubicBezTo>
                  <a:cubicBezTo>
                    <a:pt x="24" y="34"/>
                    <a:pt x="23" y="34"/>
                    <a:pt x="24" y="35"/>
                  </a:cubicBezTo>
                  <a:cubicBezTo>
                    <a:pt x="24" y="40"/>
                    <a:pt x="27" y="42"/>
                    <a:pt x="31" y="45"/>
                  </a:cubicBezTo>
                  <a:cubicBezTo>
                    <a:pt x="31" y="45"/>
                    <a:pt x="32" y="45"/>
                    <a:pt x="32" y="45"/>
                  </a:cubicBezTo>
                  <a:cubicBezTo>
                    <a:pt x="32" y="45"/>
                    <a:pt x="32" y="45"/>
                    <a:pt x="32" y="45"/>
                  </a:cubicBezTo>
                  <a:cubicBezTo>
                    <a:pt x="33" y="45"/>
                    <a:pt x="33" y="45"/>
                    <a:pt x="33" y="45"/>
                  </a:cubicBezTo>
                  <a:cubicBezTo>
                    <a:pt x="33" y="45"/>
                    <a:pt x="33" y="45"/>
                    <a:pt x="33" y="45"/>
                  </a:cubicBezTo>
                  <a:cubicBezTo>
                    <a:pt x="33" y="45"/>
                    <a:pt x="33" y="45"/>
                    <a:pt x="33" y="45"/>
                  </a:cubicBezTo>
                  <a:cubicBezTo>
                    <a:pt x="35" y="45"/>
                    <a:pt x="36" y="44"/>
                    <a:pt x="38" y="44"/>
                  </a:cubicBezTo>
                  <a:cubicBezTo>
                    <a:pt x="38" y="44"/>
                    <a:pt x="38" y="44"/>
                    <a:pt x="38" y="44"/>
                  </a:cubicBezTo>
                  <a:cubicBezTo>
                    <a:pt x="40" y="44"/>
                    <a:pt x="41" y="44"/>
                    <a:pt x="43" y="45"/>
                  </a:cubicBezTo>
                  <a:cubicBezTo>
                    <a:pt x="45" y="45"/>
                    <a:pt x="46" y="46"/>
                    <a:pt x="47" y="46"/>
                  </a:cubicBezTo>
                  <a:cubicBezTo>
                    <a:pt x="47" y="46"/>
                    <a:pt x="47" y="46"/>
                    <a:pt x="47" y="46"/>
                  </a:cubicBezTo>
                  <a:cubicBezTo>
                    <a:pt x="49" y="46"/>
                    <a:pt x="52" y="44"/>
                    <a:pt x="53" y="44"/>
                  </a:cubicBezTo>
                  <a:cubicBezTo>
                    <a:pt x="54" y="44"/>
                    <a:pt x="54" y="44"/>
                    <a:pt x="54" y="44"/>
                  </a:cubicBezTo>
                  <a:cubicBezTo>
                    <a:pt x="54" y="44"/>
                    <a:pt x="55" y="44"/>
                    <a:pt x="56" y="44"/>
                  </a:cubicBezTo>
                  <a:cubicBezTo>
                    <a:pt x="57" y="44"/>
                    <a:pt x="58" y="45"/>
                    <a:pt x="59" y="45"/>
                  </a:cubicBezTo>
                  <a:cubicBezTo>
                    <a:pt x="59" y="45"/>
                    <a:pt x="60" y="44"/>
                    <a:pt x="60" y="44"/>
                  </a:cubicBezTo>
                  <a:cubicBezTo>
                    <a:pt x="61" y="44"/>
                    <a:pt x="61" y="44"/>
                    <a:pt x="62" y="44"/>
                  </a:cubicBezTo>
                  <a:cubicBezTo>
                    <a:pt x="63" y="44"/>
                    <a:pt x="64" y="44"/>
                    <a:pt x="66" y="43"/>
                  </a:cubicBezTo>
                  <a:cubicBezTo>
                    <a:pt x="67" y="42"/>
                    <a:pt x="68" y="42"/>
                    <a:pt x="70" y="42"/>
                  </a:cubicBezTo>
                  <a:cubicBezTo>
                    <a:pt x="70" y="42"/>
                    <a:pt x="70" y="42"/>
                    <a:pt x="70" y="42"/>
                  </a:cubicBezTo>
                  <a:cubicBezTo>
                    <a:pt x="70" y="42"/>
                    <a:pt x="67" y="45"/>
                    <a:pt x="67" y="46"/>
                  </a:cubicBezTo>
                  <a:cubicBezTo>
                    <a:pt x="67" y="46"/>
                    <a:pt x="68" y="46"/>
                    <a:pt x="68" y="46"/>
                  </a:cubicBezTo>
                  <a:cubicBezTo>
                    <a:pt x="68" y="46"/>
                    <a:pt x="68" y="46"/>
                    <a:pt x="68" y="46"/>
                  </a:cubicBezTo>
                  <a:cubicBezTo>
                    <a:pt x="68" y="46"/>
                    <a:pt x="68" y="46"/>
                    <a:pt x="69" y="46"/>
                  </a:cubicBezTo>
                  <a:cubicBezTo>
                    <a:pt x="69" y="46"/>
                    <a:pt x="69" y="46"/>
                    <a:pt x="69" y="46"/>
                  </a:cubicBezTo>
                  <a:cubicBezTo>
                    <a:pt x="69" y="46"/>
                    <a:pt x="69" y="46"/>
                    <a:pt x="69" y="46"/>
                  </a:cubicBezTo>
                  <a:cubicBezTo>
                    <a:pt x="69" y="46"/>
                    <a:pt x="69" y="46"/>
                    <a:pt x="69" y="46"/>
                  </a:cubicBezTo>
                  <a:cubicBezTo>
                    <a:pt x="70" y="46"/>
                    <a:pt x="70" y="46"/>
                    <a:pt x="70" y="46"/>
                  </a:cubicBezTo>
                  <a:cubicBezTo>
                    <a:pt x="71" y="46"/>
                    <a:pt x="71" y="46"/>
                    <a:pt x="69" y="47"/>
                  </a:cubicBezTo>
                  <a:cubicBezTo>
                    <a:pt x="70" y="47"/>
                    <a:pt x="70" y="47"/>
                    <a:pt x="71" y="47"/>
                  </a:cubicBezTo>
                  <a:cubicBezTo>
                    <a:pt x="70" y="47"/>
                    <a:pt x="70" y="48"/>
                    <a:pt x="70" y="48"/>
                  </a:cubicBezTo>
                  <a:cubicBezTo>
                    <a:pt x="70" y="48"/>
                    <a:pt x="71" y="48"/>
                    <a:pt x="72" y="48"/>
                  </a:cubicBezTo>
                  <a:cubicBezTo>
                    <a:pt x="72" y="48"/>
                    <a:pt x="72" y="48"/>
                    <a:pt x="72" y="48"/>
                  </a:cubicBezTo>
                  <a:cubicBezTo>
                    <a:pt x="69" y="50"/>
                    <a:pt x="68" y="51"/>
                    <a:pt x="68" y="54"/>
                  </a:cubicBezTo>
                  <a:cubicBezTo>
                    <a:pt x="67" y="53"/>
                    <a:pt x="66" y="52"/>
                    <a:pt x="66" y="51"/>
                  </a:cubicBezTo>
                  <a:cubicBezTo>
                    <a:pt x="65" y="53"/>
                    <a:pt x="64" y="54"/>
                    <a:pt x="65" y="56"/>
                  </a:cubicBezTo>
                  <a:cubicBezTo>
                    <a:pt x="64" y="53"/>
                    <a:pt x="64" y="52"/>
                    <a:pt x="63" y="52"/>
                  </a:cubicBezTo>
                  <a:cubicBezTo>
                    <a:pt x="62" y="52"/>
                    <a:pt x="61" y="53"/>
                    <a:pt x="59" y="54"/>
                  </a:cubicBezTo>
                  <a:cubicBezTo>
                    <a:pt x="59" y="53"/>
                    <a:pt x="59" y="52"/>
                    <a:pt x="59" y="51"/>
                  </a:cubicBezTo>
                  <a:cubicBezTo>
                    <a:pt x="58" y="52"/>
                    <a:pt x="58" y="54"/>
                    <a:pt x="58" y="55"/>
                  </a:cubicBezTo>
                  <a:cubicBezTo>
                    <a:pt x="58" y="55"/>
                    <a:pt x="58" y="55"/>
                    <a:pt x="58" y="55"/>
                  </a:cubicBezTo>
                  <a:cubicBezTo>
                    <a:pt x="57" y="53"/>
                    <a:pt x="58" y="50"/>
                    <a:pt x="55" y="50"/>
                  </a:cubicBezTo>
                  <a:cubicBezTo>
                    <a:pt x="54" y="50"/>
                    <a:pt x="54" y="50"/>
                    <a:pt x="53" y="50"/>
                  </a:cubicBezTo>
                  <a:cubicBezTo>
                    <a:pt x="49" y="50"/>
                    <a:pt x="48" y="53"/>
                    <a:pt x="45" y="56"/>
                  </a:cubicBezTo>
                  <a:cubicBezTo>
                    <a:pt x="44" y="57"/>
                    <a:pt x="43" y="58"/>
                    <a:pt x="42" y="58"/>
                  </a:cubicBezTo>
                  <a:cubicBezTo>
                    <a:pt x="41" y="58"/>
                    <a:pt x="41" y="58"/>
                    <a:pt x="40" y="57"/>
                  </a:cubicBezTo>
                  <a:cubicBezTo>
                    <a:pt x="39" y="57"/>
                    <a:pt x="39" y="56"/>
                    <a:pt x="38" y="56"/>
                  </a:cubicBezTo>
                  <a:cubicBezTo>
                    <a:pt x="38" y="56"/>
                    <a:pt x="37" y="56"/>
                    <a:pt x="37" y="56"/>
                  </a:cubicBezTo>
                  <a:cubicBezTo>
                    <a:pt x="37" y="56"/>
                    <a:pt x="36" y="56"/>
                    <a:pt x="36" y="56"/>
                  </a:cubicBezTo>
                  <a:cubicBezTo>
                    <a:pt x="36" y="57"/>
                    <a:pt x="35" y="57"/>
                    <a:pt x="35" y="57"/>
                  </a:cubicBezTo>
                  <a:cubicBezTo>
                    <a:pt x="35" y="57"/>
                    <a:pt x="35" y="57"/>
                    <a:pt x="35" y="57"/>
                  </a:cubicBezTo>
                  <a:cubicBezTo>
                    <a:pt x="35" y="57"/>
                    <a:pt x="33" y="55"/>
                    <a:pt x="32" y="55"/>
                  </a:cubicBezTo>
                  <a:cubicBezTo>
                    <a:pt x="32" y="55"/>
                    <a:pt x="31" y="55"/>
                    <a:pt x="31" y="55"/>
                  </a:cubicBezTo>
                  <a:cubicBezTo>
                    <a:pt x="30" y="55"/>
                    <a:pt x="29" y="55"/>
                    <a:pt x="29" y="55"/>
                  </a:cubicBezTo>
                  <a:cubicBezTo>
                    <a:pt x="27" y="56"/>
                    <a:pt x="26" y="57"/>
                    <a:pt x="24" y="57"/>
                  </a:cubicBezTo>
                  <a:cubicBezTo>
                    <a:pt x="28" y="60"/>
                    <a:pt x="31" y="61"/>
                    <a:pt x="35" y="63"/>
                  </a:cubicBezTo>
                  <a:cubicBezTo>
                    <a:pt x="38" y="65"/>
                    <a:pt x="39" y="68"/>
                    <a:pt x="42" y="70"/>
                  </a:cubicBezTo>
                  <a:cubicBezTo>
                    <a:pt x="42" y="69"/>
                    <a:pt x="42" y="69"/>
                    <a:pt x="43" y="69"/>
                  </a:cubicBezTo>
                  <a:cubicBezTo>
                    <a:pt x="43" y="69"/>
                    <a:pt x="44" y="69"/>
                    <a:pt x="44" y="70"/>
                  </a:cubicBezTo>
                  <a:cubicBezTo>
                    <a:pt x="45" y="71"/>
                    <a:pt x="47" y="75"/>
                    <a:pt x="46" y="76"/>
                  </a:cubicBezTo>
                  <a:cubicBezTo>
                    <a:pt x="46" y="77"/>
                    <a:pt x="44" y="77"/>
                    <a:pt x="43" y="77"/>
                  </a:cubicBezTo>
                  <a:cubicBezTo>
                    <a:pt x="42" y="79"/>
                    <a:pt x="43" y="84"/>
                    <a:pt x="45" y="86"/>
                  </a:cubicBezTo>
                  <a:cubicBezTo>
                    <a:pt x="46" y="88"/>
                    <a:pt x="46" y="88"/>
                    <a:pt x="46" y="88"/>
                  </a:cubicBezTo>
                  <a:cubicBezTo>
                    <a:pt x="47" y="89"/>
                    <a:pt x="47" y="89"/>
                    <a:pt x="47" y="89"/>
                  </a:cubicBezTo>
                  <a:cubicBezTo>
                    <a:pt x="48" y="89"/>
                    <a:pt x="49" y="88"/>
                    <a:pt x="50" y="88"/>
                  </a:cubicBezTo>
                  <a:cubicBezTo>
                    <a:pt x="50" y="88"/>
                    <a:pt x="50" y="88"/>
                    <a:pt x="50" y="88"/>
                  </a:cubicBezTo>
                  <a:cubicBezTo>
                    <a:pt x="51" y="88"/>
                    <a:pt x="51" y="88"/>
                    <a:pt x="52" y="88"/>
                  </a:cubicBezTo>
                  <a:cubicBezTo>
                    <a:pt x="52" y="88"/>
                    <a:pt x="52" y="88"/>
                    <a:pt x="53" y="88"/>
                  </a:cubicBezTo>
                  <a:cubicBezTo>
                    <a:pt x="53" y="88"/>
                    <a:pt x="53" y="88"/>
                    <a:pt x="53" y="88"/>
                  </a:cubicBezTo>
                  <a:cubicBezTo>
                    <a:pt x="57" y="87"/>
                    <a:pt x="58" y="81"/>
                    <a:pt x="59" y="79"/>
                  </a:cubicBezTo>
                  <a:cubicBezTo>
                    <a:pt x="62" y="73"/>
                    <a:pt x="64" y="65"/>
                    <a:pt x="69" y="62"/>
                  </a:cubicBezTo>
                  <a:cubicBezTo>
                    <a:pt x="68" y="64"/>
                    <a:pt x="68" y="65"/>
                    <a:pt x="67" y="66"/>
                  </a:cubicBezTo>
                  <a:cubicBezTo>
                    <a:pt x="66" y="67"/>
                    <a:pt x="65" y="67"/>
                    <a:pt x="65" y="67"/>
                  </a:cubicBezTo>
                  <a:cubicBezTo>
                    <a:pt x="64" y="69"/>
                    <a:pt x="65" y="70"/>
                    <a:pt x="65" y="73"/>
                  </a:cubicBezTo>
                  <a:cubicBezTo>
                    <a:pt x="65" y="73"/>
                    <a:pt x="64" y="73"/>
                    <a:pt x="63" y="74"/>
                  </a:cubicBezTo>
                  <a:cubicBezTo>
                    <a:pt x="63" y="77"/>
                    <a:pt x="64" y="77"/>
                    <a:pt x="64" y="77"/>
                  </a:cubicBezTo>
                  <a:cubicBezTo>
                    <a:pt x="65" y="77"/>
                    <a:pt x="65" y="77"/>
                    <a:pt x="66" y="77"/>
                  </a:cubicBezTo>
                  <a:cubicBezTo>
                    <a:pt x="66" y="77"/>
                    <a:pt x="67" y="77"/>
                    <a:pt x="67" y="77"/>
                  </a:cubicBezTo>
                  <a:cubicBezTo>
                    <a:pt x="67" y="77"/>
                    <a:pt x="67" y="77"/>
                    <a:pt x="68" y="77"/>
                  </a:cubicBezTo>
                  <a:cubicBezTo>
                    <a:pt x="70" y="77"/>
                    <a:pt x="69" y="82"/>
                    <a:pt x="72" y="82"/>
                  </a:cubicBezTo>
                  <a:cubicBezTo>
                    <a:pt x="72" y="82"/>
                    <a:pt x="72" y="82"/>
                    <a:pt x="73" y="82"/>
                  </a:cubicBezTo>
                  <a:cubicBezTo>
                    <a:pt x="74" y="82"/>
                    <a:pt x="75" y="82"/>
                    <a:pt x="75" y="80"/>
                  </a:cubicBezTo>
                  <a:cubicBezTo>
                    <a:pt x="76" y="82"/>
                    <a:pt x="78" y="85"/>
                    <a:pt x="79" y="87"/>
                  </a:cubicBezTo>
                  <a:cubicBezTo>
                    <a:pt x="80" y="86"/>
                    <a:pt x="81" y="84"/>
                    <a:pt x="80" y="83"/>
                  </a:cubicBezTo>
                  <a:cubicBezTo>
                    <a:pt x="82" y="84"/>
                    <a:pt x="84" y="85"/>
                    <a:pt x="86" y="85"/>
                  </a:cubicBezTo>
                  <a:cubicBezTo>
                    <a:pt x="86" y="85"/>
                    <a:pt x="86" y="85"/>
                    <a:pt x="86" y="85"/>
                  </a:cubicBezTo>
                  <a:cubicBezTo>
                    <a:pt x="87" y="85"/>
                    <a:pt x="87" y="84"/>
                    <a:pt x="88" y="84"/>
                  </a:cubicBezTo>
                  <a:cubicBezTo>
                    <a:pt x="88" y="84"/>
                    <a:pt x="89" y="84"/>
                    <a:pt x="89" y="84"/>
                  </a:cubicBezTo>
                  <a:cubicBezTo>
                    <a:pt x="91" y="84"/>
                    <a:pt x="93" y="85"/>
                    <a:pt x="94" y="85"/>
                  </a:cubicBezTo>
                  <a:cubicBezTo>
                    <a:pt x="93" y="85"/>
                    <a:pt x="92" y="85"/>
                    <a:pt x="91" y="85"/>
                  </a:cubicBezTo>
                  <a:cubicBezTo>
                    <a:pt x="91" y="85"/>
                    <a:pt x="91" y="85"/>
                    <a:pt x="90" y="85"/>
                  </a:cubicBezTo>
                  <a:cubicBezTo>
                    <a:pt x="90" y="85"/>
                    <a:pt x="90" y="85"/>
                    <a:pt x="90" y="85"/>
                  </a:cubicBezTo>
                  <a:cubicBezTo>
                    <a:pt x="89" y="85"/>
                    <a:pt x="88" y="85"/>
                    <a:pt x="87" y="88"/>
                  </a:cubicBezTo>
                  <a:cubicBezTo>
                    <a:pt x="86" y="92"/>
                    <a:pt x="107" y="97"/>
                    <a:pt x="109" y="97"/>
                  </a:cubicBezTo>
                  <a:cubicBezTo>
                    <a:pt x="123" y="102"/>
                    <a:pt x="137" y="106"/>
                    <a:pt x="151" y="111"/>
                  </a:cubicBezTo>
                  <a:cubicBezTo>
                    <a:pt x="157" y="113"/>
                    <a:pt x="162" y="117"/>
                    <a:pt x="167" y="121"/>
                  </a:cubicBezTo>
                  <a:cubicBezTo>
                    <a:pt x="167" y="120"/>
                    <a:pt x="167" y="120"/>
                    <a:pt x="167" y="120"/>
                  </a:cubicBezTo>
                  <a:cubicBezTo>
                    <a:pt x="167" y="120"/>
                    <a:pt x="167" y="120"/>
                    <a:pt x="167" y="119"/>
                  </a:cubicBezTo>
                  <a:cubicBezTo>
                    <a:pt x="168" y="121"/>
                    <a:pt x="166" y="127"/>
                    <a:pt x="169" y="127"/>
                  </a:cubicBezTo>
                  <a:cubicBezTo>
                    <a:pt x="169" y="127"/>
                    <a:pt x="169" y="127"/>
                    <a:pt x="169" y="127"/>
                  </a:cubicBezTo>
                  <a:cubicBezTo>
                    <a:pt x="171" y="126"/>
                    <a:pt x="172" y="126"/>
                    <a:pt x="174" y="126"/>
                  </a:cubicBezTo>
                  <a:cubicBezTo>
                    <a:pt x="173" y="126"/>
                    <a:pt x="171" y="127"/>
                    <a:pt x="170" y="128"/>
                  </a:cubicBezTo>
                  <a:cubicBezTo>
                    <a:pt x="171" y="129"/>
                    <a:pt x="173" y="130"/>
                    <a:pt x="175" y="130"/>
                  </a:cubicBezTo>
                  <a:cubicBezTo>
                    <a:pt x="175" y="130"/>
                    <a:pt x="175" y="130"/>
                    <a:pt x="175" y="130"/>
                  </a:cubicBezTo>
                  <a:cubicBezTo>
                    <a:pt x="170" y="132"/>
                    <a:pt x="173" y="133"/>
                    <a:pt x="175" y="139"/>
                  </a:cubicBezTo>
                  <a:cubicBezTo>
                    <a:pt x="177" y="143"/>
                    <a:pt x="181" y="146"/>
                    <a:pt x="185" y="150"/>
                  </a:cubicBezTo>
                  <a:cubicBezTo>
                    <a:pt x="184" y="150"/>
                    <a:pt x="183" y="149"/>
                    <a:pt x="182" y="149"/>
                  </a:cubicBezTo>
                  <a:cubicBezTo>
                    <a:pt x="182" y="149"/>
                    <a:pt x="182" y="149"/>
                    <a:pt x="182" y="149"/>
                  </a:cubicBezTo>
                  <a:cubicBezTo>
                    <a:pt x="182" y="150"/>
                    <a:pt x="185" y="152"/>
                    <a:pt x="188" y="154"/>
                  </a:cubicBezTo>
                  <a:cubicBezTo>
                    <a:pt x="188" y="153"/>
                    <a:pt x="187" y="153"/>
                    <a:pt x="187" y="153"/>
                  </a:cubicBezTo>
                  <a:cubicBezTo>
                    <a:pt x="186" y="153"/>
                    <a:pt x="185" y="154"/>
                    <a:pt x="184" y="154"/>
                  </a:cubicBezTo>
                  <a:cubicBezTo>
                    <a:pt x="184" y="154"/>
                    <a:pt x="181" y="154"/>
                    <a:pt x="180" y="154"/>
                  </a:cubicBezTo>
                  <a:cubicBezTo>
                    <a:pt x="178" y="155"/>
                    <a:pt x="180" y="156"/>
                    <a:pt x="181" y="157"/>
                  </a:cubicBezTo>
                  <a:cubicBezTo>
                    <a:pt x="185" y="159"/>
                    <a:pt x="190" y="160"/>
                    <a:pt x="194" y="162"/>
                  </a:cubicBezTo>
                  <a:cubicBezTo>
                    <a:pt x="193" y="162"/>
                    <a:pt x="193" y="162"/>
                    <a:pt x="192" y="162"/>
                  </a:cubicBezTo>
                  <a:cubicBezTo>
                    <a:pt x="191" y="162"/>
                    <a:pt x="190" y="162"/>
                    <a:pt x="189" y="162"/>
                  </a:cubicBezTo>
                  <a:cubicBezTo>
                    <a:pt x="188" y="162"/>
                    <a:pt x="186" y="161"/>
                    <a:pt x="185" y="161"/>
                  </a:cubicBezTo>
                  <a:cubicBezTo>
                    <a:pt x="185" y="161"/>
                    <a:pt x="184" y="162"/>
                    <a:pt x="184" y="162"/>
                  </a:cubicBezTo>
                  <a:cubicBezTo>
                    <a:pt x="184" y="162"/>
                    <a:pt x="183" y="162"/>
                    <a:pt x="183" y="162"/>
                  </a:cubicBezTo>
                  <a:cubicBezTo>
                    <a:pt x="183" y="162"/>
                    <a:pt x="183" y="162"/>
                    <a:pt x="183" y="162"/>
                  </a:cubicBezTo>
                  <a:cubicBezTo>
                    <a:pt x="183" y="162"/>
                    <a:pt x="182" y="161"/>
                    <a:pt x="182" y="161"/>
                  </a:cubicBezTo>
                  <a:cubicBezTo>
                    <a:pt x="182" y="161"/>
                    <a:pt x="182" y="162"/>
                    <a:pt x="182" y="162"/>
                  </a:cubicBezTo>
                  <a:cubicBezTo>
                    <a:pt x="181" y="162"/>
                    <a:pt x="185" y="166"/>
                    <a:pt x="185" y="166"/>
                  </a:cubicBezTo>
                  <a:cubicBezTo>
                    <a:pt x="187" y="167"/>
                    <a:pt x="189" y="169"/>
                    <a:pt x="190" y="170"/>
                  </a:cubicBezTo>
                  <a:cubicBezTo>
                    <a:pt x="190" y="171"/>
                    <a:pt x="191" y="170"/>
                    <a:pt x="191" y="171"/>
                  </a:cubicBezTo>
                  <a:cubicBezTo>
                    <a:pt x="191" y="171"/>
                    <a:pt x="190" y="177"/>
                    <a:pt x="189" y="177"/>
                  </a:cubicBezTo>
                  <a:cubicBezTo>
                    <a:pt x="189" y="179"/>
                    <a:pt x="188" y="178"/>
                    <a:pt x="187" y="179"/>
                  </a:cubicBezTo>
                  <a:cubicBezTo>
                    <a:pt x="187" y="180"/>
                    <a:pt x="188" y="182"/>
                    <a:pt x="188" y="183"/>
                  </a:cubicBezTo>
                  <a:cubicBezTo>
                    <a:pt x="187" y="184"/>
                    <a:pt x="186" y="183"/>
                    <a:pt x="186" y="185"/>
                  </a:cubicBezTo>
                  <a:cubicBezTo>
                    <a:pt x="186" y="185"/>
                    <a:pt x="187" y="187"/>
                    <a:pt x="187" y="187"/>
                  </a:cubicBezTo>
                  <a:cubicBezTo>
                    <a:pt x="189" y="186"/>
                    <a:pt x="190" y="185"/>
                    <a:pt x="191" y="184"/>
                  </a:cubicBezTo>
                  <a:cubicBezTo>
                    <a:pt x="192" y="184"/>
                    <a:pt x="194" y="183"/>
                    <a:pt x="195" y="183"/>
                  </a:cubicBezTo>
                  <a:cubicBezTo>
                    <a:pt x="195" y="182"/>
                    <a:pt x="194" y="181"/>
                    <a:pt x="194" y="180"/>
                  </a:cubicBezTo>
                  <a:cubicBezTo>
                    <a:pt x="195" y="180"/>
                    <a:pt x="195" y="180"/>
                    <a:pt x="195" y="180"/>
                  </a:cubicBezTo>
                  <a:cubicBezTo>
                    <a:pt x="195" y="180"/>
                    <a:pt x="195" y="183"/>
                    <a:pt x="195" y="184"/>
                  </a:cubicBezTo>
                  <a:cubicBezTo>
                    <a:pt x="196" y="185"/>
                    <a:pt x="197" y="185"/>
                    <a:pt x="198" y="185"/>
                  </a:cubicBezTo>
                  <a:cubicBezTo>
                    <a:pt x="201" y="185"/>
                    <a:pt x="204" y="184"/>
                    <a:pt x="205" y="184"/>
                  </a:cubicBezTo>
                  <a:cubicBezTo>
                    <a:pt x="206" y="183"/>
                    <a:pt x="206" y="183"/>
                    <a:pt x="207" y="183"/>
                  </a:cubicBezTo>
                  <a:cubicBezTo>
                    <a:pt x="207" y="183"/>
                    <a:pt x="208" y="183"/>
                    <a:pt x="208" y="183"/>
                  </a:cubicBezTo>
                  <a:cubicBezTo>
                    <a:pt x="209" y="183"/>
                    <a:pt x="209" y="183"/>
                    <a:pt x="210" y="183"/>
                  </a:cubicBezTo>
                  <a:cubicBezTo>
                    <a:pt x="211" y="183"/>
                    <a:pt x="212" y="183"/>
                    <a:pt x="213" y="183"/>
                  </a:cubicBezTo>
                  <a:cubicBezTo>
                    <a:pt x="214" y="182"/>
                    <a:pt x="214" y="179"/>
                    <a:pt x="215" y="179"/>
                  </a:cubicBezTo>
                  <a:cubicBezTo>
                    <a:pt x="213" y="180"/>
                    <a:pt x="215" y="181"/>
                    <a:pt x="215" y="182"/>
                  </a:cubicBezTo>
                  <a:cubicBezTo>
                    <a:pt x="214" y="183"/>
                    <a:pt x="213" y="183"/>
                    <a:pt x="212" y="184"/>
                  </a:cubicBezTo>
                  <a:cubicBezTo>
                    <a:pt x="212" y="186"/>
                    <a:pt x="217" y="189"/>
                    <a:pt x="219" y="191"/>
                  </a:cubicBezTo>
                  <a:cubicBezTo>
                    <a:pt x="224" y="196"/>
                    <a:pt x="229" y="200"/>
                    <a:pt x="234" y="205"/>
                  </a:cubicBezTo>
                  <a:cubicBezTo>
                    <a:pt x="234" y="156"/>
                    <a:pt x="234" y="156"/>
                    <a:pt x="234" y="156"/>
                  </a:cubicBezTo>
                  <a:cubicBezTo>
                    <a:pt x="233" y="156"/>
                    <a:pt x="233" y="156"/>
                    <a:pt x="233" y="156"/>
                  </a:cubicBezTo>
                  <a:cubicBezTo>
                    <a:pt x="233" y="155"/>
                    <a:pt x="232" y="155"/>
                    <a:pt x="232" y="154"/>
                  </a:cubicBezTo>
                  <a:cubicBezTo>
                    <a:pt x="232" y="154"/>
                    <a:pt x="231" y="153"/>
                    <a:pt x="231" y="152"/>
                  </a:cubicBezTo>
                  <a:cubicBezTo>
                    <a:pt x="233" y="129"/>
                    <a:pt x="233" y="129"/>
                    <a:pt x="233" y="129"/>
                  </a:cubicBezTo>
                  <a:cubicBezTo>
                    <a:pt x="233" y="124"/>
                    <a:pt x="233" y="120"/>
                    <a:pt x="234" y="116"/>
                  </a:cubicBezTo>
                  <a:cubicBezTo>
                    <a:pt x="234" y="113"/>
                    <a:pt x="234" y="113"/>
                    <a:pt x="234" y="113"/>
                  </a:cubicBezTo>
                  <a:cubicBezTo>
                    <a:pt x="234" y="112"/>
                    <a:pt x="234" y="111"/>
                    <a:pt x="234" y="110"/>
                  </a:cubicBezTo>
                  <a:cubicBezTo>
                    <a:pt x="234" y="106"/>
                    <a:pt x="234" y="106"/>
                    <a:pt x="234" y="106"/>
                  </a:cubicBezTo>
                  <a:cubicBezTo>
                    <a:pt x="234" y="96"/>
                    <a:pt x="234" y="84"/>
                    <a:pt x="234" y="74"/>
                  </a:cubicBezTo>
                  <a:cubicBezTo>
                    <a:pt x="234" y="67"/>
                    <a:pt x="234" y="60"/>
                    <a:pt x="234" y="53"/>
                  </a:cubicBezTo>
                  <a:cubicBezTo>
                    <a:pt x="232" y="53"/>
                    <a:pt x="231" y="53"/>
                    <a:pt x="230" y="54"/>
                  </a:cubicBezTo>
                  <a:cubicBezTo>
                    <a:pt x="230" y="53"/>
                    <a:pt x="229" y="50"/>
                    <a:pt x="228" y="50"/>
                  </a:cubicBezTo>
                  <a:cubicBezTo>
                    <a:pt x="225" y="49"/>
                    <a:pt x="221" y="49"/>
                    <a:pt x="218" y="48"/>
                  </a:cubicBezTo>
                  <a:cubicBezTo>
                    <a:pt x="217" y="48"/>
                    <a:pt x="216" y="48"/>
                    <a:pt x="215" y="48"/>
                  </a:cubicBezTo>
                  <a:cubicBezTo>
                    <a:pt x="215" y="48"/>
                    <a:pt x="214" y="48"/>
                    <a:pt x="213" y="48"/>
                  </a:cubicBezTo>
                  <a:cubicBezTo>
                    <a:pt x="212" y="48"/>
                    <a:pt x="212" y="48"/>
                    <a:pt x="211" y="48"/>
                  </a:cubicBezTo>
                  <a:cubicBezTo>
                    <a:pt x="210" y="48"/>
                    <a:pt x="209" y="48"/>
                    <a:pt x="209" y="48"/>
                  </a:cubicBezTo>
                  <a:cubicBezTo>
                    <a:pt x="207" y="47"/>
                    <a:pt x="205" y="46"/>
                    <a:pt x="203" y="45"/>
                  </a:cubicBezTo>
                  <a:cubicBezTo>
                    <a:pt x="196" y="42"/>
                    <a:pt x="189" y="39"/>
                    <a:pt x="183" y="36"/>
                  </a:cubicBezTo>
                  <a:cubicBezTo>
                    <a:pt x="177" y="33"/>
                    <a:pt x="171" y="30"/>
                    <a:pt x="165" y="28"/>
                  </a:cubicBezTo>
                  <a:cubicBezTo>
                    <a:pt x="165" y="27"/>
                    <a:pt x="164" y="27"/>
                    <a:pt x="163" y="27"/>
                  </a:cubicBezTo>
                  <a:cubicBezTo>
                    <a:pt x="161" y="27"/>
                    <a:pt x="159" y="28"/>
                    <a:pt x="157" y="28"/>
                  </a:cubicBezTo>
                  <a:cubicBezTo>
                    <a:pt x="155" y="29"/>
                    <a:pt x="152" y="31"/>
                    <a:pt x="150" y="33"/>
                  </a:cubicBezTo>
                  <a:cubicBezTo>
                    <a:pt x="148" y="33"/>
                    <a:pt x="146" y="33"/>
                    <a:pt x="146" y="36"/>
                  </a:cubicBezTo>
                  <a:cubicBezTo>
                    <a:pt x="146" y="37"/>
                    <a:pt x="147" y="38"/>
                    <a:pt x="147" y="39"/>
                  </a:cubicBezTo>
                  <a:cubicBezTo>
                    <a:pt x="148" y="40"/>
                    <a:pt x="148" y="40"/>
                    <a:pt x="148" y="40"/>
                  </a:cubicBezTo>
                  <a:cubicBezTo>
                    <a:pt x="147" y="41"/>
                    <a:pt x="145" y="42"/>
                    <a:pt x="143" y="42"/>
                  </a:cubicBezTo>
                  <a:cubicBezTo>
                    <a:pt x="140" y="43"/>
                    <a:pt x="137" y="45"/>
                    <a:pt x="134" y="45"/>
                  </a:cubicBezTo>
                  <a:cubicBezTo>
                    <a:pt x="134" y="45"/>
                    <a:pt x="133" y="45"/>
                    <a:pt x="133" y="45"/>
                  </a:cubicBezTo>
                  <a:cubicBezTo>
                    <a:pt x="132" y="45"/>
                    <a:pt x="132" y="44"/>
                    <a:pt x="131" y="44"/>
                  </a:cubicBezTo>
                  <a:cubicBezTo>
                    <a:pt x="128" y="44"/>
                    <a:pt x="127" y="47"/>
                    <a:pt x="125" y="49"/>
                  </a:cubicBezTo>
                  <a:cubicBezTo>
                    <a:pt x="123" y="52"/>
                    <a:pt x="119" y="56"/>
                    <a:pt x="117" y="60"/>
                  </a:cubicBezTo>
                  <a:cubicBezTo>
                    <a:pt x="117" y="61"/>
                    <a:pt x="117" y="62"/>
                    <a:pt x="116" y="63"/>
                  </a:cubicBezTo>
                  <a:cubicBezTo>
                    <a:pt x="116" y="63"/>
                    <a:pt x="114" y="64"/>
                    <a:pt x="113" y="64"/>
                  </a:cubicBezTo>
                  <a:cubicBezTo>
                    <a:pt x="112" y="65"/>
                    <a:pt x="114" y="65"/>
                    <a:pt x="113" y="66"/>
                  </a:cubicBezTo>
                  <a:cubicBezTo>
                    <a:pt x="112" y="67"/>
                    <a:pt x="111" y="67"/>
                    <a:pt x="110" y="67"/>
                  </a:cubicBezTo>
                  <a:cubicBezTo>
                    <a:pt x="109" y="68"/>
                    <a:pt x="109" y="69"/>
                    <a:pt x="108" y="70"/>
                  </a:cubicBezTo>
                  <a:cubicBezTo>
                    <a:pt x="107" y="71"/>
                    <a:pt x="105" y="72"/>
                    <a:pt x="103" y="72"/>
                  </a:cubicBezTo>
                  <a:cubicBezTo>
                    <a:pt x="101" y="72"/>
                    <a:pt x="99" y="72"/>
                    <a:pt x="98" y="71"/>
                  </a:cubicBezTo>
                  <a:cubicBezTo>
                    <a:pt x="93" y="70"/>
                    <a:pt x="92" y="66"/>
                    <a:pt x="92" y="61"/>
                  </a:cubicBezTo>
                  <a:cubicBezTo>
                    <a:pt x="91" y="61"/>
                    <a:pt x="90" y="62"/>
                    <a:pt x="89" y="62"/>
                  </a:cubicBezTo>
                  <a:cubicBezTo>
                    <a:pt x="88" y="62"/>
                    <a:pt x="88" y="61"/>
                    <a:pt x="88" y="59"/>
                  </a:cubicBezTo>
                  <a:cubicBezTo>
                    <a:pt x="87" y="58"/>
                    <a:pt x="88" y="53"/>
                    <a:pt x="87" y="52"/>
                  </a:cubicBezTo>
                  <a:cubicBezTo>
                    <a:pt x="87" y="51"/>
                    <a:pt x="86" y="51"/>
                    <a:pt x="85" y="51"/>
                  </a:cubicBezTo>
                  <a:cubicBezTo>
                    <a:pt x="84" y="51"/>
                    <a:pt x="83" y="53"/>
                    <a:pt x="83" y="54"/>
                  </a:cubicBezTo>
                  <a:cubicBezTo>
                    <a:pt x="83" y="55"/>
                    <a:pt x="85" y="58"/>
                    <a:pt x="84" y="59"/>
                  </a:cubicBezTo>
                  <a:cubicBezTo>
                    <a:pt x="84" y="59"/>
                    <a:pt x="84" y="59"/>
                    <a:pt x="83" y="59"/>
                  </a:cubicBezTo>
                  <a:cubicBezTo>
                    <a:pt x="83" y="59"/>
                    <a:pt x="82" y="59"/>
                    <a:pt x="82" y="58"/>
                  </a:cubicBezTo>
                  <a:cubicBezTo>
                    <a:pt x="80" y="53"/>
                    <a:pt x="79" y="49"/>
                    <a:pt x="77" y="44"/>
                  </a:cubicBezTo>
                  <a:cubicBezTo>
                    <a:pt x="76" y="41"/>
                    <a:pt x="74" y="37"/>
                    <a:pt x="74" y="33"/>
                  </a:cubicBezTo>
                  <a:cubicBezTo>
                    <a:pt x="74" y="31"/>
                    <a:pt x="74" y="32"/>
                    <a:pt x="75" y="31"/>
                  </a:cubicBezTo>
                  <a:cubicBezTo>
                    <a:pt x="76" y="29"/>
                    <a:pt x="77" y="28"/>
                    <a:pt x="77" y="25"/>
                  </a:cubicBezTo>
                  <a:cubicBezTo>
                    <a:pt x="78" y="23"/>
                    <a:pt x="78" y="25"/>
                    <a:pt x="78" y="22"/>
                  </a:cubicBezTo>
                  <a:cubicBezTo>
                    <a:pt x="77" y="20"/>
                    <a:pt x="75" y="19"/>
                    <a:pt x="74" y="17"/>
                  </a:cubicBezTo>
                  <a:cubicBezTo>
                    <a:pt x="73" y="15"/>
                    <a:pt x="73" y="13"/>
                    <a:pt x="76" y="13"/>
                  </a:cubicBezTo>
                  <a:cubicBezTo>
                    <a:pt x="76" y="13"/>
                    <a:pt x="76" y="13"/>
                    <a:pt x="76" y="13"/>
                  </a:cubicBezTo>
                  <a:cubicBezTo>
                    <a:pt x="70" y="11"/>
                    <a:pt x="62" y="11"/>
                    <a:pt x="56" y="8"/>
                  </a:cubicBezTo>
                  <a:cubicBezTo>
                    <a:pt x="50" y="5"/>
                    <a:pt x="45" y="1"/>
                    <a:pt x="38" y="0"/>
                  </a:cubicBezTo>
                  <a:cubicBezTo>
                    <a:pt x="38"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1508"/>
            <p:cNvSpPr/>
            <p:nvPr/>
          </p:nvSpPr>
          <p:spPr bwMode="auto">
            <a:xfrm>
              <a:off x="3524973" y="4589451"/>
              <a:ext cx="754393" cy="634925"/>
            </a:xfrm>
            <a:custGeom>
              <a:gdLst>
                <a:gd name="T0" fmla="*/ 167 w 238"/>
                <a:gd name="T1" fmla="*/ 1 h 200"/>
                <a:gd name="T2" fmla="*/ 154 w 238"/>
                <a:gd name="T3" fmla="*/ 32 h 200"/>
                <a:gd name="T4" fmla="*/ 149 w 238"/>
                <a:gd name="T5" fmla="*/ 37 h 200"/>
                <a:gd name="T6" fmla="*/ 152 w 238"/>
                <a:gd name="T7" fmla="*/ 40 h 200"/>
                <a:gd name="T8" fmla="*/ 145 w 238"/>
                <a:gd name="T9" fmla="*/ 48 h 200"/>
                <a:gd name="T10" fmla="*/ 143 w 238"/>
                <a:gd name="T11" fmla="*/ 50 h 200"/>
                <a:gd name="T12" fmla="*/ 140 w 238"/>
                <a:gd name="T13" fmla="*/ 60 h 200"/>
                <a:gd name="T14" fmla="*/ 131 w 238"/>
                <a:gd name="T15" fmla="*/ 70 h 200"/>
                <a:gd name="T16" fmla="*/ 129 w 238"/>
                <a:gd name="T17" fmla="*/ 70 h 200"/>
                <a:gd name="T18" fmla="*/ 124 w 238"/>
                <a:gd name="T19" fmla="*/ 71 h 200"/>
                <a:gd name="T20" fmla="*/ 112 w 238"/>
                <a:gd name="T21" fmla="*/ 75 h 200"/>
                <a:gd name="T22" fmla="*/ 91 w 238"/>
                <a:gd name="T23" fmla="*/ 68 h 200"/>
                <a:gd name="T24" fmla="*/ 80 w 238"/>
                <a:gd name="T25" fmla="*/ 70 h 200"/>
                <a:gd name="T26" fmla="*/ 67 w 238"/>
                <a:gd name="T27" fmla="*/ 80 h 200"/>
                <a:gd name="T28" fmla="*/ 52 w 238"/>
                <a:gd name="T29" fmla="*/ 80 h 200"/>
                <a:gd name="T30" fmla="*/ 39 w 238"/>
                <a:gd name="T31" fmla="*/ 84 h 200"/>
                <a:gd name="T32" fmla="*/ 32 w 238"/>
                <a:gd name="T33" fmla="*/ 79 h 200"/>
                <a:gd name="T34" fmla="*/ 14 w 238"/>
                <a:gd name="T35" fmla="*/ 54 h 200"/>
                <a:gd name="T36" fmla="*/ 1 w 238"/>
                <a:gd name="T37" fmla="*/ 73 h 200"/>
                <a:gd name="T38" fmla="*/ 6 w 238"/>
                <a:gd name="T39" fmla="*/ 97 h 200"/>
                <a:gd name="T40" fmla="*/ 8 w 238"/>
                <a:gd name="T41" fmla="*/ 106 h 200"/>
                <a:gd name="T42" fmla="*/ 11 w 238"/>
                <a:gd name="T43" fmla="*/ 122 h 200"/>
                <a:gd name="T44" fmla="*/ 26 w 238"/>
                <a:gd name="T45" fmla="*/ 142 h 200"/>
                <a:gd name="T46" fmla="*/ 29 w 238"/>
                <a:gd name="T47" fmla="*/ 149 h 200"/>
                <a:gd name="T48" fmla="*/ 39 w 238"/>
                <a:gd name="T49" fmla="*/ 173 h 200"/>
                <a:gd name="T50" fmla="*/ 44 w 238"/>
                <a:gd name="T51" fmla="*/ 172 h 200"/>
                <a:gd name="T52" fmla="*/ 50 w 238"/>
                <a:gd name="T53" fmla="*/ 174 h 200"/>
                <a:gd name="T54" fmla="*/ 60 w 238"/>
                <a:gd name="T55" fmla="*/ 171 h 200"/>
                <a:gd name="T56" fmla="*/ 67 w 238"/>
                <a:gd name="T57" fmla="*/ 166 h 200"/>
                <a:gd name="T58" fmla="*/ 98 w 238"/>
                <a:gd name="T59" fmla="*/ 170 h 200"/>
                <a:gd name="T60" fmla="*/ 111 w 238"/>
                <a:gd name="T61" fmla="*/ 176 h 200"/>
                <a:gd name="T62" fmla="*/ 123 w 238"/>
                <a:gd name="T63" fmla="*/ 176 h 200"/>
                <a:gd name="T64" fmla="*/ 131 w 238"/>
                <a:gd name="T65" fmla="*/ 183 h 200"/>
                <a:gd name="T66" fmla="*/ 136 w 238"/>
                <a:gd name="T67" fmla="*/ 200 h 200"/>
                <a:gd name="T68" fmla="*/ 149 w 238"/>
                <a:gd name="T69" fmla="*/ 193 h 200"/>
                <a:gd name="T70" fmla="*/ 173 w 238"/>
                <a:gd name="T71" fmla="*/ 174 h 200"/>
                <a:gd name="T72" fmla="*/ 175 w 238"/>
                <a:gd name="T73" fmla="*/ 160 h 200"/>
                <a:gd name="T74" fmla="*/ 173 w 238"/>
                <a:gd name="T75" fmla="*/ 143 h 200"/>
                <a:gd name="T76" fmla="*/ 188 w 238"/>
                <a:gd name="T77" fmla="*/ 131 h 200"/>
                <a:gd name="T78" fmla="*/ 206 w 238"/>
                <a:gd name="T79" fmla="*/ 119 h 200"/>
                <a:gd name="T80" fmla="*/ 202 w 238"/>
                <a:gd name="T81" fmla="*/ 101 h 200"/>
                <a:gd name="T82" fmla="*/ 213 w 238"/>
                <a:gd name="T83" fmla="*/ 82 h 200"/>
                <a:gd name="T84" fmla="*/ 212 w 238"/>
                <a:gd name="T85" fmla="*/ 75 h 200"/>
                <a:gd name="T86" fmla="*/ 238 w 238"/>
                <a:gd name="T87" fmla="*/ 77 h 200"/>
                <a:gd name="T88" fmla="*/ 210 w 238"/>
                <a:gd name="T89" fmla="*/ 51 h 200"/>
                <a:gd name="T90" fmla="*/ 205 w 238"/>
                <a:gd name="T91" fmla="*/ 34 h 200"/>
                <a:gd name="T92" fmla="*/ 202 w 238"/>
                <a:gd name="T93" fmla="*/ 27 h 200"/>
                <a:gd name="T94" fmla="*/ 198 w 238"/>
                <a:gd name="T95" fmla="*/ 25 h 200"/>
                <a:gd name="T96" fmla="*/ 199 w 238"/>
                <a:gd name="T97" fmla="*/ 24 h 200"/>
                <a:gd name="T98" fmla="*/ 199 w 238"/>
                <a:gd name="T99" fmla="*/ 20 h 200"/>
                <a:gd name="T100" fmla="*/ 194 w 238"/>
                <a:gd name="T101" fmla="*/ 16 h 200"/>
                <a:gd name="T102" fmla="*/ 200 w 238"/>
                <a:gd name="T103" fmla="*/ 16 h 200"/>
                <a:gd name="T104" fmla="*/ 207 w 238"/>
                <a:gd name="T105" fmla="*/ 10 h 200"/>
                <a:gd name="T106" fmla="*/ 199 w 238"/>
                <a:gd name="T107" fmla="*/ 4 h 2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200">
                  <a:moveTo>
                    <a:pt x="181" y="0"/>
                  </a:moveTo>
                  <a:cubicBezTo>
                    <a:pt x="180" y="0"/>
                    <a:pt x="180" y="0"/>
                    <a:pt x="179" y="0"/>
                  </a:cubicBezTo>
                  <a:cubicBezTo>
                    <a:pt x="175" y="1"/>
                    <a:pt x="171" y="1"/>
                    <a:pt x="169" y="1"/>
                  </a:cubicBezTo>
                  <a:cubicBezTo>
                    <a:pt x="168" y="1"/>
                    <a:pt x="167" y="1"/>
                    <a:pt x="167" y="1"/>
                  </a:cubicBezTo>
                  <a:cubicBezTo>
                    <a:pt x="166" y="1"/>
                    <a:pt x="166" y="1"/>
                    <a:pt x="165" y="1"/>
                  </a:cubicBezTo>
                  <a:cubicBezTo>
                    <a:pt x="162" y="4"/>
                    <a:pt x="160" y="8"/>
                    <a:pt x="160" y="11"/>
                  </a:cubicBezTo>
                  <a:cubicBezTo>
                    <a:pt x="161" y="17"/>
                    <a:pt x="162" y="22"/>
                    <a:pt x="160" y="27"/>
                  </a:cubicBezTo>
                  <a:cubicBezTo>
                    <a:pt x="159" y="29"/>
                    <a:pt x="158" y="32"/>
                    <a:pt x="154" y="32"/>
                  </a:cubicBezTo>
                  <a:cubicBezTo>
                    <a:pt x="154" y="32"/>
                    <a:pt x="154" y="32"/>
                    <a:pt x="153" y="32"/>
                  </a:cubicBezTo>
                  <a:cubicBezTo>
                    <a:pt x="153" y="32"/>
                    <a:pt x="153" y="32"/>
                    <a:pt x="153" y="32"/>
                  </a:cubicBezTo>
                  <a:cubicBezTo>
                    <a:pt x="152" y="32"/>
                    <a:pt x="151" y="33"/>
                    <a:pt x="150" y="34"/>
                  </a:cubicBezTo>
                  <a:cubicBezTo>
                    <a:pt x="149" y="35"/>
                    <a:pt x="149" y="36"/>
                    <a:pt x="149" y="37"/>
                  </a:cubicBezTo>
                  <a:cubicBezTo>
                    <a:pt x="150" y="38"/>
                    <a:pt x="151" y="38"/>
                    <a:pt x="151" y="39"/>
                  </a:cubicBezTo>
                  <a:cubicBezTo>
                    <a:pt x="154" y="38"/>
                    <a:pt x="154" y="38"/>
                    <a:pt x="154" y="38"/>
                  </a:cubicBezTo>
                  <a:cubicBezTo>
                    <a:pt x="152" y="40"/>
                    <a:pt x="152" y="40"/>
                    <a:pt x="152" y="40"/>
                  </a:cubicBezTo>
                  <a:cubicBezTo>
                    <a:pt x="152" y="40"/>
                    <a:pt x="152" y="40"/>
                    <a:pt x="152" y="40"/>
                  </a:cubicBezTo>
                  <a:cubicBezTo>
                    <a:pt x="153" y="42"/>
                    <a:pt x="153" y="42"/>
                    <a:pt x="153" y="42"/>
                  </a:cubicBezTo>
                  <a:cubicBezTo>
                    <a:pt x="151" y="43"/>
                    <a:pt x="151" y="43"/>
                    <a:pt x="151" y="43"/>
                  </a:cubicBezTo>
                  <a:cubicBezTo>
                    <a:pt x="150" y="45"/>
                    <a:pt x="148" y="46"/>
                    <a:pt x="147" y="47"/>
                  </a:cubicBezTo>
                  <a:cubicBezTo>
                    <a:pt x="146" y="47"/>
                    <a:pt x="145" y="47"/>
                    <a:pt x="145" y="48"/>
                  </a:cubicBezTo>
                  <a:cubicBezTo>
                    <a:pt x="145" y="48"/>
                    <a:pt x="144" y="48"/>
                    <a:pt x="144" y="48"/>
                  </a:cubicBezTo>
                  <a:cubicBezTo>
                    <a:pt x="143" y="49"/>
                    <a:pt x="143" y="49"/>
                    <a:pt x="143" y="49"/>
                  </a:cubicBezTo>
                  <a:cubicBezTo>
                    <a:pt x="143" y="49"/>
                    <a:pt x="143" y="49"/>
                    <a:pt x="142" y="49"/>
                  </a:cubicBezTo>
                  <a:cubicBezTo>
                    <a:pt x="142" y="50"/>
                    <a:pt x="142" y="50"/>
                    <a:pt x="143" y="50"/>
                  </a:cubicBezTo>
                  <a:cubicBezTo>
                    <a:pt x="143" y="51"/>
                    <a:pt x="143" y="52"/>
                    <a:pt x="143" y="52"/>
                  </a:cubicBezTo>
                  <a:cubicBezTo>
                    <a:pt x="144" y="53"/>
                    <a:pt x="144" y="55"/>
                    <a:pt x="143" y="57"/>
                  </a:cubicBezTo>
                  <a:cubicBezTo>
                    <a:pt x="143" y="58"/>
                    <a:pt x="141" y="59"/>
                    <a:pt x="140" y="60"/>
                  </a:cubicBezTo>
                  <a:cubicBezTo>
                    <a:pt x="140" y="60"/>
                    <a:pt x="140" y="60"/>
                    <a:pt x="140" y="60"/>
                  </a:cubicBezTo>
                  <a:cubicBezTo>
                    <a:pt x="139" y="61"/>
                    <a:pt x="139" y="61"/>
                    <a:pt x="139" y="61"/>
                  </a:cubicBezTo>
                  <a:cubicBezTo>
                    <a:pt x="139" y="61"/>
                    <a:pt x="139" y="62"/>
                    <a:pt x="139" y="62"/>
                  </a:cubicBezTo>
                  <a:cubicBezTo>
                    <a:pt x="138" y="66"/>
                    <a:pt x="138" y="66"/>
                    <a:pt x="138" y="66"/>
                  </a:cubicBezTo>
                  <a:cubicBezTo>
                    <a:pt x="136" y="69"/>
                    <a:pt x="134" y="70"/>
                    <a:pt x="131" y="70"/>
                  </a:cubicBezTo>
                  <a:cubicBezTo>
                    <a:pt x="131" y="70"/>
                    <a:pt x="131" y="70"/>
                    <a:pt x="131" y="70"/>
                  </a:cubicBezTo>
                  <a:cubicBezTo>
                    <a:pt x="130" y="70"/>
                    <a:pt x="130" y="70"/>
                    <a:pt x="129" y="70"/>
                  </a:cubicBezTo>
                  <a:cubicBezTo>
                    <a:pt x="129" y="69"/>
                    <a:pt x="129" y="69"/>
                    <a:pt x="129" y="69"/>
                  </a:cubicBezTo>
                  <a:cubicBezTo>
                    <a:pt x="129" y="70"/>
                    <a:pt x="129" y="70"/>
                    <a:pt x="129" y="70"/>
                  </a:cubicBezTo>
                  <a:cubicBezTo>
                    <a:pt x="129" y="70"/>
                    <a:pt x="128" y="70"/>
                    <a:pt x="128" y="70"/>
                  </a:cubicBezTo>
                  <a:cubicBezTo>
                    <a:pt x="128" y="70"/>
                    <a:pt x="127" y="70"/>
                    <a:pt x="127" y="70"/>
                  </a:cubicBezTo>
                  <a:cubicBezTo>
                    <a:pt x="126" y="70"/>
                    <a:pt x="126" y="70"/>
                    <a:pt x="126" y="70"/>
                  </a:cubicBezTo>
                  <a:cubicBezTo>
                    <a:pt x="124" y="71"/>
                    <a:pt x="124" y="71"/>
                    <a:pt x="124" y="71"/>
                  </a:cubicBezTo>
                  <a:cubicBezTo>
                    <a:pt x="121" y="71"/>
                    <a:pt x="119" y="72"/>
                    <a:pt x="117" y="73"/>
                  </a:cubicBezTo>
                  <a:cubicBezTo>
                    <a:pt x="117" y="73"/>
                    <a:pt x="117" y="73"/>
                    <a:pt x="117" y="73"/>
                  </a:cubicBezTo>
                  <a:cubicBezTo>
                    <a:pt x="116" y="73"/>
                    <a:pt x="115" y="74"/>
                    <a:pt x="114" y="74"/>
                  </a:cubicBezTo>
                  <a:cubicBezTo>
                    <a:pt x="113" y="74"/>
                    <a:pt x="113" y="75"/>
                    <a:pt x="112" y="75"/>
                  </a:cubicBezTo>
                  <a:cubicBezTo>
                    <a:pt x="109" y="75"/>
                    <a:pt x="105" y="73"/>
                    <a:pt x="102" y="72"/>
                  </a:cubicBezTo>
                  <a:cubicBezTo>
                    <a:pt x="101" y="71"/>
                    <a:pt x="101" y="71"/>
                    <a:pt x="101" y="71"/>
                  </a:cubicBezTo>
                  <a:cubicBezTo>
                    <a:pt x="100" y="71"/>
                    <a:pt x="98" y="70"/>
                    <a:pt x="97" y="69"/>
                  </a:cubicBezTo>
                  <a:cubicBezTo>
                    <a:pt x="91" y="68"/>
                    <a:pt x="91" y="68"/>
                    <a:pt x="91" y="68"/>
                  </a:cubicBezTo>
                  <a:cubicBezTo>
                    <a:pt x="92" y="68"/>
                    <a:pt x="92" y="68"/>
                    <a:pt x="92" y="68"/>
                  </a:cubicBezTo>
                  <a:cubicBezTo>
                    <a:pt x="90" y="68"/>
                    <a:pt x="87" y="68"/>
                    <a:pt x="83" y="69"/>
                  </a:cubicBezTo>
                  <a:cubicBezTo>
                    <a:pt x="81" y="69"/>
                    <a:pt x="81" y="69"/>
                    <a:pt x="81" y="69"/>
                  </a:cubicBezTo>
                  <a:cubicBezTo>
                    <a:pt x="80" y="70"/>
                    <a:pt x="80" y="70"/>
                    <a:pt x="80" y="70"/>
                  </a:cubicBezTo>
                  <a:cubicBezTo>
                    <a:pt x="80" y="70"/>
                    <a:pt x="80" y="71"/>
                    <a:pt x="80" y="71"/>
                  </a:cubicBezTo>
                  <a:cubicBezTo>
                    <a:pt x="80" y="71"/>
                    <a:pt x="80" y="71"/>
                    <a:pt x="80" y="71"/>
                  </a:cubicBezTo>
                  <a:cubicBezTo>
                    <a:pt x="80" y="71"/>
                    <a:pt x="80" y="73"/>
                    <a:pt x="79" y="74"/>
                  </a:cubicBezTo>
                  <a:cubicBezTo>
                    <a:pt x="77" y="77"/>
                    <a:pt x="71" y="80"/>
                    <a:pt x="67" y="80"/>
                  </a:cubicBezTo>
                  <a:cubicBezTo>
                    <a:pt x="66" y="80"/>
                    <a:pt x="66" y="80"/>
                    <a:pt x="66" y="80"/>
                  </a:cubicBezTo>
                  <a:cubicBezTo>
                    <a:pt x="64" y="80"/>
                    <a:pt x="63" y="80"/>
                    <a:pt x="62" y="80"/>
                  </a:cubicBezTo>
                  <a:cubicBezTo>
                    <a:pt x="60" y="79"/>
                    <a:pt x="59" y="79"/>
                    <a:pt x="57" y="79"/>
                  </a:cubicBezTo>
                  <a:cubicBezTo>
                    <a:pt x="55" y="79"/>
                    <a:pt x="54" y="79"/>
                    <a:pt x="52" y="80"/>
                  </a:cubicBezTo>
                  <a:cubicBezTo>
                    <a:pt x="52" y="80"/>
                    <a:pt x="51" y="81"/>
                    <a:pt x="50" y="81"/>
                  </a:cubicBezTo>
                  <a:cubicBezTo>
                    <a:pt x="50" y="81"/>
                    <a:pt x="50" y="81"/>
                    <a:pt x="50" y="81"/>
                  </a:cubicBezTo>
                  <a:cubicBezTo>
                    <a:pt x="47" y="82"/>
                    <a:pt x="43" y="84"/>
                    <a:pt x="40" y="84"/>
                  </a:cubicBezTo>
                  <a:cubicBezTo>
                    <a:pt x="40" y="84"/>
                    <a:pt x="39" y="84"/>
                    <a:pt x="39" y="84"/>
                  </a:cubicBezTo>
                  <a:cubicBezTo>
                    <a:pt x="37" y="83"/>
                    <a:pt x="35" y="82"/>
                    <a:pt x="33" y="80"/>
                  </a:cubicBezTo>
                  <a:cubicBezTo>
                    <a:pt x="33" y="80"/>
                    <a:pt x="33" y="80"/>
                    <a:pt x="33" y="80"/>
                  </a:cubicBezTo>
                  <a:cubicBezTo>
                    <a:pt x="32" y="79"/>
                    <a:pt x="32" y="79"/>
                    <a:pt x="32" y="79"/>
                  </a:cubicBezTo>
                  <a:cubicBezTo>
                    <a:pt x="32" y="79"/>
                    <a:pt x="32" y="79"/>
                    <a:pt x="32" y="79"/>
                  </a:cubicBezTo>
                  <a:cubicBezTo>
                    <a:pt x="29" y="77"/>
                    <a:pt x="27" y="75"/>
                    <a:pt x="24" y="72"/>
                  </a:cubicBezTo>
                  <a:cubicBezTo>
                    <a:pt x="23" y="71"/>
                    <a:pt x="23" y="71"/>
                    <a:pt x="23" y="71"/>
                  </a:cubicBezTo>
                  <a:cubicBezTo>
                    <a:pt x="19" y="68"/>
                    <a:pt x="14" y="64"/>
                    <a:pt x="13" y="59"/>
                  </a:cubicBezTo>
                  <a:cubicBezTo>
                    <a:pt x="13" y="57"/>
                    <a:pt x="14" y="55"/>
                    <a:pt x="14" y="54"/>
                  </a:cubicBezTo>
                  <a:cubicBezTo>
                    <a:pt x="12" y="55"/>
                    <a:pt x="10" y="56"/>
                    <a:pt x="9" y="57"/>
                  </a:cubicBezTo>
                  <a:cubicBezTo>
                    <a:pt x="6" y="63"/>
                    <a:pt x="4" y="64"/>
                    <a:pt x="6" y="71"/>
                  </a:cubicBezTo>
                  <a:cubicBezTo>
                    <a:pt x="4" y="72"/>
                    <a:pt x="3" y="73"/>
                    <a:pt x="1" y="73"/>
                  </a:cubicBezTo>
                  <a:cubicBezTo>
                    <a:pt x="1" y="73"/>
                    <a:pt x="1" y="73"/>
                    <a:pt x="1" y="73"/>
                  </a:cubicBezTo>
                  <a:cubicBezTo>
                    <a:pt x="1" y="75"/>
                    <a:pt x="3" y="77"/>
                    <a:pt x="2" y="78"/>
                  </a:cubicBezTo>
                  <a:cubicBezTo>
                    <a:pt x="0" y="81"/>
                    <a:pt x="0" y="82"/>
                    <a:pt x="1" y="86"/>
                  </a:cubicBezTo>
                  <a:cubicBezTo>
                    <a:pt x="1" y="87"/>
                    <a:pt x="0" y="93"/>
                    <a:pt x="1" y="94"/>
                  </a:cubicBezTo>
                  <a:cubicBezTo>
                    <a:pt x="3" y="95"/>
                    <a:pt x="5" y="95"/>
                    <a:pt x="6" y="97"/>
                  </a:cubicBezTo>
                  <a:cubicBezTo>
                    <a:pt x="7" y="99"/>
                    <a:pt x="8" y="100"/>
                    <a:pt x="10" y="101"/>
                  </a:cubicBezTo>
                  <a:cubicBezTo>
                    <a:pt x="8" y="101"/>
                    <a:pt x="8" y="100"/>
                    <a:pt x="7" y="100"/>
                  </a:cubicBezTo>
                  <a:cubicBezTo>
                    <a:pt x="6" y="100"/>
                    <a:pt x="7" y="101"/>
                    <a:pt x="7" y="103"/>
                  </a:cubicBezTo>
                  <a:cubicBezTo>
                    <a:pt x="7" y="104"/>
                    <a:pt x="7" y="105"/>
                    <a:pt x="8" y="106"/>
                  </a:cubicBezTo>
                  <a:cubicBezTo>
                    <a:pt x="7" y="106"/>
                    <a:pt x="6" y="106"/>
                    <a:pt x="5" y="106"/>
                  </a:cubicBezTo>
                  <a:cubicBezTo>
                    <a:pt x="3" y="106"/>
                    <a:pt x="4" y="109"/>
                    <a:pt x="5" y="112"/>
                  </a:cubicBezTo>
                  <a:cubicBezTo>
                    <a:pt x="6" y="114"/>
                    <a:pt x="8" y="117"/>
                    <a:pt x="9" y="120"/>
                  </a:cubicBezTo>
                  <a:cubicBezTo>
                    <a:pt x="10" y="121"/>
                    <a:pt x="9" y="121"/>
                    <a:pt x="11" y="122"/>
                  </a:cubicBezTo>
                  <a:cubicBezTo>
                    <a:pt x="13" y="122"/>
                    <a:pt x="15" y="124"/>
                    <a:pt x="17" y="124"/>
                  </a:cubicBezTo>
                  <a:cubicBezTo>
                    <a:pt x="19" y="124"/>
                    <a:pt x="20" y="123"/>
                    <a:pt x="21" y="122"/>
                  </a:cubicBezTo>
                  <a:cubicBezTo>
                    <a:pt x="23" y="126"/>
                    <a:pt x="28" y="131"/>
                    <a:pt x="27" y="136"/>
                  </a:cubicBezTo>
                  <a:cubicBezTo>
                    <a:pt x="27" y="137"/>
                    <a:pt x="27" y="140"/>
                    <a:pt x="26" y="142"/>
                  </a:cubicBezTo>
                  <a:cubicBezTo>
                    <a:pt x="25" y="142"/>
                    <a:pt x="25" y="142"/>
                    <a:pt x="25" y="142"/>
                  </a:cubicBezTo>
                  <a:cubicBezTo>
                    <a:pt x="25" y="143"/>
                    <a:pt x="24" y="142"/>
                    <a:pt x="24" y="144"/>
                  </a:cubicBezTo>
                  <a:cubicBezTo>
                    <a:pt x="25" y="145"/>
                    <a:pt x="27" y="145"/>
                    <a:pt x="27" y="146"/>
                  </a:cubicBezTo>
                  <a:cubicBezTo>
                    <a:pt x="28" y="147"/>
                    <a:pt x="29" y="148"/>
                    <a:pt x="29" y="149"/>
                  </a:cubicBezTo>
                  <a:cubicBezTo>
                    <a:pt x="30" y="152"/>
                    <a:pt x="31" y="155"/>
                    <a:pt x="32" y="158"/>
                  </a:cubicBezTo>
                  <a:cubicBezTo>
                    <a:pt x="33" y="161"/>
                    <a:pt x="31" y="160"/>
                    <a:pt x="30" y="163"/>
                  </a:cubicBezTo>
                  <a:cubicBezTo>
                    <a:pt x="30" y="164"/>
                    <a:pt x="31" y="168"/>
                    <a:pt x="32" y="169"/>
                  </a:cubicBezTo>
                  <a:cubicBezTo>
                    <a:pt x="33" y="173"/>
                    <a:pt x="35" y="172"/>
                    <a:pt x="39" y="173"/>
                  </a:cubicBezTo>
                  <a:cubicBezTo>
                    <a:pt x="40" y="173"/>
                    <a:pt x="41" y="173"/>
                    <a:pt x="42" y="173"/>
                  </a:cubicBezTo>
                  <a:cubicBezTo>
                    <a:pt x="42" y="173"/>
                    <a:pt x="42" y="173"/>
                    <a:pt x="42" y="173"/>
                  </a:cubicBezTo>
                  <a:cubicBezTo>
                    <a:pt x="42" y="173"/>
                    <a:pt x="43" y="173"/>
                    <a:pt x="44" y="172"/>
                  </a:cubicBezTo>
                  <a:cubicBezTo>
                    <a:pt x="44" y="172"/>
                    <a:pt x="44" y="172"/>
                    <a:pt x="44" y="172"/>
                  </a:cubicBezTo>
                  <a:cubicBezTo>
                    <a:pt x="44" y="172"/>
                    <a:pt x="44" y="172"/>
                    <a:pt x="44" y="172"/>
                  </a:cubicBezTo>
                  <a:cubicBezTo>
                    <a:pt x="45" y="172"/>
                    <a:pt x="46" y="173"/>
                    <a:pt x="47" y="173"/>
                  </a:cubicBezTo>
                  <a:cubicBezTo>
                    <a:pt x="48" y="173"/>
                    <a:pt x="48" y="174"/>
                    <a:pt x="49" y="174"/>
                  </a:cubicBezTo>
                  <a:cubicBezTo>
                    <a:pt x="49" y="174"/>
                    <a:pt x="50" y="174"/>
                    <a:pt x="50" y="174"/>
                  </a:cubicBezTo>
                  <a:cubicBezTo>
                    <a:pt x="51" y="173"/>
                    <a:pt x="52" y="172"/>
                    <a:pt x="54" y="172"/>
                  </a:cubicBezTo>
                  <a:cubicBezTo>
                    <a:pt x="55" y="171"/>
                    <a:pt x="57" y="170"/>
                    <a:pt x="58" y="170"/>
                  </a:cubicBezTo>
                  <a:cubicBezTo>
                    <a:pt x="58" y="170"/>
                    <a:pt x="58" y="170"/>
                    <a:pt x="58" y="170"/>
                  </a:cubicBezTo>
                  <a:cubicBezTo>
                    <a:pt x="59" y="170"/>
                    <a:pt x="60" y="170"/>
                    <a:pt x="60" y="171"/>
                  </a:cubicBezTo>
                  <a:cubicBezTo>
                    <a:pt x="61" y="171"/>
                    <a:pt x="62" y="172"/>
                    <a:pt x="63" y="172"/>
                  </a:cubicBezTo>
                  <a:cubicBezTo>
                    <a:pt x="63" y="172"/>
                    <a:pt x="63" y="172"/>
                    <a:pt x="63" y="172"/>
                  </a:cubicBezTo>
                  <a:cubicBezTo>
                    <a:pt x="64" y="172"/>
                    <a:pt x="64" y="171"/>
                    <a:pt x="65" y="171"/>
                  </a:cubicBezTo>
                  <a:cubicBezTo>
                    <a:pt x="66" y="170"/>
                    <a:pt x="66" y="168"/>
                    <a:pt x="67" y="166"/>
                  </a:cubicBezTo>
                  <a:cubicBezTo>
                    <a:pt x="67" y="169"/>
                    <a:pt x="69" y="170"/>
                    <a:pt x="69" y="173"/>
                  </a:cubicBezTo>
                  <a:cubicBezTo>
                    <a:pt x="70" y="176"/>
                    <a:pt x="70" y="181"/>
                    <a:pt x="70" y="185"/>
                  </a:cubicBezTo>
                  <a:cubicBezTo>
                    <a:pt x="74" y="182"/>
                    <a:pt x="77" y="179"/>
                    <a:pt x="82" y="179"/>
                  </a:cubicBezTo>
                  <a:cubicBezTo>
                    <a:pt x="90" y="178"/>
                    <a:pt x="96" y="179"/>
                    <a:pt x="98" y="170"/>
                  </a:cubicBezTo>
                  <a:cubicBezTo>
                    <a:pt x="98" y="172"/>
                    <a:pt x="99" y="172"/>
                    <a:pt x="100" y="173"/>
                  </a:cubicBezTo>
                  <a:cubicBezTo>
                    <a:pt x="102" y="175"/>
                    <a:pt x="103" y="177"/>
                    <a:pt x="106" y="178"/>
                  </a:cubicBezTo>
                  <a:cubicBezTo>
                    <a:pt x="106" y="178"/>
                    <a:pt x="106" y="178"/>
                    <a:pt x="106" y="178"/>
                  </a:cubicBezTo>
                  <a:cubicBezTo>
                    <a:pt x="108" y="178"/>
                    <a:pt x="110" y="176"/>
                    <a:pt x="111" y="176"/>
                  </a:cubicBezTo>
                  <a:cubicBezTo>
                    <a:pt x="112" y="179"/>
                    <a:pt x="111" y="183"/>
                    <a:pt x="115" y="183"/>
                  </a:cubicBezTo>
                  <a:cubicBezTo>
                    <a:pt x="115" y="183"/>
                    <a:pt x="115" y="183"/>
                    <a:pt x="115" y="183"/>
                  </a:cubicBezTo>
                  <a:cubicBezTo>
                    <a:pt x="116" y="183"/>
                    <a:pt x="117" y="182"/>
                    <a:pt x="118" y="182"/>
                  </a:cubicBezTo>
                  <a:cubicBezTo>
                    <a:pt x="121" y="180"/>
                    <a:pt x="122" y="179"/>
                    <a:pt x="123" y="176"/>
                  </a:cubicBezTo>
                  <a:cubicBezTo>
                    <a:pt x="123" y="178"/>
                    <a:pt x="125" y="179"/>
                    <a:pt x="126" y="181"/>
                  </a:cubicBezTo>
                  <a:cubicBezTo>
                    <a:pt x="127" y="179"/>
                    <a:pt x="128" y="178"/>
                    <a:pt x="129" y="177"/>
                  </a:cubicBezTo>
                  <a:cubicBezTo>
                    <a:pt x="127" y="178"/>
                    <a:pt x="128" y="180"/>
                    <a:pt x="128" y="182"/>
                  </a:cubicBezTo>
                  <a:cubicBezTo>
                    <a:pt x="128" y="182"/>
                    <a:pt x="130" y="183"/>
                    <a:pt x="131" y="183"/>
                  </a:cubicBezTo>
                  <a:cubicBezTo>
                    <a:pt x="131" y="183"/>
                    <a:pt x="131" y="183"/>
                    <a:pt x="131" y="183"/>
                  </a:cubicBezTo>
                  <a:cubicBezTo>
                    <a:pt x="132" y="183"/>
                    <a:pt x="132" y="182"/>
                    <a:pt x="132" y="180"/>
                  </a:cubicBezTo>
                  <a:cubicBezTo>
                    <a:pt x="133" y="183"/>
                    <a:pt x="133" y="187"/>
                    <a:pt x="134" y="189"/>
                  </a:cubicBezTo>
                  <a:cubicBezTo>
                    <a:pt x="134" y="190"/>
                    <a:pt x="134" y="199"/>
                    <a:pt x="136" y="200"/>
                  </a:cubicBezTo>
                  <a:cubicBezTo>
                    <a:pt x="136" y="200"/>
                    <a:pt x="136" y="200"/>
                    <a:pt x="136" y="200"/>
                  </a:cubicBezTo>
                  <a:cubicBezTo>
                    <a:pt x="137" y="200"/>
                    <a:pt x="138" y="199"/>
                    <a:pt x="138" y="198"/>
                  </a:cubicBezTo>
                  <a:cubicBezTo>
                    <a:pt x="140" y="198"/>
                    <a:pt x="142" y="196"/>
                    <a:pt x="143" y="196"/>
                  </a:cubicBezTo>
                  <a:cubicBezTo>
                    <a:pt x="145" y="195"/>
                    <a:pt x="147" y="194"/>
                    <a:pt x="149" y="193"/>
                  </a:cubicBezTo>
                  <a:cubicBezTo>
                    <a:pt x="151" y="192"/>
                    <a:pt x="153" y="192"/>
                    <a:pt x="155" y="191"/>
                  </a:cubicBezTo>
                  <a:cubicBezTo>
                    <a:pt x="158" y="190"/>
                    <a:pt x="164" y="188"/>
                    <a:pt x="167" y="186"/>
                  </a:cubicBezTo>
                  <a:cubicBezTo>
                    <a:pt x="169" y="184"/>
                    <a:pt x="169" y="180"/>
                    <a:pt x="170" y="177"/>
                  </a:cubicBezTo>
                  <a:cubicBezTo>
                    <a:pt x="172" y="176"/>
                    <a:pt x="173" y="176"/>
                    <a:pt x="173" y="174"/>
                  </a:cubicBezTo>
                  <a:cubicBezTo>
                    <a:pt x="173" y="173"/>
                    <a:pt x="172" y="170"/>
                    <a:pt x="171" y="168"/>
                  </a:cubicBezTo>
                  <a:cubicBezTo>
                    <a:pt x="171" y="169"/>
                    <a:pt x="172" y="170"/>
                    <a:pt x="173" y="170"/>
                  </a:cubicBezTo>
                  <a:cubicBezTo>
                    <a:pt x="174" y="170"/>
                    <a:pt x="175" y="169"/>
                    <a:pt x="176" y="168"/>
                  </a:cubicBezTo>
                  <a:cubicBezTo>
                    <a:pt x="177" y="166"/>
                    <a:pt x="176" y="161"/>
                    <a:pt x="175" y="160"/>
                  </a:cubicBezTo>
                  <a:cubicBezTo>
                    <a:pt x="176" y="160"/>
                    <a:pt x="177" y="159"/>
                    <a:pt x="179" y="158"/>
                  </a:cubicBezTo>
                  <a:cubicBezTo>
                    <a:pt x="184" y="154"/>
                    <a:pt x="178" y="154"/>
                    <a:pt x="174" y="152"/>
                  </a:cubicBezTo>
                  <a:cubicBezTo>
                    <a:pt x="175" y="151"/>
                    <a:pt x="177" y="150"/>
                    <a:pt x="177" y="149"/>
                  </a:cubicBezTo>
                  <a:cubicBezTo>
                    <a:pt x="178" y="142"/>
                    <a:pt x="178" y="143"/>
                    <a:pt x="173" y="143"/>
                  </a:cubicBezTo>
                  <a:cubicBezTo>
                    <a:pt x="174" y="142"/>
                    <a:pt x="175" y="141"/>
                    <a:pt x="177" y="141"/>
                  </a:cubicBezTo>
                  <a:cubicBezTo>
                    <a:pt x="178" y="140"/>
                    <a:pt x="179" y="139"/>
                    <a:pt x="181" y="138"/>
                  </a:cubicBezTo>
                  <a:cubicBezTo>
                    <a:pt x="185" y="134"/>
                    <a:pt x="185" y="132"/>
                    <a:pt x="185" y="127"/>
                  </a:cubicBezTo>
                  <a:cubicBezTo>
                    <a:pt x="186" y="129"/>
                    <a:pt x="186" y="131"/>
                    <a:pt x="188" y="131"/>
                  </a:cubicBezTo>
                  <a:cubicBezTo>
                    <a:pt x="188" y="131"/>
                    <a:pt x="189" y="131"/>
                    <a:pt x="189" y="130"/>
                  </a:cubicBezTo>
                  <a:cubicBezTo>
                    <a:pt x="193" y="129"/>
                    <a:pt x="195" y="123"/>
                    <a:pt x="198" y="120"/>
                  </a:cubicBezTo>
                  <a:cubicBezTo>
                    <a:pt x="198" y="120"/>
                    <a:pt x="199" y="121"/>
                    <a:pt x="200" y="121"/>
                  </a:cubicBezTo>
                  <a:cubicBezTo>
                    <a:pt x="202" y="121"/>
                    <a:pt x="204" y="119"/>
                    <a:pt x="206" y="119"/>
                  </a:cubicBezTo>
                  <a:cubicBezTo>
                    <a:pt x="202" y="117"/>
                    <a:pt x="207" y="112"/>
                    <a:pt x="206" y="111"/>
                  </a:cubicBezTo>
                  <a:cubicBezTo>
                    <a:pt x="206" y="111"/>
                    <a:pt x="205" y="111"/>
                    <a:pt x="205" y="111"/>
                  </a:cubicBezTo>
                  <a:cubicBezTo>
                    <a:pt x="205" y="111"/>
                    <a:pt x="202" y="113"/>
                    <a:pt x="202" y="113"/>
                  </a:cubicBezTo>
                  <a:cubicBezTo>
                    <a:pt x="202" y="109"/>
                    <a:pt x="202" y="106"/>
                    <a:pt x="202" y="101"/>
                  </a:cubicBezTo>
                  <a:cubicBezTo>
                    <a:pt x="203" y="97"/>
                    <a:pt x="204" y="93"/>
                    <a:pt x="206" y="89"/>
                  </a:cubicBezTo>
                  <a:cubicBezTo>
                    <a:pt x="207" y="87"/>
                    <a:pt x="208" y="83"/>
                    <a:pt x="211" y="82"/>
                  </a:cubicBezTo>
                  <a:cubicBezTo>
                    <a:pt x="211" y="82"/>
                    <a:pt x="211" y="82"/>
                    <a:pt x="212" y="82"/>
                  </a:cubicBezTo>
                  <a:cubicBezTo>
                    <a:pt x="212" y="82"/>
                    <a:pt x="213" y="82"/>
                    <a:pt x="213" y="82"/>
                  </a:cubicBezTo>
                  <a:cubicBezTo>
                    <a:pt x="214" y="82"/>
                    <a:pt x="214" y="82"/>
                    <a:pt x="215" y="82"/>
                  </a:cubicBezTo>
                  <a:cubicBezTo>
                    <a:pt x="215" y="82"/>
                    <a:pt x="215" y="82"/>
                    <a:pt x="215" y="82"/>
                  </a:cubicBezTo>
                  <a:cubicBezTo>
                    <a:pt x="216" y="81"/>
                    <a:pt x="215" y="81"/>
                    <a:pt x="214" y="80"/>
                  </a:cubicBezTo>
                  <a:cubicBezTo>
                    <a:pt x="214" y="78"/>
                    <a:pt x="213" y="77"/>
                    <a:pt x="212" y="75"/>
                  </a:cubicBezTo>
                  <a:cubicBezTo>
                    <a:pt x="216" y="76"/>
                    <a:pt x="215" y="79"/>
                    <a:pt x="219" y="81"/>
                  </a:cubicBezTo>
                  <a:cubicBezTo>
                    <a:pt x="222" y="81"/>
                    <a:pt x="223" y="81"/>
                    <a:pt x="226" y="81"/>
                  </a:cubicBezTo>
                  <a:cubicBezTo>
                    <a:pt x="228" y="81"/>
                    <a:pt x="230" y="82"/>
                    <a:pt x="231" y="82"/>
                  </a:cubicBezTo>
                  <a:cubicBezTo>
                    <a:pt x="234" y="82"/>
                    <a:pt x="236" y="81"/>
                    <a:pt x="238" y="77"/>
                  </a:cubicBezTo>
                  <a:cubicBezTo>
                    <a:pt x="236" y="76"/>
                    <a:pt x="234" y="75"/>
                    <a:pt x="232" y="74"/>
                  </a:cubicBezTo>
                  <a:cubicBezTo>
                    <a:pt x="224" y="67"/>
                    <a:pt x="215" y="61"/>
                    <a:pt x="208" y="53"/>
                  </a:cubicBezTo>
                  <a:cubicBezTo>
                    <a:pt x="209" y="53"/>
                    <a:pt x="209" y="53"/>
                    <a:pt x="210" y="53"/>
                  </a:cubicBezTo>
                  <a:cubicBezTo>
                    <a:pt x="211" y="53"/>
                    <a:pt x="211" y="53"/>
                    <a:pt x="210" y="51"/>
                  </a:cubicBezTo>
                  <a:cubicBezTo>
                    <a:pt x="211" y="52"/>
                    <a:pt x="211" y="52"/>
                    <a:pt x="212" y="52"/>
                  </a:cubicBezTo>
                  <a:cubicBezTo>
                    <a:pt x="213" y="52"/>
                    <a:pt x="214" y="51"/>
                    <a:pt x="214" y="49"/>
                  </a:cubicBezTo>
                  <a:cubicBezTo>
                    <a:pt x="215" y="46"/>
                    <a:pt x="213" y="42"/>
                    <a:pt x="210" y="39"/>
                  </a:cubicBezTo>
                  <a:cubicBezTo>
                    <a:pt x="210" y="39"/>
                    <a:pt x="205" y="36"/>
                    <a:pt x="205" y="34"/>
                  </a:cubicBezTo>
                  <a:cubicBezTo>
                    <a:pt x="208" y="33"/>
                    <a:pt x="208" y="33"/>
                    <a:pt x="208" y="33"/>
                  </a:cubicBezTo>
                  <a:cubicBezTo>
                    <a:pt x="206" y="33"/>
                    <a:pt x="205" y="32"/>
                    <a:pt x="204" y="32"/>
                  </a:cubicBezTo>
                  <a:cubicBezTo>
                    <a:pt x="205" y="31"/>
                    <a:pt x="205" y="30"/>
                    <a:pt x="205" y="28"/>
                  </a:cubicBezTo>
                  <a:cubicBezTo>
                    <a:pt x="204" y="28"/>
                    <a:pt x="203" y="28"/>
                    <a:pt x="202" y="27"/>
                  </a:cubicBezTo>
                  <a:cubicBezTo>
                    <a:pt x="201" y="27"/>
                    <a:pt x="197" y="25"/>
                    <a:pt x="197" y="25"/>
                  </a:cubicBezTo>
                  <a:cubicBezTo>
                    <a:pt x="197" y="24"/>
                    <a:pt x="197" y="24"/>
                    <a:pt x="197" y="24"/>
                  </a:cubicBezTo>
                  <a:cubicBezTo>
                    <a:pt x="197" y="24"/>
                    <a:pt x="198" y="24"/>
                    <a:pt x="198" y="24"/>
                  </a:cubicBezTo>
                  <a:cubicBezTo>
                    <a:pt x="198" y="24"/>
                    <a:pt x="198" y="25"/>
                    <a:pt x="198" y="25"/>
                  </a:cubicBezTo>
                  <a:cubicBezTo>
                    <a:pt x="198" y="25"/>
                    <a:pt x="198" y="25"/>
                    <a:pt x="198" y="25"/>
                  </a:cubicBezTo>
                  <a:cubicBezTo>
                    <a:pt x="198" y="25"/>
                    <a:pt x="198" y="25"/>
                    <a:pt x="198" y="25"/>
                  </a:cubicBezTo>
                  <a:cubicBezTo>
                    <a:pt x="198" y="25"/>
                    <a:pt x="199" y="25"/>
                    <a:pt x="199" y="24"/>
                  </a:cubicBezTo>
                  <a:cubicBezTo>
                    <a:pt x="199" y="24"/>
                    <a:pt x="199" y="24"/>
                    <a:pt x="199" y="24"/>
                  </a:cubicBezTo>
                  <a:cubicBezTo>
                    <a:pt x="199" y="24"/>
                    <a:pt x="199" y="24"/>
                    <a:pt x="199" y="24"/>
                  </a:cubicBezTo>
                  <a:cubicBezTo>
                    <a:pt x="200" y="24"/>
                    <a:pt x="201" y="21"/>
                    <a:pt x="201" y="20"/>
                  </a:cubicBezTo>
                  <a:cubicBezTo>
                    <a:pt x="201" y="20"/>
                    <a:pt x="201" y="20"/>
                    <a:pt x="201" y="20"/>
                  </a:cubicBezTo>
                  <a:cubicBezTo>
                    <a:pt x="200" y="20"/>
                    <a:pt x="199" y="20"/>
                    <a:pt x="199" y="20"/>
                  </a:cubicBezTo>
                  <a:cubicBezTo>
                    <a:pt x="198" y="19"/>
                    <a:pt x="198" y="19"/>
                    <a:pt x="198" y="19"/>
                  </a:cubicBezTo>
                  <a:cubicBezTo>
                    <a:pt x="197" y="18"/>
                    <a:pt x="197" y="18"/>
                    <a:pt x="197" y="18"/>
                  </a:cubicBezTo>
                  <a:cubicBezTo>
                    <a:pt x="198" y="18"/>
                    <a:pt x="198" y="18"/>
                    <a:pt x="198" y="18"/>
                  </a:cubicBezTo>
                  <a:cubicBezTo>
                    <a:pt x="196" y="17"/>
                    <a:pt x="196" y="17"/>
                    <a:pt x="194" y="16"/>
                  </a:cubicBezTo>
                  <a:cubicBezTo>
                    <a:pt x="195" y="16"/>
                    <a:pt x="195" y="16"/>
                    <a:pt x="195" y="16"/>
                  </a:cubicBezTo>
                  <a:cubicBezTo>
                    <a:pt x="195" y="16"/>
                    <a:pt x="196" y="16"/>
                    <a:pt x="196" y="16"/>
                  </a:cubicBezTo>
                  <a:cubicBezTo>
                    <a:pt x="196" y="16"/>
                    <a:pt x="197" y="16"/>
                    <a:pt x="198" y="16"/>
                  </a:cubicBezTo>
                  <a:cubicBezTo>
                    <a:pt x="198" y="16"/>
                    <a:pt x="199" y="16"/>
                    <a:pt x="200" y="16"/>
                  </a:cubicBezTo>
                  <a:cubicBezTo>
                    <a:pt x="201" y="16"/>
                    <a:pt x="201" y="16"/>
                    <a:pt x="202" y="16"/>
                  </a:cubicBezTo>
                  <a:cubicBezTo>
                    <a:pt x="204" y="16"/>
                    <a:pt x="202" y="13"/>
                    <a:pt x="202" y="12"/>
                  </a:cubicBezTo>
                  <a:cubicBezTo>
                    <a:pt x="205" y="13"/>
                    <a:pt x="208" y="14"/>
                    <a:pt x="210" y="14"/>
                  </a:cubicBezTo>
                  <a:cubicBezTo>
                    <a:pt x="209" y="13"/>
                    <a:pt x="209" y="11"/>
                    <a:pt x="207" y="10"/>
                  </a:cubicBezTo>
                  <a:cubicBezTo>
                    <a:pt x="207" y="9"/>
                    <a:pt x="204" y="6"/>
                    <a:pt x="202" y="6"/>
                  </a:cubicBezTo>
                  <a:cubicBezTo>
                    <a:pt x="202" y="6"/>
                    <a:pt x="202" y="6"/>
                    <a:pt x="202" y="6"/>
                  </a:cubicBezTo>
                  <a:cubicBezTo>
                    <a:pt x="202" y="6"/>
                    <a:pt x="202" y="5"/>
                    <a:pt x="202" y="5"/>
                  </a:cubicBezTo>
                  <a:cubicBezTo>
                    <a:pt x="201" y="5"/>
                    <a:pt x="200" y="4"/>
                    <a:pt x="199" y="4"/>
                  </a:cubicBezTo>
                  <a:cubicBezTo>
                    <a:pt x="193" y="2"/>
                    <a:pt x="187"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1509"/>
            <p:cNvSpPr>
              <a:spLocks noEditPoints="1"/>
            </p:cNvSpPr>
            <p:nvPr/>
          </p:nvSpPr>
          <p:spPr bwMode="auto">
            <a:xfrm>
              <a:off x="4000160" y="4382731"/>
              <a:ext cx="302026" cy="213432"/>
            </a:xfrm>
            <a:custGeom>
              <a:gdLst>
                <a:gd name="T0" fmla="*/ 76 w 95"/>
                <a:gd name="T1" fmla="*/ 58 h 67"/>
                <a:gd name="T2" fmla="*/ 76 w 95"/>
                <a:gd name="T3" fmla="*/ 58 h 67"/>
                <a:gd name="T4" fmla="*/ 32 w 95"/>
                <a:gd name="T5" fmla="*/ 9 h 67"/>
                <a:gd name="T6" fmla="*/ 13 w 95"/>
                <a:gd name="T7" fmla="*/ 36 h 67"/>
                <a:gd name="T8" fmla="*/ 6 w 95"/>
                <a:gd name="T9" fmla="*/ 36 h 67"/>
                <a:gd name="T10" fmla="*/ 3 w 95"/>
                <a:gd name="T11" fmla="*/ 41 h 67"/>
                <a:gd name="T12" fmla="*/ 4 w 95"/>
                <a:gd name="T13" fmla="*/ 47 h 67"/>
                <a:gd name="T14" fmla="*/ 2 w 95"/>
                <a:gd name="T15" fmla="*/ 56 h 67"/>
                <a:gd name="T16" fmla="*/ 5 w 95"/>
                <a:gd name="T17" fmla="*/ 63 h 67"/>
                <a:gd name="T18" fmla="*/ 13 w 95"/>
                <a:gd name="T19" fmla="*/ 60 h 67"/>
                <a:gd name="T20" fmla="*/ 17 w 95"/>
                <a:gd name="T21" fmla="*/ 60 h 67"/>
                <a:gd name="T22" fmla="*/ 18 w 95"/>
                <a:gd name="T23" fmla="*/ 61 h 67"/>
                <a:gd name="T24" fmla="*/ 28 w 95"/>
                <a:gd name="T25" fmla="*/ 60 h 67"/>
                <a:gd name="T26" fmla="*/ 31 w 95"/>
                <a:gd name="T27" fmla="*/ 60 h 67"/>
                <a:gd name="T28" fmla="*/ 56 w 95"/>
                <a:gd name="T29" fmla="*/ 65 h 67"/>
                <a:gd name="T30" fmla="*/ 61 w 95"/>
                <a:gd name="T31" fmla="*/ 64 h 67"/>
                <a:gd name="T32" fmla="*/ 79 w 95"/>
                <a:gd name="T33" fmla="*/ 61 h 67"/>
                <a:gd name="T34" fmla="*/ 77 w 95"/>
                <a:gd name="T35" fmla="*/ 60 h 67"/>
                <a:gd name="T36" fmla="*/ 76 w 95"/>
                <a:gd name="T37" fmla="*/ 60 h 67"/>
                <a:gd name="T38" fmla="*/ 74 w 95"/>
                <a:gd name="T39" fmla="*/ 58 h 67"/>
                <a:gd name="T40" fmla="*/ 73 w 95"/>
                <a:gd name="T41" fmla="*/ 48 h 67"/>
                <a:gd name="T42" fmla="*/ 77 w 95"/>
                <a:gd name="T43" fmla="*/ 49 h 67"/>
                <a:gd name="T44" fmla="*/ 89 w 95"/>
                <a:gd name="T45" fmla="*/ 44 h 67"/>
                <a:gd name="T46" fmla="*/ 93 w 95"/>
                <a:gd name="T47" fmla="*/ 39 h 67"/>
                <a:gd name="T48" fmla="*/ 86 w 95"/>
                <a:gd name="T49" fmla="*/ 39 h 67"/>
                <a:gd name="T50" fmla="*/ 78 w 95"/>
                <a:gd name="T51" fmla="*/ 36 h 67"/>
                <a:gd name="T52" fmla="*/ 70 w 95"/>
                <a:gd name="T53" fmla="*/ 29 h 67"/>
                <a:gd name="T54" fmla="*/ 64 w 95"/>
                <a:gd name="T55" fmla="*/ 31 h 67"/>
                <a:gd name="T56" fmla="*/ 63 w 95"/>
                <a:gd name="T57" fmla="*/ 29 h 67"/>
                <a:gd name="T58" fmla="*/ 65 w 95"/>
                <a:gd name="T59" fmla="*/ 29 h 67"/>
                <a:gd name="T60" fmla="*/ 64 w 95"/>
                <a:gd name="T61" fmla="*/ 24 h 67"/>
                <a:gd name="T62" fmla="*/ 62 w 95"/>
                <a:gd name="T63" fmla="*/ 25 h 67"/>
                <a:gd name="T64" fmla="*/ 55 w 95"/>
                <a:gd name="T65" fmla="*/ 26 h 67"/>
                <a:gd name="T66" fmla="*/ 56 w 95"/>
                <a:gd name="T67" fmla="*/ 21 h 67"/>
                <a:gd name="T68" fmla="*/ 58 w 95"/>
                <a:gd name="T69" fmla="*/ 17 h 67"/>
                <a:gd name="T70" fmla="*/ 50 w 95"/>
                <a:gd name="T71" fmla="*/ 10 h 67"/>
                <a:gd name="T72" fmla="*/ 43 w 95"/>
                <a:gd name="T73" fmla="*/ 1 h 67"/>
                <a:gd name="T74" fmla="*/ 36 w 95"/>
                <a:gd name="T75" fmla="*/ 11 h 67"/>
                <a:gd name="T76" fmla="*/ 35 w 95"/>
                <a:gd name="T77" fmla="*/ 0 h 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67">
                  <a:moveTo>
                    <a:pt x="76" y="58"/>
                  </a:moveTo>
                  <a:cubicBezTo>
                    <a:pt x="76" y="58"/>
                    <a:pt x="76" y="58"/>
                    <a:pt x="76" y="58"/>
                  </a:cubicBezTo>
                  <a:cubicBezTo>
                    <a:pt x="76" y="58"/>
                    <a:pt x="76" y="58"/>
                    <a:pt x="76" y="58"/>
                  </a:cubicBezTo>
                  <a:cubicBezTo>
                    <a:pt x="76" y="58"/>
                    <a:pt x="76" y="58"/>
                    <a:pt x="76" y="58"/>
                  </a:cubicBezTo>
                  <a:moveTo>
                    <a:pt x="35" y="0"/>
                  </a:moveTo>
                  <a:cubicBezTo>
                    <a:pt x="34" y="3"/>
                    <a:pt x="34" y="7"/>
                    <a:pt x="32" y="9"/>
                  </a:cubicBezTo>
                  <a:cubicBezTo>
                    <a:pt x="29" y="12"/>
                    <a:pt x="26" y="16"/>
                    <a:pt x="22" y="19"/>
                  </a:cubicBezTo>
                  <a:cubicBezTo>
                    <a:pt x="18" y="24"/>
                    <a:pt x="16" y="30"/>
                    <a:pt x="13" y="36"/>
                  </a:cubicBezTo>
                  <a:cubicBezTo>
                    <a:pt x="10" y="35"/>
                    <a:pt x="9" y="34"/>
                    <a:pt x="9" y="34"/>
                  </a:cubicBezTo>
                  <a:cubicBezTo>
                    <a:pt x="8" y="34"/>
                    <a:pt x="7" y="35"/>
                    <a:pt x="6" y="36"/>
                  </a:cubicBezTo>
                  <a:cubicBezTo>
                    <a:pt x="4" y="38"/>
                    <a:pt x="2" y="39"/>
                    <a:pt x="2" y="41"/>
                  </a:cubicBezTo>
                  <a:cubicBezTo>
                    <a:pt x="3" y="41"/>
                    <a:pt x="3" y="41"/>
                    <a:pt x="3" y="41"/>
                  </a:cubicBezTo>
                  <a:cubicBezTo>
                    <a:pt x="3" y="42"/>
                    <a:pt x="4" y="42"/>
                    <a:pt x="5" y="43"/>
                  </a:cubicBezTo>
                  <a:cubicBezTo>
                    <a:pt x="5" y="44"/>
                    <a:pt x="4" y="46"/>
                    <a:pt x="4" y="47"/>
                  </a:cubicBezTo>
                  <a:cubicBezTo>
                    <a:pt x="4" y="49"/>
                    <a:pt x="2" y="50"/>
                    <a:pt x="0" y="50"/>
                  </a:cubicBezTo>
                  <a:cubicBezTo>
                    <a:pt x="1" y="52"/>
                    <a:pt x="2" y="54"/>
                    <a:pt x="2" y="56"/>
                  </a:cubicBezTo>
                  <a:cubicBezTo>
                    <a:pt x="2" y="56"/>
                    <a:pt x="2" y="56"/>
                    <a:pt x="2" y="56"/>
                  </a:cubicBezTo>
                  <a:cubicBezTo>
                    <a:pt x="3" y="58"/>
                    <a:pt x="4" y="61"/>
                    <a:pt x="5" y="63"/>
                  </a:cubicBezTo>
                  <a:cubicBezTo>
                    <a:pt x="7" y="67"/>
                    <a:pt x="7" y="67"/>
                    <a:pt x="7" y="67"/>
                  </a:cubicBezTo>
                  <a:cubicBezTo>
                    <a:pt x="9" y="65"/>
                    <a:pt x="11" y="62"/>
                    <a:pt x="13" y="60"/>
                  </a:cubicBezTo>
                  <a:cubicBezTo>
                    <a:pt x="16" y="58"/>
                    <a:pt x="16" y="58"/>
                    <a:pt x="16" y="58"/>
                  </a:cubicBezTo>
                  <a:cubicBezTo>
                    <a:pt x="17" y="60"/>
                    <a:pt x="17" y="60"/>
                    <a:pt x="17" y="60"/>
                  </a:cubicBezTo>
                  <a:cubicBezTo>
                    <a:pt x="17" y="61"/>
                    <a:pt x="17" y="61"/>
                    <a:pt x="17" y="61"/>
                  </a:cubicBezTo>
                  <a:cubicBezTo>
                    <a:pt x="18" y="61"/>
                    <a:pt x="18" y="61"/>
                    <a:pt x="18" y="61"/>
                  </a:cubicBezTo>
                  <a:cubicBezTo>
                    <a:pt x="19" y="61"/>
                    <a:pt x="19" y="61"/>
                    <a:pt x="19" y="61"/>
                  </a:cubicBezTo>
                  <a:cubicBezTo>
                    <a:pt x="21" y="61"/>
                    <a:pt x="23" y="60"/>
                    <a:pt x="28" y="60"/>
                  </a:cubicBezTo>
                  <a:cubicBezTo>
                    <a:pt x="28" y="60"/>
                    <a:pt x="28" y="60"/>
                    <a:pt x="28" y="60"/>
                  </a:cubicBezTo>
                  <a:cubicBezTo>
                    <a:pt x="29" y="60"/>
                    <a:pt x="30" y="60"/>
                    <a:pt x="31" y="60"/>
                  </a:cubicBezTo>
                  <a:cubicBezTo>
                    <a:pt x="38" y="60"/>
                    <a:pt x="45" y="62"/>
                    <a:pt x="51" y="64"/>
                  </a:cubicBezTo>
                  <a:cubicBezTo>
                    <a:pt x="52" y="64"/>
                    <a:pt x="54" y="65"/>
                    <a:pt x="56" y="65"/>
                  </a:cubicBezTo>
                  <a:cubicBezTo>
                    <a:pt x="56" y="64"/>
                    <a:pt x="56" y="63"/>
                    <a:pt x="57" y="62"/>
                  </a:cubicBezTo>
                  <a:cubicBezTo>
                    <a:pt x="57" y="64"/>
                    <a:pt x="59" y="64"/>
                    <a:pt x="61" y="64"/>
                  </a:cubicBezTo>
                  <a:cubicBezTo>
                    <a:pt x="62" y="64"/>
                    <a:pt x="64" y="64"/>
                    <a:pt x="67" y="64"/>
                  </a:cubicBezTo>
                  <a:cubicBezTo>
                    <a:pt x="73" y="64"/>
                    <a:pt x="79" y="64"/>
                    <a:pt x="79" y="61"/>
                  </a:cubicBezTo>
                  <a:cubicBezTo>
                    <a:pt x="79" y="60"/>
                    <a:pt x="79" y="60"/>
                    <a:pt x="78" y="60"/>
                  </a:cubicBezTo>
                  <a:cubicBezTo>
                    <a:pt x="78" y="60"/>
                    <a:pt x="77" y="60"/>
                    <a:pt x="77" y="60"/>
                  </a:cubicBezTo>
                  <a:cubicBezTo>
                    <a:pt x="77" y="60"/>
                    <a:pt x="77" y="60"/>
                    <a:pt x="76" y="60"/>
                  </a:cubicBezTo>
                  <a:cubicBezTo>
                    <a:pt x="76" y="60"/>
                    <a:pt x="76" y="60"/>
                    <a:pt x="76" y="60"/>
                  </a:cubicBezTo>
                  <a:cubicBezTo>
                    <a:pt x="76" y="60"/>
                    <a:pt x="76" y="58"/>
                    <a:pt x="76" y="58"/>
                  </a:cubicBezTo>
                  <a:cubicBezTo>
                    <a:pt x="75" y="58"/>
                    <a:pt x="74" y="58"/>
                    <a:pt x="74" y="58"/>
                  </a:cubicBezTo>
                  <a:cubicBezTo>
                    <a:pt x="73" y="57"/>
                    <a:pt x="70" y="56"/>
                    <a:pt x="70" y="54"/>
                  </a:cubicBezTo>
                  <a:cubicBezTo>
                    <a:pt x="68" y="50"/>
                    <a:pt x="70" y="48"/>
                    <a:pt x="73" y="48"/>
                  </a:cubicBezTo>
                  <a:cubicBezTo>
                    <a:pt x="74" y="48"/>
                    <a:pt x="74" y="48"/>
                    <a:pt x="75" y="48"/>
                  </a:cubicBezTo>
                  <a:cubicBezTo>
                    <a:pt x="76" y="49"/>
                    <a:pt x="75" y="49"/>
                    <a:pt x="77" y="49"/>
                  </a:cubicBezTo>
                  <a:cubicBezTo>
                    <a:pt x="77" y="49"/>
                    <a:pt x="77" y="49"/>
                    <a:pt x="77" y="49"/>
                  </a:cubicBezTo>
                  <a:cubicBezTo>
                    <a:pt x="81" y="49"/>
                    <a:pt x="86" y="46"/>
                    <a:pt x="89" y="44"/>
                  </a:cubicBezTo>
                  <a:cubicBezTo>
                    <a:pt x="90" y="44"/>
                    <a:pt x="94" y="43"/>
                    <a:pt x="94" y="42"/>
                  </a:cubicBezTo>
                  <a:cubicBezTo>
                    <a:pt x="95" y="41"/>
                    <a:pt x="94" y="39"/>
                    <a:pt x="93" y="39"/>
                  </a:cubicBezTo>
                  <a:cubicBezTo>
                    <a:pt x="92" y="39"/>
                    <a:pt x="90" y="39"/>
                    <a:pt x="89" y="39"/>
                  </a:cubicBezTo>
                  <a:cubicBezTo>
                    <a:pt x="88" y="39"/>
                    <a:pt x="87" y="39"/>
                    <a:pt x="86" y="39"/>
                  </a:cubicBezTo>
                  <a:cubicBezTo>
                    <a:pt x="84" y="38"/>
                    <a:pt x="82" y="34"/>
                    <a:pt x="80" y="34"/>
                  </a:cubicBezTo>
                  <a:cubicBezTo>
                    <a:pt x="79" y="34"/>
                    <a:pt x="78" y="34"/>
                    <a:pt x="78" y="36"/>
                  </a:cubicBezTo>
                  <a:cubicBezTo>
                    <a:pt x="78" y="33"/>
                    <a:pt x="73" y="29"/>
                    <a:pt x="70" y="29"/>
                  </a:cubicBezTo>
                  <a:cubicBezTo>
                    <a:pt x="70" y="29"/>
                    <a:pt x="70" y="29"/>
                    <a:pt x="70" y="29"/>
                  </a:cubicBezTo>
                  <a:cubicBezTo>
                    <a:pt x="68" y="30"/>
                    <a:pt x="69" y="31"/>
                    <a:pt x="66" y="31"/>
                  </a:cubicBezTo>
                  <a:cubicBezTo>
                    <a:pt x="66" y="31"/>
                    <a:pt x="65" y="31"/>
                    <a:pt x="64" y="31"/>
                  </a:cubicBezTo>
                  <a:cubicBezTo>
                    <a:pt x="63" y="31"/>
                    <a:pt x="61" y="31"/>
                    <a:pt x="62" y="30"/>
                  </a:cubicBezTo>
                  <a:cubicBezTo>
                    <a:pt x="62" y="29"/>
                    <a:pt x="63" y="29"/>
                    <a:pt x="63" y="29"/>
                  </a:cubicBezTo>
                  <a:cubicBezTo>
                    <a:pt x="64" y="29"/>
                    <a:pt x="64" y="29"/>
                    <a:pt x="64" y="29"/>
                  </a:cubicBezTo>
                  <a:cubicBezTo>
                    <a:pt x="65" y="29"/>
                    <a:pt x="65" y="29"/>
                    <a:pt x="65" y="29"/>
                  </a:cubicBezTo>
                  <a:cubicBezTo>
                    <a:pt x="66" y="29"/>
                    <a:pt x="67" y="29"/>
                    <a:pt x="67" y="28"/>
                  </a:cubicBezTo>
                  <a:cubicBezTo>
                    <a:pt x="68" y="27"/>
                    <a:pt x="65" y="24"/>
                    <a:pt x="64" y="24"/>
                  </a:cubicBezTo>
                  <a:cubicBezTo>
                    <a:pt x="64" y="24"/>
                    <a:pt x="64" y="24"/>
                    <a:pt x="64" y="24"/>
                  </a:cubicBezTo>
                  <a:cubicBezTo>
                    <a:pt x="63" y="24"/>
                    <a:pt x="63" y="25"/>
                    <a:pt x="62" y="25"/>
                  </a:cubicBezTo>
                  <a:cubicBezTo>
                    <a:pt x="59" y="27"/>
                    <a:pt x="56" y="27"/>
                    <a:pt x="52" y="28"/>
                  </a:cubicBezTo>
                  <a:cubicBezTo>
                    <a:pt x="53" y="27"/>
                    <a:pt x="54" y="27"/>
                    <a:pt x="55" y="26"/>
                  </a:cubicBezTo>
                  <a:cubicBezTo>
                    <a:pt x="57" y="25"/>
                    <a:pt x="56" y="26"/>
                    <a:pt x="56" y="24"/>
                  </a:cubicBezTo>
                  <a:cubicBezTo>
                    <a:pt x="56" y="23"/>
                    <a:pt x="55" y="22"/>
                    <a:pt x="56" y="21"/>
                  </a:cubicBezTo>
                  <a:cubicBezTo>
                    <a:pt x="56" y="19"/>
                    <a:pt x="55" y="20"/>
                    <a:pt x="56" y="19"/>
                  </a:cubicBezTo>
                  <a:cubicBezTo>
                    <a:pt x="57" y="18"/>
                    <a:pt x="58" y="19"/>
                    <a:pt x="58" y="17"/>
                  </a:cubicBezTo>
                  <a:cubicBezTo>
                    <a:pt x="58" y="15"/>
                    <a:pt x="56" y="13"/>
                    <a:pt x="55" y="12"/>
                  </a:cubicBezTo>
                  <a:cubicBezTo>
                    <a:pt x="53" y="10"/>
                    <a:pt x="53" y="10"/>
                    <a:pt x="50" y="10"/>
                  </a:cubicBezTo>
                  <a:cubicBezTo>
                    <a:pt x="46" y="10"/>
                    <a:pt x="46" y="1"/>
                    <a:pt x="43" y="1"/>
                  </a:cubicBezTo>
                  <a:cubicBezTo>
                    <a:pt x="43" y="1"/>
                    <a:pt x="43" y="1"/>
                    <a:pt x="43" y="1"/>
                  </a:cubicBezTo>
                  <a:cubicBezTo>
                    <a:pt x="42" y="2"/>
                    <a:pt x="42" y="3"/>
                    <a:pt x="42" y="4"/>
                  </a:cubicBezTo>
                  <a:cubicBezTo>
                    <a:pt x="41" y="7"/>
                    <a:pt x="40" y="9"/>
                    <a:pt x="36" y="11"/>
                  </a:cubicBezTo>
                  <a:cubicBezTo>
                    <a:pt x="36" y="9"/>
                    <a:pt x="37" y="9"/>
                    <a:pt x="37" y="7"/>
                  </a:cubicBezTo>
                  <a:cubicBezTo>
                    <a:pt x="38" y="5"/>
                    <a:pt x="36" y="4"/>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1510"/>
            <p:cNvSpPr/>
            <p:nvPr/>
          </p:nvSpPr>
          <p:spPr bwMode="auto">
            <a:xfrm>
              <a:off x="3585378" y="4561262"/>
              <a:ext cx="437601" cy="275179"/>
            </a:xfrm>
            <a:custGeom>
              <a:gdLst>
                <a:gd name="T0" fmla="*/ 123 w 138"/>
                <a:gd name="T1" fmla="*/ 0 h 87"/>
                <a:gd name="T2" fmla="*/ 124 w 138"/>
                <a:gd name="T3" fmla="*/ 6 h 87"/>
                <a:gd name="T4" fmla="*/ 124 w 138"/>
                <a:gd name="T5" fmla="*/ 8 h 87"/>
                <a:gd name="T6" fmla="*/ 122 w 138"/>
                <a:gd name="T7" fmla="*/ 15 h 87"/>
                <a:gd name="T8" fmla="*/ 116 w 138"/>
                <a:gd name="T9" fmla="*/ 18 h 87"/>
                <a:gd name="T10" fmla="*/ 107 w 138"/>
                <a:gd name="T11" fmla="*/ 10 h 87"/>
                <a:gd name="T12" fmla="*/ 106 w 138"/>
                <a:gd name="T13" fmla="*/ 8 h 87"/>
                <a:gd name="T14" fmla="*/ 101 w 138"/>
                <a:gd name="T15" fmla="*/ 5 h 87"/>
                <a:gd name="T16" fmla="*/ 79 w 138"/>
                <a:gd name="T17" fmla="*/ 34 h 87"/>
                <a:gd name="T18" fmla="*/ 48 w 138"/>
                <a:gd name="T19" fmla="*/ 43 h 87"/>
                <a:gd name="T20" fmla="*/ 41 w 138"/>
                <a:gd name="T21" fmla="*/ 55 h 87"/>
                <a:gd name="T22" fmla="*/ 37 w 138"/>
                <a:gd name="T23" fmla="*/ 53 h 87"/>
                <a:gd name="T24" fmla="*/ 36 w 138"/>
                <a:gd name="T25" fmla="*/ 53 h 87"/>
                <a:gd name="T26" fmla="*/ 36 w 138"/>
                <a:gd name="T27" fmla="*/ 55 h 87"/>
                <a:gd name="T28" fmla="*/ 37 w 138"/>
                <a:gd name="T29" fmla="*/ 72 h 87"/>
                <a:gd name="T30" fmla="*/ 40 w 138"/>
                <a:gd name="T31" fmla="*/ 78 h 87"/>
                <a:gd name="T32" fmla="*/ 31 w 138"/>
                <a:gd name="T33" fmla="*/ 77 h 87"/>
                <a:gd name="T34" fmla="*/ 23 w 138"/>
                <a:gd name="T35" fmla="*/ 76 h 87"/>
                <a:gd name="T36" fmla="*/ 19 w 138"/>
                <a:gd name="T37" fmla="*/ 69 h 87"/>
                <a:gd name="T38" fmla="*/ 18 w 138"/>
                <a:gd name="T39" fmla="*/ 69 h 87"/>
                <a:gd name="T40" fmla="*/ 10 w 138"/>
                <a:gd name="T41" fmla="*/ 70 h 87"/>
                <a:gd name="T42" fmla="*/ 1 w 138"/>
                <a:gd name="T43" fmla="*/ 64 h 87"/>
                <a:gd name="T44" fmla="*/ 0 w 138"/>
                <a:gd name="T45" fmla="*/ 67 h 87"/>
                <a:gd name="T46" fmla="*/ 9 w 138"/>
                <a:gd name="T47" fmla="*/ 77 h 87"/>
                <a:gd name="T48" fmla="*/ 17 w 138"/>
                <a:gd name="T49" fmla="*/ 84 h 87"/>
                <a:gd name="T50" fmla="*/ 21 w 138"/>
                <a:gd name="T51" fmla="*/ 87 h 87"/>
                <a:gd name="T52" fmla="*/ 28 w 138"/>
                <a:gd name="T53" fmla="*/ 85 h 87"/>
                <a:gd name="T54" fmla="*/ 31 w 138"/>
                <a:gd name="T55" fmla="*/ 84 h 87"/>
                <a:gd name="T56" fmla="*/ 44 w 138"/>
                <a:gd name="T57" fmla="*/ 83 h 87"/>
                <a:gd name="T58" fmla="*/ 47 w 138"/>
                <a:gd name="T59" fmla="*/ 83 h 87"/>
                <a:gd name="T60" fmla="*/ 55 w 138"/>
                <a:gd name="T61" fmla="*/ 80 h 87"/>
                <a:gd name="T62" fmla="*/ 55 w 138"/>
                <a:gd name="T63" fmla="*/ 79 h 87"/>
                <a:gd name="T64" fmla="*/ 63 w 138"/>
                <a:gd name="T65" fmla="*/ 72 h 87"/>
                <a:gd name="T66" fmla="*/ 82 w 138"/>
                <a:gd name="T67" fmla="*/ 73 h 87"/>
                <a:gd name="T68" fmla="*/ 85 w 138"/>
                <a:gd name="T69" fmla="*/ 75 h 87"/>
                <a:gd name="T70" fmla="*/ 93 w 138"/>
                <a:gd name="T71" fmla="*/ 78 h 87"/>
                <a:gd name="T72" fmla="*/ 94 w 138"/>
                <a:gd name="T73" fmla="*/ 78 h 87"/>
                <a:gd name="T74" fmla="*/ 96 w 138"/>
                <a:gd name="T75" fmla="*/ 76 h 87"/>
                <a:gd name="T76" fmla="*/ 105 w 138"/>
                <a:gd name="T77" fmla="*/ 74 h 87"/>
                <a:gd name="T78" fmla="*/ 110 w 138"/>
                <a:gd name="T79" fmla="*/ 73 h 87"/>
                <a:gd name="T80" fmla="*/ 110 w 138"/>
                <a:gd name="T81" fmla="*/ 73 h 87"/>
                <a:gd name="T82" fmla="*/ 113 w 138"/>
                <a:gd name="T83" fmla="*/ 73 h 87"/>
                <a:gd name="T84" fmla="*/ 115 w 138"/>
                <a:gd name="T85" fmla="*/ 68 h 87"/>
                <a:gd name="T86" fmla="*/ 117 w 138"/>
                <a:gd name="T87" fmla="*/ 64 h 87"/>
                <a:gd name="T88" fmla="*/ 119 w 138"/>
                <a:gd name="T89" fmla="*/ 63 h 87"/>
                <a:gd name="T90" fmla="*/ 118 w 138"/>
                <a:gd name="T91" fmla="*/ 62 h 87"/>
                <a:gd name="T92" fmla="*/ 122 w 138"/>
                <a:gd name="T93" fmla="*/ 52 h 87"/>
                <a:gd name="T94" fmla="*/ 125 w 138"/>
                <a:gd name="T95" fmla="*/ 51 h 87"/>
                <a:gd name="T96" fmla="*/ 125 w 138"/>
                <a:gd name="T97" fmla="*/ 50 h 87"/>
                <a:gd name="T98" fmla="*/ 134 w 138"/>
                <a:gd name="T99" fmla="*/ 36 h 87"/>
                <a:gd name="T100" fmla="*/ 135 w 138"/>
                <a:gd name="T101" fmla="*/ 35 h 87"/>
                <a:gd name="T102" fmla="*/ 138 w 138"/>
                <a:gd name="T103" fmla="*/ 11 h 87"/>
                <a:gd name="T104" fmla="*/ 131 w 138"/>
                <a:gd name="T105" fmla="*/ 11 h 87"/>
                <a:gd name="T106" fmla="*/ 125 w 138"/>
                <a:gd name="T107" fmla="*/ 7 h 87"/>
                <a:gd name="T108" fmla="*/ 123 w 138"/>
                <a:gd name="T109" fmla="*/ 0 h 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8" h="87">
                  <a:moveTo>
                    <a:pt x="123" y="0"/>
                  </a:moveTo>
                  <a:cubicBezTo>
                    <a:pt x="123" y="0"/>
                    <a:pt x="123" y="0"/>
                    <a:pt x="123" y="0"/>
                  </a:cubicBezTo>
                  <a:cubicBezTo>
                    <a:pt x="123" y="0"/>
                    <a:pt x="123" y="0"/>
                    <a:pt x="123" y="1"/>
                  </a:cubicBezTo>
                  <a:cubicBezTo>
                    <a:pt x="123" y="2"/>
                    <a:pt x="123" y="4"/>
                    <a:pt x="124" y="6"/>
                  </a:cubicBezTo>
                  <a:cubicBezTo>
                    <a:pt x="124" y="6"/>
                    <a:pt x="124" y="6"/>
                    <a:pt x="124" y="6"/>
                  </a:cubicBezTo>
                  <a:cubicBezTo>
                    <a:pt x="124" y="7"/>
                    <a:pt x="124" y="7"/>
                    <a:pt x="124" y="8"/>
                  </a:cubicBezTo>
                  <a:cubicBezTo>
                    <a:pt x="124" y="9"/>
                    <a:pt x="124" y="11"/>
                    <a:pt x="123" y="11"/>
                  </a:cubicBezTo>
                  <a:cubicBezTo>
                    <a:pt x="123" y="13"/>
                    <a:pt x="123" y="14"/>
                    <a:pt x="122" y="15"/>
                  </a:cubicBezTo>
                  <a:cubicBezTo>
                    <a:pt x="120" y="17"/>
                    <a:pt x="118" y="18"/>
                    <a:pt x="117" y="18"/>
                  </a:cubicBezTo>
                  <a:cubicBezTo>
                    <a:pt x="116" y="18"/>
                    <a:pt x="116" y="18"/>
                    <a:pt x="116" y="18"/>
                  </a:cubicBezTo>
                  <a:cubicBezTo>
                    <a:pt x="113" y="18"/>
                    <a:pt x="111" y="15"/>
                    <a:pt x="108" y="11"/>
                  </a:cubicBezTo>
                  <a:cubicBezTo>
                    <a:pt x="108" y="11"/>
                    <a:pt x="107" y="10"/>
                    <a:pt x="107" y="10"/>
                  </a:cubicBezTo>
                  <a:cubicBezTo>
                    <a:pt x="107" y="10"/>
                    <a:pt x="107" y="9"/>
                    <a:pt x="106" y="9"/>
                  </a:cubicBezTo>
                  <a:cubicBezTo>
                    <a:pt x="106" y="8"/>
                    <a:pt x="106" y="8"/>
                    <a:pt x="106" y="8"/>
                  </a:cubicBezTo>
                  <a:cubicBezTo>
                    <a:pt x="106" y="8"/>
                    <a:pt x="106" y="8"/>
                    <a:pt x="105" y="7"/>
                  </a:cubicBezTo>
                  <a:cubicBezTo>
                    <a:pt x="105" y="7"/>
                    <a:pt x="104" y="6"/>
                    <a:pt x="101" y="5"/>
                  </a:cubicBezTo>
                  <a:cubicBezTo>
                    <a:pt x="97" y="10"/>
                    <a:pt x="93" y="16"/>
                    <a:pt x="89" y="21"/>
                  </a:cubicBezTo>
                  <a:cubicBezTo>
                    <a:pt x="86" y="25"/>
                    <a:pt x="83" y="30"/>
                    <a:pt x="79" y="34"/>
                  </a:cubicBezTo>
                  <a:cubicBezTo>
                    <a:pt x="77" y="36"/>
                    <a:pt x="74" y="37"/>
                    <a:pt x="71" y="38"/>
                  </a:cubicBezTo>
                  <a:cubicBezTo>
                    <a:pt x="64" y="40"/>
                    <a:pt x="56" y="41"/>
                    <a:pt x="48" y="43"/>
                  </a:cubicBezTo>
                  <a:cubicBezTo>
                    <a:pt x="44" y="44"/>
                    <a:pt x="45" y="45"/>
                    <a:pt x="44" y="49"/>
                  </a:cubicBezTo>
                  <a:cubicBezTo>
                    <a:pt x="43" y="51"/>
                    <a:pt x="43" y="55"/>
                    <a:pt x="41" y="55"/>
                  </a:cubicBezTo>
                  <a:cubicBezTo>
                    <a:pt x="39" y="55"/>
                    <a:pt x="38" y="53"/>
                    <a:pt x="37" y="53"/>
                  </a:cubicBezTo>
                  <a:cubicBezTo>
                    <a:pt x="37" y="53"/>
                    <a:pt x="37" y="53"/>
                    <a:pt x="37" y="53"/>
                  </a:cubicBezTo>
                  <a:cubicBezTo>
                    <a:pt x="37" y="53"/>
                    <a:pt x="37" y="53"/>
                    <a:pt x="37" y="53"/>
                  </a:cubicBezTo>
                  <a:cubicBezTo>
                    <a:pt x="36" y="53"/>
                    <a:pt x="36" y="53"/>
                    <a:pt x="36" y="53"/>
                  </a:cubicBezTo>
                  <a:cubicBezTo>
                    <a:pt x="36" y="53"/>
                    <a:pt x="36" y="53"/>
                    <a:pt x="36" y="53"/>
                  </a:cubicBezTo>
                  <a:cubicBezTo>
                    <a:pt x="36" y="53"/>
                    <a:pt x="36" y="53"/>
                    <a:pt x="36" y="55"/>
                  </a:cubicBezTo>
                  <a:cubicBezTo>
                    <a:pt x="37" y="56"/>
                    <a:pt x="38" y="59"/>
                    <a:pt x="38" y="60"/>
                  </a:cubicBezTo>
                  <a:cubicBezTo>
                    <a:pt x="35" y="63"/>
                    <a:pt x="30" y="70"/>
                    <a:pt x="37" y="72"/>
                  </a:cubicBezTo>
                  <a:cubicBezTo>
                    <a:pt x="34" y="72"/>
                    <a:pt x="28" y="71"/>
                    <a:pt x="32" y="76"/>
                  </a:cubicBezTo>
                  <a:cubicBezTo>
                    <a:pt x="34" y="78"/>
                    <a:pt x="37" y="77"/>
                    <a:pt x="40" y="78"/>
                  </a:cubicBezTo>
                  <a:cubicBezTo>
                    <a:pt x="39" y="79"/>
                    <a:pt x="38" y="79"/>
                    <a:pt x="37" y="79"/>
                  </a:cubicBezTo>
                  <a:cubicBezTo>
                    <a:pt x="36" y="79"/>
                    <a:pt x="33" y="78"/>
                    <a:pt x="31" y="77"/>
                  </a:cubicBezTo>
                  <a:cubicBezTo>
                    <a:pt x="29" y="76"/>
                    <a:pt x="27" y="76"/>
                    <a:pt x="25" y="76"/>
                  </a:cubicBezTo>
                  <a:cubicBezTo>
                    <a:pt x="25" y="76"/>
                    <a:pt x="24" y="76"/>
                    <a:pt x="23" y="76"/>
                  </a:cubicBezTo>
                  <a:cubicBezTo>
                    <a:pt x="25" y="74"/>
                    <a:pt x="24" y="74"/>
                    <a:pt x="22" y="72"/>
                  </a:cubicBezTo>
                  <a:cubicBezTo>
                    <a:pt x="22" y="72"/>
                    <a:pt x="19" y="69"/>
                    <a:pt x="19" y="69"/>
                  </a:cubicBezTo>
                  <a:cubicBezTo>
                    <a:pt x="19" y="69"/>
                    <a:pt x="19" y="69"/>
                    <a:pt x="19" y="69"/>
                  </a:cubicBezTo>
                  <a:cubicBezTo>
                    <a:pt x="19" y="69"/>
                    <a:pt x="18" y="69"/>
                    <a:pt x="18" y="69"/>
                  </a:cubicBezTo>
                  <a:cubicBezTo>
                    <a:pt x="16" y="69"/>
                    <a:pt x="13" y="70"/>
                    <a:pt x="12" y="70"/>
                  </a:cubicBezTo>
                  <a:cubicBezTo>
                    <a:pt x="11" y="70"/>
                    <a:pt x="11" y="70"/>
                    <a:pt x="10" y="70"/>
                  </a:cubicBezTo>
                  <a:cubicBezTo>
                    <a:pt x="9" y="70"/>
                    <a:pt x="8" y="70"/>
                    <a:pt x="7" y="70"/>
                  </a:cubicBezTo>
                  <a:cubicBezTo>
                    <a:pt x="5" y="70"/>
                    <a:pt x="3" y="67"/>
                    <a:pt x="1" y="64"/>
                  </a:cubicBezTo>
                  <a:cubicBezTo>
                    <a:pt x="1" y="64"/>
                    <a:pt x="1" y="64"/>
                    <a:pt x="1" y="64"/>
                  </a:cubicBezTo>
                  <a:cubicBezTo>
                    <a:pt x="0" y="65"/>
                    <a:pt x="0" y="66"/>
                    <a:pt x="0" y="67"/>
                  </a:cubicBezTo>
                  <a:cubicBezTo>
                    <a:pt x="1" y="70"/>
                    <a:pt x="5" y="73"/>
                    <a:pt x="8" y="76"/>
                  </a:cubicBezTo>
                  <a:cubicBezTo>
                    <a:pt x="9" y="77"/>
                    <a:pt x="9" y="77"/>
                    <a:pt x="9" y="77"/>
                  </a:cubicBezTo>
                  <a:cubicBezTo>
                    <a:pt x="11" y="79"/>
                    <a:pt x="13" y="80"/>
                    <a:pt x="15" y="82"/>
                  </a:cubicBezTo>
                  <a:cubicBezTo>
                    <a:pt x="17" y="84"/>
                    <a:pt x="17" y="84"/>
                    <a:pt x="17" y="84"/>
                  </a:cubicBezTo>
                  <a:cubicBezTo>
                    <a:pt x="17" y="84"/>
                    <a:pt x="18" y="85"/>
                    <a:pt x="18" y="85"/>
                  </a:cubicBezTo>
                  <a:cubicBezTo>
                    <a:pt x="19" y="85"/>
                    <a:pt x="20" y="87"/>
                    <a:pt x="21" y="87"/>
                  </a:cubicBezTo>
                  <a:cubicBezTo>
                    <a:pt x="21" y="87"/>
                    <a:pt x="21" y="87"/>
                    <a:pt x="21" y="87"/>
                  </a:cubicBezTo>
                  <a:cubicBezTo>
                    <a:pt x="23" y="87"/>
                    <a:pt x="26" y="86"/>
                    <a:pt x="28" y="85"/>
                  </a:cubicBezTo>
                  <a:cubicBezTo>
                    <a:pt x="29" y="84"/>
                    <a:pt x="29" y="84"/>
                    <a:pt x="29" y="84"/>
                  </a:cubicBezTo>
                  <a:cubicBezTo>
                    <a:pt x="30" y="84"/>
                    <a:pt x="30" y="84"/>
                    <a:pt x="31" y="84"/>
                  </a:cubicBezTo>
                  <a:cubicBezTo>
                    <a:pt x="33" y="83"/>
                    <a:pt x="36" y="82"/>
                    <a:pt x="38" y="82"/>
                  </a:cubicBezTo>
                  <a:cubicBezTo>
                    <a:pt x="40" y="82"/>
                    <a:pt x="42" y="82"/>
                    <a:pt x="44" y="83"/>
                  </a:cubicBezTo>
                  <a:cubicBezTo>
                    <a:pt x="45" y="83"/>
                    <a:pt x="45" y="83"/>
                    <a:pt x="45" y="83"/>
                  </a:cubicBezTo>
                  <a:cubicBezTo>
                    <a:pt x="46" y="83"/>
                    <a:pt x="46" y="83"/>
                    <a:pt x="47" y="83"/>
                  </a:cubicBezTo>
                  <a:cubicBezTo>
                    <a:pt x="47" y="83"/>
                    <a:pt x="48" y="83"/>
                    <a:pt x="48" y="83"/>
                  </a:cubicBezTo>
                  <a:cubicBezTo>
                    <a:pt x="50" y="83"/>
                    <a:pt x="54" y="81"/>
                    <a:pt x="55" y="80"/>
                  </a:cubicBezTo>
                  <a:cubicBezTo>
                    <a:pt x="55" y="80"/>
                    <a:pt x="55" y="80"/>
                    <a:pt x="55" y="80"/>
                  </a:cubicBezTo>
                  <a:cubicBezTo>
                    <a:pt x="55" y="79"/>
                    <a:pt x="55" y="79"/>
                    <a:pt x="55" y="79"/>
                  </a:cubicBezTo>
                  <a:cubicBezTo>
                    <a:pt x="56" y="74"/>
                    <a:pt x="57" y="73"/>
                    <a:pt x="62" y="73"/>
                  </a:cubicBezTo>
                  <a:cubicBezTo>
                    <a:pt x="63" y="72"/>
                    <a:pt x="63" y="72"/>
                    <a:pt x="63" y="72"/>
                  </a:cubicBezTo>
                  <a:cubicBezTo>
                    <a:pt x="69" y="71"/>
                    <a:pt x="74" y="71"/>
                    <a:pt x="76" y="71"/>
                  </a:cubicBezTo>
                  <a:cubicBezTo>
                    <a:pt x="80" y="71"/>
                    <a:pt x="81" y="72"/>
                    <a:pt x="82" y="73"/>
                  </a:cubicBezTo>
                  <a:cubicBezTo>
                    <a:pt x="82" y="73"/>
                    <a:pt x="82" y="73"/>
                    <a:pt x="82" y="74"/>
                  </a:cubicBezTo>
                  <a:cubicBezTo>
                    <a:pt x="83" y="74"/>
                    <a:pt x="84" y="75"/>
                    <a:pt x="85" y="75"/>
                  </a:cubicBezTo>
                  <a:cubicBezTo>
                    <a:pt x="85" y="75"/>
                    <a:pt x="85" y="75"/>
                    <a:pt x="85" y="75"/>
                  </a:cubicBezTo>
                  <a:cubicBezTo>
                    <a:pt x="88" y="76"/>
                    <a:pt x="91" y="78"/>
                    <a:pt x="93" y="78"/>
                  </a:cubicBezTo>
                  <a:cubicBezTo>
                    <a:pt x="93" y="78"/>
                    <a:pt x="93" y="78"/>
                    <a:pt x="94" y="78"/>
                  </a:cubicBezTo>
                  <a:cubicBezTo>
                    <a:pt x="94" y="78"/>
                    <a:pt x="94" y="78"/>
                    <a:pt x="94" y="78"/>
                  </a:cubicBezTo>
                  <a:cubicBezTo>
                    <a:pt x="94" y="78"/>
                    <a:pt x="94" y="78"/>
                    <a:pt x="94" y="77"/>
                  </a:cubicBezTo>
                  <a:cubicBezTo>
                    <a:pt x="95" y="77"/>
                    <a:pt x="95" y="77"/>
                    <a:pt x="96" y="76"/>
                  </a:cubicBezTo>
                  <a:cubicBezTo>
                    <a:pt x="98" y="75"/>
                    <a:pt x="101" y="75"/>
                    <a:pt x="104" y="74"/>
                  </a:cubicBezTo>
                  <a:cubicBezTo>
                    <a:pt x="104" y="74"/>
                    <a:pt x="105" y="74"/>
                    <a:pt x="105" y="74"/>
                  </a:cubicBezTo>
                  <a:cubicBezTo>
                    <a:pt x="110" y="73"/>
                    <a:pt x="110" y="73"/>
                    <a:pt x="110" y="73"/>
                  </a:cubicBezTo>
                  <a:cubicBezTo>
                    <a:pt x="110" y="73"/>
                    <a:pt x="110" y="73"/>
                    <a:pt x="110" y="73"/>
                  </a:cubicBezTo>
                  <a:cubicBezTo>
                    <a:pt x="110" y="73"/>
                    <a:pt x="110" y="73"/>
                    <a:pt x="110" y="73"/>
                  </a:cubicBezTo>
                  <a:cubicBezTo>
                    <a:pt x="110" y="73"/>
                    <a:pt x="110" y="73"/>
                    <a:pt x="110" y="73"/>
                  </a:cubicBezTo>
                  <a:cubicBezTo>
                    <a:pt x="111" y="73"/>
                    <a:pt x="112" y="73"/>
                    <a:pt x="112" y="73"/>
                  </a:cubicBezTo>
                  <a:cubicBezTo>
                    <a:pt x="113" y="73"/>
                    <a:pt x="113" y="73"/>
                    <a:pt x="113" y="73"/>
                  </a:cubicBezTo>
                  <a:cubicBezTo>
                    <a:pt x="114" y="70"/>
                    <a:pt x="114" y="70"/>
                    <a:pt x="114" y="70"/>
                  </a:cubicBezTo>
                  <a:cubicBezTo>
                    <a:pt x="114" y="69"/>
                    <a:pt x="115" y="68"/>
                    <a:pt x="115" y="68"/>
                  </a:cubicBezTo>
                  <a:cubicBezTo>
                    <a:pt x="115" y="67"/>
                    <a:pt x="115" y="67"/>
                    <a:pt x="116" y="66"/>
                  </a:cubicBezTo>
                  <a:cubicBezTo>
                    <a:pt x="116" y="65"/>
                    <a:pt x="117" y="65"/>
                    <a:pt x="117" y="64"/>
                  </a:cubicBezTo>
                  <a:cubicBezTo>
                    <a:pt x="118" y="64"/>
                    <a:pt x="118" y="64"/>
                    <a:pt x="118" y="64"/>
                  </a:cubicBezTo>
                  <a:cubicBezTo>
                    <a:pt x="119" y="63"/>
                    <a:pt x="119" y="63"/>
                    <a:pt x="119" y="63"/>
                  </a:cubicBezTo>
                  <a:cubicBezTo>
                    <a:pt x="119" y="63"/>
                    <a:pt x="119" y="63"/>
                    <a:pt x="119" y="63"/>
                  </a:cubicBezTo>
                  <a:cubicBezTo>
                    <a:pt x="119" y="62"/>
                    <a:pt x="118" y="62"/>
                    <a:pt x="118" y="62"/>
                  </a:cubicBezTo>
                  <a:cubicBezTo>
                    <a:pt x="118" y="60"/>
                    <a:pt x="117" y="58"/>
                    <a:pt x="118" y="56"/>
                  </a:cubicBezTo>
                  <a:cubicBezTo>
                    <a:pt x="118" y="55"/>
                    <a:pt x="119" y="54"/>
                    <a:pt x="122" y="52"/>
                  </a:cubicBezTo>
                  <a:cubicBezTo>
                    <a:pt x="123" y="52"/>
                    <a:pt x="123" y="52"/>
                    <a:pt x="123" y="52"/>
                  </a:cubicBezTo>
                  <a:cubicBezTo>
                    <a:pt x="123" y="52"/>
                    <a:pt x="124" y="51"/>
                    <a:pt x="125" y="51"/>
                  </a:cubicBezTo>
                  <a:cubicBezTo>
                    <a:pt x="125" y="50"/>
                    <a:pt x="125" y="50"/>
                    <a:pt x="125" y="50"/>
                  </a:cubicBezTo>
                  <a:cubicBezTo>
                    <a:pt x="125" y="50"/>
                    <a:pt x="125" y="50"/>
                    <a:pt x="125" y="50"/>
                  </a:cubicBezTo>
                  <a:cubicBezTo>
                    <a:pt x="124" y="46"/>
                    <a:pt x="124" y="42"/>
                    <a:pt x="126" y="39"/>
                  </a:cubicBezTo>
                  <a:cubicBezTo>
                    <a:pt x="128" y="37"/>
                    <a:pt x="131" y="36"/>
                    <a:pt x="134" y="36"/>
                  </a:cubicBezTo>
                  <a:cubicBezTo>
                    <a:pt x="134" y="36"/>
                    <a:pt x="134" y="36"/>
                    <a:pt x="135" y="36"/>
                  </a:cubicBezTo>
                  <a:cubicBezTo>
                    <a:pt x="135" y="36"/>
                    <a:pt x="135" y="35"/>
                    <a:pt x="135" y="35"/>
                  </a:cubicBezTo>
                  <a:cubicBezTo>
                    <a:pt x="137" y="30"/>
                    <a:pt x="136" y="26"/>
                    <a:pt x="136" y="20"/>
                  </a:cubicBezTo>
                  <a:cubicBezTo>
                    <a:pt x="135" y="17"/>
                    <a:pt x="136" y="14"/>
                    <a:pt x="138" y="11"/>
                  </a:cubicBezTo>
                  <a:cubicBezTo>
                    <a:pt x="133" y="11"/>
                    <a:pt x="133" y="11"/>
                    <a:pt x="133" y="11"/>
                  </a:cubicBezTo>
                  <a:cubicBezTo>
                    <a:pt x="132" y="11"/>
                    <a:pt x="132" y="11"/>
                    <a:pt x="131" y="11"/>
                  </a:cubicBezTo>
                  <a:cubicBezTo>
                    <a:pt x="130" y="11"/>
                    <a:pt x="130" y="11"/>
                    <a:pt x="130" y="11"/>
                  </a:cubicBezTo>
                  <a:cubicBezTo>
                    <a:pt x="127" y="10"/>
                    <a:pt x="125" y="9"/>
                    <a:pt x="125" y="7"/>
                  </a:cubicBezTo>
                  <a:cubicBezTo>
                    <a:pt x="124" y="6"/>
                    <a:pt x="124" y="6"/>
                    <a:pt x="124" y="6"/>
                  </a:cubicBezTo>
                  <a:cubicBezTo>
                    <a:pt x="124" y="4"/>
                    <a:pt x="123" y="2"/>
                    <a:pt x="1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1511"/>
            <p:cNvSpPr/>
            <p:nvPr/>
          </p:nvSpPr>
          <p:spPr bwMode="auto">
            <a:xfrm>
              <a:off x="3902170" y="4554550"/>
              <a:ext cx="2685" cy="2685"/>
            </a:xfrm>
            <a:custGeom>
              <a:gdLst>
                <a:gd name="T0" fmla="*/ 0 w 2"/>
                <a:gd name="T1" fmla="*/ 0 h 2"/>
                <a:gd name="T2" fmla="*/ 0 w 2"/>
                <a:gd name="T3" fmla="*/ 2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0"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1512"/>
            <p:cNvSpPr/>
            <p:nvPr/>
          </p:nvSpPr>
          <p:spPr bwMode="auto">
            <a:xfrm>
              <a:off x="3902170" y="4554550"/>
              <a:ext cx="2685" cy="2685"/>
            </a:xfrm>
            <a:custGeom>
              <a:gdLst>
                <a:gd name="T0" fmla="*/ 0 w 2"/>
                <a:gd name="T1" fmla="*/ 0 h 2"/>
                <a:gd name="T2" fmla="*/ 0 w 2"/>
                <a:gd name="T3" fmla="*/ 2 h 2"/>
                <a:gd name="T4" fmla="*/ 2 w 2"/>
                <a:gd name="T5" fmla="*/ 2 h 2"/>
                <a:gd name="T6" fmla="*/ 0 w 2"/>
                <a:gd name="T7" fmla="*/ 0 h 2"/>
              </a:gdLst>
              <a:cxnLst>
                <a:cxn ang="0">
                  <a:pos x="T0" y="T1"/>
                </a:cxn>
                <a:cxn ang="0">
                  <a:pos x="T2" y="T3"/>
                </a:cxn>
                <a:cxn ang="0">
                  <a:pos x="T4" y="T5"/>
                </a:cxn>
                <a:cxn ang="0">
                  <a:pos x="T6" y="T7"/>
                </a:cxn>
              </a:cxnLst>
              <a:rect l="0" t="0" r="r" b="b"/>
              <a:pathLst>
                <a:path w="2" h="2">
                  <a:moveTo>
                    <a:pt x="0" y="0"/>
                  </a:moveTo>
                  <a:lnTo>
                    <a:pt x="0" y="2"/>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1513"/>
            <p:cNvSpPr/>
            <p:nvPr/>
          </p:nvSpPr>
          <p:spPr bwMode="auto">
            <a:xfrm>
              <a:off x="3924989" y="4535757"/>
              <a:ext cx="49666" cy="63090"/>
            </a:xfrm>
            <a:custGeom>
              <a:gdLst>
                <a:gd name="T0" fmla="*/ 16 w 16"/>
                <a:gd name="T1" fmla="*/ 0 h 20"/>
                <a:gd name="T2" fmla="*/ 8 w 16"/>
                <a:gd name="T3" fmla="*/ 6 h 20"/>
                <a:gd name="T4" fmla="*/ 0 w 16"/>
                <a:gd name="T5" fmla="*/ 9 h 20"/>
                <a:gd name="T6" fmla="*/ 3 w 16"/>
                <a:gd name="T7" fmla="*/ 12 h 20"/>
                <a:gd name="T8" fmla="*/ 4 w 16"/>
                <a:gd name="T9" fmla="*/ 13 h 20"/>
                <a:gd name="T10" fmla="*/ 4 w 16"/>
                <a:gd name="T11" fmla="*/ 14 h 20"/>
                <a:gd name="T12" fmla="*/ 6 w 16"/>
                <a:gd name="T13" fmla="*/ 16 h 20"/>
                <a:gd name="T14" fmla="*/ 10 w 16"/>
                <a:gd name="T15" fmla="*/ 20 h 20"/>
                <a:gd name="T16" fmla="*/ 10 w 16"/>
                <a:gd name="T17" fmla="*/ 20 h 20"/>
                <a:gd name="T18" fmla="*/ 11 w 16"/>
                <a:gd name="T19" fmla="*/ 19 h 20"/>
                <a:gd name="T20" fmla="*/ 11 w 16"/>
                <a:gd name="T21" fmla="*/ 18 h 20"/>
                <a:gd name="T22" fmla="*/ 11 w 16"/>
                <a:gd name="T23" fmla="*/ 17 h 20"/>
                <a:gd name="T24" fmla="*/ 11 w 16"/>
                <a:gd name="T25" fmla="*/ 14 h 20"/>
                <a:gd name="T26" fmla="*/ 10 w 16"/>
                <a:gd name="T27" fmla="*/ 10 h 20"/>
                <a:gd name="T28" fmla="*/ 10 w 16"/>
                <a:gd name="T29" fmla="*/ 9 h 20"/>
                <a:gd name="T30" fmla="*/ 10 w 16"/>
                <a:gd name="T31" fmla="*/ 6 h 20"/>
                <a:gd name="T32" fmla="*/ 11 w 16"/>
                <a:gd name="T33" fmla="*/ 5 h 20"/>
                <a:gd name="T34" fmla="*/ 11 w 16"/>
                <a:gd name="T35" fmla="*/ 4 h 20"/>
                <a:gd name="T36" fmla="*/ 12 w 16"/>
                <a:gd name="T37" fmla="*/ 3 h 20"/>
                <a:gd name="T38" fmla="*/ 13 w 16"/>
                <a:gd name="T39" fmla="*/ 2 h 20"/>
                <a:gd name="T40" fmla="*/ 14 w 16"/>
                <a:gd name="T41" fmla="*/ 2 h 20"/>
                <a:gd name="T42" fmla="*/ 16 w 16"/>
                <a:gd name="T43" fmla="*/ 1 h 20"/>
                <a:gd name="T44" fmla="*/ 16 w 16"/>
                <a:gd name="T45"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0">
                  <a:moveTo>
                    <a:pt x="16" y="0"/>
                  </a:moveTo>
                  <a:cubicBezTo>
                    <a:pt x="13" y="2"/>
                    <a:pt x="10" y="4"/>
                    <a:pt x="8" y="6"/>
                  </a:cubicBezTo>
                  <a:cubicBezTo>
                    <a:pt x="6" y="8"/>
                    <a:pt x="3" y="9"/>
                    <a:pt x="0" y="9"/>
                  </a:cubicBezTo>
                  <a:cubicBezTo>
                    <a:pt x="2" y="10"/>
                    <a:pt x="3" y="11"/>
                    <a:pt x="3" y="12"/>
                  </a:cubicBezTo>
                  <a:cubicBezTo>
                    <a:pt x="4" y="12"/>
                    <a:pt x="4" y="13"/>
                    <a:pt x="4" y="13"/>
                  </a:cubicBezTo>
                  <a:cubicBezTo>
                    <a:pt x="4" y="14"/>
                    <a:pt x="4" y="14"/>
                    <a:pt x="4" y="14"/>
                  </a:cubicBezTo>
                  <a:cubicBezTo>
                    <a:pt x="5" y="14"/>
                    <a:pt x="5" y="15"/>
                    <a:pt x="6" y="16"/>
                  </a:cubicBezTo>
                  <a:cubicBezTo>
                    <a:pt x="8" y="19"/>
                    <a:pt x="9" y="20"/>
                    <a:pt x="10" y="20"/>
                  </a:cubicBezTo>
                  <a:cubicBezTo>
                    <a:pt x="10" y="20"/>
                    <a:pt x="10" y="20"/>
                    <a:pt x="10" y="20"/>
                  </a:cubicBezTo>
                  <a:cubicBezTo>
                    <a:pt x="11" y="19"/>
                    <a:pt x="11" y="19"/>
                    <a:pt x="11" y="19"/>
                  </a:cubicBezTo>
                  <a:cubicBezTo>
                    <a:pt x="11" y="18"/>
                    <a:pt x="11" y="18"/>
                    <a:pt x="11" y="18"/>
                  </a:cubicBezTo>
                  <a:cubicBezTo>
                    <a:pt x="11" y="17"/>
                    <a:pt x="11" y="17"/>
                    <a:pt x="11" y="17"/>
                  </a:cubicBezTo>
                  <a:cubicBezTo>
                    <a:pt x="11" y="16"/>
                    <a:pt x="11" y="15"/>
                    <a:pt x="11" y="14"/>
                  </a:cubicBezTo>
                  <a:cubicBezTo>
                    <a:pt x="11" y="13"/>
                    <a:pt x="11" y="11"/>
                    <a:pt x="10" y="10"/>
                  </a:cubicBezTo>
                  <a:cubicBezTo>
                    <a:pt x="10" y="10"/>
                    <a:pt x="10" y="9"/>
                    <a:pt x="10" y="9"/>
                  </a:cubicBezTo>
                  <a:cubicBezTo>
                    <a:pt x="9" y="8"/>
                    <a:pt x="9" y="7"/>
                    <a:pt x="10" y="6"/>
                  </a:cubicBezTo>
                  <a:cubicBezTo>
                    <a:pt x="10" y="5"/>
                    <a:pt x="10" y="5"/>
                    <a:pt x="11" y="5"/>
                  </a:cubicBezTo>
                  <a:cubicBezTo>
                    <a:pt x="11" y="4"/>
                    <a:pt x="11" y="4"/>
                    <a:pt x="11" y="4"/>
                  </a:cubicBezTo>
                  <a:cubicBezTo>
                    <a:pt x="12" y="3"/>
                    <a:pt x="12" y="3"/>
                    <a:pt x="12" y="3"/>
                  </a:cubicBezTo>
                  <a:cubicBezTo>
                    <a:pt x="12" y="3"/>
                    <a:pt x="13" y="3"/>
                    <a:pt x="13" y="2"/>
                  </a:cubicBezTo>
                  <a:cubicBezTo>
                    <a:pt x="14" y="2"/>
                    <a:pt x="14" y="2"/>
                    <a:pt x="14" y="2"/>
                  </a:cubicBezTo>
                  <a:cubicBezTo>
                    <a:pt x="16" y="1"/>
                    <a:pt x="16" y="1"/>
                    <a:pt x="16" y="1"/>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Rectangle 1514"/>
            <p:cNvSpPr>
              <a:spLocks noChangeArrowheads="1"/>
            </p:cNvSpPr>
            <p:nvPr/>
          </p:nvSpPr>
          <p:spPr bwMode="auto">
            <a:xfrm>
              <a:off x="1741009" y="847016"/>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1515"/>
            <p:cNvSpPr/>
            <p:nvPr/>
          </p:nvSpPr>
          <p:spPr bwMode="auto">
            <a:xfrm flipH="1">
              <a:off x="1741009" y="847016"/>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Rectangle 1516"/>
            <p:cNvSpPr>
              <a:spLocks noChangeArrowheads="1"/>
            </p:cNvSpPr>
            <p:nvPr/>
          </p:nvSpPr>
          <p:spPr bwMode="auto">
            <a:xfrm>
              <a:off x="469817" y="336928"/>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Freeform 1517"/>
            <p:cNvSpPr/>
            <p:nvPr/>
          </p:nvSpPr>
          <p:spPr bwMode="auto">
            <a:xfrm flipH="1">
              <a:off x="469817" y="33692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2" name="Freeform 1518"/>
            <p:cNvSpPr/>
            <p:nvPr/>
          </p:nvSpPr>
          <p:spPr bwMode="auto">
            <a:xfrm>
              <a:off x="0" y="298000"/>
              <a:ext cx="1890009" cy="1393346"/>
            </a:xfrm>
            <a:custGeom>
              <a:gdLst>
                <a:gd name="T0" fmla="*/ 175 w 596"/>
                <a:gd name="T1" fmla="*/ 1 h 439"/>
                <a:gd name="T2" fmla="*/ 157 w 596"/>
                <a:gd name="T3" fmla="*/ 10 h 439"/>
                <a:gd name="T4" fmla="*/ 146 w 596"/>
                <a:gd name="T5" fmla="*/ 14 h 439"/>
                <a:gd name="T6" fmla="*/ 121 w 596"/>
                <a:gd name="T7" fmla="*/ 20 h 439"/>
                <a:gd name="T8" fmla="*/ 114 w 596"/>
                <a:gd name="T9" fmla="*/ 21 h 439"/>
                <a:gd name="T10" fmla="*/ 99 w 596"/>
                <a:gd name="T11" fmla="*/ 24 h 439"/>
                <a:gd name="T12" fmla="*/ 81 w 596"/>
                <a:gd name="T13" fmla="*/ 33 h 439"/>
                <a:gd name="T14" fmla="*/ 69 w 596"/>
                <a:gd name="T15" fmla="*/ 32 h 439"/>
                <a:gd name="T16" fmla="*/ 49 w 596"/>
                <a:gd name="T17" fmla="*/ 36 h 439"/>
                <a:gd name="T18" fmla="*/ 28 w 596"/>
                <a:gd name="T19" fmla="*/ 41 h 439"/>
                <a:gd name="T20" fmla="*/ 19 w 596"/>
                <a:gd name="T21" fmla="*/ 48 h 439"/>
                <a:gd name="T22" fmla="*/ 11 w 596"/>
                <a:gd name="T23" fmla="*/ 44 h 439"/>
                <a:gd name="T24" fmla="*/ 0 w 596"/>
                <a:gd name="T25" fmla="*/ 53 h 439"/>
                <a:gd name="T26" fmla="*/ 12 w 596"/>
                <a:gd name="T27" fmla="*/ 69 h 439"/>
                <a:gd name="T28" fmla="*/ 9 w 596"/>
                <a:gd name="T29" fmla="*/ 78 h 439"/>
                <a:gd name="T30" fmla="*/ 6 w 596"/>
                <a:gd name="T31" fmla="*/ 83 h 439"/>
                <a:gd name="T32" fmla="*/ 1 w 596"/>
                <a:gd name="T33" fmla="*/ 125 h 439"/>
                <a:gd name="T34" fmla="*/ 6 w 596"/>
                <a:gd name="T35" fmla="*/ 354 h 439"/>
                <a:gd name="T36" fmla="*/ 50 w 596"/>
                <a:gd name="T37" fmla="*/ 354 h 439"/>
                <a:gd name="T38" fmla="*/ 81 w 596"/>
                <a:gd name="T39" fmla="*/ 353 h 439"/>
                <a:gd name="T40" fmla="*/ 103 w 596"/>
                <a:gd name="T41" fmla="*/ 372 h 439"/>
                <a:gd name="T42" fmla="*/ 106 w 596"/>
                <a:gd name="T43" fmla="*/ 398 h 439"/>
                <a:gd name="T44" fmla="*/ 118 w 596"/>
                <a:gd name="T45" fmla="*/ 407 h 439"/>
                <a:gd name="T46" fmla="*/ 145 w 596"/>
                <a:gd name="T47" fmla="*/ 422 h 439"/>
                <a:gd name="T48" fmla="*/ 153 w 596"/>
                <a:gd name="T49" fmla="*/ 427 h 439"/>
                <a:gd name="T50" fmla="*/ 170 w 596"/>
                <a:gd name="T51" fmla="*/ 424 h 439"/>
                <a:gd name="T52" fmla="*/ 214 w 596"/>
                <a:gd name="T53" fmla="*/ 395 h 439"/>
                <a:gd name="T54" fmla="*/ 232 w 596"/>
                <a:gd name="T55" fmla="*/ 379 h 439"/>
                <a:gd name="T56" fmla="*/ 283 w 596"/>
                <a:gd name="T57" fmla="*/ 369 h 439"/>
                <a:gd name="T58" fmla="*/ 308 w 596"/>
                <a:gd name="T59" fmla="*/ 371 h 439"/>
                <a:gd name="T60" fmla="*/ 325 w 596"/>
                <a:gd name="T61" fmla="*/ 375 h 439"/>
                <a:gd name="T62" fmla="*/ 353 w 596"/>
                <a:gd name="T63" fmla="*/ 374 h 439"/>
                <a:gd name="T64" fmla="*/ 393 w 596"/>
                <a:gd name="T65" fmla="*/ 375 h 439"/>
                <a:gd name="T66" fmla="*/ 411 w 596"/>
                <a:gd name="T67" fmla="*/ 377 h 439"/>
                <a:gd name="T68" fmla="*/ 433 w 596"/>
                <a:gd name="T69" fmla="*/ 390 h 439"/>
                <a:gd name="T70" fmla="*/ 447 w 596"/>
                <a:gd name="T71" fmla="*/ 368 h 439"/>
                <a:gd name="T72" fmla="*/ 437 w 596"/>
                <a:gd name="T73" fmla="*/ 337 h 439"/>
                <a:gd name="T74" fmla="*/ 435 w 596"/>
                <a:gd name="T75" fmla="*/ 313 h 439"/>
                <a:gd name="T76" fmla="*/ 476 w 596"/>
                <a:gd name="T77" fmla="*/ 308 h 439"/>
                <a:gd name="T78" fmla="*/ 489 w 596"/>
                <a:gd name="T79" fmla="*/ 305 h 439"/>
                <a:gd name="T80" fmla="*/ 527 w 596"/>
                <a:gd name="T81" fmla="*/ 256 h 439"/>
                <a:gd name="T82" fmla="*/ 568 w 596"/>
                <a:gd name="T83" fmla="*/ 213 h 439"/>
                <a:gd name="T84" fmla="*/ 589 w 596"/>
                <a:gd name="T85" fmla="*/ 198 h 439"/>
                <a:gd name="T86" fmla="*/ 576 w 596"/>
                <a:gd name="T87" fmla="*/ 188 h 439"/>
                <a:gd name="T88" fmla="*/ 554 w 596"/>
                <a:gd name="T89" fmla="*/ 183 h 439"/>
                <a:gd name="T90" fmla="*/ 548 w 596"/>
                <a:gd name="T91" fmla="*/ 174 h 439"/>
                <a:gd name="T92" fmla="*/ 529 w 596"/>
                <a:gd name="T93" fmla="*/ 161 h 439"/>
                <a:gd name="T94" fmla="*/ 519 w 596"/>
                <a:gd name="T95" fmla="*/ 143 h 439"/>
                <a:gd name="T96" fmla="*/ 493 w 596"/>
                <a:gd name="T97" fmla="*/ 147 h 439"/>
                <a:gd name="T98" fmla="*/ 469 w 596"/>
                <a:gd name="T99" fmla="*/ 148 h 439"/>
                <a:gd name="T100" fmla="*/ 454 w 596"/>
                <a:gd name="T101" fmla="*/ 137 h 439"/>
                <a:gd name="T102" fmla="*/ 446 w 596"/>
                <a:gd name="T103" fmla="*/ 136 h 439"/>
                <a:gd name="T104" fmla="*/ 439 w 596"/>
                <a:gd name="T105" fmla="*/ 142 h 439"/>
                <a:gd name="T106" fmla="*/ 427 w 596"/>
                <a:gd name="T107" fmla="*/ 140 h 439"/>
                <a:gd name="T108" fmla="*/ 349 w 596"/>
                <a:gd name="T109" fmla="*/ 42 h 439"/>
                <a:gd name="T110" fmla="*/ 303 w 596"/>
                <a:gd name="T111" fmla="*/ 59 h 439"/>
                <a:gd name="T112" fmla="*/ 269 w 596"/>
                <a:gd name="T113" fmla="*/ 52 h 439"/>
                <a:gd name="T114" fmla="*/ 258 w 596"/>
                <a:gd name="T115" fmla="*/ 44 h 439"/>
                <a:gd name="T116" fmla="*/ 247 w 596"/>
                <a:gd name="T117" fmla="*/ 41 h 439"/>
                <a:gd name="T118" fmla="*/ 224 w 596"/>
                <a:gd name="T119" fmla="*/ 40 h 439"/>
                <a:gd name="T120" fmla="*/ 217 w 596"/>
                <a:gd name="T121" fmla="*/ 29 h 439"/>
                <a:gd name="T122" fmla="*/ 218 w 596"/>
                <a:gd name="T123" fmla="*/ 11 h 439"/>
                <a:gd name="T124" fmla="*/ 194 w 596"/>
                <a:gd name="T125" fmla="*/ 5 h 4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6" h="439">
                  <a:moveTo>
                    <a:pt x="180" y="0"/>
                  </a:moveTo>
                  <a:cubicBezTo>
                    <a:pt x="180" y="0"/>
                    <a:pt x="180" y="0"/>
                    <a:pt x="180" y="0"/>
                  </a:cubicBezTo>
                  <a:cubicBezTo>
                    <a:pt x="180" y="0"/>
                    <a:pt x="179" y="0"/>
                    <a:pt x="179" y="1"/>
                  </a:cubicBezTo>
                  <a:cubicBezTo>
                    <a:pt x="178" y="1"/>
                    <a:pt x="178" y="1"/>
                    <a:pt x="178" y="1"/>
                  </a:cubicBezTo>
                  <a:cubicBezTo>
                    <a:pt x="178" y="1"/>
                    <a:pt x="178" y="1"/>
                    <a:pt x="178" y="1"/>
                  </a:cubicBezTo>
                  <a:cubicBezTo>
                    <a:pt x="177" y="1"/>
                    <a:pt x="177" y="1"/>
                    <a:pt x="177" y="1"/>
                  </a:cubicBezTo>
                  <a:cubicBezTo>
                    <a:pt x="176" y="1"/>
                    <a:pt x="176" y="1"/>
                    <a:pt x="176" y="1"/>
                  </a:cubicBezTo>
                  <a:cubicBezTo>
                    <a:pt x="176" y="1"/>
                    <a:pt x="175" y="1"/>
                    <a:pt x="175" y="1"/>
                  </a:cubicBezTo>
                  <a:cubicBezTo>
                    <a:pt x="175" y="1"/>
                    <a:pt x="175" y="1"/>
                    <a:pt x="175" y="1"/>
                  </a:cubicBezTo>
                  <a:cubicBezTo>
                    <a:pt x="174" y="1"/>
                    <a:pt x="174" y="1"/>
                    <a:pt x="174" y="1"/>
                  </a:cubicBezTo>
                  <a:cubicBezTo>
                    <a:pt x="174" y="2"/>
                    <a:pt x="173" y="2"/>
                    <a:pt x="172" y="2"/>
                  </a:cubicBezTo>
                  <a:cubicBezTo>
                    <a:pt x="171" y="2"/>
                    <a:pt x="170" y="1"/>
                    <a:pt x="169" y="1"/>
                  </a:cubicBezTo>
                  <a:cubicBezTo>
                    <a:pt x="169" y="1"/>
                    <a:pt x="169" y="1"/>
                    <a:pt x="169" y="1"/>
                  </a:cubicBezTo>
                  <a:cubicBezTo>
                    <a:pt x="169" y="1"/>
                    <a:pt x="168" y="1"/>
                    <a:pt x="168" y="0"/>
                  </a:cubicBezTo>
                  <a:cubicBezTo>
                    <a:pt x="168" y="1"/>
                    <a:pt x="167" y="2"/>
                    <a:pt x="167" y="3"/>
                  </a:cubicBezTo>
                  <a:cubicBezTo>
                    <a:pt x="166" y="5"/>
                    <a:pt x="163" y="7"/>
                    <a:pt x="160" y="8"/>
                  </a:cubicBezTo>
                  <a:cubicBezTo>
                    <a:pt x="159" y="9"/>
                    <a:pt x="159" y="9"/>
                    <a:pt x="158" y="10"/>
                  </a:cubicBezTo>
                  <a:cubicBezTo>
                    <a:pt x="157" y="10"/>
                    <a:pt x="157" y="10"/>
                    <a:pt x="157" y="10"/>
                  </a:cubicBezTo>
                  <a:cubicBezTo>
                    <a:pt x="156" y="11"/>
                    <a:pt x="155" y="12"/>
                    <a:pt x="155" y="12"/>
                  </a:cubicBezTo>
                  <a:cubicBezTo>
                    <a:pt x="153" y="13"/>
                    <a:pt x="152" y="13"/>
                    <a:pt x="151" y="13"/>
                  </a:cubicBezTo>
                  <a:cubicBezTo>
                    <a:pt x="151" y="13"/>
                    <a:pt x="151" y="13"/>
                    <a:pt x="151" y="13"/>
                  </a:cubicBezTo>
                  <a:cubicBezTo>
                    <a:pt x="150" y="13"/>
                    <a:pt x="149" y="13"/>
                    <a:pt x="148" y="13"/>
                  </a:cubicBezTo>
                  <a:cubicBezTo>
                    <a:pt x="147" y="13"/>
                    <a:pt x="147" y="13"/>
                    <a:pt x="147" y="13"/>
                  </a:cubicBezTo>
                  <a:cubicBezTo>
                    <a:pt x="147" y="13"/>
                    <a:pt x="147" y="13"/>
                    <a:pt x="147" y="13"/>
                  </a:cubicBezTo>
                  <a:cubicBezTo>
                    <a:pt x="147" y="13"/>
                    <a:pt x="147" y="13"/>
                    <a:pt x="147" y="13"/>
                  </a:cubicBezTo>
                  <a:cubicBezTo>
                    <a:pt x="147" y="13"/>
                    <a:pt x="147" y="13"/>
                    <a:pt x="147" y="13"/>
                  </a:cubicBezTo>
                  <a:cubicBezTo>
                    <a:pt x="146" y="14"/>
                    <a:pt x="146" y="14"/>
                    <a:pt x="146" y="14"/>
                  </a:cubicBezTo>
                  <a:cubicBezTo>
                    <a:pt x="132" y="17"/>
                    <a:pt x="132" y="17"/>
                    <a:pt x="132" y="17"/>
                  </a:cubicBezTo>
                  <a:cubicBezTo>
                    <a:pt x="131" y="17"/>
                    <a:pt x="130" y="17"/>
                    <a:pt x="130" y="18"/>
                  </a:cubicBezTo>
                  <a:cubicBezTo>
                    <a:pt x="135" y="21"/>
                    <a:pt x="135" y="21"/>
                    <a:pt x="135" y="21"/>
                  </a:cubicBezTo>
                  <a:cubicBezTo>
                    <a:pt x="123" y="19"/>
                    <a:pt x="123" y="19"/>
                    <a:pt x="123" y="19"/>
                  </a:cubicBezTo>
                  <a:cubicBezTo>
                    <a:pt x="123" y="20"/>
                    <a:pt x="123" y="20"/>
                    <a:pt x="123" y="20"/>
                  </a:cubicBezTo>
                  <a:cubicBezTo>
                    <a:pt x="122" y="19"/>
                    <a:pt x="122" y="19"/>
                    <a:pt x="122" y="19"/>
                  </a:cubicBezTo>
                  <a:cubicBezTo>
                    <a:pt x="122" y="20"/>
                    <a:pt x="122" y="20"/>
                    <a:pt x="122" y="20"/>
                  </a:cubicBezTo>
                  <a:cubicBezTo>
                    <a:pt x="122" y="20"/>
                    <a:pt x="122" y="20"/>
                    <a:pt x="122" y="20"/>
                  </a:cubicBezTo>
                  <a:cubicBezTo>
                    <a:pt x="121" y="20"/>
                    <a:pt x="121" y="20"/>
                    <a:pt x="121" y="20"/>
                  </a:cubicBezTo>
                  <a:cubicBezTo>
                    <a:pt x="120" y="21"/>
                    <a:pt x="119" y="21"/>
                    <a:pt x="119" y="21"/>
                  </a:cubicBezTo>
                  <a:cubicBezTo>
                    <a:pt x="119" y="21"/>
                    <a:pt x="119" y="21"/>
                    <a:pt x="119" y="21"/>
                  </a:cubicBezTo>
                  <a:cubicBezTo>
                    <a:pt x="119" y="21"/>
                    <a:pt x="119" y="21"/>
                    <a:pt x="119" y="21"/>
                  </a:cubicBezTo>
                  <a:cubicBezTo>
                    <a:pt x="118" y="21"/>
                    <a:pt x="118" y="21"/>
                    <a:pt x="118" y="21"/>
                  </a:cubicBezTo>
                  <a:cubicBezTo>
                    <a:pt x="118" y="21"/>
                    <a:pt x="118" y="21"/>
                    <a:pt x="118" y="21"/>
                  </a:cubicBezTo>
                  <a:cubicBezTo>
                    <a:pt x="118" y="21"/>
                    <a:pt x="118" y="21"/>
                    <a:pt x="118" y="21"/>
                  </a:cubicBezTo>
                  <a:cubicBezTo>
                    <a:pt x="117" y="21"/>
                    <a:pt x="117" y="21"/>
                    <a:pt x="117" y="21"/>
                  </a:cubicBezTo>
                  <a:cubicBezTo>
                    <a:pt x="117" y="21"/>
                    <a:pt x="117" y="21"/>
                    <a:pt x="117" y="21"/>
                  </a:cubicBezTo>
                  <a:cubicBezTo>
                    <a:pt x="116" y="21"/>
                    <a:pt x="115" y="21"/>
                    <a:pt x="114" y="21"/>
                  </a:cubicBezTo>
                  <a:cubicBezTo>
                    <a:pt x="114" y="21"/>
                    <a:pt x="114" y="21"/>
                    <a:pt x="114" y="21"/>
                  </a:cubicBezTo>
                  <a:cubicBezTo>
                    <a:pt x="112" y="22"/>
                    <a:pt x="112" y="22"/>
                    <a:pt x="112" y="22"/>
                  </a:cubicBezTo>
                  <a:cubicBezTo>
                    <a:pt x="111" y="22"/>
                    <a:pt x="109" y="22"/>
                    <a:pt x="108" y="23"/>
                  </a:cubicBezTo>
                  <a:cubicBezTo>
                    <a:pt x="105" y="24"/>
                    <a:pt x="105" y="24"/>
                    <a:pt x="105" y="24"/>
                  </a:cubicBezTo>
                  <a:cubicBezTo>
                    <a:pt x="104" y="24"/>
                    <a:pt x="104" y="24"/>
                    <a:pt x="104" y="24"/>
                  </a:cubicBezTo>
                  <a:cubicBezTo>
                    <a:pt x="104" y="24"/>
                    <a:pt x="103" y="24"/>
                    <a:pt x="103" y="24"/>
                  </a:cubicBezTo>
                  <a:cubicBezTo>
                    <a:pt x="99" y="24"/>
                    <a:pt x="99" y="24"/>
                    <a:pt x="99" y="24"/>
                  </a:cubicBezTo>
                  <a:cubicBezTo>
                    <a:pt x="99" y="24"/>
                    <a:pt x="99" y="24"/>
                    <a:pt x="99" y="24"/>
                  </a:cubicBezTo>
                  <a:cubicBezTo>
                    <a:pt x="99" y="24"/>
                    <a:pt x="99" y="24"/>
                    <a:pt x="99" y="24"/>
                  </a:cubicBezTo>
                  <a:cubicBezTo>
                    <a:pt x="92" y="24"/>
                    <a:pt x="92" y="24"/>
                    <a:pt x="92" y="24"/>
                  </a:cubicBezTo>
                  <a:cubicBezTo>
                    <a:pt x="91" y="24"/>
                    <a:pt x="91" y="24"/>
                    <a:pt x="91" y="24"/>
                  </a:cubicBezTo>
                  <a:cubicBezTo>
                    <a:pt x="90" y="24"/>
                    <a:pt x="90" y="24"/>
                    <a:pt x="90" y="24"/>
                  </a:cubicBezTo>
                  <a:cubicBezTo>
                    <a:pt x="86" y="27"/>
                    <a:pt x="86" y="27"/>
                    <a:pt x="86" y="27"/>
                  </a:cubicBezTo>
                  <a:cubicBezTo>
                    <a:pt x="90" y="30"/>
                    <a:pt x="90" y="30"/>
                    <a:pt x="90" y="30"/>
                  </a:cubicBezTo>
                  <a:cubicBezTo>
                    <a:pt x="85" y="28"/>
                    <a:pt x="85" y="28"/>
                    <a:pt x="85" y="28"/>
                  </a:cubicBezTo>
                  <a:cubicBezTo>
                    <a:pt x="85" y="28"/>
                    <a:pt x="85" y="28"/>
                    <a:pt x="85" y="28"/>
                  </a:cubicBezTo>
                  <a:cubicBezTo>
                    <a:pt x="84" y="29"/>
                    <a:pt x="84" y="29"/>
                    <a:pt x="83" y="30"/>
                  </a:cubicBezTo>
                  <a:cubicBezTo>
                    <a:pt x="81" y="33"/>
                    <a:pt x="81" y="33"/>
                    <a:pt x="81" y="33"/>
                  </a:cubicBezTo>
                  <a:cubicBezTo>
                    <a:pt x="78" y="33"/>
                    <a:pt x="78" y="33"/>
                    <a:pt x="78" y="33"/>
                  </a:cubicBezTo>
                  <a:cubicBezTo>
                    <a:pt x="77" y="31"/>
                    <a:pt x="77" y="31"/>
                    <a:pt x="77" y="31"/>
                  </a:cubicBezTo>
                  <a:cubicBezTo>
                    <a:pt x="76" y="32"/>
                    <a:pt x="76" y="32"/>
                    <a:pt x="76" y="32"/>
                  </a:cubicBezTo>
                  <a:cubicBezTo>
                    <a:pt x="75" y="32"/>
                    <a:pt x="75" y="32"/>
                    <a:pt x="75" y="32"/>
                  </a:cubicBezTo>
                  <a:cubicBezTo>
                    <a:pt x="74" y="33"/>
                    <a:pt x="74" y="33"/>
                    <a:pt x="74" y="33"/>
                  </a:cubicBezTo>
                  <a:cubicBezTo>
                    <a:pt x="73" y="33"/>
                    <a:pt x="72" y="33"/>
                    <a:pt x="71" y="33"/>
                  </a:cubicBezTo>
                  <a:cubicBezTo>
                    <a:pt x="70" y="33"/>
                    <a:pt x="70" y="33"/>
                    <a:pt x="70" y="33"/>
                  </a:cubicBezTo>
                  <a:cubicBezTo>
                    <a:pt x="70" y="33"/>
                    <a:pt x="70" y="33"/>
                    <a:pt x="70" y="33"/>
                  </a:cubicBezTo>
                  <a:cubicBezTo>
                    <a:pt x="69" y="33"/>
                    <a:pt x="69" y="32"/>
                    <a:pt x="69" y="32"/>
                  </a:cubicBezTo>
                  <a:cubicBezTo>
                    <a:pt x="68" y="32"/>
                    <a:pt x="68" y="32"/>
                    <a:pt x="68" y="32"/>
                  </a:cubicBezTo>
                  <a:cubicBezTo>
                    <a:pt x="68" y="32"/>
                    <a:pt x="68" y="32"/>
                    <a:pt x="67" y="32"/>
                  </a:cubicBezTo>
                  <a:cubicBezTo>
                    <a:pt x="66" y="33"/>
                    <a:pt x="66" y="33"/>
                    <a:pt x="66" y="33"/>
                  </a:cubicBezTo>
                  <a:cubicBezTo>
                    <a:pt x="64" y="33"/>
                    <a:pt x="64" y="33"/>
                    <a:pt x="64" y="33"/>
                  </a:cubicBezTo>
                  <a:cubicBezTo>
                    <a:pt x="64" y="33"/>
                    <a:pt x="63" y="33"/>
                    <a:pt x="63" y="33"/>
                  </a:cubicBezTo>
                  <a:cubicBezTo>
                    <a:pt x="62" y="33"/>
                    <a:pt x="62" y="33"/>
                    <a:pt x="62" y="33"/>
                  </a:cubicBezTo>
                  <a:cubicBezTo>
                    <a:pt x="62" y="33"/>
                    <a:pt x="62" y="33"/>
                    <a:pt x="62" y="33"/>
                  </a:cubicBezTo>
                  <a:cubicBezTo>
                    <a:pt x="49" y="36"/>
                    <a:pt x="49" y="36"/>
                    <a:pt x="49" y="36"/>
                  </a:cubicBezTo>
                  <a:cubicBezTo>
                    <a:pt x="49" y="36"/>
                    <a:pt x="49" y="36"/>
                    <a:pt x="49" y="36"/>
                  </a:cubicBezTo>
                  <a:cubicBezTo>
                    <a:pt x="49" y="36"/>
                    <a:pt x="49" y="36"/>
                    <a:pt x="49" y="36"/>
                  </a:cubicBezTo>
                  <a:cubicBezTo>
                    <a:pt x="48" y="36"/>
                    <a:pt x="48" y="36"/>
                    <a:pt x="48" y="36"/>
                  </a:cubicBezTo>
                  <a:cubicBezTo>
                    <a:pt x="39" y="39"/>
                    <a:pt x="39" y="39"/>
                    <a:pt x="39" y="39"/>
                  </a:cubicBezTo>
                  <a:cubicBezTo>
                    <a:pt x="38" y="38"/>
                    <a:pt x="38" y="38"/>
                    <a:pt x="38" y="38"/>
                  </a:cubicBezTo>
                  <a:cubicBezTo>
                    <a:pt x="37" y="38"/>
                    <a:pt x="37" y="38"/>
                    <a:pt x="36" y="38"/>
                  </a:cubicBezTo>
                  <a:cubicBezTo>
                    <a:pt x="36" y="39"/>
                    <a:pt x="36" y="39"/>
                    <a:pt x="36" y="39"/>
                  </a:cubicBezTo>
                  <a:cubicBezTo>
                    <a:pt x="35" y="39"/>
                    <a:pt x="35" y="39"/>
                    <a:pt x="35" y="39"/>
                  </a:cubicBezTo>
                  <a:cubicBezTo>
                    <a:pt x="34" y="40"/>
                    <a:pt x="34" y="40"/>
                    <a:pt x="34" y="40"/>
                  </a:cubicBezTo>
                  <a:cubicBezTo>
                    <a:pt x="28" y="41"/>
                    <a:pt x="28" y="41"/>
                    <a:pt x="28" y="41"/>
                  </a:cubicBezTo>
                  <a:cubicBezTo>
                    <a:pt x="28" y="41"/>
                    <a:pt x="28" y="41"/>
                    <a:pt x="28" y="41"/>
                  </a:cubicBezTo>
                  <a:cubicBezTo>
                    <a:pt x="28" y="41"/>
                    <a:pt x="28" y="41"/>
                    <a:pt x="28" y="41"/>
                  </a:cubicBezTo>
                  <a:cubicBezTo>
                    <a:pt x="27" y="41"/>
                    <a:pt x="26" y="41"/>
                    <a:pt x="25" y="42"/>
                  </a:cubicBezTo>
                  <a:cubicBezTo>
                    <a:pt x="25" y="42"/>
                    <a:pt x="25" y="42"/>
                    <a:pt x="25" y="42"/>
                  </a:cubicBezTo>
                  <a:cubicBezTo>
                    <a:pt x="25" y="42"/>
                    <a:pt x="25" y="42"/>
                    <a:pt x="25" y="42"/>
                  </a:cubicBezTo>
                  <a:cubicBezTo>
                    <a:pt x="23" y="42"/>
                    <a:pt x="23" y="42"/>
                    <a:pt x="23" y="42"/>
                  </a:cubicBezTo>
                  <a:cubicBezTo>
                    <a:pt x="21" y="45"/>
                    <a:pt x="21" y="45"/>
                    <a:pt x="21" y="45"/>
                  </a:cubicBezTo>
                  <a:cubicBezTo>
                    <a:pt x="21" y="46"/>
                    <a:pt x="21" y="46"/>
                    <a:pt x="21" y="46"/>
                  </a:cubicBezTo>
                  <a:cubicBezTo>
                    <a:pt x="19" y="48"/>
                    <a:pt x="19" y="48"/>
                    <a:pt x="19" y="48"/>
                  </a:cubicBezTo>
                  <a:cubicBezTo>
                    <a:pt x="18" y="47"/>
                    <a:pt x="18" y="47"/>
                    <a:pt x="18" y="47"/>
                  </a:cubicBezTo>
                  <a:cubicBezTo>
                    <a:pt x="13" y="52"/>
                    <a:pt x="13" y="52"/>
                    <a:pt x="13" y="52"/>
                  </a:cubicBezTo>
                  <a:cubicBezTo>
                    <a:pt x="16" y="45"/>
                    <a:pt x="16" y="45"/>
                    <a:pt x="16" y="45"/>
                  </a:cubicBezTo>
                  <a:cubicBezTo>
                    <a:pt x="16" y="45"/>
                    <a:pt x="16" y="45"/>
                    <a:pt x="16" y="45"/>
                  </a:cubicBezTo>
                  <a:cubicBezTo>
                    <a:pt x="15" y="44"/>
                    <a:pt x="15" y="44"/>
                    <a:pt x="15" y="44"/>
                  </a:cubicBezTo>
                  <a:cubicBezTo>
                    <a:pt x="15" y="44"/>
                    <a:pt x="15" y="44"/>
                    <a:pt x="15" y="44"/>
                  </a:cubicBezTo>
                  <a:cubicBezTo>
                    <a:pt x="14" y="44"/>
                    <a:pt x="14" y="44"/>
                    <a:pt x="14" y="44"/>
                  </a:cubicBezTo>
                  <a:cubicBezTo>
                    <a:pt x="14" y="44"/>
                    <a:pt x="13" y="44"/>
                    <a:pt x="13" y="44"/>
                  </a:cubicBezTo>
                  <a:cubicBezTo>
                    <a:pt x="13" y="44"/>
                    <a:pt x="12" y="44"/>
                    <a:pt x="11" y="44"/>
                  </a:cubicBezTo>
                  <a:cubicBezTo>
                    <a:pt x="10" y="50"/>
                    <a:pt x="10" y="50"/>
                    <a:pt x="10" y="50"/>
                  </a:cubicBezTo>
                  <a:cubicBezTo>
                    <a:pt x="10" y="44"/>
                    <a:pt x="10" y="44"/>
                    <a:pt x="10" y="44"/>
                  </a:cubicBezTo>
                  <a:cubicBezTo>
                    <a:pt x="10" y="44"/>
                    <a:pt x="10" y="44"/>
                    <a:pt x="10" y="44"/>
                  </a:cubicBezTo>
                  <a:cubicBezTo>
                    <a:pt x="8" y="44"/>
                    <a:pt x="8" y="44"/>
                    <a:pt x="8" y="44"/>
                  </a:cubicBezTo>
                  <a:cubicBezTo>
                    <a:pt x="3" y="44"/>
                    <a:pt x="3" y="44"/>
                    <a:pt x="3" y="44"/>
                  </a:cubicBezTo>
                  <a:cubicBezTo>
                    <a:pt x="3" y="44"/>
                    <a:pt x="3" y="44"/>
                    <a:pt x="3" y="44"/>
                  </a:cubicBezTo>
                  <a:cubicBezTo>
                    <a:pt x="2" y="44"/>
                    <a:pt x="1" y="44"/>
                    <a:pt x="0" y="44"/>
                  </a:cubicBezTo>
                  <a:cubicBezTo>
                    <a:pt x="0" y="53"/>
                    <a:pt x="0" y="53"/>
                    <a:pt x="0" y="53"/>
                  </a:cubicBezTo>
                  <a:cubicBezTo>
                    <a:pt x="0" y="53"/>
                    <a:pt x="0" y="53"/>
                    <a:pt x="0" y="53"/>
                  </a:cubicBezTo>
                  <a:cubicBezTo>
                    <a:pt x="0" y="54"/>
                    <a:pt x="0" y="54"/>
                    <a:pt x="0" y="54"/>
                  </a:cubicBezTo>
                  <a:cubicBezTo>
                    <a:pt x="5" y="53"/>
                    <a:pt x="5" y="53"/>
                    <a:pt x="5" y="53"/>
                  </a:cubicBezTo>
                  <a:cubicBezTo>
                    <a:pt x="0" y="58"/>
                    <a:pt x="0" y="58"/>
                    <a:pt x="0" y="58"/>
                  </a:cubicBezTo>
                  <a:cubicBezTo>
                    <a:pt x="0" y="58"/>
                    <a:pt x="0" y="58"/>
                    <a:pt x="0" y="58"/>
                  </a:cubicBezTo>
                  <a:cubicBezTo>
                    <a:pt x="0" y="58"/>
                    <a:pt x="0" y="58"/>
                    <a:pt x="0" y="58"/>
                  </a:cubicBezTo>
                  <a:cubicBezTo>
                    <a:pt x="0" y="64"/>
                    <a:pt x="0" y="64"/>
                    <a:pt x="0" y="64"/>
                  </a:cubicBezTo>
                  <a:cubicBezTo>
                    <a:pt x="1" y="64"/>
                    <a:pt x="2" y="65"/>
                    <a:pt x="3" y="65"/>
                  </a:cubicBezTo>
                  <a:cubicBezTo>
                    <a:pt x="8" y="67"/>
                    <a:pt x="8" y="67"/>
                    <a:pt x="8" y="67"/>
                  </a:cubicBezTo>
                  <a:cubicBezTo>
                    <a:pt x="9" y="67"/>
                    <a:pt x="11" y="68"/>
                    <a:pt x="12" y="69"/>
                  </a:cubicBezTo>
                  <a:cubicBezTo>
                    <a:pt x="14" y="70"/>
                    <a:pt x="14" y="70"/>
                    <a:pt x="14" y="70"/>
                  </a:cubicBezTo>
                  <a:cubicBezTo>
                    <a:pt x="14" y="72"/>
                    <a:pt x="14" y="72"/>
                    <a:pt x="14" y="72"/>
                  </a:cubicBezTo>
                  <a:cubicBezTo>
                    <a:pt x="13" y="73"/>
                    <a:pt x="13" y="73"/>
                    <a:pt x="13" y="74"/>
                  </a:cubicBezTo>
                  <a:cubicBezTo>
                    <a:pt x="13" y="74"/>
                    <a:pt x="12" y="75"/>
                    <a:pt x="12" y="75"/>
                  </a:cubicBezTo>
                  <a:cubicBezTo>
                    <a:pt x="12" y="75"/>
                    <a:pt x="12" y="75"/>
                    <a:pt x="12" y="75"/>
                  </a:cubicBezTo>
                  <a:cubicBezTo>
                    <a:pt x="12" y="76"/>
                    <a:pt x="11" y="76"/>
                    <a:pt x="11" y="77"/>
                  </a:cubicBezTo>
                  <a:cubicBezTo>
                    <a:pt x="10" y="77"/>
                    <a:pt x="10" y="77"/>
                    <a:pt x="10" y="77"/>
                  </a:cubicBezTo>
                  <a:cubicBezTo>
                    <a:pt x="10" y="77"/>
                    <a:pt x="10" y="77"/>
                    <a:pt x="10" y="77"/>
                  </a:cubicBezTo>
                  <a:cubicBezTo>
                    <a:pt x="9" y="78"/>
                    <a:pt x="9" y="78"/>
                    <a:pt x="9" y="78"/>
                  </a:cubicBezTo>
                  <a:cubicBezTo>
                    <a:pt x="9" y="78"/>
                    <a:pt x="9" y="78"/>
                    <a:pt x="9" y="78"/>
                  </a:cubicBezTo>
                  <a:cubicBezTo>
                    <a:pt x="8" y="78"/>
                    <a:pt x="8" y="78"/>
                    <a:pt x="8" y="78"/>
                  </a:cubicBezTo>
                  <a:cubicBezTo>
                    <a:pt x="8" y="78"/>
                    <a:pt x="8" y="78"/>
                    <a:pt x="8" y="78"/>
                  </a:cubicBezTo>
                  <a:cubicBezTo>
                    <a:pt x="7" y="78"/>
                    <a:pt x="6" y="78"/>
                    <a:pt x="6" y="78"/>
                  </a:cubicBezTo>
                  <a:cubicBezTo>
                    <a:pt x="6" y="77"/>
                    <a:pt x="6" y="77"/>
                    <a:pt x="6" y="77"/>
                  </a:cubicBezTo>
                  <a:cubicBezTo>
                    <a:pt x="6" y="77"/>
                    <a:pt x="6" y="77"/>
                    <a:pt x="6" y="77"/>
                  </a:cubicBezTo>
                  <a:cubicBezTo>
                    <a:pt x="5" y="78"/>
                    <a:pt x="5" y="78"/>
                    <a:pt x="5" y="78"/>
                  </a:cubicBezTo>
                  <a:cubicBezTo>
                    <a:pt x="5" y="77"/>
                    <a:pt x="5" y="77"/>
                    <a:pt x="5" y="77"/>
                  </a:cubicBezTo>
                  <a:cubicBezTo>
                    <a:pt x="6" y="83"/>
                    <a:pt x="6" y="83"/>
                    <a:pt x="6" y="83"/>
                  </a:cubicBezTo>
                  <a:cubicBezTo>
                    <a:pt x="3" y="77"/>
                    <a:pt x="3" y="77"/>
                    <a:pt x="3" y="77"/>
                  </a:cubicBezTo>
                  <a:cubicBezTo>
                    <a:pt x="3" y="77"/>
                    <a:pt x="3" y="77"/>
                    <a:pt x="2" y="77"/>
                  </a:cubicBezTo>
                  <a:cubicBezTo>
                    <a:pt x="2" y="77"/>
                    <a:pt x="1" y="77"/>
                    <a:pt x="1" y="77"/>
                  </a:cubicBezTo>
                  <a:cubicBezTo>
                    <a:pt x="1" y="77"/>
                    <a:pt x="1" y="77"/>
                    <a:pt x="1" y="77"/>
                  </a:cubicBezTo>
                  <a:cubicBezTo>
                    <a:pt x="1" y="77"/>
                    <a:pt x="1" y="77"/>
                    <a:pt x="1" y="77"/>
                  </a:cubicBezTo>
                  <a:cubicBezTo>
                    <a:pt x="1" y="77"/>
                    <a:pt x="0" y="77"/>
                    <a:pt x="0" y="78"/>
                  </a:cubicBezTo>
                  <a:cubicBezTo>
                    <a:pt x="0" y="123"/>
                    <a:pt x="0" y="123"/>
                    <a:pt x="0" y="123"/>
                  </a:cubicBezTo>
                  <a:cubicBezTo>
                    <a:pt x="1" y="121"/>
                    <a:pt x="1" y="121"/>
                    <a:pt x="1" y="121"/>
                  </a:cubicBezTo>
                  <a:cubicBezTo>
                    <a:pt x="1" y="125"/>
                    <a:pt x="1" y="125"/>
                    <a:pt x="1" y="125"/>
                  </a:cubicBezTo>
                  <a:cubicBezTo>
                    <a:pt x="6" y="127"/>
                    <a:pt x="6" y="127"/>
                    <a:pt x="6" y="127"/>
                  </a:cubicBezTo>
                  <a:cubicBezTo>
                    <a:pt x="4" y="128"/>
                    <a:pt x="4" y="128"/>
                    <a:pt x="4" y="128"/>
                  </a:cubicBezTo>
                  <a:cubicBezTo>
                    <a:pt x="11" y="133"/>
                    <a:pt x="11" y="133"/>
                    <a:pt x="11" y="133"/>
                  </a:cubicBezTo>
                  <a:cubicBezTo>
                    <a:pt x="2" y="131"/>
                    <a:pt x="2" y="131"/>
                    <a:pt x="2" y="131"/>
                  </a:cubicBezTo>
                  <a:cubicBezTo>
                    <a:pt x="1" y="132"/>
                    <a:pt x="1" y="132"/>
                    <a:pt x="1" y="132"/>
                  </a:cubicBezTo>
                  <a:cubicBezTo>
                    <a:pt x="1" y="132"/>
                    <a:pt x="0" y="133"/>
                    <a:pt x="0" y="134"/>
                  </a:cubicBezTo>
                  <a:cubicBezTo>
                    <a:pt x="0" y="348"/>
                    <a:pt x="0" y="348"/>
                    <a:pt x="0" y="348"/>
                  </a:cubicBezTo>
                  <a:cubicBezTo>
                    <a:pt x="1" y="349"/>
                    <a:pt x="3" y="351"/>
                    <a:pt x="4" y="352"/>
                  </a:cubicBezTo>
                  <a:cubicBezTo>
                    <a:pt x="5" y="353"/>
                    <a:pt x="5" y="353"/>
                    <a:pt x="6" y="354"/>
                  </a:cubicBezTo>
                  <a:cubicBezTo>
                    <a:pt x="6" y="354"/>
                    <a:pt x="6" y="354"/>
                    <a:pt x="6" y="354"/>
                  </a:cubicBezTo>
                  <a:cubicBezTo>
                    <a:pt x="7" y="355"/>
                    <a:pt x="7" y="355"/>
                    <a:pt x="8" y="356"/>
                  </a:cubicBezTo>
                  <a:cubicBezTo>
                    <a:pt x="9" y="357"/>
                    <a:pt x="9" y="357"/>
                    <a:pt x="9" y="357"/>
                  </a:cubicBezTo>
                  <a:cubicBezTo>
                    <a:pt x="10" y="357"/>
                    <a:pt x="10" y="357"/>
                    <a:pt x="11" y="357"/>
                  </a:cubicBezTo>
                  <a:cubicBezTo>
                    <a:pt x="11" y="357"/>
                    <a:pt x="11" y="357"/>
                    <a:pt x="11" y="357"/>
                  </a:cubicBezTo>
                  <a:cubicBezTo>
                    <a:pt x="14" y="357"/>
                    <a:pt x="18" y="356"/>
                    <a:pt x="21" y="355"/>
                  </a:cubicBezTo>
                  <a:cubicBezTo>
                    <a:pt x="26" y="355"/>
                    <a:pt x="31" y="354"/>
                    <a:pt x="36" y="353"/>
                  </a:cubicBezTo>
                  <a:cubicBezTo>
                    <a:pt x="37" y="353"/>
                    <a:pt x="38" y="353"/>
                    <a:pt x="39" y="353"/>
                  </a:cubicBezTo>
                  <a:cubicBezTo>
                    <a:pt x="43" y="353"/>
                    <a:pt x="47" y="353"/>
                    <a:pt x="50" y="354"/>
                  </a:cubicBezTo>
                  <a:cubicBezTo>
                    <a:pt x="51" y="354"/>
                    <a:pt x="51" y="354"/>
                    <a:pt x="51" y="354"/>
                  </a:cubicBezTo>
                  <a:cubicBezTo>
                    <a:pt x="54" y="354"/>
                    <a:pt x="56" y="354"/>
                    <a:pt x="58" y="354"/>
                  </a:cubicBezTo>
                  <a:cubicBezTo>
                    <a:pt x="65" y="355"/>
                    <a:pt x="65" y="355"/>
                    <a:pt x="65" y="355"/>
                  </a:cubicBezTo>
                  <a:cubicBezTo>
                    <a:pt x="67" y="355"/>
                    <a:pt x="68" y="354"/>
                    <a:pt x="69" y="354"/>
                  </a:cubicBezTo>
                  <a:cubicBezTo>
                    <a:pt x="69" y="354"/>
                    <a:pt x="69" y="354"/>
                    <a:pt x="69" y="354"/>
                  </a:cubicBezTo>
                  <a:cubicBezTo>
                    <a:pt x="70" y="353"/>
                    <a:pt x="70" y="353"/>
                    <a:pt x="70" y="353"/>
                  </a:cubicBezTo>
                  <a:cubicBezTo>
                    <a:pt x="73" y="352"/>
                    <a:pt x="75" y="351"/>
                    <a:pt x="77" y="351"/>
                  </a:cubicBezTo>
                  <a:cubicBezTo>
                    <a:pt x="77" y="351"/>
                    <a:pt x="77" y="351"/>
                    <a:pt x="77" y="351"/>
                  </a:cubicBezTo>
                  <a:cubicBezTo>
                    <a:pt x="79" y="351"/>
                    <a:pt x="80" y="352"/>
                    <a:pt x="81" y="353"/>
                  </a:cubicBezTo>
                  <a:cubicBezTo>
                    <a:pt x="82" y="354"/>
                    <a:pt x="84" y="356"/>
                    <a:pt x="85" y="357"/>
                  </a:cubicBezTo>
                  <a:cubicBezTo>
                    <a:pt x="87" y="359"/>
                    <a:pt x="87" y="359"/>
                    <a:pt x="87" y="359"/>
                  </a:cubicBezTo>
                  <a:cubicBezTo>
                    <a:pt x="88" y="360"/>
                    <a:pt x="88" y="360"/>
                    <a:pt x="88" y="360"/>
                  </a:cubicBezTo>
                  <a:cubicBezTo>
                    <a:pt x="90" y="361"/>
                    <a:pt x="90" y="361"/>
                    <a:pt x="90" y="361"/>
                  </a:cubicBezTo>
                  <a:cubicBezTo>
                    <a:pt x="92" y="364"/>
                    <a:pt x="95" y="366"/>
                    <a:pt x="97" y="369"/>
                  </a:cubicBezTo>
                  <a:cubicBezTo>
                    <a:pt x="99" y="371"/>
                    <a:pt x="99" y="371"/>
                    <a:pt x="99" y="371"/>
                  </a:cubicBezTo>
                  <a:cubicBezTo>
                    <a:pt x="99" y="371"/>
                    <a:pt x="99" y="371"/>
                    <a:pt x="100" y="372"/>
                  </a:cubicBezTo>
                  <a:cubicBezTo>
                    <a:pt x="100" y="372"/>
                    <a:pt x="101" y="373"/>
                    <a:pt x="101" y="373"/>
                  </a:cubicBezTo>
                  <a:cubicBezTo>
                    <a:pt x="103" y="372"/>
                    <a:pt x="103" y="372"/>
                    <a:pt x="103" y="372"/>
                  </a:cubicBezTo>
                  <a:cubicBezTo>
                    <a:pt x="104" y="372"/>
                    <a:pt x="104" y="372"/>
                    <a:pt x="105" y="372"/>
                  </a:cubicBezTo>
                  <a:cubicBezTo>
                    <a:pt x="106" y="372"/>
                    <a:pt x="107" y="372"/>
                    <a:pt x="107" y="373"/>
                  </a:cubicBezTo>
                  <a:cubicBezTo>
                    <a:pt x="109" y="375"/>
                    <a:pt x="109" y="378"/>
                    <a:pt x="107" y="383"/>
                  </a:cubicBezTo>
                  <a:cubicBezTo>
                    <a:pt x="107" y="383"/>
                    <a:pt x="107" y="383"/>
                    <a:pt x="107" y="383"/>
                  </a:cubicBezTo>
                  <a:cubicBezTo>
                    <a:pt x="107" y="385"/>
                    <a:pt x="107" y="386"/>
                    <a:pt x="107" y="388"/>
                  </a:cubicBezTo>
                  <a:cubicBezTo>
                    <a:pt x="107" y="390"/>
                    <a:pt x="106" y="392"/>
                    <a:pt x="106" y="393"/>
                  </a:cubicBezTo>
                  <a:cubicBezTo>
                    <a:pt x="106" y="394"/>
                    <a:pt x="106" y="395"/>
                    <a:pt x="106" y="395"/>
                  </a:cubicBezTo>
                  <a:cubicBezTo>
                    <a:pt x="106" y="396"/>
                    <a:pt x="106" y="396"/>
                    <a:pt x="106" y="396"/>
                  </a:cubicBezTo>
                  <a:cubicBezTo>
                    <a:pt x="106" y="396"/>
                    <a:pt x="106" y="397"/>
                    <a:pt x="106" y="398"/>
                  </a:cubicBezTo>
                  <a:cubicBezTo>
                    <a:pt x="106" y="398"/>
                    <a:pt x="106" y="399"/>
                    <a:pt x="106" y="400"/>
                  </a:cubicBezTo>
                  <a:cubicBezTo>
                    <a:pt x="107" y="400"/>
                    <a:pt x="107" y="400"/>
                    <a:pt x="107" y="400"/>
                  </a:cubicBezTo>
                  <a:cubicBezTo>
                    <a:pt x="107" y="400"/>
                    <a:pt x="107" y="400"/>
                    <a:pt x="107" y="400"/>
                  </a:cubicBezTo>
                  <a:cubicBezTo>
                    <a:pt x="107" y="400"/>
                    <a:pt x="108" y="400"/>
                    <a:pt x="108" y="400"/>
                  </a:cubicBezTo>
                  <a:cubicBezTo>
                    <a:pt x="109" y="400"/>
                    <a:pt x="109" y="400"/>
                    <a:pt x="109" y="400"/>
                  </a:cubicBezTo>
                  <a:cubicBezTo>
                    <a:pt x="110" y="400"/>
                    <a:pt x="111" y="399"/>
                    <a:pt x="112" y="399"/>
                  </a:cubicBezTo>
                  <a:cubicBezTo>
                    <a:pt x="113" y="399"/>
                    <a:pt x="115" y="400"/>
                    <a:pt x="116" y="401"/>
                  </a:cubicBezTo>
                  <a:cubicBezTo>
                    <a:pt x="117" y="402"/>
                    <a:pt x="117" y="403"/>
                    <a:pt x="117" y="404"/>
                  </a:cubicBezTo>
                  <a:cubicBezTo>
                    <a:pt x="118" y="404"/>
                    <a:pt x="118" y="405"/>
                    <a:pt x="118" y="407"/>
                  </a:cubicBezTo>
                  <a:cubicBezTo>
                    <a:pt x="118" y="407"/>
                    <a:pt x="118" y="407"/>
                    <a:pt x="118" y="407"/>
                  </a:cubicBezTo>
                  <a:cubicBezTo>
                    <a:pt x="118" y="408"/>
                    <a:pt x="118" y="408"/>
                    <a:pt x="118" y="408"/>
                  </a:cubicBezTo>
                  <a:cubicBezTo>
                    <a:pt x="118" y="410"/>
                    <a:pt x="119" y="413"/>
                    <a:pt x="120" y="416"/>
                  </a:cubicBezTo>
                  <a:cubicBezTo>
                    <a:pt x="121" y="419"/>
                    <a:pt x="121" y="419"/>
                    <a:pt x="121" y="419"/>
                  </a:cubicBezTo>
                  <a:cubicBezTo>
                    <a:pt x="121" y="421"/>
                    <a:pt x="121" y="421"/>
                    <a:pt x="121" y="421"/>
                  </a:cubicBezTo>
                  <a:cubicBezTo>
                    <a:pt x="122" y="423"/>
                    <a:pt x="122" y="423"/>
                    <a:pt x="122" y="423"/>
                  </a:cubicBezTo>
                  <a:cubicBezTo>
                    <a:pt x="140" y="423"/>
                    <a:pt x="140" y="423"/>
                    <a:pt x="140" y="423"/>
                  </a:cubicBezTo>
                  <a:cubicBezTo>
                    <a:pt x="141" y="423"/>
                    <a:pt x="141" y="423"/>
                    <a:pt x="142" y="423"/>
                  </a:cubicBezTo>
                  <a:cubicBezTo>
                    <a:pt x="143" y="423"/>
                    <a:pt x="144" y="422"/>
                    <a:pt x="145" y="422"/>
                  </a:cubicBezTo>
                  <a:cubicBezTo>
                    <a:pt x="146" y="422"/>
                    <a:pt x="147" y="422"/>
                    <a:pt x="147" y="423"/>
                  </a:cubicBezTo>
                  <a:cubicBezTo>
                    <a:pt x="147" y="423"/>
                    <a:pt x="147" y="423"/>
                    <a:pt x="147" y="423"/>
                  </a:cubicBezTo>
                  <a:cubicBezTo>
                    <a:pt x="148" y="423"/>
                    <a:pt x="148" y="423"/>
                    <a:pt x="149" y="423"/>
                  </a:cubicBezTo>
                  <a:cubicBezTo>
                    <a:pt x="149" y="423"/>
                    <a:pt x="149" y="423"/>
                    <a:pt x="149" y="423"/>
                  </a:cubicBezTo>
                  <a:cubicBezTo>
                    <a:pt x="150" y="424"/>
                    <a:pt x="150" y="424"/>
                    <a:pt x="150" y="424"/>
                  </a:cubicBezTo>
                  <a:cubicBezTo>
                    <a:pt x="150" y="424"/>
                    <a:pt x="150" y="424"/>
                    <a:pt x="150" y="424"/>
                  </a:cubicBezTo>
                  <a:cubicBezTo>
                    <a:pt x="151" y="425"/>
                    <a:pt x="151" y="425"/>
                    <a:pt x="151" y="425"/>
                  </a:cubicBezTo>
                  <a:cubicBezTo>
                    <a:pt x="151" y="425"/>
                    <a:pt x="151" y="425"/>
                    <a:pt x="151" y="425"/>
                  </a:cubicBezTo>
                  <a:cubicBezTo>
                    <a:pt x="152" y="426"/>
                    <a:pt x="153" y="426"/>
                    <a:pt x="153" y="427"/>
                  </a:cubicBezTo>
                  <a:cubicBezTo>
                    <a:pt x="154" y="427"/>
                    <a:pt x="155" y="428"/>
                    <a:pt x="155" y="429"/>
                  </a:cubicBezTo>
                  <a:cubicBezTo>
                    <a:pt x="155" y="430"/>
                    <a:pt x="155" y="430"/>
                    <a:pt x="155" y="430"/>
                  </a:cubicBezTo>
                  <a:cubicBezTo>
                    <a:pt x="155" y="432"/>
                    <a:pt x="155" y="434"/>
                    <a:pt x="154" y="435"/>
                  </a:cubicBezTo>
                  <a:cubicBezTo>
                    <a:pt x="156" y="437"/>
                    <a:pt x="158" y="438"/>
                    <a:pt x="161" y="439"/>
                  </a:cubicBezTo>
                  <a:cubicBezTo>
                    <a:pt x="161" y="439"/>
                    <a:pt x="161" y="439"/>
                    <a:pt x="161" y="439"/>
                  </a:cubicBezTo>
                  <a:cubicBezTo>
                    <a:pt x="161" y="438"/>
                    <a:pt x="161" y="437"/>
                    <a:pt x="161" y="437"/>
                  </a:cubicBezTo>
                  <a:cubicBezTo>
                    <a:pt x="161" y="434"/>
                    <a:pt x="161" y="434"/>
                    <a:pt x="161" y="434"/>
                  </a:cubicBezTo>
                  <a:cubicBezTo>
                    <a:pt x="162" y="430"/>
                    <a:pt x="165" y="427"/>
                    <a:pt x="168" y="425"/>
                  </a:cubicBezTo>
                  <a:cubicBezTo>
                    <a:pt x="169" y="425"/>
                    <a:pt x="170" y="424"/>
                    <a:pt x="170" y="424"/>
                  </a:cubicBezTo>
                  <a:cubicBezTo>
                    <a:pt x="171" y="423"/>
                    <a:pt x="171" y="423"/>
                    <a:pt x="171" y="423"/>
                  </a:cubicBezTo>
                  <a:cubicBezTo>
                    <a:pt x="171" y="423"/>
                    <a:pt x="171" y="423"/>
                    <a:pt x="171" y="423"/>
                  </a:cubicBezTo>
                  <a:cubicBezTo>
                    <a:pt x="172" y="422"/>
                    <a:pt x="172" y="422"/>
                    <a:pt x="172" y="422"/>
                  </a:cubicBezTo>
                  <a:cubicBezTo>
                    <a:pt x="173" y="421"/>
                    <a:pt x="174" y="419"/>
                    <a:pt x="176" y="418"/>
                  </a:cubicBezTo>
                  <a:cubicBezTo>
                    <a:pt x="176" y="418"/>
                    <a:pt x="176" y="418"/>
                    <a:pt x="176" y="418"/>
                  </a:cubicBezTo>
                  <a:cubicBezTo>
                    <a:pt x="177" y="417"/>
                    <a:pt x="177" y="417"/>
                    <a:pt x="177" y="417"/>
                  </a:cubicBezTo>
                  <a:cubicBezTo>
                    <a:pt x="179" y="416"/>
                    <a:pt x="181" y="414"/>
                    <a:pt x="183" y="413"/>
                  </a:cubicBezTo>
                  <a:cubicBezTo>
                    <a:pt x="187" y="410"/>
                    <a:pt x="190" y="408"/>
                    <a:pt x="194" y="406"/>
                  </a:cubicBezTo>
                  <a:cubicBezTo>
                    <a:pt x="214" y="395"/>
                    <a:pt x="214" y="395"/>
                    <a:pt x="214" y="395"/>
                  </a:cubicBezTo>
                  <a:cubicBezTo>
                    <a:pt x="214" y="394"/>
                    <a:pt x="214" y="393"/>
                    <a:pt x="215" y="393"/>
                  </a:cubicBezTo>
                  <a:cubicBezTo>
                    <a:pt x="215" y="391"/>
                    <a:pt x="216" y="390"/>
                    <a:pt x="216" y="390"/>
                  </a:cubicBezTo>
                  <a:cubicBezTo>
                    <a:pt x="217" y="389"/>
                    <a:pt x="219" y="387"/>
                    <a:pt x="220" y="386"/>
                  </a:cubicBezTo>
                  <a:cubicBezTo>
                    <a:pt x="221" y="385"/>
                    <a:pt x="221" y="385"/>
                    <a:pt x="221" y="385"/>
                  </a:cubicBezTo>
                  <a:cubicBezTo>
                    <a:pt x="221" y="385"/>
                    <a:pt x="222" y="384"/>
                    <a:pt x="222" y="384"/>
                  </a:cubicBezTo>
                  <a:cubicBezTo>
                    <a:pt x="223" y="382"/>
                    <a:pt x="224" y="381"/>
                    <a:pt x="226" y="380"/>
                  </a:cubicBezTo>
                  <a:cubicBezTo>
                    <a:pt x="226" y="380"/>
                    <a:pt x="227" y="379"/>
                    <a:pt x="227" y="379"/>
                  </a:cubicBezTo>
                  <a:cubicBezTo>
                    <a:pt x="228" y="379"/>
                    <a:pt x="229" y="378"/>
                    <a:pt x="230" y="378"/>
                  </a:cubicBezTo>
                  <a:cubicBezTo>
                    <a:pt x="231" y="378"/>
                    <a:pt x="232" y="378"/>
                    <a:pt x="232" y="379"/>
                  </a:cubicBezTo>
                  <a:cubicBezTo>
                    <a:pt x="233" y="379"/>
                    <a:pt x="233" y="379"/>
                    <a:pt x="233" y="379"/>
                  </a:cubicBezTo>
                  <a:cubicBezTo>
                    <a:pt x="233" y="379"/>
                    <a:pt x="234" y="379"/>
                    <a:pt x="234" y="379"/>
                  </a:cubicBezTo>
                  <a:cubicBezTo>
                    <a:pt x="246" y="378"/>
                    <a:pt x="246" y="378"/>
                    <a:pt x="246" y="378"/>
                  </a:cubicBezTo>
                  <a:cubicBezTo>
                    <a:pt x="246" y="378"/>
                    <a:pt x="246" y="378"/>
                    <a:pt x="246" y="378"/>
                  </a:cubicBezTo>
                  <a:cubicBezTo>
                    <a:pt x="249" y="378"/>
                    <a:pt x="251" y="379"/>
                    <a:pt x="254" y="380"/>
                  </a:cubicBezTo>
                  <a:cubicBezTo>
                    <a:pt x="259" y="381"/>
                    <a:pt x="265" y="383"/>
                    <a:pt x="270" y="385"/>
                  </a:cubicBezTo>
                  <a:cubicBezTo>
                    <a:pt x="273" y="386"/>
                    <a:pt x="273" y="386"/>
                    <a:pt x="273" y="386"/>
                  </a:cubicBezTo>
                  <a:cubicBezTo>
                    <a:pt x="274" y="386"/>
                    <a:pt x="274" y="386"/>
                    <a:pt x="275" y="386"/>
                  </a:cubicBezTo>
                  <a:cubicBezTo>
                    <a:pt x="274" y="380"/>
                    <a:pt x="276" y="372"/>
                    <a:pt x="283" y="369"/>
                  </a:cubicBezTo>
                  <a:cubicBezTo>
                    <a:pt x="281" y="363"/>
                    <a:pt x="281" y="363"/>
                    <a:pt x="281" y="363"/>
                  </a:cubicBezTo>
                  <a:cubicBezTo>
                    <a:pt x="285" y="368"/>
                    <a:pt x="285" y="368"/>
                    <a:pt x="285" y="368"/>
                  </a:cubicBezTo>
                  <a:cubicBezTo>
                    <a:pt x="287" y="367"/>
                    <a:pt x="290" y="366"/>
                    <a:pt x="293" y="366"/>
                  </a:cubicBezTo>
                  <a:cubicBezTo>
                    <a:pt x="294" y="366"/>
                    <a:pt x="294" y="366"/>
                    <a:pt x="294" y="366"/>
                  </a:cubicBezTo>
                  <a:cubicBezTo>
                    <a:pt x="295" y="366"/>
                    <a:pt x="295" y="366"/>
                    <a:pt x="296" y="366"/>
                  </a:cubicBezTo>
                  <a:cubicBezTo>
                    <a:pt x="298" y="366"/>
                    <a:pt x="301" y="367"/>
                    <a:pt x="303" y="368"/>
                  </a:cubicBezTo>
                  <a:cubicBezTo>
                    <a:pt x="305" y="369"/>
                    <a:pt x="306" y="370"/>
                    <a:pt x="307" y="370"/>
                  </a:cubicBezTo>
                  <a:cubicBezTo>
                    <a:pt x="308" y="371"/>
                    <a:pt x="308" y="371"/>
                    <a:pt x="308" y="371"/>
                  </a:cubicBezTo>
                  <a:cubicBezTo>
                    <a:pt x="308" y="371"/>
                    <a:pt x="308" y="371"/>
                    <a:pt x="308" y="371"/>
                  </a:cubicBezTo>
                  <a:cubicBezTo>
                    <a:pt x="310" y="372"/>
                    <a:pt x="311" y="372"/>
                    <a:pt x="312" y="373"/>
                  </a:cubicBezTo>
                  <a:cubicBezTo>
                    <a:pt x="313" y="373"/>
                    <a:pt x="313" y="373"/>
                    <a:pt x="313" y="373"/>
                  </a:cubicBezTo>
                  <a:cubicBezTo>
                    <a:pt x="314" y="374"/>
                    <a:pt x="315" y="374"/>
                    <a:pt x="316" y="374"/>
                  </a:cubicBezTo>
                  <a:cubicBezTo>
                    <a:pt x="317" y="375"/>
                    <a:pt x="317" y="375"/>
                    <a:pt x="317" y="375"/>
                  </a:cubicBezTo>
                  <a:cubicBezTo>
                    <a:pt x="318" y="375"/>
                    <a:pt x="319" y="375"/>
                    <a:pt x="320" y="375"/>
                  </a:cubicBezTo>
                  <a:cubicBezTo>
                    <a:pt x="322" y="376"/>
                    <a:pt x="322" y="376"/>
                    <a:pt x="322" y="376"/>
                  </a:cubicBezTo>
                  <a:cubicBezTo>
                    <a:pt x="322" y="376"/>
                    <a:pt x="322" y="376"/>
                    <a:pt x="323" y="376"/>
                  </a:cubicBezTo>
                  <a:cubicBezTo>
                    <a:pt x="323" y="376"/>
                    <a:pt x="323" y="376"/>
                    <a:pt x="323" y="376"/>
                  </a:cubicBezTo>
                  <a:cubicBezTo>
                    <a:pt x="324" y="376"/>
                    <a:pt x="324" y="376"/>
                    <a:pt x="325" y="375"/>
                  </a:cubicBezTo>
                  <a:cubicBezTo>
                    <a:pt x="326" y="375"/>
                    <a:pt x="326" y="375"/>
                    <a:pt x="326" y="375"/>
                  </a:cubicBezTo>
                  <a:cubicBezTo>
                    <a:pt x="327" y="375"/>
                    <a:pt x="328" y="375"/>
                    <a:pt x="329" y="374"/>
                  </a:cubicBezTo>
                  <a:cubicBezTo>
                    <a:pt x="329" y="374"/>
                    <a:pt x="331" y="374"/>
                    <a:pt x="332" y="373"/>
                  </a:cubicBezTo>
                  <a:cubicBezTo>
                    <a:pt x="333" y="373"/>
                    <a:pt x="333" y="373"/>
                    <a:pt x="333" y="373"/>
                  </a:cubicBezTo>
                  <a:cubicBezTo>
                    <a:pt x="333" y="373"/>
                    <a:pt x="334" y="373"/>
                    <a:pt x="334" y="373"/>
                  </a:cubicBezTo>
                  <a:cubicBezTo>
                    <a:pt x="336" y="373"/>
                    <a:pt x="337" y="373"/>
                    <a:pt x="339" y="373"/>
                  </a:cubicBezTo>
                  <a:cubicBezTo>
                    <a:pt x="342" y="373"/>
                    <a:pt x="344" y="373"/>
                    <a:pt x="347" y="373"/>
                  </a:cubicBezTo>
                  <a:cubicBezTo>
                    <a:pt x="347" y="373"/>
                    <a:pt x="347" y="373"/>
                    <a:pt x="347" y="373"/>
                  </a:cubicBezTo>
                  <a:cubicBezTo>
                    <a:pt x="349" y="373"/>
                    <a:pt x="351" y="374"/>
                    <a:pt x="353" y="374"/>
                  </a:cubicBezTo>
                  <a:cubicBezTo>
                    <a:pt x="355" y="374"/>
                    <a:pt x="355" y="374"/>
                    <a:pt x="355" y="374"/>
                  </a:cubicBezTo>
                  <a:cubicBezTo>
                    <a:pt x="360" y="374"/>
                    <a:pt x="365" y="374"/>
                    <a:pt x="370" y="374"/>
                  </a:cubicBezTo>
                  <a:cubicBezTo>
                    <a:pt x="370" y="370"/>
                    <a:pt x="370" y="370"/>
                    <a:pt x="370" y="370"/>
                  </a:cubicBezTo>
                  <a:cubicBezTo>
                    <a:pt x="371" y="374"/>
                    <a:pt x="371" y="374"/>
                    <a:pt x="371" y="374"/>
                  </a:cubicBezTo>
                  <a:cubicBezTo>
                    <a:pt x="372" y="374"/>
                    <a:pt x="372" y="374"/>
                    <a:pt x="372" y="374"/>
                  </a:cubicBezTo>
                  <a:cubicBezTo>
                    <a:pt x="373" y="374"/>
                    <a:pt x="375" y="374"/>
                    <a:pt x="377" y="374"/>
                  </a:cubicBezTo>
                  <a:cubicBezTo>
                    <a:pt x="381" y="375"/>
                    <a:pt x="385" y="375"/>
                    <a:pt x="389" y="375"/>
                  </a:cubicBezTo>
                  <a:cubicBezTo>
                    <a:pt x="390" y="375"/>
                    <a:pt x="391" y="375"/>
                    <a:pt x="392" y="375"/>
                  </a:cubicBezTo>
                  <a:cubicBezTo>
                    <a:pt x="393" y="375"/>
                    <a:pt x="393" y="375"/>
                    <a:pt x="393" y="375"/>
                  </a:cubicBezTo>
                  <a:cubicBezTo>
                    <a:pt x="393" y="375"/>
                    <a:pt x="394" y="375"/>
                    <a:pt x="394" y="375"/>
                  </a:cubicBezTo>
                  <a:cubicBezTo>
                    <a:pt x="395" y="375"/>
                    <a:pt x="395" y="375"/>
                    <a:pt x="396" y="375"/>
                  </a:cubicBezTo>
                  <a:cubicBezTo>
                    <a:pt x="397" y="375"/>
                    <a:pt x="398" y="375"/>
                    <a:pt x="399" y="375"/>
                  </a:cubicBezTo>
                  <a:cubicBezTo>
                    <a:pt x="400" y="376"/>
                    <a:pt x="401" y="376"/>
                    <a:pt x="402" y="377"/>
                  </a:cubicBezTo>
                  <a:cubicBezTo>
                    <a:pt x="404" y="377"/>
                    <a:pt x="404" y="377"/>
                    <a:pt x="404" y="377"/>
                  </a:cubicBezTo>
                  <a:cubicBezTo>
                    <a:pt x="405" y="377"/>
                    <a:pt x="406" y="378"/>
                    <a:pt x="407" y="378"/>
                  </a:cubicBezTo>
                  <a:cubicBezTo>
                    <a:pt x="408" y="378"/>
                    <a:pt x="408" y="378"/>
                    <a:pt x="408" y="378"/>
                  </a:cubicBezTo>
                  <a:cubicBezTo>
                    <a:pt x="409" y="377"/>
                    <a:pt x="410" y="377"/>
                    <a:pt x="410" y="377"/>
                  </a:cubicBezTo>
                  <a:cubicBezTo>
                    <a:pt x="411" y="377"/>
                    <a:pt x="411" y="377"/>
                    <a:pt x="411" y="377"/>
                  </a:cubicBezTo>
                  <a:cubicBezTo>
                    <a:pt x="412" y="377"/>
                    <a:pt x="412" y="377"/>
                    <a:pt x="412" y="377"/>
                  </a:cubicBezTo>
                  <a:cubicBezTo>
                    <a:pt x="415" y="378"/>
                    <a:pt x="417" y="381"/>
                    <a:pt x="418" y="384"/>
                  </a:cubicBezTo>
                  <a:cubicBezTo>
                    <a:pt x="419" y="385"/>
                    <a:pt x="419" y="385"/>
                    <a:pt x="419" y="385"/>
                  </a:cubicBezTo>
                  <a:cubicBezTo>
                    <a:pt x="420" y="386"/>
                    <a:pt x="421" y="387"/>
                    <a:pt x="423" y="387"/>
                  </a:cubicBezTo>
                  <a:cubicBezTo>
                    <a:pt x="424" y="387"/>
                    <a:pt x="424" y="387"/>
                    <a:pt x="424" y="387"/>
                  </a:cubicBezTo>
                  <a:cubicBezTo>
                    <a:pt x="424" y="387"/>
                    <a:pt x="425" y="387"/>
                    <a:pt x="426" y="387"/>
                  </a:cubicBezTo>
                  <a:cubicBezTo>
                    <a:pt x="427" y="387"/>
                    <a:pt x="427" y="387"/>
                    <a:pt x="427" y="387"/>
                  </a:cubicBezTo>
                  <a:cubicBezTo>
                    <a:pt x="428" y="387"/>
                    <a:pt x="429" y="388"/>
                    <a:pt x="430" y="388"/>
                  </a:cubicBezTo>
                  <a:cubicBezTo>
                    <a:pt x="431" y="389"/>
                    <a:pt x="432" y="389"/>
                    <a:pt x="433" y="390"/>
                  </a:cubicBezTo>
                  <a:cubicBezTo>
                    <a:pt x="434" y="390"/>
                    <a:pt x="434" y="390"/>
                    <a:pt x="434" y="390"/>
                  </a:cubicBezTo>
                  <a:cubicBezTo>
                    <a:pt x="434" y="389"/>
                    <a:pt x="434" y="389"/>
                    <a:pt x="434" y="389"/>
                  </a:cubicBezTo>
                  <a:cubicBezTo>
                    <a:pt x="433" y="388"/>
                    <a:pt x="433" y="388"/>
                    <a:pt x="433" y="388"/>
                  </a:cubicBezTo>
                  <a:cubicBezTo>
                    <a:pt x="433" y="385"/>
                    <a:pt x="433" y="382"/>
                    <a:pt x="434" y="379"/>
                  </a:cubicBezTo>
                  <a:cubicBezTo>
                    <a:pt x="435" y="377"/>
                    <a:pt x="437" y="377"/>
                    <a:pt x="438" y="376"/>
                  </a:cubicBezTo>
                  <a:cubicBezTo>
                    <a:pt x="439" y="376"/>
                    <a:pt x="439" y="376"/>
                    <a:pt x="439" y="376"/>
                  </a:cubicBezTo>
                  <a:cubicBezTo>
                    <a:pt x="437" y="375"/>
                    <a:pt x="437" y="373"/>
                    <a:pt x="438" y="372"/>
                  </a:cubicBezTo>
                  <a:cubicBezTo>
                    <a:pt x="439" y="369"/>
                    <a:pt x="443" y="369"/>
                    <a:pt x="446" y="368"/>
                  </a:cubicBezTo>
                  <a:cubicBezTo>
                    <a:pt x="446" y="368"/>
                    <a:pt x="447" y="368"/>
                    <a:pt x="447" y="368"/>
                  </a:cubicBezTo>
                  <a:cubicBezTo>
                    <a:pt x="447" y="366"/>
                    <a:pt x="446" y="364"/>
                    <a:pt x="446" y="364"/>
                  </a:cubicBezTo>
                  <a:cubicBezTo>
                    <a:pt x="446" y="363"/>
                    <a:pt x="446" y="363"/>
                    <a:pt x="446" y="363"/>
                  </a:cubicBezTo>
                  <a:cubicBezTo>
                    <a:pt x="446" y="362"/>
                    <a:pt x="446" y="362"/>
                    <a:pt x="446" y="362"/>
                  </a:cubicBezTo>
                  <a:cubicBezTo>
                    <a:pt x="446" y="361"/>
                    <a:pt x="445" y="361"/>
                    <a:pt x="445" y="360"/>
                  </a:cubicBezTo>
                  <a:cubicBezTo>
                    <a:pt x="445" y="359"/>
                    <a:pt x="445" y="359"/>
                    <a:pt x="445" y="359"/>
                  </a:cubicBezTo>
                  <a:cubicBezTo>
                    <a:pt x="444" y="357"/>
                    <a:pt x="443" y="355"/>
                    <a:pt x="442" y="353"/>
                  </a:cubicBezTo>
                  <a:cubicBezTo>
                    <a:pt x="441" y="352"/>
                    <a:pt x="441" y="350"/>
                    <a:pt x="440" y="349"/>
                  </a:cubicBezTo>
                  <a:cubicBezTo>
                    <a:pt x="439" y="346"/>
                    <a:pt x="438" y="343"/>
                    <a:pt x="438" y="339"/>
                  </a:cubicBezTo>
                  <a:cubicBezTo>
                    <a:pt x="437" y="337"/>
                    <a:pt x="437" y="337"/>
                    <a:pt x="437" y="337"/>
                  </a:cubicBezTo>
                  <a:cubicBezTo>
                    <a:pt x="437" y="334"/>
                    <a:pt x="436" y="330"/>
                    <a:pt x="437" y="327"/>
                  </a:cubicBezTo>
                  <a:cubicBezTo>
                    <a:pt x="438" y="326"/>
                    <a:pt x="438" y="326"/>
                    <a:pt x="438" y="325"/>
                  </a:cubicBezTo>
                  <a:cubicBezTo>
                    <a:pt x="437" y="325"/>
                    <a:pt x="437" y="325"/>
                    <a:pt x="436" y="325"/>
                  </a:cubicBezTo>
                  <a:cubicBezTo>
                    <a:pt x="436" y="325"/>
                    <a:pt x="435" y="325"/>
                    <a:pt x="435" y="325"/>
                  </a:cubicBezTo>
                  <a:cubicBezTo>
                    <a:pt x="434" y="325"/>
                    <a:pt x="433" y="326"/>
                    <a:pt x="432" y="326"/>
                  </a:cubicBezTo>
                  <a:cubicBezTo>
                    <a:pt x="431" y="326"/>
                    <a:pt x="430" y="325"/>
                    <a:pt x="428" y="324"/>
                  </a:cubicBezTo>
                  <a:cubicBezTo>
                    <a:pt x="428" y="323"/>
                    <a:pt x="428" y="323"/>
                    <a:pt x="428" y="323"/>
                  </a:cubicBezTo>
                  <a:cubicBezTo>
                    <a:pt x="427" y="322"/>
                    <a:pt x="425" y="320"/>
                    <a:pt x="427" y="318"/>
                  </a:cubicBezTo>
                  <a:cubicBezTo>
                    <a:pt x="429" y="314"/>
                    <a:pt x="432" y="314"/>
                    <a:pt x="435" y="313"/>
                  </a:cubicBezTo>
                  <a:cubicBezTo>
                    <a:pt x="436" y="313"/>
                    <a:pt x="436" y="313"/>
                    <a:pt x="436" y="313"/>
                  </a:cubicBezTo>
                  <a:cubicBezTo>
                    <a:pt x="440" y="312"/>
                    <a:pt x="445" y="310"/>
                    <a:pt x="450" y="309"/>
                  </a:cubicBezTo>
                  <a:cubicBezTo>
                    <a:pt x="464" y="305"/>
                    <a:pt x="464" y="305"/>
                    <a:pt x="464" y="305"/>
                  </a:cubicBezTo>
                  <a:cubicBezTo>
                    <a:pt x="464" y="305"/>
                    <a:pt x="465" y="305"/>
                    <a:pt x="465" y="305"/>
                  </a:cubicBezTo>
                  <a:cubicBezTo>
                    <a:pt x="466" y="305"/>
                    <a:pt x="466" y="305"/>
                    <a:pt x="466" y="305"/>
                  </a:cubicBezTo>
                  <a:cubicBezTo>
                    <a:pt x="468" y="304"/>
                    <a:pt x="470" y="304"/>
                    <a:pt x="471" y="304"/>
                  </a:cubicBezTo>
                  <a:cubicBezTo>
                    <a:pt x="472" y="304"/>
                    <a:pt x="472" y="304"/>
                    <a:pt x="473" y="304"/>
                  </a:cubicBezTo>
                  <a:cubicBezTo>
                    <a:pt x="476" y="305"/>
                    <a:pt x="476" y="307"/>
                    <a:pt x="476" y="308"/>
                  </a:cubicBezTo>
                  <a:cubicBezTo>
                    <a:pt x="476" y="308"/>
                    <a:pt x="476" y="308"/>
                    <a:pt x="476" y="308"/>
                  </a:cubicBezTo>
                  <a:cubicBezTo>
                    <a:pt x="477" y="308"/>
                    <a:pt x="477" y="308"/>
                    <a:pt x="478" y="308"/>
                  </a:cubicBezTo>
                  <a:cubicBezTo>
                    <a:pt x="479" y="308"/>
                    <a:pt x="480" y="308"/>
                    <a:pt x="481" y="308"/>
                  </a:cubicBezTo>
                  <a:cubicBezTo>
                    <a:pt x="482" y="308"/>
                    <a:pt x="482" y="308"/>
                    <a:pt x="483" y="308"/>
                  </a:cubicBezTo>
                  <a:cubicBezTo>
                    <a:pt x="485" y="308"/>
                    <a:pt x="485" y="308"/>
                    <a:pt x="485" y="308"/>
                  </a:cubicBezTo>
                  <a:cubicBezTo>
                    <a:pt x="486" y="308"/>
                    <a:pt x="487" y="308"/>
                    <a:pt x="488" y="308"/>
                  </a:cubicBezTo>
                  <a:cubicBezTo>
                    <a:pt x="489" y="308"/>
                    <a:pt x="490" y="308"/>
                    <a:pt x="490" y="308"/>
                  </a:cubicBezTo>
                  <a:cubicBezTo>
                    <a:pt x="491" y="307"/>
                    <a:pt x="491" y="306"/>
                    <a:pt x="491" y="306"/>
                  </a:cubicBezTo>
                  <a:cubicBezTo>
                    <a:pt x="490" y="306"/>
                    <a:pt x="490" y="305"/>
                    <a:pt x="489" y="305"/>
                  </a:cubicBezTo>
                  <a:cubicBezTo>
                    <a:pt x="489" y="305"/>
                    <a:pt x="489" y="305"/>
                    <a:pt x="489" y="305"/>
                  </a:cubicBezTo>
                  <a:cubicBezTo>
                    <a:pt x="487" y="305"/>
                    <a:pt x="484" y="304"/>
                    <a:pt x="483" y="302"/>
                  </a:cubicBezTo>
                  <a:cubicBezTo>
                    <a:pt x="483" y="302"/>
                    <a:pt x="483" y="301"/>
                    <a:pt x="483" y="300"/>
                  </a:cubicBezTo>
                  <a:cubicBezTo>
                    <a:pt x="499" y="254"/>
                    <a:pt x="499" y="254"/>
                    <a:pt x="499" y="254"/>
                  </a:cubicBezTo>
                  <a:cubicBezTo>
                    <a:pt x="500" y="251"/>
                    <a:pt x="501" y="248"/>
                    <a:pt x="505" y="248"/>
                  </a:cubicBezTo>
                  <a:cubicBezTo>
                    <a:pt x="505" y="248"/>
                    <a:pt x="506" y="248"/>
                    <a:pt x="506" y="249"/>
                  </a:cubicBezTo>
                  <a:cubicBezTo>
                    <a:pt x="509" y="249"/>
                    <a:pt x="511" y="250"/>
                    <a:pt x="513" y="252"/>
                  </a:cubicBezTo>
                  <a:cubicBezTo>
                    <a:pt x="515" y="252"/>
                    <a:pt x="515" y="252"/>
                    <a:pt x="515" y="252"/>
                  </a:cubicBezTo>
                  <a:cubicBezTo>
                    <a:pt x="518" y="255"/>
                    <a:pt x="523" y="256"/>
                    <a:pt x="526" y="256"/>
                  </a:cubicBezTo>
                  <a:cubicBezTo>
                    <a:pt x="527" y="256"/>
                    <a:pt x="527" y="256"/>
                    <a:pt x="527" y="256"/>
                  </a:cubicBezTo>
                  <a:cubicBezTo>
                    <a:pt x="529" y="255"/>
                    <a:pt x="531" y="255"/>
                    <a:pt x="533" y="255"/>
                  </a:cubicBezTo>
                  <a:cubicBezTo>
                    <a:pt x="538" y="255"/>
                    <a:pt x="542" y="256"/>
                    <a:pt x="544" y="257"/>
                  </a:cubicBezTo>
                  <a:cubicBezTo>
                    <a:pt x="545" y="257"/>
                    <a:pt x="546" y="257"/>
                    <a:pt x="547" y="257"/>
                  </a:cubicBezTo>
                  <a:cubicBezTo>
                    <a:pt x="549" y="257"/>
                    <a:pt x="551" y="257"/>
                    <a:pt x="554" y="255"/>
                  </a:cubicBezTo>
                  <a:cubicBezTo>
                    <a:pt x="555" y="254"/>
                    <a:pt x="555" y="254"/>
                    <a:pt x="555" y="254"/>
                  </a:cubicBezTo>
                  <a:cubicBezTo>
                    <a:pt x="561" y="252"/>
                    <a:pt x="563" y="250"/>
                    <a:pt x="562" y="247"/>
                  </a:cubicBezTo>
                  <a:cubicBezTo>
                    <a:pt x="562" y="244"/>
                    <a:pt x="562" y="241"/>
                    <a:pt x="561" y="237"/>
                  </a:cubicBezTo>
                  <a:cubicBezTo>
                    <a:pt x="560" y="234"/>
                    <a:pt x="560" y="232"/>
                    <a:pt x="560" y="229"/>
                  </a:cubicBezTo>
                  <a:cubicBezTo>
                    <a:pt x="559" y="225"/>
                    <a:pt x="563" y="215"/>
                    <a:pt x="568" y="213"/>
                  </a:cubicBezTo>
                  <a:cubicBezTo>
                    <a:pt x="569" y="212"/>
                    <a:pt x="571" y="212"/>
                    <a:pt x="572" y="212"/>
                  </a:cubicBezTo>
                  <a:cubicBezTo>
                    <a:pt x="573" y="212"/>
                    <a:pt x="573" y="212"/>
                    <a:pt x="574" y="212"/>
                  </a:cubicBezTo>
                  <a:cubicBezTo>
                    <a:pt x="577" y="212"/>
                    <a:pt x="580" y="211"/>
                    <a:pt x="584" y="210"/>
                  </a:cubicBezTo>
                  <a:cubicBezTo>
                    <a:pt x="585" y="209"/>
                    <a:pt x="587" y="207"/>
                    <a:pt x="588" y="205"/>
                  </a:cubicBezTo>
                  <a:cubicBezTo>
                    <a:pt x="588" y="205"/>
                    <a:pt x="588" y="205"/>
                    <a:pt x="588" y="205"/>
                  </a:cubicBezTo>
                  <a:cubicBezTo>
                    <a:pt x="588" y="204"/>
                    <a:pt x="588" y="204"/>
                    <a:pt x="589" y="203"/>
                  </a:cubicBezTo>
                  <a:cubicBezTo>
                    <a:pt x="588" y="203"/>
                    <a:pt x="588" y="202"/>
                    <a:pt x="588" y="201"/>
                  </a:cubicBezTo>
                  <a:cubicBezTo>
                    <a:pt x="588" y="200"/>
                    <a:pt x="588" y="199"/>
                    <a:pt x="588" y="199"/>
                  </a:cubicBezTo>
                  <a:cubicBezTo>
                    <a:pt x="589" y="198"/>
                    <a:pt x="589" y="198"/>
                    <a:pt x="589" y="198"/>
                  </a:cubicBezTo>
                  <a:cubicBezTo>
                    <a:pt x="589" y="195"/>
                    <a:pt x="591" y="193"/>
                    <a:pt x="592" y="192"/>
                  </a:cubicBezTo>
                  <a:cubicBezTo>
                    <a:pt x="593" y="192"/>
                    <a:pt x="594" y="192"/>
                    <a:pt x="594" y="192"/>
                  </a:cubicBezTo>
                  <a:cubicBezTo>
                    <a:pt x="594" y="192"/>
                    <a:pt x="595" y="192"/>
                    <a:pt x="595" y="192"/>
                  </a:cubicBezTo>
                  <a:cubicBezTo>
                    <a:pt x="596" y="192"/>
                    <a:pt x="596" y="192"/>
                    <a:pt x="596" y="192"/>
                  </a:cubicBezTo>
                  <a:cubicBezTo>
                    <a:pt x="593" y="189"/>
                    <a:pt x="590" y="187"/>
                    <a:pt x="587" y="184"/>
                  </a:cubicBezTo>
                  <a:cubicBezTo>
                    <a:pt x="586" y="184"/>
                    <a:pt x="586" y="183"/>
                    <a:pt x="585" y="182"/>
                  </a:cubicBezTo>
                  <a:cubicBezTo>
                    <a:pt x="585" y="182"/>
                    <a:pt x="584" y="181"/>
                    <a:pt x="584" y="181"/>
                  </a:cubicBezTo>
                  <a:cubicBezTo>
                    <a:pt x="584" y="181"/>
                    <a:pt x="583" y="182"/>
                    <a:pt x="582" y="182"/>
                  </a:cubicBezTo>
                  <a:cubicBezTo>
                    <a:pt x="576" y="188"/>
                    <a:pt x="576" y="188"/>
                    <a:pt x="576" y="188"/>
                  </a:cubicBezTo>
                  <a:cubicBezTo>
                    <a:pt x="575" y="186"/>
                    <a:pt x="575" y="186"/>
                    <a:pt x="575" y="186"/>
                  </a:cubicBezTo>
                  <a:cubicBezTo>
                    <a:pt x="574" y="186"/>
                    <a:pt x="574" y="186"/>
                    <a:pt x="574" y="186"/>
                  </a:cubicBezTo>
                  <a:cubicBezTo>
                    <a:pt x="572" y="186"/>
                    <a:pt x="572" y="186"/>
                    <a:pt x="572" y="186"/>
                  </a:cubicBezTo>
                  <a:cubicBezTo>
                    <a:pt x="570" y="186"/>
                    <a:pt x="570" y="186"/>
                    <a:pt x="570" y="186"/>
                  </a:cubicBezTo>
                  <a:cubicBezTo>
                    <a:pt x="569" y="185"/>
                    <a:pt x="569" y="185"/>
                    <a:pt x="569" y="185"/>
                  </a:cubicBezTo>
                  <a:cubicBezTo>
                    <a:pt x="569" y="184"/>
                    <a:pt x="569" y="184"/>
                    <a:pt x="569" y="184"/>
                  </a:cubicBezTo>
                  <a:cubicBezTo>
                    <a:pt x="567" y="184"/>
                    <a:pt x="567" y="184"/>
                    <a:pt x="567" y="184"/>
                  </a:cubicBezTo>
                  <a:cubicBezTo>
                    <a:pt x="567" y="184"/>
                    <a:pt x="567" y="184"/>
                    <a:pt x="567" y="184"/>
                  </a:cubicBezTo>
                  <a:cubicBezTo>
                    <a:pt x="554" y="183"/>
                    <a:pt x="554" y="183"/>
                    <a:pt x="554" y="183"/>
                  </a:cubicBezTo>
                  <a:cubicBezTo>
                    <a:pt x="552" y="180"/>
                    <a:pt x="552" y="180"/>
                    <a:pt x="552" y="180"/>
                  </a:cubicBezTo>
                  <a:cubicBezTo>
                    <a:pt x="552" y="180"/>
                    <a:pt x="552" y="180"/>
                    <a:pt x="552" y="180"/>
                  </a:cubicBezTo>
                  <a:cubicBezTo>
                    <a:pt x="551" y="179"/>
                    <a:pt x="551" y="179"/>
                    <a:pt x="551" y="179"/>
                  </a:cubicBezTo>
                  <a:cubicBezTo>
                    <a:pt x="551" y="178"/>
                    <a:pt x="551" y="178"/>
                    <a:pt x="551" y="178"/>
                  </a:cubicBezTo>
                  <a:cubicBezTo>
                    <a:pt x="551" y="177"/>
                    <a:pt x="551" y="177"/>
                    <a:pt x="551" y="177"/>
                  </a:cubicBezTo>
                  <a:cubicBezTo>
                    <a:pt x="551" y="177"/>
                    <a:pt x="551" y="177"/>
                    <a:pt x="551" y="177"/>
                  </a:cubicBezTo>
                  <a:cubicBezTo>
                    <a:pt x="550" y="176"/>
                    <a:pt x="550" y="176"/>
                    <a:pt x="549" y="175"/>
                  </a:cubicBezTo>
                  <a:cubicBezTo>
                    <a:pt x="549" y="175"/>
                    <a:pt x="549" y="174"/>
                    <a:pt x="548" y="174"/>
                  </a:cubicBezTo>
                  <a:cubicBezTo>
                    <a:pt x="548" y="174"/>
                    <a:pt x="548" y="174"/>
                    <a:pt x="548" y="174"/>
                  </a:cubicBezTo>
                  <a:cubicBezTo>
                    <a:pt x="548" y="173"/>
                    <a:pt x="547" y="173"/>
                    <a:pt x="547" y="173"/>
                  </a:cubicBezTo>
                  <a:cubicBezTo>
                    <a:pt x="546" y="171"/>
                    <a:pt x="546" y="171"/>
                    <a:pt x="546" y="171"/>
                  </a:cubicBezTo>
                  <a:cubicBezTo>
                    <a:pt x="545" y="170"/>
                    <a:pt x="545" y="170"/>
                    <a:pt x="545" y="170"/>
                  </a:cubicBezTo>
                  <a:cubicBezTo>
                    <a:pt x="546" y="167"/>
                    <a:pt x="546" y="167"/>
                    <a:pt x="546" y="167"/>
                  </a:cubicBezTo>
                  <a:cubicBezTo>
                    <a:pt x="536" y="162"/>
                    <a:pt x="536" y="162"/>
                    <a:pt x="536" y="162"/>
                  </a:cubicBezTo>
                  <a:cubicBezTo>
                    <a:pt x="534" y="162"/>
                    <a:pt x="534" y="162"/>
                    <a:pt x="534" y="162"/>
                  </a:cubicBezTo>
                  <a:cubicBezTo>
                    <a:pt x="534" y="162"/>
                    <a:pt x="534" y="162"/>
                    <a:pt x="534" y="162"/>
                  </a:cubicBezTo>
                  <a:cubicBezTo>
                    <a:pt x="534" y="162"/>
                    <a:pt x="533" y="162"/>
                    <a:pt x="533" y="162"/>
                  </a:cubicBezTo>
                  <a:cubicBezTo>
                    <a:pt x="529" y="161"/>
                    <a:pt x="529" y="161"/>
                    <a:pt x="529" y="161"/>
                  </a:cubicBezTo>
                  <a:cubicBezTo>
                    <a:pt x="529" y="159"/>
                    <a:pt x="529" y="159"/>
                    <a:pt x="529" y="159"/>
                  </a:cubicBezTo>
                  <a:cubicBezTo>
                    <a:pt x="528" y="159"/>
                    <a:pt x="528" y="158"/>
                    <a:pt x="528" y="156"/>
                  </a:cubicBezTo>
                  <a:cubicBezTo>
                    <a:pt x="528" y="155"/>
                    <a:pt x="528" y="155"/>
                    <a:pt x="528" y="155"/>
                  </a:cubicBezTo>
                  <a:cubicBezTo>
                    <a:pt x="528" y="155"/>
                    <a:pt x="528" y="155"/>
                    <a:pt x="527" y="154"/>
                  </a:cubicBezTo>
                  <a:cubicBezTo>
                    <a:pt x="527" y="153"/>
                    <a:pt x="527" y="153"/>
                    <a:pt x="527" y="153"/>
                  </a:cubicBezTo>
                  <a:cubicBezTo>
                    <a:pt x="526" y="152"/>
                    <a:pt x="526" y="150"/>
                    <a:pt x="525" y="148"/>
                  </a:cubicBezTo>
                  <a:cubicBezTo>
                    <a:pt x="522" y="145"/>
                    <a:pt x="522" y="145"/>
                    <a:pt x="522" y="145"/>
                  </a:cubicBezTo>
                  <a:cubicBezTo>
                    <a:pt x="520" y="143"/>
                    <a:pt x="520" y="143"/>
                    <a:pt x="520" y="143"/>
                  </a:cubicBezTo>
                  <a:cubicBezTo>
                    <a:pt x="520" y="143"/>
                    <a:pt x="520" y="143"/>
                    <a:pt x="519" y="143"/>
                  </a:cubicBezTo>
                  <a:cubicBezTo>
                    <a:pt x="518" y="142"/>
                    <a:pt x="517" y="142"/>
                    <a:pt x="516" y="142"/>
                  </a:cubicBezTo>
                  <a:cubicBezTo>
                    <a:pt x="506" y="140"/>
                    <a:pt x="506" y="140"/>
                    <a:pt x="506" y="140"/>
                  </a:cubicBezTo>
                  <a:cubicBezTo>
                    <a:pt x="499" y="142"/>
                    <a:pt x="499" y="142"/>
                    <a:pt x="499" y="142"/>
                  </a:cubicBezTo>
                  <a:cubicBezTo>
                    <a:pt x="499" y="142"/>
                    <a:pt x="499" y="142"/>
                    <a:pt x="499" y="142"/>
                  </a:cubicBezTo>
                  <a:cubicBezTo>
                    <a:pt x="497" y="145"/>
                    <a:pt x="497" y="145"/>
                    <a:pt x="497" y="145"/>
                  </a:cubicBezTo>
                  <a:cubicBezTo>
                    <a:pt x="496" y="145"/>
                    <a:pt x="496" y="145"/>
                    <a:pt x="496" y="145"/>
                  </a:cubicBezTo>
                  <a:cubicBezTo>
                    <a:pt x="496" y="146"/>
                    <a:pt x="495" y="146"/>
                    <a:pt x="495" y="146"/>
                  </a:cubicBezTo>
                  <a:cubicBezTo>
                    <a:pt x="494" y="146"/>
                    <a:pt x="494" y="147"/>
                    <a:pt x="493" y="147"/>
                  </a:cubicBezTo>
                  <a:cubicBezTo>
                    <a:pt x="493" y="147"/>
                    <a:pt x="493" y="147"/>
                    <a:pt x="493" y="147"/>
                  </a:cubicBezTo>
                  <a:cubicBezTo>
                    <a:pt x="491" y="148"/>
                    <a:pt x="491" y="148"/>
                    <a:pt x="491" y="148"/>
                  </a:cubicBezTo>
                  <a:cubicBezTo>
                    <a:pt x="490" y="148"/>
                    <a:pt x="490" y="148"/>
                    <a:pt x="490" y="148"/>
                  </a:cubicBezTo>
                  <a:cubicBezTo>
                    <a:pt x="487" y="148"/>
                    <a:pt x="487" y="148"/>
                    <a:pt x="487" y="148"/>
                  </a:cubicBezTo>
                  <a:cubicBezTo>
                    <a:pt x="476" y="147"/>
                    <a:pt x="476" y="147"/>
                    <a:pt x="476" y="147"/>
                  </a:cubicBezTo>
                  <a:cubicBezTo>
                    <a:pt x="476" y="147"/>
                    <a:pt x="476" y="147"/>
                    <a:pt x="476" y="147"/>
                  </a:cubicBezTo>
                  <a:cubicBezTo>
                    <a:pt x="475" y="147"/>
                    <a:pt x="474" y="147"/>
                    <a:pt x="473" y="147"/>
                  </a:cubicBezTo>
                  <a:cubicBezTo>
                    <a:pt x="472" y="147"/>
                    <a:pt x="472" y="147"/>
                    <a:pt x="471" y="147"/>
                  </a:cubicBezTo>
                  <a:cubicBezTo>
                    <a:pt x="471" y="147"/>
                    <a:pt x="471" y="147"/>
                    <a:pt x="471" y="147"/>
                  </a:cubicBezTo>
                  <a:cubicBezTo>
                    <a:pt x="470" y="148"/>
                    <a:pt x="470" y="148"/>
                    <a:pt x="469" y="148"/>
                  </a:cubicBezTo>
                  <a:cubicBezTo>
                    <a:pt x="469" y="148"/>
                    <a:pt x="468" y="148"/>
                    <a:pt x="468" y="148"/>
                  </a:cubicBezTo>
                  <a:cubicBezTo>
                    <a:pt x="465" y="147"/>
                    <a:pt x="465" y="147"/>
                    <a:pt x="465" y="147"/>
                  </a:cubicBezTo>
                  <a:cubicBezTo>
                    <a:pt x="464" y="147"/>
                    <a:pt x="464" y="147"/>
                    <a:pt x="464" y="147"/>
                  </a:cubicBezTo>
                  <a:cubicBezTo>
                    <a:pt x="463" y="146"/>
                    <a:pt x="463" y="146"/>
                    <a:pt x="463" y="146"/>
                  </a:cubicBezTo>
                  <a:cubicBezTo>
                    <a:pt x="462" y="146"/>
                    <a:pt x="461" y="144"/>
                    <a:pt x="460" y="143"/>
                  </a:cubicBezTo>
                  <a:cubicBezTo>
                    <a:pt x="459" y="142"/>
                    <a:pt x="458" y="142"/>
                    <a:pt x="458" y="141"/>
                  </a:cubicBezTo>
                  <a:cubicBezTo>
                    <a:pt x="455" y="141"/>
                    <a:pt x="455" y="141"/>
                    <a:pt x="455" y="141"/>
                  </a:cubicBezTo>
                  <a:cubicBezTo>
                    <a:pt x="454" y="138"/>
                    <a:pt x="454" y="138"/>
                    <a:pt x="454" y="138"/>
                  </a:cubicBezTo>
                  <a:cubicBezTo>
                    <a:pt x="454" y="137"/>
                    <a:pt x="454" y="137"/>
                    <a:pt x="454" y="137"/>
                  </a:cubicBezTo>
                  <a:cubicBezTo>
                    <a:pt x="454" y="137"/>
                    <a:pt x="454" y="136"/>
                    <a:pt x="454" y="136"/>
                  </a:cubicBezTo>
                  <a:cubicBezTo>
                    <a:pt x="454" y="134"/>
                    <a:pt x="455" y="133"/>
                    <a:pt x="455" y="132"/>
                  </a:cubicBezTo>
                  <a:cubicBezTo>
                    <a:pt x="449" y="130"/>
                    <a:pt x="449" y="130"/>
                    <a:pt x="449" y="130"/>
                  </a:cubicBezTo>
                  <a:cubicBezTo>
                    <a:pt x="448" y="132"/>
                    <a:pt x="448" y="132"/>
                    <a:pt x="448" y="132"/>
                  </a:cubicBezTo>
                  <a:cubicBezTo>
                    <a:pt x="447" y="133"/>
                    <a:pt x="447" y="133"/>
                    <a:pt x="447" y="133"/>
                  </a:cubicBezTo>
                  <a:cubicBezTo>
                    <a:pt x="446" y="133"/>
                    <a:pt x="446" y="133"/>
                    <a:pt x="446" y="133"/>
                  </a:cubicBezTo>
                  <a:cubicBezTo>
                    <a:pt x="446" y="133"/>
                    <a:pt x="445" y="133"/>
                    <a:pt x="445" y="133"/>
                  </a:cubicBezTo>
                  <a:cubicBezTo>
                    <a:pt x="445" y="133"/>
                    <a:pt x="445" y="133"/>
                    <a:pt x="445" y="133"/>
                  </a:cubicBezTo>
                  <a:cubicBezTo>
                    <a:pt x="446" y="134"/>
                    <a:pt x="446" y="135"/>
                    <a:pt x="446" y="136"/>
                  </a:cubicBezTo>
                  <a:cubicBezTo>
                    <a:pt x="445" y="138"/>
                    <a:pt x="445" y="138"/>
                    <a:pt x="445" y="138"/>
                  </a:cubicBezTo>
                  <a:cubicBezTo>
                    <a:pt x="445" y="138"/>
                    <a:pt x="445" y="138"/>
                    <a:pt x="445" y="138"/>
                  </a:cubicBezTo>
                  <a:cubicBezTo>
                    <a:pt x="452" y="143"/>
                    <a:pt x="452" y="143"/>
                    <a:pt x="452" y="143"/>
                  </a:cubicBezTo>
                  <a:cubicBezTo>
                    <a:pt x="444" y="140"/>
                    <a:pt x="444" y="140"/>
                    <a:pt x="444" y="140"/>
                  </a:cubicBezTo>
                  <a:cubicBezTo>
                    <a:pt x="443" y="140"/>
                    <a:pt x="443" y="140"/>
                    <a:pt x="443" y="140"/>
                  </a:cubicBezTo>
                  <a:cubicBezTo>
                    <a:pt x="441" y="142"/>
                    <a:pt x="441" y="142"/>
                    <a:pt x="441" y="142"/>
                  </a:cubicBezTo>
                  <a:cubicBezTo>
                    <a:pt x="440" y="142"/>
                    <a:pt x="440" y="142"/>
                    <a:pt x="440" y="142"/>
                  </a:cubicBezTo>
                  <a:cubicBezTo>
                    <a:pt x="439" y="142"/>
                    <a:pt x="439" y="142"/>
                    <a:pt x="439" y="142"/>
                  </a:cubicBezTo>
                  <a:cubicBezTo>
                    <a:pt x="439" y="142"/>
                    <a:pt x="439" y="142"/>
                    <a:pt x="439" y="142"/>
                  </a:cubicBezTo>
                  <a:cubicBezTo>
                    <a:pt x="438" y="142"/>
                    <a:pt x="438" y="142"/>
                    <a:pt x="438" y="142"/>
                  </a:cubicBezTo>
                  <a:cubicBezTo>
                    <a:pt x="438" y="143"/>
                    <a:pt x="438" y="144"/>
                    <a:pt x="437" y="144"/>
                  </a:cubicBezTo>
                  <a:cubicBezTo>
                    <a:pt x="437" y="146"/>
                    <a:pt x="437" y="146"/>
                    <a:pt x="437" y="146"/>
                  </a:cubicBezTo>
                  <a:cubicBezTo>
                    <a:pt x="434" y="147"/>
                    <a:pt x="434" y="147"/>
                    <a:pt x="434" y="147"/>
                  </a:cubicBezTo>
                  <a:cubicBezTo>
                    <a:pt x="432" y="147"/>
                    <a:pt x="432" y="147"/>
                    <a:pt x="432" y="147"/>
                  </a:cubicBezTo>
                  <a:cubicBezTo>
                    <a:pt x="431" y="146"/>
                    <a:pt x="431" y="146"/>
                    <a:pt x="431" y="146"/>
                  </a:cubicBezTo>
                  <a:cubicBezTo>
                    <a:pt x="430" y="144"/>
                    <a:pt x="430" y="144"/>
                    <a:pt x="430" y="144"/>
                  </a:cubicBezTo>
                  <a:cubicBezTo>
                    <a:pt x="426" y="140"/>
                    <a:pt x="426" y="140"/>
                    <a:pt x="426" y="140"/>
                  </a:cubicBezTo>
                  <a:cubicBezTo>
                    <a:pt x="427" y="140"/>
                    <a:pt x="427" y="140"/>
                    <a:pt x="427" y="140"/>
                  </a:cubicBezTo>
                  <a:cubicBezTo>
                    <a:pt x="423" y="133"/>
                    <a:pt x="418" y="125"/>
                    <a:pt x="413" y="118"/>
                  </a:cubicBezTo>
                  <a:cubicBezTo>
                    <a:pt x="411" y="114"/>
                    <a:pt x="411" y="114"/>
                    <a:pt x="411" y="114"/>
                  </a:cubicBezTo>
                  <a:cubicBezTo>
                    <a:pt x="406" y="106"/>
                    <a:pt x="401" y="97"/>
                    <a:pt x="395" y="89"/>
                  </a:cubicBezTo>
                  <a:cubicBezTo>
                    <a:pt x="390" y="81"/>
                    <a:pt x="390" y="81"/>
                    <a:pt x="390" y="81"/>
                  </a:cubicBezTo>
                  <a:cubicBezTo>
                    <a:pt x="381" y="69"/>
                    <a:pt x="381" y="69"/>
                    <a:pt x="381" y="69"/>
                  </a:cubicBezTo>
                  <a:cubicBezTo>
                    <a:pt x="378" y="65"/>
                    <a:pt x="375" y="63"/>
                    <a:pt x="372" y="61"/>
                  </a:cubicBezTo>
                  <a:cubicBezTo>
                    <a:pt x="359" y="51"/>
                    <a:pt x="359" y="51"/>
                    <a:pt x="359" y="51"/>
                  </a:cubicBezTo>
                  <a:cubicBezTo>
                    <a:pt x="354" y="47"/>
                    <a:pt x="354" y="47"/>
                    <a:pt x="354" y="47"/>
                  </a:cubicBezTo>
                  <a:cubicBezTo>
                    <a:pt x="352" y="45"/>
                    <a:pt x="351" y="44"/>
                    <a:pt x="349" y="42"/>
                  </a:cubicBezTo>
                  <a:cubicBezTo>
                    <a:pt x="343" y="36"/>
                    <a:pt x="343" y="36"/>
                    <a:pt x="343" y="36"/>
                  </a:cubicBezTo>
                  <a:cubicBezTo>
                    <a:pt x="333" y="40"/>
                    <a:pt x="333" y="40"/>
                    <a:pt x="333" y="40"/>
                  </a:cubicBezTo>
                  <a:cubicBezTo>
                    <a:pt x="330" y="41"/>
                    <a:pt x="327" y="43"/>
                    <a:pt x="324" y="44"/>
                  </a:cubicBezTo>
                  <a:cubicBezTo>
                    <a:pt x="323" y="45"/>
                    <a:pt x="323" y="45"/>
                    <a:pt x="323" y="45"/>
                  </a:cubicBezTo>
                  <a:cubicBezTo>
                    <a:pt x="320" y="46"/>
                    <a:pt x="317" y="48"/>
                    <a:pt x="314" y="49"/>
                  </a:cubicBezTo>
                  <a:cubicBezTo>
                    <a:pt x="304" y="53"/>
                    <a:pt x="304" y="53"/>
                    <a:pt x="304" y="53"/>
                  </a:cubicBezTo>
                  <a:cubicBezTo>
                    <a:pt x="304" y="54"/>
                    <a:pt x="304" y="54"/>
                    <a:pt x="304" y="54"/>
                  </a:cubicBezTo>
                  <a:cubicBezTo>
                    <a:pt x="303" y="55"/>
                    <a:pt x="303" y="55"/>
                    <a:pt x="303" y="56"/>
                  </a:cubicBezTo>
                  <a:cubicBezTo>
                    <a:pt x="303" y="59"/>
                    <a:pt x="303" y="59"/>
                    <a:pt x="303" y="59"/>
                  </a:cubicBezTo>
                  <a:cubicBezTo>
                    <a:pt x="299" y="62"/>
                    <a:pt x="299" y="62"/>
                    <a:pt x="299" y="62"/>
                  </a:cubicBezTo>
                  <a:cubicBezTo>
                    <a:pt x="295" y="59"/>
                    <a:pt x="295" y="59"/>
                    <a:pt x="295" y="59"/>
                  </a:cubicBezTo>
                  <a:cubicBezTo>
                    <a:pt x="295" y="59"/>
                    <a:pt x="295" y="59"/>
                    <a:pt x="294" y="58"/>
                  </a:cubicBezTo>
                  <a:cubicBezTo>
                    <a:pt x="292" y="58"/>
                    <a:pt x="292" y="58"/>
                    <a:pt x="292" y="58"/>
                  </a:cubicBezTo>
                  <a:cubicBezTo>
                    <a:pt x="286" y="58"/>
                    <a:pt x="286" y="58"/>
                    <a:pt x="286" y="58"/>
                  </a:cubicBezTo>
                  <a:cubicBezTo>
                    <a:pt x="286" y="58"/>
                    <a:pt x="286" y="58"/>
                    <a:pt x="286" y="58"/>
                  </a:cubicBezTo>
                  <a:cubicBezTo>
                    <a:pt x="285" y="58"/>
                    <a:pt x="284" y="58"/>
                    <a:pt x="283" y="59"/>
                  </a:cubicBezTo>
                  <a:cubicBezTo>
                    <a:pt x="276" y="64"/>
                    <a:pt x="276" y="64"/>
                    <a:pt x="276" y="64"/>
                  </a:cubicBezTo>
                  <a:cubicBezTo>
                    <a:pt x="269" y="52"/>
                    <a:pt x="269" y="52"/>
                    <a:pt x="269" y="52"/>
                  </a:cubicBezTo>
                  <a:cubicBezTo>
                    <a:pt x="271" y="49"/>
                    <a:pt x="271" y="49"/>
                    <a:pt x="271" y="49"/>
                  </a:cubicBezTo>
                  <a:cubicBezTo>
                    <a:pt x="272" y="48"/>
                    <a:pt x="273" y="46"/>
                    <a:pt x="274" y="45"/>
                  </a:cubicBezTo>
                  <a:cubicBezTo>
                    <a:pt x="275" y="44"/>
                    <a:pt x="275" y="44"/>
                    <a:pt x="275" y="44"/>
                  </a:cubicBezTo>
                  <a:cubicBezTo>
                    <a:pt x="269" y="45"/>
                    <a:pt x="269" y="45"/>
                    <a:pt x="269" y="45"/>
                  </a:cubicBezTo>
                  <a:cubicBezTo>
                    <a:pt x="268" y="45"/>
                    <a:pt x="268" y="45"/>
                    <a:pt x="268" y="45"/>
                  </a:cubicBezTo>
                  <a:cubicBezTo>
                    <a:pt x="266" y="44"/>
                    <a:pt x="263" y="43"/>
                    <a:pt x="261" y="42"/>
                  </a:cubicBezTo>
                  <a:cubicBezTo>
                    <a:pt x="261" y="42"/>
                    <a:pt x="261" y="42"/>
                    <a:pt x="261" y="42"/>
                  </a:cubicBezTo>
                  <a:cubicBezTo>
                    <a:pt x="261" y="42"/>
                    <a:pt x="261" y="42"/>
                    <a:pt x="261" y="42"/>
                  </a:cubicBezTo>
                  <a:cubicBezTo>
                    <a:pt x="258" y="44"/>
                    <a:pt x="258" y="44"/>
                    <a:pt x="258" y="44"/>
                  </a:cubicBezTo>
                  <a:cubicBezTo>
                    <a:pt x="258" y="44"/>
                    <a:pt x="257" y="45"/>
                    <a:pt x="256" y="45"/>
                  </a:cubicBezTo>
                  <a:cubicBezTo>
                    <a:pt x="253" y="46"/>
                    <a:pt x="253" y="46"/>
                    <a:pt x="253" y="46"/>
                  </a:cubicBezTo>
                  <a:cubicBezTo>
                    <a:pt x="247" y="48"/>
                    <a:pt x="247" y="48"/>
                    <a:pt x="247" y="48"/>
                  </a:cubicBezTo>
                  <a:cubicBezTo>
                    <a:pt x="250" y="42"/>
                    <a:pt x="250" y="42"/>
                    <a:pt x="250" y="42"/>
                  </a:cubicBezTo>
                  <a:cubicBezTo>
                    <a:pt x="250" y="42"/>
                    <a:pt x="250" y="42"/>
                    <a:pt x="250" y="41"/>
                  </a:cubicBezTo>
                  <a:cubicBezTo>
                    <a:pt x="250" y="41"/>
                    <a:pt x="250" y="41"/>
                    <a:pt x="250" y="41"/>
                  </a:cubicBezTo>
                  <a:cubicBezTo>
                    <a:pt x="249" y="40"/>
                    <a:pt x="249" y="40"/>
                    <a:pt x="249" y="40"/>
                  </a:cubicBezTo>
                  <a:cubicBezTo>
                    <a:pt x="249" y="39"/>
                    <a:pt x="249" y="39"/>
                    <a:pt x="249" y="38"/>
                  </a:cubicBezTo>
                  <a:cubicBezTo>
                    <a:pt x="247" y="41"/>
                    <a:pt x="247" y="41"/>
                    <a:pt x="247" y="41"/>
                  </a:cubicBezTo>
                  <a:cubicBezTo>
                    <a:pt x="244" y="39"/>
                    <a:pt x="244" y="39"/>
                    <a:pt x="244" y="39"/>
                  </a:cubicBezTo>
                  <a:cubicBezTo>
                    <a:pt x="243" y="38"/>
                    <a:pt x="242" y="38"/>
                    <a:pt x="242" y="38"/>
                  </a:cubicBezTo>
                  <a:cubicBezTo>
                    <a:pt x="242" y="38"/>
                    <a:pt x="242" y="38"/>
                    <a:pt x="242" y="38"/>
                  </a:cubicBezTo>
                  <a:cubicBezTo>
                    <a:pt x="237" y="40"/>
                    <a:pt x="237" y="40"/>
                    <a:pt x="237" y="40"/>
                  </a:cubicBezTo>
                  <a:cubicBezTo>
                    <a:pt x="233" y="40"/>
                    <a:pt x="233" y="40"/>
                    <a:pt x="233" y="40"/>
                  </a:cubicBezTo>
                  <a:cubicBezTo>
                    <a:pt x="232" y="41"/>
                    <a:pt x="230" y="41"/>
                    <a:pt x="229" y="41"/>
                  </a:cubicBezTo>
                  <a:cubicBezTo>
                    <a:pt x="228" y="41"/>
                    <a:pt x="228" y="41"/>
                    <a:pt x="227" y="41"/>
                  </a:cubicBezTo>
                  <a:cubicBezTo>
                    <a:pt x="227" y="41"/>
                    <a:pt x="227" y="41"/>
                    <a:pt x="227" y="41"/>
                  </a:cubicBezTo>
                  <a:cubicBezTo>
                    <a:pt x="224" y="40"/>
                    <a:pt x="224" y="40"/>
                    <a:pt x="224" y="40"/>
                  </a:cubicBezTo>
                  <a:cubicBezTo>
                    <a:pt x="221" y="40"/>
                    <a:pt x="221" y="40"/>
                    <a:pt x="221" y="40"/>
                  </a:cubicBezTo>
                  <a:cubicBezTo>
                    <a:pt x="221" y="38"/>
                    <a:pt x="221" y="38"/>
                    <a:pt x="221" y="38"/>
                  </a:cubicBezTo>
                  <a:cubicBezTo>
                    <a:pt x="220" y="38"/>
                    <a:pt x="220" y="38"/>
                    <a:pt x="220" y="38"/>
                  </a:cubicBezTo>
                  <a:cubicBezTo>
                    <a:pt x="219" y="37"/>
                    <a:pt x="219" y="37"/>
                    <a:pt x="219" y="37"/>
                  </a:cubicBezTo>
                  <a:cubicBezTo>
                    <a:pt x="219" y="36"/>
                    <a:pt x="219" y="36"/>
                    <a:pt x="219" y="36"/>
                  </a:cubicBezTo>
                  <a:cubicBezTo>
                    <a:pt x="218" y="35"/>
                    <a:pt x="218" y="35"/>
                    <a:pt x="217" y="34"/>
                  </a:cubicBezTo>
                  <a:cubicBezTo>
                    <a:pt x="217" y="34"/>
                    <a:pt x="217" y="33"/>
                    <a:pt x="217" y="32"/>
                  </a:cubicBezTo>
                  <a:cubicBezTo>
                    <a:pt x="217" y="32"/>
                    <a:pt x="217" y="32"/>
                    <a:pt x="217" y="32"/>
                  </a:cubicBezTo>
                  <a:cubicBezTo>
                    <a:pt x="217" y="29"/>
                    <a:pt x="217" y="29"/>
                    <a:pt x="217" y="29"/>
                  </a:cubicBezTo>
                  <a:cubicBezTo>
                    <a:pt x="218" y="28"/>
                    <a:pt x="218" y="28"/>
                    <a:pt x="218" y="28"/>
                  </a:cubicBezTo>
                  <a:cubicBezTo>
                    <a:pt x="220" y="28"/>
                    <a:pt x="220" y="28"/>
                    <a:pt x="220" y="28"/>
                  </a:cubicBezTo>
                  <a:cubicBezTo>
                    <a:pt x="220" y="28"/>
                    <a:pt x="220" y="28"/>
                    <a:pt x="220" y="28"/>
                  </a:cubicBezTo>
                  <a:cubicBezTo>
                    <a:pt x="221" y="28"/>
                    <a:pt x="221" y="28"/>
                    <a:pt x="221" y="28"/>
                  </a:cubicBezTo>
                  <a:cubicBezTo>
                    <a:pt x="221" y="26"/>
                    <a:pt x="221" y="26"/>
                    <a:pt x="221" y="26"/>
                  </a:cubicBezTo>
                  <a:cubicBezTo>
                    <a:pt x="220" y="22"/>
                    <a:pt x="220" y="22"/>
                    <a:pt x="220" y="22"/>
                  </a:cubicBezTo>
                  <a:cubicBezTo>
                    <a:pt x="222" y="19"/>
                    <a:pt x="222" y="19"/>
                    <a:pt x="222" y="19"/>
                  </a:cubicBezTo>
                  <a:cubicBezTo>
                    <a:pt x="221" y="17"/>
                    <a:pt x="221" y="17"/>
                    <a:pt x="221" y="17"/>
                  </a:cubicBezTo>
                  <a:cubicBezTo>
                    <a:pt x="218" y="11"/>
                    <a:pt x="218" y="11"/>
                    <a:pt x="218" y="11"/>
                  </a:cubicBezTo>
                  <a:cubicBezTo>
                    <a:pt x="217" y="8"/>
                    <a:pt x="215" y="5"/>
                    <a:pt x="213" y="2"/>
                  </a:cubicBezTo>
                  <a:cubicBezTo>
                    <a:pt x="213" y="2"/>
                    <a:pt x="213" y="2"/>
                    <a:pt x="213" y="2"/>
                  </a:cubicBezTo>
                  <a:cubicBezTo>
                    <a:pt x="210" y="2"/>
                    <a:pt x="210" y="2"/>
                    <a:pt x="210" y="2"/>
                  </a:cubicBezTo>
                  <a:cubicBezTo>
                    <a:pt x="208" y="3"/>
                    <a:pt x="205" y="5"/>
                    <a:pt x="205" y="5"/>
                  </a:cubicBezTo>
                  <a:cubicBezTo>
                    <a:pt x="203" y="6"/>
                    <a:pt x="203" y="6"/>
                    <a:pt x="203" y="6"/>
                  </a:cubicBezTo>
                  <a:cubicBezTo>
                    <a:pt x="201" y="7"/>
                    <a:pt x="201" y="7"/>
                    <a:pt x="201" y="7"/>
                  </a:cubicBezTo>
                  <a:cubicBezTo>
                    <a:pt x="199" y="7"/>
                    <a:pt x="199" y="7"/>
                    <a:pt x="199" y="7"/>
                  </a:cubicBezTo>
                  <a:cubicBezTo>
                    <a:pt x="197" y="6"/>
                    <a:pt x="195" y="5"/>
                    <a:pt x="194" y="5"/>
                  </a:cubicBezTo>
                  <a:cubicBezTo>
                    <a:pt x="194" y="5"/>
                    <a:pt x="194" y="5"/>
                    <a:pt x="194" y="5"/>
                  </a:cubicBezTo>
                  <a:cubicBezTo>
                    <a:pt x="192" y="4"/>
                    <a:pt x="190" y="3"/>
                    <a:pt x="189" y="2"/>
                  </a:cubicBezTo>
                  <a:cubicBezTo>
                    <a:pt x="188" y="1"/>
                    <a:pt x="188" y="1"/>
                    <a:pt x="188" y="1"/>
                  </a:cubicBezTo>
                  <a:cubicBezTo>
                    <a:pt x="187" y="0"/>
                    <a:pt x="187" y="0"/>
                    <a:pt x="187" y="0"/>
                  </a:cubicBezTo>
                  <a:cubicBezTo>
                    <a:pt x="180" y="0"/>
                    <a:pt x="180" y="0"/>
                    <a:pt x="1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Freeform 1519"/>
            <p:cNvSpPr/>
            <p:nvPr/>
          </p:nvSpPr>
          <p:spPr bwMode="auto">
            <a:xfrm>
              <a:off x="1110112" y="400017"/>
              <a:ext cx="9396" cy="6712"/>
            </a:xfrm>
            <a:custGeom>
              <a:gdLst>
                <a:gd name="T0" fmla="*/ 3 w 3"/>
                <a:gd name="T1" fmla="*/ 0 h 2"/>
                <a:gd name="T2" fmla="*/ 0 w 3"/>
                <a:gd name="T3" fmla="*/ 1 h 2"/>
                <a:gd name="T4" fmla="*/ 2 w 3"/>
                <a:gd name="T5" fmla="*/ 2 h 2"/>
                <a:gd name="T6" fmla="*/ 3 w 3"/>
                <a:gd name="T7" fmla="*/ 2 h 2"/>
                <a:gd name="T8" fmla="*/ 3 w 3"/>
                <a:gd name="T9" fmla="*/ 1 h 2"/>
                <a:gd name="T10" fmla="*/ 3 w 3"/>
                <a:gd name="T11" fmla="*/ 0 h 2"/>
              </a:gdLst>
              <a:cxnLst>
                <a:cxn ang="0">
                  <a:pos x="T0" y="T1"/>
                </a:cxn>
                <a:cxn ang="0">
                  <a:pos x="T2" y="T3"/>
                </a:cxn>
                <a:cxn ang="0">
                  <a:pos x="T4" y="T5"/>
                </a:cxn>
                <a:cxn ang="0">
                  <a:pos x="T6" y="T7"/>
                </a:cxn>
                <a:cxn ang="0">
                  <a:pos x="T8" y="T9"/>
                </a:cxn>
                <a:cxn ang="0">
                  <a:pos x="T10" y="T11"/>
                </a:cxn>
              </a:cxnLst>
              <a:rect l="0" t="0" r="r" b="b"/>
              <a:pathLst>
                <a:path w="3" h="2">
                  <a:moveTo>
                    <a:pt x="3" y="0"/>
                  </a:moveTo>
                  <a:cubicBezTo>
                    <a:pt x="0" y="1"/>
                    <a:pt x="0" y="1"/>
                    <a:pt x="0" y="1"/>
                  </a:cubicBezTo>
                  <a:cubicBezTo>
                    <a:pt x="1" y="1"/>
                    <a:pt x="2" y="2"/>
                    <a:pt x="2" y="2"/>
                  </a:cubicBezTo>
                  <a:cubicBezTo>
                    <a:pt x="3" y="2"/>
                    <a:pt x="3" y="2"/>
                    <a:pt x="3" y="2"/>
                  </a:cubicBezTo>
                  <a:cubicBezTo>
                    <a:pt x="3" y="1"/>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4" name="Rectangle 1520"/>
            <p:cNvSpPr>
              <a:spLocks noChangeArrowheads="1"/>
            </p:cNvSpPr>
            <p:nvPr/>
          </p:nvSpPr>
          <p:spPr bwMode="auto">
            <a:xfrm>
              <a:off x="4051169" y="1044339"/>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Freeform 1521"/>
            <p:cNvSpPr/>
            <p:nvPr/>
          </p:nvSpPr>
          <p:spPr bwMode="auto">
            <a:xfrm flipH="1">
              <a:off x="4051169" y="1044339"/>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6" name="Freeform 1522"/>
            <p:cNvSpPr/>
            <p:nvPr/>
          </p:nvSpPr>
          <p:spPr bwMode="auto">
            <a:xfrm>
              <a:off x="1935648" y="920844"/>
              <a:ext cx="9396" cy="6712"/>
            </a:xfrm>
            <a:custGeom>
              <a:gdLst>
                <a:gd name="T0" fmla="*/ 3 w 3"/>
                <a:gd name="T1" fmla="*/ 0 h 2"/>
                <a:gd name="T2" fmla="*/ 0 w 3"/>
                <a:gd name="T3" fmla="*/ 1 h 2"/>
                <a:gd name="T4" fmla="*/ 0 w 3"/>
                <a:gd name="T5" fmla="*/ 1 h 2"/>
                <a:gd name="T6" fmla="*/ 2 w 3"/>
                <a:gd name="T7" fmla="*/ 2 h 2"/>
                <a:gd name="T8" fmla="*/ 3 w 3"/>
                <a:gd name="T9" fmla="*/ 1 h 2"/>
                <a:gd name="T10" fmla="*/ 3 w 3"/>
                <a:gd name="T11" fmla="*/ 0 h 2"/>
              </a:gdLst>
              <a:cxnLst>
                <a:cxn ang="0">
                  <a:pos x="T0" y="T1"/>
                </a:cxn>
                <a:cxn ang="0">
                  <a:pos x="T2" y="T3"/>
                </a:cxn>
                <a:cxn ang="0">
                  <a:pos x="T4" y="T5"/>
                </a:cxn>
                <a:cxn ang="0">
                  <a:pos x="T6" y="T7"/>
                </a:cxn>
                <a:cxn ang="0">
                  <a:pos x="T8" y="T9"/>
                </a:cxn>
                <a:cxn ang="0">
                  <a:pos x="T10" y="T11"/>
                </a:cxn>
              </a:cxnLst>
              <a:rect l="0" t="0" r="r" b="b"/>
              <a:pathLst>
                <a:path w="3" h="2">
                  <a:moveTo>
                    <a:pt x="3" y="0"/>
                  </a:moveTo>
                  <a:cubicBezTo>
                    <a:pt x="2" y="0"/>
                    <a:pt x="1" y="0"/>
                    <a:pt x="0" y="1"/>
                  </a:cubicBezTo>
                  <a:cubicBezTo>
                    <a:pt x="0" y="1"/>
                    <a:pt x="0" y="1"/>
                    <a:pt x="0" y="1"/>
                  </a:cubicBezTo>
                  <a:cubicBezTo>
                    <a:pt x="2" y="2"/>
                    <a:pt x="2" y="2"/>
                    <a:pt x="2" y="2"/>
                  </a:cubicBezTo>
                  <a:cubicBezTo>
                    <a:pt x="2" y="2"/>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7" name="Freeform 1523"/>
            <p:cNvSpPr>
              <a:spLocks noEditPoints="1"/>
            </p:cNvSpPr>
            <p:nvPr/>
          </p:nvSpPr>
          <p:spPr bwMode="auto">
            <a:xfrm>
              <a:off x="900707" y="485927"/>
              <a:ext cx="4546491" cy="2894078"/>
            </a:xfrm>
            <a:custGeom>
              <a:gdLst>
                <a:gd name="T0" fmla="*/ 138 w 1433"/>
                <a:gd name="T1" fmla="*/ 551 h 912"/>
                <a:gd name="T2" fmla="*/ 127 w 1433"/>
                <a:gd name="T3" fmla="*/ 510 h 912"/>
                <a:gd name="T4" fmla="*/ 1095 w 1433"/>
                <a:gd name="T5" fmla="*/ 24 h 912"/>
                <a:gd name="T6" fmla="*/ 1076 w 1433"/>
                <a:gd name="T7" fmla="*/ 102 h 912"/>
                <a:gd name="T8" fmla="*/ 993 w 1433"/>
                <a:gd name="T9" fmla="*/ 175 h 912"/>
                <a:gd name="T10" fmla="*/ 1089 w 1433"/>
                <a:gd name="T11" fmla="*/ 208 h 912"/>
                <a:gd name="T12" fmla="*/ 967 w 1433"/>
                <a:gd name="T13" fmla="*/ 248 h 912"/>
                <a:gd name="T14" fmla="*/ 890 w 1433"/>
                <a:gd name="T15" fmla="*/ 276 h 912"/>
                <a:gd name="T16" fmla="*/ 777 w 1433"/>
                <a:gd name="T17" fmla="*/ 339 h 912"/>
                <a:gd name="T18" fmla="*/ 709 w 1433"/>
                <a:gd name="T19" fmla="*/ 352 h 912"/>
                <a:gd name="T20" fmla="*/ 529 w 1433"/>
                <a:gd name="T21" fmla="*/ 326 h 912"/>
                <a:gd name="T22" fmla="*/ 466 w 1433"/>
                <a:gd name="T23" fmla="*/ 262 h 912"/>
                <a:gd name="T24" fmla="*/ 391 w 1433"/>
                <a:gd name="T25" fmla="*/ 187 h 912"/>
                <a:gd name="T26" fmla="*/ 319 w 1433"/>
                <a:gd name="T27" fmla="*/ 138 h 912"/>
                <a:gd name="T28" fmla="*/ 258 w 1433"/>
                <a:gd name="T29" fmla="*/ 203 h 912"/>
                <a:gd name="T30" fmla="*/ 164 w 1433"/>
                <a:gd name="T31" fmla="*/ 265 h 912"/>
                <a:gd name="T32" fmla="*/ 133 w 1433"/>
                <a:gd name="T33" fmla="*/ 353 h 912"/>
                <a:gd name="T34" fmla="*/ 62 w 1433"/>
                <a:gd name="T35" fmla="*/ 392 h 912"/>
                <a:gd name="T36" fmla="*/ 8 w 1433"/>
                <a:gd name="T37" fmla="*/ 405 h 912"/>
                <a:gd name="T38" fmla="*/ 14 w 1433"/>
                <a:gd name="T39" fmla="*/ 434 h 912"/>
                <a:gd name="T40" fmla="*/ 59 w 1433"/>
                <a:gd name="T41" fmla="*/ 510 h 912"/>
                <a:gd name="T42" fmla="*/ 104 w 1433"/>
                <a:gd name="T43" fmla="*/ 535 h 912"/>
                <a:gd name="T44" fmla="*/ 138 w 1433"/>
                <a:gd name="T45" fmla="*/ 592 h 912"/>
                <a:gd name="T46" fmla="*/ 140 w 1433"/>
                <a:gd name="T47" fmla="*/ 639 h 912"/>
                <a:gd name="T48" fmla="*/ 221 w 1433"/>
                <a:gd name="T49" fmla="*/ 673 h 912"/>
                <a:gd name="T50" fmla="*/ 263 w 1433"/>
                <a:gd name="T51" fmla="*/ 701 h 912"/>
                <a:gd name="T52" fmla="*/ 307 w 1433"/>
                <a:gd name="T53" fmla="*/ 713 h 912"/>
                <a:gd name="T54" fmla="*/ 383 w 1433"/>
                <a:gd name="T55" fmla="*/ 707 h 912"/>
                <a:gd name="T56" fmla="*/ 443 w 1433"/>
                <a:gd name="T57" fmla="*/ 717 h 912"/>
                <a:gd name="T58" fmla="*/ 498 w 1433"/>
                <a:gd name="T59" fmla="*/ 685 h 912"/>
                <a:gd name="T60" fmla="*/ 537 w 1433"/>
                <a:gd name="T61" fmla="*/ 704 h 912"/>
                <a:gd name="T62" fmla="*/ 591 w 1433"/>
                <a:gd name="T63" fmla="*/ 730 h 912"/>
                <a:gd name="T64" fmla="*/ 564 w 1433"/>
                <a:gd name="T65" fmla="*/ 802 h 912"/>
                <a:gd name="T66" fmla="*/ 602 w 1433"/>
                <a:gd name="T67" fmla="*/ 833 h 912"/>
                <a:gd name="T68" fmla="*/ 624 w 1433"/>
                <a:gd name="T69" fmla="*/ 879 h 912"/>
                <a:gd name="T70" fmla="*/ 656 w 1433"/>
                <a:gd name="T71" fmla="*/ 854 h 912"/>
                <a:gd name="T72" fmla="*/ 706 w 1433"/>
                <a:gd name="T73" fmla="*/ 847 h 912"/>
                <a:gd name="T74" fmla="*/ 775 w 1433"/>
                <a:gd name="T75" fmla="*/ 844 h 912"/>
                <a:gd name="T76" fmla="*/ 809 w 1433"/>
                <a:gd name="T77" fmla="*/ 878 h 912"/>
                <a:gd name="T78" fmla="*/ 844 w 1433"/>
                <a:gd name="T79" fmla="*/ 874 h 912"/>
                <a:gd name="T80" fmla="*/ 879 w 1433"/>
                <a:gd name="T81" fmla="*/ 881 h 912"/>
                <a:gd name="T82" fmla="*/ 930 w 1433"/>
                <a:gd name="T83" fmla="*/ 866 h 912"/>
                <a:gd name="T84" fmla="*/ 943 w 1433"/>
                <a:gd name="T85" fmla="*/ 854 h 912"/>
                <a:gd name="T86" fmla="*/ 995 w 1433"/>
                <a:gd name="T87" fmla="*/ 845 h 912"/>
                <a:gd name="T88" fmla="*/ 1039 w 1433"/>
                <a:gd name="T89" fmla="*/ 807 h 912"/>
                <a:gd name="T90" fmla="*/ 1082 w 1433"/>
                <a:gd name="T91" fmla="*/ 769 h 912"/>
                <a:gd name="T92" fmla="*/ 1103 w 1433"/>
                <a:gd name="T93" fmla="*/ 733 h 912"/>
                <a:gd name="T94" fmla="*/ 1134 w 1433"/>
                <a:gd name="T95" fmla="*/ 676 h 912"/>
                <a:gd name="T96" fmla="*/ 1105 w 1433"/>
                <a:gd name="T97" fmla="*/ 616 h 912"/>
                <a:gd name="T98" fmla="*/ 1070 w 1433"/>
                <a:gd name="T99" fmla="*/ 543 h 912"/>
                <a:gd name="T100" fmla="*/ 1148 w 1433"/>
                <a:gd name="T101" fmla="*/ 481 h 912"/>
                <a:gd name="T102" fmla="*/ 1057 w 1433"/>
                <a:gd name="T103" fmla="*/ 453 h 912"/>
                <a:gd name="T104" fmla="*/ 1133 w 1433"/>
                <a:gd name="T105" fmla="*/ 398 h 912"/>
                <a:gd name="T106" fmla="*/ 1196 w 1433"/>
                <a:gd name="T107" fmla="*/ 391 h 912"/>
                <a:gd name="T108" fmla="*/ 1281 w 1433"/>
                <a:gd name="T109" fmla="*/ 356 h 912"/>
                <a:gd name="T110" fmla="*/ 1350 w 1433"/>
                <a:gd name="T111" fmla="*/ 287 h 912"/>
                <a:gd name="T112" fmla="*/ 1402 w 1433"/>
                <a:gd name="T113" fmla="*/ 238 h 912"/>
                <a:gd name="T114" fmla="*/ 1427 w 1433"/>
                <a:gd name="T115" fmla="*/ 182 h 912"/>
                <a:gd name="T116" fmla="*/ 1343 w 1433"/>
                <a:gd name="T117" fmla="*/ 175 h 912"/>
                <a:gd name="T118" fmla="*/ 1295 w 1433"/>
                <a:gd name="T119" fmla="*/ 126 h 912"/>
                <a:gd name="T120" fmla="*/ 1238 w 1433"/>
                <a:gd name="T121" fmla="*/ 42 h 912"/>
                <a:gd name="T122" fmla="*/ 1172 w 1433"/>
                <a:gd name="T123" fmla="*/ 0 h 9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3" h="912">
                  <a:moveTo>
                    <a:pt x="128" y="562"/>
                  </a:moveTo>
                  <a:cubicBezTo>
                    <a:pt x="128" y="562"/>
                    <a:pt x="128" y="562"/>
                    <a:pt x="128" y="562"/>
                  </a:cubicBezTo>
                  <a:cubicBezTo>
                    <a:pt x="128" y="562"/>
                    <a:pt x="128" y="562"/>
                    <a:pt x="128" y="562"/>
                  </a:cubicBezTo>
                  <a:moveTo>
                    <a:pt x="122" y="564"/>
                  </a:moveTo>
                  <a:cubicBezTo>
                    <a:pt x="122" y="564"/>
                    <a:pt x="122" y="563"/>
                    <a:pt x="122" y="563"/>
                  </a:cubicBezTo>
                  <a:cubicBezTo>
                    <a:pt x="122" y="563"/>
                    <a:pt x="122" y="563"/>
                    <a:pt x="122" y="563"/>
                  </a:cubicBezTo>
                  <a:cubicBezTo>
                    <a:pt x="126" y="562"/>
                    <a:pt x="126" y="562"/>
                    <a:pt x="126" y="562"/>
                  </a:cubicBezTo>
                  <a:cubicBezTo>
                    <a:pt x="127" y="562"/>
                    <a:pt x="127" y="562"/>
                    <a:pt x="127" y="562"/>
                  </a:cubicBezTo>
                  <a:cubicBezTo>
                    <a:pt x="122" y="564"/>
                    <a:pt x="122" y="564"/>
                    <a:pt x="122" y="564"/>
                  </a:cubicBezTo>
                  <a:cubicBezTo>
                    <a:pt x="122" y="564"/>
                    <a:pt x="122" y="564"/>
                    <a:pt x="122" y="564"/>
                  </a:cubicBezTo>
                  <a:moveTo>
                    <a:pt x="122" y="562"/>
                  </a:moveTo>
                  <a:cubicBezTo>
                    <a:pt x="123" y="562"/>
                    <a:pt x="123" y="562"/>
                    <a:pt x="123" y="562"/>
                  </a:cubicBezTo>
                  <a:cubicBezTo>
                    <a:pt x="123" y="562"/>
                    <a:pt x="124" y="562"/>
                    <a:pt x="124" y="561"/>
                  </a:cubicBezTo>
                  <a:cubicBezTo>
                    <a:pt x="124" y="561"/>
                    <a:pt x="124" y="561"/>
                    <a:pt x="125" y="561"/>
                  </a:cubicBezTo>
                  <a:cubicBezTo>
                    <a:pt x="125" y="561"/>
                    <a:pt x="125" y="561"/>
                    <a:pt x="125" y="561"/>
                  </a:cubicBezTo>
                  <a:cubicBezTo>
                    <a:pt x="124" y="561"/>
                    <a:pt x="124" y="561"/>
                    <a:pt x="124" y="561"/>
                  </a:cubicBezTo>
                  <a:cubicBezTo>
                    <a:pt x="124" y="562"/>
                    <a:pt x="123" y="562"/>
                    <a:pt x="123" y="562"/>
                  </a:cubicBezTo>
                  <a:cubicBezTo>
                    <a:pt x="122" y="562"/>
                    <a:pt x="122" y="562"/>
                    <a:pt x="122" y="562"/>
                  </a:cubicBezTo>
                  <a:moveTo>
                    <a:pt x="136" y="558"/>
                  </a:moveTo>
                  <a:cubicBezTo>
                    <a:pt x="137" y="557"/>
                    <a:pt x="137" y="557"/>
                    <a:pt x="137" y="556"/>
                  </a:cubicBezTo>
                  <a:cubicBezTo>
                    <a:pt x="137" y="557"/>
                    <a:pt x="137" y="557"/>
                    <a:pt x="136" y="558"/>
                  </a:cubicBezTo>
                  <a:moveTo>
                    <a:pt x="140" y="551"/>
                  </a:moveTo>
                  <a:cubicBezTo>
                    <a:pt x="140" y="551"/>
                    <a:pt x="140" y="551"/>
                    <a:pt x="140" y="551"/>
                  </a:cubicBezTo>
                  <a:cubicBezTo>
                    <a:pt x="140" y="551"/>
                    <a:pt x="140" y="551"/>
                    <a:pt x="140" y="551"/>
                  </a:cubicBezTo>
                  <a:cubicBezTo>
                    <a:pt x="140" y="551"/>
                    <a:pt x="140" y="551"/>
                    <a:pt x="140" y="551"/>
                  </a:cubicBezTo>
                  <a:moveTo>
                    <a:pt x="140" y="551"/>
                  </a:moveTo>
                  <a:cubicBezTo>
                    <a:pt x="140" y="551"/>
                    <a:pt x="140" y="551"/>
                    <a:pt x="140" y="551"/>
                  </a:cubicBezTo>
                  <a:cubicBezTo>
                    <a:pt x="140" y="551"/>
                    <a:pt x="140" y="551"/>
                    <a:pt x="140" y="551"/>
                  </a:cubicBezTo>
                  <a:moveTo>
                    <a:pt x="137" y="551"/>
                  </a:moveTo>
                  <a:cubicBezTo>
                    <a:pt x="137" y="551"/>
                    <a:pt x="137" y="551"/>
                    <a:pt x="138" y="551"/>
                  </a:cubicBezTo>
                  <a:cubicBezTo>
                    <a:pt x="138" y="551"/>
                    <a:pt x="138" y="551"/>
                    <a:pt x="138" y="551"/>
                  </a:cubicBezTo>
                  <a:cubicBezTo>
                    <a:pt x="137" y="551"/>
                    <a:pt x="137" y="551"/>
                    <a:pt x="137" y="551"/>
                  </a:cubicBezTo>
                  <a:moveTo>
                    <a:pt x="140" y="551"/>
                  </a:moveTo>
                  <a:cubicBezTo>
                    <a:pt x="140" y="551"/>
                    <a:pt x="140" y="551"/>
                    <a:pt x="140" y="551"/>
                  </a:cubicBezTo>
                  <a:cubicBezTo>
                    <a:pt x="139" y="551"/>
                    <a:pt x="139" y="551"/>
                    <a:pt x="139" y="551"/>
                  </a:cubicBezTo>
                  <a:cubicBezTo>
                    <a:pt x="139" y="551"/>
                    <a:pt x="139" y="551"/>
                    <a:pt x="140" y="551"/>
                  </a:cubicBezTo>
                  <a:cubicBezTo>
                    <a:pt x="140" y="551"/>
                    <a:pt x="140" y="551"/>
                    <a:pt x="140" y="551"/>
                  </a:cubicBezTo>
                  <a:moveTo>
                    <a:pt x="138" y="551"/>
                  </a:moveTo>
                  <a:cubicBezTo>
                    <a:pt x="139" y="551"/>
                    <a:pt x="139" y="551"/>
                    <a:pt x="139" y="551"/>
                  </a:cubicBezTo>
                  <a:cubicBezTo>
                    <a:pt x="139" y="551"/>
                    <a:pt x="139" y="551"/>
                    <a:pt x="139" y="551"/>
                  </a:cubicBezTo>
                  <a:cubicBezTo>
                    <a:pt x="139" y="551"/>
                    <a:pt x="139" y="551"/>
                    <a:pt x="138" y="551"/>
                  </a:cubicBezTo>
                  <a:cubicBezTo>
                    <a:pt x="138" y="551"/>
                    <a:pt x="138" y="551"/>
                    <a:pt x="138" y="551"/>
                  </a:cubicBezTo>
                  <a:cubicBezTo>
                    <a:pt x="138" y="551"/>
                    <a:pt x="138" y="551"/>
                    <a:pt x="138" y="551"/>
                  </a:cubicBezTo>
                  <a:moveTo>
                    <a:pt x="141" y="550"/>
                  </a:moveTo>
                  <a:cubicBezTo>
                    <a:pt x="141" y="550"/>
                    <a:pt x="141" y="550"/>
                    <a:pt x="141" y="550"/>
                  </a:cubicBezTo>
                  <a:cubicBezTo>
                    <a:pt x="142" y="549"/>
                    <a:pt x="143" y="547"/>
                    <a:pt x="145" y="546"/>
                  </a:cubicBezTo>
                  <a:cubicBezTo>
                    <a:pt x="147" y="543"/>
                    <a:pt x="149" y="540"/>
                    <a:pt x="151" y="538"/>
                  </a:cubicBezTo>
                  <a:cubicBezTo>
                    <a:pt x="151" y="537"/>
                    <a:pt x="152" y="536"/>
                    <a:pt x="152" y="535"/>
                  </a:cubicBezTo>
                  <a:cubicBezTo>
                    <a:pt x="153" y="534"/>
                    <a:pt x="153" y="533"/>
                    <a:pt x="153" y="532"/>
                  </a:cubicBezTo>
                  <a:cubicBezTo>
                    <a:pt x="153" y="533"/>
                    <a:pt x="153" y="534"/>
                    <a:pt x="152" y="535"/>
                  </a:cubicBezTo>
                  <a:cubicBezTo>
                    <a:pt x="152" y="536"/>
                    <a:pt x="151" y="537"/>
                    <a:pt x="151" y="538"/>
                  </a:cubicBezTo>
                  <a:cubicBezTo>
                    <a:pt x="149" y="540"/>
                    <a:pt x="147" y="543"/>
                    <a:pt x="145" y="546"/>
                  </a:cubicBezTo>
                  <a:cubicBezTo>
                    <a:pt x="143" y="547"/>
                    <a:pt x="142" y="549"/>
                    <a:pt x="141" y="550"/>
                  </a:cubicBezTo>
                  <a:cubicBezTo>
                    <a:pt x="141" y="550"/>
                    <a:pt x="141" y="550"/>
                    <a:pt x="141" y="550"/>
                  </a:cubicBezTo>
                  <a:moveTo>
                    <a:pt x="153" y="532"/>
                  </a:moveTo>
                  <a:cubicBezTo>
                    <a:pt x="154" y="530"/>
                    <a:pt x="155" y="527"/>
                    <a:pt x="156" y="525"/>
                  </a:cubicBezTo>
                  <a:cubicBezTo>
                    <a:pt x="156" y="525"/>
                    <a:pt x="156" y="524"/>
                    <a:pt x="156" y="524"/>
                  </a:cubicBezTo>
                  <a:cubicBezTo>
                    <a:pt x="156" y="524"/>
                    <a:pt x="156" y="525"/>
                    <a:pt x="156" y="525"/>
                  </a:cubicBezTo>
                  <a:cubicBezTo>
                    <a:pt x="155" y="527"/>
                    <a:pt x="154" y="530"/>
                    <a:pt x="153" y="532"/>
                  </a:cubicBezTo>
                  <a:moveTo>
                    <a:pt x="127" y="510"/>
                  </a:moveTo>
                  <a:cubicBezTo>
                    <a:pt x="127" y="510"/>
                    <a:pt x="127" y="510"/>
                    <a:pt x="127" y="510"/>
                  </a:cubicBezTo>
                  <a:cubicBezTo>
                    <a:pt x="127" y="510"/>
                    <a:pt x="127" y="510"/>
                    <a:pt x="127" y="510"/>
                  </a:cubicBezTo>
                  <a:cubicBezTo>
                    <a:pt x="127" y="510"/>
                    <a:pt x="127" y="510"/>
                    <a:pt x="127" y="510"/>
                  </a:cubicBezTo>
                  <a:moveTo>
                    <a:pt x="128" y="510"/>
                  </a:moveTo>
                  <a:cubicBezTo>
                    <a:pt x="128" y="510"/>
                    <a:pt x="129" y="510"/>
                    <a:pt x="129" y="510"/>
                  </a:cubicBezTo>
                  <a:cubicBezTo>
                    <a:pt x="129" y="510"/>
                    <a:pt x="128" y="510"/>
                    <a:pt x="128" y="510"/>
                  </a:cubicBezTo>
                  <a:moveTo>
                    <a:pt x="1166" y="0"/>
                  </a:moveTo>
                  <a:cubicBezTo>
                    <a:pt x="1165" y="0"/>
                    <a:pt x="1165" y="0"/>
                    <a:pt x="1165" y="0"/>
                  </a:cubicBezTo>
                  <a:cubicBezTo>
                    <a:pt x="1164" y="1"/>
                    <a:pt x="1164" y="1"/>
                    <a:pt x="1164" y="1"/>
                  </a:cubicBezTo>
                  <a:cubicBezTo>
                    <a:pt x="1164" y="1"/>
                    <a:pt x="1163" y="1"/>
                    <a:pt x="1162" y="1"/>
                  </a:cubicBezTo>
                  <a:cubicBezTo>
                    <a:pt x="1159" y="2"/>
                    <a:pt x="1159" y="2"/>
                    <a:pt x="1159" y="2"/>
                  </a:cubicBezTo>
                  <a:cubicBezTo>
                    <a:pt x="1156" y="2"/>
                    <a:pt x="1152" y="3"/>
                    <a:pt x="1148" y="3"/>
                  </a:cubicBezTo>
                  <a:cubicBezTo>
                    <a:pt x="1136" y="4"/>
                    <a:pt x="1136" y="4"/>
                    <a:pt x="1136" y="4"/>
                  </a:cubicBezTo>
                  <a:cubicBezTo>
                    <a:pt x="1133" y="5"/>
                    <a:pt x="1133" y="5"/>
                    <a:pt x="1133" y="5"/>
                  </a:cubicBezTo>
                  <a:cubicBezTo>
                    <a:pt x="1128" y="6"/>
                    <a:pt x="1123" y="7"/>
                    <a:pt x="1117" y="8"/>
                  </a:cubicBezTo>
                  <a:cubicBezTo>
                    <a:pt x="1116" y="8"/>
                    <a:pt x="1116" y="8"/>
                    <a:pt x="1115" y="8"/>
                  </a:cubicBezTo>
                  <a:cubicBezTo>
                    <a:pt x="1114" y="8"/>
                    <a:pt x="1114" y="8"/>
                    <a:pt x="1114" y="8"/>
                  </a:cubicBezTo>
                  <a:cubicBezTo>
                    <a:pt x="1113" y="8"/>
                    <a:pt x="1112" y="8"/>
                    <a:pt x="1112" y="8"/>
                  </a:cubicBezTo>
                  <a:cubicBezTo>
                    <a:pt x="1110" y="9"/>
                    <a:pt x="1110" y="9"/>
                    <a:pt x="1110" y="9"/>
                  </a:cubicBezTo>
                  <a:cubicBezTo>
                    <a:pt x="1110" y="9"/>
                    <a:pt x="1110" y="9"/>
                    <a:pt x="1110" y="9"/>
                  </a:cubicBezTo>
                  <a:cubicBezTo>
                    <a:pt x="1108" y="10"/>
                    <a:pt x="1108" y="10"/>
                    <a:pt x="1108" y="10"/>
                  </a:cubicBezTo>
                  <a:cubicBezTo>
                    <a:pt x="1106" y="12"/>
                    <a:pt x="1105" y="13"/>
                    <a:pt x="1102" y="15"/>
                  </a:cubicBezTo>
                  <a:cubicBezTo>
                    <a:pt x="1102" y="16"/>
                    <a:pt x="1102" y="16"/>
                    <a:pt x="1102" y="16"/>
                  </a:cubicBezTo>
                  <a:cubicBezTo>
                    <a:pt x="1101" y="17"/>
                    <a:pt x="1100" y="18"/>
                    <a:pt x="1099" y="19"/>
                  </a:cubicBezTo>
                  <a:cubicBezTo>
                    <a:pt x="1098" y="19"/>
                    <a:pt x="1098" y="19"/>
                    <a:pt x="1098" y="19"/>
                  </a:cubicBezTo>
                  <a:cubicBezTo>
                    <a:pt x="1098" y="19"/>
                    <a:pt x="1097" y="20"/>
                    <a:pt x="1097" y="20"/>
                  </a:cubicBezTo>
                  <a:cubicBezTo>
                    <a:pt x="1095" y="22"/>
                    <a:pt x="1094" y="23"/>
                    <a:pt x="1092" y="24"/>
                  </a:cubicBezTo>
                  <a:cubicBezTo>
                    <a:pt x="1092" y="25"/>
                    <a:pt x="1092" y="25"/>
                    <a:pt x="1092" y="25"/>
                  </a:cubicBezTo>
                  <a:cubicBezTo>
                    <a:pt x="1092" y="25"/>
                    <a:pt x="1092" y="25"/>
                    <a:pt x="1092" y="25"/>
                  </a:cubicBezTo>
                  <a:cubicBezTo>
                    <a:pt x="1093" y="24"/>
                    <a:pt x="1094" y="24"/>
                    <a:pt x="1095" y="24"/>
                  </a:cubicBezTo>
                  <a:cubicBezTo>
                    <a:pt x="1097" y="24"/>
                    <a:pt x="1098" y="24"/>
                    <a:pt x="1099" y="24"/>
                  </a:cubicBezTo>
                  <a:cubicBezTo>
                    <a:pt x="1100" y="24"/>
                    <a:pt x="1100" y="24"/>
                    <a:pt x="1101" y="24"/>
                  </a:cubicBezTo>
                  <a:cubicBezTo>
                    <a:pt x="1101" y="24"/>
                    <a:pt x="1101" y="24"/>
                    <a:pt x="1101" y="24"/>
                  </a:cubicBezTo>
                  <a:cubicBezTo>
                    <a:pt x="1102" y="25"/>
                    <a:pt x="1103" y="25"/>
                    <a:pt x="1103" y="25"/>
                  </a:cubicBezTo>
                  <a:cubicBezTo>
                    <a:pt x="1103" y="25"/>
                    <a:pt x="1103" y="25"/>
                    <a:pt x="1103" y="25"/>
                  </a:cubicBezTo>
                  <a:cubicBezTo>
                    <a:pt x="1104" y="25"/>
                    <a:pt x="1104" y="26"/>
                    <a:pt x="1105" y="26"/>
                  </a:cubicBezTo>
                  <a:cubicBezTo>
                    <a:pt x="1105" y="26"/>
                    <a:pt x="1105" y="26"/>
                    <a:pt x="1105" y="26"/>
                  </a:cubicBezTo>
                  <a:cubicBezTo>
                    <a:pt x="1106" y="26"/>
                    <a:pt x="1106" y="26"/>
                    <a:pt x="1106" y="26"/>
                  </a:cubicBezTo>
                  <a:cubicBezTo>
                    <a:pt x="1108" y="28"/>
                    <a:pt x="1108" y="30"/>
                    <a:pt x="1108" y="31"/>
                  </a:cubicBezTo>
                  <a:cubicBezTo>
                    <a:pt x="1108" y="32"/>
                    <a:pt x="1108" y="32"/>
                    <a:pt x="1108" y="32"/>
                  </a:cubicBezTo>
                  <a:cubicBezTo>
                    <a:pt x="1107" y="36"/>
                    <a:pt x="1107" y="36"/>
                    <a:pt x="1107" y="36"/>
                  </a:cubicBezTo>
                  <a:cubicBezTo>
                    <a:pt x="1108" y="37"/>
                    <a:pt x="1108" y="37"/>
                    <a:pt x="1108" y="37"/>
                  </a:cubicBezTo>
                  <a:cubicBezTo>
                    <a:pt x="1109" y="38"/>
                    <a:pt x="1109" y="38"/>
                    <a:pt x="1109" y="38"/>
                  </a:cubicBezTo>
                  <a:cubicBezTo>
                    <a:pt x="1109" y="39"/>
                    <a:pt x="1109" y="39"/>
                    <a:pt x="1109" y="39"/>
                  </a:cubicBezTo>
                  <a:cubicBezTo>
                    <a:pt x="1109" y="39"/>
                    <a:pt x="1109" y="39"/>
                    <a:pt x="1109" y="39"/>
                  </a:cubicBezTo>
                  <a:cubicBezTo>
                    <a:pt x="1110" y="40"/>
                    <a:pt x="1110" y="40"/>
                    <a:pt x="1110" y="40"/>
                  </a:cubicBezTo>
                  <a:cubicBezTo>
                    <a:pt x="1110" y="41"/>
                    <a:pt x="1110" y="41"/>
                    <a:pt x="1110" y="41"/>
                  </a:cubicBezTo>
                  <a:cubicBezTo>
                    <a:pt x="1110" y="42"/>
                    <a:pt x="1110" y="43"/>
                    <a:pt x="1109" y="44"/>
                  </a:cubicBezTo>
                  <a:cubicBezTo>
                    <a:pt x="1107" y="46"/>
                    <a:pt x="1105" y="49"/>
                    <a:pt x="1103" y="51"/>
                  </a:cubicBezTo>
                  <a:cubicBezTo>
                    <a:pt x="1091" y="64"/>
                    <a:pt x="1091" y="64"/>
                    <a:pt x="1091" y="64"/>
                  </a:cubicBezTo>
                  <a:cubicBezTo>
                    <a:pt x="1089" y="66"/>
                    <a:pt x="1089" y="66"/>
                    <a:pt x="1089" y="66"/>
                  </a:cubicBezTo>
                  <a:cubicBezTo>
                    <a:pt x="1088" y="69"/>
                    <a:pt x="1086" y="72"/>
                    <a:pt x="1085" y="74"/>
                  </a:cubicBezTo>
                  <a:cubicBezTo>
                    <a:pt x="1080" y="81"/>
                    <a:pt x="1080" y="81"/>
                    <a:pt x="1080" y="81"/>
                  </a:cubicBezTo>
                  <a:cubicBezTo>
                    <a:pt x="1077" y="89"/>
                    <a:pt x="1077" y="89"/>
                    <a:pt x="1077" y="89"/>
                  </a:cubicBezTo>
                  <a:cubicBezTo>
                    <a:pt x="1076" y="96"/>
                    <a:pt x="1076" y="96"/>
                    <a:pt x="1076" y="96"/>
                  </a:cubicBezTo>
                  <a:cubicBezTo>
                    <a:pt x="1076" y="97"/>
                    <a:pt x="1076" y="97"/>
                    <a:pt x="1076" y="97"/>
                  </a:cubicBezTo>
                  <a:cubicBezTo>
                    <a:pt x="1076" y="98"/>
                    <a:pt x="1076" y="98"/>
                    <a:pt x="1076" y="98"/>
                  </a:cubicBezTo>
                  <a:cubicBezTo>
                    <a:pt x="1076" y="99"/>
                    <a:pt x="1076" y="100"/>
                    <a:pt x="1076" y="100"/>
                  </a:cubicBezTo>
                  <a:cubicBezTo>
                    <a:pt x="1076" y="101"/>
                    <a:pt x="1076" y="101"/>
                    <a:pt x="1076" y="101"/>
                  </a:cubicBezTo>
                  <a:cubicBezTo>
                    <a:pt x="1076" y="102"/>
                    <a:pt x="1076" y="102"/>
                    <a:pt x="1076" y="102"/>
                  </a:cubicBezTo>
                  <a:cubicBezTo>
                    <a:pt x="1076" y="102"/>
                    <a:pt x="1076" y="103"/>
                    <a:pt x="1076" y="103"/>
                  </a:cubicBezTo>
                  <a:cubicBezTo>
                    <a:pt x="1076" y="104"/>
                    <a:pt x="1076" y="104"/>
                    <a:pt x="1076" y="104"/>
                  </a:cubicBezTo>
                  <a:cubicBezTo>
                    <a:pt x="1076" y="105"/>
                    <a:pt x="1076" y="105"/>
                    <a:pt x="1076" y="106"/>
                  </a:cubicBezTo>
                  <a:cubicBezTo>
                    <a:pt x="1075" y="106"/>
                    <a:pt x="1075" y="106"/>
                    <a:pt x="1075" y="106"/>
                  </a:cubicBezTo>
                  <a:cubicBezTo>
                    <a:pt x="1074" y="107"/>
                    <a:pt x="1074" y="107"/>
                    <a:pt x="1074" y="108"/>
                  </a:cubicBezTo>
                  <a:cubicBezTo>
                    <a:pt x="1073" y="108"/>
                    <a:pt x="1073" y="108"/>
                    <a:pt x="1073" y="108"/>
                  </a:cubicBezTo>
                  <a:cubicBezTo>
                    <a:pt x="1065" y="112"/>
                    <a:pt x="1065" y="112"/>
                    <a:pt x="1065" y="112"/>
                  </a:cubicBezTo>
                  <a:cubicBezTo>
                    <a:pt x="1056" y="114"/>
                    <a:pt x="1056" y="114"/>
                    <a:pt x="1056" y="114"/>
                  </a:cubicBezTo>
                  <a:cubicBezTo>
                    <a:pt x="1053" y="114"/>
                    <a:pt x="1051" y="116"/>
                    <a:pt x="1049" y="119"/>
                  </a:cubicBezTo>
                  <a:cubicBezTo>
                    <a:pt x="1049" y="119"/>
                    <a:pt x="1049" y="119"/>
                    <a:pt x="1049" y="119"/>
                  </a:cubicBezTo>
                  <a:cubicBezTo>
                    <a:pt x="1039" y="126"/>
                    <a:pt x="1039" y="126"/>
                    <a:pt x="1039" y="126"/>
                  </a:cubicBezTo>
                  <a:cubicBezTo>
                    <a:pt x="1030" y="123"/>
                    <a:pt x="1030" y="123"/>
                    <a:pt x="1030" y="123"/>
                  </a:cubicBezTo>
                  <a:cubicBezTo>
                    <a:pt x="1030" y="125"/>
                    <a:pt x="1030" y="125"/>
                    <a:pt x="1030" y="125"/>
                  </a:cubicBezTo>
                  <a:cubicBezTo>
                    <a:pt x="1029" y="122"/>
                    <a:pt x="1029" y="122"/>
                    <a:pt x="1029" y="122"/>
                  </a:cubicBezTo>
                  <a:cubicBezTo>
                    <a:pt x="1016" y="118"/>
                    <a:pt x="1016" y="118"/>
                    <a:pt x="1016" y="118"/>
                  </a:cubicBezTo>
                  <a:cubicBezTo>
                    <a:pt x="1015" y="118"/>
                    <a:pt x="1014" y="118"/>
                    <a:pt x="1012" y="117"/>
                  </a:cubicBezTo>
                  <a:cubicBezTo>
                    <a:pt x="1007" y="127"/>
                    <a:pt x="1007" y="127"/>
                    <a:pt x="1007" y="127"/>
                  </a:cubicBezTo>
                  <a:cubicBezTo>
                    <a:pt x="1005" y="132"/>
                    <a:pt x="1002" y="137"/>
                    <a:pt x="1000" y="142"/>
                  </a:cubicBezTo>
                  <a:cubicBezTo>
                    <a:pt x="993" y="155"/>
                    <a:pt x="993" y="155"/>
                    <a:pt x="993" y="155"/>
                  </a:cubicBezTo>
                  <a:cubicBezTo>
                    <a:pt x="993" y="156"/>
                    <a:pt x="993" y="156"/>
                    <a:pt x="993" y="157"/>
                  </a:cubicBezTo>
                  <a:cubicBezTo>
                    <a:pt x="993" y="158"/>
                    <a:pt x="993" y="158"/>
                    <a:pt x="993" y="158"/>
                  </a:cubicBezTo>
                  <a:cubicBezTo>
                    <a:pt x="993" y="160"/>
                    <a:pt x="993" y="162"/>
                    <a:pt x="991" y="164"/>
                  </a:cubicBezTo>
                  <a:cubicBezTo>
                    <a:pt x="990" y="165"/>
                    <a:pt x="989" y="165"/>
                    <a:pt x="988" y="166"/>
                  </a:cubicBezTo>
                  <a:cubicBezTo>
                    <a:pt x="988" y="166"/>
                    <a:pt x="987" y="166"/>
                    <a:pt x="987" y="167"/>
                  </a:cubicBezTo>
                  <a:cubicBezTo>
                    <a:pt x="987" y="167"/>
                    <a:pt x="987" y="168"/>
                    <a:pt x="987" y="169"/>
                  </a:cubicBezTo>
                  <a:cubicBezTo>
                    <a:pt x="987" y="169"/>
                    <a:pt x="987" y="169"/>
                    <a:pt x="987" y="169"/>
                  </a:cubicBezTo>
                  <a:cubicBezTo>
                    <a:pt x="987" y="169"/>
                    <a:pt x="987" y="169"/>
                    <a:pt x="987" y="169"/>
                  </a:cubicBezTo>
                  <a:cubicBezTo>
                    <a:pt x="988" y="170"/>
                    <a:pt x="988" y="170"/>
                    <a:pt x="988" y="170"/>
                  </a:cubicBezTo>
                  <a:cubicBezTo>
                    <a:pt x="988" y="171"/>
                    <a:pt x="989" y="171"/>
                    <a:pt x="990" y="172"/>
                  </a:cubicBezTo>
                  <a:cubicBezTo>
                    <a:pt x="991" y="174"/>
                    <a:pt x="992" y="175"/>
                    <a:pt x="993" y="175"/>
                  </a:cubicBezTo>
                  <a:cubicBezTo>
                    <a:pt x="993" y="174"/>
                    <a:pt x="994" y="173"/>
                    <a:pt x="996" y="173"/>
                  </a:cubicBezTo>
                  <a:cubicBezTo>
                    <a:pt x="998" y="173"/>
                    <a:pt x="1000" y="172"/>
                    <a:pt x="1004" y="172"/>
                  </a:cubicBezTo>
                  <a:cubicBezTo>
                    <a:pt x="1014" y="171"/>
                    <a:pt x="1014" y="171"/>
                    <a:pt x="1014" y="171"/>
                  </a:cubicBezTo>
                  <a:cubicBezTo>
                    <a:pt x="1015" y="171"/>
                    <a:pt x="1015" y="171"/>
                    <a:pt x="1015" y="171"/>
                  </a:cubicBezTo>
                  <a:cubicBezTo>
                    <a:pt x="1017" y="171"/>
                    <a:pt x="1018" y="171"/>
                    <a:pt x="1020" y="172"/>
                  </a:cubicBezTo>
                  <a:cubicBezTo>
                    <a:pt x="1021" y="172"/>
                    <a:pt x="1021" y="173"/>
                    <a:pt x="1022" y="173"/>
                  </a:cubicBezTo>
                  <a:cubicBezTo>
                    <a:pt x="1022" y="173"/>
                    <a:pt x="1022" y="173"/>
                    <a:pt x="1022" y="173"/>
                  </a:cubicBezTo>
                  <a:cubicBezTo>
                    <a:pt x="1024" y="175"/>
                    <a:pt x="1025" y="176"/>
                    <a:pt x="1026" y="176"/>
                  </a:cubicBezTo>
                  <a:cubicBezTo>
                    <a:pt x="1026" y="176"/>
                    <a:pt x="1026" y="176"/>
                    <a:pt x="1026" y="176"/>
                  </a:cubicBezTo>
                  <a:cubicBezTo>
                    <a:pt x="1027" y="175"/>
                    <a:pt x="1027" y="175"/>
                    <a:pt x="1027" y="175"/>
                  </a:cubicBezTo>
                  <a:cubicBezTo>
                    <a:pt x="1027" y="175"/>
                    <a:pt x="1027" y="175"/>
                    <a:pt x="1027" y="174"/>
                  </a:cubicBezTo>
                  <a:cubicBezTo>
                    <a:pt x="1030" y="171"/>
                    <a:pt x="1033" y="169"/>
                    <a:pt x="1037" y="169"/>
                  </a:cubicBezTo>
                  <a:cubicBezTo>
                    <a:pt x="1038" y="168"/>
                    <a:pt x="1039" y="168"/>
                    <a:pt x="1040" y="168"/>
                  </a:cubicBezTo>
                  <a:cubicBezTo>
                    <a:pt x="1042" y="168"/>
                    <a:pt x="1042" y="168"/>
                    <a:pt x="1042" y="168"/>
                  </a:cubicBezTo>
                  <a:cubicBezTo>
                    <a:pt x="1043" y="168"/>
                    <a:pt x="1044" y="168"/>
                    <a:pt x="1045" y="168"/>
                  </a:cubicBezTo>
                  <a:cubicBezTo>
                    <a:pt x="1047" y="167"/>
                    <a:pt x="1049" y="167"/>
                    <a:pt x="1052" y="167"/>
                  </a:cubicBezTo>
                  <a:cubicBezTo>
                    <a:pt x="1052" y="167"/>
                    <a:pt x="1053" y="167"/>
                    <a:pt x="1053" y="167"/>
                  </a:cubicBezTo>
                  <a:cubicBezTo>
                    <a:pt x="1054" y="167"/>
                    <a:pt x="1055" y="167"/>
                    <a:pt x="1056" y="168"/>
                  </a:cubicBezTo>
                  <a:cubicBezTo>
                    <a:pt x="1056" y="168"/>
                    <a:pt x="1057" y="168"/>
                    <a:pt x="1058" y="169"/>
                  </a:cubicBezTo>
                  <a:cubicBezTo>
                    <a:pt x="1059" y="170"/>
                    <a:pt x="1059" y="171"/>
                    <a:pt x="1059" y="171"/>
                  </a:cubicBezTo>
                  <a:cubicBezTo>
                    <a:pt x="1060" y="172"/>
                    <a:pt x="1060" y="172"/>
                    <a:pt x="1060" y="172"/>
                  </a:cubicBezTo>
                  <a:cubicBezTo>
                    <a:pt x="1061" y="173"/>
                    <a:pt x="1062" y="174"/>
                    <a:pt x="1064" y="174"/>
                  </a:cubicBezTo>
                  <a:cubicBezTo>
                    <a:pt x="1066" y="175"/>
                    <a:pt x="1068" y="176"/>
                    <a:pt x="1070" y="178"/>
                  </a:cubicBezTo>
                  <a:cubicBezTo>
                    <a:pt x="1070" y="179"/>
                    <a:pt x="1070" y="179"/>
                    <a:pt x="1070" y="179"/>
                  </a:cubicBezTo>
                  <a:cubicBezTo>
                    <a:pt x="1071" y="180"/>
                    <a:pt x="1071" y="180"/>
                    <a:pt x="1071" y="180"/>
                  </a:cubicBezTo>
                  <a:cubicBezTo>
                    <a:pt x="1072" y="181"/>
                    <a:pt x="1072" y="182"/>
                    <a:pt x="1073" y="182"/>
                  </a:cubicBezTo>
                  <a:cubicBezTo>
                    <a:pt x="1075" y="183"/>
                    <a:pt x="1077" y="185"/>
                    <a:pt x="1078" y="187"/>
                  </a:cubicBezTo>
                  <a:cubicBezTo>
                    <a:pt x="1079" y="188"/>
                    <a:pt x="1080" y="189"/>
                    <a:pt x="1081" y="189"/>
                  </a:cubicBezTo>
                  <a:cubicBezTo>
                    <a:pt x="1083" y="191"/>
                    <a:pt x="1084" y="192"/>
                    <a:pt x="1085" y="194"/>
                  </a:cubicBezTo>
                  <a:cubicBezTo>
                    <a:pt x="1089" y="199"/>
                    <a:pt x="1089" y="203"/>
                    <a:pt x="1089" y="208"/>
                  </a:cubicBezTo>
                  <a:cubicBezTo>
                    <a:pt x="1089" y="209"/>
                    <a:pt x="1089" y="209"/>
                    <a:pt x="1089" y="209"/>
                  </a:cubicBezTo>
                  <a:cubicBezTo>
                    <a:pt x="1088" y="209"/>
                    <a:pt x="1088" y="209"/>
                    <a:pt x="1088" y="209"/>
                  </a:cubicBezTo>
                  <a:cubicBezTo>
                    <a:pt x="1087" y="211"/>
                    <a:pt x="1086" y="212"/>
                    <a:pt x="1084" y="212"/>
                  </a:cubicBezTo>
                  <a:cubicBezTo>
                    <a:pt x="1071" y="211"/>
                    <a:pt x="1071" y="211"/>
                    <a:pt x="1071" y="211"/>
                  </a:cubicBezTo>
                  <a:cubicBezTo>
                    <a:pt x="1070" y="211"/>
                    <a:pt x="1068" y="211"/>
                    <a:pt x="1066" y="211"/>
                  </a:cubicBezTo>
                  <a:cubicBezTo>
                    <a:pt x="1064" y="211"/>
                    <a:pt x="1061" y="211"/>
                    <a:pt x="1059" y="211"/>
                  </a:cubicBezTo>
                  <a:cubicBezTo>
                    <a:pt x="1057" y="211"/>
                    <a:pt x="1055" y="211"/>
                    <a:pt x="1053" y="211"/>
                  </a:cubicBezTo>
                  <a:cubicBezTo>
                    <a:pt x="1047" y="213"/>
                    <a:pt x="1042" y="215"/>
                    <a:pt x="1036" y="218"/>
                  </a:cubicBezTo>
                  <a:cubicBezTo>
                    <a:pt x="1029" y="220"/>
                    <a:pt x="1029" y="220"/>
                    <a:pt x="1029" y="220"/>
                  </a:cubicBezTo>
                  <a:cubicBezTo>
                    <a:pt x="1028" y="220"/>
                    <a:pt x="1027" y="221"/>
                    <a:pt x="1026" y="221"/>
                  </a:cubicBezTo>
                  <a:cubicBezTo>
                    <a:pt x="1023" y="220"/>
                    <a:pt x="1023" y="220"/>
                    <a:pt x="1023" y="220"/>
                  </a:cubicBezTo>
                  <a:cubicBezTo>
                    <a:pt x="1021" y="220"/>
                    <a:pt x="1020" y="220"/>
                    <a:pt x="1018" y="220"/>
                  </a:cubicBezTo>
                  <a:cubicBezTo>
                    <a:pt x="1014" y="220"/>
                    <a:pt x="1011" y="221"/>
                    <a:pt x="1009" y="223"/>
                  </a:cubicBezTo>
                  <a:cubicBezTo>
                    <a:pt x="1005" y="227"/>
                    <a:pt x="1003" y="230"/>
                    <a:pt x="1003" y="232"/>
                  </a:cubicBezTo>
                  <a:cubicBezTo>
                    <a:pt x="1003" y="232"/>
                    <a:pt x="1003" y="232"/>
                    <a:pt x="1003" y="232"/>
                  </a:cubicBezTo>
                  <a:cubicBezTo>
                    <a:pt x="1004" y="234"/>
                    <a:pt x="1004" y="235"/>
                    <a:pt x="1003" y="237"/>
                  </a:cubicBezTo>
                  <a:cubicBezTo>
                    <a:pt x="1002" y="238"/>
                    <a:pt x="1001" y="239"/>
                    <a:pt x="1001" y="239"/>
                  </a:cubicBezTo>
                  <a:cubicBezTo>
                    <a:pt x="999" y="240"/>
                    <a:pt x="998" y="241"/>
                    <a:pt x="998" y="241"/>
                  </a:cubicBezTo>
                  <a:cubicBezTo>
                    <a:pt x="997" y="242"/>
                    <a:pt x="997" y="242"/>
                    <a:pt x="997" y="242"/>
                  </a:cubicBezTo>
                  <a:cubicBezTo>
                    <a:pt x="996" y="242"/>
                    <a:pt x="996" y="242"/>
                    <a:pt x="996" y="242"/>
                  </a:cubicBezTo>
                  <a:cubicBezTo>
                    <a:pt x="995" y="243"/>
                    <a:pt x="995" y="243"/>
                    <a:pt x="995" y="243"/>
                  </a:cubicBezTo>
                  <a:cubicBezTo>
                    <a:pt x="994" y="243"/>
                    <a:pt x="993" y="243"/>
                    <a:pt x="993" y="244"/>
                  </a:cubicBezTo>
                  <a:cubicBezTo>
                    <a:pt x="992" y="244"/>
                    <a:pt x="992" y="244"/>
                    <a:pt x="992" y="244"/>
                  </a:cubicBezTo>
                  <a:cubicBezTo>
                    <a:pt x="991" y="245"/>
                    <a:pt x="991" y="245"/>
                    <a:pt x="991" y="245"/>
                  </a:cubicBezTo>
                  <a:cubicBezTo>
                    <a:pt x="991" y="245"/>
                    <a:pt x="990" y="246"/>
                    <a:pt x="990" y="246"/>
                  </a:cubicBezTo>
                  <a:cubicBezTo>
                    <a:pt x="988" y="247"/>
                    <a:pt x="987" y="247"/>
                    <a:pt x="985" y="247"/>
                  </a:cubicBezTo>
                  <a:cubicBezTo>
                    <a:pt x="971" y="248"/>
                    <a:pt x="971" y="248"/>
                    <a:pt x="971" y="248"/>
                  </a:cubicBezTo>
                  <a:cubicBezTo>
                    <a:pt x="971" y="248"/>
                    <a:pt x="971" y="248"/>
                    <a:pt x="971" y="248"/>
                  </a:cubicBezTo>
                  <a:cubicBezTo>
                    <a:pt x="970" y="248"/>
                    <a:pt x="969" y="248"/>
                    <a:pt x="969" y="248"/>
                  </a:cubicBezTo>
                  <a:cubicBezTo>
                    <a:pt x="968" y="248"/>
                    <a:pt x="967" y="248"/>
                    <a:pt x="967" y="248"/>
                  </a:cubicBezTo>
                  <a:cubicBezTo>
                    <a:pt x="966" y="248"/>
                    <a:pt x="965" y="248"/>
                    <a:pt x="965" y="248"/>
                  </a:cubicBezTo>
                  <a:cubicBezTo>
                    <a:pt x="965" y="248"/>
                    <a:pt x="965" y="248"/>
                    <a:pt x="965" y="248"/>
                  </a:cubicBezTo>
                  <a:cubicBezTo>
                    <a:pt x="964" y="249"/>
                    <a:pt x="963" y="249"/>
                    <a:pt x="963" y="250"/>
                  </a:cubicBezTo>
                  <a:cubicBezTo>
                    <a:pt x="963" y="250"/>
                    <a:pt x="963" y="250"/>
                    <a:pt x="963" y="250"/>
                  </a:cubicBezTo>
                  <a:cubicBezTo>
                    <a:pt x="962" y="251"/>
                    <a:pt x="962" y="251"/>
                    <a:pt x="962" y="251"/>
                  </a:cubicBezTo>
                  <a:cubicBezTo>
                    <a:pt x="965" y="254"/>
                    <a:pt x="965" y="254"/>
                    <a:pt x="965" y="254"/>
                  </a:cubicBezTo>
                  <a:cubicBezTo>
                    <a:pt x="961" y="252"/>
                    <a:pt x="961" y="252"/>
                    <a:pt x="961" y="252"/>
                  </a:cubicBezTo>
                  <a:cubicBezTo>
                    <a:pt x="961" y="252"/>
                    <a:pt x="961" y="252"/>
                    <a:pt x="961" y="252"/>
                  </a:cubicBezTo>
                  <a:cubicBezTo>
                    <a:pt x="957" y="256"/>
                    <a:pt x="953" y="259"/>
                    <a:pt x="948" y="263"/>
                  </a:cubicBezTo>
                  <a:cubicBezTo>
                    <a:pt x="947" y="263"/>
                    <a:pt x="946" y="264"/>
                    <a:pt x="946" y="264"/>
                  </a:cubicBezTo>
                  <a:cubicBezTo>
                    <a:pt x="944" y="265"/>
                    <a:pt x="944" y="265"/>
                    <a:pt x="944" y="265"/>
                  </a:cubicBezTo>
                  <a:cubicBezTo>
                    <a:pt x="941" y="267"/>
                    <a:pt x="939" y="267"/>
                    <a:pt x="937" y="268"/>
                  </a:cubicBezTo>
                  <a:cubicBezTo>
                    <a:pt x="935" y="268"/>
                    <a:pt x="934" y="267"/>
                    <a:pt x="933" y="267"/>
                  </a:cubicBezTo>
                  <a:cubicBezTo>
                    <a:pt x="933" y="267"/>
                    <a:pt x="932" y="267"/>
                    <a:pt x="932" y="267"/>
                  </a:cubicBezTo>
                  <a:cubicBezTo>
                    <a:pt x="930" y="267"/>
                    <a:pt x="928" y="266"/>
                    <a:pt x="926" y="266"/>
                  </a:cubicBezTo>
                  <a:cubicBezTo>
                    <a:pt x="924" y="265"/>
                    <a:pt x="923" y="264"/>
                    <a:pt x="922" y="264"/>
                  </a:cubicBezTo>
                  <a:cubicBezTo>
                    <a:pt x="922" y="264"/>
                    <a:pt x="922" y="264"/>
                    <a:pt x="922" y="264"/>
                  </a:cubicBezTo>
                  <a:cubicBezTo>
                    <a:pt x="918" y="262"/>
                    <a:pt x="915" y="260"/>
                    <a:pt x="911" y="259"/>
                  </a:cubicBezTo>
                  <a:cubicBezTo>
                    <a:pt x="910" y="259"/>
                    <a:pt x="910" y="259"/>
                    <a:pt x="910" y="259"/>
                  </a:cubicBezTo>
                  <a:cubicBezTo>
                    <a:pt x="909" y="258"/>
                    <a:pt x="907" y="258"/>
                    <a:pt x="906" y="258"/>
                  </a:cubicBezTo>
                  <a:cubicBezTo>
                    <a:pt x="904" y="258"/>
                    <a:pt x="903" y="258"/>
                    <a:pt x="902" y="258"/>
                  </a:cubicBezTo>
                  <a:cubicBezTo>
                    <a:pt x="901" y="258"/>
                    <a:pt x="901" y="258"/>
                    <a:pt x="901" y="258"/>
                  </a:cubicBezTo>
                  <a:cubicBezTo>
                    <a:pt x="901" y="258"/>
                    <a:pt x="901" y="258"/>
                    <a:pt x="901" y="258"/>
                  </a:cubicBezTo>
                  <a:cubicBezTo>
                    <a:pt x="900" y="259"/>
                    <a:pt x="899" y="260"/>
                    <a:pt x="899" y="260"/>
                  </a:cubicBezTo>
                  <a:cubicBezTo>
                    <a:pt x="899" y="260"/>
                    <a:pt x="899" y="260"/>
                    <a:pt x="899" y="260"/>
                  </a:cubicBezTo>
                  <a:cubicBezTo>
                    <a:pt x="897" y="262"/>
                    <a:pt x="895" y="263"/>
                    <a:pt x="895" y="264"/>
                  </a:cubicBezTo>
                  <a:cubicBezTo>
                    <a:pt x="894" y="267"/>
                    <a:pt x="893" y="269"/>
                    <a:pt x="892" y="272"/>
                  </a:cubicBezTo>
                  <a:cubicBezTo>
                    <a:pt x="890" y="275"/>
                    <a:pt x="890" y="275"/>
                    <a:pt x="890" y="275"/>
                  </a:cubicBezTo>
                  <a:cubicBezTo>
                    <a:pt x="890" y="275"/>
                    <a:pt x="890" y="275"/>
                    <a:pt x="890" y="275"/>
                  </a:cubicBezTo>
                  <a:cubicBezTo>
                    <a:pt x="890" y="276"/>
                    <a:pt x="890" y="276"/>
                    <a:pt x="890" y="276"/>
                  </a:cubicBezTo>
                  <a:cubicBezTo>
                    <a:pt x="891" y="277"/>
                    <a:pt x="892" y="280"/>
                    <a:pt x="893" y="281"/>
                  </a:cubicBezTo>
                  <a:cubicBezTo>
                    <a:pt x="894" y="282"/>
                    <a:pt x="894" y="283"/>
                    <a:pt x="895" y="283"/>
                  </a:cubicBezTo>
                  <a:cubicBezTo>
                    <a:pt x="895" y="284"/>
                    <a:pt x="896" y="284"/>
                    <a:pt x="896" y="284"/>
                  </a:cubicBezTo>
                  <a:cubicBezTo>
                    <a:pt x="898" y="285"/>
                    <a:pt x="899" y="286"/>
                    <a:pt x="900" y="288"/>
                  </a:cubicBezTo>
                  <a:cubicBezTo>
                    <a:pt x="901" y="290"/>
                    <a:pt x="901" y="290"/>
                    <a:pt x="901" y="290"/>
                  </a:cubicBezTo>
                  <a:cubicBezTo>
                    <a:pt x="903" y="293"/>
                    <a:pt x="902" y="296"/>
                    <a:pt x="898" y="298"/>
                  </a:cubicBezTo>
                  <a:cubicBezTo>
                    <a:pt x="895" y="300"/>
                    <a:pt x="892" y="302"/>
                    <a:pt x="888" y="304"/>
                  </a:cubicBezTo>
                  <a:cubicBezTo>
                    <a:pt x="886" y="305"/>
                    <a:pt x="886" y="305"/>
                    <a:pt x="886" y="305"/>
                  </a:cubicBezTo>
                  <a:cubicBezTo>
                    <a:pt x="883" y="306"/>
                    <a:pt x="880" y="307"/>
                    <a:pt x="878" y="309"/>
                  </a:cubicBezTo>
                  <a:cubicBezTo>
                    <a:pt x="876" y="311"/>
                    <a:pt x="874" y="313"/>
                    <a:pt x="872" y="316"/>
                  </a:cubicBezTo>
                  <a:cubicBezTo>
                    <a:pt x="872" y="316"/>
                    <a:pt x="872" y="316"/>
                    <a:pt x="872" y="316"/>
                  </a:cubicBezTo>
                  <a:cubicBezTo>
                    <a:pt x="871" y="317"/>
                    <a:pt x="870" y="319"/>
                    <a:pt x="869" y="320"/>
                  </a:cubicBezTo>
                  <a:cubicBezTo>
                    <a:pt x="867" y="322"/>
                    <a:pt x="865" y="324"/>
                    <a:pt x="863" y="325"/>
                  </a:cubicBezTo>
                  <a:cubicBezTo>
                    <a:pt x="861" y="325"/>
                    <a:pt x="858" y="327"/>
                    <a:pt x="856" y="328"/>
                  </a:cubicBezTo>
                  <a:cubicBezTo>
                    <a:pt x="853" y="329"/>
                    <a:pt x="853" y="329"/>
                    <a:pt x="853" y="329"/>
                  </a:cubicBezTo>
                  <a:cubicBezTo>
                    <a:pt x="850" y="330"/>
                    <a:pt x="850" y="330"/>
                    <a:pt x="850" y="330"/>
                  </a:cubicBezTo>
                  <a:cubicBezTo>
                    <a:pt x="848" y="331"/>
                    <a:pt x="845" y="332"/>
                    <a:pt x="844" y="333"/>
                  </a:cubicBezTo>
                  <a:cubicBezTo>
                    <a:pt x="840" y="334"/>
                    <a:pt x="836" y="334"/>
                    <a:pt x="833" y="334"/>
                  </a:cubicBezTo>
                  <a:cubicBezTo>
                    <a:pt x="832" y="334"/>
                    <a:pt x="831" y="334"/>
                    <a:pt x="830" y="334"/>
                  </a:cubicBezTo>
                  <a:cubicBezTo>
                    <a:pt x="829" y="334"/>
                    <a:pt x="829" y="334"/>
                    <a:pt x="829" y="334"/>
                  </a:cubicBezTo>
                  <a:cubicBezTo>
                    <a:pt x="828" y="334"/>
                    <a:pt x="826" y="334"/>
                    <a:pt x="825" y="334"/>
                  </a:cubicBezTo>
                  <a:cubicBezTo>
                    <a:pt x="824" y="334"/>
                    <a:pt x="824" y="334"/>
                    <a:pt x="824" y="334"/>
                  </a:cubicBezTo>
                  <a:cubicBezTo>
                    <a:pt x="823" y="334"/>
                    <a:pt x="822" y="334"/>
                    <a:pt x="821" y="334"/>
                  </a:cubicBezTo>
                  <a:cubicBezTo>
                    <a:pt x="816" y="334"/>
                    <a:pt x="816" y="334"/>
                    <a:pt x="816" y="334"/>
                  </a:cubicBezTo>
                  <a:cubicBezTo>
                    <a:pt x="813" y="334"/>
                    <a:pt x="810" y="334"/>
                    <a:pt x="806" y="335"/>
                  </a:cubicBezTo>
                  <a:cubicBezTo>
                    <a:pt x="801" y="335"/>
                    <a:pt x="801" y="335"/>
                    <a:pt x="801" y="335"/>
                  </a:cubicBezTo>
                  <a:cubicBezTo>
                    <a:pt x="799" y="336"/>
                    <a:pt x="797" y="336"/>
                    <a:pt x="795" y="336"/>
                  </a:cubicBezTo>
                  <a:cubicBezTo>
                    <a:pt x="793" y="336"/>
                    <a:pt x="793" y="336"/>
                    <a:pt x="793" y="336"/>
                  </a:cubicBezTo>
                  <a:cubicBezTo>
                    <a:pt x="788" y="337"/>
                    <a:pt x="783" y="337"/>
                    <a:pt x="778" y="338"/>
                  </a:cubicBezTo>
                  <a:cubicBezTo>
                    <a:pt x="777" y="339"/>
                    <a:pt x="777" y="339"/>
                    <a:pt x="777" y="339"/>
                  </a:cubicBezTo>
                  <a:cubicBezTo>
                    <a:pt x="777" y="339"/>
                    <a:pt x="777" y="339"/>
                    <a:pt x="777" y="339"/>
                  </a:cubicBezTo>
                  <a:cubicBezTo>
                    <a:pt x="778" y="342"/>
                    <a:pt x="778" y="342"/>
                    <a:pt x="778" y="342"/>
                  </a:cubicBezTo>
                  <a:cubicBezTo>
                    <a:pt x="776" y="339"/>
                    <a:pt x="776" y="339"/>
                    <a:pt x="776" y="339"/>
                  </a:cubicBezTo>
                  <a:cubicBezTo>
                    <a:pt x="775" y="339"/>
                    <a:pt x="775" y="339"/>
                    <a:pt x="775" y="339"/>
                  </a:cubicBezTo>
                  <a:cubicBezTo>
                    <a:pt x="775" y="339"/>
                    <a:pt x="775" y="339"/>
                    <a:pt x="775" y="339"/>
                  </a:cubicBezTo>
                  <a:cubicBezTo>
                    <a:pt x="771" y="341"/>
                    <a:pt x="767" y="343"/>
                    <a:pt x="763" y="344"/>
                  </a:cubicBezTo>
                  <a:cubicBezTo>
                    <a:pt x="760" y="346"/>
                    <a:pt x="760" y="346"/>
                    <a:pt x="760" y="346"/>
                  </a:cubicBezTo>
                  <a:cubicBezTo>
                    <a:pt x="758" y="346"/>
                    <a:pt x="756" y="347"/>
                    <a:pt x="755" y="348"/>
                  </a:cubicBezTo>
                  <a:cubicBezTo>
                    <a:pt x="751" y="349"/>
                    <a:pt x="747" y="351"/>
                    <a:pt x="744" y="353"/>
                  </a:cubicBezTo>
                  <a:cubicBezTo>
                    <a:pt x="743" y="353"/>
                    <a:pt x="743" y="353"/>
                    <a:pt x="743" y="353"/>
                  </a:cubicBezTo>
                  <a:cubicBezTo>
                    <a:pt x="741" y="354"/>
                    <a:pt x="740" y="355"/>
                    <a:pt x="739" y="356"/>
                  </a:cubicBezTo>
                  <a:cubicBezTo>
                    <a:pt x="738" y="357"/>
                    <a:pt x="738" y="357"/>
                    <a:pt x="738" y="357"/>
                  </a:cubicBezTo>
                  <a:cubicBezTo>
                    <a:pt x="737" y="357"/>
                    <a:pt x="736" y="358"/>
                    <a:pt x="734" y="358"/>
                  </a:cubicBezTo>
                  <a:cubicBezTo>
                    <a:pt x="734" y="358"/>
                    <a:pt x="734" y="358"/>
                    <a:pt x="734" y="358"/>
                  </a:cubicBezTo>
                  <a:cubicBezTo>
                    <a:pt x="732" y="357"/>
                    <a:pt x="729" y="357"/>
                    <a:pt x="728" y="357"/>
                  </a:cubicBezTo>
                  <a:cubicBezTo>
                    <a:pt x="727" y="357"/>
                    <a:pt x="726" y="357"/>
                    <a:pt x="726" y="356"/>
                  </a:cubicBezTo>
                  <a:cubicBezTo>
                    <a:pt x="726" y="356"/>
                    <a:pt x="725" y="356"/>
                    <a:pt x="724" y="356"/>
                  </a:cubicBezTo>
                  <a:cubicBezTo>
                    <a:pt x="724" y="355"/>
                    <a:pt x="724" y="355"/>
                    <a:pt x="724" y="355"/>
                  </a:cubicBezTo>
                  <a:cubicBezTo>
                    <a:pt x="720" y="359"/>
                    <a:pt x="720" y="359"/>
                    <a:pt x="720" y="359"/>
                  </a:cubicBezTo>
                  <a:cubicBezTo>
                    <a:pt x="722" y="354"/>
                    <a:pt x="722" y="354"/>
                    <a:pt x="722" y="354"/>
                  </a:cubicBezTo>
                  <a:cubicBezTo>
                    <a:pt x="722" y="354"/>
                    <a:pt x="722" y="354"/>
                    <a:pt x="721" y="353"/>
                  </a:cubicBezTo>
                  <a:cubicBezTo>
                    <a:pt x="721" y="353"/>
                    <a:pt x="721" y="353"/>
                    <a:pt x="721" y="353"/>
                  </a:cubicBezTo>
                  <a:cubicBezTo>
                    <a:pt x="717" y="355"/>
                    <a:pt x="717" y="355"/>
                    <a:pt x="717" y="355"/>
                  </a:cubicBezTo>
                  <a:cubicBezTo>
                    <a:pt x="720" y="352"/>
                    <a:pt x="720" y="352"/>
                    <a:pt x="720" y="352"/>
                  </a:cubicBezTo>
                  <a:cubicBezTo>
                    <a:pt x="720" y="351"/>
                    <a:pt x="720" y="351"/>
                    <a:pt x="720" y="351"/>
                  </a:cubicBezTo>
                  <a:cubicBezTo>
                    <a:pt x="719" y="351"/>
                    <a:pt x="719" y="351"/>
                    <a:pt x="719" y="351"/>
                  </a:cubicBezTo>
                  <a:cubicBezTo>
                    <a:pt x="718" y="351"/>
                    <a:pt x="716" y="351"/>
                    <a:pt x="715" y="352"/>
                  </a:cubicBezTo>
                  <a:cubicBezTo>
                    <a:pt x="714" y="352"/>
                    <a:pt x="714" y="352"/>
                    <a:pt x="714" y="352"/>
                  </a:cubicBezTo>
                  <a:cubicBezTo>
                    <a:pt x="713" y="352"/>
                    <a:pt x="713" y="352"/>
                    <a:pt x="712" y="352"/>
                  </a:cubicBezTo>
                  <a:cubicBezTo>
                    <a:pt x="711" y="352"/>
                    <a:pt x="710" y="352"/>
                    <a:pt x="709" y="352"/>
                  </a:cubicBezTo>
                  <a:cubicBezTo>
                    <a:pt x="707" y="352"/>
                    <a:pt x="706" y="352"/>
                    <a:pt x="704" y="352"/>
                  </a:cubicBezTo>
                  <a:cubicBezTo>
                    <a:pt x="701" y="351"/>
                    <a:pt x="698" y="350"/>
                    <a:pt x="695" y="349"/>
                  </a:cubicBezTo>
                  <a:cubicBezTo>
                    <a:pt x="692" y="347"/>
                    <a:pt x="689" y="346"/>
                    <a:pt x="686" y="346"/>
                  </a:cubicBezTo>
                  <a:cubicBezTo>
                    <a:pt x="683" y="345"/>
                    <a:pt x="680" y="344"/>
                    <a:pt x="675" y="343"/>
                  </a:cubicBezTo>
                  <a:cubicBezTo>
                    <a:pt x="664" y="340"/>
                    <a:pt x="664" y="340"/>
                    <a:pt x="664" y="340"/>
                  </a:cubicBezTo>
                  <a:cubicBezTo>
                    <a:pt x="664" y="340"/>
                    <a:pt x="663" y="340"/>
                    <a:pt x="663" y="340"/>
                  </a:cubicBezTo>
                  <a:cubicBezTo>
                    <a:pt x="662" y="339"/>
                    <a:pt x="662" y="339"/>
                    <a:pt x="662" y="339"/>
                  </a:cubicBezTo>
                  <a:cubicBezTo>
                    <a:pt x="662" y="339"/>
                    <a:pt x="661" y="338"/>
                    <a:pt x="661" y="337"/>
                  </a:cubicBezTo>
                  <a:cubicBezTo>
                    <a:pt x="660" y="336"/>
                    <a:pt x="660" y="335"/>
                    <a:pt x="659" y="334"/>
                  </a:cubicBezTo>
                  <a:cubicBezTo>
                    <a:pt x="658" y="334"/>
                    <a:pt x="658" y="334"/>
                    <a:pt x="658" y="334"/>
                  </a:cubicBezTo>
                  <a:cubicBezTo>
                    <a:pt x="658" y="334"/>
                    <a:pt x="656" y="333"/>
                    <a:pt x="655" y="333"/>
                  </a:cubicBezTo>
                  <a:cubicBezTo>
                    <a:pt x="654" y="333"/>
                    <a:pt x="653" y="333"/>
                    <a:pt x="653" y="333"/>
                  </a:cubicBezTo>
                  <a:cubicBezTo>
                    <a:pt x="620" y="327"/>
                    <a:pt x="620" y="327"/>
                    <a:pt x="620" y="327"/>
                  </a:cubicBezTo>
                  <a:cubicBezTo>
                    <a:pt x="620" y="327"/>
                    <a:pt x="619" y="327"/>
                    <a:pt x="619" y="327"/>
                  </a:cubicBezTo>
                  <a:cubicBezTo>
                    <a:pt x="618" y="327"/>
                    <a:pt x="618" y="327"/>
                    <a:pt x="618" y="327"/>
                  </a:cubicBezTo>
                  <a:cubicBezTo>
                    <a:pt x="617" y="327"/>
                    <a:pt x="616" y="327"/>
                    <a:pt x="615" y="328"/>
                  </a:cubicBezTo>
                  <a:cubicBezTo>
                    <a:pt x="614" y="328"/>
                    <a:pt x="614" y="328"/>
                    <a:pt x="614" y="328"/>
                  </a:cubicBezTo>
                  <a:cubicBezTo>
                    <a:pt x="613" y="329"/>
                    <a:pt x="611" y="329"/>
                    <a:pt x="610" y="330"/>
                  </a:cubicBezTo>
                  <a:cubicBezTo>
                    <a:pt x="610" y="330"/>
                    <a:pt x="610" y="330"/>
                    <a:pt x="610" y="330"/>
                  </a:cubicBezTo>
                  <a:cubicBezTo>
                    <a:pt x="609" y="330"/>
                    <a:pt x="609" y="330"/>
                    <a:pt x="608" y="330"/>
                  </a:cubicBezTo>
                  <a:cubicBezTo>
                    <a:pt x="607" y="330"/>
                    <a:pt x="607" y="330"/>
                    <a:pt x="607" y="330"/>
                  </a:cubicBezTo>
                  <a:cubicBezTo>
                    <a:pt x="597" y="329"/>
                    <a:pt x="587" y="329"/>
                    <a:pt x="577" y="328"/>
                  </a:cubicBezTo>
                  <a:cubicBezTo>
                    <a:pt x="576" y="328"/>
                    <a:pt x="575" y="328"/>
                    <a:pt x="574" y="328"/>
                  </a:cubicBezTo>
                  <a:cubicBezTo>
                    <a:pt x="570" y="327"/>
                    <a:pt x="570" y="327"/>
                    <a:pt x="570" y="327"/>
                  </a:cubicBezTo>
                  <a:cubicBezTo>
                    <a:pt x="568" y="327"/>
                    <a:pt x="567" y="327"/>
                    <a:pt x="566" y="327"/>
                  </a:cubicBezTo>
                  <a:cubicBezTo>
                    <a:pt x="561" y="326"/>
                    <a:pt x="561" y="326"/>
                    <a:pt x="561" y="326"/>
                  </a:cubicBezTo>
                  <a:cubicBezTo>
                    <a:pt x="557" y="325"/>
                    <a:pt x="554" y="324"/>
                    <a:pt x="550" y="324"/>
                  </a:cubicBezTo>
                  <a:cubicBezTo>
                    <a:pt x="549" y="324"/>
                    <a:pt x="548" y="324"/>
                    <a:pt x="547" y="325"/>
                  </a:cubicBezTo>
                  <a:cubicBezTo>
                    <a:pt x="545" y="325"/>
                    <a:pt x="543" y="325"/>
                    <a:pt x="540" y="325"/>
                  </a:cubicBezTo>
                  <a:cubicBezTo>
                    <a:pt x="529" y="326"/>
                    <a:pt x="529" y="326"/>
                    <a:pt x="529" y="326"/>
                  </a:cubicBezTo>
                  <a:cubicBezTo>
                    <a:pt x="530" y="323"/>
                    <a:pt x="530" y="323"/>
                    <a:pt x="530" y="323"/>
                  </a:cubicBezTo>
                  <a:cubicBezTo>
                    <a:pt x="530" y="323"/>
                    <a:pt x="530" y="323"/>
                    <a:pt x="530" y="323"/>
                  </a:cubicBezTo>
                  <a:cubicBezTo>
                    <a:pt x="530" y="322"/>
                    <a:pt x="530" y="322"/>
                    <a:pt x="530" y="322"/>
                  </a:cubicBezTo>
                  <a:cubicBezTo>
                    <a:pt x="529" y="321"/>
                    <a:pt x="529" y="321"/>
                    <a:pt x="529" y="321"/>
                  </a:cubicBezTo>
                  <a:cubicBezTo>
                    <a:pt x="529" y="321"/>
                    <a:pt x="529" y="321"/>
                    <a:pt x="529" y="321"/>
                  </a:cubicBezTo>
                  <a:cubicBezTo>
                    <a:pt x="529" y="320"/>
                    <a:pt x="529" y="320"/>
                    <a:pt x="529" y="320"/>
                  </a:cubicBezTo>
                  <a:cubicBezTo>
                    <a:pt x="528" y="320"/>
                    <a:pt x="528" y="320"/>
                    <a:pt x="528" y="320"/>
                  </a:cubicBezTo>
                  <a:cubicBezTo>
                    <a:pt x="528" y="319"/>
                    <a:pt x="528" y="319"/>
                    <a:pt x="528" y="319"/>
                  </a:cubicBezTo>
                  <a:cubicBezTo>
                    <a:pt x="527" y="318"/>
                    <a:pt x="526" y="318"/>
                    <a:pt x="526" y="317"/>
                  </a:cubicBezTo>
                  <a:cubicBezTo>
                    <a:pt x="525" y="317"/>
                    <a:pt x="525" y="317"/>
                    <a:pt x="525" y="317"/>
                  </a:cubicBezTo>
                  <a:cubicBezTo>
                    <a:pt x="522" y="314"/>
                    <a:pt x="520" y="311"/>
                    <a:pt x="518" y="307"/>
                  </a:cubicBezTo>
                  <a:cubicBezTo>
                    <a:pt x="513" y="294"/>
                    <a:pt x="513" y="294"/>
                    <a:pt x="513" y="294"/>
                  </a:cubicBezTo>
                  <a:cubicBezTo>
                    <a:pt x="513" y="294"/>
                    <a:pt x="512" y="293"/>
                    <a:pt x="512" y="293"/>
                  </a:cubicBezTo>
                  <a:cubicBezTo>
                    <a:pt x="511" y="290"/>
                    <a:pt x="511" y="290"/>
                    <a:pt x="511" y="290"/>
                  </a:cubicBezTo>
                  <a:cubicBezTo>
                    <a:pt x="511" y="290"/>
                    <a:pt x="511" y="290"/>
                    <a:pt x="511" y="290"/>
                  </a:cubicBezTo>
                  <a:cubicBezTo>
                    <a:pt x="511" y="290"/>
                    <a:pt x="511" y="290"/>
                    <a:pt x="511" y="290"/>
                  </a:cubicBezTo>
                  <a:cubicBezTo>
                    <a:pt x="511" y="290"/>
                    <a:pt x="511" y="290"/>
                    <a:pt x="511" y="290"/>
                  </a:cubicBezTo>
                  <a:cubicBezTo>
                    <a:pt x="510" y="290"/>
                    <a:pt x="510" y="290"/>
                    <a:pt x="510" y="290"/>
                  </a:cubicBezTo>
                  <a:cubicBezTo>
                    <a:pt x="509" y="289"/>
                    <a:pt x="509" y="289"/>
                    <a:pt x="509" y="289"/>
                  </a:cubicBezTo>
                  <a:cubicBezTo>
                    <a:pt x="509" y="289"/>
                    <a:pt x="509" y="289"/>
                    <a:pt x="509" y="289"/>
                  </a:cubicBezTo>
                  <a:cubicBezTo>
                    <a:pt x="509" y="289"/>
                    <a:pt x="509" y="289"/>
                    <a:pt x="509" y="289"/>
                  </a:cubicBezTo>
                  <a:cubicBezTo>
                    <a:pt x="507" y="288"/>
                    <a:pt x="506" y="287"/>
                    <a:pt x="506" y="286"/>
                  </a:cubicBezTo>
                  <a:cubicBezTo>
                    <a:pt x="506" y="285"/>
                    <a:pt x="506" y="285"/>
                    <a:pt x="506" y="285"/>
                  </a:cubicBezTo>
                  <a:cubicBezTo>
                    <a:pt x="506" y="284"/>
                    <a:pt x="506" y="282"/>
                    <a:pt x="506" y="282"/>
                  </a:cubicBezTo>
                  <a:cubicBezTo>
                    <a:pt x="505" y="282"/>
                    <a:pt x="504" y="282"/>
                    <a:pt x="503" y="282"/>
                  </a:cubicBezTo>
                  <a:cubicBezTo>
                    <a:pt x="502" y="282"/>
                    <a:pt x="500" y="281"/>
                    <a:pt x="498" y="281"/>
                  </a:cubicBezTo>
                  <a:cubicBezTo>
                    <a:pt x="493" y="279"/>
                    <a:pt x="489" y="276"/>
                    <a:pt x="485" y="274"/>
                  </a:cubicBezTo>
                  <a:cubicBezTo>
                    <a:pt x="484" y="273"/>
                    <a:pt x="484" y="273"/>
                    <a:pt x="484" y="273"/>
                  </a:cubicBezTo>
                  <a:cubicBezTo>
                    <a:pt x="483" y="273"/>
                    <a:pt x="483" y="272"/>
                    <a:pt x="482" y="272"/>
                  </a:cubicBezTo>
                  <a:cubicBezTo>
                    <a:pt x="466" y="262"/>
                    <a:pt x="466" y="262"/>
                    <a:pt x="466" y="262"/>
                  </a:cubicBezTo>
                  <a:cubicBezTo>
                    <a:pt x="464" y="261"/>
                    <a:pt x="463" y="261"/>
                    <a:pt x="461" y="261"/>
                  </a:cubicBezTo>
                  <a:cubicBezTo>
                    <a:pt x="460" y="261"/>
                    <a:pt x="460" y="261"/>
                    <a:pt x="460" y="261"/>
                  </a:cubicBezTo>
                  <a:cubicBezTo>
                    <a:pt x="459" y="261"/>
                    <a:pt x="458" y="261"/>
                    <a:pt x="457" y="261"/>
                  </a:cubicBezTo>
                  <a:cubicBezTo>
                    <a:pt x="448" y="260"/>
                    <a:pt x="439" y="259"/>
                    <a:pt x="431" y="258"/>
                  </a:cubicBezTo>
                  <a:cubicBezTo>
                    <a:pt x="428" y="258"/>
                    <a:pt x="428" y="258"/>
                    <a:pt x="428" y="258"/>
                  </a:cubicBezTo>
                  <a:cubicBezTo>
                    <a:pt x="424" y="258"/>
                    <a:pt x="420" y="257"/>
                    <a:pt x="416" y="257"/>
                  </a:cubicBezTo>
                  <a:cubicBezTo>
                    <a:pt x="412" y="256"/>
                    <a:pt x="409" y="256"/>
                    <a:pt x="406" y="255"/>
                  </a:cubicBezTo>
                  <a:cubicBezTo>
                    <a:pt x="405" y="255"/>
                    <a:pt x="405" y="255"/>
                    <a:pt x="405" y="255"/>
                  </a:cubicBezTo>
                  <a:cubicBezTo>
                    <a:pt x="404" y="255"/>
                    <a:pt x="404" y="255"/>
                    <a:pt x="404" y="255"/>
                  </a:cubicBezTo>
                  <a:cubicBezTo>
                    <a:pt x="402" y="254"/>
                    <a:pt x="402" y="253"/>
                    <a:pt x="401" y="252"/>
                  </a:cubicBezTo>
                  <a:cubicBezTo>
                    <a:pt x="400" y="251"/>
                    <a:pt x="398" y="248"/>
                    <a:pt x="397" y="246"/>
                  </a:cubicBezTo>
                  <a:cubicBezTo>
                    <a:pt x="395" y="242"/>
                    <a:pt x="397" y="239"/>
                    <a:pt x="399" y="236"/>
                  </a:cubicBezTo>
                  <a:cubicBezTo>
                    <a:pt x="399" y="236"/>
                    <a:pt x="399" y="236"/>
                    <a:pt x="399" y="236"/>
                  </a:cubicBezTo>
                  <a:cubicBezTo>
                    <a:pt x="399" y="236"/>
                    <a:pt x="400" y="235"/>
                    <a:pt x="400" y="234"/>
                  </a:cubicBezTo>
                  <a:cubicBezTo>
                    <a:pt x="400" y="234"/>
                    <a:pt x="401" y="234"/>
                    <a:pt x="401" y="233"/>
                  </a:cubicBezTo>
                  <a:cubicBezTo>
                    <a:pt x="401" y="232"/>
                    <a:pt x="401" y="232"/>
                    <a:pt x="401" y="232"/>
                  </a:cubicBezTo>
                  <a:cubicBezTo>
                    <a:pt x="402" y="231"/>
                    <a:pt x="402" y="230"/>
                    <a:pt x="403" y="229"/>
                  </a:cubicBezTo>
                  <a:cubicBezTo>
                    <a:pt x="403" y="229"/>
                    <a:pt x="403" y="229"/>
                    <a:pt x="403" y="229"/>
                  </a:cubicBezTo>
                  <a:cubicBezTo>
                    <a:pt x="403" y="228"/>
                    <a:pt x="404" y="228"/>
                    <a:pt x="404" y="227"/>
                  </a:cubicBezTo>
                  <a:cubicBezTo>
                    <a:pt x="404" y="227"/>
                    <a:pt x="404" y="226"/>
                    <a:pt x="404" y="226"/>
                  </a:cubicBezTo>
                  <a:cubicBezTo>
                    <a:pt x="404" y="225"/>
                    <a:pt x="404" y="225"/>
                    <a:pt x="404" y="225"/>
                  </a:cubicBezTo>
                  <a:cubicBezTo>
                    <a:pt x="404" y="225"/>
                    <a:pt x="404" y="225"/>
                    <a:pt x="404" y="225"/>
                  </a:cubicBezTo>
                  <a:cubicBezTo>
                    <a:pt x="404" y="221"/>
                    <a:pt x="403" y="218"/>
                    <a:pt x="404" y="214"/>
                  </a:cubicBezTo>
                  <a:cubicBezTo>
                    <a:pt x="404" y="212"/>
                    <a:pt x="404" y="212"/>
                    <a:pt x="404" y="212"/>
                  </a:cubicBezTo>
                  <a:cubicBezTo>
                    <a:pt x="404" y="211"/>
                    <a:pt x="404" y="209"/>
                    <a:pt x="404" y="209"/>
                  </a:cubicBezTo>
                  <a:cubicBezTo>
                    <a:pt x="403" y="208"/>
                    <a:pt x="403" y="208"/>
                    <a:pt x="403" y="208"/>
                  </a:cubicBezTo>
                  <a:cubicBezTo>
                    <a:pt x="402" y="205"/>
                    <a:pt x="400" y="203"/>
                    <a:pt x="399" y="201"/>
                  </a:cubicBezTo>
                  <a:cubicBezTo>
                    <a:pt x="395" y="195"/>
                    <a:pt x="395" y="195"/>
                    <a:pt x="395" y="195"/>
                  </a:cubicBezTo>
                  <a:cubicBezTo>
                    <a:pt x="394" y="193"/>
                    <a:pt x="392" y="191"/>
                    <a:pt x="391" y="189"/>
                  </a:cubicBezTo>
                  <a:cubicBezTo>
                    <a:pt x="391" y="188"/>
                    <a:pt x="391" y="188"/>
                    <a:pt x="391" y="187"/>
                  </a:cubicBezTo>
                  <a:cubicBezTo>
                    <a:pt x="391" y="187"/>
                    <a:pt x="391" y="187"/>
                    <a:pt x="391" y="187"/>
                  </a:cubicBezTo>
                  <a:cubicBezTo>
                    <a:pt x="390" y="185"/>
                    <a:pt x="390" y="182"/>
                    <a:pt x="389" y="181"/>
                  </a:cubicBezTo>
                  <a:cubicBezTo>
                    <a:pt x="388" y="181"/>
                    <a:pt x="387" y="180"/>
                    <a:pt x="387" y="180"/>
                  </a:cubicBezTo>
                  <a:cubicBezTo>
                    <a:pt x="385" y="178"/>
                    <a:pt x="384" y="177"/>
                    <a:pt x="383" y="177"/>
                  </a:cubicBezTo>
                  <a:cubicBezTo>
                    <a:pt x="382" y="177"/>
                    <a:pt x="382" y="177"/>
                    <a:pt x="382" y="177"/>
                  </a:cubicBezTo>
                  <a:cubicBezTo>
                    <a:pt x="382" y="177"/>
                    <a:pt x="381" y="177"/>
                    <a:pt x="381" y="177"/>
                  </a:cubicBezTo>
                  <a:cubicBezTo>
                    <a:pt x="377" y="177"/>
                    <a:pt x="374" y="175"/>
                    <a:pt x="371" y="172"/>
                  </a:cubicBezTo>
                  <a:cubicBezTo>
                    <a:pt x="370" y="172"/>
                    <a:pt x="370" y="172"/>
                    <a:pt x="370" y="172"/>
                  </a:cubicBezTo>
                  <a:cubicBezTo>
                    <a:pt x="370" y="172"/>
                    <a:pt x="370" y="171"/>
                    <a:pt x="369" y="171"/>
                  </a:cubicBezTo>
                  <a:cubicBezTo>
                    <a:pt x="369" y="171"/>
                    <a:pt x="368" y="172"/>
                    <a:pt x="367" y="172"/>
                  </a:cubicBezTo>
                  <a:cubicBezTo>
                    <a:pt x="367" y="172"/>
                    <a:pt x="365" y="172"/>
                    <a:pt x="364" y="172"/>
                  </a:cubicBezTo>
                  <a:cubicBezTo>
                    <a:pt x="363" y="172"/>
                    <a:pt x="363" y="172"/>
                    <a:pt x="363" y="172"/>
                  </a:cubicBezTo>
                  <a:cubicBezTo>
                    <a:pt x="362" y="172"/>
                    <a:pt x="361" y="172"/>
                    <a:pt x="360" y="172"/>
                  </a:cubicBezTo>
                  <a:cubicBezTo>
                    <a:pt x="360" y="171"/>
                    <a:pt x="359" y="171"/>
                    <a:pt x="358" y="171"/>
                  </a:cubicBezTo>
                  <a:cubicBezTo>
                    <a:pt x="358" y="171"/>
                    <a:pt x="357" y="170"/>
                    <a:pt x="357" y="170"/>
                  </a:cubicBezTo>
                  <a:cubicBezTo>
                    <a:pt x="356" y="170"/>
                    <a:pt x="356" y="170"/>
                    <a:pt x="356" y="170"/>
                  </a:cubicBezTo>
                  <a:cubicBezTo>
                    <a:pt x="352" y="167"/>
                    <a:pt x="350" y="166"/>
                    <a:pt x="348" y="161"/>
                  </a:cubicBezTo>
                  <a:cubicBezTo>
                    <a:pt x="347" y="160"/>
                    <a:pt x="344" y="159"/>
                    <a:pt x="342" y="158"/>
                  </a:cubicBezTo>
                  <a:cubicBezTo>
                    <a:pt x="341" y="157"/>
                    <a:pt x="341" y="157"/>
                    <a:pt x="340" y="157"/>
                  </a:cubicBezTo>
                  <a:cubicBezTo>
                    <a:pt x="338" y="156"/>
                    <a:pt x="338" y="156"/>
                    <a:pt x="338" y="156"/>
                  </a:cubicBezTo>
                  <a:cubicBezTo>
                    <a:pt x="338" y="156"/>
                    <a:pt x="337" y="156"/>
                    <a:pt x="337" y="156"/>
                  </a:cubicBezTo>
                  <a:cubicBezTo>
                    <a:pt x="336" y="156"/>
                    <a:pt x="336" y="156"/>
                    <a:pt x="336" y="155"/>
                  </a:cubicBezTo>
                  <a:cubicBezTo>
                    <a:pt x="334" y="155"/>
                    <a:pt x="333" y="154"/>
                    <a:pt x="333" y="153"/>
                  </a:cubicBezTo>
                  <a:cubicBezTo>
                    <a:pt x="332" y="152"/>
                    <a:pt x="333" y="150"/>
                    <a:pt x="333" y="149"/>
                  </a:cubicBezTo>
                  <a:cubicBezTo>
                    <a:pt x="333" y="149"/>
                    <a:pt x="333" y="149"/>
                    <a:pt x="333" y="149"/>
                  </a:cubicBezTo>
                  <a:cubicBezTo>
                    <a:pt x="332" y="149"/>
                    <a:pt x="331" y="148"/>
                    <a:pt x="330" y="147"/>
                  </a:cubicBezTo>
                  <a:cubicBezTo>
                    <a:pt x="329" y="147"/>
                    <a:pt x="329" y="146"/>
                    <a:pt x="328" y="145"/>
                  </a:cubicBezTo>
                  <a:cubicBezTo>
                    <a:pt x="327" y="143"/>
                    <a:pt x="328" y="142"/>
                    <a:pt x="328" y="140"/>
                  </a:cubicBezTo>
                  <a:cubicBezTo>
                    <a:pt x="320" y="138"/>
                    <a:pt x="320" y="138"/>
                    <a:pt x="320" y="138"/>
                  </a:cubicBezTo>
                  <a:cubicBezTo>
                    <a:pt x="319" y="138"/>
                    <a:pt x="319" y="138"/>
                    <a:pt x="319" y="138"/>
                  </a:cubicBezTo>
                  <a:cubicBezTo>
                    <a:pt x="319" y="138"/>
                    <a:pt x="319" y="138"/>
                    <a:pt x="319" y="138"/>
                  </a:cubicBezTo>
                  <a:cubicBezTo>
                    <a:pt x="319" y="138"/>
                    <a:pt x="319" y="138"/>
                    <a:pt x="319" y="138"/>
                  </a:cubicBezTo>
                  <a:cubicBezTo>
                    <a:pt x="318" y="138"/>
                    <a:pt x="318" y="138"/>
                    <a:pt x="317" y="138"/>
                  </a:cubicBezTo>
                  <a:cubicBezTo>
                    <a:pt x="316" y="138"/>
                    <a:pt x="316" y="138"/>
                    <a:pt x="316" y="138"/>
                  </a:cubicBezTo>
                  <a:cubicBezTo>
                    <a:pt x="315" y="138"/>
                    <a:pt x="315" y="138"/>
                    <a:pt x="314" y="138"/>
                  </a:cubicBezTo>
                  <a:cubicBezTo>
                    <a:pt x="314" y="138"/>
                    <a:pt x="314" y="138"/>
                    <a:pt x="314" y="138"/>
                  </a:cubicBezTo>
                  <a:cubicBezTo>
                    <a:pt x="313" y="138"/>
                    <a:pt x="313" y="138"/>
                    <a:pt x="313" y="138"/>
                  </a:cubicBezTo>
                  <a:cubicBezTo>
                    <a:pt x="312" y="138"/>
                    <a:pt x="312" y="138"/>
                    <a:pt x="312" y="138"/>
                  </a:cubicBezTo>
                  <a:cubicBezTo>
                    <a:pt x="312" y="138"/>
                    <a:pt x="311" y="138"/>
                    <a:pt x="311" y="138"/>
                  </a:cubicBezTo>
                  <a:cubicBezTo>
                    <a:pt x="311" y="139"/>
                    <a:pt x="311" y="139"/>
                    <a:pt x="311" y="139"/>
                  </a:cubicBezTo>
                  <a:cubicBezTo>
                    <a:pt x="311" y="139"/>
                    <a:pt x="310" y="139"/>
                    <a:pt x="310" y="141"/>
                  </a:cubicBezTo>
                  <a:cubicBezTo>
                    <a:pt x="310" y="141"/>
                    <a:pt x="310" y="142"/>
                    <a:pt x="310" y="142"/>
                  </a:cubicBezTo>
                  <a:cubicBezTo>
                    <a:pt x="310" y="142"/>
                    <a:pt x="311" y="143"/>
                    <a:pt x="311" y="144"/>
                  </a:cubicBezTo>
                  <a:cubicBezTo>
                    <a:pt x="311" y="147"/>
                    <a:pt x="311" y="147"/>
                    <a:pt x="311" y="147"/>
                  </a:cubicBezTo>
                  <a:cubicBezTo>
                    <a:pt x="310" y="147"/>
                    <a:pt x="310" y="147"/>
                    <a:pt x="310" y="147"/>
                  </a:cubicBezTo>
                  <a:cubicBezTo>
                    <a:pt x="310" y="147"/>
                    <a:pt x="310" y="147"/>
                    <a:pt x="310" y="147"/>
                  </a:cubicBezTo>
                  <a:cubicBezTo>
                    <a:pt x="310" y="148"/>
                    <a:pt x="310" y="148"/>
                    <a:pt x="310" y="148"/>
                  </a:cubicBezTo>
                  <a:cubicBezTo>
                    <a:pt x="310" y="148"/>
                    <a:pt x="310" y="148"/>
                    <a:pt x="310" y="148"/>
                  </a:cubicBezTo>
                  <a:cubicBezTo>
                    <a:pt x="309" y="150"/>
                    <a:pt x="306" y="155"/>
                    <a:pt x="302" y="156"/>
                  </a:cubicBezTo>
                  <a:cubicBezTo>
                    <a:pt x="298" y="158"/>
                    <a:pt x="294" y="159"/>
                    <a:pt x="290" y="159"/>
                  </a:cubicBezTo>
                  <a:cubicBezTo>
                    <a:pt x="290" y="159"/>
                    <a:pt x="289" y="159"/>
                    <a:pt x="289" y="159"/>
                  </a:cubicBezTo>
                  <a:cubicBezTo>
                    <a:pt x="288" y="159"/>
                    <a:pt x="286" y="159"/>
                    <a:pt x="286" y="159"/>
                  </a:cubicBezTo>
                  <a:cubicBezTo>
                    <a:pt x="285" y="160"/>
                    <a:pt x="281" y="167"/>
                    <a:pt x="281" y="169"/>
                  </a:cubicBezTo>
                  <a:cubicBezTo>
                    <a:pt x="282" y="172"/>
                    <a:pt x="282" y="174"/>
                    <a:pt x="283" y="177"/>
                  </a:cubicBezTo>
                  <a:cubicBezTo>
                    <a:pt x="283" y="177"/>
                    <a:pt x="283" y="177"/>
                    <a:pt x="283" y="177"/>
                  </a:cubicBezTo>
                  <a:cubicBezTo>
                    <a:pt x="283" y="181"/>
                    <a:pt x="284" y="184"/>
                    <a:pt x="284" y="187"/>
                  </a:cubicBezTo>
                  <a:cubicBezTo>
                    <a:pt x="285" y="195"/>
                    <a:pt x="279" y="198"/>
                    <a:pt x="274" y="201"/>
                  </a:cubicBezTo>
                  <a:cubicBezTo>
                    <a:pt x="272" y="201"/>
                    <a:pt x="272" y="201"/>
                    <a:pt x="272" y="201"/>
                  </a:cubicBezTo>
                  <a:cubicBezTo>
                    <a:pt x="269" y="203"/>
                    <a:pt x="266" y="204"/>
                    <a:pt x="263" y="204"/>
                  </a:cubicBezTo>
                  <a:cubicBezTo>
                    <a:pt x="262" y="204"/>
                    <a:pt x="260" y="204"/>
                    <a:pt x="258" y="203"/>
                  </a:cubicBezTo>
                  <a:cubicBezTo>
                    <a:pt x="256" y="202"/>
                    <a:pt x="252" y="202"/>
                    <a:pt x="249" y="202"/>
                  </a:cubicBezTo>
                  <a:cubicBezTo>
                    <a:pt x="248" y="202"/>
                    <a:pt x="247" y="202"/>
                    <a:pt x="246" y="202"/>
                  </a:cubicBezTo>
                  <a:cubicBezTo>
                    <a:pt x="245" y="203"/>
                    <a:pt x="244" y="203"/>
                    <a:pt x="242" y="203"/>
                  </a:cubicBezTo>
                  <a:cubicBezTo>
                    <a:pt x="236" y="203"/>
                    <a:pt x="228" y="199"/>
                    <a:pt x="228" y="198"/>
                  </a:cubicBezTo>
                  <a:cubicBezTo>
                    <a:pt x="227" y="198"/>
                    <a:pt x="227" y="198"/>
                    <a:pt x="227" y="198"/>
                  </a:cubicBezTo>
                  <a:cubicBezTo>
                    <a:pt x="225" y="197"/>
                    <a:pt x="223" y="196"/>
                    <a:pt x="221" y="195"/>
                  </a:cubicBezTo>
                  <a:cubicBezTo>
                    <a:pt x="221" y="195"/>
                    <a:pt x="221" y="195"/>
                    <a:pt x="221" y="195"/>
                  </a:cubicBezTo>
                  <a:cubicBezTo>
                    <a:pt x="221" y="196"/>
                    <a:pt x="221" y="196"/>
                    <a:pt x="221" y="196"/>
                  </a:cubicBezTo>
                  <a:cubicBezTo>
                    <a:pt x="205" y="240"/>
                    <a:pt x="205" y="240"/>
                    <a:pt x="205" y="240"/>
                  </a:cubicBezTo>
                  <a:cubicBezTo>
                    <a:pt x="206" y="241"/>
                    <a:pt x="206" y="241"/>
                    <a:pt x="206" y="241"/>
                  </a:cubicBezTo>
                  <a:cubicBezTo>
                    <a:pt x="208" y="241"/>
                    <a:pt x="210" y="241"/>
                    <a:pt x="211" y="243"/>
                  </a:cubicBezTo>
                  <a:cubicBezTo>
                    <a:pt x="213" y="245"/>
                    <a:pt x="212" y="248"/>
                    <a:pt x="212" y="250"/>
                  </a:cubicBezTo>
                  <a:cubicBezTo>
                    <a:pt x="212" y="251"/>
                    <a:pt x="212" y="251"/>
                    <a:pt x="212" y="252"/>
                  </a:cubicBezTo>
                  <a:cubicBezTo>
                    <a:pt x="212" y="254"/>
                    <a:pt x="209" y="255"/>
                    <a:pt x="204" y="255"/>
                  </a:cubicBezTo>
                  <a:cubicBezTo>
                    <a:pt x="203" y="255"/>
                    <a:pt x="202" y="255"/>
                    <a:pt x="200" y="255"/>
                  </a:cubicBezTo>
                  <a:cubicBezTo>
                    <a:pt x="199" y="255"/>
                    <a:pt x="199" y="255"/>
                    <a:pt x="199" y="255"/>
                  </a:cubicBezTo>
                  <a:cubicBezTo>
                    <a:pt x="199" y="255"/>
                    <a:pt x="198" y="255"/>
                    <a:pt x="197" y="255"/>
                  </a:cubicBezTo>
                  <a:cubicBezTo>
                    <a:pt x="196" y="255"/>
                    <a:pt x="195" y="255"/>
                    <a:pt x="194" y="255"/>
                  </a:cubicBezTo>
                  <a:cubicBezTo>
                    <a:pt x="192" y="255"/>
                    <a:pt x="189" y="255"/>
                    <a:pt x="188" y="253"/>
                  </a:cubicBezTo>
                  <a:cubicBezTo>
                    <a:pt x="187" y="252"/>
                    <a:pt x="187" y="251"/>
                    <a:pt x="187" y="250"/>
                  </a:cubicBezTo>
                  <a:cubicBezTo>
                    <a:pt x="186" y="250"/>
                    <a:pt x="185" y="251"/>
                    <a:pt x="184" y="251"/>
                  </a:cubicBezTo>
                  <a:cubicBezTo>
                    <a:pt x="183" y="252"/>
                    <a:pt x="182" y="252"/>
                    <a:pt x="182" y="252"/>
                  </a:cubicBezTo>
                  <a:cubicBezTo>
                    <a:pt x="168" y="256"/>
                    <a:pt x="168" y="256"/>
                    <a:pt x="168" y="256"/>
                  </a:cubicBezTo>
                  <a:cubicBezTo>
                    <a:pt x="163" y="257"/>
                    <a:pt x="158" y="258"/>
                    <a:pt x="153" y="260"/>
                  </a:cubicBezTo>
                  <a:cubicBezTo>
                    <a:pt x="152" y="260"/>
                    <a:pt x="152" y="260"/>
                    <a:pt x="152" y="260"/>
                  </a:cubicBezTo>
                  <a:cubicBezTo>
                    <a:pt x="151" y="260"/>
                    <a:pt x="150" y="260"/>
                    <a:pt x="149" y="261"/>
                  </a:cubicBezTo>
                  <a:cubicBezTo>
                    <a:pt x="149" y="261"/>
                    <a:pt x="149" y="261"/>
                    <a:pt x="149" y="261"/>
                  </a:cubicBezTo>
                  <a:cubicBezTo>
                    <a:pt x="150" y="260"/>
                    <a:pt x="151" y="260"/>
                    <a:pt x="152" y="260"/>
                  </a:cubicBezTo>
                  <a:cubicBezTo>
                    <a:pt x="155" y="260"/>
                    <a:pt x="159" y="262"/>
                    <a:pt x="161" y="263"/>
                  </a:cubicBezTo>
                  <a:cubicBezTo>
                    <a:pt x="164" y="265"/>
                    <a:pt x="164" y="265"/>
                    <a:pt x="164" y="265"/>
                  </a:cubicBezTo>
                  <a:cubicBezTo>
                    <a:pt x="161" y="267"/>
                    <a:pt x="161" y="267"/>
                    <a:pt x="161" y="267"/>
                  </a:cubicBezTo>
                  <a:cubicBezTo>
                    <a:pt x="161" y="268"/>
                    <a:pt x="160" y="269"/>
                    <a:pt x="160" y="269"/>
                  </a:cubicBezTo>
                  <a:cubicBezTo>
                    <a:pt x="159" y="270"/>
                    <a:pt x="159" y="270"/>
                    <a:pt x="159" y="270"/>
                  </a:cubicBezTo>
                  <a:cubicBezTo>
                    <a:pt x="158" y="272"/>
                    <a:pt x="159" y="275"/>
                    <a:pt x="159" y="277"/>
                  </a:cubicBezTo>
                  <a:cubicBezTo>
                    <a:pt x="159" y="279"/>
                    <a:pt x="159" y="279"/>
                    <a:pt x="159" y="279"/>
                  </a:cubicBezTo>
                  <a:cubicBezTo>
                    <a:pt x="160" y="282"/>
                    <a:pt x="160" y="285"/>
                    <a:pt x="162" y="288"/>
                  </a:cubicBezTo>
                  <a:cubicBezTo>
                    <a:pt x="162" y="289"/>
                    <a:pt x="163" y="290"/>
                    <a:pt x="163" y="292"/>
                  </a:cubicBezTo>
                  <a:cubicBezTo>
                    <a:pt x="163" y="292"/>
                    <a:pt x="163" y="292"/>
                    <a:pt x="163" y="292"/>
                  </a:cubicBezTo>
                  <a:cubicBezTo>
                    <a:pt x="164" y="294"/>
                    <a:pt x="165" y="296"/>
                    <a:pt x="166" y="297"/>
                  </a:cubicBezTo>
                  <a:cubicBezTo>
                    <a:pt x="167" y="299"/>
                    <a:pt x="167" y="300"/>
                    <a:pt x="167" y="301"/>
                  </a:cubicBezTo>
                  <a:cubicBezTo>
                    <a:pt x="168" y="302"/>
                    <a:pt x="168" y="302"/>
                    <a:pt x="168" y="302"/>
                  </a:cubicBezTo>
                  <a:cubicBezTo>
                    <a:pt x="168" y="302"/>
                    <a:pt x="168" y="303"/>
                    <a:pt x="168" y="303"/>
                  </a:cubicBezTo>
                  <a:cubicBezTo>
                    <a:pt x="170" y="311"/>
                    <a:pt x="170" y="311"/>
                    <a:pt x="169" y="312"/>
                  </a:cubicBezTo>
                  <a:cubicBezTo>
                    <a:pt x="168" y="314"/>
                    <a:pt x="166" y="314"/>
                    <a:pt x="163" y="315"/>
                  </a:cubicBezTo>
                  <a:cubicBezTo>
                    <a:pt x="162" y="315"/>
                    <a:pt x="162" y="315"/>
                    <a:pt x="161" y="315"/>
                  </a:cubicBezTo>
                  <a:cubicBezTo>
                    <a:pt x="162" y="316"/>
                    <a:pt x="164" y="317"/>
                    <a:pt x="163" y="319"/>
                  </a:cubicBezTo>
                  <a:cubicBezTo>
                    <a:pt x="163" y="321"/>
                    <a:pt x="160" y="322"/>
                    <a:pt x="157" y="323"/>
                  </a:cubicBezTo>
                  <a:cubicBezTo>
                    <a:pt x="156" y="323"/>
                    <a:pt x="156" y="323"/>
                    <a:pt x="155" y="323"/>
                  </a:cubicBezTo>
                  <a:cubicBezTo>
                    <a:pt x="155" y="325"/>
                    <a:pt x="155" y="326"/>
                    <a:pt x="155" y="328"/>
                  </a:cubicBezTo>
                  <a:cubicBezTo>
                    <a:pt x="155" y="329"/>
                    <a:pt x="155" y="329"/>
                    <a:pt x="155" y="329"/>
                  </a:cubicBezTo>
                  <a:cubicBezTo>
                    <a:pt x="156" y="332"/>
                    <a:pt x="157" y="334"/>
                    <a:pt x="156" y="338"/>
                  </a:cubicBezTo>
                  <a:cubicBezTo>
                    <a:pt x="156" y="338"/>
                    <a:pt x="156" y="338"/>
                    <a:pt x="156" y="338"/>
                  </a:cubicBezTo>
                  <a:cubicBezTo>
                    <a:pt x="156" y="339"/>
                    <a:pt x="156" y="339"/>
                    <a:pt x="156" y="339"/>
                  </a:cubicBezTo>
                  <a:cubicBezTo>
                    <a:pt x="156" y="340"/>
                    <a:pt x="156" y="340"/>
                    <a:pt x="156" y="340"/>
                  </a:cubicBezTo>
                  <a:cubicBezTo>
                    <a:pt x="157" y="342"/>
                    <a:pt x="156" y="343"/>
                    <a:pt x="155" y="344"/>
                  </a:cubicBezTo>
                  <a:cubicBezTo>
                    <a:pt x="155" y="347"/>
                    <a:pt x="155" y="347"/>
                    <a:pt x="155" y="347"/>
                  </a:cubicBezTo>
                  <a:cubicBezTo>
                    <a:pt x="154" y="345"/>
                    <a:pt x="154" y="345"/>
                    <a:pt x="154" y="345"/>
                  </a:cubicBezTo>
                  <a:cubicBezTo>
                    <a:pt x="153" y="346"/>
                    <a:pt x="152" y="346"/>
                    <a:pt x="151" y="346"/>
                  </a:cubicBezTo>
                  <a:cubicBezTo>
                    <a:pt x="147" y="348"/>
                    <a:pt x="147" y="348"/>
                    <a:pt x="147" y="348"/>
                  </a:cubicBezTo>
                  <a:cubicBezTo>
                    <a:pt x="142" y="350"/>
                    <a:pt x="137" y="351"/>
                    <a:pt x="133" y="353"/>
                  </a:cubicBezTo>
                  <a:cubicBezTo>
                    <a:pt x="132" y="354"/>
                    <a:pt x="130" y="354"/>
                    <a:pt x="129" y="355"/>
                  </a:cubicBezTo>
                  <a:cubicBezTo>
                    <a:pt x="128" y="355"/>
                    <a:pt x="128" y="355"/>
                    <a:pt x="128" y="355"/>
                  </a:cubicBezTo>
                  <a:cubicBezTo>
                    <a:pt x="125" y="356"/>
                    <a:pt x="122" y="357"/>
                    <a:pt x="119" y="359"/>
                  </a:cubicBezTo>
                  <a:cubicBezTo>
                    <a:pt x="118" y="359"/>
                    <a:pt x="118" y="359"/>
                    <a:pt x="118" y="359"/>
                  </a:cubicBezTo>
                  <a:cubicBezTo>
                    <a:pt x="117" y="360"/>
                    <a:pt x="116" y="361"/>
                    <a:pt x="114" y="363"/>
                  </a:cubicBezTo>
                  <a:cubicBezTo>
                    <a:pt x="114" y="363"/>
                    <a:pt x="114" y="363"/>
                    <a:pt x="114" y="363"/>
                  </a:cubicBezTo>
                  <a:cubicBezTo>
                    <a:pt x="113" y="364"/>
                    <a:pt x="113" y="364"/>
                    <a:pt x="113" y="365"/>
                  </a:cubicBezTo>
                  <a:cubicBezTo>
                    <a:pt x="112" y="366"/>
                    <a:pt x="112" y="366"/>
                    <a:pt x="112" y="366"/>
                  </a:cubicBezTo>
                  <a:cubicBezTo>
                    <a:pt x="111" y="367"/>
                    <a:pt x="111" y="367"/>
                    <a:pt x="111" y="367"/>
                  </a:cubicBezTo>
                  <a:cubicBezTo>
                    <a:pt x="110" y="367"/>
                    <a:pt x="110" y="368"/>
                    <a:pt x="109" y="368"/>
                  </a:cubicBezTo>
                  <a:cubicBezTo>
                    <a:pt x="108" y="369"/>
                    <a:pt x="108" y="369"/>
                    <a:pt x="107" y="370"/>
                  </a:cubicBezTo>
                  <a:cubicBezTo>
                    <a:pt x="106" y="370"/>
                    <a:pt x="106" y="370"/>
                    <a:pt x="105" y="370"/>
                  </a:cubicBezTo>
                  <a:cubicBezTo>
                    <a:pt x="99" y="371"/>
                    <a:pt x="99" y="371"/>
                    <a:pt x="99" y="371"/>
                  </a:cubicBezTo>
                  <a:cubicBezTo>
                    <a:pt x="97" y="371"/>
                    <a:pt x="94" y="371"/>
                    <a:pt x="92" y="372"/>
                  </a:cubicBezTo>
                  <a:cubicBezTo>
                    <a:pt x="91" y="372"/>
                    <a:pt x="91" y="372"/>
                    <a:pt x="91" y="372"/>
                  </a:cubicBezTo>
                  <a:cubicBezTo>
                    <a:pt x="89" y="372"/>
                    <a:pt x="88" y="372"/>
                    <a:pt x="86" y="372"/>
                  </a:cubicBezTo>
                  <a:cubicBezTo>
                    <a:pt x="83" y="372"/>
                    <a:pt x="80" y="373"/>
                    <a:pt x="78" y="373"/>
                  </a:cubicBezTo>
                  <a:cubicBezTo>
                    <a:pt x="77" y="374"/>
                    <a:pt x="76" y="375"/>
                    <a:pt x="75" y="377"/>
                  </a:cubicBezTo>
                  <a:cubicBezTo>
                    <a:pt x="74" y="377"/>
                    <a:pt x="74" y="377"/>
                    <a:pt x="74" y="377"/>
                  </a:cubicBezTo>
                  <a:cubicBezTo>
                    <a:pt x="74" y="378"/>
                    <a:pt x="74" y="378"/>
                    <a:pt x="73" y="379"/>
                  </a:cubicBezTo>
                  <a:cubicBezTo>
                    <a:pt x="72" y="379"/>
                    <a:pt x="72" y="379"/>
                    <a:pt x="72" y="379"/>
                  </a:cubicBezTo>
                  <a:cubicBezTo>
                    <a:pt x="72" y="380"/>
                    <a:pt x="71" y="380"/>
                    <a:pt x="71" y="380"/>
                  </a:cubicBezTo>
                  <a:cubicBezTo>
                    <a:pt x="71" y="380"/>
                    <a:pt x="71" y="380"/>
                    <a:pt x="71" y="380"/>
                  </a:cubicBezTo>
                  <a:cubicBezTo>
                    <a:pt x="71" y="381"/>
                    <a:pt x="71" y="381"/>
                    <a:pt x="71" y="381"/>
                  </a:cubicBezTo>
                  <a:cubicBezTo>
                    <a:pt x="71" y="382"/>
                    <a:pt x="71" y="382"/>
                    <a:pt x="71" y="383"/>
                  </a:cubicBezTo>
                  <a:cubicBezTo>
                    <a:pt x="70" y="385"/>
                    <a:pt x="70" y="386"/>
                    <a:pt x="69" y="387"/>
                  </a:cubicBezTo>
                  <a:cubicBezTo>
                    <a:pt x="68" y="389"/>
                    <a:pt x="67" y="390"/>
                    <a:pt x="66" y="390"/>
                  </a:cubicBezTo>
                  <a:cubicBezTo>
                    <a:pt x="65" y="391"/>
                    <a:pt x="64" y="392"/>
                    <a:pt x="64" y="392"/>
                  </a:cubicBezTo>
                  <a:cubicBezTo>
                    <a:pt x="63" y="392"/>
                    <a:pt x="63" y="392"/>
                    <a:pt x="63" y="392"/>
                  </a:cubicBezTo>
                  <a:cubicBezTo>
                    <a:pt x="62" y="392"/>
                    <a:pt x="62" y="392"/>
                    <a:pt x="62" y="392"/>
                  </a:cubicBezTo>
                  <a:cubicBezTo>
                    <a:pt x="62" y="392"/>
                    <a:pt x="62" y="392"/>
                    <a:pt x="62" y="392"/>
                  </a:cubicBezTo>
                  <a:cubicBezTo>
                    <a:pt x="61" y="392"/>
                    <a:pt x="60" y="392"/>
                    <a:pt x="60" y="392"/>
                  </a:cubicBezTo>
                  <a:cubicBezTo>
                    <a:pt x="59" y="392"/>
                    <a:pt x="59" y="391"/>
                    <a:pt x="58" y="391"/>
                  </a:cubicBezTo>
                  <a:cubicBezTo>
                    <a:pt x="58" y="391"/>
                    <a:pt x="58" y="391"/>
                    <a:pt x="58" y="391"/>
                  </a:cubicBezTo>
                  <a:cubicBezTo>
                    <a:pt x="57" y="391"/>
                    <a:pt x="57" y="392"/>
                    <a:pt x="57" y="392"/>
                  </a:cubicBezTo>
                  <a:cubicBezTo>
                    <a:pt x="56" y="392"/>
                    <a:pt x="56" y="392"/>
                    <a:pt x="56" y="392"/>
                  </a:cubicBezTo>
                  <a:cubicBezTo>
                    <a:pt x="55" y="392"/>
                    <a:pt x="55" y="392"/>
                    <a:pt x="55" y="392"/>
                  </a:cubicBezTo>
                  <a:cubicBezTo>
                    <a:pt x="54" y="392"/>
                    <a:pt x="54" y="392"/>
                    <a:pt x="54" y="392"/>
                  </a:cubicBezTo>
                  <a:cubicBezTo>
                    <a:pt x="54" y="391"/>
                    <a:pt x="54" y="391"/>
                    <a:pt x="54" y="391"/>
                  </a:cubicBezTo>
                  <a:cubicBezTo>
                    <a:pt x="54" y="391"/>
                    <a:pt x="54" y="391"/>
                    <a:pt x="54" y="391"/>
                  </a:cubicBezTo>
                  <a:cubicBezTo>
                    <a:pt x="55" y="392"/>
                    <a:pt x="55" y="392"/>
                    <a:pt x="55" y="392"/>
                  </a:cubicBezTo>
                  <a:cubicBezTo>
                    <a:pt x="53" y="393"/>
                    <a:pt x="53" y="393"/>
                    <a:pt x="53" y="393"/>
                  </a:cubicBezTo>
                  <a:cubicBezTo>
                    <a:pt x="53" y="394"/>
                    <a:pt x="52" y="394"/>
                    <a:pt x="51" y="394"/>
                  </a:cubicBezTo>
                  <a:cubicBezTo>
                    <a:pt x="51" y="394"/>
                    <a:pt x="50" y="394"/>
                    <a:pt x="49" y="394"/>
                  </a:cubicBezTo>
                  <a:cubicBezTo>
                    <a:pt x="47" y="394"/>
                    <a:pt x="45" y="393"/>
                    <a:pt x="43" y="390"/>
                  </a:cubicBezTo>
                  <a:cubicBezTo>
                    <a:pt x="43" y="389"/>
                    <a:pt x="43" y="389"/>
                    <a:pt x="43" y="388"/>
                  </a:cubicBezTo>
                  <a:cubicBezTo>
                    <a:pt x="42" y="387"/>
                    <a:pt x="42" y="387"/>
                    <a:pt x="42" y="386"/>
                  </a:cubicBezTo>
                  <a:cubicBezTo>
                    <a:pt x="41" y="386"/>
                    <a:pt x="41" y="386"/>
                    <a:pt x="41" y="386"/>
                  </a:cubicBezTo>
                  <a:cubicBezTo>
                    <a:pt x="41" y="387"/>
                    <a:pt x="40" y="387"/>
                    <a:pt x="40" y="387"/>
                  </a:cubicBezTo>
                  <a:cubicBezTo>
                    <a:pt x="38" y="389"/>
                    <a:pt x="35" y="390"/>
                    <a:pt x="33" y="390"/>
                  </a:cubicBezTo>
                  <a:cubicBezTo>
                    <a:pt x="32" y="390"/>
                    <a:pt x="31" y="390"/>
                    <a:pt x="30" y="389"/>
                  </a:cubicBezTo>
                  <a:cubicBezTo>
                    <a:pt x="30" y="390"/>
                    <a:pt x="30" y="391"/>
                    <a:pt x="29" y="392"/>
                  </a:cubicBezTo>
                  <a:cubicBezTo>
                    <a:pt x="29" y="393"/>
                    <a:pt x="29" y="393"/>
                    <a:pt x="28" y="393"/>
                  </a:cubicBezTo>
                  <a:cubicBezTo>
                    <a:pt x="26" y="395"/>
                    <a:pt x="22" y="396"/>
                    <a:pt x="18" y="397"/>
                  </a:cubicBezTo>
                  <a:cubicBezTo>
                    <a:pt x="17" y="397"/>
                    <a:pt x="17" y="397"/>
                    <a:pt x="17" y="397"/>
                  </a:cubicBezTo>
                  <a:cubicBezTo>
                    <a:pt x="16" y="398"/>
                    <a:pt x="16" y="398"/>
                    <a:pt x="16" y="398"/>
                  </a:cubicBezTo>
                  <a:cubicBezTo>
                    <a:pt x="9" y="400"/>
                    <a:pt x="9" y="400"/>
                    <a:pt x="9" y="400"/>
                  </a:cubicBezTo>
                  <a:cubicBezTo>
                    <a:pt x="9" y="400"/>
                    <a:pt x="9" y="401"/>
                    <a:pt x="9" y="402"/>
                  </a:cubicBezTo>
                  <a:cubicBezTo>
                    <a:pt x="9" y="403"/>
                    <a:pt x="9" y="403"/>
                    <a:pt x="9" y="404"/>
                  </a:cubicBezTo>
                  <a:cubicBezTo>
                    <a:pt x="8" y="405"/>
                    <a:pt x="8" y="405"/>
                    <a:pt x="8" y="405"/>
                  </a:cubicBezTo>
                  <a:cubicBezTo>
                    <a:pt x="8" y="405"/>
                    <a:pt x="8" y="405"/>
                    <a:pt x="8" y="405"/>
                  </a:cubicBezTo>
                  <a:cubicBezTo>
                    <a:pt x="7" y="410"/>
                    <a:pt x="7" y="410"/>
                    <a:pt x="7" y="410"/>
                  </a:cubicBezTo>
                  <a:cubicBezTo>
                    <a:pt x="7" y="411"/>
                    <a:pt x="7" y="413"/>
                    <a:pt x="6" y="413"/>
                  </a:cubicBezTo>
                  <a:cubicBezTo>
                    <a:pt x="5" y="414"/>
                    <a:pt x="5" y="414"/>
                    <a:pt x="4" y="415"/>
                  </a:cubicBezTo>
                  <a:cubicBezTo>
                    <a:pt x="3" y="415"/>
                    <a:pt x="3" y="415"/>
                    <a:pt x="3" y="415"/>
                  </a:cubicBezTo>
                  <a:cubicBezTo>
                    <a:pt x="3" y="416"/>
                    <a:pt x="2" y="416"/>
                    <a:pt x="2" y="416"/>
                  </a:cubicBezTo>
                  <a:cubicBezTo>
                    <a:pt x="1" y="416"/>
                    <a:pt x="1" y="416"/>
                    <a:pt x="1" y="416"/>
                  </a:cubicBezTo>
                  <a:cubicBezTo>
                    <a:pt x="1" y="416"/>
                    <a:pt x="1" y="416"/>
                    <a:pt x="1" y="416"/>
                  </a:cubicBezTo>
                  <a:cubicBezTo>
                    <a:pt x="0" y="421"/>
                    <a:pt x="0" y="421"/>
                    <a:pt x="0" y="421"/>
                  </a:cubicBezTo>
                  <a:cubicBezTo>
                    <a:pt x="1" y="422"/>
                    <a:pt x="1" y="422"/>
                    <a:pt x="1" y="422"/>
                  </a:cubicBezTo>
                  <a:cubicBezTo>
                    <a:pt x="1" y="422"/>
                    <a:pt x="1" y="422"/>
                    <a:pt x="1" y="422"/>
                  </a:cubicBezTo>
                  <a:cubicBezTo>
                    <a:pt x="2" y="422"/>
                    <a:pt x="2" y="422"/>
                    <a:pt x="2" y="422"/>
                  </a:cubicBezTo>
                  <a:cubicBezTo>
                    <a:pt x="2" y="423"/>
                    <a:pt x="2" y="423"/>
                    <a:pt x="2" y="423"/>
                  </a:cubicBezTo>
                  <a:cubicBezTo>
                    <a:pt x="2" y="423"/>
                    <a:pt x="2" y="423"/>
                    <a:pt x="2" y="423"/>
                  </a:cubicBezTo>
                  <a:cubicBezTo>
                    <a:pt x="3" y="424"/>
                    <a:pt x="3" y="424"/>
                    <a:pt x="3" y="424"/>
                  </a:cubicBezTo>
                  <a:cubicBezTo>
                    <a:pt x="3" y="424"/>
                    <a:pt x="3" y="424"/>
                    <a:pt x="3" y="424"/>
                  </a:cubicBezTo>
                  <a:cubicBezTo>
                    <a:pt x="3" y="425"/>
                    <a:pt x="4" y="425"/>
                    <a:pt x="4" y="426"/>
                  </a:cubicBezTo>
                  <a:cubicBezTo>
                    <a:pt x="5" y="427"/>
                    <a:pt x="5" y="427"/>
                    <a:pt x="5" y="427"/>
                  </a:cubicBezTo>
                  <a:cubicBezTo>
                    <a:pt x="5" y="428"/>
                    <a:pt x="5" y="429"/>
                    <a:pt x="5" y="430"/>
                  </a:cubicBezTo>
                  <a:cubicBezTo>
                    <a:pt x="4" y="431"/>
                    <a:pt x="4" y="431"/>
                    <a:pt x="4" y="431"/>
                  </a:cubicBezTo>
                  <a:cubicBezTo>
                    <a:pt x="3" y="432"/>
                    <a:pt x="3" y="432"/>
                    <a:pt x="3" y="432"/>
                  </a:cubicBezTo>
                  <a:cubicBezTo>
                    <a:pt x="3" y="432"/>
                    <a:pt x="3" y="432"/>
                    <a:pt x="3" y="432"/>
                  </a:cubicBezTo>
                  <a:cubicBezTo>
                    <a:pt x="3" y="433"/>
                    <a:pt x="3" y="433"/>
                    <a:pt x="3" y="433"/>
                  </a:cubicBezTo>
                  <a:cubicBezTo>
                    <a:pt x="3" y="434"/>
                    <a:pt x="3" y="435"/>
                    <a:pt x="4" y="435"/>
                  </a:cubicBezTo>
                  <a:cubicBezTo>
                    <a:pt x="4" y="435"/>
                    <a:pt x="4" y="435"/>
                    <a:pt x="5" y="435"/>
                  </a:cubicBezTo>
                  <a:cubicBezTo>
                    <a:pt x="6" y="434"/>
                    <a:pt x="6" y="434"/>
                    <a:pt x="6" y="434"/>
                  </a:cubicBezTo>
                  <a:cubicBezTo>
                    <a:pt x="7" y="434"/>
                    <a:pt x="9" y="434"/>
                    <a:pt x="11" y="433"/>
                  </a:cubicBezTo>
                  <a:cubicBezTo>
                    <a:pt x="12" y="433"/>
                    <a:pt x="12" y="433"/>
                    <a:pt x="12" y="433"/>
                  </a:cubicBezTo>
                  <a:cubicBezTo>
                    <a:pt x="12" y="433"/>
                    <a:pt x="12" y="433"/>
                    <a:pt x="12" y="433"/>
                  </a:cubicBezTo>
                  <a:cubicBezTo>
                    <a:pt x="13" y="433"/>
                    <a:pt x="13" y="433"/>
                    <a:pt x="14" y="434"/>
                  </a:cubicBezTo>
                  <a:cubicBezTo>
                    <a:pt x="15" y="434"/>
                    <a:pt x="17" y="435"/>
                    <a:pt x="18" y="435"/>
                  </a:cubicBezTo>
                  <a:cubicBezTo>
                    <a:pt x="20" y="436"/>
                    <a:pt x="21" y="437"/>
                    <a:pt x="21" y="437"/>
                  </a:cubicBezTo>
                  <a:cubicBezTo>
                    <a:pt x="22" y="438"/>
                    <a:pt x="22" y="438"/>
                    <a:pt x="22" y="438"/>
                  </a:cubicBezTo>
                  <a:cubicBezTo>
                    <a:pt x="23" y="438"/>
                    <a:pt x="23" y="438"/>
                    <a:pt x="24" y="439"/>
                  </a:cubicBezTo>
                  <a:cubicBezTo>
                    <a:pt x="25" y="439"/>
                    <a:pt x="25" y="439"/>
                    <a:pt x="25" y="439"/>
                  </a:cubicBezTo>
                  <a:cubicBezTo>
                    <a:pt x="28" y="441"/>
                    <a:pt x="29" y="442"/>
                    <a:pt x="30" y="446"/>
                  </a:cubicBezTo>
                  <a:cubicBezTo>
                    <a:pt x="30" y="450"/>
                    <a:pt x="31" y="454"/>
                    <a:pt x="31" y="458"/>
                  </a:cubicBezTo>
                  <a:cubicBezTo>
                    <a:pt x="32" y="460"/>
                    <a:pt x="32" y="460"/>
                    <a:pt x="32" y="460"/>
                  </a:cubicBezTo>
                  <a:cubicBezTo>
                    <a:pt x="32" y="461"/>
                    <a:pt x="32" y="462"/>
                    <a:pt x="32" y="463"/>
                  </a:cubicBezTo>
                  <a:cubicBezTo>
                    <a:pt x="33" y="465"/>
                    <a:pt x="33" y="465"/>
                    <a:pt x="33" y="465"/>
                  </a:cubicBezTo>
                  <a:cubicBezTo>
                    <a:pt x="33" y="466"/>
                    <a:pt x="34" y="467"/>
                    <a:pt x="35" y="468"/>
                  </a:cubicBezTo>
                  <a:cubicBezTo>
                    <a:pt x="38" y="470"/>
                    <a:pt x="38" y="470"/>
                    <a:pt x="38" y="470"/>
                  </a:cubicBezTo>
                  <a:cubicBezTo>
                    <a:pt x="36" y="473"/>
                    <a:pt x="36" y="473"/>
                    <a:pt x="36" y="473"/>
                  </a:cubicBezTo>
                  <a:cubicBezTo>
                    <a:pt x="35" y="474"/>
                    <a:pt x="34" y="475"/>
                    <a:pt x="33" y="476"/>
                  </a:cubicBezTo>
                  <a:cubicBezTo>
                    <a:pt x="43" y="473"/>
                    <a:pt x="43" y="473"/>
                    <a:pt x="43" y="473"/>
                  </a:cubicBezTo>
                  <a:cubicBezTo>
                    <a:pt x="30" y="480"/>
                    <a:pt x="30" y="480"/>
                    <a:pt x="30" y="480"/>
                  </a:cubicBezTo>
                  <a:cubicBezTo>
                    <a:pt x="31" y="480"/>
                    <a:pt x="31" y="480"/>
                    <a:pt x="31" y="480"/>
                  </a:cubicBezTo>
                  <a:cubicBezTo>
                    <a:pt x="33" y="480"/>
                    <a:pt x="35" y="480"/>
                    <a:pt x="38" y="481"/>
                  </a:cubicBezTo>
                  <a:cubicBezTo>
                    <a:pt x="40" y="482"/>
                    <a:pt x="41" y="483"/>
                    <a:pt x="43" y="484"/>
                  </a:cubicBezTo>
                  <a:cubicBezTo>
                    <a:pt x="44" y="484"/>
                    <a:pt x="45" y="485"/>
                    <a:pt x="46" y="486"/>
                  </a:cubicBezTo>
                  <a:cubicBezTo>
                    <a:pt x="46" y="486"/>
                    <a:pt x="47" y="486"/>
                    <a:pt x="47" y="486"/>
                  </a:cubicBezTo>
                  <a:cubicBezTo>
                    <a:pt x="48" y="486"/>
                    <a:pt x="48" y="486"/>
                    <a:pt x="48" y="486"/>
                  </a:cubicBezTo>
                  <a:cubicBezTo>
                    <a:pt x="50" y="488"/>
                    <a:pt x="53" y="490"/>
                    <a:pt x="55" y="494"/>
                  </a:cubicBezTo>
                  <a:cubicBezTo>
                    <a:pt x="56" y="495"/>
                    <a:pt x="56" y="496"/>
                    <a:pt x="56" y="498"/>
                  </a:cubicBezTo>
                  <a:cubicBezTo>
                    <a:pt x="57" y="499"/>
                    <a:pt x="57" y="501"/>
                    <a:pt x="57" y="502"/>
                  </a:cubicBezTo>
                  <a:cubicBezTo>
                    <a:pt x="57" y="503"/>
                    <a:pt x="56" y="505"/>
                    <a:pt x="56" y="505"/>
                  </a:cubicBezTo>
                  <a:cubicBezTo>
                    <a:pt x="55" y="506"/>
                    <a:pt x="55" y="506"/>
                    <a:pt x="55" y="506"/>
                  </a:cubicBezTo>
                  <a:cubicBezTo>
                    <a:pt x="56" y="507"/>
                    <a:pt x="56" y="507"/>
                    <a:pt x="56" y="507"/>
                  </a:cubicBezTo>
                  <a:cubicBezTo>
                    <a:pt x="57" y="508"/>
                    <a:pt x="58" y="509"/>
                    <a:pt x="58" y="509"/>
                  </a:cubicBezTo>
                  <a:cubicBezTo>
                    <a:pt x="58" y="510"/>
                    <a:pt x="59" y="510"/>
                    <a:pt x="59" y="510"/>
                  </a:cubicBezTo>
                  <a:cubicBezTo>
                    <a:pt x="59" y="511"/>
                    <a:pt x="59" y="511"/>
                    <a:pt x="59" y="511"/>
                  </a:cubicBezTo>
                  <a:cubicBezTo>
                    <a:pt x="59" y="511"/>
                    <a:pt x="59" y="511"/>
                    <a:pt x="59" y="511"/>
                  </a:cubicBezTo>
                  <a:cubicBezTo>
                    <a:pt x="59" y="511"/>
                    <a:pt x="59" y="511"/>
                    <a:pt x="59" y="511"/>
                  </a:cubicBezTo>
                  <a:cubicBezTo>
                    <a:pt x="62" y="511"/>
                    <a:pt x="64" y="510"/>
                    <a:pt x="64" y="510"/>
                  </a:cubicBezTo>
                  <a:cubicBezTo>
                    <a:pt x="68" y="505"/>
                    <a:pt x="68" y="505"/>
                    <a:pt x="68" y="505"/>
                  </a:cubicBezTo>
                  <a:cubicBezTo>
                    <a:pt x="69" y="511"/>
                    <a:pt x="69" y="511"/>
                    <a:pt x="69" y="511"/>
                  </a:cubicBezTo>
                  <a:cubicBezTo>
                    <a:pt x="69" y="511"/>
                    <a:pt x="69" y="511"/>
                    <a:pt x="69" y="512"/>
                  </a:cubicBezTo>
                  <a:cubicBezTo>
                    <a:pt x="69" y="512"/>
                    <a:pt x="69" y="512"/>
                    <a:pt x="69" y="512"/>
                  </a:cubicBezTo>
                  <a:cubicBezTo>
                    <a:pt x="70" y="513"/>
                    <a:pt x="70" y="513"/>
                    <a:pt x="70" y="513"/>
                  </a:cubicBezTo>
                  <a:cubicBezTo>
                    <a:pt x="70" y="513"/>
                    <a:pt x="70" y="513"/>
                    <a:pt x="70" y="513"/>
                  </a:cubicBezTo>
                  <a:cubicBezTo>
                    <a:pt x="71" y="514"/>
                    <a:pt x="72" y="515"/>
                    <a:pt x="73" y="516"/>
                  </a:cubicBezTo>
                  <a:cubicBezTo>
                    <a:pt x="77" y="518"/>
                    <a:pt x="83" y="518"/>
                    <a:pt x="89" y="519"/>
                  </a:cubicBezTo>
                  <a:cubicBezTo>
                    <a:pt x="91" y="519"/>
                    <a:pt x="93" y="519"/>
                    <a:pt x="96" y="519"/>
                  </a:cubicBezTo>
                  <a:cubicBezTo>
                    <a:pt x="96" y="519"/>
                    <a:pt x="96" y="519"/>
                    <a:pt x="96" y="519"/>
                  </a:cubicBezTo>
                  <a:cubicBezTo>
                    <a:pt x="97" y="519"/>
                    <a:pt x="97" y="519"/>
                    <a:pt x="97" y="519"/>
                  </a:cubicBezTo>
                  <a:cubicBezTo>
                    <a:pt x="99" y="518"/>
                    <a:pt x="101" y="518"/>
                    <a:pt x="102" y="517"/>
                  </a:cubicBezTo>
                  <a:cubicBezTo>
                    <a:pt x="104" y="516"/>
                    <a:pt x="104" y="516"/>
                    <a:pt x="104" y="516"/>
                  </a:cubicBezTo>
                  <a:cubicBezTo>
                    <a:pt x="104" y="519"/>
                    <a:pt x="104" y="519"/>
                    <a:pt x="104" y="519"/>
                  </a:cubicBezTo>
                  <a:cubicBezTo>
                    <a:pt x="104" y="519"/>
                    <a:pt x="104" y="519"/>
                    <a:pt x="104" y="519"/>
                  </a:cubicBezTo>
                  <a:cubicBezTo>
                    <a:pt x="102" y="520"/>
                    <a:pt x="100" y="521"/>
                    <a:pt x="98" y="522"/>
                  </a:cubicBezTo>
                  <a:cubicBezTo>
                    <a:pt x="97" y="522"/>
                    <a:pt x="97" y="522"/>
                    <a:pt x="97" y="522"/>
                  </a:cubicBezTo>
                  <a:cubicBezTo>
                    <a:pt x="96" y="522"/>
                    <a:pt x="96" y="522"/>
                    <a:pt x="96" y="522"/>
                  </a:cubicBezTo>
                  <a:cubicBezTo>
                    <a:pt x="96" y="522"/>
                    <a:pt x="96" y="522"/>
                    <a:pt x="96" y="522"/>
                  </a:cubicBezTo>
                  <a:cubicBezTo>
                    <a:pt x="96" y="522"/>
                    <a:pt x="99" y="522"/>
                    <a:pt x="100" y="522"/>
                  </a:cubicBezTo>
                  <a:cubicBezTo>
                    <a:pt x="101" y="522"/>
                    <a:pt x="101" y="522"/>
                    <a:pt x="101" y="522"/>
                  </a:cubicBezTo>
                  <a:cubicBezTo>
                    <a:pt x="101" y="522"/>
                    <a:pt x="102" y="522"/>
                    <a:pt x="102" y="522"/>
                  </a:cubicBezTo>
                  <a:cubicBezTo>
                    <a:pt x="102" y="523"/>
                    <a:pt x="102" y="523"/>
                    <a:pt x="102" y="524"/>
                  </a:cubicBezTo>
                  <a:cubicBezTo>
                    <a:pt x="102" y="525"/>
                    <a:pt x="101" y="527"/>
                    <a:pt x="101" y="528"/>
                  </a:cubicBezTo>
                  <a:cubicBezTo>
                    <a:pt x="101" y="529"/>
                    <a:pt x="101" y="530"/>
                    <a:pt x="102" y="531"/>
                  </a:cubicBezTo>
                  <a:cubicBezTo>
                    <a:pt x="103" y="532"/>
                    <a:pt x="104" y="534"/>
                    <a:pt x="104" y="535"/>
                  </a:cubicBezTo>
                  <a:cubicBezTo>
                    <a:pt x="104" y="536"/>
                    <a:pt x="105" y="536"/>
                    <a:pt x="105" y="537"/>
                  </a:cubicBezTo>
                  <a:cubicBezTo>
                    <a:pt x="105" y="539"/>
                    <a:pt x="106" y="541"/>
                    <a:pt x="107" y="543"/>
                  </a:cubicBezTo>
                  <a:cubicBezTo>
                    <a:pt x="107" y="543"/>
                    <a:pt x="107" y="543"/>
                    <a:pt x="107" y="543"/>
                  </a:cubicBezTo>
                  <a:cubicBezTo>
                    <a:pt x="108" y="545"/>
                    <a:pt x="110" y="547"/>
                    <a:pt x="112" y="548"/>
                  </a:cubicBezTo>
                  <a:cubicBezTo>
                    <a:pt x="114" y="549"/>
                    <a:pt x="116" y="550"/>
                    <a:pt x="118" y="551"/>
                  </a:cubicBezTo>
                  <a:cubicBezTo>
                    <a:pt x="120" y="552"/>
                    <a:pt x="122" y="552"/>
                    <a:pt x="123" y="553"/>
                  </a:cubicBezTo>
                  <a:cubicBezTo>
                    <a:pt x="123" y="554"/>
                    <a:pt x="123" y="555"/>
                    <a:pt x="122" y="556"/>
                  </a:cubicBezTo>
                  <a:cubicBezTo>
                    <a:pt x="119" y="559"/>
                    <a:pt x="119" y="559"/>
                    <a:pt x="119" y="559"/>
                  </a:cubicBezTo>
                  <a:cubicBezTo>
                    <a:pt x="118" y="559"/>
                    <a:pt x="118" y="559"/>
                    <a:pt x="118" y="559"/>
                  </a:cubicBezTo>
                  <a:cubicBezTo>
                    <a:pt x="118" y="560"/>
                    <a:pt x="118" y="561"/>
                    <a:pt x="118" y="562"/>
                  </a:cubicBezTo>
                  <a:cubicBezTo>
                    <a:pt x="118" y="563"/>
                    <a:pt x="118" y="564"/>
                    <a:pt x="119" y="565"/>
                  </a:cubicBezTo>
                  <a:cubicBezTo>
                    <a:pt x="119" y="565"/>
                    <a:pt x="119" y="565"/>
                    <a:pt x="119" y="565"/>
                  </a:cubicBezTo>
                  <a:cubicBezTo>
                    <a:pt x="119" y="566"/>
                    <a:pt x="119" y="567"/>
                    <a:pt x="119" y="568"/>
                  </a:cubicBezTo>
                  <a:cubicBezTo>
                    <a:pt x="122" y="565"/>
                    <a:pt x="122" y="565"/>
                    <a:pt x="122" y="565"/>
                  </a:cubicBezTo>
                  <a:cubicBezTo>
                    <a:pt x="122" y="565"/>
                    <a:pt x="122" y="565"/>
                    <a:pt x="122" y="565"/>
                  </a:cubicBezTo>
                  <a:cubicBezTo>
                    <a:pt x="123" y="570"/>
                    <a:pt x="123" y="570"/>
                    <a:pt x="123" y="570"/>
                  </a:cubicBezTo>
                  <a:cubicBezTo>
                    <a:pt x="123" y="570"/>
                    <a:pt x="123" y="570"/>
                    <a:pt x="123" y="570"/>
                  </a:cubicBezTo>
                  <a:cubicBezTo>
                    <a:pt x="124" y="574"/>
                    <a:pt x="124" y="574"/>
                    <a:pt x="124" y="574"/>
                  </a:cubicBezTo>
                  <a:cubicBezTo>
                    <a:pt x="125" y="575"/>
                    <a:pt x="125" y="575"/>
                    <a:pt x="125" y="575"/>
                  </a:cubicBezTo>
                  <a:cubicBezTo>
                    <a:pt x="125" y="576"/>
                    <a:pt x="125" y="576"/>
                    <a:pt x="125" y="576"/>
                  </a:cubicBezTo>
                  <a:cubicBezTo>
                    <a:pt x="126" y="577"/>
                    <a:pt x="126" y="577"/>
                    <a:pt x="126" y="577"/>
                  </a:cubicBezTo>
                  <a:cubicBezTo>
                    <a:pt x="127" y="578"/>
                    <a:pt x="129" y="579"/>
                    <a:pt x="131" y="581"/>
                  </a:cubicBezTo>
                  <a:cubicBezTo>
                    <a:pt x="131" y="581"/>
                    <a:pt x="131" y="581"/>
                    <a:pt x="131" y="581"/>
                  </a:cubicBezTo>
                  <a:cubicBezTo>
                    <a:pt x="133" y="581"/>
                    <a:pt x="135" y="581"/>
                    <a:pt x="136" y="584"/>
                  </a:cubicBezTo>
                  <a:cubicBezTo>
                    <a:pt x="136" y="584"/>
                    <a:pt x="136" y="585"/>
                    <a:pt x="137" y="586"/>
                  </a:cubicBezTo>
                  <a:cubicBezTo>
                    <a:pt x="137" y="589"/>
                    <a:pt x="137" y="589"/>
                    <a:pt x="137" y="589"/>
                  </a:cubicBezTo>
                  <a:cubicBezTo>
                    <a:pt x="137" y="589"/>
                    <a:pt x="137" y="590"/>
                    <a:pt x="137" y="591"/>
                  </a:cubicBezTo>
                  <a:cubicBezTo>
                    <a:pt x="137" y="592"/>
                    <a:pt x="137" y="592"/>
                    <a:pt x="137" y="592"/>
                  </a:cubicBezTo>
                  <a:cubicBezTo>
                    <a:pt x="138" y="592"/>
                    <a:pt x="138" y="592"/>
                    <a:pt x="138" y="592"/>
                  </a:cubicBezTo>
                  <a:cubicBezTo>
                    <a:pt x="138" y="592"/>
                    <a:pt x="138" y="592"/>
                    <a:pt x="138" y="592"/>
                  </a:cubicBezTo>
                  <a:cubicBezTo>
                    <a:pt x="140" y="594"/>
                    <a:pt x="140" y="594"/>
                    <a:pt x="140" y="594"/>
                  </a:cubicBezTo>
                  <a:cubicBezTo>
                    <a:pt x="138" y="596"/>
                    <a:pt x="138" y="596"/>
                    <a:pt x="138" y="596"/>
                  </a:cubicBezTo>
                  <a:cubicBezTo>
                    <a:pt x="135" y="602"/>
                    <a:pt x="129" y="608"/>
                    <a:pt x="124" y="608"/>
                  </a:cubicBezTo>
                  <a:cubicBezTo>
                    <a:pt x="123" y="608"/>
                    <a:pt x="123" y="608"/>
                    <a:pt x="123" y="608"/>
                  </a:cubicBezTo>
                  <a:cubicBezTo>
                    <a:pt x="123" y="608"/>
                    <a:pt x="123" y="608"/>
                    <a:pt x="123" y="608"/>
                  </a:cubicBezTo>
                  <a:cubicBezTo>
                    <a:pt x="119" y="607"/>
                    <a:pt x="117" y="604"/>
                    <a:pt x="116" y="602"/>
                  </a:cubicBezTo>
                  <a:cubicBezTo>
                    <a:pt x="116" y="602"/>
                    <a:pt x="116" y="602"/>
                    <a:pt x="116" y="602"/>
                  </a:cubicBezTo>
                  <a:cubicBezTo>
                    <a:pt x="115" y="602"/>
                    <a:pt x="115" y="602"/>
                    <a:pt x="115" y="602"/>
                  </a:cubicBezTo>
                  <a:cubicBezTo>
                    <a:pt x="114" y="602"/>
                    <a:pt x="114" y="602"/>
                    <a:pt x="113" y="603"/>
                  </a:cubicBezTo>
                  <a:cubicBezTo>
                    <a:pt x="114" y="605"/>
                    <a:pt x="115" y="607"/>
                    <a:pt x="116" y="610"/>
                  </a:cubicBezTo>
                  <a:cubicBezTo>
                    <a:pt x="117" y="611"/>
                    <a:pt x="119" y="612"/>
                    <a:pt x="119" y="614"/>
                  </a:cubicBezTo>
                  <a:cubicBezTo>
                    <a:pt x="120" y="615"/>
                    <a:pt x="121" y="616"/>
                    <a:pt x="121" y="617"/>
                  </a:cubicBezTo>
                  <a:cubicBezTo>
                    <a:pt x="121" y="618"/>
                    <a:pt x="121" y="619"/>
                    <a:pt x="120" y="620"/>
                  </a:cubicBezTo>
                  <a:cubicBezTo>
                    <a:pt x="121" y="621"/>
                    <a:pt x="120" y="623"/>
                    <a:pt x="120" y="626"/>
                  </a:cubicBezTo>
                  <a:cubicBezTo>
                    <a:pt x="120" y="627"/>
                    <a:pt x="120" y="627"/>
                    <a:pt x="120" y="627"/>
                  </a:cubicBezTo>
                  <a:cubicBezTo>
                    <a:pt x="120" y="627"/>
                    <a:pt x="120" y="627"/>
                    <a:pt x="120" y="627"/>
                  </a:cubicBezTo>
                  <a:cubicBezTo>
                    <a:pt x="120" y="627"/>
                    <a:pt x="121" y="628"/>
                    <a:pt x="121" y="629"/>
                  </a:cubicBezTo>
                  <a:cubicBezTo>
                    <a:pt x="121" y="629"/>
                    <a:pt x="121" y="629"/>
                    <a:pt x="121" y="629"/>
                  </a:cubicBezTo>
                  <a:cubicBezTo>
                    <a:pt x="123" y="628"/>
                    <a:pt x="124" y="627"/>
                    <a:pt x="126" y="627"/>
                  </a:cubicBezTo>
                  <a:cubicBezTo>
                    <a:pt x="127" y="627"/>
                    <a:pt x="127" y="627"/>
                    <a:pt x="127" y="627"/>
                  </a:cubicBezTo>
                  <a:cubicBezTo>
                    <a:pt x="128" y="627"/>
                    <a:pt x="129" y="628"/>
                    <a:pt x="130" y="629"/>
                  </a:cubicBezTo>
                  <a:cubicBezTo>
                    <a:pt x="130" y="629"/>
                    <a:pt x="131" y="630"/>
                    <a:pt x="131" y="630"/>
                  </a:cubicBezTo>
                  <a:cubicBezTo>
                    <a:pt x="136" y="627"/>
                    <a:pt x="136" y="627"/>
                    <a:pt x="136" y="627"/>
                  </a:cubicBezTo>
                  <a:cubicBezTo>
                    <a:pt x="132" y="631"/>
                    <a:pt x="132" y="631"/>
                    <a:pt x="132" y="631"/>
                  </a:cubicBezTo>
                  <a:cubicBezTo>
                    <a:pt x="133" y="632"/>
                    <a:pt x="133" y="633"/>
                    <a:pt x="134" y="634"/>
                  </a:cubicBezTo>
                  <a:cubicBezTo>
                    <a:pt x="134" y="635"/>
                    <a:pt x="134" y="635"/>
                    <a:pt x="134" y="635"/>
                  </a:cubicBezTo>
                  <a:cubicBezTo>
                    <a:pt x="134" y="635"/>
                    <a:pt x="135" y="636"/>
                    <a:pt x="135" y="636"/>
                  </a:cubicBezTo>
                  <a:cubicBezTo>
                    <a:pt x="136" y="636"/>
                    <a:pt x="136" y="637"/>
                    <a:pt x="136" y="637"/>
                  </a:cubicBezTo>
                  <a:cubicBezTo>
                    <a:pt x="137" y="638"/>
                    <a:pt x="137" y="638"/>
                    <a:pt x="137" y="638"/>
                  </a:cubicBezTo>
                  <a:cubicBezTo>
                    <a:pt x="138" y="638"/>
                    <a:pt x="139" y="638"/>
                    <a:pt x="140" y="639"/>
                  </a:cubicBezTo>
                  <a:cubicBezTo>
                    <a:pt x="143" y="640"/>
                    <a:pt x="148" y="641"/>
                    <a:pt x="151" y="643"/>
                  </a:cubicBezTo>
                  <a:cubicBezTo>
                    <a:pt x="153" y="644"/>
                    <a:pt x="154" y="644"/>
                    <a:pt x="155" y="645"/>
                  </a:cubicBezTo>
                  <a:cubicBezTo>
                    <a:pt x="156" y="644"/>
                    <a:pt x="156" y="644"/>
                    <a:pt x="156" y="644"/>
                  </a:cubicBezTo>
                  <a:cubicBezTo>
                    <a:pt x="155" y="645"/>
                    <a:pt x="155" y="645"/>
                    <a:pt x="155" y="645"/>
                  </a:cubicBezTo>
                  <a:cubicBezTo>
                    <a:pt x="156" y="646"/>
                    <a:pt x="156" y="646"/>
                    <a:pt x="156" y="647"/>
                  </a:cubicBezTo>
                  <a:cubicBezTo>
                    <a:pt x="156" y="648"/>
                    <a:pt x="156" y="649"/>
                    <a:pt x="156" y="650"/>
                  </a:cubicBezTo>
                  <a:cubicBezTo>
                    <a:pt x="171" y="658"/>
                    <a:pt x="171" y="658"/>
                    <a:pt x="171" y="658"/>
                  </a:cubicBezTo>
                  <a:cubicBezTo>
                    <a:pt x="172" y="657"/>
                    <a:pt x="172" y="657"/>
                    <a:pt x="172" y="657"/>
                  </a:cubicBezTo>
                  <a:cubicBezTo>
                    <a:pt x="176" y="662"/>
                    <a:pt x="176" y="662"/>
                    <a:pt x="176" y="662"/>
                  </a:cubicBezTo>
                  <a:cubicBezTo>
                    <a:pt x="176" y="660"/>
                    <a:pt x="177" y="659"/>
                    <a:pt x="178" y="657"/>
                  </a:cubicBezTo>
                  <a:cubicBezTo>
                    <a:pt x="178" y="657"/>
                    <a:pt x="178" y="657"/>
                    <a:pt x="178" y="657"/>
                  </a:cubicBezTo>
                  <a:cubicBezTo>
                    <a:pt x="178" y="656"/>
                    <a:pt x="179" y="656"/>
                    <a:pt x="179" y="656"/>
                  </a:cubicBezTo>
                  <a:cubicBezTo>
                    <a:pt x="179" y="655"/>
                    <a:pt x="180" y="655"/>
                    <a:pt x="180" y="655"/>
                  </a:cubicBezTo>
                  <a:cubicBezTo>
                    <a:pt x="180" y="654"/>
                    <a:pt x="180" y="654"/>
                    <a:pt x="180" y="654"/>
                  </a:cubicBezTo>
                  <a:cubicBezTo>
                    <a:pt x="182" y="653"/>
                    <a:pt x="183" y="653"/>
                    <a:pt x="185" y="653"/>
                  </a:cubicBezTo>
                  <a:cubicBezTo>
                    <a:pt x="185" y="653"/>
                    <a:pt x="186" y="653"/>
                    <a:pt x="187" y="653"/>
                  </a:cubicBezTo>
                  <a:cubicBezTo>
                    <a:pt x="190" y="653"/>
                    <a:pt x="195" y="654"/>
                    <a:pt x="197" y="655"/>
                  </a:cubicBezTo>
                  <a:cubicBezTo>
                    <a:pt x="199" y="657"/>
                    <a:pt x="199" y="659"/>
                    <a:pt x="200" y="660"/>
                  </a:cubicBezTo>
                  <a:cubicBezTo>
                    <a:pt x="200" y="661"/>
                    <a:pt x="200" y="661"/>
                    <a:pt x="201" y="662"/>
                  </a:cubicBezTo>
                  <a:cubicBezTo>
                    <a:pt x="201" y="663"/>
                    <a:pt x="202" y="663"/>
                    <a:pt x="203" y="664"/>
                  </a:cubicBezTo>
                  <a:cubicBezTo>
                    <a:pt x="204" y="664"/>
                    <a:pt x="204" y="664"/>
                    <a:pt x="204" y="664"/>
                  </a:cubicBezTo>
                  <a:cubicBezTo>
                    <a:pt x="204" y="664"/>
                    <a:pt x="205" y="664"/>
                    <a:pt x="206" y="665"/>
                  </a:cubicBezTo>
                  <a:cubicBezTo>
                    <a:pt x="207" y="665"/>
                    <a:pt x="207" y="665"/>
                    <a:pt x="207" y="665"/>
                  </a:cubicBezTo>
                  <a:cubicBezTo>
                    <a:pt x="209" y="666"/>
                    <a:pt x="210" y="667"/>
                    <a:pt x="211" y="667"/>
                  </a:cubicBezTo>
                  <a:cubicBezTo>
                    <a:pt x="212" y="668"/>
                    <a:pt x="213" y="669"/>
                    <a:pt x="214" y="670"/>
                  </a:cubicBezTo>
                  <a:cubicBezTo>
                    <a:pt x="215" y="672"/>
                    <a:pt x="215" y="672"/>
                    <a:pt x="215" y="672"/>
                  </a:cubicBezTo>
                  <a:cubicBezTo>
                    <a:pt x="216" y="672"/>
                    <a:pt x="217" y="673"/>
                    <a:pt x="218" y="673"/>
                  </a:cubicBezTo>
                  <a:cubicBezTo>
                    <a:pt x="219" y="673"/>
                    <a:pt x="220" y="673"/>
                    <a:pt x="220" y="673"/>
                  </a:cubicBezTo>
                  <a:cubicBezTo>
                    <a:pt x="220" y="673"/>
                    <a:pt x="220" y="673"/>
                    <a:pt x="221" y="673"/>
                  </a:cubicBezTo>
                  <a:cubicBezTo>
                    <a:pt x="221" y="673"/>
                    <a:pt x="221" y="673"/>
                    <a:pt x="221" y="673"/>
                  </a:cubicBezTo>
                  <a:cubicBezTo>
                    <a:pt x="222" y="673"/>
                    <a:pt x="222" y="673"/>
                    <a:pt x="222" y="673"/>
                  </a:cubicBezTo>
                  <a:cubicBezTo>
                    <a:pt x="222" y="673"/>
                    <a:pt x="223" y="673"/>
                    <a:pt x="223" y="674"/>
                  </a:cubicBezTo>
                  <a:cubicBezTo>
                    <a:pt x="224" y="674"/>
                    <a:pt x="224" y="674"/>
                    <a:pt x="224" y="674"/>
                  </a:cubicBezTo>
                  <a:cubicBezTo>
                    <a:pt x="225" y="675"/>
                    <a:pt x="225" y="675"/>
                    <a:pt x="225" y="675"/>
                  </a:cubicBezTo>
                  <a:cubicBezTo>
                    <a:pt x="225" y="675"/>
                    <a:pt x="226" y="675"/>
                    <a:pt x="226" y="675"/>
                  </a:cubicBezTo>
                  <a:cubicBezTo>
                    <a:pt x="226" y="676"/>
                    <a:pt x="227" y="676"/>
                    <a:pt x="227" y="677"/>
                  </a:cubicBezTo>
                  <a:cubicBezTo>
                    <a:pt x="230" y="674"/>
                    <a:pt x="230" y="674"/>
                    <a:pt x="230" y="674"/>
                  </a:cubicBezTo>
                  <a:cubicBezTo>
                    <a:pt x="228" y="678"/>
                    <a:pt x="228" y="678"/>
                    <a:pt x="228" y="678"/>
                  </a:cubicBezTo>
                  <a:cubicBezTo>
                    <a:pt x="228" y="678"/>
                    <a:pt x="228" y="678"/>
                    <a:pt x="228" y="678"/>
                  </a:cubicBezTo>
                  <a:cubicBezTo>
                    <a:pt x="230" y="679"/>
                    <a:pt x="231" y="680"/>
                    <a:pt x="232" y="682"/>
                  </a:cubicBezTo>
                  <a:cubicBezTo>
                    <a:pt x="232" y="682"/>
                    <a:pt x="232" y="683"/>
                    <a:pt x="233" y="683"/>
                  </a:cubicBezTo>
                  <a:cubicBezTo>
                    <a:pt x="233" y="683"/>
                    <a:pt x="233" y="683"/>
                    <a:pt x="233" y="683"/>
                  </a:cubicBezTo>
                  <a:cubicBezTo>
                    <a:pt x="234" y="685"/>
                    <a:pt x="234" y="685"/>
                    <a:pt x="234" y="685"/>
                  </a:cubicBezTo>
                  <a:cubicBezTo>
                    <a:pt x="235" y="685"/>
                    <a:pt x="235" y="685"/>
                    <a:pt x="235" y="685"/>
                  </a:cubicBezTo>
                  <a:cubicBezTo>
                    <a:pt x="235" y="685"/>
                    <a:pt x="235" y="685"/>
                    <a:pt x="235" y="685"/>
                  </a:cubicBezTo>
                  <a:cubicBezTo>
                    <a:pt x="237" y="684"/>
                    <a:pt x="240" y="683"/>
                    <a:pt x="242" y="683"/>
                  </a:cubicBezTo>
                  <a:cubicBezTo>
                    <a:pt x="242" y="683"/>
                    <a:pt x="243" y="683"/>
                    <a:pt x="243" y="683"/>
                  </a:cubicBezTo>
                  <a:cubicBezTo>
                    <a:pt x="245" y="683"/>
                    <a:pt x="246" y="683"/>
                    <a:pt x="247" y="684"/>
                  </a:cubicBezTo>
                  <a:cubicBezTo>
                    <a:pt x="249" y="685"/>
                    <a:pt x="248" y="687"/>
                    <a:pt x="248" y="688"/>
                  </a:cubicBezTo>
                  <a:cubicBezTo>
                    <a:pt x="248" y="688"/>
                    <a:pt x="248" y="688"/>
                    <a:pt x="248" y="688"/>
                  </a:cubicBezTo>
                  <a:cubicBezTo>
                    <a:pt x="249" y="689"/>
                    <a:pt x="249" y="689"/>
                    <a:pt x="249" y="689"/>
                  </a:cubicBezTo>
                  <a:cubicBezTo>
                    <a:pt x="250" y="690"/>
                    <a:pt x="250" y="691"/>
                    <a:pt x="250" y="693"/>
                  </a:cubicBezTo>
                  <a:cubicBezTo>
                    <a:pt x="250" y="693"/>
                    <a:pt x="251" y="694"/>
                    <a:pt x="252" y="695"/>
                  </a:cubicBezTo>
                  <a:cubicBezTo>
                    <a:pt x="252" y="695"/>
                    <a:pt x="252" y="695"/>
                    <a:pt x="252" y="695"/>
                  </a:cubicBezTo>
                  <a:cubicBezTo>
                    <a:pt x="253" y="695"/>
                    <a:pt x="253" y="696"/>
                    <a:pt x="254" y="696"/>
                  </a:cubicBezTo>
                  <a:cubicBezTo>
                    <a:pt x="255" y="697"/>
                    <a:pt x="255" y="697"/>
                    <a:pt x="255" y="697"/>
                  </a:cubicBezTo>
                  <a:cubicBezTo>
                    <a:pt x="255" y="697"/>
                    <a:pt x="256" y="697"/>
                    <a:pt x="256" y="697"/>
                  </a:cubicBezTo>
                  <a:cubicBezTo>
                    <a:pt x="257" y="698"/>
                    <a:pt x="257" y="698"/>
                    <a:pt x="257" y="698"/>
                  </a:cubicBezTo>
                  <a:cubicBezTo>
                    <a:pt x="258" y="699"/>
                    <a:pt x="259" y="699"/>
                    <a:pt x="260" y="700"/>
                  </a:cubicBezTo>
                  <a:cubicBezTo>
                    <a:pt x="261" y="700"/>
                    <a:pt x="262" y="700"/>
                    <a:pt x="263" y="701"/>
                  </a:cubicBezTo>
                  <a:cubicBezTo>
                    <a:pt x="263" y="701"/>
                    <a:pt x="263" y="701"/>
                    <a:pt x="263" y="701"/>
                  </a:cubicBezTo>
                  <a:cubicBezTo>
                    <a:pt x="264" y="701"/>
                    <a:pt x="265" y="701"/>
                    <a:pt x="265" y="700"/>
                  </a:cubicBezTo>
                  <a:cubicBezTo>
                    <a:pt x="266" y="700"/>
                    <a:pt x="266" y="700"/>
                    <a:pt x="266" y="700"/>
                  </a:cubicBezTo>
                  <a:cubicBezTo>
                    <a:pt x="267" y="700"/>
                    <a:pt x="268" y="700"/>
                    <a:pt x="269" y="700"/>
                  </a:cubicBezTo>
                  <a:cubicBezTo>
                    <a:pt x="269" y="700"/>
                    <a:pt x="270" y="700"/>
                    <a:pt x="270" y="700"/>
                  </a:cubicBezTo>
                  <a:cubicBezTo>
                    <a:pt x="274" y="701"/>
                    <a:pt x="274" y="701"/>
                    <a:pt x="274" y="701"/>
                  </a:cubicBezTo>
                  <a:cubicBezTo>
                    <a:pt x="272" y="705"/>
                    <a:pt x="272" y="705"/>
                    <a:pt x="272" y="705"/>
                  </a:cubicBezTo>
                  <a:cubicBezTo>
                    <a:pt x="271" y="706"/>
                    <a:pt x="271" y="706"/>
                    <a:pt x="271" y="707"/>
                  </a:cubicBezTo>
                  <a:cubicBezTo>
                    <a:pt x="271" y="707"/>
                    <a:pt x="271" y="707"/>
                    <a:pt x="271" y="707"/>
                  </a:cubicBezTo>
                  <a:cubicBezTo>
                    <a:pt x="272" y="707"/>
                    <a:pt x="272" y="707"/>
                    <a:pt x="272" y="707"/>
                  </a:cubicBezTo>
                  <a:cubicBezTo>
                    <a:pt x="272" y="707"/>
                    <a:pt x="272" y="707"/>
                    <a:pt x="272" y="707"/>
                  </a:cubicBezTo>
                  <a:cubicBezTo>
                    <a:pt x="273" y="707"/>
                    <a:pt x="274" y="707"/>
                    <a:pt x="274" y="707"/>
                  </a:cubicBezTo>
                  <a:cubicBezTo>
                    <a:pt x="275" y="707"/>
                    <a:pt x="277" y="706"/>
                    <a:pt x="278" y="706"/>
                  </a:cubicBezTo>
                  <a:cubicBezTo>
                    <a:pt x="278" y="706"/>
                    <a:pt x="279" y="706"/>
                    <a:pt x="279" y="706"/>
                  </a:cubicBezTo>
                  <a:cubicBezTo>
                    <a:pt x="281" y="707"/>
                    <a:pt x="283" y="707"/>
                    <a:pt x="284" y="708"/>
                  </a:cubicBezTo>
                  <a:cubicBezTo>
                    <a:pt x="285" y="709"/>
                    <a:pt x="285" y="709"/>
                    <a:pt x="286" y="710"/>
                  </a:cubicBezTo>
                  <a:cubicBezTo>
                    <a:pt x="287" y="711"/>
                    <a:pt x="287" y="711"/>
                    <a:pt x="287" y="711"/>
                  </a:cubicBezTo>
                  <a:cubicBezTo>
                    <a:pt x="288" y="713"/>
                    <a:pt x="288" y="714"/>
                    <a:pt x="289" y="715"/>
                  </a:cubicBezTo>
                  <a:cubicBezTo>
                    <a:pt x="290" y="714"/>
                    <a:pt x="290" y="713"/>
                    <a:pt x="291" y="712"/>
                  </a:cubicBezTo>
                  <a:cubicBezTo>
                    <a:pt x="297" y="705"/>
                    <a:pt x="297" y="705"/>
                    <a:pt x="297" y="705"/>
                  </a:cubicBezTo>
                  <a:cubicBezTo>
                    <a:pt x="296" y="714"/>
                    <a:pt x="296" y="714"/>
                    <a:pt x="296" y="714"/>
                  </a:cubicBezTo>
                  <a:cubicBezTo>
                    <a:pt x="296" y="714"/>
                    <a:pt x="296" y="715"/>
                    <a:pt x="296" y="715"/>
                  </a:cubicBezTo>
                  <a:cubicBezTo>
                    <a:pt x="296" y="715"/>
                    <a:pt x="297" y="715"/>
                    <a:pt x="298" y="715"/>
                  </a:cubicBezTo>
                  <a:cubicBezTo>
                    <a:pt x="300" y="716"/>
                    <a:pt x="300" y="716"/>
                    <a:pt x="300" y="716"/>
                  </a:cubicBezTo>
                  <a:cubicBezTo>
                    <a:pt x="300" y="716"/>
                    <a:pt x="300" y="716"/>
                    <a:pt x="300" y="716"/>
                  </a:cubicBezTo>
                  <a:cubicBezTo>
                    <a:pt x="300" y="715"/>
                    <a:pt x="301" y="713"/>
                    <a:pt x="303" y="713"/>
                  </a:cubicBezTo>
                  <a:cubicBezTo>
                    <a:pt x="304" y="713"/>
                    <a:pt x="305" y="713"/>
                    <a:pt x="305" y="713"/>
                  </a:cubicBezTo>
                  <a:cubicBezTo>
                    <a:pt x="306" y="713"/>
                    <a:pt x="306" y="713"/>
                    <a:pt x="306" y="713"/>
                  </a:cubicBezTo>
                  <a:cubicBezTo>
                    <a:pt x="306" y="713"/>
                    <a:pt x="307" y="713"/>
                    <a:pt x="307" y="713"/>
                  </a:cubicBezTo>
                  <a:cubicBezTo>
                    <a:pt x="307" y="713"/>
                    <a:pt x="307" y="713"/>
                    <a:pt x="307" y="713"/>
                  </a:cubicBezTo>
                  <a:cubicBezTo>
                    <a:pt x="308" y="713"/>
                    <a:pt x="309" y="714"/>
                    <a:pt x="309" y="714"/>
                  </a:cubicBezTo>
                  <a:cubicBezTo>
                    <a:pt x="311" y="715"/>
                    <a:pt x="313" y="716"/>
                    <a:pt x="315" y="717"/>
                  </a:cubicBezTo>
                  <a:cubicBezTo>
                    <a:pt x="318" y="717"/>
                    <a:pt x="320" y="718"/>
                    <a:pt x="322" y="718"/>
                  </a:cubicBezTo>
                  <a:cubicBezTo>
                    <a:pt x="325" y="718"/>
                    <a:pt x="328" y="719"/>
                    <a:pt x="331" y="719"/>
                  </a:cubicBezTo>
                  <a:cubicBezTo>
                    <a:pt x="333" y="719"/>
                    <a:pt x="335" y="719"/>
                    <a:pt x="338" y="718"/>
                  </a:cubicBezTo>
                  <a:cubicBezTo>
                    <a:pt x="338" y="718"/>
                    <a:pt x="338" y="718"/>
                    <a:pt x="338" y="718"/>
                  </a:cubicBezTo>
                  <a:cubicBezTo>
                    <a:pt x="340" y="717"/>
                    <a:pt x="340" y="717"/>
                    <a:pt x="340" y="717"/>
                  </a:cubicBezTo>
                  <a:cubicBezTo>
                    <a:pt x="342" y="716"/>
                    <a:pt x="345" y="714"/>
                    <a:pt x="347" y="713"/>
                  </a:cubicBezTo>
                  <a:cubicBezTo>
                    <a:pt x="348" y="713"/>
                    <a:pt x="348" y="713"/>
                    <a:pt x="348" y="713"/>
                  </a:cubicBezTo>
                  <a:cubicBezTo>
                    <a:pt x="349" y="712"/>
                    <a:pt x="349" y="712"/>
                    <a:pt x="349" y="712"/>
                  </a:cubicBezTo>
                  <a:cubicBezTo>
                    <a:pt x="349" y="712"/>
                    <a:pt x="350" y="712"/>
                    <a:pt x="350" y="712"/>
                  </a:cubicBezTo>
                  <a:cubicBezTo>
                    <a:pt x="351" y="712"/>
                    <a:pt x="352" y="713"/>
                    <a:pt x="353" y="713"/>
                  </a:cubicBezTo>
                  <a:cubicBezTo>
                    <a:pt x="354" y="713"/>
                    <a:pt x="356" y="714"/>
                    <a:pt x="358" y="716"/>
                  </a:cubicBezTo>
                  <a:cubicBezTo>
                    <a:pt x="358" y="716"/>
                    <a:pt x="358" y="716"/>
                    <a:pt x="358" y="716"/>
                  </a:cubicBezTo>
                  <a:cubicBezTo>
                    <a:pt x="358" y="716"/>
                    <a:pt x="358" y="716"/>
                    <a:pt x="358" y="716"/>
                  </a:cubicBezTo>
                  <a:cubicBezTo>
                    <a:pt x="358" y="717"/>
                    <a:pt x="358" y="717"/>
                    <a:pt x="358" y="717"/>
                  </a:cubicBezTo>
                  <a:cubicBezTo>
                    <a:pt x="358" y="717"/>
                    <a:pt x="359" y="718"/>
                    <a:pt x="359" y="719"/>
                  </a:cubicBezTo>
                  <a:cubicBezTo>
                    <a:pt x="359" y="720"/>
                    <a:pt x="359" y="720"/>
                    <a:pt x="359" y="720"/>
                  </a:cubicBezTo>
                  <a:cubicBezTo>
                    <a:pt x="359" y="720"/>
                    <a:pt x="359" y="721"/>
                    <a:pt x="359" y="721"/>
                  </a:cubicBezTo>
                  <a:cubicBezTo>
                    <a:pt x="359" y="722"/>
                    <a:pt x="359" y="722"/>
                    <a:pt x="359" y="722"/>
                  </a:cubicBezTo>
                  <a:cubicBezTo>
                    <a:pt x="359" y="723"/>
                    <a:pt x="359" y="723"/>
                    <a:pt x="359" y="724"/>
                  </a:cubicBezTo>
                  <a:cubicBezTo>
                    <a:pt x="359" y="725"/>
                    <a:pt x="358" y="725"/>
                    <a:pt x="358" y="726"/>
                  </a:cubicBezTo>
                  <a:cubicBezTo>
                    <a:pt x="358" y="727"/>
                    <a:pt x="358" y="727"/>
                    <a:pt x="358" y="727"/>
                  </a:cubicBezTo>
                  <a:cubicBezTo>
                    <a:pt x="357" y="728"/>
                    <a:pt x="357" y="728"/>
                    <a:pt x="357" y="728"/>
                  </a:cubicBezTo>
                  <a:cubicBezTo>
                    <a:pt x="357" y="729"/>
                    <a:pt x="357" y="729"/>
                    <a:pt x="357" y="729"/>
                  </a:cubicBezTo>
                  <a:cubicBezTo>
                    <a:pt x="358" y="728"/>
                    <a:pt x="358" y="728"/>
                    <a:pt x="358" y="727"/>
                  </a:cubicBezTo>
                  <a:cubicBezTo>
                    <a:pt x="359" y="726"/>
                    <a:pt x="360" y="725"/>
                    <a:pt x="361" y="724"/>
                  </a:cubicBezTo>
                  <a:cubicBezTo>
                    <a:pt x="362" y="721"/>
                    <a:pt x="365" y="718"/>
                    <a:pt x="367" y="716"/>
                  </a:cubicBezTo>
                  <a:cubicBezTo>
                    <a:pt x="368" y="716"/>
                    <a:pt x="368" y="715"/>
                    <a:pt x="369" y="714"/>
                  </a:cubicBezTo>
                  <a:cubicBezTo>
                    <a:pt x="372" y="711"/>
                    <a:pt x="376" y="709"/>
                    <a:pt x="383" y="707"/>
                  </a:cubicBezTo>
                  <a:cubicBezTo>
                    <a:pt x="385" y="707"/>
                    <a:pt x="385" y="707"/>
                    <a:pt x="385" y="707"/>
                  </a:cubicBezTo>
                  <a:cubicBezTo>
                    <a:pt x="386" y="707"/>
                    <a:pt x="386" y="707"/>
                    <a:pt x="386" y="707"/>
                  </a:cubicBezTo>
                  <a:cubicBezTo>
                    <a:pt x="387" y="707"/>
                    <a:pt x="387" y="707"/>
                    <a:pt x="387" y="707"/>
                  </a:cubicBezTo>
                  <a:cubicBezTo>
                    <a:pt x="387" y="707"/>
                    <a:pt x="387" y="707"/>
                    <a:pt x="387" y="707"/>
                  </a:cubicBezTo>
                  <a:cubicBezTo>
                    <a:pt x="390" y="707"/>
                    <a:pt x="392" y="708"/>
                    <a:pt x="394" y="709"/>
                  </a:cubicBezTo>
                  <a:cubicBezTo>
                    <a:pt x="394" y="710"/>
                    <a:pt x="394" y="710"/>
                    <a:pt x="394" y="710"/>
                  </a:cubicBezTo>
                  <a:cubicBezTo>
                    <a:pt x="394" y="711"/>
                    <a:pt x="394" y="711"/>
                    <a:pt x="394" y="711"/>
                  </a:cubicBezTo>
                  <a:cubicBezTo>
                    <a:pt x="395" y="711"/>
                    <a:pt x="395" y="712"/>
                    <a:pt x="395" y="713"/>
                  </a:cubicBezTo>
                  <a:cubicBezTo>
                    <a:pt x="395" y="713"/>
                    <a:pt x="395" y="713"/>
                    <a:pt x="395" y="713"/>
                  </a:cubicBezTo>
                  <a:cubicBezTo>
                    <a:pt x="396" y="713"/>
                    <a:pt x="396" y="713"/>
                    <a:pt x="397" y="713"/>
                  </a:cubicBezTo>
                  <a:cubicBezTo>
                    <a:pt x="399" y="713"/>
                    <a:pt x="400" y="713"/>
                    <a:pt x="402" y="714"/>
                  </a:cubicBezTo>
                  <a:cubicBezTo>
                    <a:pt x="403" y="714"/>
                    <a:pt x="403" y="714"/>
                    <a:pt x="403" y="714"/>
                  </a:cubicBezTo>
                  <a:cubicBezTo>
                    <a:pt x="404" y="714"/>
                    <a:pt x="404" y="714"/>
                    <a:pt x="404" y="714"/>
                  </a:cubicBezTo>
                  <a:cubicBezTo>
                    <a:pt x="404" y="715"/>
                    <a:pt x="404" y="715"/>
                    <a:pt x="404" y="715"/>
                  </a:cubicBezTo>
                  <a:cubicBezTo>
                    <a:pt x="405" y="715"/>
                    <a:pt x="405" y="715"/>
                    <a:pt x="405" y="715"/>
                  </a:cubicBezTo>
                  <a:cubicBezTo>
                    <a:pt x="406" y="715"/>
                    <a:pt x="406" y="715"/>
                    <a:pt x="406" y="715"/>
                  </a:cubicBezTo>
                  <a:cubicBezTo>
                    <a:pt x="406" y="715"/>
                    <a:pt x="406" y="715"/>
                    <a:pt x="406" y="715"/>
                  </a:cubicBezTo>
                  <a:cubicBezTo>
                    <a:pt x="407" y="715"/>
                    <a:pt x="407" y="715"/>
                    <a:pt x="407" y="715"/>
                  </a:cubicBezTo>
                  <a:cubicBezTo>
                    <a:pt x="408" y="714"/>
                    <a:pt x="410" y="713"/>
                    <a:pt x="412" y="713"/>
                  </a:cubicBezTo>
                  <a:cubicBezTo>
                    <a:pt x="414" y="713"/>
                    <a:pt x="417" y="714"/>
                    <a:pt x="418" y="714"/>
                  </a:cubicBezTo>
                  <a:cubicBezTo>
                    <a:pt x="420" y="715"/>
                    <a:pt x="422" y="716"/>
                    <a:pt x="423" y="716"/>
                  </a:cubicBezTo>
                  <a:cubicBezTo>
                    <a:pt x="423" y="717"/>
                    <a:pt x="424" y="718"/>
                    <a:pt x="424" y="718"/>
                  </a:cubicBezTo>
                  <a:cubicBezTo>
                    <a:pt x="425" y="719"/>
                    <a:pt x="425" y="719"/>
                    <a:pt x="425" y="719"/>
                  </a:cubicBezTo>
                  <a:cubicBezTo>
                    <a:pt x="425" y="719"/>
                    <a:pt x="425" y="720"/>
                    <a:pt x="425" y="720"/>
                  </a:cubicBezTo>
                  <a:cubicBezTo>
                    <a:pt x="426" y="720"/>
                    <a:pt x="426" y="720"/>
                    <a:pt x="426" y="720"/>
                  </a:cubicBezTo>
                  <a:cubicBezTo>
                    <a:pt x="426" y="720"/>
                    <a:pt x="426" y="720"/>
                    <a:pt x="426" y="720"/>
                  </a:cubicBezTo>
                  <a:cubicBezTo>
                    <a:pt x="427" y="720"/>
                    <a:pt x="427" y="720"/>
                    <a:pt x="428" y="720"/>
                  </a:cubicBezTo>
                  <a:cubicBezTo>
                    <a:pt x="440" y="719"/>
                    <a:pt x="440" y="719"/>
                    <a:pt x="440" y="719"/>
                  </a:cubicBezTo>
                  <a:cubicBezTo>
                    <a:pt x="440" y="719"/>
                    <a:pt x="440" y="719"/>
                    <a:pt x="440" y="719"/>
                  </a:cubicBezTo>
                  <a:cubicBezTo>
                    <a:pt x="442" y="718"/>
                    <a:pt x="443" y="718"/>
                    <a:pt x="443" y="717"/>
                  </a:cubicBezTo>
                  <a:cubicBezTo>
                    <a:pt x="443" y="716"/>
                    <a:pt x="443" y="716"/>
                    <a:pt x="443" y="716"/>
                  </a:cubicBezTo>
                  <a:cubicBezTo>
                    <a:pt x="443" y="715"/>
                    <a:pt x="443" y="714"/>
                    <a:pt x="444" y="713"/>
                  </a:cubicBezTo>
                  <a:cubicBezTo>
                    <a:pt x="444" y="712"/>
                    <a:pt x="445" y="711"/>
                    <a:pt x="446" y="710"/>
                  </a:cubicBezTo>
                  <a:cubicBezTo>
                    <a:pt x="447" y="709"/>
                    <a:pt x="449" y="709"/>
                    <a:pt x="449" y="708"/>
                  </a:cubicBezTo>
                  <a:cubicBezTo>
                    <a:pt x="450" y="708"/>
                    <a:pt x="450" y="708"/>
                    <a:pt x="450" y="708"/>
                  </a:cubicBezTo>
                  <a:cubicBezTo>
                    <a:pt x="451" y="708"/>
                    <a:pt x="451" y="707"/>
                    <a:pt x="452" y="707"/>
                  </a:cubicBezTo>
                  <a:cubicBezTo>
                    <a:pt x="450" y="704"/>
                    <a:pt x="450" y="704"/>
                    <a:pt x="450" y="704"/>
                  </a:cubicBezTo>
                  <a:cubicBezTo>
                    <a:pt x="453" y="706"/>
                    <a:pt x="453" y="706"/>
                    <a:pt x="453" y="706"/>
                  </a:cubicBezTo>
                  <a:cubicBezTo>
                    <a:pt x="454" y="706"/>
                    <a:pt x="454" y="706"/>
                    <a:pt x="454" y="706"/>
                  </a:cubicBezTo>
                  <a:cubicBezTo>
                    <a:pt x="454" y="705"/>
                    <a:pt x="454" y="705"/>
                    <a:pt x="454" y="705"/>
                  </a:cubicBezTo>
                  <a:cubicBezTo>
                    <a:pt x="455" y="704"/>
                    <a:pt x="455" y="704"/>
                    <a:pt x="455" y="704"/>
                  </a:cubicBezTo>
                  <a:cubicBezTo>
                    <a:pt x="455" y="702"/>
                    <a:pt x="456" y="700"/>
                    <a:pt x="458" y="699"/>
                  </a:cubicBezTo>
                  <a:cubicBezTo>
                    <a:pt x="459" y="698"/>
                    <a:pt x="461" y="698"/>
                    <a:pt x="462" y="698"/>
                  </a:cubicBezTo>
                  <a:cubicBezTo>
                    <a:pt x="462" y="698"/>
                    <a:pt x="462" y="698"/>
                    <a:pt x="463" y="698"/>
                  </a:cubicBezTo>
                  <a:cubicBezTo>
                    <a:pt x="465" y="697"/>
                    <a:pt x="467" y="697"/>
                    <a:pt x="469" y="696"/>
                  </a:cubicBezTo>
                  <a:cubicBezTo>
                    <a:pt x="473" y="695"/>
                    <a:pt x="473" y="695"/>
                    <a:pt x="473" y="695"/>
                  </a:cubicBezTo>
                  <a:cubicBezTo>
                    <a:pt x="474" y="694"/>
                    <a:pt x="476" y="693"/>
                    <a:pt x="477" y="692"/>
                  </a:cubicBezTo>
                  <a:cubicBezTo>
                    <a:pt x="478" y="691"/>
                    <a:pt x="478" y="691"/>
                    <a:pt x="478" y="691"/>
                  </a:cubicBezTo>
                  <a:cubicBezTo>
                    <a:pt x="478" y="691"/>
                    <a:pt x="478" y="690"/>
                    <a:pt x="479" y="690"/>
                  </a:cubicBezTo>
                  <a:cubicBezTo>
                    <a:pt x="479" y="690"/>
                    <a:pt x="479" y="690"/>
                    <a:pt x="479" y="690"/>
                  </a:cubicBezTo>
                  <a:cubicBezTo>
                    <a:pt x="481" y="688"/>
                    <a:pt x="483" y="687"/>
                    <a:pt x="485" y="685"/>
                  </a:cubicBezTo>
                  <a:cubicBezTo>
                    <a:pt x="486" y="685"/>
                    <a:pt x="487" y="684"/>
                    <a:pt x="488" y="683"/>
                  </a:cubicBezTo>
                  <a:cubicBezTo>
                    <a:pt x="488" y="683"/>
                    <a:pt x="489" y="682"/>
                    <a:pt x="490" y="682"/>
                  </a:cubicBezTo>
                  <a:cubicBezTo>
                    <a:pt x="490" y="682"/>
                    <a:pt x="491" y="681"/>
                    <a:pt x="492" y="681"/>
                  </a:cubicBezTo>
                  <a:cubicBezTo>
                    <a:pt x="493" y="681"/>
                    <a:pt x="494" y="681"/>
                    <a:pt x="494" y="682"/>
                  </a:cubicBezTo>
                  <a:cubicBezTo>
                    <a:pt x="495" y="682"/>
                    <a:pt x="495" y="682"/>
                    <a:pt x="495" y="682"/>
                  </a:cubicBezTo>
                  <a:cubicBezTo>
                    <a:pt x="495" y="682"/>
                    <a:pt x="496" y="683"/>
                    <a:pt x="496" y="683"/>
                  </a:cubicBezTo>
                  <a:cubicBezTo>
                    <a:pt x="496" y="683"/>
                    <a:pt x="496" y="683"/>
                    <a:pt x="496" y="683"/>
                  </a:cubicBezTo>
                  <a:cubicBezTo>
                    <a:pt x="497" y="684"/>
                    <a:pt x="497" y="684"/>
                    <a:pt x="497" y="684"/>
                  </a:cubicBezTo>
                  <a:cubicBezTo>
                    <a:pt x="498" y="685"/>
                    <a:pt x="498" y="685"/>
                    <a:pt x="498" y="685"/>
                  </a:cubicBezTo>
                  <a:cubicBezTo>
                    <a:pt x="499" y="685"/>
                    <a:pt x="499" y="685"/>
                    <a:pt x="499" y="685"/>
                  </a:cubicBezTo>
                  <a:cubicBezTo>
                    <a:pt x="500" y="685"/>
                    <a:pt x="500" y="685"/>
                    <a:pt x="500" y="685"/>
                  </a:cubicBezTo>
                  <a:cubicBezTo>
                    <a:pt x="500" y="685"/>
                    <a:pt x="501" y="685"/>
                    <a:pt x="502" y="685"/>
                  </a:cubicBezTo>
                  <a:cubicBezTo>
                    <a:pt x="502" y="686"/>
                    <a:pt x="503" y="686"/>
                    <a:pt x="503" y="686"/>
                  </a:cubicBezTo>
                  <a:cubicBezTo>
                    <a:pt x="504" y="686"/>
                    <a:pt x="505" y="686"/>
                    <a:pt x="506" y="687"/>
                  </a:cubicBezTo>
                  <a:cubicBezTo>
                    <a:pt x="506" y="687"/>
                    <a:pt x="507" y="688"/>
                    <a:pt x="508" y="688"/>
                  </a:cubicBezTo>
                  <a:cubicBezTo>
                    <a:pt x="509" y="688"/>
                    <a:pt x="509" y="688"/>
                    <a:pt x="509" y="688"/>
                  </a:cubicBezTo>
                  <a:cubicBezTo>
                    <a:pt x="510" y="688"/>
                    <a:pt x="511" y="687"/>
                    <a:pt x="512" y="686"/>
                  </a:cubicBezTo>
                  <a:cubicBezTo>
                    <a:pt x="519" y="681"/>
                    <a:pt x="523" y="678"/>
                    <a:pt x="526" y="678"/>
                  </a:cubicBezTo>
                  <a:cubicBezTo>
                    <a:pt x="526" y="678"/>
                    <a:pt x="527" y="678"/>
                    <a:pt x="527" y="678"/>
                  </a:cubicBezTo>
                  <a:cubicBezTo>
                    <a:pt x="528" y="678"/>
                    <a:pt x="529" y="679"/>
                    <a:pt x="530" y="680"/>
                  </a:cubicBezTo>
                  <a:cubicBezTo>
                    <a:pt x="530" y="681"/>
                    <a:pt x="530" y="681"/>
                    <a:pt x="530" y="681"/>
                  </a:cubicBezTo>
                  <a:cubicBezTo>
                    <a:pt x="530" y="681"/>
                    <a:pt x="530" y="681"/>
                    <a:pt x="531" y="681"/>
                  </a:cubicBezTo>
                  <a:cubicBezTo>
                    <a:pt x="531" y="681"/>
                    <a:pt x="531" y="681"/>
                    <a:pt x="531" y="681"/>
                  </a:cubicBezTo>
                  <a:cubicBezTo>
                    <a:pt x="533" y="682"/>
                    <a:pt x="535" y="683"/>
                    <a:pt x="535" y="685"/>
                  </a:cubicBezTo>
                  <a:cubicBezTo>
                    <a:pt x="536" y="685"/>
                    <a:pt x="536" y="685"/>
                    <a:pt x="536" y="685"/>
                  </a:cubicBezTo>
                  <a:cubicBezTo>
                    <a:pt x="536" y="686"/>
                    <a:pt x="536" y="686"/>
                    <a:pt x="536" y="686"/>
                  </a:cubicBezTo>
                  <a:cubicBezTo>
                    <a:pt x="536" y="686"/>
                    <a:pt x="535" y="687"/>
                    <a:pt x="535" y="687"/>
                  </a:cubicBezTo>
                  <a:cubicBezTo>
                    <a:pt x="535" y="688"/>
                    <a:pt x="535" y="688"/>
                    <a:pt x="535" y="688"/>
                  </a:cubicBezTo>
                  <a:cubicBezTo>
                    <a:pt x="544" y="684"/>
                    <a:pt x="544" y="684"/>
                    <a:pt x="544" y="684"/>
                  </a:cubicBezTo>
                  <a:cubicBezTo>
                    <a:pt x="538" y="692"/>
                    <a:pt x="538" y="692"/>
                    <a:pt x="538" y="692"/>
                  </a:cubicBezTo>
                  <a:cubicBezTo>
                    <a:pt x="538" y="692"/>
                    <a:pt x="538" y="692"/>
                    <a:pt x="538" y="692"/>
                  </a:cubicBezTo>
                  <a:cubicBezTo>
                    <a:pt x="539" y="693"/>
                    <a:pt x="539" y="693"/>
                    <a:pt x="539" y="693"/>
                  </a:cubicBezTo>
                  <a:cubicBezTo>
                    <a:pt x="539" y="693"/>
                    <a:pt x="539" y="693"/>
                    <a:pt x="539" y="693"/>
                  </a:cubicBezTo>
                  <a:cubicBezTo>
                    <a:pt x="540" y="694"/>
                    <a:pt x="541" y="695"/>
                    <a:pt x="541" y="697"/>
                  </a:cubicBezTo>
                  <a:cubicBezTo>
                    <a:pt x="541" y="699"/>
                    <a:pt x="541" y="701"/>
                    <a:pt x="538" y="702"/>
                  </a:cubicBezTo>
                  <a:cubicBezTo>
                    <a:pt x="538" y="702"/>
                    <a:pt x="538" y="702"/>
                    <a:pt x="538" y="702"/>
                  </a:cubicBezTo>
                  <a:cubicBezTo>
                    <a:pt x="538" y="702"/>
                    <a:pt x="537" y="702"/>
                    <a:pt x="537" y="703"/>
                  </a:cubicBezTo>
                  <a:cubicBezTo>
                    <a:pt x="537" y="703"/>
                    <a:pt x="536" y="704"/>
                    <a:pt x="536" y="704"/>
                  </a:cubicBezTo>
                  <a:cubicBezTo>
                    <a:pt x="537" y="704"/>
                    <a:pt x="537" y="704"/>
                    <a:pt x="537" y="704"/>
                  </a:cubicBezTo>
                  <a:cubicBezTo>
                    <a:pt x="538" y="704"/>
                    <a:pt x="539" y="704"/>
                    <a:pt x="540" y="704"/>
                  </a:cubicBezTo>
                  <a:cubicBezTo>
                    <a:pt x="541" y="704"/>
                    <a:pt x="541" y="704"/>
                    <a:pt x="541" y="704"/>
                  </a:cubicBezTo>
                  <a:cubicBezTo>
                    <a:pt x="542" y="705"/>
                    <a:pt x="544" y="705"/>
                    <a:pt x="545" y="705"/>
                  </a:cubicBezTo>
                  <a:cubicBezTo>
                    <a:pt x="547" y="705"/>
                    <a:pt x="547" y="705"/>
                    <a:pt x="547" y="705"/>
                  </a:cubicBezTo>
                  <a:cubicBezTo>
                    <a:pt x="548" y="705"/>
                    <a:pt x="549" y="705"/>
                    <a:pt x="550" y="706"/>
                  </a:cubicBezTo>
                  <a:cubicBezTo>
                    <a:pt x="550" y="706"/>
                    <a:pt x="550" y="706"/>
                    <a:pt x="550" y="706"/>
                  </a:cubicBezTo>
                  <a:cubicBezTo>
                    <a:pt x="552" y="706"/>
                    <a:pt x="553" y="707"/>
                    <a:pt x="554" y="708"/>
                  </a:cubicBezTo>
                  <a:cubicBezTo>
                    <a:pt x="554" y="708"/>
                    <a:pt x="554" y="708"/>
                    <a:pt x="554" y="708"/>
                  </a:cubicBezTo>
                  <a:cubicBezTo>
                    <a:pt x="556" y="706"/>
                    <a:pt x="557" y="704"/>
                    <a:pt x="558" y="703"/>
                  </a:cubicBezTo>
                  <a:cubicBezTo>
                    <a:pt x="559" y="702"/>
                    <a:pt x="560" y="701"/>
                    <a:pt x="561" y="701"/>
                  </a:cubicBezTo>
                  <a:cubicBezTo>
                    <a:pt x="561" y="701"/>
                    <a:pt x="562" y="701"/>
                    <a:pt x="562" y="701"/>
                  </a:cubicBezTo>
                  <a:cubicBezTo>
                    <a:pt x="564" y="701"/>
                    <a:pt x="565" y="702"/>
                    <a:pt x="566" y="703"/>
                  </a:cubicBezTo>
                  <a:cubicBezTo>
                    <a:pt x="566" y="703"/>
                    <a:pt x="566" y="703"/>
                    <a:pt x="566" y="703"/>
                  </a:cubicBezTo>
                  <a:cubicBezTo>
                    <a:pt x="567" y="703"/>
                    <a:pt x="567" y="704"/>
                    <a:pt x="567" y="705"/>
                  </a:cubicBezTo>
                  <a:cubicBezTo>
                    <a:pt x="568" y="705"/>
                    <a:pt x="568" y="705"/>
                    <a:pt x="568" y="705"/>
                  </a:cubicBezTo>
                  <a:cubicBezTo>
                    <a:pt x="568" y="705"/>
                    <a:pt x="569" y="705"/>
                    <a:pt x="570" y="706"/>
                  </a:cubicBezTo>
                  <a:cubicBezTo>
                    <a:pt x="571" y="706"/>
                    <a:pt x="572" y="707"/>
                    <a:pt x="573" y="708"/>
                  </a:cubicBezTo>
                  <a:cubicBezTo>
                    <a:pt x="573" y="708"/>
                    <a:pt x="573" y="709"/>
                    <a:pt x="574" y="709"/>
                  </a:cubicBezTo>
                  <a:cubicBezTo>
                    <a:pt x="574" y="710"/>
                    <a:pt x="574" y="710"/>
                    <a:pt x="574" y="710"/>
                  </a:cubicBezTo>
                  <a:cubicBezTo>
                    <a:pt x="577" y="713"/>
                    <a:pt x="578" y="716"/>
                    <a:pt x="578" y="719"/>
                  </a:cubicBezTo>
                  <a:cubicBezTo>
                    <a:pt x="578" y="720"/>
                    <a:pt x="579" y="722"/>
                    <a:pt x="580" y="723"/>
                  </a:cubicBezTo>
                  <a:cubicBezTo>
                    <a:pt x="580" y="723"/>
                    <a:pt x="580" y="723"/>
                    <a:pt x="580" y="723"/>
                  </a:cubicBezTo>
                  <a:cubicBezTo>
                    <a:pt x="580" y="723"/>
                    <a:pt x="581" y="723"/>
                    <a:pt x="581" y="723"/>
                  </a:cubicBezTo>
                  <a:cubicBezTo>
                    <a:pt x="581" y="723"/>
                    <a:pt x="582" y="723"/>
                    <a:pt x="582" y="723"/>
                  </a:cubicBezTo>
                  <a:cubicBezTo>
                    <a:pt x="583" y="723"/>
                    <a:pt x="584" y="723"/>
                    <a:pt x="585" y="724"/>
                  </a:cubicBezTo>
                  <a:cubicBezTo>
                    <a:pt x="585" y="724"/>
                    <a:pt x="585" y="724"/>
                    <a:pt x="585" y="724"/>
                  </a:cubicBezTo>
                  <a:cubicBezTo>
                    <a:pt x="586" y="722"/>
                    <a:pt x="586" y="722"/>
                    <a:pt x="586" y="722"/>
                  </a:cubicBezTo>
                  <a:cubicBezTo>
                    <a:pt x="589" y="726"/>
                    <a:pt x="589" y="726"/>
                    <a:pt x="589" y="726"/>
                  </a:cubicBezTo>
                  <a:cubicBezTo>
                    <a:pt x="590" y="727"/>
                    <a:pt x="590" y="728"/>
                    <a:pt x="590" y="728"/>
                  </a:cubicBezTo>
                  <a:cubicBezTo>
                    <a:pt x="591" y="729"/>
                    <a:pt x="591" y="729"/>
                    <a:pt x="591" y="730"/>
                  </a:cubicBezTo>
                  <a:cubicBezTo>
                    <a:pt x="592" y="733"/>
                    <a:pt x="592" y="738"/>
                    <a:pt x="592" y="741"/>
                  </a:cubicBezTo>
                  <a:cubicBezTo>
                    <a:pt x="592" y="743"/>
                    <a:pt x="592" y="743"/>
                    <a:pt x="592" y="743"/>
                  </a:cubicBezTo>
                  <a:cubicBezTo>
                    <a:pt x="592" y="744"/>
                    <a:pt x="592" y="744"/>
                    <a:pt x="592" y="745"/>
                  </a:cubicBezTo>
                  <a:cubicBezTo>
                    <a:pt x="592" y="746"/>
                    <a:pt x="592" y="746"/>
                    <a:pt x="592" y="746"/>
                  </a:cubicBezTo>
                  <a:cubicBezTo>
                    <a:pt x="592" y="750"/>
                    <a:pt x="592" y="753"/>
                    <a:pt x="592" y="756"/>
                  </a:cubicBezTo>
                  <a:cubicBezTo>
                    <a:pt x="591" y="757"/>
                    <a:pt x="591" y="758"/>
                    <a:pt x="591" y="759"/>
                  </a:cubicBezTo>
                  <a:cubicBezTo>
                    <a:pt x="590" y="760"/>
                    <a:pt x="590" y="761"/>
                    <a:pt x="590" y="762"/>
                  </a:cubicBezTo>
                  <a:cubicBezTo>
                    <a:pt x="589" y="762"/>
                    <a:pt x="589" y="764"/>
                    <a:pt x="588" y="765"/>
                  </a:cubicBezTo>
                  <a:cubicBezTo>
                    <a:pt x="588" y="766"/>
                    <a:pt x="588" y="766"/>
                    <a:pt x="588" y="766"/>
                  </a:cubicBezTo>
                  <a:cubicBezTo>
                    <a:pt x="588" y="767"/>
                    <a:pt x="588" y="767"/>
                    <a:pt x="588" y="767"/>
                  </a:cubicBezTo>
                  <a:cubicBezTo>
                    <a:pt x="589" y="768"/>
                    <a:pt x="589" y="769"/>
                    <a:pt x="589" y="769"/>
                  </a:cubicBezTo>
                  <a:cubicBezTo>
                    <a:pt x="590" y="770"/>
                    <a:pt x="590" y="772"/>
                    <a:pt x="589" y="774"/>
                  </a:cubicBezTo>
                  <a:cubicBezTo>
                    <a:pt x="589" y="775"/>
                    <a:pt x="589" y="775"/>
                    <a:pt x="589" y="775"/>
                  </a:cubicBezTo>
                  <a:cubicBezTo>
                    <a:pt x="588" y="775"/>
                    <a:pt x="588" y="776"/>
                    <a:pt x="587" y="777"/>
                  </a:cubicBezTo>
                  <a:cubicBezTo>
                    <a:pt x="587" y="777"/>
                    <a:pt x="586" y="777"/>
                    <a:pt x="586" y="778"/>
                  </a:cubicBezTo>
                  <a:cubicBezTo>
                    <a:pt x="584" y="779"/>
                    <a:pt x="582" y="781"/>
                    <a:pt x="580" y="782"/>
                  </a:cubicBezTo>
                  <a:cubicBezTo>
                    <a:pt x="579" y="782"/>
                    <a:pt x="579" y="782"/>
                    <a:pt x="578" y="782"/>
                  </a:cubicBezTo>
                  <a:cubicBezTo>
                    <a:pt x="578" y="782"/>
                    <a:pt x="577" y="782"/>
                    <a:pt x="577" y="782"/>
                  </a:cubicBezTo>
                  <a:cubicBezTo>
                    <a:pt x="576" y="783"/>
                    <a:pt x="576" y="783"/>
                    <a:pt x="576" y="783"/>
                  </a:cubicBezTo>
                  <a:cubicBezTo>
                    <a:pt x="576" y="783"/>
                    <a:pt x="576" y="784"/>
                    <a:pt x="576" y="784"/>
                  </a:cubicBezTo>
                  <a:cubicBezTo>
                    <a:pt x="576" y="787"/>
                    <a:pt x="573" y="788"/>
                    <a:pt x="571" y="788"/>
                  </a:cubicBezTo>
                  <a:cubicBezTo>
                    <a:pt x="570" y="789"/>
                    <a:pt x="570" y="789"/>
                    <a:pt x="570" y="789"/>
                  </a:cubicBezTo>
                  <a:cubicBezTo>
                    <a:pt x="569" y="789"/>
                    <a:pt x="569" y="789"/>
                    <a:pt x="569" y="791"/>
                  </a:cubicBezTo>
                  <a:cubicBezTo>
                    <a:pt x="569" y="792"/>
                    <a:pt x="569" y="794"/>
                    <a:pt x="569" y="794"/>
                  </a:cubicBezTo>
                  <a:cubicBezTo>
                    <a:pt x="569" y="794"/>
                    <a:pt x="569" y="794"/>
                    <a:pt x="569" y="794"/>
                  </a:cubicBezTo>
                  <a:cubicBezTo>
                    <a:pt x="570" y="795"/>
                    <a:pt x="570" y="795"/>
                    <a:pt x="570" y="795"/>
                  </a:cubicBezTo>
                  <a:cubicBezTo>
                    <a:pt x="569" y="798"/>
                    <a:pt x="569" y="798"/>
                    <a:pt x="569" y="798"/>
                  </a:cubicBezTo>
                  <a:cubicBezTo>
                    <a:pt x="568" y="800"/>
                    <a:pt x="567" y="800"/>
                    <a:pt x="565" y="801"/>
                  </a:cubicBezTo>
                  <a:cubicBezTo>
                    <a:pt x="565" y="801"/>
                    <a:pt x="565" y="801"/>
                    <a:pt x="565" y="801"/>
                  </a:cubicBezTo>
                  <a:cubicBezTo>
                    <a:pt x="565" y="801"/>
                    <a:pt x="564" y="801"/>
                    <a:pt x="564" y="802"/>
                  </a:cubicBezTo>
                  <a:cubicBezTo>
                    <a:pt x="563" y="802"/>
                    <a:pt x="563" y="802"/>
                    <a:pt x="563" y="805"/>
                  </a:cubicBezTo>
                  <a:cubicBezTo>
                    <a:pt x="563" y="805"/>
                    <a:pt x="563" y="805"/>
                    <a:pt x="563" y="805"/>
                  </a:cubicBezTo>
                  <a:cubicBezTo>
                    <a:pt x="565" y="806"/>
                    <a:pt x="566" y="807"/>
                    <a:pt x="566" y="809"/>
                  </a:cubicBezTo>
                  <a:cubicBezTo>
                    <a:pt x="567" y="811"/>
                    <a:pt x="567" y="814"/>
                    <a:pt x="566" y="816"/>
                  </a:cubicBezTo>
                  <a:cubicBezTo>
                    <a:pt x="566" y="816"/>
                    <a:pt x="566" y="816"/>
                    <a:pt x="566" y="816"/>
                  </a:cubicBezTo>
                  <a:cubicBezTo>
                    <a:pt x="566" y="816"/>
                    <a:pt x="566" y="816"/>
                    <a:pt x="565" y="817"/>
                  </a:cubicBezTo>
                  <a:cubicBezTo>
                    <a:pt x="564" y="818"/>
                    <a:pt x="564" y="818"/>
                    <a:pt x="564" y="818"/>
                  </a:cubicBezTo>
                  <a:cubicBezTo>
                    <a:pt x="566" y="817"/>
                    <a:pt x="568" y="816"/>
                    <a:pt x="569" y="815"/>
                  </a:cubicBezTo>
                  <a:cubicBezTo>
                    <a:pt x="569" y="815"/>
                    <a:pt x="569" y="815"/>
                    <a:pt x="569" y="815"/>
                  </a:cubicBezTo>
                  <a:cubicBezTo>
                    <a:pt x="571" y="815"/>
                    <a:pt x="572" y="814"/>
                    <a:pt x="572" y="814"/>
                  </a:cubicBezTo>
                  <a:cubicBezTo>
                    <a:pt x="573" y="813"/>
                    <a:pt x="574" y="813"/>
                    <a:pt x="574" y="813"/>
                  </a:cubicBezTo>
                  <a:cubicBezTo>
                    <a:pt x="575" y="813"/>
                    <a:pt x="575" y="813"/>
                    <a:pt x="575" y="813"/>
                  </a:cubicBezTo>
                  <a:cubicBezTo>
                    <a:pt x="575" y="813"/>
                    <a:pt x="576" y="812"/>
                    <a:pt x="577" y="812"/>
                  </a:cubicBezTo>
                  <a:cubicBezTo>
                    <a:pt x="578" y="812"/>
                    <a:pt x="580" y="813"/>
                    <a:pt x="581" y="813"/>
                  </a:cubicBezTo>
                  <a:cubicBezTo>
                    <a:pt x="582" y="813"/>
                    <a:pt x="582" y="813"/>
                    <a:pt x="582" y="813"/>
                  </a:cubicBezTo>
                  <a:cubicBezTo>
                    <a:pt x="582" y="813"/>
                    <a:pt x="583" y="813"/>
                    <a:pt x="583" y="813"/>
                  </a:cubicBezTo>
                  <a:cubicBezTo>
                    <a:pt x="586" y="813"/>
                    <a:pt x="588" y="813"/>
                    <a:pt x="591" y="812"/>
                  </a:cubicBezTo>
                  <a:cubicBezTo>
                    <a:pt x="598" y="809"/>
                    <a:pt x="598" y="809"/>
                    <a:pt x="598" y="809"/>
                  </a:cubicBezTo>
                  <a:cubicBezTo>
                    <a:pt x="590" y="823"/>
                    <a:pt x="590" y="823"/>
                    <a:pt x="590" y="823"/>
                  </a:cubicBezTo>
                  <a:cubicBezTo>
                    <a:pt x="590" y="823"/>
                    <a:pt x="590" y="823"/>
                    <a:pt x="590" y="823"/>
                  </a:cubicBezTo>
                  <a:cubicBezTo>
                    <a:pt x="590" y="824"/>
                    <a:pt x="590" y="824"/>
                    <a:pt x="590" y="824"/>
                  </a:cubicBezTo>
                  <a:cubicBezTo>
                    <a:pt x="591" y="825"/>
                    <a:pt x="591" y="825"/>
                    <a:pt x="591" y="825"/>
                  </a:cubicBezTo>
                  <a:cubicBezTo>
                    <a:pt x="591" y="825"/>
                    <a:pt x="591" y="826"/>
                    <a:pt x="592" y="827"/>
                  </a:cubicBezTo>
                  <a:cubicBezTo>
                    <a:pt x="592" y="828"/>
                    <a:pt x="592" y="829"/>
                    <a:pt x="593" y="829"/>
                  </a:cubicBezTo>
                  <a:cubicBezTo>
                    <a:pt x="593" y="830"/>
                    <a:pt x="593" y="831"/>
                    <a:pt x="594" y="832"/>
                  </a:cubicBezTo>
                  <a:cubicBezTo>
                    <a:pt x="595" y="835"/>
                    <a:pt x="595" y="835"/>
                    <a:pt x="595" y="835"/>
                  </a:cubicBezTo>
                  <a:cubicBezTo>
                    <a:pt x="595" y="836"/>
                    <a:pt x="596" y="837"/>
                    <a:pt x="598" y="837"/>
                  </a:cubicBezTo>
                  <a:cubicBezTo>
                    <a:pt x="598" y="838"/>
                    <a:pt x="599" y="838"/>
                    <a:pt x="599" y="838"/>
                  </a:cubicBezTo>
                  <a:cubicBezTo>
                    <a:pt x="600" y="838"/>
                    <a:pt x="600" y="838"/>
                    <a:pt x="600" y="838"/>
                  </a:cubicBezTo>
                  <a:cubicBezTo>
                    <a:pt x="602" y="833"/>
                    <a:pt x="602" y="833"/>
                    <a:pt x="602" y="833"/>
                  </a:cubicBezTo>
                  <a:cubicBezTo>
                    <a:pt x="601" y="838"/>
                    <a:pt x="601" y="838"/>
                    <a:pt x="601" y="838"/>
                  </a:cubicBezTo>
                  <a:cubicBezTo>
                    <a:pt x="602" y="838"/>
                    <a:pt x="602" y="838"/>
                    <a:pt x="602" y="838"/>
                  </a:cubicBezTo>
                  <a:cubicBezTo>
                    <a:pt x="602" y="838"/>
                    <a:pt x="603" y="838"/>
                    <a:pt x="604" y="838"/>
                  </a:cubicBezTo>
                  <a:cubicBezTo>
                    <a:pt x="605" y="838"/>
                    <a:pt x="608" y="838"/>
                    <a:pt x="609" y="841"/>
                  </a:cubicBezTo>
                  <a:cubicBezTo>
                    <a:pt x="609" y="841"/>
                    <a:pt x="610" y="842"/>
                    <a:pt x="610" y="842"/>
                  </a:cubicBezTo>
                  <a:cubicBezTo>
                    <a:pt x="610" y="842"/>
                    <a:pt x="610" y="843"/>
                    <a:pt x="610" y="843"/>
                  </a:cubicBezTo>
                  <a:cubicBezTo>
                    <a:pt x="611" y="844"/>
                    <a:pt x="611" y="847"/>
                    <a:pt x="608" y="849"/>
                  </a:cubicBezTo>
                  <a:cubicBezTo>
                    <a:pt x="607" y="849"/>
                    <a:pt x="607" y="849"/>
                    <a:pt x="606" y="850"/>
                  </a:cubicBezTo>
                  <a:cubicBezTo>
                    <a:pt x="606" y="850"/>
                    <a:pt x="606" y="850"/>
                    <a:pt x="606" y="850"/>
                  </a:cubicBezTo>
                  <a:cubicBezTo>
                    <a:pt x="606" y="850"/>
                    <a:pt x="606" y="850"/>
                    <a:pt x="606" y="850"/>
                  </a:cubicBezTo>
                  <a:cubicBezTo>
                    <a:pt x="605" y="851"/>
                    <a:pt x="605" y="851"/>
                    <a:pt x="605" y="851"/>
                  </a:cubicBezTo>
                  <a:cubicBezTo>
                    <a:pt x="605" y="852"/>
                    <a:pt x="605" y="852"/>
                    <a:pt x="605" y="852"/>
                  </a:cubicBezTo>
                  <a:cubicBezTo>
                    <a:pt x="605" y="853"/>
                    <a:pt x="605" y="854"/>
                    <a:pt x="604" y="855"/>
                  </a:cubicBezTo>
                  <a:cubicBezTo>
                    <a:pt x="604" y="856"/>
                    <a:pt x="604" y="857"/>
                    <a:pt x="604" y="858"/>
                  </a:cubicBezTo>
                  <a:cubicBezTo>
                    <a:pt x="604" y="858"/>
                    <a:pt x="604" y="858"/>
                    <a:pt x="604" y="858"/>
                  </a:cubicBezTo>
                  <a:cubicBezTo>
                    <a:pt x="603" y="860"/>
                    <a:pt x="603" y="861"/>
                    <a:pt x="602" y="862"/>
                  </a:cubicBezTo>
                  <a:cubicBezTo>
                    <a:pt x="616" y="864"/>
                    <a:pt x="616" y="864"/>
                    <a:pt x="616" y="864"/>
                  </a:cubicBezTo>
                  <a:cubicBezTo>
                    <a:pt x="617" y="864"/>
                    <a:pt x="617" y="864"/>
                    <a:pt x="617" y="864"/>
                  </a:cubicBezTo>
                  <a:cubicBezTo>
                    <a:pt x="618" y="864"/>
                    <a:pt x="618" y="864"/>
                    <a:pt x="619" y="865"/>
                  </a:cubicBezTo>
                  <a:cubicBezTo>
                    <a:pt x="619" y="865"/>
                    <a:pt x="619" y="865"/>
                    <a:pt x="619" y="865"/>
                  </a:cubicBezTo>
                  <a:cubicBezTo>
                    <a:pt x="620" y="866"/>
                    <a:pt x="620" y="867"/>
                    <a:pt x="620" y="867"/>
                  </a:cubicBezTo>
                  <a:cubicBezTo>
                    <a:pt x="620" y="868"/>
                    <a:pt x="620" y="869"/>
                    <a:pt x="620" y="870"/>
                  </a:cubicBezTo>
                  <a:cubicBezTo>
                    <a:pt x="620" y="871"/>
                    <a:pt x="620" y="871"/>
                    <a:pt x="620" y="871"/>
                  </a:cubicBezTo>
                  <a:cubicBezTo>
                    <a:pt x="620" y="872"/>
                    <a:pt x="620" y="872"/>
                    <a:pt x="620" y="872"/>
                  </a:cubicBezTo>
                  <a:cubicBezTo>
                    <a:pt x="620" y="872"/>
                    <a:pt x="620" y="872"/>
                    <a:pt x="620" y="872"/>
                  </a:cubicBezTo>
                  <a:cubicBezTo>
                    <a:pt x="620" y="873"/>
                    <a:pt x="621" y="873"/>
                    <a:pt x="621" y="875"/>
                  </a:cubicBezTo>
                  <a:cubicBezTo>
                    <a:pt x="622" y="875"/>
                    <a:pt x="622" y="875"/>
                    <a:pt x="622" y="875"/>
                  </a:cubicBezTo>
                  <a:cubicBezTo>
                    <a:pt x="622" y="876"/>
                    <a:pt x="622" y="876"/>
                    <a:pt x="623" y="877"/>
                  </a:cubicBezTo>
                  <a:cubicBezTo>
                    <a:pt x="623" y="877"/>
                    <a:pt x="623" y="877"/>
                    <a:pt x="623" y="877"/>
                  </a:cubicBezTo>
                  <a:cubicBezTo>
                    <a:pt x="623" y="878"/>
                    <a:pt x="624" y="878"/>
                    <a:pt x="624" y="879"/>
                  </a:cubicBezTo>
                  <a:cubicBezTo>
                    <a:pt x="631" y="876"/>
                    <a:pt x="631" y="876"/>
                    <a:pt x="631" y="876"/>
                  </a:cubicBezTo>
                  <a:cubicBezTo>
                    <a:pt x="633" y="876"/>
                    <a:pt x="634" y="875"/>
                    <a:pt x="636" y="874"/>
                  </a:cubicBezTo>
                  <a:cubicBezTo>
                    <a:pt x="637" y="874"/>
                    <a:pt x="638" y="873"/>
                    <a:pt x="638" y="873"/>
                  </a:cubicBezTo>
                  <a:cubicBezTo>
                    <a:pt x="640" y="873"/>
                    <a:pt x="640" y="873"/>
                    <a:pt x="640" y="873"/>
                  </a:cubicBezTo>
                  <a:cubicBezTo>
                    <a:pt x="641" y="872"/>
                    <a:pt x="641" y="872"/>
                    <a:pt x="642" y="872"/>
                  </a:cubicBezTo>
                  <a:cubicBezTo>
                    <a:pt x="646" y="869"/>
                    <a:pt x="646" y="869"/>
                    <a:pt x="646" y="869"/>
                  </a:cubicBezTo>
                  <a:cubicBezTo>
                    <a:pt x="647" y="873"/>
                    <a:pt x="647" y="873"/>
                    <a:pt x="647" y="873"/>
                  </a:cubicBezTo>
                  <a:cubicBezTo>
                    <a:pt x="647" y="874"/>
                    <a:pt x="648" y="876"/>
                    <a:pt x="648" y="877"/>
                  </a:cubicBezTo>
                  <a:cubicBezTo>
                    <a:pt x="648" y="878"/>
                    <a:pt x="648" y="878"/>
                    <a:pt x="648" y="878"/>
                  </a:cubicBezTo>
                  <a:cubicBezTo>
                    <a:pt x="648" y="878"/>
                    <a:pt x="648" y="878"/>
                    <a:pt x="648" y="878"/>
                  </a:cubicBezTo>
                  <a:cubicBezTo>
                    <a:pt x="648" y="879"/>
                    <a:pt x="648" y="879"/>
                    <a:pt x="648" y="880"/>
                  </a:cubicBezTo>
                  <a:cubicBezTo>
                    <a:pt x="648" y="881"/>
                    <a:pt x="649" y="883"/>
                    <a:pt x="650" y="885"/>
                  </a:cubicBezTo>
                  <a:cubicBezTo>
                    <a:pt x="651" y="884"/>
                    <a:pt x="651" y="884"/>
                    <a:pt x="651" y="884"/>
                  </a:cubicBezTo>
                  <a:cubicBezTo>
                    <a:pt x="652" y="884"/>
                    <a:pt x="652" y="884"/>
                    <a:pt x="652" y="884"/>
                  </a:cubicBezTo>
                  <a:cubicBezTo>
                    <a:pt x="653" y="884"/>
                    <a:pt x="653" y="884"/>
                    <a:pt x="653" y="884"/>
                  </a:cubicBezTo>
                  <a:cubicBezTo>
                    <a:pt x="654" y="885"/>
                    <a:pt x="655" y="885"/>
                    <a:pt x="655" y="885"/>
                  </a:cubicBezTo>
                  <a:cubicBezTo>
                    <a:pt x="656" y="885"/>
                    <a:pt x="656" y="885"/>
                    <a:pt x="656" y="885"/>
                  </a:cubicBezTo>
                  <a:cubicBezTo>
                    <a:pt x="656" y="885"/>
                    <a:pt x="656" y="885"/>
                    <a:pt x="656" y="885"/>
                  </a:cubicBezTo>
                  <a:cubicBezTo>
                    <a:pt x="656" y="883"/>
                    <a:pt x="656" y="880"/>
                    <a:pt x="657" y="877"/>
                  </a:cubicBezTo>
                  <a:cubicBezTo>
                    <a:pt x="657" y="876"/>
                    <a:pt x="657" y="876"/>
                    <a:pt x="657" y="876"/>
                  </a:cubicBezTo>
                  <a:cubicBezTo>
                    <a:pt x="657" y="874"/>
                    <a:pt x="657" y="873"/>
                    <a:pt x="655" y="871"/>
                  </a:cubicBezTo>
                  <a:cubicBezTo>
                    <a:pt x="655" y="870"/>
                    <a:pt x="655" y="869"/>
                    <a:pt x="654" y="869"/>
                  </a:cubicBezTo>
                  <a:cubicBezTo>
                    <a:pt x="654" y="868"/>
                    <a:pt x="654" y="868"/>
                    <a:pt x="654" y="868"/>
                  </a:cubicBezTo>
                  <a:cubicBezTo>
                    <a:pt x="653" y="866"/>
                    <a:pt x="651" y="864"/>
                    <a:pt x="652" y="862"/>
                  </a:cubicBezTo>
                  <a:cubicBezTo>
                    <a:pt x="652" y="861"/>
                    <a:pt x="652" y="861"/>
                    <a:pt x="652" y="860"/>
                  </a:cubicBezTo>
                  <a:cubicBezTo>
                    <a:pt x="652" y="859"/>
                    <a:pt x="652" y="859"/>
                    <a:pt x="652" y="859"/>
                  </a:cubicBezTo>
                  <a:cubicBezTo>
                    <a:pt x="653" y="859"/>
                    <a:pt x="653" y="859"/>
                    <a:pt x="653" y="859"/>
                  </a:cubicBezTo>
                  <a:cubicBezTo>
                    <a:pt x="653" y="858"/>
                    <a:pt x="654" y="857"/>
                    <a:pt x="655" y="856"/>
                  </a:cubicBezTo>
                  <a:cubicBezTo>
                    <a:pt x="655" y="856"/>
                    <a:pt x="655" y="856"/>
                    <a:pt x="655" y="856"/>
                  </a:cubicBezTo>
                  <a:cubicBezTo>
                    <a:pt x="656" y="854"/>
                    <a:pt x="656" y="854"/>
                    <a:pt x="656" y="854"/>
                  </a:cubicBezTo>
                  <a:cubicBezTo>
                    <a:pt x="656" y="854"/>
                    <a:pt x="657" y="853"/>
                    <a:pt x="658" y="853"/>
                  </a:cubicBezTo>
                  <a:cubicBezTo>
                    <a:pt x="658" y="853"/>
                    <a:pt x="659" y="853"/>
                    <a:pt x="660" y="853"/>
                  </a:cubicBezTo>
                  <a:cubicBezTo>
                    <a:pt x="662" y="853"/>
                    <a:pt x="664" y="854"/>
                    <a:pt x="666" y="854"/>
                  </a:cubicBezTo>
                  <a:cubicBezTo>
                    <a:pt x="666" y="855"/>
                    <a:pt x="666" y="855"/>
                    <a:pt x="666" y="855"/>
                  </a:cubicBezTo>
                  <a:cubicBezTo>
                    <a:pt x="667" y="855"/>
                    <a:pt x="667" y="855"/>
                    <a:pt x="667" y="855"/>
                  </a:cubicBezTo>
                  <a:cubicBezTo>
                    <a:pt x="668" y="855"/>
                    <a:pt x="668" y="855"/>
                    <a:pt x="668" y="855"/>
                  </a:cubicBezTo>
                  <a:cubicBezTo>
                    <a:pt x="670" y="853"/>
                    <a:pt x="671" y="852"/>
                    <a:pt x="673" y="850"/>
                  </a:cubicBezTo>
                  <a:cubicBezTo>
                    <a:pt x="673" y="849"/>
                    <a:pt x="673" y="849"/>
                    <a:pt x="673" y="849"/>
                  </a:cubicBezTo>
                  <a:cubicBezTo>
                    <a:pt x="673" y="848"/>
                    <a:pt x="675" y="846"/>
                    <a:pt x="677" y="846"/>
                  </a:cubicBezTo>
                  <a:cubicBezTo>
                    <a:pt x="677" y="846"/>
                    <a:pt x="677" y="846"/>
                    <a:pt x="677" y="846"/>
                  </a:cubicBezTo>
                  <a:cubicBezTo>
                    <a:pt x="678" y="846"/>
                    <a:pt x="679" y="847"/>
                    <a:pt x="680" y="847"/>
                  </a:cubicBezTo>
                  <a:cubicBezTo>
                    <a:pt x="680" y="847"/>
                    <a:pt x="681" y="848"/>
                    <a:pt x="682" y="848"/>
                  </a:cubicBezTo>
                  <a:cubicBezTo>
                    <a:pt x="684" y="849"/>
                    <a:pt x="684" y="849"/>
                    <a:pt x="684" y="849"/>
                  </a:cubicBezTo>
                  <a:cubicBezTo>
                    <a:pt x="685" y="850"/>
                    <a:pt x="686" y="850"/>
                    <a:pt x="687" y="851"/>
                  </a:cubicBezTo>
                  <a:cubicBezTo>
                    <a:pt x="688" y="851"/>
                    <a:pt x="688" y="852"/>
                    <a:pt x="689" y="853"/>
                  </a:cubicBezTo>
                  <a:cubicBezTo>
                    <a:pt x="689" y="853"/>
                    <a:pt x="689" y="853"/>
                    <a:pt x="689" y="853"/>
                  </a:cubicBezTo>
                  <a:cubicBezTo>
                    <a:pt x="689" y="853"/>
                    <a:pt x="690" y="852"/>
                    <a:pt x="690" y="851"/>
                  </a:cubicBezTo>
                  <a:cubicBezTo>
                    <a:pt x="690" y="851"/>
                    <a:pt x="690" y="851"/>
                    <a:pt x="690" y="851"/>
                  </a:cubicBezTo>
                  <a:cubicBezTo>
                    <a:pt x="691" y="851"/>
                    <a:pt x="691" y="851"/>
                    <a:pt x="691" y="851"/>
                  </a:cubicBezTo>
                  <a:cubicBezTo>
                    <a:pt x="692" y="850"/>
                    <a:pt x="692" y="850"/>
                    <a:pt x="692" y="850"/>
                  </a:cubicBezTo>
                  <a:cubicBezTo>
                    <a:pt x="693" y="849"/>
                    <a:pt x="693" y="849"/>
                    <a:pt x="693" y="849"/>
                  </a:cubicBezTo>
                  <a:cubicBezTo>
                    <a:pt x="694" y="847"/>
                    <a:pt x="695" y="846"/>
                    <a:pt x="696" y="846"/>
                  </a:cubicBezTo>
                  <a:cubicBezTo>
                    <a:pt x="696" y="846"/>
                    <a:pt x="696" y="846"/>
                    <a:pt x="696" y="846"/>
                  </a:cubicBezTo>
                  <a:cubicBezTo>
                    <a:pt x="699" y="846"/>
                    <a:pt x="699" y="846"/>
                    <a:pt x="699" y="846"/>
                  </a:cubicBezTo>
                  <a:cubicBezTo>
                    <a:pt x="699" y="846"/>
                    <a:pt x="699" y="846"/>
                    <a:pt x="699" y="846"/>
                  </a:cubicBezTo>
                  <a:cubicBezTo>
                    <a:pt x="700" y="847"/>
                    <a:pt x="700" y="847"/>
                    <a:pt x="700" y="847"/>
                  </a:cubicBezTo>
                  <a:cubicBezTo>
                    <a:pt x="701" y="848"/>
                    <a:pt x="701" y="848"/>
                    <a:pt x="701" y="848"/>
                  </a:cubicBezTo>
                  <a:cubicBezTo>
                    <a:pt x="702" y="847"/>
                    <a:pt x="702" y="847"/>
                    <a:pt x="702" y="847"/>
                  </a:cubicBezTo>
                  <a:cubicBezTo>
                    <a:pt x="704" y="844"/>
                    <a:pt x="704" y="844"/>
                    <a:pt x="704" y="844"/>
                  </a:cubicBezTo>
                  <a:cubicBezTo>
                    <a:pt x="706" y="847"/>
                    <a:pt x="706" y="847"/>
                    <a:pt x="706" y="847"/>
                  </a:cubicBezTo>
                  <a:cubicBezTo>
                    <a:pt x="707" y="848"/>
                    <a:pt x="707" y="848"/>
                    <a:pt x="707" y="848"/>
                  </a:cubicBezTo>
                  <a:cubicBezTo>
                    <a:pt x="708" y="849"/>
                    <a:pt x="709" y="850"/>
                    <a:pt x="709" y="850"/>
                  </a:cubicBezTo>
                  <a:cubicBezTo>
                    <a:pt x="710" y="851"/>
                    <a:pt x="710" y="851"/>
                    <a:pt x="711" y="852"/>
                  </a:cubicBezTo>
                  <a:cubicBezTo>
                    <a:pt x="711" y="852"/>
                    <a:pt x="711" y="852"/>
                    <a:pt x="711" y="852"/>
                  </a:cubicBezTo>
                  <a:cubicBezTo>
                    <a:pt x="719" y="843"/>
                    <a:pt x="719" y="843"/>
                    <a:pt x="719" y="843"/>
                  </a:cubicBezTo>
                  <a:cubicBezTo>
                    <a:pt x="721" y="846"/>
                    <a:pt x="721" y="846"/>
                    <a:pt x="721" y="846"/>
                  </a:cubicBezTo>
                  <a:cubicBezTo>
                    <a:pt x="721" y="847"/>
                    <a:pt x="722" y="847"/>
                    <a:pt x="722" y="848"/>
                  </a:cubicBezTo>
                  <a:cubicBezTo>
                    <a:pt x="725" y="846"/>
                    <a:pt x="725" y="846"/>
                    <a:pt x="725" y="846"/>
                  </a:cubicBezTo>
                  <a:cubicBezTo>
                    <a:pt x="726" y="846"/>
                    <a:pt x="727" y="845"/>
                    <a:pt x="728" y="845"/>
                  </a:cubicBezTo>
                  <a:cubicBezTo>
                    <a:pt x="728" y="844"/>
                    <a:pt x="728" y="844"/>
                    <a:pt x="728" y="844"/>
                  </a:cubicBezTo>
                  <a:cubicBezTo>
                    <a:pt x="729" y="844"/>
                    <a:pt x="729" y="844"/>
                    <a:pt x="730" y="843"/>
                  </a:cubicBezTo>
                  <a:cubicBezTo>
                    <a:pt x="730" y="842"/>
                    <a:pt x="731" y="841"/>
                    <a:pt x="732" y="839"/>
                  </a:cubicBezTo>
                  <a:cubicBezTo>
                    <a:pt x="733" y="836"/>
                    <a:pt x="733" y="836"/>
                    <a:pt x="733" y="836"/>
                  </a:cubicBezTo>
                  <a:cubicBezTo>
                    <a:pt x="734" y="836"/>
                    <a:pt x="734" y="836"/>
                    <a:pt x="734" y="836"/>
                  </a:cubicBezTo>
                  <a:cubicBezTo>
                    <a:pt x="735" y="835"/>
                    <a:pt x="735" y="835"/>
                    <a:pt x="735" y="835"/>
                  </a:cubicBezTo>
                  <a:cubicBezTo>
                    <a:pt x="736" y="835"/>
                    <a:pt x="736" y="835"/>
                    <a:pt x="736" y="835"/>
                  </a:cubicBezTo>
                  <a:cubicBezTo>
                    <a:pt x="738" y="833"/>
                    <a:pt x="741" y="831"/>
                    <a:pt x="743" y="831"/>
                  </a:cubicBezTo>
                  <a:cubicBezTo>
                    <a:pt x="744" y="831"/>
                    <a:pt x="744" y="831"/>
                    <a:pt x="744" y="831"/>
                  </a:cubicBezTo>
                  <a:cubicBezTo>
                    <a:pt x="745" y="831"/>
                    <a:pt x="746" y="832"/>
                    <a:pt x="746" y="833"/>
                  </a:cubicBezTo>
                  <a:cubicBezTo>
                    <a:pt x="747" y="834"/>
                    <a:pt x="747" y="834"/>
                    <a:pt x="748" y="834"/>
                  </a:cubicBezTo>
                  <a:cubicBezTo>
                    <a:pt x="748" y="835"/>
                    <a:pt x="749" y="835"/>
                    <a:pt x="750" y="836"/>
                  </a:cubicBezTo>
                  <a:cubicBezTo>
                    <a:pt x="751" y="837"/>
                    <a:pt x="751" y="837"/>
                    <a:pt x="751" y="837"/>
                  </a:cubicBezTo>
                  <a:cubicBezTo>
                    <a:pt x="752" y="839"/>
                    <a:pt x="753" y="840"/>
                    <a:pt x="754" y="840"/>
                  </a:cubicBezTo>
                  <a:cubicBezTo>
                    <a:pt x="755" y="841"/>
                    <a:pt x="755" y="841"/>
                    <a:pt x="755" y="841"/>
                  </a:cubicBezTo>
                  <a:cubicBezTo>
                    <a:pt x="758" y="843"/>
                    <a:pt x="760" y="843"/>
                    <a:pt x="764" y="843"/>
                  </a:cubicBezTo>
                  <a:cubicBezTo>
                    <a:pt x="765" y="843"/>
                    <a:pt x="765" y="843"/>
                    <a:pt x="765" y="843"/>
                  </a:cubicBezTo>
                  <a:cubicBezTo>
                    <a:pt x="766" y="843"/>
                    <a:pt x="766" y="843"/>
                    <a:pt x="767" y="843"/>
                  </a:cubicBezTo>
                  <a:cubicBezTo>
                    <a:pt x="767" y="843"/>
                    <a:pt x="768" y="843"/>
                    <a:pt x="768" y="843"/>
                  </a:cubicBezTo>
                  <a:cubicBezTo>
                    <a:pt x="769" y="843"/>
                    <a:pt x="769" y="843"/>
                    <a:pt x="770" y="843"/>
                  </a:cubicBezTo>
                  <a:cubicBezTo>
                    <a:pt x="771" y="843"/>
                    <a:pt x="773" y="843"/>
                    <a:pt x="775" y="844"/>
                  </a:cubicBezTo>
                  <a:cubicBezTo>
                    <a:pt x="777" y="839"/>
                    <a:pt x="777" y="839"/>
                    <a:pt x="777" y="839"/>
                  </a:cubicBezTo>
                  <a:cubicBezTo>
                    <a:pt x="776" y="844"/>
                    <a:pt x="776" y="844"/>
                    <a:pt x="776" y="844"/>
                  </a:cubicBezTo>
                  <a:cubicBezTo>
                    <a:pt x="777" y="844"/>
                    <a:pt x="777" y="844"/>
                    <a:pt x="777" y="844"/>
                  </a:cubicBezTo>
                  <a:cubicBezTo>
                    <a:pt x="777" y="845"/>
                    <a:pt x="778" y="845"/>
                    <a:pt x="778" y="845"/>
                  </a:cubicBezTo>
                  <a:cubicBezTo>
                    <a:pt x="779" y="845"/>
                    <a:pt x="780" y="846"/>
                    <a:pt x="781" y="847"/>
                  </a:cubicBezTo>
                  <a:cubicBezTo>
                    <a:pt x="782" y="848"/>
                    <a:pt x="782" y="848"/>
                    <a:pt x="782" y="848"/>
                  </a:cubicBezTo>
                  <a:cubicBezTo>
                    <a:pt x="781" y="850"/>
                    <a:pt x="781" y="850"/>
                    <a:pt x="781" y="850"/>
                  </a:cubicBezTo>
                  <a:cubicBezTo>
                    <a:pt x="780" y="852"/>
                    <a:pt x="779" y="853"/>
                    <a:pt x="778" y="855"/>
                  </a:cubicBezTo>
                  <a:cubicBezTo>
                    <a:pt x="777" y="856"/>
                    <a:pt x="777" y="856"/>
                    <a:pt x="777" y="856"/>
                  </a:cubicBezTo>
                  <a:cubicBezTo>
                    <a:pt x="776" y="857"/>
                    <a:pt x="776" y="858"/>
                    <a:pt x="775" y="858"/>
                  </a:cubicBezTo>
                  <a:cubicBezTo>
                    <a:pt x="776" y="858"/>
                    <a:pt x="776" y="858"/>
                    <a:pt x="776" y="858"/>
                  </a:cubicBezTo>
                  <a:cubicBezTo>
                    <a:pt x="776" y="859"/>
                    <a:pt x="776" y="859"/>
                    <a:pt x="776" y="859"/>
                  </a:cubicBezTo>
                  <a:cubicBezTo>
                    <a:pt x="777" y="860"/>
                    <a:pt x="777" y="861"/>
                    <a:pt x="778" y="863"/>
                  </a:cubicBezTo>
                  <a:cubicBezTo>
                    <a:pt x="778" y="864"/>
                    <a:pt x="778" y="865"/>
                    <a:pt x="778" y="865"/>
                  </a:cubicBezTo>
                  <a:cubicBezTo>
                    <a:pt x="778" y="866"/>
                    <a:pt x="778" y="866"/>
                    <a:pt x="778" y="866"/>
                  </a:cubicBezTo>
                  <a:cubicBezTo>
                    <a:pt x="779" y="866"/>
                    <a:pt x="779" y="866"/>
                    <a:pt x="779" y="866"/>
                  </a:cubicBezTo>
                  <a:cubicBezTo>
                    <a:pt x="780" y="866"/>
                    <a:pt x="780" y="866"/>
                    <a:pt x="780" y="866"/>
                  </a:cubicBezTo>
                  <a:cubicBezTo>
                    <a:pt x="781" y="866"/>
                    <a:pt x="783" y="866"/>
                    <a:pt x="785" y="867"/>
                  </a:cubicBezTo>
                  <a:cubicBezTo>
                    <a:pt x="786" y="868"/>
                    <a:pt x="787" y="869"/>
                    <a:pt x="788" y="870"/>
                  </a:cubicBezTo>
                  <a:cubicBezTo>
                    <a:pt x="789" y="872"/>
                    <a:pt x="789" y="872"/>
                    <a:pt x="789" y="872"/>
                  </a:cubicBezTo>
                  <a:cubicBezTo>
                    <a:pt x="790" y="873"/>
                    <a:pt x="790" y="873"/>
                    <a:pt x="790" y="873"/>
                  </a:cubicBezTo>
                  <a:cubicBezTo>
                    <a:pt x="791" y="873"/>
                    <a:pt x="791" y="873"/>
                    <a:pt x="791" y="873"/>
                  </a:cubicBezTo>
                  <a:cubicBezTo>
                    <a:pt x="792" y="874"/>
                    <a:pt x="792" y="874"/>
                    <a:pt x="792" y="874"/>
                  </a:cubicBezTo>
                  <a:cubicBezTo>
                    <a:pt x="793" y="874"/>
                    <a:pt x="794" y="874"/>
                    <a:pt x="794" y="874"/>
                  </a:cubicBezTo>
                  <a:cubicBezTo>
                    <a:pt x="795" y="874"/>
                    <a:pt x="796" y="874"/>
                    <a:pt x="796" y="874"/>
                  </a:cubicBezTo>
                  <a:cubicBezTo>
                    <a:pt x="798" y="874"/>
                    <a:pt x="801" y="875"/>
                    <a:pt x="803" y="876"/>
                  </a:cubicBezTo>
                  <a:cubicBezTo>
                    <a:pt x="804" y="876"/>
                    <a:pt x="805" y="876"/>
                    <a:pt x="806" y="876"/>
                  </a:cubicBezTo>
                  <a:cubicBezTo>
                    <a:pt x="807" y="877"/>
                    <a:pt x="807" y="877"/>
                    <a:pt x="807" y="877"/>
                  </a:cubicBezTo>
                  <a:cubicBezTo>
                    <a:pt x="809" y="878"/>
                    <a:pt x="809" y="878"/>
                    <a:pt x="809" y="878"/>
                  </a:cubicBezTo>
                  <a:cubicBezTo>
                    <a:pt x="809" y="878"/>
                    <a:pt x="809" y="878"/>
                    <a:pt x="809" y="878"/>
                  </a:cubicBezTo>
                  <a:cubicBezTo>
                    <a:pt x="810" y="878"/>
                    <a:pt x="811" y="877"/>
                    <a:pt x="812" y="877"/>
                  </a:cubicBezTo>
                  <a:cubicBezTo>
                    <a:pt x="812" y="878"/>
                    <a:pt x="812" y="879"/>
                    <a:pt x="811" y="880"/>
                  </a:cubicBezTo>
                  <a:cubicBezTo>
                    <a:pt x="812" y="880"/>
                    <a:pt x="813" y="879"/>
                    <a:pt x="813" y="878"/>
                  </a:cubicBezTo>
                  <a:cubicBezTo>
                    <a:pt x="813" y="878"/>
                    <a:pt x="814" y="876"/>
                    <a:pt x="814" y="875"/>
                  </a:cubicBezTo>
                  <a:cubicBezTo>
                    <a:pt x="814" y="875"/>
                    <a:pt x="817" y="877"/>
                    <a:pt x="818" y="878"/>
                  </a:cubicBezTo>
                  <a:cubicBezTo>
                    <a:pt x="819" y="877"/>
                    <a:pt x="819" y="876"/>
                    <a:pt x="819" y="876"/>
                  </a:cubicBezTo>
                  <a:cubicBezTo>
                    <a:pt x="819" y="876"/>
                    <a:pt x="818" y="876"/>
                    <a:pt x="818" y="876"/>
                  </a:cubicBezTo>
                  <a:cubicBezTo>
                    <a:pt x="818" y="876"/>
                    <a:pt x="818" y="875"/>
                    <a:pt x="818" y="874"/>
                  </a:cubicBezTo>
                  <a:cubicBezTo>
                    <a:pt x="817" y="873"/>
                    <a:pt x="817" y="869"/>
                    <a:pt x="819" y="869"/>
                  </a:cubicBezTo>
                  <a:cubicBezTo>
                    <a:pt x="819" y="869"/>
                    <a:pt x="819" y="869"/>
                    <a:pt x="820" y="869"/>
                  </a:cubicBezTo>
                  <a:cubicBezTo>
                    <a:pt x="819" y="870"/>
                    <a:pt x="819" y="870"/>
                    <a:pt x="819" y="870"/>
                  </a:cubicBezTo>
                  <a:cubicBezTo>
                    <a:pt x="819" y="870"/>
                    <a:pt x="819" y="870"/>
                    <a:pt x="819" y="870"/>
                  </a:cubicBezTo>
                  <a:cubicBezTo>
                    <a:pt x="820" y="870"/>
                    <a:pt x="820" y="871"/>
                    <a:pt x="821" y="871"/>
                  </a:cubicBezTo>
                  <a:cubicBezTo>
                    <a:pt x="821" y="871"/>
                    <a:pt x="820" y="872"/>
                    <a:pt x="820" y="873"/>
                  </a:cubicBezTo>
                  <a:cubicBezTo>
                    <a:pt x="820" y="873"/>
                    <a:pt x="820" y="873"/>
                    <a:pt x="821" y="873"/>
                  </a:cubicBezTo>
                  <a:cubicBezTo>
                    <a:pt x="822" y="873"/>
                    <a:pt x="822" y="873"/>
                    <a:pt x="821" y="874"/>
                  </a:cubicBezTo>
                  <a:cubicBezTo>
                    <a:pt x="821" y="874"/>
                    <a:pt x="821" y="874"/>
                    <a:pt x="821" y="874"/>
                  </a:cubicBezTo>
                  <a:cubicBezTo>
                    <a:pt x="822" y="874"/>
                    <a:pt x="822" y="874"/>
                    <a:pt x="822" y="874"/>
                  </a:cubicBezTo>
                  <a:cubicBezTo>
                    <a:pt x="823" y="874"/>
                    <a:pt x="823" y="875"/>
                    <a:pt x="823" y="875"/>
                  </a:cubicBezTo>
                  <a:cubicBezTo>
                    <a:pt x="823" y="875"/>
                    <a:pt x="823" y="875"/>
                    <a:pt x="823" y="875"/>
                  </a:cubicBezTo>
                  <a:cubicBezTo>
                    <a:pt x="823" y="875"/>
                    <a:pt x="825" y="877"/>
                    <a:pt x="826" y="877"/>
                  </a:cubicBezTo>
                  <a:cubicBezTo>
                    <a:pt x="826" y="877"/>
                    <a:pt x="826" y="877"/>
                    <a:pt x="826" y="877"/>
                  </a:cubicBezTo>
                  <a:cubicBezTo>
                    <a:pt x="826" y="877"/>
                    <a:pt x="827" y="874"/>
                    <a:pt x="828" y="874"/>
                  </a:cubicBezTo>
                  <a:cubicBezTo>
                    <a:pt x="827" y="876"/>
                    <a:pt x="827" y="877"/>
                    <a:pt x="829" y="878"/>
                  </a:cubicBezTo>
                  <a:cubicBezTo>
                    <a:pt x="829" y="878"/>
                    <a:pt x="831" y="878"/>
                    <a:pt x="832" y="879"/>
                  </a:cubicBezTo>
                  <a:cubicBezTo>
                    <a:pt x="833" y="880"/>
                    <a:pt x="833" y="882"/>
                    <a:pt x="833" y="883"/>
                  </a:cubicBezTo>
                  <a:cubicBezTo>
                    <a:pt x="835" y="882"/>
                    <a:pt x="839" y="882"/>
                    <a:pt x="842" y="881"/>
                  </a:cubicBezTo>
                  <a:cubicBezTo>
                    <a:pt x="844" y="880"/>
                    <a:pt x="843" y="877"/>
                    <a:pt x="841" y="877"/>
                  </a:cubicBezTo>
                  <a:cubicBezTo>
                    <a:pt x="842" y="876"/>
                    <a:pt x="843" y="875"/>
                    <a:pt x="843" y="874"/>
                  </a:cubicBezTo>
                  <a:cubicBezTo>
                    <a:pt x="844" y="874"/>
                    <a:pt x="844" y="874"/>
                    <a:pt x="844" y="874"/>
                  </a:cubicBezTo>
                  <a:cubicBezTo>
                    <a:pt x="843" y="875"/>
                    <a:pt x="842" y="876"/>
                    <a:pt x="843" y="876"/>
                  </a:cubicBezTo>
                  <a:cubicBezTo>
                    <a:pt x="844" y="877"/>
                    <a:pt x="845" y="877"/>
                    <a:pt x="846" y="878"/>
                  </a:cubicBezTo>
                  <a:cubicBezTo>
                    <a:pt x="846" y="878"/>
                    <a:pt x="846" y="880"/>
                    <a:pt x="847" y="881"/>
                  </a:cubicBezTo>
                  <a:cubicBezTo>
                    <a:pt x="847" y="880"/>
                    <a:pt x="847" y="879"/>
                    <a:pt x="847" y="878"/>
                  </a:cubicBezTo>
                  <a:cubicBezTo>
                    <a:pt x="848" y="879"/>
                    <a:pt x="850" y="881"/>
                    <a:pt x="851" y="881"/>
                  </a:cubicBezTo>
                  <a:cubicBezTo>
                    <a:pt x="851" y="881"/>
                    <a:pt x="851" y="881"/>
                    <a:pt x="852" y="881"/>
                  </a:cubicBezTo>
                  <a:cubicBezTo>
                    <a:pt x="851" y="882"/>
                    <a:pt x="850" y="884"/>
                    <a:pt x="848" y="884"/>
                  </a:cubicBezTo>
                  <a:cubicBezTo>
                    <a:pt x="848" y="884"/>
                    <a:pt x="848" y="884"/>
                    <a:pt x="848" y="884"/>
                  </a:cubicBezTo>
                  <a:cubicBezTo>
                    <a:pt x="848" y="886"/>
                    <a:pt x="848" y="887"/>
                    <a:pt x="847" y="889"/>
                  </a:cubicBezTo>
                  <a:cubicBezTo>
                    <a:pt x="847" y="889"/>
                    <a:pt x="847" y="888"/>
                    <a:pt x="846" y="888"/>
                  </a:cubicBezTo>
                  <a:cubicBezTo>
                    <a:pt x="845" y="888"/>
                    <a:pt x="846" y="892"/>
                    <a:pt x="846" y="893"/>
                  </a:cubicBezTo>
                  <a:cubicBezTo>
                    <a:pt x="846" y="897"/>
                    <a:pt x="847" y="898"/>
                    <a:pt x="849" y="903"/>
                  </a:cubicBezTo>
                  <a:cubicBezTo>
                    <a:pt x="850" y="905"/>
                    <a:pt x="850" y="910"/>
                    <a:pt x="852" y="911"/>
                  </a:cubicBezTo>
                  <a:cubicBezTo>
                    <a:pt x="852" y="912"/>
                    <a:pt x="853" y="912"/>
                    <a:pt x="854" y="912"/>
                  </a:cubicBezTo>
                  <a:cubicBezTo>
                    <a:pt x="857" y="912"/>
                    <a:pt x="862" y="911"/>
                    <a:pt x="863" y="909"/>
                  </a:cubicBezTo>
                  <a:cubicBezTo>
                    <a:pt x="866" y="907"/>
                    <a:pt x="865" y="905"/>
                    <a:pt x="863" y="903"/>
                  </a:cubicBezTo>
                  <a:cubicBezTo>
                    <a:pt x="862" y="902"/>
                    <a:pt x="861" y="902"/>
                    <a:pt x="861" y="901"/>
                  </a:cubicBezTo>
                  <a:cubicBezTo>
                    <a:pt x="860" y="901"/>
                    <a:pt x="860" y="901"/>
                    <a:pt x="860" y="901"/>
                  </a:cubicBezTo>
                  <a:cubicBezTo>
                    <a:pt x="860" y="900"/>
                    <a:pt x="861" y="899"/>
                    <a:pt x="861" y="898"/>
                  </a:cubicBezTo>
                  <a:cubicBezTo>
                    <a:pt x="861" y="899"/>
                    <a:pt x="862" y="899"/>
                    <a:pt x="862" y="900"/>
                  </a:cubicBezTo>
                  <a:cubicBezTo>
                    <a:pt x="862" y="897"/>
                    <a:pt x="861" y="896"/>
                    <a:pt x="860" y="896"/>
                  </a:cubicBezTo>
                  <a:cubicBezTo>
                    <a:pt x="860" y="896"/>
                    <a:pt x="860" y="897"/>
                    <a:pt x="859" y="897"/>
                  </a:cubicBezTo>
                  <a:cubicBezTo>
                    <a:pt x="859" y="897"/>
                    <a:pt x="859" y="897"/>
                    <a:pt x="859" y="897"/>
                  </a:cubicBezTo>
                  <a:cubicBezTo>
                    <a:pt x="858" y="897"/>
                    <a:pt x="857" y="896"/>
                    <a:pt x="857" y="895"/>
                  </a:cubicBezTo>
                  <a:cubicBezTo>
                    <a:pt x="856" y="891"/>
                    <a:pt x="862" y="889"/>
                    <a:pt x="862" y="886"/>
                  </a:cubicBezTo>
                  <a:cubicBezTo>
                    <a:pt x="862" y="885"/>
                    <a:pt x="861" y="884"/>
                    <a:pt x="862" y="882"/>
                  </a:cubicBezTo>
                  <a:cubicBezTo>
                    <a:pt x="863" y="884"/>
                    <a:pt x="863" y="885"/>
                    <a:pt x="864" y="886"/>
                  </a:cubicBezTo>
                  <a:cubicBezTo>
                    <a:pt x="864" y="886"/>
                    <a:pt x="864" y="886"/>
                    <a:pt x="863" y="886"/>
                  </a:cubicBezTo>
                  <a:cubicBezTo>
                    <a:pt x="863" y="887"/>
                    <a:pt x="863" y="887"/>
                    <a:pt x="863" y="888"/>
                  </a:cubicBezTo>
                  <a:cubicBezTo>
                    <a:pt x="868" y="886"/>
                    <a:pt x="873" y="883"/>
                    <a:pt x="879" y="881"/>
                  </a:cubicBezTo>
                  <a:cubicBezTo>
                    <a:pt x="884" y="879"/>
                    <a:pt x="889" y="879"/>
                    <a:pt x="895" y="877"/>
                  </a:cubicBezTo>
                  <a:cubicBezTo>
                    <a:pt x="895" y="876"/>
                    <a:pt x="895" y="875"/>
                    <a:pt x="893" y="874"/>
                  </a:cubicBezTo>
                  <a:cubicBezTo>
                    <a:pt x="895" y="874"/>
                    <a:pt x="896" y="875"/>
                    <a:pt x="897" y="875"/>
                  </a:cubicBezTo>
                  <a:cubicBezTo>
                    <a:pt x="898" y="875"/>
                    <a:pt x="899" y="875"/>
                    <a:pt x="900" y="874"/>
                  </a:cubicBezTo>
                  <a:cubicBezTo>
                    <a:pt x="898" y="873"/>
                    <a:pt x="898" y="872"/>
                    <a:pt x="898" y="870"/>
                  </a:cubicBezTo>
                  <a:cubicBezTo>
                    <a:pt x="898" y="871"/>
                    <a:pt x="899" y="871"/>
                    <a:pt x="900" y="871"/>
                  </a:cubicBezTo>
                  <a:cubicBezTo>
                    <a:pt x="900" y="871"/>
                    <a:pt x="901" y="871"/>
                    <a:pt x="901" y="871"/>
                  </a:cubicBezTo>
                  <a:cubicBezTo>
                    <a:pt x="901" y="871"/>
                    <a:pt x="901" y="872"/>
                    <a:pt x="900" y="872"/>
                  </a:cubicBezTo>
                  <a:cubicBezTo>
                    <a:pt x="901" y="872"/>
                    <a:pt x="901" y="872"/>
                    <a:pt x="901" y="872"/>
                  </a:cubicBezTo>
                  <a:cubicBezTo>
                    <a:pt x="901" y="872"/>
                    <a:pt x="902" y="872"/>
                    <a:pt x="902" y="872"/>
                  </a:cubicBezTo>
                  <a:cubicBezTo>
                    <a:pt x="903" y="872"/>
                    <a:pt x="903" y="872"/>
                    <a:pt x="904" y="872"/>
                  </a:cubicBezTo>
                  <a:cubicBezTo>
                    <a:pt x="904" y="872"/>
                    <a:pt x="905" y="872"/>
                    <a:pt x="905" y="872"/>
                  </a:cubicBezTo>
                  <a:cubicBezTo>
                    <a:pt x="905" y="872"/>
                    <a:pt x="906" y="875"/>
                    <a:pt x="907" y="875"/>
                  </a:cubicBezTo>
                  <a:cubicBezTo>
                    <a:pt x="908" y="873"/>
                    <a:pt x="908" y="870"/>
                    <a:pt x="909" y="867"/>
                  </a:cubicBezTo>
                  <a:cubicBezTo>
                    <a:pt x="909" y="868"/>
                    <a:pt x="909" y="869"/>
                    <a:pt x="911" y="869"/>
                  </a:cubicBezTo>
                  <a:cubicBezTo>
                    <a:pt x="911" y="869"/>
                    <a:pt x="911" y="869"/>
                    <a:pt x="912" y="869"/>
                  </a:cubicBezTo>
                  <a:cubicBezTo>
                    <a:pt x="910" y="871"/>
                    <a:pt x="910" y="871"/>
                    <a:pt x="910" y="871"/>
                  </a:cubicBezTo>
                  <a:cubicBezTo>
                    <a:pt x="910" y="871"/>
                    <a:pt x="911" y="871"/>
                    <a:pt x="911" y="871"/>
                  </a:cubicBezTo>
                  <a:cubicBezTo>
                    <a:pt x="912" y="871"/>
                    <a:pt x="914" y="871"/>
                    <a:pt x="915" y="870"/>
                  </a:cubicBezTo>
                  <a:cubicBezTo>
                    <a:pt x="917" y="870"/>
                    <a:pt x="919" y="869"/>
                    <a:pt x="920" y="869"/>
                  </a:cubicBezTo>
                  <a:cubicBezTo>
                    <a:pt x="920" y="869"/>
                    <a:pt x="920" y="869"/>
                    <a:pt x="920" y="869"/>
                  </a:cubicBezTo>
                  <a:cubicBezTo>
                    <a:pt x="922" y="870"/>
                    <a:pt x="922" y="871"/>
                    <a:pt x="923" y="871"/>
                  </a:cubicBezTo>
                  <a:cubicBezTo>
                    <a:pt x="923" y="871"/>
                    <a:pt x="923" y="870"/>
                    <a:pt x="924" y="869"/>
                  </a:cubicBezTo>
                  <a:cubicBezTo>
                    <a:pt x="924" y="868"/>
                    <a:pt x="924" y="868"/>
                    <a:pt x="924" y="868"/>
                  </a:cubicBezTo>
                  <a:cubicBezTo>
                    <a:pt x="924" y="867"/>
                    <a:pt x="924" y="867"/>
                    <a:pt x="925" y="866"/>
                  </a:cubicBezTo>
                  <a:cubicBezTo>
                    <a:pt x="926" y="864"/>
                    <a:pt x="926" y="864"/>
                    <a:pt x="926" y="864"/>
                  </a:cubicBezTo>
                  <a:cubicBezTo>
                    <a:pt x="926" y="864"/>
                    <a:pt x="926" y="863"/>
                    <a:pt x="926" y="863"/>
                  </a:cubicBezTo>
                  <a:cubicBezTo>
                    <a:pt x="927" y="864"/>
                    <a:pt x="928" y="865"/>
                    <a:pt x="928" y="866"/>
                  </a:cubicBezTo>
                  <a:cubicBezTo>
                    <a:pt x="929" y="866"/>
                    <a:pt x="929" y="866"/>
                    <a:pt x="929" y="866"/>
                  </a:cubicBezTo>
                  <a:cubicBezTo>
                    <a:pt x="930" y="866"/>
                    <a:pt x="930" y="866"/>
                    <a:pt x="930" y="866"/>
                  </a:cubicBezTo>
                  <a:cubicBezTo>
                    <a:pt x="932" y="864"/>
                    <a:pt x="933" y="864"/>
                    <a:pt x="932" y="863"/>
                  </a:cubicBezTo>
                  <a:cubicBezTo>
                    <a:pt x="932" y="862"/>
                    <a:pt x="931" y="861"/>
                    <a:pt x="931" y="861"/>
                  </a:cubicBezTo>
                  <a:cubicBezTo>
                    <a:pt x="934" y="862"/>
                    <a:pt x="934" y="862"/>
                    <a:pt x="934" y="862"/>
                  </a:cubicBezTo>
                  <a:cubicBezTo>
                    <a:pt x="936" y="862"/>
                    <a:pt x="936" y="862"/>
                    <a:pt x="936" y="862"/>
                  </a:cubicBezTo>
                  <a:cubicBezTo>
                    <a:pt x="936" y="862"/>
                    <a:pt x="936" y="863"/>
                    <a:pt x="936" y="863"/>
                  </a:cubicBezTo>
                  <a:cubicBezTo>
                    <a:pt x="936" y="863"/>
                    <a:pt x="937" y="861"/>
                    <a:pt x="937" y="860"/>
                  </a:cubicBezTo>
                  <a:cubicBezTo>
                    <a:pt x="936" y="855"/>
                    <a:pt x="935" y="849"/>
                    <a:pt x="931" y="847"/>
                  </a:cubicBezTo>
                  <a:cubicBezTo>
                    <a:pt x="931" y="847"/>
                    <a:pt x="931" y="847"/>
                    <a:pt x="931" y="847"/>
                  </a:cubicBezTo>
                  <a:cubicBezTo>
                    <a:pt x="930" y="847"/>
                    <a:pt x="928" y="846"/>
                    <a:pt x="928" y="846"/>
                  </a:cubicBezTo>
                  <a:cubicBezTo>
                    <a:pt x="931" y="845"/>
                    <a:pt x="932" y="844"/>
                    <a:pt x="933" y="843"/>
                  </a:cubicBezTo>
                  <a:cubicBezTo>
                    <a:pt x="933" y="842"/>
                    <a:pt x="936" y="841"/>
                    <a:pt x="936" y="841"/>
                  </a:cubicBezTo>
                  <a:cubicBezTo>
                    <a:pt x="937" y="841"/>
                    <a:pt x="937" y="841"/>
                    <a:pt x="937" y="841"/>
                  </a:cubicBezTo>
                  <a:cubicBezTo>
                    <a:pt x="939" y="840"/>
                    <a:pt x="941" y="841"/>
                    <a:pt x="943" y="841"/>
                  </a:cubicBezTo>
                  <a:cubicBezTo>
                    <a:pt x="941" y="841"/>
                    <a:pt x="937" y="841"/>
                    <a:pt x="936" y="843"/>
                  </a:cubicBezTo>
                  <a:cubicBezTo>
                    <a:pt x="936" y="844"/>
                    <a:pt x="936" y="844"/>
                    <a:pt x="936" y="844"/>
                  </a:cubicBezTo>
                  <a:cubicBezTo>
                    <a:pt x="937" y="844"/>
                    <a:pt x="937" y="843"/>
                    <a:pt x="937" y="843"/>
                  </a:cubicBezTo>
                  <a:cubicBezTo>
                    <a:pt x="937" y="843"/>
                    <a:pt x="937" y="844"/>
                    <a:pt x="937" y="845"/>
                  </a:cubicBezTo>
                  <a:cubicBezTo>
                    <a:pt x="938" y="844"/>
                    <a:pt x="938" y="844"/>
                    <a:pt x="938" y="843"/>
                  </a:cubicBezTo>
                  <a:cubicBezTo>
                    <a:pt x="938" y="844"/>
                    <a:pt x="938" y="844"/>
                    <a:pt x="938" y="845"/>
                  </a:cubicBezTo>
                  <a:cubicBezTo>
                    <a:pt x="938" y="844"/>
                    <a:pt x="938" y="844"/>
                    <a:pt x="938" y="843"/>
                  </a:cubicBezTo>
                  <a:cubicBezTo>
                    <a:pt x="938" y="844"/>
                    <a:pt x="938" y="845"/>
                    <a:pt x="938" y="846"/>
                  </a:cubicBezTo>
                  <a:cubicBezTo>
                    <a:pt x="938" y="846"/>
                    <a:pt x="938" y="846"/>
                    <a:pt x="938" y="846"/>
                  </a:cubicBezTo>
                  <a:cubicBezTo>
                    <a:pt x="938" y="847"/>
                    <a:pt x="938" y="847"/>
                    <a:pt x="938" y="847"/>
                  </a:cubicBezTo>
                  <a:cubicBezTo>
                    <a:pt x="938" y="846"/>
                    <a:pt x="938" y="846"/>
                    <a:pt x="938" y="846"/>
                  </a:cubicBezTo>
                  <a:cubicBezTo>
                    <a:pt x="939" y="847"/>
                    <a:pt x="939" y="848"/>
                    <a:pt x="939" y="849"/>
                  </a:cubicBezTo>
                  <a:cubicBezTo>
                    <a:pt x="939" y="849"/>
                    <a:pt x="940" y="849"/>
                    <a:pt x="940" y="849"/>
                  </a:cubicBezTo>
                  <a:cubicBezTo>
                    <a:pt x="940" y="849"/>
                    <a:pt x="940" y="849"/>
                    <a:pt x="941" y="849"/>
                  </a:cubicBezTo>
                  <a:cubicBezTo>
                    <a:pt x="941" y="849"/>
                    <a:pt x="941" y="849"/>
                    <a:pt x="941" y="849"/>
                  </a:cubicBezTo>
                  <a:cubicBezTo>
                    <a:pt x="941" y="849"/>
                    <a:pt x="941" y="849"/>
                    <a:pt x="942" y="849"/>
                  </a:cubicBezTo>
                  <a:cubicBezTo>
                    <a:pt x="942" y="850"/>
                    <a:pt x="943" y="852"/>
                    <a:pt x="943" y="854"/>
                  </a:cubicBezTo>
                  <a:cubicBezTo>
                    <a:pt x="944" y="856"/>
                    <a:pt x="944" y="856"/>
                    <a:pt x="945" y="856"/>
                  </a:cubicBezTo>
                  <a:cubicBezTo>
                    <a:pt x="945" y="856"/>
                    <a:pt x="946" y="856"/>
                    <a:pt x="948" y="856"/>
                  </a:cubicBezTo>
                  <a:cubicBezTo>
                    <a:pt x="949" y="854"/>
                    <a:pt x="951" y="853"/>
                    <a:pt x="953" y="853"/>
                  </a:cubicBezTo>
                  <a:cubicBezTo>
                    <a:pt x="953" y="854"/>
                    <a:pt x="953" y="854"/>
                    <a:pt x="953" y="854"/>
                  </a:cubicBezTo>
                  <a:cubicBezTo>
                    <a:pt x="954" y="853"/>
                    <a:pt x="955" y="853"/>
                    <a:pt x="955" y="853"/>
                  </a:cubicBezTo>
                  <a:cubicBezTo>
                    <a:pt x="957" y="853"/>
                    <a:pt x="958" y="855"/>
                    <a:pt x="959" y="856"/>
                  </a:cubicBezTo>
                  <a:cubicBezTo>
                    <a:pt x="959" y="857"/>
                    <a:pt x="959" y="857"/>
                    <a:pt x="959" y="857"/>
                  </a:cubicBezTo>
                  <a:cubicBezTo>
                    <a:pt x="960" y="857"/>
                    <a:pt x="962" y="856"/>
                    <a:pt x="962" y="855"/>
                  </a:cubicBezTo>
                  <a:cubicBezTo>
                    <a:pt x="962" y="854"/>
                    <a:pt x="960" y="852"/>
                    <a:pt x="959" y="852"/>
                  </a:cubicBezTo>
                  <a:cubicBezTo>
                    <a:pt x="960" y="851"/>
                    <a:pt x="964" y="848"/>
                    <a:pt x="966" y="848"/>
                  </a:cubicBezTo>
                  <a:cubicBezTo>
                    <a:pt x="966" y="848"/>
                    <a:pt x="966" y="848"/>
                    <a:pt x="966" y="849"/>
                  </a:cubicBezTo>
                  <a:cubicBezTo>
                    <a:pt x="966" y="849"/>
                    <a:pt x="964" y="850"/>
                    <a:pt x="964" y="850"/>
                  </a:cubicBezTo>
                  <a:cubicBezTo>
                    <a:pt x="964" y="851"/>
                    <a:pt x="967" y="854"/>
                    <a:pt x="968" y="855"/>
                  </a:cubicBezTo>
                  <a:cubicBezTo>
                    <a:pt x="968" y="855"/>
                    <a:pt x="968" y="855"/>
                    <a:pt x="968" y="855"/>
                  </a:cubicBezTo>
                  <a:cubicBezTo>
                    <a:pt x="969" y="855"/>
                    <a:pt x="968" y="854"/>
                    <a:pt x="968" y="854"/>
                  </a:cubicBezTo>
                  <a:cubicBezTo>
                    <a:pt x="970" y="853"/>
                    <a:pt x="971" y="851"/>
                    <a:pt x="972" y="850"/>
                  </a:cubicBezTo>
                  <a:cubicBezTo>
                    <a:pt x="974" y="848"/>
                    <a:pt x="976" y="847"/>
                    <a:pt x="978" y="846"/>
                  </a:cubicBezTo>
                  <a:cubicBezTo>
                    <a:pt x="979" y="847"/>
                    <a:pt x="978" y="848"/>
                    <a:pt x="977" y="848"/>
                  </a:cubicBezTo>
                  <a:cubicBezTo>
                    <a:pt x="980" y="849"/>
                    <a:pt x="981" y="850"/>
                    <a:pt x="984" y="852"/>
                  </a:cubicBezTo>
                  <a:cubicBezTo>
                    <a:pt x="984" y="851"/>
                    <a:pt x="984" y="851"/>
                    <a:pt x="985" y="850"/>
                  </a:cubicBezTo>
                  <a:cubicBezTo>
                    <a:pt x="984" y="850"/>
                    <a:pt x="984" y="850"/>
                    <a:pt x="984" y="850"/>
                  </a:cubicBezTo>
                  <a:cubicBezTo>
                    <a:pt x="982" y="850"/>
                    <a:pt x="983" y="848"/>
                    <a:pt x="984" y="848"/>
                  </a:cubicBezTo>
                  <a:cubicBezTo>
                    <a:pt x="983" y="847"/>
                    <a:pt x="982" y="847"/>
                    <a:pt x="982" y="845"/>
                  </a:cubicBezTo>
                  <a:cubicBezTo>
                    <a:pt x="982" y="845"/>
                    <a:pt x="982" y="845"/>
                    <a:pt x="982" y="845"/>
                  </a:cubicBezTo>
                  <a:cubicBezTo>
                    <a:pt x="983" y="845"/>
                    <a:pt x="984" y="845"/>
                    <a:pt x="985" y="845"/>
                  </a:cubicBezTo>
                  <a:cubicBezTo>
                    <a:pt x="985" y="845"/>
                    <a:pt x="986" y="845"/>
                    <a:pt x="987" y="845"/>
                  </a:cubicBezTo>
                  <a:cubicBezTo>
                    <a:pt x="987" y="845"/>
                    <a:pt x="988" y="845"/>
                    <a:pt x="988" y="845"/>
                  </a:cubicBezTo>
                  <a:cubicBezTo>
                    <a:pt x="985" y="846"/>
                    <a:pt x="989" y="848"/>
                    <a:pt x="990" y="850"/>
                  </a:cubicBezTo>
                  <a:cubicBezTo>
                    <a:pt x="991" y="849"/>
                    <a:pt x="991" y="849"/>
                    <a:pt x="992" y="848"/>
                  </a:cubicBezTo>
                  <a:cubicBezTo>
                    <a:pt x="993" y="848"/>
                    <a:pt x="994" y="847"/>
                    <a:pt x="995" y="845"/>
                  </a:cubicBezTo>
                  <a:cubicBezTo>
                    <a:pt x="995" y="845"/>
                    <a:pt x="995" y="845"/>
                    <a:pt x="995" y="845"/>
                  </a:cubicBezTo>
                  <a:cubicBezTo>
                    <a:pt x="996" y="845"/>
                    <a:pt x="996" y="845"/>
                    <a:pt x="996" y="845"/>
                  </a:cubicBezTo>
                  <a:cubicBezTo>
                    <a:pt x="997" y="846"/>
                    <a:pt x="997" y="846"/>
                    <a:pt x="997" y="846"/>
                  </a:cubicBezTo>
                  <a:cubicBezTo>
                    <a:pt x="997" y="846"/>
                    <a:pt x="997" y="846"/>
                    <a:pt x="997" y="846"/>
                  </a:cubicBezTo>
                  <a:cubicBezTo>
                    <a:pt x="1001" y="845"/>
                    <a:pt x="1006" y="846"/>
                    <a:pt x="1007" y="843"/>
                  </a:cubicBezTo>
                  <a:cubicBezTo>
                    <a:pt x="1007" y="841"/>
                    <a:pt x="1006" y="839"/>
                    <a:pt x="1007" y="838"/>
                  </a:cubicBezTo>
                  <a:cubicBezTo>
                    <a:pt x="1008" y="837"/>
                    <a:pt x="1008" y="837"/>
                    <a:pt x="1009" y="837"/>
                  </a:cubicBezTo>
                  <a:cubicBezTo>
                    <a:pt x="1010" y="837"/>
                    <a:pt x="1012" y="837"/>
                    <a:pt x="1013" y="838"/>
                  </a:cubicBezTo>
                  <a:cubicBezTo>
                    <a:pt x="1012" y="834"/>
                    <a:pt x="1008" y="837"/>
                    <a:pt x="1007" y="833"/>
                  </a:cubicBezTo>
                  <a:cubicBezTo>
                    <a:pt x="1008" y="834"/>
                    <a:pt x="1008" y="834"/>
                    <a:pt x="1009" y="834"/>
                  </a:cubicBezTo>
                  <a:cubicBezTo>
                    <a:pt x="1010" y="834"/>
                    <a:pt x="1011" y="834"/>
                    <a:pt x="1011" y="834"/>
                  </a:cubicBezTo>
                  <a:cubicBezTo>
                    <a:pt x="1015" y="833"/>
                    <a:pt x="1014" y="829"/>
                    <a:pt x="1016" y="827"/>
                  </a:cubicBezTo>
                  <a:cubicBezTo>
                    <a:pt x="1016" y="828"/>
                    <a:pt x="1016" y="828"/>
                    <a:pt x="1016" y="828"/>
                  </a:cubicBezTo>
                  <a:cubicBezTo>
                    <a:pt x="1017" y="827"/>
                    <a:pt x="1017" y="827"/>
                    <a:pt x="1018" y="827"/>
                  </a:cubicBezTo>
                  <a:cubicBezTo>
                    <a:pt x="1019" y="827"/>
                    <a:pt x="1020" y="828"/>
                    <a:pt x="1020" y="829"/>
                  </a:cubicBezTo>
                  <a:cubicBezTo>
                    <a:pt x="1023" y="827"/>
                    <a:pt x="1032" y="824"/>
                    <a:pt x="1028" y="820"/>
                  </a:cubicBezTo>
                  <a:cubicBezTo>
                    <a:pt x="1031" y="822"/>
                    <a:pt x="1032" y="820"/>
                    <a:pt x="1032" y="825"/>
                  </a:cubicBezTo>
                  <a:cubicBezTo>
                    <a:pt x="1035" y="821"/>
                    <a:pt x="1039" y="817"/>
                    <a:pt x="1043" y="813"/>
                  </a:cubicBezTo>
                  <a:cubicBezTo>
                    <a:pt x="1044" y="812"/>
                    <a:pt x="1044" y="810"/>
                    <a:pt x="1043" y="810"/>
                  </a:cubicBezTo>
                  <a:cubicBezTo>
                    <a:pt x="1043" y="810"/>
                    <a:pt x="1042" y="810"/>
                    <a:pt x="1042" y="811"/>
                  </a:cubicBezTo>
                  <a:cubicBezTo>
                    <a:pt x="1043" y="809"/>
                    <a:pt x="1043" y="809"/>
                    <a:pt x="1042" y="809"/>
                  </a:cubicBezTo>
                  <a:cubicBezTo>
                    <a:pt x="1042" y="809"/>
                    <a:pt x="1042" y="809"/>
                    <a:pt x="1042" y="809"/>
                  </a:cubicBezTo>
                  <a:cubicBezTo>
                    <a:pt x="1041" y="809"/>
                    <a:pt x="1041" y="809"/>
                    <a:pt x="1041" y="809"/>
                  </a:cubicBezTo>
                  <a:cubicBezTo>
                    <a:pt x="1041" y="809"/>
                    <a:pt x="1041" y="809"/>
                    <a:pt x="1040" y="809"/>
                  </a:cubicBezTo>
                  <a:cubicBezTo>
                    <a:pt x="1040" y="809"/>
                    <a:pt x="1040" y="809"/>
                    <a:pt x="1040" y="809"/>
                  </a:cubicBezTo>
                  <a:cubicBezTo>
                    <a:pt x="1040" y="809"/>
                    <a:pt x="1039" y="809"/>
                    <a:pt x="1039" y="809"/>
                  </a:cubicBezTo>
                  <a:cubicBezTo>
                    <a:pt x="1039" y="809"/>
                    <a:pt x="1039" y="809"/>
                    <a:pt x="1039" y="809"/>
                  </a:cubicBezTo>
                  <a:cubicBezTo>
                    <a:pt x="1039" y="809"/>
                    <a:pt x="1039" y="809"/>
                    <a:pt x="1038" y="808"/>
                  </a:cubicBezTo>
                  <a:cubicBezTo>
                    <a:pt x="1036" y="807"/>
                    <a:pt x="1037" y="807"/>
                    <a:pt x="1037" y="807"/>
                  </a:cubicBezTo>
                  <a:cubicBezTo>
                    <a:pt x="1038" y="807"/>
                    <a:pt x="1038" y="807"/>
                    <a:pt x="1039" y="807"/>
                  </a:cubicBezTo>
                  <a:cubicBezTo>
                    <a:pt x="1039" y="807"/>
                    <a:pt x="1040" y="807"/>
                    <a:pt x="1040" y="807"/>
                  </a:cubicBezTo>
                  <a:cubicBezTo>
                    <a:pt x="1040" y="807"/>
                    <a:pt x="1040" y="807"/>
                    <a:pt x="1040" y="807"/>
                  </a:cubicBezTo>
                  <a:cubicBezTo>
                    <a:pt x="1042" y="807"/>
                    <a:pt x="1044" y="802"/>
                    <a:pt x="1046" y="802"/>
                  </a:cubicBezTo>
                  <a:cubicBezTo>
                    <a:pt x="1046" y="802"/>
                    <a:pt x="1046" y="802"/>
                    <a:pt x="1046" y="802"/>
                  </a:cubicBezTo>
                  <a:cubicBezTo>
                    <a:pt x="1047" y="803"/>
                    <a:pt x="1049" y="804"/>
                    <a:pt x="1050" y="804"/>
                  </a:cubicBezTo>
                  <a:cubicBezTo>
                    <a:pt x="1050" y="804"/>
                    <a:pt x="1050" y="804"/>
                    <a:pt x="1050" y="804"/>
                  </a:cubicBezTo>
                  <a:cubicBezTo>
                    <a:pt x="1051" y="804"/>
                    <a:pt x="1051" y="801"/>
                    <a:pt x="1052" y="801"/>
                  </a:cubicBezTo>
                  <a:cubicBezTo>
                    <a:pt x="1052" y="801"/>
                    <a:pt x="1052" y="801"/>
                    <a:pt x="1052" y="801"/>
                  </a:cubicBezTo>
                  <a:cubicBezTo>
                    <a:pt x="1054" y="801"/>
                    <a:pt x="1054" y="805"/>
                    <a:pt x="1056" y="805"/>
                  </a:cubicBezTo>
                  <a:cubicBezTo>
                    <a:pt x="1056" y="805"/>
                    <a:pt x="1056" y="805"/>
                    <a:pt x="1056" y="805"/>
                  </a:cubicBezTo>
                  <a:cubicBezTo>
                    <a:pt x="1057" y="804"/>
                    <a:pt x="1057" y="804"/>
                    <a:pt x="1058" y="803"/>
                  </a:cubicBezTo>
                  <a:cubicBezTo>
                    <a:pt x="1058" y="803"/>
                    <a:pt x="1059" y="801"/>
                    <a:pt x="1059" y="800"/>
                  </a:cubicBezTo>
                  <a:cubicBezTo>
                    <a:pt x="1058" y="800"/>
                    <a:pt x="1057" y="799"/>
                    <a:pt x="1056" y="799"/>
                  </a:cubicBezTo>
                  <a:cubicBezTo>
                    <a:pt x="1059" y="798"/>
                    <a:pt x="1060" y="797"/>
                    <a:pt x="1062" y="796"/>
                  </a:cubicBezTo>
                  <a:cubicBezTo>
                    <a:pt x="1062" y="796"/>
                    <a:pt x="1062" y="796"/>
                    <a:pt x="1062" y="796"/>
                  </a:cubicBezTo>
                  <a:cubicBezTo>
                    <a:pt x="1063" y="796"/>
                    <a:pt x="1063" y="797"/>
                    <a:pt x="1063" y="797"/>
                  </a:cubicBezTo>
                  <a:cubicBezTo>
                    <a:pt x="1063" y="797"/>
                    <a:pt x="1064" y="797"/>
                    <a:pt x="1064" y="797"/>
                  </a:cubicBezTo>
                  <a:cubicBezTo>
                    <a:pt x="1064" y="797"/>
                    <a:pt x="1064" y="797"/>
                    <a:pt x="1064" y="797"/>
                  </a:cubicBezTo>
                  <a:cubicBezTo>
                    <a:pt x="1065" y="796"/>
                    <a:pt x="1062" y="789"/>
                    <a:pt x="1062" y="788"/>
                  </a:cubicBezTo>
                  <a:cubicBezTo>
                    <a:pt x="1062" y="788"/>
                    <a:pt x="1066" y="789"/>
                    <a:pt x="1069" y="789"/>
                  </a:cubicBezTo>
                  <a:cubicBezTo>
                    <a:pt x="1072" y="789"/>
                    <a:pt x="1074" y="788"/>
                    <a:pt x="1073" y="787"/>
                  </a:cubicBezTo>
                  <a:cubicBezTo>
                    <a:pt x="1073" y="786"/>
                    <a:pt x="1072" y="786"/>
                    <a:pt x="1072" y="786"/>
                  </a:cubicBezTo>
                  <a:cubicBezTo>
                    <a:pt x="1072" y="786"/>
                    <a:pt x="1071" y="786"/>
                    <a:pt x="1071" y="786"/>
                  </a:cubicBezTo>
                  <a:cubicBezTo>
                    <a:pt x="1071" y="787"/>
                    <a:pt x="1070" y="787"/>
                    <a:pt x="1070" y="787"/>
                  </a:cubicBezTo>
                  <a:cubicBezTo>
                    <a:pt x="1070" y="787"/>
                    <a:pt x="1070" y="787"/>
                    <a:pt x="1069" y="787"/>
                  </a:cubicBezTo>
                  <a:cubicBezTo>
                    <a:pt x="1069" y="786"/>
                    <a:pt x="1072" y="779"/>
                    <a:pt x="1073" y="778"/>
                  </a:cubicBezTo>
                  <a:cubicBezTo>
                    <a:pt x="1073" y="779"/>
                    <a:pt x="1079" y="784"/>
                    <a:pt x="1080" y="784"/>
                  </a:cubicBezTo>
                  <a:cubicBezTo>
                    <a:pt x="1080" y="782"/>
                    <a:pt x="1078" y="781"/>
                    <a:pt x="1078" y="779"/>
                  </a:cubicBezTo>
                  <a:cubicBezTo>
                    <a:pt x="1078" y="779"/>
                    <a:pt x="1078" y="779"/>
                    <a:pt x="1078" y="779"/>
                  </a:cubicBezTo>
                  <a:cubicBezTo>
                    <a:pt x="1075" y="779"/>
                    <a:pt x="1081" y="769"/>
                    <a:pt x="1082" y="769"/>
                  </a:cubicBezTo>
                  <a:cubicBezTo>
                    <a:pt x="1078" y="769"/>
                    <a:pt x="1074" y="769"/>
                    <a:pt x="1070" y="769"/>
                  </a:cubicBezTo>
                  <a:cubicBezTo>
                    <a:pt x="1070" y="767"/>
                    <a:pt x="1068" y="766"/>
                    <a:pt x="1067" y="765"/>
                  </a:cubicBezTo>
                  <a:cubicBezTo>
                    <a:pt x="1069" y="766"/>
                    <a:pt x="1073" y="768"/>
                    <a:pt x="1075" y="768"/>
                  </a:cubicBezTo>
                  <a:cubicBezTo>
                    <a:pt x="1075" y="768"/>
                    <a:pt x="1075" y="768"/>
                    <a:pt x="1075" y="768"/>
                  </a:cubicBezTo>
                  <a:cubicBezTo>
                    <a:pt x="1076" y="768"/>
                    <a:pt x="1077" y="768"/>
                    <a:pt x="1078" y="766"/>
                  </a:cubicBezTo>
                  <a:cubicBezTo>
                    <a:pt x="1081" y="761"/>
                    <a:pt x="1082" y="762"/>
                    <a:pt x="1087" y="759"/>
                  </a:cubicBezTo>
                  <a:cubicBezTo>
                    <a:pt x="1087" y="759"/>
                    <a:pt x="1086" y="759"/>
                    <a:pt x="1086" y="759"/>
                  </a:cubicBezTo>
                  <a:cubicBezTo>
                    <a:pt x="1086" y="759"/>
                    <a:pt x="1085" y="759"/>
                    <a:pt x="1085" y="759"/>
                  </a:cubicBezTo>
                  <a:cubicBezTo>
                    <a:pt x="1085" y="758"/>
                    <a:pt x="1085" y="758"/>
                    <a:pt x="1084" y="758"/>
                  </a:cubicBezTo>
                  <a:cubicBezTo>
                    <a:pt x="1084" y="758"/>
                    <a:pt x="1084" y="758"/>
                    <a:pt x="1084" y="758"/>
                  </a:cubicBezTo>
                  <a:cubicBezTo>
                    <a:pt x="1083" y="758"/>
                    <a:pt x="1083" y="759"/>
                    <a:pt x="1082" y="759"/>
                  </a:cubicBezTo>
                  <a:cubicBezTo>
                    <a:pt x="1082" y="759"/>
                    <a:pt x="1083" y="760"/>
                    <a:pt x="1082" y="760"/>
                  </a:cubicBezTo>
                  <a:cubicBezTo>
                    <a:pt x="1082" y="760"/>
                    <a:pt x="1082" y="760"/>
                    <a:pt x="1082" y="760"/>
                  </a:cubicBezTo>
                  <a:cubicBezTo>
                    <a:pt x="1081" y="759"/>
                    <a:pt x="1079" y="758"/>
                    <a:pt x="1079" y="757"/>
                  </a:cubicBezTo>
                  <a:cubicBezTo>
                    <a:pt x="1079" y="757"/>
                    <a:pt x="1082" y="755"/>
                    <a:pt x="1083" y="754"/>
                  </a:cubicBezTo>
                  <a:cubicBezTo>
                    <a:pt x="1080" y="754"/>
                    <a:pt x="1079" y="754"/>
                    <a:pt x="1078" y="751"/>
                  </a:cubicBezTo>
                  <a:cubicBezTo>
                    <a:pt x="1078" y="750"/>
                    <a:pt x="1078" y="749"/>
                    <a:pt x="1079" y="749"/>
                  </a:cubicBezTo>
                  <a:cubicBezTo>
                    <a:pt x="1079" y="749"/>
                    <a:pt x="1079" y="749"/>
                    <a:pt x="1079" y="749"/>
                  </a:cubicBezTo>
                  <a:cubicBezTo>
                    <a:pt x="1081" y="747"/>
                    <a:pt x="1082" y="748"/>
                    <a:pt x="1084" y="747"/>
                  </a:cubicBezTo>
                  <a:cubicBezTo>
                    <a:pt x="1083" y="748"/>
                    <a:pt x="1083" y="748"/>
                    <a:pt x="1083" y="748"/>
                  </a:cubicBezTo>
                  <a:cubicBezTo>
                    <a:pt x="1084" y="748"/>
                    <a:pt x="1085" y="748"/>
                    <a:pt x="1084" y="749"/>
                  </a:cubicBezTo>
                  <a:cubicBezTo>
                    <a:pt x="1084" y="749"/>
                    <a:pt x="1087" y="748"/>
                    <a:pt x="1089" y="748"/>
                  </a:cubicBezTo>
                  <a:cubicBezTo>
                    <a:pt x="1090" y="748"/>
                    <a:pt x="1091" y="749"/>
                    <a:pt x="1089" y="750"/>
                  </a:cubicBezTo>
                  <a:cubicBezTo>
                    <a:pt x="1090" y="751"/>
                    <a:pt x="1090" y="751"/>
                    <a:pt x="1091" y="752"/>
                  </a:cubicBezTo>
                  <a:cubicBezTo>
                    <a:pt x="1093" y="750"/>
                    <a:pt x="1090" y="749"/>
                    <a:pt x="1091" y="747"/>
                  </a:cubicBezTo>
                  <a:cubicBezTo>
                    <a:pt x="1091" y="746"/>
                    <a:pt x="1094" y="746"/>
                    <a:pt x="1094" y="744"/>
                  </a:cubicBezTo>
                  <a:cubicBezTo>
                    <a:pt x="1094" y="741"/>
                    <a:pt x="1095" y="740"/>
                    <a:pt x="1098" y="739"/>
                  </a:cubicBezTo>
                  <a:cubicBezTo>
                    <a:pt x="1097" y="739"/>
                    <a:pt x="1097" y="738"/>
                    <a:pt x="1097" y="737"/>
                  </a:cubicBezTo>
                  <a:cubicBezTo>
                    <a:pt x="1097" y="738"/>
                    <a:pt x="1097" y="738"/>
                    <a:pt x="1098" y="738"/>
                  </a:cubicBezTo>
                  <a:cubicBezTo>
                    <a:pt x="1100" y="738"/>
                    <a:pt x="1102" y="735"/>
                    <a:pt x="1103" y="733"/>
                  </a:cubicBezTo>
                  <a:cubicBezTo>
                    <a:pt x="1105" y="731"/>
                    <a:pt x="1104" y="728"/>
                    <a:pt x="1105" y="726"/>
                  </a:cubicBezTo>
                  <a:cubicBezTo>
                    <a:pt x="1106" y="724"/>
                    <a:pt x="1109" y="720"/>
                    <a:pt x="1108" y="719"/>
                  </a:cubicBezTo>
                  <a:cubicBezTo>
                    <a:pt x="1108" y="719"/>
                    <a:pt x="1105" y="717"/>
                    <a:pt x="1104" y="717"/>
                  </a:cubicBezTo>
                  <a:cubicBezTo>
                    <a:pt x="1105" y="717"/>
                    <a:pt x="1106" y="717"/>
                    <a:pt x="1107" y="717"/>
                  </a:cubicBezTo>
                  <a:cubicBezTo>
                    <a:pt x="1108" y="717"/>
                    <a:pt x="1109" y="716"/>
                    <a:pt x="1112" y="715"/>
                  </a:cubicBezTo>
                  <a:cubicBezTo>
                    <a:pt x="1113" y="714"/>
                    <a:pt x="1114" y="713"/>
                    <a:pt x="1114" y="711"/>
                  </a:cubicBezTo>
                  <a:cubicBezTo>
                    <a:pt x="1115" y="710"/>
                    <a:pt x="1112" y="711"/>
                    <a:pt x="1115" y="709"/>
                  </a:cubicBezTo>
                  <a:cubicBezTo>
                    <a:pt x="1115" y="709"/>
                    <a:pt x="1116" y="709"/>
                    <a:pt x="1116" y="709"/>
                  </a:cubicBezTo>
                  <a:cubicBezTo>
                    <a:pt x="1118" y="709"/>
                    <a:pt x="1118" y="712"/>
                    <a:pt x="1120" y="714"/>
                  </a:cubicBezTo>
                  <a:cubicBezTo>
                    <a:pt x="1121" y="711"/>
                    <a:pt x="1124" y="711"/>
                    <a:pt x="1127" y="709"/>
                  </a:cubicBezTo>
                  <a:cubicBezTo>
                    <a:pt x="1125" y="709"/>
                    <a:pt x="1125" y="703"/>
                    <a:pt x="1124" y="702"/>
                  </a:cubicBezTo>
                  <a:cubicBezTo>
                    <a:pt x="1123" y="700"/>
                    <a:pt x="1122" y="701"/>
                    <a:pt x="1121" y="700"/>
                  </a:cubicBezTo>
                  <a:cubicBezTo>
                    <a:pt x="1119" y="700"/>
                    <a:pt x="1119" y="700"/>
                    <a:pt x="1118" y="698"/>
                  </a:cubicBezTo>
                  <a:cubicBezTo>
                    <a:pt x="1119" y="699"/>
                    <a:pt x="1121" y="699"/>
                    <a:pt x="1122" y="699"/>
                  </a:cubicBezTo>
                  <a:cubicBezTo>
                    <a:pt x="1123" y="699"/>
                    <a:pt x="1124" y="699"/>
                    <a:pt x="1127" y="698"/>
                  </a:cubicBezTo>
                  <a:cubicBezTo>
                    <a:pt x="1129" y="696"/>
                    <a:pt x="1125" y="695"/>
                    <a:pt x="1124" y="693"/>
                  </a:cubicBezTo>
                  <a:cubicBezTo>
                    <a:pt x="1124" y="694"/>
                    <a:pt x="1125" y="694"/>
                    <a:pt x="1125" y="694"/>
                  </a:cubicBezTo>
                  <a:cubicBezTo>
                    <a:pt x="1126" y="694"/>
                    <a:pt x="1126" y="694"/>
                    <a:pt x="1127" y="694"/>
                  </a:cubicBezTo>
                  <a:cubicBezTo>
                    <a:pt x="1127" y="694"/>
                    <a:pt x="1128" y="693"/>
                    <a:pt x="1128" y="693"/>
                  </a:cubicBezTo>
                  <a:cubicBezTo>
                    <a:pt x="1128" y="693"/>
                    <a:pt x="1128" y="693"/>
                    <a:pt x="1128" y="693"/>
                  </a:cubicBezTo>
                  <a:cubicBezTo>
                    <a:pt x="1128" y="692"/>
                    <a:pt x="1127" y="691"/>
                    <a:pt x="1127" y="690"/>
                  </a:cubicBezTo>
                  <a:cubicBezTo>
                    <a:pt x="1127" y="689"/>
                    <a:pt x="1125" y="689"/>
                    <a:pt x="1123" y="689"/>
                  </a:cubicBezTo>
                  <a:cubicBezTo>
                    <a:pt x="1123" y="689"/>
                    <a:pt x="1123" y="689"/>
                    <a:pt x="1123" y="689"/>
                  </a:cubicBezTo>
                  <a:cubicBezTo>
                    <a:pt x="1123" y="689"/>
                    <a:pt x="1122" y="689"/>
                    <a:pt x="1122" y="689"/>
                  </a:cubicBezTo>
                  <a:cubicBezTo>
                    <a:pt x="1123" y="688"/>
                    <a:pt x="1124" y="684"/>
                    <a:pt x="1127" y="684"/>
                  </a:cubicBezTo>
                  <a:cubicBezTo>
                    <a:pt x="1127" y="684"/>
                    <a:pt x="1127" y="684"/>
                    <a:pt x="1127" y="684"/>
                  </a:cubicBezTo>
                  <a:cubicBezTo>
                    <a:pt x="1128" y="685"/>
                    <a:pt x="1128" y="686"/>
                    <a:pt x="1130" y="687"/>
                  </a:cubicBezTo>
                  <a:cubicBezTo>
                    <a:pt x="1130" y="686"/>
                    <a:pt x="1130" y="684"/>
                    <a:pt x="1131" y="683"/>
                  </a:cubicBezTo>
                  <a:cubicBezTo>
                    <a:pt x="1130" y="684"/>
                    <a:pt x="1132" y="684"/>
                    <a:pt x="1133" y="685"/>
                  </a:cubicBezTo>
                  <a:cubicBezTo>
                    <a:pt x="1134" y="683"/>
                    <a:pt x="1137" y="677"/>
                    <a:pt x="1134" y="676"/>
                  </a:cubicBezTo>
                  <a:cubicBezTo>
                    <a:pt x="1134" y="676"/>
                    <a:pt x="1134" y="676"/>
                    <a:pt x="1133" y="676"/>
                  </a:cubicBezTo>
                  <a:cubicBezTo>
                    <a:pt x="1132" y="676"/>
                    <a:pt x="1129" y="678"/>
                    <a:pt x="1132" y="679"/>
                  </a:cubicBezTo>
                  <a:cubicBezTo>
                    <a:pt x="1131" y="680"/>
                    <a:pt x="1131" y="680"/>
                    <a:pt x="1130" y="680"/>
                  </a:cubicBezTo>
                  <a:cubicBezTo>
                    <a:pt x="1130" y="680"/>
                    <a:pt x="1129" y="679"/>
                    <a:pt x="1128" y="679"/>
                  </a:cubicBezTo>
                  <a:cubicBezTo>
                    <a:pt x="1128" y="679"/>
                    <a:pt x="1128" y="679"/>
                    <a:pt x="1128" y="679"/>
                  </a:cubicBezTo>
                  <a:cubicBezTo>
                    <a:pt x="1127" y="679"/>
                    <a:pt x="1127" y="679"/>
                    <a:pt x="1126" y="680"/>
                  </a:cubicBezTo>
                  <a:cubicBezTo>
                    <a:pt x="1125" y="680"/>
                    <a:pt x="1125" y="680"/>
                    <a:pt x="1124" y="680"/>
                  </a:cubicBezTo>
                  <a:cubicBezTo>
                    <a:pt x="1124" y="680"/>
                    <a:pt x="1123" y="680"/>
                    <a:pt x="1122" y="680"/>
                  </a:cubicBezTo>
                  <a:cubicBezTo>
                    <a:pt x="1129" y="677"/>
                    <a:pt x="1134" y="674"/>
                    <a:pt x="1138" y="669"/>
                  </a:cubicBezTo>
                  <a:cubicBezTo>
                    <a:pt x="1138" y="669"/>
                    <a:pt x="1137" y="669"/>
                    <a:pt x="1136" y="669"/>
                  </a:cubicBezTo>
                  <a:cubicBezTo>
                    <a:pt x="1133" y="669"/>
                    <a:pt x="1131" y="668"/>
                    <a:pt x="1128" y="667"/>
                  </a:cubicBezTo>
                  <a:cubicBezTo>
                    <a:pt x="1125" y="665"/>
                    <a:pt x="1122" y="659"/>
                    <a:pt x="1117" y="659"/>
                  </a:cubicBezTo>
                  <a:cubicBezTo>
                    <a:pt x="1117" y="659"/>
                    <a:pt x="1116" y="659"/>
                    <a:pt x="1116" y="659"/>
                  </a:cubicBezTo>
                  <a:cubicBezTo>
                    <a:pt x="1114" y="659"/>
                    <a:pt x="1112" y="662"/>
                    <a:pt x="1110" y="662"/>
                  </a:cubicBezTo>
                  <a:cubicBezTo>
                    <a:pt x="1109" y="663"/>
                    <a:pt x="1107" y="663"/>
                    <a:pt x="1105" y="663"/>
                  </a:cubicBezTo>
                  <a:cubicBezTo>
                    <a:pt x="1104" y="663"/>
                    <a:pt x="1104" y="663"/>
                    <a:pt x="1103" y="662"/>
                  </a:cubicBezTo>
                  <a:cubicBezTo>
                    <a:pt x="1103" y="661"/>
                    <a:pt x="1102" y="659"/>
                    <a:pt x="1101" y="658"/>
                  </a:cubicBezTo>
                  <a:cubicBezTo>
                    <a:pt x="1102" y="658"/>
                    <a:pt x="1104" y="658"/>
                    <a:pt x="1105" y="658"/>
                  </a:cubicBezTo>
                  <a:cubicBezTo>
                    <a:pt x="1107" y="658"/>
                    <a:pt x="1108" y="658"/>
                    <a:pt x="1109" y="657"/>
                  </a:cubicBezTo>
                  <a:cubicBezTo>
                    <a:pt x="1112" y="654"/>
                    <a:pt x="1115" y="652"/>
                    <a:pt x="1118" y="650"/>
                  </a:cubicBezTo>
                  <a:cubicBezTo>
                    <a:pt x="1120" y="648"/>
                    <a:pt x="1123" y="647"/>
                    <a:pt x="1126" y="646"/>
                  </a:cubicBezTo>
                  <a:cubicBezTo>
                    <a:pt x="1127" y="645"/>
                    <a:pt x="1132" y="644"/>
                    <a:pt x="1133" y="642"/>
                  </a:cubicBezTo>
                  <a:cubicBezTo>
                    <a:pt x="1134" y="640"/>
                    <a:pt x="1131" y="637"/>
                    <a:pt x="1129" y="635"/>
                  </a:cubicBezTo>
                  <a:cubicBezTo>
                    <a:pt x="1129" y="635"/>
                    <a:pt x="1129" y="635"/>
                    <a:pt x="1129" y="635"/>
                  </a:cubicBezTo>
                  <a:cubicBezTo>
                    <a:pt x="1129" y="638"/>
                    <a:pt x="1126" y="641"/>
                    <a:pt x="1123" y="641"/>
                  </a:cubicBezTo>
                  <a:cubicBezTo>
                    <a:pt x="1119" y="641"/>
                    <a:pt x="1116" y="638"/>
                    <a:pt x="1116" y="635"/>
                  </a:cubicBezTo>
                  <a:cubicBezTo>
                    <a:pt x="1116" y="632"/>
                    <a:pt x="1119" y="629"/>
                    <a:pt x="1121" y="629"/>
                  </a:cubicBezTo>
                  <a:cubicBezTo>
                    <a:pt x="1119" y="626"/>
                    <a:pt x="1116" y="623"/>
                    <a:pt x="1113" y="622"/>
                  </a:cubicBezTo>
                  <a:cubicBezTo>
                    <a:pt x="1110" y="621"/>
                    <a:pt x="1108" y="621"/>
                    <a:pt x="1106" y="620"/>
                  </a:cubicBezTo>
                  <a:cubicBezTo>
                    <a:pt x="1105" y="620"/>
                    <a:pt x="1106" y="617"/>
                    <a:pt x="1105" y="616"/>
                  </a:cubicBezTo>
                  <a:cubicBezTo>
                    <a:pt x="1105" y="615"/>
                    <a:pt x="1105" y="615"/>
                    <a:pt x="1104" y="615"/>
                  </a:cubicBezTo>
                  <a:cubicBezTo>
                    <a:pt x="1104" y="615"/>
                    <a:pt x="1104" y="615"/>
                    <a:pt x="1104" y="615"/>
                  </a:cubicBezTo>
                  <a:cubicBezTo>
                    <a:pt x="1104" y="615"/>
                    <a:pt x="1104" y="615"/>
                    <a:pt x="1104" y="615"/>
                  </a:cubicBezTo>
                  <a:cubicBezTo>
                    <a:pt x="1104" y="615"/>
                    <a:pt x="1104" y="615"/>
                    <a:pt x="1103" y="615"/>
                  </a:cubicBezTo>
                  <a:cubicBezTo>
                    <a:pt x="1103" y="615"/>
                    <a:pt x="1102" y="614"/>
                    <a:pt x="1101" y="614"/>
                  </a:cubicBezTo>
                  <a:cubicBezTo>
                    <a:pt x="1100" y="614"/>
                    <a:pt x="1099" y="615"/>
                    <a:pt x="1099" y="615"/>
                  </a:cubicBezTo>
                  <a:cubicBezTo>
                    <a:pt x="1098" y="616"/>
                    <a:pt x="1097" y="616"/>
                    <a:pt x="1096" y="616"/>
                  </a:cubicBezTo>
                  <a:cubicBezTo>
                    <a:pt x="1096" y="616"/>
                    <a:pt x="1095" y="616"/>
                    <a:pt x="1095" y="616"/>
                  </a:cubicBezTo>
                  <a:cubicBezTo>
                    <a:pt x="1096" y="615"/>
                    <a:pt x="1096" y="615"/>
                    <a:pt x="1097" y="614"/>
                  </a:cubicBezTo>
                  <a:cubicBezTo>
                    <a:pt x="1098" y="613"/>
                    <a:pt x="1100" y="613"/>
                    <a:pt x="1101" y="613"/>
                  </a:cubicBezTo>
                  <a:cubicBezTo>
                    <a:pt x="1104" y="613"/>
                    <a:pt x="1107" y="614"/>
                    <a:pt x="1109" y="616"/>
                  </a:cubicBezTo>
                  <a:cubicBezTo>
                    <a:pt x="1110" y="617"/>
                    <a:pt x="1110" y="619"/>
                    <a:pt x="1112" y="619"/>
                  </a:cubicBezTo>
                  <a:cubicBezTo>
                    <a:pt x="1113" y="619"/>
                    <a:pt x="1113" y="619"/>
                    <a:pt x="1113" y="619"/>
                  </a:cubicBezTo>
                  <a:cubicBezTo>
                    <a:pt x="1114" y="619"/>
                    <a:pt x="1115" y="619"/>
                    <a:pt x="1116" y="619"/>
                  </a:cubicBezTo>
                  <a:cubicBezTo>
                    <a:pt x="1117" y="619"/>
                    <a:pt x="1118" y="619"/>
                    <a:pt x="1119" y="619"/>
                  </a:cubicBezTo>
                  <a:cubicBezTo>
                    <a:pt x="1119" y="619"/>
                    <a:pt x="1119" y="619"/>
                    <a:pt x="1119" y="619"/>
                  </a:cubicBezTo>
                  <a:cubicBezTo>
                    <a:pt x="1124" y="619"/>
                    <a:pt x="1128" y="621"/>
                    <a:pt x="1133" y="622"/>
                  </a:cubicBezTo>
                  <a:cubicBezTo>
                    <a:pt x="1132" y="620"/>
                    <a:pt x="1132" y="617"/>
                    <a:pt x="1130" y="615"/>
                  </a:cubicBezTo>
                  <a:cubicBezTo>
                    <a:pt x="1128" y="613"/>
                    <a:pt x="1123" y="612"/>
                    <a:pt x="1121" y="610"/>
                  </a:cubicBezTo>
                  <a:cubicBezTo>
                    <a:pt x="1120" y="608"/>
                    <a:pt x="1121" y="605"/>
                    <a:pt x="1119" y="603"/>
                  </a:cubicBezTo>
                  <a:cubicBezTo>
                    <a:pt x="1119" y="602"/>
                    <a:pt x="1116" y="602"/>
                    <a:pt x="1115" y="601"/>
                  </a:cubicBezTo>
                  <a:cubicBezTo>
                    <a:pt x="1110" y="599"/>
                    <a:pt x="1109" y="599"/>
                    <a:pt x="1109" y="593"/>
                  </a:cubicBezTo>
                  <a:cubicBezTo>
                    <a:pt x="1109" y="589"/>
                    <a:pt x="1109" y="588"/>
                    <a:pt x="1107" y="584"/>
                  </a:cubicBezTo>
                  <a:cubicBezTo>
                    <a:pt x="1104" y="577"/>
                    <a:pt x="1102" y="571"/>
                    <a:pt x="1099" y="564"/>
                  </a:cubicBezTo>
                  <a:cubicBezTo>
                    <a:pt x="1097" y="560"/>
                    <a:pt x="1096" y="556"/>
                    <a:pt x="1093" y="553"/>
                  </a:cubicBezTo>
                  <a:cubicBezTo>
                    <a:pt x="1092" y="553"/>
                    <a:pt x="1091" y="552"/>
                    <a:pt x="1090" y="552"/>
                  </a:cubicBezTo>
                  <a:cubicBezTo>
                    <a:pt x="1088" y="551"/>
                    <a:pt x="1084" y="550"/>
                    <a:pt x="1083" y="550"/>
                  </a:cubicBezTo>
                  <a:cubicBezTo>
                    <a:pt x="1082" y="548"/>
                    <a:pt x="1076" y="542"/>
                    <a:pt x="1073" y="542"/>
                  </a:cubicBezTo>
                  <a:cubicBezTo>
                    <a:pt x="1073" y="542"/>
                    <a:pt x="1073" y="542"/>
                    <a:pt x="1073" y="542"/>
                  </a:cubicBezTo>
                  <a:cubicBezTo>
                    <a:pt x="1071" y="542"/>
                    <a:pt x="1070" y="543"/>
                    <a:pt x="1070" y="543"/>
                  </a:cubicBezTo>
                  <a:cubicBezTo>
                    <a:pt x="1070" y="543"/>
                    <a:pt x="1070" y="542"/>
                    <a:pt x="1070" y="541"/>
                  </a:cubicBezTo>
                  <a:cubicBezTo>
                    <a:pt x="1069" y="539"/>
                    <a:pt x="1069" y="538"/>
                    <a:pt x="1070" y="536"/>
                  </a:cubicBezTo>
                  <a:cubicBezTo>
                    <a:pt x="1069" y="536"/>
                    <a:pt x="1069" y="536"/>
                    <a:pt x="1069" y="536"/>
                  </a:cubicBezTo>
                  <a:cubicBezTo>
                    <a:pt x="1069" y="535"/>
                    <a:pt x="1070" y="535"/>
                    <a:pt x="1071" y="535"/>
                  </a:cubicBezTo>
                  <a:cubicBezTo>
                    <a:pt x="1075" y="531"/>
                    <a:pt x="1076" y="521"/>
                    <a:pt x="1083" y="520"/>
                  </a:cubicBezTo>
                  <a:cubicBezTo>
                    <a:pt x="1086" y="519"/>
                    <a:pt x="1087" y="518"/>
                    <a:pt x="1089" y="515"/>
                  </a:cubicBezTo>
                  <a:cubicBezTo>
                    <a:pt x="1091" y="512"/>
                    <a:pt x="1093" y="511"/>
                    <a:pt x="1095" y="509"/>
                  </a:cubicBezTo>
                  <a:cubicBezTo>
                    <a:pt x="1094" y="509"/>
                    <a:pt x="1092" y="507"/>
                    <a:pt x="1091" y="505"/>
                  </a:cubicBezTo>
                  <a:cubicBezTo>
                    <a:pt x="1090" y="503"/>
                    <a:pt x="1093" y="502"/>
                    <a:pt x="1095" y="502"/>
                  </a:cubicBezTo>
                  <a:cubicBezTo>
                    <a:pt x="1095" y="502"/>
                    <a:pt x="1096" y="502"/>
                    <a:pt x="1096" y="502"/>
                  </a:cubicBezTo>
                  <a:cubicBezTo>
                    <a:pt x="1097" y="503"/>
                    <a:pt x="1097" y="504"/>
                    <a:pt x="1097" y="505"/>
                  </a:cubicBezTo>
                  <a:cubicBezTo>
                    <a:pt x="1097" y="507"/>
                    <a:pt x="1097" y="507"/>
                    <a:pt x="1098" y="507"/>
                  </a:cubicBezTo>
                  <a:cubicBezTo>
                    <a:pt x="1098" y="507"/>
                    <a:pt x="1099" y="507"/>
                    <a:pt x="1099" y="507"/>
                  </a:cubicBezTo>
                  <a:cubicBezTo>
                    <a:pt x="1102" y="507"/>
                    <a:pt x="1104" y="506"/>
                    <a:pt x="1105" y="504"/>
                  </a:cubicBezTo>
                  <a:cubicBezTo>
                    <a:pt x="1105" y="503"/>
                    <a:pt x="1104" y="502"/>
                    <a:pt x="1104" y="502"/>
                  </a:cubicBezTo>
                  <a:cubicBezTo>
                    <a:pt x="1103" y="499"/>
                    <a:pt x="1105" y="499"/>
                    <a:pt x="1108" y="498"/>
                  </a:cubicBezTo>
                  <a:cubicBezTo>
                    <a:pt x="1109" y="497"/>
                    <a:pt x="1111" y="497"/>
                    <a:pt x="1111" y="494"/>
                  </a:cubicBezTo>
                  <a:cubicBezTo>
                    <a:pt x="1111" y="494"/>
                    <a:pt x="1111" y="494"/>
                    <a:pt x="1111" y="494"/>
                  </a:cubicBezTo>
                  <a:cubicBezTo>
                    <a:pt x="1110" y="494"/>
                    <a:pt x="1110" y="494"/>
                    <a:pt x="1109" y="494"/>
                  </a:cubicBezTo>
                  <a:cubicBezTo>
                    <a:pt x="1109" y="493"/>
                    <a:pt x="1108" y="493"/>
                    <a:pt x="1107" y="493"/>
                  </a:cubicBezTo>
                  <a:cubicBezTo>
                    <a:pt x="1107" y="493"/>
                    <a:pt x="1107" y="493"/>
                    <a:pt x="1106" y="493"/>
                  </a:cubicBezTo>
                  <a:cubicBezTo>
                    <a:pt x="1107" y="492"/>
                    <a:pt x="1108" y="492"/>
                    <a:pt x="1109" y="492"/>
                  </a:cubicBezTo>
                  <a:cubicBezTo>
                    <a:pt x="1109" y="492"/>
                    <a:pt x="1110" y="492"/>
                    <a:pt x="1111" y="492"/>
                  </a:cubicBezTo>
                  <a:cubicBezTo>
                    <a:pt x="1111" y="492"/>
                    <a:pt x="1112" y="492"/>
                    <a:pt x="1113" y="492"/>
                  </a:cubicBezTo>
                  <a:cubicBezTo>
                    <a:pt x="1113" y="492"/>
                    <a:pt x="1114" y="492"/>
                    <a:pt x="1114" y="492"/>
                  </a:cubicBezTo>
                  <a:cubicBezTo>
                    <a:pt x="1117" y="491"/>
                    <a:pt x="1120" y="489"/>
                    <a:pt x="1123" y="488"/>
                  </a:cubicBezTo>
                  <a:cubicBezTo>
                    <a:pt x="1128" y="486"/>
                    <a:pt x="1134" y="484"/>
                    <a:pt x="1140" y="482"/>
                  </a:cubicBezTo>
                  <a:cubicBezTo>
                    <a:pt x="1140" y="485"/>
                    <a:pt x="1140" y="487"/>
                    <a:pt x="1142" y="487"/>
                  </a:cubicBezTo>
                  <a:cubicBezTo>
                    <a:pt x="1143" y="487"/>
                    <a:pt x="1144" y="486"/>
                    <a:pt x="1145" y="486"/>
                  </a:cubicBezTo>
                  <a:cubicBezTo>
                    <a:pt x="1148" y="485"/>
                    <a:pt x="1148" y="484"/>
                    <a:pt x="1148" y="481"/>
                  </a:cubicBezTo>
                  <a:cubicBezTo>
                    <a:pt x="1148" y="481"/>
                    <a:pt x="1148" y="481"/>
                    <a:pt x="1148" y="481"/>
                  </a:cubicBezTo>
                  <a:cubicBezTo>
                    <a:pt x="1148" y="481"/>
                    <a:pt x="1147" y="481"/>
                    <a:pt x="1147" y="482"/>
                  </a:cubicBezTo>
                  <a:cubicBezTo>
                    <a:pt x="1146" y="482"/>
                    <a:pt x="1146" y="482"/>
                    <a:pt x="1145" y="482"/>
                  </a:cubicBezTo>
                  <a:cubicBezTo>
                    <a:pt x="1145" y="482"/>
                    <a:pt x="1145" y="482"/>
                    <a:pt x="1146" y="481"/>
                  </a:cubicBezTo>
                  <a:cubicBezTo>
                    <a:pt x="1147" y="479"/>
                    <a:pt x="1154" y="473"/>
                    <a:pt x="1151" y="471"/>
                  </a:cubicBezTo>
                  <a:cubicBezTo>
                    <a:pt x="1151" y="471"/>
                    <a:pt x="1151" y="471"/>
                    <a:pt x="1150" y="471"/>
                  </a:cubicBezTo>
                  <a:cubicBezTo>
                    <a:pt x="1149" y="471"/>
                    <a:pt x="1148" y="471"/>
                    <a:pt x="1147" y="471"/>
                  </a:cubicBezTo>
                  <a:cubicBezTo>
                    <a:pt x="1147" y="471"/>
                    <a:pt x="1147" y="471"/>
                    <a:pt x="1146" y="471"/>
                  </a:cubicBezTo>
                  <a:cubicBezTo>
                    <a:pt x="1146" y="471"/>
                    <a:pt x="1145" y="471"/>
                    <a:pt x="1145" y="471"/>
                  </a:cubicBezTo>
                  <a:cubicBezTo>
                    <a:pt x="1142" y="470"/>
                    <a:pt x="1140" y="468"/>
                    <a:pt x="1137" y="467"/>
                  </a:cubicBezTo>
                  <a:cubicBezTo>
                    <a:pt x="1136" y="468"/>
                    <a:pt x="1135" y="469"/>
                    <a:pt x="1135" y="471"/>
                  </a:cubicBezTo>
                  <a:cubicBezTo>
                    <a:pt x="1134" y="470"/>
                    <a:pt x="1133" y="469"/>
                    <a:pt x="1132" y="469"/>
                  </a:cubicBezTo>
                  <a:cubicBezTo>
                    <a:pt x="1131" y="469"/>
                    <a:pt x="1130" y="470"/>
                    <a:pt x="1129" y="470"/>
                  </a:cubicBezTo>
                  <a:cubicBezTo>
                    <a:pt x="1128" y="470"/>
                    <a:pt x="1127" y="470"/>
                    <a:pt x="1126" y="470"/>
                  </a:cubicBezTo>
                  <a:cubicBezTo>
                    <a:pt x="1126" y="470"/>
                    <a:pt x="1125" y="470"/>
                    <a:pt x="1125" y="470"/>
                  </a:cubicBezTo>
                  <a:cubicBezTo>
                    <a:pt x="1122" y="470"/>
                    <a:pt x="1118" y="467"/>
                    <a:pt x="1115" y="466"/>
                  </a:cubicBezTo>
                  <a:cubicBezTo>
                    <a:pt x="1113" y="464"/>
                    <a:pt x="1110" y="462"/>
                    <a:pt x="1107" y="460"/>
                  </a:cubicBezTo>
                  <a:cubicBezTo>
                    <a:pt x="1107" y="460"/>
                    <a:pt x="1106" y="460"/>
                    <a:pt x="1106" y="460"/>
                  </a:cubicBezTo>
                  <a:cubicBezTo>
                    <a:pt x="1104" y="460"/>
                    <a:pt x="1102" y="461"/>
                    <a:pt x="1100" y="462"/>
                  </a:cubicBezTo>
                  <a:cubicBezTo>
                    <a:pt x="1097" y="463"/>
                    <a:pt x="1093" y="462"/>
                    <a:pt x="1094" y="466"/>
                  </a:cubicBezTo>
                  <a:cubicBezTo>
                    <a:pt x="1095" y="468"/>
                    <a:pt x="1090" y="471"/>
                    <a:pt x="1088" y="471"/>
                  </a:cubicBezTo>
                  <a:cubicBezTo>
                    <a:pt x="1086" y="473"/>
                    <a:pt x="1081" y="478"/>
                    <a:pt x="1078" y="478"/>
                  </a:cubicBezTo>
                  <a:cubicBezTo>
                    <a:pt x="1078" y="478"/>
                    <a:pt x="1078" y="478"/>
                    <a:pt x="1078" y="478"/>
                  </a:cubicBezTo>
                  <a:cubicBezTo>
                    <a:pt x="1075" y="478"/>
                    <a:pt x="1071" y="476"/>
                    <a:pt x="1068" y="475"/>
                  </a:cubicBezTo>
                  <a:cubicBezTo>
                    <a:pt x="1064" y="474"/>
                    <a:pt x="1064" y="474"/>
                    <a:pt x="1065" y="470"/>
                  </a:cubicBezTo>
                  <a:cubicBezTo>
                    <a:pt x="1066" y="467"/>
                    <a:pt x="1067" y="463"/>
                    <a:pt x="1067" y="460"/>
                  </a:cubicBezTo>
                  <a:cubicBezTo>
                    <a:pt x="1067" y="457"/>
                    <a:pt x="1065" y="451"/>
                    <a:pt x="1061" y="450"/>
                  </a:cubicBezTo>
                  <a:cubicBezTo>
                    <a:pt x="1061" y="450"/>
                    <a:pt x="1060" y="450"/>
                    <a:pt x="1059" y="450"/>
                  </a:cubicBezTo>
                  <a:cubicBezTo>
                    <a:pt x="1058" y="450"/>
                    <a:pt x="1057" y="450"/>
                    <a:pt x="1056" y="450"/>
                  </a:cubicBezTo>
                  <a:cubicBezTo>
                    <a:pt x="1055" y="451"/>
                    <a:pt x="1057" y="452"/>
                    <a:pt x="1057" y="453"/>
                  </a:cubicBezTo>
                  <a:cubicBezTo>
                    <a:pt x="1056" y="453"/>
                    <a:pt x="1056" y="454"/>
                    <a:pt x="1055" y="455"/>
                  </a:cubicBezTo>
                  <a:cubicBezTo>
                    <a:pt x="1053" y="453"/>
                    <a:pt x="1053" y="452"/>
                    <a:pt x="1051" y="451"/>
                  </a:cubicBezTo>
                  <a:cubicBezTo>
                    <a:pt x="1051" y="451"/>
                    <a:pt x="1051" y="451"/>
                    <a:pt x="1050" y="451"/>
                  </a:cubicBezTo>
                  <a:cubicBezTo>
                    <a:pt x="1050" y="451"/>
                    <a:pt x="1050" y="451"/>
                    <a:pt x="1050" y="451"/>
                  </a:cubicBezTo>
                  <a:cubicBezTo>
                    <a:pt x="1049" y="451"/>
                    <a:pt x="1049" y="451"/>
                    <a:pt x="1049" y="451"/>
                  </a:cubicBezTo>
                  <a:cubicBezTo>
                    <a:pt x="1048" y="451"/>
                    <a:pt x="1048" y="451"/>
                    <a:pt x="1047" y="451"/>
                  </a:cubicBezTo>
                  <a:cubicBezTo>
                    <a:pt x="1045" y="450"/>
                    <a:pt x="1042" y="449"/>
                    <a:pt x="1040" y="448"/>
                  </a:cubicBezTo>
                  <a:cubicBezTo>
                    <a:pt x="1037" y="447"/>
                    <a:pt x="1030" y="440"/>
                    <a:pt x="1031" y="437"/>
                  </a:cubicBezTo>
                  <a:cubicBezTo>
                    <a:pt x="1032" y="433"/>
                    <a:pt x="1033" y="427"/>
                    <a:pt x="1036" y="424"/>
                  </a:cubicBezTo>
                  <a:cubicBezTo>
                    <a:pt x="1036" y="424"/>
                    <a:pt x="1037" y="423"/>
                    <a:pt x="1038" y="422"/>
                  </a:cubicBezTo>
                  <a:cubicBezTo>
                    <a:pt x="1039" y="422"/>
                    <a:pt x="1040" y="422"/>
                    <a:pt x="1040" y="422"/>
                  </a:cubicBezTo>
                  <a:cubicBezTo>
                    <a:pt x="1044" y="422"/>
                    <a:pt x="1045" y="426"/>
                    <a:pt x="1049" y="426"/>
                  </a:cubicBezTo>
                  <a:cubicBezTo>
                    <a:pt x="1049" y="426"/>
                    <a:pt x="1050" y="426"/>
                    <a:pt x="1050" y="426"/>
                  </a:cubicBezTo>
                  <a:cubicBezTo>
                    <a:pt x="1052" y="426"/>
                    <a:pt x="1054" y="425"/>
                    <a:pt x="1056" y="425"/>
                  </a:cubicBezTo>
                  <a:cubicBezTo>
                    <a:pt x="1059" y="424"/>
                    <a:pt x="1062" y="425"/>
                    <a:pt x="1064" y="423"/>
                  </a:cubicBezTo>
                  <a:cubicBezTo>
                    <a:pt x="1065" y="423"/>
                    <a:pt x="1066" y="421"/>
                    <a:pt x="1066" y="421"/>
                  </a:cubicBezTo>
                  <a:cubicBezTo>
                    <a:pt x="1068" y="419"/>
                    <a:pt x="1071" y="417"/>
                    <a:pt x="1072" y="413"/>
                  </a:cubicBezTo>
                  <a:cubicBezTo>
                    <a:pt x="1073" y="408"/>
                    <a:pt x="1075" y="404"/>
                    <a:pt x="1080" y="402"/>
                  </a:cubicBezTo>
                  <a:cubicBezTo>
                    <a:pt x="1087" y="400"/>
                    <a:pt x="1093" y="396"/>
                    <a:pt x="1099" y="393"/>
                  </a:cubicBezTo>
                  <a:cubicBezTo>
                    <a:pt x="1104" y="390"/>
                    <a:pt x="1106" y="383"/>
                    <a:pt x="1111" y="379"/>
                  </a:cubicBezTo>
                  <a:cubicBezTo>
                    <a:pt x="1113" y="376"/>
                    <a:pt x="1114" y="376"/>
                    <a:pt x="1116" y="376"/>
                  </a:cubicBezTo>
                  <a:cubicBezTo>
                    <a:pt x="1117" y="376"/>
                    <a:pt x="1118" y="376"/>
                    <a:pt x="1120" y="376"/>
                  </a:cubicBezTo>
                  <a:cubicBezTo>
                    <a:pt x="1121" y="376"/>
                    <a:pt x="1122" y="376"/>
                    <a:pt x="1123" y="376"/>
                  </a:cubicBezTo>
                  <a:cubicBezTo>
                    <a:pt x="1125" y="376"/>
                    <a:pt x="1127" y="376"/>
                    <a:pt x="1129" y="375"/>
                  </a:cubicBezTo>
                  <a:cubicBezTo>
                    <a:pt x="1131" y="375"/>
                    <a:pt x="1130" y="373"/>
                    <a:pt x="1132" y="372"/>
                  </a:cubicBezTo>
                  <a:cubicBezTo>
                    <a:pt x="1132" y="376"/>
                    <a:pt x="1131" y="377"/>
                    <a:pt x="1135" y="378"/>
                  </a:cubicBezTo>
                  <a:cubicBezTo>
                    <a:pt x="1138" y="380"/>
                    <a:pt x="1140" y="381"/>
                    <a:pt x="1141" y="384"/>
                  </a:cubicBezTo>
                  <a:cubicBezTo>
                    <a:pt x="1141" y="385"/>
                    <a:pt x="1142" y="385"/>
                    <a:pt x="1142" y="385"/>
                  </a:cubicBezTo>
                  <a:cubicBezTo>
                    <a:pt x="1143" y="387"/>
                    <a:pt x="1141" y="389"/>
                    <a:pt x="1140" y="390"/>
                  </a:cubicBezTo>
                  <a:cubicBezTo>
                    <a:pt x="1137" y="393"/>
                    <a:pt x="1135" y="396"/>
                    <a:pt x="1133" y="398"/>
                  </a:cubicBezTo>
                  <a:cubicBezTo>
                    <a:pt x="1131" y="400"/>
                    <a:pt x="1131" y="401"/>
                    <a:pt x="1129" y="402"/>
                  </a:cubicBezTo>
                  <a:cubicBezTo>
                    <a:pt x="1128" y="403"/>
                    <a:pt x="1124" y="403"/>
                    <a:pt x="1123" y="405"/>
                  </a:cubicBezTo>
                  <a:cubicBezTo>
                    <a:pt x="1122" y="407"/>
                    <a:pt x="1123" y="409"/>
                    <a:pt x="1122" y="410"/>
                  </a:cubicBezTo>
                  <a:cubicBezTo>
                    <a:pt x="1122" y="411"/>
                    <a:pt x="1121" y="411"/>
                    <a:pt x="1120" y="411"/>
                  </a:cubicBezTo>
                  <a:cubicBezTo>
                    <a:pt x="1119" y="412"/>
                    <a:pt x="1118" y="412"/>
                    <a:pt x="1117" y="413"/>
                  </a:cubicBezTo>
                  <a:cubicBezTo>
                    <a:pt x="1121" y="416"/>
                    <a:pt x="1123" y="417"/>
                    <a:pt x="1127" y="417"/>
                  </a:cubicBezTo>
                  <a:cubicBezTo>
                    <a:pt x="1129" y="417"/>
                    <a:pt x="1131" y="416"/>
                    <a:pt x="1134" y="416"/>
                  </a:cubicBezTo>
                  <a:cubicBezTo>
                    <a:pt x="1133" y="417"/>
                    <a:pt x="1127" y="419"/>
                    <a:pt x="1127" y="420"/>
                  </a:cubicBezTo>
                  <a:cubicBezTo>
                    <a:pt x="1126" y="421"/>
                    <a:pt x="1128" y="422"/>
                    <a:pt x="1128" y="423"/>
                  </a:cubicBezTo>
                  <a:cubicBezTo>
                    <a:pt x="1128" y="426"/>
                    <a:pt x="1124" y="426"/>
                    <a:pt x="1121" y="426"/>
                  </a:cubicBezTo>
                  <a:cubicBezTo>
                    <a:pt x="1120" y="427"/>
                    <a:pt x="1118" y="428"/>
                    <a:pt x="1117" y="429"/>
                  </a:cubicBezTo>
                  <a:cubicBezTo>
                    <a:pt x="1117" y="429"/>
                    <a:pt x="1117" y="429"/>
                    <a:pt x="1117" y="429"/>
                  </a:cubicBezTo>
                  <a:cubicBezTo>
                    <a:pt x="1117" y="429"/>
                    <a:pt x="1116" y="429"/>
                    <a:pt x="1116" y="429"/>
                  </a:cubicBezTo>
                  <a:cubicBezTo>
                    <a:pt x="1116" y="429"/>
                    <a:pt x="1116" y="429"/>
                    <a:pt x="1115" y="429"/>
                  </a:cubicBezTo>
                  <a:cubicBezTo>
                    <a:pt x="1115" y="429"/>
                    <a:pt x="1115" y="429"/>
                    <a:pt x="1115" y="429"/>
                  </a:cubicBezTo>
                  <a:cubicBezTo>
                    <a:pt x="1114" y="430"/>
                    <a:pt x="1116" y="434"/>
                    <a:pt x="1117" y="435"/>
                  </a:cubicBezTo>
                  <a:cubicBezTo>
                    <a:pt x="1125" y="429"/>
                    <a:pt x="1134" y="424"/>
                    <a:pt x="1143" y="418"/>
                  </a:cubicBezTo>
                  <a:cubicBezTo>
                    <a:pt x="1146" y="415"/>
                    <a:pt x="1150" y="413"/>
                    <a:pt x="1154" y="411"/>
                  </a:cubicBezTo>
                  <a:cubicBezTo>
                    <a:pt x="1157" y="409"/>
                    <a:pt x="1160" y="407"/>
                    <a:pt x="1164" y="406"/>
                  </a:cubicBezTo>
                  <a:cubicBezTo>
                    <a:pt x="1165" y="405"/>
                    <a:pt x="1166" y="405"/>
                    <a:pt x="1168" y="405"/>
                  </a:cubicBezTo>
                  <a:cubicBezTo>
                    <a:pt x="1168" y="405"/>
                    <a:pt x="1169" y="405"/>
                    <a:pt x="1169" y="405"/>
                  </a:cubicBezTo>
                  <a:cubicBezTo>
                    <a:pt x="1170" y="405"/>
                    <a:pt x="1170" y="405"/>
                    <a:pt x="1171" y="405"/>
                  </a:cubicBezTo>
                  <a:cubicBezTo>
                    <a:pt x="1171" y="405"/>
                    <a:pt x="1172" y="405"/>
                    <a:pt x="1172" y="405"/>
                  </a:cubicBezTo>
                  <a:cubicBezTo>
                    <a:pt x="1176" y="405"/>
                    <a:pt x="1180" y="405"/>
                    <a:pt x="1183" y="405"/>
                  </a:cubicBezTo>
                  <a:cubicBezTo>
                    <a:pt x="1186" y="404"/>
                    <a:pt x="1188" y="402"/>
                    <a:pt x="1189" y="400"/>
                  </a:cubicBezTo>
                  <a:cubicBezTo>
                    <a:pt x="1188" y="399"/>
                    <a:pt x="1188" y="399"/>
                    <a:pt x="1188" y="399"/>
                  </a:cubicBezTo>
                  <a:cubicBezTo>
                    <a:pt x="1188" y="398"/>
                    <a:pt x="1188" y="398"/>
                    <a:pt x="1188" y="398"/>
                  </a:cubicBezTo>
                  <a:cubicBezTo>
                    <a:pt x="1189" y="396"/>
                    <a:pt x="1191" y="394"/>
                    <a:pt x="1191" y="394"/>
                  </a:cubicBezTo>
                  <a:cubicBezTo>
                    <a:pt x="1191" y="394"/>
                    <a:pt x="1191" y="394"/>
                    <a:pt x="1191" y="394"/>
                  </a:cubicBezTo>
                  <a:cubicBezTo>
                    <a:pt x="1196" y="391"/>
                    <a:pt x="1196" y="391"/>
                    <a:pt x="1196" y="391"/>
                  </a:cubicBezTo>
                  <a:cubicBezTo>
                    <a:pt x="1202" y="387"/>
                    <a:pt x="1207" y="384"/>
                    <a:pt x="1213" y="380"/>
                  </a:cubicBezTo>
                  <a:cubicBezTo>
                    <a:pt x="1215" y="379"/>
                    <a:pt x="1216" y="378"/>
                    <a:pt x="1218" y="376"/>
                  </a:cubicBezTo>
                  <a:cubicBezTo>
                    <a:pt x="1219" y="375"/>
                    <a:pt x="1219" y="375"/>
                    <a:pt x="1219" y="375"/>
                  </a:cubicBezTo>
                  <a:cubicBezTo>
                    <a:pt x="1221" y="373"/>
                    <a:pt x="1223" y="373"/>
                    <a:pt x="1225" y="373"/>
                  </a:cubicBezTo>
                  <a:cubicBezTo>
                    <a:pt x="1226" y="373"/>
                    <a:pt x="1227" y="373"/>
                    <a:pt x="1228" y="372"/>
                  </a:cubicBezTo>
                  <a:cubicBezTo>
                    <a:pt x="1228" y="372"/>
                    <a:pt x="1228" y="372"/>
                    <a:pt x="1228" y="372"/>
                  </a:cubicBezTo>
                  <a:cubicBezTo>
                    <a:pt x="1228" y="372"/>
                    <a:pt x="1229" y="371"/>
                    <a:pt x="1230" y="370"/>
                  </a:cubicBezTo>
                  <a:cubicBezTo>
                    <a:pt x="1230" y="369"/>
                    <a:pt x="1231" y="369"/>
                    <a:pt x="1231" y="368"/>
                  </a:cubicBezTo>
                  <a:cubicBezTo>
                    <a:pt x="1235" y="364"/>
                    <a:pt x="1239" y="359"/>
                    <a:pt x="1241" y="354"/>
                  </a:cubicBezTo>
                  <a:cubicBezTo>
                    <a:pt x="1242" y="352"/>
                    <a:pt x="1243" y="351"/>
                    <a:pt x="1245" y="349"/>
                  </a:cubicBezTo>
                  <a:cubicBezTo>
                    <a:pt x="1241" y="344"/>
                    <a:pt x="1241" y="344"/>
                    <a:pt x="1241" y="344"/>
                  </a:cubicBezTo>
                  <a:cubicBezTo>
                    <a:pt x="1246" y="348"/>
                    <a:pt x="1246" y="348"/>
                    <a:pt x="1246" y="348"/>
                  </a:cubicBezTo>
                  <a:cubicBezTo>
                    <a:pt x="1246" y="348"/>
                    <a:pt x="1246" y="348"/>
                    <a:pt x="1246" y="348"/>
                  </a:cubicBezTo>
                  <a:cubicBezTo>
                    <a:pt x="1247" y="348"/>
                    <a:pt x="1247" y="348"/>
                    <a:pt x="1247" y="348"/>
                  </a:cubicBezTo>
                  <a:cubicBezTo>
                    <a:pt x="1248" y="347"/>
                    <a:pt x="1249" y="347"/>
                    <a:pt x="1250" y="347"/>
                  </a:cubicBezTo>
                  <a:cubicBezTo>
                    <a:pt x="1250" y="347"/>
                    <a:pt x="1250" y="347"/>
                    <a:pt x="1250" y="347"/>
                  </a:cubicBezTo>
                  <a:cubicBezTo>
                    <a:pt x="1251" y="347"/>
                    <a:pt x="1251" y="347"/>
                    <a:pt x="1251" y="347"/>
                  </a:cubicBezTo>
                  <a:cubicBezTo>
                    <a:pt x="1252" y="347"/>
                    <a:pt x="1253" y="348"/>
                    <a:pt x="1253" y="348"/>
                  </a:cubicBezTo>
                  <a:cubicBezTo>
                    <a:pt x="1254" y="348"/>
                    <a:pt x="1254" y="348"/>
                    <a:pt x="1254" y="348"/>
                  </a:cubicBezTo>
                  <a:cubicBezTo>
                    <a:pt x="1255" y="349"/>
                    <a:pt x="1257" y="351"/>
                    <a:pt x="1258" y="352"/>
                  </a:cubicBezTo>
                  <a:cubicBezTo>
                    <a:pt x="1259" y="353"/>
                    <a:pt x="1260" y="355"/>
                    <a:pt x="1261" y="355"/>
                  </a:cubicBezTo>
                  <a:cubicBezTo>
                    <a:pt x="1261" y="356"/>
                    <a:pt x="1261" y="356"/>
                    <a:pt x="1261" y="356"/>
                  </a:cubicBezTo>
                  <a:cubicBezTo>
                    <a:pt x="1263" y="357"/>
                    <a:pt x="1268" y="357"/>
                    <a:pt x="1271" y="357"/>
                  </a:cubicBezTo>
                  <a:cubicBezTo>
                    <a:pt x="1272" y="357"/>
                    <a:pt x="1272" y="357"/>
                    <a:pt x="1272" y="357"/>
                  </a:cubicBezTo>
                  <a:cubicBezTo>
                    <a:pt x="1274" y="358"/>
                    <a:pt x="1276" y="358"/>
                    <a:pt x="1277" y="358"/>
                  </a:cubicBezTo>
                  <a:cubicBezTo>
                    <a:pt x="1278" y="358"/>
                    <a:pt x="1278" y="358"/>
                    <a:pt x="1278" y="358"/>
                  </a:cubicBezTo>
                  <a:cubicBezTo>
                    <a:pt x="1279" y="358"/>
                    <a:pt x="1279" y="358"/>
                    <a:pt x="1279" y="358"/>
                  </a:cubicBezTo>
                  <a:cubicBezTo>
                    <a:pt x="1280" y="358"/>
                    <a:pt x="1280" y="358"/>
                    <a:pt x="1280" y="358"/>
                  </a:cubicBezTo>
                  <a:cubicBezTo>
                    <a:pt x="1280" y="358"/>
                    <a:pt x="1280" y="357"/>
                    <a:pt x="1281" y="356"/>
                  </a:cubicBezTo>
                  <a:cubicBezTo>
                    <a:pt x="1281" y="356"/>
                    <a:pt x="1281" y="356"/>
                    <a:pt x="1281" y="356"/>
                  </a:cubicBezTo>
                  <a:cubicBezTo>
                    <a:pt x="1280" y="356"/>
                    <a:pt x="1280" y="356"/>
                    <a:pt x="1280" y="356"/>
                  </a:cubicBezTo>
                  <a:cubicBezTo>
                    <a:pt x="1279" y="355"/>
                    <a:pt x="1279" y="355"/>
                    <a:pt x="1279" y="355"/>
                  </a:cubicBezTo>
                  <a:cubicBezTo>
                    <a:pt x="1277" y="351"/>
                    <a:pt x="1275" y="348"/>
                    <a:pt x="1275" y="344"/>
                  </a:cubicBezTo>
                  <a:cubicBezTo>
                    <a:pt x="1275" y="342"/>
                    <a:pt x="1275" y="342"/>
                    <a:pt x="1275" y="342"/>
                  </a:cubicBezTo>
                  <a:cubicBezTo>
                    <a:pt x="1289" y="340"/>
                    <a:pt x="1289" y="340"/>
                    <a:pt x="1289" y="340"/>
                  </a:cubicBezTo>
                  <a:cubicBezTo>
                    <a:pt x="1290" y="340"/>
                    <a:pt x="1291" y="340"/>
                    <a:pt x="1293" y="339"/>
                  </a:cubicBezTo>
                  <a:cubicBezTo>
                    <a:pt x="1295" y="339"/>
                    <a:pt x="1298" y="339"/>
                    <a:pt x="1299" y="339"/>
                  </a:cubicBezTo>
                  <a:cubicBezTo>
                    <a:pt x="1300" y="338"/>
                    <a:pt x="1301" y="337"/>
                    <a:pt x="1302" y="336"/>
                  </a:cubicBezTo>
                  <a:cubicBezTo>
                    <a:pt x="1301" y="336"/>
                    <a:pt x="1301" y="336"/>
                    <a:pt x="1301" y="336"/>
                  </a:cubicBezTo>
                  <a:cubicBezTo>
                    <a:pt x="1302" y="333"/>
                    <a:pt x="1302" y="333"/>
                    <a:pt x="1302" y="333"/>
                  </a:cubicBezTo>
                  <a:cubicBezTo>
                    <a:pt x="1304" y="331"/>
                    <a:pt x="1306" y="329"/>
                    <a:pt x="1309" y="328"/>
                  </a:cubicBezTo>
                  <a:cubicBezTo>
                    <a:pt x="1310" y="328"/>
                    <a:pt x="1310" y="328"/>
                    <a:pt x="1310" y="328"/>
                  </a:cubicBezTo>
                  <a:cubicBezTo>
                    <a:pt x="1312" y="327"/>
                    <a:pt x="1314" y="327"/>
                    <a:pt x="1315" y="326"/>
                  </a:cubicBezTo>
                  <a:cubicBezTo>
                    <a:pt x="1315" y="326"/>
                    <a:pt x="1315" y="326"/>
                    <a:pt x="1315" y="326"/>
                  </a:cubicBezTo>
                  <a:cubicBezTo>
                    <a:pt x="1315" y="325"/>
                    <a:pt x="1315" y="325"/>
                    <a:pt x="1316" y="325"/>
                  </a:cubicBezTo>
                  <a:cubicBezTo>
                    <a:pt x="1316" y="324"/>
                    <a:pt x="1316" y="324"/>
                    <a:pt x="1316" y="323"/>
                  </a:cubicBezTo>
                  <a:cubicBezTo>
                    <a:pt x="1316" y="321"/>
                    <a:pt x="1316" y="317"/>
                    <a:pt x="1319" y="314"/>
                  </a:cubicBezTo>
                  <a:cubicBezTo>
                    <a:pt x="1319" y="314"/>
                    <a:pt x="1319" y="314"/>
                    <a:pt x="1319" y="314"/>
                  </a:cubicBezTo>
                  <a:cubicBezTo>
                    <a:pt x="1320" y="313"/>
                    <a:pt x="1321" y="312"/>
                    <a:pt x="1322" y="312"/>
                  </a:cubicBezTo>
                  <a:cubicBezTo>
                    <a:pt x="1323" y="312"/>
                    <a:pt x="1324" y="313"/>
                    <a:pt x="1325" y="313"/>
                  </a:cubicBezTo>
                  <a:cubicBezTo>
                    <a:pt x="1326" y="313"/>
                    <a:pt x="1330" y="314"/>
                    <a:pt x="1331" y="316"/>
                  </a:cubicBezTo>
                  <a:cubicBezTo>
                    <a:pt x="1332" y="318"/>
                    <a:pt x="1332" y="319"/>
                    <a:pt x="1333" y="321"/>
                  </a:cubicBezTo>
                  <a:cubicBezTo>
                    <a:pt x="1333" y="321"/>
                    <a:pt x="1333" y="321"/>
                    <a:pt x="1333" y="321"/>
                  </a:cubicBezTo>
                  <a:cubicBezTo>
                    <a:pt x="1336" y="318"/>
                    <a:pt x="1341" y="317"/>
                    <a:pt x="1345" y="317"/>
                  </a:cubicBezTo>
                  <a:cubicBezTo>
                    <a:pt x="1347" y="316"/>
                    <a:pt x="1348" y="316"/>
                    <a:pt x="1349" y="313"/>
                  </a:cubicBezTo>
                  <a:cubicBezTo>
                    <a:pt x="1349" y="311"/>
                    <a:pt x="1349" y="311"/>
                    <a:pt x="1349" y="311"/>
                  </a:cubicBezTo>
                  <a:cubicBezTo>
                    <a:pt x="1350" y="307"/>
                    <a:pt x="1351" y="304"/>
                    <a:pt x="1351" y="301"/>
                  </a:cubicBezTo>
                  <a:cubicBezTo>
                    <a:pt x="1351" y="300"/>
                    <a:pt x="1351" y="299"/>
                    <a:pt x="1351" y="297"/>
                  </a:cubicBezTo>
                  <a:cubicBezTo>
                    <a:pt x="1351" y="296"/>
                    <a:pt x="1351" y="296"/>
                    <a:pt x="1351" y="296"/>
                  </a:cubicBezTo>
                  <a:cubicBezTo>
                    <a:pt x="1350" y="293"/>
                    <a:pt x="1350" y="290"/>
                    <a:pt x="1350" y="287"/>
                  </a:cubicBezTo>
                  <a:cubicBezTo>
                    <a:pt x="1350" y="278"/>
                    <a:pt x="1347" y="271"/>
                    <a:pt x="1344" y="263"/>
                  </a:cubicBezTo>
                  <a:cubicBezTo>
                    <a:pt x="1343" y="260"/>
                    <a:pt x="1343" y="260"/>
                    <a:pt x="1343" y="260"/>
                  </a:cubicBezTo>
                  <a:cubicBezTo>
                    <a:pt x="1346" y="259"/>
                    <a:pt x="1346" y="259"/>
                    <a:pt x="1346" y="259"/>
                  </a:cubicBezTo>
                  <a:cubicBezTo>
                    <a:pt x="1347" y="259"/>
                    <a:pt x="1348" y="259"/>
                    <a:pt x="1350" y="258"/>
                  </a:cubicBezTo>
                  <a:cubicBezTo>
                    <a:pt x="1352" y="258"/>
                    <a:pt x="1356" y="257"/>
                    <a:pt x="1357" y="256"/>
                  </a:cubicBezTo>
                  <a:cubicBezTo>
                    <a:pt x="1358" y="255"/>
                    <a:pt x="1358" y="255"/>
                    <a:pt x="1358" y="255"/>
                  </a:cubicBezTo>
                  <a:cubicBezTo>
                    <a:pt x="1360" y="253"/>
                    <a:pt x="1361" y="252"/>
                    <a:pt x="1362" y="250"/>
                  </a:cubicBezTo>
                  <a:cubicBezTo>
                    <a:pt x="1363" y="249"/>
                    <a:pt x="1363" y="249"/>
                    <a:pt x="1363" y="249"/>
                  </a:cubicBezTo>
                  <a:cubicBezTo>
                    <a:pt x="1364" y="247"/>
                    <a:pt x="1365" y="246"/>
                    <a:pt x="1367" y="245"/>
                  </a:cubicBezTo>
                  <a:cubicBezTo>
                    <a:pt x="1368" y="245"/>
                    <a:pt x="1368" y="245"/>
                    <a:pt x="1368" y="245"/>
                  </a:cubicBezTo>
                  <a:cubicBezTo>
                    <a:pt x="1368" y="245"/>
                    <a:pt x="1368" y="245"/>
                    <a:pt x="1368" y="245"/>
                  </a:cubicBezTo>
                  <a:cubicBezTo>
                    <a:pt x="1369" y="245"/>
                    <a:pt x="1369" y="245"/>
                    <a:pt x="1370" y="246"/>
                  </a:cubicBezTo>
                  <a:cubicBezTo>
                    <a:pt x="1370" y="246"/>
                    <a:pt x="1371" y="247"/>
                    <a:pt x="1372" y="248"/>
                  </a:cubicBezTo>
                  <a:cubicBezTo>
                    <a:pt x="1373" y="248"/>
                    <a:pt x="1373" y="248"/>
                    <a:pt x="1373" y="248"/>
                  </a:cubicBezTo>
                  <a:cubicBezTo>
                    <a:pt x="1373" y="249"/>
                    <a:pt x="1377" y="250"/>
                    <a:pt x="1379" y="250"/>
                  </a:cubicBezTo>
                  <a:cubicBezTo>
                    <a:pt x="1380" y="250"/>
                    <a:pt x="1380" y="250"/>
                    <a:pt x="1380" y="250"/>
                  </a:cubicBezTo>
                  <a:cubicBezTo>
                    <a:pt x="1380" y="250"/>
                    <a:pt x="1381" y="251"/>
                    <a:pt x="1382" y="251"/>
                  </a:cubicBezTo>
                  <a:cubicBezTo>
                    <a:pt x="1382" y="251"/>
                    <a:pt x="1382" y="251"/>
                    <a:pt x="1382" y="251"/>
                  </a:cubicBezTo>
                  <a:cubicBezTo>
                    <a:pt x="1383" y="251"/>
                    <a:pt x="1384" y="251"/>
                    <a:pt x="1384" y="252"/>
                  </a:cubicBezTo>
                  <a:cubicBezTo>
                    <a:pt x="1389" y="253"/>
                    <a:pt x="1390" y="253"/>
                    <a:pt x="1390" y="253"/>
                  </a:cubicBezTo>
                  <a:cubicBezTo>
                    <a:pt x="1390" y="253"/>
                    <a:pt x="1390" y="253"/>
                    <a:pt x="1390" y="253"/>
                  </a:cubicBezTo>
                  <a:cubicBezTo>
                    <a:pt x="1391" y="253"/>
                    <a:pt x="1391" y="253"/>
                    <a:pt x="1391" y="253"/>
                  </a:cubicBezTo>
                  <a:cubicBezTo>
                    <a:pt x="1391" y="253"/>
                    <a:pt x="1391" y="253"/>
                    <a:pt x="1391" y="253"/>
                  </a:cubicBezTo>
                  <a:cubicBezTo>
                    <a:pt x="1392" y="253"/>
                    <a:pt x="1393" y="253"/>
                    <a:pt x="1394" y="252"/>
                  </a:cubicBezTo>
                  <a:cubicBezTo>
                    <a:pt x="1394" y="251"/>
                    <a:pt x="1394" y="251"/>
                    <a:pt x="1394" y="251"/>
                  </a:cubicBezTo>
                  <a:cubicBezTo>
                    <a:pt x="1394" y="250"/>
                    <a:pt x="1394" y="248"/>
                    <a:pt x="1394" y="248"/>
                  </a:cubicBezTo>
                  <a:cubicBezTo>
                    <a:pt x="1394" y="247"/>
                    <a:pt x="1394" y="247"/>
                    <a:pt x="1394" y="247"/>
                  </a:cubicBezTo>
                  <a:cubicBezTo>
                    <a:pt x="1395" y="244"/>
                    <a:pt x="1396" y="243"/>
                    <a:pt x="1398" y="242"/>
                  </a:cubicBezTo>
                  <a:cubicBezTo>
                    <a:pt x="1399" y="241"/>
                    <a:pt x="1399" y="241"/>
                    <a:pt x="1399" y="241"/>
                  </a:cubicBezTo>
                  <a:cubicBezTo>
                    <a:pt x="1400" y="240"/>
                    <a:pt x="1402" y="239"/>
                    <a:pt x="1402" y="238"/>
                  </a:cubicBezTo>
                  <a:cubicBezTo>
                    <a:pt x="1403" y="238"/>
                    <a:pt x="1403" y="238"/>
                    <a:pt x="1403" y="238"/>
                  </a:cubicBezTo>
                  <a:cubicBezTo>
                    <a:pt x="1403" y="237"/>
                    <a:pt x="1403" y="237"/>
                    <a:pt x="1403" y="237"/>
                  </a:cubicBezTo>
                  <a:cubicBezTo>
                    <a:pt x="1403" y="236"/>
                    <a:pt x="1403" y="236"/>
                    <a:pt x="1403" y="236"/>
                  </a:cubicBezTo>
                  <a:cubicBezTo>
                    <a:pt x="1403" y="234"/>
                    <a:pt x="1404" y="232"/>
                    <a:pt x="1406" y="229"/>
                  </a:cubicBezTo>
                  <a:cubicBezTo>
                    <a:pt x="1406" y="229"/>
                    <a:pt x="1407" y="228"/>
                    <a:pt x="1408" y="227"/>
                  </a:cubicBezTo>
                  <a:cubicBezTo>
                    <a:pt x="1409" y="226"/>
                    <a:pt x="1411" y="223"/>
                    <a:pt x="1411" y="222"/>
                  </a:cubicBezTo>
                  <a:cubicBezTo>
                    <a:pt x="1411" y="221"/>
                    <a:pt x="1411" y="221"/>
                    <a:pt x="1411" y="221"/>
                  </a:cubicBezTo>
                  <a:cubicBezTo>
                    <a:pt x="1412" y="220"/>
                    <a:pt x="1412" y="217"/>
                    <a:pt x="1412" y="216"/>
                  </a:cubicBezTo>
                  <a:cubicBezTo>
                    <a:pt x="1412" y="215"/>
                    <a:pt x="1412" y="215"/>
                    <a:pt x="1412" y="215"/>
                  </a:cubicBezTo>
                  <a:cubicBezTo>
                    <a:pt x="1412" y="214"/>
                    <a:pt x="1412" y="214"/>
                    <a:pt x="1412" y="213"/>
                  </a:cubicBezTo>
                  <a:cubicBezTo>
                    <a:pt x="1413" y="213"/>
                    <a:pt x="1413" y="213"/>
                    <a:pt x="1413" y="213"/>
                  </a:cubicBezTo>
                  <a:cubicBezTo>
                    <a:pt x="1413" y="212"/>
                    <a:pt x="1413" y="211"/>
                    <a:pt x="1414" y="210"/>
                  </a:cubicBezTo>
                  <a:cubicBezTo>
                    <a:pt x="1414" y="210"/>
                    <a:pt x="1414" y="210"/>
                    <a:pt x="1414" y="210"/>
                  </a:cubicBezTo>
                  <a:cubicBezTo>
                    <a:pt x="1415" y="209"/>
                    <a:pt x="1415" y="209"/>
                    <a:pt x="1415" y="209"/>
                  </a:cubicBezTo>
                  <a:cubicBezTo>
                    <a:pt x="1415" y="209"/>
                    <a:pt x="1415" y="209"/>
                    <a:pt x="1415" y="209"/>
                  </a:cubicBezTo>
                  <a:cubicBezTo>
                    <a:pt x="1415" y="208"/>
                    <a:pt x="1415" y="207"/>
                    <a:pt x="1416" y="207"/>
                  </a:cubicBezTo>
                  <a:cubicBezTo>
                    <a:pt x="1416" y="206"/>
                    <a:pt x="1416" y="205"/>
                    <a:pt x="1417" y="204"/>
                  </a:cubicBezTo>
                  <a:cubicBezTo>
                    <a:pt x="1417" y="202"/>
                    <a:pt x="1417" y="202"/>
                    <a:pt x="1417" y="202"/>
                  </a:cubicBezTo>
                  <a:cubicBezTo>
                    <a:pt x="1417" y="201"/>
                    <a:pt x="1418" y="200"/>
                    <a:pt x="1418" y="199"/>
                  </a:cubicBezTo>
                  <a:cubicBezTo>
                    <a:pt x="1418" y="199"/>
                    <a:pt x="1418" y="199"/>
                    <a:pt x="1418" y="199"/>
                  </a:cubicBezTo>
                  <a:cubicBezTo>
                    <a:pt x="1418" y="198"/>
                    <a:pt x="1419" y="197"/>
                    <a:pt x="1419" y="195"/>
                  </a:cubicBezTo>
                  <a:cubicBezTo>
                    <a:pt x="1415" y="195"/>
                    <a:pt x="1415" y="195"/>
                    <a:pt x="1415" y="195"/>
                  </a:cubicBezTo>
                  <a:cubicBezTo>
                    <a:pt x="1419" y="194"/>
                    <a:pt x="1419" y="194"/>
                    <a:pt x="1419" y="194"/>
                  </a:cubicBezTo>
                  <a:cubicBezTo>
                    <a:pt x="1419" y="194"/>
                    <a:pt x="1419" y="194"/>
                    <a:pt x="1419" y="194"/>
                  </a:cubicBezTo>
                  <a:cubicBezTo>
                    <a:pt x="1420" y="192"/>
                    <a:pt x="1420" y="192"/>
                    <a:pt x="1420" y="191"/>
                  </a:cubicBezTo>
                  <a:cubicBezTo>
                    <a:pt x="1420" y="190"/>
                    <a:pt x="1420" y="189"/>
                    <a:pt x="1421" y="187"/>
                  </a:cubicBezTo>
                  <a:cubicBezTo>
                    <a:pt x="1421" y="186"/>
                    <a:pt x="1422" y="186"/>
                    <a:pt x="1423" y="185"/>
                  </a:cubicBezTo>
                  <a:cubicBezTo>
                    <a:pt x="1424" y="184"/>
                    <a:pt x="1425" y="183"/>
                    <a:pt x="1426" y="183"/>
                  </a:cubicBezTo>
                  <a:cubicBezTo>
                    <a:pt x="1426" y="183"/>
                    <a:pt x="1426" y="183"/>
                    <a:pt x="1427" y="183"/>
                  </a:cubicBezTo>
                  <a:cubicBezTo>
                    <a:pt x="1427" y="182"/>
                    <a:pt x="1427" y="182"/>
                    <a:pt x="1427" y="182"/>
                  </a:cubicBezTo>
                  <a:cubicBezTo>
                    <a:pt x="1429" y="181"/>
                    <a:pt x="1433" y="179"/>
                    <a:pt x="1433" y="178"/>
                  </a:cubicBezTo>
                  <a:cubicBezTo>
                    <a:pt x="1433" y="177"/>
                    <a:pt x="1433" y="177"/>
                    <a:pt x="1433" y="177"/>
                  </a:cubicBezTo>
                  <a:cubicBezTo>
                    <a:pt x="1433" y="177"/>
                    <a:pt x="1432" y="176"/>
                    <a:pt x="1431" y="175"/>
                  </a:cubicBezTo>
                  <a:cubicBezTo>
                    <a:pt x="1431" y="175"/>
                    <a:pt x="1431" y="175"/>
                    <a:pt x="1431" y="175"/>
                  </a:cubicBezTo>
                  <a:cubicBezTo>
                    <a:pt x="1430" y="174"/>
                    <a:pt x="1429" y="172"/>
                    <a:pt x="1428" y="170"/>
                  </a:cubicBezTo>
                  <a:cubicBezTo>
                    <a:pt x="1428" y="166"/>
                    <a:pt x="1431" y="162"/>
                    <a:pt x="1433" y="160"/>
                  </a:cubicBezTo>
                  <a:cubicBezTo>
                    <a:pt x="1433" y="160"/>
                    <a:pt x="1433" y="160"/>
                    <a:pt x="1433" y="160"/>
                  </a:cubicBezTo>
                  <a:cubicBezTo>
                    <a:pt x="1432" y="160"/>
                    <a:pt x="1431" y="160"/>
                    <a:pt x="1430" y="160"/>
                  </a:cubicBezTo>
                  <a:cubicBezTo>
                    <a:pt x="1427" y="160"/>
                    <a:pt x="1427" y="160"/>
                    <a:pt x="1427" y="160"/>
                  </a:cubicBezTo>
                  <a:cubicBezTo>
                    <a:pt x="1427" y="160"/>
                    <a:pt x="1427" y="160"/>
                    <a:pt x="1427" y="160"/>
                  </a:cubicBezTo>
                  <a:cubicBezTo>
                    <a:pt x="1426" y="160"/>
                    <a:pt x="1425" y="161"/>
                    <a:pt x="1424" y="161"/>
                  </a:cubicBezTo>
                  <a:cubicBezTo>
                    <a:pt x="1424" y="161"/>
                    <a:pt x="1424" y="161"/>
                    <a:pt x="1424" y="161"/>
                  </a:cubicBezTo>
                  <a:cubicBezTo>
                    <a:pt x="1423" y="161"/>
                    <a:pt x="1423" y="161"/>
                    <a:pt x="1422" y="162"/>
                  </a:cubicBezTo>
                  <a:cubicBezTo>
                    <a:pt x="1419" y="162"/>
                    <a:pt x="1416" y="164"/>
                    <a:pt x="1412" y="165"/>
                  </a:cubicBezTo>
                  <a:cubicBezTo>
                    <a:pt x="1411" y="166"/>
                    <a:pt x="1411" y="166"/>
                    <a:pt x="1411" y="166"/>
                  </a:cubicBezTo>
                  <a:cubicBezTo>
                    <a:pt x="1411" y="166"/>
                    <a:pt x="1410" y="166"/>
                    <a:pt x="1409" y="166"/>
                  </a:cubicBezTo>
                  <a:cubicBezTo>
                    <a:pt x="1406" y="168"/>
                    <a:pt x="1406" y="168"/>
                    <a:pt x="1406" y="168"/>
                  </a:cubicBezTo>
                  <a:cubicBezTo>
                    <a:pt x="1403" y="169"/>
                    <a:pt x="1401" y="169"/>
                    <a:pt x="1397" y="169"/>
                  </a:cubicBezTo>
                  <a:cubicBezTo>
                    <a:pt x="1396" y="169"/>
                    <a:pt x="1394" y="170"/>
                    <a:pt x="1393" y="171"/>
                  </a:cubicBezTo>
                  <a:cubicBezTo>
                    <a:pt x="1390" y="172"/>
                    <a:pt x="1389" y="173"/>
                    <a:pt x="1388" y="174"/>
                  </a:cubicBezTo>
                  <a:cubicBezTo>
                    <a:pt x="1387" y="175"/>
                    <a:pt x="1387" y="176"/>
                    <a:pt x="1387" y="176"/>
                  </a:cubicBezTo>
                  <a:cubicBezTo>
                    <a:pt x="1386" y="178"/>
                    <a:pt x="1385" y="180"/>
                    <a:pt x="1381" y="181"/>
                  </a:cubicBezTo>
                  <a:cubicBezTo>
                    <a:pt x="1375" y="181"/>
                    <a:pt x="1370" y="182"/>
                    <a:pt x="1365" y="182"/>
                  </a:cubicBezTo>
                  <a:cubicBezTo>
                    <a:pt x="1363" y="182"/>
                    <a:pt x="1360" y="182"/>
                    <a:pt x="1358" y="181"/>
                  </a:cubicBezTo>
                  <a:cubicBezTo>
                    <a:pt x="1355" y="181"/>
                    <a:pt x="1351" y="182"/>
                    <a:pt x="1348" y="181"/>
                  </a:cubicBezTo>
                  <a:cubicBezTo>
                    <a:pt x="1346" y="181"/>
                    <a:pt x="1345" y="180"/>
                    <a:pt x="1344" y="180"/>
                  </a:cubicBezTo>
                  <a:cubicBezTo>
                    <a:pt x="1344" y="179"/>
                    <a:pt x="1344" y="179"/>
                    <a:pt x="1344" y="179"/>
                  </a:cubicBezTo>
                  <a:cubicBezTo>
                    <a:pt x="1343" y="177"/>
                    <a:pt x="1343" y="177"/>
                    <a:pt x="1343" y="177"/>
                  </a:cubicBezTo>
                  <a:cubicBezTo>
                    <a:pt x="1343" y="177"/>
                    <a:pt x="1343" y="177"/>
                    <a:pt x="1343" y="177"/>
                  </a:cubicBezTo>
                  <a:cubicBezTo>
                    <a:pt x="1343" y="176"/>
                    <a:pt x="1343" y="176"/>
                    <a:pt x="1343" y="175"/>
                  </a:cubicBezTo>
                  <a:cubicBezTo>
                    <a:pt x="1342" y="174"/>
                    <a:pt x="1342" y="174"/>
                    <a:pt x="1342" y="174"/>
                  </a:cubicBezTo>
                  <a:cubicBezTo>
                    <a:pt x="1341" y="173"/>
                    <a:pt x="1341" y="173"/>
                    <a:pt x="1341" y="173"/>
                  </a:cubicBezTo>
                  <a:cubicBezTo>
                    <a:pt x="1341" y="173"/>
                    <a:pt x="1341" y="173"/>
                    <a:pt x="1341" y="173"/>
                  </a:cubicBezTo>
                  <a:cubicBezTo>
                    <a:pt x="1340" y="172"/>
                    <a:pt x="1340" y="172"/>
                    <a:pt x="1340" y="172"/>
                  </a:cubicBezTo>
                  <a:cubicBezTo>
                    <a:pt x="1336" y="168"/>
                    <a:pt x="1336" y="166"/>
                    <a:pt x="1339" y="162"/>
                  </a:cubicBezTo>
                  <a:cubicBezTo>
                    <a:pt x="1339" y="161"/>
                    <a:pt x="1339" y="161"/>
                    <a:pt x="1339" y="161"/>
                  </a:cubicBezTo>
                  <a:cubicBezTo>
                    <a:pt x="1340" y="160"/>
                    <a:pt x="1340" y="160"/>
                    <a:pt x="1340" y="160"/>
                  </a:cubicBezTo>
                  <a:cubicBezTo>
                    <a:pt x="1340" y="160"/>
                    <a:pt x="1340" y="160"/>
                    <a:pt x="1340" y="160"/>
                  </a:cubicBezTo>
                  <a:cubicBezTo>
                    <a:pt x="1340" y="159"/>
                    <a:pt x="1340" y="159"/>
                    <a:pt x="1340" y="159"/>
                  </a:cubicBezTo>
                  <a:cubicBezTo>
                    <a:pt x="1340" y="158"/>
                    <a:pt x="1340" y="158"/>
                    <a:pt x="1340" y="158"/>
                  </a:cubicBezTo>
                  <a:cubicBezTo>
                    <a:pt x="1340" y="158"/>
                    <a:pt x="1339" y="157"/>
                    <a:pt x="1339" y="157"/>
                  </a:cubicBezTo>
                  <a:cubicBezTo>
                    <a:pt x="1339" y="156"/>
                    <a:pt x="1339" y="156"/>
                    <a:pt x="1339" y="156"/>
                  </a:cubicBezTo>
                  <a:cubicBezTo>
                    <a:pt x="1337" y="155"/>
                    <a:pt x="1335" y="154"/>
                    <a:pt x="1335" y="153"/>
                  </a:cubicBezTo>
                  <a:cubicBezTo>
                    <a:pt x="1334" y="152"/>
                    <a:pt x="1334" y="151"/>
                    <a:pt x="1334" y="150"/>
                  </a:cubicBezTo>
                  <a:cubicBezTo>
                    <a:pt x="1334" y="149"/>
                    <a:pt x="1334" y="149"/>
                    <a:pt x="1334" y="149"/>
                  </a:cubicBezTo>
                  <a:cubicBezTo>
                    <a:pt x="1334" y="149"/>
                    <a:pt x="1334" y="148"/>
                    <a:pt x="1334" y="148"/>
                  </a:cubicBezTo>
                  <a:cubicBezTo>
                    <a:pt x="1335" y="145"/>
                    <a:pt x="1335" y="145"/>
                    <a:pt x="1335" y="145"/>
                  </a:cubicBezTo>
                  <a:cubicBezTo>
                    <a:pt x="1333" y="145"/>
                    <a:pt x="1333" y="145"/>
                    <a:pt x="1333" y="145"/>
                  </a:cubicBezTo>
                  <a:cubicBezTo>
                    <a:pt x="1332" y="146"/>
                    <a:pt x="1332" y="146"/>
                    <a:pt x="1332" y="146"/>
                  </a:cubicBezTo>
                  <a:cubicBezTo>
                    <a:pt x="1331" y="146"/>
                    <a:pt x="1331" y="146"/>
                    <a:pt x="1331" y="146"/>
                  </a:cubicBezTo>
                  <a:cubicBezTo>
                    <a:pt x="1331" y="146"/>
                    <a:pt x="1331" y="146"/>
                    <a:pt x="1331" y="146"/>
                  </a:cubicBezTo>
                  <a:cubicBezTo>
                    <a:pt x="1330" y="146"/>
                    <a:pt x="1330" y="146"/>
                    <a:pt x="1330" y="146"/>
                  </a:cubicBezTo>
                  <a:cubicBezTo>
                    <a:pt x="1329" y="146"/>
                    <a:pt x="1329" y="146"/>
                    <a:pt x="1329" y="146"/>
                  </a:cubicBezTo>
                  <a:cubicBezTo>
                    <a:pt x="1327" y="145"/>
                    <a:pt x="1327" y="145"/>
                    <a:pt x="1327" y="145"/>
                  </a:cubicBezTo>
                  <a:cubicBezTo>
                    <a:pt x="1310" y="129"/>
                    <a:pt x="1310" y="129"/>
                    <a:pt x="1310" y="129"/>
                  </a:cubicBezTo>
                  <a:cubicBezTo>
                    <a:pt x="1308" y="130"/>
                    <a:pt x="1308" y="130"/>
                    <a:pt x="1308" y="130"/>
                  </a:cubicBezTo>
                  <a:cubicBezTo>
                    <a:pt x="1308" y="130"/>
                    <a:pt x="1307" y="130"/>
                    <a:pt x="1307" y="130"/>
                  </a:cubicBezTo>
                  <a:cubicBezTo>
                    <a:pt x="1306" y="131"/>
                    <a:pt x="1306" y="131"/>
                    <a:pt x="1306" y="131"/>
                  </a:cubicBezTo>
                  <a:cubicBezTo>
                    <a:pt x="1297" y="127"/>
                    <a:pt x="1297" y="127"/>
                    <a:pt x="1297" y="127"/>
                  </a:cubicBezTo>
                  <a:cubicBezTo>
                    <a:pt x="1296" y="127"/>
                    <a:pt x="1295" y="127"/>
                    <a:pt x="1295" y="126"/>
                  </a:cubicBezTo>
                  <a:cubicBezTo>
                    <a:pt x="1294" y="126"/>
                    <a:pt x="1294" y="126"/>
                    <a:pt x="1294" y="126"/>
                  </a:cubicBezTo>
                  <a:cubicBezTo>
                    <a:pt x="1292" y="125"/>
                    <a:pt x="1290" y="124"/>
                    <a:pt x="1288" y="124"/>
                  </a:cubicBezTo>
                  <a:cubicBezTo>
                    <a:pt x="1288" y="124"/>
                    <a:pt x="1288" y="124"/>
                    <a:pt x="1288" y="124"/>
                  </a:cubicBezTo>
                  <a:cubicBezTo>
                    <a:pt x="1277" y="124"/>
                    <a:pt x="1277" y="124"/>
                    <a:pt x="1277" y="124"/>
                  </a:cubicBezTo>
                  <a:cubicBezTo>
                    <a:pt x="1273" y="124"/>
                    <a:pt x="1271" y="124"/>
                    <a:pt x="1269" y="121"/>
                  </a:cubicBezTo>
                  <a:cubicBezTo>
                    <a:pt x="1267" y="118"/>
                    <a:pt x="1267" y="118"/>
                    <a:pt x="1267" y="118"/>
                  </a:cubicBezTo>
                  <a:cubicBezTo>
                    <a:pt x="1264" y="113"/>
                    <a:pt x="1264" y="113"/>
                    <a:pt x="1264" y="113"/>
                  </a:cubicBezTo>
                  <a:cubicBezTo>
                    <a:pt x="1263" y="111"/>
                    <a:pt x="1262" y="109"/>
                    <a:pt x="1263" y="107"/>
                  </a:cubicBezTo>
                  <a:cubicBezTo>
                    <a:pt x="1263" y="105"/>
                    <a:pt x="1263" y="105"/>
                    <a:pt x="1263" y="105"/>
                  </a:cubicBezTo>
                  <a:cubicBezTo>
                    <a:pt x="1263" y="105"/>
                    <a:pt x="1263" y="104"/>
                    <a:pt x="1264" y="104"/>
                  </a:cubicBezTo>
                  <a:cubicBezTo>
                    <a:pt x="1264" y="103"/>
                    <a:pt x="1264" y="103"/>
                    <a:pt x="1264" y="103"/>
                  </a:cubicBezTo>
                  <a:cubicBezTo>
                    <a:pt x="1264" y="102"/>
                    <a:pt x="1264" y="102"/>
                    <a:pt x="1264" y="102"/>
                  </a:cubicBezTo>
                  <a:cubicBezTo>
                    <a:pt x="1264" y="102"/>
                    <a:pt x="1263" y="102"/>
                    <a:pt x="1263" y="101"/>
                  </a:cubicBezTo>
                  <a:cubicBezTo>
                    <a:pt x="1262" y="100"/>
                    <a:pt x="1261" y="99"/>
                    <a:pt x="1261" y="98"/>
                  </a:cubicBezTo>
                  <a:cubicBezTo>
                    <a:pt x="1254" y="82"/>
                    <a:pt x="1254" y="82"/>
                    <a:pt x="1254" y="82"/>
                  </a:cubicBezTo>
                  <a:cubicBezTo>
                    <a:pt x="1251" y="80"/>
                    <a:pt x="1251" y="80"/>
                    <a:pt x="1251" y="80"/>
                  </a:cubicBezTo>
                  <a:cubicBezTo>
                    <a:pt x="1251" y="79"/>
                    <a:pt x="1251" y="79"/>
                    <a:pt x="1251" y="79"/>
                  </a:cubicBezTo>
                  <a:cubicBezTo>
                    <a:pt x="1250" y="71"/>
                    <a:pt x="1250" y="71"/>
                    <a:pt x="1250" y="71"/>
                  </a:cubicBezTo>
                  <a:cubicBezTo>
                    <a:pt x="1250" y="72"/>
                    <a:pt x="1250" y="72"/>
                    <a:pt x="1250" y="72"/>
                  </a:cubicBezTo>
                  <a:cubicBezTo>
                    <a:pt x="1249" y="72"/>
                    <a:pt x="1247" y="71"/>
                    <a:pt x="1246" y="69"/>
                  </a:cubicBezTo>
                  <a:cubicBezTo>
                    <a:pt x="1246" y="68"/>
                    <a:pt x="1246" y="68"/>
                    <a:pt x="1246" y="68"/>
                  </a:cubicBezTo>
                  <a:cubicBezTo>
                    <a:pt x="1246" y="67"/>
                    <a:pt x="1246" y="67"/>
                    <a:pt x="1246" y="67"/>
                  </a:cubicBezTo>
                  <a:cubicBezTo>
                    <a:pt x="1245" y="64"/>
                    <a:pt x="1245" y="64"/>
                    <a:pt x="1245" y="64"/>
                  </a:cubicBezTo>
                  <a:cubicBezTo>
                    <a:pt x="1242" y="59"/>
                    <a:pt x="1240" y="55"/>
                    <a:pt x="1239" y="51"/>
                  </a:cubicBezTo>
                  <a:cubicBezTo>
                    <a:pt x="1238" y="49"/>
                    <a:pt x="1238" y="49"/>
                    <a:pt x="1238" y="49"/>
                  </a:cubicBezTo>
                  <a:cubicBezTo>
                    <a:pt x="1237" y="47"/>
                    <a:pt x="1237" y="46"/>
                    <a:pt x="1238" y="45"/>
                  </a:cubicBezTo>
                  <a:cubicBezTo>
                    <a:pt x="1238" y="44"/>
                    <a:pt x="1238" y="44"/>
                    <a:pt x="1238" y="44"/>
                  </a:cubicBezTo>
                  <a:cubicBezTo>
                    <a:pt x="1238" y="44"/>
                    <a:pt x="1238" y="44"/>
                    <a:pt x="1238" y="44"/>
                  </a:cubicBezTo>
                  <a:cubicBezTo>
                    <a:pt x="1238" y="43"/>
                    <a:pt x="1238" y="43"/>
                    <a:pt x="1238" y="43"/>
                  </a:cubicBezTo>
                  <a:cubicBezTo>
                    <a:pt x="1238" y="42"/>
                    <a:pt x="1238" y="42"/>
                    <a:pt x="1238" y="42"/>
                  </a:cubicBezTo>
                  <a:cubicBezTo>
                    <a:pt x="1237" y="40"/>
                    <a:pt x="1234" y="36"/>
                    <a:pt x="1231" y="34"/>
                  </a:cubicBezTo>
                  <a:cubicBezTo>
                    <a:pt x="1231" y="34"/>
                    <a:pt x="1231" y="34"/>
                    <a:pt x="1231" y="34"/>
                  </a:cubicBezTo>
                  <a:cubicBezTo>
                    <a:pt x="1230" y="33"/>
                    <a:pt x="1229" y="32"/>
                    <a:pt x="1229" y="32"/>
                  </a:cubicBezTo>
                  <a:cubicBezTo>
                    <a:pt x="1228" y="30"/>
                    <a:pt x="1228" y="30"/>
                    <a:pt x="1228" y="30"/>
                  </a:cubicBezTo>
                  <a:cubicBezTo>
                    <a:pt x="1226" y="28"/>
                    <a:pt x="1226" y="25"/>
                    <a:pt x="1228" y="23"/>
                  </a:cubicBezTo>
                  <a:cubicBezTo>
                    <a:pt x="1228" y="23"/>
                    <a:pt x="1228" y="23"/>
                    <a:pt x="1228" y="23"/>
                  </a:cubicBezTo>
                  <a:cubicBezTo>
                    <a:pt x="1228" y="23"/>
                    <a:pt x="1228" y="23"/>
                    <a:pt x="1228" y="23"/>
                  </a:cubicBezTo>
                  <a:cubicBezTo>
                    <a:pt x="1227" y="22"/>
                    <a:pt x="1226" y="22"/>
                    <a:pt x="1226" y="21"/>
                  </a:cubicBezTo>
                  <a:cubicBezTo>
                    <a:pt x="1225" y="21"/>
                    <a:pt x="1225" y="21"/>
                    <a:pt x="1225" y="21"/>
                  </a:cubicBezTo>
                  <a:cubicBezTo>
                    <a:pt x="1219" y="16"/>
                    <a:pt x="1219" y="16"/>
                    <a:pt x="1219" y="16"/>
                  </a:cubicBezTo>
                  <a:cubicBezTo>
                    <a:pt x="1219" y="16"/>
                    <a:pt x="1219" y="16"/>
                    <a:pt x="1219" y="16"/>
                  </a:cubicBezTo>
                  <a:cubicBezTo>
                    <a:pt x="1218" y="16"/>
                    <a:pt x="1218" y="16"/>
                    <a:pt x="1218" y="16"/>
                  </a:cubicBezTo>
                  <a:cubicBezTo>
                    <a:pt x="1214" y="14"/>
                    <a:pt x="1214" y="14"/>
                    <a:pt x="1214" y="14"/>
                  </a:cubicBezTo>
                  <a:cubicBezTo>
                    <a:pt x="1214" y="14"/>
                    <a:pt x="1214" y="14"/>
                    <a:pt x="1213" y="14"/>
                  </a:cubicBezTo>
                  <a:cubicBezTo>
                    <a:pt x="1213" y="13"/>
                    <a:pt x="1213" y="13"/>
                    <a:pt x="1213" y="13"/>
                  </a:cubicBezTo>
                  <a:cubicBezTo>
                    <a:pt x="1212" y="13"/>
                    <a:pt x="1212" y="13"/>
                    <a:pt x="1212" y="13"/>
                  </a:cubicBezTo>
                  <a:cubicBezTo>
                    <a:pt x="1211" y="12"/>
                    <a:pt x="1211" y="12"/>
                    <a:pt x="1211" y="12"/>
                  </a:cubicBezTo>
                  <a:cubicBezTo>
                    <a:pt x="1210" y="12"/>
                    <a:pt x="1210" y="12"/>
                    <a:pt x="1210" y="12"/>
                  </a:cubicBezTo>
                  <a:cubicBezTo>
                    <a:pt x="1210" y="12"/>
                    <a:pt x="1209" y="12"/>
                    <a:pt x="1209" y="11"/>
                  </a:cubicBezTo>
                  <a:cubicBezTo>
                    <a:pt x="1209" y="11"/>
                    <a:pt x="1209" y="11"/>
                    <a:pt x="1209" y="11"/>
                  </a:cubicBezTo>
                  <a:cubicBezTo>
                    <a:pt x="1208" y="11"/>
                    <a:pt x="1207" y="11"/>
                    <a:pt x="1206" y="12"/>
                  </a:cubicBezTo>
                  <a:cubicBezTo>
                    <a:pt x="1205" y="12"/>
                    <a:pt x="1205" y="12"/>
                    <a:pt x="1205" y="12"/>
                  </a:cubicBezTo>
                  <a:cubicBezTo>
                    <a:pt x="1205" y="12"/>
                    <a:pt x="1205" y="12"/>
                    <a:pt x="1205" y="12"/>
                  </a:cubicBezTo>
                  <a:cubicBezTo>
                    <a:pt x="1204" y="12"/>
                    <a:pt x="1203" y="12"/>
                    <a:pt x="1203" y="12"/>
                  </a:cubicBezTo>
                  <a:cubicBezTo>
                    <a:pt x="1198" y="11"/>
                    <a:pt x="1198" y="11"/>
                    <a:pt x="1198" y="11"/>
                  </a:cubicBezTo>
                  <a:cubicBezTo>
                    <a:pt x="1197" y="11"/>
                    <a:pt x="1197" y="11"/>
                    <a:pt x="1196" y="11"/>
                  </a:cubicBezTo>
                  <a:cubicBezTo>
                    <a:pt x="1196" y="11"/>
                    <a:pt x="1196" y="11"/>
                    <a:pt x="1196" y="11"/>
                  </a:cubicBezTo>
                  <a:cubicBezTo>
                    <a:pt x="1184" y="5"/>
                    <a:pt x="1184" y="5"/>
                    <a:pt x="1184" y="5"/>
                  </a:cubicBezTo>
                  <a:cubicBezTo>
                    <a:pt x="1181" y="4"/>
                    <a:pt x="1178" y="2"/>
                    <a:pt x="1175" y="1"/>
                  </a:cubicBezTo>
                  <a:cubicBezTo>
                    <a:pt x="1172" y="0"/>
                    <a:pt x="1172" y="0"/>
                    <a:pt x="1172" y="0"/>
                  </a:cubicBezTo>
                  <a:cubicBezTo>
                    <a:pt x="1171" y="0"/>
                    <a:pt x="1171" y="0"/>
                    <a:pt x="1171" y="0"/>
                  </a:cubicBezTo>
                  <a:cubicBezTo>
                    <a:pt x="1169" y="0"/>
                    <a:pt x="1169" y="0"/>
                    <a:pt x="1169" y="0"/>
                  </a:cubicBezTo>
                  <a:cubicBezTo>
                    <a:pt x="1166" y="0"/>
                    <a:pt x="1166" y="0"/>
                    <a:pt x="11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8" name="Freeform 1524"/>
            <p:cNvSpPr/>
            <p:nvPr/>
          </p:nvSpPr>
          <p:spPr bwMode="auto">
            <a:xfrm>
              <a:off x="1973233" y="2656486"/>
              <a:ext cx="681907" cy="577205"/>
            </a:xfrm>
            <a:custGeom>
              <a:gdLst>
                <a:gd name="T0" fmla="*/ 168 w 215"/>
                <a:gd name="T1" fmla="*/ 9 h 182"/>
                <a:gd name="T2" fmla="*/ 158 w 215"/>
                <a:gd name="T3" fmla="*/ 6 h 182"/>
                <a:gd name="T4" fmla="*/ 145 w 215"/>
                <a:gd name="T5" fmla="*/ 10 h 182"/>
                <a:gd name="T6" fmla="*/ 124 w 215"/>
                <a:gd name="T7" fmla="*/ 20 h 182"/>
                <a:gd name="T8" fmla="*/ 119 w 215"/>
                <a:gd name="T9" fmla="*/ 27 h 182"/>
                <a:gd name="T10" fmla="*/ 114 w 215"/>
                <a:gd name="T11" fmla="*/ 30 h 182"/>
                <a:gd name="T12" fmla="*/ 111 w 215"/>
                <a:gd name="T13" fmla="*/ 36 h 182"/>
                <a:gd name="T14" fmla="*/ 88 w 215"/>
                <a:gd name="T15" fmla="*/ 42 h 182"/>
                <a:gd name="T16" fmla="*/ 86 w 215"/>
                <a:gd name="T17" fmla="*/ 44 h 182"/>
                <a:gd name="T18" fmla="*/ 95 w 215"/>
                <a:gd name="T19" fmla="*/ 56 h 182"/>
                <a:gd name="T20" fmla="*/ 89 w 215"/>
                <a:gd name="T21" fmla="*/ 67 h 182"/>
                <a:gd name="T22" fmla="*/ 87 w 215"/>
                <a:gd name="T23" fmla="*/ 66 h 182"/>
                <a:gd name="T24" fmla="*/ 72 w 215"/>
                <a:gd name="T25" fmla="*/ 67 h 182"/>
                <a:gd name="T26" fmla="*/ 61 w 215"/>
                <a:gd name="T27" fmla="*/ 67 h 182"/>
                <a:gd name="T28" fmla="*/ 50 w 215"/>
                <a:gd name="T29" fmla="*/ 66 h 182"/>
                <a:gd name="T30" fmla="*/ 34 w 215"/>
                <a:gd name="T31" fmla="*/ 68 h 182"/>
                <a:gd name="T32" fmla="*/ 24 w 215"/>
                <a:gd name="T33" fmla="*/ 66 h 182"/>
                <a:gd name="T34" fmla="*/ 10 w 215"/>
                <a:gd name="T35" fmla="*/ 56 h 182"/>
                <a:gd name="T36" fmla="*/ 14 w 215"/>
                <a:gd name="T37" fmla="*/ 49 h 182"/>
                <a:gd name="T38" fmla="*/ 15 w 215"/>
                <a:gd name="T39" fmla="*/ 38 h 182"/>
                <a:gd name="T40" fmla="*/ 12 w 215"/>
                <a:gd name="T41" fmla="*/ 34 h 182"/>
                <a:gd name="T42" fmla="*/ 1 w 215"/>
                <a:gd name="T43" fmla="*/ 56 h 182"/>
                <a:gd name="T44" fmla="*/ 5 w 215"/>
                <a:gd name="T45" fmla="*/ 64 h 182"/>
                <a:gd name="T46" fmla="*/ 14 w 215"/>
                <a:gd name="T47" fmla="*/ 72 h 182"/>
                <a:gd name="T48" fmla="*/ 23 w 215"/>
                <a:gd name="T49" fmla="*/ 72 h 182"/>
                <a:gd name="T50" fmla="*/ 31 w 215"/>
                <a:gd name="T51" fmla="*/ 82 h 182"/>
                <a:gd name="T52" fmla="*/ 41 w 215"/>
                <a:gd name="T53" fmla="*/ 82 h 182"/>
                <a:gd name="T54" fmla="*/ 43 w 215"/>
                <a:gd name="T55" fmla="*/ 99 h 182"/>
                <a:gd name="T56" fmla="*/ 53 w 215"/>
                <a:gd name="T57" fmla="*/ 102 h 182"/>
                <a:gd name="T58" fmla="*/ 61 w 215"/>
                <a:gd name="T59" fmla="*/ 102 h 182"/>
                <a:gd name="T60" fmla="*/ 72 w 215"/>
                <a:gd name="T61" fmla="*/ 102 h 182"/>
                <a:gd name="T62" fmla="*/ 92 w 215"/>
                <a:gd name="T63" fmla="*/ 102 h 182"/>
                <a:gd name="T64" fmla="*/ 105 w 215"/>
                <a:gd name="T65" fmla="*/ 110 h 182"/>
                <a:gd name="T66" fmla="*/ 97 w 215"/>
                <a:gd name="T67" fmla="*/ 124 h 182"/>
                <a:gd name="T68" fmla="*/ 93 w 215"/>
                <a:gd name="T69" fmla="*/ 127 h 182"/>
                <a:gd name="T70" fmla="*/ 85 w 215"/>
                <a:gd name="T71" fmla="*/ 132 h 182"/>
                <a:gd name="T72" fmla="*/ 75 w 215"/>
                <a:gd name="T73" fmla="*/ 142 h 182"/>
                <a:gd name="T74" fmla="*/ 80 w 215"/>
                <a:gd name="T75" fmla="*/ 151 h 182"/>
                <a:gd name="T76" fmla="*/ 86 w 215"/>
                <a:gd name="T77" fmla="*/ 150 h 182"/>
                <a:gd name="T78" fmla="*/ 98 w 215"/>
                <a:gd name="T79" fmla="*/ 138 h 182"/>
                <a:gd name="T80" fmla="*/ 110 w 215"/>
                <a:gd name="T81" fmla="*/ 156 h 182"/>
                <a:gd name="T82" fmla="*/ 109 w 215"/>
                <a:gd name="T83" fmla="*/ 182 h 182"/>
                <a:gd name="T84" fmla="*/ 116 w 215"/>
                <a:gd name="T85" fmla="*/ 157 h 182"/>
                <a:gd name="T86" fmla="*/ 123 w 215"/>
                <a:gd name="T87" fmla="*/ 131 h 182"/>
                <a:gd name="T88" fmla="*/ 160 w 215"/>
                <a:gd name="T89" fmla="*/ 89 h 182"/>
                <a:gd name="T90" fmla="*/ 175 w 215"/>
                <a:gd name="T91" fmla="*/ 60 h 182"/>
                <a:gd name="T92" fmla="*/ 205 w 215"/>
                <a:gd name="T93" fmla="*/ 47 h 182"/>
                <a:gd name="T94" fmla="*/ 214 w 215"/>
                <a:gd name="T95" fmla="*/ 30 h 182"/>
                <a:gd name="T96" fmla="*/ 207 w 215"/>
                <a:gd name="T97" fmla="*/ 27 h 182"/>
                <a:gd name="T98" fmla="*/ 197 w 215"/>
                <a:gd name="T99" fmla="*/ 27 h 182"/>
                <a:gd name="T100" fmla="*/ 191 w 215"/>
                <a:gd name="T101" fmla="*/ 21 h 182"/>
                <a:gd name="T102" fmla="*/ 197 w 215"/>
                <a:gd name="T103" fmla="*/ 13 h 182"/>
                <a:gd name="T104" fmla="*/ 187 w 215"/>
                <a:gd name="T105" fmla="*/ 17 h 182"/>
                <a:gd name="T106" fmla="*/ 189 w 215"/>
                <a:gd name="T107" fmla="*/ 3 h 18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5" h="182">
                  <a:moveTo>
                    <a:pt x="187" y="0"/>
                  </a:moveTo>
                  <a:cubicBezTo>
                    <a:pt x="186" y="0"/>
                    <a:pt x="183" y="2"/>
                    <a:pt x="177" y="7"/>
                  </a:cubicBezTo>
                  <a:cubicBezTo>
                    <a:pt x="176" y="8"/>
                    <a:pt x="176" y="8"/>
                    <a:pt x="176" y="8"/>
                  </a:cubicBezTo>
                  <a:cubicBezTo>
                    <a:pt x="175" y="8"/>
                    <a:pt x="175" y="9"/>
                    <a:pt x="174" y="9"/>
                  </a:cubicBezTo>
                  <a:cubicBezTo>
                    <a:pt x="173" y="10"/>
                    <a:pt x="172" y="10"/>
                    <a:pt x="171" y="10"/>
                  </a:cubicBezTo>
                  <a:cubicBezTo>
                    <a:pt x="170" y="10"/>
                    <a:pt x="169" y="10"/>
                    <a:pt x="168" y="9"/>
                  </a:cubicBezTo>
                  <a:cubicBezTo>
                    <a:pt x="167" y="9"/>
                    <a:pt x="166" y="9"/>
                    <a:pt x="165" y="8"/>
                  </a:cubicBezTo>
                  <a:cubicBezTo>
                    <a:pt x="165" y="8"/>
                    <a:pt x="165" y="8"/>
                    <a:pt x="165" y="8"/>
                  </a:cubicBezTo>
                  <a:cubicBezTo>
                    <a:pt x="164" y="8"/>
                    <a:pt x="164" y="7"/>
                    <a:pt x="163" y="7"/>
                  </a:cubicBezTo>
                  <a:cubicBezTo>
                    <a:pt x="162" y="7"/>
                    <a:pt x="162" y="7"/>
                    <a:pt x="162" y="7"/>
                  </a:cubicBezTo>
                  <a:cubicBezTo>
                    <a:pt x="161" y="7"/>
                    <a:pt x="161" y="7"/>
                    <a:pt x="161" y="7"/>
                  </a:cubicBezTo>
                  <a:cubicBezTo>
                    <a:pt x="160" y="7"/>
                    <a:pt x="159" y="7"/>
                    <a:pt x="158" y="6"/>
                  </a:cubicBezTo>
                  <a:cubicBezTo>
                    <a:pt x="157" y="6"/>
                    <a:pt x="156" y="5"/>
                    <a:pt x="155" y="4"/>
                  </a:cubicBezTo>
                  <a:cubicBezTo>
                    <a:pt x="155" y="4"/>
                    <a:pt x="155" y="4"/>
                    <a:pt x="155" y="4"/>
                  </a:cubicBezTo>
                  <a:cubicBezTo>
                    <a:pt x="154" y="3"/>
                    <a:pt x="154" y="3"/>
                    <a:pt x="154" y="3"/>
                  </a:cubicBezTo>
                  <a:cubicBezTo>
                    <a:pt x="154" y="3"/>
                    <a:pt x="153" y="4"/>
                    <a:pt x="153" y="4"/>
                  </a:cubicBezTo>
                  <a:cubicBezTo>
                    <a:pt x="152" y="5"/>
                    <a:pt x="151" y="5"/>
                    <a:pt x="150" y="6"/>
                  </a:cubicBezTo>
                  <a:cubicBezTo>
                    <a:pt x="148" y="7"/>
                    <a:pt x="147" y="8"/>
                    <a:pt x="145" y="10"/>
                  </a:cubicBezTo>
                  <a:cubicBezTo>
                    <a:pt x="145" y="10"/>
                    <a:pt x="145" y="10"/>
                    <a:pt x="145" y="10"/>
                  </a:cubicBezTo>
                  <a:cubicBezTo>
                    <a:pt x="144" y="10"/>
                    <a:pt x="144" y="11"/>
                    <a:pt x="143" y="11"/>
                  </a:cubicBezTo>
                  <a:cubicBezTo>
                    <a:pt x="141" y="13"/>
                    <a:pt x="140" y="16"/>
                    <a:pt x="137" y="16"/>
                  </a:cubicBezTo>
                  <a:cubicBezTo>
                    <a:pt x="133" y="18"/>
                    <a:pt x="133" y="18"/>
                    <a:pt x="133" y="18"/>
                  </a:cubicBezTo>
                  <a:cubicBezTo>
                    <a:pt x="131" y="18"/>
                    <a:pt x="128" y="19"/>
                    <a:pt x="126" y="19"/>
                  </a:cubicBezTo>
                  <a:cubicBezTo>
                    <a:pt x="125" y="20"/>
                    <a:pt x="125" y="20"/>
                    <a:pt x="124" y="20"/>
                  </a:cubicBezTo>
                  <a:cubicBezTo>
                    <a:pt x="124" y="20"/>
                    <a:pt x="123" y="20"/>
                    <a:pt x="123" y="20"/>
                  </a:cubicBezTo>
                  <a:cubicBezTo>
                    <a:pt x="123" y="20"/>
                    <a:pt x="123" y="21"/>
                    <a:pt x="122" y="22"/>
                  </a:cubicBezTo>
                  <a:cubicBezTo>
                    <a:pt x="121" y="24"/>
                    <a:pt x="121" y="24"/>
                    <a:pt x="121" y="24"/>
                  </a:cubicBezTo>
                  <a:cubicBezTo>
                    <a:pt x="121" y="24"/>
                    <a:pt x="121" y="25"/>
                    <a:pt x="120" y="25"/>
                  </a:cubicBezTo>
                  <a:cubicBezTo>
                    <a:pt x="120" y="26"/>
                    <a:pt x="120" y="26"/>
                    <a:pt x="119" y="27"/>
                  </a:cubicBezTo>
                  <a:cubicBezTo>
                    <a:pt x="119" y="27"/>
                    <a:pt x="119" y="27"/>
                    <a:pt x="119" y="27"/>
                  </a:cubicBezTo>
                  <a:cubicBezTo>
                    <a:pt x="118" y="28"/>
                    <a:pt x="118" y="28"/>
                    <a:pt x="118" y="28"/>
                  </a:cubicBezTo>
                  <a:cubicBezTo>
                    <a:pt x="118" y="27"/>
                    <a:pt x="118" y="27"/>
                    <a:pt x="118" y="27"/>
                  </a:cubicBezTo>
                  <a:cubicBezTo>
                    <a:pt x="118" y="28"/>
                    <a:pt x="118" y="28"/>
                    <a:pt x="118" y="28"/>
                  </a:cubicBezTo>
                  <a:cubicBezTo>
                    <a:pt x="117" y="28"/>
                    <a:pt x="117" y="28"/>
                    <a:pt x="117" y="28"/>
                  </a:cubicBezTo>
                  <a:cubicBezTo>
                    <a:pt x="116" y="29"/>
                    <a:pt x="116" y="29"/>
                    <a:pt x="115" y="29"/>
                  </a:cubicBezTo>
                  <a:cubicBezTo>
                    <a:pt x="114" y="30"/>
                    <a:pt x="114" y="30"/>
                    <a:pt x="114" y="30"/>
                  </a:cubicBezTo>
                  <a:cubicBezTo>
                    <a:pt x="113" y="30"/>
                    <a:pt x="112" y="30"/>
                    <a:pt x="112" y="31"/>
                  </a:cubicBezTo>
                  <a:cubicBezTo>
                    <a:pt x="111" y="31"/>
                    <a:pt x="111" y="31"/>
                    <a:pt x="111" y="31"/>
                  </a:cubicBezTo>
                  <a:cubicBezTo>
                    <a:pt x="111" y="32"/>
                    <a:pt x="111" y="32"/>
                    <a:pt x="111" y="32"/>
                  </a:cubicBezTo>
                  <a:cubicBezTo>
                    <a:pt x="112" y="34"/>
                    <a:pt x="112" y="34"/>
                    <a:pt x="112" y="34"/>
                  </a:cubicBezTo>
                  <a:cubicBezTo>
                    <a:pt x="111" y="35"/>
                    <a:pt x="111" y="35"/>
                    <a:pt x="111" y="35"/>
                  </a:cubicBezTo>
                  <a:cubicBezTo>
                    <a:pt x="111" y="35"/>
                    <a:pt x="111" y="35"/>
                    <a:pt x="111" y="36"/>
                  </a:cubicBezTo>
                  <a:cubicBezTo>
                    <a:pt x="110" y="36"/>
                    <a:pt x="110" y="36"/>
                    <a:pt x="110" y="36"/>
                  </a:cubicBezTo>
                  <a:cubicBezTo>
                    <a:pt x="110" y="37"/>
                    <a:pt x="107" y="39"/>
                    <a:pt x="105" y="40"/>
                  </a:cubicBezTo>
                  <a:cubicBezTo>
                    <a:pt x="105" y="40"/>
                    <a:pt x="105" y="40"/>
                    <a:pt x="105" y="40"/>
                  </a:cubicBezTo>
                  <a:cubicBezTo>
                    <a:pt x="104" y="41"/>
                    <a:pt x="103" y="41"/>
                    <a:pt x="102" y="41"/>
                  </a:cubicBezTo>
                  <a:cubicBezTo>
                    <a:pt x="90" y="42"/>
                    <a:pt x="90" y="42"/>
                    <a:pt x="90" y="42"/>
                  </a:cubicBezTo>
                  <a:cubicBezTo>
                    <a:pt x="89" y="42"/>
                    <a:pt x="89" y="42"/>
                    <a:pt x="88" y="42"/>
                  </a:cubicBezTo>
                  <a:cubicBezTo>
                    <a:pt x="87" y="42"/>
                    <a:pt x="86" y="42"/>
                    <a:pt x="86" y="42"/>
                  </a:cubicBezTo>
                  <a:cubicBezTo>
                    <a:pt x="86" y="42"/>
                    <a:pt x="86" y="42"/>
                    <a:pt x="86" y="42"/>
                  </a:cubicBezTo>
                  <a:cubicBezTo>
                    <a:pt x="85" y="43"/>
                    <a:pt x="85" y="43"/>
                    <a:pt x="85" y="43"/>
                  </a:cubicBezTo>
                  <a:cubicBezTo>
                    <a:pt x="85" y="43"/>
                    <a:pt x="85" y="43"/>
                    <a:pt x="85" y="43"/>
                  </a:cubicBezTo>
                  <a:cubicBezTo>
                    <a:pt x="85" y="44"/>
                    <a:pt x="85" y="44"/>
                    <a:pt x="85" y="44"/>
                  </a:cubicBezTo>
                  <a:cubicBezTo>
                    <a:pt x="86" y="44"/>
                    <a:pt x="86" y="44"/>
                    <a:pt x="86" y="44"/>
                  </a:cubicBezTo>
                  <a:cubicBezTo>
                    <a:pt x="86" y="44"/>
                    <a:pt x="87" y="45"/>
                    <a:pt x="87" y="45"/>
                  </a:cubicBezTo>
                  <a:cubicBezTo>
                    <a:pt x="88" y="45"/>
                    <a:pt x="89" y="45"/>
                    <a:pt x="90" y="45"/>
                  </a:cubicBezTo>
                  <a:cubicBezTo>
                    <a:pt x="92" y="46"/>
                    <a:pt x="93" y="46"/>
                    <a:pt x="94" y="47"/>
                  </a:cubicBezTo>
                  <a:cubicBezTo>
                    <a:pt x="95" y="48"/>
                    <a:pt x="96" y="49"/>
                    <a:pt x="96" y="50"/>
                  </a:cubicBezTo>
                  <a:cubicBezTo>
                    <a:pt x="97" y="53"/>
                    <a:pt x="96" y="55"/>
                    <a:pt x="95" y="55"/>
                  </a:cubicBezTo>
                  <a:cubicBezTo>
                    <a:pt x="95" y="56"/>
                    <a:pt x="95" y="56"/>
                    <a:pt x="95" y="56"/>
                  </a:cubicBezTo>
                  <a:cubicBezTo>
                    <a:pt x="95" y="56"/>
                    <a:pt x="95" y="56"/>
                    <a:pt x="96" y="57"/>
                  </a:cubicBezTo>
                  <a:cubicBezTo>
                    <a:pt x="96" y="57"/>
                    <a:pt x="96" y="57"/>
                    <a:pt x="96" y="57"/>
                  </a:cubicBezTo>
                  <a:cubicBezTo>
                    <a:pt x="98" y="60"/>
                    <a:pt x="97" y="62"/>
                    <a:pt x="95" y="65"/>
                  </a:cubicBezTo>
                  <a:cubicBezTo>
                    <a:pt x="94" y="66"/>
                    <a:pt x="93" y="66"/>
                    <a:pt x="92" y="66"/>
                  </a:cubicBezTo>
                  <a:cubicBezTo>
                    <a:pt x="91" y="67"/>
                    <a:pt x="91" y="67"/>
                    <a:pt x="91" y="67"/>
                  </a:cubicBezTo>
                  <a:cubicBezTo>
                    <a:pt x="89" y="67"/>
                    <a:pt x="89" y="67"/>
                    <a:pt x="89" y="67"/>
                  </a:cubicBezTo>
                  <a:cubicBezTo>
                    <a:pt x="89" y="67"/>
                    <a:pt x="89" y="67"/>
                    <a:pt x="89" y="67"/>
                  </a:cubicBezTo>
                  <a:cubicBezTo>
                    <a:pt x="89" y="67"/>
                    <a:pt x="88" y="67"/>
                    <a:pt x="88" y="67"/>
                  </a:cubicBezTo>
                  <a:cubicBezTo>
                    <a:pt x="87" y="66"/>
                    <a:pt x="87" y="66"/>
                    <a:pt x="87" y="66"/>
                  </a:cubicBezTo>
                  <a:cubicBezTo>
                    <a:pt x="87" y="66"/>
                    <a:pt x="87" y="66"/>
                    <a:pt x="87" y="66"/>
                  </a:cubicBezTo>
                  <a:cubicBezTo>
                    <a:pt x="87" y="66"/>
                    <a:pt x="87" y="66"/>
                    <a:pt x="87" y="66"/>
                  </a:cubicBezTo>
                  <a:cubicBezTo>
                    <a:pt x="87" y="66"/>
                    <a:pt x="87" y="66"/>
                    <a:pt x="87" y="66"/>
                  </a:cubicBezTo>
                  <a:cubicBezTo>
                    <a:pt x="85" y="66"/>
                    <a:pt x="84" y="67"/>
                    <a:pt x="83" y="67"/>
                  </a:cubicBezTo>
                  <a:cubicBezTo>
                    <a:pt x="82" y="67"/>
                    <a:pt x="82" y="67"/>
                    <a:pt x="82" y="67"/>
                  </a:cubicBezTo>
                  <a:cubicBezTo>
                    <a:pt x="81" y="67"/>
                    <a:pt x="81" y="67"/>
                    <a:pt x="81" y="67"/>
                  </a:cubicBezTo>
                  <a:cubicBezTo>
                    <a:pt x="80" y="67"/>
                    <a:pt x="80" y="67"/>
                    <a:pt x="79" y="67"/>
                  </a:cubicBezTo>
                  <a:cubicBezTo>
                    <a:pt x="78" y="67"/>
                    <a:pt x="78" y="67"/>
                    <a:pt x="78" y="67"/>
                  </a:cubicBezTo>
                  <a:cubicBezTo>
                    <a:pt x="76" y="67"/>
                    <a:pt x="74" y="67"/>
                    <a:pt x="72" y="67"/>
                  </a:cubicBezTo>
                  <a:cubicBezTo>
                    <a:pt x="72" y="67"/>
                    <a:pt x="72" y="67"/>
                    <a:pt x="72" y="67"/>
                  </a:cubicBezTo>
                  <a:cubicBezTo>
                    <a:pt x="69" y="67"/>
                    <a:pt x="68" y="67"/>
                    <a:pt x="66" y="67"/>
                  </a:cubicBezTo>
                  <a:cubicBezTo>
                    <a:pt x="65" y="67"/>
                    <a:pt x="65" y="67"/>
                    <a:pt x="65" y="67"/>
                  </a:cubicBezTo>
                  <a:cubicBezTo>
                    <a:pt x="64" y="67"/>
                    <a:pt x="64" y="67"/>
                    <a:pt x="63" y="67"/>
                  </a:cubicBezTo>
                  <a:cubicBezTo>
                    <a:pt x="62" y="67"/>
                    <a:pt x="62" y="67"/>
                    <a:pt x="62" y="67"/>
                  </a:cubicBezTo>
                  <a:cubicBezTo>
                    <a:pt x="62" y="67"/>
                    <a:pt x="61" y="67"/>
                    <a:pt x="61" y="67"/>
                  </a:cubicBezTo>
                  <a:cubicBezTo>
                    <a:pt x="60" y="67"/>
                    <a:pt x="58" y="67"/>
                    <a:pt x="57" y="66"/>
                  </a:cubicBezTo>
                  <a:cubicBezTo>
                    <a:pt x="56" y="66"/>
                    <a:pt x="56" y="66"/>
                    <a:pt x="56" y="66"/>
                  </a:cubicBezTo>
                  <a:cubicBezTo>
                    <a:pt x="55" y="66"/>
                    <a:pt x="54" y="65"/>
                    <a:pt x="53" y="65"/>
                  </a:cubicBezTo>
                  <a:cubicBezTo>
                    <a:pt x="53" y="65"/>
                    <a:pt x="53" y="65"/>
                    <a:pt x="53" y="65"/>
                  </a:cubicBezTo>
                  <a:cubicBezTo>
                    <a:pt x="53" y="65"/>
                    <a:pt x="52" y="65"/>
                    <a:pt x="51" y="65"/>
                  </a:cubicBezTo>
                  <a:cubicBezTo>
                    <a:pt x="50" y="66"/>
                    <a:pt x="50" y="66"/>
                    <a:pt x="50" y="66"/>
                  </a:cubicBezTo>
                  <a:cubicBezTo>
                    <a:pt x="47" y="68"/>
                    <a:pt x="44" y="69"/>
                    <a:pt x="41" y="69"/>
                  </a:cubicBezTo>
                  <a:cubicBezTo>
                    <a:pt x="40" y="69"/>
                    <a:pt x="40" y="69"/>
                    <a:pt x="40" y="69"/>
                  </a:cubicBezTo>
                  <a:cubicBezTo>
                    <a:pt x="39" y="69"/>
                    <a:pt x="38" y="69"/>
                    <a:pt x="36" y="68"/>
                  </a:cubicBezTo>
                  <a:cubicBezTo>
                    <a:pt x="36" y="68"/>
                    <a:pt x="36" y="68"/>
                    <a:pt x="36" y="68"/>
                  </a:cubicBezTo>
                  <a:cubicBezTo>
                    <a:pt x="35" y="68"/>
                    <a:pt x="35" y="68"/>
                    <a:pt x="35" y="68"/>
                  </a:cubicBezTo>
                  <a:cubicBezTo>
                    <a:pt x="34" y="68"/>
                    <a:pt x="34" y="68"/>
                    <a:pt x="34" y="68"/>
                  </a:cubicBezTo>
                  <a:cubicBezTo>
                    <a:pt x="33" y="67"/>
                    <a:pt x="33" y="67"/>
                    <a:pt x="31" y="66"/>
                  </a:cubicBezTo>
                  <a:cubicBezTo>
                    <a:pt x="31" y="66"/>
                    <a:pt x="31" y="66"/>
                    <a:pt x="30" y="66"/>
                  </a:cubicBezTo>
                  <a:cubicBezTo>
                    <a:pt x="30" y="66"/>
                    <a:pt x="29" y="66"/>
                    <a:pt x="29" y="66"/>
                  </a:cubicBezTo>
                  <a:cubicBezTo>
                    <a:pt x="29" y="66"/>
                    <a:pt x="28" y="66"/>
                    <a:pt x="28" y="66"/>
                  </a:cubicBezTo>
                  <a:cubicBezTo>
                    <a:pt x="27" y="66"/>
                    <a:pt x="27" y="66"/>
                    <a:pt x="27" y="66"/>
                  </a:cubicBezTo>
                  <a:cubicBezTo>
                    <a:pt x="26" y="66"/>
                    <a:pt x="25" y="66"/>
                    <a:pt x="24" y="66"/>
                  </a:cubicBezTo>
                  <a:cubicBezTo>
                    <a:pt x="23" y="65"/>
                    <a:pt x="22" y="65"/>
                    <a:pt x="21" y="64"/>
                  </a:cubicBezTo>
                  <a:cubicBezTo>
                    <a:pt x="19" y="64"/>
                    <a:pt x="19" y="63"/>
                    <a:pt x="18" y="62"/>
                  </a:cubicBezTo>
                  <a:cubicBezTo>
                    <a:pt x="17" y="61"/>
                    <a:pt x="17" y="61"/>
                    <a:pt x="17" y="61"/>
                  </a:cubicBezTo>
                  <a:cubicBezTo>
                    <a:pt x="17" y="60"/>
                    <a:pt x="16" y="59"/>
                    <a:pt x="15" y="58"/>
                  </a:cubicBezTo>
                  <a:cubicBezTo>
                    <a:pt x="15" y="58"/>
                    <a:pt x="15" y="58"/>
                    <a:pt x="14" y="58"/>
                  </a:cubicBezTo>
                  <a:cubicBezTo>
                    <a:pt x="10" y="56"/>
                    <a:pt x="10" y="56"/>
                    <a:pt x="10" y="56"/>
                  </a:cubicBezTo>
                  <a:cubicBezTo>
                    <a:pt x="13" y="53"/>
                    <a:pt x="13" y="53"/>
                    <a:pt x="13" y="53"/>
                  </a:cubicBezTo>
                  <a:cubicBezTo>
                    <a:pt x="14" y="53"/>
                    <a:pt x="15" y="52"/>
                    <a:pt x="15" y="51"/>
                  </a:cubicBezTo>
                  <a:cubicBezTo>
                    <a:pt x="15" y="51"/>
                    <a:pt x="15" y="51"/>
                    <a:pt x="15" y="51"/>
                  </a:cubicBezTo>
                  <a:cubicBezTo>
                    <a:pt x="15" y="51"/>
                    <a:pt x="15" y="51"/>
                    <a:pt x="15" y="51"/>
                  </a:cubicBezTo>
                  <a:cubicBezTo>
                    <a:pt x="15" y="51"/>
                    <a:pt x="15" y="51"/>
                    <a:pt x="15" y="51"/>
                  </a:cubicBezTo>
                  <a:cubicBezTo>
                    <a:pt x="14" y="49"/>
                    <a:pt x="14" y="49"/>
                    <a:pt x="14" y="49"/>
                  </a:cubicBezTo>
                  <a:cubicBezTo>
                    <a:pt x="14" y="49"/>
                    <a:pt x="14" y="48"/>
                    <a:pt x="13" y="48"/>
                  </a:cubicBezTo>
                  <a:cubicBezTo>
                    <a:pt x="13" y="47"/>
                    <a:pt x="13" y="47"/>
                    <a:pt x="13" y="47"/>
                  </a:cubicBezTo>
                  <a:cubicBezTo>
                    <a:pt x="13" y="45"/>
                    <a:pt x="14" y="43"/>
                    <a:pt x="14" y="42"/>
                  </a:cubicBezTo>
                  <a:cubicBezTo>
                    <a:pt x="15" y="40"/>
                    <a:pt x="15" y="40"/>
                    <a:pt x="15" y="40"/>
                  </a:cubicBezTo>
                  <a:cubicBezTo>
                    <a:pt x="15" y="40"/>
                    <a:pt x="15" y="39"/>
                    <a:pt x="15" y="39"/>
                  </a:cubicBezTo>
                  <a:cubicBezTo>
                    <a:pt x="15" y="38"/>
                    <a:pt x="15" y="38"/>
                    <a:pt x="15" y="38"/>
                  </a:cubicBezTo>
                  <a:cubicBezTo>
                    <a:pt x="9" y="37"/>
                    <a:pt x="9" y="37"/>
                    <a:pt x="9" y="37"/>
                  </a:cubicBezTo>
                  <a:cubicBezTo>
                    <a:pt x="15" y="36"/>
                    <a:pt x="15" y="36"/>
                    <a:pt x="15" y="36"/>
                  </a:cubicBezTo>
                  <a:cubicBezTo>
                    <a:pt x="15" y="36"/>
                    <a:pt x="15" y="36"/>
                    <a:pt x="15" y="35"/>
                  </a:cubicBezTo>
                  <a:cubicBezTo>
                    <a:pt x="15" y="35"/>
                    <a:pt x="15" y="35"/>
                    <a:pt x="15" y="35"/>
                  </a:cubicBezTo>
                  <a:cubicBezTo>
                    <a:pt x="14" y="35"/>
                    <a:pt x="14" y="35"/>
                    <a:pt x="13" y="34"/>
                  </a:cubicBezTo>
                  <a:cubicBezTo>
                    <a:pt x="13" y="34"/>
                    <a:pt x="13" y="34"/>
                    <a:pt x="12" y="34"/>
                  </a:cubicBezTo>
                  <a:cubicBezTo>
                    <a:pt x="11" y="35"/>
                    <a:pt x="11" y="35"/>
                    <a:pt x="11" y="35"/>
                  </a:cubicBezTo>
                  <a:cubicBezTo>
                    <a:pt x="9" y="35"/>
                    <a:pt x="7" y="37"/>
                    <a:pt x="6" y="38"/>
                  </a:cubicBezTo>
                  <a:cubicBezTo>
                    <a:pt x="5" y="38"/>
                    <a:pt x="4" y="39"/>
                    <a:pt x="3" y="39"/>
                  </a:cubicBezTo>
                  <a:cubicBezTo>
                    <a:pt x="2" y="43"/>
                    <a:pt x="2" y="43"/>
                    <a:pt x="2" y="43"/>
                  </a:cubicBezTo>
                  <a:cubicBezTo>
                    <a:pt x="2" y="46"/>
                    <a:pt x="1" y="49"/>
                    <a:pt x="1" y="51"/>
                  </a:cubicBezTo>
                  <a:cubicBezTo>
                    <a:pt x="0" y="53"/>
                    <a:pt x="0" y="55"/>
                    <a:pt x="1" y="56"/>
                  </a:cubicBezTo>
                  <a:cubicBezTo>
                    <a:pt x="1" y="57"/>
                    <a:pt x="1" y="57"/>
                    <a:pt x="1" y="57"/>
                  </a:cubicBezTo>
                  <a:cubicBezTo>
                    <a:pt x="2" y="58"/>
                    <a:pt x="2" y="58"/>
                    <a:pt x="2" y="58"/>
                  </a:cubicBezTo>
                  <a:cubicBezTo>
                    <a:pt x="2" y="59"/>
                    <a:pt x="2" y="59"/>
                    <a:pt x="3" y="60"/>
                  </a:cubicBezTo>
                  <a:cubicBezTo>
                    <a:pt x="3" y="61"/>
                    <a:pt x="3" y="61"/>
                    <a:pt x="3" y="61"/>
                  </a:cubicBezTo>
                  <a:cubicBezTo>
                    <a:pt x="3" y="61"/>
                    <a:pt x="4" y="62"/>
                    <a:pt x="4" y="63"/>
                  </a:cubicBezTo>
                  <a:cubicBezTo>
                    <a:pt x="4" y="63"/>
                    <a:pt x="4" y="64"/>
                    <a:pt x="5" y="64"/>
                  </a:cubicBezTo>
                  <a:cubicBezTo>
                    <a:pt x="5" y="65"/>
                    <a:pt x="5" y="66"/>
                    <a:pt x="5" y="67"/>
                  </a:cubicBezTo>
                  <a:cubicBezTo>
                    <a:pt x="4" y="67"/>
                    <a:pt x="4" y="68"/>
                    <a:pt x="4" y="69"/>
                  </a:cubicBezTo>
                  <a:cubicBezTo>
                    <a:pt x="4" y="68"/>
                    <a:pt x="4" y="68"/>
                    <a:pt x="4" y="68"/>
                  </a:cubicBezTo>
                  <a:cubicBezTo>
                    <a:pt x="5" y="68"/>
                    <a:pt x="6" y="67"/>
                    <a:pt x="7" y="67"/>
                  </a:cubicBezTo>
                  <a:cubicBezTo>
                    <a:pt x="7" y="67"/>
                    <a:pt x="8" y="67"/>
                    <a:pt x="8" y="67"/>
                  </a:cubicBezTo>
                  <a:cubicBezTo>
                    <a:pt x="10" y="68"/>
                    <a:pt x="11" y="69"/>
                    <a:pt x="14" y="72"/>
                  </a:cubicBezTo>
                  <a:cubicBezTo>
                    <a:pt x="14" y="72"/>
                    <a:pt x="14" y="73"/>
                    <a:pt x="15" y="73"/>
                  </a:cubicBezTo>
                  <a:cubicBezTo>
                    <a:pt x="15" y="74"/>
                    <a:pt x="15" y="74"/>
                    <a:pt x="15" y="74"/>
                  </a:cubicBezTo>
                  <a:cubicBezTo>
                    <a:pt x="16" y="74"/>
                    <a:pt x="16" y="74"/>
                    <a:pt x="16" y="74"/>
                  </a:cubicBezTo>
                  <a:cubicBezTo>
                    <a:pt x="17" y="71"/>
                    <a:pt x="17" y="71"/>
                    <a:pt x="17" y="71"/>
                  </a:cubicBezTo>
                  <a:cubicBezTo>
                    <a:pt x="17" y="66"/>
                    <a:pt x="17" y="66"/>
                    <a:pt x="17" y="66"/>
                  </a:cubicBezTo>
                  <a:cubicBezTo>
                    <a:pt x="23" y="72"/>
                    <a:pt x="23" y="72"/>
                    <a:pt x="23" y="72"/>
                  </a:cubicBezTo>
                  <a:cubicBezTo>
                    <a:pt x="24" y="72"/>
                    <a:pt x="25" y="73"/>
                    <a:pt x="26" y="74"/>
                  </a:cubicBezTo>
                  <a:cubicBezTo>
                    <a:pt x="26" y="75"/>
                    <a:pt x="26" y="75"/>
                    <a:pt x="27" y="76"/>
                  </a:cubicBezTo>
                  <a:cubicBezTo>
                    <a:pt x="27" y="77"/>
                    <a:pt x="27" y="77"/>
                    <a:pt x="27" y="77"/>
                  </a:cubicBezTo>
                  <a:cubicBezTo>
                    <a:pt x="29" y="80"/>
                    <a:pt x="29" y="81"/>
                    <a:pt x="30" y="81"/>
                  </a:cubicBezTo>
                  <a:cubicBezTo>
                    <a:pt x="30" y="81"/>
                    <a:pt x="30" y="81"/>
                    <a:pt x="30" y="81"/>
                  </a:cubicBezTo>
                  <a:cubicBezTo>
                    <a:pt x="31" y="82"/>
                    <a:pt x="31" y="82"/>
                    <a:pt x="31" y="82"/>
                  </a:cubicBezTo>
                  <a:cubicBezTo>
                    <a:pt x="32" y="82"/>
                    <a:pt x="33" y="81"/>
                    <a:pt x="33" y="80"/>
                  </a:cubicBezTo>
                  <a:cubicBezTo>
                    <a:pt x="34" y="80"/>
                    <a:pt x="34" y="80"/>
                    <a:pt x="34" y="80"/>
                  </a:cubicBezTo>
                  <a:cubicBezTo>
                    <a:pt x="34" y="79"/>
                    <a:pt x="34" y="79"/>
                    <a:pt x="35" y="78"/>
                  </a:cubicBezTo>
                  <a:cubicBezTo>
                    <a:pt x="37" y="73"/>
                    <a:pt x="37" y="73"/>
                    <a:pt x="37" y="73"/>
                  </a:cubicBezTo>
                  <a:cubicBezTo>
                    <a:pt x="40" y="78"/>
                    <a:pt x="40" y="78"/>
                    <a:pt x="40" y="78"/>
                  </a:cubicBezTo>
                  <a:cubicBezTo>
                    <a:pt x="40" y="79"/>
                    <a:pt x="41" y="80"/>
                    <a:pt x="41" y="82"/>
                  </a:cubicBezTo>
                  <a:cubicBezTo>
                    <a:pt x="42" y="84"/>
                    <a:pt x="43" y="87"/>
                    <a:pt x="43" y="90"/>
                  </a:cubicBezTo>
                  <a:cubicBezTo>
                    <a:pt x="43" y="91"/>
                    <a:pt x="43" y="93"/>
                    <a:pt x="43" y="94"/>
                  </a:cubicBezTo>
                  <a:cubicBezTo>
                    <a:pt x="43" y="94"/>
                    <a:pt x="43" y="94"/>
                    <a:pt x="43" y="94"/>
                  </a:cubicBezTo>
                  <a:cubicBezTo>
                    <a:pt x="43" y="96"/>
                    <a:pt x="43" y="97"/>
                    <a:pt x="43" y="99"/>
                  </a:cubicBezTo>
                  <a:cubicBezTo>
                    <a:pt x="43" y="99"/>
                    <a:pt x="43" y="99"/>
                    <a:pt x="43" y="99"/>
                  </a:cubicBezTo>
                  <a:cubicBezTo>
                    <a:pt x="43" y="99"/>
                    <a:pt x="43" y="99"/>
                    <a:pt x="43" y="99"/>
                  </a:cubicBezTo>
                  <a:cubicBezTo>
                    <a:pt x="44" y="99"/>
                    <a:pt x="44" y="99"/>
                    <a:pt x="44" y="99"/>
                  </a:cubicBezTo>
                  <a:cubicBezTo>
                    <a:pt x="44" y="99"/>
                    <a:pt x="45" y="100"/>
                    <a:pt x="46" y="100"/>
                  </a:cubicBezTo>
                  <a:cubicBezTo>
                    <a:pt x="46" y="100"/>
                    <a:pt x="46" y="100"/>
                    <a:pt x="46" y="100"/>
                  </a:cubicBezTo>
                  <a:cubicBezTo>
                    <a:pt x="48" y="101"/>
                    <a:pt x="49" y="101"/>
                    <a:pt x="50" y="101"/>
                  </a:cubicBezTo>
                  <a:cubicBezTo>
                    <a:pt x="51" y="102"/>
                    <a:pt x="52" y="102"/>
                    <a:pt x="53" y="102"/>
                  </a:cubicBezTo>
                  <a:cubicBezTo>
                    <a:pt x="53" y="102"/>
                    <a:pt x="53" y="102"/>
                    <a:pt x="53" y="102"/>
                  </a:cubicBezTo>
                  <a:cubicBezTo>
                    <a:pt x="54" y="103"/>
                    <a:pt x="54" y="103"/>
                    <a:pt x="55" y="103"/>
                  </a:cubicBezTo>
                  <a:cubicBezTo>
                    <a:pt x="55" y="103"/>
                    <a:pt x="55" y="103"/>
                    <a:pt x="55" y="103"/>
                  </a:cubicBezTo>
                  <a:cubicBezTo>
                    <a:pt x="56" y="103"/>
                    <a:pt x="56" y="103"/>
                    <a:pt x="57" y="103"/>
                  </a:cubicBezTo>
                  <a:cubicBezTo>
                    <a:pt x="58" y="103"/>
                    <a:pt x="58" y="103"/>
                    <a:pt x="58" y="103"/>
                  </a:cubicBezTo>
                  <a:cubicBezTo>
                    <a:pt x="59" y="103"/>
                    <a:pt x="59" y="102"/>
                    <a:pt x="60" y="102"/>
                  </a:cubicBezTo>
                  <a:cubicBezTo>
                    <a:pt x="61" y="102"/>
                    <a:pt x="61" y="102"/>
                    <a:pt x="61" y="102"/>
                  </a:cubicBezTo>
                  <a:cubicBezTo>
                    <a:pt x="62" y="102"/>
                    <a:pt x="62" y="102"/>
                    <a:pt x="62" y="102"/>
                  </a:cubicBezTo>
                  <a:cubicBezTo>
                    <a:pt x="62" y="102"/>
                    <a:pt x="63" y="102"/>
                    <a:pt x="63" y="102"/>
                  </a:cubicBezTo>
                  <a:cubicBezTo>
                    <a:pt x="64" y="102"/>
                    <a:pt x="64" y="102"/>
                    <a:pt x="65" y="102"/>
                  </a:cubicBezTo>
                  <a:cubicBezTo>
                    <a:pt x="65" y="102"/>
                    <a:pt x="65" y="102"/>
                    <a:pt x="65" y="102"/>
                  </a:cubicBezTo>
                  <a:cubicBezTo>
                    <a:pt x="67" y="102"/>
                    <a:pt x="69" y="102"/>
                    <a:pt x="70" y="102"/>
                  </a:cubicBezTo>
                  <a:cubicBezTo>
                    <a:pt x="71" y="102"/>
                    <a:pt x="71" y="102"/>
                    <a:pt x="72" y="102"/>
                  </a:cubicBezTo>
                  <a:cubicBezTo>
                    <a:pt x="73" y="102"/>
                    <a:pt x="73" y="102"/>
                    <a:pt x="73" y="102"/>
                  </a:cubicBezTo>
                  <a:cubicBezTo>
                    <a:pt x="77" y="102"/>
                    <a:pt x="80" y="103"/>
                    <a:pt x="84" y="103"/>
                  </a:cubicBezTo>
                  <a:cubicBezTo>
                    <a:pt x="85" y="103"/>
                    <a:pt x="85" y="103"/>
                    <a:pt x="85" y="103"/>
                  </a:cubicBezTo>
                  <a:cubicBezTo>
                    <a:pt x="86" y="103"/>
                    <a:pt x="87" y="103"/>
                    <a:pt x="88" y="103"/>
                  </a:cubicBezTo>
                  <a:cubicBezTo>
                    <a:pt x="88" y="103"/>
                    <a:pt x="88" y="103"/>
                    <a:pt x="88" y="103"/>
                  </a:cubicBezTo>
                  <a:cubicBezTo>
                    <a:pt x="89" y="102"/>
                    <a:pt x="91" y="102"/>
                    <a:pt x="92" y="102"/>
                  </a:cubicBezTo>
                  <a:cubicBezTo>
                    <a:pt x="93" y="102"/>
                    <a:pt x="95" y="103"/>
                    <a:pt x="96" y="103"/>
                  </a:cubicBezTo>
                  <a:cubicBezTo>
                    <a:pt x="97" y="104"/>
                    <a:pt x="98" y="104"/>
                    <a:pt x="99" y="105"/>
                  </a:cubicBezTo>
                  <a:cubicBezTo>
                    <a:pt x="100" y="105"/>
                    <a:pt x="100" y="105"/>
                    <a:pt x="100" y="105"/>
                  </a:cubicBezTo>
                  <a:cubicBezTo>
                    <a:pt x="101" y="105"/>
                    <a:pt x="101" y="106"/>
                    <a:pt x="101" y="106"/>
                  </a:cubicBezTo>
                  <a:cubicBezTo>
                    <a:pt x="103" y="106"/>
                    <a:pt x="104" y="108"/>
                    <a:pt x="105" y="109"/>
                  </a:cubicBezTo>
                  <a:cubicBezTo>
                    <a:pt x="105" y="109"/>
                    <a:pt x="105" y="110"/>
                    <a:pt x="105" y="110"/>
                  </a:cubicBezTo>
                  <a:cubicBezTo>
                    <a:pt x="109" y="114"/>
                    <a:pt x="109" y="114"/>
                    <a:pt x="109" y="114"/>
                  </a:cubicBezTo>
                  <a:cubicBezTo>
                    <a:pt x="102" y="115"/>
                    <a:pt x="102" y="115"/>
                    <a:pt x="102" y="115"/>
                  </a:cubicBezTo>
                  <a:cubicBezTo>
                    <a:pt x="100" y="117"/>
                    <a:pt x="100" y="117"/>
                    <a:pt x="100" y="117"/>
                  </a:cubicBezTo>
                  <a:cubicBezTo>
                    <a:pt x="100" y="119"/>
                    <a:pt x="99" y="121"/>
                    <a:pt x="98" y="122"/>
                  </a:cubicBezTo>
                  <a:cubicBezTo>
                    <a:pt x="98" y="123"/>
                    <a:pt x="98" y="123"/>
                    <a:pt x="98" y="123"/>
                  </a:cubicBezTo>
                  <a:cubicBezTo>
                    <a:pt x="97" y="123"/>
                    <a:pt x="97" y="124"/>
                    <a:pt x="97" y="124"/>
                  </a:cubicBezTo>
                  <a:cubicBezTo>
                    <a:pt x="96" y="125"/>
                    <a:pt x="95" y="125"/>
                    <a:pt x="94" y="126"/>
                  </a:cubicBezTo>
                  <a:cubicBezTo>
                    <a:pt x="94" y="126"/>
                    <a:pt x="94" y="126"/>
                    <a:pt x="94" y="126"/>
                  </a:cubicBezTo>
                  <a:cubicBezTo>
                    <a:pt x="93" y="127"/>
                    <a:pt x="93" y="127"/>
                    <a:pt x="93" y="127"/>
                  </a:cubicBezTo>
                  <a:cubicBezTo>
                    <a:pt x="93" y="127"/>
                    <a:pt x="93" y="127"/>
                    <a:pt x="93" y="127"/>
                  </a:cubicBezTo>
                  <a:cubicBezTo>
                    <a:pt x="93" y="127"/>
                    <a:pt x="93" y="127"/>
                    <a:pt x="93" y="127"/>
                  </a:cubicBezTo>
                  <a:cubicBezTo>
                    <a:pt x="93" y="127"/>
                    <a:pt x="93" y="127"/>
                    <a:pt x="93" y="127"/>
                  </a:cubicBezTo>
                  <a:cubicBezTo>
                    <a:pt x="92" y="128"/>
                    <a:pt x="92" y="128"/>
                    <a:pt x="92" y="128"/>
                  </a:cubicBezTo>
                  <a:cubicBezTo>
                    <a:pt x="92" y="128"/>
                    <a:pt x="92" y="129"/>
                    <a:pt x="92" y="130"/>
                  </a:cubicBezTo>
                  <a:cubicBezTo>
                    <a:pt x="92" y="130"/>
                    <a:pt x="92" y="131"/>
                    <a:pt x="92" y="131"/>
                  </a:cubicBezTo>
                  <a:cubicBezTo>
                    <a:pt x="91" y="135"/>
                    <a:pt x="91" y="135"/>
                    <a:pt x="91" y="135"/>
                  </a:cubicBezTo>
                  <a:cubicBezTo>
                    <a:pt x="87" y="133"/>
                    <a:pt x="87" y="133"/>
                    <a:pt x="87" y="133"/>
                  </a:cubicBezTo>
                  <a:cubicBezTo>
                    <a:pt x="86" y="133"/>
                    <a:pt x="85" y="132"/>
                    <a:pt x="85" y="132"/>
                  </a:cubicBezTo>
                  <a:cubicBezTo>
                    <a:pt x="85" y="132"/>
                    <a:pt x="85" y="132"/>
                    <a:pt x="85" y="132"/>
                  </a:cubicBezTo>
                  <a:cubicBezTo>
                    <a:pt x="85" y="134"/>
                    <a:pt x="85" y="134"/>
                    <a:pt x="85" y="134"/>
                  </a:cubicBezTo>
                  <a:cubicBezTo>
                    <a:pt x="84" y="133"/>
                    <a:pt x="84" y="133"/>
                    <a:pt x="84" y="133"/>
                  </a:cubicBezTo>
                  <a:cubicBezTo>
                    <a:pt x="76" y="141"/>
                    <a:pt x="76" y="141"/>
                    <a:pt x="76" y="141"/>
                  </a:cubicBezTo>
                  <a:cubicBezTo>
                    <a:pt x="76" y="141"/>
                    <a:pt x="76" y="142"/>
                    <a:pt x="75" y="142"/>
                  </a:cubicBezTo>
                  <a:cubicBezTo>
                    <a:pt x="75" y="142"/>
                    <a:pt x="75" y="142"/>
                    <a:pt x="75" y="142"/>
                  </a:cubicBezTo>
                  <a:cubicBezTo>
                    <a:pt x="75" y="143"/>
                    <a:pt x="75" y="143"/>
                    <a:pt x="75" y="143"/>
                  </a:cubicBezTo>
                  <a:cubicBezTo>
                    <a:pt x="76" y="145"/>
                    <a:pt x="76" y="145"/>
                    <a:pt x="76" y="145"/>
                  </a:cubicBezTo>
                  <a:cubicBezTo>
                    <a:pt x="76" y="146"/>
                    <a:pt x="76" y="146"/>
                    <a:pt x="76" y="146"/>
                  </a:cubicBezTo>
                  <a:cubicBezTo>
                    <a:pt x="77" y="147"/>
                    <a:pt x="77" y="147"/>
                    <a:pt x="77" y="147"/>
                  </a:cubicBezTo>
                  <a:cubicBezTo>
                    <a:pt x="77" y="147"/>
                    <a:pt x="77" y="148"/>
                    <a:pt x="77" y="148"/>
                  </a:cubicBezTo>
                  <a:cubicBezTo>
                    <a:pt x="80" y="151"/>
                    <a:pt x="80" y="151"/>
                    <a:pt x="80" y="151"/>
                  </a:cubicBezTo>
                  <a:cubicBezTo>
                    <a:pt x="82" y="152"/>
                    <a:pt x="82" y="154"/>
                    <a:pt x="83" y="156"/>
                  </a:cubicBezTo>
                  <a:cubicBezTo>
                    <a:pt x="83" y="156"/>
                    <a:pt x="83" y="157"/>
                    <a:pt x="83" y="157"/>
                  </a:cubicBezTo>
                  <a:cubicBezTo>
                    <a:pt x="83" y="157"/>
                    <a:pt x="83" y="157"/>
                    <a:pt x="84" y="156"/>
                  </a:cubicBezTo>
                  <a:cubicBezTo>
                    <a:pt x="84" y="155"/>
                    <a:pt x="85" y="153"/>
                    <a:pt x="85" y="152"/>
                  </a:cubicBezTo>
                  <a:cubicBezTo>
                    <a:pt x="85" y="151"/>
                    <a:pt x="86" y="151"/>
                    <a:pt x="86" y="150"/>
                  </a:cubicBezTo>
                  <a:cubicBezTo>
                    <a:pt x="86" y="150"/>
                    <a:pt x="86" y="150"/>
                    <a:pt x="86" y="150"/>
                  </a:cubicBezTo>
                  <a:cubicBezTo>
                    <a:pt x="87" y="148"/>
                    <a:pt x="87" y="147"/>
                    <a:pt x="87" y="145"/>
                  </a:cubicBezTo>
                  <a:cubicBezTo>
                    <a:pt x="87" y="143"/>
                    <a:pt x="88" y="142"/>
                    <a:pt x="88" y="140"/>
                  </a:cubicBezTo>
                  <a:cubicBezTo>
                    <a:pt x="89" y="135"/>
                    <a:pt x="89" y="135"/>
                    <a:pt x="89" y="135"/>
                  </a:cubicBezTo>
                  <a:cubicBezTo>
                    <a:pt x="93" y="139"/>
                    <a:pt x="93" y="139"/>
                    <a:pt x="93" y="139"/>
                  </a:cubicBezTo>
                  <a:cubicBezTo>
                    <a:pt x="94" y="139"/>
                    <a:pt x="96" y="138"/>
                    <a:pt x="97" y="138"/>
                  </a:cubicBezTo>
                  <a:cubicBezTo>
                    <a:pt x="97" y="138"/>
                    <a:pt x="97" y="138"/>
                    <a:pt x="98" y="138"/>
                  </a:cubicBezTo>
                  <a:cubicBezTo>
                    <a:pt x="99" y="139"/>
                    <a:pt x="99" y="139"/>
                    <a:pt x="99" y="139"/>
                  </a:cubicBezTo>
                  <a:cubicBezTo>
                    <a:pt x="99" y="139"/>
                    <a:pt x="99" y="139"/>
                    <a:pt x="99" y="139"/>
                  </a:cubicBezTo>
                  <a:cubicBezTo>
                    <a:pt x="100" y="140"/>
                    <a:pt x="101" y="141"/>
                    <a:pt x="101" y="142"/>
                  </a:cubicBezTo>
                  <a:cubicBezTo>
                    <a:pt x="102" y="145"/>
                    <a:pt x="102" y="147"/>
                    <a:pt x="103" y="149"/>
                  </a:cubicBezTo>
                  <a:cubicBezTo>
                    <a:pt x="103" y="151"/>
                    <a:pt x="103" y="154"/>
                    <a:pt x="104" y="156"/>
                  </a:cubicBezTo>
                  <a:cubicBezTo>
                    <a:pt x="110" y="156"/>
                    <a:pt x="110" y="156"/>
                    <a:pt x="110" y="156"/>
                  </a:cubicBezTo>
                  <a:cubicBezTo>
                    <a:pt x="104" y="158"/>
                    <a:pt x="104" y="158"/>
                    <a:pt x="104" y="158"/>
                  </a:cubicBezTo>
                  <a:cubicBezTo>
                    <a:pt x="104" y="158"/>
                    <a:pt x="104" y="158"/>
                    <a:pt x="104" y="158"/>
                  </a:cubicBezTo>
                  <a:cubicBezTo>
                    <a:pt x="104" y="159"/>
                    <a:pt x="104" y="161"/>
                    <a:pt x="105" y="163"/>
                  </a:cubicBezTo>
                  <a:cubicBezTo>
                    <a:pt x="105" y="164"/>
                    <a:pt x="105" y="164"/>
                    <a:pt x="105" y="164"/>
                  </a:cubicBezTo>
                  <a:cubicBezTo>
                    <a:pt x="106" y="167"/>
                    <a:pt x="107" y="170"/>
                    <a:pt x="107" y="172"/>
                  </a:cubicBezTo>
                  <a:cubicBezTo>
                    <a:pt x="109" y="182"/>
                    <a:pt x="109" y="182"/>
                    <a:pt x="109" y="182"/>
                  </a:cubicBezTo>
                  <a:cubicBezTo>
                    <a:pt x="112" y="179"/>
                    <a:pt x="112" y="179"/>
                    <a:pt x="112" y="179"/>
                  </a:cubicBezTo>
                  <a:cubicBezTo>
                    <a:pt x="114" y="180"/>
                    <a:pt x="114" y="180"/>
                    <a:pt x="114" y="180"/>
                  </a:cubicBezTo>
                  <a:cubicBezTo>
                    <a:pt x="116" y="178"/>
                    <a:pt x="116" y="178"/>
                    <a:pt x="116" y="178"/>
                  </a:cubicBezTo>
                  <a:cubicBezTo>
                    <a:pt x="115" y="170"/>
                    <a:pt x="115" y="170"/>
                    <a:pt x="115" y="170"/>
                  </a:cubicBezTo>
                  <a:cubicBezTo>
                    <a:pt x="115" y="164"/>
                    <a:pt x="115" y="164"/>
                    <a:pt x="115" y="164"/>
                  </a:cubicBezTo>
                  <a:cubicBezTo>
                    <a:pt x="116" y="157"/>
                    <a:pt x="116" y="157"/>
                    <a:pt x="116" y="157"/>
                  </a:cubicBezTo>
                  <a:cubicBezTo>
                    <a:pt x="121" y="154"/>
                    <a:pt x="121" y="154"/>
                    <a:pt x="121" y="154"/>
                  </a:cubicBezTo>
                  <a:cubicBezTo>
                    <a:pt x="121" y="155"/>
                    <a:pt x="121" y="155"/>
                    <a:pt x="121" y="155"/>
                  </a:cubicBezTo>
                  <a:cubicBezTo>
                    <a:pt x="123" y="147"/>
                    <a:pt x="123" y="142"/>
                    <a:pt x="122" y="140"/>
                  </a:cubicBezTo>
                  <a:cubicBezTo>
                    <a:pt x="120" y="136"/>
                    <a:pt x="120" y="134"/>
                    <a:pt x="120" y="134"/>
                  </a:cubicBezTo>
                  <a:cubicBezTo>
                    <a:pt x="120" y="130"/>
                    <a:pt x="120" y="130"/>
                    <a:pt x="120" y="130"/>
                  </a:cubicBezTo>
                  <a:cubicBezTo>
                    <a:pt x="123" y="131"/>
                    <a:pt x="123" y="131"/>
                    <a:pt x="123" y="131"/>
                  </a:cubicBezTo>
                  <a:cubicBezTo>
                    <a:pt x="123" y="131"/>
                    <a:pt x="132" y="132"/>
                    <a:pt x="139" y="134"/>
                  </a:cubicBezTo>
                  <a:cubicBezTo>
                    <a:pt x="140" y="132"/>
                    <a:pt x="142" y="131"/>
                    <a:pt x="142" y="130"/>
                  </a:cubicBezTo>
                  <a:cubicBezTo>
                    <a:pt x="143" y="128"/>
                    <a:pt x="145" y="123"/>
                    <a:pt x="148" y="119"/>
                  </a:cubicBezTo>
                  <a:cubicBezTo>
                    <a:pt x="151" y="115"/>
                    <a:pt x="154" y="109"/>
                    <a:pt x="152" y="104"/>
                  </a:cubicBezTo>
                  <a:cubicBezTo>
                    <a:pt x="150" y="99"/>
                    <a:pt x="151" y="97"/>
                    <a:pt x="158" y="92"/>
                  </a:cubicBezTo>
                  <a:cubicBezTo>
                    <a:pt x="160" y="91"/>
                    <a:pt x="160" y="89"/>
                    <a:pt x="160" y="89"/>
                  </a:cubicBezTo>
                  <a:cubicBezTo>
                    <a:pt x="160" y="87"/>
                    <a:pt x="161" y="86"/>
                    <a:pt x="162" y="84"/>
                  </a:cubicBezTo>
                  <a:cubicBezTo>
                    <a:pt x="163" y="83"/>
                    <a:pt x="163" y="83"/>
                    <a:pt x="163" y="83"/>
                  </a:cubicBezTo>
                  <a:cubicBezTo>
                    <a:pt x="163" y="82"/>
                    <a:pt x="163" y="79"/>
                    <a:pt x="163" y="78"/>
                  </a:cubicBezTo>
                  <a:cubicBezTo>
                    <a:pt x="162" y="76"/>
                    <a:pt x="162" y="75"/>
                    <a:pt x="162" y="73"/>
                  </a:cubicBezTo>
                  <a:cubicBezTo>
                    <a:pt x="161" y="67"/>
                    <a:pt x="166" y="66"/>
                    <a:pt x="170" y="64"/>
                  </a:cubicBezTo>
                  <a:cubicBezTo>
                    <a:pt x="172" y="63"/>
                    <a:pt x="173" y="62"/>
                    <a:pt x="175" y="60"/>
                  </a:cubicBezTo>
                  <a:cubicBezTo>
                    <a:pt x="177" y="59"/>
                    <a:pt x="179" y="57"/>
                    <a:pt x="183" y="55"/>
                  </a:cubicBezTo>
                  <a:cubicBezTo>
                    <a:pt x="184" y="55"/>
                    <a:pt x="186" y="54"/>
                    <a:pt x="187" y="53"/>
                  </a:cubicBezTo>
                  <a:cubicBezTo>
                    <a:pt x="188" y="52"/>
                    <a:pt x="188" y="52"/>
                    <a:pt x="188" y="52"/>
                  </a:cubicBezTo>
                  <a:cubicBezTo>
                    <a:pt x="192" y="50"/>
                    <a:pt x="197" y="47"/>
                    <a:pt x="202" y="47"/>
                  </a:cubicBezTo>
                  <a:cubicBezTo>
                    <a:pt x="203" y="47"/>
                    <a:pt x="204" y="47"/>
                    <a:pt x="205" y="48"/>
                  </a:cubicBezTo>
                  <a:cubicBezTo>
                    <a:pt x="205" y="47"/>
                    <a:pt x="205" y="47"/>
                    <a:pt x="205" y="47"/>
                  </a:cubicBezTo>
                  <a:cubicBezTo>
                    <a:pt x="204" y="45"/>
                    <a:pt x="204" y="41"/>
                    <a:pt x="210" y="37"/>
                  </a:cubicBezTo>
                  <a:cubicBezTo>
                    <a:pt x="210" y="37"/>
                    <a:pt x="211" y="36"/>
                    <a:pt x="212" y="35"/>
                  </a:cubicBezTo>
                  <a:cubicBezTo>
                    <a:pt x="212" y="35"/>
                    <a:pt x="212" y="35"/>
                    <a:pt x="212" y="35"/>
                  </a:cubicBezTo>
                  <a:cubicBezTo>
                    <a:pt x="213" y="35"/>
                    <a:pt x="215" y="34"/>
                    <a:pt x="215" y="33"/>
                  </a:cubicBezTo>
                  <a:cubicBezTo>
                    <a:pt x="215" y="30"/>
                    <a:pt x="215" y="30"/>
                    <a:pt x="215" y="30"/>
                  </a:cubicBezTo>
                  <a:cubicBezTo>
                    <a:pt x="214" y="30"/>
                    <a:pt x="214" y="30"/>
                    <a:pt x="214" y="30"/>
                  </a:cubicBezTo>
                  <a:cubicBezTo>
                    <a:pt x="214" y="29"/>
                    <a:pt x="214" y="29"/>
                    <a:pt x="214" y="29"/>
                  </a:cubicBezTo>
                  <a:cubicBezTo>
                    <a:pt x="214" y="29"/>
                    <a:pt x="213" y="29"/>
                    <a:pt x="213" y="29"/>
                  </a:cubicBezTo>
                  <a:cubicBezTo>
                    <a:pt x="212" y="28"/>
                    <a:pt x="211" y="27"/>
                    <a:pt x="210" y="27"/>
                  </a:cubicBezTo>
                  <a:cubicBezTo>
                    <a:pt x="210" y="27"/>
                    <a:pt x="210" y="27"/>
                    <a:pt x="210" y="27"/>
                  </a:cubicBezTo>
                  <a:cubicBezTo>
                    <a:pt x="209" y="27"/>
                    <a:pt x="209" y="27"/>
                    <a:pt x="208" y="27"/>
                  </a:cubicBezTo>
                  <a:cubicBezTo>
                    <a:pt x="207" y="27"/>
                    <a:pt x="207" y="27"/>
                    <a:pt x="207" y="27"/>
                  </a:cubicBezTo>
                  <a:cubicBezTo>
                    <a:pt x="205" y="26"/>
                    <a:pt x="204" y="26"/>
                    <a:pt x="203" y="26"/>
                  </a:cubicBezTo>
                  <a:cubicBezTo>
                    <a:pt x="200" y="26"/>
                    <a:pt x="200" y="26"/>
                    <a:pt x="200" y="26"/>
                  </a:cubicBezTo>
                  <a:cubicBezTo>
                    <a:pt x="200" y="26"/>
                    <a:pt x="199" y="26"/>
                    <a:pt x="199" y="26"/>
                  </a:cubicBezTo>
                  <a:cubicBezTo>
                    <a:pt x="199" y="26"/>
                    <a:pt x="199" y="26"/>
                    <a:pt x="199" y="26"/>
                  </a:cubicBezTo>
                  <a:cubicBezTo>
                    <a:pt x="198" y="27"/>
                    <a:pt x="198" y="27"/>
                    <a:pt x="198" y="27"/>
                  </a:cubicBezTo>
                  <a:cubicBezTo>
                    <a:pt x="197" y="27"/>
                    <a:pt x="197" y="27"/>
                    <a:pt x="197" y="27"/>
                  </a:cubicBezTo>
                  <a:cubicBezTo>
                    <a:pt x="197" y="27"/>
                    <a:pt x="196" y="27"/>
                    <a:pt x="195" y="27"/>
                  </a:cubicBezTo>
                  <a:cubicBezTo>
                    <a:pt x="195" y="27"/>
                    <a:pt x="195" y="27"/>
                    <a:pt x="194" y="27"/>
                  </a:cubicBezTo>
                  <a:cubicBezTo>
                    <a:pt x="192" y="27"/>
                    <a:pt x="190" y="25"/>
                    <a:pt x="190" y="23"/>
                  </a:cubicBezTo>
                  <a:cubicBezTo>
                    <a:pt x="190" y="22"/>
                    <a:pt x="190" y="22"/>
                    <a:pt x="190" y="22"/>
                  </a:cubicBezTo>
                  <a:cubicBezTo>
                    <a:pt x="191" y="22"/>
                    <a:pt x="191" y="21"/>
                    <a:pt x="191" y="21"/>
                  </a:cubicBezTo>
                  <a:cubicBezTo>
                    <a:pt x="191" y="21"/>
                    <a:pt x="191" y="21"/>
                    <a:pt x="191" y="21"/>
                  </a:cubicBezTo>
                  <a:cubicBezTo>
                    <a:pt x="191" y="19"/>
                    <a:pt x="191" y="19"/>
                    <a:pt x="191" y="19"/>
                  </a:cubicBezTo>
                  <a:cubicBezTo>
                    <a:pt x="192" y="18"/>
                    <a:pt x="193" y="17"/>
                    <a:pt x="193" y="17"/>
                  </a:cubicBezTo>
                  <a:cubicBezTo>
                    <a:pt x="193" y="17"/>
                    <a:pt x="193" y="17"/>
                    <a:pt x="193" y="17"/>
                  </a:cubicBezTo>
                  <a:cubicBezTo>
                    <a:pt x="193" y="17"/>
                    <a:pt x="193" y="17"/>
                    <a:pt x="193" y="17"/>
                  </a:cubicBezTo>
                  <a:cubicBezTo>
                    <a:pt x="195" y="14"/>
                    <a:pt x="195" y="14"/>
                    <a:pt x="195" y="14"/>
                  </a:cubicBezTo>
                  <a:cubicBezTo>
                    <a:pt x="196" y="14"/>
                    <a:pt x="196" y="14"/>
                    <a:pt x="197" y="13"/>
                  </a:cubicBezTo>
                  <a:cubicBezTo>
                    <a:pt x="197" y="13"/>
                    <a:pt x="197" y="13"/>
                    <a:pt x="197" y="13"/>
                  </a:cubicBezTo>
                  <a:cubicBezTo>
                    <a:pt x="197" y="13"/>
                    <a:pt x="197" y="13"/>
                    <a:pt x="197" y="13"/>
                  </a:cubicBezTo>
                  <a:cubicBezTo>
                    <a:pt x="196" y="12"/>
                    <a:pt x="196" y="12"/>
                    <a:pt x="196" y="11"/>
                  </a:cubicBezTo>
                  <a:cubicBezTo>
                    <a:pt x="195" y="11"/>
                    <a:pt x="195" y="11"/>
                    <a:pt x="195" y="11"/>
                  </a:cubicBezTo>
                  <a:cubicBezTo>
                    <a:pt x="194" y="12"/>
                    <a:pt x="193" y="12"/>
                    <a:pt x="192" y="13"/>
                  </a:cubicBezTo>
                  <a:cubicBezTo>
                    <a:pt x="187" y="17"/>
                    <a:pt x="187" y="17"/>
                    <a:pt x="187" y="17"/>
                  </a:cubicBezTo>
                  <a:cubicBezTo>
                    <a:pt x="187" y="11"/>
                    <a:pt x="187" y="11"/>
                    <a:pt x="187" y="11"/>
                  </a:cubicBezTo>
                  <a:cubicBezTo>
                    <a:pt x="187" y="9"/>
                    <a:pt x="187" y="9"/>
                    <a:pt x="187" y="8"/>
                  </a:cubicBezTo>
                  <a:cubicBezTo>
                    <a:pt x="182" y="4"/>
                    <a:pt x="182" y="4"/>
                    <a:pt x="182" y="4"/>
                  </a:cubicBezTo>
                  <a:cubicBezTo>
                    <a:pt x="188" y="3"/>
                    <a:pt x="188" y="3"/>
                    <a:pt x="188" y="3"/>
                  </a:cubicBezTo>
                  <a:cubicBezTo>
                    <a:pt x="189" y="3"/>
                    <a:pt x="189" y="3"/>
                    <a:pt x="189" y="3"/>
                  </a:cubicBezTo>
                  <a:cubicBezTo>
                    <a:pt x="189" y="3"/>
                    <a:pt x="189" y="3"/>
                    <a:pt x="189" y="3"/>
                  </a:cubicBezTo>
                  <a:cubicBezTo>
                    <a:pt x="190" y="2"/>
                    <a:pt x="190" y="2"/>
                    <a:pt x="190" y="2"/>
                  </a:cubicBezTo>
                  <a:cubicBezTo>
                    <a:pt x="189" y="2"/>
                    <a:pt x="189" y="1"/>
                    <a:pt x="188" y="1"/>
                  </a:cubicBezTo>
                  <a:cubicBezTo>
                    <a:pt x="187" y="0"/>
                    <a:pt x="187" y="0"/>
                    <a:pt x="187" y="0"/>
                  </a:cubicBezTo>
                  <a:cubicBezTo>
                    <a:pt x="187" y="0"/>
                    <a:pt x="187" y="0"/>
                    <a:pt x="18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Freeform 1525"/>
            <p:cNvSpPr>
              <a:spLocks noEditPoints="1"/>
            </p:cNvSpPr>
            <p:nvPr/>
          </p:nvSpPr>
          <p:spPr bwMode="auto">
            <a:xfrm>
              <a:off x="484583" y="2151767"/>
              <a:ext cx="1565163" cy="2154451"/>
            </a:xfrm>
            <a:custGeom>
              <a:gdLst>
                <a:gd name="T0" fmla="*/ 219 w 493"/>
                <a:gd name="T1" fmla="*/ 5 h 679"/>
                <a:gd name="T2" fmla="*/ 187 w 493"/>
                <a:gd name="T3" fmla="*/ 24 h 679"/>
                <a:gd name="T4" fmla="*/ 147 w 493"/>
                <a:gd name="T5" fmla="*/ 21 h 679"/>
                <a:gd name="T6" fmla="*/ 144 w 493"/>
                <a:gd name="T7" fmla="*/ 43 h 679"/>
                <a:gd name="T8" fmla="*/ 148 w 493"/>
                <a:gd name="T9" fmla="*/ 67 h 679"/>
                <a:gd name="T10" fmla="*/ 166 w 493"/>
                <a:gd name="T11" fmla="*/ 76 h 679"/>
                <a:gd name="T12" fmla="*/ 152 w 493"/>
                <a:gd name="T13" fmla="*/ 97 h 679"/>
                <a:gd name="T14" fmla="*/ 139 w 493"/>
                <a:gd name="T15" fmla="*/ 131 h 679"/>
                <a:gd name="T16" fmla="*/ 123 w 493"/>
                <a:gd name="T17" fmla="*/ 151 h 679"/>
                <a:gd name="T18" fmla="*/ 83 w 493"/>
                <a:gd name="T19" fmla="*/ 198 h 679"/>
                <a:gd name="T20" fmla="*/ 57 w 493"/>
                <a:gd name="T21" fmla="*/ 198 h 679"/>
                <a:gd name="T22" fmla="*/ 48 w 493"/>
                <a:gd name="T23" fmla="*/ 200 h 679"/>
                <a:gd name="T24" fmla="*/ 50 w 493"/>
                <a:gd name="T25" fmla="*/ 241 h 679"/>
                <a:gd name="T26" fmla="*/ 62 w 493"/>
                <a:gd name="T27" fmla="*/ 251 h 679"/>
                <a:gd name="T28" fmla="*/ 71 w 493"/>
                <a:gd name="T29" fmla="*/ 282 h 679"/>
                <a:gd name="T30" fmla="*/ 55 w 493"/>
                <a:gd name="T31" fmla="*/ 286 h 679"/>
                <a:gd name="T32" fmla="*/ 16 w 493"/>
                <a:gd name="T33" fmla="*/ 293 h 679"/>
                <a:gd name="T34" fmla="*/ 14 w 493"/>
                <a:gd name="T35" fmla="*/ 297 h 679"/>
                <a:gd name="T36" fmla="*/ 35 w 493"/>
                <a:gd name="T37" fmla="*/ 325 h 679"/>
                <a:gd name="T38" fmla="*/ 25 w 493"/>
                <a:gd name="T39" fmla="*/ 336 h 679"/>
                <a:gd name="T40" fmla="*/ 46 w 493"/>
                <a:gd name="T41" fmla="*/ 365 h 679"/>
                <a:gd name="T42" fmla="*/ 91 w 493"/>
                <a:gd name="T43" fmla="*/ 348 h 679"/>
                <a:gd name="T44" fmla="*/ 111 w 493"/>
                <a:gd name="T45" fmla="*/ 337 h 679"/>
                <a:gd name="T46" fmla="*/ 104 w 493"/>
                <a:gd name="T47" fmla="*/ 362 h 679"/>
                <a:gd name="T48" fmla="*/ 106 w 493"/>
                <a:gd name="T49" fmla="*/ 397 h 679"/>
                <a:gd name="T50" fmla="*/ 112 w 493"/>
                <a:gd name="T51" fmla="*/ 428 h 679"/>
                <a:gd name="T52" fmla="*/ 121 w 493"/>
                <a:gd name="T53" fmla="*/ 473 h 679"/>
                <a:gd name="T54" fmla="*/ 137 w 493"/>
                <a:gd name="T55" fmla="*/ 512 h 679"/>
                <a:gd name="T56" fmla="*/ 149 w 493"/>
                <a:gd name="T57" fmla="*/ 536 h 679"/>
                <a:gd name="T58" fmla="*/ 174 w 493"/>
                <a:gd name="T59" fmla="*/ 594 h 679"/>
                <a:gd name="T60" fmla="*/ 190 w 493"/>
                <a:gd name="T61" fmla="*/ 636 h 679"/>
                <a:gd name="T62" fmla="*/ 218 w 493"/>
                <a:gd name="T63" fmla="*/ 678 h 679"/>
                <a:gd name="T64" fmla="*/ 260 w 493"/>
                <a:gd name="T65" fmla="*/ 650 h 679"/>
                <a:gd name="T66" fmla="*/ 270 w 493"/>
                <a:gd name="T67" fmla="*/ 626 h 679"/>
                <a:gd name="T68" fmla="*/ 277 w 493"/>
                <a:gd name="T69" fmla="*/ 582 h 679"/>
                <a:gd name="T70" fmla="*/ 280 w 493"/>
                <a:gd name="T71" fmla="*/ 533 h 679"/>
                <a:gd name="T72" fmla="*/ 302 w 493"/>
                <a:gd name="T73" fmla="*/ 494 h 679"/>
                <a:gd name="T74" fmla="*/ 332 w 493"/>
                <a:gd name="T75" fmla="*/ 466 h 679"/>
                <a:gd name="T76" fmla="*/ 405 w 493"/>
                <a:gd name="T77" fmla="*/ 400 h 679"/>
                <a:gd name="T78" fmla="*/ 428 w 493"/>
                <a:gd name="T79" fmla="*/ 393 h 679"/>
                <a:gd name="T80" fmla="*/ 466 w 493"/>
                <a:gd name="T81" fmla="*/ 338 h 679"/>
                <a:gd name="T82" fmla="*/ 479 w 493"/>
                <a:gd name="T83" fmla="*/ 355 h 679"/>
                <a:gd name="T84" fmla="*/ 485 w 493"/>
                <a:gd name="T85" fmla="*/ 354 h 679"/>
                <a:gd name="T86" fmla="*/ 486 w 493"/>
                <a:gd name="T87" fmla="*/ 326 h 679"/>
                <a:gd name="T88" fmla="*/ 481 w 493"/>
                <a:gd name="T89" fmla="*/ 293 h 679"/>
                <a:gd name="T90" fmla="*/ 467 w 493"/>
                <a:gd name="T91" fmla="*/ 281 h 679"/>
                <a:gd name="T92" fmla="*/ 482 w 493"/>
                <a:gd name="T93" fmla="*/ 259 h 679"/>
                <a:gd name="T94" fmla="*/ 472 w 493"/>
                <a:gd name="T95" fmla="*/ 232 h 679"/>
                <a:gd name="T96" fmla="*/ 446 w 493"/>
                <a:gd name="T97" fmla="*/ 235 h 679"/>
                <a:gd name="T98" fmla="*/ 428 w 493"/>
                <a:gd name="T99" fmla="*/ 232 h 679"/>
                <a:gd name="T100" fmla="*/ 410 w 493"/>
                <a:gd name="T101" fmla="*/ 225 h 679"/>
                <a:gd name="T102" fmla="*/ 385 w 493"/>
                <a:gd name="T103" fmla="*/ 217 h 679"/>
                <a:gd name="T104" fmla="*/ 372 w 493"/>
                <a:gd name="T105" fmla="*/ 209 h 679"/>
                <a:gd name="T106" fmla="*/ 357 w 493"/>
                <a:gd name="T107" fmla="*/ 212 h 679"/>
                <a:gd name="T108" fmla="*/ 331 w 493"/>
                <a:gd name="T109" fmla="*/ 200 h 679"/>
                <a:gd name="T110" fmla="*/ 306 w 493"/>
                <a:gd name="T111" fmla="*/ 187 h 679"/>
                <a:gd name="T112" fmla="*/ 282 w 493"/>
                <a:gd name="T113" fmla="*/ 155 h 679"/>
                <a:gd name="T114" fmla="*/ 270 w 493"/>
                <a:gd name="T115" fmla="*/ 119 h 679"/>
                <a:gd name="T116" fmla="*/ 257 w 493"/>
                <a:gd name="T117" fmla="*/ 108 h 679"/>
                <a:gd name="T118" fmla="*/ 246 w 493"/>
                <a:gd name="T119" fmla="*/ 93 h 679"/>
                <a:gd name="T120" fmla="*/ 252 w 493"/>
                <a:gd name="T121" fmla="*/ 74 h 679"/>
                <a:gd name="T122" fmla="*/ 252 w 493"/>
                <a:gd name="T123" fmla="*/ 56 h 679"/>
                <a:gd name="T124" fmla="*/ 247 w 493"/>
                <a:gd name="T125" fmla="*/ 32 h 6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2" h="679">
                  <a:moveTo>
                    <a:pt x="302" y="494"/>
                  </a:moveTo>
                  <a:cubicBezTo>
                    <a:pt x="302" y="495"/>
                    <a:pt x="302" y="495"/>
                    <a:pt x="302" y="495"/>
                  </a:cubicBezTo>
                  <a:cubicBezTo>
                    <a:pt x="302" y="495"/>
                    <a:pt x="302" y="495"/>
                    <a:pt x="302" y="494"/>
                  </a:cubicBezTo>
                  <a:moveTo>
                    <a:pt x="302" y="494"/>
                  </a:moveTo>
                  <a:cubicBezTo>
                    <a:pt x="302" y="494"/>
                    <a:pt x="302" y="494"/>
                    <a:pt x="302" y="494"/>
                  </a:cubicBezTo>
                  <a:cubicBezTo>
                    <a:pt x="302" y="494"/>
                    <a:pt x="302" y="494"/>
                    <a:pt x="302" y="494"/>
                  </a:cubicBezTo>
                  <a:moveTo>
                    <a:pt x="302" y="494"/>
                  </a:moveTo>
                  <a:cubicBezTo>
                    <a:pt x="302" y="494"/>
                    <a:pt x="302" y="494"/>
                    <a:pt x="302" y="494"/>
                  </a:cubicBezTo>
                  <a:cubicBezTo>
                    <a:pt x="302" y="494"/>
                    <a:pt x="302" y="494"/>
                    <a:pt x="302" y="494"/>
                  </a:cubicBezTo>
                  <a:moveTo>
                    <a:pt x="229" y="0"/>
                  </a:moveTo>
                  <a:cubicBezTo>
                    <a:pt x="229" y="0"/>
                    <a:pt x="228" y="0"/>
                    <a:pt x="228" y="0"/>
                  </a:cubicBezTo>
                  <a:cubicBezTo>
                    <a:pt x="226" y="1"/>
                    <a:pt x="225" y="2"/>
                    <a:pt x="224" y="3"/>
                  </a:cubicBezTo>
                  <a:cubicBezTo>
                    <a:pt x="222" y="3"/>
                    <a:pt x="220" y="4"/>
                    <a:pt x="219" y="5"/>
                  </a:cubicBezTo>
                  <a:cubicBezTo>
                    <a:pt x="218" y="6"/>
                    <a:pt x="216" y="7"/>
                    <a:pt x="215" y="7"/>
                  </a:cubicBezTo>
                  <a:cubicBezTo>
                    <a:pt x="210" y="10"/>
                    <a:pt x="210" y="10"/>
                    <a:pt x="210" y="10"/>
                  </a:cubicBezTo>
                  <a:cubicBezTo>
                    <a:pt x="209" y="11"/>
                    <a:pt x="208" y="13"/>
                    <a:pt x="207" y="14"/>
                  </a:cubicBezTo>
                  <a:cubicBezTo>
                    <a:pt x="206" y="16"/>
                    <a:pt x="206" y="16"/>
                    <a:pt x="206" y="16"/>
                  </a:cubicBezTo>
                  <a:cubicBezTo>
                    <a:pt x="204" y="18"/>
                    <a:pt x="202" y="20"/>
                    <a:pt x="199" y="21"/>
                  </a:cubicBezTo>
                  <a:cubicBezTo>
                    <a:pt x="197" y="21"/>
                    <a:pt x="197" y="21"/>
                    <a:pt x="197" y="21"/>
                  </a:cubicBezTo>
                  <a:cubicBezTo>
                    <a:pt x="197" y="21"/>
                    <a:pt x="196" y="21"/>
                    <a:pt x="196" y="21"/>
                  </a:cubicBezTo>
                  <a:cubicBezTo>
                    <a:pt x="195" y="21"/>
                    <a:pt x="195" y="21"/>
                    <a:pt x="195" y="21"/>
                  </a:cubicBezTo>
                  <a:cubicBezTo>
                    <a:pt x="194" y="21"/>
                    <a:pt x="194" y="21"/>
                    <a:pt x="193" y="21"/>
                  </a:cubicBezTo>
                  <a:cubicBezTo>
                    <a:pt x="192" y="21"/>
                    <a:pt x="192" y="21"/>
                    <a:pt x="191" y="22"/>
                  </a:cubicBezTo>
                  <a:cubicBezTo>
                    <a:pt x="191" y="22"/>
                    <a:pt x="191" y="22"/>
                    <a:pt x="190" y="22"/>
                  </a:cubicBezTo>
                  <a:cubicBezTo>
                    <a:pt x="190" y="22"/>
                    <a:pt x="190" y="22"/>
                    <a:pt x="190" y="22"/>
                  </a:cubicBezTo>
                  <a:cubicBezTo>
                    <a:pt x="189" y="23"/>
                    <a:pt x="188" y="23"/>
                    <a:pt x="187" y="24"/>
                  </a:cubicBezTo>
                  <a:cubicBezTo>
                    <a:pt x="183" y="25"/>
                    <a:pt x="180" y="26"/>
                    <a:pt x="177" y="26"/>
                  </a:cubicBezTo>
                  <a:cubicBezTo>
                    <a:pt x="176" y="26"/>
                    <a:pt x="175" y="26"/>
                    <a:pt x="175" y="26"/>
                  </a:cubicBezTo>
                  <a:cubicBezTo>
                    <a:pt x="173" y="26"/>
                    <a:pt x="173" y="26"/>
                    <a:pt x="173" y="26"/>
                  </a:cubicBezTo>
                  <a:cubicBezTo>
                    <a:pt x="171" y="26"/>
                    <a:pt x="170" y="25"/>
                    <a:pt x="169" y="25"/>
                  </a:cubicBezTo>
                  <a:cubicBezTo>
                    <a:pt x="169" y="24"/>
                    <a:pt x="168" y="24"/>
                    <a:pt x="168" y="24"/>
                  </a:cubicBezTo>
                  <a:cubicBezTo>
                    <a:pt x="167" y="24"/>
                    <a:pt x="167" y="24"/>
                    <a:pt x="167" y="24"/>
                  </a:cubicBezTo>
                  <a:cubicBezTo>
                    <a:pt x="167" y="23"/>
                    <a:pt x="166" y="23"/>
                    <a:pt x="165" y="23"/>
                  </a:cubicBezTo>
                  <a:cubicBezTo>
                    <a:pt x="162" y="22"/>
                    <a:pt x="162" y="22"/>
                    <a:pt x="162" y="22"/>
                  </a:cubicBezTo>
                  <a:cubicBezTo>
                    <a:pt x="161" y="22"/>
                    <a:pt x="159" y="22"/>
                    <a:pt x="158" y="22"/>
                  </a:cubicBezTo>
                  <a:cubicBezTo>
                    <a:pt x="156" y="21"/>
                    <a:pt x="154" y="21"/>
                    <a:pt x="152" y="21"/>
                  </a:cubicBezTo>
                  <a:cubicBezTo>
                    <a:pt x="152" y="21"/>
                    <a:pt x="152" y="21"/>
                    <a:pt x="151" y="21"/>
                  </a:cubicBezTo>
                  <a:cubicBezTo>
                    <a:pt x="150" y="21"/>
                    <a:pt x="149" y="21"/>
                    <a:pt x="148" y="21"/>
                  </a:cubicBezTo>
                  <a:cubicBezTo>
                    <a:pt x="147" y="21"/>
                    <a:pt x="147" y="21"/>
                    <a:pt x="147" y="21"/>
                  </a:cubicBezTo>
                  <a:cubicBezTo>
                    <a:pt x="144" y="21"/>
                    <a:pt x="141" y="22"/>
                    <a:pt x="139" y="22"/>
                  </a:cubicBezTo>
                  <a:cubicBezTo>
                    <a:pt x="139" y="22"/>
                    <a:pt x="138" y="23"/>
                    <a:pt x="138" y="23"/>
                  </a:cubicBezTo>
                  <a:cubicBezTo>
                    <a:pt x="138" y="23"/>
                    <a:pt x="138" y="23"/>
                    <a:pt x="138" y="23"/>
                  </a:cubicBezTo>
                  <a:cubicBezTo>
                    <a:pt x="137" y="24"/>
                    <a:pt x="136" y="25"/>
                    <a:pt x="136" y="26"/>
                  </a:cubicBezTo>
                  <a:cubicBezTo>
                    <a:pt x="136" y="26"/>
                    <a:pt x="136" y="26"/>
                    <a:pt x="136" y="26"/>
                  </a:cubicBezTo>
                  <a:cubicBezTo>
                    <a:pt x="136" y="26"/>
                    <a:pt x="136" y="26"/>
                    <a:pt x="136" y="26"/>
                  </a:cubicBezTo>
                  <a:cubicBezTo>
                    <a:pt x="137" y="26"/>
                    <a:pt x="137" y="26"/>
                    <a:pt x="137" y="26"/>
                  </a:cubicBezTo>
                  <a:cubicBezTo>
                    <a:pt x="138" y="27"/>
                    <a:pt x="138" y="27"/>
                    <a:pt x="138" y="27"/>
                  </a:cubicBezTo>
                  <a:cubicBezTo>
                    <a:pt x="139" y="28"/>
                    <a:pt x="139" y="28"/>
                    <a:pt x="139" y="28"/>
                  </a:cubicBezTo>
                  <a:cubicBezTo>
                    <a:pt x="140" y="30"/>
                    <a:pt x="140" y="32"/>
                    <a:pt x="139" y="33"/>
                  </a:cubicBezTo>
                  <a:cubicBezTo>
                    <a:pt x="143" y="34"/>
                    <a:pt x="145" y="35"/>
                    <a:pt x="146" y="37"/>
                  </a:cubicBezTo>
                  <a:cubicBezTo>
                    <a:pt x="147" y="38"/>
                    <a:pt x="147" y="40"/>
                    <a:pt x="145" y="42"/>
                  </a:cubicBezTo>
                  <a:cubicBezTo>
                    <a:pt x="144" y="43"/>
                    <a:pt x="144" y="43"/>
                    <a:pt x="144" y="43"/>
                  </a:cubicBezTo>
                  <a:cubicBezTo>
                    <a:pt x="143" y="43"/>
                    <a:pt x="143" y="43"/>
                    <a:pt x="143" y="43"/>
                  </a:cubicBezTo>
                  <a:cubicBezTo>
                    <a:pt x="143" y="44"/>
                    <a:pt x="142" y="44"/>
                    <a:pt x="142" y="44"/>
                  </a:cubicBezTo>
                  <a:cubicBezTo>
                    <a:pt x="141" y="44"/>
                    <a:pt x="141" y="44"/>
                    <a:pt x="141" y="44"/>
                  </a:cubicBezTo>
                  <a:cubicBezTo>
                    <a:pt x="141" y="44"/>
                    <a:pt x="141" y="44"/>
                    <a:pt x="141" y="44"/>
                  </a:cubicBezTo>
                  <a:cubicBezTo>
                    <a:pt x="141" y="45"/>
                    <a:pt x="141" y="45"/>
                    <a:pt x="142" y="45"/>
                  </a:cubicBezTo>
                  <a:cubicBezTo>
                    <a:pt x="142" y="46"/>
                    <a:pt x="142" y="46"/>
                    <a:pt x="142" y="46"/>
                  </a:cubicBezTo>
                  <a:cubicBezTo>
                    <a:pt x="145" y="50"/>
                    <a:pt x="143" y="54"/>
                    <a:pt x="142" y="56"/>
                  </a:cubicBezTo>
                  <a:cubicBezTo>
                    <a:pt x="142" y="57"/>
                    <a:pt x="142" y="57"/>
                    <a:pt x="141" y="58"/>
                  </a:cubicBezTo>
                  <a:cubicBezTo>
                    <a:pt x="141" y="59"/>
                    <a:pt x="141" y="59"/>
                    <a:pt x="141" y="59"/>
                  </a:cubicBezTo>
                  <a:cubicBezTo>
                    <a:pt x="142" y="60"/>
                    <a:pt x="143" y="61"/>
                    <a:pt x="144" y="62"/>
                  </a:cubicBezTo>
                  <a:cubicBezTo>
                    <a:pt x="147" y="66"/>
                    <a:pt x="147" y="66"/>
                    <a:pt x="147" y="66"/>
                  </a:cubicBezTo>
                  <a:cubicBezTo>
                    <a:pt x="147" y="67"/>
                    <a:pt x="147" y="67"/>
                    <a:pt x="147" y="67"/>
                  </a:cubicBezTo>
                  <a:cubicBezTo>
                    <a:pt x="147" y="67"/>
                    <a:pt x="147" y="67"/>
                    <a:pt x="148" y="67"/>
                  </a:cubicBezTo>
                  <a:cubicBezTo>
                    <a:pt x="148" y="67"/>
                    <a:pt x="149" y="67"/>
                    <a:pt x="150" y="66"/>
                  </a:cubicBezTo>
                  <a:cubicBezTo>
                    <a:pt x="151" y="66"/>
                    <a:pt x="152" y="65"/>
                    <a:pt x="154" y="65"/>
                  </a:cubicBezTo>
                  <a:cubicBezTo>
                    <a:pt x="158" y="65"/>
                    <a:pt x="158" y="65"/>
                    <a:pt x="158" y="65"/>
                  </a:cubicBezTo>
                  <a:cubicBezTo>
                    <a:pt x="156" y="70"/>
                    <a:pt x="156" y="70"/>
                    <a:pt x="156" y="70"/>
                  </a:cubicBezTo>
                  <a:cubicBezTo>
                    <a:pt x="156" y="71"/>
                    <a:pt x="156" y="71"/>
                    <a:pt x="156" y="71"/>
                  </a:cubicBezTo>
                  <a:cubicBezTo>
                    <a:pt x="156" y="72"/>
                    <a:pt x="156" y="72"/>
                    <a:pt x="156" y="72"/>
                  </a:cubicBezTo>
                  <a:cubicBezTo>
                    <a:pt x="156" y="72"/>
                    <a:pt x="156" y="72"/>
                    <a:pt x="156" y="72"/>
                  </a:cubicBezTo>
                  <a:cubicBezTo>
                    <a:pt x="156" y="73"/>
                    <a:pt x="156" y="74"/>
                    <a:pt x="156" y="74"/>
                  </a:cubicBezTo>
                  <a:cubicBezTo>
                    <a:pt x="156" y="74"/>
                    <a:pt x="156" y="74"/>
                    <a:pt x="156" y="74"/>
                  </a:cubicBezTo>
                  <a:cubicBezTo>
                    <a:pt x="156" y="74"/>
                    <a:pt x="157" y="75"/>
                    <a:pt x="159" y="75"/>
                  </a:cubicBezTo>
                  <a:cubicBezTo>
                    <a:pt x="161" y="75"/>
                    <a:pt x="161" y="75"/>
                    <a:pt x="161" y="75"/>
                  </a:cubicBezTo>
                  <a:cubicBezTo>
                    <a:pt x="162" y="75"/>
                    <a:pt x="163" y="76"/>
                    <a:pt x="165" y="76"/>
                  </a:cubicBezTo>
                  <a:cubicBezTo>
                    <a:pt x="165" y="76"/>
                    <a:pt x="166" y="76"/>
                    <a:pt x="166" y="76"/>
                  </a:cubicBezTo>
                  <a:cubicBezTo>
                    <a:pt x="167" y="77"/>
                    <a:pt x="167" y="77"/>
                    <a:pt x="167" y="77"/>
                  </a:cubicBezTo>
                  <a:cubicBezTo>
                    <a:pt x="168" y="77"/>
                    <a:pt x="169" y="78"/>
                    <a:pt x="169" y="78"/>
                  </a:cubicBezTo>
                  <a:cubicBezTo>
                    <a:pt x="171" y="80"/>
                    <a:pt x="172" y="82"/>
                    <a:pt x="171" y="86"/>
                  </a:cubicBezTo>
                  <a:cubicBezTo>
                    <a:pt x="169" y="89"/>
                    <a:pt x="166" y="90"/>
                    <a:pt x="164" y="91"/>
                  </a:cubicBezTo>
                  <a:cubicBezTo>
                    <a:pt x="163" y="91"/>
                    <a:pt x="163" y="91"/>
                    <a:pt x="163" y="91"/>
                  </a:cubicBezTo>
                  <a:cubicBezTo>
                    <a:pt x="162" y="92"/>
                    <a:pt x="161" y="92"/>
                    <a:pt x="161" y="92"/>
                  </a:cubicBezTo>
                  <a:cubicBezTo>
                    <a:pt x="160" y="93"/>
                    <a:pt x="160" y="93"/>
                    <a:pt x="160" y="93"/>
                  </a:cubicBezTo>
                  <a:cubicBezTo>
                    <a:pt x="159" y="93"/>
                    <a:pt x="159" y="93"/>
                    <a:pt x="158" y="93"/>
                  </a:cubicBezTo>
                  <a:cubicBezTo>
                    <a:pt x="157" y="93"/>
                    <a:pt x="157" y="93"/>
                    <a:pt x="157" y="94"/>
                  </a:cubicBezTo>
                  <a:cubicBezTo>
                    <a:pt x="156" y="94"/>
                    <a:pt x="156" y="94"/>
                    <a:pt x="156" y="94"/>
                  </a:cubicBezTo>
                  <a:cubicBezTo>
                    <a:pt x="155" y="94"/>
                    <a:pt x="155" y="94"/>
                    <a:pt x="155" y="94"/>
                  </a:cubicBezTo>
                  <a:cubicBezTo>
                    <a:pt x="154" y="95"/>
                    <a:pt x="154" y="95"/>
                    <a:pt x="154" y="95"/>
                  </a:cubicBezTo>
                  <a:cubicBezTo>
                    <a:pt x="153" y="96"/>
                    <a:pt x="152" y="96"/>
                    <a:pt x="152" y="97"/>
                  </a:cubicBezTo>
                  <a:cubicBezTo>
                    <a:pt x="152" y="97"/>
                    <a:pt x="152" y="97"/>
                    <a:pt x="152" y="97"/>
                  </a:cubicBezTo>
                  <a:cubicBezTo>
                    <a:pt x="153" y="99"/>
                    <a:pt x="153" y="99"/>
                    <a:pt x="153" y="99"/>
                  </a:cubicBezTo>
                  <a:cubicBezTo>
                    <a:pt x="153" y="101"/>
                    <a:pt x="153" y="103"/>
                    <a:pt x="153" y="105"/>
                  </a:cubicBezTo>
                  <a:cubicBezTo>
                    <a:pt x="153" y="106"/>
                    <a:pt x="153" y="106"/>
                    <a:pt x="153" y="106"/>
                  </a:cubicBezTo>
                  <a:cubicBezTo>
                    <a:pt x="153" y="106"/>
                    <a:pt x="154" y="107"/>
                    <a:pt x="154" y="108"/>
                  </a:cubicBezTo>
                  <a:cubicBezTo>
                    <a:pt x="154" y="110"/>
                    <a:pt x="154" y="110"/>
                    <a:pt x="154" y="110"/>
                  </a:cubicBezTo>
                  <a:cubicBezTo>
                    <a:pt x="154" y="112"/>
                    <a:pt x="154" y="113"/>
                    <a:pt x="155" y="114"/>
                  </a:cubicBezTo>
                  <a:cubicBezTo>
                    <a:pt x="155" y="116"/>
                    <a:pt x="153" y="118"/>
                    <a:pt x="151" y="120"/>
                  </a:cubicBezTo>
                  <a:cubicBezTo>
                    <a:pt x="149" y="122"/>
                    <a:pt x="147" y="123"/>
                    <a:pt x="145" y="125"/>
                  </a:cubicBezTo>
                  <a:cubicBezTo>
                    <a:pt x="145" y="125"/>
                    <a:pt x="145" y="125"/>
                    <a:pt x="145" y="125"/>
                  </a:cubicBezTo>
                  <a:cubicBezTo>
                    <a:pt x="144" y="125"/>
                    <a:pt x="142" y="127"/>
                    <a:pt x="142" y="127"/>
                  </a:cubicBezTo>
                  <a:cubicBezTo>
                    <a:pt x="142" y="127"/>
                    <a:pt x="142" y="127"/>
                    <a:pt x="142" y="127"/>
                  </a:cubicBezTo>
                  <a:cubicBezTo>
                    <a:pt x="141" y="128"/>
                    <a:pt x="140" y="129"/>
                    <a:pt x="139" y="131"/>
                  </a:cubicBezTo>
                  <a:cubicBezTo>
                    <a:pt x="138" y="131"/>
                    <a:pt x="138" y="131"/>
                    <a:pt x="138" y="131"/>
                  </a:cubicBezTo>
                  <a:cubicBezTo>
                    <a:pt x="138" y="132"/>
                    <a:pt x="138" y="132"/>
                    <a:pt x="137" y="132"/>
                  </a:cubicBezTo>
                  <a:cubicBezTo>
                    <a:pt x="137" y="133"/>
                    <a:pt x="138" y="133"/>
                    <a:pt x="138" y="134"/>
                  </a:cubicBezTo>
                  <a:cubicBezTo>
                    <a:pt x="138" y="134"/>
                    <a:pt x="138" y="134"/>
                    <a:pt x="138" y="134"/>
                  </a:cubicBezTo>
                  <a:cubicBezTo>
                    <a:pt x="139" y="135"/>
                    <a:pt x="139" y="135"/>
                    <a:pt x="139" y="135"/>
                  </a:cubicBezTo>
                  <a:cubicBezTo>
                    <a:pt x="141" y="137"/>
                    <a:pt x="141" y="137"/>
                    <a:pt x="141" y="137"/>
                  </a:cubicBezTo>
                  <a:cubicBezTo>
                    <a:pt x="138" y="139"/>
                    <a:pt x="138" y="139"/>
                    <a:pt x="138" y="139"/>
                  </a:cubicBezTo>
                  <a:cubicBezTo>
                    <a:pt x="136" y="140"/>
                    <a:pt x="135" y="140"/>
                    <a:pt x="134" y="141"/>
                  </a:cubicBezTo>
                  <a:cubicBezTo>
                    <a:pt x="133" y="142"/>
                    <a:pt x="133" y="142"/>
                    <a:pt x="133" y="142"/>
                  </a:cubicBezTo>
                  <a:cubicBezTo>
                    <a:pt x="131" y="142"/>
                    <a:pt x="129" y="143"/>
                    <a:pt x="127" y="144"/>
                  </a:cubicBezTo>
                  <a:cubicBezTo>
                    <a:pt x="126" y="145"/>
                    <a:pt x="125" y="145"/>
                    <a:pt x="125" y="145"/>
                  </a:cubicBezTo>
                  <a:cubicBezTo>
                    <a:pt x="124" y="146"/>
                    <a:pt x="124" y="149"/>
                    <a:pt x="124" y="150"/>
                  </a:cubicBezTo>
                  <a:cubicBezTo>
                    <a:pt x="123" y="151"/>
                    <a:pt x="123" y="151"/>
                    <a:pt x="123" y="151"/>
                  </a:cubicBezTo>
                  <a:cubicBezTo>
                    <a:pt x="123" y="153"/>
                    <a:pt x="123" y="153"/>
                    <a:pt x="123" y="153"/>
                  </a:cubicBezTo>
                  <a:cubicBezTo>
                    <a:pt x="123" y="154"/>
                    <a:pt x="122" y="154"/>
                    <a:pt x="122" y="155"/>
                  </a:cubicBezTo>
                  <a:cubicBezTo>
                    <a:pt x="121" y="157"/>
                    <a:pt x="120" y="158"/>
                    <a:pt x="120" y="160"/>
                  </a:cubicBezTo>
                  <a:cubicBezTo>
                    <a:pt x="119" y="160"/>
                    <a:pt x="119" y="160"/>
                    <a:pt x="119" y="160"/>
                  </a:cubicBezTo>
                  <a:cubicBezTo>
                    <a:pt x="118" y="162"/>
                    <a:pt x="118" y="163"/>
                    <a:pt x="117" y="164"/>
                  </a:cubicBezTo>
                  <a:cubicBezTo>
                    <a:pt x="114" y="168"/>
                    <a:pt x="113" y="169"/>
                    <a:pt x="109" y="171"/>
                  </a:cubicBezTo>
                  <a:cubicBezTo>
                    <a:pt x="108" y="172"/>
                    <a:pt x="108" y="172"/>
                    <a:pt x="108" y="172"/>
                  </a:cubicBezTo>
                  <a:cubicBezTo>
                    <a:pt x="108" y="172"/>
                    <a:pt x="107" y="172"/>
                    <a:pt x="106" y="173"/>
                  </a:cubicBezTo>
                  <a:cubicBezTo>
                    <a:pt x="104" y="174"/>
                    <a:pt x="103" y="175"/>
                    <a:pt x="102" y="176"/>
                  </a:cubicBezTo>
                  <a:cubicBezTo>
                    <a:pt x="104" y="178"/>
                    <a:pt x="104" y="178"/>
                    <a:pt x="104" y="178"/>
                  </a:cubicBezTo>
                  <a:cubicBezTo>
                    <a:pt x="101" y="177"/>
                    <a:pt x="101" y="177"/>
                    <a:pt x="101" y="177"/>
                  </a:cubicBezTo>
                  <a:cubicBezTo>
                    <a:pt x="86" y="197"/>
                    <a:pt x="86" y="197"/>
                    <a:pt x="86" y="197"/>
                  </a:cubicBezTo>
                  <a:cubicBezTo>
                    <a:pt x="85" y="198"/>
                    <a:pt x="84" y="198"/>
                    <a:pt x="83" y="198"/>
                  </a:cubicBezTo>
                  <a:cubicBezTo>
                    <a:pt x="82" y="199"/>
                    <a:pt x="80" y="199"/>
                    <a:pt x="77" y="199"/>
                  </a:cubicBezTo>
                  <a:cubicBezTo>
                    <a:pt x="76" y="199"/>
                    <a:pt x="76" y="199"/>
                    <a:pt x="76" y="199"/>
                  </a:cubicBezTo>
                  <a:cubicBezTo>
                    <a:pt x="76" y="199"/>
                    <a:pt x="76" y="199"/>
                    <a:pt x="75" y="199"/>
                  </a:cubicBezTo>
                  <a:cubicBezTo>
                    <a:pt x="75" y="200"/>
                    <a:pt x="74" y="200"/>
                    <a:pt x="74" y="200"/>
                  </a:cubicBezTo>
                  <a:cubicBezTo>
                    <a:pt x="73" y="200"/>
                    <a:pt x="73" y="200"/>
                    <a:pt x="73" y="200"/>
                  </a:cubicBezTo>
                  <a:cubicBezTo>
                    <a:pt x="73" y="200"/>
                    <a:pt x="73" y="200"/>
                    <a:pt x="73" y="200"/>
                  </a:cubicBezTo>
                  <a:cubicBezTo>
                    <a:pt x="71" y="201"/>
                    <a:pt x="69" y="201"/>
                    <a:pt x="67" y="202"/>
                  </a:cubicBezTo>
                  <a:cubicBezTo>
                    <a:pt x="67" y="202"/>
                    <a:pt x="67" y="202"/>
                    <a:pt x="66" y="202"/>
                  </a:cubicBezTo>
                  <a:cubicBezTo>
                    <a:pt x="65" y="203"/>
                    <a:pt x="64" y="203"/>
                    <a:pt x="64" y="203"/>
                  </a:cubicBezTo>
                  <a:cubicBezTo>
                    <a:pt x="62" y="203"/>
                    <a:pt x="61" y="202"/>
                    <a:pt x="60" y="202"/>
                  </a:cubicBezTo>
                  <a:cubicBezTo>
                    <a:pt x="60" y="201"/>
                    <a:pt x="60" y="201"/>
                    <a:pt x="60" y="201"/>
                  </a:cubicBezTo>
                  <a:cubicBezTo>
                    <a:pt x="59" y="201"/>
                    <a:pt x="59" y="201"/>
                    <a:pt x="59" y="200"/>
                  </a:cubicBezTo>
                  <a:cubicBezTo>
                    <a:pt x="58" y="199"/>
                    <a:pt x="57" y="198"/>
                    <a:pt x="57" y="198"/>
                  </a:cubicBezTo>
                  <a:cubicBezTo>
                    <a:pt x="56" y="197"/>
                    <a:pt x="56" y="196"/>
                    <a:pt x="56" y="196"/>
                  </a:cubicBezTo>
                  <a:cubicBezTo>
                    <a:pt x="55" y="196"/>
                    <a:pt x="55" y="196"/>
                    <a:pt x="55" y="196"/>
                  </a:cubicBezTo>
                  <a:cubicBezTo>
                    <a:pt x="55" y="195"/>
                    <a:pt x="55" y="195"/>
                    <a:pt x="55" y="195"/>
                  </a:cubicBezTo>
                  <a:cubicBezTo>
                    <a:pt x="55" y="195"/>
                    <a:pt x="55" y="195"/>
                    <a:pt x="55" y="195"/>
                  </a:cubicBezTo>
                  <a:cubicBezTo>
                    <a:pt x="54" y="195"/>
                    <a:pt x="54" y="195"/>
                    <a:pt x="54" y="195"/>
                  </a:cubicBezTo>
                  <a:cubicBezTo>
                    <a:pt x="54" y="195"/>
                    <a:pt x="54" y="195"/>
                    <a:pt x="54" y="195"/>
                  </a:cubicBezTo>
                  <a:cubicBezTo>
                    <a:pt x="53" y="195"/>
                    <a:pt x="53" y="195"/>
                    <a:pt x="53" y="196"/>
                  </a:cubicBezTo>
                  <a:cubicBezTo>
                    <a:pt x="52" y="196"/>
                    <a:pt x="52" y="196"/>
                    <a:pt x="52" y="196"/>
                  </a:cubicBezTo>
                  <a:cubicBezTo>
                    <a:pt x="51" y="197"/>
                    <a:pt x="51" y="197"/>
                    <a:pt x="51" y="197"/>
                  </a:cubicBezTo>
                  <a:cubicBezTo>
                    <a:pt x="51" y="197"/>
                    <a:pt x="51" y="197"/>
                    <a:pt x="51" y="197"/>
                  </a:cubicBezTo>
                  <a:cubicBezTo>
                    <a:pt x="49" y="199"/>
                    <a:pt x="49" y="199"/>
                    <a:pt x="49" y="199"/>
                  </a:cubicBezTo>
                  <a:cubicBezTo>
                    <a:pt x="48" y="200"/>
                    <a:pt x="48" y="200"/>
                    <a:pt x="48" y="200"/>
                  </a:cubicBezTo>
                  <a:cubicBezTo>
                    <a:pt x="48" y="200"/>
                    <a:pt x="48" y="200"/>
                    <a:pt x="48" y="200"/>
                  </a:cubicBezTo>
                  <a:cubicBezTo>
                    <a:pt x="47" y="201"/>
                    <a:pt x="47" y="202"/>
                    <a:pt x="46" y="202"/>
                  </a:cubicBezTo>
                  <a:cubicBezTo>
                    <a:pt x="45" y="204"/>
                    <a:pt x="44" y="205"/>
                    <a:pt x="43" y="207"/>
                  </a:cubicBezTo>
                  <a:cubicBezTo>
                    <a:pt x="41" y="209"/>
                    <a:pt x="38" y="212"/>
                    <a:pt x="36" y="215"/>
                  </a:cubicBezTo>
                  <a:cubicBezTo>
                    <a:pt x="34" y="218"/>
                    <a:pt x="33" y="221"/>
                    <a:pt x="34" y="222"/>
                  </a:cubicBezTo>
                  <a:cubicBezTo>
                    <a:pt x="34" y="223"/>
                    <a:pt x="34" y="223"/>
                    <a:pt x="34" y="223"/>
                  </a:cubicBezTo>
                  <a:cubicBezTo>
                    <a:pt x="35" y="224"/>
                    <a:pt x="36" y="224"/>
                    <a:pt x="38" y="225"/>
                  </a:cubicBezTo>
                  <a:cubicBezTo>
                    <a:pt x="39" y="225"/>
                    <a:pt x="39" y="225"/>
                    <a:pt x="39" y="225"/>
                  </a:cubicBezTo>
                  <a:cubicBezTo>
                    <a:pt x="40" y="225"/>
                    <a:pt x="42" y="225"/>
                    <a:pt x="43" y="226"/>
                  </a:cubicBezTo>
                  <a:cubicBezTo>
                    <a:pt x="44" y="226"/>
                    <a:pt x="44" y="226"/>
                    <a:pt x="45" y="226"/>
                  </a:cubicBezTo>
                  <a:cubicBezTo>
                    <a:pt x="46" y="226"/>
                    <a:pt x="47" y="226"/>
                    <a:pt x="47" y="227"/>
                  </a:cubicBezTo>
                  <a:cubicBezTo>
                    <a:pt x="49" y="228"/>
                    <a:pt x="50" y="229"/>
                    <a:pt x="50" y="231"/>
                  </a:cubicBezTo>
                  <a:cubicBezTo>
                    <a:pt x="50" y="233"/>
                    <a:pt x="50" y="234"/>
                    <a:pt x="50" y="236"/>
                  </a:cubicBezTo>
                  <a:cubicBezTo>
                    <a:pt x="49" y="238"/>
                    <a:pt x="49" y="240"/>
                    <a:pt x="50" y="241"/>
                  </a:cubicBezTo>
                  <a:cubicBezTo>
                    <a:pt x="50" y="242"/>
                    <a:pt x="50" y="242"/>
                    <a:pt x="50" y="243"/>
                  </a:cubicBezTo>
                  <a:cubicBezTo>
                    <a:pt x="50" y="244"/>
                    <a:pt x="50" y="244"/>
                    <a:pt x="50" y="244"/>
                  </a:cubicBezTo>
                  <a:cubicBezTo>
                    <a:pt x="51" y="245"/>
                    <a:pt x="51" y="247"/>
                    <a:pt x="52" y="248"/>
                  </a:cubicBezTo>
                  <a:cubicBezTo>
                    <a:pt x="52" y="248"/>
                    <a:pt x="52" y="248"/>
                    <a:pt x="52" y="248"/>
                  </a:cubicBezTo>
                  <a:cubicBezTo>
                    <a:pt x="53" y="248"/>
                    <a:pt x="53" y="248"/>
                    <a:pt x="53" y="248"/>
                  </a:cubicBezTo>
                  <a:cubicBezTo>
                    <a:pt x="54" y="248"/>
                    <a:pt x="54" y="248"/>
                    <a:pt x="54" y="248"/>
                  </a:cubicBezTo>
                  <a:cubicBezTo>
                    <a:pt x="54" y="248"/>
                    <a:pt x="54" y="248"/>
                    <a:pt x="54" y="248"/>
                  </a:cubicBezTo>
                  <a:cubicBezTo>
                    <a:pt x="55" y="248"/>
                    <a:pt x="55" y="248"/>
                    <a:pt x="55" y="248"/>
                  </a:cubicBezTo>
                  <a:cubicBezTo>
                    <a:pt x="55" y="248"/>
                    <a:pt x="55" y="248"/>
                    <a:pt x="55" y="248"/>
                  </a:cubicBezTo>
                  <a:cubicBezTo>
                    <a:pt x="55" y="248"/>
                    <a:pt x="56" y="248"/>
                    <a:pt x="56" y="248"/>
                  </a:cubicBezTo>
                  <a:cubicBezTo>
                    <a:pt x="56" y="248"/>
                    <a:pt x="57" y="248"/>
                    <a:pt x="57" y="248"/>
                  </a:cubicBezTo>
                  <a:cubicBezTo>
                    <a:pt x="58" y="248"/>
                    <a:pt x="58" y="248"/>
                    <a:pt x="58" y="248"/>
                  </a:cubicBezTo>
                  <a:cubicBezTo>
                    <a:pt x="60" y="248"/>
                    <a:pt x="61" y="250"/>
                    <a:pt x="62" y="251"/>
                  </a:cubicBezTo>
                  <a:cubicBezTo>
                    <a:pt x="62" y="253"/>
                    <a:pt x="62" y="253"/>
                    <a:pt x="62" y="254"/>
                  </a:cubicBezTo>
                  <a:cubicBezTo>
                    <a:pt x="63" y="256"/>
                    <a:pt x="63" y="257"/>
                    <a:pt x="64" y="259"/>
                  </a:cubicBezTo>
                  <a:cubicBezTo>
                    <a:pt x="64" y="259"/>
                    <a:pt x="64" y="260"/>
                    <a:pt x="64" y="260"/>
                  </a:cubicBezTo>
                  <a:cubicBezTo>
                    <a:pt x="65" y="261"/>
                    <a:pt x="65" y="261"/>
                    <a:pt x="65" y="261"/>
                  </a:cubicBezTo>
                  <a:cubicBezTo>
                    <a:pt x="65" y="261"/>
                    <a:pt x="65" y="261"/>
                    <a:pt x="65" y="261"/>
                  </a:cubicBezTo>
                  <a:cubicBezTo>
                    <a:pt x="70" y="272"/>
                    <a:pt x="70" y="272"/>
                    <a:pt x="70" y="272"/>
                  </a:cubicBezTo>
                  <a:cubicBezTo>
                    <a:pt x="71" y="274"/>
                    <a:pt x="71" y="275"/>
                    <a:pt x="71" y="276"/>
                  </a:cubicBezTo>
                  <a:cubicBezTo>
                    <a:pt x="71" y="277"/>
                    <a:pt x="70" y="278"/>
                    <a:pt x="70" y="279"/>
                  </a:cubicBezTo>
                  <a:cubicBezTo>
                    <a:pt x="69" y="280"/>
                    <a:pt x="69" y="280"/>
                    <a:pt x="69" y="280"/>
                  </a:cubicBezTo>
                  <a:cubicBezTo>
                    <a:pt x="70" y="280"/>
                    <a:pt x="70" y="280"/>
                    <a:pt x="70" y="280"/>
                  </a:cubicBezTo>
                  <a:cubicBezTo>
                    <a:pt x="70" y="280"/>
                    <a:pt x="70" y="280"/>
                    <a:pt x="70" y="280"/>
                  </a:cubicBezTo>
                  <a:cubicBezTo>
                    <a:pt x="71" y="282"/>
                    <a:pt x="71" y="282"/>
                    <a:pt x="71" y="282"/>
                  </a:cubicBezTo>
                  <a:cubicBezTo>
                    <a:pt x="71" y="282"/>
                    <a:pt x="71" y="282"/>
                    <a:pt x="71" y="282"/>
                  </a:cubicBezTo>
                  <a:cubicBezTo>
                    <a:pt x="72" y="284"/>
                    <a:pt x="70" y="285"/>
                    <a:pt x="70" y="286"/>
                  </a:cubicBezTo>
                  <a:cubicBezTo>
                    <a:pt x="69" y="287"/>
                    <a:pt x="68" y="287"/>
                    <a:pt x="67" y="287"/>
                  </a:cubicBezTo>
                  <a:cubicBezTo>
                    <a:pt x="67" y="287"/>
                    <a:pt x="67" y="287"/>
                    <a:pt x="66" y="288"/>
                  </a:cubicBezTo>
                  <a:cubicBezTo>
                    <a:pt x="66" y="288"/>
                    <a:pt x="66" y="288"/>
                    <a:pt x="66" y="288"/>
                  </a:cubicBezTo>
                  <a:cubicBezTo>
                    <a:pt x="66" y="288"/>
                    <a:pt x="66" y="288"/>
                    <a:pt x="66" y="288"/>
                  </a:cubicBezTo>
                  <a:cubicBezTo>
                    <a:pt x="65" y="289"/>
                    <a:pt x="65" y="289"/>
                    <a:pt x="65" y="289"/>
                  </a:cubicBezTo>
                  <a:cubicBezTo>
                    <a:pt x="64" y="289"/>
                    <a:pt x="64" y="289"/>
                    <a:pt x="64" y="289"/>
                  </a:cubicBezTo>
                  <a:cubicBezTo>
                    <a:pt x="63" y="290"/>
                    <a:pt x="63" y="290"/>
                    <a:pt x="62" y="290"/>
                  </a:cubicBezTo>
                  <a:cubicBezTo>
                    <a:pt x="61" y="290"/>
                    <a:pt x="61" y="290"/>
                    <a:pt x="60" y="290"/>
                  </a:cubicBezTo>
                  <a:cubicBezTo>
                    <a:pt x="59" y="289"/>
                    <a:pt x="58" y="289"/>
                    <a:pt x="56" y="288"/>
                  </a:cubicBezTo>
                  <a:cubicBezTo>
                    <a:pt x="56" y="287"/>
                    <a:pt x="55" y="287"/>
                    <a:pt x="55" y="287"/>
                  </a:cubicBezTo>
                  <a:cubicBezTo>
                    <a:pt x="55" y="286"/>
                    <a:pt x="55" y="286"/>
                    <a:pt x="55" y="286"/>
                  </a:cubicBezTo>
                  <a:cubicBezTo>
                    <a:pt x="55" y="286"/>
                    <a:pt x="55" y="286"/>
                    <a:pt x="55" y="286"/>
                  </a:cubicBezTo>
                  <a:cubicBezTo>
                    <a:pt x="53" y="287"/>
                    <a:pt x="53" y="287"/>
                    <a:pt x="53" y="287"/>
                  </a:cubicBezTo>
                  <a:cubicBezTo>
                    <a:pt x="51" y="287"/>
                    <a:pt x="49" y="288"/>
                    <a:pt x="48" y="288"/>
                  </a:cubicBezTo>
                  <a:cubicBezTo>
                    <a:pt x="48" y="289"/>
                    <a:pt x="48" y="289"/>
                    <a:pt x="48" y="289"/>
                  </a:cubicBezTo>
                  <a:cubicBezTo>
                    <a:pt x="46" y="291"/>
                    <a:pt x="46" y="291"/>
                    <a:pt x="46" y="291"/>
                  </a:cubicBezTo>
                  <a:cubicBezTo>
                    <a:pt x="46" y="291"/>
                    <a:pt x="46" y="291"/>
                    <a:pt x="46" y="291"/>
                  </a:cubicBezTo>
                  <a:cubicBezTo>
                    <a:pt x="44" y="292"/>
                    <a:pt x="43" y="292"/>
                    <a:pt x="42" y="292"/>
                  </a:cubicBezTo>
                  <a:cubicBezTo>
                    <a:pt x="41" y="292"/>
                    <a:pt x="41" y="292"/>
                    <a:pt x="40" y="292"/>
                  </a:cubicBezTo>
                  <a:cubicBezTo>
                    <a:pt x="39" y="292"/>
                    <a:pt x="38" y="292"/>
                    <a:pt x="37" y="291"/>
                  </a:cubicBezTo>
                  <a:cubicBezTo>
                    <a:pt x="36" y="291"/>
                    <a:pt x="36" y="291"/>
                    <a:pt x="35" y="291"/>
                  </a:cubicBezTo>
                  <a:cubicBezTo>
                    <a:pt x="28" y="290"/>
                    <a:pt x="28" y="290"/>
                    <a:pt x="28" y="290"/>
                  </a:cubicBezTo>
                  <a:cubicBezTo>
                    <a:pt x="24" y="290"/>
                    <a:pt x="20" y="289"/>
                    <a:pt x="17" y="289"/>
                  </a:cubicBezTo>
                  <a:cubicBezTo>
                    <a:pt x="17" y="290"/>
                    <a:pt x="17" y="291"/>
                    <a:pt x="16" y="293"/>
                  </a:cubicBezTo>
                  <a:cubicBezTo>
                    <a:pt x="16" y="293"/>
                    <a:pt x="16" y="293"/>
                    <a:pt x="16" y="293"/>
                  </a:cubicBezTo>
                  <a:cubicBezTo>
                    <a:pt x="16" y="294"/>
                    <a:pt x="16" y="294"/>
                    <a:pt x="16" y="295"/>
                  </a:cubicBezTo>
                  <a:cubicBezTo>
                    <a:pt x="16" y="296"/>
                    <a:pt x="16" y="296"/>
                    <a:pt x="16" y="296"/>
                  </a:cubicBezTo>
                  <a:cubicBezTo>
                    <a:pt x="15" y="296"/>
                    <a:pt x="14" y="297"/>
                    <a:pt x="14" y="297"/>
                  </a:cubicBezTo>
                  <a:cubicBezTo>
                    <a:pt x="13" y="297"/>
                    <a:pt x="12" y="297"/>
                    <a:pt x="11" y="297"/>
                  </a:cubicBezTo>
                  <a:cubicBezTo>
                    <a:pt x="11" y="297"/>
                    <a:pt x="11" y="297"/>
                    <a:pt x="11" y="297"/>
                  </a:cubicBezTo>
                  <a:cubicBezTo>
                    <a:pt x="11" y="297"/>
                    <a:pt x="10" y="297"/>
                    <a:pt x="10" y="297"/>
                  </a:cubicBezTo>
                  <a:cubicBezTo>
                    <a:pt x="9" y="297"/>
                    <a:pt x="9" y="297"/>
                    <a:pt x="9" y="297"/>
                  </a:cubicBezTo>
                  <a:cubicBezTo>
                    <a:pt x="0" y="304"/>
                    <a:pt x="0" y="304"/>
                    <a:pt x="0" y="304"/>
                  </a:cubicBezTo>
                  <a:cubicBezTo>
                    <a:pt x="1" y="304"/>
                    <a:pt x="1" y="304"/>
                    <a:pt x="2" y="304"/>
                  </a:cubicBezTo>
                  <a:cubicBezTo>
                    <a:pt x="3" y="304"/>
                    <a:pt x="4" y="303"/>
                    <a:pt x="4" y="302"/>
                  </a:cubicBezTo>
                  <a:cubicBezTo>
                    <a:pt x="7" y="300"/>
                    <a:pt x="11" y="299"/>
                    <a:pt x="14" y="297"/>
                  </a:cubicBezTo>
                  <a:cubicBezTo>
                    <a:pt x="14" y="297"/>
                    <a:pt x="14" y="297"/>
                    <a:pt x="14" y="297"/>
                  </a:cubicBezTo>
                  <a:cubicBezTo>
                    <a:pt x="14" y="297"/>
                    <a:pt x="14" y="297"/>
                    <a:pt x="14" y="297"/>
                  </a:cubicBezTo>
                  <a:cubicBezTo>
                    <a:pt x="13" y="298"/>
                    <a:pt x="11" y="299"/>
                    <a:pt x="10" y="300"/>
                  </a:cubicBezTo>
                  <a:cubicBezTo>
                    <a:pt x="9" y="301"/>
                    <a:pt x="8" y="303"/>
                    <a:pt x="7" y="303"/>
                  </a:cubicBezTo>
                  <a:cubicBezTo>
                    <a:pt x="7" y="303"/>
                    <a:pt x="6" y="303"/>
                    <a:pt x="6" y="303"/>
                  </a:cubicBezTo>
                  <a:cubicBezTo>
                    <a:pt x="7" y="303"/>
                    <a:pt x="7" y="303"/>
                    <a:pt x="7" y="303"/>
                  </a:cubicBezTo>
                  <a:cubicBezTo>
                    <a:pt x="7" y="304"/>
                    <a:pt x="7" y="304"/>
                    <a:pt x="7" y="304"/>
                  </a:cubicBezTo>
                  <a:cubicBezTo>
                    <a:pt x="8" y="307"/>
                    <a:pt x="9" y="309"/>
                    <a:pt x="10" y="311"/>
                  </a:cubicBezTo>
                  <a:cubicBezTo>
                    <a:pt x="11" y="313"/>
                    <a:pt x="12" y="314"/>
                    <a:pt x="14" y="316"/>
                  </a:cubicBezTo>
                  <a:cubicBezTo>
                    <a:pt x="15" y="316"/>
                    <a:pt x="15" y="317"/>
                    <a:pt x="16" y="318"/>
                  </a:cubicBezTo>
                  <a:cubicBezTo>
                    <a:pt x="17" y="318"/>
                    <a:pt x="18" y="319"/>
                    <a:pt x="19" y="319"/>
                  </a:cubicBezTo>
                  <a:cubicBezTo>
                    <a:pt x="21" y="320"/>
                    <a:pt x="23" y="321"/>
                    <a:pt x="26" y="322"/>
                  </a:cubicBezTo>
                  <a:cubicBezTo>
                    <a:pt x="26" y="322"/>
                    <a:pt x="27" y="323"/>
                    <a:pt x="28" y="323"/>
                  </a:cubicBezTo>
                  <a:cubicBezTo>
                    <a:pt x="29" y="323"/>
                    <a:pt x="31" y="324"/>
                    <a:pt x="33" y="324"/>
                  </a:cubicBezTo>
                  <a:cubicBezTo>
                    <a:pt x="33" y="325"/>
                    <a:pt x="34" y="325"/>
                    <a:pt x="35" y="325"/>
                  </a:cubicBezTo>
                  <a:cubicBezTo>
                    <a:pt x="36" y="325"/>
                    <a:pt x="36" y="325"/>
                    <a:pt x="36" y="325"/>
                  </a:cubicBezTo>
                  <a:cubicBezTo>
                    <a:pt x="38" y="324"/>
                    <a:pt x="39" y="322"/>
                    <a:pt x="41" y="321"/>
                  </a:cubicBezTo>
                  <a:cubicBezTo>
                    <a:pt x="43" y="321"/>
                    <a:pt x="46" y="321"/>
                    <a:pt x="46" y="319"/>
                  </a:cubicBezTo>
                  <a:cubicBezTo>
                    <a:pt x="47" y="320"/>
                    <a:pt x="47" y="320"/>
                    <a:pt x="47" y="320"/>
                  </a:cubicBezTo>
                  <a:cubicBezTo>
                    <a:pt x="48" y="320"/>
                    <a:pt x="49" y="320"/>
                    <a:pt x="51" y="320"/>
                  </a:cubicBezTo>
                  <a:cubicBezTo>
                    <a:pt x="51" y="320"/>
                    <a:pt x="52" y="320"/>
                    <a:pt x="52" y="320"/>
                  </a:cubicBezTo>
                  <a:cubicBezTo>
                    <a:pt x="53" y="319"/>
                    <a:pt x="53" y="316"/>
                    <a:pt x="55" y="315"/>
                  </a:cubicBezTo>
                  <a:cubicBezTo>
                    <a:pt x="53" y="318"/>
                    <a:pt x="52" y="322"/>
                    <a:pt x="50" y="325"/>
                  </a:cubicBezTo>
                  <a:cubicBezTo>
                    <a:pt x="49" y="327"/>
                    <a:pt x="48" y="329"/>
                    <a:pt x="46" y="330"/>
                  </a:cubicBezTo>
                  <a:cubicBezTo>
                    <a:pt x="46" y="330"/>
                    <a:pt x="45" y="330"/>
                    <a:pt x="45" y="331"/>
                  </a:cubicBezTo>
                  <a:cubicBezTo>
                    <a:pt x="41" y="332"/>
                    <a:pt x="36" y="333"/>
                    <a:pt x="33" y="334"/>
                  </a:cubicBezTo>
                  <a:cubicBezTo>
                    <a:pt x="33" y="334"/>
                    <a:pt x="32" y="334"/>
                    <a:pt x="32" y="334"/>
                  </a:cubicBezTo>
                  <a:cubicBezTo>
                    <a:pt x="30" y="335"/>
                    <a:pt x="27" y="336"/>
                    <a:pt x="25" y="336"/>
                  </a:cubicBezTo>
                  <a:cubicBezTo>
                    <a:pt x="23" y="336"/>
                    <a:pt x="22" y="335"/>
                    <a:pt x="24" y="333"/>
                  </a:cubicBezTo>
                  <a:cubicBezTo>
                    <a:pt x="24" y="333"/>
                    <a:pt x="24" y="333"/>
                    <a:pt x="24" y="333"/>
                  </a:cubicBezTo>
                  <a:cubicBezTo>
                    <a:pt x="23" y="333"/>
                    <a:pt x="22" y="333"/>
                    <a:pt x="21" y="333"/>
                  </a:cubicBezTo>
                  <a:cubicBezTo>
                    <a:pt x="18" y="333"/>
                    <a:pt x="18" y="335"/>
                    <a:pt x="19" y="337"/>
                  </a:cubicBezTo>
                  <a:cubicBezTo>
                    <a:pt x="20" y="338"/>
                    <a:pt x="20" y="339"/>
                    <a:pt x="21" y="339"/>
                  </a:cubicBezTo>
                  <a:cubicBezTo>
                    <a:pt x="22" y="340"/>
                    <a:pt x="22" y="342"/>
                    <a:pt x="23" y="343"/>
                  </a:cubicBezTo>
                  <a:cubicBezTo>
                    <a:pt x="24" y="344"/>
                    <a:pt x="25" y="345"/>
                    <a:pt x="27" y="346"/>
                  </a:cubicBezTo>
                  <a:cubicBezTo>
                    <a:pt x="27" y="346"/>
                    <a:pt x="28" y="347"/>
                    <a:pt x="28" y="347"/>
                  </a:cubicBezTo>
                  <a:cubicBezTo>
                    <a:pt x="30" y="348"/>
                    <a:pt x="31" y="350"/>
                    <a:pt x="33" y="351"/>
                  </a:cubicBezTo>
                  <a:cubicBezTo>
                    <a:pt x="35" y="353"/>
                    <a:pt x="36" y="354"/>
                    <a:pt x="38" y="356"/>
                  </a:cubicBezTo>
                  <a:cubicBezTo>
                    <a:pt x="39" y="357"/>
                    <a:pt x="40" y="358"/>
                    <a:pt x="41" y="360"/>
                  </a:cubicBezTo>
                  <a:cubicBezTo>
                    <a:pt x="42" y="361"/>
                    <a:pt x="42" y="361"/>
                    <a:pt x="42" y="361"/>
                  </a:cubicBezTo>
                  <a:cubicBezTo>
                    <a:pt x="43" y="362"/>
                    <a:pt x="45" y="364"/>
                    <a:pt x="46" y="365"/>
                  </a:cubicBezTo>
                  <a:cubicBezTo>
                    <a:pt x="48" y="367"/>
                    <a:pt x="49" y="369"/>
                    <a:pt x="51" y="370"/>
                  </a:cubicBezTo>
                  <a:cubicBezTo>
                    <a:pt x="53" y="371"/>
                    <a:pt x="54" y="372"/>
                    <a:pt x="56" y="372"/>
                  </a:cubicBezTo>
                  <a:cubicBezTo>
                    <a:pt x="56" y="373"/>
                    <a:pt x="57" y="373"/>
                    <a:pt x="57" y="373"/>
                  </a:cubicBezTo>
                  <a:cubicBezTo>
                    <a:pt x="59" y="373"/>
                    <a:pt x="62" y="374"/>
                    <a:pt x="65" y="374"/>
                  </a:cubicBezTo>
                  <a:cubicBezTo>
                    <a:pt x="65" y="375"/>
                    <a:pt x="65" y="375"/>
                    <a:pt x="65" y="375"/>
                  </a:cubicBezTo>
                  <a:cubicBezTo>
                    <a:pt x="66" y="375"/>
                    <a:pt x="66" y="375"/>
                    <a:pt x="66" y="374"/>
                  </a:cubicBezTo>
                  <a:cubicBezTo>
                    <a:pt x="70" y="373"/>
                    <a:pt x="73" y="371"/>
                    <a:pt x="77" y="370"/>
                  </a:cubicBezTo>
                  <a:cubicBezTo>
                    <a:pt x="78" y="370"/>
                    <a:pt x="78" y="369"/>
                    <a:pt x="79" y="369"/>
                  </a:cubicBezTo>
                  <a:cubicBezTo>
                    <a:pt x="84" y="367"/>
                    <a:pt x="90" y="365"/>
                    <a:pt x="93" y="362"/>
                  </a:cubicBezTo>
                  <a:cubicBezTo>
                    <a:pt x="94" y="360"/>
                    <a:pt x="95" y="357"/>
                    <a:pt x="96" y="354"/>
                  </a:cubicBezTo>
                  <a:cubicBezTo>
                    <a:pt x="97" y="352"/>
                    <a:pt x="97" y="352"/>
                    <a:pt x="97" y="352"/>
                  </a:cubicBezTo>
                  <a:cubicBezTo>
                    <a:pt x="96" y="351"/>
                    <a:pt x="96" y="351"/>
                    <a:pt x="96" y="351"/>
                  </a:cubicBezTo>
                  <a:cubicBezTo>
                    <a:pt x="95" y="349"/>
                    <a:pt x="93" y="349"/>
                    <a:pt x="91" y="348"/>
                  </a:cubicBezTo>
                  <a:cubicBezTo>
                    <a:pt x="91" y="347"/>
                    <a:pt x="91" y="347"/>
                    <a:pt x="90" y="347"/>
                  </a:cubicBezTo>
                  <a:cubicBezTo>
                    <a:pt x="91" y="346"/>
                    <a:pt x="91" y="346"/>
                    <a:pt x="92" y="346"/>
                  </a:cubicBezTo>
                  <a:cubicBezTo>
                    <a:pt x="92" y="346"/>
                    <a:pt x="93" y="346"/>
                    <a:pt x="93" y="346"/>
                  </a:cubicBezTo>
                  <a:cubicBezTo>
                    <a:pt x="93" y="346"/>
                    <a:pt x="93" y="346"/>
                    <a:pt x="94" y="346"/>
                  </a:cubicBezTo>
                  <a:cubicBezTo>
                    <a:pt x="94" y="346"/>
                    <a:pt x="94" y="346"/>
                    <a:pt x="94" y="346"/>
                  </a:cubicBezTo>
                  <a:cubicBezTo>
                    <a:pt x="93" y="345"/>
                    <a:pt x="93" y="345"/>
                    <a:pt x="92" y="344"/>
                  </a:cubicBezTo>
                  <a:cubicBezTo>
                    <a:pt x="94" y="343"/>
                    <a:pt x="99" y="341"/>
                    <a:pt x="98" y="338"/>
                  </a:cubicBezTo>
                  <a:cubicBezTo>
                    <a:pt x="97" y="337"/>
                    <a:pt x="95" y="337"/>
                    <a:pt x="94" y="336"/>
                  </a:cubicBezTo>
                  <a:cubicBezTo>
                    <a:pt x="94" y="336"/>
                    <a:pt x="94" y="336"/>
                    <a:pt x="94" y="336"/>
                  </a:cubicBezTo>
                  <a:cubicBezTo>
                    <a:pt x="94" y="336"/>
                    <a:pt x="94" y="336"/>
                    <a:pt x="94" y="336"/>
                  </a:cubicBezTo>
                  <a:cubicBezTo>
                    <a:pt x="94" y="336"/>
                    <a:pt x="95" y="336"/>
                    <a:pt x="96" y="336"/>
                  </a:cubicBezTo>
                  <a:cubicBezTo>
                    <a:pt x="98" y="336"/>
                    <a:pt x="101" y="336"/>
                    <a:pt x="103" y="336"/>
                  </a:cubicBezTo>
                  <a:cubicBezTo>
                    <a:pt x="106" y="336"/>
                    <a:pt x="109" y="336"/>
                    <a:pt x="111" y="337"/>
                  </a:cubicBezTo>
                  <a:cubicBezTo>
                    <a:pt x="112" y="337"/>
                    <a:pt x="112" y="337"/>
                    <a:pt x="112" y="337"/>
                  </a:cubicBezTo>
                  <a:cubicBezTo>
                    <a:pt x="113" y="337"/>
                    <a:pt x="112" y="337"/>
                    <a:pt x="111" y="337"/>
                  </a:cubicBezTo>
                  <a:cubicBezTo>
                    <a:pt x="111" y="337"/>
                    <a:pt x="110" y="337"/>
                    <a:pt x="110" y="337"/>
                  </a:cubicBezTo>
                  <a:cubicBezTo>
                    <a:pt x="110" y="337"/>
                    <a:pt x="110" y="337"/>
                    <a:pt x="110" y="337"/>
                  </a:cubicBezTo>
                  <a:cubicBezTo>
                    <a:pt x="107" y="338"/>
                    <a:pt x="103" y="339"/>
                    <a:pt x="102" y="341"/>
                  </a:cubicBezTo>
                  <a:cubicBezTo>
                    <a:pt x="102" y="342"/>
                    <a:pt x="102" y="344"/>
                    <a:pt x="102" y="346"/>
                  </a:cubicBezTo>
                  <a:cubicBezTo>
                    <a:pt x="102" y="348"/>
                    <a:pt x="102" y="350"/>
                    <a:pt x="103" y="351"/>
                  </a:cubicBezTo>
                  <a:cubicBezTo>
                    <a:pt x="103" y="351"/>
                    <a:pt x="105" y="351"/>
                    <a:pt x="106" y="351"/>
                  </a:cubicBezTo>
                  <a:cubicBezTo>
                    <a:pt x="106" y="351"/>
                    <a:pt x="106" y="351"/>
                    <a:pt x="106" y="351"/>
                  </a:cubicBezTo>
                  <a:cubicBezTo>
                    <a:pt x="109" y="351"/>
                    <a:pt x="114" y="350"/>
                    <a:pt x="117" y="349"/>
                  </a:cubicBezTo>
                  <a:cubicBezTo>
                    <a:pt x="112" y="352"/>
                    <a:pt x="107" y="352"/>
                    <a:pt x="104" y="358"/>
                  </a:cubicBezTo>
                  <a:cubicBezTo>
                    <a:pt x="105" y="357"/>
                    <a:pt x="106" y="356"/>
                    <a:pt x="107" y="356"/>
                  </a:cubicBezTo>
                  <a:cubicBezTo>
                    <a:pt x="104" y="358"/>
                    <a:pt x="103" y="359"/>
                    <a:pt x="104" y="362"/>
                  </a:cubicBezTo>
                  <a:cubicBezTo>
                    <a:pt x="104" y="363"/>
                    <a:pt x="104" y="364"/>
                    <a:pt x="105" y="365"/>
                  </a:cubicBezTo>
                  <a:cubicBezTo>
                    <a:pt x="105" y="365"/>
                    <a:pt x="105" y="366"/>
                    <a:pt x="105" y="366"/>
                  </a:cubicBezTo>
                  <a:cubicBezTo>
                    <a:pt x="105" y="366"/>
                    <a:pt x="106" y="365"/>
                    <a:pt x="106" y="364"/>
                  </a:cubicBezTo>
                  <a:cubicBezTo>
                    <a:pt x="106" y="365"/>
                    <a:pt x="106" y="365"/>
                    <a:pt x="107" y="365"/>
                  </a:cubicBezTo>
                  <a:cubicBezTo>
                    <a:pt x="107" y="365"/>
                    <a:pt x="107" y="365"/>
                    <a:pt x="107" y="365"/>
                  </a:cubicBezTo>
                  <a:cubicBezTo>
                    <a:pt x="108" y="366"/>
                    <a:pt x="108" y="366"/>
                    <a:pt x="109" y="367"/>
                  </a:cubicBezTo>
                  <a:cubicBezTo>
                    <a:pt x="110" y="368"/>
                    <a:pt x="111" y="368"/>
                    <a:pt x="111" y="369"/>
                  </a:cubicBezTo>
                  <a:cubicBezTo>
                    <a:pt x="111" y="371"/>
                    <a:pt x="111" y="372"/>
                    <a:pt x="110" y="374"/>
                  </a:cubicBezTo>
                  <a:cubicBezTo>
                    <a:pt x="110" y="376"/>
                    <a:pt x="110" y="378"/>
                    <a:pt x="110" y="380"/>
                  </a:cubicBezTo>
                  <a:cubicBezTo>
                    <a:pt x="109" y="382"/>
                    <a:pt x="109" y="384"/>
                    <a:pt x="108" y="386"/>
                  </a:cubicBezTo>
                  <a:cubicBezTo>
                    <a:pt x="108" y="387"/>
                    <a:pt x="107" y="387"/>
                    <a:pt x="107" y="388"/>
                  </a:cubicBezTo>
                  <a:cubicBezTo>
                    <a:pt x="107" y="390"/>
                    <a:pt x="106" y="393"/>
                    <a:pt x="106" y="395"/>
                  </a:cubicBezTo>
                  <a:cubicBezTo>
                    <a:pt x="106" y="396"/>
                    <a:pt x="106" y="396"/>
                    <a:pt x="106" y="397"/>
                  </a:cubicBezTo>
                  <a:cubicBezTo>
                    <a:pt x="106" y="398"/>
                    <a:pt x="106" y="399"/>
                    <a:pt x="107" y="400"/>
                  </a:cubicBezTo>
                  <a:cubicBezTo>
                    <a:pt x="107" y="403"/>
                    <a:pt x="107" y="403"/>
                    <a:pt x="109" y="403"/>
                  </a:cubicBezTo>
                  <a:cubicBezTo>
                    <a:pt x="109" y="404"/>
                    <a:pt x="110" y="404"/>
                    <a:pt x="111" y="404"/>
                  </a:cubicBezTo>
                  <a:cubicBezTo>
                    <a:pt x="108" y="405"/>
                    <a:pt x="106" y="407"/>
                    <a:pt x="110" y="409"/>
                  </a:cubicBezTo>
                  <a:cubicBezTo>
                    <a:pt x="108" y="409"/>
                    <a:pt x="108" y="410"/>
                    <a:pt x="108" y="411"/>
                  </a:cubicBezTo>
                  <a:cubicBezTo>
                    <a:pt x="109" y="411"/>
                    <a:pt x="109" y="411"/>
                    <a:pt x="110" y="411"/>
                  </a:cubicBezTo>
                  <a:cubicBezTo>
                    <a:pt x="110" y="411"/>
                    <a:pt x="110" y="411"/>
                    <a:pt x="110" y="411"/>
                  </a:cubicBezTo>
                  <a:cubicBezTo>
                    <a:pt x="113" y="411"/>
                    <a:pt x="115" y="413"/>
                    <a:pt x="115" y="415"/>
                  </a:cubicBezTo>
                  <a:cubicBezTo>
                    <a:pt x="116" y="416"/>
                    <a:pt x="116" y="416"/>
                    <a:pt x="116" y="417"/>
                  </a:cubicBezTo>
                  <a:cubicBezTo>
                    <a:pt x="116" y="420"/>
                    <a:pt x="114" y="423"/>
                    <a:pt x="110" y="423"/>
                  </a:cubicBezTo>
                  <a:cubicBezTo>
                    <a:pt x="111" y="425"/>
                    <a:pt x="112" y="426"/>
                    <a:pt x="112" y="427"/>
                  </a:cubicBezTo>
                  <a:cubicBezTo>
                    <a:pt x="113" y="428"/>
                    <a:pt x="113" y="429"/>
                    <a:pt x="113" y="429"/>
                  </a:cubicBezTo>
                  <a:cubicBezTo>
                    <a:pt x="113" y="429"/>
                    <a:pt x="112" y="428"/>
                    <a:pt x="112" y="428"/>
                  </a:cubicBezTo>
                  <a:cubicBezTo>
                    <a:pt x="112" y="428"/>
                    <a:pt x="111" y="428"/>
                    <a:pt x="111" y="429"/>
                  </a:cubicBezTo>
                  <a:cubicBezTo>
                    <a:pt x="111" y="430"/>
                    <a:pt x="113" y="432"/>
                    <a:pt x="114" y="433"/>
                  </a:cubicBezTo>
                  <a:cubicBezTo>
                    <a:pt x="114" y="433"/>
                    <a:pt x="114" y="434"/>
                    <a:pt x="114" y="434"/>
                  </a:cubicBezTo>
                  <a:cubicBezTo>
                    <a:pt x="115" y="435"/>
                    <a:pt x="115" y="435"/>
                    <a:pt x="114" y="435"/>
                  </a:cubicBezTo>
                  <a:cubicBezTo>
                    <a:pt x="114" y="435"/>
                    <a:pt x="114" y="435"/>
                    <a:pt x="114" y="435"/>
                  </a:cubicBezTo>
                  <a:cubicBezTo>
                    <a:pt x="113" y="435"/>
                    <a:pt x="113" y="435"/>
                    <a:pt x="112" y="434"/>
                  </a:cubicBezTo>
                  <a:cubicBezTo>
                    <a:pt x="112" y="435"/>
                    <a:pt x="112" y="435"/>
                    <a:pt x="113" y="436"/>
                  </a:cubicBezTo>
                  <a:cubicBezTo>
                    <a:pt x="113" y="439"/>
                    <a:pt x="113" y="441"/>
                    <a:pt x="114" y="444"/>
                  </a:cubicBezTo>
                  <a:cubicBezTo>
                    <a:pt x="115" y="446"/>
                    <a:pt x="115" y="448"/>
                    <a:pt x="116" y="450"/>
                  </a:cubicBezTo>
                  <a:cubicBezTo>
                    <a:pt x="116" y="451"/>
                    <a:pt x="116" y="451"/>
                    <a:pt x="116" y="451"/>
                  </a:cubicBezTo>
                  <a:cubicBezTo>
                    <a:pt x="117" y="453"/>
                    <a:pt x="117" y="456"/>
                    <a:pt x="118" y="458"/>
                  </a:cubicBezTo>
                  <a:cubicBezTo>
                    <a:pt x="118" y="461"/>
                    <a:pt x="119" y="463"/>
                    <a:pt x="119" y="466"/>
                  </a:cubicBezTo>
                  <a:cubicBezTo>
                    <a:pt x="120" y="468"/>
                    <a:pt x="120" y="471"/>
                    <a:pt x="121" y="473"/>
                  </a:cubicBezTo>
                  <a:cubicBezTo>
                    <a:pt x="121" y="473"/>
                    <a:pt x="121" y="473"/>
                    <a:pt x="121" y="473"/>
                  </a:cubicBezTo>
                  <a:cubicBezTo>
                    <a:pt x="121" y="475"/>
                    <a:pt x="122" y="478"/>
                    <a:pt x="122" y="481"/>
                  </a:cubicBezTo>
                  <a:cubicBezTo>
                    <a:pt x="123" y="484"/>
                    <a:pt x="123" y="486"/>
                    <a:pt x="124" y="488"/>
                  </a:cubicBezTo>
                  <a:cubicBezTo>
                    <a:pt x="125" y="489"/>
                    <a:pt x="125" y="489"/>
                    <a:pt x="125" y="489"/>
                  </a:cubicBezTo>
                  <a:cubicBezTo>
                    <a:pt x="126" y="490"/>
                    <a:pt x="127" y="492"/>
                    <a:pt x="128" y="494"/>
                  </a:cubicBezTo>
                  <a:cubicBezTo>
                    <a:pt x="129" y="495"/>
                    <a:pt x="130" y="496"/>
                    <a:pt x="130" y="497"/>
                  </a:cubicBezTo>
                  <a:cubicBezTo>
                    <a:pt x="131" y="497"/>
                    <a:pt x="131" y="498"/>
                    <a:pt x="132" y="499"/>
                  </a:cubicBezTo>
                  <a:cubicBezTo>
                    <a:pt x="133" y="501"/>
                    <a:pt x="135" y="502"/>
                    <a:pt x="136" y="504"/>
                  </a:cubicBezTo>
                  <a:cubicBezTo>
                    <a:pt x="136" y="505"/>
                    <a:pt x="136" y="505"/>
                    <a:pt x="136" y="505"/>
                  </a:cubicBezTo>
                  <a:cubicBezTo>
                    <a:pt x="135" y="504"/>
                    <a:pt x="135" y="504"/>
                    <a:pt x="135" y="504"/>
                  </a:cubicBezTo>
                  <a:cubicBezTo>
                    <a:pt x="134" y="504"/>
                    <a:pt x="133" y="504"/>
                    <a:pt x="132" y="504"/>
                  </a:cubicBezTo>
                  <a:cubicBezTo>
                    <a:pt x="133" y="505"/>
                    <a:pt x="133" y="505"/>
                    <a:pt x="134" y="506"/>
                  </a:cubicBezTo>
                  <a:cubicBezTo>
                    <a:pt x="135" y="508"/>
                    <a:pt x="136" y="510"/>
                    <a:pt x="137" y="512"/>
                  </a:cubicBezTo>
                  <a:cubicBezTo>
                    <a:pt x="137" y="513"/>
                    <a:pt x="137" y="513"/>
                    <a:pt x="137" y="513"/>
                  </a:cubicBezTo>
                  <a:cubicBezTo>
                    <a:pt x="138" y="514"/>
                    <a:pt x="138" y="516"/>
                    <a:pt x="140" y="516"/>
                  </a:cubicBezTo>
                  <a:cubicBezTo>
                    <a:pt x="140" y="516"/>
                    <a:pt x="140" y="516"/>
                    <a:pt x="140" y="516"/>
                  </a:cubicBezTo>
                  <a:cubicBezTo>
                    <a:pt x="140" y="516"/>
                    <a:pt x="140" y="516"/>
                    <a:pt x="141" y="516"/>
                  </a:cubicBezTo>
                  <a:cubicBezTo>
                    <a:pt x="141" y="516"/>
                    <a:pt x="142" y="516"/>
                    <a:pt x="142" y="516"/>
                  </a:cubicBezTo>
                  <a:cubicBezTo>
                    <a:pt x="142" y="516"/>
                    <a:pt x="142" y="516"/>
                    <a:pt x="142" y="516"/>
                  </a:cubicBezTo>
                  <a:cubicBezTo>
                    <a:pt x="142" y="517"/>
                    <a:pt x="142" y="517"/>
                    <a:pt x="141" y="517"/>
                  </a:cubicBezTo>
                  <a:cubicBezTo>
                    <a:pt x="140" y="517"/>
                    <a:pt x="140" y="518"/>
                    <a:pt x="139" y="518"/>
                  </a:cubicBezTo>
                  <a:cubicBezTo>
                    <a:pt x="140" y="518"/>
                    <a:pt x="140" y="518"/>
                    <a:pt x="140" y="518"/>
                  </a:cubicBezTo>
                  <a:cubicBezTo>
                    <a:pt x="142" y="520"/>
                    <a:pt x="143" y="521"/>
                    <a:pt x="145" y="523"/>
                  </a:cubicBezTo>
                  <a:cubicBezTo>
                    <a:pt x="145" y="523"/>
                    <a:pt x="146" y="524"/>
                    <a:pt x="146" y="525"/>
                  </a:cubicBezTo>
                  <a:cubicBezTo>
                    <a:pt x="147" y="526"/>
                    <a:pt x="147" y="527"/>
                    <a:pt x="148" y="529"/>
                  </a:cubicBezTo>
                  <a:cubicBezTo>
                    <a:pt x="148" y="531"/>
                    <a:pt x="149" y="534"/>
                    <a:pt x="149" y="536"/>
                  </a:cubicBezTo>
                  <a:cubicBezTo>
                    <a:pt x="149" y="537"/>
                    <a:pt x="150" y="538"/>
                    <a:pt x="150" y="539"/>
                  </a:cubicBezTo>
                  <a:cubicBezTo>
                    <a:pt x="151" y="540"/>
                    <a:pt x="151" y="542"/>
                    <a:pt x="152" y="543"/>
                  </a:cubicBezTo>
                  <a:cubicBezTo>
                    <a:pt x="152" y="545"/>
                    <a:pt x="153" y="547"/>
                    <a:pt x="154" y="550"/>
                  </a:cubicBezTo>
                  <a:cubicBezTo>
                    <a:pt x="155" y="552"/>
                    <a:pt x="156" y="554"/>
                    <a:pt x="156" y="557"/>
                  </a:cubicBezTo>
                  <a:cubicBezTo>
                    <a:pt x="157" y="558"/>
                    <a:pt x="157" y="559"/>
                    <a:pt x="158" y="560"/>
                  </a:cubicBezTo>
                  <a:cubicBezTo>
                    <a:pt x="158" y="562"/>
                    <a:pt x="158" y="563"/>
                    <a:pt x="157" y="565"/>
                  </a:cubicBezTo>
                  <a:cubicBezTo>
                    <a:pt x="157" y="566"/>
                    <a:pt x="157" y="567"/>
                    <a:pt x="157" y="567"/>
                  </a:cubicBezTo>
                  <a:cubicBezTo>
                    <a:pt x="158" y="569"/>
                    <a:pt x="159" y="570"/>
                    <a:pt x="159" y="572"/>
                  </a:cubicBezTo>
                  <a:cubicBezTo>
                    <a:pt x="160" y="573"/>
                    <a:pt x="161" y="575"/>
                    <a:pt x="162" y="576"/>
                  </a:cubicBezTo>
                  <a:cubicBezTo>
                    <a:pt x="162" y="577"/>
                    <a:pt x="162" y="577"/>
                    <a:pt x="163" y="578"/>
                  </a:cubicBezTo>
                  <a:cubicBezTo>
                    <a:pt x="164" y="580"/>
                    <a:pt x="165" y="581"/>
                    <a:pt x="166" y="583"/>
                  </a:cubicBezTo>
                  <a:cubicBezTo>
                    <a:pt x="167" y="585"/>
                    <a:pt x="169" y="587"/>
                    <a:pt x="170" y="589"/>
                  </a:cubicBezTo>
                  <a:cubicBezTo>
                    <a:pt x="171" y="590"/>
                    <a:pt x="172" y="592"/>
                    <a:pt x="174" y="594"/>
                  </a:cubicBezTo>
                  <a:cubicBezTo>
                    <a:pt x="174" y="594"/>
                    <a:pt x="174" y="594"/>
                    <a:pt x="174" y="594"/>
                  </a:cubicBezTo>
                  <a:cubicBezTo>
                    <a:pt x="175" y="596"/>
                    <a:pt x="176" y="598"/>
                    <a:pt x="177" y="600"/>
                  </a:cubicBezTo>
                  <a:cubicBezTo>
                    <a:pt x="178" y="602"/>
                    <a:pt x="179" y="604"/>
                    <a:pt x="180" y="606"/>
                  </a:cubicBezTo>
                  <a:cubicBezTo>
                    <a:pt x="180" y="608"/>
                    <a:pt x="181" y="609"/>
                    <a:pt x="181" y="610"/>
                  </a:cubicBezTo>
                  <a:cubicBezTo>
                    <a:pt x="182" y="611"/>
                    <a:pt x="182" y="612"/>
                    <a:pt x="182" y="613"/>
                  </a:cubicBezTo>
                  <a:cubicBezTo>
                    <a:pt x="183" y="615"/>
                    <a:pt x="184" y="617"/>
                    <a:pt x="185" y="620"/>
                  </a:cubicBezTo>
                  <a:cubicBezTo>
                    <a:pt x="185" y="622"/>
                    <a:pt x="186" y="624"/>
                    <a:pt x="187" y="626"/>
                  </a:cubicBezTo>
                  <a:cubicBezTo>
                    <a:pt x="188" y="626"/>
                    <a:pt x="188" y="627"/>
                    <a:pt x="188" y="628"/>
                  </a:cubicBezTo>
                  <a:cubicBezTo>
                    <a:pt x="189" y="628"/>
                    <a:pt x="190" y="630"/>
                    <a:pt x="191" y="632"/>
                  </a:cubicBezTo>
                  <a:cubicBezTo>
                    <a:pt x="192" y="634"/>
                    <a:pt x="193" y="636"/>
                    <a:pt x="194" y="638"/>
                  </a:cubicBezTo>
                  <a:cubicBezTo>
                    <a:pt x="195" y="641"/>
                    <a:pt x="196" y="644"/>
                    <a:pt x="194" y="645"/>
                  </a:cubicBezTo>
                  <a:cubicBezTo>
                    <a:pt x="193" y="643"/>
                    <a:pt x="192" y="641"/>
                    <a:pt x="192" y="640"/>
                  </a:cubicBezTo>
                  <a:cubicBezTo>
                    <a:pt x="191" y="638"/>
                    <a:pt x="191" y="637"/>
                    <a:pt x="190" y="636"/>
                  </a:cubicBezTo>
                  <a:cubicBezTo>
                    <a:pt x="191" y="637"/>
                    <a:pt x="191" y="639"/>
                    <a:pt x="191" y="640"/>
                  </a:cubicBezTo>
                  <a:cubicBezTo>
                    <a:pt x="192" y="643"/>
                    <a:pt x="193" y="645"/>
                    <a:pt x="193" y="647"/>
                  </a:cubicBezTo>
                  <a:cubicBezTo>
                    <a:pt x="194" y="648"/>
                    <a:pt x="194" y="649"/>
                    <a:pt x="194" y="650"/>
                  </a:cubicBezTo>
                  <a:cubicBezTo>
                    <a:pt x="195" y="651"/>
                    <a:pt x="195" y="652"/>
                    <a:pt x="196" y="653"/>
                  </a:cubicBezTo>
                  <a:cubicBezTo>
                    <a:pt x="197" y="654"/>
                    <a:pt x="198" y="654"/>
                    <a:pt x="198" y="655"/>
                  </a:cubicBezTo>
                  <a:cubicBezTo>
                    <a:pt x="199" y="655"/>
                    <a:pt x="200" y="656"/>
                    <a:pt x="200" y="657"/>
                  </a:cubicBezTo>
                  <a:cubicBezTo>
                    <a:pt x="198" y="659"/>
                    <a:pt x="198" y="659"/>
                    <a:pt x="198" y="659"/>
                  </a:cubicBezTo>
                  <a:cubicBezTo>
                    <a:pt x="199" y="660"/>
                    <a:pt x="199" y="660"/>
                    <a:pt x="199" y="660"/>
                  </a:cubicBezTo>
                  <a:cubicBezTo>
                    <a:pt x="200" y="661"/>
                    <a:pt x="202" y="663"/>
                    <a:pt x="203" y="665"/>
                  </a:cubicBezTo>
                  <a:cubicBezTo>
                    <a:pt x="205" y="666"/>
                    <a:pt x="206" y="668"/>
                    <a:pt x="207" y="670"/>
                  </a:cubicBezTo>
                  <a:cubicBezTo>
                    <a:pt x="208" y="671"/>
                    <a:pt x="209" y="672"/>
                    <a:pt x="209" y="673"/>
                  </a:cubicBezTo>
                  <a:cubicBezTo>
                    <a:pt x="210" y="673"/>
                    <a:pt x="211" y="674"/>
                    <a:pt x="212" y="675"/>
                  </a:cubicBezTo>
                  <a:cubicBezTo>
                    <a:pt x="214" y="676"/>
                    <a:pt x="216" y="677"/>
                    <a:pt x="218" y="678"/>
                  </a:cubicBezTo>
                  <a:cubicBezTo>
                    <a:pt x="219" y="678"/>
                    <a:pt x="220" y="678"/>
                    <a:pt x="221" y="679"/>
                  </a:cubicBezTo>
                  <a:cubicBezTo>
                    <a:pt x="221" y="676"/>
                    <a:pt x="226" y="674"/>
                    <a:pt x="229" y="673"/>
                  </a:cubicBezTo>
                  <a:cubicBezTo>
                    <a:pt x="232" y="671"/>
                    <a:pt x="234" y="670"/>
                    <a:pt x="234" y="666"/>
                  </a:cubicBezTo>
                  <a:cubicBezTo>
                    <a:pt x="235" y="664"/>
                    <a:pt x="235" y="662"/>
                    <a:pt x="236" y="660"/>
                  </a:cubicBezTo>
                  <a:cubicBezTo>
                    <a:pt x="237" y="657"/>
                    <a:pt x="238" y="655"/>
                    <a:pt x="241" y="654"/>
                  </a:cubicBezTo>
                  <a:cubicBezTo>
                    <a:pt x="241" y="654"/>
                    <a:pt x="241" y="654"/>
                    <a:pt x="241" y="654"/>
                  </a:cubicBezTo>
                  <a:cubicBezTo>
                    <a:pt x="244" y="653"/>
                    <a:pt x="248" y="651"/>
                    <a:pt x="251" y="651"/>
                  </a:cubicBezTo>
                  <a:cubicBezTo>
                    <a:pt x="251" y="651"/>
                    <a:pt x="252" y="651"/>
                    <a:pt x="252" y="651"/>
                  </a:cubicBezTo>
                  <a:cubicBezTo>
                    <a:pt x="253" y="651"/>
                    <a:pt x="253" y="651"/>
                    <a:pt x="253" y="651"/>
                  </a:cubicBezTo>
                  <a:cubicBezTo>
                    <a:pt x="256" y="651"/>
                    <a:pt x="259" y="652"/>
                    <a:pt x="261" y="652"/>
                  </a:cubicBezTo>
                  <a:cubicBezTo>
                    <a:pt x="263" y="653"/>
                    <a:pt x="264" y="653"/>
                    <a:pt x="265" y="653"/>
                  </a:cubicBezTo>
                  <a:cubicBezTo>
                    <a:pt x="264" y="652"/>
                    <a:pt x="264" y="651"/>
                    <a:pt x="263" y="651"/>
                  </a:cubicBezTo>
                  <a:cubicBezTo>
                    <a:pt x="262" y="650"/>
                    <a:pt x="261" y="650"/>
                    <a:pt x="260" y="650"/>
                  </a:cubicBezTo>
                  <a:cubicBezTo>
                    <a:pt x="259" y="650"/>
                    <a:pt x="259" y="650"/>
                    <a:pt x="259" y="650"/>
                  </a:cubicBezTo>
                  <a:cubicBezTo>
                    <a:pt x="259" y="650"/>
                    <a:pt x="259" y="650"/>
                    <a:pt x="259" y="650"/>
                  </a:cubicBezTo>
                  <a:cubicBezTo>
                    <a:pt x="259" y="650"/>
                    <a:pt x="259" y="650"/>
                    <a:pt x="258" y="650"/>
                  </a:cubicBezTo>
                  <a:cubicBezTo>
                    <a:pt x="258" y="650"/>
                    <a:pt x="257" y="650"/>
                    <a:pt x="256" y="650"/>
                  </a:cubicBezTo>
                  <a:cubicBezTo>
                    <a:pt x="256" y="649"/>
                    <a:pt x="256" y="649"/>
                    <a:pt x="255" y="649"/>
                  </a:cubicBezTo>
                  <a:cubicBezTo>
                    <a:pt x="254" y="648"/>
                    <a:pt x="253" y="646"/>
                    <a:pt x="253" y="645"/>
                  </a:cubicBezTo>
                  <a:cubicBezTo>
                    <a:pt x="254" y="643"/>
                    <a:pt x="255" y="641"/>
                    <a:pt x="256" y="639"/>
                  </a:cubicBezTo>
                  <a:cubicBezTo>
                    <a:pt x="257" y="638"/>
                    <a:pt x="258" y="637"/>
                    <a:pt x="258" y="636"/>
                  </a:cubicBezTo>
                  <a:cubicBezTo>
                    <a:pt x="259" y="634"/>
                    <a:pt x="260" y="629"/>
                    <a:pt x="261" y="628"/>
                  </a:cubicBezTo>
                  <a:cubicBezTo>
                    <a:pt x="262" y="628"/>
                    <a:pt x="266" y="625"/>
                    <a:pt x="268" y="625"/>
                  </a:cubicBezTo>
                  <a:cubicBezTo>
                    <a:pt x="268" y="625"/>
                    <a:pt x="268" y="625"/>
                    <a:pt x="268" y="625"/>
                  </a:cubicBezTo>
                  <a:cubicBezTo>
                    <a:pt x="268" y="625"/>
                    <a:pt x="269" y="625"/>
                    <a:pt x="269" y="626"/>
                  </a:cubicBezTo>
                  <a:cubicBezTo>
                    <a:pt x="270" y="626"/>
                    <a:pt x="270" y="626"/>
                    <a:pt x="270" y="626"/>
                  </a:cubicBezTo>
                  <a:cubicBezTo>
                    <a:pt x="270" y="626"/>
                    <a:pt x="270" y="626"/>
                    <a:pt x="270" y="626"/>
                  </a:cubicBezTo>
                  <a:cubicBezTo>
                    <a:pt x="271" y="626"/>
                    <a:pt x="271" y="626"/>
                    <a:pt x="272" y="626"/>
                  </a:cubicBezTo>
                  <a:cubicBezTo>
                    <a:pt x="273" y="626"/>
                    <a:pt x="273" y="626"/>
                    <a:pt x="274" y="626"/>
                  </a:cubicBezTo>
                  <a:cubicBezTo>
                    <a:pt x="274" y="626"/>
                    <a:pt x="275" y="626"/>
                    <a:pt x="275" y="626"/>
                  </a:cubicBezTo>
                  <a:cubicBezTo>
                    <a:pt x="275" y="624"/>
                    <a:pt x="275" y="622"/>
                    <a:pt x="275" y="620"/>
                  </a:cubicBezTo>
                  <a:cubicBezTo>
                    <a:pt x="275" y="617"/>
                    <a:pt x="275" y="614"/>
                    <a:pt x="275" y="611"/>
                  </a:cubicBezTo>
                  <a:cubicBezTo>
                    <a:pt x="274" y="609"/>
                    <a:pt x="274" y="607"/>
                    <a:pt x="273" y="605"/>
                  </a:cubicBezTo>
                  <a:cubicBezTo>
                    <a:pt x="272" y="604"/>
                    <a:pt x="272" y="603"/>
                    <a:pt x="271" y="602"/>
                  </a:cubicBezTo>
                  <a:cubicBezTo>
                    <a:pt x="274" y="600"/>
                    <a:pt x="273" y="600"/>
                    <a:pt x="273" y="597"/>
                  </a:cubicBezTo>
                  <a:cubicBezTo>
                    <a:pt x="273" y="596"/>
                    <a:pt x="273" y="596"/>
                    <a:pt x="273" y="595"/>
                  </a:cubicBezTo>
                  <a:cubicBezTo>
                    <a:pt x="273" y="593"/>
                    <a:pt x="273" y="590"/>
                    <a:pt x="274" y="588"/>
                  </a:cubicBezTo>
                  <a:cubicBezTo>
                    <a:pt x="275" y="587"/>
                    <a:pt x="275" y="586"/>
                    <a:pt x="276" y="585"/>
                  </a:cubicBezTo>
                  <a:cubicBezTo>
                    <a:pt x="276" y="584"/>
                    <a:pt x="276" y="583"/>
                    <a:pt x="277" y="582"/>
                  </a:cubicBezTo>
                  <a:cubicBezTo>
                    <a:pt x="279" y="578"/>
                    <a:pt x="282" y="574"/>
                    <a:pt x="283" y="570"/>
                  </a:cubicBezTo>
                  <a:cubicBezTo>
                    <a:pt x="284" y="568"/>
                    <a:pt x="284" y="567"/>
                    <a:pt x="284" y="565"/>
                  </a:cubicBezTo>
                  <a:cubicBezTo>
                    <a:pt x="284" y="564"/>
                    <a:pt x="284" y="563"/>
                    <a:pt x="284" y="561"/>
                  </a:cubicBezTo>
                  <a:cubicBezTo>
                    <a:pt x="284" y="560"/>
                    <a:pt x="285" y="558"/>
                    <a:pt x="285" y="556"/>
                  </a:cubicBezTo>
                  <a:cubicBezTo>
                    <a:pt x="285" y="553"/>
                    <a:pt x="285" y="550"/>
                    <a:pt x="283" y="550"/>
                  </a:cubicBezTo>
                  <a:cubicBezTo>
                    <a:pt x="283" y="550"/>
                    <a:pt x="282" y="550"/>
                    <a:pt x="282" y="549"/>
                  </a:cubicBezTo>
                  <a:cubicBezTo>
                    <a:pt x="280" y="548"/>
                    <a:pt x="279" y="546"/>
                    <a:pt x="282" y="544"/>
                  </a:cubicBezTo>
                  <a:cubicBezTo>
                    <a:pt x="283" y="545"/>
                    <a:pt x="283" y="546"/>
                    <a:pt x="284" y="547"/>
                  </a:cubicBezTo>
                  <a:cubicBezTo>
                    <a:pt x="284" y="548"/>
                    <a:pt x="285" y="549"/>
                    <a:pt x="285" y="549"/>
                  </a:cubicBezTo>
                  <a:cubicBezTo>
                    <a:pt x="285" y="548"/>
                    <a:pt x="285" y="548"/>
                    <a:pt x="285" y="547"/>
                  </a:cubicBezTo>
                  <a:cubicBezTo>
                    <a:pt x="284" y="545"/>
                    <a:pt x="283" y="542"/>
                    <a:pt x="282" y="540"/>
                  </a:cubicBezTo>
                  <a:cubicBezTo>
                    <a:pt x="281" y="539"/>
                    <a:pt x="281" y="537"/>
                    <a:pt x="280" y="536"/>
                  </a:cubicBezTo>
                  <a:cubicBezTo>
                    <a:pt x="280" y="535"/>
                    <a:pt x="280" y="534"/>
                    <a:pt x="280" y="533"/>
                  </a:cubicBezTo>
                  <a:cubicBezTo>
                    <a:pt x="280" y="533"/>
                    <a:pt x="280" y="532"/>
                    <a:pt x="280" y="532"/>
                  </a:cubicBezTo>
                  <a:cubicBezTo>
                    <a:pt x="280" y="529"/>
                    <a:pt x="280" y="527"/>
                    <a:pt x="280" y="524"/>
                  </a:cubicBezTo>
                  <a:cubicBezTo>
                    <a:pt x="280" y="521"/>
                    <a:pt x="279" y="518"/>
                    <a:pt x="280" y="515"/>
                  </a:cubicBezTo>
                  <a:cubicBezTo>
                    <a:pt x="280" y="512"/>
                    <a:pt x="280" y="509"/>
                    <a:pt x="281" y="507"/>
                  </a:cubicBezTo>
                  <a:cubicBezTo>
                    <a:pt x="281" y="506"/>
                    <a:pt x="282" y="505"/>
                    <a:pt x="282" y="504"/>
                  </a:cubicBezTo>
                  <a:cubicBezTo>
                    <a:pt x="283" y="501"/>
                    <a:pt x="284" y="499"/>
                    <a:pt x="285" y="497"/>
                  </a:cubicBezTo>
                  <a:cubicBezTo>
                    <a:pt x="286" y="496"/>
                    <a:pt x="286" y="495"/>
                    <a:pt x="287" y="495"/>
                  </a:cubicBezTo>
                  <a:cubicBezTo>
                    <a:pt x="289" y="493"/>
                    <a:pt x="292" y="492"/>
                    <a:pt x="294" y="492"/>
                  </a:cubicBezTo>
                  <a:cubicBezTo>
                    <a:pt x="294" y="492"/>
                    <a:pt x="294" y="492"/>
                    <a:pt x="294" y="492"/>
                  </a:cubicBezTo>
                  <a:cubicBezTo>
                    <a:pt x="296" y="492"/>
                    <a:pt x="297" y="493"/>
                    <a:pt x="298" y="496"/>
                  </a:cubicBezTo>
                  <a:cubicBezTo>
                    <a:pt x="298" y="493"/>
                    <a:pt x="300" y="492"/>
                    <a:pt x="299" y="489"/>
                  </a:cubicBezTo>
                  <a:cubicBezTo>
                    <a:pt x="300" y="490"/>
                    <a:pt x="301" y="492"/>
                    <a:pt x="302" y="493"/>
                  </a:cubicBezTo>
                  <a:cubicBezTo>
                    <a:pt x="302" y="494"/>
                    <a:pt x="302" y="494"/>
                    <a:pt x="302" y="494"/>
                  </a:cubicBezTo>
                  <a:cubicBezTo>
                    <a:pt x="301" y="493"/>
                    <a:pt x="303" y="492"/>
                    <a:pt x="304" y="491"/>
                  </a:cubicBezTo>
                  <a:cubicBezTo>
                    <a:pt x="305" y="490"/>
                    <a:pt x="305" y="490"/>
                    <a:pt x="305" y="490"/>
                  </a:cubicBezTo>
                  <a:cubicBezTo>
                    <a:pt x="306" y="489"/>
                    <a:pt x="306" y="488"/>
                    <a:pt x="306" y="486"/>
                  </a:cubicBezTo>
                  <a:cubicBezTo>
                    <a:pt x="308" y="483"/>
                    <a:pt x="309" y="481"/>
                    <a:pt x="312" y="481"/>
                  </a:cubicBezTo>
                  <a:cubicBezTo>
                    <a:pt x="312" y="481"/>
                    <a:pt x="312" y="481"/>
                    <a:pt x="312" y="481"/>
                  </a:cubicBezTo>
                  <a:cubicBezTo>
                    <a:pt x="313" y="481"/>
                    <a:pt x="313" y="481"/>
                    <a:pt x="314" y="481"/>
                  </a:cubicBezTo>
                  <a:cubicBezTo>
                    <a:pt x="315" y="481"/>
                    <a:pt x="316" y="481"/>
                    <a:pt x="317" y="481"/>
                  </a:cubicBezTo>
                  <a:cubicBezTo>
                    <a:pt x="318" y="481"/>
                    <a:pt x="318" y="481"/>
                    <a:pt x="318" y="481"/>
                  </a:cubicBezTo>
                  <a:cubicBezTo>
                    <a:pt x="321" y="481"/>
                    <a:pt x="323" y="480"/>
                    <a:pt x="325" y="479"/>
                  </a:cubicBezTo>
                  <a:cubicBezTo>
                    <a:pt x="326" y="478"/>
                    <a:pt x="327" y="478"/>
                    <a:pt x="328" y="478"/>
                  </a:cubicBezTo>
                  <a:cubicBezTo>
                    <a:pt x="333" y="475"/>
                    <a:pt x="333" y="475"/>
                    <a:pt x="334" y="470"/>
                  </a:cubicBezTo>
                  <a:cubicBezTo>
                    <a:pt x="334" y="470"/>
                    <a:pt x="334" y="470"/>
                    <a:pt x="334" y="470"/>
                  </a:cubicBezTo>
                  <a:cubicBezTo>
                    <a:pt x="334" y="469"/>
                    <a:pt x="331" y="468"/>
                    <a:pt x="332" y="466"/>
                  </a:cubicBezTo>
                  <a:cubicBezTo>
                    <a:pt x="332" y="465"/>
                    <a:pt x="332" y="465"/>
                    <a:pt x="333" y="464"/>
                  </a:cubicBezTo>
                  <a:cubicBezTo>
                    <a:pt x="337" y="457"/>
                    <a:pt x="346" y="456"/>
                    <a:pt x="353" y="452"/>
                  </a:cubicBezTo>
                  <a:cubicBezTo>
                    <a:pt x="354" y="451"/>
                    <a:pt x="355" y="450"/>
                    <a:pt x="356" y="448"/>
                  </a:cubicBezTo>
                  <a:cubicBezTo>
                    <a:pt x="357" y="447"/>
                    <a:pt x="358" y="446"/>
                    <a:pt x="359" y="445"/>
                  </a:cubicBezTo>
                  <a:cubicBezTo>
                    <a:pt x="360" y="444"/>
                    <a:pt x="362" y="442"/>
                    <a:pt x="364" y="441"/>
                  </a:cubicBezTo>
                  <a:cubicBezTo>
                    <a:pt x="366" y="439"/>
                    <a:pt x="368" y="437"/>
                    <a:pt x="371" y="436"/>
                  </a:cubicBezTo>
                  <a:cubicBezTo>
                    <a:pt x="375" y="434"/>
                    <a:pt x="377" y="431"/>
                    <a:pt x="380" y="428"/>
                  </a:cubicBezTo>
                  <a:cubicBezTo>
                    <a:pt x="380" y="428"/>
                    <a:pt x="380" y="428"/>
                    <a:pt x="379" y="429"/>
                  </a:cubicBezTo>
                  <a:cubicBezTo>
                    <a:pt x="381" y="427"/>
                    <a:pt x="383" y="425"/>
                    <a:pt x="384" y="423"/>
                  </a:cubicBezTo>
                  <a:cubicBezTo>
                    <a:pt x="386" y="420"/>
                    <a:pt x="388" y="416"/>
                    <a:pt x="391" y="414"/>
                  </a:cubicBezTo>
                  <a:cubicBezTo>
                    <a:pt x="397" y="409"/>
                    <a:pt x="403" y="405"/>
                    <a:pt x="409" y="400"/>
                  </a:cubicBezTo>
                  <a:cubicBezTo>
                    <a:pt x="408" y="401"/>
                    <a:pt x="406" y="401"/>
                    <a:pt x="405" y="402"/>
                  </a:cubicBezTo>
                  <a:cubicBezTo>
                    <a:pt x="406" y="401"/>
                    <a:pt x="406" y="400"/>
                    <a:pt x="405" y="400"/>
                  </a:cubicBezTo>
                  <a:cubicBezTo>
                    <a:pt x="405" y="400"/>
                    <a:pt x="405" y="400"/>
                    <a:pt x="404" y="400"/>
                  </a:cubicBezTo>
                  <a:cubicBezTo>
                    <a:pt x="404" y="401"/>
                    <a:pt x="404" y="401"/>
                    <a:pt x="404" y="401"/>
                  </a:cubicBezTo>
                  <a:cubicBezTo>
                    <a:pt x="402" y="402"/>
                    <a:pt x="402" y="402"/>
                    <a:pt x="402" y="402"/>
                  </a:cubicBezTo>
                  <a:cubicBezTo>
                    <a:pt x="401" y="403"/>
                    <a:pt x="401" y="404"/>
                    <a:pt x="401" y="404"/>
                  </a:cubicBezTo>
                  <a:cubicBezTo>
                    <a:pt x="401" y="404"/>
                    <a:pt x="401" y="404"/>
                    <a:pt x="401" y="404"/>
                  </a:cubicBezTo>
                  <a:cubicBezTo>
                    <a:pt x="401" y="400"/>
                    <a:pt x="402" y="398"/>
                    <a:pt x="405" y="397"/>
                  </a:cubicBezTo>
                  <a:cubicBezTo>
                    <a:pt x="406" y="396"/>
                    <a:pt x="407" y="396"/>
                    <a:pt x="408" y="396"/>
                  </a:cubicBezTo>
                  <a:cubicBezTo>
                    <a:pt x="408" y="396"/>
                    <a:pt x="409" y="396"/>
                    <a:pt x="409" y="396"/>
                  </a:cubicBezTo>
                  <a:cubicBezTo>
                    <a:pt x="409" y="396"/>
                    <a:pt x="409" y="396"/>
                    <a:pt x="410" y="396"/>
                  </a:cubicBezTo>
                  <a:cubicBezTo>
                    <a:pt x="411" y="398"/>
                    <a:pt x="408" y="399"/>
                    <a:pt x="407" y="400"/>
                  </a:cubicBezTo>
                  <a:cubicBezTo>
                    <a:pt x="409" y="400"/>
                    <a:pt x="412" y="399"/>
                    <a:pt x="414" y="398"/>
                  </a:cubicBezTo>
                  <a:cubicBezTo>
                    <a:pt x="415" y="398"/>
                    <a:pt x="415" y="398"/>
                    <a:pt x="416" y="398"/>
                  </a:cubicBezTo>
                  <a:cubicBezTo>
                    <a:pt x="420" y="396"/>
                    <a:pt x="425" y="395"/>
                    <a:pt x="428" y="393"/>
                  </a:cubicBezTo>
                  <a:cubicBezTo>
                    <a:pt x="427" y="393"/>
                    <a:pt x="424" y="391"/>
                    <a:pt x="424" y="390"/>
                  </a:cubicBezTo>
                  <a:cubicBezTo>
                    <a:pt x="426" y="391"/>
                    <a:pt x="427" y="391"/>
                    <a:pt x="428" y="391"/>
                  </a:cubicBezTo>
                  <a:cubicBezTo>
                    <a:pt x="430" y="391"/>
                    <a:pt x="431" y="389"/>
                    <a:pt x="434" y="386"/>
                  </a:cubicBezTo>
                  <a:cubicBezTo>
                    <a:pt x="437" y="383"/>
                    <a:pt x="440" y="379"/>
                    <a:pt x="444" y="376"/>
                  </a:cubicBezTo>
                  <a:cubicBezTo>
                    <a:pt x="443" y="376"/>
                    <a:pt x="442" y="374"/>
                    <a:pt x="442" y="372"/>
                  </a:cubicBezTo>
                  <a:cubicBezTo>
                    <a:pt x="441" y="369"/>
                    <a:pt x="441" y="366"/>
                    <a:pt x="441" y="364"/>
                  </a:cubicBezTo>
                  <a:cubicBezTo>
                    <a:pt x="441" y="362"/>
                    <a:pt x="441" y="361"/>
                    <a:pt x="441" y="360"/>
                  </a:cubicBezTo>
                  <a:cubicBezTo>
                    <a:pt x="443" y="356"/>
                    <a:pt x="447" y="355"/>
                    <a:pt x="451" y="354"/>
                  </a:cubicBezTo>
                  <a:cubicBezTo>
                    <a:pt x="452" y="353"/>
                    <a:pt x="454" y="353"/>
                    <a:pt x="455" y="352"/>
                  </a:cubicBezTo>
                  <a:cubicBezTo>
                    <a:pt x="460" y="351"/>
                    <a:pt x="463" y="350"/>
                    <a:pt x="466" y="346"/>
                  </a:cubicBezTo>
                  <a:cubicBezTo>
                    <a:pt x="467" y="345"/>
                    <a:pt x="472" y="341"/>
                    <a:pt x="470" y="339"/>
                  </a:cubicBezTo>
                  <a:cubicBezTo>
                    <a:pt x="469" y="338"/>
                    <a:pt x="467" y="339"/>
                    <a:pt x="467" y="338"/>
                  </a:cubicBezTo>
                  <a:cubicBezTo>
                    <a:pt x="466" y="338"/>
                    <a:pt x="466" y="338"/>
                    <a:pt x="466" y="338"/>
                  </a:cubicBezTo>
                  <a:cubicBezTo>
                    <a:pt x="465" y="337"/>
                    <a:pt x="465" y="334"/>
                    <a:pt x="465" y="333"/>
                  </a:cubicBezTo>
                  <a:cubicBezTo>
                    <a:pt x="466" y="334"/>
                    <a:pt x="466" y="336"/>
                    <a:pt x="467" y="337"/>
                  </a:cubicBezTo>
                  <a:cubicBezTo>
                    <a:pt x="467" y="337"/>
                    <a:pt x="468" y="338"/>
                    <a:pt x="469" y="338"/>
                  </a:cubicBezTo>
                  <a:cubicBezTo>
                    <a:pt x="471" y="339"/>
                    <a:pt x="471" y="340"/>
                    <a:pt x="472" y="342"/>
                  </a:cubicBezTo>
                  <a:cubicBezTo>
                    <a:pt x="472" y="345"/>
                    <a:pt x="470" y="349"/>
                    <a:pt x="471" y="351"/>
                  </a:cubicBezTo>
                  <a:cubicBezTo>
                    <a:pt x="471" y="352"/>
                    <a:pt x="471" y="352"/>
                    <a:pt x="472" y="353"/>
                  </a:cubicBezTo>
                  <a:cubicBezTo>
                    <a:pt x="472" y="353"/>
                    <a:pt x="473" y="354"/>
                    <a:pt x="473" y="354"/>
                  </a:cubicBezTo>
                  <a:cubicBezTo>
                    <a:pt x="473" y="354"/>
                    <a:pt x="474" y="354"/>
                    <a:pt x="473" y="353"/>
                  </a:cubicBezTo>
                  <a:cubicBezTo>
                    <a:pt x="474" y="353"/>
                    <a:pt x="474" y="353"/>
                    <a:pt x="474" y="353"/>
                  </a:cubicBezTo>
                  <a:cubicBezTo>
                    <a:pt x="479" y="353"/>
                    <a:pt x="477" y="349"/>
                    <a:pt x="479" y="345"/>
                  </a:cubicBezTo>
                  <a:cubicBezTo>
                    <a:pt x="479" y="346"/>
                    <a:pt x="478" y="350"/>
                    <a:pt x="479" y="353"/>
                  </a:cubicBezTo>
                  <a:cubicBezTo>
                    <a:pt x="479" y="354"/>
                    <a:pt x="479" y="355"/>
                    <a:pt x="479" y="355"/>
                  </a:cubicBezTo>
                  <a:cubicBezTo>
                    <a:pt x="479" y="355"/>
                    <a:pt x="479" y="355"/>
                    <a:pt x="479" y="355"/>
                  </a:cubicBezTo>
                  <a:cubicBezTo>
                    <a:pt x="480" y="355"/>
                    <a:pt x="481" y="351"/>
                    <a:pt x="481" y="350"/>
                  </a:cubicBezTo>
                  <a:cubicBezTo>
                    <a:pt x="481" y="350"/>
                    <a:pt x="481" y="350"/>
                    <a:pt x="481" y="350"/>
                  </a:cubicBezTo>
                  <a:cubicBezTo>
                    <a:pt x="481" y="348"/>
                    <a:pt x="480" y="349"/>
                    <a:pt x="480" y="347"/>
                  </a:cubicBezTo>
                  <a:cubicBezTo>
                    <a:pt x="480" y="347"/>
                    <a:pt x="480" y="346"/>
                    <a:pt x="480" y="345"/>
                  </a:cubicBezTo>
                  <a:cubicBezTo>
                    <a:pt x="481" y="344"/>
                    <a:pt x="481" y="342"/>
                    <a:pt x="481" y="341"/>
                  </a:cubicBezTo>
                  <a:cubicBezTo>
                    <a:pt x="482" y="340"/>
                    <a:pt x="482" y="339"/>
                    <a:pt x="483" y="338"/>
                  </a:cubicBezTo>
                  <a:cubicBezTo>
                    <a:pt x="482" y="339"/>
                    <a:pt x="482" y="340"/>
                    <a:pt x="482" y="341"/>
                  </a:cubicBezTo>
                  <a:cubicBezTo>
                    <a:pt x="482" y="342"/>
                    <a:pt x="482" y="343"/>
                    <a:pt x="483" y="345"/>
                  </a:cubicBezTo>
                  <a:cubicBezTo>
                    <a:pt x="483" y="344"/>
                    <a:pt x="484" y="343"/>
                    <a:pt x="484" y="342"/>
                  </a:cubicBezTo>
                  <a:cubicBezTo>
                    <a:pt x="485" y="343"/>
                    <a:pt x="483" y="345"/>
                    <a:pt x="483" y="347"/>
                  </a:cubicBezTo>
                  <a:cubicBezTo>
                    <a:pt x="483" y="347"/>
                    <a:pt x="483" y="348"/>
                    <a:pt x="483" y="348"/>
                  </a:cubicBezTo>
                  <a:cubicBezTo>
                    <a:pt x="483" y="349"/>
                    <a:pt x="483" y="350"/>
                    <a:pt x="483" y="351"/>
                  </a:cubicBezTo>
                  <a:cubicBezTo>
                    <a:pt x="483" y="352"/>
                    <a:pt x="485" y="354"/>
                    <a:pt x="485" y="354"/>
                  </a:cubicBezTo>
                  <a:cubicBezTo>
                    <a:pt x="485" y="354"/>
                    <a:pt x="485" y="353"/>
                    <a:pt x="485" y="353"/>
                  </a:cubicBezTo>
                  <a:cubicBezTo>
                    <a:pt x="485" y="353"/>
                    <a:pt x="485" y="353"/>
                    <a:pt x="485" y="353"/>
                  </a:cubicBezTo>
                  <a:cubicBezTo>
                    <a:pt x="486" y="353"/>
                    <a:pt x="487" y="353"/>
                    <a:pt x="488" y="353"/>
                  </a:cubicBezTo>
                  <a:cubicBezTo>
                    <a:pt x="489" y="353"/>
                    <a:pt x="489" y="353"/>
                    <a:pt x="490" y="353"/>
                  </a:cubicBezTo>
                  <a:cubicBezTo>
                    <a:pt x="491" y="353"/>
                    <a:pt x="492" y="353"/>
                    <a:pt x="492" y="352"/>
                  </a:cubicBezTo>
                  <a:cubicBezTo>
                    <a:pt x="493" y="351"/>
                    <a:pt x="492" y="351"/>
                    <a:pt x="491" y="350"/>
                  </a:cubicBezTo>
                  <a:cubicBezTo>
                    <a:pt x="491" y="349"/>
                    <a:pt x="491" y="349"/>
                    <a:pt x="491" y="349"/>
                  </a:cubicBezTo>
                  <a:cubicBezTo>
                    <a:pt x="491" y="348"/>
                    <a:pt x="490" y="346"/>
                    <a:pt x="490" y="346"/>
                  </a:cubicBezTo>
                  <a:cubicBezTo>
                    <a:pt x="489" y="346"/>
                    <a:pt x="489" y="346"/>
                    <a:pt x="489" y="346"/>
                  </a:cubicBezTo>
                  <a:cubicBezTo>
                    <a:pt x="489" y="343"/>
                    <a:pt x="489" y="343"/>
                    <a:pt x="489" y="343"/>
                  </a:cubicBezTo>
                  <a:cubicBezTo>
                    <a:pt x="489" y="342"/>
                    <a:pt x="489" y="341"/>
                    <a:pt x="489" y="340"/>
                  </a:cubicBezTo>
                  <a:cubicBezTo>
                    <a:pt x="489" y="338"/>
                    <a:pt x="488" y="337"/>
                    <a:pt x="488" y="335"/>
                  </a:cubicBezTo>
                  <a:cubicBezTo>
                    <a:pt x="486" y="326"/>
                    <a:pt x="486" y="326"/>
                    <a:pt x="486" y="326"/>
                  </a:cubicBezTo>
                  <a:cubicBezTo>
                    <a:pt x="486" y="325"/>
                    <a:pt x="486" y="325"/>
                    <a:pt x="486" y="324"/>
                  </a:cubicBezTo>
                  <a:cubicBezTo>
                    <a:pt x="486" y="323"/>
                    <a:pt x="486" y="323"/>
                    <a:pt x="486" y="322"/>
                  </a:cubicBezTo>
                  <a:cubicBezTo>
                    <a:pt x="485" y="321"/>
                    <a:pt x="485" y="319"/>
                    <a:pt x="486" y="316"/>
                  </a:cubicBezTo>
                  <a:cubicBezTo>
                    <a:pt x="486" y="315"/>
                    <a:pt x="486" y="315"/>
                    <a:pt x="486" y="315"/>
                  </a:cubicBezTo>
                  <a:cubicBezTo>
                    <a:pt x="486" y="315"/>
                    <a:pt x="486" y="315"/>
                    <a:pt x="486" y="315"/>
                  </a:cubicBezTo>
                  <a:cubicBezTo>
                    <a:pt x="486" y="314"/>
                    <a:pt x="486" y="314"/>
                    <a:pt x="486" y="314"/>
                  </a:cubicBezTo>
                  <a:cubicBezTo>
                    <a:pt x="485" y="314"/>
                    <a:pt x="484" y="313"/>
                    <a:pt x="483" y="312"/>
                  </a:cubicBezTo>
                  <a:cubicBezTo>
                    <a:pt x="483" y="312"/>
                    <a:pt x="483" y="312"/>
                    <a:pt x="483" y="312"/>
                  </a:cubicBezTo>
                  <a:cubicBezTo>
                    <a:pt x="482" y="310"/>
                    <a:pt x="482" y="309"/>
                    <a:pt x="482" y="307"/>
                  </a:cubicBezTo>
                  <a:cubicBezTo>
                    <a:pt x="482" y="307"/>
                    <a:pt x="482" y="307"/>
                    <a:pt x="482" y="307"/>
                  </a:cubicBezTo>
                  <a:cubicBezTo>
                    <a:pt x="478" y="304"/>
                    <a:pt x="478" y="302"/>
                    <a:pt x="479" y="299"/>
                  </a:cubicBezTo>
                  <a:cubicBezTo>
                    <a:pt x="479" y="297"/>
                    <a:pt x="479" y="297"/>
                    <a:pt x="479" y="297"/>
                  </a:cubicBezTo>
                  <a:cubicBezTo>
                    <a:pt x="479" y="295"/>
                    <a:pt x="480" y="294"/>
                    <a:pt x="481" y="293"/>
                  </a:cubicBezTo>
                  <a:cubicBezTo>
                    <a:pt x="481" y="293"/>
                    <a:pt x="481" y="293"/>
                    <a:pt x="481" y="293"/>
                  </a:cubicBezTo>
                  <a:cubicBezTo>
                    <a:pt x="481" y="293"/>
                    <a:pt x="481" y="291"/>
                    <a:pt x="481" y="289"/>
                  </a:cubicBezTo>
                  <a:cubicBezTo>
                    <a:pt x="481" y="288"/>
                    <a:pt x="481" y="288"/>
                    <a:pt x="481" y="288"/>
                  </a:cubicBezTo>
                  <a:cubicBezTo>
                    <a:pt x="481" y="288"/>
                    <a:pt x="481" y="288"/>
                    <a:pt x="481" y="288"/>
                  </a:cubicBezTo>
                  <a:cubicBezTo>
                    <a:pt x="481" y="288"/>
                    <a:pt x="480" y="288"/>
                    <a:pt x="480" y="288"/>
                  </a:cubicBezTo>
                  <a:cubicBezTo>
                    <a:pt x="479" y="288"/>
                    <a:pt x="479" y="288"/>
                    <a:pt x="479" y="288"/>
                  </a:cubicBezTo>
                  <a:cubicBezTo>
                    <a:pt x="479" y="288"/>
                    <a:pt x="478" y="288"/>
                    <a:pt x="478" y="288"/>
                  </a:cubicBezTo>
                  <a:cubicBezTo>
                    <a:pt x="477" y="288"/>
                    <a:pt x="476" y="287"/>
                    <a:pt x="476" y="287"/>
                  </a:cubicBezTo>
                  <a:cubicBezTo>
                    <a:pt x="475" y="287"/>
                    <a:pt x="474" y="287"/>
                    <a:pt x="474" y="286"/>
                  </a:cubicBezTo>
                  <a:cubicBezTo>
                    <a:pt x="473" y="286"/>
                    <a:pt x="472" y="285"/>
                    <a:pt x="471" y="285"/>
                  </a:cubicBezTo>
                  <a:cubicBezTo>
                    <a:pt x="471" y="284"/>
                    <a:pt x="471" y="284"/>
                    <a:pt x="471" y="284"/>
                  </a:cubicBezTo>
                  <a:cubicBezTo>
                    <a:pt x="470" y="284"/>
                    <a:pt x="469" y="283"/>
                    <a:pt x="469" y="283"/>
                  </a:cubicBezTo>
                  <a:cubicBezTo>
                    <a:pt x="468" y="283"/>
                    <a:pt x="467" y="282"/>
                    <a:pt x="467" y="281"/>
                  </a:cubicBezTo>
                  <a:cubicBezTo>
                    <a:pt x="467" y="281"/>
                    <a:pt x="466" y="280"/>
                    <a:pt x="466" y="279"/>
                  </a:cubicBezTo>
                  <a:cubicBezTo>
                    <a:pt x="466" y="277"/>
                    <a:pt x="467" y="275"/>
                    <a:pt x="467" y="273"/>
                  </a:cubicBezTo>
                  <a:cubicBezTo>
                    <a:pt x="467" y="273"/>
                    <a:pt x="467" y="273"/>
                    <a:pt x="467" y="273"/>
                  </a:cubicBezTo>
                  <a:cubicBezTo>
                    <a:pt x="468" y="270"/>
                    <a:pt x="470" y="269"/>
                    <a:pt x="471" y="269"/>
                  </a:cubicBezTo>
                  <a:cubicBezTo>
                    <a:pt x="472" y="269"/>
                    <a:pt x="472" y="268"/>
                    <a:pt x="472" y="268"/>
                  </a:cubicBezTo>
                  <a:cubicBezTo>
                    <a:pt x="473" y="268"/>
                    <a:pt x="473" y="268"/>
                    <a:pt x="473" y="268"/>
                  </a:cubicBezTo>
                  <a:cubicBezTo>
                    <a:pt x="474" y="268"/>
                    <a:pt x="474" y="268"/>
                    <a:pt x="474" y="268"/>
                  </a:cubicBezTo>
                  <a:cubicBezTo>
                    <a:pt x="475" y="262"/>
                    <a:pt x="480" y="261"/>
                    <a:pt x="483" y="261"/>
                  </a:cubicBezTo>
                  <a:cubicBezTo>
                    <a:pt x="484" y="261"/>
                    <a:pt x="484" y="261"/>
                    <a:pt x="484" y="261"/>
                  </a:cubicBezTo>
                  <a:cubicBezTo>
                    <a:pt x="484" y="260"/>
                    <a:pt x="483" y="260"/>
                    <a:pt x="483" y="259"/>
                  </a:cubicBezTo>
                  <a:cubicBezTo>
                    <a:pt x="483" y="259"/>
                    <a:pt x="483" y="259"/>
                    <a:pt x="483" y="259"/>
                  </a:cubicBezTo>
                  <a:cubicBezTo>
                    <a:pt x="483" y="259"/>
                    <a:pt x="483" y="259"/>
                    <a:pt x="483" y="259"/>
                  </a:cubicBezTo>
                  <a:cubicBezTo>
                    <a:pt x="482" y="259"/>
                    <a:pt x="482" y="259"/>
                    <a:pt x="482" y="259"/>
                  </a:cubicBezTo>
                  <a:cubicBezTo>
                    <a:pt x="482" y="259"/>
                    <a:pt x="482" y="259"/>
                    <a:pt x="482" y="259"/>
                  </a:cubicBezTo>
                  <a:cubicBezTo>
                    <a:pt x="479" y="259"/>
                    <a:pt x="477" y="257"/>
                    <a:pt x="476" y="255"/>
                  </a:cubicBezTo>
                  <a:cubicBezTo>
                    <a:pt x="475" y="254"/>
                    <a:pt x="475" y="254"/>
                    <a:pt x="475" y="254"/>
                  </a:cubicBezTo>
                  <a:cubicBezTo>
                    <a:pt x="474" y="253"/>
                    <a:pt x="473" y="251"/>
                    <a:pt x="472" y="251"/>
                  </a:cubicBezTo>
                  <a:cubicBezTo>
                    <a:pt x="471" y="251"/>
                    <a:pt x="471" y="251"/>
                    <a:pt x="471" y="251"/>
                  </a:cubicBezTo>
                  <a:cubicBezTo>
                    <a:pt x="470" y="251"/>
                    <a:pt x="468" y="250"/>
                    <a:pt x="467" y="248"/>
                  </a:cubicBezTo>
                  <a:cubicBezTo>
                    <a:pt x="466" y="245"/>
                    <a:pt x="467" y="243"/>
                    <a:pt x="468" y="242"/>
                  </a:cubicBezTo>
                  <a:cubicBezTo>
                    <a:pt x="468" y="241"/>
                    <a:pt x="468" y="241"/>
                    <a:pt x="468" y="241"/>
                  </a:cubicBezTo>
                  <a:cubicBezTo>
                    <a:pt x="469" y="240"/>
                    <a:pt x="469" y="240"/>
                    <a:pt x="469" y="240"/>
                  </a:cubicBezTo>
                  <a:cubicBezTo>
                    <a:pt x="470" y="237"/>
                    <a:pt x="472" y="235"/>
                    <a:pt x="474" y="234"/>
                  </a:cubicBezTo>
                  <a:cubicBezTo>
                    <a:pt x="473" y="234"/>
                    <a:pt x="473" y="234"/>
                    <a:pt x="473" y="234"/>
                  </a:cubicBezTo>
                  <a:cubicBezTo>
                    <a:pt x="473" y="233"/>
                    <a:pt x="473" y="233"/>
                    <a:pt x="473" y="233"/>
                  </a:cubicBezTo>
                  <a:cubicBezTo>
                    <a:pt x="473" y="233"/>
                    <a:pt x="472" y="233"/>
                    <a:pt x="472" y="232"/>
                  </a:cubicBezTo>
                  <a:cubicBezTo>
                    <a:pt x="472" y="231"/>
                    <a:pt x="472" y="231"/>
                    <a:pt x="472" y="231"/>
                  </a:cubicBezTo>
                  <a:cubicBezTo>
                    <a:pt x="472" y="231"/>
                    <a:pt x="472" y="231"/>
                    <a:pt x="472" y="231"/>
                  </a:cubicBezTo>
                  <a:cubicBezTo>
                    <a:pt x="472" y="231"/>
                    <a:pt x="472" y="231"/>
                    <a:pt x="472" y="231"/>
                  </a:cubicBezTo>
                  <a:cubicBezTo>
                    <a:pt x="471" y="232"/>
                    <a:pt x="471" y="232"/>
                    <a:pt x="471" y="232"/>
                  </a:cubicBezTo>
                  <a:cubicBezTo>
                    <a:pt x="470" y="235"/>
                    <a:pt x="469" y="236"/>
                    <a:pt x="467" y="236"/>
                  </a:cubicBezTo>
                  <a:cubicBezTo>
                    <a:pt x="466" y="237"/>
                    <a:pt x="465" y="237"/>
                    <a:pt x="464" y="237"/>
                  </a:cubicBezTo>
                  <a:cubicBezTo>
                    <a:pt x="464" y="237"/>
                    <a:pt x="464" y="237"/>
                    <a:pt x="464" y="237"/>
                  </a:cubicBezTo>
                  <a:cubicBezTo>
                    <a:pt x="463" y="237"/>
                    <a:pt x="462" y="237"/>
                    <a:pt x="461" y="236"/>
                  </a:cubicBezTo>
                  <a:cubicBezTo>
                    <a:pt x="460" y="236"/>
                    <a:pt x="459" y="236"/>
                    <a:pt x="458" y="236"/>
                  </a:cubicBezTo>
                  <a:cubicBezTo>
                    <a:pt x="455" y="236"/>
                    <a:pt x="455" y="236"/>
                    <a:pt x="455" y="236"/>
                  </a:cubicBezTo>
                  <a:cubicBezTo>
                    <a:pt x="455" y="236"/>
                    <a:pt x="454" y="236"/>
                    <a:pt x="454" y="236"/>
                  </a:cubicBezTo>
                  <a:cubicBezTo>
                    <a:pt x="453" y="236"/>
                    <a:pt x="453" y="236"/>
                    <a:pt x="452" y="236"/>
                  </a:cubicBezTo>
                  <a:cubicBezTo>
                    <a:pt x="450" y="236"/>
                    <a:pt x="448" y="236"/>
                    <a:pt x="446" y="235"/>
                  </a:cubicBezTo>
                  <a:cubicBezTo>
                    <a:pt x="444" y="235"/>
                    <a:pt x="443" y="234"/>
                    <a:pt x="443" y="233"/>
                  </a:cubicBezTo>
                  <a:cubicBezTo>
                    <a:pt x="442" y="233"/>
                    <a:pt x="442" y="233"/>
                    <a:pt x="442" y="233"/>
                  </a:cubicBezTo>
                  <a:cubicBezTo>
                    <a:pt x="441" y="234"/>
                    <a:pt x="440" y="234"/>
                    <a:pt x="439" y="235"/>
                  </a:cubicBezTo>
                  <a:cubicBezTo>
                    <a:pt x="439" y="235"/>
                    <a:pt x="439" y="235"/>
                    <a:pt x="439" y="235"/>
                  </a:cubicBezTo>
                  <a:cubicBezTo>
                    <a:pt x="438" y="235"/>
                    <a:pt x="438" y="235"/>
                    <a:pt x="438" y="235"/>
                  </a:cubicBezTo>
                  <a:cubicBezTo>
                    <a:pt x="438" y="235"/>
                    <a:pt x="438" y="235"/>
                    <a:pt x="438" y="235"/>
                  </a:cubicBezTo>
                  <a:cubicBezTo>
                    <a:pt x="437" y="235"/>
                    <a:pt x="437" y="235"/>
                    <a:pt x="437" y="235"/>
                  </a:cubicBezTo>
                  <a:cubicBezTo>
                    <a:pt x="436" y="235"/>
                    <a:pt x="436" y="235"/>
                    <a:pt x="436" y="235"/>
                  </a:cubicBezTo>
                  <a:cubicBezTo>
                    <a:pt x="435" y="235"/>
                    <a:pt x="435" y="235"/>
                    <a:pt x="434" y="235"/>
                  </a:cubicBezTo>
                  <a:cubicBezTo>
                    <a:pt x="434" y="235"/>
                    <a:pt x="434" y="235"/>
                    <a:pt x="434" y="235"/>
                  </a:cubicBezTo>
                  <a:cubicBezTo>
                    <a:pt x="434" y="234"/>
                    <a:pt x="433" y="234"/>
                    <a:pt x="433" y="234"/>
                  </a:cubicBezTo>
                  <a:cubicBezTo>
                    <a:pt x="430" y="233"/>
                    <a:pt x="430" y="233"/>
                    <a:pt x="430" y="233"/>
                  </a:cubicBezTo>
                  <a:cubicBezTo>
                    <a:pt x="430" y="232"/>
                    <a:pt x="429" y="232"/>
                    <a:pt x="428" y="232"/>
                  </a:cubicBezTo>
                  <a:cubicBezTo>
                    <a:pt x="427" y="232"/>
                    <a:pt x="427" y="231"/>
                    <a:pt x="426" y="231"/>
                  </a:cubicBezTo>
                  <a:cubicBezTo>
                    <a:pt x="425" y="231"/>
                    <a:pt x="425" y="231"/>
                    <a:pt x="425" y="231"/>
                  </a:cubicBezTo>
                  <a:cubicBezTo>
                    <a:pt x="424" y="231"/>
                    <a:pt x="424" y="231"/>
                    <a:pt x="424" y="231"/>
                  </a:cubicBezTo>
                  <a:cubicBezTo>
                    <a:pt x="423" y="231"/>
                    <a:pt x="423" y="231"/>
                    <a:pt x="423" y="231"/>
                  </a:cubicBezTo>
                  <a:cubicBezTo>
                    <a:pt x="423" y="231"/>
                    <a:pt x="422" y="231"/>
                    <a:pt x="422" y="231"/>
                  </a:cubicBezTo>
                  <a:cubicBezTo>
                    <a:pt x="421" y="231"/>
                    <a:pt x="421" y="231"/>
                    <a:pt x="421" y="231"/>
                  </a:cubicBezTo>
                  <a:cubicBezTo>
                    <a:pt x="420" y="232"/>
                    <a:pt x="419" y="232"/>
                    <a:pt x="418" y="232"/>
                  </a:cubicBezTo>
                  <a:cubicBezTo>
                    <a:pt x="418" y="232"/>
                    <a:pt x="417" y="232"/>
                    <a:pt x="417" y="232"/>
                  </a:cubicBezTo>
                  <a:cubicBezTo>
                    <a:pt x="416" y="231"/>
                    <a:pt x="415" y="231"/>
                    <a:pt x="415" y="231"/>
                  </a:cubicBezTo>
                  <a:cubicBezTo>
                    <a:pt x="414" y="230"/>
                    <a:pt x="414" y="230"/>
                    <a:pt x="413" y="230"/>
                  </a:cubicBezTo>
                  <a:cubicBezTo>
                    <a:pt x="412" y="229"/>
                    <a:pt x="412" y="228"/>
                    <a:pt x="412" y="227"/>
                  </a:cubicBezTo>
                  <a:cubicBezTo>
                    <a:pt x="412" y="227"/>
                    <a:pt x="411" y="226"/>
                    <a:pt x="411" y="225"/>
                  </a:cubicBezTo>
                  <a:cubicBezTo>
                    <a:pt x="410" y="225"/>
                    <a:pt x="410" y="225"/>
                    <a:pt x="410" y="225"/>
                  </a:cubicBezTo>
                  <a:cubicBezTo>
                    <a:pt x="410" y="226"/>
                    <a:pt x="409" y="226"/>
                    <a:pt x="408" y="226"/>
                  </a:cubicBezTo>
                  <a:cubicBezTo>
                    <a:pt x="407" y="227"/>
                    <a:pt x="407" y="227"/>
                    <a:pt x="407" y="227"/>
                  </a:cubicBezTo>
                  <a:cubicBezTo>
                    <a:pt x="406" y="227"/>
                    <a:pt x="405" y="227"/>
                    <a:pt x="404" y="227"/>
                  </a:cubicBezTo>
                  <a:cubicBezTo>
                    <a:pt x="404" y="227"/>
                    <a:pt x="404" y="227"/>
                    <a:pt x="404" y="227"/>
                  </a:cubicBezTo>
                  <a:cubicBezTo>
                    <a:pt x="403" y="227"/>
                    <a:pt x="402" y="227"/>
                    <a:pt x="401" y="226"/>
                  </a:cubicBezTo>
                  <a:cubicBezTo>
                    <a:pt x="401" y="226"/>
                    <a:pt x="400" y="226"/>
                    <a:pt x="400" y="225"/>
                  </a:cubicBezTo>
                  <a:cubicBezTo>
                    <a:pt x="399" y="225"/>
                    <a:pt x="399" y="225"/>
                    <a:pt x="399" y="225"/>
                  </a:cubicBezTo>
                  <a:cubicBezTo>
                    <a:pt x="399" y="225"/>
                    <a:pt x="399" y="224"/>
                    <a:pt x="398" y="224"/>
                  </a:cubicBezTo>
                  <a:cubicBezTo>
                    <a:pt x="398" y="224"/>
                    <a:pt x="398" y="224"/>
                    <a:pt x="398" y="224"/>
                  </a:cubicBezTo>
                  <a:cubicBezTo>
                    <a:pt x="396" y="223"/>
                    <a:pt x="395" y="222"/>
                    <a:pt x="393" y="222"/>
                  </a:cubicBezTo>
                  <a:cubicBezTo>
                    <a:pt x="392" y="221"/>
                    <a:pt x="392" y="221"/>
                    <a:pt x="392" y="221"/>
                  </a:cubicBezTo>
                  <a:cubicBezTo>
                    <a:pt x="391" y="221"/>
                    <a:pt x="390" y="221"/>
                    <a:pt x="389" y="220"/>
                  </a:cubicBezTo>
                  <a:cubicBezTo>
                    <a:pt x="387" y="219"/>
                    <a:pt x="386" y="218"/>
                    <a:pt x="385" y="217"/>
                  </a:cubicBezTo>
                  <a:cubicBezTo>
                    <a:pt x="385" y="217"/>
                    <a:pt x="385" y="216"/>
                    <a:pt x="384" y="215"/>
                  </a:cubicBezTo>
                  <a:cubicBezTo>
                    <a:pt x="384" y="214"/>
                    <a:pt x="384" y="213"/>
                    <a:pt x="384" y="213"/>
                  </a:cubicBezTo>
                  <a:cubicBezTo>
                    <a:pt x="384" y="212"/>
                    <a:pt x="384" y="212"/>
                    <a:pt x="384" y="212"/>
                  </a:cubicBezTo>
                  <a:cubicBezTo>
                    <a:pt x="384" y="211"/>
                    <a:pt x="384" y="211"/>
                    <a:pt x="384" y="211"/>
                  </a:cubicBezTo>
                  <a:cubicBezTo>
                    <a:pt x="384" y="211"/>
                    <a:pt x="384" y="211"/>
                    <a:pt x="384" y="211"/>
                  </a:cubicBezTo>
                  <a:cubicBezTo>
                    <a:pt x="383" y="210"/>
                    <a:pt x="380" y="210"/>
                    <a:pt x="379" y="209"/>
                  </a:cubicBezTo>
                  <a:cubicBezTo>
                    <a:pt x="378" y="209"/>
                    <a:pt x="378" y="209"/>
                    <a:pt x="378" y="209"/>
                  </a:cubicBezTo>
                  <a:cubicBezTo>
                    <a:pt x="378" y="209"/>
                    <a:pt x="377" y="209"/>
                    <a:pt x="377" y="208"/>
                  </a:cubicBezTo>
                  <a:cubicBezTo>
                    <a:pt x="376" y="208"/>
                    <a:pt x="376" y="208"/>
                    <a:pt x="376" y="208"/>
                  </a:cubicBezTo>
                  <a:cubicBezTo>
                    <a:pt x="376" y="208"/>
                    <a:pt x="376" y="208"/>
                    <a:pt x="375" y="208"/>
                  </a:cubicBezTo>
                  <a:cubicBezTo>
                    <a:pt x="375" y="208"/>
                    <a:pt x="374" y="208"/>
                    <a:pt x="374" y="209"/>
                  </a:cubicBezTo>
                  <a:cubicBezTo>
                    <a:pt x="374" y="214"/>
                    <a:pt x="374" y="214"/>
                    <a:pt x="374" y="214"/>
                  </a:cubicBezTo>
                  <a:cubicBezTo>
                    <a:pt x="372" y="209"/>
                    <a:pt x="372" y="209"/>
                    <a:pt x="372" y="209"/>
                  </a:cubicBezTo>
                  <a:cubicBezTo>
                    <a:pt x="371" y="210"/>
                    <a:pt x="371" y="211"/>
                    <a:pt x="371" y="211"/>
                  </a:cubicBezTo>
                  <a:cubicBezTo>
                    <a:pt x="370" y="211"/>
                    <a:pt x="370" y="211"/>
                    <a:pt x="370" y="211"/>
                  </a:cubicBezTo>
                  <a:cubicBezTo>
                    <a:pt x="369" y="211"/>
                    <a:pt x="369" y="211"/>
                    <a:pt x="369" y="211"/>
                  </a:cubicBezTo>
                  <a:cubicBezTo>
                    <a:pt x="369" y="212"/>
                    <a:pt x="369" y="212"/>
                    <a:pt x="369" y="212"/>
                  </a:cubicBezTo>
                  <a:cubicBezTo>
                    <a:pt x="368" y="212"/>
                    <a:pt x="368" y="212"/>
                    <a:pt x="368" y="212"/>
                  </a:cubicBezTo>
                  <a:cubicBezTo>
                    <a:pt x="362" y="209"/>
                    <a:pt x="362" y="209"/>
                    <a:pt x="362" y="209"/>
                  </a:cubicBezTo>
                  <a:cubicBezTo>
                    <a:pt x="361" y="210"/>
                    <a:pt x="361" y="210"/>
                    <a:pt x="361" y="210"/>
                  </a:cubicBezTo>
                  <a:cubicBezTo>
                    <a:pt x="360" y="211"/>
                    <a:pt x="360" y="211"/>
                    <a:pt x="360" y="211"/>
                  </a:cubicBezTo>
                  <a:cubicBezTo>
                    <a:pt x="360" y="211"/>
                    <a:pt x="360" y="211"/>
                    <a:pt x="360" y="211"/>
                  </a:cubicBezTo>
                  <a:cubicBezTo>
                    <a:pt x="359" y="211"/>
                    <a:pt x="359" y="212"/>
                    <a:pt x="358" y="212"/>
                  </a:cubicBezTo>
                  <a:cubicBezTo>
                    <a:pt x="358" y="212"/>
                    <a:pt x="358" y="212"/>
                    <a:pt x="358" y="212"/>
                  </a:cubicBezTo>
                  <a:cubicBezTo>
                    <a:pt x="358" y="212"/>
                    <a:pt x="357" y="212"/>
                    <a:pt x="357" y="212"/>
                  </a:cubicBezTo>
                  <a:cubicBezTo>
                    <a:pt x="357" y="212"/>
                    <a:pt x="357" y="212"/>
                    <a:pt x="357" y="212"/>
                  </a:cubicBezTo>
                  <a:cubicBezTo>
                    <a:pt x="356" y="212"/>
                    <a:pt x="356" y="212"/>
                    <a:pt x="356" y="212"/>
                  </a:cubicBezTo>
                  <a:cubicBezTo>
                    <a:pt x="355" y="212"/>
                    <a:pt x="354" y="212"/>
                    <a:pt x="354" y="211"/>
                  </a:cubicBezTo>
                  <a:cubicBezTo>
                    <a:pt x="353" y="211"/>
                    <a:pt x="352" y="210"/>
                    <a:pt x="350" y="210"/>
                  </a:cubicBezTo>
                  <a:cubicBezTo>
                    <a:pt x="349" y="209"/>
                    <a:pt x="348" y="209"/>
                    <a:pt x="347" y="209"/>
                  </a:cubicBezTo>
                  <a:cubicBezTo>
                    <a:pt x="344" y="209"/>
                    <a:pt x="344" y="209"/>
                    <a:pt x="344" y="209"/>
                  </a:cubicBezTo>
                  <a:cubicBezTo>
                    <a:pt x="343" y="208"/>
                    <a:pt x="342" y="208"/>
                    <a:pt x="342" y="207"/>
                  </a:cubicBezTo>
                  <a:cubicBezTo>
                    <a:pt x="340" y="206"/>
                    <a:pt x="340" y="205"/>
                    <a:pt x="340" y="204"/>
                  </a:cubicBezTo>
                  <a:cubicBezTo>
                    <a:pt x="339" y="203"/>
                    <a:pt x="339" y="203"/>
                    <a:pt x="339" y="203"/>
                  </a:cubicBezTo>
                  <a:cubicBezTo>
                    <a:pt x="339" y="203"/>
                    <a:pt x="339" y="203"/>
                    <a:pt x="339" y="203"/>
                  </a:cubicBezTo>
                  <a:cubicBezTo>
                    <a:pt x="333" y="201"/>
                    <a:pt x="333" y="201"/>
                    <a:pt x="333" y="201"/>
                  </a:cubicBezTo>
                  <a:cubicBezTo>
                    <a:pt x="332" y="205"/>
                    <a:pt x="332" y="205"/>
                    <a:pt x="332" y="205"/>
                  </a:cubicBezTo>
                  <a:cubicBezTo>
                    <a:pt x="332" y="200"/>
                    <a:pt x="332" y="200"/>
                    <a:pt x="332" y="200"/>
                  </a:cubicBezTo>
                  <a:cubicBezTo>
                    <a:pt x="331" y="200"/>
                    <a:pt x="331" y="200"/>
                    <a:pt x="331" y="200"/>
                  </a:cubicBezTo>
                  <a:cubicBezTo>
                    <a:pt x="330" y="200"/>
                    <a:pt x="328" y="199"/>
                    <a:pt x="326" y="198"/>
                  </a:cubicBezTo>
                  <a:cubicBezTo>
                    <a:pt x="326" y="198"/>
                    <a:pt x="326" y="198"/>
                    <a:pt x="326" y="198"/>
                  </a:cubicBezTo>
                  <a:cubicBezTo>
                    <a:pt x="325" y="199"/>
                    <a:pt x="324" y="199"/>
                    <a:pt x="324" y="199"/>
                  </a:cubicBezTo>
                  <a:cubicBezTo>
                    <a:pt x="323" y="199"/>
                    <a:pt x="323" y="199"/>
                    <a:pt x="323" y="199"/>
                  </a:cubicBezTo>
                  <a:cubicBezTo>
                    <a:pt x="323" y="199"/>
                    <a:pt x="323" y="199"/>
                    <a:pt x="323" y="199"/>
                  </a:cubicBezTo>
                  <a:cubicBezTo>
                    <a:pt x="322" y="199"/>
                    <a:pt x="322" y="199"/>
                    <a:pt x="322" y="199"/>
                  </a:cubicBezTo>
                  <a:cubicBezTo>
                    <a:pt x="320" y="199"/>
                    <a:pt x="319" y="198"/>
                    <a:pt x="316" y="196"/>
                  </a:cubicBezTo>
                  <a:cubicBezTo>
                    <a:pt x="315" y="196"/>
                    <a:pt x="315" y="196"/>
                    <a:pt x="315" y="196"/>
                  </a:cubicBezTo>
                  <a:cubicBezTo>
                    <a:pt x="314" y="195"/>
                    <a:pt x="314" y="194"/>
                    <a:pt x="313" y="194"/>
                  </a:cubicBezTo>
                  <a:cubicBezTo>
                    <a:pt x="313" y="194"/>
                    <a:pt x="312" y="193"/>
                    <a:pt x="311" y="193"/>
                  </a:cubicBezTo>
                  <a:cubicBezTo>
                    <a:pt x="311" y="192"/>
                    <a:pt x="311" y="192"/>
                    <a:pt x="311" y="192"/>
                  </a:cubicBezTo>
                  <a:cubicBezTo>
                    <a:pt x="309" y="191"/>
                    <a:pt x="308" y="189"/>
                    <a:pt x="306" y="188"/>
                  </a:cubicBezTo>
                  <a:cubicBezTo>
                    <a:pt x="306" y="187"/>
                    <a:pt x="306" y="187"/>
                    <a:pt x="306" y="187"/>
                  </a:cubicBezTo>
                  <a:cubicBezTo>
                    <a:pt x="304" y="186"/>
                    <a:pt x="303" y="185"/>
                    <a:pt x="301" y="184"/>
                  </a:cubicBezTo>
                  <a:cubicBezTo>
                    <a:pt x="299" y="183"/>
                    <a:pt x="298" y="182"/>
                    <a:pt x="296" y="181"/>
                  </a:cubicBezTo>
                  <a:cubicBezTo>
                    <a:pt x="293" y="180"/>
                    <a:pt x="293" y="180"/>
                    <a:pt x="293" y="180"/>
                  </a:cubicBezTo>
                  <a:cubicBezTo>
                    <a:pt x="292" y="182"/>
                    <a:pt x="292" y="182"/>
                    <a:pt x="292" y="182"/>
                  </a:cubicBezTo>
                  <a:cubicBezTo>
                    <a:pt x="289" y="181"/>
                    <a:pt x="289" y="181"/>
                    <a:pt x="289" y="181"/>
                  </a:cubicBezTo>
                  <a:cubicBezTo>
                    <a:pt x="287" y="180"/>
                    <a:pt x="283" y="178"/>
                    <a:pt x="282" y="177"/>
                  </a:cubicBezTo>
                  <a:cubicBezTo>
                    <a:pt x="278" y="174"/>
                    <a:pt x="277" y="172"/>
                    <a:pt x="278" y="169"/>
                  </a:cubicBezTo>
                  <a:cubicBezTo>
                    <a:pt x="278" y="168"/>
                    <a:pt x="278" y="167"/>
                    <a:pt x="279" y="166"/>
                  </a:cubicBezTo>
                  <a:cubicBezTo>
                    <a:pt x="279" y="164"/>
                    <a:pt x="280" y="163"/>
                    <a:pt x="281" y="161"/>
                  </a:cubicBezTo>
                  <a:cubicBezTo>
                    <a:pt x="282" y="160"/>
                    <a:pt x="282" y="160"/>
                    <a:pt x="282" y="160"/>
                  </a:cubicBezTo>
                  <a:cubicBezTo>
                    <a:pt x="282" y="160"/>
                    <a:pt x="282" y="159"/>
                    <a:pt x="282" y="159"/>
                  </a:cubicBezTo>
                  <a:cubicBezTo>
                    <a:pt x="282" y="158"/>
                    <a:pt x="282" y="158"/>
                    <a:pt x="282" y="157"/>
                  </a:cubicBezTo>
                  <a:cubicBezTo>
                    <a:pt x="282" y="156"/>
                    <a:pt x="282" y="156"/>
                    <a:pt x="282" y="155"/>
                  </a:cubicBezTo>
                  <a:cubicBezTo>
                    <a:pt x="282" y="154"/>
                    <a:pt x="283" y="153"/>
                    <a:pt x="283" y="153"/>
                  </a:cubicBezTo>
                  <a:cubicBezTo>
                    <a:pt x="285" y="151"/>
                    <a:pt x="285" y="151"/>
                    <a:pt x="285" y="151"/>
                  </a:cubicBezTo>
                  <a:cubicBezTo>
                    <a:pt x="285" y="150"/>
                    <a:pt x="285" y="150"/>
                    <a:pt x="285" y="150"/>
                  </a:cubicBezTo>
                  <a:cubicBezTo>
                    <a:pt x="285" y="150"/>
                    <a:pt x="285" y="150"/>
                    <a:pt x="285" y="150"/>
                  </a:cubicBezTo>
                  <a:cubicBezTo>
                    <a:pt x="286" y="149"/>
                    <a:pt x="286" y="149"/>
                    <a:pt x="286" y="149"/>
                  </a:cubicBezTo>
                  <a:cubicBezTo>
                    <a:pt x="298" y="137"/>
                    <a:pt x="298" y="137"/>
                    <a:pt x="298" y="137"/>
                  </a:cubicBezTo>
                  <a:cubicBezTo>
                    <a:pt x="282" y="129"/>
                    <a:pt x="282" y="129"/>
                    <a:pt x="282" y="129"/>
                  </a:cubicBezTo>
                  <a:cubicBezTo>
                    <a:pt x="281" y="129"/>
                    <a:pt x="281" y="128"/>
                    <a:pt x="281" y="127"/>
                  </a:cubicBezTo>
                  <a:cubicBezTo>
                    <a:pt x="280" y="126"/>
                    <a:pt x="280" y="126"/>
                    <a:pt x="280" y="126"/>
                  </a:cubicBezTo>
                  <a:cubicBezTo>
                    <a:pt x="281" y="125"/>
                    <a:pt x="281" y="125"/>
                    <a:pt x="281" y="125"/>
                  </a:cubicBezTo>
                  <a:cubicBezTo>
                    <a:pt x="281" y="124"/>
                    <a:pt x="281" y="124"/>
                    <a:pt x="281" y="124"/>
                  </a:cubicBezTo>
                  <a:cubicBezTo>
                    <a:pt x="281" y="123"/>
                    <a:pt x="280" y="123"/>
                    <a:pt x="280" y="123"/>
                  </a:cubicBezTo>
                  <a:cubicBezTo>
                    <a:pt x="277" y="121"/>
                    <a:pt x="273" y="120"/>
                    <a:pt x="270" y="119"/>
                  </a:cubicBezTo>
                  <a:cubicBezTo>
                    <a:pt x="268" y="119"/>
                    <a:pt x="268" y="119"/>
                    <a:pt x="268" y="119"/>
                  </a:cubicBezTo>
                  <a:cubicBezTo>
                    <a:pt x="268" y="119"/>
                    <a:pt x="267" y="119"/>
                    <a:pt x="267" y="119"/>
                  </a:cubicBezTo>
                  <a:cubicBezTo>
                    <a:pt x="265" y="118"/>
                    <a:pt x="264" y="117"/>
                    <a:pt x="263" y="116"/>
                  </a:cubicBezTo>
                  <a:cubicBezTo>
                    <a:pt x="262" y="115"/>
                    <a:pt x="262" y="115"/>
                    <a:pt x="262" y="115"/>
                  </a:cubicBezTo>
                  <a:cubicBezTo>
                    <a:pt x="261" y="114"/>
                    <a:pt x="261" y="113"/>
                    <a:pt x="260" y="112"/>
                  </a:cubicBezTo>
                  <a:cubicBezTo>
                    <a:pt x="260" y="112"/>
                    <a:pt x="260" y="112"/>
                    <a:pt x="260" y="112"/>
                  </a:cubicBezTo>
                  <a:cubicBezTo>
                    <a:pt x="259" y="111"/>
                    <a:pt x="259" y="110"/>
                    <a:pt x="258" y="110"/>
                  </a:cubicBezTo>
                  <a:cubicBezTo>
                    <a:pt x="258" y="110"/>
                    <a:pt x="258" y="110"/>
                    <a:pt x="258" y="110"/>
                  </a:cubicBezTo>
                  <a:cubicBezTo>
                    <a:pt x="258" y="109"/>
                    <a:pt x="258" y="109"/>
                    <a:pt x="258" y="109"/>
                  </a:cubicBezTo>
                  <a:cubicBezTo>
                    <a:pt x="257" y="108"/>
                    <a:pt x="257" y="108"/>
                    <a:pt x="257" y="108"/>
                  </a:cubicBezTo>
                  <a:cubicBezTo>
                    <a:pt x="257" y="108"/>
                    <a:pt x="257" y="108"/>
                    <a:pt x="257" y="108"/>
                  </a:cubicBezTo>
                  <a:cubicBezTo>
                    <a:pt x="257" y="108"/>
                    <a:pt x="257" y="108"/>
                    <a:pt x="257" y="108"/>
                  </a:cubicBezTo>
                  <a:cubicBezTo>
                    <a:pt x="257" y="108"/>
                    <a:pt x="257" y="108"/>
                    <a:pt x="257" y="108"/>
                  </a:cubicBezTo>
                  <a:cubicBezTo>
                    <a:pt x="256" y="108"/>
                    <a:pt x="256" y="109"/>
                    <a:pt x="255" y="109"/>
                  </a:cubicBezTo>
                  <a:cubicBezTo>
                    <a:pt x="254" y="110"/>
                    <a:pt x="254" y="110"/>
                    <a:pt x="254" y="110"/>
                  </a:cubicBezTo>
                  <a:cubicBezTo>
                    <a:pt x="254" y="110"/>
                    <a:pt x="254" y="110"/>
                    <a:pt x="254" y="110"/>
                  </a:cubicBezTo>
                  <a:cubicBezTo>
                    <a:pt x="251" y="112"/>
                    <a:pt x="251" y="112"/>
                    <a:pt x="251" y="112"/>
                  </a:cubicBezTo>
                  <a:cubicBezTo>
                    <a:pt x="250" y="110"/>
                    <a:pt x="250" y="110"/>
                    <a:pt x="250" y="110"/>
                  </a:cubicBezTo>
                  <a:cubicBezTo>
                    <a:pt x="249" y="109"/>
                    <a:pt x="249" y="109"/>
                    <a:pt x="249" y="109"/>
                  </a:cubicBezTo>
                  <a:cubicBezTo>
                    <a:pt x="248" y="108"/>
                    <a:pt x="248" y="108"/>
                    <a:pt x="247" y="107"/>
                  </a:cubicBezTo>
                  <a:cubicBezTo>
                    <a:pt x="247" y="106"/>
                    <a:pt x="246" y="105"/>
                    <a:pt x="246" y="104"/>
                  </a:cubicBezTo>
                  <a:cubicBezTo>
                    <a:pt x="246" y="104"/>
                    <a:pt x="246" y="104"/>
                    <a:pt x="246" y="104"/>
                  </a:cubicBezTo>
                  <a:cubicBezTo>
                    <a:pt x="245" y="103"/>
                    <a:pt x="245" y="102"/>
                    <a:pt x="245" y="101"/>
                  </a:cubicBezTo>
                  <a:cubicBezTo>
                    <a:pt x="245" y="100"/>
                    <a:pt x="245" y="100"/>
                    <a:pt x="245" y="100"/>
                  </a:cubicBezTo>
                  <a:cubicBezTo>
                    <a:pt x="246" y="98"/>
                    <a:pt x="246" y="96"/>
                    <a:pt x="246" y="95"/>
                  </a:cubicBezTo>
                  <a:cubicBezTo>
                    <a:pt x="246" y="93"/>
                    <a:pt x="246" y="93"/>
                    <a:pt x="246" y="93"/>
                  </a:cubicBezTo>
                  <a:cubicBezTo>
                    <a:pt x="246" y="93"/>
                    <a:pt x="246" y="93"/>
                    <a:pt x="246" y="93"/>
                  </a:cubicBezTo>
                  <a:cubicBezTo>
                    <a:pt x="246" y="92"/>
                    <a:pt x="246" y="92"/>
                    <a:pt x="246" y="92"/>
                  </a:cubicBezTo>
                  <a:cubicBezTo>
                    <a:pt x="245" y="91"/>
                    <a:pt x="243" y="89"/>
                    <a:pt x="243" y="88"/>
                  </a:cubicBezTo>
                  <a:cubicBezTo>
                    <a:pt x="242" y="88"/>
                    <a:pt x="242" y="88"/>
                    <a:pt x="242" y="88"/>
                  </a:cubicBezTo>
                  <a:cubicBezTo>
                    <a:pt x="240" y="85"/>
                    <a:pt x="239" y="82"/>
                    <a:pt x="238" y="78"/>
                  </a:cubicBezTo>
                  <a:cubicBezTo>
                    <a:pt x="238" y="77"/>
                    <a:pt x="238" y="76"/>
                    <a:pt x="239" y="74"/>
                  </a:cubicBezTo>
                  <a:cubicBezTo>
                    <a:pt x="240" y="73"/>
                    <a:pt x="241" y="72"/>
                    <a:pt x="242" y="72"/>
                  </a:cubicBezTo>
                  <a:cubicBezTo>
                    <a:pt x="243" y="72"/>
                    <a:pt x="244" y="72"/>
                    <a:pt x="244" y="72"/>
                  </a:cubicBezTo>
                  <a:cubicBezTo>
                    <a:pt x="244" y="71"/>
                    <a:pt x="244" y="71"/>
                    <a:pt x="244" y="71"/>
                  </a:cubicBezTo>
                  <a:cubicBezTo>
                    <a:pt x="245" y="71"/>
                    <a:pt x="245" y="71"/>
                    <a:pt x="246" y="71"/>
                  </a:cubicBezTo>
                  <a:cubicBezTo>
                    <a:pt x="255" y="69"/>
                    <a:pt x="255" y="69"/>
                    <a:pt x="255" y="69"/>
                  </a:cubicBezTo>
                  <a:cubicBezTo>
                    <a:pt x="252" y="74"/>
                    <a:pt x="252" y="74"/>
                    <a:pt x="252" y="74"/>
                  </a:cubicBezTo>
                  <a:cubicBezTo>
                    <a:pt x="252" y="74"/>
                    <a:pt x="252" y="74"/>
                    <a:pt x="252" y="74"/>
                  </a:cubicBezTo>
                  <a:cubicBezTo>
                    <a:pt x="252" y="75"/>
                    <a:pt x="252" y="75"/>
                    <a:pt x="252" y="75"/>
                  </a:cubicBezTo>
                  <a:cubicBezTo>
                    <a:pt x="254" y="76"/>
                    <a:pt x="255" y="77"/>
                    <a:pt x="255" y="77"/>
                  </a:cubicBezTo>
                  <a:cubicBezTo>
                    <a:pt x="255" y="77"/>
                    <a:pt x="255" y="77"/>
                    <a:pt x="255" y="77"/>
                  </a:cubicBezTo>
                  <a:cubicBezTo>
                    <a:pt x="256" y="77"/>
                    <a:pt x="260" y="75"/>
                    <a:pt x="263" y="70"/>
                  </a:cubicBezTo>
                  <a:cubicBezTo>
                    <a:pt x="263" y="69"/>
                    <a:pt x="263" y="69"/>
                    <a:pt x="263" y="69"/>
                  </a:cubicBezTo>
                  <a:cubicBezTo>
                    <a:pt x="263" y="68"/>
                    <a:pt x="263" y="68"/>
                    <a:pt x="262" y="67"/>
                  </a:cubicBezTo>
                  <a:cubicBezTo>
                    <a:pt x="262" y="66"/>
                    <a:pt x="262" y="65"/>
                    <a:pt x="262" y="64"/>
                  </a:cubicBezTo>
                  <a:cubicBezTo>
                    <a:pt x="262" y="62"/>
                    <a:pt x="262" y="62"/>
                    <a:pt x="262" y="62"/>
                  </a:cubicBezTo>
                  <a:cubicBezTo>
                    <a:pt x="262" y="62"/>
                    <a:pt x="262" y="61"/>
                    <a:pt x="262" y="61"/>
                  </a:cubicBezTo>
                  <a:cubicBezTo>
                    <a:pt x="261" y="61"/>
                    <a:pt x="261" y="61"/>
                    <a:pt x="261" y="61"/>
                  </a:cubicBezTo>
                  <a:cubicBezTo>
                    <a:pt x="260" y="61"/>
                    <a:pt x="260" y="61"/>
                    <a:pt x="260" y="61"/>
                  </a:cubicBezTo>
                  <a:cubicBezTo>
                    <a:pt x="257" y="60"/>
                    <a:pt x="255" y="58"/>
                    <a:pt x="253" y="57"/>
                  </a:cubicBezTo>
                  <a:cubicBezTo>
                    <a:pt x="252" y="56"/>
                    <a:pt x="252" y="56"/>
                    <a:pt x="252" y="56"/>
                  </a:cubicBezTo>
                  <a:cubicBezTo>
                    <a:pt x="252" y="55"/>
                    <a:pt x="251" y="54"/>
                    <a:pt x="251" y="54"/>
                  </a:cubicBezTo>
                  <a:cubicBezTo>
                    <a:pt x="250" y="53"/>
                    <a:pt x="250" y="53"/>
                    <a:pt x="250" y="53"/>
                  </a:cubicBezTo>
                  <a:cubicBezTo>
                    <a:pt x="250" y="52"/>
                    <a:pt x="250" y="52"/>
                    <a:pt x="250" y="52"/>
                  </a:cubicBezTo>
                  <a:cubicBezTo>
                    <a:pt x="250" y="51"/>
                    <a:pt x="250" y="51"/>
                    <a:pt x="250" y="51"/>
                  </a:cubicBezTo>
                  <a:cubicBezTo>
                    <a:pt x="249" y="47"/>
                    <a:pt x="249" y="47"/>
                    <a:pt x="249" y="47"/>
                  </a:cubicBezTo>
                  <a:cubicBezTo>
                    <a:pt x="243" y="49"/>
                    <a:pt x="243" y="49"/>
                    <a:pt x="243" y="49"/>
                  </a:cubicBezTo>
                  <a:cubicBezTo>
                    <a:pt x="248" y="46"/>
                    <a:pt x="248" y="46"/>
                    <a:pt x="248" y="46"/>
                  </a:cubicBezTo>
                  <a:cubicBezTo>
                    <a:pt x="247" y="40"/>
                    <a:pt x="247" y="40"/>
                    <a:pt x="247" y="40"/>
                  </a:cubicBezTo>
                  <a:cubicBezTo>
                    <a:pt x="247" y="40"/>
                    <a:pt x="247" y="40"/>
                    <a:pt x="247" y="40"/>
                  </a:cubicBezTo>
                  <a:cubicBezTo>
                    <a:pt x="246" y="39"/>
                    <a:pt x="246" y="39"/>
                    <a:pt x="246" y="39"/>
                  </a:cubicBezTo>
                  <a:cubicBezTo>
                    <a:pt x="246" y="39"/>
                    <a:pt x="246" y="39"/>
                    <a:pt x="246" y="38"/>
                  </a:cubicBezTo>
                  <a:cubicBezTo>
                    <a:pt x="246" y="36"/>
                    <a:pt x="246" y="34"/>
                    <a:pt x="247" y="33"/>
                  </a:cubicBezTo>
                  <a:cubicBezTo>
                    <a:pt x="247" y="32"/>
                    <a:pt x="247" y="32"/>
                    <a:pt x="247" y="32"/>
                  </a:cubicBezTo>
                  <a:cubicBezTo>
                    <a:pt x="250" y="29"/>
                    <a:pt x="250" y="29"/>
                    <a:pt x="250" y="29"/>
                  </a:cubicBezTo>
                  <a:cubicBezTo>
                    <a:pt x="250" y="29"/>
                    <a:pt x="249" y="29"/>
                    <a:pt x="249" y="29"/>
                  </a:cubicBezTo>
                  <a:cubicBezTo>
                    <a:pt x="248" y="29"/>
                    <a:pt x="248" y="29"/>
                    <a:pt x="248" y="29"/>
                  </a:cubicBezTo>
                  <a:cubicBezTo>
                    <a:pt x="246" y="28"/>
                    <a:pt x="243" y="27"/>
                    <a:pt x="241" y="25"/>
                  </a:cubicBezTo>
                  <a:cubicBezTo>
                    <a:pt x="239" y="24"/>
                    <a:pt x="237" y="22"/>
                    <a:pt x="236" y="20"/>
                  </a:cubicBezTo>
                  <a:cubicBezTo>
                    <a:pt x="235" y="19"/>
                    <a:pt x="235" y="19"/>
                    <a:pt x="235" y="19"/>
                  </a:cubicBezTo>
                  <a:cubicBezTo>
                    <a:pt x="232" y="11"/>
                    <a:pt x="232" y="11"/>
                    <a:pt x="232" y="11"/>
                  </a:cubicBezTo>
                  <a:cubicBezTo>
                    <a:pt x="232" y="10"/>
                    <a:pt x="232" y="9"/>
                    <a:pt x="231" y="9"/>
                  </a:cubicBezTo>
                  <a:cubicBezTo>
                    <a:pt x="231" y="8"/>
                    <a:pt x="230" y="7"/>
                    <a:pt x="230" y="7"/>
                  </a:cubicBezTo>
                  <a:cubicBezTo>
                    <a:pt x="230" y="6"/>
                    <a:pt x="229" y="5"/>
                    <a:pt x="229" y="3"/>
                  </a:cubicBezTo>
                  <a:cubicBezTo>
                    <a:pt x="229" y="2"/>
                    <a:pt x="229" y="1"/>
                    <a:pt x="2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0" name="Rectangle 1526"/>
            <p:cNvSpPr>
              <a:spLocks noChangeArrowheads="1"/>
            </p:cNvSpPr>
            <p:nvPr/>
          </p:nvSpPr>
          <p:spPr bwMode="auto">
            <a:xfrm>
              <a:off x="484583" y="3112880"/>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1" name="Freeform 1527"/>
            <p:cNvSpPr/>
            <p:nvPr/>
          </p:nvSpPr>
          <p:spPr bwMode="auto">
            <a:xfrm flipH="1">
              <a:off x="484583" y="3112880"/>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2" name="Freeform 1528"/>
            <p:cNvSpPr/>
            <p:nvPr/>
          </p:nvSpPr>
          <p:spPr bwMode="auto">
            <a:xfrm flipH="1">
              <a:off x="532907" y="2469901"/>
              <a:ext cx="0" cy="0"/>
            </a:xfrm>
            <a:custGeom>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1529"/>
            <p:cNvSpPr/>
            <p:nvPr/>
          </p:nvSpPr>
          <p:spPr bwMode="auto">
            <a:xfrm flipH="1">
              <a:off x="532907" y="2469901"/>
              <a:ext cx="0" cy="0"/>
            </a:xfrm>
            <a:custGeom>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Freeform 1530"/>
            <p:cNvSpPr>
              <a:spLocks noEditPoints="1"/>
            </p:cNvSpPr>
            <p:nvPr/>
          </p:nvSpPr>
          <p:spPr bwMode="auto">
            <a:xfrm>
              <a:off x="0" y="2021560"/>
              <a:ext cx="1167832" cy="1081924"/>
            </a:xfrm>
            <a:custGeom>
              <a:gdLst>
                <a:gd name="T0" fmla="*/ 294 w 368"/>
                <a:gd name="T1" fmla="*/ 5 h 341"/>
                <a:gd name="T2" fmla="*/ 274 w 368"/>
                <a:gd name="T3" fmla="*/ 4 h 341"/>
                <a:gd name="T4" fmla="*/ 239 w 368"/>
                <a:gd name="T5" fmla="*/ 16 h 341"/>
                <a:gd name="T6" fmla="*/ 234 w 368"/>
                <a:gd name="T7" fmla="*/ 33 h 341"/>
                <a:gd name="T8" fmla="*/ 237 w 368"/>
                <a:gd name="T9" fmla="*/ 47 h 341"/>
                <a:gd name="T10" fmla="*/ 224 w 368"/>
                <a:gd name="T11" fmla="*/ 62 h 341"/>
                <a:gd name="T12" fmla="*/ 225 w 368"/>
                <a:gd name="T13" fmla="*/ 74 h 341"/>
                <a:gd name="T14" fmla="*/ 197 w 368"/>
                <a:gd name="T15" fmla="*/ 80 h 341"/>
                <a:gd name="T16" fmla="*/ 196 w 368"/>
                <a:gd name="T17" fmla="*/ 104 h 341"/>
                <a:gd name="T18" fmla="*/ 190 w 368"/>
                <a:gd name="T19" fmla="*/ 105 h 341"/>
                <a:gd name="T20" fmla="*/ 185 w 368"/>
                <a:gd name="T21" fmla="*/ 115 h 341"/>
                <a:gd name="T22" fmla="*/ 172 w 368"/>
                <a:gd name="T23" fmla="*/ 142 h 341"/>
                <a:gd name="T24" fmla="*/ 165 w 368"/>
                <a:gd name="T25" fmla="*/ 141 h 341"/>
                <a:gd name="T26" fmla="*/ 154 w 368"/>
                <a:gd name="T27" fmla="*/ 140 h 341"/>
                <a:gd name="T28" fmla="*/ 137 w 368"/>
                <a:gd name="T29" fmla="*/ 153 h 341"/>
                <a:gd name="T30" fmla="*/ 122 w 368"/>
                <a:gd name="T31" fmla="*/ 153 h 341"/>
                <a:gd name="T32" fmla="*/ 112 w 368"/>
                <a:gd name="T33" fmla="*/ 171 h 341"/>
                <a:gd name="T34" fmla="*/ 104 w 368"/>
                <a:gd name="T35" fmla="*/ 191 h 341"/>
                <a:gd name="T36" fmla="*/ 62 w 368"/>
                <a:gd name="T37" fmla="*/ 199 h 341"/>
                <a:gd name="T38" fmla="*/ 53 w 368"/>
                <a:gd name="T39" fmla="*/ 200 h 341"/>
                <a:gd name="T40" fmla="*/ 34 w 368"/>
                <a:gd name="T41" fmla="*/ 200 h 341"/>
                <a:gd name="T42" fmla="*/ 0 w 368"/>
                <a:gd name="T43" fmla="*/ 207 h 341"/>
                <a:gd name="T44" fmla="*/ 24 w 368"/>
                <a:gd name="T45" fmla="*/ 224 h 341"/>
                <a:gd name="T46" fmla="*/ 29 w 368"/>
                <a:gd name="T47" fmla="*/ 250 h 341"/>
                <a:gd name="T48" fmla="*/ 38 w 368"/>
                <a:gd name="T49" fmla="*/ 268 h 341"/>
                <a:gd name="T50" fmla="*/ 12 w 368"/>
                <a:gd name="T51" fmla="*/ 277 h 341"/>
                <a:gd name="T52" fmla="*/ 2 w 368"/>
                <a:gd name="T53" fmla="*/ 305 h 341"/>
                <a:gd name="T54" fmla="*/ 38 w 368"/>
                <a:gd name="T55" fmla="*/ 304 h 341"/>
                <a:gd name="T56" fmla="*/ 61 w 368"/>
                <a:gd name="T57" fmla="*/ 302 h 341"/>
                <a:gd name="T58" fmla="*/ 110 w 368"/>
                <a:gd name="T59" fmla="*/ 300 h 341"/>
                <a:gd name="T60" fmla="*/ 115 w 368"/>
                <a:gd name="T61" fmla="*/ 297 h 341"/>
                <a:gd name="T62" fmla="*/ 131 w 368"/>
                <a:gd name="T63" fmla="*/ 324 h 341"/>
                <a:gd name="T64" fmla="*/ 153 w 368"/>
                <a:gd name="T65" fmla="*/ 337 h 341"/>
                <a:gd name="T66" fmla="*/ 164 w 368"/>
                <a:gd name="T67" fmla="*/ 323 h 341"/>
                <a:gd name="T68" fmla="*/ 195 w 368"/>
                <a:gd name="T69" fmla="*/ 327 h 341"/>
                <a:gd name="T70" fmla="*/ 210 w 368"/>
                <a:gd name="T71" fmla="*/ 321 h 341"/>
                <a:gd name="T72" fmla="*/ 217 w 368"/>
                <a:gd name="T73" fmla="*/ 319 h 341"/>
                <a:gd name="T74" fmla="*/ 211 w 368"/>
                <a:gd name="T75" fmla="*/ 301 h 341"/>
                <a:gd name="T76" fmla="*/ 203 w 368"/>
                <a:gd name="T77" fmla="*/ 294 h 341"/>
                <a:gd name="T78" fmla="*/ 197 w 368"/>
                <a:gd name="T79" fmla="*/ 273 h 341"/>
                <a:gd name="T80" fmla="*/ 183 w 368"/>
                <a:gd name="T81" fmla="*/ 268 h 341"/>
                <a:gd name="T82" fmla="*/ 198 w 368"/>
                <a:gd name="T83" fmla="*/ 236 h 341"/>
                <a:gd name="T84" fmla="*/ 205 w 368"/>
                <a:gd name="T85" fmla="*/ 231 h 341"/>
                <a:gd name="T86" fmla="*/ 215 w 368"/>
                <a:gd name="T87" fmla="*/ 236 h 341"/>
                <a:gd name="T88" fmla="*/ 225 w 368"/>
                <a:gd name="T89" fmla="*/ 230 h 341"/>
                <a:gd name="T90" fmla="*/ 250 w 368"/>
                <a:gd name="T91" fmla="*/ 214 h 341"/>
                <a:gd name="T92" fmla="*/ 270 w 368"/>
                <a:gd name="T93" fmla="*/ 192 h 341"/>
                <a:gd name="T94" fmla="*/ 285 w 368"/>
                <a:gd name="T95" fmla="*/ 170 h 341"/>
                <a:gd name="T96" fmla="*/ 301 w 368"/>
                <a:gd name="T97" fmla="*/ 147 h 341"/>
                <a:gd name="T98" fmla="*/ 306 w 368"/>
                <a:gd name="T99" fmla="*/ 130 h 341"/>
                <a:gd name="T100" fmla="*/ 318 w 368"/>
                <a:gd name="T101" fmla="*/ 123 h 341"/>
                <a:gd name="T102" fmla="*/ 304 w 368"/>
                <a:gd name="T103" fmla="*/ 118 h 341"/>
                <a:gd name="T104" fmla="*/ 283 w 368"/>
                <a:gd name="T105" fmla="*/ 103 h 341"/>
                <a:gd name="T106" fmla="*/ 288 w 368"/>
                <a:gd name="T107" fmla="*/ 85 h 341"/>
                <a:gd name="T108" fmla="*/ 288 w 368"/>
                <a:gd name="T109" fmla="*/ 79 h 341"/>
                <a:gd name="T110" fmla="*/ 283 w 368"/>
                <a:gd name="T111" fmla="*/ 69 h 341"/>
                <a:gd name="T112" fmla="*/ 305 w 368"/>
                <a:gd name="T113" fmla="*/ 56 h 341"/>
                <a:gd name="T114" fmla="*/ 328 w 368"/>
                <a:gd name="T115" fmla="*/ 61 h 341"/>
                <a:gd name="T116" fmla="*/ 349 w 368"/>
                <a:gd name="T117" fmla="*/ 56 h 341"/>
                <a:gd name="T118" fmla="*/ 367 w 368"/>
                <a:gd name="T119" fmla="*/ 40 h 341"/>
                <a:gd name="T120" fmla="*/ 338 w 368"/>
                <a:gd name="T121" fmla="*/ 30 h 341"/>
                <a:gd name="T122" fmla="*/ 334 w 368"/>
                <a:gd name="T123" fmla="*/ 12 h 341"/>
                <a:gd name="T124" fmla="*/ 311 w 368"/>
                <a:gd name="T125" fmla="*/ 1 h 3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8" h="341">
                  <a:moveTo>
                    <a:pt x="114" y="299"/>
                  </a:moveTo>
                  <a:cubicBezTo>
                    <a:pt x="114" y="299"/>
                    <a:pt x="114" y="299"/>
                    <a:pt x="114" y="299"/>
                  </a:cubicBezTo>
                  <a:cubicBezTo>
                    <a:pt x="114" y="299"/>
                    <a:pt x="114" y="299"/>
                    <a:pt x="114" y="299"/>
                  </a:cubicBezTo>
                  <a:moveTo>
                    <a:pt x="305" y="0"/>
                  </a:moveTo>
                  <a:cubicBezTo>
                    <a:pt x="305" y="0"/>
                    <a:pt x="305" y="0"/>
                    <a:pt x="304" y="0"/>
                  </a:cubicBezTo>
                  <a:cubicBezTo>
                    <a:pt x="303" y="0"/>
                    <a:pt x="302" y="1"/>
                    <a:pt x="301" y="2"/>
                  </a:cubicBezTo>
                  <a:cubicBezTo>
                    <a:pt x="301" y="2"/>
                    <a:pt x="301" y="2"/>
                    <a:pt x="301" y="2"/>
                  </a:cubicBezTo>
                  <a:cubicBezTo>
                    <a:pt x="298" y="3"/>
                    <a:pt x="296" y="4"/>
                    <a:pt x="294" y="5"/>
                  </a:cubicBezTo>
                  <a:cubicBezTo>
                    <a:pt x="293" y="5"/>
                    <a:pt x="293" y="5"/>
                    <a:pt x="293" y="5"/>
                  </a:cubicBezTo>
                  <a:cubicBezTo>
                    <a:pt x="292" y="5"/>
                    <a:pt x="292" y="6"/>
                    <a:pt x="291" y="6"/>
                  </a:cubicBezTo>
                  <a:cubicBezTo>
                    <a:pt x="289" y="6"/>
                    <a:pt x="287" y="5"/>
                    <a:pt x="286" y="4"/>
                  </a:cubicBezTo>
                  <a:cubicBezTo>
                    <a:pt x="285" y="4"/>
                    <a:pt x="285" y="4"/>
                    <a:pt x="285" y="4"/>
                  </a:cubicBezTo>
                  <a:cubicBezTo>
                    <a:pt x="284" y="4"/>
                    <a:pt x="284" y="4"/>
                    <a:pt x="284" y="4"/>
                  </a:cubicBezTo>
                  <a:cubicBezTo>
                    <a:pt x="284" y="4"/>
                    <a:pt x="283" y="4"/>
                    <a:pt x="283" y="4"/>
                  </a:cubicBezTo>
                  <a:cubicBezTo>
                    <a:pt x="281" y="4"/>
                    <a:pt x="279" y="4"/>
                    <a:pt x="278" y="4"/>
                  </a:cubicBezTo>
                  <a:cubicBezTo>
                    <a:pt x="274" y="4"/>
                    <a:pt x="274" y="4"/>
                    <a:pt x="274" y="4"/>
                  </a:cubicBezTo>
                  <a:cubicBezTo>
                    <a:pt x="271" y="4"/>
                    <a:pt x="269" y="5"/>
                    <a:pt x="266" y="5"/>
                  </a:cubicBezTo>
                  <a:cubicBezTo>
                    <a:pt x="262" y="5"/>
                    <a:pt x="262" y="5"/>
                    <a:pt x="262" y="5"/>
                  </a:cubicBezTo>
                  <a:cubicBezTo>
                    <a:pt x="260" y="5"/>
                    <a:pt x="258" y="6"/>
                    <a:pt x="256" y="7"/>
                  </a:cubicBezTo>
                  <a:cubicBezTo>
                    <a:pt x="253" y="8"/>
                    <a:pt x="251" y="10"/>
                    <a:pt x="248" y="11"/>
                  </a:cubicBezTo>
                  <a:cubicBezTo>
                    <a:pt x="247" y="12"/>
                    <a:pt x="247" y="12"/>
                    <a:pt x="247" y="12"/>
                  </a:cubicBezTo>
                  <a:cubicBezTo>
                    <a:pt x="245" y="13"/>
                    <a:pt x="243" y="14"/>
                    <a:pt x="242" y="15"/>
                  </a:cubicBezTo>
                  <a:cubicBezTo>
                    <a:pt x="241" y="16"/>
                    <a:pt x="240" y="16"/>
                    <a:pt x="239" y="16"/>
                  </a:cubicBezTo>
                  <a:cubicBezTo>
                    <a:pt x="239" y="16"/>
                    <a:pt x="239" y="16"/>
                    <a:pt x="239" y="16"/>
                  </a:cubicBezTo>
                  <a:cubicBezTo>
                    <a:pt x="238" y="16"/>
                    <a:pt x="237" y="16"/>
                    <a:pt x="236" y="16"/>
                  </a:cubicBezTo>
                  <a:cubicBezTo>
                    <a:pt x="236" y="16"/>
                    <a:pt x="236" y="16"/>
                    <a:pt x="236" y="16"/>
                  </a:cubicBezTo>
                  <a:cubicBezTo>
                    <a:pt x="233" y="18"/>
                    <a:pt x="230" y="21"/>
                    <a:pt x="228" y="23"/>
                  </a:cubicBezTo>
                  <a:cubicBezTo>
                    <a:pt x="229" y="25"/>
                    <a:pt x="230" y="27"/>
                    <a:pt x="231" y="28"/>
                  </a:cubicBezTo>
                  <a:cubicBezTo>
                    <a:pt x="232" y="29"/>
                    <a:pt x="232" y="29"/>
                    <a:pt x="232" y="30"/>
                  </a:cubicBezTo>
                  <a:cubicBezTo>
                    <a:pt x="232" y="30"/>
                    <a:pt x="233" y="30"/>
                    <a:pt x="233" y="31"/>
                  </a:cubicBezTo>
                  <a:cubicBezTo>
                    <a:pt x="233" y="31"/>
                    <a:pt x="234" y="32"/>
                    <a:pt x="234" y="33"/>
                  </a:cubicBezTo>
                  <a:cubicBezTo>
                    <a:pt x="234" y="33"/>
                    <a:pt x="234" y="33"/>
                    <a:pt x="234" y="33"/>
                  </a:cubicBezTo>
                  <a:cubicBezTo>
                    <a:pt x="238" y="31"/>
                    <a:pt x="238" y="31"/>
                    <a:pt x="238" y="31"/>
                  </a:cubicBezTo>
                  <a:cubicBezTo>
                    <a:pt x="235" y="34"/>
                    <a:pt x="235" y="34"/>
                    <a:pt x="235" y="34"/>
                  </a:cubicBezTo>
                  <a:cubicBezTo>
                    <a:pt x="236" y="36"/>
                    <a:pt x="236" y="36"/>
                    <a:pt x="236" y="36"/>
                  </a:cubicBezTo>
                  <a:cubicBezTo>
                    <a:pt x="237" y="37"/>
                    <a:pt x="236" y="39"/>
                    <a:pt x="236" y="41"/>
                  </a:cubicBezTo>
                  <a:cubicBezTo>
                    <a:pt x="236" y="42"/>
                    <a:pt x="236" y="43"/>
                    <a:pt x="236" y="43"/>
                  </a:cubicBezTo>
                  <a:cubicBezTo>
                    <a:pt x="236" y="44"/>
                    <a:pt x="236" y="44"/>
                    <a:pt x="236" y="44"/>
                  </a:cubicBezTo>
                  <a:cubicBezTo>
                    <a:pt x="237" y="44"/>
                    <a:pt x="237" y="44"/>
                    <a:pt x="237" y="44"/>
                  </a:cubicBezTo>
                  <a:cubicBezTo>
                    <a:pt x="237" y="45"/>
                    <a:pt x="238" y="46"/>
                    <a:pt x="237" y="47"/>
                  </a:cubicBezTo>
                  <a:cubicBezTo>
                    <a:pt x="237" y="47"/>
                    <a:pt x="237" y="47"/>
                    <a:pt x="237" y="47"/>
                  </a:cubicBezTo>
                  <a:cubicBezTo>
                    <a:pt x="237" y="48"/>
                    <a:pt x="237" y="48"/>
                    <a:pt x="236" y="49"/>
                  </a:cubicBezTo>
                  <a:cubicBezTo>
                    <a:pt x="236" y="50"/>
                    <a:pt x="236" y="50"/>
                    <a:pt x="236" y="50"/>
                  </a:cubicBezTo>
                  <a:cubicBezTo>
                    <a:pt x="235" y="51"/>
                    <a:pt x="235" y="51"/>
                    <a:pt x="235" y="51"/>
                  </a:cubicBezTo>
                  <a:cubicBezTo>
                    <a:pt x="234" y="54"/>
                    <a:pt x="232" y="55"/>
                    <a:pt x="230" y="56"/>
                  </a:cubicBezTo>
                  <a:cubicBezTo>
                    <a:pt x="230" y="56"/>
                    <a:pt x="229" y="56"/>
                    <a:pt x="229" y="57"/>
                  </a:cubicBezTo>
                  <a:cubicBezTo>
                    <a:pt x="228" y="57"/>
                    <a:pt x="228" y="58"/>
                    <a:pt x="228" y="58"/>
                  </a:cubicBezTo>
                  <a:cubicBezTo>
                    <a:pt x="227" y="59"/>
                    <a:pt x="226" y="61"/>
                    <a:pt x="224" y="62"/>
                  </a:cubicBezTo>
                  <a:cubicBezTo>
                    <a:pt x="224" y="63"/>
                    <a:pt x="223" y="63"/>
                    <a:pt x="223" y="63"/>
                  </a:cubicBezTo>
                  <a:cubicBezTo>
                    <a:pt x="222" y="64"/>
                    <a:pt x="222" y="65"/>
                    <a:pt x="223" y="65"/>
                  </a:cubicBezTo>
                  <a:cubicBezTo>
                    <a:pt x="223" y="66"/>
                    <a:pt x="223" y="66"/>
                    <a:pt x="224" y="67"/>
                  </a:cubicBezTo>
                  <a:cubicBezTo>
                    <a:pt x="224" y="67"/>
                    <a:pt x="224" y="67"/>
                    <a:pt x="224" y="67"/>
                  </a:cubicBezTo>
                  <a:cubicBezTo>
                    <a:pt x="224" y="67"/>
                    <a:pt x="225" y="68"/>
                    <a:pt x="225" y="68"/>
                  </a:cubicBezTo>
                  <a:cubicBezTo>
                    <a:pt x="226" y="70"/>
                    <a:pt x="226" y="70"/>
                    <a:pt x="226" y="71"/>
                  </a:cubicBezTo>
                  <a:cubicBezTo>
                    <a:pt x="226" y="72"/>
                    <a:pt x="225" y="73"/>
                    <a:pt x="225" y="74"/>
                  </a:cubicBezTo>
                  <a:cubicBezTo>
                    <a:pt x="225" y="74"/>
                    <a:pt x="225" y="74"/>
                    <a:pt x="225" y="74"/>
                  </a:cubicBezTo>
                  <a:cubicBezTo>
                    <a:pt x="225" y="75"/>
                    <a:pt x="225" y="75"/>
                    <a:pt x="225" y="75"/>
                  </a:cubicBezTo>
                  <a:cubicBezTo>
                    <a:pt x="225" y="75"/>
                    <a:pt x="224" y="75"/>
                    <a:pt x="224" y="76"/>
                  </a:cubicBezTo>
                  <a:cubicBezTo>
                    <a:pt x="223" y="78"/>
                    <a:pt x="222" y="79"/>
                    <a:pt x="220" y="79"/>
                  </a:cubicBezTo>
                  <a:cubicBezTo>
                    <a:pt x="217" y="82"/>
                    <a:pt x="213" y="83"/>
                    <a:pt x="210" y="83"/>
                  </a:cubicBezTo>
                  <a:cubicBezTo>
                    <a:pt x="209" y="83"/>
                    <a:pt x="208" y="83"/>
                    <a:pt x="207" y="82"/>
                  </a:cubicBezTo>
                  <a:cubicBezTo>
                    <a:pt x="206" y="82"/>
                    <a:pt x="206" y="82"/>
                    <a:pt x="206" y="82"/>
                  </a:cubicBezTo>
                  <a:cubicBezTo>
                    <a:pt x="205" y="82"/>
                    <a:pt x="204" y="82"/>
                    <a:pt x="203" y="81"/>
                  </a:cubicBezTo>
                  <a:cubicBezTo>
                    <a:pt x="200" y="81"/>
                    <a:pt x="198" y="80"/>
                    <a:pt x="197" y="80"/>
                  </a:cubicBezTo>
                  <a:cubicBezTo>
                    <a:pt x="198" y="82"/>
                    <a:pt x="198" y="82"/>
                    <a:pt x="198" y="82"/>
                  </a:cubicBezTo>
                  <a:cubicBezTo>
                    <a:pt x="199" y="83"/>
                    <a:pt x="200" y="83"/>
                    <a:pt x="200" y="84"/>
                  </a:cubicBezTo>
                  <a:cubicBezTo>
                    <a:pt x="202" y="87"/>
                    <a:pt x="202" y="87"/>
                    <a:pt x="202" y="87"/>
                  </a:cubicBezTo>
                  <a:cubicBezTo>
                    <a:pt x="206" y="93"/>
                    <a:pt x="208" y="96"/>
                    <a:pt x="205" y="98"/>
                  </a:cubicBezTo>
                  <a:cubicBezTo>
                    <a:pt x="205" y="99"/>
                    <a:pt x="205" y="99"/>
                    <a:pt x="205" y="99"/>
                  </a:cubicBezTo>
                  <a:cubicBezTo>
                    <a:pt x="204" y="99"/>
                    <a:pt x="204" y="99"/>
                    <a:pt x="204" y="99"/>
                  </a:cubicBezTo>
                  <a:cubicBezTo>
                    <a:pt x="204" y="100"/>
                    <a:pt x="204" y="100"/>
                    <a:pt x="204" y="100"/>
                  </a:cubicBezTo>
                  <a:cubicBezTo>
                    <a:pt x="202" y="101"/>
                    <a:pt x="198" y="103"/>
                    <a:pt x="196" y="104"/>
                  </a:cubicBezTo>
                  <a:cubicBezTo>
                    <a:pt x="197" y="109"/>
                    <a:pt x="197" y="109"/>
                    <a:pt x="197" y="109"/>
                  </a:cubicBezTo>
                  <a:cubicBezTo>
                    <a:pt x="194" y="105"/>
                    <a:pt x="194" y="105"/>
                    <a:pt x="194" y="105"/>
                  </a:cubicBezTo>
                  <a:cubicBezTo>
                    <a:pt x="194" y="105"/>
                    <a:pt x="194" y="105"/>
                    <a:pt x="194" y="105"/>
                  </a:cubicBezTo>
                  <a:cubicBezTo>
                    <a:pt x="193" y="105"/>
                    <a:pt x="192" y="105"/>
                    <a:pt x="192" y="105"/>
                  </a:cubicBezTo>
                  <a:cubicBezTo>
                    <a:pt x="191" y="105"/>
                    <a:pt x="191" y="105"/>
                    <a:pt x="191" y="105"/>
                  </a:cubicBezTo>
                  <a:cubicBezTo>
                    <a:pt x="191" y="105"/>
                    <a:pt x="191" y="105"/>
                    <a:pt x="191" y="105"/>
                  </a:cubicBezTo>
                  <a:cubicBezTo>
                    <a:pt x="190" y="105"/>
                    <a:pt x="190" y="105"/>
                    <a:pt x="190" y="105"/>
                  </a:cubicBezTo>
                  <a:cubicBezTo>
                    <a:pt x="190" y="105"/>
                    <a:pt x="190" y="105"/>
                    <a:pt x="190" y="105"/>
                  </a:cubicBezTo>
                  <a:cubicBezTo>
                    <a:pt x="189" y="105"/>
                    <a:pt x="189" y="105"/>
                    <a:pt x="189" y="105"/>
                  </a:cubicBezTo>
                  <a:cubicBezTo>
                    <a:pt x="188" y="104"/>
                    <a:pt x="188" y="104"/>
                    <a:pt x="188" y="104"/>
                  </a:cubicBezTo>
                  <a:cubicBezTo>
                    <a:pt x="188" y="105"/>
                    <a:pt x="188" y="105"/>
                    <a:pt x="188" y="105"/>
                  </a:cubicBezTo>
                  <a:cubicBezTo>
                    <a:pt x="188" y="105"/>
                    <a:pt x="188" y="105"/>
                    <a:pt x="188" y="105"/>
                  </a:cubicBezTo>
                  <a:cubicBezTo>
                    <a:pt x="187" y="106"/>
                    <a:pt x="187" y="108"/>
                    <a:pt x="186" y="110"/>
                  </a:cubicBezTo>
                  <a:cubicBezTo>
                    <a:pt x="186" y="111"/>
                    <a:pt x="186" y="112"/>
                    <a:pt x="186" y="113"/>
                  </a:cubicBezTo>
                  <a:cubicBezTo>
                    <a:pt x="186" y="113"/>
                    <a:pt x="186" y="113"/>
                    <a:pt x="186" y="113"/>
                  </a:cubicBezTo>
                  <a:cubicBezTo>
                    <a:pt x="186" y="114"/>
                    <a:pt x="185" y="114"/>
                    <a:pt x="185" y="115"/>
                  </a:cubicBezTo>
                  <a:cubicBezTo>
                    <a:pt x="185" y="116"/>
                    <a:pt x="183" y="118"/>
                    <a:pt x="182" y="119"/>
                  </a:cubicBezTo>
                  <a:cubicBezTo>
                    <a:pt x="182" y="119"/>
                    <a:pt x="182" y="119"/>
                    <a:pt x="182" y="119"/>
                  </a:cubicBezTo>
                  <a:cubicBezTo>
                    <a:pt x="182" y="126"/>
                    <a:pt x="182" y="126"/>
                    <a:pt x="182" y="126"/>
                  </a:cubicBezTo>
                  <a:cubicBezTo>
                    <a:pt x="182" y="126"/>
                    <a:pt x="182" y="126"/>
                    <a:pt x="182" y="126"/>
                  </a:cubicBezTo>
                  <a:cubicBezTo>
                    <a:pt x="183" y="130"/>
                    <a:pt x="183" y="130"/>
                    <a:pt x="183" y="130"/>
                  </a:cubicBezTo>
                  <a:cubicBezTo>
                    <a:pt x="183" y="133"/>
                    <a:pt x="182" y="134"/>
                    <a:pt x="181" y="135"/>
                  </a:cubicBezTo>
                  <a:cubicBezTo>
                    <a:pt x="178" y="138"/>
                    <a:pt x="176" y="140"/>
                    <a:pt x="173" y="142"/>
                  </a:cubicBezTo>
                  <a:cubicBezTo>
                    <a:pt x="172" y="142"/>
                    <a:pt x="172" y="142"/>
                    <a:pt x="172" y="142"/>
                  </a:cubicBezTo>
                  <a:cubicBezTo>
                    <a:pt x="172" y="143"/>
                    <a:pt x="171" y="143"/>
                    <a:pt x="170" y="143"/>
                  </a:cubicBezTo>
                  <a:cubicBezTo>
                    <a:pt x="170" y="143"/>
                    <a:pt x="170" y="143"/>
                    <a:pt x="170" y="143"/>
                  </a:cubicBezTo>
                  <a:cubicBezTo>
                    <a:pt x="170" y="143"/>
                    <a:pt x="170" y="143"/>
                    <a:pt x="170" y="143"/>
                  </a:cubicBezTo>
                  <a:cubicBezTo>
                    <a:pt x="169" y="143"/>
                    <a:pt x="169" y="143"/>
                    <a:pt x="169" y="143"/>
                  </a:cubicBezTo>
                  <a:cubicBezTo>
                    <a:pt x="168" y="143"/>
                    <a:pt x="168" y="143"/>
                    <a:pt x="168" y="143"/>
                  </a:cubicBezTo>
                  <a:cubicBezTo>
                    <a:pt x="167" y="142"/>
                    <a:pt x="167" y="142"/>
                    <a:pt x="167" y="142"/>
                  </a:cubicBezTo>
                  <a:cubicBezTo>
                    <a:pt x="166" y="142"/>
                    <a:pt x="166" y="141"/>
                    <a:pt x="165" y="141"/>
                  </a:cubicBezTo>
                  <a:cubicBezTo>
                    <a:pt x="165" y="141"/>
                    <a:pt x="165" y="141"/>
                    <a:pt x="165" y="141"/>
                  </a:cubicBezTo>
                  <a:cubicBezTo>
                    <a:pt x="164" y="140"/>
                    <a:pt x="163" y="139"/>
                    <a:pt x="162" y="139"/>
                  </a:cubicBezTo>
                  <a:cubicBezTo>
                    <a:pt x="161" y="138"/>
                    <a:pt x="161" y="138"/>
                    <a:pt x="161" y="138"/>
                  </a:cubicBezTo>
                  <a:cubicBezTo>
                    <a:pt x="161" y="138"/>
                    <a:pt x="161" y="138"/>
                    <a:pt x="161" y="138"/>
                  </a:cubicBezTo>
                  <a:cubicBezTo>
                    <a:pt x="160" y="138"/>
                    <a:pt x="160" y="138"/>
                    <a:pt x="160" y="138"/>
                  </a:cubicBezTo>
                  <a:cubicBezTo>
                    <a:pt x="159" y="138"/>
                    <a:pt x="159" y="139"/>
                    <a:pt x="158" y="139"/>
                  </a:cubicBezTo>
                  <a:cubicBezTo>
                    <a:pt x="157" y="139"/>
                    <a:pt x="157" y="139"/>
                    <a:pt x="157" y="139"/>
                  </a:cubicBezTo>
                  <a:cubicBezTo>
                    <a:pt x="157" y="139"/>
                    <a:pt x="156" y="139"/>
                    <a:pt x="155" y="139"/>
                  </a:cubicBezTo>
                  <a:cubicBezTo>
                    <a:pt x="155" y="139"/>
                    <a:pt x="155" y="140"/>
                    <a:pt x="154" y="140"/>
                  </a:cubicBezTo>
                  <a:cubicBezTo>
                    <a:pt x="154" y="140"/>
                    <a:pt x="153" y="140"/>
                    <a:pt x="153" y="140"/>
                  </a:cubicBezTo>
                  <a:cubicBezTo>
                    <a:pt x="152" y="140"/>
                    <a:pt x="152" y="141"/>
                    <a:pt x="151" y="141"/>
                  </a:cubicBezTo>
                  <a:cubicBezTo>
                    <a:pt x="150" y="142"/>
                    <a:pt x="150" y="142"/>
                    <a:pt x="150" y="142"/>
                  </a:cubicBezTo>
                  <a:cubicBezTo>
                    <a:pt x="148" y="143"/>
                    <a:pt x="147" y="144"/>
                    <a:pt x="145" y="144"/>
                  </a:cubicBezTo>
                  <a:cubicBezTo>
                    <a:pt x="150" y="148"/>
                    <a:pt x="150" y="148"/>
                    <a:pt x="150" y="148"/>
                  </a:cubicBezTo>
                  <a:cubicBezTo>
                    <a:pt x="145" y="150"/>
                    <a:pt x="145" y="150"/>
                    <a:pt x="145" y="150"/>
                  </a:cubicBezTo>
                  <a:cubicBezTo>
                    <a:pt x="145" y="150"/>
                    <a:pt x="144" y="151"/>
                    <a:pt x="143" y="151"/>
                  </a:cubicBezTo>
                  <a:cubicBezTo>
                    <a:pt x="141" y="152"/>
                    <a:pt x="139" y="153"/>
                    <a:pt x="137" y="153"/>
                  </a:cubicBezTo>
                  <a:cubicBezTo>
                    <a:pt x="136" y="154"/>
                    <a:pt x="136" y="154"/>
                    <a:pt x="136" y="154"/>
                  </a:cubicBezTo>
                  <a:cubicBezTo>
                    <a:pt x="135" y="154"/>
                    <a:pt x="135" y="154"/>
                    <a:pt x="134" y="154"/>
                  </a:cubicBezTo>
                  <a:cubicBezTo>
                    <a:pt x="132" y="154"/>
                    <a:pt x="129" y="153"/>
                    <a:pt x="127" y="152"/>
                  </a:cubicBezTo>
                  <a:cubicBezTo>
                    <a:pt x="126" y="152"/>
                    <a:pt x="126" y="152"/>
                    <a:pt x="126" y="152"/>
                  </a:cubicBezTo>
                  <a:cubicBezTo>
                    <a:pt x="126" y="152"/>
                    <a:pt x="126" y="152"/>
                    <a:pt x="126" y="152"/>
                  </a:cubicBezTo>
                  <a:cubicBezTo>
                    <a:pt x="125" y="152"/>
                    <a:pt x="125" y="152"/>
                    <a:pt x="124" y="152"/>
                  </a:cubicBezTo>
                  <a:cubicBezTo>
                    <a:pt x="124" y="152"/>
                    <a:pt x="123" y="152"/>
                    <a:pt x="123" y="153"/>
                  </a:cubicBezTo>
                  <a:cubicBezTo>
                    <a:pt x="123" y="153"/>
                    <a:pt x="122" y="153"/>
                    <a:pt x="122" y="153"/>
                  </a:cubicBezTo>
                  <a:cubicBezTo>
                    <a:pt x="121" y="154"/>
                    <a:pt x="121" y="154"/>
                    <a:pt x="121" y="154"/>
                  </a:cubicBezTo>
                  <a:cubicBezTo>
                    <a:pt x="120" y="155"/>
                    <a:pt x="119" y="155"/>
                    <a:pt x="118" y="156"/>
                  </a:cubicBezTo>
                  <a:cubicBezTo>
                    <a:pt x="117" y="157"/>
                    <a:pt x="116" y="159"/>
                    <a:pt x="115" y="159"/>
                  </a:cubicBezTo>
                  <a:cubicBezTo>
                    <a:pt x="115" y="160"/>
                    <a:pt x="115" y="160"/>
                    <a:pt x="115" y="160"/>
                  </a:cubicBezTo>
                  <a:cubicBezTo>
                    <a:pt x="114" y="160"/>
                    <a:pt x="114" y="160"/>
                    <a:pt x="114" y="161"/>
                  </a:cubicBezTo>
                  <a:cubicBezTo>
                    <a:pt x="114" y="162"/>
                    <a:pt x="114" y="162"/>
                    <a:pt x="113" y="162"/>
                  </a:cubicBezTo>
                  <a:cubicBezTo>
                    <a:pt x="113" y="164"/>
                    <a:pt x="113" y="164"/>
                    <a:pt x="113" y="164"/>
                  </a:cubicBezTo>
                  <a:cubicBezTo>
                    <a:pt x="113" y="166"/>
                    <a:pt x="112" y="169"/>
                    <a:pt x="112" y="171"/>
                  </a:cubicBezTo>
                  <a:cubicBezTo>
                    <a:pt x="112" y="172"/>
                    <a:pt x="112" y="174"/>
                    <a:pt x="112" y="175"/>
                  </a:cubicBezTo>
                  <a:cubicBezTo>
                    <a:pt x="112" y="176"/>
                    <a:pt x="112" y="177"/>
                    <a:pt x="111" y="179"/>
                  </a:cubicBezTo>
                  <a:cubicBezTo>
                    <a:pt x="111" y="179"/>
                    <a:pt x="111" y="179"/>
                    <a:pt x="111" y="179"/>
                  </a:cubicBezTo>
                  <a:cubicBezTo>
                    <a:pt x="111" y="179"/>
                    <a:pt x="111" y="179"/>
                    <a:pt x="111" y="179"/>
                  </a:cubicBezTo>
                  <a:cubicBezTo>
                    <a:pt x="112" y="180"/>
                    <a:pt x="112" y="181"/>
                    <a:pt x="112" y="182"/>
                  </a:cubicBezTo>
                  <a:cubicBezTo>
                    <a:pt x="112" y="184"/>
                    <a:pt x="112" y="186"/>
                    <a:pt x="111" y="187"/>
                  </a:cubicBezTo>
                  <a:cubicBezTo>
                    <a:pt x="110" y="189"/>
                    <a:pt x="108" y="190"/>
                    <a:pt x="106" y="190"/>
                  </a:cubicBezTo>
                  <a:cubicBezTo>
                    <a:pt x="104" y="191"/>
                    <a:pt x="104" y="191"/>
                    <a:pt x="104" y="191"/>
                  </a:cubicBezTo>
                  <a:cubicBezTo>
                    <a:pt x="102" y="191"/>
                    <a:pt x="100" y="192"/>
                    <a:pt x="97" y="192"/>
                  </a:cubicBezTo>
                  <a:cubicBezTo>
                    <a:pt x="95" y="193"/>
                    <a:pt x="92" y="194"/>
                    <a:pt x="90" y="194"/>
                  </a:cubicBezTo>
                  <a:cubicBezTo>
                    <a:pt x="83" y="195"/>
                    <a:pt x="83" y="195"/>
                    <a:pt x="83" y="195"/>
                  </a:cubicBezTo>
                  <a:cubicBezTo>
                    <a:pt x="81" y="195"/>
                    <a:pt x="79" y="195"/>
                    <a:pt x="76" y="195"/>
                  </a:cubicBezTo>
                  <a:cubicBezTo>
                    <a:pt x="74" y="195"/>
                    <a:pt x="70" y="195"/>
                    <a:pt x="67" y="196"/>
                  </a:cubicBezTo>
                  <a:cubicBezTo>
                    <a:pt x="67" y="196"/>
                    <a:pt x="66" y="197"/>
                    <a:pt x="66" y="197"/>
                  </a:cubicBezTo>
                  <a:cubicBezTo>
                    <a:pt x="65" y="197"/>
                    <a:pt x="64" y="198"/>
                    <a:pt x="64" y="198"/>
                  </a:cubicBezTo>
                  <a:cubicBezTo>
                    <a:pt x="62" y="199"/>
                    <a:pt x="62" y="199"/>
                    <a:pt x="62" y="199"/>
                  </a:cubicBezTo>
                  <a:cubicBezTo>
                    <a:pt x="62" y="199"/>
                    <a:pt x="61" y="199"/>
                    <a:pt x="61" y="199"/>
                  </a:cubicBezTo>
                  <a:cubicBezTo>
                    <a:pt x="61" y="200"/>
                    <a:pt x="60" y="200"/>
                    <a:pt x="60" y="200"/>
                  </a:cubicBezTo>
                  <a:cubicBezTo>
                    <a:pt x="59" y="200"/>
                    <a:pt x="59" y="200"/>
                    <a:pt x="59" y="200"/>
                  </a:cubicBezTo>
                  <a:cubicBezTo>
                    <a:pt x="59" y="200"/>
                    <a:pt x="58" y="200"/>
                    <a:pt x="58" y="201"/>
                  </a:cubicBezTo>
                  <a:cubicBezTo>
                    <a:pt x="57" y="201"/>
                    <a:pt x="57" y="201"/>
                    <a:pt x="57" y="201"/>
                  </a:cubicBezTo>
                  <a:cubicBezTo>
                    <a:pt x="56" y="201"/>
                    <a:pt x="56" y="201"/>
                    <a:pt x="56" y="201"/>
                  </a:cubicBezTo>
                  <a:cubicBezTo>
                    <a:pt x="56" y="201"/>
                    <a:pt x="55" y="201"/>
                    <a:pt x="55" y="200"/>
                  </a:cubicBezTo>
                  <a:cubicBezTo>
                    <a:pt x="54" y="200"/>
                    <a:pt x="54" y="200"/>
                    <a:pt x="53" y="200"/>
                  </a:cubicBezTo>
                  <a:cubicBezTo>
                    <a:pt x="51" y="200"/>
                    <a:pt x="51" y="200"/>
                    <a:pt x="51" y="200"/>
                  </a:cubicBezTo>
                  <a:cubicBezTo>
                    <a:pt x="50" y="199"/>
                    <a:pt x="49" y="199"/>
                    <a:pt x="48" y="199"/>
                  </a:cubicBezTo>
                  <a:cubicBezTo>
                    <a:pt x="47" y="199"/>
                    <a:pt x="47" y="199"/>
                    <a:pt x="47" y="199"/>
                  </a:cubicBezTo>
                  <a:cubicBezTo>
                    <a:pt x="47" y="199"/>
                    <a:pt x="46" y="199"/>
                    <a:pt x="45" y="199"/>
                  </a:cubicBezTo>
                  <a:cubicBezTo>
                    <a:pt x="45" y="199"/>
                    <a:pt x="45" y="199"/>
                    <a:pt x="45" y="199"/>
                  </a:cubicBezTo>
                  <a:cubicBezTo>
                    <a:pt x="35" y="199"/>
                    <a:pt x="35" y="199"/>
                    <a:pt x="35" y="199"/>
                  </a:cubicBezTo>
                  <a:cubicBezTo>
                    <a:pt x="36" y="204"/>
                    <a:pt x="36" y="204"/>
                    <a:pt x="36" y="204"/>
                  </a:cubicBezTo>
                  <a:cubicBezTo>
                    <a:pt x="34" y="200"/>
                    <a:pt x="34" y="200"/>
                    <a:pt x="34" y="200"/>
                  </a:cubicBezTo>
                  <a:cubicBezTo>
                    <a:pt x="30" y="200"/>
                    <a:pt x="30" y="200"/>
                    <a:pt x="30" y="200"/>
                  </a:cubicBezTo>
                  <a:cubicBezTo>
                    <a:pt x="29" y="200"/>
                    <a:pt x="29" y="200"/>
                    <a:pt x="28" y="200"/>
                  </a:cubicBezTo>
                  <a:cubicBezTo>
                    <a:pt x="27" y="200"/>
                    <a:pt x="27" y="200"/>
                    <a:pt x="27" y="200"/>
                  </a:cubicBezTo>
                  <a:cubicBezTo>
                    <a:pt x="27" y="200"/>
                    <a:pt x="26" y="200"/>
                    <a:pt x="25" y="200"/>
                  </a:cubicBezTo>
                  <a:cubicBezTo>
                    <a:pt x="25" y="201"/>
                    <a:pt x="24" y="201"/>
                    <a:pt x="24" y="201"/>
                  </a:cubicBezTo>
                  <a:cubicBezTo>
                    <a:pt x="23" y="201"/>
                    <a:pt x="22" y="200"/>
                    <a:pt x="21" y="200"/>
                  </a:cubicBezTo>
                  <a:cubicBezTo>
                    <a:pt x="0" y="194"/>
                    <a:pt x="0" y="194"/>
                    <a:pt x="0" y="194"/>
                  </a:cubicBezTo>
                  <a:cubicBezTo>
                    <a:pt x="0" y="207"/>
                    <a:pt x="0" y="207"/>
                    <a:pt x="0" y="207"/>
                  </a:cubicBezTo>
                  <a:cubicBezTo>
                    <a:pt x="2" y="210"/>
                    <a:pt x="5" y="213"/>
                    <a:pt x="7" y="217"/>
                  </a:cubicBezTo>
                  <a:cubicBezTo>
                    <a:pt x="8" y="218"/>
                    <a:pt x="10" y="219"/>
                    <a:pt x="12" y="220"/>
                  </a:cubicBezTo>
                  <a:cubicBezTo>
                    <a:pt x="13" y="220"/>
                    <a:pt x="14" y="220"/>
                    <a:pt x="14" y="221"/>
                  </a:cubicBezTo>
                  <a:cubicBezTo>
                    <a:pt x="15" y="221"/>
                    <a:pt x="15" y="221"/>
                    <a:pt x="15" y="221"/>
                  </a:cubicBezTo>
                  <a:cubicBezTo>
                    <a:pt x="16" y="221"/>
                    <a:pt x="17" y="222"/>
                    <a:pt x="17" y="222"/>
                  </a:cubicBezTo>
                  <a:cubicBezTo>
                    <a:pt x="18" y="222"/>
                    <a:pt x="18" y="222"/>
                    <a:pt x="18" y="222"/>
                  </a:cubicBezTo>
                  <a:cubicBezTo>
                    <a:pt x="18" y="222"/>
                    <a:pt x="19" y="223"/>
                    <a:pt x="20" y="223"/>
                  </a:cubicBezTo>
                  <a:cubicBezTo>
                    <a:pt x="21" y="223"/>
                    <a:pt x="23" y="224"/>
                    <a:pt x="24" y="224"/>
                  </a:cubicBezTo>
                  <a:cubicBezTo>
                    <a:pt x="27" y="225"/>
                    <a:pt x="28" y="226"/>
                    <a:pt x="29" y="227"/>
                  </a:cubicBezTo>
                  <a:cubicBezTo>
                    <a:pt x="30" y="229"/>
                    <a:pt x="30" y="232"/>
                    <a:pt x="29" y="235"/>
                  </a:cubicBezTo>
                  <a:cubicBezTo>
                    <a:pt x="29" y="236"/>
                    <a:pt x="29" y="236"/>
                    <a:pt x="29" y="236"/>
                  </a:cubicBezTo>
                  <a:cubicBezTo>
                    <a:pt x="34" y="236"/>
                    <a:pt x="34" y="236"/>
                    <a:pt x="34" y="236"/>
                  </a:cubicBezTo>
                  <a:cubicBezTo>
                    <a:pt x="29" y="237"/>
                    <a:pt x="29" y="237"/>
                    <a:pt x="29" y="237"/>
                  </a:cubicBezTo>
                  <a:cubicBezTo>
                    <a:pt x="29" y="245"/>
                    <a:pt x="29" y="245"/>
                    <a:pt x="29" y="245"/>
                  </a:cubicBezTo>
                  <a:cubicBezTo>
                    <a:pt x="29" y="246"/>
                    <a:pt x="29" y="246"/>
                    <a:pt x="29" y="247"/>
                  </a:cubicBezTo>
                  <a:cubicBezTo>
                    <a:pt x="29" y="248"/>
                    <a:pt x="29" y="249"/>
                    <a:pt x="29" y="250"/>
                  </a:cubicBezTo>
                  <a:cubicBezTo>
                    <a:pt x="29" y="251"/>
                    <a:pt x="29" y="251"/>
                    <a:pt x="29" y="251"/>
                  </a:cubicBezTo>
                  <a:cubicBezTo>
                    <a:pt x="29" y="251"/>
                    <a:pt x="30" y="251"/>
                    <a:pt x="30" y="251"/>
                  </a:cubicBezTo>
                  <a:cubicBezTo>
                    <a:pt x="33" y="250"/>
                    <a:pt x="33" y="250"/>
                    <a:pt x="33" y="250"/>
                  </a:cubicBezTo>
                  <a:cubicBezTo>
                    <a:pt x="35" y="250"/>
                    <a:pt x="36" y="250"/>
                    <a:pt x="39" y="251"/>
                  </a:cubicBezTo>
                  <a:cubicBezTo>
                    <a:pt x="42" y="252"/>
                    <a:pt x="42" y="252"/>
                    <a:pt x="42" y="252"/>
                  </a:cubicBezTo>
                  <a:cubicBezTo>
                    <a:pt x="41" y="255"/>
                    <a:pt x="41" y="255"/>
                    <a:pt x="41" y="255"/>
                  </a:cubicBezTo>
                  <a:cubicBezTo>
                    <a:pt x="40" y="258"/>
                    <a:pt x="39" y="262"/>
                    <a:pt x="38" y="265"/>
                  </a:cubicBezTo>
                  <a:cubicBezTo>
                    <a:pt x="38" y="268"/>
                    <a:pt x="38" y="268"/>
                    <a:pt x="38" y="268"/>
                  </a:cubicBezTo>
                  <a:cubicBezTo>
                    <a:pt x="38" y="268"/>
                    <a:pt x="37" y="270"/>
                    <a:pt x="36" y="271"/>
                  </a:cubicBezTo>
                  <a:cubicBezTo>
                    <a:pt x="34" y="272"/>
                    <a:pt x="32" y="272"/>
                    <a:pt x="30" y="272"/>
                  </a:cubicBezTo>
                  <a:cubicBezTo>
                    <a:pt x="29" y="272"/>
                    <a:pt x="29" y="272"/>
                    <a:pt x="29" y="272"/>
                  </a:cubicBezTo>
                  <a:cubicBezTo>
                    <a:pt x="29" y="272"/>
                    <a:pt x="28" y="272"/>
                    <a:pt x="28" y="272"/>
                  </a:cubicBezTo>
                  <a:cubicBezTo>
                    <a:pt x="18" y="274"/>
                    <a:pt x="18" y="274"/>
                    <a:pt x="18" y="274"/>
                  </a:cubicBezTo>
                  <a:cubicBezTo>
                    <a:pt x="17" y="274"/>
                    <a:pt x="16" y="274"/>
                    <a:pt x="15" y="275"/>
                  </a:cubicBezTo>
                  <a:cubicBezTo>
                    <a:pt x="14" y="276"/>
                    <a:pt x="14" y="276"/>
                    <a:pt x="13" y="277"/>
                  </a:cubicBezTo>
                  <a:cubicBezTo>
                    <a:pt x="12" y="277"/>
                    <a:pt x="12" y="277"/>
                    <a:pt x="12" y="277"/>
                  </a:cubicBezTo>
                  <a:cubicBezTo>
                    <a:pt x="11" y="278"/>
                    <a:pt x="10" y="279"/>
                    <a:pt x="9" y="280"/>
                  </a:cubicBezTo>
                  <a:cubicBezTo>
                    <a:pt x="8" y="280"/>
                    <a:pt x="8" y="280"/>
                    <a:pt x="8" y="280"/>
                  </a:cubicBezTo>
                  <a:cubicBezTo>
                    <a:pt x="7" y="281"/>
                    <a:pt x="7" y="281"/>
                    <a:pt x="6" y="284"/>
                  </a:cubicBezTo>
                  <a:cubicBezTo>
                    <a:pt x="5" y="288"/>
                    <a:pt x="4" y="293"/>
                    <a:pt x="4" y="296"/>
                  </a:cubicBezTo>
                  <a:cubicBezTo>
                    <a:pt x="3" y="298"/>
                    <a:pt x="3" y="298"/>
                    <a:pt x="3" y="298"/>
                  </a:cubicBezTo>
                  <a:cubicBezTo>
                    <a:pt x="3" y="299"/>
                    <a:pt x="3" y="299"/>
                    <a:pt x="3" y="300"/>
                  </a:cubicBezTo>
                  <a:cubicBezTo>
                    <a:pt x="3" y="301"/>
                    <a:pt x="2" y="303"/>
                    <a:pt x="2" y="304"/>
                  </a:cubicBezTo>
                  <a:cubicBezTo>
                    <a:pt x="2" y="305"/>
                    <a:pt x="2" y="305"/>
                    <a:pt x="2" y="305"/>
                  </a:cubicBezTo>
                  <a:cubicBezTo>
                    <a:pt x="3" y="305"/>
                    <a:pt x="2" y="306"/>
                    <a:pt x="2" y="309"/>
                  </a:cubicBezTo>
                  <a:cubicBezTo>
                    <a:pt x="2" y="309"/>
                    <a:pt x="3" y="309"/>
                    <a:pt x="3" y="309"/>
                  </a:cubicBezTo>
                  <a:cubicBezTo>
                    <a:pt x="4" y="309"/>
                    <a:pt x="6" y="307"/>
                    <a:pt x="8" y="307"/>
                  </a:cubicBezTo>
                  <a:cubicBezTo>
                    <a:pt x="11" y="307"/>
                    <a:pt x="13" y="304"/>
                    <a:pt x="14" y="304"/>
                  </a:cubicBezTo>
                  <a:cubicBezTo>
                    <a:pt x="15" y="304"/>
                    <a:pt x="15" y="305"/>
                    <a:pt x="16" y="307"/>
                  </a:cubicBezTo>
                  <a:cubicBezTo>
                    <a:pt x="20" y="304"/>
                    <a:pt x="21" y="303"/>
                    <a:pt x="25" y="303"/>
                  </a:cubicBezTo>
                  <a:cubicBezTo>
                    <a:pt x="26" y="303"/>
                    <a:pt x="26" y="303"/>
                    <a:pt x="27" y="303"/>
                  </a:cubicBezTo>
                  <a:cubicBezTo>
                    <a:pt x="31" y="304"/>
                    <a:pt x="35" y="304"/>
                    <a:pt x="38" y="304"/>
                  </a:cubicBezTo>
                  <a:cubicBezTo>
                    <a:pt x="39" y="304"/>
                    <a:pt x="41" y="305"/>
                    <a:pt x="42" y="305"/>
                  </a:cubicBezTo>
                  <a:cubicBezTo>
                    <a:pt x="43" y="305"/>
                    <a:pt x="44" y="304"/>
                    <a:pt x="43" y="304"/>
                  </a:cubicBezTo>
                  <a:cubicBezTo>
                    <a:pt x="46" y="301"/>
                    <a:pt x="51" y="301"/>
                    <a:pt x="55" y="301"/>
                  </a:cubicBezTo>
                  <a:cubicBezTo>
                    <a:pt x="55" y="301"/>
                    <a:pt x="56" y="301"/>
                    <a:pt x="56" y="301"/>
                  </a:cubicBezTo>
                  <a:cubicBezTo>
                    <a:pt x="56" y="299"/>
                    <a:pt x="56" y="298"/>
                    <a:pt x="57" y="298"/>
                  </a:cubicBezTo>
                  <a:cubicBezTo>
                    <a:pt x="58" y="298"/>
                    <a:pt x="58" y="298"/>
                    <a:pt x="58" y="298"/>
                  </a:cubicBezTo>
                  <a:cubicBezTo>
                    <a:pt x="57" y="298"/>
                    <a:pt x="57" y="300"/>
                    <a:pt x="57" y="301"/>
                  </a:cubicBezTo>
                  <a:cubicBezTo>
                    <a:pt x="58" y="302"/>
                    <a:pt x="59" y="302"/>
                    <a:pt x="61" y="302"/>
                  </a:cubicBezTo>
                  <a:cubicBezTo>
                    <a:pt x="63" y="302"/>
                    <a:pt x="65" y="302"/>
                    <a:pt x="67" y="303"/>
                  </a:cubicBezTo>
                  <a:cubicBezTo>
                    <a:pt x="68" y="303"/>
                    <a:pt x="69" y="305"/>
                    <a:pt x="71" y="305"/>
                  </a:cubicBezTo>
                  <a:cubicBezTo>
                    <a:pt x="71" y="305"/>
                    <a:pt x="71" y="305"/>
                    <a:pt x="72" y="305"/>
                  </a:cubicBezTo>
                  <a:cubicBezTo>
                    <a:pt x="71" y="304"/>
                    <a:pt x="71" y="304"/>
                    <a:pt x="71" y="304"/>
                  </a:cubicBezTo>
                  <a:cubicBezTo>
                    <a:pt x="82" y="300"/>
                    <a:pt x="92" y="300"/>
                    <a:pt x="104" y="300"/>
                  </a:cubicBezTo>
                  <a:cubicBezTo>
                    <a:pt x="104" y="300"/>
                    <a:pt x="104" y="300"/>
                    <a:pt x="104" y="300"/>
                  </a:cubicBezTo>
                  <a:cubicBezTo>
                    <a:pt x="105" y="300"/>
                    <a:pt x="106" y="300"/>
                    <a:pt x="107" y="300"/>
                  </a:cubicBezTo>
                  <a:cubicBezTo>
                    <a:pt x="108" y="300"/>
                    <a:pt x="109" y="300"/>
                    <a:pt x="110" y="300"/>
                  </a:cubicBezTo>
                  <a:cubicBezTo>
                    <a:pt x="112" y="300"/>
                    <a:pt x="113" y="300"/>
                    <a:pt x="114" y="299"/>
                  </a:cubicBezTo>
                  <a:cubicBezTo>
                    <a:pt x="114" y="299"/>
                    <a:pt x="114" y="299"/>
                    <a:pt x="114" y="299"/>
                  </a:cubicBezTo>
                  <a:cubicBezTo>
                    <a:pt x="113" y="299"/>
                    <a:pt x="113" y="298"/>
                    <a:pt x="113" y="297"/>
                  </a:cubicBezTo>
                  <a:cubicBezTo>
                    <a:pt x="113" y="297"/>
                    <a:pt x="113" y="297"/>
                    <a:pt x="113" y="297"/>
                  </a:cubicBezTo>
                  <a:cubicBezTo>
                    <a:pt x="112" y="297"/>
                    <a:pt x="111" y="297"/>
                    <a:pt x="111" y="296"/>
                  </a:cubicBezTo>
                  <a:cubicBezTo>
                    <a:pt x="111" y="295"/>
                    <a:pt x="111" y="295"/>
                    <a:pt x="112" y="295"/>
                  </a:cubicBezTo>
                  <a:cubicBezTo>
                    <a:pt x="112" y="295"/>
                    <a:pt x="112" y="295"/>
                    <a:pt x="112" y="295"/>
                  </a:cubicBezTo>
                  <a:cubicBezTo>
                    <a:pt x="113" y="295"/>
                    <a:pt x="114" y="297"/>
                    <a:pt x="115" y="297"/>
                  </a:cubicBezTo>
                  <a:cubicBezTo>
                    <a:pt x="116" y="300"/>
                    <a:pt x="115" y="299"/>
                    <a:pt x="116" y="301"/>
                  </a:cubicBezTo>
                  <a:cubicBezTo>
                    <a:pt x="118" y="304"/>
                    <a:pt x="119" y="303"/>
                    <a:pt x="119" y="306"/>
                  </a:cubicBezTo>
                  <a:cubicBezTo>
                    <a:pt x="119" y="308"/>
                    <a:pt x="118" y="312"/>
                    <a:pt x="119" y="312"/>
                  </a:cubicBezTo>
                  <a:cubicBezTo>
                    <a:pt x="119" y="312"/>
                    <a:pt x="120" y="312"/>
                    <a:pt x="120" y="313"/>
                  </a:cubicBezTo>
                  <a:cubicBezTo>
                    <a:pt x="126" y="312"/>
                    <a:pt x="126" y="312"/>
                    <a:pt x="126" y="312"/>
                  </a:cubicBezTo>
                  <a:cubicBezTo>
                    <a:pt x="128" y="316"/>
                    <a:pt x="128" y="316"/>
                    <a:pt x="128" y="316"/>
                  </a:cubicBezTo>
                  <a:cubicBezTo>
                    <a:pt x="130" y="318"/>
                    <a:pt x="130" y="318"/>
                    <a:pt x="130" y="318"/>
                  </a:cubicBezTo>
                  <a:cubicBezTo>
                    <a:pt x="131" y="320"/>
                    <a:pt x="131" y="323"/>
                    <a:pt x="131" y="324"/>
                  </a:cubicBezTo>
                  <a:cubicBezTo>
                    <a:pt x="133" y="329"/>
                    <a:pt x="133" y="333"/>
                    <a:pt x="137" y="333"/>
                  </a:cubicBezTo>
                  <a:cubicBezTo>
                    <a:pt x="137" y="333"/>
                    <a:pt x="138" y="333"/>
                    <a:pt x="139" y="333"/>
                  </a:cubicBezTo>
                  <a:cubicBezTo>
                    <a:pt x="140" y="332"/>
                    <a:pt x="141" y="332"/>
                    <a:pt x="142" y="332"/>
                  </a:cubicBezTo>
                  <a:cubicBezTo>
                    <a:pt x="147" y="332"/>
                    <a:pt x="152" y="335"/>
                    <a:pt x="150" y="341"/>
                  </a:cubicBezTo>
                  <a:cubicBezTo>
                    <a:pt x="151" y="341"/>
                    <a:pt x="151" y="340"/>
                    <a:pt x="151" y="340"/>
                  </a:cubicBezTo>
                  <a:cubicBezTo>
                    <a:pt x="151" y="339"/>
                    <a:pt x="151" y="339"/>
                    <a:pt x="151" y="339"/>
                  </a:cubicBezTo>
                  <a:cubicBezTo>
                    <a:pt x="152" y="338"/>
                    <a:pt x="152" y="338"/>
                    <a:pt x="152" y="338"/>
                  </a:cubicBezTo>
                  <a:cubicBezTo>
                    <a:pt x="153" y="337"/>
                    <a:pt x="153" y="337"/>
                    <a:pt x="153" y="337"/>
                  </a:cubicBezTo>
                  <a:cubicBezTo>
                    <a:pt x="153" y="338"/>
                    <a:pt x="153" y="338"/>
                    <a:pt x="153" y="338"/>
                  </a:cubicBezTo>
                  <a:cubicBezTo>
                    <a:pt x="160" y="332"/>
                    <a:pt x="160" y="332"/>
                    <a:pt x="160" y="332"/>
                  </a:cubicBezTo>
                  <a:cubicBezTo>
                    <a:pt x="161" y="332"/>
                    <a:pt x="161" y="332"/>
                    <a:pt x="161" y="332"/>
                  </a:cubicBezTo>
                  <a:cubicBezTo>
                    <a:pt x="162" y="332"/>
                    <a:pt x="162" y="332"/>
                    <a:pt x="163" y="332"/>
                  </a:cubicBezTo>
                  <a:cubicBezTo>
                    <a:pt x="164" y="332"/>
                    <a:pt x="164" y="332"/>
                    <a:pt x="164" y="332"/>
                  </a:cubicBezTo>
                  <a:cubicBezTo>
                    <a:pt x="164" y="331"/>
                    <a:pt x="164" y="330"/>
                    <a:pt x="164" y="329"/>
                  </a:cubicBezTo>
                  <a:cubicBezTo>
                    <a:pt x="164" y="328"/>
                    <a:pt x="164" y="327"/>
                    <a:pt x="164" y="326"/>
                  </a:cubicBezTo>
                  <a:cubicBezTo>
                    <a:pt x="164" y="323"/>
                    <a:pt x="164" y="323"/>
                    <a:pt x="164" y="323"/>
                  </a:cubicBezTo>
                  <a:cubicBezTo>
                    <a:pt x="167" y="323"/>
                    <a:pt x="167" y="323"/>
                    <a:pt x="167" y="323"/>
                  </a:cubicBezTo>
                  <a:cubicBezTo>
                    <a:pt x="172" y="324"/>
                    <a:pt x="176" y="325"/>
                    <a:pt x="181" y="325"/>
                  </a:cubicBezTo>
                  <a:cubicBezTo>
                    <a:pt x="181" y="321"/>
                    <a:pt x="181" y="321"/>
                    <a:pt x="181" y="321"/>
                  </a:cubicBezTo>
                  <a:cubicBezTo>
                    <a:pt x="182" y="325"/>
                    <a:pt x="182" y="325"/>
                    <a:pt x="182" y="325"/>
                  </a:cubicBezTo>
                  <a:cubicBezTo>
                    <a:pt x="189" y="326"/>
                    <a:pt x="189" y="326"/>
                    <a:pt x="189" y="326"/>
                  </a:cubicBezTo>
                  <a:cubicBezTo>
                    <a:pt x="190" y="326"/>
                    <a:pt x="190" y="327"/>
                    <a:pt x="191" y="327"/>
                  </a:cubicBezTo>
                  <a:cubicBezTo>
                    <a:pt x="192" y="327"/>
                    <a:pt x="193" y="327"/>
                    <a:pt x="194" y="327"/>
                  </a:cubicBezTo>
                  <a:cubicBezTo>
                    <a:pt x="194" y="327"/>
                    <a:pt x="195" y="327"/>
                    <a:pt x="195" y="327"/>
                  </a:cubicBezTo>
                  <a:cubicBezTo>
                    <a:pt x="195" y="327"/>
                    <a:pt x="195" y="327"/>
                    <a:pt x="195" y="327"/>
                  </a:cubicBezTo>
                  <a:cubicBezTo>
                    <a:pt x="196" y="327"/>
                    <a:pt x="196" y="327"/>
                    <a:pt x="196" y="327"/>
                  </a:cubicBezTo>
                  <a:cubicBezTo>
                    <a:pt x="196" y="326"/>
                    <a:pt x="196" y="326"/>
                    <a:pt x="197" y="325"/>
                  </a:cubicBezTo>
                  <a:cubicBezTo>
                    <a:pt x="199" y="324"/>
                    <a:pt x="202" y="323"/>
                    <a:pt x="204" y="322"/>
                  </a:cubicBezTo>
                  <a:cubicBezTo>
                    <a:pt x="205" y="322"/>
                    <a:pt x="205" y="322"/>
                    <a:pt x="205" y="322"/>
                  </a:cubicBezTo>
                  <a:cubicBezTo>
                    <a:pt x="205" y="322"/>
                    <a:pt x="206" y="322"/>
                    <a:pt x="206" y="322"/>
                  </a:cubicBezTo>
                  <a:cubicBezTo>
                    <a:pt x="207" y="321"/>
                    <a:pt x="207" y="321"/>
                    <a:pt x="207" y="321"/>
                  </a:cubicBezTo>
                  <a:cubicBezTo>
                    <a:pt x="208" y="321"/>
                    <a:pt x="209" y="321"/>
                    <a:pt x="210" y="321"/>
                  </a:cubicBezTo>
                  <a:cubicBezTo>
                    <a:pt x="211" y="321"/>
                    <a:pt x="212" y="321"/>
                    <a:pt x="212" y="322"/>
                  </a:cubicBezTo>
                  <a:cubicBezTo>
                    <a:pt x="213" y="323"/>
                    <a:pt x="213" y="324"/>
                    <a:pt x="213" y="324"/>
                  </a:cubicBezTo>
                  <a:cubicBezTo>
                    <a:pt x="213" y="325"/>
                    <a:pt x="214" y="325"/>
                    <a:pt x="214" y="325"/>
                  </a:cubicBezTo>
                  <a:cubicBezTo>
                    <a:pt x="215" y="324"/>
                    <a:pt x="215" y="324"/>
                    <a:pt x="215" y="324"/>
                  </a:cubicBezTo>
                  <a:cubicBezTo>
                    <a:pt x="215" y="324"/>
                    <a:pt x="215" y="324"/>
                    <a:pt x="215" y="324"/>
                  </a:cubicBezTo>
                  <a:cubicBezTo>
                    <a:pt x="216" y="324"/>
                    <a:pt x="216" y="323"/>
                    <a:pt x="217" y="323"/>
                  </a:cubicBezTo>
                  <a:cubicBezTo>
                    <a:pt x="216" y="322"/>
                    <a:pt x="216" y="321"/>
                    <a:pt x="216" y="320"/>
                  </a:cubicBezTo>
                  <a:cubicBezTo>
                    <a:pt x="216" y="320"/>
                    <a:pt x="217" y="319"/>
                    <a:pt x="217" y="319"/>
                  </a:cubicBezTo>
                  <a:cubicBezTo>
                    <a:pt x="217" y="318"/>
                    <a:pt x="218" y="317"/>
                    <a:pt x="218" y="317"/>
                  </a:cubicBezTo>
                  <a:cubicBezTo>
                    <a:pt x="218" y="316"/>
                    <a:pt x="218" y="316"/>
                    <a:pt x="218" y="316"/>
                  </a:cubicBezTo>
                  <a:cubicBezTo>
                    <a:pt x="214" y="308"/>
                    <a:pt x="214" y="308"/>
                    <a:pt x="214" y="308"/>
                  </a:cubicBezTo>
                  <a:cubicBezTo>
                    <a:pt x="213" y="307"/>
                    <a:pt x="213" y="306"/>
                    <a:pt x="213" y="305"/>
                  </a:cubicBezTo>
                  <a:cubicBezTo>
                    <a:pt x="209" y="307"/>
                    <a:pt x="209" y="307"/>
                    <a:pt x="209" y="307"/>
                  </a:cubicBezTo>
                  <a:cubicBezTo>
                    <a:pt x="212" y="304"/>
                    <a:pt x="212" y="304"/>
                    <a:pt x="212" y="304"/>
                  </a:cubicBezTo>
                  <a:cubicBezTo>
                    <a:pt x="212" y="304"/>
                    <a:pt x="212" y="304"/>
                    <a:pt x="212" y="304"/>
                  </a:cubicBezTo>
                  <a:cubicBezTo>
                    <a:pt x="212" y="303"/>
                    <a:pt x="211" y="302"/>
                    <a:pt x="211" y="301"/>
                  </a:cubicBezTo>
                  <a:cubicBezTo>
                    <a:pt x="210" y="300"/>
                    <a:pt x="210" y="298"/>
                    <a:pt x="210" y="296"/>
                  </a:cubicBezTo>
                  <a:cubicBezTo>
                    <a:pt x="210" y="296"/>
                    <a:pt x="210" y="295"/>
                    <a:pt x="209" y="295"/>
                  </a:cubicBezTo>
                  <a:cubicBezTo>
                    <a:pt x="209" y="295"/>
                    <a:pt x="209" y="295"/>
                    <a:pt x="208" y="295"/>
                  </a:cubicBezTo>
                  <a:cubicBezTo>
                    <a:pt x="208" y="295"/>
                    <a:pt x="208" y="295"/>
                    <a:pt x="208" y="295"/>
                  </a:cubicBezTo>
                  <a:cubicBezTo>
                    <a:pt x="206" y="295"/>
                    <a:pt x="206" y="295"/>
                    <a:pt x="205" y="295"/>
                  </a:cubicBezTo>
                  <a:cubicBezTo>
                    <a:pt x="204" y="295"/>
                    <a:pt x="204" y="295"/>
                    <a:pt x="204" y="295"/>
                  </a:cubicBezTo>
                  <a:cubicBezTo>
                    <a:pt x="204" y="295"/>
                    <a:pt x="203" y="295"/>
                    <a:pt x="203" y="295"/>
                  </a:cubicBezTo>
                  <a:cubicBezTo>
                    <a:pt x="203" y="294"/>
                    <a:pt x="203" y="294"/>
                    <a:pt x="203" y="294"/>
                  </a:cubicBezTo>
                  <a:cubicBezTo>
                    <a:pt x="202" y="294"/>
                    <a:pt x="202" y="294"/>
                    <a:pt x="202" y="294"/>
                  </a:cubicBezTo>
                  <a:cubicBezTo>
                    <a:pt x="202" y="294"/>
                    <a:pt x="202" y="294"/>
                    <a:pt x="202" y="294"/>
                  </a:cubicBezTo>
                  <a:cubicBezTo>
                    <a:pt x="201" y="293"/>
                    <a:pt x="201" y="293"/>
                    <a:pt x="201" y="293"/>
                  </a:cubicBezTo>
                  <a:cubicBezTo>
                    <a:pt x="199" y="291"/>
                    <a:pt x="198" y="289"/>
                    <a:pt x="198" y="286"/>
                  </a:cubicBezTo>
                  <a:cubicBezTo>
                    <a:pt x="197" y="285"/>
                    <a:pt x="197" y="284"/>
                    <a:pt x="197" y="284"/>
                  </a:cubicBezTo>
                  <a:cubicBezTo>
                    <a:pt x="196" y="281"/>
                    <a:pt x="197" y="278"/>
                    <a:pt x="197" y="276"/>
                  </a:cubicBezTo>
                  <a:cubicBezTo>
                    <a:pt x="197" y="276"/>
                    <a:pt x="197" y="276"/>
                    <a:pt x="197" y="276"/>
                  </a:cubicBezTo>
                  <a:cubicBezTo>
                    <a:pt x="197" y="275"/>
                    <a:pt x="197" y="274"/>
                    <a:pt x="197" y="273"/>
                  </a:cubicBezTo>
                  <a:cubicBezTo>
                    <a:pt x="197" y="273"/>
                    <a:pt x="197" y="273"/>
                    <a:pt x="197" y="273"/>
                  </a:cubicBezTo>
                  <a:cubicBezTo>
                    <a:pt x="197" y="272"/>
                    <a:pt x="197" y="272"/>
                    <a:pt x="197" y="272"/>
                  </a:cubicBezTo>
                  <a:cubicBezTo>
                    <a:pt x="196" y="272"/>
                    <a:pt x="196" y="272"/>
                    <a:pt x="196" y="272"/>
                  </a:cubicBezTo>
                  <a:cubicBezTo>
                    <a:pt x="195" y="272"/>
                    <a:pt x="193" y="272"/>
                    <a:pt x="192" y="272"/>
                  </a:cubicBezTo>
                  <a:cubicBezTo>
                    <a:pt x="191" y="276"/>
                    <a:pt x="191" y="276"/>
                    <a:pt x="191" y="276"/>
                  </a:cubicBezTo>
                  <a:cubicBezTo>
                    <a:pt x="190" y="272"/>
                    <a:pt x="190" y="272"/>
                    <a:pt x="190" y="272"/>
                  </a:cubicBezTo>
                  <a:cubicBezTo>
                    <a:pt x="190" y="272"/>
                    <a:pt x="190" y="272"/>
                    <a:pt x="190" y="272"/>
                  </a:cubicBezTo>
                  <a:cubicBezTo>
                    <a:pt x="187" y="271"/>
                    <a:pt x="184" y="269"/>
                    <a:pt x="183" y="268"/>
                  </a:cubicBezTo>
                  <a:cubicBezTo>
                    <a:pt x="182" y="267"/>
                    <a:pt x="181" y="266"/>
                    <a:pt x="181" y="265"/>
                  </a:cubicBezTo>
                  <a:cubicBezTo>
                    <a:pt x="180" y="262"/>
                    <a:pt x="181" y="258"/>
                    <a:pt x="184" y="253"/>
                  </a:cubicBezTo>
                  <a:cubicBezTo>
                    <a:pt x="186" y="250"/>
                    <a:pt x="189" y="247"/>
                    <a:pt x="192" y="244"/>
                  </a:cubicBezTo>
                  <a:cubicBezTo>
                    <a:pt x="192" y="243"/>
                    <a:pt x="192" y="243"/>
                    <a:pt x="192" y="243"/>
                  </a:cubicBezTo>
                  <a:cubicBezTo>
                    <a:pt x="193" y="242"/>
                    <a:pt x="194" y="241"/>
                    <a:pt x="195" y="240"/>
                  </a:cubicBezTo>
                  <a:cubicBezTo>
                    <a:pt x="195" y="239"/>
                    <a:pt x="196" y="239"/>
                    <a:pt x="196" y="238"/>
                  </a:cubicBezTo>
                  <a:cubicBezTo>
                    <a:pt x="197" y="237"/>
                    <a:pt x="197" y="237"/>
                    <a:pt x="197" y="237"/>
                  </a:cubicBezTo>
                  <a:cubicBezTo>
                    <a:pt x="197" y="237"/>
                    <a:pt x="197" y="237"/>
                    <a:pt x="198" y="236"/>
                  </a:cubicBezTo>
                  <a:cubicBezTo>
                    <a:pt x="200" y="234"/>
                    <a:pt x="200" y="234"/>
                    <a:pt x="200" y="234"/>
                  </a:cubicBezTo>
                  <a:cubicBezTo>
                    <a:pt x="200" y="233"/>
                    <a:pt x="200" y="233"/>
                    <a:pt x="200" y="233"/>
                  </a:cubicBezTo>
                  <a:cubicBezTo>
                    <a:pt x="201" y="233"/>
                    <a:pt x="201" y="233"/>
                    <a:pt x="201" y="233"/>
                  </a:cubicBezTo>
                  <a:cubicBezTo>
                    <a:pt x="198" y="229"/>
                    <a:pt x="198" y="229"/>
                    <a:pt x="198" y="229"/>
                  </a:cubicBezTo>
                  <a:cubicBezTo>
                    <a:pt x="202" y="232"/>
                    <a:pt x="202" y="232"/>
                    <a:pt x="202" y="232"/>
                  </a:cubicBezTo>
                  <a:cubicBezTo>
                    <a:pt x="202" y="232"/>
                    <a:pt x="202" y="232"/>
                    <a:pt x="202" y="232"/>
                  </a:cubicBezTo>
                  <a:cubicBezTo>
                    <a:pt x="203" y="231"/>
                    <a:pt x="204" y="231"/>
                    <a:pt x="204" y="231"/>
                  </a:cubicBezTo>
                  <a:cubicBezTo>
                    <a:pt x="205" y="231"/>
                    <a:pt x="205" y="231"/>
                    <a:pt x="205" y="231"/>
                  </a:cubicBezTo>
                  <a:cubicBezTo>
                    <a:pt x="205" y="230"/>
                    <a:pt x="206" y="230"/>
                    <a:pt x="207" y="230"/>
                  </a:cubicBezTo>
                  <a:cubicBezTo>
                    <a:pt x="207" y="227"/>
                    <a:pt x="207" y="227"/>
                    <a:pt x="207" y="227"/>
                  </a:cubicBezTo>
                  <a:cubicBezTo>
                    <a:pt x="208" y="230"/>
                    <a:pt x="208" y="230"/>
                    <a:pt x="208" y="230"/>
                  </a:cubicBezTo>
                  <a:cubicBezTo>
                    <a:pt x="208" y="230"/>
                    <a:pt x="208" y="230"/>
                    <a:pt x="209" y="230"/>
                  </a:cubicBezTo>
                  <a:cubicBezTo>
                    <a:pt x="209" y="230"/>
                    <a:pt x="210" y="230"/>
                    <a:pt x="210" y="231"/>
                  </a:cubicBezTo>
                  <a:cubicBezTo>
                    <a:pt x="211" y="231"/>
                    <a:pt x="211" y="231"/>
                    <a:pt x="211" y="232"/>
                  </a:cubicBezTo>
                  <a:cubicBezTo>
                    <a:pt x="212" y="232"/>
                    <a:pt x="212" y="232"/>
                    <a:pt x="213" y="233"/>
                  </a:cubicBezTo>
                  <a:cubicBezTo>
                    <a:pt x="214" y="234"/>
                    <a:pt x="214" y="235"/>
                    <a:pt x="215" y="236"/>
                  </a:cubicBezTo>
                  <a:cubicBezTo>
                    <a:pt x="215" y="236"/>
                    <a:pt x="215" y="236"/>
                    <a:pt x="215" y="236"/>
                  </a:cubicBezTo>
                  <a:cubicBezTo>
                    <a:pt x="215" y="237"/>
                    <a:pt x="216" y="237"/>
                    <a:pt x="216" y="238"/>
                  </a:cubicBezTo>
                  <a:cubicBezTo>
                    <a:pt x="216" y="238"/>
                    <a:pt x="216" y="238"/>
                    <a:pt x="217" y="238"/>
                  </a:cubicBezTo>
                  <a:cubicBezTo>
                    <a:pt x="217" y="238"/>
                    <a:pt x="217" y="238"/>
                    <a:pt x="217" y="238"/>
                  </a:cubicBezTo>
                  <a:cubicBezTo>
                    <a:pt x="218" y="238"/>
                    <a:pt x="218" y="238"/>
                    <a:pt x="218" y="238"/>
                  </a:cubicBezTo>
                  <a:cubicBezTo>
                    <a:pt x="220" y="237"/>
                    <a:pt x="222" y="236"/>
                    <a:pt x="224" y="235"/>
                  </a:cubicBezTo>
                  <a:cubicBezTo>
                    <a:pt x="225" y="235"/>
                    <a:pt x="225" y="235"/>
                    <a:pt x="225" y="235"/>
                  </a:cubicBezTo>
                  <a:cubicBezTo>
                    <a:pt x="225" y="230"/>
                    <a:pt x="225" y="230"/>
                    <a:pt x="225" y="230"/>
                  </a:cubicBezTo>
                  <a:cubicBezTo>
                    <a:pt x="226" y="235"/>
                    <a:pt x="226" y="235"/>
                    <a:pt x="226" y="235"/>
                  </a:cubicBezTo>
                  <a:cubicBezTo>
                    <a:pt x="227" y="235"/>
                    <a:pt x="227" y="235"/>
                    <a:pt x="227" y="235"/>
                  </a:cubicBezTo>
                  <a:cubicBezTo>
                    <a:pt x="228" y="235"/>
                    <a:pt x="228" y="235"/>
                    <a:pt x="229" y="235"/>
                  </a:cubicBezTo>
                  <a:cubicBezTo>
                    <a:pt x="230" y="235"/>
                    <a:pt x="230" y="235"/>
                    <a:pt x="230" y="235"/>
                  </a:cubicBezTo>
                  <a:cubicBezTo>
                    <a:pt x="231" y="234"/>
                    <a:pt x="233" y="234"/>
                    <a:pt x="235" y="234"/>
                  </a:cubicBezTo>
                  <a:cubicBezTo>
                    <a:pt x="236" y="234"/>
                    <a:pt x="236" y="234"/>
                    <a:pt x="236" y="234"/>
                  </a:cubicBezTo>
                  <a:cubicBezTo>
                    <a:pt x="249" y="215"/>
                    <a:pt x="249" y="215"/>
                    <a:pt x="249" y="215"/>
                  </a:cubicBezTo>
                  <a:cubicBezTo>
                    <a:pt x="250" y="214"/>
                    <a:pt x="250" y="214"/>
                    <a:pt x="250" y="214"/>
                  </a:cubicBezTo>
                  <a:cubicBezTo>
                    <a:pt x="252" y="212"/>
                    <a:pt x="254" y="210"/>
                    <a:pt x="256" y="209"/>
                  </a:cubicBezTo>
                  <a:cubicBezTo>
                    <a:pt x="257" y="208"/>
                    <a:pt x="258" y="208"/>
                    <a:pt x="259" y="207"/>
                  </a:cubicBezTo>
                  <a:cubicBezTo>
                    <a:pt x="262" y="206"/>
                    <a:pt x="263" y="205"/>
                    <a:pt x="265" y="202"/>
                  </a:cubicBezTo>
                  <a:cubicBezTo>
                    <a:pt x="266" y="201"/>
                    <a:pt x="267" y="200"/>
                    <a:pt x="267" y="199"/>
                  </a:cubicBezTo>
                  <a:cubicBezTo>
                    <a:pt x="267" y="198"/>
                    <a:pt x="267" y="198"/>
                    <a:pt x="267" y="198"/>
                  </a:cubicBezTo>
                  <a:cubicBezTo>
                    <a:pt x="268" y="197"/>
                    <a:pt x="269" y="195"/>
                    <a:pt x="270" y="194"/>
                  </a:cubicBezTo>
                  <a:cubicBezTo>
                    <a:pt x="270" y="193"/>
                    <a:pt x="270" y="193"/>
                    <a:pt x="270" y="192"/>
                  </a:cubicBezTo>
                  <a:cubicBezTo>
                    <a:pt x="270" y="192"/>
                    <a:pt x="270" y="192"/>
                    <a:pt x="270" y="192"/>
                  </a:cubicBezTo>
                  <a:cubicBezTo>
                    <a:pt x="271" y="191"/>
                    <a:pt x="271" y="191"/>
                    <a:pt x="271" y="190"/>
                  </a:cubicBezTo>
                  <a:cubicBezTo>
                    <a:pt x="272" y="187"/>
                    <a:pt x="272" y="185"/>
                    <a:pt x="274" y="183"/>
                  </a:cubicBezTo>
                  <a:cubicBezTo>
                    <a:pt x="275" y="182"/>
                    <a:pt x="276" y="181"/>
                    <a:pt x="277" y="180"/>
                  </a:cubicBezTo>
                  <a:cubicBezTo>
                    <a:pt x="279" y="179"/>
                    <a:pt x="281" y="178"/>
                    <a:pt x="283" y="177"/>
                  </a:cubicBezTo>
                  <a:cubicBezTo>
                    <a:pt x="284" y="177"/>
                    <a:pt x="285" y="177"/>
                    <a:pt x="285" y="176"/>
                  </a:cubicBezTo>
                  <a:cubicBezTo>
                    <a:pt x="285" y="176"/>
                    <a:pt x="285" y="176"/>
                    <a:pt x="285" y="176"/>
                  </a:cubicBezTo>
                  <a:cubicBezTo>
                    <a:pt x="284" y="173"/>
                    <a:pt x="284" y="172"/>
                    <a:pt x="285" y="171"/>
                  </a:cubicBezTo>
                  <a:cubicBezTo>
                    <a:pt x="285" y="170"/>
                    <a:pt x="285" y="170"/>
                    <a:pt x="285" y="170"/>
                  </a:cubicBezTo>
                  <a:cubicBezTo>
                    <a:pt x="286" y="169"/>
                    <a:pt x="286" y="169"/>
                    <a:pt x="287" y="168"/>
                  </a:cubicBezTo>
                  <a:cubicBezTo>
                    <a:pt x="288" y="167"/>
                    <a:pt x="289" y="165"/>
                    <a:pt x="291" y="164"/>
                  </a:cubicBezTo>
                  <a:cubicBezTo>
                    <a:pt x="291" y="163"/>
                    <a:pt x="293" y="162"/>
                    <a:pt x="295" y="161"/>
                  </a:cubicBezTo>
                  <a:cubicBezTo>
                    <a:pt x="295" y="160"/>
                    <a:pt x="295" y="160"/>
                    <a:pt x="295" y="160"/>
                  </a:cubicBezTo>
                  <a:cubicBezTo>
                    <a:pt x="297" y="159"/>
                    <a:pt x="299" y="158"/>
                    <a:pt x="300" y="157"/>
                  </a:cubicBezTo>
                  <a:cubicBezTo>
                    <a:pt x="301" y="156"/>
                    <a:pt x="302" y="155"/>
                    <a:pt x="302" y="155"/>
                  </a:cubicBezTo>
                  <a:cubicBezTo>
                    <a:pt x="302" y="154"/>
                    <a:pt x="302" y="154"/>
                    <a:pt x="301" y="153"/>
                  </a:cubicBezTo>
                  <a:cubicBezTo>
                    <a:pt x="301" y="147"/>
                    <a:pt x="301" y="147"/>
                    <a:pt x="301" y="147"/>
                  </a:cubicBezTo>
                  <a:cubicBezTo>
                    <a:pt x="300" y="146"/>
                    <a:pt x="300" y="145"/>
                    <a:pt x="300" y="143"/>
                  </a:cubicBezTo>
                  <a:cubicBezTo>
                    <a:pt x="300" y="140"/>
                    <a:pt x="300" y="140"/>
                    <a:pt x="300" y="140"/>
                  </a:cubicBezTo>
                  <a:cubicBezTo>
                    <a:pt x="296" y="141"/>
                    <a:pt x="296" y="141"/>
                    <a:pt x="296" y="141"/>
                  </a:cubicBezTo>
                  <a:cubicBezTo>
                    <a:pt x="300" y="139"/>
                    <a:pt x="300" y="139"/>
                    <a:pt x="300" y="139"/>
                  </a:cubicBezTo>
                  <a:cubicBezTo>
                    <a:pt x="299" y="138"/>
                    <a:pt x="299" y="138"/>
                    <a:pt x="299" y="138"/>
                  </a:cubicBezTo>
                  <a:cubicBezTo>
                    <a:pt x="299" y="138"/>
                    <a:pt x="300" y="137"/>
                    <a:pt x="300" y="136"/>
                  </a:cubicBezTo>
                  <a:cubicBezTo>
                    <a:pt x="300" y="134"/>
                    <a:pt x="302" y="133"/>
                    <a:pt x="304" y="131"/>
                  </a:cubicBezTo>
                  <a:cubicBezTo>
                    <a:pt x="305" y="130"/>
                    <a:pt x="306" y="130"/>
                    <a:pt x="306" y="130"/>
                  </a:cubicBezTo>
                  <a:cubicBezTo>
                    <a:pt x="307" y="130"/>
                    <a:pt x="307" y="130"/>
                    <a:pt x="307" y="130"/>
                  </a:cubicBezTo>
                  <a:cubicBezTo>
                    <a:pt x="307" y="129"/>
                    <a:pt x="307" y="129"/>
                    <a:pt x="308" y="129"/>
                  </a:cubicBezTo>
                  <a:cubicBezTo>
                    <a:pt x="308" y="129"/>
                    <a:pt x="308" y="129"/>
                    <a:pt x="309" y="129"/>
                  </a:cubicBezTo>
                  <a:cubicBezTo>
                    <a:pt x="310" y="128"/>
                    <a:pt x="310" y="128"/>
                    <a:pt x="311" y="128"/>
                  </a:cubicBezTo>
                  <a:cubicBezTo>
                    <a:pt x="312" y="128"/>
                    <a:pt x="313" y="127"/>
                    <a:pt x="313" y="127"/>
                  </a:cubicBezTo>
                  <a:cubicBezTo>
                    <a:pt x="315" y="126"/>
                    <a:pt x="315" y="126"/>
                    <a:pt x="315" y="126"/>
                  </a:cubicBezTo>
                  <a:cubicBezTo>
                    <a:pt x="316" y="126"/>
                    <a:pt x="318" y="125"/>
                    <a:pt x="318" y="125"/>
                  </a:cubicBezTo>
                  <a:cubicBezTo>
                    <a:pt x="319" y="124"/>
                    <a:pt x="318" y="123"/>
                    <a:pt x="318" y="123"/>
                  </a:cubicBezTo>
                  <a:cubicBezTo>
                    <a:pt x="318" y="123"/>
                    <a:pt x="318" y="123"/>
                    <a:pt x="318" y="123"/>
                  </a:cubicBezTo>
                  <a:cubicBezTo>
                    <a:pt x="317" y="123"/>
                    <a:pt x="317" y="123"/>
                    <a:pt x="317" y="123"/>
                  </a:cubicBezTo>
                  <a:cubicBezTo>
                    <a:pt x="317" y="123"/>
                    <a:pt x="316" y="123"/>
                    <a:pt x="316" y="123"/>
                  </a:cubicBezTo>
                  <a:cubicBezTo>
                    <a:pt x="315" y="122"/>
                    <a:pt x="314" y="122"/>
                    <a:pt x="313" y="122"/>
                  </a:cubicBezTo>
                  <a:cubicBezTo>
                    <a:pt x="313" y="122"/>
                    <a:pt x="313" y="122"/>
                    <a:pt x="313" y="122"/>
                  </a:cubicBezTo>
                  <a:cubicBezTo>
                    <a:pt x="312" y="122"/>
                    <a:pt x="312" y="122"/>
                    <a:pt x="311" y="122"/>
                  </a:cubicBezTo>
                  <a:cubicBezTo>
                    <a:pt x="308" y="121"/>
                    <a:pt x="306" y="121"/>
                    <a:pt x="305" y="119"/>
                  </a:cubicBezTo>
                  <a:cubicBezTo>
                    <a:pt x="305" y="119"/>
                    <a:pt x="304" y="118"/>
                    <a:pt x="304" y="118"/>
                  </a:cubicBezTo>
                  <a:cubicBezTo>
                    <a:pt x="303" y="117"/>
                    <a:pt x="303" y="115"/>
                    <a:pt x="303" y="113"/>
                  </a:cubicBezTo>
                  <a:cubicBezTo>
                    <a:pt x="302" y="114"/>
                    <a:pt x="302" y="114"/>
                    <a:pt x="301" y="114"/>
                  </a:cubicBezTo>
                  <a:cubicBezTo>
                    <a:pt x="299" y="114"/>
                    <a:pt x="297" y="113"/>
                    <a:pt x="295" y="111"/>
                  </a:cubicBezTo>
                  <a:cubicBezTo>
                    <a:pt x="295" y="110"/>
                    <a:pt x="295" y="110"/>
                    <a:pt x="295" y="110"/>
                  </a:cubicBezTo>
                  <a:cubicBezTo>
                    <a:pt x="294" y="109"/>
                    <a:pt x="294" y="109"/>
                    <a:pt x="293" y="108"/>
                  </a:cubicBezTo>
                  <a:cubicBezTo>
                    <a:pt x="292" y="107"/>
                    <a:pt x="292" y="107"/>
                    <a:pt x="292" y="107"/>
                  </a:cubicBezTo>
                  <a:cubicBezTo>
                    <a:pt x="291" y="105"/>
                    <a:pt x="290" y="103"/>
                    <a:pt x="289" y="102"/>
                  </a:cubicBezTo>
                  <a:cubicBezTo>
                    <a:pt x="283" y="103"/>
                    <a:pt x="283" y="103"/>
                    <a:pt x="283" y="103"/>
                  </a:cubicBezTo>
                  <a:cubicBezTo>
                    <a:pt x="289" y="100"/>
                    <a:pt x="289" y="100"/>
                    <a:pt x="289" y="100"/>
                  </a:cubicBezTo>
                  <a:cubicBezTo>
                    <a:pt x="289" y="100"/>
                    <a:pt x="289" y="100"/>
                    <a:pt x="289" y="100"/>
                  </a:cubicBezTo>
                  <a:cubicBezTo>
                    <a:pt x="288" y="99"/>
                    <a:pt x="289" y="98"/>
                    <a:pt x="289" y="97"/>
                  </a:cubicBezTo>
                  <a:cubicBezTo>
                    <a:pt x="289" y="96"/>
                    <a:pt x="290" y="96"/>
                    <a:pt x="290" y="95"/>
                  </a:cubicBezTo>
                  <a:cubicBezTo>
                    <a:pt x="291" y="92"/>
                    <a:pt x="291" y="92"/>
                    <a:pt x="291" y="91"/>
                  </a:cubicBezTo>
                  <a:cubicBezTo>
                    <a:pt x="290" y="90"/>
                    <a:pt x="290" y="90"/>
                    <a:pt x="290" y="90"/>
                  </a:cubicBezTo>
                  <a:cubicBezTo>
                    <a:pt x="290" y="89"/>
                    <a:pt x="289" y="89"/>
                    <a:pt x="289" y="88"/>
                  </a:cubicBezTo>
                  <a:cubicBezTo>
                    <a:pt x="288" y="87"/>
                    <a:pt x="288" y="86"/>
                    <a:pt x="288" y="85"/>
                  </a:cubicBezTo>
                  <a:cubicBezTo>
                    <a:pt x="288" y="85"/>
                    <a:pt x="288" y="85"/>
                    <a:pt x="288" y="85"/>
                  </a:cubicBezTo>
                  <a:cubicBezTo>
                    <a:pt x="288" y="85"/>
                    <a:pt x="288" y="85"/>
                    <a:pt x="288" y="85"/>
                  </a:cubicBezTo>
                  <a:cubicBezTo>
                    <a:pt x="288" y="84"/>
                    <a:pt x="288" y="84"/>
                    <a:pt x="288" y="84"/>
                  </a:cubicBezTo>
                  <a:cubicBezTo>
                    <a:pt x="288" y="83"/>
                    <a:pt x="288" y="83"/>
                    <a:pt x="288" y="83"/>
                  </a:cubicBezTo>
                  <a:cubicBezTo>
                    <a:pt x="289" y="82"/>
                    <a:pt x="290" y="81"/>
                    <a:pt x="291" y="80"/>
                  </a:cubicBezTo>
                  <a:cubicBezTo>
                    <a:pt x="291" y="80"/>
                    <a:pt x="291" y="80"/>
                    <a:pt x="291" y="80"/>
                  </a:cubicBezTo>
                  <a:cubicBezTo>
                    <a:pt x="290" y="80"/>
                    <a:pt x="290" y="80"/>
                    <a:pt x="290" y="80"/>
                  </a:cubicBezTo>
                  <a:cubicBezTo>
                    <a:pt x="289" y="80"/>
                    <a:pt x="288" y="80"/>
                    <a:pt x="288" y="79"/>
                  </a:cubicBezTo>
                  <a:cubicBezTo>
                    <a:pt x="285" y="79"/>
                    <a:pt x="285" y="79"/>
                    <a:pt x="285" y="79"/>
                  </a:cubicBezTo>
                  <a:cubicBezTo>
                    <a:pt x="286" y="76"/>
                    <a:pt x="286" y="76"/>
                    <a:pt x="286" y="76"/>
                  </a:cubicBezTo>
                  <a:cubicBezTo>
                    <a:pt x="286" y="76"/>
                    <a:pt x="286" y="75"/>
                    <a:pt x="286" y="75"/>
                  </a:cubicBezTo>
                  <a:cubicBezTo>
                    <a:pt x="286" y="74"/>
                    <a:pt x="286" y="74"/>
                    <a:pt x="286" y="74"/>
                  </a:cubicBezTo>
                  <a:cubicBezTo>
                    <a:pt x="286" y="74"/>
                    <a:pt x="286" y="73"/>
                    <a:pt x="287" y="73"/>
                  </a:cubicBezTo>
                  <a:cubicBezTo>
                    <a:pt x="286" y="73"/>
                    <a:pt x="286" y="73"/>
                    <a:pt x="285" y="72"/>
                  </a:cubicBezTo>
                  <a:cubicBezTo>
                    <a:pt x="285" y="72"/>
                    <a:pt x="285" y="72"/>
                    <a:pt x="285" y="72"/>
                  </a:cubicBezTo>
                  <a:cubicBezTo>
                    <a:pt x="284" y="71"/>
                    <a:pt x="283" y="70"/>
                    <a:pt x="283" y="69"/>
                  </a:cubicBezTo>
                  <a:cubicBezTo>
                    <a:pt x="282" y="67"/>
                    <a:pt x="283" y="66"/>
                    <a:pt x="284" y="65"/>
                  </a:cubicBezTo>
                  <a:cubicBezTo>
                    <a:pt x="284" y="63"/>
                    <a:pt x="285" y="62"/>
                    <a:pt x="286" y="61"/>
                  </a:cubicBezTo>
                  <a:cubicBezTo>
                    <a:pt x="286" y="60"/>
                    <a:pt x="286" y="60"/>
                    <a:pt x="286" y="59"/>
                  </a:cubicBezTo>
                  <a:cubicBezTo>
                    <a:pt x="288" y="58"/>
                    <a:pt x="289" y="58"/>
                    <a:pt x="291" y="58"/>
                  </a:cubicBezTo>
                  <a:cubicBezTo>
                    <a:pt x="293" y="57"/>
                    <a:pt x="297" y="57"/>
                    <a:pt x="300" y="57"/>
                  </a:cubicBezTo>
                  <a:cubicBezTo>
                    <a:pt x="301" y="56"/>
                    <a:pt x="301" y="56"/>
                    <a:pt x="301" y="56"/>
                  </a:cubicBezTo>
                  <a:cubicBezTo>
                    <a:pt x="302" y="56"/>
                    <a:pt x="303" y="56"/>
                    <a:pt x="304" y="56"/>
                  </a:cubicBezTo>
                  <a:cubicBezTo>
                    <a:pt x="304" y="56"/>
                    <a:pt x="305" y="56"/>
                    <a:pt x="305" y="56"/>
                  </a:cubicBezTo>
                  <a:cubicBezTo>
                    <a:pt x="308" y="56"/>
                    <a:pt x="310" y="57"/>
                    <a:pt x="312" y="57"/>
                  </a:cubicBezTo>
                  <a:cubicBezTo>
                    <a:pt x="313" y="57"/>
                    <a:pt x="313" y="57"/>
                    <a:pt x="313" y="57"/>
                  </a:cubicBezTo>
                  <a:cubicBezTo>
                    <a:pt x="314" y="57"/>
                    <a:pt x="315" y="58"/>
                    <a:pt x="316" y="58"/>
                  </a:cubicBezTo>
                  <a:cubicBezTo>
                    <a:pt x="319" y="58"/>
                    <a:pt x="319" y="58"/>
                    <a:pt x="319" y="58"/>
                  </a:cubicBezTo>
                  <a:cubicBezTo>
                    <a:pt x="321" y="58"/>
                    <a:pt x="322" y="59"/>
                    <a:pt x="324" y="60"/>
                  </a:cubicBezTo>
                  <a:cubicBezTo>
                    <a:pt x="324" y="60"/>
                    <a:pt x="324" y="60"/>
                    <a:pt x="325" y="60"/>
                  </a:cubicBezTo>
                  <a:cubicBezTo>
                    <a:pt x="325" y="61"/>
                    <a:pt x="326" y="61"/>
                    <a:pt x="326" y="61"/>
                  </a:cubicBezTo>
                  <a:cubicBezTo>
                    <a:pt x="328" y="61"/>
                    <a:pt x="328" y="61"/>
                    <a:pt x="328" y="61"/>
                  </a:cubicBezTo>
                  <a:cubicBezTo>
                    <a:pt x="329" y="61"/>
                    <a:pt x="329" y="61"/>
                    <a:pt x="330" y="62"/>
                  </a:cubicBezTo>
                  <a:cubicBezTo>
                    <a:pt x="332" y="61"/>
                    <a:pt x="334" y="61"/>
                    <a:pt x="338" y="59"/>
                  </a:cubicBezTo>
                  <a:cubicBezTo>
                    <a:pt x="339" y="59"/>
                    <a:pt x="340" y="58"/>
                    <a:pt x="340" y="58"/>
                  </a:cubicBezTo>
                  <a:cubicBezTo>
                    <a:pt x="341" y="58"/>
                    <a:pt x="341" y="58"/>
                    <a:pt x="342" y="57"/>
                  </a:cubicBezTo>
                  <a:cubicBezTo>
                    <a:pt x="343" y="57"/>
                    <a:pt x="344" y="57"/>
                    <a:pt x="345" y="57"/>
                  </a:cubicBezTo>
                  <a:cubicBezTo>
                    <a:pt x="346" y="56"/>
                    <a:pt x="347" y="56"/>
                    <a:pt x="348" y="56"/>
                  </a:cubicBezTo>
                  <a:cubicBezTo>
                    <a:pt x="348" y="56"/>
                    <a:pt x="348" y="56"/>
                    <a:pt x="348" y="56"/>
                  </a:cubicBezTo>
                  <a:cubicBezTo>
                    <a:pt x="348" y="56"/>
                    <a:pt x="349" y="56"/>
                    <a:pt x="349" y="56"/>
                  </a:cubicBezTo>
                  <a:cubicBezTo>
                    <a:pt x="350" y="56"/>
                    <a:pt x="350" y="56"/>
                    <a:pt x="350" y="56"/>
                  </a:cubicBezTo>
                  <a:cubicBezTo>
                    <a:pt x="352" y="55"/>
                    <a:pt x="353" y="55"/>
                    <a:pt x="354" y="53"/>
                  </a:cubicBezTo>
                  <a:cubicBezTo>
                    <a:pt x="355" y="52"/>
                    <a:pt x="355" y="52"/>
                    <a:pt x="355" y="52"/>
                  </a:cubicBezTo>
                  <a:cubicBezTo>
                    <a:pt x="357" y="50"/>
                    <a:pt x="358" y="48"/>
                    <a:pt x="360" y="46"/>
                  </a:cubicBezTo>
                  <a:cubicBezTo>
                    <a:pt x="365" y="44"/>
                    <a:pt x="365" y="44"/>
                    <a:pt x="365" y="44"/>
                  </a:cubicBezTo>
                  <a:cubicBezTo>
                    <a:pt x="366" y="43"/>
                    <a:pt x="367" y="43"/>
                    <a:pt x="368" y="42"/>
                  </a:cubicBezTo>
                  <a:cubicBezTo>
                    <a:pt x="360" y="43"/>
                    <a:pt x="360" y="43"/>
                    <a:pt x="360" y="43"/>
                  </a:cubicBezTo>
                  <a:cubicBezTo>
                    <a:pt x="367" y="40"/>
                    <a:pt x="367" y="40"/>
                    <a:pt x="367" y="40"/>
                  </a:cubicBezTo>
                  <a:cubicBezTo>
                    <a:pt x="362" y="40"/>
                    <a:pt x="358" y="39"/>
                    <a:pt x="354" y="37"/>
                  </a:cubicBezTo>
                  <a:cubicBezTo>
                    <a:pt x="352" y="36"/>
                    <a:pt x="351" y="35"/>
                    <a:pt x="350" y="33"/>
                  </a:cubicBezTo>
                  <a:cubicBezTo>
                    <a:pt x="349" y="33"/>
                    <a:pt x="349" y="32"/>
                    <a:pt x="348" y="32"/>
                  </a:cubicBezTo>
                  <a:cubicBezTo>
                    <a:pt x="347" y="32"/>
                    <a:pt x="345" y="32"/>
                    <a:pt x="344" y="32"/>
                  </a:cubicBezTo>
                  <a:cubicBezTo>
                    <a:pt x="344" y="32"/>
                    <a:pt x="344" y="32"/>
                    <a:pt x="344" y="32"/>
                  </a:cubicBezTo>
                  <a:cubicBezTo>
                    <a:pt x="343" y="32"/>
                    <a:pt x="343" y="32"/>
                    <a:pt x="343" y="32"/>
                  </a:cubicBezTo>
                  <a:cubicBezTo>
                    <a:pt x="341" y="32"/>
                    <a:pt x="340" y="32"/>
                    <a:pt x="339" y="31"/>
                  </a:cubicBezTo>
                  <a:cubicBezTo>
                    <a:pt x="339" y="31"/>
                    <a:pt x="338" y="30"/>
                    <a:pt x="338" y="30"/>
                  </a:cubicBezTo>
                  <a:cubicBezTo>
                    <a:pt x="338" y="29"/>
                    <a:pt x="338" y="29"/>
                    <a:pt x="338" y="29"/>
                  </a:cubicBezTo>
                  <a:cubicBezTo>
                    <a:pt x="338" y="29"/>
                    <a:pt x="338" y="29"/>
                    <a:pt x="338" y="29"/>
                  </a:cubicBezTo>
                  <a:cubicBezTo>
                    <a:pt x="337" y="28"/>
                    <a:pt x="336" y="28"/>
                    <a:pt x="336" y="27"/>
                  </a:cubicBezTo>
                  <a:cubicBezTo>
                    <a:pt x="334" y="25"/>
                    <a:pt x="334" y="25"/>
                    <a:pt x="334" y="25"/>
                  </a:cubicBezTo>
                  <a:cubicBezTo>
                    <a:pt x="331" y="23"/>
                    <a:pt x="333" y="20"/>
                    <a:pt x="335" y="19"/>
                  </a:cubicBezTo>
                  <a:cubicBezTo>
                    <a:pt x="335" y="18"/>
                    <a:pt x="335" y="18"/>
                    <a:pt x="335" y="17"/>
                  </a:cubicBezTo>
                  <a:cubicBezTo>
                    <a:pt x="335" y="17"/>
                    <a:pt x="335" y="16"/>
                    <a:pt x="335" y="15"/>
                  </a:cubicBezTo>
                  <a:cubicBezTo>
                    <a:pt x="335" y="14"/>
                    <a:pt x="334" y="13"/>
                    <a:pt x="334" y="12"/>
                  </a:cubicBezTo>
                  <a:cubicBezTo>
                    <a:pt x="332" y="10"/>
                    <a:pt x="331" y="9"/>
                    <a:pt x="329" y="8"/>
                  </a:cubicBezTo>
                  <a:cubicBezTo>
                    <a:pt x="329" y="7"/>
                    <a:pt x="328" y="7"/>
                    <a:pt x="327" y="7"/>
                  </a:cubicBezTo>
                  <a:cubicBezTo>
                    <a:pt x="326" y="6"/>
                    <a:pt x="325" y="5"/>
                    <a:pt x="323" y="4"/>
                  </a:cubicBezTo>
                  <a:cubicBezTo>
                    <a:pt x="322" y="4"/>
                    <a:pt x="321" y="3"/>
                    <a:pt x="320" y="2"/>
                  </a:cubicBezTo>
                  <a:cubicBezTo>
                    <a:pt x="318" y="1"/>
                    <a:pt x="317" y="1"/>
                    <a:pt x="315" y="1"/>
                  </a:cubicBezTo>
                  <a:cubicBezTo>
                    <a:pt x="314" y="1"/>
                    <a:pt x="314" y="1"/>
                    <a:pt x="314" y="1"/>
                  </a:cubicBezTo>
                  <a:cubicBezTo>
                    <a:pt x="313" y="1"/>
                    <a:pt x="313" y="2"/>
                    <a:pt x="312" y="2"/>
                  </a:cubicBezTo>
                  <a:cubicBezTo>
                    <a:pt x="311" y="2"/>
                    <a:pt x="311" y="2"/>
                    <a:pt x="311" y="1"/>
                  </a:cubicBezTo>
                  <a:cubicBezTo>
                    <a:pt x="309" y="1"/>
                    <a:pt x="308" y="1"/>
                    <a:pt x="307" y="0"/>
                  </a:cubicBezTo>
                  <a:cubicBezTo>
                    <a:pt x="307" y="0"/>
                    <a:pt x="307" y="0"/>
                    <a:pt x="307" y="0"/>
                  </a:cubicBezTo>
                  <a:cubicBezTo>
                    <a:pt x="306" y="0"/>
                    <a:pt x="306" y="0"/>
                    <a:pt x="306" y="0"/>
                  </a:cubicBezTo>
                  <a:cubicBezTo>
                    <a:pt x="306" y="0"/>
                    <a:pt x="306" y="0"/>
                    <a:pt x="3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Freeform 1531"/>
            <p:cNvSpPr/>
            <p:nvPr/>
          </p:nvSpPr>
          <p:spPr bwMode="auto">
            <a:xfrm>
              <a:off x="824194" y="1983975"/>
              <a:ext cx="130207" cy="37585"/>
            </a:xfrm>
            <a:custGeom>
              <a:gdLst>
                <a:gd name="T0" fmla="*/ 16 w 41"/>
                <a:gd name="T1" fmla="*/ 0 h 12"/>
                <a:gd name="T2" fmla="*/ 14 w 41"/>
                <a:gd name="T3" fmla="*/ 1 h 12"/>
                <a:gd name="T4" fmla="*/ 12 w 41"/>
                <a:gd name="T5" fmla="*/ 1 h 12"/>
                <a:gd name="T6" fmla="*/ 2 w 41"/>
                <a:gd name="T7" fmla="*/ 10 h 12"/>
                <a:gd name="T8" fmla="*/ 0 w 41"/>
                <a:gd name="T9" fmla="*/ 12 h 12"/>
                <a:gd name="T10" fmla="*/ 1 w 41"/>
                <a:gd name="T11" fmla="*/ 11 h 12"/>
                <a:gd name="T12" fmla="*/ 6 w 41"/>
                <a:gd name="T13" fmla="*/ 11 h 12"/>
                <a:gd name="T14" fmla="*/ 16 w 41"/>
                <a:gd name="T15" fmla="*/ 10 h 12"/>
                <a:gd name="T16" fmla="*/ 17 w 41"/>
                <a:gd name="T17" fmla="*/ 10 h 12"/>
                <a:gd name="T18" fmla="*/ 22 w 41"/>
                <a:gd name="T19" fmla="*/ 10 h 12"/>
                <a:gd name="T20" fmla="*/ 22 w 41"/>
                <a:gd name="T21" fmla="*/ 10 h 12"/>
                <a:gd name="T22" fmla="*/ 24 w 41"/>
                <a:gd name="T23" fmla="*/ 10 h 12"/>
                <a:gd name="T24" fmla="*/ 26 w 41"/>
                <a:gd name="T25" fmla="*/ 10 h 12"/>
                <a:gd name="T26" fmla="*/ 27 w 41"/>
                <a:gd name="T27" fmla="*/ 11 h 12"/>
                <a:gd name="T28" fmla="*/ 28 w 41"/>
                <a:gd name="T29" fmla="*/ 11 h 12"/>
                <a:gd name="T30" fmla="*/ 31 w 41"/>
                <a:gd name="T31" fmla="*/ 12 h 12"/>
                <a:gd name="T32" fmla="*/ 32 w 41"/>
                <a:gd name="T33" fmla="*/ 12 h 12"/>
                <a:gd name="T34" fmla="*/ 32 w 41"/>
                <a:gd name="T35" fmla="*/ 11 h 12"/>
                <a:gd name="T36" fmla="*/ 38 w 41"/>
                <a:gd name="T37" fmla="*/ 9 h 12"/>
                <a:gd name="T38" fmla="*/ 37 w 41"/>
                <a:gd name="T39" fmla="*/ 6 h 12"/>
                <a:gd name="T40" fmla="*/ 38 w 41"/>
                <a:gd name="T41" fmla="*/ 3 h 12"/>
                <a:gd name="T42" fmla="*/ 40 w 41"/>
                <a:gd name="T43" fmla="*/ 2 h 12"/>
                <a:gd name="T44" fmla="*/ 41 w 41"/>
                <a:gd name="T45" fmla="*/ 2 h 12"/>
                <a:gd name="T46" fmla="*/ 39 w 41"/>
                <a:gd name="T47" fmla="*/ 2 h 12"/>
                <a:gd name="T48" fmla="*/ 38 w 41"/>
                <a:gd name="T49" fmla="*/ 2 h 12"/>
                <a:gd name="T50" fmla="*/ 38 w 41"/>
                <a:gd name="T51" fmla="*/ 2 h 12"/>
                <a:gd name="T52" fmla="*/ 36 w 41"/>
                <a:gd name="T53" fmla="*/ 3 h 12"/>
                <a:gd name="T54" fmla="*/ 36 w 41"/>
                <a:gd name="T55" fmla="*/ 3 h 12"/>
                <a:gd name="T56" fmla="*/ 35 w 41"/>
                <a:gd name="T57" fmla="*/ 4 h 12"/>
                <a:gd name="T58" fmla="*/ 34 w 41"/>
                <a:gd name="T59" fmla="*/ 4 h 12"/>
                <a:gd name="T60" fmla="*/ 29 w 41"/>
                <a:gd name="T61" fmla="*/ 5 h 12"/>
                <a:gd name="T62" fmla="*/ 26 w 41"/>
                <a:gd name="T63" fmla="*/ 6 h 12"/>
                <a:gd name="T64" fmla="*/ 23 w 41"/>
                <a:gd name="T65" fmla="*/ 7 h 12"/>
                <a:gd name="T66" fmla="*/ 21 w 41"/>
                <a:gd name="T67" fmla="*/ 6 h 12"/>
                <a:gd name="T68" fmla="*/ 20 w 41"/>
                <a:gd name="T69" fmla="*/ 6 h 12"/>
                <a:gd name="T70" fmla="*/ 20 w 41"/>
                <a:gd name="T71" fmla="*/ 5 h 12"/>
                <a:gd name="T72" fmla="*/ 19 w 41"/>
                <a:gd name="T73" fmla="*/ 2 h 12"/>
                <a:gd name="T74" fmla="*/ 19 w 41"/>
                <a:gd name="T75" fmla="*/ 1 h 12"/>
                <a:gd name="T76" fmla="*/ 16 w 41"/>
                <a:gd name="T77"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12">
                  <a:moveTo>
                    <a:pt x="16" y="0"/>
                  </a:moveTo>
                  <a:cubicBezTo>
                    <a:pt x="15" y="0"/>
                    <a:pt x="14" y="0"/>
                    <a:pt x="14" y="1"/>
                  </a:cubicBezTo>
                  <a:cubicBezTo>
                    <a:pt x="13" y="1"/>
                    <a:pt x="12" y="1"/>
                    <a:pt x="12" y="1"/>
                  </a:cubicBezTo>
                  <a:cubicBezTo>
                    <a:pt x="8" y="4"/>
                    <a:pt x="5" y="7"/>
                    <a:pt x="2" y="10"/>
                  </a:cubicBezTo>
                  <a:cubicBezTo>
                    <a:pt x="1" y="11"/>
                    <a:pt x="1" y="11"/>
                    <a:pt x="0" y="12"/>
                  </a:cubicBezTo>
                  <a:cubicBezTo>
                    <a:pt x="0" y="12"/>
                    <a:pt x="1" y="12"/>
                    <a:pt x="1" y="11"/>
                  </a:cubicBezTo>
                  <a:cubicBezTo>
                    <a:pt x="6" y="11"/>
                    <a:pt x="6" y="11"/>
                    <a:pt x="6" y="11"/>
                  </a:cubicBezTo>
                  <a:cubicBezTo>
                    <a:pt x="9" y="11"/>
                    <a:pt x="12" y="11"/>
                    <a:pt x="16" y="10"/>
                  </a:cubicBezTo>
                  <a:cubicBezTo>
                    <a:pt x="17" y="10"/>
                    <a:pt x="17" y="10"/>
                    <a:pt x="17" y="10"/>
                  </a:cubicBezTo>
                  <a:cubicBezTo>
                    <a:pt x="19" y="10"/>
                    <a:pt x="20" y="10"/>
                    <a:pt x="22" y="10"/>
                  </a:cubicBezTo>
                  <a:cubicBezTo>
                    <a:pt x="22" y="10"/>
                    <a:pt x="22" y="10"/>
                    <a:pt x="22" y="10"/>
                  </a:cubicBezTo>
                  <a:cubicBezTo>
                    <a:pt x="23" y="10"/>
                    <a:pt x="24" y="10"/>
                    <a:pt x="24" y="10"/>
                  </a:cubicBezTo>
                  <a:cubicBezTo>
                    <a:pt x="25" y="10"/>
                    <a:pt x="26" y="10"/>
                    <a:pt x="26" y="10"/>
                  </a:cubicBezTo>
                  <a:cubicBezTo>
                    <a:pt x="27" y="11"/>
                    <a:pt x="27" y="11"/>
                    <a:pt x="27" y="11"/>
                  </a:cubicBezTo>
                  <a:cubicBezTo>
                    <a:pt x="28" y="11"/>
                    <a:pt x="28" y="11"/>
                    <a:pt x="28" y="11"/>
                  </a:cubicBezTo>
                  <a:cubicBezTo>
                    <a:pt x="29" y="11"/>
                    <a:pt x="30" y="12"/>
                    <a:pt x="31" y="12"/>
                  </a:cubicBezTo>
                  <a:cubicBezTo>
                    <a:pt x="31" y="12"/>
                    <a:pt x="32" y="12"/>
                    <a:pt x="32" y="12"/>
                  </a:cubicBezTo>
                  <a:cubicBezTo>
                    <a:pt x="32" y="11"/>
                    <a:pt x="32" y="11"/>
                    <a:pt x="32" y="11"/>
                  </a:cubicBezTo>
                  <a:cubicBezTo>
                    <a:pt x="34" y="11"/>
                    <a:pt x="36" y="10"/>
                    <a:pt x="38" y="9"/>
                  </a:cubicBezTo>
                  <a:cubicBezTo>
                    <a:pt x="37" y="8"/>
                    <a:pt x="37" y="7"/>
                    <a:pt x="37" y="6"/>
                  </a:cubicBezTo>
                  <a:cubicBezTo>
                    <a:pt x="37" y="5"/>
                    <a:pt x="37" y="4"/>
                    <a:pt x="38" y="3"/>
                  </a:cubicBezTo>
                  <a:cubicBezTo>
                    <a:pt x="39" y="2"/>
                    <a:pt x="40" y="2"/>
                    <a:pt x="40" y="2"/>
                  </a:cubicBezTo>
                  <a:cubicBezTo>
                    <a:pt x="41" y="2"/>
                    <a:pt x="41" y="2"/>
                    <a:pt x="41" y="2"/>
                  </a:cubicBezTo>
                  <a:cubicBezTo>
                    <a:pt x="40" y="2"/>
                    <a:pt x="40" y="2"/>
                    <a:pt x="39" y="2"/>
                  </a:cubicBezTo>
                  <a:cubicBezTo>
                    <a:pt x="38" y="2"/>
                    <a:pt x="38" y="2"/>
                    <a:pt x="38" y="2"/>
                  </a:cubicBezTo>
                  <a:cubicBezTo>
                    <a:pt x="38" y="2"/>
                    <a:pt x="38" y="2"/>
                    <a:pt x="38" y="2"/>
                  </a:cubicBezTo>
                  <a:cubicBezTo>
                    <a:pt x="37" y="2"/>
                    <a:pt x="37" y="3"/>
                    <a:pt x="36" y="3"/>
                  </a:cubicBezTo>
                  <a:cubicBezTo>
                    <a:pt x="36" y="3"/>
                    <a:pt x="36" y="3"/>
                    <a:pt x="36" y="3"/>
                  </a:cubicBezTo>
                  <a:cubicBezTo>
                    <a:pt x="35" y="3"/>
                    <a:pt x="35" y="4"/>
                    <a:pt x="35" y="4"/>
                  </a:cubicBezTo>
                  <a:cubicBezTo>
                    <a:pt x="34" y="4"/>
                    <a:pt x="34" y="4"/>
                    <a:pt x="34" y="4"/>
                  </a:cubicBezTo>
                  <a:cubicBezTo>
                    <a:pt x="34" y="4"/>
                    <a:pt x="31" y="5"/>
                    <a:pt x="29" y="5"/>
                  </a:cubicBezTo>
                  <a:cubicBezTo>
                    <a:pt x="28" y="6"/>
                    <a:pt x="27" y="6"/>
                    <a:pt x="26" y="6"/>
                  </a:cubicBezTo>
                  <a:cubicBezTo>
                    <a:pt x="25" y="6"/>
                    <a:pt x="24" y="7"/>
                    <a:pt x="23" y="7"/>
                  </a:cubicBezTo>
                  <a:cubicBezTo>
                    <a:pt x="22" y="7"/>
                    <a:pt x="22" y="6"/>
                    <a:pt x="21" y="6"/>
                  </a:cubicBezTo>
                  <a:cubicBezTo>
                    <a:pt x="20" y="6"/>
                    <a:pt x="20" y="6"/>
                    <a:pt x="20" y="6"/>
                  </a:cubicBezTo>
                  <a:cubicBezTo>
                    <a:pt x="20" y="5"/>
                    <a:pt x="20" y="5"/>
                    <a:pt x="20" y="5"/>
                  </a:cubicBezTo>
                  <a:cubicBezTo>
                    <a:pt x="19" y="4"/>
                    <a:pt x="18" y="3"/>
                    <a:pt x="19" y="2"/>
                  </a:cubicBezTo>
                  <a:cubicBezTo>
                    <a:pt x="19" y="1"/>
                    <a:pt x="19" y="1"/>
                    <a:pt x="19" y="1"/>
                  </a:cubicBezTo>
                  <a:cubicBezTo>
                    <a:pt x="18" y="1"/>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Freeform 1532"/>
            <p:cNvSpPr/>
            <p:nvPr/>
          </p:nvSpPr>
          <p:spPr bwMode="auto">
            <a:xfrm>
              <a:off x="0" y="1898065"/>
              <a:ext cx="789293" cy="742312"/>
            </a:xfrm>
            <a:custGeom>
              <a:gdLst>
                <a:gd name="T0" fmla="*/ 207 w 249"/>
                <a:gd name="T1" fmla="*/ 10 h 234"/>
                <a:gd name="T2" fmla="*/ 205 w 249"/>
                <a:gd name="T3" fmla="*/ 17 h 234"/>
                <a:gd name="T4" fmla="*/ 202 w 249"/>
                <a:gd name="T5" fmla="*/ 30 h 234"/>
                <a:gd name="T6" fmla="*/ 194 w 249"/>
                <a:gd name="T7" fmla="*/ 25 h 234"/>
                <a:gd name="T8" fmla="*/ 185 w 249"/>
                <a:gd name="T9" fmla="*/ 29 h 234"/>
                <a:gd name="T10" fmla="*/ 183 w 249"/>
                <a:gd name="T11" fmla="*/ 35 h 234"/>
                <a:gd name="T12" fmla="*/ 171 w 249"/>
                <a:gd name="T13" fmla="*/ 32 h 234"/>
                <a:gd name="T14" fmla="*/ 167 w 249"/>
                <a:gd name="T15" fmla="*/ 33 h 234"/>
                <a:gd name="T16" fmla="*/ 154 w 249"/>
                <a:gd name="T17" fmla="*/ 39 h 234"/>
                <a:gd name="T18" fmla="*/ 146 w 249"/>
                <a:gd name="T19" fmla="*/ 40 h 234"/>
                <a:gd name="T20" fmla="*/ 141 w 249"/>
                <a:gd name="T21" fmla="*/ 35 h 234"/>
                <a:gd name="T22" fmla="*/ 132 w 249"/>
                <a:gd name="T23" fmla="*/ 35 h 234"/>
                <a:gd name="T24" fmla="*/ 117 w 249"/>
                <a:gd name="T25" fmla="*/ 30 h 234"/>
                <a:gd name="T26" fmla="*/ 113 w 249"/>
                <a:gd name="T27" fmla="*/ 31 h 234"/>
                <a:gd name="T28" fmla="*/ 106 w 249"/>
                <a:gd name="T29" fmla="*/ 30 h 234"/>
                <a:gd name="T30" fmla="*/ 98 w 249"/>
                <a:gd name="T31" fmla="*/ 26 h 234"/>
                <a:gd name="T32" fmla="*/ 86 w 249"/>
                <a:gd name="T33" fmla="*/ 34 h 234"/>
                <a:gd name="T34" fmla="*/ 68 w 249"/>
                <a:gd name="T35" fmla="*/ 58 h 234"/>
                <a:gd name="T36" fmla="*/ 40 w 249"/>
                <a:gd name="T37" fmla="*/ 70 h 234"/>
                <a:gd name="T38" fmla="*/ 30 w 249"/>
                <a:gd name="T39" fmla="*/ 84 h 234"/>
                <a:gd name="T40" fmla="*/ 23 w 249"/>
                <a:gd name="T41" fmla="*/ 85 h 234"/>
                <a:gd name="T42" fmla="*/ 10 w 249"/>
                <a:gd name="T43" fmla="*/ 87 h 234"/>
                <a:gd name="T44" fmla="*/ 7 w 249"/>
                <a:gd name="T45" fmla="*/ 83 h 234"/>
                <a:gd name="T46" fmla="*/ 0 w 249"/>
                <a:gd name="T47" fmla="*/ 183 h 234"/>
                <a:gd name="T48" fmla="*/ 5 w 249"/>
                <a:gd name="T49" fmla="*/ 202 h 234"/>
                <a:gd name="T50" fmla="*/ 24 w 249"/>
                <a:gd name="T51" fmla="*/ 234 h 234"/>
                <a:gd name="T52" fmla="*/ 34 w 249"/>
                <a:gd name="T53" fmla="*/ 233 h 234"/>
                <a:gd name="T54" fmla="*/ 48 w 249"/>
                <a:gd name="T55" fmla="*/ 232 h 234"/>
                <a:gd name="T56" fmla="*/ 56 w 249"/>
                <a:gd name="T57" fmla="*/ 234 h 234"/>
                <a:gd name="T58" fmla="*/ 76 w 249"/>
                <a:gd name="T59" fmla="*/ 228 h 234"/>
                <a:gd name="T60" fmla="*/ 102 w 249"/>
                <a:gd name="T61" fmla="*/ 224 h 234"/>
                <a:gd name="T62" fmla="*/ 106 w 249"/>
                <a:gd name="T63" fmla="*/ 216 h 234"/>
                <a:gd name="T64" fmla="*/ 108 w 249"/>
                <a:gd name="T65" fmla="*/ 198 h 234"/>
                <a:gd name="T66" fmla="*/ 118 w 249"/>
                <a:gd name="T67" fmla="*/ 188 h 234"/>
                <a:gd name="T68" fmla="*/ 125 w 249"/>
                <a:gd name="T69" fmla="*/ 185 h 234"/>
                <a:gd name="T70" fmla="*/ 131 w 249"/>
                <a:gd name="T71" fmla="*/ 187 h 234"/>
                <a:gd name="T72" fmla="*/ 139 w 249"/>
                <a:gd name="T73" fmla="*/ 185 h 234"/>
                <a:gd name="T74" fmla="*/ 148 w 249"/>
                <a:gd name="T75" fmla="*/ 175 h 234"/>
                <a:gd name="T76" fmla="*/ 156 w 249"/>
                <a:gd name="T77" fmla="*/ 172 h 234"/>
                <a:gd name="T78" fmla="*/ 165 w 249"/>
                <a:gd name="T79" fmla="*/ 173 h 234"/>
                <a:gd name="T80" fmla="*/ 170 w 249"/>
                <a:gd name="T81" fmla="*/ 176 h 234"/>
                <a:gd name="T82" fmla="*/ 176 w 249"/>
                <a:gd name="T83" fmla="*/ 162 h 234"/>
                <a:gd name="T84" fmla="*/ 180 w 249"/>
                <a:gd name="T85" fmla="*/ 152 h 234"/>
                <a:gd name="T86" fmla="*/ 184 w 249"/>
                <a:gd name="T87" fmla="*/ 140 h 234"/>
                <a:gd name="T88" fmla="*/ 193 w 249"/>
                <a:gd name="T89" fmla="*/ 138 h 234"/>
                <a:gd name="T90" fmla="*/ 195 w 249"/>
                <a:gd name="T91" fmla="*/ 126 h 234"/>
                <a:gd name="T92" fmla="*/ 192 w 249"/>
                <a:gd name="T93" fmla="*/ 115 h 234"/>
                <a:gd name="T94" fmla="*/ 207 w 249"/>
                <a:gd name="T95" fmla="*/ 115 h 234"/>
                <a:gd name="T96" fmla="*/ 219 w 249"/>
                <a:gd name="T97" fmla="*/ 112 h 234"/>
                <a:gd name="T98" fmla="*/ 217 w 249"/>
                <a:gd name="T99" fmla="*/ 107 h 234"/>
                <a:gd name="T100" fmla="*/ 228 w 249"/>
                <a:gd name="T101" fmla="*/ 90 h 234"/>
                <a:gd name="T102" fmla="*/ 231 w 249"/>
                <a:gd name="T103" fmla="*/ 83 h 234"/>
                <a:gd name="T104" fmla="*/ 229 w 249"/>
                <a:gd name="T105" fmla="*/ 75 h 234"/>
                <a:gd name="T106" fmla="*/ 223 w 249"/>
                <a:gd name="T107" fmla="*/ 66 h 234"/>
                <a:gd name="T108" fmla="*/ 233 w 249"/>
                <a:gd name="T109" fmla="*/ 49 h 234"/>
                <a:gd name="T110" fmla="*/ 238 w 249"/>
                <a:gd name="T111" fmla="*/ 49 h 234"/>
                <a:gd name="T112" fmla="*/ 249 w 249"/>
                <a:gd name="T113" fmla="*/ 43 h 234"/>
                <a:gd name="T114" fmla="*/ 233 w 249"/>
                <a:gd name="T115" fmla="*/ 47 h 234"/>
                <a:gd name="T116" fmla="*/ 227 w 249"/>
                <a:gd name="T117" fmla="*/ 33 h 234"/>
                <a:gd name="T118" fmla="*/ 227 w 249"/>
                <a:gd name="T119" fmla="*/ 13 h 234"/>
                <a:gd name="T120" fmla="*/ 224 w 249"/>
                <a:gd name="T121" fmla="*/ 6 h 234"/>
                <a:gd name="T122" fmla="*/ 221 w 249"/>
                <a:gd name="T123" fmla="*/ 3 h 2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9" h="234">
                  <a:moveTo>
                    <a:pt x="219" y="0"/>
                  </a:moveTo>
                  <a:cubicBezTo>
                    <a:pt x="218" y="0"/>
                    <a:pt x="218" y="0"/>
                    <a:pt x="218" y="0"/>
                  </a:cubicBezTo>
                  <a:cubicBezTo>
                    <a:pt x="217" y="0"/>
                    <a:pt x="216" y="0"/>
                    <a:pt x="215" y="1"/>
                  </a:cubicBezTo>
                  <a:cubicBezTo>
                    <a:pt x="213" y="2"/>
                    <a:pt x="212" y="4"/>
                    <a:pt x="210" y="6"/>
                  </a:cubicBezTo>
                  <a:cubicBezTo>
                    <a:pt x="209" y="7"/>
                    <a:pt x="208" y="9"/>
                    <a:pt x="207" y="10"/>
                  </a:cubicBezTo>
                  <a:cubicBezTo>
                    <a:pt x="206" y="11"/>
                    <a:pt x="206" y="11"/>
                    <a:pt x="206" y="11"/>
                  </a:cubicBezTo>
                  <a:cubicBezTo>
                    <a:pt x="205" y="12"/>
                    <a:pt x="204" y="12"/>
                    <a:pt x="203" y="13"/>
                  </a:cubicBezTo>
                  <a:cubicBezTo>
                    <a:pt x="203" y="13"/>
                    <a:pt x="203" y="13"/>
                    <a:pt x="203" y="13"/>
                  </a:cubicBezTo>
                  <a:cubicBezTo>
                    <a:pt x="203" y="14"/>
                    <a:pt x="203" y="14"/>
                    <a:pt x="203" y="14"/>
                  </a:cubicBezTo>
                  <a:cubicBezTo>
                    <a:pt x="204" y="14"/>
                    <a:pt x="205" y="15"/>
                    <a:pt x="205" y="17"/>
                  </a:cubicBezTo>
                  <a:cubicBezTo>
                    <a:pt x="205" y="17"/>
                    <a:pt x="205" y="18"/>
                    <a:pt x="205" y="19"/>
                  </a:cubicBezTo>
                  <a:cubicBezTo>
                    <a:pt x="205" y="20"/>
                    <a:pt x="205" y="21"/>
                    <a:pt x="204" y="22"/>
                  </a:cubicBezTo>
                  <a:cubicBezTo>
                    <a:pt x="204" y="23"/>
                    <a:pt x="203" y="24"/>
                    <a:pt x="202" y="24"/>
                  </a:cubicBezTo>
                  <a:cubicBezTo>
                    <a:pt x="201" y="24"/>
                    <a:pt x="201" y="24"/>
                    <a:pt x="201" y="24"/>
                  </a:cubicBezTo>
                  <a:cubicBezTo>
                    <a:pt x="202" y="30"/>
                    <a:pt x="202" y="30"/>
                    <a:pt x="202" y="30"/>
                  </a:cubicBezTo>
                  <a:cubicBezTo>
                    <a:pt x="200" y="25"/>
                    <a:pt x="200" y="25"/>
                    <a:pt x="200" y="25"/>
                  </a:cubicBezTo>
                  <a:cubicBezTo>
                    <a:pt x="200" y="25"/>
                    <a:pt x="200" y="25"/>
                    <a:pt x="200" y="25"/>
                  </a:cubicBezTo>
                  <a:cubicBezTo>
                    <a:pt x="199" y="25"/>
                    <a:pt x="199" y="25"/>
                    <a:pt x="198" y="25"/>
                  </a:cubicBezTo>
                  <a:cubicBezTo>
                    <a:pt x="198" y="25"/>
                    <a:pt x="198" y="25"/>
                    <a:pt x="198" y="25"/>
                  </a:cubicBezTo>
                  <a:cubicBezTo>
                    <a:pt x="196" y="25"/>
                    <a:pt x="195" y="25"/>
                    <a:pt x="194" y="25"/>
                  </a:cubicBezTo>
                  <a:cubicBezTo>
                    <a:pt x="193" y="24"/>
                    <a:pt x="192" y="24"/>
                    <a:pt x="192" y="24"/>
                  </a:cubicBezTo>
                  <a:cubicBezTo>
                    <a:pt x="191" y="24"/>
                    <a:pt x="188" y="24"/>
                    <a:pt x="187" y="24"/>
                  </a:cubicBezTo>
                  <a:cubicBezTo>
                    <a:pt x="187" y="24"/>
                    <a:pt x="187" y="24"/>
                    <a:pt x="187" y="24"/>
                  </a:cubicBezTo>
                  <a:cubicBezTo>
                    <a:pt x="187" y="25"/>
                    <a:pt x="186" y="25"/>
                    <a:pt x="186" y="27"/>
                  </a:cubicBezTo>
                  <a:cubicBezTo>
                    <a:pt x="185" y="29"/>
                    <a:pt x="185" y="29"/>
                    <a:pt x="185" y="29"/>
                  </a:cubicBezTo>
                  <a:cubicBezTo>
                    <a:pt x="185" y="29"/>
                    <a:pt x="185" y="30"/>
                    <a:pt x="185" y="30"/>
                  </a:cubicBezTo>
                  <a:cubicBezTo>
                    <a:pt x="185" y="31"/>
                    <a:pt x="185" y="32"/>
                    <a:pt x="185" y="32"/>
                  </a:cubicBezTo>
                  <a:cubicBezTo>
                    <a:pt x="185" y="33"/>
                    <a:pt x="184" y="34"/>
                    <a:pt x="184" y="34"/>
                  </a:cubicBezTo>
                  <a:cubicBezTo>
                    <a:pt x="188" y="38"/>
                    <a:pt x="188" y="38"/>
                    <a:pt x="188" y="38"/>
                  </a:cubicBezTo>
                  <a:cubicBezTo>
                    <a:pt x="183" y="35"/>
                    <a:pt x="183" y="35"/>
                    <a:pt x="183" y="35"/>
                  </a:cubicBezTo>
                  <a:cubicBezTo>
                    <a:pt x="182" y="36"/>
                    <a:pt x="182" y="36"/>
                    <a:pt x="181" y="37"/>
                  </a:cubicBezTo>
                  <a:cubicBezTo>
                    <a:pt x="180" y="37"/>
                    <a:pt x="180" y="37"/>
                    <a:pt x="179" y="37"/>
                  </a:cubicBezTo>
                  <a:cubicBezTo>
                    <a:pt x="179" y="37"/>
                    <a:pt x="178" y="37"/>
                    <a:pt x="177" y="37"/>
                  </a:cubicBezTo>
                  <a:cubicBezTo>
                    <a:pt x="176" y="36"/>
                    <a:pt x="175" y="35"/>
                    <a:pt x="174" y="34"/>
                  </a:cubicBezTo>
                  <a:cubicBezTo>
                    <a:pt x="171" y="32"/>
                    <a:pt x="171" y="32"/>
                    <a:pt x="171" y="32"/>
                  </a:cubicBezTo>
                  <a:cubicBezTo>
                    <a:pt x="171" y="31"/>
                    <a:pt x="171" y="31"/>
                    <a:pt x="171" y="31"/>
                  </a:cubicBezTo>
                  <a:cubicBezTo>
                    <a:pt x="171" y="31"/>
                    <a:pt x="170" y="31"/>
                    <a:pt x="170" y="32"/>
                  </a:cubicBezTo>
                  <a:cubicBezTo>
                    <a:pt x="169" y="32"/>
                    <a:pt x="169" y="32"/>
                    <a:pt x="169" y="32"/>
                  </a:cubicBezTo>
                  <a:cubicBezTo>
                    <a:pt x="168" y="32"/>
                    <a:pt x="168" y="32"/>
                    <a:pt x="168" y="32"/>
                  </a:cubicBezTo>
                  <a:cubicBezTo>
                    <a:pt x="168" y="33"/>
                    <a:pt x="167" y="33"/>
                    <a:pt x="167" y="33"/>
                  </a:cubicBezTo>
                  <a:cubicBezTo>
                    <a:pt x="164" y="34"/>
                    <a:pt x="162" y="35"/>
                    <a:pt x="160" y="36"/>
                  </a:cubicBezTo>
                  <a:cubicBezTo>
                    <a:pt x="160" y="36"/>
                    <a:pt x="160" y="36"/>
                    <a:pt x="160" y="36"/>
                  </a:cubicBezTo>
                  <a:cubicBezTo>
                    <a:pt x="159" y="36"/>
                    <a:pt x="159" y="36"/>
                    <a:pt x="158" y="37"/>
                  </a:cubicBezTo>
                  <a:cubicBezTo>
                    <a:pt x="156" y="38"/>
                    <a:pt x="155" y="38"/>
                    <a:pt x="155" y="39"/>
                  </a:cubicBezTo>
                  <a:cubicBezTo>
                    <a:pt x="154" y="39"/>
                    <a:pt x="154" y="39"/>
                    <a:pt x="154" y="39"/>
                  </a:cubicBezTo>
                  <a:cubicBezTo>
                    <a:pt x="155" y="40"/>
                    <a:pt x="155" y="40"/>
                    <a:pt x="155" y="40"/>
                  </a:cubicBezTo>
                  <a:cubicBezTo>
                    <a:pt x="154" y="39"/>
                    <a:pt x="154" y="39"/>
                    <a:pt x="154" y="39"/>
                  </a:cubicBezTo>
                  <a:cubicBezTo>
                    <a:pt x="153" y="41"/>
                    <a:pt x="151" y="41"/>
                    <a:pt x="150" y="41"/>
                  </a:cubicBezTo>
                  <a:cubicBezTo>
                    <a:pt x="149" y="41"/>
                    <a:pt x="149" y="41"/>
                    <a:pt x="149" y="41"/>
                  </a:cubicBezTo>
                  <a:cubicBezTo>
                    <a:pt x="148" y="41"/>
                    <a:pt x="147" y="40"/>
                    <a:pt x="146" y="40"/>
                  </a:cubicBezTo>
                  <a:cubicBezTo>
                    <a:pt x="143" y="37"/>
                    <a:pt x="143" y="37"/>
                    <a:pt x="143" y="37"/>
                  </a:cubicBezTo>
                  <a:cubicBezTo>
                    <a:pt x="142" y="37"/>
                    <a:pt x="142" y="36"/>
                    <a:pt x="141" y="35"/>
                  </a:cubicBezTo>
                  <a:cubicBezTo>
                    <a:pt x="141" y="35"/>
                    <a:pt x="141" y="35"/>
                    <a:pt x="141" y="35"/>
                  </a:cubicBezTo>
                  <a:cubicBezTo>
                    <a:pt x="141" y="35"/>
                    <a:pt x="141" y="35"/>
                    <a:pt x="141" y="35"/>
                  </a:cubicBezTo>
                  <a:cubicBezTo>
                    <a:pt x="141" y="35"/>
                    <a:pt x="141" y="35"/>
                    <a:pt x="141" y="35"/>
                  </a:cubicBezTo>
                  <a:cubicBezTo>
                    <a:pt x="140" y="35"/>
                    <a:pt x="139" y="35"/>
                    <a:pt x="139" y="35"/>
                  </a:cubicBezTo>
                  <a:cubicBezTo>
                    <a:pt x="138" y="35"/>
                    <a:pt x="137" y="35"/>
                    <a:pt x="136" y="35"/>
                  </a:cubicBezTo>
                  <a:cubicBezTo>
                    <a:pt x="136" y="35"/>
                    <a:pt x="136" y="35"/>
                    <a:pt x="136" y="35"/>
                  </a:cubicBezTo>
                  <a:cubicBezTo>
                    <a:pt x="135" y="35"/>
                    <a:pt x="134" y="35"/>
                    <a:pt x="133" y="35"/>
                  </a:cubicBezTo>
                  <a:cubicBezTo>
                    <a:pt x="132" y="35"/>
                    <a:pt x="132" y="35"/>
                    <a:pt x="132" y="35"/>
                  </a:cubicBezTo>
                  <a:cubicBezTo>
                    <a:pt x="130" y="35"/>
                    <a:pt x="129" y="34"/>
                    <a:pt x="128" y="33"/>
                  </a:cubicBezTo>
                  <a:cubicBezTo>
                    <a:pt x="128" y="32"/>
                    <a:pt x="127" y="32"/>
                    <a:pt x="127" y="31"/>
                  </a:cubicBezTo>
                  <a:cubicBezTo>
                    <a:pt x="126" y="31"/>
                    <a:pt x="125" y="30"/>
                    <a:pt x="124" y="30"/>
                  </a:cubicBezTo>
                  <a:cubicBezTo>
                    <a:pt x="124" y="30"/>
                    <a:pt x="123" y="30"/>
                    <a:pt x="122" y="30"/>
                  </a:cubicBezTo>
                  <a:cubicBezTo>
                    <a:pt x="117" y="30"/>
                    <a:pt x="117" y="30"/>
                    <a:pt x="117" y="30"/>
                  </a:cubicBezTo>
                  <a:cubicBezTo>
                    <a:pt x="117" y="31"/>
                    <a:pt x="117" y="31"/>
                    <a:pt x="117" y="31"/>
                  </a:cubicBezTo>
                  <a:cubicBezTo>
                    <a:pt x="115" y="30"/>
                    <a:pt x="115" y="30"/>
                    <a:pt x="115" y="30"/>
                  </a:cubicBezTo>
                  <a:cubicBezTo>
                    <a:pt x="115" y="30"/>
                    <a:pt x="115" y="30"/>
                    <a:pt x="115" y="30"/>
                  </a:cubicBezTo>
                  <a:cubicBezTo>
                    <a:pt x="114" y="30"/>
                    <a:pt x="114" y="30"/>
                    <a:pt x="114" y="30"/>
                  </a:cubicBezTo>
                  <a:cubicBezTo>
                    <a:pt x="113" y="31"/>
                    <a:pt x="113" y="31"/>
                    <a:pt x="113" y="31"/>
                  </a:cubicBezTo>
                  <a:cubicBezTo>
                    <a:pt x="113" y="31"/>
                    <a:pt x="113" y="31"/>
                    <a:pt x="113" y="31"/>
                  </a:cubicBezTo>
                  <a:cubicBezTo>
                    <a:pt x="113" y="31"/>
                    <a:pt x="113" y="31"/>
                    <a:pt x="113" y="31"/>
                  </a:cubicBezTo>
                  <a:cubicBezTo>
                    <a:pt x="111" y="30"/>
                    <a:pt x="111" y="30"/>
                    <a:pt x="110" y="30"/>
                  </a:cubicBezTo>
                  <a:cubicBezTo>
                    <a:pt x="110" y="30"/>
                    <a:pt x="109" y="30"/>
                    <a:pt x="109" y="30"/>
                  </a:cubicBezTo>
                  <a:cubicBezTo>
                    <a:pt x="108" y="30"/>
                    <a:pt x="107" y="30"/>
                    <a:pt x="106" y="30"/>
                  </a:cubicBezTo>
                  <a:cubicBezTo>
                    <a:pt x="105" y="29"/>
                    <a:pt x="105" y="29"/>
                    <a:pt x="105" y="29"/>
                  </a:cubicBezTo>
                  <a:cubicBezTo>
                    <a:pt x="105" y="29"/>
                    <a:pt x="104" y="29"/>
                    <a:pt x="103" y="28"/>
                  </a:cubicBezTo>
                  <a:cubicBezTo>
                    <a:pt x="101" y="28"/>
                    <a:pt x="101" y="28"/>
                    <a:pt x="101" y="28"/>
                  </a:cubicBezTo>
                  <a:cubicBezTo>
                    <a:pt x="100" y="27"/>
                    <a:pt x="100" y="27"/>
                    <a:pt x="99" y="27"/>
                  </a:cubicBezTo>
                  <a:cubicBezTo>
                    <a:pt x="98" y="26"/>
                    <a:pt x="98" y="26"/>
                    <a:pt x="98" y="26"/>
                  </a:cubicBezTo>
                  <a:cubicBezTo>
                    <a:pt x="97" y="26"/>
                    <a:pt x="97" y="26"/>
                    <a:pt x="97" y="26"/>
                  </a:cubicBezTo>
                  <a:cubicBezTo>
                    <a:pt x="95" y="29"/>
                    <a:pt x="94" y="32"/>
                    <a:pt x="91" y="33"/>
                  </a:cubicBezTo>
                  <a:cubicBezTo>
                    <a:pt x="90" y="33"/>
                    <a:pt x="89" y="34"/>
                    <a:pt x="88" y="34"/>
                  </a:cubicBezTo>
                  <a:cubicBezTo>
                    <a:pt x="87" y="34"/>
                    <a:pt x="87" y="34"/>
                    <a:pt x="86" y="34"/>
                  </a:cubicBezTo>
                  <a:cubicBezTo>
                    <a:pt x="86" y="34"/>
                    <a:pt x="86" y="34"/>
                    <a:pt x="86" y="34"/>
                  </a:cubicBezTo>
                  <a:cubicBezTo>
                    <a:pt x="72" y="47"/>
                    <a:pt x="72" y="47"/>
                    <a:pt x="72" y="47"/>
                  </a:cubicBezTo>
                  <a:cubicBezTo>
                    <a:pt x="72" y="47"/>
                    <a:pt x="72" y="47"/>
                    <a:pt x="72" y="47"/>
                  </a:cubicBezTo>
                  <a:cubicBezTo>
                    <a:pt x="72" y="48"/>
                    <a:pt x="72" y="48"/>
                    <a:pt x="72" y="49"/>
                  </a:cubicBezTo>
                  <a:cubicBezTo>
                    <a:pt x="72" y="52"/>
                    <a:pt x="72" y="55"/>
                    <a:pt x="69" y="57"/>
                  </a:cubicBezTo>
                  <a:cubicBezTo>
                    <a:pt x="68" y="58"/>
                    <a:pt x="68" y="58"/>
                    <a:pt x="68" y="58"/>
                  </a:cubicBezTo>
                  <a:cubicBezTo>
                    <a:pt x="66" y="60"/>
                    <a:pt x="63" y="62"/>
                    <a:pt x="60" y="63"/>
                  </a:cubicBezTo>
                  <a:cubicBezTo>
                    <a:pt x="58" y="64"/>
                    <a:pt x="56" y="65"/>
                    <a:pt x="53" y="66"/>
                  </a:cubicBezTo>
                  <a:cubicBezTo>
                    <a:pt x="50" y="67"/>
                    <a:pt x="50" y="67"/>
                    <a:pt x="50" y="67"/>
                  </a:cubicBezTo>
                  <a:cubicBezTo>
                    <a:pt x="49" y="68"/>
                    <a:pt x="47" y="68"/>
                    <a:pt x="45" y="69"/>
                  </a:cubicBezTo>
                  <a:cubicBezTo>
                    <a:pt x="43" y="70"/>
                    <a:pt x="42" y="70"/>
                    <a:pt x="40" y="70"/>
                  </a:cubicBezTo>
                  <a:cubicBezTo>
                    <a:pt x="39" y="71"/>
                    <a:pt x="39" y="71"/>
                    <a:pt x="39" y="71"/>
                  </a:cubicBezTo>
                  <a:cubicBezTo>
                    <a:pt x="39" y="71"/>
                    <a:pt x="39" y="71"/>
                    <a:pt x="39" y="71"/>
                  </a:cubicBezTo>
                  <a:cubicBezTo>
                    <a:pt x="40" y="73"/>
                    <a:pt x="38" y="76"/>
                    <a:pt x="37" y="77"/>
                  </a:cubicBezTo>
                  <a:cubicBezTo>
                    <a:pt x="36" y="78"/>
                    <a:pt x="36" y="78"/>
                    <a:pt x="36" y="78"/>
                  </a:cubicBezTo>
                  <a:cubicBezTo>
                    <a:pt x="35" y="80"/>
                    <a:pt x="33" y="82"/>
                    <a:pt x="30" y="84"/>
                  </a:cubicBezTo>
                  <a:cubicBezTo>
                    <a:pt x="30" y="84"/>
                    <a:pt x="30" y="84"/>
                    <a:pt x="30" y="84"/>
                  </a:cubicBezTo>
                  <a:cubicBezTo>
                    <a:pt x="30" y="84"/>
                    <a:pt x="30" y="84"/>
                    <a:pt x="30" y="84"/>
                  </a:cubicBezTo>
                  <a:cubicBezTo>
                    <a:pt x="29" y="85"/>
                    <a:pt x="28" y="85"/>
                    <a:pt x="28" y="85"/>
                  </a:cubicBezTo>
                  <a:cubicBezTo>
                    <a:pt x="27" y="85"/>
                    <a:pt x="26" y="85"/>
                    <a:pt x="25" y="85"/>
                  </a:cubicBezTo>
                  <a:cubicBezTo>
                    <a:pt x="23" y="85"/>
                    <a:pt x="23" y="85"/>
                    <a:pt x="23" y="85"/>
                  </a:cubicBezTo>
                  <a:cubicBezTo>
                    <a:pt x="22" y="86"/>
                    <a:pt x="20" y="86"/>
                    <a:pt x="19" y="87"/>
                  </a:cubicBezTo>
                  <a:cubicBezTo>
                    <a:pt x="19" y="87"/>
                    <a:pt x="19" y="87"/>
                    <a:pt x="19" y="87"/>
                  </a:cubicBezTo>
                  <a:cubicBezTo>
                    <a:pt x="18" y="88"/>
                    <a:pt x="17" y="89"/>
                    <a:pt x="16" y="89"/>
                  </a:cubicBezTo>
                  <a:cubicBezTo>
                    <a:pt x="15" y="89"/>
                    <a:pt x="15" y="89"/>
                    <a:pt x="15" y="89"/>
                  </a:cubicBezTo>
                  <a:cubicBezTo>
                    <a:pt x="14" y="89"/>
                    <a:pt x="13" y="89"/>
                    <a:pt x="10" y="87"/>
                  </a:cubicBezTo>
                  <a:cubicBezTo>
                    <a:pt x="10" y="86"/>
                    <a:pt x="10" y="86"/>
                    <a:pt x="9" y="85"/>
                  </a:cubicBezTo>
                  <a:cubicBezTo>
                    <a:pt x="9" y="85"/>
                    <a:pt x="9" y="84"/>
                    <a:pt x="8" y="84"/>
                  </a:cubicBezTo>
                  <a:cubicBezTo>
                    <a:pt x="8" y="83"/>
                    <a:pt x="8" y="83"/>
                    <a:pt x="8" y="83"/>
                  </a:cubicBezTo>
                  <a:cubicBezTo>
                    <a:pt x="7" y="83"/>
                    <a:pt x="7" y="83"/>
                    <a:pt x="7" y="83"/>
                  </a:cubicBezTo>
                  <a:cubicBezTo>
                    <a:pt x="7" y="83"/>
                    <a:pt x="7" y="83"/>
                    <a:pt x="7" y="83"/>
                  </a:cubicBezTo>
                  <a:cubicBezTo>
                    <a:pt x="6" y="82"/>
                    <a:pt x="4" y="81"/>
                    <a:pt x="3" y="81"/>
                  </a:cubicBezTo>
                  <a:cubicBezTo>
                    <a:pt x="3" y="81"/>
                    <a:pt x="3" y="81"/>
                    <a:pt x="3" y="81"/>
                  </a:cubicBezTo>
                  <a:cubicBezTo>
                    <a:pt x="2" y="80"/>
                    <a:pt x="2" y="80"/>
                    <a:pt x="1" y="80"/>
                  </a:cubicBezTo>
                  <a:cubicBezTo>
                    <a:pt x="1" y="80"/>
                    <a:pt x="0" y="80"/>
                    <a:pt x="0" y="80"/>
                  </a:cubicBezTo>
                  <a:cubicBezTo>
                    <a:pt x="0" y="183"/>
                    <a:pt x="0" y="183"/>
                    <a:pt x="0" y="183"/>
                  </a:cubicBezTo>
                  <a:cubicBezTo>
                    <a:pt x="1" y="184"/>
                    <a:pt x="1" y="184"/>
                    <a:pt x="2" y="185"/>
                  </a:cubicBezTo>
                  <a:cubicBezTo>
                    <a:pt x="4" y="188"/>
                    <a:pt x="4" y="188"/>
                    <a:pt x="4" y="188"/>
                  </a:cubicBezTo>
                  <a:cubicBezTo>
                    <a:pt x="4" y="189"/>
                    <a:pt x="5" y="189"/>
                    <a:pt x="5" y="190"/>
                  </a:cubicBezTo>
                  <a:cubicBezTo>
                    <a:pt x="6" y="191"/>
                    <a:pt x="6" y="192"/>
                    <a:pt x="6" y="193"/>
                  </a:cubicBezTo>
                  <a:cubicBezTo>
                    <a:pt x="7" y="196"/>
                    <a:pt x="6" y="199"/>
                    <a:pt x="5" y="202"/>
                  </a:cubicBezTo>
                  <a:cubicBezTo>
                    <a:pt x="3" y="204"/>
                    <a:pt x="1" y="206"/>
                    <a:pt x="0" y="208"/>
                  </a:cubicBezTo>
                  <a:cubicBezTo>
                    <a:pt x="0" y="227"/>
                    <a:pt x="0" y="227"/>
                    <a:pt x="0" y="227"/>
                  </a:cubicBezTo>
                  <a:cubicBezTo>
                    <a:pt x="23" y="234"/>
                    <a:pt x="23" y="234"/>
                    <a:pt x="23" y="234"/>
                  </a:cubicBezTo>
                  <a:cubicBezTo>
                    <a:pt x="23" y="234"/>
                    <a:pt x="23" y="234"/>
                    <a:pt x="24" y="234"/>
                  </a:cubicBezTo>
                  <a:cubicBezTo>
                    <a:pt x="24" y="234"/>
                    <a:pt x="24" y="234"/>
                    <a:pt x="24" y="234"/>
                  </a:cubicBezTo>
                  <a:cubicBezTo>
                    <a:pt x="25" y="234"/>
                    <a:pt x="26" y="234"/>
                    <a:pt x="26" y="233"/>
                  </a:cubicBezTo>
                  <a:cubicBezTo>
                    <a:pt x="27" y="233"/>
                    <a:pt x="27" y="233"/>
                    <a:pt x="27" y="233"/>
                  </a:cubicBezTo>
                  <a:cubicBezTo>
                    <a:pt x="28" y="233"/>
                    <a:pt x="29" y="233"/>
                    <a:pt x="30" y="233"/>
                  </a:cubicBezTo>
                  <a:cubicBezTo>
                    <a:pt x="34" y="233"/>
                    <a:pt x="34" y="233"/>
                    <a:pt x="34" y="233"/>
                  </a:cubicBezTo>
                  <a:cubicBezTo>
                    <a:pt x="34" y="233"/>
                    <a:pt x="34" y="233"/>
                    <a:pt x="34" y="233"/>
                  </a:cubicBezTo>
                  <a:cubicBezTo>
                    <a:pt x="44" y="232"/>
                    <a:pt x="44" y="232"/>
                    <a:pt x="44" y="232"/>
                  </a:cubicBezTo>
                  <a:cubicBezTo>
                    <a:pt x="45" y="232"/>
                    <a:pt x="45" y="232"/>
                    <a:pt x="45" y="232"/>
                  </a:cubicBezTo>
                  <a:cubicBezTo>
                    <a:pt x="46" y="232"/>
                    <a:pt x="47" y="232"/>
                    <a:pt x="47" y="232"/>
                  </a:cubicBezTo>
                  <a:cubicBezTo>
                    <a:pt x="48" y="232"/>
                    <a:pt x="48" y="232"/>
                    <a:pt x="48" y="232"/>
                  </a:cubicBezTo>
                  <a:cubicBezTo>
                    <a:pt x="48" y="232"/>
                    <a:pt x="48" y="232"/>
                    <a:pt x="48" y="232"/>
                  </a:cubicBezTo>
                  <a:cubicBezTo>
                    <a:pt x="49" y="232"/>
                    <a:pt x="49" y="232"/>
                    <a:pt x="49" y="232"/>
                  </a:cubicBezTo>
                  <a:cubicBezTo>
                    <a:pt x="50" y="233"/>
                    <a:pt x="51" y="233"/>
                    <a:pt x="52" y="233"/>
                  </a:cubicBezTo>
                  <a:cubicBezTo>
                    <a:pt x="52" y="233"/>
                    <a:pt x="53" y="233"/>
                    <a:pt x="53" y="233"/>
                  </a:cubicBezTo>
                  <a:cubicBezTo>
                    <a:pt x="54" y="233"/>
                    <a:pt x="54" y="233"/>
                    <a:pt x="54" y="233"/>
                  </a:cubicBezTo>
                  <a:cubicBezTo>
                    <a:pt x="55" y="234"/>
                    <a:pt x="55" y="234"/>
                    <a:pt x="56" y="234"/>
                  </a:cubicBezTo>
                  <a:cubicBezTo>
                    <a:pt x="56" y="234"/>
                    <a:pt x="56" y="234"/>
                    <a:pt x="56" y="234"/>
                  </a:cubicBezTo>
                  <a:cubicBezTo>
                    <a:pt x="58" y="234"/>
                    <a:pt x="59" y="233"/>
                    <a:pt x="61" y="232"/>
                  </a:cubicBezTo>
                  <a:cubicBezTo>
                    <a:pt x="62" y="232"/>
                    <a:pt x="62" y="231"/>
                    <a:pt x="63" y="231"/>
                  </a:cubicBezTo>
                  <a:cubicBezTo>
                    <a:pt x="64" y="230"/>
                    <a:pt x="65" y="230"/>
                    <a:pt x="66" y="230"/>
                  </a:cubicBezTo>
                  <a:cubicBezTo>
                    <a:pt x="69" y="229"/>
                    <a:pt x="73" y="228"/>
                    <a:pt x="76" y="228"/>
                  </a:cubicBezTo>
                  <a:cubicBezTo>
                    <a:pt x="78" y="228"/>
                    <a:pt x="81" y="228"/>
                    <a:pt x="83" y="228"/>
                  </a:cubicBezTo>
                  <a:cubicBezTo>
                    <a:pt x="88" y="227"/>
                    <a:pt x="88" y="227"/>
                    <a:pt x="88" y="227"/>
                  </a:cubicBezTo>
                  <a:cubicBezTo>
                    <a:pt x="88" y="227"/>
                    <a:pt x="89" y="227"/>
                    <a:pt x="89" y="227"/>
                  </a:cubicBezTo>
                  <a:cubicBezTo>
                    <a:pt x="91" y="227"/>
                    <a:pt x="94" y="226"/>
                    <a:pt x="96" y="226"/>
                  </a:cubicBezTo>
                  <a:cubicBezTo>
                    <a:pt x="98" y="225"/>
                    <a:pt x="100" y="225"/>
                    <a:pt x="102" y="224"/>
                  </a:cubicBezTo>
                  <a:cubicBezTo>
                    <a:pt x="105" y="223"/>
                    <a:pt x="105" y="223"/>
                    <a:pt x="105" y="223"/>
                  </a:cubicBezTo>
                  <a:cubicBezTo>
                    <a:pt x="105" y="223"/>
                    <a:pt x="106" y="223"/>
                    <a:pt x="106" y="223"/>
                  </a:cubicBezTo>
                  <a:cubicBezTo>
                    <a:pt x="106" y="222"/>
                    <a:pt x="106" y="222"/>
                    <a:pt x="106" y="222"/>
                  </a:cubicBezTo>
                  <a:cubicBezTo>
                    <a:pt x="105" y="220"/>
                    <a:pt x="105" y="218"/>
                    <a:pt x="105" y="217"/>
                  </a:cubicBezTo>
                  <a:cubicBezTo>
                    <a:pt x="106" y="216"/>
                    <a:pt x="106" y="216"/>
                    <a:pt x="106" y="216"/>
                  </a:cubicBezTo>
                  <a:cubicBezTo>
                    <a:pt x="106" y="215"/>
                    <a:pt x="106" y="214"/>
                    <a:pt x="106" y="213"/>
                  </a:cubicBezTo>
                  <a:cubicBezTo>
                    <a:pt x="106" y="212"/>
                    <a:pt x="106" y="211"/>
                    <a:pt x="106" y="211"/>
                  </a:cubicBezTo>
                  <a:cubicBezTo>
                    <a:pt x="106" y="207"/>
                    <a:pt x="107" y="205"/>
                    <a:pt x="108" y="202"/>
                  </a:cubicBezTo>
                  <a:cubicBezTo>
                    <a:pt x="108" y="199"/>
                    <a:pt x="108" y="199"/>
                    <a:pt x="108" y="199"/>
                  </a:cubicBezTo>
                  <a:cubicBezTo>
                    <a:pt x="108" y="198"/>
                    <a:pt x="108" y="198"/>
                    <a:pt x="108" y="198"/>
                  </a:cubicBezTo>
                  <a:cubicBezTo>
                    <a:pt x="109" y="196"/>
                    <a:pt x="110" y="195"/>
                    <a:pt x="110" y="195"/>
                  </a:cubicBezTo>
                  <a:cubicBezTo>
                    <a:pt x="111" y="194"/>
                    <a:pt x="111" y="194"/>
                    <a:pt x="111" y="194"/>
                  </a:cubicBezTo>
                  <a:cubicBezTo>
                    <a:pt x="112" y="194"/>
                    <a:pt x="113" y="192"/>
                    <a:pt x="115" y="191"/>
                  </a:cubicBezTo>
                  <a:cubicBezTo>
                    <a:pt x="116" y="190"/>
                    <a:pt x="117" y="189"/>
                    <a:pt x="118" y="188"/>
                  </a:cubicBezTo>
                  <a:cubicBezTo>
                    <a:pt x="118" y="188"/>
                    <a:pt x="118" y="188"/>
                    <a:pt x="118" y="188"/>
                  </a:cubicBezTo>
                  <a:cubicBezTo>
                    <a:pt x="119" y="188"/>
                    <a:pt x="119" y="187"/>
                    <a:pt x="119" y="187"/>
                  </a:cubicBezTo>
                  <a:cubicBezTo>
                    <a:pt x="116" y="185"/>
                    <a:pt x="116" y="185"/>
                    <a:pt x="116" y="185"/>
                  </a:cubicBezTo>
                  <a:cubicBezTo>
                    <a:pt x="120" y="186"/>
                    <a:pt x="120" y="186"/>
                    <a:pt x="120" y="186"/>
                  </a:cubicBezTo>
                  <a:cubicBezTo>
                    <a:pt x="120" y="186"/>
                    <a:pt x="120" y="186"/>
                    <a:pt x="120" y="186"/>
                  </a:cubicBezTo>
                  <a:cubicBezTo>
                    <a:pt x="122" y="186"/>
                    <a:pt x="123" y="185"/>
                    <a:pt x="125" y="185"/>
                  </a:cubicBezTo>
                  <a:cubicBezTo>
                    <a:pt x="125" y="185"/>
                    <a:pt x="125" y="185"/>
                    <a:pt x="126" y="185"/>
                  </a:cubicBezTo>
                  <a:cubicBezTo>
                    <a:pt x="126" y="185"/>
                    <a:pt x="126" y="185"/>
                    <a:pt x="127" y="185"/>
                  </a:cubicBezTo>
                  <a:cubicBezTo>
                    <a:pt x="129" y="186"/>
                    <a:pt x="129" y="186"/>
                    <a:pt x="129" y="186"/>
                  </a:cubicBezTo>
                  <a:cubicBezTo>
                    <a:pt x="129" y="186"/>
                    <a:pt x="130" y="186"/>
                    <a:pt x="131" y="186"/>
                  </a:cubicBezTo>
                  <a:cubicBezTo>
                    <a:pt x="131" y="187"/>
                    <a:pt x="131" y="187"/>
                    <a:pt x="131" y="187"/>
                  </a:cubicBezTo>
                  <a:cubicBezTo>
                    <a:pt x="132" y="187"/>
                    <a:pt x="132" y="187"/>
                    <a:pt x="132" y="187"/>
                  </a:cubicBezTo>
                  <a:cubicBezTo>
                    <a:pt x="133" y="187"/>
                    <a:pt x="133" y="187"/>
                    <a:pt x="134" y="187"/>
                  </a:cubicBezTo>
                  <a:cubicBezTo>
                    <a:pt x="134" y="187"/>
                    <a:pt x="134" y="187"/>
                    <a:pt x="134" y="187"/>
                  </a:cubicBezTo>
                  <a:cubicBezTo>
                    <a:pt x="135" y="187"/>
                    <a:pt x="135" y="187"/>
                    <a:pt x="135" y="187"/>
                  </a:cubicBezTo>
                  <a:cubicBezTo>
                    <a:pt x="137" y="186"/>
                    <a:pt x="138" y="186"/>
                    <a:pt x="139" y="185"/>
                  </a:cubicBezTo>
                  <a:cubicBezTo>
                    <a:pt x="132" y="179"/>
                    <a:pt x="132" y="179"/>
                    <a:pt x="132" y="179"/>
                  </a:cubicBezTo>
                  <a:cubicBezTo>
                    <a:pt x="139" y="179"/>
                    <a:pt x="139" y="179"/>
                    <a:pt x="139" y="179"/>
                  </a:cubicBezTo>
                  <a:cubicBezTo>
                    <a:pt x="142" y="179"/>
                    <a:pt x="143" y="178"/>
                    <a:pt x="146" y="176"/>
                  </a:cubicBezTo>
                  <a:cubicBezTo>
                    <a:pt x="147" y="176"/>
                    <a:pt x="147" y="176"/>
                    <a:pt x="147" y="176"/>
                  </a:cubicBezTo>
                  <a:cubicBezTo>
                    <a:pt x="147" y="176"/>
                    <a:pt x="147" y="175"/>
                    <a:pt x="148" y="175"/>
                  </a:cubicBezTo>
                  <a:cubicBezTo>
                    <a:pt x="149" y="175"/>
                    <a:pt x="150" y="174"/>
                    <a:pt x="151" y="174"/>
                  </a:cubicBezTo>
                  <a:cubicBezTo>
                    <a:pt x="151" y="174"/>
                    <a:pt x="152" y="173"/>
                    <a:pt x="152" y="173"/>
                  </a:cubicBezTo>
                  <a:cubicBezTo>
                    <a:pt x="153" y="173"/>
                    <a:pt x="154" y="173"/>
                    <a:pt x="154" y="173"/>
                  </a:cubicBezTo>
                  <a:cubicBezTo>
                    <a:pt x="155" y="173"/>
                    <a:pt x="155" y="172"/>
                    <a:pt x="156" y="172"/>
                  </a:cubicBezTo>
                  <a:cubicBezTo>
                    <a:pt x="156" y="172"/>
                    <a:pt x="156" y="172"/>
                    <a:pt x="156" y="172"/>
                  </a:cubicBezTo>
                  <a:cubicBezTo>
                    <a:pt x="157" y="172"/>
                    <a:pt x="159" y="172"/>
                    <a:pt x="160" y="172"/>
                  </a:cubicBezTo>
                  <a:cubicBezTo>
                    <a:pt x="160" y="172"/>
                    <a:pt x="160" y="172"/>
                    <a:pt x="161" y="172"/>
                  </a:cubicBezTo>
                  <a:cubicBezTo>
                    <a:pt x="161" y="172"/>
                    <a:pt x="162" y="172"/>
                    <a:pt x="162" y="172"/>
                  </a:cubicBezTo>
                  <a:cubicBezTo>
                    <a:pt x="163" y="172"/>
                    <a:pt x="163" y="172"/>
                    <a:pt x="163" y="172"/>
                  </a:cubicBezTo>
                  <a:cubicBezTo>
                    <a:pt x="163" y="172"/>
                    <a:pt x="164" y="172"/>
                    <a:pt x="165" y="173"/>
                  </a:cubicBezTo>
                  <a:cubicBezTo>
                    <a:pt x="165" y="173"/>
                    <a:pt x="165" y="173"/>
                    <a:pt x="165" y="173"/>
                  </a:cubicBezTo>
                  <a:cubicBezTo>
                    <a:pt x="166" y="173"/>
                    <a:pt x="167" y="174"/>
                    <a:pt x="168" y="175"/>
                  </a:cubicBezTo>
                  <a:cubicBezTo>
                    <a:pt x="169" y="175"/>
                    <a:pt x="169" y="175"/>
                    <a:pt x="169" y="175"/>
                  </a:cubicBezTo>
                  <a:cubicBezTo>
                    <a:pt x="169" y="176"/>
                    <a:pt x="170" y="176"/>
                    <a:pt x="170" y="176"/>
                  </a:cubicBezTo>
                  <a:cubicBezTo>
                    <a:pt x="170" y="176"/>
                    <a:pt x="170" y="176"/>
                    <a:pt x="170" y="176"/>
                  </a:cubicBezTo>
                  <a:cubicBezTo>
                    <a:pt x="172" y="175"/>
                    <a:pt x="172" y="175"/>
                    <a:pt x="172" y="175"/>
                  </a:cubicBezTo>
                  <a:cubicBezTo>
                    <a:pt x="173" y="173"/>
                    <a:pt x="175" y="172"/>
                    <a:pt x="177" y="170"/>
                  </a:cubicBezTo>
                  <a:cubicBezTo>
                    <a:pt x="177" y="170"/>
                    <a:pt x="177" y="170"/>
                    <a:pt x="177" y="170"/>
                  </a:cubicBezTo>
                  <a:cubicBezTo>
                    <a:pt x="176" y="162"/>
                    <a:pt x="176" y="162"/>
                    <a:pt x="176" y="162"/>
                  </a:cubicBezTo>
                  <a:cubicBezTo>
                    <a:pt x="176" y="162"/>
                    <a:pt x="176" y="162"/>
                    <a:pt x="176" y="162"/>
                  </a:cubicBezTo>
                  <a:cubicBezTo>
                    <a:pt x="176" y="158"/>
                    <a:pt x="176" y="158"/>
                    <a:pt x="176" y="158"/>
                  </a:cubicBezTo>
                  <a:cubicBezTo>
                    <a:pt x="176" y="157"/>
                    <a:pt x="176" y="156"/>
                    <a:pt x="176" y="155"/>
                  </a:cubicBezTo>
                  <a:cubicBezTo>
                    <a:pt x="177" y="154"/>
                    <a:pt x="177" y="154"/>
                    <a:pt x="177" y="154"/>
                  </a:cubicBezTo>
                  <a:cubicBezTo>
                    <a:pt x="178" y="154"/>
                    <a:pt x="178" y="153"/>
                    <a:pt x="179" y="153"/>
                  </a:cubicBezTo>
                  <a:cubicBezTo>
                    <a:pt x="180" y="152"/>
                    <a:pt x="180" y="152"/>
                    <a:pt x="180" y="152"/>
                  </a:cubicBezTo>
                  <a:cubicBezTo>
                    <a:pt x="180" y="152"/>
                    <a:pt x="180" y="151"/>
                    <a:pt x="180" y="151"/>
                  </a:cubicBezTo>
                  <a:cubicBezTo>
                    <a:pt x="180" y="151"/>
                    <a:pt x="180" y="151"/>
                    <a:pt x="180" y="151"/>
                  </a:cubicBezTo>
                  <a:cubicBezTo>
                    <a:pt x="180" y="150"/>
                    <a:pt x="181" y="149"/>
                    <a:pt x="181" y="148"/>
                  </a:cubicBezTo>
                  <a:cubicBezTo>
                    <a:pt x="181" y="145"/>
                    <a:pt x="182" y="143"/>
                    <a:pt x="183" y="140"/>
                  </a:cubicBezTo>
                  <a:cubicBezTo>
                    <a:pt x="184" y="140"/>
                    <a:pt x="184" y="140"/>
                    <a:pt x="184" y="140"/>
                  </a:cubicBezTo>
                  <a:cubicBezTo>
                    <a:pt x="185" y="139"/>
                    <a:pt x="186" y="139"/>
                    <a:pt x="186" y="139"/>
                  </a:cubicBezTo>
                  <a:cubicBezTo>
                    <a:pt x="187" y="139"/>
                    <a:pt x="187" y="139"/>
                    <a:pt x="187" y="139"/>
                  </a:cubicBezTo>
                  <a:cubicBezTo>
                    <a:pt x="188" y="139"/>
                    <a:pt x="188" y="138"/>
                    <a:pt x="189" y="138"/>
                  </a:cubicBezTo>
                  <a:cubicBezTo>
                    <a:pt x="190" y="138"/>
                    <a:pt x="190" y="138"/>
                    <a:pt x="190" y="138"/>
                  </a:cubicBezTo>
                  <a:cubicBezTo>
                    <a:pt x="191" y="138"/>
                    <a:pt x="192" y="139"/>
                    <a:pt x="193" y="138"/>
                  </a:cubicBezTo>
                  <a:cubicBezTo>
                    <a:pt x="193" y="138"/>
                    <a:pt x="193" y="138"/>
                    <a:pt x="193" y="138"/>
                  </a:cubicBezTo>
                  <a:cubicBezTo>
                    <a:pt x="195" y="138"/>
                    <a:pt x="199" y="135"/>
                    <a:pt x="200" y="134"/>
                  </a:cubicBezTo>
                  <a:cubicBezTo>
                    <a:pt x="200" y="134"/>
                    <a:pt x="200" y="134"/>
                    <a:pt x="200" y="134"/>
                  </a:cubicBezTo>
                  <a:cubicBezTo>
                    <a:pt x="200" y="133"/>
                    <a:pt x="199" y="132"/>
                    <a:pt x="197" y="129"/>
                  </a:cubicBezTo>
                  <a:cubicBezTo>
                    <a:pt x="195" y="126"/>
                    <a:pt x="195" y="126"/>
                    <a:pt x="195" y="126"/>
                  </a:cubicBezTo>
                  <a:cubicBezTo>
                    <a:pt x="195" y="126"/>
                    <a:pt x="195" y="126"/>
                    <a:pt x="195" y="126"/>
                  </a:cubicBezTo>
                  <a:cubicBezTo>
                    <a:pt x="194" y="125"/>
                    <a:pt x="194" y="125"/>
                    <a:pt x="194" y="125"/>
                  </a:cubicBezTo>
                  <a:cubicBezTo>
                    <a:pt x="194" y="125"/>
                    <a:pt x="194" y="125"/>
                    <a:pt x="194" y="125"/>
                  </a:cubicBezTo>
                  <a:cubicBezTo>
                    <a:pt x="191" y="122"/>
                    <a:pt x="191" y="122"/>
                    <a:pt x="191" y="122"/>
                  </a:cubicBezTo>
                  <a:cubicBezTo>
                    <a:pt x="190" y="118"/>
                    <a:pt x="191" y="116"/>
                    <a:pt x="192" y="115"/>
                  </a:cubicBezTo>
                  <a:cubicBezTo>
                    <a:pt x="192" y="114"/>
                    <a:pt x="192" y="114"/>
                    <a:pt x="192" y="114"/>
                  </a:cubicBezTo>
                  <a:cubicBezTo>
                    <a:pt x="193" y="114"/>
                    <a:pt x="195" y="113"/>
                    <a:pt x="196" y="113"/>
                  </a:cubicBezTo>
                  <a:cubicBezTo>
                    <a:pt x="198" y="113"/>
                    <a:pt x="201" y="114"/>
                    <a:pt x="205" y="115"/>
                  </a:cubicBezTo>
                  <a:cubicBezTo>
                    <a:pt x="205" y="115"/>
                    <a:pt x="205" y="115"/>
                    <a:pt x="205" y="115"/>
                  </a:cubicBezTo>
                  <a:cubicBezTo>
                    <a:pt x="206" y="115"/>
                    <a:pt x="206" y="115"/>
                    <a:pt x="207" y="115"/>
                  </a:cubicBezTo>
                  <a:cubicBezTo>
                    <a:pt x="208" y="116"/>
                    <a:pt x="208" y="116"/>
                    <a:pt x="208" y="116"/>
                  </a:cubicBezTo>
                  <a:cubicBezTo>
                    <a:pt x="208" y="116"/>
                    <a:pt x="209" y="116"/>
                    <a:pt x="209" y="116"/>
                  </a:cubicBezTo>
                  <a:cubicBezTo>
                    <a:pt x="210" y="116"/>
                    <a:pt x="210" y="116"/>
                    <a:pt x="211" y="116"/>
                  </a:cubicBezTo>
                  <a:cubicBezTo>
                    <a:pt x="213" y="116"/>
                    <a:pt x="216" y="115"/>
                    <a:pt x="217" y="114"/>
                  </a:cubicBezTo>
                  <a:cubicBezTo>
                    <a:pt x="218" y="113"/>
                    <a:pt x="219" y="113"/>
                    <a:pt x="219" y="112"/>
                  </a:cubicBezTo>
                  <a:cubicBezTo>
                    <a:pt x="219" y="112"/>
                    <a:pt x="219" y="111"/>
                    <a:pt x="219" y="111"/>
                  </a:cubicBezTo>
                  <a:cubicBezTo>
                    <a:pt x="220" y="111"/>
                    <a:pt x="220" y="111"/>
                    <a:pt x="220" y="111"/>
                  </a:cubicBezTo>
                  <a:cubicBezTo>
                    <a:pt x="220" y="110"/>
                    <a:pt x="220" y="110"/>
                    <a:pt x="220" y="110"/>
                  </a:cubicBezTo>
                  <a:cubicBezTo>
                    <a:pt x="220" y="110"/>
                    <a:pt x="220" y="110"/>
                    <a:pt x="220" y="110"/>
                  </a:cubicBezTo>
                  <a:cubicBezTo>
                    <a:pt x="219" y="109"/>
                    <a:pt x="218" y="108"/>
                    <a:pt x="217" y="107"/>
                  </a:cubicBezTo>
                  <a:cubicBezTo>
                    <a:pt x="216" y="104"/>
                    <a:pt x="216" y="101"/>
                    <a:pt x="219" y="99"/>
                  </a:cubicBezTo>
                  <a:cubicBezTo>
                    <a:pt x="219" y="98"/>
                    <a:pt x="220" y="97"/>
                    <a:pt x="221" y="96"/>
                  </a:cubicBezTo>
                  <a:cubicBezTo>
                    <a:pt x="222" y="96"/>
                    <a:pt x="222" y="96"/>
                    <a:pt x="223" y="95"/>
                  </a:cubicBezTo>
                  <a:cubicBezTo>
                    <a:pt x="223" y="94"/>
                    <a:pt x="224" y="93"/>
                    <a:pt x="225" y="92"/>
                  </a:cubicBezTo>
                  <a:cubicBezTo>
                    <a:pt x="226" y="91"/>
                    <a:pt x="227" y="90"/>
                    <a:pt x="228" y="90"/>
                  </a:cubicBezTo>
                  <a:cubicBezTo>
                    <a:pt x="229" y="89"/>
                    <a:pt x="229" y="89"/>
                    <a:pt x="229" y="89"/>
                  </a:cubicBezTo>
                  <a:cubicBezTo>
                    <a:pt x="229" y="89"/>
                    <a:pt x="229" y="89"/>
                    <a:pt x="229" y="89"/>
                  </a:cubicBezTo>
                  <a:cubicBezTo>
                    <a:pt x="229" y="87"/>
                    <a:pt x="230" y="86"/>
                    <a:pt x="231" y="85"/>
                  </a:cubicBezTo>
                  <a:cubicBezTo>
                    <a:pt x="231" y="85"/>
                    <a:pt x="231" y="84"/>
                    <a:pt x="231" y="84"/>
                  </a:cubicBezTo>
                  <a:cubicBezTo>
                    <a:pt x="231" y="83"/>
                    <a:pt x="231" y="83"/>
                    <a:pt x="231" y="83"/>
                  </a:cubicBezTo>
                  <a:cubicBezTo>
                    <a:pt x="230" y="82"/>
                    <a:pt x="230" y="81"/>
                    <a:pt x="231" y="80"/>
                  </a:cubicBezTo>
                  <a:cubicBezTo>
                    <a:pt x="231" y="79"/>
                    <a:pt x="231" y="78"/>
                    <a:pt x="231" y="77"/>
                  </a:cubicBezTo>
                  <a:cubicBezTo>
                    <a:pt x="230" y="75"/>
                    <a:pt x="230" y="75"/>
                    <a:pt x="230" y="75"/>
                  </a:cubicBezTo>
                  <a:cubicBezTo>
                    <a:pt x="230" y="75"/>
                    <a:pt x="230" y="75"/>
                    <a:pt x="230" y="75"/>
                  </a:cubicBezTo>
                  <a:cubicBezTo>
                    <a:pt x="229" y="75"/>
                    <a:pt x="229" y="75"/>
                    <a:pt x="229" y="75"/>
                  </a:cubicBezTo>
                  <a:cubicBezTo>
                    <a:pt x="228" y="73"/>
                    <a:pt x="228" y="73"/>
                    <a:pt x="228" y="73"/>
                  </a:cubicBezTo>
                  <a:cubicBezTo>
                    <a:pt x="228" y="73"/>
                    <a:pt x="227" y="72"/>
                    <a:pt x="227" y="72"/>
                  </a:cubicBezTo>
                  <a:cubicBezTo>
                    <a:pt x="227" y="71"/>
                    <a:pt x="227" y="71"/>
                    <a:pt x="227" y="71"/>
                  </a:cubicBezTo>
                  <a:cubicBezTo>
                    <a:pt x="226" y="70"/>
                    <a:pt x="226" y="70"/>
                    <a:pt x="226" y="70"/>
                  </a:cubicBezTo>
                  <a:cubicBezTo>
                    <a:pt x="225" y="69"/>
                    <a:pt x="224" y="67"/>
                    <a:pt x="223" y="66"/>
                  </a:cubicBezTo>
                  <a:cubicBezTo>
                    <a:pt x="223" y="66"/>
                    <a:pt x="223" y="66"/>
                    <a:pt x="223" y="66"/>
                  </a:cubicBezTo>
                  <a:cubicBezTo>
                    <a:pt x="223" y="65"/>
                    <a:pt x="223" y="65"/>
                    <a:pt x="223" y="65"/>
                  </a:cubicBezTo>
                  <a:cubicBezTo>
                    <a:pt x="219" y="64"/>
                    <a:pt x="219" y="64"/>
                    <a:pt x="219" y="64"/>
                  </a:cubicBezTo>
                  <a:cubicBezTo>
                    <a:pt x="222" y="61"/>
                    <a:pt x="222" y="61"/>
                    <a:pt x="222" y="61"/>
                  </a:cubicBezTo>
                  <a:cubicBezTo>
                    <a:pt x="225" y="57"/>
                    <a:pt x="229" y="53"/>
                    <a:pt x="233" y="49"/>
                  </a:cubicBezTo>
                  <a:cubicBezTo>
                    <a:pt x="233" y="49"/>
                    <a:pt x="233" y="49"/>
                    <a:pt x="233" y="49"/>
                  </a:cubicBezTo>
                  <a:cubicBezTo>
                    <a:pt x="235" y="48"/>
                    <a:pt x="235" y="48"/>
                    <a:pt x="235" y="48"/>
                  </a:cubicBezTo>
                  <a:cubicBezTo>
                    <a:pt x="235" y="49"/>
                    <a:pt x="235" y="49"/>
                    <a:pt x="235" y="49"/>
                  </a:cubicBezTo>
                  <a:cubicBezTo>
                    <a:pt x="236" y="49"/>
                    <a:pt x="236" y="49"/>
                    <a:pt x="237" y="49"/>
                  </a:cubicBezTo>
                  <a:cubicBezTo>
                    <a:pt x="238" y="49"/>
                    <a:pt x="238" y="49"/>
                    <a:pt x="238" y="49"/>
                  </a:cubicBezTo>
                  <a:cubicBezTo>
                    <a:pt x="239" y="49"/>
                    <a:pt x="239" y="49"/>
                    <a:pt x="239" y="49"/>
                  </a:cubicBezTo>
                  <a:cubicBezTo>
                    <a:pt x="240" y="49"/>
                    <a:pt x="241" y="48"/>
                    <a:pt x="243" y="47"/>
                  </a:cubicBezTo>
                  <a:cubicBezTo>
                    <a:pt x="246" y="45"/>
                    <a:pt x="246" y="45"/>
                    <a:pt x="246" y="45"/>
                  </a:cubicBezTo>
                  <a:cubicBezTo>
                    <a:pt x="247" y="44"/>
                    <a:pt x="248" y="44"/>
                    <a:pt x="249" y="43"/>
                  </a:cubicBezTo>
                  <a:cubicBezTo>
                    <a:pt x="249" y="43"/>
                    <a:pt x="249" y="43"/>
                    <a:pt x="249" y="43"/>
                  </a:cubicBezTo>
                  <a:cubicBezTo>
                    <a:pt x="246" y="44"/>
                    <a:pt x="243" y="45"/>
                    <a:pt x="240" y="47"/>
                  </a:cubicBezTo>
                  <a:cubicBezTo>
                    <a:pt x="237" y="48"/>
                    <a:pt x="237" y="48"/>
                    <a:pt x="237" y="48"/>
                  </a:cubicBezTo>
                  <a:cubicBezTo>
                    <a:pt x="237" y="48"/>
                    <a:pt x="236" y="48"/>
                    <a:pt x="236" y="48"/>
                  </a:cubicBezTo>
                  <a:cubicBezTo>
                    <a:pt x="235" y="48"/>
                    <a:pt x="235" y="48"/>
                    <a:pt x="235" y="48"/>
                  </a:cubicBezTo>
                  <a:cubicBezTo>
                    <a:pt x="235" y="48"/>
                    <a:pt x="234" y="48"/>
                    <a:pt x="233" y="47"/>
                  </a:cubicBezTo>
                  <a:cubicBezTo>
                    <a:pt x="231" y="46"/>
                    <a:pt x="230" y="44"/>
                    <a:pt x="229" y="43"/>
                  </a:cubicBezTo>
                  <a:cubicBezTo>
                    <a:pt x="229" y="42"/>
                    <a:pt x="229" y="42"/>
                    <a:pt x="229" y="41"/>
                  </a:cubicBezTo>
                  <a:cubicBezTo>
                    <a:pt x="229" y="41"/>
                    <a:pt x="229" y="41"/>
                    <a:pt x="229" y="41"/>
                  </a:cubicBezTo>
                  <a:cubicBezTo>
                    <a:pt x="228" y="39"/>
                    <a:pt x="227" y="37"/>
                    <a:pt x="227" y="35"/>
                  </a:cubicBezTo>
                  <a:cubicBezTo>
                    <a:pt x="227" y="34"/>
                    <a:pt x="227" y="34"/>
                    <a:pt x="227" y="33"/>
                  </a:cubicBezTo>
                  <a:cubicBezTo>
                    <a:pt x="227" y="32"/>
                    <a:pt x="228" y="31"/>
                    <a:pt x="228" y="30"/>
                  </a:cubicBezTo>
                  <a:cubicBezTo>
                    <a:pt x="228" y="30"/>
                    <a:pt x="228" y="30"/>
                    <a:pt x="228" y="30"/>
                  </a:cubicBezTo>
                  <a:cubicBezTo>
                    <a:pt x="229" y="27"/>
                    <a:pt x="229" y="24"/>
                    <a:pt x="229" y="20"/>
                  </a:cubicBezTo>
                  <a:cubicBezTo>
                    <a:pt x="230" y="18"/>
                    <a:pt x="230" y="16"/>
                    <a:pt x="230" y="13"/>
                  </a:cubicBezTo>
                  <a:cubicBezTo>
                    <a:pt x="229" y="13"/>
                    <a:pt x="228" y="13"/>
                    <a:pt x="227" y="13"/>
                  </a:cubicBezTo>
                  <a:cubicBezTo>
                    <a:pt x="227" y="13"/>
                    <a:pt x="227" y="13"/>
                    <a:pt x="227" y="13"/>
                  </a:cubicBezTo>
                  <a:cubicBezTo>
                    <a:pt x="226" y="13"/>
                    <a:pt x="226" y="13"/>
                    <a:pt x="225" y="13"/>
                  </a:cubicBezTo>
                  <a:cubicBezTo>
                    <a:pt x="222" y="12"/>
                    <a:pt x="222" y="12"/>
                    <a:pt x="222" y="12"/>
                  </a:cubicBezTo>
                  <a:cubicBezTo>
                    <a:pt x="224" y="8"/>
                    <a:pt x="224" y="8"/>
                    <a:pt x="224" y="8"/>
                  </a:cubicBezTo>
                  <a:cubicBezTo>
                    <a:pt x="224" y="7"/>
                    <a:pt x="224" y="7"/>
                    <a:pt x="224" y="6"/>
                  </a:cubicBezTo>
                  <a:cubicBezTo>
                    <a:pt x="224" y="6"/>
                    <a:pt x="224" y="6"/>
                    <a:pt x="224" y="6"/>
                  </a:cubicBezTo>
                  <a:cubicBezTo>
                    <a:pt x="224" y="6"/>
                    <a:pt x="223" y="5"/>
                    <a:pt x="223" y="4"/>
                  </a:cubicBezTo>
                  <a:cubicBezTo>
                    <a:pt x="223" y="4"/>
                    <a:pt x="223" y="4"/>
                    <a:pt x="223" y="4"/>
                  </a:cubicBezTo>
                  <a:cubicBezTo>
                    <a:pt x="217" y="8"/>
                    <a:pt x="217" y="8"/>
                    <a:pt x="217" y="8"/>
                  </a:cubicBezTo>
                  <a:cubicBezTo>
                    <a:pt x="221" y="3"/>
                    <a:pt x="221" y="3"/>
                    <a:pt x="221" y="3"/>
                  </a:cubicBezTo>
                  <a:cubicBezTo>
                    <a:pt x="221" y="2"/>
                    <a:pt x="220" y="2"/>
                    <a:pt x="220" y="1"/>
                  </a:cubicBezTo>
                  <a:cubicBezTo>
                    <a:pt x="220" y="1"/>
                    <a:pt x="219" y="0"/>
                    <a:pt x="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1533"/>
            <p:cNvSpPr>
              <a:spLocks noEditPoints="1"/>
            </p:cNvSpPr>
            <p:nvPr/>
          </p:nvSpPr>
          <p:spPr bwMode="auto">
            <a:xfrm>
              <a:off x="0" y="2510171"/>
              <a:ext cx="110072" cy="418809"/>
            </a:xfrm>
            <a:custGeom>
              <a:gdLst>
                <a:gd name="T0" fmla="*/ 0 w 35"/>
                <a:gd name="T1" fmla="*/ 63 h 132"/>
                <a:gd name="T2" fmla="*/ 0 w 35"/>
                <a:gd name="T3" fmla="*/ 132 h 132"/>
                <a:gd name="T4" fmla="*/ 1 w 35"/>
                <a:gd name="T5" fmla="*/ 128 h 132"/>
                <a:gd name="T6" fmla="*/ 6 w 35"/>
                <a:gd name="T7" fmla="*/ 121 h 132"/>
                <a:gd name="T8" fmla="*/ 7 w 35"/>
                <a:gd name="T9" fmla="*/ 120 h 132"/>
                <a:gd name="T10" fmla="*/ 9 w 35"/>
                <a:gd name="T11" fmla="*/ 119 h 132"/>
                <a:gd name="T12" fmla="*/ 9 w 35"/>
                <a:gd name="T13" fmla="*/ 118 h 132"/>
                <a:gd name="T14" fmla="*/ 12 w 35"/>
                <a:gd name="T15" fmla="*/ 116 h 132"/>
                <a:gd name="T16" fmla="*/ 17 w 35"/>
                <a:gd name="T17" fmla="*/ 114 h 132"/>
                <a:gd name="T18" fmla="*/ 27 w 35"/>
                <a:gd name="T19" fmla="*/ 113 h 132"/>
                <a:gd name="T20" fmla="*/ 29 w 35"/>
                <a:gd name="T21" fmla="*/ 112 h 132"/>
                <a:gd name="T22" fmla="*/ 32 w 35"/>
                <a:gd name="T23" fmla="*/ 112 h 132"/>
                <a:gd name="T24" fmla="*/ 34 w 35"/>
                <a:gd name="T25" fmla="*/ 107 h 132"/>
                <a:gd name="T26" fmla="*/ 35 w 35"/>
                <a:gd name="T27" fmla="*/ 102 h 132"/>
                <a:gd name="T28" fmla="*/ 34 w 35"/>
                <a:gd name="T29" fmla="*/ 102 h 132"/>
                <a:gd name="T30" fmla="*/ 33 w 35"/>
                <a:gd name="T31" fmla="*/ 102 h 132"/>
                <a:gd name="T32" fmla="*/ 31 w 35"/>
                <a:gd name="T33" fmla="*/ 102 h 132"/>
                <a:gd name="T34" fmla="*/ 30 w 35"/>
                <a:gd name="T35" fmla="*/ 102 h 132"/>
                <a:gd name="T36" fmla="*/ 29 w 35"/>
                <a:gd name="T37" fmla="*/ 102 h 132"/>
                <a:gd name="T38" fmla="*/ 29 w 35"/>
                <a:gd name="T39" fmla="*/ 102 h 132"/>
                <a:gd name="T40" fmla="*/ 23 w 35"/>
                <a:gd name="T41" fmla="*/ 98 h 132"/>
                <a:gd name="T42" fmla="*/ 23 w 35"/>
                <a:gd name="T43" fmla="*/ 93 h 132"/>
                <a:gd name="T44" fmla="*/ 23 w 35"/>
                <a:gd name="T45" fmla="*/ 91 h 132"/>
                <a:gd name="T46" fmla="*/ 23 w 35"/>
                <a:gd name="T47" fmla="*/ 82 h 132"/>
                <a:gd name="T48" fmla="*/ 24 w 35"/>
                <a:gd name="T49" fmla="*/ 80 h 132"/>
                <a:gd name="T50" fmla="*/ 24 w 35"/>
                <a:gd name="T51" fmla="*/ 77 h 132"/>
                <a:gd name="T52" fmla="*/ 22 w 35"/>
                <a:gd name="T53" fmla="*/ 76 h 132"/>
                <a:gd name="T54" fmla="*/ 22 w 35"/>
                <a:gd name="T55" fmla="*/ 76 h 132"/>
                <a:gd name="T56" fmla="*/ 18 w 35"/>
                <a:gd name="T57" fmla="*/ 74 h 132"/>
                <a:gd name="T58" fmla="*/ 15 w 35"/>
                <a:gd name="T59" fmla="*/ 73 h 132"/>
                <a:gd name="T60" fmla="*/ 13 w 35"/>
                <a:gd name="T61" fmla="*/ 72 h 132"/>
                <a:gd name="T62" fmla="*/ 12 w 35"/>
                <a:gd name="T63" fmla="*/ 72 h 132"/>
                <a:gd name="T64" fmla="*/ 10 w 35"/>
                <a:gd name="T65" fmla="*/ 71 h 132"/>
                <a:gd name="T66" fmla="*/ 2 w 35"/>
                <a:gd name="T67" fmla="*/ 66 h 132"/>
                <a:gd name="T68" fmla="*/ 0 w 35"/>
                <a:gd name="T69" fmla="*/ 63 h 132"/>
                <a:gd name="T70" fmla="*/ 0 w 35"/>
                <a:gd name="T71" fmla="*/ 0 h 132"/>
                <a:gd name="T72" fmla="*/ 0 w 35"/>
                <a:gd name="T73" fmla="*/ 5 h 132"/>
                <a:gd name="T74" fmla="*/ 1 w 35"/>
                <a:gd name="T75" fmla="*/ 2 h 132"/>
                <a:gd name="T76" fmla="*/ 0 w 35"/>
                <a:gd name="T77" fmla="*/ 0 h 132"/>
                <a:gd name="T78" fmla="*/ 0 w 35"/>
                <a:gd name="T79" fmla="*/ 0 h 1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132">
                  <a:moveTo>
                    <a:pt x="0" y="63"/>
                  </a:moveTo>
                  <a:cubicBezTo>
                    <a:pt x="0" y="132"/>
                    <a:pt x="0" y="132"/>
                    <a:pt x="0" y="132"/>
                  </a:cubicBezTo>
                  <a:cubicBezTo>
                    <a:pt x="0" y="131"/>
                    <a:pt x="1" y="130"/>
                    <a:pt x="1" y="128"/>
                  </a:cubicBezTo>
                  <a:cubicBezTo>
                    <a:pt x="2" y="124"/>
                    <a:pt x="2" y="123"/>
                    <a:pt x="6" y="121"/>
                  </a:cubicBezTo>
                  <a:cubicBezTo>
                    <a:pt x="7" y="120"/>
                    <a:pt x="7" y="120"/>
                    <a:pt x="7" y="120"/>
                  </a:cubicBezTo>
                  <a:cubicBezTo>
                    <a:pt x="7" y="120"/>
                    <a:pt x="8" y="120"/>
                    <a:pt x="9" y="119"/>
                  </a:cubicBezTo>
                  <a:cubicBezTo>
                    <a:pt x="9" y="118"/>
                    <a:pt x="9" y="118"/>
                    <a:pt x="9" y="118"/>
                  </a:cubicBezTo>
                  <a:cubicBezTo>
                    <a:pt x="10" y="118"/>
                    <a:pt x="11" y="117"/>
                    <a:pt x="12" y="116"/>
                  </a:cubicBezTo>
                  <a:cubicBezTo>
                    <a:pt x="14" y="115"/>
                    <a:pt x="15" y="114"/>
                    <a:pt x="17" y="114"/>
                  </a:cubicBezTo>
                  <a:cubicBezTo>
                    <a:pt x="27" y="113"/>
                    <a:pt x="27" y="113"/>
                    <a:pt x="27" y="113"/>
                  </a:cubicBezTo>
                  <a:cubicBezTo>
                    <a:pt x="28" y="112"/>
                    <a:pt x="29" y="112"/>
                    <a:pt x="29" y="112"/>
                  </a:cubicBezTo>
                  <a:cubicBezTo>
                    <a:pt x="30" y="112"/>
                    <a:pt x="32" y="112"/>
                    <a:pt x="32" y="112"/>
                  </a:cubicBezTo>
                  <a:cubicBezTo>
                    <a:pt x="34" y="107"/>
                    <a:pt x="34" y="107"/>
                    <a:pt x="34" y="107"/>
                  </a:cubicBezTo>
                  <a:cubicBezTo>
                    <a:pt x="34" y="105"/>
                    <a:pt x="34" y="104"/>
                    <a:pt x="35" y="102"/>
                  </a:cubicBezTo>
                  <a:cubicBezTo>
                    <a:pt x="34" y="102"/>
                    <a:pt x="34" y="102"/>
                    <a:pt x="34" y="102"/>
                  </a:cubicBezTo>
                  <a:cubicBezTo>
                    <a:pt x="34" y="102"/>
                    <a:pt x="33" y="102"/>
                    <a:pt x="33" y="102"/>
                  </a:cubicBezTo>
                  <a:cubicBezTo>
                    <a:pt x="33" y="102"/>
                    <a:pt x="32" y="102"/>
                    <a:pt x="31" y="102"/>
                  </a:cubicBezTo>
                  <a:cubicBezTo>
                    <a:pt x="30" y="102"/>
                    <a:pt x="30" y="102"/>
                    <a:pt x="30" y="102"/>
                  </a:cubicBezTo>
                  <a:cubicBezTo>
                    <a:pt x="30" y="102"/>
                    <a:pt x="30" y="102"/>
                    <a:pt x="29" y="102"/>
                  </a:cubicBezTo>
                  <a:cubicBezTo>
                    <a:pt x="29" y="102"/>
                    <a:pt x="29" y="102"/>
                    <a:pt x="29" y="102"/>
                  </a:cubicBezTo>
                  <a:cubicBezTo>
                    <a:pt x="26" y="102"/>
                    <a:pt x="24" y="100"/>
                    <a:pt x="23" y="98"/>
                  </a:cubicBezTo>
                  <a:cubicBezTo>
                    <a:pt x="23" y="96"/>
                    <a:pt x="23" y="94"/>
                    <a:pt x="23" y="93"/>
                  </a:cubicBezTo>
                  <a:cubicBezTo>
                    <a:pt x="23" y="92"/>
                    <a:pt x="23" y="92"/>
                    <a:pt x="23" y="91"/>
                  </a:cubicBezTo>
                  <a:cubicBezTo>
                    <a:pt x="23" y="82"/>
                    <a:pt x="23" y="82"/>
                    <a:pt x="23" y="82"/>
                  </a:cubicBezTo>
                  <a:cubicBezTo>
                    <a:pt x="23" y="82"/>
                    <a:pt x="23" y="81"/>
                    <a:pt x="24" y="80"/>
                  </a:cubicBezTo>
                  <a:cubicBezTo>
                    <a:pt x="24" y="78"/>
                    <a:pt x="24" y="77"/>
                    <a:pt x="24" y="77"/>
                  </a:cubicBezTo>
                  <a:cubicBezTo>
                    <a:pt x="23" y="76"/>
                    <a:pt x="23" y="76"/>
                    <a:pt x="22" y="76"/>
                  </a:cubicBezTo>
                  <a:cubicBezTo>
                    <a:pt x="22" y="76"/>
                    <a:pt x="22" y="76"/>
                    <a:pt x="22" y="76"/>
                  </a:cubicBezTo>
                  <a:cubicBezTo>
                    <a:pt x="21" y="75"/>
                    <a:pt x="19" y="75"/>
                    <a:pt x="18" y="74"/>
                  </a:cubicBezTo>
                  <a:cubicBezTo>
                    <a:pt x="17" y="74"/>
                    <a:pt x="16" y="74"/>
                    <a:pt x="15" y="73"/>
                  </a:cubicBezTo>
                  <a:cubicBezTo>
                    <a:pt x="15" y="73"/>
                    <a:pt x="14" y="73"/>
                    <a:pt x="13" y="72"/>
                  </a:cubicBezTo>
                  <a:cubicBezTo>
                    <a:pt x="12" y="72"/>
                    <a:pt x="12" y="72"/>
                    <a:pt x="12" y="72"/>
                  </a:cubicBezTo>
                  <a:cubicBezTo>
                    <a:pt x="12" y="72"/>
                    <a:pt x="11" y="72"/>
                    <a:pt x="10" y="71"/>
                  </a:cubicBezTo>
                  <a:cubicBezTo>
                    <a:pt x="7" y="70"/>
                    <a:pt x="4" y="69"/>
                    <a:pt x="2" y="66"/>
                  </a:cubicBezTo>
                  <a:cubicBezTo>
                    <a:pt x="2" y="65"/>
                    <a:pt x="1" y="64"/>
                    <a:pt x="0" y="63"/>
                  </a:cubicBezTo>
                  <a:moveTo>
                    <a:pt x="0" y="0"/>
                  </a:moveTo>
                  <a:cubicBezTo>
                    <a:pt x="0" y="5"/>
                    <a:pt x="0" y="5"/>
                    <a:pt x="0" y="5"/>
                  </a:cubicBezTo>
                  <a:cubicBezTo>
                    <a:pt x="1" y="4"/>
                    <a:pt x="1" y="3"/>
                    <a:pt x="1" y="2"/>
                  </a:cubicBezTo>
                  <a:cubicBezTo>
                    <a:pt x="1" y="1"/>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Freeform 1534"/>
            <p:cNvSpPr/>
            <p:nvPr/>
          </p:nvSpPr>
          <p:spPr bwMode="auto">
            <a:xfrm>
              <a:off x="0" y="1656445"/>
              <a:ext cx="365115" cy="504719"/>
            </a:xfrm>
            <a:custGeom>
              <a:gdLst>
                <a:gd name="T0" fmla="*/ 0 w 115"/>
                <a:gd name="T1" fmla="*/ 150 h 159"/>
                <a:gd name="T2" fmla="*/ 2 w 115"/>
                <a:gd name="T3" fmla="*/ 151 h 159"/>
                <a:gd name="T4" fmla="*/ 10 w 115"/>
                <a:gd name="T5" fmla="*/ 154 h 159"/>
                <a:gd name="T6" fmla="*/ 13 w 115"/>
                <a:gd name="T7" fmla="*/ 157 h 159"/>
                <a:gd name="T8" fmla="*/ 15 w 115"/>
                <a:gd name="T9" fmla="*/ 159 h 159"/>
                <a:gd name="T10" fmla="*/ 23 w 115"/>
                <a:gd name="T11" fmla="*/ 156 h 159"/>
                <a:gd name="T12" fmla="*/ 26 w 115"/>
                <a:gd name="T13" fmla="*/ 155 h 159"/>
                <a:gd name="T14" fmla="*/ 31 w 115"/>
                <a:gd name="T15" fmla="*/ 151 h 159"/>
                <a:gd name="T16" fmla="*/ 33 w 115"/>
                <a:gd name="T17" fmla="*/ 148 h 159"/>
                <a:gd name="T18" fmla="*/ 38 w 115"/>
                <a:gd name="T19" fmla="*/ 141 h 159"/>
                <a:gd name="T20" fmla="*/ 43 w 115"/>
                <a:gd name="T21" fmla="*/ 140 h 159"/>
                <a:gd name="T22" fmla="*/ 51 w 115"/>
                <a:gd name="T23" fmla="*/ 137 h 159"/>
                <a:gd name="T24" fmla="*/ 65 w 115"/>
                <a:gd name="T25" fmla="*/ 129 h 159"/>
                <a:gd name="T26" fmla="*/ 66 w 115"/>
                <a:gd name="T27" fmla="*/ 125 h 159"/>
                <a:gd name="T28" fmla="*/ 67 w 115"/>
                <a:gd name="T29" fmla="*/ 122 h 159"/>
                <a:gd name="T30" fmla="*/ 68 w 115"/>
                <a:gd name="T31" fmla="*/ 119 h 159"/>
                <a:gd name="T32" fmla="*/ 85 w 115"/>
                <a:gd name="T33" fmla="*/ 104 h 159"/>
                <a:gd name="T34" fmla="*/ 87 w 115"/>
                <a:gd name="T35" fmla="*/ 104 h 159"/>
                <a:gd name="T36" fmla="*/ 92 w 115"/>
                <a:gd name="T37" fmla="*/ 99 h 159"/>
                <a:gd name="T38" fmla="*/ 95 w 115"/>
                <a:gd name="T39" fmla="*/ 96 h 159"/>
                <a:gd name="T40" fmla="*/ 96 w 115"/>
                <a:gd name="T41" fmla="*/ 96 h 159"/>
                <a:gd name="T42" fmla="*/ 99 w 115"/>
                <a:gd name="T43" fmla="*/ 96 h 159"/>
                <a:gd name="T44" fmla="*/ 102 w 115"/>
                <a:gd name="T45" fmla="*/ 98 h 159"/>
                <a:gd name="T46" fmla="*/ 105 w 115"/>
                <a:gd name="T47" fmla="*/ 99 h 159"/>
                <a:gd name="T48" fmla="*/ 108 w 115"/>
                <a:gd name="T49" fmla="*/ 100 h 159"/>
                <a:gd name="T50" fmla="*/ 109 w 115"/>
                <a:gd name="T51" fmla="*/ 100 h 159"/>
                <a:gd name="T52" fmla="*/ 112 w 115"/>
                <a:gd name="T53" fmla="*/ 101 h 159"/>
                <a:gd name="T54" fmla="*/ 112 w 115"/>
                <a:gd name="T55" fmla="*/ 100 h 159"/>
                <a:gd name="T56" fmla="*/ 113 w 115"/>
                <a:gd name="T57" fmla="*/ 98 h 159"/>
                <a:gd name="T58" fmla="*/ 114 w 115"/>
                <a:gd name="T59" fmla="*/ 93 h 159"/>
                <a:gd name="T60" fmla="*/ 114 w 115"/>
                <a:gd name="T61" fmla="*/ 90 h 159"/>
                <a:gd name="T62" fmla="*/ 111 w 115"/>
                <a:gd name="T63" fmla="*/ 86 h 159"/>
                <a:gd name="T64" fmla="*/ 105 w 115"/>
                <a:gd name="T65" fmla="*/ 83 h 159"/>
                <a:gd name="T66" fmla="*/ 99 w 115"/>
                <a:gd name="T67" fmla="*/ 81 h 159"/>
                <a:gd name="T68" fmla="*/ 95 w 115"/>
                <a:gd name="T69" fmla="*/ 82 h 159"/>
                <a:gd name="T70" fmla="*/ 87 w 115"/>
                <a:gd name="T71" fmla="*/ 79 h 159"/>
                <a:gd name="T72" fmla="*/ 78 w 115"/>
                <a:gd name="T73" fmla="*/ 73 h 159"/>
                <a:gd name="T74" fmla="*/ 73 w 115"/>
                <a:gd name="T75" fmla="*/ 70 h 159"/>
                <a:gd name="T76" fmla="*/ 51 w 115"/>
                <a:gd name="T77" fmla="*/ 56 h 159"/>
                <a:gd name="T78" fmla="*/ 45 w 115"/>
                <a:gd name="T79" fmla="*/ 53 h 159"/>
                <a:gd name="T80" fmla="*/ 32 w 115"/>
                <a:gd name="T81" fmla="*/ 44 h 159"/>
                <a:gd name="T82" fmla="*/ 25 w 115"/>
                <a:gd name="T83" fmla="*/ 39 h 159"/>
                <a:gd name="T84" fmla="*/ 23 w 115"/>
                <a:gd name="T85" fmla="*/ 38 h 159"/>
                <a:gd name="T86" fmla="*/ 17 w 115"/>
                <a:gd name="T87" fmla="*/ 33 h 159"/>
                <a:gd name="T88" fmla="*/ 17 w 115"/>
                <a:gd name="T89" fmla="*/ 31 h 159"/>
                <a:gd name="T90" fmla="*/ 15 w 115"/>
                <a:gd name="T91" fmla="*/ 24 h 159"/>
                <a:gd name="T92" fmla="*/ 12 w 115"/>
                <a:gd name="T93" fmla="*/ 21 h 159"/>
                <a:gd name="T94" fmla="*/ 7 w 115"/>
                <a:gd name="T95" fmla="*/ 13 h 1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159">
                  <a:moveTo>
                    <a:pt x="0" y="0"/>
                  </a:moveTo>
                  <a:cubicBezTo>
                    <a:pt x="0" y="150"/>
                    <a:pt x="0" y="150"/>
                    <a:pt x="0" y="150"/>
                  </a:cubicBezTo>
                  <a:cubicBezTo>
                    <a:pt x="1" y="150"/>
                    <a:pt x="1" y="150"/>
                    <a:pt x="2" y="151"/>
                  </a:cubicBezTo>
                  <a:cubicBezTo>
                    <a:pt x="2" y="151"/>
                    <a:pt x="2" y="151"/>
                    <a:pt x="2" y="151"/>
                  </a:cubicBezTo>
                  <a:cubicBezTo>
                    <a:pt x="3" y="151"/>
                    <a:pt x="4" y="151"/>
                    <a:pt x="5" y="151"/>
                  </a:cubicBezTo>
                  <a:cubicBezTo>
                    <a:pt x="7" y="152"/>
                    <a:pt x="8" y="153"/>
                    <a:pt x="10" y="154"/>
                  </a:cubicBezTo>
                  <a:cubicBezTo>
                    <a:pt x="11" y="154"/>
                    <a:pt x="11" y="155"/>
                    <a:pt x="11" y="155"/>
                  </a:cubicBezTo>
                  <a:cubicBezTo>
                    <a:pt x="13" y="157"/>
                    <a:pt x="13" y="157"/>
                    <a:pt x="13" y="157"/>
                  </a:cubicBezTo>
                  <a:cubicBezTo>
                    <a:pt x="14" y="157"/>
                    <a:pt x="14" y="158"/>
                    <a:pt x="15" y="158"/>
                  </a:cubicBezTo>
                  <a:cubicBezTo>
                    <a:pt x="15" y="159"/>
                    <a:pt x="15" y="159"/>
                    <a:pt x="15" y="159"/>
                  </a:cubicBezTo>
                  <a:cubicBezTo>
                    <a:pt x="15" y="158"/>
                    <a:pt x="15" y="158"/>
                    <a:pt x="15" y="158"/>
                  </a:cubicBezTo>
                  <a:cubicBezTo>
                    <a:pt x="18" y="156"/>
                    <a:pt x="21" y="156"/>
                    <a:pt x="23" y="156"/>
                  </a:cubicBezTo>
                  <a:cubicBezTo>
                    <a:pt x="25" y="156"/>
                    <a:pt x="25" y="156"/>
                    <a:pt x="25" y="156"/>
                  </a:cubicBezTo>
                  <a:cubicBezTo>
                    <a:pt x="26" y="155"/>
                    <a:pt x="26" y="155"/>
                    <a:pt x="26" y="155"/>
                  </a:cubicBezTo>
                  <a:cubicBezTo>
                    <a:pt x="27" y="155"/>
                    <a:pt x="27" y="155"/>
                    <a:pt x="27" y="155"/>
                  </a:cubicBezTo>
                  <a:cubicBezTo>
                    <a:pt x="27" y="155"/>
                    <a:pt x="29" y="154"/>
                    <a:pt x="31" y="151"/>
                  </a:cubicBezTo>
                  <a:cubicBezTo>
                    <a:pt x="32" y="150"/>
                    <a:pt x="32" y="150"/>
                    <a:pt x="32" y="150"/>
                  </a:cubicBezTo>
                  <a:cubicBezTo>
                    <a:pt x="32" y="149"/>
                    <a:pt x="33" y="148"/>
                    <a:pt x="33" y="148"/>
                  </a:cubicBezTo>
                  <a:cubicBezTo>
                    <a:pt x="32" y="146"/>
                    <a:pt x="32" y="146"/>
                    <a:pt x="32" y="146"/>
                  </a:cubicBezTo>
                  <a:cubicBezTo>
                    <a:pt x="38" y="141"/>
                    <a:pt x="38" y="141"/>
                    <a:pt x="38" y="141"/>
                  </a:cubicBezTo>
                  <a:cubicBezTo>
                    <a:pt x="39" y="141"/>
                    <a:pt x="39" y="141"/>
                    <a:pt x="39" y="141"/>
                  </a:cubicBezTo>
                  <a:cubicBezTo>
                    <a:pt x="40" y="140"/>
                    <a:pt x="41" y="140"/>
                    <a:pt x="43" y="140"/>
                  </a:cubicBezTo>
                  <a:cubicBezTo>
                    <a:pt x="44" y="139"/>
                    <a:pt x="45" y="139"/>
                    <a:pt x="46" y="138"/>
                  </a:cubicBezTo>
                  <a:cubicBezTo>
                    <a:pt x="51" y="137"/>
                    <a:pt x="51" y="137"/>
                    <a:pt x="51" y="137"/>
                  </a:cubicBezTo>
                  <a:cubicBezTo>
                    <a:pt x="53" y="136"/>
                    <a:pt x="56" y="135"/>
                    <a:pt x="58" y="134"/>
                  </a:cubicBezTo>
                  <a:cubicBezTo>
                    <a:pt x="61" y="133"/>
                    <a:pt x="62" y="132"/>
                    <a:pt x="65" y="129"/>
                  </a:cubicBezTo>
                  <a:cubicBezTo>
                    <a:pt x="65" y="129"/>
                    <a:pt x="65" y="129"/>
                    <a:pt x="65" y="129"/>
                  </a:cubicBezTo>
                  <a:cubicBezTo>
                    <a:pt x="66" y="128"/>
                    <a:pt x="66" y="127"/>
                    <a:pt x="66" y="125"/>
                  </a:cubicBezTo>
                  <a:cubicBezTo>
                    <a:pt x="66" y="124"/>
                    <a:pt x="66" y="123"/>
                    <a:pt x="66" y="123"/>
                  </a:cubicBezTo>
                  <a:cubicBezTo>
                    <a:pt x="67" y="122"/>
                    <a:pt x="67" y="122"/>
                    <a:pt x="67" y="122"/>
                  </a:cubicBezTo>
                  <a:cubicBezTo>
                    <a:pt x="67" y="121"/>
                    <a:pt x="67" y="121"/>
                    <a:pt x="67" y="120"/>
                  </a:cubicBezTo>
                  <a:cubicBezTo>
                    <a:pt x="68" y="119"/>
                    <a:pt x="68" y="119"/>
                    <a:pt x="68" y="119"/>
                  </a:cubicBezTo>
                  <a:cubicBezTo>
                    <a:pt x="83" y="104"/>
                    <a:pt x="83" y="104"/>
                    <a:pt x="83" y="104"/>
                  </a:cubicBezTo>
                  <a:cubicBezTo>
                    <a:pt x="85" y="104"/>
                    <a:pt x="85" y="104"/>
                    <a:pt x="85" y="104"/>
                  </a:cubicBezTo>
                  <a:cubicBezTo>
                    <a:pt x="85" y="104"/>
                    <a:pt x="86" y="104"/>
                    <a:pt x="87" y="104"/>
                  </a:cubicBezTo>
                  <a:cubicBezTo>
                    <a:pt x="87" y="104"/>
                    <a:pt x="87" y="104"/>
                    <a:pt x="87" y="104"/>
                  </a:cubicBezTo>
                  <a:cubicBezTo>
                    <a:pt x="88" y="104"/>
                    <a:pt x="88" y="104"/>
                    <a:pt x="89" y="104"/>
                  </a:cubicBezTo>
                  <a:cubicBezTo>
                    <a:pt x="90" y="103"/>
                    <a:pt x="91" y="101"/>
                    <a:pt x="92" y="99"/>
                  </a:cubicBezTo>
                  <a:cubicBezTo>
                    <a:pt x="93" y="98"/>
                    <a:pt x="93" y="98"/>
                    <a:pt x="93" y="98"/>
                  </a:cubicBezTo>
                  <a:cubicBezTo>
                    <a:pt x="94" y="97"/>
                    <a:pt x="95" y="97"/>
                    <a:pt x="95" y="96"/>
                  </a:cubicBezTo>
                  <a:cubicBezTo>
                    <a:pt x="96" y="96"/>
                    <a:pt x="96" y="96"/>
                    <a:pt x="96" y="96"/>
                  </a:cubicBezTo>
                  <a:cubicBezTo>
                    <a:pt x="96" y="96"/>
                    <a:pt x="96" y="96"/>
                    <a:pt x="96" y="96"/>
                  </a:cubicBezTo>
                  <a:cubicBezTo>
                    <a:pt x="97" y="96"/>
                    <a:pt x="97" y="96"/>
                    <a:pt x="97" y="96"/>
                  </a:cubicBezTo>
                  <a:cubicBezTo>
                    <a:pt x="99" y="96"/>
                    <a:pt x="99" y="96"/>
                    <a:pt x="99" y="96"/>
                  </a:cubicBezTo>
                  <a:cubicBezTo>
                    <a:pt x="100" y="96"/>
                    <a:pt x="100" y="97"/>
                    <a:pt x="101" y="97"/>
                  </a:cubicBezTo>
                  <a:cubicBezTo>
                    <a:pt x="102" y="98"/>
                    <a:pt x="102" y="98"/>
                    <a:pt x="102" y="98"/>
                  </a:cubicBezTo>
                  <a:cubicBezTo>
                    <a:pt x="102" y="98"/>
                    <a:pt x="103" y="98"/>
                    <a:pt x="103" y="98"/>
                  </a:cubicBezTo>
                  <a:cubicBezTo>
                    <a:pt x="104" y="98"/>
                    <a:pt x="104" y="99"/>
                    <a:pt x="105" y="99"/>
                  </a:cubicBezTo>
                  <a:cubicBezTo>
                    <a:pt x="106" y="100"/>
                    <a:pt x="106" y="100"/>
                    <a:pt x="106" y="100"/>
                  </a:cubicBezTo>
                  <a:cubicBezTo>
                    <a:pt x="107" y="100"/>
                    <a:pt x="107" y="100"/>
                    <a:pt x="108" y="100"/>
                  </a:cubicBezTo>
                  <a:cubicBezTo>
                    <a:pt x="108" y="100"/>
                    <a:pt x="108" y="100"/>
                    <a:pt x="109" y="100"/>
                  </a:cubicBezTo>
                  <a:cubicBezTo>
                    <a:pt x="109" y="100"/>
                    <a:pt x="109" y="100"/>
                    <a:pt x="109" y="100"/>
                  </a:cubicBezTo>
                  <a:cubicBezTo>
                    <a:pt x="109" y="100"/>
                    <a:pt x="110" y="101"/>
                    <a:pt x="110" y="101"/>
                  </a:cubicBezTo>
                  <a:cubicBezTo>
                    <a:pt x="112" y="101"/>
                    <a:pt x="112" y="101"/>
                    <a:pt x="112" y="101"/>
                  </a:cubicBezTo>
                  <a:cubicBezTo>
                    <a:pt x="112" y="100"/>
                    <a:pt x="112" y="100"/>
                    <a:pt x="112" y="100"/>
                  </a:cubicBezTo>
                  <a:cubicBezTo>
                    <a:pt x="112" y="100"/>
                    <a:pt x="112" y="100"/>
                    <a:pt x="112" y="100"/>
                  </a:cubicBezTo>
                  <a:cubicBezTo>
                    <a:pt x="113" y="100"/>
                    <a:pt x="113" y="99"/>
                    <a:pt x="113" y="98"/>
                  </a:cubicBezTo>
                  <a:cubicBezTo>
                    <a:pt x="113" y="98"/>
                    <a:pt x="113" y="98"/>
                    <a:pt x="113" y="98"/>
                  </a:cubicBezTo>
                  <a:cubicBezTo>
                    <a:pt x="113" y="97"/>
                    <a:pt x="113" y="97"/>
                    <a:pt x="113" y="96"/>
                  </a:cubicBezTo>
                  <a:cubicBezTo>
                    <a:pt x="114" y="93"/>
                    <a:pt x="114" y="93"/>
                    <a:pt x="114" y="93"/>
                  </a:cubicBezTo>
                  <a:cubicBezTo>
                    <a:pt x="114" y="92"/>
                    <a:pt x="114" y="91"/>
                    <a:pt x="114" y="90"/>
                  </a:cubicBezTo>
                  <a:cubicBezTo>
                    <a:pt x="114" y="90"/>
                    <a:pt x="114" y="90"/>
                    <a:pt x="114" y="90"/>
                  </a:cubicBezTo>
                  <a:cubicBezTo>
                    <a:pt x="114" y="89"/>
                    <a:pt x="115" y="89"/>
                    <a:pt x="115" y="88"/>
                  </a:cubicBezTo>
                  <a:cubicBezTo>
                    <a:pt x="111" y="86"/>
                    <a:pt x="111" y="86"/>
                    <a:pt x="111" y="86"/>
                  </a:cubicBezTo>
                  <a:cubicBezTo>
                    <a:pt x="109" y="85"/>
                    <a:pt x="107" y="85"/>
                    <a:pt x="106" y="84"/>
                  </a:cubicBezTo>
                  <a:cubicBezTo>
                    <a:pt x="105" y="83"/>
                    <a:pt x="105" y="83"/>
                    <a:pt x="105" y="83"/>
                  </a:cubicBezTo>
                  <a:cubicBezTo>
                    <a:pt x="101" y="81"/>
                    <a:pt x="100" y="81"/>
                    <a:pt x="100" y="81"/>
                  </a:cubicBezTo>
                  <a:cubicBezTo>
                    <a:pt x="99" y="81"/>
                    <a:pt x="99" y="81"/>
                    <a:pt x="99" y="81"/>
                  </a:cubicBezTo>
                  <a:cubicBezTo>
                    <a:pt x="99" y="82"/>
                    <a:pt x="98" y="82"/>
                    <a:pt x="97" y="82"/>
                  </a:cubicBezTo>
                  <a:cubicBezTo>
                    <a:pt x="96" y="82"/>
                    <a:pt x="96" y="82"/>
                    <a:pt x="95" y="82"/>
                  </a:cubicBezTo>
                  <a:cubicBezTo>
                    <a:pt x="92" y="82"/>
                    <a:pt x="90" y="81"/>
                    <a:pt x="88" y="79"/>
                  </a:cubicBezTo>
                  <a:cubicBezTo>
                    <a:pt x="87" y="79"/>
                    <a:pt x="87" y="79"/>
                    <a:pt x="87" y="79"/>
                  </a:cubicBezTo>
                  <a:cubicBezTo>
                    <a:pt x="86" y="78"/>
                    <a:pt x="85" y="77"/>
                    <a:pt x="84" y="77"/>
                  </a:cubicBezTo>
                  <a:cubicBezTo>
                    <a:pt x="83" y="76"/>
                    <a:pt x="81" y="74"/>
                    <a:pt x="78" y="73"/>
                  </a:cubicBezTo>
                  <a:cubicBezTo>
                    <a:pt x="78" y="72"/>
                    <a:pt x="77" y="72"/>
                    <a:pt x="76" y="71"/>
                  </a:cubicBezTo>
                  <a:cubicBezTo>
                    <a:pt x="75" y="71"/>
                    <a:pt x="74" y="70"/>
                    <a:pt x="73" y="70"/>
                  </a:cubicBezTo>
                  <a:cubicBezTo>
                    <a:pt x="70" y="68"/>
                    <a:pt x="67" y="66"/>
                    <a:pt x="64" y="63"/>
                  </a:cubicBezTo>
                  <a:cubicBezTo>
                    <a:pt x="60" y="60"/>
                    <a:pt x="55" y="58"/>
                    <a:pt x="51" y="56"/>
                  </a:cubicBezTo>
                  <a:cubicBezTo>
                    <a:pt x="48" y="54"/>
                    <a:pt x="48" y="54"/>
                    <a:pt x="48" y="54"/>
                  </a:cubicBezTo>
                  <a:cubicBezTo>
                    <a:pt x="47" y="54"/>
                    <a:pt x="46" y="53"/>
                    <a:pt x="45" y="53"/>
                  </a:cubicBezTo>
                  <a:cubicBezTo>
                    <a:pt x="41" y="51"/>
                    <a:pt x="37" y="48"/>
                    <a:pt x="34" y="45"/>
                  </a:cubicBezTo>
                  <a:cubicBezTo>
                    <a:pt x="32" y="44"/>
                    <a:pt x="32" y="44"/>
                    <a:pt x="32" y="44"/>
                  </a:cubicBezTo>
                  <a:cubicBezTo>
                    <a:pt x="31" y="43"/>
                    <a:pt x="30" y="43"/>
                    <a:pt x="29" y="42"/>
                  </a:cubicBezTo>
                  <a:cubicBezTo>
                    <a:pt x="25" y="39"/>
                    <a:pt x="25" y="39"/>
                    <a:pt x="25" y="39"/>
                  </a:cubicBezTo>
                  <a:cubicBezTo>
                    <a:pt x="25" y="39"/>
                    <a:pt x="24" y="38"/>
                    <a:pt x="23" y="38"/>
                  </a:cubicBezTo>
                  <a:cubicBezTo>
                    <a:pt x="23" y="38"/>
                    <a:pt x="23" y="38"/>
                    <a:pt x="23" y="38"/>
                  </a:cubicBezTo>
                  <a:cubicBezTo>
                    <a:pt x="21" y="37"/>
                    <a:pt x="19" y="35"/>
                    <a:pt x="18" y="34"/>
                  </a:cubicBezTo>
                  <a:cubicBezTo>
                    <a:pt x="18" y="33"/>
                    <a:pt x="17" y="33"/>
                    <a:pt x="17" y="33"/>
                  </a:cubicBezTo>
                  <a:cubicBezTo>
                    <a:pt x="17" y="32"/>
                    <a:pt x="17" y="32"/>
                    <a:pt x="17" y="32"/>
                  </a:cubicBezTo>
                  <a:cubicBezTo>
                    <a:pt x="17" y="31"/>
                    <a:pt x="17" y="31"/>
                    <a:pt x="17" y="31"/>
                  </a:cubicBezTo>
                  <a:cubicBezTo>
                    <a:pt x="16" y="30"/>
                    <a:pt x="16" y="28"/>
                    <a:pt x="15" y="27"/>
                  </a:cubicBezTo>
                  <a:cubicBezTo>
                    <a:pt x="15" y="26"/>
                    <a:pt x="15" y="25"/>
                    <a:pt x="15" y="24"/>
                  </a:cubicBezTo>
                  <a:cubicBezTo>
                    <a:pt x="14" y="24"/>
                    <a:pt x="14" y="24"/>
                    <a:pt x="14" y="24"/>
                  </a:cubicBezTo>
                  <a:cubicBezTo>
                    <a:pt x="14" y="23"/>
                    <a:pt x="13" y="22"/>
                    <a:pt x="12" y="21"/>
                  </a:cubicBezTo>
                  <a:cubicBezTo>
                    <a:pt x="11" y="20"/>
                    <a:pt x="10" y="19"/>
                    <a:pt x="9" y="17"/>
                  </a:cubicBezTo>
                  <a:cubicBezTo>
                    <a:pt x="9" y="16"/>
                    <a:pt x="8" y="14"/>
                    <a:pt x="7" y="13"/>
                  </a:cubicBezTo>
                  <a:cubicBezTo>
                    <a:pt x="5" y="8"/>
                    <a:pt x="3"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Rectangle 1535"/>
            <p:cNvSpPr>
              <a:spLocks noChangeArrowheads="1"/>
            </p:cNvSpPr>
            <p:nvPr/>
          </p:nvSpPr>
          <p:spPr bwMode="auto">
            <a:xfrm>
              <a:off x="574520" y="1746381"/>
              <a:ext cx="2685"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Freeform 1536"/>
            <p:cNvSpPr/>
            <p:nvPr/>
          </p:nvSpPr>
          <p:spPr bwMode="auto">
            <a:xfrm>
              <a:off x="574520" y="1746381"/>
              <a:ext cx="2685" cy="0"/>
            </a:xfrm>
            <a:custGeom>
              <a:gdLst>
                <a:gd name="T0" fmla="*/ 2 w 2"/>
                <a:gd name="T1" fmla="*/ 0 w 2"/>
                <a:gd name="T2" fmla="*/ 0 w 2"/>
                <a:gd name="T3" fmla="*/ 2 w 2"/>
              </a:gdLst>
              <a:cxnLst>
                <a:cxn ang="0">
                  <a:pos x="T0" y="0"/>
                </a:cxn>
                <a:cxn ang="0">
                  <a:pos x="T1" y="0"/>
                </a:cxn>
                <a:cxn ang="0">
                  <a:pos x="T2" y="0"/>
                </a:cxn>
                <a:cxn ang="0">
                  <a:pos x="T3" y="0"/>
                </a:cxn>
              </a:cxnLst>
              <a:rect l="0" t="0" r="r" b="b"/>
              <a:pathLst>
                <a:path w="2">
                  <a:moveTo>
                    <a:pt x="2" y="0"/>
                  </a:move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1537"/>
            <p:cNvSpPr/>
            <p:nvPr/>
          </p:nvSpPr>
          <p:spPr bwMode="auto">
            <a:xfrm>
              <a:off x="434917" y="1746381"/>
              <a:ext cx="558412" cy="284575"/>
            </a:xfrm>
            <a:custGeom>
              <a:gdLst>
                <a:gd name="T0" fmla="*/ 37 w 176"/>
                <a:gd name="T1" fmla="*/ 4 h 90"/>
                <a:gd name="T2" fmla="*/ 35 w 176"/>
                <a:gd name="T3" fmla="*/ 4 h 90"/>
                <a:gd name="T4" fmla="*/ 34 w 176"/>
                <a:gd name="T5" fmla="*/ 19 h 90"/>
                <a:gd name="T6" fmla="*/ 29 w 176"/>
                <a:gd name="T7" fmla="*/ 9 h 90"/>
                <a:gd name="T8" fmla="*/ 23 w 176"/>
                <a:gd name="T9" fmla="*/ 18 h 90"/>
                <a:gd name="T10" fmla="*/ 16 w 176"/>
                <a:gd name="T11" fmla="*/ 18 h 90"/>
                <a:gd name="T12" fmla="*/ 6 w 176"/>
                <a:gd name="T13" fmla="*/ 16 h 90"/>
                <a:gd name="T14" fmla="*/ 4 w 176"/>
                <a:gd name="T15" fmla="*/ 17 h 90"/>
                <a:gd name="T16" fmla="*/ 1 w 176"/>
                <a:gd name="T17" fmla="*/ 22 h 90"/>
                <a:gd name="T18" fmla="*/ 4 w 176"/>
                <a:gd name="T19" fmla="*/ 25 h 90"/>
                <a:gd name="T20" fmla="*/ 19 w 176"/>
                <a:gd name="T21" fmla="*/ 32 h 90"/>
                <a:gd name="T22" fmla="*/ 18 w 176"/>
                <a:gd name="T23" fmla="*/ 44 h 90"/>
                <a:gd name="T24" fmla="*/ 20 w 176"/>
                <a:gd name="T25" fmla="*/ 47 h 90"/>
                <a:gd name="T26" fmla="*/ 15 w 176"/>
                <a:gd name="T27" fmla="*/ 68 h 90"/>
                <a:gd name="T28" fmla="*/ 11 w 176"/>
                <a:gd name="T29" fmla="*/ 76 h 90"/>
                <a:gd name="T30" fmla="*/ 13 w 176"/>
                <a:gd name="T31" fmla="*/ 83 h 90"/>
                <a:gd name="T32" fmla="*/ 18 w 176"/>
                <a:gd name="T33" fmla="*/ 80 h 90"/>
                <a:gd name="T34" fmla="*/ 29 w 176"/>
                <a:gd name="T35" fmla="*/ 75 h 90"/>
                <a:gd name="T36" fmla="*/ 30 w 176"/>
                <a:gd name="T37" fmla="*/ 74 h 90"/>
                <a:gd name="T38" fmla="*/ 38 w 176"/>
                <a:gd name="T39" fmla="*/ 76 h 90"/>
                <a:gd name="T40" fmla="*/ 42 w 176"/>
                <a:gd name="T41" fmla="*/ 79 h 90"/>
                <a:gd name="T42" fmla="*/ 43 w 176"/>
                <a:gd name="T43" fmla="*/ 75 h 90"/>
                <a:gd name="T44" fmla="*/ 45 w 176"/>
                <a:gd name="T45" fmla="*/ 69 h 90"/>
                <a:gd name="T46" fmla="*/ 58 w 176"/>
                <a:gd name="T47" fmla="*/ 67 h 90"/>
                <a:gd name="T48" fmla="*/ 62 w 176"/>
                <a:gd name="T49" fmla="*/ 67 h 90"/>
                <a:gd name="T50" fmla="*/ 62 w 176"/>
                <a:gd name="T51" fmla="*/ 65 h 90"/>
                <a:gd name="T52" fmla="*/ 62 w 176"/>
                <a:gd name="T53" fmla="*/ 57 h 90"/>
                <a:gd name="T54" fmla="*/ 70 w 176"/>
                <a:gd name="T55" fmla="*/ 51 h 90"/>
                <a:gd name="T56" fmla="*/ 81 w 176"/>
                <a:gd name="T57" fmla="*/ 42 h 90"/>
                <a:gd name="T58" fmla="*/ 87 w 176"/>
                <a:gd name="T59" fmla="*/ 45 h 90"/>
                <a:gd name="T60" fmla="*/ 91 w 176"/>
                <a:gd name="T61" fmla="*/ 45 h 90"/>
                <a:gd name="T62" fmla="*/ 91 w 176"/>
                <a:gd name="T63" fmla="*/ 49 h 90"/>
                <a:gd name="T64" fmla="*/ 96 w 176"/>
                <a:gd name="T65" fmla="*/ 57 h 90"/>
                <a:gd name="T66" fmla="*/ 97 w 176"/>
                <a:gd name="T67" fmla="*/ 78 h 90"/>
                <a:gd name="T68" fmla="*/ 96 w 176"/>
                <a:gd name="T69" fmla="*/ 80 h 90"/>
                <a:gd name="T70" fmla="*/ 97 w 176"/>
                <a:gd name="T71" fmla="*/ 86 h 90"/>
                <a:gd name="T72" fmla="*/ 99 w 176"/>
                <a:gd name="T73" fmla="*/ 90 h 90"/>
                <a:gd name="T74" fmla="*/ 113 w 176"/>
                <a:gd name="T75" fmla="*/ 84 h 90"/>
                <a:gd name="T76" fmla="*/ 135 w 176"/>
                <a:gd name="T77" fmla="*/ 70 h 90"/>
                <a:gd name="T78" fmla="*/ 149 w 176"/>
                <a:gd name="T79" fmla="*/ 74 h 90"/>
                <a:gd name="T80" fmla="*/ 156 w 176"/>
                <a:gd name="T81" fmla="*/ 73 h 90"/>
                <a:gd name="T82" fmla="*/ 161 w 176"/>
                <a:gd name="T83" fmla="*/ 71 h 90"/>
                <a:gd name="T84" fmla="*/ 174 w 176"/>
                <a:gd name="T85" fmla="*/ 75 h 90"/>
                <a:gd name="T86" fmla="*/ 173 w 176"/>
                <a:gd name="T87" fmla="*/ 67 h 90"/>
                <a:gd name="T88" fmla="*/ 171 w 176"/>
                <a:gd name="T89" fmla="*/ 50 h 90"/>
                <a:gd name="T90" fmla="*/ 165 w 176"/>
                <a:gd name="T91" fmla="*/ 45 h 90"/>
                <a:gd name="T92" fmla="*/ 160 w 176"/>
                <a:gd name="T93" fmla="*/ 42 h 90"/>
                <a:gd name="T94" fmla="*/ 154 w 176"/>
                <a:gd name="T95" fmla="*/ 43 h 90"/>
                <a:gd name="T96" fmla="*/ 149 w 176"/>
                <a:gd name="T97" fmla="*/ 44 h 90"/>
                <a:gd name="T98" fmla="*/ 144 w 176"/>
                <a:gd name="T99" fmla="*/ 31 h 90"/>
                <a:gd name="T100" fmla="*/ 139 w 176"/>
                <a:gd name="T101" fmla="*/ 33 h 90"/>
                <a:gd name="T102" fmla="*/ 141 w 176"/>
                <a:gd name="T103" fmla="*/ 24 h 90"/>
                <a:gd name="T104" fmla="*/ 137 w 176"/>
                <a:gd name="T105" fmla="*/ 22 h 90"/>
                <a:gd name="T106" fmla="*/ 120 w 176"/>
                <a:gd name="T107" fmla="*/ 23 h 90"/>
                <a:gd name="T108" fmla="*/ 110 w 176"/>
                <a:gd name="T109" fmla="*/ 27 h 90"/>
                <a:gd name="T110" fmla="*/ 100 w 176"/>
                <a:gd name="T111" fmla="*/ 26 h 90"/>
                <a:gd name="T112" fmla="*/ 97 w 176"/>
                <a:gd name="T113" fmla="*/ 21 h 90"/>
                <a:gd name="T114" fmla="*/ 95 w 176"/>
                <a:gd name="T115" fmla="*/ 20 h 90"/>
                <a:gd name="T116" fmla="*/ 84 w 176"/>
                <a:gd name="T117" fmla="*/ 22 h 90"/>
                <a:gd name="T118" fmla="*/ 83 w 176"/>
                <a:gd name="T119" fmla="*/ 22 h 90"/>
                <a:gd name="T120" fmla="*/ 70 w 176"/>
                <a:gd name="T121" fmla="*/ 19 h 90"/>
                <a:gd name="T122" fmla="*/ 40 w 176"/>
                <a:gd name="T123" fmla="*/ 19 h 90"/>
                <a:gd name="T124" fmla="*/ 40 w 176"/>
                <a:gd name="T125" fmla="*/ 0 h 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 h="90">
                  <a:moveTo>
                    <a:pt x="39" y="0"/>
                  </a:moveTo>
                  <a:cubicBezTo>
                    <a:pt x="39" y="1"/>
                    <a:pt x="38" y="2"/>
                    <a:pt x="38" y="3"/>
                  </a:cubicBezTo>
                  <a:cubicBezTo>
                    <a:pt x="37" y="4"/>
                    <a:pt x="37" y="4"/>
                    <a:pt x="37" y="4"/>
                  </a:cubicBezTo>
                  <a:cubicBezTo>
                    <a:pt x="36" y="4"/>
                    <a:pt x="36" y="4"/>
                    <a:pt x="36" y="4"/>
                  </a:cubicBezTo>
                  <a:cubicBezTo>
                    <a:pt x="35" y="4"/>
                    <a:pt x="35" y="4"/>
                    <a:pt x="35" y="4"/>
                  </a:cubicBezTo>
                  <a:cubicBezTo>
                    <a:pt x="35" y="4"/>
                    <a:pt x="35" y="4"/>
                    <a:pt x="35" y="4"/>
                  </a:cubicBezTo>
                  <a:cubicBezTo>
                    <a:pt x="35" y="5"/>
                    <a:pt x="35" y="5"/>
                    <a:pt x="35" y="5"/>
                  </a:cubicBezTo>
                  <a:cubicBezTo>
                    <a:pt x="35" y="5"/>
                    <a:pt x="35" y="6"/>
                    <a:pt x="35" y="6"/>
                  </a:cubicBezTo>
                  <a:cubicBezTo>
                    <a:pt x="34" y="19"/>
                    <a:pt x="34" y="19"/>
                    <a:pt x="34" y="19"/>
                  </a:cubicBezTo>
                  <a:cubicBezTo>
                    <a:pt x="30" y="8"/>
                    <a:pt x="30" y="8"/>
                    <a:pt x="30" y="8"/>
                  </a:cubicBezTo>
                  <a:cubicBezTo>
                    <a:pt x="29" y="9"/>
                    <a:pt x="29" y="9"/>
                    <a:pt x="29" y="9"/>
                  </a:cubicBezTo>
                  <a:cubicBezTo>
                    <a:pt x="29" y="9"/>
                    <a:pt x="29" y="9"/>
                    <a:pt x="29" y="9"/>
                  </a:cubicBezTo>
                  <a:cubicBezTo>
                    <a:pt x="28" y="15"/>
                    <a:pt x="27" y="17"/>
                    <a:pt x="25" y="18"/>
                  </a:cubicBezTo>
                  <a:cubicBezTo>
                    <a:pt x="24" y="18"/>
                    <a:pt x="24" y="18"/>
                    <a:pt x="24" y="18"/>
                  </a:cubicBezTo>
                  <a:cubicBezTo>
                    <a:pt x="24" y="18"/>
                    <a:pt x="23" y="18"/>
                    <a:pt x="23" y="18"/>
                  </a:cubicBezTo>
                  <a:cubicBezTo>
                    <a:pt x="22" y="18"/>
                    <a:pt x="22" y="18"/>
                    <a:pt x="21" y="18"/>
                  </a:cubicBezTo>
                  <a:cubicBezTo>
                    <a:pt x="20" y="18"/>
                    <a:pt x="20" y="18"/>
                    <a:pt x="20" y="18"/>
                  </a:cubicBezTo>
                  <a:cubicBezTo>
                    <a:pt x="19" y="18"/>
                    <a:pt x="18" y="18"/>
                    <a:pt x="16" y="18"/>
                  </a:cubicBezTo>
                  <a:cubicBezTo>
                    <a:pt x="14" y="17"/>
                    <a:pt x="11" y="17"/>
                    <a:pt x="8" y="16"/>
                  </a:cubicBezTo>
                  <a:cubicBezTo>
                    <a:pt x="7" y="16"/>
                    <a:pt x="7" y="16"/>
                    <a:pt x="6" y="16"/>
                  </a:cubicBezTo>
                  <a:cubicBezTo>
                    <a:pt x="6" y="16"/>
                    <a:pt x="6" y="16"/>
                    <a:pt x="6" y="16"/>
                  </a:cubicBezTo>
                  <a:cubicBezTo>
                    <a:pt x="5" y="16"/>
                    <a:pt x="5" y="16"/>
                    <a:pt x="5" y="16"/>
                  </a:cubicBezTo>
                  <a:cubicBezTo>
                    <a:pt x="5" y="17"/>
                    <a:pt x="5" y="17"/>
                    <a:pt x="5" y="17"/>
                  </a:cubicBezTo>
                  <a:cubicBezTo>
                    <a:pt x="5" y="17"/>
                    <a:pt x="4" y="17"/>
                    <a:pt x="4" y="17"/>
                  </a:cubicBezTo>
                  <a:cubicBezTo>
                    <a:pt x="3" y="18"/>
                    <a:pt x="3" y="18"/>
                    <a:pt x="3" y="18"/>
                  </a:cubicBezTo>
                  <a:cubicBezTo>
                    <a:pt x="1" y="19"/>
                    <a:pt x="1" y="19"/>
                    <a:pt x="0" y="21"/>
                  </a:cubicBezTo>
                  <a:cubicBezTo>
                    <a:pt x="1" y="22"/>
                    <a:pt x="1" y="22"/>
                    <a:pt x="1" y="22"/>
                  </a:cubicBezTo>
                  <a:cubicBezTo>
                    <a:pt x="1" y="22"/>
                    <a:pt x="2" y="23"/>
                    <a:pt x="2" y="24"/>
                  </a:cubicBezTo>
                  <a:cubicBezTo>
                    <a:pt x="3" y="24"/>
                    <a:pt x="3" y="24"/>
                    <a:pt x="3" y="24"/>
                  </a:cubicBezTo>
                  <a:cubicBezTo>
                    <a:pt x="3" y="24"/>
                    <a:pt x="4" y="25"/>
                    <a:pt x="4" y="25"/>
                  </a:cubicBezTo>
                  <a:cubicBezTo>
                    <a:pt x="6" y="27"/>
                    <a:pt x="6" y="27"/>
                    <a:pt x="9" y="27"/>
                  </a:cubicBezTo>
                  <a:cubicBezTo>
                    <a:pt x="10" y="27"/>
                    <a:pt x="11" y="27"/>
                    <a:pt x="12" y="28"/>
                  </a:cubicBezTo>
                  <a:cubicBezTo>
                    <a:pt x="15" y="28"/>
                    <a:pt x="18" y="29"/>
                    <a:pt x="19" y="32"/>
                  </a:cubicBezTo>
                  <a:cubicBezTo>
                    <a:pt x="19" y="32"/>
                    <a:pt x="19" y="33"/>
                    <a:pt x="19" y="34"/>
                  </a:cubicBezTo>
                  <a:cubicBezTo>
                    <a:pt x="20" y="35"/>
                    <a:pt x="19" y="37"/>
                    <a:pt x="18" y="40"/>
                  </a:cubicBezTo>
                  <a:cubicBezTo>
                    <a:pt x="18" y="44"/>
                    <a:pt x="18" y="44"/>
                    <a:pt x="18" y="44"/>
                  </a:cubicBezTo>
                  <a:cubicBezTo>
                    <a:pt x="18" y="44"/>
                    <a:pt x="18" y="44"/>
                    <a:pt x="18" y="45"/>
                  </a:cubicBezTo>
                  <a:cubicBezTo>
                    <a:pt x="19" y="45"/>
                    <a:pt x="19" y="45"/>
                    <a:pt x="19" y="45"/>
                  </a:cubicBezTo>
                  <a:cubicBezTo>
                    <a:pt x="20" y="47"/>
                    <a:pt x="20" y="47"/>
                    <a:pt x="20" y="47"/>
                  </a:cubicBezTo>
                  <a:cubicBezTo>
                    <a:pt x="21" y="48"/>
                    <a:pt x="22" y="48"/>
                    <a:pt x="22" y="49"/>
                  </a:cubicBezTo>
                  <a:cubicBezTo>
                    <a:pt x="26" y="53"/>
                    <a:pt x="20" y="61"/>
                    <a:pt x="16" y="66"/>
                  </a:cubicBezTo>
                  <a:cubicBezTo>
                    <a:pt x="16" y="67"/>
                    <a:pt x="15" y="67"/>
                    <a:pt x="15" y="68"/>
                  </a:cubicBezTo>
                  <a:cubicBezTo>
                    <a:pt x="13" y="70"/>
                    <a:pt x="13" y="70"/>
                    <a:pt x="13" y="70"/>
                  </a:cubicBezTo>
                  <a:cubicBezTo>
                    <a:pt x="13" y="71"/>
                    <a:pt x="12" y="72"/>
                    <a:pt x="11" y="73"/>
                  </a:cubicBezTo>
                  <a:cubicBezTo>
                    <a:pt x="11" y="74"/>
                    <a:pt x="11" y="75"/>
                    <a:pt x="11" y="76"/>
                  </a:cubicBezTo>
                  <a:cubicBezTo>
                    <a:pt x="11" y="77"/>
                    <a:pt x="11" y="79"/>
                    <a:pt x="10" y="80"/>
                  </a:cubicBezTo>
                  <a:cubicBezTo>
                    <a:pt x="10" y="80"/>
                    <a:pt x="10" y="81"/>
                    <a:pt x="10" y="81"/>
                  </a:cubicBezTo>
                  <a:cubicBezTo>
                    <a:pt x="13" y="83"/>
                    <a:pt x="13" y="83"/>
                    <a:pt x="13" y="83"/>
                  </a:cubicBezTo>
                  <a:cubicBezTo>
                    <a:pt x="13" y="83"/>
                    <a:pt x="13" y="83"/>
                    <a:pt x="13" y="83"/>
                  </a:cubicBezTo>
                  <a:cubicBezTo>
                    <a:pt x="14" y="83"/>
                    <a:pt x="14" y="83"/>
                    <a:pt x="14" y="83"/>
                  </a:cubicBezTo>
                  <a:cubicBezTo>
                    <a:pt x="16" y="81"/>
                    <a:pt x="17" y="80"/>
                    <a:pt x="18" y="80"/>
                  </a:cubicBezTo>
                  <a:cubicBezTo>
                    <a:pt x="19" y="79"/>
                    <a:pt x="20" y="79"/>
                    <a:pt x="21" y="78"/>
                  </a:cubicBezTo>
                  <a:cubicBezTo>
                    <a:pt x="23" y="78"/>
                    <a:pt x="25" y="77"/>
                    <a:pt x="27" y="76"/>
                  </a:cubicBezTo>
                  <a:cubicBezTo>
                    <a:pt x="28" y="76"/>
                    <a:pt x="28" y="76"/>
                    <a:pt x="29" y="75"/>
                  </a:cubicBezTo>
                  <a:cubicBezTo>
                    <a:pt x="30" y="76"/>
                    <a:pt x="30" y="76"/>
                    <a:pt x="30" y="76"/>
                  </a:cubicBezTo>
                  <a:cubicBezTo>
                    <a:pt x="29" y="75"/>
                    <a:pt x="29" y="75"/>
                    <a:pt x="29" y="75"/>
                  </a:cubicBezTo>
                  <a:cubicBezTo>
                    <a:pt x="29" y="75"/>
                    <a:pt x="30" y="75"/>
                    <a:pt x="30" y="74"/>
                  </a:cubicBezTo>
                  <a:cubicBezTo>
                    <a:pt x="32" y="74"/>
                    <a:pt x="33" y="74"/>
                    <a:pt x="34" y="74"/>
                  </a:cubicBezTo>
                  <a:cubicBezTo>
                    <a:pt x="35" y="74"/>
                    <a:pt x="36" y="74"/>
                    <a:pt x="37" y="75"/>
                  </a:cubicBezTo>
                  <a:cubicBezTo>
                    <a:pt x="38" y="75"/>
                    <a:pt x="38" y="76"/>
                    <a:pt x="38" y="76"/>
                  </a:cubicBezTo>
                  <a:cubicBezTo>
                    <a:pt x="40" y="78"/>
                    <a:pt x="40" y="78"/>
                    <a:pt x="40" y="78"/>
                  </a:cubicBezTo>
                  <a:cubicBezTo>
                    <a:pt x="41" y="78"/>
                    <a:pt x="42" y="79"/>
                    <a:pt x="42" y="79"/>
                  </a:cubicBezTo>
                  <a:cubicBezTo>
                    <a:pt x="42" y="79"/>
                    <a:pt x="42" y="79"/>
                    <a:pt x="42" y="79"/>
                  </a:cubicBezTo>
                  <a:cubicBezTo>
                    <a:pt x="43" y="78"/>
                    <a:pt x="43" y="78"/>
                    <a:pt x="43" y="78"/>
                  </a:cubicBezTo>
                  <a:cubicBezTo>
                    <a:pt x="43" y="77"/>
                    <a:pt x="43" y="77"/>
                    <a:pt x="43" y="77"/>
                  </a:cubicBezTo>
                  <a:cubicBezTo>
                    <a:pt x="43" y="77"/>
                    <a:pt x="43" y="76"/>
                    <a:pt x="43" y="75"/>
                  </a:cubicBezTo>
                  <a:cubicBezTo>
                    <a:pt x="44" y="74"/>
                    <a:pt x="44" y="74"/>
                    <a:pt x="44" y="74"/>
                  </a:cubicBezTo>
                  <a:cubicBezTo>
                    <a:pt x="44" y="73"/>
                    <a:pt x="44" y="71"/>
                    <a:pt x="45" y="69"/>
                  </a:cubicBezTo>
                  <a:cubicBezTo>
                    <a:pt x="45" y="69"/>
                    <a:pt x="45" y="69"/>
                    <a:pt x="45" y="69"/>
                  </a:cubicBezTo>
                  <a:cubicBezTo>
                    <a:pt x="46" y="67"/>
                    <a:pt x="48" y="66"/>
                    <a:pt x="51" y="66"/>
                  </a:cubicBezTo>
                  <a:cubicBezTo>
                    <a:pt x="53" y="66"/>
                    <a:pt x="55" y="66"/>
                    <a:pt x="56" y="66"/>
                  </a:cubicBezTo>
                  <a:cubicBezTo>
                    <a:pt x="57" y="67"/>
                    <a:pt x="57" y="67"/>
                    <a:pt x="58" y="67"/>
                  </a:cubicBezTo>
                  <a:cubicBezTo>
                    <a:pt x="59" y="67"/>
                    <a:pt x="60" y="67"/>
                    <a:pt x="61" y="67"/>
                  </a:cubicBezTo>
                  <a:cubicBezTo>
                    <a:pt x="62" y="67"/>
                    <a:pt x="62" y="67"/>
                    <a:pt x="62" y="67"/>
                  </a:cubicBezTo>
                  <a:cubicBezTo>
                    <a:pt x="62" y="67"/>
                    <a:pt x="62" y="67"/>
                    <a:pt x="62" y="67"/>
                  </a:cubicBezTo>
                  <a:cubicBezTo>
                    <a:pt x="62" y="67"/>
                    <a:pt x="62" y="67"/>
                    <a:pt x="62" y="67"/>
                  </a:cubicBezTo>
                  <a:cubicBezTo>
                    <a:pt x="63" y="66"/>
                    <a:pt x="63" y="66"/>
                    <a:pt x="63" y="66"/>
                  </a:cubicBezTo>
                  <a:cubicBezTo>
                    <a:pt x="62" y="65"/>
                    <a:pt x="62" y="65"/>
                    <a:pt x="62" y="65"/>
                  </a:cubicBezTo>
                  <a:cubicBezTo>
                    <a:pt x="62" y="65"/>
                    <a:pt x="62" y="65"/>
                    <a:pt x="62" y="65"/>
                  </a:cubicBezTo>
                  <a:cubicBezTo>
                    <a:pt x="61" y="64"/>
                    <a:pt x="60" y="63"/>
                    <a:pt x="60" y="62"/>
                  </a:cubicBezTo>
                  <a:cubicBezTo>
                    <a:pt x="60" y="61"/>
                    <a:pt x="60" y="59"/>
                    <a:pt x="62" y="57"/>
                  </a:cubicBezTo>
                  <a:cubicBezTo>
                    <a:pt x="63" y="56"/>
                    <a:pt x="65" y="55"/>
                    <a:pt x="66" y="54"/>
                  </a:cubicBezTo>
                  <a:cubicBezTo>
                    <a:pt x="67" y="53"/>
                    <a:pt x="68" y="52"/>
                    <a:pt x="69" y="51"/>
                  </a:cubicBezTo>
                  <a:cubicBezTo>
                    <a:pt x="70" y="51"/>
                    <a:pt x="70" y="51"/>
                    <a:pt x="70" y="51"/>
                  </a:cubicBezTo>
                  <a:cubicBezTo>
                    <a:pt x="69" y="50"/>
                    <a:pt x="69" y="50"/>
                    <a:pt x="69" y="50"/>
                  </a:cubicBezTo>
                  <a:cubicBezTo>
                    <a:pt x="71" y="48"/>
                    <a:pt x="73" y="46"/>
                    <a:pt x="75" y="44"/>
                  </a:cubicBezTo>
                  <a:cubicBezTo>
                    <a:pt x="77" y="43"/>
                    <a:pt x="79" y="43"/>
                    <a:pt x="81" y="42"/>
                  </a:cubicBezTo>
                  <a:cubicBezTo>
                    <a:pt x="82" y="42"/>
                    <a:pt x="82" y="42"/>
                    <a:pt x="82" y="42"/>
                  </a:cubicBezTo>
                  <a:cubicBezTo>
                    <a:pt x="84" y="43"/>
                    <a:pt x="84" y="43"/>
                    <a:pt x="84" y="43"/>
                  </a:cubicBezTo>
                  <a:cubicBezTo>
                    <a:pt x="85" y="43"/>
                    <a:pt x="86" y="44"/>
                    <a:pt x="87" y="45"/>
                  </a:cubicBezTo>
                  <a:cubicBezTo>
                    <a:pt x="87" y="45"/>
                    <a:pt x="88" y="46"/>
                    <a:pt x="88" y="46"/>
                  </a:cubicBezTo>
                  <a:cubicBezTo>
                    <a:pt x="92" y="43"/>
                    <a:pt x="92" y="43"/>
                    <a:pt x="92" y="43"/>
                  </a:cubicBezTo>
                  <a:cubicBezTo>
                    <a:pt x="91" y="45"/>
                    <a:pt x="91" y="45"/>
                    <a:pt x="91" y="45"/>
                  </a:cubicBezTo>
                  <a:cubicBezTo>
                    <a:pt x="92" y="44"/>
                    <a:pt x="92" y="44"/>
                    <a:pt x="92" y="44"/>
                  </a:cubicBezTo>
                  <a:cubicBezTo>
                    <a:pt x="90" y="48"/>
                    <a:pt x="90" y="48"/>
                    <a:pt x="90" y="48"/>
                  </a:cubicBezTo>
                  <a:cubicBezTo>
                    <a:pt x="91" y="49"/>
                    <a:pt x="91" y="49"/>
                    <a:pt x="91" y="49"/>
                  </a:cubicBezTo>
                  <a:cubicBezTo>
                    <a:pt x="91" y="50"/>
                    <a:pt x="92" y="50"/>
                    <a:pt x="92" y="51"/>
                  </a:cubicBezTo>
                  <a:cubicBezTo>
                    <a:pt x="93" y="52"/>
                    <a:pt x="93" y="54"/>
                    <a:pt x="93" y="56"/>
                  </a:cubicBezTo>
                  <a:cubicBezTo>
                    <a:pt x="94" y="56"/>
                    <a:pt x="95" y="56"/>
                    <a:pt x="96" y="57"/>
                  </a:cubicBezTo>
                  <a:cubicBezTo>
                    <a:pt x="98" y="58"/>
                    <a:pt x="99" y="59"/>
                    <a:pt x="99" y="61"/>
                  </a:cubicBezTo>
                  <a:cubicBezTo>
                    <a:pt x="99" y="63"/>
                    <a:pt x="98" y="66"/>
                    <a:pt x="98" y="68"/>
                  </a:cubicBezTo>
                  <a:cubicBezTo>
                    <a:pt x="98" y="72"/>
                    <a:pt x="97" y="75"/>
                    <a:pt x="97" y="78"/>
                  </a:cubicBezTo>
                  <a:cubicBezTo>
                    <a:pt x="103" y="80"/>
                    <a:pt x="103" y="80"/>
                    <a:pt x="103" y="80"/>
                  </a:cubicBezTo>
                  <a:cubicBezTo>
                    <a:pt x="96" y="80"/>
                    <a:pt x="96" y="80"/>
                    <a:pt x="96" y="80"/>
                  </a:cubicBezTo>
                  <a:cubicBezTo>
                    <a:pt x="96" y="80"/>
                    <a:pt x="96" y="80"/>
                    <a:pt x="96" y="80"/>
                  </a:cubicBezTo>
                  <a:cubicBezTo>
                    <a:pt x="96" y="81"/>
                    <a:pt x="96" y="81"/>
                    <a:pt x="96" y="82"/>
                  </a:cubicBezTo>
                  <a:cubicBezTo>
                    <a:pt x="96" y="82"/>
                    <a:pt x="96" y="83"/>
                    <a:pt x="96" y="83"/>
                  </a:cubicBezTo>
                  <a:cubicBezTo>
                    <a:pt x="96" y="84"/>
                    <a:pt x="96" y="85"/>
                    <a:pt x="97" y="86"/>
                  </a:cubicBezTo>
                  <a:cubicBezTo>
                    <a:pt x="97" y="87"/>
                    <a:pt x="97" y="87"/>
                    <a:pt x="98" y="88"/>
                  </a:cubicBezTo>
                  <a:cubicBezTo>
                    <a:pt x="98" y="88"/>
                    <a:pt x="98" y="88"/>
                    <a:pt x="98" y="88"/>
                  </a:cubicBezTo>
                  <a:cubicBezTo>
                    <a:pt x="98" y="89"/>
                    <a:pt x="98" y="89"/>
                    <a:pt x="99" y="90"/>
                  </a:cubicBezTo>
                  <a:cubicBezTo>
                    <a:pt x="110" y="86"/>
                    <a:pt x="110" y="86"/>
                    <a:pt x="110" y="86"/>
                  </a:cubicBezTo>
                  <a:cubicBezTo>
                    <a:pt x="110" y="85"/>
                    <a:pt x="110" y="85"/>
                    <a:pt x="110" y="85"/>
                  </a:cubicBezTo>
                  <a:cubicBezTo>
                    <a:pt x="113" y="84"/>
                    <a:pt x="113" y="84"/>
                    <a:pt x="113" y="84"/>
                  </a:cubicBezTo>
                  <a:cubicBezTo>
                    <a:pt x="116" y="84"/>
                    <a:pt x="119" y="83"/>
                    <a:pt x="121" y="81"/>
                  </a:cubicBezTo>
                  <a:cubicBezTo>
                    <a:pt x="124" y="77"/>
                    <a:pt x="128" y="74"/>
                    <a:pt x="132" y="71"/>
                  </a:cubicBezTo>
                  <a:cubicBezTo>
                    <a:pt x="133" y="71"/>
                    <a:pt x="134" y="71"/>
                    <a:pt x="135" y="70"/>
                  </a:cubicBezTo>
                  <a:cubicBezTo>
                    <a:pt x="136" y="70"/>
                    <a:pt x="137" y="70"/>
                    <a:pt x="139" y="70"/>
                  </a:cubicBezTo>
                  <a:cubicBezTo>
                    <a:pt x="141" y="70"/>
                    <a:pt x="143" y="70"/>
                    <a:pt x="145" y="72"/>
                  </a:cubicBezTo>
                  <a:cubicBezTo>
                    <a:pt x="147" y="72"/>
                    <a:pt x="148" y="73"/>
                    <a:pt x="149" y="74"/>
                  </a:cubicBezTo>
                  <a:cubicBezTo>
                    <a:pt x="150" y="75"/>
                    <a:pt x="150" y="75"/>
                    <a:pt x="150" y="75"/>
                  </a:cubicBezTo>
                  <a:cubicBezTo>
                    <a:pt x="152" y="74"/>
                    <a:pt x="154" y="73"/>
                    <a:pt x="155" y="73"/>
                  </a:cubicBezTo>
                  <a:cubicBezTo>
                    <a:pt x="156" y="73"/>
                    <a:pt x="156" y="73"/>
                    <a:pt x="156" y="73"/>
                  </a:cubicBezTo>
                  <a:cubicBezTo>
                    <a:pt x="156" y="72"/>
                    <a:pt x="157" y="72"/>
                    <a:pt x="158" y="71"/>
                  </a:cubicBezTo>
                  <a:cubicBezTo>
                    <a:pt x="159" y="71"/>
                    <a:pt x="160" y="71"/>
                    <a:pt x="161" y="71"/>
                  </a:cubicBezTo>
                  <a:cubicBezTo>
                    <a:pt x="161" y="71"/>
                    <a:pt x="161" y="71"/>
                    <a:pt x="161" y="71"/>
                  </a:cubicBezTo>
                  <a:cubicBezTo>
                    <a:pt x="162" y="71"/>
                    <a:pt x="162" y="71"/>
                    <a:pt x="163" y="71"/>
                  </a:cubicBezTo>
                  <a:cubicBezTo>
                    <a:pt x="165" y="71"/>
                    <a:pt x="168" y="72"/>
                    <a:pt x="170" y="73"/>
                  </a:cubicBezTo>
                  <a:cubicBezTo>
                    <a:pt x="174" y="75"/>
                    <a:pt x="174" y="75"/>
                    <a:pt x="174" y="75"/>
                  </a:cubicBezTo>
                  <a:cubicBezTo>
                    <a:pt x="175" y="75"/>
                    <a:pt x="176" y="74"/>
                    <a:pt x="176" y="74"/>
                  </a:cubicBezTo>
                  <a:cubicBezTo>
                    <a:pt x="175" y="73"/>
                    <a:pt x="174" y="71"/>
                    <a:pt x="174" y="69"/>
                  </a:cubicBezTo>
                  <a:cubicBezTo>
                    <a:pt x="173" y="67"/>
                    <a:pt x="173" y="67"/>
                    <a:pt x="173" y="67"/>
                  </a:cubicBezTo>
                  <a:cubicBezTo>
                    <a:pt x="173" y="66"/>
                    <a:pt x="173" y="65"/>
                    <a:pt x="173" y="64"/>
                  </a:cubicBezTo>
                  <a:cubicBezTo>
                    <a:pt x="173" y="62"/>
                    <a:pt x="173" y="62"/>
                    <a:pt x="173" y="62"/>
                  </a:cubicBezTo>
                  <a:cubicBezTo>
                    <a:pt x="172" y="58"/>
                    <a:pt x="172" y="54"/>
                    <a:pt x="171" y="50"/>
                  </a:cubicBezTo>
                  <a:cubicBezTo>
                    <a:pt x="171" y="49"/>
                    <a:pt x="171" y="49"/>
                    <a:pt x="169" y="47"/>
                  </a:cubicBezTo>
                  <a:cubicBezTo>
                    <a:pt x="167" y="47"/>
                    <a:pt x="167" y="47"/>
                    <a:pt x="167" y="47"/>
                  </a:cubicBezTo>
                  <a:cubicBezTo>
                    <a:pt x="167" y="46"/>
                    <a:pt x="166" y="46"/>
                    <a:pt x="165" y="45"/>
                  </a:cubicBezTo>
                  <a:cubicBezTo>
                    <a:pt x="164" y="44"/>
                    <a:pt x="164" y="44"/>
                    <a:pt x="164" y="44"/>
                  </a:cubicBezTo>
                  <a:cubicBezTo>
                    <a:pt x="164" y="44"/>
                    <a:pt x="163" y="44"/>
                    <a:pt x="163" y="43"/>
                  </a:cubicBezTo>
                  <a:cubicBezTo>
                    <a:pt x="161" y="43"/>
                    <a:pt x="160" y="42"/>
                    <a:pt x="160" y="42"/>
                  </a:cubicBezTo>
                  <a:cubicBezTo>
                    <a:pt x="160" y="42"/>
                    <a:pt x="159" y="42"/>
                    <a:pt x="159" y="42"/>
                  </a:cubicBezTo>
                  <a:cubicBezTo>
                    <a:pt x="158" y="42"/>
                    <a:pt x="158" y="42"/>
                    <a:pt x="158" y="42"/>
                  </a:cubicBezTo>
                  <a:cubicBezTo>
                    <a:pt x="157" y="42"/>
                    <a:pt x="156" y="43"/>
                    <a:pt x="154" y="43"/>
                  </a:cubicBezTo>
                  <a:cubicBezTo>
                    <a:pt x="153" y="43"/>
                    <a:pt x="153" y="43"/>
                    <a:pt x="153" y="43"/>
                  </a:cubicBezTo>
                  <a:cubicBezTo>
                    <a:pt x="153" y="43"/>
                    <a:pt x="152" y="44"/>
                    <a:pt x="151" y="44"/>
                  </a:cubicBezTo>
                  <a:cubicBezTo>
                    <a:pt x="150" y="44"/>
                    <a:pt x="150" y="44"/>
                    <a:pt x="149" y="44"/>
                  </a:cubicBezTo>
                  <a:cubicBezTo>
                    <a:pt x="148" y="43"/>
                    <a:pt x="147" y="43"/>
                    <a:pt x="146" y="41"/>
                  </a:cubicBezTo>
                  <a:cubicBezTo>
                    <a:pt x="145" y="41"/>
                    <a:pt x="145" y="39"/>
                    <a:pt x="144" y="37"/>
                  </a:cubicBezTo>
                  <a:cubicBezTo>
                    <a:pt x="144" y="36"/>
                    <a:pt x="143" y="34"/>
                    <a:pt x="144" y="31"/>
                  </a:cubicBezTo>
                  <a:cubicBezTo>
                    <a:pt x="144" y="31"/>
                    <a:pt x="145" y="31"/>
                    <a:pt x="145" y="30"/>
                  </a:cubicBezTo>
                  <a:cubicBezTo>
                    <a:pt x="145" y="30"/>
                    <a:pt x="145" y="30"/>
                    <a:pt x="145" y="30"/>
                  </a:cubicBezTo>
                  <a:cubicBezTo>
                    <a:pt x="139" y="33"/>
                    <a:pt x="139" y="33"/>
                    <a:pt x="139" y="33"/>
                  </a:cubicBezTo>
                  <a:cubicBezTo>
                    <a:pt x="144" y="29"/>
                    <a:pt x="144" y="29"/>
                    <a:pt x="144" y="29"/>
                  </a:cubicBezTo>
                  <a:cubicBezTo>
                    <a:pt x="143" y="28"/>
                    <a:pt x="142" y="26"/>
                    <a:pt x="142" y="25"/>
                  </a:cubicBezTo>
                  <a:cubicBezTo>
                    <a:pt x="141" y="24"/>
                    <a:pt x="141" y="24"/>
                    <a:pt x="141" y="24"/>
                  </a:cubicBezTo>
                  <a:cubicBezTo>
                    <a:pt x="142" y="21"/>
                    <a:pt x="142" y="21"/>
                    <a:pt x="142" y="21"/>
                  </a:cubicBezTo>
                  <a:cubicBezTo>
                    <a:pt x="141" y="21"/>
                    <a:pt x="140" y="22"/>
                    <a:pt x="139" y="22"/>
                  </a:cubicBezTo>
                  <a:cubicBezTo>
                    <a:pt x="137" y="22"/>
                    <a:pt x="137" y="22"/>
                    <a:pt x="137" y="22"/>
                  </a:cubicBezTo>
                  <a:cubicBezTo>
                    <a:pt x="135" y="22"/>
                    <a:pt x="134" y="22"/>
                    <a:pt x="133" y="22"/>
                  </a:cubicBezTo>
                  <a:cubicBezTo>
                    <a:pt x="130" y="23"/>
                    <a:pt x="128" y="23"/>
                    <a:pt x="126" y="23"/>
                  </a:cubicBezTo>
                  <a:cubicBezTo>
                    <a:pt x="120" y="23"/>
                    <a:pt x="120" y="23"/>
                    <a:pt x="120" y="23"/>
                  </a:cubicBezTo>
                  <a:cubicBezTo>
                    <a:pt x="118" y="23"/>
                    <a:pt x="117" y="24"/>
                    <a:pt x="115" y="26"/>
                  </a:cubicBezTo>
                  <a:cubicBezTo>
                    <a:pt x="112" y="29"/>
                    <a:pt x="112" y="29"/>
                    <a:pt x="112" y="29"/>
                  </a:cubicBezTo>
                  <a:cubicBezTo>
                    <a:pt x="110" y="27"/>
                    <a:pt x="110" y="27"/>
                    <a:pt x="110" y="27"/>
                  </a:cubicBezTo>
                  <a:cubicBezTo>
                    <a:pt x="109" y="26"/>
                    <a:pt x="106" y="26"/>
                    <a:pt x="104" y="26"/>
                  </a:cubicBezTo>
                  <a:cubicBezTo>
                    <a:pt x="104" y="25"/>
                    <a:pt x="104" y="25"/>
                    <a:pt x="104" y="25"/>
                  </a:cubicBezTo>
                  <a:cubicBezTo>
                    <a:pt x="100" y="26"/>
                    <a:pt x="100" y="26"/>
                    <a:pt x="100" y="26"/>
                  </a:cubicBezTo>
                  <a:cubicBezTo>
                    <a:pt x="100" y="25"/>
                    <a:pt x="100" y="25"/>
                    <a:pt x="100" y="25"/>
                  </a:cubicBezTo>
                  <a:cubicBezTo>
                    <a:pt x="98" y="24"/>
                    <a:pt x="98" y="22"/>
                    <a:pt x="98" y="21"/>
                  </a:cubicBezTo>
                  <a:cubicBezTo>
                    <a:pt x="97" y="21"/>
                    <a:pt x="97" y="21"/>
                    <a:pt x="97" y="21"/>
                  </a:cubicBezTo>
                  <a:cubicBezTo>
                    <a:pt x="97" y="21"/>
                    <a:pt x="97" y="21"/>
                    <a:pt x="97" y="21"/>
                  </a:cubicBezTo>
                  <a:cubicBezTo>
                    <a:pt x="97" y="21"/>
                    <a:pt x="96" y="21"/>
                    <a:pt x="96" y="20"/>
                  </a:cubicBezTo>
                  <a:cubicBezTo>
                    <a:pt x="95" y="20"/>
                    <a:pt x="95" y="20"/>
                    <a:pt x="95" y="20"/>
                  </a:cubicBezTo>
                  <a:cubicBezTo>
                    <a:pt x="94" y="20"/>
                    <a:pt x="94" y="19"/>
                    <a:pt x="93" y="19"/>
                  </a:cubicBezTo>
                  <a:cubicBezTo>
                    <a:pt x="93" y="18"/>
                    <a:pt x="93" y="18"/>
                    <a:pt x="93" y="18"/>
                  </a:cubicBezTo>
                  <a:cubicBezTo>
                    <a:pt x="89" y="20"/>
                    <a:pt x="86" y="22"/>
                    <a:pt x="84" y="22"/>
                  </a:cubicBezTo>
                  <a:cubicBezTo>
                    <a:pt x="84" y="22"/>
                    <a:pt x="83" y="22"/>
                    <a:pt x="83" y="22"/>
                  </a:cubicBezTo>
                  <a:cubicBezTo>
                    <a:pt x="83" y="22"/>
                    <a:pt x="83" y="22"/>
                    <a:pt x="83" y="22"/>
                  </a:cubicBezTo>
                  <a:cubicBezTo>
                    <a:pt x="83" y="22"/>
                    <a:pt x="83" y="22"/>
                    <a:pt x="83" y="22"/>
                  </a:cubicBezTo>
                  <a:cubicBezTo>
                    <a:pt x="83" y="22"/>
                    <a:pt x="83" y="22"/>
                    <a:pt x="83" y="22"/>
                  </a:cubicBezTo>
                  <a:cubicBezTo>
                    <a:pt x="82" y="21"/>
                    <a:pt x="82" y="21"/>
                    <a:pt x="82" y="21"/>
                  </a:cubicBezTo>
                  <a:cubicBezTo>
                    <a:pt x="78" y="20"/>
                    <a:pt x="74" y="19"/>
                    <a:pt x="70" y="19"/>
                  </a:cubicBezTo>
                  <a:cubicBezTo>
                    <a:pt x="66" y="18"/>
                    <a:pt x="63" y="18"/>
                    <a:pt x="58" y="18"/>
                  </a:cubicBezTo>
                  <a:cubicBezTo>
                    <a:pt x="54" y="18"/>
                    <a:pt x="49" y="18"/>
                    <a:pt x="44" y="19"/>
                  </a:cubicBezTo>
                  <a:cubicBezTo>
                    <a:pt x="40" y="19"/>
                    <a:pt x="40" y="19"/>
                    <a:pt x="40" y="19"/>
                  </a:cubicBezTo>
                  <a:cubicBezTo>
                    <a:pt x="40" y="16"/>
                    <a:pt x="40" y="16"/>
                    <a:pt x="40" y="16"/>
                  </a:cubicBezTo>
                  <a:cubicBezTo>
                    <a:pt x="40" y="13"/>
                    <a:pt x="40" y="10"/>
                    <a:pt x="40" y="7"/>
                  </a:cubicBezTo>
                  <a:cubicBezTo>
                    <a:pt x="40" y="0"/>
                    <a:pt x="40" y="0"/>
                    <a:pt x="40" y="0"/>
                  </a:cubicBezTo>
                  <a:cubicBezTo>
                    <a:pt x="40" y="0"/>
                    <a:pt x="40" y="0"/>
                    <a:pt x="40" y="0"/>
                  </a:cubicBezTo>
                  <a:cubicBezTo>
                    <a:pt x="40"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Freeform 1538"/>
            <p:cNvSpPr/>
            <p:nvPr/>
          </p:nvSpPr>
          <p:spPr bwMode="auto">
            <a:xfrm>
              <a:off x="570493" y="1676580"/>
              <a:ext cx="97991" cy="65775"/>
            </a:xfrm>
            <a:custGeom>
              <a:gdLst>
                <a:gd name="T0" fmla="*/ 27 w 31"/>
                <a:gd name="T1" fmla="*/ 0 h 21"/>
                <a:gd name="T2" fmla="*/ 26 w 31"/>
                <a:gd name="T3" fmla="*/ 0 h 21"/>
                <a:gd name="T4" fmla="*/ 26 w 31"/>
                <a:gd name="T5" fmla="*/ 0 h 21"/>
                <a:gd name="T6" fmla="*/ 25 w 31"/>
                <a:gd name="T7" fmla="*/ 1 h 21"/>
                <a:gd name="T8" fmla="*/ 23 w 31"/>
                <a:gd name="T9" fmla="*/ 2 h 21"/>
                <a:gd name="T10" fmla="*/ 23 w 31"/>
                <a:gd name="T11" fmla="*/ 3 h 21"/>
                <a:gd name="T12" fmla="*/ 18 w 31"/>
                <a:gd name="T13" fmla="*/ 6 h 21"/>
                <a:gd name="T14" fmla="*/ 18 w 31"/>
                <a:gd name="T15" fmla="*/ 6 h 21"/>
                <a:gd name="T16" fmla="*/ 16 w 31"/>
                <a:gd name="T17" fmla="*/ 7 h 21"/>
                <a:gd name="T18" fmla="*/ 14 w 31"/>
                <a:gd name="T19" fmla="*/ 8 h 21"/>
                <a:gd name="T20" fmla="*/ 9 w 31"/>
                <a:gd name="T21" fmla="*/ 9 h 21"/>
                <a:gd name="T22" fmla="*/ 6 w 31"/>
                <a:gd name="T23" fmla="*/ 9 h 21"/>
                <a:gd name="T24" fmla="*/ 5 w 31"/>
                <a:gd name="T25" fmla="*/ 8 h 21"/>
                <a:gd name="T26" fmla="*/ 5 w 31"/>
                <a:gd name="T27" fmla="*/ 8 h 21"/>
                <a:gd name="T28" fmla="*/ 2 w 31"/>
                <a:gd name="T29" fmla="*/ 7 h 21"/>
                <a:gd name="T30" fmla="*/ 2 w 31"/>
                <a:gd name="T31" fmla="*/ 7 h 21"/>
                <a:gd name="T32" fmla="*/ 1 w 31"/>
                <a:gd name="T33" fmla="*/ 9 h 21"/>
                <a:gd name="T34" fmla="*/ 2 w 31"/>
                <a:gd name="T35" fmla="*/ 16 h 21"/>
                <a:gd name="T36" fmla="*/ 2 w 31"/>
                <a:gd name="T37" fmla="*/ 16 h 21"/>
                <a:gd name="T38" fmla="*/ 2 w 31"/>
                <a:gd name="T39" fmla="*/ 19 h 21"/>
                <a:gd name="T40" fmla="*/ 3 w 31"/>
                <a:gd name="T41" fmla="*/ 20 h 21"/>
                <a:gd name="T42" fmla="*/ 6 w 31"/>
                <a:gd name="T43" fmla="*/ 18 h 21"/>
                <a:gd name="T44" fmla="*/ 7 w 31"/>
                <a:gd name="T45" fmla="*/ 18 h 21"/>
                <a:gd name="T46" fmla="*/ 8 w 31"/>
                <a:gd name="T47" fmla="*/ 18 h 21"/>
                <a:gd name="T48" fmla="*/ 15 w 31"/>
                <a:gd name="T49" fmla="*/ 16 h 21"/>
                <a:gd name="T50" fmla="*/ 30 w 31"/>
                <a:gd name="T51" fmla="*/ 21 h 21"/>
                <a:gd name="T52" fmla="*/ 31 w 31"/>
                <a:gd name="T53" fmla="*/ 20 h 21"/>
                <a:gd name="T54" fmla="*/ 30 w 31"/>
                <a:gd name="T55" fmla="*/ 20 h 21"/>
                <a:gd name="T56" fmla="*/ 30 w 31"/>
                <a:gd name="T57" fmla="*/ 20 h 21"/>
                <a:gd name="T58" fmla="*/ 24 w 31"/>
                <a:gd name="T59" fmla="*/ 16 h 21"/>
                <a:gd name="T60" fmla="*/ 20 w 31"/>
                <a:gd name="T61" fmla="*/ 14 h 21"/>
                <a:gd name="T62" fmla="*/ 23 w 31"/>
                <a:gd name="T63" fmla="*/ 11 h 21"/>
                <a:gd name="T64" fmla="*/ 31 w 31"/>
                <a:gd name="T65" fmla="*/ 4 h 21"/>
                <a:gd name="T66" fmla="*/ 27 w 31"/>
                <a:gd name="T67"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21">
                  <a:moveTo>
                    <a:pt x="27" y="0"/>
                  </a:moveTo>
                  <a:cubicBezTo>
                    <a:pt x="26" y="0"/>
                    <a:pt x="26" y="0"/>
                    <a:pt x="26" y="0"/>
                  </a:cubicBezTo>
                  <a:cubicBezTo>
                    <a:pt x="26" y="0"/>
                    <a:pt x="26" y="0"/>
                    <a:pt x="26" y="0"/>
                  </a:cubicBezTo>
                  <a:cubicBezTo>
                    <a:pt x="25" y="0"/>
                    <a:pt x="25" y="1"/>
                    <a:pt x="25" y="1"/>
                  </a:cubicBezTo>
                  <a:cubicBezTo>
                    <a:pt x="24" y="1"/>
                    <a:pt x="24" y="2"/>
                    <a:pt x="23" y="2"/>
                  </a:cubicBezTo>
                  <a:cubicBezTo>
                    <a:pt x="23" y="3"/>
                    <a:pt x="23" y="3"/>
                    <a:pt x="23" y="3"/>
                  </a:cubicBezTo>
                  <a:cubicBezTo>
                    <a:pt x="21" y="4"/>
                    <a:pt x="20" y="5"/>
                    <a:pt x="18" y="6"/>
                  </a:cubicBezTo>
                  <a:cubicBezTo>
                    <a:pt x="18" y="6"/>
                    <a:pt x="18" y="6"/>
                    <a:pt x="18" y="6"/>
                  </a:cubicBezTo>
                  <a:cubicBezTo>
                    <a:pt x="17" y="6"/>
                    <a:pt x="17" y="7"/>
                    <a:pt x="16" y="7"/>
                  </a:cubicBezTo>
                  <a:cubicBezTo>
                    <a:pt x="15" y="7"/>
                    <a:pt x="15" y="7"/>
                    <a:pt x="14" y="8"/>
                  </a:cubicBezTo>
                  <a:cubicBezTo>
                    <a:pt x="13" y="8"/>
                    <a:pt x="11" y="9"/>
                    <a:pt x="9" y="9"/>
                  </a:cubicBezTo>
                  <a:cubicBezTo>
                    <a:pt x="8" y="9"/>
                    <a:pt x="7" y="9"/>
                    <a:pt x="6" y="9"/>
                  </a:cubicBezTo>
                  <a:cubicBezTo>
                    <a:pt x="5" y="8"/>
                    <a:pt x="5" y="8"/>
                    <a:pt x="5" y="8"/>
                  </a:cubicBezTo>
                  <a:cubicBezTo>
                    <a:pt x="5" y="8"/>
                    <a:pt x="5" y="8"/>
                    <a:pt x="5" y="8"/>
                  </a:cubicBezTo>
                  <a:cubicBezTo>
                    <a:pt x="4" y="8"/>
                    <a:pt x="3" y="7"/>
                    <a:pt x="2" y="7"/>
                  </a:cubicBezTo>
                  <a:cubicBezTo>
                    <a:pt x="2" y="7"/>
                    <a:pt x="2" y="7"/>
                    <a:pt x="2" y="7"/>
                  </a:cubicBezTo>
                  <a:cubicBezTo>
                    <a:pt x="1" y="8"/>
                    <a:pt x="1" y="9"/>
                    <a:pt x="1" y="9"/>
                  </a:cubicBezTo>
                  <a:cubicBezTo>
                    <a:pt x="0" y="11"/>
                    <a:pt x="1" y="14"/>
                    <a:pt x="2" y="16"/>
                  </a:cubicBezTo>
                  <a:cubicBezTo>
                    <a:pt x="2" y="16"/>
                    <a:pt x="2" y="16"/>
                    <a:pt x="2" y="16"/>
                  </a:cubicBezTo>
                  <a:cubicBezTo>
                    <a:pt x="2" y="17"/>
                    <a:pt x="2" y="18"/>
                    <a:pt x="2" y="19"/>
                  </a:cubicBezTo>
                  <a:cubicBezTo>
                    <a:pt x="3" y="20"/>
                    <a:pt x="3" y="20"/>
                    <a:pt x="3" y="20"/>
                  </a:cubicBezTo>
                  <a:cubicBezTo>
                    <a:pt x="3" y="19"/>
                    <a:pt x="4" y="19"/>
                    <a:pt x="6" y="18"/>
                  </a:cubicBezTo>
                  <a:cubicBezTo>
                    <a:pt x="6" y="18"/>
                    <a:pt x="7" y="18"/>
                    <a:pt x="7" y="18"/>
                  </a:cubicBezTo>
                  <a:cubicBezTo>
                    <a:pt x="8" y="18"/>
                    <a:pt x="8" y="18"/>
                    <a:pt x="8" y="18"/>
                  </a:cubicBezTo>
                  <a:cubicBezTo>
                    <a:pt x="10" y="17"/>
                    <a:pt x="13" y="16"/>
                    <a:pt x="15" y="16"/>
                  </a:cubicBezTo>
                  <a:cubicBezTo>
                    <a:pt x="20" y="16"/>
                    <a:pt x="27" y="19"/>
                    <a:pt x="30" y="21"/>
                  </a:cubicBezTo>
                  <a:cubicBezTo>
                    <a:pt x="31" y="20"/>
                    <a:pt x="31" y="20"/>
                    <a:pt x="31" y="20"/>
                  </a:cubicBezTo>
                  <a:cubicBezTo>
                    <a:pt x="30" y="20"/>
                    <a:pt x="30" y="20"/>
                    <a:pt x="30" y="20"/>
                  </a:cubicBezTo>
                  <a:cubicBezTo>
                    <a:pt x="30" y="20"/>
                    <a:pt x="30" y="20"/>
                    <a:pt x="30" y="20"/>
                  </a:cubicBezTo>
                  <a:cubicBezTo>
                    <a:pt x="28" y="19"/>
                    <a:pt x="26" y="17"/>
                    <a:pt x="24" y="16"/>
                  </a:cubicBezTo>
                  <a:cubicBezTo>
                    <a:pt x="20" y="14"/>
                    <a:pt x="20" y="14"/>
                    <a:pt x="20" y="14"/>
                  </a:cubicBezTo>
                  <a:cubicBezTo>
                    <a:pt x="23" y="11"/>
                    <a:pt x="23" y="11"/>
                    <a:pt x="23" y="11"/>
                  </a:cubicBezTo>
                  <a:cubicBezTo>
                    <a:pt x="25" y="9"/>
                    <a:pt x="28" y="7"/>
                    <a:pt x="31" y="4"/>
                  </a:cubicBez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1539"/>
            <p:cNvSpPr/>
            <p:nvPr/>
          </p:nvSpPr>
          <p:spPr bwMode="auto">
            <a:xfrm>
              <a:off x="1382606" y="2577288"/>
              <a:ext cx="587943" cy="307395"/>
            </a:xfrm>
            <a:custGeom>
              <a:gdLst>
                <a:gd name="T0" fmla="*/ 31 w 185"/>
                <a:gd name="T1" fmla="*/ 0 h 97"/>
                <a:gd name="T2" fmla="*/ 28 w 185"/>
                <a:gd name="T3" fmla="*/ 8 h 97"/>
                <a:gd name="T4" fmla="*/ 19 w 185"/>
                <a:gd name="T5" fmla="*/ 7 h 97"/>
                <a:gd name="T6" fmla="*/ 6 w 185"/>
                <a:gd name="T7" fmla="*/ 21 h 97"/>
                <a:gd name="T8" fmla="*/ 5 w 185"/>
                <a:gd name="T9" fmla="*/ 26 h 97"/>
                <a:gd name="T10" fmla="*/ 0 w 185"/>
                <a:gd name="T11" fmla="*/ 36 h 97"/>
                <a:gd name="T12" fmla="*/ 10 w 185"/>
                <a:gd name="T13" fmla="*/ 39 h 97"/>
                <a:gd name="T14" fmla="*/ 26 w 185"/>
                <a:gd name="T15" fmla="*/ 48 h 97"/>
                <a:gd name="T16" fmla="*/ 32 w 185"/>
                <a:gd name="T17" fmla="*/ 54 h 97"/>
                <a:gd name="T18" fmla="*/ 37 w 185"/>
                <a:gd name="T19" fmla="*/ 58 h 97"/>
                <a:gd name="T20" fmla="*/ 43 w 185"/>
                <a:gd name="T21" fmla="*/ 58 h 97"/>
                <a:gd name="T22" fmla="*/ 50 w 185"/>
                <a:gd name="T23" fmla="*/ 60 h 97"/>
                <a:gd name="T24" fmla="*/ 62 w 185"/>
                <a:gd name="T25" fmla="*/ 66 h 97"/>
                <a:gd name="T26" fmla="*/ 68 w 185"/>
                <a:gd name="T27" fmla="*/ 70 h 97"/>
                <a:gd name="T28" fmla="*/ 77 w 185"/>
                <a:gd name="T29" fmla="*/ 70 h 97"/>
                <a:gd name="T30" fmla="*/ 79 w 185"/>
                <a:gd name="T31" fmla="*/ 69 h 97"/>
                <a:gd name="T32" fmla="*/ 88 w 185"/>
                <a:gd name="T33" fmla="*/ 70 h 97"/>
                <a:gd name="T34" fmla="*/ 96 w 185"/>
                <a:gd name="T35" fmla="*/ 69 h 97"/>
                <a:gd name="T36" fmla="*/ 104 w 185"/>
                <a:gd name="T37" fmla="*/ 72 h 97"/>
                <a:gd name="T38" fmla="*/ 107 w 185"/>
                <a:gd name="T39" fmla="*/ 80 h 97"/>
                <a:gd name="T40" fmla="*/ 117 w 185"/>
                <a:gd name="T41" fmla="*/ 84 h 97"/>
                <a:gd name="T42" fmla="*/ 120 w 185"/>
                <a:gd name="T43" fmla="*/ 87 h 97"/>
                <a:gd name="T44" fmla="*/ 122 w 185"/>
                <a:gd name="T45" fmla="*/ 87 h 97"/>
                <a:gd name="T46" fmla="*/ 128 w 185"/>
                <a:gd name="T47" fmla="*/ 85 h 97"/>
                <a:gd name="T48" fmla="*/ 131 w 185"/>
                <a:gd name="T49" fmla="*/ 87 h 97"/>
                <a:gd name="T50" fmla="*/ 135 w 185"/>
                <a:gd name="T51" fmla="*/ 92 h 97"/>
                <a:gd name="T52" fmla="*/ 139 w 185"/>
                <a:gd name="T53" fmla="*/ 91 h 97"/>
                <a:gd name="T54" fmla="*/ 147 w 185"/>
                <a:gd name="T55" fmla="*/ 92 h 97"/>
                <a:gd name="T56" fmla="*/ 157 w 185"/>
                <a:gd name="T57" fmla="*/ 94 h 97"/>
                <a:gd name="T58" fmla="*/ 163 w 185"/>
                <a:gd name="T59" fmla="*/ 92 h 97"/>
                <a:gd name="T60" fmla="*/ 165 w 185"/>
                <a:gd name="T61" fmla="*/ 96 h 97"/>
                <a:gd name="T62" fmla="*/ 175 w 185"/>
                <a:gd name="T63" fmla="*/ 96 h 97"/>
                <a:gd name="T64" fmla="*/ 180 w 185"/>
                <a:gd name="T65" fmla="*/ 97 h 97"/>
                <a:gd name="T66" fmla="*/ 182 w 185"/>
                <a:gd name="T67" fmla="*/ 97 h 97"/>
                <a:gd name="T68" fmla="*/ 185 w 185"/>
                <a:gd name="T69" fmla="*/ 90 h 97"/>
                <a:gd name="T70" fmla="*/ 181 w 185"/>
                <a:gd name="T71" fmla="*/ 82 h 97"/>
                <a:gd name="T72" fmla="*/ 179 w 185"/>
                <a:gd name="T73" fmla="*/ 65 h 97"/>
                <a:gd name="T74" fmla="*/ 154 w 185"/>
                <a:gd name="T75" fmla="*/ 60 h 97"/>
                <a:gd name="T76" fmla="*/ 146 w 185"/>
                <a:gd name="T77" fmla="*/ 62 h 97"/>
                <a:gd name="T78" fmla="*/ 139 w 185"/>
                <a:gd name="T79" fmla="*/ 67 h 97"/>
                <a:gd name="T80" fmla="*/ 129 w 185"/>
                <a:gd name="T81" fmla="*/ 54 h 97"/>
                <a:gd name="T82" fmla="*/ 123 w 185"/>
                <a:gd name="T83" fmla="*/ 53 h 97"/>
                <a:gd name="T84" fmla="*/ 117 w 185"/>
                <a:gd name="T85" fmla="*/ 54 h 97"/>
                <a:gd name="T86" fmla="*/ 110 w 185"/>
                <a:gd name="T87" fmla="*/ 47 h 97"/>
                <a:gd name="T88" fmla="*/ 100 w 185"/>
                <a:gd name="T89" fmla="*/ 43 h 97"/>
                <a:gd name="T90" fmla="*/ 92 w 185"/>
                <a:gd name="T91" fmla="*/ 34 h 97"/>
                <a:gd name="T92" fmla="*/ 85 w 185"/>
                <a:gd name="T93" fmla="*/ 31 h 97"/>
                <a:gd name="T94" fmla="*/ 76 w 185"/>
                <a:gd name="T95" fmla="*/ 27 h 97"/>
                <a:gd name="T96" fmla="*/ 72 w 185"/>
                <a:gd name="T97" fmla="*/ 23 h 97"/>
                <a:gd name="T98" fmla="*/ 70 w 185"/>
                <a:gd name="T99" fmla="*/ 20 h 97"/>
                <a:gd name="T100" fmla="*/ 66 w 185"/>
                <a:gd name="T101" fmla="*/ 20 h 97"/>
                <a:gd name="T102" fmla="*/ 55 w 185"/>
                <a:gd name="T103" fmla="*/ 13 h 97"/>
                <a:gd name="T104" fmla="*/ 45 w 185"/>
                <a:gd name="T105" fmla="*/ 7 h 97"/>
                <a:gd name="T106" fmla="*/ 35 w 185"/>
                <a:gd name="T107" fmla="*/ 0 h 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5" h="97">
                  <a:moveTo>
                    <a:pt x="33" y="0"/>
                  </a:moveTo>
                  <a:cubicBezTo>
                    <a:pt x="32" y="0"/>
                    <a:pt x="32" y="0"/>
                    <a:pt x="32" y="0"/>
                  </a:cubicBezTo>
                  <a:cubicBezTo>
                    <a:pt x="32" y="0"/>
                    <a:pt x="32" y="0"/>
                    <a:pt x="32" y="0"/>
                  </a:cubicBezTo>
                  <a:cubicBezTo>
                    <a:pt x="31" y="0"/>
                    <a:pt x="31" y="0"/>
                    <a:pt x="31" y="0"/>
                  </a:cubicBezTo>
                  <a:cubicBezTo>
                    <a:pt x="31" y="1"/>
                    <a:pt x="31" y="1"/>
                    <a:pt x="31" y="1"/>
                  </a:cubicBezTo>
                  <a:cubicBezTo>
                    <a:pt x="31" y="1"/>
                    <a:pt x="31" y="1"/>
                    <a:pt x="31" y="1"/>
                  </a:cubicBezTo>
                  <a:cubicBezTo>
                    <a:pt x="30" y="3"/>
                    <a:pt x="29" y="4"/>
                    <a:pt x="28" y="6"/>
                  </a:cubicBezTo>
                  <a:cubicBezTo>
                    <a:pt x="28" y="8"/>
                    <a:pt x="28" y="8"/>
                    <a:pt x="28" y="8"/>
                  </a:cubicBezTo>
                  <a:cubicBezTo>
                    <a:pt x="26" y="9"/>
                    <a:pt x="26" y="9"/>
                    <a:pt x="26" y="9"/>
                  </a:cubicBezTo>
                  <a:cubicBezTo>
                    <a:pt x="24" y="9"/>
                    <a:pt x="23" y="9"/>
                    <a:pt x="22" y="9"/>
                  </a:cubicBezTo>
                  <a:cubicBezTo>
                    <a:pt x="21" y="9"/>
                    <a:pt x="21" y="9"/>
                    <a:pt x="20" y="8"/>
                  </a:cubicBezTo>
                  <a:cubicBezTo>
                    <a:pt x="19" y="7"/>
                    <a:pt x="19" y="7"/>
                    <a:pt x="19" y="7"/>
                  </a:cubicBezTo>
                  <a:cubicBezTo>
                    <a:pt x="19" y="7"/>
                    <a:pt x="19" y="7"/>
                    <a:pt x="19" y="7"/>
                  </a:cubicBezTo>
                  <a:cubicBezTo>
                    <a:pt x="7" y="19"/>
                    <a:pt x="7" y="19"/>
                    <a:pt x="7" y="19"/>
                  </a:cubicBezTo>
                  <a:cubicBezTo>
                    <a:pt x="7" y="20"/>
                    <a:pt x="7" y="20"/>
                    <a:pt x="7" y="20"/>
                  </a:cubicBezTo>
                  <a:cubicBezTo>
                    <a:pt x="6" y="20"/>
                    <a:pt x="6" y="21"/>
                    <a:pt x="6" y="21"/>
                  </a:cubicBezTo>
                  <a:cubicBezTo>
                    <a:pt x="5" y="22"/>
                    <a:pt x="5" y="22"/>
                    <a:pt x="5" y="22"/>
                  </a:cubicBezTo>
                  <a:cubicBezTo>
                    <a:pt x="5" y="22"/>
                    <a:pt x="5" y="22"/>
                    <a:pt x="5" y="22"/>
                  </a:cubicBezTo>
                  <a:cubicBezTo>
                    <a:pt x="5" y="22"/>
                    <a:pt x="5" y="22"/>
                    <a:pt x="5" y="22"/>
                  </a:cubicBezTo>
                  <a:cubicBezTo>
                    <a:pt x="5" y="23"/>
                    <a:pt x="6" y="24"/>
                    <a:pt x="5" y="26"/>
                  </a:cubicBezTo>
                  <a:cubicBezTo>
                    <a:pt x="5" y="27"/>
                    <a:pt x="4" y="28"/>
                    <a:pt x="3" y="30"/>
                  </a:cubicBezTo>
                  <a:cubicBezTo>
                    <a:pt x="3" y="30"/>
                    <a:pt x="3" y="30"/>
                    <a:pt x="3" y="30"/>
                  </a:cubicBezTo>
                  <a:cubicBezTo>
                    <a:pt x="2" y="32"/>
                    <a:pt x="1" y="33"/>
                    <a:pt x="1" y="34"/>
                  </a:cubicBezTo>
                  <a:cubicBezTo>
                    <a:pt x="1" y="34"/>
                    <a:pt x="1" y="35"/>
                    <a:pt x="0" y="36"/>
                  </a:cubicBezTo>
                  <a:cubicBezTo>
                    <a:pt x="0" y="37"/>
                    <a:pt x="1" y="37"/>
                    <a:pt x="2" y="38"/>
                  </a:cubicBezTo>
                  <a:cubicBezTo>
                    <a:pt x="2" y="38"/>
                    <a:pt x="4" y="39"/>
                    <a:pt x="5" y="40"/>
                  </a:cubicBezTo>
                  <a:cubicBezTo>
                    <a:pt x="5" y="35"/>
                    <a:pt x="5" y="35"/>
                    <a:pt x="5" y="35"/>
                  </a:cubicBezTo>
                  <a:cubicBezTo>
                    <a:pt x="10" y="39"/>
                    <a:pt x="10" y="39"/>
                    <a:pt x="10" y="39"/>
                  </a:cubicBezTo>
                  <a:cubicBezTo>
                    <a:pt x="11" y="40"/>
                    <a:pt x="13" y="41"/>
                    <a:pt x="14" y="42"/>
                  </a:cubicBezTo>
                  <a:cubicBezTo>
                    <a:pt x="15" y="42"/>
                    <a:pt x="15" y="42"/>
                    <a:pt x="15" y="42"/>
                  </a:cubicBezTo>
                  <a:cubicBezTo>
                    <a:pt x="17" y="43"/>
                    <a:pt x="19" y="44"/>
                    <a:pt x="21" y="45"/>
                  </a:cubicBezTo>
                  <a:cubicBezTo>
                    <a:pt x="23" y="46"/>
                    <a:pt x="24" y="47"/>
                    <a:pt x="26" y="48"/>
                  </a:cubicBezTo>
                  <a:cubicBezTo>
                    <a:pt x="28" y="46"/>
                    <a:pt x="28" y="46"/>
                    <a:pt x="28" y="46"/>
                  </a:cubicBezTo>
                  <a:cubicBezTo>
                    <a:pt x="27" y="49"/>
                    <a:pt x="27" y="49"/>
                    <a:pt x="27" y="49"/>
                  </a:cubicBezTo>
                  <a:cubicBezTo>
                    <a:pt x="27" y="50"/>
                    <a:pt x="27" y="50"/>
                    <a:pt x="27" y="50"/>
                  </a:cubicBezTo>
                  <a:cubicBezTo>
                    <a:pt x="29" y="51"/>
                    <a:pt x="30" y="53"/>
                    <a:pt x="32" y="54"/>
                  </a:cubicBezTo>
                  <a:cubicBezTo>
                    <a:pt x="32" y="54"/>
                    <a:pt x="32" y="54"/>
                    <a:pt x="32" y="54"/>
                  </a:cubicBezTo>
                  <a:cubicBezTo>
                    <a:pt x="33" y="55"/>
                    <a:pt x="33" y="55"/>
                    <a:pt x="33" y="55"/>
                  </a:cubicBezTo>
                  <a:cubicBezTo>
                    <a:pt x="34" y="56"/>
                    <a:pt x="34" y="56"/>
                    <a:pt x="35" y="56"/>
                  </a:cubicBezTo>
                  <a:cubicBezTo>
                    <a:pt x="37" y="58"/>
                    <a:pt x="37" y="58"/>
                    <a:pt x="37" y="58"/>
                  </a:cubicBezTo>
                  <a:cubicBezTo>
                    <a:pt x="38" y="59"/>
                    <a:pt x="39" y="59"/>
                    <a:pt x="40" y="59"/>
                  </a:cubicBezTo>
                  <a:cubicBezTo>
                    <a:pt x="40" y="59"/>
                    <a:pt x="40" y="59"/>
                    <a:pt x="40" y="59"/>
                  </a:cubicBezTo>
                  <a:cubicBezTo>
                    <a:pt x="40" y="59"/>
                    <a:pt x="40" y="59"/>
                    <a:pt x="40" y="59"/>
                  </a:cubicBezTo>
                  <a:cubicBezTo>
                    <a:pt x="41" y="59"/>
                    <a:pt x="42" y="58"/>
                    <a:pt x="43" y="58"/>
                  </a:cubicBezTo>
                  <a:cubicBezTo>
                    <a:pt x="44" y="58"/>
                    <a:pt x="44" y="58"/>
                    <a:pt x="44" y="58"/>
                  </a:cubicBezTo>
                  <a:cubicBezTo>
                    <a:pt x="44" y="58"/>
                    <a:pt x="44" y="58"/>
                    <a:pt x="44" y="58"/>
                  </a:cubicBezTo>
                  <a:cubicBezTo>
                    <a:pt x="44" y="58"/>
                    <a:pt x="45" y="58"/>
                    <a:pt x="45" y="59"/>
                  </a:cubicBezTo>
                  <a:cubicBezTo>
                    <a:pt x="47" y="59"/>
                    <a:pt x="48" y="60"/>
                    <a:pt x="50" y="60"/>
                  </a:cubicBezTo>
                  <a:cubicBezTo>
                    <a:pt x="60" y="64"/>
                    <a:pt x="60" y="64"/>
                    <a:pt x="60" y="64"/>
                  </a:cubicBezTo>
                  <a:cubicBezTo>
                    <a:pt x="61" y="64"/>
                    <a:pt x="61" y="64"/>
                    <a:pt x="61" y="64"/>
                  </a:cubicBezTo>
                  <a:cubicBezTo>
                    <a:pt x="61" y="65"/>
                    <a:pt x="61" y="65"/>
                    <a:pt x="61" y="65"/>
                  </a:cubicBezTo>
                  <a:cubicBezTo>
                    <a:pt x="62" y="66"/>
                    <a:pt x="62" y="66"/>
                    <a:pt x="62" y="66"/>
                  </a:cubicBezTo>
                  <a:cubicBezTo>
                    <a:pt x="62" y="66"/>
                    <a:pt x="62" y="67"/>
                    <a:pt x="62" y="68"/>
                  </a:cubicBezTo>
                  <a:cubicBezTo>
                    <a:pt x="63" y="69"/>
                    <a:pt x="63" y="69"/>
                    <a:pt x="63" y="69"/>
                  </a:cubicBezTo>
                  <a:cubicBezTo>
                    <a:pt x="63" y="69"/>
                    <a:pt x="64" y="69"/>
                    <a:pt x="65" y="69"/>
                  </a:cubicBezTo>
                  <a:cubicBezTo>
                    <a:pt x="66" y="70"/>
                    <a:pt x="67" y="70"/>
                    <a:pt x="68" y="70"/>
                  </a:cubicBezTo>
                  <a:cubicBezTo>
                    <a:pt x="70" y="70"/>
                    <a:pt x="72" y="71"/>
                    <a:pt x="74" y="72"/>
                  </a:cubicBezTo>
                  <a:cubicBezTo>
                    <a:pt x="75" y="71"/>
                    <a:pt x="75" y="71"/>
                    <a:pt x="75" y="71"/>
                  </a:cubicBezTo>
                  <a:cubicBezTo>
                    <a:pt x="76" y="70"/>
                    <a:pt x="76" y="70"/>
                    <a:pt x="76" y="70"/>
                  </a:cubicBezTo>
                  <a:cubicBezTo>
                    <a:pt x="77" y="70"/>
                    <a:pt x="77" y="70"/>
                    <a:pt x="77" y="70"/>
                  </a:cubicBezTo>
                  <a:cubicBezTo>
                    <a:pt x="78" y="69"/>
                    <a:pt x="78" y="69"/>
                    <a:pt x="78" y="69"/>
                  </a:cubicBezTo>
                  <a:cubicBezTo>
                    <a:pt x="79" y="69"/>
                    <a:pt x="79" y="69"/>
                    <a:pt x="79" y="69"/>
                  </a:cubicBezTo>
                  <a:cubicBezTo>
                    <a:pt x="79" y="69"/>
                    <a:pt x="79" y="69"/>
                    <a:pt x="79" y="69"/>
                  </a:cubicBezTo>
                  <a:cubicBezTo>
                    <a:pt x="79" y="69"/>
                    <a:pt x="79" y="69"/>
                    <a:pt x="79" y="69"/>
                  </a:cubicBezTo>
                  <a:cubicBezTo>
                    <a:pt x="80" y="70"/>
                    <a:pt x="80" y="70"/>
                    <a:pt x="80" y="70"/>
                  </a:cubicBezTo>
                  <a:cubicBezTo>
                    <a:pt x="85" y="72"/>
                    <a:pt x="85" y="72"/>
                    <a:pt x="85" y="72"/>
                  </a:cubicBezTo>
                  <a:cubicBezTo>
                    <a:pt x="85" y="71"/>
                    <a:pt x="85" y="71"/>
                    <a:pt x="85" y="71"/>
                  </a:cubicBezTo>
                  <a:cubicBezTo>
                    <a:pt x="86" y="71"/>
                    <a:pt x="87" y="70"/>
                    <a:pt x="88" y="70"/>
                  </a:cubicBezTo>
                  <a:cubicBezTo>
                    <a:pt x="87" y="65"/>
                    <a:pt x="87" y="65"/>
                    <a:pt x="87" y="65"/>
                  </a:cubicBezTo>
                  <a:cubicBezTo>
                    <a:pt x="89" y="69"/>
                    <a:pt x="89" y="69"/>
                    <a:pt x="89" y="69"/>
                  </a:cubicBezTo>
                  <a:cubicBezTo>
                    <a:pt x="90" y="69"/>
                    <a:pt x="91" y="68"/>
                    <a:pt x="93" y="68"/>
                  </a:cubicBezTo>
                  <a:cubicBezTo>
                    <a:pt x="94" y="68"/>
                    <a:pt x="95" y="69"/>
                    <a:pt x="96" y="69"/>
                  </a:cubicBezTo>
                  <a:cubicBezTo>
                    <a:pt x="96" y="69"/>
                    <a:pt x="96" y="69"/>
                    <a:pt x="96" y="69"/>
                  </a:cubicBezTo>
                  <a:cubicBezTo>
                    <a:pt x="97" y="69"/>
                    <a:pt x="97" y="69"/>
                    <a:pt x="97" y="69"/>
                  </a:cubicBezTo>
                  <a:cubicBezTo>
                    <a:pt x="98" y="70"/>
                    <a:pt x="98" y="70"/>
                    <a:pt x="98" y="70"/>
                  </a:cubicBezTo>
                  <a:cubicBezTo>
                    <a:pt x="100" y="70"/>
                    <a:pt x="102" y="71"/>
                    <a:pt x="104" y="72"/>
                  </a:cubicBezTo>
                  <a:cubicBezTo>
                    <a:pt x="105" y="73"/>
                    <a:pt x="106" y="74"/>
                    <a:pt x="107" y="76"/>
                  </a:cubicBezTo>
                  <a:cubicBezTo>
                    <a:pt x="107" y="77"/>
                    <a:pt x="107" y="77"/>
                    <a:pt x="107" y="78"/>
                  </a:cubicBezTo>
                  <a:cubicBezTo>
                    <a:pt x="107" y="78"/>
                    <a:pt x="107" y="79"/>
                    <a:pt x="107" y="80"/>
                  </a:cubicBezTo>
                  <a:cubicBezTo>
                    <a:pt x="107" y="80"/>
                    <a:pt x="107" y="80"/>
                    <a:pt x="107" y="80"/>
                  </a:cubicBezTo>
                  <a:cubicBezTo>
                    <a:pt x="108" y="81"/>
                    <a:pt x="108" y="81"/>
                    <a:pt x="108" y="81"/>
                  </a:cubicBezTo>
                  <a:cubicBezTo>
                    <a:pt x="109" y="81"/>
                    <a:pt x="110" y="81"/>
                    <a:pt x="110" y="82"/>
                  </a:cubicBezTo>
                  <a:cubicBezTo>
                    <a:pt x="111" y="82"/>
                    <a:pt x="111" y="82"/>
                    <a:pt x="111" y="82"/>
                  </a:cubicBezTo>
                  <a:cubicBezTo>
                    <a:pt x="113" y="83"/>
                    <a:pt x="115" y="83"/>
                    <a:pt x="117" y="84"/>
                  </a:cubicBezTo>
                  <a:cubicBezTo>
                    <a:pt x="121" y="79"/>
                    <a:pt x="121" y="79"/>
                    <a:pt x="121" y="79"/>
                  </a:cubicBezTo>
                  <a:cubicBezTo>
                    <a:pt x="118" y="85"/>
                    <a:pt x="118" y="85"/>
                    <a:pt x="118" y="85"/>
                  </a:cubicBezTo>
                  <a:cubicBezTo>
                    <a:pt x="119" y="85"/>
                    <a:pt x="119" y="85"/>
                    <a:pt x="119" y="85"/>
                  </a:cubicBezTo>
                  <a:cubicBezTo>
                    <a:pt x="119" y="86"/>
                    <a:pt x="120" y="86"/>
                    <a:pt x="120" y="87"/>
                  </a:cubicBezTo>
                  <a:cubicBezTo>
                    <a:pt x="121" y="87"/>
                    <a:pt x="121" y="87"/>
                    <a:pt x="121" y="87"/>
                  </a:cubicBezTo>
                  <a:cubicBezTo>
                    <a:pt x="121" y="87"/>
                    <a:pt x="121" y="87"/>
                    <a:pt x="121" y="87"/>
                  </a:cubicBezTo>
                  <a:cubicBezTo>
                    <a:pt x="121" y="87"/>
                    <a:pt x="121" y="87"/>
                    <a:pt x="121" y="87"/>
                  </a:cubicBezTo>
                  <a:cubicBezTo>
                    <a:pt x="121" y="87"/>
                    <a:pt x="122" y="87"/>
                    <a:pt x="122" y="87"/>
                  </a:cubicBezTo>
                  <a:cubicBezTo>
                    <a:pt x="123" y="87"/>
                    <a:pt x="123" y="87"/>
                    <a:pt x="123" y="87"/>
                  </a:cubicBezTo>
                  <a:cubicBezTo>
                    <a:pt x="124" y="86"/>
                    <a:pt x="125" y="86"/>
                    <a:pt x="126" y="86"/>
                  </a:cubicBezTo>
                  <a:cubicBezTo>
                    <a:pt x="126" y="86"/>
                    <a:pt x="126" y="86"/>
                    <a:pt x="126" y="86"/>
                  </a:cubicBezTo>
                  <a:cubicBezTo>
                    <a:pt x="127" y="86"/>
                    <a:pt x="127" y="85"/>
                    <a:pt x="128" y="85"/>
                  </a:cubicBezTo>
                  <a:cubicBezTo>
                    <a:pt x="128" y="85"/>
                    <a:pt x="128" y="85"/>
                    <a:pt x="128" y="85"/>
                  </a:cubicBezTo>
                  <a:cubicBezTo>
                    <a:pt x="130" y="85"/>
                    <a:pt x="130" y="85"/>
                    <a:pt x="130" y="85"/>
                  </a:cubicBezTo>
                  <a:cubicBezTo>
                    <a:pt x="131" y="86"/>
                    <a:pt x="131" y="86"/>
                    <a:pt x="131" y="86"/>
                  </a:cubicBezTo>
                  <a:cubicBezTo>
                    <a:pt x="131" y="87"/>
                    <a:pt x="131" y="87"/>
                    <a:pt x="131" y="87"/>
                  </a:cubicBezTo>
                  <a:cubicBezTo>
                    <a:pt x="131" y="87"/>
                    <a:pt x="131" y="87"/>
                    <a:pt x="131" y="87"/>
                  </a:cubicBezTo>
                  <a:cubicBezTo>
                    <a:pt x="132" y="88"/>
                    <a:pt x="132" y="88"/>
                    <a:pt x="132" y="88"/>
                  </a:cubicBezTo>
                  <a:cubicBezTo>
                    <a:pt x="133" y="89"/>
                    <a:pt x="133" y="89"/>
                    <a:pt x="134" y="90"/>
                  </a:cubicBezTo>
                  <a:cubicBezTo>
                    <a:pt x="134" y="91"/>
                    <a:pt x="134" y="91"/>
                    <a:pt x="135" y="92"/>
                  </a:cubicBezTo>
                  <a:cubicBezTo>
                    <a:pt x="135" y="92"/>
                    <a:pt x="135" y="92"/>
                    <a:pt x="135" y="92"/>
                  </a:cubicBezTo>
                  <a:cubicBezTo>
                    <a:pt x="136" y="92"/>
                    <a:pt x="136" y="92"/>
                    <a:pt x="137" y="92"/>
                  </a:cubicBezTo>
                  <a:cubicBezTo>
                    <a:pt x="138" y="92"/>
                    <a:pt x="138" y="92"/>
                    <a:pt x="138" y="92"/>
                  </a:cubicBezTo>
                  <a:cubicBezTo>
                    <a:pt x="138" y="91"/>
                    <a:pt x="139" y="91"/>
                    <a:pt x="139" y="91"/>
                  </a:cubicBezTo>
                  <a:cubicBezTo>
                    <a:pt x="140" y="91"/>
                    <a:pt x="140" y="91"/>
                    <a:pt x="141" y="91"/>
                  </a:cubicBezTo>
                  <a:cubicBezTo>
                    <a:pt x="141" y="91"/>
                    <a:pt x="142" y="91"/>
                    <a:pt x="143" y="91"/>
                  </a:cubicBezTo>
                  <a:cubicBezTo>
                    <a:pt x="144" y="92"/>
                    <a:pt x="144" y="92"/>
                    <a:pt x="144" y="92"/>
                  </a:cubicBezTo>
                  <a:cubicBezTo>
                    <a:pt x="145" y="92"/>
                    <a:pt x="146" y="92"/>
                    <a:pt x="147" y="92"/>
                  </a:cubicBezTo>
                  <a:cubicBezTo>
                    <a:pt x="148" y="93"/>
                    <a:pt x="149" y="93"/>
                    <a:pt x="150" y="93"/>
                  </a:cubicBezTo>
                  <a:cubicBezTo>
                    <a:pt x="154" y="95"/>
                    <a:pt x="154" y="95"/>
                    <a:pt x="154" y="95"/>
                  </a:cubicBezTo>
                  <a:cubicBezTo>
                    <a:pt x="154" y="95"/>
                    <a:pt x="155" y="95"/>
                    <a:pt x="156" y="94"/>
                  </a:cubicBezTo>
                  <a:cubicBezTo>
                    <a:pt x="157" y="94"/>
                    <a:pt x="157" y="94"/>
                    <a:pt x="157" y="94"/>
                  </a:cubicBezTo>
                  <a:cubicBezTo>
                    <a:pt x="158" y="93"/>
                    <a:pt x="159" y="92"/>
                    <a:pt x="160" y="92"/>
                  </a:cubicBezTo>
                  <a:cubicBezTo>
                    <a:pt x="160" y="92"/>
                    <a:pt x="161" y="92"/>
                    <a:pt x="161" y="92"/>
                  </a:cubicBezTo>
                  <a:cubicBezTo>
                    <a:pt x="162" y="92"/>
                    <a:pt x="162" y="92"/>
                    <a:pt x="162" y="92"/>
                  </a:cubicBezTo>
                  <a:cubicBezTo>
                    <a:pt x="162" y="92"/>
                    <a:pt x="162" y="92"/>
                    <a:pt x="163" y="92"/>
                  </a:cubicBezTo>
                  <a:cubicBezTo>
                    <a:pt x="163" y="93"/>
                    <a:pt x="163" y="93"/>
                    <a:pt x="163" y="93"/>
                  </a:cubicBezTo>
                  <a:cubicBezTo>
                    <a:pt x="164" y="93"/>
                    <a:pt x="164" y="93"/>
                    <a:pt x="164" y="93"/>
                  </a:cubicBezTo>
                  <a:cubicBezTo>
                    <a:pt x="164" y="93"/>
                    <a:pt x="164" y="94"/>
                    <a:pt x="165" y="95"/>
                  </a:cubicBezTo>
                  <a:cubicBezTo>
                    <a:pt x="165" y="95"/>
                    <a:pt x="165" y="95"/>
                    <a:pt x="165" y="96"/>
                  </a:cubicBezTo>
                  <a:cubicBezTo>
                    <a:pt x="165" y="96"/>
                    <a:pt x="165" y="96"/>
                    <a:pt x="165" y="96"/>
                  </a:cubicBezTo>
                  <a:cubicBezTo>
                    <a:pt x="165" y="96"/>
                    <a:pt x="165" y="96"/>
                    <a:pt x="165" y="96"/>
                  </a:cubicBezTo>
                  <a:cubicBezTo>
                    <a:pt x="166" y="96"/>
                    <a:pt x="167" y="96"/>
                    <a:pt x="169" y="96"/>
                  </a:cubicBezTo>
                  <a:cubicBezTo>
                    <a:pt x="175" y="96"/>
                    <a:pt x="175" y="96"/>
                    <a:pt x="175" y="96"/>
                  </a:cubicBezTo>
                  <a:cubicBezTo>
                    <a:pt x="176" y="96"/>
                    <a:pt x="176" y="96"/>
                    <a:pt x="176" y="96"/>
                  </a:cubicBezTo>
                  <a:cubicBezTo>
                    <a:pt x="176" y="96"/>
                    <a:pt x="176" y="96"/>
                    <a:pt x="176" y="96"/>
                  </a:cubicBezTo>
                  <a:cubicBezTo>
                    <a:pt x="177" y="96"/>
                    <a:pt x="177" y="97"/>
                    <a:pt x="178" y="97"/>
                  </a:cubicBezTo>
                  <a:cubicBezTo>
                    <a:pt x="179" y="97"/>
                    <a:pt x="180" y="97"/>
                    <a:pt x="180" y="97"/>
                  </a:cubicBezTo>
                  <a:cubicBezTo>
                    <a:pt x="181" y="97"/>
                    <a:pt x="181" y="97"/>
                    <a:pt x="181" y="97"/>
                  </a:cubicBezTo>
                  <a:cubicBezTo>
                    <a:pt x="181" y="97"/>
                    <a:pt x="181" y="97"/>
                    <a:pt x="181" y="97"/>
                  </a:cubicBezTo>
                  <a:cubicBezTo>
                    <a:pt x="182" y="97"/>
                    <a:pt x="182" y="97"/>
                    <a:pt x="182" y="97"/>
                  </a:cubicBezTo>
                  <a:cubicBezTo>
                    <a:pt x="182" y="97"/>
                    <a:pt x="182" y="97"/>
                    <a:pt x="182" y="97"/>
                  </a:cubicBezTo>
                  <a:cubicBezTo>
                    <a:pt x="183" y="96"/>
                    <a:pt x="183" y="96"/>
                    <a:pt x="183" y="96"/>
                  </a:cubicBezTo>
                  <a:cubicBezTo>
                    <a:pt x="183" y="95"/>
                    <a:pt x="183" y="95"/>
                    <a:pt x="183" y="95"/>
                  </a:cubicBezTo>
                  <a:cubicBezTo>
                    <a:pt x="184" y="93"/>
                    <a:pt x="185" y="91"/>
                    <a:pt x="185" y="90"/>
                  </a:cubicBezTo>
                  <a:cubicBezTo>
                    <a:pt x="185" y="90"/>
                    <a:pt x="185" y="90"/>
                    <a:pt x="185" y="90"/>
                  </a:cubicBezTo>
                  <a:cubicBezTo>
                    <a:pt x="184" y="89"/>
                    <a:pt x="184" y="89"/>
                    <a:pt x="184" y="88"/>
                  </a:cubicBezTo>
                  <a:cubicBezTo>
                    <a:pt x="183" y="87"/>
                    <a:pt x="183" y="87"/>
                    <a:pt x="182" y="86"/>
                  </a:cubicBezTo>
                  <a:cubicBezTo>
                    <a:pt x="182" y="85"/>
                    <a:pt x="182" y="85"/>
                    <a:pt x="182" y="85"/>
                  </a:cubicBezTo>
                  <a:cubicBezTo>
                    <a:pt x="181" y="84"/>
                    <a:pt x="181" y="83"/>
                    <a:pt x="181" y="82"/>
                  </a:cubicBezTo>
                  <a:cubicBezTo>
                    <a:pt x="181" y="80"/>
                    <a:pt x="181" y="78"/>
                    <a:pt x="181" y="75"/>
                  </a:cubicBezTo>
                  <a:cubicBezTo>
                    <a:pt x="181" y="72"/>
                    <a:pt x="182" y="69"/>
                    <a:pt x="183" y="67"/>
                  </a:cubicBezTo>
                  <a:cubicBezTo>
                    <a:pt x="183" y="65"/>
                    <a:pt x="183" y="65"/>
                    <a:pt x="183" y="65"/>
                  </a:cubicBezTo>
                  <a:cubicBezTo>
                    <a:pt x="182" y="65"/>
                    <a:pt x="180" y="65"/>
                    <a:pt x="179" y="65"/>
                  </a:cubicBezTo>
                  <a:cubicBezTo>
                    <a:pt x="176" y="65"/>
                    <a:pt x="173" y="65"/>
                    <a:pt x="170" y="65"/>
                  </a:cubicBezTo>
                  <a:cubicBezTo>
                    <a:pt x="167" y="64"/>
                    <a:pt x="164" y="64"/>
                    <a:pt x="162" y="63"/>
                  </a:cubicBezTo>
                  <a:cubicBezTo>
                    <a:pt x="159" y="62"/>
                    <a:pt x="157" y="61"/>
                    <a:pt x="155" y="60"/>
                  </a:cubicBezTo>
                  <a:cubicBezTo>
                    <a:pt x="154" y="60"/>
                    <a:pt x="154" y="60"/>
                    <a:pt x="154" y="60"/>
                  </a:cubicBezTo>
                  <a:cubicBezTo>
                    <a:pt x="153" y="59"/>
                    <a:pt x="153" y="59"/>
                    <a:pt x="153" y="59"/>
                  </a:cubicBezTo>
                  <a:cubicBezTo>
                    <a:pt x="153" y="60"/>
                    <a:pt x="153" y="60"/>
                    <a:pt x="153" y="60"/>
                  </a:cubicBezTo>
                  <a:cubicBezTo>
                    <a:pt x="152" y="61"/>
                    <a:pt x="151" y="62"/>
                    <a:pt x="148" y="62"/>
                  </a:cubicBezTo>
                  <a:cubicBezTo>
                    <a:pt x="148" y="62"/>
                    <a:pt x="147" y="62"/>
                    <a:pt x="146" y="62"/>
                  </a:cubicBezTo>
                  <a:cubicBezTo>
                    <a:pt x="145" y="62"/>
                    <a:pt x="145" y="62"/>
                    <a:pt x="145" y="62"/>
                  </a:cubicBezTo>
                  <a:cubicBezTo>
                    <a:pt x="144" y="62"/>
                    <a:pt x="143" y="61"/>
                    <a:pt x="141" y="61"/>
                  </a:cubicBezTo>
                  <a:cubicBezTo>
                    <a:pt x="141" y="61"/>
                    <a:pt x="141" y="61"/>
                    <a:pt x="141" y="61"/>
                  </a:cubicBezTo>
                  <a:cubicBezTo>
                    <a:pt x="139" y="67"/>
                    <a:pt x="139" y="67"/>
                    <a:pt x="139" y="67"/>
                  </a:cubicBezTo>
                  <a:cubicBezTo>
                    <a:pt x="134" y="61"/>
                    <a:pt x="134" y="61"/>
                    <a:pt x="134" y="61"/>
                  </a:cubicBezTo>
                  <a:cubicBezTo>
                    <a:pt x="133" y="59"/>
                    <a:pt x="131" y="58"/>
                    <a:pt x="130" y="56"/>
                  </a:cubicBezTo>
                  <a:cubicBezTo>
                    <a:pt x="130" y="55"/>
                    <a:pt x="130" y="55"/>
                    <a:pt x="130" y="55"/>
                  </a:cubicBezTo>
                  <a:cubicBezTo>
                    <a:pt x="129" y="54"/>
                    <a:pt x="129" y="54"/>
                    <a:pt x="129" y="54"/>
                  </a:cubicBezTo>
                  <a:cubicBezTo>
                    <a:pt x="128" y="54"/>
                    <a:pt x="128" y="54"/>
                    <a:pt x="128" y="54"/>
                  </a:cubicBezTo>
                  <a:cubicBezTo>
                    <a:pt x="128" y="53"/>
                    <a:pt x="127" y="53"/>
                    <a:pt x="127" y="53"/>
                  </a:cubicBezTo>
                  <a:cubicBezTo>
                    <a:pt x="126" y="53"/>
                    <a:pt x="126" y="53"/>
                    <a:pt x="126" y="53"/>
                  </a:cubicBezTo>
                  <a:cubicBezTo>
                    <a:pt x="125" y="53"/>
                    <a:pt x="124" y="53"/>
                    <a:pt x="123" y="53"/>
                  </a:cubicBezTo>
                  <a:cubicBezTo>
                    <a:pt x="123" y="53"/>
                    <a:pt x="123" y="53"/>
                    <a:pt x="123" y="53"/>
                  </a:cubicBezTo>
                  <a:cubicBezTo>
                    <a:pt x="122" y="54"/>
                    <a:pt x="121" y="54"/>
                    <a:pt x="121" y="54"/>
                  </a:cubicBezTo>
                  <a:cubicBezTo>
                    <a:pt x="120" y="54"/>
                    <a:pt x="119" y="54"/>
                    <a:pt x="119" y="54"/>
                  </a:cubicBezTo>
                  <a:cubicBezTo>
                    <a:pt x="118" y="54"/>
                    <a:pt x="118" y="54"/>
                    <a:pt x="117" y="54"/>
                  </a:cubicBezTo>
                  <a:cubicBezTo>
                    <a:pt x="115" y="53"/>
                    <a:pt x="114" y="53"/>
                    <a:pt x="113" y="52"/>
                  </a:cubicBezTo>
                  <a:cubicBezTo>
                    <a:pt x="113" y="50"/>
                    <a:pt x="113" y="49"/>
                    <a:pt x="113" y="47"/>
                  </a:cubicBezTo>
                  <a:cubicBezTo>
                    <a:pt x="112" y="47"/>
                    <a:pt x="112" y="47"/>
                    <a:pt x="111" y="47"/>
                  </a:cubicBezTo>
                  <a:cubicBezTo>
                    <a:pt x="111" y="47"/>
                    <a:pt x="110" y="47"/>
                    <a:pt x="110" y="47"/>
                  </a:cubicBezTo>
                  <a:cubicBezTo>
                    <a:pt x="108" y="47"/>
                    <a:pt x="107" y="46"/>
                    <a:pt x="105" y="46"/>
                  </a:cubicBezTo>
                  <a:cubicBezTo>
                    <a:pt x="104" y="45"/>
                    <a:pt x="103" y="45"/>
                    <a:pt x="102" y="44"/>
                  </a:cubicBezTo>
                  <a:cubicBezTo>
                    <a:pt x="102" y="44"/>
                    <a:pt x="102" y="44"/>
                    <a:pt x="102" y="44"/>
                  </a:cubicBezTo>
                  <a:cubicBezTo>
                    <a:pt x="101" y="43"/>
                    <a:pt x="101" y="43"/>
                    <a:pt x="100" y="43"/>
                  </a:cubicBezTo>
                  <a:cubicBezTo>
                    <a:pt x="99" y="42"/>
                    <a:pt x="99" y="42"/>
                    <a:pt x="99" y="42"/>
                  </a:cubicBezTo>
                  <a:cubicBezTo>
                    <a:pt x="98" y="41"/>
                    <a:pt x="97" y="41"/>
                    <a:pt x="97" y="41"/>
                  </a:cubicBezTo>
                  <a:cubicBezTo>
                    <a:pt x="96" y="40"/>
                    <a:pt x="96" y="40"/>
                    <a:pt x="96" y="40"/>
                  </a:cubicBezTo>
                  <a:cubicBezTo>
                    <a:pt x="95" y="39"/>
                    <a:pt x="92" y="37"/>
                    <a:pt x="92" y="34"/>
                  </a:cubicBezTo>
                  <a:cubicBezTo>
                    <a:pt x="92" y="32"/>
                    <a:pt x="92" y="32"/>
                    <a:pt x="92" y="32"/>
                  </a:cubicBezTo>
                  <a:cubicBezTo>
                    <a:pt x="91" y="32"/>
                    <a:pt x="91" y="31"/>
                    <a:pt x="91" y="30"/>
                  </a:cubicBezTo>
                  <a:cubicBezTo>
                    <a:pt x="90" y="30"/>
                    <a:pt x="90" y="30"/>
                    <a:pt x="90" y="30"/>
                  </a:cubicBezTo>
                  <a:cubicBezTo>
                    <a:pt x="89" y="30"/>
                    <a:pt x="87" y="31"/>
                    <a:pt x="85" y="31"/>
                  </a:cubicBezTo>
                  <a:cubicBezTo>
                    <a:pt x="84" y="31"/>
                    <a:pt x="84" y="31"/>
                    <a:pt x="84" y="31"/>
                  </a:cubicBezTo>
                  <a:cubicBezTo>
                    <a:pt x="83" y="32"/>
                    <a:pt x="83" y="32"/>
                    <a:pt x="82" y="32"/>
                  </a:cubicBezTo>
                  <a:cubicBezTo>
                    <a:pt x="79" y="32"/>
                    <a:pt x="78" y="30"/>
                    <a:pt x="76" y="28"/>
                  </a:cubicBezTo>
                  <a:cubicBezTo>
                    <a:pt x="76" y="27"/>
                    <a:pt x="76" y="27"/>
                    <a:pt x="76" y="27"/>
                  </a:cubicBezTo>
                  <a:cubicBezTo>
                    <a:pt x="75" y="27"/>
                    <a:pt x="75" y="27"/>
                    <a:pt x="75" y="27"/>
                  </a:cubicBezTo>
                  <a:cubicBezTo>
                    <a:pt x="75" y="26"/>
                    <a:pt x="75" y="26"/>
                    <a:pt x="75" y="26"/>
                  </a:cubicBezTo>
                  <a:cubicBezTo>
                    <a:pt x="74" y="25"/>
                    <a:pt x="73" y="24"/>
                    <a:pt x="72" y="23"/>
                  </a:cubicBezTo>
                  <a:cubicBezTo>
                    <a:pt x="72" y="23"/>
                    <a:pt x="72" y="23"/>
                    <a:pt x="72" y="23"/>
                  </a:cubicBezTo>
                  <a:cubicBezTo>
                    <a:pt x="72" y="23"/>
                    <a:pt x="72" y="23"/>
                    <a:pt x="72" y="23"/>
                  </a:cubicBezTo>
                  <a:cubicBezTo>
                    <a:pt x="71" y="22"/>
                    <a:pt x="71" y="22"/>
                    <a:pt x="71" y="22"/>
                  </a:cubicBezTo>
                  <a:cubicBezTo>
                    <a:pt x="71" y="21"/>
                    <a:pt x="71" y="21"/>
                    <a:pt x="70" y="21"/>
                  </a:cubicBezTo>
                  <a:cubicBezTo>
                    <a:pt x="70" y="20"/>
                    <a:pt x="70" y="20"/>
                    <a:pt x="70" y="20"/>
                  </a:cubicBezTo>
                  <a:cubicBezTo>
                    <a:pt x="69" y="26"/>
                    <a:pt x="69" y="26"/>
                    <a:pt x="69" y="26"/>
                  </a:cubicBezTo>
                  <a:cubicBezTo>
                    <a:pt x="68" y="20"/>
                    <a:pt x="68" y="20"/>
                    <a:pt x="68" y="20"/>
                  </a:cubicBezTo>
                  <a:cubicBezTo>
                    <a:pt x="67" y="20"/>
                    <a:pt x="67" y="20"/>
                    <a:pt x="67" y="20"/>
                  </a:cubicBezTo>
                  <a:cubicBezTo>
                    <a:pt x="67" y="20"/>
                    <a:pt x="67" y="20"/>
                    <a:pt x="66" y="20"/>
                  </a:cubicBezTo>
                  <a:cubicBezTo>
                    <a:pt x="66" y="19"/>
                    <a:pt x="66" y="19"/>
                    <a:pt x="66" y="19"/>
                  </a:cubicBezTo>
                  <a:cubicBezTo>
                    <a:pt x="63" y="19"/>
                    <a:pt x="61" y="18"/>
                    <a:pt x="59" y="17"/>
                  </a:cubicBezTo>
                  <a:cubicBezTo>
                    <a:pt x="58" y="16"/>
                    <a:pt x="58" y="16"/>
                    <a:pt x="58" y="16"/>
                  </a:cubicBezTo>
                  <a:cubicBezTo>
                    <a:pt x="57" y="15"/>
                    <a:pt x="56" y="14"/>
                    <a:pt x="55" y="13"/>
                  </a:cubicBezTo>
                  <a:cubicBezTo>
                    <a:pt x="54" y="12"/>
                    <a:pt x="54" y="12"/>
                    <a:pt x="53" y="12"/>
                  </a:cubicBezTo>
                  <a:cubicBezTo>
                    <a:pt x="51" y="11"/>
                    <a:pt x="51" y="11"/>
                    <a:pt x="51" y="11"/>
                  </a:cubicBezTo>
                  <a:cubicBezTo>
                    <a:pt x="51" y="10"/>
                    <a:pt x="50" y="10"/>
                    <a:pt x="49" y="10"/>
                  </a:cubicBezTo>
                  <a:cubicBezTo>
                    <a:pt x="47" y="9"/>
                    <a:pt x="46" y="8"/>
                    <a:pt x="45" y="7"/>
                  </a:cubicBezTo>
                  <a:cubicBezTo>
                    <a:pt x="44" y="7"/>
                    <a:pt x="44" y="7"/>
                    <a:pt x="44" y="7"/>
                  </a:cubicBezTo>
                  <a:cubicBezTo>
                    <a:pt x="43" y="5"/>
                    <a:pt x="43" y="4"/>
                    <a:pt x="42" y="3"/>
                  </a:cubicBezTo>
                  <a:cubicBezTo>
                    <a:pt x="42" y="2"/>
                    <a:pt x="42" y="1"/>
                    <a:pt x="41" y="1"/>
                  </a:cubicBezTo>
                  <a:cubicBezTo>
                    <a:pt x="41" y="1"/>
                    <a:pt x="38" y="0"/>
                    <a:pt x="35" y="0"/>
                  </a:cubicBezTo>
                  <a:cubicBezTo>
                    <a:pt x="34" y="0"/>
                    <a:pt x="34" y="0"/>
                    <a:pt x="34" y="0"/>
                  </a:cubicBezTo>
                  <a:cubicBezTo>
                    <a:pt x="33" y="0"/>
                    <a:pt x="33"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Rectangle 1540"/>
            <p:cNvSpPr>
              <a:spLocks noChangeArrowheads="1"/>
            </p:cNvSpPr>
            <p:nvPr/>
          </p:nvSpPr>
          <p:spPr bwMode="auto">
            <a:xfrm>
              <a:off x="1481939" y="2577288"/>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1541"/>
            <p:cNvSpPr/>
            <p:nvPr/>
          </p:nvSpPr>
          <p:spPr bwMode="auto">
            <a:xfrm flipH="1">
              <a:off x="1481939" y="2577288"/>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Freeform 1542"/>
            <p:cNvSpPr>
              <a:spLocks noEditPoints="1"/>
            </p:cNvSpPr>
            <p:nvPr/>
          </p:nvSpPr>
          <p:spPr bwMode="auto">
            <a:xfrm>
              <a:off x="2226935" y="3116907"/>
              <a:ext cx="76513" cy="190612"/>
            </a:xfrm>
            <a:custGeom>
              <a:gdLst>
                <a:gd name="T0" fmla="*/ 10 w 24"/>
                <a:gd name="T1" fmla="*/ 45 h 60"/>
                <a:gd name="T2" fmla="*/ 9 w 24"/>
                <a:gd name="T3" fmla="*/ 52 h 60"/>
                <a:gd name="T4" fmla="*/ 10 w 24"/>
                <a:gd name="T5" fmla="*/ 45 h 60"/>
                <a:gd name="T6" fmla="*/ 16 w 24"/>
                <a:gd name="T7" fmla="*/ 0 h 60"/>
                <a:gd name="T8" fmla="*/ 15 w 24"/>
                <a:gd name="T9" fmla="*/ 0 h 60"/>
                <a:gd name="T10" fmla="*/ 13 w 24"/>
                <a:gd name="T11" fmla="*/ 1 h 60"/>
                <a:gd name="T12" fmla="*/ 13 w 24"/>
                <a:gd name="T13" fmla="*/ 1 h 60"/>
                <a:gd name="T14" fmla="*/ 11 w 24"/>
                <a:gd name="T15" fmla="*/ 7 h 60"/>
                <a:gd name="T16" fmla="*/ 11 w 24"/>
                <a:gd name="T17" fmla="*/ 9 h 60"/>
                <a:gd name="T18" fmla="*/ 9 w 24"/>
                <a:gd name="T19" fmla="*/ 14 h 60"/>
                <a:gd name="T20" fmla="*/ 7 w 24"/>
                <a:gd name="T21" fmla="*/ 17 h 60"/>
                <a:gd name="T22" fmla="*/ 3 w 24"/>
                <a:gd name="T23" fmla="*/ 19 h 60"/>
                <a:gd name="T24" fmla="*/ 0 w 24"/>
                <a:gd name="T25" fmla="*/ 18 h 60"/>
                <a:gd name="T26" fmla="*/ 0 w 24"/>
                <a:gd name="T27" fmla="*/ 17 h 60"/>
                <a:gd name="T28" fmla="*/ 0 w 24"/>
                <a:gd name="T29" fmla="*/ 17 h 60"/>
                <a:gd name="T30" fmla="*/ 7 w 24"/>
                <a:gd name="T31" fmla="*/ 33 h 60"/>
                <a:gd name="T32" fmla="*/ 9 w 24"/>
                <a:gd name="T33" fmla="*/ 29 h 60"/>
                <a:gd name="T34" fmla="*/ 8 w 24"/>
                <a:gd name="T35" fmla="*/ 35 h 60"/>
                <a:gd name="T36" fmla="*/ 9 w 24"/>
                <a:gd name="T37" fmla="*/ 41 h 60"/>
                <a:gd name="T38" fmla="*/ 10 w 24"/>
                <a:gd name="T39" fmla="*/ 45 h 60"/>
                <a:gd name="T40" fmla="*/ 10 w 24"/>
                <a:gd name="T41" fmla="*/ 45 h 60"/>
                <a:gd name="T42" fmla="*/ 11 w 24"/>
                <a:gd name="T43" fmla="*/ 48 h 60"/>
                <a:gd name="T44" fmla="*/ 11 w 24"/>
                <a:gd name="T45" fmla="*/ 54 h 60"/>
                <a:gd name="T46" fmla="*/ 13 w 24"/>
                <a:gd name="T47" fmla="*/ 60 h 60"/>
                <a:gd name="T48" fmla="*/ 14 w 24"/>
                <a:gd name="T49" fmla="*/ 59 h 60"/>
                <a:gd name="T50" fmla="*/ 14 w 24"/>
                <a:gd name="T51" fmla="*/ 59 h 60"/>
                <a:gd name="T52" fmla="*/ 14 w 24"/>
                <a:gd name="T53" fmla="*/ 58 h 60"/>
                <a:gd name="T54" fmla="*/ 14 w 24"/>
                <a:gd name="T55" fmla="*/ 58 h 60"/>
                <a:gd name="T56" fmla="*/ 17 w 24"/>
                <a:gd name="T57" fmla="*/ 52 h 60"/>
                <a:gd name="T58" fmla="*/ 18 w 24"/>
                <a:gd name="T59" fmla="*/ 51 h 60"/>
                <a:gd name="T60" fmla="*/ 21 w 24"/>
                <a:gd name="T61" fmla="*/ 45 h 60"/>
                <a:gd name="T62" fmla="*/ 23 w 24"/>
                <a:gd name="T63" fmla="*/ 51 h 60"/>
                <a:gd name="T64" fmla="*/ 24 w 24"/>
                <a:gd name="T65" fmla="*/ 52 h 60"/>
                <a:gd name="T66" fmla="*/ 23 w 24"/>
                <a:gd name="T67" fmla="*/ 43 h 60"/>
                <a:gd name="T68" fmla="*/ 23 w 24"/>
                <a:gd name="T69" fmla="*/ 40 h 60"/>
                <a:gd name="T70" fmla="*/ 22 w 24"/>
                <a:gd name="T71" fmla="*/ 28 h 60"/>
                <a:gd name="T72" fmla="*/ 20 w 24"/>
                <a:gd name="T73" fmla="*/ 21 h 60"/>
                <a:gd name="T74" fmla="*/ 20 w 24"/>
                <a:gd name="T75" fmla="*/ 20 h 60"/>
                <a:gd name="T76" fmla="*/ 18 w 24"/>
                <a:gd name="T77" fmla="*/ 14 h 60"/>
                <a:gd name="T78" fmla="*/ 18 w 24"/>
                <a:gd name="T79" fmla="*/ 14 h 60"/>
                <a:gd name="T80" fmla="*/ 18 w 24"/>
                <a:gd name="T81" fmla="*/ 13 h 60"/>
                <a:gd name="T82" fmla="*/ 17 w 24"/>
                <a:gd name="T83" fmla="*/ 5 h 60"/>
                <a:gd name="T84" fmla="*/ 16 w 24"/>
                <a:gd name="T85" fmla="*/ 0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 h="60">
                  <a:moveTo>
                    <a:pt x="10" y="45"/>
                  </a:moveTo>
                  <a:cubicBezTo>
                    <a:pt x="10" y="47"/>
                    <a:pt x="9" y="50"/>
                    <a:pt x="9" y="52"/>
                  </a:cubicBezTo>
                  <a:cubicBezTo>
                    <a:pt x="13" y="50"/>
                    <a:pt x="10" y="48"/>
                    <a:pt x="10" y="45"/>
                  </a:cubicBezTo>
                  <a:moveTo>
                    <a:pt x="16" y="0"/>
                  </a:moveTo>
                  <a:cubicBezTo>
                    <a:pt x="15" y="0"/>
                    <a:pt x="15" y="0"/>
                    <a:pt x="15" y="0"/>
                  </a:cubicBezTo>
                  <a:cubicBezTo>
                    <a:pt x="15" y="1"/>
                    <a:pt x="14" y="1"/>
                    <a:pt x="13" y="1"/>
                  </a:cubicBezTo>
                  <a:cubicBezTo>
                    <a:pt x="13" y="1"/>
                    <a:pt x="13" y="1"/>
                    <a:pt x="13" y="1"/>
                  </a:cubicBezTo>
                  <a:cubicBezTo>
                    <a:pt x="13" y="3"/>
                    <a:pt x="12" y="5"/>
                    <a:pt x="11" y="7"/>
                  </a:cubicBezTo>
                  <a:cubicBezTo>
                    <a:pt x="11" y="8"/>
                    <a:pt x="11" y="8"/>
                    <a:pt x="11" y="9"/>
                  </a:cubicBezTo>
                  <a:cubicBezTo>
                    <a:pt x="10" y="10"/>
                    <a:pt x="10" y="12"/>
                    <a:pt x="9" y="14"/>
                  </a:cubicBezTo>
                  <a:cubicBezTo>
                    <a:pt x="8" y="15"/>
                    <a:pt x="8" y="16"/>
                    <a:pt x="7" y="17"/>
                  </a:cubicBezTo>
                  <a:cubicBezTo>
                    <a:pt x="6" y="18"/>
                    <a:pt x="5" y="19"/>
                    <a:pt x="3" y="19"/>
                  </a:cubicBezTo>
                  <a:cubicBezTo>
                    <a:pt x="2" y="19"/>
                    <a:pt x="1" y="18"/>
                    <a:pt x="0" y="18"/>
                  </a:cubicBezTo>
                  <a:cubicBezTo>
                    <a:pt x="0" y="17"/>
                    <a:pt x="0" y="17"/>
                    <a:pt x="0" y="17"/>
                  </a:cubicBezTo>
                  <a:cubicBezTo>
                    <a:pt x="0" y="17"/>
                    <a:pt x="0" y="17"/>
                    <a:pt x="0" y="17"/>
                  </a:cubicBezTo>
                  <a:cubicBezTo>
                    <a:pt x="1" y="23"/>
                    <a:pt x="4" y="28"/>
                    <a:pt x="7" y="33"/>
                  </a:cubicBezTo>
                  <a:cubicBezTo>
                    <a:pt x="7" y="32"/>
                    <a:pt x="8" y="31"/>
                    <a:pt x="9" y="29"/>
                  </a:cubicBezTo>
                  <a:cubicBezTo>
                    <a:pt x="9" y="31"/>
                    <a:pt x="8" y="32"/>
                    <a:pt x="8" y="35"/>
                  </a:cubicBezTo>
                  <a:cubicBezTo>
                    <a:pt x="8" y="37"/>
                    <a:pt x="9" y="39"/>
                    <a:pt x="9" y="41"/>
                  </a:cubicBezTo>
                  <a:cubicBezTo>
                    <a:pt x="10" y="43"/>
                    <a:pt x="10" y="43"/>
                    <a:pt x="10" y="45"/>
                  </a:cubicBezTo>
                  <a:cubicBezTo>
                    <a:pt x="10" y="45"/>
                    <a:pt x="10" y="45"/>
                    <a:pt x="10" y="45"/>
                  </a:cubicBezTo>
                  <a:cubicBezTo>
                    <a:pt x="10" y="46"/>
                    <a:pt x="11" y="47"/>
                    <a:pt x="11" y="48"/>
                  </a:cubicBezTo>
                  <a:cubicBezTo>
                    <a:pt x="12" y="50"/>
                    <a:pt x="10" y="52"/>
                    <a:pt x="11" y="54"/>
                  </a:cubicBezTo>
                  <a:cubicBezTo>
                    <a:pt x="12" y="56"/>
                    <a:pt x="13" y="58"/>
                    <a:pt x="13" y="60"/>
                  </a:cubicBezTo>
                  <a:cubicBezTo>
                    <a:pt x="14" y="59"/>
                    <a:pt x="14" y="59"/>
                    <a:pt x="14" y="59"/>
                  </a:cubicBezTo>
                  <a:cubicBezTo>
                    <a:pt x="14" y="59"/>
                    <a:pt x="14" y="59"/>
                    <a:pt x="14" y="59"/>
                  </a:cubicBezTo>
                  <a:cubicBezTo>
                    <a:pt x="14" y="58"/>
                    <a:pt x="14" y="58"/>
                    <a:pt x="14" y="58"/>
                  </a:cubicBezTo>
                  <a:cubicBezTo>
                    <a:pt x="14" y="58"/>
                    <a:pt x="14" y="58"/>
                    <a:pt x="14" y="58"/>
                  </a:cubicBezTo>
                  <a:cubicBezTo>
                    <a:pt x="14" y="57"/>
                    <a:pt x="15" y="55"/>
                    <a:pt x="17" y="52"/>
                  </a:cubicBezTo>
                  <a:cubicBezTo>
                    <a:pt x="17" y="52"/>
                    <a:pt x="18" y="51"/>
                    <a:pt x="18" y="51"/>
                  </a:cubicBezTo>
                  <a:cubicBezTo>
                    <a:pt x="21" y="45"/>
                    <a:pt x="21" y="45"/>
                    <a:pt x="21" y="45"/>
                  </a:cubicBezTo>
                  <a:cubicBezTo>
                    <a:pt x="23" y="51"/>
                    <a:pt x="23" y="51"/>
                    <a:pt x="23" y="51"/>
                  </a:cubicBezTo>
                  <a:cubicBezTo>
                    <a:pt x="23" y="51"/>
                    <a:pt x="23" y="52"/>
                    <a:pt x="24" y="52"/>
                  </a:cubicBezTo>
                  <a:cubicBezTo>
                    <a:pt x="23" y="43"/>
                    <a:pt x="23" y="43"/>
                    <a:pt x="23" y="43"/>
                  </a:cubicBezTo>
                  <a:cubicBezTo>
                    <a:pt x="23" y="40"/>
                    <a:pt x="23" y="40"/>
                    <a:pt x="23" y="40"/>
                  </a:cubicBezTo>
                  <a:cubicBezTo>
                    <a:pt x="22" y="28"/>
                    <a:pt x="22" y="28"/>
                    <a:pt x="22" y="28"/>
                  </a:cubicBezTo>
                  <a:cubicBezTo>
                    <a:pt x="21" y="26"/>
                    <a:pt x="21" y="23"/>
                    <a:pt x="20" y="21"/>
                  </a:cubicBezTo>
                  <a:cubicBezTo>
                    <a:pt x="20" y="20"/>
                    <a:pt x="20" y="20"/>
                    <a:pt x="20" y="20"/>
                  </a:cubicBezTo>
                  <a:cubicBezTo>
                    <a:pt x="19" y="18"/>
                    <a:pt x="18" y="16"/>
                    <a:pt x="18" y="14"/>
                  </a:cubicBezTo>
                  <a:cubicBezTo>
                    <a:pt x="18" y="14"/>
                    <a:pt x="18" y="14"/>
                    <a:pt x="18" y="14"/>
                  </a:cubicBezTo>
                  <a:cubicBezTo>
                    <a:pt x="18" y="13"/>
                    <a:pt x="18" y="13"/>
                    <a:pt x="18" y="13"/>
                  </a:cubicBezTo>
                  <a:cubicBezTo>
                    <a:pt x="18" y="10"/>
                    <a:pt x="17" y="8"/>
                    <a:pt x="17" y="5"/>
                  </a:cubicBezTo>
                  <a:cubicBezTo>
                    <a:pt x="17" y="3"/>
                    <a:pt x="16" y="2"/>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1543"/>
            <p:cNvSpPr/>
            <p:nvPr/>
          </p:nvSpPr>
          <p:spPr bwMode="auto">
            <a:xfrm>
              <a:off x="1982630" y="2903476"/>
              <a:ext cx="302026" cy="365116"/>
            </a:xfrm>
            <a:custGeom>
              <a:gdLst>
                <a:gd name="T0" fmla="*/ 1 w 95"/>
                <a:gd name="T1" fmla="*/ 7 h 115"/>
                <a:gd name="T2" fmla="*/ 3 w 95"/>
                <a:gd name="T3" fmla="*/ 9 h 115"/>
                <a:gd name="T4" fmla="*/ 10 w 95"/>
                <a:gd name="T5" fmla="*/ 16 h 115"/>
                <a:gd name="T6" fmla="*/ 17 w 95"/>
                <a:gd name="T7" fmla="*/ 20 h 115"/>
                <a:gd name="T8" fmla="*/ 20 w 95"/>
                <a:gd name="T9" fmla="*/ 27 h 115"/>
                <a:gd name="T10" fmla="*/ 13 w 95"/>
                <a:gd name="T11" fmla="*/ 30 h 115"/>
                <a:gd name="T12" fmla="*/ 1 w 95"/>
                <a:gd name="T13" fmla="*/ 37 h 115"/>
                <a:gd name="T14" fmla="*/ 2 w 95"/>
                <a:gd name="T15" fmla="*/ 43 h 115"/>
                <a:gd name="T16" fmla="*/ 6 w 95"/>
                <a:gd name="T17" fmla="*/ 45 h 115"/>
                <a:gd name="T18" fmla="*/ 9 w 95"/>
                <a:gd name="T19" fmla="*/ 45 h 115"/>
                <a:gd name="T20" fmla="*/ 15 w 95"/>
                <a:gd name="T21" fmla="*/ 58 h 115"/>
                <a:gd name="T22" fmla="*/ 13 w 95"/>
                <a:gd name="T23" fmla="*/ 66 h 115"/>
                <a:gd name="T24" fmla="*/ 16 w 95"/>
                <a:gd name="T25" fmla="*/ 70 h 115"/>
                <a:gd name="T26" fmla="*/ 16 w 95"/>
                <a:gd name="T27" fmla="*/ 72 h 115"/>
                <a:gd name="T28" fmla="*/ 20 w 95"/>
                <a:gd name="T29" fmla="*/ 78 h 115"/>
                <a:gd name="T30" fmla="*/ 19 w 95"/>
                <a:gd name="T31" fmla="*/ 83 h 115"/>
                <a:gd name="T32" fmla="*/ 20 w 95"/>
                <a:gd name="T33" fmla="*/ 88 h 115"/>
                <a:gd name="T34" fmla="*/ 23 w 95"/>
                <a:gd name="T35" fmla="*/ 106 h 115"/>
                <a:gd name="T36" fmla="*/ 24 w 95"/>
                <a:gd name="T37" fmla="*/ 115 h 115"/>
                <a:gd name="T38" fmla="*/ 31 w 95"/>
                <a:gd name="T39" fmla="*/ 106 h 115"/>
                <a:gd name="T40" fmla="*/ 37 w 95"/>
                <a:gd name="T41" fmla="*/ 110 h 115"/>
                <a:gd name="T42" fmla="*/ 43 w 95"/>
                <a:gd name="T43" fmla="*/ 102 h 115"/>
                <a:gd name="T44" fmla="*/ 47 w 95"/>
                <a:gd name="T45" fmla="*/ 110 h 115"/>
                <a:gd name="T46" fmla="*/ 55 w 95"/>
                <a:gd name="T47" fmla="*/ 97 h 115"/>
                <a:gd name="T48" fmla="*/ 54 w 95"/>
                <a:gd name="T49" fmla="*/ 84 h 115"/>
                <a:gd name="T50" fmla="*/ 53 w 95"/>
                <a:gd name="T51" fmla="*/ 71 h 115"/>
                <a:gd name="T52" fmla="*/ 56 w 95"/>
                <a:gd name="T53" fmla="*/ 69 h 115"/>
                <a:gd name="T54" fmla="*/ 63 w 95"/>
                <a:gd name="T55" fmla="*/ 85 h 115"/>
                <a:gd name="T56" fmla="*/ 74 w 95"/>
                <a:gd name="T57" fmla="*/ 82 h 115"/>
                <a:gd name="T58" fmla="*/ 68 w 95"/>
                <a:gd name="T59" fmla="*/ 71 h 115"/>
                <a:gd name="T60" fmla="*/ 66 w 95"/>
                <a:gd name="T61" fmla="*/ 66 h 115"/>
                <a:gd name="T62" fmla="*/ 70 w 95"/>
                <a:gd name="T63" fmla="*/ 58 h 115"/>
                <a:gd name="T64" fmla="*/ 79 w 95"/>
                <a:gd name="T65" fmla="*/ 49 h 115"/>
                <a:gd name="T66" fmla="*/ 86 w 95"/>
                <a:gd name="T67" fmla="*/ 45 h 115"/>
                <a:gd name="T68" fmla="*/ 90 w 95"/>
                <a:gd name="T69" fmla="*/ 42 h 115"/>
                <a:gd name="T70" fmla="*/ 91 w 95"/>
                <a:gd name="T71" fmla="*/ 36 h 115"/>
                <a:gd name="T72" fmla="*/ 91 w 95"/>
                <a:gd name="T73" fmla="*/ 31 h 115"/>
                <a:gd name="T74" fmla="*/ 82 w 95"/>
                <a:gd name="T75" fmla="*/ 31 h 115"/>
                <a:gd name="T76" fmla="*/ 67 w 95"/>
                <a:gd name="T77" fmla="*/ 29 h 115"/>
                <a:gd name="T78" fmla="*/ 59 w 95"/>
                <a:gd name="T79" fmla="*/ 30 h 115"/>
                <a:gd name="T80" fmla="*/ 55 w 95"/>
                <a:gd name="T81" fmla="*/ 30 h 115"/>
                <a:gd name="T82" fmla="*/ 49 w 95"/>
                <a:gd name="T83" fmla="*/ 30 h 115"/>
                <a:gd name="T84" fmla="*/ 41 w 95"/>
                <a:gd name="T85" fmla="*/ 27 h 115"/>
                <a:gd name="T86" fmla="*/ 32 w 95"/>
                <a:gd name="T87" fmla="*/ 23 h 115"/>
                <a:gd name="T88" fmla="*/ 34 w 95"/>
                <a:gd name="T89" fmla="*/ 15 h 115"/>
                <a:gd name="T90" fmla="*/ 24 w 95"/>
                <a:gd name="T91" fmla="*/ 8 h 115"/>
                <a:gd name="T92" fmla="*/ 13 w 95"/>
                <a:gd name="T93" fmla="*/ 2 h 115"/>
                <a:gd name="T94" fmla="*/ 7 w 95"/>
                <a:gd name="T95" fmla="*/ 0 h 1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 h="115">
                  <a:moveTo>
                    <a:pt x="7" y="0"/>
                  </a:moveTo>
                  <a:cubicBezTo>
                    <a:pt x="6" y="0"/>
                    <a:pt x="4" y="1"/>
                    <a:pt x="2" y="6"/>
                  </a:cubicBezTo>
                  <a:cubicBezTo>
                    <a:pt x="1" y="7"/>
                    <a:pt x="1" y="7"/>
                    <a:pt x="1" y="7"/>
                  </a:cubicBezTo>
                  <a:cubicBezTo>
                    <a:pt x="1" y="7"/>
                    <a:pt x="1" y="7"/>
                    <a:pt x="1" y="7"/>
                  </a:cubicBezTo>
                  <a:cubicBezTo>
                    <a:pt x="1" y="8"/>
                    <a:pt x="1" y="8"/>
                    <a:pt x="1" y="8"/>
                  </a:cubicBezTo>
                  <a:cubicBezTo>
                    <a:pt x="1" y="8"/>
                    <a:pt x="1" y="8"/>
                    <a:pt x="1" y="8"/>
                  </a:cubicBezTo>
                  <a:cubicBezTo>
                    <a:pt x="1" y="8"/>
                    <a:pt x="2" y="8"/>
                    <a:pt x="2" y="9"/>
                  </a:cubicBezTo>
                  <a:cubicBezTo>
                    <a:pt x="3" y="9"/>
                    <a:pt x="3" y="9"/>
                    <a:pt x="3" y="9"/>
                  </a:cubicBezTo>
                  <a:cubicBezTo>
                    <a:pt x="4" y="10"/>
                    <a:pt x="6" y="12"/>
                    <a:pt x="7" y="13"/>
                  </a:cubicBezTo>
                  <a:cubicBezTo>
                    <a:pt x="7" y="13"/>
                    <a:pt x="7" y="13"/>
                    <a:pt x="7" y="13"/>
                  </a:cubicBezTo>
                  <a:cubicBezTo>
                    <a:pt x="8" y="14"/>
                    <a:pt x="8" y="14"/>
                    <a:pt x="8" y="14"/>
                  </a:cubicBezTo>
                  <a:cubicBezTo>
                    <a:pt x="9" y="15"/>
                    <a:pt x="9" y="16"/>
                    <a:pt x="10" y="16"/>
                  </a:cubicBezTo>
                  <a:cubicBezTo>
                    <a:pt x="10" y="16"/>
                    <a:pt x="10" y="16"/>
                    <a:pt x="10" y="16"/>
                  </a:cubicBezTo>
                  <a:cubicBezTo>
                    <a:pt x="11" y="16"/>
                    <a:pt x="11" y="16"/>
                    <a:pt x="12" y="16"/>
                  </a:cubicBezTo>
                  <a:cubicBezTo>
                    <a:pt x="12" y="16"/>
                    <a:pt x="13" y="16"/>
                    <a:pt x="13" y="16"/>
                  </a:cubicBezTo>
                  <a:cubicBezTo>
                    <a:pt x="16" y="16"/>
                    <a:pt x="16" y="19"/>
                    <a:pt x="17" y="20"/>
                  </a:cubicBezTo>
                  <a:cubicBezTo>
                    <a:pt x="17" y="20"/>
                    <a:pt x="17" y="21"/>
                    <a:pt x="18" y="21"/>
                  </a:cubicBezTo>
                  <a:cubicBezTo>
                    <a:pt x="18" y="21"/>
                    <a:pt x="19" y="22"/>
                    <a:pt x="19" y="22"/>
                  </a:cubicBezTo>
                  <a:cubicBezTo>
                    <a:pt x="24" y="24"/>
                    <a:pt x="24" y="24"/>
                    <a:pt x="24" y="24"/>
                  </a:cubicBezTo>
                  <a:cubicBezTo>
                    <a:pt x="20" y="27"/>
                    <a:pt x="20" y="27"/>
                    <a:pt x="20" y="27"/>
                  </a:cubicBezTo>
                  <a:cubicBezTo>
                    <a:pt x="20" y="27"/>
                    <a:pt x="20" y="27"/>
                    <a:pt x="20" y="27"/>
                  </a:cubicBezTo>
                  <a:cubicBezTo>
                    <a:pt x="20" y="31"/>
                    <a:pt x="20" y="31"/>
                    <a:pt x="20" y="31"/>
                  </a:cubicBezTo>
                  <a:cubicBezTo>
                    <a:pt x="16" y="30"/>
                    <a:pt x="16" y="30"/>
                    <a:pt x="16" y="30"/>
                  </a:cubicBezTo>
                  <a:cubicBezTo>
                    <a:pt x="15" y="30"/>
                    <a:pt x="14" y="30"/>
                    <a:pt x="13" y="30"/>
                  </a:cubicBezTo>
                  <a:cubicBezTo>
                    <a:pt x="13" y="30"/>
                    <a:pt x="12" y="30"/>
                    <a:pt x="12" y="30"/>
                  </a:cubicBezTo>
                  <a:cubicBezTo>
                    <a:pt x="8" y="30"/>
                    <a:pt x="8" y="31"/>
                    <a:pt x="7" y="33"/>
                  </a:cubicBezTo>
                  <a:cubicBezTo>
                    <a:pt x="7" y="35"/>
                    <a:pt x="4" y="36"/>
                    <a:pt x="3" y="36"/>
                  </a:cubicBezTo>
                  <a:cubicBezTo>
                    <a:pt x="3" y="37"/>
                    <a:pt x="2" y="37"/>
                    <a:pt x="1" y="37"/>
                  </a:cubicBezTo>
                  <a:cubicBezTo>
                    <a:pt x="1" y="38"/>
                    <a:pt x="1" y="38"/>
                    <a:pt x="1" y="38"/>
                  </a:cubicBezTo>
                  <a:cubicBezTo>
                    <a:pt x="1" y="38"/>
                    <a:pt x="1" y="38"/>
                    <a:pt x="1" y="38"/>
                  </a:cubicBezTo>
                  <a:cubicBezTo>
                    <a:pt x="1" y="39"/>
                    <a:pt x="0" y="41"/>
                    <a:pt x="0" y="41"/>
                  </a:cubicBezTo>
                  <a:cubicBezTo>
                    <a:pt x="1" y="42"/>
                    <a:pt x="1" y="42"/>
                    <a:pt x="2" y="43"/>
                  </a:cubicBezTo>
                  <a:cubicBezTo>
                    <a:pt x="2" y="43"/>
                    <a:pt x="2" y="43"/>
                    <a:pt x="2" y="43"/>
                  </a:cubicBezTo>
                  <a:cubicBezTo>
                    <a:pt x="3" y="43"/>
                    <a:pt x="4" y="44"/>
                    <a:pt x="4" y="44"/>
                  </a:cubicBezTo>
                  <a:cubicBezTo>
                    <a:pt x="5" y="44"/>
                    <a:pt x="6" y="45"/>
                    <a:pt x="6" y="45"/>
                  </a:cubicBezTo>
                  <a:cubicBezTo>
                    <a:pt x="6" y="45"/>
                    <a:pt x="6" y="45"/>
                    <a:pt x="6" y="45"/>
                  </a:cubicBezTo>
                  <a:cubicBezTo>
                    <a:pt x="7" y="45"/>
                    <a:pt x="7" y="45"/>
                    <a:pt x="7" y="45"/>
                  </a:cubicBezTo>
                  <a:cubicBezTo>
                    <a:pt x="8" y="41"/>
                    <a:pt x="8" y="41"/>
                    <a:pt x="8" y="41"/>
                  </a:cubicBezTo>
                  <a:cubicBezTo>
                    <a:pt x="9" y="45"/>
                    <a:pt x="9" y="45"/>
                    <a:pt x="9" y="45"/>
                  </a:cubicBezTo>
                  <a:cubicBezTo>
                    <a:pt x="9" y="45"/>
                    <a:pt x="9" y="45"/>
                    <a:pt x="9" y="45"/>
                  </a:cubicBezTo>
                  <a:cubicBezTo>
                    <a:pt x="10" y="46"/>
                    <a:pt x="10" y="46"/>
                    <a:pt x="11" y="46"/>
                  </a:cubicBezTo>
                  <a:cubicBezTo>
                    <a:pt x="13" y="47"/>
                    <a:pt x="14" y="48"/>
                    <a:pt x="15" y="49"/>
                  </a:cubicBezTo>
                  <a:cubicBezTo>
                    <a:pt x="15" y="50"/>
                    <a:pt x="15" y="51"/>
                    <a:pt x="15" y="52"/>
                  </a:cubicBezTo>
                  <a:cubicBezTo>
                    <a:pt x="15" y="57"/>
                    <a:pt x="15" y="58"/>
                    <a:pt x="15" y="58"/>
                  </a:cubicBezTo>
                  <a:cubicBezTo>
                    <a:pt x="14" y="59"/>
                    <a:pt x="13" y="60"/>
                    <a:pt x="13" y="61"/>
                  </a:cubicBezTo>
                  <a:cubicBezTo>
                    <a:pt x="13" y="61"/>
                    <a:pt x="13" y="61"/>
                    <a:pt x="13" y="61"/>
                  </a:cubicBezTo>
                  <a:cubicBezTo>
                    <a:pt x="12" y="62"/>
                    <a:pt x="12" y="62"/>
                    <a:pt x="12" y="62"/>
                  </a:cubicBezTo>
                  <a:cubicBezTo>
                    <a:pt x="12" y="65"/>
                    <a:pt x="12" y="65"/>
                    <a:pt x="13" y="66"/>
                  </a:cubicBezTo>
                  <a:cubicBezTo>
                    <a:pt x="14" y="66"/>
                    <a:pt x="15" y="66"/>
                    <a:pt x="15" y="67"/>
                  </a:cubicBezTo>
                  <a:cubicBezTo>
                    <a:pt x="16" y="68"/>
                    <a:pt x="16" y="68"/>
                    <a:pt x="16" y="68"/>
                  </a:cubicBezTo>
                  <a:cubicBezTo>
                    <a:pt x="16" y="69"/>
                    <a:pt x="16" y="69"/>
                    <a:pt x="16" y="69"/>
                  </a:cubicBezTo>
                  <a:cubicBezTo>
                    <a:pt x="16" y="70"/>
                    <a:pt x="16" y="70"/>
                    <a:pt x="16" y="70"/>
                  </a:cubicBezTo>
                  <a:cubicBezTo>
                    <a:pt x="16" y="71"/>
                    <a:pt x="16" y="71"/>
                    <a:pt x="16" y="71"/>
                  </a:cubicBezTo>
                  <a:cubicBezTo>
                    <a:pt x="15" y="71"/>
                    <a:pt x="15" y="71"/>
                    <a:pt x="15" y="71"/>
                  </a:cubicBezTo>
                  <a:cubicBezTo>
                    <a:pt x="16" y="71"/>
                    <a:pt x="16" y="71"/>
                    <a:pt x="16" y="71"/>
                  </a:cubicBezTo>
                  <a:cubicBezTo>
                    <a:pt x="16" y="72"/>
                    <a:pt x="16" y="72"/>
                    <a:pt x="16" y="72"/>
                  </a:cubicBezTo>
                  <a:cubicBezTo>
                    <a:pt x="16" y="72"/>
                    <a:pt x="16" y="72"/>
                    <a:pt x="16" y="72"/>
                  </a:cubicBezTo>
                  <a:cubicBezTo>
                    <a:pt x="17" y="73"/>
                    <a:pt x="18" y="73"/>
                    <a:pt x="19" y="74"/>
                  </a:cubicBezTo>
                  <a:cubicBezTo>
                    <a:pt x="19" y="75"/>
                    <a:pt x="19" y="75"/>
                    <a:pt x="19" y="76"/>
                  </a:cubicBezTo>
                  <a:cubicBezTo>
                    <a:pt x="20" y="76"/>
                    <a:pt x="20" y="77"/>
                    <a:pt x="20" y="78"/>
                  </a:cubicBezTo>
                  <a:cubicBezTo>
                    <a:pt x="20" y="78"/>
                    <a:pt x="20" y="79"/>
                    <a:pt x="20" y="79"/>
                  </a:cubicBezTo>
                  <a:cubicBezTo>
                    <a:pt x="20" y="80"/>
                    <a:pt x="20" y="80"/>
                    <a:pt x="20" y="80"/>
                  </a:cubicBezTo>
                  <a:cubicBezTo>
                    <a:pt x="19" y="80"/>
                    <a:pt x="19" y="80"/>
                    <a:pt x="19" y="81"/>
                  </a:cubicBezTo>
                  <a:cubicBezTo>
                    <a:pt x="19" y="82"/>
                    <a:pt x="19" y="82"/>
                    <a:pt x="19" y="83"/>
                  </a:cubicBezTo>
                  <a:cubicBezTo>
                    <a:pt x="20" y="84"/>
                    <a:pt x="20" y="86"/>
                    <a:pt x="20" y="87"/>
                  </a:cubicBezTo>
                  <a:cubicBezTo>
                    <a:pt x="20" y="87"/>
                    <a:pt x="20" y="87"/>
                    <a:pt x="20" y="87"/>
                  </a:cubicBezTo>
                  <a:cubicBezTo>
                    <a:pt x="20" y="87"/>
                    <a:pt x="20" y="87"/>
                    <a:pt x="20" y="88"/>
                  </a:cubicBezTo>
                  <a:cubicBezTo>
                    <a:pt x="20" y="88"/>
                    <a:pt x="20" y="88"/>
                    <a:pt x="20" y="88"/>
                  </a:cubicBezTo>
                  <a:cubicBezTo>
                    <a:pt x="20" y="89"/>
                    <a:pt x="20" y="89"/>
                    <a:pt x="20" y="89"/>
                  </a:cubicBezTo>
                  <a:cubicBezTo>
                    <a:pt x="21" y="97"/>
                    <a:pt x="21" y="97"/>
                    <a:pt x="21" y="97"/>
                  </a:cubicBezTo>
                  <a:cubicBezTo>
                    <a:pt x="22" y="98"/>
                    <a:pt x="22" y="100"/>
                    <a:pt x="23" y="102"/>
                  </a:cubicBezTo>
                  <a:cubicBezTo>
                    <a:pt x="23" y="103"/>
                    <a:pt x="23" y="105"/>
                    <a:pt x="23" y="106"/>
                  </a:cubicBezTo>
                  <a:cubicBezTo>
                    <a:pt x="23" y="109"/>
                    <a:pt x="23" y="109"/>
                    <a:pt x="23" y="109"/>
                  </a:cubicBezTo>
                  <a:cubicBezTo>
                    <a:pt x="21" y="109"/>
                    <a:pt x="21" y="109"/>
                    <a:pt x="21" y="109"/>
                  </a:cubicBezTo>
                  <a:cubicBezTo>
                    <a:pt x="22" y="112"/>
                    <a:pt x="23" y="115"/>
                    <a:pt x="24" y="115"/>
                  </a:cubicBezTo>
                  <a:cubicBezTo>
                    <a:pt x="24" y="115"/>
                    <a:pt x="24" y="115"/>
                    <a:pt x="24" y="115"/>
                  </a:cubicBezTo>
                  <a:cubicBezTo>
                    <a:pt x="25" y="115"/>
                    <a:pt x="26" y="108"/>
                    <a:pt x="26" y="107"/>
                  </a:cubicBezTo>
                  <a:cubicBezTo>
                    <a:pt x="26" y="109"/>
                    <a:pt x="26" y="111"/>
                    <a:pt x="27" y="113"/>
                  </a:cubicBezTo>
                  <a:cubicBezTo>
                    <a:pt x="32" y="111"/>
                    <a:pt x="30" y="103"/>
                    <a:pt x="30" y="99"/>
                  </a:cubicBezTo>
                  <a:cubicBezTo>
                    <a:pt x="30" y="102"/>
                    <a:pt x="30" y="104"/>
                    <a:pt x="31" y="106"/>
                  </a:cubicBezTo>
                  <a:cubicBezTo>
                    <a:pt x="32" y="103"/>
                    <a:pt x="31" y="101"/>
                    <a:pt x="33" y="98"/>
                  </a:cubicBezTo>
                  <a:cubicBezTo>
                    <a:pt x="32" y="102"/>
                    <a:pt x="29" y="109"/>
                    <a:pt x="32" y="112"/>
                  </a:cubicBezTo>
                  <a:cubicBezTo>
                    <a:pt x="33" y="111"/>
                    <a:pt x="33" y="109"/>
                    <a:pt x="33" y="108"/>
                  </a:cubicBezTo>
                  <a:cubicBezTo>
                    <a:pt x="35" y="109"/>
                    <a:pt x="36" y="110"/>
                    <a:pt x="37" y="110"/>
                  </a:cubicBezTo>
                  <a:cubicBezTo>
                    <a:pt x="38" y="110"/>
                    <a:pt x="39" y="108"/>
                    <a:pt x="39" y="106"/>
                  </a:cubicBezTo>
                  <a:cubicBezTo>
                    <a:pt x="39" y="101"/>
                    <a:pt x="38" y="98"/>
                    <a:pt x="41" y="94"/>
                  </a:cubicBezTo>
                  <a:cubicBezTo>
                    <a:pt x="38" y="98"/>
                    <a:pt x="39" y="103"/>
                    <a:pt x="41" y="107"/>
                  </a:cubicBezTo>
                  <a:cubicBezTo>
                    <a:pt x="41" y="105"/>
                    <a:pt x="42" y="104"/>
                    <a:pt x="43" y="102"/>
                  </a:cubicBezTo>
                  <a:cubicBezTo>
                    <a:pt x="43" y="104"/>
                    <a:pt x="43" y="105"/>
                    <a:pt x="43" y="106"/>
                  </a:cubicBezTo>
                  <a:cubicBezTo>
                    <a:pt x="44" y="104"/>
                    <a:pt x="46" y="103"/>
                    <a:pt x="47" y="101"/>
                  </a:cubicBezTo>
                  <a:cubicBezTo>
                    <a:pt x="46" y="104"/>
                    <a:pt x="44" y="107"/>
                    <a:pt x="45" y="109"/>
                  </a:cubicBezTo>
                  <a:cubicBezTo>
                    <a:pt x="46" y="110"/>
                    <a:pt x="46" y="110"/>
                    <a:pt x="47" y="110"/>
                  </a:cubicBezTo>
                  <a:cubicBezTo>
                    <a:pt x="47" y="110"/>
                    <a:pt x="47" y="110"/>
                    <a:pt x="48" y="110"/>
                  </a:cubicBezTo>
                  <a:cubicBezTo>
                    <a:pt x="50" y="108"/>
                    <a:pt x="50" y="101"/>
                    <a:pt x="51" y="99"/>
                  </a:cubicBezTo>
                  <a:cubicBezTo>
                    <a:pt x="52" y="101"/>
                    <a:pt x="53" y="102"/>
                    <a:pt x="54" y="102"/>
                  </a:cubicBezTo>
                  <a:cubicBezTo>
                    <a:pt x="55" y="102"/>
                    <a:pt x="55" y="99"/>
                    <a:pt x="55" y="97"/>
                  </a:cubicBezTo>
                  <a:cubicBezTo>
                    <a:pt x="55" y="94"/>
                    <a:pt x="54" y="92"/>
                    <a:pt x="53" y="92"/>
                  </a:cubicBezTo>
                  <a:cubicBezTo>
                    <a:pt x="53" y="92"/>
                    <a:pt x="53" y="92"/>
                    <a:pt x="53" y="92"/>
                  </a:cubicBezTo>
                  <a:cubicBezTo>
                    <a:pt x="54" y="90"/>
                    <a:pt x="53" y="90"/>
                    <a:pt x="50" y="87"/>
                  </a:cubicBezTo>
                  <a:cubicBezTo>
                    <a:pt x="51" y="87"/>
                    <a:pt x="55" y="84"/>
                    <a:pt x="54" y="84"/>
                  </a:cubicBezTo>
                  <a:cubicBezTo>
                    <a:pt x="52" y="80"/>
                    <a:pt x="52" y="80"/>
                    <a:pt x="55" y="78"/>
                  </a:cubicBezTo>
                  <a:cubicBezTo>
                    <a:pt x="57" y="76"/>
                    <a:pt x="49" y="71"/>
                    <a:pt x="47" y="70"/>
                  </a:cubicBezTo>
                  <a:cubicBezTo>
                    <a:pt x="48" y="70"/>
                    <a:pt x="48" y="70"/>
                    <a:pt x="48" y="70"/>
                  </a:cubicBezTo>
                  <a:cubicBezTo>
                    <a:pt x="49" y="70"/>
                    <a:pt x="51" y="71"/>
                    <a:pt x="53" y="71"/>
                  </a:cubicBezTo>
                  <a:cubicBezTo>
                    <a:pt x="53" y="71"/>
                    <a:pt x="53" y="70"/>
                    <a:pt x="53" y="69"/>
                  </a:cubicBezTo>
                  <a:cubicBezTo>
                    <a:pt x="53" y="68"/>
                    <a:pt x="53" y="68"/>
                    <a:pt x="53" y="68"/>
                  </a:cubicBezTo>
                  <a:cubicBezTo>
                    <a:pt x="56" y="67"/>
                    <a:pt x="56" y="67"/>
                    <a:pt x="56" y="67"/>
                  </a:cubicBezTo>
                  <a:cubicBezTo>
                    <a:pt x="56" y="67"/>
                    <a:pt x="56" y="68"/>
                    <a:pt x="56" y="69"/>
                  </a:cubicBezTo>
                  <a:cubicBezTo>
                    <a:pt x="56" y="68"/>
                    <a:pt x="58" y="68"/>
                    <a:pt x="58" y="68"/>
                  </a:cubicBezTo>
                  <a:cubicBezTo>
                    <a:pt x="58" y="70"/>
                    <a:pt x="57" y="71"/>
                    <a:pt x="56" y="73"/>
                  </a:cubicBezTo>
                  <a:cubicBezTo>
                    <a:pt x="58" y="74"/>
                    <a:pt x="57" y="78"/>
                    <a:pt x="57" y="80"/>
                  </a:cubicBezTo>
                  <a:cubicBezTo>
                    <a:pt x="57" y="84"/>
                    <a:pt x="60" y="84"/>
                    <a:pt x="63" y="85"/>
                  </a:cubicBezTo>
                  <a:cubicBezTo>
                    <a:pt x="65" y="85"/>
                    <a:pt x="69" y="86"/>
                    <a:pt x="72" y="86"/>
                  </a:cubicBezTo>
                  <a:cubicBezTo>
                    <a:pt x="74" y="86"/>
                    <a:pt x="76" y="86"/>
                    <a:pt x="77" y="84"/>
                  </a:cubicBezTo>
                  <a:cubicBezTo>
                    <a:pt x="76" y="83"/>
                    <a:pt x="76" y="83"/>
                    <a:pt x="76" y="83"/>
                  </a:cubicBezTo>
                  <a:cubicBezTo>
                    <a:pt x="74" y="82"/>
                    <a:pt x="74" y="82"/>
                    <a:pt x="74" y="82"/>
                  </a:cubicBezTo>
                  <a:cubicBezTo>
                    <a:pt x="72" y="82"/>
                    <a:pt x="71" y="81"/>
                    <a:pt x="70" y="78"/>
                  </a:cubicBezTo>
                  <a:cubicBezTo>
                    <a:pt x="70" y="77"/>
                    <a:pt x="69" y="76"/>
                    <a:pt x="69" y="75"/>
                  </a:cubicBezTo>
                  <a:cubicBezTo>
                    <a:pt x="69" y="74"/>
                    <a:pt x="69" y="72"/>
                    <a:pt x="69" y="72"/>
                  </a:cubicBezTo>
                  <a:cubicBezTo>
                    <a:pt x="68" y="71"/>
                    <a:pt x="68" y="71"/>
                    <a:pt x="68" y="71"/>
                  </a:cubicBezTo>
                  <a:cubicBezTo>
                    <a:pt x="68" y="71"/>
                    <a:pt x="68" y="70"/>
                    <a:pt x="68" y="69"/>
                  </a:cubicBezTo>
                  <a:cubicBezTo>
                    <a:pt x="67" y="69"/>
                    <a:pt x="67" y="69"/>
                    <a:pt x="67" y="69"/>
                  </a:cubicBezTo>
                  <a:cubicBezTo>
                    <a:pt x="67" y="68"/>
                    <a:pt x="67" y="68"/>
                    <a:pt x="67" y="67"/>
                  </a:cubicBezTo>
                  <a:cubicBezTo>
                    <a:pt x="66" y="66"/>
                    <a:pt x="66" y="66"/>
                    <a:pt x="66" y="66"/>
                  </a:cubicBezTo>
                  <a:cubicBezTo>
                    <a:pt x="66" y="64"/>
                    <a:pt x="67" y="63"/>
                    <a:pt x="67" y="62"/>
                  </a:cubicBezTo>
                  <a:cubicBezTo>
                    <a:pt x="68" y="61"/>
                    <a:pt x="68" y="61"/>
                    <a:pt x="68" y="61"/>
                  </a:cubicBezTo>
                  <a:cubicBezTo>
                    <a:pt x="68" y="57"/>
                    <a:pt x="68" y="57"/>
                    <a:pt x="68" y="57"/>
                  </a:cubicBezTo>
                  <a:cubicBezTo>
                    <a:pt x="70" y="58"/>
                    <a:pt x="70" y="58"/>
                    <a:pt x="70" y="58"/>
                  </a:cubicBezTo>
                  <a:cubicBezTo>
                    <a:pt x="78" y="50"/>
                    <a:pt x="78" y="50"/>
                    <a:pt x="78" y="50"/>
                  </a:cubicBezTo>
                  <a:cubicBezTo>
                    <a:pt x="77" y="49"/>
                    <a:pt x="77" y="49"/>
                    <a:pt x="77" y="49"/>
                  </a:cubicBezTo>
                  <a:cubicBezTo>
                    <a:pt x="79" y="49"/>
                    <a:pt x="79" y="49"/>
                    <a:pt x="79" y="49"/>
                  </a:cubicBezTo>
                  <a:cubicBezTo>
                    <a:pt x="79" y="49"/>
                    <a:pt x="79" y="49"/>
                    <a:pt x="79" y="49"/>
                  </a:cubicBezTo>
                  <a:cubicBezTo>
                    <a:pt x="79" y="49"/>
                    <a:pt x="79" y="49"/>
                    <a:pt x="79" y="49"/>
                  </a:cubicBezTo>
                  <a:cubicBezTo>
                    <a:pt x="80" y="49"/>
                    <a:pt x="81" y="49"/>
                    <a:pt x="82" y="49"/>
                  </a:cubicBezTo>
                  <a:cubicBezTo>
                    <a:pt x="84" y="48"/>
                    <a:pt x="84" y="48"/>
                    <a:pt x="84" y="48"/>
                  </a:cubicBezTo>
                  <a:cubicBezTo>
                    <a:pt x="84" y="47"/>
                    <a:pt x="85" y="46"/>
                    <a:pt x="86" y="45"/>
                  </a:cubicBezTo>
                  <a:cubicBezTo>
                    <a:pt x="83" y="40"/>
                    <a:pt x="83" y="40"/>
                    <a:pt x="83" y="40"/>
                  </a:cubicBezTo>
                  <a:cubicBezTo>
                    <a:pt x="87" y="44"/>
                    <a:pt x="87" y="44"/>
                    <a:pt x="87" y="44"/>
                  </a:cubicBezTo>
                  <a:cubicBezTo>
                    <a:pt x="87" y="44"/>
                    <a:pt x="87" y="44"/>
                    <a:pt x="88" y="43"/>
                  </a:cubicBezTo>
                  <a:cubicBezTo>
                    <a:pt x="88" y="43"/>
                    <a:pt x="89" y="42"/>
                    <a:pt x="90" y="42"/>
                  </a:cubicBezTo>
                  <a:cubicBezTo>
                    <a:pt x="90" y="42"/>
                    <a:pt x="90" y="42"/>
                    <a:pt x="90" y="42"/>
                  </a:cubicBezTo>
                  <a:cubicBezTo>
                    <a:pt x="90" y="41"/>
                    <a:pt x="90" y="41"/>
                    <a:pt x="90" y="41"/>
                  </a:cubicBezTo>
                  <a:cubicBezTo>
                    <a:pt x="91" y="41"/>
                    <a:pt x="91" y="39"/>
                    <a:pt x="91" y="38"/>
                  </a:cubicBezTo>
                  <a:cubicBezTo>
                    <a:pt x="91" y="36"/>
                    <a:pt x="91" y="36"/>
                    <a:pt x="91" y="36"/>
                  </a:cubicBezTo>
                  <a:cubicBezTo>
                    <a:pt x="95" y="33"/>
                    <a:pt x="95" y="33"/>
                    <a:pt x="95" y="33"/>
                  </a:cubicBezTo>
                  <a:cubicBezTo>
                    <a:pt x="95" y="32"/>
                    <a:pt x="94" y="32"/>
                    <a:pt x="94" y="32"/>
                  </a:cubicBezTo>
                  <a:cubicBezTo>
                    <a:pt x="93" y="32"/>
                    <a:pt x="93" y="32"/>
                    <a:pt x="93" y="32"/>
                  </a:cubicBezTo>
                  <a:cubicBezTo>
                    <a:pt x="92" y="31"/>
                    <a:pt x="92" y="31"/>
                    <a:pt x="91" y="31"/>
                  </a:cubicBezTo>
                  <a:cubicBezTo>
                    <a:pt x="90" y="30"/>
                    <a:pt x="89" y="30"/>
                    <a:pt x="89" y="30"/>
                  </a:cubicBezTo>
                  <a:cubicBezTo>
                    <a:pt x="88" y="30"/>
                    <a:pt x="87" y="30"/>
                    <a:pt x="87" y="30"/>
                  </a:cubicBezTo>
                  <a:cubicBezTo>
                    <a:pt x="86" y="30"/>
                    <a:pt x="86" y="30"/>
                    <a:pt x="86" y="30"/>
                  </a:cubicBezTo>
                  <a:cubicBezTo>
                    <a:pt x="85" y="31"/>
                    <a:pt x="83" y="31"/>
                    <a:pt x="82" y="31"/>
                  </a:cubicBezTo>
                  <a:cubicBezTo>
                    <a:pt x="82" y="31"/>
                    <a:pt x="81" y="31"/>
                    <a:pt x="81" y="31"/>
                  </a:cubicBezTo>
                  <a:cubicBezTo>
                    <a:pt x="77" y="31"/>
                    <a:pt x="73" y="30"/>
                    <a:pt x="69" y="30"/>
                  </a:cubicBezTo>
                  <a:cubicBezTo>
                    <a:pt x="68" y="30"/>
                    <a:pt x="68" y="30"/>
                    <a:pt x="68" y="30"/>
                  </a:cubicBezTo>
                  <a:cubicBezTo>
                    <a:pt x="68" y="29"/>
                    <a:pt x="67" y="29"/>
                    <a:pt x="67" y="29"/>
                  </a:cubicBezTo>
                  <a:cubicBezTo>
                    <a:pt x="66" y="29"/>
                    <a:pt x="64" y="30"/>
                    <a:pt x="63" y="30"/>
                  </a:cubicBezTo>
                  <a:cubicBezTo>
                    <a:pt x="62" y="30"/>
                    <a:pt x="62" y="30"/>
                    <a:pt x="62" y="30"/>
                  </a:cubicBezTo>
                  <a:cubicBezTo>
                    <a:pt x="62" y="30"/>
                    <a:pt x="61" y="30"/>
                    <a:pt x="61" y="30"/>
                  </a:cubicBezTo>
                  <a:cubicBezTo>
                    <a:pt x="60" y="30"/>
                    <a:pt x="59" y="30"/>
                    <a:pt x="59" y="30"/>
                  </a:cubicBezTo>
                  <a:cubicBezTo>
                    <a:pt x="58" y="30"/>
                    <a:pt x="58" y="30"/>
                    <a:pt x="58" y="30"/>
                  </a:cubicBezTo>
                  <a:cubicBezTo>
                    <a:pt x="58" y="30"/>
                    <a:pt x="58" y="30"/>
                    <a:pt x="58" y="30"/>
                  </a:cubicBezTo>
                  <a:cubicBezTo>
                    <a:pt x="57" y="30"/>
                    <a:pt x="57" y="30"/>
                    <a:pt x="56" y="30"/>
                  </a:cubicBezTo>
                  <a:cubicBezTo>
                    <a:pt x="55" y="30"/>
                    <a:pt x="55" y="30"/>
                    <a:pt x="55" y="30"/>
                  </a:cubicBezTo>
                  <a:cubicBezTo>
                    <a:pt x="55" y="31"/>
                    <a:pt x="54" y="31"/>
                    <a:pt x="53" y="31"/>
                  </a:cubicBezTo>
                  <a:cubicBezTo>
                    <a:pt x="52" y="31"/>
                    <a:pt x="52" y="31"/>
                    <a:pt x="52" y="31"/>
                  </a:cubicBezTo>
                  <a:cubicBezTo>
                    <a:pt x="51" y="30"/>
                    <a:pt x="51" y="30"/>
                    <a:pt x="51" y="30"/>
                  </a:cubicBezTo>
                  <a:cubicBezTo>
                    <a:pt x="50" y="30"/>
                    <a:pt x="49" y="30"/>
                    <a:pt x="49" y="30"/>
                  </a:cubicBezTo>
                  <a:cubicBezTo>
                    <a:pt x="48" y="30"/>
                    <a:pt x="48" y="30"/>
                    <a:pt x="48" y="30"/>
                  </a:cubicBezTo>
                  <a:cubicBezTo>
                    <a:pt x="47" y="29"/>
                    <a:pt x="47" y="29"/>
                    <a:pt x="46" y="29"/>
                  </a:cubicBezTo>
                  <a:cubicBezTo>
                    <a:pt x="44" y="29"/>
                    <a:pt x="43" y="28"/>
                    <a:pt x="41" y="28"/>
                  </a:cubicBezTo>
                  <a:cubicBezTo>
                    <a:pt x="41" y="27"/>
                    <a:pt x="41" y="27"/>
                    <a:pt x="41" y="27"/>
                  </a:cubicBezTo>
                  <a:cubicBezTo>
                    <a:pt x="40" y="27"/>
                    <a:pt x="40" y="27"/>
                    <a:pt x="40" y="27"/>
                  </a:cubicBezTo>
                  <a:cubicBezTo>
                    <a:pt x="39" y="27"/>
                    <a:pt x="38" y="27"/>
                    <a:pt x="37" y="26"/>
                  </a:cubicBezTo>
                  <a:cubicBezTo>
                    <a:pt x="37" y="26"/>
                    <a:pt x="35" y="26"/>
                    <a:pt x="35" y="23"/>
                  </a:cubicBezTo>
                  <a:cubicBezTo>
                    <a:pt x="32" y="23"/>
                    <a:pt x="32" y="23"/>
                    <a:pt x="32" y="23"/>
                  </a:cubicBezTo>
                  <a:cubicBezTo>
                    <a:pt x="35" y="22"/>
                    <a:pt x="35" y="22"/>
                    <a:pt x="35" y="22"/>
                  </a:cubicBezTo>
                  <a:cubicBezTo>
                    <a:pt x="35" y="22"/>
                    <a:pt x="35" y="22"/>
                    <a:pt x="35" y="22"/>
                  </a:cubicBezTo>
                  <a:cubicBezTo>
                    <a:pt x="34" y="20"/>
                    <a:pt x="34" y="18"/>
                    <a:pt x="34" y="16"/>
                  </a:cubicBezTo>
                  <a:cubicBezTo>
                    <a:pt x="34" y="15"/>
                    <a:pt x="34" y="15"/>
                    <a:pt x="34" y="15"/>
                  </a:cubicBezTo>
                  <a:cubicBezTo>
                    <a:pt x="34" y="14"/>
                    <a:pt x="34" y="13"/>
                    <a:pt x="34" y="12"/>
                  </a:cubicBezTo>
                  <a:cubicBezTo>
                    <a:pt x="34" y="10"/>
                    <a:pt x="34" y="9"/>
                    <a:pt x="34" y="7"/>
                  </a:cubicBezTo>
                  <a:cubicBezTo>
                    <a:pt x="32" y="9"/>
                    <a:pt x="30" y="9"/>
                    <a:pt x="28" y="9"/>
                  </a:cubicBezTo>
                  <a:cubicBezTo>
                    <a:pt x="27" y="9"/>
                    <a:pt x="26" y="9"/>
                    <a:pt x="24" y="8"/>
                  </a:cubicBezTo>
                  <a:cubicBezTo>
                    <a:pt x="24" y="8"/>
                    <a:pt x="24" y="8"/>
                    <a:pt x="24" y="8"/>
                  </a:cubicBezTo>
                  <a:cubicBezTo>
                    <a:pt x="22" y="7"/>
                    <a:pt x="21" y="5"/>
                    <a:pt x="20" y="3"/>
                  </a:cubicBezTo>
                  <a:cubicBezTo>
                    <a:pt x="19" y="3"/>
                    <a:pt x="19" y="3"/>
                    <a:pt x="19" y="3"/>
                  </a:cubicBezTo>
                  <a:cubicBezTo>
                    <a:pt x="16" y="3"/>
                    <a:pt x="15" y="3"/>
                    <a:pt x="13" y="2"/>
                  </a:cubicBezTo>
                  <a:cubicBezTo>
                    <a:pt x="12" y="2"/>
                    <a:pt x="12" y="2"/>
                    <a:pt x="12" y="2"/>
                  </a:cubicBezTo>
                  <a:cubicBezTo>
                    <a:pt x="12" y="2"/>
                    <a:pt x="12" y="2"/>
                    <a:pt x="12" y="2"/>
                  </a:cubicBezTo>
                  <a:cubicBezTo>
                    <a:pt x="11" y="2"/>
                    <a:pt x="10" y="1"/>
                    <a:pt x="9"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1544"/>
            <p:cNvSpPr/>
            <p:nvPr/>
          </p:nvSpPr>
          <p:spPr bwMode="auto">
            <a:xfrm>
              <a:off x="2268547" y="3307519"/>
              <a:ext cx="2685" cy="5369"/>
            </a:xfrm>
            <a:custGeom>
              <a:gdLst>
                <a:gd name="T0" fmla="*/ 0 w 1"/>
                <a:gd name="T1" fmla="*/ 0 h 2"/>
                <a:gd name="T2" fmla="*/ 1 w 1"/>
                <a:gd name="T3" fmla="*/ 0 h 2"/>
                <a:gd name="T4" fmla="*/ 1 w 1"/>
                <a:gd name="T5" fmla="*/ 1 h 2"/>
                <a:gd name="T6" fmla="*/ 0 w 1"/>
                <a:gd name="T7" fmla="*/ 2 h 2"/>
                <a:gd name="T8" fmla="*/ 1 w 1"/>
                <a:gd name="T9" fmla="*/ 2 h 2"/>
                <a:gd name="T10" fmla="*/ 1 w 1"/>
                <a:gd name="T11" fmla="*/ 2 h 2"/>
                <a:gd name="T12" fmla="*/ 1 w 1"/>
                <a:gd name="T13" fmla="*/ 1 h 2"/>
                <a:gd name="T14" fmla="*/ 1 w 1"/>
                <a:gd name="T15" fmla="*/ 0 h 2"/>
                <a:gd name="T16" fmla="*/ 0 w 1"/>
                <a:gd name="T17"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0" y="0"/>
                  </a:moveTo>
                  <a:cubicBezTo>
                    <a:pt x="1" y="0"/>
                    <a:pt x="1" y="0"/>
                    <a:pt x="1" y="0"/>
                  </a:cubicBezTo>
                  <a:cubicBezTo>
                    <a:pt x="1" y="1"/>
                    <a:pt x="1" y="1"/>
                    <a:pt x="1" y="1"/>
                  </a:cubicBezTo>
                  <a:cubicBezTo>
                    <a:pt x="0" y="2"/>
                    <a:pt x="0" y="2"/>
                    <a:pt x="0" y="2"/>
                  </a:cubicBezTo>
                  <a:cubicBezTo>
                    <a:pt x="1" y="2"/>
                    <a:pt x="1" y="2"/>
                    <a:pt x="1" y="2"/>
                  </a:cubicBezTo>
                  <a:cubicBezTo>
                    <a:pt x="1" y="2"/>
                    <a:pt x="1" y="2"/>
                    <a:pt x="1" y="2"/>
                  </a:cubicBezTo>
                  <a:cubicBezTo>
                    <a:pt x="1" y="1"/>
                    <a:pt x="1" y="1"/>
                    <a:pt x="1" y="1"/>
                  </a:cubicBezTo>
                  <a:cubicBezTo>
                    <a:pt x="1" y="1"/>
                    <a:pt x="1"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1545"/>
            <p:cNvSpPr/>
            <p:nvPr/>
          </p:nvSpPr>
          <p:spPr bwMode="auto">
            <a:xfrm>
              <a:off x="2275259" y="3316915"/>
              <a:ext cx="12081" cy="21477"/>
            </a:xfrm>
            <a:custGeom>
              <a:gdLst>
                <a:gd name="T0" fmla="*/ 2 w 4"/>
                <a:gd name="T1" fmla="*/ 0 h 7"/>
                <a:gd name="T2" fmla="*/ 0 w 4"/>
                <a:gd name="T3" fmla="*/ 1 h 7"/>
                <a:gd name="T4" fmla="*/ 4 w 4"/>
                <a:gd name="T5" fmla="*/ 7 h 7"/>
                <a:gd name="T6" fmla="*/ 3 w 4"/>
                <a:gd name="T7" fmla="*/ 4 h 7"/>
                <a:gd name="T8" fmla="*/ 3 w 4"/>
                <a:gd name="T9" fmla="*/ 2 h 7"/>
                <a:gd name="T10" fmla="*/ 3 w 4"/>
                <a:gd name="T11" fmla="*/ 2 h 7"/>
                <a:gd name="T12" fmla="*/ 2 w 4"/>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4" h="7">
                  <a:moveTo>
                    <a:pt x="2" y="0"/>
                  </a:moveTo>
                  <a:cubicBezTo>
                    <a:pt x="0" y="1"/>
                    <a:pt x="0" y="1"/>
                    <a:pt x="0" y="1"/>
                  </a:cubicBezTo>
                  <a:cubicBezTo>
                    <a:pt x="2" y="3"/>
                    <a:pt x="3" y="5"/>
                    <a:pt x="4" y="7"/>
                  </a:cubicBezTo>
                  <a:cubicBezTo>
                    <a:pt x="4" y="6"/>
                    <a:pt x="4" y="5"/>
                    <a:pt x="3" y="4"/>
                  </a:cubicBezTo>
                  <a:cubicBezTo>
                    <a:pt x="3" y="3"/>
                    <a:pt x="3" y="3"/>
                    <a:pt x="3" y="2"/>
                  </a:cubicBezTo>
                  <a:cubicBezTo>
                    <a:pt x="3" y="2"/>
                    <a:pt x="3" y="2"/>
                    <a:pt x="3" y="2"/>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Freeform 1546"/>
            <p:cNvSpPr/>
            <p:nvPr/>
          </p:nvSpPr>
          <p:spPr bwMode="auto">
            <a:xfrm>
              <a:off x="2287340" y="2728972"/>
              <a:ext cx="634925" cy="1418850"/>
            </a:xfrm>
            <a:custGeom>
              <a:gdLst>
                <a:gd name="T0" fmla="*/ 116 w 200"/>
                <a:gd name="T1" fmla="*/ 17 h 447"/>
                <a:gd name="T2" fmla="*/ 92 w 200"/>
                <a:gd name="T3" fmla="*/ 34 h 447"/>
                <a:gd name="T4" fmla="*/ 70 w 200"/>
                <a:gd name="T5" fmla="*/ 61 h 447"/>
                <a:gd name="T6" fmla="*/ 49 w 200"/>
                <a:gd name="T7" fmla="*/ 110 h 447"/>
                <a:gd name="T8" fmla="*/ 24 w 200"/>
                <a:gd name="T9" fmla="*/ 138 h 447"/>
                <a:gd name="T10" fmla="*/ 11 w 200"/>
                <a:gd name="T11" fmla="*/ 166 h 447"/>
                <a:gd name="T12" fmla="*/ 1 w 200"/>
                <a:gd name="T13" fmla="*/ 181 h 447"/>
                <a:gd name="T14" fmla="*/ 2 w 200"/>
                <a:gd name="T15" fmla="*/ 190 h 447"/>
                <a:gd name="T16" fmla="*/ 12 w 200"/>
                <a:gd name="T17" fmla="*/ 204 h 447"/>
                <a:gd name="T18" fmla="*/ 16 w 200"/>
                <a:gd name="T19" fmla="*/ 209 h 447"/>
                <a:gd name="T20" fmla="*/ 33 w 200"/>
                <a:gd name="T21" fmla="*/ 213 h 447"/>
                <a:gd name="T22" fmla="*/ 39 w 200"/>
                <a:gd name="T23" fmla="*/ 226 h 447"/>
                <a:gd name="T24" fmla="*/ 32 w 200"/>
                <a:gd name="T25" fmla="*/ 232 h 447"/>
                <a:gd name="T26" fmla="*/ 41 w 200"/>
                <a:gd name="T27" fmla="*/ 226 h 447"/>
                <a:gd name="T28" fmla="*/ 51 w 200"/>
                <a:gd name="T29" fmla="*/ 260 h 447"/>
                <a:gd name="T30" fmla="*/ 52 w 200"/>
                <a:gd name="T31" fmla="*/ 303 h 447"/>
                <a:gd name="T32" fmla="*/ 55 w 200"/>
                <a:gd name="T33" fmla="*/ 308 h 447"/>
                <a:gd name="T34" fmla="*/ 60 w 200"/>
                <a:gd name="T35" fmla="*/ 304 h 447"/>
                <a:gd name="T36" fmla="*/ 67 w 200"/>
                <a:gd name="T37" fmla="*/ 306 h 447"/>
                <a:gd name="T38" fmla="*/ 80 w 200"/>
                <a:gd name="T39" fmla="*/ 303 h 447"/>
                <a:gd name="T40" fmla="*/ 93 w 200"/>
                <a:gd name="T41" fmla="*/ 294 h 447"/>
                <a:gd name="T42" fmla="*/ 108 w 200"/>
                <a:gd name="T43" fmla="*/ 275 h 447"/>
                <a:gd name="T44" fmla="*/ 125 w 200"/>
                <a:gd name="T45" fmla="*/ 294 h 447"/>
                <a:gd name="T46" fmla="*/ 128 w 200"/>
                <a:gd name="T47" fmla="*/ 319 h 447"/>
                <a:gd name="T48" fmla="*/ 134 w 200"/>
                <a:gd name="T49" fmla="*/ 340 h 447"/>
                <a:gd name="T50" fmla="*/ 138 w 200"/>
                <a:gd name="T51" fmla="*/ 355 h 447"/>
                <a:gd name="T52" fmla="*/ 148 w 200"/>
                <a:gd name="T53" fmla="*/ 395 h 447"/>
                <a:gd name="T54" fmla="*/ 144 w 200"/>
                <a:gd name="T55" fmla="*/ 403 h 447"/>
                <a:gd name="T56" fmla="*/ 150 w 200"/>
                <a:gd name="T57" fmla="*/ 411 h 447"/>
                <a:gd name="T58" fmla="*/ 145 w 200"/>
                <a:gd name="T59" fmla="*/ 438 h 447"/>
                <a:gd name="T60" fmla="*/ 169 w 200"/>
                <a:gd name="T61" fmla="*/ 408 h 447"/>
                <a:gd name="T62" fmla="*/ 162 w 200"/>
                <a:gd name="T63" fmla="*/ 386 h 447"/>
                <a:gd name="T64" fmla="*/ 159 w 200"/>
                <a:gd name="T65" fmla="*/ 369 h 447"/>
                <a:gd name="T66" fmla="*/ 150 w 200"/>
                <a:gd name="T67" fmla="*/ 353 h 447"/>
                <a:gd name="T68" fmla="*/ 145 w 200"/>
                <a:gd name="T69" fmla="*/ 320 h 447"/>
                <a:gd name="T70" fmla="*/ 145 w 200"/>
                <a:gd name="T71" fmla="*/ 290 h 447"/>
                <a:gd name="T72" fmla="*/ 137 w 200"/>
                <a:gd name="T73" fmla="*/ 281 h 447"/>
                <a:gd name="T74" fmla="*/ 123 w 200"/>
                <a:gd name="T75" fmla="*/ 255 h 447"/>
                <a:gd name="T76" fmla="*/ 126 w 200"/>
                <a:gd name="T77" fmla="*/ 242 h 447"/>
                <a:gd name="T78" fmla="*/ 136 w 200"/>
                <a:gd name="T79" fmla="*/ 212 h 447"/>
                <a:gd name="T80" fmla="*/ 149 w 200"/>
                <a:gd name="T81" fmla="*/ 214 h 447"/>
                <a:gd name="T82" fmla="*/ 156 w 200"/>
                <a:gd name="T83" fmla="*/ 212 h 447"/>
                <a:gd name="T84" fmla="*/ 171 w 200"/>
                <a:gd name="T85" fmla="*/ 199 h 447"/>
                <a:gd name="T86" fmla="*/ 182 w 200"/>
                <a:gd name="T87" fmla="*/ 195 h 447"/>
                <a:gd name="T88" fmla="*/ 197 w 200"/>
                <a:gd name="T89" fmla="*/ 175 h 447"/>
                <a:gd name="T90" fmla="*/ 180 w 200"/>
                <a:gd name="T91" fmla="*/ 172 h 447"/>
                <a:gd name="T92" fmla="*/ 157 w 200"/>
                <a:gd name="T93" fmla="*/ 160 h 447"/>
                <a:gd name="T94" fmla="*/ 163 w 200"/>
                <a:gd name="T95" fmla="*/ 141 h 447"/>
                <a:gd name="T96" fmla="*/ 165 w 200"/>
                <a:gd name="T97" fmla="*/ 137 h 447"/>
                <a:gd name="T98" fmla="*/ 149 w 200"/>
                <a:gd name="T99" fmla="*/ 122 h 447"/>
                <a:gd name="T100" fmla="*/ 148 w 200"/>
                <a:gd name="T101" fmla="*/ 113 h 447"/>
                <a:gd name="T102" fmla="*/ 138 w 200"/>
                <a:gd name="T103" fmla="*/ 111 h 447"/>
                <a:gd name="T104" fmla="*/ 121 w 200"/>
                <a:gd name="T105" fmla="*/ 111 h 447"/>
                <a:gd name="T106" fmla="*/ 120 w 200"/>
                <a:gd name="T107" fmla="*/ 98 h 447"/>
                <a:gd name="T108" fmla="*/ 126 w 200"/>
                <a:gd name="T109" fmla="*/ 83 h 447"/>
                <a:gd name="T110" fmla="*/ 134 w 200"/>
                <a:gd name="T111" fmla="*/ 75 h 447"/>
                <a:gd name="T112" fmla="*/ 144 w 200"/>
                <a:gd name="T113" fmla="*/ 67 h 447"/>
                <a:gd name="T114" fmla="*/ 146 w 200"/>
                <a:gd name="T115" fmla="*/ 56 h 447"/>
                <a:gd name="T116" fmla="*/ 148 w 200"/>
                <a:gd name="T117" fmla="*/ 24 h 447"/>
                <a:gd name="T118" fmla="*/ 133 w 200"/>
                <a:gd name="T119" fmla="*/ 7 h 4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0" h="447">
                  <a:moveTo>
                    <a:pt x="125" y="0"/>
                  </a:moveTo>
                  <a:cubicBezTo>
                    <a:pt x="124" y="1"/>
                    <a:pt x="123" y="3"/>
                    <a:pt x="122" y="5"/>
                  </a:cubicBezTo>
                  <a:cubicBezTo>
                    <a:pt x="122" y="5"/>
                    <a:pt x="121" y="5"/>
                    <a:pt x="121" y="6"/>
                  </a:cubicBezTo>
                  <a:cubicBezTo>
                    <a:pt x="121" y="6"/>
                    <a:pt x="121" y="6"/>
                    <a:pt x="121" y="6"/>
                  </a:cubicBezTo>
                  <a:cubicBezTo>
                    <a:pt x="122" y="7"/>
                    <a:pt x="122" y="7"/>
                    <a:pt x="122" y="7"/>
                  </a:cubicBezTo>
                  <a:cubicBezTo>
                    <a:pt x="122" y="9"/>
                    <a:pt x="122" y="9"/>
                    <a:pt x="122" y="9"/>
                  </a:cubicBezTo>
                  <a:cubicBezTo>
                    <a:pt x="123" y="13"/>
                    <a:pt x="120" y="15"/>
                    <a:pt x="117" y="17"/>
                  </a:cubicBezTo>
                  <a:cubicBezTo>
                    <a:pt x="116" y="17"/>
                    <a:pt x="116" y="17"/>
                    <a:pt x="116" y="17"/>
                  </a:cubicBezTo>
                  <a:cubicBezTo>
                    <a:pt x="116" y="18"/>
                    <a:pt x="115" y="18"/>
                    <a:pt x="114" y="19"/>
                  </a:cubicBezTo>
                  <a:cubicBezTo>
                    <a:pt x="112" y="20"/>
                    <a:pt x="111" y="22"/>
                    <a:pt x="111" y="22"/>
                  </a:cubicBezTo>
                  <a:cubicBezTo>
                    <a:pt x="112" y="23"/>
                    <a:pt x="113" y="25"/>
                    <a:pt x="113" y="25"/>
                  </a:cubicBezTo>
                  <a:cubicBezTo>
                    <a:pt x="113" y="26"/>
                    <a:pt x="113" y="26"/>
                    <a:pt x="113" y="26"/>
                  </a:cubicBezTo>
                  <a:cubicBezTo>
                    <a:pt x="106" y="38"/>
                    <a:pt x="106" y="38"/>
                    <a:pt x="106" y="38"/>
                  </a:cubicBezTo>
                  <a:cubicBezTo>
                    <a:pt x="104" y="30"/>
                    <a:pt x="104" y="30"/>
                    <a:pt x="104" y="30"/>
                  </a:cubicBezTo>
                  <a:cubicBezTo>
                    <a:pt x="104" y="30"/>
                    <a:pt x="103" y="30"/>
                    <a:pt x="103" y="30"/>
                  </a:cubicBezTo>
                  <a:cubicBezTo>
                    <a:pt x="100" y="30"/>
                    <a:pt x="96" y="32"/>
                    <a:pt x="92" y="34"/>
                  </a:cubicBezTo>
                  <a:cubicBezTo>
                    <a:pt x="89" y="36"/>
                    <a:pt x="88" y="37"/>
                    <a:pt x="86" y="38"/>
                  </a:cubicBezTo>
                  <a:cubicBezTo>
                    <a:pt x="83" y="39"/>
                    <a:pt x="81" y="40"/>
                    <a:pt x="80" y="42"/>
                  </a:cubicBezTo>
                  <a:cubicBezTo>
                    <a:pt x="78" y="43"/>
                    <a:pt x="76" y="45"/>
                    <a:pt x="73" y="46"/>
                  </a:cubicBezTo>
                  <a:cubicBezTo>
                    <a:pt x="73" y="46"/>
                    <a:pt x="73" y="46"/>
                    <a:pt x="73" y="46"/>
                  </a:cubicBezTo>
                  <a:cubicBezTo>
                    <a:pt x="68" y="48"/>
                    <a:pt x="68" y="48"/>
                    <a:pt x="69" y="50"/>
                  </a:cubicBezTo>
                  <a:cubicBezTo>
                    <a:pt x="69" y="51"/>
                    <a:pt x="69" y="52"/>
                    <a:pt x="69" y="53"/>
                  </a:cubicBezTo>
                  <a:cubicBezTo>
                    <a:pt x="69" y="54"/>
                    <a:pt x="69" y="54"/>
                    <a:pt x="69" y="54"/>
                  </a:cubicBezTo>
                  <a:cubicBezTo>
                    <a:pt x="70" y="56"/>
                    <a:pt x="70" y="59"/>
                    <a:pt x="70" y="61"/>
                  </a:cubicBezTo>
                  <a:cubicBezTo>
                    <a:pt x="70" y="62"/>
                    <a:pt x="69" y="63"/>
                    <a:pt x="69" y="63"/>
                  </a:cubicBezTo>
                  <a:cubicBezTo>
                    <a:pt x="68" y="64"/>
                    <a:pt x="68" y="64"/>
                    <a:pt x="68" y="64"/>
                  </a:cubicBezTo>
                  <a:cubicBezTo>
                    <a:pt x="68" y="65"/>
                    <a:pt x="67" y="66"/>
                    <a:pt x="67" y="66"/>
                  </a:cubicBezTo>
                  <a:cubicBezTo>
                    <a:pt x="67" y="68"/>
                    <a:pt x="66" y="71"/>
                    <a:pt x="62" y="74"/>
                  </a:cubicBezTo>
                  <a:cubicBezTo>
                    <a:pt x="57" y="77"/>
                    <a:pt x="57" y="77"/>
                    <a:pt x="58" y="79"/>
                  </a:cubicBezTo>
                  <a:cubicBezTo>
                    <a:pt x="61" y="85"/>
                    <a:pt x="59" y="92"/>
                    <a:pt x="53" y="99"/>
                  </a:cubicBezTo>
                  <a:cubicBezTo>
                    <a:pt x="51" y="103"/>
                    <a:pt x="49" y="109"/>
                    <a:pt x="49" y="109"/>
                  </a:cubicBezTo>
                  <a:cubicBezTo>
                    <a:pt x="49" y="110"/>
                    <a:pt x="49" y="110"/>
                    <a:pt x="49" y="110"/>
                  </a:cubicBezTo>
                  <a:cubicBezTo>
                    <a:pt x="48" y="110"/>
                    <a:pt x="48" y="110"/>
                    <a:pt x="48" y="110"/>
                  </a:cubicBezTo>
                  <a:cubicBezTo>
                    <a:pt x="48" y="111"/>
                    <a:pt x="46" y="113"/>
                    <a:pt x="42" y="116"/>
                  </a:cubicBezTo>
                  <a:cubicBezTo>
                    <a:pt x="41" y="118"/>
                    <a:pt x="41" y="118"/>
                    <a:pt x="41" y="118"/>
                  </a:cubicBezTo>
                  <a:cubicBezTo>
                    <a:pt x="39" y="117"/>
                    <a:pt x="39" y="117"/>
                    <a:pt x="39" y="117"/>
                  </a:cubicBezTo>
                  <a:cubicBezTo>
                    <a:pt x="36" y="115"/>
                    <a:pt x="31" y="114"/>
                    <a:pt x="28" y="114"/>
                  </a:cubicBezTo>
                  <a:cubicBezTo>
                    <a:pt x="28" y="114"/>
                    <a:pt x="28" y="115"/>
                    <a:pt x="28" y="115"/>
                  </a:cubicBezTo>
                  <a:cubicBezTo>
                    <a:pt x="30" y="119"/>
                    <a:pt x="29" y="127"/>
                    <a:pt x="28" y="134"/>
                  </a:cubicBezTo>
                  <a:cubicBezTo>
                    <a:pt x="27" y="137"/>
                    <a:pt x="26" y="138"/>
                    <a:pt x="24" y="138"/>
                  </a:cubicBezTo>
                  <a:cubicBezTo>
                    <a:pt x="24" y="138"/>
                    <a:pt x="23" y="138"/>
                    <a:pt x="23" y="138"/>
                  </a:cubicBezTo>
                  <a:cubicBezTo>
                    <a:pt x="23" y="138"/>
                    <a:pt x="22" y="138"/>
                    <a:pt x="22" y="138"/>
                  </a:cubicBezTo>
                  <a:cubicBezTo>
                    <a:pt x="21" y="142"/>
                    <a:pt x="21" y="142"/>
                    <a:pt x="21" y="142"/>
                  </a:cubicBezTo>
                  <a:cubicBezTo>
                    <a:pt x="21" y="146"/>
                    <a:pt x="21" y="146"/>
                    <a:pt x="21" y="146"/>
                  </a:cubicBezTo>
                  <a:cubicBezTo>
                    <a:pt x="23" y="157"/>
                    <a:pt x="23" y="157"/>
                    <a:pt x="23" y="157"/>
                  </a:cubicBezTo>
                  <a:cubicBezTo>
                    <a:pt x="17" y="164"/>
                    <a:pt x="17" y="164"/>
                    <a:pt x="17" y="164"/>
                  </a:cubicBezTo>
                  <a:cubicBezTo>
                    <a:pt x="14" y="163"/>
                    <a:pt x="14" y="163"/>
                    <a:pt x="14" y="163"/>
                  </a:cubicBezTo>
                  <a:cubicBezTo>
                    <a:pt x="11" y="166"/>
                    <a:pt x="11" y="166"/>
                    <a:pt x="11" y="166"/>
                  </a:cubicBezTo>
                  <a:cubicBezTo>
                    <a:pt x="11" y="174"/>
                    <a:pt x="11" y="174"/>
                    <a:pt x="11" y="174"/>
                  </a:cubicBezTo>
                  <a:cubicBezTo>
                    <a:pt x="11" y="175"/>
                    <a:pt x="11" y="176"/>
                    <a:pt x="11" y="177"/>
                  </a:cubicBezTo>
                  <a:cubicBezTo>
                    <a:pt x="11" y="178"/>
                    <a:pt x="11" y="178"/>
                    <a:pt x="11" y="178"/>
                  </a:cubicBezTo>
                  <a:cubicBezTo>
                    <a:pt x="12" y="184"/>
                    <a:pt x="12" y="184"/>
                    <a:pt x="12" y="184"/>
                  </a:cubicBezTo>
                  <a:cubicBezTo>
                    <a:pt x="7" y="181"/>
                    <a:pt x="7" y="181"/>
                    <a:pt x="7" y="181"/>
                  </a:cubicBezTo>
                  <a:cubicBezTo>
                    <a:pt x="6" y="180"/>
                    <a:pt x="5" y="180"/>
                    <a:pt x="5" y="180"/>
                  </a:cubicBezTo>
                  <a:cubicBezTo>
                    <a:pt x="4" y="180"/>
                    <a:pt x="3" y="179"/>
                    <a:pt x="2" y="179"/>
                  </a:cubicBezTo>
                  <a:cubicBezTo>
                    <a:pt x="1" y="180"/>
                    <a:pt x="1" y="181"/>
                    <a:pt x="1" y="181"/>
                  </a:cubicBezTo>
                  <a:cubicBezTo>
                    <a:pt x="0" y="182"/>
                    <a:pt x="0" y="182"/>
                    <a:pt x="0" y="182"/>
                  </a:cubicBezTo>
                  <a:cubicBezTo>
                    <a:pt x="1" y="183"/>
                    <a:pt x="1" y="183"/>
                    <a:pt x="1" y="183"/>
                  </a:cubicBezTo>
                  <a:cubicBezTo>
                    <a:pt x="2" y="183"/>
                    <a:pt x="2" y="183"/>
                    <a:pt x="2" y="183"/>
                  </a:cubicBezTo>
                  <a:cubicBezTo>
                    <a:pt x="1" y="183"/>
                    <a:pt x="1" y="183"/>
                    <a:pt x="1" y="183"/>
                  </a:cubicBezTo>
                  <a:cubicBezTo>
                    <a:pt x="2" y="185"/>
                    <a:pt x="2" y="185"/>
                    <a:pt x="2" y="185"/>
                  </a:cubicBezTo>
                  <a:cubicBezTo>
                    <a:pt x="0" y="186"/>
                    <a:pt x="0" y="186"/>
                    <a:pt x="0" y="186"/>
                  </a:cubicBezTo>
                  <a:cubicBezTo>
                    <a:pt x="0" y="187"/>
                    <a:pt x="1" y="188"/>
                    <a:pt x="2" y="189"/>
                  </a:cubicBezTo>
                  <a:cubicBezTo>
                    <a:pt x="2" y="190"/>
                    <a:pt x="2" y="190"/>
                    <a:pt x="2" y="190"/>
                  </a:cubicBezTo>
                  <a:cubicBezTo>
                    <a:pt x="3" y="192"/>
                    <a:pt x="4" y="193"/>
                    <a:pt x="5" y="195"/>
                  </a:cubicBezTo>
                  <a:cubicBezTo>
                    <a:pt x="6" y="197"/>
                    <a:pt x="7" y="199"/>
                    <a:pt x="8" y="201"/>
                  </a:cubicBezTo>
                  <a:cubicBezTo>
                    <a:pt x="9" y="202"/>
                    <a:pt x="9" y="203"/>
                    <a:pt x="10" y="204"/>
                  </a:cubicBezTo>
                  <a:cubicBezTo>
                    <a:pt x="10" y="203"/>
                    <a:pt x="10" y="201"/>
                    <a:pt x="9" y="200"/>
                  </a:cubicBezTo>
                  <a:cubicBezTo>
                    <a:pt x="9" y="198"/>
                    <a:pt x="9" y="196"/>
                    <a:pt x="9" y="195"/>
                  </a:cubicBezTo>
                  <a:cubicBezTo>
                    <a:pt x="10" y="196"/>
                    <a:pt x="10" y="197"/>
                    <a:pt x="11" y="198"/>
                  </a:cubicBezTo>
                  <a:cubicBezTo>
                    <a:pt x="12" y="199"/>
                    <a:pt x="12" y="200"/>
                    <a:pt x="13" y="202"/>
                  </a:cubicBezTo>
                  <a:cubicBezTo>
                    <a:pt x="13" y="202"/>
                    <a:pt x="12" y="203"/>
                    <a:pt x="12" y="204"/>
                  </a:cubicBezTo>
                  <a:cubicBezTo>
                    <a:pt x="12" y="204"/>
                    <a:pt x="13" y="205"/>
                    <a:pt x="13" y="205"/>
                  </a:cubicBezTo>
                  <a:cubicBezTo>
                    <a:pt x="14" y="206"/>
                    <a:pt x="14" y="206"/>
                    <a:pt x="14" y="206"/>
                  </a:cubicBezTo>
                  <a:cubicBezTo>
                    <a:pt x="15" y="205"/>
                    <a:pt x="15" y="204"/>
                    <a:pt x="15" y="203"/>
                  </a:cubicBezTo>
                  <a:cubicBezTo>
                    <a:pt x="16" y="201"/>
                    <a:pt x="17" y="200"/>
                    <a:pt x="17" y="198"/>
                  </a:cubicBezTo>
                  <a:cubicBezTo>
                    <a:pt x="17" y="199"/>
                    <a:pt x="17" y="200"/>
                    <a:pt x="17" y="201"/>
                  </a:cubicBezTo>
                  <a:cubicBezTo>
                    <a:pt x="17" y="201"/>
                    <a:pt x="17" y="201"/>
                    <a:pt x="17" y="201"/>
                  </a:cubicBezTo>
                  <a:cubicBezTo>
                    <a:pt x="18" y="201"/>
                    <a:pt x="18" y="201"/>
                    <a:pt x="18" y="201"/>
                  </a:cubicBezTo>
                  <a:cubicBezTo>
                    <a:pt x="18" y="203"/>
                    <a:pt x="16" y="206"/>
                    <a:pt x="16" y="209"/>
                  </a:cubicBezTo>
                  <a:cubicBezTo>
                    <a:pt x="16" y="209"/>
                    <a:pt x="17" y="210"/>
                    <a:pt x="17" y="210"/>
                  </a:cubicBezTo>
                  <a:cubicBezTo>
                    <a:pt x="17" y="210"/>
                    <a:pt x="17" y="210"/>
                    <a:pt x="17" y="210"/>
                  </a:cubicBezTo>
                  <a:cubicBezTo>
                    <a:pt x="18" y="212"/>
                    <a:pt x="19" y="213"/>
                    <a:pt x="19" y="214"/>
                  </a:cubicBezTo>
                  <a:cubicBezTo>
                    <a:pt x="19" y="211"/>
                    <a:pt x="19" y="209"/>
                    <a:pt x="22" y="209"/>
                  </a:cubicBezTo>
                  <a:cubicBezTo>
                    <a:pt x="22" y="209"/>
                    <a:pt x="23" y="209"/>
                    <a:pt x="24" y="209"/>
                  </a:cubicBezTo>
                  <a:cubicBezTo>
                    <a:pt x="25" y="210"/>
                    <a:pt x="26" y="210"/>
                    <a:pt x="27" y="210"/>
                  </a:cubicBezTo>
                  <a:cubicBezTo>
                    <a:pt x="29" y="210"/>
                    <a:pt x="33" y="211"/>
                    <a:pt x="33" y="212"/>
                  </a:cubicBezTo>
                  <a:cubicBezTo>
                    <a:pt x="33" y="213"/>
                    <a:pt x="33" y="213"/>
                    <a:pt x="33" y="213"/>
                  </a:cubicBezTo>
                  <a:cubicBezTo>
                    <a:pt x="33" y="213"/>
                    <a:pt x="33" y="213"/>
                    <a:pt x="33" y="213"/>
                  </a:cubicBezTo>
                  <a:cubicBezTo>
                    <a:pt x="32" y="213"/>
                    <a:pt x="32" y="213"/>
                    <a:pt x="31" y="214"/>
                  </a:cubicBezTo>
                  <a:cubicBezTo>
                    <a:pt x="31" y="215"/>
                    <a:pt x="31" y="215"/>
                    <a:pt x="31" y="215"/>
                  </a:cubicBezTo>
                  <a:cubicBezTo>
                    <a:pt x="30" y="217"/>
                    <a:pt x="33" y="217"/>
                    <a:pt x="36" y="217"/>
                  </a:cubicBezTo>
                  <a:cubicBezTo>
                    <a:pt x="33" y="219"/>
                    <a:pt x="34" y="219"/>
                    <a:pt x="35" y="220"/>
                  </a:cubicBezTo>
                  <a:cubicBezTo>
                    <a:pt x="35" y="221"/>
                    <a:pt x="35" y="221"/>
                    <a:pt x="36" y="222"/>
                  </a:cubicBezTo>
                  <a:cubicBezTo>
                    <a:pt x="36" y="222"/>
                    <a:pt x="38" y="224"/>
                    <a:pt x="39" y="225"/>
                  </a:cubicBezTo>
                  <a:cubicBezTo>
                    <a:pt x="39" y="226"/>
                    <a:pt x="39" y="226"/>
                    <a:pt x="39" y="226"/>
                  </a:cubicBezTo>
                  <a:cubicBezTo>
                    <a:pt x="38" y="227"/>
                    <a:pt x="36" y="228"/>
                    <a:pt x="37" y="229"/>
                  </a:cubicBezTo>
                  <a:cubicBezTo>
                    <a:pt x="37" y="229"/>
                    <a:pt x="36" y="229"/>
                    <a:pt x="35" y="228"/>
                  </a:cubicBezTo>
                  <a:cubicBezTo>
                    <a:pt x="35" y="228"/>
                    <a:pt x="34" y="228"/>
                    <a:pt x="33" y="228"/>
                  </a:cubicBezTo>
                  <a:cubicBezTo>
                    <a:pt x="32" y="227"/>
                    <a:pt x="32" y="226"/>
                    <a:pt x="31" y="226"/>
                  </a:cubicBezTo>
                  <a:cubicBezTo>
                    <a:pt x="31" y="226"/>
                    <a:pt x="30" y="225"/>
                    <a:pt x="30" y="225"/>
                  </a:cubicBezTo>
                  <a:cubicBezTo>
                    <a:pt x="29" y="224"/>
                    <a:pt x="29" y="224"/>
                    <a:pt x="29" y="224"/>
                  </a:cubicBezTo>
                  <a:cubicBezTo>
                    <a:pt x="28" y="224"/>
                    <a:pt x="28" y="225"/>
                    <a:pt x="29" y="226"/>
                  </a:cubicBezTo>
                  <a:cubicBezTo>
                    <a:pt x="29" y="228"/>
                    <a:pt x="31" y="231"/>
                    <a:pt x="32" y="232"/>
                  </a:cubicBezTo>
                  <a:cubicBezTo>
                    <a:pt x="32" y="233"/>
                    <a:pt x="32" y="233"/>
                    <a:pt x="32" y="233"/>
                  </a:cubicBezTo>
                  <a:cubicBezTo>
                    <a:pt x="33" y="234"/>
                    <a:pt x="35" y="236"/>
                    <a:pt x="36" y="237"/>
                  </a:cubicBezTo>
                  <a:cubicBezTo>
                    <a:pt x="37" y="237"/>
                    <a:pt x="37" y="238"/>
                    <a:pt x="38" y="238"/>
                  </a:cubicBezTo>
                  <a:cubicBezTo>
                    <a:pt x="38" y="237"/>
                    <a:pt x="38" y="236"/>
                    <a:pt x="38" y="235"/>
                  </a:cubicBezTo>
                  <a:cubicBezTo>
                    <a:pt x="38" y="234"/>
                    <a:pt x="38" y="232"/>
                    <a:pt x="38" y="231"/>
                  </a:cubicBezTo>
                  <a:cubicBezTo>
                    <a:pt x="38" y="230"/>
                    <a:pt x="37" y="230"/>
                    <a:pt x="37" y="229"/>
                  </a:cubicBezTo>
                  <a:cubicBezTo>
                    <a:pt x="38" y="230"/>
                    <a:pt x="38" y="230"/>
                    <a:pt x="38" y="230"/>
                  </a:cubicBezTo>
                  <a:cubicBezTo>
                    <a:pt x="39" y="229"/>
                    <a:pt x="40" y="227"/>
                    <a:pt x="41" y="226"/>
                  </a:cubicBezTo>
                  <a:cubicBezTo>
                    <a:pt x="42" y="228"/>
                    <a:pt x="41" y="230"/>
                    <a:pt x="41" y="232"/>
                  </a:cubicBezTo>
                  <a:cubicBezTo>
                    <a:pt x="41" y="234"/>
                    <a:pt x="41" y="235"/>
                    <a:pt x="41" y="237"/>
                  </a:cubicBezTo>
                  <a:cubicBezTo>
                    <a:pt x="41" y="239"/>
                    <a:pt x="41" y="238"/>
                    <a:pt x="42" y="240"/>
                  </a:cubicBezTo>
                  <a:cubicBezTo>
                    <a:pt x="42" y="240"/>
                    <a:pt x="42" y="240"/>
                    <a:pt x="42" y="240"/>
                  </a:cubicBezTo>
                  <a:cubicBezTo>
                    <a:pt x="44" y="242"/>
                    <a:pt x="45" y="244"/>
                    <a:pt x="46" y="246"/>
                  </a:cubicBezTo>
                  <a:cubicBezTo>
                    <a:pt x="47" y="248"/>
                    <a:pt x="48" y="250"/>
                    <a:pt x="49" y="252"/>
                  </a:cubicBezTo>
                  <a:cubicBezTo>
                    <a:pt x="49" y="254"/>
                    <a:pt x="50" y="257"/>
                    <a:pt x="51" y="259"/>
                  </a:cubicBezTo>
                  <a:cubicBezTo>
                    <a:pt x="51" y="260"/>
                    <a:pt x="51" y="260"/>
                    <a:pt x="51" y="260"/>
                  </a:cubicBezTo>
                  <a:cubicBezTo>
                    <a:pt x="51" y="261"/>
                    <a:pt x="52" y="264"/>
                    <a:pt x="53" y="266"/>
                  </a:cubicBezTo>
                  <a:cubicBezTo>
                    <a:pt x="53" y="269"/>
                    <a:pt x="54" y="271"/>
                    <a:pt x="53" y="272"/>
                  </a:cubicBezTo>
                  <a:cubicBezTo>
                    <a:pt x="52" y="274"/>
                    <a:pt x="52" y="275"/>
                    <a:pt x="52" y="276"/>
                  </a:cubicBezTo>
                  <a:cubicBezTo>
                    <a:pt x="51" y="279"/>
                    <a:pt x="50" y="282"/>
                    <a:pt x="50" y="285"/>
                  </a:cubicBezTo>
                  <a:cubicBezTo>
                    <a:pt x="50" y="286"/>
                    <a:pt x="49" y="287"/>
                    <a:pt x="49" y="288"/>
                  </a:cubicBezTo>
                  <a:cubicBezTo>
                    <a:pt x="49" y="292"/>
                    <a:pt x="48" y="295"/>
                    <a:pt x="47" y="299"/>
                  </a:cubicBezTo>
                  <a:cubicBezTo>
                    <a:pt x="47" y="302"/>
                    <a:pt x="46" y="305"/>
                    <a:pt x="46" y="308"/>
                  </a:cubicBezTo>
                  <a:cubicBezTo>
                    <a:pt x="48" y="307"/>
                    <a:pt x="50" y="305"/>
                    <a:pt x="52" y="303"/>
                  </a:cubicBezTo>
                  <a:cubicBezTo>
                    <a:pt x="53" y="302"/>
                    <a:pt x="53" y="302"/>
                    <a:pt x="53" y="302"/>
                  </a:cubicBezTo>
                  <a:cubicBezTo>
                    <a:pt x="54" y="301"/>
                    <a:pt x="54" y="301"/>
                    <a:pt x="54" y="301"/>
                  </a:cubicBezTo>
                  <a:cubicBezTo>
                    <a:pt x="55" y="299"/>
                    <a:pt x="56" y="297"/>
                    <a:pt x="56" y="295"/>
                  </a:cubicBezTo>
                  <a:cubicBezTo>
                    <a:pt x="56" y="296"/>
                    <a:pt x="56" y="298"/>
                    <a:pt x="56" y="299"/>
                  </a:cubicBezTo>
                  <a:cubicBezTo>
                    <a:pt x="56" y="300"/>
                    <a:pt x="56" y="301"/>
                    <a:pt x="56" y="302"/>
                  </a:cubicBezTo>
                  <a:cubicBezTo>
                    <a:pt x="55" y="304"/>
                    <a:pt x="53" y="307"/>
                    <a:pt x="53" y="308"/>
                  </a:cubicBezTo>
                  <a:cubicBezTo>
                    <a:pt x="53" y="309"/>
                    <a:pt x="53" y="309"/>
                    <a:pt x="54" y="309"/>
                  </a:cubicBezTo>
                  <a:cubicBezTo>
                    <a:pt x="54" y="309"/>
                    <a:pt x="54" y="309"/>
                    <a:pt x="55" y="308"/>
                  </a:cubicBezTo>
                  <a:cubicBezTo>
                    <a:pt x="57" y="307"/>
                    <a:pt x="56" y="305"/>
                    <a:pt x="58" y="304"/>
                  </a:cubicBezTo>
                  <a:cubicBezTo>
                    <a:pt x="58" y="305"/>
                    <a:pt x="58" y="306"/>
                    <a:pt x="57" y="307"/>
                  </a:cubicBezTo>
                  <a:cubicBezTo>
                    <a:pt x="57" y="308"/>
                    <a:pt x="57" y="310"/>
                    <a:pt x="56" y="311"/>
                  </a:cubicBezTo>
                  <a:cubicBezTo>
                    <a:pt x="57" y="310"/>
                    <a:pt x="58" y="309"/>
                    <a:pt x="59" y="308"/>
                  </a:cubicBezTo>
                  <a:cubicBezTo>
                    <a:pt x="59" y="307"/>
                    <a:pt x="60" y="307"/>
                    <a:pt x="60" y="307"/>
                  </a:cubicBezTo>
                  <a:cubicBezTo>
                    <a:pt x="60" y="306"/>
                    <a:pt x="60" y="305"/>
                    <a:pt x="60" y="304"/>
                  </a:cubicBezTo>
                  <a:cubicBezTo>
                    <a:pt x="60" y="304"/>
                    <a:pt x="60" y="304"/>
                    <a:pt x="60" y="304"/>
                  </a:cubicBezTo>
                  <a:cubicBezTo>
                    <a:pt x="60" y="304"/>
                    <a:pt x="60" y="304"/>
                    <a:pt x="60" y="304"/>
                  </a:cubicBezTo>
                  <a:cubicBezTo>
                    <a:pt x="61" y="307"/>
                    <a:pt x="61" y="309"/>
                    <a:pt x="62" y="311"/>
                  </a:cubicBezTo>
                  <a:cubicBezTo>
                    <a:pt x="62" y="312"/>
                    <a:pt x="62" y="313"/>
                    <a:pt x="63" y="313"/>
                  </a:cubicBezTo>
                  <a:cubicBezTo>
                    <a:pt x="64" y="312"/>
                    <a:pt x="64" y="312"/>
                    <a:pt x="65" y="310"/>
                  </a:cubicBezTo>
                  <a:cubicBezTo>
                    <a:pt x="65" y="309"/>
                    <a:pt x="65" y="309"/>
                    <a:pt x="65" y="309"/>
                  </a:cubicBezTo>
                  <a:cubicBezTo>
                    <a:pt x="65" y="308"/>
                    <a:pt x="65" y="308"/>
                    <a:pt x="65" y="308"/>
                  </a:cubicBezTo>
                  <a:cubicBezTo>
                    <a:pt x="65" y="307"/>
                    <a:pt x="67" y="304"/>
                    <a:pt x="67" y="304"/>
                  </a:cubicBezTo>
                  <a:cubicBezTo>
                    <a:pt x="68" y="304"/>
                    <a:pt x="68" y="304"/>
                    <a:pt x="68" y="305"/>
                  </a:cubicBezTo>
                  <a:cubicBezTo>
                    <a:pt x="67" y="306"/>
                    <a:pt x="67" y="306"/>
                    <a:pt x="67" y="306"/>
                  </a:cubicBezTo>
                  <a:cubicBezTo>
                    <a:pt x="67" y="308"/>
                    <a:pt x="65" y="313"/>
                    <a:pt x="68" y="313"/>
                  </a:cubicBezTo>
                  <a:cubicBezTo>
                    <a:pt x="68" y="313"/>
                    <a:pt x="68" y="313"/>
                    <a:pt x="68" y="313"/>
                  </a:cubicBezTo>
                  <a:cubicBezTo>
                    <a:pt x="70" y="311"/>
                    <a:pt x="70" y="311"/>
                    <a:pt x="70" y="311"/>
                  </a:cubicBezTo>
                  <a:cubicBezTo>
                    <a:pt x="71" y="309"/>
                    <a:pt x="72" y="307"/>
                    <a:pt x="72" y="305"/>
                  </a:cubicBezTo>
                  <a:cubicBezTo>
                    <a:pt x="72" y="307"/>
                    <a:pt x="71" y="310"/>
                    <a:pt x="71" y="312"/>
                  </a:cubicBezTo>
                  <a:cubicBezTo>
                    <a:pt x="71" y="313"/>
                    <a:pt x="71" y="314"/>
                    <a:pt x="71" y="314"/>
                  </a:cubicBezTo>
                  <a:cubicBezTo>
                    <a:pt x="72" y="314"/>
                    <a:pt x="72" y="314"/>
                    <a:pt x="73" y="314"/>
                  </a:cubicBezTo>
                  <a:cubicBezTo>
                    <a:pt x="76" y="312"/>
                    <a:pt x="78" y="307"/>
                    <a:pt x="80" y="303"/>
                  </a:cubicBezTo>
                  <a:cubicBezTo>
                    <a:pt x="80" y="302"/>
                    <a:pt x="81" y="302"/>
                    <a:pt x="82" y="302"/>
                  </a:cubicBezTo>
                  <a:cubicBezTo>
                    <a:pt x="82" y="302"/>
                    <a:pt x="83" y="302"/>
                    <a:pt x="83" y="302"/>
                  </a:cubicBezTo>
                  <a:cubicBezTo>
                    <a:pt x="84" y="302"/>
                    <a:pt x="84" y="302"/>
                    <a:pt x="85" y="302"/>
                  </a:cubicBezTo>
                  <a:cubicBezTo>
                    <a:pt x="85" y="302"/>
                    <a:pt x="86" y="302"/>
                    <a:pt x="86" y="302"/>
                  </a:cubicBezTo>
                  <a:cubicBezTo>
                    <a:pt x="88" y="301"/>
                    <a:pt x="89" y="300"/>
                    <a:pt x="87" y="298"/>
                  </a:cubicBezTo>
                  <a:cubicBezTo>
                    <a:pt x="88" y="298"/>
                    <a:pt x="94" y="298"/>
                    <a:pt x="95" y="297"/>
                  </a:cubicBezTo>
                  <a:cubicBezTo>
                    <a:pt x="95" y="296"/>
                    <a:pt x="94" y="296"/>
                    <a:pt x="94" y="296"/>
                  </a:cubicBezTo>
                  <a:cubicBezTo>
                    <a:pt x="94" y="296"/>
                    <a:pt x="93" y="295"/>
                    <a:pt x="93" y="294"/>
                  </a:cubicBezTo>
                  <a:cubicBezTo>
                    <a:pt x="94" y="294"/>
                    <a:pt x="94" y="294"/>
                    <a:pt x="94" y="294"/>
                  </a:cubicBezTo>
                  <a:cubicBezTo>
                    <a:pt x="95" y="294"/>
                    <a:pt x="96" y="295"/>
                    <a:pt x="97" y="295"/>
                  </a:cubicBezTo>
                  <a:cubicBezTo>
                    <a:pt x="97" y="295"/>
                    <a:pt x="97" y="295"/>
                    <a:pt x="97" y="295"/>
                  </a:cubicBezTo>
                  <a:cubicBezTo>
                    <a:pt x="98" y="295"/>
                    <a:pt x="98" y="295"/>
                    <a:pt x="99" y="295"/>
                  </a:cubicBezTo>
                  <a:cubicBezTo>
                    <a:pt x="102" y="294"/>
                    <a:pt x="103" y="292"/>
                    <a:pt x="104" y="290"/>
                  </a:cubicBezTo>
                  <a:cubicBezTo>
                    <a:pt x="106" y="288"/>
                    <a:pt x="106" y="288"/>
                    <a:pt x="106" y="286"/>
                  </a:cubicBezTo>
                  <a:cubicBezTo>
                    <a:pt x="106" y="285"/>
                    <a:pt x="106" y="285"/>
                    <a:pt x="106" y="285"/>
                  </a:cubicBezTo>
                  <a:cubicBezTo>
                    <a:pt x="107" y="282"/>
                    <a:pt x="108" y="279"/>
                    <a:pt x="108" y="275"/>
                  </a:cubicBezTo>
                  <a:cubicBezTo>
                    <a:pt x="108" y="274"/>
                    <a:pt x="108" y="273"/>
                    <a:pt x="107" y="272"/>
                  </a:cubicBezTo>
                  <a:cubicBezTo>
                    <a:pt x="108" y="273"/>
                    <a:pt x="108" y="273"/>
                    <a:pt x="109" y="274"/>
                  </a:cubicBezTo>
                  <a:cubicBezTo>
                    <a:pt x="110" y="276"/>
                    <a:pt x="112" y="277"/>
                    <a:pt x="113" y="279"/>
                  </a:cubicBezTo>
                  <a:cubicBezTo>
                    <a:pt x="114" y="280"/>
                    <a:pt x="115" y="282"/>
                    <a:pt x="115" y="284"/>
                  </a:cubicBezTo>
                  <a:cubicBezTo>
                    <a:pt x="115" y="285"/>
                    <a:pt x="115" y="285"/>
                    <a:pt x="116" y="285"/>
                  </a:cubicBezTo>
                  <a:cubicBezTo>
                    <a:pt x="116" y="288"/>
                    <a:pt x="117" y="290"/>
                    <a:pt x="118" y="292"/>
                  </a:cubicBezTo>
                  <a:cubicBezTo>
                    <a:pt x="118" y="293"/>
                    <a:pt x="119" y="294"/>
                    <a:pt x="119" y="296"/>
                  </a:cubicBezTo>
                  <a:cubicBezTo>
                    <a:pt x="120" y="295"/>
                    <a:pt x="123" y="294"/>
                    <a:pt x="125" y="294"/>
                  </a:cubicBezTo>
                  <a:cubicBezTo>
                    <a:pt x="126" y="294"/>
                    <a:pt x="126" y="294"/>
                    <a:pt x="127" y="294"/>
                  </a:cubicBezTo>
                  <a:cubicBezTo>
                    <a:pt x="127" y="294"/>
                    <a:pt x="127" y="294"/>
                    <a:pt x="128" y="294"/>
                  </a:cubicBezTo>
                  <a:cubicBezTo>
                    <a:pt x="125" y="295"/>
                    <a:pt x="124" y="300"/>
                    <a:pt x="124" y="304"/>
                  </a:cubicBezTo>
                  <a:cubicBezTo>
                    <a:pt x="125" y="304"/>
                    <a:pt x="125" y="305"/>
                    <a:pt x="125" y="305"/>
                  </a:cubicBezTo>
                  <a:cubicBezTo>
                    <a:pt x="125" y="307"/>
                    <a:pt x="126" y="309"/>
                    <a:pt x="126" y="311"/>
                  </a:cubicBezTo>
                  <a:cubicBezTo>
                    <a:pt x="127" y="312"/>
                    <a:pt x="127" y="313"/>
                    <a:pt x="127" y="315"/>
                  </a:cubicBezTo>
                  <a:cubicBezTo>
                    <a:pt x="128" y="315"/>
                    <a:pt x="128" y="316"/>
                    <a:pt x="128" y="317"/>
                  </a:cubicBezTo>
                  <a:cubicBezTo>
                    <a:pt x="128" y="317"/>
                    <a:pt x="128" y="318"/>
                    <a:pt x="128" y="319"/>
                  </a:cubicBezTo>
                  <a:cubicBezTo>
                    <a:pt x="128" y="321"/>
                    <a:pt x="128" y="324"/>
                    <a:pt x="129" y="327"/>
                  </a:cubicBezTo>
                  <a:cubicBezTo>
                    <a:pt x="129" y="329"/>
                    <a:pt x="129" y="331"/>
                    <a:pt x="129" y="333"/>
                  </a:cubicBezTo>
                  <a:cubicBezTo>
                    <a:pt x="129" y="334"/>
                    <a:pt x="129" y="334"/>
                    <a:pt x="130" y="335"/>
                  </a:cubicBezTo>
                  <a:cubicBezTo>
                    <a:pt x="131" y="337"/>
                    <a:pt x="133" y="338"/>
                    <a:pt x="134" y="340"/>
                  </a:cubicBezTo>
                  <a:cubicBezTo>
                    <a:pt x="134" y="340"/>
                    <a:pt x="134" y="340"/>
                    <a:pt x="134" y="340"/>
                  </a:cubicBezTo>
                  <a:cubicBezTo>
                    <a:pt x="134" y="340"/>
                    <a:pt x="134" y="340"/>
                    <a:pt x="134" y="340"/>
                  </a:cubicBezTo>
                  <a:cubicBezTo>
                    <a:pt x="134" y="340"/>
                    <a:pt x="134" y="340"/>
                    <a:pt x="134" y="340"/>
                  </a:cubicBezTo>
                  <a:cubicBezTo>
                    <a:pt x="134" y="340"/>
                    <a:pt x="134" y="340"/>
                    <a:pt x="134" y="340"/>
                  </a:cubicBezTo>
                  <a:cubicBezTo>
                    <a:pt x="134" y="343"/>
                    <a:pt x="134" y="346"/>
                    <a:pt x="134" y="349"/>
                  </a:cubicBezTo>
                  <a:cubicBezTo>
                    <a:pt x="135" y="351"/>
                    <a:pt x="135" y="354"/>
                    <a:pt x="136" y="357"/>
                  </a:cubicBezTo>
                  <a:cubicBezTo>
                    <a:pt x="136" y="359"/>
                    <a:pt x="136" y="362"/>
                    <a:pt x="137" y="364"/>
                  </a:cubicBezTo>
                  <a:cubicBezTo>
                    <a:pt x="137" y="365"/>
                    <a:pt x="137" y="366"/>
                    <a:pt x="137" y="367"/>
                  </a:cubicBezTo>
                  <a:cubicBezTo>
                    <a:pt x="138" y="367"/>
                    <a:pt x="138" y="367"/>
                    <a:pt x="138" y="367"/>
                  </a:cubicBezTo>
                  <a:cubicBezTo>
                    <a:pt x="138" y="366"/>
                    <a:pt x="138" y="364"/>
                    <a:pt x="138" y="363"/>
                  </a:cubicBezTo>
                  <a:cubicBezTo>
                    <a:pt x="138" y="363"/>
                    <a:pt x="138" y="363"/>
                    <a:pt x="138" y="363"/>
                  </a:cubicBezTo>
                  <a:cubicBezTo>
                    <a:pt x="138" y="360"/>
                    <a:pt x="138" y="357"/>
                    <a:pt x="138" y="355"/>
                  </a:cubicBezTo>
                  <a:cubicBezTo>
                    <a:pt x="139" y="355"/>
                    <a:pt x="140" y="357"/>
                    <a:pt x="141" y="360"/>
                  </a:cubicBezTo>
                  <a:cubicBezTo>
                    <a:pt x="142" y="362"/>
                    <a:pt x="143" y="365"/>
                    <a:pt x="144" y="367"/>
                  </a:cubicBezTo>
                  <a:cubicBezTo>
                    <a:pt x="144" y="369"/>
                    <a:pt x="145" y="371"/>
                    <a:pt x="145" y="372"/>
                  </a:cubicBezTo>
                  <a:cubicBezTo>
                    <a:pt x="145" y="372"/>
                    <a:pt x="146" y="373"/>
                    <a:pt x="146" y="374"/>
                  </a:cubicBezTo>
                  <a:cubicBezTo>
                    <a:pt x="147" y="376"/>
                    <a:pt x="148" y="378"/>
                    <a:pt x="149" y="380"/>
                  </a:cubicBezTo>
                  <a:cubicBezTo>
                    <a:pt x="150" y="382"/>
                    <a:pt x="150" y="384"/>
                    <a:pt x="150" y="386"/>
                  </a:cubicBezTo>
                  <a:cubicBezTo>
                    <a:pt x="150" y="387"/>
                    <a:pt x="150" y="387"/>
                    <a:pt x="150" y="388"/>
                  </a:cubicBezTo>
                  <a:cubicBezTo>
                    <a:pt x="149" y="390"/>
                    <a:pt x="148" y="392"/>
                    <a:pt x="148" y="395"/>
                  </a:cubicBezTo>
                  <a:cubicBezTo>
                    <a:pt x="148" y="396"/>
                    <a:pt x="148" y="397"/>
                    <a:pt x="146" y="397"/>
                  </a:cubicBezTo>
                  <a:cubicBezTo>
                    <a:pt x="147" y="397"/>
                    <a:pt x="149" y="397"/>
                    <a:pt x="149" y="398"/>
                  </a:cubicBezTo>
                  <a:cubicBezTo>
                    <a:pt x="150" y="398"/>
                    <a:pt x="150" y="398"/>
                    <a:pt x="150" y="398"/>
                  </a:cubicBezTo>
                  <a:cubicBezTo>
                    <a:pt x="150" y="398"/>
                    <a:pt x="149" y="402"/>
                    <a:pt x="149" y="402"/>
                  </a:cubicBezTo>
                  <a:cubicBezTo>
                    <a:pt x="149" y="404"/>
                    <a:pt x="149" y="404"/>
                    <a:pt x="149" y="405"/>
                  </a:cubicBezTo>
                  <a:cubicBezTo>
                    <a:pt x="148" y="404"/>
                    <a:pt x="147" y="403"/>
                    <a:pt x="145" y="402"/>
                  </a:cubicBezTo>
                  <a:cubicBezTo>
                    <a:pt x="145" y="402"/>
                    <a:pt x="145" y="402"/>
                    <a:pt x="145" y="402"/>
                  </a:cubicBezTo>
                  <a:cubicBezTo>
                    <a:pt x="144" y="403"/>
                    <a:pt x="144" y="403"/>
                    <a:pt x="144" y="403"/>
                  </a:cubicBezTo>
                  <a:cubicBezTo>
                    <a:pt x="144" y="403"/>
                    <a:pt x="144" y="403"/>
                    <a:pt x="144" y="403"/>
                  </a:cubicBezTo>
                  <a:cubicBezTo>
                    <a:pt x="144" y="405"/>
                    <a:pt x="145" y="406"/>
                    <a:pt x="146" y="406"/>
                  </a:cubicBezTo>
                  <a:cubicBezTo>
                    <a:pt x="147" y="406"/>
                    <a:pt x="148" y="405"/>
                    <a:pt x="149" y="405"/>
                  </a:cubicBezTo>
                  <a:cubicBezTo>
                    <a:pt x="149" y="406"/>
                    <a:pt x="149" y="406"/>
                    <a:pt x="149" y="406"/>
                  </a:cubicBezTo>
                  <a:cubicBezTo>
                    <a:pt x="148" y="406"/>
                    <a:pt x="148" y="406"/>
                    <a:pt x="148" y="406"/>
                  </a:cubicBezTo>
                  <a:cubicBezTo>
                    <a:pt x="147" y="406"/>
                    <a:pt x="147" y="407"/>
                    <a:pt x="147" y="409"/>
                  </a:cubicBezTo>
                  <a:cubicBezTo>
                    <a:pt x="148" y="409"/>
                    <a:pt x="148" y="410"/>
                    <a:pt x="148" y="410"/>
                  </a:cubicBezTo>
                  <a:cubicBezTo>
                    <a:pt x="149" y="410"/>
                    <a:pt x="149" y="411"/>
                    <a:pt x="150" y="411"/>
                  </a:cubicBezTo>
                  <a:cubicBezTo>
                    <a:pt x="151" y="411"/>
                    <a:pt x="152" y="409"/>
                    <a:pt x="153" y="407"/>
                  </a:cubicBezTo>
                  <a:cubicBezTo>
                    <a:pt x="155" y="411"/>
                    <a:pt x="153" y="409"/>
                    <a:pt x="152" y="411"/>
                  </a:cubicBezTo>
                  <a:cubicBezTo>
                    <a:pt x="152" y="412"/>
                    <a:pt x="151" y="412"/>
                    <a:pt x="151" y="414"/>
                  </a:cubicBezTo>
                  <a:cubicBezTo>
                    <a:pt x="151" y="414"/>
                    <a:pt x="151" y="414"/>
                    <a:pt x="151" y="414"/>
                  </a:cubicBezTo>
                  <a:cubicBezTo>
                    <a:pt x="151" y="417"/>
                    <a:pt x="151" y="420"/>
                    <a:pt x="151" y="423"/>
                  </a:cubicBezTo>
                  <a:cubicBezTo>
                    <a:pt x="151" y="424"/>
                    <a:pt x="151" y="425"/>
                    <a:pt x="151" y="426"/>
                  </a:cubicBezTo>
                  <a:cubicBezTo>
                    <a:pt x="150" y="430"/>
                    <a:pt x="148" y="431"/>
                    <a:pt x="145" y="433"/>
                  </a:cubicBezTo>
                  <a:cubicBezTo>
                    <a:pt x="144" y="434"/>
                    <a:pt x="145" y="436"/>
                    <a:pt x="145" y="438"/>
                  </a:cubicBezTo>
                  <a:cubicBezTo>
                    <a:pt x="146" y="440"/>
                    <a:pt x="146" y="441"/>
                    <a:pt x="146" y="442"/>
                  </a:cubicBezTo>
                  <a:cubicBezTo>
                    <a:pt x="146" y="444"/>
                    <a:pt x="146" y="445"/>
                    <a:pt x="146" y="447"/>
                  </a:cubicBezTo>
                  <a:cubicBezTo>
                    <a:pt x="146" y="447"/>
                    <a:pt x="146" y="447"/>
                    <a:pt x="146" y="447"/>
                  </a:cubicBezTo>
                  <a:cubicBezTo>
                    <a:pt x="151" y="436"/>
                    <a:pt x="151" y="436"/>
                    <a:pt x="151" y="436"/>
                  </a:cubicBezTo>
                  <a:cubicBezTo>
                    <a:pt x="152" y="433"/>
                    <a:pt x="154" y="430"/>
                    <a:pt x="157" y="427"/>
                  </a:cubicBezTo>
                  <a:cubicBezTo>
                    <a:pt x="158" y="425"/>
                    <a:pt x="160" y="423"/>
                    <a:pt x="162" y="421"/>
                  </a:cubicBezTo>
                  <a:cubicBezTo>
                    <a:pt x="163" y="418"/>
                    <a:pt x="165" y="416"/>
                    <a:pt x="166" y="413"/>
                  </a:cubicBezTo>
                  <a:cubicBezTo>
                    <a:pt x="167" y="411"/>
                    <a:pt x="168" y="409"/>
                    <a:pt x="169" y="408"/>
                  </a:cubicBezTo>
                  <a:cubicBezTo>
                    <a:pt x="169" y="406"/>
                    <a:pt x="168" y="405"/>
                    <a:pt x="168" y="404"/>
                  </a:cubicBezTo>
                  <a:cubicBezTo>
                    <a:pt x="168" y="403"/>
                    <a:pt x="168" y="403"/>
                    <a:pt x="168" y="403"/>
                  </a:cubicBezTo>
                  <a:cubicBezTo>
                    <a:pt x="168" y="404"/>
                    <a:pt x="168" y="404"/>
                    <a:pt x="168" y="404"/>
                  </a:cubicBezTo>
                  <a:cubicBezTo>
                    <a:pt x="167" y="401"/>
                    <a:pt x="167" y="401"/>
                    <a:pt x="167" y="401"/>
                  </a:cubicBezTo>
                  <a:cubicBezTo>
                    <a:pt x="166" y="399"/>
                    <a:pt x="166" y="396"/>
                    <a:pt x="165" y="394"/>
                  </a:cubicBezTo>
                  <a:cubicBezTo>
                    <a:pt x="165" y="393"/>
                    <a:pt x="165" y="393"/>
                    <a:pt x="165" y="393"/>
                  </a:cubicBezTo>
                  <a:cubicBezTo>
                    <a:pt x="165" y="393"/>
                    <a:pt x="165" y="392"/>
                    <a:pt x="165" y="392"/>
                  </a:cubicBezTo>
                  <a:cubicBezTo>
                    <a:pt x="165" y="390"/>
                    <a:pt x="163" y="388"/>
                    <a:pt x="162" y="386"/>
                  </a:cubicBezTo>
                  <a:cubicBezTo>
                    <a:pt x="161" y="385"/>
                    <a:pt x="161" y="384"/>
                    <a:pt x="160" y="383"/>
                  </a:cubicBezTo>
                  <a:cubicBezTo>
                    <a:pt x="160" y="383"/>
                    <a:pt x="160" y="383"/>
                    <a:pt x="160" y="383"/>
                  </a:cubicBezTo>
                  <a:cubicBezTo>
                    <a:pt x="159" y="381"/>
                    <a:pt x="157" y="379"/>
                    <a:pt x="157" y="377"/>
                  </a:cubicBezTo>
                  <a:cubicBezTo>
                    <a:pt x="157" y="376"/>
                    <a:pt x="158" y="375"/>
                    <a:pt x="159" y="374"/>
                  </a:cubicBezTo>
                  <a:cubicBezTo>
                    <a:pt x="159" y="374"/>
                    <a:pt x="159" y="374"/>
                    <a:pt x="159" y="374"/>
                  </a:cubicBezTo>
                  <a:cubicBezTo>
                    <a:pt x="159" y="373"/>
                    <a:pt x="159" y="373"/>
                    <a:pt x="159" y="373"/>
                  </a:cubicBezTo>
                  <a:cubicBezTo>
                    <a:pt x="159" y="372"/>
                    <a:pt x="159" y="372"/>
                    <a:pt x="159" y="372"/>
                  </a:cubicBezTo>
                  <a:cubicBezTo>
                    <a:pt x="159" y="371"/>
                    <a:pt x="159" y="370"/>
                    <a:pt x="159" y="369"/>
                  </a:cubicBezTo>
                  <a:cubicBezTo>
                    <a:pt x="159" y="366"/>
                    <a:pt x="159" y="364"/>
                    <a:pt x="159" y="364"/>
                  </a:cubicBezTo>
                  <a:cubicBezTo>
                    <a:pt x="159" y="363"/>
                    <a:pt x="159" y="363"/>
                    <a:pt x="159" y="363"/>
                  </a:cubicBezTo>
                  <a:cubicBezTo>
                    <a:pt x="158" y="362"/>
                    <a:pt x="158" y="362"/>
                    <a:pt x="158" y="362"/>
                  </a:cubicBezTo>
                  <a:cubicBezTo>
                    <a:pt x="157" y="361"/>
                    <a:pt x="157" y="361"/>
                    <a:pt x="156" y="360"/>
                  </a:cubicBezTo>
                  <a:cubicBezTo>
                    <a:pt x="156" y="360"/>
                    <a:pt x="156" y="360"/>
                    <a:pt x="156" y="360"/>
                  </a:cubicBezTo>
                  <a:cubicBezTo>
                    <a:pt x="156" y="359"/>
                    <a:pt x="155" y="359"/>
                    <a:pt x="155" y="358"/>
                  </a:cubicBezTo>
                  <a:cubicBezTo>
                    <a:pt x="152" y="355"/>
                    <a:pt x="152" y="355"/>
                    <a:pt x="152" y="355"/>
                  </a:cubicBezTo>
                  <a:cubicBezTo>
                    <a:pt x="151" y="354"/>
                    <a:pt x="150" y="353"/>
                    <a:pt x="150" y="353"/>
                  </a:cubicBezTo>
                  <a:cubicBezTo>
                    <a:pt x="149" y="351"/>
                    <a:pt x="149" y="351"/>
                    <a:pt x="149" y="351"/>
                  </a:cubicBezTo>
                  <a:cubicBezTo>
                    <a:pt x="145" y="347"/>
                    <a:pt x="141" y="343"/>
                    <a:pt x="138" y="337"/>
                  </a:cubicBezTo>
                  <a:cubicBezTo>
                    <a:pt x="137" y="334"/>
                    <a:pt x="136" y="332"/>
                    <a:pt x="136" y="329"/>
                  </a:cubicBezTo>
                  <a:cubicBezTo>
                    <a:pt x="136" y="323"/>
                    <a:pt x="139" y="323"/>
                    <a:pt x="142" y="322"/>
                  </a:cubicBezTo>
                  <a:cubicBezTo>
                    <a:pt x="143" y="322"/>
                    <a:pt x="143" y="322"/>
                    <a:pt x="143" y="322"/>
                  </a:cubicBezTo>
                  <a:cubicBezTo>
                    <a:pt x="143" y="322"/>
                    <a:pt x="144" y="322"/>
                    <a:pt x="145" y="321"/>
                  </a:cubicBezTo>
                  <a:cubicBezTo>
                    <a:pt x="145" y="321"/>
                    <a:pt x="145" y="321"/>
                    <a:pt x="145" y="321"/>
                  </a:cubicBezTo>
                  <a:cubicBezTo>
                    <a:pt x="145" y="321"/>
                    <a:pt x="145" y="321"/>
                    <a:pt x="145" y="320"/>
                  </a:cubicBezTo>
                  <a:cubicBezTo>
                    <a:pt x="145" y="319"/>
                    <a:pt x="145" y="318"/>
                    <a:pt x="145" y="317"/>
                  </a:cubicBezTo>
                  <a:cubicBezTo>
                    <a:pt x="145" y="314"/>
                    <a:pt x="145" y="314"/>
                    <a:pt x="145" y="314"/>
                  </a:cubicBezTo>
                  <a:cubicBezTo>
                    <a:pt x="145" y="312"/>
                    <a:pt x="145" y="310"/>
                    <a:pt x="145" y="307"/>
                  </a:cubicBezTo>
                  <a:cubicBezTo>
                    <a:pt x="145" y="304"/>
                    <a:pt x="147" y="303"/>
                    <a:pt x="148" y="303"/>
                  </a:cubicBezTo>
                  <a:cubicBezTo>
                    <a:pt x="148" y="302"/>
                    <a:pt x="148" y="302"/>
                    <a:pt x="148" y="302"/>
                  </a:cubicBezTo>
                  <a:cubicBezTo>
                    <a:pt x="147" y="300"/>
                    <a:pt x="147" y="299"/>
                    <a:pt x="147" y="298"/>
                  </a:cubicBezTo>
                  <a:cubicBezTo>
                    <a:pt x="147" y="297"/>
                    <a:pt x="146" y="296"/>
                    <a:pt x="146" y="295"/>
                  </a:cubicBezTo>
                  <a:cubicBezTo>
                    <a:pt x="146" y="293"/>
                    <a:pt x="145" y="292"/>
                    <a:pt x="145" y="290"/>
                  </a:cubicBezTo>
                  <a:cubicBezTo>
                    <a:pt x="145" y="289"/>
                    <a:pt x="144" y="288"/>
                    <a:pt x="144" y="287"/>
                  </a:cubicBezTo>
                  <a:cubicBezTo>
                    <a:pt x="144" y="287"/>
                    <a:pt x="144" y="287"/>
                    <a:pt x="144" y="287"/>
                  </a:cubicBezTo>
                  <a:cubicBezTo>
                    <a:pt x="143" y="286"/>
                    <a:pt x="143" y="286"/>
                    <a:pt x="143" y="286"/>
                  </a:cubicBezTo>
                  <a:cubicBezTo>
                    <a:pt x="143" y="285"/>
                    <a:pt x="143" y="285"/>
                    <a:pt x="143" y="285"/>
                  </a:cubicBezTo>
                  <a:cubicBezTo>
                    <a:pt x="142" y="285"/>
                    <a:pt x="142" y="285"/>
                    <a:pt x="142" y="285"/>
                  </a:cubicBezTo>
                  <a:cubicBezTo>
                    <a:pt x="142" y="284"/>
                    <a:pt x="142" y="284"/>
                    <a:pt x="142" y="284"/>
                  </a:cubicBezTo>
                  <a:cubicBezTo>
                    <a:pt x="141" y="284"/>
                    <a:pt x="140" y="284"/>
                    <a:pt x="138" y="282"/>
                  </a:cubicBezTo>
                  <a:cubicBezTo>
                    <a:pt x="137" y="281"/>
                    <a:pt x="137" y="281"/>
                    <a:pt x="137" y="281"/>
                  </a:cubicBezTo>
                  <a:cubicBezTo>
                    <a:pt x="136" y="279"/>
                    <a:pt x="134" y="277"/>
                    <a:pt x="133" y="275"/>
                  </a:cubicBezTo>
                  <a:cubicBezTo>
                    <a:pt x="130" y="272"/>
                    <a:pt x="127" y="268"/>
                    <a:pt x="125" y="265"/>
                  </a:cubicBezTo>
                  <a:cubicBezTo>
                    <a:pt x="123" y="263"/>
                    <a:pt x="124" y="261"/>
                    <a:pt x="125" y="260"/>
                  </a:cubicBezTo>
                  <a:cubicBezTo>
                    <a:pt x="125" y="259"/>
                    <a:pt x="125" y="259"/>
                    <a:pt x="125" y="259"/>
                  </a:cubicBezTo>
                  <a:cubicBezTo>
                    <a:pt x="125" y="259"/>
                    <a:pt x="125" y="259"/>
                    <a:pt x="125" y="259"/>
                  </a:cubicBezTo>
                  <a:cubicBezTo>
                    <a:pt x="124" y="257"/>
                    <a:pt x="124" y="257"/>
                    <a:pt x="124" y="257"/>
                  </a:cubicBezTo>
                  <a:cubicBezTo>
                    <a:pt x="124" y="256"/>
                    <a:pt x="123" y="256"/>
                    <a:pt x="123" y="255"/>
                  </a:cubicBezTo>
                  <a:cubicBezTo>
                    <a:pt x="123" y="255"/>
                    <a:pt x="123" y="255"/>
                    <a:pt x="123" y="255"/>
                  </a:cubicBezTo>
                  <a:cubicBezTo>
                    <a:pt x="122" y="255"/>
                    <a:pt x="122" y="255"/>
                    <a:pt x="122" y="255"/>
                  </a:cubicBezTo>
                  <a:cubicBezTo>
                    <a:pt x="119" y="253"/>
                    <a:pt x="118" y="250"/>
                    <a:pt x="117" y="248"/>
                  </a:cubicBezTo>
                  <a:cubicBezTo>
                    <a:pt x="115" y="242"/>
                    <a:pt x="115" y="242"/>
                    <a:pt x="115" y="242"/>
                  </a:cubicBezTo>
                  <a:cubicBezTo>
                    <a:pt x="119" y="242"/>
                    <a:pt x="119" y="242"/>
                    <a:pt x="119" y="242"/>
                  </a:cubicBezTo>
                  <a:cubicBezTo>
                    <a:pt x="120" y="242"/>
                    <a:pt x="121" y="242"/>
                    <a:pt x="121" y="242"/>
                  </a:cubicBezTo>
                  <a:cubicBezTo>
                    <a:pt x="122" y="242"/>
                    <a:pt x="123" y="243"/>
                    <a:pt x="124" y="243"/>
                  </a:cubicBezTo>
                  <a:cubicBezTo>
                    <a:pt x="125" y="243"/>
                    <a:pt x="125" y="243"/>
                    <a:pt x="126" y="242"/>
                  </a:cubicBezTo>
                  <a:cubicBezTo>
                    <a:pt x="126" y="242"/>
                    <a:pt x="126" y="242"/>
                    <a:pt x="126" y="242"/>
                  </a:cubicBezTo>
                  <a:cubicBezTo>
                    <a:pt x="126" y="241"/>
                    <a:pt x="126" y="241"/>
                    <a:pt x="126" y="241"/>
                  </a:cubicBezTo>
                  <a:cubicBezTo>
                    <a:pt x="125" y="240"/>
                    <a:pt x="125" y="240"/>
                    <a:pt x="125" y="240"/>
                  </a:cubicBezTo>
                  <a:cubicBezTo>
                    <a:pt x="125" y="239"/>
                    <a:pt x="125" y="238"/>
                    <a:pt x="125" y="236"/>
                  </a:cubicBezTo>
                  <a:cubicBezTo>
                    <a:pt x="125" y="236"/>
                    <a:pt x="125" y="235"/>
                    <a:pt x="126" y="234"/>
                  </a:cubicBezTo>
                  <a:cubicBezTo>
                    <a:pt x="126" y="232"/>
                    <a:pt x="127" y="229"/>
                    <a:pt x="127" y="227"/>
                  </a:cubicBezTo>
                  <a:cubicBezTo>
                    <a:pt x="128" y="221"/>
                    <a:pt x="128" y="219"/>
                    <a:pt x="132" y="215"/>
                  </a:cubicBezTo>
                  <a:cubicBezTo>
                    <a:pt x="132" y="214"/>
                    <a:pt x="133" y="214"/>
                    <a:pt x="133" y="213"/>
                  </a:cubicBezTo>
                  <a:cubicBezTo>
                    <a:pt x="134" y="213"/>
                    <a:pt x="135" y="212"/>
                    <a:pt x="136" y="212"/>
                  </a:cubicBezTo>
                  <a:cubicBezTo>
                    <a:pt x="137" y="212"/>
                    <a:pt x="137" y="213"/>
                    <a:pt x="138" y="213"/>
                  </a:cubicBezTo>
                  <a:cubicBezTo>
                    <a:pt x="140" y="214"/>
                    <a:pt x="140" y="214"/>
                    <a:pt x="140" y="214"/>
                  </a:cubicBezTo>
                  <a:cubicBezTo>
                    <a:pt x="141" y="214"/>
                    <a:pt x="142" y="214"/>
                    <a:pt x="144" y="214"/>
                  </a:cubicBezTo>
                  <a:cubicBezTo>
                    <a:pt x="145" y="214"/>
                    <a:pt x="145" y="214"/>
                    <a:pt x="145" y="214"/>
                  </a:cubicBezTo>
                  <a:cubicBezTo>
                    <a:pt x="146" y="214"/>
                    <a:pt x="146" y="214"/>
                    <a:pt x="146" y="214"/>
                  </a:cubicBezTo>
                  <a:cubicBezTo>
                    <a:pt x="146" y="214"/>
                    <a:pt x="147" y="214"/>
                    <a:pt x="147" y="214"/>
                  </a:cubicBezTo>
                  <a:cubicBezTo>
                    <a:pt x="147" y="208"/>
                    <a:pt x="147" y="208"/>
                    <a:pt x="147" y="208"/>
                  </a:cubicBezTo>
                  <a:cubicBezTo>
                    <a:pt x="149" y="214"/>
                    <a:pt x="149" y="214"/>
                    <a:pt x="149" y="214"/>
                  </a:cubicBezTo>
                  <a:cubicBezTo>
                    <a:pt x="149" y="214"/>
                    <a:pt x="149" y="214"/>
                    <a:pt x="149" y="214"/>
                  </a:cubicBezTo>
                  <a:cubicBezTo>
                    <a:pt x="150" y="214"/>
                    <a:pt x="150" y="214"/>
                    <a:pt x="151" y="214"/>
                  </a:cubicBezTo>
                  <a:cubicBezTo>
                    <a:pt x="153" y="213"/>
                    <a:pt x="153" y="213"/>
                    <a:pt x="153" y="213"/>
                  </a:cubicBezTo>
                  <a:cubicBezTo>
                    <a:pt x="153" y="213"/>
                    <a:pt x="154" y="213"/>
                    <a:pt x="155" y="213"/>
                  </a:cubicBezTo>
                  <a:cubicBezTo>
                    <a:pt x="155" y="213"/>
                    <a:pt x="155" y="213"/>
                    <a:pt x="155" y="213"/>
                  </a:cubicBezTo>
                  <a:cubicBezTo>
                    <a:pt x="156" y="212"/>
                    <a:pt x="156" y="212"/>
                    <a:pt x="156" y="212"/>
                  </a:cubicBezTo>
                  <a:cubicBezTo>
                    <a:pt x="157" y="212"/>
                    <a:pt x="157" y="212"/>
                    <a:pt x="157" y="212"/>
                  </a:cubicBezTo>
                  <a:cubicBezTo>
                    <a:pt x="156" y="212"/>
                    <a:pt x="156" y="212"/>
                    <a:pt x="156" y="212"/>
                  </a:cubicBezTo>
                  <a:cubicBezTo>
                    <a:pt x="156" y="211"/>
                    <a:pt x="156" y="211"/>
                    <a:pt x="157" y="210"/>
                  </a:cubicBezTo>
                  <a:cubicBezTo>
                    <a:pt x="157" y="209"/>
                    <a:pt x="158" y="208"/>
                    <a:pt x="158" y="207"/>
                  </a:cubicBezTo>
                  <a:cubicBezTo>
                    <a:pt x="159" y="205"/>
                    <a:pt x="161" y="204"/>
                    <a:pt x="163" y="204"/>
                  </a:cubicBezTo>
                  <a:cubicBezTo>
                    <a:pt x="164" y="204"/>
                    <a:pt x="165" y="204"/>
                    <a:pt x="166" y="204"/>
                  </a:cubicBezTo>
                  <a:cubicBezTo>
                    <a:pt x="165" y="203"/>
                    <a:pt x="165" y="202"/>
                    <a:pt x="165" y="201"/>
                  </a:cubicBezTo>
                  <a:cubicBezTo>
                    <a:pt x="164" y="195"/>
                    <a:pt x="164" y="195"/>
                    <a:pt x="164" y="195"/>
                  </a:cubicBezTo>
                  <a:cubicBezTo>
                    <a:pt x="170" y="198"/>
                    <a:pt x="170" y="198"/>
                    <a:pt x="170" y="198"/>
                  </a:cubicBezTo>
                  <a:cubicBezTo>
                    <a:pt x="170" y="199"/>
                    <a:pt x="170" y="199"/>
                    <a:pt x="171" y="199"/>
                  </a:cubicBezTo>
                  <a:cubicBezTo>
                    <a:pt x="171" y="199"/>
                    <a:pt x="171" y="199"/>
                    <a:pt x="171" y="199"/>
                  </a:cubicBezTo>
                  <a:cubicBezTo>
                    <a:pt x="172" y="199"/>
                    <a:pt x="172" y="199"/>
                    <a:pt x="172" y="199"/>
                  </a:cubicBezTo>
                  <a:cubicBezTo>
                    <a:pt x="173" y="199"/>
                    <a:pt x="173" y="199"/>
                    <a:pt x="173" y="199"/>
                  </a:cubicBezTo>
                  <a:cubicBezTo>
                    <a:pt x="174" y="199"/>
                    <a:pt x="174" y="199"/>
                    <a:pt x="174" y="199"/>
                  </a:cubicBezTo>
                  <a:cubicBezTo>
                    <a:pt x="175" y="198"/>
                    <a:pt x="176" y="198"/>
                    <a:pt x="177" y="197"/>
                  </a:cubicBezTo>
                  <a:cubicBezTo>
                    <a:pt x="178" y="197"/>
                    <a:pt x="178" y="197"/>
                    <a:pt x="179" y="197"/>
                  </a:cubicBezTo>
                  <a:cubicBezTo>
                    <a:pt x="173" y="182"/>
                    <a:pt x="173" y="182"/>
                    <a:pt x="173" y="182"/>
                  </a:cubicBezTo>
                  <a:cubicBezTo>
                    <a:pt x="182" y="195"/>
                    <a:pt x="182" y="195"/>
                    <a:pt x="182" y="195"/>
                  </a:cubicBezTo>
                  <a:cubicBezTo>
                    <a:pt x="183" y="193"/>
                    <a:pt x="184" y="190"/>
                    <a:pt x="186" y="189"/>
                  </a:cubicBezTo>
                  <a:cubicBezTo>
                    <a:pt x="187" y="188"/>
                    <a:pt x="187" y="188"/>
                    <a:pt x="187" y="188"/>
                  </a:cubicBezTo>
                  <a:cubicBezTo>
                    <a:pt x="189" y="187"/>
                    <a:pt x="190" y="187"/>
                    <a:pt x="191" y="187"/>
                  </a:cubicBezTo>
                  <a:cubicBezTo>
                    <a:pt x="191" y="186"/>
                    <a:pt x="191" y="185"/>
                    <a:pt x="192" y="184"/>
                  </a:cubicBezTo>
                  <a:cubicBezTo>
                    <a:pt x="192" y="183"/>
                    <a:pt x="192" y="183"/>
                    <a:pt x="192" y="183"/>
                  </a:cubicBezTo>
                  <a:cubicBezTo>
                    <a:pt x="192" y="183"/>
                    <a:pt x="192" y="183"/>
                    <a:pt x="192" y="183"/>
                  </a:cubicBezTo>
                  <a:cubicBezTo>
                    <a:pt x="194" y="180"/>
                    <a:pt x="194" y="180"/>
                    <a:pt x="194" y="180"/>
                  </a:cubicBezTo>
                  <a:cubicBezTo>
                    <a:pt x="195" y="178"/>
                    <a:pt x="196" y="177"/>
                    <a:pt x="197" y="175"/>
                  </a:cubicBezTo>
                  <a:cubicBezTo>
                    <a:pt x="198" y="174"/>
                    <a:pt x="199" y="174"/>
                    <a:pt x="200" y="173"/>
                  </a:cubicBezTo>
                  <a:cubicBezTo>
                    <a:pt x="198" y="174"/>
                    <a:pt x="197" y="174"/>
                    <a:pt x="196" y="175"/>
                  </a:cubicBezTo>
                  <a:cubicBezTo>
                    <a:pt x="187" y="178"/>
                    <a:pt x="187" y="178"/>
                    <a:pt x="187" y="178"/>
                  </a:cubicBezTo>
                  <a:cubicBezTo>
                    <a:pt x="187" y="178"/>
                    <a:pt x="187" y="178"/>
                    <a:pt x="186" y="178"/>
                  </a:cubicBezTo>
                  <a:cubicBezTo>
                    <a:pt x="185" y="178"/>
                    <a:pt x="184" y="177"/>
                    <a:pt x="183" y="176"/>
                  </a:cubicBezTo>
                  <a:cubicBezTo>
                    <a:pt x="182" y="175"/>
                    <a:pt x="182" y="174"/>
                    <a:pt x="181" y="173"/>
                  </a:cubicBezTo>
                  <a:cubicBezTo>
                    <a:pt x="181" y="172"/>
                    <a:pt x="181" y="172"/>
                    <a:pt x="181" y="172"/>
                  </a:cubicBezTo>
                  <a:cubicBezTo>
                    <a:pt x="180" y="172"/>
                    <a:pt x="180" y="172"/>
                    <a:pt x="180" y="172"/>
                  </a:cubicBezTo>
                  <a:cubicBezTo>
                    <a:pt x="179" y="171"/>
                    <a:pt x="179" y="171"/>
                    <a:pt x="179" y="171"/>
                  </a:cubicBezTo>
                  <a:cubicBezTo>
                    <a:pt x="179" y="169"/>
                    <a:pt x="178" y="168"/>
                    <a:pt x="178" y="167"/>
                  </a:cubicBezTo>
                  <a:cubicBezTo>
                    <a:pt x="177" y="167"/>
                    <a:pt x="177" y="167"/>
                    <a:pt x="177" y="167"/>
                  </a:cubicBezTo>
                  <a:cubicBezTo>
                    <a:pt x="177" y="166"/>
                    <a:pt x="177" y="166"/>
                    <a:pt x="177" y="165"/>
                  </a:cubicBezTo>
                  <a:cubicBezTo>
                    <a:pt x="177" y="165"/>
                    <a:pt x="177" y="164"/>
                    <a:pt x="177" y="163"/>
                  </a:cubicBezTo>
                  <a:cubicBezTo>
                    <a:pt x="177" y="163"/>
                    <a:pt x="177" y="163"/>
                    <a:pt x="177" y="163"/>
                  </a:cubicBezTo>
                  <a:cubicBezTo>
                    <a:pt x="177" y="162"/>
                    <a:pt x="177" y="162"/>
                    <a:pt x="177" y="162"/>
                  </a:cubicBezTo>
                  <a:cubicBezTo>
                    <a:pt x="157" y="160"/>
                    <a:pt x="157" y="160"/>
                    <a:pt x="157" y="160"/>
                  </a:cubicBezTo>
                  <a:cubicBezTo>
                    <a:pt x="159" y="156"/>
                    <a:pt x="159" y="156"/>
                    <a:pt x="159" y="156"/>
                  </a:cubicBezTo>
                  <a:cubicBezTo>
                    <a:pt x="160" y="154"/>
                    <a:pt x="160" y="152"/>
                    <a:pt x="161" y="150"/>
                  </a:cubicBezTo>
                  <a:cubicBezTo>
                    <a:pt x="161" y="149"/>
                    <a:pt x="161" y="149"/>
                    <a:pt x="161" y="149"/>
                  </a:cubicBezTo>
                  <a:cubicBezTo>
                    <a:pt x="161" y="149"/>
                    <a:pt x="162" y="148"/>
                    <a:pt x="162" y="148"/>
                  </a:cubicBezTo>
                  <a:cubicBezTo>
                    <a:pt x="162" y="147"/>
                    <a:pt x="162" y="147"/>
                    <a:pt x="162" y="147"/>
                  </a:cubicBezTo>
                  <a:cubicBezTo>
                    <a:pt x="162" y="146"/>
                    <a:pt x="162" y="145"/>
                    <a:pt x="163" y="144"/>
                  </a:cubicBezTo>
                  <a:cubicBezTo>
                    <a:pt x="163" y="143"/>
                    <a:pt x="163" y="142"/>
                    <a:pt x="163" y="142"/>
                  </a:cubicBezTo>
                  <a:cubicBezTo>
                    <a:pt x="163" y="141"/>
                    <a:pt x="163" y="141"/>
                    <a:pt x="163" y="141"/>
                  </a:cubicBezTo>
                  <a:cubicBezTo>
                    <a:pt x="164" y="141"/>
                    <a:pt x="164" y="140"/>
                    <a:pt x="164" y="140"/>
                  </a:cubicBezTo>
                  <a:cubicBezTo>
                    <a:pt x="164" y="139"/>
                    <a:pt x="165" y="139"/>
                    <a:pt x="165" y="138"/>
                  </a:cubicBezTo>
                  <a:cubicBezTo>
                    <a:pt x="166" y="138"/>
                    <a:pt x="166" y="138"/>
                    <a:pt x="166" y="138"/>
                  </a:cubicBezTo>
                  <a:cubicBezTo>
                    <a:pt x="166" y="138"/>
                    <a:pt x="167" y="137"/>
                    <a:pt x="167" y="137"/>
                  </a:cubicBezTo>
                  <a:cubicBezTo>
                    <a:pt x="167" y="137"/>
                    <a:pt x="167" y="137"/>
                    <a:pt x="167" y="137"/>
                  </a:cubicBezTo>
                  <a:cubicBezTo>
                    <a:pt x="167" y="137"/>
                    <a:pt x="167" y="137"/>
                    <a:pt x="167" y="137"/>
                  </a:cubicBezTo>
                  <a:cubicBezTo>
                    <a:pt x="167" y="137"/>
                    <a:pt x="167" y="137"/>
                    <a:pt x="166" y="137"/>
                  </a:cubicBezTo>
                  <a:cubicBezTo>
                    <a:pt x="166" y="137"/>
                    <a:pt x="165" y="137"/>
                    <a:pt x="165" y="137"/>
                  </a:cubicBezTo>
                  <a:cubicBezTo>
                    <a:pt x="161" y="137"/>
                    <a:pt x="161" y="137"/>
                    <a:pt x="161" y="137"/>
                  </a:cubicBezTo>
                  <a:cubicBezTo>
                    <a:pt x="161" y="137"/>
                    <a:pt x="161" y="137"/>
                    <a:pt x="161" y="137"/>
                  </a:cubicBezTo>
                  <a:cubicBezTo>
                    <a:pt x="161" y="136"/>
                    <a:pt x="160" y="136"/>
                    <a:pt x="159" y="136"/>
                  </a:cubicBezTo>
                  <a:cubicBezTo>
                    <a:pt x="156" y="135"/>
                    <a:pt x="154" y="133"/>
                    <a:pt x="152" y="130"/>
                  </a:cubicBezTo>
                  <a:cubicBezTo>
                    <a:pt x="151" y="128"/>
                    <a:pt x="151" y="128"/>
                    <a:pt x="151" y="128"/>
                  </a:cubicBezTo>
                  <a:cubicBezTo>
                    <a:pt x="151" y="126"/>
                    <a:pt x="150" y="125"/>
                    <a:pt x="150" y="124"/>
                  </a:cubicBezTo>
                  <a:cubicBezTo>
                    <a:pt x="150" y="124"/>
                    <a:pt x="150" y="123"/>
                    <a:pt x="150" y="123"/>
                  </a:cubicBezTo>
                  <a:cubicBezTo>
                    <a:pt x="149" y="122"/>
                    <a:pt x="149" y="122"/>
                    <a:pt x="149" y="122"/>
                  </a:cubicBezTo>
                  <a:cubicBezTo>
                    <a:pt x="149" y="122"/>
                    <a:pt x="149" y="121"/>
                    <a:pt x="149" y="120"/>
                  </a:cubicBezTo>
                  <a:cubicBezTo>
                    <a:pt x="147" y="121"/>
                    <a:pt x="147" y="121"/>
                    <a:pt x="147" y="121"/>
                  </a:cubicBezTo>
                  <a:cubicBezTo>
                    <a:pt x="148" y="120"/>
                    <a:pt x="148" y="120"/>
                    <a:pt x="148" y="120"/>
                  </a:cubicBezTo>
                  <a:cubicBezTo>
                    <a:pt x="148" y="120"/>
                    <a:pt x="148" y="120"/>
                    <a:pt x="148" y="120"/>
                  </a:cubicBezTo>
                  <a:cubicBezTo>
                    <a:pt x="148" y="119"/>
                    <a:pt x="148" y="119"/>
                    <a:pt x="148" y="118"/>
                  </a:cubicBezTo>
                  <a:cubicBezTo>
                    <a:pt x="148" y="118"/>
                    <a:pt x="148" y="118"/>
                    <a:pt x="148" y="118"/>
                  </a:cubicBezTo>
                  <a:cubicBezTo>
                    <a:pt x="148" y="117"/>
                    <a:pt x="147" y="116"/>
                    <a:pt x="147" y="115"/>
                  </a:cubicBezTo>
                  <a:cubicBezTo>
                    <a:pt x="148" y="115"/>
                    <a:pt x="148" y="114"/>
                    <a:pt x="148" y="113"/>
                  </a:cubicBezTo>
                  <a:cubicBezTo>
                    <a:pt x="149" y="112"/>
                    <a:pt x="149" y="112"/>
                    <a:pt x="149" y="112"/>
                  </a:cubicBezTo>
                  <a:cubicBezTo>
                    <a:pt x="148" y="112"/>
                    <a:pt x="147" y="112"/>
                    <a:pt x="146" y="112"/>
                  </a:cubicBezTo>
                  <a:cubicBezTo>
                    <a:pt x="145" y="112"/>
                    <a:pt x="145" y="112"/>
                    <a:pt x="145" y="112"/>
                  </a:cubicBezTo>
                  <a:cubicBezTo>
                    <a:pt x="145" y="112"/>
                    <a:pt x="144" y="112"/>
                    <a:pt x="144" y="112"/>
                  </a:cubicBezTo>
                  <a:cubicBezTo>
                    <a:pt x="143" y="112"/>
                    <a:pt x="143" y="112"/>
                    <a:pt x="143" y="112"/>
                  </a:cubicBezTo>
                  <a:cubicBezTo>
                    <a:pt x="142" y="112"/>
                    <a:pt x="141" y="111"/>
                    <a:pt x="140" y="111"/>
                  </a:cubicBezTo>
                  <a:cubicBezTo>
                    <a:pt x="139" y="111"/>
                    <a:pt x="139" y="111"/>
                    <a:pt x="139" y="111"/>
                  </a:cubicBezTo>
                  <a:cubicBezTo>
                    <a:pt x="138" y="111"/>
                    <a:pt x="138" y="111"/>
                    <a:pt x="138" y="111"/>
                  </a:cubicBezTo>
                  <a:cubicBezTo>
                    <a:pt x="138" y="112"/>
                    <a:pt x="138" y="112"/>
                    <a:pt x="138" y="112"/>
                  </a:cubicBezTo>
                  <a:cubicBezTo>
                    <a:pt x="137" y="112"/>
                    <a:pt x="136" y="112"/>
                    <a:pt x="136" y="113"/>
                  </a:cubicBezTo>
                  <a:cubicBezTo>
                    <a:pt x="131" y="116"/>
                    <a:pt x="128" y="117"/>
                    <a:pt x="125" y="117"/>
                  </a:cubicBezTo>
                  <a:cubicBezTo>
                    <a:pt x="125" y="117"/>
                    <a:pt x="125" y="117"/>
                    <a:pt x="125" y="117"/>
                  </a:cubicBezTo>
                  <a:cubicBezTo>
                    <a:pt x="124" y="117"/>
                    <a:pt x="124" y="117"/>
                    <a:pt x="124" y="117"/>
                  </a:cubicBezTo>
                  <a:cubicBezTo>
                    <a:pt x="123" y="117"/>
                    <a:pt x="123" y="117"/>
                    <a:pt x="123" y="117"/>
                  </a:cubicBezTo>
                  <a:cubicBezTo>
                    <a:pt x="121" y="115"/>
                    <a:pt x="120" y="114"/>
                    <a:pt x="121" y="111"/>
                  </a:cubicBezTo>
                  <a:cubicBezTo>
                    <a:pt x="121" y="111"/>
                    <a:pt x="121" y="111"/>
                    <a:pt x="121" y="111"/>
                  </a:cubicBezTo>
                  <a:cubicBezTo>
                    <a:pt x="121" y="110"/>
                    <a:pt x="122" y="109"/>
                    <a:pt x="122" y="109"/>
                  </a:cubicBezTo>
                  <a:cubicBezTo>
                    <a:pt x="124" y="106"/>
                    <a:pt x="124" y="106"/>
                    <a:pt x="124" y="106"/>
                  </a:cubicBezTo>
                  <a:cubicBezTo>
                    <a:pt x="124" y="105"/>
                    <a:pt x="124" y="105"/>
                    <a:pt x="124" y="104"/>
                  </a:cubicBezTo>
                  <a:cubicBezTo>
                    <a:pt x="124" y="103"/>
                    <a:pt x="124" y="103"/>
                    <a:pt x="124" y="103"/>
                  </a:cubicBezTo>
                  <a:cubicBezTo>
                    <a:pt x="123" y="103"/>
                    <a:pt x="123" y="103"/>
                    <a:pt x="123" y="103"/>
                  </a:cubicBezTo>
                  <a:cubicBezTo>
                    <a:pt x="122" y="103"/>
                    <a:pt x="121" y="102"/>
                    <a:pt x="120" y="100"/>
                  </a:cubicBezTo>
                  <a:cubicBezTo>
                    <a:pt x="120" y="99"/>
                    <a:pt x="120" y="99"/>
                    <a:pt x="120" y="99"/>
                  </a:cubicBezTo>
                  <a:cubicBezTo>
                    <a:pt x="120" y="99"/>
                    <a:pt x="120" y="98"/>
                    <a:pt x="120" y="98"/>
                  </a:cubicBezTo>
                  <a:cubicBezTo>
                    <a:pt x="120" y="95"/>
                    <a:pt x="120" y="92"/>
                    <a:pt x="124" y="90"/>
                  </a:cubicBezTo>
                  <a:cubicBezTo>
                    <a:pt x="124" y="90"/>
                    <a:pt x="125" y="89"/>
                    <a:pt x="125" y="89"/>
                  </a:cubicBezTo>
                  <a:cubicBezTo>
                    <a:pt x="125" y="89"/>
                    <a:pt x="125" y="89"/>
                    <a:pt x="125" y="89"/>
                  </a:cubicBezTo>
                  <a:cubicBezTo>
                    <a:pt x="126" y="89"/>
                    <a:pt x="126" y="89"/>
                    <a:pt x="126" y="89"/>
                  </a:cubicBezTo>
                  <a:cubicBezTo>
                    <a:pt x="126" y="89"/>
                    <a:pt x="126" y="89"/>
                    <a:pt x="126" y="89"/>
                  </a:cubicBezTo>
                  <a:cubicBezTo>
                    <a:pt x="126" y="89"/>
                    <a:pt x="126" y="89"/>
                    <a:pt x="126" y="89"/>
                  </a:cubicBezTo>
                  <a:cubicBezTo>
                    <a:pt x="126" y="87"/>
                    <a:pt x="126" y="87"/>
                    <a:pt x="126" y="87"/>
                  </a:cubicBezTo>
                  <a:cubicBezTo>
                    <a:pt x="126" y="86"/>
                    <a:pt x="126" y="85"/>
                    <a:pt x="126" y="83"/>
                  </a:cubicBezTo>
                  <a:cubicBezTo>
                    <a:pt x="127" y="80"/>
                    <a:pt x="127" y="79"/>
                    <a:pt x="129" y="77"/>
                  </a:cubicBezTo>
                  <a:cubicBezTo>
                    <a:pt x="130" y="77"/>
                    <a:pt x="130" y="77"/>
                    <a:pt x="130" y="77"/>
                  </a:cubicBezTo>
                  <a:cubicBezTo>
                    <a:pt x="130" y="77"/>
                    <a:pt x="130" y="77"/>
                    <a:pt x="130" y="77"/>
                  </a:cubicBezTo>
                  <a:cubicBezTo>
                    <a:pt x="131" y="76"/>
                    <a:pt x="131" y="76"/>
                    <a:pt x="131" y="76"/>
                  </a:cubicBezTo>
                  <a:cubicBezTo>
                    <a:pt x="131" y="76"/>
                    <a:pt x="132" y="76"/>
                    <a:pt x="132" y="76"/>
                  </a:cubicBezTo>
                  <a:cubicBezTo>
                    <a:pt x="132" y="76"/>
                    <a:pt x="132" y="76"/>
                    <a:pt x="132" y="76"/>
                  </a:cubicBezTo>
                  <a:cubicBezTo>
                    <a:pt x="133" y="76"/>
                    <a:pt x="133" y="75"/>
                    <a:pt x="134" y="75"/>
                  </a:cubicBezTo>
                  <a:cubicBezTo>
                    <a:pt x="134" y="75"/>
                    <a:pt x="134" y="75"/>
                    <a:pt x="134" y="75"/>
                  </a:cubicBezTo>
                  <a:cubicBezTo>
                    <a:pt x="134" y="74"/>
                    <a:pt x="134" y="74"/>
                    <a:pt x="134" y="74"/>
                  </a:cubicBezTo>
                  <a:cubicBezTo>
                    <a:pt x="134" y="73"/>
                    <a:pt x="134" y="73"/>
                    <a:pt x="134" y="73"/>
                  </a:cubicBezTo>
                  <a:cubicBezTo>
                    <a:pt x="135" y="72"/>
                    <a:pt x="135" y="70"/>
                    <a:pt x="137" y="69"/>
                  </a:cubicBezTo>
                  <a:cubicBezTo>
                    <a:pt x="137" y="69"/>
                    <a:pt x="138" y="69"/>
                    <a:pt x="138" y="69"/>
                  </a:cubicBezTo>
                  <a:cubicBezTo>
                    <a:pt x="139" y="69"/>
                    <a:pt x="140" y="69"/>
                    <a:pt x="140" y="69"/>
                  </a:cubicBezTo>
                  <a:cubicBezTo>
                    <a:pt x="141" y="69"/>
                    <a:pt x="141" y="70"/>
                    <a:pt x="141" y="70"/>
                  </a:cubicBezTo>
                  <a:cubicBezTo>
                    <a:pt x="141" y="70"/>
                    <a:pt x="141" y="70"/>
                    <a:pt x="141" y="69"/>
                  </a:cubicBezTo>
                  <a:cubicBezTo>
                    <a:pt x="142" y="69"/>
                    <a:pt x="144" y="68"/>
                    <a:pt x="144" y="67"/>
                  </a:cubicBezTo>
                  <a:cubicBezTo>
                    <a:pt x="145" y="66"/>
                    <a:pt x="146" y="66"/>
                    <a:pt x="146" y="65"/>
                  </a:cubicBezTo>
                  <a:cubicBezTo>
                    <a:pt x="147" y="65"/>
                    <a:pt x="147" y="65"/>
                    <a:pt x="147" y="65"/>
                  </a:cubicBezTo>
                  <a:cubicBezTo>
                    <a:pt x="147" y="64"/>
                    <a:pt x="147" y="64"/>
                    <a:pt x="147" y="64"/>
                  </a:cubicBezTo>
                  <a:cubicBezTo>
                    <a:pt x="147" y="64"/>
                    <a:pt x="146" y="63"/>
                    <a:pt x="146" y="62"/>
                  </a:cubicBezTo>
                  <a:cubicBezTo>
                    <a:pt x="146" y="62"/>
                    <a:pt x="146" y="62"/>
                    <a:pt x="146" y="62"/>
                  </a:cubicBezTo>
                  <a:cubicBezTo>
                    <a:pt x="145" y="60"/>
                    <a:pt x="145" y="59"/>
                    <a:pt x="145" y="57"/>
                  </a:cubicBezTo>
                  <a:cubicBezTo>
                    <a:pt x="145" y="56"/>
                    <a:pt x="145" y="56"/>
                    <a:pt x="145" y="56"/>
                  </a:cubicBezTo>
                  <a:cubicBezTo>
                    <a:pt x="146" y="56"/>
                    <a:pt x="146" y="56"/>
                    <a:pt x="146" y="56"/>
                  </a:cubicBezTo>
                  <a:cubicBezTo>
                    <a:pt x="146" y="55"/>
                    <a:pt x="147" y="54"/>
                    <a:pt x="147" y="53"/>
                  </a:cubicBezTo>
                  <a:cubicBezTo>
                    <a:pt x="148" y="52"/>
                    <a:pt x="148" y="52"/>
                    <a:pt x="148" y="52"/>
                  </a:cubicBezTo>
                  <a:cubicBezTo>
                    <a:pt x="148" y="51"/>
                    <a:pt x="148" y="50"/>
                    <a:pt x="148" y="50"/>
                  </a:cubicBezTo>
                  <a:cubicBezTo>
                    <a:pt x="149" y="49"/>
                    <a:pt x="149" y="49"/>
                    <a:pt x="149" y="48"/>
                  </a:cubicBezTo>
                  <a:cubicBezTo>
                    <a:pt x="149" y="46"/>
                    <a:pt x="149" y="43"/>
                    <a:pt x="149" y="39"/>
                  </a:cubicBezTo>
                  <a:cubicBezTo>
                    <a:pt x="149" y="38"/>
                    <a:pt x="149" y="38"/>
                    <a:pt x="149" y="37"/>
                  </a:cubicBezTo>
                  <a:cubicBezTo>
                    <a:pt x="149" y="34"/>
                    <a:pt x="149" y="34"/>
                    <a:pt x="149" y="34"/>
                  </a:cubicBezTo>
                  <a:cubicBezTo>
                    <a:pt x="149" y="31"/>
                    <a:pt x="149" y="27"/>
                    <a:pt x="148" y="24"/>
                  </a:cubicBezTo>
                  <a:cubicBezTo>
                    <a:pt x="148" y="24"/>
                    <a:pt x="148" y="23"/>
                    <a:pt x="148" y="23"/>
                  </a:cubicBezTo>
                  <a:cubicBezTo>
                    <a:pt x="147" y="23"/>
                    <a:pt x="147" y="23"/>
                    <a:pt x="147" y="23"/>
                  </a:cubicBezTo>
                  <a:cubicBezTo>
                    <a:pt x="147" y="23"/>
                    <a:pt x="147" y="23"/>
                    <a:pt x="147" y="23"/>
                  </a:cubicBezTo>
                  <a:cubicBezTo>
                    <a:pt x="143" y="23"/>
                    <a:pt x="143" y="23"/>
                    <a:pt x="143" y="23"/>
                  </a:cubicBezTo>
                  <a:cubicBezTo>
                    <a:pt x="141" y="22"/>
                    <a:pt x="139" y="21"/>
                    <a:pt x="138" y="19"/>
                  </a:cubicBezTo>
                  <a:cubicBezTo>
                    <a:pt x="136" y="17"/>
                    <a:pt x="136" y="15"/>
                    <a:pt x="135" y="13"/>
                  </a:cubicBezTo>
                  <a:cubicBezTo>
                    <a:pt x="135" y="10"/>
                    <a:pt x="135" y="8"/>
                    <a:pt x="133" y="7"/>
                  </a:cubicBezTo>
                  <a:cubicBezTo>
                    <a:pt x="133" y="7"/>
                    <a:pt x="133" y="7"/>
                    <a:pt x="133" y="7"/>
                  </a:cubicBezTo>
                  <a:cubicBezTo>
                    <a:pt x="132" y="6"/>
                    <a:pt x="132" y="5"/>
                    <a:pt x="131" y="5"/>
                  </a:cubicBezTo>
                  <a:cubicBezTo>
                    <a:pt x="131" y="4"/>
                    <a:pt x="130" y="4"/>
                    <a:pt x="130" y="4"/>
                  </a:cubicBezTo>
                  <a:cubicBezTo>
                    <a:pt x="130" y="4"/>
                    <a:pt x="130" y="3"/>
                    <a:pt x="129" y="3"/>
                  </a:cubicBezTo>
                  <a:cubicBezTo>
                    <a:pt x="129" y="3"/>
                    <a:pt x="129" y="3"/>
                    <a:pt x="129" y="3"/>
                  </a:cubicBezTo>
                  <a:cubicBezTo>
                    <a:pt x="128" y="3"/>
                    <a:pt x="127" y="2"/>
                    <a:pt x="126" y="2"/>
                  </a:cubicBezTo>
                  <a:cubicBezTo>
                    <a:pt x="126" y="1"/>
                    <a:pt x="126" y="1"/>
                    <a:pt x="126" y="1"/>
                  </a:cubicBezTo>
                  <a:cubicBezTo>
                    <a:pt x="125" y="0"/>
                    <a:pt x="125" y="0"/>
                    <a:pt x="1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1547"/>
            <p:cNvSpPr/>
            <p:nvPr/>
          </p:nvSpPr>
          <p:spPr bwMode="auto">
            <a:xfrm>
              <a:off x="2883337" y="3377321"/>
              <a:ext cx="9396" cy="25504"/>
            </a:xfrm>
            <a:custGeom>
              <a:gdLst>
                <a:gd name="T0" fmla="*/ 0 w 3"/>
                <a:gd name="T1" fmla="*/ 0 h 8"/>
                <a:gd name="T2" fmla="*/ 0 w 3"/>
                <a:gd name="T3" fmla="*/ 1 h 8"/>
                <a:gd name="T4" fmla="*/ 0 w 3"/>
                <a:gd name="T5" fmla="*/ 1 h 8"/>
                <a:gd name="T6" fmla="*/ 2 w 3"/>
                <a:gd name="T7" fmla="*/ 8 h 8"/>
                <a:gd name="T8" fmla="*/ 3 w 3"/>
                <a:gd name="T9" fmla="*/ 5 h 8"/>
                <a:gd name="T10" fmla="*/ 3 w 3"/>
                <a:gd name="T11" fmla="*/ 3 h 8"/>
                <a:gd name="T12" fmla="*/ 2 w 3"/>
                <a:gd name="T13" fmla="*/ 2 h 8"/>
                <a:gd name="T14" fmla="*/ 1 w 3"/>
                <a:gd name="T15" fmla="*/ 1 h 8"/>
                <a:gd name="T16" fmla="*/ 1 w 3"/>
                <a:gd name="T17" fmla="*/ 1 h 8"/>
                <a:gd name="T18" fmla="*/ 0 w 3"/>
                <a:gd name="T19" fmla="*/ 0 h 8"/>
                <a:gd name="T20" fmla="*/ 0 w 3"/>
                <a:gd name="T2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0" y="0"/>
                  </a:moveTo>
                  <a:cubicBezTo>
                    <a:pt x="0" y="1"/>
                    <a:pt x="0" y="1"/>
                    <a:pt x="0" y="1"/>
                  </a:cubicBezTo>
                  <a:cubicBezTo>
                    <a:pt x="0" y="1"/>
                    <a:pt x="0" y="1"/>
                    <a:pt x="0" y="1"/>
                  </a:cubicBezTo>
                  <a:cubicBezTo>
                    <a:pt x="2" y="8"/>
                    <a:pt x="2" y="8"/>
                    <a:pt x="2" y="8"/>
                  </a:cubicBezTo>
                  <a:cubicBezTo>
                    <a:pt x="3" y="6"/>
                    <a:pt x="3" y="6"/>
                    <a:pt x="3" y="5"/>
                  </a:cubicBezTo>
                  <a:cubicBezTo>
                    <a:pt x="3" y="4"/>
                    <a:pt x="3" y="3"/>
                    <a:pt x="3" y="3"/>
                  </a:cubicBezTo>
                  <a:cubicBezTo>
                    <a:pt x="3" y="3"/>
                    <a:pt x="2" y="2"/>
                    <a:pt x="2" y="2"/>
                  </a:cubicBezTo>
                  <a:cubicBezTo>
                    <a:pt x="1" y="1"/>
                    <a:pt x="1" y="1"/>
                    <a:pt x="1" y="1"/>
                  </a:cubicBezTo>
                  <a:cubicBezTo>
                    <a:pt x="1" y="1"/>
                    <a:pt x="1" y="1"/>
                    <a:pt x="1" y="1"/>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Rectangle 1548"/>
            <p:cNvSpPr>
              <a:spLocks noChangeArrowheads="1"/>
            </p:cNvSpPr>
            <p:nvPr/>
          </p:nvSpPr>
          <p:spPr bwMode="auto">
            <a:xfrm>
              <a:off x="2943742" y="3596121"/>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1549"/>
            <p:cNvSpPr/>
            <p:nvPr/>
          </p:nvSpPr>
          <p:spPr bwMode="auto">
            <a:xfrm flipH="1">
              <a:off x="2943742" y="3596121"/>
              <a:ext cx="0" cy="0"/>
            </a:xfrm>
            <a:custGeom>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1550"/>
            <p:cNvSpPr/>
            <p:nvPr/>
          </p:nvSpPr>
          <p:spPr bwMode="auto">
            <a:xfrm>
              <a:off x="2680644" y="3370609"/>
              <a:ext cx="590628" cy="1107428"/>
            </a:xfrm>
            <a:custGeom>
              <a:gdLst>
                <a:gd name="T0" fmla="*/ 48 w 186"/>
                <a:gd name="T1" fmla="*/ 3 h 349"/>
                <a:gd name="T2" fmla="*/ 40 w 186"/>
                <a:gd name="T3" fmla="*/ 8 h 349"/>
                <a:gd name="T4" fmla="*/ 35 w 186"/>
                <a:gd name="T5" fmla="*/ 15 h 349"/>
                <a:gd name="T6" fmla="*/ 28 w 186"/>
                <a:gd name="T7" fmla="*/ 24 h 349"/>
                <a:gd name="T8" fmla="*/ 14 w 186"/>
                <a:gd name="T9" fmla="*/ 17 h 349"/>
                <a:gd name="T10" fmla="*/ 7 w 186"/>
                <a:gd name="T11" fmla="*/ 35 h 349"/>
                <a:gd name="T12" fmla="*/ 8 w 186"/>
                <a:gd name="T13" fmla="*/ 42 h 349"/>
                <a:gd name="T14" fmla="*/ 0 w 186"/>
                <a:gd name="T15" fmla="*/ 47 h 349"/>
                <a:gd name="T16" fmla="*/ 5 w 186"/>
                <a:gd name="T17" fmla="*/ 53 h 349"/>
                <a:gd name="T18" fmla="*/ 19 w 186"/>
                <a:gd name="T19" fmla="*/ 77 h 349"/>
                <a:gd name="T20" fmla="*/ 24 w 186"/>
                <a:gd name="T21" fmla="*/ 81 h 349"/>
                <a:gd name="T22" fmla="*/ 30 w 186"/>
                <a:gd name="T23" fmla="*/ 89 h 349"/>
                <a:gd name="T24" fmla="*/ 32 w 186"/>
                <a:gd name="T25" fmla="*/ 104 h 349"/>
                <a:gd name="T26" fmla="*/ 27 w 186"/>
                <a:gd name="T27" fmla="*/ 118 h 349"/>
                <a:gd name="T28" fmla="*/ 29 w 186"/>
                <a:gd name="T29" fmla="*/ 145 h 349"/>
                <a:gd name="T30" fmla="*/ 38 w 186"/>
                <a:gd name="T31" fmla="*/ 156 h 349"/>
                <a:gd name="T32" fmla="*/ 40 w 186"/>
                <a:gd name="T33" fmla="*/ 175 h 349"/>
                <a:gd name="T34" fmla="*/ 42 w 186"/>
                <a:gd name="T35" fmla="*/ 180 h 349"/>
                <a:gd name="T36" fmla="*/ 50 w 186"/>
                <a:gd name="T37" fmla="*/ 203 h 349"/>
                <a:gd name="T38" fmla="*/ 32 w 186"/>
                <a:gd name="T39" fmla="*/ 237 h 349"/>
                <a:gd name="T40" fmla="*/ 16 w 186"/>
                <a:gd name="T41" fmla="*/ 269 h 349"/>
                <a:gd name="T42" fmla="*/ 16 w 186"/>
                <a:gd name="T43" fmla="*/ 290 h 349"/>
                <a:gd name="T44" fmla="*/ 35 w 186"/>
                <a:gd name="T45" fmla="*/ 298 h 349"/>
                <a:gd name="T46" fmla="*/ 46 w 186"/>
                <a:gd name="T47" fmla="*/ 311 h 349"/>
                <a:gd name="T48" fmla="*/ 59 w 186"/>
                <a:gd name="T49" fmla="*/ 327 h 349"/>
                <a:gd name="T50" fmla="*/ 77 w 186"/>
                <a:gd name="T51" fmla="*/ 331 h 349"/>
                <a:gd name="T52" fmla="*/ 86 w 186"/>
                <a:gd name="T53" fmla="*/ 342 h 349"/>
                <a:gd name="T54" fmla="*/ 92 w 186"/>
                <a:gd name="T55" fmla="*/ 344 h 349"/>
                <a:gd name="T56" fmla="*/ 102 w 186"/>
                <a:gd name="T57" fmla="*/ 334 h 349"/>
                <a:gd name="T58" fmla="*/ 83 w 186"/>
                <a:gd name="T59" fmla="*/ 324 h 349"/>
                <a:gd name="T60" fmla="*/ 66 w 186"/>
                <a:gd name="T61" fmla="*/ 313 h 349"/>
                <a:gd name="T62" fmla="*/ 56 w 186"/>
                <a:gd name="T63" fmla="*/ 277 h 349"/>
                <a:gd name="T64" fmla="*/ 41 w 186"/>
                <a:gd name="T65" fmla="*/ 263 h 349"/>
                <a:gd name="T66" fmla="*/ 56 w 186"/>
                <a:gd name="T67" fmla="*/ 199 h 349"/>
                <a:gd name="T68" fmla="*/ 67 w 186"/>
                <a:gd name="T69" fmla="*/ 165 h 349"/>
                <a:gd name="T70" fmla="*/ 77 w 186"/>
                <a:gd name="T71" fmla="*/ 183 h 349"/>
                <a:gd name="T72" fmla="*/ 110 w 186"/>
                <a:gd name="T73" fmla="*/ 194 h 349"/>
                <a:gd name="T74" fmla="*/ 120 w 186"/>
                <a:gd name="T75" fmla="*/ 194 h 349"/>
                <a:gd name="T76" fmla="*/ 114 w 186"/>
                <a:gd name="T77" fmla="*/ 187 h 349"/>
                <a:gd name="T78" fmla="*/ 112 w 186"/>
                <a:gd name="T79" fmla="*/ 162 h 349"/>
                <a:gd name="T80" fmla="*/ 139 w 186"/>
                <a:gd name="T81" fmla="*/ 141 h 349"/>
                <a:gd name="T82" fmla="*/ 164 w 186"/>
                <a:gd name="T83" fmla="*/ 142 h 349"/>
                <a:gd name="T84" fmla="*/ 177 w 186"/>
                <a:gd name="T85" fmla="*/ 143 h 349"/>
                <a:gd name="T86" fmla="*/ 183 w 186"/>
                <a:gd name="T87" fmla="*/ 124 h 349"/>
                <a:gd name="T88" fmla="*/ 186 w 186"/>
                <a:gd name="T89" fmla="*/ 115 h 349"/>
                <a:gd name="T90" fmla="*/ 171 w 186"/>
                <a:gd name="T91" fmla="*/ 100 h 349"/>
                <a:gd name="T92" fmla="*/ 166 w 186"/>
                <a:gd name="T93" fmla="*/ 90 h 349"/>
                <a:gd name="T94" fmla="*/ 167 w 186"/>
                <a:gd name="T95" fmla="*/ 76 h 349"/>
                <a:gd name="T96" fmla="*/ 154 w 186"/>
                <a:gd name="T97" fmla="*/ 59 h 349"/>
                <a:gd name="T98" fmla="*/ 140 w 186"/>
                <a:gd name="T99" fmla="*/ 50 h 349"/>
                <a:gd name="T100" fmla="*/ 132 w 186"/>
                <a:gd name="T101" fmla="*/ 55 h 349"/>
                <a:gd name="T102" fmla="*/ 123 w 186"/>
                <a:gd name="T103" fmla="*/ 62 h 349"/>
                <a:gd name="T104" fmla="*/ 106 w 186"/>
                <a:gd name="T105" fmla="*/ 56 h 349"/>
                <a:gd name="T106" fmla="*/ 84 w 186"/>
                <a:gd name="T107" fmla="*/ 73 h 349"/>
                <a:gd name="T108" fmla="*/ 79 w 186"/>
                <a:gd name="T109" fmla="*/ 71 h 349"/>
                <a:gd name="T110" fmla="*/ 79 w 186"/>
                <a:gd name="T111" fmla="*/ 59 h 349"/>
                <a:gd name="T112" fmla="*/ 80 w 186"/>
                <a:gd name="T113" fmla="*/ 47 h 349"/>
                <a:gd name="T114" fmla="*/ 85 w 186"/>
                <a:gd name="T115" fmla="*/ 32 h 349"/>
                <a:gd name="T116" fmla="*/ 82 w 186"/>
                <a:gd name="T117" fmla="*/ 23 h 349"/>
                <a:gd name="T118" fmla="*/ 70 w 186"/>
                <a:gd name="T119" fmla="*/ 23 h 349"/>
                <a:gd name="T120" fmla="*/ 64 w 186"/>
                <a:gd name="T121" fmla="*/ 13 h 349"/>
                <a:gd name="T122" fmla="*/ 56 w 186"/>
                <a:gd name="T123" fmla="*/ 1 h 3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349">
                  <a:moveTo>
                    <a:pt x="56" y="0"/>
                  </a:moveTo>
                  <a:cubicBezTo>
                    <a:pt x="54" y="1"/>
                    <a:pt x="53" y="2"/>
                    <a:pt x="52" y="2"/>
                  </a:cubicBezTo>
                  <a:cubicBezTo>
                    <a:pt x="51" y="2"/>
                    <a:pt x="51" y="3"/>
                    <a:pt x="50" y="3"/>
                  </a:cubicBezTo>
                  <a:cubicBezTo>
                    <a:pt x="49" y="3"/>
                    <a:pt x="49" y="3"/>
                    <a:pt x="49" y="3"/>
                  </a:cubicBezTo>
                  <a:cubicBezTo>
                    <a:pt x="48" y="3"/>
                    <a:pt x="48" y="3"/>
                    <a:pt x="48" y="3"/>
                  </a:cubicBezTo>
                  <a:cubicBezTo>
                    <a:pt x="48" y="3"/>
                    <a:pt x="48" y="3"/>
                    <a:pt x="48" y="3"/>
                  </a:cubicBezTo>
                  <a:cubicBezTo>
                    <a:pt x="49" y="7"/>
                    <a:pt x="49" y="7"/>
                    <a:pt x="49" y="7"/>
                  </a:cubicBezTo>
                  <a:cubicBezTo>
                    <a:pt x="46" y="8"/>
                    <a:pt x="46" y="8"/>
                    <a:pt x="46" y="8"/>
                  </a:cubicBezTo>
                  <a:cubicBezTo>
                    <a:pt x="45" y="8"/>
                    <a:pt x="45" y="8"/>
                    <a:pt x="45" y="8"/>
                  </a:cubicBezTo>
                  <a:cubicBezTo>
                    <a:pt x="43" y="8"/>
                    <a:pt x="43" y="8"/>
                    <a:pt x="43" y="8"/>
                  </a:cubicBezTo>
                  <a:cubicBezTo>
                    <a:pt x="43" y="8"/>
                    <a:pt x="42" y="8"/>
                    <a:pt x="42" y="8"/>
                  </a:cubicBezTo>
                  <a:cubicBezTo>
                    <a:pt x="41" y="8"/>
                    <a:pt x="41" y="8"/>
                    <a:pt x="40" y="8"/>
                  </a:cubicBezTo>
                  <a:cubicBezTo>
                    <a:pt x="39" y="8"/>
                    <a:pt x="39" y="8"/>
                    <a:pt x="39" y="8"/>
                  </a:cubicBezTo>
                  <a:cubicBezTo>
                    <a:pt x="39" y="8"/>
                    <a:pt x="39" y="8"/>
                    <a:pt x="39" y="8"/>
                  </a:cubicBezTo>
                  <a:cubicBezTo>
                    <a:pt x="39" y="9"/>
                    <a:pt x="38" y="9"/>
                    <a:pt x="38" y="10"/>
                  </a:cubicBezTo>
                  <a:cubicBezTo>
                    <a:pt x="38" y="11"/>
                    <a:pt x="37" y="12"/>
                    <a:pt x="37" y="13"/>
                  </a:cubicBezTo>
                  <a:cubicBezTo>
                    <a:pt x="37" y="13"/>
                    <a:pt x="36" y="13"/>
                    <a:pt x="36" y="14"/>
                  </a:cubicBezTo>
                  <a:cubicBezTo>
                    <a:pt x="36" y="14"/>
                    <a:pt x="36" y="14"/>
                    <a:pt x="35" y="15"/>
                  </a:cubicBezTo>
                  <a:cubicBezTo>
                    <a:pt x="35" y="15"/>
                    <a:pt x="35" y="15"/>
                    <a:pt x="35" y="15"/>
                  </a:cubicBezTo>
                  <a:cubicBezTo>
                    <a:pt x="34" y="16"/>
                    <a:pt x="34" y="16"/>
                    <a:pt x="33" y="16"/>
                  </a:cubicBezTo>
                  <a:cubicBezTo>
                    <a:pt x="32" y="17"/>
                    <a:pt x="31" y="17"/>
                    <a:pt x="30" y="17"/>
                  </a:cubicBezTo>
                  <a:cubicBezTo>
                    <a:pt x="28" y="17"/>
                    <a:pt x="28" y="17"/>
                    <a:pt x="28" y="17"/>
                  </a:cubicBezTo>
                  <a:cubicBezTo>
                    <a:pt x="28" y="18"/>
                    <a:pt x="27" y="18"/>
                    <a:pt x="27" y="18"/>
                  </a:cubicBezTo>
                  <a:cubicBezTo>
                    <a:pt x="28" y="24"/>
                    <a:pt x="28" y="24"/>
                    <a:pt x="28" y="24"/>
                  </a:cubicBezTo>
                  <a:cubicBezTo>
                    <a:pt x="25" y="18"/>
                    <a:pt x="25" y="18"/>
                    <a:pt x="25" y="18"/>
                  </a:cubicBezTo>
                  <a:cubicBezTo>
                    <a:pt x="25" y="18"/>
                    <a:pt x="25" y="18"/>
                    <a:pt x="25" y="18"/>
                  </a:cubicBezTo>
                  <a:cubicBezTo>
                    <a:pt x="24" y="18"/>
                    <a:pt x="23" y="18"/>
                    <a:pt x="22" y="18"/>
                  </a:cubicBezTo>
                  <a:cubicBezTo>
                    <a:pt x="22" y="18"/>
                    <a:pt x="21" y="18"/>
                    <a:pt x="21" y="18"/>
                  </a:cubicBezTo>
                  <a:cubicBezTo>
                    <a:pt x="21" y="18"/>
                    <a:pt x="20" y="18"/>
                    <a:pt x="20" y="18"/>
                  </a:cubicBezTo>
                  <a:cubicBezTo>
                    <a:pt x="18" y="18"/>
                    <a:pt x="16" y="18"/>
                    <a:pt x="14" y="17"/>
                  </a:cubicBezTo>
                  <a:cubicBezTo>
                    <a:pt x="13" y="21"/>
                    <a:pt x="13" y="21"/>
                    <a:pt x="13" y="21"/>
                  </a:cubicBezTo>
                  <a:cubicBezTo>
                    <a:pt x="13" y="17"/>
                    <a:pt x="13" y="17"/>
                    <a:pt x="13" y="17"/>
                  </a:cubicBezTo>
                  <a:cubicBezTo>
                    <a:pt x="13" y="17"/>
                    <a:pt x="12" y="17"/>
                    <a:pt x="12" y="16"/>
                  </a:cubicBezTo>
                  <a:cubicBezTo>
                    <a:pt x="10" y="20"/>
                    <a:pt x="10" y="20"/>
                    <a:pt x="9" y="25"/>
                  </a:cubicBezTo>
                  <a:cubicBezTo>
                    <a:pt x="9" y="28"/>
                    <a:pt x="8" y="31"/>
                    <a:pt x="7" y="34"/>
                  </a:cubicBezTo>
                  <a:cubicBezTo>
                    <a:pt x="7" y="35"/>
                    <a:pt x="7" y="35"/>
                    <a:pt x="7" y="35"/>
                  </a:cubicBezTo>
                  <a:cubicBezTo>
                    <a:pt x="7" y="35"/>
                    <a:pt x="7" y="36"/>
                    <a:pt x="7" y="37"/>
                  </a:cubicBezTo>
                  <a:cubicBezTo>
                    <a:pt x="7" y="38"/>
                    <a:pt x="7" y="38"/>
                    <a:pt x="7" y="38"/>
                  </a:cubicBezTo>
                  <a:cubicBezTo>
                    <a:pt x="7" y="39"/>
                    <a:pt x="7" y="39"/>
                    <a:pt x="7" y="39"/>
                  </a:cubicBezTo>
                  <a:cubicBezTo>
                    <a:pt x="8" y="40"/>
                    <a:pt x="8" y="40"/>
                    <a:pt x="8" y="40"/>
                  </a:cubicBezTo>
                  <a:cubicBezTo>
                    <a:pt x="8" y="41"/>
                    <a:pt x="8" y="41"/>
                    <a:pt x="8" y="41"/>
                  </a:cubicBezTo>
                  <a:cubicBezTo>
                    <a:pt x="8" y="42"/>
                    <a:pt x="8" y="42"/>
                    <a:pt x="8" y="42"/>
                  </a:cubicBezTo>
                  <a:cubicBezTo>
                    <a:pt x="8" y="42"/>
                    <a:pt x="8" y="42"/>
                    <a:pt x="8" y="42"/>
                  </a:cubicBezTo>
                  <a:cubicBezTo>
                    <a:pt x="8" y="44"/>
                    <a:pt x="6" y="46"/>
                    <a:pt x="5" y="46"/>
                  </a:cubicBezTo>
                  <a:cubicBezTo>
                    <a:pt x="4" y="46"/>
                    <a:pt x="4" y="46"/>
                    <a:pt x="4" y="46"/>
                  </a:cubicBezTo>
                  <a:cubicBezTo>
                    <a:pt x="3" y="46"/>
                    <a:pt x="2" y="46"/>
                    <a:pt x="1" y="46"/>
                  </a:cubicBezTo>
                  <a:cubicBezTo>
                    <a:pt x="0" y="46"/>
                    <a:pt x="0" y="46"/>
                    <a:pt x="0" y="46"/>
                  </a:cubicBezTo>
                  <a:cubicBezTo>
                    <a:pt x="0" y="47"/>
                    <a:pt x="0" y="47"/>
                    <a:pt x="0" y="47"/>
                  </a:cubicBezTo>
                  <a:cubicBezTo>
                    <a:pt x="1" y="47"/>
                    <a:pt x="1" y="47"/>
                    <a:pt x="1" y="47"/>
                  </a:cubicBezTo>
                  <a:cubicBezTo>
                    <a:pt x="2" y="47"/>
                    <a:pt x="2" y="47"/>
                    <a:pt x="2" y="48"/>
                  </a:cubicBezTo>
                  <a:cubicBezTo>
                    <a:pt x="3" y="48"/>
                    <a:pt x="4" y="49"/>
                    <a:pt x="4" y="50"/>
                  </a:cubicBezTo>
                  <a:cubicBezTo>
                    <a:pt x="4" y="50"/>
                    <a:pt x="5" y="51"/>
                    <a:pt x="5" y="52"/>
                  </a:cubicBezTo>
                  <a:cubicBezTo>
                    <a:pt x="5" y="52"/>
                    <a:pt x="5" y="52"/>
                    <a:pt x="5" y="52"/>
                  </a:cubicBezTo>
                  <a:cubicBezTo>
                    <a:pt x="5" y="52"/>
                    <a:pt x="5" y="53"/>
                    <a:pt x="5" y="53"/>
                  </a:cubicBezTo>
                  <a:cubicBezTo>
                    <a:pt x="6" y="55"/>
                    <a:pt x="6" y="55"/>
                    <a:pt x="6" y="55"/>
                  </a:cubicBezTo>
                  <a:cubicBezTo>
                    <a:pt x="6" y="55"/>
                    <a:pt x="7" y="56"/>
                    <a:pt x="7" y="57"/>
                  </a:cubicBezTo>
                  <a:cubicBezTo>
                    <a:pt x="7" y="59"/>
                    <a:pt x="6" y="60"/>
                    <a:pt x="6" y="60"/>
                  </a:cubicBezTo>
                  <a:cubicBezTo>
                    <a:pt x="6" y="61"/>
                    <a:pt x="6" y="61"/>
                    <a:pt x="6" y="61"/>
                  </a:cubicBezTo>
                  <a:cubicBezTo>
                    <a:pt x="9" y="64"/>
                    <a:pt x="11" y="67"/>
                    <a:pt x="13" y="70"/>
                  </a:cubicBezTo>
                  <a:cubicBezTo>
                    <a:pt x="15" y="72"/>
                    <a:pt x="17" y="74"/>
                    <a:pt x="19" y="77"/>
                  </a:cubicBezTo>
                  <a:cubicBezTo>
                    <a:pt x="20" y="77"/>
                    <a:pt x="20" y="77"/>
                    <a:pt x="20" y="77"/>
                  </a:cubicBezTo>
                  <a:cubicBezTo>
                    <a:pt x="20" y="77"/>
                    <a:pt x="21" y="78"/>
                    <a:pt x="22" y="78"/>
                  </a:cubicBezTo>
                  <a:cubicBezTo>
                    <a:pt x="23" y="79"/>
                    <a:pt x="23" y="79"/>
                    <a:pt x="23" y="80"/>
                  </a:cubicBezTo>
                  <a:cubicBezTo>
                    <a:pt x="24" y="80"/>
                    <a:pt x="24" y="80"/>
                    <a:pt x="24" y="80"/>
                  </a:cubicBezTo>
                  <a:cubicBezTo>
                    <a:pt x="24" y="81"/>
                    <a:pt x="24" y="81"/>
                    <a:pt x="24" y="81"/>
                  </a:cubicBezTo>
                  <a:cubicBezTo>
                    <a:pt x="24" y="81"/>
                    <a:pt x="24" y="81"/>
                    <a:pt x="24" y="81"/>
                  </a:cubicBezTo>
                  <a:cubicBezTo>
                    <a:pt x="25" y="82"/>
                    <a:pt x="25" y="82"/>
                    <a:pt x="25" y="82"/>
                  </a:cubicBezTo>
                  <a:cubicBezTo>
                    <a:pt x="26" y="84"/>
                    <a:pt x="26" y="85"/>
                    <a:pt x="27" y="87"/>
                  </a:cubicBezTo>
                  <a:cubicBezTo>
                    <a:pt x="27" y="88"/>
                    <a:pt x="27" y="89"/>
                    <a:pt x="27" y="90"/>
                  </a:cubicBezTo>
                  <a:cubicBezTo>
                    <a:pt x="28" y="91"/>
                    <a:pt x="28" y="91"/>
                    <a:pt x="28" y="91"/>
                  </a:cubicBezTo>
                  <a:cubicBezTo>
                    <a:pt x="28" y="92"/>
                    <a:pt x="28" y="92"/>
                    <a:pt x="28" y="92"/>
                  </a:cubicBezTo>
                  <a:cubicBezTo>
                    <a:pt x="30" y="89"/>
                    <a:pt x="30" y="89"/>
                    <a:pt x="30" y="89"/>
                  </a:cubicBezTo>
                  <a:cubicBezTo>
                    <a:pt x="32" y="92"/>
                    <a:pt x="32" y="92"/>
                    <a:pt x="32" y="92"/>
                  </a:cubicBezTo>
                  <a:cubicBezTo>
                    <a:pt x="33" y="94"/>
                    <a:pt x="34" y="95"/>
                    <a:pt x="34" y="97"/>
                  </a:cubicBezTo>
                  <a:cubicBezTo>
                    <a:pt x="34" y="97"/>
                    <a:pt x="34" y="99"/>
                    <a:pt x="34" y="99"/>
                  </a:cubicBezTo>
                  <a:cubicBezTo>
                    <a:pt x="34" y="100"/>
                    <a:pt x="33" y="102"/>
                    <a:pt x="33" y="103"/>
                  </a:cubicBezTo>
                  <a:cubicBezTo>
                    <a:pt x="32" y="103"/>
                    <a:pt x="32" y="103"/>
                    <a:pt x="32" y="103"/>
                  </a:cubicBezTo>
                  <a:cubicBezTo>
                    <a:pt x="32" y="104"/>
                    <a:pt x="32" y="104"/>
                    <a:pt x="32" y="104"/>
                  </a:cubicBezTo>
                  <a:cubicBezTo>
                    <a:pt x="32" y="104"/>
                    <a:pt x="32" y="104"/>
                    <a:pt x="32" y="104"/>
                  </a:cubicBezTo>
                  <a:cubicBezTo>
                    <a:pt x="30" y="106"/>
                    <a:pt x="28" y="106"/>
                    <a:pt x="27" y="106"/>
                  </a:cubicBezTo>
                  <a:cubicBezTo>
                    <a:pt x="26" y="106"/>
                    <a:pt x="26" y="106"/>
                    <a:pt x="26" y="106"/>
                  </a:cubicBezTo>
                  <a:cubicBezTo>
                    <a:pt x="26" y="108"/>
                    <a:pt x="26" y="110"/>
                    <a:pt x="27" y="112"/>
                  </a:cubicBezTo>
                  <a:cubicBezTo>
                    <a:pt x="27" y="115"/>
                    <a:pt x="27" y="115"/>
                    <a:pt x="27" y="115"/>
                  </a:cubicBezTo>
                  <a:cubicBezTo>
                    <a:pt x="27" y="116"/>
                    <a:pt x="27" y="117"/>
                    <a:pt x="27" y="118"/>
                  </a:cubicBezTo>
                  <a:cubicBezTo>
                    <a:pt x="27" y="120"/>
                    <a:pt x="26" y="122"/>
                    <a:pt x="24" y="124"/>
                  </a:cubicBezTo>
                  <a:cubicBezTo>
                    <a:pt x="23" y="125"/>
                    <a:pt x="21" y="125"/>
                    <a:pt x="19" y="126"/>
                  </a:cubicBezTo>
                  <a:cubicBezTo>
                    <a:pt x="19" y="126"/>
                    <a:pt x="18" y="126"/>
                    <a:pt x="18" y="126"/>
                  </a:cubicBezTo>
                  <a:cubicBezTo>
                    <a:pt x="18" y="127"/>
                    <a:pt x="18" y="127"/>
                    <a:pt x="18" y="127"/>
                  </a:cubicBezTo>
                  <a:cubicBezTo>
                    <a:pt x="18" y="129"/>
                    <a:pt x="18" y="130"/>
                    <a:pt x="20" y="132"/>
                  </a:cubicBezTo>
                  <a:cubicBezTo>
                    <a:pt x="22" y="137"/>
                    <a:pt x="25" y="141"/>
                    <a:pt x="29" y="145"/>
                  </a:cubicBezTo>
                  <a:cubicBezTo>
                    <a:pt x="31" y="147"/>
                    <a:pt x="31" y="147"/>
                    <a:pt x="31" y="147"/>
                  </a:cubicBezTo>
                  <a:cubicBezTo>
                    <a:pt x="31" y="148"/>
                    <a:pt x="32" y="148"/>
                    <a:pt x="32" y="149"/>
                  </a:cubicBezTo>
                  <a:cubicBezTo>
                    <a:pt x="35" y="153"/>
                    <a:pt x="35" y="153"/>
                    <a:pt x="35" y="153"/>
                  </a:cubicBezTo>
                  <a:cubicBezTo>
                    <a:pt x="36" y="153"/>
                    <a:pt x="36" y="153"/>
                    <a:pt x="36" y="153"/>
                  </a:cubicBezTo>
                  <a:cubicBezTo>
                    <a:pt x="36" y="154"/>
                    <a:pt x="36" y="154"/>
                    <a:pt x="36" y="154"/>
                  </a:cubicBezTo>
                  <a:cubicBezTo>
                    <a:pt x="37" y="154"/>
                    <a:pt x="37" y="155"/>
                    <a:pt x="38" y="156"/>
                  </a:cubicBezTo>
                  <a:cubicBezTo>
                    <a:pt x="39" y="157"/>
                    <a:pt x="40" y="158"/>
                    <a:pt x="40" y="159"/>
                  </a:cubicBezTo>
                  <a:cubicBezTo>
                    <a:pt x="41" y="160"/>
                    <a:pt x="41" y="163"/>
                    <a:pt x="41" y="167"/>
                  </a:cubicBezTo>
                  <a:cubicBezTo>
                    <a:pt x="41" y="167"/>
                    <a:pt x="41" y="167"/>
                    <a:pt x="41" y="167"/>
                  </a:cubicBezTo>
                  <a:cubicBezTo>
                    <a:pt x="41" y="168"/>
                    <a:pt x="41" y="169"/>
                    <a:pt x="41" y="169"/>
                  </a:cubicBezTo>
                  <a:cubicBezTo>
                    <a:pt x="41" y="170"/>
                    <a:pt x="41" y="170"/>
                    <a:pt x="41" y="170"/>
                  </a:cubicBezTo>
                  <a:cubicBezTo>
                    <a:pt x="41" y="171"/>
                    <a:pt x="41" y="173"/>
                    <a:pt x="40" y="175"/>
                  </a:cubicBezTo>
                  <a:cubicBezTo>
                    <a:pt x="40" y="175"/>
                    <a:pt x="40" y="175"/>
                    <a:pt x="40" y="175"/>
                  </a:cubicBezTo>
                  <a:cubicBezTo>
                    <a:pt x="39" y="176"/>
                    <a:pt x="39" y="176"/>
                    <a:pt x="39" y="176"/>
                  </a:cubicBezTo>
                  <a:cubicBezTo>
                    <a:pt x="39" y="176"/>
                    <a:pt x="40" y="177"/>
                    <a:pt x="40" y="177"/>
                  </a:cubicBezTo>
                  <a:cubicBezTo>
                    <a:pt x="40" y="177"/>
                    <a:pt x="40" y="177"/>
                    <a:pt x="40" y="177"/>
                  </a:cubicBezTo>
                  <a:cubicBezTo>
                    <a:pt x="41" y="178"/>
                    <a:pt x="41" y="178"/>
                    <a:pt x="41" y="178"/>
                  </a:cubicBezTo>
                  <a:cubicBezTo>
                    <a:pt x="41" y="179"/>
                    <a:pt x="42" y="180"/>
                    <a:pt x="42" y="180"/>
                  </a:cubicBezTo>
                  <a:cubicBezTo>
                    <a:pt x="44" y="183"/>
                    <a:pt x="46" y="186"/>
                    <a:pt x="47" y="189"/>
                  </a:cubicBezTo>
                  <a:cubicBezTo>
                    <a:pt x="47" y="190"/>
                    <a:pt x="47" y="190"/>
                    <a:pt x="47" y="191"/>
                  </a:cubicBezTo>
                  <a:cubicBezTo>
                    <a:pt x="47" y="192"/>
                    <a:pt x="47" y="192"/>
                    <a:pt x="47" y="192"/>
                  </a:cubicBezTo>
                  <a:cubicBezTo>
                    <a:pt x="47" y="193"/>
                    <a:pt x="47" y="194"/>
                    <a:pt x="48" y="196"/>
                  </a:cubicBezTo>
                  <a:cubicBezTo>
                    <a:pt x="50" y="197"/>
                    <a:pt x="50" y="199"/>
                    <a:pt x="50" y="201"/>
                  </a:cubicBezTo>
                  <a:cubicBezTo>
                    <a:pt x="50" y="201"/>
                    <a:pt x="50" y="202"/>
                    <a:pt x="50" y="203"/>
                  </a:cubicBezTo>
                  <a:cubicBezTo>
                    <a:pt x="53" y="204"/>
                    <a:pt x="53" y="204"/>
                    <a:pt x="53" y="204"/>
                  </a:cubicBezTo>
                  <a:cubicBezTo>
                    <a:pt x="51" y="207"/>
                    <a:pt x="51" y="207"/>
                    <a:pt x="51" y="207"/>
                  </a:cubicBezTo>
                  <a:cubicBezTo>
                    <a:pt x="50" y="209"/>
                    <a:pt x="49" y="211"/>
                    <a:pt x="47" y="214"/>
                  </a:cubicBezTo>
                  <a:cubicBezTo>
                    <a:pt x="46" y="217"/>
                    <a:pt x="44" y="219"/>
                    <a:pt x="42" y="222"/>
                  </a:cubicBezTo>
                  <a:cubicBezTo>
                    <a:pt x="40" y="225"/>
                    <a:pt x="39" y="227"/>
                    <a:pt x="37" y="229"/>
                  </a:cubicBezTo>
                  <a:cubicBezTo>
                    <a:pt x="34" y="231"/>
                    <a:pt x="33" y="234"/>
                    <a:pt x="32" y="237"/>
                  </a:cubicBezTo>
                  <a:cubicBezTo>
                    <a:pt x="25" y="252"/>
                    <a:pt x="25" y="252"/>
                    <a:pt x="25" y="252"/>
                  </a:cubicBezTo>
                  <a:cubicBezTo>
                    <a:pt x="24" y="251"/>
                    <a:pt x="24" y="251"/>
                    <a:pt x="24" y="251"/>
                  </a:cubicBezTo>
                  <a:cubicBezTo>
                    <a:pt x="24" y="251"/>
                    <a:pt x="24" y="251"/>
                    <a:pt x="24" y="251"/>
                  </a:cubicBezTo>
                  <a:cubicBezTo>
                    <a:pt x="22" y="256"/>
                    <a:pt x="18" y="263"/>
                    <a:pt x="17" y="268"/>
                  </a:cubicBezTo>
                  <a:cubicBezTo>
                    <a:pt x="17" y="269"/>
                    <a:pt x="17" y="270"/>
                    <a:pt x="17" y="271"/>
                  </a:cubicBezTo>
                  <a:cubicBezTo>
                    <a:pt x="17" y="270"/>
                    <a:pt x="17" y="270"/>
                    <a:pt x="16" y="269"/>
                  </a:cubicBezTo>
                  <a:cubicBezTo>
                    <a:pt x="16" y="269"/>
                    <a:pt x="16" y="269"/>
                    <a:pt x="16" y="269"/>
                  </a:cubicBezTo>
                  <a:cubicBezTo>
                    <a:pt x="16" y="270"/>
                    <a:pt x="17" y="270"/>
                    <a:pt x="17" y="271"/>
                  </a:cubicBezTo>
                  <a:cubicBezTo>
                    <a:pt x="17" y="273"/>
                    <a:pt x="17" y="274"/>
                    <a:pt x="16" y="276"/>
                  </a:cubicBezTo>
                  <a:cubicBezTo>
                    <a:pt x="15" y="279"/>
                    <a:pt x="15" y="281"/>
                    <a:pt x="15" y="284"/>
                  </a:cubicBezTo>
                  <a:cubicBezTo>
                    <a:pt x="15" y="283"/>
                    <a:pt x="15" y="283"/>
                    <a:pt x="15" y="283"/>
                  </a:cubicBezTo>
                  <a:cubicBezTo>
                    <a:pt x="14" y="285"/>
                    <a:pt x="15" y="288"/>
                    <a:pt x="16" y="290"/>
                  </a:cubicBezTo>
                  <a:cubicBezTo>
                    <a:pt x="17" y="292"/>
                    <a:pt x="18" y="293"/>
                    <a:pt x="19" y="293"/>
                  </a:cubicBezTo>
                  <a:cubicBezTo>
                    <a:pt x="20" y="293"/>
                    <a:pt x="21" y="292"/>
                    <a:pt x="20" y="289"/>
                  </a:cubicBezTo>
                  <a:cubicBezTo>
                    <a:pt x="22" y="288"/>
                    <a:pt x="23" y="288"/>
                    <a:pt x="24" y="288"/>
                  </a:cubicBezTo>
                  <a:cubicBezTo>
                    <a:pt x="26" y="288"/>
                    <a:pt x="27" y="289"/>
                    <a:pt x="29" y="292"/>
                  </a:cubicBezTo>
                  <a:cubicBezTo>
                    <a:pt x="30" y="293"/>
                    <a:pt x="33" y="298"/>
                    <a:pt x="35" y="298"/>
                  </a:cubicBezTo>
                  <a:cubicBezTo>
                    <a:pt x="35" y="298"/>
                    <a:pt x="35" y="298"/>
                    <a:pt x="35" y="298"/>
                  </a:cubicBezTo>
                  <a:cubicBezTo>
                    <a:pt x="35" y="299"/>
                    <a:pt x="34" y="303"/>
                    <a:pt x="34" y="303"/>
                  </a:cubicBezTo>
                  <a:cubicBezTo>
                    <a:pt x="36" y="304"/>
                    <a:pt x="39" y="304"/>
                    <a:pt x="40" y="305"/>
                  </a:cubicBezTo>
                  <a:cubicBezTo>
                    <a:pt x="40" y="307"/>
                    <a:pt x="41" y="310"/>
                    <a:pt x="42" y="311"/>
                  </a:cubicBezTo>
                  <a:cubicBezTo>
                    <a:pt x="42" y="312"/>
                    <a:pt x="42" y="312"/>
                    <a:pt x="43" y="312"/>
                  </a:cubicBezTo>
                  <a:cubicBezTo>
                    <a:pt x="43" y="312"/>
                    <a:pt x="44" y="312"/>
                    <a:pt x="45" y="312"/>
                  </a:cubicBezTo>
                  <a:cubicBezTo>
                    <a:pt x="45" y="311"/>
                    <a:pt x="46" y="311"/>
                    <a:pt x="46" y="311"/>
                  </a:cubicBezTo>
                  <a:cubicBezTo>
                    <a:pt x="47" y="311"/>
                    <a:pt x="47" y="311"/>
                    <a:pt x="47" y="311"/>
                  </a:cubicBezTo>
                  <a:cubicBezTo>
                    <a:pt x="46" y="315"/>
                    <a:pt x="46" y="316"/>
                    <a:pt x="51" y="317"/>
                  </a:cubicBezTo>
                  <a:cubicBezTo>
                    <a:pt x="50" y="319"/>
                    <a:pt x="49" y="320"/>
                    <a:pt x="49" y="322"/>
                  </a:cubicBezTo>
                  <a:cubicBezTo>
                    <a:pt x="50" y="325"/>
                    <a:pt x="54" y="329"/>
                    <a:pt x="58" y="331"/>
                  </a:cubicBezTo>
                  <a:cubicBezTo>
                    <a:pt x="58" y="330"/>
                    <a:pt x="58" y="330"/>
                    <a:pt x="58" y="330"/>
                  </a:cubicBezTo>
                  <a:cubicBezTo>
                    <a:pt x="58" y="329"/>
                    <a:pt x="58" y="328"/>
                    <a:pt x="59" y="327"/>
                  </a:cubicBezTo>
                  <a:cubicBezTo>
                    <a:pt x="60" y="321"/>
                    <a:pt x="60" y="321"/>
                    <a:pt x="60" y="321"/>
                  </a:cubicBezTo>
                  <a:cubicBezTo>
                    <a:pt x="64" y="325"/>
                    <a:pt x="64" y="325"/>
                    <a:pt x="64" y="325"/>
                  </a:cubicBezTo>
                  <a:cubicBezTo>
                    <a:pt x="67" y="327"/>
                    <a:pt x="67" y="328"/>
                    <a:pt x="69" y="328"/>
                  </a:cubicBezTo>
                  <a:cubicBezTo>
                    <a:pt x="71" y="328"/>
                    <a:pt x="73" y="328"/>
                    <a:pt x="75" y="329"/>
                  </a:cubicBezTo>
                  <a:cubicBezTo>
                    <a:pt x="76" y="330"/>
                    <a:pt x="76" y="330"/>
                    <a:pt x="76" y="330"/>
                  </a:cubicBezTo>
                  <a:cubicBezTo>
                    <a:pt x="76" y="330"/>
                    <a:pt x="77" y="330"/>
                    <a:pt x="77" y="331"/>
                  </a:cubicBezTo>
                  <a:cubicBezTo>
                    <a:pt x="78" y="331"/>
                    <a:pt x="78" y="331"/>
                    <a:pt x="78" y="331"/>
                  </a:cubicBezTo>
                  <a:cubicBezTo>
                    <a:pt x="79" y="332"/>
                    <a:pt x="79" y="334"/>
                    <a:pt x="80" y="335"/>
                  </a:cubicBezTo>
                  <a:cubicBezTo>
                    <a:pt x="80" y="335"/>
                    <a:pt x="80" y="335"/>
                    <a:pt x="80" y="335"/>
                  </a:cubicBezTo>
                  <a:cubicBezTo>
                    <a:pt x="80" y="335"/>
                    <a:pt x="81" y="335"/>
                    <a:pt x="82" y="335"/>
                  </a:cubicBezTo>
                  <a:cubicBezTo>
                    <a:pt x="83" y="335"/>
                    <a:pt x="84" y="335"/>
                    <a:pt x="85" y="336"/>
                  </a:cubicBezTo>
                  <a:cubicBezTo>
                    <a:pt x="87" y="338"/>
                    <a:pt x="87" y="340"/>
                    <a:pt x="86" y="342"/>
                  </a:cubicBezTo>
                  <a:cubicBezTo>
                    <a:pt x="86" y="343"/>
                    <a:pt x="85" y="344"/>
                    <a:pt x="85" y="346"/>
                  </a:cubicBezTo>
                  <a:cubicBezTo>
                    <a:pt x="84" y="347"/>
                    <a:pt x="84" y="348"/>
                    <a:pt x="84" y="348"/>
                  </a:cubicBezTo>
                  <a:cubicBezTo>
                    <a:pt x="84" y="349"/>
                    <a:pt x="84" y="349"/>
                    <a:pt x="84" y="349"/>
                  </a:cubicBezTo>
                  <a:cubicBezTo>
                    <a:pt x="85" y="348"/>
                    <a:pt x="85" y="348"/>
                    <a:pt x="85" y="348"/>
                  </a:cubicBezTo>
                  <a:cubicBezTo>
                    <a:pt x="87" y="346"/>
                    <a:pt x="87" y="346"/>
                    <a:pt x="87" y="346"/>
                  </a:cubicBezTo>
                  <a:cubicBezTo>
                    <a:pt x="88" y="345"/>
                    <a:pt x="90" y="344"/>
                    <a:pt x="92" y="344"/>
                  </a:cubicBezTo>
                  <a:cubicBezTo>
                    <a:pt x="94" y="344"/>
                    <a:pt x="96" y="345"/>
                    <a:pt x="97" y="346"/>
                  </a:cubicBezTo>
                  <a:cubicBezTo>
                    <a:pt x="97" y="346"/>
                    <a:pt x="97" y="346"/>
                    <a:pt x="97" y="346"/>
                  </a:cubicBezTo>
                  <a:cubicBezTo>
                    <a:pt x="100" y="346"/>
                    <a:pt x="101" y="344"/>
                    <a:pt x="102" y="342"/>
                  </a:cubicBezTo>
                  <a:cubicBezTo>
                    <a:pt x="102" y="341"/>
                    <a:pt x="103" y="338"/>
                    <a:pt x="104" y="337"/>
                  </a:cubicBezTo>
                  <a:cubicBezTo>
                    <a:pt x="104" y="336"/>
                    <a:pt x="104" y="336"/>
                    <a:pt x="104" y="336"/>
                  </a:cubicBezTo>
                  <a:cubicBezTo>
                    <a:pt x="103" y="335"/>
                    <a:pt x="103" y="335"/>
                    <a:pt x="102" y="334"/>
                  </a:cubicBezTo>
                  <a:cubicBezTo>
                    <a:pt x="100" y="332"/>
                    <a:pt x="98" y="331"/>
                    <a:pt x="96" y="329"/>
                  </a:cubicBezTo>
                  <a:cubicBezTo>
                    <a:pt x="94" y="325"/>
                    <a:pt x="92" y="322"/>
                    <a:pt x="87" y="321"/>
                  </a:cubicBezTo>
                  <a:cubicBezTo>
                    <a:pt x="88" y="322"/>
                    <a:pt x="88" y="322"/>
                    <a:pt x="89" y="323"/>
                  </a:cubicBezTo>
                  <a:cubicBezTo>
                    <a:pt x="89" y="323"/>
                    <a:pt x="88" y="323"/>
                    <a:pt x="88" y="323"/>
                  </a:cubicBezTo>
                  <a:cubicBezTo>
                    <a:pt x="87" y="323"/>
                    <a:pt x="86" y="323"/>
                    <a:pt x="85" y="323"/>
                  </a:cubicBezTo>
                  <a:cubicBezTo>
                    <a:pt x="85" y="323"/>
                    <a:pt x="84" y="324"/>
                    <a:pt x="83" y="324"/>
                  </a:cubicBezTo>
                  <a:cubicBezTo>
                    <a:pt x="83" y="324"/>
                    <a:pt x="82" y="323"/>
                    <a:pt x="82" y="323"/>
                  </a:cubicBezTo>
                  <a:cubicBezTo>
                    <a:pt x="80" y="323"/>
                    <a:pt x="73" y="315"/>
                    <a:pt x="71" y="315"/>
                  </a:cubicBezTo>
                  <a:cubicBezTo>
                    <a:pt x="71" y="315"/>
                    <a:pt x="71" y="315"/>
                    <a:pt x="71" y="315"/>
                  </a:cubicBezTo>
                  <a:cubicBezTo>
                    <a:pt x="70" y="316"/>
                    <a:pt x="69" y="316"/>
                    <a:pt x="68" y="316"/>
                  </a:cubicBezTo>
                  <a:cubicBezTo>
                    <a:pt x="68" y="316"/>
                    <a:pt x="67" y="316"/>
                    <a:pt x="67" y="316"/>
                  </a:cubicBezTo>
                  <a:cubicBezTo>
                    <a:pt x="66" y="315"/>
                    <a:pt x="66" y="313"/>
                    <a:pt x="66" y="313"/>
                  </a:cubicBezTo>
                  <a:cubicBezTo>
                    <a:pt x="64" y="311"/>
                    <a:pt x="63" y="310"/>
                    <a:pt x="62" y="309"/>
                  </a:cubicBezTo>
                  <a:cubicBezTo>
                    <a:pt x="60" y="306"/>
                    <a:pt x="61" y="305"/>
                    <a:pt x="62" y="302"/>
                  </a:cubicBezTo>
                  <a:cubicBezTo>
                    <a:pt x="65" y="306"/>
                    <a:pt x="67" y="311"/>
                    <a:pt x="70" y="315"/>
                  </a:cubicBezTo>
                  <a:cubicBezTo>
                    <a:pt x="70" y="314"/>
                    <a:pt x="70" y="314"/>
                    <a:pt x="69" y="313"/>
                  </a:cubicBezTo>
                  <a:cubicBezTo>
                    <a:pt x="66" y="308"/>
                    <a:pt x="67" y="303"/>
                    <a:pt x="65" y="298"/>
                  </a:cubicBezTo>
                  <a:cubicBezTo>
                    <a:pt x="63" y="291"/>
                    <a:pt x="59" y="284"/>
                    <a:pt x="56" y="277"/>
                  </a:cubicBezTo>
                  <a:cubicBezTo>
                    <a:pt x="55" y="273"/>
                    <a:pt x="53" y="270"/>
                    <a:pt x="52" y="266"/>
                  </a:cubicBezTo>
                  <a:cubicBezTo>
                    <a:pt x="52" y="265"/>
                    <a:pt x="51" y="265"/>
                    <a:pt x="50" y="265"/>
                  </a:cubicBezTo>
                  <a:cubicBezTo>
                    <a:pt x="48" y="265"/>
                    <a:pt x="46" y="266"/>
                    <a:pt x="45" y="266"/>
                  </a:cubicBezTo>
                  <a:cubicBezTo>
                    <a:pt x="44" y="267"/>
                    <a:pt x="42" y="267"/>
                    <a:pt x="41" y="267"/>
                  </a:cubicBezTo>
                  <a:cubicBezTo>
                    <a:pt x="39" y="267"/>
                    <a:pt x="38" y="267"/>
                    <a:pt x="39" y="265"/>
                  </a:cubicBezTo>
                  <a:cubicBezTo>
                    <a:pt x="39" y="264"/>
                    <a:pt x="40" y="264"/>
                    <a:pt x="41" y="263"/>
                  </a:cubicBezTo>
                  <a:cubicBezTo>
                    <a:pt x="40" y="262"/>
                    <a:pt x="39" y="261"/>
                    <a:pt x="39" y="259"/>
                  </a:cubicBezTo>
                  <a:cubicBezTo>
                    <a:pt x="38" y="257"/>
                    <a:pt x="37" y="255"/>
                    <a:pt x="37" y="253"/>
                  </a:cubicBezTo>
                  <a:cubicBezTo>
                    <a:pt x="38" y="248"/>
                    <a:pt x="39" y="245"/>
                    <a:pt x="37" y="240"/>
                  </a:cubicBezTo>
                  <a:cubicBezTo>
                    <a:pt x="38" y="240"/>
                    <a:pt x="40" y="236"/>
                    <a:pt x="40" y="234"/>
                  </a:cubicBezTo>
                  <a:cubicBezTo>
                    <a:pt x="43" y="230"/>
                    <a:pt x="45" y="226"/>
                    <a:pt x="47" y="222"/>
                  </a:cubicBezTo>
                  <a:cubicBezTo>
                    <a:pt x="50" y="214"/>
                    <a:pt x="53" y="207"/>
                    <a:pt x="56" y="199"/>
                  </a:cubicBezTo>
                  <a:cubicBezTo>
                    <a:pt x="57" y="197"/>
                    <a:pt x="57" y="197"/>
                    <a:pt x="57" y="195"/>
                  </a:cubicBezTo>
                  <a:cubicBezTo>
                    <a:pt x="57" y="192"/>
                    <a:pt x="56" y="189"/>
                    <a:pt x="56" y="186"/>
                  </a:cubicBezTo>
                  <a:cubicBezTo>
                    <a:pt x="56" y="183"/>
                    <a:pt x="59" y="179"/>
                    <a:pt x="59" y="176"/>
                  </a:cubicBezTo>
                  <a:cubicBezTo>
                    <a:pt x="59" y="173"/>
                    <a:pt x="55" y="171"/>
                    <a:pt x="57" y="170"/>
                  </a:cubicBezTo>
                  <a:cubicBezTo>
                    <a:pt x="59" y="167"/>
                    <a:pt x="61" y="167"/>
                    <a:pt x="65" y="166"/>
                  </a:cubicBezTo>
                  <a:cubicBezTo>
                    <a:pt x="66" y="166"/>
                    <a:pt x="67" y="166"/>
                    <a:pt x="67" y="165"/>
                  </a:cubicBezTo>
                  <a:cubicBezTo>
                    <a:pt x="65" y="164"/>
                    <a:pt x="63" y="162"/>
                    <a:pt x="63" y="160"/>
                  </a:cubicBezTo>
                  <a:cubicBezTo>
                    <a:pt x="63" y="156"/>
                    <a:pt x="66" y="153"/>
                    <a:pt x="70" y="153"/>
                  </a:cubicBezTo>
                  <a:cubicBezTo>
                    <a:pt x="73" y="153"/>
                    <a:pt x="76" y="156"/>
                    <a:pt x="76" y="160"/>
                  </a:cubicBezTo>
                  <a:cubicBezTo>
                    <a:pt x="76" y="162"/>
                    <a:pt x="75" y="164"/>
                    <a:pt x="73" y="165"/>
                  </a:cubicBezTo>
                  <a:cubicBezTo>
                    <a:pt x="75" y="166"/>
                    <a:pt x="78" y="166"/>
                    <a:pt x="80" y="166"/>
                  </a:cubicBezTo>
                  <a:cubicBezTo>
                    <a:pt x="79" y="172"/>
                    <a:pt x="78" y="178"/>
                    <a:pt x="77" y="183"/>
                  </a:cubicBezTo>
                  <a:cubicBezTo>
                    <a:pt x="77" y="186"/>
                    <a:pt x="78" y="186"/>
                    <a:pt x="79" y="186"/>
                  </a:cubicBezTo>
                  <a:cubicBezTo>
                    <a:pt x="80" y="186"/>
                    <a:pt x="81" y="186"/>
                    <a:pt x="81" y="186"/>
                  </a:cubicBezTo>
                  <a:cubicBezTo>
                    <a:pt x="85" y="186"/>
                    <a:pt x="90" y="185"/>
                    <a:pt x="94" y="185"/>
                  </a:cubicBezTo>
                  <a:cubicBezTo>
                    <a:pt x="95" y="185"/>
                    <a:pt x="96" y="185"/>
                    <a:pt x="97" y="185"/>
                  </a:cubicBezTo>
                  <a:cubicBezTo>
                    <a:pt x="98" y="185"/>
                    <a:pt x="99" y="185"/>
                    <a:pt x="100" y="186"/>
                  </a:cubicBezTo>
                  <a:cubicBezTo>
                    <a:pt x="102" y="187"/>
                    <a:pt x="107" y="194"/>
                    <a:pt x="110" y="194"/>
                  </a:cubicBezTo>
                  <a:cubicBezTo>
                    <a:pt x="111" y="194"/>
                    <a:pt x="112" y="193"/>
                    <a:pt x="112" y="193"/>
                  </a:cubicBezTo>
                  <a:cubicBezTo>
                    <a:pt x="110" y="198"/>
                    <a:pt x="111" y="196"/>
                    <a:pt x="114" y="197"/>
                  </a:cubicBezTo>
                  <a:cubicBezTo>
                    <a:pt x="115" y="198"/>
                    <a:pt x="116" y="200"/>
                    <a:pt x="117" y="200"/>
                  </a:cubicBezTo>
                  <a:cubicBezTo>
                    <a:pt x="118" y="200"/>
                    <a:pt x="118" y="200"/>
                    <a:pt x="119" y="200"/>
                  </a:cubicBezTo>
                  <a:cubicBezTo>
                    <a:pt x="119" y="200"/>
                    <a:pt x="120" y="200"/>
                    <a:pt x="120" y="200"/>
                  </a:cubicBezTo>
                  <a:cubicBezTo>
                    <a:pt x="120" y="198"/>
                    <a:pt x="120" y="196"/>
                    <a:pt x="120" y="194"/>
                  </a:cubicBezTo>
                  <a:cubicBezTo>
                    <a:pt x="120" y="194"/>
                    <a:pt x="120" y="193"/>
                    <a:pt x="119" y="193"/>
                  </a:cubicBezTo>
                  <a:cubicBezTo>
                    <a:pt x="119" y="193"/>
                    <a:pt x="119" y="193"/>
                    <a:pt x="119" y="193"/>
                  </a:cubicBezTo>
                  <a:cubicBezTo>
                    <a:pt x="119" y="192"/>
                    <a:pt x="119" y="192"/>
                    <a:pt x="119" y="192"/>
                  </a:cubicBezTo>
                  <a:cubicBezTo>
                    <a:pt x="119" y="191"/>
                    <a:pt x="118" y="191"/>
                    <a:pt x="118" y="190"/>
                  </a:cubicBezTo>
                  <a:cubicBezTo>
                    <a:pt x="115" y="188"/>
                    <a:pt x="115" y="188"/>
                    <a:pt x="115" y="188"/>
                  </a:cubicBezTo>
                  <a:cubicBezTo>
                    <a:pt x="115" y="188"/>
                    <a:pt x="114" y="188"/>
                    <a:pt x="114" y="187"/>
                  </a:cubicBezTo>
                  <a:cubicBezTo>
                    <a:pt x="113" y="185"/>
                    <a:pt x="113" y="183"/>
                    <a:pt x="113" y="181"/>
                  </a:cubicBezTo>
                  <a:cubicBezTo>
                    <a:pt x="113" y="180"/>
                    <a:pt x="113" y="180"/>
                    <a:pt x="113" y="180"/>
                  </a:cubicBezTo>
                  <a:cubicBezTo>
                    <a:pt x="113" y="179"/>
                    <a:pt x="113" y="178"/>
                    <a:pt x="112" y="177"/>
                  </a:cubicBezTo>
                  <a:cubicBezTo>
                    <a:pt x="112" y="176"/>
                    <a:pt x="112" y="176"/>
                    <a:pt x="112" y="176"/>
                  </a:cubicBezTo>
                  <a:cubicBezTo>
                    <a:pt x="110" y="172"/>
                    <a:pt x="107" y="167"/>
                    <a:pt x="111" y="163"/>
                  </a:cubicBezTo>
                  <a:cubicBezTo>
                    <a:pt x="112" y="162"/>
                    <a:pt x="112" y="162"/>
                    <a:pt x="112" y="162"/>
                  </a:cubicBezTo>
                  <a:cubicBezTo>
                    <a:pt x="113" y="162"/>
                    <a:pt x="113" y="161"/>
                    <a:pt x="114" y="161"/>
                  </a:cubicBezTo>
                  <a:cubicBezTo>
                    <a:pt x="117" y="158"/>
                    <a:pt x="119" y="155"/>
                    <a:pt x="121" y="153"/>
                  </a:cubicBezTo>
                  <a:cubicBezTo>
                    <a:pt x="121" y="151"/>
                    <a:pt x="122" y="149"/>
                    <a:pt x="124" y="147"/>
                  </a:cubicBezTo>
                  <a:cubicBezTo>
                    <a:pt x="124" y="147"/>
                    <a:pt x="125" y="146"/>
                    <a:pt x="125" y="146"/>
                  </a:cubicBezTo>
                  <a:cubicBezTo>
                    <a:pt x="128" y="144"/>
                    <a:pt x="132" y="142"/>
                    <a:pt x="136" y="142"/>
                  </a:cubicBezTo>
                  <a:cubicBezTo>
                    <a:pt x="137" y="141"/>
                    <a:pt x="138" y="141"/>
                    <a:pt x="139" y="141"/>
                  </a:cubicBezTo>
                  <a:cubicBezTo>
                    <a:pt x="140" y="141"/>
                    <a:pt x="141" y="141"/>
                    <a:pt x="142" y="141"/>
                  </a:cubicBezTo>
                  <a:cubicBezTo>
                    <a:pt x="144" y="141"/>
                    <a:pt x="147" y="141"/>
                    <a:pt x="150" y="142"/>
                  </a:cubicBezTo>
                  <a:cubicBezTo>
                    <a:pt x="150" y="142"/>
                    <a:pt x="150" y="142"/>
                    <a:pt x="150" y="142"/>
                  </a:cubicBezTo>
                  <a:cubicBezTo>
                    <a:pt x="152" y="142"/>
                    <a:pt x="154" y="142"/>
                    <a:pt x="156" y="142"/>
                  </a:cubicBezTo>
                  <a:cubicBezTo>
                    <a:pt x="156" y="142"/>
                    <a:pt x="157" y="142"/>
                    <a:pt x="157" y="142"/>
                  </a:cubicBezTo>
                  <a:cubicBezTo>
                    <a:pt x="159" y="142"/>
                    <a:pt x="161" y="142"/>
                    <a:pt x="164" y="142"/>
                  </a:cubicBezTo>
                  <a:cubicBezTo>
                    <a:pt x="165" y="141"/>
                    <a:pt x="165" y="141"/>
                    <a:pt x="165" y="141"/>
                  </a:cubicBezTo>
                  <a:cubicBezTo>
                    <a:pt x="167" y="141"/>
                    <a:pt x="169" y="141"/>
                    <a:pt x="171" y="141"/>
                  </a:cubicBezTo>
                  <a:cubicBezTo>
                    <a:pt x="171" y="141"/>
                    <a:pt x="171" y="141"/>
                    <a:pt x="171" y="141"/>
                  </a:cubicBezTo>
                  <a:cubicBezTo>
                    <a:pt x="172" y="141"/>
                    <a:pt x="172" y="141"/>
                    <a:pt x="172" y="141"/>
                  </a:cubicBezTo>
                  <a:cubicBezTo>
                    <a:pt x="173" y="141"/>
                    <a:pt x="175" y="141"/>
                    <a:pt x="176" y="142"/>
                  </a:cubicBezTo>
                  <a:cubicBezTo>
                    <a:pt x="177" y="142"/>
                    <a:pt x="177" y="143"/>
                    <a:pt x="177" y="143"/>
                  </a:cubicBezTo>
                  <a:cubicBezTo>
                    <a:pt x="180" y="142"/>
                    <a:pt x="180" y="142"/>
                    <a:pt x="180" y="142"/>
                  </a:cubicBezTo>
                  <a:cubicBezTo>
                    <a:pt x="180" y="142"/>
                    <a:pt x="180" y="142"/>
                    <a:pt x="180" y="142"/>
                  </a:cubicBezTo>
                  <a:cubicBezTo>
                    <a:pt x="182" y="141"/>
                    <a:pt x="183" y="141"/>
                    <a:pt x="183" y="140"/>
                  </a:cubicBezTo>
                  <a:cubicBezTo>
                    <a:pt x="184" y="140"/>
                    <a:pt x="184" y="140"/>
                    <a:pt x="184" y="140"/>
                  </a:cubicBezTo>
                  <a:cubicBezTo>
                    <a:pt x="185" y="138"/>
                    <a:pt x="184" y="135"/>
                    <a:pt x="184" y="132"/>
                  </a:cubicBezTo>
                  <a:cubicBezTo>
                    <a:pt x="183" y="129"/>
                    <a:pt x="182" y="127"/>
                    <a:pt x="183" y="124"/>
                  </a:cubicBezTo>
                  <a:cubicBezTo>
                    <a:pt x="183" y="122"/>
                    <a:pt x="183" y="121"/>
                    <a:pt x="183" y="120"/>
                  </a:cubicBezTo>
                  <a:cubicBezTo>
                    <a:pt x="184" y="118"/>
                    <a:pt x="185" y="118"/>
                    <a:pt x="186" y="117"/>
                  </a:cubicBezTo>
                  <a:cubicBezTo>
                    <a:pt x="186" y="117"/>
                    <a:pt x="186" y="117"/>
                    <a:pt x="186" y="116"/>
                  </a:cubicBezTo>
                  <a:cubicBezTo>
                    <a:pt x="186" y="116"/>
                    <a:pt x="186" y="115"/>
                    <a:pt x="186" y="115"/>
                  </a:cubicBezTo>
                  <a:cubicBezTo>
                    <a:pt x="186" y="115"/>
                    <a:pt x="186" y="115"/>
                    <a:pt x="186" y="115"/>
                  </a:cubicBezTo>
                  <a:cubicBezTo>
                    <a:pt x="186" y="115"/>
                    <a:pt x="186" y="115"/>
                    <a:pt x="186" y="115"/>
                  </a:cubicBezTo>
                  <a:cubicBezTo>
                    <a:pt x="185" y="114"/>
                    <a:pt x="183" y="114"/>
                    <a:pt x="182" y="113"/>
                  </a:cubicBezTo>
                  <a:cubicBezTo>
                    <a:pt x="181" y="111"/>
                    <a:pt x="180" y="110"/>
                    <a:pt x="180" y="108"/>
                  </a:cubicBezTo>
                  <a:cubicBezTo>
                    <a:pt x="180" y="107"/>
                    <a:pt x="180" y="107"/>
                    <a:pt x="180" y="107"/>
                  </a:cubicBezTo>
                  <a:cubicBezTo>
                    <a:pt x="178" y="107"/>
                    <a:pt x="176" y="107"/>
                    <a:pt x="175" y="105"/>
                  </a:cubicBezTo>
                  <a:cubicBezTo>
                    <a:pt x="174" y="104"/>
                    <a:pt x="173" y="103"/>
                    <a:pt x="173" y="102"/>
                  </a:cubicBezTo>
                  <a:cubicBezTo>
                    <a:pt x="172" y="101"/>
                    <a:pt x="171" y="100"/>
                    <a:pt x="171" y="100"/>
                  </a:cubicBezTo>
                  <a:cubicBezTo>
                    <a:pt x="170" y="99"/>
                    <a:pt x="170" y="99"/>
                    <a:pt x="170" y="99"/>
                  </a:cubicBezTo>
                  <a:cubicBezTo>
                    <a:pt x="170" y="98"/>
                    <a:pt x="169" y="98"/>
                    <a:pt x="168" y="97"/>
                  </a:cubicBezTo>
                  <a:cubicBezTo>
                    <a:pt x="167" y="95"/>
                    <a:pt x="167" y="95"/>
                    <a:pt x="167" y="95"/>
                  </a:cubicBezTo>
                  <a:cubicBezTo>
                    <a:pt x="167" y="95"/>
                    <a:pt x="167" y="95"/>
                    <a:pt x="167" y="95"/>
                  </a:cubicBezTo>
                  <a:cubicBezTo>
                    <a:pt x="167" y="94"/>
                    <a:pt x="166" y="93"/>
                    <a:pt x="166" y="92"/>
                  </a:cubicBezTo>
                  <a:cubicBezTo>
                    <a:pt x="166" y="91"/>
                    <a:pt x="166" y="91"/>
                    <a:pt x="166" y="90"/>
                  </a:cubicBezTo>
                  <a:cubicBezTo>
                    <a:pt x="166" y="90"/>
                    <a:pt x="166" y="90"/>
                    <a:pt x="166" y="90"/>
                  </a:cubicBezTo>
                  <a:cubicBezTo>
                    <a:pt x="165" y="87"/>
                    <a:pt x="165" y="83"/>
                    <a:pt x="166" y="80"/>
                  </a:cubicBezTo>
                  <a:cubicBezTo>
                    <a:pt x="166" y="79"/>
                    <a:pt x="166" y="79"/>
                    <a:pt x="166" y="79"/>
                  </a:cubicBezTo>
                  <a:cubicBezTo>
                    <a:pt x="167" y="79"/>
                    <a:pt x="167" y="78"/>
                    <a:pt x="167" y="77"/>
                  </a:cubicBezTo>
                  <a:cubicBezTo>
                    <a:pt x="167" y="77"/>
                    <a:pt x="167" y="77"/>
                    <a:pt x="167" y="77"/>
                  </a:cubicBezTo>
                  <a:cubicBezTo>
                    <a:pt x="167" y="76"/>
                    <a:pt x="167" y="76"/>
                    <a:pt x="167" y="76"/>
                  </a:cubicBezTo>
                  <a:cubicBezTo>
                    <a:pt x="167" y="75"/>
                    <a:pt x="167" y="75"/>
                    <a:pt x="167" y="75"/>
                  </a:cubicBezTo>
                  <a:cubicBezTo>
                    <a:pt x="167" y="75"/>
                    <a:pt x="167" y="75"/>
                    <a:pt x="167" y="75"/>
                  </a:cubicBezTo>
                  <a:cubicBezTo>
                    <a:pt x="167" y="74"/>
                    <a:pt x="167" y="74"/>
                    <a:pt x="167" y="73"/>
                  </a:cubicBezTo>
                  <a:cubicBezTo>
                    <a:pt x="166" y="72"/>
                    <a:pt x="165" y="72"/>
                    <a:pt x="164" y="71"/>
                  </a:cubicBezTo>
                  <a:cubicBezTo>
                    <a:pt x="163" y="70"/>
                    <a:pt x="163" y="70"/>
                    <a:pt x="163" y="70"/>
                  </a:cubicBezTo>
                  <a:cubicBezTo>
                    <a:pt x="159" y="67"/>
                    <a:pt x="156" y="63"/>
                    <a:pt x="154" y="59"/>
                  </a:cubicBezTo>
                  <a:cubicBezTo>
                    <a:pt x="153" y="58"/>
                    <a:pt x="153" y="58"/>
                    <a:pt x="153" y="57"/>
                  </a:cubicBezTo>
                  <a:cubicBezTo>
                    <a:pt x="152" y="56"/>
                    <a:pt x="152" y="56"/>
                    <a:pt x="152" y="56"/>
                  </a:cubicBezTo>
                  <a:cubicBezTo>
                    <a:pt x="151" y="55"/>
                    <a:pt x="151" y="55"/>
                    <a:pt x="150" y="54"/>
                  </a:cubicBezTo>
                  <a:cubicBezTo>
                    <a:pt x="149" y="52"/>
                    <a:pt x="148" y="52"/>
                    <a:pt x="145" y="51"/>
                  </a:cubicBezTo>
                  <a:cubicBezTo>
                    <a:pt x="144" y="51"/>
                    <a:pt x="143" y="51"/>
                    <a:pt x="141" y="50"/>
                  </a:cubicBezTo>
                  <a:cubicBezTo>
                    <a:pt x="140" y="50"/>
                    <a:pt x="140" y="50"/>
                    <a:pt x="140" y="50"/>
                  </a:cubicBezTo>
                  <a:cubicBezTo>
                    <a:pt x="140" y="50"/>
                    <a:pt x="140" y="50"/>
                    <a:pt x="140" y="50"/>
                  </a:cubicBezTo>
                  <a:cubicBezTo>
                    <a:pt x="139" y="50"/>
                    <a:pt x="139" y="50"/>
                    <a:pt x="139" y="50"/>
                  </a:cubicBezTo>
                  <a:cubicBezTo>
                    <a:pt x="138" y="50"/>
                    <a:pt x="138" y="50"/>
                    <a:pt x="138" y="50"/>
                  </a:cubicBezTo>
                  <a:cubicBezTo>
                    <a:pt x="138" y="50"/>
                    <a:pt x="138" y="50"/>
                    <a:pt x="138" y="50"/>
                  </a:cubicBezTo>
                  <a:cubicBezTo>
                    <a:pt x="137" y="51"/>
                    <a:pt x="137" y="51"/>
                    <a:pt x="137" y="51"/>
                  </a:cubicBezTo>
                  <a:cubicBezTo>
                    <a:pt x="132" y="55"/>
                    <a:pt x="132" y="55"/>
                    <a:pt x="132" y="55"/>
                  </a:cubicBezTo>
                  <a:cubicBezTo>
                    <a:pt x="132" y="56"/>
                    <a:pt x="132" y="56"/>
                    <a:pt x="132" y="57"/>
                  </a:cubicBezTo>
                  <a:cubicBezTo>
                    <a:pt x="132" y="58"/>
                    <a:pt x="131" y="58"/>
                    <a:pt x="131" y="59"/>
                  </a:cubicBezTo>
                  <a:cubicBezTo>
                    <a:pt x="129" y="60"/>
                    <a:pt x="127" y="60"/>
                    <a:pt x="126" y="60"/>
                  </a:cubicBezTo>
                  <a:cubicBezTo>
                    <a:pt x="126" y="60"/>
                    <a:pt x="126" y="60"/>
                    <a:pt x="126" y="60"/>
                  </a:cubicBezTo>
                  <a:cubicBezTo>
                    <a:pt x="125" y="61"/>
                    <a:pt x="125" y="61"/>
                    <a:pt x="125" y="61"/>
                  </a:cubicBezTo>
                  <a:cubicBezTo>
                    <a:pt x="124" y="61"/>
                    <a:pt x="124" y="61"/>
                    <a:pt x="123" y="62"/>
                  </a:cubicBezTo>
                  <a:cubicBezTo>
                    <a:pt x="123" y="62"/>
                    <a:pt x="123" y="62"/>
                    <a:pt x="123" y="62"/>
                  </a:cubicBezTo>
                  <a:cubicBezTo>
                    <a:pt x="126" y="70"/>
                    <a:pt x="126" y="70"/>
                    <a:pt x="126" y="70"/>
                  </a:cubicBezTo>
                  <a:cubicBezTo>
                    <a:pt x="118" y="64"/>
                    <a:pt x="118" y="64"/>
                    <a:pt x="118" y="64"/>
                  </a:cubicBezTo>
                  <a:cubicBezTo>
                    <a:pt x="115" y="62"/>
                    <a:pt x="112" y="59"/>
                    <a:pt x="108" y="57"/>
                  </a:cubicBezTo>
                  <a:cubicBezTo>
                    <a:pt x="107" y="56"/>
                    <a:pt x="107" y="56"/>
                    <a:pt x="107" y="56"/>
                  </a:cubicBezTo>
                  <a:cubicBezTo>
                    <a:pt x="106" y="56"/>
                    <a:pt x="106" y="56"/>
                    <a:pt x="106" y="56"/>
                  </a:cubicBezTo>
                  <a:cubicBezTo>
                    <a:pt x="105" y="57"/>
                    <a:pt x="103" y="58"/>
                    <a:pt x="101" y="59"/>
                  </a:cubicBezTo>
                  <a:cubicBezTo>
                    <a:pt x="100" y="60"/>
                    <a:pt x="100" y="60"/>
                    <a:pt x="100" y="60"/>
                  </a:cubicBezTo>
                  <a:cubicBezTo>
                    <a:pt x="99" y="61"/>
                    <a:pt x="98" y="62"/>
                    <a:pt x="97" y="62"/>
                  </a:cubicBezTo>
                  <a:cubicBezTo>
                    <a:pt x="94" y="65"/>
                    <a:pt x="91" y="67"/>
                    <a:pt x="88" y="70"/>
                  </a:cubicBezTo>
                  <a:cubicBezTo>
                    <a:pt x="87" y="71"/>
                    <a:pt x="86" y="72"/>
                    <a:pt x="85" y="73"/>
                  </a:cubicBezTo>
                  <a:cubicBezTo>
                    <a:pt x="84" y="73"/>
                    <a:pt x="84" y="73"/>
                    <a:pt x="84" y="73"/>
                  </a:cubicBezTo>
                  <a:cubicBezTo>
                    <a:pt x="84" y="73"/>
                    <a:pt x="83" y="73"/>
                    <a:pt x="83" y="73"/>
                  </a:cubicBezTo>
                  <a:cubicBezTo>
                    <a:pt x="83" y="71"/>
                    <a:pt x="83" y="71"/>
                    <a:pt x="83" y="71"/>
                  </a:cubicBezTo>
                  <a:cubicBezTo>
                    <a:pt x="83" y="73"/>
                    <a:pt x="83" y="73"/>
                    <a:pt x="83" y="73"/>
                  </a:cubicBezTo>
                  <a:cubicBezTo>
                    <a:pt x="82" y="72"/>
                    <a:pt x="81" y="72"/>
                    <a:pt x="81" y="72"/>
                  </a:cubicBezTo>
                  <a:cubicBezTo>
                    <a:pt x="80" y="71"/>
                    <a:pt x="80" y="71"/>
                    <a:pt x="79" y="71"/>
                  </a:cubicBezTo>
                  <a:cubicBezTo>
                    <a:pt x="79" y="71"/>
                    <a:pt x="79" y="71"/>
                    <a:pt x="79" y="71"/>
                  </a:cubicBezTo>
                  <a:cubicBezTo>
                    <a:pt x="78" y="70"/>
                    <a:pt x="78" y="70"/>
                    <a:pt x="78" y="70"/>
                  </a:cubicBezTo>
                  <a:cubicBezTo>
                    <a:pt x="77" y="70"/>
                    <a:pt x="77" y="70"/>
                    <a:pt x="77" y="70"/>
                  </a:cubicBezTo>
                  <a:cubicBezTo>
                    <a:pt x="76" y="69"/>
                    <a:pt x="76" y="69"/>
                    <a:pt x="76" y="69"/>
                  </a:cubicBezTo>
                  <a:cubicBezTo>
                    <a:pt x="76" y="67"/>
                    <a:pt x="76" y="67"/>
                    <a:pt x="76" y="67"/>
                  </a:cubicBezTo>
                  <a:cubicBezTo>
                    <a:pt x="76" y="64"/>
                    <a:pt x="77" y="62"/>
                    <a:pt x="79" y="59"/>
                  </a:cubicBezTo>
                  <a:cubicBezTo>
                    <a:pt x="79" y="59"/>
                    <a:pt x="79" y="59"/>
                    <a:pt x="79" y="59"/>
                  </a:cubicBezTo>
                  <a:cubicBezTo>
                    <a:pt x="79" y="58"/>
                    <a:pt x="80" y="58"/>
                    <a:pt x="80" y="58"/>
                  </a:cubicBezTo>
                  <a:cubicBezTo>
                    <a:pt x="80" y="58"/>
                    <a:pt x="80" y="58"/>
                    <a:pt x="80" y="58"/>
                  </a:cubicBezTo>
                  <a:cubicBezTo>
                    <a:pt x="81" y="56"/>
                    <a:pt x="81" y="56"/>
                    <a:pt x="81" y="56"/>
                  </a:cubicBezTo>
                  <a:cubicBezTo>
                    <a:pt x="81" y="55"/>
                    <a:pt x="81" y="55"/>
                    <a:pt x="81" y="55"/>
                  </a:cubicBezTo>
                  <a:cubicBezTo>
                    <a:pt x="81" y="55"/>
                    <a:pt x="81" y="54"/>
                    <a:pt x="81" y="53"/>
                  </a:cubicBezTo>
                  <a:cubicBezTo>
                    <a:pt x="80" y="51"/>
                    <a:pt x="79" y="49"/>
                    <a:pt x="80" y="47"/>
                  </a:cubicBezTo>
                  <a:cubicBezTo>
                    <a:pt x="80" y="45"/>
                    <a:pt x="81" y="43"/>
                    <a:pt x="82" y="42"/>
                  </a:cubicBezTo>
                  <a:cubicBezTo>
                    <a:pt x="83" y="41"/>
                    <a:pt x="83" y="41"/>
                    <a:pt x="83" y="41"/>
                  </a:cubicBezTo>
                  <a:cubicBezTo>
                    <a:pt x="83" y="40"/>
                    <a:pt x="83" y="40"/>
                    <a:pt x="83" y="39"/>
                  </a:cubicBezTo>
                  <a:cubicBezTo>
                    <a:pt x="83" y="38"/>
                    <a:pt x="83" y="38"/>
                    <a:pt x="83" y="37"/>
                  </a:cubicBezTo>
                  <a:cubicBezTo>
                    <a:pt x="83" y="36"/>
                    <a:pt x="84" y="35"/>
                    <a:pt x="84" y="34"/>
                  </a:cubicBezTo>
                  <a:cubicBezTo>
                    <a:pt x="85" y="32"/>
                    <a:pt x="85" y="32"/>
                    <a:pt x="85" y="32"/>
                  </a:cubicBezTo>
                  <a:cubicBezTo>
                    <a:pt x="85" y="32"/>
                    <a:pt x="85" y="32"/>
                    <a:pt x="85" y="31"/>
                  </a:cubicBezTo>
                  <a:cubicBezTo>
                    <a:pt x="85" y="30"/>
                    <a:pt x="85" y="30"/>
                    <a:pt x="85" y="30"/>
                  </a:cubicBezTo>
                  <a:cubicBezTo>
                    <a:pt x="85" y="30"/>
                    <a:pt x="85" y="30"/>
                    <a:pt x="85" y="30"/>
                  </a:cubicBezTo>
                  <a:cubicBezTo>
                    <a:pt x="84" y="29"/>
                    <a:pt x="84" y="29"/>
                    <a:pt x="84" y="28"/>
                  </a:cubicBezTo>
                  <a:cubicBezTo>
                    <a:pt x="83" y="27"/>
                    <a:pt x="83" y="27"/>
                    <a:pt x="83" y="27"/>
                  </a:cubicBezTo>
                  <a:cubicBezTo>
                    <a:pt x="83" y="26"/>
                    <a:pt x="82" y="24"/>
                    <a:pt x="82" y="23"/>
                  </a:cubicBezTo>
                  <a:cubicBezTo>
                    <a:pt x="82" y="23"/>
                    <a:pt x="82" y="23"/>
                    <a:pt x="82" y="23"/>
                  </a:cubicBezTo>
                  <a:cubicBezTo>
                    <a:pt x="81" y="23"/>
                    <a:pt x="79" y="23"/>
                    <a:pt x="78" y="23"/>
                  </a:cubicBezTo>
                  <a:cubicBezTo>
                    <a:pt x="76" y="23"/>
                    <a:pt x="75" y="24"/>
                    <a:pt x="73" y="24"/>
                  </a:cubicBezTo>
                  <a:cubicBezTo>
                    <a:pt x="73" y="24"/>
                    <a:pt x="71" y="24"/>
                    <a:pt x="70" y="23"/>
                  </a:cubicBezTo>
                  <a:cubicBezTo>
                    <a:pt x="71" y="22"/>
                    <a:pt x="71" y="22"/>
                    <a:pt x="71" y="22"/>
                  </a:cubicBezTo>
                  <a:cubicBezTo>
                    <a:pt x="70" y="23"/>
                    <a:pt x="70" y="23"/>
                    <a:pt x="70" y="23"/>
                  </a:cubicBezTo>
                  <a:cubicBezTo>
                    <a:pt x="69" y="23"/>
                    <a:pt x="68" y="22"/>
                    <a:pt x="68" y="21"/>
                  </a:cubicBezTo>
                  <a:cubicBezTo>
                    <a:pt x="67" y="21"/>
                    <a:pt x="67" y="20"/>
                    <a:pt x="67" y="20"/>
                  </a:cubicBezTo>
                  <a:cubicBezTo>
                    <a:pt x="67" y="20"/>
                    <a:pt x="67" y="20"/>
                    <a:pt x="67" y="20"/>
                  </a:cubicBezTo>
                  <a:cubicBezTo>
                    <a:pt x="66" y="19"/>
                    <a:pt x="65" y="18"/>
                    <a:pt x="65" y="17"/>
                  </a:cubicBezTo>
                  <a:cubicBezTo>
                    <a:pt x="64" y="17"/>
                    <a:pt x="64" y="17"/>
                    <a:pt x="64" y="17"/>
                  </a:cubicBezTo>
                  <a:cubicBezTo>
                    <a:pt x="63" y="15"/>
                    <a:pt x="64" y="13"/>
                    <a:pt x="64" y="13"/>
                  </a:cubicBezTo>
                  <a:cubicBezTo>
                    <a:pt x="59" y="5"/>
                    <a:pt x="59" y="5"/>
                    <a:pt x="59" y="5"/>
                  </a:cubicBezTo>
                  <a:cubicBezTo>
                    <a:pt x="59" y="5"/>
                    <a:pt x="59" y="5"/>
                    <a:pt x="59" y="5"/>
                  </a:cubicBezTo>
                  <a:cubicBezTo>
                    <a:pt x="58" y="5"/>
                    <a:pt x="58" y="4"/>
                    <a:pt x="58" y="3"/>
                  </a:cubicBezTo>
                  <a:cubicBezTo>
                    <a:pt x="57" y="2"/>
                    <a:pt x="57" y="2"/>
                    <a:pt x="57" y="2"/>
                  </a:cubicBezTo>
                  <a:cubicBezTo>
                    <a:pt x="57" y="1"/>
                    <a:pt x="57" y="1"/>
                    <a:pt x="57" y="1"/>
                  </a:cubicBezTo>
                  <a:cubicBezTo>
                    <a:pt x="56" y="1"/>
                    <a:pt x="56" y="1"/>
                    <a:pt x="56" y="1"/>
                  </a:cubicBezTo>
                  <a:cubicBezTo>
                    <a:pt x="56" y="1"/>
                    <a:pt x="56" y="1"/>
                    <a:pt x="56" y="1"/>
                  </a:cubicBezTo>
                  <a:cubicBezTo>
                    <a:pt x="56" y="0"/>
                    <a:pt x="56" y="0"/>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1551"/>
            <p:cNvSpPr/>
            <p:nvPr/>
          </p:nvSpPr>
          <p:spPr bwMode="auto">
            <a:xfrm>
              <a:off x="2880652" y="3212213"/>
              <a:ext cx="542304" cy="640295"/>
            </a:xfrm>
            <a:custGeom>
              <a:gdLst>
                <a:gd name="T0" fmla="*/ 35 w 171"/>
                <a:gd name="T1" fmla="*/ 6 h 202"/>
                <a:gd name="T2" fmla="*/ 38 w 171"/>
                <a:gd name="T3" fmla="*/ 25 h 202"/>
                <a:gd name="T4" fmla="*/ 29 w 171"/>
                <a:gd name="T5" fmla="*/ 32 h 202"/>
                <a:gd name="T6" fmla="*/ 24 w 171"/>
                <a:gd name="T7" fmla="*/ 32 h 202"/>
                <a:gd name="T8" fmla="*/ 10 w 171"/>
                <a:gd name="T9" fmla="*/ 35 h 202"/>
                <a:gd name="T10" fmla="*/ 3 w 171"/>
                <a:gd name="T11" fmla="*/ 41 h 202"/>
                <a:gd name="T12" fmla="*/ 8 w 171"/>
                <a:gd name="T13" fmla="*/ 50 h 202"/>
                <a:gd name="T14" fmla="*/ 7 w 171"/>
                <a:gd name="T15" fmla="*/ 64 h 202"/>
                <a:gd name="T16" fmla="*/ 19 w 171"/>
                <a:gd name="T17" fmla="*/ 67 h 202"/>
                <a:gd name="T18" fmla="*/ 26 w 171"/>
                <a:gd name="T19" fmla="*/ 73 h 202"/>
                <a:gd name="T20" fmla="*/ 27 w 171"/>
                <a:gd name="T21" fmla="*/ 85 h 202"/>
                <a:gd name="T22" fmla="*/ 24 w 171"/>
                <a:gd name="T23" fmla="*/ 95 h 202"/>
                <a:gd name="T24" fmla="*/ 27 w 171"/>
                <a:gd name="T25" fmla="*/ 111 h 202"/>
                <a:gd name="T26" fmla="*/ 31 w 171"/>
                <a:gd name="T27" fmla="*/ 108 h 202"/>
                <a:gd name="T28" fmla="*/ 46 w 171"/>
                <a:gd name="T29" fmla="*/ 100 h 202"/>
                <a:gd name="T30" fmla="*/ 63 w 171"/>
                <a:gd name="T31" fmla="*/ 105 h 202"/>
                <a:gd name="T32" fmla="*/ 75 w 171"/>
                <a:gd name="T33" fmla="*/ 94 h 202"/>
                <a:gd name="T34" fmla="*/ 93 w 171"/>
                <a:gd name="T35" fmla="*/ 102 h 202"/>
                <a:gd name="T36" fmla="*/ 108 w 171"/>
                <a:gd name="T37" fmla="*/ 119 h 202"/>
                <a:gd name="T38" fmla="*/ 110 w 171"/>
                <a:gd name="T39" fmla="*/ 128 h 202"/>
                <a:gd name="T40" fmla="*/ 109 w 171"/>
                <a:gd name="T41" fmla="*/ 141 h 202"/>
                <a:gd name="T42" fmla="*/ 116 w 171"/>
                <a:gd name="T43" fmla="*/ 151 h 202"/>
                <a:gd name="T44" fmla="*/ 123 w 171"/>
                <a:gd name="T45" fmla="*/ 158 h 202"/>
                <a:gd name="T46" fmla="*/ 129 w 171"/>
                <a:gd name="T47" fmla="*/ 167 h 202"/>
                <a:gd name="T48" fmla="*/ 126 w 171"/>
                <a:gd name="T49" fmla="*/ 193 h 202"/>
                <a:gd name="T50" fmla="*/ 125 w 171"/>
                <a:gd name="T51" fmla="*/ 198 h 202"/>
                <a:gd name="T52" fmla="*/ 134 w 171"/>
                <a:gd name="T53" fmla="*/ 202 h 202"/>
                <a:gd name="T54" fmla="*/ 136 w 171"/>
                <a:gd name="T55" fmla="*/ 202 h 202"/>
                <a:gd name="T56" fmla="*/ 139 w 171"/>
                <a:gd name="T57" fmla="*/ 190 h 202"/>
                <a:gd name="T58" fmla="*/ 149 w 171"/>
                <a:gd name="T59" fmla="*/ 186 h 202"/>
                <a:gd name="T60" fmla="*/ 158 w 171"/>
                <a:gd name="T61" fmla="*/ 192 h 202"/>
                <a:gd name="T62" fmla="*/ 168 w 171"/>
                <a:gd name="T63" fmla="*/ 183 h 202"/>
                <a:gd name="T64" fmla="*/ 168 w 171"/>
                <a:gd name="T65" fmla="*/ 170 h 202"/>
                <a:gd name="T66" fmla="*/ 165 w 171"/>
                <a:gd name="T67" fmla="*/ 155 h 202"/>
                <a:gd name="T68" fmla="*/ 159 w 171"/>
                <a:gd name="T69" fmla="*/ 151 h 202"/>
                <a:gd name="T70" fmla="*/ 154 w 171"/>
                <a:gd name="T71" fmla="*/ 146 h 202"/>
                <a:gd name="T72" fmla="*/ 147 w 171"/>
                <a:gd name="T73" fmla="*/ 145 h 202"/>
                <a:gd name="T74" fmla="*/ 145 w 171"/>
                <a:gd name="T75" fmla="*/ 139 h 202"/>
                <a:gd name="T76" fmla="*/ 142 w 171"/>
                <a:gd name="T77" fmla="*/ 131 h 202"/>
                <a:gd name="T78" fmla="*/ 135 w 171"/>
                <a:gd name="T79" fmla="*/ 123 h 202"/>
                <a:gd name="T80" fmla="*/ 122 w 171"/>
                <a:gd name="T81" fmla="*/ 108 h 202"/>
                <a:gd name="T82" fmla="*/ 112 w 171"/>
                <a:gd name="T83" fmla="*/ 93 h 202"/>
                <a:gd name="T84" fmla="*/ 85 w 171"/>
                <a:gd name="T85" fmla="*/ 71 h 202"/>
                <a:gd name="T86" fmla="*/ 87 w 171"/>
                <a:gd name="T87" fmla="*/ 63 h 202"/>
                <a:gd name="T88" fmla="*/ 95 w 171"/>
                <a:gd name="T89" fmla="*/ 63 h 202"/>
                <a:gd name="T90" fmla="*/ 102 w 171"/>
                <a:gd name="T91" fmla="*/ 63 h 202"/>
                <a:gd name="T92" fmla="*/ 105 w 171"/>
                <a:gd name="T93" fmla="*/ 53 h 202"/>
                <a:gd name="T94" fmla="*/ 96 w 171"/>
                <a:gd name="T95" fmla="*/ 44 h 202"/>
                <a:gd name="T96" fmla="*/ 94 w 171"/>
                <a:gd name="T97" fmla="*/ 45 h 202"/>
                <a:gd name="T98" fmla="*/ 93 w 171"/>
                <a:gd name="T99" fmla="*/ 39 h 202"/>
                <a:gd name="T100" fmla="*/ 86 w 171"/>
                <a:gd name="T101" fmla="*/ 41 h 202"/>
                <a:gd name="T102" fmla="*/ 81 w 171"/>
                <a:gd name="T103" fmla="*/ 45 h 202"/>
                <a:gd name="T104" fmla="*/ 75 w 171"/>
                <a:gd name="T105" fmla="*/ 43 h 202"/>
                <a:gd name="T106" fmla="*/ 61 w 171"/>
                <a:gd name="T107" fmla="*/ 31 h 202"/>
                <a:gd name="T108" fmla="*/ 60 w 171"/>
                <a:gd name="T109" fmla="*/ 26 h 202"/>
                <a:gd name="T110" fmla="*/ 61 w 171"/>
                <a:gd name="T111" fmla="*/ 20 h 202"/>
                <a:gd name="T112" fmla="*/ 54 w 171"/>
                <a:gd name="T113" fmla="*/ 16 h 202"/>
                <a:gd name="T114" fmla="*/ 43 w 171"/>
                <a:gd name="T115" fmla="*/ 2 h 2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 h="201">
                  <a:moveTo>
                    <a:pt x="36" y="0"/>
                  </a:moveTo>
                  <a:cubicBezTo>
                    <a:pt x="35" y="0"/>
                    <a:pt x="35" y="0"/>
                    <a:pt x="35" y="0"/>
                  </a:cubicBezTo>
                  <a:cubicBezTo>
                    <a:pt x="35" y="1"/>
                    <a:pt x="35" y="1"/>
                    <a:pt x="35" y="1"/>
                  </a:cubicBezTo>
                  <a:cubicBezTo>
                    <a:pt x="34" y="2"/>
                    <a:pt x="34" y="3"/>
                    <a:pt x="34" y="3"/>
                  </a:cubicBezTo>
                  <a:cubicBezTo>
                    <a:pt x="34" y="4"/>
                    <a:pt x="34" y="4"/>
                    <a:pt x="34" y="4"/>
                  </a:cubicBezTo>
                  <a:cubicBezTo>
                    <a:pt x="34" y="4"/>
                    <a:pt x="34" y="5"/>
                    <a:pt x="35" y="6"/>
                  </a:cubicBezTo>
                  <a:cubicBezTo>
                    <a:pt x="35" y="7"/>
                    <a:pt x="35" y="7"/>
                    <a:pt x="35" y="7"/>
                  </a:cubicBezTo>
                  <a:cubicBezTo>
                    <a:pt x="36" y="7"/>
                    <a:pt x="36" y="8"/>
                    <a:pt x="37" y="9"/>
                  </a:cubicBezTo>
                  <a:cubicBezTo>
                    <a:pt x="38" y="12"/>
                    <a:pt x="39" y="14"/>
                    <a:pt x="38" y="18"/>
                  </a:cubicBezTo>
                  <a:cubicBezTo>
                    <a:pt x="38" y="19"/>
                    <a:pt x="38" y="19"/>
                    <a:pt x="38" y="19"/>
                  </a:cubicBezTo>
                  <a:cubicBezTo>
                    <a:pt x="38" y="23"/>
                    <a:pt x="38" y="24"/>
                    <a:pt x="38" y="24"/>
                  </a:cubicBezTo>
                  <a:cubicBezTo>
                    <a:pt x="38" y="25"/>
                    <a:pt x="38" y="25"/>
                    <a:pt x="38" y="25"/>
                  </a:cubicBezTo>
                  <a:cubicBezTo>
                    <a:pt x="38" y="25"/>
                    <a:pt x="38" y="25"/>
                    <a:pt x="39" y="25"/>
                  </a:cubicBezTo>
                  <a:cubicBezTo>
                    <a:pt x="43" y="27"/>
                    <a:pt x="43" y="27"/>
                    <a:pt x="43" y="27"/>
                  </a:cubicBezTo>
                  <a:cubicBezTo>
                    <a:pt x="39" y="30"/>
                    <a:pt x="39" y="30"/>
                    <a:pt x="39" y="30"/>
                  </a:cubicBezTo>
                  <a:cubicBezTo>
                    <a:pt x="37" y="32"/>
                    <a:pt x="36" y="33"/>
                    <a:pt x="34" y="33"/>
                  </a:cubicBezTo>
                  <a:cubicBezTo>
                    <a:pt x="33" y="33"/>
                    <a:pt x="32" y="32"/>
                    <a:pt x="31" y="32"/>
                  </a:cubicBezTo>
                  <a:cubicBezTo>
                    <a:pt x="29" y="32"/>
                    <a:pt x="29" y="32"/>
                    <a:pt x="29" y="32"/>
                  </a:cubicBezTo>
                  <a:cubicBezTo>
                    <a:pt x="29" y="31"/>
                    <a:pt x="28" y="31"/>
                    <a:pt x="28" y="31"/>
                  </a:cubicBezTo>
                  <a:cubicBezTo>
                    <a:pt x="28" y="31"/>
                    <a:pt x="28" y="31"/>
                    <a:pt x="28" y="31"/>
                  </a:cubicBezTo>
                  <a:cubicBezTo>
                    <a:pt x="27" y="31"/>
                    <a:pt x="27" y="31"/>
                    <a:pt x="27" y="31"/>
                  </a:cubicBezTo>
                  <a:cubicBezTo>
                    <a:pt x="26" y="32"/>
                    <a:pt x="26" y="32"/>
                    <a:pt x="26" y="32"/>
                  </a:cubicBezTo>
                  <a:cubicBezTo>
                    <a:pt x="25" y="32"/>
                    <a:pt x="25" y="32"/>
                    <a:pt x="25" y="32"/>
                  </a:cubicBezTo>
                  <a:cubicBezTo>
                    <a:pt x="24" y="32"/>
                    <a:pt x="24" y="32"/>
                    <a:pt x="24" y="32"/>
                  </a:cubicBezTo>
                  <a:cubicBezTo>
                    <a:pt x="21" y="31"/>
                    <a:pt x="20" y="28"/>
                    <a:pt x="19" y="24"/>
                  </a:cubicBezTo>
                  <a:cubicBezTo>
                    <a:pt x="18" y="25"/>
                    <a:pt x="18" y="25"/>
                    <a:pt x="18" y="25"/>
                  </a:cubicBezTo>
                  <a:cubicBezTo>
                    <a:pt x="17" y="25"/>
                    <a:pt x="15" y="26"/>
                    <a:pt x="14" y="28"/>
                  </a:cubicBezTo>
                  <a:cubicBezTo>
                    <a:pt x="13" y="28"/>
                    <a:pt x="13" y="29"/>
                    <a:pt x="12" y="30"/>
                  </a:cubicBezTo>
                  <a:cubicBezTo>
                    <a:pt x="10" y="34"/>
                    <a:pt x="10" y="34"/>
                    <a:pt x="10" y="34"/>
                  </a:cubicBezTo>
                  <a:cubicBezTo>
                    <a:pt x="10" y="34"/>
                    <a:pt x="10" y="34"/>
                    <a:pt x="10" y="35"/>
                  </a:cubicBezTo>
                  <a:cubicBezTo>
                    <a:pt x="11" y="35"/>
                    <a:pt x="11" y="35"/>
                    <a:pt x="11" y="35"/>
                  </a:cubicBezTo>
                  <a:cubicBezTo>
                    <a:pt x="11" y="36"/>
                    <a:pt x="11" y="36"/>
                    <a:pt x="11" y="36"/>
                  </a:cubicBezTo>
                  <a:cubicBezTo>
                    <a:pt x="13" y="40"/>
                    <a:pt x="13" y="40"/>
                    <a:pt x="13" y="40"/>
                  </a:cubicBezTo>
                  <a:cubicBezTo>
                    <a:pt x="9" y="40"/>
                    <a:pt x="9" y="40"/>
                    <a:pt x="9" y="40"/>
                  </a:cubicBezTo>
                  <a:cubicBezTo>
                    <a:pt x="8" y="41"/>
                    <a:pt x="7" y="41"/>
                    <a:pt x="6" y="41"/>
                  </a:cubicBezTo>
                  <a:cubicBezTo>
                    <a:pt x="5" y="41"/>
                    <a:pt x="4" y="41"/>
                    <a:pt x="3" y="41"/>
                  </a:cubicBezTo>
                  <a:cubicBezTo>
                    <a:pt x="3" y="42"/>
                    <a:pt x="3" y="42"/>
                    <a:pt x="3" y="42"/>
                  </a:cubicBezTo>
                  <a:cubicBezTo>
                    <a:pt x="1" y="43"/>
                    <a:pt x="1" y="45"/>
                    <a:pt x="0" y="46"/>
                  </a:cubicBezTo>
                  <a:cubicBezTo>
                    <a:pt x="1" y="46"/>
                    <a:pt x="1" y="46"/>
                    <a:pt x="1" y="46"/>
                  </a:cubicBezTo>
                  <a:cubicBezTo>
                    <a:pt x="1" y="46"/>
                    <a:pt x="1" y="46"/>
                    <a:pt x="1" y="46"/>
                  </a:cubicBezTo>
                  <a:cubicBezTo>
                    <a:pt x="3" y="46"/>
                    <a:pt x="5" y="48"/>
                    <a:pt x="6" y="49"/>
                  </a:cubicBezTo>
                  <a:cubicBezTo>
                    <a:pt x="8" y="50"/>
                    <a:pt x="8" y="50"/>
                    <a:pt x="8" y="50"/>
                  </a:cubicBezTo>
                  <a:cubicBezTo>
                    <a:pt x="8" y="51"/>
                    <a:pt x="8" y="51"/>
                    <a:pt x="9" y="51"/>
                  </a:cubicBezTo>
                  <a:cubicBezTo>
                    <a:pt x="10" y="53"/>
                    <a:pt x="10" y="55"/>
                    <a:pt x="10" y="58"/>
                  </a:cubicBezTo>
                  <a:cubicBezTo>
                    <a:pt x="10" y="59"/>
                    <a:pt x="9" y="61"/>
                    <a:pt x="9" y="62"/>
                  </a:cubicBezTo>
                  <a:cubicBezTo>
                    <a:pt x="8" y="63"/>
                    <a:pt x="8" y="63"/>
                    <a:pt x="8" y="63"/>
                  </a:cubicBezTo>
                  <a:cubicBezTo>
                    <a:pt x="8" y="63"/>
                    <a:pt x="8" y="63"/>
                    <a:pt x="8" y="63"/>
                  </a:cubicBezTo>
                  <a:cubicBezTo>
                    <a:pt x="8" y="63"/>
                    <a:pt x="8" y="64"/>
                    <a:pt x="7" y="64"/>
                  </a:cubicBezTo>
                  <a:cubicBezTo>
                    <a:pt x="7" y="64"/>
                    <a:pt x="7" y="64"/>
                    <a:pt x="7" y="64"/>
                  </a:cubicBezTo>
                  <a:cubicBezTo>
                    <a:pt x="7" y="65"/>
                    <a:pt x="7" y="65"/>
                    <a:pt x="7" y="65"/>
                  </a:cubicBezTo>
                  <a:cubicBezTo>
                    <a:pt x="7" y="65"/>
                    <a:pt x="8" y="66"/>
                    <a:pt x="8" y="66"/>
                  </a:cubicBezTo>
                  <a:cubicBezTo>
                    <a:pt x="8" y="67"/>
                    <a:pt x="9" y="67"/>
                    <a:pt x="9" y="68"/>
                  </a:cubicBezTo>
                  <a:cubicBezTo>
                    <a:pt x="10" y="68"/>
                    <a:pt x="10" y="68"/>
                    <a:pt x="10" y="68"/>
                  </a:cubicBezTo>
                  <a:cubicBezTo>
                    <a:pt x="13" y="68"/>
                    <a:pt x="16" y="67"/>
                    <a:pt x="19" y="67"/>
                  </a:cubicBezTo>
                  <a:cubicBezTo>
                    <a:pt x="21" y="66"/>
                    <a:pt x="23" y="66"/>
                    <a:pt x="24" y="66"/>
                  </a:cubicBezTo>
                  <a:cubicBezTo>
                    <a:pt x="26" y="66"/>
                    <a:pt x="26" y="66"/>
                    <a:pt x="26" y="66"/>
                  </a:cubicBezTo>
                  <a:cubicBezTo>
                    <a:pt x="27" y="68"/>
                    <a:pt x="27" y="68"/>
                    <a:pt x="27" y="68"/>
                  </a:cubicBezTo>
                  <a:cubicBezTo>
                    <a:pt x="27" y="69"/>
                    <a:pt x="27" y="70"/>
                    <a:pt x="27" y="70"/>
                  </a:cubicBezTo>
                  <a:cubicBezTo>
                    <a:pt x="27" y="71"/>
                    <a:pt x="26" y="72"/>
                    <a:pt x="26" y="72"/>
                  </a:cubicBezTo>
                  <a:cubicBezTo>
                    <a:pt x="26" y="73"/>
                    <a:pt x="26" y="73"/>
                    <a:pt x="26" y="73"/>
                  </a:cubicBezTo>
                  <a:cubicBezTo>
                    <a:pt x="25" y="73"/>
                    <a:pt x="25" y="73"/>
                    <a:pt x="25" y="73"/>
                  </a:cubicBezTo>
                  <a:cubicBezTo>
                    <a:pt x="25" y="74"/>
                    <a:pt x="26" y="74"/>
                    <a:pt x="26" y="75"/>
                  </a:cubicBezTo>
                  <a:cubicBezTo>
                    <a:pt x="26" y="76"/>
                    <a:pt x="26" y="76"/>
                    <a:pt x="26" y="76"/>
                  </a:cubicBezTo>
                  <a:cubicBezTo>
                    <a:pt x="26" y="76"/>
                    <a:pt x="27" y="77"/>
                    <a:pt x="27" y="77"/>
                  </a:cubicBezTo>
                  <a:cubicBezTo>
                    <a:pt x="28" y="79"/>
                    <a:pt x="29" y="81"/>
                    <a:pt x="28" y="83"/>
                  </a:cubicBezTo>
                  <a:cubicBezTo>
                    <a:pt x="28" y="84"/>
                    <a:pt x="27" y="85"/>
                    <a:pt x="27" y="85"/>
                  </a:cubicBezTo>
                  <a:cubicBezTo>
                    <a:pt x="26" y="86"/>
                    <a:pt x="26" y="86"/>
                    <a:pt x="26" y="86"/>
                  </a:cubicBezTo>
                  <a:cubicBezTo>
                    <a:pt x="26" y="86"/>
                    <a:pt x="26" y="87"/>
                    <a:pt x="26" y="87"/>
                  </a:cubicBezTo>
                  <a:cubicBezTo>
                    <a:pt x="26" y="88"/>
                    <a:pt x="26" y="88"/>
                    <a:pt x="26" y="88"/>
                  </a:cubicBezTo>
                  <a:cubicBezTo>
                    <a:pt x="26" y="89"/>
                    <a:pt x="26" y="89"/>
                    <a:pt x="26" y="89"/>
                  </a:cubicBezTo>
                  <a:cubicBezTo>
                    <a:pt x="26" y="90"/>
                    <a:pt x="26" y="91"/>
                    <a:pt x="25" y="93"/>
                  </a:cubicBezTo>
                  <a:cubicBezTo>
                    <a:pt x="25" y="94"/>
                    <a:pt x="24" y="94"/>
                    <a:pt x="24" y="95"/>
                  </a:cubicBezTo>
                  <a:cubicBezTo>
                    <a:pt x="23" y="96"/>
                    <a:pt x="23" y="96"/>
                    <a:pt x="23" y="96"/>
                  </a:cubicBezTo>
                  <a:cubicBezTo>
                    <a:pt x="23" y="97"/>
                    <a:pt x="22" y="97"/>
                    <a:pt x="22" y="98"/>
                  </a:cubicBezTo>
                  <a:cubicBezTo>
                    <a:pt x="22" y="99"/>
                    <a:pt x="23" y="100"/>
                    <a:pt x="23" y="101"/>
                  </a:cubicBezTo>
                  <a:cubicBezTo>
                    <a:pt x="24" y="102"/>
                    <a:pt x="24" y="104"/>
                    <a:pt x="24" y="106"/>
                  </a:cubicBezTo>
                  <a:cubicBezTo>
                    <a:pt x="24" y="107"/>
                    <a:pt x="23" y="108"/>
                    <a:pt x="23" y="109"/>
                  </a:cubicBezTo>
                  <a:cubicBezTo>
                    <a:pt x="27" y="111"/>
                    <a:pt x="27" y="111"/>
                    <a:pt x="27" y="111"/>
                  </a:cubicBezTo>
                  <a:cubicBezTo>
                    <a:pt x="22" y="110"/>
                    <a:pt x="22" y="110"/>
                    <a:pt x="22" y="110"/>
                  </a:cubicBezTo>
                  <a:cubicBezTo>
                    <a:pt x="21" y="112"/>
                    <a:pt x="21" y="112"/>
                    <a:pt x="21" y="112"/>
                  </a:cubicBezTo>
                  <a:cubicBezTo>
                    <a:pt x="20" y="114"/>
                    <a:pt x="19" y="115"/>
                    <a:pt x="19" y="116"/>
                  </a:cubicBezTo>
                  <a:cubicBezTo>
                    <a:pt x="20" y="116"/>
                    <a:pt x="20" y="116"/>
                    <a:pt x="21" y="117"/>
                  </a:cubicBezTo>
                  <a:cubicBezTo>
                    <a:pt x="21" y="116"/>
                    <a:pt x="21" y="116"/>
                    <a:pt x="21" y="116"/>
                  </a:cubicBezTo>
                  <a:cubicBezTo>
                    <a:pt x="25" y="113"/>
                    <a:pt x="28" y="110"/>
                    <a:pt x="31" y="108"/>
                  </a:cubicBezTo>
                  <a:cubicBezTo>
                    <a:pt x="31" y="107"/>
                    <a:pt x="32" y="107"/>
                    <a:pt x="33" y="106"/>
                  </a:cubicBezTo>
                  <a:cubicBezTo>
                    <a:pt x="35" y="104"/>
                    <a:pt x="35" y="104"/>
                    <a:pt x="35" y="104"/>
                  </a:cubicBezTo>
                  <a:cubicBezTo>
                    <a:pt x="37" y="103"/>
                    <a:pt x="39" y="102"/>
                    <a:pt x="40" y="101"/>
                  </a:cubicBezTo>
                  <a:cubicBezTo>
                    <a:pt x="41" y="100"/>
                    <a:pt x="42" y="100"/>
                    <a:pt x="43" y="100"/>
                  </a:cubicBezTo>
                  <a:cubicBezTo>
                    <a:pt x="43" y="100"/>
                    <a:pt x="43" y="100"/>
                    <a:pt x="43" y="100"/>
                  </a:cubicBezTo>
                  <a:cubicBezTo>
                    <a:pt x="44" y="100"/>
                    <a:pt x="45" y="100"/>
                    <a:pt x="46" y="100"/>
                  </a:cubicBezTo>
                  <a:cubicBezTo>
                    <a:pt x="46" y="100"/>
                    <a:pt x="46" y="100"/>
                    <a:pt x="46" y="100"/>
                  </a:cubicBezTo>
                  <a:cubicBezTo>
                    <a:pt x="49" y="102"/>
                    <a:pt x="49" y="102"/>
                    <a:pt x="49" y="102"/>
                  </a:cubicBezTo>
                  <a:cubicBezTo>
                    <a:pt x="51" y="104"/>
                    <a:pt x="53" y="106"/>
                    <a:pt x="56" y="108"/>
                  </a:cubicBezTo>
                  <a:cubicBezTo>
                    <a:pt x="57" y="107"/>
                    <a:pt x="57" y="107"/>
                    <a:pt x="57" y="107"/>
                  </a:cubicBezTo>
                  <a:cubicBezTo>
                    <a:pt x="58" y="106"/>
                    <a:pt x="58" y="106"/>
                    <a:pt x="59" y="105"/>
                  </a:cubicBezTo>
                  <a:cubicBezTo>
                    <a:pt x="61" y="105"/>
                    <a:pt x="62" y="105"/>
                    <a:pt x="63" y="105"/>
                  </a:cubicBezTo>
                  <a:cubicBezTo>
                    <a:pt x="64" y="105"/>
                    <a:pt x="64" y="105"/>
                    <a:pt x="64" y="105"/>
                  </a:cubicBezTo>
                  <a:cubicBezTo>
                    <a:pt x="64" y="104"/>
                    <a:pt x="64" y="104"/>
                    <a:pt x="64" y="104"/>
                  </a:cubicBezTo>
                  <a:cubicBezTo>
                    <a:pt x="64" y="104"/>
                    <a:pt x="64" y="102"/>
                    <a:pt x="65" y="101"/>
                  </a:cubicBezTo>
                  <a:cubicBezTo>
                    <a:pt x="67" y="100"/>
                    <a:pt x="68" y="98"/>
                    <a:pt x="69" y="97"/>
                  </a:cubicBezTo>
                  <a:cubicBezTo>
                    <a:pt x="70" y="97"/>
                    <a:pt x="70" y="97"/>
                    <a:pt x="70" y="97"/>
                  </a:cubicBezTo>
                  <a:cubicBezTo>
                    <a:pt x="72" y="95"/>
                    <a:pt x="73" y="94"/>
                    <a:pt x="75" y="94"/>
                  </a:cubicBezTo>
                  <a:cubicBezTo>
                    <a:pt x="76" y="94"/>
                    <a:pt x="76" y="94"/>
                    <a:pt x="76" y="94"/>
                  </a:cubicBezTo>
                  <a:cubicBezTo>
                    <a:pt x="76" y="94"/>
                    <a:pt x="77" y="94"/>
                    <a:pt x="78" y="94"/>
                  </a:cubicBezTo>
                  <a:cubicBezTo>
                    <a:pt x="80" y="95"/>
                    <a:pt x="80" y="95"/>
                    <a:pt x="80" y="95"/>
                  </a:cubicBezTo>
                  <a:cubicBezTo>
                    <a:pt x="81" y="95"/>
                    <a:pt x="82" y="95"/>
                    <a:pt x="83" y="95"/>
                  </a:cubicBezTo>
                  <a:cubicBezTo>
                    <a:pt x="87" y="96"/>
                    <a:pt x="90" y="97"/>
                    <a:pt x="92" y="101"/>
                  </a:cubicBezTo>
                  <a:cubicBezTo>
                    <a:pt x="93" y="102"/>
                    <a:pt x="93" y="102"/>
                    <a:pt x="93" y="102"/>
                  </a:cubicBezTo>
                  <a:cubicBezTo>
                    <a:pt x="96" y="99"/>
                    <a:pt x="96" y="99"/>
                    <a:pt x="96" y="99"/>
                  </a:cubicBezTo>
                  <a:cubicBezTo>
                    <a:pt x="93" y="103"/>
                    <a:pt x="93" y="103"/>
                    <a:pt x="93" y="103"/>
                  </a:cubicBezTo>
                  <a:cubicBezTo>
                    <a:pt x="95" y="105"/>
                    <a:pt x="95" y="105"/>
                    <a:pt x="95" y="105"/>
                  </a:cubicBezTo>
                  <a:cubicBezTo>
                    <a:pt x="95" y="105"/>
                    <a:pt x="95" y="106"/>
                    <a:pt x="96" y="106"/>
                  </a:cubicBezTo>
                  <a:cubicBezTo>
                    <a:pt x="97" y="110"/>
                    <a:pt x="101" y="113"/>
                    <a:pt x="104" y="115"/>
                  </a:cubicBezTo>
                  <a:cubicBezTo>
                    <a:pt x="105" y="117"/>
                    <a:pt x="107" y="118"/>
                    <a:pt x="108" y="119"/>
                  </a:cubicBezTo>
                  <a:cubicBezTo>
                    <a:pt x="109" y="121"/>
                    <a:pt x="110" y="122"/>
                    <a:pt x="110" y="123"/>
                  </a:cubicBezTo>
                  <a:cubicBezTo>
                    <a:pt x="115" y="122"/>
                    <a:pt x="115" y="122"/>
                    <a:pt x="115" y="122"/>
                  </a:cubicBezTo>
                  <a:cubicBezTo>
                    <a:pt x="110" y="124"/>
                    <a:pt x="110" y="124"/>
                    <a:pt x="110" y="124"/>
                  </a:cubicBezTo>
                  <a:cubicBezTo>
                    <a:pt x="110" y="125"/>
                    <a:pt x="110" y="125"/>
                    <a:pt x="110" y="125"/>
                  </a:cubicBezTo>
                  <a:cubicBezTo>
                    <a:pt x="110" y="126"/>
                    <a:pt x="110" y="126"/>
                    <a:pt x="110" y="126"/>
                  </a:cubicBezTo>
                  <a:cubicBezTo>
                    <a:pt x="110" y="127"/>
                    <a:pt x="110" y="127"/>
                    <a:pt x="110" y="128"/>
                  </a:cubicBezTo>
                  <a:cubicBezTo>
                    <a:pt x="110" y="128"/>
                    <a:pt x="110" y="128"/>
                    <a:pt x="110" y="128"/>
                  </a:cubicBezTo>
                  <a:cubicBezTo>
                    <a:pt x="109" y="129"/>
                    <a:pt x="109" y="130"/>
                    <a:pt x="109" y="131"/>
                  </a:cubicBezTo>
                  <a:cubicBezTo>
                    <a:pt x="109" y="132"/>
                    <a:pt x="109" y="132"/>
                    <a:pt x="109" y="132"/>
                  </a:cubicBezTo>
                  <a:cubicBezTo>
                    <a:pt x="108" y="134"/>
                    <a:pt x="108" y="137"/>
                    <a:pt x="108" y="139"/>
                  </a:cubicBezTo>
                  <a:cubicBezTo>
                    <a:pt x="108" y="140"/>
                    <a:pt x="108" y="140"/>
                    <a:pt x="108" y="140"/>
                  </a:cubicBezTo>
                  <a:cubicBezTo>
                    <a:pt x="108" y="140"/>
                    <a:pt x="108" y="141"/>
                    <a:pt x="109" y="141"/>
                  </a:cubicBezTo>
                  <a:cubicBezTo>
                    <a:pt x="109" y="141"/>
                    <a:pt x="109" y="142"/>
                    <a:pt x="109" y="142"/>
                  </a:cubicBezTo>
                  <a:cubicBezTo>
                    <a:pt x="110" y="143"/>
                    <a:pt x="110" y="143"/>
                    <a:pt x="110" y="143"/>
                  </a:cubicBezTo>
                  <a:cubicBezTo>
                    <a:pt x="111" y="144"/>
                    <a:pt x="111" y="145"/>
                    <a:pt x="112" y="146"/>
                  </a:cubicBezTo>
                  <a:cubicBezTo>
                    <a:pt x="113" y="147"/>
                    <a:pt x="114" y="148"/>
                    <a:pt x="115" y="149"/>
                  </a:cubicBezTo>
                  <a:cubicBezTo>
                    <a:pt x="115" y="149"/>
                    <a:pt x="115" y="149"/>
                    <a:pt x="115" y="149"/>
                  </a:cubicBezTo>
                  <a:cubicBezTo>
                    <a:pt x="115" y="150"/>
                    <a:pt x="116" y="151"/>
                    <a:pt x="116" y="151"/>
                  </a:cubicBezTo>
                  <a:cubicBezTo>
                    <a:pt x="116" y="151"/>
                    <a:pt x="118" y="152"/>
                    <a:pt x="120" y="152"/>
                  </a:cubicBezTo>
                  <a:cubicBezTo>
                    <a:pt x="120" y="152"/>
                    <a:pt x="120" y="152"/>
                    <a:pt x="120" y="152"/>
                  </a:cubicBezTo>
                  <a:cubicBezTo>
                    <a:pt x="121" y="152"/>
                    <a:pt x="122" y="152"/>
                    <a:pt x="122" y="153"/>
                  </a:cubicBezTo>
                  <a:cubicBezTo>
                    <a:pt x="129" y="154"/>
                    <a:pt x="129" y="154"/>
                    <a:pt x="129" y="154"/>
                  </a:cubicBezTo>
                  <a:cubicBezTo>
                    <a:pt x="123" y="158"/>
                    <a:pt x="123" y="158"/>
                    <a:pt x="123" y="158"/>
                  </a:cubicBezTo>
                  <a:cubicBezTo>
                    <a:pt x="123" y="158"/>
                    <a:pt x="123" y="158"/>
                    <a:pt x="123" y="158"/>
                  </a:cubicBezTo>
                  <a:cubicBezTo>
                    <a:pt x="124" y="159"/>
                    <a:pt x="124" y="159"/>
                    <a:pt x="124" y="159"/>
                  </a:cubicBezTo>
                  <a:cubicBezTo>
                    <a:pt x="124" y="159"/>
                    <a:pt x="125" y="159"/>
                    <a:pt x="125" y="160"/>
                  </a:cubicBezTo>
                  <a:cubicBezTo>
                    <a:pt x="126" y="160"/>
                    <a:pt x="126" y="160"/>
                    <a:pt x="126" y="160"/>
                  </a:cubicBezTo>
                  <a:cubicBezTo>
                    <a:pt x="126" y="160"/>
                    <a:pt x="127" y="161"/>
                    <a:pt x="127" y="161"/>
                  </a:cubicBezTo>
                  <a:cubicBezTo>
                    <a:pt x="128" y="162"/>
                    <a:pt x="128" y="162"/>
                    <a:pt x="128" y="163"/>
                  </a:cubicBezTo>
                  <a:cubicBezTo>
                    <a:pt x="129" y="164"/>
                    <a:pt x="129" y="166"/>
                    <a:pt x="129" y="167"/>
                  </a:cubicBezTo>
                  <a:cubicBezTo>
                    <a:pt x="128" y="170"/>
                    <a:pt x="127" y="171"/>
                    <a:pt x="126" y="172"/>
                  </a:cubicBezTo>
                  <a:cubicBezTo>
                    <a:pt x="126" y="172"/>
                    <a:pt x="126" y="172"/>
                    <a:pt x="125" y="172"/>
                  </a:cubicBezTo>
                  <a:cubicBezTo>
                    <a:pt x="125" y="172"/>
                    <a:pt x="125" y="173"/>
                    <a:pt x="125" y="174"/>
                  </a:cubicBezTo>
                  <a:cubicBezTo>
                    <a:pt x="125" y="176"/>
                    <a:pt x="126" y="179"/>
                    <a:pt x="126" y="181"/>
                  </a:cubicBezTo>
                  <a:cubicBezTo>
                    <a:pt x="127" y="184"/>
                    <a:pt x="128" y="188"/>
                    <a:pt x="127" y="192"/>
                  </a:cubicBezTo>
                  <a:cubicBezTo>
                    <a:pt x="126" y="192"/>
                    <a:pt x="126" y="192"/>
                    <a:pt x="126" y="193"/>
                  </a:cubicBezTo>
                  <a:cubicBezTo>
                    <a:pt x="125" y="194"/>
                    <a:pt x="125" y="194"/>
                    <a:pt x="124" y="195"/>
                  </a:cubicBezTo>
                  <a:cubicBezTo>
                    <a:pt x="123" y="195"/>
                    <a:pt x="122" y="196"/>
                    <a:pt x="122" y="196"/>
                  </a:cubicBezTo>
                  <a:cubicBezTo>
                    <a:pt x="121" y="196"/>
                    <a:pt x="121" y="196"/>
                    <a:pt x="121" y="196"/>
                  </a:cubicBezTo>
                  <a:cubicBezTo>
                    <a:pt x="122" y="197"/>
                    <a:pt x="122" y="198"/>
                    <a:pt x="123" y="198"/>
                  </a:cubicBezTo>
                  <a:cubicBezTo>
                    <a:pt x="123" y="198"/>
                    <a:pt x="123" y="198"/>
                    <a:pt x="123" y="198"/>
                  </a:cubicBezTo>
                  <a:cubicBezTo>
                    <a:pt x="123" y="198"/>
                    <a:pt x="124" y="198"/>
                    <a:pt x="125" y="198"/>
                  </a:cubicBezTo>
                  <a:cubicBezTo>
                    <a:pt x="125" y="198"/>
                    <a:pt x="126" y="198"/>
                    <a:pt x="127" y="198"/>
                  </a:cubicBezTo>
                  <a:cubicBezTo>
                    <a:pt x="127" y="198"/>
                    <a:pt x="127" y="198"/>
                    <a:pt x="127" y="198"/>
                  </a:cubicBezTo>
                  <a:cubicBezTo>
                    <a:pt x="127" y="198"/>
                    <a:pt x="128" y="198"/>
                    <a:pt x="128" y="198"/>
                  </a:cubicBezTo>
                  <a:cubicBezTo>
                    <a:pt x="130" y="198"/>
                    <a:pt x="131" y="199"/>
                    <a:pt x="132" y="200"/>
                  </a:cubicBezTo>
                  <a:cubicBezTo>
                    <a:pt x="133" y="201"/>
                    <a:pt x="133" y="201"/>
                    <a:pt x="133" y="201"/>
                  </a:cubicBezTo>
                  <a:cubicBezTo>
                    <a:pt x="133" y="201"/>
                    <a:pt x="134" y="202"/>
                    <a:pt x="134" y="202"/>
                  </a:cubicBezTo>
                  <a:cubicBezTo>
                    <a:pt x="134" y="202"/>
                    <a:pt x="134" y="202"/>
                    <a:pt x="134" y="202"/>
                  </a:cubicBezTo>
                  <a:cubicBezTo>
                    <a:pt x="135" y="202"/>
                    <a:pt x="135" y="202"/>
                    <a:pt x="135" y="202"/>
                  </a:cubicBezTo>
                  <a:cubicBezTo>
                    <a:pt x="135" y="202"/>
                    <a:pt x="135" y="202"/>
                    <a:pt x="135" y="202"/>
                  </a:cubicBezTo>
                  <a:cubicBezTo>
                    <a:pt x="136" y="202"/>
                    <a:pt x="136" y="202"/>
                    <a:pt x="136" y="202"/>
                  </a:cubicBezTo>
                  <a:cubicBezTo>
                    <a:pt x="136" y="202"/>
                    <a:pt x="136" y="202"/>
                    <a:pt x="136" y="202"/>
                  </a:cubicBezTo>
                  <a:cubicBezTo>
                    <a:pt x="136" y="202"/>
                    <a:pt x="136" y="202"/>
                    <a:pt x="136" y="202"/>
                  </a:cubicBezTo>
                  <a:cubicBezTo>
                    <a:pt x="136" y="202"/>
                    <a:pt x="136" y="201"/>
                    <a:pt x="134" y="199"/>
                  </a:cubicBezTo>
                  <a:cubicBezTo>
                    <a:pt x="133" y="198"/>
                    <a:pt x="133" y="197"/>
                    <a:pt x="132" y="196"/>
                  </a:cubicBezTo>
                  <a:cubicBezTo>
                    <a:pt x="129" y="189"/>
                    <a:pt x="129" y="189"/>
                    <a:pt x="129" y="189"/>
                  </a:cubicBezTo>
                  <a:cubicBezTo>
                    <a:pt x="136" y="192"/>
                    <a:pt x="136" y="192"/>
                    <a:pt x="136" y="192"/>
                  </a:cubicBezTo>
                  <a:cubicBezTo>
                    <a:pt x="136" y="192"/>
                    <a:pt x="136" y="192"/>
                    <a:pt x="136" y="192"/>
                  </a:cubicBezTo>
                  <a:cubicBezTo>
                    <a:pt x="137" y="192"/>
                    <a:pt x="137" y="192"/>
                    <a:pt x="139" y="190"/>
                  </a:cubicBezTo>
                  <a:cubicBezTo>
                    <a:pt x="140" y="190"/>
                    <a:pt x="140" y="190"/>
                    <a:pt x="140" y="190"/>
                  </a:cubicBezTo>
                  <a:cubicBezTo>
                    <a:pt x="141" y="189"/>
                    <a:pt x="143" y="188"/>
                    <a:pt x="144" y="187"/>
                  </a:cubicBezTo>
                  <a:cubicBezTo>
                    <a:pt x="145" y="187"/>
                    <a:pt x="146" y="187"/>
                    <a:pt x="146" y="187"/>
                  </a:cubicBezTo>
                  <a:cubicBezTo>
                    <a:pt x="146" y="186"/>
                    <a:pt x="146" y="186"/>
                    <a:pt x="146" y="186"/>
                  </a:cubicBezTo>
                  <a:cubicBezTo>
                    <a:pt x="147" y="186"/>
                    <a:pt x="147" y="186"/>
                    <a:pt x="148" y="186"/>
                  </a:cubicBezTo>
                  <a:cubicBezTo>
                    <a:pt x="149" y="186"/>
                    <a:pt x="149" y="186"/>
                    <a:pt x="149" y="186"/>
                  </a:cubicBezTo>
                  <a:cubicBezTo>
                    <a:pt x="150" y="187"/>
                    <a:pt x="151" y="188"/>
                    <a:pt x="151" y="189"/>
                  </a:cubicBezTo>
                  <a:cubicBezTo>
                    <a:pt x="151" y="189"/>
                    <a:pt x="152" y="189"/>
                    <a:pt x="152" y="190"/>
                  </a:cubicBezTo>
                  <a:cubicBezTo>
                    <a:pt x="157" y="192"/>
                    <a:pt x="157" y="192"/>
                    <a:pt x="157" y="192"/>
                  </a:cubicBezTo>
                  <a:cubicBezTo>
                    <a:pt x="157" y="192"/>
                    <a:pt x="158" y="192"/>
                    <a:pt x="158" y="192"/>
                  </a:cubicBezTo>
                  <a:cubicBezTo>
                    <a:pt x="158" y="192"/>
                    <a:pt x="158" y="192"/>
                    <a:pt x="158" y="192"/>
                  </a:cubicBezTo>
                  <a:cubicBezTo>
                    <a:pt x="158" y="192"/>
                    <a:pt x="158" y="192"/>
                    <a:pt x="158" y="192"/>
                  </a:cubicBezTo>
                  <a:cubicBezTo>
                    <a:pt x="160" y="191"/>
                    <a:pt x="162" y="189"/>
                    <a:pt x="164" y="188"/>
                  </a:cubicBezTo>
                  <a:cubicBezTo>
                    <a:pt x="166" y="186"/>
                    <a:pt x="166" y="186"/>
                    <a:pt x="166" y="186"/>
                  </a:cubicBezTo>
                  <a:cubicBezTo>
                    <a:pt x="167" y="186"/>
                    <a:pt x="167" y="186"/>
                    <a:pt x="168" y="185"/>
                  </a:cubicBezTo>
                  <a:cubicBezTo>
                    <a:pt x="168" y="185"/>
                    <a:pt x="168" y="185"/>
                    <a:pt x="168" y="185"/>
                  </a:cubicBezTo>
                  <a:cubicBezTo>
                    <a:pt x="168" y="184"/>
                    <a:pt x="168" y="184"/>
                    <a:pt x="168" y="184"/>
                  </a:cubicBezTo>
                  <a:cubicBezTo>
                    <a:pt x="168" y="184"/>
                    <a:pt x="168" y="183"/>
                    <a:pt x="168" y="183"/>
                  </a:cubicBezTo>
                  <a:cubicBezTo>
                    <a:pt x="168" y="183"/>
                    <a:pt x="168" y="183"/>
                    <a:pt x="168" y="183"/>
                  </a:cubicBezTo>
                  <a:cubicBezTo>
                    <a:pt x="167" y="182"/>
                    <a:pt x="167" y="182"/>
                    <a:pt x="167" y="181"/>
                  </a:cubicBezTo>
                  <a:cubicBezTo>
                    <a:pt x="166" y="178"/>
                    <a:pt x="169" y="176"/>
                    <a:pt x="170" y="175"/>
                  </a:cubicBezTo>
                  <a:cubicBezTo>
                    <a:pt x="171" y="174"/>
                    <a:pt x="171" y="174"/>
                    <a:pt x="171" y="174"/>
                  </a:cubicBezTo>
                  <a:cubicBezTo>
                    <a:pt x="171" y="172"/>
                    <a:pt x="170" y="171"/>
                    <a:pt x="169" y="170"/>
                  </a:cubicBezTo>
                  <a:cubicBezTo>
                    <a:pt x="168" y="170"/>
                    <a:pt x="168" y="170"/>
                    <a:pt x="168" y="170"/>
                  </a:cubicBezTo>
                  <a:cubicBezTo>
                    <a:pt x="166" y="168"/>
                    <a:pt x="163" y="166"/>
                    <a:pt x="161" y="163"/>
                  </a:cubicBezTo>
                  <a:cubicBezTo>
                    <a:pt x="160" y="162"/>
                    <a:pt x="160" y="161"/>
                    <a:pt x="160" y="160"/>
                  </a:cubicBezTo>
                  <a:cubicBezTo>
                    <a:pt x="160" y="158"/>
                    <a:pt x="161" y="157"/>
                    <a:pt x="163" y="156"/>
                  </a:cubicBezTo>
                  <a:cubicBezTo>
                    <a:pt x="163" y="156"/>
                    <a:pt x="163" y="156"/>
                    <a:pt x="164" y="156"/>
                  </a:cubicBezTo>
                  <a:cubicBezTo>
                    <a:pt x="165" y="155"/>
                    <a:pt x="165" y="155"/>
                    <a:pt x="165" y="155"/>
                  </a:cubicBezTo>
                  <a:cubicBezTo>
                    <a:pt x="165" y="155"/>
                    <a:pt x="165" y="155"/>
                    <a:pt x="165" y="155"/>
                  </a:cubicBezTo>
                  <a:cubicBezTo>
                    <a:pt x="166" y="155"/>
                    <a:pt x="166" y="155"/>
                    <a:pt x="166" y="155"/>
                  </a:cubicBezTo>
                  <a:cubicBezTo>
                    <a:pt x="165" y="155"/>
                    <a:pt x="164" y="154"/>
                    <a:pt x="163" y="154"/>
                  </a:cubicBezTo>
                  <a:cubicBezTo>
                    <a:pt x="163" y="153"/>
                    <a:pt x="162" y="153"/>
                    <a:pt x="161" y="153"/>
                  </a:cubicBezTo>
                  <a:cubicBezTo>
                    <a:pt x="161" y="152"/>
                    <a:pt x="160" y="152"/>
                    <a:pt x="160" y="151"/>
                  </a:cubicBezTo>
                  <a:cubicBezTo>
                    <a:pt x="159" y="151"/>
                    <a:pt x="159" y="151"/>
                    <a:pt x="159" y="151"/>
                  </a:cubicBezTo>
                  <a:cubicBezTo>
                    <a:pt x="159" y="151"/>
                    <a:pt x="159" y="151"/>
                    <a:pt x="159" y="151"/>
                  </a:cubicBezTo>
                  <a:cubicBezTo>
                    <a:pt x="159" y="151"/>
                    <a:pt x="158" y="151"/>
                    <a:pt x="157" y="151"/>
                  </a:cubicBezTo>
                  <a:cubicBezTo>
                    <a:pt x="157" y="151"/>
                    <a:pt x="157" y="151"/>
                    <a:pt x="157" y="151"/>
                  </a:cubicBezTo>
                  <a:cubicBezTo>
                    <a:pt x="157" y="150"/>
                    <a:pt x="157" y="150"/>
                    <a:pt x="157" y="150"/>
                  </a:cubicBezTo>
                  <a:cubicBezTo>
                    <a:pt x="156" y="150"/>
                    <a:pt x="156" y="149"/>
                    <a:pt x="155" y="148"/>
                  </a:cubicBezTo>
                  <a:cubicBezTo>
                    <a:pt x="155" y="148"/>
                    <a:pt x="155" y="148"/>
                    <a:pt x="155" y="148"/>
                  </a:cubicBezTo>
                  <a:cubicBezTo>
                    <a:pt x="155" y="147"/>
                    <a:pt x="155" y="147"/>
                    <a:pt x="154" y="146"/>
                  </a:cubicBezTo>
                  <a:cubicBezTo>
                    <a:pt x="154" y="146"/>
                    <a:pt x="154" y="146"/>
                    <a:pt x="154" y="146"/>
                  </a:cubicBezTo>
                  <a:cubicBezTo>
                    <a:pt x="154" y="146"/>
                    <a:pt x="153" y="147"/>
                    <a:pt x="152" y="147"/>
                  </a:cubicBezTo>
                  <a:cubicBezTo>
                    <a:pt x="152" y="147"/>
                    <a:pt x="152" y="147"/>
                    <a:pt x="152" y="147"/>
                  </a:cubicBezTo>
                  <a:cubicBezTo>
                    <a:pt x="152" y="147"/>
                    <a:pt x="152" y="147"/>
                    <a:pt x="152" y="147"/>
                  </a:cubicBezTo>
                  <a:cubicBezTo>
                    <a:pt x="150" y="147"/>
                    <a:pt x="148" y="146"/>
                    <a:pt x="147" y="145"/>
                  </a:cubicBezTo>
                  <a:cubicBezTo>
                    <a:pt x="147" y="145"/>
                    <a:pt x="147" y="145"/>
                    <a:pt x="147" y="145"/>
                  </a:cubicBezTo>
                  <a:cubicBezTo>
                    <a:pt x="147" y="144"/>
                    <a:pt x="147" y="144"/>
                    <a:pt x="147" y="144"/>
                  </a:cubicBezTo>
                  <a:cubicBezTo>
                    <a:pt x="147" y="144"/>
                    <a:pt x="146" y="143"/>
                    <a:pt x="146" y="142"/>
                  </a:cubicBezTo>
                  <a:cubicBezTo>
                    <a:pt x="147" y="141"/>
                    <a:pt x="147" y="141"/>
                    <a:pt x="147" y="141"/>
                  </a:cubicBezTo>
                  <a:cubicBezTo>
                    <a:pt x="147" y="141"/>
                    <a:pt x="147" y="141"/>
                    <a:pt x="147" y="141"/>
                  </a:cubicBezTo>
                  <a:cubicBezTo>
                    <a:pt x="146" y="142"/>
                    <a:pt x="146" y="142"/>
                    <a:pt x="146" y="142"/>
                  </a:cubicBezTo>
                  <a:cubicBezTo>
                    <a:pt x="146" y="141"/>
                    <a:pt x="146" y="140"/>
                    <a:pt x="145" y="139"/>
                  </a:cubicBezTo>
                  <a:cubicBezTo>
                    <a:pt x="145" y="138"/>
                    <a:pt x="145" y="137"/>
                    <a:pt x="145" y="137"/>
                  </a:cubicBezTo>
                  <a:cubicBezTo>
                    <a:pt x="145" y="136"/>
                    <a:pt x="145" y="136"/>
                    <a:pt x="145" y="136"/>
                  </a:cubicBezTo>
                  <a:cubicBezTo>
                    <a:pt x="145" y="135"/>
                    <a:pt x="145" y="135"/>
                    <a:pt x="145" y="134"/>
                  </a:cubicBezTo>
                  <a:cubicBezTo>
                    <a:pt x="144" y="134"/>
                    <a:pt x="143" y="133"/>
                    <a:pt x="143" y="132"/>
                  </a:cubicBezTo>
                  <a:cubicBezTo>
                    <a:pt x="142" y="132"/>
                    <a:pt x="142" y="132"/>
                    <a:pt x="142" y="132"/>
                  </a:cubicBezTo>
                  <a:cubicBezTo>
                    <a:pt x="142" y="131"/>
                    <a:pt x="142" y="131"/>
                    <a:pt x="142" y="131"/>
                  </a:cubicBezTo>
                  <a:cubicBezTo>
                    <a:pt x="142" y="130"/>
                    <a:pt x="142" y="130"/>
                    <a:pt x="142" y="130"/>
                  </a:cubicBezTo>
                  <a:cubicBezTo>
                    <a:pt x="141" y="128"/>
                    <a:pt x="141" y="128"/>
                    <a:pt x="141" y="128"/>
                  </a:cubicBezTo>
                  <a:cubicBezTo>
                    <a:pt x="141" y="127"/>
                    <a:pt x="141" y="127"/>
                    <a:pt x="140" y="127"/>
                  </a:cubicBezTo>
                  <a:cubicBezTo>
                    <a:pt x="140" y="126"/>
                    <a:pt x="139" y="126"/>
                    <a:pt x="138" y="125"/>
                  </a:cubicBezTo>
                  <a:cubicBezTo>
                    <a:pt x="137" y="124"/>
                    <a:pt x="137" y="124"/>
                    <a:pt x="137" y="124"/>
                  </a:cubicBezTo>
                  <a:cubicBezTo>
                    <a:pt x="136" y="124"/>
                    <a:pt x="136" y="123"/>
                    <a:pt x="135" y="123"/>
                  </a:cubicBezTo>
                  <a:cubicBezTo>
                    <a:pt x="135" y="122"/>
                    <a:pt x="135" y="122"/>
                    <a:pt x="135" y="122"/>
                  </a:cubicBezTo>
                  <a:cubicBezTo>
                    <a:pt x="132" y="121"/>
                    <a:pt x="130" y="120"/>
                    <a:pt x="128" y="118"/>
                  </a:cubicBezTo>
                  <a:cubicBezTo>
                    <a:pt x="128" y="117"/>
                    <a:pt x="128" y="117"/>
                    <a:pt x="128" y="117"/>
                  </a:cubicBezTo>
                  <a:cubicBezTo>
                    <a:pt x="127" y="117"/>
                    <a:pt x="126" y="116"/>
                    <a:pt x="126" y="114"/>
                  </a:cubicBezTo>
                  <a:cubicBezTo>
                    <a:pt x="126" y="114"/>
                    <a:pt x="126" y="114"/>
                    <a:pt x="126" y="114"/>
                  </a:cubicBezTo>
                  <a:cubicBezTo>
                    <a:pt x="125" y="111"/>
                    <a:pt x="124" y="110"/>
                    <a:pt x="122" y="108"/>
                  </a:cubicBezTo>
                  <a:cubicBezTo>
                    <a:pt x="122" y="108"/>
                    <a:pt x="122" y="108"/>
                    <a:pt x="122" y="108"/>
                  </a:cubicBezTo>
                  <a:cubicBezTo>
                    <a:pt x="119" y="106"/>
                    <a:pt x="114" y="103"/>
                    <a:pt x="112" y="99"/>
                  </a:cubicBezTo>
                  <a:cubicBezTo>
                    <a:pt x="112" y="98"/>
                    <a:pt x="112" y="97"/>
                    <a:pt x="112" y="97"/>
                  </a:cubicBezTo>
                  <a:cubicBezTo>
                    <a:pt x="112" y="96"/>
                    <a:pt x="112" y="96"/>
                    <a:pt x="112" y="96"/>
                  </a:cubicBezTo>
                  <a:cubicBezTo>
                    <a:pt x="112" y="95"/>
                    <a:pt x="112" y="94"/>
                    <a:pt x="112" y="93"/>
                  </a:cubicBezTo>
                  <a:cubicBezTo>
                    <a:pt x="112" y="93"/>
                    <a:pt x="112" y="93"/>
                    <a:pt x="112" y="93"/>
                  </a:cubicBezTo>
                  <a:cubicBezTo>
                    <a:pt x="111" y="92"/>
                    <a:pt x="109" y="92"/>
                    <a:pt x="107" y="91"/>
                  </a:cubicBezTo>
                  <a:cubicBezTo>
                    <a:pt x="106" y="90"/>
                    <a:pt x="106" y="90"/>
                    <a:pt x="106" y="90"/>
                  </a:cubicBezTo>
                  <a:cubicBezTo>
                    <a:pt x="99" y="87"/>
                    <a:pt x="90" y="82"/>
                    <a:pt x="83" y="77"/>
                  </a:cubicBezTo>
                  <a:cubicBezTo>
                    <a:pt x="79" y="74"/>
                    <a:pt x="79" y="74"/>
                    <a:pt x="79" y="74"/>
                  </a:cubicBezTo>
                  <a:cubicBezTo>
                    <a:pt x="84" y="72"/>
                    <a:pt x="84" y="72"/>
                    <a:pt x="84" y="72"/>
                  </a:cubicBezTo>
                  <a:cubicBezTo>
                    <a:pt x="84" y="72"/>
                    <a:pt x="85" y="72"/>
                    <a:pt x="85" y="71"/>
                  </a:cubicBezTo>
                  <a:cubicBezTo>
                    <a:pt x="86" y="70"/>
                    <a:pt x="86" y="70"/>
                    <a:pt x="86" y="70"/>
                  </a:cubicBezTo>
                  <a:cubicBezTo>
                    <a:pt x="86" y="70"/>
                    <a:pt x="86" y="70"/>
                    <a:pt x="86" y="70"/>
                  </a:cubicBezTo>
                  <a:cubicBezTo>
                    <a:pt x="86" y="70"/>
                    <a:pt x="86" y="69"/>
                    <a:pt x="86" y="69"/>
                  </a:cubicBezTo>
                  <a:cubicBezTo>
                    <a:pt x="86" y="68"/>
                    <a:pt x="86" y="68"/>
                    <a:pt x="86" y="67"/>
                  </a:cubicBezTo>
                  <a:cubicBezTo>
                    <a:pt x="86" y="67"/>
                    <a:pt x="86" y="65"/>
                    <a:pt x="86" y="64"/>
                  </a:cubicBezTo>
                  <a:cubicBezTo>
                    <a:pt x="87" y="63"/>
                    <a:pt x="87" y="63"/>
                    <a:pt x="87" y="63"/>
                  </a:cubicBezTo>
                  <a:cubicBezTo>
                    <a:pt x="89" y="63"/>
                    <a:pt x="89" y="63"/>
                    <a:pt x="89" y="63"/>
                  </a:cubicBezTo>
                  <a:cubicBezTo>
                    <a:pt x="89" y="63"/>
                    <a:pt x="89" y="63"/>
                    <a:pt x="90" y="63"/>
                  </a:cubicBezTo>
                  <a:cubicBezTo>
                    <a:pt x="90" y="63"/>
                    <a:pt x="91" y="63"/>
                    <a:pt x="91" y="63"/>
                  </a:cubicBezTo>
                  <a:cubicBezTo>
                    <a:pt x="92" y="63"/>
                    <a:pt x="92" y="63"/>
                    <a:pt x="92" y="63"/>
                  </a:cubicBezTo>
                  <a:cubicBezTo>
                    <a:pt x="93" y="63"/>
                    <a:pt x="94" y="63"/>
                    <a:pt x="95" y="63"/>
                  </a:cubicBezTo>
                  <a:cubicBezTo>
                    <a:pt x="95" y="63"/>
                    <a:pt x="95" y="63"/>
                    <a:pt x="95" y="63"/>
                  </a:cubicBezTo>
                  <a:cubicBezTo>
                    <a:pt x="96" y="63"/>
                    <a:pt x="97" y="64"/>
                    <a:pt x="98" y="64"/>
                  </a:cubicBezTo>
                  <a:cubicBezTo>
                    <a:pt x="99" y="64"/>
                    <a:pt x="99" y="64"/>
                    <a:pt x="99" y="64"/>
                  </a:cubicBezTo>
                  <a:cubicBezTo>
                    <a:pt x="100" y="64"/>
                    <a:pt x="101" y="65"/>
                    <a:pt x="101" y="65"/>
                  </a:cubicBezTo>
                  <a:cubicBezTo>
                    <a:pt x="101" y="64"/>
                    <a:pt x="101" y="64"/>
                    <a:pt x="101" y="64"/>
                  </a:cubicBezTo>
                  <a:cubicBezTo>
                    <a:pt x="102" y="64"/>
                    <a:pt x="102" y="64"/>
                    <a:pt x="102" y="64"/>
                  </a:cubicBezTo>
                  <a:cubicBezTo>
                    <a:pt x="102" y="63"/>
                    <a:pt x="102" y="63"/>
                    <a:pt x="102" y="63"/>
                  </a:cubicBezTo>
                  <a:cubicBezTo>
                    <a:pt x="103" y="62"/>
                    <a:pt x="104" y="62"/>
                    <a:pt x="104" y="61"/>
                  </a:cubicBezTo>
                  <a:cubicBezTo>
                    <a:pt x="105" y="61"/>
                    <a:pt x="105" y="61"/>
                    <a:pt x="105" y="61"/>
                  </a:cubicBezTo>
                  <a:cubicBezTo>
                    <a:pt x="106" y="60"/>
                    <a:pt x="106" y="60"/>
                    <a:pt x="107" y="59"/>
                  </a:cubicBezTo>
                  <a:cubicBezTo>
                    <a:pt x="107" y="59"/>
                    <a:pt x="108" y="58"/>
                    <a:pt x="107" y="55"/>
                  </a:cubicBezTo>
                  <a:cubicBezTo>
                    <a:pt x="107" y="55"/>
                    <a:pt x="106" y="54"/>
                    <a:pt x="105" y="54"/>
                  </a:cubicBezTo>
                  <a:cubicBezTo>
                    <a:pt x="105" y="53"/>
                    <a:pt x="105" y="53"/>
                    <a:pt x="105" y="53"/>
                  </a:cubicBezTo>
                  <a:cubicBezTo>
                    <a:pt x="104" y="53"/>
                    <a:pt x="104" y="53"/>
                    <a:pt x="104" y="53"/>
                  </a:cubicBezTo>
                  <a:cubicBezTo>
                    <a:pt x="102" y="51"/>
                    <a:pt x="101" y="51"/>
                    <a:pt x="99" y="51"/>
                  </a:cubicBezTo>
                  <a:cubicBezTo>
                    <a:pt x="98" y="50"/>
                    <a:pt x="97" y="50"/>
                    <a:pt x="96" y="50"/>
                  </a:cubicBezTo>
                  <a:cubicBezTo>
                    <a:pt x="92" y="49"/>
                    <a:pt x="92" y="49"/>
                    <a:pt x="92" y="49"/>
                  </a:cubicBezTo>
                  <a:cubicBezTo>
                    <a:pt x="95" y="45"/>
                    <a:pt x="95" y="45"/>
                    <a:pt x="95" y="45"/>
                  </a:cubicBezTo>
                  <a:cubicBezTo>
                    <a:pt x="95" y="45"/>
                    <a:pt x="95" y="45"/>
                    <a:pt x="96" y="44"/>
                  </a:cubicBezTo>
                  <a:cubicBezTo>
                    <a:pt x="97" y="43"/>
                    <a:pt x="98" y="43"/>
                    <a:pt x="99" y="43"/>
                  </a:cubicBezTo>
                  <a:cubicBezTo>
                    <a:pt x="99" y="43"/>
                    <a:pt x="99" y="43"/>
                    <a:pt x="99" y="43"/>
                  </a:cubicBezTo>
                  <a:cubicBezTo>
                    <a:pt x="99" y="42"/>
                    <a:pt x="99" y="42"/>
                    <a:pt x="99" y="42"/>
                  </a:cubicBezTo>
                  <a:cubicBezTo>
                    <a:pt x="98" y="42"/>
                    <a:pt x="98" y="42"/>
                    <a:pt x="98" y="42"/>
                  </a:cubicBezTo>
                  <a:cubicBezTo>
                    <a:pt x="98" y="42"/>
                    <a:pt x="97" y="42"/>
                    <a:pt x="97" y="42"/>
                  </a:cubicBezTo>
                  <a:cubicBezTo>
                    <a:pt x="94" y="45"/>
                    <a:pt x="94" y="45"/>
                    <a:pt x="94" y="45"/>
                  </a:cubicBezTo>
                  <a:cubicBezTo>
                    <a:pt x="95" y="42"/>
                    <a:pt x="95" y="42"/>
                    <a:pt x="95" y="42"/>
                  </a:cubicBezTo>
                  <a:cubicBezTo>
                    <a:pt x="93" y="44"/>
                    <a:pt x="93" y="44"/>
                    <a:pt x="93" y="44"/>
                  </a:cubicBezTo>
                  <a:cubicBezTo>
                    <a:pt x="95" y="40"/>
                    <a:pt x="95" y="40"/>
                    <a:pt x="95" y="40"/>
                  </a:cubicBezTo>
                  <a:cubicBezTo>
                    <a:pt x="94" y="40"/>
                    <a:pt x="94" y="40"/>
                    <a:pt x="94" y="40"/>
                  </a:cubicBezTo>
                  <a:cubicBezTo>
                    <a:pt x="94" y="40"/>
                    <a:pt x="94" y="39"/>
                    <a:pt x="93" y="39"/>
                  </a:cubicBezTo>
                  <a:cubicBezTo>
                    <a:pt x="93" y="39"/>
                    <a:pt x="93" y="39"/>
                    <a:pt x="93" y="39"/>
                  </a:cubicBezTo>
                  <a:cubicBezTo>
                    <a:pt x="93" y="38"/>
                    <a:pt x="92" y="38"/>
                    <a:pt x="92" y="38"/>
                  </a:cubicBezTo>
                  <a:cubicBezTo>
                    <a:pt x="92" y="38"/>
                    <a:pt x="91" y="38"/>
                    <a:pt x="91" y="38"/>
                  </a:cubicBezTo>
                  <a:cubicBezTo>
                    <a:pt x="91" y="38"/>
                    <a:pt x="90" y="38"/>
                    <a:pt x="90" y="38"/>
                  </a:cubicBezTo>
                  <a:cubicBezTo>
                    <a:pt x="89" y="39"/>
                    <a:pt x="89" y="39"/>
                    <a:pt x="89" y="39"/>
                  </a:cubicBezTo>
                  <a:cubicBezTo>
                    <a:pt x="88" y="39"/>
                    <a:pt x="87" y="40"/>
                    <a:pt x="86" y="40"/>
                  </a:cubicBezTo>
                  <a:cubicBezTo>
                    <a:pt x="86" y="41"/>
                    <a:pt x="86" y="41"/>
                    <a:pt x="86" y="41"/>
                  </a:cubicBezTo>
                  <a:cubicBezTo>
                    <a:pt x="85" y="44"/>
                    <a:pt x="85" y="44"/>
                    <a:pt x="85" y="44"/>
                  </a:cubicBezTo>
                  <a:cubicBezTo>
                    <a:pt x="84" y="43"/>
                    <a:pt x="84" y="43"/>
                    <a:pt x="84" y="43"/>
                  </a:cubicBezTo>
                  <a:cubicBezTo>
                    <a:pt x="84" y="44"/>
                    <a:pt x="84" y="44"/>
                    <a:pt x="84" y="44"/>
                  </a:cubicBezTo>
                  <a:cubicBezTo>
                    <a:pt x="83" y="44"/>
                    <a:pt x="83" y="44"/>
                    <a:pt x="83" y="44"/>
                  </a:cubicBezTo>
                  <a:cubicBezTo>
                    <a:pt x="83" y="44"/>
                    <a:pt x="82" y="45"/>
                    <a:pt x="82" y="45"/>
                  </a:cubicBezTo>
                  <a:cubicBezTo>
                    <a:pt x="81" y="45"/>
                    <a:pt x="81" y="45"/>
                    <a:pt x="81" y="45"/>
                  </a:cubicBezTo>
                  <a:cubicBezTo>
                    <a:pt x="80" y="45"/>
                    <a:pt x="80" y="45"/>
                    <a:pt x="80" y="45"/>
                  </a:cubicBezTo>
                  <a:cubicBezTo>
                    <a:pt x="80" y="45"/>
                    <a:pt x="80" y="45"/>
                    <a:pt x="79" y="45"/>
                  </a:cubicBezTo>
                  <a:cubicBezTo>
                    <a:pt x="78" y="44"/>
                    <a:pt x="78" y="44"/>
                    <a:pt x="78" y="44"/>
                  </a:cubicBezTo>
                  <a:cubicBezTo>
                    <a:pt x="77" y="44"/>
                    <a:pt x="77" y="44"/>
                    <a:pt x="77" y="44"/>
                  </a:cubicBezTo>
                  <a:cubicBezTo>
                    <a:pt x="77" y="44"/>
                    <a:pt x="76" y="44"/>
                    <a:pt x="76" y="43"/>
                  </a:cubicBezTo>
                  <a:cubicBezTo>
                    <a:pt x="75" y="43"/>
                    <a:pt x="75" y="43"/>
                    <a:pt x="75" y="43"/>
                  </a:cubicBezTo>
                  <a:cubicBezTo>
                    <a:pt x="75" y="43"/>
                    <a:pt x="74" y="43"/>
                    <a:pt x="74" y="42"/>
                  </a:cubicBezTo>
                  <a:cubicBezTo>
                    <a:pt x="73" y="42"/>
                    <a:pt x="73" y="42"/>
                    <a:pt x="73" y="42"/>
                  </a:cubicBezTo>
                  <a:cubicBezTo>
                    <a:pt x="73" y="42"/>
                    <a:pt x="72" y="41"/>
                    <a:pt x="72" y="41"/>
                  </a:cubicBezTo>
                  <a:cubicBezTo>
                    <a:pt x="72" y="41"/>
                    <a:pt x="71" y="41"/>
                    <a:pt x="71" y="41"/>
                  </a:cubicBezTo>
                  <a:cubicBezTo>
                    <a:pt x="70" y="41"/>
                    <a:pt x="69" y="41"/>
                    <a:pt x="68" y="40"/>
                  </a:cubicBezTo>
                  <a:cubicBezTo>
                    <a:pt x="65" y="38"/>
                    <a:pt x="62" y="35"/>
                    <a:pt x="61" y="31"/>
                  </a:cubicBezTo>
                  <a:cubicBezTo>
                    <a:pt x="60" y="30"/>
                    <a:pt x="60" y="30"/>
                    <a:pt x="60" y="30"/>
                  </a:cubicBezTo>
                  <a:cubicBezTo>
                    <a:pt x="57" y="31"/>
                    <a:pt x="57" y="31"/>
                    <a:pt x="57" y="31"/>
                  </a:cubicBezTo>
                  <a:cubicBezTo>
                    <a:pt x="60" y="29"/>
                    <a:pt x="60" y="29"/>
                    <a:pt x="60" y="29"/>
                  </a:cubicBezTo>
                  <a:cubicBezTo>
                    <a:pt x="60" y="28"/>
                    <a:pt x="60" y="28"/>
                    <a:pt x="60" y="28"/>
                  </a:cubicBezTo>
                  <a:cubicBezTo>
                    <a:pt x="60" y="27"/>
                    <a:pt x="60" y="27"/>
                    <a:pt x="60" y="26"/>
                  </a:cubicBezTo>
                  <a:cubicBezTo>
                    <a:pt x="60" y="26"/>
                    <a:pt x="60" y="26"/>
                    <a:pt x="60" y="26"/>
                  </a:cubicBezTo>
                  <a:cubicBezTo>
                    <a:pt x="59" y="25"/>
                    <a:pt x="59" y="25"/>
                    <a:pt x="59" y="24"/>
                  </a:cubicBezTo>
                  <a:cubicBezTo>
                    <a:pt x="60" y="23"/>
                    <a:pt x="60" y="23"/>
                    <a:pt x="60" y="23"/>
                  </a:cubicBezTo>
                  <a:cubicBezTo>
                    <a:pt x="60" y="22"/>
                    <a:pt x="60" y="21"/>
                    <a:pt x="60" y="21"/>
                  </a:cubicBezTo>
                  <a:cubicBezTo>
                    <a:pt x="60" y="20"/>
                    <a:pt x="60" y="20"/>
                    <a:pt x="60" y="20"/>
                  </a:cubicBezTo>
                  <a:cubicBezTo>
                    <a:pt x="61" y="20"/>
                    <a:pt x="61" y="20"/>
                    <a:pt x="61" y="20"/>
                  </a:cubicBezTo>
                  <a:cubicBezTo>
                    <a:pt x="61" y="20"/>
                    <a:pt x="61" y="20"/>
                    <a:pt x="61" y="20"/>
                  </a:cubicBezTo>
                  <a:cubicBezTo>
                    <a:pt x="60" y="20"/>
                    <a:pt x="60" y="20"/>
                    <a:pt x="59" y="20"/>
                  </a:cubicBezTo>
                  <a:cubicBezTo>
                    <a:pt x="59" y="20"/>
                    <a:pt x="59" y="20"/>
                    <a:pt x="59" y="20"/>
                  </a:cubicBezTo>
                  <a:cubicBezTo>
                    <a:pt x="58" y="20"/>
                    <a:pt x="57" y="20"/>
                    <a:pt x="57" y="20"/>
                  </a:cubicBezTo>
                  <a:cubicBezTo>
                    <a:pt x="55" y="20"/>
                    <a:pt x="55" y="20"/>
                    <a:pt x="55" y="20"/>
                  </a:cubicBezTo>
                  <a:cubicBezTo>
                    <a:pt x="54" y="18"/>
                    <a:pt x="54" y="18"/>
                    <a:pt x="54" y="18"/>
                  </a:cubicBezTo>
                  <a:cubicBezTo>
                    <a:pt x="54" y="18"/>
                    <a:pt x="54" y="17"/>
                    <a:pt x="54" y="16"/>
                  </a:cubicBezTo>
                  <a:cubicBezTo>
                    <a:pt x="54" y="16"/>
                    <a:pt x="54" y="16"/>
                    <a:pt x="54" y="16"/>
                  </a:cubicBezTo>
                  <a:cubicBezTo>
                    <a:pt x="53" y="14"/>
                    <a:pt x="52" y="12"/>
                    <a:pt x="51" y="10"/>
                  </a:cubicBezTo>
                  <a:cubicBezTo>
                    <a:pt x="51" y="10"/>
                    <a:pt x="50" y="10"/>
                    <a:pt x="50" y="9"/>
                  </a:cubicBezTo>
                  <a:cubicBezTo>
                    <a:pt x="50" y="9"/>
                    <a:pt x="50" y="9"/>
                    <a:pt x="50" y="9"/>
                  </a:cubicBezTo>
                  <a:cubicBezTo>
                    <a:pt x="48" y="8"/>
                    <a:pt x="47" y="6"/>
                    <a:pt x="45" y="4"/>
                  </a:cubicBezTo>
                  <a:cubicBezTo>
                    <a:pt x="43" y="2"/>
                    <a:pt x="43" y="2"/>
                    <a:pt x="43" y="2"/>
                  </a:cubicBezTo>
                  <a:cubicBezTo>
                    <a:pt x="42" y="2"/>
                    <a:pt x="42" y="2"/>
                    <a:pt x="42" y="2"/>
                  </a:cubicBezTo>
                  <a:cubicBezTo>
                    <a:pt x="41" y="1"/>
                    <a:pt x="41" y="1"/>
                    <a:pt x="40" y="1"/>
                  </a:cubicBezTo>
                  <a:cubicBezTo>
                    <a:pt x="39" y="0"/>
                    <a:pt x="37"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1552"/>
            <p:cNvSpPr/>
            <p:nvPr/>
          </p:nvSpPr>
          <p:spPr bwMode="auto">
            <a:xfrm flipH="1">
              <a:off x="3346443" y="3621626"/>
              <a:ext cx="0" cy="2685"/>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1553"/>
            <p:cNvSpPr/>
            <p:nvPr/>
          </p:nvSpPr>
          <p:spPr bwMode="auto">
            <a:xfrm flipH="1">
              <a:off x="3346443" y="3621626"/>
              <a:ext cx="0" cy="2685"/>
            </a:xfrm>
            <a:custGeom>
              <a:gdLst>
                <a:gd name="T0" fmla="*/ 0 h 2"/>
                <a:gd name="T1" fmla="*/ 0 h 2"/>
                <a:gd name="T2" fmla="*/ 2 h 2"/>
                <a:gd name="T3" fmla="*/ 0 h 2"/>
              </a:gd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Freeform 1554"/>
            <p:cNvSpPr/>
            <p:nvPr/>
          </p:nvSpPr>
          <p:spPr bwMode="auto">
            <a:xfrm>
              <a:off x="3032336" y="3145096"/>
              <a:ext cx="536934" cy="996014"/>
            </a:xfrm>
            <a:custGeom>
              <a:gdLst>
                <a:gd name="T0" fmla="*/ 60 w 169"/>
                <a:gd name="T1" fmla="*/ 11 h 314"/>
                <a:gd name="T2" fmla="*/ 46 w 169"/>
                <a:gd name="T3" fmla="*/ 14 h 314"/>
                <a:gd name="T4" fmla="*/ 33 w 169"/>
                <a:gd name="T5" fmla="*/ 16 h 314"/>
                <a:gd name="T6" fmla="*/ 25 w 169"/>
                <a:gd name="T7" fmla="*/ 15 h 314"/>
                <a:gd name="T8" fmla="*/ 18 w 169"/>
                <a:gd name="T9" fmla="*/ 22 h 314"/>
                <a:gd name="T10" fmla="*/ 6 w 169"/>
                <a:gd name="T11" fmla="*/ 15 h 314"/>
                <a:gd name="T12" fmla="*/ 11 w 169"/>
                <a:gd name="T13" fmla="*/ 35 h 314"/>
                <a:gd name="T14" fmla="*/ 17 w 169"/>
                <a:gd name="T15" fmla="*/ 35 h 314"/>
                <a:gd name="T16" fmla="*/ 17 w 169"/>
                <a:gd name="T17" fmla="*/ 46 h 314"/>
                <a:gd name="T18" fmla="*/ 24 w 169"/>
                <a:gd name="T19" fmla="*/ 56 h 314"/>
                <a:gd name="T20" fmla="*/ 31 w 169"/>
                <a:gd name="T21" fmla="*/ 60 h 314"/>
                <a:gd name="T22" fmla="*/ 38 w 169"/>
                <a:gd name="T23" fmla="*/ 55 h 314"/>
                <a:gd name="T24" fmla="*/ 46 w 169"/>
                <a:gd name="T25" fmla="*/ 53 h 314"/>
                <a:gd name="T26" fmla="*/ 52 w 169"/>
                <a:gd name="T27" fmla="*/ 58 h 314"/>
                <a:gd name="T28" fmla="*/ 58 w 169"/>
                <a:gd name="T29" fmla="*/ 64 h 314"/>
                <a:gd name="T30" fmla="*/ 60 w 169"/>
                <a:gd name="T31" fmla="*/ 70 h 314"/>
                <a:gd name="T32" fmla="*/ 58 w 169"/>
                <a:gd name="T33" fmla="*/ 88 h 314"/>
                <a:gd name="T34" fmla="*/ 52 w 169"/>
                <a:gd name="T35" fmla="*/ 91 h 314"/>
                <a:gd name="T36" fmla="*/ 43 w 169"/>
                <a:gd name="T37" fmla="*/ 94 h 314"/>
                <a:gd name="T38" fmla="*/ 73 w 169"/>
                <a:gd name="T39" fmla="*/ 112 h 314"/>
                <a:gd name="T40" fmla="*/ 78 w 169"/>
                <a:gd name="T41" fmla="*/ 125 h 314"/>
                <a:gd name="T42" fmla="*/ 93 w 169"/>
                <a:gd name="T43" fmla="*/ 141 h 314"/>
                <a:gd name="T44" fmla="*/ 103 w 169"/>
                <a:gd name="T45" fmla="*/ 154 h 314"/>
                <a:gd name="T46" fmla="*/ 104 w 169"/>
                <a:gd name="T47" fmla="*/ 161 h 314"/>
                <a:gd name="T48" fmla="*/ 110 w 169"/>
                <a:gd name="T49" fmla="*/ 162 h 314"/>
                <a:gd name="T50" fmla="*/ 114 w 169"/>
                <a:gd name="T51" fmla="*/ 167 h 314"/>
                <a:gd name="T52" fmla="*/ 123 w 169"/>
                <a:gd name="T53" fmla="*/ 173 h 314"/>
                <a:gd name="T54" fmla="*/ 124 w 169"/>
                <a:gd name="T55" fmla="*/ 186 h 314"/>
                <a:gd name="T56" fmla="*/ 125 w 169"/>
                <a:gd name="T57" fmla="*/ 201 h 314"/>
                <a:gd name="T58" fmla="*/ 126 w 169"/>
                <a:gd name="T59" fmla="*/ 209 h 314"/>
                <a:gd name="T60" fmla="*/ 125 w 169"/>
                <a:gd name="T61" fmla="*/ 228 h 314"/>
                <a:gd name="T62" fmla="*/ 126 w 169"/>
                <a:gd name="T63" fmla="*/ 249 h 314"/>
                <a:gd name="T64" fmla="*/ 127 w 169"/>
                <a:gd name="T65" fmla="*/ 262 h 314"/>
                <a:gd name="T66" fmla="*/ 116 w 169"/>
                <a:gd name="T67" fmla="*/ 268 h 314"/>
                <a:gd name="T68" fmla="*/ 100 w 169"/>
                <a:gd name="T69" fmla="*/ 278 h 314"/>
                <a:gd name="T70" fmla="*/ 86 w 169"/>
                <a:gd name="T71" fmla="*/ 284 h 314"/>
                <a:gd name="T72" fmla="*/ 95 w 169"/>
                <a:gd name="T73" fmla="*/ 301 h 314"/>
                <a:gd name="T74" fmla="*/ 81 w 169"/>
                <a:gd name="T75" fmla="*/ 299 h 314"/>
                <a:gd name="T76" fmla="*/ 89 w 169"/>
                <a:gd name="T77" fmla="*/ 313 h 314"/>
                <a:gd name="T78" fmla="*/ 103 w 169"/>
                <a:gd name="T79" fmla="*/ 308 h 314"/>
                <a:gd name="T80" fmla="*/ 109 w 169"/>
                <a:gd name="T81" fmla="*/ 302 h 314"/>
                <a:gd name="T82" fmla="*/ 113 w 169"/>
                <a:gd name="T83" fmla="*/ 312 h 314"/>
                <a:gd name="T84" fmla="*/ 164 w 169"/>
                <a:gd name="T85" fmla="*/ 275 h 314"/>
                <a:gd name="T86" fmla="*/ 166 w 169"/>
                <a:gd name="T87" fmla="*/ 263 h 314"/>
                <a:gd name="T88" fmla="*/ 167 w 169"/>
                <a:gd name="T89" fmla="*/ 254 h 314"/>
                <a:gd name="T90" fmla="*/ 164 w 169"/>
                <a:gd name="T91" fmla="*/ 224 h 314"/>
                <a:gd name="T92" fmla="*/ 142 w 169"/>
                <a:gd name="T93" fmla="*/ 176 h 314"/>
                <a:gd name="T94" fmla="*/ 139 w 169"/>
                <a:gd name="T95" fmla="*/ 171 h 314"/>
                <a:gd name="T96" fmla="*/ 94 w 169"/>
                <a:gd name="T97" fmla="*/ 134 h 314"/>
                <a:gd name="T98" fmla="*/ 78 w 169"/>
                <a:gd name="T99" fmla="*/ 104 h 314"/>
                <a:gd name="T100" fmla="*/ 100 w 169"/>
                <a:gd name="T101" fmla="*/ 72 h 314"/>
                <a:gd name="T102" fmla="*/ 109 w 169"/>
                <a:gd name="T103" fmla="*/ 57 h 314"/>
                <a:gd name="T104" fmla="*/ 115 w 169"/>
                <a:gd name="T105" fmla="*/ 56 h 314"/>
                <a:gd name="T106" fmla="*/ 125 w 169"/>
                <a:gd name="T107" fmla="*/ 50 h 314"/>
                <a:gd name="T108" fmla="*/ 122 w 169"/>
                <a:gd name="T109" fmla="*/ 42 h 314"/>
                <a:gd name="T110" fmla="*/ 110 w 169"/>
                <a:gd name="T111" fmla="*/ 34 h 314"/>
                <a:gd name="T112" fmla="*/ 100 w 169"/>
                <a:gd name="T113" fmla="*/ 31 h 314"/>
                <a:gd name="T114" fmla="*/ 99 w 169"/>
                <a:gd name="T115" fmla="*/ 23 h 314"/>
                <a:gd name="T116" fmla="*/ 101 w 169"/>
                <a:gd name="T117" fmla="*/ 11 h 314"/>
                <a:gd name="T118" fmla="*/ 80 w 169"/>
                <a:gd name="T119" fmla="*/ 8 h 314"/>
                <a:gd name="T120" fmla="*/ 71 w 169"/>
                <a:gd name="T121" fmla="*/ 0 h 3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 h="314">
                  <a:moveTo>
                    <a:pt x="70" y="0"/>
                  </a:moveTo>
                  <a:cubicBezTo>
                    <a:pt x="69" y="0"/>
                    <a:pt x="68" y="1"/>
                    <a:pt x="67" y="2"/>
                  </a:cubicBezTo>
                  <a:cubicBezTo>
                    <a:pt x="66" y="3"/>
                    <a:pt x="66" y="3"/>
                    <a:pt x="66" y="3"/>
                  </a:cubicBezTo>
                  <a:cubicBezTo>
                    <a:pt x="66" y="3"/>
                    <a:pt x="65" y="3"/>
                    <a:pt x="65" y="4"/>
                  </a:cubicBezTo>
                  <a:cubicBezTo>
                    <a:pt x="64" y="6"/>
                    <a:pt x="63" y="7"/>
                    <a:pt x="62" y="9"/>
                  </a:cubicBezTo>
                  <a:cubicBezTo>
                    <a:pt x="61" y="10"/>
                    <a:pt x="61" y="10"/>
                    <a:pt x="60" y="11"/>
                  </a:cubicBezTo>
                  <a:cubicBezTo>
                    <a:pt x="60" y="11"/>
                    <a:pt x="60" y="11"/>
                    <a:pt x="60" y="11"/>
                  </a:cubicBezTo>
                  <a:cubicBezTo>
                    <a:pt x="58" y="12"/>
                    <a:pt x="57" y="13"/>
                    <a:pt x="56" y="13"/>
                  </a:cubicBezTo>
                  <a:cubicBezTo>
                    <a:pt x="55" y="14"/>
                    <a:pt x="55" y="14"/>
                    <a:pt x="55" y="14"/>
                  </a:cubicBezTo>
                  <a:cubicBezTo>
                    <a:pt x="51" y="15"/>
                    <a:pt x="51" y="15"/>
                    <a:pt x="51" y="15"/>
                  </a:cubicBezTo>
                  <a:cubicBezTo>
                    <a:pt x="51" y="15"/>
                    <a:pt x="50" y="15"/>
                    <a:pt x="50" y="15"/>
                  </a:cubicBezTo>
                  <a:cubicBezTo>
                    <a:pt x="48" y="15"/>
                    <a:pt x="47" y="15"/>
                    <a:pt x="46" y="14"/>
                  </a:cubicBezTo>
                  <a:cubicBezTo>
                    <a:pt x="42" y="18"/>
                    <a:pt x="42" y="18"/>
                    <a:pt x="42" y="18"/>
                  </a:cubicBezTo>
                  <a:cubicBezTo>
                    <a:pt x="41" y="20"/>
                    <a:pt x="40" y="20"/>
                    <a:pt x="39" y="20"/>
                  </a:cubicBezTo>
                  <a:cubicBezTo>
                    <a:pt x="37" y="20"/>
                    <a:pt x="35" y="19"/>
                    <a:pt x="34" y="17"/>
                  </a:cubicBezTo>
                  <a:cubicBezTo>
                    <a:pt x="34" y="17"/>
                    <a:pt x="34" y="17"/>
                    <a:pt x="34" y="17"/>
                  </a:cubicBezTo>
                  <a:cubicBezTo>
                    <a:pt x="34" y="16"/>
                    <a:pt x="34" y="16"/>
                    <a:pt x="34" y="16"/>
                  </a:cubicBezTo>
                  <a:cubicBezTo>
                    <a:pt x="33" y="16"/>
                    <a:pt x="33" y="16"/>
                    <a:pt x="33" y="16"/>
                  </a:cubicBezTo>
                  <a:cubicBezTo>
                    <a:pt x="33" y="16"/>
                    <a:pt x="33" y="16"/>
                    <a:pt x="33" y="16"/>
                  </a:cubicBezTo>
                  <a:cubicBezTo>
                    <a:pt x="32" y="16"/>
                    <a:pt x="32" y="17"/>
                    <a:pt x="31" y="18"/>
                  </a:cubicBezTo>
                  <a:cubicBezTo>
                    <a:pt x="28" y="20"/>
                    <a:pt x="28" y="20"/>
                    <a:pt x="28" y="20"/>
                  </a:cubicBezTo>
                  <a:cubicBezTo>
                    <a:pt x="27" y="17"/>
                    <a:pt x="27" y="17"/>
                    <a:pt x="27" y="17"/>
                  </a:cubicBezTo>
                  <a:cubicBezTo>
                    <a:pt x="26" y="17"/>
                    <a:pt x="26" y="17"/>
                    <a:pt x="26" y="16"/>
                  </a:cubicBezTo>
                  <a:cubicBezTo>
                    <a:pt x="25" y="15"/>
                    <a:pt x="25" y="15"/>
                    <a:pt x="25" y="15"/>
                  </a:cubicBezTo>
                  <a:cubicBezTo>
                    <a:pt x="25" y="15"/>
                    <a:pt x="25" y="15"/>
                    <a:pt x="25" y="15"/>
                  </a:cubicBezTo>
                  <a:cubicBezTo>
                    <a:pt x="22" y="17"/>
                    <a:pt x="22" y="17"/>
                    <a:pt x="22" y="17"/>
                  </a:cubicBezTo>
                  <a:cubicBezTo>
                    <a:pt x="22" y="18"/>
                    <a:pt x="22" y="19"/>
                    <a:pt x="21" y="19"/>
                  </a:cubicBezTo>
                  <a:cubicBezTo>
                    <a:pt x="20" y="22"/>
                    <a:pt x="20" y="22"/>
                    <a:pt x="20" y="22"/>
                  </a:cubicBezTo>
                  <a:cubicBezTo>
                    <a:pt x="18" y="22"/>
                    <a:pt x="18" y="22"/>
                    <a:pt x="18" y="22"/>
                  </a:cubicBezTo>
                  <a:cubicBezTo>
                    <a:pt x="18" y="22"/>
                    <a:pt x="18" y="22"/>
                    <a:pt x="18" y="22"/>
                  </a:cubicBezTo>
                  <a:cubicBezTo>
                    <a:pt x="16" y="22"/>
                    <a:pt x="14" y="20"/>
                    <a:pt x="13" y="19"/>
                  </a:cubicBezTo>
                  <a:cubicBezTo>
                    <a:pt x="13" y="19"/>
                    <a:pt x="13" y="19"/>
                    <a:pt x="13" y="19"/>
                  </a:cubicBezTo>
                  <a:cubicBezTo>
                    <a:pt x="12" y="18"/>
                    <a:pt x="12" y="18"/>
                    <a:pt x="11" y="17"/>
                  </a:cubicBezTo>
                  <a:cubicBezTo>
                    <a:pt x="11" y="17"/>
                    <a:pt x="10" y="17"/>
                    <a:pt x="10" y="16"/>
                  </a:cubicBezTo>
                  <a:cubicBezTo>
                    <a:pt x="8" y="15"/>
                    <a:pt x="8" y="15"/>
                    <a:pt x="8" y="15"/>
                  </a:cubicBezTo>
                  <a:cubicBezTo>
                    <a:pt x="7" y="15"/>
                    <a:pt x="6" y="15"/>
                    <a:pt x="6" y="15"/>
                  </a:cubicBezTo>
                  <a:cubicBezTo>
                    <a:pt x="5" y="15"/>
                    <a:pt x="5" y="15"/>
                    <a:pt x="5" y="15"/>
                  </a:cubicBezTo>
                  <a:cubicBezTo>
                    <a:pt x="4" y="17"/>
                    <a:pt x="2" y="19"/>
                    <a:pt x="0" y="20"/>
                  </a:cubicBezTo>
                  <a:cubicBezTo>
                    <a:pt x="1" y="21"/>
                    <a:pt x="1" y="21"/>
                    <a:pt x="1" y="21"/>
                  </a:cubicBezTo>
                  <a:cubicBezTo>
                    <a:pt x="3" y="23"/>
                    <a:pt x="4" y="25"/>
                    <a:pt x="6" y="26"/>
                  </a:cubicBezTo>
                  <a:cubicBezTo>
                    <a:pt x="6" y="27"/>
                    <a:pt x="7" y="27"/>
                    <a:pt x="7" y="28"/>
                  </a:cubicBezTo>
                  <a:cubicBezTo>
                    <a:pt x="9" y="30"/>
                    <a:pt x="10" y="32"/>
                    <a:pt x="11" y="35"/>
                  </a:cubicBezTo>
                  <a:cubicBezTo>
                    <a:pt x="12" y="34"/>
                    <a:pt x="12" y="34"/>
                    <a:pt x="12" y="34"/>
                  </a:cubicBezTo>
                  <a:cubicBezTo>
                    <a:pt x="12" y="34"/>
                    <a:pt x="12" y="34"/>
                    <a:pt x="12" y="34"/>
                  </a:cubicBezTo>
                  <a:cubicBezTo>
                    <a:pt x="13" y="34"/>
                    <a:pt x="13" y="34"/>
                    <a:pt x="13" y="34"/>
                  </a:cubicBezTo>
                  <a:cubicBezTo>
                    <a:pt x="13" y="34"/>
                    <a:pt x="13" y="34"/>
                    <a:pt x="13" y="34"/>
                  </a:cubicBezTo>
                  <a:cubicBezTo>
                    <a:pt x="15" y="34"/>
                    <a:pt x="16" y="34"/>
                    <a:pt x="17" y="34"/>
                  </a:cubicBezTo>
                  <a:cubicBezTo>
                    <a:pt x="17" y="35"/>
                    <a:pt x="17" y="35"/>
                    <a:pt x="17" y="35"/>
                  </a:cubicBezTo>
                  <a:cubicBezTo>
                    <a:pt x="18" y="35"/>
                    <a:pt x="18" y="36"/>
                    <a:pt x="19" y="37"/>
                  </a:cubicBezTo>
                  <a:cubicBezTo>
                    <a:pt x="20" y="39"/>
                    <a:pt x="19" y="40"/>
                    <a:pt x="19" y="41"/>
                  </a:cubicBezTo>
                  <a:cubicBezTo>
                    <a:pt x="18" y="44"/>
                    <a:pt x="18" y="44"/>
                    <a:pt x="18" y="44"/>
                  </a:cubicBezTo>
                  <a:cubicBezTo>
                    <a:pt x="18" y="44"/>
                    <a:pt x="17" y="45"/>
                    <a:pt x="17" y="45"/>
                  </a:cubicBezTo>
                  <a:cubicBezTo>
                    <a:pt x="17" y="46"/>
                    <a:pt x="17" y="46"/>
                    <a:pt x="17" y="46"/>
                  </a:cubicBezTo>
                  <a:cubicBezTo>
                    <a:pt x="17" y="46"/>
                    <a:pt x="17" y="46"/>
                    <a:pt x="17" y="46"/>
                  </a:cubicBezTo>
                  <a:cubicBezTo>
                    <a:pt x="17" y="47"/>
                    <a:pt x="17" y="47"/>
                    <a:pt x="17" y="47"/>
                  </a:cubicBezTo>
                  <a:cubicBezTo>
                    <a:pt x="17" y="47"/>
                    <a:pt x="17" y="48"/>
                    <a:pt x="17" y="48"/>
                  </a:cubicBezTo>
                  <a:cubicBezTo>
                    <a:pt x="18" y="49"/>
                    <a:pt x="18" y="49"/>
                    <a:pt x="18" y="49"/>
                  </a:cubicBezTo>
                  <a:cubicBezTo>
                    <a:pt x="18" y="50"/>
                    <a:pt x="18" y="50"/>
                    <a:pt x="18" y="50"/>
                  </a:cubicBezTo>
                  <a:cubicBezTo>
                    <a:pt x="19" y="53"/>
                    <a:pt x="21" y="55"/>
                    <a:pt x="23" y="56"/>
                  </a:cubicBezTo>
                  <a:cubicBezTo>
                    <a:pt x="24" y="56"/>
                    <a:pt x="24" y="56"/>
                    <a:pt x="24" y="56"/>
                  </a:cubicBezTo>
                  <a:cubicBezTo>
                    <a:pt x="24" y="56"/>
                    <a:pt x="24" y="56"/>
                    <a:pt x="24" y="56"/>
                  </a:cubicBezTo>
                  <a:cubicBezTo>
                    <a:pt x="25" y="57"/>
                    <a:pt x="26" y="57"/>
                    <a:pt x="26" y="57"/>
                  </a:cubicBezTo>
                  <a:cubicBezTo>
                    <a:pt x="27" y="57"/>
                    <a:pt x="28" y="58"/>
                    <a:pt x="28" y="58"/>
                  </a:cubicBezTo>
                  <a:cubicBezTo>
                    <a:pt x="29" y="58"/>
                    <a:pt x="29" y="58"/>
                    <a:pt x="29" y="58"/>
                  </a:cubicBezTo>
                  <a:cubicBezTo>
                    <a:pt x="29" y="59"/>
                    <a:pt x="29" y="59"/>
                    <a:pt x="29" y="59"/>
                  </a:cubicBezTo>
                  <a:cubicBezTo>
                    <a:pt x="30" y="59"/>
                    <a:pt x="31" y="59"/>
                    <a:pt x="31" y="60"/>
                  </a:cubicBezTo>
                  <a:cubicBezTo>
                    <a:pt x="31" y="59"/>
                    <a:pt x="31" y="59"/>
                    <a:pt x="31" y="59"/>
                  </a:cubicBezTo>
                  <a:cubicBezTo>
                    <a:pt x="32" y="60"/>
                    <a:pt x="32" y="60"/>
                    <a:pt x="32" y="60"/>
                  </a:cubicBezTo>
                  <a:cubicBezTo>
                    <a:pt x="32" y="60"/>
                    <a:pt x="32" y="60"/>
                    <a:pt x="32" y="60"/>
                  </a:cubicBezTo>
                  <a:cubicBezTo>
                    <a:pt x="32" y="59"/>
                    <a:pt x="32" y="59"/>
                    <a:pt x="32" y="59"/>
                  </a:cubicBezTo>
                  <a:cubicBezTo>
                    <a:pt x="33" y="58"/>
                    <a:pt x="33" y="58"/>
                    <a:pt x="33" y="58"/>
                  </a:cubicBezTo>
                  <a:cubicBezTo>
                    <a:pt x="34" y="57"/>
                    <a:pt x="36" y="55"/>
                    <a:pt x="38" y="55"/>
                  </a:cubicBezTo>
                  <a:cubicBezTo>
                    <a:pt x="39" y="54"/>
                    <a:pt x="39" y="54"/>
                    <a:pt x="39" y="54"/>
                  </a:cubicBezTo>
                  <a:cubicBezTo>
                    <a:pt x="39" y="54"/>
                    <a:pt x="40" y="54"/>
                    <a:pt x="40" y="54"/>
                  </a:cubicBezTo>
                  <a:cubicBezTo>
                    <a:pt x="40" y="53"/>
                    <a:pt x="40" y="53"/>
                    <a:pt x="40" y="53"/>
                  </a:cubicBezTo>
                  <a:cubicBezTo>
                    <a:pt x="41" y="53"/>
                    <a:pt x="42" y="53"/>
                    <a:pt x="43" y="53"/>
                  </a:cubicBezTo>
                  <a:cubicBezTo>
                    <a:pt x="44" y="53"/>
                    <a:pt x="44" y="53"/>
                    <a:pt x="45" y="53"/>
                  </a:cubicBezTo>
                  <a:cubicBezTo>
                    <a:pt x="46" y="53"/>
                    <a:pt x="46" y="53"/>
                    <a:pt x="46" y="53"/>
                  </a:cubicBezTo>
                  <a:cubicBezTo>
                    <a:pt x="48" y="54"/>
                    <a:pt x="49" y="55"/>
                    <a:pt x="49" y="56"/>
                  </a:cubicBezTo>
                  <a:cubicBezTo>
                    <a:pt x="49" y="56"/>
                    <a:pt x="49" y="56"/>
                    <a:pt x="49" y="56"/>
                  </a:cubicBezTo>
                  <a:cubicBezTo>
                    <a:pt x="50" y="56"/>
                    <a:pt x="50" y="56"/>
                    <a:pt x="50" y="56"/>
                  </a:cubicBezTo>
                  <a:cubicBezTo>
                    <a:pt x="51" y="58"/>
                    <a:pt x="51" y="58"/>
                    <a:pt x="51" y="58"/>
                  </a:cubicBezTo>
                  <a:cubicBezTo>
                    <a:pt x="51" y="58"/>
                    <a:pt x="51" y="58"/>
                    <a:pt x="51" y="58"/>
                  </a:cubicBezTo>
                  <a:cubicBezTo>
                    <a:pt x="52" y="58"/>
                    <a:pt x="52" y="58"/>
                    <a:pt x="52" y="58"/>
                  </a:cubicBezTo>
                  <a:cubicBezTo>
                    <a:pt x="52" y="58"/>
                    <a:pt x="53" y="58"/>
                    <a:pt x="54" y="59"/>
                  </a:cubicBezTo>
                  <a:cubicBezTo>
                    <a:pt x="55" y="60"/>
                    <a:pt x="55" y="60"/>
                    <a:pt x="55" y="60"/>
                  </a:cubicBezTo>
                  <a:cubicBezTo>
                    <a:pt x="55" y="60"/>
                    <a:pt x="55" y="60"/>
                    <a:pt x="55" y="60"/>
                  </a:cubicBezTo>
                  <a:cubicBezTo>
                    <a:pt x="56" y="60"/>
                    <a:pt x="56" y="60"/>
                    <a:pt x="56" y="60"/>
                  </a:cubicBezTo>
                  <a:cubicBezTo>
                    <a:pt x="57" y="61"/>
                    <a:pt x="57" y="62"/>
                    <a:pt x="57" y="62"/>
                  </a:cubicBezTo>
                  <a:cubicBezTo>
                    <a:pt x="58" y="63"/>
                    <a:pt x="58" y="63"/>
                    <a:pt x="58" y="64"/>
                  </a:cubicBezTo>
                  <a:cubicBezTo>
                    <a:pt x="57" y="65"/>
                    <a:pt x="57" y="65"/>
                    <a:pt x="57" y="66"/>
                  </a:cubicBezTo>
                  <a:cubicBezTo>
                    <a:pt x="56" y="67"/>
                    <a:pt x="56" y="67"/>
                    <a:pt x="56" y="67"/>
                  </a:cubicBezTo>
                  <a:cubicBezTo>
                    <a:pt x="56" y="67"/>
                    <a:pt x="56" y="67"/>
                    <a:pt x="56" y="67"/>
                  </a:cubicBezTo>
                  <a:cubicBezTo>
                    <a:pt x="57" y="67"/>
                    <a:pt x="58" y="68"/>
                    <a:pt x="59" y="69"/>
                  </a:cubicBezTo>
                  <a:cubicBezTo>
                    <a:pt x="60" y="70"/>
                    <a:pt x="60" y="70"/>
                    <a:pt x="60" y="70"/>
                  </a:cubicBezTo>
                  <a:cubicBezTo>
                    <a:pt x="60" y="70"/>
                    <a:pt x="60" y="70"/>
                    <a:pt x="60" y="70"/>
                  </a:cubicBezTo>
                  <a:cubicBezTo>
                    <a:pt x="62" y="71"/>
                    <a:pt x="65" y="73"/>
                    <a:pt x="65" y="75"/>
                  </a:cubicBezTo>
                  <a:cubicBezTo>
                    <a:pt x="65" y="76"/>
                    <a:pt x="65" y="76"/>
                    <a:pt x="65" y="76"/>
                  </a:cubicBezTo>
                  <a:cubicBezTo>
                    <a:pt x="66" y="79"/>
                    <a:pt x="65" y="82"/>
                    <a:pt x="63" y="84"/>
                  </a:cubicBezTo>
                  <a:cubicBezTo>
                    <a:pt x="62" y="85"/>
                    <a:pt x="61" y="86"/>
                    <a:pt x="60" y="87"/>
                  </a:cubicBezTo>
                  <a:cubicBezTo>
                    <a:pt x="59" y="87"/>
                    <a:pt x="59" y="88"/>
                    <a:pt x="58" y="88"/>
                  </a:cubicBezTo>
                  <a:cubicBezTo>
                    <a:pt x="58" y="88"/>
                    <a:pt x="58" y="88"/>
                    <a:pt x="58" y="88"/>
                  </a:cubicBezTo>
                  <a:cubicBezTo>
                    <a:pt x="58" y="89"/>
                    <a:pt x="58" y="90"/>
                    <a:pt x="57" y="90"/>
                  </a:cubicBezTo>
                  <a:cubicBezTo>
                    <a:pt x="56" y="91"/>
                    <a:pt x="56" y="91"/>
                    <a:pt x="55" y="91"/>
                  </a:cubicBezTo>
                  <a:cubicBezTo>
                    <a:pt x="55" y="91"/>
                    <a:pt x="55" y="91"/>
                    <a:pt x="55" y="91"/>
                  </a:cubicBezTo>
                  <a:cubicBezTo>
                    <a:pt x="54" y="91"/>
                    <a:pt x="54" y="91"/>
                    <a:pt x="53" y="91"/>
                  </a:cubicBezTo>
                  <a:cubicBezTo>
                    <a:pt x="52" y="91"/>
                    <a:pt x="52" y="91"/>
                    <a:pt x="52" y="91"/>
                  </a:cubicBezTo>
                  <a:cubicBezTo>
                    <a:pt x="52" y="91"/>
                    <a:pt x="52" y="91"/>
                    <a:pt x="52" y="91"/>
                  </a:cubicBezTo>
                  <a:cubicBezTo>
                    <a:pt x="51" y="91"/>
                    <a:pt x="51" y="91"/>
                    <a:pt x="50" y="91"/>
                  </a:cubicBezTo>
                  <a:cubicBezTo>
                    <a:pt x="50" y="91"/>
                    <a:pt x="50" y="91"/>
                    <a:pt x="50" y="91"/>
                  </a:cubicBezTo>
                  <a:cubicBezTo>
                    <a:pt x="48" y="90"/>
                    <a:pt x="48" y="90"/>
                    <a:pt x="48" y="90"/>
                  </a:cubicBezTo>
                  <a:cubicBezTo>
                    <a:pt x="47" y="90"/>
                    <a:pt x="45" y="90"/>
                    <a:pt x="44" y="90"/>
                  </a:cubicBezTo>
                  <a:cubicBezTo>
                    <a:pt x="44" y="90"/>
                    <a:pt x="44" y="90"/>
                    <a:pt x="44" y="90"/>
                  </a:cubicBezTo>
                  <a:cubicBezTo>
                    <a:pt x="44" y="91"/>
                    <a:pt x="44" y="92"/>
                    <a:pt x="43" y="94"/>
                  </a:cubicBezTo>
                  <a:cubicBezTo>
                    <a:pt x="43" y="95"/>
                    <a:pt x="42" y="95"/>
                    <a:pt x="42" y="96"/>
                  </a:cubicBezTo>
                  <a:cubicBezTo>
                    <a:pt x="42" y="96"/>
                    <a:pt x="42" y="96"/>
                    <a:pt x="42" y="96"/>
                  </a:cubicBezTo>
                  <a:cubicBezTo>
                    <a:pt x="48" y="100"/>
                    <a:pt x="55" y="103"/>
                    <a:pt x="61" y="106"/>
                  </a:cubicBezTo>
                  <a:cubicBezTo>
                    <a:pt x="63" y="107"/>
                    <a:pt x="63" y="107"/>
                    <a:pt x="63" y="107"/>
                  </a:cubicBezTo>
                  <a:cubicBezTo>
                    <a:pt x="65" y="108"/>
                    <a:pt x="67" y="109"/>
                    <a:pt x="70" y="110"/>
                  </a:cubicBezTo>
                  <a:cubicBezTo>
                    <a:pt x="73" y="112"/>
                    <a:pt x="73" y="112"/>
                    <a:pt x="73" y="112"/>
                  </a:cubicBezTo>
                  <a:cubicBezTo>
                    <a:pt x="70" y="115"/>
                    <a:pt x="70" y="115"/>
                    <a:pt x="70" y="115"/>
                  </a:cubicBezTo>
                  <a:cubicBezTo>
                    <a:pt x="70" y="115"/>
                    <a:pt x="70" y="115"/>
                    <a:pt x="70" y="116"/>
                  </a:cubicBezTo>
                  <a:cubicBezTo>
                    <a:pt x="69" y="116"/>
                    <a:pt x="69" y="117"/>
                    <a:pt x="69" y="117"/>
                  </a:cubicBezTo>
                  <a:cubicBezTo>
                    <a:pt x="69" y="117"/>
                    <a:pt x="70" y="117"/>
                    <a:pt x="70" y="117"/>
                  </a:cubicBezTo>
                  <a:cubicBezTo>
                    <a:pt x="71" y="120"/>
                    <a:pt x="75" y="123"/>
                    <a:pt x="77" y="124"/>
                  </a:cubicBezTo>
                  <a:cubicBezTo>
                    <a:pt x="78" y="125"/>
                    <a:pt x="78" y="125"/>
                    <a:pt x="78" y="125"/>
                  </a:cubicBezTo>
                  <a:cubicBezTo>
                    <a:pt x="81" y="127"/>
                    <a:pt x="82" y="129"/>
                    <a:pt x="83" y="133"/>
                  </a:cubicBezTo>
                  <a:cubicBezTo>
                    <a:pt x="83" y="133"/>
                    <a:pt x="83" y="133"/>
                    <a:pt x="83" y="133"/>
                  </a:cubicBezTo>
                  <a:cubicBezTo>
                    <a:pt x="83" y="134"/>
                    <a:pt x="84" y="134"/>
                    <a:pt x="84" y="135"/>
                  </a:cubicBezTo>
                  <a:cubicBezTo>
                    <a:pt x="85" y="135"/>
                    <a:pt x="85" y="135"/>
                    <a:pt x="85" y="135"/>
                  </a:cubicBezTo>
                  <a:cubicBezTo>
                    <a:pt x="86" y="136"/>
                    <a:pt x="88" y="137"/>
                    <a:pt x="90" y="139"/>
                  </a:cubicBezTo>
                  <a:cubicBezTo>
                    <a:pt x="93" y="141"/>
                    <a:pt x="93" y="141"/>
                    <a:pt x="93" y="141"/>
                  </a:cubicBezTo>
                  <a:cubicBezTo>
                    <a:pt x="94" y="142"/>
                    <a:pt x="96" y="143"/>
                    <a:pt x="97" y="145"/>
                  </a:cubicBezTo>
                  <a:cubicBezTo>
                    <a:pt x="98" y="145"/>
                    <a:pt x="98" y="146"/>
                    <a:pt x="98" y="147"/>
                  </a:cubicBezTo>
                  <a:cubicBezTo>
                    <a:pt x="99" y="148"/>
                    <a:pt x="99" y="148"/>
                    <a:pt x="99" y="148"/>
                  </a:cubicBezTo>
                  <a:cubicBezTo>
                    <a:pt x="99" y="149"/>
                    <a:pt x="99" y="149"/>
                    <a:pt x="99" y="150"/>
                  </a:cubicBezTo>
                  <a:cubicBezTo>
                    <a:pt x="99" y="150"/>
                    <a:pt x="99" y="150"/>
                    <a:pt x="99" y="150"/>
                  </a:cubicBezTo>
                  <a:cubicBezTo>
                    <a:pt x="103" y="151"/>
                    <a:pt x="103" y="152"/>
                    <a:pt x="103" y="154"/>
                  </a:cubicBezTo>
                  <a:cubicBezTo>
                    <a:pt x="103" y="155"/>
                    <a:pt x="103" y="155"/>
                    <a:pt x="103" y="155"/>
                  </a:cubicBezTo>
                  <a:cubicBezTo>
                    <a:pt x="103" y="155"/>
                    <a:pt x="103" y="156"/>
                    <a:pt x="103" y="157"/>
                  </a:cubicBezTo>
                  <a:cubicBezTo>
                    <a:pt x="103" y="157"/>
                    <a:pt x="103" y="158"/>
                    <a:pt x="103" y="158"/>
                  </a:cubicBezTo>
                  <a:cubicBezTo>
                    <a:pt x="103" y="159"/>
                    <a:pt x="103" y="159"/>
                    <a:pt x="103" y="159"/>
                  </a:cubicBezTo>
                  <a:cubicBezTo>
                    <a:pt x="103" y="159"/>
                    <a:pt x="103" y="160"/>
                    <a:pt x="103" y="161"/>
                  </a:cubicBezTo>
                  <a:cubicBezTo>
                    <a:pt x="104" y="161"/>
                    <a:pt x="104" y="161"/>
                    <a:pt x="104" y="161"/>
                  </a:cubicBezTo>
                  <a:cubicBezTo>
                    <a:pt x="104" y="161"/>
                    <a:pt x="104" y="162"/>
                    <a:pt x="104" y="162"/>
                  </a:cubicBezTo>
                  <a:cubicBezTo>
                    <a:pt x="104" y="162"/>
                    <a:pt x="104" y="162"/>
                    <a:pt x="104" y="162"/>
                  </a:cubicBezTo>
                  <a:cubicBezTo>
                    <a:pt x="104" y="162"/>
                    <a:pt x="104" y="162"/>
                    <a:pt x="104" y="162"/>
                  </a:cubicBezTo>
                  <a:cubicBezTo>
                    <a:pt x="107" y="161"/>
                    <a:pt x="107" y="161"/>
                    <a:pt x="107" y="161"/>
                  </a:cubicBezTo>
                  <a:cubicBezTo>
                    <a:pt x="108" y="161"/>
                    <a:pt x="108" y="161"/>
                    <a:pt x="108" y="161"/>
                  </a:cubicBezTo>
                  <a:cubicBezTo>
                    <a:pt x="109" y="161"/>
                    <a:pt x="109" y="161"/>
                    <a:pt x="110" y="162"/>
                  </a:cubicBezTo>
                  <a:cubicBezTo>
                    <a:pt x="110" y="162"/>
                    <a:pt x="110" y="162"/>
                    <a:pt x="110" y="162"/>
                  </a:cubicBezTo>
                  <a:cubicBezTo>
                    <a:pt x="111" y="163"/>
                    <a:pt x="111" y="164"/>
                    <a:pt x="112" y="165"/>
                  </a:cubicBezTo>
                  <a:cubicBezTo>
                    <a:pt x="112" y="166"/>
                    <a:pt x="112" y="166"/>
                    <a:pt x="112" y="166"/>
                  </a:cubicBezTo>
                  <a:cubicBezTo>
                    <a:pt x="112" y="166"/>
                    <a:pt x="112" y="166"/>
                    <a:pt x="112" y="166"/>
                  </a:cubicBezTo>
                  <a:cubicBezTo>
                    <a:pt x="113" y="166"/>
                    <a:pt x="113" y="166"/>
                    <a:pt x="113" y="166"/>
                  </a:cubicBezTo>
                  <a:cubicBezTo>
                    <a:pt x="114" y="167"/>
                    <a:pt x="114" y="167"/>
                    <a:pt x="114" y="167"/>
                  </a:cubicBezTo>
                  <a:cubicBezTo>
                    <a:pt x="114" y="167"/>
                    <a:pt x="115" y="167"/>
                    <a:pt x="115" y="168"/>
                  </a:cubicBezTo>
                  <a:cubicBezTo>
                    <a:pt x="116" y="168"/>
                    <a:pt x="116" y="168"/>
                    <a:pt x="116" y="168"/>
                  </a:cubicBezTo>
                  <a:cubicBezTo>
                    <a:pt x="116" y="168"/>
                    <a:pt x="116" y="169"/>
                    <a:pt x="116" y="169"/>
                  </a:cubicBezTo>
                  <a:cubicBezTo>
                    <a:pt x="117" y="169"/>
                    <a:pt x="117" y="169"/>
                    <a:pt x="118" y="170"/>
                  </a:cubicBezTo>
                  <a:cubicBezTo>
                    <a:pt x="118" y="170"/>
                    <a:pt x="118" y="170"/>
                    <a:pt x="118" y="170"/>
                  </a:cubicBezTo>
                  <a:cubicBezTo>
                    <a:pt x="120" y="171"/>
                    <a:pt x="122" y="172"/>
                    <a:pt x="123" y="173"/>
                  </a:cubicBezTo>
                  <a:cubicBezTo>
                    <a:pt x="124" y="175"/>
                    <a:pt x="124" y="177"/>
                    <a:pt x="124" y="178"/>
                  </a:cubicBezTo>
                  <a:cubicBezTo>
                    <a:pt x="123" y="178"/>
                    <a:pt x="123" y="179"/>
                    <a:pt x="123" y="179"/>
                  </a:cubicBezTo>
                  <a:cubicBezTo>
                    <a:pt x="122" y="180"/>
                    <a:pt x="121" y="180"/>
                    <a:pt x="121" y="181"/>
                  </a:cubicBezTo>
                  <a:cubicBezTo>
                    <a:pt x="119" y="182"/>
                    <a:pt x="119" y="182"/>
                    <a:pt x="119" y="182"/>
                  </a:cubicBezTo>
                  <a:cubicBezTo>
                    <a:pt x="119" y="182"/>
                    <a:pt x="119" y="182"/>
                    <a:pt x="119" y="182"/>
                  </a:cubicBezTo>
                  <a:cubicBezTo>
                    <a:pt x="120" y="183"/>
                    <a:pt x="123" y="185"/>
                    <a:pt x="124" y="186"/>
                  </a:cubicBezTo>
                  <a:cubicBezTo>
                    <a:pt x="125" y="187"/>
                    <a:pt x="125" y="187"/>
                    <a:pt x="125" y="187"/>
                  </a:cubicBezTo>
                  <a:cubicBezTo>
                    <a:pt x="126" y="188"/>
                    <a:pt x="128" y="190"/>
                    <a:pt x="129" y="193"/>
                  </a:cubicBezTo>
                  <a:cubicBezTo>
                    <a:pt x="129" y="193"/>
                    <a:pt x="129" y="193"/>
                    <a:pt x="129" y="193"/>
                  </a:cubicBezTo>
                  <a:cubicBezTo>
                    <a:pt x="129" y="196"/>
                    <a:pt x="129" y="197"/>
                    <a:pt x="128" y="198"/>
                  </a:cubicBezTo>
                  <a:cubicBezTo>
                    <a:pt x="126" y="200"/>
                    <a:pt x="126" y="200"/>
                    <a:pt x="126" y="200"/>
                  </a:cubicBezTo>
                  <a:cubicBezTo>
                    <a:pt x="125" y="201"/>
                    <a:pt x="125" y="201"/>
                    <a:pt x="125" y="201"/>
                  </a:cubicBezTo>
                  <a:cubicBezTo>
                    <a:pt x="125" y="201"/>
                    <a:pt x="125" y="202"/>
                    <a:pt x="125" y="202"/>
                  </a:cubicBezTo>
                  <a:cubicBezTo>
                    <a:pt x="125" y="203"/>
                    <a:pt x="125" y="203"/>
                    <a:pt x="125" y="203"/>
                  </a:cubicBezTo>
                  <a:cubicBezTo>
                    <a:pt x="126" y="204"/>
                    <a:pt x="126" y="204"/>
                    <a:pt x="126" y="204"/>
                  </a:cubicBezTo>
                  <a:cubicBezTo>
                    <a:pt x="126" y="207"/>
                    <a:pt x="126" y="207"/>
                    <a:pt x="126" y="207"/>
                  </a:cubicBezTo>
                  <a:cubicBezTo>
                    <a:pt x="127" y="208"/>
                    <a:pt x="127" y="208"/>
                    <a:pt x="127" y="208"/>
                  </a:cubicBezTo>
                  <a:cubicBezTo>
                    <a:pt x="126" y="209"/>
                    <a:pt x="126" y="209"/>
                    <a:pt x="126" y="209"/>
                  </a:cubicBezTo>
                  <a:cubicBezTo>
                    <a:pt x="126" y="210"/>
                    <a:pt x="126" y="210"/>
                    <a:pt x="126" y="210"/>
                  </a:cubicBezTo>
                  <a:cubicBezTo>
                    <a:pt x="125" y="213"/>
                    <a:pt x="124" y="216"/>
                    <a:pt x="123" y="218"/>
                  </a:cubicBezTo>
                  <a:cubicBezTo>
                    <a:pt x="122" y="222"/>
                    <a:pt x="122" y="222"/>
                    <a:pt x="122" y="222"/>
                  </a:cubicBezTo>
                  <a:cubicBezTo>
                    <a:pt x="122" y="222"/>
                    <a:pt x="123" y="223"/>
                    <a:pt x="123" y="223"/>
                  </a:cubicBezTo>
                  <a:cubicBezTo>
                    <a:pt x="124" y="224"/>
                    <a:pt x="124" y="224"/>
                    <a:pt x="124" y="224"/>
                  </a:cubicBezTo>
                  <a:cubicBezTo>
                    <a:pt x="124" y="225"/>
                    <a:pt x="125" y="226"/>
                    <a:pt x="125" y="228"/>
                  </a:cubicBezTo>
                  <a:cubicBezTo>
                    <a:pt x="124" y="229"/>
                    <a:pt x="125" y="229"/>
                    <a:pt x="125" y="230"/>
                  </a:cubicBezTo>
                  <a:cubicBezTo>
                    <a:pt x="126" y="232"/>
                    <a:pt x="126" y="232"/>
                    <a:pt x="126" y="232"/>
                  </a:cubicBezTo>
                  <a:cubicBezTo>
                    <a:pt x="127" y="234"/>
                    <a:pt x="129" y="237"/>
                    <a:pt x="128" y="240"/>
                  </a:cubicBezTo>
                  <a:cubicBezTo>
                    <a:pt x="128" y="241"/>
                    <a:pt x="128" y="241"/>
                    <a:pt x="128" y="241"/>
                  </a:cubicBezTo>
                  <a:cubicBezTo>
                    <a:pt x="128" y="243"/>
                    <a:pt x="127" y="246"/>
                    <a:pt x="126" y="248"/>
                  </a:cubicBezTo>
                  <a:cubicBezTo>
                    <a:pt x="126" y="249"/>
                    <a:pt x="126" y="249"/>
                    <a:pt x="126" y="249"/>
                  </a:cubicBezTo>
                  <a:cubicBezTo>
                    <a:pt x="126" y="250"/>
                    <a:pt x="126" y="252"/>
                    <a:pt x="126" y="253"/>
                  </a:cubicBezTo>
                  <a:cubicBezTo>
                    <a:pt x="127" y="254"/>
                    <a:pt x="127" y="254"/>
                    <a:pt x="127" y="254"/>
                  </a:cubicBezTo>
                  <a:cubicBezTo>
                    <a:pt x="127" y="256"/>
                    <a:pt x="127" y="258"/>
                    <a:pt x="127" y="260"/>
                  </a:cubicBezTo>
                  <a:cubicBezTo>
                    <a:pt x="127" y="260"/>
                    <a:pt x="127" y="260"/>
                    <a:pt x="127" y="260"/>
                  </a:cubicBezTo>
                  <a:cubicBezTo>
                    <a:pt x="133" y="260"/>
                    <a:pt x="133" y="260"/>
                    <a:pt x="133" y="260"/>
                  </a:cubicBezTo>
                  <a:cubicBezTo>
                    <a:pt x="127" y="262"/>
                    <a:pt x="127" y="262"/>
                    <a:pt x="127" y="262"/>
                  </a:cubicBezTo>
                  <a:cubicBezTo>
                    <a:pt x="127" y="262"/>
                    <a:pt x="127" y="262"/>
                    <a:pt x="127" y="263"/>
                  </a:cubicBezTo>
                  <a:cubicBezTo>
                    <a:pt x="126" y="267"/>
                    <a:pt x="124" y="268"/>
                    <a:pt x="122" y="269"/>
                  </a:cubicBezTo>
                  <a:cubicBezTo>
                    <a:pt x="121" y="269"/>
                    <a:pt x="121" y="269"/>
                    <a:pt x="121" y="269"/>
                  </a:cubicBezTo>
                  <a:cubicBezTo>
                    <a:pt x="119" y="269"/>
                    <a:pt x="118" y="269"/>
                    <a:pt x="118" y="268"/>
                  </a:cubicBezTo>
                  <a:cubicBezTo>
                    <a:pt x="117" y="268"/>
                    <a:pt x="117" y="268"/>
                    <a:pt x="116" y="268"/>
                  </a:cubicBezTo>
                  <a:cubicBezTo>
                    <a:pt x="116" y="268"/>
                    <a:pt x="116" y="268"/>
                    <a:pt x="116" y="268"/>
                  </a:cubicBezTo>
                  <a:cubicBezTo>
                    <a:pt x="116" y="269"/>
                    <a:pt x="115" y="269"/>
                    <a:pt x="115" y="270"/>
                  </a:cubicBezTo>
                  <a:cubicBezTo>
                    <a:pt x="114" y="271"/>
                    <a:pt x="114" y="271"/>
                    <a:pt x="114" y="271"/>
                  </a:cubicBezTo>
                  <a:cubicBezTo>
                    <a:pt x="113" y="272"/>
                    <a:pt x="110" y="273"/>
                    <a:pt x="108" y="273"/>
                  </a:cubicBezTo>
                  <a:cubicBezTo>
                    <a:pt x="107" y="273"/>
                    <a:pt x="107" y="273"/>
                    <a:pt x="107" y="273"/>
                  </a:cubicBezTo>
                  <a:cubicBezTo>
                    <a:pt x="105" y="274"/>
                    <a:pt x="102" y="275"/>
                    <a:pt x="100" y="275"/>
                  </a:cubicBezTo>
                  <a:cubicBezTo>
                    <a:pt x="100" y="276"/>
                    <a:pt x="100" y="277"/>
                    <a:pt x="100" y="278"/>
                  </a:cubicBezTo>
                  <a:cubicBezTo>
                    <a:pt x="101" y="279"/>
                    <a:pt x="101" y="279"/>
                    <a:pt x="101" y="279"/>
                  </a:cubicBezTo>
                  <a:cubicBezTo>
                    <a:pt x="101" y="279"/>
                    <a:pt x="101" y="280"/>
                    <a:pt x="101" y="280"/>
                  </a:cubicBezTo>
                  <a:cubicBezTo>
                    <a:pt x="101" y="284"/>
                    <a:pt x="101" y="284"/>
                    <a:pt x="101" y="284"/>
                  </a:cubicBezTo>
                  <a:cubicBezTo>
                    <a:pt x="88" y="281"/>
                    <a:pt x="88" y="281"/>
                    <a:pt x="88" y="281"/>
                  </a:cubicBezTo>
                  <a:cubicBezTo>
                    <a:pt x="87" y="281"/>
                    <a:pt x="86" y="282"/>
                    <a:pt x="86" y="283"/>
                  </a:cubicBezTo>
                  <a:cubicBezTo>
                    <a:pt x="86" y="284"/>
                    <a:pt x="86" y="284"/>
                    <a:pt x="86" y="284"/>
                  </a:cubicBezTo>
                  <a:cubicBezTo>
                    <a:pt x="86" y="286"/>
                    <a:pt x="87" y="288"/>
                    <a:pt x="88" y="289"/>
                  </a:cubicBezTo>
                  <a:cubicBezTo>
                    <a:pt x="89" y="290"/>
                    <a:pt x="90" y="291"/>
                    <a:pt x="91" y="292"/>
                  </a:cubicBezTo>
                  <a:cubicBezTo>
                    <a:pt x="92" y="293"/>
                    <a:pt x="93" y="294"/>
                    <a:pt x="94" y="295"/>
                  </a:cubicBezTo>
                  <a:cubicBezTo>
                    <a:pt x="100" y="301"/>
                    <a:pt x="100" y="301"/>
                    <a:pt x="100" y="301"/>
                  </a:cubicBezTo>
                  <a:cubicBezTo>
                    <a:pt x="94" y="300"/>
                    <a:pt x="94" y="300"/>
                    <a:pt x="94" y="300"/>
                  </a:cubicBezTo>
                  <a:cubicBezTo>
                    <a:pt x="95" y="301"/>
                    <a:pt x="95" y="301"/>
                    <a:pt x="95" y="301"/>
                  </a:cubicBezTo>
                  <a:cubicBezTo>
                    <a:pt x="96" y="305"/>
                    <a:pt x="96" y="305"/>
                    <a:pt x="96" y="305"/>
                  </a:cubicBezTo>
                  <a:cubicBezTo>
                    <a:pt x="91" y="304"/>
                    <a:pt x="91" y="304"/>
                    <a:pt x="91" y="304"/>
                  </a:cubicBezTo>
                  <a:cubicBezTo>
                    <a:pt x="88" y="303"/>
                    <a:pt x="85" y="302"/>
                    <a:pt x="83" y="300"/>
                  </a:cubicBezTo>
                  <a:cubicBezTo>
                    <a:pt x="82" y="299"/>
                    <a:pt x="82" y="299"/>
                    <a:pt x="82" y="299"/>
                  </a:cubicBezTo>
                  <a:cubicBezTo>
                    <a:pt x="82" y="299"/>
                    <a:pt x="82" y="299"/>
                    <a:pt x="82" y="299"/>
                  </a:cubicBezTo>
                  <a:cubicBezTo>
                    <a:pt x="82" y="299"/>
                    <a:pt x="82" y="299"/>
                    <a:pt x="81" y="299"/>
                  </a:cubicBezTo>
                  <a:cubicBezTo>
                    <a:pt x="80" y="299"/>
                    <a:pt x="80" y="299"/>
                    <a:pt x="80" y="299"/>
                  </a:cubicBezTo>
                  <a:cubicBezTo>
                    <a:pt x="78" y="300"/>
                    <a:pt x="76" y="300"/>
                    <a:pt x="75" y="300"/>
                  </a:cubicBezTo>
                  <a:cubicBezTo>
                    <a:pt x="74" y="300"/>
                    <a:pt x="74" y="300"/>
                    <a:pt x="74" y="300"/>
                  </a:cubicBezTo>
                  <a:cubicBezTo>
                    <a:pt x="73" y="301"/>
                    <a:pt x="72" y="301"/>
                    <a:pt x="71" y="301"/>
                  </a:cubicBezTo>
                  <a:cubicBezTo>
                    <a:pt x="74" y="304"/>
                    <a:pt x="78" y="308"/>
                    <a:pt x="82" y="311"/>
                  </a:cubicBezTo>
                  <a:cubicBezTo>
                    <a:pt x="84" y="313"/>
                    <a:pt x="86" y="313"/>
                    <a:pt x="89" y="313"/>
                  </a:cubicBezTo>
                  <a:cubicBezTo>
                    <a:pt x="91" y="313"/>
                    <a:pt x="93" y="313"/>
                    <a:pt x="94" y="313"/>
                  </a:cubicBezTo>
                  <a:cubicBezTo>
                    <a:pt x="95" y="313"/>
                    <a:pt x="95" y="313"/>
                    <a:pt x="96" y="313"/>
                  </a:cubicBezTo>
                  <a:cubicBezTo>
                    <a:pt x="98" y="313"/>
                    <a:pt x="100" y="313"/>
                    <a:pt x="102" y="314"/>
                  </a:cubicBezTo>
                  <a:cubicBezTo>
                    <a:pt x="102" y="314"/>
                    <a:pt x="102" y="314"/>
                    <a:pt x="102" y="314"/>
                  </a:cubicBezTo>
                  <a:cubicBezTo>
                    <a:pt x="108" y="314"/>
                    <a:pt x="106" y="312"/>
                    <a:pt x="101" y="310"/>
                  </a:cubicBezTo>
                  <a:cubicBezTo>
                    <a:pt x="102" y="309"/>
                    <a:pt x="103" y="309"/>
                    <a:pt x="103" y="308"/>
                  </a:cubicBezTo>
                  <a:cubicBezTo>
                    <a:pt x="103" y="309"/>
                    <a:pt x="103" y="309"/>
                    <a:pt x="103" y="309"/>
                  </a:cubicBezTo>
                  <a:cubicBezTo>
                    <a:pt x="101" y="307"/>
                    <a:pt x="101" y="307"/>
                    <a:pt x="101" y="307"/>
                  </a:cubicBezTo>
                  <a:cubicBezTo>
                    <a:pt x="102" y="305"/>
                    <a:pt x="102" y="305"/>
                    <a:pt x="102" y="305"/>
                  </a:cubicBezTo>
                  <a:cubicBezTo>
                    <a:pt x="105" y="302"/>
                    <a:pt x="105" y="302"/>
                    <a:pt x="105" y="302"/>
                  </a:cubicBezTo>
                  <a:cubicBezTo>
                    <a:pt x="106" y="304"/>
                    <a:pt x="106" y="304"/>
                    <a:pt x="106" y="304"/>
                  </a:cubicBezTo>
                  <a:cubicBezTo>
                    <a:pt x="109" y="302"/>
                    <a:pt x="109" y="302"/>
                    <a:pt x="109" y="302"/>
                  </a:cubicBezTo>
                  <a:cubicBezTo>
                    <a:pt x="109" y="303"/>
                    <a:pt x="109" y="305"/>
                    <a:pt x="108" y="306"/>
                  </a:cubicBezTo>
                  <a:cubicBezTo>
                    <a:pt x="109" y="307"/>
                    <a:pt x="111" y="308"/>
                    <a:pt x="111" y="308"/>
                  </a:cubicBezTo>
                  <a:cubicBezTo>
                    <a:pt x="111" y="307"/>
                    <a:pt x="111" y="306"/>
                    <a:pt x="112" y="305"/>
                  </a:cubicBezTo>
                  <a:cubicBezTo>
                    <a:pt x="112" y="308"/>
                    <a:pt x="110" y="309"/>
                    <a:pt x="114" y="311"/>
                  </a:cubicBezTo>
                  <a:cubicBezTo>
                    <a:pt x="114" y="311"/>
                    <a:pt x="112" y="311"/>
                    <a:pt x="112" y="312"/>
                  </a:cubicBezTo>
                  <a:cubicBezTo>
                    <a:pt x="113" y="312"/>
                    <a:pt x="113" y="312"/>
                    <a:pt x="113" y="312"/>
                  </a:cubicBezTo>
                  <a:cubicBezTo>
                    <a:pt x="116" y="312"/>
                    <a:pt x="120" y="309"/>
                    <a:pt x="121" y="308"/>
                  </a:cubicBezTo>
                  <a:cubicBezTo>
                    <a:pt x="127" y="305"/>
                    <a:pt x="133" y="301"/>
                    <a:pt x="139" y="298"/>
                  </a:cubicBezTo>
                  <a:cubicBezTo>
                    <a:pt x="146" y="294"/>
                    <a:pt x="154" y="291"/>
                    <a:pt x="157" y="285"/>
                  </a:cubicBezTo>
                  <a:cubicBezTo>
                    <a:pt x="158" y="283"/>
                    <a:pt x="165" y="279"/>
                    <a:pt x="162" y="277"/>
                  </a:cubicBezTo>
                  <a:cubicBezTo>
                    <a:pt x="160" y="276"/>
                    <a:pt x="161" y="272"/>
                    <a:pt x="162" y="269"/>
                  </a:cubicBezTo>
                  <a:cubicBezTo>
                    <a:pt x="162" y="271"/>
                    <a:pt x="163" y="274"/>
                    <a:pt x="164" y="275"/>
                  </a:cubicBezTo>
                  <a:cubicBezTo>
                    <a:pt x="164" y="273"/>
                    <a:pt x="163" y="273"/>
                    <a:pt x="163" y="273"/>
                  </a:cubicBezTo>
                  <a:cubicBezTo>
                    <a:pt x="163" y="271"/>
                    <a:pt x="164" y="268"/>
                    <a:pt x="163" y="266"/>
                  </a:cubicBezTo>
                  <a:cubicBezTo>
                    <a:pt x="163" y="264"/>
                    <a:pt x="162" y="263"/>
                    <a:pt x="161" y="262"/>
                  </a:cubicBezTo>
                  <a:cubicBezTo>
                    <a:pt x="161" y="262"/>
                    <a:pt x="161" y="262"/>
                    <a:pt x="162" y="262"/>
                  </a:cubicBezTo>
                  <a:cubicBezTo>
                    <a:pt x="162" y="262"/>
                    <a:pt x="163" y="262"/>
                    <a:pt x="164" y="262"/>
                  </a:cubicBezTo>
                  <a:cubicBezTo>
                    <a:pt x="164" y="263"/>
                    <a:pt x="165" y="263"/>
                    <a:pt x="166" y="263"/>
                  </a:cubicBezTo>
                  <a:cubicBezTo>
                    <a:pt x="166" y="263"/>
                    <a:pt x="166" y="263"/>
                    <a:pt x="166" y="263"/>
                  </a:cubicBezTo>
                  <a:cubicBezTo>
                    <a:pt x="165" y="263"/>
                    <a:pt x="165" y="262"/>
                    <a:pt x="165" y="262"/>
                  </a:cubicBezTo>
                  <a:cubicBezTo>
                    <a:pt x="164" y="257"/>
                    <a:pt x="162" y="257"/>
                    <a:pt x="166" y="253"/>
                  </a:cubicBezTo>
                  <a:cubicBezTo>
                    <a:pt x="166" y="255"/>
                    <a:pt x="167" y="257"/>
                    <a:pt x="168" y="259"/>
                  </a:cubicBezTo>
                  <a:cubicBezTo>
                    <a:pt x="169" y="257"/>
                    <a:pt x="168" y="257"/>
                    <a:pt x="167" y="256"/>
                  </a:cubicBezTo>
                  <a:cubicBezTo>
                    <a:pt x="167" y="255"/>
                    <a:pt x="167" y="255"/>
                    <a:pt x="167" y="254"/>
                  </a:cubicBezTo>
                  <a:cubicBezTo>
                    <a:pt x="167" y="253"/>
                    <a:pt x="166" y="253"/>
                    <a:pt x="167" y="252"/>
                  </a:cubicBezTo>
                  <a:cubicBezTo>
                    <a:pt x="169" y="251"/>
                    <a:pt x="169" y="251"/>
                    <a:pt x="169" y="251"/>
                  </a:cubicBezTo>
                  <a:cubicBezTo>
                    <a:pt x="168" y="248"/>
                    <a:pt x="167" y="245"/>
                    <a:pt x="166" y="242"/>
                  </a:cubicBezTo>
                  <a:cubicBezTo>
                    <a:pt x="165" y="239"/>
                    <a:pt x="164" y="235"/>
                    <a:pt x="163" y="232"/>
                  </a:cubicBezTo>
                  <a:cubicBezTo>
                    <a:pt x="163" y="231"/>
                    <a:pt x="165" y="229"/>
                    <a:pt x="165" y="228"/>
                  </a:cubicBezTo>
                  <a:cubicBezTo>
                    <a:pt x="165" y="227"/>
                    <a:pt x="164" y="226"/>
                    <a:pt x="164" y="224"/>
                  </a:cubicBezTo>
                  <a:cubicBezTo>
                    <a:pt x="163" y="219"/>
                    <a:pt x="161" y="212"/>
                    <a:pt x="159" y="207"/>
                  </a:cubicBezTo>
                  <a:cubicBezTo>
                    <a:pt x="157" y="202"/>
                    <a:pt x="156" y="200"/>
                    <a:pt x="156" y="196"/>
                  </a:cubicBezTo>
                  <a:cubicBezTo>
                    <a:pt x="156" y="194"/>
                    <a:pt x="156" y="194"/>
                    <a:pt x="155" y="194"/>
                  </a:cubicBezTo>
                  <a:cubicBezTo>
                    <a:pt x="150" y="189"/>
                    <a:pt x="146" y="183"/>
                    <a:pt x="142" y="178"/>
                  </a:cubicBezTo>
                  <a:cubicBezTo>
                    <a:pt x="142" y="177"/>
                    <a:pt x="142" y="177"/>
                    <a:pt x="142" y="177"/>
                  </a:cubicBezTo>
                  <a:cubicBezTo>
                    <a:pt x="142" y="176"/>
                    <a:pt x="142" y="176"/>
                    <a:pt x="142" y="176"/>
                  </a:cubicBezTo>
                  <a:cubicBezTo>
                    <a:pt x="142" y="176"/>
                    <a:pt x="142" y="176"/>
                    <a:pt x="142" y="176"/>
                  </a:cubicBezTo>
                  <a:cubicBezTo>
                    <a:pt x="142" y="174"/>
                    <a:pt x="143" y="173"/>
                    <a:pt x="142" y="173"/>
                  </a:cubicBezTo>
                  <a:cubicBezTo>
                    <a:pt x="142" y="173"/>
                    <a:pt x="141" y="172"/>
                    <a:pt x="141" y="172"/>
                  </a:cubicBezTo>
                  <a:cubicBezTo>
                    <a:pt x="140" y="172"/>
                    <a:pt x="139" y="174"/>
                    <a:pt x="139" y="175"/>
                  </a:cubicBezTo>
                  <a:cubicBezTo>
                    <a:pt x="139" y="175"/>
                    <a:pt x="139" y="175"/>
                    <a:pt x="139" y="175"/>
                  </a:cubicBezTo>
                  <a:cubicBezTo>
                    <a:pt x="138" y="174"/>
                    <a:pt x="138" y="172"/>
                    <a:pt x="139" y="171"/>
                  </a:cubicBezTo>
                  <a:cubicBezTo>
                    <a:pt x="135" y="169"/>
                    <a:pt x="129" y="167"/>
                    <a:pt x="126" y="164"/>
                  </a:cubicBezTo>
                  <a:cubicBezTo>
                    <a:pt x="124" y="162"/>
                    <a:pt x="122" y="159"/>
                    <a:pt x="120" y="158"/>
                  </a:cubicBezTo>
                  <a:cubicBezTo>
                    <a:pt x="118" y="157"/>
                    <a:pt x="116" y="156"/>
                    <a:pt x="114" y="155"/>
                  </a:cubicBezTo>
                  <a:cubicBezTo>
                    <a:pt x="112" y="153"/>
                    <a:pt x="112" y="150"/>
                    <a:pt x="111" y="148"/>
                  </a:cubicBezTo>
                  <a:cubicBezTo>
                    <a:pt x="109" y="147"/>
                    <a:pt x="107" y="145"/>
                    <a:pt x="105" y="143"/>
                  </a:cubicBezTo>
                  <a:cubicBezTo>
                    <a:pt x="101" y="140"/>
                    <a:pt x="97" y="137"/>
                    <a:pt x="94" y="134"/>
                  </a:cubicBezTo>
                  <a:cubicBezTo>
                    <a:pt x="94" y="134"/>
                    <a:pt x="94" y="134"/>
                    <a:pt x="94" y="134"/>
                  </a:cubicBezTo>
                  <a:cubicBezTo>
                    <a:pt x="96" y="134"/>
                    <a:pt x="97" y="135"/>
                    <a:pt x="99" y="135"/>
                  </a:cubicBezTo>
                  <a:cubicBezTo>
                    <a:pt x="97" y="133"/>
                    <a:pt x="97" y="131"/>
                    <a:pt x="99" y="129"/>
                  </a:cubicBezTo>
                  <a:cubicBezTo>
                    <a:pt x="99" y="129"/>
                    <a:pt x="87" y="117"/>
                    <a:pt x="85" y="116"/>
                  </a:cubicBezTo>
                  <a:cubicBezTo>
                    <a:pt x="81" y="112"/>
                    <a:pt x="79" y="109"/>
                    <a:pt x="78" y="104"/>
                  </a:cubicBezTo>
                  <a:cubicBezTo>
                    <a:pt x="78" y="104"/>
                    <a:pt x="78" y="104"/>
                    <a:pt x="78" y="104"/>
                  </a:cubicBezTo>
                  <a:cubicBezTo>
                    <a:pt x="79" y="101"/>
                    <a:pt x="81" y="99"/>
                    <a:pt x="82" y="97"/>
                  </a:cubicBezTo>
                  <a:cubicBezTo>
                    <a:pt x="84" y="95"/>
                    <a:pt x="81" y="91"/>
                    <a:pt x="82" y="89"/>
                  </a:cubicBezTo>
                  <a:cubicBezTo>
                    <a:pt x="83" y="88"/>
                    <a:pt x="85" y="85"/>
                    <a:pt x="85" y="84"/>
                  </a:cubicBezTo>
                  <a:cubicBezTo>
                    <a:pt x="88" y="80"/>
                    <a:pt x="89" y="79"/>
                    <a:pt x="92" y="77"/>
                  </a:cubicBezTo>
                  <a:cubicBezTo>
                    <a:pt x="94" y="75"/>
                    <a:pt x="97" y="72"/>
                    <a:pt x="100" y="72"/>
                  </a:cubicBezTo>
                  <a:cubicBezTo>
                    <a:pt x="100" y="72"/>
                    <a:pt x="100" y="72"/>
                    <a:pt x="100" y="72"/>
                  </a:cubicBezTo>
                  <a:cubicBezTo>
                    <a:pt x="101" y="69"/>
                    <a:pt x="101" y="66"/>
                    <a:pt x="101" y="64"/>
                  </a:cubicBezTo>
                  <a:cubicBezTo>
                    <a:pt x="101" y="63"/>
                    <a:pt x="105" y="63"/>
                    <a:pt x="106" y="62"/>
                  </a:cubicBezTo>
                  <a:cubicBezTo>
                    <a:pt x="105" y="61"/>
                    <a:pt x="105" y="61"/>
                    <a:pt x="105" y="61"/>
                  </a:cubicBezTo>
                  <a:cubicBezTo>
                    <a:pt x="104" y="57"/>
                    <a:pt x="105" y="57"/>
                    <a:pt x="102" y="54"/>
                  </a:cubicBezTo>
                  <a:cubicBezTo>
                    <a:pt x="104" y="56"/>
                    <a:pt x="106" y="57"/>
                    <a:pt x="108" y="57"/>
                  </a:cubicBezTo>
                  <a:cubicBezTo>
                    <a:pt x="108" y="57"/>
                    <a:pt x="109" y="57"/>
                    <a:pt x="109" y="57"/>
                  </a:cubicBezTo>
                  <a:cubicBezTo>
                    <a:pt x="109" y="57"/>
                    <a:pt x="109" y="57"/>
                    <a:pt x="109" y="57"/>
                  </a:cubicBezTo>
                  <a:cubicBezTo>
                    <a:pt x="110" y="56"/>
                    <a:pt x="111" y="56"/>
                    <a:pt x="112" y="56"/>
                  </a:cubicBezTo>
                  <a:cubicBezTo>
                    <a:pt x="112" y="55"/>
                    <a:pt x="112" y="55"/>
                    <a:pt x="112" y="55"/>
                  </a:cubicBezTo>
                  <a:cubicBezTo>
                    <a:pt x="113" y="55"/>
                    <a:pt x="113" y="56"/>
                    <a:pt x="114" y="56"/>
                  </a:cubicBezTo>
                  <a:cubicBezTo>
                    <a:pt x="114" y="56"/>
                    <a:pt x="114" y="56"/>
                    <a:pt x="115" y="56"/>
                  </a:cubicBezTo>
                  <a:cubicBezTo>
                    <a:pt x="115" y="56"/>
                    <a:pt x="115" y="56"/>
                    <a:pt x="115" y="56"/>
                  </a:cubicBezTo>
                  <a:cubicBezTo>
                    <a:pt x="116" y="56"/>
                    <a:pt x="118" y="55"/>
                    <a:pt x="119" y="54"/>
                  </a:cubicBezTo>
                  <a:cubicBezTo>
                    <a:pt x="119" y="54"/>
                    <a:pt x="119" y="54"/>
                    <a:pt x="119" y="53"/>
                  </a:cubicBezTo>
                  <a:cubicBezTo>
                    <a:pt x="119" y="52"/>
                    <a:pt x="120" y="51"/>
                    <a:pt x="119" y="50"/>
                  </a:cubicBezTo>
                  <a:cubicBezTo>
                    <a:pt x="120" y="50"/>
                    <a:pt x="121" y="49"/>
                    <a:pt x="122" y="49"/>
                  </a:cubicBezTo>
                  <a:cubicBezTo>
                    <a:pt x="120" y="50"/>
                    <a:pt x="120" y="52"/>
                    <a:pt x="119" y="53"/>
                  </a:cubicBezTo>
                  <a:cubicBezTo>
                    <a:pt x="121" y="52"/>
                    <a:pt x="123" y="51"/>
                    <a:pt x="125" y="50"/>
                  </a:cubicBezTo>
                  <a:cubicBezTo>
                    <a:pt x="124" y="49"/>
                    <a:pt x="123" y="49"/>
                    <a:pt x="122" y="48"/>
                  </a:cubicBezTo>
                  <a:cubicBezTo>
                    <a:pt x="125" y="47"/>
                    <a:pt x="128" y="45"/>
                    <a:pt x="130" y="43"/>
                  </a:cubicBezTo>
                  <a:cubicBezTo>
                    <a:pt x="130" y="43"/>
                    <a:pt x="130" y="43"/>
                    <a:pt x="130" y="43"/>
                  </a:cubicBezTo>
                  <a:cubicBezTo>
                    <a:pt x="130" y="43"/>
                    <a:pt x="130" y="43"/>
                    <a:pt x="130" y="43"/>
                  </a:cubicBezTo>
                  <a:cubicBezTo>
                    <a:pt x="127" y="43"/>
                    <a:pt x="125" y="42"/>
                    <a:pt x="124" y="42"/>
                  </a:cubicBezTo>
                  <a:cubicBezTo>
                    <a:pt x="123" y="42"/>
                    <a:pt x="123" y="42"/>
                    <a:pt x="122" y="42"/>
                  </a:cubicBezTo>
                  <a:cubicBezTo>
                    <a:pt x="122" y="42"/>
                    <a:pt x="122" y="42"/>
                    <a:pt x="122" y="42"/>
                  </a:cubicBezTo>
                  <a:cubicBezTo>
                    <a:pt x="121" y="42"/>
                    <a:pt x="120" y="42"/>
                    <a:pt x="120" y="42"/>
                  </a:cubicBezTo>
                  <a:cubicBezTo>
                    <a:pt x="117" y="42"/>
                    <a:pt x="115" y="40"/>
                    <a:pt x="114" y="39"/>
                  </a:cubicBezTo>
                  <a:cubicBezTo>
                    <a:pt x="114" y="38"/>
                    <a:pt x="114" y="38"/>
                    <a:pt x="113" y="38"/>
                  </a:cubicBezTo>
                  <a:cubicBezTo>
                    <a:pt x="112" y="36"/>
                    <a:pt x="112" y="36"/>
                    <a:pt x="112" y="36"/>
                  </a:cubicBezTo>
                  <a:cubicBezTo>
                    <a:pt x="110" y="34"/>
                    <a:pt x="110" y="34"/>
                    <a:pt x="110" y="34"/>
                  </a:cubicBezTo>
                  <a:cubicBezTo>
                    <a:pt x="110" y="34"/>
                    <a:pt x="109" y="34"/>
                    <a:pt x="108" y="34"/>
                  </a:cubicBezTo>
                  <a:cubicBezTo>
                    <a:pt x="107" y="34"/>
                    <a:pt x="107" y="34"/>
                    <a:pt x="107" y="34"/>
                  </a:cubicBezTo>
                  <a:cubicBezTo>
                    <a:pt x="106" y="34"/>
                    <a:pt x="104" y="34"/>
                    <a:pt x="102" y="33"/>
                  </a:cubicBezTo>
                  <a:cubicBezTo>
                    <a:pt x="102" y="33"/>
                    <a:pt x="102" y="33"/>
                    <a:pt x="102" y="33"/>
                  </a:cubicBezTo>
                  <a:cubicBezTo>
                    <a:pt x="101" y="33"/>
                    <a:pt x="101" y="33"/>
                    <a:pt x="101" y="33"/>
                  </a:cubicBezTo>
                  <a:cubicBezTo>
                    <a:pt x="100" y="31"/>
                    <a:pt x="100" y="31"/>
                    <a:pt x="100" y="31"/>
                  </a:cubicBezTo>
                  <a:cubicBezTo>
                    <a:pt x="100" y="30"/>
                    <a:pt x="100" y="30"/>
                    <a:pt x="100" y="30"/>
                  </a:cubicBezTo>
                  <a:cubicBezTo>
                    <a:pt x="100" y="30"/>
                    <a:pt x="100" y="30"/>
                    <a:pt x="100" y="30"/>
                  </a:cubicBezTo>
                  <a:cubicBezTo>
                    <a:pt x="100" y="28"/>
                    <a:pt x="100" y="28"/>
                    <a:pt x="100" y="28"/>
                  </a:cubicBezTo>
                  <a:cubicBezTo>
                    <a:pt x="101" y="28"/>
                    <a:pt x="101" y="28"/>
                    <a:pt x="101" y="28"/>
                  </a:cubicBezTo>
                  <a:cubicBezTo>
                    <a:pt x="101" y="28"/>
                    <a:pt x="100" y="27"/>
                    <a:pt x="100" y="27"/>
                  </a:cubicBezTo>
                  <a:cubicBezTo>
                    <a:pt x="100" y="25"/>
                    <a:pt x="99" y="24"/>
                    <a:pt x="99" y="23"/>
                  </a:cubicBezTo>
                  <a:cubicBezTo>
                    <a:pt x="98" y="22"/>
                    <a:pt x="98" y="22"/>
                    <a:pt x="98" y="22"/>
                  </a:cubicBezTo>
                  <a:cubicBezTo>
                    <a:pt x="97" y="19"/>
                    <a:pt x="98" y="17"/>
                    <a:pt x="100" y="15"/>
                  </a:cubicBezTo>
                  <a:cubicBezTo>
                    <a:pt x="101" y="13"/>
                    <a:pt x="101" y="13"/>
                    <a:pt x="101" y="13"/>
                  </a:cubicBezTo>
                  <a:cubicBezTo>
                    <a:pt x="101" y="13"/>
                    <a:pt x="102" y="12"/>
                    <a:pt x="102" y="12"/>
                  </a:cubicBezTo>
                  <a:cubicBezTo>
                    <a:pt x="102" y="12"/>
                    <a:pt x="102" y="12"/>
                    <a:pt x="102" y="12"/>
                  </a:cubicBezTo>
                  <a:cubicBezTo>
                    <a:pt x="101" y="11"/>
                    <a:pt x="101" y="11"/>
                    <a:pt x="101" y="11"/>
                  </a:cubicBezTo>
                  <a:cubicBezTo>
                    <a:pt x="100" y="11"/>
                    <a:pt x="99" y="11"/>
                    <a:pt x="97" y="11"/>
                  </a:cubicBezTo>
                  <a:cubicBezTo>
                    <a:pt x="97" y="11"/>
                    <a:pt x="97" y="11"/>
                    <a:pt x="96" y="11"/>
                  </a:cubicBezTo>
                  <a:cubicBezTo>
                    <a:pt x="96" y="11"/>
                    <a:pt x="95" y="11"/>
                    <a:pt x="95" y="11"/>
                  </a:cubicBezTo>
                  <a:cubicBezTo>
                    <a:pt x="94" y="11"/>
                    <a:pt x="94" y="11"/>
                    <a:pt x="93" y="11"/>
                  </a:cubicBezTo>
                  <a:cubicBezTo>
                    <a:pt x="92" y="11"/>
                    <a:pt x="92" y="11"/>
                    <a:pt x="92" y="11"/>
                  </a:cubicBezTo>
                  <a:cubicBezTo>
                    <a:pt x="88" y="11"/>
                    <a:pt x="84" y="11"/>
                    <a:pt x="80" y="8"/>
                  </a:cubicBezTo>
                  <a:cubicBezTo>
                    <a:pt x="79" y="7"/>
                    <a:pt x="79" y="7"/>
                    <a:pt x="79" y="7"/>
                  </a:cubicBezTo>
                  <a:cubicBezTo>
                    <a:pt x="77" y="6"/>
                    <a:pt x="75" y="4"/>
                    <a:pt x="74" y="3"/>
                  </a:cubicBezTo>
                  <a:cubicBezTo>
                    <a:pt x="73" y="2"/>
                    <a:pt x="73" y="2"/>
                    <a:pt x="73" y="2"/>
                  </a:cubicBezTo>
                  <a:cubicBezTo>
                    <a:pt x="73" y="1"/>
                    <a:pt x="72" y="1"/>
                    <a:pt x="72" y="1"/>
                  </a:cubicBezTo>
                  <a:cubicBezTo>
                    <a:pt x="72" y="0"/>
                    <a:pt x="72" y="0"/>
                    <a:pt x="72" y="0"/>
                  </a:cubicBezTo>
                  <a:cubicBezTo>
                    <a:pt x="71" y="0"/>
                    <a:pt x="71" y="0"/>
                    <a:pt x="71" y="0"/>
                  </a:cubicBezTo>
                  <a:cubicBezTo>
                    <a:pt x="70" y="0"/>
                    <a:pt x="70" y="0"/>
                    <a:pt x="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Freeform 1555"/>
            <p:cNvSpPr/>
            <p:nvPr/>
          </p:nvSpPr>
          <p:spPr bwMode="auto">
            <a:xfrm>
              <a:off x="3197443" y="4100840"/>
              <a:ext cx="124837" cy="165107"/>
            </a:xfrm>
            <a:custGeom>
              <a:gdLst>
                <a:gd name="T0" fmla="*/ 18 w 39"/>
                <a:gd name="T1" fmla="*/ 0 h 52"/>
                <a:gd name="T2" fmla="*/ 16 w 39"/>
                <a:gd name="T3" fmla="*/ 0 h 52"/>
                <a:gd name="T4" fmla="*/ 15 w 39"/>
                <a:gd name="T5" fmla="*/ 0 h 52"/>
                <a:gd name="T6" fmla="*/ 15 w 39"/>
                <a:gd name="T7" fmla="*/ 1 h 52"/>
                <a:gd name="T8" fmla="*/ 5 w 39"/>
                <a:gd name="T9" fmla="*/ 9 h 52"/>
                <a:gd name="T10" fmla="*/ 0 w 39"/>
                <a:gd name="T11" fmla="*/ 11 h 52"/>
                <a:gd name="T12" fmla="*/ 3 w 39"/>
                <a:gd name="T13" fmla="*/ 15 h 52"/>
                <a:gd name="T14" fmla="*/ 14 w 39"/>
                <a:gd name="T15" fmla="*/ 22 h 52"/>
                <a:gd name="T16" fmla="*/ 13 w 39"/>
                <a:gd name="T17" fmla="*/ 21 h 52"/>
                <a:gd name="T18" fmla="*/ 9 w 39"/>
                <a:gd name="T19" fmla="*/ 24 h 52"/>
                <a:gd name="T20" fmla="*/ 7 w 39"/>
                <a:gd name="T21" fmla="*/ 39 h 52"/>
                <a:gd name="T22" fmla="*/ 9 w 39"/>
                <a:gd name="T23" fmla="*/ 50 h 52"/>
                <a:gd name="T24" fmla="*/ 10 w 39"/>
                <a:gd name="T25" fmla="*/ 50 h 52"/>
                <a:gd name="T26" fmla="*/ 5 w 39"/>
                <a:gd name="T27" fmla="*/ 52 h 52"/>
                <a:gd name="T28" fmla="*/ 16 w 39"/>
                <a:gd name="T29" fmla="*/ 49 h 52"/>
                <a:gd name="T30" fmla="*/ 21 w 39"/>
                <a:gd name="T31" fmla="*/ 45 h 52"/>
                <a:gd name="T32" fmla="*/ 34 w 39"/>
                <a:gd name="T33" fmla="*/ 35 h 52"/>
                <a:gd name="T34" fmla="*/ 38 w 39"/>
                <a:gd name="T35" fmla="*/ 30 h 52"/>
                <a:gd name="T36" fmla="*/ 33 w 39"/>
                <a:gd name="T37" fmla="*/ 21 h 52"/>
                <a:gd name="T38" fmla="*/ 31 w 39"/>
                <a:gd name="T39" fmla="*/ 18 h 52"/>
                <a:gd name="T40" fmla="*/ 31 w 39"/>
                <a:gd name="T41" fmla="*/ 18 h 52"/>
                <a:gd name="T42" fmla="*/ 27 w 39"/>
                <a:gd name="T43" fmla="*/ 14 h 52"/>
                <a:gd name="T44" fmla="*/ 27 w 39"/>
                <a:gd name="T45" fmla="*/ 14 h 52"/>
                <a:gd name="T46" fmla="*/ 21 w 39"/>
                <a:gd name="T47" fmla="*/ 9 h 52"/>
                <a:gd name="T48" fmla="*/ 18 w 39"/>
                <a:gd name="T49" fmla="*/ 5 h 52"/>
                <a:gd name="T50" fmla="*/ 19 w 39"/>
                <a:gd name="T51" fmla="*/ 6 h 52"/>
                <a:gd name="T52" fmla="*/ 19 w 39"/>
                <a:gd name="T53" fmla="*/ 6 h 52"/>
                <a:gd name="T54" fmla="*/ 18 w 39"/>
                <a:gd name="T55" fmla="*/ 0 h 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52">
                  <a:moveTo>
                    <a:pt x="18" y="0"/>
                  </a:moveTo>
                  <a:cubicBezTo>
                    <a:pt x="17" y="0"/>
                    <a:pt x="16" y="0"/>
                    <a:pt x="16" y="0"/>
                  </a:cubicBezTo>
                  <a:cubicBezTo>
                    <a:pt x="15" y="0"/>
                    <a:pt x="15" y="0"/>
                    <a:pt x="15" y="0"/>
                  </a:cubicBezTo>
                  <a:cubicBezTo>
                    <a:pt x="15" y="1"/>
                    <a:pt x="15" y="1"/>
                    <a:pt x="15" y="1"/>
                  </a:cubicBezTo>
                  <a:cubicBezTo>
                    <a:pt x="15" y="4"/>
                    <a:pt x="10" y="8"/>
                    <a:pt x="5" y="9"/>
                  </a:cubicBezTo>
                  <a:cubicBezTo>
                    <a:pt x="3" y="10"/>
                    <a:pt x="1" y="11"/>
                    <a:pt x="0" y="11"/>
                  </a:cubicBezTo>
                  <a:cubicBezTo>
                    <a:pt x="1" y="13"/>
                    <a:pt x="2" y="15"/>
                    <a:pt x="3" y="15"/>
                  </a:cubicBezTo>
                  <a:cubicBezTo>
                    <a:pt x="5" y="17"/>
                    <a:pt x="14" y="17"/>
                    <a:pt x="14" y="22"/>
                  </a:cubicBezTo>
                  <a:cubicBezTo>
                    <a:pt x="14" y="21"/>
                    <a:pt x="14" y="21"/>
                    <a:pt x="13" y="21"/>
                  </a:cubicBezTo>
                  <a:cubicBezTo>
                    <a:pt x="12" y="21"/>
                    <a:pt x="10" y="23"/>
                    <a:pt x="9" y="24"/>
                  </a:cubicBezTo>
                  <a:cubicBezTo>
                    <a:pt x="7" y="28"/>
                    <a:pt x="7" y="34"/>
                    <a:pt x="7" y="39"/>
                  </a:cubicBezTo>
                  <a:cubicBezTo>
                    <a:pt x="7" y="41"/>
                    <a:pt x="5" y="50"/>
                    <a:pt x="9" y="50"/>
                  </a:cubicBezTo>
                  <a:cubicBezTo>
                    <a:pt x="10" y="50"/>
                    <a:pt x="10" y="50"/>
                    <a:pt x="10" y="50"/>
                  </a:cubicBezTo>
                  <a:cubicBezTo>
                    <a:pt x="8" y="51"/>
                    <a:pt x="7" y="51"/>
                    <a:pt x="5" y="52"/>
                  </a:cubicBezTo>
                  <a:cubicBezTo>
                    <a:pt x="10" y="52"/>
                    <a:pt x="13" y="52"/>
                    <a:pt x="16" y="49"/>
                  </a:cubicBezTo>
                  <a:cubicBezTo>
                    <a:pt x="19" y="48"/>
                    <a:pt x="19" y="47"/>
                    <a:pt x="21" y="45"/>
                  </a:cubicBezTo>
                  <a:cubicBezTo>
                    <a:pt x="23" y="39"/>
                    <a:pt x="30" y="38"/>
                    <a:pt x="34" y="35"/>
                  </a:cubicBezTo>
                  <a:cubicBezTo>
                    <a:pt x="38" y="33"/>
                    <a:pt x="39" y="34"/>
                    <a:pt x="38" y="30"/>
                  </a:cubicBezTo>
                  <a:cubicBezTo>
                    <a:pt x="36" y="27"/>
                    <a:pt x="34" y="24"/>
                    <a:pt x="33" y="21"/>
                  </a:cubicBezTo>
                  <a:cubicBezTo>
                    <a:pt x="32" y="20"/>
                    <a:pt x="32" y="19"/>
                    <a:pt x="31" y="18"/>
                  </a:cubicBezTo>
                  <a:cubicBezTo>
                    <a:pt x="31" y="18"/>
                    <a:pt x="31" y="18"/>
                    <a:pt x="31" y="18"/>
                  </a:cubicBezTo>
                  <a:cubicBezTo>
                    <a:pt x="29" y="17"/>
                    <a:pt x="28" y="16"/>
                    <a:pt x="27" y="14"/>
                  </a:cubicBezTo>
                  <a:cubicBezTo>
                    <a:pt x="27" y="14"/>
                    <a:pt x="27" y="14"/>
                    <a:pt x="27" y="14"/>
                  </a:cubicBezTo>
                  <a:cubicBezTo>
                    <a:pt x="25" y="13"/>
                    <a:pt x="22" y="11"/>
                    <a:pt x="21" y="9"/>
                  </a:cubicBezTo>
                  <a:cubicBezTo>
                    <a:pt x="20" y="8"/>
                    <a:pt x="19" y="7"/>
                    <a:pt x="18" y="5"/>
                  </a:cubicBezTo>
                  <a:cubicBezTo>
                    <a:pt x="18" y="6"/>
                    <a:pt x="18" y="6"/>
                    <a:pt x="19" y="6"/>
                  </a:cubicBezTo>
                  <a:cubicBezTo>
                    <a:pt x="19" y="6"/>
                    <a:pt x="19" y="6"/>
                    <a:pt x="19" y="6"/>
                  </a:cubicBezTo>
                  <a:cubicBezTo>
                    <a:pt x="21" y="6"/>
                    <a:pt x="19" y="2"/>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1556"/>
            <p:cNvSpPr/>
            <p:nvPr/>
          </p:nvSpPr>
          <p:spPr bwMode="auto">
            <a:xfrm flipH="1">
              <a:off x="3077976" y="4027012"/>
              <a:ext cx="0" cy="9396"/>
            </a:xfrm>
            <a:custGeom>
              <a:gdLst>
                <a:gd name="T0" fmla="*/ 0 h 3"/>
                <a:gd name="T1" fmla="*/ 0 h 3"/>
                <a:gd name="T2" fmla="*/ 0 h 3"/>
                <a:gd name="T3" fmla="*/ 3 h 3"/>
                <a:gd name="T4" fmla="*/ 0 h 3"/>
              </a:gdLst>
              <a:cxnLst>
                <a:cxn ang="0">
                  <a:pos x="0" y="T0"/>
                </a:cxn>
                <a:cxn ang="0">
                  <a:pos x="0" y="T1"/>
                </a:cxn>
                <a:cxn ang="0">
                  <a:pos x="0" y="T2"/>
                </a:cxn>
                <a:cxn ang="0">
                  <a:pos x="0" y="T3"/>
                </a:cxn>
                <a:cxn ang="0">
                  <a:pos x="0" y="T4"/>
                </a:cxn>
              </a:cxnLst>
              <a:rect l="0" t="0" r="r" b="b"/>
              <a:pathLst>
                <a:path h="3">
                  <a:moveTo>
                    <a:pt x="0" y="0"/>
                  </a:moveTo>
                  <a:cubicBezTo>
                    <a:pt x="0" y="0"/>
                    <a:pt x="0" y="0"/>
                    <a:pt x="0" y="0"/>
                  </a:cubicBezTo>
                  <a:cubicBezTo>
                    <a:pt x="0" y="0"/>
                    <a:pt x="0" y="0"/>
                    <a:pt x="0" y="0"/>
                  </a:cubicBezTo>
                  <a:cubicBezTo>
                    <a:pt x="0" y="1"/>
                    <a:pt x="0" y="2"/>
                    <a:pt x="0"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1557"/>
            <p:cNvSpPr>
              <a:spLocks noEditPoints="1"/>
            </p:cNvSpPr>
            <p:nvPr/>
          </p:nvSpPr>
          <p:spPr bwMode="auto">
            <a:xfrm>
              <a:off x="3043075" y="3824319"/>
              <a:ext cx="379881" cy="297999"/>
            </a:xfrm>
            <a:custGeom>
              <a:gdLst>
                <a:gd name="T0" fmla="*/ 14 w 120"/>
                <a:gd name="T1" fmla="*/ 69 h 94"/>
                <a:gd name="T2" fmla="*/ 92 w 120"/>
                <a:gd name="T3" fmla="*/ 2 h 94"/>
                <a:gd name="T4" fmla="*/ 91 w 120"/>
                <a:gd name="T5" fmla="*/ 9 h 94"/>
                <a:gd name="T6" fmla="*/ 85 w 120"/>
                <a:gd name="T7" fmla="*/ 18 h 94"/>
                <a:gd name="T8" fmla="*/ 82 w 120"/>
                <a:gd name="T9" fmla="*/ 15 h 94"/>
                <a:gd name="T10" fmla="*/ 79 w 120"/>
                <a:gd name="T11" fmla="*/ 14 h 94"/>
                <a:gd name="T12" fmla="*/ 77 w 120"/>
                <a:gd name="T13" fmla="*/ 11 h 94"/>
                <a:gd name="T14" fmla="*/ 75 w 120"/>
                <a:gd name="T15" fmla="*/ 11 h 94"/>
                <a:gd name="T16" fmla="*/ 71 w 120"/>
                <a:gd name="T17" fmla="*/ 11 h 94"/>
                <a:gd name="T18" fmla="*/ 66 w 120"/>
                <a:gd name="T19" fmla="*/ 7 h 94"/>
                <a:gd name="T20" fmla="*/ 59 w 120"/>
                <a:gd name="T21" fmla="*/ 5 h 94"/>
                <a:gd name="T22" fmla="*/ 57 w 120"/>
                <a:gd name="T23" fmla="*/ 4 h 94"/>
                <a:gd name="T24" fmla="*/ 50 w 120"/>
                <a:gd name="T25" fmla="*/ 4 h 94"/>
                <a:gd name="T26" fmla="*/ 37 w 120"/>
                <a:gd name="T27" fmla="*/ 4 h 94"/>
                <a:gd name="T28" fmla="*/ 25 w 120"/>
                <a:gd name="T29" fmla="*/ 4 h 94"/>
                <a:gd name="T30" fmla="*/ 14 w 120"/>
                <a:gd name="T31" fmla="*/ 8 h 94"/>
                <a:gd name="T32" fmla="*/ 2 w 120"/>
                <a:gd name="T33" fmla="*/ 23 h 94"/>
                <a:gd name="T34" fmla="*/ 3 w 120"/>
                <a:gd name="T35" fmla="*/ 31 h 94"/>
                <a:gd name="T36" fmla="*/ 5 w 120"/>
                <a:gd name="T37" fmla="*/ 41 h 94"/>
                <a:gd name="T38" fmla="*/ 10 w 120"/>
                <a:gd name="T39" fmla="*/ 46 h 94"/>
                <a:gd name="T40" fmla="*/ 11 w 120"/>
                <a:gd name="T41" fmla="*/ 48 h 94"/>
                <a:gd name="T42" fmla="*/ 13 w 120"/>
                <a:gd name="T43" fmla="*/ 62 h 94"/>
                <a:gd name="T44" fmla="*/ 14 w 120"/>
                <a:gd name="T45" fmla="*/ 69 h 94"/>
                <a:gd name="T46" fmla="*/ 18 w 120"/>
                <a:gd name="T47" fmla="*/ 85 h 94"/>
                <a:gd name="T48" fmla="*/ 27 w 120"/>
                <a:gd name="T49" fmla="*/ 78 h 94"/>
                <a:gd name="T50" fmla="*/ 27 w 120"/>
                <a:gd name="T51" fmla="*/ 93 h 94"/>
                <a:gd name="T52" fmla="*/ 45 w 120"/>
                <a:gd name="T53" fmla="*/ 94 h 94"/>
                <a:gd name="T54" fmla="*/ 58 w 120"/>
                <a:gd name="T55" fmla="*/ 88 h 94"/>
                <a:gd name="T56" fmla="*/ 63 w 120"/>
                <a:gd name="T57" fmla="*/ 81 h 94"/>
                <a:gd name="T58" fmla="*/ 70 w 120"/>
                <a:gd name="T59" fmla="*/ 81 h 94"/>
                <a:gd name="T60" fmla="*/ 77 w 120"/>
                <a:gd name="T61" fmla="*/ 80 h 94"/>
                <a:gd name="T62" fmla="*/ 77 w 120"/>
                <a:gd name="T63" fmla="*/ 71 h 94"/>
                <a:gd name="T64" fmla="*/ 82 w 120"/>
                <a:gd name="T65" fmla="*/ 62 h 94"/>
                <a:gd name="T66" fmla="*/ 91 w 120"/>
                <a:gd name="T67" fmla="*/ 62 h 94"/>
                <a:gd name="T68" fmla="*/ 104 w 120"/>
                <a:gd name="T69" fmla="*/ 53 h 94"/>
                <a:gd name="T70" fmla="*/ 110 w 120"/>
                <a:gd name="T71" fmla="*/ 49 h 94"/>
                <a:gd name="T72" fmla="*/ 117 w 120"/>
                <a:gd name="T73" fmla="*/ 49 h 94"/>
                <a:gd name="T74" fmla="*/ 118 w 120"/>
                <a:gd name="T75" fmla="*/ 48 h 94"/>
                <a:gd name="T76" fmla="*/ 118 w 120"/>
                <a:gd name="T77" fmla="*/ 46 h 94"/>
                <a:gd name="T78" fmla="*/ 118 w 120"/>
                <a:gd name="T79" fmla="*/ 32 h 94"/>
                <a:gd name="T80" fmla="*/ 118 w 120"/>
                <a:gd name="T81" fmla="*/ 21 h 94"/>
                <a:gd name="T82" fmla="*/ 116 w 120"/>
                <a:gd name="T83" fmla="*/ 14 h 94"/>
                <a:gd name="T84" fmla="*/ 114 w 120"/>
                <a:gd name="T85" fmla="*/ 3 h 94"/>
                <a:gd name="T86" fmla="*/ 110 w 120"/>
                <a:gd name="T87" fmla="*/ 4 h 94"/>
                <a:gd name="T88" fmla="*/ 104 w 120"/>
                <a:gd name="T89" fmla="*/ 4 h 94"/>
                <a:gd name="T90" fmla="*/ 96 w 120"/>
                <a:gd name="T91" fmla="*/ 0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 h="94">
                  <a:moveTo>
                    <a:pt x="14" y="69"/>
                  </a:moveTo>
                  <a:cubicBezTo>
                    <a:pt x="14" y="69"/>
                    <a:pt x="13" y="69"/>
                    <a:pt x="13" y="69"/>
                  </a:cubicBezTo>
                  <a:cubicBezTo>
                    <a:pt x="13" y="69"/>
                    <a:pt x="14" y="69"/>
                    <a:pt x="14" y="69"/>
                  </a:cubicBezTo>
                  <a:moveTo>
                    <a:pt x="96" y="0"/>
                  </a:moveTo>
                  <a:cubicBezTo>
                    <a:pt x="94" y="0"/>
                    <a:pt x="93" y="1"/>
                    <a:pt x="92" y="2"/>
                  </a:cubicBezTo>
                  <a:cubicBezTo>
                    <a:pt x="92" y="2"/>
                    <a:pt x="92" y="2"/>
                    <a:pt x="92" y="2"/>
                  </a:cubicBezTo>
                  <a:cubicBezTo>
                    <a:pt x="91" y="2"/>
                    <a:pt x="90" y="3"/>
                    <a:pt x="90" y="3"/>
                  </a:cubicBezTo>
                  <a:cubicBezTo>
                    <a:pt x="89" y="4"/>
                    <a:pt x="89" y="4"/>
                    <a:pt x="89" y="4"/>
                  </a:cubicBezTo>
                  <a:cubicBezTo>
                    <a:pt x="90" y="5"/>
                    <a:pt x="91" y="7"/>
                    <a:pt x="91" y="9"/>
                  </a:cubicBezTo>
                  <a:cubicBezTo>
                    <a:pt x="91" y="10"/>
                    <a:pt x="91" y="11"/>
                    <a:pt x="90" y="12"/>
                  </a:cubicBezTo>
                  <a:cubicBezTo>
                    <a:pt x="89" y="14"/>
                    <a:pt x="87" y="15"/>
                    <a:pt x="85" y="15"/>
                  </a:cubicBezTo>
                  <a:cubicBezTo>
                    <a:pt x="85" y="18"/>
                    <a:pt x="85" y="18"/>
                    <a:pt x="85" y="18"/>
                  </a:cubicBezTo>
                  <a:cubicBezTo>
                    <a:pt x="84" y="15"/>
                    <a:pt x="84" y="15"/>
                    <a:pt x="84" y="15"/>
                  </a:cubicBezTo>
                  <a:cubicBezTo>
                    <a:pt x="83" y="15"/>
                    <a:pt x="83" y="15"/>
                    <a:pt x="83" y="15"/>
                  </a:cubicBezTo>
                  <a:cubicBezTo>
                    <a:pt x="82" y="15"/>
                    <a:pt x="82" y="15"/>
                    <a:pt x="82" y="15"/>
                  </a:cubicBezTo>
                  <a:cubicBezTo>
                    <a:pt x="81" y="15"/>
                    <a:pt x="81" y="15"/>
                    <a:pt x="81" y="15"/>
                  </a:cubicBezTo>
                  <a:cubicBezTo>
                    <a:pt x="81" y="14"/>
                    <a:pt x="81" y="14"/>
                    <a:pt x="81" y="14"/>
                  </a:cubicBezTo>
                  <a:cubicBezTo>
                    <a:pt x="80" y="14"/>
                    <a:pt x="80" y="14"/>
                    <a:pt x="79" y="14"/>
                  </a:cubicBezTo>
                  <a:cubicBezTo>
                    <a:pt x="79" y="13"/>
                    <a:pt x="78" y="12"/>
                    <a:pt x="78" y="12"/>
                  </a:cubicBezTo>
                  <a:cubicBezTo>
                    <a:pt x="77" y="11"/>
                    <a:pt x="77" y="11"/>
                    <a:pt x="77" y="11"/>
                  </a:cubicBezTo>
                  <a:cubicBezTo>
                    <a:pt x="77" y="11"/>
                    <a:pt x="77" y="11"/>
                    <a:pt x="77" y="11"/>
                  </a:cubicBezTo>
                  <a:cubicBezTo>
                    <a:pt x="77" y="11"/>
                    <a:pt x="77" y="11"/>
                    <a:pt x="77" y="11"/>
                  </a:cubicBezTo>
                  <a:cubicBezTo>
                    <a:pt x="76" y="11"/>
                    <a:pt x="76" y="11"/>
                    <a:pt x="76" y="11"/>
                  </a:cubicBezTo>
                  <a:cubicBezTo>
                    <a:pt x="75" y="11"/>
                    <a:pt x="75" y="11"/>
                    <a:pt x="75" y="11"/>
                  </a:cubicBezTo>
                  <a:cubicBezTo>
                    <a:pt x="74" y="11"/>
                    <a:pt x="74" y="11"/>
                    <a:pt x="74" y="11"/>
                  </a:cubicBezTo>
                  <a:cubicBezTo>
                    <a:pt x="73" y="11"/>
                    <a:pt x="73" y="11"/>
                    <a:pt x="72" y="11"/>
                  </a:cubicBezTo>
                  <a:cubicBezTo>
                    <a:pt x="71" y="11"/>
                    <a:pt x="71" y="11"/>
                    <a:pt x="71" y="11"/>
                  </a:cubicBezTo>
                  <a:cubicBezTo>
                    <a:pt x="71" y="11"/>
                    <a:pt x="70" y="11"/>
                    <a:pt x="70" y="11"/>
                  </a:cubicBezTo>
                  <a:cubicBezTo>
                    <a:pt x="70" y="11"/>
                    <a:pt x="68" y="11"/>
                    <a:pt x="67" y="9"/>
                  </a:cubicBezTo>
                  <a:cubicBezTo>
                    <a:pt x="67" y="9"/>
                    <a:pt x="66" y="8"/>
                    <a:pt x="66" y="7"/>
                  </a:cubicBezTo>
                  <a:cubicBezTo>
                    <a:pt x="65" y="7"/>
                    <a:pt x="64" y="8"/>
                    <a:pt x="63" y="8"/>
                  </a:cubicBezTo>
                  <a:cubicBezTo>
                    <a:pt x="61" y="8"/>
                    <a:pt x="60" y="7"/>
                    <a:pt x="60" y="6"/>
                  </a:cubicBezTo>
                  <a:cubicBezTo>
                    <a:pt x="59" y="6"/>
                    <a:pt x="59" y="5"/>
                    <a:pt x="59" y="5"/>
                  </a:cubicBezTo>
                  <a:cubicBezTo>
                    <a:pt x="58" y="4"/>
                    <a:pt x="58" y="4"/>
                    <a:pt x="58" y="4"/>
                  </a:cubicBezTo>
                  <a:cubicBezTo>
                    <a:pt x="58" y="4"/>
                    <a:pt x="58" y="4"/>
                    <a:pt x="58" y="4"/>
                  </a:cubicBezTo>
                  <a:cubicBezTo>
                    <a:pt x="57" y="4"/>
                    <a:pt x="57" y="4"/>
                    <a:pt x="57" y="4"/>
                  </a:cubicBezTo>
                  <a:cubicBezTo>
                    <a:pt x="57" y="4"/>
                    <a:pt x="57" y="4"/>
                    <a:pt x="57" y="4"/>
                  </a:cubicBezTo>
                  <a:cubicBezTo>
                    <a:pt x="56" y="4"/>
                    <a:pt x="54" y="4"/>
                    <a:pt x="52" y="4"/>
                  </a:cubicBezTo>
                  <a:cubicBezTo>
                    <a:pt x="52" y="4"/>
                    <a:pt x="51" y="4"/>
                    <a:pt x="50" y="4"/>
                  </a:cubicBezTo>
                  <a:cubicBezTo>
                    <a:pt x="48" y="5"/>
                    <a:pt x="45" y="5"/>
                    <a:pt x="43" y="5"/>
                  </a:cubicBezTo>
                  <a:cubicBezTo>
                    <a:pt x="43" y="5"/>
                    <a:pt x="42" y="5"/>
                    <a:pt x="42" y="5"/>
                  </a:cubicBezTo>
                  <a:cubicBezTo>
                    <a:pt x="40" y="5"/>
                    <a:pt x="38" y="5"/>
                    <a:pt x="37" y="4"/>
                  </a:cubicBezTo>
                  <a:cubicBezTo>
                    <a:pt x="35" y="4"/>
                    <a:pt x="35" y="4"/>
                    <a:pt x="35" y="4"/>
                  </a:cubicBezTo>
                  <a:cubicBezTo>
                    <a:pt x="33" y="4"/>
                    <a:pt x="30" y="4"/>
                    <a:pt x="27" y="4"/>
                  </a:cubicBezTo>
                  <a:cubicBezTo>
                    <a:pt x="27" y="4"/>
                    <a:pt x="26" y="4"/>
                    <a:pt x="25" y="4"/>
                  </a:cubicBezTo>
                  <a:cubicBezTo>
                    <a:pt x="25" y="4"/>
                    <a:pt x="24" y="4"/>
                    <a:pt x="23" y="4"/>
                  </a:cubicBezTo>
                  <a:cubicBezTo>
                    <a:pt x="20" y="5"/>
                    <a:pt x="17" y="6"/>
                    <a:pt x="15" y="8"/>
                  </a:cubicBezTo>
                  <a:cubicBezTo>
                    <a:pt x="15" y="8"/>
                    <a:pt x="14" y="8"/>
                    <a:pt x="14" y="8"/>
                  </a:cubicBezTo>
                  <a:cubicBezTo>
                    <a:pt x="13" y="9"/>
                    <a:pt x="13" y="11"/>
                    <a:pt x="12" y="12"/>
                  </a:cubicBezTo>
                  <a:cubicBezTo>
                    <a:pt x="9" y="16"/>
                    <a:pt x="7" y="19"/>
                    <a:pt x="4" y="22"/>
                  </a:cubicBezTo>
                  <a:cubicBezTo>
                    <a:pt x="3" y="22"/>
                    <a:pt x="3" y="23"/>
                    <a:pt x="2" y="23"/>
                  </a:cubicBezTo>
                  <a:cubicBezTo>
                    <a:pt x="1" y="25"/>
                    <a:pt x="1" y="25"/>
                    <a:pt x="1" y="25"/>
                  </a:cubicBezTo>
                  <a:cubicBezTo>
                    <a:pt x="0" y="25"/>
                    <a:pt x="1" y="27"/>
                    <a:pt x="3" y="30"/>
                  </a:cubicBezTo>
                  <a:cubicBezTo>
                    <a:pt x="3" y="31"/>
                    <a:pt x="3" y="31"/>
                    <a:pt x="3" y="31"/>
                  </a:cubicBezTo>
                  <a:cubicBezTo>
                    <a:pt x="4" y="34"/>
                    <a:pt x="5" y="35"/>
                    <a:pt x="5" y="37"/>
                  </a:cubicBezTo>
                  <a:cubicBezTo>
                    <a:pt x="5" y="38"/>
                    <a:pt x="5" y="38"/>
                    <a:pt x="5" y="38"/>
                  </a:cubicBezTo>
                  <a:cubicBezTo>
                    <a:pt x="5" y="39"/>
                    <a:pt x="5" y="41"/>
                    <a:pt x="5" y="41"/>
                  </a:cubicBezTo>
                  <a:cubicBezTo>
                    <a:pt x="5" y="41"/>
                    <a:pt x="5" y="41"/>
                    <a:pt x="5" y="41"/>
                  </a:cubicBezTo>
                  <a:cubicBezTo>
                    <a:pt x="7" y="43"/>
                    <a:pt x="7" y="43"/>
                    <a:pt x="7" y="43"/>
                  </a:cubicBezTo>
                  <a:cubicBezTo>
                    <a:pt x="9" y="44"/>
                    <a:pt x="10" y="45"/>
                    <a:pt x="10" y="46"/>
                  </a:cubicBezTo>
                  <a:cubicBezTo>
                    <a:pt x="10" y="46"/>
                    <a:pt x="10" y="46"/>
                    <a:pt x="10" y="46"/>
                  </a:cubicBezTo>
                  <a:cubicBezTo>
                    <a:pt x="11" y="47"/>
                    <a:pt x="11" y="47"/>
                    <a:pt x="11" y="48"/>
                  </a:cubicBezTo>
                  <a:cubicBezTo>
                    <a:pt x="11" y="48"/>
                    <a:pt x="11" y="48"/>
                    <a:pt x="11" y="48"/>
                  </a:cubicBezTo>
                  <a:cubicBezTo>
                    <a:pt x="11" y="49"/>
                    <a:pt x="11" y="49"/>
                    <a:pt x="11" y="49"/>
                  </a:cubicBezTo>
                  <a:cubicBezTo>
                    <a:pt x="11" y="50"/>
                    <a:pt x="11" y="50"/>
                    <a:pt x="11" y="51"/>
                  </a:cubicBezTo>
                  <a:cubicBezTo>
                    <a:pt x="11" y="55"/>
                    <a:pt x="12" y="59"/>
                    <a:pt x="13" y="62"/>
                  </a:cubicBezTo>
                  <a:cubicBezTo>
                    <a:pt x="13" y="64"/>
                    <a:pt x="13" y="64"/>
                    <a:pt x="13" y="64"/>
                  </a:cubicBezTo>
                  <a:cubicBezTo>
                    <a:pt x="12" y="64"/>
                    <a:pt x="12" y="64"/>
                    <a:pt x="12" y="64"/>
                  </a:cubicBezTo>
                  <a:cubicBezTo>
                    <a:pt x="14" y="65"/>
                    <a:pt x="15" y="67"/>
                    <a:pt x="14" y="69"/>
                  </a:cubicBezTo>
                  <a:cubicBezTo>
                    <a:pt x="14" y="69"/>
                    <a:pt x="14" y="69"/>
                    <a:pt x="15" y="69"/>
                  </a:cubicBezTo>
                  <a:cubicBezTo>
                    <a:pt x="17" y="69"/>
                    <a:pt x="18" y="74"/>
                    <a:pt x="17" y="75"/>
                  </a:cubicBezTo>
                  <a:cubicBezTo>
                    <a:pt x="14" y="78"/>
                    <a:pt x="17" y="82"/>
                    <a:pt x="18" y="85"/>
                  </a:cubicBezTo>
                  <a:cubicBezTo>
                    <a:pt x="18" y="85"/>
                    <a:pt x="18" y="85"/>
                    <a:pt x="19" y="85"/>
                  </a:cubicBezTo>
                  <a:cubicBezTo>
                    <a:pt x="20" y="85"/>
                    <a:pt x="23" y="85"/>
                    <a:pt x="23" y="84"/>
                  </a:cubicBezTo>
                  <a:cubicBezTo>
                    <a:pt x="25" y="83"/>
                    <a:pt x="26" y="80"/>
                    <a:pt x="27" y="78"/>
                  </a:cubicBezTo>
                  <a:cubicBezTo>
                    <a:pt x="27" y="82"/>
                    <a:pt x="28" y="85"/>
                    <a:pt x="29" y="88"/>
                  </a:cubicBezTo>
                  <a:cubicBezTo>
                    <a:pt x="30" y="89"/>
                    <a:pt x="28" y="89"/>
                    <a:pt x="27" y="89"/>
                  </a:cubicBezTo>
                  <a:cubicBezTo>
                    <a:pt x="26" y="90"/>
                    <a:pt x="27" y="92"/>
                    <a:pt x="27" y="93"/>
                  </a:cubicBezTo>
                  <a:cubicBezTo>
                    <a:pt x="30" y="92"/>
                    <a:pt x="32" y="92"/>
                    <a:pt x="35" y="92"/>
                  </a:cubicBezTo>
                  <a:cubicBezTo>
                    <a:pt x="38" y="92"/>
                    <a:pt x="42" y="92"/>
                    <a:pt x="45" y="94"/>
                  </a:cubicBezTo>
                  <a:cubicBezTo>
                    <a:pt x="45" y="94"/>
                    <a:pt x="45" y="94"/>
                    <a:pt x="45" y="94"/>
                  </a:cubicBezTo>
                  <a:cubicBezTo>
                    <a:pt x="46" y="93"/>
                    <a:pt x="46" y="93"/>
                    <a:pt x="46" y="93"/>
                  </a:cubicBezTo>
                  <a:cubicBezTo>
                    <a:pt x="48" y="93"/>
                    <a:pt x="50" y="91"/>
                    <a:pt x="53" y="91"/>
                  </a:cubicBezTo>
                  <a:cubicBezTo>
                    <a:pt x="56" y="90"/>
                    <a:pt x="58" y="88"/>
                    <a:pt x="58" y="88"/>
                  </a:cubicBezTo>
                  <a:cubicBezTo>
                    <a:pt x="58" y="86"/>
                    <a:pt x="58" y="83"/>
                    <a:pt x="60" y="82"/>
                  </a:cubicBezTo>
                  <a:cubicBezTo>
                    <a:pt x="60" y="82"/>
                    <a:pt x="61" y="81"/>
                    <a:pt x="62" y="81"/>
                  </a:cubicBezTo>
                  <a:cubicBezTo>
                    <a:pt x="62" y="81"/>
                    <a:pt x="62" y="81"/>
                    <a:pt x="63" y="81"/>
                  </a:cubicBezTo>
                  <a:cubicBezTo>
                    <a:pt x="63" y="81"/>
                    <a:pt x="64" y="81"/>
                    <a:pt x="64" y="81"/>
                  </a:cubicBezTo>
                  <a:cubicBezTo>
                    <a:pt x="64" y="81"/>
                    <a:pt x="65" y="81"/>
                    <a:pt x="65" y="81"/>
                  </a:cubicBezTo>
                  <a:cubicBezTo>
                    <a:pt x="67" y="81"/>
                    <a:pt x="69" y="81"/>
                    <a:pt x="70" y="81"/>
                  </a:cubicBezTo>
                  <a:cubicBezTo>
                    <a:pt x="71" y="81"/>
                    <a:pt x="71" y="81"/>
                    <a:pt x="71" y="81"/>
                  </a:cubicBezTo>
                  <a:cubicBezTo>
                    <a:pt x="73" y="80"/>
                    <a:pt x="77" y="80"/>
                    <a:pt x="77" y="80"/>
                  </a:cubicBezTo>
                  <a:cubicBezTo>
                    <a:pt x="77" y="80"/>
                    <a:pt x="77" y="80"/>
                    <a:pt x="77" y="80"/>
                  </a:cubicBezTo>
                  <a:cubicBezTo>
                    <a:pt x="79" y="80"/>
                    <a:pt x="80" y="80"/>
                    <a:pt x="82" y="80"/>
                  </a:cubicBezTo>
                  <a:cubicBezTo>
                    <a:pt x="81" y="80"/>
                    <a:pt x="81" y="80"/>
                    <a:pt x="80" y="79"/>
                  </a:cubicBezTo>
                  <a:cubicBezTo>
                    <a:pt x="78" y="76"/>
                    <a:pt x="78" y="73"/>
                    <a:pt x="77" y="71"/>
                  </a:cubicBezTo>
                  <a:cubicBezTo>
                    <a:pt x="77" y="70"/>
                    <a:pt x="77" y="70"/>
                    <a:pt x="77" y="70"/>
                  </a:cubicBezTo>
                  <a:cubicBezTo>
                    <a:pt x="77" y="70"/>
                    <a:pt x="77" y="69"/>
                    <a:pt x="77" y="69"/>
                  </a:cubicBezTo>
                  <a:cubicBezTo>
                    <a:pt x="77" y="66"/>
                    <a:pt x="80" y="63"/>
                    <a:pt x="82" y="62"/>
                  </a:cubicBezTo>
                  <a:cubicBezTo>
                    <a:pt x="83" y="61"/>
                    <a:pt x="84" y="61"/>
                    <a:pt x="85" y="61"/>
                  </a:cubicBezTo>
                  <a:cubicBezTo>
                    <a:pt x="85" y="61"/>
                    <a:pt x="85" y="61"/>
                    <a:pt x="86" y="61"/>
                  </a:cubicBezTo>
                  <a:cubicBezTo>
                    <a:pt x="91" y="62"/>
                    <a:pt x="91" y="62"/>
                    <a:pt x="91" y="62"/>
                  </a:cubicBezTo>
                  <a:cubicBezTo>
                    <a:pt x="91" y="60"/>
                    <a:pt x="91" y="57"/>
                    <a:pt x="94" y="56"/>
                  </a:cubicBezTo>
                  <a:cubicBezTo>
                    <a:pt x="97" y="55"/>
                    <a:pt x="100" y="54"/>
                    <a:pt x="103" y="54"/>
                  </a:cubicBezTo>
                  <a:cubicBezTo>
                    <a:pt x="104" y="53"/>
                    <a:pt x="104" y="53"/>
                    <a:pt x="104" y="53"/>
                  </a:cubicBezTo>
                  <a:cubicBezTo>
                    <a:pt x="106" y="53"/>
                    <a:pt x="106" y="53"/>
                    <a:pt x="107" y="53"/>
                  </a:cubicBezTo>
                  <a:cubicBezTo>
                    <a:pt x="107" y="52"/>
                    <a:pt x="107" y="52"/>
                    <a:pt x="107" y="52"/>
                  </a:cubicBezTo>
                  <a:cubicBezTo>
                    <a:pt x="108" y="51"/>
                    <a:pt x="109" y="50"/>
                    <a:pt x="110" y="49"/>
                  </a:cubicBezTo>
                  <a:cubicBezTo>
                    <a:pt x="111" y="49"/>
                    <a:pt x="111" y="49"/>
                    <a:pt x="111" y="49"/>
                  </a:cubicBezTo>
                  <a:cubicBezTo>
                    <a:pt x="112" y="48"/>
                    <a:pt x="113" y="48"/>
                    <a:pt x="114" y="48"/>
                  </a:cubicBezTo>
                  <a:cubicBezTo>
                    <a:pt x="115" y="48"/>
                    <a:pt x="116" y="49"/>
                    <a:pt x="117" y="49"/>
                  </a:cubicBezTo>
                  <a:cubicBezTo>
                    <a:pt x="117" y="49"/>
                    <a:pt x="117" y="49"/>
                    <a:pt x="118" y="49"/>
                  </a:cubicBezTo>
                  <a:cubicBezTo>
                    <a:pt x="118" y="49"/>
                    <a:pt x="118" y="49"/>
                    <a:pt x="118" y="49"/>
                  </a:cubicBezTo>
                  <a:cubicBezTo>
                    <a:pt x="118" y="49"/>
                    <a:pt x="118" y="49"/>
                    <a:pt x="118" y="48"/>
                  </a:cubicBezTo>
                  <a:cubicBezTo>
                    <a:pt x="118" y="47"/>
                    <a:pt x="118" y="47"/>
                    <a:pt x="118" y="47"/>
                  </a:cubicBezTo>
                  <a:cubicBezTo>
                    <a:pt x="118" y="46"/>
                    <a:pt x="118" y="46"/>
                    <a:pt x="118" y="46"/>
                  </a:cubicBezTo>
                  <a:cubicBezTo>
                    <a:pt x="118" y="46"/>
                    <a:pt x="118" y="46"/>
                    <a:pt x="118" y="46"/>
                  </a:cubicBezTo>
                  <a:cubicBezTo>
                    <a:pt x="118" y="44"/>
                    <a:pt x="118" y="42"/>
                    <a:pt x="118" y="40"/>
                  </a:cubicBezTo>
                  <a:cubicBezTo>
                    <a:pt x="117" y="38"/>
                    <a:pt x="117" y="36"/>
                    <a:pt x="117" y="34"/>
                  </a:cubicBezTo>
                  <a:cubicBezTo>
                    <a:pt x="118" y="32"/>
                    <a:pt x="118" y="32"/>
                    <a:pt x="118" y="32"/>
                  </a:cubicBezTo>
                  <a:cubicBezTo>
                    <a:pt x="118" y="30"/>
                    <a:pt x="119" y="28"/>
                    <a:pt x="119" y="26"/>
                  </a:cubicBezTo>
                  <a:cubicBezTo>
                    <a:pt x="120" y="24"/>
                    <a:pt x="120" y="24"/>
                    <a:pt x="120" y="24"/>
                  </a:cubicBezTo>
                  <a:cubicBezTo>
                    <a:pt x="120" y="24"/>
                    <a:pt x="118" y="22"/>
                    <a:pt x="118" y="21"/>
                  </a:cubicBezTo>
                  <a:cubicBezTo>
                    <a:pt x="118" y="20"/>
                    <a:pt x="117" y="20"/>
                    <a:pt x="117" y="19"/>
                  </a:cubicBezTo>
                  <a:cubicBezTo>
                    <a:pt x="116" y="17"/>
                    <a:pt x="116" y="16"/>
                    <a:pt x="116" y="14"/>
                  </a:cubicBezTo>
                  <a:cubicBezTo>
                    <a:pt x="116" y="14"/>
                    <a:pt x="116" y="14"/>
                    <a:pt x="116" y="14"/>
                  </a:cubicBezTo>
                  <a:cubicBezTo>
                    <a:pt x="116" y="13"/>
                    <a:pt x="116" y="13"/>
                    <a:pt x="116" y="13"/>
                  </a:cubicBezTo>
                  <a:cubicBezTo>
                    <a:pt x="114" y="11"/>
                    <a:pt x="112" y="9"/>
                    <a:pt x="113" y="7"/>
                  </a:cubicBezTo>
                  <a:cubicBezTo>
                    <a:pt x="114" y="3"/>
                    <a:pt x="114" y="3"/>
                    <a:pt x="114" y="3"/>
                  </a:cubicBezTo>
                  <a:cubicBezTo>
                    <a:pt x="115" y="2"/>
                    <a:pt x="115" y="1"/>
                    <a:pt x="115" y="1"/>
                  </a:cubicBezTo>
                  <a:cubicBezTo>
                    <a:pt x="115" y="1"/>
                    <a:pt x="114" y="1"/>
                    <a:pt x="114" y="2"/>
                  </a:cubicBezTo>
                  <a:cubicBezTo>
                    <a:pt x="112" y="2"/>
                    <a:pt x="111" y="3"/>
                    <a:pt x="110" y="4"/>
                  </a:cubicBezTo>
                  <a:cubicBezTo>
                    <a:pt x="110" y="4"/>
                    <a:pt x="110" y="4"/>
                    <a:pt x="110" y="4"/>
                  </a:cubicBezTo>
                  <a:cubicBezTo>
                    <a:pt x="109" y="5"/>
                    <a:pt x="108" y="5"/>
                    <a:pt x="107" y="5"/>
                  </a:cubicBezTo>
                  <a:cubicBezTo>
                    <a:pt x="106" y="5"/>
                    <a:pt x="105" y="5"/>
                    <a:pt x="104" y="4"/>
                  </a:cubicBezTo>
                  <a:cubicBezTo>
                    <a:pt x="97" y="2"/>
                    <a:pt x="97" y="2"/>
                    <a:pt x="97" y="2"/>
                  </a:cubicBezTo>
                  <a:cubicBezTo>
                    <a:pt x="97" y="1"/>
                    <a:pt x="96" y="1"/>
                    <a:pt x="96" y="0"/>
                  </a:cubicBezTo>
                  <a:cubicBezTo>
                    <a:pt x="96" y="0"/>
                    <a:pt x="96" y="0"/>
                    <a:pt x="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1558"/>
            <p:cNvSpPr/>
            <p:nvPr/>
          </p:nvSpPr>
          <p:spPr bwMode="auto">
            <a:xfrm>
              <a:off x="579889" y="1479256"/>
              <a:ext cx="797347" cy="332900"/>
            </a:xfrm>
            <a:custGeom>
              <a:gdLst>
                <a:gd name="T0" fmla="*/ 103 w 251"/>
                <a:gd name="T1" fmla="*/ 2 h 105"/>
                <a:gd name="T2" fmla="*/ 95 w 251"/>
                <a:gd name="T3" fmla="*/ 22 h 105"/>
                <a:gd name="T4" fmla="*/ 65 w 251"/>
                <a:gd name="T5" fmla="*/ 12 h 105"/>
                <a:gd name="T6" fmla="*/ 47 w 251"/>
                <a:gd name="T7" fmla="*/ 12 h 105"/>
                <a:gd name="T8" fmla="*/ 43 w 251"/>
                <a:gd name="T9" fmla="*/ 15 h 105"/>
                <a:gd name="T10" fmla="*/ 39 w 251"/>
                <a:gd name="T11" fmla="*/ 21 h 105"/>
                <a:gd name="T12" fmla="*/ 41 w 251"/>
                <a:gd name="T13" fmla="*/ 30 h 105"/>
                <a:gd name="T14" fmla="*/ 25 w 251"/>
                <a:gd name="T15" fmla="*/ 44 h 105"/>
                <a:gd name="T16" fmla="*/ 35 w 251"/>
                <a:gd name="T17" fmla="*/ 50 h 105"/>
                <a:gd name="T18" fmla="*/ 48 w 251"/>
                <a:gd name="T19" fmla="*/ 41 h 105"/>
                <a:gd name="T20" fmla="*/ 63 w 251"/>
                <a:gd name="T21" fmla="*/ 50 h 105"/>
                <a:gd name="T22" fmla="*/ 70 w 251"/>
                <a:gd name="T23" fmla="*/ 56 h 105"/>
                <a:gd name="T24" fmla="*/ 87 w 251"/>
                <a:gd name="T25" fmla="*/ 60 h 105"/>
                <a:gd name="T26" fmla="*/ 86 w 251"/>
                <a:gd name="T27" fmla="*/ 68 h 105"/>
                <a:gd name="T28" fmla="*/ 80 w 251"/>
                <a:gd name="T29" fmla="*/ 71 h 105"/>
                <a:gd name="T30" fmla="*/ 73 w 251"/>
                <a:gd name="T31" fmla="*/ 75 h 105"/>
                <a:gd name="T32" fmla="*/ 64 w 251"/>
                <a:gd name="T33" fmla="*/ 78 h 105"/>
                <a:gd name="T34" fmla="*/ 47 w 251"/>
                <a:gd name="T35" fmla="*/ 82 h 105"/>
                <a:gd name="T36" fmla="*/ 43 w 251"/>
                <a:gd name="T37" fmla="*/ 81 h 105"/>
                <a:gd name="T38" fmla="*/ 37 w 251"/>
                <a:gd name="T39" fmla="*/ 83 h 105"/>
                <a:gd name="T40" fmla="*/ 31 w 251"/>
                <a:gd name="T41" fmla="*/ 87 h 105"/>
                <a:gd name="T42" fmla="*/ 28 w 251"/>
                <a:gd name="T43" fmla="*/ 90 h 105"/>
                <a:gd name="T44" fmla="*/ 24 w 251"/>
                <a:gd name="T45" fmla="*/ 92 h 105"/>
                <a:gd name="T46" fmla="*/ 7 w 251"/>
                <a:gd name="T47" fmla="*/ 85 h 105"/>
                <a:gd name="T48" fmla="*/ 2 w 251"/>
                <a:gd name="T49" fmla="*/ 90 h 105"/>
                <a:gd name="T50" fmla="*/ 36 w 251"/>
                <a:gd name="T51" fmla="*/ 99 h 105"/>
                <a:gd name="T52" fmla="*/ 48 w 251"/>
                <a:gd name="T53" fmla="*/ 95 h 105"/>
                <a:gd name="T54" fmla="*/ 58 w 251"/>
                <a:gd name="T55" fmla="*/ 104 h 105"/>
                <a:gd name="T56" fmla="*/ 80 w 251"/>
                <a:gd name="T57" fmla="*/ 101 h 105"/>
                <a:gd name="T58" fmla="*/ 97 w 251"/>
                <a:gd name="T59" fmla="*/ 99 h 105"/>
                <a:gd name="T60" fmla="*/ 103 w 251"/>
                <a:gd name="T61" fmla="*/ 96 h 105"/>
                <a:gd name="T62" fmla="*/ 104 w 251"/>
                <a:gd name="T63" fmla="*/ 88 h 105"/>
                <a:gd name="T64" fmla="*/ 125 w 251"/>
                <a:gd name="T65" fmla="*/ 76 h 105"/>
                <a:gd name="T66" fmla="*/ 128 w 251"/>
                <a:gd name="T67" fmla="*/ 70 h 105"/>
                <a:gd name="T68" fmla="*/ 138 w 251"/>
                <a:gd name="T69" fmla="*/ 69 h 105"/>
                <a:gd name="T70" fmla="*/ 145 w 251"/>
                <a:gd name="T71" fmla="*/ 66 h 105"/>
                <a:gd name="T72" fmla="*/ 150 w 251"/>
                <a:gd name="T73" fmla="*/ 75 h 105"/>
                <a:gd name="T74" fmla="*/ 156 w 251"/>
                <a:gd name="T75" fmla="*/ 73 h 105"/>
                <a:gd name="T76" fmla="*/ 163 w 251"/>
                <a:gd name="T77" fmla="*/ 73 h 105"/>
                <a:gd name="T78" fmla="*/ 167 w 251"/>
                <a:gd name="T79" fmla="*/ 64 h 105"/>
                <a:gd name="T80" fmla="*/ 191 w 251"/>
                <a:gd name="T81" fmla="*/ 53 h 105"/>
                <a:gd name="T82" fmla="*/ 208 w 251"/>
                <a:gd name="T83" fmla="*/ 50 h 105"/>
                <a:gd name="T84" fmla="*/ 218 w 251"/>
                <a:gd name="T85" fmla="*/ 41 h 105"/>
                <a:gd name="T86" fmla="*/ 250 w 251"/>
                <a:gd name="T87" fmla="*/ 28 h 105"/>
                <a:gd name="T88" fmla="*/ 250 w 251"/>
                <a:gd name="T89" fmla="*/ 26 h 105"/>
                <a:gd name="T90" fmla="*/ 240 w 251"/>
                <a:gd name="T91" fmla="*/ 21 h 105"/>
                <a:gd name="T92" fmla="*/ 228 w 251"/>
                <a:gd name="T93" fmla="*/ 11 h 105"/>
                <a:gd name="T94" fmla="*/ 215 w 251"/>
                <a:gd name="T95" fmla="*/ 9 h 105"/>
                <a:gd name="T96" fmla="*/ 206 w 251"/>
                <a:gd name="T97" fmla="*/ 9 h 105"/>
                <a:gd name="T98" fmla="*/ 188 w 251"/>
                <a:gd name="T99" fmla="*/ 8 h 105"/>
                <a:gd name="T100" fmla="*/ 163 w 251"/>
                <a:gd name="T101" fmla="*/ 7 h 105"/>
                <a:gd name="T102" fmla="*/ 140 w 251"/>
                <a:gd name="T103" fmla="*/ 9 h 105"/>
                <a:gd name="T104" fmla="*/ 129 w 251"/>
                <a:gd name="T105" fmla="*/ 7 h 105"/>
                <a:gd name="T106" fmla="*/ 117 w 251"/>
                <a:gd name="T107" fmla="*/ 1 h 1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1" h="105">
                  <a:moveTo>
                    <a:pt x="110" y="0"/>
                  </a:moveTo>
                  <a:cubicBezTo>
                    <a:pt x="108" y="0"/>
                    <a:pt x="106" y="0"/>
                    <a:pt x="104" y="2"/>
                  </a:cubicBezTo>
                  <a:cubicBezTo>
                    <a:pt x="104" y="2"/>
                    <a:pt x="104" y="2"/>
                    <a:pt x="104" y="2"/>
                  </a:cubicBezTo>
                  <a:cubicBezTo>
                    <a:pt x="103" y="2"/>
                    <a:pt x="103" y="2"/>
                    <a:pt x="103" y="2"/>
                  </a:cubicBezTo>
                  <a:cubicBezTo>
                    <a:pt x="103" y="2"/>
                    <a:pt x="103" y="2"/>
                    <a:pt x="103" y="2"/>
                  </a:cubicBezTo>
                  <a:cubicBezTo>
                    <a:pt x="98" y="4"/>
                    <a:pt x="97" y="10"/>
                    <a:pt x="98" y="14"/>
                  </a:cubicBezTo>
                  <a:cubicBezTo>
                    <a:pt x="98" y="14"/>
                    <a:pt x="98" y="15"/>
                    <a:pt x="98" y="15"/>
                  </a:cubicBezTo>
                  <a:cubicBezTo>
                    <a:pt x="98" y="16"/>
                    <a:pt x="98" y="17"/>
                    <a:pt x="99" y="17"/>
                  </a:cubicBezTo>
                  <a:cubicBezTo>
                    <a:pt x="102" y="24"/>
                    <a:pt x="102" y="24"/>
                    <a:pt x="102" y="24"/>
                  </a:cubicBezTo>
                  <a:cubicBezTo>
                    <a:pt x="95" y="22"/>
                    <a:pt x="95" y="22"/>
                    <a:pt x="95" y="22"/>
                  </a:cubicBezTo>
                  <a:cubicBezTo>
                    <a:pt x="92" y="21"/>
                    <a:pt x="89" y="20"/>
                    <a:pt x="85" y="18"/>
                  </a:cubicBezTo>
                  <a:cubicBezTo>
                    <a:pt x="80" y="17"/>
                    <a:pt x="75" y="15"/>
                    <a:pt x="69" y="14"/>
                  </a:cubicBezTo>
                  <a:cubicBezTo>
                    <a:pt x="68" y="13"/>
                    <a:pt x="67" y="13"/>
                    <a:pt x="66" y="13"/>
                  </a:cubicBezTo>
                  <a:cubicBezTo>
                    <a:pt x="65" y="12"/>
                    <a:pt x="65" y="12"/>
                    <a:pt x="65" y="12"/>
                  </a:cubicBezTo>
                  <a:cubicBezTo>
                    <a:pt x="65" y="12"/>
                    <a:pt x="65" y="12"/>
                    <a:pt x="65" y="12"/>
                  </a:cubicBezTo>
                  <a:cubicBezTo>
                    <a:pt x="64" y="12"/>
                    <a:pt x="63" y="12"/>
                    <a:pt x="63" y="12"/>
                  </a:cubicBezTo>
                  <a:cubicBezTo>
                    <a:pt x="51" y="12"/>
                    <a:pt x="51" y="12"/>
                    <a:pt x="51" y="12"/>
                  </a:cubicBezTo>
                  <a:cubicBezTo>
                    <a:pt x="51" y="12"/>
                    <a:pt x="51" y="12"/>
                    <a:pt x="51" y="12"/>
                  </a:cubicBezTo>
                  <a:cubicBezTo>
                    <a:pt x="51" y="12"/>
                    <a:pt x="50" y="12"/>
                    <a:pt x="50" y="12"/>
                  </a:cubicBezTo>
                  <a:cubicBezTo>
                    <a:pt x="49" y="12"/>
                    <a:pt x="48" y="12"/>
                    <a:pt x="47" y="12"/>
                  </a:cubicBezTo>
                  <a:cubicBezTo>
                    <a:pt x="47" y="12"/>
                    <a:pt x="47" y="12"/>
                    <a:pt x="46" y="12"/>
                  </a:cubicBezTo>
                  <a:cubicBezTo>
                    <a:pt x="46" y="12"/>
                    <a:pt x="46" y="12"/>
                    <a:pt x="46" y="12"/>
                  </a:cubicBezTo>
                  <a:cubicBezTo>
                    <a:pt x="46" y="13"/>
                    <a:pt x="46" y="13"/>
                    <a:pt x="46" y="13"/>
                  </a:cubicBezTo>
                  <a:cubicBezTo>
                    <a:pt x="45" y="13"/>
                    <a:pt x="44" y="14"/>
                    <a:pt x="44" y="15"/>
                  </a:cubicBezTo>
                  <a:cubicBezTo>
                    <a:pt x="43" y="15"/>
                    <a:pt x="43" y="15"/>
                    <a:pt x="43" y="15"/>
                  </a:cubicBezTo>
                  <a:cubicBezTo>
                    <a:pt x="43" y="15"/>
                    <a:pt x="43" y="15"/>
                    <a:pt x="43" y="15"/>
                  </a:cubicBezTo>
                  <a:cubicBezTo>
                    <a:pt x="43" y="16"/>
                    <a:pt x="43" y="16"/>
                    <a:pt x="42" y="17"/>
                  </a:cubicBezTo>
                  <a:cubicBezTo>
                    <a:pt x="41" y="18"/>
                    <a:pt x="41" y="18"/>
                    <a:pt x="41" y="18"/>
                  </a:cubicBezTo>
                  <a:cubicBezTo>
                    <a:pt x="40" y="19"/>
                    <a:pt x="39" y="20"/>
                    <a:pt x="38" y="21"/>
                  </a:cubicBezTo>
                  <a:cubicBezTo>
                    <a:pt x="39" y="21"/>
                    <a:pt x="39" y="21"/>
                    <a:pt x="39" y="21"/>
                  </a:cubicBezTo>
                  <a:cubicBezTo>
                    <a:pt x="39" y="21"/>
                    <a:pt x="39" y="21"/>
                    <a:pt x="39" y="21"/>
                  </a:cubicBezTo>
                  <a:cubicBezTo>
                    <a:pt x="39" y="21"/>
                    <a:pt x="40" y="21"/>
                    <a:pt x="42" y="22"/>
                  </a:cubicBezTo>
                  <a:cubicBezTo>
                    <a:pt x="42" y="22"/>
                    <a:pt x="43" y="22"/>
                    <a:pt x="44" y="22"/>
                  </a:cubicBezTo>
                  <a:cubicBezTo>
                    <a:pt x="50" y="24"/>
                    <a:pt x="50" y="24"/>
                    <a:pt x="50" y="24"/>
                  </a:cubicBezTo>
                  <a:cubicBezTo>
                    <a:pt x="41" y="30"/>
                    <a:pt x="41" y="30"/>
                    <a:pt x="41" y="30"/>
                  </a:cubicBezTo>
                  <a:cubicBezTo>
                    <a:pt x="37" y="32"/>
                    <a:pt x="27" y="38"/>
                    <a:pt x="22" y="42"/>
                  </a:cubicBezTo>
                  <a:cubicBezTo>
                    <a:pt x="23" y="42"/>
                    <a:pt x="23" y="42"/>
                    <a:pt x="23" y="42"/>
                  </a:cubicBezTo>
                  <a:cubicBezTo>
                    <a:pt x="23" y="42"/>
                    <a:pt x="23" y="42"/>
                    <a:pt x="24" y="43"/>
                  </a:cubicBezTo>
                  <a:cubicBezTo>
                    <a:pt x="24" y="43"/>
                    <a:pt x="24" y="43"/>
                    <a:pt x="24" y="43"/>
                  </a:cubicBezTo>
                  <a:cubicBezTo>
                    <a:pt x="25" y="43"/>
                    <a:pt x="25" y="43"/>
                    <a:pt x="25" y="44"/>
                  </a:cubicBezTo>
                  <a:cubicBezTo>
                    <a:pt x="31" y="42"/>
                    <a:pt x="31" y="42"/>
                    <a:pt x="31" y="42"/>
                  </a:cubicBezTo>
                  <a:cubicBezTo>
                    <a:pt x="32" y="45"/>
                    <a:pt x="32" y="45"/>
                    <a:pt x="32" y="45"/>
                  </a:cubicBezTo>
                  <a:cubicBezTo>
                    <a:pt x="32" y="45"/>
                    <a:pt x="33" y="46"/>
                    <a:pt x="33" y="47"/>
                  </a:cubicBezTo>
                  <a:cubicBezTo>
                    <a:pt x="33" y="48"/>
                    <a:pt x="33" y="49"/>
                    <a:pt x="34" y="49"/>
                  </a:cubicBezTo>
                  <a:cubicBezTo>
                    <a:pt x="35" y="50"/>
                    <a:pt x="35" y="50"/>
                    <a:pt x="35" y="50"/>
                  </a:cubicBezTo>
                  <a:cubicBezTo>
                    <a:pt x="37" y="51"/>
                    <a:pt x="41" y="51"/>
                    <a:pt x="44" y="52"/>
                  </a:cubicBezTo>
                  <a:cubicBezTo>
                    <a:pt x="44" y="51"/>
                    <a:pt x="44" y="50"/>
                    <a:pt x="44" y="48"/>
                  </a:cubicBezTo>
                  <a:cubicBezTo>
                    <a:pt x="45" y="45"/>
                    <a:pt x="45" y="45"/>
                    <a:pt x="45" y="45"/>
                  </a:cubicBezTo>
                  <a:cubicBezTo>
                    <a:pt x="48" y="46"/>
                    <a:pt x="48" y="46"/>
                    <a:pt x="48" y="46"/>
                  </a:cubicBezTo>
                  <a:cubicBezTo>
                    <a:pt x="48" y="41"/>
                    <a:pt x="48" y="41"/>
                    <a:pt x="48" y="41"/>
                  </a:cubicBezTo>
                  <a:cubicBezTo>
                    <a:pt x="52" y="42"/>
                    <a:pt x="52" y="42"/>
                    <a:pt x="52" y="42"/>
                  </a:cubicBezTo>
                  <a:cubicBezTo>
                    <a:pt x="57" y="44"/>
                    <a:pt x="59" y="47"/>
                    <a:pt x="61" y="50"/>
                  </a:cubicBezTo>
                  <a:cubicBezTo>
                    <a:pt x="61" y="50"/>
                    <a:pt x="61" y="50"/>
                    <a:pt x="61" y="50"/>
                  </a:cubicBezTo>
                  <a:cubicBezTo>
                    <a:pt x="61" y="50"/>
                    <a:pt x="61" y="50"/>
                    <a:pt x="61" y="50"/>
                  </a:cubicBezTo>
                  <a:cubicBezTo>
                    <a:pt x="62" y="50"/>
                    <a:pt x="62" y="50"/>
                    <a:pt x="63" y="50"/>
                  </a:cubicBezTo>
                  <a:cubicBezTo>
                    <a:pt x="64" y="50"/>
                    <a:pt x="65" y="50"/>
                    <a:pt x="66" y="51"/>
                  </a:cubicBezTo>
                  <a:cubicBezTo>
                    <a:pt x="67" y="52"/>
                    <a:pt x="67" y="54"/>
                    <a:pt x="67" y="55"/>
                  </a:cubicBezTo>
                  <a:cubicBezTo>
                    <a:pt x="68" y="55"/>
                    <a:pt x="68" y="55"/>
                    <a:pt x="69" y="55"/>
                  </a:cubicBezTo>
                  <a:cubicBezTo>
                    <a:pt x="70" y="50"/>
                    <a:pt x="70" y="50"/>
                    <a:pt x="70" y="50"/>
                  </a:cubicBezTo>
                  <a:cubicBezTo>
                    <a:pt x="70" y="56"/>
                    <a:pt x="70" y="56"/>
                    <a:pt x="70" y="56"/>
                  </a:cubicBezTo>
                  <a:cubicBezTo>
                    <a:pt x="72" y="56"/>
                    <a:pt x="72" y="56"/>
                    <a:pt x="72" y="56"/>
                  </a:cubicBezTo>
                  <a:cubicBezTo>
                    <a:pt x="73" y="57"/>
                    <a:pt x="74" y="57"/>
                    <a:pt x="75" y="57"/>
                  </a:cubicBezTo>
                  <a:cubicBezTo>
                    <a:pt x="76" y="58"/>
                    <a:pt x="76" y="59"/>
                    <a:pt x="77" y="59"/>
                  </a:cubicBezTo>
                  <a:cubicBezTo>
                    <a:pt x="78" y="60"/>
                    <a:pt x="81" y="60"/>
                    <a:pt x="84" y="60"/>
                  </a:cubicBezTo>
                  <a:cubicBezTo>
                    <a:pt x="85" y="60"/>
                    <a:pt x="86" y="60"/>
                    <a:pt x="87" y="60"/>
                  </a:cubicBezTo>
                  <a:cubicBezTo>
                    <a:pt x="91" y="61"/>
                    <a:pt x="91" y="61"/>
                    <a:pt x="91" y="61"/>
                  </a:cubicBezTo>
                  <a:cubicBezTo>
                    <a:pt x="90" y="64"/>
                    <a:pt x="90" y="64"/>
                    <a:pt x="90" y="64"/>
                  </a:cubicBezTo>
                  <a:cubicBezTo>
                    <a:pt x="90" y="65"/>
                    <a:pt x="89" y="66"/>
                    <a:pt x="88" y="67"/>
                  </a:cubicBezTo>
                  <a:cubicBezTo>
                    <a:pt x="87" y="68"/>
                    <a:pt x="87" y="68"/>
                    <a:pt x="87" y="68"/>
                  </a:cubicBezTo>
                  <a:cubicBezTo>
                    <a:pt x="87" y="68"/>
                    <a:pt x="86" y="68"/>
                    <a:pt x="86" y="68"/>
                  </a:cubicBezTo>
                  <a:cubicBezTo>
                    <a:pt x="85" y="69"/>
                    <a:pt x="84" y="69"/>
                    <a:pt x="83" y="70"/>
                  </a:cubicBezTo>
                  <a:cubicBezTo>
                    <a:pt x="82" y="70"/>
                    <a:pt x="82" y="70"/>
                    <a:pt x="82" y="70"/>
                  </a:cubicBezTo>
                  <a:cubicBezTo>
                    <a:pt x="81" y="70"/>
                    <a:pt x="81" y="70"/>
                    <a:pt x="81" y="70"/>
                  </a:cubicBezTo>
                  <a:cubicBezTo>
                    <a:pt x="81" y="71"/>
                    <a:pt x="81" y="71"/>
                    <a:pt x="81" y="71"/>
                  </a:cubicBezTo>
                  <a:cubicBezTo>
                    <a:pt x="80" y="71"/>
                    <a:pt x="80" y="71"/>
                    <a:pt x="80" y="71"/>
                  </a:cubicBezTo>
                  <a:cubicBezTo>
                    <a:pt x="80" y="73"/>
                    <a:pt x="78" y="75"/>
                    <a:pt x="76" y="75"/>
                  </a:cubicBezTo>
                  <a:cubicBezTo>
                    <a:pt x="76" y="75"/>
                    <a:pt x="76" y="75"/>
                    <a:pt x="76" y="75"/>
                  </a:cubicBezTo>
                  <a:cubicBezTo>
                    <a:pt x="76" y="75"/>
                    <a:pt x="75" y="75"/>
                    <a:pt x="75" y="75"/>
                  </a:cubicBezTo>
                  <a:cubicBezTo>
                    <a:pt x="74" y="75"/>
                    <a:pt x="73" y="75"/>
                    <a:pt x="73" y="75"/>
                  </a:cubicBezTo>
                  <a:cubicBezTo>
                    <a:pt x="73" y="75"/>
                    <a:pt x="73" y="75"/>
                    <a:pt x="73" y="75"/>
                  </a:cubicBezTo>
                  <a:cubicBezTo>
                    <a:pt x="74" y="81"/>
                    <a:pt x="74" y="81"/>
                    <a:pt x="74" y="81"/>
                  </a:cubicBezTo>
                  <a:cubicBezTo>
                    <a:pt x="68" y="78"/>
                    <a:pt x="68" y="78"/>
                    <a:pt x="68" y="78"/>
                  </a:cubicBezTo>
                  <a:cubicBezTo>
                    <a:pt x="68" y="78"/>
                    <a:pt x="66" y="77"/>
                    <a:pt x="65" y="77"/>
                  </a:cubicBezTo>
                  <a:cubicBezTo>
                    <a:pt x="65" y="78"/>
                    <a:pt x="65" y="78"/>
                    <a:pt x="65" y="78"/>
                  </a:cubicBezTo>
                  <a:cubicBezTo>
                    <a:pt x="64" y="78"/>
                    <a:pt x="64" y="78"/>
                    <a:pt x="64" y="78"/>
                  </a:cubicBezTo>
                  <a:cubicBezTo>
                    <a:pt x="64" y="80"/>
                    <a:pt x="63" y="81"/>
                    <a:pt x="61" y="83"/>
                  </a:cubicBezTo>
                  <a:cubicBezTo>
                    <a:pt x="60" y="83"/>
                    <a:pt x="60" y="83"/>
                    <a:pt x="60" y="83"/>
                  </a:cubicBezTo>
                  <a:cubicBezTo>
                    <a:pt x="58" y="84"/>
                    <a:pt x="56" y="85"/>
                    <a:pt x="54" y="85"/>
                  </a:cubicBezTo>
                  <a:cubicBezTo>
                    <a:pt x="53" y="85"/>
                    <a:pt x="51" y="84"/>
                    <a:pt x="49" y="83"/>
                  </a:cubicBezTo>
                  <a:cubicBezTo>
                    <a:pt x="49" y="83"/>
                    <a:pt x="48" y="83"/>
                    <a:pt x="47" y="82"/>
                  </a:cubicBezTo>
                  <a:cubicBezTo>
                    <a:pt x="46" y="82"/>
                    <a:pt x="46" y="82"/>
                    <a:pt x="46" y="82"/>
                  </a:cubicBezTo>
                  <a:cubicBezTo>
                    <a:pt x="46" y="82"/>
                    <a:pt x="45" y="81"/>
                    <a:pt x="45" y="81"/>
                  </a:cubicBezTo>
                  <a:cubicBezTo>
                    <a:pt x="45" y="81"/>
                    <a:pt x="45" y="81"/>
                    <a:pt x="45" y="81"/>
                  </a:cubicBezTo>
                  <a:cubicBezTo>
                    <a:pt x="45" y="81"/>
                    <a:pt x="44" y="81"/>
                    <a:pt x="44" y="81"/>
                  </a:cubicBezTo>
                  <a:cubicBezTo>
                    <a:pt x="44" y="81"/>
                    <a:pt x="44" y="81"/>
                    <a:pt x="43" y="81"/>
                  </a:cubicBezTo>
                  <a:cubicBezTo>
                    <a:pt x="43" y="81"/>
                    <a:pt x="42" y="81"/>
                    <a:pt x="41" y="81"/>
                  </a:cubicBezTo>
                  <a:cubicBezTo>
                    <a:pt x="41" y="81"/>
                    <a:pt x="40" y="82"/>
                    <a:pt x="39" y="82"/>
                  </a:cubicBezTo>
                  <a:cubicBezTo>
                    <a:pt x="39" y="82"/>
                    <a:pt x="39" y="82"/>
                    <a:pt x="39" y="82"/>
                  </a:cubicBezTo>
                  <a:cubicBezTo>
                    <a:pt x="38" y="82"/>
                    <a:pt x="38" y="82"/>
                    <a:pt x="38" y="82"/>
                  </a:cubicBezTo>
                  <a:cubicBezTo>
                    <a:pt x="37" y="83"/>
                    <a:pt x="37" y="83"/>
                    <a:pt x="37" y="83"/>
                  </a:cubicBezTo>
                  <a:cubicBezTo>
                    <a:pt x="35" y="85"/>
                    <a:pt x="35" y="85"/>
                    <a:pt x="35" y="85"/>
                  </a:cubicBezTo>
                  <a:cubicBezTo>
                    <a:pt x="34" y="85"/>
                    <a:pt x="34" y="85"/>
                    <a:pt x="34" y="85"/>
                  </a:cubicBezTo>
                  <a:cubicBezTo>
                    <a:pt x="33" y="86"/>
                    <a:pt x="33" y="86"/>
                    <a:pt x="33" y="86"/>
                  </a:cubicBezTo>
                  <a:cubicBezTo>
                    <a:pt x="33" y="86"/>
                    <a:pt x="32" y="86"/>
                    <a:pt x="32" y="87"/>
                  </a:cubicBezTo>
                  <a:cubicBezTo>
                    <a:pt x="31" y="87"/>
                    <a:pt x="31" y="87"/>
                    <a:pt x="31" y="87"/>
                  </a:cubicBezTo>
                  <a:cubicBezTo>
                    <a:pt x="31" y="87"/>
                    <a:pt x="31" y="87"/>
                    <a:pt x="31" y="87"/>
                  </a:cubicBezTo>
                  <a:cubicBezTo>
                    <a:pt x="30" y="88"/>
                    <a:pt x="30" y="88"/>
                    <a:pt x="30" y="88"/>
                  </a:cubicBezTo>
                  <a:cubicBezTo>
                    <a:pt x="29" y="89"/>
                    <a:pt x="29" y="89"/>
                    <a:pt x="29" y="89"/>
                  </a:cubicBezTo>
                  <a:cubicBezTo>
                    <a:pt x="28" y="89"/>
                    <a:pt x="28" y="89"/>
                    <a:pt x="28" y="89"/>
                  </a:cubicBezTo>
                  <a:cubicBezTo>
                    <a:pt x="28" y="90"/>
                    <a:pt x="28" y="90"/>
                    <a:pt x="28" y="90"/>
                  </a:cubicBezTo>
                  <a:cubicBezTo>
                    <a:pt x="27" y="90"/>
                    <a:pt x="27" y="90"/>
                    <a:pt x="27" y="90"/>
                  </a:cubicBezTo>
                  <a:cubicBezTo>
                    <a:pt x="27" y="90"/>
                    <a:pt x="27" y="90"/>
                    <a:pt x="27" y="90"/>
                  </a:cubicBezTo>
                  <a:cubicBezTo>
                    <a:pt x="27" y="90"/>
                    <a:pt x="27" y="90"/>
                    <a:pt x="27" y="90"/>
                  </a:cubicBezTo>
                  <a:cubicBezTo>
                    <a:pt x="26" y="91"/>
                    <a:pt x="26" y="91"/>
                    <a:pt x="26" y="91"/>
                  </a:cubicBezTo>
                  <a:cubicBezTo>
                    <a:pt x="25" y="91"/>
                    <a:pt x="25" y="92"/>
                    <a:pt x="24" y="92"/>
                  </a:cubicBezTo>
                  <a:cubicBezTo>
                    <a:pt x="22" y="92"/>
                    <a:pt x="22" y="92"/>
                    <a:pt x="22" y="92"/>
                  </a:cubicBezTo>
                  <a:cubicBezTo>
                    <a:pt x="21" y="89"/>
                    <a:pt x="21" y="89"/>
                    <a:pt x="21" y="89"/>
                  </a:cubicBezTo>
                  <a:cubicBezTo>
                    <a:pt x="21" y="88"/>
                    <a:pt x="21" y="88"/>
                    <a:pt x="21" y="87"/>
                  </a:cubicBezTo>
                  <a:cubicBezTo>
                    <a:pt x="18" y="85"/>
                    <a:pt x="14" y="84"/>
                    <a:pt x="12" y="84"/>
                  </a:cubicBezTo>
                  <a:cubicBezTo>
                    <a:pt x="11" y="84"/>
                    <a:pt x="9" y="84"/>
                    <a:pt x="7" y="85"/>
                  </a:cubicBezTo>
                  <a:cubicBezTo>
                    <a:pt x="6" y="85"/>
                    <a:pt x="6" y="85"/>
                    <a:pt x="6" y="85"/>
                  </a:cubicBezTo>
                  <a:cubicBezTo>
                    <a:pt x="6" y="86"/>
                    <a:pt x="5" y="86"/>
                    <a:pt x="4" y="86"/>
                  </a:cubicBezTo>
                  <a:cubicBezTo>
                    <a:pt x="4" y="86"/>
                    <a:pt x="4" y="86"/>
                    <a:pt x="4" y="86"/>
                  </a:cubicBezTo>
                  <a:cubicBezTo>
                    <a:pt x="4" y="86"/>
                    <a:pt x="4" y="86"/>
                    <a:pt x="3" y="88"/>
                  </a:cubicBezTo>
                  <a:cubicBezTo>
                    <a:pt x="2" y="89"/>
                    <a:pt x="2" y="90"/>
                    <a:pt x="2" y="90"/>
                  </a:cubicBezTo>
                  <a:cubicBezTo>
                    <a:pt x="0" y="92"/>
                    <a:pt x="0" y="92"/>
                    <a:pt x="0" y="92"/>
                  </a:cubicBezTo>
                  <a:cubicBezTo>
                    <a:pt x="0" y="97"/>
                    <a:pt x="0" y="97"/>
                    <a:pt x="0" y="97"/>
                  </a:cubicBezTo>
                  <a:cubicBezTo>
                    <a:pt x="4" y="96"/>
                    <a:pt x="8" y="96"/>
                    <a:pt x="12" y="96"/>
                  </a:cubicBezTo>
                  <a:cubicBezTo>
                    <a:pt x="16" y="96"/>
                    <a:pt x="21" y="96"/>
                    <a:pt x="24" y="97"/>
                  </a:cubicBezTo>
                  <a:cubicBezTo>
                    <a:pt x="29" y="98"/>
                    <a:pt x="33" y="98"/>
                    <a:pt x="36" y="99"/>
                  </a:cubicBezTo>
                  <a:cubicBezTo>
                    <a:pt x="38" y="95"/>
                    <a:pt x="38" y="95"/>
                    <a:pt x="38" y="95"/>
                  </a:cubicBezTo>
                  <a:cubicBezTo>
                    <a:pt x="38" y="100"/>
                    <a:pt x="38" y="100"/>
                    <a:pt x="38" y="100"/>
                  </a:cubicBezTo>
                  <a:cubicBezTo>
                    <a:pt x="39" y="100"/>
                    <a:pt x="43" y="98"/>
                    <a:pt x="44" y="97"/>
                  </a:cubicBezTo>
                  <a:cubicBezTo>
                    <a:pt x="45" y="97"/>
                    <a:pt x="45" y="97"/>
                    <a:pt x="45" y="97"/>
                  </a:cubicBezTo>
                  <a:cubicBezTo>
                    <a:pt x="46" y="96"/>
                    <a:pt x="47" y="95"/>
                    <a:pt x="48" y="95"/>
                  </a:cubicBezTo>
                  <a:cubicBezTo>
                    <a:pt x="51" y="94"/>
                    <a:pt x="51" y="94"/>
                    <a:pt x="51" y="94"/>
                  </a:cubicBezTo>
                  <a:cubicBezTo>
                    <a:pt x="52" y="99"/>
                    <a:pt x="52" y="99"/>
                    <a:pt x="52" y="99"/>
                  </a:cubicBezTo>
                  <a:cubicBezTo>
                    <a:pt x="52" y="99"/>
                    <a:pt x="52" y="99"/>
                    <a:pt x="52" y="99"/>
                  </a:cubicBezTo>
                  <a:cubicBezTo>
                    <a:pt x="57" y="99"/>
                    <a:pt x="57" y="102"/>
                    <a:pt x="57" y="104"/>
                  </a:cubicBezTo>
                  <a:cubicBezTo>
                    <a:pt x="58" y="104"/>
                    <a:pt x="58" y="104"/>
                    <a:pt x="58" y="104"/>
                  </a:cubicBezTo>
                  <a:cubicBezTo>
                    <a:pt x="59" y="104"/>
                    <a:pt x="59" y="104"/>
                    <a:pt x="59" y="104"/>
                  </a:cubicBezTo>
                  <a:cubicBezTo>
                    <a:pt x="61" y="104"/>
                    <a:pt x="63" y="105"/>
                    <a:pt x="65" y="105"/>
                  </a:cubicBezTo>
                  <a:cubicBezTo>
                    <a:pt x="67" y="103"/>
                    <a:pt x="69" y="101"/>
                    <a:pt x="74" y="101"/>
                  </a:cubicBezTo>
                  <a:cubicBezTo>
                    <a:pt x="75" y="101"/>
                    <a:pt x="75" y="101"/>
                    <a:pt x="75" y="101"/>
                  </a:cubicBezTo>
                  <a:cubicBezTo>
                    <a:pt x="80" y="101"/>
                    <a:pt x="80" y="101"/>
                    <a:pt x="80" y="101"/>
                  </a:cubicBezTo>
                  <a:cubicBezTo>
                    <a:pt x="81" y="101"/>
                    <a:pt x="84" y="101"/>
                    <a:pt x="86" y="101"/>
                  </a:cubicBezTo>
                  <a:cubicBezTo>
                    <a:pt x="87" y="101"/>
                    <a:pt x="88" y="100"/>
                    <a:pt x="89" y="100"/>
                  </a:cubicBezTo>
                  <a:cubicBezTo>
                    <a:pt x="92" y="100"/>
                    <a:pt x="92" y="100"/>
                    <a:pt x="92" y="100"/>
                  </a:cubicBezTo>
                  <a:cubicBezTo>
                    <a:pt x="94" y="100"/>
                    <a:pt x="95" y="100"/>
                    <a:pt x="97" y="99"/>
                  </a:cubicBezTo>
                  <a:cubicBezTo>
                    <a:pt x="97" y="99"/>
                    <a:pt x="97" y="99"/>
                    <a:pt x="97" y="99"/>
                  </a:cubicBezTo>
                  <a:cubicBezTo>
                    <a:pt x="98" y="99"/>
                    <a:pt x="98" y="99"/>
                    <a:pt x="98" y="99"/>
                  </a:cubicBezTo>
                  <a:cubicBezTo>
                    <a:pt x="100" y="98"/>
                    <a:pt x="100" y="98"/>
                    <a:pt x="100" y="98"/>
                  </a:cubicBezTo>
                  <a:cubicBezTo>
                    <a:pt x="100" y="98"/>
                    <a:pt x="101" y="98"/>
                    <a:pt x="101" y="97"/>
                  </a:cubicBezTo>
                  <a:cubicBezTo>
                    <a:pt x="103" y="97"/>
                    <a:pt x="103" y="97"/>
                    <a:pt x="103" y="97"/>
                  </a:cubicBezTo>
                  <a:cubicBezTo>
                    <a:pt x="103" y="96"/>
                    <a:pt x="103" y="96"/>
                    <a:pt x="103" y="96"/>
                  </a:cubicBezTo>
                  <a:cubicBezTo>
                    <a:pt x="103" y="95"/>
                    <a:pt x="103" y="94"/>
                    <a:pt x="103" y="93"/>
                  </a:cubicBezTo>
                  <a:cubicBezTo>
                    <a:pt x="103" y="92"/>
                    <a:pt x="103" y="92"/>
                    <a:pt x="103" y="92"/>
                  </a:cubicBezTo>
                  <a:cubicBezTo>
                    <a:pt x="104" y="91"/>
                    <a:pt x="104" y="91"/>
                    <a:pt x="104" y="90"/>
                  </a:cubicBezTo>
                  <a:cubicBezTo>
                    <a:pt x="104" y="89"/>
                    <a:pt x="104" y="89"/>
                    <a:pt x="104" y="89"/>
                  </a:cubicBezTo>
                  <a:cubicBezTo>
                    <a:pt x="104" y="89"/>
                    <a:pt x="104" y="88"/>
                    <a:pt x="104" y="88"/>
                  </a:cubicBezTo>
                  <a:cubicBezTo>
                    <a:pt x="105" y="86"/>
                    <a:pt x="105" y="83"/>
                    <a:pt x="108" y="82"/>
                  </a:cubicBezTo>
                  <a:cubicBezTo>
                    <a:pt x="115" y="79"/>
                    <a:pt x="115" y="79"/>
                    <a:pt x="115" y="79"/>
                  </a:cubicBezTo>
                  <a:cubicBezTo>
                    <a:pt x="115" y="79"/>
                    <a:pt x="116" y="79"/>
                    <a:pt x="116" y="79"/>
                  </a:cubicBezTo>
                  <a:cubicBezTo>
                    <a:pt x="117" y="79"/>
                    <a:pt x="117" y="79"/>
                    <a:pt x="117" y="79"/>
                  </a:cubicBezTo>
                  <a:cubicBezTo>
                    <a:pt x="119" y="78"/>
                    <a:pt x="123" y="77"/>
                    <a:pt x="125" y="76"/>
                  </a:cubicBezTo>
                  <a:cubicBezTo>
                    <a:pt x="125" y="76"/>
                    <a:pt x="125" y="76"/>
                    <a:pt x="125" y="76"/>
                  </a:cubicBezTo>
                  <a:cubicBezTo>
                    <a:pt x="125" y="76"/>
                    <a:pt x="125" y="76"/>
                    <a:pt x="125" y="76"/>
                  </a:cubicBezTo>
                  <a:cubicBezTo>
                    <a:pt x="124" y="74"/>
                    <a:pt x="124" y="73"/>
                    <a:pt x="124" y="73"/>
                  </a:cubicBezTo>
                  <a:cubicBezTo>
                    <a:pt x="124" y="69"/>
                    <a:pt x="124" y="69"/>
                    <a:pt x="124" y="69"/>
                  </a:cubicBezTo>
                  <a:cubicBezTo>
                    <a:pt x="128" y="70"/>
                    <a:pt x="128" y="70"/>
                    <a:pt x="128" y="70"/>
                  </a:cubicBezTo>
                  <a:cubicBezTo>
                    <a:pt x="129" y="70"/>
                    <a:pt x="129" y="70"/>
                    <a:pt x="130" y="70"/>
                  </a:cubicBezTo>
                  <a:cubicBezTo>
                    <a:pt x="130" y="70"/>
                    <a:pt x="131" y="71"/>
                    <a:pt x="131" y="71"/>
                  </a:cubicBezTo>
                  <a:cubicBezTo>
                    <a:pt x="132" y="71"/>
                    <a:pt x="133" y="71"/>
                    <a:pt x="134" y="71"/>
                  </a:cubicBezTo>
                  <a:cubicBezTo>
                    <a:pt x="135" y="71"/>
                    <a:pt x="136" y="71"/>
                    <a:pt x="138" y="69"/>
                  </a:cubicBezTo>
                  <a:cubicBezTo>
                    <a:pt x="138" y="69"/>
                    <a:pt x="138" y="69"/>
                    <a:pt x="138" y="69"/>
                  </a:cubicBezTo>
                  <a:cubicBezTo>
                    <a:pt x="139" y="69"/>
                    <a:pt x="139" y="69"/>
                    <a:pt x="139" y="69"/>
                  </a:cubicBezTo>
                  <a:cubicBezTo>
                    <a:pt x="140" y="68"/>
                    <a:pt x="142" y="67"/>
                    <a:pt x="143" y="66"/>
                  </a:cubicBezTo>
                  <a:cubicBezTo>
                    <a:pt x="144" y="66"/>
                    <a:pt x="144" y="66"/>
                    <a:pt x="144" y="66"/>
                  </a:cubicBezTo>
                  <a:cubicBezTo>
                    <a:pt x="144" y="66"/>
                    <a:pt x="144" y="66"/>
                    <a:pt x="144" y="66"/>
                  </a:cubicBezTo>
                  <a:cubicBezTo>
                    <a:pt x="145" y="66"/>
                    <a:pt x="145" y="66"/>
                    <a:pt x="145" y="66"/>
                  </a:cubicBezTo>
                  <a:cubicBezTo>
                    <a:pt x="145" y="66"/>
                    <a:pt x="145" y="66"/>
                    <a:pt x="145" y="66"/>
                  </a:cubicBezTo>
                  <a:cubicBezTo>
                    <a:pt x="147" y="67"/>
                    <a:pt x="147" y="67"/>
                    <a:pt x="147" y="67"/>
                  </a:cubicBezTo>
                  <a:cubicBezTo>
                    <a:pt x="148" y="68"/>
                    <a:pt x="148" y="70"/>
                    <a:pt x="148" y="70"/>
                  </a:cubicBezTo>
                  <a:cubicBezTo>
                    <a:pt x="149" y="71"/>
                    <a:pt x="149" y="73"/>
                    <a:pt x="149" y="74"/>
                  </a:cubicBezTo>
                  <a:cubicBezTo>
                    <a:pt x="149" y="74"/>
                    <a:pt x="150" y="75"/>
                    <a:pt x="150" y="75"/>
                  </a:cubicBezTo>
                  <a:cubicBezTo>
                    <a:pt x="150" y="76"/>
                    <a:pt x="150" y="76"/>
                    <a:pt x="150" y="76"/>
                  </a:cubicBezTo>
                  <a:cubicBezTo>
                    <a:pt x="151" y="76"/>
                    <a:pt x="151" y="76"/>
                    <a:pt x="151" y="76"/>
                  </a:cubicBezTo>
                  <a:cubicBezTo>
                    <a:pt x="151" y="75"/>
                    <a:pt x="151" y="75"/>
                    <a:pt x="151" y="75"/>
                  </a:cubicBezTo>
                  <a:cubicBezTo>
                    <a:pt x="152" y="75"/>
                    <a:pt x="152" y="74"/>
                    <a:pt x="153" y="74"/>
                  </a:cubicBezTo>
                  <a:cubicBezTo>
                    <a:pt x="154" y="73"/>
                    <a:pt x="155" y="73"/>
                    <a:pt x="156" y="73"/>
                  </a:cubicBezTo>
                  <a:cubicBezTo>
                    <a:pt x="157" y="73"/>
                    <a:pt x="158" y="73"/>
                    <a:pt x="159" y="73"/>
                  </a:cubicBezTo>
                  <a:cubicBezTo>
                    <a:pt x="159" y="73"/>
                    <a:pt x="159" y="73"/>
                    <a:pt x="160" y="73"/>
                  </a:cubicBezTo>
                  <a:cubicBezTo>
                    <a:pt x="161" y="73"/>
                    <a:pt x="162" y="73"/>
                    <a:pt x="162" y="73"/>
                  </a:cubicBezTo>
                  <a:cubicBezTo>
                    <a:pt x="163" y="73"/>
                    <a:pt x="163" y="73"/>
                    <a:pt x="163" y="73"/>
                  </a:cubicBezTo>
                  <a:cubicBezTo>
                    <a:pt x="163" y="73"/>
                    <a:pt x="163" y="73"/>
                    <a:pt x="163" y="73"/>
                  </a:cubicBezTo>
                  <a:cubicBezTo>
                    <a:pt x="164" y="73"/>
                    <a:pt x="164" y="72"/>
                    <a:pt x="165" y="71"/>
                  </a:cubicBezTo>
                  <a:cubicBezTo>
                    <a:pt x="166" y="70"/>
                    <a:pt x="166" y="69"/>
                    <a:pt x="166" y="69"/>
                  </a:cubicBezTo>
                  <a:cubicBezTo>
                    <a:pt x="166" y="68"/>
                    <a:pt x="166" y="68"/>
                    <a:pt x="166" y="68"/>
                  </a:cubicBezTo>
                  <a:cubicBezTo>
                    <a:pt x="166" y="67"/>
                    <a:pt x="166" y="66"/>
                    <a:pt x="167" y="65"/>
                  </a:cubicBezTo>
                  <a:cubicBezTo>
                    <a:pt x="167" y="64"/>
                    <a:pt x="167" y="64"/>
                    <a:pt x="167" y="64"/>
                  </a:cubicBezTo>
                  <a:cubicBezTo>
                    <a:pt x="168" y="63"/>
                    <a:pt x="169" y="62"/>
                    <a:pt x="170" y="62"/>
                  </a:cubicBezTo>
                  <a:cubicBezTo>
                    <a:pt x="170" y="61"/>
                    <a:pt x="171" y="61"/>
                    <a:pt x="171" y="60"/>
                  </a:cubicBezTo>
                  <a:cubicBezTo>
                    <a:pt x="173" y="58"/>
                    <a:pt x="175" y="56"/>
                    <a:pt x="177" y="55"/>
                  </a:cubicBezTo>
                  <a:cubicBezTo>
                    <a:pt x="180" y="54"/>
                    <a:pt x="184" y="54"/>
                    <a:pt x="187" y="53"/>
                  </a:cubicBezTo>
                  <a:cubicBezTo>
                    <a:pt x="188" y="53"/>
                    <a:pt x="189" y="53"/>
                    <a:pt x="191" y="53"/>
                  </a:cubicBezTo>
                  <a:cubicBezTo>
                    <a:pt x="192" y="53"/>
                    <a:pt x="192" y="53"/>
                    <a:pt x="192" y="53"/>
                  </a:cubicBezTo>
                  <a:cubicBezTo>
                    <a:pt x="195" y="53"/>
                    <a:pt x="197" y="53"/>
                    <a:pt x="199" y="52"/>
                  </a:cubicBezTo>
                  <a:cubicBezTo>
                    <a:pt x="206" y="51"/>
                    <a:pt x="206" y="51"/>
                    <a:pt x="206" y="51"/>
                  </a:cubicBezTo>
                  <a:cubicBezTo>
                    <a:pt x="206" y="51"/>
                    <a:pt x="206" y="51"/>
                    <a:pt x="206" y="51"/>
                  </a:cubicBezTo>
                  <a:cubicBezTo>
                    <a:pt x="206" y="51"/>
                    <a:pt x="207" y="50"/>
                    <a:pt x="208" y="50"/>
                  </a:cubicBezTo>
                  <a:cubicBezTo>
                    <a:pt x="208" y="49"/>
                    <a:pt x="208" y="49"/>
                    <a:pt x="208" y="49"/>
                  </a:cubicBezTo>
                  <a:cubicBezTo>
                    <a:pt x="209" y="48"/>
                    <a:pt x="209" y="48"/>
                    <a:pt x="209" y="47"/>
                  </a:cubicBezTo>
                  <a:cubicBezTo>
                    <a:pt x="210" y="47"/>
                    <a:pt x="210" y="46"/>
                    <a:pt x="211" y="46"/>
                  </a:cubicBezTo>
                  <a:cubicBezTo>
                    <a:pt x="213" y="44"/>
                    <a:pt x="215" y="42"/>
                    <a:pt x="217" y="41"/>
                  </a:cubicBezTo>
                  <a:cubicBezTo>
                    <a:pt x="218" y="41"/>
                    <a:pt x="218" y="41"/>
                    <a:pt x="218" y="41"/>
                  </a:cubicBezTo>
                  <a:cubicBezTo>
                    <a:pt x="220" y="39"/>
                    <a:pt x="224" y="38"/>
                    <a:pt x="227" y="36"/>
                  </a:cubicBezTo>
                  <a:cubicBezTo>
                    <a:pt x="228" y="36"/>
                    <a:pt x="228" y="36"/>
                    <a:pt x="228" y="36"/>
                  </a:cubicBezTo>
                  <a:cubicBezTo>
                    <a:pt x="229" y="36"/>
                    <a:pt x="231" y="35"/>
                    <a:pt x="232" y="35"/>
                  </a:cubicBezTo>
                  <a:cubicBezTo>
                    <a:pt x="236" y="33"/>
                    <a:pt x="241" y="31"/>
                    <a:pt x="246" y="29"/>
                  </a:cubicBezTo>
                  <a:cubicBezTo>
                    <a:pt x="250" y="28"/>
                    <a:pt x="250" y="28"/>
                    <a:pt x="250" y="28"/>
                  </a:cubicBezTo>
                  <a:cubicBezTo>
                    <a:pt x="251" y="28"/>
                    <a:pt x="251" y="28"/>
                    <a:pt x="251" y="28"/>
                  </a:cubicBezTo>
                  <a:cubicBezTo>
                    <a:pt x="251" y="27"/>
                    <a:pt x="251" y="27"/>
                    <a:pt x="251" y="27"/>
                  </a:cubicBezTo>
                  <a:cubicBezTo>
                    <a:pt x="251" y="27"/>
                    <a:pt x="251" y="27"/>
                    <a:pt x="251" y="27"/>
                  </a:cubicBezTo>
                  <a:cubicBezTo>
                    <a:pt x="251" y="26"/>
                    <a:pt x="251" y="26"/>
                    <a:pt x="251" y="26"/>
                  </a:cubicBezTo>
                  <a:cubicBezTo>
                    <a:pt x="250" y="26"/>
                    <a:pt x="250" y="26"/>
                    <a:pt x="250" y="26"/>
                  </a:cubicBezTo>
                  <a:cubicBezTo>
                    <a:pt x="250" y="25"/>
                    <a:pt x="250" y="25"/>
                    <a:pt x="249" y="24"/>
                  </a:cubicBezTo>
                  <a:cubicBezTo>
                    <a:pt x="248" y="24"/>
                    <a:pt x="247" y="23"/>
                    <a:pt x="247" y="22"/>
                  </a:cubicBezTo>
                  <a:cubicBezTo>
                    <a:pt x="246" y="22"/>
                    <a:pt x="246" y="22"/>
                    <a:pt x="245" y="21"/>
                  </a:cubicBezTo>
                  <a:cubicBezTo>
                    <a:pt x="245" y="21"/>
                    <a:pt x="244" y="21"/>
                    <a:pt x="243" y="21"/>
                  </a:cubicBezTo>
                  <a:cubicBezTo>
                    <a:pt x="242" y="21"/>
                    <a:pt x="241" y="21"/>
                    <a:pt x="240" y="21"/>
                  </a:cubicBezTo>
                  <a:cubicBezTo>
                    <a:pt x="236" y="20"/>
                    <a:pt x="233" y="20"/>
                    <a:pt x="231" y="16"/>
                  </a:cubicBezTo>
                  <a:cubicBezTo>
                    <a:pt x="230" y="15"/>
                    <a:pt x="230" y="15"/>
                    <a:pt x="230" y="15"/>
                  </a:cubicBezTo>
                  <a:cubicBezTo>
                    <a:pt x="230" y="14"/>
                    <a:pt x="229" y="13"/>
                    <a:pt x="228" y="12"/>
                  </a:cubicBezTo>
                  <a:cubicBezTo>
                    <a:pt x="228" y="11"/>
                    <a:pt x="228" y="11"/>
                    <a:pt x="228" y="11"/>
                  </a:cubicBezTo>
                  <a:cubicBezTo>
                    <a:pt x="228" y="11"/>
                    <a:pt x="228" y="11"/>
                    <a:pt x="228" y="11"/>
                  </a:cubicBezTo>
                  <a:cubicBezTo>
                    <a:pt x="227" y="11"/>
                    <a:pt x="227" y="11"/>
                    <a:pt x="226" y="11"/>
                  </a:cubicBezTo>
                  <a:cubicBezTo>
                    <a:pt x="226" y="11"/>
                    <a:pt x="225" y="12"/>
                    <a:pt x="224" y="12"/>
                  </a:cubicBezTo>
                  <a:cubicBezTo>
                    <a:pt x="223" y="11"/>
                    <a:pt x="221" y="11"/>
                    <a:pt x="219" y="11"/>
                  </a:cubicBezTo>
                  <a:cubicBezTo>
                    <a:pt x="217" y="10"/>
                    <a:pt x="217" y="10"/>
                    <a:pt x="217" y="10"/>
                  </a:cubicBezTo>
                  <a:cubicBezTo>
                    <a:pt x="216" y="10"/>
                    <a:pt x="215" y="9"/>
                    <a:pt x="215" y="9"/>
                  </a:cubicBezTo>
                  <a:cubicBezTo>
                    <a:pt x="214" y="9"/>
                    <a:pt x="213" y="9"/>
                    <a:pt x="212" y="9"/>
                  </a:cubicBezTo>
                  <a:cubicBezTo>
                    <a:pt x="212" y="9"/>
                    <a:pt x="212" y="9"/>
                    <a:pt x="211" y="9"/>
                  </a:cubicBezTo>
                  <a:cubicBezTo>
                    <a:pt x="211" y="9"/>
                    <a:pt x="211" y="9"/>
                    <a:pt x="210" y="9"/>
                  </a:cubicBezTo>
                  <a:cubicBezTo>
                    <a:pt x="209" y="9"/>
                    <a:pt x="209" y="9"/>
                    <a:pt x="209" y="9"/>
                  </a:cubicBezTo>
                  <a:cubicBezTo>
                    <a:pt x="208" y="9"/>
                    <a:pt x="207" y="9"/>
                    <a:pt x="206" y="9"/>
                  </a:cubicBezTo>
                  <a:cubicBezTo>
                    <a:pt x="201" y="9"/>
                    <a:pt x="197" y="9"/>
                    <a:pt x="193" y="8"/>
                  </a:cubicBezTo>
                  <a:cubicBezTo>
                    <a:pt x="192" y="8"/>
                    <a:pt x="192" y="8"/>
                    <a:pt x="192" y="8"/>
                  </a:cubicBezTo>
                  <a:cubicBezTo>
                    <a:pt x="191" y="8"/>
                    <a:pt x="190" y="8"/>
                    <a:pt x="189" y="8"/>
                  </a:cubicBezTo>
                  <a:cubicBezTo>
                    <a:pt x="189" y="12"/>
                    <a:pt x="189" y="12"/>
                    <a:pt x="189" y="12"/>
                  </a:cubicBezTo>
                  <a:cubicBezTo>
                    <a:pt x="188" y="8"/>
                    <a:pt x="188" y="8"/>
                    <a:pt x="188" y="8"/>
                  </a:cubicBezTo>
                  <a:cubicBezTo>
                    <a:pt x="187" y="8"/>
                    <a:pt x="187" y="8"/>
                    <a:pt x="187" y="8"/>
                  </a:cubicBezTo>
                  <a:cubicBezTo>
                    <a:pt x="182" y="8"/>
                    <a:pt x="177" y="8"/>
                    <a:pt x="171" y="7"/>
                  </a:cubicBezTo>
                  <a:cubicBezTo>
                    <a:pt x="170" y="7"/>
                    <a:pt x="170" y="7"/>
                    <a:pt x="170" y="7"/>
                  </a:cubicBezTo>
                  <a:cubicBezTo>
                    <a:pt x="168" y="7"/>
                    <a:pt x="166" y="7"/>
                    <a:pt x="164" y="7"/>
                  </a:cubicBezTo>
                  <a:cubicBezTo>
                    <a:pt x="163" y="7"/>
                    <a:pt x="163" y="7"/>
                    <a:pt x="163" y="7"/>
                  </a:cubicBezTo>
                  <a:cubicBezTo>
                    <a:pt x="161" y="7"/>
                    <a:pt x="158" y="7"/>
                    <a:pt x="156" y="7"/>
                  </a:cubicBezTo>
                  <a:cubicBezTo>
                    <a:pt x="154" y="7"/>
                    <a:pt x="152" y="7"/>
                    <a:pt x="151" y="7"/>
                  </a:cubicBezTo>
                  <a:cubicBezTo>
                    <a:pt x="150" y="7"/>
                    <a:pt x="150" y="7"/>
                    <a:pt x="150" y="7"/>
                  </a:cubicBezTo>
                  <a:cubicBezTo>
                    <a:pt x="149" y="7"/>
                    <a:pt x="148" y="7"/>
                    <a:pt x="148" y="8"/>
                  </a:cubicBezTo>
                  <a:cubicBezTo>
                    <a:pt x="145" y="9"/>
                    <a:pt x="143" y="9"/>
                    <a:pt x="140" y="9"/>
                  </a:cubicBezTo>
                  <a:cubicBezTo>
                    <a:pt x="139" y="9"/>
                    <a:pt x="138" y="9"/>
                    <a:pt x="138" y="9"/>
                  </a:cubicBezTo>
                  <a:cubicBezTo>
                    <a:pt x="136" y="9"/>
                    <a:pt x="136" y="9"/>
                    <a:pt x="136" y="9"/>
                  </a:cubicBezTo>
                  <a:cubicBezTo>
                    <a:pt x="135" y="9"/>
                    <a:pt x="134" y="9"/>
                    <a:pt x="134" y="8"/>
                  </a:cubicBezTo>
                  <a:cubicBezTo>
                    <a:pt x="132" y="8"/>
                    <a:pt x="132" y="8"/>
                    <a:pt x="132" y="8"/>
                  </a:cubicBezTo>
                  <a:cubicBezTo>
                    <a:pt x="131" y="8"/>
                    <a:pt x="130" y="7"/>
                    <a:pt x="129" y="7"/>
                  </a:cubicBezTo>
                  <a:cubicBezTo>
                    <a:pt x="127" y="6"/>
                    <a:pt x="127" y="6"/>
                    <a:pt x="127" y="6"/>
                  </a:cubicBezTo>
                  <a:cubicBezTo>
                    <a:pt x="126" y="6"/>
                    <a:pt x="124" y="5"/>
                    <a:pt x="123" y="4"/>
                  </a:cubicBezTo>
                  <a:cubicBezTo>
                    <a:pt x="122" y="4"/>
                    <a:pt x="122" y="4"/>
                    <a:pt x="122" y="4"/>
                  </a:cubicBezTo>
                  <a:cubicBezTo>
                    <a:pt x="121" y="3"/>
                    <a:pt x="121" y="3"/>
                    <a:pt x="121" y="3"/>
                  </a:cubicBezTo>
                  <a:cubicBezTo>
                    <a:pt x="120" y="3"/>
                    <a:pt x="119" y="2"/>
                    <a:pt x="117" y="1"/>
                  </a:cubicBezTo>
                  <a:cubicBezTo>
                    <a:pt x="116" y="0"/>
                    <a:pt x="114" y="0"/>
                    <a:pt x="112" y="0"/>
                  </a:cubicBezTo>
                  <a:cubicBezTo>
                    <a:pt x="111" y="0"/>
                    <a:pt x="111" y="0"/>
                    <a:pt x="1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Rectangle 1559"/>
            <p:cNvSpPr>
              <a:spLocks noChangeArrowheads="1"/>
            </p:cNvSpPr>
            <p:nvPr/>
          </p:nvSpPr>
          <p:spPr bwMode="auto">
            <a:xfrm>
              <a:off x="726204" y="1514157"/>
              <a:ext cx="1342" cy="2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Rectangle 1560"/>
            <p:cNvSpPr>
              <a:spLocks noChangeArrowheads="1"/>
            </p:cNvSpPr>
            <p:nvPr/>
          </p:nvSpPr>
          <p:spPr bwMode="auto">
            <a:xfrm>
              <a:off x="726204" y="1514157"/>
              <a:ext cx="1342" cy="2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1561"/>
            <p:cNvSpPr/>
            <p:nvPr/>
          </p:nvSpPr>
          <p:spPr bwMode="auto">
            <a:xfrm>
              <a:off x="0" y="1428247"/>
              <a:ext cx="828221" cy="562439"/>
            </a:xfrm>
            <a:custGeom>
              <a:gdLst>
                <a:gd name="T0" fmla="*/ 14 w 261"/>
                <a:gd name="T1" fmla="*/ 87 h 177"/>
                <a:gd name="T2" fmla="*/ 22 w 261"/>
                <a:gd name="T3" fmla="*/ 101 h 177"/>
                <a:gd name="T4" fmla="*/ 48 w 261"/>
                <a:gd name="T5" fmla="*/ 120 h 177"/>
                <a:gd name="T6" fmla="*/ 82 w 261"/>
                <a:gd name="T7" fmla="*/ 140 h 177"/>
                <a:gd name="T8" fmla="*/ 96 w 261"/>
                <a:gd name="T9" fmla="*/ 148 h 177"/>
                <a:gd name="T10" fmla="*/ 113 w 261"/>
                <a:gd name="T11" fmla="*/ 153 h 177"/>
                <a:gd name="T12" fmla="*/ 119 w 261"/>
                <a:gd name="T13" fmla="*/ 166 h 177"/>
                <a:gd name="T14" fmla="*/ 132 w 261"/>
                <a:gd name="T15" fmla="*/ 176 h 177"/>
                <a:gd name="T16" fmla="*/ 138 w 261"/>
                <a:gd name="T17" fmla="*/ 177 h 177"/>
                <a:gd name="T18" fmla="*/ 142 w 261"/>
                <a:gd name="T19" fmla="*/ 173 h 177"/>
                <a:gd name="T20" fmla="*/ 148 w 261"/>
                <a:gd name="T21" fmla="*/ 163 h 177"/>
                <a:gd name="T22" fmla="*/ 152 w 261"/>
                <a:gd name="T23" fmla="*/ 149 h 177"/>
                <a:gd name="T24" fmla="*/ 146 w 261"/>
                <a:gd name="T25" fmla="*/ 133 h 177"/>
                <a:gd name="T26" fmla="*/ 132 w 261"/>
                <a:gd name="T27" fmla="*/ 120 h 177"/>
                <a:gd name="T28" fmla="*/ 146 w 261"/>
                <a:gd name="T29" fmla="*/ 111 h 177"/>
                <a:gd name="T30" fmla="*/ 161 w 261"/>
                <a:gd name="T31" fmla="*/ 108 h 177"/>
                <a:gd name="T32" fmla="*/ 173 w 261"/>
                <a:gd name="T33" fmla="*/ 94 h 177"/>
                <a:gd name="T34" fmla="*/ 178 w 261"/>
                <a:gd name="T35" fmla="*/ 80 h 177"/>
                <a:gd name="T36" fmla="*/ 184 w 261"/>
                <a:gd name="T37" fmla="*/ 79 h 177"/>
                <a:gd name="T38" fmla="*/ 189 w 261"/>
                <a:gd name="T39" fmla="*/ 82 h 177"/>
                <a:gd name="T40" fmla="*/ 199 w 261"/>
                <a:gd name="T41" fmla="*/ 76 h 177"/>
                <a:gd name="T42" fmla="*/ 207 w 261"/>
                <a:gd name="T43" fmla="*/ 70 h 177"/>
                <a:gd name="T44" fmla="*/ 216 w 261"/>
                <a:gd name="T45" fmla="*/ 93 h 177"/>
                <a:gd name="T46" fmla="*/ 226 w 261"/>
                <a:gd name="T47" fmla="*/ 91 h 177"/>
                <a:gd name="T48" fmla="*/ 240 w 261"/>
                <a:gd name="T49" fmla="*/ 94 h 177"/>
                <a:gd name="T50" fmla="*/ 245 w 261"/>
                <a:gd name="T51" fmla="*/ 88 h 177"/>
                <a:gd name="T52" fmla="*/ 248 w 261"/>
                <a:gd name="T53" fmla="*/ 88 h 177"/>
                <a:gd name="T54" fmla="*/ 253 w 261"/>
                <a:gd name="T55" fmla="*/ 83 h 177"/>
                <a:gd name="T56" fmla="*/ 259 w 261"/>
                <a:gd name="T57" fmla="*/ 84 h 177"/>
                <a:gd name="T58" fmla="*/ 255 w 261"/>
                <a:gd name="T59" fmla="*/ 79 h 177"/>
                <a:gd name="T60" fmla="*/ 251 w 261"/>
                <a:gd name="T61" fmla="*/ 77 h 177"/>
                <a:gd name="T62" fmla="*/ 245 w 261"/>
                <a:gd name="T63" fmla="*/ 73 h 177"/>
                <a:gd name="T64" fmla="*/ 239 w 261"/>
                <a:gd name="T65" fmla="*/ 69 h 177"/>
                <a:gd name="T66" fmla="*/ 233 w 261"/>
                <a:gd name="T67" fmla="*/ 69 h 177"/>
                <a:gd name="T68" fmla="*/ 227 w 261"/>
                <a:gd name="T69" fmla="*/ 74 h 177"/>
                <a:gd name="T70" fmla="*/ 209 w 261"/>
                <a:gd name="T71" fmla="*/ 66 h 177"/>
                <a:gd name="T72" fmla="*/ 202 w 261"/>
                <a:gd name="T73" fmla="*/ 63 h 177"/>
                <a:gd name="T74" fmla="*/ 196 w 261"/>
                <a:gd name="T75" fmla="*/ 55 h 177"/>
                <a:gd name="T76" fmla="*/ 180 w 261"/>
                <a:gd name="T77" fmla="*/ 67 h 177"/>
                <a:gd name="T78" fmla="*/ 167 w 261"/>
                <a:gd name="T79" fmla="*/ 80 h 177"/>
                <a:gd name="T80" fmla="*/ 162 w 261"/>
                <a:gd name="T81" fmla="*/ 89 h 177"/>
                <a:gd name="T82" fmla="*/ 159 w 261"/>
                <a:gd name="T83" fmla="*/ 88 h 177"/>
                <a:gd name="T84" fmla="*/ 149 w 261"/>
                <a:gd name="T85" fmla="*/ 74 h 177"/>
                <a:gd name="T86" fmla="*/ 142 w 261"/>
                <a:gd name="T87" fmla="*/ 72 h 177"/>
                <a:gd name="T88" fmla="*/ 115 w 261"/>
                <a:gd name="T89" fmla="*/ 66 h 177"/>
                <a:gd name="T90" fmla="*/ 112 w 261"/>
                <a:gd name="T91" fmla="*/ 49 h 177"/>
                <a:gd name="T92" fmla="*/ 105 w 261"/>
                <a:gd name="T93" fmla="*/ 50 h 177"/>
                <a:gd name="T94" fmla="*/ 102 w 261"/>
                <a:gd name="T95" fmla="*/ 26 h 177"/>
                <a:gd name="T96" fmla="*/ 94 w 261"/>
                <a:gd name="T97" fmla="*/ 18 h 177"/>
                <a:gd name="T98" fmla="*/ 81 w 261"/>
                <a:gd name="T99" fmla="*/ 5 h 177"/>
                <a:gd name="T100" fmla="*/ 72 w 261"/>
                <a:gd name="T101" fmla="*/ 3 h 177"/>
                <a:gd name="T102" fmla="*/ 39 w 261"/>
                <a:gd name="T103" fmla="*/ 3 h 177"/>
                <a:gd name="T104" fmla="*/ 8 w 261"/>
                <a:gd name="T105" fmla="*/ 6 h 177"/>
                <a:gd name="T106" fmla="*/ 0 w 261"/>
                <a:gd name="T107" fmla="*/ 0 h 1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1" h="177">
                  <a:moveTo>
                    <a:pt x="0" y="0"/>
                  </a:moveTo>
                  <a:cubicBezTo>
                    <a:pt x="0" y="64"/>
                    <a:pt x="0" y="64"/>
                    <a:pt x="0" y="64"/>
                  </a:cubicBezTo>
                  <a:cubicBezTo>
                    <a:pt x="1" y="65"/>
                    <a:pt x="3" y="66"/>
                    <a:pt x="4" y="67"/>
                  </a:cubicBezTo>
                  <a:cubicBezTo>
                    <a:pt x="8" y="71"/>
                    <a:pt x="10" y="77"/>
                    <a:pt x="13" y="82"/>
                  </a:cubicBezTo>
                  <a:cubicBezTo>
                    <a:pt x="13" y="83"/>
                    <a:pt x="13" y="83"/>
                    <a:pt x="13" y="83"/>
                  </a:cubicBezTo>
                  <a:cubicBezTo>
                    <a:pt x="13" y="85"/>
                    <a:pt x="14" y="86"/>
                    <a:pt x="14" y="87"/>
                  </a:cubicBezTo>
                  <a:cubicBezTo>
                    <a:pt x="15" y="87"/>
                    <a:pt x="15" y="88"/>
                    <a:pt x="16" y="89"/>
                  </a:cubicBezTo>
                  <a:cubicBezTo>
                    <a:pt x="17" y="90"/>
                    <a:pt x="19" y="91"/>
                    <a:pt x="20" y="94"/>
                  </a:cubicBezTo>
                  <a:cubicBezTo>
                    <a:pt x="20" y="94"/>
                    <a:pt x="20" y="94"/>
                    <a:pt x="20" y="94"/>
                  </a:cubicBezTo>
                  <a:cubicBezTo>
                    <a:pt x="20" y="95"/>
                    <a:pt x="20" y="96"/>
                    <a:pt x="21" y="97"/>
                  </a:cubicBezTo>
                  <a:cubicBezTo>
                    <a:pt x="21" y="97"/>
                    <a:pt x="21" y="97"/>
                    <a:pt x="21" y="97"/>
                  </a:cubicBezTo>
                  <a:cubicBezTo>
                    <a:pt x="21" y="99"/>
                    <a:pt x="21" y="100"/>
                    <a:pt x="22" y="101"/>
                  </a:cubicBezTo>
                  <a:cubicBezTo>
                    <a:pt x="22" y="102"/>
                    <a:pt x="22" y="102"/>
                    <a:pt x="22" y="102"/>
                  </a:cubicBezTo>
                  <a:cubicBezTo>
                    <a:pt x="23" y="103"/>
                    <a:pt x="25" y="104"/>
                    <a:pt x="26" y="105"/>
                  </a:cubicBezTo>
                  <a:cubicBezTo>
                    <a:pt x="27" y="105"/>
                    <a:pt x="28" y="106"/>
                    <a:pt x="29" y="106"/>
                  </a:cubicBezTo>
                  <a:cubicBezTo>
                    <a:pt x="33" y="109"/>
                    <a:pt x="33" y="109"/>
                    <a:pt x="33" y="109"/>
                  </a:cubicBezTo>
                  <a:cubicBezTo>
                    <a:pt x="34" y="110"/>
                    <a:pt x="35" y="111"/>
                    <a:pt x="37" y="112"/>
                  </a:cubicBezTo>
                  <a:cubicBezTo>
                    <a:pt x="40" y="115"/>
                    <a:pt x="44" y="118"/>
                    <a:pt x="48" y="120"/>
                  </a:cubicBezTo>
                  <a:cubicBezTo>
                    <a:pt x="49" y="120"/>
                    <a:pt x="50" y="121"/>
                    <a:pt x="51" y="121"/>
                  </a:cubicBezTo>
                  <a:cubicBezTo>
                    <a:pt x="54" y="123"/>
                    <a:pt x="54" y="123"/>
                    <a:pt x="54" y="123"/>
                  </a:cubicBezTo>
                  <a:cubicBezTo>
                    <a:pt x="58" y="125"/>
                    <a:pt x="64" y="127"/>
                    <a:pt x="68" y="131"/>
                  </a:cubicBezTo>
                  <a:cubicBezTo>
                    <a:pt x="70" y="133"/>
                    <a:pt x="73" y="135"/>
                    <a:pt x="76" y="137"/>
                  </a:cubicBezTo>
                  <a:cubicBezTo>
                    <a:pt x="79" y="138"/>
                    <a:pt x="79" y="138"/>
                    <a:pt x="79" y="138"/>
                  </a:cubicBezTo>
                  <a:cubicBezTo>
                    <a:pt x="80" y="139"/>
                    <a:pt x="81" y="139"/>
                    <a:pt x="82" y="140"/>
                  </a:cubicBezTo>
                  <a:cubicBezTo>
                    <a:pt x="84" y="141"/>
                    <a:pt x="86" y="143"/>
                    <a:pt x="88" y="144"/>
                  </a:cubicBezTo>
                  <a:cubicBezTo>
                    <a:pt x="89" y="145"/>
                    <a:pt x="89" y="145"/>
                    <a:pt x="89" y="145"/>
                  </a:cubicBezTo>
                  <a:cubicBezTo>
                    <a:pt x="89" y="145"/>
                    <a:pt x="90" y="145"/>
                    <a:pt x="91" y="146"/>
                  </a:cubicBezTo>
                  <a:cubicBezTo>
                    <a:pt x="92" y="147"/>
                    <a:pt x="92" y="147"/>
                    <a:pt x="92" y="147"/>
                  </a:cubicBezTo>
                  <a:cubicBezTo>
                    <a:pt x="93" y="148"/>
                    <a:pt x="94" y="149"/>
                    <a:pt x="95" y="149"/>
                  </a:cubicBezTo>
                  <a:cubicBezTo>
                    <a:pt x="96" y="149"/>
                    <a:pt x="96" y="148"/>
                    <a:pt x="96" y="148"/>
                  </a:cubicBezTo>
                  <a:cubicBezTo>
                    <a:pt x="97" y="148"/>
                    <a:pt x="97" y="148"/>
                    <a:pt x="97" y="148"/>
                  </a:cubicBezTo>
                  <a:cubicBezTo>
                    <a:pt x="98" y="148"/>
                    <a:pt x="98" y="148"/>
                    <a:pt x="98" y="148"/>
                  </a:cubicBezTo>
                  <a:cubicBezTo>
                    <a:pt x="99" y="147"/>
                    <a:pt x="99" y="147"/>
                    <a:pt x="100" y="147"/>
                  </a:cubicBezTo>
                  <a:cubicBezTo>
                    <a:pt x="103" y="147"/>
                    <a:pt x="105" y="149"/>
                    <a:pt x="108" y="150"/>
                  </a:cubicBezTo>
                  <a:cubicBezTo>
                    <a:pt x="108" y="151"/>
                    <a:pt x="108" y="151"/>
                    <a:pt x="108" y="151"/>
                  </a:cubicBezTo>
                  <a:cubicBezTo>
                    <a:pt x="110" y="151"/>
                    <a:pt x="111" y="152"/>
                    <a:pt x="113" y="153"/>
                  </a:cubicBezTo>
                  <a:cubicBezTo>
                    <a:pt x="119" y="156"/>
                    <a:pt x="119" y="156"/>
                    <a:pt x="119" y="156"/>
                  </a:cubicBezTo>
                  <a:cubicBezTo>
                    <a:pt x="121" y="157"/>
                    <a:pt x="121" y="159"/>
                    <a:pt x="121" y="159"/>
                  </a:cubicBezTo>
                  <a:cubicBezTo>
                    <a:pt x="120" y="160"/>
                    <a:pt x="120" y="160"/>
                    <a:pt x="120" y="161"/>
                  </a:cubicBezTo>
                  <a:cubicBezTo>
                    <a:pt x="120" y="161"/>
                    <a:pt x="120" y="162"/>
                    <a:pt x="120" y="163"/>
                  </a:cubicBezTo>
                  <a:cubicBezTo>
                    <a:pt x="120" y="164"/>
                    <a:pt x="120" y="164"/>
                    <a:pt x="120" y="164"/>
                  </a:cubicBezTo>
                  <a:cubicBezTo>
                    <a:pt x="120" y="165"/>
                    <a:pt x="119" y="165"/>
                    <a:pt x="119" y="166"/>
                  </a:cubicBezTo>
                  <a:cubicBezTo>
                    <a:pt x="119" y="171"/>
                    <a:pt x="119" y="171"/>
                    <a:pt x="119" y="171"/>
                  </a:cubicBezTo>
                  <a:cubicBezTo>
                    <a:pt x="118" y="171"/>
                    <a:pt x="118" y="172"/>
                    <a:pt x="118" y="172"/>
                  </a:cubicBezTo>
                  <a:cubicBezTo>
                    <a:pt x="122" y="172"/>
                    <a:pt x="122" y="172"/>
                    <a:pt x="122" y="172"/>
                  </a:cubicBezTo>
                  <a:cubicBezTo>
                    <a:pt x="123" y="172"/>
                    <a:pt x="124" y="172"/>
                    <a:pt x="125" y="172"/>
                  </a:cubicBezTo>
                  <a:cubicBezTo>
                    <a:pt x="127" y="173"/>
                    <a:pt x="129" y="174"/>
                    <a:pt x="131" y="176"/>
                  </a:cubicBezTo>
                  <a:cubicBezTo>
                    <a:pt x="132" y="176"/>
                    <a:pt x="132" y="176"/>
                    <a:pt x="132" y="176"/>
                  </a:cubicBezTo>
                  <a:cubicBezTo>
                    <a:pt x="132" y="177"/>
                    <a:pt x="132" y="177"/>
                    <a:pt x="132" y="177"/>
                  </a:cubicBezTo>
                  <a:cubicBezTo>
                    <a:pt x="133" y="177"/>
                    <a:pt x="133" y="177"/>
                    <a:pt x="133" y="177"/>
                  </a:cubicBezTo>
                  <a:cubicBezTo>
                    <a:pt x="133" y="177"/>
                    <a:pt x="133" y="177"/>
                    <a:pt x="133" y="177"/>
                  </a:cubicBezTo>
                  <a:cubicBezTo>
                    <a:pt x="133" y="177"/>
                    <a:pt x="133" y="177"/>
                    <a:pt x="133" y="177"/>
                  </a:cubicBezTo>
                  <a:cubicBezTo>
                    <a:pt x="134" y="177"/>
                    <a:pt x="135" y="177"/>
                    <a:pt x="136" y="177"/>
                  </a:cubicBezTo>
                  <a:cubicBezTo>
                    <a:pt x="137" y="177"/>
                    <a:pt x="137" y="177"/>
                    <a:pt x="138" y="177"/>
                  </a:cubicBezTo>
                  <a:cubicBezTo>
                    <a:pt x="139" y="177"/>
                    <a:pt x="140" y="177"/>
                    <a:pt x="141" y="177"/>
                  </a:cubicBezTo>
                  <a:cubicBezTo>
                    <a:pt x="141" y="175"/>
                    <a:pt x="141" y="175"/>
                    <a:pt x="141" y="175"/>
                  </a:cubicBezTo>
                  <a:cubicBezTo>
                    <a:pt x="142" y="176"/>
                    <a:pt x="142" y="176"/>
                    <a:pt x="142" y="176"/>
                  </a:cubicBezTo>
                  <a:cubicBezTo>
                    <a:pt x="142" y="175"/>
                    <a:pt x="142" y="175"/>
                    <a:pt x="142" y="175"/>
                  </a:cubicBezTo>
                  <a:cubicBezTo>
                    <a:pt x="142" y="174"/>
                    <a:pt x="142" y="174"/>
                    <a:pt x="142" y="174"/>
                  </a:cubicBezTo>
                  <a:cubicBezTo>
                    <a:pt x="142" y="174"/>
                    <a:pt x="142" y="173"/>
                    <a:pt x="142" y="173"/>
                  </a:cubicBezTo>
                  <a:cubicBezTo>
                    <a:pt x="142" y="172"/>
                    <a:pt x="142" y="172"/>
                    <a:pt x="142" y="172"/>
                  </a:cubicBezTo>
                  <a:cubicBezTo>
                    <a:pt x="143" y="171"/>
                    <a:pt x="143" y="171"/>
                    <a:pt x="143" y="171"/>
                  </a:cubicBezTo>
                  <a:cubicBezTo>
                    <a:pt x="143" y="171"/>
                    <a:pt x="143" y="170"/>
                    <a:pt x="143" y="170"/>
                  </a:cubicBezTo>
                  <a:cubicBezTo>
                    <a:pt x="144" y="169"/>
                    <a:pt x="145" y="168"/>
                    <a:pt x="146" y="166"/>
                  </a:cubicBezTo>
                  <a:cubicBezTo>
                    <a:pt x="147" y="164"/>
                    <a:pt x="147" y="164"/>
                    <a:pt x="147" y="164"/>
                  </a:cubicBezTo>
                  <a:cubicBezTo>
                    <a:pt x="147" y="164"/>
                    <a:pt x="147" y="164"/>
                    <a:pt x="148" y="163"/>
                  </a:cubicBezTo>
                  <a:cubicBezTo>
                    <a:pt x="149" y="162"/>
                    <a:pt x="149" y="162"/>
                    <a:pt x="149" y="162"/>
                  </a:cubicBezTo>
                  <a:cubicBezTo>
                    <a:pt x="154" y="155"/>
                    <a:pt x="155" y="153"/>
                    <a:pt x="155" y="153"/>
                  </a:cubicBezTo>
                  <a:cubicBezTo>
                    <a:pt x="155" y="152"/>
                    <a:pt x="155" y="152"/>
                    <a:pt x="155" y="152"/>
                  </a:cubicBezTo>
                  <a:cubicBezTo>
                    <a:pt x="154" y="152"/>
                    <a:pt x="154" y="152"/>
                    <a:pt x="153" y="151"/>
                  </a:cubicBezTo>
                  <a:cubicBezTo>
                    <a:pt x="153" y="151"/>
                    <a:pt x="153" y="150"/>
                    <a:pt x="152" y="150"/>
                  </a:cubicBezTo>
                  <a:cubicBezTo>
                    <a:pt x="152" y="149"/>
                    <a:pt x="152" y="149"/>
                    <a:pt x="152" y="149"/>
                  </a:cubicBezTo>
                  <a:cubicBezTo>
                    <a:pt x="151" y="149"/>
                    <a:pt x="151" y="149"/>
                    <a:pt x="151" y="148"/>
                  </a:cubicBezTo>
                  <a:cubicBezTo>
                    <a:pt x="150" y="147"/>
                    <a:pt x="149" y="146"/>
                    <a:pt x="149" y="145"/>
                  </a:cubicBezTo>
                  <a:cubicBezTo>
                    <a:pt x="149" y="144"/>
                    <a:pt x="149" y="144"/>
                    <a:pt x="149" y="143"/>
                  </a:cubicBezTo>
                  <a:cubicBezTo>
                    <a:pt x="150" y="139"/>
                    <a:pt x="150" y="139"/>
                    <a:pt x="150" y="139"/>
                  </a:cubicBezTo>
                  <a:cubicBezTo>
                    <a:pt x="151" y="135"/>
                    <a:pt x="151" y="134"/>
                    <a:pt x="151" y="134"/>
                  </a:cubicBezTo>
                  <a:cubicBezTo>
                    <a:pt x="150" y="134"/>
                    <a:pt x="148" y="133"/>
                    <a:pt x="146" y="133"/>
                  </a:cubicBezTo>
                  <a:cubicBezTo>
                    <a:pt x="141" y="133"/>
                    <a:pt x="140" y="133"/>
                    <a:pt x="137" y="129"/>
                  </a:cubicBezTo>
                  <a:cubicBezTo>
                    <a:pt x="136" y="129"/>
                    <a:pt x="136" y="129"/>
                    <a:pt x="136" y="129"/>
                  </a:cubicBezTo>
                  <a:cubicBezTo>
                    <a:pt x="135" y="128"/>
                    <a:pt x="135" y="128"/>
                    <a:pt x="135" y="128"/>
                  </a:cubicBezTo>
                  <a:cubicBezTo>
                    <a:pt x="134" y="127"/>
                    <a:pt x="134" y="126"/>
                    <a:pt x="134" y="126"/>
                  </a:cubicBezTo>
                  <a:cubicBezTo>
                    <a:pt x="132" y="125"/>
                    <a:pt x="132" y="123"/>
                    <a:pt x="132" y="121"/>
                  </a:cubicBezTo>
                  <a:cubicBezTo>
                    <a:pt x="132" y="120"/>
                    <a:pt x="132" y="120"/>
                    <a:pt x="132" y="120"/>
                  </a:cubicBezTo>
                  <a:cubicBezTo>
                    <a:pt x="133" y="117"/>
                    <a:pt x="133" y="115"/>
                    <a:pt x="137" y="113"/>
                  </a:cubicBezTo>
                  <a:cubicBezTo>
                    <a:pt x="137" y="113"/>
                    <a:pt x="137" y="113"/>
                    <a:pt x="137" y="113"/>
                  </a:cubicBezTo>
                  <a:cubicBezTo>
                    <a:pt x="139" y="112"/>
                    <a:pt x="140" y="111"/>
                    <a:pt x="141" y="111"/>
                  </a:cubicBezTo>
                  <a:cubicBezTo>
                    <a:pt x="141" y="111"/>
                    <a:pt x="141" y="111"/>
                    <a:pt x="141" y="111"/>
                  </a:cubicBezTo>
                  <a:cubicBezTo>
                    <a:pt x="142" y="110"/>
                    <a:pt x="143" y="110"/>
                    <a:pt x="143" y="110"/>
                  </a:cubicBezTo>
                  <a:cubicBezTo>
                    <a:pt x="144" y="110"/>
                    <a:pt x="145" y="110"/>
                    <a:pt x="146" y="111"/>
                  </a:cubicBezTo>
                  <a:cubicBezTo>
                    <a:pt x="149" y="111"/>
                    <a:pt x="151" y="112"/>
                    <a:pt x="154" y="112"/>
                  </a:cubicBezTo>
                  <a:cubicBezTo>
                    <a:pt x="155" y="112"/>
                    <a:pt x="156" y="112"/>
                    <a:pt x="157" y="112"/>
                  </a:cubicBezTo>
                  <a:cubicBezTo>
                    <a:pt x="158" y="112"/>
                    <a:pt x="158" y="112"/>
                    <a:pt x="158" y="112"/>
                  </a:cubicBezTo>
                  <a:cubicBezTo>
                    <a:pt x="159" y="112"/>
                    <a:pt x="159" y="112"/>
                    <a:pt x="159" y="112"/>
                  </a:cubicBezTo>
                  <a:cubicBezTo>
                    <a:pt x="159" y="112"/>
                    <a:pt x="159" y="112"/>
                    <a:pt x="159" y="112"/>
                  </a:cubicBezTo>
                  <a:cubicBezTo>
                    <a:pt x="160" y="112"/>
                    <a:pt x="160" y="110"/>
                    <a:pt x="161" y="108"/>
                  </a:cubicBezTo>
                  <a:cubicBezTo>
                    <a:pt x="161" y="107"/>
                    <a:pt x="161" y="107"/>
                    <a:pt x="161" y="107"/>
                  </a:cubicBezTo>
                  <a:cubicBezTo>
                    <a:pt x="162" y="105"/>
                    <a:pt x="163" y="104"/>
                    <a:pt x="164" y="103"/>
                  </a:cubicBezTo>
                  <a:cubicBezTo>
                    <a:pt x="164" y="102"/>
                    <a:pt x="164" y="102"/>
                    <a:pt x="165" y="102"/>
                  </a:cubicBezTo>
                  <a:cubicBezTo>
                    <a:pt x="164" y="101"/>
                    <a:pt x="162" y="100"/>
                    <a:pt x="161" y="99"/>
                  </a:cubicBezTo>
                  <a:cubicBezTo>
                    <a:pt x="160" y="95"/>
                    <a:pt x="160" y="95"/>
                    <a:pt x="160" y="95"/>
                  </a:cubicBezTo>
                  <a:cubicBezTo>
                    <a:pt x="173" y="94"/>
                    <a:pt x="173" y="94"/>
                    <a:pt x="173" y="94"/>
                  </a:cubicBezTo>
                  <a:cubicBezTo>
                    <a:pt x="173" y="94"/>
                    <a:pt x="173" y="94"/>
                    <a:pt x="174" y="94"/>
                  </a:cubicBezTo>
                  <a:cubicBezTo>
                    <a:pt x="174" y="94"/>
                    <a:pt x="175" y="94"/>
                    <a:pt x="176" y="94"/>
                  </a:cubicBezTo>
                  <a:cubicBezTo>
                    <a:pt x="175" y="91"/>
                    <a:pt x="174" y="89"/>
                    <a:pt x="175" y="86"/>
                  </a:cubicBezTo>
                  <a:cubicBezTo>
                    <a:pt x="175" y="85"/>
                    <a:pt x="176" y="83"/>
                    <a:pt x="177" y="82"/>
                  </a:cubicBezTo>
                  <a:cubicBezTo>
                    <a:pt x="178" y="81"/>
                    <a:pt x="178" y="81"/>
                    <a:pt x="178" y="81"/>
                  </a:cubicBezTo>
                  <a:cubicBezTo>
                    <a:pt x="178" y="80"/>
                    <a:pt x="178" y="80"/>
                    <a:pt x="178" y="80"/>
                  </a:cubicBezTo>
                  <a:cubicBezTo>
                    <a:pt x="179" y="79"/>
                    <a:pt x="179" y="79"/>
                    <a:pt x="179" y="79"/>
                  </a:cubicBezTo>
                  <a:cubicBezTo>
                    <a:pt x="181" y="79"/>
                    <a:pt x="181" y="79"/>
                    <a:pt x="181" y="79"/>
                  </a:cubicBezTo>
                  <a:cubicBezTo>
                    <a:pt x="181" y="79"/>
                    <a:pt x="181" y="79"/>
                    <a:pt x="181" y="79"/>
                  </a:cubicBezTo>
                  <a:cubicBezTo>
                    <a:pt x="182" y="79"/>
                    <a:pt x="182" y="79"/>
                    <a:pt x="182" y="79"/>
                  </a:cubicBezTo>
                  <a:cubicBezTo>
                    <a:pt x="183" y="79"/>
                    <a:pt x="183" y="79"/>
                    <a:pt x="183" y="79"/>
                  </a:cubicBezTo>
                  <a:cubicBezTo>
                    <a:pt x="183" y="79"/>
                    <a:pt x="184" y="79"/>
                    <a:pt x="184" y="79"/>
                  </a:cubicBezTo>
                  <a:cubicBezTo>
                    <a:pt x="184" y="80"/>
                    <a:pt x="184" y="80"/>
                    <a:pt x="184" y="80"/>
                  </a:cubicBezTo>
                  <a:cubicBezTo>
                    <a:pt x="185" y="80"/>
                    <a:pt x="185" y="80"/>
                    <a:pt x="185" y="80"/>
                  </a:cubicBezTo>
                  <a:cubicBezTo>
                    <a:pt x="186" y="80"/>
                    <a:pt x="187" y="81"/>
                    <a:pt x="187" y="81"/>
                  </a:cubicBezTo>
                  <a:cubicBezTo>
                    <a:pt x="188" y="81"/>
                    <a:pt x="188" y="81"/>
                    <a:pt x="188" y="81"/>
                  </a:cubicBezTo>
                  <a:cubicBezTo>
                    <a:pt x="189" y="81"/>
                    <a:pt x="189" y="82"/>
                    <a:pt x="189" y="82"/>
                  </a:cubicBezTo>
                  <a:cubicBezTo>
                    <a:pt x="189" y="82"/>
                    <a:pt x="189" y="82"/>
                    <a:pt x="189" y="82"/>
                  </a:cubicBezTo>
                  <a:cubicBezTo>
                    <a:pt x="189" y="81"/>
                    <a:pt x="189" y="81"/>
                    <a:pt x="189" y="81"/>
                  </a:cubicBezTo>
                  <a:cubicBezTo>
                    <a:pt x="190" y="81"/>
                    <a:pt x="190" y="81"/>
                    <a:pt x="191" y="81"/>
                  </a:cubicBezTo>
                  <a:cubicBezTo>
                    <a:pt x="192" y="80"/>
                    <a:pt x="193" y="79"/>
                    <a:pt x="195" y="79"/>
                  </a:cubicBezTo>
                  <a:cubicBezTo>
                    <a:pt x="195" y="79"/>
                    <a:pt x="195" y="79"/>
                    <a:pt x="195" y="79"/>
                  </a:cubicBezTo>
                  <a:cubicBezTo>
                    <a:pt x="196" y="79"/>
                    <a:pt x="196" y="79"/>
                    <a:pt x="196" y="79"/>
                  </a:cubicBezTo>
                  <a:cubicBezTo>
                    <a:pt x="197" y="78"/>
                    <a:pt x="198" y="77"/>
                    <a:pt x="199" y="76"/>
                  </a:cubicBezTo>
                  <a:cubicBezTo>
                    <a:pt x="200" y="75"/>
                    <a:pt x="200" y="75"/>
                    <a:pt x="200" y="75"/>
                  </a:cubicBezTo>
                  <a:cubicBezTo>
                    <a:pt x="200" y="75"/>
                    <a:pt x="201" y="75"/>
                    <a:pt x="201" y="74"/>
                  </a:cubicBezTo>
                  <a:cubicBezTo>
                    <a:pt x="202" y="74"/>
                    <a:pt x="202" y="74"/>
                    <a:pt x="203" y="73"/>
                  </a:cubicBezTo>
                  <a:cubicBezTo>
                    <a:pt x="203" y="73"/>
                    <a:pt x="204" y="72"/>
                    <a:pt x="205" y="72"/>
                  </a:cubicBezTo>
                  <a:cubicBezTo>
                    <a:pt x="205" y="72"/>
                    <a:pt x="205" y="72"/>
                    <a:pt x="205" y="72"/>
                  </a:cubicBezTo>
                  <a:cubicBezTo>
                    <a:pt x="207" y="70"/>
                    <a:pt x="207" y="70"/>
                    <a:pt x="207" y="70"/>
                  </a:cubicBezTo>
                  <a:cubicBezTo>
                    <a:pt x="219" y="83"/>
                    <a:pt x="219" y="83"/>
                    <a:pt x="219" y="83"/>
                  </a:cubicBezTo>
                  <a:cubicBezTo>
                    <a:pt x="217" y="85"/>
                    <a:pt x="217" y="85"/>
                    <a:pt x="217" y="85"/>
                  </a:cubicBezTo>
                  <a:cubicBezTo>
                    <a:pt x="214" y="87"/>
                    <a:pt x="212" y="89"/>
                    <a:pt x="209" y="91"/>
                  </a:cubicBezTo>
                  <a:cubicBezTo>
                    <a:pt x="211" y="92"/>
                    <a:pt x="212" y="92"/>
                    <a:pt x="213" y="93"/>
                  </a:cubicBezTo>
                  <a:cubicBezTo>
                    <a:pt x="213" y="93"/>
                    <a:pt x="214" y="93"/>
                    <a:pt x="216" y="93"/>
                  </a:cubicBezTo>
                  <a:cubicBezTo>
                    <a:pt x="216" y="93"/>
                    <a:pt x="216" y="93"/>
                    <a:pt x="216" y="93"/>
                  </a:cubicBezTo>
                  <a:cubicBezTo>
                    <a:pt x="216" y="93"/>
                    <a:pt x="217" y="93"/>
                    <a:pt x="217" y="93"/>
                  </a:cubicBezTo>
                  <a:cubicBezTo>
                    <a:pt x="219" y="92"/>
                    <a:pt x="219" y="92"/>
                    <a:pt x="219" y="92"/>
                  </a:cubicBezTo>
                  <a:cubicBezTo>
                    <a:pt x="219" y="93"/>
                    <a:pt x="219" y="93"/>
                    <a:pt x="219" y="93"/>
                  </a:cubicBezTo>
                  <a:cubicBezTo>
                    <a:pt x="220" y="92"/>
                    <a:pt x="220" y="92"/>
                    <a:pt x="221" y="92"/>
                  </a:cubicBezTo>
                  <a:cubicBezTo>
                    <a:pt x="221" y="92"/>
                    <a:pt x="221" y="92"/>
                    <a:pt x="221" y="92"/>
                  </a:cubicBezTo>
                  <a:cubicBezTo>
                    <a:pt x="223" y="92"/>
                    <a:pt x="225" y="91"/>
                    <a:pt x="226" y="91"/>
                  </a:cubicBezTo>
                  <a:cubicBezTo>
                    <a:pt x="227" y="91"/>
                    <a:pt x="227" y="91"/>
                    <a:pt x="227" y="91"/>
                  </a:cubicBezTo>
                  <a:cubicBezTo>
                    <a:pt x="228" y="91"/>
                    <a:pt x="229" y="92"/>
                    <a:pt x="230" y="92"/>
                  </a:cubicBezTo>
                  <a:cubicBezTo>
                    <a:pt x="231" y="92"/>
                    <a:pt x="231" y="93"/>
                    <a:pt x="232" y="93"/>
                  </a:cubicBezTo>
                  <a:cubicBezTo>
                    <a:pt x="233" y="93"/>
                    <a:pt x="234" y="94"/>
                    <a:pt x="235" y="94"/>
                  </a:cubicBezTo>
                  <a:cubicBezTo>
                    <a:pt x="236" y="95"/>
                    <a:pt x="236" y="95"/>
                    <a:pt x="237" y="95"/>
                  </a:cubicBezTo>
                  <a:cubicBezTo>
                    <a:pt x="238" y="95"/>
                    <a:pt x="239" y="95"/>
                    <a:pt x="240" y="94"/>
                  </a:cubicBezTo>
                  <a:cubicBezTo>
                    <a:pt x="240" y="94"/>
                    <a:pt x="240" y="94"/>
                    <a:pt x="240" y="94"/>
                  </a:cubicBezTo>
                  <a:cubicBezTo>
                    <a:pt x="241" y="94"/>
                    <a:pt x="241" y="94"/>
                    <a:pt x="241" y="94"/>
                  </a:cubicBezTo>
                  <a:cubicBezTo>
                    <a:pt x="242" y="93"/>
                    <a:pt x="242" y="93"/>
                    <a:pt x="242" y="93"/>
                  </a:cubicBezTo>
                  <a:cubicBezTo>
                    <a:pt x="242" y="92"/>
                    <a:pt x="242" y="92"/>
                    <a:pt x="242" y="91"/>
                  </a:cubicBezTo>
                  <a:cubicBezTo>
                    <a:pt x="243" y="90"/>
                    <a:pt x="243" y="89"/>
                    <a:pt x="244" y="89"/>
                  </a:cubicBezTo>
                  <a:cubicBezTo>
                    <a:pt x="245" y="88"/>
                    <a:pt x="245" y="88"/>
                    <a:pt x="245" y="88"/>
                  </a:cubicBezTo>
                  <a:cubicBezTo>
                    <a:pt x="246" y="88"/>
                    <a:pt x="246" y="88"/>
                    <a:pt x="246" y="88"/>
                  </a:cubicBezTo>
                  <a:cubicBezTo>
                    <a:pt x="246" y="88"/>
                    <a:pt x="246" y="88"/>
                    <a:pt x="246" y="88"/>
                  </a:cubicBezTo>
                  <a:cubicBezTo>
                    <a:pt x="247" y="89"/>
                    <a:pt x="247" y="89"/>
                    <a:pt x="247" y="89"/>
                  </a:cubicBezTo>
                  <a:cubicBezTo>
                    <a:pt x="247" y="88"/>
                    <a:pt x="247" y="88"/>
                    <a:pt x="247" y="88"/>
                  </a:cubicBezTo>
                  <a:cubicBezTo>
                    <a:pt x="247" y="88"/>
                    <a:pt x="247" y="88"/>
                    <a:pt x="248" y="88"/>
                  </a:cubicBezTo>
                  <a:cubicBezTo>
                    <a:pt x="248" y="88"/>
                    <a:pt x="248" y="88"/>
                    <a:pt x="248" y="88"/>
                  </a:cubicBezTo>
                  <a:cubicBezTo>
                    <a:pt x="248" y="88"/>
                    <a:pt x="249" y="88"/>
                    <a:pt x="249" y="88"/>
                  </a:cubicBezTo>
                  <a:cubicBezTo>
                    <a:pt x="249" y="87"/>
                    <a:pt x="249" y="87"/>
                    <a:pt x="249" y="87"/>
                  </a:cubicBezTo>
                  <a:cubicBezTo>
                    <a:pt x="249" y="86"/>
                    <a:pt x="249" y="86"/>
                    <a:pt x="249" y="86"/>
                  </a:cubicBezTo>
                  <a:cubicBezTo>
                    <a:pt x="249" y="85"/>
                    <a:pt x="250" y="84"/>
                    <a:pt x="251" y="83"/>
                  </a:cubicBezTo>
                  <a:cubicBezTo>
                    <a:pt x="252" y="83"/>
                    <a:pt x="252" y="83"/>
                    <a:pt x="252" y="83"/>
                  </a:cubicBezTo>
                  <a:cubicBezTo>
                    <a:pt x="252" y="83"/>
                    <a:pt x="252" y="83"/>
                    <a:pt x="253" y="83"/>
                  </a:cubicBezTo>
                  <a:cubicBezTo>
                    <a:pt x="254" y="83"/>
                    <a:pt x="254" y="83"/>
                    <a:pt x="255" y="83"/>
                  </a:cubicBezTo>
                  <a:cubicBezTo>
                    <a:pt x="255" y="84"/>
                    <a:pt x="255" y="84"/>
                    <a:pt x="255" y="84"/>
                  </a:cubicBezTo>
                  <a:cubicBezTo>
                    <a:pt x="256" y="84"/>
                    <a:pt x="256" y="84"/>
                    <a:pt x="257" y="85"/>
                  </a:cubicBezTo>
                  <a:cubicBezTo>
                    <a:pt x="257" y="85"/>
                    <a:pt x="258" y="85"/>
                    <a:pt x="258" y="85"/>
                  </a:cubicBezTo>
                  <a:cubicBezTo>
                    <a:pt x="258" y="85"/>
                    <a:pt x="258" y="85"/>
                    <a:pt x="258" y="85"/>
                  </a:cubicBezTo>
                  <a:cubicBezTo>
                    <a:pt x="259" y="84"/>
                    <a:pt x="259" y="84"/>
                    <a:pt x="259" y="84"/>
                  </a:cubicBezTo>
                  <a:cubicBezTo>
                    <a:pt x="259" y="84"/>
                    <a:pt x="259" y="83"/>
                    <a:pt x="260" y="83"/>
                  </a:cubicBezTo>
                  <a:cubicBezTo>
                    <a:pt x="261" y="82"/>
                    <a:pt x="261" y="82"/>
                    <a:pt x="261" y="82"/>
                  </a:cubicBezTo>
                  <a:cubicBezTo>
                    <a:pt x="261" y="82"/>
                    <a:pt x="261" y="82"/>
                    <a:pt x="261" y="82"/>
                  </a:cubicBezTo>
                  <a:cubicBezTo>
                    <a:pt x="259" y="81"/>
                    <a:pt x="258" y="81"/>
                    <a:pt x="256" y="80"/>
                  </a:cubicBezTo>
                  <a:cubicBezTo>
                    <a:pt x="256" y="80"/>
                    <a:pt x="256" y="80"/>
                    <a:pt x="256" y="80"/>
                  </a:cubicBezTo>
                  <a:cubicBezTo>
                    <a:pt x="255" y="79"/>
                    <a:pt x="255" y="79"/>
                    <a:pt x="255" y="79"/>
                  </a:cubicBezTo>
                  <a:cubicBezTo>
                    <a:pt x="255" y="79"/>
                    <a:pt x="255" y="78"/>
                    <a:pt x="255" y="78"/>
                  </a:cubicBezTo>
                  <a:cubicBezTo>
                    <a:pt x="254" y="78"/>
                    <a:pt x="254" y="78"/>
                    <a:pt x="254" y="78"/>
                  </a:cubicBezTo>
                  <a:cubicBezTo>
                    <a:pt x="253" y="78"/>
                    <a:pt x="253" y="78"/>
                    <a:pt x="253" y="78"/>
                  </a:cubicBezTo>
                  <a:cubicBezTo>
                    <a:pt x="252" y="81"/>
                    <a:pt x="252" y="81"/>
                    <a:pt x="252" y="81"/>
                  </a:cubicBezTo>
                  <a:cubicBezTo>
                    <a:pt x="251" y="77"/>
                    <a:pt x="251" y="77"/>
                    <a:pt x="251" y="77"/>
                  </a:cubicBezTo>
                  <a:cubicBezTo>
                    <a:pt x="251" y="77"/>
                    <a:pt x="251" y="77"/>
                    <a:pt x="251" y="77"/>
                  </a:cubicBezTo>
                  <a:cubicBezTo>
                    <a:pt x="251" y="77"/>
                    <a:pt x="251" y="77"/>
                    <a:pt x="250" y="77"/>
                  </a:cubicBezTo>
                  <a:cubicBezTo>
                    <a:pt x="250" y="77"/>
                    <a:pt x="250" y="77"/>
                    <a:pt x="250" y="77"/>
                  </a:cubicBezTo>
                  <a:cubicBezTo>
                    <a:pt x="249" y="77"/>
                    <a:pt x="249" y="77"/>
                    <a:pt x="249" y="77"/>
                  </a:cubicBezTo>
                  <a:cubicBezTo>
                    <a:pt x="245" y="79"/>
                    <a:pt x="245" y="79"/>
                    <a:pt x="245" y="79"/>
                  </a:cubicBezTo>
                  <a:cubicBezTo>
                    <a:pt x="245" y="75"/>
                    <a:pt x="245" y="75"/>
                    <a:pt x="245" y="75"/>
                  </a:cubicBezTo>
                  <a:cubicBezTo>
                    <a:pt x="245" y="75"/>
                    <a:pt x="245" y="74"/>
                    <a:pt x="245" y="73"/>
                  </a:cubicBezTo>
                  <a:cubicBezTo>
                    <a:pt x="245" y="73"/>
                    <a:pt x="245" y="73"/>
                    <a:pt x="245" y="72"/>
                  </a:cubicBezTo>
                  <a:cubicBezTo>
                    <a:pt x="244" y="72"/>
                    <a:pt x="244" y="72"/>
                    <a:pt x="244" y="72"/>
                  </a:cubicBezTo>
                  <a:cubicBezTo>
                    <a:pt x="243" y="72"/>
                    <a:pt x="243" y="72"/>
                    <a:pt x="243" y="72"/>
                  </a:cubicBezTo>
                  <a:cubicBezTo>
                    <a:pt x="243" y="72"/>
                    <a:pt x="243" y="72"/>
                    <a:pt x="243" y="72"/>
                  </a:cubicBezTo>
                  <a:cubicBezTo>
                    <a:pt x="242" y="72"/>
                    <a:pt x="241" y="72"/>
                    <a:pt x="240" y="71"/>
                  </a:cubicBezTo>
                  <a:cubicBezTo>
                    <a:pt x="240" y="70"/>
                    <a:pt x="239" y="69"/>
                    <a:pt x="239" y="69"/>
                  </a:cubicBezTo>
                  <a:cubicBezTo>
                    <a:pt x="238" y="68"/>
                    <a:pt x="237" y="67"/>
                    <a:pt x="237" y="66"/>
                  </a:cubicBezTo>
                  <a:cubicBezTo>
                    <a:pt x="237" y="69"/>
                    <a:pt x="237" y="69"/>
                    <a:pt x="237" y="69"/>
                  </a:cubicBezTo>
                  <a:cubicBezTo>
                    <a:pt x="234" y="69"/>
                    <a:pt x="234" y="69"/>
                    <a:pt x="234" y="69"/>
                  </a:cubicBezTo>
                  <a:cubicBezTo>
                    <a:pt x="234" y="69"/>
                    <a:pt x="234" y="69"/>
                    <a:pt x="233" y="69"/>
                  </a:cubicBezTo>
                  <a:cubicBezTo>
                    <a:pt x="233" y="69"/>
                    <a:pt x="233" y="69"/>
                    <a:pt x="233" y="69"/>
                  </a:cubicBezTo>
                  <a:cubicBezTo>
                    <a:pt x="233" y="69"/>
                    <a:pt x="233" y="69"/>
                    <a:pt x="233" y="69"/>
                  </a:cubicBezTo>
                  <a:cubicBezTo>
                    <a:pt x="233" y="70"/>
                    <a:pt x="233" y="70"/>
                    <a:pt x="233" y="70"/>
                  </a:cubicBezTo>
                  <a:cubicBezTo>
                    <a:pt x="233" y="70"/>
                    <a:pt x="233" y="71"/>
                    <a:pt x="233" y="71"/>
                  </a:cubicBezTo>
                  <a:cubicBezTo>
                    <a:pt x="233" y="74"/>
                    <a:pt x="233" y="74"/>
                    <a:pt x="233" y="74"/>
                  </a:cubicBezTo>
                  <a:cubicBezTo>
                    <a:pt x="229" y="74"/>
                    <a:pt x="229" y="74"/>
                    <a:pt x="229" y="74"/>
                  </a:cubicBezTo>
                  <a:cubicBezTo>
                    <a:pt x="229" y="74"/>
                    <a:pt x="229" y="74"/>
                    <a:pt x="228" y="74"/>
                  </a:cubicBezTo>
                  <a:cubicBezTo>
                    <a:pt x="228" y="74"/>
                    <a:pt x="227" y="74"/>
                    <a:pt x="227" y="74"/>
                  </a:cubicBezTo>
                  <a:cubicBezTo>
                    <a:pt x="226" y="73"/>
                    <a:pt x="226" y="73"/>
                    <a:pt x="226" y="73"/>
                  </a:cubicBezTo>
                  <a:cubicBezTo>
                    <a:pt x="225" y="73"/>
                    <a:pt x="225" y="73"/>
                    <a:pt x="224" y="73"/>
                  </a:cubicBezTo>
                  <a:cubicBezTo>
                    <a:pt x="221" y="73"/>
                    <a:pt x="218" y="72"/>
                    <a:pt x="215" y="71"/>
                  </a:cubicBezTo>
                  <a:cubicBezTo>
                    <a:pt x="212" y="69"/>
                    <a:pt x="211" y="68"/>
                    <a:pt x="211" y="66"/>
                  </a:cubicBezTo>
                  <a:cubicBezTo>
                    <a:pt x="211" y="65"/>
                    <a:pt x="211" y="65"/>
                    <a:pt x="211" y="65"/>
                  </a:cubicBezTo>
                  <a:cubicBezTo>
                    <a:pt x="209" y="66"/>
                    <a:pt x="209" y="66"/>
                    <a:pt x="209" y="66"/>
                  </a:cubicBezTo>
                  <a:cubicBezTo>
                    <a:pt x="209" y="66"/>
                    <a:pt x="208" y="66"/>
                    <a:pt x="208" y="66"/>
                  </a:cubicBezTo>
                  <a:cubicBezTo>
                    <a:pt x="206" y="66"/>
                    <a:pt x="205" y="66"/>
                    <a:pt x="204" y="64"/>
                  </a:cubicBezTo>
                  <a:cubicBezTo>
                    <a:pt x="204" y="64"/>
                    <a:pt x="204" y="64"/>
                    <a:pt x="204" y="64"/>
                  </a:cubicBezTo>
                  <a:cubicBezTo>
                    <a:pt x="203" y="63"/>
                    <a:pt x="203" y="63"/>
                    <a:pt x="203" y="63"/>
                  </a:cubicBezTo>
                  <a:cubicBezTo>
                    <a:pt x="203" y="63"/>
                    <a:pt x="203" y="63"/>
                    <a:pt x="203" y="63"/>
                  </a:cubicBezTo>
                  <a:cubicBezTo>
                    <a:pt x="202" y="63"/>
                    <a:pt x="202" y="63"/>
                    <a:pt x="202" y="63"/>
                  </a:cubicBezTo>
                  <a:cubicBezTo>
                    <a:pt x="201" y="63"/>
                    <a:pt x="201" y="63"/>
                    <a:pt x="200" y="63"/>
                  </a:cubicBezTo>
                  <a:cubicBezTo>
                    <a:pt x="200" y="63"/>
                    <a:pt x="200" y="63"/>
                    <a:pt x="200" y="63"/>
                  </a:cubicBezTo>
                  <a:cubicBezTo>
                    <a:pt x="199" y="63"/>
                    <a:pt x="198" y="62"/>
                    <a:pt x="198" y="61"/>
                  </a:cubicBezTo>
                  <a:cubicBezTo>
                    <a:pt x="197" y="58"/>
                    <a:pt x="199" y="56"/>
                    <a:pt x="201" y="54"/>
                  </a:cubicBezTo>
                  <a:cubicBezTo>
                    <a:pt x="203" y="52"/>
                    <a:pt x="207" y="50"/>
                    <a:pt x="210" y="48"/>
                  </a:cubicBezTo>
                  <a:cubicBezTo>
                    <a:pt x="196" y="55"/>
                    <a:pt x="196" y="55"/>
                    <a:pt x="196" y="55"/>
                  </a:cubicBezTo>
                  <a:cubicBezTo>
                    <a:pt x="193" y="57"/>
                    <a:pt x="191" y="59"/>
                    <a:pt x="187" y="61"/>
                  </a:cubicBezTo>
                  <a:cubicBezTo>
                    <a:pt x="186" y="62"/>
                    <a:pt x="186" y="62"/>
                    <a:pt x="186" y="62"/>
                  </a:cubicBezTo>
                  <a:cubicBezTo>
                    <a:pt x="185" y="63"/>
                    <a:pt x="183" y="65"/>
                    <a:pt x="181" y="66"/>
                  </a:cubicBezTo>
                  <a:cubicBezTo>
                    <a:pt x="185" y="71"/>
                    <a:pt x="185" y="71"/>
                    <a:pt x="185" y="71"/>
                  </a:cubicBezTo>
                  <a:cubicBezTo>
                    <a:pt x="180" y="66"/>
                    <a:pt x="180" y="66"/>
                    <a:pt x="180" y="66"/>
                  </a:cubicBezTo>
                  <a:cubicBezTo>
                    <a:pt x="180" y="67"/>
                    <a:pt x="180" y="67"/>
                    <a:pt x="180" y="67"/>
                  </a:cubicBezTo>
                  <a:cubicBezTo>
                    <a:pt x="178" y="67"/>
                    <a:pt x="177" y="69"/>
                    <a:pt x="176" y="70"/>
                  </a:cubicBezTo>
                  <a:cubicBezTo>
                    <a:pt x="176" y="70"/>
                    <a:pt x="175" y="71"/>
                    <a:pt x="174" y="72"/>
                  </a:cubicBezTo>
                  <a:cubicBezTo>
                    <a:pt x="172" y="74"/>
                    <a:pt x="172" y="74"/>
                    <a:pt x="172" y="74"/>
                  </a:cubicBezTo>
                  <a:cubicBezTo>
                    <a:pt x="168" y="76"/>
                    <a:pt x="167" y="77"/>
                    <a:pt x="167" y="79"/>
                  </a:cubicBezTo>
                  <a:cubicBezTo>
                    <a:pt x="167" y="80"/>
                    <a:pt x="167" y="80"/>
                    <a:pt x="167" y="80"/>
                  </a:cubicBezTo>
                  <a:cubicBezTo>
                    <a:pt x="167" y="80"/>
                    <a:pt x="167" y="80"/>
                    <a:pt x="167" y="80"/>
                  </a:cubicBezTo>
                  <a:cubicBezTo>
                    <a:pt x="167" y="83"/>
                    <a:pt x="167" y="86"/>
                    <a:pt x="165" y="88"/>
                  </a:cubicBezTo>
                  <a:cubicBezTo>
                    <a:pt x="165" y="88"/>
                    <a:pt x="164" y="88"/>
                    <a:pt x="163" y="88"/>
                  </a:cubicBezTo>
                  <a:cubicBezTo>
                    <a:pt x="163" y="89"/>
                    <a:pt x="163" y="89"/>
                    <a:pt x="163" y="89"/>
                  </a:cubicBezTo>
                  <a:cubicBezTo>
                    <a:pt x="163" y="87"/>
                    <a:pt x="163" y="87"/>
                    <a:pt x="163" y="87"/>
                  </a:cubicBezTo>
                  <a:cubicBezTo>
                    <a:pt x="163" y="89"/>
                    <a:pt x="163" y="89"/>
                    <a:pt x="163" y="89"/>
                  </a:cubicBezTo>
                  <a:cubicBezTo>
                    <a:pt x="162" y="89"/>
                    <a:pt x="162" y="89"/>
                    <a:pt x="162" y="89"/>
                  </a:cubicBezTo>
                  <a:cubicBezTo>
                    <a:pt x="162" y="89"/>
                    <a:pt x="162" y="89"/>
                    <a:pt x="162" y="89"/>
                  </a:cubicBezTo>
                  <a:cubicBezTo>
                    <a:pt x="161" y="89"/>
                    <a:pt x="161" y="89"/>
                    <a:pt x="161" y="89"/>
                  </a:cubicBezTo>
                  <a:cubicBezTo>
                    <a:pt x="161" y="87"/>
                    <a:pt x="161" y="87"/>
                    <a:pt x="161" y="87"/>
                  </a:cubicBezTo>
                  <a:cubicBezTo>
                    <a:pt x="161" y="87"/>
                    <a:pt x="161" y="87"/>
                    <a:pt x="161" y="87"/>
                  </a:cubicBezTo>
                  <a:cubicBezTo>
                    <a:pt x="160" y="89"/>
                    <a:pt x="160" y="89"/>
                    <a:pt x="160" y="89"/>
                  </a:cubicBezTo>
                  <a:cubicBezTo>
                    <a:pt x="160" y="88"/>
                    <a:pt x="159" y="88"/>
                    <a:pt x="159" y="88"/>
                  </a:cubicBezTo>
                  <a:cubicBezTo>
                    <a:pt x="154" y="87"/>
                    <a:pt x="152" y="85"/>
                    <a:pt x="148" y="82"/>
                  </a:cubicBezTo>
                  <a:cubicBezTo>
                    <a:pt x="145" y="80"/>
                    <a:pt x="145" y="80"/>
                    <a:pt x="145" y="80"/>
                  </a:cubicBezTo>
                  <a:cubicBezTo>
                    <a:pt x="147" y="78"/>
                    <a:pt x="147" y="78"/>
                    <a:pt x="147" y="78"/>
                  </a:cubicBezTo>
                  <a:cubicBezTo>
                    <a:pt x="148" y="77"/>
                    <a:pt x="149" y="76"/>
                    <a:pt x="149" y="76"/>
                  </a:cubicBezTo>
                  <a:cubicBezTo>
                    <a:pt x="149" y="75"/>
                    <a:pt x="149" y="75"/>
                    <a:pt x="149" y="75"/>
                  </a:cubicBezTo>
                  <a:cubicBezTo>
                    <a:pt x="149" y="74"/>
                    <a:pt x="149" y="74"/>
                    <a:pt x="149" y="74"/>
                  </a:cubicBezTo>
                  <a:cubicBezTo>
                    <a:pt x="148" y="74"/>
                    <a:pt x="148" y="74"/>
                    <a:pt x="148" y="74"/>
                  </a:cubicBezTo>
                  <a:cubicBezTo>
                    <a:pt x="148" y="74"/>
                    <a:pt x="147" y="74"/>
                    <a:pt x="147" y="74"/>
                  </a:cubicBezTo>
                  <a:cubicBezTo>
                    <a:pt x="146" y="73"/>
                    <a:pt x="146" y="73"/>
                    <a:pt x="146" y="72"/>
                  </a:cubicBezTo>
                  <a:cubicBezTo>
                    <a:pt x="146" y="72"/>
                    <a:pt x="145" y="72"/>
                    <a:pt x="145" y="72"/>
                  </a:cubicBezTo>
                  <a:cubicBezTo>
                    <a:pt x="144" y="72"/>
                    <a:pt x="143" y="72"/>
                    <a:pt x="142" y="72"/>
                  </a:cubicBezTo>
                  <a:cubicBezTo>
                    <a:pt x="142" y="72"/>
                    <a:pt x="142" y="72"/>
                    <a:pt x="142" y="72"/>
                  </a:cubicBezTo>
                  <a:cubicBezTo>
                    <a:pt x="141" y="72"/>
                    <a:pt x="141" y="73"/>
                    <a:pt x="140" y="73"/>
                  </a:cubicBezTo>
                  <a:cubicBezTo>
                    <a:pt x="120" y="73"/>
                    <a:pt x="120" y="73"/>
                    <a:pt x="120" y="73"/>
                  </a:cubicBezTo>
                  <a:cubicBezTo>
                    <a:pt x="120" y="73"/>
                    <a:pt x="120" y="73"/>
                    <a:pt x="120" y="73"/>
                  </a:cubicBezTo>
                  <a:cubicBezTo>
                    <a:pt x="118" y="73"/>
                    <a:pt x="117" y="72"/>
                    <a:pt x="117" y="71"/>
                  </a:cubicBezTo>
                  <a:cubicBezTo>
                    <a:pt x="117" y="69"/>
                    <a:pt x="116" y="68"/>
                    <a:pt x="116" y="67"/>
                  </a:cubicBezTo>
                  <a:cubicBezTo>
                    <a:pt x="115" y="66"/>
                    <a:pt x="115" y="66"/>
                    <a:pt x="115" y="66"/>
                  </a:cubicBezTo>
                  <a:cubicBezTo>
                    <a:pt x="115" y="65"/>
                    <a:pt x="115" y="65"/>
                    <a:pt x="115" y="65"/>
                  </a:cubicBezTo>
                  <a:cubicBezTo>
                    <a:pt x="114" y="62"/>
                    <a:pt x="114" y="62"/>
                    <a:pt x="114" y="62"/>
                  </a:cubicBezTo>
                  <a:cubicBezTo>
                    <a:pt x="113" y="59"/>
                    <a:pt x="112" y="56"/>
                    <a:pt x="112" y="52"/>
                  </a:cubicBezTo>
                  <a:cubicBezTo>
                    <a:pt x="112" y="52"/>
                    <a:pt x="112" y="51"/>
                    <a:pt x="112" y="51"/>
                  </a:cubicBezTo>
                  <a:cubicBezTo>
                    <a:pt x="112" y="50"/>
                    <a:pt x="112" y="50"/>
                    <a:pt x="112" y="50"/>
                  </a:cubicBezTo>
                  <a:cubicBezTo>
                    <a:pt x="112" y="50"/>
                    <a:pt x="112" y="50"/>
                    <a:pt x="112" y="49"/>
                  </a:cubicBezTo>
                  <a:cubicBezTo>
                    <a:pt x="111" y="49"/>
                    <a:pt x="111" y="49"/>
                    <a:pt x="111" y="49"/>
                  </a:cubicBezTo>
                  <a:cubicBezTo>
                    <a:pt x="111" y="49"/>
                    <a:pt x="110" y="49"/>
                    <a:pt x="109" y="49"/>
                  </a:cubicBezTo>
                  <a:cubicBezTo>
                    <a:pt x="108" y="49"/>
                    <a:pt x="108" y="50"/>
                    <a:pt x="107" y="50"/>
                  </a:cubicBezTo>
                  <a:cubicBezTo>
                    <a:pt x="107" y="50"/>
                    <a:pt x="106" y="50"/>
                    <a:pt x="106" y="50"/>
                  </a:cubicBezTo>
                  <a:cubicBezTo>
                    <a:pt x="106" y="50"/>
                    <a:pt x="106" y="50"/>
                    <a:pt x="106" y="50"/>
                  </a:cubicBezTo>
                  <a:cubicBezTo>
                    <a:pt x="105" y="50"/>
                    <a:pt x="105" y="50"/>
                    <a:pt x="105" y="50"/>
                  </a:cubicBezTo>
                  <a:cubicBezTo>
                    <a:pt x="102" y="49"/>
                    <a:pt x="101" y="48"/>
                    <a:pt x="101" y="47"/>
                  </a:cubicBezTo>
                  <a:cubicBezTo>
                    <a:pt x="100" y="45"/>
                    <a:pt x="100" y="44"/>
                    <a:pt x="100" y="41"/>
                  </a:cubicBezTo>
                  <a:cubicBezTo>
                    <a:pt x="100" y="40"/>
                    <a:pt x="100" y="39"/>
                    <a:pt x="100" y="38"/>
                  </a:cubicBezTo>
                  <a:cubicBezTo>
                    <a:pt x="100" y="38"/>
                    <a:pt x="101" y="37"/>
                    <a:pt x="101" y="37"/>
                  </a:cubicBezTo>
                  <a:cubicBezTo>
                    <a:pt x="101" y="35"/>
                    <a:pt x="101" y="33"/>
                    <a:pt x="101" y="31"/>
                  </a:cubicBezTo>
                  <a:cubicBezTo>
                    <a:pt x="101" y="30"/>
                    <a:pt x="102" y="28"/>
                    <a:pt x="102" y="26"/>
                  </a:cubicBezTo>
                  <a:cubicBezTo>
                    <a:pt x="102" y="26"/>
                    <a:pt x="102" y="26"/>
                    <a:pt x="102" y="26"/>
                  </a:cubicBezTo>
                  <a:cubicBezTo>
                    <a:pt x="102" y="25"/>
                    <a:pt x="102" y="24"/>
                    <a:pt x="102" y="23"/>
                  </a:cubicBezTo>
                  <a:cubicBezTo>
                    <a:pt x="102" y="23"/>
                    <a:pt x="101" y="23"/>
                    <a:pt x="101" y="23"/>
                  </a:cubicBezTo>
                  <a:cubicBezTo>
                    <a:pt x="98" y="23"/>
                    <a:pt x="96" y="20"/>
                    <a:pt x="95" y="19"/>
                  </a:cubicBezTo>
                  <a:cubicBezTo>
                    <a:pt x="95" y="19"/>
                    <a:pt x="95" y="19"/>
                    <a:pt x="95" y="19"/>
                  </a:cubicBezTo>
                  <a:cubicBezTo>
                    <a:pt x="94" y="18"/>
                    <a:pt x="94" y="18"/>
                    <a:pt x="94" y="18"/>
                  </a:cubicBezTo>
                  <a:cubicBezTo>
                    <a:pt x="94" y="18"/>
                    <a:pt x="94" y="18"/>
                    <a:pt x="94" y="18"/>
                  </a:cubicBezTo>
                  <a:cubicBezTo>
                    <a:pt x="93" y="16"/>
                    <a:pt x="93" y="16"/>
                    <a:pt x="93" y="16"/>
                  </a:cubicBezTo>
                  <a:cubicBezTo>
                    <a:pt x="91" y="14"/>
                    <a:pt x="88" y="12"/>
                    <a:pt x="86" y="10"/>
                  </a:cubicBezTo>
                  <a:cubicBezTo>
                    <a:pt x="84" y="8"/>
                    <a:pt x="84" y="8"/>
                    <a:pt x="84" y="8"/>
                  </a:cubicBezTo>
                  <a:cubicBezTo>
                    <a:pt x="84" y="8"/>
                    <a:pt x="83" y="7"/>
                    <a:pt x="83" y="7"/>
                  </a:cubicBezTo>
                  <a:cubicBezTo>
                    <a:pt x="81" y="5"/>
                    <a:pt x="81" y="5"/>
                    <a:pt x="81" y="5"/>
                  </a:cubicBezTo>
                  <a:cubicBezTo>
                    <a:pt x="80" y="4"/>
                    <a:pt x="78" y="2"/>
                    <a:pt x="77" y="2"/>
                  </a:cubicBezTo>
                  <a:cubicBezTo>
                    <a:pt x="77" y="1"/>
                    <a:pt x="76" y="1"/>
                    <a:pt x="76" y="0"/>
                  </a:cubicBezTo>
                  <a:cubicBezTo>
                    <a:pt x="75" y="1"/>
                    <a:pt x="74" y="2"/>
                    <a:pt x="74" y="2"/>
                  </a:cubicBezTo>
                  <a:cubicBezTo>
                    <a:pt x="73" y="2"/>
                    <a:pt x="73" y="2"/>
                    <a:pt x="73" y="2"/>
                  </a:cubicBezTo>
                  <a:cubicBezTo>
                    <a:pt x="76" y="7"/>
                    <a:pt x="76" y="7"/>
                    <a:pt x="76" y="7"/>
                  </a:cubicBezTo>
                  <a:cubicBezTo>
                    <a:pt x="72" y="3"/>
                    <a:pt x="72" y="3"/>
                    <a:pt x="72" y="3"/>
                  </a:cubicBezTo>
                  <a:cubicBezTo>
                    <a:pt x="71" y="3"/>
                    <a:pt x="71" y="3"/>
                    <a:pt x="71" y="3"/>
                  </a:cubicBezTo>
                  <a:cubicBezTo>
                    <a:pt x="69" y="4"/>
                    <a:pt x="68" y="4"/>
                    <a:pt x="65" y="4"/>
                  </a:cubicBezTo>
                  <a:cubicBezTo>
                    <a:pt x="65" y="4"/>
                    <a:pt x="65" y="4"/>
                    <a:pt x="65" y="4"/>
                  </a:cubicBezTo>
                  <a:cubicBezTo>
                    <a:pt x="58" y="4"/>
                    <a:pt x="58" y="4"/>
                    <a:pt x="58" y="4"/>
                  </a:cubicBezTo>
                  <a:cubicBezTo>
                    <a:pt x="56" y="4"/>
                    <a:pt x="53" y="4"/>
                    <a:pt x="51" y="4"/>
                  </a:cubicBezTo>
                  <a:cubicBezTo>
                    <a:pt x="47" y="3"/>
                    <a:pt x="43" y="3"/>
                    <a:pt x="39" y="3"/>
                  </a:cubicBezTo>
                  <a:cubicBezTo>
                    <a:pt x="38" y="3"/>
                    <a:pt x="37" y="3"/>
                    <a:pt x="36" y="3"/>
                  </a:cubicBezTo>
                  <a:cubicBezTo>
                    <a:pt x="32" y="3"/>
                    <a:pt x="27" y="4"/>
                    <a:pt x="22" y="5"/>
                  </a:cubicBezTo>
                  <a:cubicBezTo>
                    <a:pt x="19" y="6"/>
                    <a:pt x="15" y="6"/>
                    <a:pt x="12" y="7"/>
                  </a:cubicBezTo>
                  <a:cubicBezTo>
                    <a:pt x="11" y="7"/>
                    <a:pt x="11" y="7"/>
                    <a:pt x="11" y="7"/>
                  </a:cubicBezTo>
                  <a:cubicBezTo>
                    <a:pt x="10" y="7"/>
                    <a:pt x="9" y="7"/>
                    <a:pt x="8" y="7"/>
                  </a:cubicBezTo>
                  <a:cubicBezTo>
                    <a:pt x="8" y="6"/>
                    <a:pt x="8" y="6"/>
                    <a:pt x="8" y="6"/>
                  </a:cubicBezTo>
                  <a:cubicBezTo>
                    <a:pt x="6" y="6"/>
                    <a:pt x="5" y="5"/>
                    <a:pt x="5" y="5"/>
                  </a:cubicBezTo>
                  <a:cubicBezTo>
                    <a:pt x="4" y="4"/>
                    <a:pt x="4" y="4"/>
                    <a:pt x="4" y="4"/>
                  </a:cubicBezTo>
                  <a:cubicBezTo>
                    <a:pt x="3" y="4"/>
                    <a:pt x="3" y="3"/>
                    <a:pt x="2" y="2"/>
                  </a:cubicBezTo>
                  <a:cubicBezTo>
                    <a:pt x="1" y="1"/>
                    <a:pt x="1" y="1"/>
                    <a:pt x="1" y="1"/>
                  </a:cubicBezTo>
                  <a:cubicBezTo>
                    <a:pt x="1" y="1"/>
                    <a:pt x="1"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Freeform 1562"/>
            <p:cNvSpPr/>
            <p:nvPr/>
          </p:nvSpPr>
          <p:spPr bwMode="auto">
            <a:xfrm>
              <a:off x="1957125" y="628215"/>
              <a:ext cx="2379961" cy="974537"/>
            </a:xfrm>
            <a:custGeom>
              <a:gdLst>
                <a:gd name="T0" fmla="*/ 248 w 750"/>
                <a:gd name="T1" fmla="*/ 12 h 307"/>
                <a:gd name="T2" fmla="*/ 239 w 750"/>
                <a:gd name="T3" fmla="*/ 27 h 307"/>
                <a:gd name="T4" fmla="*/ 246 w 750"/>
                <a:gd name="T5" fmla="*/ 54 h 307"/>
                <a:gd name="T6" fmla="*/ 231 w 750"/>
                <a:gd name="T7" fmla="*/ 68 h 307"/>
                <a:gd name="T8" fmla="*/ 203 w 750"/>
                <a:gd name="T9" fmla="*/ 69 h 307"/>
                <a:gd name="T10" fmla="*/ 182 w 750"/>
                <a:gd name="T11" fmla="*/ 68 h 307"/>
                <a:gd name="T12" fmla="*/ 151 w 750"/>
                <a:gd name="T13" fmla="*/ 55 h 307"/>
                <a:gd name="T14" fmla="*/ 124 w 750"/>
                <a:gd name="T15" fmla="*/ 45 h 307"/>
                <a:gd name="T16" fmla="*/ 107 w 750"/>
                <a:gd name="T17" fmla="*/ 40 h 307"/>
                <a:gd name="T18" fmla="*/ 87 w 750"/>
                <a:gd name="T19" fmla="*/ 48 h 307"/>
                <a:gd name="T20" fmla="*/ 46 w 750"/>
                <a:gd name="T21" fmla="*/ 72 h 307"/>
                <a:gd name="T22" fmla="*/ 11 w 750"/>
                <a:gd name="T23" fmla="*/ 82 h 307"/>
                <a:gd name="T24" fmla="*/ 9 w 750"/>
                <a:gd name="T25" fmla="*/ 87 h 307"/>
                <a:gd name="T26" fmla="*/ 2 w 750"/>
                <a:gd name="T27" fmla="*/ 98 h 307"/>
                <a:gd name="T28" fmla="*/ 20 w 750"/>
                <a:gd name="T29" fmla="*/ 114 h 307"/>
                <a:gd name="T30" fmla="*/ 41 w 750"/>
                <a:gd name="T31" fmla="*/ 122 h 307"/>
                <a:gd name="T32" fmla="*/ 63 w 750"/>
                <a:gd name="T33" fmla="*/ 140 h 307"/>
                <a:gd name="T34" fmla="*/ 77 w 750"/>
                <a:gd name="T35" fmla="*/ 181 h 307"/>
                <a:gd name="T36" fmla="*/ 73 w 750"/>
                <a:gd name="T37" fmla="*/ 205 h 307"/>
                <a:gd name="T38" fmla="*/ 155 w 750"/>
                <a:gd name="T39" fmla="*/ 224 h 307"/>
                <a:gd name="T40" fmla="*/ 180 w 750"/>
                <a:gd name="T41" fmla="*/ 235 h 307"/>
                <a:gd name="T42" fmla="*/ 199 w 750"/>
                <a:gd name="T43" fmla="*/ 270 h 307"/>
                <a:gd name="T44" fmla="*/ 217 w 750"/>
                <a:gd name="T45" fmla="*/ 274 h 307"/>
                <a:gd name="T46" fmla="*/ 276 w 750"/>
                <a:gd name="T47" fmla="*/ 279 h 307"/>
                <a:gd name="T48" fmla="*/ 328 w 750"/>
                <a:gd name="T49" fmla="*/ 284 h 307"/>
                <a:gd name="T50" fmla="*/ 372 w 750"/>
                <a:gd name="T51" fmla="*/ 301 h 307"/>
                <a:gd name="T52" fmla="*/ 392 w 750"/>
                <a:gd name="T53" fmla="*/ 303 h 307"/>
                <a:gd name="T54" fmla="*/ 402 w 750"/>
                <a:gd name="T55" fmla="*/ 307 h 307"/>
                <a:gd name="T56" fmla="*/ 442 w 750"/>
                <a:gd name="T57" fmla="*/ 288 h 307"/>
                <a:gd name="T58" fmla="*/ 492 w 750"/>
                <a:gd name="T59" fmla="*/ 283 h 307"/>
                <a:gd name="T60" fmla="*/ 531 w 750"/>
                <a:gd name="T61" fmla="*/ 271 h 307"/>
                <a:gd name="T62" fmla="*/ 563 w 750"/>
                <a:gd name="T63" fmla="*/ 247 h 307"/>
                <a:gd name="T64" fmla="*/ 556 w 750"/>
                <a:gd name="T65" fmla="*/ 217 h 307"/>
                <a:gd name="T66" fmla="*/ 599 w 750"/>
                <a:gd name="T67" fmla="*/ 216 h 307"/>
                <a:gd name="T68" fmla="*/ 621 w 750"/>
                <a:gd name="T69" fmla="*/ 200 h 307"/>
                <a:gd name="T70" fmla="*/ 634 w 750"/>
                <a:gd name="T71" fmla="*/ 197 h 307"/>
                <a:gd name="T72" fmla="*/ 660 w 750"/>
                <a:gd name="T73" fmla="*/ 192 h 307"/>
                <a:gd name="T74" fmla="*/ 685 w 750"/>
                <a:gd name="T75" fmla="*/ 169 h 307"/>
                <a:gd name="T76" fmla="*/ 738 w 750"/>
                <a:gd name="T77" fmla="*/ 161 h 307"/>
                <a:gd name="T78" fmla="*/ 732 w 750"/>
                <a:gd name="T79" fmla="*/ 137 h 307"/>
                <a:gd name="T80" fmla="*/ 719 w 750"/>
                <a:gd name="T81" fmla="*/ 128 h 307"/>
                <a:gd name="T82" fmla="*/ 694 w 750"/>
                <a:gd name="T83" fmla="*/ 137 h 307"/>
                <a:gd name="T84" fmla="*/ 661 w 750"/>
                <a:gd name="T85" fmla="*/ 136 h 307"/>
                <a:gd name="T86" fmla="*/ 653 w 750"/>
                <a:gd name="T87" fmla="*/ 116 h 307"/>
                <a:gd name="T88" fmla="*/ 673 w 750"/>
                <a:gd name="T89" fmla="*/ 69 h 307"/>
                <a:gd name="T90" fmla="*/ 647 w 750"/>
                <a:gd name="T91" fmla="*/ 68 h 307"/>
                <a:gd name="T92" fmla="*/ 612 w 750"/>
                <a:gd name="T93" fmla="*/ 62 h 307"/>
                <a:gd name="T94" fmla="*/ 539 w 750"/>
                <a:gd name="T95" fmla="*/ 92 h 307"/>
                <a:gd name="T96" fmla="*/ 486 w 750"/>
                <a:gd name="T97" fmla="*/ 86 h 307"/>
                <a:gd name="T98" fmla="*/ 463 w 750"/>
                <a:gd name="T99" fmla="*/ 67 h 307"/>
                <a:gd name="T100" fmla="*/ 430 w 750"/>
                <a:gd name="T101" fmla="*/ 56 h 307"/>
                <a:gd name="T102" fmla="*/ 391 w 750"/>
                <a:gd name="T103" fmla="*/ 56 h 307"/>
                <a:gd name="T104" fmla="*/ 342 w 750"/>
                <a:gd name="T105" fmla="*/ 51 h 307"/>
                <a:gd name="T106" fmla="*/ 334 w 750"/>
                <a:gd name="T107" fmla="*/ 30 h 307"/>
                <a:gd name="T108" fmla="*/ 299 w 750"/>
                <a:gd name="T109" fmla="*/ 13 h 307"/>
                <a:gd name="T110" fmla="*/ 262 w 750"/>
                <a:gd name="T111" fmla="*/ 1 h 3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0" h="307">
                  <a:moveTo>
                    <a:pt x="260" y="0"/>
                  </a:moveTo>
                  <a:cubicBezTo>
                    <a:pt x="256" y="4"/>
                    <a:pt x="256" y="4"/>
                    <a:pt x="256" y="4"/>
                  </a:cubicBezTo>
                  <a:cubicBezTo>
                    <a:pt x="254" y="6"/>
                    <a:pt x="252" y="8"/>
                    <a:pt x="250" y="10"/>
                  </a:cubicBezTo>
                  <a:cubicBezTo>
                    <a:pt x="250" y="10"/>
                    <a:pt x="250" y="10"/>
                    <a:pt x="250" y="10"/>
                  </a:cubicBezTo>
                  <a:cubicBezTo>
                    <a:pt x="249" y="11"/>
                    <a:pt x="249" y="11"/>
                    <a:pt x="249" y="11"/>
                  </a:cubicBezTo>
                  <a:cubicBezTo>
                    <a:pt x="249" y="11"/>
                    <a:pt x="249" y="11"/>
                    <a:pt x="249" y="11"/>
                  </a:cubicBezTo>
                  <a:cubicBezTo>
                    <a:pt x="248" y="12"/>
                    <a:pt x="248" y="12"/>
                    <a:pt x="248" y="12"/>
                  </a:cubicBezTo>
                  <a:cubicBezTo>
                    <a:pt x="248" y="12"/>
                    <a:pt x="248" y="12"/>
                    <a:pt x="248" y="12"/>
                  </a:cubicBezTo>
                  <a:cubicBezTo>
                    <a:pt x="248" y="13"/>
                    <a:pt x="248" y="13"/>
                    <a:pt x="248" y="13"/>
                  </a:cubicBezTo>
                  <a:cubicBezTo>
                    <a:pt x="247" y="13"/>
                    <a:pt x="247" y="13"/>
                    <a:pt x="247" y="13"/>
                  </a:cubicBezTo>
                  <a:cubicBezTo>
                    <a:pt x="247" y="14"/>
                    <a:pt x="247" y="14"/>
                    <a:pt x="247" y="15"/>
                  </a:cubicBezTo>
                  <a:cubicBezTo>
                    <a:pt x="247" y="17"/>
                    <a:pt x="246" y="20"/>
                    <a:pt x="242" y="20"/>
                  </a:cubicBezTo>
                  <a:cubicBezTo>
                    <a:pt x="241" y="21"/>
                    <a:pt x="241" y="21"/>
                    <a:pt x="241" y="21"/>
                  </a:cubicBezTo>
                  <a:cubicBezTo>
                    <a:pt x="241" y="22"/>
                    <a:pt x="240" y="24"/>
                    <a:pt x="240" y="25"/>
                  </a:cubicBezTo>
                  <a:cubicBezTo>
                    <a:pt x="239" y="26"/>
                    <a:pt x="239" y="26"/>
                    <a:pt x="239" y="26"/>
                  </a:cubicBezTo>
                  <a:cubicBezTo>
                    <a:pt x="239" y="27"/>
                    <a:pt x="239" y="27"/>
                    <a:pt x="239" y="27"/>
                  </a:cubicBezTo>
                  <a:cubicBezTo>
                    <a:pt x="239" y="28"/>
                    <a:pt x="239" y="28"/>
                    <a:pt x="239" y="29"/>
                  </a:cubicBezTo>
                  <a:cubicBezTo>
                    <a:pt x="239" y="30"/>
                    <a:pt x="238" y="30"/>
                    <a:pt x="238" y="31"/>
                  </a:cubicBezTo>
                  <a:cubicBezTo>
                    <a:pt x="238" y="31"/>
                    <a:pt x="238" y="31"/>
                    <a:pt x="238" y="31"/>
                  </a:cubicBezTo>
                  <a:cubicBezTo>
                    <a:pt x="238" y="34"/>
                    <a:pt x="239" y="36"/>
                    <a:pt x="240" y="38"/>
                  </a:cubicBezTo>
                  <a:cubicBezTo>
                    <a:pt x="240" y="40"/>
                    <a:pt x="241" y="41"/>
                    <a:pt x="242" y="42"/>
                  </a:cubicBezTo>
                  <a:cubicBezTo>
                    <a:pt x="243" y="43"/>
                    <a:pt x="244" y="43"/>
                    <a:pt x="244" y="43"/>
                  </a:cubicBezTo>
                  <a:cubicBezTo>
                    <a:pt x="246" y="44"/>
                    <a:pt x="249" y="46"/>
                    <a:pt x="247" y="51"/>
                  </a:cubicBezTo>
                  <a:cubicBezTo>
                    <a:pt x="247" y="52"/>
                    <a:pt x="247" y="53"/>
                    <a:pt x="246" y="54"/>
                  </a:cubicBezTo>
                  <a:cubicBezTo>
                    <a:pt x="245" y="60"/>
                    <a:pt x="245" y="60"/>
                    <a:pt x="245" y="60"/>
                  </a:cubicBezTo>
                  <a:cubicBezTo>
                    <a:pt x="245" y="60"/>
                    <a:pt x="244" y="61"/>
                    <a:pt x="244" y="61"/>
                  </a:cubicBezTo>
                  <a:cubicBezTo>
                    <a:pt x="242" y="65"/>
                    <a:pt x="238" y="66"/>
                    <a:pt x="235" y="67"/>
                  </a:cubicBezTo>
                  <a:cubicBezTo>
                    <a:pt x="234" y="67"/>
                    <a:pt x="234" y="67"/>
                    <a:pt x="233" y="67"/>
                  </a:cubicBezTo>
                  <a:cubicBezTo>
                    <a:pt x="233" y="67"/>
                    <a:pt x="232" y="67"/>
                    <a:pt x="232" y="68"/>
                  </a:cubicBezTo>
                  <a:cubicBezTo>
                    <a:pt x="231" y="68"/>
                    <a:pt x="231" y="68"/>
                    <a:pt x="231" y="68"/>
                  </a:cubicBezTo>
                  <a:cubicBezTo>
                    <a:pt x="231" y="68"/>
                    <a:pt x="231" y="68"/>
                    <a:pt x="231" y="68"/>
                  </a:cubicBezTo>
                  <a:cubicBezTo>
                    <a:pt x="231" y="68"/>
                    <a:pt x="231" y="68"/>
                    <a:pt x="231" y="68"/>
                  </a:cubicBezTo>
                  <a:cubicBezTo>
                    <a:pt x="230" y="69"/>
                    <a:pt x="230" y="69"/>
                    <a:pt x="230" y="69"/>
                  </a:cubicBezTo>
                  <a:cubicBezTo>
                    <a:pt x="229" y="71"/>
                    <a:pt x="228" y="72"/>
                    <a:pt x="225" y="73"/>
                  </a:cubicBezTo>
                  <a:cubicBezTo>
                    <a:pt x="224" y="74"/>
                    <a:pt x="223" y="74"/>
                    <a:pt x="222" y="74"/>
                  </a:cubicBezTo>
                  <a:cubicBezTo>
                    <a:pt x="220" y="74"/>
                    <a:pt x="218" y="73"/>
                    <a:pt x="216" y="72"/>
                  </a:cubicBezTo>
                  <a:cubicBezTo>
                    <a:pt x="215" y="72"/>
                    <a:pt x="214" y="71"/>
                    <a:pt x="213" y="71"/>
                  </a:cubicBezTo>
                  <a:cubicBezTo>
                    <a:pt x="212" y="71"/>
                    <a:pt x="210" y="71"/>
                    <a:pt x="209" y="70"/>
                  </a:cubicBezTo>
                  <a:cubicBezTo>
                    <a:pt x="204" y="69"/>
                    <a:pt x="204" y="69"/>
                    <a:pt x="204" y="69"/>
                  </a:cubicBezTo>
                  <a:cubicBezTo>
                    <a:pt x="203" y="69"/>
                    <a:pt x="203" y="69"/>
                    <a:pt x="203" y="69"/>
                  </a:cubicBezTo>
                  <a:cubicBezTo>
                    <a:pt x="202" y="69"/>
                    <a:pt x="202" y="69"/>
                    <a:pt x="202" y="69"/>
                  </a:cubicBezTo>
                  <a:cubicBezTo>
                    <a:pt x="201" y="68"/>
                    <a:pt x="199" y="68"/>
                    <a:pt x="198" y="68"/>
                  </a:cubicBezTo>
                  <a:cubicBezTo>
                    <a:pt x="197" y="67"/>
                    <a:pt x="197" y="67"/>
                    <a:pt x="197" y="67"/>
                  </a:cubicBezTo>
                  <a:cubicBezTo>
                    <a:pt x="196" y="67"/>
                    <a:pt x="194" y="67"/>
                    <a:pt x="193" y="66"/>
                  </a:cubicBezTo>
                  <a:cubicBezTo>
                    <a:pt x="192" y="66"/>
                    <a:pt x="191" y="66"/>
                    <a:pt x="191" y="66"/>
                  </a:cubicBezTo>
                  <a:cubicBezTo>
                    <a:pt x="190" y="66"/>
                    <a:pt x="189" y="66"/>
                    <a:pt x="189" y="66"/>
                  </a:cubicBezTo>
                  <a:cubicBezTo>
                    <a:pt x="187" y="66"/>
                    <a:pt x="185" y="67"/>
                    <a:pt x="184" y="67"/>
                  </a:cubicBezTo>
                  <a:cubicBezTo>
                    <a:pt x="182" y="68"/>
                    <a:pt x="182" y="68"/>
                    <a:pt x="182" y="68"/>
                  </a:cubicBezTo>
                  <a:cubicBezTo>
                    <a:pt x="181" y="68"/>
                    <a:pt x="181" y="68"/>
                    <a:pt x="181" y="68"/>
                  </a:cubicBezTo>
                  <a:cubicBezTo>
                    <a:pt x="180" y="69"/>
                    <a:pt x="179" y="69"/>
                    <a:pt x="178" y="69"/>
                  </a:cubicBezTo>
                  <a:cubicBezTo>
                    <a:pt x="178" y="69"/>
                    <a:pt x="177" y="69"/>
                    <a:pt x="177" y="69"/>
                  </a:cubicBezTo>
                  <a:cubicBezTo>
                    <a:pt x="176" y="69"/>
                    <a:pt x="176" y="69"/>
                    <a:pt x="175" y="69"/>
                  </a:cubicBezTo>
                  <a:cubicBezTo>
                    <a:pt x="162" y="66"/>
                    <a:pt x="162" y="66"/>
                    <a:pt x="162" y="66"/>
                  </a:cubicBezTo>
                  <a:cubicBezTo>
                    <a:pt x="157" y="65"/>
                    <a:pt x="156" y="64"/>
                    <a:pt x="153" y="60"/>
                  </a:cubicBezTo>
                  <a:cubicBezTo>
                    <a:pt x="153" y="59"/>
                    <a:pt x="153" y="59"/>
                    <a:pt x="153" y="59"/>
                  </a:cubicBezTo>
                  <a:cubicBezTo>
                    <a:pt x="152" y="58"/>
                    <a:pt x="152" y="56"/>
                    <a:pt x="151" y="55"/>
                  </a:cubicBezTo>
                  <a:cubicBezTo>
                    <a:pt x="151" y="54"/>
                    <a:pt x="151" y="54"/>
                    <a:pt x="151" y="54"/>
                  </a:cubicBezTo>
                  <a:cubicBezTo>
                    <a:pt x="150" y="52"/>
                    <a:pt x="149" y="50"/>
                    <a:pt x="149" y="49"/>
                  </a:cubicBezTo>
                  <a:cubicBezTo>
                    <a:pt x="148" y="49"/>
                    <a:pt x="148" y="49"/>
                    <a:pt x="148" y="49"/>
                  </a:cubicBezTo>
                  <a:cubicBezTo>
                    <a:pt x="148" y="49"/>
                    <a:pt x="147" y="49"/>
                    <a:pt x="147" y="49"/>
                  </a:cubicBezTo>
                  <a:cubicBezTo>
                    <a:pt x="137" y="48"/>
                    <a:pt x="137" y="48"/>
                    <a:pt x="137" y="48"/>
                  </a:cubicBezTo>
                  <a:cubicBezTo>
                    <a:pt x="134" y="47"/>
                    <a:pt x="131" y="47"/>
                    <a:pt x="128" y="46"/>
                  </a:cubicBezTo>
                  <a:cubicBezTo>
                    <a:pt x="128" y="46"/>
                    <a:pt x="127" y="46"/>
                    <a:pt x="127" y="46"/>
                  </a:cubicBezTo>
                  <a:cubicBezTo>
                    <a:pt x="126" y="46"/>
                    <a:pt x="125" y="45"/>
                    <a:pt x="124" y="45"/>
                  </a:cubicBezTo>
                  <a:cubicBezTo>
                    <a:pt x="122" y="44"/>
                    <a:pt x="121" y="44"/>
                    <a:pt x="120" y="43"/>
                  </a:cubicBezTo>
                  <a:cubicBezTo>
                    <a:pt x="120" y="43"/>
                    <a:pt x="119" y="42"/>
                    <a:pt x="118" y="42"/>
                  </a:cubicBezTo>
                  <a:cubicBezTo>
                    <a:pt x="118" y="42"/>
                    <a:pt x="118" y="42"/>
                    <a:pt x="118" y="42"/>
                  </a:cubicBezTo>
                  <a:cubicBezTo>
                    <a:pt x="115" y="42"/>
                    <a:pt x="115" y="42"/>
                    <a:pt x="115" y="42"/>
                  </a:cubicBezTo>
                  <a:cubicBezTo>
                    <a:pt x="114" y="41"/>
                    <a:pt x="113" y="41"/>
                    <a:pt x="111" y="41"/>
                  </a:cubicBezTo>
                  <a:cubicBezTo>
                    <a:pt x="111" y="41"/>
                    <a:pt x="111" y="41"/>
                    <a:pt x="111" y="41"/>
                  </a:cubicBezTo>
                  <a:cubicBezTo>
                    <a:pt x="110" y="41"/>
                    <a:pt x="110" y="41"/>
                    <a:pt x="109" y="41"/>
                  </a:cubicBezTo>
                  <a:cubicBezTo>
                    <a:pt x="108" y="41"/>
                    <a:pt x="107" y="41"/>
                    <a:pt x="107" y="40"/>
                  </a:cubicBezTo>
                  <a:cubicBezTo>
                    <a:pt x="107" y="40"/>
                    <a:pt x="107" y="40"/>
                    <a:pt x="107" y="40"/>
                  </a:cubicBezTo>
                  <a:cubicBezTo>
                    <a:pt x="106" y="42"/>
                    <a:pt x="105" y="43"/>
                    <a:pt x="104" y="44"/>
                  </a:cubicBezTo>
                  <a:cubicBezTo>
                    <a:pt x="104" y="44"/>
                    <a:pt x="103" y="44"/>
                    <a:pt x="103" y="44"/>
                  </a:cubicBezTo>
                  <a:cubicBezTo>
                    <a:pt x="102" y="45"/>
                    <a:pt x="101" y="45"/>
                    <a:pt x="100" y="45"/>
                  </a:cubicBezTo>
                  <a:cubicBezTo>
                    <a:pt x="99" y="45"/>
                    <a:pt x="98" y="45"/>
                    <a:pt x="97" y="45"/>
                  </a:cubicBezTo>
                  <a:cubicBezTo>
                    <a:pt x="95" y="45"/>
                    <a:pt x="95" y="45"/>
                    <a:pt x="95" y="45"/>
                  </a:cubicBezTo>
                  <a:cubicBezTo>
                    <a:pt x="93" y="45"/>
                    <a:pt x="91" y="45"/>
                    <a:pt x="90" y="46"/>
                  </a:cubicBezTo>
                  <a:cubicBezTo>
                    <a:pt x="87" y="48"/>
                    <a:pt x="87" y="48"/>
                    <a:pt x="87" y="48"/>
                  </a:cubicBezTo>
                  <a:cubicBezTo>
                    <a:pt x="85" y="49"/>
                    <a:pt x="82" y="50"/>
                    <a:pt x="80" y="51"/>
                  </a:cubicBezTo>
                  <a:cubicBezTo>
                    <a:pt x="72" y="55"/>
                    <a:pt x="72" y="55"/>
                    <a:pt x="72" y="55"/>
                  </a:cubicBezTo>
                  <a:cubicBezTo>
                    <a:pt x="68" y="57"/>
                    <a:pt x="63" y="59"/>
                    <a:pt x="59" y="61"/>
                  </a:cubicBezTo>
                  <a:cubicBezTo>
                    <a:pt x="59" y="62"/>
                    <a:pt x="58" y="62"/>
                    <a:pt x="57" y="63"/>
                  </a:cubicBezTo>
                  <a:cubicBezTo>
                    <a:pt x="55" y="64"/>
                    <a:pt x="55" y="64"/>
                    <a:pt x="55" y="64"/>
                  </a:cubicBezTo>
                  <a:cubicBezTo>
                    <a:pt x="54" y="65"/>
                    <a:pt x="53" y="65"/>
                    <a:pt x="52" y="66"/>
                  </a:cubicBezTo>
                  <a:cubicBezTo>
                    <a:pt x="45" y="70"/>
                    <a:pt x="45" y="70"/>
                    <a:pt x="45" y="70"/>
                  </a:cubicBezTo>
                  <a:cubicBezTo>
                    <a:pt x="46" y="70"/>
                    <a:pt x="46" y="71"/>
                    <a:pt x="46" y="72"/>
                  </a:cubicBezTo>
                  <a:cubicBezTo>
                    <a:pt x="45" y="74"/>
                    <a:pt x="43" y="75"/>
                    <a:pt x="41" y="76"/>
                  </a:cubicBezTo>
                  <a:cubicBezTo>
                    <a:pt x="36" y="79"/>
                    <a:pt x="31" y="80"/>
                    <a:pt x="26" y="81"/>
                  </a:cubicBezTo>
                  <a:cubicBezTo>
                    <a:pt x="20" y="81"/>
                    <a:pt x="20" y="81"/>
                    <a:pt x="20" y="81"/>
                  </a:cubicBezTo>
                  <a:cubicBezTo>
                    <a:pt x="19" y="82"/>
                    <a:pt x="19" y="82"/>
                    <a:pt x="18" y="82"/>
                  </a:cubicBezTo>
                  <a:cubicBezTo>
                    <a:pt x="16" y="82"/>
                    <a:pt x="15" y="82"/>
                    <a:pt x="14" y="83"/>
                  </a:cubicBezTo>
                  <a:cubicBezTo>
                    <a:pt x="14" y="83"/>
                    <a:pt x="14" y="83"/>
                    <a:pt x="14" y="83"/>
                  </a:cubicBezTo>
                  <a:cubicBezTo>
                    <a:pt x="13" y="83"/>
                    <a:pt x="12" y="82"/>
                    <a:pt x="12" y="82"/>
                  </a:cubicBezTo>
                  <a:cubicBezTo>
                    <a:pt x="11" y="82"/>
                    <a:pt x="11" y="82"/>
                    <a:pt x="11" y="82"/>
                  </a:cubicBezTo>
                  <a:cubicBezTo>
                    <a:pt x="10" y="82"/>
                    <a:pt x="10" y="82"/>
                    <a:pt x="10" y="82"/>
                  </a:cubicBezTo>
                  <a:cubicBezTo>
                    <a:pt x="10" y="82"/>
                    <a:pt x="10" y="82"/>
                    <a:pt x="10" y="82"/>
                  </a:cubicBezTo>
                  <a:cubicBezTo>
                    <a:pt x="10" y="83"/>
                    <a:pt x="10" y="83"/>
                    <a:pt x="10" y="83"/>
                  </a:cubicBezTo>
                  <a:cubicBezTo>
                    <a:pt x="10" y="84"/>
                    <a:pt x="10" y="84"/>
                    <a:pt x="10" y="84"/>
                  </a:cubicBezTo>
                  <a:cubicBezTo>
                    <a:pt x="10" y="87"/>
                    <a:pt x="10" y="87"/>
                    <a:pt x="10" y="87"/>
                  </a:cubicBezTo>
                  <a:cubicBezTo>
                    <a:pt x="10" y="85"/>
                    <a:pt x="10" y="85"/>
                    <a:pt x="10" y="85"/>
                  </a:cubicBezTo>
                  <a:cubicBezTo>
                    <a:pt x="9" y="86"/>
                    <a:pt x="9" y="86"/>
                    <a:pt x="9" y="86"/>
                  </a:cubicBezTo>
                  <a:cubicBezTo>
                    <a:pt x="9" y="87"/>
                    <a:pt x="9" y="87"/>
                    <a:pt x="9" y="87"/>
                  </a:cubicBezTo>
                  <a:cubicBezTo>
                    <a:pt x="6" y="89"/>
                    <a:pt x="6" y="89"/>
                    <a:pt x="6" y="89"/>
                  </a:cubicBezTo>
                  <a:cubicBezTo>
                    <a:pt x="3" y="90"/>
                    <a:pt x="3" y="90"/>
                    <a:pt x="3" y="90"/>
                  </a:cubicBezTo>
                  <a:cubicBezTo>
                    <a:pt x="4" y="92"/>
                    <a:pt x="4" y="92"/>
                    <a:pt x="4" y="92"/>
                  </a:cubicBezTo>
                  <a:cubicBezTo>
                    <a:pt x="2" y="92"/>
                    <a:pt x="2" y="92"/>
                    <a:pt x="2" y="92"/>
                  </a:cubicBezTo>
                  <a:cubicBezTo>
                    <a:pt x="2" y="93"/>
                    <a:pt x="1" y="94"/>
                    <a:pt x="1" y="95"/>
                  </a:cubicBezTo>
                  <a:cubicBezTo>
                    <a:pt x="1" y="96"/>
                    <a:pt x="0" y="97"/>
                    <a:pt x="0" y="98"/>
                  </a:cubicBezTo>
                  <a:cubicBezTo>
                    <a:pt x="1" y="98"/>
                    <a:pt x="1" y="98"/>
                    <a:pt x="1" y="98"/>
                  </a:cubicBezTo>
                  <a:cubicBezTo>
                    <a:pt x="1" y="98"/>
                    <a:pt x="1" y="98"/>
                    <a:pt x="2" y="98"/>
                  </a:cubicBezTo>
                  <a:cubicBezTo>
                    <a:pt x="4" y="99"/>
                    <a:pt x="7" y="100"/>
                    <a:pt x="7" y="103"/>
                  </a:cubicBezTo>
                  <a:cubicBezTo>
                    <a:pt x="8" y="104"/>
                    <a:pt x="7" y="105"/>
                    <a:pt x="7" y="106"/>
                  </a:cubicBezTo>
                  <a:cubicBezTo>
                    <a:pt x="7" y="106"/>
                    <a:pt x="7" y="106"/>
                    <a:pt x="7" y="106"/>
                  </a:cubicBezTo>
                  <a:cubicBezTo>
                    <a:pt x="8" y="106"/>
                    <a:pt x="8" y="106"/>
                    <a:pt x="8" y="106"/>
                  </a:cubicBezTo>
                  <a:cubicBezTo>
                    <a:pt x="8" y="107"/>
                    <a:pt x="8" y="107"/>
                    <a:pt x="8" y="107"/>
                  </a:cubicBezTo>
                  <a:cubicBezTo>
                    <a:pt x="8" y="106"/>
                    <a:pt x="8" y="106"/>
                    <a:pt x="8" y="106"/>
                  </a:cubicBezTo>
                  <a:cubicBezTo>
                    <a:pt x="9" y="106"/>
                    <a:pt x="10" y="107"/>
                    <a:pt x="12" y="107"/>
                  </a:cubicBezTo>
                  <a:cubicBezTo>
                    <a:pt x="15" y="109"/>
                    <a:pt x="18" y="110"/>
                    <a:pt x="20" y="114"/>
                  </a:cubicBezTo>
                  <a:cubicBezTo>
                    <a:pt x="21" y="117"/>
                    <a:pt x="23" y="118"/>
                    <a:pt x="26" y="120"/>
                  </a:cubicBezTo>
                  <a:cubicBezTo>
                    <a:pt x="27" y="120"/>
                    <a:pt x="27" y="120"/>
                    <a:pt x="27" y="120"/>
                  </a:cubicBezTo>
                  <a:cubicBezTo>
                    <a:pt x="28" y="121"/>
                    <a:pt x="28" y="121"/>
                    <a:pt x="28" y="121"/>
                  </a:cubicBezTo>
                  <a:cubicBezTo>
                    <a:pt x="28" y="121"/>
                    <a:pt x="29" y="121"/>
                    <a:pt x="29" y="121"/>
                  </a:cubicBezTo>
                  <a:cubicBezTo>
                    <a:pt x="30" y="121"/>
                    <a:pt x="30" y="121"/>
                    <a:pt x="31" y="121"/>
                  </a:cubicBezTo>
                  <a:cubicBezTo>
                    <a:pt x="32" y="121"/>
                    <a:pt x="32" y="121"/>
                    <a:pt x="33" y="121"/>
                  </a:cubicBezTo>
                  <a:cubicBezTo>
                    <a:pt x="34" y="121"/>
                    <a:pt x="35" y="121"/>
                    <a:pt x="36" y="121"/>
                  </a:cubicBezTo>
                  <a:cubicBezTo>
                    <a:pt x="38" y="121"/>
                    <a:pt x="40" y="121"/>
                    <a:pt x="41" y="122"/>
                  </a:cubicBezTo>
                  <a:cubicBezTo>
                    <a:pt x="42" y="123"/>
                    <a:pt x="42" y="123"/>
                    <a:pt x="42" y="123"/>
                  </a:cubicBezTo>
                  <a:cubicBezTo>
                    <a:pt x="45" y="126"/>
                    <a:pt x="46" y="126"/>
                    <a:pt x="48" y="126"/>
                  </a:cubicBezTo>
                  <a:cubicBezTo>
                    <a:pt x="48" y="126"/>
                    <a:pt x="49" y="126"/>
                    <a:pt x="49" y="126"/>
                  </a:cubicBezTo>
                  <a:cubicBezTo>
                    <a:pt x="50" y="126"/>
                    <a:pt x="50" y="126"/>
                    <a:pt x="50" y="126"/>
                  </a:cubicBezTo>
                  <a:cubicBezTo>
                    <a:pt x="54" y="126"/>
                    <a:pt x="56" y="129"/>
                    <a:pt x="58" y="131"/>
                  </a:cubicBezTo>
                  <a:cubicBezTo>
                    <a:pt x="58" y="131"/>
                    <a:pt x="58" y="131"/>
                    <a:pt x="58" y="131"/>
                  </a:cubicBezTo>
                  <a:cubicBezTo>
                    <a:pt x="59" y="131"/>
                    <a:pt x="59" y="132"/>
                    <a:pt x="59" y="132"/>
                  </a:cubicBezTo>
                  <a:cubicBezTo>
                    <a:pt x="62" y="134"/>
                    <a:pt x="63" y="137"/>
                    <a:pt x="63" y="140"/>
                  </a:cubicBezTo>
                  <a:cubicBezTo>
                    <a:pt x="64" y="141"/>
                    <a:pt x="64" y="141"/>
                    <a:pt x="64" y="141"/>
                  </a:cubicBezTo>
                  <a:cubicBezTo>
                    <a:pt x="65" y="143"/>
                    <a:pt x="66" y="145"/>
                    <a:pt x="67" y="147"/>
                  </a:cubicBezTo>
                  <a:cubicBezTo>
                    <a:pt x="76" y="161"/>
                    <a:pt x="76" y="161"/>
                    <a:pt x="76" y="161"/>
                  </a:cubicBezTo>
                  <a:cubicBezTo>
                    <a:pt x="77" y="163"/>
                    <a:pt x="77" y="166"/>
                    <a:pt x="77" y="168"/>
                  </a:cubicBezTo>
                  <a:cubicBezTo>
                    <a:pt x="77" y="169"/>
                    <a:pt x="77" y="169"/>
                    <a:pt x="77" y="169"/>
                  </a:cubicBezTo>
                  <a:cubicBezTo>
                    <a:pt x="76" y="173"/>
                    <a:pt x="76" y="176"/>
                    <a:pt x="77" y="180"/>
                  </a:cubicBezTo>
                  <a:cubicBezTo>
                    <a:pt x="77" y="180"/>
                    <a:pt x="77" y="180"/>
                    <a:pt x="77" y="180"/>
                  </a:cubicBezTo>
                  <a:cubicBezTo>
                    <a:pt x="77" y="181"/>
                    <a:pt x="77" y="181"/>
                    <a:pt x="77" y="181"/>
                  </a:cubicBezTo>
                  <a:cubicBezTo>
                    <a:pt x="77" y="182"/>
                    <a:pt x="76" y="183"/>
                    <a:pt x="76" y="184"/>
                  </a:cubicBezTo>
                  <a:cubicBezTo>
                    <a:pt x="76" y="185"/>
                    <a:pt x="76" y="185"/>
                    <a:pt x="75" y="186"/>
                  </a:cubicBezTo>
                  <a:cubicBezTo>
                    <a:pt x="75" y="188"/>
                    <a:pt x="74" y="189"/>
                    <a:pt x="73" y="190"/>
                  </a:cubicBezTo>
                  <a:cubicBezTo>
                    <a:pt x="72" y="192"/>
                    <a:pt x="72" y="192"/>
                    <a:pt x="72" y="192"/>
                  </a:cubicBezTo>
                  <a:cubicBezTo>
                    <a:pt x="72" y="193"/>
                    <a:pt x="71" y="194"/>
                    <a:pt x="71" y="194"/>
                  </a:cubicBezTo>
                  <a:cubicBezTo>
                    <a:pt x="69" y="197"/>
                    <a:pt x="69" y="198"/>
                    <a:pt x="69" y="199"/>
                  </a:cubicBezTo>
                  <a:cubicBezTo>
                    <a:pt x="70" y="201"/>
                    <a:pt x="71" y="202"/>
                    <a:pt x="73" y="204"/>
                  </a:cubicBezTo>
                  <a:cubicBezTo>
                    <a:pt x="73" y="205"/>
                    <a:pt x="73" y="205"/>
                    <a:pt x="73" y="205"/>
                  </a:cubicBezTo>
                  <a:cubicBezTo>
                    <a:pt x="74" y="205"/>
                    <a:pt x="74" y="205"/>
                    <a:pt x="74" y="205"/>
                  </a:cubicBezTo>
                  <a:cubicBezTo>
                    <a:pt x="77" y="205"/>
                    <a:pt x="80" y="206"/>
                    <a:pt x="83" y="206"/>
                  </a:cubicBezTo>
                  <a:cubicBezTo>
                    <a:pt x="88" y="207"/>
                    <a:pt x="93" y="207"/>
                    <a:pt x="98" y="207"/>
                  </a:cubicBezTo>
                  <a:cubicBezTo>
                    <a:pt x="106" y="208"/>
                    <a:pt x="116" y="209"/>
                    <a:pt x="125" y="210"/>
                  </a:cubicBezTo>
                  <a:cubicBezTo>
                    <a:pt x="128" y="210"/>
                    <a:pt x="128" y="210"/>
                    <a:pt x="128" y="210"/>
                  </a:cubicBezTo>
                  <a:cubicBezTo>
                    <a:pt x="130" y="210"/>
                    <a:pt x="133" y="211"/>
                    <a:pt x="136" y="212"/>
                  </a:cubicBezTo>
                  <a:cubicBezTo>
                    <a:pt x="152" y="222"/>
                    <a:pt x="152" y="222"/>
                    <a:pt x="152" y="222"/>
                  </a:cubicBezTo>
                  <a:cubicBezTo>
                    <a:pt x="153" y="223"/>
                    <a:pt x="154" y="223"/>
                    <a:pt x="155" y="224"/>
                  </a:cubicBezTo>
                  <a:cubicBezTo>
                    <a:pt x="159" y="226"/>
                    <a:pt x="163" y="229"/>
                    <a:pt x="167" y="230"/>
                  </a:cubicBezTo>
                  <a:cubicBezTo>
                    <a:pt x="168" y="231"/>
                    <a:pt x="169" y="231"/>
                    <a:pt x="170" y="231"/>
                  </a:cubicBezTo>
                  <a:cubicBezTo>
                    <a:pt x="172" y="231"/>
                    <a:pt x="173" y="231"/>
                    <a:pt x="175" y="231"/>
                  </a:cubicBezTo>
                  <a:cubicBezTo>
                    <a:pt x="180" y="230"/>
                    <a:pt x="180" y="230"/>
                    <a:pt x="180" y="230"/>
                  </a:cubicBezTo>
                  <a:cubicBezTo>
                    <a:pt x="180" y="234"/>
                    <a:pt x="180" y="234"/>
                    <a:pt x="180" y="234"/>
                  </a:cubicBezTo>
                  <a:cubicBezTo>
                    <a:pt x="180" y="235"/>
                    <a:pt x="179" y="236"/>
                    <a:pt x="179" y="237"/>
                  </a:cubicBezTo>
                  <a:cubicBezTo>
                    <a:pt x="179" y="237"/>
                    <a:pt x="178" y="238"/>
                    <a:pt x="178" y="238"/>
                  </a:cubicBezTo>
                  <a:cubicBezTo>
                    <a:pt x="180" y="235"/>
                    <a:pt x="180" y="235"/>
                    <a:pt x="180" y="235"/>
                  </a:cubicBezTo>
                  <a:cubicBezTo>
                    <a:pt x="180" y="239"/>
                    <a:pt x="180" y="239"/>
                    <a:pt x="180" y="239"/>
                  </a:cubicBezTo>
                  <a:cubicBezTo>
                    <a:pt x="180" y="239"/>
                    <a:pt x="180" y="239"/>
                    <a:pt x="180" y="239"/>
                  </a:cubicBezTo>
                  <a:cubicBezTo>
                    <a:pt x="182" y="240"/>
                    <a:pt x="183" y="241"/>
                    <a:pt x="183" y="243"/>
                  </a:cubicBezTo>
                  <a:cubicBezTo>
                    <a:pt x="184" y="245"/>
                    <a:pt x="184" y="245"/>
                    <a:pt x="184" y="245"/>
                  </a:cubicBezTo>
                  <a:cubicBezTo>
                    <a:pt x="185" y="246"/>
                    <a:pt x="185" y="247"/>
                    <a:pt x="185" y="248"/>
                  </a:cubicBezTo>
                  <a:cubicBezTo>
                    <a:pt x="190" y="259"/>
                    <a:pt x="190" y="259"/>
                    <a:pt x="190" y="259"/>
                  </a:cubicBezTo>
                  <a:cubicBezTo>
                    <a:pt x="192" y="262"/>
                    <a:pt x="194" y="265"/>
                    <a:pt x="197" y="268"/>
                  </a:cubicBezTo>
                  <a:cubicBezTo>
                    <a:pt x="197" y="269"/>
                    <a:pt x="198" y="269"/>
                    <a:pt x="199" y="270"/>
                  </a:cubicBezTo>
                  <a:cubicBezTo>
                    <a:pt x="199" y="271"/>
                    <a:pt x="199" y="271"/>
                    <a:pt x="199" y="271"/>
                  </a:cubicBezTo>
                  <a:cubicBezTo>
                    <a:pt x="200" y="271"/>
                    <a:pt x="200" y="271"/>
                    <a:pt x="200" y="271"/>
                  </a:cubicBezTo>
                  <a:cubicBezTo>
                    <a:pt x="200" y="271"/>
                    <a:pt x="200" y="272"/>
                    <a:pt x="201" y="272"/>
                  </a:cubicBezTo>
                  <a:cubicBezTo>
                    <a:pt x="201" y="273"/>
                    <a:pt x="202" y="274"/>
                    <a:pt x="202" y="275"/>
                  </a:cubicBezTo>
                  <a:cubicBezTo>
                    <a:pt x="202" y="275"/>
                    <a:pt x="202" y="275"/>
                    <a:pt x="202" y="275"/>
                  </a:cubicBezTo>
                  <a:cubicBezTo>
                    <a:pt x="207" y="275"/>
                    <a:pt x="207" y="275"/>
                    <a:pt x="207" y="275"/>
                  </a:cubicBezTo>
                  <a:cubicBezTo>
                    <a:pt x="209" y="274"/>
                    <a:pt x="211" y="274"/>
                    <a:pt x="214" y="274"/>
                  </a:cubicBezTo>
                  <a:cubicBezTo>
                    <a:pt x="215" y="274"/>
                    <a:pt x="216" y="274"/>
                    <a:pt x="217" y="274"/>
                  </a:cubicBezTo>
                  <a:cubicBezTo>
                    <a:pt x="222" y="274"/>
                    <a:pt x="226" y="274"/>
                    <a:pt x="229" y="275"/>
                  </a:cubicBezTo>
                  <a:cubicBezTo>
                    <a:pt x="234" y="276"/>
                    <a:pt x="234" y="276"/>
                    <a:pt x="234" y="276"/>
                  </a:cubicBezTo>
                  <a:cubicBezTo>
                    <a:pt x="235" y="276"/>
                    <a:pt x="236" y="276"/>
                    <a:pt x="237" y="276"/>
                  </a:cubicBezTo>
                  <a:cubicBezTo>
                    <a:pt x="240" y="277"/>
                    <a:pt x="240" y="277"/>
                    <a:pt x="240" y="277"/>
                  </a:cubicBezTo>
                  <a:cubicBezTo>
                    <a:pt x="242" y="277"/>
                    <a:pt x="243" y="277"/>
                    <a:pt x="245" y="277"/>
                  </a:cubicBezTo>
                  <a:cubicBezTo>
                    <a:pt x="255" y="278"/>
                    <a:pt x="264" y="279"/>
                    <a:pt x="274" y="279"/>
                  </a:cubicBezTo>
                  <a:cubicBezTo>
                    <a:pt x="275" y="279"/>
                    <a:pt x="275" y="279"/>
                    <a:pt x="275" y="279"/>
                  </a:cubicBezTo>
                  <a:cubicBezTo>
                    <a:pt x="276" y="279"/>
                    <a:pt x="276" y="279"/>
                    <a:pt x="276" y="279"/>
                  </a:cubicBezTo>
                  <a:cubicBezTo>
                    <a:pt x="277" y="279"/>
                    <a:pt x="278" y="278"/>
                    <a:pt x="279" y="278"/>
                  </a:cubicBezTo>
                  <a:cubicBezTo>
                    <a:pt x="280" y="277"/>
                    <a:pt x="282" y="276"/>
                    <a:pt x="285" y="276"/>
                  </a:cubicBezTo>
                  <a:cubicBezTo>
                    <a:pt x="285" y="276"/>
                    <a:pt x="285" y="276"/>
                    <a:pt x="286" y="276"/>
                  </a:cubicBezTo>
                  <a:cubicBezTo>
                    <a:pt x="286" y="276"/>
                    <a:pt x="286" y="276"/>
                    <a:pt x="286" y="276"/>
                  </a:cubicBezTo>
                  <a:cubicBezTo>
                    <a:pt x="287" y="276"/>
                    <a:pt x="288" y="277"/>
                    <a:pt x="289" y="277"/>
                  </a:cubicBezTo>
                  <a:cubicBezTo>
                    <a:pt x="321" y="282"/>
                    <a:pt x="321" y="282"/>
                    <a:pt x="321" y="282"/>
                  </a:cubicBezTo>
                  <a:cubicBezTo>
                    <a:pt x="321" y="282"/>
                    <a:pt x="322" y="282"/>
                    <a:pt x="322" y="283"/>
                  </a:cubicBezTo>
                  <a:cubicBezTo>
                    <a:pt x="324" y="283"/>
                    <a:pt x="327" y="283"/>
                    <a:pt x="328" y="284"/>
                  </a:cubicBezTo>
                  <a:cubicBezTo>
                    <a:pt x="329" y="284"/>
                    <a:pt x="330" y="285"/>
                    <a:pt x="330" y="286"/>
                  </a:cubicBezTo>
                  <a:cubicBezTo>
                    <a:pt x="331" y="287"/>
                    <a:pt x="332" y="288"/>
                    <a:pt x="333" y="289"/>
                  </a:cubicBezTo>
                  <a:cubicBezTo>
                    <a:pt x="333" y="290"/>
                    <a:pt x="333" y="290"/>
                    <a:pt x="333" y="290"/>
                  </a:cubicBezTo>
                  <a:cubicBezTo>
                    <a:pt x="333" y="290"/>
                    <a:pt x="333" y="290"/>
                    <a:pt x="333" y="290"/>
                  </a:cubicBezTo>
                  <a:cubicBezTo>
                    <a:pt x="344" y="293"/>
                    <a:pt x="344" y="293"/>
                    <a:pt x="344" y="293"/>
                  </a:cubicBezTo>
                  <a:cubicBezTo>
                    <a:pt x="348" y="294"/>
                    <a:pt x="351" y="295"/>
                    <a:pt x="354" y="295"/>
                  </a:cubicBezTo>
                  <a:cubicBezTo>
                    <a:pt x="358" y="296"/>
                    <a:pt x="361" y="297"/>
                    <a:pt x="364" y="298"/>
                  </a:cubicBezTo>
                  <a:cubicBezTo>
                    <a:pt x="367" y="299"/>
                    <a:pt x="369" y="301"/>
                    <a:pt x="372" y="301"/>
                  </a:cubicBezTo>
                  <a:cubicBezTo>
                    <a:pt x="373" y="301"/>
                    <a:pt x="374" y="301"/>
                    <a:pt x="375" y="301"/>
                  </a:cubicBezTo>
                  <a:cubicBezTo>
                    <a:pt x="376" y="301"/>
                    <a:pt x="377" y="301"/>
                    <a:pt x="378" y="301"/>
                  </a:cubicBezTo>
                  <a:cubicBezTo>
                    <a:pt x="379" y="301"/>
                    <a:pt x="379" y="301"/>
                    <a:pt x="380" y="301"/>
                  </a:cubicBezTo>
                  <a:cubicBezTo>
                    <a:pt x="380" y="301"/>
                    <a:pt x="380" y="301"/>
                    <a:pt x="380" y="301"/>
                  </a:cubicBezTo>
                  <a:cubicBezTo>
                    <a:pt x="382" y="300"/>
                    <a:pt x="384" y="300"/>
                    <a:pt x="386" y="300"/>
                  </a:cubicBezTo>
                  <a:cubicBezTo>
                    <a:pt x="390" y="300"/>
                    <a:pt x="391" y="301"/>
                    <a:pt x="392" y="302"/>
                  </a:cubicBezTo>
                  <a:cubicBezTo>
                    <a:pt x="392" y="303"/>
                    <a:pt x="392" y="303"/>
                    <a:pt x="392" y="303"/>
                  </a:cubicBezTo>
                  <a:cubicBezTo>
                    <a:pt x="392" y="303"/>
                    <a:pt x="392" y="303"/>
                    <a:pt x="392" y="303"/>
                  </a:cubicBezTo>
                  <a:cubicBezTo>
                    <a:pt x="393" y="305"/>
                    <a:pt x="393" y="305"/>
                    <a:pt x="393" y="305"/>
                  </a:cubicBezTo>
                  <a:cubicBezTo>
                    <a:pt x="393" y="305"/>
                    <a:pt x="393" y="305"/>
                    <a:pt x="393" y="305"/>
                  </a:cubicBezTo>
                  <a:cubicBezTo>
                    <a:pt x="394" y="306"/>
                    <a:pt x="394" y="306"/>
                    <a:pt x="394" y="306"/>
                  </a:cubicBezTo>
                  <a:cubicBezTo>
                    <a:pt x="394" y="306"/>
                    <a:pt x="394" y="306"/>
                    <a:pt x="394" y="306"/>
                  </a:cubicBezTo>
                  <a:cubicBezTo>
                    <a:pt x="396" y="306"/>
                    <a:pt x="396" y="306"/>
                    <a:pt x="396" y="306"/>
                  </a:cubicBezTo>
                  <a:cubicBezTo>
                    <a:pt x="397" y="306"/>
                    <a:pt x="400" y="307"/>
                    <a:pt x="401" y="307"/>
                  </a:cubicBezTo>
                  <a:cubicBezTo>
                    <a:pt x="401" y="307"/>
                    <a:pt x="401" y="307"/>
                    <a:pt x="401" y="307"/>
                  </a:cubicBezTo>
                  <a:cubicBezTo>
                    <a:pt x="402" y="307"/>
                    <a:pt x="402" y="307"/>
                    <a:pt x="402" y="307"/>
                  </a:cubicBezTo>
                  <a:cubicBezTo>
                    <a:pt x="404" y="305"/>
                    <a:pt x="406" y="304"/>
                    <a:pt x="408" y="303"/>
                  </a:cubicBezTo>
                  <a:cubicBezTo>
                    <a:pt x="411" y="301"/>
                    <a:pt x="415" y="299"/>
                    <a:pt x="419" y="297"/>
                  </a:cubicBezTo>
                  <a:cubicBezTo>
                    <a:pt x="421" y="297"/>
                    <a:pt x="423" y="296"/>
                    <a:pt x="425" y="295"/>
                  </a:cubicBezTo>
                  <a:cubicBezTo>
                    <a:pt x="428" y="294"/>
                    <a:pt x="428" y="294"/>
                    <a:pt x="428" y="294"/>
                  </a:cubicBezTo>
                  <a:cubicBezTo>
                    <a:pt x="431" y="292"/>
                    <a:pt x="435" y="291"/>
                    <a:pt x="439" y="289"/>
                  </a:cubicBezTo>
                  <a:cubicBezTo>
                    <a:pt x="438" y="285"/>
                    <a:pt x="438" y="285"/>
                    <a:pt x="438" y="285"/>
                  </a:cubicBezTo>
                  <a:cubicBezTo>
                    <a:pt x="441" y="289"/>
                    <a:pt x="441" y="289"/>
                    <a:pt x="441" y="289"/>
                  </a:cubicBezTo>
                  <a:cubicBezTo>
                    <a:pt x="442" y="288"/>
                    <a:pt x="442" y="288"/>
                    <a:pt x="442" y="288"/>
                  </a:cubicBezTo>
                  <a:cubicBezTo>
                    <a:pt x="442" y="288"/>
                    <a:pt x="443" y="288"/>
                    <a:pt x="443" y="288"/>
                  </a:cubicBezTo>
                  <a:cubicBezTo>
                    <a:pt x="449" y="286"/>
                    <a:pt x="454" y="286"/>
                    <a:pt x="460" y="285"/>
                  </a:cubicBezTo>
                  <a:cubicBezTo>
                    <a:pt x="462" y="285"/>
                    <a:pt x="465" y="285"/>
                    <a:pt x="467" y="285"/>
                  </a:cubicBezTo>
                  <a:cubicBezTo>
                    <a:pt x="472" y="284"/>
                    <a:pt x="472" y="284"/>
                    <a:pt x="472" y="284"/>
                  </a:cubicBezTo>
                  <a:cubicBezTo>
                    <a:pt x="476" y="283"/>
                    <a:pt x="480" y="283"/>
                    <a:pt x="483" y="283"/>
                  </a:cubicBezTo>
                  <a:cubicBezTo>
                    <a:pt x="488" y="283"/>
                    <a:pt x="488" y="283"/>
                    <a:pt x="488" y="283"/>
                  </a:cubicBezTo>
                  <a:cubicBezTo>
                    <a:pt x="489" y="283"/>
                    <a:pt x="490" y="283"/>
                    <a:pt x="491" y="283"/>
                  </a:cubicBezTo>
                  <a:cubicBezTo>
                    <a:pt x="492" y="283"/>
                    <a:pt x="492" y="283"/>
                    <a:pt x="492" y="283"/>
                  </a:cubicBezTo>
                  <a:cubicBezTo>
                    <a:pt x="493" y="283"/>
                    <a:pt x="495" y="283"/>
                    <a:pt x="496" y="283"/>
                  </a:cubicBezTo>
                  <a:cubicBezTo>
                    <a:pt x="497" y="283"/>
                    <a:pt x="499" y="284"/>
                    <a:pt x="500" y="284"/>
                  </a:cubicBezTo>
                  <a:cubicBezTo>
                    <a:pt x="503" y="284"/>
                    <a:pt x="506" y="283"/>
                    <a:pt x="508" y="282"/>
                  </a:cubicBezTo>
                  <a:cubicBezTo>
                    <a:pt x="510" y="281"/>
                    <a:pt x="512" y="281"/>
                    <a:pt x="515" y="280"/>
                  </a:cubicBezTo>
                  <a:cubicBezTo>
                    <a:pt x="518" y="279"/>
                    <a:pt x="518" y="279"/>
                    <a:pt x="518" y="279"/>
                  </a:cubicBezTo>
                  <a:cubicBezTo>
                    <a:pt x="521" y="277"/>
                    <a:pt x="521" y="277"/>
                    <a:pt x="521" y="277"/>
                  </a:cubicBezTo>
                  <a:cubicBezTo>
                    <a:pt x="523" y="276"/>
                    <a:pt x="525" y="275"/>
                    <a:pt x="527" y="274"/>
                  </a:cubicBezTo>
                  <a:cubicBezTo>
                    <a:pt x="529" y="274"/>
                    <a:pt x="530" y="273"/>
                    <a:pt x="531" y="271"/>
                  </a:cubicBezTo>
                  <a:cubicBezTo>
                    <a:pt x="532" y="270"/>
                    <a:pt x="533" y="269"/>
                    <a:pt x="534" y="268"/>
                  </a:cubicBezTo>
                  <a:cubicBezTo>
                    <a:pt x="534" y="268"/>
                    <a:pt x="534" y="268"/>
                    <a:pt x="534" y="268"/>
                  </a:cubicBezTo>
                  <a:cubicBezTo>
                    <a:pt x="536" y="265"/>
                    <a:pt x="539" y="261"/>
                    <a:pt x="542" y="259"/>
                  </a:cubicBezTo>
                  <a:cubicBezTo>
                    <a:pt x="544" y="257"/>
                    <a:pt x="548" y="256"/>
                    <a:pt x="551" y="254"/>
                  </a:cubicBezTo>
                  <a:cubicBezTo>
                    <a:pt x="552" y="254"/>
                    <a:pt x="552" y="254"/>
                    <a:pt x="552" y="254"/>
                  </a:cubicBezTo>
                  <a:cubicBezTo>
                    <a:pt x="556" y="252"/>
                    <a:pt x="559" y="250"/>
                    <a:pt x="562" y="248"/>
                  </a:cubicBezTo>
                  <a:cubicBezTo>
                    <a:pt x="563" y="248"/>
                    <a:pt x="563" y="247"/>
                    <a:pt x="563" y="247"/>
                  </a:cubicBezTo>
                  <a:cubicBezTo>
                    <a:pt x="563" y="247"/>
                    <a:pt x="563" y="247"/>
                    <a:pt x="563" y="247"/>
                  </a:cubicBezTo>
                  <a:cubicBezTo>
                    <a:pt x="563" y="247"/>
                    <a:pt x="563" y="247"/>
                    <a:pt x="563" y="247"/>
                  </a:cubicBezTo>
                  <a:cubicBezTo>
                    <a:pt x="562" y="245"/>
                    <a:pt x="561" y="245"/>
                    <a:pt x="560" y="244"/>
                  </a:cubicBezTo>
                  <a:cubicBezTo>
                    <a:pt x="559" y="244"/>
                    <a:pt x="559" y="243"/>
                    <a:pt x="558" y="243"/>
                  </a:cubicBezTo>
                  <a:cubicBezTo>
                    <a:pt x="557" y="242"/>
                    <a:pt x="556" y="240"/>
                    <a:pt x="555" y="239"/>
                  </a:cubicBezTo>
                  <a:cubicBezTo>
                    <a:pt x="554" y="237"/>
                    <a:pt x="552" y="235"/>
                    <a:pt x="552" y="232"/>
                  </a:cubicBezTo>
                  <a:cubicBezTo>
                    <a:pt x="551" y="229"/>
                    <a:pt x="551" y="228"/>
                    <a:pt x="552" y="227"/>
                  </a:cubicBezTo>
                  <a:cubicBezTo>
                    <a:pt x="553" y="225"/>
                    <a:pt x="553" y="225"/>
                    <a:pt x="553" y="225"/>
                  </a:cubicBezTo>
                  <a:cubicBezTo>
                    <a:pt x="554" y="223"/>
                    <a:pt x="555" y="220"/>
                    <a:pt x="556" y="217"/>
                  </a:cubicBezTo>
                  <a:cubicBezTo>
                    <a:pt x="557" y="215"/>
                    <a:pt x="559" y="213"/>
                    <a:pt x="562" y="211"/>
                  </a:cubicBezTo>
                  <a:cubicBezTo>
                    <a:pt x="563" y="210"/>
                    <a:pt x="564" y="209"/>
                    <a:pt x="565" y="208"/>
                  </a:cubicBezTo>
                  <a:cubicBezTo>
                    <a:pt x="566" y="207"/>
                    <a:pt x="568" y="207"/>
                    <a:pt x="569" y="207"/>
                  </a:cubicBezTo>
                  <a:cubicBezTo>
                    <a:pt x="570" y="207"/>
                    <a:pt x="572" y="207"/>
                    <a:pt x="573" y="208"/>
                  </a:cubicBezTo>
                  <a:cubicBezTo>
                    <a:pt x="575" y="208"/>
                    <a:pt x="578" y="208"/>
                    <a:pt x="580" y="209"/>
                  </a:cubicBezTo>
                  <a:cubicBezTo>
                    <a:pt x="584" y="210"/>
                    <a:pt x="588" y="212"/>
                    <a:pt x="591" y="214"/>
                  </a:cubicBezTo>
                  <a:cubicBezTo>
                    <a:pt x="593" y="214"/>
                    <a:pt x="594" y="215"/>
                    <a:pt x="595" y="215"/>
                  </a:cubicBezTo>
                  <a:cubicBezTo>
                    <a:pt x="596" y="216"/>
                    <a:pt x="598" y="216"/>
                    <a:pt x="599" y="216"/>
                  </a:cubicBezTo>
                  <a:cubicBezTo>
                    <a:pt x="600" y="216"/>
                    <a:pt x="600" y="216"/>
                    <a:pt x="601" y="217"/>
                  </a:cubicBezTo>
                  <a:cubicBezTo>
                    <a:pt x="602" y="217"/>
                    <a:pt x="602" y="217"/>
                    <a:pt x="602" y="217"/>
                  </a:cubicBezTo>
                  <a:cubicBezTo>
                    <a:pt x="602" y="217"/>
                    <a:pt x="603" y="217"/>
                    <a:pt x="603" y="217"/>
                  </a:cubicBezTo>
                  <a:cubicBezTo>
                    <a:pt x="605" y="217"/>
                    <a:pt x="607" y="216"/>
                    <a:pt x="608" y="215"/>
                  </a:cubicBezTo>
                  <a:cubicBezTo>
                    <a:pt x="609" y="215"/>
                    <a:pt x="609" y="215"/>
                    <a:pt x="609" y="215"/>
                  </a:cubicBezTo>
                  <a:cubicBezTo>
                    <a:pt x="610" y="214"/>
                    <a:pt x="611" y="213"/>
                    <a:pt x="611" y="213"/>
                  </a:cubicBezTo>
                  <a:cubicBezTo>
                    <a:pt x="616" y="210"/>
                    <a:pt x="620" y="207"/>
                    <a:pt x="623" y="203"/>
                  </a:cubicBezTo>
                  <a:cubicBezTo>
                    <a:pt x="621" y="200"/>
                    <a:pt x="621" y="200"/>
                    <a:pt x="621" y="200"/>
                  </a:cubicBezTo>
                  <a:cubicBezTo>
                    <a:pt x="624" y="202"/>
                    <a:pt x="624" y="202"/>
                    <a:pt x="624" y="202"/>
                  </a:cubicBezTo>
                  <a:cubicBezTo>
                    <a:pt x="625" y="202"/>
                    <a:pt x="625" y="202"/>
                    <a:pt x="625" y="202"/>
                  </a:cubicBezTo>
                  <a:cubicBezTo>
                    <a:pt x="625" y="202"/>
                    <a:pt x="625" y="202"/>
                    <a:pt x="625" y="202"/>
                  </a:cubicBezTo>
                  <a:cubicBezTo>
                    <a:pt x="625" y="202"/>
                    <a:pt x="625" y="202"/>
                    <a:pt x="625" y="202"/>
                  </a:cubicBezTo>
                  <a:cubicBezTo>
                    <a:pt x="626" y="201"/>
                    <a:pt x="626" y="201"/>
                    <a:pt x="626" y="201"/>
                  </a:cubicBezTo>
                  <a:cubicBezTo>
                    <a:pt x="626" y="200"/>
                    <a:pt x="627" y="200"/>
                    <a:pt x="628" y="199"/>
                  </a:cubicBezTo>
                  <a:cubicBezTo>
                    <a:pt x="628" y="198"/>
                    <a:pt x="628" y="198"/>
                    <a:pt x="628" y="198"/>
                  </a:cubicBezTo>
                  <a:cubicBezTo>
                    <a:pt x="630" y="197"/>
                    <a:pt x="631" y="197"/>
                    <a:pt x="634" y="197"/>
                  </a:cubicBezTo>
                  <a:cubicBezTo>
                    <a:pt x="634" y="197"/>
                    <a:pt x="635" y="197"/>
                    <a:pt x="636" y="197"/>
                  </a:cubicBezTo>
                  <a:cubicBezTo>
                    <a:pt x="637" y="197"/>
                    <a:pt x="637" y="197"/>
                    <a:pt x="637" y="197"/>
                  </a:cubicBezTo>
                  <a:cubicBezTo>
                    <a:pt x="637" y="197"/>
                    <a:pt x="637" y="197"/>
                    <a:pt x="637" y="197"/>
                  </a:cubicBezTo>
                  <a:cubicBezTo>
                    <a:pt x="652" y="197"/>
                    <a:pt x="652" y="197"/>
                    <a:pt x="652" y="197"/>
                  </a:cubicBezTo>
                  <a:cubicBezTo>
                    <a:pt x="653" y="197"/>
                    <a:pt x="653" y="197"/>
                    <a:pt x="654" y="196"/>
                  </a:cubicBezTo>
                  <a:cubicBezTo>
                    <a:pt x="654" y="196"/>
                    <a:pt x="654" y="196"/>
                    <a:pt x="655" y="195"/>
                  </a:cubicBezTo>
                  <a:cubicBezTo>
                    <a:pt x="656" y="195"/>
                    <a:pt x="656" y="194"/>
                    <a:pt x="657" y="194"/>
                  </a:cubicBezTo>
                  <a:cubicBezTo>
                    <a:pt x="658" y="193"/>
                    <a:pt x="659" y="193"/>
                    <a:pt x="660" y="192"/>
                  </a:cubicBezTo>
                  <a:cubicBezTo>
                    <a:pt x="660" y="192"/>
                    <a:pt x="660" y="192"/>
                    <a:pt x="661" y="192"/>
                  </a:cubicBezTo>
                  <a:cubicBezTo>
                    <a:pt x="662" y="191"/>
                    <a:pt x="662" y="191"/>
                    <a:pt x="662" y="191"/>
                  </a:cubicBezTo>
                  <a:cubicBezTo>
                    <a:pt x="662" y="191"/>
                    <a:pt x="663" y="190"/>
                    <a:pt x="664" y="190"/>
                  </a:cubicBezTo>
                  <a:cubicBezTo>
                    <a:pt x="664" y="189"/>
                    <a:pt x="664" y="189"/>
                    <a:pt x="664" y="189"/>
                  </a:cubicBezTo>
                  <a:cubicBezTo>
                    <a:pt x="664" y="189"/>
                    <a:pt x="664" y="188"/>
                    <a:pt x="664" y="187"/>
                  </a:cubicBezTo>
                  <a:cubicBezTo>
                    <a:pt x="664" y="187"/>
                    <a:pt x="664" y="187"/>
                    <a:pt x="664" y="186"/>
                  </a:cubicBezTo>
                  <a:cubicBezTo>
                    <a:pt x="664" y="181"/>
                    <a:pt x="671" y="175"/>
                    <a:pt x="672" y="174"/>
                  </a:cubicBezTo>
                  <a:cubicBezTo>
                    <a:pt x="675" y="170"/>
                    <a:pt x="681" y="169"/>
                    <a:pt x="685" y="169"/>
                  </a:cubicBezTo>
                  <a:cubicBezTo>
                    <a:pt x="687" y="169"/>
                    <a:pt x="689" y="170"/>
                    <a:pt x="691" y="170"/>
                  </a:cubicBezTo>
                  <a:cubicBezTo>
                    <a:pt x="693" y="170"/>
                    <a:pt x="693" y="170"/>
                    <a:pt x="693" y="170"/>
                  </a:cubicBezTo>
                  <a:cubicBezTo>
                    <a:pt x="693" y="170"/>
                    <a:pt x="694" y="170"/>
                    <a:pt x="694" y="170"/>
                  </a:cubicBezTo>
                  <a:cubicBezTo>
                    <a:pt x="702" y="167"/>
                    <a:pt x="710" y="164"/>
                    <a:pt x="718" y="161"/>
                  </a:cubicBezTo>
                  <a:cubicBezTo>
                    <a:pt x="720" y="160"/>
                    <a:pt x="723" y="160"/>
                    <a:pt x="726" y="160"/>
                  </a:cubicBezTo>
                  <a:cubicBezTo>
                    <a:pt x="728" y="160"/>
                    <a:pt x="730" y="160"/>
                    <a:pt x="733" y="160"/>
                  </a:cubicBezTo>
                  <a:cubicBezTo>
                    <a:pt x="733" y="160"/>
                    <a:pt x="733" y="160"/>
                    <a:pt x="733" y="160"/>
                  </a:cubicBezTo>
                  <a:cubicBezTo>
                    <a:pt x="735" y="160"/>
                    <a:pt x="737" y="161"/>
                    <a:pt x="738" y="161"/>
                  </a:cubicBezTo>
                  <a:cubicBezTo>
                    <a:pt x="750" y="161"/>
                    <a:pt x="750" y="161"/>
                    <a:pt x="750" y="161"/>
                  </a:cubicBezTo>
                  <a:cubicBezTo>
                    <a:pt x="750" y="158"/>
                    <a:pt x="750" y="155"/>
                    <a:pt x="747" y="152"/>
                  </a:cubicBezTo>
                  <a:cubicBezTo>
                    <a:pt x="747" y="151"/>
                    <a:pt x="746" y="150"/>
                    <a:pt x="745" y="149"/>
                  </a:cubicBezTo>
                  <a:cubicBezTo>
                    <a:pt x="744" y="149"/>
                    <a:pt x="744" y="149"/>
                    <a:pt x="744" y="149"/>
                  </a:cubicBezTo>
                  <a:cubicBezTo>
                    <a:pt x="743" y="148"/>
                    <a:pt x="741" y="147"/>
                    <a:pt x="740" y="145"/>
                  </a:cubicBezTo>
                  <a:cubicBezTo>
                    <a:pt x="739" y="144"/>
                    <a:pt x="738" y="143"/>
                    <a:pt x="737" y="142"/>
                  </a:cubicBezTo>
                  <a:cubicBezTo>
                    <a:pt x="736" y="141"/>
                    <a:pt x="735" y="141"/>
                    <a:pt x="734" y="139"/>
                  </a:cubicBezTo>
                  <a:cubicBezTo>
                    <a:pt x="733" y="138"/>
                    <a:pt x="732" y="137"/>
                    <a:pt x="732" y="137"/>
                  </a:cubicBezTo>
                  <a:cubicBezTo>
                    <a:pt x="731" y="136"/>
                    <a:pt x="730" y="135"/>
                    <a:pt x="728" y="135"/>
                  </a:cubicBezTo>
                  <a:cubicBezTo>
                    <a:pt x="727" y="134"/>
                    <a:pt x="725" y="133"/>
                    <a:pt x="723" y="131"/>
                  </a:cubicBezTo>
                  <a:cubicBezTo>
                    <a:pt x="723" y="131"/>
                    <a:pt x="722" y="130"/>
                    <a:pt x="722" y="130"/>
                  </a:cubicBezTo>
                  <a:cubicBezTo>
                    <a:pt x="722" y="129"/>
                    <a:pt x="722" y="129"/>
                    <a:pt x="722" y="129"/>
                  </a:cubicBezTo>
                  <a:cubicBezTo>
                    <a:pt x="721" y="129"/>
                    <a:pt x="721" y="129"/>
                    <a:pt x="721" y="128"/>
                  </a:cubicBezTo>
                  <a:cubicBezTo>
                    <a:pt x="721" y="128"/>
                    <a:pt x="721" y="128"/>
                    <a:pt x="721" y="128"/>
                  </a:cubicBezTo>
                  <a:cubicBezTo>
                    <a:pt x="720" y="128"/>
                    <a:pt x="720" y="128"/>
                    <a:pt x="720" y="128"/>
                  </a:cubicBezTo>
                  <a:cubicBezTo>
                    <a:pt x="720" y="128"/>
                    <a:pt x="719" y="128"/>
                    <a:pt x="719" y="128"/>
                  </a:cubicBezTo>
                  <a:cubicBezTo>
                    <a:pt x="717" y="128"/>
                    <a:pt x="715" y="128"/>
                    <a:pt x="713" y="128"/>
                  </a:cubicBezTo>
                  <a:cubicBezTo>
                    <a:pt x="712" y="129"/>
                    <a:pt x="710" y="129"/>
                    <a:pt x="709" y="129"/>
                  </a:cubicBezTo>
                  <a:cubicBezTo>
                    <a:pt x="707" y="129"/>
                    <a:pt x="706" y="129"/>
                    <a:pt x="705" y="129"/>
                  </a:cubicBezTo>
                  <a:cubicBezTo>
                    <a:pt x="702" y="130"/>
                    <a:pt x="701" y="131"/>
                    <a:pt x="699" y="133"/>
                  </a:cubicBezTo>
                  <a:cubicBezTo>
                    <a:pt x="699" y="134"/>
                    <a:pt x="699" y="134"/>
                    <a:pt x="699" y="134"/>
                  </a:cubicBezTo>
                  <a:cubicBezTo>
                    <a:pt x="697" y="135"/>
                    <a:pt x="696" y="137"/>
                    <a:pt x="695" y="137"/>
                  </a:cubicBezTo>
                  <a:cubicBezTo>
                    <a:pt x="694" y="137"/>
                    <a:pt x="694" y="137"/>
                    <a:pt x="694" y="137"/>
                  </a:cubicBezTo>
                  <a:cubicBezTo>
                    <a:pt x="694" y="137"/>
                    <a:pt x="694" y="137"/>
                    <a:pt x="694" y="137"/>
                  </a:cubicBezTo>
                  <a:cubicBezTo>
                    <a:pt x="691" y="137"/>
                    <a:pt x="689" y="135"/>
                    <a:pt x="685" y="133"/>
                  </a:cubicBezTo>
                  <a:cubicBezTo>
                    <a:pt x="685" y="133"/>
                    <a:pt x="684" y="132"/>
                    <a:pt x="684" y="132"/>
                  </a:cubicBezTo>
                  <a:cubicBezTo>
                    <a:pt x="683" y="132"/>
                    <a:pt x="683" y="131"/>
                    <a:pt x="682" y="131"/>
                  </a:cubicBezTo>
                  <a:cubicBezTo>
                    <a:pt x="681" y="131"/>
                    <a:pt x="681" y="131"/>
                    <a:pt x="681" y="131"/>
                  </a:cubicBezTo>
                  <a:cubicBezTo>
                    <a:pt x="671" y="133"/>
                    <a:pt x="671" y="133"/>
                    <a:pt x="671" y="133"/>
                  </a:cubicBezTo>
                  <a:cubicBezTo>
                    <a:pt x="669" y="133"/>
                    <a:pt x="666" y="133"/>
                    <a:pt x="664" y="134"/>
                  </a:cubicBezTo>
                  <a:cubicBezTo>
                    <a:pt x="664" y="134"/>
                    <a:pt x="664" y="134"/>
                    <a:pt x="664" y="134"/>
                  </a:cubicBezTo>
                  <a:cubicBezTo>
                    <a:pt x="664" y="135"/>
                    <a:pt x="663" y="136"/>
                    <a:pt x="661" y="136"/>
                  </a:cubicBezTo>
                  <a:cubicBezTo>
                    <a:pt x="661" y="136"/>
                    <a:pt x="661" y="136"/>
                    <a:pt x="661" y="136"/>
                  </a:cubicBezTo>
                  <a:cubicBezTo>
                    <a:pt x="658" y="136"/>
                    <a:pt x="656" y="134"/>
                    <a:pt x="653" y="132"/>
                  </a:cubicBezTo>
                  <a:cubicBezTo>
                    <a:pt x="651" y="130"/>
                    <a:pt x="650" y="129"/>
                    <a:pt x="649" y="127"/>
                  </a:cubicBezTo>
                  <a:cubicBezTo>
                    <a:pt x="649" y="127"/>
                    <a:pt x="649" y="126"/>
                    <a:pt x="649" y="126"/>
                  </a:cubicBezTo>
                  <a:cubicBezTo>
                    <a:pt x="649" y="125"/>
                    <a:pt x="649" y="125"/>
                    <a:pt x="649" y="125"/>
                  </a:cubicBezTo>
                  <a:cubicBezTo>
                    <a:pt x="649" y="125"/>
                    <a:pt x="649" y="125"/>
                    <a:pt x="649" y="125"/>
                  </a:cubicBezTo>
                  <a:cubicBezTo>
                    <a:pt x="648" y="124"/>
                    <a:pt x="648" y="123"/>
                    <a:pt x="648" y="122"/>
                  </a:cubicBezTo>
                  <a:cubicBezTo>
                    <a:pt x="647" y="118"/>
                    <a:pt x="651" y="116"/>
                    <a:pt x="653" y="116"/>
                  </a:cubicBezTo>
                  <a:cubicBezTo>
                    <a:pt x="653" y="115"/>
                    <a:pt x="654" y="115"/>
                    <a:pt x="654" y="115"/>
                  </a:cubicBezTo>
                  <a:cubicBezTo>
                    <a:pt x="654" y="115"/>
                    <a:pt x="654" y="114"/>
                    <a:pt x="654" y="113"/>
                  </a:cubicBezTo>
                  <a:cubicBezTo>
                    <a:pt x="654" y="112"/>
                    <a:pt x="654" y="110"/>
                    <a:pt x="654" y="108"/>
                  </a:cubicBezTo>
                  <a:cubicBezTo>
                    <a:pt x="663" y="91"/>
                    <a:pt x="663" y="91"/>
                    <a:pt x="663" y="91"/>
                  </a:cubicBezTo>
                  <a:cubicBezTo>
                    <a:pt x="665" y="87"/>
                    <a:pt x="667" y="83"/>
                    <a:pt x="669" y="80"/>
                  </a:cubicBezTo>
                  <a:cubicBezTo>
                    <a:pt x="674" y="70"/>
                    <a:pt x="674" y="70"/>
                    <a:pt x="674" y="70"/>
                  </a:cubicBezTo>
                  <a:cubicBezTo>
                    <a:pt x="673" y="69"/>
                    <a:pt x="673" y="69"/>
                    <a:pt x="673" y="69"/>
                  </a:cubicBezTo>
                  <a:cubicBezTo>
                    <a:pt x="673" y="69"/>
                    <a:pt x="673" y="69"/>
                    <a:pt x="673" y="69"/>
                  </a:cubicBezTo>
                  <a:cubicBezTo>
                    <a:pt x="668" y="66"/>
                    <a:pt x="667" y="66"/>
                    <a:pt x="667" y="65"/>
                  </a:cubicBezTo>
                  <a:cubicBezTo>
                    <a:pt x="667" y="66"/>
                    <a:pt x="667" y="66"/>
                    <a:pt x="667" y="66"/>
                  </a:cubicBezTo>
                  <a:cubicBezTo>
                    <a:pt x="652" y="69"/>
                    <a:pt x="652" y="69"/>
                    <a:pt x="652" y="69"/>
                  </a:cubicBezTo>
                  <a:cubicBezTo>
                    <a:pt x="652" y="69"/>
                    <a:pt x="651" y="69"/>
                    <a:pt x="651" y="69"/>
                  </a:cubicBezTo>
                  <a:cubicBezTo>
                    <a:pt x="651" y="69"/>
                    <a:pt x="650" y="69"/>
                    <a:pt x="650" y="69"/>
                  </a:cubicBezTo>
                  <a:cubicBezTo>
                    <a:pt x="650" y="69"/>
                    <a:pt x="650" y="69"/>
                    <a:pt x="650" y="69"/>
                  </a:cubicBezTo>
                  <a:cubicBezTo>
                    <a:pt x="649" y="69"/>
                    <a:pt x="649" y="69"/>
                    <a:pt x="649" y="69"/>
                  </a:cubicBezTo>
                  <a:cubicBezTo>
                    <a:pt x="648" y="69"/>
                    <a:pt x="648" y="68"/>
                    <a:pt x="647" y="68"/>
                  </a:cubicBezTo>
                  <a:cubicBezTo>
                    <a:pt x="633" y="59"/>
                    <a:pt x="633" y="59"/>
                    <a:pt x="633" y="59"/>
                  </a:cubicBezTo>
                  <a:cubicBezTo>
                    <a:pt x="631" y="59"/>
                    <a:pt x="631" y="59"/>
                    <a:pt x="631" y="59"/>
                  </a:cubicBezTo>
                  <a:cubicBezTo>
                    <a:pt x="629" y="59"/>
                    <a:pt x="628" y="59"/>
                    <a:pt x="627" y="59"/>
                  </a:cubicBezTo>
                  <a:cubicBezTo>
                    <a:pt x="625" y="59"/>
                    <a:pt x="624" y="59"/>
                    <a:pt x="623" y="59"/>
                  </a:cubicBezTo>
                  <a:cubicBezTo>
                    <a:pt x="621" y="59"/>
                    <a:pt x="620" y="59"/>
                    <a:pt x="618" y="59"/>
                  </a:cubicBezTo>
                  <a:cubicBezTo>
                    <a:pt x="618" y="59"/>
                    <a:pt x="618" y="59"/>
                    <a:pt x="618" y="59"/>
                  </a:cubicBezTo>
                  <a:cubicBezTo>
                    <a:pt x="617" y="59"/>
                    <a:pt x="614" y="61"/>
                    <a:pt x="612" y="62"/>
                  </a:cubicBezTo>
                  <a:cubicBezTo>
                    <a:pt x="612" y="62"/>
                    <a:pt x="612" y="62"/>
                    <a:pt x="612" y="62"/>
                  </a:cubicBezTo>
                  <a:cubicBezTo>
                    <a:pt x="611" y="63"/>
                    <a:pt x="610" y="63"/>
                    <a:pt x="609" y="64"/>
                  </a:cubicBezTo>
                  <a:cubicBezTo>
                    <a:pt x="606" y="65"/>
                    <a:pt x="606" y="65"/>
                    <a:pt x="606" y="65"/>
                  </a:cubicBezTo>
                  <a:cubicBezTo>
                    <a:pt x="601" y="69"/>
                    <a:pt x="601" y="69"/>
                    <a:pt x="601" y="69"/>
                  </a:cubicBezTo>
                  <a:cubicBezTo>
                    <a:pt x="590" y="80"/>
                    <a:pt x="590" y="80"/>
                    <a:pt x="590" y="80"/>
                  </a:cubicBezTo>
                  <a:cubicBezTo>
                    <a:pt x="589" y="80"/>
                    <a:pt x="588" y="80"/>
                    <a:pt x="587" y="81"/>
                  </a:cubicBezTo>
                  <a:cubicBezTo>
                    <a:pt x="571" y="84"/>
                    <a:pt x="571" y="84"/>
                    <a:pt x="571" y="84"/>
                  </a:cubicBezTo>
                  <a:cubicBezTo>
                    <a:pt x="543" y="91"/>
                    <a:pt x="543" y="91"/>
                    <a:pt x="543" y="91"/>
                  </a:cubicBezTo>
                  <a:cubicBezTo>
                    <a:pt x="541" y="92"/>
                    <a:pt x="540" y="92"/>
                    <a:pt x="539" y="92"/>
                  </a:cubicBezTo>
                  <a:cubicBezTo>
                    <a:pt x="526" y="90"/>
                    <a:pt x="526" y="90"/>
                    <a:pt x="526" y="90"/>
                  </a:cubicBezTo>
                  <a:cubicBezTo>
                    <a:pt x="505" y="87"/>
                    <a:pt x="505" y="87"/>
                    <a:pt x="505" y="87"/>
                  </a:cubicBezTo>
                  <a:cubicBezTo>
                    <a:pt x="505" y="87"/>
                    <a:pt x="504" y="87"/>
                    <a:pt x="504" y="87"/>
                  </a:cubicBezTo>
                  <a:cubicBezTo>
                    <a:pt x="501" y="86"/>
                    <a:pt x="501" y="86"/>
                    <a:pt x="501" y="86"/>
                  </a:cubicBezTo>
                  <a:cubicBezTo>
                    <a:pt x="486" y="86"/>
                    <a:pt x="486" y="86"/>
                    <a:pt x="486" y="86"/>
                  </a:cubicBezTo>
                  <a:cubicBezTo>
                    <a:pt x="486" y="86"/>
                    <a:pt x="486" y="86"/>
                    <a:pt x="486" y="86"/>
                  </a:cubicBezTo>
                  <a:cubicBezTo>
                    <a:pt x="486" y="85"/>
                    <a:pt x="486" y="85"/>
                    <a:pt x="486" y="85"/>
                  </a:cubicBezTo>
                  <a:cubicBezTo>
                    <a:pt x="486" y="86"/>
                    <a:pt x="486" y="86"/>
                    <a:pt x="486" y="86"/>
                  </a:cubicBezTo>
                  <a:cubicBezTo>
                    <a:pt x="485" y="86"/>
                    <a:pt x="484" y="86"/>
                    <a:pt x="484" y="86"/>
                  </a:cubicBezTo>
                  <a:cubicBezTo>
                    <a:pt x="473" y="78"/>
                    <a:pt x="473" y="78"/>
                    <a:pt x="473" y="78"/>
                  </a:cubicBezTo>
                  <a:cubicBezTo>
                    <a:pt x="472" y="78"/>
                    <a:pt x="472" y="77"/>
                    <a:pt x="472" y="77"/>
                  </a:cubicBezTo>
                  <a:cubicBezTo>
                    <a:pt x="471" y="76"/>
                    <a:pt x="471" y="76"/>
                    <a:pt x="471" y="76"/>
                  </a:cubicBezTo>
                  <a:cubicBezTo>
                    <a:pt x="470" y="68"/>
                    <a:pt x="470" y="68"/>
                    <a:pt x="470" y="68"/>
                  </a:cubicBezTo>
                  <a:cubicBezTo>
                    <a:pt x="469" y="67"/>
                    <a:pt x="469" y="67"/>
                    <a:pt x="469" y="67"/>
                  </a:cubicBezTo>
                  <a:cubicBezTo>
                    <a:pt x="469" y="67"/>
                    <a:pt x="468" y="67"/>
                    <a:pt x="467" y="67"/>
                  </a:cubicBezTo>
                  <a:cubicBezTo>
                    <a:pt x="466" y="67"/>
                    <a:pt x="464" y="67"/>
                    <a:pt x="463" y="67"/>
                  </a:cubicBezTo>
                  <a:cubicBezTo>
                    <a:pt x="461" y="67"/>
                    <a:pt x="461" y="67"/>
                    <a:pt x="461" y="67"/>
                  </a:cubicBezTo>
                  <a:cubicBezTo>
                    <a:pt x="456" y="66"/>
                    <a:pt x="453" y="63"/>
                    <a:pt x="450" y="61"/>
                  </a:cubicBezTo>
                  <a:cubicBezTo>
                    <a:pt x="448" y="59"/>
                    <a:pt x="446" y="57"/>
                    <a:pt x="444" y="57"/>
                  </a:cubicBezTo>
                  <a:cubicBezTo>
                    <a:pt x="443" y="56"/>
                    <a:pt x="442" y="56"/>
                    <a:pt x="442" y="56"/>
                  </a:cubicBezTo>
                  <a:cubicBezTo>
                    <a:pt x="441" y="56"/>
                    <a:pt x="440" y="56"/>
                    <a:pt x="440" y="56"/>
                  </a:cubicBezTo>
                  <a:cubicBezTo>
                    <a:pt x="439" y="56"/>
                    <a:pt x="439" y="56"/>
                    <a:pt x="439" y="56"/>
                  </a:cubicBezTo>
                  <a:cubicBezTo>
                    <a:pt x="437" y="56"/>
                    <a:pt x="437" y="56"/>
                    <a:pt x="437" y="56"/>
                  </a:cubicBezTo>
                  <a:cubicBezTo>
                    <a:pt x="430" y="56"/>
                    <a:pt x="430" y="56"/>
                    <a:pt x="430" y="56"/>
                  </a:cubicBezTo>
                  <a:cubicBezTo>
                    <a:pt x="428" y="56"/>
                    <a:pt x="427" y="55"/>
                    <a:pt x="427" y="55"/>
                  </a:cubicBezTo>
                  <a:cubicBezTo>
                    <a:pt x="426" y="54"/>
                    <a:pt x="426" y="54"/>
                    <a:pt x="426" y="54"/>
                  </a:cubicBezTo>
                  <a:cubicBezTo>
                    <a:pt x="424" y="53"/>
                    <a:pt x="420" y="53"/>
                    <a:pt x="418" y="53"/>
                  </a:cubicBezTo>
                  <a:cubicBezTo>
                    <a:pt x="416" y="52"/>
                    <a:pt x="414" y="52"/>
                    <a:pt x="412" y="52"/>
                  </a:cubicBezTo>
                  <a:cubicBezTo>
                    <a:pt x="411" y="52"/>
                    <a:pt x="411" y="52"/>
                    <a:pt x="411" y="52"/>
                  </a:cubicBezTo>
                  <a:cubicBezTo>
                    <a:pt x="408" y="52"/>
                    <a:pt x="405" y="53"/>
                    <a:pt x="402" y="53"/>
                  </a:cubicBezTo>
                  <a:cubicBezTo>
                    <a:pt x="401" y="54"/>
                    <a:pt x="401" y="54"/>
                    <a:pt x="401" y="54"/>
                  </a:cubicBezTo>
                  <a:cubicBezTo>
                    <a:pt x="398" y="54"/>
                    <a:pt x="394" y="55"/>
                    <a:pt x="391" y="56"/>
                  </a:cubicBezTo>
                  <a:cubicBezTo>
                    <a:pt x="391" y="57"/>
                    <a:pt x="390" y="57"/>
                    <a:pt x="389" y="57"/>
                  </a:cubicBezTo>
                  <a:cubicBezTo>
                    <a:pt x="389" y="58"/>
                    <a:pt x="389" y="58"/>
                    <a:pt x="389" y="58"/>
                  </a:cubicBezTo>
                  <a:cubicBezTo>
                    <a:pt x="388" y="58"/>
                    <a:pt x="388" y="58"/>
                    <a:pt x="387" y="59"/>
                  </a:cubicBezTo>
                  <a:cubicBezTo>
                    <a:pt x="386" y="59"/>
                    <a:pt x="386" y="59"/>
                    <a:pt x="386" y="59"/>
                  </a:cubicBezTo>
                  <a:cubicBezTo>
                    <a:pt x="384" y="60"/>
                    <a:pt x="382" y="61"/>
                    <a:pt x="379" y="61"/>
                  </a:cubicBezTo>
                  <a:cubicBezTo>
                    <a:pt x="378" y="61"/>
                    <a:pt x="377" y="61"/>
                    <a:pt x="376" y="61"/>
                  </a:cubicBezTo>
                  <a:cubicBezTo>
                    <a:pt x="350" y="54"/>
                    <a:pt x="350" y="54"/>
                    <a:pt x="350" y="54"/>
                  </a:cubicBezTo>
                  <a:cubicBezTo>
                    <a:pt x="347" y="54"/>
                    <a:pt x="344" y="52"/>
                    <a:pt x="342" y="51"/>
                  </a:cubicBezTo>
                  <a:cubicBezTo>
                    <a:pt x="340" y="50"/>
                    <a:pt x="339" y="49"/>
                    <a:pt x="339" y="48"/>
                  </a:cubicBezTo>
                  <a:cubicBezTo>
                    <a:pt x="338" y="47"/>
                    <a:pt x="338" y="47"/>
                    <a:pt x="338" y="47"/>
                  </a:cubicBezTo>
                  <a:cubicBezTo>
                    <a:pt x="337" y="45"/>
                    <a:pt x="336" y="44"/>
                    <a:pt x="336" y="43"/>
                  </a:cubicBezTo>
                  <a:cubicBezTo>
                    <a:pt x="336" y="42"/>
                    <a:pt x="335" y="41"/>
                    <a:pt x="335" y="39"/>
                  </a:cubicBezTo>
                  <a:cubicBezTo>
                    <a:pt x="335" y="38"/>
                    <a:pt x="335" y="38"/>
                    <a:pt x="335" y="38"/>
                  </a:cubicBezTo>
                  <a:cubicBezTo>
                    <a:pt x="334" y="36"/>
                    <a:pt x="334" y="36"/>
                    <a:pt x="334" y="36"/>
                  </a:cubicBezTo>
                  <a:cubicBezTo>
                    <a:pt x="334" y="35"/>
                    <a:pt x="334" y="34"/>
                    <a:pt x="334" y="34"/>
                  </a:cubicBezTo>
                  <a:cubicBezTo>
                    <a:pt x="334" y="33"/>
                    <a:pt x="334" y="31"/>
                    <a:pt x="334" y="30"/>
                  </a:cubicBezTo>
                  <a:cubicBezTo>
                    <a:pt x="333" y="29"/>
                    <a:pt x="333" y="28"/>
                    <a:pt x="333" y="26"/>
                  </a:cubicBezTo>
                  <a:cubicBezTo>
                    <a:pt x="333" y="26"/>
                    <a:pt x="333" y="25"/>
                    <a:pt x="333" y="24"/>
                  </a:cubicBezTo>
                  <a:cubicBezTo>
                    <a:pt x="332" y="24"/>
                    <a:pt x="331" y="23"/>
                    <a:pt x="330" y="23"/>
                  </a:cubicBezTo>
                  <a:cubicBezTo>
                    <a:pt x="329" y="23"/>
                    <a:pt x="329" y="23"/>
                    <a:pt x="329" y="23"/>
                  </a:cubicBezTo>
                  <a:cubicBezTo>
                    <a:pt x="326" y="22"/>
                    <a:pt x="324" y="22"/>
                    <a:pt x="322" y="21"/>
                  </a:cubicBezTo>
                  <a:cubicBezTo>
                    <a:pt x="316" y="19"/>
                    <a:pt x="316" y="19"/>
                    <a:pt x="316" y="19"/>
                  </a:cubicBezTo>
                  <a:cubicBezTo>
                    <a:pt x="313" y="19"/>
                    <a:pt x="310" y="18"/>
                    <a:pt x="308" y="16"/>
                  </a:cubicBezTo>
                  <a:cubicBezTo>
                    <a:pt x="305" y="15"/>
                    <a:pt x="302" y="14"/>
                    <a:pt x="299" y="13"/>
                  </a:cubicBezTo>
                  <a:cubicBezTo>
                    <a:pt x="299" y="13"/>
                    <a:pt x="298" y="13"/>
                    <a:pt x="297" y="13"/>
                  </a:cubicBezTo>
                  <a:cubicBezTo>
                    <a:pt x="297" y="13"/>
                    <a:pt x="297" y="13"/>
                    <a:pt x="297" y="13"/>
                  </a:cubicBezTo>
                  <a:cubicBezTo>
                    <a:pt x="296" y="13"/>
                    <a:pt x="296" y="13"/>
                    <a:pt x="296" y="13"/>
                  </a:cubicBezTo>
                  <a:cubicBezTo>
                    <a:pt x="295" y="13"/>
                    <a:pt x="295" y="13"/>
                    <a:pt x="295" y="13"/>
                  </a:cubicBezTo>
                  <a:cubicBezTo>
                    <a:pt x="295" y="13"/>
                    <a:pt x="295" y="13"/>
                    <a:pt x="295" y="13"/>
                  </a:cubicBezTo>
                  <a:cubicBezTo>
                    <a:pt x="287" y="12"/>
                    <a:pt x="282" y="11"/>
                    <a:pt x="275" y="8"/>
                  </a:cubicBezTo>
                  <a:cubicBezTo>
                    <a:pt x="262" y="1"/>
                    <a:pt x="262" y="1"/>
                    <a:pt x="262" y="1"/>
                  </a:cubicBezTo>
                  <a:cubicBezTo>
                    <a:pt x="262" y="1"/>
                    <a:pt x="262" y="1"/>
                    <a:pt x="262" y="1"/>
                  </a:cubicBezTo>
                  <a:cubicBezTo>
                    <a:pt x="260" y="0"/>
                    <a:pt x="260" y="0"/>
                    <a:pt x="26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1563"/>
            <p:cNvSpPr/>
            <p:nvPr/>
          </p:nvSpPr>
          <p:spPr bwMode="auto">
            <a:xfrm>
              <a:off x="4676697" y="1495364"/>
              <a:ext cx="463106" cy="460422"/>
            </a:xfrm>
            <a:custGeom>
              <a:gdLst>
                <a:gd name="T0" fmla="*/ 133 w 146"/>
                <a:gd name="T1" fmla="*/ 0 h 145"/>
                <a:gd name="T2" fmla="*/ 131 w 146"/>
                <a:gd name="T3" fmla="*/ 7 h 145"/>
                <a:gd name="T4" fmla="*/ 128 w 146"/>
                <a:gd name="T5" fmla="*/ 13 h 145"/>
                <a:gd name="T6" fmla="*/ 118 w 146"/>
                <a:gd name="T7" fmla="*/ 18 h 145"/>
                <a:gd name="T8" fmla="*/ 112 w 146"/>
                <a:gd name="T9" fmla="*/ 26 h 145"/>
                <a:gd name="T10" fmla="*/ 100 w 146"/>
                <a:gd name="T11" fmla="*/ 27 h 145"/>
                <a:gd name="T12" fmla="*/ 94 w 146"/>
                <a:gd name="T13" fmla="*/ 33 h 145"/>
                <a:gd name="T14" fmla="*/ 96 w 146"/>
                <a:gd name="T15" fmla="*/ 40 h 145"/>
                <a:gd name="T16" fmla="*/ 89 w 146"/>
                <a:gd name="T17" fmla="*/ 46 h 145"/>
                <a:gd name="T18" fmla="*/ 82 w 146"/>
                <a:gd name="T19" fmla="*/ 45 h 145"/>
                <a:gd name="T20" fmla="*/ 68 w 146"/>
                <a:gd name="T21" fmla="*/ 43 h 145"/>
                <a:gd name="T22" fmla="*/ 63 w 146"/>
                <a:gd name="T23" fmla="*/ 38 h 145"/>
                <a:gd name="T24" fmla="*/ 60 w 146"/>
                <a:gd name="T25" fmla="*/ 35 h 145"/>
                <a:gd name="T26" fmla="*/ 59 w 146"/>
                <a:gd name="T27" fmla="*/ 36 h 145"/>
                <a:gd name="T28" fmla="*/ 57 w 146"/>
                <a:gd name="T29" fmla="*/ 38 h 145"/>
                <a:gd name="T30" fmla="*/ 45 w 146"/>
                <a:gd name="T31" fmla="*/ 55 h 145"/>
                <a:gd name="T32" fmla="*/ 40 w 146"/>
                <a:gd name="T33" fmla="*/ 60 h 145"/>
                <a:gd name="T34" fmla="*/ 32 w 146"/>
                <a:gd name="T35" fmla="*/ 62 h 145"/>
                <a:gd name="T36" fmla="*/ 26 w 146"/>
                <a:gd name="T37" fmla="*/ 67 h 145"/>
                <a:gd name="T38" fmla="*/ 3 w 146"/>
                <a:gd name="T39" fmla="*/ 82 h 145"/>
                <a:gd name="T40" fmla="*/ 1 w 146"/>
                <a:gd name="T41" fmla="*/ 83 h 145"/>
                <a:gd name="T42" fmla="*/ 0 w 146"/>
                <a:gd name="T43" fmla="*/ 84 h 145"/>
                <a:gd name="T44" fmla="*/ 10 w 146"/>
                <a:gd name="T45" fmla="*/ 88 h 145"/>
                <a:gd name="T46" fmla="*/ 23 w 146"/>
                <a:gd name="T47" fmla="*/ 94 h 145"/>
                <a:gd name="T48" fmla="*/ 23 w 146"/>
                <a:gd name="T49" fmla="*/ 105 h 145"/>
                <a:gd name="T50" fmla="*/ 31 w 146"/>
                <a:gd name="T51" fmla="*/ 120 h 145"/>
                <a:gd name="T52" fmla="*/ 26 w 146"/>
                <a:gd name="T53" fmla="*/ 118 h 145"/>
                <a:gd name="T54" fmla="*/ 19 w 146"/>
                <a:gd name="T55" fmla="*/ 120 h 145"/>
                <a:gd name="T56" fmla="*/ 15 w 146"/>
                <a:gd name="T57" fmla="*/ 131 h 145"/>
                <a:gd name="T58" fmla="*/ 8 w 146"/>
                <a:gd name="T59" fmla="*/ 133 h 145"/>
                <a:gd name="T60" fmla="*/ 18 w 146"/>
                <a:gd name="T61" fmla="*/ 138 h 145"/>
                <a:gd name="T62" fmla="*/ 22 w 146"/>
                <a:gd name="T63" fmla="*/ 141 h 145"/>
                <a:gd name="T64" fmla="*/ 22 w 146"/>
                <a:gd name="T65" fmla="*/ 142 h 145"/>
                <a:gd name="T66" fmla="*/ 26 w 146"/>
                <a:gd name="T67" fmla="*/ 140 h 145"/>
                <a:gd name="T68" fmla="*/ 25 w 146"/>
                <a:gd name="T69" fmla="*/ 143 h 145"/>
                <a:gd name="T70" fmla="*/ 24 w 146"/>
                <a:gd name="T71" fmla="*/ 145 h 145"/>
                <a:gd name="T72" fmla="*/ 33 w 146"/>
                <a:gd name="T73" fmla="*/ 138 h 145"/>
                <a:gd name="T74" fmla="*/ 40 w 146"/>
                <a:gd name="T75" fmla="*/ 142 h 145"/>
                <a:gd name="T76" fmla="*/ 46 w 146"/>
                <a:gd name="T77" fmla="*/ 142 h 145"/>
                <a:gd name="T78" fmla="*/ 53 w 146"/>
                <a:gd name="T79" fmla="*/ 141 h 145"/>
                <a:gd name="T80" fmla="*/ 54 w 146"/>
                <a:gd name="T81" fmla="*/ 139 h 145"/>
                <a:gd name="T82" fmla="*/ 58 w 146"/>
                <a:gd name="T83" fmla="*/ 133 h 145"/>
                <a:gd name="T84" fmla="*/ 63 w 146"/>
                <a:gd name="T85" fmla="*/ 128 h 145"/>
                <a:gd name="T86" fmla="*/ 72 w 146"/>
                <a:gd name="T87" fmla="*/ 127 h 145"/>
                <a:gd name="T88" fmla="*/ 87 w 146"/>
                <a:gd name="T89" fmla="*/ 125 h 145"/>
                <a:gd name="T90" fmla="*/ 89 w 146"/>
                <a:gd name="T91" fmla="*/ 123 h 145"/>
                <a:gd name="T92" fmla="*/ 92 w 146"/>
                <a:gd name="T93" fmla="*/ 119 h 145"/>
                <a:gd name="T94" fmla="*/ 93 w 146"/>
                <a:gd name="T95" fmla="*/ 118 h 145"/>
                <a:gd name="T96" fmla="*/ 88 w 146"/>
                <a:gd name="T97" fmla="*/ 112 h 145"/>
                <a:gd name="T98" fmla="*/ 74 w 146"/>
                <a:gd name="T99" fmla="*/ 104 h 145"/>
                <a:gd name="T100" fmla="*/ 76 w 146"/>
                <a:gd name="T101" fmla="*/ 101 h 145"/>
                <a:gd name="T102" fmla="*/ 77 w 146"/>
                <a:gd name="T103" fmla="*/ 93 h 145"/>
                <a:gd name="T104" fmla="*/ 94 w 146"/>
                <a:gd name="T105" fmla="*/ 81 h 145"/>
                <a:gd name="T106" fmla="*/ 128 w 146"/>
                <a:gd name="T107" fmla="*/ 56 h 145"/>
                <a:gd name="T108" fmla="*/ 127 w 146"/>
                <a:gd name="T109" fmla="*/ 49 h 145"/>
                <a:gd name="T110" fmla="*/ 128 w 146"/>
                <a:gd name="T111" fmla="*/ 43 h 145"/>
                <a:gd name="T112" fmla="*/ 144 w 146"/>
                <a:gd name="T113" fmla="*/ 17 h 145"/>
                <a:gd name="T114" fmla="*/ 146 w 146"/>
                <a:gd name="T115" fmla="*/ 17 h 145"/>
                <a:gd name="T116" fmla="*/ 144 w 146"/>
                <a:gd name="T117" fmla="*/ 14 h 145"/>
                <a:gd name="T118" fmla="*/ 136 w 146"/>
                <a:gd name="T119" fmla="*/ 7 h 145"/>
                <a:gd name="T120" fmla="*/ 137 w 146"/>
                <a:gd name="T121" fmla="*/ 4 h 145"/>
                <a:gd name="T122" fmla="*/ 134 w 146"/>
                <a:gd name="T123" fmla="*/ 0 h 1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 h="145">
                  <a:moveTo>
                    <a:pt x="133" y="0"/>
                  </a:moveTo>
                  <a:cubicBezTo>
                    <a:pt x="133" y="0"/>
                    <a:pt x="133" y="0"/>
                    <a:pt x="133" y="0"/>
                  </a:cubicBezTo>
                  <a:cubicBezTo>
                    <a:pt x="132" y="1"/>
                    <a:pt x="132" y="3"/>
                    <a:pt x="131" y="6"/>
                  </a:cubicBezTo>
                  <a:cubicBezTo>
                    <a:pt x="131" y="7"/>
                    <a:pt x="131" y="7"/>
                    <a:pt x="131" y="7"/>
                  </a:cubicBezTo>
                  <a:cubicBezTo>
                    <a:pt x="131" y="9"/>
                    <a:pt x="131" y="10"/>
                    <a:pt x="130" y="11"/>
                  </a:cubicBezTo>
                  <a:cubicBezTo>
                    <a:pt x="129" y="12"/>
                    <a:pt x="129" y="12"/>
                    <a:pt x="128" y="13"/>
                  </a:cubicBezTo>
                  <a:cubicBezTo>
                    <a:pt x="127" y="14"/>
                    <a:pt x="125" y="14"/>
                    <a:pt x="122" y="15"/>
                  </a:cubicBezTo>
                  <a:cubicBezTo>
                    <a:pt x="120" y="16"/>
                    <a:pt x="119" y="17"/>
                    <a:pt x="118" y="18"/>
                  </a:cubicBezTo>
                  <a:cubicBezTo>
                    <a:pt x="118" y="18"/>
                    <a:pt x="118" y="18"/>
                    <a:pt x="118" y="18"/>
                  </a:cubicBezTo>
                  <a:cubicBezTo>
                    <a:pt x="118" y="21"/>
                    <a:pt x="113" y="25"/>
                    <a:pt x="112" y="26"/>
                  </a:cubicBezTo>
                  <a:cubicBezTo>
                    <a:pt x="109" y="27"/>
                    <a:pt x="106" y="27"/>
                    <a:pt x="103" y="27"/>
                  </a:cubicBezTo>
                  <a:cubicBezTo>
                    <a:pt x="102" y="27"/>
                    <a:pt x="101" y="27"/>
                    <a:pt x="100" y="27"/>
                  </a:cubicBezTo>
                  <a:cubicBezTo>
                    <a:pt x="91" y="29"/>
                    <a:pt x="91" y="29"/>
                    <a:pt x="91" y="29"/>
                  </a:cubicBezTo>
                  <a:cubicBezTo>
                    <a:pt x="92" y="30"/>
                    <a:pt x="93" y="31"/>
                    <a:pt x="94" y="33"/>
                  </a:cubicBezTo>
                  <a:cubicBezTo>
                    <a:pt x="94" y="33"/>
                    <a:pt x="94" y="33"/>
                    <a:pt x="94" y="33"/>
                  </a:cubicBezTo>
                  <a:cubicBezTo>
                    <a:pt x="95" y="34"/>
                    <a:pt x="97" y="36"/>
                    <a:pt x="96" y="40"/>
                  </a:cubicBezTo>
                  <a:cubicBezTo>
                    <a:pt x="96" y="42"/>
                    <a:pt x="95" y="43"/>
                    <a:pt x="93" y="44"/>
                  </a:cubicBezTo>
                  <a:cubicBezTo>
                    <a:pt x="92" y="46"/>
                    <a:pt x="90" y="46"/>
                    <a:pt x="89" y="46"/>
                  </a:cubicBezTo>
                  <a:cubicBezTo>
                    <a:pt x="88" y="46"/>
                    <a:pt x="88" y="46"/>
                    <a:pt x="88" y="46"/>
                  </a:cubicBezTo>
                  <a:cubicBezTo>
                    <a:pt x="86" y="46"/>
                    <a:pt x="84" y="46"/>
                    <a:pt x="82" y="45"/>
                  </a:cubicBezTo>
                  <a:cubicBezTo>
                    <a:pt x="80" y="45"/>
                    <a:pt x="80" y="45"/>
                    <a:pt x="80" y="45"/>
                  </a:cubicBezTo>
                  <a:cubicBezTo>
                    <a:pt x="76" y="45"/>
                    <a:pt x="71" y="45"/>
                    <a:pt x="68" y="43"/>
                  </a:cubicBezTo>
                  <a:cubicBezTo>
                    <a:pt x="67" y="42"/>
                    <a:pt x="67" y="42"/>
                    <a:pt x="67" y="42"/>
                  </a:cubicBezTo>
                  <a:cubicBezTo>
                    <a:pt x="65" y="41"/>
                    <a:pt x="64" y="39"/>
                    <a:pt x="63" y="38"/>
                  </a:cubicBezTo>
                  <a:cubicBezTo>
                    <a:pt x="62" y="37"/>
                    <a:pt x="61" y="36"/>
                    <a:pt x="61" y="35"/>
                  </a:cubicBezTo>
                  <a:cubicBezTo>
                    <a:pt x="60" y="35"/>
                    <a:pt x="60" y="35"/>
                    <a:pt x="60" y="35"/>
                  </a:cubicBezTo>
                  <a:cubicBezTo>
                    <a:pt x="60" y="35"/>
                    <a:pt x="60" y="35"/>
                    <a:pt x="60" y="35"/>
                  </a:cubicBezTo>
                  <a:cubicBezTo>
                    <a:pt x="59" y="36"/>
                    <a:pt x="59" y="36"/>
                    <a:pt x="59" y="36"/>
                  </a:cubicBezTo>
                  <a:cubicBezTo>
                    <a:pt x="59" y="36"/>
                    <a:pt x="59" y="36"/>
                    <a:pt x="59" y="36"/>
                  </a:cubicBezTo>
                  <a:cubicBezTo>
                    <a:pt x="58" y="36"/>
                    <a:pt x="57" y="37"/>
                    <a:pt x="57" y="38"/>
                  </a:cubicBezTo>
                  <a:cubicBezTo>
                    <a:pt x="54" y="44"/>
                    <a:pt x="50" y="50"/>
                    <a:pt x="46" y="54"/>
                  </a:cubicBezTo>
                  <a:cubicBezTo>
                    <a:pt x="45" y="54"/>
                    <a:pt x="45" y="55"/>
                    <a:pt x="45" y="55"/>
                  </a:cubicBezTo>
                  <a:cubicBezTo>
                    <a:pt x="43" y="57"/>
                    <a:pt x="42" y="59"/>
                    <a:pt x="40" y="60"/>
                  </a:cubicBezTo>
                  <a:cubicBezTo>
                    <a:pt x="40" y="60"/>
                    <a:pt x="40" y="60"/>
                    <a:pt x="40" y="60"/>
                  </a:cubicBezTo>
                  <a:cubicBezTo>
                    <a:pt x="38" y="60"/>
                    <a:pt x="37" y="60"/>
                    <a:pt x="36" y="61"/>
                  </a:cubicBezTo>
                  <a:cubicBezTo>
                    <a:pt x="34" y="61"/>
                    <a:pt x="33" y="61"/>
                    <a:pt x="32" y="62"/>
                  </a:cubicBezTo>
                  <a:cubicBezTo>
                    <a:pt x="31" y="63"/>
                    <a:pt x="31" y="63"/>
                    <a:pt x="31" y="63"/>
                  </a:cubicBezTo>
                  <a:cubicBezTo>
                    <a:pt x="30" y="64"/>
                    <a:pt x="28" y="66"/>
                    <a:pt x="26" y="67"/>
                  </a:cubicBezTo>
                  <a:cubicBezTo>
                    <a:pt x="19" y="71"/>
                    <a:pt x="12" y="76"/>
                    <a:pt x="5" y="80"/>
                  </a:cubicBezTo>
                  <a:cubicBezTo>
                    <a:pt x="4" y="81"/>
                    <a:pt x="4" y="82"/>
                    <a:pt x="3" y="82"/>
                  </a:cubicBezTo>
                  <a:cubicBezTo>
                    <a:pt x="3" y="83"/>
                    <a:pt x="3" y="83"/>
                    <a:pt x="3" y="83"/>
                  </a:cubicBezTo>
                  <a:cubicBezTo>
                    <a:pt x="1" y="83"/>
                    <a:pt x="1" y="83"/>
                    <a:pt x="1" y="83"/>
                  </a:cubicBezTo>
                  <a:cubicBezTo>
                    <a:pt x="1" y="83"/>
                    <a:pt x="1" y="83"/>
                    <a:pt x="1" y="83"/>
                  </a:cubicBezTo>
                  <a:cubicBezTo>
                    <a:pt x="1" y="84"/>
                    <a:pt x="0" y="84"/>
                    <a:pt x="0" y="84"/>
                  </a:cubicBezTo>
                  <a:cubicBezTo>
                    <a:pt x="1" y="88"/>
                    <a:pt x="9" y="88"/>
                    <a:pt x="7" y="93"/>
                  </a:cubicBezTo>
                  <a:cubicBezTo>
                    <a:pt x="9" y="92"/>
                    <a:pt x="11" y="90"/>
                    <a:pt x="10" y="88"/>
                  </a:cubicBezTo>
                  <a:cubicBezTo>
                    <a:pt x="12" y="89"/>
                    <a:pt x="15" y="91"/>
                    <a:pt x="17" y="93"/>
                  </a:cubicBezTo>
                  <a:cubicBezTo>
                    <a:pt x="19" y="93"/>
                    <a:pt x="21" y="94"/>
                    <a:pt x="23" y="94"/>
                  </a:cubicBezTo>
                  <a:cubicBezTo>
                    <a:pt x="24" y="94"/>
                    <a:pt x="25" y="94"/>
                    <a:pt x="27" y="94"/>
                  </a:cubicBezTo>
                  <a:cubicBezTo>
                    <a:pt x="25" y="97"/>
                    <a:pt x="24" y="101"/>
                    <a:pt x="23" y="105"/>
                  </a:cubicBezTo>
                  <a:cubicBezTo>
                    <a:pt x="22" y="107"/>
                    <a:pt x="20" y="110"/>
                    <a:pt x="20" y="112"/>
                  </a:cubicBezTo>
                  <a:cubicBezTo>
                    <a:pt x="20" y="118"/>
                    <a:pt x="29" y="116"/>
                    <a:pt x="31" y="120"/>
                  </a:cubicBezTo>
                  <a:cubicBezTo>
                    <a:pt x="29" y="119"/>
                    <a:pt x="28" y="118"/>
                    <a:pt x="26" y="118"/>
                  </a:cubicBezTo>
                  <a:cubicBezTo>
                    <a:pt x="26" y="118"/>
                    <a:pt x="26" y="118"/>
                    <a:pt x="26" y="118"/>
                  </a:cubicBezTo>
                  <a:cubicBezTo>
                    <a:pt x="24" y="118"/>
                    <a:pt x="22" y="118"/>
                    <a:pt x="21" y="119"/>
                  </a:cubicBezTo>
                  <a:cubicBezTo>
                    <a:pt x="19" y="119"/>
                    <a:pt x="20" y="118"/>
                    <a:pt x="19" y="120"/>
                  </a:cubicBezTo>
                  <a:cubicBezTo>
                    <a:pt x="17" y="121"/>
                    <a:pt x="16" y="125"/>
                    <a:pt x="15" y="127"/>
                  </a:cubicBezTo>
                  <a:cubicBezTo>
                    <a:pt x="14" y="128"/>
                    <a:pt x="13" y="131"/>
                    <a:pt x="15" y="131"/>
                  </a:cubicBezTo>
                  <a:cubicBezTo>
                    <a:pt x="15" y="131"/>
                    <a:pt x="15" y="131"/>
                    <a:pt x="16" y="131"/>
                  </a:cubicBezTo>
                  <a:cubicBezTo>
                    <a:pt x="13" y="132"/>
                    <a:pt x="11" y="132"/>
                    <a:pt x="8" y="133"/>
                  </a:cubicBezTo>
                  <a:cubicBezTo>
                    <a:pt x="12" y="135"/>
                    <a:pt x="16" y="136"/>
                    <a:pt x="19" y="138"/>
                  </a:cubicBezTo>
                  <a:cubicBezTo>
                    <a:pt x="19" y="138"/>
                    <a:pt x="18" y="138"/>
                    <a:pt x="18" y="138"/>
                  </a:cubicBezTo>
                  <a:cubicBezTo>
                    <a:pt x="16" y="138"/>
                    <a:pt x="16" y="138"/>
                    <a:pt x="16" y="139"/>
                  </a:cubicBezTo>
                  <a:cubicBezTo>
                    <a:pt x="17" y="140"/>
                    <a:pt x="21" y="141"/>
                    <a:pt x="22" y="141"/>
                  </a:cubicBezTo>
                  <a:cubicBezTo>
                    <a:pt x="22" y="142"/>
                    <a:pt x="22" y="142"/>
                    <a:pt x="22" y="142"/>
                  </a:cubicBezTo>
                  <a:cubicBezTo>
                    <a:pt x="22" y="142"/>
                    <a:pt x="22" y="142"/>
                    <a:pt x="22" y="142"/>
                  </a:cubicBezTo>
                  <a:cubicBezTo>
                    <a:pt x="23" y="142"/>
                    <a:pt x="24" y="141"/>
                    <a:pt x="24" y="141"/>
                  </a:cubicBezTo>
                  <a:cubicBezTo>
                    <a:pt x="25" y="141"/>
                    <a:pt x="26" y="140"/>
                    <a:pt x="26" y="140"/>
                  </a:cubicBezTo>
                  <a:cubicBezTo>
                    <a:pt x="27" y="140"/>
                    <a:pt x="28" y="140"/>
                    <a:pt x="28" y="141"/>
                  </a:cubicBezTo>
                  <a:cubicBezTo>
                    <a:pt x="28" y="142"/>
                    <a:pt x="26" y="142"/>
                    <a:pt x="25" y="143"/>
                  </a:cubicBezTo>
                  <a:cubicBezTo>
                    <a:pt x="26" y="143"/>
                    <a:pt x="26" y="143"/>
                    <a:pt x="26" y="143"/>
                  </a:cubicBezTo>
                  <a:cubicBezTo>
                    <a:pt x="25" y="143"/>
                    <a:pt x="24" y="144"/>
                    <a:pt x="24" y="145"/>
                  </a:cubicBezTo>
                  <a:cubicBezTo>
                    <a:pt x="27" y="144"/>
                    <a:pt x="29" y="143"/>
                    <a:pt x="31" y="141"/>
                  </a:cubicBezTo>
                  <a:cubicBezTo>
                    <a:pt x="32" y="140"/>
                    <a:pt x="30" y="139"/>
                    <a:pt x="33" y="138"/>
                  </a:cubicBezTo>
                  <a:cubicBezTo>
                    <a:pt x="32" y="138"/>
                    <a:pt x="30" y="138"/>
                    <a:pt x="30" y="136"/>
                  </a:cubicBezTo>
                  <a:cubicBezTo>
                    <a:pt x="33" y="138"/>
                    <a:pt x="36" y="140"/>
                    <a:pt x="40" y="142"/>
                  </a:cubicBezTo>
                  <a:cubicBezTo>
                    <a:pt x="41" y="143"/>
                    <a:pt x="42" y="143"/>
                    <a:pt x="43" y="143"/>
                  </a:cubicBezTo>
                  <a:cubicBezTo>
                    <a:pt x="43" y="143"/>
                    <a:pt x="44" y="143"/>
                    <a:pt x="46" y="142"/>
                  </a:cubicBezTo>
                  <a:cubicBezTo>
                    <a:pt x="48" y="141"/>
                    <a:pt x="49" y="140"/>
                    <a:pt x="50" y="140"/>
                  </a:cubicBezTo>
                  <a:cubicBezTo>
                    <a:pt x="51" y="140"/>
                    <a:pt x="52" y="140"/>
                    <a:pt x="53" y="141"/>
                  </a:cubicBezTo>
                  <a:cubicBezTo>
                    <a:pt x="53" y="141"/>
                    <a:pt x="53" y="141"/>
                    <a:pt x="53" y="141"/>
                  </a:cubicBezTo>
                  <a:cubicBezTo>
                    <a:pt x="54" y="139"/>
                    <a:pt x="54" y="139"/>
                    <a:pt x="54" y="139"/>
                  </a:cubicBezTo>
                  <a:cubicBezTo>
                    <a:pt x="54" y="138"/>
                    <a:pt x="56" y="136"/>
                    <a:pt x="57" y="135"/>
                  </a:cubicBezTo>
                  <a:cubicBezTo>
                    <a:pt x="58" y="134"/>
                    <a:pt x="58" y="133"/>
                    <a:pt x="58" y="133"/>
                  </a:cubicBezTo>
                  <a:cubicBezTo>
                    <a:pt x="59" y="132"/>
                    <a:pt x="59" y="132"/>
                    <a:pt x="59" y="132"/>
                  </a:cubicBezTo>
                  <a:cubicBezTo>
                    <a:pt x="60" y="130"/>
                    <a:pt x="61" y="129"/>
                    <a:pt x="63" y="128"/>
                  </a:cubicBezTo>
                  <a:cubicBezTo>
                    <a:pt x="65" y="127"/>
                    <a:pt x="67" y="127"/>
                    <a:pt x="70" y="127"/>
                  </a:cubicBezTo>
                  <a:cubicBezTo>
                    <a:pt x="70" y="127"/>
                    <a:pt x="71" y="127"/>
                    <a:pt x="72" y="127"/>
                  </a:cubicBezTo>
                  <a:cubicBezTo>
                    <a:pt x="87" y="126"/>
                    <a:pt x="87" y="126"/>
                    <a:pt x="87" y="126"/>
                  </a:cubicBezTo>
                  <a:cubicBezTo>
                    <a:pt x="87" y="125"/>
                    <a:pt x="87" y="125"/>
                    <a:pt x="87" y="125"/>
                  </a:cubicBezTo>
                  <a:cubicBezTo>
                    <a:pt x="88" y="125"/>
                    <a:pt x="88" y="125"/>
                    <a:pt x="88" y="125"/>
                  </a:cubicBezTo>
                  <a:cubicBezTo>
                    <a:pt x="89" y="124"/>
                    <a:pt x="89" y="124"/>
                    <a:pt x="89" y="123"/>
                  </a:cubicBezTo>
                  <a:cubicBezTo>
                    <a:pt x="92" y="120"/>
                    <a:pt x="92" y="120"/>
                    <a:pt x="92" y="120"/>
                  </a:cubicBezTo>
                  <a:cubicBezTo>
                    <a:pt x="92" y="119"/>
                    <a:pt x="92" y="119"/>
                    <a:pt x="92" y="119"/>
                  </a:cubicBezTo>
                  <a:cubicBezTo>
                    <a:pt x="93" y="118"/>
                    <a:pt x="93" y="118"/>
                    <a:pt x="93" y="118"/>
                  </a:cubicBezTo>
                  <a:cubicBezTo>
                    <a:pt x="93" y="118"/>
                    <a:pt x="93" y="118"/>
                    <a:pt x="93" y="118"/>
                  </a:cubicBezTo>
                  <a:cubicBezTo>
                    <a:pt x="93" y="117"/>
                    <a:pt x="93" y="117"/>
                    <a:pt x="93" y="117"/>
                  </a:cubicBezTo>
                  <a:cubicBezTo>
                    <a:pt x="91" y="115"/>
                    <a:pt x="89" y="113"/>
                    <a:pt x="88" y="112"/>
                  </a:cubicBezTo>
                  <a:cubicBezTo>
                    <a:pt x="85" y="110"/>
                    <a:pt x="83" y="108"/>
                    <a:pt x="81" y="106"/>
                  </a:cubicBezTo>
                  <a:cubicBezTo>
                    <a:pt x="80" y="105"/>
                    <a:pt x="76" y="105"/>
                    <a:pt x="74" y="104"/>
                  </a:cubicBezTo>
                  <a:cubicBezTo>
                    <a:pt x="71" y="103"/>
                    <a:pt x="73" y="101"/>
                    <a:pt x="73" y="98"/>
                  </a:cubicBezTo>
                  <a:cubicBezTo>
                    <a:pt x="75" y="99"/>
                    <a:pt x="75" y="100"/>
                    <a:pt x="76" y="101"/>
                  </a:cubicBezTo>
                  <a:cubicBezTo>
                    <a:pt x="76" y="99"/>
                    <a:pt x="75" y="98"/>
                    <a:pt x="76" y="96"/>
                  </a:cubicBezTo>
                  <a:cubicBezTo>
                    <a:pt x="76" y="96"/>
                    <a:pt x="77" y="94"/>
                    <a:pt x="77" y="93"/>
                  </a:cubicBezTo>
                  <a:cubicBezTo>
                    <a:pt x="76" y="91"/>
                    <a:pt x="75" y="92"/>
                    <a:pt x="75" y="90"/>
                  </a:cubicBezTo>
                  <a:cubicBezTo>
                    <a:pt x="75" y="86"/>
                    <a:pt x="90" y="83"/>
                    <a:pt x="94" y="81"/>
                  </a:cubicBezTo>
                  <a:cubicBezTo>
                    <a:pt x="102" y="78"/>
                    <a:pt x="107" y="71"/>
                    <a:pt x="114" y="66"/>
                  </a:cubicBezTo>
                  <a:cubicBezTo>
                    <a:pt x="118" y="64"/>
                    <a:pt x="127" y="60"/>
                    <a:pt x="128" y="56"/>
                  </a:cubicBezTo>
                  <a:cubicBezTo>
                    <a:pt x="128" y="55"/>
                    <a:pt x="127" y="54"/>
                    <a:pt x="127" y="53"/>
                  </a:cubicBezTo>
                  <a:cubicBezTo>
                    <a:pt x="127" y="52"/>
                    <a:pt x="127" y="50"/>
                    <a:pt x="127" y="49"/>
                  </a:cubicBezTo>
                  <a:cubicBezTo>
                    <a:pt x="128" y="47"/>
                    <a:pt x="128" y="46"/>
                    <a:pt x="129" y="45"/>
                  </a:cubicBezTo>
                  <a:cubicBezTo>
                    <a:pt x="129" y="44"/>
                    <a:pt x="128" y="43"/>
                    <a:pt x="128" y="43"/>
                  </a:cubicBezTo>
                  <a:cubicBezTo>
                    <a:pt x="129" y="34"/>
                    <a:pt x="132" y="27"/>
                    <a:pt x="139" y="21"/>
                  </a:cubicBezTo>
                  <a:cubicBezTo>
                    <a:pt x="140" y="20"/>
                    <a:pt x="143" y="17"/>
                    <a:pt x="144" y="17"/>
                  </a:cubicBezTo>
                  <a:cubicBezTo>
                    <a:pt x="144" y="17"/>
                    <a:pt x="145" y="17"/>
                    <a:pt x="145" y="17"/>
                  </a:cubicBezTo>
                  <a:cubicBezTo>
                    <a:pt x="145" y="17"/>
                    <a:pt x="145" y="17"/>
                    <a:pt x="146" y="17"/>
                  </a:cubicBezTo>
                  <a:cubicBezTo>
                    <a:pt x="145" y="16"/>
                    <a:pt x="144" y="15"/>
                    <a:pt x="144" y="14"/>
                  </a:cubicBezTo>
                  <a:cubicBezTo>
                    <a:pt x="144" y="14"/>
                    <a:pt x="144" y="14"/>
                    <a:pt x="144" y="14"/>
                  </a:cubicBezTo>
                  <a:cubicBezTo>
                    <a:pt x="142" y="12"/>
                    <a:pt x="140" y="10"/>
                    <a:pt x="138" y="8"/>
                  </a:cubicBezTo>
                  <a:cubicBezTo>
                    <a:pt x="136" y="7"/>
                    <a:pt x="136" y="7"/>
                    <a:pt x="136" y="7"/>
                  </a:cubicBezTo>
                  <a:cubicBezTo>
                    <a:pt x="137" y="6"/>
                    <a:pt x="137" y="6"/>
                    <a:pt x="137" y="6"/>
                  </a:cubicBezTo>
                  <a:cubicBezTo>
                    <a:pt x="137" y="5"/>
                    <a:pt x="137" y="4"/>
                    <a:pt x="137" y="4"/>
                  </a:cubicBezTo>
                  <a:cubicBezTo>
                    <a:pt x="137" y="3"/>
                    <a:pt x="137" y="2"/>
                    <a:pt x="136" y="2"/>
                  </a:cubicBezTo>
                  <a:cubicBezTo>
                    <a:pt x="136" y="2"/>
                    <a:pt x="135" y="1"/>
                    <a:pt x="134" y="0"/>
                  </a:cubicBezTo>
                  <a:cubicBezTo>
                    <a:pt x="133" y="0"/>
                    <a:pt x="133" y="0"/>
                    <a:pt x="1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1564"/>
            <p:cNvSpPr>
              <a:spLocks noEditPoints="1"/>
            </p:cNvSpPr>
            <p:nvPr/>
          </p:nvSpPr>
          <p:spPr bwMode="auto">
            <a:xfrm>
              <a:off x="4812273" y="1885984"/>
              <a:ext cx="257728" cy="361089"/>
            </a:xfrm>
            <a:custGeom>
              <a:gdLst>
                <a:gd name="T0" fmla="*/ 54 w 81"/>
                <a:gd name="T1" fmla="*/ 98 h 114"/>
                <a:gd name="T2" fmla="*/ 54 w 81"/>
                <a:gd name="T3" fmla="*/ 0 h 114"/>
                <a:gd name="T4" fmla="*/ 52 w 81"/>
                <a:gd name="T5" fmla="*/ 2 h 114"/>
                <a:gd name="T6" fmla="*/ 50 w 81"/>
                <a:gd name="T7" fmla="*/ 5 h 114"/>
                <a:gd name="T8" fmla="*/ 44 w 81"/>
                <a:gd name="T9" fmla="*/ 8 h 114"/>
                <a:gd name="T10" fmla="*/ 27 w 81"/>
                <a:gd name="T11" fmla="*/ 10 h 114"/>
                <a:gd name="T12" fmla="*/ 21 w 81"/>
                <a:gd name="T13" fmla="*/ 12 h 114"/>
                <a:gd name="T14" fmla="*/ 19 w 81"/>
                <a:gd name="T15" fmla="*/ 15 h 114"/>
                <a:gd name="T16" fmla="*/ 16 w 81"/>
                <a:gd name="T17" fmla="*/ 19 h 114"/>
                <a:gd name="T18" fmla="*/ 15 w 81"/>
                <a:gd name="T19" fmla="*/ 20 h 114"/>
                <a:gd name="T20" fmla="*/ 14 w 81"/>
                <a:gd name="T21" fmla="*/ 24 h 114"/>
                <a:gd name="T22" fmla="*/ 10 w 81"/>
                <a:gd name="T23" fmla="*/ 22 h 114"/>
                <a:gd name="T24" fmla="*/ 10 w 81"/>
                <a:gd name="T25" fmla="*/ 21 h 114"/>
                <a:gd name="T26" fmla="*/ 11 w 81"/>
                <a:gd name="T27" fmla="*/ 25 h 114"/>
                <a:gd name="T28" fmla="*/ 17 w 81"/>
                <a:gd name="T29" fmla="*/ 34 h 114"/>
                <a:gd name="T30" fmla="*/ 13 w 81"/>
                <a:gd name="T31" fmla="*/ 37 h 114"/>
                <a:gd name="T32" fmla="*/ 14 w 81"/>
                <a:gd name="T33" fmla="*/ 37 h 114"/>
                <a:gd name="T34" fmla="*/ 17 w 81"/>
                <a:gd name="T35" fmla="*/ 37 h 114"/>
                <a:gd name="T36" fmla="*/ 17 w 81"/>
                <a:gd name="T37" fmla="*/ 40 h 114"/>
                <a:gd name="T38" fmla="*/ 16 w 81"/>
                <a:gd name="T39" fmla="*/ 47 h 114"/>
                <a:gd name="T40" fmla="*/ 15 w 81"/>
                <a:gd name="T41" fmla="*/ 44 h 114"/>
                <a:gd name="T42" fmla="*/ 14 w 81"/>
                <a:gd name="T43" fmla="*/ 43 h 114"/>
                <a:gd name="T44" fmla="*/ 12 w 81"/>
                <a:gd name="T45" fmla="*/ 43 h 114"/>
                <a:gd name="T46" fmla="*/ 9 w 81"/>
                <a:gd name="T47" fmla="*/ 40 h 114"/>
                <a:gd name="T48" fmla="*/ 6 w 81"/>
                <a:gd name="T49" fmla="*/ 41 h 114"/>
                <a:gd name="T50" fmla="*/ 3 w 81"/>
                <a:gd name="T51" fmla="*/ 47 h 114"/>
                <a:gd name="T52" fmla="*/ 1 w 81"/>
                <a:gd name="T53" fmla="*/ 46 h 114"/>
                <a:gd name="T54" fmla="*/ 0 w 81"/>
                <a:gd name="T55" fmla="*/ 47 h 114"/>
                <a:gd name="T56" fmla="*/ 7 w 81"/>
                <a:gd name="T57" fmla="*/ 48 h 114"/>
                <a:gd name="T58" fmla="*/ 8 w 81"/>
                <a:gd name="T59" fmla="*/ 56 h 114"/>
                <a:gd name="T60" fmla="*/ 17 w 81"/>
                <a:gd name="T61" fmla="*/ 66 h 114"/>
                <a:gd name="T62" fmla="*/ 11 w 81"/>
                <a:gd name="T63" fmla="*/ 71 h 114"/>
                <a:gd name="T64" fmla="*/ 12 w 81"/>
                <a:gd name="T65" fmla="*/ 71 h 114"/>
                <a:gd name="T66" fmla="*/ 15 w 81"/>
                <a:gd name="T67" fmla="*/ 74 h 114"/>
                <a:gd name="T68" fmla="*/ 8 w 81"/>
                <a:gd name="T69" fmla="*/ 79 h 114"/>
                <a:gd name="T70" fmla="*/ 4 w 81"/>
                <a:gd name="T71" fmla="*/ 88 h 114"/>
                <a:gd name="T72" fmla="*/ 3 w 81"/>
                <a:gd name="T73" fmla="*/ 92 h 114"/>
                <a:gd name="T74" fmla="*/ 7 w 81"/>
                <a:gd name="T75" fmla="*/ 100 h 114"/>
                <a:gd name="T76" fmla="*/ 9 w 81"/>
                <a:gd name="T77" fmla="*/ 100 h 114"/>
                <a:gd name="T78" fmla="*/ 12 w 81"/>
                <a:gd name="T79" fmla="*/ 100 h 114"/>
                <a:gd name="T80" fmla="*/ 6 w 81"/>
                <a:gd name="T81" fmla="*/ 102 h 114"/>
                <a:gd name="T82" fmla="*/ 11 w 81"/>
                <a:gd name="T83" fmla="*/ 105 h 114"/>
                <a:gd name="T84" fmla="*/ 9 w 81"/>
                <a:gd name="T85" fmla="*/ 105 h 114"/>
                <a:gd name="T86" fmla="*/ 3 w 81"/>
                <a:gd name="T87" fmla="*/ 104 h 114"/>
                <a:gd name="T88" fmla="*/ 5 w 81"/>
                <a:gd name="T89" fmla="*/ 106 h 114"/>
                <a:gd name="T90" fmla="*/ 19 w 81"/>
                <a:gd name="T91" fmla="*/ 104 h 114"/>
                <a:gd name="T92" fmla="*/ 28 w 81"/>
                <a:gd name="T93" fmla="*/ 102 h 114"/>
                <a:gd name="T94" fmla="*/ 29 w 81"/>
                <a:gd name="T95" fmla="*/ 109 h 114"/>
                <a:gd name="T96" fmla="*/ 32 w 81"/>
                <a:gd name="T97" fmla="*/ 105 h 114"/>
                <a:gd name="T98" fmla="*/ 33 w 81"/>
                <a:gd name="T99" fmla="*/ 98 h 114"/>
                <a:gd name="T100" fmla="*/ 38 w 81"/>
                <a:gd name="T101" fmla="*/ 100 h 114"/>
                <a:gd name="T102" fmla="*/ 45 w 81"/>
                <a:gd name="T103" fmla="*/ 93 h 114"/>
                <a:gd name="T104" fmla="*/ 53 w 81"/>
                <a:gd name="T105" fmla="*/ 99 h 114"/>
                <a:gd name="T106" fmla="*/ 54 w 81"/>
                <a:gd name="T107" fmla="*/ 98 h 114"/>
                <a:gd name="T108" fmla="*/ 59 w 81"/>
                <a:gd name="T109" fmla="*/ 93 h 114"/>
                <a:gd name="T110" fmla="*/ 66 w 81"/>
                <a:gd name="T111" fmla="*/ 91 h 114"/>
                <a:gd name="T112" fmla="*/ 68 w 81"/>
                <a:gd name="T113" fmla="*/ 92 h 114"/>
                <a:gd name="T114" fmla="*/ 81 w 81"/>
                <a:gd name="T115" fmla="*/ 66 h 114"/>
                <a:gd name="T116" fmla="*/ 76 w 81"/>
                <a:gd name="T117" fmla="*/ 67 h 114"/>
                <a:gd name="T118" fmla="*/ 73 w 81"/>
                <a:gd name="T119" fmla="*/ 32 h 114"/>
                <a:gd name="T120" fmla="*/ 54 w 81"/>
                <a:gd name="T121" fmla="*/ 0 h 1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 h="114">
                  <a:moveTo>
                    <a:pt x="54" y="98"/>
                  </a:moveTo>
                  <a:cubicBezTo>
                    <a:pt x="54" y="98"/>
                    <a:pt x="54" y="98"/>
                    <a:pt x="54" y="98"/>
                  </a:cubicBezTo>
                  <a:cubicBezTo>
                    <a:pt x="54" y="98"/>
                    <a:pt x="54" y="98"/>
                    <a:pt x="54" y="98"/>
                  </a:cubicBezTo>
                  <a:moveTo>
                    <a:pt x="54" y="0"/>
                  </a:moveTo>
                  <a:cubicBezTo>
                    <a:pt x="54" y="0"/>
                    <a:pt x="54" y="0"/>
                    <a:pt x="54" y="0"/>
                  </a:cubicBezTo>
                  <a:cubicBezTo>
                    <a:pt x="53" y="1"/>
                    <a:pt x="53" y="2"/>
                    <a:pt x="52" y="2"/>
                  </a:cubicBezTo>
                  <a:cubicBezTo>
                    <a:pt x="50" y="5"/>
                    <a:pt x="50" y="5"/>
                    <a:pt x="50" y="5"/>
                  </a:cubicBezTo>
                  <a:cubicBezTo>
                    <a:pt x="50" y="5"/>
                    <a:pt x="50" y="5"/>
                    <a:pt x="50" y="5"/>
                  </a:cubicBezTo>
                  <a:cubicBezTo>
                    <a:pt x="49" y="6"/>
                    <a:pt x="48" y="7"/>
                    <a:pt x="47" y="7"/>
                  </a:cubicBezTo>
                  <a:cubicBezTo>
                    <a:pt x="46" y="8"/>
                    <a:pt x="45" y="8"/>
                    <a:pt x="44" y="8"/>
                  </a:cubicBezTo>
                  <a:cubicBezTo>
                    <a:pt x="29" y="10"/>
                    <a:pt x="29" y="10"/>
                    <a:pt x="29" y="10"/>
                  </a:cubicBezTo>
                  <a:cubicBezTo>
                    <a:pt x="29" y="10"/>
                    <a:pt x="28" y="10"/>
                    <a:pt x="27" y="10"/>
                  </a:cubicBezTo>
                  <a:cubicBezTo>
                    <a:pt x="25" y="10"/>
                    <a:pt x="23" y="10"/>
                    <a:pt x="22" y="10"/>
                  </a:cubicBezTo>
                  <a:cubicBezTo>
                    <a:pt x="22" y="10"/>
                    <a:pt x="21" y="11"/>
                    <a:pt x="21" y="12"/>
                  </a:cubicBezTo>
                  <a:cubicBezTo>
                    <a:pt x="21" y="12"/>
                    <a:pt x="20" y="13"/>
                    <a:pt x="20" y="13"/>
                  </a:cubicBezTo>
                  <a:cubicBezTo>
                    <a:pt x="20" y="14"/>
                    <a:pt x="19" y="14"/>
                    <a:pt x="19" y="15"/>
                  </a:cubicBezTo>
                  <a:cubicBezTo>
                    <a:pt x="18" y="15"/>
                    <a:pt x="18" y="15"/>
                    <a:pt x="18" y="15"/>
                  </a:cubicBezTo>
                  <a:cubicBezTo>
                    <a:pt x="17" y="16"/>
                    <a:pt x="16" y="18"/>
                    <a:pt x="16" y="19"/>
                  </a:cubicBezTo>
                  <a:cubicBezTo>
                    <a:pt x="15" y="20"/>
                    <a:pt x="15" y="20"/>
                    <a:pt x="15" y="20"/>
                  </a:cubicBezTo>
                  <a:cubicBezTo>
                    <a:pt x="15" y="20"/>
                    <a:pt x="15" y="20"/>
                    <a:pt x="15" y="20"/>
                  </a:cubicBezTo>
                  <a:cubicBezTo>
                    <a:pt x="15" y="21"/>
                    <a:pt x="14" y="21"/>
                    <a:pt x="13" y="21"/>
                  </a:cubicBezTo>
                  <a:cubicBezTo>
                    <a:pt x="14" y="22"/>
                    <a:pt x="14" y="23"/>
                    <a:pt x="14" y="24"/>
                  </a:cubicBezTo>
                  <a:cubicBezTo>
                    <a:pt x="13" y="24"/>
                    <a:pt x="12" y="23"/>
                    <a:pt x="11" y="22"/>
                  </a:cubicBezTo>
                  <a:cubicBezTo>
                    <a:pt x="10" y="22"/>
                    <a:pt x="10" y="22"/>
                    <a:pt x="10" y="22"/>
                  </a:cubicBezTo>
                  <a:cubicBezTo>
                    <a:pt x="11" y="21"/>
                    <a:pt x="11" y="21"/>
                    <a:pt x="11" y="21"/>
                  </a:cubicBezTo>
                  <a:cubicBezTo>
                    <a:pt x="10" y="21"/>
                    <a:pt x="10" y="21"/>
                    <a:pt x="10" y="21"/>
                  </a:cubicBezTo>
                  <a:cubicBezTo>
                    <a:pt x="10" y="21"/>
                    <a:pt x="9" y="21"/>
                    <a:pt x="9" y="22"/>
                  </a:cubicBezTo>
                  <a:cubicBezTo>
                    <a:pt x="9" y="23"/>
                    <a:pt x="11" y="24"/>
                    <a:pt x="11" y="25"/>
                  </a:cubicBezTo>
                  <a:cubicBezTo>
                    <a:pt x="13" y="26"/>
                    <a:pt x="13" y="29"/>
                    <a:pt x="14" y="30"/>
                  </a:cubicBezTo>
                  <a:cubicBezTo>
                    <a:pt x="15" y="32"/>
                    <a:pt x="16" y="33"/>
                    <a:pt x="17" y="34"/>
                  </a:cubicBezTo>
                  <a:cubicBezTo>
                    <a:pt x="17" y="34"/>
                    <a:pt x="17" y="34"/>
                    <a:pt x="17" y="34"/>
                  </a:cubicBezTo>
                  <a:cubicBezTo>
                    <a:pt x="16" y="34"/>
                    <a:pt x="12" y="36"/>
                    <a:pt x="13" y="37"/>
                  </a:cubicBezTo>
                  <a:cubicBezTo>
                    <a:pt x="13" y="37"/>
                    <a:pt x="13" y="37"/>
                    <a:pt x="13" y="37"/>
                  </a:cubicBezTo>
                  <a:cubicBezTo>
                    <a:pt x="13" y="37"/>
                    <a:pt x="13" y="37"/>
                    <a:pt x="14" y="37"/>
                  </a:cubicBezTo>
                  <a:cubicBezTo>
                    <a:pt x="15" y="37"/>
                    <a:pt x="15" y="37"/>
                    <a:pt x="16" y="37"/>
                  </a:cubicBezTo>
                  <a:cubicBezTo>
                    <a:pt x="16" y="37"/>
                    <a:pt x="17" y="37"/>
                    <a:pt x="17" y="37"/>
                  </a:cubicBezTo>
                  <a:cubicBezTo>
                    <a:pt x="16" y="38"/>
                    <a:pt x="15" y="39"/>
                    <a:pt x="15" y="40"/>
                  </a:cubicBezTo>
                  <a:cubicBezTo>
                    <a:pt x="15" y="40"/>
                    <a:pt x="16" y="40"/>
                    <a:pt x="17" y="40"/>
                  </a:cubicBezTo>
                  <a:cubicBezTo>
                    <a:pt x="15" y="42"/>
                    <a:pt x="19" y="43"/>
                    <a:pt x="20" y="43"/>
                  </a:cubicBezTo>
                  <a:cubicBezTo>
                    <a:pt x="18" y="44"/>
                    <a:pt x="17" y="44"/>
                    <a:pt x="16" y="47"/>
                  </a:cubicBezTo>
                  <a:cubicBezTo>
                    <a:pt x="16" y="46"/>
                    <a:pt x="17" y="44"/>
                    <a:pt x="16" y="44"/>
                  </a:cubicBezTo>
                  <a:cubicBezTo>
                    <a:pt x="16" y="44"/>
                    <a:pt x="15" y="44"/>
                    <a:pt x="15" y="44"/>
                  </a:cubicBezTo>
                  <a:cubicBezTo>
                    <a:pt x="15" y="43"/>
                    <a:pt x="15" y="42"/>
                    <a:pt x="15" y="42"/>
                  </a:cubicBezTo>
                  <a:cubicBezTo>
                    <a:pt x="14" y="42"/>
                    <a:pt x="14" y="42"/>
                    <a:pt x="14" y="43"/>
                  </a:cubicBezTo>
                  <a:cubicBezTo>
                    <a:pt x="13" y="42"/>
                    <a:pt x="13" y="42"/>
                    <a:pt x="13" y="41"/>
                  </a:cubicBezTo>
                  <a:cubicBezTo>
                    <a:pt x="13" y="42"/>
                    <a:pt x="12" y="43"/>
                    <a:pt x="12" y="43"/>
                  </a:cubicBezTo>
                  <a:cubicBezTo>
                    <a:pt x="12" y="42"/>
                    <a:pt x="11" y="41"/>
                    <a:pt x="10" y="40"/>
                  </a:cubicBezTo>
                  <a:cubicBezTo>
                    <a:pt x="10" y="40"/>
                    <a:pt x="9" y="40"/>
                    <a:pt x="9" y="40"/>
                  </a:cubicBezTo>
                  <a:cubicBezTo>
                    <a:pt x="8" y="40"/>
                    <a:pt x="8" y="43"/>
                    <a:pt x="8" y="45"/>
                  </a:cubicBezTo>
                  <a:cubicBezTo>
                    <a:pt x="8" y="44"/>
                    <a:pt x="7" y="41"/>
                    <a:pt x="6" y="41"/>
                  </a:cubicBezTo>
                  <a:cubicBezTo>
                    <a:pt x="6" y="41"/>
                    <a:pt x="6" y="41"/>
                    <a:pt x="6" y="41"/>
                  </a:cubicBezTo>
                  <a:cubicBezTo>
                    <a:pt x="3" y="41"/>
                    <a:pt x="5" y="45"/>
                    <a:pt x="3" y="47"/>
                  </a:cubicBezTo>
                  <a:cubicBezTo>
                    <a:pt x="3" y="45"/>
                    <a:pt x="4" y="43"/>
                    <a:pt x="4" y="42"/>
                  </a:cubicBezTo>
                  <a:cubicBezTo>
                    <a:pt x="3" y="46"/>
                    <a:pt x="1" y="42"/>
                    <a:pt x="1" y="46"/>
                  </a:cubicBezTo>
                  <a:cubicBezTo>
                    <a:pt x="0" y="45"/>
                    <a:pt x="0" y="45"/>
                    <a:pt x="0" y="45"/>
                  </a:cubicBezTo>
                  <a:cubicBezTo>
                    <a:pt x="0" y="46"/>
                    <a:pt x="0" y="47"/>
                    <a:pt x="0" y="47"/>
                  </a:cubicBezTo>
                  <a:cubicBezTo>
                    <a:pt x="2" y="48"/>
                    <a:pt x="5" y="47"/>
                    <a:pt x="7" y="49"/>
                  </a:cubicBezTo>
                  <a:cubicBezTo>
                    <a:pt x="7" y="49"/>
                    <a:pt x="7" y="48"/>
                    <a:pt x="7" y="48"/>
                  </a:cubicBezTo>
                  <a:cubicBezTo>
                    <a:pt x="8" y="48"/>
                    <a:pt x="8" y="49"/>
                    <a:pt x="8" y="51"/>
                  </a:cubicBezTo>
                  <a:cubicBezTo>
                    <a:pt x="8" y="53"/>
                    <a:pt x="8" y="54"/>
                    <a:pt x="8" y="56"/>
                  </a:cubicBezTo>
                  <a:cubicBezTo>
                    <a:pt x="9" y="58"/>
                    <a:pt x="11" y="63"/>
                    <a:pt x="8" y="64"/>
                  </a:cubicBezTo>
                  <a:cubicBezTo>
                    <a:pt x="11" y="65"/>
                    <a:pt x="14" y="66"/>
                    <a:pt x="17" y="66"/>
                  </a:cubicBezTo>
                  <a:cubicBezTo>
                    <a:pt x="16" y="67"/>
                    <a:pt x="11" y="69"/>
                    <a:pt x="11" y="70"/>
                  </a:cubicBezTo>
                  <a:cubicBezTo>
                    <a:pt x="11" y="71"/>
                    <a:pt x="11" y="71"/>
                    <a:pt x="11" y="71"/>
                  </a:cubicBezTo>
                  <a:cubicBezTo>
                    <a:pt x="11" y="71"/>
                    <a:pt x="12" y="71"/>
                    <a:pt x="12" y="71"/>
                  </a:cubicBezTo>
                  <a:cubicBezTo>
                    <a:pt x="12" y="71"/>
                    <a:pt x="12" y="71"/>
                    <a:pt x="12" y="71"/>
                  </a:cubicBezTo>
                  <a:cubicBezTo>
                    <a:pt x="12" y="71"/>
                    <a:pt x="12" y="71"/>
                    <a:pt x="12" y="71"/>
                  </a:cubicBezTo>
                  <a:cubicBezTo>
                    <a:pt x="12" y="71"/>
                    <a:pt x="15" y="74"/>
                    <a:pt x="15" y="74"/>
                  </a:cubicBezTo>
                  <a:cubicBezTo>
                    <a:pt x="15" y="74"/>
                    <a:pt x="15" y="74"/>
                    <a:pt x="14" y="74"/>
                  </a:cubicBezTo>
                  <a:cubicBezTo>
                    <a:pt x="12" y="74"/>
                    <a:pt x="7" y="77"/>
                    <a:pt x="8" y="79"/>
                  </a:cubicBezTo>
                  <a:cubicBezTo>
                    <a:pt x="8" y="79"/>
                    <a:pt x="11" y="79"/>
                    <a:pt x="12" y="80"/>
                  </a:cubicBezTo>
                  <a:cubicBezTo>
                    <a:pt x="9" y="81"/>
                    <a:pt x="5" y="84"/>
                    <a:pt x="4" y="88"/>
                  </a:cubicBezTo>
                  <a:cubicBezTo>
                    <a:pt x="4" y="90"/>
                    <a:pt x="6" y="92"/>
                    <a:pt x="7" y="94"/>
                  </a:cubicBezTo>
                  <a:cubicBezTo>
                    <a:pt x="6" y="93"/>
                    <a:pt x="4" y="92"/>
                    <a:pt x="3" y="92"/>
                  </a:cubicBezTo>
                  <a:cubicBezTo>
                    <a:pt x="3" y="94"/>
                    <a:pt x="4" y="96"/>
                    <a:pt x="5" y="97"/>
                  </a:cubicBezTo>
                  <a:cubicBezTo>
                    <a:pt x="6" y="101"/>
                    <a:pt x="5" y="99"/>
                    <a:pt x="7" y="100"/>
                  </a:cubicBezTo>
                  <a:cubicBezTo>
                    <a:pt x="7" y="100"/>
                    <a:pt x="7" y="100"/>
                    <a:pt x="8" y="100"/>
                  </a:cubicBezTo>
                  <a:cubicBezTo>
                    <a:pt x="8" y="100"/>
                    <a:pt x="9" y="100"/>
                    <a:pt x="9" y="100"/>
                  </a:cubicBezTo>
                  <a:cubicBezTo>
                    <a:pt x="10" y="99"/>
                    <a:pt x="10" y="99"/>
                    <a:pt x="10" y="99"/>
                  </a:cubicBezTo>
                  <a:cubicBezTo>
                    <a:pt x="11" y="99"/>
                    <a:pt x="11" y="99"/>
                    <a:pt x="12" y="100"/>
                  </a:cubicBezTo>
                  <a:cubicBezTo>
                    <a:pt x="11" y="100"/>
                    <a:pt x="10" y="100"/>
                    <a:pt x="9" y="101"/>
                  </a:cubicBezTo>
                  <a:cubicBezTo>
                    <a:pt x="9" y="102"/>
                    <a:pt x="7" y="101"/>
                    <a:pt x="6" y="102"/>
                  </a:cubicBezTo>
                  <a:cubicBezTo>
                    <a:pt x="6" y="102"/>
                    <a:pt x="6" y="102"/>
                    <a:pt x="6" y="102"/>
                  </a:cubicBezTo>
                  <a:cubicBezTo>
                    <a:pt x="8" y="102"/>
                    <a:pt x="10" y="103"/>
                    <a:pt x="11" y="105"/>
                  </a:cubicBezTo>
                  <a:cubicBezTo>
                    <a:pt x="10" y="105"/>
                    <a:pt x="10" y="105"/>
                    <a:pt x="10" y="105"/>
                  </a:cubicBezTo>
                  <a:cubicBezTo>
                    <a:pt x="9" y="105"/>
                    <a:pt x="9" y="105"/>
                    <a:pt x="9" y="105"/>
                  </a:cubicBezTo>
                  <a:cubicBezTo>
                    <a:pt x="7" y="106"/>
                    <a:pt x="7" y="106"/>
                    <a:pt x="7" y="106"/>
                  </a:cubicBezTo>
                  <a:cubicBezTo>
                    <a:pt x="6" y="106"/>
                    <a:pt x="5" y="104"/>
                    <a:pt x="3" y="104"/>
                  </a:cubicBezTo>
                  <a:cubicBezTo>
                    <a:pt x="3" y="104"/>
                    <a:pt x="3" y="104"/>
                    <a:pt x="3" y="104"/>
                  </a:cubicBezTo>
                  <a:cubicBezTo>
                    <a:pt x="3" y="106"/>
                    <a:pt x="4" y="105"/>
                    <a:pt x="5" y="106"/>
                  </a:cubicBezTo>
                  <a:cubicBezTo>
                    <a:pt x="7" y="108"/>
                    <a:pt x="8" y="111"/>
                    <a:pt x="9" y="114"/>
                  </a:cubicBezTo>
                  <a:cubicBezTo>
                    <a:pt x="12" y="109"/>
                    <a:pt x="14" y="106"/>
                    <a:pt x="19" y="104"/>
                  </a:cubicBezTo>
                  <a:cubicBezTo>
                    <a:pt x="20" y="104"/>
                    <a:pt x="25" y="101"/>
                    <a:pt x="27" y="101"/>
                  </a:cubicBezTo>
                  <a:cubicBezTo>
                    <a:pt x="28" y="101"/>
                    <a:pt x="28" y="101"/>
                    <a:pt x="28" y="102"/>
                  </a:cubicBezTo>
                  <a:cubicBezTo>
                    <a:pt x="28" y="103"/>
                    <a:pt x="23" y="105"/>
                    <a:pt x="23" y="107"/>
                  </a:cubicBezTo>
                  <a:cubicBezTo>
                    <a:pt x="23" y="107"/>
                    <a:pt x="28" y="109"/>
                    <a:pt x="29" y="109"/>
                  </a:cubicBezTo>
                  <a:cubicBezTo>
                    <a:pt x="29" y="109"/>
                    <a:pt x="29" y="109"/>
                    <a:pt x="29" y="109"/>
                  </a:cubicBezTo>
                  <a:cubicBezTo>
                    <a:pt x="30" y="109"/>
                    <a:pt x="32" y="105"/>
                    <a:pt x="32" y="105"/>
                  </a:cubicBezTo>
                  <a:cubicBezTo>
                    <a:pt x="32" y="104"/>
                    <a:pt x="31" y="104"/>
                    <a:pt x="31" y="104"/>
                  </a:cubicBezTo>
                  <a:cubicBezTo>
                    <a:pt x="30" y="102"/>
                    <a:pt x="31" y="100"/>
                    <a:pt x="33" y="98"/>
                  </a:cubicBezTo>
                  <a:cubicBezTo>
                    <a:pt x="32" y="100"/>
                    <a:pt x="34" y="104"/>
                    <a:pt x="35" y="104"/>
                  </a:cubicBezTo>
                  <a:cubicBezTo>
                    <a:pt x="35" y="103"/>
                    <a:pt x="38" y="102"/>
                    <a:pt x="38" y="100"/>
                  </a:cubicBezTo>
                  <a:cubicBezTo>
                    <a:pt x="39" y="99"/>
                    <a:pt x="38" y="98"/>
                    <a:pt x="38" y="96"/>
                  </a:cubicBezTo>
                  <a:cubicBezTo>
                    <a:pt x="38" y="95"/>
                    <a:pt x="44" y="93"/>
                    <a:pt x="45" y="93"/>
                  </a:cubicBezTo>
                  <a:cubicBezTo>
                    <a:pt x="44" y="95"/>
                    <a:pt x="48" y="96"/>
                    <a:pt x="49" y="97"/>
                  </a:cubicBezTo>
                  <a:cubicBezTo>
                    <a:pt x="51" y="97"/>
                    <a:pt x="52" y="99"/>
                    <a:pt x="53" y="99"/>
                  </a:cubicBezTo>
                  <a:cubicBezTo>
                    <a:pt x="54" y="99"/>
                    <a:pt x="54" y="98"/>
                    <a:pt x="54" y="98"/>
                  </a:cubicBezTo>
                  <a:cubicBezTo>
                    <a:pt x="54" y="98"/>
                    <a:pt x="54" y="98"/>
                    <a:pt x="54" y="98"/>
                  </a:cubicBezTo>
                  <a:cubicBezTo>
                    <a:pt x="54" y="98"/>
                    <a:pt x="54" y="96"/>
                    <a:pt x="54" y="96"/>
                  </a:cubicBezTo>
                  <a:cubicBezTo>
                    <a:pt x="54" y="95"/>
                    <a:pt x="58" y="94"/>
                    <a:pt x="59" y="93"/>
                  </a:cubicBezTo>
                  <a:cubicBezTo>
                    <a:pt x="58" y="92"/>
                    <a:pt x="58" y="90"/>
                    <a:pt x="58" y="89"/>
                  </a:cubicBezTo>
                  <a:cubicBezTo>
                    <a:pt x="60" y="91"/>
                    <a:pt x="64" y="91"/>
                    <a:pt x="66" y="91"/>
                  </a:cubicBezTo>
                  <a:cubicBezTo>
                    <a:pt x="67" y="91"/>
                    <a:pt x="67" y="93"/>
                    <a:pt x="68" y="93"/>
                  </a:cubicBezTo>
                  <a:cubicBezTo>
                    <a:pt x="68" y="93"/>
                    <a:pt x="68" y="93"/>
                    <a:pt x="68" y="92"/>
                  </a:cubicBezTo>
                  <a:cubicBezTo>
                    <a:pt x="69" y="92"/>
                    <a:pt x="72" y="91"/>
                    <a:pt x="73" y="89"/>
                  </a:cubicBezTo>
                  <a:cubicBezTo>
                    <a:pt x="76" y="81"/>
                    <a:pt x="79" y="75"/>
                    <a:pt x="81" y="66"/>
                  </a:cubicBezTo>
                  <a:cubicBezTo>
                    <a:pt x="79" y="66"/>
                    <a:pt x="78" y="67"/>
                    <a:pt x="76" y="67"/>
                  </a:cubicBezTo>
                  <a:cubicBezTo>
                    <a:pt x="76" y="67"/>
                    <a:pt x="76" y="67"/>
                    <a:pt x="76" y="67"/>
                  </a:cubicBezTo>
                  <a:cubicBezTo>
                    <a:pt x="77" y="57"/>
                    <a:pt x="76" y="47"/>
                    <a:pt x="76" y="38"/>
                  </a:cubicBezTo>
                  <a:cubicBezTo>
                    <a:pt x="76" y="36"/>
                    <a:pt x="74" y="34"/>
                    <a:pt x="73" y="32"/>
                  </a:cubicBezTo>
                  <a:cubicBezTo>
                    <a:pt x="70" y="27"/>
                    <a:pt x="68" y="23"/>
                    <a:pt x="65" y="18"/>
                  </a:cubicBezTo>
                  <a:cubicBezTo>
                    <a:pt x="61" y="12"/>
                    <a:pt x="58" y="6"/>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1565"/>
            <p:cNvSpPr/>
            <p:nvPr/>
          </p:nvSpPr>
          <p:spPr bwMode="auto">
            <a:xfrm>
              <a:off x="4727706" y="5534456"/>
              <a:ext cx="170477" cy="79198"/>
            </a:xfrm>
            <a:custGeom>
              <a:gdLst>
                <a:gd name="T0" fmla="*/ 52 w 54"/>
                <a:gd name="T1" fmla="*/ 0 h 25"/>
                <a:gd name="T2" fmla="*/ 18 w 54"/>
                <a:gd name="T3" fmla="*/ 4 h 25"/>
                <a:gd name="T4" fmla="*/ 7 w 54"/>
                <a:gd name="T5" fmla="*/ 6 h 25"/>
                <a:gd name="T6" fmla="*/ 0 w 54"/>
                <a:gd name="T7" fmla="*/ 12 h 25"/>
                <a:gd name="T8" fmla="*/ 1 w 54"/>
                <a:gd name="T9" fmla="*/ 12 h 25"/>
                <a:gd name="T10" fmla="*/ 1 w 54"/>
                <a:gd name="T11" fmla="*/ 12 h 25"/>
                <a:gd name="T12" fmla="*/ 4 w 54"/>
                <a:gd name="T13" fmla="*/ 13 h 25"/>
                <a:gd name="T14" fmla="*/ 5 w 54"/>
                <a:gd name="T15" fmla="*/ 13 h 25"/>
                <a:gd name="T16" fmla="*/ 5 w 54"/>
                <a:gd name="T17" fmla="*/ 13 h 25"/>
                <a:gd name="T18" fmla="*/ 6 w 54"/>
                <a:gd name="T19" fmla="*/ 15 h 25"/>
                <a:gd name="T20" fmla="*/ 6 w 54"/>
                <a:gd name="T21" fmla="*/ 15 h 25"/>
                <a:gd name="T22" fmla="*/ 7 w 54"/>
                <a:gd name="T23" fmla="*/ 16 h 25"/>
                <a:gd name="T24" fmla="*/ 7 w 54"/>
                <a:gd name="T25" fmla="*/ 18 h 25"/>
                <a:gd name="T26" fmla="*/ 7 w 54"/>
                <a:gd name="T27" fmla="*/ 19 h 25"/>
                <a:gd name="T28" fmla="*/ 6 w 54"/>
                <a:gd name="T29" fmla="*/ 20 h 25"/>
                <a:gd name="T30" fmla="*/ 6 w 54"/>
                <a:gd name="T31" fmla="*/ 20 h 25"/>
                <a:gd name="T32" fmla="*/ 5 w 54"/>
                <a:gd name="T33" fmla="*/ 24 h 25"/>
                <a:gd name="T34" fmla="*/ 5 w 54"/>
                <a:gd name="T35" fmla="*/ 25 h 25"/>
                <a:gd name="T36" fmla="*/ 33 w 54"/>
                <a:gd name="T37" fmla="*/ 14 h 25"/>
                <a:gd name="T38" fmla="*/ 46 w 54"/>
                <a:gd name="T39" fmla="*/ 8 h 25"/>
                <a:gd name="T40" fmla="*/ 53 w 54"/>
                <a:gd name="T41" fmla="*/ 3 h 25"/>
                <a:gd name="T42" fmla="*/ 52 w 54"/>
                <a:gd name="T43"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25">
                  <a:moveTo>
                    <a:pt x="52" y="0"/>
                  </a:moveTo>
                  <a:cubicBezTo>
                    <a:pt x="41" y="1"/>
                    <a:pt x="29" y="3"/>
                    <a:pt x="18" y="4"/>
                  </a:cubicBezTo>
                  <a:cubicBezTo>
                    <a:pt x="14" y="5"/>
                    <a:pt x="11" y="5"/>
                    <a:pt x="7" y="6"/>
                  </a:cubicBezTo>
                  <a:cubicBezTo>
                    <a:pt x="3" y="7"/>
                    <a:pt x="2" y="9"/>
                    <a:pt x="0" y="12"/>
                  </a:cubicBezTo>
                  <a:cubicBezTo>
                    <a:pt x="1" y="12"/>
                    <a:pt x="1" y="12"/>
                    <a:pt x="1" y="12"/>
                  </a:cubicBezTo>
                  <a:cubicBezTo>
                    <a:pt x="1" y="12"/>
                    <a:pt x="1" y="12"/>
                    <a:pt x="1" y="12"/>
                  </a:cubicBezTo>
                  <a:cubicBezTo>
                    <a:pt x="2" y="12"/>
                    <a:pt x="3" y="12"/>
                    <a:pt x="4" y="13"/>
                  </a:cubicBezTo>
                  <a:cubicBezTo>
                    <a:pt x="5" y="13"/>
                    <a:pt x="5" y="13"/>
                    <a:pt x="5" y="13"/>
                  </a:cubicBezTo>
                  <a:cubicBezTo>
                    <a:pt x="5" y="13"/>
                    <a:pt x="5" y="13"/>
                    <a:pt x="5" y="13"/>
                  </a:cubicBezTo>
                  <a:cubicBezTo>
                    <a:pt x="5" y="14"/>
                    <a:pt x="6" y="14"/>
                    <a:pt x="6" y="15"/>
                  </a:cubicBezTo>
                  <a:cubicBezTo>
                    <a:pt x="6" y="15"/>
                    <a:pt x="6" y="15"/>
                    <a:pt x="6" y="15"/>
                  </a:cubicBezTo>
                  <a:cubicBezTo>
                    <a:pt x="7" y="16"/>
                    <a:pt x="7" y="16"/>
                    <a:pt x="7" y="16"/>
                  </a:cubicBezTo>
                  <a:cubicBezTo>
                    <a:pt x="7" y="17"/>
                    <a:pt x="7" y="17"/>
                    <a:pt x="7" y="18"/>
                  </a:cubicBezTo>
                  <a:cubicBezTo>
                    <a:pt x="7" y="19"/>
                    <a:pt x="7" y="19"/>
                    <a:pt x="7" y="19"/>
                  </a:cubicBezTo>
                  <a:cubicBezTo>
                    <a:pt x="7" y="19"/>
                    <a:pt x="6" y="20"/>
                    <a:pt x="6" y="20"/>
                  </a:cubicBezTo>
                  <a:cubicBezTo>
                    <a:pt x="6" y="20"/>
                    <a:pt x="6" y="20"/>
                    <a:pt x="6" y="20"/>
                  </a:cubicBezTo>
                  <a:cubicBezTo>
                    <a:pt x="6" y="21"/>
                    <a:pt x="5" y="23"/>
                    <a:pt x="5" y="24"/>
                  </a:cubicBezTo>
                  <a:cubicBezTo>
                    <a:pt x="5" y="25"/>
                    <a:pt x="5" y="25"/>
                    <a:pt x="5" y="25"/>
                  </a:cubicBezTo>
                  <a:cubicBezTo>
                    <a:pt x="14" y="21"/>
                    <a:pt x="23" y="17"/>
                    <a:pt x="33" y="14"/>
                  </a:cubicBezTo>
                  <a:cubicBezTo>
                    <a:pt x="38" y="13"/>
                    <a:pt x="42" y="10"/>
                    <a:pt x="46" y="8"/>
                  </a:cubicBezTo>
                  <a:cubicBezTo>
                    <a:pt x="48" y="7"/>
                    <a:pt x="52" y="5"/>
                    <a:pt x="53" y="3"/>
                  </a:cubicBezTo>
                  <a:cubicBezTo>
                    <a:pt x="54" y="1"/>
                    <a:pt x="54" y="1"/>
                    <a:pt x="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1566"/>
            <p:cNvSpPr/>
            <p:nvPr/>
          </p:nvSpPr>
          <p:spPr bwMode="auto">
            <a:xfrm>
              <a:off x="4613608" y="5582780"/>
              <a:ext cx="119468" cy="104702"/>
            </a:xfrm>
            <a:custGeom>
              <a:gdLst>
                <a:gd name="T0" fmla="*/ 34 w 38"/>
                <a:gd name="T1" fmla="*/ 0 h 33"/>
                <a:gd name="T2" fmla="*/ 27 w 38"/>
                <a:gd name="T3" fmla="*/ 3 h 33"/>
                <a:gd name="T4" fmla="*/ 27 w 38"/>
                <a:gd name="T5" fmla="*/ 3 h 33"/>
                <a:gd name="T6" fmla="*/ 27 w 38"/>
                <a:gd name="T7" fmla="*/ 4 h 33"/>
                <a:gd name="T8" fmla="*/ 25 w 38"/>
                <a:gd name="T9" fmla="*/ 10 h 33"/>
                <a:gd name="T10" fmla="*/ 23 w 38"/>
                <a:gd name="T11" fmla="*/ 14 h 33"/>
                <a:gd name="T12" fmla="*/ 22 w 38"/>
                <a:gd name="T13" fmla="*/ 15 h 33"/>
                <a:gd name="T14" fmla="*/ 8 w 38"/>
                <a:gd name="T15" fmla="*/ 13 h 33"/>
                <a:gd name="T16" fmla="*/ 8 w 38"/>
                <a:gd name="T17" fmla="*/ 13 h 33"/>
                <a:gd name="T18" fmla="*/ 5 w 38"/>
                <a:gd name="T19" fmla="*/ 15 h 33"/>
                <a:gd name="T20" fmla="*/ 5 w 38"/>
                <a:gd name="T21" fmla="*/ 21 h 33"/>
                <a:gd name="T22" fmla="*/ 6 w 38"/>
                <a:gd name="T23" fmla="*/ 25 h 33"/>
                <a:gd name="T24" fmla="*/ 7 w 38"/>
                <a:gd name="T25" fmla="*/ 26 h 33"/>
                <a:gd name="T26" fmla="*/ 0 w 38"/>
                <a:gd name="T27" fmla="*/ 33 h 33"/>
                <a:gd name="T28" fmla="*/ 14 w 38"/>
                <a:gd name="T29" fmla="*/ 29 h 33"/>
                <a:gd name="T30" fmla="*/ 23 w 38"/>
                <a:gd name="T31" fmla="*/ 28 h 33"/>
                <a:gd name="T32" fmla="*/ 37 w 38"/>
                <a:gd name="T33" fmla="*/ 13 h 33"/>
                <a:gd name="T34" fmla="*/ 36 w 38"/>
                <a:gd name="T35" fmla="*/ 12 h 33"/>
                <a:gd name="T36" fmla="*/ 36 w 38"/>
                <a:gd name="T37" fmla="*/ 11 h 33"/>
                <a:gd name="T38" fmla="*/ 36 w 38"/>
                <a:gd name="T39" fmla="*/ 10 h 33"/>
                <a:gd name="T40" fmla="*/ 36 w 38"/>
                <a:gd name="T41" fmla="*/ 9 h 33"/>
                <a:gd name="T42" fmla="*/ 37 w 38"/>
                <a:gd name="T43" fmla="*/ 4 h 33"/>
                <a:gd name="T44" fmla="*/ 37 w 38"/>
                <a:gd name="T45" fmla="*/ 3 h 33"/>
                <a:gd name="T46" fmla="*/ 37 w 38"/>
                <a:gd name="T47" fmla="*/ 3 h 33"/>
                <a:gd name="T48" fmla="*/ 38 w 38"/>
                <a:gd name="T49" fmla="*/ 2 h 33"/>
                <a:gd name="T50" fmla="*/ 37 w 38"/>
                <a:gd name="T51" fmla="*/ 2 h 33"/>
                <a:gd name="T52" fmla="*/ 37 w 38"/>
                <a:gd name="T53" fmla="*/ 2 h 33"/>
                <a:gd name="T54" fmla="*/ 36 w 38"/>
                <a:gd name="T55" fmla="*/ 2 h 33"/>
                <a:gd name="T56" fmla="*/ 34 w 38"/>
                <a:gd name="T57" fmla="*/ 1 h 33"/>
                <a:gd name="T58" fmla="*/ 33 w 38"/>
                <a:gd name="T59" fmla="*/ 1 h 33"/>
                <a:gd name="T60" fmla="*/ 34 w 38"/>
                <a:gd name="T61" fmla="*/ 0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33">
                  <a:moveTo>
                    <a:pt x="34" y="0"/>
                  </a:moveTo>
                  <a:cubicBezTo>
                    <a:pt x="31" y="1"/>
                    <a:pt x="29" y="2"/>
                    <a:pt x="27" y="3"/>
                  </a:cubicBezTo>
                  <a:cubicBezTo>
                    <a:pt x="27" y="3"/>
                    <a:pt x="27" y="3"/>
                    <a:pt x="27" y="3"/>
                  </a:cubicBezTo>
                  <a:cubicBezTo>
                    <a:pt x="27" y="4"/>
                    <a:pt x="27" y="4"/>
                    <a:pt x="27" y="4"/>
                  </a:cubicBezTo>
                  <a:cubicBezTo>
                    <a:pt x="27" y="5"/>
                    <a:pt x="26" y="7"/>
                    <a:pt x="25" y="10"/>
                  </a:cubicBezTo>
                  <a:cubicBezTo>
                    <a:pt x="24" y="10"/>
                    <a:pt x="23" y="14"/>
                    <a:pt x="23" y="14"/>
                  </a:cubicBezTo>
                  <a:cubicBezTo>
                    <a:pt x="22" y="15"/>
                    <a:pt x="22" y="15"/>
                    <a:pt x="22" y="15"/>
                  </a:cubicBezTo>
                  <a:cubicBezTo>
                    <a:pt x="8" y="13"/>
                    <a:pt x="8" y="13"/>
                    <a:pt x="8" y="13"/>
                  </a:cubicBezTo>
                  <a:cubicBezTo>
                    <a:pt x="8" y="13"/>
                    <a:pt x="8" y="13"/>
                    <a:pt x="8" y="13"/>
                  </a:cubicBezTo>
                  <a:cubicBezTo>
                    <a:pt x="7" y="13"/>
                    <a:pt x="6" y="14"/>
                    <a:pt x="5" y="15"/>
                  </a:cubicBezTo>
                  <a:cubicBezTo>
                    <a:pt x="4" y="17"/>
                    <a:pt x="5" y="19"/>
                    <a:pt x="5" y="21"/>
                  </a:cubicBezTo>
                  <a:cubicBezTo>
                    <a:pt x="5" y="23"/>
                    <a:pt x="6" y="24"/>
                    <a:pt x="6" y="25"/>
                  </a:cubicBezTo>
                  <a:cubicBezTo>
                    <a:pt x="6" y="26"/>
                    <a:pt x="8" y="25"/>
                    <a:pt x="7" y="26"/>
                  </a:cubicBezTo>
                  <a:cubicBezTo>
                    <a:pt x="5" y="28"/>
                    <a:pt x="2" y="31"/>
                    <a:pt x="0" y="33"/>
                  </a:cubicBezTo>
                  <a:cubicBezTo>
                    <a:pt x="5" y="32"/>
                    <a:pt x="10" y="30"/>
                    <a:pt x="14" y="29"/>
                  </a:cubicBezTo>
                  <a:cubicBezTo>
                    <a:pt x="17" y="29"/>
                    <a:pt x="22" y="29"/>
                    <a:pt x="23" y="28"/>
                  </a:cubicBezTo>
                  <a:cubicBezTo>
                    <a:pt x="27" y="24"/>
                    <a:pt x="34" y="18"/>
                    <a:pt x="37" y="13"/>
                  </a:cubicBezTo>
                  <a:cubicBezTo>
                    <a:pt x="36" y="12"/>
                    <a:pt x="36" y="12"/>
                    <a:pt x="36" y="12"/>
                  </a:cubicBezTo>
                  <a:cubicBezTo>
                    <a:pt x="36" y="11"/>
                    <a:pt x="36" y="11"/>
                    <a:pt x="36" y="11"/>
                  </a:cubicBezTo>
                  <a:cubicBezTo>
                    <a:pt x="36" y="10"/>
                    <a:pt x="36" y="10"/>
                    <a:pt x="36" y="10"/>
                  </a:cubicBezTo>
                  <a:cubicBezTo>
                    <a:pt x="36" y="9"/>
                    <a:pt x="36" y="9"/>
                    <a:pt x="36" y="9"/>
                  </a:cubicBezTo>
                  <a:cubicBezTo>
                    <a:pt x="36" y="7"/>
                    <a:pt x="37" y="5"/>
                    <a:pt x="37" y="4"/>
                  </a:cubicBezTo>
                  <a:cubicBezTo>
                    <a:pt x="37" y="3"/>
                    <a:pt x="37" y="3"/>
                    <a:pt x="37" y="3"/>
                  </a:cubicBezTo>
                  <a:cubicBezTo>
                    <a:pt x="37" y="3"/>
                    <a:pt x="37" y="3"/>
                    <a:pt x="37" y="3"/>
                  </a:cubicBezTo>
                  <a:cubicBezTo>
                    <a:pt x="38" y="2"/>
                    <a:pt x="38" y="2"/>
                    <a:pt x="38" y="2"/>
                  </a:cubicBezTo>
                  <a:cubicBezTo>
                    <a:pt x="37" y="2"/>
                    <a:pt x="37" y="2"/>
                    <a:pt x="37" y="2"/>
                  </a:cubicBezTo>
                  <a:cubicBezTo>
                    <a:pt x="38" y="2"/>
                    <a:pt x="37" y="2"/>
                    <a:pt x="37" y="2"/>
                  </a:cubicBezTo>
                  <a:cubicBezTo>
                    <a:pt x="36" y="2"/>
                    <a:pt x="36" y="2"/>
                    <a:pt x="36" y="2"/>
                  </a:cubicBezTo>
                  <a:cubicBezTo>
                    <a:pt x="35" y="2"/>
                    <a:pt x="35" y="1"/>
                    <a:pt x="34" y="1"/>
                  </a:cubicBezTo>
                  <a:cubicBezTo>
                    <a:pt x="33" y="1"/>
                    <a:pt x="33" y="1"/>
                    <a:pt x="33" y="1"/>
                  </a:cubicBez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1567"/>
            <p:cNvSpPr>
              <a:spLocks noEditPoints="1"/>
            </p:cNvSpPr>
            <p:nvPr/>
          </p:nvSpPr>
          <p:spPr bwMode="auto">
            <a:xfrm>
              <a:off x="2873941" y="4424343"/>
              <a:ext cx="314107" cy="390620"/>
            </a:xfrm>
            <a:custGeom>
              <a:gdLst>
                <a:gd name="T0" fmla="*/ 31 w 99"/>
                <a:gd name="T1" fmla="*/ 17 h 123"/>
                <a:gd name="T2" fmla="*/ 2 w 99"/>
                <a:gd name="T3" fmla="*/ 0 h 123"/>
                <a:gd name="T4" fmla="*/ 0 w 99"/>
                <a:gd name="T5" fmla="*/ 4 h 123"/>
                <a:gd name="T6" fmla="*/ 4 w 99"/>
                <a:gd name="T7" fmla="*/ 12 h 123"/>
                <a:gd name="T8" fmla="*/ 5 w 99"/>
                <a:gd name="T9" fmla="*/ 32 h 123"/>
                <a:gd name="T10" fmla="*/ 10 w 99"/>
                <a:gd name="T11" fmla="*/ 49 h 123"/>
                <a:gd name="T12" fmla="*/ 12 w 99"/>
                <a:gd name="T13" fmla="*/ 61 h 123"/>
                <a:gd name="T14" fmla="*/ 21 w 99"/>
                <a:gd name="T15" fmla="*/ 70 h 123"/>
                <a:gd name="T16" fmla="*/ 28 w 99"/>
                <a:gd name="T17" fmla="*/ 87 h 123"/>
                <a:gd name="T18" fmla="*/ 45 w 99"/>
                <a:gd name="T19" fmla="*/ 98 h 123"/>
                <a:gd name="T20" fmla="*/ 69 w 99"/>
                <a:gd name="T21" fmla="*/ 114 h 123"/>
                <a:gd name="T22" fmla="*/ 84 w 99"/>
                <a:gd name="T23" fmla="*/ 119 h 123"/>
                <a:gd name="T24" fmla="*/ 87 w 99"/>
                <a:gd name="T25" fmla="*/ 119 h 123"/>
                <a:gd name="T26" fmla="*/ 90 w 99"/>
                <a:gd name="T27" fmla="*/ 115 h 123"/>
                <a:gd name="T28" fmla="*/ 94 w 99"/>
                <a:gd name="T29" fmla="*/ 121 h 123"/>
                <a:gd name="T30" fmla="*/ 92 w 99"/>
                <a:gd name="T31" fmla="*/ 108 h 123"/>
                <a:gd name="T32" fmla="*/ 77 w 99"/>
                <a:gd name="T33" fmla="*/ 83 h 123"/>
                <a:gd name="T34" fmla="*/ 77 w 99"/>
                <a:gd name="T35" fmla="*/ 52 h 123"/>
                <a:gd name="T36" fmla="*/ 59 w 99"/>
                <a:gd name="T37" fmla="*/ 18 h 123"/>
                <a:gd name="T38" fmla="*/ 48 w 99"/>
                <a:gd name="T39" fmla="*/ 7 h 123"/>
                <a:gd name="T40" fmla="*/ 47 w 99"/>
                <a:gd name="T41" fmla="*/ 10 h 123"/>
                <a:gd name="T42" fmla="*/ 46 w 99"/>
                <a:gd name="T43" fmla="*/ 13 h 123"/>
                <a:gd name="T44" fmla="*/ 36 w 99"/>
                <a:gd name="T45" fmla="*/ 20 h 123"/>
                <a:gd name="T46" fmla="*/ 31 w 99"/>
                <a:gd name="T47" fmla="*/ 17 h 123"/>
                <a:gd name="T48" fmla="*/ 29 w 99"/>
                <a:gd name="T49" fmla="*/ 20 h 123"/>
                <a:gd name="T50" fmla="*/ 27 w 99"/>
                <a:gd name="T51" fmla="*/ 21 h 123"/>
                <a:gd name="T52" fmla="*/ 25 w 99"/>
                <a:gd name="T53" fmla="*/ 22 h 123"/>
                <a:gd name="T54" fmla="*/ 22 w 99"/>
                <a:gd name="T55" fmla="*/ 22 h 123"/>
                <a:gd name="T56" fmla="*/ 18 w 99"/>
                <a:gd name="T57" fmla="*/ 11 h 123"/>
                <a:gd name="T58" fmla="*/ 18 w 99"/>
                <a:gd name="T59" fmla="*/ 9 h 123"/>
                <a:gd name="T60" fmla="*/ 13 w 99"/>
                <a:gd name="T61" fmla="*/ 6 h 123"/>
                <a:gd name="T62" fmla="*/ 13 w 99"/>
                <a:gd name="T63" fmla="*/ 3 h 123"/>
                <a:gd name="T64" fmla="*/ 11 w 99"/>
                <a:gd name="T65" fmla="*/ 2 h 123"/>
                <a:gd name="T66" fmla="*/ 8 w 99"/>
                <a:gd name="T67" fmla="*/ 2 h 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123">
                  <a:moveTo>
                    <a:pt x="31" y="17"/>
                  </a:moveTo>
                  <a:cubicBezTo>
                    <a:pt x="31" y="17"/>
                    <a:pt x="31" y="17"/>
                    <a:pt x="31" y="17"/>
                  </a:cubicBezTo>
                  <a:cubicBezTo>
                    <a:pt x="31" y="17"/>
                    <a:pt x="31" y="17"/>
                    <a:pt x="31" y="17"/>
                  </a:cubicBezTo>
                  <a:moveTo>
                    <a:pt x="2" y="0"/>
                  </a:moveTo>
                  <a:cubicBezTo>
                    <a:pt x="1" y="4"/>
                    <a:pt x="1" y="4"/>
                    <a:pt x="1" y="4"/>
                  </a:cubicBezTo>
                  <a:cubicBezTo>
                    <a:pt x="0" y="4"/>
                    <a:pt x="0" y="4"/>
                    <a:pt x="0" y="4"/>
                  </a:cubicBezTo>
                  <a:cubicBezTo>
                    <a:pt x="0" y="5"/>
                    <a:pt x="0" y="5"/>
                    <a:pt x="0" y="5"/>
                  </a:cubicBezTo>
                  <a:cubicBezTo>
                    <a:pt x="1" y="7"/>
                    <a:pt x="3" y="9"/>
                    <a:pt x="4" y="12"/>
                  </a:cubicBezTo>
                  <a:cubicBezTo>
                    <a:pt x="5" y="15"/>
                    <a:pt x="4" y="19"/>
                    <a:pt x="4" y="21"/>
                  </a:cubicBezTo>
                  <a:cubicBezTo>
                    <a:pt x="4" y="25"/>
                    <a:pt x="5" y="29"/>
                    <a:pt x="5" y="32"/>
                  </a:cubicBezTo>
                  <a:cubicBezTo>
                    <a:pt x="6" y="35"/>
                    <a:pt x="7" y="38"/>
                    <a:pt x="9" y="41"/>
                  </a:cubicBezTo>
                  <a:cubicBezTo>
                    <a:pt x="10" y="45"/>
                    <a:pt x="10" y="45"/>
                    <a:pt x="10" y="49"/>
                  </a:cubicBezTo>
                  <a:cubicBezTo>
                    <a:pt x="9" y="53"/>
                    <a:pt x="12" y="55"/>
                    <a:pt x="15" y="58"/>
                  </a:cubicBezTo>
                  <a:cubicBezTo>
                    <a:pt x="14" y="58"/>
                    <a:pt x="12" y="59"/>
                    <a:pt x="12" y="61"/>
                  </a:cubicBezTo>
                  <a:cubicBezTo>
                    <a:pt x="13" y="62"/>
                    <a:pt x="16" y="62"/>
                    <a:pt x="17" y="64"/>
                  </a:cubicBezTo>
                  <a:cubicBezTo>
                    <a:pt x="18" y="66"/>
                    <a:pt x="20" y="68"/>
                    <a:pt x="21" y="70"/>
                  </a:cubicBezTo>
                  <a:cubicBezTo>
                    <a:pt x="24" y="74"/>
                    <a:pt x="27" y="77"/>
                    <a:pt x="27" y="81"/>
                  </a:cubicBezTo>
                  <a:cubicBezTo>
                    <a:pt x="26" y="84"/>
                    <a:pt x="26" y="85"/>
                    <a:pt x="28" y="87"/>
                  </a:cubicBezTo>
                  <a:cubicBezTo>
                    <a:pt x="30" y="88"/>
                    <a:pt x="32" y="90"/>
                    <a:pt x="34" y="91"/>
                  </a:cubicBezTo>
                  <a:cubicBezTo>
                    <a:pt x="38" y="93"/>
                    <a:pt x="41" y="96"/>
                    <a:pt x="45" y="98"/>
                  </a:cubicBezTo>
                  <a:cubicBezTo>
                    <a:pt x="49" y="101"/>
                    <a:pt x="53" y="103"/>
                    <a:pt x="57" y="106"/>
                  </a:cubicBezTo>
                  <a:cubicBezTo>
                    <a:pt x="61" y="109"/>
                    <a:pt x="65" y="111"/>
                    <a:pt x="69" y="114"/>
                  </a:cubicBezTo>
                  <a:cubicBezTo>
                    <a:pt x="73" y="116"/>
                    <a:pt x="76" y="120"/>
                    <a:pt x="79" y="123"/>
                  </a:cubicBezTo>
                  <a:cubicBezTo>
                    <a:pt x="80" y="121"/>
                    <a:pt x="82" y="119"/>
                    <a:pt x="84" y="119"/>
                  </a:cubicBezTo>
                  <a:cubicBezTo>
                    <a:pt x="85" y="119"/>
                    <a:pt x="85" y="119"/>
                    <a:pt x="86" y="119"/>
                  </a:cubicBezTo>
                  <a:cubicBezTo>
                    <a:pt x="86" y="119"/>
                    <a:pt x="87" y="119"/>
                    <a:pt x="87" y="119"/>
                  </a:cubicBezTo>
                  <a:cubicBezTo>
                    <a:pt x="88" y="119"/>
                    <a:pt x="88" y="119"/>
                    <a:pt x="89" y="119"/>
                  </a:cubicBezTo>
                  <a:cubicBezTo>
                    <a:pt x="90" y="119"/>
                    <a:pt x="90" y="118"/>
                    <a:pt x="90" y="115"/>
                  </a:cubicBezTo>
                  <a:cubicBezTo>
                    <a:pt x="94" y="117"/>
                    <a:pt x="92" y="117"/>
                    <a:pt x="93" y="121"/>
                  </a:cubicBezTo>
                  <a:cubicBezTo>
                    <a:pt x="93" y="121"/>
                    <a:pt x="93" y="121"/>
                    <a:pt x="94" y="121"/>
                  </a:cubicBezTo>
                  <a:cubicBezTo>
                    <a:pt x="95" y="121"/>
                    <a:pt x="96" y="120"/>
                    <a:pt x="96" y="120"/>
                  </a:cubicBezTo>
                  <a:cubicBezTo>
                    <a:pt x="99" y="116"/>
                    <a:pt x="93" y="110"/>
                    <a:pt x="92" y="108"/>
                  </a:cubicBezTo>
                  <a:cubicBezTo>
                    <a:pt x="90" y="101"/>
                    <a:pt x="85" y="96"/>
                    <a:pt x="81" y="90"/>
                  </a:cubicBezTo>
                  <a:cubicBezTo>
                    <a:pt x="80" y="88"/>
                    <a:pt x="77" y="85"/>
                    <a:pt x="77" y="83"/>
                  </a:cubicBezTo>
                  <a:cubicBezTo>
                    <a:pt x="76" y="79"/>
                    <a:pt x="76" y="75"/>
                    <a:pt x="76" y="71"/>
                  </a:cubicBezTo>
                  <a:cubicBezTo>
                    <a:pt x="76" y="64"/>
                    <a:pt x="77" y="58"/>
                    <a:pt x="77" y="52"/>
                  </a:cubicBezTo>
                  <a:cubicBezTo>
                    <a:pt x="77" y="44"/>
                    <a:pt x="76" y="39"/>
                    <a:pt x="73" y="32"/>
                  </a:cubicBezTo>
                  <a:cubicBezTo>
                    <a:pt x="69" y="25"/>
                    <a:pt x="65" y="22"/>
                    <a:pt x="59" y="18"/>
                  </a:cubicBezTo>
                  <a:cubicBezTo>
                    <a:pt x="56" y="16"/>
                    <a:pt x="54" y="14"/>
                    <a:pt x="53" y="11"/>
                  </a:cubicBezTo>
                  <a:cubicBezTo>
                    <a:pt x="52" y="10"/>
                    <a:pt x="50" y="8"/>
                    <a:pt x="48" y="7"/>
                  </a:cubicBezTo>
                  <a:cubicBezTo>
                    <a:pt x="48" y="8"/>
                    <a:pt x="48" y="8"/>
                    <a:pt x="48" y="8"/>
                  </a:cubicBezTo>
                  <a:cubicBezTo>
                    <a:pt x="48" y="8"/>
                    <a:pt x="47" y="9"/>
                    <a:pt x="47" y="10"/>
                  </a:cubicBezTo>
                  <a:cubicBezTo>
                    <a:pt x="47" y="10"/>
                    <a:pt x="47" y="10"/>
                    <a:pt x="47" y="10"/>
                  </a:cubicBezTo>
                  <a:cubicBezTo>
                    <a:pt x="47" y="11"/>
                    <a:pt x="46" y="12"/>
                    <a:pt x="46" y="13"/>
                  </a:cubicBezTo>
                  <a:cubicBezTo>
                    <a:pt x="45" y="15"/>
                    <a:pt x="43" y="18"/>
                    <a:pt x="38" y="20"/>
                  </a:cubicBezTo>
                  <a:cubicBezTo>
                    <a:pt x="37" y="20"/>
                    <a:pt x="37" y="20"/>
                    <a:pt x="36" y="20"/>
                  </a:cubicBezTo>
                  <a:cubicBezTo>
                    <a:pt x="34" y="20"/>
                    <a:pt x="33" y="19"/>
                    <a:pt x="32" y="18"/>
                  </a:cubicBezTo>
                  <a:cubicBezTo>
                    <a:pt x="31" y="17"/>
                    <a:pt x="31" y="17"/>
                    <a:pt x="31" y="17"/>
                  </a:cubicBezTo>
                  <a:cubicBezTo>
                    <a:pt x="31" y="17"/>
                    <a:pt x="31" y="18"/>
                    <a:pt x="30" y="19"/>
                  </a:cubicBezTo>
                  <a:cubicBezTo>
                    <a:pt x="29" y="20"/>
                    <a:pt x="29" y="20"/>
                    <a:pt x="29" y="20"/>
                  </a:cubicBezTo>
                  <a:cubicBezTo>
                    <a:pt x="28" y="20"/>
                    <a:pt x="28" y="20"/>
                    <a:pt x="28" y="20"/>
                  </a:cubicBezTo>
                  <a:cubicBezTo>
                    <a:pt x="27" y="21"/>
                    <a:pt x="27" y="21"/>
                    <a:pt x="27" y="21"/>
                  </a:cubicBezTo>
                  <a:cubicBezTo>
                    <a:pt x="26" y="21"/>
                    <a:pt x="26" y="22"/>
                    <a:pt x="26" y="22"/>
                  </a:cubicBezTo>
                  <a:cubicBezTo>
                    <a:pt x="25" y="22"/>
                    <a:pt x="25" y="22"/>
                    <a:pt x="25" y="22"/>
                  </a:cubicBezTo>
                  <a:cubicBezTo>
                    <a:pt x="24" y="23"/>
                    <a:pt x="24" y="23"/>
                    <a:pt x="23" y="23"/>
                  </a:cubicBezTo>
                  <a:cubicBezTo>
                    <a:pt x="22" y="22"/>
                    <a:pt x="22" y="22"/>
                    <a:pt x="22" y="22"/>
                  </a:cubicBezTo>
                  <a:cubicBezTo>
                    <a:pt x="21" y="22"/>
                    <a:pt x="20" y="21"/>
                    <a:pt x="18" y="20"/>
                  </a:cubicBezTo>
                  <a:cubicBezTo>
                    <a:pt x="15" y="17"/>
                    <a:pt x="17" y="13"/>
                    <a:pt x="18" y="11"/>
                  </a:cubicBezTo>
                  <a:cubicBezTo>
                    <a:pt x="19" y="10"/>
                    <a:pt x="19" y="9"/>
                    <a:pt x="19" y="9"/>
                  </a:cubicBezTo>
                  <a:cubicBezTo>
                    <a:pt x="19" y="9"/>
                    <a:pt x="18" y="9"/>
                    <a:pt x="18" y="9"/>
                  </a:cubicBezTo>
                  <a:cubicBezTo>
                    <a:pt x="18" y="9"/>
                    <a:pt x="18" y="9"/>
                    <a:pt x="18" y="9"/>
                  </a:cubicBezTo>
                  <a:cubicBezTo>
                    <a:pt x="15" y="9"/>
                    <a:pt x="14" y="7"/>
                    <a:pt x="13" y="6"/>
                  </a:cubicBezTo>
                  <a:cubicBezTo>
                    <a:pt x="13" y="5"/>
                    <a:pt x="13" y="5"/>
                    <a:pt x="13" y="4"/>
                  </a:cubicBezTo>
                  <a:cubicBezTo>
                    <a:pt x="13" y="3"/>
                    <a:pt x="13" y="3"/>
                    <a:pt x="13" y="3"/>
                  </a:cubicBezTo>
                  <a:cubicBezTo>
                    <a:pt x="12" y="3"/>
                    <a:pt x="12" y="3"/>
                    <a:pt x="12" y="3"/>
                  </a:cubicBezTo>
                  <a:cubicBezTo>
                    <a:pt x="11" y="2"/>
                    <a:pt x="11" y="2"/>
                    <a:pt x="11" y="2"/>
                  </a:cubicBezTo>
                  <a:cubicBezTo>
                    <a:pt x="11" y="2"/>
                    <a:pt x="9" y="2"/>
                    <a:pt x="8" y="2"/>
                  </a:cubicBezTo>
                  <a:cubicBezTo>
                    <a:pt x="8" y="2"/>
                    <a:pt x="8" y="2"/>
                    <a:pt x="8" y="2"/>
                  </a:cubicBezTo>
                  <a:cubicBezTo>
                    <a:pt x="5" y="2"/>
                    <a:pt x="4"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1568"/>
            <p:cNvSpPr/>
            <p:nvPr/>
          </p:nvSpPr>
          <p:spPr bwMode="auto">
            <a:xfrm>
              <a:off x="0" y="520828"/>
              <a:ext cx="9396" cy="2685"/>
            </a:xfrm>
            <a:custGeom>
              <a:gdLst>
                <a:gd name="T0" fmla="*/ 0 w 3"/>
                <a:gd name="T1" fmla="*/ 0 h 1"/>
                <a:gd name="T2" fmla="*/ 0 w 3"/>
                <a:gd name="T3" fmla="*/ 1 h 1"/>
                <a:gd name="T4" fmla="*/ 0 w 3"/>
                <a:gd name="T5" fmla="*/ 1 h 1"/>
                <a:gd name="T6" fmla="*/ 1 w 3"/>
                <a:gd name="T7" fmla="*/ 1 h 1"/>
                <a:gd name="T8" fmla="*/ 2 w 3"/>
                <a:gd name="T9" fmla="*/ 1 h 1"/>
                <a:gd name="T10" fmla="*/ 2 w 3"/>
                <a:gd name="T11" fmla="*/ 1 h 1"/>
                <a:gd name="T12" fmla="*/ 3 w 3"/>
                <a:gd name="T13" fmla="*/ 1 h 1"/>
                <a:gd name="T14" fmla="*/ 1 w 3"/>
                <a:gd name="T15" fmla="*/ 0 h 1"/>
                <a:gd name="T16" fmla="*/ 0 w 3"/>
                <a:gd name="T17" fmla="*/ 0 h 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0" y="0"/>
                  </a:moveTo>
                  <a:cubicBezTo>
                    <a:pt x="0" y="1"/>
                    <a:pt x="0" y="1"/>
                    <a:pt x="0" y="1"/>
                  </a:cubicBezTo>
                  <a:cubicBezTo>
                    <a:pt x="0" y="1"/>
                    <a:pt x="0" y="1"/>
                    <a:pt x="0" y="1"/>
                  </a:cubicBezTo>
                  <a:cubicBezTo>
                    <a:pt x="0" y="1"/>
                    <a:pt x="0" y="1"/>
                    <a:pt x="1" y="1"/>
                  </a:cubicBezTo>
                  <a:cubicBezTo>
                    <a:pt x="1" y="1"/>
                    <a:pt x="1" y="1"/>
                    <a:pt x="2" y="1"/>
                  </a:cubicBezTo>
                  <a:cubicBezTo>
                    <a:pt x="2" y="1"/>
                    <a:pt x="2" y="1"/>
                    <a:pt x="2" y="1"/>
                  </a:cubicBezTo>
                  <a:cubicBezTo>
                    <a:pt x="3" y="1"/>
                    <a:pt x="3" y="1"/>
                    <a:pt x="3" y="1"/>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1569"/>
            <p:cNvSpPr/>
            <p:nvPr/>
          </p:nvSpPr>
          <p:spPr bwMode="auto">
            <a:xfrm>
              <a:off x="304710" y="355720"/>
              <a:ext cx="2685" cy="2685"/>
            </a:xfrm>
            <a:custGeom>
              <a:gdLst>
                <a:gd name="T0" fmla="*/ 0 w 2"/>
                <a:gd name="T1" fmla="*/ 0 h 2"/>
                <a:gd name="T2" fmla="*/ 0 w 2"/>
                <a:gd name="T3" fmla="*/ 2 h 2"/>
                <a:gd name="T4" fmla="*/ 2 w 2"/>
                <a:gd name="T5" fmla="*/ 2 h 2"/>
                <a:gd name="T6" fmla="*/ 2 w 2"/>
                <a:gd name="T7" fmla="*/ 2 h 2"/>
                <a:gd name="T8" fmla="*/ 0 w 2"/>
                <a:gd name="T9" fmla="*/ 0 h 2"/>
              </a:gd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Freeform 1570"/>
            <p:cNvSpPr/>
            <p:nvPr/>
          </p:nvSpPr>
          <p:spPr bwMode="auto">
            <a:xfrm>
              <a:off x="304710" y="355720"/>
              <a:ext cx="2685" cy="2685"/>
            </a:xfrm>
            <a:custGeom>
              <a:gdLst>
                <a:gd name="T0" fmla="*/ 0 w 2"/>
                <a:gd name="T1" fmla="*/ 0 h 2"/>
                <a:gd name="T2" fmla="*/ 0 w 2"/>
                <a:gd name="T3" fmla="*/ 2 h 2"/>
                <a:gd name="T4" fmla="*/ 2 w 2"/>
                <a:gd name="T5" fmla="*/ 2 h 2"/>
                <a:gd name="T6" fmla="*/ 2 w 2"/>
                <a:gd name="T7" fmla="*/ 2 h 2"/>
                <a:gd name="T8" fmla="*/ 0 w 2"/>
                <a:gd name="T9" fmla="*/ 0 h 2"/>
              </a:gd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Freeform 1571"/>
            <p:cNvSpPr>
              <a:spLocks noEditPoints="1"/>
            </p:cNvSpPr>
            <p:nvPr/>
          </p:nvSpPr>
          <p:spPr bwMode="auto">
            <a:xfrm>
              <a:off x="0" y="1"/>
              <a:ext cx="7594935" cy="1542345"/>
            </a:xfrm>
            <a:custGeom>
              <a:gdLst>
                <a:gd name="T0" fmla="*/ 1124 w 2394"/>
                <a:gd name="T1" fmla="*/ 135 h 486"/>
                <a:gd name="T2" fmla="*/ 1053 w 2394"/>
                <a:gd name="T3" fmla="*/ 189 h 486"/>
                <a:gd name="T4" fmla="*/ 1129 w 2394"/>
                <a:gd name="T5" fmla="*/ 78 h 486"/>
                <a:gd name="T6" fmla="*/ 17 w 2394"/>
                <a:gd name="T7" fmla="*/ 132 h 486"/>
                <a:gd name="T8" fmla="*/ 50 w 2394"/>
                <a:gd name="T9" fmla="*/ 124 h 486"/>
                <a:gd name="T10" fmla="*/ 69 w 2394"/>
                <a:gd name="T11" fmla="*/ 120 h 486"/>
                <a:gd name="T12" fmla="*/ 98 w 2394"/>
                <a:gd name="T13" fmla="*/ 110 h 486"/>
                <a:gd name="T14" fmla="*/ 142 w 2394"/>
                <a:gd name="T15" fmla="*/ 103 h 486"/>
                <a:gd name="T16" fmla="*/ 168 w 2394"/>
                <a:gd name="T17" fmla="*/ 88 h 486"/>
                <a:gd name="T18" fmla="*/ 201 w 2394"/>
                <a:gd name="T19" fmla="*/ 95 h 486"/>
                <a:gd name="T20" fmla="*/ 226 w 2394"/>
                <a:gd name="T21" fmla="*/ 127 h 486"/>
                <a:gd name="T22" fmla="*/ 255 w 2394"/>
                <a:gd name="T23" fmla="*/ 129 h 486"/>
                <a:gd name="T24" fmla="*/ 276 w 2394"/>
                <a:gd name="T25" fmla="*/ 146 h 486"/>
                <a:gd name="T26" fmla="*/ 358 w 2394"/>
                <a:gd name="T27" fmla="*/ 124 h 486"/>
                <a:gd name="T28" fmla="*/ 434 w 2394"/>
                <a:gd name="T29" fmla="*/ 233 h 486"/>
                <a:gd name="T30" fmla="*/ 443 w 2394"/>
                <a:gd name="T31" fmla="*/ 221 h 486"/>
                <a:gd name="T32" fmla="*/ 469 w 2394"/>
                <a:gd name="T33" fmla="*/ 236 h 486"/>
                <a:gd name="T34" fmla="*/ 506 w 2394"/>
                <a:gd name="T35" fmla="*/ 228 h 486"/>
                <a:gd name="T36" fmla="*/ 553 w 2394"/>
                <a:gd name="T37" fmla="*/ 259 h 486"/>
                <a:gd name="T38" fmla="*/ 558 w 2394"/>
                <a:gd name="T39" fmla="*/ 271 h 486"/>
                <a:gd name="T40" fmla="*/ 609 w 2394"/>
                <a:gd name="T41" fmla="*/ 285 h 486"/>
                <a:gd name="T42" fmla="*/ 629 w 2394"/>
                <a:gd name="T43" fmla="*/ 275 h 486"/>
                <a:gd name="T44" fmla="*/ 668 w 2394"/>
                <a:gd name="T45" fmla="*/ 258 h 486"/>
                <a:gd name="T46" fmla="*/ 723 w 2394"/>
                <a:gd name="T47" fmla="*/ 232 h 486"/>
                <a:gd name="T48" fmla="*/ 764 w 2394"/>
                <a:gd name="T49" fmla="*/ 241 h 486"/>
                <a:gd name="T50" fmla="*/ 808 w 2394"/>
                <a:gd name="T51" fmla="*/ 258 h 486"/>
                <a:gd name="T52" fmla="*/ 847 w 2394"/>
                <a:gd name="T53" fmla="*/ 260 h 486"/>
                <a:gd name="T54" fmla="*/ 853 w 2394"/>
                <a:gd name="T55" fmla="*/ 216 h 486"/>
                <a:gd name="T56" fmla="*/ 895 w 2394"/>
                <a:gd name="T57" fmla="*/ 201 h 486"/>
                <a:gd name="T58" fmla="*/ 957 w 2394"/>
                <a:gd name="T59" fmla="*/ 236 h 486"/>
                <a:gd name="T60" fmla="*/ 1017 w 2394"/>
                <a:gd name="T61" fmla="*/ 246 h 486"/>
                <a:gd name="T62" fmla="*/ 1083 w 2394"/>
                <a:gd name="T63" fmla="*/ 258 h 486"/>
                <a:gd name="T64" fmla="*/ 1203 w 2394"/>
                <a:gd name="T65" fmla="*/ 273 h 486"/>
                <a:gd name="T66" fmla="*/ 1268 w 2394"/>
                <a:gd name="T67" fmla="*/ 261 h 486"/>
                <a:gd name="T68" fmla="*/ 1348 w 2394"/>
                <a:gd name="T69" fmla="*/ 259 h 486"/>
                <a:gd name="T70" fmla="*/ 1385 w 2394"/>
                <a:gd name="T71" fmla="*/ 188 h 486"/>
                <a:gd name="T72" fmla="*/ 1389 w 2394"/>
                <a:gd name="T73" fmla="*/ 159 h 486"/>
                <a:gd name="T74" fmla="*/ 1455 w 2394"/>
                <a:gd name="T75" fmla="*/ 147 h 486"/>
                <a:gd name="T76" fmla="*/ 1501 w 2394"/>
                <a:gd name="T77" fmla="*/ 162 h 486"/>
                <a:gd name="T78" fmla="*/ 1516 w 2394"/>
                <a:gd name="T79" fmla="*/ 180 h 486"/>
                <a:gd name="T80" fmla="*/ 1542 w 2394"/>
                <a:gd name="T81" fmla="*/ 231 h 486"/>
                <a:gd name="T82" fmla="*/ 1581 w 2394"/>
                <a:gd name="T83" fmla="*/ 274 h 486"/>
                <a:gd name="T84" fmla="*/ 1629 w 2394"/>
                <a:gd name="T85" fmla="*/ 317 h 486"/>
                <a:gd name="T86" fmla="*/ 1665 w 2394"/>
                <a:gd name="T87" fmla="*/ 327 h 486"/>
                <a:gd name="T88" fmla="*/ 1721 w 2394"/>
                <a:gd name="T89" fmla="*/ 317 h 486"/>
                <a:gd name="T90" fmla="*/ 1707 w 2394"/>
                <a:gd name="T91" fmla="*/ 356 h 486"/>
                <a:gd name="T92" fmla="*/ 1692 w 2394"/>
                <a:gd name="T93" fmla="*/ 392 h 486"/>
                <a:gd name="T94" fmla="*/ 1652 w 2394"/>
                <a:gd name="T95" fmla="*/ 406 h 486"/>
                <a:gd name="T96" fmla="*/ 1625 w 2394"/>
                <a:gd name="T97" fmla="*/ 481 h 486"/>
                <a:gd name="T98" fmla="*/ 1646 w 2394"/>
                <a:gd name="T99" fmla="*/ 465 h 486"/>
                <a:gd name="T100" fmla="*/ 1686 w 2394"/>
                <a:gd name="T101" fmla="*/ 475 h 486"/>
                <a:gd name="T102" fmla="*/ 1849 w 2394"/>
                <a:gd name="T103" fmla="*/ 291 h 486"/>
                <a:gd name="T104" fmla="*/ 1872 w 2394"/>
                <a:gd name="T105" fmla="*/ 172 h 486"/>
                <a:gd name="T106" fmla="*/ 1812 w 2394"/>
                <a:gd name="T107" fmla="*/ 133 h 486"/>
                <a:gd name="T108" fmla="*/ 1784 w 2394"/>
                <a:gd name="T109" fmla="*/ 135 h 486"/>
                <a:gd name="T110" fmla="*/ 1767 w 2394"/>
                <a:gd name="T111" fmla="*/ 122 h 486"/>
                <a:gd name="T112" fmla="*/ 1799 w 2394"/>
                <a:gd name="T113" fmla="*/ 53 h 486"/>
                <a:gd name="T114" fmla="*/ 2255 w 2394"/>
                <a:gd name="T115" fmla="*/ 9 h 486"/>
                <a:gd name="T116" fmla="*/ 2228 w 2394"/>
                <a:gd name="T117" fmla="*/ 184 h 486"/>
                <a:gd name="T118" fmla="*/ 2296 w 2394"/>
                <a:gd name="T119" fmla="*/ 163 h 486"/>
                <a:gd name="T120" fmla="*/ 2339 w 2394"/>
                <a:gd name="T121" fmla="*/ 116 h 486"/>
                <a:gd name="T122" fmla="*/ 2382 w 2394"/>
                <a:gd name="T123" fmla="*/ 57 h 486"/>
                <a:gd name="T124" fmla="*/ 2359 w 2394"/>
                <a:gd name="T125" fmla="*/ 0 h 4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94" h="486">
                  <a:moveTo>
                    <a:pt x="1133" y="79"/>
                  </a:moveTo>
                  <a:cubicBezTo>
                    <a:pt x="1131" y="78"/>
                    <a:pt x="1130" y="78"/>
                    <a:pt x="1128" y="77"/>
                  </a:cubicBezTo>
                  <a:cubicBezTo>
                    <a:pt x="1129" y="77"/>
                    <a:pt x="1129" y="77"/>
                    <a:pt x="1129" y="77"/>
                  </a:cubicBezTo>
                  <a:cubicBezTo>
                    <a:pt x="1132" y="77"/>
                    <a:pt x="1135" y="78"/>
                    <a:pt x="1136" y="81"/>
                  </a:cubicBezTo>
                  <a:cubicBezTo>
                    <a:pt x="1135" y="83"/>
                    <a:pt x="1134" y="83"/>
                    <a:pt x="1134" y="85"/>
                  </a:cubicBezTo>
                  <a:cubicBezTo>
                    <a:pt x="1134" y="86"/>
                    <a:pt x="1135" y="87"/>
                    <a:pt x="1135" y="88"/>
                  </a:cubicBezTo>
                  <a:cubicBezTo>
                    <a:pt x="1135" y="88"/>
                    <a:pt x="1134" y="88"/>
                    <a:pt x="1134" y="88"/>
                  </a:cubicBezTo>
                  <a:cubicBezTo>
                    <a:pt x="1134" y="89"/>
                    <a:pt x="1133" y="90"/>
                    <a:pt x="1133" y="91"/>
                  </a:cubicBezTo>
                  <a:cubicBezTo>
                    <a:pt x="1132" y="92"/>
                    <a:pt x="1133" y="94"/>
                    <a:pt x="1132" y="96"/>
                  </a:cubicBezTo>
                  <a:cubicBezTo>
                    <a:pt x="1132" y="96"/>
                    <a:pt x="1131" y="96"/>
                    <a:pt x="1131" y="97"/>
                  </a:cubicBezTo>
                  <a:cubicBezTo>
                    <a:pt x="1131" y="98"/>
                    <a:pt x="1132" y="100"/>
                    <a:pt x="1132" y="101"/>
                  </a:cubicBezTo>
                  <a:cubicBezTo>
                    <a:pt x="1132" y="102"/>
                    <a:pt x="1131" y="104"/>
                    <a:pt x="1131" y="105"/>
                  </a:cubicBezTo>
                  <a:cubicBezTo>
                    <a:pt x="1130" y="107"/>
                    <a:pt x="1129" y="108"/>
                    <a:pt x="1129" y="109"/>
                  </a:cubicBezTo>
                  <a:cubicBezTo>
                    <a:pt x="1128" y="111"/>
                    <a:pt x="1129" y="112"/>
                    <a:pt x="1128" y="114"/>
                  </a:cubicBezTo>
                  <a:cubicBezTo>
                    <a:pt x="1127" y="115"/>
                    <a:pt x="1126" y="115"/>
                    <a:pt x="1126" y="117"/>
                  </a:cubicBezTo>
                  <a:cubicBezTo>
                    <a:pt x="1126" y="120"/>
                    <a:pt x="1126" y="122"/>
                    <a:pt x="1126" y="124"/>
                  </a:cubicBezTo>
                  <a:cubicBezTo>
                    <a:pt x="1126" y="128"/>
                    <a:pt x="1126" y="131"/>
                    <a:pt x="1124" y="135"/>
                  </a:cubicBezTo>
                  <a:cubicBezTo>
                    <a:pt x="1123" y="138"/>
                    <a:pt x="1119" y="147"/>
                    <a:pt x="1116" y="148"/>
                  </a:cubicBezTo>
                  <a:cubicBezTo>
                    <a:pt x="1116" y="148"/>
                    <a:pt x="1115" y="148"/>
                    <a:pt x="1115" y="148"/>
                  </a:cubicBezTo>
                  <a:cubicBezTo>
                    <a:pt x="1113" y="148"/>
                    <a:pt x="1116" y="145"/>
                    <a:pt x="1115" y="144"/>
                  </a:cubicBezTo>
                  <a:cubicBezTo>
                    <a:pt x="1114" y="143"/>
                    <a:pt x="1113" y="142"/>
                    <a:pt x="1112" y="142"/>
                  </a:cubicBezTo>
                  <a:cubicBezTo>
                    <a:pt x="1108" y="142"/>
                    <a:pt x="1104" y="149"/>
                    <a:pt x="1103" y="152"/>
                  </a:cubicBezTo>
                  <a:cubicBezTo>
                    <a:pt x="1105" y="151"/>
                    <a:pt x="1108" y="148"/>
                    <a:pt x="1110" y="148"/>
                  </a:cubicBezTo>
                  <a:cubicBezTo>
                    <a:pt x="1111" y="148"/>
                    <a:pt x="1111" y="149"/>
                    <a:pt x="1111" y="149"/>
                  </a:cubicBezTo>
                  <a:cubicBezTo>
                    <a:pt x="1113" y="150"/>
                    <a:pt x="1114" y="155"/>
                    <a:pt x="1113" y="156"/>
                  </a:cubicBezTo>
                  <a:cubicBezTo>
                    <a:pt x="1112" y="158"/>
                    <a:pt x="1109" y="158"/>
                    <a:pt x="1107" y="159"/>
                  </a:cubicBezTo>
                  <a:cubicBezTo>
                    <a:pt x="1105" y="160"/>
                    <a:pt x="1103" y="160"/>
                    <a:pt x="1101" y="162"/>
                  </a:cubicBezTo>
                  <a:cubicBezTo>
                    <a:pt x="1098" y="164"/>
                    <a:pt x="1095" y="168"/>
                    <a:pt x="1093" y="171"/>
                  </a:cubicBezTo>
                  <a:cubicBezTo>
                    <a:pt x="1089" y="175"/>
                    <a:pt x="1086" y="177"/>
                    <a:pt x="1081" y="177"/>
                  </a:cubicBezTo>
                  <a:cubicBezTo>
                    <a:pt x="1075" y="178"/>
                    <a:pt x="1069" y="184"/>
                    <a:pt x="1064" y="188"/>
                  </a:cubicBezTo>
                  <a:cubicBezTo>
                    <a:pt x="1062" y="189"/>
                    <a:pt x="1061" y="189"/>
                    <a:pt x="1060" y="189"/>
                  </a:cubicBezTo>
                  <a:cubicBezTo>
                    <a:pt x="1059" y="189"/>
                    <a:pt x="1058" y="189"/>
                    <a:pt x="1058" y="189"/>
                  </a:cubicBezTo>
                  <a:cubicBezTo>
                    <a:pt x="1057" y="189"/>
                    <a:pt x="1056" y="189"/>
                    <a:pt x="1055" y="189"/>
                  </a:cubicBezTo>
                  <a:cubicBezTo>
                    <a:pt x="1054" y="189"/>
                    <a:pt x="1054" y="189"/>
                    <a:pt x="1053" y="189"/>
                  </a:cubicBezTo>
                  <a:cubicBezTo>
                    <a:pt x="1050" y="189"/>
                    <a:pt x="1049" y="190"/>
                    <a:pt x="1049" y="192"/>
                  </a:cubicBezTo>
                  <a:cubicBezTo>
                    <a:pt x="1049" y="195"/>
                    <a:pt x="1050" y="194"/>
                    <a:pt x="1049" y="197"/>
                  </a:cubicBezTo>
                  <a:cubicBezTo>
                    <a:pt x="1048" y="199"/>
                    <a:pt x="1046" y="200"/>
                    <a:pt x="1045" y="202"/>
                  </a:cubicBezTo>
                  <a:cubicBezTo>
                    <a:pt x="1042" y="206"/>
                    <a:pt x="1042" y="207"/>
                    <a:pt x="1037" y="209"/>
                  </a:cubicBezTo>
                  <a:cubicBezTo>
                    <a:pt x="1028" y="211"/>
                    <a:pt x="1018" y="215"/>
                    <a:pt x="1008" y="215"/>
                  </a:cubicBezTo>
                  <a:cubicBezTo>
                    <a:pt x="1006" y="215"/>
                    <a:pt x="1005" y="215"/>
                    <a:pt x="1003" y="215"/>
                  </a:cubicBezTo>
                  <a:cubicBezTo>
                    <a:pt x="1000" y="214"/>
                    <a:pt x="997" y="213"/>
                    <a:pt x="994" y="212"/>
                  </a:cubicBezTo>
                  <a:cubicBezTo>
                    <a:pt x="993" y="211"/>
                    <a:pt x="991" y="211"/>
                    <a:pt x="990" y="210"/>
                  </a:cubicBezTo>
                  <a:cubicBezTo>
                    <a:pt x="988" y="207"/>
                    <a:pt x="996" y="207"/>
                    <a:pt x="998" y="207"/>
                  </a:cubicBezTo>
                  <a:cubicBezTo>
                    <a:pt x="1011" y="204"/>
                    <a:pt x="1026" y="204"/>
                    <a:pt x="1035" y="193"/>
                  </a:cubicBezTo>
                  <a:cubicBezTo>
                    <a:pt x="1040" y="188"/>
                    <a:pt x="1043" y="183"/>
                    <a:pt x="1050" y="180"/>
                  </a:cubicBezTo>
                  <a:cubicBezTo>
                    <a:pt x="1053" y="179"/>
                    <a:pt x="1054" y="179"/>
                    <a:pt x="1056" y="177"/>
                  </a:cubicBezTo>
                  <a:cubicBezTo>
                    <a:pt x="1057" y="175"/>
                    <a:pt x="1064" y="170"/>
                    <a:pt x="1061" y="167"/>
                  </a:cubicBezTo>
                  <a:cubicBezTo>
                    <a:pt x="1073" y="156"/>
                    <a:pt x="1089" y="149"/>
                    <a:pt x="1097" y="135"/>
                  </a:cubicBezTo>
                  <a:cubicBezTo>
                    <a:pt x="1104" y="122"/>
                    <a:pt x="1112" y="110"/>
                    <a:pt x="1116" y="96"/>
                  </a:cubicBezTo>
                  <a:cubicBezTo>
                    <a:pt x="1117" y="91"/>
                    <a:pt x="1118" y="86"/>
                    <a:pt x="1122" y="82"/>
                  </a:cubicBezTo>
                  <a:cubicBezTo>
                    <a:pt x="1124" y="80"/>
                    <a:pt x="1125" y="78"/>
                    <a:pt x="1129" y="78"/>
                  </a:cubicBezTo>
                  <a:cubicBezTo>
                    <a:pt x="1129" y="78"/>
                    <a:pt x="1129" y="78"/>
                    <a:pt x="1129" y="78"/>
                  </a:cubicBezTo>
                  <a:cubicBezTo>
                    <a:pt x="1131" y="78"/>
                    <a:pt x="1132" y="79"/>
                    <a:pt x="1133" y="79"/>
                  </a:cubicBezTo>
                  <a:moveTo>
                    <a:pt x="1857" y="0"/>
                  </a:moveTo>
                  <a:cubicBezTo>
                    <a:pt x="0" y="0"/>
                    <a:pt x="0" y="0"/>
                    <a:pt x="0" y="0"/>
                  </a:cubicBezTo>
                  <a:cubicBezTo>
                    <a:pt x="0" y="132"/>
                    <a:pt x="0" y="132"/>
                    <a:pt x="0" y="132"/>
                  </a:cubicBezTo>
                  <a:cubicBezTo>
                    <a:pt x="1" y="132"/>
                    <a:pt x="1" y="132"/>
                    <a:pt x="2" y="132"/>
                  </a:cubicBezTo>
                  <a:cubicBezTo>
                    <a:pt x="3" y="132"/>
                    <a:pt x="3" y="132"/>
                    <a:pt x="3" y="132"/>
                  </a:cubicBezTo>
                  <a:cubicBezTo>
                    <a:pt x="4" y="132"/>
                    <a:pt x="4" y="132"/>
                    <a:pt x="4" y="132"/>
                  </a:cubicBezTo>
                  <a:cubicBezTo>
                    <a:pt x="4" y="132"/>
                    <a:pt x="4" y="132"/>
                    <a:pt x="4" y="132"/>
                  </a:cubicBezTo>
                  <a:cubicBezTo>
                    <a:pt x="10" y="132"/>
                    <a:pt x="10" y="132"/>
                    <a:pt x="10" y="132"/>
                  </a:cubicBezTo>
                  <a:cubicBezTo>
                    <a:pt x="11" y="128"/>
                    <a:pt x="11" y="128"/>
                    <a:pt x="11" y="128"/>
                  </a:cubicBezTo>
                  <a:cubicBezTo>
                    <a:pt x="11" y="132"/>
                    <a:pt x="11" y="132"/>
                    <a:pt x="11" y="132"/>
                  </a:cubicBezTo>
                  <a:cubicBezTo>
                    <a:pt x="12" y="132"/>
                    <a:pt x="12" y="132"/>
                    <a:pt x="12" y="132"/>
                  </a:cubicBezTo>
                  <a:cubicBezTo>
                    <a:pt x="12" y="132"/>
                    <a:pt x="13" y="132"/>
                    <a:pt x="14" y="132"/>
                  </a:cubicBezTo>
                  <a:cubicBezTo>
                    <a:pt x="15" y="132"/>
                    <a:pt x="15" y="132"/>
                    <a:pt x="15" y="132"/>
                  </a:cubicBezTo>
                  <a:cubicBezTo>
                    <a:pt x="15" y="132"/>
                    <a:pt x="15" y="132"/>
                    <a:pt x="15" y="132"/>
                  </a:cubicBezTo>
                  <a:cubicBezTo>
                    <a:pt x="16" y="132"/>
                    <a:pt x="17" y="132"/>
                    <a:pt x="17" y="132"/>
                  </a:cubicBezTo>
                  <a:cubicBezTo>
                    <a:pt x="18" y="131"/>
                    <a:pt x="18" y="131"/>
                    <a:pt x="18" y="131"/>
                  </a:cubicBezTo>
                  <a:cubicBezTo>
                    <a:pt x="20" y="131"/>
                    <a:pt x="20" y="131"/>
                    <a:pt x="20" y="131"/>
                  </a:cubicBezTo>
                  <a:cubicBezTo>
                    <a:pt x="20" y="130"/>
                    <a:pt x="20" y="130"/>
                    <a:pt x="20" y="130"/>
                  </a:cubicBezTo>
                  <a:cubicBezTo>
                    <a:pt x="22" y="131"/>
                    <a:pt x="22" y="131"/>
                    <a:pt x="22" y="131"/>
                  </a:cubicBezTo>
                  <a:cubicBezTo>
                    <a:pt x="22" y="130"/>
                    <a:pt x="22" y="130"/>
                    <a:pt x="22" y="130"/>
                  </a:cubicBezTo>
                  <a:cubicBezTo>
                    <a:pt x="23" y="130"/>
                    <a:pt x="23" y="130"/>
                    <a:pt x="24" y="130"/>
                  </a:cubicBezTo>
                  <a:cubicBezTo>
                    <a:pt x="25" y="130"/>
                    <a:pt x="25" y="130"/>
                    <a:pt x="25" y="130"/>
                  </a:cubicBezTo>
                  <a:cubicBezTo>
                    <a:pt x="25" y="130"/>
                    <a:pt x="25" y="130"/>
                    <a:pt x="25" y="130"/>
                  </a:cubicBezTo>
                  <a:cubicBezTo>
                    <a:pt x="26" y="130"/>
                    <a:pt x="26" y="130"/>
                    <a:pt x="26" y="130"/>
                  </a:cubicBezTo>
                  <a:cubicBezTo>
                    <a:pt x="26" y="129"/>
                    <a:pt x="26" y="129"/>
                    <a:pt x="26" y="129"/>
                  </a:cubicBezTo>
                  <a:cubicBezTo>
                    <a:pt x="22" y="129"/>
                    <a:pt x="22" y="129"/>
                    <a:pt x="22" y="129"/>
                  </a:cubicBezTo>
                  <a:cubicBezTo>
                    <a:pt x="35" y="127"/>
                    <a:pt x="35" y="127"/>
                    <a:pt x="35" y="127"/>
                  </a:cubicBezTo>
                  <a:cubicBezTo>
                    <a:pt x="35" y="121"/>
                    <a:pt x="35" y="121"/>
                    <a:pt x="35" y="121"/>
                  </a:cubicBezTo>
                  <a:cubicBezTo>
                    <a:pt x="36" y="126"/>
                    <a:pt x="36" y="126"/>
                    <a:pt x="36" y="126"/>
                  </a:cubicBezTo>
                  <a:cubicBezTo>
                    <a:pt x="47" y="125"/>
                    <a:pt x="47" y="125"/>
                    <a:pt x="47" y="125"/>
                  </a:cubicBezTo>
                  <a:cubicBezTo>
                    <a:pt x="47" y="124"/>
                    <a:pt x="48" y="124"/>
                    <a:pt x="48" y="124"/>
                  </a:cubicBezTo>
                  <a:cubicBezTo>
                    <a:pt x="50" y="124"/>
                    <a:pt x="50" y="124"/>
                    <a:pt x="50" y="124"/>
                  </a:cubicBezTo>
                  <a:cubicBezTo>
                    <a:pt x="50" y="124"/>
                    <a:pt x="50" y="124"/>
                    <a:pt x="50" y="124"/>
                  </a:cubicBezTo>
                  <a:cubicBezTo>
                    <a:pt x="53" y="123"/>
                    <a:pt x="53" y="123"/>
                    <a:pt x="53" y="123"/>
                  </a:cubicBezTo>
                  <a:cubicBezTo>
                    <a:pt x="54" y="123"/>
                    <a:pt x="54" y="123"/>
                    <a:pt x="54" y="123"/>
                  </a:cubicBezTo>
                  <a:cubicBezTo>
                    <a:pt x="55" y="123"/>
                    <a:pt x="55" y="123"/>
                    <a:pt x="55" y="123"/>
                  </a:cubicBezTo>
                  <a:cubicBezTo>
                    <a:pt x="56" y="122"/>
                    <a:pt x="56" y="122"/>
                    <a:pt x="56" y="122"/>
                  </a:cubicBezTo>
                  <a:cubicBezTo>
                    <a:pt x="57" y="122"/>
                    <a:pt x="57" y="122"/>
                    <a:pt x="57" y="122"/>
                  </a:cubicBezTo>
                  <a:cubicBezTo>
                    <a:pt x="59" y="122"/>
                    <a:pt x="59" y="122"/>
                    <a:pt x="59" y="122"/>
                  </a:cubicBezTo>
                  <a:cubicBezTo>
                    <a:pt x="59" y="122"/>
                    <a:pt x="59" y="122"/>
                    <a:pt x="59" y="122"/>
                  </a:cubicBezTo>
                  <a:cubicBezTo>
                    <a:pt x="62" y="121"/>
                    <a:pt x="62" y="121"/>
                    <a:pt x="62" y="121"/>
                  </a:cubicBezTo>
                  <a:cubicBezTo>
                    <a:pt x="63" y="121"/>
                    <a:pt x="63" y="121"/>
                    <a:pt x="63" y="121"/>
                  </a:cubicBezTo>
                  <a:cubicBezTo>
                    <a:pt x="63" y="121"/>
                    <a:pt x="63" y="121"/>
                    <a:pt x="64" y="121"/>
                  </a:cubicBezTo>
                  <a:cubicBezTo>
                    <a:pt x="64" y="121"/>
                    <a:pt x="64" y="121"/>
                    <a:pt x="64" y="121"/>
                  </a:cubicBezTo>
                  <a:cubicBezTo>
                    <a:pt x="64" y="121"/>
                    <a:pt x="65" y="121"/>
                    <a:pt x="66" y="121"/>
                  </a:cubicBezTo>
                  <a:cubicBezTo>
                    <a:pt x="66" y="121"/>
                    <a:pt x="66" y="121"/>
                    <a:pt x="66" y="121"/>
                  </a:cubicBezTo>
                  <a:cubicBezTo>
                    <a:pt x="67" y="121"/>
                    <a:pt x="67" y="121"/>
                    <a:pt x="67" y="120"/>
                  </a:cubicBezTo>
                  <a:cubicBezTo>
                    <a:pt x="68" y="120"/>
                    <a:pt x="68" y="120"/>
                    <a:pt x="69" y="120"/>
                  </a:cubicBezTo>
                  <a:cubicBezTo>
                    <a:pt x="69" y="120"/>
                    <a:pt x="69" y="120"/>
                    <a:pt x="69" y="120"/>
                  </a:cubicBezTo>
                  <a:cubicBezTo>
                    <a:pt x="69" y="120"/>
                    <a:pt x="70" y="120"/>
                    <a:pt x="70" y="120"/>
                  </a:cubicBezTo>
                  <a:cubicBezTo>
                    <a:pt x="70" y="120"/>
                    <a:pt x="70" y="120"/>
                    <a:pt x="71" y="121"/>
                  </a:cubicBezTo>
                  <a:cubicBezTo>
                    <a:pt x="72" y="121"/>
                    <a:pt x="72" y="121"/>
                    <a:pt x="72" y="121"/>
                  </a:cubicBezTo>
                  <a:cubicBezTo>
                    <a:pt x="73" y="121"/>
                    <a:pt x="73" y="121"/>
                    <a:pt x="73" y="121"/>
                  </a:cubicBezTo>
                  <a:cubicBezTo>
                    <a:pt x="73" y="121"/>
                    <a:pt x="73" y="121"/>
                    <a:pt x="73" y="121"/>
                  </a:cubicBezTo>
                  <a:cubicBezTo>
                    <a:pt x="74" y="120"/>
                    <a:pt x="75" y="119"/>
                    <a:pt x="77" y="119"/>
                  </a:cubicBezTo>
                  <a:cubicBezTo>
                    <a:pt x="78" y="119"/>
                    <a:pt x="78" y="120"/>
                    <a:pt x="79" y="120"/>
                  </a:cubicBezTo>
                  <a:cubicBezTo>
                    <a:pt x="79" y="119"/>
                    <a:pt x="80" y="119"/>
                    <a:pt x="80" y="119"/>
                  </a:cubicBezTo>
                  <a:cubicBezTo>
                    <a:pt x="80" y="119"/>
                    <a:pt x="80" y="119"/>
                    <a:pt x="80" y="119"/>
                  </a:cubicBezTo>
                  <a:cubicBezTo>
                    <a:pt x="81" y="117"/>
                    <a:pt x="81" y="117"/>
                    <a:pt x="81" y="117"/>
                  </a:cubicBezTo>
                  <a:cubicBezTo>
                    <a:pt x="81" y="117"/>
                    <a:pt x="81" y="117"/>
                    <a:pt x="81" y="117"/>
                  </a:cubicBezTo>
                  <a:cubicBezTo>
                    <a:pt x="82" y="116"/>
                    <a:pt x="82" y="116"/>
                    <a:pt x="82" y="116"/>
                  </a:cubicBezTo>
                  <a:cubicBezTo>
                    <a:pt x="74" y="114"/>
                    <a:pt x="74" y="114"/>
                    <a:pt x="74" y="114"/>
                  </a:cubicBezTo>
                  <a:cubicBezTo>
                    <a:pt x="90" y="112"/>
                    <a:pt x="90" y="112"/>
                    <a:pt x="90" y="112"/>
                  </a:cubicBezTo>
                  <a:cubicBezTo>
                    <a:pt x="92" y="112"/>
                    <a:pt x="92" y="112"/>
                    <a:pt x="92" y="112"/>
                  </a:cubicBezTo>
                  <a:cubicBezTo>
                    <a:pt x="96" y="112"/>
                    <a:pt x="96" y="112"/>
                    <a:pt x="96" y="112"/>
                  </a:cubicBezTo>
                  <a:cubicBezTo>
                    <a:pt x="98" y="110"/>
                    <a:pt x="98" y="110"/>
                    <a:pt x="98" y="110"/>
                  </a:cubicBezTo>
                  <a:cubicBezTo>
                    <a:pt x="99" y="110"/>
                    <a:pt x="99" y="110"/>
                    <a:pt x="100" y="110"/>
                  </a:cubicBezTo>
                  <a:cubicBezTo>
                    <a:pt x="100" y="110"/>
                    <a:pt x="101" y="110"/>
                    <a:pt x="101" y="110"/>
                  </a:cubicBezTo>
                  <a:cubicBezTo>
                    <a:pt x="101" y="110"/>
                    <a:pt x="101" y="110"/>
                    <a:pt x="101" y="110"/>
                  </a:cubicBezTo>
                  <a:cubicBezTo>
                    <a:pt x="102" y="110"/>
                    <a:pt x="102" y="110"/>
                    <a:pt x="103" y="110"/>
                  </a:cubicBezTo>
                  <a:cubicBezTo>
                    <a:pt x="103" y="110"/>
                    <a:pt x="104" y="111"/>
                    <a:pt x="104" y="112"/>
                  </a:cubicBezTo>
                  <a:cubicBezTo>
                    <a:pt x="107" y="111"/>
                    <a:pt x="107" y="111"/>
                    <a:pt x="107" y="111"/>
                  </a:cubicBezTo>
                  <a:cubicBezTo>
                    <a:pt x="108" y="111"/>
                    <a:pt x="109" y="110"/>
                    <a:pt x="111" y="110"/>
                  </a:cubicBezTo>
                  <a:cubicBezTo>
                    <a:pt x="112" y="109"/>
                    <a:pt x="112" y="109"/>
                    <a:pt x="112" y="109"/>
                  </a:cubicBezTo>
                  <a:cubicBezTo>
                    <a:pt x="114" y="109"/>
                    <a:pt x="115" y="109"/>
                    <a:pt x="116" y="109"/>
                  </a:cubicBezTo>
                  <a:cubicBezTo>
                    <a:pt x="114" y="108"/>
                    <a:pt x="114" y="108"/>
                    <a:pt x="114" y="108"/>
                  </a:cubicBezTo>
                  <a:cubicBezTo>
                    <a:pt x="123" y="107"/>
                    <a:pt x="123" y="107"/>
                    <a:pt x="123" y="107"/>
                  </a:cubicBezTo>
                  <a:cubicBezTo>
                    <a:pt x="125" y="107"/>
                    <a:pt x="125" y="107"/>
                    <a:pt x="125" y="107"/>
                  </a:cubicBezTo>
                  <a:cubicBezTo>
                    <a:pt x="127" y="106"/>
                    <a:pt x="128" y="106"/>
                    <a:pt x="129" y="106"/>
                  </a:cubicBezTo>
                  <a:cubicBezTo>
                    <a:pt x="131" y="105"/>
                    <a:pt x="131" y="105"/>
                    <a:pt x="131" y="105"/>
                  </a:cubicBezTo>
                  <a:cubicBezTo>
                    <a:pt x="133" y="104"/>
                    <a:pt x="133" y="104"/>
                    <a:pt x="133" y="104"/>
                  </a:cubicBezTo>
                  <a:cubicBezTo>
                    <a:pt x="133" y="104"/>
                    <a:pt x="133" y="104"/>
                    <a:pt x="133" y="104"/>
                  </a:cubicBezTo>
                  <a:cubicBezTo>
                    <a:pt x="142" y="103"/>
                    <a:pt x="142" y="103"/>
                    <a:pt x="142" y="103"/>
                  </a:cubicBezTo>
                  <a:cubicBezTo>
                    <a:pt x="143" y="102"/>
                    <a:pt x="143" y="102"/>
                    <a:pt x="143" y="102"/>
                  </a:cubicBezTo>
                  <a:cubicBezTo>
                    <a:pt x="144" y="102"/>
                    <a:pt x="144" y="102"/>
                    <a:pt x="144" y="102"/>
                  </a:cubicBezTo>
                  <a:cubicBezTo>
                    <a:pt x="144" y="101"/>
                    <a:pt x="145" y="101"/>
                    <a:pt x="146" y="101"/>
                  </a:cubicBezTo>
                  <a:cubicBezTo>
                    <a:pt x="146" y="101"/>
                    <a:pt x="147" y="101"/>
                    <a:pt x="147" y="101"/>
                  </a:cubicBezTo>
                  <a:cubicBezTo>
                    <a:pt x="148" y="101"/>
                    <a:pt x="149" y="101"/>
                    <a:pt x="149" y="101"/>
                  </a:cubicBezTo>
                  <a:cubicBezTo>
                    <a:pt x="150" y="102"/>
                    <a:pt x="150" y="102"/>
                    <a:pt x="150" y="102"/>
                  </a:cubicBezTo>
                  <a:cubicBezTo>
                    <a:pt x="150" y="102"/>
                    <a:pt x="150" y="102"/>
                    <a:pt x="150" y="102"/>
                  </a:cubicBezTo>
                  <a:cubicBezTo>
                    <a:pt x="151" y="102"/>
                    <a:pt x="151" y="101"/>
                    <a:pt x="152" y="101"/>
                  </a:cubicBezTo>
                  <a:cubicBezTo>
                    <a:pt x="154" y="100"/>
                    <a:pt x="154" y="100"/>
                    <a:pt x="154" y="100"/>
                  </a:cubicBezTo>
                  <a:cubicBezTo>
                    <a:pt x="154" y="99"/>
                    <a:pt x="154" y="99"/>
                    <a:pt x="154" y="99"/>
                  </a:cubicBezTo>
                  <a:cubicBezTo>
                    <a:pt x="155" y="99"/>
                    <a:pt x="155" y="99"/>
                    <a:pt x="155" y="99"/>
                  </a:cubicBezTo>
                  <a:cubicBezTo>
                    <a:pt x="155" y="98"/>
                    <a:pt x="156" y="98"/>
                    <a:pt x="157" y="97"/>
                  </a:cubicBezTo>
                  <a:cubicBezTo>
                    <a:pt x="158" y="97"/>
                    <a:pt x="161" y="95"/>
                    <a:pt x="161" y="95"/>
                  </a:cubicBezTo>
                  <a:cubicBezTo>
                    <a:pt x="162" y="94"/>
                    <a:pt x="162" y="93"/>
                    <a:pt x="163" y="92"/>
                  </a:cubicBezTo>
                  <a:cubicBezTo>
                    <a:pt x="163" y="90"/>
                    <a:pt x="163" y="90"/>
                    <a:pt x="163" y="90"/>
                  </a:cubicBezTo>
                  <a:cubicBezTo>
                    <a:pt x="164" y="89"/>
                    <a:pt x="166" y="88"/>
                    <a:pt x="168" y="88"/>
                  </a:cubicBezTo>
                  <a:cubicBezTo>
                    <a:pt x="168" y="88"/>
                    <a:pt x="168" y="88"/>
                    <a:pt x="168" y="88"/>
                  </a:cubicBezTo>
                  <a:cubicBezTo>
                    <a:pt x="168" y="89"/>
                    <a:pt x="168" y="89"/>
                    <a:pt x="168" y="89"/>
                  </a:cubicBezTo>
                  <a:cubicBezTo>
                    <a:pt x="168" y="88"/>
                    <a:pt x="168" y="88"/>
                    <a:pt x="168" y="88"/>
                  </a:cubicBezTo>
                  <a:cubicBezTo>
                    <a:pt x="174" y="88"/>
                    <a:pt x="174" y="88"/>
                    <a:pt x="174" y="88"/>
                  </a:cubicBezTo>
                  <a:cubicBezTo>
                    <a:pt x="175" y="89"/>
                    <a:pt x="175" y="89"/>
                    <a:pt x="175" y="89"/>
                  </a:cubicBezTo>
                  <a:cubicBezTo>
                    <a:pt x="175" y="88"/>
                    <a:pt x="175" y="88"/>
                    <a:pt x="175" y="88"/>
                  </a:cubicBezTo>
                  <a:cubicBezTo>
                    <a:pt x="178" y="88"/>
                    <a:pt x="178" y="88"/>
                    <a:pt x="178" y="88"/>
                  </a:cubicBezTo>
                  <a:cubicBezTo>
                    <a:pt x="178" y="88"/>
                    <a:pt x="178" y="88"/>
                    <a:pt x="178" y="88"/>
                  </a:cubicBezTo>
                  <a:cubicBezTo>
                    <a:pt x="179" y="88"/>
                    <a:pt x="179" y="88"/>
                    <a:pt x="179" y="88"/>
                  </a:cubicBezTo>
                  <a:cubicBezTo>
                    <a:pt x="179" y="88"/>
                    <a:pt x="179" y="88"/>
                    <a:pt x="179" y="88"/>
                  </a:cubicBezTo>
                  <a:cubicBezTo>
                    <a:pt x="188" y="89"/>
                    <a:pt x="188" y="89"/>
                    <a:pt x="188" y="89"/>
                  </a:cubicBezTo>
                  <a:cubicBezTo>
                    <a:pt x="190" y="89"/>
                    <a:pt x="190" y="89"/>
                    <a:pt x="191" y="90"/>
                  </a:cubicBezTo>
                  <a:cubicBezTo>
                    <a:pt x="193" y="91"/>
                    <a:pt x="193" y="91"/>
                    <a:pt x="193" y="91"/>
                  </a:cubicBezTo>
                  <a:cubicBezTo>
                    <a:pt x="194" y="92"/>
                    <a:pt x="195" y="93"/>
                    <a:pt x="196" y="93"/>
                  </a:cubicBezTo>
                  <a:cubicBezTo>
                    <a:pt x="196" y="94"/>
                    <a:pt x="196" y="94"/>
                    <a:pt x="196" y="94"/>
                  </a:cubicBezTo>
                  <a:cubicBezTo>
                    <a:pt x="197" y="94"/>
                    <a:pt x="197" y="94"/>
                    <a:pt x="197" y="94"/>
                  </a:cubicBezTo>
                  <a:cubicBezTo>
                    <a:pt x="198" y="94"/>
                    <a:pt x="199" y="95"/>
                    <a:pt x="200" y="95"/>
                  </a:cubicBezTo>
                  <a:cubicBezTo>
                    <a:pt x="201" y="95"/>
                    <a:pt x="201" y="95"/>
                    <a:pt x="201" y="95"/>
                  </a:cubicBezTo>
                  <a:cubicBezTo>
                    <a:pt x="202" y="94"/>
                    <a:pt x="205" y="92"/>
                    <a:pt x="208" y="90"/>
                  </a:cubicBezTo>
                  <a:cubicBezTo>
                    <a:pt x="209" y="90"/>
                    <a:pt x="209" y="90"/>
                    <a:pt x="209" y="90"/>
                  </a:cubicBezTo>
                  <a:cubicBezTo>
                    <a:pt x="214" y="90"/>
                    <a:pt x="214" y="90"/>
                    <a:pt x="214" y="90"/>
                  </a:cubicBezTo>
                  <a:cubicBezTo>
                    <a:pt x="215" y="90"/>
                    <a:pt x="215" y="90"/>
                    <a:pt x="215" y="90"/>
                  </a:cubicBezTo>
                  <a:cubicBezTo>
                    <a:pt x="216" y="91"/>
                    <a:pt x="218" y="92"/>
                    <a:pt x="219" y="93"/>
                  </a:cubicBezTo>
                  <a:cubicBezTo>
                    <a:pt x="220" y="96"/>
                    <a:pt x="222" y="99"/>
                    <a:pt x="223" y="103"/>
                  </a:cubicBezTo>
                  <a:cubicBezTo>
                    <a:pt x="228" y="112"/>
                    <a:pt x="228" y="112"/>
                    <a:pt x="228" y="112"/>
                  </a:cubicBezTo>
                  <a:cubicBezTo>
                    <a:pt x="228" y="113"/>
                    <a:pt x="228" y="114"/>
                    <a:pt x="228" y="115"/>
                  </a:cubicBezTo>
                  <a:cubicBezTo>
                    <a:pt x="228" y="116"/>
                    <a:pt x="228" y="116"/>
                    <a:pt x="228" y="116"/>
                  </a:cubicBezTo>
                  <a:cubicBezTo>
                    <a:pt x="226" y="117"/>
                    <a:pt x="226" y="117"/>
                    <a:pt x="226" y="117"/>
                  </a:cubicBezTo>
                  <a:cubicBezTo>
                    <a:pt x="226" y="119"/>
                    <a:pt x="226" y="119"/>
                    <a:pt x="226" y="119"/>
                  </a:cubicBezTo>
                  <a:cubicBezTo>
                    <a:pt x="227" y="119"/>
                    <a:pt x="227" y="119"/>
                    <a:pt x="227" y="119"/>
                  </a:cubicBezTo>
                  <a:cubicBezTo>
                    <a:pt x="227" y="120"/>
                    <a:pt x="227" y="120"/>
                    <a:pt x="227" y="120"/>
                  </a:cubicBezTo>
                  <a:cubicBezTo>
                    <a:pt x="227" y="121"/>
                    <a:pt x="227" y="121"/>
                    <a:pt x="227" y="121"/>
                  </a:cubicBezTo>
                  <a:cubicBezTo>
                    <a:pt x="227" y="121"/>
                    <a:pt x="227" y="121"/>
                    <a:pt x="227" y="121"/>
                  </a:cubicBezTo>
                  <a:cubicBezTo>
                    <a:pt x="228" y="123"/>
                    <a:pt x="228" y="123"/>
                    <a:pt x="228" y="123"/>
                  </a:cubicBezTo>
                  <a:cubicBezTo>
                    <a:pt x="227" y="125"/>
                    <a:pt x="227" y="126"/>
                    <a:pt x="226" y="127"/>
                  </a:cubicBezTo>
                  <a:cubicBezTo>
                    <a:pt x="225" y="127"/>
                    <a:pt x="225" y="128"/>
                    <a:pt x="224" y="128"/>
                  </a:cubicBezTo>
                  <a:cubicBezTo>
                    <a:pt x="225" y="129"/>
                    <a:pt x="225" y="129"/>
                    <a:pt x="225" y="129"/>
                  </a:cubicBezTo>
                  <a:cubicBezTo>
                    <a:pt x="227" y="129"/>
                    <a:pt x="227" y="129"/>
                    <a:pt x="227" y="129"/>
                  </a:cubicBezTo>
                  <a:cubicBezTo>
                    <a:pt x="227" y="129"/>
                    <a:pt x="227" y="129"/>
                    <a:pt x="227" y="129"/>
                  </a:cubicBezTo>
                  <a:cubicBezTo>
                    <a:pt x="228" y="129"/>
                    <a:pt x="228" y="129"/>
                    <a:pt x="228" y="129"/>
                  </a:cubicBezTo>
                  <a:cubicBezTo>
                    <a:pt x="230" y="129"/>
                    <a:pt x="231" y="129"/>
                    <a:pt x="232" y="129"/>
                  </a:cubicBezTo>
                  <a:cubicBezTo>
                    <a:pt x="236" y="128"/>
                    <a:pt x="236" y="128"/>
                    <a:pt x="236" y="128"/>
                  </a:cubicBezTo>
                  <a:cubicBezTo>
                    <a:pt x="242" y="127"/>
                    <a:pt x="242" y="127"/>
                    <a:pt x="242" y="127"/>
                  </a:cubicBezTo>
                  <a:cubicBezTo>
                    <a:pt x="243" y="127"/>
                    <a:pt x="243" y="127"/>
                    <a:pt x="243" y="127"/>
                  </a:cubicBezTo>
                  <a:cubicBezTo>
                    <a:pt x="242" y="126"/>
                    <a:pt x="242" y="125"/>
                    <a:pt x="242" y="124"/>
                  </a:cubicBezTo>
                  <a:cubicBezTo>
                    <a:pt x="241" y="121"/>
                    <a:pt x="241" y="121"/>
                    <a:pt x="241" y="121"/>
                  </a:cubicBezTo>
                  <a:cubicBezTo>
                    <a:pt x="247" y="120"/>
                    <a:pt x="247" y="120"/>
                    <a:pt x="247" y="120"/>
                  </a:cubicBezTo>
                  <a:cubicBezTo>
                    <a:pt x="249" y="121"/>
                    <a:pt x="249" y="121"/>
                    <a:pt x="249" y="121"/>
                  </a:cubicBezTo>
                  <a:cubicBezTo>
                    <a:pt x="249" y="121"/>
                    <a:pt x="249" y="121"/>
                    <a:pt x="249" y="121"/>
                  </a:cubicBezTo>
                  <a:cubicBezTo>
                    <a:pt x="253" y="126"/>
                    <a:pt x="253" y="126"/>
                    <a:pt x="253" y="126"/>
                  </a:cubicBezTo>
                  <a:cubicBezTo>
                    <a:pt x="254" y="127"/>
                    <a:pt x="254" y="128"/>
                    <a:pt x="255" y="129"/>
                  </a:cubicBezTo>
                  <a:cubicBezTo>
                    <a:pt x="255" y="129"/>
                    <a:pt x="255" y="129"/>
                    <a:pt x="255" y="129"/>
                  </a:cubicBezTo>
                  <a:cubicBezTo>
                    <a:pt x="256" y="129"/>
                    <a:pt x="256" y="129"/>
                    <a:pt x="256" y="129"/>
                  </a:cubicBezTo>
                  <a:cubicBezTo>
                    <a:pt x="256" y="128"/>
                    <a:pt x="257" y="128"/>
                    <a:pt x="258" y="128"/>
                  </a:cubicBezTo>
                  <a:cubicBezTo>
                    <a:pt x="258" y="128"/>
                    <a:pt x="259" y="128"/>
                    <a:pt x="259" y="129"/>
                  </a:cubicBezTo>
                  <a:cubicBezTo>
                    <a:pt x="260" y="129"/>
                    <a:pt x="260" y="129"/>
                    <a:pt x="260" y="129"/>
                  </a:cubicBezTo>
                  <a:cubicBezTo>
                    <a:pt x="261" y="129"/>
                    <a:pt x="261" y="129"/>
                    <a:pt x="261" y="129"/>
                  </a:cubicBezTo>
                  <a:cubicBezTo>
                    <a:pt x="262" y="129"/>
                    <a:pt x="262" y="130"/>
                    <a:pt x="263" y="130"/>
                  </a:cubicBezTo>
                  <a:cubicBezTo>
                    <a:pt x="264" y="131"/>
                    <a:pt x="264" y="131"/>
                    <a:pt x="264" y="131"/>
                  </a:cubicBezTo>
                  <a:cubicBezTo>
                    <a:pt x="266" y="132"/>
                    <a:pt x="268" y="133"/>
                    <a:pt x="270" y="133"/>
                  </a:cubicBezTo>
                  <a:cubicBezTo>
                    <a:pt x="270" y="133"/>
                    <a:pt x="270" y="133"/>
                    <a:pt x="270" y="133"/>
                  </a:cubicBezTo>
                  <a:cubicBezTo>
                    <a:pt x="290" y="130"/>
                    <a:pt x="290" y="130"/>
                    <a:pt x="290" y="130"/>
                  </a:cubicBezTo>
                  <a:cubicBezTo>
                    <a:pt x="287" y="135"/>
                    <a:pt x="287" y="135"/>
                    <a:pt x="287" y="135"/>
                  </a:cubicBezTo>
                  <a:cubicBezTo>
                    <a:pt x="287" y="135"/>
                    <a:pt x="286" y="136"/>
                    <a:pt x="286" y="136"/>
                  </a:cubicBezTo>
                  <a:cubicBezTo>
                    <a:pt x="284" y="139"/>
                    <a:pt x="284" y="139"/>
                    <a:pt x="284" y="139"/>
                  </a:cubicBezTo>
                  <a:cubicBezTo>
                    <a:pt x="283" y="140"/>
                    <a:pt x="282" y="141"/>
                    <a:pt x="280" y="141"/>
                  </a:cubicBezTo>
                  <a:cubicBezTo>
                    <a:pt x="279" y="142"/>
                    <a:pt x="279" y="142"/>
                    <a:pt x="279" y="142"/>
                  </a:cubicBezTo>
                  <a:cubicBezTo>
                    <a:pt x="278" y="143"/>
                    <a:pt x="278" y="143"/>
                    <a:pt x="278" y="143"/>
                  </a:cubicBezTo>
                  <a:cubicBezTo>
                    <a:pt x="277" y="144"/>
                    <a:pt x="277" y="145"/>
                    <a:pt x="276" y="146"/>
                  </a:cubicBezTo>
                  <a:cubicBezTo>
                    <a:pt x="276" y="147"/>
                    <a:pt x="276" y="147"/>
                    <a:pt x="276" y="147"/>
                  </a:cubicBezTo>
                  <a:cubicBezTo>
                    <a:pt x="278" y="150"/>
                    <a:pt x="278" y="150"/>
                    <a:pt x="278" y="150"/>
                  </a:cubicBezTo>
                  <a:cubicBezTo>
                    <a:pt x="280" y="148"/>
                    <a:pt x="280" y="148"/>
                    <a:pt x="280" y="148"/>
                  </a:cubicBezTo>
                  <a:cubicBezTo>
                    <a:pt x="282" y="147"/>
                    <a:pt x="284" y="146"/>
                    <a:pt x="286" y="146"/>
                  </a:cubicBezTo>
                  <a:cubicBezTo>
                    <a:pt x="286" y="146"/>
                    <a:pt x="287" y="146"/>
                    <a:pt x="287" y="146"/>
                  </a:cubicBezTo>
                  <a:cubicBezTo>
                    <a:pt x="293" y="146"/>
                    <a:pt x="293" y="146"/>
                    <a:pt x="293" y="146"/>
                  </a:cubicBezTo>
                  <a:cubicBezTo>
                    <a:pt x="296" y="147"/>
                    <a:pt x="296" y="147"/>
                    <a:pt x="296" y="147"/>
                  </a:cubicBezTo>
                  <a:cubicBezTo>
                    <a:pt x="297" y="147"/>
                    <a:pt x="297" y="147"/>
                    <a:pt x="298" y="148"/>
                  </a:cubicBezTo>
                  <a:cubicBezTo>
                    <a:pt x="298" y="147"/>
                    <a:pt x="298" y="147"/>
                    <a:pt x="298" y="147"/>
                  </a:cubicBezTo>
                  <a:cubicBezTo>
                    <a:pt x="298" y="146"/>
                    <a:pt x="298" y="146"/>
                    <a:pt x="298" y="146"/>
                  </a:cubicBezTo>
                  <a:cubicBezTo>
                    <a:pt x="298" y="145"/>
                    <a:pt x="299" y="144"/>
                    <a:pt x="300" y="143"/>
                  </a:cubicBezTo>
                  <a:cubicBezTo>
                    <a:pt x="301" y="143"/>
                    <a:pt x="301" y="143"/>
                    <a:pt x="301" y="143"/>
                  </a:cubicBezTo>
                  <a:cubicBezTo>
                    <a:pt x="311" y="138"/>
                    <a:pt x="311" y="138"/>
                    <a:pt x="311" y="138"/>
                  </a:cubicBezTo>
                  <a:cubicBezTo>
                    <a:pt x="315" y="137"/>
                    <a:pt x="318" y="135"/>
                    <a:pt x="321" y="133"/>
                  </a:cubicBezTo>
                  <a:cubicBezTo>
                    <a:pt x="324" y="132"/>
                    <a:pt x="327" y="130"/>
                    <a:pt x="331" y="128"/>
                  </a:cubicBezTo>
                  <a:cubicBezTo>
                    <a:pt x="375" y="110"/>
                    <a:pt x="375" y="110"/>
                    <a:pt x="375" y="110"/>
                  </a:cubicBezTo>
                  <a:cubicBezTo>
                    <a:pt x="358" y="124"/>
                    <a:pt x="358" y="124"/>
                    <a:pt x="358" y="124"/>
                  </a:cubicBezTo>
                  <a:cubicBezTo>
                    <a:pt x="359" y="127"/>
                    <a:pt x="359" y="127"/>
                    <a:pt x="359" y="127"/>
                  </a:cubicBezTo>
                  <a:cubicBezTo>
                    <a:pt x="359" y="128"/>
                    <a:pt x="358" y="129"/>
                    <a:pt x="358" y="130"/>
                  </a:cubicBezTo>
                  <a:cubicBezTo>
                    <a:pt x="357" y="131"/>
                    <a:pt x="357" y="131"/>
                    <a:pt x="357" y="131"/>
                  </a:cubicBezTo>
                  <a:cubicBezTo>
                    <a:pt x="357" y="132"/>
                    <a:pt x="357" y="132"/>
                    <a:pt x="357" y="132"/>
                  </a:cubicBezTo>
                  <a:cubicBezTo>
                    <a:pt x="357" y="132"/>
                    <a:pt x="357" y="132"/>
                    <a:pt x="357" y="132"/>
                  </a:cubicBezTo>
                  <a:cubicBezTo>
                    <a:pt x="356" y="132"/>
                    <a:pt x="356" y="132"/>
                    <a:pt x="356" y="132"/>
                  </a:cubicBezTo>
                  <a:cubicBezTo>
                    <a:pt x="356" y="133"/>
                    <a:pt x="356" y="133"/>
                    <a:pt x="355" y="133"/>
                  </a:cubicBezTo>
                  <a:cubicBezTo>
                    <a:pt x="354" y="134"/>
                    <a:pt x="354" y="134"/>
                    <a:pt x="354" y="134"/>
                  </a:cubicBezTo>
                  <a:cubicBezTo>
                    <a:pt x="356" y="135"/>
                    <a:pt x="357" y="136"/>
                    <a:pt x="358" y="136"/>
                  </a:cubicBezTo>
                  <a:cubicBezTo>
                    <a:pt x="363" y="141"/>
                    <a:pt x="363" y="141"/>
                    <a:pt x="363" y="141"/>
                  </a:cubicBezTo>
                  <a:cubicBezTo>
                    <a:pt x="376" y="150"/>
                    <a:pt x="376" y="150"/>
                    <a:pt x="376" y="150"/>
                  </a:cubicBezTo>
                  <a:cubicBezTo>
                    <a:pt x="380" y="153"/>
                    <a:pt x="383" y="157"/>
                    <a:pt x="385" y="159"/>
                  </a:cubicBezTo>
                  <a:cubicBezTo>
                    <a:pt x="396" y="174"/>
                    <a:pt x="396" y="174"/>
                    <a:pt x="396" y="174"/>
                  </a:cubicBezTo>
                  <a:cubicBezTo>
                    <a:pt x="400" y="180"/>
                    <a:pt x="400" y="180"/>
                    <a:pt x="400" y="180"/>
                  </a:cubicBezTo>
                  <a:cubicBezTo>
                    <a:pt x="406" y="189"/>
                    <a:pt x="412" y="198"/>
                    <a:pt x="417" y="207"/>
                  </a:cubicBezTo>
                  <a:cubicBezTo>
                    <a:pt x="422" y="215"/>
                    <a:pt x="427" y="223"/>
                    <a:pt x="432" y="231"/>
                  </a:cubicBezTo>
                  <a:cubicBezTo>
                    <a:pt x="434" y="233"/>
                    <a:pt x="434" y="233"/>
                    <a:pt x="434" y="233"/>
                  </a:cubicBezTo>
                  <a:cubicBezTo>
                    <a:pt x="434" y="232"/>
                    <a:pt x="435" y="232"/>
                    <a:pt x="436" y="231"/>
                  </a:cubicBezTo>
                  <a:cubicBezTo>
                    <a:pt x="436" y="231"/>
                    <a:pt x="436" y="231"/>
                    <a:pt x="436" y="231"/>
                  </a:cubicBezTo>
                  <a:cubicBezTo>
                    <a:pt x="437" y="231"/>
                    <a:pt x="438" y="230"/>
                    <a:pt x="439" y="230"/>
                  </a:cubicBezTo>
                  <a:cubicBezTo>
                    <a:pt x="440" y="230"/>
                    <a:pt x="440" y="230"/>
                    <a:pt x="440" y="230"/>
                  </a:cubicBezTo>
                  <a:cubicBezTo>
                    <a:pt x="440" y="230"/>
                    <a:pt x="440" y="230"/>
                    <a:pt x="440" y="230"/>
                  </a:cubicBezTo>
                  <a:cubicBezTo>
                    <a:pt x="440" y="229"/>
                    <a:pt x="440" y="229"/>
                    <a:pt x="440" y="229"/>
                  </a:cubicBezTo>
                  <a:cubicBezTo>
                    <a:pt x="439" y="229"/>
                    <a:pt x="439" y="229"/>
                    <a:pt x="439" y="229"/>
                  </a:cubicBezTo>
                  <a:cubicBezTo>
                    <a:pt x="439" y="228"/>
                    <a:pt x="439" y="227"/>
                    <a:pt x="439" y="227"/>
                  </a:cubicBezTo>
                  <a:cubicBezTo>
                    <a:pt x="439" y="226"/>
                    <a:pt x="439" y="226"/>
                    <a:pt x="439" y="226"/>
                  </a:cubicBezTo>
                  <a:cubicBezTo>
                    <a:pt x="439" y="226"/>
                    <a:pt x="439" y="226"/>
                    <a:pt x="439" y="226"/>
                  </a:cubicBezTo>
                  <a:cubicBezTo>
                    <a:pt x="439" y="225"/>
                    <a:pt x="439" y="225"/>
                    <a:pt x="439" y="225"/>
                  </a:cubicBezTo>
                  <a:cubicBezTo>
                    <a:pt x="439" y="225"/>
                    <a:pt x="439" y="225"/>
                    <a:pt x="439" y="225"/>
                  </a:cubicBezTo>
                  <a:cubicBezTo>
                    <a:pt x="439" y="223"/>
                    <a:pt x="439" y="223"/>
                    <a:pt x="439" y="223"/>
                  </a:cubicBezTo>
                  <a:cubicBezTo>
                    <a:pt x="439" y="223"/>
                    <a:pt x="440" y="222"/>
                    <a:pt x="440" y="222"/>
                  </a:cubicBezTo>
                  <a:cubicBezTo>
                    <a:pt x="441" y="221"/>
                    <a:pt x="442" y="221"/>
                    <a:pt x="443" y="221"/>
                  </a:cubicBezTo>
                  <a:cubicBezTo>
                    <a:pt x="443" y="221"/>
                    <a:pt x="443" y="221"/>
                    <a:pt x="443" y="221"/>
                  </a:cubicBezTo>
                  <a:cubicBezTo>
                    <a:pt x="443" y="221"/>
                    <a:pt x="443" y="221"/>
                    <a:pt x="443" y="221"/>
                  </a:cubicBezTo>
                  <a:cubicBezTo>
                    <a:pt x="444" y="221"/>
                    <a:pt x="444" y="221"/>
                    <a:pt x="444" y="221"/>
                  </a:cubicBezTo>
                  <a:cubicBezTo>
                    <a:pt x="444" y="221"/>
                    <a:pt x="444" y="221"/>
                    <a:pt x="444" y="221"/>
                  </a:cubicBezTo>
                  <a:cubicBezTo>
                    <a:pt x="445" y="220"/>
                    <a:pt x="446" y="218"/>
                    <a:pt x="448" y="218"/>
                  </a:cubicBezTo>
                  <a:cubicBezTo>
                    <a:pt x="448" y="218"/>
                    <a:pt x="449" y="218"/>
                    <a:pt x="449" y="218"/>
                  </a:cubicBezTo>
                  <a:cubicBezTo>
                    <a:pt x="457" y="221"/>
                    <a:pt x="457" y="221"/>
                    <a:pt x="457" y="221"/>
                  </a:cubicBezTo>
                  <a:cubicBezTo>
                    <a:pt x="461" y="222"/>
                    <a:pt x="461" y="224"/>
                    <a:pt x="461" y="225"/>
                  </a:cubicBezTo>
                  <a:cubicBezTo>
                    <a:pt x="461" y="227"/>
                    <a:pt x="461" y="227"/>
                    <a:pt x="461" y="227"/>
                  </a:cubicBezTo>
                  <a:cubicBezTo>
                    <a:pt x="461" y="228"/>
                    <a:pt x="460" y="228"/>
                    <a:pt x="460" y="228"/>
                  </a:cubicBezTo>
                  <a:cubicBezTo>
                    <a:pt x="460" y="229"/>
                    <a:pt x="460" y="229"/>
                    <a:pt x="460" y="229"/>
                  </a:cubicBezTo>
                  <a:cubicBezTo>
                    <a:pt x="460" y="229"/>
                    <a:pt x="460" y="229"/>
                    <a:pt x="460" y="229"/>
                  </a:cubicBezTo>
                  <a:cubicBezTo>
                    <a:pt x="461" y="230"/>
                    <a:pt x="461" y="230"/>
                    <a:pt x="461" y="230"/>
                  </a:cubicBezTo>
                  <a:cubicBezTo>
                    <a:pt x="462" y="231"/>
                    <a:pt x="463" y="232"/>
                    <a:pt x="463" y="232"/>
                  </a:cubicBezTo>
                  <a:cubicBezTo>
                    <a:pt x="464" y="233"/>
                    <a:pt x="464" y="233"/>
                    <a:pt x="464" y="233"/>
                  </a:cubicBezTo>
                  <a:cubicBezTo>
                    <a:pt x="465" y="234"/>
                    <a:pt x="466" y="235"/>
                    <a:pt x="467" y="235"/>
                  </a:cubicBezTo>
                  <a:cubicBezTo>
                    <a:pt x="467" y="236"/>
                    <a:pt x="467" y="236"/>
                    <a:pt x="467" y="236"/>
                  </a:cubicBezTo>
                  <a:cubicBezTo>
                    <a:pt x="468" y="236"/>
                    <a:pt x="468" y="236"/>
                    <a:pt x="468" y="236"/>
                  </a:cubicBezTo>
                  <a:cubicBezTo>
                    <a:pt x="468" y="236"/>
                    <a:pt x="469" y="236"/>
                    <a:pt x="469" y="236"/>
                  </a:cubicBezTo>
                  <a:cubicBezTo>
                    <a:pt x="469" y="236"/>
                    <a:pt x="469" y="236"/>
                    <a:pt x="470" y="236"/>
                  </a:cubicBezTo>
                  <a:cubicBezTo>
                    <a:pt x="470" y="236"/>
                    <a:pt x="470" y="236"/>
                    <a:pt x="470" y="236"/>
                  </a:cubicBezTo>
                  <a:cubicBezTo>
                    <a:pt x="471" y="235"/>
                    <a:pt x="471" y="235"/>
                    <a:pt x="471" y="235"/>
                  </a:cubicBezTo>
                  <a:cubicBezTo>
                    <a:pt x="472" y="235"/>
                    <a:pt x="472" y="235"/>
                    <a:pt x="472" y="235"/>
                  </a:cubicBezTo>
                  <a:cubicBezTo>
                    <a:pt x="473" y="235"/>
                    <a:pt x="474" y="235"/>
                    <a:pt x="475" y="235"/>
                  </a:cubicBezTo>
                  <a:cubicBezTo>
                    <a:pt x="476" y="235"/>
                    <a:pt x="476" y="235"/>
                    <a:pt x="477" y="235"/>
                  </a:cubicBezTo>
                  <a:cubicBezTo>
                    <a:pt x="490" y="236"/>
                    <a:pt x="490" y="236"/>
                    <a:pt x="490" y="236"/>
                  </a:cubicBezTo>
                  <a:cubicBezTo>
                    <a:pt x="490" y="236"/>
                    <a:pt x="490" y="236"/>
                    <a:pt x="490" y="236"/>
                  </a:cubicBezTo>
                  <a:cubicBezTo>
                    <a:pt x="491" y="236"/>
                    <a:pt x="491" y="235"/>
                    <a:pt x="492" y="235"/>
                  </a:cubicBezTo>
                  <a:cubicBezTo>
                    <a:pt x="493" y="235"/>
                    <a:pt x="493" y="235"/>
                    <a:pt x="493" y="235"/>
                  </a:cubicBezTo>
                  <a:cubicBezTo>
                    <a:pt x="493" y="235"/>
                    <a:pt x="493" y="235"/>
                    <a:pt x="493" y="235"/>
                  </a:cubicBezTo>
                  <a:cubicBezTo>
                    <a:pt x="493" y="234"/>
                    <a:pt x="493" y="234"/>
                    <a:pt x="493" y="234"/>
                  </a:cubicBezTo>
                  <a:cubicBezTo>
                    <a:pt x="494" y="232"/>
                    <a:pt x="495" y="231"/>
                    <a:pt x="496" y="230"/>
                  </a:cubicBezTo>
                  <a:cubicBezTo>
                    <a:pt x="497" y="230"/>
                    <a:pt x="497" y="230"/>
                    <a:pt x="497" y="230"/>
                  </a:cubicBezTo>
                  <a:cubicBezTo>
                    <a:pt x="504" y="228"/>
                    <a:pt x="504" y="228"/>
                    <a:pt x="504" y="228"/>
                  </a:cubicBezTo>
                  <a:cubicBezTo>
                    <a:pt x="505" y="228"/>
                    <a:pt x="505" y="228"/>
                    <a:pt x="506" y="228"/>
                  </a:cubicBezTo>
                  <a:cubicBezTo>
                    <a:pt x="506" y="228"/>
                    <a:pt x="506" y="228"/>
                    <a:pt x="506" y="228"/>
                  </a:cubicBezTo>
                  <a:cubicBezTo>
                    <a:pt x="507" y="228"/>
                    <a:pt x="507" y="228"/>
                    <a:pt x="507" y="228"/>
                  </a:cubicBezTo>
                  <a:cubicBezTo>
                    <a:pt x="517" y="230"/>
                    <a:pt x="517" y="230"/>
                    <a:pt x="517" y="230"/>
                  </a:cubicBezTo>
                  <a:cubicBezTo>
                    <a:pt x="518" y="231"/>
                    <a:pt x="520" y="231"/>
                    <a:pt x="521" y="231"/>
                  </a:cubicBezTo>
                  <a:cubicBezTo>
                    <a:pt x="522" y="231"/>
                    <a:pt x="523" y="232"/>
                    <a:pt x="524" y="232"/>
                  </a:cubicBezTo>
                  <a:cubicBezTo>
                    <a:pt x="524" y="232"/>
                    <a:pt x="524" y="232"/>
                    <a:pt x="524" y="232"/>
                  </a:cubicBezTo>
                  <a:cubicBezTo>
                    <a:pt x="525" y="234"/>
                    <a:pt x="525" y="234"/>
                    <a:pt x="525" y="234"/>
                  </a:cubicBezTo>
                  <a:cubicBezTo>
                    <a:pt x="527" y="235"/>
                    <a:pt x="527" y="235"/>
                    <a:pt x="527" y="235"/>
                  </a:cubicBezTo>
                  <a:cubicBezTo>
                    <a:pt x="530" y="239"/>
                    <a:pt x="530" y="239"/>
                    <a:pt x="530" y="239"/>
                  </a:cubicBezTo>
                  <a:cubicBezTo>
                    <a:pt x="531" y="241"/>
                    <a:pt x="532" y="243"/>
                    <a:pt x="532" y="245"/>
                  </a:cubicBezTo>
                  <a:cubicBezTo>
                    <a:pt x="533" y="246"/>
                    <a:pt x="533" y="246"/>
                    <a:pt x="533" y="246"/>
                  </a:cubicBezTo>
                  <a:cubicBezTo>
                    <a:pt x="533" y="247"/>
                    <a:pt x="533" y="248"/>
                    <a:pt x="533" y="249"/>
                  </a:cubicBezTo>
                  <a:cubicBezTo>
                    <a:pt x="534" y="249"/>
                    <a:pt x="534" y="249"/>
                    <a:pt x="534" y="249"/>
                  </a:cubicBezTo>
                  <a:cubicBezTo>
                    <a:pt x="534" y="250"/>
                    <a:pt x="534" y="250"/>
                    <a:pt x="534" y="250"/>
                  </a:cubicBezTo>
                  <a:cubicBezTo>
                    <a:pt x="534" y="250"/>
                    <a:pt x="534" y="250"/>
                    <a:pt x="534" y="250"/>
                  </a:cubicBezTo>
                  <a:cubicBezTo>
                    <a:pt x="537" y="251"/>
                    <a:pt x="537" y="251"/>
                    <a:pt x="537" y="251"/>
                  </a:cubicBezTo>
                  <a:cubicBezTo>
                    <a:pt x="537" y="251"/>
                    <a:pt x="538" y="251"/>
                    <a:pt x="538" y="251"/>
                  </a:cubicBezTo>
                  <a:cubicBezTo>
                    <a:pt x="553" y="259"/>
                    <a:pt x="553" y="259"/>
                    <a:pt x="553" y="259"/>
                  </a:cubicBezTo>
                  <a:cubicBezTo>
                    <a:pt x="553" y="260"/>
                    <a:pt x="553" y="260"/>
                    <a:pt x="553" y="260"/>
                  </a:cubicBezTo>
                  <a:cubicBezTo>
                    <a:pt x="553" y="261"/>
                    <a:pt x="553" y="261"/>
                    <a:pt x="553" y="261"/>
                  </a:cubicBezTo>
                  <a:cubicBezTo>
                    <a:pt x="557" y="261"/>
                    <a:pt x="557" y="261"/>
                    <a:pt x="557" y="261"/>
                  </a:cubicBezTo>
                  <a:cubicBezTo>
                    <a:pt x="553" y="262"/>
                    <a:pt x="553" y="262"/>
                    <a:pt x="553" y="262"/>
                  </a:cubicBezTo>
                  <a:cubicBezTo>
                    <a:pt x="553" y="263"/>
                    <a:pt x="553" y="263"/>
                    <a:pt x="553" y="263"/>
                  </a:cubicBezTo>
                  <a:cubicBezTo>
                    <a:pt x="552" y="263"/>
                    <a:pt x="552" y="263"/>
                    <a:pt x="552" y="263"/>
                  </a:cubicBezTo>
                  <a:cubicBezTo>
                    <a:pt x="553" y="264"/>
                    <a:pt x="553" y="264"/>
                    <a:pt x="553" y="264"/>
                  </a:cubicBezTo>
                  <a:cubicBezTo>
                    <a:pt x="554" y="265"/>
                    <a:pt x="554" y="265"/>
                    <a:pt x="554" y="265"/>
                  </a:cubicBezTo>
                  <a:cubicBezTo>
                    <a:pt x="554" y="266"/>
                    <a:pt x="554" y="266"/>
                    <a:pt x="554" y="266"/>
                  </a:cubicBezTo>
                  <a:cubicBezTo>
                    <a:pt x="555" y="266"/>
                    <a:pt x="555" y="266"/>
                    <a:pt x="555" y="266"/>
                  </a:cubicBezTo>
                  <a:cubicBezTo>
                    <a:pt x="555" y="267"/>
                    <a:pt x="555" y="267"/>
                    <a:pt x="555" y="267"/>
                  </a:cubicBezTo>
                  <a:cubicBezTo>
                    <a:pt x="555" y="267"/>
                    <a:pt x="555" y="267"/>
                    <a:pt x="555" y="267"/>
                  </a:cubicBezTo>
                  <a:cubicBezTo>
                    <a:pt x="555" y="268"/>
                    <a:pt x="556" y="268"/>
                    <a:pt x="557" y="270"/>
                  </a:cubicBezTo>
                  <a:cubicBezTo>
                    <a:pt x="557" y="270"/>
                    <a:pt x="557" y="270"/>
                    <a:pt x="557" y="270"/>
                  </a:cubicBezTo>
                  <a:cubicBezTo>
                    <a:pt x="557" y="271"/>
                    <a:pt x="557" y="271"/>
                    <a:pt x="557" y="271"/>
                  </a:cubicBezTo>
                  <a:cubicBezTo>
                    <a:pt x="561" y="269"/>
                    <a:pt x="561" y="269"/>
                    <a:pt x="561" y="269"/>
                  </a:cubicBezTo>
                  <a:cubicBezTo>
                    <a:pt x="558" y="271"/>
                    <a:pt x="558" y="271"/>
                    <a:pt x="558" y="271"/>
                  </a:cubicBezTo>
                  <a:cubicBezTo>
                    <a:pt x="569" y="272"/>
                    <a:pt x="569" y="272"/>
                    <a:pt x="569" y="272"/>
                  </a:cubicBezTo>
                  <a:cubicBezTo>
                    <a:pt x="570" y="272"/>
                    <a:pt x="570" y="272"/>
                    <a:pt x="570" y="272"/>
                  </a:cubicBezTo>
                  <a:cubicBezTo>
                    <a:pt x="576" y="273"/>
                    <a:pt x="576" y="273"/>
                    <a:pt x="576" y="273"/>
                  </a:cubicBezTo>
                  <a:cubicBezTo>
                    <a:pt x="575" y="274"/>
                    <a:pt x="575" y="274"/>
                    <a:pt x="575" y="274"/>
                  </a:cubicBezTo>
                  <a:cubicBezTo>
                    <a:pt x="576" y="274"/>
                    <a:pt x="576" y="274"/>
                    <a:pt x="576" y="274"/>
                  </a:cubicBezTo>
                  <a:cubicBezTo>
                    <a:pt x="579" y="272"/>
                    <a:pt x="579" y="272"/>
                    <a:pt x="579" y="272"/>
                  </a:cubicBezTo>
                  <a:cubicBezTo>
                    <a:pt x="580" y="271"/>
                    <a:pt x="581" y="269"/>
                    <a:pt x="583" y="268"/>
                  </a:cubicBezTo>
                  <a:cubicBezTo>
                    <a:pt x="590" y="261"/>
                    <a:pt x="590" y="261"/>
                    <a:pt x="590" y="261"/>
                  </a:cubicBezTo>
                  <a:cubicBezTo>
                    <a:pt x="590" y="267"/>
                    <a:pt x="590" y="267"/>
                    <a:pt x="590" y="267"/>
                  </a:cubicBezTo>
                  <a:cubicBezTo>
                    <a:pt x="590" y="268"/>
                    <a:pt x="590" y="269"/>
                    <a:pt x="590" y="270"/>
                  </a:cubicBezTo>
                  <a:cubicBezTo>
                    <a:pt x="590" y="271"/>
                    <a:pt x="590" y="272"/>
                    <a:pt x="590" y="273"/>
                  </a:cubicBezTo>
                  <a:cubicBezTo>
                    <a:pt x="590" y="273"/>
                    <a:pt x="590" y="273"/>
                    <a:pt x="590" y="273"/>
                  </a:cubicBezTo>
                  <a:cubicBezTo>
                    <a:pt x="591" y="274"/>
                    <a:pt x="591" y="274"/>
                    <a:pt x="591" y="274"/>
                  </a:cubicBezTo>
                  <a:cubicBezTo>
                    <a:pt x="595" y="277"/>
                    <a:pt x="599" y="281"/>
                    <a:pt x="603" y="284"/>
                  </a:cubicBezTo>
                  <a:cubicBezTo>
                    <a:pt x="604" y="285"/>
                    <a:pt x="604" y="285"/>
                    <a:pt x="604" y="285"/>
                  </a:cubicBezTo>
                  <a:cubicBezTo>
                    <a:pt x="605" y="285"/>
                    <a:pt x="605" y="285"/>
                    <a:pt x="606" y="285"/>
                  </a:cubicBezTo>
                  <a:cubicBezTo>
                    <a:pt x="607" y="285"/>
                    <a:pt x="608" y="285"/>
                    <a:pt x="609" y="285"/>
                  </a:cubicBezTo>
                  <a:cubicBezTo>
                    <a:pt x="609" y="285"/>
                    <a:pt x="610" y="285"/>
                    <a:pt x="611" y="285"/>
                  </a:cubicBezTo>
                  <a:cubicBezTo>
                    <a:pt x="611" y="285"/>
                    <a:pt x="611" y="285"/>
                    <a:pt x="611" y="285"/>
                  </a:cubicBezTo>
                  <a:cubicBezTo>
                    <a:pt x="615" y="284"/>
                    <a:pt x="615" y="284"/>
                    <a:pt x="615" y="284"/>
                  </a:cubicBezTo>
                  <a:cubicBezTo>
                    <a:pt x="621" y="281"/>
                    <a:pt x="621" y="281"/>
                    <a:pt x="621" y="281"/>
                  </a:cubicBezTo>
                  <a:cubicBezTo>
                    <a:pt x="621" y="281"/>
                    <a:pt x="621" y="280"/>
                    <a:pt x="621" y="280"/>
                  </a:cubicBezTo>
                  <a:cubicBezTo>
                    <a:pt x="622" y="278"/>
                    <a:pt x="622" y="278"/>
                    <a:pt x="622" y="278"/>
                  </a:cubicBezTo>
                  <a:cubicBezTo>
                    <a:pt x="622" y="277"/>
                    <a:pt x="623" y="276"/>
                    <a:pt x="623" y="276"/>
                  </a:cubicBezTo>
                  <a:cubicBezTo>
                    <a:pt x="624" y="275"/>
                    <a:pt x="624" y="275"/>
                    <a:pt x="624" y="275"/>
                  </a:cubicBezTo>
                  <a:cubicBezTo>
                    <a:pt x="624" y="275"/>
                    <a:pt x="624" y="275"/>
                    <a:pt x="624" y="275"/>
                  </a:cubicBezTo>
                  <a:cubicBezTo>
                    <a:pt x="626" y="275"/>
                    <a:pt x="626" y="275"/>
                    <a:pt x="626" y="275"/>
                  </a:cubicBezTo>
                  <a:cubicBezTo>
                    <a:pt x="626" y="275"/>
                    <a:pt x="626" y="275"/>
                    <a:pt x="626" y="275"/>
                  </a:cubicBezTo>
                  <a:cubicBezTo>
                    <a:pt x="626" y="275"/>
                    <a:pt x="626" y="275"/>
                    <a:pt x="626" y="275"/>
                  </a:cubicBezTo>
                  <a:cubicBezTo>
                    <a:pt x="626" y="275"/>
                    <a:pt x="627" y="275"/>
                    <a:pt x="628" y="274"/>
                  </a:cubicBezTo>
                  <a:cubicBezTo>
                    <a:pt x="628" y="274"/>
                    <a:pt x="628" y="274"/>
                    <a:pt x="628" y="274"/>
                  </a:cubicBezTo>
                  <a:cubicBezTo>
                    <a:pt x="628" y="274"/>
                    <a:pt x="628" y="274"/>
                    <a:pt x="628" y="274"/>
                  </a:cubicBezTo>
                  <a:cubicBezTo>
                    <a:pt x="628" y="274"/>
                    <a:pt x="628" y="274"/>
                    <a:pt x="628" y="274"/>
                  </a:cubicBezTo>
                  <a:cubicBezTo>
                    <a:pt x="629" y="275"/>
                    <a:pt x="629" y="275"/>
                    <a:pt x="629" y="275"/>
                  </a:cubicBezTo>
                  <a:cubicBezTo>
                    <a:pt x="630" y="275"/>
                    <a:pt x="630" y="275"/>
                    <a:pt x="631" y="275"/>
                  </a:cubicBezTo>
                  <a:cubicBezTo>
                    <a:pt x="631" y="275"/>
                    <a:pt x="631" y="275"/>
                    <a:pt x="631" y="275"/>
                  </a:cubicBezTo>
                  <a:cubicBezTo>
                    <a:pt x="632" y="275"/>
                    <a:pt x="632" y="274"/>
                    <a:pt x="633" y="274"/>
                  </a:cubicBezTo>
                  <a:cubicBezTo>
                    <a:pt x="634" y="274"/>
                    <a:pt x="635" y="274"/>
                    <a:pt x="637" y="274"/>
                  </a:cubicBezTo>
                  <a:cubicBezTo>
                    <a:pt x="642" y="273"/>
                    <a:pt x="642" y="273"/>
                    <a:pt x="642" y="273"/>
                  </a:cubicBezTo>
                  <a:cubicBezTo>
                    <a:pt x="647" y="272"/>
                    <a:pt x="651" y="271"/>
                    <a:pt x="656" y="269"/>
                  </a:cubicBezTo>
                  <a:cubicBezTo>
                    <a:pt x="656" y="270"/>
                    <a:pt x="656" y="270"/>
                    <a:pt x="656" y="270"/>
                  </a:cubicBezTo>
                  <a:cubicBezTo>
                    <a:pt x="656" y="269"/>
                    <a:pt x="656" y="269"/>
                    <a:pt x="656" y="269"/>
                  </a:cubicBezTo>
                  <a:cubicBezTo>
                    <a:pt x="656" y="269"/>
                    <a:pt x="656" y="269"/>
                    <a:pt x="656" y="269"/>
                  </a:cubicBezTo>
                  <a:cubicBezTo>
                    <a:pt x="656" y="269"/>
                    <a:pt x="656" y="269"/>
                    <a:pt x="656" y="269"/>
                  </a:cubicBezTo>
                  <a:cubicBezTo>
                    <a:pt x="655" y="265"/>
                    <a:pt x="655" y="265"/>
                    <a:pt x="655" y="265"/>
                  </a:cubicBezTo>
                  <a:cubicBezTo>
                    <a:pt x="652" y="256"/>
                    <a:pt x="652" y="256"/>
                    <a:pt x="652" y="256"/>
                  </a:cubicBezTo>
                  <a:cubicBezTo>
                    <a:pt x="659" y="261"/>
                    <a:pt x="659" y="261"/>
                    <a:pt x="659" y="261"/>
                  </a:cubicBezTo>
                  <a:cubicBezTo>
                    <a:pt x="660" y="260"/>
                    <a:pt x="662" y="260"/>
                    <a:pt x="664" y="260"/>
                  </a:cubicBezTo>
                  <a:cubicBezTo>
                    <a:pt x="664" y="260"/>
                    <a:pt x="665" y="259"/>
                    <a:pt x="665" y="259"/>
                  </a:cubicBezTo>
                  <a:cubicBezTo>
                    <a:pt x="666" y="259"/>
                    <a:pt x="666" y="258"/>
                    <a:pt x="667" y="258"/>
                  </a:cubicBezTo>
                  <a:cubicBezTo>
                    <a:pt x="668" y="258"/>
                    <a:pt x="668" y="258"/>
                    <a:pt x="668" y="258"/>
                  </a:cubicBezTo>
                  <a:cubicBezTo>
                    <a:pt x="667" y="257"/>
                    <a:pt x="667" y="257"/>
                    <a:pt x="667" y="257"/>
                  </a:cubicBezTo>
                  <a:cubicBezTo>
                    <a:pt x="669" y="256"/>
                    <a:pt x="669" y="256"/>
                    <a:pt x="669" y="256"/>
                  </a:cubicBezTo>
                  <a:cubicBezTo>
                    <a:pt x="669" y="257"/>
                    <a:pt x="669" y="257"/>
                    <a:pt x="669" y="257"/>
                  </a:cubicBezTo>
                  <a:cubicBezTo>
                    <a:pt x="671" y="256"/>
                    <a:pt x="671" y="256"/>
                    <a:pt x="671" y="256"/>
                  </a:cubicBezTo>
                  <a:cubicBezTo>
                    <a:pt x="672" y="255"/>
                    <a:pt x="673" y="255"/>
                    <a:pt x="673" y="254"/>
                  </a:cubicBezTo>
                  <a:cubicBezTo>
                    <a:pt x="678" y="252"/>
                    <a:pt x="682" y="250"/>
                    <a:pt x="687" y="248"/>
                  </a:cubicBezTo>
                  <a:cubicBezTo>
                    <a:pt x="694" y="244"/>
                    <a:pt x="694" y="244"/>
                    <a:pt x="694" y="244"/>
                  </a:cubicBezTo>
                  <a:cubicBezTo>
                    <a:pt x="697" y="243"/>
                    <a:pt x="699" y="241"/>
                    <a:pt x="702" y="240"/>
                  </a:cubicBezTo>
                  <a:cubicBezTo>
                    <a:pt x="705" y="239"/>
                    <a:pt x="705" y="239"/>
                    <a:pt x="705" y="239"/>
                  </a:cubicBezTo>
                  <a:cubicBezTo>
                    <a:pt x="707" y="238"/>
                    <a:pt x="709" y="238"/>
                    <a:pt x="712" y="238"/>
                  </a:cubicBezTo>
                  <a:cubicBezTo>
                    <a:pt x="713" y="237"/>
                    <a:pt x="713" y="237"/>
                    <a:pt x="713" y="237"/>
                  </a:cubicBezTo>
                  <a:cubicBezTo>
                    <a:pt x="714" y="237"/>
                    <a:pt x="715" y="237"/>
                    <a:pt x="716" y="237"/>
                  </a:cubicBezTo>
                  <a:cubicBezTo>
                    <a:pt x="717" y="237"/>
                    <a:pt x="717" y="237"/>
                    <a:pt x="718" y="237"/>
                  </a:cubicBezTo>
                  <a:cubicBezTo>
                    <a:pt x="718" y="237"/>
                    <a:pt x="718" y="236"/>
                    <a:pt x="718" y="236"/>
                  </a:cubicBezTo>
                  <a:cubicBezTo>
                    <a:pt x="719" y="235"/>
                    <a:pt x="719" y="234"/>
                    <a:pt x="720" y="234"/>
                  </a:cubicBezTo>
                  <a:cubicBezTo>
                    <a:pt x="721" y="232"/>
                    <a:pt x="722" y="232"/>
                    <a:pt x="723" y="232"/>
                  </a:cubicBezTo>
                  <a:cubicBezTo>
                    <a:pt x="723" y="232"/>
                    <a:pt x="723" y="232"/>
                    <a:pt x="723" y="232"/>
                  </a:cubicBezTo>
                  <a:cubicBezTo>
                    <a:pt x="724" y="232"/>
                    <a:pt x="725" y="232"/>
                    <a:pt x="726" y="233"/>
                  </a:cubicBezTo>
                  <a:cubicBezTo>
                    <a:pt x="726" y="233"/>
                    <a:pt x="727" y="233"/>
                    <a:pt x="727" y="233"/>
                  </a:cubicBezTo>
                  <a:cubicBezTo>
                    <a:pt x="727" y="233"/>
                    <a:pt x="727" y="233"/>
                    <a:pt x="727" y="233"/>
                  </a:cubicBezTo>
                  <a:cubicBezTo>
                    <a:pt x="727" y="233"/>
                    <a:pt x="728" y="233"/>
                    <a:pt x="728" y="233"/>
                  </a:cubicBezTo>
                  <a:cubicBezTo>
                    <a:pt x="729" y="233"/>
                    <a:pt x="729" y="233"/>
                    <a:pt x="729" y="233"/>
                  </a:cubicBezTo>
                  <a:cubicBezTo>
                    <a:pt x="730" y="234"/>
                    <a:pt x="731" y="234"/>
                    <a:pt x="732" y="234"/>
                  </a:cubicBezTo>
                  <a:cubicBezTo>
                    <a:pt x="733" y="234"/>
                    <a:pt x="733" y="234"/>
                    <a:pt x="733" y="234"/>
                  </a:cubicBezTo>
                  <a:cubicBezTo>
                    <a:pt x="733" y="234"/>
                    <a:pt x="734" y="234"/>
                    <a:pt x="734" y="234"/>
                  </a:cubicBezTo>
                  <a:cubicBezTo>
                    <a:pt x="735" y="234"/>
                    <a:pt x="735" y="234"/>
                    <a:pt x="735" y="234"/>
                  </a:cubicBezTo>
                  <a:cubicBezTo>
                    <a:pt x="737" y="234"/>
                    <a:pt x="738" y="234"/>
                    <a:pt x="738" y="235"/>
                  </a:cubicBezTo>
                  <a:cubicBezTo>
                    <a:pt x="739" y="235"/>
                    <a:pt x="740" y="236"/>
                    <a:pt x="740" y="236"/>
                  </a:cubicBezTo>
                  <a:cubicBezTo>
                    <a:pt x="741" y="237"/>
                    <a:pt x="742" y="237"/>
                    <a:pt x="743" y="238"/>
                  </a:cubicBezTo>
                  <a:cubicBezTo>
                    <a:pt x="744" y="238"/>
                    <a:pt x="744" y="238"/>
                    <a:pt x="745" y="238"/>
                  </a:cubicBezTo>
                  <a:cubicBezTo>
                    <a:pt x="745" y="238"/>
                    <a:pt x="745" y="238"/>
                    <a:pt x="745" y="238"/>
                  </a:cubicBezTo>
                  <a:cubicBezTo>
                    <a:pt x="746" y="239"/>
                    <a:pt x="746" y="239"/>
                    <a:pt x="747" y="239"/>
                  </a:cubicBezTo>
                  <a:cubicBezTo>
                    <a:pt x="749" y="239"/>
                    <a:pt x="752" y="240"/>
                    <a:pt x="754" y="240"/>
                  </a:cubicBezTo>
                  <a:cubicBezTo>
                    <a:pt x="764" y="241"/>
                    <a:pt x="764" y="241"/>
                    <a:pt x="764" y="241"/>
                  </a:cubicBezTo>
                  <a:cubicBezTo>
                    <a:pt x="766" y="241"/>
                    <a:pt x="767" y="241"/>
                    <a:pt x="768" y="241"/>
                  </a:cubicBezTo>
                  <a:cubicBezTo>
                    <a:pt x="769" y="242"/>
                    <a:pt x="770" y="243"/>
                    <a:pt x="771" y="244"/>
                  </a:cubicBezTo>
                  <a:cubicBezTo>
                    <a:pt x="772" y="246"/>
                    <a:pt x="773" y="248"/>
                    <a:pt x="773" y="250"/>
                  </a:cubicBezTo>
                  <a:cubicBezTo>
                    <a:pt x="774" y="251"/>
                    <a:pt x="774" y="251"/>
                    <a:pt x="774" y="251"/>
                  </a:cubicBezTo>
                  <a:cubicBezTo>
                    <a:pt x="774" y="252"/>
                    <a:pt x="774" y="253"/>
                    <a:pt x="775" y="254"/>
                  </a:cubicBezTo>
                  <a:cubicBezTo>
                    <a:pt x="775" y="255"/>
                    <a:pt x="775" y="255"/>
                    <a:pt x="775" y="255"/>
                  </a:cubicBezTo>
                  <a:cubicBezTo>
                    <a:pt x="777" y="258"/>
                    <a:pt x="777" y="258"/>
                    <a:pt x="780" y="258"/>
                  </a:cubicBezTo>
                  <a:cubicBezTo>
                    <a:pt x="793" y="261"/>
                    <a:pt x="793" y="261"/>
                    <a:pt x="793" y="261"/>
                  </a:cubicBezTo>
                  <a:cubicBezTo>
                    <a:pt x="794" y="261"/>
                    <a:pt x="795" y="261"/>
                    <a:pt x="795" y="261"/>
                  </a:cubicBezTo>
                  <a:cubicBezTo>
                    <a:pt x="796" y="261"/>
                    <a:pt x="796" y="261"/>
                    <a:pt x="796" y="261"/>
                  </a:cubicBezTo>
                  <a:cubicBezTo>
                    <a:pt x="797" y="261"/>
                    <a:pt x="797" y="261"/>
                    <a:pt x="797" y="261"/>
                  </a:cubicBezTo>
                  <a:cubicBezTo>
                    <a:pt x="797" y="261"/>
                    <a:pt x="797" y="261"/>
                    <a:pt x="797" y="261"/>
                  </a:cubicBezTo>
                  <a:cubicBezTo>
                    <a:pt x="798" y="260"/>
                    <a:pt x="798" y="260"/>
                    <a:pt x="798" y="260"/>
                  </a:cubicBezTo>
                  <a:cubicBezTo>
                    <a:pt x="801" y="259"/>
                    <a:pt x="803" y="258"/>
                    <a:pt x="805" y="258"/>
                  </a:cubicBezTo>
                  <a:cubicBezTo>
                    <a:pt x="806" y="258"/>
                    <a:pt x="806" y="258"/>
                    <a:pt x="806" y="258"/>
                  </a:cubicBezTo>
                  <a:cubicBezTo>
                    <a:pt x="806" y="258"/>
                    <a:pt x="806" y="258"/>
                    <a:pt x="806" y="258"/>
                  </a:cubicBezTo>
                  <a:cubicBezTo>
                    <a:pt x="807" y="258"/>
                    <a:pt x="808" y="258"/>
                    <a:pt x="808" y="258"/>
                  </a:cubicBezTo>
                  <a:cubicBezTo>
                    <a:pt x="809" y="258"/>
                    <a:pt x="810" y="258"/>
                    <a:pt x="811" y="259"/>
                  </a:cubicBezTo>
                  <a:cubicBezTo>
                    <a:pt x="813" y="259"/>
                    <a:pt x="814" y="259"/>
                    <a:pt x="816" y="260"/>
                  </a:cubicBezTo>
                  <a:cubicBezTo>
                    <a:pt x="816" y="260"/>
                    <a:pt x="816" y="260"/>
                    <a:pt x="816" y="260"/>
                  </a:cubicBezTo>
                  <a:cubicBezTo>
                    <a:pt x="818" y="260"/>
                    <a:pt x="819" y="261"/>
                    <a:pt x="820" y="261"/>
                  </a:cubicBezTo>
                  <a:cubicBezTo>
                    <a:pt x="821" y="261"/>
                    <a:pt x="821" y="261"/>
                    <a:pt x="822" y="261"/>
                  </a:cubicBezTo>
                  <a:cubicBezTo>
                    <a:pt x="825" y="262"/>
                    <a:pt x="825" y="262"/>
                    <a:pt x="825" y="262"/>
                  </a:cubicBezTo>
                  <a:cubicBezTo>
                    <a:pt x="827" y="263"/>
                    <a:pt x="829" y="263"/>
                    <a:pt x="832" y="264"/>
                  </a:cubicBezTo>
                  <a:cubicBezTo>
                    <a:pt x="833" y="264"/>
                    <a:pt x="834" y="264"/>
                    <a:pt x="835" y="265"/>
                  </a:cubicBezTo>
                  <a:cubicBezTo>
                    <a:pt x="835" y="265"/>
                    <a:pt x="835" y="265"/>
                    <a:pt x="835" y="265"/>
                  </a:cubicBezTo>
                  <a:cubicBezTo>
                    <a:pt x="837" y="266"/>
                    <a:pt x="838" y="266"/>
                    <a:pt x="839" y="266"/>
                  </a:cubicBezTo>
                  <a:cubicBezTo>
                    <a:pt x="840" y="266"/>
                    <a:pt x="840" y="266"/>
                    <a:pt x="840" y="266"/>
                  </a:cubicBezTo>
                  <a:cubicBezTo>
                    <a:pt x="841" y="266"/>
                    <a:pt x="841" y="265"/>
                    <a:pt x="842" y="264"/>
                  </a:cubicBezTo>
                  <a:cubicBezTo>
                    <a:pt x="842" y="264"/>
                    <a:pt x="843" y="263"/>
                    <a:pt x="843" y="263"/>
                  </a:cubicBezTo>
                  <a:cubicBezTo>
                    <a:pt x="843" y="262"/>
                    <a:pt x="844" y="262"/>
                    <a:pt x="844" y="261"/>
                  </a:cubicBezTo>
                  <a:cubicBezTo>
                    <a:pt x="845" y="261"/>
                    <a:pt x="845" y="261"/>
                    <a:pt x="845" y="261"/>
                  </a:cubicBezTo>
                  <a:cubicBezTo>
                    <a:pt x="846" y="261"/>
                    <a:pt x="846" y="260"/>
                    <a:pt x="846" y="260"/>
                  </a:cubicBezTo>
                  <a:cubicBezTo>
                    <a:pt x="847" y="260"/>
                    <a:pt x="847" y="260"/>
                    <a:pt x="847" y="260"/>
                  </a:cubicBezTo>
                  <a:cubicBezTo>
                    <a:pt x="847" y="260"/>
                    <a:pt x="848" y="260"/>
                    <a:pt x="848" y="260"/>
                  </a:cubicBezTo>
                  <a:cubicBezTo>
                    <a:pt x="849" y="259"/>
                    <a:pt x="850" y="259"/>
                    <a:pt x="851" y="259"/>
                  </a:cubicBezTo>
                  <a:cubicBezTo>
                    <a:pt x="853" y="258"/>
                    <a:pt x="855" y="258"/>
                    <a:pt x="856" y="256"/>
                  </a:cubicBezTo>
                  <a:cubicBezTo>
                    <a:pt x="857" y="252"/>
                    <a:pt x="857" y="252"/>
                    <a:pt x="857" y="252"/>
                  </a:cubicBezTo>
                  <a:cubicBezTo>
                    <a:pt x="858" y="251"/>
                    <a:pt x="858" y="250"/>
                    <a:pt x="858" y="250"/>
                  </a:cubicBezTo>
                  <a:cubicBezTo>
                    <a:pt x="859" y="247"/>
                    <a:pt x="859" y="247"/>
                    <a:pt x="859" y="247"/>
                  </a:cubicBezTo>
                  <a:cubicBezTo>
                    <a:pt x="859" y="247"/>
                    <a:pt x="859" y="247"/>
                    <a:pt x="859" y="247"/>
                  </a:cubicBezTo>
                  <a:cubicBezTo>
                    <a:pt x="859" y="247"/>
                    <a:pt x="859" y="247"/>
                    <a:pt x="859" y="247"/>
                  </a:cubicBezTo>
                  <a:cubicBezTo>
                    <a:pt x="858" y="246"/>
                    <a:pt x="857" y="246"/>
                    <a:pt x="855" y="244"/>
                  </a:cubicBezTo>
                  <a:cubicBezTo>
                    <a:pt x="854" y="243"/>
                    <a:pt x="852" y="241"/>
                    <a:pt x="851" y="238"/>
                  </a:cubicBezTo>
                  <a:cubicBezTo>
                    <a:pt x="850" y="235"/>
                    <a:pt x="850" y="232"/>
                    <a:pt x="850" y="229"/>
                  </a:cubicBezTo>
                  <a:cubicBezTo>
                    <a:pt x="850" y="228"/>
                    <a:pt x="850" y="228"/>
                    <a:pt x="850" y="228"/>
                  </a:cubicBezTo>
                  <a:cubicBezTo>
                    <a:pt x="850" y="228"/>
                    <a:pt x="850" y="227"/>
                    <a:pt x="850" y="226"/>
                  </a:cubicBezTo>
                  <a:cubicBezTo>
                    <a:pt x="850" y="225"/>
                    <a:pt x="850" y="224"/>
                    <a:pt x="851" y="224"/>
                  </a:cubicBezTo>
                  <a:cubicBezTo>
                    <a:pt x="851" y="223"/>
                    <a:pt x="851" y="223"/>
                    <a:pt x="851" y="223"/>
                  </a:cubicBezTo>
                  <a:cubicBezTo>
                    <a:pt x="851" y="222"/>
                    <a:pt x="851" y="222"/>
                    <a:pt x="851" y="222"/>
                  </a:cubicBezTo>
                  <a:cubicBezTo>
                    <a:pt x="852" y="220"/>
                    <a:pt x="852" y="217"/>
                    <a:pt x="853" y="216"/>
                  </a:cubicBezTo>
                  <a:cubicBezTo>
                    <a:pt x="854" y="215"/>
                    <a:pt x="854" y="215"/>
                    <a:pt x="854" y="214"/>
                  </a:cubicBezTo>
                  <a:cubicBezTo>
                    <a:pt x="856" y="213"/>
                    <a:pt x="857" y="213"/>
                    <a:pt x="858" y="213"/>
                  </a:cubicBezTo>
                  <a:cubicBezTo>
                    <a:pt x="858" y="213"/>
                    <a:pt x="858" y="213"/>
                    <a:pt x="858" y="213"/>
                  </a:cubicBezTo>
                  <a:cubicBezTo>
                    <a:pt x="858" y="212"/>
                    <a:pt x="858" y="212"/>
                    <a:pt x="858" y="212"/>
                  </a:cubicBezTo>
                  <a:cubicBezTo>
                    <a:pt x="858" y="211"/>
                    <a:pt x="859" y="210"/>
                    <a:pt x="859" y="209"/>
                  </a:cubicBezTo>
                  <a:cubicBezTo>
                    <a:pt x="860" y="208"/>
                    <a:pt x="860" y="208"/>
                    <a:pt x="860" y="208"/>
                  </a:cubicBezTo>
                  <a:cubicBezTo>
                    <a:pt x="860" y="207"/>
                    <a:pt x="860" y="207"/>
                    <a:pt x="861" y="206"/>
                  </a:cubicBezTo>
                  <a:cubicBezTo>
                    <a:pt x="861" y="206"/>
                    <a:pt x="861" y="206"/>
                    <a:pt x="861" y="206"/>
                  </a:cubicBezTo>
                  <a:cubicBezTo>
                    <a:pt x="861" y="206"/>
                    <a:pt x="861" y="206"/>
                    <a:pt x="861" y="206"/>
                  </a:cubicBezTo>
                  <a:cubicBezTo>
                    <a:pt x="862" y="205"/>
                    <a:pt x="862" y="205"/>
                    <a:pt x="863" y="204"/>
                  </a:cubicBezTo>
                  <a:cubicBezTo>
                    <a:pt x="863" y="204"/>
                    <a:pt x="863" y="204"/>
                    <a:pt x="863" y="204"/>
                  </a:cubicBezTo>
                  <a:cubicBezTo>
                    <a:pt x="865" y="202"/>
                    <a:pt x="867" y="200"/>
                    <a:pt x="869" y="198"/>
                  </a:cubicBezTo>
                  <a:cubicBezTo>
                    <a:pt x="877" y="191"/>
                    <a:pt x="877" y="191"/>
                    <a:pt x="877" y="191"/>
                  </a:cubicBezTo>
                  <a:cubicBezTo>
                    <a:pt x="880" y="193"/>
                    <a:pt x="880" y="193"/>
                    <a:pt x="880" y="193"/>
                  </a:cubicBezTo>
                  <a:cubicBezTo>
                    <a:pt x="882" y="189"/>
                    <a:pt x="882" y="189"/>
                    <a:pt x="882" y="189"/>
                  </a:cubicBezTo>
                  <a:cubicBezTo>
                    <a:pt x="881" y="194"/>
                    <a:pt x="881" y="194"/>
                    <a:pt x="881" y="194"/>
                  </a:cubicBezTo>
                  <a:cubicBezTo>
                    <a:pt x="895" y="201"/>
                    <a:pt x="895" y="201"/>
                    <a:pt x="895" y="201"/>
                  </a:cubicBezTo>
                  <a:cubicBezTo>
                    <a:pt x="901" y="204"/>
                    <a:pt x="905" y="204"/>
                    <a:pt x="912" y="205"/>
                  </a:cubicBezTo>
                  <a:cubicBezTo>
                    <a:pt x="913" y="205"/>
                    <a:pt x="913" y="205"/>
                    <a:pt x="913" y="205"/>
                  </a:cubicBezTo>
                  <a:cubicBezTo>
                    <a:pt x="914" y="205"/>
                    <a:pt x="914" y="205"/>
                    <a:pt x="914" y="205"/>
                  </a:cubicBezTo>
                  <a:cubicBezTo>
                    <a:pt x="915" y="205"/>
                    <a:pt x="915" y="205"/>
                    <a:pt x="915" y="205"/>
                  </a:cubicBezTo>
                  <a:cubicBezTo>
                    <a:pt x="916" y="206"/>
                    <a:pt x="916" y="206"/>
                    <a:pt x="917" y="206"/>
                  </a:cubicBezTo>
                  <a:cubicBezTo>
                    <a:pt x="921" y="206"/>
                    <a:pt x="924" y="208"/>
                    <a:pt x="927" y="209"/>
                  </a:cubicBezTo>
                  <a:cubicBezTo>
                    <a:pt x="930" y="210"/>
                    <a:pt x="932" y="211"/>
                    <a:pt x="934" y="212"/>
                  </a:cubicBezTo>
                  <a:cubicBezTo>
                    <a:pt x="947" y="215"/>
                    <a:pt x="947" y="215"/>
                    <a:pt x="947" y="215"/>
                  </a:cubicBezTo>
                  <a:cubicBezTo>
                    <a:pt x="947" y="215"/>
                    <a:pt x="948" y="215"/>
                    <a:pt x="948" y="216"/>
                  </a:cubicBezTo>
                  <a:cubicBezTo>
                    <a:pt x="954" y="217"/>
                    <a:pt x="956" y="217"/>
                    <a:pt x="957" y="219"/>
                  </a:cubicBezTo>
                  <a:cubicBezTo>
                    <a:pt x="957" y="220"/>
                    <a:pt x="957" y="220"/>
                    <a:pt x="957" y="220"/>
                  </a:cubicBezTo>
                  <a:cubicBezTo>
                    <a:pt x="958" y="222"/>
                    <a:pt x="956" y="223"/>
                    <a:pt x="956" y="224"/>
                  </a:cubicBezTo>
                  <a:cubicBezTo>
                    <a:pt x="956" y="224"/>
                    <a:pt x="956" y="224"/>
                    <a:pt x="956" y="224"/>
                  </a:cubicBezTo>
                  <a:cubicBezTo>
                    <a:pt x="956" y="225"/>
                    <a:pt x="956" y="226"/>
                    <a:pt x="956" y="227"/>
                  </a:cubicBezTo>
                  <a:cubicBezTo>
                    <a:pt x="956" y="229"/>
                    <a:pt x="957" y="230"/>
                    <a:pt x="957" y="231"/>
                  </a:cubicBezTo>
                  <a:cubicBezTo>
                    <a:pt x="957" y="231"/>
                    <a:pt x="957" y="233"/>
                    <a:pt x="957" y="234"/>
                  </a:cubicBezTo>
                  <a:cubicBezTo>
                    <a:pt x="957" y="236"/>
                    <a:pt x="957" y="236"/>
                    <a:pt x="957" y="236"/>
                  </a:cubicBezTo>
                  <a:cubicBezTo>
                    <a:pt x="958" y="237"/>
                    <a:pt x="958" y="239"/>
                    <a:pt x="958" y="240"/>
                  </a:cubicBezTo>
                  <a:cubicBezTo>
                    <a:pt x="959" y="240"/>
                    <a:pt x="959" y="241"/>
                    <a:pt x="959" y="241"/>
                  </a:cubicBezTo>
                  <a:cubicBezTo>
                    <a:pt x="960" y="242"/>
                    <a:pt x="960" y="242"/>
                    <a:pt x="960" y="242"/>
                  </a:cubicBezTo>
                  <a:cubicBezTo>
                    <a:pt x="961" y="243"/>
                    <a:pt x="961" y="244"/>
                    <a:pt x="962" y="244"/>
                  </a:cubicBezTo>
                  <a:cubicBezTo>
                    <a:pt x="964" y="245"/>
                    <a:pt x="966" y="246"/>
                    <a:pt x="968" y="247"/>
                  </a:cubicBezTo>
                  <a:cubicBezTo>
                    <a:pt x="995" y="253"/>
                    <a:pt x="995" y="253"/>
                    <a:pt x="995" y="253"/>
                  </a:cubicBezTo>
                  <a:cubicBezTo>
                    <a:pt x="995" y="253"/>
                    <a:pt x="996" y="253"/>
                    <a:pt x="996" y="253"/>
                  </a:cubicBezTo>
                  <a:cubicBezTo>
                    <a:pt x="997" y="253"/>
                    <a:pt x="997" y="253"/>
                    <a:pt x="997" y="253"/>
                  </a:cubicBezTo>
                  <a:cubicBezTo>
                    <a:pt x="997" y="253"/>
                    <a:pt x="997" y="253"/>
                    <a:pt x="997" y="253"/>
                  </a:cubicBezTo>
                  <a:cubicBezTo>
                    <a:pt x="998" y="253"/>
                    <a:pt x="998" y="253"/>
                    <a:pt x="998" y="253"/>
                  </a:cubicBezTo>
                  <a:cubicBezTo>
                    <a:pt x="999" y="253"/>
                    <a:pt x="999" y="253"/>
                    <a:pt x="999" y="253"/>
                  </a:cubicBezTo>
                  <a:cubicBezTo>
                    <a:pt x="999" y="253"/>
                    <a:pt x="1000" y="252"/>
                    <a:pt x="1001" y="252"/>
                  </a:cubicBezTo>
                  <a:cubicBezTo>
                    <a:pt x="1001" y="252"/>
                    <a:pt x="1001" y="252"/>
                    <a:pt x="1001" y="252"/>
                  </a:cubicBezTo>
                  <a:cubicBezTo>
                    <a:pt x="1002" y="251"/>
                    <a:pt x="1003" y="251"/>
                    <a:pt x="1003" y="251"/>
                  </a:cubicBezTo>
                  <a:cubicBezTo>
                    <a:pt x="1004" y="250"/>
                    <a:pt x="1004" y="250"/>
                    <a:pt x="1004" y="250"/>
                  </a:cubicBezTo>
                  <a:cubicBezTo>
                    <a:pt x="1005" y="250"/>
                    <a:pt x="1005" y="250"/>
                    <a:pt x="1005" y="249"/>
                  </a:cubicBezTo>
                  <a:cubicBezTo>
                    <a:pt x="1009" y="247"/>
                    <a:pt x="1013" y="247"/>
                    <a:pt x="1017" y="246"/>
                  </a:cubicBezTo>
                  <a:cubicBezTo>
                    <a:pt x="1021" y="245"/>
                    <a:pt x="1024" y="244"/>
                    <a:pt x="1028" y="244"/>
                  </a:cubicBezTo>
                  <a:cubicBezTo>
                    <a:pt x="1028" y="244"/>
                    <a:pt x="1029" y="244"/>
                    <a:pt x="1029" y="244"/>
                  </a:cubicBezTo>
                  <a:cubicBezTo>
                    <a:pt x="1031" y="244"/>
                    <a:pt x="1034" y="244"/>
                    <a:pt x="1036" y="245"/>
                  </a:cubicBezTo>
                  <a:cubicBezTo>
                    <a:pt x="1039" y="245"/>
                    <a:pt x="1043" y="246"/>
                    <a:pt x="1046" y="247"/>
                  </a:cubicBezTo>
                  <a:cubicBezTo>
                    <a:pt x="1047" y="247"/>
                    <a:pt x="1047" y="248"/>
                    <a:pt x="1047" y="248"/>
                  </a:cubicBezTo>
                  <a:cubicBezTo>
                    <a:pt x="1054" y="248"/>
                    <a:pt x="1054" y="248"/>
                    <a:pt x="1054" y="248"/>
                  </a:cubicBezTo>
                  <a:cubicBezTo>
                    <a:pt x="1055" y="248"/>
                    <a:pt x="1055" y="248"/>
                    <a:pt x="1055" y="248"/>
                  </a:cubicBezTo>
                  <a:cubicBezTo>
                    <a:pt x="1055" y="248"/>
                    <a:pt x="1056" y="248"/>
                    <a:pt x="1056" y="248"/>
                  </a:cubicBezTo>
                  <a:cubicBezTo>
                    <a:pt x="1057" y="248"/>
                    <a:pt x="1057" y="248"/>
                    <a:pt x="1057" y="248"/>
                  </a:cubicBezTo>
                  <a:cubicBezTo>
                    <a:pt x="1058" y="248"/>
                    <a:pt x="1058" y="248"/>
                    <a:pt x="1058" y="248"/>
                  </a:cubicBezTo>
                  <a:cubicBezTo>
                    <a:pt x="1059" y="249"/>
                    <a:pt x="1059" y="249"/>
                    <a:pt x="1059" y="249"/>
                  </a:cubicBezTo>
                  <a:cubicBezTo>
                    <a:pt x="1061" y="249"/>
                    <a:pt x="1062" y="249"/>
                    <a:pt x="1063" y="249"/>
                  </a:cubicBezTo>
                  <a:cubicBezTo>
                    <a:pt x="1066" y="250"/>
                    <a:pt x="1068" y="252"/>
                    <a:pt x="1070" y="254"/>
                  </a:cubicBezTo>
                  <a:cubicBezTo>
                    <a:pt x="1073" y="256"/>
                    <a:pt x="1076" y="259"/>
                    <a:pt x="1079" y="259"/>
                  </a:cubicBezTo>
                  <a:cubicBezTo>
                    <a:pt x="1080" y="259"/>
                    <a:pt x="1080" y="259"/>
                    <a:pt x="1080" y="259"/>
                  </a:cubicBezTo>
                  <a:cubicBezTo>
                    <a:pt x="1081" y="259"/>
                    <a:pt x="1082" y="259"/>
                    <a:pt x="1082" y="259"/>
                  </a:cubicBezTo>
                  <a:cubicBezTo>
                    <a:pt x="1083" y="258"/>
                    <a:pt x="1083" y="258"/>
                    <a:pt x="1083" y="258"/>
                  </a:cubicBezTo>
                  <a:cubicBezTo>
                    <a:pt x="1088" y="260"/>
                    <a:pt x="1088" y="260"/>
                    <a:pt x="1088" y="260"/>
                  </a:cubicBezTo>
                  <a:cubicBezTo>
                    <a:pt x="1088" y="260"/>
                    <a:pt x="1088" y="260"/>
                    <a:pt x="1088" y="260"/>
                  </a:cubicBezTo>
                  <a:cubicBezTo>
                    <a:pt x="1089" y="260"/>
                    <a:pt x="1089" y="260"/>
                    <a:pt x="1089" y="260"/>
                  </a:cubicBezTo>
                  <a:cubicBezTo>
                    <a:pt x="1090" y="260"/>
                    <a:pt x="1090" y="260"/>
                    <a:pt x="1090" y="260"/>
                  </a:cubicBezTo>
                  <a:cubicBezTo>
                    <a:pt x="1091" y="260"/>
                    <a:pt x="1091" y="260"/>
                    <a:pt x="1091" y="260"/>
                  </a:cubicBezTo>
                  <a:cubicBezTo>
                    <a:pt x="1092" y="262"/>
                    <a:pt x="1092" y="262"/>
                    <a:pt x="1092" y="262"/>
                  </a:cubicBezTo>
                  <a:cubicBezTo>
                    <a:pt x="1093" y="266"/>
                    <a:pt x="1093" y="266"/>
                    <a:pt x="1093" y="266"/>
                  </a:cubicBezTo>
                  <a:cubicBezTo>
                    <a:pt x="1094" y="272"/>
                    <a:pt x="1094" y="272"/>
                    <a:pt x="1094" y="272"/>
                  </a:cubicBezTo>
                  <a:cubicBezTo>
                    <a:pt x="1104" y="279"/>
                    <a:pt x="1104" y="279"/>
                    <a:pt x="1104" y="279"/>
                  </a:cubicBezTo>
                  <a:cubicBezTo>
                    <a:pt x="1119" y="278"/>
                    <a:pt x="1119" y="278"/>
                    <a:pt x="1119" y="278"/>
                  </a:cubicBezTo>
                  <a:cubicBezTo>
                    <a:pt x="1123" y="279"/>
                    <a:pt x="1123" y="279"/>
                    <a:pt x="1123" y="279"/>
                  </a:cubicBezTo>
                  <a:cubicBezTo>
                    <a:pt x="1123" y="279"/>
                    <a:pt x="1123" y="279"/>
                    <a:pt x="1123" y="279"/>
                  </a:cubicBezTo>
                  <a:cubicBezTo>
                    <a:pt x="1124" y="280"/>
                    <a:pt x="1124" y="280"/>
                    <a:pt x="1124" y="280"/>
                  </a:cubicBezTo>
                  <a:cubicBezTo>
                    <a:pt x="1156" y="284"/>
                    <a:pt x="1156" y="284"/>
                    <a:pt x="1156" y="284"/>
                  </a:cubicBezTo>
                  <a:cubicBezTo>
                    <a:pt x="1157" y="284"/>
                    <a:pt x="1157" y="284"/>
                    <a:pt x="1158" y="284"/>
                  </a:cubicBezTo>
                  <a:cubicBezTo>
                    <a:pt x="1187" y="276"/>
                    <a:pt x="1187" y="276"/>
                    <a:pt x="1187" y="276"/>
                  </a:cubicBezTo>
                  <a:cubicBezTo>
                    <a:pt x="1203" y="273"/>
                    <a:pt x="1203" y="273"/>
                    <a:pt x="1203" y="273"/>
                  </a:cubicBezTo>
                  <a:cubicBezTo>
                    <a:pt x="1204" y="273"/>
                    <a:pt x="1204" y="273"/>
                    <a:pt x="1204" y="273"/>
                  </a:cubicBezTo>
                  <a:cubicBezTo>
                    <a:pt x="1215" y="262"/>
                    <a:pt x="1215" y="262"/>
                    <a:pt x="1215" y="262"/>
                  </a:cubicBezTo>
                  <a:cubicBezTo>
                    <a:pt x="1220" y="259"/>
                    <a:pt x="1220" y="259"/>
                    <a:pt x="1220" y="259"/>
                  </a:cubicBezTo>
                  <a:cubicBezTo>
                    <a:pt x="1224" y="257"/>
                    <a:pt x="1224" y="257"/>
                    <a:pt x="1224" y="257"/>
                  </a:cubicBezTo>
                  <a:cubicBezTo>
                    <a:pt x="1224" y="256"/>
                    <a:pt x="1225" y="256"/>
                    <a:pt x="1226" y="256"/>
                  </a:cubicBezTo>
                  <a:cubicBezTo>
                    <a:pt x="1226" y="255"/>
                    <a:pt x="1226" y="255"/>
                    <a:pt x="1226" y="255"/>
                  </a:cubicBezTo>
                  <a:cubicBezTo>
                    <a:pt x="1227" y="255"/>
                    <a:pt x="1227" y="254"/>
                    <a:pt x="1228" y="254"/>
                  </a:cubicBezTo>
                  <a:cubicBezTo>
                    <a:pt x="1230" y="253"/>
                    <a:pt x="1232" y="252"/>
                    <a:pt x="1234" y="251"/>
                  </a:cubicBezTo>
                  <a:cubicBezTo>
                    <a:pt x="1235" y="251"/>
                    <a:pt x="1235" y="251"/>
                    <a:pt x="1235" y="251"/>
                  </a:cubicBezTo>
                  <a:cubicBezTo>
                    <a:pt x="1236" y="251"/>
                    <a:pt x="1237" y="251"/>
                    <a:pt x="1238" y="251"/>
                  </a:cubicBezTo>
                  <a:cubicBezTo>
                    <a:pt x="1240" y="251"/>
                    <a:pt x="1240" y="251"/>
                    <a:pt x="1240" y="251"/>
                  </a:cubicBezTo>
                  <a:cubicBezTo>
                    <a:pt x="1241" y="251"/>
                    <a:pt x="1242" y="251"/>
                    <a:pt x="1244" y="251"/>
                  </a:cubicBezTo>
                  <a:cubicBezTo>
                    <a:pt x="1245" y="251"/>
                    <a:pt x="1247" y="251"/>
                    <a:pt x="1248" y="251"/>
                  </a:cubicBezTo>
                  <a:cubicBezTo>
                    <a:pt x="1251" y="251"/>
                    <a:pt x="1251" y="251"/>
                    <a:pt x="1251" y="251"/>
                  </a:cubicBezTo>
                  <a:cubicBezTo>
                    <a:pt x="1267" y="261"/>
                    <a:pt x="1267" y="261"/>
                    <a:pt x="1267" y="261"/>
                  </a:cubicBezTo>
                  <a:cubicBezTo>
                    <a:pt x="1268" y="261"/>
                    <a:pt x="1268" y="261"/>
                    <a:pt x="1268" y="261"/>
                  </a:cubicBezTo>
                  <a:cubicBezTo>
                    <a:pt x="1268" y="261"/>
                    <a:pt x="1268" y="261"/>
                    <a:pt x="1268" y="261"/>
                  </a:cubicBezTo>
                  <a:cubicBezTo>
                    <a:pt x="1268" y="261"/>
                    <a:pt x="1268" y="261"/>
                    <a:pt x="1268" y="261"/>
                  </a:cubicBezTo>
                  <a:cubicBezTo>
                    <a:pt x="1268" y="261"/>
                    <a:pt x="1268" y="261"/>
                    <a:pt x="1268" y="261"/>
                  </a:cubicBezTo>
                  <a:cubicBezTo>
                    <a:pt x="1284" y="257"/>
                    <a:pt x="1284" y="257"/>
                    <a:pt x="1284" y="257"/>
                  </a:cubicBezTo>
                  <a:cubicBezTo>
                    <a:pt x="1285" y="258"/>
                    <a:pt x="1285" y="258"/>
                    <a:pt x="1285" y="258"/>
                  </a:cubicBezTo>
                  <a:cubicBezTo>
                    <a:pt x="1287" y="258"/>
                    <a:pt x="1289" y="260"/>
                    <a:pt x="1293" y="262"/>
                  </a:cubicBezTo>
                  <a:cubicBezTo>
                    <a:pt x="1293" y="262"/>
                    <a:pt x="1293" y="262"/>
                    <a:pt x="1293" y="262"/>
                  </a:cubicBezTo>
                  <a:cubicBezTo>
                    <a:pt x="1294" y="263"/>
                    <a:pt x="1294" y="263"/>
                    <a:pt x="1295" y="263"/>
                  </a:cubicBezTo>
                  <a:cubicBezTo>
                    <a:pt x="1295" y="263"/>
                    <a:pt x="1295" y="263"/>
                    <a:pt x="1295" y="263"/>
                  </a:cubicBezTo>
                  <a:cubicBezTo>
                    <a:pt x="1296" y="264"/>
                    <a:pt x="1296" y="264"/>
                    <a:pt x="1296" y="264"/>
                  </a:cubicBezTo>
                  <a:cubicBezTo>
                    <a:pt x="1298" y="265"/>
                    <a:pt x="1300" y="265"/>
                    <a:pt x="1301" y="266"/>
                  </a:cubicBezTo>
                  <a:cubicBezTo>
                    <a:pt x="1314" y="270"/>
                    <a:pt x="1314" y="270"/>
                    <a:pt x="1314" y="270"/>
                  </a:cubicBezTo>
                  <a:cubicBezTo>
                    <a:pt x="1314" y="270"/>
                    <a:pt x="1314" y="270"/>
                    <a:pt x="1314" y="270"/>
                  </a:cubicBezTo>
                  <a:cubicBezTo>
                    <a:pt x="1322" y="272"/>
                    <a:pt x="1322" y="272"/>
                    <a:pt x="1322" y="272"/>
                  </a:cubicBezTo>
                  <a:cubicBezTo>
                    <a:pt x="1329" y="267"/>
                    <a:pt x="1329" y="267"/>
                    <a:pt x="1329" y="267"/>
                  </a:cubicBezTo>
                  <a:cubicBezTo>
                    <a:pt x="1331" y="265"/>
                    <a:pt x="1334" y="262"/>
                    <a:pt x="1338" y="261"/>
                  </a:cubicBezTo>
                  <a:cubicBezTo>
                    <a:pt x="1339" y="261"/>
                    <a:pt x="1339" y="261"/>
                    <a:pt x="1339" y="261"/>
                  </a:cubicBezTo>
                  <a:cubicBezTo>
                    <a:pt x="1348" y="259"/>
                    <a:pt x="1348" y="259"/>
                    <a:pt x="1348" y="259"/>
                  </a:cubicBezTo>
                  <a:cubicBezTo>
                    <a:pt x="1354" y="256"/>
                    <a:pt x="1354" y="256"/>
                    <a:pt x="1354" y="256"/>
                  </a:cubicBezTo>
                  <a:cubicBezTo>
                    <a:pt x="1354" y="255"/>
                    <a:pt x="1354" y="255"/>
                    <a:pt x="1354" y="255"/>
                  </a:cubicBezTo>
                  <a:cubicBezTo>
                    <a:pt x="1354" y="254"/>
                    <a:pt x="1354" y="254"/>
                    <a:pt x="1354" y="253"/>
                  </a:cubicBezTo>
                  <a:cubicBezTo>
                    <a:pt x="1354" y="253"/>
                    <a:pt x="1354" y="253"/>
                    <a:pt x="1354" y="253"/>
                  </a:cubicBezTo>
                  <a:cubicBezTo>
                    <a:pt x="1354" y="249"/>
                    <a:pt x="1354" y="249"/>
                    <a:pt x="1354" y="249"/>
                  </a:cubicBezTo>
                  <a:cubicBezTo>
                    <a:pt x="1355" y="240"/>
                    <a:pt x="1355" y="240"/>
                    <a:pt x="1355" y="240"/>
                  </a:cubicBezTo>
                  <a:cubicBezTo>
                    <a:pt x="1359" y="232"/>
                    <a:pt x="1359" y="232"/>
                    <a:pt x="1359" y="232"/>
                  </a:cubicBezTo>
                  <a:cubicBezTo>
                    <a:pt x="1364" y="224"/>
                    <a:pt x="1364" y="224"/>
                    <a:pt x="1364" y="224"/>
                  </a:cubicBezTo>
                  <a:cubicBezTo>
                    <a:pt x="1365" y="222"/>
                    <a:pt x="1367" y="219"/>
                    <a:pt x="1368" y="216"/>
                  </a:cubicBezTo>
                  <a:cubicBezTo>
                    <a:pt x="1370" y="213"/>
                    <a:pt x="1370" y="213"/>
                    <a:pt x="1370" y="213"/>
                  </a:cubicBezTo>
                  <a:cubicBezTo>
                    <a:pt x="1382" y="200"/>
                    <a:pt x="1382" y="200"/>
                    <a:pt x="1382" y="200"/>
                  </a:cubicBezTo>
                  <a:cubicBezTo>
                    <a:pt x="1384" y="198"/>
                    <a:pt x="1386" y="196"/>
                    <a:pt x="1388" y="194"/>
                  </a:cubicBezTo>
                  <a:cubicBezTo>
                    <a:pt x="1387" y="193"/>
                    <a:pt x="1387" y="193"/>
                    <a:pt x="1387" y="193"/>
                  </a:cubicBezTo>
                  <a:cubicBezTo>
                    <a:pt x="1387" y="193"/>
                    <a:pt x="1387" y="193"/>
                    <a:pt x="1387" y="193"/>
                  </a:cubicBezTo>
                  <a:cubicBezTo>
                    <a:pt x="1385" y="192"/>
                    <a:pt x="1385" y="192"/>
                    <a:pt x="1385" y="192"/>
                  </a:cubicBezTo>
                  <a:cubicBezTo>
                    <a:pt x="1385" y="190"/>
                    <a:pt x="1385" y="190"/>
                    <a:pt x="1385" y="190"/>
                  </a:cubicBezTo>
                  <a:cubicBezTo>
                    <a:pt x="1385" y="188"/>
                    <a:pt x="1385" y="188"/>
                    <a:pt x="1385" y="188"/>
                  </a:cubicBezTo>
                  <a:cubicBezTo>
                    <a:pt x="1386" y="184"/>
                    <a:pt x="1386" y="184"/>
                    <a:pt x="1386" y="184"/>
                  </a:cubicBezTo>
                  <a:cubicBezTo>
                    <a:pt x="1386" y="184"/>
                    <a:pt x="1385" y="184"/>
                    <a:pt x="1385" y="183"/>
                  </a:cubicBezTo>
                  <a:cubicBezTo>
                    <a:pt x="1384" y="183"/>
                    <a:pt x="1384" y="183"/>
                    <a:pt x="1384" y="183"/>
                  </a:cubicBezTo>
                  <a:cubicBezTo>
                    <a:pt x="1384" y="183"/>
                    <a:pt x="1384" y="183"/>
                    <a:pt x="1384" y="183"/>
                  </a:cubicBezTo>
                  <a:cubicBezTo>
                    <a:pt x="1383" y="183"/>
                    <a:pt x="1383" y="183"/>
                    <a:pt x="1383" y="183"/>
                  </a:cubicBezTo>
                  <a:cubicBezTo>
                    <a:pt x="1383" y="183"/>
                    <a:pt x="1381" y="183"/>
                    <a:pt x="1381" y="183"/>
                  </a:cubicBezTo>
                  <a:cubicBezTo>
                    <a:pt x="1380" y="183"/>
                    <a:pt x="1380" y="183"/>
                    <a:pt x="1380" y="183"/>
                  </a:cubicBezTo>
                  <a:cubicBezTo>
                    <a:pt x="1379" y="183"/>
                    <a:pt x="1378" y="183"/>
                    <a:pt x="1377" y="183"/>
                  </a:cubicBezTo>
                  <a:cubicBezTo>
                    <a:pt x="1372" y="184"/>
                    <a:pt x="1372" y="184"/>
                    <a:pt x="1372" y="184"/>
                  </a:cubicBezTo>
                  <a:cubicBezTo>
                    <a:pt x="1372" y="181"/>
                    <a:pt x="1372" y="181"/>
                    <a:pt x="1372" y="181"/>
                  </a:cubicBezTo>
                  <a:cubicBezTo>
                    <a:pt x="1371" y="180"/>
                    <a:pt x="1370" y="179"/>
                    <a:pt x="1371" y="175"/>
                  </a:cubicBezTo>
                  <a:cubicBezTo>
                    <a:pt x="1371" y="173"/>
                    <a:pt x="1371" y="173"/>
                    <a:pt x="1371" y="173"/>
                  </a:cubicBezTo>
                  <a:cubicBezTo>
                    <a:pt x="1373" y="172"/>
                    <a:pt x="1373" y="172"/>
                    <a:pt x="1373" y="172"/>
                  </a:cubicBezTo>
                  <a:cubicBezTo>
                    <a:pt x="1374" y="171"/>
                    <a:pt x="1376" y="170"/>
                    <a:pt x="1377" y="169"/>
                  </a:cubicBezTo>
                  <a:cubicBezTo>
                    <a:pt x="1378" y="168"/>
                    <a:pt x="1378" y="168"/>
                    <a:pt x="1379" y="167"/>
                  </a:cubicBezTo>
                  <a:cubicBezTo>
                    <a:pt x="1383" y="163"/>
                    <a:pt x="1383" y="163"/>
                    <a:pt x="1383" y="163"/>
                  </a:cubicBezTo>
                  <a:cubicBezTo>
                    <a:pt x="1385" y="162"/>
                    <a:pt x="1387" y="160"/>
                    <a:pt x="1389" y="159"/>
                  </a:cubicBezTo>
                  <a:cubicBezTo>
                    <a:pt x="1390" y="157"/>
                    <a:pt x="1390" y="157"/>
                    <a:pt x="1390" y="157"/>
                  </a:cubicBezTo>
                  <a:cubicBezTo>
                    <a:pt x="1391" y="157"/>
                    <a:pt x="1391" y="157"/>
                    <a:pt x="1392" y="156"/>
                  </a:cubicBezTo>
                  <a:cubicBezTo>
                    <a:pt x="1393" y="156"/>
                    <a:pt x="1393" y="156"/>
                    <a:pt x="1393" y="156"/>
                  </a:cubicBezTo>
                  <a:cubicBezTo>
                    <a:pt x="1394" y="156"/>
                    <a:pt x="1394" y="156"/>
                    <a:pt x="1394" y="156"/>
                  </a:cubicBezTo>
                  <a:cubicBezTo>
                    <a:pt x="1395" y="156"/>
                    <a:pt x="1395" y="156"/>
                    <a:pt x="1395" y="156"/>
                  </a:cubicBezTo>
                  <a:cubicBezTo>
                    <a:pt x="1396" y="155"/>
                    <a:pt x="1397" y="155"/>
                    <a:pt x="1398" y="155"/>
                  </a:cubicBezTo>
                  <a:cubicBezTo>
                    <a:pt x="1399" y="155"/>
                    <a:pt x="1400" y="155"/>
                    <a:pt x="1401" y="155"/>
                  </a:cubicBezTo>
                  <a:cubicBezTo>
                    <a:pt x="1406" y="155"/>
                    <a:pt x="1411" y="154"/>
                    <a:pt x="1416" y="152"/>
                  </a:cubicBezTo>
                  <a:cubicBezTo>
                    <a:pt x="1420" y="152"/>
                    <a:pt x="1420" y="152"/>
                    <a:pt x="1420" y="152"/>
                  </a:cubicBezTo>
                  <a:cubicBezTo>
                    <a:pt x="1432" y="151"/>
                    <a:pt x="1432" y="151"/>
                    <a:pt x="1432" y="151"/>
                  </a:cubicBezTo>
                  <a:cubicBezTo>
                    <a:pt x="1436" y="150"/>
                    <a:pt x="1439" y="150"/>
                    <a:pt x="1442" y="149"/>
                  </a:cubicBezTo>
                  <a:cubicBezTo>
                    <a:pt x="1444" y="149"/>
                    <a:pt x="1444" y="149"/>
                    <a:pt x="1444" y="149"/>
                  </a:cubicBezTo>
                  <a:cubicBezTo>
                    <a:pt x="1445" y="148"/>
                    <a:pt x="1446" y="148"/>
                    <a:pt x="1446" y="148"/>
                  </a:cubicBezTo>
                  <a:cubicBezTo>
                    <a:pt x="1447" y="147"/>
                    <a:pt x="1448" y="147"/>
                    <a:pt x="1449" y="147"/>
                  </a:cubicBezTo>
                  <a:cubicBezTo>
                    <a:pt x="1450" y="147"/>
                    <a:pt x="1450" y="147"/>
                    <a:pt x="1450" y="147"/>
                  </a:cubicBezTo>
                  <a:cubicBezTo>
                    <a:pt x="1453" y="147"/>
                    <a:pt x="1453" y="147"/>
                    <a:pt x="1453" y="147"/>
                  </a:cubicBezTo>
                  <a:cubicBezTo>
                    <a:pt x="1455" y="147"/>
                    <a:pt x="1455" y="147"/>
                    <a:pt x="1455" y="147"/>
                  </a:cubicBezTo>
                  <a:cubicBezTo>
                    <a:pt x="1459" y="148"/>
                    <a:pt x="1459" y="148"/>
                    <a:pt x="1459" y="148"/>
                  </a:cubicBezTo>
                  <a:cubicBezTo>
                    <a:pt x="1461" y="149"/>
                    <a:pt x="1461" y="149"/>
                    <a:pt x="1461" y="149"/>
                  </a:cubicBezTo>
                  <a:cubicBezTo>
                    <a:pt x="1464" y="150"/>
                    <a:pt x="1468" y="151"/>
                    <a:pt x="1471" y="153"/>
                  </a:cubicBezTo>
                  <a:cubicBezTo>
                    <a:pt x="1482" y="159"/>
                    <a:pt x="1482" y="159"/>
                    <a:pt x="1482" y="159"/>
                  </a:cubicBezTo>
                  <a:cubicBezTo>
                    <a:pt x="1487" y="159"/>
                    <a:pt x="1487" y="159"/>
                    <a:pt x="1487" y="159"/>
                  </a:cubicBezTo>
                  <a:cubicBezTo>
                    <a:pt x="1487" y="159"/>
                    <a:pt x="1487" y="159"/>
                    <a:pt x="1487" y="159"/>
                  </a:cubicBezTo>
                  <a:cubicBezTo>
                    <a:pt x="1488" y="159"/>
                    <a:pt x="1488" y="159"/>
                    <a:pt x="1488" y="159"/>
                  </a:cubicBezTo>
                  <a:cubicBezTo>
                    <a:pt x="1490" y="159"/>
                    <a:pt x="1491" y="158"/>
                    <a:pt x="1493" y="158"/>
                  </a:cubicBezTo>
                  <a:cubicBezTo>
                    <a:pt x="1493" y="158"/>
                    <a:pt x="1494" y="158"/>
                    <a:pt x="1494" y="159"/>
                  </a:cubicBezTo>
                  <a:cubicBezTo>
                    <a:pt x="1494" y="159"/>
                    <a:pt x="1494" y="159"/>
                    <a:pt x="1494" y="159"/>
                  </a:cubicBezTo>
                  <a:cubicBezTo>
                    <a:pt x="1496" y="159"/>
                    <a:pt x="1496" y="159"/>
                    <a:pt x="1496" y="159"/>
                  </a:cubicBezTo>
                  <a:cubicBezTo>
                    <a:pt x="1496" y="159"/>
                    <a:pt x="1496" y="159"/>
                    <a:pt x="1496" y="159"/>
                  </a:cubicBezTo>
                  <a:cubicBezTo>
                    <a:pt x="1497" y="160"/>
                    <a:pt x="1497" y="160"/>
                    <a:pt x="1498" y="160"/>
                  </a:cubicBezTo>
                  <a:cubicBezTo>
                    <a:pt x="1498" y="160"/>
                    <a:pt x="1498" y="160"/>
                    <a:pt x="1498" y="160"/>
                  </a:cubicBezTo>
                  <a:cubicBezTo>
                    <a:pt x="1498" y="160"/>
                    <a:pt x="1498" y="160"/>
                    <a:pt x="1498" y="160"/>
                  </a:cubicBezTo>
                  <a:cubicBezTo>
                    <a:pt x="1500" y="161"/>
                    <a:pt x="1500" y="161"/>
                    <a:pt x="1500" y="161"/>
                  </a:cubicBezTo>
                  <a:cubicBezTo>
                    <a:pt x="1500" y="161"/>
                    <a:pt x="1501" y="162"/>
                    <a:pt x="1501" y="162"/>
                  </a:cubicBezTo>
                  <a:cubicBezTo>
                    <a:pt x="1502" y="162"/>
                    <a:pt x="1502" y="162"/>
                    <a:pt x="1502" y="162"/>
                  </a:cubicBezTo>
                  <a:cubicBezTo>
                    <a:pt x="1503" y="163"/>
                    <a:pt x="1503" y="163"/>
                    <a:pt x="1503" y="163"/>
                  </a:cubicBezTo>
                  <a:cubicBezTo>
                    <a:pt x="1503" y="163"/>
                    <a:pt x="1503" y="163"/>
                    <a:pt x="1503" y="163"/>
                  </a:cubicBezTo>
                  <a:cubicBezTo>
                    <a:pt x="1505" y="163"/>
                    <a:pt x="1505" y="163"/>
                    <a:pt x="1505" y="163"/>
                  </a:cubicBezTo>
                  <a:cubicBezTo>
                    <a:pt x="1506" y="164"/>
                    <a:pt x="1506" y="164"/>
                    <a:pt x="1506" y="164"/>
                  </a:cubicBezTo>
                  <a:cubicBezTo>
                    <a:pt x="1512" y="169"/>
                    <a:pt x="1512" y="169"/>
                    <a:pt x="1512" y="169"/>
                  </a:cubicBezTo>
                  <a:cubicBezTo>
                    <a:pt x="1515" y="166"/>
                    <a:pt x="1515" y="166"/>
                    <a:pt x="1515" y="166"/>
                  </a:cubicBezTo>
                  <a:cubicBezTo>
                    <a:pt x="1513" y="170"/>
                    <a:pt x="1513" y="170"/>
                    <a:pt x="1513" y="170"/>
                  </a:cubicBezTo>
                  <a:cubicBezTo>
                    <a:pt x="1513" y="170"/>
                    <a:pt x="1513" y="170"/>
                    <a:pt x="1513" y="170"/>
                  </a:cubicBezTo>
                  <a:cubicBezTo>
                    <a:pt x="1514" y="170"/>
                    <a:pt x="1514" y="171"/>
                    <a:pt x="1515" y="171"/>
                  </a:cubicBezTo>
                  <a:cubicBezTo>
                    <a:pt x="1515" y="171"/>
                    <a:pt x="1515" y="171"/>
                    <a:pt x="1515" y="171"/>
                  </a:cubicBezTo>
                  <a:cubicBezTo>
                    <a:pt x="1516" y="172"/>
                    <a:pt x="1516" y="172"/>
                    <a:pt x="1516" y="172"/>
                  </a:cubicBezTo>
                  <a:cubicBezTo>
                    <a:pt x="1518" y="173"/>
                    <a:pt x="1518" y="173"/>
                    <a:pt x="1518" y="173"/>
                  </a:cubicBezTo>
                  <a:cubicBezTo>
                    <a:pt x="1519" y="175"/>
                    <a:pt x="1519" y="175"/>
                    <a:pt x="1519" y="175"/>
                  </a:cubicBezTo>
                  <a:cubicBezTo>
                    <a:pt x="1518" y="177"/>
                    <a:pt x="1518" y="177"/>
                    <a:pt x="1518" y="177"/>
                  </a:cubicBezTo>
                  <a:cubicBezTo>
                    <a:pt x="1518" y="177"/>
                    <a:pt x="1517" y="179"/>
                    <a:pt x="1517" y="179"/>
                  </a:cubicBezTo>
                  <a:cubicBezTo>
                    <a:pt x="1516" y="180"/>
                    <a:pt x="1516" y="180"/>
                    <a:pt x="1516" y="180"/>
                  </a:cubicBezTo>
                  <a:cubicBezTo>
                    <a:pt x="1517" y="181"/>
                    <a:pt x="1517" y="181"/>
                    <a:pt x="1517" y="181"/>
                  </a:cubicBezTo>
                  <a:cubicBezTo>
                    <a:pt x="1518" y="181"/>
                    <a:pt x="1519" y="182"/>
                    <a:pt x="1519" y="183"/>
                  </a:cubicBezTo>
                  <a:cubicBezTo>
                    <a:pt x="1522" y="185"/>
                    <a:pt x="1526" y="189"/>
                    <a:pt x="1527" y="193"/>
                  </a:cubicBezTo>
                  <a:cubicBezTo>
                    <a:pt x="1528" y="194"/>
                    <a:pt x="1528" y="194"/>
                    <a:pt x="1528" y="194"/>
                  </a:cubicBezTo>
                  <a:cubicBezTo>
                    <a:pt x="1528" y="197"/>
                    <a:pt x="1528" y="197"/>
                    <a:pt x="1528" y="197"/>
                  </a:cubicBezTo>
                  <a:cubicBezTo>
                    <a:pt x="1528" y="199"/>
                    <a:pt x="1528" y="199"/>
                    <a:pt x="1528" y="199"/>
                  </a:cubicBezTo>
                  <a:cubicBezTo>
                    <a:pt x="1527" y="200"/>
                    <a:pt x="1527" y="200"/>
                    <a:pt x="1527" y="200"/>
                  </a:cubicBezTo>
                  <a:cubicBezTo>
                    <a:pt x="1527" y="200"/>
                    <a:pt x="1527" y="200"/>
                    <a:pt x="1527" y="200"/>
                  </a:cubicBezTo>
                  <a:cubicBezTo>
                    <a:pt x="1528" y="201"/>
                    <a:pt x="1528" y="201"/>
                    <a:pt x="1528" y="201"/>
                  </a:cubicBezTo>
                  <a:cubicBezTo>
                    <a:pt x="1530" y="206"/>
                    <a:pt x="1532" y="211"/>
                    <a:pt x="1534" y="215"/>
                  </a:cubicBezTo>
                  <a:cubicBezTo>
                    <a:pt x="1535" y="219"/>
                    <a:pt x="1535" y="219"/>
                    <a:pt x="1535" y="219"/>
                  </a:cubicBezTo>
                  <a:cubicBezTo>
                    <a:pt x="1536" y="218"/>
                    <a:pt x="1536" y="218"/>
                    <a:pt x="1536" y="218"/>
                  </a:cubicBezTo>
                  <a:cubicBezTo>
                    <a:pt x="1539" y="218"/>
                    <a:pt x="1539" y="218"/>
                    <a:pt x="1539" y="218"/>
                  </a:cubicBezTo>
                  <a:cubicBezTo>
                    <a:pt x="1541" y="230"/>
                    <a:pt x="1541" y="230"/>
                    <a:pt x="1541" y="230"/>
                  </a:cubicBezTo>
                  <a:cubicBezTo>
                    <a:pt x="1542" y="231"/>
                    <a:pt x="1542" y="231"/>
                    <a:pt x="1542" y="231"/>
                  </a:cubicBezTo>
                  <a:cubicBezTo>
                    <a:pt x="1542" y="231"/>
                    <a:pt x="1542" y="231"/>
                    <a:pt x="1542" y="231"/>
                  </a:cubicBezTo>
                  <a:cubicBezTo>
                    <a:pt x="1542" y="231"/>
                    <a:pt x="1542" y="231"/>
                    <a:pt x="1542" y="231"/>
                  </a:cubicBezTo>
                  <a:cubicBezTo>
                    <a:pt x="1543" y="233"/>
                    <a:pt x="1543" y="233"/>
                    <a:pt x="1543" y="233"/>
                  </a:cubicBezTo>
                  <a:cubicBezTo>
                    <a:pt x="1550" y="249"/>
                    <a:pt x="1550" y="249"/>
                    <a:pt x="1550" y="249"/>
                  </a:cubicBezTo>
                  <a:cubicBezTo>
                    <a:pt x="1550" y="249"/>
                    <a:pt x="1551" y="250"/>
                    <a:pt x="1551" y="251"/>
                  </a:cubicBezTo>
                  <a:cubicBezTo>
                    <a:pt x="1551" y="252"/>
                    <a:pt x="1551" y="252"/>
                    <a:pt x="1551" y="252"/>
                  </a:cubicBezTo>
                  <a:cubicBezTo>
                    <a:pt x="1551" y="251"/>
                    <a:pt x="1551" y="251"/>
                    <a:pt x="1551" y="251"/>
                  </a:cubicBezTo>
                  <a:cubicBezTo>
                    <a:pt x="1552" y="252"/>
                    <a:pt x="1552" y="252"/>
                    <a:pt x="1553" y="253"/>
                  </a:cubicBezTo>
                  <a:cubicBezTo>
                    <a:pt x="1553" y="253"/>
                    <a:pt x="1553" y="253"/>
                    <a:pt x="1553" y="253"/>
                  </a:cubicBezTo>
                  <a:cubicBezTo>
                    <a:pt x="1554" y="255"/>
                    <a:pt x="1554" y="255"/>
                    <a:pt x="1554" y="255"/>
                  </a:cubicBezTo>
                  <a:cubicBezTo>
                    <a:pt x="1553" y="258"/>
                    <a:pt x="1553" y="258"/>
                    <a:pt x="1553" y="258"/>
                  </a:cubicBezTo>
                  <a:cubicBezTo>
                    <a:pt x="1553" y="258"/>
                    <a:pt x="1553" y="259"/>
                    <a:pt x="1553" y="260"/>
                  </a:cubicBezTo>
                  <a:cubicBezTo>
                    <a:pt x="1553" y="261"/>
                    <a:pt x="1553" y="261"/>
                    <a:pt x="1553" y="261"/>
                  </a:cubicBezTo>
                  <a:cubicBezTo>
                    <a:pt x="1552" y="262"/>
                    <a:pt x="1552" y="263"/>
                    <a:pt x="1553" y="263"/>
                  </a:cubicBezTo>
                  <a:cubicBezTo>
                    <a:pt x="1558" y="271"/>
                    <a:pt x="1558" y="271"/>
                    <a:pt x="1558" y="271"/>
                  </a:cubicBezTo>
                  <a:cubicBezTo>
                    <a:pt x="1558" y="271"/>
                    <a:pt x="1558" y="271"/>
                    <a:pt x="1561" y="271"/>
                  </a:cubicBezTo>
                  <a:cubicBezTo>
                    <a:pt x="1573" y="271"/>
                    <a:pt x="1573" y="271"/>
                    <a:pt x="1573" y="271"/>
                  </a:cubicBezTo>
                  <a:cubicBezTo>
                    <a:pt x="1575" y="271"/>
                    <a:pt x="1578" y="273"/>
                    <a:pt x="1580" y="274"/>
                  </a:cubicBezTo>
                  <a:cubicBezTo>
                    <a:pt x="1581" y="274"/>
                    <a:pt x="1581" y="274"/>
                    <a:pt x="1581" y="274"/>
                  </a:cubicBezTo>
                  <a:cubicBezTo>
                    <a:pt x="1582" y="274"/>
                    <a:pt x="1582" y="275"/>
                    <a:pt x="1583" y="275"/>
                  </a:cubicBezTo>
                  <a:cubicBezTo>
                    <a:pt x="1590" y="277"/>
                    <a:pt x="1590" y="277"/>
                    <a:pt x="1590" y="277"/>
                  </a:cubicBezTo>
                  <a:cubicBezTo>
                    <a:pt x="1593" y="276"/>
                    <a:pt x="1593" y="276"/>
                    <a:pt x="1593" y="276"/>
                  </a:cubicBezTo>
                  <a:cubicBezTo>
                    <a:pt x="1597" y="277"/>
                    <a:pt x="1597" y="277"/>
                    <a:pt x="1597" y="277"/>
                  </a:cubicBezTo>
                  <a:cubicBezTo>
                    <a:pt x="1614" y="293"/>
                    <a:pt x="1614" y="293"/>
                    <a:pt x="1614" y="293"/>
                  </a:cubicBezTo>
                  <a:cubicBezTo>
                    <a:pt x="1615" y="293"/>
                    <a:pt x="1615" y="293"/>
                    <a:pt x="1615" y="293"/>
                  </a:cubicBezTo>
                  <a:cubicBezTo>
                    <a:pt x="1616" y="293"/>
                    <a:pt x="1616" y="293"/>
                    <a:pt x="1616" y="293"/>
                  </a:cubicBezTo>
                  <a:cubicBezTo>
                    <a:pt x="1617" y="293"/>
                    <a:pt x="1617" y="293"/>
                    <a:pt x="1617" y="293"/>
                  </a:cubicBezTo>
                  <a:cubicBezTo>
                    <a:pt x="1626" y="293"/>
                    <a:pt x="1626" y="293"/>
                    <a:pt x="1626" y="293"/>
                  </a:cubicBezTo>
                  <a:cubicBezTo>
                    <a:pt x="1624" y="302"/>
                    <a:pt x="1624" y="302"/>
                    <a:pt x="1624" y="302"/>
                  </a:cubicBezTo>
                  <a:cubicBezTo>
                    <a:pt x="1624" y="303"/>
                    <a:pt x="1624" y="303"/>
                    <a:pt x="1624" y="303"/>
                  </a:cubicBezTo>
                  <a:cubicBezTo>
                    <a:pt x="1624" y="303"/>
                    <a:pt x="1625" y="304"/>
                    <a:pt x="1625" y="304"/>
                  </a:cubicBezTo>
                  <a:cubicBezTo>
                    <a:pt x="1626" y="304"/>
                    <a:pt x="1626" y="305"/>
                    <a:pt x="1627" y="305"/>
                  </a:cubicBezTo>
                  <a:cubicBezTo>
                    <a:pt x="1627" y="305"/>
                    <a:pt x="1628" y="306"/>
                    <a:pt x="1628" y="307"/>
                  </a:cubicBezTo>
                  <a:cubicBezTo>
                    <a:pt x="1629" y="308"/>
                    <a:pt x="1629" y="309"/>
                    <a:pt x="1629" y="310"/>
                  </a:cubicBezTo>
                  <a:cubicBezTo>
                    <a:pt x="1630" y="310"/>
                    <a:pt x="1630" y="311"/>
                    <a:pt x="1630" y="311"/>
                  </a:cubicBezTo>
                  <a:cubicBezTo>
                    <a:pt x="1630" y="312"/>
                    <a:pt x="1630" y="314"/>
                    <a:pt x="1629" y="317"/>
                  </a:cubicBezTo>
                  <a:cubicBezTo>
                    <a:pt x="1628" y="317"/>
                    <a:pt x="1628" y="317"/>
                    <a:pt x="1628" y="318"/>
                  </a:cubicBezTo>
                  <a:cubicBezTo>
                    <a:pt x="1627" y="319"/>
                    <a:pt x="1627" y="319"/>
                    <a:pt x="1627" y="319"/>
                  </a:cubicBezTo>
                  <a:cubicBezTo>
                    <a:pt x="1627" y="320"/>
                    <a:pt x="1628" y="320"/>
                    <a:pt x="1628" y="321"/>
                  </a:cubicBezTo>
                  <a:cubicBezTo>
                    <a:pt x="1628" y="321"/>
                    <a:pt x="1629" y="321"/>
                    <a:pt x="1629" y="322"/>
                  </a:cubicBezTo>
                  <a:cubicBezTo>
                    <a:pt x="1629" y="322"/>
                    <a:pt x="1629" y="322"/>
                    <a:pt x="1629" y="322"/>
                  </a:cubicBezTo>
                  <a:cubicBezTo>
                    <a:pt x="1630" y="322"/>
                    <a:pt x="1630" y="323"/>
                    <a:pt x="1631" y="324"/>
                  </a:cubicBezTo>
                  <a:cubicBezTo>
                    <a:pt x="1631" y="324"/>
                    <a:pt x="1631" y="324"/>
                    <a:pt x="1631" y="324"/>
                  </a:cubicBezTo>
                  <a:cubicBezTo>
                    <a:pt x="1632" y="324"/>
                    <a:pt x="1632" y="325"/>
                    <a:pt x="1632" y="325"/>
                  </a:cubicBezTo>
                  <a:cubicBezTo>
                    <a:pt x="1632" y="326"/>
                    <a:pt x="1632" y="326"/>
                    <a:pt x="1633" y="326"/>
                  </a:cubicBezTo>
                  <a:cubicBezTo>
                    <a:pt x="1633" y="327"/>
                    <a:pt x="1633" y="328"/>
                    <a:pt x="1633" y="328"/>
                  </a:cubicBezTo>
                  <a:cubicBezTo>
                    <a:pt x="1633" y="328"/>
                    <a:pt x="1633" y="328"/>
                    <a:pt x="1633" y="328"/>
                  </a:cubicBezTo>
                  <a:cubicBezTo>
                    <a:pt x="1635" y="329"/>
                    <a:pt x="1637" y="329"/>
                    <a:pt x="1639" y="329"/>
                  </a:cubicBezTo>
                  <a:cubicBezTo>
                    <a:pt x="1639" y="329"/>
                    <a:pt x="1639" y="329"/>
                    <a:pt x="1640" y="329"/>
                  </a:cubicBezTo>
                  <a:cubicBezTo>
                    <a:pt x="1640" y="329"/>
                    <a:pt x="1641" y="329"/>
                    <a:pt x="1642" y="329"/>
                  </a:cubicBezTo>
                  <a:cubicBezTo>
                    <a:pt x="1644" y="329"/>
                    <a:pt x="1647" y="329"/>
                    <a:pt x="1649" y="329"/>
                  </a:cubicBezTo>
                  <a:cubicBezTo>
                    <a:pt x="1654" y="329"/>
                    <a:pt x="1658" y="329"/>
                    <a:pt x="1664" y="328"/>
                  </a:cubicBezTo>
                  <a:cubicBezTo>
                    <a:pt x="1665" y="328"/>
                    <a:pt x="1665" y="328"/>
                    <a:pt x="1665" y="327"/>
                  </a:cubicBezTo>
                  <a:cubicBezTo>
                    <a:pt x="1666" y="326"/>
                    <a:pt x="1666" y="325"/>
                    <a:pt x="1667" y="324"/>
                  </a:cubicBezTo>
                  <a:cubicBezTo>
                    <a:pt x="1669" y="321"/>
                    <a:pt x="1672" y="320"/>
                    <a:pt x="1674" y="319"/>
                  </a:cubicBezTo>
                  <a:cubicBezTo>
                    <a:pt x="1676" y="318"/>
                    <a:pt x="1679" y="316"/>
                    <a:pt x="1681" y="316"/>
                  </a:cubicBezTo>
                  <a:cubicBezTo>
                    <a:pt x="1684" y="316"/>
                    <a:pt x="1686" y="316"/>
                    <a:pt x="1688" y="315"/>
                  </a:cubicBezTo>
                  <a:cubicBezTo>
                    <a:pt x="1694" y="313"/>
                    <a:pt x="1694" y="313"/>
                    <a:pt x="1694" y="313"/>
                  </a:cubicBezTo>
                  <a:cubicBezTo>
                    <a:pt x="1697" y="312"/>
                    <a:pt x="1700" y="310"/>
                    <a:pt x="1703" y="309"/>
                  </a:cubicBezTo>
                  <a:cubicBezTo>
                    <a:pt x="1702" y="309"/>
                    <a:pt x="1702" y="309"/>
                    <a:pt x="1702" y="309"/>
                  </a:cubicBezTo>
                  <a:cubicBezTo>
                    <a:pt x="1713" y="307"/>
                    <a:pt x="1713" y="307"/>
                    <a:pt x="1713" y="307"/>
                  </a:cubicBezTo>
                  <a:cubicBezTo>
                    <a:pt x="1717" y="307"/>
                    <a:pt x="1720" y="306"/>
                    <a:pt x="1723" y="306"/>
                  </a:cubicBezTo>
                  <a:cubicBezTo>
                    <a:pt x="1723" y="306"/>
                    <a:pt x="1724" y="306"/>
                    <a:pt x="1724" y="306"/>
                  </a:cubicBezTo>
                  <a:cubicBezTo>
                    <a:pt x="1724" y="306"/>
                    <a:pt x="1724" y="306"/>
                    <a:pt x="1725" y="306"/>
                  </a:cubicBezTo>
                  <a:cubicBezTo>
                    <a:pt x="1725" y="306"/>
                    <a:pt x="1725" y="306"/>
                    <a:pt x="1725" y="306"/>
                  </a:cubicBezTo>
                  <a:cubicBezTo>
                    <a:pt x="1734" y="306"/>
                    <a:pt x="1734" y="306"/>
                    <a:pt x="1734" y="306"/>
                  </a:cubicBezTo>
                  <a:cubicBezTo>
                    <a:pt x="1727" y="311"/>
                    <a:pt x="1727" y="311"/>
                    <a:pt x="1727" y="311"/>
                  </a:cubicBezTo>
                  <a:cubicBezTo>
                    <a:pt x="1727" y="312"/>
                    <a:pt x="1726" y="312"/>
                    <a:pt x="1726" y="313"/>
                  </a:cubicBezTo>
                  <a:cubicBezTo>
                    <a:pt x="1724" y="315"/>
                    <a:pt x="1723" y="316"/>
                    <a:pt x="1721" y="316"/>
                  </a:cubicBezTo>
                  <a:cubicBezTo>
                    <a:pt x="1721" y="317"/>
                    <a:pt x="1721" y="317"/>
                    <a:pt x="1721" y="317"/>
                  </a:cubicBezTo>
                  <a:cubicBezTo>
                    <a:pt x="1720" y="318"/>
                    <a:pt x="1718" y="321"/>
                    <a:pt x="1718" y="322"/>
                  </a:cubicBezTo>
                  <a:cubicBezTo>
                    <a:pt x="1718" y="323"/>
                    <a:pt x="1719" y="324"/>
                    <a:pt x="1720" y="325"/>
                  </a:cubicBezTo>
                  <a:cubicBezTo>
                    <a:pt x="1721" y="325"/>
                    <a:pt x="1721" y="327"/>
                    <a:pt x="1722" y="328"/>
                  </a:cubicBezTo>
                  <a:cubicBezTo>
                    <a:pt x="1722" y="328"/>
                    <a:pt x="1722" y="328"/>
                    <a:pt x="1722" y="328"/>
                  </a:cubicBezTo>
                  <a:cubicBezTo>
                    <a:pt x="1723" y="329"/>
                    <a:pt x="1723" y="329"/>
                    <a:pt x="1723" y="329"/>
                  </a:cubicBezTo>
                  <a:cubicBezTo>
                    <a:pt x="1723" y="330"/>
                    <a:pt x="1723" y="331"/>
                    <a:pt x="1723" y="331"/>
                  </a:cubicBezTo>
                  <a:cubicBezTo>
                    <a:pt x="1723" y="336"/>
                    <a:pt x="1717" y="338"/>
                    <a:pt x="1714" y="340"/>
                  </a:cubicBezTo>
                  <a:cubicBezTo>
                    <a:pt x="1713" y="341"/>
                    <a:pt x="1713" y="341"/>
                    <a:pt x="1713" y="341"/>
                  </a:cubicBezTo>
                  <a:cubicBezTo>
                    <a:pt x="1713" y="341"/>
                    <a:pt x="1713" y="341"/>
                    <a:pt x="1712" y="341"/>
                  </a:cubicBezTo>
                  <a:cubicBezTo>
                    <a:pt x="1712" y="342"/>
                    <a:pt x="1711" y="342"/>
                    <a:pt x="1711" y="342"/>
                  </a:cubicBezTo>
                  <a:cubicBezTo>
                    <a:pt x="1710" y="343"/>
                    <a:pt x="1710" y="343"/>
                    <a:pt x="1710" y="343"/>
                  </a:cubicBezTo>
                  <a:cubicBezTo>
                    <a:pt x="1710" y="343"/>
                    <a:pt x="1710" y="344"/>
                    <a:pt x="1710" y="345"/>
                  </a:cubicBezTo>
                  <a:cubicBezTo>
                    <a:pt x="1710" y="345"/>
                    <a:pt x="1709" y="346"/>
                    <a:pt x="1709" y="348"/>
                  </a:cubicBezTo>
                  <a:cubicBezTo>
                    <a:pt x="1709" y="348"/>
                    <a:pt x="1709" y="348"/>
                    <a:pt x="1709" y="348"/>
                  </a:cubicBezTo>
                  <a:cubicBezTo>
                    <a:pt x="1709" y="350"/>
                    <a:pt x="1708" y="352"/>
                    <a:pt x="1707" y="354"/>
                  </a:cubicBezTo>
                  <a:cubicBezTo>
                    <a:pt x="1707" y="354"/>
                    <a:pt x="1707" y="354"/>
                    <a:pt x="1707" y="354"/>
                  </a:cubicBezTo>
                  <a:cubicBezTo>
                    <a:pt x="1707" y="355"/>
                    <a:pt x="1707" y="356"/>
                    <a:pt x="1707" y="356"/>
                  </a:cubicBezTo>
                  <a:cubicBezTo>
                    <a:pt x="1706" y="358"/>
                    <a:pt x="1706" y="358"/>
                    <a:pt x="1706" y="358"/>
                  </a:cubicBezTo>
                  <a:cubicBezTo>
                    <a:pt x="1706" y="359"/>
                    <a:pt x="1706" y="361"/>
                    <a:pt x="1705" y="362"/>
                  </a:cubicBezTo>
                  <a:cubicBezTo>
                    <a:pt x="1705" y="362"/>
                    <a:pt x="1705" y="363"/>
                    <a:pt x="1705" y="363"/>
                  </a:cubicBezTo>
                  <a:cubicBezTo>
                    <a:pt x="1704" y="365"/>
                    <a:pt x="1703" y="366"/>
                    <a:pt x="1703" y="366"/>
                  </a:cubicBezTo>
                  <a:cubicBezTo>
                    <a:pt x="1703" y="367"/>
                    <a:pt x="1703" y="367"/>
                    <a:pt x="1703" y="367"/>
                  </a:cubicBezTo>
                  <a:cubicBezTo>
                    <a:pt x="1702" y="367"/>
                    <a:pt x="1702" y="367"/>
                    <a:pt x="1702" y="367"/>
                  </a:cubicBezTo>
                  <a:cubicBezTo>
                    <a:pt x="1702" y="368"/>
                    <a:pt x="1702" y="368"/>
                    <a:pt x="1702" y="369"/>
                  </a:cubicBezTo>
                  <a:cubicBezTo>
                    <a:pt x="1702" y="369"/>
                    <a:pt x="1702" y="369"/>
                    <a:pt x="1702" y="369"/>
                  </a:cubicBezTo>
                  <a:cubicBezTo>
                    <a:pt x="1702" y="372"/>
                    <a:pt x="1702" y="374"/>
                    <a:pt x="1701" y="376"/>
                  </a:cubicBezTo>
                  <a:cubicBezTo>
                    <a:pt x="1700" y="379"/>
                    <a:pt x="1698" y="382"/>
                    <a:pt x="1696" y="384"/>
                  </a:cubicBezTo>
                  <a:cubicBezTo>
                    <a:pt x="1695" y="384"/>
                    <a:pt x="1695" y="385"/>
                    <a:pt x="1694" y="386"/>
                  </a:cubicBezTo>
                  <a:cubicBezTo>
                    <a:pt x="1693" y="387"/>
                    <a:pt x="1693" y="388"/>
                    <a:pt x="1693" y="390"/>
                  </a:cubicBezTo>
                  <a:cubicBezTo>
                    <a:pt x="1693" y="390"/>
                    <a:pt x="1693" y="390"/>
                    <a:pt x="1693" y="390"/>
                  </a:cubicBezTo>
                  <a:cubicBezTo>
                    <a:pt x="1698" y="390"/>
                    <a:pt x="1698" y="390"/>
                    <a:pt x="1698" y="390"/>
                  </a:cubicBezTo>
                  <a:cubicBezTo>
                    <a:pt x="1693" y="391"/>
                    <a:pt x="1693" y="391"/>
                    <a:pt x="1693" y="391"/>
                  </a:cubicBezTo>
                  <a:cubicBezTo>
                    <a:pt x="1693" y="392"/>
                    <a:pt x="1693" y="392"/>
                    <a:pt x="1693" y="392"/>
                  </a:cubicBezTo>
                  <a:cubicBezTo>
                    <a:pt x="1692" y="392"/>
                    <a:pt x="1692" y="392"/>
                    <a:pt x="1692" y="392"/>
                  </a:cubicBezTo>
                  <a:cubicBezTo>
                    <a:pt x="1692" y="393"/>
                    <a:pt x="1692" y="393"/>
                    <a:pt x="1692" y="393"/>
                  </a:cubicBezTo>
                  <a:cubicBezTo>
                    <a:pt x="1692" y="394"/>
                    <a:pt x="1692" y="394"/>
                    <a:pt x="1692" y="394"/>
                  </a:cubicBezTo>
                  <a:cubicBezTo>
                    <a:pt x="1691" y="394"/>
                    <a:pt x="1691" y="395"/>
                    <a:pt x="1691" y="395"/>
                  </a:cubicBezTo>
                  <a:cubicBezTo>
                    <a:pt x="1690" y="396"/>
                    <a:pt x="1688" y="398"/>
                    <a:pt x="1686" y="399"/>
                  </a:cubicBezTo>
                  <a:cubicBezTo>
                    <a:pt x="1685" y="399"/>
                    <a:pt x="1685" y="399"/>
                    <a:pt x="1685" y="399"/>
                  </a:cubicBezTo>
                  <a:cubicBezTo>
                    <a:pt x="1684" y="400"/>
                    <a:pt x="1684" y="401"/>
                    <a:pt x="1684" y="401"/>
                  </a:cubicBezTo>
                  <a:cubicBezTo>
                    <a:pt x="1684" y="402"/>
                    <a:pt x="1684" y="403"/>
                    <a:pt x="1684" y="403"/>
                  </a:cubicBezTo>
                  <a:cubicBezTo>
                    <a:pt x="1684" y="406"/>
                    <a:pt x="1684" y="406"/>
                    <a:pt x="1684" y="406"/>
                  </a:cubicBezTo>
                  <a:cubicBezTo>
                    <a:pt x="1684" y="406"/>
                    <a:pt x="1684" y="408"/>
                    <a:pt x="1682" y="409"/>
                  </a:cubicBezTo>
                  <a:cubicBezTo>
                    <a:pt x="1681" y="411"/>
                    <a:pt x="1677" y="412"/>
                    <a:pt x="1675" y="412"/>
                  </a:cubicBezTo>
                  <a:cubicBezTo>
                    <a:pt x="1675" y="412"/>
                    <a:pt x="1674" y="412"/>
                    <a:pt x="1674" y="412"/>
                  </a:cubicBezTo>
                  <a:cubicBezTo>
                    <a:pt x="1674" y="412"/>
                    <a:pt x="1674" y="412"/>
                    <a:pt x="1674" y="412"/>
                  </a:cubicBezTo>
                  <a:cubicBezTo>
                    <a:pt x="1672" y="412"/>
                    <a:pt x="1669" y="411"/>
                    <a:pt x="1666" y="410"/>
                  </a:cubicBezTo>
                  <a:cubicBezTo>
                    <a:pt x="1666" y="410"/>
                    <a:pt x="1666" y="410"/>
                    <a:pt x="1666" y="410"/>
                  </a:cubicBezTo>
                  <a:cubicBezTo>
                    <a:pt x="1666" y="410"/>
                    <a:pt x="1665" y="410"/>
                    <a:pt x="1665" y="409"/>
                  </a:cubicBezTo>
                  <a:cubicBezTo>
                    <a:pt x="1664" y="409"/>
                    <a:pt x="1663" y="409"/>
                    <a:pt x="1662" y="409"/>
                  </a:cubicBezTo>
                  <a:cubicBezTo>
                    <a:pt x="1658" y="408"/>
                    <a:pt x="1654" y="408"/>
                    <a:pt x="1652" y="406"/>
                  </a:cubicBezTo>
                  <a:cubicBezTo>
                    <a:pt x="1652" y="405"/>
                    <a:pt x="1652" y="405"/>
                    <a:pt x="1652" y="405"/>
                  </a:cubicBezTo>
                  <a:cubicBezTo>
                    <a:pt x="1652" y="406"/>
                    <a:pt x="1652" y="406"/>
                    <a:pt x="1652" y="406"/>
                  </a:cubicBezTo>
                  <a:cubicBezTo>
                    <a:pt x="1655" y="410"/>
                    <a:pt x="1655" y="410"/>
                    <a:pt x="1655" y="410"/>
                  </a:cubicBezTo>
                  <a:cubicBezTo>
                    <a:pt x="1651" y="407"/>
                    <a:pt x="1651" y="407"/>
                    <a:pt x="1651" y="407"/>
                  </a:cubicBezTo>
                  <a:cubicBezTo>
                    <a:pt x="1649" y="409"/>
                    <a:pt x="1648" y="411"/>
                    <a:pt x="1646" y="412"/>
                  </a:cubicBezTo>
                  <a:cubicBezTo>
                    <a:pt x="1645" y="413"/>
                    <a:pt x="1645" y="413"/>
                    <a:pt x="1645" y="413"/>
                  </a:cubicBezTo>
                  <a:cubicBezTo>
                    <a:pt x="1643" y="415"/>
                    <a:pt x="1639" y="416"/>
                    <a:pt x="1635" y="417"/>
                  </a:cubicBezTo>
                  <a:cubicBezTo>
                    <a:pt x="1635" y="417"/>
                    <a:pt x="1635" y="417"/>
                    <a:pt x="1635" y="417"/>
                  </a:cubicBezTo>
                  <a:cubicBezTo>
                    <a:pt x="1637" y="424"/>
                    <a:pt x="1640" y="431"/>
                    <a:pt x="1640" y="440"/>
                  </a:cubicBezTo>
                  <a:cubicBezTo>
                    <a:pt x="1640" y="443"/>
                    <a:pt x="1640" y="446"/>
                    <a:pt x="1640" y="449"/>
                  </a:cubicBezTo>
                  <a:cubicBezTo>
                    <a:pt x="1640" y="450"/>
                    <a:pt x="1641" y="452"/>
                    <a:pt x="1641" y="453"/>
                  </a:cubicBezTo>
                  <a:cubicBezTo>
                    <a:pt x="1641" y="458"/>
                    <a:pt x="1640" y="462"/>
                    <a:pt x="1639" y="465"/>
                  </a:cubicBezTo>
                  <a:cubicBezTo>
                    <a:pt x="1638" y="467"/>
                    <a:pt x="1638" y="467"/>
                    <a:pt x="1638" y="467"/>
                  </a:cubicBezTo>
                  <a:cubicBezTo>
                    <a:pt x="1637" y="472"/>
                    <a:pt x="1635" y="475"/>
                    <a:pt x="1629" y="475"/>
                  </a:cubicBezTo>
                  <a:cubicBezTo>
                    <a:pt x="1627" y="476"/>
                    <a:pt x="1626" y="476"/>
                    <a:pt x="1624" y="477"/>
                  </a:cubicBezTo>
                  <a:cubicBezTo>
                    <a:pt x="1624" y="478"/>
                    <a:pt x="1625" y="479"/>
                    <a:pt x="1625" y="480"/>
                  </a:cubicBezTo>
                  <a:cubicBezTo>
                    <a:pt x="1625" y="481"/>
                    <a:pt x="1625" y="481"/>
                    <a:pt x="1625" y="481"/>
                  </a:cubicBezTo>
                  <a:cubicBezTo>
                    <a:pt x="1622" y="481"/>
                    <a:pt x="1622" y="481"/>
                    <a:pt x="1622" y="481"/>
                  </a:cubicBezTo>
                  <a:cubicBezTo>
                    <a:pt x="1624" y="483"/>
                    <a:pt x="1625" y="485"/>
                    <a:pt x="1626" y="486"/>
                  </a:cubicBezTo>
                  <a:cubicBezTo>
                    <a:pt x="1627" y="485"/>
                    <a:pt x="1628" y="483"/>
                    <a:pt x="1628" y="481"/>
                  </a:cubicBezTo>
                  <a:cubicBezTo>
                    <a:pt x="1628" y="480"/>
                    <a:pt x="1625" y="479"/>
                    <a:pt x="1624" y="477"/>
                  </a:cubicBezTo>
                  <a:cubicBezTo>
                    <a:pt x="1625" y="477"/>
                    <a:pt x="1625" y="477"/>
                    <a:pt x="1626" y="477"/>
                  </a:cubicBezTo>
                  <a:cubicBezTo>
                    <a:pt x="1626" y="477"/>
                    <a:pt x="1627" y="477"/>
                    <a:pt x="1627" y="477"/>
                  </a:cubicBezTo>
                  <a:cubicBezTo>
                    <a:pt x="1626" y="479"/>
                    <a:pt x="1626" y="479"/>
                    <a:pt x="1626" y="479"/>
                  </a:cubicBezTo>
                  <a:cubicBezTo>
                    <a:pt x="1628" y="479"/>
                    <a:pt x="1629" y="479"/>
                    <a:pt x="1630" y="479"/>
                  </a:cubicBezTo>
                  <a:cubicBezTo>
                    <a:pt x="1629" y="479"/>
                    <a:pt x="1629" y="479"/>
                    <a:pt x="1628" y="479"/>
                  </a:cubicBezTo>
                  <a:cubicBezTo>
                    <a:pt x="1628" y="479"/>
                    <a:pt x="1628" y="479"/>
                    <a:pt x="1627" y="479"/>
                  </a:cubicBezTo>
                  <a:cubicBezTo>
                    <a:pt x="1628" y="479"/>
                    <a:pt x="1628" y="480"/>
                    <a:pt x="1629" y="480"/>
                  </a:cubicBezTo>
                  <a:cubicBezTo>
                    <a:pt x="1629" y="480"/>
                    <a:pt x="1630" y="479"/>
                    <a:pt x="1631" y="479"/>
                  </a:cubicBezTo>
                  <a:cubicBezTo>
                    <a:pt x="1632" y="478"/>
                    <a:pt x="1633" y="478"/>
                    <a:pt x="1633" y="478"/>
                  </a:cubicBezTo>
                  <a:cubicBezTo>
                    <a:pt x="1635" y="478"/>
                    <a:pt x="1634" y="479"/>
                    <a:pt x="1637" y="481"/>
                  </a:cubicBezTo>
                  <a:cubicBezTo>
                    <a:pt x="1636" y="478"/>
                    <a:pt x="1641" y="474"/>
                    <a:pt x="1643" y="471"/>
                  </a:cubicBezTo>
                  <a:cubicBezTo>
                    <a:pt x="1644" y="469"/>
                    <a:pt x="1645" y="467"/>
                    <a:pt x="1646" y="466"/>
                  </a:cubicBezTo>
                  <a:cubicBezTo>
                    <a:pt x="1646" y="465"/>
                    <a:pt x="1646" y="465"/>
                    <a:pt x="1646" y="465"/>
                  </a:cubicBezTo>
                  <a:cubicBezTo>
                    <a:pt x="1646" y="461"/>
                    <a:pt x="1649" y="458"/>
                    <a:pt x="1652" y="458"/>
                  </a:cubicBezTo>
                  <a:cubicBezTo>
                    <a:pt x="1654" y="458"/>
                    <a:pt x="1655" y="459"/>
                    <a:pt x="1656" y="459"/>
                  </a:cubicBezTo>
                  <a:cubicBezTo>
                    <a:pt x="1656" y="459"/>
                    <a:pt x="1656" y="459"/>
                    <a:pt x="1656" y="459"/>
                  </a:cubicBezTo>
                  <a:cubicBezTo>
                    <a:pt x="1657" y="460"/>
                    <a:pt x="1658" y="462"/>
                    <a:pt x="1659" y="463"/>
                  </a:cubicBezTo>
                  <a:cubicBezTo>
                    <a:pt x="1660" y="462"/>
                    <a:pt x="1662" y="460"/>
                    <a:pt x="1662" y="459"/>
                  </a:cubicBezTo>
                  <a:cubicBezTo>
                    <a:pt x="1662" y="462"/>
                    <a:pt x="1660" y="471"/>
                    <a:pt x="1663" y="473"/>
                  </a:cubicBezTo>
                  <a:cubicBezTo>
                    <a:pt x="1663" y="473"/>
                    <a:pt x="1663" y="473"/>
                    <a:pt x="1663" y="473"/>
                  </a:cubicBezTo>
                  <a:cubicBezTo>
                    <a:pt x="1663" y="473"/>
                    <a:pt x="1663" y="471"/>
                    <a:pt x="1663" y="471"/>
                  </a:cubicBezTo>
                  <a:cubicBezTo>
                    <a:pt x="1663" y="471"/>
                    <a:pt x="1663" y="471"/>
                    <a:pt x="1663" y="471"/>
                  </a:cubicBezTo>
                  <a:cubicBezTo>
                    <a:pt x="1664" y="471"/>
                    <a:pt x="1666" y="472"/>
                    <a:pt x="1667" y="472"/>
                  </a:cubicBezTo>
                  <a:cubicBezTo>
                    <a:pt x="1667" y="472"/>
                    <a:pt x="1667" y="472"/>
                    <a:pt x="1667" y="472"/>
                  </a:cubicBezTo>
                  <a:cubicBezTo>
                    <a:pt x="1669" y="472"/>
                    <a:pt x="1671" y="471"/>
                    <a:pt x="1672" y="471"/>
                  </a:cubicBezTo>
                  <a:cubicBezTo>
                    <a:pt x="1672" y="471"/>
                    <a:pt x="1672" y="471"/>
                    <a:pt x="1672" y="471"/>
                  </a:cubicBezTo>
                  <a:cubicBezTo>
                    <a:pt x="1673" y="471"/>
                    <a:pt x="1675" y="473"/>
                    <a:pt x="1676" y="474"/>
                  </a:cubicBezTo>
                  <a:cubicBezTo>
                    <a:pt x="1678" y="476"/>
                    <a:pt x="1679" y="477"/>
                    <a:pt x="1681" y="477"/>
                  </a:cubicBezTo>
                  <a:cubicBezTo>
                    <a:pt x="1681" y="477"/>
                    <a:pt x="1681" y="477"/>
                    <a:pt x="1681" y="477"/>
                  </a:cubicBezTo>
                  <a:cubicBezTo>
                    <a:pt x="1683" y="477"/>
                    <a:pt x="1684" y="476"/>
                    <a:pt x="1686" y="475"/>
                  </a:cubicBezTo>
                  <a:cubicBezTo>
                    <a:pt x="1689" y="474"/>
                    <a:pt x="1693" y="473"/>
                    <a:pt x="1697" y="473"/>
                  </a:cubicBezTo>
                  <a:cubicBezTo>
                    <a:pt x="1703" y="471"/>
                    <a:pt x="1709" y="466"/>
                    <a:pt x="1714" y="463"/>
                  </a:cubicBezTo>
                  <a:cubicBezTo>
                    <a:pt x="1718" y="460"/>
                    <a:pt x="1724" y="458"/>
                    <a:pt x="1729" y="454"/>
                  </a:cubicBezTo>
                  <a:cubicBezTo>
                    <a:pt x="1732" y="451"/>
                    <a:pt x="1736" y="446"/>
                    <a:pt x="1738" y="442"/>
                  </a:cubicBezTo>
                  <a:cubicBezTo>
                    <a:pt x="1739" y="440"/>
                    <a:pt x="1741" y="435"/>
                    <a:pt x="1742" y="434"/>
                  </a:cubicBezTo>
                  <a:cubicBezTo>
                    <a:pt x="1745" y="431"/>
                    <a:pt x="1748" y="428"/>
                    <a:pt x="1752" y="426"/>
                  </a:cubicBezTo>
                  <a:cubicBezTo>
                    <a:pt x="1756" y="421"/>
                    <a:pt x="1759" y="416"/>
                    <a:pt x="1764" y="411"/>
                  </a:cubicBezTo>
                  <a:cubicBezTo>
                    <a:pt x="1769" y="405"/>
                    <a:pt x="1775" y="400"/>
                    <a:pt x="1780" y="395"/>
                  </a:cubicBezTo>
                  <a:cubicBezTo>
                    <a:pt x="1785" y="391"/>
                    <a:pt x="1789" y="387"/>
                    <a:pt x="1792" y="382"/>
                  </a:cubicBezTo>
                  <a:cubicBezTo>
                    <a:pt x="1796" y="376"/>
                    <a:pt x="1802" y="370"/>
                    <a:pt x="1805" y="364"/>
                  </a:cubicBezTo>
                  <a:cubicBezTo>
                    <a:pt x="1807" y="359"/>
                    <a:pt x="1807" y="353"/>
                    <a:pt x="1811" y="349"/>
                  </a:cubicBezTo>
                  <a:cubicBezTo>
                    <a:pt x="1814" y="345"/>
                    <a:pt x="1819" y="342"/>
                    <a:pt x="1822" y="336"/>
                  </a:cubicBezTo>
                  <a:cubicBezTo>
                    <a:pt x="1824" y="332"/>
                    <a:pt x="1826" y="328"/>
                    <a:pt x="1829" y="325"/>
                  </a:cubicBezTo>
                  <a:cubicBezTo>
                    <a:pt x="1834" y="321"/>
                    <a:pt x="1840" y="317"/>
                    <a:pt x="1843" y="312"/>
                  </a:cubicBezTo>
                  <a:cubicBezTo>
                    <a:pt x="1846" y="308"/>
                    <a:pt x="1848" y="301"/>
                    <a:pt x="1851" y="296"/>
                  </a:cubicBezTo>
                  <a:cubicBezTo>
                    <a:pt x="1852" y="294"/>
                    <a:pt x="1853" y="291"/>
                    <a:pt x="1850" y="291"/>
                  </a:cubicBezTo>
                  <a:cubicBezTo>
                    <a:pt x="1850" y="291"/>
                    <a:pt x="1850" y="291"/>
                    <a:pt x="1849" y="291"/>
                  </a:cubicBezTo>
                  <a:cubicBezTo>
                    <a:pt x="1851" y="287"/>
                    <a:pt x="1856" y="280"/>
                    <a:pt x="1856" y="275"/>
                  </a:cubicBezTo>
                  <a:cubicBezTo>
                    <a:pt x="1856" y="273"/>
                    <a:pt x="1855" y="271"/>
                    <a:pt x="1856" y="269"/>
                  </a:cubicBezTo>
                  <a:cubicBezTo>
                    <a:pt x="1856" y="267"/>
                    <a:pt x="1852" y="267"/>
                    <a:pt x="1854" y="264"/>
                  </a:cubicBezTo>
                  <a:cubicBezTo>
                    <a:pt x="1855" y="261"/>
                    <a:pt x="1858" y="261"/>
                    <a:pt x="1859" y="259"/>
                  </a:cubicBezTo>
                  <a:cubicBezTo>
                    <a:pt x="1859" y="259"/>
                    <a:pt x="1858" y="259"/>
                    <a:pt x="1858" y="259"/>
                  </a:cubicBezTo>
                  <a:cubicBezTo>
                    <a:pt x="1856" y="259"/>
                    <a:pt x="1856" y="258"/>
                    <a:pt x="1856" y="255"/>
                  </a:cubicBezTo>
                  <a:cubicBezTo>
                    <a:pt x="1856" y="252"/>
                    <a:pt x="1855" y="250"/>
                    <a:pt x="1855" y="247"/>
                  </a:cubicBezTo>
                  <a:cubicBezTo>
                    <a:pt x="1854" y="242"/>
                    <a:pt x="1854" y="239"/>
                    <a:pt x="1857" y="235"/>
                  </a:cubicBezTo>
                  <a:cubicBezTo>
                    <a:pt x="1859" y="231"/>
                    <a:pt x="1858" y="225"/>
                    <a:pt x="1859" y="221"/>
                  </a:cubicBezTo>
                  <a:cubicBezTo>
                    <a:pt x="1860" y="220"/>
                    <a:pt x="1862" y="219"/>
                    <a:pt x="1863" y="218"/>
                  </a:cubicBezTo>
                  <a:cubicBezTo>
                    <a:pt x="1865" y="217"/>
                    <a:pt x="1862" y="217"/>
                    <a:pt x="1862" y="216"/>
                  </a:cubicBezTo>
                  <a:cubicBezTo>
                    <a:pt x="1863" y="210"/>
                    <a:pt x="1873" y="205"/>
                    <a:pt x="1877" y="201"/>
                  </a:cubicBezTo>
                  <a:cubicBezTo>
                    <a:pt x="1872" y="197"/>
                    <a:pt x="1876" y="196"/>
                    <a:pt x="1879" y="192"/>
                  </a:cubicBezTo>
                  <a:cubicBezTo>
                    <a:pt x="1879" y="193"/>
                    <a:pt x="1878" y="193"/>
                    <a:pt x="1878" y="193"/>
                  </a:cubicBezTo>
                  <a:cubicBezTo>
                    <a:pt x="1874" y="193"/>
                    <a:pt x="1871" y="188"/>
                    <a:pt x="1870" y="186"/>
                  </a:cubicBezTo>
                  <a:cubicBezTo>
                    <a:pt x="1868" y="184"/>
                    <a:pt x="1871" y="184"/>
                    <a:pt x="1871" y="184"/>
                  </a:cubicBezTo>
                  <a:cubicBezTo>
                    <a:pt x="1873" y="180"/>
                    <a:pt x="1873" y="176"/>
                    <a:pt x="1872" y="172"/>
                  </a:cubicBezTo>
                  <a:cubicBezTo>
                    <a:pt x="1872" y="172"/>
                    <a:pt x="1872" y="172"/>
                    <a:pt x="1872" y="172"/>
                  </a:cubicBezTo>
                  <a:cubicBezTo>
                    <a:pt x="1870" y="172"/>
                    <a:pt x="1868" y="171"/>
                    <a:pt x="1867" y="170"/>
                  </a:cubicBezTo>
                  <a:cubicBezTo>
                    <a:pt x="1866" y="169"/>
                    <a:pt x="1866" y="168"/>
                    <a:pt x="1865" y="167"/>
                  </a:cubicBezTo>
                  <a:cubicBezTo>
                    <a:pt x="1863" y="166"/>
                    <a:pt x="1861" y="165"/>
                    <a:pt x="1860" y="164"/>
                  </a:cubicBezTo>
                  <a:cubicBezTo>
                    <a:pt x="1863" y="165"/>
                    <a:pt x="1867" y="167"/>
                    <a:pt x="1871" y="168"/>
                  </a:cubicBezTo>
                  <a:cubicBezTo>
                    <a:pt x="1871" y="168"/>
                    <a:pt x="1871" y="168"/>
                    <a:pt x="1871" y="168"/>
                  </a:cubicBezTo>
                  <a:cubicBezTo>
                    <a:pt x="1872" y="168"/>
                    <a:pt x="1872" y="167"/>
                    <a:pt x="1872" y="167"/>
                  </a:cubicBezTo>
                  <a:cubicBezTo>
                    <a:pt x="1875" y="165"/>
                    <a:pt x="1876" y="164"/>
                    <a:pt x="1876" y="161"/>
                  </a:cubicBezTo>
                  <a:cubicBezTo>
                    <a:pt x="1876" y="156"/>
                    <a:pt x="1868" y="153"/>
                    <a:pt x="1864" y="151"/>
                  </a:cubicBezTo>
                  <a:cubicBezTo>
                    <a:pt x="1860" y="149"/>
                    <a:pt x="1857" y="147"/>
                    <a:pt x="1854" y="145"/>
                  </a:cubicBezTo>
                  <a:cubicBezTo>
                    <a:pt x="1848" y="140"/>
                    <a:pt x="1844" y="133"/>
                    <a:pt x="1840" y="128"/>
                  </a:cubicBezTo>
                  <a:cubicBezTo>
                    <a:pt x="1839" y="127"/>
                    <a:pt x="1837" y="126"/>
                    <a:pt x="1836" y="126"/>
                  </a:cubicBezTo>
                  <a:cubicBezTo>
                    <a:pt x="1834" y="126"/>
                    <a:pt x="1833" y="127"/>
                    <a:pt x="1832" y="127"/>
                  </a:cubicBezTo>
                  <a:cubicBezTo>
                    <a:pt x="1830" y="127"/>
                    <a:pt x="1829" y="127"/>
                    <a:pt x="1828" y="127"/>
                  </a:cubicBezTo>
                  <a:cubicBezTo>
                    <a:pt x="1828" y="127"/>
                    <a:pt x="1828" y="127"/>
                    <a:pt x="1828" y="127"/>
                  </a:cubicBezTo>
                  <a:cubicBezTo>
                    <a:pt x="1822" y="127"/>
                    <a:pt x="1817" y="126"/>
                    <a:pt x="1811" y="126"/>
                  </a:cubicBezTo>
                  <a:cubicBezTo>
                    <a:pt x="1815" y="127"/>
                    <a:pt x="1813" y="131"/>
                    <a:pt x="1812" y="133"/>
                  </a:cubicBezTo>
                  <a:cubicBezTo>
                    <a:pt x="1813" y="133"/>
                    <a:pt x="1813" y="132"/>
                    <a:pt x="1814" y="132"/>
                  </a:cubicBezTo>
                  <a:cubicBezTo>
                    <a:pt x="1816" y="132"/>
                    <a:pt x="1812" y="138"/>
                    <a:pt x="1812" y="139"/>
                  </a:cubicBezTo>
                  <a:cubicBezTo>
                    <a:pt x="1812" y="140"/>
                    <a:pt x="1813" y="141"/>
                    <a:pt x="1812" y="142"/>
                  </a:cubicBezTo>
                  <a:cubicBezTo>
                    <a:pt x="1812" y="144"/>
                    <a:pt x="1810" y="146"/>
                    <a:pt x="1808" y="148"/>
                  </a:cubicBezTo>
                  <a:cubicBezTo>
                    <a:pt x="1806" y="152"/>
                    <a:pt x="1805" y="151"/>
                    <a:pt x="1801" y="152"/>
                  </a:cubicBezTo>
                  <a:cubicBezTo>
                    <a:pt x="1802" y="150"/>
                    <a:pt x="1803" y="148"/>
                    <a:pt x="1804" y="147"/>
                  </a:cubicBezTo>
                  <a:cubicBezTo>
                    <a:pt x="1805" y="146"/>
                    <a:pt x="1807" y="144"/>
                    <a:pt x="1808" y="143"/>
                  </a:cubicBezTo>
                  <a:cubicBezTo>
                    <a:pt x="1809" y="141"/>
                    <a:pt x="1811" y="137"/>
                    <a:pt x="1808" y="136"/>
                  </a:cubicBezTo>
                  <a:cubicBezTo>
                    <a:pt x="1808" y="136"/>
                    <a:pt x="1808" y="136"/>
                    <a:pt x="1808" y="136"/>
                  </a:cubicBezTo>
                  <a:cubicBezTo>
                    <a:pt x="1805" y="136"/>
                    <a:pt x="1799" y="144"/>
                    <a:pt x="1798" y="145"/>
                  </a:cubicBezTo>
                  <a:cubicBezTo>
                    <a:pt x="1795" y="148"/>
                    <a:pt x="1793" y="150"/>
                    <a:pt x="1789" y="150"/>
                  </a:cubicBezTo>
                  <a:cubicBezTo>
                    <a:pt x="1788" y="150"/>
                    <a:pt x="1787" y="150"/>
                    <a:pt x="1785" y="150"/>
                  </a:cubicBezTo>
                  <a:cubicBezTo>
                    <a:pt x="1782" y="150"/>
                    <a:pt x="1777" y="150"/>
                    <a:pt x="1778" y="148"/>
                  </a:cubicBezTo>
                  <a:cubicBezTo>
                    <a:pt x="1778" y="147"/>
                    <a:pt x="1783" y="146"/>
                    <a:pt x="1784" y="146"/>
                  </a:cubicBezTo>
                  <a:cubicBezTo>
                    <a:pt x="1786" y="144"/>
                    <a:pt x="1785" y="143"/>
                    <a:pt x="1787" y="141"/>
                  </a:cubicBezTo>
                  <a:cubicBezTo>
                    <a:pt x="1787" y="140"/>
                    <a:pt x="1793" y="138"/>
                    <a:pt x="1791" y="138"/>
                  </a:cubicBezTo>
                  <a:cubicBezTo>
                    <a:pt x="1788" y="137"/>
                    <a:pt x="1786" y="136"/>
                    <a:pt x="1784" y="135"/>
                  </a:cubicBezTo>
                  <a:cubicBezTo>
                    <a:pt x="1781" y="134"/>
                    <a:pt x="1777" y="133"/>
                    <a:pt x="1783" y="133"/>
                  </a:cubicBezTo>
                  <a:cubicBezTo>
                    <a:pt x="1784" y="133"/>
                    <a:pt x="1786" y="130"/>
                    <a:pt x="1785" y="129"/>
                  </a:cubicBezTo>
                  <a:cubicBezTo>
                    <a:pt x="1784" y="127"/>
                    <a:pt x="1782" y="127"/>
                    <a:pt x="1782" y="127"/>
                  </a:cubicBezTo>
                  <a:cubicBezTo>
                    <a:pt x="1780" y="127"/>
                    <a:pt x="1779" y="127"/>
                    <a:pt x="1777" y="128"/>
                  </a:cubicBezTo>
                  <a:cubicBezTo>
                    <a:pt x="1775" y="130"/>
                    <a:pt x="1774" y="131"/>
                    <a:pt x="1776" y="133"/>
                  </a:cubicBezTo>
                  <a:cubicBezTo>
                    <a:pt x="1777" y="134"/>
                    <a:pt x="1779" y="134"/>
                    <a:pt x="1779" y="136"/>
                  </a:cubicBezTo>
                  <a:cubicBezTo>
                    <a:pt x="1778" y="138"/>
                    <a:pt x="1770" y="142"/>
                    <a:pt x="1767" y="142"/>
                  </a:cubicBezTo>
                  <a:cubicBezTo>
                    <a:pt x="1766" y="142"/>
                    <a:pt x="1766" y="142"/>
                    <a:pt x="1766" y="142"/>
                  </a:cubicBezTo>
                  <a:cubicBezTo>
                    <a:pt x="1762" y="140"/>
                    <a:pt x="1766" y="135"/>
                    <a:pt x="1767" y="133"/>
                  </a:cubicBezTo>
                  <a:cubicBezTo>
                    <a:pt x="1768" y="131"/>
                    <a:pt x="1767" y="130"/>
                    <a:pt x="1767" y="129"/>
                  </a:cubicBezTo>
                  <a:cubicBezTo>
                    <a:pt x="1768" y="127"/>
                    <a:pt x="1768" y="127"/>
                    <a:pt x="1768" y="127"/>
                  </a:cubicBezTo>
                  <a:cubicBezTo>
                    <a:pt x="1768" y="127"/>
                    <a:pt x="1767" y="127"/>
                    <a:pt x="1767" y="126"/>
                  </a:cubicBezTo>
                  <a:cubicBezTo>
                    <a:pt x="1767" y="126"/>
                    <a:pt x="1768" y="126"/>
                    <a:pt x="1768" y="126"/>
                  </a:cubicBezTo>
                  <a:cubicBezTo>
                    <a:pt x="1767" y="125"/>
                    <a:pt x="1767" y="125"/>
                    <a:pt x="1767" y="125"/>
                  </a:cubicBezTo>
                  <a:cubicBezTo>
                    <a:pt x="1767" y="124"/>
                    <a:pt x="1766" y="123"/>
                    <a:pt x="1766" y="122"/>
                  </a:cubicBezTo>
                  <a:cubicBezTo>
                    <a:pt x="1766" y="122"/>
                    <a:pt x="1767" y="122"/>
                    <a:pt x="1767" y="122"/>
                  </a:cubicBezTo>
                  <a:cubicBezTo>
                    <a:pt x="1767" y="122"/>
                    <a:pt x="1767" y="122"/>
                    <a:pt x="1767" y="122"/>
                  </a:cubicBezTo>
                  <a:cubicBezTo>
                    <a:pt x="1767" y="122"/>
                    <a:pt x="1768" y="122"/>
                    <a:pt x="1768" y="122"/>
                  </a:cubicBezTo>
                  <a:cubicBezTo>
                    <a:pt x="1768" y="122"/>
                    <a:pt x="1768" y="122"/>
                    <a:pt x="1768" y="122"/>
                  </a:cubicBezTo>
                  <a:cubicBezTo>
                    <a:pt x="1768" y="121"/>
                    <a:pt x="1768" y="121"/>
                    <a:pt x="1768" y="121"/>
                  </a:cubicBezTo>
                  <a:cubicBezTo>
                    <a:pt x="1769" y="119"/>
                    <a:pt x="1768" y="117"/>
                    <a:pt x="1767" y="115"/>
                  </a:cubicBezTo>
                  <a:cubicBezTo>
                    <a:pt x="1765" y="114"/>
                    <a:pt x="1762" y="113"/>
                    <a:pt x="1759" y="113"/>
                  </a:cubicBezTo>
                  <a:cubicBezTo>
                    <a:pt x="1758" y="113"/>
                    <a:pt x="1757" y="113"/>
                    <a:pt x="1756" y="113"/>
                  </a:cubicBezTo>
                  <a:cubicBezTo>
                    <a:pt x="1755" y="114"/>
                    <a:pt x="1754" y="114"/>
                    <a:pt x="1753" y="114"/>
                  </a:cubicBezTo>
                  <a:cubicBezTo>
                    <a:pt x="1752" y="114"/>
                    <a:pt x="1752" y="114"/>
                    <a:pt x="1752" y="114"/>
                  </a:cubicBezTo>
                  <a:cubicBezTo>
                    <a:pt x="1745" y="113"/>
                    <a:pt x="1738" y="114"/>
                    <a:pt x="1731" y="113"/>
                  </a:cubicBezTo>
                  <a:cubicBezTo>
                    <a:pt x="1732" y="111"/>
                    <a:pt x="1729" y="110"/>
                    <a:pt x="1729" y="108"/>
                  </a:cubicBezTo>
                  <a:cubicBezTo>
                    <a:pt x="1729" y="106"/>
                    <a:pt x="1732" y="104"/>
                    <a:pt x="1733" y="103"/>
                  </a:cubicBezTo>
                  <a:cubicBezTo>
                    <a:pt x="1737" y="100"/>
                    <a:pt x="1740" y="99"/>
                    <a:pt x="1744" y="97"/>
                  </a:cubicBezTo>
                  <a:cubicBezTo>
                    <a:pt x="1749" y="94"/>
                    <a:pt x="1752" y="93"/>
                    <a:pt x="1756" y="89"/>
                  </a:cubicBezTo>
                  <a:cubicBezTo>
                    <a:pt x="1760" y="84"/>
                    <a:pt x="1769" y="81"/>
                    <a:pt x="1775" y="77"/>
                  </a:cubicBezTo>
                  <a:cubicBezTo>
                    <a:pt x="1780" y="74"/>
                    <a:pt x="1784" y="70"/>
                    <a:pt x="1789" y="66"/>
                  </a:cubicBezTo>
                  <a:cubicBezTo>
                    <a:pt x="1791" y="65"/>
                    <a:pt x="1802" y="57"/>
                    <a:pt x="1802" y="54"/>
                  </a:cubicBezTo>
                  <a:cubicBezTo>
                    <a:pt x="1802" y="54"/>
                    <a:pt x="1799" y="54"/>
                    <a:pt x="1799" y="53"/>
                  </a:cubicBezTo>
                  <a:cubicBezTo>
                    <a:pt x="1799" y="52"/>
                    <a:pt x="1803" y="48"/>
                    <a:pt x="1804" y="47"/>
                  </a:cubicBezTo>
                  <a:cubicBezTo>
                    <a:pt x="1808" y="41"/>
                    <a:pt x="1811" y="37"/>
                    <a:pt x="1816" y="34"/>
                  </a:cubicBezTo>
                  <a:cubicBezTo>
                    <a:pt x="1824" y="28"/>
                    <a:pt x="1831" y="22"/>
                    <a:pt x="1839" y="17"/>
                  </a:cubicBezTo>
                  <a:cubicBezTo>
                    <a:pt x="1843" y="13"/>
                    <a:pt x="1848" y="12"/>
                    <a:pt x="1853" y="9"/>
                  </a:cubicBezTo>
                  <a:cubicBezTo>
                    <a:pt x="1855" y="8"/>
                    <a:pt x="1855" y="7"/>
                    <a:pt x="1856" y="5"/>
                  </a:cubicBezTo>
                  <a:cubicBezTo>
                    <a:pt x="1856" y="3"/>
                    <a:pt x="1857" y="1"/>
                    <a:pt x="1857" y="0"/>
                  </a:cubicBezTo>
                  <a:moveTo>
                    <a:pt x="2359" y="0"/>
                  </a:moveTo>
                  <a:cubicBezTo>
                    <a:pt x="2274" y="0"/>
                    <a:pt x="2274" y="0"/>
                    <a:pt x="2274" y="0"/>
                  </a:cubicBezTo>
                  <a:cubicBezTo>
                    <a:pt x="2273" y="1"/>
                    <a:pt x="2273" y="1"/>
                    <a:pt x="2272" y="2"/>
                  </a:cubicBezTo>
                  <a:cubicBezTo>
                    <a:pt x="2273" y="2"/>
                    <a:pt x="2274" y="3"/>
                    <a:pt x="2274" y="4"/>
                  </a:cubicBezTo>
                  <a:cubicBezTo>
                    <a:pt x="2273" y="3"/>
                    <a:pt x="2272" y="2"/>
                    <a:pt x="2271" y="2"/>
                  </a:cubicBezTo>
                  <a:cubicBezTo>
                    <a:pt x="2270" y="2"/>
                    <a:pt x="2269" y="3"/>
                    <a:pt x="2268" y="3"/>
                  </a:cubicBezTo>
                  <a:cubicBezTo>
                    <a:pt x="2267" y="3"/>
                    <a:pt x="2266" y="3"/>
                    <a:pt x="2264" y="3"/>
                  </a:cubicBezTo>
                  <a:cubicBezTo>
                    <a:pt x="2264" y="3"/>
                    <a:pt x="2264" y="3"/>
                    <a:pt x="2264" y="3"/>
                  </a:cubicBezTo>
                  <a:cubicBezTo>
                    <a:pt x="2263" y="3"/>
                    <a:pt x="2261" y="3"/>
                    <a:pt x="2260" y="3"/>
                  </a:cubicBezTo>
                  <a:cubicBezTo>
                    <a:pt x="2260" y="3"/>
                    <a:pt x="2260" y="3"/>
                    <a:pt x="2259" y="3"/>
                  </a:cubicBezTo>
                  <a:cubicBezTo>
                    <a:pt x="2256" y="3"/>
                    <a:pt x="2257" y="7"/>
                    <a:pt x="2255" y="9"/>
                  </a:cubicBezTo>
                  <a:cubicBezTo>
                    <a:pt x="2253" y="10"/>
                    <a:pt x="2248" y="10"/>
                    <a:pt x="2246" y="10"/>
                  </a:cubicBezTo>
                  <a:cubicBezTo>
                    <a:pt x="2243" y="11"/>
                    <a:pt x="2240" y="11"/>
                    <a:pt x="2237" y="12"/>
                  </a:cubicBezTo>
                  <a:cubicBezTo>
                    <a:pt x="2239" y="15"/>
                    <a:pt x="2241" y="19"/>
                    <a:pt x="2242" y="23"/>
                  </a:cubicBezTo>
                  <a:cubicBezTo>
                    <a:pt x="2242" y="24"/>
                    <a:pt x="2241" y="26"/>
                    <a:pt x="2240" y="27"/>
                  </a:cubicBezTo>
                  <a:cubicBezTo>
                    <a:pt x="2238" y="29"/>
                    <a:pt x="2237" y="33"/>
                    <a:pt x="2235" y="35"/>
                  </a:cubicBezTo>
                  <a:cubicBezTo>
                    <a:pt x="2235" y="34"/>
                    <a:pt x="2234" y="34"/>
                    <a:pt x="2234" y="34"/>
                  </a:cubicBezTo>
                  <a:cubicBezTo>
                    <a:pt x="2233" y="34"/>
                    <a:pt x="2231" y="37"/>
                    <a:pt x="2230" y="38"/>
                  </a:cubicBezTo>
                  <a:cubicBezTo>
                    <a:pt x="2229" y="39"/>
                    <a:pt x="2228" y="40"/>
                    <a:pt x="2226" y="40"/>
                  </a:cubicBezTo>
                  <a:cubicBezTo>
                    <a:pt x="2225" y="42"/>
                    <a:pt x="2224" y="43"/>
                    <a:pt x="2222" y="45"/>
                  </a:cubicBezTo>
                  <a:cubicBezTo>
                    <a:pt x="2217" y="49"/>
                    <a:pt x="2217" y="54"/>
                    <a:pt x="2215" y="60"/>
                  </a:cubicBezTo>
                  <a:cubicBezTo>
                    <a:pt x="2210" y="79"/>
                    <a:pt x="2209" y="99"/>
                    <a:pt x="2212" y="118"/>
                  </a:cubicBezTo>
                  <a:cubicBezTo>
                    <a:pt x="2215" y="130"/>
                    <a:pt x="2218" y="142"/>
                    <a:pt x="2220" y="154"/>
                  </a:cubicBezTo>
                  <a:cubicBezTo>
                    <a:pt x="2221" y="162"/>
                    <a:pt x="2221" y="171"/>
                    <a:pt x="2224" y="178"/>
                  </a:cubicBezTo>
                  <a:cubicBezTo>
                    <a:pt x="2225" y="180"/>
                    <a:pt x="2226" y="181"/>
                    <a:pt x="2227" y="182"/>
                  </a:cubicBezTo>
                  <a:cubicBezTo>
                    <a:pt x="2228" y="183"/>
                    <a:pt x="2229" y="183"/>
                    <a:pt x="2230" y="184"/>
                  </a:cubicBezTo>
                  <a:cubicBezTo>
                    <a:pt x="2230" y="185"/>
                    <a:pt x="2230" y="185"/>
                    <a:pt x="2229" y="185"/>
                  </a:cubicBezTo>
                  <a:cubicBezTo>
                    <a:pt x="2229" y="185"/>
                    <a:pt x="2228" y="184"/>
                    <a:pt x="2228" y="184"/>
                  </a:cubicBezTo>
                  <a:cubicBezTo>
                    <a:pt x="2229" y="192"/>
                    <a:pt x="2231" y="200"/>
                    <a:pt x="2231" y="208"/>
                  </a:cubicBezTo>
                  <a:cubicBezTo>
                    <a:pt x="2231" y="212"/>
                    <a:pt x="2231" y="218"/>
                    <a:pt x="2232" y="222"/>
                  </a:cubicBezTo>
                  <a:cubicBezTo>
                    <a:pt x="2233" y="223"/>
                    <a:pt x="2235" y="225"/>
                    <a:pt x="2236" y="226"/>
                  </a:cubicBezTo>
                  <a:cubicBezTo>
                    <a:pt x="2238" y="229"/>
                    <a:pt x="2236" y="231"/>
                    <a:pt x="2235" y="234"/>
                  </a:cubicBezTo>
                  <a:cubicBezTo>
                    <a:pt x="2241" y="230"/>
                    <a:pt x="2247" y="225"/>
                    <a:pt x="2253" y="220"/>
                  </a:cubicBezTo>
                  <a:cubicBezTo>
                    <a:pt x="2257" y="217"/>
                    <a:pt x="2260" y="212"/>
                    <a:pt x="2264" y="208"/>
                  </a:cubicBezTo>
                  <a:cubicBezTo>
                    <a:pt x="2269" y="202"/>
                    <a:pt x="2274" y="196"/>
                    <a:pt x="2279" y="190"/>
                  </a:cubicBezTo>
                  <a:cubicBezTo>
                    <a:pt x="2281" y="188"/>
                    <a:pt x="2278" y="185"/>
                    <a:pt x="2279" y="183"/>
                  </a:cubicBezTo>
                  <a:cubicBezTo>
                    <a:pt x="2279" y="182"/>
                    <a:pt x="2278" y="182"/>
                    <a:pt x="2278" y="181"/>
                  </a:cubicBezTo>
                  <a:cubicBezTo>
                    <a:pt x="2278" y="180"/>
                    <a:pt x="2277" y="180"/>
                    <a:pt x="2278" y="179"/>
                  </a:cubicBezTo>
                  <a:cubicBezTo>
                    <a:pt x="2278" y="178"/>
                    <a:pt x="2280" y="178"/>
                    <a:pt x="2281" y="177"/>
                  </a:cubicBezTo>
                  <a:cubicBezTo>
                    <a:pt x="2281" y="177"/>
                    <a:pt x="2281" y="175"/>
                    <a:pt x="2281" y="173"/>
                  </a:cubicBezTo>
                  <a:cubicBezTo>
                    <a:pt x="2278" y="173"/>
                    <a:pt x="2275" y="170"/>
                    <a:pt x="2275" y="167"/>
                  </a:cubicBezTo>
                  <a:cubicBezTo>
                    <a:pt x="2275" y="164"/>
                    <a:pt x="2278" y="161"/>
                    <a:pt x="2282" y="161"/>
                  </a:cubicBezTo>
                  <a:cubicBezTo>
                    <a:pt x="2285" y="161"/>
                    <a:pt x="2288" y="163"/>
                    <a:pt x="2288" y="167"/>
                  </a:cubicBezTo>
                  <a:cubicBezTo>
                    <a:pt x="2289" y="166"/>
                    <a:pt x="2289" y="166"/>
                    <a:pt x="2289" y="166"/>
                  </a:cubicBezTo>
                  <a:cubicBezTo>
                    <a:pt x="2291" y="165"/>
                    <a:pt x="2293" y="164"/>
                    <a:pt x="2296" y="163"/>
                  </a:cubicBezTo>
                  <a:cubicBezTo>
                    <a:pt x="2298" y="162"/>
                    <a:pt x="2300" y="161"/>
                    <a:pt x="2303" y="160"/>
                  </a:cubicBezTo>
                  <a:cubicBezTo>
                    <a:pt x="2305" y="159"/>
                    <a:pt x="2307" y="160"/>
                    <a:pt x="2309" y="159"/>
                  </a:cubicBezTo>
                  <a:cubicBezTo>
                    <a:pt x="2306" y="161"/>
                    <a:pt x="2313" y="164"/>
                    <a:pt x="2315" y="164"/>
                  </a:cubicBezTo>
                  <a:cubicBezTo>
                    <a:pt x="2315" y="163"/>
                    <a:pt x="2314" y="161"/>
                    <a:pt x="2314" y="160"/>
                  </a:cubicBezTo>
                  <a:cubicBezTo>
                    <a:pt x="2313" y="160"/>
                    <a:pt x="2313" y="161"/>
                    <a:pt x="2313" y="161"/>
                  </a:cubicBezTo>
                  <a:cubicBezTo>
                    <a:pt x="2312" y="161"/>
                    <a:pt x="2313" y="159"/>
                    <a:pt x="2313" y="158"/>
                  </a:cubicBezTo>
                  <a:cubicBezTo>
                    <a:pt x="2313" y="157"/>
                    <a:pt x="2313" y="157"/>
                    <a:pt x="2313" y="157"/>
                  </a:cubicBezTo>
                  <a:cubicBezTo>
                    <a:pt x="2312" y="156"/>
                    <a:pt x="2312" y="156"/>
                    <a:pt x="2312" y="156"/>
                  </a:cubicBezTo>
                  <a:cubicBezTo>
                    <a:pt x="2311" y="155"/>
                    <a:pt x="2309" y="153"/>
                    <a:pt x="2309" y="151"/>
                  </a:cubicBezTo>
                  <a:cubicBezTo>
                    <a:pt x="2310" y="151"/>
                    <a:pt x="2311" y="151"/>
                    <a:pt x="2312" y="151"/>
                  </a:cubicBezTo>
                  <a:cubicBezTo>
                    <a:pt x="2313" y="151"/>
                    <a:pt x="2314" y="151"/>
                    <a:pt x="2312" y="148"/>
                  </a:cubicBezTo>
                  <a:cubicBezTo>
                    <a:pt x="2312" y="148"/>
                    <a:pt x="2311" y="148"/>
                    <a:pt x="2310" y="147"/>
                  </a:cubicBezTo>
                  <a:cubicBezTo>
                    <a:pt x="2310" y="147"/>
                    <a:pt x="2310" y="144"/>
                    <a:pt x="2310" y="143"/>
                  </a:cubicBezTo>
                  <a:cubicBezTo>
                    <a:pt x="2310" y="139"/>
                    <a:pt x="2312" y="134"/>
                    <a:pt x="2314" y="130"/>
                  </a:cubicBezTo>
                  <a:cubicBezTo>
                    <a:pt x="2316" y="128"/>
                    <a:pt x="2320" y="126"/>
                    <a:pt x="2323" y="124"/>
                  </a:cubicBezTo>
                  <a:cubicBezTo>
                    <a:pt x="2327" y="121"/>
                    <a:pt x="2332" y="118"/>
                    <a:pt x="2337" y="117"/>
                  </a:cubicBezTo>
                  <a:cubicBezTo>
                    <a:pt x="2338" y="117"/>
                    <a:pt x="2339" y="116"/>
                    <a:pt x="2339" y="116"/>
                  </a:cubicBezTo>
                  <a:cubicBezTo>
                    <a:pt x="2340" y="116"/>
                    <a:pt x="2340" y="116"/>
                    <a:pt x="2340" y="116"/>
                  </a:cubicBezTo>
                  <a:cubicBezTo>
                    <a:pt x="2342" y="117"/>
                    <a:pt x="2341" y="118"/>
                    <a:pt x="2342" y="118"/>
                  </a:cubicBezTo>
                  <a:cubicBezTo>
                    <a:pt x="2344" y="119"/>
                    <a:pt x="2345" y="119"/>
                    <a:pt x="2346" y="119"/>
                  </a:cubicBezTo>
                  <a:cubicBezTo>
                    <a:pt x="2347" y="119"/>
                    <a:pt x="2348" y="119"/>
                    <a:pt x="2349" y="119"/>
                  </a:cubicBezTo>
                  <a:cubicBezTo>
                    <a:pt x="2353" y="118"/>
                    <a:pt x="2358" y="115"/>
                    <a:pt x="2362" y="112"/>
                  </a:cubicBezTo>
                  <a:cubicBezTo>
                    <a:pt x="2365" y="109"/>
                    <a:pt x="2364" y="108"/>
                    <a:pt x="2362" y="105"/>
                  </a:cubicBezTo>
                  <a:cubicBezTo>
                    <a:pt x="2361" y="104"/>
                    <a:pt x="2360" y="102"/>
                    <a:pt x="2358" y="101"/>
                  </a:cubicBezTo>
                  <a:cubicBezTo>
                    <a:pt x="2354" y="98"/>
                    <a:pt x="2355" y="88"/>
                    <a:pt x="2355" y="83"/>
                  </a:cubicBezTo>
                  <a:cubicBezTo>
                    <a:pt x="2355" y="80"/>
                    <a:pt x="2358" y="76"/>
                    <a:pt x="2359" y="73"/>
                  </a:cubicBezTo>
                  <a:cubicBezTo>
                    <a:pt x="2361" y="70"/>
                    <a:pt x="2362" y="67"/>
                    <a:pt x="2366" y="65"/>
                  </a:cubicBezTo>
                  <a:cubicBezTo>
                    <a:pt x="2368" y="64"/>
                    <a:pt x="2374" y="63"/>
                    <a:pt x="2374" y="60"/>
                  </a:cubicBezTo>
                  <a:cubicBezTo>
                    <a:pt x="2373" y="57"/>
                    <a:pt x="2368" y="58"/>
                    <a:pt x="2373" y="56"/>
                  </a:cubicBezTo>
                  <a:cubicBezTo>
                    <a:pt x="2376" y="54"/>
                    <a:pt x="2376" y="55"/>
                    <a:pt x="2379" y="54"/>
                  </a:cubicBezTo>
                  <a:cubicBezTo>
                    <a:pt x="2381" y="54"/>
                    <a:pt x="2381" y="54"/>
                    <a:pt x="2382" y="53"/>
                  </a:cubicBezTo>
                  <a:cubicBezTo>
                    <a:pt x="2383" y="53"/>
                    <a:pt x="2384" y="52"/>
                    <a:pt x="2384" y="52"/>
                  </a:cubicBezTo>
                  <a:cubicBezTo>
                    <a:pt x="2385" y="52"/>
                    <a:pt x="2385" y="53"/>
                    <a:pt x="2385" y="54"/>
                  </a:cubicBezTo>
                  <a:cubicBezTo>
                    <a:pt x="2386" y="54"/>
                    <a:pt x="2383" y="57"/>
                    <a:pt x="2382" y="57"/>
                  </a:cubicBezTo>
                  <a:cubicBezTo>
                    <a:pt x="2379" y="59"/>
                    <a:pt x="2376" y="59"/>
                    <a:pt x="2374" y="63"/>
                  </a:cubicBezTo>
                  <a:cubicBezTo>
                    <a:pt x="2376" y="63"/>
                    <a:pt x="2377" y="66"/>
                    <a:pt x="2379" y="67"/>
                  </a:cubicBezTo>
                  <a:cubicBezTo>
                    <a:pt x="2380" y="68"/>
                    <a:pt x="2381" y="68"/>
                    <a:pt x="2382" y="68"/>
                  </a:cubicBezTo>
                  <a:cubicBezTo>
                    <a:pt x="2385" y="68"/>
                    <a:pt x="2388" y="66"/>
                    <a:pt x="2390" y="65"/>
                  </a:cubicBezTo>
                  <a:cubicBezTo>
                    <a:pt x="2394" y="63"/>
                    <a:pt x="2392" y="61"/>
                    <a:pt x="2391" y="57"/>
                  </a:cubicBezTo>
                  <a:cubicBezTo>
                    <a:pt x="2391" y="54"/>
                    <a:pt x="2390" y="50"/>
                    <a:pt x="2389" y="47"/>
                  </a:cubicBezTo>
                  <a:cubicBezTo>
                    <a:pt x="2388" y="44"/>
                    <a:pt x="2383" y="46"/>
                    <a:pt x="2381" y="44"/>
                  </a:cubicBezTo>
                  <a:cubicBezTo>
                    <a:pt x="2379" y="42"/>
                    <a:pt x="2379" y="41"/>
                    <a:pt x="2380" y="38"/>
                  </a:cubicBezTo>
                  <a:cubicBezTo>
                    <a:pt x="2380" y="35"/>
                    <a:pt x="2379" y="31"/>
                    <a:pt x="2379" y="27"/>
                  </a:cubicBezTo>
                  <a:cubicBezTo>
                    <a:pt x="2378" y="21"/>
                    <a:pt x="2387" y="18"/>
                    <a:pt x="2389" y="12"/>
                  </a:cubicBezTo>
                  <a:cubicBezTo>
                    <a:pt x="2391" y="7"/>
                    <a:pt x="2387" y="9"/>
                    <a:pt x="2384" y="8"/>
                  </a:cubicBezTo>
                  <a:cubicBezTo>
                    <a:pt x="2381" y="7"/>
                    <a:pt x="2379" y="4"/>
                    <a:pt x="2376" y="4"/>
                  </a:cubicBezTo>
                  <a:cubicBezTo>
                    <a:pt x="2375" y="4"/>
                    <a:pt x="2375" y="4"/>
                    <a:pt x="2374" y="5"/>
                  </a:cubicBezTo>
                  <a:cubicBezTo>
                    <a:pt x="2370" y="7"/>
                    <a:pt x="2374" y="11"/>
                    <a:pt x="2369" y="13"/>
                  </a:cubicBezTo>
                  <a:cubicBezTo>
                    <a:pt x="2370" y="9"/>
                    <a:pt x="2370" y="10"/>
                    <a:pt x="2366" y="8"/>
                  </a:cubicBezTo>
                  <a:cubicBezTo>
                    <a:pt x="2363" y="6"/>
                    <a:pt x="2359" y="4"/>
                    <a:pt x="2359" y="1"/>
                  </a:cubicBezTo>
                  <a:cubicBezTo>
                    <a:pt x="2359" y="1"/>
                    <a:pt x="2359" y="0"/>
                    <a:pt x="23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436" name="Picture 1572"/>
            <p:cNvPicPr>
              <a:picLocks noChangeAspect="1" noChangeArrowheads="1"/>
            </p:cNvPicPr>
            <p:nvPr/>
          </p:nvPicPr>
          <p:blipFill>
            <a:blip r:embed="rId1">
              <a:extLst>
                <a:ext uri="{28A0092B-C50C-407E-A947-70E740481C1C}">
                  <a14:useLocalDpi xmlns:a14="http://schemas.microsoft.com/office/drawing/2010/main" val="0"/>
                </a:ext>
              </a:extLst>
            </a:blip>
            <a:stretch>
              <a:fillRect/>
            </a:stretch>
          </p:blipFill>
          <p:spPr bwMode="auto">
            <a:xfrm>
              <a:off x="3071264" y="3263222"/>
              <a:ext cx="16108" cy="308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1437" name="Freeform 1577"/>
            <p:cNvSpPr/>
            <p:nvPr/>
          </p:nvSpPr>
          <p:spPr bwMode="auto">
            <a:xfrm>
              <a:off x="2034724" y="2741469"/>
              <a:ext cx="233566" cy="120810"/>
            </a:xfrm>
            <a:custGeom>
              <a:gdLst>
                <a:gd name="T0" fmla="*/ 60 w 71"/>
                <a:gd name="T1" fmla="*/ 11 h 35"/>
                <a:gd name="T2" fmla="*/ 60 w 71"/>
                <a:gd name="T3" fmla="*/ 11 h 35"/>
                <a:gd name="T4" fmla="*/ 60 w 71"/>
                <a:gd name="T5" fmla="*/ 13 h 35"/>
                <a:gd name="T6" fmla="*/ 60 w 71"/>
                <a:gd name="T7" fmla="*/ 16 h 35"/>
                <a:gd name="T8" fmla="*/ 61 w 71"/>
                <a:gd name="T9" fmla="*/ 18 h 35"/>
                <a:gd name="T10" fmla="*/ 62 w 71"/>
                <a:gd name="T11" fmla="*/ 20 h 35"/>
                <a:gd name="T12" fmla="*/ 69 w 71"/>
                <a:gd name="T13" fmla="*/ 22 h 35"/>
                <a:gd name="T14" fmla="*/ 69 w 71"/>
                <a:gd name="T15" fmla="*/ 26 h 35"/>
                <a:gd name="T16" fmla="*/ 71 w 71"/>
                <a:gd name="T17" fmla="*/ 31 h 35"/>
                <a:gd name="T18" fmla="*/ 70 w 71"/>
                <a:gd name="T19" fmla="*/ 31 h 35"/>
                <a:gd name="T20" fmla="*/ 68 w 71"/>
                <a:gd name="T21" fmla="*/ 31 h 35"/>
                <a:gd name="T22" fmla="*/ 67 w 71"/>
                <a:gd name="T23" fmla="*/ 31 h 35"/>
                <a:gd name="T24" fmla="*/ 62 w 71"/>
                <a:gd name="T25" fmla="*/ 32 h 35"/>
                <a:gd name="T26" fmla="*/ 57 w 71"/>
                <a:gd name="T27" fmla="*/ 32 h 35"/>
                <a:gd name="T28" fmla="*/ 51 w 71"/>
                <a:gd name="T29" fmla="*/ 32 h 35"/>
                <a:gd name="T30" fmla="*/ 43 w 71"/>
                <a:gd name="T31" fmla="*/ 33 h 35"/>
                <a:gd name="T32" fmla="*/ 42 w 71"/>
                <a:gd name="T33" fmla="*/ 32 h 35"/>
                <a:gd name="T34" fmla="*/ 38 w 71"/>
                <a:gd name="T35" fmla="*/ 32 h 35"/>
                <a:gd name="T36" fmla="*/ 31 w 71"/>
                <a:gd name="T37" fmla="*/ 30 h 35"/>
                <a:gd name="T38" fmla="*/ 29 w 71"/>
                <a:gd name="T39" fmla="*/ 31 h 35"/>
                <a:gd name="T40" fmla="*/ 21 w 71"/>
                <a:gd name="T41" fmla="*/ 35 h 35"/>
                <a:gd name="T42" fmla="*/ 19 w 71"/>
                <a:gd name="T43" fmla="*/ 34 h 35"/>
                <a:gd name="T44" fmla="*/ 19 w 71"/>
                <a:gd name="T45" fmla="*/ 27 h 35"/>
                <a:gd name="T46" fmla="*/ 17 w 71"/>
                <a:gd name="T47" fmla="*/ 33 h 35"/>
                <a:gd name="T48" fmla="*/ 11 w 71"/>
                <a:gd name="T49" fmla="*/ 31 h 35"/>
                <a:gd name="T50" fmla="*/ 9 w 71"/>
                <a:gd name="T51" fmla="*/ 31 h 35"/>
                <a:gd name="T52" fmla="*/ 7 w 71"/>
                <a:gd name="T53" fmla="*/ 31 h 35"/>
                <a:gd name="T54" fmla="*/ 6 w 71"/>
                <a:gd name="T55" fmla="*/ 31 h 35"/>
                <a:gd name="T56" fmla="*/ 4 w 71"/>
                <a:gd name="T57" fmla="*/ 31 h 35"/>
                <a:gd name="T58" fmla="*/ 2 w 71"/>
                <a:gd name="T59" fmla="*/ 29 h 35"/>
                <a:gd name="T60" fmla="*/ 0 w 71"/>
                <a:gd name="T61" fmla="*/ 26 h 35"/>
                <a:gd name="T62" fmla="*/ 2 w 71"/>
                <a:gd name="T63" fmla="*/ 23 h 35"/>
                <a:gd name="T64" fmla="*/ 5 w 71"/>
                <a:gd name="T65" fmla="*/ 18 h 35"/>
                <a:gd name="T66" fmla="*/ 13 w 71"/>
                <a:gd name="T67" fmla="*/ 8 h 35"/>
                <a:gd name="T68" fmla="*/ 15 w 71"/>
                <a:gd name="T69" fmla="*/ 5 h 35"/>
                <a:gd name="T70" fmla="*/ 27 w 71"/>
                <a:gd name="T71" fmla="*/ 0 h 35"/>
                <a:gd name="T72" fmla="*/ 29 w 71"/>
                <a:gd name="T73" fmla="*/ 0 h 35"/>
                <a:gd name="T74" fmla="*/ 31 w 71"/>
                <a:gd name="T75" fmla="*/ 1 h 35"/>
                <a:gd name="T76" fmla="*/ 35 w 71"/>
                <a:gd name="T77" fmla="*/ 6 h 35"/>
                <a:gd name="T78" fmla="*/ 38 w 71"/>
                <a:gd name="T79" fmla="*/ 6 h 35"/>
                <a:gd name="T80" fmla="*/ 43 w 71"/>
                <a:gd name="T81" fmla="*/ 6 h 35"/>
                <a:gd name="T82" fmla="*/ 44 w 71"/>
                <a:gd name="T83" fmla="*/ 7 h 35"/>
                <a:gd name="T84" fmla="*/ 48 w 71"/>
                <a:gd name="T85" fmla="*/ 8 h 35"/>
                <a:gd name="T86" fmla="*/ 52 w 71"/>
                <a:gd name="T87" fmla="*/ 7 h 35"/>
                <a:gd name="T88" fmla="*/ 58 w 71"/>
                <a:gd name="T89" fmla="*/ 7 h 35"/>
                <a:gd name="T90" fmla="*/ 61 w 71"/>
                <a:gd name="T91" fmla="*/ 8 h 35"/>
                <a:gd name="T92" fmla="*/ 61 w 71"/>
                <a:gd name="T93" fmla="*/ 10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 h="35">
                  <a:moveTo>
                    <a:pt x="61" y="10"/>
                  </a:moveTo>
                  <a:cubicBezTo>
                    <a:pt x="60" y="11"/>
                    <a:pt x="60" y="11"/>
                    <a:pt x="60" y="11"/>
                  </a:cubicBezTo>
                  <a:cubicBezTo>
                    <a:pt x="61" y="11"/>
                    <a:pt x="61" y="11"/>
                    <a:pt x="61" y="11"/>
                  </a:cubicBezTo>
                  <a:cubicBezTo>
                    <a:pt x="60" y="11"/>
                    <a:pt x="60" y="11"/>
                    <a:pt x="60" y="11"/>
                  </a:cubicBezTo>
                  <a:cubicBezTo>
                    <a:pt x="60" y="11"/>
                    <a:pt x="60" y="12"/>
                    <a:pt x="60" y="12"/>
                  </a:cubicBezTo>
                  <a:cubicBezTo>
                    <a:pt x="60" y="12"/>
                    <a:pt x="60" y="13"/>
                    <a:pt x="60" y="13"/>
                  </a:cubicBezTo>
                  <a:cubicBezTo>
                    <a:pt x="60" y="13"/>
                    <a:pt x="60" y="13"/>
                    <a:pt x="60" y="14"/>
                  </a:cubicBezTo>
                  <a:cubicBezTo>
                    <a:pt x="60" y="14"/>
                    <a:pt x="60" y="15"/>
                    <a:pt x="60" y="16"/>
                  </a:cubicBezTo>
                  <a:cubicBezTo>
                    <a:pt x="60" y="16"/>
                    <a:pt x="60" y="16"/>
                    <a:pt x="60" y="16"/>
                  </a:cubicBezTo>
                  <a:cubicBezTo>
                    <a:pt x="60" y="17"/>
                    <a:pt x="60" y="17"/>
                    <a:pt x="61" y="18"/>
                  </a:cubicBezTo>
                  <a:cubicBezTo>
                    <a:pt x="61" y="18"/>
                    <a:pt x="61" y="18"/>
                    <a:pt x="61" y="19"/>
                  </a:cubicBezTo>
                  <a:cubicBezTo>
                    <a:pt x="62" y="19"/>
                    <a:pt x="62" y="19"/>
                    <a:pt x="62" y="20"/>
                  </a:cubicBezTo>
                  <a:cubicBezTo>
                    <a:pt x="63" y="20"/>
                    <a:pt x="64" y="21"/>
                    <a:pt x="65" y="21"/>
                  </a:cubicBezTo>
                  <a:cubicBezTo>
                    <a:pt x="67" y="22"/>
                    <a:pt x="68" y="22"/>
                    <a:pt x="69" y="22"/>
                  </a:cubicBezTo>
                  <a:cubicBezTo>
                    <a:pt x="70" y="22"/>
                    <a:pt x="70" y="23"/>
                    <a:pt x="71" y="23"/>
                  </a:cubicBezTo>
                  <a:cubicBezTo>
                    <a:pt x="70" y="23"/>
                    <a:pt x="69" y="24"/>
                    <a:pt x="69" y="26"/>
                  </a:cubicBezTo>
                  <a:cubicBezTo>
                    <a:pt x="69" y="26"/>
                    <a:pt x="69" y="27"/>
                    <a:pt x="69" y="28"/>
                  </a:cubicBezTo>
                  <a:cubicBezTo>
                    <a:pt x="70" y="30"/>
                    <a:pt x="70" y="31"/>
                    <a:pt x="71" y="31"/>
                  </a:cubicBezTo>
                  <a:cubicBezTo>
                    <a:pt x="71" y="32"/>
                    <a:pt x="71" y="32"/>
                    <a:pt x="70" y="32"/>
                  </a:cubicBezTo>
                  <a:cubicBezTo>
                    <a:pt x="70" y="32"/>
                    <a:pt x="70" y="31"/>
                    <a:pt x="70" y="31"/>
                  </a:cubicBezTo>
                  <a:cubicBezTo>
                    <a:pt x="69" y="31"/>
                    <a:pt x="69" y="31"/>
                    <a:pt x="68" y="31"/>
                  </a:cubicBezTo>
                  <a:cubicBezTo>
                    <a:pt x="68" y="31"/>
                    <a:pt x="68" y="31"/>
                    <a:pt x="68" y="31"/>
                  </a:cubicBezTo>
                  <a:cubicBezTo>
                    <a:pt x="68" y="31"/>
                    <a:pt x="68" y="31"/>
                    <a:pt x="68" y="31"/>
                  </a:cubicBezTo>
                  <a:cubicBezTo>
                    <a:pt x="68" y="31"/>
                    <a:pt x="67" y="31"/>
                    <a:pt x="67" y="31"/>
                  </a:cubicBezTo>
                  <a:cubicBezTo>
                    <a:pt x="65" y="32"/>
                    <a:pt x="64" y="32"/>
                    <a:pt x="63" y="32"/>
                  </a:cubicBezTo>
                  <a:cubicBezTo>
                    <a:pt x="62" y="32"/>
                    <a:pt x="62" y="32"/>
                    <a:pt x="62" y="32"/>
                  </a:cubicBezTo>
                  <a:cubicBezTo>
                    <a:pt x="61" y="32"/>
                    <a:pt x="61" y="32"/>
                    <a:pt x="61" y="32"/>
                  </a:cubicBezTo>
                  <a:cubicBezTo>
                    <a:pt x="60" y="32"/>
                    <a:pt x="59" y="32"/>
                    <a:pt x="57" y="32"/>
                  </a:cubicBezTo>
                  <a:cubicBezTo>
                    <a:pt x="56" y="32"/>
                    <a:pt x="54" y="32"/>
                    <a:pt x="52" y="32"/>
                  </a:cubicBezTo>
                  <a:cubicBezTo>
                    <a:pt x="51" y="32"/>
                    <a:pt x="51" y="32"/>
                    <a:pt x="51" y="32"/>
                  </a:cubicBezTo>
                  <a:cubicBezTo>
                    <a:pt x="49" y="33"/>
                    <a:pt x="47" y="33"/>
                    <a:pt x="46" y="33"/>
                  </a:cubicBezTo>
                  <a:cubicBezTo>
                    <a:pt x="45" y="33"/>
                    <a:pt x="44" y="33"/>
                    <a:pt x="43" y="33"/>
                  </a:cubicBezTo>
                  <a:cubicBezTo>
                    <a:pt x="43" y="33"/>
                    <a:pt x="42" y="33"/>
                    <a:pt x="42" y="33"/>
                  </a:cubicBezTo>
                  <a:cubicBezTo>
                    <a:pt x="42" y="32"/>
                    <a:pt x="42" y="32"/>
                    <a:pt x="42" y="32"/>
                  </a:cubicBezTo>
                  <a:cubicBezTo>
                    <a:pt x="41" y="32"/>
                    <a:pt x="40" y="32"/>
                    <a:pt x="39" y="32"/>
                  </a:cubicBezTo>
                  <a:cubicBezTo>
                    <a:pt x="38" y="32"/>
                    <a:pt x="38" y="32"/>
                    <a:pt x="38" y="32"/>
                  </a:cubicBezTo>
                  <a:cubicBezTo>
                    <a:pt x="37" y="31"/>
                    <a:pt x="37" y="31"/>
                    <a:pt x="36" y="31"/>
                  </a:cubicBezTo>
                  <a:cubicBezTo>
                    <a:pt x="35" y="30"/>
                    <a:pt x="33" y="30"/>
                    <a:pt x="31" y="30"/>
                  </a:cubicBezTo>
                  <a:cubicBezTo>
                    <a:pt x="31" y="30"/>
                    <a:pt x="30" y="31"/>
                    <a:pt x="29" y="31"/>
                  </a:cubicBezTo>
                  <a:cubicBezTo>
                    <a:pt x="29" y="31"/>
                    <a:pt x="29" y="31"/>
                    <a:pt x="29" y="31"/>
                  </a:cubicBezTo>
                  <a:cubicBezTo>
                    <a:pt x="27" y="32"/>
                    <a:pt x="27" y="32"/>
                    <a:pt x="27" y="32"/>
                  </a:cubicBezTo>
                  <a:cubicBezTo>
                    <a:pt x="26" y="33"/>
                    <a:pt x="23" y="35"/>
                    <a:pt x="21" y="35"/>
                  </a:cubicBezTo>
                  <a:cubicBezTo>
                    <a:pt x="21" y="35"/>
                    <a:pt x="21" y="35"/>
                    <a:pt x="21" y="35"/>
                  </a:cubicBezTo>
                  <a:cubicBezTo>
                    <a:pt x="20" y="34"/>
                    <a:pt x="19" y="34"/>
                    <a:pt x="19" y="34"/>
                  </a:cubicBezTo>
                  <a:cubicBezTo>
                    <a:pt x="18" y="34"/>
                    <a:pt x="18" y="34"/>
                    <a:pt x="18" y="34"/>
                  </a:cubicBezTo>
                  <a:cubicBezTo>
                    <a:pt x="19" y="27"/>
                    <a:pt x="19" y="27"/>
                    <a:pt x="19" y="27"/>
                  </a:cubicBezTo>
                  <a:cubicBezTo>
                    <a:pt x="17" y="33"/>
                    <a:pt x="17" y="33"/>
                    <a:pt x="17" y="33"/>
                  </a:cubicBezTo>
                  <a:cubicBezTo>
                    <a:pt x="17" y="33"/>
                    <a:pt x="17" y="33"/>
                    <a:pt x="17" y="33"/>
                  </a:cubicBezTo>
                  <a:cubicBezTo>
                    <a:pt x="16" y="33"/>
                    <a:pt x="15" y="32"/>
                    <a:pt x="13" y="32"/>
                  </a:cubicBezTo>
                  <a:cubicBezTo>
                    <a:pt x="12" y="31"/>
                    <a:pt x="11" y="31"/>
                    <a:pt x="11" y="31"/>
                  </a:cubicBezTo>
                  <a:cubicBezTo>
                    <a:pt x="11" y="31"/>
                    <a:pt x="11" y="31"/>
                    <a:pt x="11" y="31"/>
                  </a:cubicBezTo>
                  <a:cubicBezTo>
                    <a:pt x="10" y="31"/>
                    <a:pt x="10" y="31"/>
                    <a:pt x="9" y="31"/>
                  </a:cubicBezTo>
                  <a:cubicBezTo>
                    <a:pt x="9" y="31"/>
                    <a:pt x="9" y="31"/>
                    <a:pt x="9" y="31"/>
                  </a:cubicBezTo>
                  <a:cubicBezTo>
                    <a:pt x="7" y="31"/>
                    <a:pt x="7" y="31"/>
                    <a:pt x="7" y="31"/>
                  </a:cubicBezTo>
                  <a:cubicBezTo>
                    <a:pt x="7" y="31"/>
                    <a:pt x="7" y="31"/>
                    <a:pt x="7" y="31"/>
                  </a:cubicBezTo>
                  <a:cubicBezTo>
                    <a:pt x="6" y="31"/>
                    <a:pt x="6" y="31"/>
                    <a:pt x="6" y="31"/>
                  </a:cubicBezTo>
                  <a:cubicBezTo>
                    <a:pt x="6" y="31"/>
                    <a:pt x="5" y="31"/>
                    <a:pt x="5" y="31"/>
                  </a:cubicBezTo>
                  <a:cubicBezTo>
                    <a:pt x="5" y="31"/>
                    <a:pt x="4" y="31"/>
                    <a:pt x="4" y="31"/>
                  </a:cubicBezTo>
                  <a:cubicBezTo>
                    <a:pt x="3" y="30"/>
                    <a:pt x="3" y="30"/>
                    <a:pt x="2" y="29"/>
                  </a:cubicBezTo>
                  <a:cubicBezTo>
                    <a:pt x="2" y="29"/>
                    <a:pt x="2" y="29"/>
                    <a:pt x="2" y="29"/>
                  </a:cubicBezTo>
                  <a:cubicBezTo>
                    <a:pt x="1" y="28"/>
                    <a:pt x="1" y="27"/>
                    <a:pt x="0" y="26"/>
                  </a:cubicBezTo>
                  <a:cubicBezTo>
                    <a:pt x="0" y="26"/>
                    <a:pt x="0" y="26"/>
                    <a:pt x="0" y="26"/>
                  </a:cubicBezTo>
                  <a:cubicBezTo>
                    <a:pt x="2" y="24"/>
                    <a:pt x="2" y="24"/>
                    <a:pt x="2" y="24"/>
                  </a:cubicBezTo>
                  <a:cubicBezTo>
                    <a:pt x="2" y="23"/>
                    <a:pt x="2" y="23"/>
                    <a:pt x="2" y="23"/>
                  </a:cubicBezTo>
                  <a:cubicBezTo>
                    <a:pt x="2" y="22"/>
                    <a:pt x="2" y="22"/>
                    <a:pt x="2" y="22"/>
                  </a:cubicBezTo>
                  <a:cubicBezTo>
                    <a:pt x="3" y="20"/>
                    <a:pt x="4" y="19"/>
                    <a:pt x="5" y="18"/>
                  </a:cubicBezTo>
                  <a:cubicBezTo>
                    <a:pt x="6" y="16"/>
                    <a:pt x="7" y="15"/>
                    <a:pt x="8" y="14"/>
                  </a:cubicBezTo>
                  <a:cubicBezTo>
                    <a:pt x="9" y="12"/>
                    <a:pt x="11" y="9"/>
                    <a:pt x="13" y="8"/>
                  </a:cubicBezTo>
                  <a:cubicBezTo>
                    <a:pt x="13" y="7"/>
                    <a:pt x="13" y="7"/>
                    <a:pt x="13" y="7"/>
                  </a:cubicBezTo>
                  <a:cubicBezTo>
                    <a:pt x="14" y="7"/>
                    <a:pt x="15" y="6"/>
                    <a:pt x="15" y="5"/>
                  </a:cubicBezTo>
                  <a:cubicBezTo>
                    <a:pt x="17" y="3"/>
                    <a:pt x="21" y="1"/>
                    <a:pt x="26" y="0"/>
                  </a:cubicBezTo>
                  <a:cubicBezTo>
                    <a:pt x="27" y="0"/>
                    <a:pt x="27" y="0"/>
                    <a:pt x="27" y="0"/>
                  </a:cubicBezTo>
                  <a:cubicBezTo>
                    <a:pt x="27" y="0"/>
                    <a:pt x="28" y="0"/>
                    <a:pt x="28" y="0"/>
                  </a:cubicBezTo>
                  <a:cubicBezTo>
                    <a:pt x="29" y="0"/>
                    <a:pt x="29" y="0"/>
                    <a:pt x="29" y="0"/>
                  </a:cubicBezTo>
                  <a:cubicBezTo>
                    <a:pt x="30" y="0"/>
                    <a:pt x="31" y="0"/>
                    <a:pt x="31" y="0"/>
                  </a:cubicBezTo>
                  <a:cubicBezTo>
                    <a:pt x="31" y="0"/>
                    <a:pt x="31" y="1"/>
                    <a:pt x="31" y="1"/>
                  </a:cubicBezTo>
                  <a:cubicBezTo>
                    <a:pt x="31" y="2"/>
                    <a:pt x="32" y="4"/>
                    <a:pt x="34" y="5"/>
                  </a:cubicBezTo>
                  <a:cubicBezTo>
                    <a:pt x="35" y="6"/>
                    <a:pt x="35" y="6"/>
                    <a:pt x="35" y="6"/>
                  </a:cubicBezTo>
                  <a:cubicBezTo>
                    <a:pt x="36" y="6"/>
                    <a:pt x="36" y="6"/>
                    <a:pt x="37" y="6"/>
                  </a:cubicBezTo>
                  <a:cubicBezTo>
                    <a:pt x="38" y="6"/>
                    <a:pt x="38" y="6"/>
                    <a:pt x="38" y="6"/>
                  </a:cubicBezTo>
                  <a:cubicBezTo>
                    <a:pt x="38" y="6"/>
                    <a:pt x="38" y="6"/>
                    <a:pt x="39" y="6"/>
                  </a:cubicBezTo>
                  <a:cubicBezTo>
                    <a:pt x="40" y="6"/>
                    <a:pt x="41" y="6"/>
                    <a:pt x="43" y="6"/>
                  </a:cubicBezTo>
                  <a:cubicBezTo>
                    <a:pt x="43" y="7"/>
                    <a:pt x="43" y="7"/>
                    <a:pt x="43" y="7"/>
                  </a:cubicBezTo>
                  <a:cubicBezTo>
                    <a:pt x="43" y="7"/>
                    <a:pt x="44" y="7"/>
                    <a:pt x="44" y="7"/>
                  </a:cubicBezTo>
                  <a:cubicBezTo>
                    <a:pt x="46" y="7"/>
                    <a:pt x="46" y="7"/>
                    <a:pt x="46" y="7"/>
                  </a:cubicBezTo>
                  <a:cubicBezTo>
                    <a:pt x="47" y="8"/>
                    <a:pt x="47" y="8"/>
                    <a:pt x="48" y="8"/>
                  </a:cubicBezTo>
                  <a:cubicBezTo>
                    <a:pt x="49" y="8"/>
                    <a:pt x="50" y="8"/>
                    <a:pt x="51" y="7"/>
                  </a:cubicBezTo>
                  <a:cubicBezTo>
                    <a:pt x="52" y="7"/>
                    <a:pt x="52" y="7"/>
                    <a:pt x="52" y="7"/>
                  </a:cubicBezTo>
                  <a:cubicBezTo>
                    <a:pt x="52" y="6"/>
                    <a:pt x="54" y="6"/>
                    <a:pt x="54" y="6"/>
                  </a:cubicBezTo>
                  <a:cubicBezTo>
                    <a:pt x="54" y="6"/>
                    <a:pt x="56" y="6"/>
                    <a:pt x="58" y="7"/>
                  </a:cubicBezTo>
                  <a:cubicBezTo>
                    <a:pt x="60" y="7"/>
                    <a:pt x="61" y="8"/>
                    <a:pt x="61" y="8"/>
                  </a:cubicBezTo>
                  <a:cubicBezTo>
                    <a:pt x="61" y="8"/>
                    <a:pt x="61" y="8"/>
                    <a:pt x="61" y="8"/>
                  </a:cubicBezTo>
                  <a:cubicBezTo>
                    <a:pt x="61" y="8"/>
                    <a:pt x="61" y="9"/>
                    <a:pt x="61" y="10"/>
                  </a:cubicBezTo>
                  <a:cubicBezTo>
                    <a:pt x="61" y="10"/>
                    <a:pt x="61" y="10"/>
                    <a:pt x="61" y="10"/>
                  </a:cubicBezTo>
                  <a:cubicBezTo>
                    <a:pt x="61" y="10"/>
                    <a:pt x="61" y="10"/>
                    <a:pt x="61"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46738403"/>
      </p:ext>
    </p:extLst>
  </p:cSld>
  <p:clrMapOvr>
    <a:masterClrMapping/>
  </p:clrMapOvr>
  <p:transition/>
  <p:timing/>
</p:sldLayout>
</file>

<file path=ppt/slideLayouts/slideLayout9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Australia">
    <p:spTree>
      <p:nvGrpSpPr>
        <p:cNvPr id="1" name=""/>
        <p:cNvGrpSpPr/>
        <p:nvPr/>
      </p:nvGrpSpPr>
      <p:grpSpPr>
        <a:xfrm>
          <a:off x="0" y="0"/>
          <a:ext cx="0" cy="0"/>
        </a:xfrm>
      </p:grpSpPr>
      <p:sp>
        <p:nvSpPr>
          <p:cNvPr id="3" name="Footer Placeholder 2"/>
          <p:cNvSpPr>
            <a:spLocks noGrp="1"/>
          </p:cNvSpPr>
          <p:nvPr>
            <p:ph type="ftr" sz="quarter" idx="10"/>
          </p:nvPr>
        </p:nvSpPr>
        <p:spPr/>
        <p:txBody>
          <a:bodyPr/>
          <a:lstStyle/>
          <a:p>
            <a:r>
              <a:rPr lang="en-US"/>
              <a:t>Copyright © 2017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t>‹#›</a:t>
            </a:fld>
            <a:endParaRPr lang="en-GB"/>
          </a:p>
        </p:txBody>
      </p:sp>
      <p:sp>
        <p:nvSpPr>
          <p:cNvPr id="1199" name="Text Placeholder 377"/>
          <p:cNvSpPr>
            <a:spLocks noGrp="1"/>
          </p:cNvSpPr>
          <p:nvPr>
            <p:ph type="body" sz="quarter" idx="12" hasCustomPrompt="1"/>
          </p:nvPr>
        </p:nvSpPr>
        <p:spPr>
          <a:xfrm>
            <a:off x="8201602" y="682625"/>
            <a:ext cx="3670300" cy="1231900"/>
          </a:xfrm>
        </p:spPr>
        <p:txBody>
          <a:bodyPr/>
          <a:lstStyle>
            <a:lvl1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1pPr>
            <a:lvl2pPr marL="0"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2pPr>
            <a:lvl3pPr marL="182876" indent="0"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3pPr>
            <a:lvl4pPr algn="l" defTabSz="1734634" rtl="0" eaLnBrk="1" latinLnBrk="0" hangingPunct="1">
              <a:lnSpc>
                <a:spcPct val="80000"/>
              </a:lnSpc>
              <a:spcBef>
                <a:spcPct val="0"/>
              </a:spcBef>
              <a:buNone/>
              <a:defRPr lang="en-US" sz="3200" b="0" i="0" kern="1200" cap="all" spc="0" baseline="0" smtClean="0">
                <a:solidFill>
                  <a:schemeClr val="accent1"/>
                </a:solidFill>
                <a:latin typeface="+mj-lt"/>
                <a:ea typeface="Arial Black" charset="0"/>
                <a:cs typeface="Arial Black" charset="0"/>
              </a:defRPr>
            </a:lvl4pPr>
            <a:lvl5pPr marL="0" indent="0" algn="l" defTabSz="1734634" rtl="0" eaLnBrk="1" latinLnBrk="0" hangingPunct="1">
              <a:lnSpc>
                <a:spcPct val="80000"/>
              </a:lnSpc>
              <a:spcBef>
                <a:spcPct val="0"/>
              </a:spcBef>
              <a:buNone/>
              <a:defRPr lang="en-AU" sz="3200" b="0" i="0" kern="1200" cap="all" spc="0" baseline="0">
                <a:solidFill>
                  <a:schemeClr val="accent1"/>
                </a:solidFill>
                <a:latin typeface="+mj-lt"/>
                <a:ea typeface="Arial Black" charset="0"/>
                <a:cs typeface="Arial Black" charset="0"/>
              </a:defRPr>
            </a:lvl5pPr>
          </a:lstStyle>
          <a:p>
            <a:pPr lvl="0"/>
            <a:r>
              <a:rPr lang="en-US"/>
              <a:t>INSERT MAIN TITLE AT 32PT MIN 30PT</a:t>
            </a:r>
            <a:endParaRPr lang="en-AU"/>
          </a:p>
        </p:txBody>
      </p:sp>
      <p:grpSp>
        <p:nvGrpSpPr>
          <p:cNvPr id="627" name="Group 1134"/>
          <p:cNvGrpSpPr>
            <a:grpSpLocks noChangeAspect="1"/>
          </p:cNvGrpSpPr>
          <p:nvPr userDrawn="1"/>
        </p:nvGrpSpPr>
        <p:grpSpPr>
          <a:xfrm>
            <a:off x="0" y="0"/>
            <a:ext cx="8362947" cy="6689558"/>
            <a:chOff x="20" y="0"/>
            <a:chExt cx="6277" cy="5021"/>
          </a:xfrm>
          <a:gradFill>
            <a:gsLst>
              <a:gs pos="0">
                <a:schemeClr val="accent5"/>
              </a:gs>
              <a:gs pos="100000">
                <a:schemeClr val="accent1"/>
              </a:gs>
            </a:gsLst>
            <a:lin ang="18900000" scaled="1"/>
          </a:gradFill>
        </p:grpSpPr>
        <p:grpSp>
          <p:nvGrpSpPr>
            <p:cNvPr id="628" name="Group 1335"/>
            <p:cNvGrpSpPr/>
            <p:nvPr/>
          </p:nvGrpSpPr>
          <p:grpSpPr>
            <a:xfrm>
              <a:off x="202" y="0"/>
              <a:ext cx="6095" cy="5021"/>
              <a:chOff x="202" y="0"/>
              <a:chExt cx="6095" cy="5021"/>
            </a:xfrm>
            <a:grpFill/>
          </p:grpSpPr>
          <p:sp>
            <p:nvSpPr>
              <p:cNvPr id="934" name="Oval 1135"/>
              <p:cNvSpPr>
                <a:spLocks noChangeArrowheads="1"/>
              </p:cNvSpPr>
              <p:nvPr/>
            </p:nvSpPr>
            <p:spPr bwMode="auto">
              <a:xfrm>
                <a:off x="6039" y="2177"/>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Freeform 1136"/>
              <p:cNvSpPr/>
              <p:nvPr/>
            </p:nvSpPr>
            <p:spPr bwMode="auto">
              <a:xfrm>
                <a:off x="415" y="284"/>
                <a:ext cx="12" cy="17"/>
              </a:xfrm>
              <a:custGeom>
                <a:gdLst>
                  <a:gd name="T0" fmla="*/ 1 w 5"/>
                  <a:gd name="T1" fmla="*/ 0 h 7"/>
                  <a:gd name="T2" fmla="*/ 0 w 5"/>
                  <a:gd name="T3" fmla="*/ 1 h 7"/>
                  <a:gd name="T4" fmla="*/ 5 w 5"/>
                  <a:gd name="T5" fmla="*/ 7 h 7"/>
                  <a:gd name="T6" fmla="*/ 3 w 5"/>
                  <a:gd name="T7" fmla="*/ 1 h 7"/>
                  <a:gd name="T8" fmla="*/ 2 w 5"/>
                  <a:gd name="T9" fmla="*/ 0 h 7"/>
                  <a:gd name="T10" fmla="*/ 1 w 5"/>
                  <a:gd name="T11" fmla="*/ 0 h 7"/>
                  <a:gd name="T12" fmla="*/ 1 w 5"/>
                  <a:gd name="T13" fmla="*/ 0 h 7"/>
                </a:gdLst>
                <a:cxnLst>
                  <a:cxn ang="0">
                    <a:pos x="T0" y="T1"/>
                  </a:cxn>
                  <a:cxn ang="0">
                    <a:pos x="T2" y="T3"/>
                  </a:cxn>
                  <a:cxn ang="0">
                    <a:pos x="T4" y="T5"/>
                  </a:cxn>
                  <a:cxn ang="0">
                    <a:pos x="T6" y="T7"/>
                  </a:cxn>
                  <a:cxn ang="0">
                    <a:pos x="T8" y="T9"/>
                  </a:cxn>
                  <a:cxn ang="0">
                    <a:pos x="T10" y="T11"/>
                  </a:cxn>
                  <a:cxn ang="0">
                    <a:pos x="T12" y="T13"/>
                  </a:cxn>
                </a:cxnLst>
                <a:rect l="0" t="0" r="r" b="b"/>
                <a:pathLst>
                  <a:path w="5" h="7">
                    <a:moveTo>
                      <a:pt x="1" y="0"/>
                    </a:moveTo>
                    <a:cubicBezTo>
                      <a:pt x="0" y="0"/>
                      <a:pt x="0" y="1"/>
                      <a:pt x="0" y="1"/>
                    </a:cubicBezTo>
                    <a:cubicBezTo>
                      <a:pt x="0" y="3"/>
                      <a:pt x="5" y="7"/>
                      <a:pt x="5" y="7"/>
                    </a:cubicBezTo>
                    <a:cubicBezTo>
                      <a:pt x="5" y="6"/>
                      <a:pt x="4" y="1"/>
                      <a:pt x="3" y="1"/>
                    </a:cubicBezTo>
                    <a:cubicBezTo>
                      <a:pt x="3" y="0"/>
                      <a:pt x="2" y="0"/>
                      <a:pt x="2" y="0"/>
                    </a:cubicBezTo>
                    <a:cubicBezTo>
                      <a:pt x="2" y="0"/>
                      <a:pt x="2"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Freeform 1137"/>
              <p:cNvSpPr/>
              <p:nvPr/>
            </p:nvSpPr>
            <p:spPr bwMode="auto">
              <a:xfrm>
                <a:off x="3551" y="1785"/>
                <a:ext cx="2" cy="0"/>
              </a:xfrm>
              <a:custGeom>
                <a:gdLst>
                  <a:gd name="T0" fmla="*/ 1 w 1"/>
                  <a:gd name="T1" fmla="*/ 0 w 1"/>
                  <a:gd name="T2" fmla="*/ 1 w 1"/>
                </a:gdLst>
                <a:cxnLst>
                  <a:cxn ang="0">
                    <a:pos x="T0" y="0"/>
                  </a:cxn>
                  <a:cxn ang="0">
                    <a:pos x="T1" y="0"/>
                  </a:cxn>
                  <a:cxn ang="0">
                    <a:pos x="T2" y="0"/>
                  </a:cxn>
                </a:cxnLst>
                <a:rect l="0" t="0" r="r" b="b"/>
                <a:pathLst>
                  <a:path w="1">
                    <a:moveTo>
                      <a:pt x="1" y="0"/>
                    </a:moveTo>
                    <a:cubicBezTo>
                      <a:pt x="1"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7" name="Freeform 1138"/>
              <p:cNvSpPr/>
              <p:nvPr/>
            </p:nvSpPr>
            <p:spPr bwMode="auto">
              <a:xfrm>
                <a:off x="3541" y="1740"/>
                <a:ext cx="3" cy="2"/>
              </a:xfrm>
              <a:custGeom>
                <a:gdLst>
                  <a:gd name="T0" fmla="*/ 0 w 1"/>
                  <a:gd name="T1" fmla="*/ 0 h 1"/>
                  <a:gd name="T2" fmla="*/ 0 w 1"/>
                  <a:gd name="T3" fmla="*/ 1 h 1"/>
                  <a:gd name="T4" fmla="*/ 1 w 1"/>
                  <a:gd name="T5" fmla="*/ 1 h 1"/>
                  <a:gd name="T6" fmla="*/ 1 w 1"/>
                  <a:gd name="T7" fmla="*/ 1 h 1"/>
                  <a:gd name="T8" fmla="*/ 0 w 1"/>
                  <a:gd name="T9" fmla="*/ 0 h 1"/>
                </a:gd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0" y="1"/>
                      <a:pt x="1" y="1"/>
                    </a:cubicBezTo>
                    <a:cubicBezTo>
                      <a:pt x="1" y="1"/>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Freeform 1139"/>
              <p:cNvSpPr/>
              <p:nvPr/>
            </p:nvSpPr>
            <p:spPr bwMode="auto">
              <a:xfrm>
                <a:off x="3496" y="1773"/>
                <a:ext cx="3" cy="0"/>
              </a:xfrm>
              <a:custGeom>
                <a:gdLst>
                  <a:gd name="T0" fmla="*/ 0 w 1"/>
                  <a:gd name="T1" fmla="*/ 1 w 1"/>
                  <a:gd name="T2" fmla="*/ 0 w 1"/>
                </a:gdLst>
                <a:cxnLst>
                  <a:cxn ang="0">
                    <a:pos x="T0" y="0"/>
                  </a:cxn>
                  <a:cxn ang="0">
                    <a:pos x="T1" y="0"/>
                  </a:cxn>
                  <a:cxn ang="0">
                    <a:pos x="T2" y="0"/>
                  </a:cxn>
                </a:cxnLst>
                <a:rect l="0" t="0" r="r" b="b"/>
                <a:pathLst>
                  <a:path w="1">
                    <a:moveTo>
                      <a:pt x="0" y="0"/>
                    </a:moveTo>
                    <a:cubicBezTo>
                      <a:pt x="0" y="0"/>
                      <a:pt x="0"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9" name="Freeform 1140"/>
              <p:cNvSpPr/>
              <p:nvPr/>
            </p:nvSpPr>
            <p:spPr bwMode="auto">
              <a:xfrm flipH="1">
                <a:off x="3997" y="438"/>
                <a:ext cx="0" cy="0"/>
              </a:xfrm>
              <a:custGeom>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Oval 1141"/>
              <p:cNvSpPr>
                <a:spLocks noChangeArrowheads="1"/>
              </p:cNvSpPr>
              <p:nvPr/>
            </p:nvSpPr>
            <p:spPr bwMode="auto">
              <a:xfrm>
                <a:off x="4080" y="530"/>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1" name="Freeform 1142"/>
              <p:cNvSpPr/>
              <p:nvPr/>
            </p:nvSpPr>
            <p:spPr bwMode="auto">
              <a:xfrm flipH="1">
                <a:off x="4090" y="535"/>
                <a:ext cx="0" cy="0"/>
              </a:xfrm>
              <a:custGeom>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Freeform 1143"/>
              <p:cNvSpPr>
                <a:spLocks noEditPoints="1"/>
              </p:cNvSpPr>
              <p:nvPr/>
            </p:nvSpPr>
            <p:spPr bwMode="auto">
              <a:xfrm flipH="1">
                <a:off x="4101" y="546"/>
                <a:ext cx="0" cy="0"/>
              </a:xfrm>
              <a:custGeom>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3" name="Freeform 1144"/>
              <p:cNvSpPr/>
              <p:nvPr/>
            </p:nvSpPr>
            <p:spPr bwMode="auto">
              <a:xfrm>
                <a:off x="6290" y="4288"/>
                <a:ext cx="7" cy="10"/>
              </a:xfrm>
              <a:custGeom>
                <a:gdLst>
                  <a:gd name="T0" fmla="*/ 1 w 3"/>
                  <a:gd name="T1" fmla="*/ 0 h 4"/>
                  <a:gd name="T2" fmla="*/ 0 w 3"/>
                  <a:gd name="T3" fmla="*/ 1 h 4"/>
                  <a:gd name="T4" fmla="*/ 0 w 3"/>
                  <a:gd name="T5" fmla="*/ 4 h 4"/>
                  <a:gd name="T6" fmla="*/ 1 w 3"/>
                  <a:gd name="T7" fmla="*/ 0 h 4"/>
                </a:gdLst>
                <a:cxnLst>
                  <a:cxn ang="0">
                    <a:pos x="T0" y="T1"/>
                  </a:cxn>
                  <a:cxn ang="0">
                    <a:pos x="T2" y="T3"/>
                  </a:cxn>
                  <a:cxn ang="0">
                    <a:pos x="T4" y="T5"/>
                  </a:cxn>
                  <a:cxn ang="0">
                    <a:pos x="T6" y="T7"/>
                  </a:cxn>
                </a:cxnLst>
                <a:rect l="0" t="0" r="r" b="b"/>
                <a:pathLst>
                  <a:path w="3" h="4">
                    <a:moveTo>
                      <a:pt x="1" y="0"/>
                    </a:moveTo>
                    <a:cubicBezTo>
                      <a:pt x="1" y="0"/>
                      <a:pt x="1" y="0"/>
                      <a:pt x="0" y="1"/>
                    </a:cubicBezTo>
                    <a:cubicBezTo>
                      <a:pt x="0" y="2"/>
                      <a:pt x="1" y="3"/>
                      <a:pt x="0" y="4"/>
                    </a:cubicBezTo>
                    <a:cubicBezTo>
                      <a:pt x="2"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1145"/>
              <p:cNvSpPr/>
              <p:nvPr/>
            </p:nvSpPr>
            <p:spPr bwMode="auto">
              <a:xfrm>
                <a:off x="6247" y="4246"/>
                <a:ext cx="47" cy="33"/>
              </a:xfrm>
              <a:custGeom>
                <a:gdLst>
                  <a:gd name="T0" fmla="*/ 9 w 20"/>
                  <a:gd name="T1" fmla="*/ 0 h 14"/>
                  <a:gd name="T2" fmla="*/ 4 w 20"/>
                  <a:gd name="T3" fmla="*/ 2 h 14"/>
                  <a:gd name="T4" fmla="*/ 3 w 20"/>
                  <a:gd name="T5" fmla="*/ 2 h 14"/>
                  <a:gd name="T6" fmla="*/ 3 w 20"/>
                  <a:gd name="T7" fmla="*/ 2 h 14"/>
                  <a:gd name="T8" fmla="*/ 2 w 20"/>
                  <a:gd name="T9" fmla="*/ 2 h 14"/>
                  <a:gd name="T10" fmla="*/ 0 w 20"/>
                  <a:gd name="T11" fmla="*/ 4 h 14"/>
                  <a:gd name="T12" fmla="*/ 2 w 20"/>
                  <a:gd name="T13" fmla="*/ 4 h 14"/>
                  <a:gd name="T14" fmla="*/ 5 w 20"/>
                  <a:gd name="T15" fmla="*/ 4 h 14"/>
                  <a:gd name="T16" fmla="*/ 6 w 20"/>
                  <a:gd name="T17" fmla="*/ 3 h 14"/>
                  <a:gd name="T18" fmla="*/ 7 w 20"/>
                  <a:gd name="T19" fmla="*/ 3 h 14"/>
                  <a:gd name="T20" fmla="*/ 8 w 20"/>
                  <a:gd name="T21" fmla="*/ 4 h 14"/>
                  <a:gd name="T22" fmla="*/ 7 w 20"/>
                  <a:gd name="T23" fmla="*/ 9 h 14"/>
                  <a:gd name="T24" fmla="*/ 8 w 20"/>
                  <a:gd name="T25" fmla="*/ 14 h 14"/>
                  <a:gd name="T26" fmla="*/ 10 w 20"/>
                  <a:gd name="T27" fmla="*/ 14 h 14"/>
                  <a:gd name="T28" fmla="*/ 16 w 20"/>
                  <a:gd name="T29" fmla="*/ 12 h 14"/>
                  <a:gd name="T30" fmla="*/ 14 w 20"/>
                  <a:gd name="T31" fmla="*/ 10 h 14"/>
                  <a:gd name="T32" fmla="*/ 13 w 20"/>
                  <a:gd name="T33" fmla="*/ 3 h 14"/>
                  <a:gd name="T34" fmla="*/ 13 w 20"/>
                  <a:gd name="T35" fmla="*/ 3 h 14"/>
                  <a:gd name="T36" fmla="*/ 10 w 20"/>
                  <a:gd name="T37" fmla="*/ 2 h 14"/>
                  <a:gd name="T38" fmla="*/ 11 w 20"/>
                  <a:gd name="T39" fmla="*/ 1 h 14"/>
                  <a:gd name="T40" fmla="*/ 12 w 20"/>
                  <a:gd name="T41" fmla="*/ 1 h 14"/>
                  <a:gd name="T42" fmla="*/ 13 w 20"/>
                  <a:gd name="T43" fmla="*/ 1 h 14"/>
                  <a:gd name="T44" fmla="*/ 17 w 20"/>
                  <a:gd name="T45" fmla="*/ 2 h 14"/>
                  <a:gd name="T46" fmla="*/ 20 w 20"/>
                  <a:gd name="T47" fmla="*/ 1 h 14"/>
                  <a:gd name="T48" fmla="*/ 19 w 20"/>
                  <a:gd name="T49" fmla="*/ 1 h 14"/>
                  <a:gd name="T50" fmla="*/ 13 w 20"/>
                  <a:gd name="T51" fmla="*/ 0 h 14"/>
                  <a:gd name="T52" fmla="*/ 9 w 20"/>
                  <a:gd name="T53" fmla="*/ 0 h 14"/>
                  <a:gd name="T54" fmla="*/ 9 w 20"/>
                  <a:gd name="T55"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9" y="0"/>
                    </a:moveTo>
                    <a:cubicBezTo>
                      <a:pt x="7" y="0"/>
                      <a:pt x="6" y="0"/>
                      <a:pt x="4" y="2"/>
                    </a:cubicBezTo>
                    <a:cubicBezTo>
                      <a:pt x="4" y="2"/>
                      <a:pt x="3" y="2"/>
                      <a:pt x="3" y="2"/>
                    </a:cubicBezTo>
                    <a:cubicBezTo>
                      <a:pt x="3" y="2"/>
                      <a:pt x="3" y="2"/>
                      <a:pt x="3" y="2"/>
                    </a:cubicBezTo>
                    <a:cubicBezTo>
                      <a:pt x="2" y="2"/>
                      <a:pt x="2" y="2"/>
                      <a:pt x="2" y="2"/>
                    </a:cubicBezTo>
                    <a:cubicBezTo>
                      <a:pt x="2" y="2"/>
                      <a:pt x="1" y="2"/>
                      <a:pt x="0" y="4"/>
                    </a:cubicBezTo>
                    <a:cubicBezTo>
                      <a:pt x="0" y="4"/>
                      <a:pt x="1" y="4"/>
                      <a:pt x="2" y="4"/>
                    </a:cubicBezTo>
                    <a:cubicBezTo>
                      <a:pt x="3" y="4"/>
                      <a:pt x="4" y="4"/>
                      <a:pt x="5" y="4"/>
                    </a:cubicBezTo>
                    <a:cubicBezTo>
                      <a:pt x="5" y="3"/>
                      <a:pt x="6" y="3"/>
                      <a:pt x="6" y="3"/>
                    </a:cubicBezTo>
                    <a:cubicBezTo>
                      <a:pt x="7" y="3"/>
                      <a:pt x="7" y="3"/>
                      <a:pt x="7" y="3"/>
                    </a:cubicBezTo>
                    <a:cubicBezTo>
                      <a:pt x="8" y="3"/>
                      <a:pt x="8" y="4"/>
                      <a:pt x="8" y="4"/>
                    </a:cubicBezTo>
                    <a:cubicBezTo>
                      <a:pt x="9" y="5"/>
                      <a:pt x="8" y="7"/>
                      <a:pt x="7" y="9"/>
                    </a:cubicBezTo>
                    <a:cubicBezTo>
                      <a:pt x="7" y="13"/>
                      <a:pt x="7" y="14"/>
                      <a:pt x="8" y="14"/>
                    </a:cubicBezTo>
                    <a:cubicBezTo>
                      <a:pt x="9" y="14"/>
                      <a:pt x="10" y="14"/>
                      <a:pt x="10" y="14"/>
                    </a:cubicBezTo>
                    <a:cubicBezTo>
                      <a:pt x="12" y="13"/>
                      <a:pt x="14" y="12"/>
                      <a:pt x="16" y="12"/>
                    </a:cubicBezTo>
                    <a:cubicBezTo>
                      <a:pt x="16" y="11"/>
                      <a:pt x="15" y="11"/>
                      <a:pt x="14" y="10"/>
                    </a:cubicBezTo>
                    <a:cubicBezTo>
                      <a:pt x="12" y="7"/>
                      <a:pt x="9" y="4"/>
                      <a:pt x="13" y="3"/>
                    </a:cubicBezTo>
                    <a:cubicBezTo>
                      <a:pt x="13" y="3"/>
                      <a:pt x="13" y="3"/>
                      <a:pt x="13" y="3"/>
                    </a:cubicBezTo>
                    <a:cubicBezTo>
                      <a:pt x="11" y="3"/>
                      <a:pt x="11" y="3"/>
                      <a:pt x="10" y="2"/>
                    </a:cubicBezTo>
                    <a:cubicBezTo>
                      <a:pt x="11" y="1"/>
                      <a:pt x="11" y="1"/>
                      <a:pt x="11" y="1"/>
                    </a:cubicBezTo>
                    <a:cubicBezTo>
                      <a:pt x="12" y="1"/>
                      <a:pt x="12" y="1"/>
                      <a:pt x="12" y="1"/>
                    </a:cubicBezTo>
                    <a:cubicBezTo>
                      <a:pt x="12" y="1"/>
                      <a:pt x="13" y="1"/>
                      <a:pt x="13" y="1"/>
                    </a:cubicBezTo>
                    <a:cubicBezTo>
                      <a:pt x="14" y="1"/>
                      <a:pt x="16" y="2"/>
                      <a:pt x="17" y="2"/>
                    </a:cubicBezTo>
                    <a:cubicBezTo>
                      <a:pt x="18" y="2"/>
                      <a:pt x="19" y="2"/>
                      <a:pt x="20" y="1"/>
                    </a:cubicBezTo>
                    <a:cubicBezTo>
                      <a:pt x="19" y="1"/>
                      <a:pt x="19" y="1"/>
                      <a:pt x="19" y="1"/>
                    </a:cubicBezTo>
                    <a:cubicBezTo>
                      <a:pt x="16" y="1"/>
                      <a:pt x="14" y="0"/>
                      <a:pt x="13" y="0"/>
                    </a:cubicBezTo>
                    <a:cubicBezTo>
                      <a:pt x="11" y="0"/>
                      <a:pt x="10"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5" name="Freeform 1146"/>
              <p:cNvSpPr/>
              <p:nvPr/>
            </p:nvSpPr>
            <p:spPr bwMode="auto">
              <a:xfrm>
                <a:off x="6101" y="2229"/>
                <a:ext cx="4" cy="7"/>
              </a:xfrm>
              <a:custGeom>
                <a:gdLst>
                  <a:gd name="T0" fmla="*/ 0 w 2"/>
                  <a:gd name="T1" fmla="*/ 0 h 3"/>
                  <a:gd name="T2" fmla="*/ 2 w 2"/>
                  <a:gd name="T3" fmla="*/ 3 h 3"/>
                  <a:gd name="T4" fmla="*/ 0 w 2"/>
                  <a:gd name="T5" fmla="*/ 0 h 3"/>
                </a:gdLst>
                <a:cxnLst>
                  <a:cxn ang="0">
                    <a:pos x="T0" y="T1"/>
                  </a:cxn>
                  <a:cxn ang="0">
                    <a:pos x="T2" y="T3"/>
                  </a:cxn>
                  <a:cxn ang="0">
                    <a:pos x="T4" y="T5"/>
                  </a:cxn>
                </a:cxnLst>
                <a:rect l="0" t="0" r="r" b="b"/>
                <a:pathLst>
                  <a:path w="2" h="3">
                    <a:moveTo>
                      <a:pt x="0" y="0"/>
                    </a:moveTo>
                    <a:cubicBezTo>
                      <a:pt x="1" y="1"/>
                      <a:pt x="1" y="2"/>
                      <a:pt x="2" y="3"/>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Freeform 1147"/>
              <p:cNvSpPr/>
              <p:nvPr/>
            </p:nvSpPr>
            <p:spPr bwMode="auto">
              <a:xfrm>
                <a:off x="6025" y="2199"/>
                <a:ext cx="21" cy="16"/>
              </a:xfrm>
              <a:custGeom>
                <a:gdLst>
                  <a:gd name="T0" fmla="*/ 7 w 9"/>
                  <a:gd name="T1" fmla="*/ 0 h 7"/>
                  <a:gd name="T2" fmla="*/ 5 w 9"/>
                  <a:gd name="T3" fmla="*/ 1 h 7"/>
                  <a:gd name="T4" fmla="*/ 4 w 9"/>
                  <a:gd name="T5" fmla="*/ 3 h 7"/>
                  <a:gd name="T6" fmla="*/ 4 w 9"/>
                  <a:gd name="T7" fmla="*/ 2 h 7"/>
                  <a:gd name="T8" fmla="*/ 0 w 9"/>
                  <a:gd name="T9" fmla="*/ 7 h 7"/>
                  <a:gd name="T10" fmla="*/ 3 w 9"/>
                  <a:gd name="T11" fmla="*/ 7 h 7"/>
                  <a:gd name="T12" fmla="*/ 4 w 9"/>
                  <a:gd name="T13" fmla="*/ 7 h 7"/>
                  <a:gd name="T14" fmla="*/ 4 w 9"/>
                  <a:gd name="T15" fmla="*/ 7 h 7"/>
                  <a:gd name="T16" fmla="*/ 9 w 9"/>
                  <a:gd name="T17" fmla="*/ 1 h 7"/>
                  <a:gd name="T18" fmla="*/ 7 w 9"/>
                  <a:gd name="T19"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7" y="0"/>
                    </a:moveTo>
                    <a:cubicBezTo>
                      <a:pt x="6" y="0"/>
                      <a:pt x="5" y="0"/>
                      <a:pt x="5" y="1"/>
                    </a:cubicBezTo>
                    <a:cubicBezTo>
                      <a:pt x="4" y="1"/>
                      <a:pt x="4" y="2"/>
                      <a:pt x="4" y="3"/>
                    </a:cubicBezTo>
                    <a:cubicBezTo>
                      <a:pt x="4" y="2"/>
                      <a:pt x="4" y="2"/>
                      <a:pt x="4" y="2"/>
                    </a:cubicBezTo>
                    <a:cubicBezTo>
                      <a:pt x="3" y="3"/>
                      <a:pt x="1" y="5"/>
                      <a:pt x="0" y="7"/>
                    </a:cubicBezTo>
                    <a:cubicBezTo>
                      <a:pt x="1" y="7"/>
                      <a:pt x="2" y="7"/>
                      <a:pt x="3" y="7"/>
                    </a:cubicBezTo>
                    <a:cubicBezTo>
                      <a:pt x="3" y="7"/>
                      <a:pt x="3" y="7"/>
                      <a:pt x="4" y="7"/>
                    </a:cubicBezTo>
                    <a:cubicBezTo>
                      <a:pt x="4" y="7"/>
                      <a:pt x="4" y="7"/>
                      <a:pt x="4" y="7"/>
                    </a:cubicBezTo>
                    <a:cubicBezTo>
                      <a:pt x="4" y="6"/>
                      <a:pt x="9" y="2"/>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7" name="Freeform 1148"/>
              <p:cNvSpPr/>
              <p:nvPr/>
            </p:nvSpPr>
            <p:spPr bwMode="auto">
              <a:xfrm>
                <a:off x="5061" y="1773"/>
                <a:ext cx="23" cy="12"/>
              </a:xfrm>
              <a:custGeom>
                <a:gdLst>
                  <a:gd name="T0" fmla="*/ 5 w 10"/>
                  <a:gd name="T1" fmla="*/ 0 h 5"/>
                  <a:gd name="T2" fmla="*/ 4 w 10"/>
                  <a:gd name="T3" fmla="*/ 0 h 5"/>
                  <a:gd name="T4" fmla="*/ 0 w 10"/>
                  <a:gd name="T5" fmla="*/ 5 h 5"/>
                  <a:gd name="T6" fmla="*/ 4 w 10"/>
                  <a:gd name="T7" fmla="*/ 3 h 5"/>
                  <a:gd name="T8" fmla="*/ 5 w 10"/>
                  <a:gd name="T9" fmla="*/ 4 h 5"/>
                  <a:gd name="T10" fmla="*/ 5 w 10"/>
                  <a:gd name="T11" fmla="*/ 3 h 5"/>
                  <a:gd name="T12" fmla="*/ 7 w 10"/>
                  <a:gd name="T13" fmla="*/ 4 h 5"/>
                  <a:gd name="T14" fmla="*/ 9 w 10"/>
                  <a:gd name="T15" fmla="*/ 3 h 5"/>
                  <a:gd name="T16" fmla="*/ 10 w 10"/>
                  <a:gd name="T17" fmla="*/ 1 h 5"/>
                  <a:gd name="T18" fmla="*/ 5 w 10"/>
                  <a:gd name="T19"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5">
                    <a:moveTo>
                      <a:pt x="5" y="0"/>
                    </a:moveTo>
                    <a:cubicBezTo>
                      <a:pt x="4" y="0"/>
                      <a:pt x="4" y="0"/>
                      <a:pt x="4" y="0"/>
                    </a:cubicBezTo>
                    <a:cubicBezTo>
                      <a:pt x="2" y="0"/>
                      <a:pt x="1" y="1"/>
                      <a:pt x="0" y="5"/>
                    </a:cubicBezTo>
                    <a:cubicBezTo>
                      <a:pt x="2" y="5"/>
                      <a:pt x="3" y="3"/>
                      <a:pt x="4" y="3"/>
                    </a:cubicBezTo>
                    <a:cubicBezTo>
                      <a:pt x="4" y="3"/>
                      <a:pt x="5" y="3"/>
                      <a:pt x="5" y="4"/>
                    </a:cubicBezTo>
                    <a:cubicBezTo>
                      <a:pt x="5" y="3"/>
                      <a:pt x="5" y="3"/>
                      <a:pt x="5" y="3"/>
                    </a:cubicBezTo>
                    <a:cubicBezTo>
                      <a:pt x="6" y="3"/>
                      <a:pt x="6" y="4"/>
                      <a:pt x="7" y="4"/>
                    </a:cubicBezTo>
                    <a:cubicBezTo>
                      <a:pt x="7" y="4"/>
                      <a:pt x="8" y="3"/>
                      <a:pt x="9" y="3"/>
                    </a:cubicBezTo>
                    <a:cubicBezTo>
                      <a:pt x="9" y="2"/>
                      <a:pt x="9" y="1"/>
                      <a:pt x="10"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Freeform 1149"/>
              <p:cNvSpPr/>
              <p:nvPr/>
            </p:nvSpPr>
            <p:spPr bwMode="auto">
              <a:xfrm>
                <a:off x="5129" y="1839"/>
                <a:ext cx="12" cy="7"/>
              </a:xfrm>
              <a:custGeom>
                <a:gdLst>
                  <a:gd name="T0" fmla="*/ 1 w 5"/>
                  <a:gd name="T1" fmla="*/ 0 h 3"/>
                  <a:gd name="T2" fmla="*/ 0 w 5"/>
                  <a:gd name="T3" fmla="*/ 0 h 3"/>
                  <a:gd name="T4" fmla="*/ 0 w 5"/>
                  <a:gd name="T5" fmla="*/ 0 h 3"/>
                  <a:gd name="T6" fmla="*/ 0 w 5"/>
                  <a:gd name="T7" fmla="*/ 0 h 3"/>
                  <a:gd name="T8" fmla="*/ 1 w 5"/>
                  <a:gd name="T9" fmla="*/ 3 h 3"/>
                  <a:gd name="T10" fmla="*/ 2 w 5"/>
                  <a:gd name="T11" fmla="*/ 3 h 3"/>
                  <a:gd name="T12" fmla="*/ 5 w 5"/>
                  <a:gd name="T13" fmla="*/ 3 h 3"/>
                  <a:gd name="T14" fmla="*/ 1 w 5"/>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1" y="0"/>
                    </a:moveTo>
                    <a:cubicBezTo>
                      <a:pt x="1" y="0"/>
                      <a:pt x="0" y="0"/>
                      <a:pt x="0" y="0"/>
                    </a:cubicBezTo>
                    <a:cubicBezTo>
                      <a:pt x="0" y="0"/>
                      <a:pt x="0" y="0"/>
                      <a:pt x="0" y="0"/>
                    </a:cubicBezTo>
                    <a:cubicBezTo>
                      <a:pt x="0" y="0"/>
                      <a:pt x="0" y="0"/>
                      <a:pt x="0" y="0"/>
                    </a:cubicBezTo>
                    <a:cubicBezTo>
                      <a:pt x="0" y="1"/>
                      <a:pt x="1" y="2"/>
                      <a:pt x="1" y="3"/>
                    </a:cubicBezTo>
                    <a:cubicBezTo>
                      <a:pt x="2" y="3"/>
                      <a:pt x="2" y="3"/>
                      <a:pt x="2" y="3"/>
                    </a:cubicBezTo>
                    <a:cubicBezTo>
                      <a:pt x="3" y="3"/>
                      <a:pt x="4" y="3"/>
                      <a:pt x="5" y="3"/>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Freeform 1150"/>
              <p:cNvSpPr/>
              <p:nvPr/>
            </p:nvSpPr>
            <p:spPr bwMode="auto">
              <a:xfrm>
                <a:off x="795" y="943"/>
                <a:ext cx="22" cy="5"/>
              </a:xfrm>
              <a:custGeom>
                <a:gdLst>
                  <a:gd name="T0" fmla="*/ 7 w 9"/>
                  <a:gd name="T1" fmla="*/ 0 h 2"/>
                  <a:gd name="T2" fmla="*/ 0 w 9"/>
                  <a:gd name="T3" fmla="*/ 2 h 2"/>
                  <a:gd name="T4" fmla="*/ 9 w 9"/>
                  <a:gd name="T5" fmla="*/ 1 h 2"/>
                  <a:gd name="T6" fmla="*/ 7 w 9"/>
                  <a:gd name="T7" fmla="*/ 0 h 2"/>
                </a:gdLst>
                <a:cxnLst>
                  <a:cxn ang="0">
                    <a:pos x="T0" y="T1"/>
                  </a:cxn>
                  <a:cxn ang="0">
                    <a:pos x="T2" y="T3"/>
                  </a:cxn>
                  <a:cxn ang="0">
                    <a:pos x="T4" y="T5"/>
                  </a:cxn>
                  <a:cxn ang="0">
                    <a:pos x="T6" y="T7"/>
                  </a:cxn>
                </a:cxnLst>
                <a:rect l="0" t="0" r="r" b="b"/>
                <a:pathLst>
                  <a:path w="9" h="2">
                    <a:moveTo>
                      <a:pt x="7" y="0"/>
                    </a:moveTo>
                    <a:cubicBezTo>
                      <a:pt x="5" y="0"/>
                      <a:pt x="1" y="0"/>
                      <a:pt x="0" y="2"/>
                    </a:cubicBezTo>
                    <a:cubicBezTo>
                      <a:pt x="3" y="2"/>
                      <a:pt x="6" y="1"/>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Freeform 1151"/>
              <p:cNvSpPr>
                <a:spLocks noEditPoints="1"/>
              </p:cNvSpPr>
              <p:nvPr/>
            </p:nvSpPr>
            <p:spPr bwMode="auto">
              <a:xfrm>
                <a:off x="2175" y="338"/>
                <a:ext cx="60" cy="43"/>
              </a:xfrm>
              <a:custGeom>
                <a:gdLst>
                  <a:gd name="T0" fmla="*/ 2 w 25"/>
                  <a:gd name="T1" fmla="*/ 15 h 18"/>
                  <a:gd name="T2" fmla="*/ 2 w 25"/>
                  <a:gd name="T3" fmla="*/ 15 h 18"/>
                  <a:gd name="T4" fmla="*/ 2 w 25"/>
                  <a:gd name="T5" fmla="*/ 15 h 18"/>
                  <a:gd name="T6" fmla="*/ 1 w 25"/>
                  <a:gd name="T7" fmla="*/ 12 h 18"/>
                  <a:gd name="T8" fmla="*/ 1 w 25"/>
                  <a:gd name="T9" fmla="*/ 12 h 18"/>
                  <a:gd name="T10" fmla="*/ 1 w 25"/>
                  <a:gd name="T11" fmla="*/ 12 h 18"/>
                  <a:gd name="T12" fmla="*/ 14 w 25"/>
                  <a:gd name="T13" fmla="*/ 0 h 18"/>
                  <a:gd name="T14" fmla="*/ 8 w 25"/>
                  <a:gd name="T15" fmla="*/ 5 h 18"/>
                  <a:gd name="T16" fmla="*/ 1 w 25"/>
                  <a:gd name="T17" fmla="*/ 12 h 18"/>
                  <a:gd name="T18" fmla="*/ 1 w 25"/>
                  <a:gd name="T19" fmla="*/ 12 h 18"/>
                  <a:gd name="T20" fmla="*/ 2 w 25"/>
                  <a:gd name="T21" fmla="*/ 14 h 18"/>
                  <a:gd name="T22" fmla="*/ 2 w 25"/>
                  <a:gd name="T23" fmla="*/ 15 h 18"/>
                  <a:gd name="T24" fmla="*/ 2 w 25"/>
                  <a:gd name="T25" fmla="*/ 15 h 18"/>
                  <a:gd name="T26" fmla="*/ 9 w 25"/>
                  <a:gd name="T27" fmla="*/ 18 h 18"/>
                  <a:gd name="T28" fmla="*/ 22 w 25"/>
                  <a:gd name="T29" fmla="*/ 13 h 18"/>
                  <a:gd name="T30" fmla="*/ 24 w 25"/>
                  <a:gd name="T31" fmla="*/ 11 h 18"/>
                  <a:gd name="T32" fmla="*/ 23 w 25"/>
                  <a:gd name="T33" fmla="*/ 10 h 18"/>
                  <a:gd name="T34" fmla="*/ 23 w 25"/>
                  <a:gd name="T35" fmla="*/ 9 h 18"/>
                  <a:gd name="T36" fmla="*/ 22 w 25"/>
                  <a:gd name="T37" fmla="*/ 4 h 18"/>
                  <a:gd name="T38" fmla="*/ 15 w 25"/>
                  <a:gd name="T39" fmla="*/ 0 h 18"/>
                  <a:gd name="T40" fmla="*/ 14 w 25"/>
                  <a:gd name="T41"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8">
                    <a:moveTo>
                      <a:pt x="2" y="15"/>
                    </a:moveTo>
                    <a:cubicBezTo>
                      <a:pt x="2" y="15"/>
                      <a:pt x="2" y="15"/>
                      <a:pt x="2" y="15"/>
                    </a:cubicBezTo>
                    <a:cubicBezTo>
                      <a:pt x="2" y="15"/>
                      <a:pt x="2" y="15"/>
                      <a:pt x="2" y="15"/>
                    </a:cubicBezTo>
                    <a:moveTo>
                      <a:pt x="1" y="12"/>
                    </a:moveTo>
                    <a:cubicBezTo>
                      <a:pt x="1" y="12"/>
                      <a:pt x="1" y="12"/>
                      <a:pt x="1" y="12"/>
                    </a:cubicBezTo>
                    <a:cubicBezTo>
                      <a:pt x="1" y="12"/>
                      <a:pt x="1" y="12"/>
                      <a:pt x="1" y="12"/>
                    </a:cubicBezTo>
                    <a:moveTo>
                      <a:pt x="14" y="0"/>
                    </a:moveTo>
                    <a:cubicBezTo>
                      <a:pt x="11" y="0"/>
                      <a:pt x="10" y="3"/>
                      <a:pt x="8" y="5"/>
                    </a:cubicBezTo>
                    <a:cubicBezTo>
                      <a:pt x="6" y="7"/>
                      <a:pt x="0" y="8"/>
                      <a:pt x="1" y="12"/>
                    </a:cubicBezTo>
                    <a:cubicBezTo>
                      <a:pt x="1" y="12"/>
                      <a:pt x="1" y="12"/>
                      <a:pt x="1" y="12"/>
                    </a:cubicBezTo>
                    <a:cubicBezTo>
                      <a:pt x="1" y="12"/>
                      <a:pt x="1" y="13"/>
                      <a:pt x="2" y="14"/>
                    </a:cubicBezTo>
                    <a:cubicBezTo>
                      <a:pt x="2" y="14"/>
                      <a:pt x="3" y="15"/>
                      <a:pt x="2" y="15"/>
                    </a:cubicBezTo>
                    <a:cubicBezTo>
                      <a:pt x="2" y="15"/>
                      <a:pt x="2" y="15"/>
                      <a:pt x="2" y="15"/>
                    </a:cubicBezTo>
                    <a:cubicBezTo>
                      <a:pt x="4" y="17"/>
                      <a:pt x="6" y="17"/>
                      <a:pt x="9" y="18"/>
                    </a:cubicBezTo>
                    <a:cubicBezTo>
                      <a:pt x="13" y="16"/>
                      <a:pt x="19" y="16"/>
                      <a:pt x="22" y="13"/>
                    </a:cubicBezTo>
                    <a:cubicBezTo>
                      <a:pt x="25" y="12"/>
                      <a:pt x="23" y="13"/>
                      <a:pt x="24" y="11"/>
                    </a:cubicBezTo>
                    <a:cubicBezTo>
                      <a:pt x="23" y="10"/>
                      <a:pt x="23" y="10"/>
                      <a:pt x="23" y="10"/>
                    </a:cubicBezTo>
                    <a:cubicBezTo>
                      <a:pt x="23" y="9"/>
                      <a:pt x="23" y="9"/>
                      <a:pt x="23" y="9"/>
                    </a:cubicBezTo>
                    <a:cubicBezTo>
                      <a:pt x="23" y="7"/>
                      <a:pt x="23" y="5"/>
                      <a:pt x="22" y="4"/>
                    </a:cubicBezTo>
                    <a:cubicBezTo>
                      <a:pt x="22" y="3"/>
                      <a:pt x="17" y="1"/>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1" name="Freeform 1152"/>
              <p:cNvSpPr/>
              <p:nvPr/>
            </p:nvSpPr>
            <p:spPr bwMode="auto">
              <a:xfrm>
                <a:off x="2209" y="171"/>
                <a:ext cx="96" cy="106"/>
              </a:xfrm>
              <a:custGeom>
                <a:gdLst>
                  <a:gd name="T0" fmla="*/ 23 w 41"/>
                  <a:gd name="T1" fmla="*/ 0 h 45"/>
                  <a:gd name="T2" fmla="*/ 18 w 41"/>
                  <a:gd name="T3" fmla="*/ 1 h 45"/>
                  <a:gd name="T4" fmla="*/ 0 w 41"/>
                  <a:gd name="T5" fmla="*/ 1 h 45"/>
                  <a:gd name="T6" fmla="*/ 11 w 41"/>
                  <a:gd name="T7" fmla="*/ 15 h 45"/>
                  <a:gd name="T8" fmla="*/ 23 w 41"/>
                  <a:gd name="T9" fmla="*/ 26 h 45"/>
                  <a:gd name="T10" fmla="*/ 22 w 41"/>
                  <a:gd name="T11" fmla="*/ 29 h 45"/>
                  <a:gd name="T12" fmla="*/ 23 w 41"/>
                  <a:gd name="T13" fmla="*/ 37 h 45"/>
                  <a:gd name="T14" fmla="*/ 28 w 41"/>
                  <a:gd name="T15" fmla="*/ 44 h 45"/>
                  <a:gd name="T16" fmla="*/ 29 w 41"/>
                  <a:gd name="T17" fmla="*/ 44 h 45"/>
                  <a:gd name="T18" fmla="*/ 30 w 41"/>
                  <a:gd name="T19" fmla="*/ 44 h 45"/>
                  <a:gd name="T20" fmla="*/ 31 w 41"/>
                  <a:gd name="T21" fmla="*/ 44 h 45"/>
                  <a:gd name="T22" fmla="*/ 32 w 41"/>
                  <a:gd name="T23" fmla="*/ 44 h 45"/>
                  <a:gd name="T24" fmla="*/ 37 w 41"/>
                  <a:gd name="T25" fmla="*/ 45 h 45"/>
                  <a:gd name="T26" fmla="*/ 37 w 41"/>
                  <a:gd name="T27" fmla="*/ 43 h 45"/>
                  <a:gd name="T28" fmla="*/ 38 w 41"/>
                  <a:gd name="T29" fmla="*/ 43 h 45"/>
                  <a:gd name="T30" fmla="*/ 39 w 41"/>
                  <a:gd name="T31" fmla="*/ 43 h 45"/>
                  <a:gd name="T32" fmla="*/ 41 w 41"/>
                  <a:gd name="T33" fmla="*/ 43 h 45"/>
                  <a:gd name="T34" fmla="*/ 37 w 41"/>
                  <a:gd name="T35" fmla="*/ 41 h 45"/>
                  <a:gd name="T36" fmla="*/ 40 w 41"/>
                  <a:gd name="T37" fmla="*/ 37 h 45"/>
                  <a:gd name="T38" fmla="*/ 38 w 41"/>
                  <a:gd name="T39" fmla="*/ 24 h 45"/>
                  <a:gd name="T40" fmla="*/ 37 w 41"/>
                  <a:gd name="T41" fmla="*/ 12 h 45"/>
                  <a:gd name="T42" fmla="*/ 37 w 41"/>
                  <a:gd name="T43" fmla="*/ 12 h 45"/>
                  <a:gd name="T44" fmla="*/ 33 w 41"/>
                  <a:gd name="T45" fmla="*/ 10 h 45"/>
                  <a:gd name="T46" fmla="*/ 31 w 41"/>
                  <a:gd name="T47" fmla="*/ 6 h 45"/>
                  <a:gd name="T48" fmla="*/ 32 w 41"/>
                  <a:gd name="T49" fmla="*/ 6 h 45"/>
                  <a:gd name="T50" fmla="*/ 27 w 41"/>
                  <a:gd name="T51" fmla="*/ 1 h 45"/>
                  <a:gd name="T52" fmla="*/ 23 w 41"/>
                  <a:gd name="T53" fmla="*/ 0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45">
                    <a:moveTo>
                      <a:pt x="23" y="0"/>
                    </a:moveTo>
                    <a:cubicBezTo>
                      <a:pt x="21" y="0"/>
                      <a:pt x="19" y="1"/>
                      <a:pt x="18" y="1"/>
                    </a:cubicBezTo>
                    <a:cubicBezTo>
                      <a:pt x="12" y="1"/>
                      <a:pt x="6" y="1"/>
                      <a:pt x="0" y="1"/>
                    </a:cubicBezTo>
                    <a:cubicBezTo>
                      <a:pt x="3" y="9"/>
                      <a:pt x="4" y="10"/>
                      <a:pt x="11" y="15"/>
                    </a:cubicBezTo>
                    <a:cubicBezTo>
                      <a:pt x="14" y="18"/>
                      <a:pt x="20" y="22"/>
                      <a:pt x="23" y="26"/>
                    </a:cubicBezTo>
                    <a:cubicBezTo>
                      <a:pt x="21" y="26"/>
                      <a:pt x="22" y="27"/>
                      <a:pt x="22" y="29"/>
                    </a:cubicBezTo>
                    <a:cubicBezTo>
                      <a:pt x="21" y="31"/>
                      <a:pt x="21" y="34"/>
                      <a:pt x="23" y="37"/>
                    </a:cubicBezTo>
                    <a:cubicBezTo>
                      <a:pt x="25" y="39"/>
                      <a:pt x="26" y="42"/>
                      <a:pt x="28" y="44"/>
                    </a:cubicBezTo>
                    <a:cubicBezTo>
                      <a:pt x="28" y="44"/>
                      <a:pt x="29" y="44"/>
                      <a:pt x="29" y="44"/>
                    </a:cubicBezTo>
                    <a:cubicBezTo>
                      <a:pt x="29" y="44"/>
                      <a:pt x="30" y="44"/>
                      <a:pt x="30" y="44"/>
                    </a:cubicBezTo>
                    <a:cubicBezTo>
                      <a:pt x="31" y="44"/>
                      <a:pt x="31" y="44"/>
                      <a:pt x="31" y="44"/>
                    </a:cubicBezTo>
                    <a:cubicBezTo>
                      <a:pt x="31" y="44"/>
                      <a:pt x="31" y="44"/>
                      <a:pt x="32" y="44"/>
                    </a:cubicBezTo>
                    <a:cubicBezTo>
                      <a:pt x="33" y="44"/>
                      <a:pt x="36" y="44"/>
                      <a:pt x="37" y="45"/>
                    </a:cubicBezTo>
                    <a:cubicBezTo>
                      <a:pt x="37" y="43"/>
                      <a:pt x="37" y="43"/>
                      <a:pt x="37" y="43"/>
                    </a:cubicBezTo>
                    <a:cubicBezTo>
                      <a:pt x="38" y="43"/>
                      <a:pt x="38" y="43"/>
                      <a:pt x="38" y="43"/>
                    </a:cubicBezTo>
                    <a:cubicBezTo>
                      <a:pt x="39" y="43"/>
                      <a:pt x="39" y="43"/>
                      <a:pt x="39" y="43"/>
                    </a:cubicBezTo>
                    <a:cubicBezTo>
                      <a:pt x="40" y="43"/>
                      <a:pt x="40" y="43"/>
                      <a:pt x="41" y="43"/>
                    </a:cubicBezTo>
                    <a:cubicBezTo>
                      <a:pt x="39" y="42"/>
                      <a:pt x="39" y="42"/>
                      <a:pt x="37" y="41"/>
                    </a:cubicBezTo>
                    <a:cubicBezTo>
                      <a:pt x="38" y="40"/>
                      <a:pt x="40" y="39"/>
                      <a:pt x="40" y="37"/>
                    </a:cubicBezTo>
                    <a:cubicBezTo>
                      <a:pt x="41" y="34"/>
                      <a:pt x="39" y="27"/>
                      <a:pt x="38" y="24"/>
                    </a:cubicBezTo>
                    <a:cubicBezTo>
                      <a:pt x="37" y="22"/>
                      <a:pt x="36" y="13"/>
                      <a:pt x="37" y="12"/>
                    </a:cubicBezTo>
                    <a:cubicBezTo>
                      <a:pt x="37" y="12"/>
                      <a:pt x="37" y="12"/>
                      <a:pt x="37" y="12"/>
                    </a:cubicBezTo>
                    <a:cubicBezTo>
                      <a:pt x="36" y="11"/>
                      <a:pt x="34" y="11"/>
                      <a:pt x="33" y="10"/>
                    </a:cubicBezTo>
                    <a:cubicBezTo>
                      <a:pt x="29" y="9"/>
                      <a:pt x="32" y="9"/>
                      <a:pt x="31" y="6"/>
                    </a:cubicBezTo>
                    <a:cubicBezTo>
                      <a:pt x="31" y="6"/>
                      <a:pt x="31" y="6"/>
                      <a:pt x="32" y="6"/>
                    </a:cubicBezTo>
                    <a:cubicBezTo>
                      <a:pt x="30" y="4"/>
                      <a:pt x="29" y="2"/>
                      <a:pt x="27" y="1"/>
                    </a:cubicBezTo>
                    <a:cubicBezTo>
                      <a:pt x="26" y="1"/>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Freeform 1153"/>
              <p:cNvSpPr/>
              <p:nvPr/>
            </p:nvSpPr>
            <p:spPr bwMode="auto">
              <a:xfrm>
                <a:off x="2211" y="246"/>
                <a:ext cx="66" cy="102"/>
              </a:xfrm>
              <a:custGeom>
                <a:gdLst>
                  <a:gd name="T0" fmla="*/ 0 w 28"/>
                  <a:gd name="T1" fmla="*/ 0 h 43"/>
                  <a:gd name="T2" fmla="*/ 3 w 28"/>
                  <a:gd name="T3" fmla="*/ 7 h 43"/>
                  <a:gd name="T4" fmla="*/ 3 w 28"/>
                  <a:gd name="T5" fmla="*/ 13 h 43"/>
                  <a:gd name="T6" fmla="*/ 3 w 28"/>
                  <a:gd name="T7" fmla="*/ 17 h 43"/>
                  <a:gd name="T8" fmla="*/ 4 w 28"/>
                  <a:gd name="T9" fmla="*/ 17 h 43"/>
                  <a:gd name="T10" fmla="*/ 5 w 28"/>
                  <a:gd name="T11" fmla="*/ 19 h 43"/>
                  <a:gd name="T12" fmla="*/ 7 w 28"/>
                  <a:gd name="T13" fmla="*/ 17 h 43"/>
                  <a:gd name="T14" fmla="*/ 9 w 28"/>
                  <a:gd name="T15" fmla="*/ 15 h 43"/>
                  <a:gd name="T16" fmla="*/ 9 w 28"/>
                  <a:gd name="T17" fmla="*/ 15 h 43"/>
                  <a:gd name="T18" fmla="*/ 14 w 28"/>
                  <a:gd name="T19" fmla="*/ 39 h 43"/>
                  <a:gd name="T20" fmla="*/ 22 w 28"/>
                  <a:gd name="T21" fmla="*/ 43 h 43"/>
                  <a:gd name="T22" fmla="*/ 21 w 28"/>
                  <a:gd name="T23" fmla="*/ 33 h 43"/>
                  <a:gd name="T24" fmla="*/ 25 w 28"/>
                  <a:gd name="T25" fmla="*/ 40 h 43"/>
                  <a:gd name="T26" fmla="*/ 28 w 28"/>
                  <a:gd name="T27" fmla="*/ 34 h 43"/>
                  <a:gd name="T28" fmla="*/ 25 w 28"/>
                  <a:gd name="T29" fmla="*/ 26 h 43"/>
                  <a:gd name="T30" fmla="*/ 20 w 28"/>
                  <a:gd name="T31" fmla="*/ 3 h 43"/>
                  <a:gd name="T32" fmla="*/ 11 w 28"/>
                  <a:gd name="T33" fmla="*/ 6 h 43"/>
                  <a:gd name="T34" fmla="*/ 8 w 28"/>
                  <a:gd name="T35" fmla="*/ 5 h 43"/>
                  <a:gd name="T36" fmla="*/ 0 w 28"/>
                  <a:gd name="T37"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43">
                    <a:moveTo>
                      <a:pt x="0" y="0"/>
                    </a:moveTo>
                    <a:cubicBezTo>
                      <a:pt x="1" y="2"/>
                      <a:pt x="2" y="5"/>
                      <a:pt x="3" y="7"/>
                    </a:cubicBezTo>
                    <a:cubicBezTo>
                      <a:pt x="3" y="9"/>
                      <a:pt x="3" y="11"/>
                      <a:pt x="3" y="13"/>
                    </a:cubicBezTo>
                    <a:cubicBezTo>
                      <a:pt x="3" y="14"/>
                      <a:pt x="2" y="17"/>
                      <a:pt x="3" y="17"/>
                    </a:cubicBezTo>
                    <a:cubicBezTo>
                      <a:pt x="3" y="17"/>
                      <a:pt x="4" y="17"/>
                      <a:pt x="4" y="17"/>
                    </a:cubicBezTo>
                    <a:cubicBezTo>
                      <a:pt x="4" y="18"/>
                      <a:pt x="5" y="19"/>
                      <a:pt x="5" y="19"/>
                    </a:cubicBezTo>
                    <a:cubicBezTo>
                      <a:pt x="6" y="19"/>
                      <a:pt x="6" y="18"/>
                      <a:pt x="7" y="17"/>
                    </a:cubicBezTo>
                    <a:cubicBezTo>
                      <a:pt x="8" y="16"/>
                      <a:pt x="9" y="15"/>
                      <a:pt x="9" y="15"/>
                    </a:cubicBezTo>
                    <a:cubicBezTo>
                      <a:pt x="9" y="15"/>
                      <a:pt x="9" y="15"/>
                      <a:pt x="9" y="15"/>
                    </a:cubicBezTo>
                    <a:cubicBezTo>
                      <a:pt x="17" y="16"/>
                      <a:pt x="14" y="36"/>
                      <a:pt x="14" y="39"/>
                    </a:cubicBezTo>
                    <a:cubicBezTo>
                      <a:pt x="16" y="41"/>
                      <a:pt x="19" y="42"/>
                      <a:pt x="22" y="43"/>
                    </a:cubicBezTo>
                    <a:cubicBezTo>
                      <a:pt x="22" y="39"/>
                      <a:pt x="20" y="37"/>
                      <a:pt x="21" y="33"/>
                    </a:cubicBezTo>
                    <a:cubicBezTo>
                      <a:pt x="22" y="35"/>
                      <a:pt x="23" y="37"/>
                      <a:pt x="25" y="40"/>
                    </a:cubicBezTo>
                    <a:cubicBezTo>
                      <a:pt x="26" y="38"/>
                      <a:pt x="28" y="36"/>
                      <a:pt x="28" y="34"/>
                    </a:cubicBezTo>
                    <a:cubicBezTo>
                      <a:pt x="28" y="32"/>
                      <a:pt x="26" y="27"/>
                      <a:pt x="25" y="26"/>
                    </a:cubicBezTo>
                    <a:cubicBezTo>
                      <a:pt x="19" y="20"/>
                      <a:pt x="21" y="12"/>
                      <a:pt x="20" y="3"/>
                    </a:cubicBezTo>
                    <a:cubicBezTo>
                      <a:pt x="17" y="4"/>
                      <a:pt x="14" y="6"/>
                      <a:pt x="11" y="6"/>
                    </a:cubicBezTo>
                    <a:cubicBezTo>
                      <a:pt x="10" y="6"/>
                      <a:pt x="9" y="6"/>
                      <a:pt x="8" y="5"/>
                    </a:cubicBezTo>
                    <a:cubicBezTo>
                      <a:pt x="5" y="4"/>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Freeform 1154"/>
              <p:cNvSpPr/>
              <p:nvPr/>
            </p:nvSpPr>
            <p:spPr bwMode="auto">
              <a:xfrm>
                <a:off x="1920" y="0"/>
                <a:ext cx="284" cy="173"/>
              </a:xfrm>
              <a:custGeom>
                <a:gdLst>
                  <a:gd name="T0" fmla="*/ 0 w 120"/>
                  <a:gd name="T1" fmla="*/ 0 h 73"/>
                  <a:gd name="T2" fmla="*/ 2 w 120"/>
                  <a:gd name="T3" fmla="*/ 7 h 73"/>
                  <a:gd name="T4" fmla="*/ 10 w 120"/>
                  <a:gd name="T5" fmla="*/ 13 h 73"/>
                  <a:gd name="T6" fmla="*/ 12 w 120"/>
                  <a:gd name="T7" fmla="*/ 18 h 73"/>
                  <a:gd name="T8" fmla="*/ 15 w 120"/>
                  <a:gd name="T9" fmla="*/ 6 h 73"/>
                  <a:gd name="T10" fmla="*/ 28 w 120"/>
                  <a:gd name="T11" fmla="*/ 5 h 73"/>
                  <a:gd name="T12" fmla="*/ 28 w 120"/>
                  <a:gd name="T13" fmla="*/ 21 h 73"/>
                  <a:gd name="T14" fmla="*/ 16 w 120"/>
                  <a:gd name="T15" fmla="*/ 25 h 73"/>
                  <a:gd name="T16" fmla="*/ 20 w 120"/>
                  <a:gd name="T17" fmla="*/ 33 h 73"/>
                  <a:gd name="T18" fmla="*/ 24 w 120"/>
                  <a:gd name="T19" fmla="*/ 39 h 73"/>
                  <a:gd name="T20" fmla="*/ 35 w 120"/>
                  <a:gd name="T21" fmla="*/ 42 h 73"/>
                  <a:gd name="T22" fmla="*/ 42 w 120"/>
                  <a:gd name="T23" fmla="*/ 35 h 73"/>
                  <a:gd name="T24" fmla="*/ 55 w 120"/>
                  <a:gd name="T25" fmla="*/ 35 h 73"/>
                  <a:gd name="T26" fmla="*/ 66 w 120"/>
                  <a:gd name="T27" fmla="*/ 43 h 73"/>
                  <a:gd name="T28" fmla="*/ 66 w 120"/>
                  <a:gd name="T29" fmla="*/ 43 h 73"/>
                  <a:gd name="T30" fmla="*/ 71 w 120"/>
                  <a:gd name="T31" fmla="*/ 40 h 73"/>
                  <a:gd name="T32" fmla="*/ 71 w 120"/>
                  <a:gd name="T33" fmla="*/ 32 h 73"/>
                  <a:gd name="T34" fmla="*/ 91 w 120"/>
                  <a:gd name="T35" fmla="*/ 50 h 73"/>
                  <a:gd name="T36" fmla="*/ 101 w 120"/>
                  <a:gd name="T37" fmla="*/ 61 h 73"/>
                  <a:gd name="T38" fmla="*/ 111 w 120"/>
                  <a:gd name="T39" fmla="*/ 62 h 73"/>
                  <a:gd name="T40" fmla="*/ 113 w 120"/>
                  <a:gd name="T41" fmla="*/ 61 h 73"/>
                  <a:gd name="T42" fmla="*/ 115 w 120"/>
                  <a:gd name="T43" fmla="*/ 61 h 73"/>
                  <a:gd name="T44" fmla="*/ 113 w 120"/>
                  <a:gd name="T45" fmla="*/ 65 h 73"/>
                  <a:gd name="T46" fmla="*/ 112 w 120"/>
                  <a:gd name="T47" fmla="*/ 64 h 73"/>
                  <a:gd name="T48" fmla="*/ 110 w 120"/>
                  <a:gd name="T49" fmla="*/ 65 h 73"/>
                  <a:gd name="T50" fmla="*/ 120 w 120"/>
                  <a:gd name="T51" fmla="*/ 59 h 73"/>
                  <a:gd name="T52" fmla="*/ 112 w 120"/>
                  <a:gd name="T53" fmla="*/ 57 h 73"/>
                  <a:gd name="T54" fmla="*/ 111 w 120"/>
                  <a:gd name="T55" fmla="*/ 53 h 73"/>
                  <a:gd name="T56" fmla="*/ 102 w 120"/>
                  <a:gd name="T57" fmla="*/ 39 h 73"/>
                  <a:gd name="T58" fmla="*/ 107 w 120"/>
                  <a:gd name="T59" fmla="*/ 39 h 73"/>
                  <a:gd name="T60" fmla="*/ 110 w 120"/>
                  <a:gd name="T61" fmla="*/ 39 h 73"/>
                  <a:gd name="T62" fmla="*/ 114 w 120"/>
                  <a:gd name="T63" fmla="*/ 39 h 73"/>
                  <a:gd name="T64" fmla="*/ 96 w 120"/>
                  <a:gd name="T65" fmla="*/ 28 h 73"/>
                  <a:gd name="T66" fmla="*/ 95 w 120"/>
                  <a:gd name="T67" fmla="*/ 35 h 73"/>
                  <a:gd name="T68" fmla="*/ 87 w 120"/>
                  <a:gd name="T69" fmla="*/ 29 h 73"/>
                  <a:gd name="T70" fmla="*/ 73 w 120"/>
                  <a:gd name="T71" fmla="*/ 20 h 73"/>
                  <a:gd name="T72" fmla="*/ 64 w 120"/>
                  <a:gd name="T73" fmla="*/ 31 h 73"/>
                  <a:gd name="T74" fmla="*/ 63 w 120"/>
                  <a:gd name="T75" fmla="*/ 34 h 73"/>
                  <a:gd name="T76" fmla="*/ 49 w 120"/>
                  <a:gd name="T77" fmla="*/ 21 h 73"/>
                  <a:gd name="T78" fmla="*/ 44 w 120"/>
                  <a:gd name="T79" fmla="*/ 1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0" h="73">
                    <a:moveTo>
                      <a:pt x="43" y="0"/>
                    </a:moveTo>
                    <a:cubicBezTo>
                      <a:pt x="0" y="0"/>
                      <a:pt x="0" y="0"/>
                      <a:pt x="0" y="0"/>
                    </a:cubicBezTo>
                    <a:cubicBezTo>
                      <a:pt x="0" y="2"/>
                      <a:pt x="1" y="5"/>
                      <a:pt x="1" y="7"/>
                    </a:cubicBezTo>
                    <a:cubicBezTo>
                      <a:pt x="2" y="7"/>
                      <a:pt x="2" y="7"/>
                      <a:pt x="2" y="7"/>
                    </a:cubicBezTo>
                    <a:cubicBezTo>
                      <a:pt x="4" y="7"/>
                      <a:pt x="6" y="7"/>
                      <a:pt x="7" y="7"/>
                    </a:cubicBezTo>
                    <a:cubicBezTo>
                      <a:pt x="4" y="12"/>
                      <a:pt x="8" y="10"/>
                      <a:pt x="10" y="13"/>
                    </a:cubicBezTo>
                    <a:cubicBezTo>
                      <a:pt x="10" y="14"/>
                      <a:pt x="9" y="15"/>
                      <a:pt x="10" y="16"/>
                    </a:cubicBezTo>
                    <a:cubicBezTo>
                      <a:pt x="10" y="17"/>
                      <a:pt x="10" y="17"/>
                      <a:pt x="12" y="18"/>
                    </a:cubicBezTo>
                    <a:cubicBezTo>
                      <a:pt x="12" y="18"/>
                      <a:pt x="13" y="18"/>
                      <a:pt x="13" y="18"/>
                    </a:cubicBezTo>
                    <a:cubicBezTo>
                      <a:pt x="17" y="18"/>
                      <a:pt x="15" y="9"/>
                      <a:pt x="15" y="6"/>
                    </a:cubicBezTo>
                    <a:cubicBezTo>
                      <a:pt x="17" y="7"/>
                      <a:pt x="19" y="8"/>
                      <a:pt x="21" y="9"/>
                    </a:cubicBezTo>
                    <a:cubicBezTo>
                      <a:pt x="23" y="7"/>
                      <a:pt x="25" y="5"/>
                      <a:pt x="28" y="5"/>
                    </a:cubicBezTo>
                    <a:cubicBezTo>
                      <a:pt x="32" y="5"/>
                      <a:pt x="36" y="9"/>
                      <a:pt x="36" y="13"/>
                    </a:cubicBezTo>
                    <a:cubicBezTo>
                      <a:pt x="36" y="18"/>
                      <a:pt x="32" y="21"/>
                      <a:pt x="28" y="21"/>
                    </a:cubicBezTo>
                    <a:cubicBezTo>
                      <a:pt x="26" y="21"/>
                      <a:pt x="24" y="20"/>
                      <a:pt x="23" y="19"/>
                    </a:cubicBezTo>
                    <a:cubicBezTo>
                      <a:pt x="20" y="21"/>
                      <a:pt x="16" y="23"/>
                      <a:pt x="16" y="25"/>
                    </a:cubicBezTo>
                    <a:cubicBezTo>
                      <a:pt x="17" y="29"/>
                      <a:pt x="17" y="33"/>
                      <a:pt x="18" y="37"/>
                    </a:cubicBezTo>
                    <a:cubicBezTo>
                      <a:pt x="19" y="35"/>
                      <a:pt x="20" y="33"/>
                      <a:pt x="20" y="33"/>
                    </a:cubicBezTo>
                    <a:cubicBezTo>
                      <a:pt x="21" y="33"/>
                      <a:pt x="22" y="34"/>
                      <a:pt x="25" y="36"/>
                    </a:cubicBezTo>
                    <a:cubicBezTo>
                      <a:pt x="27" y="38"/>
                      <a:pt x="23" y="38"/>
                      <a:pt x="24" y="39"/>
                    </a:cubicBezTo>
                    <a:cubicBezTo>
                      <a:pt x="25" y="40"/>
                      <a:pt x="29" y="42"/>
                      <a:pt x="31" y="42"/>
                    </a:cubicBezTo>
                    <a:cubicBezTo>
                      <a:pt x="32" y="42"/>
                      <a:pt x="33" y="42"/>
                      <a:pt x="35" y="42"/>
                    </a:cubicBezTo>
                    <a:cubicBezTo>
                      <a:pt x="35" y="42"/>
                      <a:pt x="36" y="42"/>
                      <a:pt x="36" y="42"/>
                    </a:cubicBezTo>
                    <a:cubicBezTo>
                      <a:pt x="39" y="41"/>
                      <a:pt x="40" y="37"/>
                      <a:pt x="42" y="35"/>
                    </a:cubicBezTo>
                    <a:cubicBezTo>
                      <a:pt x="45" y="34"/>
                      <a:pt x="47" y="33"/>
                      <a:pt x="49" y="33"/>
                    </a:cubicBezTo>
                    <a:cubicBezTo>
                      <a:pt x="50" y="33"/>
                      <a:pt x="52" y="33"/>
                      <a:pt x="55" y="35"/>
                    </a:cubicBezTo>
                    <a:cubicBezTo>
                      <a:pt x="56" y="36"/>
                      <a:pt x="58" y="36"/>
                      <a:pt x="60" y="38"/>
                    </a:cubicBezTo>
                    <a:cubicBezTo>
                      <a:pt x="62" y="39"/>
                      <a:pt x="62" y="43"/>
                      <a:pt x="66" y="43"/>
                    </a:cubicBezTo>
                    <a:cubicBezTo>
                      <a:pt x="66" y="43"/>
                      <a:pt x="66" y="43"/>
                      <a:pt x="66" y="43"/>
                    </a:cubicBezTo>
                    <a:cubicBezTo>
                      <a:pt x="66" y="43"/>
                      <a:pt x="66" y="43"/>
                      <a:pt x="66" y="43"/>
                    </a:cubicBezTo>
                    <a:cubicBezTo>
                      <a:pt x="71" y="43"/>
                      <a:pt x="71" y="53"/>
                      <a:pt x="74" y="55"/>
                    </a:cubicBezTo>
                    <a:cubicBezTo>
                      <a:pt x="73" y="50"/>
                      <a:pt x="72" y="45"/>
                      <a:pt x="71" y="40"/>
                    </a:cubicBezTo>
                    <a:cubicBezTo>
                      <a:pt x="71" y="38"/>
                      <a:pt x="71" y="34"/>
                      <a:pt x="69" y="33"/>
                    </a:cubicBezTo>
                    <a:cubicBezTo>
                      <a:pt x="70" y="33"/>
                      <a:pt x="71" y="32"/>
                      <a:pt x="71" y="32"/>
                    </a:cubicBezTo>
                    <a:cubicBezTo>
                      <a:pt x="74" y="32"/>
                      <a:pt x="75" y="34"/>
                      <a:pt x="77" y="36"/>
                    </a:cubicBezTo>
                    <a:cubicBezTo>
                      <a:pt x="82" y="41"/>
                      <a:pt x="87" y="45"/>
                      <a:pt x="91" y="50"/>
                    </a:cubicBezTo>
                    <a:cubicBezTo>
                      <a:pt x="94" y="53"/>
                      <a:pt x="95" y="53"/>
                      <a:pt x="94" y="58"/>
                    </a:cubicBezTo>
                    <a:cubicBezTo>
                      <a:pt x="94" y="59"/>
                      <a:pt x="100" y="61"/>
                      <a:pt x="101" y="61"/>
                    </a:cubicBezTo>
                    <a:cubicBezTo>
                      <a:pt x="105" y="62"/>
                      <a:pt x="107" y="63"/>
                      <a:pt x="108" y="63"/>
                    </a:cubicBezTo>
                    <a:cubicBezTo>
                      <a:pt x="109" y="63"/>
                      <a:pt x="110" y="63"/>
                      <a:pt x="111" y="62"/>
                    </a:cubicBezTo>
                    <a:cubicBezTo>
                      <a:pt x="112" y="62"/>
                      <a:pt x="111" y="61"/>
                      <a:pt x="112" y="61"/>
                    </a:cubicBezTo>
                    <a:cubicBezTo>
                      <a:pt x="112" y="61"/>
                      <a:pt x="112" y="61"/>
                      <a:pt x="113" y="61"/>
                    </a:cubicBezTo>
                    <a:cubicBezTo>
                      <a:pt x="113" y="61"/>
                      <a:pt x="113" y="61"/>
                      <a:pt x="114" y="61"/>
                    </a:cubicBezTo>
                    <a:cubicBezTo>
                      <a:pt x="114" y="61"/>
                      <a:pt x="115" y="61"/>
                      <a:pt x="115" y="61"/>
                    </a:cubicBezTo>
                    <a:cubicBezTo>
                      <a:pt x="115" y="61"/>
                      <a:pt x="115" y="61"/>
                      <a:pt x="115" y="61"/>
                    </a:cubicBezTo>
                    <a:cubicBezTo>
                      <a:pt x="115" y="62"/>
                      <a:pt x="114" y="64"/>
                      <a:pt x="113" y="65"/>
                    </a:cubicBezTo>
                    <a:cubicBezTo>
                      <a:pt x="113" y="65"/>
                      <a:pt x="112" y="65"/>
                      <a:pt x="112" y="65"/>
                    </a:cubicBezTo>
                    <a:cubicBezTo>
                      <a:pt x="112" y="65"/>
                      <a:pt x="112" y="65"/>
                      <a:pt x="112" y="64"/>
                    </a:cubicBezTo>
                    <a:cubicBezTo>
                      <a:pt x="111" y="64"/>
                      <a:pt x="111" y="64"/>
                      <a:pt x="111" y="64"/>
                    </a:cubicBezTo>
                    <a:cubicBezTo>
                      <a:pt x="111" y="64"/>
                      <a:pt x="111" y="64"/>
                      <a:pt x="110" y="65"/>
                    </a:cubicBezTo>
                    <a:cubicBezTo>
                      <a:pt x="109" y="68"/>
                      <a:pt x="116" y="72"/>
                      <a:pt x="118" y="73"/>
                    </a:cubicBezTo>
                    <a:cubicBezTo>
                      <a:pt x="118" y="71"/>
                      <a:pt x="120" y="59"/>
                      <a:pt x="120" y="59"/>
                    </a:cubicBezTo>
                    <a:cubicBezTo>
                      <a:pt x="118" y="58"/>
                      <a:pt x="116" y="57"/>
                      <a:pt x="114" y="57"/>
                    </a:cubicBezTo>
                    <a:cubicBezTo>
                      <a:pt x="113" y="57"/>
                      <a:pt x="113" y="57"/>
                      <a:pt x="112" y="57"/>
                    </a:cubicBezTo>
                    <a:cubicBezTo>
                      <a:pt x="109" y="59"/>
                      <a:pt x="109" y="59"/>
                      <a:pt x="109" y="59"/>
                    </a:cubicBezTo>
                    <a:cubicBezTo>
                      <a:pt x="107" y="58"/>
                      <a:pt x="109" y="53"/>
                      <a:pt x="111" y="53"/>
                    </a:cubicBezTo>
                    <a:cubicBezTo>
                      <a:pt x="111" y="53"/>
                      <a:pt x="111" y="53"/>
                      <a:pt x="111" y="53"/>
                    </a:cubicBezTo>
                    <a:cubicBezTo>
                      <a:pt x="109" y="51"/>
                      <a:pt x="99" y="42"/>
                      <a:pt x="102" y="39"/>
                    </a:cubicBezTo>
                    <a:cubicBezTo>
                      <a:pt x="103" y="39"/>
                      <a:pt x="103" y="39"/>
                      <a:pt x="104" y="39"/>
                    </a:cubicBezTo>
                    <a:cubicBezTo>
                      <a:pt x="105" y="39"/>
                      <a:pt x="106" y="39"/>
                      <a:pt x="107" y="39"/>
                    </a:cubicBezTo>
                    <a:cubicBezTo>
                      <a:pt x="107" y="39"/>
                      <a:pt x="107" y="39"/>
                      <a:pt x="107" y="39"/>
                    </a:cubicBezTo>
                    <a:cubicBezTo>
                      <a:pt x="108" y="39"/>
                      <a:pt x="109" y="39"/>
                      <a:pt x="110" y="39"/>
                    </a:cubicBezTo>
                    <a:cubicBezTo>
                      <a:pt x="111" y="39"/>
                      <a:pt x="112" y="39"/>
                      <a:pt x="113" y="39"/>
                    </a:cubicBezTo>
                    <a:cubicBezTo>
                      <a:pt x="113" y="39"/>
                      <a:pt x="114" y="39"/>
                      <a:pt x="114" y="39"/>
                    </a:cubicBezTo>
                    <a:cubicBezTo>
                      <a:pt x="113" y="32"/>
                      <a:pt x="99" y="32"/>
                      <a:pt x="96" y="30"/>
                    </a:cubicBezTo>
                    <a:cubicBezTo>
                      <a:pt x="96" y="29"/>
                      <a:pt x="96" y="29"/>
                      <a:pt x="96" y="28"/>
                    </a:cubicBezTo>
                    <a:cubicBezTo>
                      <a:pt x="95" y="29"/>
                      <a:pt x="95" y="31"/>
                      <a:pt x="95" y="33"/>
                    </a:cubicBezTo>
                    <a:cubicBezTo>
                      <a:pt x="95" y="35"/>
                      <a:pt x="95" y="35"/>
                      <a:pt x="95" y="35"/>
                    </a:cubicBezTo>
                    <a:cubicBezTo>
                      <a:pt x="94" y="38"/>
                      <a:pt x="91" y="38"/>
                      <a:pt x="89" y="40"/>
                    </a:cubicBezTo>
                    <a:cubicBezTo>
                      <a:pt x="86" y="36"/>
                      <a:pt x="89" y="33"/>
                      <a:pt x="87" y="29"/>
                    </a:cubicBezTo>
                    <a:cubicBezTo>
                      <a:pt x="86" y="28"/>
                      <a:pt x="85" y="25"/>
                      <a:pt x="83" y="24"/>
                    </a:cubicBezTo>
                    <a:cubicBezTo>
                      <a:pt x="80" y="22"/>
                      <a:pt x="77" y="20"/>
                      <a:pt x="73" y="20"/>
                    </a:cubicBezTo>
                    <a:cubicBezTo>
                      <a:pt x="73" y="20"/>
                      <a:pt x="72" y="20"/>
                      <a:pt x="71" y="21"/>
                    </a:cubicBezTo>
                    <a:cubicBezTo>
                      <a:pt x="67" y="22"/>
                      <a:pt x="67" y="31"/>
                      <a:pt x="64" y="31"/>
                    </a:cubicBezTo>
                    <a:cubicBezTo>
                      <a:pt x="63" y="31"/>
                      <a:pt x="63" y="31"/>
                      <a:pt x="62" y="31"/>
                    </a:cubicBezTo>
                    <a:cubicBezTo>
                      <a:pt x="63" y="31"/>
                      <a:pt x="63" y="33"/>
                      <a:pt x="63" y="34"/>
                    </a:cubicBezTo>
                    <a:cubicBezTo>
                      <a:pt x="60" y="33"/>
                      <a:pt x="57" y="32"/>
                      <a:pt x="54" y="30"/>
                    </a:cubicBezTo>
                    <a:cubicBezTo>
                      <a:pt x="50" y="28"/>
                      <a:pt x="50" y="25"/>
                      <a:pt x="49" y="21"/>
                    </a:cubicBezTo>
                    <a:cubicBezTo>
                      <a:pt x="49" y="18"/>
                      <a:pt x="49" y="13"/>
                      <a:pt x="49" y="10"/>
                    </a:cubicBezTo>
                    <a:cubicBezTo>
                      <a:pt x="48" y="7"/>
                      <a:pt x="45" y="4"/>
                      <a:pt x="44" y="1"/>
                    </a:cubicBezTo>
                    <a:cubicBezTo>
                      <a:pt x="44" y="1"/>
                      <a:pt x="44" y="0"/>
                      <a:pt x="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1155"/>
              <p:cNvSpPr/>
              <p:nvPr/>
            </p:nvSpPr>
            <p:spPr bwMode="auto">
              <a:xfrm>
                <a:off x="1724" y="251"/>
                <a:ext cx="173" cy="215"/>
              </a:xfrm>
              <a:custGeom>
                <a:gdLst>
                  <a:gd name="T0" fmla="*/ 66 w 73"/>
                  <a:gd name="T1" fmla="*/ 0 h 91"/>
                  <a:gd name="T2" fmla="*/ 62 w 73"/>
                  <a:gd name="T3" fmla="*/ 15 h 91"/>
                  <a:gd name="T4" fmla="*/ 66 w 73"/>
                  <a:gd name="T5" fmla="*/ 21 h 91"/>
                  <a:gd name="T6" fmla="*/ 65 w 73"/>
                  <a:gd name="T7" fmla="*/ 21 h 91"/>
                  <a:gd name="T8" fmla="*/ 61 w 73"/>
                  <a:gd name="T9" fmla="*/ 17 h 91"/>
                  <a:gd name="T10" fmla="*/ 59 w 73"/>
                  <a:gd name="T11" fmla="*/ 15 h 91"/>
                  <a:gd name="T12" fmla="*/ 59 w 73"/>
                  <a:gd name="T13" fmla="*/ 17 h 91"/>
                  <a:gd name="T14" fmla="*/ 60 w 73"/>
                  <a:gd name="T15" fmla="*/ 26 h 91"/>
                  <a:gd name="T16" fmla="*/ 56 w 73"/>
                  <a:gd name="T17" fmla="*/ 31 h 91"/>
                  <a:gd name="T18" fmla="*/ 56 w 73"/>
                  <a:gd name="T19" fmla="*/ 29 h 91"/>
                  <a:gd name="T20" fmla="*/ 48 w 73"/>
                  <a:gd name="T21" fmla="*/ 40 h 91"/>
                  <a:gd name="T22" fmla="*/ 46 w 73"/>
                  <a:gd name="T23" fmla="*/ 42 h 91"/>
                  <a:gd name="T24" fmla="*/ 46 w 73"/>
                  <a:gd name="T25" fmla="*/ 40 h 91"/>
                  <a:gd name="T26" fmla="*/ 32 w 73"/>
                  <a:gd name="T27" fmla="*/ 56 h 91"/>
                  <a:gd name="T28" fmla="*/ 24 w 73"/>
                  <a:gd name="T29" fmla="*/ 64 h 91"/>
                  <a:gd name="T30" fmla="*/ 23 w 73"/>
                  <a:gd name="T31" fmla="*/ 64 h 91"/>
                  <a:gd name="T32" fmla="*/ 12 w 73"/>
                  <a:gd name="T33" fmla="*/ 73 h 91"/>
                  <a:gd name="T34" fmla="*/ 3 w 73"/>
                  <a:gd name="T35" fmla="*/ 82 h 91"/>
                  <a:gd name="T36" fmla="*/ 0 w 73"/>
                  <a:gd name="T37" fmla="*/ 91 h 91"/>
                  <a:gd name="T38" fmla="*/ 20 w 73"/>
                  <a:gd name="T39" fmla="*/ 76 h 91"/>
                  <a:gd name="T40" fmla="*/ 38 w 73"/>
                  <a:gd name="T41" fmla="*/ 63 h 91"/>
                  <a:gd name="T42" fmla="*/ 42 w 73"/>
                  <a:gd name="T43" fmla="*/ 56 h 91"/>
                  <a:gd name="T44" fmla="*/ 45 w 73"/>
                  <a:gd name="T45" fmla="*/ 52 h 91"/>
                  <a:gd name="T46" fmla="*/ 50 w 73"/>
                  <a:gd name="T47" fmla="*/ 43 h 91"/>
                  <a:gd name="T48" fmla="*/ 55 w 73"/>
                  <a:gd name="T49" fmla="*/ 42 h 91"/>
                  <a:gd name="T50" fmla="*/ 64 w 73"/>
                  <a:gd name="T51" fmla="*/ 32 h 91"/>
                  <a:gd name="T52" fmla="*/ 73 w 73"/>
                  <a:gd name="T53" fmla="*/ 27 h 91"/>
                  <a:gd name="T54" fmla="*/ 72 w 73"/>
                  <a:gd name="T55" fmla="*/ 26 h 91"/>
                  <a:gd name="T56" fmla="*/ 71 w 73"/>
                  <a:gd name="T57" fmla="*/ 22 h 91"/>
                  <a:gd name="T58" fmla="*/ 69 w 73"/>
                  <a:gd name="T59" fmla="*/ 23 h 91"/>
                  <a:gd name="T60" fmla="*/ 70 w 73"/>
                  <a:gd name="T61" fmla="*/ 20 h 91"/>
                  <a:gd name="T62" fmla="*/ 69 w 73"/>
                  <a:gd name="T63" fmla="*/ 18 h 91"/>
                  <a:gd name="T64" fmla="*/ 69 w 73"/>
                  <a:gd name="T65" fmla="*/ 18 h 91"/>
                  <a:gd name="T66" fmla="*/ 68 w 73"/>
                  <a:gd name="T67" fmla="*/ 18 h 91"/>
                  <a:gd name="T68" fmla="*/ 68 w 73"/>
                  <a:gd name="T69" fmla="*/ 18 h 91"/>
                  <a:gd name="T70" fmla="*/ 67 w 73"/>
                  <a:gd name="T71" fmla="*/ 17 h 91"/>
                  <a:gd name="T72" fmla="*/ 69 w 73"/>
                  <a:gd name="T73" fmla="*/ 11 h 91"/>
                  <a:gd name="T74" fmla="*/ 68 w 73"/>
                  <a:gd name="T75" fmla="*/ 11 h 91"/>
                  <a:gd name="T76" fmla="*/ 69 w 73"/>
                  <a:gd name="T77" fmla="*/ 7 h 91"/>
                  <a:gd name="T78" fmla="*/ 66 w 73"/>
                  <a:gd name="T79" fmla="*/ 0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91">
                    <a:moveTo>
                      <a:pt x="66" y="0"/>
                    </a:moveTo>
                    <a:cubicBezTo>
                      <a:pt x="65" y="4"/>
                      <a:pt x="61" y="10"/>
                      <a:pt x="62" y="15"/>
                    </a:cubicBezTo>
                    <a:cubicBezTo>
                      <a:pt x="62" y="16"/>
                      <a:pt x="65" y="19"/>
                      <a:pt x="66" y="21"/>
                    </a:cubicBezTo>
                    <a:cubicBezTo>
                      <a:pt x="65" y="21"/>
                      <a:pt x="65" y="21"/>
                      <a:pt x="65" y="21"/>
                    </a:cubicBezTo>
                    <a:cubicBezTo>
                      <a:pt x="65" y="20"/>
                      <a:pt x="62" y="17"/>
                      <a:pt x="61" y="17"/>
                    </a:cubicBezTo>
                    <a:cubicBezTo>
                      <a:pt x="60" y="16"/>
                      <a:pt x="60" y="15"/>
                      <a:pt x="59" y="15"/>
                    </a:cubicBezTo>
                    <a:cubicBezTo>
                      <a:pt x="59" y="15"/>
                      <a:pt x="59" y="16"/>
                      <a:pt x="59" y="17"/>
                    </a:cubicBezTo>
                    <a:cubicBezTo>
                      <a:pt x="58" y="19"/>
                      <a:pt x="60" y="24"/>
                      <a:pt x="60" y="26"/>
                    </a:cubicBezTo>
                    <a:cubicBezTo>
                      <a:pt x="60" y="28"/>
                      <a:pt x="57" y="31"/>
                      <a:pt x="56" y="31"/>
                    </a:cubicBezTo>
                    <a:cubicBezTo>
                      <a:pt x="56" y="31"/>
                      <a:pt x="56" y="30"/>
                      <a:pt x="56" y="29"/>
                    </a:cubicBezTo>
                    <a:cubicBezTo>
                      <a:pt x="54" y="32"/>
                      <a:pt x="51" y="38"/>
                      <a:pt x="48" y="40"/>
                    </a:cubicBezTo>
                    <a:cubicBezTo>
                      <a:pt x="47" y="41"/>
                      <a:pt x="46" y="42"/>
                      <a:pt x="46" y="42"/>
                    </a:cubicBezTo>
                    <a:cubicBezTo>
                      <a:pt x="46" y="42"/>
                      <a:pt x="46" y="41"/>
                      <a:pt x="46" y="40"/>
                    </a:cubicBezTo>
                    <a:cubicBezTo>
                      <a:pt x="41" y="45"/>
                      <a:pt x="36" y="51"/>
                      <a:pt x="32" y="56"/>
                    </a:cubicBezTo>
                    <a:cubicBezTo>
                      <a:pt x="31" y="57"/>
                      <a:pt x="26" y="64"/>
                      <a:pt x="24" y="64"/>
                    </a:cubicBezTo>
                    <a:cubicBezTo>
                      <a:pt x="23" y="64"/>
                      <a:pt x="23" y="64"/>
                      <a:pt x="23" y="64"/>
                    </a:cubicBezTo>
                    <a:cubicBezTo>
                      <a:pt x="19" y="64"/>
                      <a:pt x="16" y="70"/>
                      <a:pt x="12" y="73"/>
                    </a:cubicBezTo>
                    <a:cubicBezTo>
                      <a:pt x="9" y="76"/>
                      <a:pt x="6" y="79"/>
                      <a:pt x="3" y="82"/>
                    </a:cubicBezTo>
                    <a:cubicBezTo>
                      <a:pt x="1" y="85"/>
                      <a:pt x="1" y="88"/>
                      <a:pt x="0" y="91"/>
                    </a:cubicBezTo>
                    <a:cubicBezTo>
                      <a:pt x="7" y="86"/>
                      <a:pt x="13" y="81"/>
                      <a:pt x="20" y="76"/>
                    </a:cubicBezTo>
                    <a:cubicBezTo>
                      <a:pt x="25" y="72"/>
                      <a:pt x="34" y="68"/>
                      <a:pt x="38" y="63"/>
                    </a:cubicBezTo>
                    <a:cubicBezTo>
                      <a:pt x="39" y="60"/>
                      <a:pt x="41" y="58"/>
                      <a:pt x="42" y="56"/>
                    </a:cubicBezTo>
                    <a:cubicBezTo>
                      <a:pt x="43" y="55"/>
                      <a:pt x="47" y="52"/>
                      <a:pt x="45" y="52"/>
                    </a:cubicBezTo>
                    <a:cubicBezTo>
                      <a:pt x="49" y="48"/>
                      <a:pt x="43" y="45"/>
                      <a:pt x="50" y="43"/>
                    </a:cubicBezTo>
                    <a:cubicBezTo>
                      <a:pt x="51" y="43"/>
                      <a:pt x="53" y="42"/>
                      <a:pt x="55" y="42"/>
                    </a:cubicBezTo>
                    <a:cubicBezTo>
                      <a:pt x="60" y="40"/>
                      <a:pt x="59" y="34"/>
                      <a:pt x="64" y="32"/>
                    </a:cubicBezTo>
                    <a:cubicBezTo>
                      <a:pt x="66" y="31"/>
                      <a:pt x="73" y="29"/>
                      <a:pt x="73" y="27"/>
                    </a:cubicBezTo>
                    <a:cubicBezTo>
                      <a:pt x="73" y="27"/>
                      <a:pt x="72" y="26"/>
                      <a:pt x="72" y="26"/>
                    </a:cubicBezTo>
                    <a:cubicBezTo>
                      <a:pt x="72" y="24"/>
                      <a:pt x="72" y="22"/>
                      <a:pt x="71" y="22"/>
                    </a:cubicBezTo>
                    <a:cubicBezTo>
                      <a:pt x="71" y="22"/>
                      <a:pt x="70" y="23"/>
                      <a:pt x="69" y="23"/>
                    </a:cubicBezTo>
                    <a:cubicBezTo>
                      <a:pt x="70" y="22"/>
                      <a:pt x="70" y="21"/>
                      <a:pt x="70" y="20"/>
                    </a:cubicBezTo>
                    <a:cubicBezTo>
                      <a:pt x="69" y="18"/>
                      <a:pt x="69" y="18"/>
                      <a:pt x="69" y="18"/>
                    </a:cubicBezTo>
                    <a:cubicBezTo>
                      <a:pt x="69" y="18"/>
                      <a:pt x="69" y="18"/>
                      <a:pt x="69" y="18"/>
                    </a:cubicBezTo>
                    <a:cubicBezTo>
                      <a:pt x="69" y="18"/>
                      <a:pt x="68" y="18"/>
                      <a:pt x="68" y="18"/>
                    </a:cubicBezTo>
                    <a:cubicBezTo>
                      <a:pt x="68" y="18"/>
                      <a:pt x="68" y="18"/>
                      <a:pt x="68" y="18"/>
                    </a:cubicBezTo>
                    <a:cubicBezTo>
                      <a:pt x="68" y="18"/>
                      <a:pt x="67" y="17"/>
                      <a:pt x="67" y="17"/>
                    </a:cubicBezTo>
                    <a:cubicBezTo>
                      <a:pt x="67" y="14"/>
                      <a:pt x="70" y="13"/>
                      <a:pt x="69" y="11"/>
                    </a:cubicBezTo>
                    <a:cubicBezTo>
                      <a:pt x="69" y="11"/>
                      <a:pt x="68" y="11"/>
                      <a:pt x="68" y="11"/>
                    </a:cubicBezTo>
                    <a:cubicBezTo>
                      <a:pt x="66" y="11"/>
                      <a:pt x="68" y="8"/>
                      <a:pt x="69" y="7"/>
                    </a:cubicBezTo>
                    <a:cubicBezTo>
                      <a:pt x="69" y="2"/>
                      <a:pt x="67" y="5"/>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Freeform 1156"/>
              <p:cNvSpPr/>
              <p:nvPr/>
            </p:nvSpPr>
            <p:spPr bwMode="auto">
              <a:xfrm>
                <a:off x="2142" y="263"/>
                <a:ext cx="55" cy="130"/>
              </a:xfrm>
              <a:custGeom>
                <a:gdLst>
                  <a:gd name="T0" fmla="*/ 22 w 23"/>
                  <a:gd name="T1" fmla="*/ 0 h 55"/>
                  <a:gd name="T2" fmla="*/ 18 w 23"/>
                  <a:gd name="T3" fmla="*/ 8 h 55"/>
                  <a:gd name="T4" fmla="*/ 15 w 23"/>
                  <a:gd name="T5" fmla="*/ 17 h 55"/>
                  <a:gd name="T6" fmla="*/ 7 w 23"/>
                  <a:gd name="T7" fmla="*/ 32 h 55"/>
                  <a:gd name="T8" fmla="*/ 3 w 23"/>
                  <a:gd name="T9" fmla="*/ 41 h 55"/>
                  <a:gd name="T10" fmla="*/ 1 w 23"/>
                  <a:gd name="T11" fmla="*/ 55 h 55"/>
                  <a:gd name="T12" fmla="*/ 13 w 23"/>
                  <a:gd name="T13" fmla="*/ 33 h 55"/>
                  <a:gd name="T14" fmla="*/ 22 w 23"/>
                  <a:gd name="T15" fmla="*/ 23 h 55"/>
                  <a:gd name="T16" fmla="*/ 21 w 23"/>
                  <a:gd name="T17" fmla="*/ 17 h 55"/>
                  <a:gd name="T18" fmla="*/ 22 w 23"/>
                  <a:gd name="T19" fmla="*/ 0 h 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55">
                    <a:moveTo>
                      <a:pt x="22" y="0"/>
                    </a:moveTo>
                    <a:cubicBezTo>
                      <a:pt x="19" y="0"/>
                      <a:pt x="19" y="6"/>
                      <a:pt x="18" y="8"/>
                    </a:cubicBezTo>
                    <a:cubicBezTo>
                      <a:pt x="18" y="11"/>
                      <a:pt x="16" y="14"/>
                      <a:pt x="15" y="17"/>
                    </a:cubicBezTo>
                    <a:cubicBezTo>
                      <a:pt x="12" y="22"/>
                      <a:pt x="10" y="28"/>
                      <a:pt x="7" y="32"/>
                    </a:cubicBezTo>
                    <a:cubicBezTo>
                      <a:pt x="4" y="36"/>
                      <a:pt x="3" y="38"/>
                      <a:pt x="3" y="41"/>
                    </a:cubicBezTo>
                    <a:cubicBezTo>
                      <a:pt x="2" y="46"/>
                      <a:pt x="0" y="50"/>
                      <a:pt x="1" y="55"/>
                    </a:cubicBezTo>
                    <a:cubicBezTo>
                      <a:pt x="5" y="48"/>
                      <a:pt x="7" y="38"/>
                      <a:pt x="13" y="33"/>
                    </a:cubicBezTo>
                    <a:cubicBezTo>
                      <a:pt x="16" y="29"/>
                      <a:pt x="21" y="28"/>
                      <a:pt x="22" y="23"/>
                    </a:cubicBezTo>
                    <a:cubicBezTo>
                      <a:pt x="22" y="21"/>
                      <a:pt x="21" y="19"/>
                      <a:pt x="21" y="17"/>
                    </a:cubicBezTo>
                    <a:cubicBezTo>
                      <a:pt x="21" y="11"/>
                      <a:pt x="23" y="6"/>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1157"/>
              <p:cNvSpPr/>
              <p:nvPr/>
            </p:nvSpPr>
            <p:spPr bwMode="auto">
              <a:xfrm>
                <a:off x="2131" y="171"/>
                <a:ext cx="66" cy="61"/>
              </a:xfrm>
              <a:custGeom>
                <a:gdLst>
                  <a:gd name="T0" fmla="*/ 4 w 28"/>
                  <a:gd name="T1" fmla="*/ 0 h 26"/>
                  <a:gd name="T2" fmla="*/ 4 w 28"/>
                  <a:gd name="T3" fmla="*/ 7 h 26"/>
                  <a:gd name="T4" fmla="*/ 3 w 28"/>
                  <a:gd name="T5" fmla="*/ 11 h 26"/>
                  <a:gd name="T6" fmla="*/ 4 w 28"/>
                  <a:gd name="T7" fmla="*/ 11 h 26"/>
                  <a:gd name="T8" fmla="*/ 4 w 28"/>
                  <a:gd name="T9" fmla="*/ 11 h 26"/>
                  <a:gd name="T10" fmla="*/ 4 w 28"/>
                  <a:gd name="T11" fmla="*/ 11 h 26"/>
                  <a:gd name="T12" fmla="*/ 4 w 28"/>
                  <a:gd name="T13" fmla="*/ 11 h 26"/>
                  <a:gd name="T14" fmla="*/ 5 w 28"/>
                  <a:gd name="T15" fmla="*/ 11 h 26"/>
                  <a:gd name="T16" fmla="*/ 5 w 28"/>
                  <a:gd name="T17" fmla="*/ 12 h 26"/>
                  <a:gd name="T18" fmla="*/ 5 w 28"/>
                  <a:gd name="T19" fmla="*/ 13 h 26"/>
                  <a:gd name="T20" fmla="*/ 2 w 28"/>
                  <a:gd name="T21" fmla="*/ 20 h 26"/>
                  <a:gd name="T22" fmla="*/ 4 w 28"/>
                  <a:gd name="T23" fmla="*/ 19 h 26"/>
                  <a:gd name="T24" fmla="*/ 11 w 28"/>
                  <a:gd name="T25" fmla="*/ 12 h 26"/>
                  <a:gd name="T26" fmla="*/ 13 w 28"/>
                  <a:gd name="T27" fmla="*/ 13 h 26"/>
                  <a:gd name="T28" fmla="*/ 15 w 28"/>
                  <a:gd name="T29" fmla="*/ 16 h 26"/>
                  <a:gd name="T30" fmla="*/ 18 w 28"/>
                  <a:gd name="T31" fmla="*/ 20 h 26"/>
                  <a:gd name="T32" fmla="*/ 22 w 28"/>
                  <a:gd name="T33" fmla="*/ 21 h 26"/>
                  <a:gd name="T34" fmla="*/ 28 w 28"/>
                  <a:gd name="T35" fmla="*/ 26 h 26"/>
                  <a:gd name="T36" fmla="*/ 22 w 28"/>
                  <a:gd name="T37" fmla="*/ 11 h 26"/>
                  <a:gd name="T38" fmla="*/ 18 w 28"/>
                  <a:gd name="T39" fmla="*/ 9 h 26"/>
                  <a:gd name="T40" fmla="*/ 4 w 28"/>
                  <a:gd name="T41"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6">
                    <a:moveTo>
                      <a:pt x="4" y="0"/>
                    </a:moveTo>
                    <a:cubicBezTo>
                      <a:pt x="4" y="3"/>
                      <a:pt x="5" y="4"/>
                      <a:pt x="4" y="7"/>
                    </a:cubicBezTo>
                    <a:cubicBezTo>
                      <a:pt x="4" y="8"/>
                      <a:pt x="3" y="10"/>
                      <a:pt x="3" y="11"/>
                    </a:cubicBezTo>
                    <a:cubicBezTo>
                      <a:pt x="3" y="11"/>
                      <a:pt x="4" y="11"/>
                      <a:pt x="4" y="11"/>
                    </a:cubicBezTo>
                    <a:cubicBezTo>
                      <a:pt x="4" y="11"/>
                      <a:pt x="4" y="11"/>
                      <a:pt x="4" y="11"/>
                    </a:cubicBezTo>
                    <a:cubicBezTo>
                      <a:pt x="4" y="11"/>
                      <a:pt x="4" y="11"/>
                      <a:pt x="4" y="11"/>
                    </a:cubicBezTo>
                    <a:cubicBezTo>
                      <a:pt x="4" y="11"/>
                      <a:pt x="4" y="11"/>
                      <a:pt x="4" y="11"/>
                    </a:cubicBezTo>
                    <a:cubicBezTo>
                      <a:pt x="4" y="11"/>
                      <a:pt x="4" y="11"/>
                      <a:pt x="5" y="11"/>
                    </a:cubicBezTo>
                    <a:cubicBezTo>
                      <a:pt x="5" y="11"/>
                      <a:pt x="5" y="11"/>
                      <a:pt x="5" y="12"/>
                    </a:cubicBezTo>
                    <a:cubicBezTo>
                      <a:pt x="5" y="13"/>
                      <a:pt x="5" y="12"/>
                      <a:pt x="5" y="13"/>
                    </a:cubicBezTo>
                    <a:cubicBezTo>
                      <a:pt x="4" y="14"/>
                      <a:pt x="0" y="20"/>
                      <a:pt x="2" y="20"/>
                    </a:cubicBezTo>
                    <a:cubicBezTo>
                      <a:pt x="2" y="20"/>
                      <a:pt x="3" y="20"/>
                      <a:pt x="4" y="19"/>
                    </a:cubicBezTo>
                    <a:cubicBezTo>
                      <a:pt x="6" y="17"/>
                      <a:pt x="8" y="12"/>
                      <a:pt x="11" y="12"/>
                    </a:cubicBezTo>
                    <a:cubicBezTo>
                      <a:pt x="12" y="12"/>
                      <a:pt x="12" y="12"/>
                      <a:pt x="13" y="13"/>
                    </a:cubicBezTo>
                    <a:cubicBezTo>
                      <a:pt x="14" y="13"/>
                      <a:pt x="15" y="16"/>
                      <a:pt x="15" y="16"/>
                    </a:cubicBezTo>
                    <a:cubicBezTo>
                      <a:pt x="16" y="17"/>
                      <a:pt x="18" y="19"/>
                      <a:pt x="18" y="20"/>
                    </a:cubicBezTo>
                    <a:cubicBezTo>
                      <a:pt x="19" y="20"/>
                      <a:pt x="20" y="20"/>
                      <a:pt x="22" y="21"/>
                    </a:cubicBezTo>
                    <a:cubicBezTo>
                      <a:pt x="24" y="22"/>
                      <a:pt x="26" y="24"/>
                      <a:pt x="28" y="26"/>
                    </a:cubicBezTo>
                    <a:cubicBezTo>
                      <a:pt x="26" y="22"/>
                      <a:pt x="25" y="14"/>
                      <a:pt x="22" y="11"/>
                    </a:cubicBezTo>
                    <a:cubicBezTo>
                      <a:pt x="22" y="11"/>
                      <a:pt x="19" y="10"/>
                      <a:pt x="18" y="9"/>
                    </a:cubicBezTo>
                    <a:cubicBezTo>
                      <a:pt x="14"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Freeform 1158"/>
              <p:cNvSpPr/>
              <p:nvPr/>
            </p:nvSpPr>
            <p:spPr bwMode="auto">
              <a:xfrm>
                <a:off x="1911" y="213"/>
                <a:ext cx="12" cy="24"/>
              </a:xfrm>
              <a:custGeom>
                <a:gdLst>
                  <a:gd name="T0" fmla="*/ 0 w 5"/>
                  <a:gd name="T1" fmla="*/ 0 h 10"/>
                  <a:gd name="T2" fmla="*/ 1 w 5"/>
                  <a:gd name="T3" fmla="*/ 10 h 10"/>
                  <a:gd name="T4" fmla="*/ 4 w 5"/>
                  <a:gd name="T5" fmla="*/ 4 h 10"/>
                  <a:gd name="T6" fmla="*/ 5 w 5"/>
                  <a:gd name="T7" fmla="*/ 4 h 10"/>
                  <a:gd name="T8" fmla="*/ 3 w 5"/>
                  <a:gd name="T9" fmla="*/ 2 h 10"/>
                  <a:gd name="T10" fmla="*/ 3 w 5"/>
                  <a:gd name="T11" fmla="*/ 2 h 10"/>
                  <a:gd name="T12" fmla="*/ 0 w 5"/>
                  <a:gd name="T13" fmla="*/ 0 h 10"/>
                </a:gdLst>
                <a:cxnLst>
                  <a:cxn ang="0">
                    <a:pos x="T0" y="T1"/>
                  </a:cxn>
                  <a:cxn ang="0">
                    <a:pos x="T2" y="T3"/>
                  </a:cxn>
                  <a:cxn ang="0">
                    <a:pos x="T4" y="T5"/>
                  </a:cxn>
                  <a:cxn ang="0">
                    <a:pos x="T6" y="T7"/>
                  </a:cxn>
                  <a:cxn ang="0">
                    <a:pos x="T8" y="T9"/>
                  </a:cxn>
                  <a:cxn ang="0">
                    <a:pos x="T10" y="T11"/>
                  </a:cxn>
                  <a:cxn ang="0">
                    <a:pos x="T12" y="T13"/>
                  </a:cxn>
                </a:cxnLst>
                <a:rect l="0" t="0" r="r" b="b"/>
                <a:pathLst>
                  <a:path w="5" h="10">
                    <a:moveTo>
                      <a:pt x="0" y="0"/>
                    </a:moveTo>
                    <a:cubicBezTo>
                      <a:pt x="0" y="3"/>
                      <a:pt x="1" y="7"/>
                      <a:pt x="1" y="10"/>
                    </a:cubicBezTo>
                    <a:cubicBezTo>
                      <a:pt x="4" y="8"/>
                      <a:pt x="5" y="6"/>
                      <a:pt x="4" y="4"/>
                    </a:cubicBezTo>
                    <a:cubicBezTo>
                      <a:pt x="5" y="4"/>
                      <a:pt x="5" y="4"/>
                      <a:pt x="5" y="4"/>
                    </a:cubicBezTo>
                    <a:cubicBezTo>
                      <a:pt x="4" y="3"/>
                      <a:pt x="3" y="3"/>
                      <a:pt x="3" y="2"/>
                    </a:cubicBezTo>
                    <a:cubicBezTo>
                      <a:pt x="3" y="2"/>
                      <a:pt x="3" y="2"/>
                      <a:pt x="3"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1159"/>
              <p:cNvSpPr/>
              <p:nvPr/>
            </p:nvSpPr>
            <p:spPr bwMode="auto">
              <a:xfrm>
                <a:off x="2239" y="402"/>
                <a:ext cx="7" cy="12"/>
              </a:xfrm>
              <a:custGeom>
                <a:gdLst>
                  <a:gd name="T0" fmla="*/ 0 w 3"/>
                  <a:gd name="T1" fmla="*/ 0 h 5"/>
                  <a:gd name="T2" fmla="*/ 2 w 3"/>
                  <a:gd name="T3" fmla="*/ 5 h 5"/>
                  <a:gd name="T4" fmla="*/ 0 w 3"/>
                  <a:gd name="T5" fmla="*/ 0 h 5"/>
                </a:gdLst>
                <a:cxnLst>
                  <a:cxn ang="0">
                    <a:pos x="T0" y="T1"/>
                  </a:cxn>
                  <a:cxn ang="0">
                    <a:pos x="T2" y="T3"/>
                  </a:cxn>
                  <a:cxn ang="0">
                    <a:pos x="T4" y="T5"/>
                  </a:cxn>
                </a:cxnLst>
                <a:rect l="0" t="0" r="r" b="b"/>
                <a:pathLst>
                  <a:path w="3" h="5">
                    <a:moveTo>
                      <a:pt x="0" y="0"/>
                    </a:moveTo>
                    <a:cubicBezTo>
                      <a:pt x="0" y="2"/>
                      <a:pt x="1" y="4"/>
                      <a:pt x="2" y="5"/>
                    </a:cubicBezTo>
                    <a:cubicBezTo>
                      <a:pt x="3"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Freeform 1160"/>
              <p:cNvSpPr/>
              <p:nvPr/>
            </p:nvSpPr>
            <p:spPr bwMode="auto">
              <a:xfrm>
                <a:off x="2076" y="282"/>
                <a:ext cx="85" cy="134"/>
              </a:xfrm>
              <a:custGeom>
                <a:gdLst>
                  <a:gd name="T0" fmla="*/ 26 w 36"/>
                  <a:gd name="T1" fmla="*/ 0 h 57"/>
                  <a:gd name="T2" fmla="*/ 24 w 36"/>
                  <a:gd name="T3" fmla="*/ 1 h 57"/>
                  <a:gd name="T4" fmla="*/ 10 w 36"/>
                  <a:gd name="T5" fmla="*/ 25 h 57"/>
                  <a:gd name="T6" fmla="*/ 8 w 36"/>
                  <a:gd name="T7" fmla="*/ 30 h 57"/>
                  <a:gd name="T8" fmla="*/ 8 w 36"/>
                  <a:gd name="T9" fmla="*/ 30 h 57"/>
                  <a:gd name="T10" fmla="*/ 7 w 36"/>
                  <a:gd name="T11" fmla="*/ 30 h 57"/>
                  <a:gd name="T12" fmla="*/ 6 w 36"/>
                  <a:gd name="T13" fmla="*/ 30 h 57"/>
                  <a:gd name="T14" fmla="*/ 6 w 36"/>
                  <a:gd name="T15" fmla="*/ 30 h 57"/>
                  <a:gd name="T16" fmla="*/ 4 w 36"/>
                  <a:gd name="T17" fmla="*/ 31 h 57"/>
                  <a:gd name="T18" fmla="*/ 8 w 36"/>
                  <a:gd name="T19" fmla="*/ 46 h 57"/>
                  <a:gd name="T20" fmla="*/ 14 w 36"/>
                  <a:gd name="T21" fmla="*/ 48 h 57"/>
                  <a:gd name="T22" fmla="*/ 16 w 36"/>
                  <a:gd name="T23" fmla="*/ 51 h 57"/>
                  <a:gd name="T24" fmla="*/ 21 w 36"/>
                  <a:gd name="T25" fmla="*/ 57 h 57"/>
                  <a:gd name="T26" fmla="*/ 22 w 36"/>
                  <a:gd name="T27" fmla="*/ 57 h 57"/>
                  <a:gd name="T28" fmla="*/ 23 w 36"/>
                  <a:gd name="T29" fmla="*/ 42 h 57"/>
                  <a:gd name="T30" fmla="*/ 28 w 36"/>
                  <a:gd name="T31" fmla="*/ 23 h 57"/>
                  <a:gd name="T32" fmla="*/ 36 w 36"/>
                  <a:gd name="T33" fmla="*/ 5 h 57"/>
                  <a:gd name="T34" fmla="*/ 35 w 36"/>
                  <a:gd name="T35" fmla="*/ 3 h 57"/>
                  <a:gd name="T36" fmla="*/ 31 w 36"/>
                  <a:gd name="T37" fmla="*/ 2 h 57"/>
                  <a:gd name="T38" fmla="*/ 26 w 36"/>
                  <a:gd name="T39" fmla="*/ 0 h 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57">
                    <a:moveTo>
                      <a:pt x="26" y="0"/>
                    </a:moveTo>
                    <a:cubicBezTo>
                      <a:pt x="25" y="0"/>
                      <a:pt x="25" y="0"/>
                      <a:pt x="24" y="1"/>
                    </a:cubicBezTo>
                    <a:cubicBezTo>
                      <a:pt x="15" y="3"/>
                      <a:pt x="14" y="16"/>
                      <a:pt x="10" y="25"/>
                    </a:cubicBezTo>
                    <a:cubicBezTo>
                      <a:pt x="10" y="26"/>
                      <a:pt x="9" y="29"/>
                      <a:pt x="8" y="30"/>
                    </a:cubicBezTo>
                    <a:cubicBezTo>
                      <a:pt x="8" y="30"/>
                      <a:pt x="8" y="30"/>
                      <a:pt x="8" y="30"/>
                    </a:cubicBezTo>
                    <a:cubicBezTo>
                      <a:pt x="7" y="30"/>
                      <a:pt x="7" y="30"/>
                      <a:pt x="7" y="30"/>
                    </a:cubicBezTo>
                    <a:cubicBezTo>
                      <a:pt x="7" y="30"/>
                      <a:pt x="7" y="30"/>
                      <a:pt x="6" y="30"/>
                    </a:cubicBezTo>
                    <a:cubicBezTo>
                      <a:pt x="6" y="30"/>
                      <a:pt x="6" y="30"/>
                      <a:pt x="6" y="30"/>
                    </a:cubicBezTo>
                    <a:cubicBezTo>
                      <a:pt x="5" y="30"/>
                      <a:pt x="5" y="30"/>
                      <a:pt x="4" y="31"/>
                    </a:cubicBezTo>
                    <a:cubicBezTo>
                      <a:pt x="0" y="34"/>
                      <a:pt x="6" y="43"/>
                      <a:pt x="8" y="46"/>
                    </a:cubicBezTo>
                    <a:cubicBezTo>
                      <a:pt x="10" y="48"/>
                      <a:pt x="12" y="47"/>
                      <a:pt x="14" y="48"/>
                    </a:cubicBezTo>
                    <a:cubicBezTo>
                      <a:pt x="16" y="49"/>
                      <a:pt x="15" y="49"/>
                      <a:pt x="16" y="51"/>
                    </a:cubicBezTo>
                    <a:cubicBezTo>
                      <a:pt x="17" y="54"/>
                      <a:pt x="17" y="57"/>
                      <a:pt x="21" y="57"/>
                    </a:cubicBezTo>
                    <a:cubicBezTo>
                      <a:pt x="21" y="57"/>
                      <a:pt x="21" y="57"/>
                      <a:pt x="22" y="57"/>
                    </a:cubicBezTo>
                    <a:cubicBezTo>
                      <a:pt x="29" y="57"/>
                      <a:pt x="24" y="47"/>
                      <a:pt x="23" y="42"/>
                    </a:cubicBezTo>
                    <a:cubicBezTo>
                      <a:pt x="22" y="37"/>
                      <a:pt x="26" y="29"/>
                      <a:pt x="28" y="23"/>
                    </a:cubicBezTo>
                    <a:cubicBezTo>
                      <a:pt x="30" y="17"/>
                      <a:pt x="33" y="11"/>
                      <a:pt x="36" y="5"/>
                    </a:cubicBezTo>
                    <a:cubicBezTo>
                      <a:pt x="35" y="4"/>
                      <a:pt x="36" y="4"/>
                      <a:pt x="35" y="3"/>
                    </a:cubicBezTo>
                    <a:cubicBezTo>
                      <a:pt x="34" y="2"/>
                      <a:pt x="33" y="2"/>
                      <a:pt x="31" y="2"/>
                    </a:cubicBezTo>
                    <a:cubicBezTo>
                      <a:pt x="29" y="1"/>
                      <a:pt x="28"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1161"/>
              <p:cNvSpPr/>
              <p:nvPr/>
            </p:nvSpPr>
            <p:spPr bwMode="auto">
              <a:xfrm>
                <a:off x="2041" y="364"/>
                <a:ext cx="331" cy="293"/>
              </a:xfrm>
              <a:custGeom>
                <a:gdLst>
                  <a:gd name="T0" fmla="*/ 108 w 140"/>
                  <a:gd name="T1" fmla="*/ 17 h 124"/>
                  <a:gd name="T2" fmla="*/ 99 w 140"/>
                  <a:gd name="T3" fmla="*/ 21 h 124"/>
                  <a:gd name="T4" fmla="*/ 93 w 140"/>
                  <a:gd name="T5" fmla="*/ 26 h 124"/>
                  <a:gd name="T6" fmla="*/ 89 w 140"/>
                  <a:gd name="T7" fmla="*/ 23 h 124"/>
                  <a:gd name="T8" fmla="*/ 77 w 140"/>
                  <a:gd name="T9" fmla="*/ 35 h 124"/>
                  <a:gd name="T10" fmla="*/ 68 w 140"/>
                  <a:gd name="T11" fmla="*/ 45 h 124"/>
                  <a:gd name="T12" fmla="*/ 54 w 140"/>
                  <a:gd name="T13" fmla="*/ 53 h 124"/>
                  <a:gd name="T14" fmla="*/ 57 w 140"/>
                  <a:gd name="T15" fmla="*/ 36 h 124"/>
                  <a:gd name="T16" fmla="*/ 46 w 140"/>
                  <a:gd name="T17" fmla="*/ 32 h 124"/>
                  <a:gd name="T18" fmla="*/ 34 w 140"/>
                  <a:gd name="T19" fmla="*/ 42 h 124"/>
                  <a:gd name="T20" fmla="*/ 28 w 140"/>
                  <a:gd name="T21" fmla="*/ 49 h 124"/>
                  <a:gd name="T22" fmla="*/ 9 w 140"/>
                  <a:gd name="T23" fmla="*/ 65 h 124"/>
                  <a:gd name="T24" fmla="*/ 5 w 140"/>
                  <a:gd name="T25" fmla="*/ 84 h 124"/>
                  <a:gd name="T26" fmla="*/ 11 w 140"/>
                  <a:gd name="T27" fmla="*/ 82 h 124"/>
                  <a:gd name="T28" fmla="*/ 17 w 140"/>
                  <a:gd name="T29" fmla="*/ 71 h 124"/>
                  <a:gd name="T30" fmla="*/ 18 w 140"/>
                  <a:gd name="T31" fmla="*/ 65 h 124"/>
                  <a:gd name="T32" fmla="*/ 29 w 140"/>
                  <a:gd name="T33" fmla="*/ 63 h 124"/>
                  <a:gd name="T34" fmla="*/ 37 w 140"/>
                  <a:gd name="T35" fmla="*/ 62 h 124"/>
                  <a:gd name="T36" fmla="*/ 40 w 140"/>
                  <a:gd name="T37" fmla="*/ 65 h 124"/>
                  <a:gd name="T38" fmla="*/ 40 w 140"/>
                  <a:gd name="T39" fmla="*/ 68 h 124"/>
                  <a:gd name="T40" fmla="*/ 46 w 140"/>
                  <a:gd name="T41" fmla="*/ 71 h 124"/>
                  <a:gd name="T42" fmla="*/ 51 w 140"/>
                  <a:gd name="T43" fmla="*/ 58 h 124"/>
                  <a:gd name="T44" fmla="*/ 69 w 140"/>
                  <a:gd name="T45" fmla="*/ 75 h 124"/>
                  <a:gd name="T46" fmla="*/ 65 w 140"/>
                  <a:gd name="T47" fmla="*/ 94 h 124"/>
                  <a:gd name="T48" fmla="*/ 87 w 140"/>
                  <a:gd name="T49" fmla="*/ 113 h 124"/>
                  <a:gd name="T50" fmla="*/ 96 w 140"/>
                  <a:gd name="T51" fmla="*/ 113 h 124"/>
                  <a:gd name="T52" fmla="*/ 100 w 140"/>
                  <a:gd name="T53" fmla="*/ 108 h 124"/>
                  <a:gd name="T54" fmla="*/ 103 w 140"/>
                  <a:gd name="T55" fmla="*/ 124 h 124"/>
                  <a:gd name="T56" fmla="*/ 112 w 140"/>
                  <a:gd name="T57" fmla="*/ 113 h 124"/>
                  <a:gd name="T58" fmla="*/ 105 w 140"/>
                  <a:gd name="T59" fmla="*/ 93 h 124"/>
                  <a:gd name="T60" fmla="*/ 105 w 140"/>
                  <a:gd name="T61" fmla="*/ 88 h 124"/>
                  <a:gd name="T62" fmla="*/ 116 w 140"/>
                  <a:gd name="T63" fmla="*/ 72 h 124"/>
                  <a:gd name="T64" fmla="*/ 124 w 140"/>
                  <a:gd name="T65" fmla="*/ 86 h 124"/>
                  <a:gd name="T66" fmla="*/ 127 w 140"/>
                  <a:gd name="T67" fmla="*/ 103 h 124"/>
                  <a:gd name="T68" fmla="*/ 128 w 140"/>
                  <a:gd name="T69" fmla="*/ 85 h 124"/>
                  <a:gd name="T70" fmla="*/ 130 w 140"/>
                  <a:gd name="T71" fmla="*/ 86 h 124"/>
                  <a:gd name="T72" fmla="*/ 133 w 140"/>
                  <a:gd name="T73" fmla="*/ 85 h 124"/>
                  <a:gd name="T74" fmla="*/ 138 w 140"/>
                  <a:gd name="T75" fmla="*/ 76 h 124"/>
                  <a:gd name="T76" fmla="*/ 132 w 140"/>
                  <a:gd name="T77" fmla="*/ 56 h 124"/>
                  <a:gd name="T78" fmla="*/ 132 w 140"/>
                  <a:gd name="T79" fmla="*/ 47 h 124"/>
                  <a:gd name="T80" fmla="*/ 130 w 140"/>
                  <a:gd name="T81" fmla="*/ 37 h 124"/>
                  <a:gd name="T82" fmla="*/ 127 w 140"/>
                  <a:gd name="T83" fmla="*/ 38 h 124"/>
                  <a:gd name="T84" fmla="*/ 130 w 140"/>
                  <a:gd name="T85" fmla="*/ 30 h 124"/>
                  <a:gd name="T86" fmla="*/ 124 w 140"/>
                  <a:gd name="T87" fmla="*/ 16 h 124"/>
                  <a:gd name="T88" fmla="*/ 105 w 140"/>
                  <a:gd name="T89" fmla="*/ 0 h 1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24">
                    <a:moveTo>
                      <a:pt x="105" y="0"/>
                    </a:moveTo>
                    <a:cubicBezTo>
                      <a:pt x="106" y="6"/>
                      <a:pt x="107" y="11"/>
                      <a:pt x="108" y="17"/>
                    </a:cubicBezTo>
                    <a:cubicBezTo>
                      <a:pt x="108" y="19"/>
                      <a:pt x="108" y="22"/>
                      <a:pt x="108" y="23"/>
                    </a:cubicBezTo>
                    <a:cubicBezTo>
                      <a:pt x="105" y="23"/>
                      <a:pt x="102" y="22"/>
                      <a:pt x="99" y="21"/>
                    </a:cubicBezTo>
                    <a:cubicBezTo>
                      <a:pt x="98" y="25"/>
                      <a:pt x="98" y="27"/>
                      <a:pt x="97" y="27"/>
                    </a:cubicBezTo>
                    <a:cubicBezTo>
                      <a:pt x="96" y="27"/>
                      <a:pt x="95" y="27"/>
                      <a:pt x="93" y="26"/>
                    </a:cubicBezTo>
                    <a:cubicBezTo>
                      <a:pt x="92" y="25"/>
                      <a:pt x="90" y="23"/>
                      <a:pt x="89" y="23"/>
                    </a:cubicBezTo>
                    <a:cubicBezTo>
                      <a:pt x="89" y="23"/>
                      <a:pt x="89" y="23"/>
                      <a:pt x="89" y="23"/>
                    </a:cubicBezTo>
                    <a:cubicBezTo>
                      <a:pt x="85" y="24"/>
                      <a:pt x="86" y="35"/>
                      <a:pt x="85" y="38"/>
                    </a:cubicBezTo>
                    <a:cubicBezTo>
                      <a:pt x="84" y="38"/>
                      <a:pt x="77" y="35"/>
                      <a:pt x="77" y="35"/>
                    </a:cubicBezTo>
                    <a:cubicBezTo>
                      <a:pt x="77" y="35"/>
                      <a:pt x="77" y="35"/>
                      <a:pt x="77" y="35"/>
                    </a:cubicBezTo>
                    <a:cubicBezTo>
                      <a:pt x="74" y="39"/>
                      <a:pt x="72" y="43"/>
                      <a:pt x="68" y="45"/>
                    </a:cubicBezTo>
                    <a:cubicBezTo>
                      <a:pt x="66" y="47"/>
                      <a:pt x="58" y="53"/>
                      <a:pt x="55" y="53"/>
                    </a:cubicBezTo>
                    <a:cubicBezTo>
                      <a:pt x="54" y="53"/>
                      <a:pt x="54" y="53"/>
                      <a:pt x="54" y="53"/>
                    </a:cubicBezTo>
                    <a:cubicBezTo>
                      <a:pt x="57" y="51"/>
                      <a:pt x="59" y="50"/>
                      <a:pt x="60" y="47"/>
                    </a:cubicBezTo>
                    <a:cubicBezTo>
                      <a:pt x="60" y="44"/>
                      <a:pt x="59" y="38"/>
                      <a:pt x="57" y="36"/>
                    </a:cubicBezTo>
                    <a:cubicBezTo>
                      <a:pt x="56" y="35"/>
                      <a:pt x="56" y="35"/>
                      <a:pt x="54" y="35"/>
                    </a:cubicBezTo>
                    <a:cubicBezTo>
                      <a:pt x="50" y="35"/>
                      <a:pt x="49" y="33"/>
                      <a:pt x="46" y="32"/>
                    </a:cubicBezTo>
                    <a:cubicBezTo>
                      <a:pt x="46" y="32"/>
                      <a:pt x="46" y="32"/>
                      <a:pt x="47" y="32"/>
                    </a:cubicBezTo>
                    <a:cubicBezTo>
                      <a:pt x="41" y="36"/>
                      <a:pt x="37" y="37"/>
                      <a:pt x="34" y="42"/>
                    </a:cubicBezTo>
                    <a:cubicBezTo>
                      <a:pt x="34" y="43"/>
                      <a:pt x="33" y="47"/>
                      <a:pt x="32" y="49"/>
                    </a:cubicBezTo>
                    <a:cubicBezTo>
                      <a:pt x="31" y="49"/>
                      <a:pt x="29" y="49"/>
                      <a:pt x="28" y="49"/>
                    </a:cubicBezTo>
                    <a:cubicBezTo>
                      <a:pt x="21" y="51"/>
                      <a:pt x="14" y="52"/>
                      <a:pt x="10" y="58"/>
                    </a:cubicBezTo>
                    <a:cubicBezTo>
                      <a:pt x="9" y="60"/>
                      <a:pt x="8" y="63"/>
                      <a:pt x="9" y="65"/>
                    </a:cubicBezTo>
                    <a:cubicBezTo>
                      <a:pt x="8" y="66"/>
                      <a:pt x="8" y="67"/>
                      <a:pt x="8" y="67"/>
                    </a:cubicBezTo>
                    <a:cubicBezTo>
                      <a:pt x="6" y="70"/>
                      <a:pt x="0" y="81"/>
                      <a:pt x="5" y="84"/>
                    </a:cubicBezTo>
                    <a:cubicBezTo>
                      <a:pt x="7" y="84"/>
                      <a:pt x="8" y="85"/>
                      <a:pt x="8" y="85"/>
                    </a:cubicBezTo>
                    <a:cubicBezTo>
                      <a:pt x="9" y="85"/>
                      <a:pt x="10" y="84"/>
                      <a:pt x="11" y="82"/>
                    </a:cubicBezTo>
                    <a:cubicBezTo>
                      <a:pt x="12" y="81"/>
                      <a:pt x="13" y="79"/>
                      <a:pt x="13" y="79"/>
                    </a:cubicBezTo>
                    <a:cubicBezTo>
                      <a:pt x="14" y="76"/>
                      <a:pt x="13" y="73"/>
                      <a:pt x="17" y="71"/>
                    </a:cubicBezTo>
                    <a:cubicBezTo>
                      <a:pt x="13" y="70"/>
                      <a:pt x="19" y="66"/>
                      <a:pt x="20" y="65"/>
                    </a:cubicBezTo>
                    <a:cubicBezTo>
                      <a:pt x="20" y="65"/>
                      <a:pt x="19" y="65"/>
                      <a:pt x="18" y="65"/>
                    </a:cubicBezTo>
                    <a:cubicBezTo>
                      <a:pt x="20" y="63"/>
                      <a:pt x="22" y="61"/>
                      <a:pt x="24" y="61"/>
                    </a:cubicBezTo>
                    <a:cubicBezTo>
                      <a:pt x="26" y="61"/>
                      <a:pt x="27" y="61"/>
                      <a:pt x="29" y="63"/>
                    </a:cubicBezTo>
                    <a:cubicBezTo>
                      <a:pt x="31" y="66"/>
                      <a:pt x="28" y="68"/>
                      <a:pt x="29" y="69"/>
                    </a:cubicBezTo>
                    <a:cubicBezTo>
                      <a:pt x="32" y="68"/>
                      <a:pt x="34" y="64"/>
                      <a:pt x="37" y="62"/>
                    </a:cubicBezTo>
                    <a:cubicBezTo>
                      <a:pt x="37" y="62"/>
                      <a:pt x="38" y="62"/>
                      <a:pt x="38" y="62"/>
                    </a:cubicBezTo>
                    <a:cubicBezTo>
                      <a:pt x="39" y="62"/>
                      <a:pt x="40" y="63"/>
                      <a:pt x="40" y="65"/>
                    </a:cubicBezTo>
                    <a:cubicBezTo>
                      <a:pt x="40" y="66"/>
                      <a:pt x="37" y="65"/>
                      <a:pt x="38" y="67"/>
                    </a:cubicBezTo>
                    <a:cubicBezTo>
                      <a:pt x="39" y="68"/>
                      <a:pt x="39" y="68"/>
                      <a:pt x="40" y="68"/>
                    </a:cubicBezTo>
                    <a:cubicBezTo>
                      <a:pt x="41" y="68"/>
                      <a:pt x="43" y="68"/>
                      <a:pt x="43" y="67"/>
                    </a:cubicBezTo>
                    <a:cubicBezTo>
                      <a:pt x="43" y="69"/>
                      <a:pt x="45" y="70"/>
                      <a:pt x="46" y="71"/>
                    </a:cubicBezTo>
                    <a:cubicBezTo>
                      <a:pt x="47" y="67"/>
                      <a:pt x="43" y="64"/>
                      <a:pt x="47" y="59"/>
                    </a:cubicBezTo>
                    <a:cubicBezTo>
                      <a:pt x="48" y="58"/>
                      <a:pt x="50" y="58"/>
                      <a:pt x="51" y="58"/>
                    </a:cubicBezTo>
                    <a:cubicBezTo>
                      <a:pt x="57" y="58"/>
                      <a:pt x="64" y="65"/>
                      <a:pt x="67" y="68"/>
                    </a:cubicBezTo>
                    <a:cubicBezTo>
                      <a:pt x="70" y="71"/>
                      <a:pt x="72" y="70"/>
                      <a:pt x="69" y="75"/>
                    </a:cubicBezTo>
                    <a:cubicBezTo>
                      <a:pt x="68" y="76"/>
                      <a:pt x="66" y="77"/>
                      <a:pt x="65" y="78"/>
                    </a:cubicBezTo>
                    <a:cubicBezTo>
                      <a:pt x="62" y="83"/>
                      <a:pt x="65" y="89"/>
                      <a:pt x="65" y="94"/>
                    </a:cubicBezTo>
                    <a:cubicBezTo>
                      <a:pt x="65" y="96"/>
                      <a:pt x="64" y="98"/>
                      <a:pt x="66" y="100"/>
                    </a:cubicBezTo>
                    <a:cubicBezTo>
                      <a:pt x="72" y="107"/>
                      <a:pt x="78" y="109"/>
                      <a:pt x="87" y="113"/>
                    </a:cubicBezTo>
                    <a:cubicBezTo>
                      <a:pt x="89" y="114"/>
                      <a:pt x="91" y="115"/>
                      <a:pt x="93" y="115"/>
                    </a:cubicBezTo>
                    <a:cubicBezTo>
                      <a:pt x="94" y="115"/>
                      <a:pt x="95" y="115"/>
                      <a:pt x="96" y="113"/>
                    </a:cubicBezTo>
                    <a:cubicBezTo>
                      <a:pt x="97" y="112"/>
                      <a:pt x="97" y="108"/>
                      <a:pt x="99" y="108"/>
                    </a:cubicBezTo>
                    <a:cubicBezTo>
                      <a:pt x="99" y="108"/>
                      <a:pt x="100" y="108"/>
                      <a:pt x="100" y="108"/>
                    </a:cubicBezTo>
                    <a:cubicBezTo>
                      <a:pt x="100" y="114"/>
                      <a:pt x="97" y="116"/>
                      <a:pt x="100" y="121"/>
                    </a:cubicBezTo>
                    <a:cubicBezTo>
                      <a:pt x="101" y="123"/>
                      <a:pt x="102" y="124"/>
                      <a:pt x="103" y="124"/>
                    </a:cubicBezTo>
                    <a:cubicBezTo>
                      <a:pt x="104" y="124"/>
                      <a:pt x="105" y="122"/>
                      <a:pt x="107" y="120"/>
                    </a:cubicBezTo>
                    <a:cubicBezTo>
                      <a:pt x="108" y="118"/>
                      <a:pt x="111" y="115"/>
                      <a:pt x="112" y="113"/>
                    </a:cubicBezTo>
                    <a:cubicBezTo>
                      <a:pt x="114" y="109"/>
                      <a:pt x="111" y="99"/>
                      <a:pt x="108" y="96"/>
                    </a:cubicBezTo>
                    <a:cubicBezTo>
                      <a:pt x="108" y="95"/>
                      <a:pt x="106" y="94"/>
                      <a:pt x="105" y="93"/>
                    </a:cubicBezTo>
                    <a:cubicBezTo>
                      <a:pt x="105" y="94"/>
                      <a:pt x="105" y="94"/>
                      <a:pt x="105" y="94"/>
                    </a:cubicBezTo>
                    <a:cubicBezTo>
                      <a:pt x="104" y="94"/>
                      <a:pt x="105" y="89"/>
                      <a:pt x="105" y="88"/>
                    </a:cubicBezTo>
                    <a:cubicBezTo>
                      <a:pt x="107" y="85"/>
                      <a:pt x="111" y="73"/>
                      <a:pt x="115" y="72"/>
                    </a:cubicBezTo>
                    <a:cubicBezTo>
                      <a:pt x="116" y="72"/>
                      <a:pt x="116" y="72"/>
                      <a:pt x="116" y="72"/>
                    </a:cubicBezTo>
                    <a:cubicBezTo>
                      <a:pt x="119" y="72"/>
                      <a:pt x="120" y="78"/>
                      <a:pt x="121" y="81"/>
                    </a:cubicBezTo>
                    <a:cubicBezTo>
                      <a:pt x="122" y="84"/>
                      <a:pt x="123" y="85"/>
                      <a:pt x="124" y="86"/>
                    </a:cubicBezTo>
                    <a:cubicBezTo>
                      <a:pt x="125" y="89"/>
                      <a:pt x="124" y="93"/>
                      <a:pt x="124" y="96"/>
                    </a:cubicBezTo>
                    <a:cubicBezTo>
                      <a:pt x="125" y="99"/>
                      <a:pt x="128" y="100"/>
                      <a:pt x="127" y="103"/>
                    </a:cubicBezTo>
                    <a:cubicBezTo>
                      <a:pt x="128" y="99"/>
                      <a:pt x="127" y="94"/>
                      <a:pt x="127" y="89"/>
                    </a:cubicBezTo>
                    <a:cubicBezTo>
                      <a:pt x="127" y="88"/>
                      <a:pt x="126" y="85"/>
                      <a:pt x="128" y="85"/>
                    </a:cubicBezTo>
                    <a:cubicBezTo>
                      <a:pt x="128" y="85"/>
                      <a:pt x="129" y="85"/>
                      <a:pt x="129" y="85"/>
                    </a:cubicBezTo>
                    <a:cubicBezTo>
                      <a:pt x="130" y="85"/>
                      <a:pt x="129" y="86"/>
                      <a:pt x="130" y="86"/>
                    </a:cubicBezTo>
                    <a:cubicBezTo>
                      <a:pt x="131" y="86"/>
                      <a:pt x="131" y="88"/>
                      <a:pt x="132" y="88"/>
                    </a:cubicBezTo>
                    <a:cubicBezTo>
                      <a:pt x="132" y="88"/>
                      <a:pt x="132" y="87"/>
                      <a:pt x="133" y="85"/>
                    </a:cubicBezTo>
                    <a:cubicBezTo>
                      <a:pt x="133" y="83"/>
                      <a:pt x="135" y="83"/>
                      <a:pt x="135" y="82"/>
                    </a:cubicBezTo>
                    <a:cubicBezTo>
                      <a:pt x="136" y="81"/>
                      <a:pt x="138" y="77"/>
                      <a:pt x="138" y="76"/>
                    </a:cubicBezTo>
                    <a:cubicBezTo>
                      <a:pt x="140" y="72"/>
                      <a:pt x="139" y="67"/>
                      <a:pt x="138" y="63"/>
                    </a:cubicBezTo>
                    <a:cubicBezTo>
                      <a:pt x="138" y="60"/>
                      <a:pt x="135" y="58"/>
                      <a:pt x="132" y="56"/>
                    </a:cubicBezTo>
                    <a:cubicBezTo>
                      <a:pt x="136" y="53"/>
                      <a:pt x="134" y="49"/>
                      <a:pt x="135" y="46"/>
                    </a:cubicBezTo>
                    <a:cubicBezTo>
                      <a:pt x="134" y="47"/>
                      <a:pt x="133" y="47"/>
                      <a:pt x="132" y="47"/>
                    </a:cubicBezTo>
                    <a:cubicBezTo>
                      <a:pt x="130" y="47"/>
                      <a:pt x="134" y="43"/>
                      <a:pt x="133" y="39"/>
                    </a:cubicBezTo>
                    <a:cubicBezTo>
                      <a:pt x="133" y="38"/>
                      <a:pt x="131" y="37"/>
                      <a:pt x="130" y="37"/>
                    </a:cubicBezTo>
                    <a:cubicBezTo>
                      <a:pt x="129" y="37"/>
                      <a:pt x="129" y="37"/>
                      <a:pt x="128" y="37"/>
                    </a:cubicBezTo>
                    <a:cubicBezTo>
                      <a:pt x="128" y="38"/>
                      <a:pt x="127" y="38"/>
                      <a:pt x="127" y="38"/>
                    </a:cubicBezTo>
                    <a:cubicBezTo>
                      <a:pt x="126" y="38"/>
                      <a:pt x="126" y="37"/>
                      <a:pt x="126" y="37"/>
                    </a:cubicBezTo>
                    <a:cubicBezTo>
                      <a:pt x="123" y="34"/>
                      <a:pt x="130" y="32"/>
                      <a:pt x="130" y="30"/>
                    </a:cubicBezTo>
                    <a:cubicBezTo>
                      <a:pt x="133" y="25"/>
                      <a:pt x="128" y="20"/>
                      <a:pt x="128" y="15"/>
                    </a:cubicBezTo>
                    <a:cubicBezTo>
                      <a:pt x="126" y="16"/>
                      <a:pt x="125" y="16"/>
                      <a:pt x="124" y="16"/>
                    </a:cubicBezTo>
                    <a:cubicBezTo>
                      <a:pt x="123" y="16"/>
                      <a:pt x="122" y="14"/>
                      <a:pt x="120" y="11"/>
                    </a:cubicBezTo>
                    <a:cubicBezTo>
                      <a:pt x="118" y="6"/>
                      <a:pt x="110" y="3"/>
                      <a:pt x="1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Freeform 1162"/>
              <p:cNvSpPr/>
              <p:nvPr/>
            </p:nvSpPr>
            <p:spPr bwMode="auto">
              <a:xfrm>
                <a:off x="2083" y="178"/>
                <a:ext cx="19" cy="16"/>
              </a:xfrm>
              <a:custGeom>
                <a:gdLst>
                  <a:gd name="T0" fmla="*/ 4 w 8"/>
                  <a:gd name="T1" fmla="*/ 0 h 7"/>
                  <a:gd name="T2" fmla="*/ 0 w 8"/>
                  <a:gd name="T3" fmla="*/ 1 h 7"/>
                  <a:gd name="T4" fmla="*/ 6 w 8"/>
                  <a:gd name="T5" fmla="*/ 7 h 7"/>
                  <a:gd name="T6" fmla="*/ 6 w 8"/>
                  <a:gd name="T7" fmla="*/ 0 h 7"/>
                  <a:gd name="T8" fmla="*/ 4 w 8"/>
                  <a:gd name="T9" fmla="*/ 0 h 7"/>
                </a:gdLst>
                <a:cxnLst>
                  <a:cxn ang="0">
                    <a:pos x="T0" y="T1"/>
                  </a:cxn>
                  <a:cxn ang="0">
                    <a:pos x="T2" y="T3"/>
                  </a:cxn>
                  <a:cxn ang="0">
                    <a:pos x="T4" y="T5"/>
                  </a:cxn>
                  <a:cxn ang="0">
                    <a:pos x="T6" y="T7"/>
                  </a:cxn>
                  <a:cxn ang="0">
                    <a:pos x="T8" y="T9"/>
                  </a:cxn>
                </a:cxnLst>
                <a:rect l="0" t="0" r="r" b="b"/>
                <a:pathLst>
                  <a:path w="8" h="7">
                    <a:moveTo>
                      <a:pt x="4" y="0"/>
                    </a:moveTo>
                    <a:cubicBezTo>
                      <a:pt x="3" y="0"/>
                      <a:pt x="0" y="0"/>
                      <a:pt x="0" y="1"/>
                    </a:cubicBezTo>
                    <a:cubicBezTo>
                      <a:pt x="0" y="2"/>
                      <a:pt x="6" y="6"/>
                      <a:pt x="6" y="7"/>
                    </a:cubicBezTo>
                    <a:cubicBezTo>
                      <a:pt x="7" y="4"/>
                      <a:pt x="8" y="1"/>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Freeform 1163"/>
              <p:cNvSpPr/>
              <p:nvPr/>
            </p:nvSpPr>
            <p:spPr bwMode="auto">
              <a:xfrm>
                <a:off x="2036" y="0"/>
                <a:ext cx="26" cy="29"/>
              </a:xfrm>
              <a:custGeom>
                <a:gdLst>
                  <a:gd name="T0" fmla="*/ 8 w 11"/>
                  <a:gd name="T1" fmla="*/ 0 h 12"/>
                  <a:gd name="T2" fmla="*/ 4 w 11"/>
                  <a:gd name="T3" fmla="*/ 0 h 12"/>
                  <a:gd name="T4" fmla="*/ 6 w 11"/>
                  <a:gd name="T5" fmla="*/ 12 h 12"/>
                  <a:gd name="T6" fmla="*/ 7 w 11"/>
                  <a:gd name="T7" fmla="*/ 5 h 12"/>
                  <a:gd name="T8" fmla="*/ 8 w 11"/>
                  <a:gd name="T9" fmla="*/ 2 h 12"/>
                  <a:gd name="T10" fmla="*/ 8 w 11"/>
                  <a:gd name="T11" fmla="*/ 0 h 12"/>
                </a:gdLst>
                <a:cxnLst>
                  <a:cxn ang="0">
                    <a:pos x="T0" y="T1"/>
                  </a:cxn>
                  <a:cxn ang="0">
                    <a:pos x="T2" y="T3"/>
                  </a:cxn>
                  <a:cxn ang="0">
                    <a:pos x="T4" y="T5"/>
                  </a:cxn>
                  <a:cxn ang="0">
                    <a:pos x="T6" y="T7"/>
                  </a:cxn>
                  <a:cxn ang="0">
                    <a:pos x="T8" y="T9"/>
                  </a:cxn>
                  <a:cxn ang="0">
                    <a:pos x="T10" y="T11"/>
                  </a:cxn>
                </a:cxnLst>
                <a:rect l="0" t="0" r="r" b="b"/>
                <a:pathLst>
                  <a:path w="11" h="12">
                    <a:moveTo>
                      <a:pt x="8" y="0"/>
                    </a:moveTo>
                    <a:cubicBezTo>
                      <a:pt x="4" y="0"/>
                      <a:pt x="4" y="0"/>
                      <a:pt x="4" y="0"/>
                    </a:cubicBezTo>
                    <a:cubicBezTo>
                      <a:pt x="0" y="2"/>
                      <a:pt x="5" y="9"/>
                      <a:pt x="6" y="12"/>
                    </a:cubicBezTo>
                    <a:cubicBezTo>
                      <a:pt x="11" y="8"/>
                      <a:pt x="7" y="8"/>
                      <a:pt x="7" y="5"/>
                    </a:cubicBezTo>
                    <a:cubicBezTo>
                      <a:pt x="7" y="4"/>
                      <a:pt x="8" y="3"/>
                      <a:pt x="8" y="2"/>
                    </a:cubicBezTo>
                    <a:cubicBezTo>
                      <a:pt x="8" y="2"/>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Freeform 1164"/>
              <p:cNvSpPr>
                <a:spLocks noEditPoints="1"/>
              </p:cNvSpPr>
              <p:nvPr/>
            </p:nvSpPr>
            <p:spPr bwMode="auto">
              <a:xfrm flipH="1">
                <a:off x="1880" y="702"/>
                <a:ext cx="0" cy="5"/>
              </a:xfrm>
              <a:custGeom>
                <a:gdLst>
                  <a:gd name="T0" fmla="*/ 2 h 2"/>
                  <a:gd name="T1" fmla="*/ 2 h 2"/>
                  <a:gd name="T2" fmla="*/ 2 h 2"/>
                  <a:gd name="T3" fmla="*/ 0 h 2"/>
                  <a:gd name="T4" fmla="*/ 2 h 2"/>
                  <a:gd name="T5" fmla="*/ 0 h 2"/>
                </a:gdLst>
                <a:cxnLst>
                  <a:cxn ang="0">
                    <a:pos x="0" y="T0"/>
                  </a:cxn>
                  <a:cxn ang="0">
                    <a:pos x="0" y="T1"/>
                  </a:cxn>
                  <a:cxn ang="0">
                    <a:pos x="0" y="T2"/>
                  </a:cxn>
                  <a:cxn ang="0">
                    <a:pos x="0" y="T3"/>
                  </a:cxn>
                  <a:cxn ang="0">
                    <a:pos x="0" y="T4"/>
                  </a:cxn>
                  <a:cxn ang="0">
                    <a:pos x="0" y="T5"/>
                  </a:cxn>
                </a:cxnLst>
                <a:rect l="0" t="0" r="r" b="b"/>
                <a:pathLst>
                  <a:path h="2">
                    <a:moveTo>
                      <a:pt x="0" y="2"/>
                    </a:moveTo>
                    <a:cubicBezTo>
                      <a:pt x="0" y="2"/>
                      <a:pt x="0" y="2"/>
                      <a:pt x="0" y="2"/>
                    </a:cubicBezTo>
                    <a:cubicBezTo>
                      <a:pt x="0" y="2"/>
                      <a:pt x="0" y="2"/>
                      <a:pt x="0" y="2"/>
                    </a:cubicBezTo>
                    <a:moveTo>
                      <a:pt x="0" y="0"/>
                    </a:moveTo>
                    <a:cubicBezTo>
                      <a:pt x="0" y="1"/>
                      <a:pt x="0" y="1"/>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1165"/>
              <p:cNvSpPr/>
              <p:nvPr/>
            </p:nvSpPr>
            <p:spPr bwMode="auto">
              <a:xfrm>
                <a:off x="2086" y="298"/>
                <a:ext cx="16" cy="26"/>
              </a:xfrm>
              <a:custGeom>
                <a:gdLst>
                  <a:gd name="T0" fmla="*/ 6 w 7"/>
                  <a:gd name="T1" fmla="*/ 0 h 11"/>
                  <a:gd name="T2" fmla="*/ 2 w 7"/>
                  <a:gd name="T3" fmla="*/ 6 h 11"/>
                  <a:gd name="T4" fmla="*/ 2 w 7"/>
                  <a:gd name="T5" fmla="*/ 11 h 11"/>
                  <a:gd name="T6" fmla="*/ 6 w 7"/>
                  <a:gd name="T7" fmla="*/ 0 h 11"/>
                </a:gdLst>
                <a:cxnLst>
                  <a:cxn ang="0">
                    <a:pos x="T0" y="T1"/>
                  </a:cxn>
                  <a:cxn ang="0">
                    <a:pos x="T2" y="T3"/>
                  </a:cxn>
                  <a:cxn ang="0">
                    <a:pos x="T4" y="T5"/>
                  </a:cxn>
                  <a:cxn ang="0">
                    <a:pos x="T6" y="T7"/>
                  </a:cxn>
                </a:cxnLst>
                <a:rect l="0" t="0" r="r" b="b"/>
                <a:pathLst>
                  <a:path w="7" h="11">
                    <a:moveTo>
                      <a:pt x="6" y="0"/>
                    </a:moveTo>
                    <a:cubicBezTo>
                      <a:pt x="5" y="2"/>
                      <a:pt x="1" y="4"/>
                      <a:pt x="2" y="6"/>
                    </a:cubicBezTo>
                    <a:cubicBezTo>
                      <a:pt x="0" y="8"/>
                      <a:pt x="1" y="9"/>
                      <a:pt x="2" y="11"/>
                    </a:cubicBezTo>
                    <a:cubicBezTo>
                      <a:pt x="5" y="7"/>
                      <a:pt x="7"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Freeform 1166"/>
              <p:cNvSpPr/>
              <p:nvPr/>
            </p:nvSpPr>
            <p:spPr bwMode="auto">
              <a:xfrm>
                <a:off x="2322" y="348"/>
                <a:ext cx="19" cy="21"/>
              </a:xfrm>
              <a:custGeom>
                <a:gdLst>
                  <a:gd name="T0" fmla="*/ 4 w 8"/>
                  <a:gd name="T1" fmla="*/ 0 h 9"/>
                  <a:gd name="T2" fmla="*/ 4 w 8"/>
                  <a:gd name="T3" fmla="*/ 9 h 9"/>
                  <a:gd name="T4" fmla="*/ 8 w 8"/>
                  <a:gd name="T5" fmla="*/ 7 h 9"/>
                  <a:gd name="T6" fmla="*/ 4 w 8"/>
                  <a:gd name="T7" fmla="*/ 0 h 9"/>
                </a:gdLst>
                <a:cxnLst>
                  <a:cxn ang="0">
                    <a:pos x="T0" y="T1"/>
                  </a:cxn>
                  <a:cxn ang="0">
                    <a:pos x="T2" y="T3"/>
                  </a:cxn>
                  <a:cxn ang="0">
                    <a:pos x="T4" y="T5"/>
                  </a:cxn>
                  <a:cxn ang="0">
                    <a:pos x="T6" y="T7"/>
                  </a:cxn>
                </a:cxnLst>
                <a:rect l="0" t="0" r="r" b="b"/>
                <a:pathLst>
                  <a:path w="8" h="9">
                    <a:moveTo>
                      <a:pt x="4" y="0"/>
                    </a:moveTo>
                    <a:cubicBezTo>
                      <a:pt x="3" y="3"/>
                      <a:pt x="0" y="6"/>
                      <a:pt x="4" y="9"/>
                    </a:cubicBezTo>
                    <a:cubicBezTo>
                      <a:pt x="5" y="8"/>
                      <a:pt x="7" y="8"/>
                      <a:pt x="8" y="7"/>
                    </a:cubicBezTo>
                    <a:cubicBezTo>
                      <a:pt x="6" y="5"/>
                      <a:pt x="6"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1167"/>
              <p:cNvSpPr/>
              <p:nvPr/>
            </p:nvSpPr>
            <p:spPr bwMode="auto">
              <a:xfrm>
                <a:off x="2154" y="400"/>
                <a:ext cx="19" cy="14"/>
              </a:xfrm>
              <a:custGeom>
                <a:gdLst>
                  <a:gd name="T0" fmla="*/ 4 w 8"/>
                  <a:gd name="T1" fmla="*/ 0 h 6"/>
                  <a:gd name="T2" fmla="*/ 0 w 8"/>
                  <a:gd name="T3" fmla="*/ 3 h 6"/>
                  <a:gd name="T4" fmla="*/ 4 w 8"/>
                  <a:gd name="T5" fmla="*/ 6 h 6"/>
                  <a:gd name="T6" fmla="*/ 4 w 8"/>
                  <a:gd name="T7" fmla="*/ 0 h 6"/>
                </a:gdLst>
                <a:cxnLst>
                  <a:cxn ang="0">
                    <a:pos x="T0" y="T1"/>
                  </a:cxn>
                  <a:cxn ang="0">
                    <a:pos x="T2" y="T3"/>
                  </a:cxn>
                  <a:cxn ang="0">
                    <a:pos x="T4" y="T5"/>
                  </a:cxn>
                  <a:cxn ang="0">
                    <a:pos x="T6" y="T7"/>
                  </a:cxn>
                </a:cxnLst>
                <a:rect l="0" t="0" r="r" b="b"/>
                <a:pathLst>
                  <a:path w="8" h="6">
                    <a:moveTo>
                      <a:pt x="4" y="0"/>
                    </a:moveTo>
                    <a:cubicBezTo>
                      <a:pt x="4" y="2"/>
                      <a:pt x="0" y="2"/>
                      <a:pt x="0" y="3"/>
                    </a:cubicBezTo>
                    <a:cubicBezTo>
                      <a:pt x="0" y="4"/>
                      <a:pt x="3" y="6"/>
                      <a:pt x="4" y="6"/>
                    </a:cubicBezTo>
                    <a:cubicBezTo>
                      <a:pt x="8" y="5"/>
                      <a:pt x="7"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Freeform 1168"/>
              <p:cNvSpPr/>
              <p:nvPr/>
            </p:nvSpPr>
            <p:spPr bwMode="auto">
              <a:xfrm>
                <a:off x="1708" y="483"/>
                <a:ext cx="11" cy="21"/>
              </a:xfrm>
              <a:custGeom>
                <a:gdLst>
                  <a:gd name="T0" fmla="*/ 2 w 5"/>
                  <a:gd name="T1" fmla="*/ 0 h 9"/>
                  <a:gd name="T2" fmla="*/ 2 w 5"/>
                  <a:gd name="T3" fmla="*/ 9 h 9"/>
                  <a:gd name="T4" fmla="*/ 3 w 5"/>
                  <a:gd name="T5" fmla="*/ 3 h 9"/>
                  <a:gd name="T6" fmla="*/ 4 w 5"/>
                  <a:gd name="T7" fmla="*/ 1 h 9"/>
                  <a:gd name="T8" fmla="*/ 2 w 5"/>
                  <a:gd name="T9" fmla="*/ 0 h 9"/>
                </a:gdLst>
                <a:cxnLst>
                  <a:cxn ang="0">
                    <a:pos x="T0" y="T1"/>
                  </a:cxn>
                  <a:cxn ang="0">
                    <a:pos x="T2" y="T3"/>
                  </a:cxn>
                  <a:cxn ang="0">
                    <a:pos x="T4" y="T5"/>
                  </a:cxn>
                  <a:cxn ang="0">
                    <a:pos x="T6" y="T7"/>
                  </a:cxn>
                  <a:cxn ang="0">
                    <a:pos x="T8" y="T9"/>
                  </a:cxn>
                </a:cxnLst>
                <a:rect l="0" t="0" r="r" b="b"/>
                <a:pathLst>
                  <a:path w="5" h="9">
                    <a:moveTo>
                      <a:pt x="2" y="0"/>
                    </a:moveTo>
                    <a:cubicBezTo>
                      <a:pt x="0" y="0"/>
                      <a:pt x="2" y="7"/>
                      <a:pt x="2" y="9"/>
                    </a:cubicBezTo>
                    <a:cubicBezTo>
                      <a:pt x="3" y="6"/>
                      <a:pt x="5" y="5"/>
                      <a:pt x="3" y="3"/>
                    </a:cubicBezTo>
                    <a:cubicBezTo>
                      <a:pt x="3" y="3"/>
                      <a:pt x="4" y="1"/>
                      <a:pt x="4" y="1"/>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1169"/>
              <p:cNvSpPr/>
              <p:nvPr/>
            </p:nvSpPr>
            <p:spPr bwMode="auto">
              <a:xfrm>
                <a:off x="2043" y="575"/>
                <a:ext cx="38" cy="23"/>
              </a:xfrm>
              <a:custGeom>
                <a:gdLst>
                  <a:gd name="T0" fmla="*/ 7 w 16"/>
                  <a:gd name="T1" fmla="*/ 0 h 10"/>
                  <a:gd name="T2" fmla="*/ 4 w 16"/>
                  <a:gd name="T3" fmla="*/ 2 h 10"/>
                  <a:gd name="T4" fmla="*/ 1 w 16"/>
                  <a:gd name="T5" fmla="*/ 3 h 10"/>
                  <a:gd name="T6" fmla="*/ 0 w 16"/>
                  <a:gd name="T7" fmla="*/ 2 h 10"/>
                  <a:gd name="T8" fmla="*/ 4 w 16"/>
                  <a:gd name="T9" fmla="*/ 10 h 10"/>
                  <a:gd name="T10" fmla="*/ 10 w 16"/>
                  <a:gd name="T11" fmla="*/ 9 h 10"/>
                  <a:gd name="T12" fmla="*/ 11 w 16"/>
                  <a:gd name="T13" fmla="*/ 6 h 10"/>
                  <a:gd name="T14" fmla="*/ 11 w 16"/>
                  <a:gd name="T15" fmla="*/ 3 h 10"/>
                  <a:gd name="T16" fmla="*/ 7 w 16"/>
                  <a:gd name="T17" fmla="*/ 0 h 10"/>
                  <a:gd name="T18" fmla="*/ 7 w 16"/>
                  <a:gd name="T1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7" y="0"/>
                    </a:moveTo>
                    <a:cubicBezTo>
                      <a:pt x="5" y="0"/>
                      <a:pt x="5" y="1"/>
                      <a:pt x="4" y="2"/>
                    </a:cubicBezTo>
                    <a:cubicBezTo>
                      <a:pt x="3" y="2"/>
                      <a:pt x="2" y="3"/>
                      <a:pt x="1" y="3"/>
                    </a:cubicBezTo>
                    <a:cubicBezTo>
                      <a:pt x="1" y="3"/>
                      <a:pt x="0" y="3"/>
                      <a:pt x="0" y="2"/>
                    </a:cubicBezTo>
                    <a:cubicBezTo>
                      <a:pt x="1" y="5"/>
                      <a:pt x="3" y="8"/>
                      <a:pt x="4" y="10"/>
                    </a:cubicBezTo>
                    <a:cubicBezTo>
                      <a:pt x="5" y="10"/>
                      <a:pt x="9" y="10"/>
                      <a:pt x="10" y="9"/>
                    </a:cubicBezTo>
                    <a:cubicBezTo>
                      <a:pt x="10" y="8"/>
                      <a:pt x="10" y="7"/>
                      <a:pt x="11" y="6"/>
                    </a:cubicBezTo>
                    <a:cubicBezTo>
                      <a:pt x="13" y="5"/>
                      <a:pt x="16" y="4"/>
                      <a:pt x="11" y="3"/>
                    </a:cubicBezTo>
                    <a:cubicBezTo>
                      <a:pt x="9" y="3"/>
                      <a:pt x="9" y="1"/>
                      <a:pt x="7"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1170"/>
              <p:cNvSpPr/>
              <p:nvPr/>
            </p:nvSpPr>
            <p:spPr bwMode="auto">
              <a:xfrm>
                <a:off x="2305" y="546"/>
                <a:ext cx="7" cy="19"/>
              </a:xfrm>
              <a:custGeom>
                <a:gdLst>
                  <a:gd name="T0" fmla="*/ 1 w 3"/>
                  <a:gd name="T1" fmla="*/ 0 h 8"/>
                  <a:gd name="T2" fmla="*/ 3 w 3"/>
                  <a:gd name="T3" fmla="*/ 8 h 8"/>
                  <a:gd name="T4" fmla="*/ 1 w 3"/>
                  <a:gd name="T5" fmla="*/ 0 h 8"/>
                </a:gdLst>
                <a:cxnLst>
                  <a:cxn ang="0">
                    <a:pos x="T0" y="T1"/>
                  </a:cxn>
                  <a:cxn ang="0">
                    <a:pos x="T2" y="T3"/>
                  </a:cxn>
                  <a:cxn ang="0">
                    <a:pos x="T4" y="T5"/>
                  </a:cxn>
                </a:cxnLst>
                <a:rect l="0" t="0" r="r" b="b"/>
                <a:pathLst>
                  <a:path w="3" h="8">
                    <a:moveTo>
                      <a:pt x="1" y="0"/>
                    </a:moveTo>
                    <a:cubicBezTo>
                      <a:pt x="0" y="2"/>
                      <a:pt x="2" y="5"/>
                      <a:pt x="3" y="8"/>
                    </a:cubicBezTo>
                    <a:cubicBezTo>
                      <a:pt x="2" y="5"/>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1171"/>
              <p:cNvSpPr/>
              <p:nvPr/>
            </p:nvSpPr>
            <p:spPr bwMode="auto">
              <a:xfrm>
                <a:off x="2159" y="163"/>
                <a:ext cx="19" cy="24"/>
              </a:xfrm>
              <a:custGeom>
                <a:gdLst>
                  <a:gd name="T0" fmla="*/ 2 w 8"/>
                  <a:gd name="T1" fmla="*/ 0 h 10"/>
                  <a:gd name="T2" fmla="*/ 8 w 8"/>
                  <a:gd name="T3" fmla="*/ 10 h 10"/>
                  <a:gd name="T4" fmla="*/ 2 w 8"/>
                  <a:gd name="T5" fmla="*/ 0 h 10"/>
                </a:gdLst>
                <a:cxnLst>
                  <a:cxn ang="0">
                    <a:pos x="T0" y="T1"/>
                  </a:cxn>
                  <a:cxn ang="0">
                    <a:pos x="T2" y="T3"/>
                  </a:cxn>
                  <a:cxn ang="0">
                    <a:pos x="T4" y="T5"/>
                  </a:cxn>
                </a:cxnLst>
                <a:rect l="0" t="0" r="r" b="b"/>
                <a:pathLst>
                  <a:path w="8" h="10">
                    <a:moveTo>
                      <a:pt x="2" y="0"/>
                    </a:moveTo>
                    <a:cubicBezTo>
                      <a:pt x="0" y="3"/>
                      <a:pt x="6" y="9"/>
                      <a:pt x="8" y="10"/>
                    </a:cubicBezTo>
                    <a:cubicBezTo>
                      <a:pt x="6" y="7"/>
                      <a:pt x="5"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Freeform 1172"/>
              <p:cNvSpPr/>
              <p:nvPr/>
            </p:nvSpPr>
            <p:spPr bwMode="auto">
              <a:xfrm>
                <a:off x="2043" y="218"/>
                <a:ext cx="90" cy="101"/>
              </a:xfrm>
              <a:custGeom>
                <a:gdLst>
                  <a:gd name="T0" fmla="*/ 3 w 38"/>
                  <a:gd name="T1" fmla="*/ 0 h 43"/>
                  <a:gd name="T2" fmla="*/ 1 w 38"/>
                  <a:gd name="T3" fmla="*/ 4 h 43"/>
                  <a:gd name="T4" fmla="*/ 2 w 38"/>
                  <a:gd name="T5" fmla="*/ 5 h 43"/>
                  <a:gd name="T6" fmla="*/ 7 w 38"/>
                  <a:gd name="T7" fmla="*/ 13 h 43"/>
                  <a:gd name="T8" fmla="*/ 6 w 38"/>
                  <a:gd name="T9" fmla="*/ 21 h 43"/>
                  <a:gd name="T10" fmla="*/ 4 w 38"/>
                  <a:gd name="T11" fmla="*/ 31 h 43"/>
                  <a:gd name="T12" fmla="*/ 4 w 38"/>
                  <a:gd name="T13" fmla="*/ 43 h 43"/>
                  <a:gd name="T14" fmla="*/ 6 w 38"/>
                  <a:gd name="T15" fmla="*/ 43 h 43"/>
                  <a:gd name="T16" fmla="*/ 29 w 38"/>
                  <a:gd name="T17" fmla="*/ 30 h 43"/>
                  <a:gd name="T18" fmla="*/ 37 w 38"/>
                  <a:gd name="T19" fmla="*/ 22 h 43"/>
                  <a:gd name="T20" fmla="*/ 37 w 38"/>
                  <a:gd name="T21" fmla="*/ 20 h 43"/>
                  <a:gd name="T22" fmla="*/ 38 w 38"/>
                  <a:gd name="T23" fmla="*/ 15 h 43"/>
                  <a:gd name="T24" fmla="*/ 36 w 38"/>
                  <a:gd name="T25" fmla="*/ 12 h 43"/>
                  <a:gd name="T26" fmla="*/ 30 w 38"/>
                  <a:gd name="T27" fmla="*/ 14 h 43"/>
                  <a:gd name="T28" fmla="*/ 20 w 38"/>
                  <a:gd name="T29" fmla="*/ 10 h 43"/>
                  <a:gd name="T30" fmla="*/ 3 w 38"/>
                  <a:gd name="T31"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43">
                    <a:moveTo>
                      <a:pt x="3" y="0"/>
                    </a:moveTo>
                    <a:cubicBezTo>
                      <a:pt x="1" y="0"/>
                      <a:pt x="1" y="2"/>
                      <a:pt x="1" y="4"/>
                    </a:cubicBezTo>
                    <a:cubicBezTo>
                      <a:pt x="1" y="4"/>
                      <a:pt x="2" y="5"/>
                      <a:pt x="2" y="5"/>
                    </a:cubicBezTo>
                    <a:cubicBezTo>
                      <a:pt x="8" y="7"/>
                      <a:pt x="8" y="7"/>
                      <a:pt x="7" y="13"/>
                    </a:cubicBezTo>
                    <a:cubicBezTo>
                      <a:pt x="7" y="15"/>
                      <a:pt x="6" y="18"/>
                      <a:pt x="6" y="21"/>
                    </a:cubicBezTo>
                    <a:cubicBezTo>
                      <a:pt x="6" y="26"/>
                      <a:pt x="5" y="27"/>
                      <a:pt x="4" y="31"/>
                    </a:cubicBezTo>
                    <a:cubicBezTo>
                      <a:pt x="4" y="34"/>
                      <a:pt x="0" y="43"/>
                      <a:pt x="4" y="43"/>
                    </a:cubicBezTo>
                    <a:cubicBezTo>
                      <a:pt x="4" y="43"/>
                      <a:pt x="5" y="43"/>
                      <a:pt x="6" y="43"/>
                    </a:cubicBezTo>
                    <a:cubicBezTo>
                      <a:pt x="13" y="39"/>
                      <a:pt x="23" y="36"/>
                      <a:pt x="29" y="30"/>
                    </a:cubicBezTo>
                    <a:cubicBezTo>
                      <a:pt x="31" y="28"/>
                      <a:pt x="36" y="25"/>
                      <a:pt x="37" y="22"/>
                    </a:cubicBezTo>
                    <a:cubicBezTo>
                      <a:pt x="38" y="21"/>
                      <a:pt x="36" y="21"/>
                      <a:pt x="37" y="20"/>
                    </a:cubicBezTo>
                    <a:cubicBezTo>
                      <a:pt x="37" y="18"/>
                      <a:pt x="38" y="17"/>
                      <a:pt x="38" y="15"/>
                    </a:cubicBezTo>
                    <a:cubicBezTo>
                      <a:pt x="38" y="13"/>
                      <a:pt x="37" y="12"/>
                      <a:pt x="36" y="12"/>
                    </a:cubicBezTo>
                    <a:cubicBezTo>
                      <a:pt x="35" y="12"/>
                      <a:pt x="33" y="13"/>
                      <a:pt x="30" y="14"/>
                    </a:cubicBezTo>
                    <a:cubicBezTo>
                      <a:pt x="28" y="12"/>
                      <a:pt x="23" y="12"/>
                      <a:pt x="20" y="10"/>
                    </a:cubicBezTo>
                    <a:cubicBezTo>
                      <a:pt x="14" y="6"/>
                      <a:pt x="9"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1173"/>
              <p:cNvSpPr/>
              <p:nvPr/>
            </p:nvSpPr>
            <p:spPr bwMode="auto">
              <a:xfrm>
                <a:off x="2119" y="137"/>
                <a:ext cx="7" cy="5"/>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0" y="1"/>
                      <a:pt x="1"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1174"/>
              <p:cNvSpPr/>
              <p:nvPr/>
            </p:nvSpPr>
            <p:spPr bwMode="auto">
              <a:xfrm>
                <a:off x="1908" y="674"/>
                <a:ext cx="26" cy="19"/>
              </a:xfrm>
              <a:custGeom>
                <a:gdLst>
                  <a:gd name="T0" fmla="*/ 9 w 11"/>
                  <a:gd name="T1" fmla="*/ 1 h 8"/>
                  <a:gd name="T2" fmla="*/ 0 w 11"/>
                  <a:gd name="T3" fmla="*/ 8 h 8"/>
                  <a:gd name="T4" fmla="*/ 4 w 11"/>
                  <a:gd name="T5" fmla="*/ 6 h 8"/>
                  <a:gd name="T6" fmla="*/ 4 w 11"/>
                  <a:gd name="T7" fmla="*/ 4 h 8"/>
                  <a:gd name="T8" fmla="*/ 5 w 11"/>
                  <a:gd name="T9" fmla="*/ 4 h 8"/>
                  <a:gd name="T10" fmla="*/ 6 w 11"/>
                  <a:gd name="T11" fmla="*/ 4 h 8"/>
                  <a:gd name="T12" fmla="*/ 7 w 11"/>
                  <a:gd name="T13" fmla="*/ 4 h 8"/>
                  <a:gd name="T14" fmla="*/ 7 w 11"/>
                  <a:gd name="T15" fmla="*/ 3 h 8"/>
                  <a:gd name="T16" fmla="*/ 8 w 11"/>
                  <a:gd name="T17" fmla="*/ 4 h 8"/>
                  <a:gd name="T18" fmla="*/ 10 w 11"/>
                  <a:gd name="T19" fmla="*/ 6 h 8"/>
                  <a:gd name="T20" fmla="*/ 11 w 11"/>
                  <a:gd name="T21" fmla="*/ 2 h 8"/>
                  <a:gd name="T22" fmla="*/ 9 w 11"/>
                  <a:gd name="T23" fmla="*/ 1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9" y="1"/>
                    </a:moveTo>
                    <a:cubicBezTo>
                      <a:pt x="7" y="0"/>
                      <a:pt x="1" y="6"/>
                      <a:pt x="0" y="8"/>
                    </a:cubicBezTo>
                    <a:cubicBezTo>
                      <a:pt x="1" y="7"/>
                      <a:pt x="3" y="6"/>
                      <a:pt x="4" y="6"/>
                    </a:cubicBezTo>
                    <a:cubicBezTo>
                      <a:pt x="4" y="6"/>
                      <a:pt x="4" y="5"/>
                      <a:pt x="4" y="4"/>
                    </a:cubicBezTo>
                    <a:cubicBezTo>
                      <a:pt x="5" y="4"/>
                      <a:pt x="5" y="4"/>
                      <a:pt x="5" y="4"/>
                    </a:cubicBezTo>
                    <a:cubicBezTo>
                      <a:pt x="5" y="4"/>
                      <a:pt x="6" y="4"/>
                      <a:pt x="6" y="4"/>
                    </a:cubicBezTo>
                    <a:cubicBezTo>
                      <a:pt x="6" y="4"/>
                      <a:pt x="6" y="4"/>
                      <a:pt x="7" y="4"/>
                    </a:cubicBezTo>
                    <a:cubicBezTo>
                      <a:pt x="7" y="4"/>
                      <a:pt x="7" y="4"/>
                      <a:pt x="7" y="3"/>
                    </a:cubicBezTo>
                    <a:cubicBezTo>
                      <a:pt x="8" y="3"/>
                      <a:pt x="8" y="4"/>
                      <a:pt x="8" y="4"/>
                    </a:cubicBezTo>
                    <a:cubicBezTo>
                      <a:pt x="9" y="4"/>
                      <a:pt x="9" y="5"/>
                      <a:pt x="10" y="6"/>
                    </a:cubicBezTo>
                    <a:cubicBezTo>
                      <a:pt x="10" y="5"/>
                      <a:pt x="11" y="3"/>
                      <a:pt x="11" y="2"/>
                    </a:cubicBezTo>
                    <a:cubicBezTo>
                      <a:pt x="11" y="1"/>
                      <a:pt x="10" y="1"/>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1175"/>
              <p:cNvSpPr/>
              <p:nvPr/>
            </p:nvSpPr>
            <p:spPr bwMode="auto">
              <a:xfrm>
                <a:off x="2216" y="234"/>
                <a:ext cx="23" cy="15"/>
              </a:xfrm>
              <a:custGeom>
                <a:gdLst>
                  <a:gd name="T0" fmla="*/ 2 w 10"/>
                  <a:gd name="T1" fmla="*/ 0 h 6"/>
                  <a:gd name="T2" fmla="*/ 0 w 10"/>
                  <a:gd name="T3" fmla="*/ 0 h 6"/>
                  <a:gd name="T4" fmla="*/ 4 w 10"/>
                  <a:gd name="T5" fmla="*/ 6 h 6"/>
                  <a:gd name="T6" fmla="*/ 2 w 10"/>
                  <a:gd name="T7" fmla="*/ 0 h 6"/>
                </a:gdLst>
                <a:cxnLst>
                  <a:cxn ang="0">
                    <a:pos x="T0" y="T1"/>
                  </a:cxn>
                  <a:cxn ang="0">
                    <a:pos x="T2" y="T3"/>
                  </a:cxn>
                  <a:cxn ang="0">
                    <a:pos x="T4" y="T5"/>
                  </a:cxn>
                  <a:cxn ang="0">
                    <a:pos x="T6" y="T7"/>
                  </a:cxn>
                </a:cxnLst>
                <a:rect l="0" t="0" r="r" b="b"/>
                <a:pathLst>
                  <a:path w="10" h="6">
                    <a:moveTo>
                      <a:pt x="2" y="0"/>
                    </a:moveTo>
                    <a:cubicBezTo>
                      <a:pt x="1" y="0"/>
                      <a:pt x="0" y="0"/>
                      <a:pt x="0" y="0"/>
                    </a:cubicBezTo>
                    <a:cubicBezTo>
                      <a:pt x="2" y="2"/>
                      <a:pt x="1" y="5"/>
                      <a:pt x="4" y="6"/>
                    </a:cubicBezTo>
                    <a:cubicBezTo>
                      <a:pt x="10" y="4"/>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Freeform 1176"/>
              <p:cNvSpPr/>
              <p:nvPr/>
            </p:nvSpPr>
            <p:spPr bwMode="auto">
              <a:xfrm>
                <a:off x="2041" y="104"/>
                <a:ext cx="26" cy="24"/>
              </a:xfrm>
              <a:custGeom>
                <a:gdLst>
                  <a:gd name="T0" fmla="*/ 2 w 11"/>
                  <a:gd name="T1" fmla="*/ 0 h 10"/>
                  <a:gd name="T2" fmla="*/ 1 w 11"/>
                  <a:gd name="T3" fmla="*/ 4 h 10"/>
                  <a:gd name="T4" fmla="*/ 7 w 11"/>
                  <a:gd name="T5" fmla="*/ 10 h 10"/>
                  <a:gd name="T6" fmla="*/ 7 w 11"/>
                  <a:gd name="T7" fmla="*/ 1 h 10"/>
                  <a:gd name="T8" fmla="*/ 2 w 11"/>
                  <a:gd name="T9" fmla="*/ 0 h 10"/>
                </a:gdLst>
                <a:cxnLst>
                  <a:cxn ang="0">
                    <a:pos x="T0" y="T1"/>
                  </a:cxn>
                  <a:cxn ang="0">
                    <a:pos x="T2" y="T3"/>
                  </a:cxn>
                  <a:cxn ang="0">
                    <a:pos x="T4" y="T5"/>
                  </a:cxn>
                  <a:cxn ang="0">
                    <a:pos x="T6" y="T7"/>
                  </a:cxn>
                  <a:cxn ang="0">
                    <a:pos x="T8" y="T9"/>
                  </a:cxn>
                </a:cxnLst>
                <a:rect l="0" t="0" r="r" b="b"/>
                <a:pathLst>
                  <a:path w="11" h="10">
                    <a:moveTo>
                      <a:pt x="2" y="0"/>
                    </a:moveTo>
                    <a:cubicBezTo>
                      <a:pt x="2" y="1"/>
                      <a:pt x="0" y="2"/>
                      <a:pt x="1" y="4"/>
                    </a:cubicBezTo>
                    <a:cubicBezTo>
                      <a:pt x="1" y="8"/>
                      <a:pt x="4" y="8"/>
                      <a:pt x="7" y="10"/>
                    </a:cubicBezTo>
                    <a:cubicBezTo>
                      <a:pt x="8" y="6"/>
                      <a:pt x="11" y="3"/>
                      <a:pt x="7" y="1"/>
                    </a:cubicBezTo>
                    <a:cubicBezTo>
                      <a:pt x="6"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1177"/>
              <p:cNvSpPr/>
              <p:nvPr/>
            </p:nvSpPr>
            <p:spPr bwMode="auto">
              <a:xfrm>
                <a:off x="1906" y="192"/>
                <a:ext cx="33" cy="23"/>
              </a:xfrm>
              <a:custGeom>
                <a:gdLst>
                  <a:gd name="T0" fmla="*/ 1 w 14"/>
                  <a:gd name="T1" fmla="*/ 0 h 10"/>
                  <a:gd name="T2" fmla="*/ 1 w 14"/>
                  <a:gd name="T3" fmla="*/ 0 h 10"/>
                  <a:gd name="T4" fmla="*/ 0 w 14"/>
                  <a:gd name="T5" fmla="*/ 3 h 10"/>
                  <a:gd name="T6" fmla="*/ 1 w 14"/>
                  <a:gd name="T7" fmla="*/ 3 h 10"/>
                  <a:gd name="T8" fmla="*/ 3 w 14"/>
                  <a:gd name="T9" fmla="*/ 6 h 10"/>
                  <a:gd name="T10" fmla="*/ 7 w 14"/>
                  <a:gd name="T11" fmla="*/ 10 h 10"/>
                  <a:gd name="T12" fmla="*/ 14 w 14"/>
                  <a:gd name="T13" fmla="*/ 6 h 10"/>
                  <a:gd name="T14" fmla="*/ 11 w 14"/>
                  <a:gd name="T15" fmla="*/ 2 h 10"/>
                  <a:gd name="T16" fmla="*/ 11 w 14"/>
                  <a:gd name="T17" fmla="*/ 5 h 10"/>
                  <a:gd name="T18" fmla="*/ 11 w 14"/>
                  <a:gd name="T19" fmla="*/ 5 h 10"/>
                  <a:gd name="T20" fmla="*/ 6 w 14"/>
                  <a:gd name="T21" fmla="*/ 2 h 10"/>
                  <a:gd name="T22" fmla="*/ 1 w 14"/>
                  <a:gd name="T23"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0">
                    <a:moveTo>
                      <a:pt x="1" y="0"/>
                    </a:moveTo>
                    <a:cubicBezTo>
                      <a:pt x="1" y="0"/>
                      <a:pt x="1" y="0"/>
                      <a:pt x="1" y="0"/>
                    </a:cubicBezTo>
                    <a:cubicBezTo>
                      <a:pt x="1" y="2"/>
                      <a:pt x="1" y="2"/>
                      <a:pt x="0" y="3"/>
                    </a:cubicBezTo>
                    <a:cubicBezTo>
                      <a:pt x="1" y="3"/>
                      <a:pt x="1" y="3"/>
                      <a:pt x="1" y="3"/>
                    </a:cubicBezTo>
                    <a:cubicBezTo>
                      <a:pt x="2" y="3"/>
                      <a:pt x="2" y="5"/>
                      <a:pt x="3" y="6"/>
                    </a:cubicBezTo>
                    <a:cubicBezTo>
                      <a:pt x="4" y="8"/>
                      <a:pt x="5" y="9"/>
                      <a:pt x="7" y="10"/>
                    </a:cubicBezTo>
                    <a:cubicBezTo>
                      <a:pt x="10" y="8"/>
                      <a:pt x="12" y="7"/>
                      <a:pt x="14" y="6"/>
                    </a:cubicBezTo>
                    <a:cubicBezTo>
                      <a:pt x="13" y="5"/>
                      <a:pt x="12" y="3"/>
                      <a:pt x="11" y="2"/>
                    </a:cubicBezTo>
                    <a:cubicBezTo>
                      <a:pt x="11" y="3"/>
                      <a:pt x="11" y="4"/>
                      <a:pt x="11" y="5"/>
                    </a:cubicBezTo>
                    <a:cubicBezTo>
                      <a:pt x="11" y="5"/>
                      <a:pt x="11" y="5"/>
                      <a:pt x="11" y="5"/>
                    </a:cubicBezTo>
                    <a:cubicBezTo>
                      <a:pt x="10" y="5"/>
                      <a:pt x="8" y="4"/>
                      <a:pt x="6" y="2"/>
                    </a:cubicBezTo>
                    <a:cubicBezTo>
                      <a:pt x="4"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Freeform 1178"/>
              <p:cNvSpPr/>
              <p:nvPr/>
            </p:nvSpPr>
            <p:spPr bwMode="auto">
              <a:xfrm>
                <a:off x="2294" y="319"/>
                <a:ext cx="11" cy="36"/>
              </a:xfrm>
              <a:custGeom>
                <a:gdLst>
                  <a:gd name="T0" fmla="*/ 4 w 5"/>
                  <a:gd name="T1" fmla="*/ 0 h 15"/>
                  <a:gd name="T2" fmla="*/ 0 w 5"/>
                  <a:gd name="T3" fmla="*/ 7 h 15"/>
                  <a:gd name="T4" fmla="*/ 1 w 5"/>
                  <a:gd name="T5" fmla="*/ 11 h 15"/>
                  <a:gd name="T6" fmla="*/ 2 w 5"/>
                  <a:gd name="T7" fmla="*/ 14 h 15"/>
                  <a:gd name="T8" fmla="*/ 3 w 5"/>
                  <a:gd name="T9" fmla="*/ 14 h 15"/>
                  <a:gd name="T10" fmla="*/ 3 w 5"/>
                  <a:gd name="T11" fmla="*/ 15 h 15"/>
                  <a:gd name="T12" fmla="*/ 4 w 5"/>
                  <a:gd name="T13" fmla="*/ 15 h 15"/>
                  <a:gd name="T14" fmla="*/ 4 w 5"/>
                  <a:gd name="T15" fmla="*/ 0 h 1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5">
                    <a:moveTo>
                      <a:pt x="4" y="0"/>
                    </a:moveTo>
                    <a:cubicBezTo>
                      <a:pt x="3" y="3"/>
                      <a:pt x="1" y="4"/>
                      <a:pt x="0" y="7"/>
                    </a:cubicBezTo>
                    <a:cubicBezTo>
                      <a:pt x="0" y="9"/>
                      <a:pt x="0" y="10"/>
                      <a:pt x="1" y="11"/>
                    </a:cubicBezTo>
                    <a:cubicBezTo>
                      <a:pt x="1" y="12"/>
                      <a:pt x="5" y="11"/>
                      <a:pt x="2" y="14"/>
                    </a:cubicBezTo>
                    <a:cubicBezTo>
                      <a:pt x="3" y="14"/>
                      <a:pt x="3" y="14"/>
                      <a:pt x="3" y="14"/>
                    </a:cubicBezTo>
                    <a:cubicBezTo>
                      <a:pt x="3" y="14"/>
                      <a:pt x="3" y="14"/>
                      <a:pt x="3" y="15"/>
                    </a:cubicBezTo>
                    <a:cubicBezTo>
                      <a:pt x="4" y="15"/>
                      <a:pt x="4" y="15"/>
                      <a:pt x="4" y="15"/>
                    </a:cubicBezTo>
                    <a:cubicBezTo>
                      <a:pt x="4" y="10"/>
                      <a:pt x="5" y="5"/>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1179"/>
              <p:cNvSpPr/>
              <p:nvPr/>
            </p:nvSpPr>
            <p:spPr bwMode="auto">
              <a:xfrm>
                <a:off x="1939" y="107"/>
                <a:ext cx="85" cy="90"/>
              </a:xfrm>
              <a:custGeom>
                <a:gdLst>
                  <a:gd name="T0" fmla="*/ 3 w 36"/>
                  <a:gd name="T1" fmla="*/ 0 h 38"/>
                  <a:gd name="T2" fmla="*/ 0 w 36"/>
                  <a:gd name="T3" fmla="*/ 2 h 38"/>
                  <a:gd name="T4" fmla="*/ 13 w 36"/>
                  <a:gd name="T5" fmla="*/ 19 h 38"/>
                  <a:gd name="T6" fmla="*/ 27 w 36"/>
                  <a:gd name="T7" fmla="*/ 38 h 38"/>
                  <a:gd name="T8" fmla="*/ 30 w 36"/>
                  <a:gd name="T9" fmla="*/ 35 h 38"/>
                  <a:gd name="T10" fmla="*/ 31 w 36"/>
                  <a:gd name="T11" fmla="*/ 36 h 38"/>
                  <a:gd name="T12" fmla="*/ 32 w 36"/>
                  <a:gd name="T13" fmla="*/ 34 h 38"/>
                  <a:gd name="T14" fmla="*/ 33 w 36"/>
                  <a:gd name="T15" fmla="*/ 34 h 38"/>
                  <a:gd name="T16" fmla="*/ 34 w 36"/>
                  <a:gd name="T17" fmla="*/ 29 h 38"/>
                  <a:gd name="T18" fmla="*/ 35 w 36"/>
                  <a:gd name="T19" fmla="*/ 20 h 38"/>
                  <a:gd name="T20" fmla="*/ 34 w 36"/>
                  <a:gd name="T21" fmla="*/ 15 h 38"/>
                  <a:gd name="T22" fmla="*/ 36 w 36"/>
                  <a:gd name="T23" fmla="*/ 12 h 38"/>
                  <a:gd name="T24" fmla="*/ 30 w 36"/>
                  <a:gd name="T25" fmla="*/ 8 h 38"/>
                  <a:gd name="T26" fmla="*/ 17 w 36"/>
                  <a:gd name="T27" fmla="*/ 0 h 38"/>
                  <a:gd name="T28" fmla="*/ 12 w 36"/>
                  <a:gd name="T29" fmla="*/ 1 h 38"/>
                  <a:gd name="T30" fmla="*/ 10 w 36"/>
                  <a:gd name="T31" fmla="*/ 1 h 38"/>
                  <a:gd name="T32" fmla="*/ 6 w 36"/>
                  <a:gd name="T33" fmla="*/ 0 h 38"/>
                  <a:gd name="T34" fmla="*/ 3 w 36"/>
                  <a:gd name="T35" fmla="*/ 0 h 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38">
                    <a:moveTo>
                      <a:pt x="3" y="0"/>
                    </a:moveTo>
                    <a:cubicBezTo>
                      <a:pt x="2" y="0"/>
                      <a:pt x="0" y="0"/>
                      <a:pt x="0" y="2"/>
                    </a:cubicBezTo>
                    <a:cubicBezTo>
                      <a:pt x="8" y="3"/>
                      <a:pt x="10" y="12"/>
                      <a:pt x="13" y="19"/>
                    </a:cubicBezTo>
                    <a:cubicBezTo>
                      <a:pt x="15" y="27"/>
                      <a:pt x="21" y="32"/>
                      <a:pt x="27" y="38"/>
                    </a:cubicBezTo>
                    <a:cubicBezTo>
                      <a:pt x="28" y="37"/>
                      <a:pt x="29" y="35"/>
                      <a:pt x="30" y="35"/>
                    </a:cubicBezTo>
                    <a:cubicBezTo>
                      <a:pt x="30" y="35"/>
                      <a:pt x="31" y="36"/>
                      <a:pt x="31" y="36"/>
                    </a:cubicBezTo>
                    <a:cubicBezTo>
                      <a:pt x="31" y="35"/>
                      <a:pt x="31" y="34"/>
                      <a:pt x="32" y="34"/>
                    </a:cubicBezTo>
                    <a:cubicBezTo>
                      <a:pt x="32" y="34"/>
                      <a:pt x="32" y="34"/>
                      <a:pt x="33" y="34"/>
                    </a:cubicBezTo>
                    <a:cubicBezTo>
                      <a:pt x="31" y="31"/>
                      <a:pt x="33" y="31"/>
                      <a:pt x="34" y="29"/>
                    </a:cubicBezTo>
                    <a:cubicBezTo>
                      <a:pt x="36" y="25"/>
                      <a:pt x="36" y="25"/>
                      <a:pt x="35" y="20"/>
                    </a:cubicBezTo>
                    <a:cubicBezTo>
                      <a:pt x="34" y="19"/>
                      <a:pt x="34" y="16"/>
                      <a:pt x="34" y="15"/>
                    </a:cubicBezTo>
                    <a:cubicBezTo>
                      <a:pt x="34" y="14"/>
                      <a:pt x="36" y="13"/>
                      <a:pt x="36" y="12"/>
                    </a:cubicBezTo>
                    <a:cubicBezTo>
                      <a:pt x="36" y="11"/>
                      <a:pt x="31" y="9"/>
                      <a:pt x="30" y="8"/>
                    </a:cubicBezTo>
                    <a:cubicBezTo>
                      <a:pt x="25" y="5"/>
                      <a:pt x="21" y="3"/>
                      <a:pt x="17" y="0"/>
                    </a:cubicBezTo>
                    <a:cubicBezTo>
                      <a:pt x="17" y="1"/>
                      <a:pt x="14" y="1"/>
                      <a:pt x="12" y="1"/>
                    </a:cubicBezTo>
                    <a:cubicBezTo>
                      <a:pt x="11" y="1"/>
                      <a:pt x="10" y="1"/>
                      <a:pt x="10" y="1"/>
                    </a:cubicBezTo>
                    <a:cubicBezTo>
                      <a:pt x="9" y="1"/>
                      <a:pt x="8" y="0"/>
                      <a:pt x="6"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Freeform 1180"/>
              <p:cNvSpPr/>
              <p:nvPr/>
            </p:nvSpPr>
            <p:spPr bwMode="auto">
              <a:xfrm>
                <a:off x="2045" y="166"/>
                <a:ext cx="22" cy="40"/>
              </a:xfrm>
              <a:custGeom>
                <a:gdLst>
                  <a:gd name="T0" fmla="*/ 7 w 9"/>
                  <a:gd name="T1" fmla="*/ 0 h 17"/>
                  <a:gd name="T2" fmla="*/ 6 w 9"/>
                  <a:gd name="T3" fmla="*/ 0 h 17"/>
                  <a:gd name="T4" fmla="*/ 4 w 9"/>
                  <a:gd name="T5" fmla="*/ 17 h 17"/>
                  <a:gd name="T6" fmla="*/ 8 w 9"/>
                  <a:gd name="T7" fmla="*/ 3 h 17"/>
                  <a:gd name="T8" fmla="*/ 7 w 9"/>
                  <a:gd name="T9" fmla="*/ 0 h 17"/>
                </a:gdLst>
                <a:cxnLst>
                  <a:cxn ang="0">
                    <a:pos x="T0" y="T1"/>
                  </a:cxn>
                  <a:cxn ang="0">
                    <a:pos x="T2" y="T3"/>
                  </a:cxn>
                  <a:cxn ang="0">
                    <a:pos x="T4" y="T5"/>
                  </a:cxn>
                  <a:cxn ang="0">
                    <a:pos x="T6" y="T7"/>
                  </a:cxn>
                  <a:cxn ang="0">
                    <a:pos x="T8" y="T9"/>
                  </a:cxn>
                </a:cxnLst>
                <a:rect l="0" t="0" r="r" b="b"/>
                <a:pathLst>
                  <a:path w="9" h="17">
                    <a:moveTo>
                      <a:pt x="7" y="0"/>
                    </a:moveTo>
                    <a:cubicBezTo>
                      <a:pt x="7" y="0"/>
                      <a:pt x="7" y="0"/>
                      <a:pt x="6" y="0"/>
                    </a:cubicBezTo>
                    <a:cubicBezTo>
                      <a:pt x="0" y="3"/>
                      <a:pt x="2" y="12"/>
                      <a:pt x="4" y="17"/>
                    </a:cubicBezTo>
                    <a:cubicBezTo>
                      <a:pt x="6" y="15"/>
                      <a:pt x="7" y="6"/>
                      <a:pt x="8" y="3"/>
                    </a:cubicBezTo>
                    <a:cubicBezTo>
                      <a:pt x="8"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Freeform 1181"/>
              <p:cNvSpPr/>
              <p:nvPr/>
            </p:nvSpPr>
            <p:spPr bwMode="auto">
              <a:xfrm>
                <a:off x="2192" y="69"/>
                <a:ext cx="31" cy="38"/>
              </a:xfrm>
              <a:custGeom>
                <a:gdLst>
                  <a:gd name="T0" fmla="*/ 5 w 13"/>
                  <a:gd name="T1" fmla="*/ 0 h 16"/>
                  <a:gd name="T2" fmla="*/ 4 w 13"/>
                  <a:gd name="T3" fmla="*/ 5 h 16"/>
                  <a:gd name="T4" fmla="*/ 1 w 13"/>
                  <a:gd name="T5" fmla="*/ 11 h 16"/>
                  <a:gd name="T6" fmla="*/ 6 w 13"/>
                  <a:gd name="T7" fmla="*/ 16 h 16"/>
                  <a:gd name="T8" fmla="*/ 11 w 13"/>
                  <a:gd name="T9" fmla="*/ 5 h 16"/>
                  <a:gd name="T10" fmla="*/ 10 w 13"/>
                  <a:gd name="T11" fmla="*/ 4 h 16"/>
                  <a:gd name="T12" fmla="*/ 9 w 13"/>
                  <a:gd name="T13" fmla="*/ 4 h 16"/>
                  <a:gd name="T14" fmla="*/ 5 w 13"/>
                  <a:gd name="T15" fmla="*/ 0 h 1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
                    <a:moveTo>
                      <a:pt x="5" y="0"/>
                    </a:moveTo>
                    <a:cubicBezTo>
                      <a:pt x="4" y="0"/>
                      <a:pt x="4" y="2"/>
                      <a:pt x="4" y="5"/>
                    </a:cubicBezTo>
                    <a:cubicBezTo>
                      <a:pt x="4" y="9"/>
                      <a:pt x="3" y="8"/>
                      <a:pt x="1" y="11"/>
                    </a:cubicBezTo>
                    <a:cubicBezTo>
                      <a:pt x="0" y="13"/>
                      <a:pt x="5" y="15"/>
                      <a:pt x="6" y="16"/>
                    </a:cubicBezTo>
                    <a:cubicBezTo>
                      <a:pt x="8" y="13"/>
                      <a:pt x="13" y="8"/>
                      <a:pt x="11" y="5"/>
                    </a:cubicBezTo>
                    <a:cubicBezTo>
                      <a:pt x="11" y="4"/>
                      <a:pt x="10" y="4"/>
                      <a:pt x="10" y="4"/>
                    </a:cubicBezTo>
                    <a:cubicBezTo>
                      <a:pt x="10" y="4"/>
                      <a:pt x="9" y="4"/>
                      <a:pt x="9" y="4"/>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1" name="Freeform 1182"/>
              <p:cNvSpPr/>
              <p:nvPr/>
            </p:nvSpPr>
            <p:spPr bwMode="auto">
              <a:xfrm>
                <a:off x="1977" y="622"/>
                <a:ext cx="42" cy="14"/>
              </a:xfrm>
              <a:custGeom>
                <a:gdLst>
                  <a:gd name="T0" fmla="*/ 6 w 18"/>
                  <a:gd name="T1" fmla="*/ 0 h 6"/>
                  <a:gd name="T2" fmla="*/ 3 w 18"/>
                  <a:gd name="T3" fmla="*/ 1 h 6"/>
                  <a:gd name="T4" fmla="*/ 0 w 18"/>
                  <a:gd name="T5" fmla="*/ 2 h 6"/>
                  <a:gd name="T6" fmla="*/ 12 w 18"/>
                  <a:gd name="T7" fmla="*/ 6 h 6"/>
                  <a:gd name="T8" fmla="*/ 13 w 18"/>
                  <a:gd name="T9" fmla="*/ 2 h 6"/>
                  <a:gd name="T10" fmla="*/ 13 w 18"/>
                  <a:gd name="T11" fmla="*/ 2 h 6"/>
                  <a:gd name="T12" fmla="*/ 11 w 18"/>
                  <a:gd name="T13" fmla="*/ 2 h 6"/>
                  <a:gd name="T14" fmla="*/ 10 w 18"/>
                  <a:gd name="T15" fmla="*/ 2 h 6"/>
                  <a:gd name="T16" fmla="*/ 10 w 18"/>
                  <a:gd name="T17" fmla="*/ 2 h 6"/>
                  <a:gd name="T18" fmla="*/ 9 w 18"/>
                  <a:gd name="T19" fmla="*/ 1 h 6"/>
                  <a:gd name="T20" fmla="*/ 6 w 18"/>
                  <a:gd name="T21"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6">
                    <a:moveTo>
                      <a:pt x="6" y="0"/>
                    </a:moveTo>
                    <a:cubicBezTo>
                      <a:pt x="5" y="0"/>
                      <a:pt x="4" y="0"/>
                      <a:pt x="3" y="1"/>
                    </a:cubicBezTo>
                    <a:cubicBezTo>
                      <a:pt x="2" y="1"/>
                      <a:pt x="1" y="2"/>
                      <a:pt x="0" y="2"/>
                    </a:cubicBezTo>
                    <a:cubicBezTo>
                      <a:pt x="0" y="5"/>
                      <a:pt x="11" y="6"/>
                      <a:pt x="12" y="6"/>
                    </a:cubicBezTo>
                    <a:cubicBezTo>
                      <a:pt x="16" y="5"/>
                      <a:pt x="18" y="3"/>
                      <a:pt x="13" y="2"/>
                    </a:cubicBezTo>
                    <a:cubicBezTo>
                      <a:pt x="13" y="2"/>
                      <a:pt x="13" y="2"/>
                      <a:pt x="13" y="2"/>
                    </a:cubicBezTo>
                    <a:cubicBezTo>
                      <a:pt x="12" y="2"/>
                      <a:pt x="12" y="2"/>
                      <a:pt x="11" y="2"/>
                    </a:cubicBezTo>
                    <a:cubicBezTo>
                      <a:pt x="11" y="2"/>
                      <a:pt x="10" y="2"/>
                      <a:pt x="10" y="2"/>
                    </a:cubicBezTo>
                    <a:cubicBezTo>
                      <a:pt x="10" y="2"/>
                      <a:pt x="10" y="2"/>
                      <a:pt x="10" y="2"/>
                    </a:cubicBezTo>
                    <a:cubicBezTo>
                      <a:pt x="9" y="2"/>
                      <a:pt x="9" y="1"/>
                      <a:pt x="9" y="1"/>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Freeform 1183"/>
              <p:cNvSpPr/>
              <p:nvPr/>
            </p:nvSpPr>
            <p:spPr bwMode="auto">
              <a:xfrm>
                <a:off x="2913" y="511"/>
                <a:ext cx="9" cy="24"/>
              </a:xfrm>
              <a:custGeom>
                <a:gdLst>
                  <a:gd name="T0" fmla="*/ 4 w 4"/>
                  <a:gd name="T1" fmla="*/ 0 h 10"/>
                  <a:gd name="T2" fmla="*/ 4 w 4"/>
                  <a:gd name="T3" fmla="*/ 0 h 10"/>
                  <a:gd name="T4" fmla="*/ 2 w 4"/>
                  <a:gd name="T5" fmla="*/ 2 h 10"/>
                  <a:gd name="T6" fmla="*/ 0 w 4"/>
                  <a:gd name="T7" fmla="*/ 8 h 10"/>
                  <a:gd name="T8" fmla="*/ 1 w 4"/>
                  <a:gd name="T9" fmla="*/ 10 h 10"/>
                  <a:gd name="T10" fmla="*/ 1 w 4"/>
                  <a:gd name="T11" fmla="*/ 9 h 10"/>
                  <a:gd name="T12" fmla="*/ 4 w 4"/>
                  <a:gd name="T13" fmla="*/ 2 h 10"/>
                  <a:gd name="T14" fmla="*/ 4 w 4"/>
                  <a:gd name="T15" fmla="*/ 0 h 10"/>
                  <a:gd name="T16" fmla="*/ 4 w 4"/>
                  <a:gd name="T17"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4" y="0"/>
                    </a:moveTo>
                    <a:cubicBezTo>
                      <a:pt x="4" y="0"/>
                      <a:pt x="4" y="0"/>
                      <a:pt x="4" y="0"/>
                    </a:cubicBezTo>
                    <a:cubicBezTo>
                      <a:pt x="3" y="1"/>
                      <a:pt x="3" y="1"/>
                      <a:pt x="2" y="2"/>
                    </a:cubicBezTo>
                    <a:cubicBezTo>
                      <a:pt x="1" y="4"/>
                      <a:pt x="0" y="6"/>
                      <a:pt x="0" y="8"/>
                    </a:cubicBezTo>
                    <a:cubicBezTo>
                      <a:pt x="0" y="8"/>
                      <a:pt x="0" y="9"/>
                      <a:pt x="1" y="10"/>
                    </a:cubicBezTo>
                    <a:cubicBezTo>
                      <a:pt x="1" y="9"/>
                      <a:pt x="1" y="9"/>
                      <a:pt x="1" y="9"/>
                    </a:cubicBezTo>
                    <a:cubicBezTo>
                      <a:pt x="3" y="7"/>
                      <a:pt x="4" y="5"/>
                      <a:pt x="4" y="2"/>
                    </a:cubicBezTo>
                    <a:cubicBezTo>
                      <a:pt x="4" y="2"/>
                      <a:pt x="4"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3" name="Freeform 1184"/>
              <p:cNvSpPr/>
              <p:nvPr/>
            </p:nvSpPr>
            <p:spPr bwMode="auto">
              <a:xfrm>
                <a:off x="2903" y="537"/>
                <a:ext cx="5" cy="7"/>
              </a:xfrm>
              <a:custGeom>
                <a:gdLst>
                  <a:gd name="T0" fmla="*/ 2 w 2"/>
                  <a:gd name="T1" fmla="*/ 0 h 3"/>
                  <a:gd name="T2" fmla="*/ 2 w 2"/>
                  <a:gd name="T3" fmla="*/ 1 h 3"/>
                  <a:gd name="T4" fmla="*/ 0 w 2"/>
                  <a:gd name="T5" fmla="*/ 3 h 3"/>
                  <a:gd name="T6" fmla="*/ 2 w 2"/>
                  <a:gd name="T7" fmla="*/ 1 h 3"/>
                  <a:gd name="T8" fmla="*/ 2 w 2"/>
                  <a:gd name="T9" fmla="*/ 0 h 3"/>
                </a:gdLst>
                <a:cxnLst>
                  <a:cxn ang="0">
                    <a:pos x="T0" y="T1"/>
                  </a:cxn>
                  <a:cxn ang="0">
                    <a:pos x="T2" y="T3"/>
                  </a:cxn>
                  <a:cxn ang="0">
                    <a:pos x="T4" y="T5"/>
                  </a:cxn>
                  <a:cxn ang="0">
                    <a:pos x="T6" y="T7"/>
                  </a:cxn>
                  <a:cxn ang="0">
                    <a:pos x="T8" y="T9"/>
                  </a:cxn>
                </a:cxnLst>
                <a:rect l="0" t="0" r="r" b="b"/>
                <a:pathLst>
                  <a:path w="2" h="3">
                    <a:moveTo>
                      <a:pt x="2" y="0"/>
                    </a:moveTo>
                    <a:cubicBezTo>
                      <a:pt x="2" y="1"/>
                      <a:pt x="2" y="1"/>
                      <a:pt x="2" y="1"/>
                    </a:cubicBezTo>
                    <a:cubicBezTo>
                      <a:pt x="1" y="1"/>
                      <a:pt x="0" y="2"/>
                      <a:pt x="0" y="3"/>
                    </a:cubicBezTo>
                    <a:cubicBezTo>
                      <a:pt x="1" y="2"/>
                      <a:pt x="1" y="2"/>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Freeform 1185"/>
              <p:cNvSpPr/>
              <p:nvPr/>
            </p:nvSpPr>
            <p:spPr bwMode="auto">
              <a:xfrm>
                <a:off x="5177" y="4496"/>
                <a:ext cx="49" cy="52"/>
              </a:xfrm>
              <a:custGeom>
                <a:gdLst>
                  <a:gd name="T0" fmla="*/ 10 w 21"/>
                  <a:gd name="T1" fmla="*/ 0 h 22"/>
                  <a:gd name="T2" fmla="*/ 6 w 21"/>
                  <a:gd name="T3" fmla="*/ 2 h 22"/>
                  <a:gd name="T4" fmla="*/ 7 w 21"/>
                  <a:gd name="T5" fmla="*/ 8 h 22"/>
                  <a:gd name="T6" fmla="*/ 0 w 21"/>
                  <a:gd name="T7" fmla="*/ 22 h 22"/>
                  <a:gd name="T8" fmla="*/ 5 w 21"/>
                  <a:gd name="T9" fmla="*/ 18 h 22"/>
                  <a:gd name="T10" fmla="*/ 6 w 21"/>
                  <a:gd name="T11" fmla="*/ 18 h 22"/>
                  <a:gd name="T12" fmla="*/ 8 w 21"/>
                  <a:gd name="T13" fmla="*/ 18 h 22"/>
                  <a:gd name="T14" fmla="*/ 10 w 21"/>
                  <a:gd name="T15" fmla="*/ 18 h 22"/>
                  <a:gd name="T16" fmla="*/ 12 w 21"/>
                  <a:gd name="T17" fmla="*/ 18 h 22"/>
                  <a:gd name="T18" fmla="*/ 20 w 21"/>
                  <a:gd name="T19" fmla="*/ 15 h 22"/>
                  <a:gd name="T20" fmla="*/ 20 w 21"/>
                  <a:gd name="T21" fmla="*/ 9 h 22"/>
                  <a:gd name="T22" fmla="*/ 18 w 21"/>
                  <a:gd name="T23" fmla="*/ 11 h 22"/>
                  <a:gd name="T24" fmla="*/ 13 w 21"/>
                  <a:gd name="T25" fmla="*/ 8 h 22"/>
                  <a:gd name="T26" fmla="*/ 15 w 21"/>
                  <a:gd name="T27" fmla="*/ 3 h 22"/>
                  <a:gd name="T28" fmla="*/ 10 w 21"/>
                  <a:gd name="T29"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2">
                    <a:moveTo>
                      <a:pt x="10" y="0"/>
                    </a:moveTo>
                    <a:cubicBezTo>
                      <a:pt x="8" y="0"/>
                      <a:pt x="7" y="1"/>
                      <a:pt x="6" y="2"/>
                    </a:cubicBezTo>
                    <a:cubicBezTo>
                      <a:pt x="5" y="3"/>
                      <a:pt x="8" y="6"/>
                      <a:pt x="7" y="8"/>
                    </a:cubicBezTo>
                    <a:cubicBezTo>
                      <a:pt x="7" y="13"/>
                      <a:pt x="1" y="17"/>
                      <a:pt x="0" y="22"/>
                    </a:cubicBezTo>
                    <a:cubicBezTo>
                      <a:pt x="3" y="22"/>
                      <a:pt x="3" y="19"/>
                      <a:pt x="5" y="18"/>
                    </a:cubicBezTo>
                    <a:cubicBezTo>
                      <a:pt x="6" y="18"/>
                      <a:pt x="6" y="18"/>
                      <a:pt x="6" y="18"/>
                    </a:cubicBezTo>
                    <a:cubicBezTo>
                      <a:pt x="7" y="18"/>
                      <a:pt x="8" y="18"/>
                      <a:pt x="8" y="18"/>
                    </a:cubicBezTo>
                    <a:cubicBezTo>
                      <a:pt x="9" y="18"/>
                      <a:pt x="9" y="18"/>
                      <a:pt x="10" y="18"/>
                    </a:cubicBezTo>
                    <a:cubicBezTo>
                      <a:pt x="10" y="18"/>
                      <a:pt x="11" y="18"/>
                      <a:pt x="12" y="18"/>
                    </a:cubicBezTo>
                    <a:cubicBezTo>
                      <a:pt x="14" y="16"/>
                      <a:pt x="19" y="17"/>
                      <a:pt x="20" y="15"/>
                    </a:cubicBezTo>
                    <a:cubicBezTo>
                      <a:pt x="21" y="14"/>
                      <a:pt x="20" y="11"/>
                      <a:pt x="20" y="9"/>
                    </a:cubicBezTo>
                    <a:cubicBezTo>
                      <a:pt x="19" y="10"/>
                      <a:pt x="19" y="11"/>
                      <a:pt x="18" y="11"/>
                    </a:cubicBezTo>
                    <a:cubicBezTo>
                      <a:pt x="17" y="11"/>
                      <a:pt x="15" y="9"/>
                      <a:pt x="13" y="8"/>
                    </a:cubicBezTo>
                    <a:cubicBezTo>
                      <a:pt x="20" y="8"/>
                      <a:pt x="18" y="7"/>
                      <a:pt x="15" y="3"/>
                    </a:cubicBezTo>
                    <a:cubicBezTo>
                      <a:pt x="13" y="2"/>
                      <a:pt x="12"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Freeform 1186"/>
              <p:cNvSpPr/>
              <p:nvPr/>
            </p:nvSpPr>
            <p:spPr bwMode="auto">
              <a:xfrm>
                <a:off x="5531" y="3496"/>
                <a:ext cx="404" cy="572"/>
              </a:xfrm>
              <a:custGeom>
                <a:gdLst>
                  <a:gd name="T0" fmla="*/ 4 w 171"/>
                  <a:gd name="T1" fmla="*/ 1 h 242"/>
                  <a:gd name="T2" fmla="*/ 0 w 171"/>
                  <a:gd name="T3" fmla="*/ 1 h 242"/>
                  <a:gd name="T4" fmla="*/ 20 w 171"/>
                  <a:gd name="T5" fmla="*/ 37 h 242"/>
                  <a:gd name="T6" fmla="*/ 25 w 171"/>
                  <a:gd name="T7" fmla="*/ 34 h 242"/>
                  <a:gd name="T8" fmla="*/ 28 w 171"/>
                  <a:gd name="T9" fmla="*/ 43 h 242"/>
                  <a:gd name="T10" fmla="*/ 42 w 171"/>
                  <a:gd name="T11" fmla="*/ 66 h 242"/>
                  <a:gd name="T12" fmla="*/ 38 w 171"/>
                  <a:gd name="T13" fmla="*/ 57 h 242"/>
                  <a:gd name="T14" fmla="*/ 45 w 171"/>
                  <a:gd name="T15" fmla="*/ 61 h 242"/>
                  <a:gd name="T16" fmla="*/ 47 w 171"/>
                  <a:gd name="T17" fmla="*/ 59 h 242"/>
                  <a:gd name="T18" fmla="*/ 48 w 171"/>
                  <a:gd name="T19" fmla="*/ 62 h 242"/>
                  <a:gd name="T20" fmla="*/ 46 w 171"/>
                  <a:gd name="T21" fmla="*/ 65 h 242"/>
                  <a:gd name="T22" fmla="*/ 44 w 171"/>
                  <a:gd name="T23" fmla="*/ 69 h 242"/>
                  <a:gd name="T24" fmla="*/ 47 w 171"/>
                  <a:gd name="T25" fmla="*/ 75 h 242"/>
                  <a:gd name="T26" fmla="*/ 53 w 171"/>
                  <a:gd name="T27" fmla="*/ 87 h 242"/>
                  <a:gd name="T28" fmla="*/ 57 w 171"/>
                  <a:gd name="T29" fmla="*/ 84 h 242"/>
                  <a:gd name="T30" fmla="*/ 57 w 171"/>
                  <a:gd name="T31" fmla="*/ 95 h 242"/>
                  <a:gd name="T32" fmla="*/ 61 w 171"/>
                  <a:gd name="T33" fmla="*/ 122 h 242"/>
                  <a:gd name="T34" fmla="*/ 63 w 171"/>
                  <a:gd name="T35" fmla="*/ 122 h 242"/>
                  <a:gd name="T36" fmla="*/ 64 w 171"/>
                  <a:gd name="T37" fmla="*/ 122 h 242"/>
                  <a:gd name="T38" fmla="*/ 46 w 171"/>
                  <a:gd name="T39" fmla="*/ 155 h 242"/>
                  <a:gd name="T40" fmla="*/ 42 w 171"/>
                  <a:gd name="T41" fmla="*/ 175 h 242"/>
                  <a:gd name="T42" fmla="*/ 61 w 171"/>
                  <a:gd name="T43" fmla="*/ 183 h 242"/>
                  <a:gd name="T44" fmla="*/ 69 w 171"/>
                  <a:gd name="T45" fmla="*/ 216 h 242"/>
                  <a:gd name="T46" fmla="*/ 57 w 171"/>
                  <a:gd name="T47" fmla="*/ 232 h 242"/>
                  <a:gd name="T48" fmla="*/ 61 w 171"/>
                  <a:gd name="T49" fmla="*/ 232 h 242"/>
                  <a:gd name="T50" fmla="*/ 63 w 171"/>
                  <a:gd name="T51" fmla="*/ 232 h 242"/>
                  <a:gd name="T52" fmla="*/ 66 w 171"/>
                  <a:gd name="T53" fmla="*/ 236 h 242"/>
                  <a:gd name="T54" fmla="*/ 72 w 171"/>
                  <a:gd name="T55" fmla="*/ 236 h 242"/>
                  <a:gd name="T56" fmla="*/ 96 w 171"/>
                  <a:gd name="T57" fmla="*/ 229 h 242"/>
                  <a:gd name="T58" fmla="*/ 117 w 171"/>
                  <a:gd name="T59" fmla="*/ 198 h 242"/>
                  <a:gd name="T60" fmla="*/ 127 w 171"/>
                  <a:gd name="T61" fmla="*/ 175 h 242"/>
                  <a:gd name="T62" fmla="*/ 134 w 171"/>
                  <a:gd name="T63" fmla="*/ 156 h 242"/>
                  <a:gd name="T64" fmla="*/ 150 w 171"/>
                  <a:gd name="T65" fmla="*/ 156 h 242"/>
                  <a:gd name="T66" fmla="*/ 152 w 171"/>
                  <a:gd name="T67" fmla="*/ 159 h 242"/>
                  <a:gd name="T68" fmla="*/ 159 w 171"/>
                  <a:gd name="T69" fmla="*/ 141 h 242"/>
                  <a:gd name="T70" fmla="*/ 166 w 171"/>
                  <a:gd name="T71" fmla="*/ 107 h 242"/>
                  <a:gd name="T72" fmla="*/ 154 w 171"/>
                  <a:gd name="T73" fmla="*/ 107 h 242"/>
                  <a:gd name="T74" fmla="*/ 132 w 171"/>
                  <a:gd name="T75" fmla="*/ 119 h 242"/>
                  <a:gd name="T76" fmla="*/ 101 w 171"/>
                  <a:gd name="T77" fmla="*/ 109 h 242"/>
                  <a:gd name="T78" fmla="*/ 93 w 171"/>
                  <a:gd name="T79" fmla="*/ 90 h 242"/>
                  <a:gd name="T80" fmla="*/ 87 w 171"/>
                  <a:gd name="T81" fmla="*/ 76 h 242"/>
                  <a:gd name="T82" fmla="*/ 87 w 171"/>
                  <a:gd name="T83" fmla="*/ 76 h 242"/>
                  <a:gd name="T84" fmla="*/ 82 w 171"/>
                  <a:gd name="T85" fmla="*/ 71 h 242"/>
                  <a:gd name="T86" fmla="*/ 83 w 171"/>
                  <a:gd name="T87" fmla="*/ 90 h 242"/>
                  <a:gd name="T88" fmla="*/ 67 w 171"/>
                  <a:gd name="T89" fmla="*/ 82 h 242"/>
                  <a:gd name="T90" fmla="*/ 66 w 171"/>
                  <a:gd name="T91" fmla="*/ 82 h 242"/>
                  <a:gd name="T92" fmla="*/ 64 w 171"/>
                  <a:gd name="T93" fmla="*/ 82 h 242"/>
                  <a:gd name="T94" fmla="*/ 58 w 171"/>
                  <a:gd name="T95" fmla="*/ 82 h 242"/>
                  <a:gd name="T96" fmla="*/ 60 w 171"/>
                  <a:gd name="T97" fmla="*/ 70 h 242"/>
                  <a:gd name="T98" fmla="*/ 57 w 171"/>
                  <a:gd name="T99" fmla="*/ 58 h 242"/>
                  <a:gd name="T100" fmla="*/ 48 w 171"/>
                  <a:gd name="T101" fmla="*/ 45 h 242"/>
                  <a:gd name="T102" fmla="*/ 50 w 171"/>
                  <a:gd name="T103" fmla="*/ 45 h 242"/>
                  <a:gd name="T104" fmla="*/ 45 w 171"/>
                  <a:gd name="T105" fmla="*/ 31 h 242"/>
                  <a:gd name="T106" fmla="*/ 31 w 171"/>
                  <a:gd name="T107" fmla="*/ 19 h 242"/>
                  <a:gd name="T108" fmla="*/ 26 w 171"/>
                  <a:gd name="T109" fmla="*/ 17 h 242"/>
                  <a:gd name="T110" fmla="*/ 21 w 171"/>
                  <a:gd name="T111" fmla="*/ 13 h 242"/>
                  <a:gd name="T112" fmla="*/ 18 w 171"/>
                  <a:gd name="T113" fmla="*/ 18 h 242"/>
                  <a:gd name="T114" fmla="*/ 13 w 171"/>
                  <a:gd name="T115" fmla="*/ 14 h 242"/>
                  <a:gd name="T116" fmla="*/ 7 w 171"/>
                  <a:gd name="T117" fmla="*/ 3 h 242"/>
                  <a:gd name="T118" fmla="*/ 9 w 171"/>
                  <a:gd name="T119" fmla="*/ 0 h 2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 h="241">
                    <a:moveTo>
                      <a:pt x="8" y="0"/>
                    </a:moveTo>
                    <a:cubicBezTo>
                      <a:pt x="7" y="0"/>
                      <a:pt x="6" y="0"/>
                      <a:pt x="4" y="1"/>
                    </a:cubicBezTo>
                    <a:cubicBezTo>
                      <a:pt x="2" y="1"/>
                      <a:pt x="1" y="1"/>
                      <a:pt x="0" y="1"/>
                    </a:cubicBezTo>
                    <a:cubicBezTo>
                      <a:pt x="0" y="1"/>
                      <a:pt x="0" y="1"/>
                      <a:pt x="0" y="1"/>
                    </a:cubicBezTo>
                    <a:cubicBezTo>
                      <a:pt x="4" y="7"/>
                      <a:pt x="9" y="12"/>
                      <a:pt x="12" y="19"/>
                    </a:cubicBezTo>
                    <a:cubicBezTo>
                      <a:pt x="15" y="24"/>
                      <a:pt x="17" y="31"/>
                      <a:pt x="20" y="37"/>
                    </a:cubicBezTo>
                    <a:cubicBezTo>
                      <a:pt x="21" y="32"/>
                      <a:pt x="23" y="33"/>
                      <a:pt x="26" y="32"/>
                    </a:cubicBezTo>
                    <a:cubicBezTo>
                      <a:pt x="25" y="32"/>
                      <a:pt x="25" y="33"/>
                      <a:pt x="25" y="34"/>
                    </a:cubicBezTo>
                    <a:cubicBezTo>
                      <a:pt x="24" y="33"/>
                      <a:pt x="24" y="33"/>
                      <a:pt x="24" y="33"/>
                    </a:cubicBezTo>
                    <a:cubicBezTo>
                      <a:pt x="24" y="36"/>
                      <a:pt x="27" y="40"/>
                      <a:pt x="28" y="43"/>
                    </a:cubicBezTo>
                    <a:cubicBezTo>
                      <a:pt x="32" y="50"/>
                      <a:pt x="35" y="56"/>
                      <a:pt x="38" y="63"/>
                    </a:cubicBezTo>
                    <a:cubicBezTo>
                      <a:pt x="39" y="64"/>
                      <a:pt x="40" y="66"/>
                      <a:pt x="42" y="66"/>
                    </a:cubicBezTo>
                    <a:cubicBezTo>
                      <a:pt x="42" y="66"/>
                      <a:pt x="43" y="66"/>
                      <a:pt x="43" y="65"/>
                    </a:cubicBezTo>
                    <a:cubicBezTo>
                      <a:pt x="44" y="63"/>
                      <a:pt x="39" y="58"/>
                      <a:pt x="38" y="57"/>
                    </a:cubicBezTo>
                    <a:cubicBezTo>
                      <a:pt x="39" y="58"/>
                      <a:pt x="40" y="57"/>
                      <a:pt x="41" y="58"/>
                    </a:cubicBezTo>
                    <a:cubicBezTo>
                      <a:pt x="43" y="59"/>
                      <a:pt x="43" y="60"/>
                      <a:pt x="45" y="61"/>
                    </a:cubicBezTo>
                    <a:cubicBezTo>
                      <a:pt x="45" y="60"/>
                      <a:pt x="44" y="59"/>
                      <a:pt x="44" y="58"/>
                    </a:cubicBezTo>
                    <a:cubicBezTo>
                      <a:pt x="45" y="58"/>
                      <a:pt x="46" y="59"/>
                      <a:pt x="47" y="59"/>
                    </a:cubicBezTo>
                    <a:cubicBezTo>
                      <a:pt x="48" y="59"/>
                      <a:pt x="49" y="59"/>
                      <a:pt x="49" y="58"/>
                    </a:cubicBezTo>
                    <a:cubicBezTo>
                      <a:pt x="48" y="61"/>
                      <a:pt x="47" y="62"/>
                      <a:pt x="48" y="62"/>
                    </a:cubicBezTo>
                    <a:cubicBezTo>
                      <a:pt x="49" y="62"/>
                      <a:pt x="50" y="62"/>
                      <a:pt x="52" y="61"/>
                    </a:cubicBezTo>
                    <a:cubicBezTo>
                      <a:pt x="50" y="62"/>
                      <a:pt x="47" y="63"/>
                      <a:pt x="46" y="65"/>
                    </a:cubicBezTo>
                    <a:cubicBezTo>
                      <a:pt x="49" y="65"/>
                      <a:pt x="50" y="71"/>
                      <a:pt x="50" y="73"/>
                    </a:cubicBezTo>
                    <a:cubicBezTo>
                      <a:pt x="48" y="72"/>
                      <a:pt x="47" y="69"/>
                      <a:pt x="44" y="69"/>
                    </a:cubicBezTo>
                    <a:cubicBezTo>
                      <a:pt x="44" y="69"/>
                      <a:pt x="44" y="69"/>
                      <a:pt x="43" y="69"/>
                    </a:cubicBezTo>
                    <a:cubicBezTo>
                      <a:pt x="44" y="71"/>
                      <a:pt x="46" y="73"/>
                      <a:pt x="47" y="75"/>
                    </a:cubicBezTo>
                    <a:cubicBezTo>
                      <a:pt x="50" y="79"/>
                      <a:pt x="50" y="83"/>
                      <a:pt x="53" y="87"/>
                    </a:cubicBezTo>
                    <a:cubicBezTo>
                      <a:pt x="53" y="87"/>
                      <a:pt x="53" y="87"/>
                      <a:pt x="53" y="87"/>
                    </a:cubicBezTo>
                    <a:cubicBezTo>
                      <a:pt x="54" y="87"/>
                      <a:pt x="56" y="85"/>
                      <a:pt x="57" y="85"/>
                    </a:cubicBezTo>
                    <a:cubicBezTo>
                      <a:pt x="57" y="84"/>
                      <a:pt x="57" y="84"/>
                      <a:pt x="57" y="84"/>
                    </a:cubicBezTo>
                    <a:cubicBezTo>
                      <a:pt x="59" y="84"/>
                      <a:pt x="62" y="87"/>
                      <a:pt x="64" y="88"/>
                    </a:cubicBezTo>
                    <a:cubicBezTo>
                      <a:pt x="60" y="89"/>
                      <a:pt x="60" y="91"/>
                      <a:pt x="57" y="95"/>
                    </a:cubicBezTo>
                    <a:cubicBezTo>
                      <a:pt x="63" y="98"/>
                      <a:pt x="64" y="107"/>
                      <a:pt x="66" y="113"/>
                    </a:cubicBezTo>
                    <a:cubicBezTo>
                      <a:pt x="63" y="113"/>
                      <a:pt x="62" y="119"/>
                      <a:pt x="61" y="122"/>
                    </a:cubicBezTo>
                    <a:cubicBezTo>
                      <a:pt x="61" y="122"/>
                      <a:pt x="62" y="122"/>
                      <a:pt x="62" y="122"/>
                    </a:cubicBezTo>
                    <a:cubicBezTo>
                      <a:pt x="62" y="122"/>
                      <a:pt x="62" y="122"/>
                      <a:pt x="63" y="122"/>
                    </a:cubicBezTo>
                    <a:cubicBezTo>
                      <a:pt x="63" y="122"/>
                      <a:pt x="64" y="122"/>
                      <a:pt x="64" y="122"/>
                    </a:cubicBezTo>
                    <a:cubicBezTo>
                      <a:pt x="64" y="122"/>
                      <a:pt x="64" y="122"/>
                      <a:pt x="64" y="122"/>
                    </a:cubicBezTo>
                    <a:cubicBezTo>
                      <a:pt x="58" y="128"/>
                      <a:pt x="60" y="137"/>
                      <a:pt x="56" y="144"/>
                    </a:cubicBezTo>
                    <a:cubicBezTo>
                      <a:pt x="53" y="149"/>
                      <a:pt x="51" y="152"/>
                      <a:pt x="46" y="155"/>
                    </a:cubicBezTo>
                    <a:cubicBezTo>
                      <a:pt x="41" y="158"/>
                      <a:pt x="36" y="161"/>
                      <a:pt x="31" y="163"/>
                    </a:cubicBezTo>
                    <a:cubicBezTo>
                      <a:pt x="34" y="169"/>
                      <a:pt x="37" y="172"/>
                      <a:pt x="42" y="175"/>
                    </a:cubicBezTo>
                    <a:cubicBezTo>
                      <a:pt x="46" y="177"/>
                      <a:pt x="51" y="179"/>
                      <a:pt x="55" y="181"/>
                    </a:cubicBezTo>
                    <a:cubicBezTo>
                      <a:pt x="56" y="182"/>
                      <a:pt x="60" y="182"/>
                      <a:pt x="61" y="183"/>
                    </a:cubicBezTo>
                    <a:cubicBezTo>
                      <a:pt x="67" y="186"/>
                      <a:pt x="73" y="189"/>
                      <a:pt x="74" y="197"/>
                    </a:cubicBezTo>
                    <a:cubicBezTo>
                      <a:pt x="75" y="204"/>
                      <a:pt x="72" y="211"/>
                      <a:pt x="69" y="216"/>
                    </a:cubicBezTo>
                    <a:cubicBezTo>
                      <a:pt x="67" y="219"/>
                      <a:pt x="64" y="222"/>
                      <a:pt x="62" y="225"/>
                    </a:cubicBezTo>
                    <a:cubicBezTo>
                      <a:pt x="61" y="226"/>
                      <a:pt x="56" y="231"/>
                      <a:pt x="57" y="232"/>
                    </a:cubicBezTo>
                    <a:cubicBezTo>
                      <a:pt x="57" y="234"/>
                      <a:pt x="58" y="234"/>
                      <a:pt x="58" y="234"/>
                    </a:cubicBezTo>
                    <a:cubicBezTo>
                      <a:pt x="60" y="234"/>
                      <a:pt x="61" y="233"/>
                      <a:pt x="61" y="232"/>
                    </a:cubicBezTo>
                    <a:cubicBezTo>
                      <a:pt x="62" y="231"/>
                      <a:pt x="62" y="230"/>
                      <a:pt x="62" y="230"/>
                    </a:cubicBezTo>
                    <a:cubicBezTo>
                      <a:pt x="63" y="230"/>
                      <a:pt x="63" y="231"/>
                      <a:pt x="63" y="232"/>
                    </a:cubicBezTo>
                    <a:cubicBezTo>
                      <a:pt x="63" y="235"/>
                      <a:pt x="63" y="236"/>
                      <a:pt x="66" y="236"/>
                    </a:cubicBezTo>
                    <a:cubicBezTo>
                      <a:pt x="66" y="236"/>
                      <a:pt x="66" y="236"/>
                      <a:pt x="66" y="236"/>
                    </a:cubicBezTo>
                    <a:cubicBezTo>
                      <a:pt x="67" y="236"/>
                      <a:pt x="69" y="235"/>
                      <a:pt x="70" y="235"/>
                    </a:cubicBezTo>
                    <a:cubicBezTo>
                      <a:pt x="71" y="235"/>
                      <a:pt x="72" y="235"/>
                      <a:pt x="72" y="236"/>
                    </a:cubicBezTo>
                    <a:cubicBezTo>
                      <a:pt x="74" y="237"/>
                      <a:pt x="74" y="240"/>
                      <a:pt x="74" y="242"/>
                    </a:cubicBezTo>
                    <a:cubicBezTo>
                      <a:pt x="82" y="238"/>
                      <a:pt x="89" y="234"/>
                      <a:pt x="96" y="229"/>
                    </a:cubicBezTo>
                    <a:cubicBezTo>
                      <a:pt x="100" y="226"/>
                      <a:pt x="102" y="218"/>
                      <a:pt x="105" y="214"/>
                    </a:cubicBezTo>
                    <a:cubicBezTo>
                      <a:pt x="108" y="208"/>
                      <a:pt x="114" y="204"/>
                      <a:pt x="117" y="198"/>
                    </a:cubicBezTo>
                    <a:cubicBezTo>
                      <a:pt x="121" y="190"/>
                      <a:pt x="125" y="183"/>
                      <a:pt x="128" y="175"/>
                    </a:cubicBezTo>
                    <a:cubicBezTo>
                      <a:pt x="127" y="175"/>
                      <a:pt x="127" y="175"/>
                      <a:pt x="127" y="175"/>
                    </a:cubicBezTo>
                    <a:cubicBezTo>
                      <a:pt x="122" y="175"/>
                      <a:pt x="123" y="166"/>
                      <a:pt x="125" y="163"/>
                    </a:cubicBezTo>
                    <a:cubicBezTo>
                      <a:pt x="127" y="160"/>
                      <a:pt x="130" y="158"/>
                      <a:pt x="134" y="156"/>
                    </a:cubicBezTo>
                    <a:cubicBezTo>
                      <a:pt x="136" y="156"/>
                      <a:pt x="141" y="155"/>
                      <a:pt x="145" y="155"/>
                    </a:cubicBezTo>
                    <a:cubicBezTo>
                      <a:pt x="147" y="155"/>
                      <a:pt x="149" y="155"/>
                      <a:pt x="150" y="156"/>
                    </a:cubicBezTo>
                    <a:cubicBezTo>
                      <a:pt x="151" y="156"/>
                      <a:pt x="149" y="160"/>
                      <a:pt x="151" y="160"/>
                    </a:cubicBezTo>
                    <a:cubicBezTo>
                      <a:pt x="151" y="160"/>
                      <a:pt x="152" y="160"/>
                      <a:pt x="152" y="159"/>
                    </a:cubicBezTo>
                    <a:cubicBezTo>
                      <a:pt x="155" y="158"/>
                      <a:pt x="154" y="156"/>
                      <a:pt x="153" y="155"/>
                    </a:cubicBezTo>
                    <a:cubicBezTo>
                      <a:pt x="149" y="151"/>
                      <a:pt x="155" y="144"/>
                      <a:pt x="159" y="141"/>
                    </a:cubicBezTo>
                    <a:cubicBezTo>
                      <a:pt x="168" y="133"/>
                      <a:pt x="162" y="123"/>
                      <a:pt x="167" y="114"/>
                    </a:cubicBezTo>
                    <a:cubicBezTo>
                      <a:pt x="169" y="110"/>
                      <a:pt x="171" y="109"/>
                      <a:pt x="166" y="107"/>
                    </a:cubicBezTo>
                    <a:cubicBezTo>
                      <a:pt x="162" y="106"/>
                      <a:pt x="160" y="105"/>
                      <a:pt x="158" y="105"/>
                    </a:cubicBezTo>
                    <a:cubicBezTo>
                      <a:pt x="157" y="105"/>
                      <a:pt x="156" y="105"/>
                      <a:pt x="154" y="107"/>
                    </a:cubicBezTo>
                    <a:cubicBezTo>
                      <a:pt x="151" y="109"/>
                      <a:pt x="147" y="112"/>
                      <a:pt x="143" y="115"/>
                    </a:cubicBezTo>
                    <a:cubicBezTo>
                      <a:pt x="140" y="118"/>
                      <a:pt x="136" y="119"/>
                      <a:pt x="132" y="119"/>
                    </a:cubicBezTo>
                    <a:cubicBezTo>
                      <a:pt x="122" y="119"/>
                      <a:pt x="111" y="111"/>
                      <a:pt x="102" y="108"/>
                    </a:cubicBezTo>
                    <a:cubicBezTo>
                      <a:pt x="101" y="109"/>
                      <a:pt x="101" y="109"/>
                      <a:pt x="101" y="109"/>
                    </a:cubicBezTo>
                    <a:cubicBezTo>
                      <a:pt x="99" y="109"/>
                      <a:pt x="96" y="105"/>
                      <a:pt x="95" y="103"/>
                    </a:cubicBezTo>
                    <a:cubicBezTo>
                      <a:pt x="95" y="99"/>
                      <a:pt x="93" y="95"/>
                      <a:pt x="93" y="90"/>
                    </a:cubicBezTo>
                    <a:cubicBezTo>
                      <a:pt x="93" y="86"/>
                      <a:pt x="93" y="82"/>
                      <a:pt x="89" y="80"/>
                    </a:cubicBezTo>
                    <a:cubicBezTo>
                      <a:pt x="87" y="78"/>
                      <a:pt x="96" y="76"/>
                      <a:pt x="87" y="76"/>
                    </a:cubicBezTo>
                    <a:cubicBezTo>
                      <a:pt x="87" y="76"/>
                      <a:pt x="87" y="76"/>
                      <a:pt x="87" y="76"/>
                    </a:cubicBezTo>
                    <a:cubicBezTo>
                      <a:pt x="87" y="76"/>
                      <a:pt x="87" y="76"/>
                      <a:pt x="87" y="76"/>
                    </a:cubicBezTo>
                    <a:cubicBezTo>
                      <a:pt x="82" y="76"/>
                      <a:pt x="86" y="73"/>
                      <a:pt x="82" y="71"/>
                    </a:cubicBezTo>
                    <a:cubicBezTo>
                      <a:pt x="82" y="71"/>
                      <a:pt x="82" y="71"/>
                      <a:pt x="82" y="71"/>
                    </a:cubicBezTo>
                    <a:cubicBezTo>
                      <a:pt x="80" y="71"/>
                      <a:pt x="81" y="81"/>
                      <a:pt x="81" y="83"/>
                    </a:cubicBezTo>
                    <a:cubicBezTo>
                      <a:pt x="81" y="85"/>
                      <a:pt x="82" y="88"/>
                      <a:pt x="83" y="90"/>
                    </a:cubicBezTo>
                    <a:cubicBezTo>
                      <a:pt x="82" y="91"/>
                      <a:pt x="81" y="91"/>
                      <a:pt x="81" y="91"/>
                    </a:cubicBezTo>
                    <a:cubicBezTo>
                      <a:pt x="75" y="91"/>
                      <a:pt x="72" y="85"/>
                      <a:pt x="67" y="82"/>
                    </a:cubicBezTo>
                    <a:cubicBezTo>
                      <a:pt x="67" y="83"/>
                      <a:pt x="67" y="83"/>
                      <a:pt x="66" y="83"/>
                    </a:cubicBezTo>
                    <a:cubicBezTo>
                      <a:pt x="66" y="83"/>
                      <a:pt x="66" y="83"/>
                      <a:pt x="66" y="82"/>
                    </a:cubicBezTo>
                    <a:cubicBezTo>
                      <a:pt x="65" y="82"/>
                      <a:pt x="65" y="82"/>
                      <a:pt x="65" y="82"/>
                    </a:cubicBezTo>
                    <a:cubicBezTo>
                      <a:pt x="64" y="82"/>
                      <a:pt x="64" y="82"/>
                      <a:pt x="64" y="82"/>
                    </a:cubicBezTo>
                    <a:cubicBezTo>
                      <a:pt x="63" y="81"/>
                      <a:pt x="62" y="81"/>
                      <a:pt x="61" y="81"/>
                    </a:cubicBezTo>
                    <a:cubicBezTo>
                      <a:pt x="60" y="81"/>
                      <a:pt x="59" y="81"/>
                      <a:pt x="58" y="82"/>
                    </a:cubicBezTo>
                    <a:cubicBezTo>
                      <a:pt x="61" y="79"/>
                      <a:pt x="64" y="78"/>
                      <a:pt x="62" y="73"/>
                    </a:cubicBezTo>
                    <a:cubicBezTo>
                      <a:pt x="61" y="71"/>
                      <a:pt x="58" y="74"/>
                      <a:pt x="60" y="70"/>
                    </a:cubicBezTo>
                    <a:cubicBezTo>
                      <a:pt x="60" y="68"/>
                      <a:pt x="61" y="66"/>
                      <a:pt x="63" y="65"/>
                    </a:cubicBezTo>
                    <a:cubicBezTo>
                      <a:pt x="62" y="62"/>
                      <a:pt x="59" y="60"/>
                      <a:pt x="57" y="58"/>
                    </a:cubicBezTo>
                    <a:cubicBezTo>
                      <a:pt x="55" y="55"/>
                      <a:pt x="55" y="51"/>
                      <a:pt x="52" y="49"/>
                    </a:cubicBezTo>
                    <a:cubicBezTo>
                      <a:pt x="51" y="47"/>
                      <a:pt x="48" y="48"/>
                      <a:pt x="48" y="45"/>
                    </a:cubicBezTo>
                    <a:cubicBezTo>
                      <a:pt x="48" y="45"/>
                      <a:pt x="48" y="45"/>
                      <a:pt x="48" y="45"/>
                    </a:cubicBezTo>
                    <a:cubicBezTo>
                      <a:pt x="49" y="45"/>
                      <a:pt x="49" y="45"/>
                      <a:pt x="50" y="45"/>
                    </a:cubicBezTo>
                    <a:cubicBezTo>
                      <a:pt x="50" y="39"/>
                      <a:pt x="49" y="32"/>
                      <a:pt x="47" y="26"/>
                    </a:cubicBezTo>
                    <a:cubicBezTo>
                      <a:pt x="46" y="28"/>
                      <a:pt x="43" y="28"/>
                      <a:pt x="45" y="31"/>
                    </a:cubicBezTo>
                    <a:cubicBezTo>
                      <a:pt x="42" y="30"/>
                      <a:pt x="40" y="28"/>
                      <a:pt x="38" y="27"/>
                    </a:cubicBezTo>
                    <a:cubicBezTo>
                      <a:pt x="45" y="22"/>
                      <a:pt x="33" y="21"/>
                      <a:pt x="31" y="19"/>
                    </a:cubicBezTo>
                    <a:cubicBezTo>
                      <a:pt x="30" y="18"/>
                      <a:pt x="27" y="17"/>
                      <a:pt x="26" y="17"/>
                    </a:cubicBezTo>
                    <a:cubicBezTo>
                      <a:pt x="26" y="17"/>
                      <a:pt x="26" y="17"/>
                      <a:pt x="26" y="17"/>
                    </a:cubicBezTo>
                    <a:cubicBezTo>
                      <a:pt x="24" y="17"/>
                      <a:pt x="23" y="18"/>
                      <a:pt x="22" y="18"/>
                    </a:cubicBezTo>
                    <a:cubicBezTo>
                      <a:pt x="21" y="18"/>
                      <a:pt x="21" y="17"/>
                      <a:pt x="21" y="13"/>
                    </a:cubicBezTo>
                    <a:cubicBezTo>
                      <a:pt x="21" y="14"/>
                      <a:pt x="19" y="14"/>
                      <a:pt x="19" y="15"/>
                    </a:cubicBezTo>
                    <a:cubicBezTo>
                      <a:pt x="18" y="16"/>
                      <a:pt x="19" y="17"/>
                      <a:pt x="18" y="18"/>
                    </a:cubicBezTo>
                    <a:cubicBezTo>
                      <a:pt x="18" y="18"/>
                      <a:pt x="18" y="19"/>
                      <a:pt x="17" y="19"/>
                    </a:cubicBezTo>
                    <a:cubicBezTo>
                      <a:pt x="15" y="19"/>
                      <a:pt x="14" y="15"/>
                      <a:pt x="13" y="14"/>
                    </a:cubicBezTo>
                    <a:cubicBezTo>
                      <a:pt x="11" y="11"/>
                      <a:pt x="7" y="7"/>
                      <a:pt x="6" y="4"/>
                    </a:cubicBezTo>
                    <a:cubicBezTo>
                      <a:pt x="6" y="4"/>
                      <a:pt x="7" y="3"/>
                      <a:pt x="7" y="3"/>
                    </a:cubicBezTo>
                    <a:cubicBezTo>
                      <a:pt x="8" y="3"/>
                      <a:pt x="8" y="4"/>
                      <a:pt x="9" y="4"/>
                    </a:cubicBezTo>
                    <a:cubicBezTo>
                      <a:pt x="10" y="4"/>
                      <a:pt x="11"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Freeform 1187"/>
              <p:cNvSpPr>
                <a:spLocks noEditPoints="1"/>
              </p:cNvSpPr>
              <p:nvPr/>
            </p:nvSpPr>
            <p:spPr bwMode="auto">
              <a:xfrm>
                <a:off x="5101" y="3978"/>
                <a:ext cx="544" cy="518"/>
              </a:xfrm>
              <a:custGeom>
                <a:gdLst>
                  <a:gd name="T0" fmla="*/ 187 w 230"/>
                  <a:gd name="T1" fmla="*/ 1 h 219"/>
                  <a:gd name="T2" fmla="*/ 166 w 230"/>
                  <a:gd name="T3" fmla="*/ 18 h 219"/>
                  <a:gd name="T4" fmla="*/ 150 w 230"/>
                  <a:gd name="T5" fmla="*/ 43 h 219"/>
                  <a:gd name="T6" fmla="*/ 148 w 230"/>
                  <a:gd name="T7" fmla="*/ 43 h 219"/>
                  <a:gd name="T8" fmla="*/ 138 w 230"/>
                  <a:gd name="T9" fmla="*/ 70 h 219"/>
                  <a:gd name="T10" fmla="*/ 80 w 230"/>
                  <a:gd name="T11" fmla="*/ 115 h 219"/>
                  <a:gd name="T12" fmla="*/ 49 w 230"/>
                  <a:gd name="T13" fmla="*/ 134 h 219"/>
                  <a:gd name="T14" fmla="*/ 28 w 230"/>
                  <a:gd name="T15" fmla="*/ 153 h 219"/>
                  <a:gd name="T16" fmla="*/ 24 w 230"/>
                  <a:gd name="T17" fmla="*/ 158 h 219"/>
                  <a:gd name="T18" fmla="*/ 25 w 230"/>
                  <a:gd name="T19" fmla="*/ 160 h 219"/>
                  <a:gd name="T20" fmla="*/ 20 w 230"/>
                  <a:gd name="T21" fmla="*/ 169 h 219"/>
                  <a:gd name="T22" fmla="*/ 16 w 230"/>
                  <a:gd name="T23" fmla="*/ 173 h 219"/>
                  <a:gd name="T24" fmla="*/ 10 w 230"/>
                  <a:gd name="T25" fmla="*/ 179 h 219"/>
                  <a:gd name="T26" fmla="*/ 16 w 230"/>
                  <a:gd name="T27" fmla="*/ 178 h 219"/>
                  <a:gd name="T28" fmla="*/ 15 w 230"/>
                  <a:gd name="T29" fmla="*/ 181 h 219"/>
                  <a:gd name="T30" fmla="*/ 16 w 230"/>
                  <a:gd name="T31" fmla="*/ 185 h 219"/>
                  <a:gd name="T32" fmla="*/ 8 w 230"/>
                  <a:gd name="T33" fmla="*/ 190 h 219"/>
                  <a:gd name="T34" fmla="*/ 10 w 230"/>
                  <a:gd name="T35" fmla="*/ 197 h 219"/>
                  <a:gd name="T36" fmla="*/ 18 w 230"/>
                  <a:gd name="T37" fmla="*/ 202 h 219"/>
                  <a:gd name="T38" fmla="*/ 42 w 230"/>
                  <a:gd name="T39" fmla="*/ 208 h 219"/>
                  <a:gd name="T40" fmla="*/ 59 w 230"/>
                  <a:gd name="T41" fmla="*/ 216 h 219"/>
                  <a:gd name="T42" fmla="*/ 93 w 230"/>
                  <a:gd name="T43" fmla="*/ 213 h 219"/>
                  <a:gd name="T44" fmla="*/ 123 w 230"/>
                  <a:gd name="T45" fmla="*/ 189 h 219"/>
                  <a:gd name="T46" fmla="*/ 138 w 230"/>
                  <a:gd name="T47" fmla="*/ 147 h 219"/>
                  <a:gd name="T48" fmla="*/ 154 w 230"/>
                  <a:gd name="T49" fmla="*/ 128 h 219"/>
                  <a:gd name="T50" fmla="*/ 181 w 230"/>
                  <a:gd name="T51" fmla="*/ 115 h 219"/>
                  <a:gd name="T52" fmla="*/ 178 w 230"/>
                  <a:gd name="T53" fmla="*/ 117 h 219"/>
                  <a:gd name="T54" fmla="*/ 189 w 230"/>
                  <a:gd name="T55" fmla="*/ 119 h 219"/>
                  <a:gd name="T56" fmla="*/ 189 w 230"/>
                  <a:gd name="T57" fmla="*/ 111 h 219"/>
                  <a:gd name="T58" fmla="*/ 185 w 230"/>
                  <a:gd name="T59" fmla="*/ 109 h 219"/>
                  <a:gd name="T60" fmla="*/ 193 w 230"/>
                  <a:gd name="T61" fmla="*/ 89 h 219"/>
                  <a:gd name="T62" fmla="*/ 228 w 230"/>
                  <a:gd name="T63" fmla="*/ 43 h 219"/>
                  <a:gd name="T64" fmla="*/ 228 w 230"/>
                  <a:gd name="T65" fmla="*/ 26 h 219"/>
                  <a:gd name="T66" fmla="*/ 219 w 230"/>
                  <a:gd name="T67" fmla="*/ 26 h 219"/>
                  <a:gd name="T68" fmla="*/ 226 w 230"/>
                  <a:gd name="T69" fmla="*/ 21 h 219"/>
                  <a:gd name="T70" fmla="*/ 227 w 230"/>
                  <a:gd name="T71" fmla="*/ 21 h 219"/>
                  <a:gd name="T72" fmla="*/ 228 w 230"/>
                  <a:gd name="T73" fmla="*/ 21 h 219"/>
                  <a:gd name="T74" fmla="*/ 217 w 230"/>
                  <a:gd name="T75" fmla="*/ 23 h 219"/>
                  <a:gd name="T76" fmla="*/ 223 w 230"/>
                  <a:gd name="T77" fmla="*/ 23 h 219"/>
                  <a:gd name="T78" fmla="*/ 217 w 230"/>
                  <a:gd name="T79" fmla="*/ 20 h 219"/>
                  <a:gd name="T80" fmla="*/ 193 w 230"/>
                  <a:gd name="T81" fmla="*/ 16 h 219"/>
                  <a:gd name="T82" fmla="*/ 187 w 230"/>
                  <a:gd name="T83" fmla="*/ 1 h 2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0" h="219">
                    <a:moveTo>
                      <a:pt x="187" y="1"/>
                    </a:moveTo>
                    <a:cubicBezTo>
                      <a:pt x="187" y="1"/>
                      <a:pt x="187" y="1"/>
                      <a:pt x="188" y="1"/>
                    </a:cubicBezTo>
                    <a:cubicBezTo>
                      <a:pt x="187" y="1"/>
                      <a:pt x="187" y="1"/>
                      <a:pt x="187" y="1"/>
                    </a:cubicBezTo>
                    <a:moveTo>
                      <a:pt x="182" y="0"/>
                    </a:moveTo>
                    <a:cubicBezTo>
                      <a:pt x="178" y="3"/>
                      <a:pt x="174" y="6"/>
                      <a:pt x="170" y="9"/>
                    </a:cubicBezTo>
                    <a:cubicBezTo>
                      <a:pt x="168" y="11"/>
                      <a:pt x="167" y="15"/>
                      <a:pt x="166" y="18"/>
                    </a:cubicBezTo>
                    <a:cubicBezTo>
                      <a:pt x="165" y="22"/>
                      <a:pt x="166" y="25"/>
                      <a:pt x="165" y="28"/>
                    </a:cubicBezTo>
                    <a:cubicBezTo>
                      <a:pt x="164" y="34"/>
                      <a:pt x="158" y="38"/>
                      <a:pt x="153" y="41"/>
                    </a:cubicBezTo>
                    <a:cubicBezTo>
                      <a:pt x="152" y="42"/>
                      <a:pt x="151" y="43"/>
                      <a:pt x="150" y="43"/>
                    </a:cubicBezTo>
                    <a:cubicBezTo>
                      <a:pt x="150" y="43"/>
                      <a:pt x="150" y="43"/>
                      <a:pt x="149" y="43"/>
                    </a:cubicBezTo>
                    <a:cubicBezTo>
                      <a:pt x="149" y="43"/>
                      <a:pt x="149" y="43"/>
                      <a:pt x="149" y="43"/>
                    </a:cubicBezTo>
                    <a:cubicBezTo>
                      <a:pt x="148" y="43"/>
                      <a:pt x="148" y="43"/>
                      <a:pt x="148" y="43"/>
                    </a:cubicBezTo>
                    <a:cubicBezTo>
                      <a:pt x="148" y="43"/>
                      <a:pt x="148" y="43"/>
                      <a:pt x="148" y="43"/>
                    </a:cubicBezTo>
                    <a:cubicBezTo>
                      <a:pt x="146" y="45"/>
                      <a:pt x="146" y="49"/>
                      <a:pt x="145" y="52"/>
                    </a:cubicBezTo>
                    <a:cubicBezTo>
                      <a:pt x="143" y="58"/>
                      <a:pt x="141" y="64"/>
                      <a:pt x="138" y="70"/>
                    </a:cubicBezTo>
                    <a:cubicBezTo>
                      <a:pt x="137" y="75"/>
                      <a:pt x="129" y="79"/>
                      <a:pt x="125" y="83"/>
                    </a:cubicBezTo>
                    <a:cubicBezTo>
                      <a:pt x="118" y="88"/>
                      <a:pt x="111" y="94"/>
                      <a:pt x="104" y="99"/>
                    </a:cubicBezTo>
                    <a:cubicBezTo>
                      <a:pt x="96" y="104"/>
                      <a:pt x="88" y="110"/>
                      <a:pt x="80" y="115"/>
                    </a:cubicBezTo>
                    <a:cubicBezTo>
                      <a:pt x="74" y="119"/>
                      <a:pt x="70" y="122"/>
                      <a:pt x="64" y="123"/>
                    </a:cubicBezTo>
                    <a:cubicBezTo>
                      <a:pt x="61" y="123"/>
                      <a:pt x="56" y="123"/>
                      <a:pt x="55" y="126"/>
                    </a:cubicBezTo>
                    <a:cubicBezTo>
                      <a:pt x="53" y="129"/>
                      <a:pt x="51" y="132"/>
                      <a:pt x="49" y="134"/>
                    </a:cubicBezTo>
                    <a:cubicBezTo>
                      <a:pt x="45" y="139"/>
                      <a:pt x="38" y="141"/>
                      <a:pt x="43" y="147"/>
                    </a:cubicBezTo>
                    <a:cubicBezTo>
                      <a:pt x="40" y="147"/>
                      <a:pt x="38" y="149"/>
                      <a:pt x="35" y="150"/>
                    </a:cubicBezTo>
                    <a:cubicBezTo>
                      <a:pt x="33" y="151"/>
                      <a:pt x="29" y="152"/>
                      <a:pt x="28" y="153"/>
                    </a:cubicBezTo>
                    <a:cubicBezTo>
                      <a:pt x="27" y="154"/>
                      <a:pt x="30" y="156"/>
                      <a:pt x="28" y="158"/>
                    </a:cubicBezTo>
                    <a:cubicBezTo>
                      <a:pt x="28" y="158"/>
                      <a:pt x="27" y="158"/>
                      <a:pt x="25" y="158"/>
                    </a:cubicBezTo>
                    <a:cubicBezTo>
                      <a:pt x="25" y="158"/>
                      <a:pt x="24" y="158"/>
                      <a:pt x="24" y="158"/>
                    </a:cubicBezTo>
                    <a:cubicBezTo>
                      <a:pt x="23" y="158"/>
                      <a:pt x="23" y="158"/>
                      <a:pt x="22" y="158"/>
                    </a:cubicBezTo>
                    <a:cubicBezTo>
                      <a:pt x="22" y="158"/>
                      <a:pt x="22" y="158"/>
                      <a:pt x="21" y="158"/>
                    </a:cubicBezTo>
                    <a:cubicBezTo>
                      <a:pt x="23" y="159"/>
                      <a:pt x="24" y="160"/>
                      <a:pt x="25" y="160"/>
                    </a:cubicBezTo>
                    <a:cubicBezTo>
                      <a:pt x="22" y="162"/>
                      <a:pt x="16" y="160"/>
                      <a:pt x="21" y="165"/>
                    </a:cubicBezTo>
                    <a:cubicBezTo>
                      <a:pt x="20" y="164"/>
                      <a:pt x="19" y="164"/>
                      <a:pt x="19" y="164"/>
                    </a:cubicBezTo>
                    <a:cubicBezTo>
                      <a:pt x="16" y="164"/>
                      <a:pt x="17" y="169"/>
                      <a:pt x="20" y="169"/>
                    </a:cubicBezTo>
                    <a:cubicBezTo>
                      <a:pt x="14" y="170"/>
                      <a:pt x="25" y="174"/>
                      <a:pt x="19" y="176"/>
                    </a:cubicBezTo>
                    <a:cubicBezTo>
                      <a:pt x="21" y="174"/>
                      <a:pt x="20" y="173"/>
                      <a:pt x="18" y="173"/>
                    </a:cubicBezTo>
                    <a:cubicBezTo>
                      <a:pt x="18" y="173"/>
                      <a:pt x="17" y="173"/>
                      <a:pt x="16" y="173"/>
                    </a:cubicBezTo>
                    <a:cubicBezTo>
                      <a:pt x="18" y="172"/>
                      <a:pt x="16" y="171"/>
                      <a:pt x="15" y="171"/>
                    </a:cubicBezTo>
                    <a:cubicBezTo>
                      <a:pt x="12" y="171"/>
                      <a:pt x="8" y="173"/>
                      <a:pt x="8" y="177"/>
                    </a:cubicBezTo>
                    <a:cubicBezTo>
                      <a:pt x="8" y="179"/>
                      <a:pt x="9" y="179"/>
                      <a:pt x="10" y="179"/>
                    </a:cubicBezTo>
                    <a:cubicBezTo>
                      <a:pt x="10" y="179"/>
                      <a:pt x="11" y="179"/>
                      <a:pt x="12" y="178"/>
                    </a:cubicBezTo>
                    <a:cubicBezTo>
                      <a:pt x="13" y="178"/>
                      <a:pt x="13" y="178"/>
                      <a:pt x="14" y="178"/>
                    </a:cubicBezTo>
                    <a:cubicBezTo>
                      <a:pt x="15" y="178"/>
                      <a:pt x="16" y="178"/>
                      <a:pt x="16" y="178"/>
                    </a:cubicBezTo>
                    <a:cubicBezTo>
                      <a:pt x="15" y="179"/>
                      <a:pt x="9" y="180"/>
                      <a:pt x="9" y="181"/>
                    </a:cubicBezTo>
                    <a:cubicBezTo>
                      <a:pt x="10" y="182"/>
                      <a:pt x="10" y="182"/>
                      <a:pt x="11" y="182"/>
                    </a:cubicBezTo>
                    <a:cubicBezTo>
                      <a:pt x="12" y="182"/>
                      <a:pt x="14" y="181"/>
                      <a:pt x="15" y="181"/>
                    </a:cubicBezTo>
                    <a:cubicBezTo>
                      <a:pt x="13" y="182"/>
                      <a:pt x="11" y="183"/>
                      <a:pt x="10" y="184"/>
                    </a:cubicBezTo>
                    <a:cubicBezTo>
                      <a:pt x="11" y="184"/>
                      <a:pt x="11" y="184"/>
                      <a:pt x="12" y="184"/>
                    </a:cubicBezTo>
                    <a:cubicBezTo>
                      <a:pt x="13" y="184"/>
                      <a:pt x="14" y="184"/>
                      <a:pt x="16" y="185"/>
                    </a:cubicBezTo>
                    <a:cubicBezTo>
                      <a:pt x="13" y="186"/>
                      <a:pt x="10" y="186"/>
                      <a:pt x="8" y="187"/>
                    </a:cubicBezTo>
                    <a:cubicBezTo>
                      <a:pt x="2" y="189"/>
                      <a:pt x="0" y="188"/>
                      <a:pt x="2" y="195"/>
                    </a:cubicBezTo>
                    <a:cubicBezTo>
                      <a:pt x="4" y="193"/>
                      <a:pt x="6" y="192"/>
                      <a:pt x="8" y="190"/>
                    </a:cubicBezTo>
                    <a:cubicBezTo>
                      <a:pt x="9" y="193"/>
                      <a:pt x="5" y="194"/>
                      <a:pt x="5" y="197"/>
                    </a:cubicBezTo>
                    <a:cubicBezTo>
                      <a:pt x="8" y="196"/>
                      <a:pt x="10" y="194"/>
                      <a:pt x="13" y="193"/>
                    </a:cubicBezTo>
                    <a:cubicBezTo>
                      <a:pt x="11" y="194"/>
                      <a:pt x="11" y="196"/>
                      <a:pt x="10" y="197"/>
                    </a:cubicBezTo>
                    <a:cubicBezTo>
                      <a:pt x="9" y="198"/>
                      <a:pt x="6" y="199"/>
                      <a:pt x="6" y="200"/>
                    </a:cubicBezTo>
                    <a:cubicBezTo>
                      <a:pt x="6" y="202"/>
                      <a:pt x="10" y="203"/>
                      <a:pt x="13" y="203"/>
                    </a:cubicBezTo>
                    <a:cubicBezTo>
                      <a:pt x="15" y="203"/>
                      <a:pt x="17" y="202"/>
                      <a:pt x="18" y="202"/>
                    </a:cubicBezTo>
                    <a:cubicBezTo>
                      <a:pt x="24" y="202"/>
                      <a:pt x="29" y="202"/>
                      <a:pt x="35" y="202"/>
                    </a:cubicBezTo>
                    <a:cubicBezTo>
                      <a:pt x="35" y="202"/>
                      <a:pt x="35" y="202"/>
                      <a:pt x="35" y="202"/>
                    </a:cubicBezTo>
                    <a:cubicBezTo>
                      <a:pt x="37" y="202"/>
                      <a:pt x="38" y="208"/>
                      <a:pt x="42" y="208"/>
                    </a:cubicBezTo>
                    <a:cubicBezTo>
                      <a:pt x="45" y="209"/>
                      <a:pt x="52" y="209"/>
                      <a:pt x="55" y="211"/>
                    </a:cubicBezTo>
                    <a:cubicBezTo>
                      <a:pt x="58" y="213"/>
                      <a:pt x="56" y="213"/>
                      <a:pt x="56" y="217"/>
                    </a:cubicBezTo>
                    <a:cubicBezTo>
                      <a:pt x="57" y="216"/>
                      <a:pt x="57" y="216"/>
                      <a:pt x="59" y="216"/>
                    </a:cubicBezTo>
                    <a:cubicBezTo>
                      <a:pt x="61" y="216"/>
                      <a:pt x="65" y="217"/>
                      <a:pt x="67" y="218"/>
                    </a:cubicBezTo>
                    <a:cubicBezTo>
                      <a:pt x="70" y="218"/>
                      <a:pt x="72" y="219"/>
                      <a:pt x="74" y="219"/>
                    </a:cubicBezTo>
                    <a:cubicBezTo>
                      <a:pt x="81" y="219"/>
                      <a:pt x="87" y="216"/>
                      <a:pt x="93" y="213"/>
                    </a:cubicBezTo>
                    <a:cubicBezTo>
                      <a:pt x="102" y="209"/>
                      <a:pt x="105" y="200"/>
                      <a:pt x="112" y="195"/>
                    </a:cubicBezTo>
                    <a:cubicBezTo>
                      <a:pt x="116" y="192"/>
                      <a:pt x="121" y="192"/>
                      <a:pt x="125" y="190"/>
                    </a:cubicBezTo>
                    <a:cubicBezTo>
                      <a:pt x="125" y="189"/>
                      <a:pt x="124" y="189"/>
                      <a:pt x="123" y="189"/>
                    </a:cubicBezTo>
                    <a:cubicBezTo>
                      <a:pt x="122" y="189"/>
                      <a:pt x="121" y="190"/>
                      <a:pt x="120" y="190"/>
                    </a:cubicBezTo>
                    <a:cubicBezTo>
                      <a:pt x="120" y="180"/>
                      <a:pt x="130" y="168"/>
                      <a:pt x="136" y="159"/>
                    </a:cubicBezTo>
                    <a:cubicBezTo>
                      <a:pt x="138" y="156"/>
                      <a:pt x="139" y="152"/>
                      <a:pt x="138" y="147"/>
                    </a:cubicBezTo>
                    <a:cubicBezTo>
                      <a:pt x="138" y="145"/>
                      <a:pt x="138" y="143"/>
                      <a:pt x="139" y="141"/>
                    </a:cubicBezTo>
                    <a:cubicBezTo>
                      <a:pt x="140" y="139"/>
                      <a:pt x="140" y="137"/>
                      <a:pt x="141" y="135"/>
                    </a:cubicBezTo>
                    <a:cubicBezTo>
                      <a:pt x="143" y="132"/>
                      <a:pt x="150" y="129"/>
                      <a:pt x="154" y="128"/>
                    </a:cubicBezTo>
                    <a:cubicBezTo>
                      <a:pt x="159" y="125"/>
                      <a:pt x="164" y="122"/>
                      <a:pt x="169" y="119"/>
                    </a:cubicBezTo>
                    <a:cubicBezTo>
                      <a:pt x="172" y="117"/>
                      <a:pt x="175" y="114"/>
                      <a:pt x="178" y="114"/>
                    </a:cubicBezTo>
                    <a:cubicBezTo>
                      <a:pt x="179" y="114"/>
                      <a:pt x="180" y="115"/>
                      <a:pt x="181" y="115"/>
                    </a:cubicBezTo>
                    <a:cubicBezTo>
                      <a:pt x="179" y="117"/>
                      <a:pt x="176" y="116"/>
                      <a:pt x="174" y="117"/>
                    </a:cubicBezTo>
                    <a:cubicBezTo>
                      <a:pt x="174" y="117"/>
                      <a:pt x="175" y="117"/>
                      <a:pt x="175" y="117"/>
                    </a:cubicBezTo>
                    <a:cubicBezTo>
                      <a:pt x="176" y="117"/>
                      <a:pt x="177" y="117"/>
                      <a:pt x="178" y="117"/>
                    </a:cubicBezTo>
                    <a:cubicBezTo>
                      <a:pt x="179" y="117"/>
                      <a:pt x="180" y="117"/>
                      <a:pt x="181" y="117"/>
                    </a:cubicBezTo>
                    <a:cubicBezTo>
                      <a:pt x="182" y="117"/>
                      <a:pt x="182" y="117"/>
                      <a:pt x="183" y="117"/>
                    </a:cubicBezTo>
                    <a:cubicBezTo>
                      <a:pt x="185" y="117"/>
                      <a:pt x="187" y="119"/>
                      <a:pt x="189" y="119"/>
                    </a:cubicBezTo>
                    <a:cubicBezTo>
                      <a:pt x="189" y="119"/>
                      <a:pt x="189" y="119"/>
                      <a:pt x="189" y="119"/>
                    </a:cubicBezTo>
                    <a:cubicBezTo>
                      <a:pt x="196" y="118"/>
                      <a:pt x="193" y="110"/>
                      <a:pt x="190" y="110"/>
                    </a:cubicBezTo>
                    <a:cubicBezTo>
                      <a:pt x="190" y="110"/>
                      <a:pt x="189" y="110"/>
                      <a:pt x="189" y="111"/>
                    </a:cubicBezTo>
                    <a:cubicBezTo>
                      <a:pt x="189" y="110"/>
                      <a:pt x="188" y="109"/>
                      <a:pt x="188" y="109"/>
                    </a:cubicBezTo>
                    <a:cubicBezTo>
                      <a:pt x="187" y="109"/>
                      <a:pt x="187" y="109"/>
                      <a:pt x="186" y="110"/>
                    </a:cubicBezTo>
                    <a:cubicBezTo>
                      <a:pt x="186" y="109"/>
                      <a:pt x="185" y="109"/>
                      <a:pt x="185" y="109"/>
                    </a:cubicBezTo>
                    <a:cubicBezTo>
                      <a:pt x="184" y="109"/>
                      <a:pt x="183" y="110"/>
                      <a:pt x="182" y="110"/>
                    </a:cubicBezTo>
                    <a:cubicBezTo>
                      <a:pt x="182" y="108"/>
                      <a:pt x="182" y="103"/>
                      <a:pt x="183" y="101"/>
                    </a:cubicBezTo>
                    <a:cubicBezTo>
                      <a:pt x="184" y="97"/>
                      <a:pt x="190" y="92"/>
                      <a:pt x="193" y="89"/>
                    </a:cubicBezTo>
                    <a:cubicBezTo>
                      <a:pt x="200" y="80"/>
                      <a:pt x="207" y="72"/>
                      <a:pt x="214" y="63"/>
                    </a:cubicBezTo>
                    <a:cubicBezTo>
                      <a:pt x="217" y="58"/>
                      <a:pt x="220" y="54"/>
                      <a:pt x="223" y="50"/>
                    </a:cubicBezTo>
                    <a:cubicBezTo>
                      <a:pt x="224" y="48"/>
                      <a:pt x="228" y="45"/>
                      <a:pt x="228" y="43"/>
                    </a:cubicBezTo>
                    <a:cubicBezTo>
                      <a:pt x="229" y="41"/>
                      <a:pt x="225" y="36"/>
                      <a:pt x="224" y="34"/>
                    </a:cubicBezTo>
                    <a:cubicBezTo>
                      <a:pt x="221" y="27"/>
                      <a:pt x="226" y="30"/>
                      <a:pt x="229" y="26"/>
                    </a:cubicBezTo>
                    <a:cubicBezTo>
                      <a:pt x="229" y="26"/>
                      <a:pt x="229" y="26"/>
                      <a:pt x="228" y="26"/>
                    </a:cubicBezTo>
                    <a:cubicBezTo>
                      <a:pt x="227" y="26"/>
                      <a:pt x="226" y="26"/>
                      <a:pt x="225" y="26"/>
                    </a:cubicBezTo>
                    <a:cubicBezTo>
                      <a:pt x="223" y="27"/>
                      <a:pt x="222" y="27"/>
                      <a:pt x="221" y="27"/>
                    </a:cubicBezTo>
                    <a:cubicBezTo>
                      <a:pt x="220" y="27"/>
                      <a:pt x="220" y="27"/>
                      <a:pt x="219" y="26"/>
                    </a:cubicBezTo>
                    <a:cubicBezTo>
                      <a:pt x="221" y="25"/>
                      <a:pt x="223" y="26"/>
                      <a:pt x="224" y="25"/>
                    </a:cubicBezTo>
                    <a:cubicBezTo>
                      <a:pt x="227" y="23"/>
                      <a:pt x="224" y="23"/>
                      <a:pt x="226" y="21"/>
                    </a:cubicBezTo>
                    <a:cubicBezTo>
                      <a:pt x="226" y="21"/>
                      <a:pt x="226" y="21"/>
                      <a:pt x="226" y="21"/>
                    </a:cubicBezTo>
                    <a:cubicBezTo>
                      <a:pt x="226" y="21"/>
                      <a:pt x="226" y="21"/>
                      <a:pt x="226" y="21"/>
                    </a:cubicBezTo>
                    <a:cubicBezTo>
                      <a:pt x="226" y="22"/>
                      <a:pt x="226" y="22"/>
                      <a:pt x="227" y="22"/>
                    </a:cubicBezTo>
                    <a:cubicBezTo>
                      <a:pt x="227" y="22"/>
                      <a:pt x="227" y="22"/>
                      <a:pt x="227" y="21"/>
                    </a:cubicBezTo>
                    <a:cubicBezTo>
                      <a:pt x="227" y="22"/>
                      <a:pt x="227" y="22"/>
                      <a:pt x="227" y="22"/>
                    </a:cubicBezTo>
                    <a:cubicBezTo>
                      <a:pt x="227" y="22"/>
                      <a:pt x="227" y="21"/>
                      <a:pt x="227" y="21"/>
                    </a:cubicBezTo>
                    <a:cubicBezTo>
                      <a:pt x="228" y="21"/>
                      <a:pt x="228" y="21"/>
                      <a:pt x="228" y="21"/>
                    </a:cubicBezTo>
                    <a:cubicBezTo>
                      <a:pt x="228" y="21"/>
                      <a:pt x="228" y="21"/>
                      <a:pt x="228" y="21"/>
                    </a:cubicBezTo>
                    <a:cubicBezTo>
                      <a:pt x="229" y="20"/>
                      <a:pt x="229" y="19"/>
                      <a:pt x="230" y="18"/>
                    </a:cubicBezTo>
                    <a:cubicBezTo>
                      <a:pt x="228" y="18"/>
                      <a:pt x="218" y="22"/>
                      <a:pt x="217" y="23"/>
                    </a:cubicBezTo>
                    <a:cubicBezTo>
                      <a:pt x="217" y="24"/>
                      <a:pt x="218" y="24"/>
                      <a:pt x="219" y="24"/>
                    </a:cubicBezTo>
                    <a:cubicBezTo>
                      <a:pt x="220" y="24"/>
                      <a:pt x="221" y="24"/>
                      <a:pt x="222" y="24"/>
                    </a:cubicBezTo>
                    <a:cubicBezTo>
                      <a:pt x="222" y="24"/>
                      <a:pt x="223" y="23"/>
                      <a:pt x="223" y="23"/>
                    </a:cubicBezTo>
                    <a:cubicBezTo>
                      <a:pt x="223" y="23"/>
                      <a:pt x="223" y="23"/>
                      <a:pt x="224" y="23"/>
                    </a:cubicBezTo>
                    <a:cubicBezTo>
                      <a:pt x="221" y="25"/>
                      <a:pt x="218" y="24"/>
                      <a:pt x="216" y="27"/>
                    </a:cubicBezTo>
                    <a:cubicBezTo>
                      <a:pt x="216" y="24"/>
                      <a:pt x="217" y="22"/>
                      <a:pt x="217" y="20"/>
                    </a:cubicBezTo>
                    <a:cubicBezTo>
                      <a:pt x="218" y="19"/>
                      <a:pt x="217" y="17"/>
                      <a:pt x="219" y="15"/>
                    </a:cubicBezTo>
                    <a:cubicBezTo>
                      <a:pt x="210" y="18"/>
                      <a:pt x="204" y="23"/>
                      <a:pt x="197" y="28"/>
                    </a:cubicBezTo>
                    <a:cubicBezTo>
                      <a:pt x="196" y="24"/>
                      <a:pt x="195" y="19"/>
                      <a:pt x="193" y="16"/>
                    </a:cubicBezTo>
                    <a:cubicBezTo>
                      <a:pt x="192" y="12"/>
                      <a:pt x="191" y="13"/>
                      <a:pt x="187" y="12"/>
                    </a:cubicBezTo>
                    <a:cubicBezTo>
                      <a:pt x="185" y="11"/>
                      <a:pt x="184" y="10"/>
                      <a:pt x="184" y="7"/>
                    </a:cubicBezTo>
                    <a:cubicBezTo>
                      <a:pt x="185" y="5"/>
                      <a:pt x="185" y="1"/>
                      <a:pt x="187" y="1"/>
                    </a:cubicBezTo>
                    <a:cubicBezTo>
                      <a:pt x="187" y="1"/>
                      <a:pt x="187" y="1"/>
                      <a:pt x="187" y="1"/>
                    </a:cubicBezTo>
                    <a:cubicBezTo>
                      <a:pt x="186" y="1"/>
                      <a:pt x="184"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7" name="Freeform 1188"/>
              <p:cNvSpPr/>
              <p:nvPr/>
            </p:nvSpPr>
            <p:spPr bwMode="auto">
              <a:xfrm>
                <a:off x="5947" y="4758"/>
                <a:ext cx="7" cy="5"/>
              </a:xfrm>
              <a:custGeom>
                <a:gdLst>
                  <a:gd name="T0" fmla="*/ 1 w 3"/>
                  <a:gd name="T1" fmla="*/ 0 h 2"/>
                  <a:gd name="T2" fmla="*/ 0 w 3"/>
                  <a:gd name="T3" fmla="*/ 1 h 2"/>
                  <a:gd name="T4" fmla="*/ 0 w 3"/>
                  <a:gd name="T5" fmla="*/ 2 h 2"/>
                  <a:gd name="T6" fmla="*/ 3 w 3"/>
                  <a:gd name="T7" fmla="*/ 0 h 2"/>
                  <a:gd name="T8" fmla="*/ 1 w 3"/>
                  <a:gd name="T9" fmla="*/ 0 h 2"/>
                </a:gdLst>
                <a:cxnLst>
                  <a:cxn ang="0">
                    <a:pos x="T0" y="T1"/>
                  </a:cxn>
                  <a:cxn ang="0">
                    <a:pos x="T2" y="T3"/>
                  </a:cxn>
                  <a:cxn ang="0">
                    <a:pos x="T4" y="T5"/>
                  </a:cxn>
                  <a:cxn ang="0">
                    <a:pos x="T6" y="T7"/>
                  </a:cxn>
                  <a:cxn ang="0">
                    <a:pos x="T8" y="T9"/>
                  </a:cxn>
                </a:cxnLst>
                <a:rect l="0" t="0" r="r" b="b"/>
                <a:pathLst>
                  <a:path w="3" h="2">
                    <a:moveTo>
                      <a:pt x="1" y="0"/>
                    </a:moveTo>
                    <a:cubicBezTo>
                      <a:pt x="0" y="0"/>
                      <a:pt x="0" y="1"/>
                      <a:pt x="0" y="1"/>
                    </a:cubicBezTo>
                    <a:cubicBezTo>
                      <a:pt x="0" y="1"/>
                      <a:pt x="0" y="2"/>
                      <a:pt x="0" y="2"/>
                    </a:cubicBezTo>
                    <a:cubicBezTo>
                      <a:pt x="1" y="2"/>
                      <a:pt x="2" y="1"/>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Freeform 1189"/>
              <p:cNvSpPr/>
              <p:nvPr/>
            </p:nvSpPr>
            <p:spPr bwMode="auto">
              <a:xfrm>
                <a:off x="5056" y="4836"/>
                <a:ext cx="38" cy="31"/>
              </a:xfrm>
              <a:custGeom>
                <a:gdLst>
                  <a:gd name="T0" fmla="*/ 12 w 16"/>
                  <a:gd name="T1" fmla="*/ 0 h 13"/>
                  <a:gd name="T2" fmla="*/ 10 w 16"/>
                  <a:gd name="T3" fmla="*/ 4 h 13"/>
                  <a:gd name="T4" fmla="*/ 7 w 16"/>
                  <a:gd name="T5" fmla="*/ 7 h 13"/>
                  <a:gd name="T6" fmla="*/ 13 w 16"/>
                  <a:gd name="T7" fmla="*/ 13 h 13"/>
                  <a:gd name="T8" fmla="*/ 12 w 16"/>
                  <a:gd name="T9" fmla="*/ 7 h 13"/>
                  <a:gd name="T10" fmla="*/ 16 w 16"/>
                  <a:gd name="T11" fmla="*/ 2 h 13"/>
                  <a:gd name="T12" fmla="*/ 12 w 16"/>
                  <a:gd name="T13" fmla="*/ 0 h 13"/>
                </a:gdLst>
                <a:cxnLst>
                  <a:cxn ang="0">
                    <a:pos x="T0" y="T1"/>
                  </a:cxn>
                  <a:cxn ang="0">
                    <a:pos x="T2" y="T3"/>
                  </a:cxn>
                  <a:cxn ang="0">
                    <a:pos x="T4" y="T5"/>
                  </a:cxn>
                  <a:cxn ang="0">
                    <a:pos x="T6" y="T7"/>
                  </a:cxn>
                  <a:cxn ang="0">
                    <a:pos x="T8" y="T9"/>
                  </a:cxn>
                  <a:cxn ang="0">
                    <a:pos x="T10" y="T11"/>
                  </a:cxn>
                  <a:cxn ang="0">
                    <a:pos x="T12" y="T13"/>
                  </a:cxn>
                </a:cxnLst>
                <a:rect l="0" t="0" r="r" b="b"/>
                <a:pathLst>
                  <a:path w="16" h="13">
                    <a:moveTo>
                      <a:pt x="12" y="0"/>
                    </a:moveTo>
                    <a:cubicBezTo>
                      <a:pt x="11" y="0"/>
                      <a:pt x="10" y="1"/>
                      <a:pt x="10" y="4"/>
                    </a:cubicBezTo>
                    <a:cubicBezTo>
                      <a:pt x="10" y="6"/>
                      <a:pt x="8" y="6"/>
                      <a:pt x="7" y="7"/>
                    </a:cubicBezTo>
                    <a:cubicBezTo>
                      <a:pt x="0" y="13"/>
                      <a:pt x="9" y="10"/>
                      <a:pt x="13" y="13"/>
                    </a:cubicBezTo>
                    <a:cubicBezTo>
                      <a:pt x="13" y="11"/>
                      <a:pt x="12" y="9"/>
                      <a:pt x="12" y="7"/>
                    </a:cubicBezTo>
                    <a:cubicBezTo>
                      <a:pt x="12" y="5"/>
                      <a:pt x="14" y="3"/>
                      <a:pt x="16" y="2"/>
                    </a:cubicBezTo>
                    <a:cubicBezTo>
                      <a:pt x="14"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9" name="Freeform 1190"/>
              <p:cNvSpPr/>
              <p:nvPr/>
            </p:nvSpPr>
            <p:spPr bwMode="auto">
              <a:xfrm>
                <a:off x="5281" y="5014"/>
                <a:ext cx="11" cy="7"/>
              </a:xfrm>
              <a:custGeom>
                <a:gdLst>
                  <a:gd name="T0" fmla="*/ 5 w 5"/>
                  <a:gd name="T1" fmla="*/ 0 h 3"/>
                  <a:gd name="T2" fmla="*/ 0 w 5"/>
                  <a:gd name="T3" fmla="*/ 1 h 3"/>
                  <a:gd name="T4" fmla="*/ 0 w 5"/>
                  <a:gd name="T5" fmla="*/ 1 h 3"/>
                  <a:gd name="T6" fmla="*/ 3 w 5"/>
                  <a:gd name="T7" fmla="*/ 3 h 3"/>
                  <a:gd name="T8" fmla="*/ 5 w 5"/>
                  <a:gd name="T9" fmla="*/ 0 h 3"/>
                </a:gdLst>
                <a:cxnLst>
                  <a:cxn ang="0">
                    <a:pos x="T0" y="T1"/>
                  </a:cxn>
                  <a:cxn ang="0">
                    <a:pos x="T2" y="T3"/>
                  </a:cxn>
                  <a:cxn ang="0">
                    <a:pos x="T4" y="T5"/>
                  </a:cxn>
                  <a:cxn ang="0">
                    <a:pos x="T6" y="T7"/>
                  </a:cxn>
                  <a:cxn ang="0">
                    <a:pos x="T8" y="T9"/>
                  </a:cxn>
                </a:cxnLst>
                <a:rect l="0" t="0" r="r" b="b"/>
                <a:pathLst>
                  <a:path w="5" h="3">
                    <a:moveTo>
                      <a:pt x="5" y="0"/>
                    </a:moveTo>
                    <a:cubicBezTo>
                      <a:pt x="3" y="0"/>
                      <a:pt x="2" y="1"/>
                      <a:pt x="0" y="1"/>
                    </a:cubicBezTo>
                    <a:cubicBezTo>
                      <a:pt x="0" y="1"/>
                      <a:pt x="0" y="1"/>
                      <a:pt x="0" y="1"/>
                    </a:cubicBezTo>
                    <a:cubicBezTo>
                      <a:pt x="1" y="2"/>
                      <a:pt x="2" y="3"/>
                      <a:pt x="3" y="3"/>
                    </a:cubicBezTo>
                    <a:cubicBezTo>
                      <a:pt x="4"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Freeform 1191"/>
              <p:cNvSpPr/>
              <p:nvPr/>
            </p:nvSpPr>
            <p:spPr bwMode="auto">
              <a:xfrm>
                <a:off x="5167" y="2017"/>
                <a:ext cx="17" cy="11"/>
              </a:xfrm>
              <a:custGeom>
                <a:gdLst>
                  <a:gd name="T0" fmla="*/ 4 w 7"/>
                  <a:gd name="T1" fmla="*/ 0 h 5"/>
                  <a:gd name="T2" fmla="*/ 2 w 7"/>
                  <a:gd name="T3" fmla="*/ 5 h 5"/>
                  <a:gd name="T4" fmla="*/ 3 w 7"/>
                  <a:gd name="T5" fmla="*/ 5 h 5"/>
                  <a:gd name="T6" fmla="*/ 4 w 7"/>
                  <a:gd name="T7" fmla="*/ 5 h 5"/>
                  <a:gd name="T8" fmla="*/ 5 w 7"/>
                  <a:gd name="T9" fmla="*/ 5 h 5"/>
                  <a:gd name="T10" fmla="*/ 5 w 7"/>
                  <a:gd name="T11" fmla="*/ 0 h 5"/>
                  <a:gd name="T12" fmla="*/ 4 w 7"/>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7" h="5">
                    <a:moveTo>
                      <a:pt x="4" y="0"/>
                    </a:moveTo>
                    <a:cubicBezTo>
                      <a:pt x="2" y="0"/>
                      <a:pt x="0" y="3"/>
                      <a:pt x="2" y="5"/>
                    </a:cubicBezTo>
                    <a:cubicBezTo>
                      <a:pt x="2" y="5"/>
                      <a:pt x="2" y="5"/>
                      <a:pt x="3" y="5"/>
                    </a:cubicBezTo>
                    <a:cubicBezTo>
                      <a:pt x="4" y="5"/>
                      <a:pt x="4" y="5"/>
                      <a:pt x="4" y="5"/>
                    </a:cubicBezTo>
                    <a:cubicBezTo>
                      <a:pt x="5" y="5"/>
                      <a:pt x="5" y="5"/>
                      <a:pt x="5" y="5"/>
                    </a:cubicBezTo>
                    <a:cubicBezTo>
                      <a:pt x="6" y="3"/>
                      <a:pt x="7" y="1"/>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1" name="Freeform 1192"/>
              <p:cNvSpPr>
                <a:spLocks noEditPoints="1"/>
              </p:cNvSpPr>
              <p:nvPr/>
            </p:nvSpPr>
            <p:spPr bwMode="auto">
              <a:xfrm>
                <a:off x="5186" y="1981"/>
                <a:ext cx="5" cy="5"/>
              </a:xfrm>
              <a:custGeom>
                <a:gdLst>
                  <a:gd name="T0" fmla="*/ 0 w 2"/>
                  <a:gd name="T1" fmla="*/ 1 h 2"/>
                  <a:gd name="T2" fmla="*/ 0 w 2"/>
                  <a:gd name="T3" fmla="*/ 2 h 2"/>
                  <a:gd name="T4" fmla="*/ 0 w 2"/>
                  <a:gd name="T5" fmla="*/ 1 h 2"/>
                  <a:gd name="T6" fmla="*/ 1 w 2"/>
                  <a:gd name="T7" fmla="*/ 0 h 2"/>
                  <a:gd name="T8" fmla="*/ 0 w 2"/>
                  <a:gd name="T9" fmla="*/ 1 h 2"/>
                  <a:gd name="T10" fmla="*/ 2 w 2"/>
                  <a:gd name="T11" fmla="*/ 0 h 2"/>
                  <a:gd name="T12" fmla="*/ 1 w 2"/>
                  <a:gd name="T13" fmla="*/ 0 h 2"/>
                </a:gd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2"/>
                      <a:pt x="0" y="2"/>
                    </a:cubicBezTo>
                    <a:cubicBezTo>
                      <a:pt x="0" y="2"/>
                      <a:pt x="0" y="1"/>
                      <a:pt x="0" y="1"/>
                    </a:cubicBezTo>
                    <a:moveTo>
                      <a:pt x="1" y="0"/>
                    </a:moveTo>
                    <a:cubicBezTo>
                      <a:pt x="1" y="0"/>
                      <a:pt x="1" y="1"/>
                      <a:pt x="0" y="1"/>
                    </a:cubicBezTo>
                    <a:cubicBezTo>
                      <a:pt x="1" y="1"/>
                      <a:pt x="1" y="1"/>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Freeform 1193"/>
              <p:cNvSpPr/>
              <p:nvPr/>
            </p:nvSpPr>
            <p:spPr bwMode="auto">
              <a:xfrm>
                <a:off x="5148" y="2121"/>
                <a:ext cx="12" cy="9"/>
              </a:xfrm>
              <a:custGeom>
                <a:gdLst>
                  <a:gd name="T0" fmla="*/ 2 w 5"/>
                  <a:gd name="T1" fmla="*/ 0 h 4"/>
                  <a:gd name="T2" fmla="*/ 1 w 5"/>
                  <a:gd name="T3" fmla="*/ 0 h 4"/>
                  <a:gd name="T4" fmla="*/ 0 w 5"/>
                  <a:gd name="T5" fmla="*/ 0 h 4"/>
                  <a:gd name="T6" fmla="*/ 0 w 5"/>
                  <a:gd name="T7" fmla="*/ 1 h 4"/>
                  <a:gd name="T8" fmla="*/ 3 w 5"/>
                  <a:gd name="T9" fmla="*/ 4 h 4"/>
                  <a:gd name="T10" fmla="*/ 2 w 5"/>
                  <a:gd name="T11" fmla="*/ 0 h 4"/>
                </a:gdLst>
                <a:cxnLst>
                  <a:cxn ang="0">
                    <a:pos x="T0" y="T1"/>
                  </a:cxn>
                  <a:cxn ang="0">
                    <a:pos x="T2" y="T3"/>
                  </a:cxn>
                  <a:cxn ang="0">
                    <a:pos x="T4" y="T5"/>
                  </a:cxn>
                  <a:cxn ang="0">
                    <a:pos x="T6" y="T7"/>
                  </a:cxn>
                  <a:cxn ang="0">
                    <a:pos x="T8" y="T9"/>
                  </a:cxn>
                  <a:cxn ang="0">
                    <a:pos x="T10" y="T11"/>
                  </a:cxn>
                </a:cxnLst>
                <a:rect l="0" t="0" r="r" b="b"/>
                <a:pathLst>
                  <a:path w="5" h="4">
                    <a:moveTo>
                      <a:pt x="2" y="0"/>
                    </a:moveTo>
                    <a:cubicBezTo>
                      <a:pt x="1" y="0"/>
                      <a:pt x="1" y="0"/>
                      <a:pt x="1" y="0"/>
                    </a:cubicBezTo>
                    <a:cubicBezTo>
                      <a:pt x="0" y="0"/>
                      <a:pt x="0" y="0"/>
                      <a:pt x="0" y="0"/>
                    </a:cubicBezTo>
                    <a:cubicBezTo>
                      <a:pt x="0" y="1"/>
                      <a:pt x="0" y="1"/>
                      <a:pt x="0" y="1"/>
                    </a:cubicBezTo>
                    <a:cubicBezTo>
                      <a:pt x="1" y="2"/>
                      <a:pt x="2" y="3"/>
                      <a:pt x="3" y="4"/>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3" name="Freeform 1194"/>
              <p:cNvSpPr/>
              <p:nvPr/>
            </p:nvSpPr>
            <p:spPr bwMode="auto">
              <a:xfrm>
                <a:off x="5219" y="2187"/>
                <a:ext cx="24" cy="19"/>
              </a:xfrm>
              <a:custGeom>
                <a:gdLst>
                  <a:gd name="T0" fmla="*/ 0 w 10"/>
                  <a:gd name="T1" fmla="*/ 0 h 8"/>
                  <a:gd name="T2" fmla="*/ 0 w 10"/>
                  <a:gd name="T3" fmla="*/ 4 h 8"/>
                  <a:gd name="T4" fmla="*/ 0 w 10"/>
                  <a:gd name="T5" fmla="*/ 5 h 8"/>
                  <a:gd name="T6" fmla="*/ 10 w 10"/>
                  <a:gd name="T7" fmla="*/ 8 h 8"/>
                  <a:gd name="T8" fmla="*/ 5 w 10"/>
                  <a:gd name="T9" fmla="*/ 4 h 8"/>
                  <a:gd name="T10" fmla="*/ 5 w 10"/>
                  <a:gd name="T11" fmla="*/ 4 h 8"/>
                  <a:gd name="T12" fmla="*/ 4 w 10"/>
                  <a:gd name="T13" fmla="*/ 4 h 8"/>
                  <a:gd name="T14" fmla="*/ 3 w 10"/>
                  <a:gd name="T15" fmla="*/ 4 h 8"/>
                  <a:gd name="T16" fmla="*/ 3 w 10"/>
                  <a:gd name="T17" fmla="*/ 2 h 8"/>
                  <a:gd name="T18" fmla="*/ 0 w 10"/>
                  <a:gd name="T19"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0" y="0"/>
                    </a:moveTo>
                    <a:cubicBezTo>
                      <a:pt x="0" y="0"/>
                      <a:pt x="0" y="1"/>
                      <a:pt x="0" y="4"/>
                    </a:cubicBezTo>
                    <a:cubicBezTo>
                      <a:pt x="0" y="5"/>
                      <a:pt x="0" y="5"/>
                      <a:pt x="0" y="5"/>
                    </a:cubicBezTo>
                    <a:cubicBezTo>
                      <a:pt x="1" y="8"/>
                      <a:pt x="7" y="8"/>
                      <a:pt x="10" y="8"/>
                    </a:cubicBezTo>
                    <a:cubicBezTo>
                      <a:pt x="9" y="7"/>
                      <a:pt x="7" y="5"/>
                      <a:pt x="5" y="4"/>
                    </a:cubicBezTo>
                    <a:cubicBezTo>
                      <a:pt x="5" y="4"/>
                      <a:pt x="5" y="4"/>
                      <a:pt x="5" y="4"/>
                    </a:cubicBezTo>
                    <a:cubicBezTo>
                      <a:pt x="4" y="4"/>
                      <a:pt x="4" y="4"/>
                      <a:pt x="4" y="4"/>
                    </a:cubicBezTo>
                    <a:cubicBezTo>
                      <a:pt x="4" y="4"/>
                      <a:pt x="3" y="4"/>
                      <a:pt x="3" y="4"/>
                    </a:cubicBezTo>
                    <a:cubicBezTo>
                      <a:pt x="3" y="3"/>
                      <a:pt x="3" y="2"/>
                      <a:pt x="3" y="2"/>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Freeform 1195"/>
              <p:cNvSpPr/>
              <p:nvPr/>
            </p:nvSpPr>
            <p:spPr bwMode="auto">
              <a:xfrm>
                <a:off x="5108" y="2052"/>
                <a:ext cx="50" cy="69"/>
              </a:xfrm>
              <a:custGeom>
                <a:gdLst>
                  <a:gd name="T0" fmla="*/ 2 w 21"/>
                  <a:gd name="T1" fmla="*/ 0 h 29"/>
                  <a:gd name="T2" fmla="*/ 0 w 21"/>
                  <a:gd name="T3" fmla="*/ 4 h 29"/>
                  <a:gd name="T4" fmla="*/ 1 w 21"/>
                  <a:gd name="T5" fmla="*/ 7 h 29"/>
                  <a:gd name="T6" fmla="*/ 3 w 21"/>
                  <a:gd name="T7" fmla="*/ 13 h 29"/>
                  <a:gd name="T8" fmla="*/ 4 w 21"/>
                  <a:gd name="T9" fmla="*/ 20 h 29"/>
                  <a:gd name="T10" fmla="*/ 7 w 21"/>
                  <a:gd name="T11" fmla="*/ 29 h 29"/>
                  <a:gd name="T12" fmla="*/ 14 w 21"/>
                  <a:gd name="T13" fmla="*/ 28 h 29"/>
                  <a:gd name="T14" fmla="*/ 14 w 21"/>
                  <a:gd name="T15" fmla="*/ 28 h 29"/>
                  <a:gd name="T16" fmla="*/ 15 w 21"/>
                  <a:gd name="T17" fmla="*/ 28 h 29"/>
                  <a:gd name="T18" fmla="*/ 16 w 21"/>
                  <a:gd name="T19" fmla="*/ 28 h 29"/>
                  <a:gd name="T20" fmla="*/ 16 w 21"/>
                  <a:gd name="T21" fmla="*/ 28 h 29"/>
                  <a:gd name="T22" fmla="*/ 20 w 21"/>
                  <a:gd name="T23" fmla="*/ 26 h 29"/>
                  <a:gd name="T24" fmla="*/ 21 w 21"/>
                  <a:gd name="T25" fmla="*/ 26 h 29"/>
                  <a:gd name="T26" fmla="*/ 21 w 21"/>
                  <a:gd name="T27" fmla="*/ 26 h 29"/>
                  <a:gd name="T28" fmla="*/ 21 w 21"/>
                  <a:gd name="T29" fmla="*/ 26 h 29"/>
                  <a:gd name="T30" fmla="*/ 17 w 21"/>
                  <a:gd name="T31" fmla="*/ 14 h 29"/>
                  <a:gd name="T32" fmla="*/ 16 w 21"/>
                  <a:gd name="T33" fmla="*/ 8 h 29"/>
                  <a:gd name="T34" fmla="*/ 15 w 21"/>
                  <a:gd name="T35" fmla="*/ 8 h 29"/>
                  <a:gd name="T36" fmla="*/ 12 w 21"/>
                  <a:gd name="T37" fmla="*/ 15 h 29"/>
                  <a:gd name="T38" fmla="*/ 11 w 21"/>
                  <a:gd name="T39" fmla="*/ 15 h 29"/>
                  <a:gd name="T40" fmla="*/ 8 w 21"/>
                  <a:gd name="T41" fmla="*/ 13 h 29"/>
                  <a:gd name="T42" fmla="*/ 7 w 21"/>
                  <a:gd name="T43" fmla="*/ 7 h 29"/>
                  <a:gd name="T44" fmla="*/ 5 w 21"/>
                  <a:gd name="T45" fmla="*/ 4 h 29"/>
                  <a:gd name="T46" fmla="*/ 5 w 21"/>
                  <a:gd name="T47" fmla="*/ 3 h 29"/>
                  <a:gd name="T48" fmla="*/ 2 w 21"/>
                  <a:gd name="T49"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28">
                    <a:moveTo>
                      <a:pt x="2" y="0"/>
                    </a:moveTo>
                    <a:cubicBezTo>
                      <a:pt x="1" y="0"/>
                      <a:pt x="1" y="1"/>
                      <a:pt x="0" y="4"/>
                    </a:cubicBezTo>
                    <a:cubicBezTo>
                      <a:pt x="0" y="5"/>
                      <a:pt x="1" y="6"/>
                      <a:pt x="1" y="7"/>
                    </a:cubicBezTo>
                    <a:cubicBezTo>
                      <a:pt x="1" y="9"/>
                      <a:pt x="2" y="11"/>
                      <a:pt x="3" y="13"/>
                    </a:cubicBezTo>
                    <a:cubicBezTo>
                      <a:pt x="3" y="16"/>
                      <a:pt x="3" y="17"/>
                      <a:pt x="4" y="20"/>
                    </a:cubicBezTo>
                    <a:cubicBezTo>
                      <a:pt x="4" y="23"/>
                      <a:pt x="8" y="27"/>
                      <a:pt x="7" y="29"/>
                    </a:cubicBezTo>
                    <a:cubicBezTo>
                      <a:pt x="9" y="29"/>
                      <a:pt x="11" y="28"/>
                      <a:pt x="14" y="28"/>
                    </a:cubicBezTo>
                    <a:cubicBezTo>
                      <a:pt x="14" y="28"/>
                      <a:pt x="14" y="28"/>
                      <a:pt x="14" y="28"/>
                    </a:cubicBezTo>
                    <a:cubicBezTo>
                      <a:pt x="14" y="28"/>
                      <a:pt x="14" y="28"/>
                      <a:pt x="15" y="28"/>
                    </a:cubicBezTo>
                    <a:cubicBezTo>
                      <a:pt x="15" y="28"/>
                      <a:pt x="15" y="28"/>
                      <a:pt x="16" y="28"/>
                    </a:cubicBezTo>
                    <a:cubicBezTo>
                      <a:pt x="16" y="28"/>
                      <a:pt x="16" y="28"/>
                      <a:pt x="16" y="28"/>
                    </a:cubicBezTo>
                    <a:cubicBezTo>
                      <a:pt x="17" y="28"/>
                      <a:pt x="18" y="26"/>
                      <a:pt x="20" y="26"/>
                    </a:cubicBezTo>
                    <a:cubicBezTo>
                      <a:pt x="20" y="26"/>
                      <a:pt x="20" y="26"/>
                      <a:pt x="21" y="26"/>
                    </a:cubicBezTo>
                    <a:cubicBezTo>
                      <a:pt x="21" y="26"/>
                      <a:pt x="21" y="26"/>
                      <a:pt x="21" y="26"/>
                    </a:cubicBezTo>
                    <a:cubicBezTo>
                      <a:pt x="21" y="26"/>
                      <a:pt x="21" y="26"/>
                      <a:pt x="21" y="26"/>
                    </a:cubicBezTo>
                    <a:cubicBezTo>
                      <a:pt x="20" y="22"/>
                      <a:pt x="19" y="18"/>
                      <a:pt x="17" y="14"/>
                    </a:cubicBezTo>
                    <a:cubicBezTo>
                      <a:pt x="16" y="12"/>
                      <a:pt x="15" y="10"/>
                      <a:pt x="16" y="8"/>
                    </a:cubicBezTo>
                    <a:cubicBezTo>
                      <a:pt x="16" y="8"/>
                      <a:pt x="15" y="8"/>
                      <a:pt x="15" y="8"/>
                    </a:cubicBezTo>
                    <a:cubicBezTo>
                      <a:pt x="12" y="8"/>
                      <a:pt x="14" y="14"/>
                      <a:pt x="12" y="15"/>
                    </a:cubicBezTo>
                    <a:cubicBezTo>
                      <a:pt x="11" y="15"/>
                      <a:pt x="11" y="15"/>
                      <a:pt x="11" y="15"/>
                    </a:cubicBezTo>
                    <a:cubicBezTo>
                      <a:pt x="9" y="15"/>
                      <a:pt x="9" y="14"/>
                      <a:pt x="8" y="13"/>
                    </a:cubicBezTo>
                    <a:cubicBezTo>
                      <a:pt x="7" y="11"/>
                      <a:pt x="8" y="9"/>
                      <a:pt x="7" y="7"/>
                    </a:cubicBezTo>
                    <a:cubicBezTo>
                      <a:pt x="7" y="6"/>
                      <a:pt x="6" y="5"/>
                      <a:pt x="5" y="4"/>
                    </a:cubicBezTo>
                    <a:cubicBezTo>
                      <a:pt x="5" y="4"/>
                      <a:pt x="5" y="4"/>
                      <a:pt x="5" y="3"/>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Freeform 1196"/>
              <p:cNvSpPr/>
              <p:nvPr/>
            </p:nvSpPr>
            <p:spPr bwMode="auto">
              <a:xfrm>
                <a:off x="5151" y="2139"/>
                <a:ext cx="47" cy="50"/>
              </a:xfrm>
              <a:custGeom>
                <a:gdLst>
                  <a:gd name="T0" fmla="*/ 3 w 20"/>
                  <a:gd name="T1" fmla="*/ 0 h 21"/>
                  <a:gd name="T2" fmla="*/ 1 w 20"/>
                  <a:gd name="T3" fmla="*/ 2 h 21"/>
                  <a:gd name="T4" fmla="*/ 3 w 20"/>
                  <a:gd name="T5" fmla="*/ 8 h 21"/>
                  <a:gd name="T6" fmla="*/ 4 w 20"/>
                  <a:gd name="T7" fmla="*/ 8 h 21"/>
                  <a:gd name="T8" fmla="*/ 5 w 20"/>
                  <a:gd name="T9" fmla="*/ 8 h 21"/>
                  <a:gd name="T10" fmla="*/ 5 w 20"/>
                  <a:gd name="T11" fmla="*/ 7 h 21"/>
                  <a:gd name="T12" fmla="*/ 7 w 20"/>
                  <a:gd name="T13" fmla="*/ 9 h 21"/>
                  <a:gd name="T14" fmla="*/ 7 w 20"/>
                  <a:gd name="T15" fmla="*/ 12 h 21"/>
                  <a:gd name="T16" fmla="*/ 11 w 20"/>
                  <a:gd name="T17" fmla="*/ 21 h 21"/>
                  <a:gd name="T18" fmla="*/ 17 w 20"/>
                  <a:gd name="T19" fmla="*/ 18 h 21"/>
                  <a:gd name="T20" fmla="*/ 20 w 20"/>
                  <a:gd name="T21" fmla="*/ 16 h 21"/>
                  <a:gd name="T22" fmla="*/ 19 w 20"/>
                  <a:gd name="T23" fmla="*/ 16 h 21"/>
                  <a:gd name="T24" fmla="*/ 15 w 20"/>
                  <a:gd name="T25" fmla="*/ 10 h 21"/>
                  <a:gd name="T26" fmla="*/ 10 w 20"/>
                  <a:gd name="T27" fmla="*/ 6 h 21"/>
                  <a:gd name="T28" fmla="*/ 10 w 20"/>
                  <a:gd name="T29" fmla="*/ 7 h 21"/>
                  <a:gd name="T30" fmla="*/ 5 w 20"/>
                  <a:gd name="T31" fmla="*/ 1 h 21"/>
                  <a:gd name="T32" fmla="*/ 3 w 20"/>
                  <a:gd name="T33" fmla="*/ 0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1">
                    <a:moveTo>
                      <a:pt x="3" y="0"/>
                    </a:moveTo>
                    <a:cubicBezTo>
                      <a:pt x="2" y="0"/>
                      <a:pt x="2" y="1"/>
                      <a:pt x="1" y="2"/>
                    </a:cubicBezTo>
                    <a:cubicBezTo>
                      <a:pt x="0" y="5"/>
                      <a:pt x="0" y="7"/>
                      <a:pt x="3" y="8"/>
                    </a:cubicBezTo>
                    <a:cubicBezTo>
                      <a:pt x="3" y="8"/>
                      <a:pt x="3" y="8"/>
                      <a:pt x="4" y="8"/>
                    </a:cubicBezTo>
                    <a:cubicBezTo>
                      <a:pt x="4" y="8"/>
                      <a:pt x="4" y="8"/>
                      <a:pt x="5" y="8"/>
                    </a:cubicBezTo>
                    <a:cubicBezTo>
                      <a:pt x="5" y="7"/>
                      <a:pt x="5" y="7"/>
                      <a:pt x="5" y="7"/>
                    </a:cubicBezTo>
                    <a:cubicBezTo>
                      <a:pt x="6" y="7"/>
                      <a:pt x="6" y="8"/>
                      <a:pt x="7" y="9"/>
                    </a:cubicBezTo>
                    <a:cubicBezTo>
                      <a:pt x="7" y="10"/>
                      <a:pt x="7" y="11"/>
                      <a:pt x="7" y="12"/>
                    </a:cubicBezTo>
                    <a:cubicBezTo>
                      <a:pt x="8" y="15"/>
                      <a:pt x="8" y="20"/>
                      <a:pt x="11" y="21"/>
                    </a:cubicBezTo>
                    <a:cubicBezTo>
                      <a:pt x="12" y="20"/>
                      <a:pt x="15" y="19"/>
                      <a:pt x="17" y="18"/>
                    </a:cubicBezTo>
                    <a:cubicBezTo>
                      <a:pt x="18" y="17"/>
                      <a:pt x="19" y="17"/>
                      <a:pt x="20" y="16"/>
                    </a:cubicBezTo>
                    <a:cubicBezTo>
                      <a:pt x="20" y="16"/>
                      <a:pt x="20" y="16"/>
                      <a:pt x="19" y="16"/>
                    </a:cubicBezTo>
                    <a:cubicBezTo>
                      <a:pt x="19" y="14"/>
                      <a:pt x="17" y="12"/>
                      <a:pt x="15" y="10"/>
                    </a:cubicBezTo>
                    <a:cubicBezTo>
                      <a:pt x="13" y="9"/>
                      <a:pt x="11" y="8"/>
                      <a:pt x="10" y="6"/>
                    </a:cubicBezTo>
                    <a:cubicBezTo>
                      <a:pt x="10" y="7"/>
                      <a:pt x="10" y="7"/>
                      <a:pt x="10" y="7"/>
                    </a:cubicBezTo>
                    <a:cubicBezTo>
                      <a:pt x="8" y="6"/>
                      <a:pt x="7" y="3"/>
                      <a:pt x="5"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Freeform 1197"/>
              <p:cNvSpPr/>
              <p:nvPr/>
            </p:nvSpPr>
            <p:spPr bwMode="auto">
              <a:xfrm>
                <a:off x="5174" y="1986"/>
                <a:ext cx="7" cy="16"/>
              </a:xfrm>
              <a:custGeom>
                <a:gdLst>
                  <a:gd name="T0" fmla="*/ 0 w 3"/>
                  <a:gd name="T1" fmla="*/ 0 h 7"/>
                  <a:gd name="T2" fmla="*/ 0 w 3"/>
                  <a:gd name="T3" fmla="*/ 3 h 7"/>
                  <a:gd name="T4" fmla="*/ 0 w 3"/>
                  <a:gd name="T5" fmla="*/ 7 h 7"/>
                  <a:gd name="T6" fmla="*/ 2 w 3"/>
                  <a:gd name="T7" fmla="*/ 3 h 7"/>
                  <a:gd name="T8" fmla="*/ 0 w 3"/>
                  <a:gd name="T9" fmla="*/ 0 h 7"/>
                </a:gdLst>
                <a:cxnLst>
                  <a:cxn ang="0">
                    <a:pos x="T0" y="T1"/>
                  </a:cxn>
                  <a:cxn ang="0">
                    <a:pos x="T2" y="T3"/>
                  </a:cxn>
                  <a:cxn ang="0">
                    <a:pos x="T4" y="T5"/>
                  </a:cxn>
                  <a:cxn ang="0">
                    <a:pos x="T6" y="T7"/>
                  </a:cxn>
                  <a:cxn ang="0">
                    <a:pos x="T8" y="T9"/>
                  </a:cxn>
                </a:cxnLst>
                <a:rect l="0" t="0" r="r" b="b"/>
                <a:pathLst>
                  <a:path w="3" h="7">
                    <a:moveTo>
                      <a:pt x="0" y="0"/>
                    </a:moveTo>
                    <a:cubicBezTo>
                      <a:pt x="0" y="1"/>
                      <a:pt x="0" y="2"/>
                      <a:pt x="0" y="3"/>
                    </a:cubicBezTo>
                    <a:cubicBezTo>
                      <a:pt x="0" y="4"/>
                      <a:pt x="0" y="6"/>
                      <a:pt x="0" y="7"/>
                    </a:cubicBezTo>
                    <a:cubicBezTo>
                      <a:pt x="2" y="6"/>
                      <a:pt x="3" y="4"/>
                      <a:pt x="2" y="3"/>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Freeform 1198"/>
              <p:cNvSpPr/>
              <p:nvPr/>
            </p:nvSpPr>
            <p:spPr bwMode="auto">
              <a:xfrm>
                <a:off x="5188" y="2097"/>
                <a:ext cx="22" cy="14"/>
              </a:xfrm>
              <a:custGeom>
                <a:gdLst>
                  <a:gd name="T0" fmla="*/ 8 w 9"/>
                  <a:gd name="T1" fmla="*/ 0 h 6"/>
                  <a:gd name="T2" fmla="*/ 2 w 9"/>
                  <a:gd name="T3" fmla="*/ 3 h 6"/>
                  <a:gd name="T4" fmla="*/ 0 w 9"/>
                  <a:gd name="T5" fmla="*/ 4 h 6"/>
                  <a:gd name="T6" fmla="*/ 3 w 9"/>
                  <a:gd name="T7" fmla="*/ 5 h 6"/>
                  <a:gd name="T8" fmla="*/ 4 w 9"/>
                  <a:gd name="T9" fmla="*/ 6 h 6"/>
                  <a:gd name="T10" fmla="*/ 5 w 9"/>
                  <a:gd name="T11" fmla="*/ 6 h 6"/>
                  <a:gd name="T12" fmla="*/ 9 w 9"/>
                  <a:gd name="T13" fmla="*/ 0 h 6"/>
                  <a:gd name="T14" fmla="*/ 9 w 9"/>
                  <a:gd name="T15" fmla="*/ 0 h 6"/>
                  <a:gd name="T16" fmla="*/ 8 w 9"/>
                  <a:gd name="T17"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6">
                    <a:moveTo>
                      <a:pt x="8" y="0"/>
                    </a:moveTo>
                    <a:cubicBezTo>
                      <a:pt x="5" y="0"/>
                      <a:pt x="4" y="1"/>
                      <a:pt x="2" y="3"/>
                    </a:cubicBezTo>
                    <a:cubicBezTo>
                      <a:pt x="1" y="3"/>
                      <a:pt x="1" y="4"/>
                      <a:pt x="0" y="4"/>
                    </a:cubicBezTo>
                    <a:cubicBezTo>
                      <a:pt x="1" y="5"/>
                      <a:pt x="2" y="5"/>
                      <a:pt x="3" y="5"/>
                    </a:cubicBezTo>
                    <a:cubicBezTo>
                      <a:pt x="4" y="6"/>
                      <a:pt x="4" y="6"/>
                      <a:pt x="4" y="6"/>
                    </a:cubicBezTo>
                    <a:cubicBezTo>
                      <a:pt x="4" y="6"/>
                      <a:pt x="4" y="6"/>
                      <a:pt x="5" y="6"/>
                    </a:cubicBezTo>
                    <a:cubicBezTo>
                      <a:pt x="7" y="4"/>
                      <a:pt x="7" y="2"/>
                      <a:pt x="9" y="0"/>
                    </a:cubicBezTo>
                    <a:cubicBezTo>
                      <a:pt x="9" y="0"/>
                      <a:pt x="9"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Freeform 1199"/>
              <p:cNvSpPr/>
              <p:nvPr/>
            </p:nvSpPr>
            <p:spPr bwMode="auto">
              <a:xfrm>
                <a:off x="5219" y="2071"/>
                <a:ext cx="5" cy="33"/>
              </a:xfrm>
              <a:custGeom>
                <a:gdLst>
                  <a:gd name="T0" fmla="*/ 0 w 2"/>
                  <a:gd name="T1" fmla="*/ 0 h 14"/>
                  <a:gd name="T2" fmla="*/ 0 w 2"/>
                  <a:gd name="T3" fmla="*/ 2 h 14"/>
                  <a:gd name="T4" fmla="*/ 0 w 2"/>
                  <a:gd name="T5" fmla="*/ 11 h 14"/>
                  <a:gd name="T6" fmla="*/ 0 w 2"/>
                  <a:gd name="T7" fmla="*/ 14 h 14"/>
                  <a:gd name="T8" fmla="*/ 2 w 2"/>
                  <a:gd name="T9" fmla="*/ 11 h 14"/>
                  <a:gd name="T10" fmla="*/ 1 w 2"/>
                  <a:gd name="T11" fmla="*/ 3 h 14"/>
                  <a:gd name="T12" fmla="*/ 0 w 2"/>
                  <a:gd name="T13" fmla="*/ 0 h 14"/>
                </a:gdLst>
                <a:cxnLst>
                  <a:cxn ang="0">
                    <a:pos x="T0" y="T1"/>
                  </a:cxn>
                  <a:cxn ang="0">
                    <a:pos x="T2" y="T3"/>
                  </a:cxn>
                  <a:cxn ang="0">
                    <a:pos x="T4" y="T5"/>
                  </a:cxn>
                  <a:cxn ang="0">
                    <a:pos x="T6" y="T7"/>
                  </a:cxn>
                  <a:cxn ang="0">
                    <a:pos x="T8" y="T9"/>
                  </a:cxn>
                  <a:cxn ang="0">
                    <a:pos x="T10" y="T11"/>
                  </a:cxn>
                  <a:cxn ang="0">
                    <a:pos x="T12" y="T13"/>
                  </a:cxn>
                </a:cxnLst>
                <a:rect l="0" t="0" r="r" b="b"/>
                <a:pathLst>
                  <a:path w="2" h="14">
                    <a:moveTo>
                      <a:pt x="0" y="0"/>
                    </a:moveTo>
                    <a:cubicBezTo>
                      <a:pt x="0" y="1"/>
                      <a:pt x="0" y="2"/>
                      <a:pt x="0" y="2"/>
                    </a:cubicBezTo>
                    <a:cubicBezTo>
                      <a:pt x="0" y="5"/>
                      <a:pt x="0" y="8"/>
                      <a:pt x="0" y="11"/>
                    </a:cubicBezTo>
                    <a:cubicBezTo>
                      <a:pt x="0" y="12"/>
                      <a:pt x="0" y="13"/>
                      <a:pt x="0" y="14"/>
                    </a:cubicBezTo>
                    <a:cubicBezTo>
                      <a:pt x="1" y="13"/>
                      <a:pt x="1" y="12"/>
                      <a:pt x="2" y="11"/>
                    </a:cubicBezTo>
                    <a:cubicBezTo>
                      <a:pt x="2" y="8"/>
                      <a:pt x="1" y="6"/>
                      <a:pt x="1"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9" name="Freeform 1200"/>
              <p:cNvSpPr/>
              <p:nvPr/>
            </p:nvSpPr>
            <p:spPr bwMode="auto">
              <a:xfrm>
                <a:off x="5222" y="2113"/>
                <a:ext cx="7" cy="34"/>
              </a:xfrm>
              <a:custGeom>
                <a:gdLst>
                  <a:gd name="T0" fmla="*/ 0 w 3"/>
                  <a:gd name="T1" fmla="*/ 0 h 14"/>
                  <a:gd name="T2" fmla="*/ 1 w 3"/>
                  <a:gd name="T3" fmla="*/ 3 h 14"/>
                  <a:gd name="T4" fmla="*/ 1 w 3"/>
                  <a:gd name="T5" fmla="*/ 5 h 14"/>
                  <a:gd name="T6" fmla="*/ 1 w 3"/>
                  <a:gd name="T7" fmla="*/ 8 h 14"/>
                  <a:gd name="T8" fmla="*/ 1 w 3"/>
                  <a:gd name="T9" fmla="*/ 14 h 14"/>
                  <a:gd name="T10" fmla="*/ 2 w 3"/>
                  <a:gd name="T11" fmla="*/ 8 h 14"/>
                  <a:gd name="T12" fmla="*/ 2 w 3"/>
                  <a:gd name="T13" fmla="*/ 4 h 14"/>
                  <a:gd name="T14" fmla="*/ 2 w 3"/>
                  <a:gd name="T15" fmla="*/ 3 h 14"/>
                  <a:gd name="T16" fmla="*/ 2 w 3"/>
                  <a:gd name="T17" fmla="*/ 3 h 14"/>
                  <a:gd name="T18" fmla="*/ 0 w 3"/>
                  <a:gd name="T19"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4">
                    <a:moveTo>
                      <a:pt x="0" y="0"/>
                    </a:moveTo>
                    <a:cubicBezTo>
                      <a:pt x="0" y="1"/>
                      <a:pt x="1" y="2"/>
                      <a:pt x="1" y="3"/>
                    </a:cubicBezTo>
                    <a:cubicBezTo>
                      <a:pt x="1" y="4"/>
                      <a:pt x="1" y="5"/>
                      <a:pt x="1" y="5"/>
                    </a:cubicBezTo>
                    <a:cubicBezTo>
                      <a:pt x="1" y="6"/>
                      <a:pt x="1" y="7"/>
                      <a:pt x="1" y="8"/>
                    </a:cubicBezTo>
                    <a:cubicBezTo>
                      <a:pt x="1" y="10"/>
                      <a:pt x="1" y="12"/>
                      <a:pt x="1" y="14"/>
                    </a:cubicBezTo>
                    <a:cubicBezTo>
                      <a:pt x="2" y="13"/>
                      <a:pt x="3" y="11"/>
                      <a:pt x="2" y="8"/>
                    </a:cubicBezTo>
                    <a:cubicBezTo>
                      <a:pt x="2" y="7"/>
                      <a:pt x="2" y="5"/>
                      <a:pt x="2" y="4"/>
                    </a:cubicBezTo>
                    <a:cubicBezTo>
                      <a:pt x="2" y="3"/>
                      <a:pt x="2" y="3"/>
                      <a:pt x="2" y="3"/>
                    </a:cubicBezTo>
                    <a:cubicBezTo>
                      <a:pt x="2" y="3"/>
                      <a:pt x="2" y="3"/>
                      <a:pt x="2" y="3"/>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Freeform 1201"/>
              <p:cNvSpPr/>
              <p:nvPr/>
            </p:nvSpPr>
            <p:spPr bwMode="auto">
              <a:xfrm>
                <a:off x="5205" y="2154"/>
                <a:ext cx="28" cy="19"/>
              </a:xfrm>
              <a:custGeom>
                <a:gdLst>
                  <a:gd name="T0" fmla="*/ 7 w 12"/>
                  <a:gd name="T1" fmla="*/ 0 h 8"/>
                  <a:gd name="T2" fmla="*/ 5 w 12"/>
                  <a:gd name="T3" fmla="*/ 2 h 8"/>
                  <a:gd name="T4" fmla="*/ 2 w 12"/>
                  <a:gd name="T5" fmla="*/ 3 h 8"/>
                  <a:gd name="T6" fmla="*/ 2 w 12"/>
                  <a:gd name="T7" fmla="*/ 3 h 8"/>
                  <a:gd name="T8" fmla="*/ 2 w 12"/>
                  <a:gd name="T9" fmla="*/ 3 h 8"/>
                  <a:gd name="T10" fmla="*/ 1 w 12"/>
                  <a:gd name="T11" fmla="*/ 5 h 8"/>
                  <a:gd name="T12" fmla="*/ 2 w 12"/>
                  <a:gd name="T13" fmla="*/ 6 h 8"/>
                  <a:gd name="T14" fmla="*/ 2 w 12"/>
                  <a:gd name="T15" fmla="*/ 7 h 8"/>
                  <a:gd name="T16" fmla="*/ 2 w 12"/>
                  <a:gd name="T17" fmla="*/ 6 h 8"/>
                  <a:gd name="T18" fmla="*/ 6 w 12"/>
                  <a:gd name="T19" fmla="*/ 8 h 8"/>
                  <a:gd name="T20" fmla="*/ 10 w 12"/>
                  <a:gd name="T21" fmla="*/ 4 h 8"/>
                  <a:gd name="T22" fmla="*/ 9 w 12"/>
                  <a:gd name="T23" fmla="*/ 3 h 8"/>
                  <a:gd name="T24" fmla="*/ 9 w 12"/>
                  <a:gd name="T25" fmla="*/ 3 h 8"/>
                  <a:gd name="T26" fmla="*/ 7 w 12"/>
                  <a:gd name="T2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8">
                    <a:moveTo>
                      <a:pt x="7" y="0"/>
                    </a:moveTo>
                    <a:cubicBezTo>
                      <a:pt x="6" y="0"/>
                      <a:pt x="6" y="1"/>
                      <a:pt x="5" y="2"/>
                    </a:cubicBezTo>
                    <a:cubicBezTo>
                      <a:pt x="4" y="2"/>
                      <a:pt x="3" y="3"/>
                      <a:pt x="2" y="3"/>
                    </a:cubicBezTo>
                    <a:cubicBezTo>
                      <a:pt x="2" y="3"/>
                      <a:pt x="2" y="3"/>
                      <a:pt x="2" y="3"/>
                    </a:cubicBezTo>
                    <a:cubicBezTo>
                      <a:pt x="2" y="3"/>
                      <a:pt x="2" y="3"/>
                      <a:pt x="2" y="3"/>
                    </a:cubicBezTo>
                    <a:cubicBezTo>
                      <a:pt x="0" y="3"/>
                      <a:pt x="0" y="4"/>
                      <a:pt x="1" y="5"/>
                    </a:cubicBezTo>
                    <a:cubicBezTo>
                      <a:pt x="2" y="6"/>
                      <a:pt x="2" y="6"/>
                      <a:pt x="2" y="6"/>
                    </a:cubicBezTo>
                    <a:cubicBezTo>
                      <a:pt x="2" y="7"/>
                      <a:pt x="2" y="7"/>
                      <a:pt x="2" y="7"/>
                    </a:cubicBezTo>
                    <a:cubicBezTo>
                      <a:pt x="2" y="6"/>
                      <a:pt x="2" y="6"/>
                      <a:pt x="2" y="6"/>
                    </a:cubicBezTo>
                    <a:cubicBezTo>
                      <a:pt x="4" y="7"/>
                      <a:pt x="5" y="7"/>
                      <a:pt x="6" y="8"/>
                    </a:cubicBezTo>
                    <a:cubicBezTo>
                      <a:pt x="12" y="6"/>
                      <a:pt x="12" y="6"/>
                      <a:pt x="10" y="4"/>
                    </a:cubicBezTo>
                    <a:cubicBezTo>
                      <a:pt x="9" y="3"/>
                      <a:pt x="9" y="3"/>
                      <a:pt x="9" y="3"/>
                    </a:cubicBezTo>
                    <a:cubicBezTo>
                      <a:pt x="9" y="3"/>
                      <a:pt x="9" y="3"/>
                      <a:pt x="9" y="3"/>
                    </a:cubicBezTo>
                    <a:cubicBezTo>
                      <a:pt x="8" y="1"/>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1" name="Freeform 1202"/>
              <p:cNvSpPr/>
              <p:nvPr/>
            </p:nvSpPr>
            <p:spPr bwMode="auto">
              <a:xfrm>
                <a:off x="5278" y="2331"/>
                <a:ext cx="24" cy="24"/>
              </a:xfrm>
              <a:custGeom>
                <a:gdLst>
                  <a:gd name="T0" fmla="*/ 2 w 10"/>
                  <a:gd name="T1" fmla="*/ 0 h 10"/>
                  <a:gd name="T2" fmla="*/ 0 w 10"/>
                  <a:gd name="T3" fmla="*/ 7 h 10"/>
                  <a:gd name="T4" fmla="*/ 10 w 10"/>
                  <a:gd name="T5" fmla="*/ 10 h 10"/>
                  <a:gd name="T6" fmla="*/ 8 w 10"/>
                  <a:gd name="T7" fmla="*/ 6 h 10"/>
                  <a:gd name="T8" fmla="*/ 5 w 10"/>
                  <a:gd name="T9" fmla="*/ 1 h 10"/>
                  <a:gd name="T10" fmla="*/ 2 w 10"/>
                  <a:gd name="T11" fmla="*/ 0 h 10"/>
                </a:gdLst>
                <a:cxnLst>
                  <a:cxn ang="0">
                    <a:pos x="T0" y="T1"/>
                  </a:cxn>
                  <a:cxn ang="0">
                    <a:pos x="T2" y="T3"/>
                  </a:cxn>
                  <a:cxn ang="0">
                    <a:pos x="T4" y="T5"/>
                  </a:cxn>
                  <a:cxn ang="0">
                    <a:pos x="T6" y="T7"/>
                  </a:cxn>
                  <a:cxn ang="0">
                    <a:pos x="T8" y="T9"/>
                  </a:cxn>
                  <a:cxn ang="0">
                    <a:pos x="T10" y="T11"/>
                  </a:cxn>
                </a:cxnLst>
                <a:rect l="0" t="0" r="r" b="b"/>
                <a:pathLst>
                  <a:path w="10" h="10">
                    <a:moveTo>
                      <a:pt x="2" y="0"/>
                    </a:moveTo>
                    <a:cubicBezTo>
                      <a:pt x="0" y="0"/>
                      <a:pt x="0" y="4"/>
                      <a:pt x="0" y="7"/>
                    </a:cubicBezTo>
                    <a:cubicBezTo>
                      <a:pt x="3" y="8"/>
                      <a:pt x="7" y="9"/>
                      <a:pt x="10" y="10"/>
                    </a:cubicBezTo>
                    <a:cubicBezTo>
                      <a:pt x="9" y="9"/>
                      <a:pt x="8" y="7"/>
                      <a:pt x="8" y="6"/>
                    </a:cubicBezTo>
                    <a:cubicBezTo>
                      <a:pt x="8" y="5"/>
                      <a:pt x="6" y="2"/>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Freeform 1203"/>
              <p:cNvSpPr/>
              <p:nvPr/>
            </p:nvSpPr>
            <p:spPr bwMode="auto">
              <a:xfrm>
                <a:off x="5328" y="2442"/>
                <a:ext cx="7" cy="7"/>
              </a:xfrm>
              <a:custGeom>
                <a:gdLst>
                  <a:gd name="T0" fmla="*/ 1 w 3"/>
                  <a:gd name="T1" fmla="*/ 0 h 3"/>
                  <a:gd name="T2" fmla="*/ 3 w 3"/>
                  <a:gd name="T3" fmla="*/ 3 h 3"/>
                  <a:gd name="T4" fmla="*/ 1 w 3"/>
                  <a:gd name="T5" fmla="*/ 0 h 3"/>
                </a:gdLst>
                <a:cxnLst>
                  <a:cxn ang="0">
                    <a:pos x="T0" y="T1"/>
                  </a:cxn>
                  <a:cxn ang="0">
                    <a:pos x="T2" y="T3"/>
                  </a:cxn>
                  <a:cxn ang="0">
                    <a:pos x="T4" y="T5"/>
                  </a:cxn>
                </a:cxnLst>
                <a:rect l="0" t="0" r="r" b="b"/>
                <a:pathLst>
                  <a:path w="3" h="3">
                    <a:moveTo>
                      <a:pt x="1" y="0"/>
                    </a:moveTo>
                    <a:cubicBezTo>
                      <a:pt x="0" y="1"/>
                      <a:pt x="2" y="2"/>
                      <a:pt x="3" y="3"/>
                    </a:cubicBezTo>
                    <a:cubicBezTo>
                      <a:pt x="3"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3" name="Freeform 1204"/>
              <p:cNvSpPr/>
              <p:nvPr/>
            </p:nvSpPr>
            <p:spPr bwMode="auto">
              <a:xfrm>
                <a:off x="5292" y="2383"/>
                <a:ext cx="24" cy="24"/>
              </a:xfrm>
              <a:custGeom>
                <a:gdLst>
                  <a:gd name="T0" fmla="*/ 1 w 10"/>
                  <a:gd name="T1" fmla="*/ 0 h 10"/>
                  <a:gd name="T2" fmla="*/ 1 w 10"/>
                  <a:gd name="T3" fmla="*/ 5 h 10"/>
                  <a:gd name="T4" fmla="*/ 7 w 10"/>
                  <a:gd name="T5" fmla="*/ 10 h 10"/>
                  <a:gd name="T6" fmla="*/ 1 w 10"/>
                  <a:gd name="T7" fmla="*/ 0 h 10"/>
                </a:gdLst>
                <a:cxnLst>
                  <a:cxn ang="0">
                    <a:pos x="T0" y="T1"/>
                  </a:cxn>
                  <a:cxn ang="0">
                    <a:pos x="T2" y="T3"/>
                  </a:cxn>
                  <a:cxn ang="0">
                    <a:pos x="T4" y="T5"/>
                  </a:cxn>
                  <a:cxn ang="0">
                    <a:pos x="T6" y="T7"/>
                  </a:cxn>
                </a:cxnLst>
                <a:rect l="0" t="0" r="r" b="b"/>
                <a:pathLst>
                  <a:path w="10" h="10">
                    <a:moveTo>
                      <a:pt x="1" y="0"/>
                    </a:moveTo>
                    <a:cubicBezTo>
                      <a:pt x="1" y="2"/>
                      <a:pt x="0" y="3"/>
                      <a:pt x="1" y="5"/>
                    </a:cubicBezTo>
                    <a:cubicBezTo>
                      <a:pt x="2" y="7"/>
                      <a:pt x="5" y="9"/>
                      <a:pt x="7" y="10"/>
                    </a:cubicBezTo>
                    <a:cubicBezTo>
                      <a:pt x="10"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Freeform 1205"/>
              <p:cNvSpPr/>
              <p:nvPr/>
            </p:nvSpPr>
            <p:spPr bwMode="auto">
              <a:xfrm>
                <a:off x="5219" y="2255"/>
                <a:ext cx="31" cy="22"/>
              </a:xfrm>
              <a:custGeom>
                <a:gdLst>
                  <a:gd name="T0" fmla="*/ 7 w 13"/>
                  <a:gd name="T1" fmla="*/ 0 h 9"/>
                  <a:gd name="T2" fmla="*/ 1 w 13"/>
                  <a:gd name="T3" fmla="*/ 6 h 9"/>
                  <a:gd name="T4" fmla="*/ 3 w 13"/>
                  <a:gd name="T5" fmla="*/ 5 h 9"/>
                  <a:gd name="T6" fmla="*/ 4 w 13"/>
                  <a:gd name="T7" fmla="*/ 7 h 9"/>
                  <a:gd name="T8" fmla="*/ 5 w 13"/>
                  <a:gd name="T9" fmla="*/ 7 h 9"/>
                  <a:gd name="T10" fmla="*/ 7 w 13"/>
                  <a:gd name="T11" fmla="*/ 9 h 9"/>
                  <a:gd name="T12" fmla="*/ 13 w 13"/>
                  <a:gd name="T13" fmla="*/ 5 h 9"/>
                  <a:gd name="T14" fmla="*/ 9 w 13"/>
                  <a:gd name="T15" fmla="*/ 0 h 9"/>
                  <a:gd name="T16" fmla="*/ 7 w 13"/>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9">
                    <a:moveTo>
                      <a:pt x="7" y="0"/>
                    </a:moveTo>
                    <a:cubicBezTo>
                      <a:pt x="4" y="0"/>
                      <a:pt x="0" y="4"/>
                      <a:pt x="1" y="6"/>
                    </a:cubicBezTo>
                    <a:cubicBezTo>
                      <a:pt x="2" y="5"/>
                      <a:pt x="3" y="5"/>
                      <a:pt x="3" y="5"/>
                    </a:cubicBezTo>
                    <a:cubicBezTo>
                      <a:pt x="4" y="5"/>
                      <a:pt x="5" y="6"/>
                      <a:pt x="4" y="7"/>
                    </a:cubicBezTo>
                    <a:cubicBezTo>
                      <a:pt x="4" y="7"/>
                      <a:pt x="4" y="7"/>
                      <a:pt x="5" y="7"/>
                    </a:cubicBezTo>
                    <a:cubicBezTo>
                      <a:pt x="6" y="7"/>
                      <a:pt x="7" y="8"/>
                      <a:pt x="7" y="9"/>
                    </a:cubicBezTo>
                    <a:cubicBezTo>
                      <a:pt x="9" y="7"/>
                      <a:pt x="11" y="6"/>
                      <a:pt x="13" y="5"/>
                    </a:cubicBezTo>
                    <a:cubicBezTo>
                      <a:pt x="11" y="4"/>
                      <a:pt x="11" y="1"/>
                      <a:pt x="9"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5" name="Freeform 1206"/>
              <p:cNvSpPr/>
              <p:nvPr/>
            </p:nvSpPr>
            <p:spPr bwMode="auto">
              <a:xfrm flipH="1">
                <a:off x="533" y="610"/>
                <a:ext cx="0" cy="5"/>
              </a:xfrm>
              <a:custGeom>
                <a:gdLst>
                  <a:gd name="T0" fmla="*/ 0 h 2"/>
                  <a:gd name="T1" fmla="*/ 2 h 2"/>
                  <a:gd name="T2" fmla="*/ 2 h 2"/>
                  <a:gd name="T3" fmla="*/ 0 h 2"/>
                </a:gdLst>
                <a:cxnLst>
                  <a:cxn ang="0">
                    <a:pos x="0" y="T0"/>
                  </a:cxn>
                  <a:cxn ang="0">
                    <a:pos x="0" y="T1"/>
                  </a:cxn>
                  <a:cxn ang="0">
                    <a:pos x="0" y="T2"/>
                  </a:cxn>
                  <a:cxn ang="0">
                    <a:pos x="0" y="T3"/>
                  </a:cxn>
                </a:cxnLst>
                <a:rect l="0" t="0" r="r" b="b"/>
                <a:pathLst>
                  <a:path h="2">
                    <a:moveTo>
                      <a:pt x="0" y="0"/>
                    </a:moveTo>
                    <a:cubicBezTo>
                      <a:pt x="0" y="0"/>
                      <a:pt x="0" y="1"/>
                      <a:pt x="0" y="2"/>
                    </a:cubicBezTo>
                    <a:cubicBezTo>
                      <a:pt x="0" y="2"/>
                      <a:pt x="0" y="2"/>
                      <a:pt x="0" y="2"/>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Freeform 1207"/>
              <p:cNvSpPr/>
              <p:nvPr/>
            </p:nvSpPr>
            <p:spPr bwMode="auto">
              <a:xfrm>
                <a:off x="1826" y="731"/>
                <a:ext cx="4" cy="2"/>
              </a:xfrm>
              <a:custGeom>
                <a:gdLst>
                  <a:gd name="T0" fmla="*/ 0 w 2"/>
                  <a:gd name="T1" fmla="*/ 0 h 1"/>
                  <a:gd name="T2" fmla="*/ 2 w 2"/>
                  <a:gd name="T3" fmla="*/ 1 h 1"/>
                  <a:gd name="T4" fmla="*/ 2 w 2"/>
                  <a:gd name="T5" fmla="*/ 1 h 1"/>
                  <a:gd name="T6" fmla="*/ 0 w 2"/>
                  <a:gd name="T7" fmla="*/ 0 h 1"/>
                </a:gdLst>
                <a:cxnLst>
                  <a:cxn ang="0">
                    <a:pos x="T0" y="T1"/>
                  </a:cxn>
                  <a:cxn ang="0">
                    <a:pos x="T2" y="T3"/>
                  </a:cxn>
                  <a:cxn ang="0">
                    <a:pos x="T4" y="T5"/>
                  </a:cxn>
                  <a:cxn ang="0">
                    <a:pos x="T6" y="T7"/>
                  </a:cxn>
                </a:cxnLst>
                <a:rect l="0" t="0" r="r" b="b"/>
                <a:pathLst>
                  <a:path w="2" h="1">
                    <a:moveTo>
                      <a:pt x="0" y="0"/>
                    </a:moveTo>
                    <a:cubicBezTo>
                      <a:pt x="1" y="0"/>
                      <a:pt x="1" y="1"/>
                      <a:pt x="2" y="1"/>
                    </a:cubicBezTo>
                    <a:cubicBezTo>
                      <a:pt x="2" y="1"/>
                      <a:pt x="2"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7" name="Freeform 1208"/>
              <p:cNvSpPr/>
              <p:nvPr/>
            </p:nvSpPr>
            <p:spPr bwMode="auto">
              <a:xfrm>
                <a:off x="1585" y="669"/>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2"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8" name="Freeform 1209"/>
              <p:cNvSpPr/>
              <p:nvPr/>
            </p:nvSpPr>
            <p:spPr bwMode="auto">
              <a:xfrm>
                <a:off x="521" y="596"/>
                <a:ext cx="19" cy="12"/>
              </a:xfrm>
              <a:custGeom>
                <a:gdLst>
                  <a:gd name="T0" fmla="*/ 6 w 8"/>
                  <a:gd name="T1" fmla="*/ 0 h 5"/>
                  <a:gd name="T2" fmla="*/ 2 w 8"/>
                  <a:gd name="T3" fmla="*/ 1 h 5"/>
                  <a:gd name="T4" fmla="*/ 0 w 8"/>
                  <a:gd name="T5" fmla="*/ 1 h 5"/>
                  <a:gd name="T6" fmla="*/ 4 w 8"/>
                  <a:gd name="T7" fmla="*/ 5 h 5"/>
                  <a:gd name="T8" fmla="*/ 6 w 8"/>
                  <a:gd name="T9" fmla="*/ 0 h 5"/>
                </a:gdLst>
                <a:cxnLst>
                  <a:cxn ang="0">
                    <a:pos x="T0" y="T1"/>
                  </a:cxn>
                  <a:cxn ang="0">
                    <a:pos x="T2" y="T3"/>
                  </a:cxn>
                  <a:cxn ang="0">
                    <a:pos x="T4" y="T5"/>
                  </a:cxn>
                  <a:cxn ang="0">
                    <a:pos x="T6" y="T7"/>
                  </a:cxn>
                  <a:cxn ang="0">
                    <a:pos x="T8" y="T9"/>
                  </a:cxn>
                </a:cxnLst>
                <a:rect l="0" t="0" r="r" b="b"/>
                <a:pathLst>
                  <a:path w="8" h="5">
                    <a:moveTo>
                      <a:pt x="6" y="0"/>
                    </a:moveTo>
                    <a:cubicBezTo>
                      <a:pt x="4" y="1"/>
                      <a:pt x="3" y="1"/>
                      <a:pt x="2" y="1"/>
                    </a:cubicBezTo>
                    <a:cubicBezTo>
                      <a:pt x="1" y="1"/>
                      <a:pt x="1" y="1"/>
                      <a:pt x="0" y="1"/>
                    </a:cubicBezTo>
                    <a:cubicBezTo>
                      <a:pt x="0" y="4"/>
                      <a:pt x="2" y="5"/>
                      <a:pt x="4" y="5"/>
                    </a:cubicBezTo>
                    <a:cubicBezTo>
                      <a:pt x="6" y="5"/>
                      <a:pt x="8"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9" name="Freeform 1210"/>
              <p:cNvSpPr/>
              <p:nvPr/>
            </p:nvSpPr>
            <p:spPr bwMode="auto">
              <a:xfrm>
                <a:off x="1736" y="579"/>
                <a:ext cx="12" cy="5"/>
              </a:xfrm>
              <a:custGeom>
                <a:gdLst>
                  <a:gd name="T0" fmla="*/ 4 w 5"/>
                  <a:gd name="T1" fmla="*/ 0 h 2"/>
                  <a:gd name="T2" fmla="*/ 0 w 5"/>
                  <a:gd name="T3" fmla="*/ 1 h 2"/>
                  <a:gd name="T4" fmla="*/ 2 w 5"/>
                  <a:gd name="T5" fmla="*/ 2 h 2"/>
                  <a:gd name="T6" fmla="*/ 5 w 5"/>
                  <a:gd name="T7" fmla="*/ 0 h 2"/>
                  <a:gd name="T8" fmla="*/ 4 w 5"/>
                  <a:gd name="T9" fmla="*/ 0 h 2"/>
                </a:gdLst>
                <a:cxnLst>
                  <a:cxn ang="0">
                    <a:pos x="T0" y="T1"/>
                  </a:cxn>
                  <a:cxn ang="0">
                    <a:pos x="T2" y="T3"/>
                  </a:cxn>
                  <a:cxn ang="0">
                    <a:pos x="T4" y="T5"/>
                  </a:cxn>
                  <a:cxn ang="0">
                    <a:pos x="T6" y="T7"/>
                  </a:cxn>
                  <a:cxn ang="0">
                    <a:pos x="T8" y="T9"/>
                  </a:cxn>
                </a:cxnLst>
                <a:rect l="0" t="0" r="r" b="b"/>
                <a:pathLst>
                  <a:path w="5" h="2">
                    <a:moveTo>
                      <a:pt x="4" y="0"/>
                    </a:moveTo>
                    <a:cubicBezTo>
                      <a:pt x="2" y="0"/>
                      <a:pt x="1" y="0"/>
                      <a:pt x="0" y="1"/>
                    </a:cubicBezTo>
                    <a:cubicBezTo>
                      <a:pt x="0" y="1"/>
                      <a:pt x="1" y="2"/>
                      <a:pt x="2" y="2"/>
                    </a:cubicBezTo>
                    <a:cubicBezTo>
                      <a:pt x="3" y="2"/>
                      <a:pt x="4" y="1"/>
                      <a:pt x="5"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0" name="Freeform 1211"/>
              <p:cNvSpPr/>
              <p:nvPr/>
            </p:nvSpPr>
            <p:spPr bwMode="auto">
              <a:xfrm>
                <a:off x="1715" y="535"/>
                <a:ext cx="16" cy="16"/>
              </a:xfrm>
              <a:custGeom>
                <a:gdLst>
                  <a:gd name="T0" fmla="*/ 6 w 7"/>
                  <a:gd name="T1" fmla="*/ 0 h 7"/>
                  <a:gd name="T2" fmla="*/ 1 w 7"/>
                  <a:gd name="T3" fmla="*/ 1 h 7"/>
                  <a:gd name="T4" fmla="*/ 0 w 7"/>
                  <a:gd name="T5" fmla="*/ 7 h 7"/>
                  <a:gd name="T6" fmla="*/ 6 w 7"/>
                  <a:gd name="T7" fmla="*/ 4 h 7"/>
                  <a:gd name="T8" fmla="*/ 6 w 7"/>
                  <a:gd name="T9" fmla="*/ 0 h 7"/>
                </a:gdLst>
                <a:cxnLst>
                  <a:cxn ang="0">
                    <a:pos x="T0" y="T1"/>
                  </a:cxn>
                  <a:cxn ang="0">
                    <a:pos x="T2" y="T3"/>
                  </a:cxn>
                  <a:cxn ang="0">
                    <a:pos x="T4" y="T5"/>
                  </a:cxn>
                  <a:cxn ang="0">
                    <a:pos x="T6" y="T7"/>
                  </a:cxn>
                  <a:cxn ang="0">
                    <a:pos x="T8" y="T9"/>
                  </a:cxn>
                </a:cxnLst>
                <a:rect l="0" t="0" r="r" b="b"/>
                <a:pathLst>
                  <a:path w="7" h="7">
                    <a:moveTo>
                      <a:pt x="6" y="0"/>
                    </a:moveTo>
                    <a:cubicBezTo>
                      <a:pt x="5" y="0"/>
                      <a:pt x="3" y="1"/>
                      <a:pt x="1" y="1"/>
                    </a:cubicBezTo>
                    <a:cubicBezTo>
                      <a:pt x="0" y="3"/>
                      <a:pt x="0" y="5"/>
                      <a:pt x="0" y="7"/>
                    </a:cubicBezTo>
                    <a:cubicBezTo>
                      <a:pt x="1" y="7"/>
                      <a:pt x="6" y="5"/>
                      <a:pt x="6" y="4"/>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1" name="Freeform 1212"/>
              <p:cNvSpPr/>
              <p:nvPr/>
            </p:nvSpPr>
            <p:spPr bwMode="auto">
              <a:xfrm>
                <a:off x="826" y="842"/>
                <a:ext cx="7" cy="12"/>
              </a:xfrm>
              <a:custGeom>
                <a:gdLst>
                  <a:gd name="T0" fmla="*/ 3 w 3"/>
                  <a:gd name="T1" fmla="*/ 0 h 5"/>
                  <a:gd name="T2" fmla="*/ 2 w 3"/>
                  <a:gd name="T3" fmla="*/ 5 h 5"/>
                  <a:gd name="T4" fmla="*/ 3 w 3"/>
                  <a:gd name="T5" fmla="*/ 0 h 5"/>
                </a:gdLst>
                <a:cxnLst>
                  <a:cxn ang="0">
                    <a:pos x="T0" y="T1"/>
                  </a:cxn>
                  <a:cxn ang="0">
                    <a:pos x="T2" y="T3"/>
                  </a:cxn>
                  <a:cxn ang="0">
                    <a:pos x="T4" y="T5"/>
                  </a:cxn>
                </a:cxnLst>
                <a:rect l="0" t="0" r="r" b="b"/>
                <a:pathLst>
                  <a:path w="3" h="5">
                    <a:moveTo>
                      <a:pt x="3" y="0"/>
                    </a:moveTo>
                    <a:cubicBezTo>
                      <a:pt x="1" y="2"/>
                      <a:pt x="0" y="3"/>
                      <a:pt x="2"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2" name="Freeform 1213"/>
              <p:cNvSpPr/>
              <p:nvPr/>
            </p:nvSpPr>
            <p:spPr bwMode="auto">
              <a:xfrm>
                <a:off x="1320" y="849"/>
                <a:ext cx="9" cy="26"/>
              </a:xfrm>
              <a:custGeom>
                <a:gdLst>
                  <a:gd name="T0" fmla="*/ 1 w 4"/>
                  <a:gd name="T1" fmla="*/ 0 h 11"/>
                  <a:gd name="T2" fmla="*/ 0 w 4"/>
                  <a:gd name="T3" fmla="*/ 8 h 11"/>
                  <a:gd name="T4" fmla="*/ 2 w 4"/>
                  <a:gd name="T5" fmla="*/ 11 h 11"/>
                  <a:gd name="T6" fmla="*/ 1 w 4"/>
                  <a:gd name="T7" fmla="*/ 0 h 11"/>
                </a:gdLst>
                <a:cxnLst>
                  <a:cxn ang="0">
                    <a:pos x="T0" y="T1"/>
                  </a:cxn>
                  <a:cxn ang="0">
                    <a:pos x="T2" y="T3"/>
                  </a:cxn>
                  <a:cxn ang="0">
                    <a:pos x="T4" y="T5"/>
                  </a:cxn>
                  <a:cxn ang="0">
                    <a:pos x="T6" y="T7"/>
                  </a:cxn>
                </a:cxnLst>
                <a:rect l="0" t="0" r="r" b="b"/>
                <a:pathLst>
                  <a:path w="4" h="11">
                    <a:moveTo>
                      <a:pt x="1" y="0"/>
                    </a:moveTo>
                    <a:cubicBezTo>
                      <a:pt x="0" y="3"/>
                      <a:pt x="1" y="5"/>
                      <a:pt x="0" y="8"/>
                    </a:cubicBezTo>
                    <a:cubicBezTo>
                      <a:pt x="1" y="10"/>
                      <a:pt x="2" y="11"/>
                      <a:pt x="2" y="11"/>
                    </a:cubicBezTo>
                    <a:cubicBezTo>
                      <a:pt x="4" y="11"/>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3" name="Freeform 1214"/>
              <p:cNvSpPr/>
              <p:nvPr/>
            </p:nvSpPr>
            <p:spPr bwMode="auto">
              <a:xfrm>
                <a:off x="1807" y="719"/>
                <a:ext cx="14" cy="5"/>
              </a:xfrm>
              <a:custGeom>
                <a:gdLst>
                  <a:gd name="T0" fmla="*/ 0 w 6"/>
                  <a:gd name="T1" fmla="*/ 0 h 2"/>
                  <a:gd name="T2" fmla="*/ 4 w 6"/>
                  <a:gd name="T3" fmla="*/ 2 h 2"/>
                  <a:gd name="T4" fmla="*/ 6 w 6"/>
                  <a:gd name="T5" fmla="*/ 1 h 2"/>
                  <a:gd name="T6" fmla="*/ 0 w 6"/>
                  <a:gd name="T7" fmla="*/ 0 h 2"/>
                </a:gdLst>
                <a:cxnLst>
                  <a:cxn ang="0">
                    <a:pos x="T0" y="T1"/>
                  </a:cxn>
                  <a:cxn ang="0">
                    <a:pos x="T2" y="T3"/>
                  </a:cxn>
                  <a:cxn ang="0">
                    <a:pos x="T4" y="T5"/>
                  </a:cxn>
                  <a:cxn ang="0">
                    <a:pos x="T6" y="T7"/>
                  </a:cxn>
                </a:cxnLst>
                <a:rect l="0" t="0" r="r" b="b"/>
                <a:pathLst>
                  <a:path w="6" h="2">
                    <a:moveTo>
                      <a:pt x="0" y="0"/>
                    </a:moveTo>
                    <a:cubicBezTo>
                      <a:pt x="1" y="1"/>
                      <a:pt x="3" y="2"/>
                      <a:pt x="4" y="2"/>
                    </a:cubicBezTo>
                    <a:cubicBezTo>
                      <a:pt x="5" y="2"/>
                      <a:pt x="5" y="2"/>
                      <a:pt x="6" y="1"/>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Freeform 1215"/>
              <p:cNvSpPr/>
              <p:nvPr/>
            </p:nvSpPr>
            <p:spPr bwMode="auto">
              <a:xfrm>
                <a:off x="202" y="646"/>
                <a:ext cx="7" cy="2"/>
              </a:xfrm>
              <a:custGeom>
                <a:gdLst>
                  <a:gd name="T0" fmla="*/ 1 w 3"/>
                  <a:gd name="T1" fmla="*/ 0 h 1"/>
                  <a:gd name="T2" fmla="*/ 0 w 3"/>
                  <a:gd name="T3" fmla="*/ 0 h 1"/>
                  <a:gd name="T4" fmla="*/ 3 w 3"/>
                  <a:gd name="T5" fmla="*/ 1 h 1"/>
                  <a:gd name="T6" fmla="*/ 1 w 3"/>
                  <a:gd name="T7" fmla="*/ 0 h 1"/>
                </a:gdLst>
                <a:cxnLst>
                  <a:cxn ang="0">
                    <a:pos x="T0" y="T1"/>
                  </a:cxn>
                  <a:cxn ang="0">
                    <a:pos x="T2" y="T3"/>
                  </a:cxn>
                  <a:cxn ang="0">
                    <a:pos x="T4" y="T5"/>
                  </a:cxn>
                  <a:cxn ang="0">
                    <a:pos x="T6" y="T7"/>
                  </a:cxn>
                </a:cxnLst>
                <a:rect l="0" t="0" r="r" b="b"/>
                <a:pathLst>
                  <a:path w="3" h="1">
                    <a:moveTo>
                      <a:pt x="1" y="0"/>
                    </a:moveTo>
                    <a:cubicBezTo>
                      <a:pt x="1" y="0"/>
                      <a:pt x="0" y="0"/>
                      <a:pt x="0" y="0"/>
                    </a:cubicBezTo>
                    <a:cubicBezTo>
                      <a:pt x="1" y="0"/>
                      <a:pt x="2" y="1"/>
                      <a:pt x="3" y="1"/>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5" name="Freeform 1216"/>
              <p:cNvSpPr/>
              <p:nvPr/>
            </p:nvSpPr>
            <p:spPr bwMode="auto">
              <a:xfrm>
                <a:off x="847" y="1029"/>
                <a:ext cx="5" cy="9"/>
              </a:xfrm>
              <a:custGeom>
                <a:gdLst>
                  <a:gd name="T0" fmla="*/ 0 w 2"/>
                  <a:gd name="T1" fmla="*/ 0 h 4"/>
                  <a:gd name="T2" fmla="*/ 2 w 2"/>
                  <a:gd name="T3" fmla="*/ 4 h 4"/>
                  <a:gd name="T4" fmla="*/ 0 w 2"/>
                  <a:gd name="T5" fmla="*/ 0 h 4"/>
                </a:gdLst>
                <a:cxnLst>
                  <a:cxn ang="0">
                    <a:pos x="T0" y="T1"/>
                  </a:cxn>
                  <a:cxn ang="0">
                    <a:pos x="T2" y="T3"/>
                  </a:cxn>
                  <a:cxn ang="0">
                    <a:pos x="T4" y="T5"/>
                  </a:cxn>
                </a:cxnLst>
                <a:rect l="0" t="0" r="r" b="b"/>
                <a:pathLst>
                  <a:path w="2" h="4">
                    <a:moveTo>
                      <a:pt x="0" y="0"/>
                    </a:moveTo>
                    <a:cubicBezTo>
                      <a:pt x="1" y="1"/>
                      <a:pt x="1" y="3"/>
                      <a:pt x="2"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6" name="Freeform 1217"/>
              <p:cNvSpPr/>
              <p:nvPr/>
            </p:nvSpPr>
            <p:spPr bwMode="auto">
              <a:xfrm>
                <a:off x="2617" y="1040"/>
                <a:ext cx="81" cy="31"/>
              </a:xfrm>
              <a:custGeom>
                <a:gdLst>
                  <a:gd name="T0" fmla="*/ 18 w 34"/>
                  <a:gd name="T1" fmla="*/ 0 h 13"/>
                  <a:gd name="T2" fmla="*/ 0 w 34"/>
                  <a:gd name="T3" fmla="*/ 6 h 13"/>
                  <a:gd name="T4" fmla="*/ 6 w 34"/>
                  <a:gd name="T5" fmla="*/ 7 h 13"/>
                  <a:gd name="T6" fmla="*/ 6 w 34"/>
                  <a:gd name="T7" fmla="*/ 7 h 13"/>
                  <a:gd name="T8" fmla="*/ 7 w 34"/>
                  <a:gd name="T9" fmla="*/ 7 h 13"/>
                  <a:gd name="T10" fmla="*/ 8 w 34"/>
                  <a:gd name="T11" fmla="*/ 7 h 13"/>
                  <a:gd name="T12" fmla="*/ 8 w 34"/>
                  <a:gd name="T13" fmla="*/ 7 h 13"/>
                  <a:gd name="T14" fmla="*/ 10 w 34"/>
                  <a:gd name="T15" fmla="*/ 12 h 13"/>
                  <a:gd name="T16" fmla="*/ 11 w 34"/>
                  <a:gd name="T17" fmla="*/ 9 h 13"/>
                  <a:gd name="T18" fmla="*/ 12 w 34"/>
                  <a:gd name="T19" fmla="*/ 9 h 13"/>
                  <a:gd name="T20" fmla="*/ 16 w 34"/>
                  <a:gd name="T21" fmla="*/ 13 h 13"/>
                  <a:gd name="T22" fmla="*/ 17 w 34"/>
                  <a:gd name="T23" fmla="*/ 13 h 13"/>
                  <a:gd name="T24" fmla="*/ 21 w 34"/>
                  <a:gd name="T25" fmla="*/ 9 h 13"/>
                  <a:gd name="T26" fmla="*/ 22 w 34"/>
                  <a:gd name="T27" fmla="*/ 10 h 13"/>
                  <a:gd name="T28" fmla="*/ 23 w 34"/>
                  <a:gd name="T29" fmla="*/ 10 h 13"/>
                  <a:gd name="T30" fmla="*/ 25 w 34"/>
                  <a:gd name="T31" fmla="*/ 10 h 13"/>
                  <a:gd name="T32" fmla="*/ 25 w 34"/>
                  <a:gd name="T33" fmla="*/ 10 h 13"/>
                  <a:gd name="T34" fmla="*/ 30 w 34"/>
                  <a:gd name="T35" fmla="*/ 11 h 13"/>
                  <a:gd name="T36" fmla="*/ 30 w 34"/>
                  <a:gd name="T37" fmla="*/ 11 h 13"/>
                  <a:gd name="T38" fmla="*/ 31 w 34"/>
                  <a:gd name="T39" fmla="*/ 4 h 13"/>
                  <a:gd name="T40" fmla="*/ 25 w 34"/>
                  <a:gd name="T41" fmla="*/ 2 h 13"/>
                  <a:gd name="T42" fmla="*/ 23 w 34"/>
                  <a:gd name="T43" fmla="*/ 1 h 13"/>
                  <a:gd name="T44" fmla="*/ 18 w 34"/>
                  <a:gd name="T45"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13">
                    <a:moveTo>
                      <a:pt x="18" y="0"/>
                    </a:moveTo>
                    <a:cubicBezTo>
                      <a:pt x="12" y="2"/>
                      <a:pt x="6" y="3"/>
                      <a:pt x="0" y="6"/>
                    </a:cubicBezTo>
                    <a:cubicBezTo>
                      <a:pt x="3" y="6"/>
                      <a:pt x="4" y="7"/>
                      <a:pt x="6" y="7"/>
                    </a:cubicBezTo>
                    <a:cubicBezTo>
                      <a:pt x="6" y="7"/>
                      <a:pt x="6" y="7"/>
                      <a:pt x="6" y="7"/>
                    </a:cubicBezTo>
                    <a:cubicBezTo>
                      <a:pt x="6" y="7"/>
                      <a:pt x="6" y="7"/>
                      <a:pt x="7" y="7"/>
                    </a:cubicBezTo>
                    <a:cubicBezTo>
                      <a:pt x="7" y="7"/>
                      <a:pt x="8" y="7"/>
                      <a:pt x="8" y="7"/>
                    </a:cubicBezTo>
                    <a:cubicBezTo>
                      <a:pt x="8" y="7"/>
                      <a:pt x="8" y="7"/>
                      <a:pt x="8" y="7"/>
                    </a:cubicBezTo>
                    <a:cubicBezTo>
                      <a:pt x="10" y="8"/>
                      <a:pt x="9" y="10"/>
                      <a:pt x="10" y="12"/>
                    </a:cubicBezTo>
                    <a:cubicBezTo>
                      <a:pt x="10" y="11"/>
                      <a:pt x="10" y="9"/>
                      <a:pt x="11" y="9"/>
                    </a:cubicBezTo>
                    <a:cubicBezTo>
                      <a:pt x="12" y="9"/>
                      <a:pt x="12" y="9"/>
                      <a:pt x="12" y="9"/>
                    </a:cubicBezTo>
                    <a:cubicBezTo>
                      <a:pt x="14" y="9"/>
                      <a:pt x="14" y="12"/>
                      <a:pt x="16" y="13"/>
                    </a:cubicBezTo>
                    <a:cubicBezTo>
                      <a:pt x="16" y="13"/>
                      <a:pt x="16" y="13"/>
                      <a:pt x="17" y="13"/>
                    </a:cubicBezTo>
                    <a:cubicBezTo>
                      <a:pt x="19" y="13"/>
                      <a:pt x="22" y="11"/>
                      <a:pt x="21" y="9"/>
                    </a:cubicBezTo>
                    <a:cubicBezTo>
                      <a:pt x="21" y="10"/>
                      <a:pt x="22" y="10"/>
                      <a:pt x="22" y="10"/>
                    </a:cubicBezTo>
                    <a:cubicBezTo>
                      <a:pt x="23" y="10"/>
                      <a:pt x="23" y="10"/>
                      <a:pt x="23" y="10"/>
                    </a:cubicBezTo>
                    <a:cubicBezTo>
                      <a:pt x="24" y="10"/>
                      <a:pt x="24" y="10"/>
                      <a:pt x="25" y="10"/>
                    </a:cubicBezTo>
                    <a:cubicBezTo>
                      <a:pt x="25" y="10"/>
                      <a:pt x="25" y="10"/>
                      <a:pt x="25" y="10"/>
                    </a:cubicBezTo>
                    <a:cubicBezTo>
                      <a:pt x="26" y="10"/>
                      <a:pt x="29" y="11"/>
                      <a:pt x="30" y="11"/>
                    </a:cubicBezTo>
                    <a:cubicBezTo>
                      <a:pt x="30" y="11"/>
                      <a:pt x="30" y="11"/>
                      <a:pt x="30" y="11"/>
                    </a:cubicBezTo>
                    <a:cubicBezTo>
                      <a:pt x="34" y="10"/>
                      <a:pt x="32" y="6"/>
                      <a:pt x="31" y="4"/>
                    </a:cubicBezTo>
                    <a:cubicBezTo>
                      <a:pt x="30" y="3"/>
                      <a:pt x="27" y="2"/>
                      <a:pt x="25" y="2"/>
                    </a:cubicBezTo>
                    <a:cubicBezTo>
                      <a:pt x="24" y="1"/>
                      <a:pt x="24" y="1"/>
                      <a:pt x="23" y="1"/>
                    </a:cubicBezTo>
                    <a:cubicBezTo>
                      <a:pt x="22" y="1"/>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7" name="Freeform 1218"/>
              <p:cNvSpPr/>
              <p:nvPr/>
            </p:nvSpPr>
            <p:spPr bwMode="auto">
              <a:xfrm>
                <a:off x="2183" y="1605"/>
                <a:ext cx="30" cy="24"/>
              </a:xfrm>
              <a:custGeom>
                <a:gdLst>
                  <a:gd name="T0" fmla="*/ 13 w 13"/>
                  <a:gd name="T1" fmla="*/ 0 h 10"/>
                  <a:gd name="T2" fmla="*/ 3 w 13"/>
                  <a:gd name="T3" fmla="*/ 3 h 10"/>
                  <a:gd name="T4" fmla="*/ 5 w 13"/>
                  <a:gd name="T5" fmla="*/ 8 h 10"/>
                  <a:gd name="T6" fmla="*/ 7 w 13"/>
                  <a:gd name="T7" fmla="*/ 10 h 10"/>
                  <a:gd name="T8" fmla="*/ 8 w 13"/>
                  <a:gd name="T9" fmla="*/ 9 h 10"/>
                  <a:gd name="T10" fmla="*/ 13 w 13"/>
                  <a:gd name="T11" fmla="*/ 0 h 10"/>
                </a:gdLst>
                <a:cxnLst>
                  <a:cxn ang="0">
                    <a:pos x="T0" y="T1"/>
                  </a:cxn>
                  <a:cxn ang="0">
                    <a:pos x="T2" y="T3"/>
                  </a:cxn>
                  <a:cxn ang="0">
                    <a:pos x="T4" y="T5"/>
                  </a:cxn>
                  <a:cxn ang="0">
                    <a:pos x="T6" y="T7"/>
                  </a:cxn>
                  <a:cxn ang="0">
                    <a:pos x="T8" y="T9"/>
                  </a:cxn>
                  <a:cxn ang="0">
                    <a:pos x="T10" y="T11"/>
                  </a:cxn>
                </a:cxnLst>
                <a:rect l="0" t="0" r="r" b="b"/>
                <a:pathLst>
                  <a:path w="13" h="10">
                    <a:moveTo>
                      <a:pt x="13" y="0"/>
                    </a:moveTo>
                    <a:cubicBezTo>
                      <a:pt x="9" y="0"/>
                      <a:pt x="6" y="2"/>
                      <a:pt x="3" y="3"/>
                    </a:cubicBezTo>
                    <a:cubicBezTo>
                      <a:pt x="0" y="8"/>
                      <a:pt x="2" y="7"/>
                      <a:pt x="5" y="8"/>
                    </a:cubicBezTo>
                    <a:cubicBezTo>
                      <a:pt x="6" y="8"/>
                      <a:pt x="6" y="10"/>
                      <a:pt x="7" y="10"/>
                    </a:cubicBezTo>
                    <a:cubicBezTo>
                      <a:pt x="7" y="10"/>
                      <a:pt x="7" y="10"/>
                      <a:pt x="8" y="9"/>
                    </a:cubicBezTo>
                    <a:cubicBezTo>
                      <a:pt x="10" y="8"/>
                      <a:pt x="13"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8" name="Freeform 1219"/>
              <p:cNvSpPr/>
              <p:nvPr/>
            </p:nvSpPr>
            <p:spPr bwMode="auto">
              <a:xfrm>
                <a:off x="838" y="1064"/>
                <a:ext cx="24" cy="21"/>
              </a:xfrm>
              <a:custGeom>
                <a:gdLst>
                  <a:gd name="T0" fmla="*/ 6 w 10"/>
                  <a:gd name="T1" fmla="*/ 0 h 9"/>
                  <a:gd name="T2" fmla="*/ 2 w 10"/>
                  <a:gd name="T3" fmla="*/ 2 h 9"/>
                  <a:gd name="T4" fmla="*/ 1 w 10"/>
                  <a:gd name="T5" fmla="*/ 1 h 9"/>
                  <a:gd name="T6" fmla="*/ 0 w 10"/>
                  <a:gd name="T7" fmla="*/ 2 h 9"/>
                  <a:gd name="T8" fmla="*/ 2 w 10"/>
                  <a:gd name="T9" fmla="*/ 7 h 9"/>
                  <a:gd name="T10" fmla="*/ 2 w 10"/>
                  <a:gd name="T11" fmla="*/ 9 h 9"/>
                  <a:gd name="T12" fmla="*/ 3 w 10"/>
                  <a:gd name="T13" fmla="*/ 9 h 9"/>
                  <a:gd name="T14" fmla="*/ 7 w 10"/>
                  <a:gd name="T15" fmla="*/ 7 h 9"/>
                  <a:gd name="T16" fmla="*/ 6 w 10"/>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9">
                    <a:moveTo>
                      <a:pt x="6" y="0"/>
                    </a:moveTo>
                    <a:cubicBezTo>
                      <a:pt x="4" y="1"/>
                      <a:pt x="3" y="1"/>
                      <a:pt x="2" y="2"/>
                    </a:cubicBezTo>
                    <a:cubicBezTo>
                      <a:pt x="2" y="1"/>
                      <a:pt x="1" y="1"/>
                      <a:pt x="1" y="1"/>
                    </a:cubicBezTo>
                    <a:cubicBezTo>
                      <a:pt x="0" y="1"/>
                      <a:pt x="0" y="1"/>
                      <a:pt x="0" y="2"/>
                    </a:cubicBezTo>
                    <a:cubicBezTo>
                      <a:pt x="0" y="4"/>
                      <a:pt x="1" y="6"/>
                      <a:pt x="2" y="7"/>
                    </a:cubicBezTo>
                    <a:cubicBezTo>
                      <a:pt x="3" y="7"/>
                      <a:pt x="2" y="9"/>
                      <a:pt x="2" y="9"/>
                    </a:cubicBezTo>
                    <a:cubicBezTo>
                      <a:pt x="3" y="9"/>
                      <a:pt x="3" y="9"/>
                      <a:pt x="3" y="9"/>
                    </a:cubicBezTo>
                    <a:cubicBezTo>
                      <a:pt x="4" y="9"/>
                      <a:pt x="6" y="8"/>
                      <a:pt x="7" y="7"/>
                    </a:cubicBezTo>
                    <a:cubicBezTo>
                      <a:pt x="10" y="5"/>
                      <a:pt x="8"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9" name="Freeform 1220"/>
              <p:cNvSpPr/>
              <p:nvPr/>
            </p:nvSpPr>
            <p:spPr bwMode="auto">
              <a:xfrm>
                <a:off x="921" y="1445"/>
                <a:ext cx="626" cy="198"/>
              </a:xfrm>
              <a:custGeom>
                <a:gdLst>
                  <a:gd name="T0" fmla="*/ 0 w 265"/>
                  <a:gd name="T1" fmla="*/ 26 h 84"/>
                  <a:gd name="T2" fmla="*/ 27 w 265"/>
                  <a:gd name="T3" fmla="*/ 43 h 84"/>
                  <a:gd name="T4" fmla="*/ 34 w 265"/>
                  <a:gd name="T5" fmla="*/ 44 h 84"/>
                  <a:gd name="T6" fmla="*/ 75 w 265"/>
                  <a:gd name="T7" fmla="*/ 54 h 84"/>
                  <a:gd name="T8" fmla="*/ 87 w 265"/>
                  <a:gd name="T9" fmla="*/ 54 h 84"/>
                  <a:gd name="T10" fmla="*/ 98 w 265"/>
                  <a:gd name="T11" fmla="*/ 52 h 84"/>
                  <a:gd name="T12" fmla="*/ 148 w 265"/>
                  <a:gd name="T13" fmla="*/ 65 h 84"/>
                  <a:gd name="T14" fmla="*/ 173 w 265"/>
                  <a:gd name="T15" fmla="*/ 69 h 84"/>
                  <a:gd name="T16" fmla="*/ 183 w 265"/>
                  <a:gd name="T17" fmla="*/ 70 h 84"/>
                  <a:gd name="T18" fmla="*/ 193 w 265"/>
                  <a:gd name="T19" fmla="*/ 71 h 84"/>
                  <a:gd name="T20" fmla="*/ 209 w 265"/>
                  <a:gd name="T21" fmla="*/ 74 h 84"/>
                  <a:gd name="T22" fmla="*/ 223 w 265"/>
                  <a:gd name="T23" fmla="*/ 71 h 84"/>
                  <a:gd name="T24" fmla="*/ 265 w 265"/>
                  <a:gd name="T25" fmla="*/ 84 h 84"/>
                  <a:gd name="T26" fmla="*/ 260 w 265"/>
                  <a:gd name="T27" fmla="*/ 63 h 84"/>
                  <a:gd name="T28" fmla="*/ 248 w 265"/>
                  <a:gd name="T29" fmla="*/ 50 h 84"/>
                  <a:gd name="T30" fmla="*/ 235 w 265"/>
                  <a:gd name="T31" fmla="*/ 53 h 84"/>
                  <a:gd name="T32" fmla="*/ 214 w 265"/>
                  <a:gd name="T33" fmla="*/ 49 h 84"/>
                  <a:gd name="T34" fmla="*/ 209 w 265"/>
                  <a:gd name="T35" fmla="*/ 40 h 84"/>
                  <a:gd name="T36" fmla="*/ 204 w 265"/>
                  <a:gd name="T37" fmla="*/ 28 h 84"/>
                  <a:gd name="T38" fmla="*/ 196 w 265"/>
                  <a:gd name="T39" fmla="*/ 29 h 84"/>
                  <a:gd name="T40" fmla="*/ 168 w 265"/>
                  <a:gd name="T41" fmla="*/ 24 h 84"/>
                  <a:gd name="T42" fmla="*/ 158 w 265"/>
                  <a:gd name="T43" fmla="*/ 15 h 84"/>
                  <a:gd name="T44" fmla="*/ 144 w 265"/>
                  <a:gd name="T45" fmla="*/ 31 h 84"/>
                  <a:gd name="T46" fmla="*/ 120 w 265"/>
                  <a:gd name="T47" fmla="*/ 28 h 84"/>
                  <a:gd name="T48" fmla="*/ 114 w 265"/>
                  <a:gd name="T49" fmla="*/ 28 h 84"/>
                  <a:gd name="T50" fmla="*/ 109 w 265"/>
                  <a:gd name="T51" fmla="*/ 28 h 84"/>
                  <a:gd name="T52" fmla="*/ 90 w 265"/>
                  <a:gd name="T53" fmla="*/ 23 h 84"/>
                  <a:gd name="T54" fmla="*/ 81 w 265"/>
                  <a:gd name="T55" fmla="*/ 11 h 84"/>
                  <a:gd name="T56" fmla="*/ 78 w 265"/>
                  <a:gd name="T57" fmla="*/ 11 h 84"/>
                  <a:gd name="T58" fmla="*/ 65 w 265"/>
                  <a:gd name="T59" fmla="*/ 10 h 84"/>
                  <a:gd name="T60" fmla="*/ 48 w 265"/>
                  <a:gd name="T61" fmla="*/ 1 h 84"/>
                  <a:gd name="T62" fmla="*/ 44 w 265"/>
                  <a:gd name="T63" fmla="*/ 16 h 84"/>
                  <a:gd name="T64" fmla="*/ 37 w 265"/>
                  <a:gd name="T65" fmla="*/ 5 h 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5" h="84">
                    <a:moveTo>
                      <a:pt x="16" y="0"/>
                    </a:moveTo>
                    <a:cubicBezTo>
                      <a:pt x="10" y="8"/>
                      <a:pt x="6" y="18"/>
                      <a:pt x="0" y="26"/>
                    </a:cubicBezTo>
                    <a:cubicBezTo>
                      <a:pt x="10" y="27"/>
                      <a:pt x="19" y="29"/>
                      <a:pt x="27" y="32"/>
                    </a:cubicBezTo>
                    <a:cubicBezTo>
                      <a:pt x="33" y="34"/>
                      <a:pt x="29" y="37"/>
                      <a:pt x="27" y="43"/>
                    </a:cubicBezTo>
                    <a:cubicBezTo>
                      <a:pt x="28" y="43"/>
                      <a:pt x="28" y="43"/>
                      <a:pt x="28" y="43"/>
                    </a:cubicBezTo>
                    <a:cubicBezTo>
                      <a:pt x="30" y="43"/>
                      <a:pt x="32" y="44"/>
                      <a:pt x="34" y="44"/>
                    </a:cubicBezTo>
                    <a:cubicBezTo>
                      <a:pt x="41" y="45"/>
                      <a:pt x="49" y="46"/>
                      <a:pt x="56" y="47"/>
                    </a:cubicBezTo>
                    <a:cubicBezTo>
                      <a:pt x="62" y="48"/>
                      <a:pt x="68" y="53"/>
                      <a:pt x="75" y="54"/>
                    </a:cubicBezTo>
                    <a:cubicBezTo>
                      <a:pt x="78" y="55"/>
                      <a:pt x="80" y="55"/>
                      <a:pt x="83" y="55"/>
                    </a:cubicBezTo>
                    <a:cubicBezTo>
                      <a:pt x="84" y="55"/>
                      <a:pt x="85" y="55"/>
                      <a:pt x="87" y="54"/>
                    </a:cubicBezTo>
                    <a:cubicBezTo>
                      <a:pt x="90" y="53"/>
                      <a:pt x="94" y="52"/>
                      <a:pt x="97" y="52"/>
                    </a:cubicBezTo>
                    <a:cubicBezTo>
                      <a:pt x="97" y="52"/>
                      <a:pt x="98" y="52"/>
                      <a:pt x="98" y="52"/>
                    </a:cubicBezTo>
                    <a:cubicBezTo>
                      <a:pt x="108" y="53"/>
                      <a:pt x="117" y="54"/>
                      <a:pt x="126" y="56"/>
                    </a:cubicBezTo>
                    <a:cubicBezTo>
                      <a:pt x="134" y="58"/>
                      <a:pt x="140" y="62"/>
                      <a:pt x="148" y="65"/>
                    </a:cubicBezTo>
                    <a:cubicBezTo>
                      <a:pt x="151" y="66"/>
                      <a:pt x="155" y="68"/>
                      <a:pt x="160" y="68"/>
                    </a:cubicBezTo>
                    <a:cubicBezTo>
                      <a:pt x="164" y="68"/>
                      <a:pt x="169" y="68"/>
                      <a:pt x="173" y="69"/>
                    </a:cubicBezTo>
                    <a:cubicBezTo>
                      <a:pt x="176" y="70"/>
                      <a:pt x="178" y="72"/>
                      <a:pt x="180" y="72"/>
                    </a:cubicBezTo>
                    <a:cubicBezTo>
                      <a:pt x="181" y="72"/>
                      <a:pt x="182" y="71"/>
                      <a:pt x="183" y="70"/>
                    </a:cubicBezTo>
                    <a:cubicBezTo>
                      <a:pt x="183" y="69"/>
                      <a:pt x="183" y="69"/>
                      <a:pt x="184" y="69"/>
                    </a:cubicBezTo>
                    <a:cubicBezTo>
                      <a:pt x="187" y="69"/>
                      <a:pt x="192" y="71"/>
                      <a:pt x="193" y="71"/>
                    </a:cubicBezTo>
                    <a:cubicBezTo>
                      <a:pt x="198" y="71"/>
                      <a:pt x="203" y="72"/>
                      <a:pt x="208" y="74"/>
                    </a:cubicBezTo>
                    <a:cubicBezTo>
                      <a:pt x="208" y="74"/>
                      <a:pt x="209" y="74"/>
                      <a:pt x="209" y="74"/>
                    </a:cubicBezTo>
                    <a:cubicBezTo>
                      <a:pt x="212" y="74"/>
                      <a:pt x="215" y="72"/>
                      <a:pt x="217" y="71"/>
                    </a:cubicBezTo>
                    <a:cubicBezTo>
                      <a:pt x="219" y="71"/>
                      <a:pt x="221" y="71"/>
                      <a:pt x="223" y="71"/>
                    </a:cubicBezTo>
                    <a:cubicBezTo>
                      <a:pt x="230" y="71"/>
                      <a:pt x="235" y="74"/>
                      <a:pt x="242" y="77"/>
                    </a:cubicBezTo>
                    <a:cubicBezTo>
                      <a:pt x="249" y="80"/>
                      <a:pt x="258" y="82"/>
                      <a:pt x="265" y="84"/>
                    </a:cubicBezTo>
                    <a:cubicBezTo>
                      <a:pt x="261" y="80"/>
                      <a:pt x="258" y="77"/>
                      <a:pt x="258" y="71"/>
                    </a:cubicBezTo>
                    <a:cubicBezTo>
                      <a:pt x="258" y="69"/>
                      <a:pt x="259" y="66"/>
                      <a:pt x="260" y="63"/>
                    </a:cubicBezTo>
                    <a:cubicBezTo>
                      <a:pt x="260" y="57"/>
                      <a:pt x="262" y="56"/>
                      <a:pt x="256" y="54"/>
                    </a:cubicBezTo>
                    <a:cubicBezTo>
                      <a:pt x="254" y="53"/>
                      <a:pt x="251" y="50"/>
                      <a:pt x="248" y="50"/>
                    </a:cubicBezTo>
                    <a:cubicBezTo>
                      <a:pt x="248" y="50"/>
                      <a:pt x="248" y="50"/>
                      <a:pt x="248" y="50"/>
                    </a:cubicBezTo>
                    <a:cubicBezTo>
                      <a:pt x="245" y="50"/>
                      <a:pt x="239" y="52"/>
                      <a:pt x="235" y="53"/>
                    </a:cubicBezTo>
                    <a:cubicBezTo>
                      <a:pt x="233" y="53"/>
                      <a:pt x="230" y="53"/>
                      <a:pt x="228" y="53"/>
                    </a:cubicBezTo>
                    <a:cubicBezTo>
                      <a:pt x="223" y="53"/>
                      <a:pt x="219" y="52"/>
                      <a:pt x="214" y="49"/>
                    </a:cubicBezTo>
                    <a:cubicBezTo>
                      <a:pt x="212" y="48"/>
                      <a:pt x="213" y="46"/>
                      <a:pt x="213" y="43"/>
                    </a:cubicBezTo>
                    <a:cubicBezTo>
                      <a:pt x="213" y="41"/>
                      <a:pt x="211" y="41"/>
                      <a:pt x="209" y="40"/>
                    </a:cubicBezTo>
                    <a:cubicBezTo>
                      <a:pt x="206" y="37"/>
                      <a:pt x="207" y="34"/>
                      <a:pt x="207" y="30"/>
                    </a:cubicBezTo>
                    <a:cubicBezTo>
                      <a:pt x="207" y="29"/>
                      <a:pt x="206" y="28"/>
                      <a:pt x="204" y="28"/>
                    </a:cubicBezTo>
                    <a:cubicBezTo>
                      <a:pt x="203" y="28"/>
                      <a:pt x="201" y="28"/>
                      <a:pt x="200" y="29"/>
                    </a:cubicBezTo>
                    <a:cubicBezTo>
                      <a:pt x="198" y="29"/>
                      <a:pt x="197" y="29"/>
                      <a:pt x="196" y="29"/>
                    </a:cubicBezTo>
                    <a:cubicBezTo>
                      <a:pt x="195" y="29"/>
                      <a:pt x="195" y="29"/>
                      <a:pt x="195" y="29"/>
                    </a:cubicBezTo>
                    <a:cubicBezTo>
                      <a:pt x="185" y="26"/>
                      <a:pt x="178" y="24"/>
                      <a:pt x="168" y="24"/>
                    </a:cubicBezTo>
                    <a:cubicBezTo>
                      <a:pt x="164" y="23"/>
                      <a:pt x="161" y="18"/>
                      <a:pt x="159" y="15"/>
                    </a:cubicBezTo>
                    <a:cubicBezTo>
                      <a:pt x="159" y="15"/>
                      <a:pt x="159" y="15"/>
                      <a:pt x="158" y="15"/>
                    </a:cubicBezTo>
                    <a:cubicBezTo>
                      <a:pt x="157" y="15"/>
                      <a:pt x="152" y="17"/>
                      <a:pt x="151" y="18"/>
                    </a:cubicBezTo>
                    <a:cubicBezTo>
                      <a:pt x="151" y="21"/>
                      <a:pt x="148" y="31"/>
                      <a:pt x="144" y="31"/>
                    </a:cubicBezTo>
                    <a:cubicBezTo>
                      <a:pt x="144" y="31"/>
                      <a:pt x="144" y="31"/>
                      <a:pt x="144" y="31"/>
                    </a:cubicBezTo>
                    <a:cubicBezTo>
                      <a:pt x="136" y="30"/>
                      <a:pt x="128" y="29"/>
                      <a:pt x="120" y="28"/>
                    </a:cubicBezTo>
                    <a:cubicBezTo>
                      <a:pt x="120" y="28"/>
                      <a:pt x="119" y="28"/>
                      <a:pt x="118" y="28"/>
                    </a:cubicBezTo>
                    <a:cubicBezTo>
                      <a:pt x="117" y="28"/>
                      <a:pt x="116" y="28"/>
                      <a:pt x="114" y="28"/>
                    </a:cubicBezTo>
                    <a:cubicBezTo>
                      <a:pt x="113" y="28"/>
                      <a:pt x="112" y="28"/>
                      <a:pt x="110" y="28"/>
                    </a:cubicBezTo>
                    <a:cubicBezTo>
                      <a:pt x="110" y="28"/>
                      <a:pt x="109" y="28"/>
                      <a:pt x="109" y="28"/>
                    </a:cubicBezTo>
                    <a:cubicBezTo>
                      <a:pt x="106" y="28"/>
                      <a:pt x="102" y="27"/>
                      <a:pt x="99" y="27"/>
                    </a:cubicBezTo>
                    <a:cubicBezTo>
                      <a:pt x="96" y="26"/>
                      <a:pt x="91" y="27"/>
                      <a:pt x="90" y="23"/>
                    </a:cubicBezTo>
                    <a:cubicBezTo>
                      <a:pt x="89" y="18"/>
                      <a:pt x="87" y="16"/>
                      <a:pt x="84" y="12"/>
                    </a:cubicBezTo>
                    <a:cubicBezTo>
                      <a:pt x="83" y="11"/>
                      <a:pt x="82" y="11"/>
                      <a:pt x="81" y="11"/>
                    </a:cubicBezTo>
                    <a:cubicBezTo>
                      <a:pt x="80" y="11"/>
                      <a:pt x="80" y="11"/>
                      <a:pt x="79" y="11"/>
                    </a:cubicBezTo>
                    <a:cubicBezTo>
                      <a:pt x="79" y="11"/>
                      <a:pt x="79" y="11"/>
                      <a:pt x="78" y="11"/>
                    </a:cubicBezTo>
                    <a:cubicBezTo>
                      <a:pt x="78" y="11"/>
                      <a:pt x="78" y="11"/>
                      <a:pt x="78" y="11"/>
                    </a:cubicBezTo>
                    <a:cubicBezTo>
                      <a:pt x="74" y="11"/>
                      <a:pt x="69" y="11"/>
                      <a:pt x="65" y="10"/>
                    </a:cubicBezTo>
                    <a:cubicBezTo>
                      <a:pt x="61" y="10"/>
                      <a:pt x="58" y="7"/>
                      <a:pt x="55" y="6"/>
                    </a:cubicBezTo>
                    <a:cubicBezTo>
                      <a:pt x="54" y="5"/>
                      <a:pt x="51" y="3"/>
                      <a:pt x="48" y="1"/>
                    </a:cubicBezTo>
                    <a:cubicBezTo>
                      <a:pt x="50" y="3"/>
                      <a:pt x="52" y="5"/>
                      <a:pt x="52" y="8"/>
                    </a:cubicBezTo>
                    <a:cubicBezTo>
                      <a:pt x="52" y="13"/>
                      <a:pt x="49" y="16"/>
                      <a:pt x="44" y="16"/>
                    </a:cubicBezTo>
                    <a:cubicBezTo>
                      <a:pt x="40" y="16"/>
                      <a:pt x="36" y="13"/>
                      <a:pt x="36" y="8"/>
                    </a:cubicBezTo>
                    <a:cubicBezTo>
                      <a:pt x="36" y="7"/>
                      <a:pt x="37" y="6"/>
                      <a:pt x="37" y="5"/>
                    </a:cubicBezTo>
                    <a:cubicBezTo>
                      <a:pt x="30" y="4"/>
                      <a:pt x="23" y="2"/>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0" name="Freeform 1221"/>
              <p:cNvSpPr/>
              <p:nvPr/>
            </p:nvSpPr>
            <p:spPr bwMode="auto">
              <a:xfrm>
                <a:off x="689" y="943"/>
                <a:ext cx="28" cy="34"/>
              </a:xfrm>
              <a:custGeom>
                <a:gdLst>
                  <a:gd name="T0" fmla="*/ 4 w 12"/>
                  <a:gd name="T1" fmla="*/ 0 h 14"/>
                  <a:gd name="T2" fmla="*/ 8 w 12"/>
                  <a:gd name="T3" fmla="*/ 14 h 14"/>
                  <a:gd name="T4" fmla="*/ 8 w 12"/>
                  <a:gd name="T5" fmla="*/ 2 h 14"/>
                  <a:gd name="T6" fmla="*/ 4 w 12"/>
                  <a:gd name="T7" fmla="*/ 0 h 14"/>
                </a:gdLst>
                <a:cxnLst>
                  <a:cxn ang="0">
                    <a:pos x="T0" y="T1"/>
                  </a:cxn>
                  <a:cxn ang="0">
                    <a:pos x="T2" y="T3"/>
                  </a:cxn>
                  <a:cxn ang="0">
                    <a:pos x="T4" y="T5"/>
                  </a:cxn>
                  <a:cxn ang="0">
                    <a:pos x="T6" y="T7"/>
                  </a:cxn>
                </a:cxnLst>
                <a:rect l="0" t="0" r="r" b="b"/>
                <a:pathLst>
                  <a:path w="12" h="14">
                    <a:moveTo>
                      <a:pt x="4" y="0"/>
                    </a:moveTo>
                    <a:cubicBezTo>
                      <a:pt x="0" y="2"/>
                      <a:pt x="6" y="11"/>
                      <a:pt x="8" y="14"/>
                    </a:cubicBezTo>
                    <a:cubicBezTo>
                      <a:pt x="10" y="9"/>
                      <a:pt x="12" y="6"/>
                      <a:pt x="8" y="2"/>
                    </a:cubicBezTo>
                    <a:cubicBezTo>
                      <a:pt x="7"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1" name="Freeform 1222"/>
              <p:cNvSpPr/>
              <p:nvPr/>
            </p:nvSpPr>
            <p:spPr bwMode="auto">
              <a:xfrm>
                <a:off x="2218" y="1151"/>
                <a:ext cx="64" cy="26"/>
              </a:xfrm>
              <a:custGeom>
                <a:gdLst>
                  <a:gd name="T0" fmla="*/ 5 w 27"/>
                  <a:gd name="T1" fmla="*/ 0 h 11"/>
                  <a:gd name="T2" fmla="*/ 1 w 27"/>
                  <a:gd name="T3" fmla="*/ 1 h 11"/>
                  <a:gd name="T4" fmla="*/ 1 w 27"/>
                  <a:gd name="T5" fmla="*/ 11 h 11"/>
                  <a:gd name="T6" fmla="*/ 9 w 27"/>
                  <a:gd name="T7" fmla="*/ 10 h 11"/>
                  <a:gd name="T8" fmla="*/ 13 w 27"/>
                  <a:gd name="T9" fmla="*/ 8 h 11"/>
                  <a:gd name="T10" fmla="*/ 13 w 27"/>
                  <a:gd name="T11" fmla="*/ 8 h 11"/>
                  <a:gd name="T12" fmla="*/ 19 w 27"/>
                  <a:gd name="T13" fmla="*/ 9 h 11"/>
                  <a:gd name="T14" fmla="*/ 25 w 27"/>
                  <a:gd name="T15" fmla="*/ 8 h 11"/>
                  <a:gd name="T16" fmla="*/ 27 w 27"/>
                  <a:gd name="T17" fmla="*/ 5 h 11"/>
                  <a:gd name="T18" fmla="*/ 26 w 27"/>
                  <a:gd name="T19" fmla="*/ 3 h 11"/>
                  <a:gd name="T20" fmla="*/ 26 w 27"/>
                  <a:gd name="T21" fmla="*/ 3 h 11"/>
                  <a:gd name="T22" fmla="*/ 25 w 27"/>
                  <a:gd name="T23" fmla="*/ 4 h 11"/>
                  <a:gd name="T24" fmla="*/ 24 w 27"/>
                  <a:gd name="T25" fmla="*/ 5 h 11"/>
                  <a:gd name="T26" fmla="*/ 24 w 27"/>
                  <a:gd name="T27" fmla="*/ 5 h 11"/>
                  <a:gd name="T28" fmla="*/ 24 w 27"/>
                  <a:gd name="T29" fmla="*/ 3 h 11"/>
                  <a:gd name="T30" fmla="*/ 24 w 27"/>
                  <a:gd name="T31" fmla="*/ 3 h 11"/>
                  <a:gd name="T32" fmla="*/ 21 w 27"/>
                  <a:gd name="T33" fmla="*/ 2 h 11"/>
                  <a:gd name="T34" fmla="*/ 21 w 27"/>
                  <a:gd name="T35" fmla="*/ 2 h 11"/>
                  <a:gd name="T36" fmla="*/ 19 w 27"/>
                  <a:gd name="T37" fmla="*/ 4 h 11"/>
                  <a:gd name="T38" fmla="*/ 19 w 27"/>
                  <a:gd name="T39" fmla="*/ 4 h 11"/>
                  <a:gd name="T40" fmla="*/ 18 w 27"/>
                  <a:gd name="T41" fmla="*/ 3 h 11"/>
                  <a:gd name="T42" fmla="*/ 5 w 27"/>
                  <a:gd name="T4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11">
                    <a:moveTo>
                      <a:pt x="5" y="0"/>
                    </a:moveTo>
                    <a:cubicBezTo>
                      <a:pt x="4" y="0"/>
                      <a:pt x="2" y="0"/>
                      <a:pt x="1" y="1"/>
                    </a:cubicBezTo>
                    <a:cubicBezTo>
                      <a:pt x="1" y="4"/>
                      <a:pt x="0" y="8"/>
                      <a:pt x="1" y="11"/>
                    </a:cubicBezTo>
                    <a:cubicBezTo>
                      <a:pt x="4" y="11"/>
                      <a:pt x="6" y="11"/>
                      <a:pt x="9" y="10"/>
                    </a:cubicBezTo>
                    <a:cubicBezTo>
                      <a:pt x="11" y="9"/>
                      <a:pt x="11" y="8"/>
                      <a:pt x="13" y="8"/>
                    </a:cubicBezTo>
                    <a:cubicBezTo>
                      <a:pt x="13" y="8"/>
                      <a:pt x="13" y="8"/>
                      <a:pt x="13" y="8"/>
                    </a:cubicBezTo>
                    <a:cubicBezTo>
                      <a:pt x="15" y="9"/>
                      <a:pt x="17" y="9"/>
                      <a:pt x="19" y="9"/>
                    </a:cubicBezTo>
                    <a:cubicBezTo>
                      <a:pt x="21" y="9"/>
                      <a:pt x="23" y="8"/>
                      <a:pt x="25" y="8"/>
                    </a:cubicBezTo>
                    <a:cubicBezTo>
                      <a:pt x="27" y="7"/>
                      <a:pt x="27" y="7"/>
                      <a:pt x="27" y="5"/>
                    </a:cubicBezTo>
                    <a:cubicBezTo>
                      <a:pt x="26" y="3"/>
                      <a:pt x="26" y="3"/>
                      <a:pt x="26" y="3"/>
                    </a:cubicBezTo>
                    <a:cubicBezTo>
                      <a:pt x="26" y="3"/>
                      <a:pt x="26" y="3"/>
                      <a:pt x="26" y="3"/>
                    </a:cubicBezTo>
                    <a:cubicBezTo>
                      <a:pt x="25" y="3"/>
                      <a:pt x="24" y="3"/>
                      <a:pt x="25" y="4"/>
                    </a:cubicBezTo>
                    <a:cubicBezTo>
                      <a:pt x="25" y="4"/>
                      <a:pt x="24" y="5"/>
                      <a:pt x="24" y="5"/>
                    </a:cubicBezTo>
                    <a:cubicBezTo>
                      <a:pt x="24" y="5"/>
                      <a:pt x="24" y="5"/>
                      <a:pt x="24" y="5"/>
                    </a:cubicBezTo>
                    <a:cubicBezTo>
                      <a:pt x="24" y="4"/>
                      <a:pt x="24" y="3"/>
                      <a:pt x="24" y="3"/>
                    </a:cubicBezTo>
                    <a:cubicBezTo>
                      <a:pt x="24" y="3"/>
                      <a:pt x="24" y="3"/>
                      <a:pt x="24" y="3"/>
                    </a:cubicBezTo>
                    <a:cubicBezTo>
                      <a:pt x="22" y="3"/>
                      <a:pt x="22" y="2"/>
                      <a:pt x="21" y="2"/>
                    </a:cubicBezTo>
                    <a:cubicBezTo>
                      <a:pt x="21" y="2"/>
                      <a:pt x="21" y="2"/>
                      <a:pt x="21" y="2"/>
                    </a:cubicBezTo>
                    <a:cubicBezTo>
                      <a:pt x="21" y="2"/>
                      <a:pt x="20" y="4"/>
                      <a:pt x="19" y="4"/>
                    </a:cubicBezTo>
                    <a:cubicBezTo>
                      <a:pt x="19" y="4"/>
                      <a:pt x="19" y="4"/>
                      <a:pt x="19" y="4"/>
                    </a:cubicBezTo>
                    <a:cubicBezTo>
                      <a:pt x="18" y="4"/>
                      <a:pt x="19" y="3"/>
                      <a:pt x="18" y="3"/>
                    </a:cubicBezTo>
                    <a:cubicBezTo>
                      <a:pt x="15" y="2"/>
                      <a:pt x="9"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Freeform 1223"/>
              <p:cNvSpPr/>
              <p:nvPr/>
            </p:nvSpPr>
            <p:spPr bwMode="auto">
              <a:xfrm>
                <a:off x="2138" y="1603"/>
                <a:ext cx="49" cy="26"/>
              </a:xfrm>
              <a:custGeom>
                <a:gdLst>
                  <a:gd name="T0" fmla="*/ 17 w 21"/>
                  <a:gd name="T1" fmla="*/ 0 h 11"/>
                  <a:gd name="T2" fmla="*/ 14 w 21"/>
                  <a:gd name="T3" fmla="*/ 2 h 11"/>
                  <a:gd name="T4" fmla="*/ 14 w 21"/>
                  <a:gd name="T5" fmla="*/ 2 h 11"/>
                  <a:gd name="T6" fmla="*/ 13 w 21"/>
                  <a:gd name="T7" fmla="*/ 1 h 11"/>
                  <a:gd name="T8" fmla="*/ 13 w 21"/>
                  <a:gd name="T9" fmla="*/ 1 h 11"/>
                  <a:gd name="T10" fmla="*/ 13 w 21"/>
                  <a:gd name="T11" fmla="*/ 1 h 11"/>
                  <a:gd name="T12" fmla="*/ 12 w 21"/>
                  <a:gd name="T13" fmla="*/ 3 h 11"/>
                  <a:gd name="T14" fmla="*/ 10 w 21"/>
                  <a:gd name="T15" fmla="*/ 5 h 11"/>
                  <a:gd name="T16" fmla="*/ 10 w 21"/>
                  <a:gd name="T17" fmla="*/ 5 h 11"/>
                  <a:gd name="T18" fmla="*/ 9 w 21"/>
                  <a:gd name="T19" fmla="*/ 2 h 11"/>
                  <a:gd name="T20" fmla="*/ 5 w 21"/>
                  <a:gd name="T21" fmla="*/ 2 h 11"/>
                  <a:gd name="T22" fmla="*/ 0 w 21"/>
                  <a:gd name="T23" fmla="*/ 10 h 11"/>
                  <a:gd name="T24" fmla="*/ 6 w 21"/>
                  <a:gd name="T25" fmla="*/ 11 h 11"/>
                  <a:gd name="T26" fmla="*/ 8 w 21"/>
                  <a:gd name="T27" fmla="*/ 11 h 11"/>
                  <a:gd name="T28" fmla="*/ 11 w 21"/>
                  <a:gd name="T29" fmla="*/ 11 h 11"/>
                  <a:gd name="T30" fmla="*/ 11 w 21"/>
                  <a:gd name="T31" fmla="*/ 9 h 11"/>
                  <a:gd name="T32" fmla="*/ 11 w 21"/>
                  <a:gd name="T33" fmla="*/ 9 h 11"/>
                  <a:gd name="T34" fmla="*/ 11 w 21"/>
                  <a:gd name="T35" fmla="*/ 8 h 11"/>
                  <a:gd name="T36" fmla="*/ 14 w 21"/>
                  <a:gd name="T37" fmla="*/ 7 h 11"/>
                  <a:gd name="T38" fmla="*/ 21 w 21"/>
                  <a:gd name="T39" fmla="*/ 1 h 11"/>
                  <a:gd name="T40" fmla="*/ 17 w 21"/>
                  <a:gd name="T41"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1">
                    <a:moveTo>
                      <a:pt x="17" y="0"/>
                    </a:moveTo>
                    <a:cubicBezTo>
                      <a:pt x="16" y="0"/>
                      <a:pt x="15" y="1"/>
                      <a:pt x="14" y="2"/>
                    </a:cubicBezTo>
                    <a:cubicBezTo>
                      <a:pt x="14" y="2"/>
                      <a:pt x="14" y="2"/>
                      <a:pt x="14" y="2"/>
                    </a:cubicBezTo>
                    <a:cubicBezTo>
                      <a:pt x="14" y="2"/>
                      <a:pt x="13" y="2"/>
                      <a:pt x="13" y="1"/>
                    </a:cubicBezTo>
                    <a:cubicBezTo>
                      <a:pt x="13" y="1"/>
                      <a:pt x="13" y="1"/>
                      <a:pt x="13" y="1"/>
                    </a:cubicBezTo>
                    <a:cubicBezTo>
                      <a:pt x="13" y="1"/>
                      <a:pt x="13" y="1"/>
                      <a:pt x="13" y="1"/>
                    </a:cubicBezTo>
                    <a:cubicBezTo>
                      <a:pt x="12" y="2"/>
                      <a:pt x="13" y="3"/>
                      <a:pt x="12" y="3"/>
                    </a:cubicBezTo>
                    <a:cubicBezTo>
                      <a:pt x="11" y="4"/>
                      <a:pt x="11" y="5"/>
                      <a:pt x="10" y="5"/>
                    </a:cubicBezTo>
                    <a:cubicBezTo>
                      <a:pt x="10" y="5"/>
                      <a:pt x="10" y="5"/>
                      <a:pt x="10" y="5"/>
                    </a:cubicBezTo>
                    <a:cubicBezTo>
                      <a:pt x="7" y="5"/>
                      <a:pt x="11" y="2"/>
                      <a:pt x="9" y="2"/>
                    </a:cubicBezTo>
                    <a:cubicBezTo>
                      <a:pt x="8" y="2"/>
                      <a:pt x="7" y="2"/>
                      <a:pt x="5" y="2"/>
                    </a:cubicBezTo>
                    <a:cubicBezTo>
                      <a:pt x="11" y="6"/>
                      <a:pt x="3" y="8"/>
                      <a:pt x="0" y="10"/>
                    </a:cubicBezTo>
                    <a:cubicBezTo>
                      <a:pt x="2" y="11"/>
                      <a:pt x="5" y="11"/>
                      <a:pt x="6" y="11"/>
                    </a:cubicBezTo>
                    <a:cubicBezTo>
                      <a:pt x="7" y="11"/>
                      <a:pt x="8" y="11"/>
                      <a:pt x="8" y="11"/>
                    </a:cubicBezTo>
                    <a:cubicBezTo>
                      <a:pt x="9" y="11"/>
                      <a:pt x="10" y="11"/>
                      <a:pt x="11" y="11"/>
                    </a:cubicBezTo>
                    <a:cubicBezTo>
                      <a:pt x="11" y="10"/>
                      <a:pt x="11" y="9"/>
                      <a:pt x="11" y="9"/>
                    </a:cubicBezTo>
                    <a:cubicBezTo>
                      <a:pt x="11" y="9"/>
                      <a:pt x="11" y="9"/>
                      <a:pt x="11" y="9"/>
                    </a:cubicBezTo>
                    <a:cubicBezTo>
                      <a:pt x="11" y="9"/>
                      <a:pt x="11" y="8"/>
                      <a:pt x="11" y="8"/>
                    </a:cubicBezTo>
                    <a:cubicBezTo>
                      <a:pt x="12" y="7"/>
                      <a:pt x="13" y="7"/>
                      <a:pt x="14" y="7"/>
                    </a:cubicBezTo>
                    <a:cubicBezTo>
                      <a:pt x="16" y="6"/>
                      <a:pt x="19" y="3"/>
                      <a:pt x="21" y="1"/>
                    </a:cubicBezTo>
                    <a:cubicBezTo>
                      <a:pt x="19" y="1"/>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3" name="Freeform 1224"/>
              <p:cNvSpPr/>
              <p:nvPr/>
            </p:nvSpPr>
            <p:spPr bwMode="auto">
              <a:xfrm>
                <a:off x="502" y="1177"/>
                <a:ext cx="33" cy="26"/>
              </a:xfrm>
              <a:custGeom>
                <a:gdLst>
                  <a:gd name="T0" fmla="*/ 7 w 14"/>
                  <a:gd name="T1" fmla="*/ 0 h 11"/>
                  <a:gd name="T2" fmla="*/ 6 w 14"/>
                  <a:gd name="T3" fmla="*/ 1 h 11"/>
                  <a:gd name="T4" fmla="*/ 14 w 14"/>
                  <a:gd name="T5" fmla="*/ 11 h 11"/>
                  <a:gd name="T6" fmla="*/ 9 w 14"/>
                  <a:gd name="T7" fmla="*/ 2 h 11"/>
                  <a:gd name="T8" fmla="*/ 7 w 14"/>
                  <a:gd name="T9" fmla="*/ 0 h 11"/>
                </a:gdLst>
                <a:cxnLst>
                  <a:cxn ang="0">
                    <a:pos x="T0" y="T1"/>
                  </a:cxn>
                  <a:cxn ang="0">
                    <a:pos x="T2" y="T3"/>
                  </a:cxn>
                  <a:cxn ang="0">
                    <a:pos x="T4" y="T5"/>
                  </a:cxn>
                  <a:cxn ang="0">
                    <a:pos x="T6" y="T7"/>
                  </a:cxn>
                  <a:cxn ang="0">
                    <a:pos x="T8" y="T9"/>
                  </a:cxn>
                </a:cxnLst>
                <a:rect l="0" t="0" r="r" b="b"/>
                <a:pathLst>
                  <a:path w="14" h="11">
                    <a:moveTo>
                      <a:pt x="7" y="0"/>
                    </a:moveTo>
                    <a:cubicBezTo>
                      <a:pt x="6" y="0"/>
                      <a:pt x="6" y="0"/>
                      <a:pt x="6" y="1"/>
                    </a:cubicBezTo>
                    <a:cubicBezTo>
                      <a:pt x="0" y="5"/>
                      <a:pt x="13" y="10"/>
                      <a:pt x="14" y="11"/>
                    </a:cubicBezTo>
                    <a:cubicBezTo>
                      <a:pt x="13" y="9"/>
                      <a:pt x="10" y="3"/>
                      <a:pt x="9" y="2"/>
                    </a:cubicBezTo>
                    <a:cubicBezTo>
                      <a:pt x="8" y="1"/>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Freeform 1225"/>
              <p:cNvSpPr/>
              <p:nvPr/>
            </p:nvSpPr>
            <p:spPr bwMode="auto">
              <a:xfrm>
                <a:off x="1752" y="757"/>
                <a:ext cx="8" cy="9"/>
              </a:xfrm>
              <a:custGeom>
                <a:gdLst>
                  <a:gd name="T0" fmla="*/ 0 w 3"/>
                  <a:gd name="T1" fmla="*/ 0 h 4"/>
                  <a:gd name="T2" fmla="*/ 1 w 3"/>
                  <a:gd name="T3" fmla="*/ 3 h 4"/>
                  <a:gd name="T4" fmla="*/ 1 w 3"/>
                  <a:gd name="T5" fmla="*/ 3 h 4"/>
                  <a:gd name="T6" fmla="*/ 2 w 3"/>
                  <a:gd name="T7" fmla="*/ 4 h 4"/>
                  <a:gd name="T8" fmla="*/ 3 w 3"/>
                  <a:gd name="T9" fmla="*/ 4 h 4"/>
                  <a:gd name="T10" fmla="*/ 0 w 3"/>
                  <a:gd name="T11" fmla="*/ 0 h 4"/>
                </a:gdLst>
                <a:cxnLst>
                  <a:cxn ang="0">
                    <a:pos x="T0" y="T1"/>
                  </a:cxn>
                  <a:cxn ang="0">
                    <a:pos x="T2" y="T3"/>
                  </a:cxn>
                  <a:cxn ang="0">
                    <a:pos x="T4" y="T5"/>
                  </a:cxn>
                  <a:cxn ang="0">
                    <a:pos x="T6" y="T7"/>
                  </a:cxn>
                  <a:cxn ang="0">
                    <a:pos x="T8" y="T9"/>
                  </a:cxn>
                  <a:cxn ang="0">
                    <a:pos x="T10" y="T11"/>
                  </a:cxn>
                </a:cxnLst>
                <a:rect l="0" t="0" r="r" b="b"/>
                <a:pathLst>
                  <a:path w="3" h="4">
                    <a:moveTo>
                      <a:pt x="0" y="0"/>
                    </a:moveTo>
                    <a:cubicBezTo>
                      <a:pt x="0" y="1"/>
                      <a:pt x="1" y="2"/>
                      <a:pt x="1" y="3"/>
                    </a:cubicBezTo>
                    <a:cubicBezTo>
                      <a:pt x="1" y="3"/>
                      <a:pt x="1" y="3"/>
                      <a:pt x="1" y="3"/>
                    </a:cubicBezTo>
                    <a:cubicBezTo>
                      <a:pt x="2" y="4"/>
                      <a:pt x="2" y="4"/>
                      <a:pt x="2" y="4"/>
                    </a:cubicBezTo>
                    <a:cubicBezTo>
                      <a:pt x="2" y="4"/>
                      <a:pt x="3" y="4"/>
                      <a:pt x="3" y="4"/>
                    </a:cubicBezTo>
                    <a:cubicBezTo>
                      <a:pt x="3" y="3"/>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Freeform 1226"/>
              <p:cNvSpPr/>
              <p:nvPr/>
            </p:nvSpPr>
            <p:spPr bwMode="auto">
              <a:xfrm>
                <a:off x="3128" y="1546"/>
                <a:ext cx="97" cy="73"/>
              </a:xfrm>
              <a:custGeom>
                <a:gdLst>
                  <a:gd name="T0" fmla="*/ 30 w 41"/>
                  <a:gd name="T1" fmla="*/ 0 h 31"/>
                  <a:gd name="T2" fmla="*/ 19 w 41"/>
                  <a:gd name="T3" fmla="*/ 2 h 31"/>
                  <a:gd name="T4" fmla="*/ 6 w 41"/>
                  <a:gd name="T5" fmla="*/ 15 h 31"/>
                  <a:gd name="T6" fmla="*/ 0 w 41"/>
                  <a:gd name="T7" fmla="*/ 31 h 31"/>
                  <a:gd name="T8" fmla="*/ 3 w 41"/>
                  <a:gd name="T9" fmla="*/ 30 h 31"/>
                  <a:gd name="T10" fmla="*/ 9 w 41"/>
                  <a:gd name="T11" fmla="*/ 30 h 31"/>
                  <a:gd name="T12" fmla="*/ 12 w 41"/>
                  <a:gd name="T13" fmla="*/ 30 h 31"/>
                  <a:gd name="T14" fmla="*/ 19 w 41"/>
                  <a:gd name="T15" fmla="*/ 31 h 31"/>
                  <a:gd name="T16" fmla="*/ 23 w 41"/>
                  <a:gd name="T17" fmla="*/ 30 h 31"/>
                  <a:gd name="T18" fmla="*/ 28 w 41"/>
                  <a:gd name="T19" fmla="*/ 25 h 31"/>
                  <a:gd name="T20" fmla="*/ 31 w 41"/>
                  <a:gd name="T21" fmla="*/ 23 h 31"/>
                  <a:gd name="T22" fmla="*/ 36 w 41"/>
                  <a:gd name="T23" fmla="*/ 20 h 31"/>
                  <a:gd name="T24" fmla="*/ 36 w 41"/>
                  <a:gd name="T25" fmla="*/ 17 h 31"/>
                  <a:gd name="T26" fmla="*/ 39 w 41"/>
                  <a:gd name="T27" fmla="*/ 14 h 31"/>
                  <a:gd name="T28" fmla="*/ 39 w 41"/>
                  <a:gd name="T29" fmla="*/ 11 h 31"/>
                  <a:gd name="T30" fmla="*/ 40 w 41"/>
                  <a:gd name="T31" fmla="*/ 7 h 31"/>
                  <a:gd name="T32" fmla="*/ 36 w 41"/>
                  <a:gd name="T33" fmla="*/ 4 h 31"/>
                  <a:gd name="T34" fmla="*/ 30 w 41"/>
                  <a:gd name="T35" fmla="*/ 0 h 31"/>
                  <a:gd name="T36" fmla="*/ 30 w 41"/>
                  <a:gd name="T37"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31">
                    <a:moveTo>
                      <a:pt x="30" y="0"/>
                    </a:moveTo>
                    <a:cubicBezTo>
                      <a:pt x="27" y="0"/>
                      <a:pt x="22" y="1"/>
                      <a:pt x="19" y="2"/>
                    </a:cubicBezTo>
                    <a:cubicBezTo>
                      <a:pt x="13" y="6"/>
                      <a:pt x="10" y="8"/>
                      <a:pt x="6" y="15"/>
                    </a:cubicBezTo>
                    <a:cubicBezTo>
                      <a:pt x="4" y="20"/>
                      <a:pt x="1" y="26"/>
                      <a:pt x="0" y="31"/>
                    </a:cubicBezTo>
                    <a:cubicBezTo>
                      <a:pt x="1" y="31"/>
                      <a:pt x="2" y="30"/>
                      <a:pt x="3" y="30"/>
                    </a:cubicBezTo>
                    <a:cubicBezTo>
                      <a:pt x="5" y="30"/>
                      <a:pt x="7" y="30"/>
                      <a:pt x="9" y="30"/>
                    </a:cubicBezTo>
                    <a:cubicBezTo>
                      <a:pt x="10" y="30"/>
                      <a:pt x="11" y="30"/>
                      <a:pt x="12" y="30"/>
                    </a:cubicBezTo>
                    <a:cubicBezTo>
                      <a:pt x="14" y="30"/>
                      <a:pt x="17" y="31"/>
                      <a:pt x="19" y="31"/>
                    </a:cubicBezTo>
                    <a:cubicBezTo>
                      <a:pt x="20" y="31"/>
                      <a:pt x="21" y="30"/>
                      <a:pt x="23" y="30"/>
                    </a:cubicBezTo>
                    <a:cubicBezTo>
                      <a:pt x="24" y="29"/>
                      <a:pt x="26" y="27"/>
                      <a:pt x="28" y="25"/>
                    </a:cubicBezTo>
                    <a:cubicBezTo>
                      <a:pt x="29" y="24"/>
                      <a:pt x="29" y="24"/>
                      <a:pt x="31" y="23"/>
                    </a:cubicBezTo>
                    <a:cubicBezTo>
                      <a:pt x="32" y="22"/>
                      <a:pt x="35" y="23"/>
                      <a:pt x="36" y="20"/>
                    </a:cubicBezTo>
                    <a:cubicBezTo>
                      <a:pt x="37" y="20"/>
                      <a:pt x="36" y="18"/>
                      <a:pt x="36" y="17"/>
                    </a:cubicBezTo>
                    <a:cubicBezTo>
                      <a:pt x="36" y="15"/>
                      <a:pt x="38" y="15"/>
                      <a:pt x="39" y="14"/>
                    </a:cubicBezTo>
                    <a:cubicBezTo>
                      <a:pt x="39" y="13"/>
                      <a:pt x="38" y="12"/>
                      <a:pt x="39" y="11"/>
                    </a:cubicBezTo>
                    <a:cubicBezTo>
                      <a:pt x="40" y="10"/>
                      <a:pt x="41" y="8"/>
                      <a:pt x="40" y="7"/>
                    </a:cubicBezTo>
                    <a:cubicBezTo>
                      <a:pt x="39" y="5"/>
                      <a:pt x="37" y="5"/>
                      <a:pt x="36" y="4"/>
                    </a:cubicBezTo>
                    <a:cubicBezTo>
                      <a:pt x="34" y="1"/>
                      <a:pt x="34" y="0"/>
                      <a:pt x="30" y="0"/>
                    </a:cubicBez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Freeform 1227"/>
              <p:cNvSpPr/>
              <p:nvPr/>
            </p:nvSpPr>
            <p:spPr bwMode="auto">
              <a:xfrm>
                <a:off x="2880" y="1463"/>
                <a:ext cx="42" cy="50"/>
              </a:xfrm>
              <a:custGeom>
                <a:gdLst>
                  <a:gd name="T0" fmla="*/ 3 w 18"/>
                  <a:gd name="T1" fmla="*/ 0 h 21"/>
                  <a:gd name="T2" fmla="*/ 5 w 18"/>
                  <a:gd name="T3" fmla="*/ 9 h 21"/>
                  <a:gd name="T4" fmla="*/ 4 w 18"/>
                  <a:gd name="T5" fmla="*/ 9 h 21"/>
                  <a:gd name="T6" fmla="*/ 2 w 18"/>
                  <a:gd name="T7" fmla="*/ 20 h 21"/>
                  <a:gd name="T8" fmla="*/ 5 w 18"/>
                  <a:gd name="T9" fmla="*/ 21 h 21"/>
                  <a:gd name="T10" fmla="*/ 12 w 18"/>
                  <a:gd name="T11" fmla="*/ 14 h 21"/>
                  <a:gd name="T12" fmla="*/ 12 w 18"/>
                  <a:gd name="T13" fmla="*/ 14 h 21"/>
                  <a:gd name="T14" fmla="*/ 3 w 18"/>
                  <a:gd name="T15" fmla="*/ 0 h 2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3" y="0"/>
                    </a:moveTo>
                    <a:cubicBezTo>
                      <a:pt x="2" y="4"/>
                      <a:pt x="2" y="8"/>
                      <a:pt x="5" y="9"/>
                    </a:cubicBezTo>
                    <a:cubicBezTo>
                      <a:pt x="5" y="9"/>
                      <a:pt x="5" y="9"/>
                      <a:pt x="4" y="9"/>
                    </a:cubicBezTo>
                    <a:cubicBezTo>
                      <a:pt x="0" y="9"/>
                      <a:pt x="0" y="17"/>
                      <a:pt x="2" y="20"/>
                    </a:cubicBezTo>
                    <a:cubicBezTo>
                      <a:pt x="3" y="21"/>
                      <a:pt x="4" y="21"/>
                      <a:pt x="5" y="21"/>
                    </a:cubicBezTo>
                    <a:cubicBezTo>
                      <a:pt x="8" y="21"/>
                      <a:pt x="11" y="17"/>
                      <a:pt x="12" y="14"/>
                    </a:cubicBezTo>
                    <a:cubicBezTo>
                      <a:pt x="12" y="14"/>
                      <a:pt x="12" y="14"/>
                      <a:pt x="12" y="14"/>
                    </a:cubicBezTo>
                    <a:cubicBezTo>
                      <a:pt x="18" y="14"/>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Freeform 1228"/>
              <p:cNvSpPr/>
              <p:nvPr/>
            </p:nvSpPr>
            <p:spPr bwMode="auto">
              <a:xfrm>
                <a:off x="1415" y="1511"/>
                <a:ext cx="99" cy="23"/>
              </a:xfrm>
              <a:custGeom>
                <a:gdLst>
                  <a:gd name="T0" fmla="*/ 16 w 42"/>
                  <a:gd name="T1" fmla="*/ 0 h 10"/>
                  <a:gd name="T2" fmla="*/ 2 w 42"/>
                  <a:gd name="T3" fmla="*/ 6 h 10"/>
                  <a:gd name="T4" fmla="*/ 5 w 42"/>
                  <a:gd name="T5" fmla="*/ 9 h 10"/>
                  <a:gd name="T6" fmla="*/ 14 w 42"/>
                  <a:gd name="T7" fmla="*/ 10 h 10"/>
                  <a:gd name="T8" fmla="*/ 42 w 42"/>
                  <a:gd name="T9" fmla="*/ 3 h 10"/>
                  <a:gd name="T10" fmla="*/ 34 w 42"/>
                  <a:gd name="T11" fmla="*/ 0 h 10"/>
                  <a:gd name="T12" fmla="*/ 28 w 42"/>
                  <a:gd name="T13" fmla="*/ 1 h 10"/>
                  <a:gd name="T14" fmla="*/ 16 w 42"/>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0">
                    <a:moveTo>
                      <a:pt x="16" y="0"/>
                    </a:moveTo>
                    <a:cubicBezTo>
                      <a:pt x="10" y="0"/>
                      <a:pt x="4" y="1"/>
                      <a:pt x="2" y="6"/>
                    </a:cubicBezTo>
                    <a:cubicBezTo>
                      <a:pt x="0" y="10"/>
                      <a:pt x="2" y="8"/>
                      <a:pt x="5" y="9"/>
                    </a:cubicBezTo>
                    <a:cubicBezTo>
                      <a:pt x="8" y="10"/>
                      <a:pt x="11" y="10"/>
                      <a:pt x="14" y="10"/>
                    </a:cubicBezTo>
                    <a:cubicBezTo>
                      <a:pt x="24" y="10"/>
                      <a:pt x="33" y="7"/>
                      <a:pt x="42" y="3"/>
                    </a:cubicBezTo>
                    <a:cubicBezTo>
                      <a:pt x="39" y="1"/>
                      <a:pt x="37" y="0"/>
                      <a:pt x="34" y="0"/>
                    </a:cubicBezTo>
                    <a:cubicBezTo>
                      <a:pt x="32" y="0"/>
                      <a:pt x="30" y="1"/>
                      <a:pt x="28" y="1"/>
                    </a:cubicBezTo>
                    <a:cubicBezTo>
                      <a:pt x="25" y="1"/>
                      <a:pt x="20"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1229"/>
              <p:cNvSpPr/>
              <p:nvPr/>
            </p:nvSpPr>
            <p:spPr bwMode="auto">
              <a:xfrm>
                <a:off x="2809" y="1402"/>
                <a:ext cx="12" cy="24"/>
              </a:xfrm>
              <a:custGeom>
                <a:gdLst>
                  <a:gd name="T0" fmla="*/ 5 w 5"/>
                  <a:gd name="T1" fmla="*/ 0 h 10"/>
                  <a:gd name="T2" fmla="*/ 0 w 5"/>
                  <a:gd name="T3" fmla="*/ 10 h 10"/>
                  <a:gd name="T4" fmla="*/ 5 w 5"/>
                  <a:gd name="T5" fmla="*/ 0 h 10"/>
                </a:gdLst>
                <a:cxnLst>
                  <a:cxn ang="0">
                    <a:pos x="T0" y="T1"/>
                  </a:cxn>
                  <a:cxn ang="0">
                    <a:pos x="T2" y="T3"/>
                  </a:cxn>
                  <a:cxn ang="0">
                    <a:pos x="T4" y="T5"/>
                  </a:cxn>
                </a:cxnLst>
                <a:rect l="0" t="0" r="r" b="b"/>
                <a:pathLst>
                  <a:path w="5" h="10">
                    <a:moveTo>
                      <a:pt x="5" y="0"/>
                    </a:moveTo>
                    <a:cubicBezTo>
                      <a:pt x="2" y="0"/>
                      <a:pt x="0" y="8"/>
                      <a:pt x="0" y="10"/>
                    </a:cubicBezTo>
                    <a:cubicBezTo>
                      <a:pt x="2" y="7"/>
                      <a:pt x="3"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Freeform 1230"/>
              <p:cNvSpPr/>
              <p:nvPr/>
            </p:nvSpPr>
            <p:spPr bwMode="auto">
              <a:xfrm>
                <a:off x="2797" y="1428"/>
                <a:ext cx="12" cy="24"/>
              </a:xfrm>
              <a:custGeom>
                <a:gdLst>
                  <a:gd name="T0" fmla="*/ 5 w 5"/>
                  <a:gd name="T1" fmla="*/ 0 h 10"/>
                  <a:gd name="T2" fmla="*/ 0 w 5"/>
                  <a:gd name="T3" fmla="*/ 10 h 10"/>
                  <a:gd name="T4" fmla="*/ 5 w 5"/>
                  <a:gd name="T5" fmla="*/ 0 h 10"/>
                  <a:gd name="T6" fmla="*/ 5 w 5"/>
                  <a:gd name="T7" fmla="*/ 0 h 10"/>
                </a:gdLst>
                <a:cxnLst>
                  <a:cxn ang="0">
                    <a:pos x="T0" y="T1"/>
                  </a:cxn>
                  <a:cxn ang="0">
                    <a:pos x="T2" y="T3"/>
                  </a:cxn>
                  <a:cxn ang="0">
                    <a:pos x="T4" y="T5"/>
                  </a:cxn>
                  <a:cxn ang="0">
                    <a:pos x="T6" y="T7"/>
                  </a:cxn>
                </a:cxnLst>
                <a:rect l="0" t="0" r="r" b="b"/>
                <a:pathLst>
                  <a:path w="5" h="10">
                    <a:moveTo>
                      <a:pt x="5" y="0"/>
                    </a:moveTo>
                    <a:cubicBezTo>
                      <a:pt x="3" y="0"/>
                      <a:pt x="1" y="8"/>
                      <a:pt x="0" y="10"/>
                    </a:cubicBezTo>
                    <a:cubicBezTo>
                      <a:pt x="2" y="7"/>
                      <a:pt x="4" y="3"/>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1231"/>
              <p:cNvSpPr/>
              <p:nvPr/>
            </p:nvSpPr>
            <p:spPr bwMode="auto">
              <a:xfrm>
                <a:off x="1899" y="1593"/>
                <a:ext cx="227" cy="62"/>
              </a:xfrm>
              <a:custGeom>
                <a:gdLst>
                  <a:gd name="T0" fmla="*/ 91 w 96"/>
                  <a:gd name="T1" fmla="*/ 0 h 26"/>
                  <a:gd name="T2" fmla="*/ 93 w 96"/>
                  <a:gd name="T3" fmla="*/ 4 h 26"/>
                  <a:gd name="T4" fmla="*/ 80 w 96"/>
                  <a:gd name="T5" fmla="*/ 13 h 26"/>
                  <a:gd name="T6" fmla="*/ 80 w 96"/>
                  <a:gd name="T7" fmla="*/ 16 h 26"/>
                  <a:gd name="T8" fmla="*/ 76 w 96"/>
                  <a:gd name="T9" fmla="*/ 17 h 26"/>
                  <a:gd name="T10" fmla="*/ 72 w 96"/>
                  <a:gd name="T11" fmla="*/ 16 h 26"/>
                  <a:gd name="T12" fmla="*/ 59 w 96"/>
                  <a:gd name="T13" fmla="*/ 12 h 26"/>
                  <a:gd name="T14" fmla="*/ 55 w 96"/>
                  <a:gd name="T15" fmla="*/ 12 h 26"/>
                  <a:gd name="T16" fmla="*/ 51 w 96"/>
                  <a:gd name="T17" fmla="*/ 16 h 26"/>
                  <a:gd name="T18" fmla="*/ 51 w 96"/>
                  <a:gd name="T19" fmla="*/ 16 h 26"/>
                  <a:gd name="T20" fmla="*/ 40 w 96"/>
                  <a:gd name="T21" fmla="*/ 10 h 26"/>
                  <a:gd name="T22" fmla="*/ 23 w 96"/>
                  <a:gd name="T23" fmla="*/ 8 h 26"/>
                  <a:gd name="T24" fmla="*/ 17 w 96"/>
                  <a:gd name="T25" fmla="*/ 8 h 26"/>
                  <a:gd name="T26" fmla="*/ 2 w 96"/>
                  <a:gd name="T27" fmla="*/ 15 h 26"/>
                  <a:gd name="T28" fmla="*/ 12 w 96"/>
                  <a:gd name="T29" fmla="*/ 23 h 26"/>
                  <a:gd name="T30" fmla="*/ 16 w 96"/>
                  <a:gd name="T31" fmla="*/ 22 h 26"/>
                  <a:gd name="T32" fmla="*/ 27 w 96"/>
                  <a:gd name="T33" fmla="*/ 22 h 26"/>
                  <a:gd name="T34" fmla="*/ 31 w 96"/>
                  <a:gd name="T35" fmla="*/ 22 h 26"/>
                  <a:gd name="T36" fmla="*/ 35 w 96"/>
                  <a:gd name="T37" fmla="*/ 26 h 26"/>
                  <a:gd name="T38" fmla="*/ 37 w 96"/>
                  <a:gd name="T39" fmla="*/ 26 h 26"/>
                  <a:gd name="T40" fmla="*/ 47 w 96"/>
                  <a:gd name="T41" fmla="*/ 22 h 26"/>
                  <a:gd name="T42" fmla="*/ 48 w 96"/>
                  <a:gd name="T43" fmla="*/ 22 h 26"/>
                  <a:gd name="T44" fmla="*/ 52 w 96"/>
                  <a:gd name="T45" fmla="*/ 23 h 26"/>
                  <a:gd name="T46" fmla="*/ 56 w 96"/>
                  <a:gd name="T47" fmla="*/ 25 h 26"/>
                  <a:gd name="T48" fmla="*/ 56 w 96"/>
                  <a:gd name="T49" fmla="*/ 25 h 26"/>
                  <a:gd name="T50" fmla="*/ 66 w 96"/>
                  <a:gd name="T51" fmla="*/ 22 h 26"/>
                  <a:gd name="T52" fmla="*/ 82 w 96"/>
                  <a:gd name="T53" fmla="*/ 18 h 26"/>
                  <a:gd name="T54" fmla="*/ 89 w 96"/>
                  <a:gd name="T55" fmla="*/ 16 h 26"/>
                  <a:gd name="T56" fmla="*/ 91 w 96"/>
                  <a:gd name="T57" fmla="*/ 13 h 26"/>
                  <a:gd name="T58" fmla="*/ 94 w 96"/>
                  <a:gd name="T59" fmla="*/ 9 h 26"/>
                  <a:gd name="T60" fmla="*/ 94 w 96"/>
                  <a:gd name="T61" fmla="*/ 9 h 26"/>
                  <a:gd name="T62" fmla="*/ 96 w 96"/>
                  <a:gd name="T63" fmla="*/ 8 h 26"/>
                  <a:gd name="T64" fmla="*/ 91 w 96"/>
                  <a:gd name="T65"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26">
                    <a:moveTo>
                      <a:pt x="91" y="0"/>
                    </a:moveTo>
                    <a:cubicBezTo>
                      <a:pt x="91" y="2"/>
                      <a:pt x="92" y="4"/>
                      <a:pt x="93" y="4"/>
                    </a:cubicBezTo>
                    <a:cubicBezTo>
                      <a:pt x="89" y="7"/>
                      <a:pt x="83" y="9"/>
                      <a:pt x="80" y="13"/>
                    </a:cubicBezTo>
                    <a:cubicBezTo>
                      <a:pt x="80" y="14"/>
                      <a:pt x="81" y="15"/>
                      <a:pt x="80" y="16"/>
                    </a:cubicBezTo>
                    <a:cubicBezTo>
                      <a:pt x="79" y="17"/>
                      <a:pt x="78" y="17"/>
                      <a:pt x="76" y="17"/>
                    </a:cubicBezTo>
                    <a:cubicBezTo>
                      <a:pt x="75" y="17"/>
                      <a:pt x="73" y="16"/>
                      <a:pt x="72" y="16"/>
                    </a:cubicBezTo>
                    <a:cubicBezTo>
                      <a:pt x="68" y="14"/>
                      <a:pt x="63" y="12"/>
                      <a:pt x="59" y="12"/>
                    </a:cubicBezTo>
                    <a:cubicBezTo>
                      <a:pt x="57" y="12"/>
                      <a:pt x="56" y="12"/>
                      <a:pt x="55" y="12"/>
                    </a:cubicBezTo>
                    <a:cubicBezTo>
                      <a:pt x="54" y="13"/>
                      <a:pt x="53" y="16"/>
                      <a:pt x="51" y="16"/>
                    </a:cubicBezTo>
                    <a:cubicBezTo>
                      <a:pt x="51" y="16"/>
                      <a:pt x="51" y="16"/>
                      <a:pt x="51" y="16"/>
                    </a:cubicBezTo>
                    <a:cubicBezTo>
                      <a:pt x="47" y="14"/>
                      <a:pt x="44" y="12"/>
                      <a:pt x="40" y="10"/>
                    </a:cubicBezTo>
                    <a:cubicBezTo>
                      <a:pt x="34" y="8"/>
                      <a:pt x="29" y="8"/>
                      <a:pt x="23" y="8"/>
                    </a:cubicBezTo>
                    <a:cubicBezTo>
                      <a:pt x="21" y="8"/>
                      <a:pt x="19" y="8"/>
                      <a:pt x="17" y="8"/>
                    </a:cubicBezTo>
                    <a:cubicBezTo>
                      <a:pt x="10" y="8"/>
                      <a:pt x="3" y="9"/>
                      <a:pt x="2" y="15"/>
                    </a:cubicBezTo>
                    <a:cubicBezTo>
                      <a:pt x="0" y="22"/>
                      <a:pt x="6" y="23"/>
                      <a:pt x="12" y="23"/>
                    </a:cubicBezTo>
                    <a:cubicBezTo>
                      <a:pt x="13" y="23"/>
                      <a:pt x="15" y="22"/>
                      <a:pt x="16" y="22"/>
                    </a:cubicBezTo>
                    <a:cubicBezTo>
                      <a:pt x="19" y="22"/>
                      <a:pt x="23" y="22"/>
                      <a:pt x="27" y="22"/>
                    </a:cubicBezTo>
                    <a:cubicBezTo>
                      <a:pt x="28" y="22"/>
                      <a:pt x="30" y="22"/>
                      <a:pt x="31" y="22"/>
                    </a:cubicBezTo>
                    <a:cubicBezTo>
                      <a:pt x="33" y="23"/>
                      <a:pt x="33" y="25"/>
                      <a:pt x="35" y="26"/>
                    </a:cubicBezTo>
                    <a:cubicBezTo>
                      <a:pt x="36" y="26"/>
                      <a:pt x="36" y="26"/>
                      <a:pt x="37" y="26"/>
                    </a:cubicBezTo>
                    <a:cubicBezTo>
                      <a:pt x="40" y="26"/>
                      <a:pt x="44" y="23"/>
                      <a:pt x="47" y="22"/>
                    </a:cubicBezTo>
                    <a:cubicBezTo>
                      <a:pt x="47" y="22"/>
                      <a:pt x="48" y="22"/>
                      <a:pt x="48" y="22"/>
                    </a:cubicBezTo>
                    <a:cubicBezTo>
                      <a:pt x="49" y="22"/>
                      <a:pt x="51" y="23"/>
                      <a:pt x="52" y="23"/>
                    </a:cubicBezTo>
                    <a:cubicBezTo>
                      <a:pt x="53" y="24"/>
                      <a:pt x="55" y="25"/>
                      <a:pt x="56" y="25"/>
                    </a:cubicBezTo>
                    <a:cubicBezTo>
                      <a:pt x="56" y="25"/>
                      <a:pt x="56" y="25"/>
                      <a:pt x="56" y="25"/>
                    </a:cubicBezTo>
                    <a:cubicBezTo>
                      <a:pt x="59" y="25"/>
                      <a:pt x="63" y="23"/>
                      <a:pt x="66" y="22"/>
                    </a:cubicBezTo>
                    <a:cubicBezTo>
                      <a:pt x="71" y="21"/>
                      <a:pt x="76" y="19"/>
                      <a:pt x="82" y="18"/>
                    </a:cubicBezTo>
                    <a:cubicBezTo>
                      <a:pt x="84" y="18"/>
                      <a:pt x="87" y="17"/>
                      <a:pt x="89" y="16"/>
                    </a:cubicBezTo>
                    <a:cubicBezTo>
                      <a:pt x="90" y="15"/>
                      <a:pt x="91" y="15"/>
                      <a:pt x="91" y="13"/>
                    </a:cubicBezTo>
                    <a:cubicBezTo>
                      <a:pt x="92" y="12"/>
                      <a:pt x="94" y="9"/>
                      <a:pt x="94" y="9"/>
                    </a:cubicBezTo>
                    <a:cubicBezTo>
                      <a:pt x="94" y="9"/>
                      <a:pt x="94" y="9"/>
                      <a:pt x="94" y="9"/>
                    </a:cubicBezTo>
                    <a:cubicBezTo>
                      <a:pt x="94" y="8"/>
                      <a:pt x="95" y="8"/>
                      <a:pt x="96" y="8"/>
                    </a:cubicBezTo>
                    <a:cubicBezTo>
                      <a:pt x="96" y="6"/>
                      <a:pt x="92" y="1"/>
                      <a:pt x="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Freeform 1232"/>
              <p:cNvSpPr/>
              <p:nvPr/>
            </p:nvSpPr>
            <p:spPr bwMode="auto">
              <a:xfrm>
                <a:off x="1537" y="1593"/>
                <a:ext cx="85" cy="55"/>
              </a:xfrm>
              <a:custGeom>
                <a:gdLst>
                  <a:gd name="T0" fmla="*/ 18 w 36"/>
                  <a:gd name="T1" fmla="*/ 0 h 23"/>
                  <a:gd name="T2" fmla="*/ 0 w 36"/>
                  <a:gd name="T3" fmla="*/ 3 h 23"/>
                  <a:gd name="T4" fmla="*/ 13 w 36"/>
                  <a:gd name="T5" fmla="*/ 12 h 23"/>
                  <a:gd name="T6" fmla="*/ 18 w 36"/>
                  <a:gd name="T7" fmla="*/ 17 h 23"/>
                  <a:gd name="T8" fmla="*/ 19 w 36"/>
                  <a:gd name="T9" fmla="*/ 23 h 23"/>
                  <a:gd name="T10" fmla="*/ 19 w 36"/>
                  <a:gd name="T11" fmla="*/ 23 h 23"/>
                  <a:gd name="T12" fmla="*/ 25 w 36"/>
                  <a:gd name="T13" fmla="*/ 17 h 23"/>
                  <a:gd name="T14" fmla="*/ 36 w 36"/>
                  <a:gd name="T15" fmla="*/ 9 h 23"/>
                  <a:gd name="T16" fmla="*/ 32 w 36"/>
                  <a:gd name="T17" fmla="*/ 5 h 23"/>
                  <a:gd name="T18" fmla="*/ 18 w 36"/>
                  <a:gd name="T19"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23">
                    <a:moveTo>
                      <a:pt x="18" y="0"/>
                    </a:moveTo>
                    <a:cubicBezTo>
                      <a:pt x="12" y="0"/>
                      <a:pt x="6" y="2"/>
                      <a:pt x="0" y="3"/>
                    </a:cubicBezTo>
                    <a:cubicBezTo>
                      <a:pt x="4" y="9"/>
                      <a:pt x="5" y="10"/>
                      <a:pt x="13" y="12"/>
                    </a:cubicBezTo>
                    <a:cubicBezTo>
                      <a:pt x="14" y="12"/>
                      <a:pt x="18" y="16"/>
                      <a:pt x="18" y="17"/>
                    </a:cubicBezTo>
                    <a:cubicBezTo>
                      <a:pt x="18" y="18"/>
                      <a:pt x="18" y="23"/>
                      <a:pt x="19" y="23"/>
                    </a:cubicBezTo>
                    <a:cubicBezTo>
                      <a:pt x="19" y="23"/>
                      <a:pt x="19" y="23"/>
                      <a:pt x="19" y="23"/>
                    </a:cubicBezTo>
                    <a:cubicBezTo>
                      <a:pt x="21" y="23"/>
                      <a:pt x="23" y="18"/>
                      <a:pt x="25" y="17"/>
                    </a:cubicBezTo>
                    <a:cubicBezTo>
                      <a:pt x="27" y="15"/>
                      <a:pt x="36" y="12"/>
                      <a:pt x="36" y="9"/>
                    </a:cubicBezTo>
                    <a:cubicBezTo>
                      <a:pt x="32" y="5"/>
                      <a:pt x="32" y="5"/>
                      <a:pt x="32" y="5"/>
                    </a:cubicBezTo>
                    <a:cubicBezTo>
                      <a:pt x="28" y="2"/>
                      <a:pt x="23"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1233"/>
              <p:cNvSpPr/>
              <p:nvPr/>
            </p:nvSpPr>
            <p:spPr bwMode="auto">
              <a:xfrm>
                <a:off x="436" y="922"/>
                <a:ext cx="12" cy="5"/>
              </a:xfrm>
              <a:custGeom>
                <a:gdLst>
                  <a:gd name="T0" fmla="*/ 1 w 5"/>
                  <a:gd name="T1" fmla="*/ 0 h 2"/>
                  <a:gd name="T2" fmla="*/ 0 w 5"/>
                  <a:gd name="T3" fmla="*/ 1 h 2"/>
                  <a:gd name="T4" fmla="*/ 5 w 5"/>
                  <a:gd name="T5" fmla="*/ 2 h 2"/>
                  <a:gd name="T6" fmla="*/ 1 w 5"/>
                  <a:gd name="T7" fmla="*/ 0 h 2"/>
                </a:gdLst>
                <a:cxnLst>
                  <a:cxn ang="0">
                    <a:pos x="T0" y="T1"/>
                  </a:cxn>
                  <a:cxn ang="0">
                    <a:pos x="T2" y="T3"/>
                  </a:cxn>
                  <a:cxn ang="0">
                    <a:pos x="T4" y="T5"/>
                  </a:cxn>
                  <a:cxn ang="0">
                    <a:pos x="T6" y="T7"/>
                  </a:cxn>
                </a:cxnLst>
                <a:rect l="0" t="0" r="r" b="b"/>
                <a:pathLst>
                  <a:path w="5" h="2">
                    <a:moveTo>
                      <a:pt x="1" y="0"/>
                    </a:moveTo>
                    <a:cubicBezTo>
                      <a:pt x="1" y="0"/>
                      <a:pt x="1" y="0"/>
                      <a:pt x="0" y="1"/>
                    </a:cubicBezTo>
                    <a:cubicBezTo>
                      <a:pt x="2" y="1"/>
                      <a:pt x="3" y="2"/>
                      <a:pt x="5" y="2"/>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Freeform 1234"/>
              <p:cNvSpPr/>
              <p:nvPr/>
            </p:nvSpPr>
            <p:spPr bwMode="auto">
              <a:xfrm>
                <a:off x="1611" y="1636"/>
                <a:ext cx="4" cy="9"/>
              </a:xfrm>
              <a:custGeom>
                <a:gdLst>
                  <a:gd name="T0" fmla="*/ 0 w 2"/>
                  <a:gd name="T1" fmla="*/ 0 h 4"/>
                  <a:gd name="T2" fmla="*/ 0 w 2"/>
                  <a:gd name="T3" fmla="*/ 0 h 4"/>
                  <a:gd name="T4" fmla="*/ 2 w 2"/>
                  <a:gd name="T5" fmla="*/ 4 h 4"/>
                  <a:gd name="T6" fmla="*/ 0 w 2"/>
                  <a:gd name="T7" fmla="*/ 0 h 4"/>
                </a:gdLst>
                <a:cxnLst>
                  <a:cxn ang="0">
                    <a:pos x="T0" y="T1"/>
                  </a:cxn>
                  <a:cxn ang="0">
                    <a:pos x="T2" y="T3"/>
                  </a:cxn>
                  <a:cxn ang="0">
                    <a:pos x="T4" y="T5"/>
                  </a:cxn>
                  <a:cxn ang="0">
                    <a:pos x="T6" y="T7"/>
                  </a:cxn>
                </a:cxnLst>
                <a:rect l="0" t="0" r="r" b="b"/>
                <a:pathLst>
                  <a:path w="2" h="4">
                    <a:moveTo>
                      <a:pt x="0" y="0"/>
                    </a:moveTo>
                    <a:cubicBezTo>
                      <a:pt x="0" y="0"/>
                      <a:pt x="0" y="0"/>
                      <a:pt x="0" y="0"/>
                    </a:cubicBezTo>
                    <a:cubicBezTo>
                      <a:pt x="0" y="1"/>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1235"/>
              <p:cNvSpPr/>
              <p:nvPr/>
            </p:nvSpPr>
            <p:spPr bwMode="auto">
              <a:xfrm>
                <a:off x="1006" y="1239"/>
                <a:ext cx="11" cy="7"/>
              </a:xfrm>
              <a:custGeom>
                <a:gdLst>
                  <a:gd name="T0" fmla="*/ 3 w 5"/>
                  <a:gd name="T1" fmla="*/ 0 h 3"/>
                  <a:gd name="T2" fmla="*/ 0 w 5"/>
                  <a:gd name="T3" fmla="*/ 1 h 3"/>
                  <a:gd name="T4" fmla="*/ 4 w 5"/>
                  <a:gd name="T5" fmla="*/ 3 h 3"/>
                  <a:gd name="T6" fmla="*/ 3 w 5"/>
                  <a:gd name="T7" fmla="*/ 0 h 3"/>
                </a:gdLst>
                <a:cxnLst>
                  <a:cxn ang="0">
                    <a:pos x="T0" y="T1"/>
                  </a:cxn>
                  <a:cxn ang="0">
                    <a:pos x="T2" y="T3"/>
                  </a:cxn>
                  <a:cxn ang="0">
                    <a:pos x="T4" y="T5"/>
                  </a:cxn>
                  <a:cxn ang="0">
                    <a:pos x="T6" y="T7"/>
                  </a:cxn>
                </a:cxnLst>
                <a:rect l="0" t="0" r="r" b="b"/>
                <a:pathLst>
                  <a:path w="5" h="3">
                    <a:moveTo>
                      <a:pt x="3" y="0"/>
                    </a:moveTo>
                    <a:cubicBezTo>
                      <a:pt x="2" y="0"/>
                      <a:pt x="1" y="1"/>
                      <a:pt x="0" y="1"/>
                    </a:cubicBezTo>
                    <a:cubicBezTo>
                      <a:pt x="1" y="3"/>
                      <a:pt x="3" y="3"/>
                      <a:pt x="4" y="3"/>
                    </a:cubicBezTo>
                    <a:cubicBezTo>
                      <a:pt x="5" y="3"/>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5" name="Freeform 1236"/>
              <p:cNvSpPr/>
              <p:nvPr/>
            </p:nvSpPr>
            <p:spPr bwMode="auto">
              <a:xfrm>
                <a:off x="781" y="1055"/>
                <a:ext cx="19" cy="9"/>
              </a:xfrm>
              <a:custGeom>
                <a:gdLst>
                  <a:gd name="T0" fmla="*/ 4 w 8"/>
                  <a:gd name="T1" fmla="*/ 0 h 4"/>
                  <a:gd name="T2" fmla="*/ 0 w 8"/>
                  <a:gd name="T3" fmla="*/ 4 h 4"/>
                  <a:gd name="T4" fmla="*/ 8 w 8"/>
                  <a:gd name="T5" fmla="*/ 2 h 4"/>
                  <a:gd name="T6" fmla="*/ 4 w 8"/>
                  <a:gd name="T7" fmla="*/ 0 h 4"/>
                </a:gdLst>
                <a:cxnLst>
                  <a:cxn ang="0">
                    <a:pos x="T0" y="T1"/>
                  </a:cxn>
                  <a:cxn ang="0">
                    <a:pos x="T2" y="T3"/>
                  </a:cxn>
                  <a:cxn ang="0">
                    <a:pos x="T4" y="T5"/>
                  </a:cxn>
                  <a:cxn ang="0">
                    <a:pos x="T6" y="T7"/>
                  </a:cxn>
                </a:cxnLst>
                <a:rect l="0" t="0" r="r" b="b"/>
                <a:pathLst>
                  <a:path w="8" h="4">
                    <a:moveTo>
                      <a:pt x="4" y="0"/>
                    </a:moveTo>
                    <a:cubicBezTo>
                      <a:pt x="2" y="0"/>
                      <a:pt x="1" y="1"/>
                      <a:pt x="0" y="4"/>
                    </a:cubicBezTo>
                    <a:cubicBezTo>
                      <a:pt x="3" y="3"/>
                      <a:pt x="6" y="2"/>
                      <a:pt x="8" y="2"/>
                    </a:cubicBezTo>
                    <a:cubicBezTo>
                      <a:pt x="7"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Freeform 1237"/>
              <p:cNvSpPr/>
              <p:nvPr/>
            </p:nvSpPr>
            <p:spPr bwMode="auto">
              <a:xfrm>
                <a:off x="890" y="1142"/>
                <a:ext cx="125" cy="111"/>
              </a:xfrm>
              <a:custGeom>
                <a:gdLst>
                  <a:gd name="T0" fmla="*/ 25 w 53"/>
                  <a:gd name="T1" fmla="*/ 0 h 47"/>
                  <a:gd name="T2" fmla="*/ 20 w 53"/>
                  <a:gd name="T3" fmla="*/ 1 h 47"/>
                  <a:gd name="T4" fmla="*/ 22 w 53"/>
                  <a:gd name="T5" fmla="*/ 9 h 47"/>
                  <a:gd name="T6" fmla="*/ 15 w 53"/>
                  <a:gd name="T7" fmla="*/ 1 h 47"/>
                  <a:gd name="T8" fmla="*/ 12 w 53"/>
                  <a:gd name="T9" fmla="*/ 2 h 47"/>
                  <a:gd name="T10" fmla="*/ 9 w 53"/>
                  <a:gd name="T11" fmla="*/ 5 h 47"/>
                  <a:gd name="T12" fmla="*/ 9 w 53"/>
                  <a:gd name="T13" fmla="*/ 10 h 47"/>
                  <a:gd name="T14" fmla="*/ 7 w 53"/>
                  <a:gd name="T15" fmla="*/ 17 h 47"/>
                  <a:gd name="T16" fmla="*/ 9 w 53"/>
                  <a:gd name="T17" fmla="*/ 18 h 47"/>
                  <a:gd name="T18" fmla="*/ 10 w 53"/>
                  <a:gd name="T19" fmla="*/ 18 h 47"/>
                  <a:gd name="T20" fmla="*/ 13 w 53"/>
                  <a:gd name="T21" fmla="*/ 18 h 47"/>
                  <a:gd name="T22" fmla="*/ 16 w 53"/>
                  <a:gd name="T23" fmla="*/ 17 h 47"/>
                  <a:gd name="T24" fmla="*/ 17 w 53"/>
                  <a:gd name="T25" fmla="*/ 18 h 47"/>
                  <a:gd name="T26" fmla="*/ 18 w 53"/>
                  <a:gd name="T27" fmla="*/ 18 h 47"/>
                  <a:gd name="T28" fmla="*/ 19 w 53"/>
                  <a:gd name="T29" fmla="*/ 18 h 47"/>
                  <a:gd name="T30" fmla="*/ 19 w 53"/>
                  <a:gd name="T31" fmla="*/ 18 h 47"/>
                  <a:gd name="T32" fmla="*/ 21 w 53"/>
                  <a:gd name="T33" fmla="*/ 19 h 47"/>
                  <a:gd name="T34" fmla="*/ 23 w 53"/>
                  <a:gd name="T35" fmla="*/ 25 h 47"/>
                  <a:gd name="T36" fmla="*/ 26 w 53"/>
                  <a:gd name="T37" fmla="*/ 30 h 47"/>
                  <a:gd name="T38" fmla="*/ 27 w 53"/>
                  <a:gd name="T39" fmla="*/ 37 h 47"/>
                  <a:gd name="T40" fmla="*/ 29 w 53"/>
                  <a:gd name="T41" fmla="*/ 39 h 47"/>
                  <a:gd name="T42" fmla="*/ 33 w 53"/>
                  <a:gd name="T43" fmla="*/ 40 h 47"/>
                  <a:gd name="T44" fmla="*/ 48 w 53"/>
                  <a:gd name="T45" fmla="*/ 47 h 47"/>
                  <a:gd name="T46" fmla="*/ 50 w 53"/>
                  <a:gd name="T47" fmla="*/ 46 h 47"/>
                  <a:gd name="T48" fmla="*/ 46 w 53"/>
                  <a:gd name="T49" fmla="*/ 42 h 47"/>
                  <a:gd name="T50" fmla="*/ 53 w 53"/>
                  <a:gd name="T51" fmla="*/ 31 h 47"/>
                  <a:gd name="T52" fmla="*/ 37 w 53"/>
                  <a:gd name="T53" fmla="*/ 26 h 47"/>
                  <a:gd name="T54" fmla="*/ 32 w 53"/>
                  <a:gd name="T55" fmla="*/ 14 h 47"/>
                  <a:gd name="T56" fmla="*/ 29 w 53"/>
                  <a:gd name="T57" fmla="*/ 2 h 47"/>
                  <a:gd name="T58" fmla="*/ 25 w 53"/>
                  <a:gd name="T59" fmla="*/ 0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47">
                    <a:moveTo>
                      <a:pt x="25" y="0"/>
                    </a:moveTo>
                    <a:cubicBezTo>
                      <a:pt x="23" y="0"/>
                      <a:pt x="21" y="1"/>
                      <a:pt x="20" y="1"/>
                    </a:cubicBezTo>
                    <a:cubicBezTo>
                      <a:pt x="21" y="3"/>
                      <a:pt x="21" y="6"/>
                      <a:pt x="22" y="9"/>
                    </a:cubicBezTo>
                    <a:cubicBezTo>
                      <a:pt x="20" y="5"/>
                      <a:pt x="18" y="1"/>
                      <a:pt x="15" y="1"/>
                    </a:cubicBezTo>
                    <a:cubicBezTo>
                      <a:pt x="14" y="1"/>
                      <a:pt x="13" y="2"/>
                      <a:pt x="12" y="2"/>
                    </a:cubicBezTo>
                    <a:cubicBezTo>
                      <a:pt x="11" y="3"/>
                      <a:pt x="9" y="4"/>
                      <a:pt x="9" y="5"/>
                    </a:cubicBezTo>
                    <a:cubicBezTo>
                      <a:pt x="9" y="7"/>
                      <a:pt x="12" y="8"/>
                      <a:pt x="9" y="10"/>
                    </a:cubicBezTo>
                    <a:cubicBezTo>
                      <a:pt x="4" y="14"/>
                      <a:pt x="0" y="16"/>
                      <a:pt x="7" y="17"/>
                    </a:cubicBezTo>
                    <a:cubicBezTo>
                      <a:pt x="7" y="17"/>
                      <a:pt x="8" y="18"/>
                      <a:pt x="9" y="18"/>
                    </a:cubicBezTo>
                    <a:cubicBezTo>
                      <a:pt x="9" y="18"/>
                      <a:pt x="10" y="18"/>
                      <a:pt x="10" y="18"/>
                    </a:cubicBezTo>
                    <a:cubicBezTo>
                      <a:pt x="11" y="18"/>
                      <a:pt x="12" y="18"/>
                      <a:pt x="13" y="18"/>
                    </a:cubicBezTo>
                    <a:cubicBezTo>
                      <a:pt x="14" y="18"/>
                      <a:pt x="15" y="17"/>
                      <a:pt x="16" y="17"/>
                    </a:cubicBezTo>
                    <a:cubicBezTo>
                      <a:pt x="17" y="18"/>
                      <a:pt x="17" y="18"/>
                      <a:pt x="17" y="18"/>
                    </a:cubicBezTo>
                    <a:cubicBezTo>
                      <a:pt x="17" y="18"/>
                      <a:pt x="18" y="18"/>
                      <a:pt x="18" y="18"/>
                    </a:cubicBezTo>
                    <a:cubicBezTo>
                      <a:pt x="18" y="18"/>
                      <a:pt x="18" y="18"/>
                      <a:pt x="19" y="18"/>
                    </a:cubicBezTo>
                    <a:cubicBezTo>
                      <a:pt x="19" y="18"/>
                      <a:pt x="19" y="18"/>
                      <a:pt x="19" y="18"/>
                    </a:cubicBezTo>
                    <a:cubicBezTo>
                      <a:pt x="20" y="18"/>
                      <a:pt x="21" y="18"/>
                      <a:pt x="21" y="19"/>
                    </a:cubicBezTo>
                    <a:cubicBezTo>
                      <a:pt x="22" y="21"/>
                      <a:pt x="22" y="24"/>
                      <a:pt x="23" y="25"/>
                    </a:cubicBezTo>
                    <a:cubicBezTo>
                      <a:pt x="24" y="27"/>
                      <a:pt x="26" y="28"/>
                      <a:pt x="26" y="30"/>
                    </a:cubicBezTo>
                    <a:cubicBezTo>
                      <a:pt x="27" y="32"/>
                      <a:pt x="27" y="34"/>
                      <a:pt x="27" y="37"/>
                    </a:cubicBezTo>
                    <a:cubicBezTo>
                      <a:pt x="28" y="38"/>
                      <a:pt x="28" y="38"/>
                      <a:pt x="29" y="39"/>
                    </a:cubicBezTo>
                    <a:cubicBezTo>
                      <a:pt x="29" y="39"/>
                      <a:pt x="32" y="40"/>
                      <a:pt x="33" y="40"/>
                    </a:cubicBezTo>
                    <a:cubicBezTo>
                      <a:pt x="34" y="41"/>
                      <a:pt x="43" y="47"/>
                      <a:pt x="48" y="47"/>
                    </a:cubicBezTo>
                    <a:cubicBezTo>
                      <a:pt x="49" y="47"/>
                      <a:pt x="49" y="47"/>
                      <a:pt x="50" y="46"/>
                    </a:cubicBezTo>
                    <a:cubicBezTo>
                      <a:pt x="51" y="43"/>
                      <a:pt x="46" y="43"/>
                      <a:pt x="46" y="42"/>
                    </a:cubicBezTo>
                    <a:cubicBezTo>
                      <a:pt x="44" y="38"/>
                      <a:pt x="51" y="33"/>
                      <a:pt x="53" y="31"/>
                    </a:cubicBezTo>
                    <a:cubicBezTo>
                      <a:pt x="48" y="30"/>
                      <a:pt x="39" y="31"/>
                      <a:pt x="37" y="26"/>
                    </a:cubicBezTo>
                    <a:cubicBezTo>
                      <a:pt x="35" y="22"/>
                      <a:pt x="34" y="18"/>
                      <a:pt x="32" y="14"/>
                    </a:cubicBezTo>
                    <a:cubicBezTo>
                      <a:pt x="31" y="11"/>
                      <a:pt x="31" y="5"/>
                      <a:pt x="29" y="2"/>
                    </a:cubicBezTo>
                    <a:cubicBezTo>
                      <a:pt x="27" y="1"/>
                      <a:pt x="26"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Freeform 1238"/>
              <p:cNvSpPr/>
              <p:nvPr/>
            </p:nvSpPr>
            <p:spPr bwMode="auto">
              <a:xfrm>
                <a:off x="1060" y="1213"/>
                <a:ext cx="54" cy="47"/>
              </a:xfrm>
              <a:custGeom>
                <a:gdLst>
                  <a:gd name="T0" fmla="*/ 8 w 23"/>
                  <a:gd name="T1" fmla="*/ 0 h 20"/>
                  <a:gd name="T2" fmla="*/ 4 w 23"/>
                  <a:gd name="T3" fmla="*/ 1 h 20"/>
                  <a:gd name="T4" fmla="*/ 4 w 23"/>
                  <a:gd name="T5" fmla="*/ 5 h 20"/>
                  <a:gd name="T6" fmla="*/ 2 w 23"/>
                  <a:gd name="T7" fmla="*/ 11 h 20"/>
                  <a:gd name="T8" fmla="*/ 2 w 23"/>
                  <a:gd name="T9" fmla="*/ 11 h 20"/>
                  <a:gd name="T10" fmla="*/ 3 w 23"/>
                  <a:gd name="T11" fmla="*/ 20 h 20"/>
                  <a:gd name="T12" fmla="*/ 4 w 23"/>
                  <a:gd name="T13" fmla="*/ 20 h 20"/>
                  <a:gd name="T14" fmla="*/ 11 w 23"/>
                  <a:gd name="T15" fmla="*/ 15 h 20"/>
                  <a:gd name="T16" fmla="*/ 17 w 23"/>
                  <a:gd name="T17" fmla="*/ 20 h 20"/>
                  <a:gd name="T18" fmla="*/ 20 w 23"/>
                  <a:gd name="T19" fmla="*/ 18 h 20"/>
                  <a:gd name="T20" fmla="*/ 22 w 23"/>
                  <a:gd name="T21" fmla="*/ 8 h 20"/>
                  <a:gd name="T22" fmla="*/ 19 w 23"/>
                  <a:gd name="T23" fmla="*/ 4 h 20"/>
                  <a:gd name="T24" fmla="*/ 8 w 23"/>
                  <a:gd name="T25"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0">
                    <a:moveTo>
                      <a:pt x="8" y="0"/>
                    </a:moveTo>
                    <a:cubicBezTo>
                      <a:pt x="7" y="0"/>
                      <a:pt x="5" y="0"/>
                      <a:pt x="4" y="1"/>
                    </a:cubicBezTo>
                    <a:cubicBezTo>
                      <a:pt x="4" y="2"/>
                      <a:pt x="4" y="4"/>
                      <a:pt x="4" y="5"/>
                    </a:cubicBezTo>
                    <a:cubicBezTo>
                      <a:pt x="3" y="6"/>
                      <a:pt x="0" y="11"/>
                      <a:pt x="2" y="11"/>
                    </a:cubicBezTo>
                    <a:cubicBezTo>
                      <a:pt x="2" y="11"/>
                      <a:pt x="2" y="11"/>
                      <a:pt x="2" y="11"/>
                    </a:cubicBezTo>
                    <a:cubicBezTo>
                      <a:pt x="2" y="12"/>
                      <a:pt x="2" y="19"/>
                      <a:pt x="3" y="20"/>
                    </a:cubicBezTo>
                    <a:cubicBezTo>
                      <a:pt x="3" y="20"/>
                      <a:pt x="4" y="20"/>
                      <a:pt x="4" y="20"/>
                    </a:cubicBezTo>
                    <a:cubicBezTo>
                      <a:pt x="6" y="20"/>
                      <a:pt x="10" y="16"/>
                      <a:pt x="11" y="15"/>
                    </a:cubicBezTo>
                    <a:cubicBezTo>
                      <a:pt x="12" y="17"/>
                      <a:pt x="14" y="19"/>
                      <a:pt x="17" y="20"/>
                    </a:cubicBezTo>
                    <a:cubicBezTo>
                      <a:pt x="17" y="19"/>
                      <a:pt x="19" y="18"/>
                      <a:pt x="20" y="18"/>
                    </a:cubicBezTo>
                    <a:cubicBezTo>
                      <a:pt x="19" y="15"/>
                      <a:pt x="23" y="11"/>
                      <a:pt x="22" y="8"/>
                    </a:cubicBezTo>
                    <a:cubicBezTo>
                      <a:pt x="22" y="6"/>
                      <a:pt x="20" y="5"/>
                      <a:pt x="19" y="4"/>
                    </a:cubicBezTo>
                    <a:cubicBezTo>
                      <a:pt x="16" y="2"/>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Freeform 1239"/>
              <p:cNvSpPr/>
              <p:nvPr/>
            </p:nvSpPr>
            <p:spPr bwMode="auto">
              <a:xfrm>
                <a:off x="2700" y="1312"/>
                <a:ext cx="2" cy="7"/>
              </a:xfrm>
              <a:custGeom>
                <a:gdLst>
                  <a:gd name="T0" fmla="*/ 0 w 1"/>
                  <a:gd name="T1" fmla="*/ 0 h 3"/>
                  <a:gd name="T2" fmla="*/ 0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0"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Freeform 1240"/>
              <p:cNvSpPr/>
              <p:nvPr/>
            </p:nvSpPr>
            <p:spPr bwMode="auto">
              <a:xfrm>
                <a:off x="2454" y="1232"/>
                <a:ext cx="211" cy="73"/>
              </a:xfrm>
              <a:custGeom>
                <a:gdLst>
                  <a:gd name="T0" fmla="*/ 48 w 89"/>
                  <a:gd name="T1" fmla="*/ 0 h 31"/>
                  <a:gd name="T2" fmla="*/ 43 w 89"/>
                  <a:gd name="T3" fmla="*/ 2 h 31"/>
                  <a:gd name="T4" fmla="*/ 39 w 89"/>
                  <a:gd name="T5" fmla="*/ 4 h 31"/>
                  <a:gd name="T6" fmla="*/ 36 w 89"/>
                  <a:gd name="T7" fmla="*/ 3 h 31"/>
                  <a:gd name="T8" fmla="*/ 35 w 89"/>
                  <a:gd name="T9" fmla="*/ 0 h 31"/>
                  <a:gd name="T10" fmla="*/ 35 w 89"/>
                  <a:gd name="T11" fmla="*/ 0 h 31"/>
                  <a:gd name="T12" fmla="*/ 32 w 89"/>
                  <a:gd name="T13" fmla="*/ 2 h 31"/>
                  <a:gd name="T14" fmla="*/ 26 w 89"/>
                  <a:gd name="T15" fmla="*/ 2 h 31"/>
                  <a:gd name="T16" fmla="*/ 21 w 89"/>
                  <a:gd name="T17" fmla="*/ 2 h 31"/>
                  <a:gd name="T18" fmla="*/ 17 w 89"/>
                  <a:gd name="T19" fmla="*/ 2 h 31"/>
                  <a:gd name="T20" fmla="*/ 15 w 89"/>
                  <a:gd name="T21" fmla="*/ 2 h 31"/>
                  <a:gd name="T22" fmla="*/ 7 w 89"/>
                  <a:gd name="T23" fmla="*/ 5 h 31"/>
                  <a:gd name="T24" fmla="*/ 0 w 89"/>
                  <a:gd name="T25" fmla="*/ 10 h 31"/>
                  <a:gd name="T26" fmla="*/ 3 w 89"/>
                  <a:gd name="T27" fmla="*/ 17 h 31"/>
                  <a:gd name="T28" fmla="*/ 2 w 89"/>
                  <a:gd name="T29" fmla="*/ 22 h 31"/>
                  <a:gd name="T30" fmla="*/ 6 w 89"/>
                  <a:gd name="T31" fmla="*/ 16 h 31"/>
                  <a:gd name="T32" fmla="*/ 7 w 89"/>
                  <a:gd name="T33" fmla="*/ 11 h 31"/>
                  <a:gd name="T34" fmla="*/ 9 w 89"/>
                  <a:gd name="T35" fmla="*/ 8 h 31"/>
                  <a:gd name="T36" fmla="*/ 10 w 89"/>
                  <a:gd name="T37" fmla="*/ 8 h 31"/>
                  <a:gd name="T38" fmla="*/ 10 w 89"/>
                  <a:gd name="T39" fmla="*/ 10 h 31"/>
                  <a:gd name="T40" fmla="*/ 10 w 89"/>
                  <a:gd name="T41" fmla="*/ 12 h 31"/>
                  <a:gd name="T42" fmla="*/ 13 w 89"/>
                  <a:gd name="T43" fmla="*/ 13 h 31"/>
                  <a:gd name="T44" fmla="*/ 18 w 89"/>
                  <a:gd name="T45" fmla="*/ 19 h 31"/>
                  <a:gd name="T46" fmla="*/ 19 w 89"/>
                  <a:gd name="T47" fmla="*/ 19 h 31"/>
                  <a:gd name="T48" fmla="*/ 28 w 89"/>
                  <a:gd name="T49" fmla="*/ 13 h 31"/>
                  <a:gd name="T50" fmla="*/ 30 w 89"/>
                  <a:gd name="T51" fmla="*/ 12 h 31"/>
                  <a:gd name="T52" fmla="*/ 31 w 89"/>
                  <a:gd name="T53" fmla="*/ 14 h 31"/>
                  <a:gd name="T54" fmla="*/ 45 w 89"/>
                  <a:gd name="T55" fmla="*/ 17 h 31"/>
                  <a:gd name="T56" fmla="*/ 47 w 89"/>
                  <a:gd name="T57" fmla="*/ 17 h 31"/>
                  <a:gd name="T58" fmla="*/ 49 w 89"/>
                  <a:gd name="T59" fmla="*/ 17 h 31"/>
                  <a:gd name="T60" fmla="*/ 50 w 89"/>
                  <a:gd name="T61" fmla="*/ 17 h 31"/>
                  <a:gd name="T62" fmla="*/ 51 w 89"/>
                  <a:gd name="T63" fmla="*/ 15 h 31"/>
                  <a:gd name="T64" fmla="*/ 55 w 89"/>
                  <a:gd name="T65" fmla="*/ 15 h 31"/>
                  <a:gd name="T66" fmla="*/ 87 w 89"/>
                  <a:gd name="T67" fmla="*/ 31 h 31"/>
                  <a:gd name="T68" fmla="*/ 86 w 89"/>
                  <a:gd name="T69" fmla="*/ 20 h 31"/>
                  <a:gd name="T70" fmla="*/ 84 w 89"/>
                  <a:gd name="T71" fmla="*/ 17 h 31"/>
                  <a:gd name="T72" fmla="*/ 81 w 89"/>
                  <a:gd name="T73" fmla="*/ 14 h 31"/>
                  <a:gd name="T74" fmla="*/ 71 w 89"/>
                  <a:gd name="T75" fmla="*/ 5 h 31"/>
                  <a:gd name="T76" fmla="*/ 58 w 89"/>
                  <a:gd name="T77" fmla="*/ 3 h 31"/>
                  <a:gd name="T78" fmla="*/ 51 w 89"/>
                  <a:gd name="T79" fmla="*/ 0 h 31"/>
                  <a:gd name="T80" fmla="*/ 48 w 89"/>
                  <a:gd name="T81" fmla="*/ 0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9" h="31">
                    <a:moveTo>
                      <a:pt x="48" y="0"/>
                    </a:moveTo>
                    <a:cubicBezTo>
                      <a:pt x="46" y="0"/>
                      <a:pt x="45" y="1"/>
                      <a:pt x="43" y="2"/>
                    </a:cubicBezTo>
                    <a:cubicBezTo>
                      <a:pt x="41" y="3"/>
                      <a:pt x="40" y="4"/>
                      <a:pt x="39" y="4"/>
                    </a:cubicBezTo>
                    <a:cubicBezTo>
                      <a:pt x="38" y="4"/>
                      <a:pt x="37" y="4"/>
                      <a:pt x="36" y="3"/>
                    </a:cubicBezTo>
                    <a:cubicBezTo>
                      <a:pt x="35" y="2"/>
                      <a:pt x="37" y="0"/>
                      <a:pt x="35" y="0"/>
                    </a:cubicBezTo>
                    <a:cubicBezTo>
                      <a:pt x="35" y="0"/>
                      <a:pt x="35" y="0"/>
                      <a:pt x="35" y="0"/>
                    </a:cubicBezTo>
                    <a:cubicBezTo>
                      <a:pt x="34" y="0"/>
                      <a:pt x="32" y="1"/>
                      <a:pt x="32" y="2"/>
                    </a:cubicBezTo>
                    <a:cubicBezTo>
                      <a:pt x="30" y="2"/>
                      <a:pt x="28" y="2"/>
                      <a:pt x="26" y="2"/>
                    </a:cubicBezTo>
                    <a:cubicBezTo>
                      <a:pt x="25" y="2"/>
                      <a:pt x="23" y="2"/>
                      <a:pt x="21" y="2"/>
                    </a:cubicBezTo>
                    <a:cubicBezTo>
                      <a:pt x="20" y="2"/>
                      <a:pt x="18" y="2"/>
                      <a:pt x="17" y="2"/>
                    </a:cubicBezTo>
                    <a:cubicBezTo>
                      <a:pt x="16" y="2"/>
                      <a:pt x="16" y="2"/>
                      <a:pt x="15" y="2"/>
                    </a:cubicBezTo>
                    <a:cubicBezTo>
                      <a:pt x="12" y="2"/>
                      <a:pt x="8" y="1"/>
                      <a:pt x="7" y="5"/>
                    </a:cubicBezTo>
                    <a:cubicBezTo>
                      <a:pt x="6" y="8"/>
                      <a:pt x="3" y="10"/>
                      <a:pt x="0" y="10"/>
                    </a:cubicBezTo>
                    <a:cubicBezTo>
                      <a:pt x="1" y="13"/>
                      <a:pt x="3" y="15"/>
                      <a:pt x="3" y="17"/>
                    </a:cubicBezTo>
                    <a:cubicBezTo>
                      <a:pt x="3" y="19"/>
                      <a:pt x="1" y="20"/>
                      <a:pt x="2" y="22"/>
                    </a:cubicBezTo>
                    <a:cubicBezTo>
                      <a:pt x="3" y="20"/>
                      <a:pt x="5" y="18"/>
                      <a:pt x="6" y="16"/>
                    </a:cubicBezTo>
                    <a:cubicBezTo>
                      <a:pt x="6" y="15"/>
                      <a:pt x="6" y="13"/>
                      <a:pt x="7" y="11"/>
                    </a:cubicBezTo>
                    <a:cubicBezTo>
                      <a:pt x="7" y="11"/>
                      <a:pt x="8" y="9"/>
                      <a:pt x="9" y="8"/>
                    </a:cubicBezTo>
                    <a:cubicBezTo>
                      <a:pt x="9" y="8"/>
                      <a:pt x="9" y="8"/>
                      <a:pt x="10" y="8"/>
                    </a:cubicBezTo>
                    <a:cubicBezTo>
                      <a:pt x="10" y="8"/>
                      <a:pt x="9" y="9"/>
                      <a:pt x="10" y="10"/>
                    </a:cubicBezTo>
                    <a:cubicBezTo>
                      <a:pt x="10" y="12"/>
                      <a:pt x="10" y="12"/>
                      <a:pt x="10" y="12"/>
                    </a:cubicBezTo>
                    <a:cubicBezTo>
                      <a:pt x="11" y="12"/>
                      <a:pt x="12" y="12"/>
                      <a:pt x="13" y="13"/>
                    </a:cubicBezTo>
                    <a:cubicBezTo>
                      <a:pt x="15" y="14"/>
                      <a:pt x="16" y="18"/>
                      <a:pt x="18" y="19"/>
                    </a:cubicBezTo>
                    <a:cubicBezTo>
                      <a:pt x="18" y="19"/>
                      <a:pt x="19" y="19"/>
                      <a:pt x="19" y="19"/>
                    </a:cubicBezTo>
                    <a:cubicBezTo>
                      <a:pt x="23" y="19"/>
                      <a:pt x="25" y="15"/>
                      <a:pt x="28" y="13"/>
                    </a:cubicBezTo>
                    <a:cubicBezTo>
                      <a:pt x="29" y="13"/>
                      <a:pt x="30" y="12"/>
                      <a:pt x="30" y="12"/>
                    </a:cubicBezTo>
                    <a:cubicBezTo>
                      <a:pt x="31" y="12"/>
                      <a:pt x="31" y="13"/>
                      <a:pt x="31" y="14"/>
                    </a:cubicBezTo>
                    <a:cubicBezTo>
                      <a:pt x="33" y="17"/>
                      <a:pt x="39" y="17"/>
                      <a:pt x="45" y="17"/>
                    </a:cubicBezTo>
                    <a:cubicBezTo>
                      <a:pt x="46" y="17"/>
                      <a:pt x="46" y="17"/>
                      <a:pt x="47" y="17"/>
                    </a:cubicBezTo>
                    <a:cubicBezTo>
                      <a:pt x="48" y="17"/>
                      <a:pt x="49" y="17"/>
                      <a:pt x="49" y="17"/>
                    </a:cubicBezTo>
                    <a:cubicBezTo>
                      <a:pt x="50" y="17"/>
                      <a:pt x="50" y="17"/>
                      <a:pt x="50" y="17"/>
                    </a:cubicBezTo>
                    <a:cubicBezTo>
                      <a:pt x="47" y="15"/>
                      <a:pt x="49" y="15"/>
                      <a:pt x="51" y="15"/>
                    </a:cubicBezTo>
                    <a:cubicBezTo>
                      <a:pt x="52" y="15"/>
                      <a:pt x="54" y="15"/>
                      <a:pt x="55" y="15"/>
                    </a:cubicBezTo>
                    <a:cubicBezTo>
                      <a:pt x="67" y="16"/>
                      <a:pt x="77" y="25"/>
                      <a:pt x="87" y="31"/>
                    </a:cubicBezTo>
                    <a:cubicBezTo>
                      <a:pt x="87" y="27"/>
                      <a:pt x="89" y="23"/>
                      <a:pt x="86" y="20"/>
                    </a:cubicBezTo>
                    <a:cubicBezTo>
                      <a:pt x="86" y="18"/>
                      <a:pt x="85" y="19"/>
                      <a:pt x="84" y="17"/>
                    </a:cubicBezTo>
                    <a:cubicBezTo>
                      <a:pt x="82" y="16"/>
                      <a:pt x="82" y="17"/>
                      <a:pt x="81" y="14"/>
                    </a:cubicBezTo>
                    <a:cubicBezTo>
                      <a:pt x="80" y="10"/>
                      <a:pt x="76" y="6"/>
                      <a:pt x="71" y="5"/>
                    </a:cubicBezTo>
                    <a:cubicBezTo>
                      <a:pt x="66" y="5"/>
                      <a:pt x="62" y="5"/>
                      <a:pt x="58" y="3"/>
                    </a:cubicBezTo>
                    <a:cubicBezTo>
                      <a:pt x="56" y="2"/>
                      <a:pt x="54" y="1"/>
                      <a:pt x="51" y="0"/>
                    </a:cubicBezTo>
                    <a:cubicBezTo>
                      <a:pt x="50" y="0"/>
                      <a:pt x="49"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Freeform 1241"/>
              <p:cNvSpPr/>
              <p:nvPr/>
            </p:nvSpPr>
            <p:spPr bwMode="auto">
              <a:xfrm>
                <a:off x="774" y="962"/>
                <a:ext cx="7" cy="7"/>
              </a:xfrm>
              <a:custGeom>
                <a:gdLst>
                  <a:gd name="T0" fmla="*/ 1 w 3"/>
                  <a:gd name="T1" fmla="*/ 0 h 3"/>
                  <a:gd name="T2" fmla="*/ 0 w 3"/>
                  <a:gd name="T3" fmla="*/ 0 h 3"/>
                  <a:gd name="T4" fmla="*/ 3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0" y="0"/>
                      <a:pt x="0" y="0"/>
                      <a:pt x="0" y="0"/>
                    </a:cubicBezTo>
                    <a:cubicBezTo>
                      <a:pt x="1" y="1"/>
                      <a:pt x="2" y="2"/>
                      <a:pt x="3" y="3"/>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Freeform 1242"/>
              <p:cNvSpPr/>
              <p:nvPr/>
            </p:nvSpPr>
            <p:spPr bwMode="auto">
              <a:xfrm>
                <a:off x="800" y="979"/>
                <a:ext cx="7" cy="7"/>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2"/>
                      <a:pt x="3" y="3"/>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1243"/>
              <p:cNvSpPr/>
              <p:nvPr/>
            </p:nvSpPr>
            <p:spPr bwMode="auto">
              <a:xfrm>
                <a:off x="2320" y="1251"/>
                <a:ext cx="96" cy="52"/>
              </a:xfrm>
              <a:custGeom>
                <a:gdLst>
                  <a:gd name="T0" fmla="*/ 20 w 41"/>
                  <a:gd name="T1" fmla="*/ 0 h 22"/>
                  <a:gd name="T2" fmla="*/ 16 w 41"/>
                  <a:gd name="T3" fmla="*/ 0 h 22"/>
                  <a:gd name="T4" fmla="*/ 5 w 41"/>
                  <a:gd name="T5" fmla="*/ 10 h 22"/>
                  <a:gd name="T6" fmla="*/ 10 w 41"/>
                  <a:gd name="T7" fmla="*/ 15 h 22"/>
                  <a:gd name="T8" fmla="*/ 24 w 41"/>
                  <a:gd name="T9" fmla="*/ 22 h 22"/>
                  <a:gd name="T10" fmla="*/ 24 w 41"/>
                  <a:gd name="T11" fmla="*/ 22 h 22"/>
                  <a:gd name="T12" fmla="*/ 40 w 41"/>
                  <a:gd name="T13" fmla="*/ 15 h 22"/>
                  <a:gd name="T14" fmla="*/ 40 w 41"/>
                  <a:gd name="T15" fmla="*/ 8 h 22"/>
                  <a:gd name="T16" fmla="*/ 37 w 41"/>
                  <a:gd name="T17" fmla="*/ 6 h 22"/>
                  <a:gd name="T18" fmla="*/ 33 w 41"/>
                  <a:gd name="T19" fmla="*/ 2 h 22"/>
                  <a:gd name="T20" fmla="*/ 20 w 41"/>
                  <a:gd name="T21"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2">
                    <a:moveTo>
                      <a:pt x="20" y="0"/>
                    </a:moveTo>
                    <a:cubicBezTo>
                      <a:pt x="18" y="0"/>
                      <a:pt x="17" y="0"/>
                      <a:pt x="16" y="0"/>
                    </a:cubicBezTo>
                    <a:cubicBezTo>
                      <a:pt x="10" y="1"/>
                      <a:pt x="0" y="1"/>
                      <a:pt x="5" y="10"/>
                    </a:cubicBezTo>
                    <a:cubicBezTo>
                      <a:pt x="6" y="11"/>
                      <a:pt x="9" y="14"/>
                      <a:pt x="10" y="15"/>
                    </a:cubicBezTo>
                    <a:cubicBezTo>
                      <a:pt x="12" y="18"/>
                      <a:pt x="20" y="22"/>
                      <a:pt x="24" y="22"/>
                    </a:cubicBezTo>
                    <a:cubicBezTo>
                      <a:pt x="24" y="22"/>
                      <a:pt x="24" y="22"/>
                      <a:pt x="24" y="22"/>
                    </a:cubicBezTo>
                    <a:cubicBezTo>
                      <a:pt x="27" y="22"/>
                      <a:pt x="38" y="18"/>
                      <a:pt x="40" y="15"/>
                    </a:cubicBezTo>
                    <a:cubicBezTo>
                      <a:pt x="41" y="14"/>
                      <a:pt x="40" y="9"/>
                      <a:pt x="40" y="8"/>
                    </a:cubicBezTo>
                    <a:cubicBezTo>
                      <a:pt x="39" y="7"/>
                      <a:pt x="38" y="8"/>
                      <a:pt x="37" y="6"/>
                    </a:cubicBezTo>
                    <a:cubicBezTo>
                      <a:pt x="36" y="4"/>
                      <a:pt x="35" y="3"/>
                      <a:pt x="33" y="2"/>
                    </a:cubicBezTo>
                    <a:cubicBezTo>
                      <a:pt x="29" y="0"/>
                      <a:pt x="25"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1244"/>
              <p:cNvSpPr/>
              <p:nvPr/>
            </p:nvSpPr>
            <p:spPr bwMode="auto">
              <a:xfrm>
                <a:off x="1845" y="1679"/>
                <a:ext cx="132" cy="70"/>
              </a:xfrm>
              <a:custGeom>
                <a:gdLst>
                  <a:gd name="T0" fmla="*/ 28 w 56"/>
                  <a:gd name="T1" fmla="*/ 1 h 30"/>
                  <a:gd name="T2" fmla="*/ 27 w 56"/>
                  <a:gd name="T3" fmla="*/ 2 h 30"/>
                  <a:gd name="T4" fmla="*/ 0 w 56"/>
                  <a:gd name="T5" fmla="*/ 8 h 30"/>
                  <a:gd name="T6" fmla="*/ 2 w 56"/>
                  <a:gd name="T7" fmla="*/ 11 h 30"/>
                  <a:gd name="T8" fmla="*/ 13 w 56"/>
                  <a:gd name="T9" fmla="*/ 14 h 30"/>
                  <a:gd name="T10" fmla="*/ 13 w 56"/>
                  <a:gd name="T11" fmla="*/ 14 h 30"/>
                  <a:gd name="T12" fmla="*/ 15 w 56"/>
                  <a:gd name="T13" fmla="*/ 14 h 30"/>
                  <a:gd name="T14" fmla="*/ 17 w 56"/>
                  <a:gd name="T15" fmla="*/ 14 h 30"/>
                  <a:gd name="T16" fmla="*/ 22 w 56"/>
                  <a:gd name="T17" fmla="*/ 16 h 30"/>
                  <a:gd name="T18" fmla="*/ 44 w 56"/>
                  <a:gd name="T19" fmla="*/ 30 h 30"/>
                  <a:gd name="T20" fmla="*/ 44 w 56"/>
                  <a:gd name="T21" fmla="*/ 30 h 30"/>
                  <a:gd name="T22" fmla="*/ 47 w 56"/>
                  <a:gd name="T23" fmla="*/ 28 h 30"/>
                  <a:gd name="T24" fmla="*/ 55 w 56"/>
                  <a:gd name="T25" fmla="*/ 21 h 30"/>
                  <a:gd name="T26" fmla="*/ 49 w 56"/>
                  <a:gd name="T27" fmla="*/ 17 h 30"/>
                  <a:gd name="T28" fmla="*/ 45 w 56"/>
                  <a:gd name="T29" fmla="*/ 11 h 30"/>
                  <a:gd name="T30" fmla="*/ 42 w 56"/>
                  <a:gd name="T31" fmla="*/ 10 h 30"/>
                  <a:gd name="T32" fmla="*/ 42 w 56"/>
                  <a:gd name="T33" fmla="*/ 10 h 30"/>
                  <a:gd name="T34" fmla="*/ 41 w 56"/>
                  <a:gd name="T35" fmla="*/ 11 h 30"/>
                  <a:gd name="T36" fmla="*/ 40 w 56"/>
                  <a:gd name="T37" fmla="*/ 11 h 30"/>
                  <a:gd name="T38" fmla="*/ 39 w 56"/>
                  <a:gd name="T39" fmla="*/ 11 h 30"/>
                  <a:gd name="T40" fmla="*/ 38 w 56"/>
                  <a:gd name="T41" fmla="*/ 7 h 30"/>
                  <a:gd name="T42" fmla="*/ 35 w 56"/>
                  <a:gd name="T43" fmla="*/ 6 h 30"/>
                  <a:gd name="T44" fmla="*/ 28 w 56"/>
                  <a:gd name="T45" fmla="*/ 1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30">
                    <a:moveTo>
                      <a:pt x="28" y="1"/>
                    </a:moveTo>
                    <a:cubicBezTo>
                      <a:pt x="28" y="1"/>
                      <a:pt x="27" y="1"/>
                      <a:pt x="27" y="2"/>
                    </a:cubicBezTo>
                    <a:cubicBezTo>
                      <a:pt x="17" y="2"/>
                      <a:pt x="8" y="0"/>
                      <a:pt x="0" y="8"/>
                    </a:cubicBezTo>
                    <a:cubicBezTo>
                      <a:pt x="0" y="8"/>
                      <a:pt x="2" y="11"/>
                      <a:pt x="2" y="11"/>
                    </a:cubicBezTo>
                    <a:cubicBezTo>
                      <a:pt x="5" y="13"/>
                      <a:pt x="10" y="14"/>
                      <a:pt x="13" y="14"/>
                    </a:cubicBezTo>
                    <a:cubicBezTo>
                      <a:pt x="13" y="14"/>
                      <a:pt x="13" y="14"/>
                      <a:pt x="13" y="14"/>
                    </a:cubicBezTo>
                    <a:cubicBezTo>
                      <a:pt x="13" y="14"/>
                      <a:pt x="14" y="14"/>
                      <a:pt x="15" y="14"/>
                    </a:cubicBezTo>
                    <a:cubicBezTo>
                      <a:pt x="15" y="14"/>
                      <a:pt x="16" y="14"/>
                      <a:pt x="17" y="14"/>
                    </a:cubicBezTo>
                    <a:cubicBezTo>
                      <a:pt x="18" y="14"/>
                      <a:pt x="20" y="15"/>
                      <a:pt x="22" y="16"/>
                    </a:cubicBezTo>
                    <a:cubicBezTo>
                      <a:pt x="29" y="21"/>
                      <a:pt x="36" y="25"/>
                      <a:pt x="44" y="30"/>
                    </a:cubicBezTo>
                    <a:cubicBezTo>
                      <a:pt x="44" y="30"/>
                      <a:pt x="44" y="30"/>
                      <a:pt x="44" y="30"/>
                    </a:cubicBezTo>
                    <a:cubicBezTo>
                      <a:pt x="44" y="30"/>
                      <a:pt x="46" y="28"/>
                      <a:pt x="47" y="28"/>
                    </a:cubicBezTo>
                    <a:cubicBezTo>
                      <a:pt x="50" y="27"/>
                      <a:pt x="56" y="27"/>
                      <a:pt x="55" y="21"/>
                    </a:cubicBezTo>
                    <a:cubicBezTo>
                      <a:pt x="54" y="19"/>
                      <a:pt x="51" y="18"/>
                      <a:pt x="49" y="17"/>
                    </a:cubicBezTo>
                    <a:cubicBezTo>
                      <a:pt x="48" y="15"/>
                      <a:pt x="48" y="13"/>
                      <a:pt x="45" y="11"/>
                    </a:cubicBezTo>
                    <a:cubicBezTo>
                      <a:pt x="43" y="11"/>
                      <a:pt x="44" y="11"/>
                      <a:pt x="42" y="10"/>
                    </a:cubicBezTo>
                    <a:cubicBezTo>
                      <a:pt x="42" y="10"/>
                      <a:pt x="42" y="10"/>
                      <a:pt x="42" y="10"/>
                    </a:cubicBezTo>
                    <a:cubicBezTo>
                      <a:pt x="41" y="10"/>
                      <a:pt x="41" y="11"/>
                      <a:pt x="41" y="11"/>
                    </a:cubicBezTo>
                    <a:cubicBezTo>
                      <a:pt x="40" y="11"/>
                      <a:pt x="40" y="11"/>
                      <a:pt x="40" y="11"/>
                    </a:cubicBezTo>
                    <a:cubicBezTo>
                      <a:pt x="40" y="11"/>
                      <a:pt x="39" y="11"/>
                      <a:pt x="39" y="11"/>
                    </a:cubicBezTo>
                    <a:cubicBezTo>
                      <a:pt x="37" y="10"/>
                      <a:pt x="39" y="8"/>
                      <a:pt x="38" y="7"/>
                    </a:cubicBezTo>
                    <a:cubicBezTo>
                      <a:pt x="36" y="5"/>
                      <a:pt x="36" y="6"/>
                      <a:pt x="35" y="6"/>
                    </a:cubicBezTo>
                    <a:cubicBezTo>
                      <a:pt x="32" y="4"/>
                      <a:pt x="31" y="1"/>
                      <a:pt x="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1245"/>
              <p:cNvSpPr/>
              <p:nvPr/>
            </p:nvSpPr>
            <p:spPr bwMode="auto">
              <a:xfrm>
                <a:off x="2093" y="1343"/>
                <a:ext cx="47" cy="85"/>
              </a:xfrm>
              <a:custGeom>
                <a:gdLst>
                  <a:gd name="T0" fmla="*/ 13 w 20"/>
                  <a:gd name="T1" fmla="*/ 0 h 36"/>
                  <a:gd name="T2" fmla="*/ 10 w 20"/>
                  <a:gd name="T3" fmla="*/ 2 h 36"/>
                  <a:gd name="T4" fmla="*/ 8 w 20"/>
                  <a:gd name="T5" fmla="*/ 10 h 36"/>
                  <a:gd name="T6" fmla="*/ 6 w 20"/>
                  <a:gd name="T7" fmla="*/ 20 h 36"/>
                  <a:gd name="T8" fmla="*/ 2 w 20"/>
                  <a:gd name="T9" fmla="*/ 29 h 36"/>
                  <a:gd name="T10" fmla="*/ 2 w 20"/>
                  <a:gd name="T11" fmla="*/ 33 h 36"/>
                  <a:gd name="T12" fmla="*/ 6 w 20"/>
                  <a:gd name="T13" fmla="*/ 36 h 36"/>
                  <a:gd name="T14" fmla="*/ 7 w 20"/>
                  <a:gd name="T15" fmla="*/ 36 h 36"/>
                  <a:gd name="T16" fmla="*/ 9 w 20"/>
                  <a:gd name="T17" fmla="*/ 35 h 36"/>
                  <a:gd name="T18" fmla="*/ 19 w 20"/>
                  <a:gd name="T19" fmla="*/ 25 h 36"/>
                  <a:gd name="T20" fmla="*/ 15 w 20"/>
                  <a:gd name="T21" fmla="*/ 22 h 36"/>
                  <a:gd name="T22" fmla="*/ 14 w 20"/>
                  <a:gd name="T23" fmla="*/ 10 h 36"/>
                  <a:gd name="T24" fmla="*/ 16 w 20"/>
                  <a:gd name="T25" fmla="*/ 9 h 36"/>
                  <a:gd name="T26" fmla="*/ 19 w 20"/>
                  <a:gd name="T27" fmla="*/ 11 h 36"/>
                  <a:gd name="T28" fmla="*/ 13 w 20"/>
                  <a:gd name="T29" fmla="*/ 0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6">
                    <a:moveTo>
                      <a:pt x="13" y="0"/>
                    </a:moveTo>
                    <a:cubicBezTo>
                      <a:pt x="12" y="0"/>
                      <a:pt x="11" y="0"/>
                      <a:pt x="10" y="2"/>
                    </a:cubicBezTo>
                    <a:cubicBezTo>
                      <a:pt x="8" y="5"/>
                      <a:pt x="9" y="8"/>
                      <a:pt x="8" y="10"/>
                    </a:cubicBezTo>
                    <a:cubicBezTo>
                      <a:pt x="8" y="13"/>
                      <a:pt x="6" y="17"/>
                      <a:pt x="6" y="20"/>
                    </a:cubicBezTo>
                    <a:cubicBezTo>
                      <a:pt x="5" y="23"/>
                      <a:pt x="4" y="26"/>
                      <a:pt x="2" y="29"/>
                    </a:cubicBezTo>
                    <a:cubicBezTo>
                      <a:pt x="1" y="31"/>
                      <a:pt x="0" y="32"/>
                      <a:pt x="2" y="33"/>
                    </a:cubicBezTo>
                    <a:cubicBezTo>
                      <a:pt x="3" y="34"/>
                      <a:pt x="5" y="36"/>
                      <a:pt x="6" y="36"/>
                    </a:cubicBezTo>
                    <a:cubicBezTo>
                      <a:pt x="7" y="36"/>
                      <a:pt x="7" y="36"/>
                      <a:pt x="7" y="36"/>
                    </a:cubicBezTo>
                    <a:cubicBezTo>
                      <a:pt x="8" y="36"/>
                      <a:pt x="8" y="36"/>
                      <a:pt x="9" y="35"/>
                    </a:cubicBezTo>
                    <a:cubicBezTo>
                      <a:pt x="11" y="33"/>
                      <a:pt x="20" y="28"/>
                      <a:pt x="19" y="25"/>
                    </a:cubicBezTo>
                    <a:cubicBezTo>
                      <a:pt x="18" y="24"/>
                      <a:pt x="15" y="22"/>
                      <a:pt x="15" y="22"/>
                    </a:cubicBezTo>
                    <a:cubicBezTo>
                      <a:pt x="12" y="19"/>
                      <a:pt x="12" y="12"/>
                      <a:pt x="14" y="10"/>
                    </a:cubicBezTo>
                    <a:cubicBezTo>
                      <a:pt x="15" y="9"/>
                      <a:pt x="16" y="9"/>
                      <a:pt x="16" y="9"/>
                    </a:cubicBezTo>
                    <a:cubicBezTo>
                      <a:pt x="17" y="9"/>
                      <a:pt x="18" y="10"/>
                      <a:pt x="19" y="11"/>
                    </a:cubicBezTo>
                    <a:cubicBezTo>
                      <a:pt x="19" y="7"/>
                      <a:pt x="17"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1246"/>
              <p:cNvSpPr/>
              <p:nvPr/>
            </p:nvSpPr>
            <p:spPr bwMode="auto">
              <a:xfrm>
                <a:off x="559" y="1229"/>
                <a:ext cx="28" cy="38"/>
              </a:xfrm>
              <a:custGeom>
                <a:gdLst>
                  <a:gd name="T0" fmla="*/ 0 w 12"/>
                  <a:gd name="T1" fmla="*/ 0 h 16"/>
                  <a:gd name="T2" fmla="*/ 7 w 12"/>
                  <a:gd name="T3" fmla="*/ 16 h 16"/>
                  <a:gd name="T4" fmla="*/ 5 w 12"/>
                  <a:gd name="T5" fmla="*/ 11 h 16"/>
                  <a:gd name="T6" fmla="*/ 0 w 12"/>
                  <a:gd name="T7" fmla="*/ 0 h 16"/>
                </a:gdLst>
                <a:cxnLst>
                  <a:cxn ang="0">
                    <a:pos x="T0" y="T1"/>
                  </a:cxn>
                  <a:cxn ang="0">
                    <a:pos x="T2" y="T3"/>
                  </a:cxn>
                  <a:cxn ang="0">
                    <a:pos x="T4" y="T5"/>
                  </a:cxn>
                  <a:cxn ang="0">
                    <a:pos x="T6" y="T7"/>
                  </a:cxn>
                </a:cxnLst>
                <a:rect l="0" t="0" r="r" b="b"/>
                <a:pathLst>
                  <a:path w="12" h="16">
                    <a:moveTo>
                      <a:pt x="0" y="0"/>
                    </a:moveTo>
                    <a:cubicBezTo>
                      <a:pt x="2" y="6"/>
                      <a:pt x="5" y="11"/>
                      <a:pt x="7" y="16"/>
                    </a:cubicBezTo>
                    <a:cubicBezTo>
                      <a:pt x="7" y="15"/>
                      <a:pt x="6" y="12"/>
                      <a:pt x="5" y="11"/>
                    </a:cubicBezTo>
                    <a:cubicBezTo>
                      <a:pt x="12" y="10"/>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1247"/>
              <p:cNvSpPr/>
              <p:nvPr/>
            </p:nvSpPr>
            <p:spPr bwMode="auto">
              <a:xfrm>
                <a:off x="1663" y="1272"/>
                <a:ext cx="9" cy="17"/>
              </a:xfrm>
              <a:custGeom>
                <a:gdLst>
                  <a:gd name="T0" fmla="*/ 4 w 4"/>
                  <a:gd name="T1" fmla="*/ 0 h 7"/>
                  <a:gd name="T2" fmla="*/ 2 w 4"/>
                  <a:gd name="T3" fmla="*/ 2 h 7"/>
                  <a:gd name="T4" fmla="*/ 2 w 4"/>
                  <a:gd name="T5" fmla="*/ 2 h 7"/>
                  <a:gd name="T6" fmla="*/ 2 w 4"/>
                  <a:gd name="T7" fmla="*/ 3 h 7"/>
                  <a:gd name="T8" fmla="*/ 2 w 4"/>
                  <a:gd name="T9" fmla="*/ 7 h 7"/>
                  <a:gd name="T10" fmla="*/ 4 w 4"/>
                  <a:gd name="T11" fmla="*/ 0 h 7"/>
                </a:gdLst>
                <a:cxnLst>
                  <a:cxn ang="0">
                    <a:pos x="T0" y="T1"/>
                  </a:cxn>
                  <a:cxn ang="0">
                    <a:pos x="T2" y="T3"/>
                  </a:cxn>
                  <a:cxn ang="0">
                    <a:pos x="T4" y="T5"/>
                  </a:cxn>
                  <a:cxn ang="0">
                    <a:pos x="T6" y="T7"/>
                  </a:cxn>
                  <a:cxn ang="0">
                    <a:pos x="T8" y="T9"/>
                  </a:cxn>
                  <a:cxn ang="0">
                    <a:pos x="T10" y="T11"/>
                  </a:cxn>
                </a:cxnLst>
                <a:rect l="0" t="0" r="r" b="b"/>
                <a:pathLst>
                  <a:path w="4" h="7">
                    <a:moveTo>
                      <a:pt x="4" y="0"/>
                    </a:moveTo>
                    <a:cubicBezTo>
                      <a:pt x="3" y="1"/>
                      <a:pt x="3" y="2"/>
                      <a:pt x="2" y="2"/>
                    </a:cubicBezTo>
                    <a:cubicBezTo>
                      <a:pt x="2" y="2"/>
                      <a:pt x="2" y="2"/>
                      <a:pt x="2" y="2"/>
                    </a:cubicBezTo>
                    <a:cubicBezTo>
                      <a:pt x="2" y="3"/>
                      <a:pt x="2" y="3"/>
                      <a:pt x="2" y="3"/>
                    </a:cubicBezTo>
                    <a:cubicBezTo>
                      <a:pt x="0" y="4"/>
                      <a:pt x="1" y="6"/>
                      <a:pt x="2" y="7"/>
                    </a:cubicBezTo>
                    <a:cubicBezTo>
                      <a:pt x="3" y="5"/>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1248"/>
              <p:cNvSpPr/>
              <p:nvPr/>
            </p:nvSpPr>
            <p:spPr bwMode="auto">
              <a:xfrm>
                <a:off x="2889" y="1414"/>
                <a:ext cx="43" cy="61"/>
              </a:xfrm>
              <a:custGeom>
                <a:gdLst>
                  <a:gd name="T0" fmla="*/ 11 w 18"/>
                  <a:gd name="T1" fmla="*/ 0 h 26"/>
                  <a:gd name="T2" fmla="*/ 9 w 18"/>
                  <a:gd name="T3" fmla="*/ 1 h 26"/>
                  <a:gd name="T4" fmla="*/ 10 w 18"/>
                  <a:gd name="T5" fmla="*/ 3 h 26"/>
                  <a:gd name="T6" fmla="*/ 9 w 18"/>
                  <a:gd name="T7" fmla="*/ 3 h 26"/>
                  <a:gd name="T8" fmla="*/ 8 w 18"/>
                  <a:gd name="T9" fmla="*/ 4 h 26"/>
                  <a:gd name="T10" fmla="*/ 5 w 18"/>
                  <a:gd name="T11" fmla="*/ 7 h 26"/>
                  <a:gd name="T12" fmla="*/ 3 w 18"/>
                  <a:gd name="T13" fmla="*/ 9 h 26"/>
                  <a:gd name="T14" fmla="*/ 6 w 18"/>
                  <a:gd name="T15" fmla="*/ 11 h 26"/>
                  <a:gd name="T16" fmla="*/ 4 w 18"/>
                  <a:gd name="T17" fmla="*/ 14 h 26"/>
                  <a:gd name="T18" fmla="*/ 3 w 18"/>
                  <a:gd name="T19" fmla="*/ 19 h 26"/>
                  <a:gd name="T20" fmla="*/ 13 w 18"/>
                  <a:gd name="T21" fmla="*/ 26 h 26"/>
                  <a:gd name="T22" fmla="*/ 13 w 18"/>
                  <a:gd name="T23" fmla="*/ 26 h 26"/>
                  <a:gd name="T24" fmla="*/ 16 w 18"/>
                  <a:gd name="T25" fmla="*/ 21 h 26"/>
                  <a:gd name="T26" fmla="*/ 15 w 18"/>
                  <a:gd name="T27" fmla="*/ 22 h 26"/>
                  <a:gd name="T28" fmla="*/ 15 w 18"/>
                  <a:gd name="T29" fmla="*/ 16 h 26"/>
                  <a:gd name="T30" fmla="*/ 15 w 18"/>
                  <a:gd name="T31" fmla="*/ 2 h 26"/>
                  <a:gd name="T32" fmla="*/ 12 w 18"/>
                  <a:gd name="T33" fmla="*/ 0 h 26"/>
                  <a:gd name="T34" fmla="*/ 11 w 18"/>
                  <a:gd name="T35"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6">
                    <a:moveTo>
                      <a:pt x="11" y="0"/>
                    </a:moveTo>
                    <a:cubicBezTo>
                      <a:pt x="10" y="0"/>
                      <a:pt x="10" y="0"/>
                      <a:pt x="9" y="1"/>
                    </a:cubicBezTo>
                    <a:cubicBezTo>
                      <a:pt x="9" y="1"/>
                      <a:pt x="10" y="2"/>
                      <a:pt x="10" y="3"/>
                    </a:cubicBezTo>
                    <a:cubicBezTo>
                      <a:pt x="10" y="3"/>
                      <a:pt x="10" y="3"/>
                      <a:pt x="9" y="3"/>
                    </a:cubicBezTo>
                    <a:cubicBezTo>
                      <a:pt x="9" y="3"/>
                      <a:pt x="8" y="3"/>
                      <a:pt x="8" y="4"/>
                    </a:cubicBezTo>
                    <a:cubicBezTo>
                      <a:pt x="7" y="5"/>
                      <a:pt x="7" y="6"/>
                      <a:pt x="5" y="7"/>
                    </a:cubicBezTo>
                    <a:cubicBezTo>
                      <a:pt x="2" y="9"/>
                      <a:pt x="0" y="7"/>
                      <a:pt x="3" y="9"/>
                    </a:cubicBezTo>
                    <a:cubicBezTo>
                      <a:pt x="4" y="10"/>
                      <a:pt x="6" y="9"/>
                      <a:pt x="6" y="11"/>
                    </a:cubicBezTo>
                    <a:cubicBezTo>
                      <a:pt x="6" y="12"/>
                      <a:pt x="4" y="12"/>
                      <a:pt x="4" y="14"/>
                    </a:cubicBezTo>
                    <a:cubicBezTo>
                      <a:pt x="3" y="19"/>
                      <a:pt x="3" y="19"/>
                      <a:pt x="3" y="19"/>
                    </a:cubicBezTo>
                    <a:cubicBezTo>
                      <a:pt x="3" y="22"/>
                      <a:pt x="9" y="26"/>
                      <a:pt x="13" y="26"/>
                    </a:cubicBezTo>
                    <a:cubicBezTo>
                      <a:pt x="13" y="26"/>
                      <a:pt x="13" y="26"/>
                      <a:pt x="13" y="26"/>
                    </a:cubicBezTo>
                    <a:cubicBezTo>
                      <a:pt x="15" y="26"/>
                      <a:pt x="18" y="21"/>
                      <a:pt x="16" y="21"/>
                    </a:cubicBezTo>
                    <a:cubicBezTo>
                      <a:pt x="15" y="21"/>
                      <a:pt x="15" y="22"/>
                      <a:pt x="15" y="22"/>
                    </a:cubicBezTo>
                    <a:cubicBezTo>
                      <a:pt x="18" y="20"/>
                      <a:pt x="17" y="18"/>
                      <a:pt x="15" y="16"/>
                    </a:cubicBezTo>
                    <a:cubicBezTo>
                      <a:pt x="16" y="11"/>
                      <a:pt x="18" y="6"/>
                      <a:pt x="15" y="2"/>
                    </a:cubicBezTo>
                    <a:cubicBezTo>
                      <a:pt x="13" y="1"/>
                      <a:pt x="14" y="0"/>
                      <a:pt x="12" y="0"/>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1249"/>
              <p:cNvSpPr>
                <a:spLocks noEditPoints="1"/>
              </p:cNvSpPr>
              <p:nvPr/>
            </p:nvSpPr>
            <p:spPr bwMode="auto">
              <a:xfrm>
                <a:off x="2634" y="1069"/>
                <a:ext cx="14" cy="4"/>
              </a:xfrm>
              <a:custGeom>
                <a:gdLst>
                  <a:gd name="T0" fmla="*/ 5 w 6"/>
                  <a:gd name="T1" fmla="*/ 0 h 2"/>
                  <a:gd name="T2" fmla="*/ 0 w 6"/>
                  <a:gd name="T3" fmla="*/ 1 h 2"/>
                  <a:gd name="T4" fmla="*/ 0 w 6"/>
                  <a:gd name="T5" fmla="*/ 2 h 2"/>
                  <a:gd name="T6" fmla="*/ 5 w 6"/>
                  <a:gd name="T7" fmla="*/ 0 h 2"/>
                  <a:gd name="T8" fmla="*/ 6 w 6"/>
                  <a:gd name="T9" fmla="*/ 0 h 2"/>
                  <a:gd name="T10" fmla="*/ 5 w 6"/>
                  <a:gd name="T11" fmla="*/ 0 h 2"/>
                  <a:gd name="T12" fmla="*/ 6 w 6"/>
                  <a:gd name="T13" fmla="*/ 0 h 2"/>
                </a:gdLst>
                <a:cxnLst>
                  <a:cxn ang="0">
                    <a:pos x="T0" y="T1"/>
                  </a:cxn>
                  <a:cxn ang="0">
                    <a:pos x="T2" y="T3"/>
                  </a:cxn>
                  <a:cxn ang="0">
                    <a:pos x="T4" y="T5"/>
                  </a:cxn>
                  <a:cxn ang="0">
                    <a:pos x="T6" y="T7"/>
                  </a:cxn>
                  <a:cxn ang="0">
                    <a:pos x="T8" y="T9"/>
                  </a:cxn>
                  <a:cxn ang="0">
                    <a:pos x="T10" y="T11"/>
                  </a:cxn>
                  <a:cxn ang="0">
                    <a:pos x="T12" y="T13"/>
                  </a:cxn>
                </a:cxnLst>
                <a:rect l="0" t="0" r="r" b="b"/>
                <a:pathLst>
                  <a:path w="6" h="2">
                    <a:moveTo>
                      <a:pt x="5" y="0"/>
                    </a:moveTo>
                    <a:cubicBezTo>
                      <a:pt x="3" y="1"/>
                      <a:pt x="2" y="1"/>
                      <a:pt x="0" y="1"/>
                    </a:cubicBezTo>
                    <a:cubicBezTo>
                      <a:pt x="0" y="2"/>
                      <a:pt x="0" y="2"/>
                      <a:pt x="0" y="2"/>
                    </a:cubicBezTo>
                    <a:cubicBezTo>
                      <a:pt x="2" y="2"/>
                      <a:pt x="4" y="1"/>
                      <a:pt x="5" y="0"/>
                    </a:cubicBezTo>
                    <a:moveTo>
                      <a:pt x="6" y="0"/>
                    </a:moveTo>
                    <a:cubicBezTo>
                      <a:pt x="5" y="0"/>
                      <a:pt x="5" y="0"/>
                      <a:pt x="5" y="0"/>
                    </a:cubicBezTo>
                    <a:cubicBezTo>
                      <a:pt x="5" y="0"/>
                      <a:pt x="5"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1250"/>
              <p:cNvSpPr/>
              <p:nvPr/>
            </p:nvSpPr>
            <p:spPr bwMode="auto">
              <a:xfrm>
                <a:off x="2109" y="1118"/>
                <a:ext cx="52" cy="33"/>
              </a:xfrm>
              <a:custGeom>
                <a:gdLst>
                  <a:gd name="T0" fmla="*/ 11 w 22"/>
                  <a:gd name="T1" fmla="*/ 0 h 14"/>
                  <a:gd name="T2" fmla="*/ 8 w 22"/>
                  <a:gd name="T3" fmla="*/ 0 h 14"/>
                  <a:gd name="T4" fmla="*/ 8 w 22"/>
                  <a:gd name="T5" fmla="*/ 0 h 14"/>
                  <a:gd name="T6" fmla="*/ 2 w 22"/>
                  <a:gd name="T7" fmla="*/ 2 h 14"/>
                  <a:gd name="T8" fmla="*/ 1 w 22"/>
                  <a:gd name="T9" fmla="*/ 9 h 14"/>
                  <a:gd name="T10" fmla="*/ 3 w 22"/>
                  <a:gd name="T11" fmla="*/ 12 h 14"/>
                  <a:gd name="T12" fmla="*/ 10 w 22"/>
                  <a:gd name="T13" fmla="*/ 5 h 14"/>
                  <a:gd name="T14" fmla="*/ 11 w 22"/>
                  <a:gd name="T15" fmla="*/ 9 h 14"/>
                  <a:gd name="T16" fmla="*/ 13 w 22"/>
                  <a:gd name="T17" fmla="*/ 14 h 14"/>
                  <a:gd name="T18" fmla="*/ 22 w 22"/>
                  <a:gd name="T19" fmla="*/ 4 h 14"/>
                  <a:gd name="T20" fmla="*/ 17 w 22"/>
                  <a:gd name="T21" fmla="*/ 2 h 14"/>
                  <a:gd name="T22" fmla="*/ 15 w 22"/>
                  <a:gd name="T23" fmla="*/ 4 h 14"/>
                  <a:gd name="T24" fmla="*/ 11 w 22"/>
                  <a:gd name="T25"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4">
                    <a:moveTo>
                      <a:pt x="11" y="0"/>
                    </a:moveTo>
                    <a:cubicBezTo>
                      <a:pt x="12" y="0"/>
                      <a:pt x="9" y="0"/>
                      <a:pt x="8" y="0"/>
                    </a:cubicBezTo>
                    <a:cubicBezTo>
                      <a:pt x="8" y="0"/>
                      <a:pt x="8" y="0"/>
                      <a:pt x="8" y="0"/>
                    </a:cubicBezTo>
                    <a:cubicBezTo>
                      <a:pt x="6" y="1"/>
                      <a:pt x="4" y="1"/>
                      <a:pt x="2" y="2"/>
                    </a:cubicBezTo>
                    <a:cubicBezTo>
                      <a:pt x="0" y="4"/>
                      <a:pt x="0" y="7"/>
                      <a:pt x="1" y="9"/>
                    </a:cubicBezTo>
                    <a:cubicBezTo>
                      <a:pt x="1" y="12"/>
                      <a:pt x="2" y="12"/>
                      <a:pt x="3" y="12"/>
                    </a:cubicBezTo>
                    <a:cubicBezTo>
                      <a:pt x="5" y="12"/>
                      <a:pt x="8" y="6"/>
                      <a:pt x="10" y="5"/>
                    </a:cubicBezTo>
                    <a:cubicBezTo>
                      <a:pt x="10" y="6"/>
                      <a:pt x="11" y="8"/>
                      <a:pt x="11" y="9"/>
                    </a:cubicBezTo>
                    <a:cubicBezTo>
                      <a:pt x="10" y="13"/>
                      <a:pt x="8" y="12"/>
                      <a:pt x="13" y="14"/>
                    </a:cubicBezTo>
                    <a:cubicBezTo>
                      <a:pt x="14" y="7"/>
                      <a:pt x="15" y="8"/>
                      <a:pt x="22" y="4"/>
                    </a:cubicBezTo>
                    <a:cubicBezTo>
                      <a:pt x="20" y="3"/>
                      <a:pt x="19" y="2"/>
                      <a:pt x="17" y="2"/>
                    </a:cubicBezTo>
                    <a:cubicBezTo>
                      <a:pt x="16" y="2"/>
                      <a:pt x="15" y="3"/>
                      <a:pt x="15" y="4"/>
                    </a:cubicBezTo>
                    <a:cubicBezTo>
                      <a:pt x="14" y="3"/>
                      <a:pt x="13"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1251"/>
              <p:cNvSpPr/>
              <p:nvPr/>
            </p:nvSpPr>
            <p:spPr bwMode="auto">
              <a:xfrm>
                <a:off x="2499" y="1525"/>
                <a:ext cx="10" cy="9"/>
              </a:xfrm>
              <a:custGeom>
                <a:gdLst>
                  <a:gd name="T0" fmla="*/ 4 w 4"/>
                  <a:gd name="T1" fmla="*/ 0 h 4"/>
                  <a:gd name="T2" fmla="*/ 4 w 4"/>
                  <a:gd name="T3" fmla="*/ 4 h 4"/>
                  <a:gd name="T4" fmla="*/ 4 w 4"/>
                  <a:gd name="T5" fmla="*/ 0 h 4"/>
                </a:gdLst>
                <a:cxnLst>
                  <a:cxn ang="0">
                    <a:pos x="T0" y="T1"/>
                  </a:cxn>
                  <a:cxn ang="0">
                    <a:pos x="T2" y="T3"/>
                  </a:cxn>
                  <a:cxn ang="0">
                    <a:pos x="T4" y="T5"/>
                  </a:cxn>
                </a:cxnLst>
                <a:rect l="0" t="0" r="r" b="b"/>
                <a:pathLst>
                  <a:path w="4" h="4">
                    <a:moveTo>
                      <a:pt x="4" y="0"/>
                    </a:moveTo>
                    <a:cubicBezTo>
                      <a:pt x="0" y="1"/>
                      <a:pt x="1" y="3"/>
                      <a:pt x="4" y="4"/>
                    </a:cubicBezTo>
                    <a:cubicBezTo>
                      <a:pt x="4" y="3"/>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1" name="Freeform 1252"/>
              <p:cNvSpPr/>
              <p:nvPr/>
            </p:nvSpPr>
            <p:spPr bwMode="auto">
              <a:xfrm>
                <a:off x="2421" y="1135"/>
                <a:ext cx="57" cy="24"/>
              </a:xfrm>
              <a:custGeom>
                <a:gdLst>
                  <a:gd name="T0" fmla="*/ 11 w 24"/>
                  <a:gd name="T1" fmla="*/ 0 h 10"/>
                  <a:gd name="T2" fmla="*/ 3 w 24"/>
                  <a:gd name="T3" fmla="*/ 1 h 10"/>
                  <a:gd name="T4" fmla="*/ 1 w 24"/>
                  <a:gd name="T5" fmla="*/ 7 h 10"/>
                  <a:gd name="T6" fmla="*/ 6 w 24"/>
                  <a:gd name="T7" fmla="*/ 10 h 10"/>
                  <a:gd name="T8" fmla="*/ 9 w 24"/>
                  <a:gd name="T9" fmla="*/ 9 h 10"/>
                  <a:gd name="T10" fmla="*/ 16 w 24"/>
                  <a:gd name="T11" fmla="*/ 9 h 10"/>
                  <a:gd name="T12" fmla="*/ 18 w 24"/>
                  <a:gd name="T13" fmla="*/ 9 h 10"/>
                  <a:gd name="T14" fmla="*/ 20 w 24"/>
                  <a:gd name="T15" fmla="*/ 9 h 10"/>
                  <a:gd name="T16" fmla="*/ 19 w 24"/>
                  <a:gd name="T17" fmla="*/ 3 h 10"/>
                  <a:gd name="T18" fmla="*/ 11 w 24"/>
                  <a:gd name="T1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0">
                    <a:moveTo>
                      <a:pt x="11" y="0"/>
                    </a:moveTo>
                    <a:cubicBezTo>
                      <a:pt x="9" y="0"/>
                      <a:pt x="6" y="0"/>
                      <a:pt x="3" y="1"/>
                    </a:cubicBezTo>
                    <a:cubicBezTo>
                      <a:pt x="2" y="3"/>
                      <a:pt x="0" y="6"/>
                      <a:pt x="1" y="7"/>
                    </a:cubicBezTo>
                    <a:cubicBezTo>
                      <a:pt x="2" y="9"/>
                      <a:pt x="4" y="10"/>
                      <a:pt x="6" y="10"/>
                    </a:cubicBezTo>
                    <a:cubicBezTo>
                      <a:pt x="7" y="10"/>
                      <a:pt x="8" y="10"/>
                      <a:pt x="9" y="9"/>
                    </a:cubicBezTo>
                    <a:cubicBezTo>
                      <a:pt x="11" y="9"/>
                      <a:pt x="13" y="9"/>
                      <a:pt x="16" y="9"/>
                    </a:cubicBezTo>
                    <a:cubicBezTo>
                      <a:pt x="16" y="9"/>
                      <a:pt x="17" y="9"/>
                      <a:pt x="18" y="9"/>
                    </a:cubicBezTo>
                    <a:cubicBezTo>
                      <a:pt x="18" y="9"/>
                      <a:pt x="19" y="9"/>
                      <a:pt x="20" y="9"/>
                    </a:cubicBezTo>
                    <a:cubicBezTo>
                      <a:pt x="24" y="9"/>
                      <a:pt x="24" y="8"/>
                      <a:pt x="19" y="3"/>
                    </a:cubicBezTo>
                    <a:cubicBezTo>
                      <a:pt x="16" y="1"/>
                      <a:pt x="13"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1253"/>
              <p:cNvSpPr/>
              <p:nvPr/>
            </p:nvSpPr>
            <p:spPr bwMode="auto">
              <a:xfrm>
                <a:off x="344" y="934"/>
                <a:ext cx="59" cy="66"/>
              </a:xfrm>
              <a:custGeom>
                <a:gdLst>
                  <a:gd name="T0" fmla="*/ 8 w 25"/>
                  <a:gd name="T1" fmla="*/ 0 h 28"/>
                  <a:gd name="T2" fmla="*/ 0 w 25"/>
                  <a:gd name="T3" fmla="*/ 4 h 28"/>
                  <a:gd name="T4" fmla="*/ 13 w 25"/>
                  <a:gd name="T5" fmla="*/ 18 h 28"/>
                  <a:gd name="T6" fmla="*/ 22 w 25"/>
                  <a:gd name="T7" fmla="*/ 28 h 28"/>
                  <a:gd name="T8" fmla="*/ 24 w 25"/>
                  <a:gd name="T9" fmla="*/ 22 h 28"/>
                  <a:gd name="T10" fmla="*/ 22 w 25"/>
                  <a:gd name="T11" fmla="*/ 15 h 28"/>
                  <a:gd name="T12" fmla="*/ 8 w 25"/>
                  <a:gd name="T13" fmla="*/ 0 h 28"/>
                </a:gdLst>
                <a:cxnLst>
                  <a:cxn ang="0">
                    <a:pos x="T0" y="T1"/>
                  </a:cxn>
                  <a:cxn ang="0">
                    <a:pos x="T2" y="T3"/>
                  </a:cxn>
                  <a:cxn ang="0">
                    <a:pos x="T4" y="T5"/>
                  </a:cxn>
                  <a:cxn ang="0">
                    <a:pos x="T6" y="T7"/>
                  </a:cxn>
                  <a:cxn ang="0">
                    <a:pos x="T8" y="T9"/>
                  </a:cxn>
                  <a:cxn ang="0">
                    <a:pos x="T10" y="T11"/>
                  </a:cxn>
                  <a:cxn ang="0">
                    <a:pos x="T12" y="T13"/>
                  </a:cxn>
                </a:cxnLst>
                <a:rect l="0" t="0" r="r" b="b"/>
                <a:pathLst>
                  <a:path w="25" h="28">
                    <a:moveTo>
                      <a:pt x="8" y="0"/>
                    </a:moveTo>
                    <a:cubicBezTo>
                      <a:pt x="8" y="4"/>
                      <a:pt x="2" y="2"/>
                      <a:pt x="0" y="4"/>
                    </a:cubicBezTo>
                    <a:cubicBezTo>
                      <a:pt x="5" y="5"/>
                      <a:pt x="8" y="14"/>
                      <a:pt x="13" y="18"/>
                    </a:cubicBezTo>
                    <a:cubicBezTo>
                      <a:pt x="16" y="22"/>
                      <a:pt x="18" y="25"/>
                      <a:pt x="22" y="28"/>
                    </a:cubicBezTo>
                    <a:cubicBezTo>
                      <a:pt x="24" y="27"/>
                      <a:pt x="23" y="25"/>
                      <a:pt x="24" y="22"/>
                    </a:cubicBezTo>
                    <a:cubicBezTo>
                      <a:pt x="24" y="19"/>
                      <a:pt x="25" y="18"/>
                      <a:pt x="22" y="15"/>
                    </a:cubicBezTo>
                    <a:cubicBezTo>
                      <a:pt x="17" y="10"/>
                      <a:pt x="13" y="5"/>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3" name="Freeform 1254"/>
              <p:cNvSpPr/>
              <p:nvPr/>
            </p:nvSpPr>
            <p:spPr bwMode="auto">
              <a:xfrm>
                <a:off x="2899" y="1177"/>
                <a:ext cx="7" cy="10"/>
              </a:xfrm>
              <a:custGeom>
                <a:gdLst>
                  <a:gd name="T0" fmla="*/ 3 w 3"/>
                  <a:gd name="T1" fmla="*/ 0 h 4"/>
                  <a:gd name="T2" fmla="*/ 1 w 3"/>
                  <a:gd name="T3" fmla="*/ 4 h 4"/>
                  <a:gd name="T4" fmla="*/ 3 w 3"/>
                  <a:gd name="T5" fmla="*/ 0 h 4"/>
                </a:gdLst>
                <a:cxnLst>
                  <a:cxn ang="0">
                    <a:pos x="T0" y="T1"/>
                  </a:cxn>
                  <a:cxn ang="0">
                    <a:pos x="T2" y="T3"/>
                  </a:cxn>
                  <a:cxn ang="0">
                    <a:pos x="T4" y="T5"/>
                  </a:cxn>
                </a:cxnLst>
                <a:rect l="0" t="0" r="r" b="b"/>
                <a:pathLst>
                  <a:path w="3" h="4">
                    <a:moveTo>
                      <a:pt x="3" y="0"/>
                    </a:moveTo>
                    <a:cubicBezTo>
                      <a:pt x="1" y="1"/>
                      <a:pt x="0" y="2"/>
                      <a:pt x="1" y="4"/>
                    </a:cubicBezTo>
                    <a:cubicBezTo>
                      <a:pt x="2"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1255"/>
              <p:cNvSpPr/>
              <p:nvPr/>
            </p:nvSpPr>
            <p:spPr bwMode="auto">
              <a:xfrm>
                <a:off x="2419" y="981"/>
                <a:ext cx="2" cy="5"/>
              </a:xfrm>
              <a:custGeom>
                <a:gdLst>
                  <a:gd name="T0" fmla="*/ 1 w 1"/>
                  <a:gd name="T1" fmla="*/ 0 h 2"/>
                  <a:gd name="T2" fmla="*/ 0 w 1"/>
                  <a:gd name="T3" fmla="*/ 2 h 2"/>
                  <a:gd name="T4" fmla="*/ 1 w 1"/>
                  <a:gd name="T5" fmla="*/ 0 h 2"/>
                </a:gdLst>
                <a:cxnLst>
                  <a:cxn ang="0">
                    <a:pos x="T0" y="T1"/>
                  </a:cxn>
                  <a:cxn ang="0">
                    <a:pos x="T2" y="T3"/>
                  </a:cxn>
                  <a:cxn ang="0">
                    <a:pos x="T4" y="T5"/>
                  </a:cxn>
                </a:cxnLst>
                <a:rect l="0" t="0" r="r" b="b"/>
                <a:pathLst>
                  <a:path w="1" h="2">
                    <a:moveTo>
                      <a:pt x="1" y="0"/>
                    </a:moveTo>
                    <a:cubicBezTo>
                      <a:pt x="0" y="1"/>
                      <a:pt x="0" y="2"/>
                      <a:pt x="0" y="2"/>
                    </a:cubicBezTo>
                    <a:cubicBezTo>
                      <a:pt x="0" y="2"/>
                      <a:pt x="0"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Freeform 1256"/>
              <p:cNvSpPr/>
              <p:nvPr/>
            </p:nvSpPr>
            <p:spPr bwMode="auto">
              <a:xfrm>
                <a:off x="2414" y="1062"/>
                <a:ext cx="45" cy="37"/>
              </a:xfrm>
              <a:custGeom>
                <a:gdLst>
                  <a:gd name="T0" fmla="*/ 8 w 19"/>
                  <a:gd name="T1" fmla="*/ 0 h 16"/>
                  <a:gd name="T2" fmla="*/ 6 w 19"/>
                  <a:gd name="T3" fmla="*/ 3 h 16"/>
                  <a:gd name="T4" fmla="*/ 6 w 19"/>
                  <a:gd name="T5" fmla="*/ 3 h 16"/>
                  <a:gd name="T6" fmla="*/ 5 w 19"/>
                  <a:gd name="T7" fmla="*/ 1 h 16"/>
                  <a:gd name="T8" fmla="*/ 4 w 19"/>
                  <a:gd name="T9" fmla="*/ 0 h 16"/>
                  <a:gd name="T10" fmla="*/ 4 w 19"/>
                  <a:gd name="T11" fmla="*/ 0 h 16"/>
                  <a:gd name="T12" fmla="*/ 3 w 19"/>
                  <a:gd name="T13" fmla="*/ 8 h 16"/>
                  <a:gd name="T14" fmla="*/ 6 w 19"/>
                  <a:gd name="T15" fmla="*/ 10 h 16"/>
                  <a:gd name="T16" fmla="*/ 6 w 19"/>
                  <a:gd name="T17" fmla="*/ 11 h 16"/>
                  <a:gd name="T18" fmla="*/ 7 w 19"/>
                  <a:gd name="T19" fmla="*/ 14 h 16"/>
                  <a:gd name="T20" fmla="*/ 8 w 19"/>
                  <a:gd name="T21" fmla="*/ 14 h 16"/>
                  <a:gd name="T22" fmla="*/ 11 w 19"/>
                  <a:gd name="T23" fmla="*/ 13 h 16"/>
                  <a:gd name="T24" fmla="*/ 14 w 19"/>
                  <a:gd name="T25" fmla="*/ 16 h 16"/>
                  <a:gd name="T26" fmla="*/ 15 w 19"/>
                  <a:gd name="T27" fmla="*/ 16 h 16"/>
                  <a:gd name="T28" fmla="*/ 18 w 19"/>
                  <a:gd name="T29" fmla="*/ 14 h 16"/>
                  <a:gd name="T30" fmla="*/ 13 w 19"/>
                  <a:gd name="T31" fmla="*/ 11 h 16"/>
                  <a:gd name="T32" fmla="*/ 13 w 19"/>
                  <a:gd name="T33" fmla="*/ 11 h 16"/>
                  <a:gd name="T34" fmla="*/ 13 w 19"/>
                  <a:gd name="T35" fmla="*/ 11 h 16"/>
                  <a:gd name="T36" fmla="*/ 12 w 19"/>
                  <a:gd name="T37" fmla="*/ 11 h 16"/>
                  <a:gd name="T38" fmla="*/ 12 w 19"/>
                  <a:gd name="T39" fmla="*/ 10 h 16"/>
                  <a:gd name="T40" fmla="*/ 8 w 19"/>
                  <a:gd name="T41"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16">
                    <a:moveTo>
                      <a:pt x="8" y="0"/>
                    </a:moveTo>
                    <a:cubicBezTo>
                      <a:pt x="8" y="0"/>
                      <a:pt x="7" y="3"/>
                      <a:pt x="6" y="3"/>
                    </a:cubicBezTo>
                    <a:cubicBezTo>
                      <a:pt x="6" y="3"/>
                      <a:pt x="6" y="3"/>
                      <a:pt x="6" y="3"/>
                    </a:cubicBezTo>
                    <a:cubicBezTo>
                      <a:pt x="5" y="3"/>
                      <a:pt x="5" y="2"/>
                      <a:pt x="5" y="1"/>
                    </a:cubicBezTo>
                    <a:cubicBezTo>
                      <a:pt x="4" y="1"/>
                      <a:pt x="4" y="0"/>
                      <a:pt x="4" y="0"/>
                    </a:cubicBezTo>
                    <a:cubicBezTo>
                      <a:pt x="4" y="0"/>
                      <a:pt x="4" y="0"/>
                      <a:pt x="4" y="0"/>
                    </a:cubicBezTo>
                    <a:cubicBezTo>
                      <a:pt x="0" y="1"/>
                      <a:pt x="2" y="6"/>
                      <a:pt x="3" y="8"/>
                    </a:cubicBezTo>
                    <a:cubicBezTo>
                      <a:pt x="4" y="8"/>
                      <a:pt x="6" y="9"/>
                      <a:pt x="6" y="10"/>
                    </a:cubicBezTo>
                    <a:cubicBezTo>
                      <a:pt x="7" y="10"/>
                      <a:pt x="6" y="11"/>
                      <a:pt x="6" y="11"/>
                    </a:cubicBezTo>
                    <a:cubicBezTo>
                      <a:pt x="6" y="13"/>
                      <a:pt x="5" y="14"/>
                      <a:pt x="7" y="14"/>
                    </a:cubicBezTo>
                    <a:cubicBezTo>
                      <a:pt x="7" y="14"/>
                      <a:pt x="7" y="14"/>
                      <a:pt x="8" y="14"/>
                    </a:cubicBezTo>
                    <a:cubicBezTo>
                      <a:pt x="9" y="13"/>
                      <a:pt x="10" y="13"/>
                      <a:pt x="11" y="13"/>
                    </a:cubicBezTo>
                    <a:cubicBezTo>
                      <a:pt x="13" y="13"/>
                      <a:pt x="11" y="16"/>
                      <a:pt x="14" y="16"/>
                    </a:cubicBezTo>
                    <a:cubicBezTo>
                      <a:pt x="14" y="16"/>
                      <a:pt x="15" y="16"/>
                      <a:pt x="15" y="16"/>
                    </a:cubicBezTo>
                    <a:cubicBezTo>
                      <a:pt x="16" y="16"/>
                      <a:pt x="17" y="15"/>
                      <a:pt x="18" y="14"/>
                    </a:cubicBezTo>
                    <a:cubicBezTo>
                      <a:pt x="19" y="13"/>
                      <a:pt x="14" y="12"/>
                      <a:pt x="13" y="11"/>
                    </a:cubicBezTo>
                    <a:cubicBezTo>
                      <a:pt x="13" y="11"/>
                      <a:pt x="13" y="11"/>
                      <a:pt x="13" y="11"/>
                    </a:cubicBezTo>
                    <a:cubicBezTo>
                      <a:pt x="13" y="11"/>
                      <a:pt x="13" y="11"/>
                      <a:pt x="13" y="11"/>
                    </a:cubicBezTo>
                    <a:cubicBezTo>
                      <a:pt x="12" y="11"/>
                      <a:pt x="12" y="11"/>
                      <a:pt x="12" y="11"/>
                    </a:cubicBezTo>
                    <a:cubicBezTo>
                      <a:pt x="12" y="11"/>
                      <a:pt x="12" y="11"/>
                      <a:pt x="12" y="10"/>
                    </a:cubicBezTo>
                    <a:cubicBezTo>
                      <a:pt x="11" y="5"/>
                      <a:pt x="11"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1257"/>
              <p:cNvSpPr/>
              <p:nvPr/>
            </p:nvSpPr>
            <p:spPr bwMode="auto">
              <a:xfrm>
                <a:off x="1407" y="1433"/>
                <a:ext cx="10" cy="7"/>
              </a:xfrm>
              <a:custGeom>
                <a:gdLst>
                  <a:gd name="T0" fmla="*/ 4 w 4"/>
                  <a:gd name="T1" fmla="*/ 0 h 3"/>
                  <a:gd name="T2" fmla="*/ 0 w 4"/>
                  <a:gd name="T3" fmla="*/ 3 h 3"/>
                  <a:gd name="T4" fmla="*/ 4 w 4"/>
                  <a:gd name="T5" fmla="*/ 0 h 3"/>
                </a:gdLst>
                <a:cxnLst>
                  <a:cxn ang="0">
                    <a:pos x="T0" y="T1"/>
                  </a:cxn>
                  <a:cxn ang="0">
                    <a:pos x="T2" y="T3"/>
                  </a:cxn>
                  <a:cxn ang="0">
                    <a:pos x="T4" y="T5"/>
                  </a:cxn>
                </a:cxnLst>
                <a:rect l="0" t="0" r="r" b="b"/>
                <a:pathLst>
                  <a:path w="4" h="3">
                    <a:moveTo>
                      <a:pt x="4" y="0"/>
                    </a:moveTo>
                    <a:cubicBezTo>
                      <a:pt x="2" y="1"/>
                      <a:pt x="0" y="1"/>
                      <a:pt x="0" y="3"/>
                    </a:cubicBezTo>
                    <a:cubicBezTo>
                      <a:pt x="2" y="2"/>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7" name="Freeform 1258"/>
              <p:cNvSpPr/>
              <p:nvPr/>
            </p:nvSpPr>
            <p:spPr bwMode="auto">
              <a:xfrm>
                <a:off x="214" y="653"/>
                <a:ext cx="747" cy="794"/>
              </a:xfrm>
              <a:custGeom>
                <a:gdLst>
                  <a:gd name="T0" fmla="*/ 2 w 316"/>
                  <a:gd name="T1" fmla="*/ 6 h 336"/>
                  <a:gd name="T2" fmla="*/ 55 w 316"/>
                  <a:gd name="T3" fmla="*/ 63 h 336"/>
                  <a:gd name="T4" fmla="*/ 71 w 316"/>
                  <a:gd name="T5" fmla="*/ 87 h 336"/>
                  <a:gd name="T6" fmla="*/ 91 w 316"/>
                  <a:gd name="T7" fmla="*/ 104 h 336"/>
                  <a:gd name="T8" fmla="*/ 104 w 316"/>
                  <a:gd name="T9" fmla="*/ 117 h 336"/>
                  <a:gd name="T10" fmla="*/ 124 w 316"/>
                  <a:gd name="T11" fmla="*/ 159 h 336"/>
                  <a:gd name="T12" fmla="*/ 162 w 316"/>
                  <a:gd name="T13" fmla="*/ 215 h 336"/>
                  <a:gd name="T14" fmla="*/ 204 w 316"/>
                  <a:gd name="T15" fmla="*/ 272 h 336"/>
                  <a:gd name="T16" fmla="*/ 239 w 316"/>
                  <a:gd name="T17" fmla="*/ 302 h 336"/>
                  <a:gd name="T18" fmla="*/ 274 w 316"/>
                  <a:gd name="T19" fmla="*/ 336 h 336"/>
                  <a:gd name="T20" fmla="*/ 276 w 316"/>
                  <a:gd name="T21" fmla="*/ 324 h 336"/>
                  <a:gd name="T22" fmla="*/ 289 w 316"/>
                  <a:gd name="T23" fmla="*/ 331 h 336"/>
                  <a:gd name="T24" fmla="*/ 295 w 316"/>
                  <a:gd name="T25" fmla="*/ 324 h 336"/>
                  <a:gd name="T26" fmla="*/ 310 w 316"/>
                  <a:gd name="T27" fmla="*/ 291 h 336"/>
                  <a:gd name="T28" fmla="*/ 311 w 316"/>
                  <a:gd name="T29" fmla="*/ 264 h 336"/>
                  <a:gd name="T30" fmla="*/ 293 w 316"/>
                  <a:gd name="T31" fmla="*/ 232 h 336"/>
                  <a:gd name="T32" fmla="*/ 279 w 316"/>
                  <a:gd name="T33" fmla="*/ 233 h 336"/>
                  <a:gd name="T34" fmla="*/ 274 w 316"/>
                  <a:gd name="T35" fmla="*/ 233 h 336"/>
                  <a:gd name="T36" fmla="*/ 270 w 316"/>
                  <a:gd name="T37" fmla="*/ 217 h 336"/>
                  <a:gd name="T38" fmla="*/ 265 w 316"/>
                  <a:gd name="T39" fmla="*/ 194 h 336"/>
                  <a:gd name="T40" fmla="*/ 261 w 316"/>
                  <a:gd name="T41" fmla="*/ 194 h 336"/>
                  <a:gd name="T42" fmla="*/ 238 w 316"/>
                  <a:gd name="T43" fmla="*/ 177 h 336"/>
                  <a:gd name="T44" fmla="*/ 237 w 316"/>
                  <a:gd name="T45" fmla="*/ 174 h 336"/>
                  <a:gd name="T46" fmla="*/ 235 w 316"/>
                  <a:gd name="T47" fmla="*/ 171 h 336"/>
                  <a:gd name="T48" fmla="*/ 245 w 316"/>
                  <a:gd name="T49" fmla="*/ 165 h 336"/>
                  <a:gd name="T50" fmla="*/ 245 w 316"/>
                  <a:gd name="T51" fmla="*/ 154 h 336"/>
                  <a:gd name="T52" fmla="*/ 226 w 316"/>
                  <a:gd name="T53" fmla="*/ 153 h 336"/>
                  <a:gd name="T54" fmla="*/ 215 w 316"/>
                  <a:gd name="T55" fmla="*/ 158 h 336"/>
                  <a:gd name="T56" fmla="*/ 230 w 316"/>
                  <a:gd name="T57" fmla="*/ 151 h 336"/>
                  <a:gd name="T58" fmla="*/ 209 w 316"/>
                  <a:gd name="T59" fmla="*/ 139 h 336"/>
                  <a:gd name="T60" fmla="*/ 183 w 316"/>
                  <a:gd name="T61" fmla="*/ 114 h 336"/>
                  <a:gd name="T62" fmla="*/ 165 w 316"/>
                  <a:gd name="T63" fmla="*/ 99 h 336"/>
                  <a:gd name="T64" fmla="*/ 167 w 316"/>
                  <a:gd name="T65" fmla="*/ 111 h 336"/>
                  <a:gd name="T66" fmla="*/ 152 w 316"/>
                  <a:gd name="T67" fmla="*/ 97 h 336"/>
                  <a:gd name="T68" fmla="*/ 140 w 316"/>
                  <a:gd name="T69" fmla="*/ 87 h 336"/>
                  <a:gd name="T70" fmla="*/ 109 w 316"/>
                  <a:gd name="T71" fmla="*/ 58 h 336"/>
                  <a:gd name="T72" fmla="*/ 93 w 316"/>
                  <a:gd name="T73" fmla="*/ 60 h 336"/>
                  <a:gd name="T74" fmla="*/ 94 w 316"/>
                  <a:gd name="T75" fmla="*/ 46 h 336"/>
                  <a:gd name="T76" fmla="*/ 89 w 316"/>
                  <a:gd name="T77" fmla="*/ 38 h 336"/>
                  <a:gd name="T78" fmla="*/ 69 w 316"/>
                  <a:gd name="T79" fmla="*/ 12 h 336"/>
                  <a:gd name="T80" fmla="*/ 58 w 316"/>
                  <a:gd name="T81" fmla="*/ 13 h 336"/>
                  <a:gd name="T82" fmla="*/ 39 w 316"/>
                  <a:gd name="T83" fmla="*/ 11 h 3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6" h="336">
                    <a:moveTo>
                      <a:pt x="12" y="0"/>
                    </a:moveTo>
                    <a:cubicBezTo>
                      <a:pt x="8" y="0"/>
                      <a:pt x="6" y="0"/>
                      <a:pt x="3" y="2"/>
                    </a:cubicBezTo>
                    <a:cubicBezTo>
                      <a:pt x="0" y="3"/>
                      <a:pt x="1" y="3"/>
                      <a:pt x="2" y="6"/>
                    </a:cubicBezTo>
                    <a:cubicBezTo>
                      <a:pt x="3" y="12"/>
                      <a:pt x="4" y="15"/>
                      <a:pt x="8" y="20"/>
                    </a:cubicBezTo>
                    <a:cubicBezTo>
                      <a:pt x="18" y="33"/>
                      <a:pt x="29" y="48"/>
                      <a:pt x="44" y="56"/>
                    </a:cubicBezTo>
                    <a:cubicBezTo>
                      <a:pt x="47" y="58"/>
                      <a:pt x="52" y="60"/>
                      <a:pt x="55" y="63"/>
                    </a:cubicBezTo>
                    <a:cubicBezTo>
                      <a:pt x="58" y="67"/>
                      <a:pt x="61" y="71"/>
                      <a:pt x="65" y="75"/>
                    </a:cubicBezTo>
                    <a:cubicBezTo>
                      <a:pt x="66" y="77"/>
                      <a:pt x="69" y="79"/>
                      <a:pt x="70" y="80"/>
                    </a:cubicBezTo>
                    <a:cubicBezTo>
                      <a:pt x="71" y="82"/>
                      <a:pt x="71" y="85"/>
                      <a:pt x="71" y="87"/>
                    </a:cubicBezTo>
                    <a:cubicBezTo>
                      <a:pt x="72" y="90"/>
                      <a:pt x="72" y="95"/>
                      <a:pt x="74" y="97"/>
                    </a:cubicBezTo>
                    <a:cubicBezTo>
                      <a:pt x="76" y="98"/>
                      <a:pt x="78" y="98"/>
                      <a:pt x="80" y="99"/>
                    </a:cubicBezTo>
                    <a:cubicBezTo>
                      <a:pt x="84" y="100"/>
                      <a:pt x="87" y="102"/>
                      <a:pt x="91" y="104"/>
                    </a:cubicBezTo>
                    <a:cubicBezTo>
                      <a:pt x="96" y="107"/>
                      <a:pt x="99" y="110"/>
                      <a:pt x="103" y="113"/>
                    </a:cubicBezTo>
                    <a:cubicBezTo>
                      <a:pt x="103" y="113"/>
                      <a:pt x="103" y="112"/>
                      <a:pt x="103" y="112"/>
                    </a:cubicBezTo>
                    <a:cubicBezTo>
                      <a:pt x="105" y="112"/>
                      <a:pt x="104" y="115"/>
                      <a:pt x="104" y="117"/>
                    </a:cubicBezTo>
                    <a:cubicBezTo>
                      <a:pt x="105" y="122"/>
                      <a:pt x="106" y="125"/>
                      <a:pt x="108" y="130"/>
                    </a:cubicBezTo>
                    <a:cubicBezTo>
                      <a:pt x="110" y="137"/>
                      <a:pt x="112" y="145"/>
                      <a:pt x="114" y="152"/>
                    </a:cubicBezTo>
                    <a:cubicBezTo>
                      <a:pt x="116" y="158"/>
                      <a:pt x="118" y="157"/>
                      <a:pt x="124" y="159"/>
                    </a:cubicBezTo>
                    <a:cubicBezTo>
                      <a:pt x="128" y="160"/>
                      <a:pt x="129" y="161"/>
                      <a:pt x="131" y="166"/>
                    </a:cubicBezTo>
                    <a:cubicBezTo>
                      <a:pt x="136" y="175"/>
                      <a:pt x="149" y="183"/>
                      <a:pt x="150" y="193"/>
                    </a:cubicBezTo>
                    <a:cubicBezTo>
                      <a:pt x="151" y="201"/>
                      <a:pt x="158" y="208"/>
                      <a:pt x="162" y="215"/>
                    </a:cubicBezTo>
                    <a:cubicBezTo>
                      <a:pt x="166" y="221"/>
                      <a:pt x="167" y="228"/>
                      <a:pt x="169" y="234"/>
                    </a:cubicBezTo>
                    <a:cubicBezTo>
                      <a:pt x="171" y="242"/>
                      <a:pt x="180" y="249"/>
                      <a:pt x="185" y="255"/>
                    </a:cubicBezTo>
                    <a:cubicBezTo>
                      <a:pt x="190" y="261"/>
                      <a:pt x="198" y="266"/>
                      <a:pt x="204" y="272"/>
                    </a:cubicBezTo>
                    <a:cubicBezTo>
                      <a:pt x="207" y="274"/>
                      <a:pt x="205" y="278"/>
                      <a:pt x="207" y="279"/>
                    </a:cubicBezTo>
                    <a:cubicBezTo>
                      <a:pt x="211" y="282"/>
                      <a:pt x="215" y="286"/>
                      <a:pt x="219" y="289"/>
                    </a:cubicBezTo>
                    <a:cubicBezTo>
                      <a:pt x="226" y="293"/>
                      <a:pt x="232" y="298"/>
                      <a:pt x="239" y="302"/>
                    </a:cubicBezTo>
                    <a:cubicBezTo>
                      <a:pt x="245" y="307"/>
                      <a:pt x="250" y="312"/>
                      <a:pt x="256" y="318"/>
                    </a:cubicBezTo>
                    <a:cubicBezTo>
                      <a:pt x="260" y="323"/>
                      <a:pt x="265" y="327"/>
                      <a:pt x="269" y="332"/>
                    </a:cubicBezTo>
                    <a:cubicBezTo>
                      <a:pt x="270" y="334"/>
                      <a:pt x="272" y="336"/>
                      <a:pt x="274" y="336"/>
                    </a:cubicBezTo>
                    <a:cubicBezTo>
                      <a:pt x="274" y="336"/>
                      <a:pt x="275" y="336"/>
                      <a:pt x="275" y="336"/>
                    </a:cubicBezTo>
                    <a:cubicBezTo>
                      <a:pt x="274" y="333"/>
                      <a:pt x="271" y="323"/>
                      <a:pt x="275" y="323"/>
                    </a:cubicBezTo>
                    <a:cubicBezTo>
                      <a:pt x="275" y="323"/>
                      <a:pt x="276" y="324"/>
                      <a:pt x="276" y="324"/>
                    </a:cubicBezTo>
                    <a:cubicBezTo>
                      <a:pt x="277" y="324"/>
                      <a:pt x="279" y="326"/>
                      <a:pt x="280" y="327"/>
                    </a:cubicBezTo>
                    <a:cubicBezTo>
                      <a:pt x="281" y="328"/>
                      <a:pt x="283" y="329"/>
                      <a:pt x="285" y="329"/>
                    </a:cubicBezTo>
                    <a:cubicBezTo>
                      <a:pt x="286" y="330"/>
                      <a:pt x="287" y="331"/>
                      <a:pt x="289" y="331"/>
                    </a:cubicBezTo>
                    <a:cubicBezTo>
                      <a:pt x="289" y="331"/>
                      <a:pt x="290" y="330"/>
                      <a:pt x="290" y="329"/>
                    </a:cubicBezTo>
                    <a:cubicBezTo>
                      <a:pt x="291" y="327"/>
                      <a:pt x="292" y="324"/>
                      <a:pt x="294" y="324"/>
                    </a:cubicBezTo>
                    <a:cubicBezTo>
                      <a:pt x="295" y="324"/>
                      <a:pt x="295" y="324"/>
                      <a:pt x="295" y="324"/>
                    </a:cubicBezTo>
                    <a:cubicBezTo>
                      <a:pt x="299" y="324"/>
                      <a:pt x="303" y="332"/>
                      <a:pt x="307" y="335"/>
                    </a:cubicBezTo>
                    <a:cubicBezTo>
                      <a:pt x="308" y="333"/>
                      <a:pt x="308" y="331"/>
                      <a:pt x="309" y="329"/>
                    </a:cubicBezTo>
                    <a:cubicBezTo>
                      <a:pt x="311" y="317"/>
                      <a:pt x="311" y="303"/>
                      <a:pt x="310" y="291"/>
                    </a:cubicBezTo>
                    <a:cubicBezTo>
                      <a:pt x="309" y="286"/>
                      <a:pt x="309" y="284"/>
                      <a:pt x="312" y="279"/>
                    </a:cubicBezTo>
                    <a:cubicBezTo>
                      <a:pt x="312" y="277"/>
                      <a:pt x="313" y="276"/>
                      <a:pt x="313" y="274"/>
                    </a:cubicBezTo>
                    <a:cubicBezTo>
                      <a:pt x="311" y="269"/>
                      <a:pt x="308" y="270"/>
                      <a:pt x="311" y="264"/>
                    </a:cubicBezTo>
                    <a:cubicBezTo>
                      <a:pt x="312" y="262"/>
                      <a:pt x="316" y="259"/>
                      <a:pt x="316" y="258"/>
                    </a:cubicBezTo>
                    <a:cubicBezTo>
                      <a:pt x="315" y="249"/>
                      <a:pt x="309" y="242"/>
                      <a:pt x="304" y="235"/>
                    </a:cubicBezTo>
                    <a:cubicBezTo>
                      <a:pt x="302" y="232"/>
                      <a:pt x="296" y="232"/>
                      <a:pt x="293" y="232"/>
                    </a:cubicBezTo>
                    <a:cubicBezTo>
                      <a:pt x="289" y="231"/>
                      <a:pt x="285" y="231"/>
                      <a:pt x="281" y="230"/>
                    </a:cubicBezTo>
                    <a:cubicBezTo>
                      <a:pt x="281" y="230"/>
                      <a:pt x="281" y="230"/>
                      <a:pt x="281" y="230"/>
                    </a:cubicBezTo>
                    <a:cubicBezTo>
                      <a:pt x="281" y="230"/>
                      <a:pt x="279" y="232"/>
                      <a:pt x="279" y="233"/>
                    </a:cubicBezTo>
                    <a:cubicBezTo>
                      <a:pt x="278" y="234"/>
                      <a:pt x="279" y="235"/>
                      <a:pt x="278" y="237"/>
                    </a:cubicBezTo>
                    <a:cubicBezTo>
                      <a:pt x="277" y="240"/>
                      <a:pt x="274" y="242"/>
                      <a:pt x="272" y="244"/>
                    </a:cubicBezTo>
                    <a:cubicBezTo>
                      <a:pt x="272" y="237"/>
                      <a:pt x="281" y="240"/>
                      <a:pt x="274" y="233"/>
                    </a:cubicBezTo>
                    <a:cubicBezTo>
                      <a:pt x="275" y="232"/>
                      <a:pt x="277" y="232"/>
                      <a:pt x="279" y="230"/>
                    </a:cubicBezTo>
                    <a:cubicBezTo>
                      <a:pt x="284" y="225"/>
                      <a:pt x="274" y="226"/>
                      <a:pt x="273" y="222"/>
                    </a:cubicBezTo>
                    <a:cubicBezTo>
                      <a:pt x="271" y="220"/>
                      <a:pt x="271" y="220"/>
                      <a:pt x="270" y="217"/>
                    </a:cubicBezTo>
                    <a:cubicBezTo>
                      <a:pt x="270" y="215"/>
                      <a:pt x="271" y="213"/>
                      <a:pt x="271" y="210"/>
                    </a:cubicBezTo>
                    <a:cubicBezTo>
                      <a:pt x="270" y="206"/>
                      <a:pt x="269" y="202"/>
                      <a:pt x="268" y="197"/>
                    </a:cubicBezTo>
                    <a:cubicBezTo>
                      <a:pt x="267" y="194"/>
                      <a:pt x="266" y="194"/>
                      <a:pt x="265" y="194"/>
                    </a:cubicBezTo>
                    <a:cubicBezTo>
                      <a:pt x="265" y="194"/>
                      <a:pt x="264" y="194"/>
                      <a:pt x="263" y="194"/>
                    </a:cubicBezTo>
                    <a:cubicBezTo>
                      <a:pt x="263" y="194"/>
                      <a:pt x="262" y="194"/>
                      <a:pt x="262" y="194"/>
                    </a:cubicBezTo>
                    <a:cubicBezTo>
                      <a:pt x="261" y="194"/>
                      <a:pt x="261" y="194"/>
                      <a:pt x="261" y="194"/>
                    </a:cubicBezTo>
                    <a:cubicBezTo>
                      <a:pt x="259" y="194"/>
                      <a:pt x="257" y="193"/>
                      <a:pt x="255" y="192"/>
                    </a:cubicBezTo>
                    <a:cubicBezTo>
                      <a:pt x="252" y="192"/>
                      <a:pt x="250" y="192"/>
                      <a:pt x="247" y="191"/>
                    </a:cubicBezTo>
                    <a:cubicBezTo>
                      <a:pt x="240" y="188"/>
                      <a:pt x="239" y="184"/>
                      <a:pt x="238" y="177"/>
                    </a:cubicBezTo>
                    <a:cubicBezTo>
                      <a:pt x="238" y="178"/>
                      <a:pt x="239" y="179"/>
                      <a:pt x="240" y="179"/>
                    </a:cubicBezTo>
                    <a:cubicBezTo>
                      <a:pt x="241" y="179"/>
                      <a:pt x="243" y="177"/>
                      <a:pt x="244" y="176"/>
                    </a:cubicBezTo>
                    <a:cubicBezTo>
                      <a:pt x="242" y="174"/>
                      <a:pt x="240" y="175"/>
                      <a:pt x="237" y="174"/>
                    </a:cubicBezTo>
                    <a:cubicBezTo>
                      <a:pt x="239" y="173"/>
                      <a:pt x="240" y="172"/>
                      <a:pt x="241" y="170"/>
                    </a:cubicBezTo>
                    <a:cubicBezTo>
                      <a:pt x="240" y="170"/>
                      <a:pt x="238" y="171"/>
                      <a:pt x="236" y="171"/>
                    </a:cubicBezTo>
                    <a:cubicBezTo>
                      <a:pt x="236" y="171"/>
                      <a:pt x="236" y="171"/>
                      <a:pt x="235" y="171"/>
                    </a:cubicBezTo>
                    <a:cubicBezTo>
                      <a:pt x="239" y="170"/>
                      <a:pt x="239" y="170"/>
                      <a:pt x="242" y="167"/>
                    </a:cubicBezTo>
                    <a:cubicBezTo>
                      <a:pt x="243" y="166"/>
                      <a:pt x="243" y="164"/>
                      <a:pt x="244" y="164"/>
                    </a:cubicBezTo>
                    <a:cubicBezTo>
                      <a:pt x="245" y="165"/>
                      <a:pt x="245" y="165"/>
                      <a:pt x="245" y="165"/>
                    </a:cubicBezTo>
                    <a:cubicBezTo>
                      <a:pt x="247" y="165"/>
                      <a:pt x="249" y="164"/>
                      <a:pt x="251" y="164"/>
                    </a:cubicBezTo>
                    <a:cubicBezTo>
                      <a:pt x="250" y="162"/>
                      <a:pt x="249" y="154"/>
                      <a:pt x="246" y="154"/>
                    </a:cubicBezTo>
                    <a:cubicBezTo>
                      <a:pt x="246" y="154"/>
                      <a:pt x="245" y="154"/>
                      <a:pt x="245" y="154"/>
                    </a:cubicBezTo>
                    <a:cubicBezTo>
                      <a:pt x="244" y="152"/>
                      <a:pt x="242" y="150"/>
                      <a:pt x="240" y="149"/>
                    </a:cubicBezTo>
                    <a:cubicBezTo>
                      <a:pt x="239" y="149"/>
                      <a:pt x="238" y="148"/>
                      <a:pt x="237" y="148"/>
                    </a:cubicBezTo>
                    <a:cubicBezTo>
                      <a:pt x="234" y="148"/>
                      <a:pt x="230" y="151"/>
                      <a:pt x="226" y="153"/>
                    </a:cubicBezTo>
                    <a:cubicBezTo>
                      <a:pt x="223" y="156"/>
                      <a:pt x="219" y="158"/>
                      <a:pt x="215" y="158"/>
                    </a:cubicBezTo>
                    <a:cubicBezTo>
                      <a:pt x="214" y="158"/>
                      <a:pt x="212" y="158"/>
                      <a:pt x="211" y="156"/>
                    </a:cubicBezTo>
                    <a:cubicBezTo>
                      <a:pt x="213" y="157"/>
                      <a:pt x="214" y="158"/>
                      <a:pt x="215" y="158"/>
                    </a:cubicBezTo>
                    <a:cubicBezTo>
                      <a:pt x="216" y="158"/>
                      <a:pt x="217" y="157"/>
                      <a:pt x="219" y="156"/>
                    </a:cubicBezTo>
                    <a:cubicBezTo>
                      <a:pt x="221" y="155"/>
                      <a:pt x="223" y="154"/>
                      <a:pt x="224" y="154"/>
                    </a:cubicBezTo>
                    <a:cubicBezTo>
                      <a:pt x="225" y="153"/>
                      <a:pt x="229" y="151"/>
                      <a:pt x="230" y="151"/>
                    </a:cubicBezTo>
                    <a:cubicBezTo>
                      <a:pt x="230" y="149"/>
                      <a:pt x="226" y="144"/>
                      <a:pt x="225" y="144"/>
                    </a:cubicBezTo>
                    <a:cubicBezTo>
                      <a:pt x="221" y="143"/>
                      <a:pt x="218" y="142"/>
                      <a:pt x="214" y="142"/>
                    </a:cubicBezTo>
                    <a:cubicBezTo>
                      <a:pt x="211" y="141"/>
                      <a:pt x="211" y="140"/>
                      <a:pt x="209" y="139"/>
                    </a:cubicBezTo>
                    <a:cubicBezTo>
                      <a:pt x="205" y="136"/>
                      <a:pt x="204" y="134"/>
                      <a:pt x="203" y="129"/>
                    </a:cubicBezTo>
                    <a:cubicBezTo>
                      <a:pt x="202" y="125"/>
                      <a:pt x="197" y="121"/>
                      <a:pt x="194" y="118"/>
                    </a:cubicBezTo>
                    <a:cubicBezTo>
                      <a:pt x="191" y="116"/>
                      <a:pt x="187" y="115"/>
                      <a:pt x="183" y="114"/>
                    </a:cubicBezTo>
                    <a:cubicBezTo>
                      <a:pt x="180" y="113"/>
                      <a:pt x="181" y="113"/>
                      <a:pt x="179" y="111"/>
                    </a:cubicBezTo>
                    <a:cubicBezTo>
                      <a:pt x="178" y="109"/>
                      <a:pt x="177" y="106"/>
                      <a:pt x="175" y="104"/>
                    </a:cubicBezTo>
                    <a:cubicBezTo>
                      <a:pt x="172" y="100"/>
                      <a:pt x="171" y="100"/>
                      <a:pt x="165" y="99"/>
                    </a:cubicBezTo>
                    <a:cubicBezTo>
                      <a:pt x="165" y="99"/>
                      <a:pt x="165" y="99"/>
                      <a:pt x="164" y="99"/>
                    </a:cubicBezTo>
                    <a:cubicBezTo>
                      <a:pt x="163" y="99"/>
                      <a:pt x="163" y="100"/>
                      <a:pt x="164" y="102"/>
                    </a:cubicBezTo>
                    <a:cubicBezTo>
                      <a:pt x="165" y="105"/>
                      <a:pt x="167" y="106"/>
                      <a:pt x="167" y="111"/>
                    </a:cubicBezTo>
                    <a:cubicBezTo>
                      <a:pt x="166" y="109"/>
                      <a:pt x="166" y="107"/>
                      <a:pt x="165" y="106"/>
                    </a:cubicBezTo>
                    <a:cubicBezTo>
                      <a:pt x="162" y="103"/>
                      <a:pt x="159" y="103"/>
                      <a:pt x="156" y="101"/>
                    </a:cubicBezTo>
                    <a:cubicBezTo>
                      <a:pt x="154" y="100"/>
                      <a:pt x="153" y="98"/>
                      <a:pt x="152" y="97"/>
                    </a:cubicBezTo>
                    <a:cubicBezTo>
                      <a:pt x="149" y="93"/>
                      <a:pt x="151" y="88"/>
                      <a:pt x="143" y="88"/>
                    </a:cubicBezTo>
                    <a:cubicBezTo>
                      <a:pt x="144" y="89"/>
                      <a:pt x="144" y="90"/>
                      <a:pt x="144" y="90"/>
                    </a:cubicBezTo>
                    <a:cubicBezTo>
                      <a:pt x="142" y="89"/>
                      <a:pt x="141" y="88"/>
                      <a:pt x="140" y="87"/>
                    </a:cubicBezTo>
                    <a:cubicBezTo>
                      <a:pt x="138" y="82"/>
                      <a:pt x="141" y="81"/>
                      <a:pt x="137" y="78"/>
                    </a:cubicBezTo>
                    <a:cubicBezTo>
                      <a:pt x="130" y="72"/>
                      <a:pt x="123" y="65"/>
                      <a:pt x="115" y="61"/>
                    </a:cubicBezTo>
                    <a:cubicBezTo>
                      <a:pt x="114" y="60"/>
                      <a:pt x="111" y="59"/>
                      <a:pt x="109" y="58"/>
                    </a:cubicBezTo>
                    <a:cubicBezTo>
                      <a:pt x="109" y="58"/>
                      <a:pt x="109" y="59"/>
                      <a:pt x="109" y="60"/>
                    </a:cubicBezTo>
                    <a:cubicBezTo>
                      <a:pt x="109" y="64"/>
                      <a:pt x="106" y="67"/>
                      <a:pt x="101" y="67"/>
                    </a:cubicBezTo>
                    <a:cubicBezTo>
                      <a:pt x="97" y="67"/>
                      <a:pt x="93" y="64"/>
                      <a:pt x="93" y="60"/>
                    </a:cubicBezTo>
                    <a:cubicBezTo>
                      <a:pt x="93" y="55"/>
                      <a:pt x="97" y="52"/>
                      <a:pt x="101" y="52"/>
                    </a:cubicBezTo>
                    <a:cubicBezTo>
                      <a:pt x="102" y="52"/>
                      <a:pt x="102" y="52"/>
                      <a:pt x="102" y="52"/>
                    </a:cubicBezTo>
                    <a:cubicBezTo>
                      <a:pt x="100" y="49"/>
                      <a:pt x="98" y="48"/>
                      <a:pt x="94" y="46"/>
                    </a:cubicBezTo>
                    <a:cubicBezTo>
                      <a:pt x="92" y="45"/>
                      <a:pt x="90" y="44"/>
                      <a:pt x="88" y="44"/>
                    </a:cubicBezTo>
                    <a:cubicBezTo>
                      <a:pt x="88" y="44"/>
                      <a:pt x="88" y="44"/>
                      <a:pt x="87" y="44"/>
                    </a:cubicBezTo>
                    <a:cubicBezTo>
                      <a:pt x="88" y="42"/>
                      <a:pt x="90" y="40"/>
                      <a:pt x="89" y="38"/>
                    </a:cubicBezTo>
                    <a:cubicBezTo>
                      <a:pt x="88" y="37"/>
                      <a:pt x="86" y="32"/>
                      <a:pt x="84" y="32"/>
                    </a:cubicBezTo>
                    <a:cubicBezTo>
                      <a:pt x="80" y="31"/>
                      <a:pt x="82" y="27"/>
                      <a:pt x="81" y="24"/>
                    </a:cubicBezTo>
                    <a:cubicBezTo>
                      <a:pt x="79" y="19"/>
                      <a:pt x="73" y="16"/>
                      <a:pt x="69" y="12"/>
                    </a:cubicBezTo>
                    <a:cubicBezTo>
                      <a:pt x="68" y="11"/>
                      <a:pt x="67" y="11"/>
                      <a:pt x="66" y="11"/>
                    </a:cubicBezTo>
                    <a:cubicBezTo>
                      <a:pt x="65" y="11"/>
                      <a:pt x="63" y="12"/>
                      <a:pt x="61" y="13"/>
                    </a:cubicBezTo>
                    <a:cubicBezTo>
                      <a:pt x="60" y="13"/>
                      <a:pt x="59" y="13"/>
                      <a:pt x="58" y="13"/>
                    </a:cubicBezTo>
                    <a:cubicBezTo>
                      <a:pt x="57" y="13"/>
                      <a:pt x="57" y="13"/>
                      <a:pt x="55" y="12"/>
                    </a:cubicBezTo>
                    <a:cubicBezTo>
                      <a:pt x="53" y="11"/>
                      <a:pt x="51" y="10"/>
                      <a:pt x="49" y="10"/>
                    </a:cubicBezTo>
                    <a:cubicBezTo>
                      <a:pt x="45" y="10"/>
                      <a:pt x="42" y="11"/>
                      <a:pt x="39" y="11"/>
                    </a:cubicBezTo>
                    <a:cubicBezTo>
                      <a:pt x="39" y="11"/>
                      <a:pt x="38" y="11"/>
                      <a:pt x="38" y="11"/>
                    </a:cubicBezTo>
                    <a:cubicBezTo>
                      <a:pt x="28" y="11"/>
                      <a:pt x="21" y="3"/>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1259"/>
              <p:cNvSpPr/>
              <p:nvPr/>
            </p:nvSpPr>
            <p:spPr bwMode="auto">
              <a:xfrm>
                <a:off x="2972" y="1083"/>
                <a:ext cx="33" cy="14"/>
              </a:xfrm>
              <a:custGeom>
                <a:gdLst>
                  <a:gd name="T0" fmla="*/ 0 w 14"/>
                  <a:gd name="T1" fmla="*/ 0 h 6"/>
                  <a:gd name="T2" fmla="*/ 9 w 14"/>
                  <a:gd name="T3" fmla="*/ 6 h 6"/>
                  <a:gd name="T4" fmla="*/ 0 w 14"/>
                  <a:gd name="T5" fmla="*/ 0 h 6"/>
                </a:gdLst>
                <a:cxnLst>
                  <a:cxn ang="0">
                    <a:pos x="T0" y="T1"/>
                  </a:cxn>
                  <a:cxn ang="0">
                    <a:pos x="T2" y="T3"/>
                  </a:cxn>
                  <a:cxn ang="0">
                    <a:pos x="T4" y="T5"/>
                  </a:cxn>
                </a:cxnLst>
                <a:rect l="0" t="0" r="r" b="b"/>
                <a:pathLst>
                  <a:path w="14" h="6">
                    <a:moveTo>
                      <a:pt x="0" y="0"/>
                    </a:moveTo>
                    <a:cubicBezTo>
                      <a:pt x="3" y="2"/>
                      <a:pt x="6" y="4"/>
                      <a:pt x="9" y="6"/>
                    </a:cubicBezTo>
                    <a:cubicBezTo>
                      <a:pt x="14"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9" name="Freeform 1260"/>
              <p:cNvSpPr/>
              <p:nvPr/>
            </p:nvSpPr>
            <p:spPr bwMode="auto">
              <a:xfrm>
                <a:off x="2424" y="889"/>
                <a:ext cx="104" cy="213"/>
              </a:xfrm>
              <a:custGeom>
                <a:gdLst>
                  <a:gd name="T0" fmla="*/ 20 w 44"/>
                  <a:gd name="T1" fmla="*/ 0 h 90"/>
                  <a:gd name="T2" fmla="*/ 10 w 44"/>
                  <a:gd name="T3" fmla="*/ 7 h 90"/>
                  <a:gd name="T4" fmla="*/ 5 w 44"/>
                  <a:gd name="T5" fmla="*/ 14 h 90"/>
                  <a:gd name="T6" fmla="*/ 2 w 44"/>
                  <a:gd name="T7" fmla="*/ 26 h 90"/>
                  <a:gd name="T8" fmla="*/ 2 w 44"/>
                  <a:gd name="T9" fmla="*/ 34 h 90"/>
                  <a:gd name="T10" fmla="*/ 6 w 44"/>
                  <a:gd name="T11" fmla="*/ 39 h 90"/>
                  <a:gd name="T12" fmla="*/ 5 w 44"/>
                  <a:gd name="T13" fmla="*/ 45 h 90"/>
                  <a:gd name="T14" fmla="*/ 10 w 44"/>
                  <a:gd name="T15" fmla="*/ 56 h 90"/>
                  <a:gd name="T16" fmla="*/ 8 w 44"/>
                  <a:gd name="T17" fmla="*/ 70 h 90"/>
                  <a:gd name="T18" fmla="*/ 17 w 44"/>
                  <a:gd name="T19" fmla="*/ 81 h 90"/>
                  <a:gd name="T20" fmla="*/ 31 w 44"/>
                  <a:gd name="T21" fmla="*/ 90 h 90"/>
                  <a:gd name="T22" fmla="*/ 16 w 44"/>
                  <a:gd name="T23" fmla="*/ 66 h 90"/>
                  <a:gd name="T24" fmla="*/ 15 w 44"/>
                  <a:gd name="T25" fmla="*/ 57 h 90"/>
                  <a:gd name="T26" fmla="*/ 17 w 44"/>
                  <a:gd name="T27" fmla="*/ 51 h 90"/>
                  <a:gd name="T28" fmla="*/ 18 w 44"/>
                  <a:gd name="T29" fmla="*/ 51 h 90"/>
                  <a:gd name="T30" fmla="*/ 36 w 44"/>
                  <a:gd name="T31" fmla="*/ 55 h 90"/>
                  <a:gd name="T32" fmla="*/ 44 w 44"/>
                  <a:gd name="T33" fmla="*/ 58 h 90"/>
                  <a:gd name="T34" fmla="*/ 31 w 44"/>
                  <a:gd name="T35" fmla="*/ 46 h 90"/>
                  <a:gd name="T36" fmla="*/ 28 w 44"/>
                  <a:gd name="T37" fmla="*/ 45 h 90"/>
                  <a:gd name="T38" fmla="*/ 35 w 44"/>
                  <a:gd name="T39" fmla="*/ 34 h 90"/>
                  <a:gd name="T40" fmla="*/ 38 w 44"/>
                  <a:gd name="T41" fmla="*/ 28 h 90"/>
                  <a:gd name="T42" fmla="*/ 40 w 44"/>
                  <a:gd name="T43" fmla="*/ 24 h 90"/>
                  <a:gd name="T44" fmla="*/ 39 w 44"/>
                  <a:gd name="T45" fmla="*/ 19 h 90"/>
                  <a:gd name="T46" fmla="*/ 36 w 44"/>
                  <a:gd name="T47" fmla="*/ 19 h 90"/>
                  <a:gd name="T48" fmla="*/ 29 w 44"/>
                  <a:gd name="T49" fmla="*/ 20 h 90"/>
                  <a:gd name="T50" fmla="*/ 23 w 44"/>
                  <a:gd name="T51" fmla="*/ 24 h 90"/>
                  <a:gd name="T52" fmla="*/ 21 w 44"/>
                  <a:gd name="T53" fmla="*/ 27 h 90"/>
                  <a:gd name="T54" fmla="*/ 23 w 44"/>
                  <a:gd name="T55" fmla="*/ 31 h 90"/>
                  <a:gd name="T56" fmla="*/ 17 w 44"/>
                  <a:gd name="T57" fmla="*/ 34 h 90"/>
                  <a:gd name="T58" fmla="*/ 14 w 44"/>
                  <a:gd name="T59" fmla="*/ 40 h 90"/>
                  <a:gd name="T60" fmla="*/ 12 w 44"/>
                  <a:gd name="T61" fmla="*/ 40 h 90"/>
                  <a:gd name="T62" fmla="*/ 8 w 44"/>
                  <a:gd name="T63" fmla="*/ 37 h 90"/>
                  <a:gd name="T64" fmla="*/ 13 w 44"/>
                  <a:gd name="T65" fmla="*/ 31 h 90"/>
                  <a:gd name="T66" fmla="*/ 13 w 44"/>
                  <a:gd name="T67" fmla="*/ 30 h 90"/>
                  <a:gd name="T68" fmla="*/ 14 w 44"/>
                  <a:gd name="T69" fmla="*/ 30 h 90"/>
                  <a:gd name="T70" fmla="*/ 14 w 44"/>
                  <a:gd name="T71" fmla="*/ 31 h 90"/>
                  <a:gd name="T72" fmla="*/ 15 w 44"/>
                  <a:gd name="T73" fmla="*/ 30 h 90"/>
                  <a:gd name="T74" fmla="*/ 15 w 44"/>
                  <a:gd name="T75" fmla="*/ 29 h 90"/>
                  <a:gd name="T76" fmla="*/ 17 w 44"/>
                  <a:gd name="T77" fmla="*/ 26 h 90"/>
                  <a:gd name="T78" fmla="*/ 16 w 44"/>
                  <a:gd name="T79" fmla="*/ 12 h 90"/>
                  <a:gd name="T80" fmla="*/ 16 w 44"/>
                  <a:gd name="T81" fmla="*/ 6 h 90"/>
                  <a:gd name="T82" fmla="*/ 20 w 44"/>
                  <a:gd name="T83" fmla="*/ 0 h 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 h="90">
                    <a:moveTo>
                      <a:pt x="20" y="0"/>
                    </a:moveTo>
                    <a:cubicBezTo>
                      <a:pt x="16" y="2"/>
                      <a:pt x="13" y="5"/>
                      <a:pt x="10" y="7"/>
                    </a:cubicBezTo>
                    <a:cubicBezTo>
                      <a:pt x="8" y="9"/>
                      <a:pt x="6" y="12"/>
                      <a:pt x="5" y="14"/>
                    </a:cubicBezTo>
                    <a:cubicBezTo>
                      <a:pt x="4" y="18"/>
                      <a:pt x="3" y="22"/>
                      <a:pt x="2" y="26"/>
                    </a:cubicBezTo>
                    <a:cubicBezTo>
                      <a:pt x="1" y="29"/>
                      <a:pt x="0" y="31"/>
                      <a:pt x="2" y="34"/>
                    </a:cubicBezTo>
                    <a:cubicBezTo>
                      <a:pt x="3" y="35"/>
                      <a:pt x="6" y="38"/>
                      <a:pt x="6" y="39"/>
                    </a:cubicBezTo>
                    <a:cubicBezTo>
                      <a:pt x="7" y="40"/>
                      <a:pt x="5" y="42"/>
                      <a:pt x="5" y="45"/>
                    </a:cubicBezTo>
                    <a:cubicBezTo>
                      <a:pt x="4" y="49"/>
                      <a:pt x="10" y="51"/>
                      <a:pt x="10" y="56"/>
                    </a:cubicBezTo>
                    <a:cubicBezTo>
                      <a:pt x="10" y="60"/>
                      <a:pt x="7" y="66"/>
                      <a:pt x="8" y="70"/>
                    </a:cubicBezTo>
                    <a:cubicBezTo>
                      <a:pt x="9" y="74"/>
                      <a:pt x="15" y="78"/>
                      <a:pt x="17" y="81"/>
                    </a:cubicBezTo>
                    <a:cubicBezTo>
                      <a:pt x="21" y="86"/>
                      <a:pt x="26" y="87"/>
                      <a:pt x="31" y="90"/>
                    </a:cubicBezTo>
                    <a:cubicBezTo>
                      <a:pt x="26" y="82"/>
                      <a:pt x="21" y="74"/>
                      <a:pt x="16" y="66"/>
                    </a:cubicBezTo>
                    <a:cubicBezTo>
                      <a:pt x="14" y="63"/>
                      <a:pt x="16" y="60"/>
                      <a:pt x="15" y="57"/>
                    </a:cubicBezTo>
                    <a:cubicBezTo>
                      <a:pt x="15" y="55"/>
                      <a:pt x="13" y="51"/>
                      <a:pt x="17" y="51"/>
                    </a:cubicBezTo>
                    <a:cubicBezTo>
                      <a:pt x="17" y="51"/>
                      <a:pt x="18" y="51"/>
                      <a:pt x="18" y="51"/>
                    </a:cubicBezTo>
                    <a:cubicBezTo>
                      <a:pt x="25" y="51"/>
                      <a:pt x="30" y="53"/>
                      <a:pt x="36" y="55"/>
                    </a:cubicBezTo>
                    <a:cubicBezTo>
                      <a:pt x="39" y="56"/>
                      <a:pt x="42" y="56"/>
                      <a:pt x="44" y="58"/>
                    </a:cubicBezTo>
                    <a:cubicBezTo>
                      <a:pt x="40" y="53"/>
                      <a:pt x="37" y="48"/>
                      <a:pt x="31" y="46"/>
                    </a:cubicBezTo>
                    <a:cubicBezTo>
                      <a:pt x="30" y="46"/>
                      <a:pt x="29" y="45"/>
                      <a:pt x="28" y="45"/>
                    </a:cubicBezTo>
                    <a:cubicBezTo>
                      <a:pt x="20" y="40"/>
                      <a:pt x="31" y="36"/>
                      <a:pt x="35" y="34"/>
                    </a:cubicBezTo>
                    <a:cubicBezTo>
                      <a:pt x="39" y="32"/>
                      <a:pt x="38" y="32"/>
                      <a:pt x="38" y="28"/>
                    </a:cubicBezTo>
                    <a:cubicBezTo>
                      <a:pt x="39" y="26"/>
                      <a:pt x="40" y="25"/>
                      <a:pt x="40" y="24"/>
                    </a:cubicBezTo>
                    <a:cubicBezTo>
                      <a:pt x="40" y="22"/>
                      <a:pt x="37" y="20"/>
                      <a:pt x="39" y="19"/>
                    </a:cubicBezTo>
                    <a:cubicBezTo>
                      <a:pt x="38" y="19"/>
                      <a:pt x="37" y="19"/>
                      <a:pt x="36" y="19"/>
                    </a:cubicBezTo>
                    <a:cubicBezTo>
                      <a:pt x="34" y="19"/>
                      <a:pt x="31" y="19"/>
                      <a:pt x="29" y="20"/>
                    </a:cubicBezTo>
                    <a:cubicBezTo>
                      <a:pt x="27" y="20"/>
                      <a:pt x="25" y="23"/>
                      <a:pt x="23" y="24"/>
                    </a:cubicBezTo>
                    <a:cubicBezTo>
                      <a:pt x="21" y="27"/>
                      <a:pt x="21" y="27"/>
                      <a:pt x="21" y="27"/>
                    </a:cubicBezTo>
                    <a:cubicBezTo>
                      <a:pt x="21" y="29"/>
                      <a:pt x="25" y="28"/>
                      <a:pt x="23" y="31"/>
                    </a:cubicBezTo>
                    <a:cubicBezTo>
                      <a:pt x="21" y="32"/>
                      <a:pt x="18" y="31"/>
                      <a:pt x="17" y="34"/>
                    </a:cubicBezTo>
                    <a:cubicBezTo>
                      <a:pt x="15" y="36"/>
                      <a:pt x="16" y="39"/>
                      <a:pt x="14" y="40"/>
                    </a:cubicBezTo>
                    <a:cubicBezTo>
                      <a:pt x="13" y="40"/>
                      <a:pt x="13" y="40"/>
                      <a:pt x="12" y="40"/>
                    </a:cubicBezTo>
                    <a:cubicBezTo>
                      <a:pt x="10" y="40"/>
                      <a:pt x="8" y="39"/>
                      <a:pt x="8" y="37"/>
                    </a:cubicBezTo>
                    <a:cubicBezTo>
                      <a:pt x="9" y="34"/>
                      <a:pt x="11" y="32"/>
                      <a:pt x="13" y="31"/>
                    </a:cubicBezTo>
                    <a:cubicBezTo>
                      <a:pt x="13" y="31"/>
                      <a:pt x="13" y="30"/>
                      <a:pt x="13" y="30"/>
                    </a:cubicBezTo>
                    <a:cubicBezTo>
                      <a:pt x="13" y="30"/>
                      <a:pt x="14" y="30"/>
                      <a:pt x="14" y="30"/>
                    </a:cubicBezTo>
                    <a:cubicBezTo>
                      <a:pt x="14" y="31"/>
                      <a:pt x="14" y="31"/>
                      <a:pt x="14" y="31"/>
                    </a:cubicBezTo>
                    <a:cubicBezTo>
                      <a:pt x="14" y="31"/>
                      <a:pt x="14" y="30"/>
                      <a:pt x="15" y="30"/>
                    </a:cubicBezTo>
                    <a:cubicBezTo>
                      <a:pt x="15" y="30"/>
                      <a:pt x="15" y="29"/>
                      <a:pt x="15" y="29"/>
                    </a:cubicBezTo>
                    <a:cubicBezTo>
                      <a:pt x="16" y="28"/>
                      <a:pt x="17" y="27"/>
                      <a:pt x="17" y="26"/>
                    </a:cubicBezTo>
                    <a:cubicBezTo>
                      <a:pt x="20" y="21"/>
                      <a:pt x="18" y="17"/>
                      <a:pt x="16" y="12"/>
                    </a:cubicBezTo>
                    <a:cubicBezTo>
                      <a:pt x="14" y="8"/>
                      <a:pt x="15" y="9"/>
                      <a:pt x="16" y="6"/>
                    </a:cubicBezTo>
                    <a:cubicBezTo>
                      <a:pt x="17" y="4"/>
                      <a:pt x="19" y="2"/>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1261"/>
              <p:cNvSpPr/>
              <p:nvPr/>
            </p:nvSpPr>
            <p:spPr bwMode="auto">
              <a:xfrm>
                <a:off x="1150" y="1567"/>
                <a:ext cx="14" cy="8"/>
              </a:xfrm>
              <a:custGeom>
                <a:gdLst>
                  <a:gd name="T0" fmla="*/ 0 w 6"/>
                  <a:gd name="T1" fmla="*/ 0 h 3"/>
                  <a:gd name="T2" fmla="*/ 6 w 6"/>
                  <a:gd name="T3" fmla="*/ 3 h 3"/>
                  <a:gd name="T4" fmla="*/ 0 w 6"/>
                  <a:gd name="T5" fmla="*/ 0 h 3"/>
                </a:gdLst>
                <a:cxnLst>
                  <a:cxn ang="0">
                    <a:pos x="T0" y="T1"/>
                  </a:cxn>
                  <a:cxn ang="0">
                    <a:pos x="T2" y="T3"/>
                  </a:cxn>
                  <a:cxn ang="0">
                    <a:pos x="T4" y="T5"/>
                  </a:cxn>
                </a:cxnLst>
                <a:rect l="0" t="0" r="r" b="b"/>
                <a:pathLst>
                  <a:path w="6" h="3">
                    <a:moveTo>
                      <a:pt x="0" y="0"/>
                    </a:moveTo>
                    <a:cubicBezTo>
                      <a:pt x="2" y="2"/>
                      <a:pt x="4" y="3"/>
                      <a:pt x="6" y="3"/>
                    </a:cubicBezTo>
                    <a:cubicBezTo>
                      <a:pt x="5"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1" name="Freeform 1262"/>
              <p:cNvSpPr/>
              <p:nvPr/>
            </p:nvSpPr>
            <p:spPr bwMode="auto">
              <a:xfrm>
                <a:off x="2783" y="1426"/>
                <a:ext cx="9" cy="21"/>
              </a:xfrm>
              <a:custGeom>
                <a:gdLst>
                  <a:gd name="T0" fmla="*/ 0 w 4"/>
                  <a:gd name="T1" fmla="*/ 0 h 9"/>
                  <a:gd name="T2" fmla="*/ 3 w 4"/>
                  <a:gd name="T3" fmla="*/ 9 h 9"/>
                  <a:gd name="T4" fmla="*/ 4 w 4"/>
                  <a:gd name="T5" fmla="*/ 2 h 9"/>
                  <a:gd name="T6" fmla="*/ 0 w 4"/>
                  <a:gd name="T7" fmla="*/ 0 h 9"/>
                </a:gdLst>
                <a:cxnLst>
                  <a:cxn ang="0">
                    <a:pos x="T0" y="T1"/>
                  </a:cxn>
                  <a:cxn ang="0">
                    <a:pos x="T2" y="T3"/>
                  </a:cxn>
                  <a:cxn ang="0">
                    <a:pos x="T4" y="T5"/>
                  </a:cxn>
                  <a:cxn ang="0">
                    <a:pos x="T6" y="T7"/>
                  </a:cxn>
                </a:cxnLst>
                <a:rect l="0" t="0" r="r" b="b"/>
                <a:pathLst>
                  <a:path w="4" h="9">
                    <a:moveTo>
                      <a:pt x="0" y="0"/>
                    </a:moveTo>
                    <a:cubicBezTo>
                      <a:pt x="1" y="2"/>
                      <a:pt x="1" y="9"/>
                      <a:pt x="3" y="9"/>
                    </a:cubicBezTo>
                    <a:cubicBezTo>
                      <a:pt x="4" y="7"/>
                      <a:pt x="3" y="4"/>
                      <a:pt x="4"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1263"/>
              <p:cNvSpPr/>
              <p:nvPr/>
            </p:nvSpPr>
            <p:spPr bwMode="auto">
              <a:xfrm>
                <a:off x="446" y="1102"/>
                <a:ext cx="49" cy="61"/>
              </a:xfrm>
              <a:custGeom>
                <a:gdLst>
                  <a:gd name="T0" fmla="*/ 8 w 21"/>
                  <a:gd name="T1" fmla="*/ 0 h 26"/>
                  <a:gd name="T2" fmla="*/ 3 w 21"/>
                  <a:gd name="T3" fmla="*/ 3 h 26"/>
                  <a:gd name="T4" fmla="*/ 6 w 21"/>
                  <a:gd name="T5" fmla="*/ 16 h 26"/>
                  <a:gd name="T6" fmla="*/ 16 w 21"/>
                  <a:gd name="T7" fmla="*/ 26 h 26"/>
                  <a:gd name="T8" fmla="*/ 18 w 21"/>
                  <a:gd name="T9" fmla="*/ 15 h 26"/>
                  <a:gd name="T10" fmla="*/ 11 w 21"/>
                  <a:gd name="T11" fmla="*/ 2 h 26"/>
                  <a:gd name="T12" fmla="*/ 8 w 21"/>
                  <a:gd name="T13" fmla="*/ 0 h 26"/>
                </a:gdLst>
                <a:cxnLst>
                  <a:cxn ang="0">
                    <a:pos x="T0" y="T1"/>
                  </a:cxn>
                  <a:cxn ang="0">
                    <a:pos x="T2" y="T3"/>
                  </a:cxn>
                  <a:cxn ang="0">
                    <a:pos x="T4" y="T5"/>
                  </a:cxn>
                  <a:cxn ang="0">
                    <a:pos x="T6" y="T7"/>
                  </a:cxn>
                  <a:cxn ang="0">
                    <a:pos x="T8" y="T9"/>
                  </a:cxn>
                  <a:cxn ang="0">
                    <a:pos x="T10" y="T11"/>
                  </a:cxn>
                  <a:cxn ang="0">
                    <a:pos x="T12" y="T13"/>
                  </a:cxn>
                </a:cxnLst>
                <a:rect l="0" t="0" r="r" b="b"/>
                <a:pathLst>
                  <a:path w="21" h="26">
                    <a:moveTo>
                      <a:pt x="8" y="0"/>
                    </a:moveTo>
                    <a:cubicBezTo>
                      <a:pt x="6" y="0"/>
                      <a:pt x="4" y="2"/>
                      <a:pt x="3" y="3"/>
                    </a:cubicBezTo>
                    <a:cubicBezTo>
                      <a:pt x="0" y="8"/>
                      <a:pt x="3" y="12"/>
                      <a:pt x="6" y="16"/>
                    </a:cubicBezTo>
                    <a:cubicBezTo>
                      <a:pt x="9" y="20"/>
                      <a:pt x="10" y="24"/>
                      <a:pt x="16" y="26"/>
                    </a:cubicBezTo>
                    <a:cubicBezTo>
                      <a:pt x="21" y="20"/>
                      <a:pt x="21" y="21"/>
                      <a:pt x="18" y="15"/>
                    </a:cubicBezTo>
                    <a:cubicBezTo>
                      <a:pt x="16" y="11"/>
                      <a:pt x="13" y="6"/>
                      <a:pt x="11" y="2"/>
                    </a:cubicBezTo>
                    <a:cubicBezTo>
                      <a:pt x="11"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3" name="Freeform 1264"/>
              <p:cNvSpPr/>
              <p:nvPr/>
            </p:nvSpPr>
            <p:spPr bwMode="auto">
              <a:xfrm>
                <a:off x="2315" y="1560"/>
                <a:ext cx="75" cy="31"/>
              </a:xfrm>
              <a:custGeom>
                <a:gdLst>
                  <a:gd name="T0" fmla="*/ 23 w 32"/>
                  <a:gd name="T1" fmla="*/ 0 h 13"/>
                  <a:gd name="T2" fmla="*/ 21 w 32"/>
                  <a:gd name="T3" fmla="*/ 0 h 13"/>
                  <a:gd name="T4" fmla="*/ 17 w 32"/>
                  <a:gd name="T5" fmla="*/ 2 h 13"/>
                  <a:gd name="T6" fmla="*/ 11 w 32"/>
                  <a:gd name="T7" fmla="*/ 4 h 13"/>
                  <a:gd name="T8" fmla="*/ 10 w 32"/>
                  <a:gd name="T9" fmla="*/ 4 h 13"/>
                  <a:gd name="T10" fmla="*/ 6 w 32"/>
                  <a:gd name="T11" fmla="*/ 3 h 13"/>
                  <a:gd name="T12" fmla="*/ 3 w 32"/>
                  <a:gd name="T13" fmla="*/ 5 h 13"/>
                  <a:gd name="T14" fmla="*/ 0 w 32"/>
                  <a:gd name="T15" fmla="*/ 13 h 13"/>
                  <a:gd name="T16" fmla="*/ 10 w 32"/>
                  <a:gd name="T17" fmla="*/ 10 h 13"/>
                  <a:gd name="T18" fmla="*/ 14 w 32"/>
                  <a:gd name="T19" fmla="*/ 10 h 13"/>
                  <a:gd name="T20" fmla="*/ 18 w 32"/>
                  <a:gd name="T21" fmla="*/ 11 h 13"/>
                  <a:gd name="T22" fmla="*/ 27 w 32"/>
                  <a:gd name="T23" fmla="*/ 6 h 13"/>
                  <a:gd name="T24" fmla="*/ 25 w 32"/>
                  <a:gd name="T25" fmla="*/ 1 h 13"/>
                  <a:gd name="T26" fmla="*/ 23 w 32"/>
                  <a:gd name="T27" fmla="*/ 0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3">
                    <a:moveTo>
                      <a:pt x="23" y="0"/>
                    </a:moveTo>
                    <a:cubicBezTo>
                      <a:pt x="22" y="0"/>
                      <a:pt x="22" y="0"/>
                      <a:pt x="21" y="0"/>
                    </a:cubicBezTo>
                    <a:cubicBezTo>
                      <a:pt x="20" y="1"/>
                      <a:pt x="18" y="1"/>
                      <a:pt x="17" y="2"/>
                    </a:cubicBezTo>
                    <a:cubicBezTo>
                      <a:pt x="15" y="3"/>
                      <a:pt x="13" y="4"/>
                      <a:pt x="11" y="4"/>
                    </a:cubicBezTo>
                    <a:cubicBezTo>
                      <a:pt x="11" y="4"/>
                      <a:pt x="10" y="4"/>
                      <a:pt x="10" y="4"/>
                    </a:cubicBezTo>
                    <a:cubicBezTo>
                      <a:pt x="8" y="4"/>
                      <a:pt x="7" y="3"/>
                      <a:pt x="6" y="3"/>
                    </a:cubicBezTo>
                    <a:cubicBezTo>
                      <a:pt x="5" y="3"/>
                      <a:pt x="4" y="4"/>
                      <a:pt x="3" y="5"/>
                    </a:cubicBezTo>
                    <a:cubicBezTo>
                      <a:pt x="1" y="7"/>
                      <a:pt x="1" y="9"/>
                      <a:pt x="0" y="13"/>
                    </a:cubicBezTo>
                    <a:cubicBezTo>
                      <a:pt x="4" y="11"/>
                      <a:pt x="6" y="10"/>
                      <a:pt x="10" y="10"/>
                    </a:cubicBezTo>
                    <a:cubicBezTo>
                      <a:pt x="11" y="10"/>
                      <a:pt x="12" y="10"/>
                      <a:pt x="14" y="10"/>
                    </a:cubicBezTo>
                    <a:cubicBezTo>
                      <a:pt x="15" y="10"/>
                      <a:pt x="17" y="11"/>
                      <a:pt x="18" y="11"/>
                    </a:cubicBezTo>
                    <a:cubicBezTo>
                      <a:pt x="21" y="11"/>
                      <a:pt x="23" y="9"/>
                      <a:pt x="27" y="6"/>
                    </a:cubicBezTo>
                    <a:cubicBezTo>
                      <a:pt x="32" y="3"/>
                      <a:pt x="28" y="2"/>
                      <a:pt x="25" y="1"/>
                    </a:cubicBezTo>
                    <a:cubicBezTo>
                      <a:pt x="24" y="0"/>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1265"/>
              <p:cNvSpPr/>
              <p:nvPr/>
            </p:nvSpPr>
            <p:spPr bwMode="auto">
              <a:xfrm>
                <a:off x="2679" y="1530"/>
                <a:ext cx="42" cy="61"/>
              </a:xfrm>
              <a:custGeom>
                <a:gdLst>
                  <a:gd name="T0" fmla="*/ 16 w 18"/>
                  <a:gd name="T1" fmla="*/ 0 h 26"/>
                  <a:gd name="T2" fmla="*/ 4 w 18"/>
                  <a:gd name="T3" fmla="*/ 12 h 26"/>
                  <a:gd name="T4" fmla="*/ 1 w 18"/>
                  <a:gd name="T5" fmla="*/ 17 h 26"/>
                  <a:gd name="T6" fmla="*/ 0 w 18"/>
                  <a:gd name="T7" fmla="*/ 17 h 26"/>
                  <a:gd name="T8" fmla="*/ 0 w 18"/>
                  <a:gd name="T9" fmla="*/ 17 h 26"/>
                  <a:gd name="T10" fmla="*/ 0 w 18"/>
                  <a:gd name="T11" fmla="*/ 17 h 26"/>
                  <a:gd name="T12" fmla="*/ 1 w 18"/>
                  <a:gd name="T13" fmla="*/ 18 h 26"/>
                  <a:gd name="T14" fmla="*/ 1 w 18"/>
                  <a:gd name="T15" fmla="*/ 18 h 26"/>
                  <a:gd name="T16" fmla="*/ 1 w 18"/>
                  <a:gd name="T17" fmla="*/ 23 h 26"/>
                  <a:gd name="T18" fmla="*/ 2 w 18"/>
                  <a:gd name="T19" fmla="*/ 25 h 26"/>
                  <a:gd name="T20" fmla="*/ 4 w 18"/>
                  <a:gd name="T21" fmla="*/ 26 h 26"/>
                  <a:gd name="T22" fmla="*/ 7 w 18"/>
                  <a:gd name="T23" fmla="*/ 25 h 26"/>
                  <a:gd name="T24" fmla="*/ 8 w 18"/>
                  <a:gd name="T25" fmla="*/ 22 h 26"/>
                  <a:gd name="T26" fmla="*/ 10 w 18"/>
                  <a:gd name="T27" fmla="*/ 20 h 26"/>
                  <a:gd name="T28" fmla="*/ 15 w 18"/>
                  <a:gd name="T29" fmla="*/ 15 h 26"/>
                  <a:gd name="T30" fmla="*/ 17 w 18"/>
                  <a:gd name="T31" fmla="*/ 8 h 26"/>
                  <a:gd name="T32" fmla="*/ 18 w 18"/>
                  <a:gd name="T33" fmla="*/ 2 h 26"/>
                  <a:gd name="T34" fmla="*/ 16 w 18"/>
                  <a:gd name="T35" fmla="*/ 0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6">
                    <a:moveTo>
                      <a:pt x="16" y="0"/>
                    </a:moveTo>
                    <a:cubicBezTo>
                      <a:pt x="12" y="3"/>
                      <a:pt x="6" y="7"/>
                      <a:pt x="4" y="12"/>
                    </a:cubicBezTo>
                    <a:cubicBezTo>
                      <a:pt x="3" y="14"/>
                      <a:pt x="4" y="17"/>
                      <a:pt x="1" y="17"/>
                    </a:cubicBezTo>
                    <a:cubicBezTo>
                      <a:pt x="1" y="17"/>
                      <a:pt x="1" y="17"/>
                      <a:pt x="0" y="17"/>
                    </a:cubicBezTo>
                    <a:cubicBezTo>
                      <a:pt x="0" y="17"/>
                      <a:pt x="0" y="17"/>
                      <a:pt x="0" y="17"/>
                    </a:cubicBezTo>
                    <a:cubicBezTo>
                      <a:pt x="0" y="17"/>
                      <a:pt x="0" y="17"/>
                      <a:pt x="0" y="17"/>
                    </a:cubicBezTo>
                    <a:cubicBezTo>
                      <a:pt x="0" y="17"/>
                      <a:pt x="1" y="18"/>
                      <a:pt x="1" y="18"/>
                    </a:cubicBezTo>
                    <a:cubicBezTo>
                      <a:pt x="1" y="18"/>
                      <a:pt x="1" y="18"/>
                      <a:pt x="1" y="18"/>
                    </a:cubicBezTo>
                    <a:cubicBezTo>
                      <a:pt x="1" y="23"/>
                      <a:pt x="1" y="23"/>
                      <a:pt x="1" y="23"/>
                    </a:cubicBezTo>
                    <a:cubicBezTo>
                      <a:pt x="1" y="26"/>
                      <a:pt x="0" y="25"/>
                      <a:pt x="2" y="25"/>
                    </a:cubicBezTo>
                    <a:cubicBezTo>
                      <a:pt x="2" y="26"/>
                      <a:pt x="3" y="26"/>
                      <a:pt x="4" y="26"/>
                    </a:cubicBezTo>
                    <a:cubicBezTo>
                      <a:pt x="5" y="26"/>
                      <a:pt x="6" y="26"/>
                      <a:pt x="7" y="25"/>
                    </a:cubicBezTo>
                    <a:cubicBezTo>
                      <a:pt x="8" y="22"/>
                      <a:pt x="8" y="22"/>
                      <a:pt x="8" y="22"/>
                    </a:cubicBezTo>
                    <a:cubicBezTo>
                      <a:pt x="9" y="21"/>
                      <a:pt x="9" y="21"/>
                      <a:pt x="10" y="20"/>
                    </a:cubicBezTo>
                    <a:cubicBezTo>
                      <a:pt x="11" y="18"/>
                      <a:pt x="13" y="17"/>
                      <a:pt x="15" y="15"/>
                    </a:cubicBezTo>
                    <a:cubicBezTo>
                      <a:pt x="16" y="13"/>
                      <a:pt x="16" y="10"/>
                      <a:pt x="17" y="8"/>
                    </a:cubicBezTo>
                    <a:cubicBezTo>
                      <a:pt x="15" y="7"/>
                      <a:pt x="15" y="3"/>
                      <a:pt x="18" y="2"/>
                    </a:cubicBezTo>
                    <a:cubicBezTo>
                      <a:pt x="18" y="1"/>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Freeform 1266"/>
              <p:cNvSpPr/>
              <p:nvPr/>
            </p:nvSpPr>
            <p:spPr bwMode="auto">
              <a:xfrm>
                <a:off x="2981" y="1149"/>
                <a:ext cx="95" cy="21"/>
              </a:xfrm>
              <a:custGeom>
                <a:gdLst>
                  <a:gd name="T0" fmla="*/ 0 w 40"/>
                  <a:gd name="T1" fmla="*/ 0 h 9"/>
                  <a:gd name="T2" fmla="*/ 28 w 40"/>
                  <a:gd name="T3" fmla="*/ 9 h 9"/>
                  <a:gd name="T4" fmla="*/ 30 w 40"/>
                  <a:gd name="T5" fmla="*/ 8 h 9"/>
                  <a:gd name="T6" fmla="*/ 31 w 40"/>
                  <a:gd name="T7" fmla="*/ 8 h 9"/>
                  <a:gd name="T8" fmla="*/ 40 w 40"/>
                  <a:gd name="T9" fmla="*/ 6 h 9"/>
                  <a:gd name="T10" fmla="*/ 36 w 40"/>
                  <a:gd name="T11" fmla="*/ 4 h 9"/>
                  <a:gd name="T12" fmla="*/ 27 w 40"/>
                  <a:gd name="T13" fmla="*/ 4 h 9"/>
                  <a:gd name="T14" fmla="*/ 20 w 40"/>
                  <a:gd name="T15" fmla="*/ 2 h 9"/>
                  <a:gd name="T16" fmla="*/ 0 w 40"/>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9">
                    <a:moveTo>
                      <a:pt x="0" y="0"/>
                    </a:moveTo>
                    <a:cubicBezTo>
                      <a:pt x="1" y="1"/>
                      <a:pt x="21" y="9"/>
                      <a:pt x="28" y="9"/>
                    </a:cubicBezTo>
                    <a:cubicBezTo>
                      <a:pt x="29" y="9"/>
                      <a:pt x="30" y="9"/>
                      <a:pt x="30" y="8"/>
                    </a:cubicBezTo>
                    <a:cubicBezTo>
                      <a:pt x="30" y="8"/>
                      <a:pt x="31" y="8"/>
                      <a:pt x="31" y="8"/>
                    </a:cubicBezTo>
                    <a:cubicBezTo>
                      <a:pt x="34" y="8"/>
                      <a:pt x="38" y="7"/>
                      <a:pt x="40" y="6"/>
                    </a:cubicBezTo>
                    <a:cubicBezTo>
                      <a:pt x="39" y="5"/>
                      <a:pt x="38" y="5"/>
                      <a:pt x="36" y="4"/>
                    </a:cubicBezTo>
                    <a:cubicBezTo>
                      <a:pt x="33" y="4"/>
                      <a:pt x="30" y="4"/>
                      <a:pt x="27" y="4"/>
                    </a:cubicBezTo>
                    <a:cubicBezTo>
                      <a:pt x="25" y="3"/>
                      <a:pt x="22" y="2"/>
                      <a:pt x="20" y="2"/>
                    </a:cubicBezTo>
                    <a:cubicBezTo>
                      <a:pt x="13" y="1"/>
                      <a:pt x="6"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Freeform 1267"/>
              <p:cNvSpPr/>
              <p:nvPr/>
            </p:nvSpPr>
            <p:spPr bwMode="auto">
              <a:xfrm>
                <a:off x="2041" y="1388"/>
                <a:ext cx="12" cy="28"/>
              </a:xfrm>
              <a:custGeom>
                <a:gdLst>
                  <a:gd name="T0" fmla="*/ 4 w 5"/>
                  <a:gd name="T1" fmla="*/ 0 h 12"/>
                  <a:gd name="T2" fmla="*/ 0 w 5"/>
                  <a:gd name="T3" fmla="*/ 6 h 12"/>
                  <a:gd name="T4" fmla="*/ 4 w 5"/>
                  <a:gd name="T5" fmla="*/ 12 h 12"/>
                  <a:gd name="T6" fmla="*/ 5 w 5"/>
                  <a:gd name="T7" fmla="*/ 0 h 12"/>
                  <a:gd name="T8" fmla="*/ 4 w 5"/>
                  <a:gd name="T9" fmla="*/ 0 h 12"/>
                </a:gdLst>
                <a:cxnLst>
                  <a:cxn ang="0">
                    <a:pos x="T0" y="T1"/>
                  </a:cxn>
                  <a:cxn ang="0">
                    <a:pos x="T2" y="T3"/>
                  </a:cxn>
                  <a:cxn ang="0">
                    <a:pos x="T4" y="T5"/>
                  </a:cxn>
                  <a:cxn ang="0">
                    <a:pos x="T6" y="T7"/>
                  </a:cxn>
                  <a:cxn ang="0">
                    <a:pos x="T8" y="T9"/>
                  </a:cxn>
                </a:cxnLst>
                <a:rect l="0" t="0" r="r" b="b"/>
                <a:pathLst>
                  <a:path w="5" h="12">
                    <a:moveTo>
                      <a:pt x="4" y="0"/>
                    </a:moveTo>
                    <a:cubicBezTo>
                      <a:pt x="2" y="0"/>
                      <a:pt x="0" y="3"/>
                      <a:pt x="0" y="6"/>
                    </a:cubicBezTo>
                    <a:cubicBezTo>
                      <a:pt x="1" y="9"/>
                      <a:pt x="4" y="10"/>
                      <a:pt x="4" y="12"/>
                    </a:cubicBezTo>
                    <a:cubicBezTo>
                      <a:pt x="5" y="8"/>
                      <a:pt x="5" y="4"/>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Freeform 1268"/>
              <p:cNvSpPr/>
              <p:nvPr/>
            </p:nvSpPr>
            <p:spPr bwMode="auto">
              <a:xfrm>
                <a:off x="1833" y="920"/>
                <a:ext cx="444" cy="510"/>
              </a:xfrm>
              <a:custGeom>
                <a:gdLst>
                  <a:gd name="T0" fmla="*/ 168 w 188"/>
                  <a:gd name="T1" fmla="*/ 11 h 216"/>
                  <a:gd name="T2" fmla="*/ 150 w 188"/>
                  <a:gd name="T3" fmla="*/ 26 h 216"/>
                  <a:gd name="T4" fmla="*/ 121 w 188"/>
                  <a:gd name="T5" fmla="*/ 26 h 216"/>
                  <a:gd name="T6" fmla="*/ 91 w 188"/>
                  <a:gd name="T7" fmla="*/ 20 h 216"/>
                  <a:gd name="T8" fmla="*/ 85 w 188"/>
                  <a:gd name="T9" fmla="*/ 20 h 216"/>
                  <a:gd name="T10" fmla="*/ 74 w 188"/>
                  <a:gd name="T11" fmla="*/ 14 h 216"/>
                  <a:gd name="T12" fmla="*/ 59 w 188"/>
                  <a:gd name="T13" fmla="*/ 19 h 216"/>
                  <a:gd name="T14" fmla="*/ 49 w 188"/>
                  <a:gd name="T15" fmla="*/ 27 h 216"/>
                  <a:gd name="T16" fmla="*/ 45 w 188"/>
                  <a:gd name="T17" fmla="*/ 22 h 216"/>
                  <a:gd name="T18" fmla="*/ 36 w 188"/>
                  <a:gd name="T19" fmla="*/ 31 h 216"/>
                  <a:gd name="T20" fmla="*/ 28 w 188"/>
                  <a:gd name="T21" fmla="*/ 51 h 216"/>
                  <a:gd name="T22" fmla="*/ 30 w 188"/>
                  <a:gd name="T23" fmla="*/ 57 h 216"/>
                  <a:gd name="T24" fmla="*/ 18 w 188"/>
                  <a:gd name="T25" fmla="*/ 84 h 216"/>
                  <a:gd name="T26" fmla="*/ 3 w 188"/>
                  <a:gd name="T27" fmla="*/ 128 h 216"/>
                  <a:gd name="T28" fmla="*/ 2 w 188"/>
                  <a:gd name="T29" fmla="*/ 133 h 216"/>
                  <a:gd name="T30" fmla="*/ 8 w 188"/>
                  <a:gd name="T31" fmla="*/ 153 h 216"/>
                  <a:gd name="T32" fmla="*/ 24 w 188"/>
                  <a:gd name="T33" fmla="*/ 164 h 216"/>
                  <a:gd name="T34" fmla="*/ 19 w 188"/>
                  <a:gd name="T35" fmla="*/ 213 h 216"/>
                  <a:gd name="T36" fmla="*/ 26 w 188"/>
                  <a:gd name="T37" fmla="*/ 216 h 216"/>
                  <a:gd name="T38" fmla="*/ 44 w 188"/>
                  <a:gd name="T39" fmla="*/ 211 h 216"/>
                  <a:gd name="T40" fmla="*/ 48 w 188"/>
                  <a:gd name="T41" fmla="*/ 184 h 216"/>
                  <a:gd name="T42" fmla="*/ 43 w 188"/>
                  <a:gd name="T43" fmla="*/ 138 h 216"/>
                  <a:gd name="T44" fmla="*/ 62 w 188"/>
                  <a:gd name="T45" fmla="*/ 127 h 216"/>
                  <a:gd name="T46" fmla="*/ 63 w 188"/>
                  <a:gd name="T47" fmla="*/ 154 h 216"/>
                  <a:gd name="T48" fmla="*/ 71 w 188"/>
                  <a:gd name="T49" fmla="*/ 161 h 216"/>
                  <a:gd name="T50" fmla="*/ 77 w 188"/>
                  <a:gd name="T51" fmla="*/ 166 h 216"/>
                  <a:gd name="T52" fmla="*/ 79 w 188"/>
                  <a:gd name="T53" fmla="*/ 184 h 216"/>
                  <a:gd name="T54" fmla="*/ 94 w 188"/>
                  <a:gd name="T55" fmla="*/ 192 h 216"/>
                  <a:gd name="T56" fmla="*/ 110 w 188"/>
                  <a:gd name="T57" fmla="*/ 179 h 216"/>
                  <a:gd name="T58" fmla="*/ 117 w 188"/>
                  <a:gd name="T59" fmla="*/ 170 h 216"/>
                  <a:gd name="T60" fmla="*/ 109 w 188"/>
                  <a:gd name="T61" fmla="*/ 166 h 216"/>
                  <a:gd name="T62" fmla="*/ 105 w 188"/>
                  <a:gd name="T63" fmla="*/ 159 h 216"/>
                  <a:gd name="T64" fmla="*/ 105 w 188"/>
                  <a:gd name="T65" fmla="*/ 159 h 216"/>
                  <a:gd name="T66" fmla="*/ 105 w 188"/>
                  <a:gd name="T67" fmla="*/ 144 h 216"/>
                  <a:gd name="T68" fmla="*/ 94 w 188"/>
                  <a:gd name="T69" fmla="*/ 129 h 216"/>
                  <a:gd name="T70" fmla="*/ 84 w 188"/>
                  <a:gd name="T71" fmla="*/ 114 h 216"/>
                  <a:gd name="T72" fmla="*/ 79 w 188"/>
                  <a:gd name="T73" fmla="*/ 110 h 216"/>
                  <a:gd name="T74" fmla="*/ 75 w 188"/>
                  <a:gd name="T75" fmla="*/ 105 h 216"/>
                  <a:gd name="T76" fmla="*/ 112 w 188"/>
                  <a:gd name="T77" fmla="*/ 85 h 216"/>
                  <a:gd name="T78" fmla="*/ 125 w 188"/>
                  <a:gd name="T79" fmla="*/ 76 h 216"/>
                  <a:gd name="T80" fmla="*/ 128 w 188"/>
                  <a:gd name="T81" fmla="*/ 67 h 216"/>
                  <a:gd name="T82" fmla="*/ 115 w 188"/>
                  <a:gd name="T83" fmla="*/ 73 h 216"/>
                  <a:gd name="T84" fmla="*/ 101 w 188"/>
                  <a:gd name="T85" fmla="*/ 73 h 216"/>
                  <a:gd name="T86" fmla="*/ 84 w 188"/>
                  <a:gd name="T87" fmla="*/ 75 h 216"/>
                  <a:gd name="T88" fmla="*/ 76 w 188"/>
                  <a:gd name="T89" fmla="*/ 79 h 216"/>
                  <a:gd name="T90" fmla="*/ 65 w 188"/>
                  <a:gd name="T91" fmla="*/ 92 h 216"/>
                  <a:gd name="T92" fmla="*/ 55 w 188"/>
                  <a:gd name="T93" fmla="*/ 91 h 216"/>
                  <a:gd name="T94" fmla="*/ 47 w 188"/>
                  <a:gd name="T95" fmla="*/ 77 h 216"/>
                  <a:gd name="T96" fmla="*/ 45 w 188"/>
                  <a:gd name="T97" fmla="*/ 78 h 216"/>
                  <a:gd name="T98" fmla="*/ 36 w 188"/>
                  <a:gd name="T99" fmla="*/ 57 h 216"/>
                  <a:gd name="T100" fmla="*/ 65 w 188"/>
                  <a:gd name="T101" fmla="*/ 36 h 216"/>
                  <a:gd name="T102" fmla="*/ 96 w 188"/>
                  <a:gd name="T103" fmla="*/ 37 h 216"/>
                  <a:gd name="T104" fmla="*/ 107 w 188"/>
                  <a:gd name="T105" fmla="*/ 36 h 216"/>
                  <a:gd name="T106" fmla="*/ 136 w 188"/>
                  <a:gd name="T107" fmla="*/ 42 h 216"/>
                  <a:gd name="T108" fmla="*/ 160 w 188"/>
                  <a:gd name="T109" fmla="*/ 39 h 216"/>
                  <a:gd name="T110" fmla="*/ 184 w 188"/>
                  <a:gd name="T111" fmla="*/ 10 h 2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216">
                    <a:moveTo>
                      <a:pt x="182" y="0"/>
                    </a:moveTo>
                    <a:cubicBezTo>
                      <a:pt x="179" y="0"/>
                      <a:pt x="177" y="3"/>
                      <a:pt x="176" y="5"/>
                    </a:cubicBezTo>
                    <a:cubicBezTo>
                      <a:pt x="174" y="9"/>
                      <a:pt x="173" y="9"/>
                      <a:pt x="168" y="11"/>
                    </a:cubicBezTo>
                    <a:cubicBezTo>
                      <a:pt x="170" y="14"/>
                      <a:pt x="170" y="14"/>
                      <a:pt x="168" y="17"/>
                    </a:cubicBezTo>
                    <a:cubicBezTo>
                      <a:pt x="165" y="19"/>
                      <a:pt x="160" y="21"/>
                      <a:pt x="157" y="23"/>
                    </a:cubicBezTo>
                    <a:cubicBezTo>
                      <a:pt x="155" y="23"/>
                      <a:pt x="151" y="25"/>
                      <a:pt x="150" y="26"/>
                    </a:cubicBezTo>
                    <a:cubicBezTo>
                      <a:pt x="145" y="26"/>
                      <a:pt x="140" y="25"/>
                      <a:pt x="134" y="25"/>
                    </a:cubicBezTo>
                    <a:cubicBezTo>
                      <a:pt x="132" y="25"/>
                      <a:pt x="130" y="24"/>
                      <a:pt x="129" y="24"/>
                    </a:cubicBezTo>
                    <a:cubicBezTo>
                      <a:pt x="126" y="24"/>
                      <a:pt x="124" y="25"/>
                      <a:pt x="121" y="26"/>
                    </a:cubicBezTo>
                    <a:cubicBezTo>
                      <a:pt x="120" y="26"/>
                      <a:pt x="119" y="26"/>
                      <a:pt x="117" y="26"/>
                    </a:cubicBezTo>
                    <a:cubicBezTo>
                      <a:pt x="112" y="26"/>
                      <a:pt x="105" y="23"/>
                      <a:pt x="99" y="21"/>
                    </a:cubicBezTo>
                    <a:cubicBezTo>
                      <a:pt x="97" y="20"/>
                      <a:pt x="94" y="20"/>
                      <a:pt x="91" y="20"/>
                    </a:cubicBezTo>
                    <a:cubicBezTo>
                      <a:pt x="90" y="20"/>
                      <a:pt x="89" y="20"/>
                      <a:pt x="88" y="20"/>
                    </a:cubicBezTo>
                    <a:cubicBezTo>
                      <a:pt x="87" y="20"/>
                      <a:pt x="86" y="20"/>
                      <a:pt x="86" y="20"/>
                    </a:cubicBezTo>
                    <a:cubicBezTo>
                      <a:pt x="85" y="20"/>
                      <a:pt x="85" y="20"/>
                      <a:pt x="85" y="20"/>
                    </a:cubicBezTo>
                    <a:cubicBezTo>
                      <a:pt x="80" y="20"/>
                      <a:pt x="81" y="17"/>
                      <a:pt x="78" y="14"/>
                    </a:cubicBezTo>
                    <a:cubicBezTo>
                      <a:pt x="77" y="14"/>
                      <a:pt x="77" y="13"/>
                      <a:pt x="76" y="13"/>
                    </a:cubicBezTo>
                    <a:cubicBezTo>
                      <a:pt x="76" y="13"/>
                      <a:pt x="75" y="13"/>
                      <a:pt x="74" y="14"/>
                    </a:cubicBezTo>
                    <a:cubicBezTo>
                      <a:pt x="73" y="14"/>
                      <a:pt x="72" y="14"/>
                      <a:pt x="71" y="14"/>
                    </a:cubicBezTo>
                    <a:cubicBezTo>
                      <a:pt x="67" y="14"/>
                      <a:pt x="64" y="13"/>
                      <a:pt x="60" y="12"/>
                    </a:cubicBezTo>
                    <a:cubicBezTo>
                      <a:pt x="60" y="14"/>
                      <a:pt x="60" y="17"/>
                      <a:pt x="59" y="19"/>
                    </a:cubicBezTo>
                    <a:cubicBezTo>
                      <a:pt x="58" y="21"/>
                      <a:pt x="56" y="22"/>
                      <a:pt x="54" y="25"/>
                    </a:cubicBezTo>
                    <a:cubicBezTo>
                      <a:pt x="53" y="26"/>
                      <a:pt x="53" y="27"/>
                      <a:pt x="52" y="27"/>
                    </a:cubicBezTo>
                    <a:cubicBezTo>
                      <a:pt x="51" y="27"/>
                      <a:pt x="50" y="27"/>
                      <a:pt x="49" y="27"/>
                    </a:cubicBezTo>
                    <a:cubicBezTo>
                      <a:pt x="47" y="26"/>
                      <a:pt x="46" y="25"/>
                      <a:pt x="46" y="24"/>
                    </a:cubicBezTo>
                    <a:cubicBezTo>
                      <a:pt x="45" y="24"/>
                      <a:pt x="46" y="22"/>
                      <a:pt x="46" y="22"/>
                    </a:cubicBezTo>
                    <a:cubicBezTo>
                      <a:pt x="45" y="22"/>
                      <a:pt x="45" y="22"/>
                      <a:pt x="45" y="22"/>
                    </a:cubicBezTo>
                    <a:cubicBezTo>
                      <a:pt x="44" y="22"/>
                      <a:pt x="44" y="23"/>
                      <a:pt x="43" y="24"/>
                    </a:cubicBezTo>
                    <a:cubicBezTo>
                      <a:pt x="42" y="26"/>
                      <a:pt x="41" y="28"/>
                      <a:pt x="39" y="29"/>
                    </a:cubicBezTo>
                    <a:cubicBezTo>
                      <a:pt x="38" y="29"/>
                      <a:pt x="37" y="30"/>
                      <a:pt x="36" y="31"/>
                    </a:cubicBezTo>
                    <a:cubicBezTo>
                      <a:pt x="36" y="33"/>
                      <a:pt x="35" y="35"/>
                      <a:pt x="35" y="36"/>
                    </a:cubicBezTo>
                    <a:cubicBezTo>
                      <a:pt x="34" y="37"/>
                      <a:pt x="33" y="37"/>
                      <a:pt x="33" y="37"/>
                    </a:cubicBezTo>
                    <a:cubicBezTo>
                      <a:pt x="30" y="41"/>
                      <a:pt x="29" y="46"/>
                      <a:pt x="28" y="51"/>
                    </a:cubicBezTo>
                    <a:cubicBezTo>
                      <a:pt x="27" y="50"/>
                      <a:pt x="27" y="50"/>
                      <a:pt x="26" y="50"/>
                    </a:cubicBezTo>
                    <a:cubicBezTo>
                      <a:pt x="26" y="50"/>
                      <a:pt x="25" y="50"/>
                      <a:pt x="25" y="51"/>
                    </a:cubicBezTo>
                    <a:cubicBezTo>
                      <a:pt x="28" y="53"/>
                      <a:pt x="29" y="53"/>
                      <a:pt x="30" y="57"/>
                    </a:cubicBezTo>
                    <a:cubicBezTo>
                      <a:pt x="31" y="61"/>
                      <a:pt x="33" y="71"/>
                      <a:pt x="30" y="73"/>
                    </a:cubicBezTo>
                    <a:cubicBezTo>
                      <a:pt x="29" y="72"/>
                      <a:pt x="28" y="71"/>
                      <a:pt x="28" y="69"/>
                    </a:cubicBezTo>
                    <a:cubicBezTo>
                      <a:pt x="23" y="73"/>
                      <a:pt x="21" y="79"/>
                      <a:pt x="18" y="84"/>
                    </a:cubicBezTo>
                    <a:cubicBezTo>
                      <a:pt x="17" y="85"/>
                      <a:pt x="16" y="86"/>
                      <a:pt x="16" y="87"/>
                    </a:cubicBezTo>
                    <a:cubicBezTo>
                      <a:pt x="14" y="93"/>
                      <a:pt x="18" y="100"/>
                      <a:pt x="15" y="106"/>
                    </a:cubicBezTo>
                    <a:cubicBezTo>
                      <a:pt x="11" y="113"/>
                      <a:pt x="7" y="120"/>
                      <a:pt x="3" y="128"/>
                    </a:cubicBezTo>
                    <a:cubicBezTo>
                      <a:pt x="2" y="127"/>
                      <a:pt x="2" y="127"/>
                      <a:pt x="1" y="127"/>
                    </a:cubicBezTo>
                    <a:cubicBezTo>
                      <a:pt x="1" y="127"/>
                      <a:pt x="1" y="127"/>
                      <a:pt x="1" y="128"/>
                    </a:cubicBezTo>
                    <a:cubicBezTo>
                      <a:pt x="0" y="129"/>
                      <a:pt x="2" y="132"/>
                      <a:pt x="2" y="133"/>
                    </a:cubicBezTo>
                    <a:cubicBezTo>
                      <a:pt x="4" y="137"/>
                      <a:pt x="1" y="137"/>
                      <a:pt x="1" y="140"/>
                    </a:cubicBezTo>
                    <a:cubicBezTo>
                      <a:pt x="0" y="142"/>
                      <a:pt x="3" y="146"/>
                      <a:pt x="4" y="149"/>
                    </a:cubicBezTo>
                    <a:cubicBezTo>
                      <a:pt x="6" y="152"/>
                      <a:pt x="6" y="153"/>
                      <a:pt x="8" y="153"/>
                    </a:cubicBezTo>
                    <a:cubicBezTo>
                      <a:pt x="9" y="153"/>
                      <a:pt x="10" y="153"/>
                      <a:pt x="11" y="153"/>
                    </a:cubicBezTo>
                    <a:cubicBezTo>
                      <a:pt x="14" y="153"/>
                      <a:pt x="17" y="152"/>
                      <a:pt x="21" y="152"/>
                    </a:cubicBezTo>
                    <a:cubicBezTo>
                      <a:pt x="20" y="158"/>
                      <a:pt x="20" y="159"/>
                      <a:pt x="24" y="164"/>
                    </a:cubicBezTo>
                    <a:cubicBezTo>
                      <a:pt x="26" y="168"/>
                      <a:pt x="24" y="177"/>
                      <a:pt x="24" y="182"/>
                    </a:cubicBezTo>
                    <a:cubicBezTo>
                      <a:pt x="24" y="187"/>
                      <a:pt x="22" y="193"/>
                      <a:pt x="20" y="198"/>
                    </a:cubicBezTo>
                    <a:cubicBezTo>
                      <a:pt x="18" y="204"/>
                      <a:pt x="17" y="208"/>
                      <a:pt x="19" y="213"/>
                    </a:cubicBezTo>
                    <a:cubicBezTo>
                      <a:pt x="20" y="212"/>
                      <a:pt x="21" y="212"/>
                      <a:pt x="21" y="212"/>
                    </a:cubicBezTo>
                    <a:cubicBezTo>
                      <a:pt x="23" y="212"/>
                      <a:pt x="24" y="215"/>
                      <a:pt x="26" y="216"/>
                    </a:cubicBezTo>
                    <a:cubicBezTo>
                      <a:pt x="26" y="216"/>
                      <a:pt x="26" y="216"/>
                      <a:pt x="26" y="216"/>
                    </a:cubicBezTo>
                    <a:cubicBezTo>
                      <a:pt x="28" y="216"/>
                      <a:pt x="29" y="215"/>
                      <a:pt x="30" y="214"/>
                    </a:cubicBezTo>
                    <a:cubicBezTo>
                      <a:pt x="34" y="213"/>
                      <a:pt x="37" y="214"/>
                      <a:pt x="41" y="212"/>
                    </a:cubicBezTo>
                    <a:cubicBezTo>
                      <a:pt x="43" y="212"/>
                      <a:pt x="44" y="211"/>
                      <a:pt x="44" y="211"/>
                    </a:cubicBezTo>
                    <a:cubicBezTo>
                      <a:pt x="46" y="211"/>
                      <a:pt x="47" y="212"/>
                      <a:pt x="49" y="214"/>
                    </a:cubicBezTo>
                    <a:cubicBezTo>
                      <a:pt x="47" y="208"/>
                      <a:pt x="43" y="202"/>
                      <a:pt x="45" y="196"/>
                    </a:cubicBezTo>
                    <a:cubicBezTo>
                      <a:pt x="46" y="192"/>
                      <a:pt x="49" y="187"/>
                      <a:pt x="48" y="184"/>
                    </a:cubicBezTo>
                    <a:cubicBezTo>
                      <a:pt x="47" y="176"/>
                      <a:pt x="47" y="171"/>
                      <a:pt x="48" y="164"/>
                    </a:cubicBezTo>
                    <a:cubicBezTo>
                      <a:pt x="49" y="158"/>
                      <a:pt x="49" y="152"/>
                      <a:pt x="47" y="146"/>
                    </a:cubicBezTo>
                    <a:cubicBezTo>
                      <a:pt x="47" y="143"/>
                      <a:pt x="43" y="141"/>
                      <a:pt x="43" y="138"/>
                    </a:cubicBezTo>
                    <a:cubicBezTo>
                      <a:pt x="44" y="135"/>
                      <a:pt x="45" y="135"/>
                      <a:pt x="48" y="133"/>
                    </a:cubicBezTo>
                    <a:cubicBezTo>
                      <a:pt x="52" y="130"/>
                      <a:pt x="55" y="127"/>
                      <a:pt x="60" y="127"/>
                    </a:cubicBezTo>
                    <a:cubicBezTo>
                      <a:pt x="60" y="127"/>
                      <a:pt x="61" y="127"/>
                      <a:pt x="62" y="127"/>
                    </a:cubicBezTo>
                    <a:cubicBezTo>
                      <a:pt x="69" y="128"/>
                      <a:pt x="67" y="137"/>
                      <a:pt x="66" y="142"/>
                    </a:cubicBezTo>
                    <a:cubicBezTo>
                      <a:pt x="66" y="145"/>
                      <a:pt x="63" y="146"/>
                      <a:pt x="62" y="149"/>
                    </a:cubicBezTo>
                    <a:cubicBezTo>
                      <a:pt x="61" y="151"/>
                      <a:pt x="60" y="151"/>
                      <a:pt x="63" y="154"/>
                    </a:cubicBezTo>
                    <a:cubicBezTo>
                      <a:pt x="65" y="156"/>
                      <a:pt x="67" y="159"/>
                      <a:pt x="70" y="161"/>
                    </a:cubicBezTo>
                    <a:cubicBezTo>
                      <a:pt x="70" y="161"/>
                      <a:pt x="70" y="161"/>
                      <a:pt x="70" y="161"/>
                    </a:cubicBezTo>
                    <a:cubicBezTo>
                      <a:pt x="70" y="161"/>
                      <a:pt x="70" y="161"/>
                      <a:pt x="71" y="161"/>
                    </a:cubicBezTo>
                    <a:cubicBezTo>
                      <a:pt x="71" y="161"/>
                      <a:pt x="71" y="161"/>
                      <a:pt x="71" y="161"/>
                    </a:cubicBezTo>
                    <a:cubicBezTo>
                      <a:pt x="71" y="161"/>
                      <a:pt x="71" y="161"/>
                      <a:pt x="72" y="161"/>
                    </a:cubicBezTo>
                    <a:cubicBezTo>
                      <a:pt x="74" y="163"/>
                      <a:pt x="74" y="165"/>
                      <a:pt x="77" y="166"/>
                    </a:cubicBezTo>
                    <a:cubicBezTo>
                      <a:pt x="78" y="167"/>
                      <a:pt x="79" y="167"/>
                      <a:pt x="80" y="167"/>
                    </a:cubicBezTo>
                    <a:cubicBezTo>
                      <a:pt x="82" y="169"/>
                      <a:pt x="83" y="168"/>
                      <a:pt x="82" y="172"/>
                    </a:cubicBezTo>
                    <a:cubicBezTo>
                      <a:pt x="81" y="175"/>
                      <a:pt x="77" y="182"/>
                      <a:pt x="79" y="184"/>
                    </a:cubicBezTo>
                    <a:cubicBezTo>
                      <a:pt x="83" y="188"/>
                      <a:pt x="84" y="191"/>
                      <a:pt x="89" y="191"/>
                    </a:cubicBezTo>
                    <a:cubicBezTo>
                      <a:pt x="90" y="192"/>
                      <a:pt x="91" y="192"/>
                      <a:pt x="93" y="192"/>
                    </a:cubicBezTo>
                    <a:cubicBezTo>
                      <a:pt x="93" y="192"/>
                      <a:pt x="94" y="192"/>
                      <a:pt x="94" y="192"/>
                    </a:cubicBezTo>
                    <a:cubicBezTo>
                      <a:pt x="98" y="190"/>
                      <a:pt x="98" y="186"/>
                      <a:pt x="99" y="181"/>
                    </a:cubicBezTo>
                    <a:cubicBezTo>
                      <a:pt x="99" y="181"/>
                      <a:pt x="105" y="180"/>
                      <a:pt x="107" y="179"/>
                    </a:cubicBezTo>
                    <a:cubicBezTo>
                      <a:pt x="110" y="179"/>
                      <a:pt x="110" y="179"/>
                      <a:pt x="110" y="179"/>
                    </a:cubicBezTo>
                    <a:cubicBezTo>
                      <a:pt x="113" y="179"/>
                      <a:pt x="113" y="181"/>
                      <a:pt x="115" y="181"/>
                    </a:cubicBezTo>
                    <a:cubicBezTo>
                      <a:pt x="115" y="181"/>
                      <a:pt x="116" y="180"/>
                      <a:pt x="118" y="179"/>
                    </a:cubicBezTo>
                    <a:cubicBezTo>
                      <a:pt x="121" y="177"/>
                      <a:pt x="121" y="170"/>
                      <a:pt x="117" y="170"/>
                    </a:cubicBezTo>
                    <a:cubicBezTo>
                      <a:pt x="116" y="170"/>
                      <a:pt x="115" y="170"/>
                      <a:pt x="114" y="171"/>
                    </a:cubicBezTo>
                    <a:cubicBezTo>
                      <a:pt x="113" y="169"/>
                      <a:pt x="113" y="166"/>
                      <a:pt x="110" y="166"/>
                    </a:cubicBezTo>
                    <a:cubicBezTo>
                      <a:pt x="110" y="166"/>
                      <a:pt x="110" y="166"/>
                      <a:pt x="109" y="166"/>
                    </a:cubicBezTo>
                    <a:cubicBezTo>
                      <a:pt x="111" y="166"/>
                      <a:pt x="111" y="165"/>
                      <a:pt x="112" y="165"/>
                    </a:cubicBezTo>
                    <a:cubicBezTo>
                      <a:pt x="111" y="163"/>
                      <a:pt x="108" y="160"/>
                      <a:pt x="106" y="159"/>
                    </a:cubicBezTo>
                    <a:cubicBezTo>
                      <a:pt x="106" y="159"/>
                      <a:pt x="106" y="159"/>
                      <a:pt x="105" y="159"/>
                    </a:cubicBezTo>
                    <a:cubicBezTo>
                      <a:pt x="105" y="159"/>
                      <a:pt x="105" y="159"/>
                      <a:pt x="105" y="159"/>
                    </a:cubicBezTo>
                    <a:cubicBezTo>
                      <a:pt x="105" y="159"/>
                      <a:pt x="105" y="159"/>
                      <a:pt x="105" y="159"/>
                    </a:cubicBezTo>
                    <a:cubicBezTo>
                      <a:pt x="105" y="159"/>
                      <a:pt x="105" y="159"/>
                      <a:pt x="105" y="159"/>
                    </a:cubicBezTo>
                    <a:cubicBezTo>
                      <a:pt x="104" y="159"/>
                      <a:pt x="102" y="158"/>
                      <a:pt x="101" y="157"/>
                    </a:cubicBezTo>
                    <a:cubicBezTo>
                      <a:pt x="99" y="153"/>
                      <a:pt x="103" y="154"/>
                      <a:pt x="104" y="151"/>
                    </a:cubicBezTo>
                    <a:cubicBezTo>
                      <a:pt x="106" y="148"/>
                      <a:pt x="102" y="145"/>
                      <a:pt x="105" y="144"/>
                    </a:cubicBezTo>
                    <a:cubicBezTo>
                      <a:pt x="106" y="144"/>
                      <a:pt x="107" y="143"/>
                      <a:pt x="107" y="143"/>
                    </a:cubicBezTo>
                    <a:cubicBezTo>
                      <a:pt x="102" y="139"/>
                      <a:pt x="103" y="139"/>
                      <a:pt x="99" y="134"/>
                    </a:cubicBezTo>
                    <a:cubicBezTo>
                      <a:pt x="98" y="131"/>
                      <a:pt x="96" y="131"/>
                      <a:pt x="94" y="129"/>
                    </a:cubicBezTo>
                    <a:cubicBezTo>
                      <a:pt x="92" y="124"/>
                      <a:pt x="90" y="117"/>
                      <a:pt x="85" y="114"/>
                    </a:cubicBezTo>
                    <a:cubicBezTo>
                      <a:pt x="85" y="114"/>
                      <a:pt x="85" y="114"/>
                      <a:pt x="84" y="114"/>
                    </a:cubicBezTo>
                    <a:cubicBezTo>
                      <a:pt x="84" y="114"/>
                      <a:pt x="84" y="114"/>
                      <a:pt x="84" y="114"/>
                    </a:cubicBezTo>
                    <a:cubicBezTo>
                      <a:pt x="83" y="114"/>
                      <a:pt x="83" y="114"/>
                      <a:pt x="83" y="114"/>
                    </a:cubicBezTo>
                    <a:cubicBezTo>
                      <a:pt x="82" y="114"/>
                      <a:pt x="82" y="114"/>
                      <a:pt x="82" y="114"/>
                    </a:cubicBezTo>
                    <a:cubicBezTo>
                      <a:pt x="80" y="113"/>
                      <a:pt x="79" y="110"/>
                      <a:pt x="79" y="110"/>
                    </a:cubicBezTo>
                    <a:cubicBezTo>
                      <a:pt x="78" y="108"/>
                      <a:pt x="77" y="107"/>
                      <a:pt x="76" y="107"/>
                    </a:cubicBezTo>
                    <a:cubicBezTo>
                      <a:pt x="76" y="107"/>
                      <a:pt x="75" y="107"/>
                      <a:pt x="75" y="108"/>
                    </a:cubicBezTo>
                    <a:cubicBezTo>
                      <a:pt x="74" y="107"/>
                      <a:pt x="74" y="106"/>
                      <a:pt x="75" y="105"/>
                    </a:cubicBezTo>
                    <a:cubicBezTo>
                      <a:pt x="78" y="105"/>
                      <a:pt x="80" y="106"/>
                      <a:pt x="82" y="106"/>
                    </a:cubicBezTo>
                    <a:cubicBezTo>
                      <a:pt x="83" y="106"/>
                      <a:pt x="85" y="106"/>
                      <a:pt x="88" y="103"/>
                    </a:cubicBezTo>
                    <a:cubicBezTo>
                      <a:pt x="96" y="96"/>
                      <a:pt x="106" y="92"/>
                      <a:pt x="112" y="85"/>
                    </a:cubicBezTo>
                    <a:cubicBezTo>
                      <a:pt x="114" y="83"/>
                      <a:pt x="115" y="81"/>
                      <a:pt x="117" y="79"/>
                    </a:cubicBezTo>
                    <a:cubicBezTo>
                      <a:pt x="119" y="77"/>
                      <a:pt x="119" y="77"/>
                      <a:pt x="123" y="76"/>
                    </a:cubicBezTo>
                    <a:cubicBezTo>
                      <a:pt x="124" y="76"/>
                      <a:pt x="124" y="76"/>
                      <a:pt x="125" y="76"/>
                    </a:cubicBezTo>
                    <a:cubicBezTo>
                      <a:pt x="128" y="76"/>
                      <a:pt x="130" y="78"/>
                      <a:pt x="133" y="80"/>
                    </a:cubicBezTo>
                    <a:cubicBezTo>
                      <a:pt x="134" y="75"/>
                      <a:pt x="137" y="70"/>
                      <a:pt x="131" y="68"/>
                    </a:cubicBezTo>
                    <a:cubicBezTo>
                      <a:pt x="130" y="67"/>
                      <a:pt x="129" y="67"/>
                      <a:pt x="128" y="67"/>
                    </a:cubicBezTo>
                    <a:cubicBezTo>
                      <a:pt x="128" y="67"/>
                      <a:pt x="127" y="67"/>
                      <a:pt x="127" y="67"/>
                    </a:cubicBezTo>
                    <a:cubicBezTo>
                      <a:pt x="124" y="67"/>
                      <a:pt x="122" y="68"/>
                      <a:pt x="120" y="72"/>
                    </a:cubicBezTo>
                    <a:cubicBezTo>
                      <a:pt x="124" y="73"/>
                      <a:pt x="118" y="73"/>
                      <a:pt x="115" y="73"/>
                    </a:cubicBezTo>
                    <a:cubicBezTo>
                      <a:pt x="114" y="73"/>
                      <a:pt x="114" y="73"/>
                      <a:pt x="113" y="73"/>
                    </a:cubicBezTo>
                    <a:cubicBezTo>
                      <a:pt x="111" y="73"/>
                      <a:pt x="108" y="72"/>
                      <a:pt x="105" y="72"/>
                    </a:cubicBezTo>
                    <a:cubicBezTo>
                      <a:pt x="103" y="72"/>
                      <a:pt x="102" y="72"/>
                      <a:pt x="101" y="73"/>
                    </a:cubicBezTo>
                    <a:cubicBezTo>
                      <a:pt x="97" y="73"/>
                      <a:pt x="94" y="76"/>
                      <a:pt x="91" y="78"/>
                    </a:cubicBezTo>
                    <a:cubicBezTo>
                      <a:pt x="90" y="78"/>
                      <a:pt x="90" y="78"/>
                      <a:pt x="89" y="78"/>
                    </a:cubicBezTo>
                    <a:cubicBezTo>
                      <a:pt x="88" y="78"/>
                      <a:pt x="86" y="76"/>
                      <a:pt x="84" y="75"/>
                    </a:cubicBezTo>
                    <a:cubicBezTo>
                      <a:pt x="83" y="75"/>
                      <a:pt x="84" y="74"/>
                      <a:pt x="83" y="74"/>
                    </a:cubicBezTo>
                    <a:cubicBezTo>
                      <a:pt x="83" y="74"/>
                      <a:pt x="83" y="74"/>
                      <a:pt x="82" y="75"/>
                    </a:cubicBezTo>
                    <a:cubicBezTo>
                      <a:pt x="80" y="76"/>
                      <a:pt x="78" y="78"/>
                      <a:pt x="76" y="79"/>
                    </a:cubicBezTo>
                    <a:cubicBezTo>
                      <a:pt x="75" y="81"/>
                      <a:pt x="73" y="82"/>
                      <a:pt x="72" y="84"/>
                    </a:cubicBezTo>
                    <a:cubicBezTo>
                      <a:pt x="71" y="86"/>
                      <a:pt x="70" y="89"/>
                      <a:pt x="68" y="90"/>
                    </a:cubicBezTo>
                    <a:cubicBezTo>
                      <a:pt x="68" y="91"/>
                      <a:pt x="66" y="92"/>
                      <a:pt x="65" y="92"/>
                    </a:cubicBezTo>
                    <a:cubicBezTo>
                      <a:pt x="64" y="92"/>
                      <a:pt x="63" y="91"/>
                      <a:pt x="62" y="91"/>
                    </a:cubicBezTo>
                    <a:cubicBezTo>
                      <a:pt x="61" y="91"/>
                      <a:pt x="59" y="90"/>
                      <a:pt x="58" y="90"/>
                    </a:cubicBezTo>
                    <a:cubicBezTo>
                      <a:pt x="57" y="90"/>
                      <a:pt x="56" y="90"/>
                      <a:pt x="55" y="91"/>
                    </a:cubicBezTo>
                    <a:cubicBezTo>
                      <a:pt x="53" y="87"/>
                      <a:pt x="53" y="80"/>
                      <a:pt x="48" y="78"/>
                    </a:cubicBezTo>
                    <a:cubicBezTo>
                      <a:pt x="48" y="78"/>
                      <a:pt x="48" y="77"/>
                      <a:pt x="47" y="77"/>
                    </a:cubicBezTo>
                    <a:cubicBezTo>
                      <a:pt x="47" y="77"/>
                      <a:pt x="47" y="77"/>
                      <a:pt x="47" y="77"/>
                    </a:cubicBezTo>
                    <a:cubicBezTo>
                      <a:pt x="46" y="77"/>
                      <a:pt x="46" y="77"/>
                      <a:pt x="46" y="77"/>
                    </a:cubicBezTo>
                    <a:cubicBezTo>
                      <a:pt x="46" y="78"/>
                      <a:pt x="45" y="78"/>
                      <a:pt x="45" y="78"/>
                    </a:cubicBezTo>
                    <a:cubicBezTo>
                      <a:pt x="45" y="78"/>
                      <a:pt x="45" y="78"/>
                      <a:pt x="45" y="78"/>
                    </a:cubicBezTo>
                    <a:cubicBezTo>
                      <a:pt x="43" y="77"/>
                      <a:pt x="41" y="74"/>
                      <a:pt x="40" y="72"/>
                    </a:cubicBezTo>
                    <a:cubicBezTo>
                      <a:pt x="38" y="70"/>
                      <a:pt x="38" y="68"/>
                      <a:pt x="37" y="65"/>
                    </a:cubicBezTo>
                    <a:cubicBezTo>
                      <a:pt x="37" y="63"/>
                      <a:pt x="36" y="60"/>
                      <a:pt x="36" y="57"/>
                    </a:cubicBezTo>
                    <a:cubicBezTo>
                      <a:pt x="36" y="51"/>
                      <a:pt x="40" y="41"/>
                      <a:pt x="46" y="37"/>
                    </a:cubicBezTo>
                    <a:cubicBezTo>
                      <a:pt x="49" y="35"/>
                      <a:pt x="52" y="35"/>
                      <a:pt x="55" y="35"/>
                    </a:cubicBezTo>
                    <a:cubicBezTo>
                      <a:pt x="58" y="35"/>
                      <a:pt x="61" y="35"/>
                      <a:pt x="65" y="36"/>
                    </a:cubicBezTo>
                    <a:cubicBezTo>
                      <a:pt x="68" y="37"/>
                      <a:pt x="71" y="37"/>
                      <a:pt x="74" y="37"/>
                    </a:cubicBezTo>
                    <a:cubicBezTo>
                      <a:pt x="74" y="37"/>
                      <a:pt x="74" y="37"/>
                      <a:pt x="74" y="37"/>
                    </a:cubicBezTo>
                    <a:cubicBezTo>
                      <a:pt x="82" y="37"/>
                      <a:pt x="89" y="37"/>
                      <a:pt x="96" y="37"/>
                    </a:cubicBezTo>
                    <a:cubicBezTo>
                      <a:pt x="97" y="37"/>
                      <a:pt x="98" y="37"/>
                      <a:pt x="99" y="37"/>
                    </a:cubicBezTo>
                    <a:cubicBezTo>
                      <a:pt x="99" y="37"/>
                      <a:pt x="99" y="37"/>
                      <a:pt x="100" y="37"/>
                    </a:cubicBezTo>
                    <a:cubicBezTo>
                      <a:pt x="102" y="37"/>
                      <a:pt x="104" y="37"/>
                      <a:pt x="107" y="36"/>
                    </a:cubicBezTo>
                    <a:cubicBezTo>
                      <a:pt x="109" y="36"/>
                      <a:pt x="112" y="36"/>
                      <a:pt x="114" y="36"/>
                    </a:cubicBezTo>
                    <a:cubicBezTo>
                      <a:pt x="118" y="36"/>
                      <a:pt x="122" y="36"/>
                      <a:pt x="125" y="38"/>
                    </a:cubicBezTo>
                    <a:cubicBezTo>
                      <a:pt x="129" y="39"/>
                      <a:pt x="133" y="41"/>
                      <a:pt x="136" y="42"/>
                    </a:cubicBezTo>
                    <a:cubicBezTo>
                      <a:pt x="138" y="42"/>
                      <a:pt x="140" y="43"/>
                      <a:pt x="141" y="43"/>
                    </a:cubicBezTo>
                    <a:cubicBezTo>
                      <a:pt x="143" y="43"/>
                      <a:pt x="145" y="42"/>
                      <a:pt x="148" y="42"/>
                    </a:cubicBezTo>
                    <a:cubicBezTo>
                      <a:pt x="151" y="41"/>
                      <a:pt x="158" y="41"/>
                      <a:pt x="160" y="39"/>
                    </a:cubicBezTo>
                    <a:cubicBezTo>
                      <a:pt x="164" y="35"/>
                      <a:pt x="167" y="31"/>
                      <a:pt x="171" y="28"/>
                    </a:cubicBezTo>
                    <a:cubicBezTo>
                      <a:pt x="173" y="25"/>
                      <a:pt x="177" y="24"/>
                      <a:pt x="178" y="21"/>
                    </a:cubicBezTo>
                    <a:cubicBezTo>
                      <a:pt x="180" y="18"/>
                      <a:pt x="183" y="14"/>
                      <a:pt x="184" y="10"/>
                    </a:cubicBezTo>
                    <a:cubicBezTo>
                      <a:pt x="186" y="5"/>
                      <a:pt x="188" y="3"/>
                      <a:pt x="182" y="1"/>
                    </a:cubicBezTo>
                    <a:cubicBezTo>
                      <a:pt x="182" y="0"/>
                      <a:pt x="182"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Freeform 1269"/>
              <p:cNvSpPr/>
              <p:nvPr/>
            </p:nvSpPr>
            <p:spPr bwMode="auto">
              <a:xfrm>
                <a:off x="2584" y="1118"/>
                <a:ext cx="10" cy="5"/>
              </a:xfrm>
              <a:custGeom>
                <a:gdLst>
                  <a:gd name="T0" fmla="*/ 4 w 4"/>
                  <a:gd name="T1" fmla="*/ 0 h 2"/>
                  <a:gd name="T2" fmla="*/ 0 w 4"/>
                  <a:gd name="T3" fmla="*/ 2 h 2"/>
                  <a:gd name="T4" fmla="*/ 4 w 4"/>
                  <a:gd name="T5" fmla="*/ 0 h 2"/>
                </a:gdLst>
                <a:cxnLst>
                  <a:cxn ang="0">
                    <a:pos x="T0" y="T1"/>
                  </a:cxn>
                  <a:cxn ang="0">
                    <a:pos x="T2" y="T3"/>
                  </a:cxn>
                  <a:cxn ang="0">
                    <a:pos x="T4" y="T5"/>
                  </a:cxn>
                </a:cxnLst>
                <a:rect l="0" t="0" r="r" b="b"/>
                <a:pathLst>
                  <a:path w="4" h="2">
                    <a:moveTo>
                      <a:pt x="4" y="0"/>
                    </a:moveTo>
                    <a:cubicBezTo>
                      <a:pt x="3" y="0"/>
                      <a:pt x="1" y="0"/>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1270"/>
              <p:cNvSpPr/>
              <p:nvPr/>
            </p:nvSpPr>
            <p:spPr bwMode="auto">
              <a:xfrm>
                <a:off x="1632" y="1608"/>
                <a:ext cx="73" cy="47"/>
              </a:xfrm>
              <a:custGeom>
                <a:gdLst>
                  <a:gd name="T0" fmla="*/ 18 w 31"/>
                  <a:gd name="T1" fmla="*/ 0 h 20"/>
                  <a:gd name="T2" fmla="*/ 7 w 31"/>
                  <a:gd name="T3" fmla="*/ 8 h 20"/>
                  <a:gd name="T4" fmla="*/ 0 w 31"/>
                  <a:gd name="T5" fmla="*/ 16 h 20"/>
                  <a:gd name="T6" fmla="*/ 3 w 31"/>
                  <a:gd name="T7" fmla="*/ 17 h 20"/>
                  <a:gd name="T8" fmla="*/ 3 w 31"/>
                  <a:gd name="T9" fmla="*/ 17 h 20"/>
                  <a:gd name="T10" fmla="*/ 4 w 31"/>
                  <a:gd name="T11" fmla="*/ 18 h 20"/>
                  <a:gd name="T12" fmla="*/ 5 w 31"/>
                  <a:gd name="T13" fmla="*/ 18 h 20"/>
                  <a:gd name="T14" fmla="*/ 5 w 31"/>
                  <a:gd name="T15" fmla="*/ 18 h 20"/>
                  <a:gd name="T16" fmla="*/ 12 w 31"/>
                  <a:gd name="T17" fmla="*/ 19 h 20"/>
                  <a:gd name="T18" fmla="*/ 15 w 31"/>
                  <a:gd name="T19" fmla="*/ 20 h 20"/>
                  <a:gd name="T20" fmla="*/ 17 w 31"/>
                  <a:gd name="T21" fmla="*/ 19 h 20"/>
                  <a:gd name="T22" fmla="*/ 18 w 31"/>
                  <a:gd name="T23" fmla="*/ 17 h 20"/>
                  <a:gd name="T24" fmla="*/ 19 w 31"/>
                  <a:gd name="T25" fmla="*/ 17 h 20"/>
                  <a:gd name="T26" fmla="*/ 22 w 31"/>
                  <a:gd name="T27" fmla="*/ 18 h 20"/>
                  <a:gd name="T28" fmla="*/ 23 w 31"/>
                  <a:gd name="T29" fmla="*/ 0 h 20"/>
                  <a:gd name="T30" fmla="*/ 18 w 31"/>
                  <a:gd name="T31"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20">
                    <a:moveTo>
                      <a:pt x="18" y="0"/>
                    </a:moveTo>
                    <a:cubicBezTo>
                      <a:pt x="12" y="0"/>
                      <a:pt x="5" y="2"/>
                      <a:pt x="7" y="8"/>
                    </a:cubicBezTo>
                    <a:cubicBezTo>
                      <a:pt x="9" y="13"/>
                      <a:pt x="3" y="15"/>
                      <a:pt x="0" y="16"/>
                    </a:cubicBezTo>
                    <a:cubicBezTo>
                      <a:pt x="1" y="17"/>
                      <a:pt x="2" y="17"/>
                      <a:pt x="3" y="17"/>
                    </a:cubicBezTo>
                    <a:cubicBezTo>
                      <a:pt x="3" y="17"/>
                      <a:pt x="3" y="17"/>
                      <a:pt x="3" y="17"/>
                    </a:cubicBezTo>
                    <a:cubicBezTo>
                      <a:pt x="3" y="17"/>
                      <a:pt x="3" y="18"/>
                      <a:pt x="4" y="18"/>
                    </a:cubicBezTo>
                    <a:cubicBezTo>
                      <a:pt x="4" y="18"/>
                      <a:pt x="5" y="18"/>
                      <a:pt x="5" y="18"/>
                    </a:cubicBezTo>
                    <a:cubicBezTo>
                      <a:pt x="5" y="18"/>
                      <a:pt x="5" y="18"/>
                      <a:pt x="5" y="18"/>
                    </a:cubicBezTo>
                    <a:cubicBezTo>
                      <a:pt x="6" y="19"/>
                      <a:pt x="9" y="18"/>
                      <a:pt x="12" y="19"/>
                    </a:cubicBezTo>
                    <a:cubicBezTo>
                      <a:pt x="14" y="20"/>
                      <a:pt x="14" y="20"/>
                      <a:pt x="15" y="20"/>
                    </a:cubicBezTo>
                    <a:cubicBezTo>
                      <a:pt x="15" y="20"/>
                      <a:pt x="16" y="20"/>
                      <a:pt x="17" y="19"/>
                    </a:cubicBezTo>
                    <a:cubicBezTo>
                      <a:pt x="19" y="19"/>
                      <a:pt x="16" y="17"/>
                      <a:pt x="18" y="17"/>
                    </a:cubicBezTo>
                    <a:cubicBezTo>
                      <a:pt x="18" y="17"/>
                      <a:pt x="19" y="17"/>
                      <a:pt x="19" y="17"/>
                    </a:cubicBezTo>
                    <a:cubicBezTo>
                      <a:pt x="20" y="17"/>
                      <a:pt x="21" y="18"/>
                      <a:pt x="22" y="18"/>
                    </a:cubicBezTo>
                    <a:cubicBezTo>
                      <a:pt x="18" y="16"/>
                      <a:pt x="31" y="4"/>
                      <a:pt x="23" y="0"/>
                    </a:cubicBezTo>
                    <a:cubicBezTo>
                      <a:pt x="22"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1271"/>
              <p:cNvSpPr/>
              <p:nvPr/>
            </p:nvSpPr>
            <p:spPr bwMode="auto">
              <a:xfrm>
                <a:off x="1691" y="1596"/>
                <a:ext cx="170" cy="71"/>
              </a:xfrm>
              <a:custGeom>
                <a:gdLst>
                  <a:gd name="T0" fmla="*/ 37 w 72"/>
                  <a:gd name="T1" fmla="*/ 0 h 30"/>
                  <a:gd name="T2" fmla="*/ 31 w 72"/>
                  <a:gd name="T3" fmla="*/ 2 h 30"/>
                  <a:gd name="T4" fmla="*/ 35 w 72"/>
                  <a:gd name="T5" fmla="*/ 9 h 30"/>
                  <a:gd name="T6" fmla="*/ 46 w 72"/>
                  <a:gd name="T7" fmla="*/ 15 h 30"/>
                  <a:gd name="T8" fmla="*/ 33 w 72"/>
                  <a:gd name="T9" fmla="*/ 18 h 30"/>
                  <a:gd name="T10" fmla="*/ 31 w 72"/>
                  <a:gd name="T11" fmla="*/ 18 h 30"/>
                  <a:gd name="T12" fmla="*/ 30 w 72"/>
                  <a:gd name="T13" fmla="*/ 16 h 30"/>
                  <a:gd name="T14" fmla="*/ 19 w 72"/>
                  <a:gd name="T15" fmla="*/ 11 h 30"/>
                  <a:gd name="T16" fmla="*/ 13 w 72"/>
                  <a:gd name="T17" fmla="*/ 9 h 30"/>
                  <a:gd name="T18" fmla="*/ 7 w 72"/>
                  <a:gd name="T19" fmla="*/ 11 h 30"/>
                  <a:gd name="T20" fmla="*/ 3 w 72"/>
                  <a:gd name="T21" fmla="*/ 15 h 30"/>
                  <a:gd name="T22" fmla="*/ 2 w 72"/>
                  <a:gd name="T23" fmla="*/ 21 h 30"/>
                  <a:gd name="T24" fmla="*/ 7 w 72"/>
                  <a:gd name="T25" fmla="*/ 29 h 30"/>
                  <a:gd name="T26" fmla="*/ 11 w 72"/>
                  <a:gd name="T27" fmla="*/ 30 h 30"/>
                  <a:gd name="T28" fmla="*/ 12 w 72"/>
                  <a:gd name="T29" fmla="*/ 30 h 30"/>
                  <a:gd name="T30" fmla="*/ 31 w 72"/>
                  <a:gd name="T31" fmla="*/ 26 h 30"/>
                  <a:gd name="T32" fmla="*/ 42 w 72"/>
                  <a:gd name="T33" fmla="*/ 21 h 30"/>
                  <a:gd name="T34" fmla="*/ 50 w 72"/>
                  <a:gd name="T35" fmla="*/ 15 h 30"/>
                  <a:gd name="T36" fmla="*/ 50 w 72"/>
                  <a:gd name="T37" fmla="*/ 18 h 30"/>
                  <a:gd name="T38" fmla="*/ 52 w 72"/>
                  <a:gd name="T39" fmla="*/ 23 h 30"/>
                  <a:gd name="T40" fmla="*/ 52 w 72"/>
                  <a:gd name="T41" fmla="*/ 23 h 30"/>
                  <a:gd name="T42" fmla="*/ 59 w 72"/>
                  <a:gd name="T43" fmla="*/ 21 h 30"/>
                  <a:gd name="T44" fmla="*/ 72 w 72"/>
                  <a:gd name="T45" fmla="*/ 18 h 30"/>
                  <a:gd name="T46" fmla="*/ 72 w 72"/>
                  <a:gd name="T47" fmla="*/ 15 h 30"/>
                  <a:gd name="T48" fmla="*/ 69 w 72"/>
                  <a:gd name="T49" fmla="*/ 16 h 30"/>
                  <a:gd name="T50" fmla="*/ 67 w 72"/>
                  <a:gd name="T51" fmla="*/ 14 h 30"/>
                  <a:gd name="T52" fmla="*/ 68 w 72"/>
                  <a:gd name="T53" fmla="*/ 11 h 30"/>
                  <a:gd name="T54" fmla="*/ 64 w 72"/>
                  <a:gd name="T55" fmla="*/ 7 h 30"/>
                  <a:gd name="T56" fmla="*/ 64 w 72"/>
                  <a:gd name="T57" fmla="*/ 7 h 30"/>
                  <a:gd name="T58" fmla="*/ 58 w 72"/>
                  <a:gd name="T59" fmla="*/ 12 h 30"/>
                  <a:gd name="T60" fmla="*/ 53 w 72"/>
                  <a:gd name="T61" fmla="*/ 5 h 30"/>
                  <a:gd name="T62" fmla="*/ 47 w 72"/>
                  <a:gd name="T63" fmla="*/ 8 h 30"/>
                  <a:gd name="T64" fmla="*/ 37 w 72"/>
                  <a:gd name="T65" fmla="*/ 0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30">
                    <a:moveTo>
                      <a:pt x="37" y="0"/>
                    </a:moveTo>
                    <a:cubicBezTo>
                      <a:pt x="35" y="0"/>
                      <a:pt x="33" y="1"/>
                      <a:pt x="31" y="2"/>
                    </a:cubicBezTo>
                    <a:cubicBezTo>
                      <a:pt x="32" y="5"/>
                      <a:pt x="32" y="7"/>
                      <a:pt x="35" y="9"/>
                    </a:cubicBezTo>
                    <a:cubicBezTo>
                      <a:pt x="36" y="11"/>
                      <a:pt x="46" y="14"/>
                      <a:pt x="46" y="15"/>
                    </a:cubicBezTo>
                    <a:cubicBezTo>
                      <a:pt x="46" y="16"/>
                      <a:pt x="36" y="18"/>
                      <a:pt x="33" y="18"/>
                    </a:cubicBezTo>
                    <a:cubicBezTo>
                      <a:pt x="32" y="18"/>
                      <a:pt x="32" y="18"/>
                      <a:pt x="31" y="18"/>
                    </a:cubicBezTo>
                    <a:cubicBezTo>
                      <a:pt x="31" y="18"/>
                      <a:pt x="30" y="16"/>
                      <a:pt x="30" y="16"/>
                    </a:cubicBezTo>
                    <a:cubicBezTo>
                      <a:pt x="26" y="14"/>
                      <a:pt x="23" y="12"/>
                      <a:pt x="19" y="11"/>
                    </a:cubicBezTo>
                    <a:cubicBezTo>
                      <a:pt x="16" y="9"/>
                      <a:pt x="15" y="9"/>
                      <a:pt x="13" y="9"/>
                    </a:cubicBezTo>
                    <a:cubicBezTo>
                      <a:pt x="12" y="9"/>
                      <a:pt x="10" y="9"/>
                      <a:pt x="7" y="11"/>
                    </a:cubicBezTo>
                    <a:cubicBezTo>
                      <a:pt x="5" y="12"/>
                      <a:pt x="4" y="13"/>
                      <a:pt x="3" y="15"/>
                    </a:cubicBezTo>
                    <a:cubicBezTo>
                      <a:pt x="2" y="17"/>
                      <a:pt x="2" y="18"/>
                      <a:pt x="2" y="21"/>
                    </a:cubicBezTo>
                    <a:cubicBezTo>
                      <a:pt x="2" y="27"/>
                      <a:pt x="0" y="27"/>
                      <a:pt x="7" y="29"/>
                    </a:cubicBezTo>
                    <a:cubicBezTo>
                      <a:pt x="9" y="29"/>
                      <a:pt x="10" y="30"/>
                      <a:pt x="11" y="30"/>
                    </a:cubicBezTo>
                    <a:cubicBezTo>
                      <a:pt x="11" y="30"/>
                      <a:pt x="11" y="30"/>
                      <a:pt x="12" y="30"/>
                    </a:cubicBezTo>
                    <a:cubicBezTo>
                      <a:pt x="18" y="29"/>
                      <a:pt x="25" y="27"/>
                      <a:pt x="31" y="26"/>
                    </a:cubicBezTo>
                    <a:cubicBezTo>
                      <a:pt x="35" y="25"/>
                      <a:pt x="38" y="23"/>
                      <a:pt x="42" y="21"/>
                    </a:cubicBezTo>
                    <a:cubicBezTo>
                      <a:pt x="46" y="19"/>
                      <a:pt x="47" y="18"/>
                      <a:pt x="50" y="15"/>
                    </a:cubicBezTo>
                    <a:cubicBezTo>
                      <a:pt x="50" y="16"/>
                      <a:pt x="50" y="17"/>
                      <a:pt x="50" y="18"/>
                    </a:cubicBezTo>
                    <a:cubicBezTo>
                      <a:pt x="51" y="19"/>
                      <a:pt x="51" y="23"/>
                      <a:pt x="52" y="23"/>
                    </a:cubicBezTo>
                    <a:cubicBezTo>
                      <a:pt x="52" y="23"/>
                      <a:pt x="52" y="23"/>
                      <a:pt x="52" y="23"/>
                    </a:cubicBezTo>
                    <a:cubicBezTo>
                      <a:pt x="54" y="22"/>
                      <a:pt x="57" y="22"/>
                      <a:pt x="59" y="21"/>
                    </a:cubicBezTo>
                    <a:cubicBezTo>
                      <a:pt x="62" y="21"/>
                      <a:pt x="70" y="20"/>
                      <a:pt x="72" y="18"/>
                    </a:cubicBezTo>
                    <a:cubicBezTo>
                      <a:pt x="72" y="17"/>
                      <a:pt x="72" y="15"/>
                      <a:pt x="72" y="15"/>
                    </a:cubicBezTo>
                    <a:cubicBezTo>
                      <a:pt x="71" y="16"/>
                      <a:pt x="70" y="16"/>
                      <a:pt x="69" y="16"/>
                    </a:cubicBezTo>
                    <a:cubicBezTo>
                      <a:pt x="68" y="16"/>
                      <a:pt x="68" y="15"/>
                      <a:pt x="67" y="14"/>
                    </a:cubicBezTo>
                    <a:cubicBezTo>
                      <a:pt x="67" y="13"/>
                      <a:pt x="68" y="11"/>
                      <a:pt x="68" y="11"/>
                    </a:cubicBezTo>
                    <a:cubicBezTo>
                      <a:pt x="68" y="8"/>
                      <a:pt x="67" y="7"/>
                      <a:pt x="64" y="7"/>
                    </a:cubicBezTo>
                    <a:cubicBezTo>
                      <a:pt x="64" y="7"/>
                      <a:pt x="64" y="7"/>
                      <a:pt x="64" y="7"/>
                    </a:cubicBezTo>
                    <a:cubicBezTo>
                      <a:pt x="59" y="7"/>
                      <a:pt x="59" y="7"/>
                      <a:pt x="58" y="12"/>
                    </a:cubicBezTo>
                    <a:cubicBezTo>
                      <a:pt x="57" y="8"/>
                      <a:pt x="55" y="5"/>
                      <a:pt x="53" y="5"/>
                    </a:cubicBezTo>
                    <a:cubicBezTo>
                      <a:pt x="51" y="5"/>
                      <a:pt x="49" y="6"/>
                      <a:pt x="47" y="8"/>
                    </a:cubicBezTo>
                    <a:cubicBezTo>
                      <a:pt x="43" y="3"/>
                      <a:pt x="41"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1272"/>
              <p:cNvSpPr/>
              <p:nvPr/>
            </p:nvSpPr>
            <p:spPr bwMode="auto">
              <a:xfrm>
                <a:off x="2421" y="1556"/>
                <a:ext cx="5" cy="9"/>
              </a:xfrm>
              <a:custGeom>
                <a:gdLst>
                  <a:gd name="T0" fmla="*/ 2 w 2"/>
                  <a:gd name="T1" fmla="*/ 0 h 4"/>
                  <a:gd name="T2" fmla="*/ 0 w 2"/>
                  <a:gd name="T3" fmla="*/ 4 h 4"/>
                  <a:gd name="T4" fmla="*/ 2 w 2"/>
                  <a:gd name="T5" fmla="*/ 0 h 4"/>
                </a:gdLst>
                <a:cxnLst>
                  <a:cxn ang="0">
                    <a:pos x="T0" y="T1"/>
                  </a:cxn>
                  <a:cxn ang="0">
                    <a:pos x="T2" y="T3"/>
                  </a:cxn>
                  <a:cxn ang="0">
                    <a:pos x="T4" y="T5"/>
                  </a:cxn>
                </a:cxnLst>
                <a:rect l="0" t="0" r="r" b="b"/>
                <a:pathLst>
                  <a:path w="2" h="4">
                    <a:moveTo>
                      <a:pt x="2" y="0"/>
                    </a:moveTo>
                    <a:cubicBezTo>
                      <a:pt x="1" y="2"/>
                      <a:pt x="0" y="3"/>
                      <a:pt x="0"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Freeform 1273"/>
              <p:cNvSpPr/>
              <p:nvPr/>
            </p:nvSpPr>
            <p:spPr bwMode="auto">
              <a:xfrm>
                <a:off x="1585" y="1508"/>
                <a:ext cx="28" cy="12"/>
              </a:xfrm>
              <a:custGeom>
                <a:gdLst>
                  <a:gd name="T0" fmla="*/ 4 w 12"/>
                  <a:gd name="T1" fmla="*/ 0 h 5"/>
                  <a:gd name="T2" fmla="*/ 5 w 12"/>
                  <a:gd name="T3" fmla="*/ 5 h 5"/>
                  <a:gd name="T4" fmla="*/ 7 w 12"/>
                  <a:gd name="T5" fmla="*/ 5 h 5"/>
                  <a:gd name="T6" fmla="*/ 10 w 12"/>
                  <a:gd name="T7" fmla="*/ 3 h 5"/>
                  <a:gd name="T8" fmla="*/ 12 w 12"/>
                  <a:gd name="T9" fmla="*/ 3 h 5"/>
                  <a:gd name="T10" fmla="*/ 4 w 12"/>
                  <a:gd name="T11" fmla="*/ 0 h 5"/>
                </a:gdLst>
                <a:cxnLst>
                  <a:cxn ang="0">
                    <a:pos x="T0" y="T1"/>
                  </a:cxn>
                  <a:cxn ang="0">
                    <a:pos x="T2" y="T3"/>
                  </a:cxn>
                  <a:cxn ang="0">
                    <a:pos x="T4" y="T5"/>
                  </a:cxn>
                  <a:cxn ang="0">
                    <a:pos x="T6" y="T7"/>
                  </a:cxn>
                  <a:cxn ang="0">
                    <a:pos x="T8" y="T9"/>
                  </a:cxn>
                  <a:cxn ang="0">
                    <a:pos x="T10" y="T11"/>
                  </a:cxn>
                </a:cxnLst>
                <a:rect l="0" t="0" r="r" b="b"/>
                <a:pathLst>
                  <a:path w="12" h="5">
                    <a:moveTo>
                      <a:pt x="4" y="0"/>
                    </a:moveTo>
                    <a:cubicBezTo>
                      <a:pt x="0" y="3"/>
                      <a:pt x="3" y="5"/>
                      <a:pt x="5" y="5"/>
                    </a:cubicBezTo>
                    <a:cubicBezTo>
                      <a:pt x="6" y="5"/>
                      <a:pt x="6" y="5"/>
                      <a:pt x="7" y="5"/>
                    </a:cubicBezTo>
                    <a:cubicBezTo>
                      <a:pt x="10" y="3"/>
                      <a:pt x="10" y="3"/>
                      <a:pt x="10" y="3"/>
                    </a:cubicBezTo>
                    <a:cubicBezTo>
                      <a:pt x="12" y="3"/>
                      <a:pt x="12" y="3"/>
                      <a:pt x="12" y="3"/>
                    </a:cubicBezTo>
                    <a:cubicBezTo>
                      <a:pt x="9"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1274"/>
              <p:cNvSpPr/>
              <p:nvPr/>
            </p:nvSpPr>
            <p:spPr bwMode="auto">
              <a:xfrm>
                <a:off x="1849" y="1598"/>
                <a:ext cx="5" cy="10"/>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1" y="1"/>
                      <a:pt x="0" y="3"/>
                      <a:pt x="1"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1275"/>
              <p:cNvSpPr/>
              <p:nvPr/>
            </p:nvSpPr>
            <p:spPr bwMode="auto">
              <a:xfrm>
                <a:off x="1147" y="1147"/>
                <a:ext cx="12" cy="0"/>
              </a:xfrm>
              <a:custGeom>
                <a:gdLst>
                  <a:gd name="T0" fmla="*/ 2 w 5"/>
                  <a:gd name="T1" fmla="*/ 0 w 5"/>
                  <a:gd name="T2" fmla="*/ 2 w 5"/>
                  <a:gd name="T3" fmla="*/ 5 w 5"/>
                  <a:gd name="T4" fmla="*/ 2 w 5"/>
                </a:gd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1" y="0"/>
                      <a:pt x="2" y="0"/>
                    </a:cubicBezTo>
                    <a:cubicBezTo>
                      <a:pt x="3" y="0"/>
                      <a:pt x="4"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5" name="Freeform 1276"/>
              <p:cNvSpPr/>
              <p:nvPr/>
            </p:nvSpPr>
            <p:spPr bwMode="auto">
              <a:xfrm>
                <a:off x="2655" y="1596"/>
                <a:ext cx="29" cy="19"/>
              </a:xfrm>
              <a:custGeom>
                <a:gdLst>
                  <a:gd name="T0" fmla="*/ 9 w 12"/>
                  <a:gd name="T1" fmla="*/ 0 h 8"/>
                  <a:gd name="T2" fmla="*/ 0 w 12"/>
                  <a:gd name="T3" fmla="*/ 8 h 8"/>
                  <a:gd name="T4" fmla="*/ 7 w 12"/>
                  <a:gd name="T5" fmla="*/ 4 h 8"/>
                  <a:gd name="T6" fmla="*/ 12 w 12"/>
                  <a:gd name="T7" fmla="*/ 1 h 8"/>
                  <a:gd name="T8" fmla="*/ 9 w 12"/>
                  <a:gd name="T9" fmla="*/ 0 h 8"/>
                </a:gdLst>
                <a:cxnLst>
                  <a:cxn ang="0">
                    <a:pos x="T0" y="T1"/>
                  </a:cxn>
                  <a:cxn ang="0">
                    <a:pos x="T2" y="T3"/>
                  </a:cxn>
                  <a:cxn ang="0">
                    <a:pos x="T4" y="T5"/>
                  </a:cxn>
                  <a:cxn ang="0">
                    <a:pos x="T6" y="T7"/>
                  </a:cxn>
                  <a:cxn ang="0">
                    <a:pos x="T8" y="T9"/>
                  </a:cxn>
                </a:cxnLst>
                <a:rect l="0" t="0" r="r" b="b"/>
                <a:pathLst>
                  <a:path w="12" h="8">
                    <a:moveTo>
                      <a:pt x="9" y="0"/>
                    </a:moveTo>
                    <a:cubicBezTo>
                      <a:pt x="5" y="0"/>
                      <a:pt x="3" y="4"/>
                      <a:pt x="0" y="8"/>
                    </a:cubicBezTo>
                    <a:cubicBezTo>
                      <a:pt x="4" y="6"/>
                      <a:pt x="4" y="5"/>
                      <a:pt x="7" y="4"/>
                    </a:cubicBezTo>
                    <a:cubicBezTo>
                      <a:pt x="9" y="3"/>
                      <a:pt x="11" y="2"/>
                      <a:pt x="12" y="1"/>
                    </a:cubicBezTo>
                    <a:cubicBezTo>
                      <a:pt x="11"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1277"/>
              <p:cNvSpPr/>
              <p:nvPr/>
            </p:nvSpPr>
            <p:spPr bwMode="auto">
              <a:xfrm>
                <a:off x="2421" y="988"/>
                <a:ext cx="7" cy="10"/>
              </a:xfrm>
              <a:custGeom>
                <a:gdLst>
                  <a:gd name="T0" fmla="*/ 3 w 3"/>
                  <a:gd name="T1" fmla="*/ 0 h 4"/>
                  <a:gd name="T2" fmla="*/ 1 w 3"/>
                  <a:gd name="T3" fmla="*/ 4 h 4"/>
                  <a:gd name="T4" fmla="*/ 3 w 3"/>
                  <a:gd name="T5" fmla="*/ 0 h 4"/>
                </a:gdLst>
                <a:cxnLst>
                  <a:cxn ang="0">
                    <a:pos x="T0" y="T1"/>
                  </a:cxn>
                  <a:cxn ang="0">
                    <a:pos x="T2" y="T3"/>
                  </a:cxn>
                  <a:cxn ang="0">
                    <a:pos x="T4" y="T5"/>
                  </a:cxn>
                </a:cxnLst>
                <a:rect l="0" t="0" r="r" b="b"/>
                <a:pathLst>
                  <a:path w="3" h="4">
                    <a:moveTo>
                      <a:pt x="3" y="0"/>
                    </a:moveTo>
                    <a:cubicBezTo>
                      <a:pt x="1" y="1"/>
                      <a:pt x="0" y="2"/>
                      <a:pt x="1" y="4"/>
                    </a:cubicBezTo>
                    <a:cubicBezTo>
                      <a:pt x="2" y="3"/>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Freeform 1278"/>
              <p:cNvSpPr/>
              <p:nvPr/>
            </p:nvSpPr>
            <p:spPr bwMode="auto">
              <a:xfrm>
                <a:off x="2459" y="1286"/>
                <a:ext cx="26" cy="10"/>
              </a:xfrm>
              <a:custGeom>
                <a:gdLst>
                  <a:gd name="T0" fmla="*/ 6 w 11"/>
                  <a:gd name="T1" fmla="*/ 0 h 4"/>
                  <a:gd name="T2" fmla="*/ 1 w 11"/>
                  <a:gd name="T3" fmla="*/ 2 h 4"/>
                  <a:gd name="T4" fmla="*/ 2 w 11"/>
                  <a:gd name="T5" fmla="*/ 4 h 4"/>
                  <a:gd name="T6" fmla="*/ 5 w 11"/>
                  <a:gd name="T7" fmla="*/ 3 h 4"/>
                  <a:gd name="T8" fmla="*/ 11 w 11"/>
                  <a:gd name="T9" fmla="*/ 1 h 4"/>
                  <a:gd name="T10" fmla="*/ 6 w 11"/>
                  <a:gd name="T11" fmla="*/ 0 h 4"/>
                </a:gdLst>
                <a:cxnLst>
                  <a:cxn ang="0">
                    <a:pos x="T0" y="T1"/>
                  </a:cxn>
                  <a:cxn ang="0">
                    <a:pos x="T2" y="T3"/>
                  </a:cxn>
                  <a:cxn ang="0">
                    <a:pos x="T4" y="T5"/>
                  </a:cxn>
                  <a:cxn ang="0">
                    <a:pos x="T6" y="T7"/>
                  </a:cxn>
                  <a:cxn ang="0">
                    <a:pos x="T8" y="T9"/>
                  </a:cxn>
                  <a:cxn ang="0">
                    <a:pos x="T10" y="T11"/>
                  </a:cxn>
                </a:cxnLst>
                <a:rect l="0" t="0" r="r" b="b"/>
                <a:pathLst>
                  <a:path w="11" h="4">
                    <a:moveTo>
                      <a:pt x="6" y="0"/>
                    </a:moveTo>
                    <a:cubicBezTo>
                      <a:pt x="4" y="0"/>
                      <a:pt x="2" y="0"/>
                      <a:pt x="1" y="2"/>
                    </a:cubicBezTo>
                    <a:cubicBezTo>
                      <a:pt x="0" y="4"/>
                      <a:pt x="1" y="4"/>
                      <a:pt x="2" y="4"/>
                    </a:cubicBezTo>
                    <a:cubicBezTo>
                      <a:pt x="3" y="4"/>
                      <a:pt x="4" y="4"/>
                      <a:pt x="5" y="3"/>
                    </a:cubicBezTo>
                    <a:cubicBezTo>
                      <a:pt x="7" y="2"/>
                      <a:pt x="9" y="2"/>
                      <a:pt x="11" y="1"/>
                    </a:cubicBezTo>
                    <a:cubicBezTo>
                      <a:pt x="9"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1279"/>
              <p:cNvSpPr/>
              <p:nvPr/>
            </p:nvSpPr>
            <p:spPr bwMode="auto">
              <a:xfrm>
                <a:off x="2379" y="728"/>
                <a:ext cx="11" cy="38"/>
              </a:xfrm>
              <a:custGeom>
                <a:gdLst>
                  <a:gd name="T0" fmla="*/ 1 w 5"/>
                  <a:gd name="T1" fmla="*/ 0 h 16"/>
                  <a:gd name="T2" fmla="*/ 1 w 5"/>
                  <a:gd name="T3" fmla="*/ 16 h 16"/>
                  <a:gd name="T4" fmla="*/ 4 w 5"/>
                  <a:gd name="T5" fmla="*/ 10 h 16"/>
                  <a:gd name="T6" fmla="*/ 5 w 5"/>
                  <a:gd name="T7" fmla="*/ 7 h 16"/>
                  <a:gd name="T8" fmla="*/ 4 w 5"/>
                  <a:gd name="T9" fmla="*/ 5 h 16"/>
                  <a:gd name="T10" fmla="*/ 4 w 5"/>
                  <a:gd name="T11" fmla="*/ 3 h 16"/>
                  <a:gd name="T12" fmla="*/ 1 w 5"/>
                  <a:gd name="T13" fmla="*/ 0 h 16"/>
                </a:gdLst>
                <a:cxnLst>
                  <a:cxn ang="0">
                    <a:pos x="T0" y="T1"/>
                  </a:cxn>
                  <a:cxn ang="0">
                    <a:pos x="T2" y="T3"/>
                  </a:cxn>
                  <a:cxn ang="0">
                    <a:pos x="T4" y="T5"/>
                  </a:cxn>
                  <a:cxn ang="0">
                    <a:pos x="T6" y="T7"/>
                  </a:cxn>
                  <a:cxn ang="0">
                    <a:pos x="T8" y="T9"/>
                  </a:cxn>
                  <a:cxn ang="0">
                    <a:pos x="T10" y="T11"/>
                  </a:cxn>
                  <a:cxn ang="0">
                    <a:pos x="T12" y="T13"/>
                  </a:cxn>
                </a:cxnLst>
                <a:rect l="0" t="0" r="r" b="b"/>
                <a:pathLst>
                  <a:path w="5" h="16">
                    <a:moveTo>
                      <a:pt x="1" y="0"/>
                    </a:moveTo>
                    <a:cubicBezTo>
                      <a:pt x="0" y="5"/>
                      <a:pt x="1" y="11"/>
                      <a:pt x="1" y="16"/>
                    </a:cubicBezTo>
                    <a:cubicBezTo>
                      <a:pt x="2" y="14"/>
                      <a:pt x="2" y="12"/>
                      <a:pt x="4" y="10"/>
                    </a:cubicBezTo>
                    <a:cubicBezTo>
                      <a:pt x="4" y="9"/>
                      <a:pt x="5" y="8"/>
                      <a:pt x="5" y="7"/>
                    </a:cubicBezTo>
                    <a:cubicBezTo>
                      <a:pt x="5" y="6"/>
                      <a:pt x="4" y="6"/>
                      <a:pt x="4" y="5"/>
                    </a:cubicBezTo>
                    <a:cubicBezTo>
                      <a:pt x="4" y="5"/>
                      <a:pt x="4" y="3"/>
                      <a:pt x="4" y="3"/>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1280"/>
              <p:cNvSpPr/>
              <p:nvPr/>
            </p:nvSpPr>
            <p:spPr bwMode="auto">
              <a:xfrm>
                <a:off x="1093" y="750"/>
                <a:ext cx="31" cy="37"/>
              </a:xfrm>
              <a:custGeom>
                <a:gdLst>
                  <a:gd name="T0" fmla="*/ 7 w 13"/>
                  <a:gd name="T1" fmla="*/ 0 h 16"/>
                  <a:gd name="T2" fmla="*/ 1 w 13"/>
                  <a:gd name="T3" fmla="*/ 5 h 16"/>
                  <a:gd name="T4" fmla="*/ 2 w 13"/>
                  <a:gd name="T5" fmla="*/ 11 h 16"/>
                  <a:gd name="T6" fmla="*/ 8 w 13"/>
                  <a:gd name="T7" fmla="*/ 14 h 16"/>
                  <a:gd name="T8" fmla="*/ 3 w 13"/>
                  <a:gd name="T9" fmla="*/ 16 h 16"/>
                  <a:gd name="T10" fmla="*/ 6 w 13"/>
                  <a:gd name="T11" fmla="*/ 16 h 16"/>
                  <a:gd name="T12" fmla="*/ 8 w 13"/>
                  <a:gd name="T13" fmla="*/ 16 h 16"/>
                  <a:gd name="T14" fmla="*/ 12 w 13"/>
                  <a:gd name="T15" fmla="*/ 11 h 16"/>
                  <a:gd name="T16" fmla="*/ 7 w 13"/>
                  <a:gd name="T17"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6">
                    <a:moveTo>
                      <a:pt x="7" y="0"/>
                    </a:moveTo>
                    <a:cubicBezTo>
                      <a:pt x="6" y="1"/>
                      <a:pt x="2" y="3"/>
                      <a:pt x="1" y="5"/>
                    </a:cubicBezTo>
                    <a:cubicBezTo>
                      <a:pt x="0" y="7"/>
                      <a:pt x="1" y="8"/>
                      <a:pt x="2" y="11"/>
                    </a:cubicBezTo>
                    <a:cubicBezTo>
                      <a:pt x="4" y="12"/>
                      <a:pt x="8" y="11"/>
                      <a:pt x="8" y="14"/>
                    </a:cubicBezTo>
                    <a:cubicBezTo>
                      <a:pt x="7" y="14"/>
                      <a:pt x="3" y="14"/>
                      <a:pt x="3" y="16"/>
                    </a:cubicBezTo>
                    <a:cubicBezTo>
                      <a:pt x="4" y="16"/>
                      <a:pt x="5" y="16"/>
                      <a:pt x="6" y="16"/>
                    </a:cubicBezTo>
                    <a:cubicBezTo>
                      <a:pt x="7" y="16"/>
                      <a:pt x="8" y="16"/>
                      <a:pt x="8" y="16"/>
                    </a:cubicBezTo>
                    <a:cubicBezTo>
                      <a:pt x="10" y="15"/>
                      <a:pt x="11" y="13"/>
                      <a:pt x="12" y="11"/>
                    </a:cubicBezTo>
                    <a:cubicBezTo>
                      <a:pt x="13" y="6"/>
                      <a:pt x="8"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1281"/>
              <p:cNvSpPr/>
              <p:nvPr/>
            </p:nvSpPr>
            <p:spPr bwMode="auto">
              <a:xfrm>
                <a:off x="760" y="991"/>
                <a:ext cx="12" cy="9"/>
              </a:xfrm>
              <a:custGeom>
                <a:gdLst>
                  <a:gd name="T0" fmla="*/ 2 w 5"/>
                  <a:gd name="T1" fmla="*/ 0 h 4"/>
                  <a:gd name="T2" fmla="*/ 0 w 5"/>
                  <a:gd name="T3" fmla="*/ 4 h 4"/>
                  <a:gd name="T4" fmla="*/ 5 w 5"/>
                  <a:gd name="T5" fmla="*/ 3 h 4"/>
                  <a:gd name="T6" fmla="*/ 2 w 5"/>
                  <a:gd name="T7" fmla="*/ 0 h 4"/>
                </a:gdLst>
                <a:cxnLst>
                  <a:cxn ang="0">
                    <a:pos x="T0" y="T1"/>
                  </a:cxn>
                  <a:cxn ang="0">
                    <a:pos x="T2" y="T3"/>
                  </a:cxn>
                  <a:cxn ang="0">
                    <a:pos x="T4" y="T5"/>
                  </a:cxn>
                  <a:cxn ang="0">
                    <a:pos x="T6" y="T7"/>
                  </a:cxn>
                </a:cxnLst>
                <a:rect l="0" t="0" r="r" b="b"/>
                <a:pathLst>
                  <a:path w="5" h="4">
                    <a:moveTo>
                      <a:pt x="2" y="0"/>
                    </a:moveTo>
                    <a:cubicBezTo>
                      <a:pt x="1" y="0"/>
                      <a:pt x="0" y="2"/>
                      <a:pt x="0" y="4"/>
                    </a:cubicBezTo>
                    <a:cubicBezTo>
                      <a:pt x="2" y="4"/>
                      <a:pt x="3" y="4"/>
                      <a:pt x="5"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1282"/>
              <p:cNvSpPr/>
              <p:nvPr/>
            </p:nvSpPr>
            <p:spPr bwMode="auto">
              <a:xfrm>
                <a:off x="710" y="960"/>
                <a:ext cx="52" cy="26"/>
              </a:xfrm>
              <a:custGeom>
                <a:gdLst>
                  <a:gd name="T0" fmla="*/ 11 w 22"/>
                  <a:gd name="T1" fmla="*/ 0 h 11"/>
                  <a:gd name="T2" fmla="*/ 11 w 22"/>
                  <a:gd name="T3" fmla="*/ 0 h 11"/>
                  <a:gd name="T4" fmla="*/ 6 w 22"/>
                  <a:gd name="T5" fmla="*/ 4 h 11"/>
                  <a:gd name="T6" fmla="*/ 6 w 22"/>
                  <a:gd name="T7" fmla="*/ 3 h 11"/>
                  <a:gd name="T8" fmla="*/ 4 w 22"/>
                  <a:gd name="T9" fmla="*/ 1 h 11"/>
                  <a:gd name="T10" fmla="*/ 3 w 22"/>
                  <a:gd name="T11" fmla="*/ 1 h 11"/>
                  <a:gd name="T12" fmla="*/ 3 w 22"/>
                  <a:gd name="T13" fmla="*/ 6 h 11"/>
                  <a:gd name="T14" fmla="*/ 0 w 22"/>
                  <a:gd name="T15" fmla="*/ 8 h 11"/>
                  <a:gd name="T16" fmla="*/ 10 w 22"/>
                  <a:gd name="T17" fmla="*/ 11 h 11"/>
                  <a:gd name="T18" fmla="*/ 15 w 22"/>
                  <a:gd name="T19" fmla="*/ 11 h 11"/>
                  <a:gd name="T20" fmla="*/ 19 w 22"/>
                  <a:gd name="T21" fmla="*/ 11 h 11"/>
                  <a:gd name="T22" fmla="*/ 19 w 22"/>
                  <a:gd name="T23" fmla="*/ 11 h 11"/>
                  <a:gd name="T24" fmla="*/ 7 w 22"/>
                  <a:gd name="T25" fmla="*/ 5 h 11"/>
                  <a:gd name="T26" fmla="*/ 6 w 22"/>
                  <a:gd name="T27" fmla="*/ 4 h 11"/>
                  <a:gd name="T28" fmla="*/ 8 w 22"/>
                  <a:gd name="T29" fmla="*/ 5 h 11"/>
                  <a:gd name="T30" fmla="*/ 9 w 22"/>
                  <a:gd name="T31" fmla="*/ 4 h 11"/>
                  <a:gd name="T32" fmla="*/ 22 w 22"/>
                  <a:gd name="T33" fmla="*/ 9 h 11"/>
                  <a:gd name="T34" fmla="*/ 15 w 22"/>
                  <a:gd name="T35" fmla="*/ 1 h 11"/>
                  <a:gd name="T36" fmla="*/ 11 w 22"/>
                  <a:gd name="T37"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1">
                    <a:moveTo>
                      <a:pt x="11" y="0"/>
                    </a:moveTo>
                    <a:cubicBezTo>
                      <a:pt x="11" y="0"/>
                      <a:pt x="11" y="0"/>
                      <a:pt x="11" y="0"/>
                    </a:cubicBezTo>
                    <a:cubicBezTo>
                      <a:pt x="8" y="0"/>
                      <a:pt x="8" y="2"/>
                      <a:pt x="6" y="4"/>
                    </a:cubicBezTo>
                    <a:cubicBezTo>
                      <a:pt x="6" y="3"/>
                      <a:pt x="6" y="3"/>
                      <a:pt x="6" y="3"/>
                    </a:cubicBezTo>
                    <a:cubicBezTo>
                      <a:pt x="5" y="2"/>
                      <a:pt x="4" y="1"/>
                      <a:pt x="4" y="1"/>
                    </a:cubicBezTo>
                    <a:cubicBezTo>
                      <a:pt x="3" y="1"/>
                      <a:pt x="3" y="1"/>
                      <a:pt x="3" y="1"/>
                    </a:cubicBezTo>
                    <a:cubicBezTo>
                      <a:pt x="0" y="1"/>
                      <a:pt x="3" y="4"/>
                      <a:pt x="3" y="6"/>
                    </a:cubicBezTo>
                    <a:cubicBezTo>
                      <a:pt x="2" y="7"/>
                      <a:pt x="0" y="6"/>
                      <a:pt x="0" y="8"/>
                    </a:cubicBezTo>
                    <a:cubicBezTo>
                      <a:pt x="0" y="11"/>
                      <a:pt x="5" y="11"/>
                      <a:pt x="10" y="11"/>
                    </a:cubicBezTo>
                    <a:cubicBezTo>
                      <a:pt x="12" y="11"/>
                      <a:pt x="14" y="11"/>
                      <a:pt x="15" y="11"/>
                    </a:cubicBezTo>
                    <a:cubicBezTo>
                      <a:pt x="17" y="11"/>
                      <a:pt x="18" y="11"/>
                      <a:pt x="19" y="11"/>
                    </a:cubicBezTo>
                    <a:cubicBezTo>
                      <a:pt x="19" y="11"/>
                      <a:pt x="19" y="11"/>
                      <a:pt x="19" y="11"/>
                    </a:cubicBezTo>
                    <a:cubicBezTo>
                      <a:pt x="15" y="6"/>
                      <a:pt x="12" y="7"/>
                      <a:pt x="7" y="5"/>
                    </a:cubicBezTo>
                    <a:cubicBezTo>
                      <a:pt x="7" y="4"/>
                      <a:pt x="7" y="4"/>
                      <a:pt x="6" y="4"/>
                    </a:cubicBezTo>
                    <a:cubicBezTo>
                      <a:pt x="7" y="4"/>
                      <a:pt x="8" y="4"/>
                      <a:pt x="8" y="5"/>
                    </a:cubicBezTo>
                    <a:cubicBezTo>
                      <a:pt x="8" y="4"/>
                      <a:pt x="9" y="4"/>
                      <a:pt x="9" y="4"/>
                    </a:cubicBezTo>
                    <a:cubicBezTo>
                      <a:pt x="12" y="4"/>
                      <a:pt x="20" y="8"/>
                      <a:pt x="22" y="9"/>
                    </a:cubicBezTo>
                    <a:cubicBezTo>
                      <a:pt x="20" y="5"/>
                      <a:pt x="18" y="3"/>
                      <a:pt x="15" y="1"/>
                    </a:cubicBezTo>
                    <a:cubicBezTo>
                      <a:pt x="14"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1283"/>
              <p:cNvSpPr/>
              <p:nvPr/>
            </p:nvSpPr>
            <p:spPr bwMode="auto">
              <a:xfrm>
                <a:off x="2832" y="1322"/>
                <a:ext cx="12" cy="9"/>
              </a:xfrm>
              <a:custGeom>
                <a:gdLst>
                  <a:gd name="T0" fmla="*/ 0 w 5"/>
                  <a:gd name="T1" fmla="*/ 0 h 4"/>
                  <a:gd name="T2" fmla="*/ 4 w 5"/>
                  <a:gd name="T3" fmla="*/ 4 h 4"/>
                  <a:gd name="T4" fmla="*/ 5 w 5"/>
                  <a:gd name="T5" fmla="*/ 4 h 4"/>
                  <a:gd name="T6" fmla="*/ 0 w 5"/>
                  <a:gd name="T7" fmla="*/ 0 h 4"/>
                </a:gdLst>
                <a:cxnLst>
                  <a:cxn ang="0">
                    <a:pos x="T0" y="T1"/>
                  </a:cxn>
                  <a:cxn ang="0">
                    <a:pos x="T2" y="T3"/>
                  </a:cxn>
                  <a:cxn ang="0">
                    <a:pos x="T4" y="T5"/>
                  </a:cxn>
                  <a:cxn ang="0">
                    <a:pos x="T6" y="T7"/>
                  </a:cxn>
                </a:cxnLst>
                <a:rect l="0" t="0" r="r" b="b"/>
                <a:pathLst>
                  <a:path w="5" h="4">
                    <a:moveTo>
                      <a:pt x="0" y="0"/>
                    </a:moveTo>
                    <a:cubicBezTo>
                      <a:pt x="0" y="2"/>
                      <a:pt x="2" y="4"/>
                      <a:pt x="4" y="4"/>
                    </a:cubicBezTo>
                    <a:cubicBezTo>
                      <a:pt x="5" y="4"/>
                      <a:pt x="5" y="4"/>
                      <a:pt x="5"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1284"/>
              <p:cNvSpPr/>
              <p:nvPr/>
            </p:nvSpPr>
            <p:spPr bwMode="auto">
              <a:xfrm>
                <a:off x="2045" y="1062"/>
                <a:ext cx="10" cy="2"/>
              </a:xfrm>
              <a:custGeom>
                <a:gdLst>
                  <a:gd name="T0" fmla="*/ 3 w 4"/>
                  <a:gd name="T1" fmla="*/ 0 h 1"/>
                  <a:gd name="T2" fmla="*/ 0 w 4"/>
                  <a:gd name="T3" fmla="*/ 1 h 1"/>
                  <a:gd name="T4" fmla="*/ 4 w 4"/>
                  <a:gd name="T5" fmla="*/ 0 h 1"/>
                  <a:gd name="T6" fmla="*/ 3 w 4"/>
                  <a:gd name="T7" fmla="*/ 0 h 1"/>
                </a:gdLst>
                <a:cxnLst>
                  <a:cxn ang="0">
                    <a:pos x="T0" y="T1"/>
                  </a:cxn>
                  <a:cxn ang="0">
                    <a:pos x="T2" y="T3"/>
                  </a:cxn>
                  <a:cxn ang="0">
                    <a:pos x="T4" y="T5"/>
                  </a:cxn>
                  <a:cxn ang="0">
                    <a:pos x="T6" y="T7"/>
                  </a:cxn>
                </a:cxnLst>
                <a:rect l="0" t="0" r="r" b="b"/>
                <a:pathLst>
                  <a:path w="4" h="1">
                    <a:moveTo>
                      <a:pt x="3" y="0"/>
                    </a:moveTo>
                    <a:cubicBezTo>
                      <a:pt x="1" y="0"/>
                      <a:pt x="0" y="0"/>
                      <a:pt x="0" y="1"/>
                    </a:cubicBezTo>
                    <a:cubicBezTo>
                      <a:pt x="1" y="1"/>
                      <a:pt x="3"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Freeform 1285"/>
              <p:cNvSpPr/>
              <p:nvPr/>
            </p:nvSpPr>
            <p:spPr bwMode="auto">
              <a:xfrm>
                <a:off x="2421" y="1014"/>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1" y="1"/>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1286"/>
              <p:cNvSpPr/>
              <p:nvPr/>
            </p:nvSpPr>
            <p:spPr bwMode="auto">
              <a:xfrm>
                <a:off x="2175" y="1170"/>
                <a:ext cx="8" cy="3"/>
              </a:xfrm>
              <a:custGeom>
                <a:gdLst>
                  <a:gd name="T0" fmla="*/ 0 w 3"/>
                  <a:gd name="T1" fmla="*/ 0 h 1"/>
                  <a:gd name="T2" fmla="*/ 3 w 3"/>
                  <a:gd name="T3" fmla="*/ 1 h 1"/>
                  <a:gd name="T4" fmla="*/ 0 w 3"/>
                  <a:gd name="T5" fmla="*/ 0 h 1"/>
                </a:gdLst>
                <a:cxnLst>
                  <a:cxn ang="0">
                    <a:pos x="T0" y="T1"/>
                  </a:cxn>
                  <a:cxn ang="0">
                    <a:pos x="T2" y="T3"/>
                  </a:cxn>
                  <a:cxn ang="0">
                    <a:pos x="T4" y="T5"/>
                  </a:cxn>
                </a:cxnLst>
                <a:rect l="0" t="0" r="r" b="b"/>
                <a:pathLst>
                  <a:path w="3" h="1">
                    <a:moveTo>
                      <a:pt x="0" y="0"/>
                    </a:moveTo>
                    <a:cubicBezTo>
                      <a:pt x="1" y="0"/>
                      <a:pt x="2"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1287"/>
              <p:cNvSpPr/>
              <p:nvPr/>
            </p:nvSpPr>
            <p:spPr bwMode="auto">
              <a:xfrm>
                <a:off x="807" y="979"/>
                <a:ext cx="7" cy="7"/>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2"/>
                      <a:pt x="3" y="3"/>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Freeform 1288"/>
              <p:cNvSpPr/>
              <p:nvPr/>
            </p:nvSpPr>
            <p:spPr bwMode="auto">
              <a:xfrm>
                <a:off x="833" y="986"/>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0" y="1"/>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1289"/>
              <p:cNvSpPr/>
              <p:nvPr/>
            </p:nvSpPr>
            <p:spPr bwMode="auto">
              <a:xfrm>
                <a:off x="774" y="979"/>
                <a:ext cx="12" cy="14"/>
              </a:xfrm>
              <a:custGeom>
                <a:gdLst>
                  <a:gd name="T0" fmla="*/ 1 w 5"/>
                  <a:gd name="T1" fmla="*/ 0 h 6"/>
                  <a:gd name="T2" fmla="*/ 2 w 5"/>
                  <a:gd name="T3" fmla="*/ 6 h 6"/>
                  <a:gd name="T4" fmla="*/ 5 w 5"/>
                  <a:gd name="T5" fmla="*/ 4 h 6"/>
                  <a:gd name="T6" fmla="*/ 1 w 5"/>
                  <a:gd name="T7" fmla="*/ 0 h 6"/>
                </a:gdLst>
                <a:cxnLst>
                  <a:cxn ang="0">
                    <a:pos x="T0" y="T1"/>
                  </a:cxn>
                  <a:cxn ang="0">
                    <a:pos x="T2" y="T3"/>
                  </a:cxn>
                  <a:cxn ang="0">
                    <a:pos x="T4" y="T5"/>
                  </a:cxn>
                  <a:cxn ang="0">
                    <a:pos x="T6" y="T7"/>
                  </a:cxn>
                </a:cxnLst>
                <a:rect l="0" t="0" r="r" b="b"/>
                <a:pathLst>
                  <a:path w="5" h="6">
                    <a:moveTo>
                      <a:pt x="1" y="0"/>
                    </a:moveTo>
                    <a:cubicBezTo>
                      <a:pt x="0" y="2"/>
                      <a:pt x="0" y="6"/>
                      <a:pt x="2" y="6"/>
                    </a:cubicBezTo>
                    <a:cubicBezTo>
                      <a:pt x="3" y="6"/>
                      <a:pt x="4" y="5"/>
                      <a:pt x="5" y="4"/>
                    </a:cubicBezTo>
                    <a:cubicBezTo>
                      <a:pt x="4"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1290"/>
              <p:cNvSpPr/>
              <p:nvPr/>
            </p:nvSpPr>
            <p:spPr bwMode="auto">
              <a:xfrm>
                <a:off x="2452" y="1596"/>
                <a:ext cx="21" cy="12"/>
              </a:xfrm>
              <a:custGeom>
                <a:gdLst>
                  <a:gd name="T0" fmla="*/ 0 w 9"/>
                  <a:gd name="T1" fmla="*/ 0 h 5"/>
                  <a:gd name="T2" fmla="*/ 5 w 9"/>
                  <a:gd name="T3" fmla="*/ 5 h 5"/>
                  <a:gd name="T4" fmla="*/ 5 w 9"/>
                  <a:gd name="T5" fmla="*/ 5 h 5"/>
                  <a:gd name="T6" fmla="*/ 9 w 9"/>
                  <a:gd name="T7" fmla="*/ 3 h 5"/>
                  <a:gd name="T8" fmla="*/ 0 w 9"/>
                  <a:gd name="T9" fmla="*/ 0 h 5"/>
                </a:gdLst>
                <a:cxnLst>
                  <a:cxn ang="0">
                    <a:pos x="T0" y="T1"/>
                  </a:cxn>
                  <a:cxn ang="0">
                    <a:pos x="T2" y="T3"/>
                  </a:cxn>
                  <a:cxn ang="0">
                    <a:pos x="T4" y="T5"/>
                  </a:cxn>
                  <a:cxn ang="0">
                    <a:pos x="T6" y="T7"/>
                  </a:cxn>
                  <a:cxn ang="0">
                    <a:pos x="T8" y="T9"/>
                  </a:cxn>
                </a:cxnLst>
                <a:rect l="0" t="0" r="r" b="b"/>
                <a:pathLst>
                  <a:path w="9" h="5">
                    <a:moveTo>
                      <a:pt x="0" y="0"/>
                    </a:moveTo>
                    <a:cubicBezTo>
                      <a:pt x="0" y="3"/>
                      <a:pt x="3" y="5"/>
                      <a:pt x="5" y="5"/>
                    </a:cubicBezTo>
                    <a:cubicBezTo>
                      <a:pt x="5" y="5"/>
                      <a:pt x="5" y="5"/>
                      <a:pt x="5" y="5"/>
                    </a:cubicBezTo>
                    <a:cubicBezTo>
                      <a:pt x="7" y="5"/>
                      <a:pt x="7" y="4"/>
                      <a:pt x="9" y="3"/>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Freeform 1291"/>
              <p:cNvSpPr/>
              <p:nvPr/>
            </p:nvSpPr>
            <p:spPr bwMode="auto">
              <a:xfrm>
                <a:off x="1944" y="1437"/>
                <a:ext cx="7" cy="48"/>
              </a:xfrm>
              <a:custGeom>
                <a:gdLst>
                  <a:gd name="T0" fmla="*/ 3 w 3"/>
                  <a:gd name="T1" fmla="*/ 0 h 20"/>
                  <a:gd name="T2" fmla="*/ 2 w 3"/>
                  <a:gd name="T3" fmla="*/ 20 h 20"/>
                  <a:gd name="T4" fmla="*/ 3 w 3"/>
                  <a:gd name="T5" fmla="*/ 0 h 20"/>
                </a:gdLst>
                <a:cxnLst>
                  <a:cxn ang="0">
                    <a:pos x="T0" y="T1"/>
                  </a:cxn>
                  <a:cxn ang="0">
                    <a:pos x="T2" y="T3"/>
                  </a:cxn>
                  <a:cxn ang="0">
                    <a:pos x="T4" y="T5"/>
                  </a:cxn>
                </a:cxnLst>
                <a:rect l="0" t="0" r="r" b="b"/>
                <a:pathLst>
                  <a:path w="3" h="20">
                    <a:moveTo>
                      <a:pt x="3" y="0"/>
                    </a:moveTo>
                    <a:cubicBezTo>
                      <a:pt x="0" y="5"/>
                      <a:pt x="2" y="15"/>
                      <a:pt x="2" y="20"/>
                    </a:cubicBezTo>
                    <a:cubicBezTo>
                      <a:pt x="3" y="13"/>
                      <a:pt x="3" y="6"/>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1292"/>
              <p:cNvSpPr/>
              <p:nvPr/>
            </p:nvSpPr>
            <p:spPr bwMode="auto">
              <a:xfrm>
                <a:off x="857" y="1026"/>
                <a:ext cx="9" cy="12"/>
              </a:xfrm>
              <a:custGeom>
                <a:gdLst>
                  <a:gd name="T0" fmla="*/ 0 w 4"/>
                  <a:gd name="T1" fmla="*/ 0 h 5"/>
                  <a:gd name="T2" fmla="*/ 4 w 4"/>
                  <a:gd name="T3" fmla="*/ 5 h 5"/>
                  <a:gd name="T4" fmla="*/ 0 w 4"/>
                  <a:gd name="T5" fmla="*/ 0 h 5"/>
                </a:gdLst>
                <a:cxnLst>
                  <a:cxn ang="0">
                    <a:pos x="T0" y="T1"/>
                  </a:cxn>
                  <a:cxn ang="0">
                    <a:pos x="T2" y="T3"/>
                  </a:cxn>
                  <a:cxn ang="0">
                    <a:pos x="T4" y="T5"/>
                  </a:cxn>
                </a:cxnLst>
                <a:rect l="0" t="0" r="r" b="b"/>
                <a:pathLst>
                  <a:path w="4" h="5">
                    <a:moveTo>
                      <a:pt x="0" y="0"/>
                    </a:moveTo>
                    <a:cubicBezTo>
                      <a:pt x="0" y="3"/>
                      <a:pt x="2" y="3"/>
                      <a:pt x="4"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1293"/>
              <p:cNvSpPr/>
              <p:nvPr/>
            </p:nvSpPr>
            <p:spPr bwMode="auto">
              <a:xfrm>
                <a:off x="2733" y="1534"/>
                <a:ext cx="5" cy="5"/>
              </a:xfrm>
              <a:custGeom>
                <a:gdLst>
                  <a:gd name="T0" fmla="*/ 0 w 2"/>
                  <a:gd name="T1" fmla="*/ 0 h 2"/>
                  <a:gd name="T2" fmla="*/ 2 w 2"/>
                  <a:gd name="T3" fmla="*/ 2 h 2"/>
                  <a:gd name="T4" fmla="*/ 0 w 2"/>
                  <a:gd name="T5" fmla="*/ 0 h 2"/>
                </a:gdLst>
                <a:cxnLst>
                  <a:cxn ang="0">
                    <a:pos x="T0" y="T1"/>
                  </a:cxn>
                  <a:cxn ang="0">
                    <a:pos x="T2" y="T3"/>
                  </a:cxn>
                  <a:cxn ang="0">
                    <a:pos x="T4" y="T5"/>
                  </a:cxn>
                </a:cxnLst>
                <a:rect l="0" t="0" r="r" b="b"/>
                <a:pathLst>
                  <a:path w="2" h="2">
                    <a:moveTo>
                      <a:pt x="0" y="0"/>
                    </a:moveTo>
                    <a:cubicBezTo>
                      <a:pt x="1" y="1"/>
                      <a:pt x="1" y="1"/>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294"/>
              <p:cNvSpPr>
                <a:spLocks noEditPoints="1"/>
              </p:cNvSpPr>
              <p:nvPr/>
            </p:nvSpPr>
            <p:spPr bwMode="auto">
              <a:xfrm>
                <a:off x="2724" y="1530"/>
                <a:ext cx="9" cy="4"/>
              </a:xfrm>
              <a:custGeom>
                <a:gdLst>
                  <a:gd name="T0" fmla="*/ 0 w 4"/>
                  <a:gd name="T1" fmla="*/ 0 h 2"/>
                  <a:gd name="T2" fmla="*/ 4 w 4"/>
                  <a:gd name="T3" fmla="*/ 2 h 2"/>
                  <a:gd name="T4" fmla="*/ 0 w 4"/>
                  <a:gd name="T5" fmla="*/ 0 h 2"/>
                  <a:gd name="T6" fmla="*/ 0 w 4"/>
                  <a:gd name="T7" fmla="*/ 0 h 2"/>
                  <a:gd name="T8" fmla="*/ 0 w 4"/>
                  <a:gd name="T9" fmla="*/ 0 h 2"/>
                  <a:gd name="T10" fmla="*/ 0 w 4"/>
                  <a:gd name="T11" fmla="*/ 0 h 2"/>
                </a:gdLst>
                <a:cxnLst>
                  <a:cxn ang="0">
                    <a:pos x="T0" y="T1"/>
                  </a:cxn>
                  <a:cxn ang="0">
                    <a:pos x="T2" y="T3"/>
                  </a:cxn>
                  <a:cxn ang="0">
                    <a:pos x="T4" y="T5"/>
                  </a:cxn>
                  <a:cxn ang="0">
                    <a:pos x="T6" y="T7"/>
                  </a:cxn>
                  <a:cxn ang="0">
                    <a:pos x="T8" y="T9"/>
                  </a:cxn>
                  <a:cxn ang="0">
                    <a:pos x="T10" y="T11"/>
                  </a:cxn>
                </a:cxnLst>
                <a:rect l="0" t="0" r="r" b="b"/>
                <a:pathLst>
                  <a:path w="4" h="2">
                    <a:moveTo>
                      <a:pt x="0" y="0"/>
                    </a:moveTo>
                    <a:cubicBezTo>
                      <a:pt x="1" y="0"/>
                      <a:pt x="3" y="1"/>
                      <a:pt x="4" y="2"/>
                    </a:cubicBezTo>
                    <a:cubicBezTo>
                      <a:pt x="4" y="0"/>
                      <a:pt x="2"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295"/>
              <p:cNvSpPr/>
              <p:nvPr/>
            </p:nvSpPr>
            <p:spPr bwMode="auto">
              <a:xfrm>
                <a:off x="2071" y="1357"/>
                <a:ext cx="38" cy="54"/>
              </a:xfrm>
              <a:custGeom>
                <a:gdLst>
                  <a:gd name="T0" fmla="*/ 13 w 16"/>
                  <a:gd name="T1" fmla="*/ 0 h 23"/>
                  <a:gd name="T2" fmla="*/ 8 w 16"/>
                  <a:gd name="T3" fmla="*/ 2 h 23"/>
                  <a:gd name="T4" fmla="*/ 3 w 16"/>
                  <a:gd name="T5" fmla="*/ 4 h 23"/>
                  <a:gd name="T6" fmla="*/ 2 w 16"/>
                  <a:gd name="T7" fmla="*/ 16 h 23"/>
                  <a:gd name="T8" fmla="*/ 5 w 16"/>
                  <a:gd name="T9" fmla="*/ 23 h 23"/>
                  <a:gd name="T10" fmla="*/ 8 w 16"/>
                  <a:gd name="T11" fmla="*/ 23 h 23"/>
                  <a:gd name="T12" fmla="*/ 11 w 16"/>
                  <a:gd name="T13" fmla="*/ 21 h 23"/>
                  <a:gd name="T14" fmla="*/ 12 w 16"/>
                  <a:gd name="T15" fmla="*/ 19 h 23"/>
                  <a:gd name="T16" fmla="*/ 12 w 16"/>
                  <a:gd name="T17" fmla="*/ 14 h 23"/>
                  <a:gd name="T18" fmla="*/ 15 w 16"/>
                  <a:gd name="T19" fmla="*/ 10 h 23"/>
                  <a:gd name="T20" fmla="*/ 13 w 16"/>
                  <a:gd name="T21"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3">
                    <a:moveTo>
                      <a:pt x="13" y="0"/>
                    </a:moveTo>
                    <a:cubicBezTo>
                      <a:pt x="11" y="0"/>
                      <a:pt x="10" y="2"/>
                      <a:pt x="8" y="2"/>
                    </a:cubicBezTo>
                    <a:cubicBezTo>
                      <a:pt x="7" y="3"/>
                      <a:pt x="4" y="3"/>
                      <a:pt x="3" y="4"/>
                    </a:cubicBezTo>
                    <a:cubicBezTo>
                      <a:pt x="1" y="8"/>
                      <a:pt x="6" y="11"/>
                      <a:pt x="2" y="16"/>
                    </a:cubicBezTo>
                    <a:cubicBezTo>
                      <a:pt x="1" y="22"/>
                      <a:pt x="0" y="22"/>
                      <a:pt x="5" y="23"/>
                    </a:cubicBezTo>
                    <a:cubicBezTo>
                      <a:pt x="7" y="23"/>
                      <a:pt x="8" y="23"/>
                      <a:pt x="8" y="23"/>
                    </a:cubicBezTo>
                    <a:cubicBezTo>
                      <a:pt x="9" y="23"/>
                      <a:pt x="10" y="23"/>
                      <a:pt x="11" y="21"/>
                    </a:cubicBezTo>
                    <a:cubicBezTo>
                      <a:pt x="11" y="20"/>
                      <a:pt x="11" y="21"/>
                      <a:pt x="12" y="19"/>
                    </a:cubicBezTo>
                    <a:cubicBezTo>
                      <a:pt x="12" y="16"/>
                      <a:pt x="10" y="17"/>
                      <a:pt x="12" y="14"/>
                    </a:cubicBezTo>
                    <a:cubicBezTo>
                      <a:pt x="13" y="13"/>
                      <a:pt x="14" y="12"/>
                      <a:pt x="15" y="10"/>
                    </a:cubicBezTo>
                    <a:cubicBezTo>
                      <a:pt x="16" y="7"/>
                      <a:pt x="14"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296"/>
              <p:cNvSpPr/>
              <p:nvPr/>
            </p:nvSpPr>
            <p:spPr bwMode="auto">
              <a:xfrm>
                <a:off x="2121" y="1610"/>
                <a:ext cx="28" cy="7"/>
              </a:xfrm>
              <a:custGeom>
                <a:gdLst>
                  <a:gd name="T0" fmla="*/ 6 w 12"/>
                  <a:gd name="T1" fmla="*/ 0 h 3"/>
                  <a:gd name="T2" fmla="*/ 3 w 12"/>
                  <a:gd name="T3" fmla="*/ 0 h 3"/>
                  <a:gd name="T4" fmla="*/ 5 w 12"/>
                  <a:gd name="T5" fmla="*/ 3 h 3"/>
                  <a:gd name="T6" fmla="*/ 8 w 12"/>
                  <a:gd name="T7" fmla="*/ 3 h 3"/>
                  <a:gd name="T8" fmla="*/ 8 w 12"/>
                  <a:gd name="T9" fmla="*/ 3 h 3"/>
                  <a:gd name="T10" fmla="*/ 9 w 12"/>
                  <a:gd name="T11" fmla="*/ 3 h 3"/>
                  <a:gd name="T12" fmla="*/ 9 w 12"/>
                  <a:gd name="T13" fmla="*/ 3 h 3"/>
                  <a:gd name="T14" fmla="*/ 10 w 12"/>
                  <a:gd name="T15" fmla="*/ 3 h 3"/>
                  <a:gd name="T16" fmla="*/ 6 w 12"/>
                  <a:gd name="T17"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
                    <a:moveTo>
                      <a:pt x="6" y="0"/>
                    </a:moveTo>
                    <a:cubicBezTo>
                      <a:pt x="5" y="0"/>
                      <a:pt x="4" y="0"/>
                      <a:pt x="3" y="0"/>
                    </a:cubicBezTo>
                    <a:cubicBezTo>
                      <a:pt x="0" y="3"/>
                      <a:pt x="2" y="3"/>
                      <a:pt x="5" y="3"/>
                    </a:cubicBezTo>
                    <a:cubicBezTo>
                      <a:pt x="6" y="3"/>
                      <a:pt x="7" y="3"/>
                      <a:pt x="8" y="3"/>
                    </a:cubicBezTo>
                    <a:cubicBezTo>
                      <a:pt x="8" y="3"/>
                      <a:pt x="8" y="3"/>
                      <a:pt x="8" y="3"/>
                    </a:cubicBezTo>
                    <a:cubicBezTo>
                      <a:pt x="8" y="3"/>
                      <a:pt x="8" y="3"/>
                      <a:pt x="9" y="3"/>
                    </a:cubicBezTo>
                    <a:cubicBezTo>
                      <a:pt x="9" y="3"/>
                      <a:pt x="9" y="3"/>
                      <a:pt x="9" y="3"/>
                    </a:cubicBezTo>
                    <a:cubicBezTo>
                      <a:pt x="9" y="3"/>
                      <a:pt x="10" y="3"/>
                      <a:pt x="10" y="3"/>
                    </a:cubicBezTo>
                    <a:cubicBezTo>
                      <a:pt x="12" y="0"/>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Freeform 1297"/>
              <p:cNvSpPr/>
              <p:nvPr/>
            </p:nvSpPr>
            <p:spPr bwMode="auto">
              <a:xfrm>
                <a:off x="2036" y="1759"/>
                <a:ext cx="19" cy="9"/>
              </a:xfrm>
              <a:custGeom>
                <a:gdLst>
                  <a:gd name="T0" fmla="*/ 8 w 8"/>
                  <a:gd name="T1" fmla="*/ 0 h 4"/>
                  <a:gd name="T2" fmla="*/ 0 w 8"/>
                  <a:gd name="T3" fmla="*/ 3 h 4"/>
                  <a:gd name="T4" fmla="*/ 4 w 8"/>
                  <a:gd name="T5" fmla="*/ 4 h 4"/>
                  <a:gd name="T6" fmla="*/ 8 w 8"/>
                  <a:gd name="T7" fmla="*/ 0 h 4"/>
                </a:gdLst>
                <a:cxnLst>
                  <a:cxn ang="0">
                    <a:pos x="T0" y="T1"/>
                  </a:cxn>
                  <a:cxn ang="0">
                    <a:pos x="T2" y="T3"/>
                  </a:cxn>
                  <a:cxn ang="0">
                    <a:pos x="T4" y="T5"/>
                  </a:cxn>
                  <a:cxn ang="0">
                    <a:pos x="T6" y="T7"/>
                  </a:cxn>
                </a:cxnLst>
                <a:rect l="0" t="0" r="r" b="b"/>
                <a:pathLst>
                  <a:path w="8" h="4">
                    <a:moveTo>
                      <a:pt x="8" y="0"/>
                    </a:moveTo>
                    <a:cubicBezTo>
                      <a:pt x="5" y="1"/>
                      <a:pt x="2" y="2"/>
                      <a:pt x="0" y="3"/>
                    </a:cubicBezTo>
                    <a:cubicBezTo>
                      <a:pt x="1" y="4"/>
                      <a:pt x="2" y="4"/>
                      <a:pt x="4" y="4"/>
                    </a:cubicBezTo>
                    <a:cubicBezTo>
                      <a:pt x="6" y="4"/>
                      <a:pt x="8" y="3"/>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Freeform 1298"/>
              <p:cNvSpPr/>
              <p:nvPr/>
            </p:nvSpPr>
            <p:spPr bwMode="auto">
              <a:xfrm>
                <a:off x="2407" y="1081"/>
                <a:ext cx="12" cy="14"/>
              </a:xfrm>
              <a:custGeom>
                <a:gdLst>
                  <a:gd name="T0" fmla="*/ 3 w 5"/>
                  <a:gd name="T1" fmla="*/ 0 h 6"/>
                  <a:gd name="T2" fmla="*/ 0 w 5"/>
                  <a:gd name="T3" fmla="*/ 5 h 6"/>
                  <a:gd name="T4" fmla="*/ 3 w 5"/>
                  <a:gd name="T5" fmla="*/ 6 h 6"/>
                  <a:gd name="T6" fmla="*/ 4 w 5"/>
                  <a:gd name="T7" fmla="*/ 6 h 6"/>
                  <a:gd name="T8" fmla="*/ 3 w 5"/>
                  <a:gd name="T9" fmla="*/ 0 h 6"/>
                </a:gdLst>
                <a:cxnLst>
                  <a:cxn ang="0">
                    <a:pos x="T0" y="T1"/>
                  </a:cxn>
                  <a:cxn ang="0">
                    <a:pos x="T2" y="T3"/>
                  </a:cxn>
                  <a:cxn ang="0">
                    <a:pos x="T4" y="T5"/>
                  </a:cxn>
                  <a:cxn ang="0">
                    <a:pos x="T6" y="T7"/>
                  </a:cxn>
                  <a:cxn ang="0">
                    <a:pos x="T8" y="T9"/>
                  </a:cxn>
                </a:cxnLst>
                <a:rect l="0" t="0" r="r" b="b"/>
                <a:pathLst>
                  <a:path w="5" h="6">
                    <a:moveTo>
                      <a:pt x="3" y="0"/>
                    </a:moveTo>
                    <a:cubicBezTo>
                      <a:pt x="2" y="1"/>
                      <a:pt x="0" y="4"/>
                      <a:pt x="0" y="5"/>
                    </a:cubicBezTo>
                    <a:cubicBezTo>
                      <a:pt x="1" y="6"/>
                      <a:pt x="3" y="6"/>
                      <a:pt x="3" y="6"/>
                    </a:cubicBezTo>
                    <a:cubicBezTo>
                      <a:pt x="4" y="6"/>
                      <a:pt x="4" y="6"/>
                      <a:pt x="4" y="6"/>
                    </a:cubicBezTo>
                    <a:cubicBezTo>
                      <a:pt x="5" y="5"/>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1299"/>
              <p:cNvSpPr/>
              <p:nvPr/>
            </p:nvSpPr>
            <p:spPr bwMode="auto">
              <a:xfrm>
                <a:off x="2556" y="1036"/>
                <a:ext cx="16" cy="19"/>
              </a:xfrm>
              <a:custGeom>
                <a:gdLst>
                  <a:gd name="T0" fmla="*/ 0 w 7"/>
                  <a:gd name="T1" fmla="*/ 0 h 8"/>
                  <a:gd name="T2" fmla="*/ 7 w 7"/>
                  <a:gd name="T3" fmla="*/ 8 h 8"/>
                  <a:gd name="T4" fmla="*/ 0 w 7"/>
                  <a:gd name="T5" fmla="*/ 0 h 8"/>
                </a:gdLst>
                <a:cxnLst>
                  <a:cxn ang="0">
                    <a:pos x="T0" y="T1"/>
                  </a:cxn>
                  <a:cxn ang="0">
                    <a:pos x="T2" y="T3"/>
                  </a:cxn>
                  <a:cxn ang="0">
                    <a:pos x="T4" y="T5"/>
                  </a:cxn>
                </a:cxnLst>
                <a:rect l="0" t="0" r="r" b="b"/>
                <a:pathLst>
                  <a:path w="7" h="8">
                    <a:moveTo>
                      <a:pt x="0" y="0"/>
                    </a:moveTo>
                    <a:cubicBezTo>
                      <a:pt x="2" y="3"/>
                      <a:pt x="4" y="6"/>
                      <a:pt x="7" y="8"/>
                    </a:cubicBezTo>
                    <a:cubicBezTo>
                      <a:pt x="7" y="5"/>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Freeform 1300"/>
              <p:cNvSpPr/>
              <p:nvPr/>
            </p:nvSpPr>
            <p:spPr bwMode="auto">
              <a:xfrm>
                <a:off x="219" y="634"/>
                <a:ext cx="9" cy="5"/>
              </a:xfrm>
              <a:custGeom>
                <a:gdLst>
                  <a:gd name="T0" fmla="*/ 0 w 4"/>
                  <a:gd name="T1" fmla="*/ 0 h 2"/>
                  <a:gd name="T2" fmla="*/ 4 w 4"/>
                  <a:gd name="T3" fmla="*/ 2 h 2"/>
                  <a:gd name="T4" fmla="*/ 4 w 4"/>
                  <a:gd name="T5" fmla="*/ 2 h 2"/>
                  <a:gd name="T6" fmla="*/ 0 w 4"/>
                  <a:gd name="T7" fmla="*/ 0 h 2"/>
                </a:gdLst>
                <a:cxnLst>
                  <a:cxn ang="0">
                    <a:pos x="T0" y="T1"/>
                  </a:cxn>
                  <a:cxn ang="0">
                    <a:pos x="T2" y="T3"/>
                  </a:cxn>
                  <a:cxn ang="0">
                    <a:pos x="T4" y="T5"/>
                  </a:cxn>
                  <a:cxn ang="0">
                    <a:pos x="T6" y="T7"/>
                  </a:cxn>
                </a:cxnLst>
                <a:rect l="0" t="0" r="r" b="b"/>
                <a:pathLst>
                  <a:path w="4" h="2">
                    <a:moveTo>
                      <a:pt x="0" y="0"/>
                    </a:moveTo>
                    <a:cubicBezTo>
                      <a:pt x="1" y="1"/>
                      <a:pt x="2" y="2"/>
                      <a:pt x="4" y="2"/>
                    </a:cubicBezTo>
                    <a:cubicBezTo>
                      <a:pt x="4" y="2"/>
                      <a:pt x="4" y="2"/>
                      <a:pt x="4" y="2"/>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1301"/>
              <p:cNvSpPr/>
              <p:nvPr/>
            </p:nvSpPr>
            <p:spPr bwMode="auto">
              <a:xfrm>
                <a:off x="637" y="894"/>
                <a:ext cx="31" cy="28"/>
              </a:xfrm>
              <a:custGeom>
                <a:gdLst>
                  <a:gd name="T0" fmla="*/ 8 w 13"/>
                  <a:gd name="T1" fmla="*/ 0 h 12"/>
                  <a:gd name="T2" fmla="*/ 8 w 13"/>
                  <a:gd name="T3" fmla="*/ 0 h 12"/>
                  <a:gd name="T4" fmla="*/ 5 w 13"/>
                  <a:gd name="T5" fmla="*/ 2 h 12"/>
                  <a:gd name="T6" fmla="*/ 4 w 13"/>
                  <a:gd name="T7" fmla="*/ 2 h 12"/>
                  <a:gd name="T8" fmla="*/ 4 w 13"/>
                  <a:gd name="T9" fmla="*/ 2 h 12"/>
                  <a:gd name="T10" fmla="*/ 3 w 13"/>
                  <a:gd name="T11" fmla="*/ 2 h 12"/>
                  <a:gd name="T12" fmla="*/ 2 w 13"/>
                  <a:gd name="T13" fmla="*/ 2 h 12"/>
                  <a:gd name="T14" fmla="*/ 3 w 13"/>
                  <a:gd name="T15" fmla="*/ 11 h 12"/>
                  <a:gd name="T16" fmla="*/ 6 w 13"/>
                  <a:gd name="T17" fmla="*/ 12 h 12"/>
                  <a:gd name="T18" fmla="*/ 13 w 13"/>
                  <a:gd name="T19" fmla="*/ 5 h 12"/>
                  <a:gd name="T20" fmla="*/ 8 w 13"/>
                  <a:gd name="T21"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2">
                    <a:moveTo>
                      <a:pt x="8" y="0"/>
                    </a:moveTo>
                    <a:cubicBezTo>
                      <a:pt x="8" y="0"/>
                      <a:pt x="8" y="0"/>
                      <a:pt x="8" y="0"/>
                    </a:cubicBezTo>
                    <a:cubicBezTo>
                      <a:pt x="5" y="2"/>
                      <a:pt x="5" y="2"/>
                      <a:pt x="5" y="2"/>
                    </a:cubicBezTo>
                    <a:cubicBezTo>
                      <a:pt x="5" y="2"/>
                      <a:pt x="4" y="2"/>
                      <a:pt x="4" y="2"/>
                    </a:cubicBezTo>
                    <a:cubicBezTo>
                      <a:pt x="4" y="2"/>
                      <a:pt x="4" y="2"/>
                      <a:pt x="4" y="2"/>
                    </a:cubicBezTo>
                    <a:cubicBezTo>
                      <a:pt x="4" y="2"/>
                      <a:pt x="3" y="2"/>
                      <a:pt x="3" y="2"/>
                    </a:cubicBezTo>
                    <a:cubicBezTo>
                      <a:pt x="3" y="2"/>
                      <a:pt x="3" y="2"/>
                      <a:pt x="2" y="2"/>
                    </a:cubicBezTo>
                    <a:cubicBezTo>
                      <a:pt x="0" y="4"/>
                      <a:pt x="2" y="9"/>
                      <a:pt x="3" y="11"/>
                    </a:cubicBezTo>
                    <a:cubicBezTo>
                      <a:pt x="4" y="11"/>
                      <a:pt x="5" y="12"/>
                      <a:pt x="6" y="12"/>
                    </a:cubicBezTo>
                    <a:cubicBezTo>
                      <a:pt x="9" y="12"/>
                      <a:pt x="11" y="7"/>
                      <a:pt x="13" y="5"/>
                    </a:cubicBezTo>
                    <a:cubicBezTo>
                      <a:pt x="12"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Freeform 1302"/>
              <p:cNvSpPr/>
              <p:nvPr/>
            </p:nvSpPr>
            <p:spPr bwMode="auto">
              <a:xfrm>
                <a:off x="2287" y="851"/>
                <a:ext cx="4"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0" y="0"/>
                      <a:pt x="0" y="1"/>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Freeform 1303"/>
              <p:cNvSpPr/>
              <p:nvPr/>
            </p:nvSpPr>
            <p:spPr bwMode="auto">
              <a:xfrm>
                <a:off x="1162" y="865"/>
                <a:ext cx="7" cy="3"/>
              </a:xfrm>
              <a:custGeom>
                <a:gdLst>
                  <a:gd name="T0" fmla="*/ 0 w 3"/>
                  <a:gd name="T1" fmla="*/ 0 h 1"/>
                  <a:gd name="T2" fmla="*/ 2 w 3"/>
                  <a:gd name="T3" fmla="*/ 1 h 1"/>
                  <a:gd name="T4" fmla="*/ 3 w 3"/>
                  <a:gd name="T5" fmla="*/ 1 h 1"/>
                  <a:gd name="T6" fmla="*/ 0 w 3"/>
                  <a:gd name="T7" fmla="*/ 0 h 1"/>
                </a:gdLst>
                <a:cxnLst>
                  <a:cxn ang="0">
                    <a:pos x="T0" y="T1"/>
                  </a:cxn>
                  <a:cxn ang="0">
                    <a:pos x="T2" y="T3"/>
                  </a:cxn>
                  <a:cxn ang="0">
                    <a:pos x="T4" y="T5"/>
                  </a:cxn>
                  <a:cxn ang="0">
                    <a:pos x="T6" y="T7"/>
                  </a:cxn>
                </a:cxnLst>
                <a:rect l="0" t="0" r="r" b="b"/>
                <a:pathLst>
                  <a:path w="3" h="1">
                    <a:moveTo>
                      <a:pt x="0" y="0"/>
                    </a:moveTo>
                    <a:cubicBezTo>
                      <a:pt x="0" y="1"/>
                      <a:pt x="1" y="1"/>
                      <a:pt x="2" y="1"/>
                    </a:cubicBezTo>
                    <a:cubicBezTo>
                      <a:pt x="3"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3" name="Freeform 1304"/>
              <p:cNvSpPr/>
              <p:nvPr/>
            </p:nvSpPr>
            <p:spPr bwMode="auto">
              <a:xfrm>
                <a:off x="682" y="929"/>
                <a:ext cx="38" cy="24"/>
              </a:xfrm>
              <a:custGeom>
                <a:gdLst>
                  <a:gd name="T0" fmla="*/ 1 w 16"/>
                  <a:gd name="T1" fmla="*/ 0 h 10"/>
                  <a:gd name="T2" fmla="*/ 0 w 16"/>
                  <a:gd name="T3" fmla="*/ 0 h 10"/>
                  <a:gd name="T4" fmla="*/ 7 w 16"/>
                  <a:gd name="T5" fmla="*/ 6 h 10"/>
                  <a:gd name="T6" fmla="*/ 14 w 16"/>
                  <a:gd name="T7" fmla="*/ 10 h 10"/>
                  <a:gd name="T8" fmla="*/ 7 w 16"/>
                  <a:gd name="T9" fmla="*/ 1 h 10"/>
                  <a:gd name="T10" fmla="*/ 1 w 16"/>
                  <a:gd name="T11" fmla="*/ 0 h 10"/>
                </a:gdLst>
                <a:cxnLst>
                  <a:cxn ang="0">
                    <a:pos x="T0" y="T1"/>
                  </a:cxn>
                  <a:cxn ang="0">
                    <a:pos x="T2" y="T3"/>
                  </a:cxn>
                  <a:cxn ang="0">
                    <a:pos x="T4" y="T5"/>
                  </a:cxn>
                  <a:cxn ang="0">
                    <a:pos x="T6" y="T7"/>
                  </a:cxn>
                  <a:cxn ang="0">
                    <a:pos x="T8" y="T9"/>
                  </a:cxn>
                  <a:cxn ang="0">
                    <a:pos x="T10" y="T11"/>
                  </a:cxn>
                </a:cxnLst>
                <a:rect l="0" t="0" r="r" b="b"/>
                <a:pathLst>
                  <a:path w="16" h="10">
                    <a:moveTo>
                      <a:pt x="1" y="0"/>
                    </a:moveTo>
                    <a:cubicBezTo>
                      <a:pt x="1" y="0"/>
                      <a:pt x="0" y="0"/>
                      <a:pt x="0" y="0"/>
                    </a:cubicBezTo>
                    <a:cubicBezTo>
                      <a:pt x="2" y="3"/>
                      <a:pt x="3" y="4"/>
                      <a:pt x="7" y="6"/>
                    </a:cubicBezTo>
                    <a:cubicBezTo>
                      <a:pt x="10" y="6"/>
                      <a:pt x="12" y="8"/>
                      <a:pt x="14" y="10"/>
                    </a:cubicBezTo>
                    <a:cubicBezTo>
                      <a:pt x="16" y="2"/>
                      <a:pt x="12" y="2"/>
                      <a:pt x="7" y="1"/>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305"/>
              <p:cNvSpPr/>
              <p:nvPr/>
            </p:nvSpPr>
            <p:spPr bwMode="auto">
              <a:xfrm>
                <a:off x="2492" y="1281"/>
                <a:ext cx="12" cy="8"/>
              </a:xfrm>
              <a:custGeom>
                <a:gdLst>
                  <a:gd name="T0" fmla="*/ 2 w 5"/>
                  <a:gd name="T1" fmla="*/ 0 h 3"/>
                  <a:gd name="T2" fmla="*/ 0 w 5"/>
                  <a:gd name="T3" fmla="*/ 3 h 3"/>
                  <a:gd name="T4" fmla="*/ 1 w 5"/>
                  <a:gd name="T5" fmla="*/ 3 h 3"/>
                  <a:gd name="T6" fmla="*/ 5 w 5"/>
                  <a:gd name="T7" fmla="*/ 2 h 3"/>
                  <a:gd name="T8" fmla="*/ 2 w 5"/>
                  <a:gd name="T9" fmla="*/ 0 h 3"/>
                </a:gdLst>
                <a:cxnLst>
                  <a:cxn ang="0">
                    <a:pos x="T0" y="T1"/>
                  </a:cxn>
                  <a:cxn ang="0">
                    <a:pos x="T2" y="T3"/>
                  </a:cxn>
                  <a:cxn ang="0">
                    <a:pos x="T4" y="T5"/>
                  </a:cxn>
                  <a:cxn ang="0">
                    <a:pos x="T6" y="T7"/>
                  </a:cxn>
                  <a:cxn ang="0">
                    <a:pos x="T8" y="T9"/>
                  </a:cxn>
                </a:cxnLst>
                <a:rect l="0" t="0" r="r" b="b"/>
                <a:pathLst>
                  <a:path w="5" h="3">
                    <a:moveTo>
                      <a:pt x="2" y="0"/>
                    </a:moveTo>
                    <a:cubicBezTo>
                      <a:pt x="1" y="1"/>
                      <a:pt x="1" y="2"/>
                      <a:pt x="0" y="3"/>
                    </a:cubicBezTo>
                    <a:cubicBezTo>
                      <a:pt x="0" y="3"/>
                      <a:pt x="1" y="3"/>
                      <a:pt x="1" y="3"/>
                    </a:cubicBezTo>
                    <a:cubicBezTo>
                      <a:pt x="2" y="3"/>
                      <a:pt x="4" y="3"/>
                      <a:pt x="5" y="2"/>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Freeform 1306"/>
              <p:cNvSpPr/>
              <p:nvPr/>
            </p:nvSpPr>
            <p:spPr bwMode="auto">
              <a:xfrm>
                <a:off x="2929" y="1104"/>
                <a:ext cx="17" cy="12"/>
              </a:xfrm>
              <a:custGeom>
                <a:gdLst>
                  <a:gd name="T0" fmla="*/ 4 w 7"/>
                  <a:gd name="T1" fmla="*/ 0 h 5"/>
                  <a:gd name="T2" fmla="*/ 5 w 7"/>
                  <a:gd name="T3" fmla="*/ 5 h 5"/>
                  <a:gd name="T4" fmla="*/ 4 w 7"/>
                  <a:gd name="T5" fmla="*/ 0 h 5"/>
                </a:gdLst>
                <a:cxnLst>
                  <a:cxn ang="0">
                    <a:pos x="T0" y="T1"/>
                  </a:cxn>
                  <a:cxn ang="0">
                    <a:pos x="T2" y="T3"/>
                  </a:cxn>
                  <a:cxn ang="0">
                    <a:pos x="T4" y="T5"/>
                  </a:cxn>
                </a:cxnLst>
                <a:rect l="0" t="0" r="r" b="b"/>
                <a:pathLst>
                  <a:path w="7" h="5">
                    <a:moveTo>
                      <a:pt x="4" y="0"/>
                    </a:moveTo>
                    <a:cubicBezTo>
                      <a:pt x="0" y="2"/>
                      <a:pt x="3" y="5"/>
                      <a:pt x="5" y="5"/>
                    </a:cubicBezTo>
                    <a:cubicBezTo>
                      <a:pt x="6" y="5"/>
                      <a:pt x="7"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1307"/>
              <p:cNvSpPr/>
              <p:nvPr/>
            </p:nvSpPr>
            <p:spPr bwMode="auto">
              <a:xfrm>
                <a:off x="2915" y="1199"/>
                <a:ext cx="2" cy="9"/>
              </a:xfrm>
              <a:custGeom>
                <a:gdLst>
                  <a:gd name="T0" fmla="*/ 1 w 1"/>
                  <a:gd name="T1" fmla="*/ 0 h 4"/>
                  <a:gd name="T2" fmla="*/ 0 w 1"/>
                  <a:gd name="T3" fmla="*/ 4 h 4"/>
                  <a:gd name="T4" fmla="*/ 1 w 1"/>
                  <a:gd name="T5" fmla="*/ 0 h 4"/>
                </a:gdLst>
                <a:cxnLst>
                  <a:cxn ang="0">
                    <a:pos x="T0" y="T1"/>
                  </a:cxn>
                  <a:cxn ang="0">
                    <a:pos x="T2" y="T3"/>
                  </a:cxn>
                  <a:cxn ang="0">
                    <a:pos x="T4" y="T5"/>
                  </a:cxn>
                </a:cxnLst>
                <a:rect l="0" t="0" r="r" b="b"/>
                <a:pathLst>
                  <a:path w="1" h="4">
                    <a:moveTo>
                      <a:pt x="1" y="0"/>
                    </a:moveTo>
                    <a:cubicBezTo>
                      <a:pt x="0" y="1"/>
                      <a:pt x="0" y="3"/>
                      <a:pt x="0" y="4"/>
                    </a:cubicBezTo>
                    <a:cubicBezTo>
                      <a:pt x="0"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Freeform 1308"/>
              <p:cNvSpPr/>
              <p:nvPr/>
            </p:nvSpPr>
            <p:spPr bwMode="auto">
              <a:xfrm>
                <a:off x="812" y="960"/>
                <a:ext cx="19" cy="12"/>
              </a:xfrm>
              <a:custGeom>
                <a:gdLst>
                  <a:gd name="T0" fmla="*/ 3 w 8"/>
                  <a:gd name="T1" fmla="*/ 0 h 5"/>
                  <a:gd name="T2" fmla="*/ 1 w 8"/>
                  <a:gd name="T3" fmla="*/ 2 h 5"/>
                  <a:gd name="T4" fmla="*/ 0 w 8"/>
                  <a:gd name="T5" fmla="*/ 2 h 5"/>
                  <a:gd name="T6" fmla="*/ 4 w 8"/>
                  <a:gd name="T7" fmla="*/ 5 h 5"/>
                  <a:gd name="T8" fmla="*/ 8 w 8"/>
                  <a:gd name="T9" fmla="*/ 1 h 5"/>
                  <a:gd name="T10" fmla="*/ 3 w 8"/>
                  <a:gd name="T11" fmla="*/ 0 h 5"/>
                </a:gdLst>
                <a:cxnLst>
                  <a:cxn ang="0">
                    <a:pos x="T0" y="T1"/>
                  </a:cxn>
                  <a:cxn ang="0">
                    <a:pos x="T2" y="T3"/>
                  </a:cxn>
                  <a:cxn ang="0">
                    <a:pos x="T4" y="T5"/>
                  </a:cxn>
                  <a:cxn ang="0">
                    <a:pos x="T6" y="T7"/>
                  </a:cxn>
                  <a:cxn ang="0">
                    <a:pos x="T8" y="T9"/>
                  </a:cxn>
                  <a:cxn ang="0">
                    <a:pos x="T10" y="T11"/>
                  </a:cxn>
                </a:cxnLst>
                <a:rect l="0" t="0" r="r" b="b"/>
                <a:pathLst>
                  <a:path w="8" h="5">
                    <a:moveTo>
                      <a:pt x="3" y="0"/>
                    </a:moveTo>
                    <a:cubicBezTo>
                      <a:pt x="2" y="0"/>
                      <a:pt x="1" y="0"/>
                      <a:pt x="1" y="2"/>
                    </a:cubicBezTo>
                    <a:cubicBezTo>
                      <a:pt x="1" y="2"/>
                      <a:pt x="1" y="2"/>
                      <a:pt x="0" y="2"/>
                    </a:cubicBezTo>
                    <a:cubicBezTo>
                      <a:pt x="2" y="4"/>
                      <a:pt x="3" y="5"/>
                      <a:pt x="4" y="5"/>
                    </a:cubicBezTo>
                    <a:cubicBezTo>
                      <a:pt x="5" y="5"/>
                      <a:pt x="6" y="3"/>
                      <a:pt x="8" y="1"/>
                    </a:cubicBezTo>
                    <a:cubicBezTo>
                      <a:pt x="6" y="0"/>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309"/>
              <p:cNvSpPr/>
              <p:nvPr/>
            </p:nvSpPr>
            <p:spPr bwMode="auto">
              <a:xfrm>
                <a:off x="836" y="955"/>
                <a:ext cx="28" cy="26"/>
              </a:xfrm>
              <a:custGeom>
                <a:gdLst>
                  <a:gd name="T0" fmla="*/ 9 w 12"/>
                  <a:gd name="T1" fmla="*/ 0 h 11"/>
                  <a:gd name="T2" fmla="*/ 0 w 12"/>
                  <a:gd name="T3" fmla="*/ 4 h 11"/>
                  <a:gd name="T4" fmla="*/ 4 w 12"/>
                  <a:gd name="T5" fmla="*/ 6 h 11"/>
                  <a:gd name="T6" fmla="*/ 9 w 12"/>
                  <a:gd name="T7" fmla="*/ 11 h 11"/>
                  <a:gd name="T8" fmla="*/ 11 w 12"/>
                  <a:gd name="T9" fmla="*/ 10 h 11"/>
                  <a:gd name="T10" fmla="*/ 12 w 12"/>
                  <a:gd name="T11" fmla="*/ 8 h 11"/>
                  <a:gd name="T12" fmla="*/ 12 w 12"/>
                  <a:gd name="T13" fmla="*/ 4 h 11"/>
                  <a:gd name="T14" fmla="*/ 12 w 12"/>
                  <a:gd name="T15" fmla="*/ 4 h 11"/>
                  <a:gd name="T16" fmla="*/ 11 w 12"/>
                  <a:gd name="T17" fmla="*/ 2 h 11"/>
                  <a:gd name="T18" fmla="*/ 10 w 12"/>
                  <a:gd name="T19" fmla="*/ 0 h 11"/>
                  <a:gd name="T20" fmla="*/ 10 w 12"/>
                  <a:gd name="T21" fmla="*/ 0 h 11"/>
                  <a:gd name="T22" fmla="*/ 9 w 12"/>
                  <a:gd name="T2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1">
                    <a:moveTo>
                      <a:pt x="9" y="0"/>
                    </a:moveTo>
                    <a:cubicBezTo>
                      <a:pt x="6" y="0"/>
                      <a:pt x="3" y="2"/>
                      <a:pt x="0" y="4"/>
                    </a:cubicBezTo>
                    <a:cubicBezTo>
                      <a:pt x="1" y="5"/>
                      <a:pt x="3" y="5"/>
                      <a:pt x="4" y="6"/>
                    </a:cubicBezTo>
                    <a:cubicBezTo>
                      <a:pt x="7" y="7"/>
                      <a:pt x="7" y="11"/>
                      <a:pt x="9" y="11"/>
                    </a:cubicBezTo>
                    <a:cubicBezTo>
                      <a:pt x="9" y="11"/>
                      <a:pt x="10" y="11"/>
                      <a:pt x="11" y="10"/>
                    </a:cubicBezTo>
                    <a:cubicBezTo>
                      <a:pt x="12" y="9"/>
                      <a:pt x="12" y="9"/>
                      <a:pt x="12" y="8"/>
                    </a:cubicBezTo>
                    <a:cubicBezTo>
                      <a:pt x="12" y="7"/>
                      <a:pt x="12" y="5"/>
                      <a:pt x="12" y="4"/>
                    </a:cubicBezTo>
                    <a:cubicBezTo>
                      <a:pt x="12" y="4"/>
                      <a:pt x="12" y="4"/>
                      <a:pt x="12" y="4"/>
                    </a:cubicBezTo>
                    <a:cubicBezTo>
                      <a:pt x="12" y="4"/>
                      <a:pt x="11" y="3"/>
                      <a:pt x="11" y="2"/>
                    </a:cubicBezTo>
                    <a:cubicBezTo>
                      <a:pt x="10" y="1"/>
                      <a:pt x="9" y="0"/>
                      <a:pt x="10" y="0"/>
                    </a:cubicBezTo>
                    <a:cubicBezTo>
                      <a:pt x="10" y="0"/>
                      <a:pt x="10" y="0"/>
                      <a:pt x="10" y="0"/>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Freeform 1310"/>
              <p:cNvSpPr/>
              <p:nvPr/>
            </p:nvSpPr>
            <p:spPr bwMode="auto">
              <a:xfrm>
                <a:off x="429" y="1040"/>
                <a:ext cx="17" cy="26"/>
              </a:xfrm>
              <a:custGeom>
                <a:gdLst>
                  <a:gd name="T0" fmla="*/ 0 w 7"/>
                  <a:gd name="T1" fmla="*/ 0 h 11"/>
                  <a:gd name="T2" fmla="*/ 7 w 7"/>
                  <a:gd name="T3" fmla="*/ 11 h 11"/>
                  <a:gd name="T4" fmla="*/ 0 w 7"/>
                  <a:gd name="T5" fmla="*/ 0 h 11"/>
                </a:gdLst>
                <a:cxnLst>
                  <a:cxn ang="0">
                    <a:pos x="T0" y="T1"/>
                  </a:cxn>
                  <a:cxn ang="0">
                    <a:pos x="T2" y="T3"/>
                  </a:cxn>
                  <a:cxn ang="0">
                    <a:pos x="T4" y="T5"/>
                  </a:cxn>
                </a:cxnLst>
                <a:rect l="0" t="0" r="r" b="b"/>
                <a:pathLst>
                  <a:path w="7" h="11">
                    <a:moveTo>
                      <a:pt x="0" y="0"/>
                    </a:moveTo>
                    <a:cubicBezTo>
                      <a:pt x="2" y="4"/>
                      <a:pt x="4" y="7"/>
                      <a:pt x="7" y="11"/>
                    </a:cubicBezTo>
                    <a:cubicBezTo>
                      <a:pt x="6" y="9"/>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Freeform 1311"/>
              <p:cNvSpPr/>
              <p:nvPr/>
            </p:nvSpPr>
            <p:spPr bwMode="auto">
              <a:xfrm>
                <a:off x="2291" y="785"/>
                <a:ext cx="17" cy="24"/>
              </a:xfrm>
              <a:custGeom>
                <a:gdLst>
                  <a:gd name="T0" fmla="*/ 0 w 7"/>
                  <a:gd name="T1" fmla="*/ 0 h 10"/>
                  <a:gd name="T2" fmla="*/ 0 w 7"/>
                  <a:gd name="T3" fmla="*/ 0 h 10"/>
                  <a:gd name="T4" fmla="*/ 6 w 7"/>
                  <a:gd name="T5" fmla="*/ 10 h 10"/>
                  <a:gd name="T6" fmla="*/ 4 w 7"/>
                  <a:gd name="T7" fmla="*/ 4 h 10"/>
                  <a:gd name="T8" fmla="*/ 0 w 7"/>
                  <a:gd name="T9" fmla="*/ 0 h 10"/>
                </a:gdLst>
                <a:cxnLst>
                  <a:cxn ang="0">
                    <a:pos x="T0" y="T1"/>
                  </a:cxn>
                  <a:cxn ang="0">
                    <a:pos x="T2" y="T3"/>
                  </a:cxn>
                  <a:cxn ang="0">
                    <a:pos x="T4" y="T5"/>
                  </a:cxn>
                  <a:cxn ang="0">
                    <a:pos x="T6" y="T7"/>
                  </a:cxn>
                  <a:cxn ang="0">
                    <a:pos x="T8" y="T9"/>
                  </a:cxn>
                </a:cxnLst>
                <a:rect l="0" t="0" r="r" b="b"/>
                <a:pathLst>
                  <a:path w="7" h="10">
                    <a:moveTo>
                      <a:pt x="0" y="0"/>
                    </a:moveTo>
                    <a:cubicBezTo>
                      <a:pt x="0" y="0"/>
                      <a:pt x="0" y="0"/>
                      <a:pt x="0" y="0"/>
                    </a:cubicBezTo>
                    <a:cubicBezTo>
                      <a:pt x="1" y="4"/>
                      <a:pt x="4" y="7"/>
                      <a:pt x="6" y="10"/>
                    </a:cubicBezTo>
                    <a:cubicBezTo>
                      <a:pt x="7" y="7"/>
                      <a:pt x="7" y="6"/>
                      <a:pt x="4" y="4"/>
                    </a:cubicBezTo>
                    <a:cubicBezTo>
                      <a:pt x="5"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1312"/>
              <p:cNvSpPr/>
              <p:nvPr/>
            </p:nvSpPr>
            <p:spPr bwMode="auto">
              <a:xfrm>
                <a:off x="2031" y="1071"/>
                <a:ext cx="17" cy="5"/>
              </a:xfrm>
              <a:custGeom>
                <a:gdLst>
                  <a:gd name="T0" fmla="*/ 1 w 7"/>
                  <a:gd name="T1" fmla="*/ 0 h 2"/>
                  <a:gd name="T2" fmla="*/ 0 w 7"/>
                  <a:gd name="T3" fmla="*/ 2 h 2"/>
                  <a:gd name="T4" fmla="*/ 7 w 7"/>
                  <a:gd name="T5" fmla="*/ 1 h 2"/>
                  <a:gd name="T6" fmla="*/ 1 w 7"/>
                  <a:gd name="T7" fmla="*/ 0 h 2"/>
                </a:gdLst>
                <a:cxnLst>
                  <a:cxn ang="0">
                    <a:pos x="T0" y="T1"/>
                  </a:cxn>
                  <a:cxn ang="0">
                    <a:pos x="T2" y="T3"/>
                  </a:cxn>
                  <a:cxn ang="0">
                    <a:pos x="T4" y="T5"/>
                  </a:cxn>
                  <a:cxn ang="0">
                    <a:pos x="T6" y="T7"/>
                  </a:cxn>
                </a:cxnLst>
                <a:rect l="0" t="0" r="r" b="b"/>
                <a:pathLst>
                  <a:path w="7" h="2">
                    <a:moveTo>
                      <a:pt x="1" y="0"/>
                    </a:moveTo>
                    <a:cubicBezTo>
                      <a:pt x="0" y="1"/>
                      <a:pt x="0" y="1"/>
                      <a:pt x="0" y="2"/>
                    </a:cubicBezTo>
                    <a:cubicBezTo>
                      <a:pt x="2" y="2"/>
                      <a:pt x="5" y="2"/>
                      <a:pt x="7" y="1"/>
                    </a:cubicBezTo>
                    <a:cubicBezTo>
                      <a:pt x="5"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313"/>
              <p:cNvSpPr/>
              <p:nvPr/>
            </p:nvSpPr>
            <p:spPr bwMode="auto">
              <a:xfrm>
                <a:off x="1147" y="835"/>
                <a:ext cx="10" cy="7"/>
              </a:xfrm>
              <a:custGeom>
                <a:gdLst>
                  <a:gd name="T0" fmla="*/ 3 w 4"/>
                  <a:gd name="T1" fmla="*/ 0 h 3"/>
                  <a:gd name="T2" fmla="*/ 0 w 4"/>
                  <a:gd name="T3" fmla="*/ 2 h 3"/>
                  <a:gd name="T4" fmla="*/ 2 w 4"/>
                  <a:gd name="T5" fmla="*/ 3 h 3"/>
                  <a:gd name="T6" fmla="*/ 3 w 4"/>
                  <a:gd name="T7" fmla="*/ 0 h 3"/>
                </a:gdLst>
                <a:cxnLst>
                  <a:cxn ang="0">
                    <a:pos x="T0" y="T1"/>
                  </a:cxn>
                  <a:cxn ang="0">
                    <a:pos x="T2" y="T3"/>
                  </a:cxn>
                  <a:cxn ang="0">
                    <a:pos x="T4" y="T5"/>
                  </a:cxn>
                  <a:cxn ang="0">
                    <a:pos x="T6" y="T7"/>
                  </a:cxn>
                </a:cxnLst>
                <a:rect l="0" t="0" r="r" b="b"/>
                <a:pathLst>
                  <a:path w="4" h="3">
                    <a:moveTo>
                      <a:pt x="3" y="0"/>
                    </a:moveTo>
                    <a:cubicBezTo>
                      <a:pt x="2" y="1"/>
                      <a:pt x="1" y="1"/>
                      <a:pt x="0" y="2"/>
                    </a:cubicBezTo>
                    <a:cubicBezTo>
                      <a:pt x="1" y="3"/>
                      <a:pt x="1" y="3"/>
                      <a:pt x="2" y="3"/>
                    </a:cubicBezTo>
                    <a:cubicBezTo>
                      <a:pt x="3"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314"/>
              <p:cNvSpPr>
                <a:spLocks noEditPoints="1"/>
              </p:cNvSpPr>
              <p:nvPr/>
            </p:nvSpPr>
            <p:spPr bwMode="auto">
              <a:xfrm>
                <a:off x="1819" y="882"/>
                <a:ext cx="4" cy="7"/>
              </a:xfrm>
              <a:custGeom>
                <a:gdLst>
                  <a:gd name="T0" fmla="*/ 2 w 2"/>
                  <a:gd name="T1" fmla="*/ 3 h 3"/>
                  <a:gd name="T2" fmla="*/ 2 w 2"/>
                  <a:gd name="T3" fmla="*/ 3 h 3"/>
                  <a:gd name="T4" fmla="*/ 2 w 2"/>
                  <a:gd name="T5" fmla="*/ 3 h 3"/>
                  <a:gd name="T6" fmla="*/ 0 w 2"/>
                  <a:gd name="T7" fmla="*/ 0 h 3"/>
                  <a:gd name="T8" fmla="*/ 2 w 2"/>
                  <a:gd name="T9" fmla="*/ 3 h 3"/>
                  <a:gd name="T10" fmla="*/ 0 w 2"/>
                  <a:gd name="T11" fmla="*/ 0 h 3"/>
                </a:gdLst>
                <a:cxnLst>
                  <a:cxn ang="0">
                    <a:pos x="T0" y="T1"/>
                  </a:cxn>
                  <a:cxn ang="0">
                    <a:pos x="T2" y="T3"/>
                  </a:cxn>
                  <a:cxn ang="0">
                    <a:pos x="T4" y="T5"/>
                  </a:cxn>
                  <a:cxn ang="0">
                    <a:pos x="T6" y="T7"/>
                  </a:cxn>
                  <a:cxn ang="0">
                    <a:pos x="T8" y="T9"/>
                  </a:cxn>
                  <a:cxn ang="0">
                    <a:pos x="T10" y="T11"/>
                  </a:cxn>
                </a:cxnLst>
                <a:rect l="0" t="0" r="r" b="b"/>
                <a:pathLst>
                  <a:path w="2" h="3">
                    <a:moveTo>
                      <a:pt x="2" y="3"/>
                    </a:moveTo>
                    <a:cubicBezTo>
                      <a:pt x="2" y="3"/>
                      <a:pt x="2" y="3"/>
                      <a:pt x="2" y="3"/>
                    </a:cubicBezTo>
                    <a:cubicBezTo>
                      <a:pt x="2" y="3"/>
                      <a:pt x="2" y="3"/>
                      <a:pt x="2" y="3"/>
                    </a:cubicBezTo>
                    <a:moveTo>
                      <a:pt x="0" y="0"/>
                    </a:moveTo>
                    <a:cubicBezTo>
                      <a:pt x="1" y="1"/>
                      <a:pt x="2" y="2"/>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315"/>
              <p:cNvSpPr/>
              <p:nvPr/>
            </p:nvSpPr>
            <p:spPr bwMode="auto">
              <a:xfrm>
                <a:off x="1190" y="1107"/>
                <a:ext cx="26" cy="18"/>
              </a:xfrm>
              <a:custGeom>
                <a:gdLst>
                  <a:gd name="T0" fmla="*/ 4 w 11"/>
                  <a:gd name="T1" fmla="*/ 0 h 8"/>
                  <a:gd name="T2" fmla="*/ 3 w 11"/>
                  <a:gd name="T3" fmla="*/ 0 h 8"/>
                  <a:gd name="T4" fmla="*/ 2 w 11"/>
                  <a:gd name="T5" fmla="*/ 0 h 8"/>
                  <a:gd name="T6" fmla="*/ 2 w 11"/>
                  <a:gd name="T7" fmla="*/ 0 h 8"/>
                  <a:gd name="T8" fmla="*/ 2 w 11"/>
                  <a:gd name="T9" fmla="*/ 0 h 8"/>
                  <a:gd name="T10" fmla="*/ 2 w 11"/>
                  <a:gd name="T11" fmla="*/ 0 h 8"/>
                  <a:gd name="T12" fmla="*/ 2 w 11"/>
                  <a:gd name="T13" fmla="*/ 1 h 8"/>
                  <a:gd name="T14" fmla="*/ 0 w 11"/>
                  <a:gd name="T15" fmla="*/ 8 h 8"/>
                  <a:gd name="T16" fmla="*/ 10 w 11"/>
                  <a:gd name="T17" fmla="*/ 5 h 8"/>
                  <a:gd name="T18" fmla="*/ 10 w 11"/>
                  <a:gd name="T19" fmla="*/ 4 h 8"/>
                  <a:gd name="T20" fmla="*/ 11 w 11"/>
                  <a:gd name="T21" fmla="*/ 3 h 8"/>
                  <a:gd name="T22" fmla="*/ 11 w 11"/>
                  <a:gd name="T23" fmla="*/ 3 h 8"/>
                  <a:gd name="T24" fmla="*/ 10 w 11"/>
                  <a:gd name="T25" fmla="*/ 2 h 8"/>
                  <a:gd name="T26" fmla="*/ 7 w 11"/>
                  <a:gd name="T27" fmla="*/ 1 h 8"/>
                  <a:gd name="T28" fmla="*/ 6 w 11"/>
                  <a:gd name="T29" fmla="*/ 0 h 8"/>
                  <a:gd name="T30" fmla="*/ 4 w 11"/>
                  <a:gd name="T31"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8">
                    <a:moveTo>
                      <a:pt x="4" y="0"/>
                    </a:move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1"/>
                      <a:pt x="2" y="1"/>
                      <a:pt x="2" y="1"/>
                    </a:cubicBezTo>
                    <a:cubicBezTo>
                      <a:pt x="1" y="2"/>
                      <a:pt x="1" y="6"/>
                      <a:pt x="0" y="8"/>
                    </a:cubicBezTo>
                    <a:cubicBezTo>
                      <a:pt x="3" y="8"/>
                      <a:pt x="8" y="7"/>
                      <a:pt x="10" y="5"/>
                    </a:cubicBezTo>
                    <a:cubicBezTo>
                      <a:pt x="10" y="4"/>
                      <a:pt x="10" y="4"/>
                      <a:pt x="10" y="4"/>
                    </a:cubicBezTo>
                    <a:cubicBezTo>
                      <a:pt x="10" y="4"/>
                      <a:pt x="11" y="3"/>
                      <a:pt x="11" y="3"/>
                    </a:cubicBezTo>
                    <a:cubicBezTo>
                      <a:pt x="11" y="3"/>
                      <a:pt x="11" y="3"/>
                      <a:pt x="11" y="3"/>
                    </a:cubicBezTo>
                    <a:cubicBezTo>
                      <a:pt x="11" y="2"/>
                      <a:pt x="10" y="2"/>
                      <a:pt x="10" y="2"/>
                    </a:cubicBezTo>
                    <a:cubicBezTo>
                      <a:pt x="10" y="1"/>
                      <a:pt x="8" y="1"/>
                      <a:pt x="7" y="1"/>
                    </a:cubicBezTo>
                    <a:cubicBezTo>
                      <a:pt x="6" y="0"/>
                      <a:pt x="6" y="0"/>
                      <a:pt x="6"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316"/>
              <p:cNvSpPr/>
              <p:nvPr/>
            </p:nvSpPr>
            <p:spPr bwMode="auto">
              <a:xfrm>
                <a:off x="2402" y="1057"/>
                <a:ext cx="12" cy="19"/>
              </a:xfrm>
              <a:custGeom>
                <a:gdLst>
                  <a:gd name="T0" fmla="*/ 4 w 5"/>
                  <a:gd name="T1" fmla="*/ 0 h 8"/>
                  <a:gd name="T2" fmla="*/ 1 w 5"/>
                  <a:gd name="T3" fmla="*/ 5 h 8"/>
                  <a:gd name="T4" fmla="*/ 1 w 5"/>
                  <a:gd name="T5" fmla="*/ 5 h 8"/>
                  <a:gd name="T6" fmla="*/ 1 w 5"/>
                  <a:gd name="T7" fmla="*/ 6 h 8"/>
                  <a:gd name="T8" fmla="*/ 1 w 5"/>
                  <a:gd name="T9" fmla="*/ 7 h 8"/>
                  <a:gd name="T10" fmla="*/ 1 w 5"/>
                  <a:gd name="T11" fmla="*/ 7 h 8"/>
                  <a:gd name="T12" fmla="*/ 3 w 5"/>
                  <a:gd name="T13" fmla="*/ 8 h 8"/>
                  <a:gd name="T14" fmla="*/ 5 w 5"/>
                  <a:gd name="T15" fmla="*/ 0 h 8"/>
                  <a:gd name="T16" fmla="*/ 4 w 5"/>
                  <a:gd name="T17"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4" y="0"/>
                    </a:moveTo>
                    <a:cubicBezTo>
                      <a:pt x="1" y="0"/>
                      <a:pt x="0" y="2"/>
                      <a:pt x="1" y="5"/>
                    </a:cubicBezTo>
                    <a:cubicBezTo>
                      <a:pt x="1" y="5"/>
                      <a:pt x="1" y="5"/>
                      <a:pt x="1" y="5"/>
                    </a:cubicBezTo>
                    <a:cubicBezTo>
                      <a:pt x="1" y="5"/>
                      <a:pt x="1" y="6"/>
                      <a:pt x="1" y="6"/>
                    </a:cubicBezTo>
                    <a:cubicBezTo>
                      <a:pt x="1" y="7"/>
                      <a:pt x="1" y="7"/>
                      <a:pt x="1" y="7"/>
                    </a:cubicBezTo>
                    <a:cubicBezTo>
                      <a:pt x="1" y="7"/>
                      <a:pt x="1" y="7"/>
                      <a:pt x="1" y="7"/>
                    </a:cubicBezTo>
                    <a:cubicBezTo>
                      <a:pt x="2" y="8"/>
                      <a:pt x="2" y="8"/>
                      <a:pt x="3" y="8"/>
                    </a:cubicBezTo>
                    <a:cubicBezTo>
                      <a:pt x="5" y="8"/>
                      <a:pt x="5" y="2"/>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1317"/>
              <p:cNvSpPr/>
              <p:nvPr/>
            </p:nvSpPr>
            <p:spPr bwMode="auto">
              <a:xfrm>
                <a:off x="689" y="1402"/>
                <a:ext cx="21" cy="14"/>
              </a:xfrm>
              <a:custGeom>
                <a:gdLst>
                  <a:gd name="T0" fmla="*/ 2 w 9"/>
                  <a:gd name="T1" fmla="*/ 0 h 6"/>
                  <a:gd name="T2" fmla="*/ 0 w 9"/>
                  <a:gd name="T3" fmla="*/ 1 h 6"/>
                  <a:gd name="T4" fmla="*/ 8 w 9"/>
                  <a:gd name="T5" fmla="*/ 6 h 6"/>
                  <a:gd name="T6" fmla="*/ 2 w 9"/>
                  <a:gd name="T7" fmla="*/ 0 h 6"/>
                </a:gdLst>
                <a:cxnLst>
                  <a:cxn ang="0">
                    <a:pos x="T0" y="T1"/>
                  </a:cxn>
                  <a:cxn ang="0">
                    <a:pos x="T2" y="T3"/>
                  </a:cxn>
                  <a:cxn ang="0">
                    <a:pos x="T4" y="T5"/>
                  </a:cxn>
                  <a:cxn ang="0">
                    <a:pos x="T6" y="T7"/>
                  </a:cxn>
                </a:cxnLst>
                <a:rect l="0" t="0" r="r" b="b"/>
                <a:pathLst>
                  <a:path w="9" h="6">
                    <a:moveTo>
                      <a:pt x="2" y="0"/>
                    </a:moveTo>
                    <a:cubicBezTo>
                      <a:pt x="2" y="0"/>
                      <a:pt x="1" y="1"/>
                      <a:pt x="0" y="1"/>
                    </a:cubicBezTo>
                    <a:cubicBezTo>
                      <a:pt x="3" y="3"/>
                      <a:pt x="5" y="5"/>
                      <a:pt x="8" y="6"/>
                    </a:cubicBezTo>
                    <a:cubicBezTo>
                      <a:pt x="9" y="3"/>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1318"/>
              <p:cNvSpPr/>
              <p:nvPr/>
            </p:nvSpPr>
            <p:spPr bwMode="auto">
              <a:xfrm>
                <a:off x="2955" y="1142"/>
                <a:ext cx="14" cy="2"/>
              </a:xfrm>
              <a:custGeom>
                <a:gdLst>
                  <a:gd name="T0" fmla="*/ 0 w 6"/>
                  <a:gd name="T1" fmla="*/ 0 h 1"/>
                  <a:gd name="T2" fmla="*/ 4 w 6"/>
                  <a:gd name="T3" fmla="*/ 1 h 1"/>
                  <a:gd name="T4" fmla="*/ 6 w 6"/>
                  <a:gd name="T5" fmla="*/ 0 h 1"/>
                  <a:gd name="T6" fmla="*/ 0 w 6"/>
                  <a:gd name="T7" fmla="*/ 0 h 1"/>
                </a:gdLst>
                <a:cxnLst>
                  <a:cxn ang="0">
                    <a:pos x="T0" y="T1"/>
                  </a:cxn>
                  <a:cxn ang="0">
                    <a:pos x="T2" y="T3"/>
                  </a:cxn>
                  <a:cxn ang="0">
                    <a:pos x="T4" y="T5"/>
                  </a:cxn>
                  <a:cxn ang="0">
                    <a:pos x="T6" y="T7"/>
                  </a:cxn>
                </a:cxnLst>
                <a:rect l="0" t="0" r="r" b="b"/>
                <a:pathLst>
                  <a:path w="6" h="1">
                    <a:moveTo>
                      <a:pt x="0" y="0"/>
                    </a:moveTo>
                    <a:cubicBezTo>
                      <a:pt x="1" y="0"/>
                      <a:pt x="2" y="1"/>
                      <a:pt x="4" y="1"/>
                    </a:cubicBezTo>
                    <a:cubicBezTo>
                      <a:pt x="4" y="1"/>
                      <a:pt x="5" y="1"/>
                      <a:pt x="6" y="0"/>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Freeform 1319"/>
              <p:cNvSpPr>
                <a:spLocks noEditPoints="1"/>
              </p:cNvSpPr>
              <p:nvPr/>
            </p:nvSpPr>
            <p:spPr bwMode="auto">
              <a:xfrm>
                <a:off x="2142" y="1738"/>
                <a:ext cx="10" cy="14"/>
              </a:xfrm>
              <a:custGeom>
                <a:gdLst>
                  <a:gd name="T0" fmla="*/ 4 w 4"/>
                  <a:gd name="T1" fmla="*/ 0 h 6"/>
                  <a:gd name="T2" fmla="*/ 1 w 4"/>
                  <a:gd name="T3" fmla="*/ 6 h 6"/>
                  <a:gd name="T4" fmla="*/ 4 w 4"/>
                  <a:gd name="T5" fmla="*/ 0 h 6"/>
                  <a:gd name="T6" fmla="*/ 4 w 4"/>
                  <a:gd name="T7" fmla="*/ 0 h 6"/>
                  <a:gd name="T8" fmla="*/ 4 w 4"/>
                  <a:gd name="T9" fmla="*/ 0 h 6"/>
                  <a:gd name="T10" fmla="*/ 4 w 4"/>
                  <a:gd name="T11" fmla="*/ 0 h 6"/>
                </a:gdLst>
                <a:cxnLst>
                  <a:cxn ang="0">
                    <a:pos x="T0" y="T1"/>
                  </a:cxn>
                  <a:cxn ang="0">
                    <a:pos x="T2" y="T3"/>
                  </a:cxn>
                  <a:cxn ang="0">
                    <a:pos x="T4" y="T5"/>
                  </a:cxn>
                  <a:cxn ang="0">
                    <a:pos x="T6" y="T7"/>
                  </a:cxn>
                  <a:cxn ang="0">
                    <a:pos x="T8" y="T9"/>
                  </a:cxn>
                  <a:cxn ang="0">
                    <a:pos x="T10" y="T11"/>
                  </a:cxn>
                </a:cxnLst>
                <a:rect l="0" t="0" r="r" b="b"/>
                <a:pathLst>
                  <a:path w="4" h="6">
                    <a:moveTo>
                      <a:pt x="4" y="0"/>
                    </a:moveTo>
                    <a:cubicBezTo>
                      <a:pt x="3" y="2"/>
                      <a:pt x="0" y="3"/>
                      <a:pt x="1" y="6"/>
                    </a:cubicBezTo>
                    <a:cubicBezTo>
                      <a:pt x="2" y="4"/>
                      <a:pt x="3" y="2"/>
                      <a:pt x="4" y="0"/>
                    </a:cubicBezTo>
                    <a:moveTo>
                      <a:pt x="4" y="0"/>
                    </a:move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9" name="Freeform 1320"/>
              <p:cNvSpPr/>
              <p:nvPr/>
            </p:nvSpPr>
            <p:spPr bwMode="auto">
              <a:xfrm>
                <a:off x="810" y="969"/>
                <a:ext cx="4" cy="8"/>
              </a:xfrm>
              <a:custGeom>
                <a:gdLst>
                  <a:gd name="T0" fmla="*/ 0 w 2"/>
                  <a:gd name="T1" fmla="*/ 0 h 3"/>
                  <a:gd name="T2" fmla="*/ 0 w 2"/>
                  <a:gd name="T3" fmla="*/ 0 h 3"/>
                  <a:gd name="T4" fmla="*/ 2 w 2"/>
                  <a:gd name="T5" fmla="*/ 3 h 3"/>
                  <a:gd name="T6" fmla="*/ 0 w 2"/>
                  <a:gd name="T7" fmla="*/ 0 h 3"/>
                </a:gdLst>
                <a:cxnLst>
                  <a:cxn ang="0">
                    <a:pos x="T0" y="T1"/>
                  </a:cxn>
                  <a:cxn ang="0">
                    <a:pos x="T2" y="T3"/>
                  </a:cxn>
                  <a:cxn ang="0">
                    <a:pos x="T4" y="T5"/>
                  </a:cxn>
                  <a:cxn ang="0">
                    <a:pos x="T6" y="T7"/>
                  </a:cxn>
                </a:cxnLst>
                <a:rect l="0" t="0" r="r" b="b"/>
                <a:pathLst>
                  <a:path w="2" h="3">
                    <a:moveTo>
                      <a:pt x="0" y="0"/>
                    </a:moveTo>
                    <a:cubicBezTo>
                      <a:pt x="0" y="0"/>
                      <a:pt x="0" y="0"/>
                      <a:pt x="0" y="0"/>
                    </a:cubicBezTo>
                    <a:cubicBezTo>
                      <a:pt x="0" y="1"/>
                      <a:pt x="1" y="2"/>
                      <a:pt x="2" y="3"/>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Freeform 1321"/>
              <p:cNvSpPr/>
              <p:nvPr/>
            </p:nvSpPr>
            <p:spPr bwMode="auto">
              <a:xfrm>
                <a:off x="2887" y="1159"/>
                <a:ext cx="7" cy="14"/>
              </a:xfrm>
              <a:custGeom>
                <a:gdLst>
                  <a:gd name="T0" fmla="*/ 3 w 3"/>
                  <a:gd name="T1" fmla="*/ 0 h 6"/>
                  <a:gd name="T2" fmla="*/ 1 w 3"/>
                  <a:gd name="T3" fmla="*/ 6 h 6"/>
                  <a:gd name="T4" fmla="*/ 3 w 3"/>
                  <a:gd name="T5" fmla="*/ 0 h 6"/>
                </a:gdLst>
                <a:cxnLst>
                  <a:cxn ang="0">
                    <a:pos x="T0" y="T1"/>
                  </a:cxn>
                  <a:cxn ang="0">
                    <a:pos x="T2" y="T3"/>
                  </a:cxn>
                  <a:cxn ang="0">
                    <a:pos x="T4" y="T5"/>
                  </a:cxn>
                </a:cxnLst>
                <a:rect l="0" t="0" r="r" b="b"/>
                <a:pathLst>
                  <a:path w="3" h="6">
                    <a:moveTo>
                      <a:pt x="3" y="0"/>
                    </a:moveTo>
                    <a:cubicBezTo>
                      <a:pt x="1" y="2"/>
                      <a:pt x="0" y="4"/>
                      <a:pt x="1" y="6"/>
                    </a:cubicBezTo>
                    <a:cubicBezTo>
                      <a:pt x="2"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1" name="Freeform 1322"/>
              <p:cNvSpPr/>
              <p:nvPr/>
            </p:nvSpPr>
            <p:spPr bwMode="auto">
              <a:xfrm>
                <a:off x="895" y="1489"/>
                <a:ext cx="11" cy="5"/>
              </a:xfrm>
              <a:custGeom>
                <a:gdLst>
                  <a:gd name="T0" fmla="*/ 5 w 5"/>
                  <a:gd name="T1" fmla="*/ 0 h 2"/>
                  <a:gd name="T2" fmla="*/ 0 w 5"/>
                  <a:gd name="T3" fmla="*/ 2 h 2"/>
                  <a:gd name="T4" fmla="*/ 5 w 5"/>
                  <a:gd name="T5" fmla="*/ 0 h 2"/>
                </a:gdLst>
                <a:cxnLst>
                  <a:cxn ang="0">
                    <a:pos x="T0" y="T1"/>
                  </a:cxn>
                  <a:cxn ang="0">
                    <a:pos x="T2" y="T3"/>
                  </a:cxn>
                  <a:cxn ang="0">
                    <a:pos x="T4" y="T5"/>
                  </a:cxn>
                </a:cxnLst>
                <a:rect l="0" t="0" r="r" b="b"/>
                <a:pathLst>
                  <a:path w="5" h="2">
                    <a:moveTo>
                      <a:pt x="5" y="0"/>
                    </a:moveTo>
                    <a:cubicBezTo>
                      <a:pt x="3" y="0"/>
                      <a:pt x="2" y="1"/>
                      <a:pt x="0" y="2"/>
                    </a:cubicBezTo>
                    <a:cubicBezTo>
                      <a:pt x="2" y="1"/>
                      <a:pt x="3"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Freeform 1323"/>
              <p:cNvSpPr/>
              <p:nvPr/>
            </p:nvSpPr>
            <p:spPr bwMode="auto">
              <a:xfrm>
                <a:off x="826" y="974"/>
                <a:ext cx="12" cy="12"/>
              </a:xfrm>
              <a:custGeom>
                <a:gdLst>
                  <a:gd name="T0" fmla="*/ 0 w 5"/>
                  <a:gd name="T1" fmla="*/ 0 h 5"/>
                  <a:gd name="T2" fmla="*/ 2 w 5"/>
                  <a:gd name="T3" fmla="*/ 5 h 5"/>
                  <a:gd name="T4" fmla="*/ 5 w 5"/>
                  <a:gd name="T5" fmla="*/ 3 h 5"/>
                  <a:gd name="T6" fmla="*/ 0 w 5"/>
                  <a:gd name="T7" fmla="*/ 0 h 5"/>
                </a:gdLst>
                <a:cxnLst>
                  <a:cxn ang="0">
                    <a:pos x="T0" y="T1"/>
                  </a:cxn>
                  <a:cxn ang="0">
                    <a:pos x="T2" y="T3"/>
                  </a:cxn>
                  <a:cxn ang="0">
                    <a:pos x="T4" y="T5"/>
                  </a:cxn>
                  <a:cxn ang="0">
                    <a:pos x="T6" y="T7"/>
                  </a:cxn>
                </a:cxnLst>
                <a:rect l="0" t="0" r="r" b="b"/>
                <a:pathLst>
                  <a:path w="5" h="5">
                    <a:moveTo>
                      <a:pt x="0" y="0"/>
                    </a:moveTo>
                    <a:cubicBezTo>
                      <a:pt x="1" y="2"/>
                      <a:pt x="1" y="3"/>
                      <a:pt x="2" y="5"/>
                    </a:cubicBezTo>
                    <a:cubicBezTo>
                      <a:pt x="3" y="4"/>
                      <a:pt x="4" y="4"/>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1324"/>
              <p:cNvSpPr/>
              <p:nvPr/>
            </p:nvSpPr>
            <p:spPr bwMode="auto">
              <a:xfrm>
                <a:off x="2572" y="1575"/>
                <a:ext cx="24" cy="18"/>
              </a:xfrm>
              <a:custGeom>
                <a:gdLst>
                  <a:gd name="T0" fmla="*/ 2 w 10"/>
                  <a:gd name="T1" fmla="*/ 0 h 8"/>
                  <a:gd name="T2" fmla="*/ 4 w 10"/>
                  <a:gd name="T3" fmla="*/ 7 h 8"/>
                  <a:gd name="T4" fmla="*/ 5 w 10"/>
                  <a:gd name="T5" fmla="*/ 8 h 8"/>
                  <a:gd name="T6" fmla="*/ 9 w 10"/>
                  <a:gd name="T7" fmla="*/ 5 h 8"/>
                  <a:gd name="T8" fmla="*/ 2 w 10"/>
                  <a:gd name="T9" fmla="*/ 0 h 8"/>
                </a:gdLst>
                <a:cxnLst>
                  <a:cxn ang="0">
                    <a:pos x="T0" y="T1"/>
                  </a:cxn>
                  <a:cxn ang="0">
                    <a:pos x="T2" y="T3"/>
                  </a:cxn>
                  <a:cxn ang="0">
                    <a:pos x="T4" y="T5"/>
                  </a:cxn>
                  <a:cxn ang="0">
                    <a:pos x="T6" y="T7"/>
                  </a:cxn>
                  <a:cxn ang="0">
                    <a:pos x="T8" y="T9"/>
                  </a:cxn>
                </a:cxnLst>
                <a:rect l="0" t="0" r="r" b="b"/>
                <a:pathLst>
                  <a:path w="10" h="8">
                    <a:moveTo>
                      <a:pt x="2" y="0"/>
                    </a:moveTo>
                    <a:cubicBezTo>
                      <a:pt x="0" y="2"/>
                      <a:pt x="1" y="6"/>
                      <a:pt x="4" y="7"/>
                    </a:cubicBezTo>
                    <a:cubicBezTo>
                      <a:pt x="4" y="8"/>
                      <a:pt x="5" y="8"/>
                      <a:pt x="5" y="8"/>
                    </a:cubicBezTo>
                    <a:cubicBezTo>
                      <a:pt x="7" y="8"/>
                      <a:pt x="8" y="7"/>
                      <a:pt x="9" y="5"/>
                    </a:cubicBezTo>
                    <a:cubicBezTo>
                      <a:pt x="10" y="1"/>
                      <a:pt x="6"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325"/>
              <p:cNvSpPr/>
              <p:nvPr/>
            </p:nvSpPr>
            <p:spPr bwMode="auto">
              <a:xfrm>
                <a:off x="2506" y="1279"/>
                <a:ext cx="10" cy="10"/>
              </a:xfrm>
              <a:custGeom>
                <a:gdLst>
                  <a:gd name="T0" fmla="*/ 0 w 4"/>
                  <a:gd name="T1" fmla="*/ 0 h 4"/>
                  <a:gd name="T2" fmla="*/ 2 w 4"/>
                  <a:gd name="T3" fmla="*/ 4 h 4"/>
                  <a:gd name="T4" fmla="*/ 4 w 4"/>
                  <a:gd name="T5" fmla="*/ 4 h 4"/>
                  <a:gd name="T6" fmla="*/ 0 w 4"/>
                  <a:gd name="T7" fmla="*/ 0 h 4"/>
                </a:gdLst>
                <a:cxnLst>
                  <a:cxn ang="0">
                    <a:pos x="T0" y="T1"/>
                  </a:cxn>
                  <a:cxn ang="0">
                    <a:pos x="T2" y="T3"/>
                  </a:cxn>
                  <a:cxn ang="0">
                    <a:pos x="T4" y="T5"/>
                  </a:cxn>
                  <a:cxn ang="0">
                    <a:pos x="T6" y="T7"/>
                  </a:cxn>
                </a:cxnLst>
                <a:rect l="0" t="0" r="r" b="b"/>
                <a:pathLst>
                  <a:path w="4" h="4">
                    <a:moveTo>
                      <a:pt x="0" y="0"/>
                    </a:moveTo>
                    <a:cubicBezTo>
                      <a:pt x="0" y="2"/>
                      <a:pt x="1" y="4"/>
                      <a:pt x="2" y="4"/>
                    </a:cubicBezTo>
                    <a:cubicBezTo>
                      <a:pt x="3" y="4"/>
                      <a:pt x="3" y="4"/>
                      <a:pt x="4"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326"/>
              <p:cNvSpPr/>
              <p:nvPr/>
            </p:nvSpPr>
            <p:spPr bwMode="auto">
              <a:xfrm>
                <a:off x="935" y="830"/>
                <a:ext cx="12" cy="14"/>
              </a:xfrm>
              <a:custGeom>
                <a:gdLst>
                  <a:gd name="T0" fmla="*/ 1 w 5"/>
                  <a:gd name="T1" fmla="*/ 0 h 6"/>
                  <a:gd name="T2" fmla="*/ 1 w 5"/>
                  <a:gd name="T3" fmla="*/ 6 h 6"/>
                  <a:gd name="T4" fmla="*/ 5 w 5"/>
                  <a:gd name="T5" fmla="*/ 2 h 6"/>
                  <a:gd name="T6" fmla="*/ 1 w 5"/>
                  <a:gd name="T7" fmla="*/ 0 h 6"/>
                </a:gdLst>
                <a:cxnLst>
                  <a:cxn ang="0">
                    <a:pos x="T0" y="T1"/>
                  </a:cxn>
                  <a:cxn ang="0">
                    <a:pos x="T2" y="T3"/>
                  </a:cxn>
                  <a:cxn ang="0">
                    <a:pos x="T4" y="T5"/>
                  </a:cxn>
                  <a:cxn ang="0">
                    <a:pos x="T6" y="T7"/>
                  </a:cxn>
                </a:cxnLst>
                <a:rect l="0" t="0" r="r" b="b"/>
                <a:pathLst>
                  <a:path w="5" h="6">
                    <a:moveTo>
                      <a:pt x="1" y="0"/>
                    </a:moveTo>
                    <a:cubicBezTo>
                      <a:pt x="0" y="2"/>
                      <a:pt x="1" y="4"/>
                      <a:pt x="1" y="6"/>
                    </a:cubicBezTo>
                    <a:cubicBezTo>
                      <a:pt x="3" y="4"/>
                      <a:pt x="4" y="4"/>
                      <a:pt x="5" y="2"/>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327"/>
              <p:cNvSpPr/>
              <p:nvPr/>
            </p:nvSpPr>
            <p:spPr bwMode="auto">
              <a:xfrm>
                <a:off x="2428" y="1121"/>
                <a:ext cx="17" cy="4"/>
              </a:xfrm>
              <a:custGeom>
                <a:gdLst>
                  <a:gd name="T0" fmla="*/ 3 w 7"/>
                  <a:gd name="T1" fmla="*/ 0 h 2"/>
                  <a:gd name="T2" fmla="*/ 0 w 7"/>
                  <a:gd name="T3" fmla="*/ 1 h 2"/>
                  <a:gd name="T4" fmla="*/ 6 w 7"/>
                  <a:gd name="T5" fmla="*/ 2 h 2"/>
                  <a:gd name="T6" fmla="*/ 7 w 7"/>
                  <a:gd name="T7" fmla="*/ 2 h 2"/>
                  <a:gd name="T8" fmla="*/ 3 w 7"/>
                  <a:gd name="T9" fmla="*/ 0 h 2"/>
                </a:gdLst>
                <a:cxnLst>
                  <a:cxn ang="0">
                    <a:pos x="T0" y="T1"/>
                  </a:cxn>
                  <a:cxn ang="0">
                    <a:pos x="T2" y="T3"/>
                  </a:cxn>
                  <a:cxn ang="0">
                    <a:pos x="T4" y="T5"/>
                  </a:cxn>
                  <a:cxn ang="0">
                    <a:pos x="T6" y="T7"/>
                  </a:cxn>
                  <a:cxn ang="0">
                    <a:pos x="T8" y="T9"/>
                  </a:cxn>
                </a:cxnLst>
                <a:rect l="0" t="0" r="r" b="b"/>
                <a:pathLst>
                  <a:path w="7" h="2">
                    <a:moveTo>
                      <a:pt x="3" y="0"/>
                    </a:moveTo>
                    <a:cubicBezTo>
                      <a:pt x="2" y="0"/>
                      <a:pt x="1" y="1"/>
                      <a:pt x="0" y="1"/>
                    </a:cubicBezTo>
                    <a:cubicBezTo>
                      <a:pt x="2" y="2"/>
                      <a:pt x="4" y="2"/>
                      <a:pt x="6" y="2"/>
                    </a:cubicBezTo>
                    <a:cubicBezTo>
                      <a:pt x="6" y="2"/>
                      <a:pt x="6" y="2"/>
                      <a:pt x="7" y="2"/>
                    </a:cubicBezTo>
                    <a:cubicBezTo>
                      <a:pt x="6" y="1"/>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328"/>
              <p:cNvSpPr/>
              <p:nvPr/>
            </p:nvSpPr>
            <p:spPr bwMode="auto">
              <a:xfrm>
                <a:off x="545" y="1211"/>
                <a:ext cx="16" cy="23"/>
              </a:xfrm>
              <a:custGeom>
                <a:gdLst>
                  <a:gd name="T0" fmla="*/ 0 w 7"/>
                  <a:gd name="T1" fmla="*/ 0 h 10"/>
                  <a:gd name="T2" fmla="*/ 1 w 7"/>
                  <a:gd name="T3" fmla="*/ 10 h 10"/>
                  <a:gd name="T4" fmla="*/ 1 w 7"/>
                  <a:gd name="T5" fmla="*/ 10 h 10"/>
                  <a:gd name="T6" fmla="*/ 5 w 7"/>
                  <a:gd name="T7" fmla="*/ 5 h 10"/>
                  <a:gd name="T8" fmla="*/ 0 w 7"/>
                  <a:gd name="T9" fmla="*/ 0 h 10"/>
                </a:gdLst>
                <a:cxnLst>
                  <a:cxn ang="0">
                    <a:pos x="T0" y="T1"/>
                  </a:cxn>
                  <a:cxn ang="0">
                    <a:pos x="T2" y="T3"/>
                  </a:cxn>
                  <a:cxn ang="0">
                    <a:pos x="T4" y="T5"/>
                  </a:cxn>
                  <a:cxn ang="0">
                    <a:pos x="T6" y="T7"/>
                  </a:cxn>
                  <a:cxn ang="0">
                    <a:pos x="T8" y="T9"/>
                  </a:cxn>
                </a:cxnLst>
                <a:rect l="0" t="0" r="r" b="b"/>
                <a:pathLst>
                  <a:path w="7" h="10">
                    <a:moveTo>
                      <a:pt x="0" y="0"/>
                    </a:moveTo>
                    <a:cubicBezTo>
                      <a:pt x="0" y="3"/>
                      <a:pt x="0" y="7"/>
                      <a:pt x="1" y="10"/>
                    </a:cubicBezTo>
                    <a:cubicBezTo>
                      <a:pt x="1" y="10"/>
                      <a:pt x="1" y="10"/>
                      <a:pt x="1" y="10"/>
                    </a:cubicBezTo>
                    <a:cubicBezTo>
                      <a:pt x="4" y="10"/>
                      <a:pt x="7" y="8"/>
                      <a:pt x="5" y="5"/>
                    </a:cubicBezTo>
                    <a:cubicBezTo>
                      <a:pt x="4"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329"/>
              <p:cNvSpPr/>
              <p:nvPr/>
            </p:nvSpPr>
            <p:spPr bwMode="auto">
              <a:xfrm>
                <a:off x="427" y="1057"/>
                <a:ext cx="16" cy="19"/>
              </a:xfrm>
              <a:custGeom>
                <a:gdLst>
                  <a:gd name="T0" fmla="*/ 5 w 7"/>
                  <a:gd name="T1" fmla="*/ 0 h 8"/>
                  <a:gd name="T2" fmla="*/ 3 w 7"/>
                  <a:gd name="T3" fmla="*/ 4 h 8"/>
                  <a:gd name="T4" fmla="*/ 0 w 7"/>
                  <a:gd name="T5" fmla="*/ 8 h 8"/>
                  <a:gd name="T6" fmla="*/ 2 w 7"/>
                  <a:gd name="T7" fmla="*/ 8 h 8"/>
                  <a:gd name="T8" fmla="*/ 7 w 7"/>
                  <a:gd name="T9" fmla="*/ 6 h 8"/>
                  <a:gd name="T10" fmla="*/ 5 w 7"/>
                  <a:gd name="T11" fmla="*/ 0 h 8"/>
                </a:gdLst>
                <a:cxnLst>
                  <a:cxn ang="0">
                    <a:pos x="T0" y="T1"/>
                  </a:cxn>
                  <a:cxn ang="0">
                    <a:pos x="T2" y="T3"/>
                  </a:cxn>
                  <a:cxn ang="0">
                    <a:pos x="T4" y="T5"/>
                  </a:cxn>
                  <a:cxn ang="0">
                    <a:pos x="T6" y="T7"/>
                  </a:cxn>
                  <a:cxn ang="0">
                    <a:pos x="T8" y="T9"/>
                  </a:cxn>
                  <a:cxn ang="0">
                    <a:pos x="T10" y="T11"/>
                  </a:cxn>
                </a:cxnLst>
                <a:rect l="0" t="0" r="r" b="b"/>
                <a:pathLst>
                  <a:path w="7" h="8">
                    <a:moveTo>
                      <a:pt x="5" y="0"/>
                    </a:moveTo>
                    <a:cubicBezTo>
                      <a:pt x="4" y="0"/>
                      <a:pt x="3" y="1"/>
                      <a:pt x="3" y="4"/>
                    </a:cubicBezTo>
                    <a:cubicBezTo>
                      <a:pt x="2" y="6"/>
                      <a:pt x="3" y="8"/>
                      <a:pt x="0" y="8"/>
                    </a:cubicBezTo>
                    <a:cubicBezTo>
                      <a:pt x="1" y="8"/>
                      <a:pt x="2" y="8"/>
                      <a:pt x="2" y="8"/>
                    </a:cubicBezTo>
                    <a:cubicBezTo>
                      <a:pt x="4" y="8"/>
                      <a:pt x="5" y="8"/>
                      <a:pt x="7" y="6"/>
                    </a:cubicBezTo>
                    <a:cubicBezTo>
                      <a:pt x="7" y="4"/>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330"/>
              <p:cNvSpPr/>
              <p:nvPr/>
            </p:nvSpPr>
            <p:spPr bwMode="auto">
              <a:xfrm>
                <a:off x="2315" y="1175"/>
                <a:ext cx="16" cy="36"/>
              </a:xfrm>
              <a:custGeom>
                <a:gdLst>
                  <a:gd name="T0" fmla="*/ 5 w 7"/>
                  <a:gd name="T1" fmla="*/ 0 h 15"/>
                  <a:gd name="T2" fmla="*/ 4 w 7"/>
                  <a:gd name="T3" fmla="*/ 8 h 15"/>
                  <a:gd name="T4" fmla="*/ 7 w 7"/>
                  <a:gd name="T5" fmla="*/ 15 h 15"/>
                  <a:gd name="T6" fmla="*/ 5 w 7"/>
                  <a:gd name="T7" fmla="*/ 0 h 15"/>
                </a:gdLst>
                <a:cxnLst>
                  <a:cxn ang="0">
                    <a:pos x="T0" y="T1"/>
                  </a:cxn>
                  <a:cxn ang="0">
                    <a:pos x="T2" y="T3"/>
                  </a:cxn>
                  <a:cxn ang="0">
                    <a:pos x="T4" y="T5"/>
                  </a:cxn>
                  <a:cxn ang="0">
                    <a:pos x="T6" y="T7"/>
                  </a:cxn>
                </a:cxnLst>
                <a:rect l="0" t="0" r="r" b="b"/>
                <a:pathLst>
                  <a:path w="7" h="15">
                    <a:moveTo>
                      <a:pt x="5" y="0"/>
                    </a:moveTo>
                    <a:cubicBezTo>
                      <a:pt x="0" y="2"/>
                      <a:pt x="3" y="5"/>
                      <a:pt x="4" y="8"/>
                    </a:cubicBezTo>
                    <a:cubicBezTo>
                      <a:pt x="5" y="11"/>
                      <a:pt x="5" y="14"/>
                      <a:pt x="7" y="15"/>
                    </a:cubicBezTo>
                    <a:cubicBezTo>
                      <a:pt x="7" y="10"/>
                      <a:pt x="6" y="5"/>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331"/>
              <p:cNvSpPr/>
              <p:nvPr/>
            </p:nvSpPr>
            <p:spPr bwMode="auto">
              <a:xfrm>
                <a:off x="346" y="887"/>
                <a:ext cx="17" cy="12"/>
              </a:xfrm>
              <a:custGeom>
                <a:gdLst>
                  <a:gd name="T0" fmla="*/ 2 w 7"/>
                  <a:gd name="T1" fmla="*/ 0 h 5"/>
                  <a:gd name="T2" fmla="*/ 0 w 7"/>
                  <a:gd name="T3" fmla="*/ 0 h 5"/>
                  <a:gd name="T4" fmla="*/ 7 w 7"/>
                  <a:gd name="T5" fmla="*/ 5 h 5"/>
                  <a:gd name="T6" fmla="*/ 2 w 7"/>
                  <a:gd name="T7" fmla="*/ 0 h 5"/>
                </a:gdLst>
                <a:cxnLst>
                  <a:cxn ang="0">
                    <a:pos x="T0" y="T1"/>
                  </a:cxn>
                  <a:cxn ang="0">
                    <a:pos x="T2" y="T3"/>
                  </a:cxn>
                  <a:cxn ang="0">
                    <a:pos x="T4" y="T5"/>
                  </a:cxn>
                  <a:cxn ang="0">
                    <a:pos x="T6" y="T7"/>
                  </a:cxn>
                </a:cxnLst>
                <a:rect l="0" t="0" r="r" b="b"/>
                <a:pathLst>
                  <a:path w="7" h="5">
                    <a:moveTo>
                      <a:pt x="2" y="0"/>
                    </a:moveTo>
                    <a:cubicBezTo>
                      <a:pt x="2" y="0"/>
                      <a:pt x="1" y="0"/>
                      <a:pt x="0" y="0"/>
                    </a:cubicBezTo>
                    <a:cubicBezTo>
                      <a:pt x="2" y="2"/>
                      <a:pt x="5" y="3"/>
                      <a:pt x="7" y="5"/>
                    </a:cubicBezTo>
                    <a:cubicBezTo>
                      <a:pt x="7" y="1"/>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Freeform 1332"/>
              <p:cNvSpPr/>
              <p:nvPr/>
            </p:nvSpPr>
            <p:spPr bwMode="auto">
              <a:xfrm>
                <a:off x="2154" y="1142"/>
                <a:ext cx="7" cy="17"/>
              </a:xfrm>
              <a:custGeom>
                <a:gdLst>
                  <a:gd name="T0" fmla="*/ 2 w 3"/>
                  <a:gd name="T1" fmla="*/ 0 h 7"/>
                  <a:gd name="T2" fmla="*/ 1 w 3"/>
                  <a:gd name="T3" fmla="*/ 6 h 7"/>
                  <a:gd name="T4" fmla="*/ 2 w 3"/>
                  <a:gd name="T5" fmla="*/ 7 h 7"/>
                  <a:gd name="T6" fmla="*/ 2 w 3"/>
                  <a:gd name="T7" fmla="*/ 0 h 7"/>
                </a:gdLst>
                <a:cxnLst>
                  <a:cxn ang="0">
                    <a:pos x="T0" y="T1"/>
                  </a:cxn>
                  <a:cxn ang="0">
                    <a:pos x="T2" y="T3"/>
                  </a:cxn>
                  <a:cxn ang="0">
                    <a:pos x="T4" y="T5"/>
                  </a:cxn>
                  <a:cxn ang="0">
                    <a:pos x="T6" y="T7"/>
                  </a:cxn>
                </a:cxnLst>
                <a:rect l="0" t="0" r="r" b="b"/>
                <a:pathLst>
                  <a:path w="3" h="7">
                    <a:moveTo>
                      <a:pt x="2" y="0"/>
                    </a:moveTo>
                    <a:cubicBezTo>
                      <a:pt x="1" y="1"/>
                      <a:pt x="0" y="4"/>
                      <a:pt x="1" y="6"/>
                    </a:cubicBezTo>
                    <a:cubicBezTo>
                      <a:pt x="1" y="7"/>
                      <a:pt x="2" y="7"/>
                      <a:pt x="2" y="7"/>
                    </a:cubicBezTo>
                    <a:cubicBezTo>
                      <a:pt x="3" y="7"/>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Freeform 1333"/>
              <p:cNvSpPr/>
              <p:nvPr/>
            </p:nvSpPr>
            <p:spPr bwMode="auto">
              <a:xfrm>
                <a:off x="2119" y="1312"/>
                <a:ext cx="21" cy="19"/>
              </a:xfrm>
              <a:custGeom>
                <a:gdLst>
                  <a:gd name="T0" fmla="*/ 3 w 9"/>
                  <a:gd name="T1" fmla="*/ 0 h 8"/>
                  <a:gd name="T2" fmla="*/ 3 w 9"/>
                  <a:gd name="T3" fmla="*/ 7 h 8"/>
                  <a:gd name="T4" fmla="*/ 5 w 9"/>
                  <a:gd name="T5" fmla="*/ 8 h 8"/>
                  <a:gd name="T6" fmla="*/ 8 w 9"/>
                  <a:gd name="T7" fmla="*/ 5 h 8"/>
                  <a:gd name="T8" fmla="*/ 3 w 9"/>
                  <a:gd name="T9" fmla="*/ 0 h 8"/>
                </a:gdLst>
                <a:cxnLst>
                  <a:cxn ang="0">
                    <a:pos x="T0" y="T1"/>
                  </a:cxn>
                  <a:cxn ang="0">
                    <a:pos x="T2" y="T3"/>
                  </a:cxn>
                  <a:cxn ang="0">
                    <a:pos x="T4" y="T5"/>
                  </a:cxn>
                  <a:cxn ang="0">
                    <a:pos x="T6" y="T7"/>
                  </a:cxn>
                  <a:cxn ang="0">
                    <a:pos x="T8" y="T9"/>
                  </a:cxn>
                </a:cxnLst>
                <a:rect l="0" t="0" r="r" b="b"/>
                <a:pathLst>
                  <a:path w="9" h="8">
                    <a:moveTo>
                      <a:pt x="3" y="0"/>
                    </a:moveTo>
                    <a:cubicBezTo>
                      <a:pt x="0" y="2"/>
                      <a:pt x="0" y="6"/>
                      <a:pt x="3" y="7"/>
                    </a:cubicBezTo>
                    <a:cubicBezTo>
                      <a:pt x="4" y="8"/>
                      <a:pt x="4" y="8"/>
                      <a:pt x="5" y="8"/>
                    </a:cubicBezTo>
                    <a:cubicBezTo>
                      <a:pt x="7" y="8"/>
                      <a:pt x="8" y="7"/>
                      <a:pt x="8" y="5"/>
                    </a:cubicBezTo>
                    <a:cubicBezTo>
                      <a:pt x="9" y="2"/>
                      <a:pt x="7"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1334"/>
              <p:cNvSpPr/>
              <p:nvPr/>
            </p:nvSpPr>
            <p:spPr bwMode="auto">
              <a:xfrm>
                <a:off x="1873" y="1619"/>
                <a:ext cx="16" cy="22"/>
              </a:xfrm>
              <a:custGeom>
                <a:gdLst>
                  <a:gd name="T0" fmla="*/ 3 w 7"/>
                  <a:gd name="T1" fmla="*/ 0 h 9"/>
                  <a:gd name="T2" fmla="*/ 1 w 7"/>
                  <a:gd name="T3" fmla="*/ 7 h 9"/>
                  <a:gd name="T4" fmla="*/ 2 w 7"/>
                  <a:gd name="T5" fmla="*/ 9 h 9"/>
                  <a:gd name="T6" fmla="*/ 4 w 7"/>
                  <a:gd name="T7" fmla="*/ 8 h 9"/>
                  <a:gd name="T8" fmla="*/ 3 w 7"/>
                  <a:gd name="T9" fmla="*/ 0 h 9"/>
                </a:gdLst>
                <a:cxnLst>
                  <a:cxn ang="0">
                    <a:pos x="T0" y="T1"/>
                  </a:cxn>
                  <a:cxn ang="0">
                    <a:pos x="T2" y="T3"/>
                  </a:cxn>
                  <a:cxn ang="0">
                    <a:pos x="T4" y="T5"/>
                  </a:cxn>
                  <a:cxn ang="0">
                    <a:pos x="T6" y="T7"/>
                  </a:cxn>
                  <a:cxn ang="0">
                    <a:pos x="T8" y="T9"/>
                  </a:cxn>
                </a:cxnLst>
                <a:rect l="0" t="0" r="r" b="b"/>
                <a:pathLst>
                  <a:path w="7" h="9">
                    <a:moveTo>
                      <a:pt x="3" y="0"/>
                    </a:moveTo>
                    <a:cubicBezTo>
                      <a:pt x="2" y="4"/>
                      <a:pt x="0" y="4"/>
                      <a:pt x="1" y="7"/>
                    </a:cubicBezTo>
                    <a:cubicBezTo>
                      <a:pt x="1" y="8"/>
                      <a:pt x="1" y="9"/>
                      <a:pt x="2" y="9"/>
                    </a:cubicBezTo>
                    <a:cubicBezTo>
                      <a:pt x="2" y="9"/>
                      <a:pt x="3" y="9"/>
                      <a:pt x="4" y="8"/>
                    </a:cubicBezTo>
                    <a:cubicBezTo>
                      <a:pt x="7" y="4"/>
                      <a:pt x="7" y="4"/>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9" name="Freeform 1336"/>
            <p:cNvSpPr/>
            <p:nvPr/>
          </p:nvSpPr>
          <p:spPr bwMode="auto">
            <a:xfrm>
              <a:off x="3187" y="1601"/>
              <a:ext cx="31" cy="16"/>
            </a:xfrm>
            <a:custGeom>
              <a:gdLst>
                <a:gd name="T0" fmla="*/ 9 w 13"/>
                <a:gd name="T1" fmla="*/ 0 h 7"/>
                <a:gd name="T2" fmla="*/ 1 w 13"/>
                <a:gd name="T3" fmla="*/ 5 h 7"/>
                <a:gd name="T4" fmla="*/ 8 w 13"/>
                <a:gd name="T5" fmla="*/ 7 h 7"/>
                <a:gd name="T6" fmla="*/ 8 w 13"/>
                <a:gd name="T7" fmla="*/ 7 h 7"/>
                <a:gd name="T8" fmla="*/ 9 w 13"/>
                <a:gd name="T9" fmla="*/ 0 h 7"/>
              </a:gdLst>
              <a:cxnLst>
                <a:cxn ang="0">
                  <a:pos x="T0" y="T1"/>
                </a:cxn>
                <a:cxn ang="0">
                  <a:pos x="T2" y="T3"/>
                </a:cxn>
                <a:cxn ang="0">
                  <a:pos x="T4" y="T5"/>
                </a:cxn>
                <a:cxn ang="0">
                  <a:pos x="T6" y="T7"/>
                </a:cxn>
                <a:cxn ang="0">
                  <a:pos x="T8" y="T9"/>
                </a:cxn>
              </a:cxnLst>
              <a:rect l="0" t="0" r="r" b="b"/>
              <a:pathLst>
                <a:path w="13" h="7">
                  <a:moveTo>
                    <a:pt x="9" y="0"/>
                  </a:moveTo>
                  <a:cubicBezTo>
                    <a:pt x="8" y="0"/>
                    <a:pt x="0" y="3"/>
                    <a:pt x="1" y="5"/>
                  </a:cubicBezTo>
                  <a:cubicBezTo>
                    <a:pt x="1" y="6"/>
                    <a:pt x="6" y="7"/>
                    <a:pt x="8" y="7"/>
                  </a:cubicBezTo>
                  <a:cubicBezTo>
                    <a:pt x="8" y="7"/>
                    <a:pt x="8" y="7"/>
                    <a:pt x="8" y="7"/>
                  </a:cubicBezTo>
                  <a:cubicBezTo>
                    <a:pt x="13" y="7"/>
                    <a:pt x="11" y="5"/>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337"/>
            <p:cNvSpPr/>
            <p:nvPr/>
          </p:nvSpPr>
          <p:spPr bwMode="auto">
            <a:xfrm>
              <a:off x="3000" y="1090"/>
              <a:ext cx="40" cy="33"/>
            </a:xfrm>
            <a:custGeom>
              <a:gdLst>
                <a:gd name="T0" fmla="*/ 1 w 17"/>
                <a:gd name="T1" fmla="*/ 0 h 14"/>
                <a:gd name="T2" fmla="*/ 0 w 17"/>
                <a:gd name="T3" fmla="*/ 0 h 14"/>
                <a:gd name="T4" fmla="*/ 3 w 17"/>
                <a:gd name="T5" fmla="*/ 14 h 14"/>
                <a:gd name="T6" fmla="*/ 5 w 17"/>
                <a:gd name="T7" fmla="*/ 13 h 14"/>
                <a:gd name="T8" fmla="*/ 7 w 17"/>
                <a:gd name="T9" fmla="*/ 14 h 14"/>
                <a:gd name="T10" fmla="*/ 8 w 17"/>
                <a:gd name="T11" fmla="*/ 14 h 14"/>
                <a:gd name="T12" fmla="*/ 8 w 17"/>
                <a:gd name="T13" fmla="*/ 14 h 14"/>
                <a:gd name="T14" fmla="*/ 10 w 17"/>
                <a:gd name="T15" fmla="*/ 14 h 14"/>
                <a:gd name="T16" fmla="*/ 17 w 17"/>
                <a:gd name="T17" fmla="*/ 11 h 14"/>
                <a:gd name="T18" fmla="*/ 17 w 17"/>
                <a:gd name="T19" fmla="*/ 11 h 14"/>
                <a:gd name="T20" fmla="*/ 15 w 17"/>
                <a:gd name="T21" fmla="*/ 10 h 14"/>
                <a:gd name="T22" fmla="*/ 12 w 17"/>
                <a:gd name="T23" fmla="*/ 10 h 14"/>
                <a:gd name="T24" fmla="*/ 8 w 17"/>
                <a:gd name="T25" fmla="*/ 5 h 14"/>
                <a:gd name="T26" fmla="*/ 1 w 17"/>
                <a:gd name="T27"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4">
                  <a:moveTo>
                    <a:pt x="1" y="0"/>
                  </a:moveTo>
                  <a:cubicBezTo>
                    <a:pt x="0" y="0"/>
                    <a:pt x="0" y="0"/>
                    <a:pt x="0" y="0"/>
                  </a:cubicBezTo>
                  <a:cubicBezTo>
                    <a:pt x="0" y="3"/>
                    <a:pt x="1" y="12"/>
                    <a:pt x="3" y="14"/>
                  </a:cubicBezTo>
                  <a:cubicBezTo>
                    <a:pt x="3" y="14"/>
                    <a:pt x="4" y="13"/>
                    <a:pt x="5" y="13"/>
                  </a:cubicBezTo>
                  <a:cubicBezTo>
                    <a:pt x="5" y="13"/>
                    <a:pt x="6" y="14"/>
                    <a:pt x="7" y="14"/>
                  </a:cubicBezTo>
                  <a:cubicBezTo>
                    <a:pt x="7" y="14"/>
                    <a:pt x="8" y="14"/>
                    <a:pt x="8" y="14"/>
                  </a:cubicBezTo>
                  <a:cubicBezTo>
                    <a:pt x="8" y="14"/>
                    <a:pt x="8" y="14"/>
                    <a:pt x="8" y="14"/>
                  </a:cubicBezTo>
                  <a:cubicBezTo>
                    <a:pt x="9" y="14"/>
                    <a:pt x="9" y="14"/>
                    <a:pt x="10" y="14"/>
                  </a:cubicBezTo>
                  <a:cubicBezTo>
                    <a:pt x="13" y="14"/>
                    <a:pt x="15" y="13"/>
                    <a:pt x="17" y="11"/>
                  </a:cubicBezTo>
                  <a:cubicBezTo>
                    <a:pt x="17" y="11"/>
                    <a:pt x="17" y="11"/>
                    <a:pt x="17" y="11"/>
                  </a:cubicBezTo>
                  <a:cubicBezTo>
                    <a:pt x="16" y="11"/>
                    <a:pt x="15" y="10"/>
                    <a:pt x="15" y="10"/>
                  </a:cubicBezTo>
                  <a:cubicBezTo>
                    <a:pt x="12" y="10"/>
                    <a:pt x="12" y="10"/>
                    <a:pt x="12" y="10"/>
                  </a:cubicBezTo>
                  <a:cubicBezTo>
                    <a:pt x="10" y="9"/>
                    <a:pt x="10" y="6"/>
                    <a:pt x="8" y="5"/>
                  </a:cubicBezTo>
                  <a:cubicBezTo>
                    <a:pt x="8"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338"/>
            <p:cNvSpPr/>
            <p:nvPr/>
          </p:nvSpPr>
          <p:spPr bwMode="auto">
            <a:xfrm>
              <a:off x="2213" y="1598"/>
              <a:ext cx="59" cy="24"/>
            </a:xfrm>
            <a:custGeom>
              <a:gdLst>
                <a:gd name="T0" fmla="*/ 14 w 25"/>
                <a:gd name="T1" fmla="*/ 0 h 10"/>
                <a:gd name="T2" fmla="*/ 9 w 25"/>
                <a:gd name="T3" fmla="*/ 0 h 10"/>
                <a:gd name="T4" fmla="*/ 5 w 25"/>
                <a:gd name="T5" fmla="*/ 0 h 10"/>
                <a:gd name="T6" fmla="*/ 5 w 25"/>
                <a:gd name="T7" fmla="*/ 0 h 10"/>
                <a:gd name="T8" fmla="*/ 3 w 25"/>
                <a:gd name="T9" fmla="*/ 4 h 10"/>
                <a:gd name="T10" fmla="*/ 6 w 25"/>
                <a:gd name="T11" fmla="*/ 3 h 10"/>
                <a:gd name="T12" fmla="*/ 2 w 25"/>
                <a:gd name="T13" fmla="*/ 6 h 10"/>
                <a:gd name="T14" fmla="*/ 4 w 25"/>
                <a:gd name="T15" fmla="*/ 10 h 10"/>
                <a:gd name="T16" fmla="*/ 6 w 25"/>
                <a:gd name="T17" fmla="*/ 9 h 10"/>
                <a:gd name="T18" fmla="*/ 14 w 25"/>
                <a:gd name="T19" fmla="*/ 8 h 10"/>
                <a:gd name="T20" fmla="*/ 22 w 25"/>
                <a:gd name="T21" fmla="*/ 7 h 10"/>
                <a:gd name="T22" fmla="*/ 23 w 25"/>
                <a:gd name="T23" fmla="*/ 2 h 10"/>
                <a:gd name="T24" fmla="*/ 14 w 25"/>
                <a:gd name="T25"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0">
                  <a:moveTo>
                    <a:pt x="14" y="0"/>
                  </a:moveTo>
                  <a:cubicBezTo>
                    <a:pt x="13" y="0"/>
                    <a:pt x="11" y="0"/>
                    <a:pt x="9" y="0"/>
                  </a:cubicBezTo>
                  <a:cubicBezTo>
                    <a:pt x="8" y="0"/>
                    <a:pt x="6" y="0"/>
                    <a:pt x="5" y="0"/>
                  </a:cubicBezTo>
                  <a:cubicBezTo>
                    <a:pt x="5" y="0"/>
                    <a:pt x="5" y="0"/>
                    <a:pt x="5" y="0"/>
                  </a:cubicBezTo>
                  <a:cubicBezTo>
                    <a:pt x="2" y="2"/>
                    <a:pt x="2" y="4"/>
                    <a:pt x="3" y="4"/>
                  </a:cubicBezTo>
                  <a:cubicBezTo>
                    <a:pt x="4" y="4"/>
                    <a:pt x="5" y="4"/>
                    <a:pt x="6" y="3"/>
                  </a:cubicBezTo>
                  <a:cubicBezTo>
                    <a:pt x="5" y="4"/>
                    <a:pt x="3" y="5"/>
                    <a:pt x="2" y="6"/>
                  </a:cubicBezTo>
                  <a:cubicBezTo>
                    <a:pt x="0" y="9"/>
                    <a:pt x="1" y="10"/>
                    <a:pt x="4" y="10"/>
                  </a:cubicBezTo>
                  <a:cubicBezTo>
                    <a:pt x="4" y="10"/>
                    <a:pt x="5" y="9"/>
                    <a:pt x="6" y="9"/>
                  </a:cubicBezTo>
                  <a:cubicBezTo>
                    <a:pt x="9" y="9"/>
                    <a:pt x="11" y="9"/>
                    <a:pt x="14" y="8"/>
                  </a:cubicBezTo>
                  <a:cubicBezTo>
                    <a:pt x="16" y="8"/>
                    <a:pt x="21" y="8"/>
                    <a:pt x="22" y="7"/>
                  </a:cubicBezTo>
                  <a:cubicBezTo>
                    <a:pt x="24" y="6"/>
                    <a:pt x="25" y="4"/>
                    <a:pt x="23" y="2"/>
                  </a:cubicBezTo>
                  <a:cubicBezTo>
                    <a:pt x="22" y="0"/>
                    <a:pt x="18"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1339"/>
            <p:cNvSpPr/>
            <p:nvPr/>
          </p:nvSpPr>
          <p:spPr bwMode="auto">
            <a:xfrm>
              <a:off x="2648" y="1102"/>
              <a:ext cx="28" cy="28"/>
            </a:xfrm>
            <a:custGeom>
              <a:gdLst>
                <a:gd name="T0" fmla="*/ 7 w 12"/>
                <a:gd name="T1" fmla="*/ 0 h 12"/>
                <a:gd name="T2" fmla="*/ 6 w 12"/>
                <a:gd name="T3" fmla="*/ 0 h 12"/>
                <a:gd name="T4" fmla="*/ 2 w 12"/>
                <a:gd name="T5" fmla="*/ 6 h 12"/>
                <a:gd name="T6" fmla="*/ 6 w 12"/>
                <a:gd name="T7" fmla="*/ 12 h 12"/>
                <a:gd name="T8" fmla="*/ 6 w 12"/>
                <a:gd name="T9" fmla="*/ 12 h 12"/>
                <a:gd name="T10" fmla="*/ 12 w 12"/>
                <a:gd name="T11" fmla="*/ 3 h 12"/>
                <a:gd name="T12" fmla="*/ 7 w 12"/>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12" h="12">
                  <a:moveTo>
                    <a:pt x="7" y="0"/>
                  </a:moveTo>
                  <a:cubicBezTo>
                    <a:pt x="7" y="0"/>
                    <a:pt x="6" y="0"/>
                    <a:pt x="6" y="0"/>
                  </a:cubicBezTo>
                  <a:cubicBezTo>
                    <a:pt x="1" y="0"/>
                    <a:pt x="0" y="2"/>
                    <a:pt x="2" y="6"/>
                  </a:cubicBezTo>
                  <a:cubicBezTo>
                    <a:pt x="2" y="7"/>
                    <a:pt x="4" y="12"/>
                    <a:pt x="6" y="12"/>
                  </a:cubicBezTo>
                  <a:cubicBezTo>
                    <a:pt x="6" y="12"/>
                    <a:pt x="6" y="12"/>
                    <a:pt x="6" y="12"/>
                  </a:cubicBezTo>
                  <a:cubicBezTo>
                    <a:pt x="10" y="12"/>
                    <a:pt x="12" y="6"/>
                    <a:pt x="12" y="3"/>
                  </a:cubicBezTo>
                  <a:cubicBezTo>
                    <a:pt x="11" y="0"/>
                    <a:pt x="11"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340"/>
            <p:cNvSpPr/>
            <p:nvPr/>
          </p:nvSpPr>
          <p:spPr bwMode="auto">
            <a:xfrm>
              <a:off x="2632" y="1095"/>
              <a:ext cx="18" cy="7"/>
            </a:xfrm>
            <a:custGeom>
              <a:gdLst>
                <a:gd name="T0" fmla="*/ 4 w 8"/>
                <a:gd name="T1" fmla="*/ 0 h 3"/>
                <a:gd name="T2" fmla="*/ 3 w 8"/>
                <a:gd name="T3" fmla="*/ 1 h 3"/>
                <a:gd name="T4" fmla="*/ 2 w 8"/>
                <a:gd name="T5" fmla="*/ 1 h 3"/>
                <a:gd name="T6" fmla="*/ 2 w 8"/>
                <a:gd name="T7" fmla="*/ 0 h 3"/>
                <a:gd name="T8" fmla="*/ 1 w 8"/>
                <a:gd name="T9" fmla="*/ 0 h 3"/>
                <a:gd name="T10" fmla="*/ 0 w 8"/>
                <a:gd name="T11" fmla="*/ 3 h 3"/>
                <a:gd name="T12" fmla="*/ 8 w 8"/>
                <a:gd name="T13" fmla="*/ 0 h 3"/>
                <a:gd name="T14" fmla="*/ 7 w 8"/>
                <a:gd name="T15" fmla="*/ 0 h 3"/>
                <a:gd name="T16" fmla="*/ 7 w 8"/>
                <a:gd name="T17" fmla="*/ 0 h 3"/>
                <a:gd name="T18" fmla="*/ 6 w 8"/>
                <a:gd name="T19" fmla="*/ 0 h 3"/>
                <a:gd name="T20" fmla="*/ 4 w 8"/>
                <a:gd name="T2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4" y="0"/>
                  </a:moveTo>
                  <a:cubicBezTo>
                    <a:pt x="4" y="1"/>
                    <a:pt x="4" y="1"/>
                    <a:pt x="3" y="1"/>
                  </a:cubicBezTo>
                  <a:cubicBezTo>
                    <a:pt x="3" y="1"/>
                    <a:pt x="3" y="1"/>
                    <a:pt x="2" y="1"/>
                  </a:cubicBezTo>
                  <a:cubicBezTo>
                    <a:pt x="2" y="0"/>
                    <a:pt x="2" y="0"/>
                    <a:pt x="2" y="0"/>
                  </a:cubicBezTo>
                  <a:cubicBezTo>
                    <a:pt x="2" y="0"/>
                    <a:pt x="1" y="0"/>
                    <a:pt x="1" y="0"/>
                  </a:cubicBezTo>
                  <a:cubicBezTo>
                    <a:pt x="1" y="1"/>
                    <a:pt x="1" y="2"/>
                    <a:pt x="0" y="3"/>
                  </a:cubicBezTo>
                  <a:cubicBezTo>
                    <a:pt x="3" y="2"/>
                    <a:pt x="5" y="1"/>
                    <a:pt x="8" y="0"/>
                  </a:cubicBezTo>
                  <a:cubicBezTo>
                    <a:pt x="8" y="0"/>
                    <a:pt x="8" y="0"/>
                    <a:pt x="7" y="0"/>
                  </a:cubicBezTo>
                  <a:cubicBezTo>
                    <a:pt x="7" y="0"/>
                    <a:pt x="7" y="0"/>
                    <a:pt x="7" y="0"/>
                  </a:cubicBezTo>
                  <a:cubicBezTo>
                    <a:pt x="6" y="0"/>
                    <a:pt x="6" y="0"/>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341"/>
            <p:cNvSpPr/>
            <p:nvPr/>
          </p:nvSpPr>
          <p:spPr bwMode="auto">
            <a:xfrm>
              <a:off x="850" y="1038"/>
              <a:ext cx="33" cy="24"/>
            </a:xfrm>
            <a:custGeom>
              <a:gdLst>
                <a:gd name="T0" fmla="*/ 2 w 14"/>
                <a:gd name="T1" fmla="*/ 0 h 10"/>
                <a:gd name="T2" fmla="*/ 0 w 14"/>
                <a:gd name="T3" fmla="*/ 7 h 10"/>
                <a:gd name="T4" fmla="*/ 4 w 14"/>
                <a:gd name="T5" fmla="*/ 8 h 10"/>
                <a:gd name="T6" fmla="*/ 4 w 14"/>
                <a:gd name="T7" fmla="*/ 8 h 10"/>
                <a:gd name="T8" fmla="*/ 8 w 14"/>
                <a:gd name="T9" fmla="*/ 7 h 10"/>
                <a:gd name="T10" fmla="*/ 8 w 14"/>
                <a:gd name="T11" fmla="*/ 7 h 10"/>
                <a:gd name="T12" fmla="*/ 14 w 14"/>
                <a:gd name="T13" fmla="*/ 10 h 10"/>
                <a:gd name="T14" fmla="*/ 2 w 14"/>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0">
                  <a:moveTo>
                    <a:pt x="2" y="0"/>
                  </a:moveTo>
                  <a:cubicBezTo>
                    <a:pt x="2" y="3"/>
                    <a:pt x="0" y="5"/>
                    <a:pt x="0" y="7"/>
                  </a:cubicBezTo>
                  <a:cubicBezTo>
                    <a:pt x="0" y="8"/>
                    <a:pt x="3" y="8"/>
                    <a:pt x="4" y="8"/>
                  </a:cubicBezTo>
                  <a:cubicBezTo>
                    <a:pt x="4" y="8"/>
                    <a:pt x="4" y="8"/>
                    <a:pt x="4" y="8"/>
                  </a:cubicBezTo>
                  <a:cubicBezTo>
                    <a:pt x="5" y="8"/>
                    <a:pt x="6" y="7"/>
                    <a:pt x="8" y="7"/>
                  </a:cubicBezTo>
                  <a:cubicBezTo>
                    <a:pt x="8" y="7"/>
                    <a:pt x="8" y="7"/>
                    <a:pt x="8" y="7"/>
                  </a:cubicBezTo>
                  <a:cubicBezTo>
                    <a:pt x="10" y="7"/>
                    <a:pt x="12" y="10"/>
                    <a:pt x="14" y="10"/>
                  </a:cubicBezTo>
                  <a:cubicBezTo>
                    <a:pt x="10" y="7"/>
                    <a:pt x="6"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1342"/>
            <p:cNvSpPr/>
            <p:nvPr/>
          </p:nvSpPr>
          <p:spPr bwMode="auto">
            <a:xfrm>
              <a:off x="2480" y="858"/>
              <a:ext cx="31" cy="45"/>
            </a:xfrm>
            <a:custGeom>
              <a:gdLst>
                <a:gd name="T0" fmla="*/ 10 w 13"/>
                <a:gd name="T1" fmla="*/ 0 h 19"/>
                <a:gd name="T2" fmla="*/ 1 w 13"/>
                <a:gd name="T3" fmla="*/ 10 h 19"/>
                <a:gd name="T4" fmla="*/ 1 w 13"/>
                <a:gd name="T5" fmla="*/ 14 h 19"/>
                <a:gd name="T6" fmla="*/ 2 w 13"/>
                <a:gd name="T7" fmla="*/ 19 h 19"/>
                <a:gd name="T8" fmla="*/ 9 w 13"/>
                <a:gd name="T9" fmla="*/ 16 h 19"/>
                <a:gd name="T10" fmla="*/ 10 w 13"/>
                <a:gd name="T11" fmla="*/ 0 h 19"/>
              </a:gdLst>
              <a:cxnLst>
                <a:cxn ang="0">
                  <a:pos x="T0" y="T1"/>
                </a:cxn>
                <a:cxn ang="0">
                  <a:pos x="T2" y="T3"/>
                </a:cxn>
                <a:cxn ang="0">
                  <a:pos x="T4" y="T5"/>
                </a:cxn>
                <a:cxn ang="0">
                  <a:pos x="T6" y="T7"/>
                </a:cxn>
                <a:cxn ang="0">
                  <a:pos x="T8" y="T9"/>
                </a:cxn>
                <a:cxn ang="0">
                  <a:pos x="T10" y="T11"/>
                </a:cxn>
              </a:cxnLst>
              <a:rect l="0" t="0" r="r" b="b"/>
              <a:pathLst>
                <a:path w="13" h="19">
                  <a:moveTo>
                    <a:pt x="10" y="0"/>
                  </a:moveTo>
                  <a:cubicBezTo>
                    <a:pt x="7" y="2"/>
                    <a:pt x="2" y="5"/>
                    <a:pt x="1" y="10"/>
                  </a:cubicBezTo>
                  <a:cubicBezTo>
                    <a:pt x="0" y="11"/>
                    <a:pt x="0" y="12"/>
                    <a:pt x="1" y="14"/>
                  </a:cubicBezTo>
                  <a:cubicBezTo>
                    <a:pt x="2" y="16"/>
                    <a:pt x="2" y="17"/>
                    <a:pt x="2" y="19"/>
                  </a:cubicBezTo>
                  <a:cubicBezTo>
                    <a:pt x="4" y="18"/>
                    <a:pt x="8" y="18"/>
                    <a:pt x="9" y="16"/>
                  </a:cubicBezTo>
                  <a:cubicBezTo>
                    <a:pt x="13" y="14"/>
                    <a:pt x="12"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343"/>
            <p:cNvSpPr/>
            <p:nvPr/>
          </p:nvSpPr>
          <p:spPr bwMode="auto">
            <a:xfrm>
              <a:off x="2275" y="1161"/>
              <a:ext cx="78" cy="12"/>
            </a:xfrm>
            <a:custGeom>
              <a:gdLst>
                <a:gd name="T0" fmla="*/ 6 w 33"/>
                <a:gd name="T1" fmla="*/ 0 h 5"/>
                <a:gd name="T2" fmla="*/ 6 w 33"/>
                <a:gd name="T3" fmla="*/ 5 h 5"/>
                <a:gd name="T4" fmla="*/ 15 w 33"/>
                <a:gd name="T5" fmla="*/ 4 h 5"/>
                <a:gd name="T6" fmla="*/ 15 w 33"/>
                <a:gd name="T7" fmla="*/ 4 h 5"/>
                <a:gd name="T8" fmla="*/ 18 w 33"/>
                <a:gd name="T9" fmla="*/ 5 h 5"/>
                <a:gd name="T10" fmla="*/ 20 w 33"/>
                <a:gd name="T11" fmla="*/ 5 h 5"/>
                <a:gd name="T12" fmla="*/ 21 w 33"/>
                <a:gd name="T13" fmla="*/ 5 h 5"/>
                <a:gd name="T14" fmla="*/ 33 w 33"/>
                <a:gd name="T15" fmla="*/ 2 h 5"/>
                <a:gd name="T16" fmla="*/ 6 w 33"/>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
                  <a:moveTo>
                    <a:pt x="6" y="0"/>
                  </a:moveTo>
                  <a:cubicBezTo>
                    <a:pt x="0" y="3"/>
                    <a:pt x="7" y="3"/>
                    <a:pt x="6" y="5"/>
                  </a:cubicBezTo>
                  <a:cubicBezTo>
                    <a:pt x="9" y="5"/>
                    <a:pt x="12" y="5"/>
                    <a:pt x="15" y="4"/>
                  </a:cubicBezTo>
                  <a:cubicBezTo>
                    <a:pt x="15" y="4"/>
                    <a:pt x="15" y="4"/>
                    <a:pt x="15" y="4"/>
                  </a:cubicBezTo>
                  <a:cubicBezTo>
                    <a:pt x="16" y="4"/>
                    <a:pt x="17" y="4"/>
                    <a:pt x="18" y="5"/>
                  </a:cubicBezTo>
                  <a:cubicBezTo>
                    <a:pt x="19" y="5"/>
                    <a:pt x="19" y="5"/>
                    <a:pt x="20" y="5"/>
                  </a:cubicBezTo>
                  <a:cubicBezTo>
                    <a:pt x="20" y="5"/>
                    <a:pt x="20" y="5"/>
                    <a:pt x="21" y="5"/>
                  </a:cubicBezTo>
                  <a:cubicBezTo>
                    <a:pt x="24" y="4"/>
                    <a:pt x="31" y="4"/>
                    <a:pt x="33" y="2"/>
                  </a:cubicBezTo>
                  <a:cubicBezTo>
                    <a:pt x="24" y="1"/>
                    <a:pt x="1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1344"/>
            <p:cNvSpPr/>
            <p:nvPr/>
          </p:nvSpPr>
          <p:spPr bwMode="auto">
            <a:xfrm>
              <a:off x="2107" y="1759"/>
              <a:ext cx="45" cy="31"/>
            </a:xfrm>
            <a:custGeom>
              <a:gdLst>
                <a:gd name="T0" fmla="*/ 18 w 19"/>
                <a:gd name="T1" fmla="*/ 0 h 13"/>
                <a:gd name="T2" fmla="*/ 8 w 19"/>
                <a:gd name="T3" fmla="*/ 6 h 13"/>
                <a:gd name="T4" fmla="*/ 2 w 19"/>
                <a:gd name="T5" fmla="*/ 9 h 13"/>
                <a:gd name="T6" fmla="*/ 2 w 19"/>
                <a:gd name="T7" fmla="*/ 13 h 13"/>
                <a:gd name="T8" fmla="*/ 10 w 19"/>
                <a:gd name="T9" fmla="*/ 11 h 13"/>
                <a:gd name="T10" fmla="*/ 14 w 19"/>
                <a:gd name="T11" fmla="*/ 10 h 13"/>
                <a:gd name="T12" fmla="*/ 18 w 19"/>
                <a:gd name="T13" fmla="*/ 0 h 13"/>
              </a:gdLst>
              <a:cxnLst>
                <a:cxn ang="0">
                  <a:pos x="T0" y="T1"/>
                </a:cxn>
                <a:cxn ang="0">
                  <a:pos x="T2" y="T3"/>
                </a:cxn>
                <a:cxn ang="0">
                  <a:pos x="T4" y="T5"/>
                </a:cxn>
                <a:cxn ang="0">
                  <a:pos x="T6" y="T7"/>
                </a:cxn>
                <a:cxn ang="0">
                  <a:pos x="T8" y="T9"/>
                </a:cxn>
                <a:cxn ang="0">
                  <a:pos x="T10" y="T11"/>
                </a:cxn>
                <a:cxn ang="0">
                  <a:pos x="T12" y="T13"/>
                </a:cxn>
              </a:cxnLst>
              <a:rect l="0" t="0" r="r" b="b"/>
              <a:pathLst>
                <a:path w="19" h="13">
                  <a:moveTo>
                    <a:pt x="18" y="0"/>
                  </a:moveTo>
                  <a:cubicBezTo>
                    <a:pt x="15" y="2"/>
                    <a:pt x="11" y="4"/>
                    <a:pt x="8" y="6"/>
                  </a:cubicBezTo>
                  <a:cubicBezTo>
                    <a:pt x="6" y="7"/>
                    <a:pt x="3" y="8"/>
                    <a:pt x="2" y="9"/>
                  </a:cubicBezTo>
                  <a:cubicBezTo>
                    <a:pt x="0" y="12"/>
                    <a:pt x="1" y="13"/>
                    <a:pt x="2" y="13"/>
                  </a:cubicBezTo>
                  <a:cubicBezTo>
                    <a:pt x="5" y="13"/>
                    <a:pt x="9" y="12"/>
                    <a:pt x="10" y="11"/>
                  </a:cubicBezTo>
                  <a:cubicBezTo>
                    <a:pt x="12" y="11"/>
                    <a:pt x="12" y="11"/>
                    <a:pt x="14" y="10"/>
                  </a:cubicBezTo>
                  <a:cubicBezTo>
                    <a:pt x="19" y="6"/>
                    <a:pt x="18" y="7"/>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1345"/>
            <p:cNvSpPr/>
            <p:nvPr/>
          </p:nvSpPr>
          <p:spPr bwMode="auto">
            <a:xfrm>
              <a:off x="2584" y="1154"/>
              <a:ext cx="50" cy="28"/>
            </a:xfrm>
            <a:custGeom>
              <a:gdLst>
                <a:gd name="T0" fmla="*/ 17 w 21"/>
                <a:gd name="T1" fmla="*/ 0 h 12"/>
                <a:gd name="T2" fmla="*/ 7 w 21"/>
                <a:gd name="T3" fmla="*/ 3 h 12"/>
                <a:gd name="T4" fmla="*/ 0 w 21"/>
                <a:gd name="T5" fmla="*/ 6 h 12"/>
                <a:gd name="T6" fmla="*/ 11 w 21"/>
                <a:gd name="T7" fmla="*/ 12 h 12"/>
                <a:gd name="T8" fmla="*/ 15 w 21"/>
                <a:gd name="T9" fmla="*/ 11 h 12"/>
                <a:gd name="T10" fmla="*/ 17 w 21"/>
                <a:gd name="T11" fmla="*/ 9 h 12"/>
                <a:gd name="T12" fmla="*/ 17 w 21"/>
                <a:gd name="T13" fmla="*/ 9 h 12"/>
                <a:gd name="T14" fmla="*/ 18 w 21"/>
                <a:gd name="T15" fmla="*/ 9 h 12"/>
                <a:gd name="T16" fmla="*/ 19 w 21"/>
                <a:gd name="T17" fmla="*/ 10 h 12"/>
                <a:gd name="T18" fmla="*/ 20 w 21"/>
                <a:gd name="T19" fmla="*/ 9 h 12"/>
                <a:gd name="T20" fmla="*/ 21 w 21"/>
                <a:gd name="T21" fmla="*/ 5 h 12"/>
                <a:gd name="T22" fmla="*/ 18 w 21"/>
                <a:gd name="T23" fmla="*/ 1 h 12"/>
                <a:gd name="T24" fmla="*/ 18 w 21"/>
                <a:gd name="T25" fmla="*/ 1 h 12"/>
                <a:gd name="T26" fmla="*/ 17 w 21"/>
                <a:gd name="T27"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2">
                  <a:moveTo>
                    <a:pt x="17" y="0"/>
                  </a:moveTo>
                  <a:cubicBezTo>
                    <a:pt x="15" y="0"/>
                    <a:pt x="9" y="2"/>
                    <a:pt x="7" y="3"/>
                  </a:cubicBezTo>
                  <a:cubicBezTo>
                    <a:pt x="5" y="4"/>
                    <a:pt x="2" y="5"/>
                    <a:pt x="0" y="6"/>
                  </a:cubicBezTo>
                  <a:cubicBezTo>
                    <a:pt x="4" y="8"/>
                    <a:pt x="8" y="10"/>
                    <a:pt x="11" y="12"/>
                  </a:cubicBezTo>
                  <a:cubicBezTo>
                    <a:pt x="12" y="12"/>
                    <a:pt x="14" y="12"/>
                    <a:pt x="15" y="11"/>
                  </a:cubicBezTo>
                  <a:cubicBezTo>
                    <a:pt x="16" y="11"/>
                    <a:pt x="16" y="9"/>
                    <a:pt x="17" y="9"/>
                  </a:cubicBezTo>
                  <a:cubicBezTo>
                    <a:pt x="17" y="9"/>
                    <a:pt x="17" y="9"/>
                    <a:pt x="17" y="9"/>
                  </a:cubicBezTo>
                  <a:cubicBezTo>
                    <a:pt x="18" y="9"/>
                    <a:pt x="18" y="9"/>
                    <a:pt x="18" y="9"/>
                  </a:cubicBezTo>
                  <a:cubicBezTo>
                    <a:pt x="18" y="10"/>
                    <a:pt x="19" y="10"/>
                    <a:pt x="19" y="10"/>
                  </a:cubicBezTo>
                  <a:cubicBezTo>
                    <a:pt x="19" y="10"/>
                    <a:pt x="19" y="10"/>
                    <a:pt x="20" y="9"/>
                  </a:cubicBezTo>
                  <a:cubicBezTo>
                    <a:pt x="20" y="9"/>
                    <a:pt x="21" y="5"/>
                    <a:pt x="21" y="5"/>
                  </a:cubicBezTo>
                  <a:cubicBezTo>
                    <a:pt x="20" y="4"/>
                    <a:pt x="18" y="1"/>
                    <a:pt x="18" y="1"/>
                  </a:cubicBezTo>
                  <a:cubicBezTo>
                    <a:pt x="18" y="1"/>
                    <a:pt x="18" y="1"/>
                    <a:pt x="18" y="1"/>
                  </a:cubicBezTo>
                  <a:cubicBezTo>
                    <a:pt x="18" y="0"/>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1346"/>
            <p:cNvSpPr/>
            <p:nvPr/>
          </p:nvSpPr>
          <p:spPr bwMode="auto">
            <a:xfrm>
              <a:off x="247" y="839"/>
              <a:ext cx="52" cy="41"/>
            </a:xfrm>
            <a:custGeom>
              <a:gdLst>
                <a:gd name="T0" fmla="*/ 4 w 22"/>
                <a:gd name="T1" fmla="*/ 0 h 17"/>
                <a:gd name="T2" fmla="*/ 2 w 22"/>
                <a:gd name="T3" fmla="*/ 4 h 17"/>
                <a:gd name="T4" fmla="*/ 2 w 22"/>
                <a:gd name="T5" fmla="*/ 4 h 17"/>
                <a:gd name="T6" fmla="*/ 5 w 22"/>
                <a:gd name="T7" fmla="*/ 8 h 17"/>
                <a:gd name="T8" fmla="*/ 10 w 22"/>
                <a:gd name="T9" fmla="*/ 9 h 17"/>
                <a:gd name="T10" fmla="*/ 22 w 22"/>
                <a:gd name="T11" fmla="*/ 17 h 17"/>
                <a:gd name="T12" fmla="*/ 22 w 22"/>
                <a:gd name="T13" fmla="*/ 17 h 17"/>
                <a:gd name="T14" fmla="*/ 17 w 22"/>
                <a:gd name="T15" fmla="*/ 9 h 17"/>
                <a:gd name="T16" fmla="*/ 4 w 22"/>
                <a:gd name="T17"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7">
                  <a:moveTo>
                    <a:pt x="4" y="0"/>
                  </a:moveTo>
                  <a:cubicBezTo>
                    <a:pt x="3" y="1"/>
                    <a:pt x="0" y="4"/>
                    <a:pt x="2" y="4"/>
                  </a:cubicBezTo>
                  <a:cubicBezTo>
                    <a:pt x="2" y="4"/>
                    <a:pt x="2" y="4"/>
                    <a:pt x="2" y="4"/>
                  </a:cubicBezTo>
                  <a:cubicBezTo>
                    <a:pt x="3" y="5"/>
                    <a:pt x="4" y="7"/>
                    <a:pt x="5" y="8"/>
                  </a:cubicBezTo>
                  <a:cubicBezTo>
                    <a:pt x="6" y="9"/>
                    <a:pt x="8" y="9"/>
                    <a:pt x="10" y="9"/>
                  </a:cubicBezTo>
                  <a:cubicBezTo>
                    <a:pt x="13" y="11"/>
                    <a:pt x="19" y="17"/>
                    <a:pt x="22" y="17"/>
                  </a:cubicBezTo>
                  <a:cubicBezTo>
                    <a:pt x="22" y="17"/>
                    <a:pt x="22" y="17"/>
                    <a:pt x="22" y="17"/>
                  </a:cubicBezTo>
                  <a:cubicBezTo>
                    <a:pt x="22" y="11"/>
                    <a:pt x="21" y="12"/>
                    <a:pt x="17" y="9"/>
                  </a:cubicBezTo>
                  <a:cubicBezTo>
                    <a:pt x="12" y="6"/>
                    <a:pt x="8"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347"/>
            <p:cNvSpPr/>
            <p:nvPr/>
          </p:nvSpPr>
          <p:spPr bwMode="auto">
            <a:xfrm>
              <a:off x="1644" y="1265"/>
              <a:ext cx="19" cy="54"/>
            </a:xfrm>
            <a:custGeom>
              <a:gdLst>
                <a:gd name="T0" fmla="*/ 7 w 8"/>
                <a:gd name="T1" fmla="*/ 0 h 23"/>
                <a:gd name="T2" fmla="*/ 5 w 8"/>
                <a:gd name="T3" fmla="*/ 0 h 23"/>
                <a:gd name="T4" fmla="*/ 4 w 8"/>
                <a:gd name="T5" fmla="*/ 1 h 23"/>
                <a:gd name="T6" fmla="*/ 4 w 8"/>
                <a:gd name="T7" fmla="*/ 1 h 23"/>
                <a:gd name="T8" fmla="*/ 3 w 8"/>
                <a:gd name="T9" fmla="*/ 2 h 23"/>
                <a:gd name="T10" fmla="*/ 2 w 8"/>
                <a:gd name="T11" fmla="*/ 3 h 23"/>
                <a:gd name="T12" fmla="*/ 2 w 8"/>
                <a:gd name="T13" fmla="*/ 4 h 23"/>
                <a:gd name="T14" fmla="*/ 0 w 8"/>
                <a:gd name="T15" fmla="*/ 13 h 23"/>
                <a:gd name="T16" fmla="*/ 2 w 8"/>
                <a:gd name="T17" fmla="*/ 19 h 23"/>
                <a:gd name="T18" fmla="*/ 2 w 8"/>
                <a:gd name="T19" fmla="*/ 19 h 23"/>
                <a:gd name="T20" fmla="*/ 1 w 8"/>
                <a:gd name="T21" fmla="*/ 20 h 23"/>
                <a:gd name="T22" fmla="*/ 1 w 8"/>
                <a:gd name="T23" fmla="*/ 22 h 23"/>
                <a:gd name="T24" fmla="*/ 2 w 8"/>
                <a:gd name="T25" fmla="*/ 23 h 23"/>
                <a:gd name="T26" fmla="*/ 2 w 8"/>
                <a:gd name="T27" fmla="*/ 22 h 23"/>
                <a:gd name="T28" fmla="*/ 2 w 8"/>
                <a:gd name="T29" fmla="*/ 22 h 23"/>
                <a:gd name="T30" fmla="*/ 2 w 8"/>
                <a:gd name="T31" fmla="*/ 22 h 23"/>
                <a:gd name="T32" fmla="*/ 8 w 8"/>
                <a:gd name="T33" fmla="*/ 18 h 23"/>
                <a:gd name="T34" fmla="*/ 7 w 8"/>
                <a:gd name="T35" fmla="*/ 0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3">
                  <a:moveTo>
                    <a:pt x="7" y="0"/>
                  </a:moveTo>
                  <a:cubicBezTo>
                    <a:pt x="7" y="0"/>
                    <a:pt x="6" y="0"/>
                    <a:pt x="5" y="0"/>
                  </a:cubicBezTo>
                  <a:cubicBezTo>
                    <a:pt x="5" y="1"/>
                    <a:pt x="4" y="1"/>
                    <a:pt x="4" y="1"/>
                  </a:cubicBezTo>
                  <a:cubicBezTo>
                    <a:pt x="4" y="1"/>
                    <a:pt x="4" y="1"/>
                    <a:pt x="4" y="1"/>
                  </a:cubicBezTo>
                  <a:cubicBezTo>
                    <a:pt x="3" y="2"/>
                    <a:pt x="3" y="2"/>
                    <a:pt x="3" y="2"/>
                  </a:cubicBezTo>
                  <a:cubicBezTo>
                    <a:pt x="2" y="3"/>
                    <a:pt x="2" y="3"/>
                    <a:pt x="2" y="3"/>
                  </a:cubicBezTo>
                  <a:cubicBezTo>
                    <a:pt x="2" y="4"/>
                    <a:pt x="2" y="4"/>
                    <a:pt x="2" y="4"/>
                  </a:cubicBezTo>
                  <a:cubicBezTo>
                    <a:pt x="0" y="7"/>
                    <a:pt x="0" y="11"/>
                    <a:pt x="0" y="13"/>
                  </a:cubicBezTo>
                  <a:cubicBezTo>
                    <a:pt x="1" y="15"/>
                    <a:pt x="1" y="17"/>
                    <a:pt x="2" y="19"/>
                  </a:cubicBezTo>
                  <a:cubicBezTo>
                    <a:pt x="2" y="19"/>
                    <a:pt x="2" y="19"/>
                    <a:pt x="2" y="19"/>
                  </a:cubicBezTo>
                  <a:cubicBezTo>
                    <a:pt x="2" y="20"/>
                    <a:pt x="1" y="20"/>
                    <a:pt x="1" y="20"/>
                  </a:cubicBezTo>
                  <a:cubicBezTo>
                    <a:pt x="1" y="21"/>
                    <a:pt x="1" y="22"/>
                    <a:pt x="1" y="22"/>
                  </a:cubicBezTo>
                  <a:cubicBezTo>
                    <a:pt x="1" y="22"/>
                    <a:pt x="1" y="23"/>
                    <a:pt x="2" y="23"/>
                  </a:cubicBezTo>
                  <a:cubicBezTo>
                    <a:pt x="2" y="23"/>
                    <a:pt x="2" y="23"/>
                    <a:pt x="2" y="22"/>
                  </a:cubicBezTo>
                  <a:cubicBezTo>
                    <a:pt x="2" y="22"/>
                    <a:pt x="2" y="22"/>
                    <a:pt x="2" y="22"/>
                  </a:cubicBezTo>
                  <a:cubicBezTo>
                    <a:pt x="2" y="22"/>
                    <a:pt x="2" y="22"/>
                    <a:pt x="2" y="22"/>
                  </a:cubicBezTo>
                  <a:cubicBezTo>
                    <a:pt x="4" y="22"/>
                    <a:pt x="7" y="19"/>
                    <a:pt x="8" y="18"/>
                  </a:cubicBezTo>
                  <a:cubicBezTo>
                    <a:pt x="8" y="12"/>
                    <a:pt x="8" y="6"/>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1348"/>
            <p:cNvSpPr/>
            <p:nvPr/>
          </p:nvSpPr>
          <p:spPr bwMode="auto">
            <a:xfrm>
              <a:off x="3605" y="102"/>
              <a:ext cx="24" cy="24"/>
            </a:xfrm>
            <a:custGeom>
              <a:gdLst>
                <a:gd name="T0" fmla="*/ 10 w 10"/>
                <a:gd name="T1" fmla="*/ 0 h 10"/>
                <a:gd name="T2" fmla="*/ 6 w 10"/>
                <a:gd name="T3" fmla="*/ 1 h 10"/>
                <a:gd name="T4" fmla="*/ 1 w 10"/>
                <a:gd name="T5" fmla="*/ 4 h 10"/>
                <a:gd name="T6" fmla="*/ 1 w 10"/>
                <a:gd name="T7" fmla="*/ 4 h 10"/>
                <a:gd name="T8" fmla="*/ 2 w 10"/>
                <a:gd name="T9" fmla="*/ 10 h 10"/>
                <a:gd name="T10" fmla="*/ 2 w 10"/>
                <a:gd name="T11" fmla="*/ 10 h 10"/>
                <a:gd name="T12" fmla="*/ 10 w 10"/>
                <a:gd name="T13" fmla="*/ 0 h 10"/>
              </a:gdLst>
              <a:cxnLst>
                <a:cxn ang="0">
                  <a:pos x="T0" y="T1"/>
                </a:cxn>
                <a:cxn ang="0">
                  <a:pos x="T2" y="T3"/>
                </a:cxn>
                <a:cxn ang="0">
                  <a:pos x="T4" y="T5"/>
                </a:cxn>
                <a:cxn ang="0">
                  <a:pos x="T6" y="T7"/>
                </a:cxn>
                <a:cxn ang="0">
                  <a:pos x="T8" y="T9"/>
                </a:cxn>
                <a:cxn ang="0">
                  <a:pos x="T10" y="T11"/>
                </a:cxn>
                <a:cxn ang="0">
                  <a:pos x="T12" y="T13"/>
                </a:cxn>
              </a:cxnLst>
              <a:rect l="0" t="0" r="r" b="b"/>
              <a:pathLst>
                <a:path w="10" h="10">
                  <a:moveTo>
                    <a:pt x="10" y="0"/>
                  </a:moveTo>
                  <a:cubicBezTo>
                    <a:pt x="9" y="0"/>
                    <a:pt x="7" y="1"/>
                    <a:pt x="6" y="1"/>
                  </a:cubicBezTo>
                  <a:cubicBezTo>
                    <a:pt x="4" y="2"/>
                    <a:pt x="2" y="4"/>
                    <a:pt x="1" y="4"/>
                  </a:cubicBezTo>
                  <a:cubicBezTo>
                    <a:pt x="1" y="4"/>
                    <a:pt x="1" y="4"/>
                    <a:pt x="1" y="4"/>
                  </a:cubicBezTo>
                  <a:cubicBezTo>
                    <a:pt x="1" y="5"/>
                    <a:pt x="0" y="9"/>
                    <a:pt x="2" y="10"/>
                  </a:cubicBezTo>
                  <a:cubicBezTo>
                    <a:pt x="2" y="10"/>
                    <a:pt x="2" y="10"/>
                    <a:pt x="2" y="10"/>
                  </a:cubicBezTo>
                  <a:cubicBezTo>
                    <a:pt x="4" y="10"/>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349"/>
            <p:cNvSpPr/>
            <p:nvPr/>
          </p:nvSpPr>
          <p:spPr bwMode="auto">
            <a:xfrm>
              <a:off x="3156" y="383"/>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0"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1350"/>
            <p:cNvSpPr/>
            <p:nvPr/>
          </p:nvSpPr>
          <p:spPr bwMode="auto">
            <a:xfrm>
              <a:off x="4862" y="672"/>
              <a:ext cx="7" cy="7"/>
            </a:xfrm>
            <a:custGeom>
              <a:gdLst>
                <a:gd name="T0" fmla="*/ 3 w 3"/>
                <a:gd name="T1" fmla="*/ 0 h 3"/>
                <a:gd name="T2" fmla="*/ 0 w 3"/>
                <a:gd name="T3" fmla="*/ 1 h 3"/>
                <a:gd name="T4" fmla="*/ 2 w 3"/>
                <a:gd name="T5" fmla="*/ 3 h 3"/>
                <a:gd name="T6" fmla="*/ 3 w 3"/>
                <a:gd name="T7" fmla="*/ 0 h 3"/>
              </a:gdLst>
              <a:cxnLst>
                <a:cxn ang="0">
                  <a:pos x="T0" y="T1"/>
                </a:cxn>
                <a:cxn ang="0">
                  <a:pos x="T2" y="T3"/>
                </a:cxn>
                <a:cxn ang="0">
                  <a:pos x="T4" y="T5"/>
                </a:cxn>
                <a:cxn ang="0">
                  <a:pos x="T6" y="T7"/>
                </a:cxn>
              </a:cxnLst>
              <a:rect l="0" t="0" r="r" b="b"/>
              <a:pathLst>
                <a:path w="3" h="3">
                  <a:moveTo>
                    <a:pt x="3" y="0"/>
                  </a:moveTo>
                  <a:cubicBezTo>
                    <a:pt x="2" y="0"/>
                    <a:pt x="1" y="0"/>
                    <a:pt x="0" y="1"/>
                  </a:cubicBezTo>
                  <a:cubicBezTo>
                    <a:pt x="1" y="2"/>
                    <a:pt x="1" y="2"/>
                    <a:pt x="2" y="3"/>
                  </a:cubicBezTo>
                  <a:cubicBezTo>
                    <a:pt x="3"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1351"/>
            <p:cNvSpPr/>
            <p:nvPr/>
          </p:nvSpPr>
          <p:spPr bwMode="auto">
            <a:xfrm>
              <a:off x="4539" y="561"/>
              <a:ext cx="11" cy="11"/>
            </a:xfrm>
            <a:custGeom>
              <a:gdLst>
                <a:gd name="T0" fmla="*/ 0 w 5"/>
                <a:gd name="T1" fmla="*/ 0 h 5"/>
                <a:gd name="T2" fmla="*/ 1 w 5"/>
                <a:gd name="T3" fmla="*/ 5 h 5"/>
                <a:gd name="T4" fmla="*/ 3 w 5"/>
                <a:gd name="T5" fmla="*/ 3 h 5"/>
                <a:gd name="T6" fmla="*/ 0 w 5"/>
                <a:gd name="T7" fmla="*/ 0 h 5"/>
              </a:gdLst>
              <a:cxnLst>
                <a:cxn ang="0">
                  <a:pos x="T0" y="T1"/>
                </a:cxn>
                <a:cxn ang="0">
                  <a:pos x="T2" y="T3"/>
                </a:cxn>
                <a:cxn ang="0">
                  <a:pos x="T4" y="T5"/>
                </a:cxn>
                <a:cxn ang="0">
                  <a:pos x="T6" y="T7"/>
                </a:cxn>
              </a:cxnLst>
              <a:rect l="0" t="0" r="r" b="b"/>
              <a:pathLst>
                <a:path w="5" h="5">
                  <a:moveTo>
                    <a:pt x="0" y="0"/>
                  </a:moveTo>
                  <a:cubicBezTo>
                    <a:pt x="0" y="2"/>
                    <a:pt x="0" y="4"/>
                    <a:pt x="1" y="5"/>
                  </a:cubicBezTo>
                  <a:cubicBezTo>
                    <a:pt x="2" y="5"/>
                    <a:pt x="3" y="4"/>
                    <a:pt x="3" y="3"/>
                  </a:cubicBezTo>
                  <a:cubicBezTo>
                    <a:pt x="5"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1352"/>
            <p:cNvSpPr/>
            <p:nvPr/>
          </p:nvSpPr>
          <p:spPr bwMode="auto">
            <a:xfrm>
              <a:off x="5871" y="2324"/>
              <a:ext cx="3" cy="7"/>
            </a:xfrm>
            <a:custGeom>
              <a:gdLst>
                <a:gd name="T0" fmla="*/ 0 w 1"/>
                <a:gd name="T1" fmla="*/ 0 h 3"/>
                <a:gd name="T2" fmla="*/ 1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1"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1353"/>
            <p:cNvSpPr/>
            <p:nvPr/>
          </p:nvSpPr>
          <p:spPr bwMode="auto">
            <a:xfrm>
              <a:off x="5836" y="2239"/>
              <a:ext cx="109" cy="66"/>
            </a:xfrm>
            <a:custGeom>
              <a:gdLst>
                <a:gd name="T0" fmla="*/ 31 w 46"/>
                <a:gd name="T1" fmla="*/ 0 h 28"/>
                <a:gd name="T2" fmla="*/ 19 w 46"/>
                <a:gd name="T3" fmla="*/ 3 h 28"/>
                <a:gd name="T4" fmla="*/ 5 w 46"/>
                <a:gd name="T5" fmla="*/ 22 h 28"/>
                <a:gd name="T6" fmla="*/ 11 w 46"/>
                <a:gd name="T7" fmla="*/ 26 h 28"/>
                <a:gd name="T8" fmla="*/ 19 w 46"/>
                <a:gd name="T9" fmla="*/ 28 h 28"/>
                <a:gd name="T10" fmla="*/ 20 w 46"/>
                <a:gd name="T11" fmla="*/ 28 h 28"/>
                <a:gd name="T12" fmla="*/ 41 w 46"/>
                <a:gd name="T13" fmla="*/ 24 h 28"/>
                <a:gd name="T14" fmla="*/ 46 w 46"/>
                <a:gd name="T15" fmla="*/ 21 h 28"/>
                <a:gd name="T16" fmla="*/ 45 w 46"/>
                <a:gd name="T17" fmla="*/ 21 h 28"/>
                <a:gd name="T18" fmla="*/ 43 w 46"/>
                <a:gd name="T19" fmla="*/ 14 h 28"/>
                <a:gd name="T20" fmla="*/ 42 w 46"/>
                <a:gd name="T21" fmla="*/ 13 h 28"/>
                <a:gd name="T22" fmla="*/ 43 w 46"/>
                <a:gd name="T23" fmla="*/ 10 h 28"/>
                <a:gd name="T24" fmla="*/ 40 w 46"/>
                <a:gd name="T25" fmla="*/ 9 h 28"/>
                <a:gd name="T26" fmla="*/ 31 w 46"/>
                <a:gd name="T27"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8">
                  <a:moveTo>
                    <a:pt x="31" y="0"/>
                  </a:moveTo>
                  <a:cubicBezTo>
                    <a:pt x="30" y="3"/>
                    <a:pt x="21" y="2"/>
                    <a:pt x="19" y="3"/>
                  </a:cubicBezTo>
                  <a:cubicBezTo>
                    <a:pt x="13" y="6"/>
                    <a:pt x="0" y="14"/>
                    <a:pt x="5" y="22"/>
                  </a:cubicBezTo>
                  <a:cubicBezTo>
                    <a:pt x="6" y="24"/>
                    <a:pt x="8" y="25"/>
                    <a:pt x="11" y="26"/>
                  </a:cubicBezTo>
                  <a:cubicBezTo>
                    <a:pt x="13" y="26"/>
                    <a:pt x="17" y="28"/>
                    <a:pt x="19" y="28"/>
                  </a:cubicBezTo>
                  <a:cubicBezTo>
                    <a:pt x="20" y="28"/>
                    <a:pt x="20" y="28"/>
                    <a:pt x="20" y="28"/>
                  </a:cubicBezTo>
                  <a:cubicBezTo>
                    <a:pt x="27" y="28"/>
                    <a:pt x="34" y="25"/>
                    <a:pt x="41" y="24"/>
                  </a:cubicBezTo>
                  <a:cubicBezTo>
                    <a:pt x="43" y="23"/>
                    <a:pt x="46" y="24"/>
                    <a:pt x="46" y="21"/>
                  </a:cubicBezTo>
                  <a:cubicBezTo>
                    <a:pt x="46" y="21"/>
                    <a:pt x="46" y="21"/>
                    <a:pt x="45" y="21"/>
                  </a:cubicBezTo>
                  <a:cubicBezTo>
                    <a:pt x="43" y="21"/>
                    <a:pt x="43" y="16"/>
                    <a:pt x="43" y="14"/>
                  </a:cubicBezTo>
                  <a:cubicBezTo>
                    <a:pt x="43" y="14"/>
                    <a:pt x="42" y="13"/>
                    <a:pt x="42" y="13"/>
                  </a:cubicBezTo>
                  <a:cubicBezTo>
                    <a:pt x="42" y="12"/>
                    <a:pt x="43" y="11"/>
                    <a:pt x="43" y="10"/>
                  </a:cubicBezTo>
                  <a:cubicBezTo>
                    <a:pt x="43" y="9"/>
                    <a:pt x="41" y="9"/>
                    <a:pt x="40" y="9"/>
                  </a:cubicBezTo>
                  <a:cubicBezTo>
                    <a:pt x="37" y="6"/>
                    <a:pt x="34" y="3"/>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1354"/>
            <p:cNvSpPr/>
            <p:nvPr/>
          </p:nvSpPr>
          <p:spPr bwMode="auto">
            <a:xfrm>
              <a:off x="5947" y="2260"/>
              <a:ext cx="5" cy="9"/>
            </a:xfrm>
            <a:custGeom>
              <a:gdLst>
                <a:gd name="T0" fmla="*/ 2 w 2"/>
                <a:gd name="T1" fmla="*/ 0 h 4"/>
                <a:gd name="T2" fmla="*/ 1 w 2"/>
                <a:gd name="T3" fmla="*/ 4 h 4"/>
                <a:gd name="T4" fmla="*/ 2 w 2"/>
                <a:gd name="T5" fmla="*/ 0 h 4"/>
              </a:gdLst>
              <a:cxnLst>
                <a:cxn ang="0">
                  <a:pos x="T0" y="T1"/>
                </a:cxn>
                <a:cxn ang="0">
                  <a:pos x="T2" y="T3"/>
                </a:cxn>
                <a:cxn ang="0">
                  <a:pos x="T4" y="T5"/>
                </a:cxn>
              </a:cxnLst>
              <a:rect l="0" t="0" r="r" b="b"/>
              <a:pathLst>
                <a:path w="2" h="4">
                  <a:moveTo>
                    <a:pt x="2" y="0"/>
                  </a:moveTo>
                  <a:cubicBezTo>
                    <a:pt x="0" y="1"/>
                    <a:pt x="0" y="3"/>
                    <a:pt x="1" y="4"/>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1355"/>
            <p:cNvSpPr/>
            <p:nvPr/>
          </p:nvSpPr>
          <p:spPr bwMode="auto">
            <a:xfrm>
              <a:off x="5930" y="2158"/>
              <a:ext cx="104" cy="59"/>
            </a:xfrm>
            <a:custGeom>
              <a:gdLst>
                <a:gd name="T0" fmla="*/ 44 w 44"/>
                <a:gd name="T1" fmla="*/ 0 h 25"/>
                <a:gd name="T2" fmla="*/ 39 w 44"/>
                <a:gd name="T3" fmla="*/ 2 h 25"/>
                <a:gd name="T4" fmla="*/ 37 w 44"/>
                <a:gd name="T5" fmla="*/ 1 h 25"/>
                <a:gd name="T6" fmla="*/ 37 w 44"/>
                <a:gd name="T7" fmla="*/ 1 h 25"/>
                <a:gd name="T8" fmla="*/ 33 w 44"/>
                <a:gd name="T9" fmla="*/ 3 h 25"/>
                <a:gd name="T10" fmla="*/ 31 w 44"/>
                <a:gd name="T11" fmla="*/ 2 h 25"/>
                <a:gd name="T12" fmla="*/ 30 w 44"/>
                <a:gd name="T13" fmla="*/ 3 h 25"/>
                <a:gd name="T14" fmla="*/ 30 w 44"/>
                <a:gd name="T15" fmla="*/ 3 h 25"/>
                <a:gd name="T16" fmla="*/ 25 w 44"/>
                <a:gd name="T17" fmla="*/ 7 h 25"/>
                <a:gd name="T18" fmla="*/ 17 w 44"/>
                <a:gd name="T19" fmla="*/ 8 h 25"/>
                <a:gd name="T20" fmla="*/ 13 w 44"/>
                <a:gd name="T21" fmla="*/ 9 h 25"/>
                <a:gd name="T22" fmla="*/ 10 w 44"/>
                <a:gd name="T23" fmla="*/ 12 h 25"/>
                <a:gd name="T24" fmla="*/ 9 w 44"/>
                <a:gd name="T25" fmla="*/ 14 h 25"/>
                <a:gd name="T26" fmla="*/ 8 w 44"/>
                <a:gd name="T27" fmla="*/ 13 h 25"/>
                <a:gd name="T28" fmla="*/ 6 w 44"/>
                <a:gd name="T29" fmla="*/ 14 h 25"/>
                <a:gd name="T30" fmla="*/ 6 w 44"/>
                <a:gd name="T31" fmla="*/ 14 h 25"/>
                <a:gd name="T32" fmla="*/ 5 w 44"/>
                <a:gd name="T33" fmla="*/ 14 h 25"/>
                <a:gd name="T34" fmla="*/ 4 w 44"/>
                <a:gd name="T35" fmla="*/ 14 h 25"/>
                <a:gd name="T36" fmla="*/ 4 w 44"/>
                <a:gd name="T37" fmla="*/ 14 h 25"/>
                <a:gd name="T38" fmla="*/ 4 w 44"/>
                <a:gd name="T39" fmla="*/ 14 h 25"/>
                <a:gd name="T40" fmla="*/ 3 w 44"/>
                <a:gd name="T41" fmla="*/ 14 h 25"/>
                <a:gd name="T42" fmla="*/ 2 w 44"/>
                <a:gd name="T43" fmla="*/ 14 h 25"/>
                <a:gd name="T44" fmla="*/ 1 w 44"/>
                <a:gd name="T45" fmla="*/ 14 h 25"/>
                <a:gd name="T46" fmla="*/ 0 w 44"/>
                <a:gd name="T47" fmla="*/ 18 h 25"/>
                <a:gd name="T48" fmla="*/ 5 w 44"/>
                <a:gd name="T49" fmla="*/ 23 h 25"/>
                <a:gd name="T50" fmla="*/ 6 w 44"/>
                <a:gd name="T51" fmla="*/ 25 h 25"/>
                <a:gd name="T52" fmla="*/ 7 w 44"/>
                <a:gd name="T53" fmla="*/ 25 h 25"/>
                <a:gd name="T54" fmla="*/ 15 w 44"/>
                <a:gd name="T55" fmla="*/ 22 h 25"/>
                <a:gd name="T56" fmla="*/ 30 w 44"/>
                <a:gd name="T57" fmla="*/ 19 h 25"/>
                <a:gd name="T58" fmla="*/ 38 w 44"/>
                <a:gd name="T59" fmla="*/ 17 h 25"/>
                <a:gd name="T60" fmla="*/ 39 w 44"/>
                <a:gd name="T61" fmla="*/ 17 h 25"/>
                <a:gd name="T62" fmla="*/ 40 w 44"/>
                <a:gd name="T63" fmla="*/ 18 h 25"/>
                <a:gd name="T64" fmla="*/ 39 w 44"/>
                <a:gd name="T65" fmla="*/ 11 h 25"/>
                <a:gd name="T66" fmla="*/ 29 w 44"/>
                <a:gd name="T67" fmla="*/ 18 h 25"/>
                <a:gd name="T68" fmla="*/ 29 w 44"/>
                <a:gd name="T69" fmla="*/ 18 h 25"/>
                <a:gd name="T70" fmla="*/ 44 w 44"/>
                <a:gd name="T71"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25">
                  <a:moveTo>
                    <a:pt x="44" y="0"/>
                  </a:moveTo>
                  <a:cubicBezTo>
                    <a:pt x="43" y="0"/>
                    <a:pt x="40" y="2"/>
                    <a:pt x="39" y="2"/>
                  </a:cubicBezTo>
                  <a:cubicBezTo>
                    <a:pt x="37" y="1"/>
                    <a:pt x="37" y="1"/>
                    <a:pt x="37" y="1"/>
                  </a:cubicBezTo>
                  <a:cubicBezTo>
                    <a:pt x="37" y="1"/>
                    <a:pt x="37" y="1"/>
                    <a:pt x="37" y="1"/>
                  </a:cubicBezTo>
                  <a:cubicBezTo>
                    <a:pt x="35" y="1"/>
                    <a:pt x="33" y="2"/>
                    <a:pt x="33" y="3"/>
                  </a:cubicBezTo>
                  <a:cubicBezTo>
                    <a:pt x="32" y="2"/>
                    <a:pt x="32" y="2"/>
                    <a:pt x="31" y="2"/>
                  </a:cubicBezTo>
                  <a:cubicBezTo>
                    <a:pt x="30" y="3"/>
                    <a:pt x="30" y="3"/>
                    <a:pt x="30" y="3"/>
                  </a:cubicBezTo>
                  <a:cubicBezTo>
                    <a:pt x="30" y="3"/>
                    <a:pt x="30" y="3"/>
                    <a:pt x="30" y="3"/>
                  </a:cubicBezTo>
                  <a:cubicBezTo>
                    <a:pt x="28" y="3"/>
                    <a:pt x="26" y="6"/>
                    <a:pt x="25" y="7"/>
                  </a:cubicBezTo>
                  <a:cubicBezTo>
                    <a:pt x="23" y="7"/>
                    <a:pt x="20" y="7"/>
                    <a:pt x="17" y="8"/>
                  </a:cubicBezTo>
                  <a:cubicBezTo>
                    <a:pt x="16" y="8"/>
                    <a:pt x="13" y="9"/>
                    <a:pt x="13" y="9"/>
                  </a:cubicBezTo>
                  <a:cubicBezTo>
                    <a:pt x="12" y="9"/>
                    <a:pt x="12" y="11"/>
                    <a:pt x="10" y="12"/>
                  </a:cubicBezTo>
                  <a:cubicBezTo>
                    <a:pt x="10" y="12"/>
                    <a:pt x="10" y="12"/>
                    <a:pt x="9" y="14"/>
                  </a:cubicBezTo>
                  <a:cubicBezTo>
                    <a:pt x="8" y="13"/>
                    <a:pt x="8" y="13"/>
                    <a:pt x="8" y="13"/>
                  </a:cubicBezTo>
                  <a:cubicBezTo>
                    <a:pt x="8" y="13"/>
                    <a:pt x="8" y="14"/>
                    <a:pt x="6" y="14"/>
                  </a:cubicBezTo>
                  <a:cubicBezTo>
                    <a:pt x="6" y="14"/>
                    <a:pt x="6" y="14"/>
                    <a:pt x="6" y="14"/>
                  </a:cubicBezTo>
                  <a:cubicBezTo>
                    <a:pt x="6" y="14"/>
                    <a:pt x="6" y="14"/>
                    <a:pt x="5" y="14"/>
                  </a:cubicBezTo>
                  <a:cubicBezTo>
                    <a:pt x="5" y="14"/>
                    <a:pt x="5" y="14"/>
                    <a:pt x="4" y="14"/>
                  </a:cubicBezTo>
                  <a:cubicBezTo>
                    <a:pt x="4" y="14"/>
                    <a:pt x="4" y="14"/>
                    <a:pt x="4" y="14"/>
                  </a:cubicBezTo>
                  <a:cubicBezTo>
                    <a:pt x="4" y="14"/>
                    <a:pt x="4" y="14"/>
                    <a:pt x="4" y="14"/>
                  </a:cubicBezTo>
                  <a:cubicBezTo>
                    <a:pt x="3" y="14"/>
                    <a:pt x="3" y="14"/>
                    <a:pt x="3" y="14"/>
                  </a:cubicBezTo>
                  <a:cubicBezTo>
                    <a:pt x="3" y="14"/>
                    <a:pt x="2" y="14"/>
                    <a:pt x="2" y="14"/>
                  </a:cubicBezTo>
                  <a:cubicBezTo>
                    <a:pt x="2" y="14"/>
                    <a:pt x="2" y="14"/>
                    <a:pt x="1" y="14"/>
                  </a:cubicBezTo>
                  <a:cubicBezTo>
                    <a:pt x="1" y="14"/>
                    <a:pt x="1" y="17"/>
                    <a:pt x="0" y="18"/>
                  </a:cubicBezTo>
                  <a:cubicBezTo>
                    <a:pt x="4" y="19"/>
                    <a:pt x="3" y="20"/>
                    <a:pt x="5" y="23"/>
                  </a:cubicBezTo>
                  <a:cubicBezTo>
                    <a:pt x="6" y="24"/>
                    <a:pt x="5" y="24"/>
                    <a:pt x="6" y="25"/>
                  </a:cubicBezTo>
                  <a:cubicBezTo>
                    <a:pt x="7" y="25"/>
                    <a:pt x="7" y="25"/>
                    <a:pt x="7" y="25"/>
                  </a:cubicBezTo>
                  <a:cubicBezTo>
                    <a:pt x="9" y="25"/>
                    <a:pt x="14" y="23"/>
                    <a:pt x="15" y="22"/>
                  </a:cubicBezTo>
                  <a:cubicBezTo>
                    <a:pt x="20" y="21"/>
                    <a:pt x="25" y="20"/>
                    <a:pt x="30" y="19"/>
                  </a:cubicBezTo>
                  <a:cubicBezTo>
                    <a:pt x="32" y="18"/>
                    <a:pt x="35" y="17"/>
                    <a:pt x="38" y="17"/>
                  </a:cubicBezTo>
                  <a:cubicBezTo>
                    <a:pt x="38" y="17"/>
                    <a:pt x="39" y="17"/>
                    <a:pt x="39" y="17"/>
                  </a:cubicBezTo>
                  <a:cubicBezTo>
                    <a:pt x="40" y="18"/>
                    <a:pt x="40" y="17"/>
                    <a:pt x="40" y="18"/>
                  </a:cubicBezTo>
                  <a:cubicBezTo>
                    <a:pt x="40" y="16"/>
                    <a:pt x="40" y="13"/>
                    <a:pt x="39" y="11"/>
                  </a:cubicBezTo>
                  <a:cubicBezTo>
                    <a:pt x="36" y="13"/>
                    <a:pt x="32" y="18"/>
                    <a:pt x="29" y="18"/>
                  </a:cubicBezTo>
                  <a:cubicBezTo>
                    <a:pt x="29" y="18"/>
                    <a:pt x="29" y="18"/>
                    <a:pt x="29" y="18"/>
                  </a:cubicBezTo>
                  <a:cubicBezTo>
                    <a:pt x="28" y="11"/>
                    <a:pt x="42" y="6"/>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1356"/>
            <p:cNvSpPr/>
            <p:nvPr/>
          </p:nvSpPr>
          <p:spPr bwMode="auto">
            <a:xfrm>
              <a:off x="5841" y="2222"/>
              <a:ext cx="7" cy="7"/>
            </a:xfrm>
            <a:custGeom>
              <a:gdLst>
                <a:gd name="T0" fmla="*/ 3 w 3"/>
                <a:gd name="T1" fmla="*/ 0 h 3"/>
                <a:gd name="T2" fmla="*/ 0 w 3"/>
                <a:gd name="T3" fmla="*/ 3 h 3"/>
                <a:gd name="T4" fmla="*/ 3 w 3"/>
                <a:gd name="T5" fmla="*/ 0 h 3"/>
                <a:gd name="T6" fmla="*/ 3 w 3"/>
                <a:gd name="T7" fmla="*/ 0 h 3"/>
              </a:gdLst>
              <a:cxnLst>
                <a:cxn ang="0">
                  <a:pos x="T0" y="T1"/>
                </a:cxn>
                <a:cxn ang="0">
                  <a:pos x="T2" y="T3"/>
                </a:cxn>
                <a:cxn ang="0">
                  <a:pos x="T4" y="T5"/>
                </a:cxn>
                <a:cxn ang="0">
                  <a:pos x="T6" y="T7"/>
                </a:cxn>
              </a:cxnLst>
              <a:rect l="0" t="0" r="r" b="b"/>
              <a:pathLst>
                <a:path w="3" h="3">
                  <a:moveTo>
                    <a:pt x="3" y="0"/>
                  </a:moveTo>
                  <a:cubicBezTo>
                    <a:pt x="1" y="0"/>
                    <a:pt x="0" y="1"/>
                    <a:pt x="0" y="3"/>
                  </a:cubicBezTo>
                  <a:cubicBezTo>
                    <a:pt x="1" y="2"/>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1357"/>
            <p:cNvSpPr/>
            <p:nvPr/>
          </p:nvSpPr>
          <p:spPr bwMode="auto">
            <a:xfrm>
              <a:off x="5992" y="2234"/>
              <a:ext cx="5" cy="12"/>
            </a:xfrm>
            <a:custGeom>
              <a:gdLst>
                <a:gd name="T0" fmla="*/ 1 w 2"/>
                <a:gd name="T1" fmla="*/ 0 h 5"/>
                <a:gd name="T2" fmla="*/ 0 w 2"/>
                <a:gd name="T3" fmla="*/ 5 h 5"/>
                <a:gd name="T4" fmla="*/ 1 w 2"/>
                <a:gd name="T5" fmla="*/ 0 h 5"/>
              </a:gdLst>
              <a:cxnLst>
                <a:cxn ang="0">
                  <a:pos x="T0" y="T1"/>
                </a:cxn>
                <a:cxn ang="0">
                  <a:pos x="T2" y="T3"/>
                </a:cxn>
                <a:cxn ang="0">
                  <a:pos x="T4" y="T5"/>
                </a:cxn>
              </a:cxnLst>
              <a:rect l="0" t="0" r="r" b="b"/>
              <a:pathLst>
                <a:path w="2" h="5">
                  <a:moveTo>
                    <a:pt x="1" y="0"/>
                  </a:moveTo>
                  <a:cubicBezTo>
                    <a:pt x="1" y="2"/>
                    <a:pt x="0" y="3"/>
                    <a:pt x="0" y="5"/>
                  </a:cubicBezTo>
                  <a:cubicBezTo>
                    <a:pt x="1"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1358"/>
            <p:cNvSpPr/>
            <p:nvPr/>
          </p:nvSpPr>
          <p:spPr bwMode="auto">
            <a:xfrm>
              <a:off x="5982" y="2284"/>
              <a:ext cx="8" cy="11"/>
            </a:xfrm>
            <a:custGeom>
              <a:gdLst>
                <a:gd name="T0" fmla="*/ 1 w 3"/>
                <a:gd name="T1" fmla="*/ 0 h 5"/>
                <a:gd name="T2" fmla="*/ 2 w 3"/>
                <a:gd name="T3" fmla="*/ 5 h 5"/>
                <a:gd name="T4" fmla="*/ 1 w 3"/>
                <a:gd name="T5" fmla="*/ 0 h 5"/>
              </a:gdLst>
              <a:cxnLst>
                <a:cxn ang="0">
                  <a:pos x="T0" y="T1"/>
                </a:cxn>
                <a:cxn ang="0">
                  <a:pos x="T2" y="T3"/>
                </a:cxn>
                <a:cxn ang="0">
                  <a:pos x="T4" y="T5"/>
                </a:cxn>
              </a:cxnLst>
              <a:rect l="0" t="0" r="r" b="b"/>
              <a:pathLst>
                <a:path w="3" h="5">
                  <a:moveTo>
                    <a:pt x="1" y="0"/>
                  </a:moveTo>
                  <a:cubicBezTo>
                    <a:pt x="0" y="0"/>
                    <a:pt x="0" y="2"/>
                    <a:pt x="2" y="5"/>
                  </a:cubicBezTo>
                  <a:cubicBezTo>
                    <a:pt x="3" y="3"/>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1359"/>
            <p:cNvSpPr/>
            <p:nvPr/>
          </p:nvSpPr>
          <p:spPr bwMode="auto">
            <a:xfrm>
              <a:off x="5857" y="2199"/>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1360"/>
            <p:cNvSpPr/>
            <p:nvPr/>
          </p:nvSpPr>
          <p:spPr bwMode="auto">
            <a:xfrm>
              <a:off x="5893" y="2355"/>
              <a:ext cx="40" cy="16"/>
            </a:xfrm>
            <a:custGeom>
              <a:gdLst>
                <a:gd name="T0" fmla="*/ 12 w 17"/>
                <a:gd name="T1" fmla="*/ 0 h 7"/>
                <a:gd name="T2" fmla="*/ 0 w 17"/>
                <a:gd name="T3" fmla="*/ 5 h 7"/>
                <a:gd name="T4" fmla="*/ 4 w 17"/>
                <a:gd name="T5" fmla="*/ 7 h 7"/>
                <a:gd name="T6" fmla="*/ 5 w 17"/>
                <a:gd name="T7" fmla="*/ 7 h 7"/>
                <a:gd name="T8" fmla="*/ 9 w 17"/>
                <a:gd name="T9" fmla="*/ 3 h 7"/>
                <a:gd name="T10" fmla="*/ 10 w 17"/>
                <a:gd name="T11" fmla="*/ 2 h 7"/>
                <a:gd name="T12" fmla="*/ 12 w 17"/>
                <a:gd name="T13" fmla="*/ 3 h 7"/>
                <a:gd name="T14" fmla="*/ 13 w 17"/>
                <a:gd name="T15" fmla="*/ 3 h 7"/>
                <a:gd name="T16" fmla="*/ 14 w 17"/>
                <a:gd name="T17" fmla="*/ 3 h 7"/>
                <a:gd name="T18" fmla="*/ 12 w 17"/>
                <a:gd name="T19" fmla="*/ 0 h 7"/>
                <a:gd name="T20" fmla="*/ 12 w 17"/>
                <a:gd name="T21"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7">
                  <a:moveTo>
                    <a:pt x="12" y="0"/>
                  </a:moveTo>
                  <a:cubicBezTo>
                    <a:pt x="8" y="0"/>
                    <a:pt x="4" y="4"/>
                    <a:pt x="0" y="5"/>
                  </a:cubicBezTo>
                  <a:cubicBezTo>
                    <a:pt x="2" y="6"/>
                    <a:pt x="3" y="6"/>
                    <a:pt x="4" y="7"/>
                  </a:cubicBezTo>
                  <a:cubicBezTo>
                    <a:pt x="4" y="7"/>
                    <a:pt x="5" y="7"/>
                    <a:pt x="5" y="7"/>
                  </a:cubicBezTo>
                  <a:cubicBezTo>
                    <a:pt x="8" y="7"/>
                    <a:pt x="6" y="3"/>
                    <a:pt x="9" y="3"/>
                  </a:cubicBezTo>
                  <a:cubicBezTo>
                    <a:pt x="9" y="2"/>
                    <a:pt x="10" y="2"/>
                    <a:pt x="10" y="2"/>
                  </a:cubicBezTo>
                  <a:cubicBezTo>
                    <a:pt x="11" y="2"/>
                    <a:pt x="11" y="3"/>
                    <a:pt x="12" y="3"/>
                  </a:cubicBezTo>
                  <a:cubicBezTo>
                    <a:pt x="12" y="3"/>
                    <a:pt x="13" y="3"/>
                    <a:pt x="13" y="3"/>
                  </a:cubicBezTo>
                  <a:cubicBezTo>
                    <a:pt x="13" y="3"/>
                    <a:pt x="14" y="3"/>
                    <a:pt x="14" y="3"/>
                  </a:cubicBezTo>
                  <a:cubicBezTo>
                    <a:pt x="17" y="3"/>
                    <a:pt x="16"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1361"/>
            <p:cNvSpPr/>
            <p:nvPr/>
          </p:nvSpPr>
          <p:spPr bwMode="auto">
            <a:xfrm>
              <a:off x="3645" y="59"/>
              <a:ext cx="7" cy="5"/>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1"/>
                    <a:pt x="1" y="2"/>
                    <a:pt x="0" y="2"/>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1362"/>
            <p:cNvSpPr/>
            <p:nvPr/>
          </p:nvSpPr>
          <p:spPr bwMode="auto">
            <a:xfrm flipH="1">
              <a:off x="3676" y="0"/>
              <a:ext cx="0" cy="10"/>
            </a:xfrm>
            <a:custGeom>
              <a:gdLst>
                <a:gd name="T0" fmla="*/ 0 h 4"/>
                <a:gd name="T1" fmla="*/ 0 h 4"/>
                <a:gd name="T2" fmla="*/ 4 h 4"/>
                <a:gd name="T3" fmla="*/ 0 h 4"/>
              </a:gdLst>
              <a:cxnLst>
                <a:cxn ang="0">
                  <a:pos x="0" y="T0"/>
                </a:cxn>
                <a:cxn ang="0">
                  <a:pos x="0" y="T1"/>
                </a:cxn>
                <a:cxn ang="0">
                  <a:pos x="0" y="T2"/>
                </a:cxn>
                <a:cxn ang="0">
                  <a:pos x="0" y="T3"/>
                </a:cxn>
              </a:cxnLst>
              <a:rect l="0" t="0" r="r" b="b"/>
              <a:pathLst>
                <a:path h="4">
                  <a:moveTo>
                    <a:pt x="0" y="0"/>
                  </a:moveTo>
                  <a:cubicBezTo>
                    <a:pt x="0" y="0"/>
                    <a:pt x="0" y="0"/>
                    <a:pt x="0" y="0"/>
                  </a:cubicBezTo>
                  <a:cubicBezTo>
                    <a:pt x="0" y="1"/>
                    <a:pt x="0" y="2"/>
                    <a:pt x="0" y="4"/>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1363"/>
            <p:cNvSpPr/>
            <p:nvPr/>
          </p:nvSpPr>
          <p:spPr bwMode="auto">
            <a:xfrm>
              <a:off x="748" y="253"/>
              <a:ext cx="5" cy="12"/>
            </a:xfrm>
            <a:custGeom>
              <a:gdLst>
                <a:gd name="T0" fmla="*/ 2 w 2"/>
                <a:gd name="T1" fmla="*/ 0 h 5"/>
                <a:gd name="T2" fmla="*/ 2 w 2"/>
                <a:gd name="T3" fmla="*/ 5 h 5"/>
                <a:gd name="T4" fmla="*/ 2 w 2"/>
                <a:gd name="T5" fmla="*/ 0 h 5"/>
              </a:gdLst>
              <a:cxnLst>
                <a:cxn ang="0">
                  <a:pos x="T0" y="T1"/>
                </a:cxn>
                <a:cxn ang="0">
                  <a:pos x="T2" y="T3"/>
                </a:cxn>
                <a:cxn ang="0">
                  <a:pos x="T4" y="T5"/>
                </a:cxn>
              </a:cxnLst>
              <a:rect l="0" t="0" r="r" b="b"/>
              <a:pathLst>
                <a:path w="2" h="5">
                  <a:moveTo>
                    <a:pt x="2" y="0"/>
                  </a:moveTo>
                  <a:cubicBezTo>
                    <a:pt x="1" y="2"/>
                    <a:pt x="0" y="4"/>
                    <a:pt x="2" y="5"/>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1364"/>
            <p:cNvSpPr/>
            <p:nvPr/>
          </p:nvSpPr>
          <p:spPr bwMode="auto">
            <a:xfrm>
              <a:off x="4553" y="1558"/>
              <a:ext cx="101" cy="69"/>
            </a:xfrm>
            <a:custGeom>
              <a:gdLst>
                <a:gd name="T0" fmla="*/ 2 w 43"/>
                <a:gd name="T1" fmla="*/ 0 h 29"/>
                <a:gd name="T2" fmla="*/ 1 w 43"/>
                <a:gd name="T3" fmla="*/ 0 h 29"/>
                <a:gd name="T4" fmla="*/ 2 w 43"/>
                <a:gd name="T5" fmla="*/ 1 h 29"/>
                <a:gd name="T6" fmla="*/ 5 w 43"/>
                <a:gd name="T7" fmla="*/ 3 h 29"/>
                <a:gd name="T8" fmla="*/ 5 w 43"/>
                <a:gd name="T9" fmla="*/ 7 h 29"/>
                <a:gd name="T10" fmla="*/ 8 w 43"/>
                <a:gd name="T11" fmla="*/ 8 h 29"/>
                <a:gd name="T12" fmla="*/ 20 w 43"/>
                <a:gd name="T13" fmla="*/ 17 h 29"/>
                <a:gd name="T14" fmla="*/ 34 w 43"/>
                <a:gd name="T15" fmla="*/ 25 h 29"/>
                <a:gd name="T16" fmla="*/ 35 w 43"/>
                <a:gd name="T17" fmla="*/ 25 h 29"/>
                <a:gd name="T18" fmla="*/ 43 w 43"/>
                <a:gd name="T19" fmla="*/ 29 h 29"/>
                <a:gd name="T20" fmla="*/ 41 w 43"/>
                <a:gd name="T21" fmla="*/ 27 h 29"/>
                <a:gd name="T22" fmla="*/ 40 w 43"/>
                <a:gd name="T23" fmla="*/ 26 h 29"/>
                <a:gd name="T24" fmla="*/ 41 w 43"/>
                <a:gd name="T25" fmla="*/ 24 h 29"/>
                <a:gd name="T26" fmla="*/ 39 w 43"/>
                <a:gd name="T27" fmla="*/ 21 h 29"/>
                <a:gd name="T28" fmla="*/ 32 w 43"/>
                <a:gd name="T29" fmla="*/ 16 h 29"/>
                <a:gd name="T30" fmla="*/ 22 w 43"/>
                <a:gd name="T31" fmla="*/ 11 h 29"/>
                <a:gd name="T32" fmla="*/ 22 w 43"/>
                <a:gd name="T33" fmla="*/ 11 h 29"/>
                <a:gd name="T34" fmla="*/ 21 w 43"/>
                <a:gd name="T35" fmla="*/ 11 h 29"/>
                <a:gd name="T36" fmla="*/ 21 w 43"/>
                <a:gd name="T37" fmla="*/ 11 h 29"/>
                <a:gd name="T38" fmla="*/ 20 w 43"/>
                <a:gd name="T39" fmla="*/ 11 h 29"/>
                <a:gd name="T40" fmla="*/ 15 w 43"/>
                <a:gd name="T41" fmla="*/ 6 h 29"/>
                <a:gd name="T42" fmla="*/ 7 w 43"/>
                <a:gd name="T43" fmla="*/ 1 h 29"/>
                <a:gd name="T44" fmla="*/ 2 w 43"/>
                <a:gd name="T45"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28">
                  <a:moveTo>
                    <a:pt x="2" y="0"/>
                  </a:moveTo>
                  <a:cubicBezTo>
                    <a:pt x="1" y="0"/>
                    <a:pt x="1" y="0"/>
                    <a:pt x="1" y="0"/>
                  </a:cubicBezTo>
                  <a:cubicBezTo>
                    <a:pt x="0" y="1"/>
                    <a:pt x="2" y="1"/>
                    <a:pt x="2" y="1"/>
                  </a:cubicBezTo>
                  <a:cubicBezTo>
                    <a:pt x="2" y="2"/>
                    <a:pt x="4" y="3"/>
                    <a:pt x="5" y="3"/>
                  </a:cubicBezTo>
                  <a:cubicBezTo>
                    <a:pt x="5" y="5"/>
                    <a:pt x="4" y="5"/>
                    <a:pt x="5" y="7"/>
                  </a:cubicBezTo>
                  <a:cubicBezTo>
                    <a:pt x="6" y="8"/>
                    <a:pt x="7" y="8"/>
                    <a:pt x="8" y="8"/>
                  </a:cubicBezTo>
                  <a:cubicBezTo>
                    <a:pt x="12" y="11"/>
                    <a:pt x="15" y="14"/>
                    <a:pt x="20" y="17"/>
                  </a:cubicBezTo>
                  <a:cubicBezTo>
                    <a:pt x="25" y="20"/>
                    <a:pt x="29" y="22"/>
                    <a:pt x="34" y="25"/>
                  </a:cubicBezTo>
                  <a:cubicBezTo>
                    <a:pt x="34" y="25"/>
                    <a:pt x="35" y="25"/>
                    <a:pt x="35" y="25"/>
                  </a:cubicBezTo>
                  <a:cubicBezTo>
                    <a:pt x="38" y="27"/>
                    <a:pt x="40" y="28"/>
                    <a:pt x="43" y="29"/>
                  </a:cubicBezTo>
                  <a:cubicBezTo>
                    <a:pt x="42" y="28"/>
                    <a:pt x="42" y="28"/>
                    <a:pt x="41" y="27"/>
                  </a:cubicBezTo>
                  <a:cubicBezTo>
                    <a:pt x="41" y="26"/>
                    <a:pt x="40" y="26"/>
                    <a:pt x="40" y="26"/>
                  </a:cubicBezTo>
                  <a:cubicBezTo>
                    <a:pt x="39" y="25"/>
                    <a:pt x="41" y="24"/>
                    <a:pt x="41" y="24"/>
                  </a:cubicBezTo>
                  <a:cubicBezTo>
                    <a:pt x="41" y="23"/>
                    <a:pt x="41" y="23"/>
                    <a:pt x="39" y="21"/>
                  </a:cubicBezTo>
                  <a:cubicBezTo>
                    <a:pt x="38" y="19"/>
                    <a:pt x="34" y="18"/>
                    <a:pt x="32" y="16"/>
                  </a:cubicBezTo>
                  <a:cubicBezTo>
                    <a:pt x="28" y="13"/>
                    <a:pt x="26" y="12"/>
                    <a:pt x="22" y="11"/>
                  </a:cubicBezTo>
                  <a:cubicBezTo>
                    <a:pt x="22" y="11"/>
                    <a:pt x="22" y="11"/>
                    <a:pt x="22" y="11"/>
                  </a:cubicBezTo>
                  <a:cubicBezTo>
                    <a:pt x="22" y="11"/>
                    <a:pt x="21" y="11"/>
                    <a:pt x="21" y="11"/>
                  </a:cubicBezTo>
                  <a:cubicBezTo>
                    <a:pt x="21" y="11"/>
                    <a:pt x="21" y="11"/>
                    <a:pt x="21" y="11"/>
                  </a:cubicBezTo>
                  <a:cubicBezTo>
                    <a:pt x="20" y="11"/>
                    <a:pt x="20" y="11"/>
                    <a:pt x="20" y="11"/>
                  </a:cubicBezTo>
                  <a:cubicBezTo>
                    <a:pt x="18" y="10"/>
                    <a:pt x="16" y="7"/>
                    <a:pt x="15" y="6"/>
                  </a:cubicBezTo>
                  <a:cubicBezTo>
                    <a:pt x="12" y="4"/>
                    <a:pt x="10" y="2"/>
                    <a:pt x="7" y="1"/>
                  </a:cubicBezTo>
                  <a:cubicBezTo>
                    <a:pt x="6"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1365"/>
            <p:cNvSpPr/>
            <p:nvPr/>
          </p:nvSpPr>
          <p:spPr bwMode="auto">
            <a:xfrm>
              <a:off x="4470" y="1589"/>
              <a:ext cx="47" cy="40"/>
            </a:xfrm>
            <a:custGeom>
              <a:gdLst>
                <a:gd name="T0" fmla="*/ 9 w 20"/>
                <a:gd name="T1" fmla="*/ 0 h 17"/>
                <a:gd name="T2" fmla="*/ 1 w 20"/>
                <a:gd name="T3" fmla="*/ 6 h 17"/>
                <a:gd name="T4" fmla="*/ 1 w 20"/>
                <a:gd name="T5" fmla="*/ 10 h 17"/>
                <a:gd name="T6" fmla="*/ 2 w 20"/>
                <a:gd name="T7" fmla="*/ 10 h 17"/>
                <a:gd name="T8" fmla="*/ 4 w 20"/>
                <a:gd name="T9" fmla="*/ 9 h 17"/>
                <a:gd name="T10" fmla="*/ 8 w 20"/>
                <a:gd name="T11" fmla="*/ 8 h 17"/>
                <a:gd name="T12" fmla="*/ 8 w 20"/>
                <a:gd name="T13" fmla="*/ 8 h 17"/>
                <a:gd name="T14" fmla="*/ 10 w 20"/>
                <a:gd name="T15" fmla="*/ 10 h 17"/>
                <a:gd name="T16" fmla="*/ 17 w 20"/>
                <a:gd name="T17" fmla="*/ 17 h 17"/>
                <a:gd name="T18" fmla="*/ 16 w 20"/>
                <a:gd name="T19" fmla="*/ 7 h 17"/>
                <a:gd name="T20" fmla="*/ 11 w 20"/>
                <a:gd name="T21" fmla="*/ 1 h 17"/>
                <a:gd name="T22" fmla="*/ 9 w 20"/>
                <a:gd name="T23" fmla="*/ 0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7">
                  <a:moveTo>
                    <a:pt x="9" y="0"/>
                  </a:moveTo>
                  <a:cubicBezTo>
                    <a:pt x="6" y="0"/>
                    <a:pt x="3" y="3"/>
                    <a:pt x="1" y="6"/>
                  </a:cubicBezTo>
                  <a:cubicBezTo>
                    <a:pt x="0" y="7"/>
                    <a:pt x="0" y="9"/>
                    <a:pt x="1" y="10"/>
                  </a:cubicBezTo>
                  <a:cubicBezTo>
                    <a:pt x="1" y="10"/>
                    <a:pt x="2" y="10"/>
                    <a:pt x="2" y="10"/>
                  </a:cubicBezTo>
                  <a:cubicBezTo>
                    <a:pt x="3" y="10"/>
                    <a:pt x="4" y="9"/>
                    <a:pt x="4" y="9"/>
                  </a:cubicBezTo>
                  <a:cubicBezTo>
                    <a:pt x="5" y="8"/>
                    <a:pt x="7" y="8"/>
                    <a:pt x="8" y="8"/>
                  </a:cubicBezTo>
                  <a:cubicBezTo>
                    <a:pt x="8" y="8"/>
                    <a:pt x="8" y="8"/>
                    <a:pt x="8" y="8"/>
                  </a:cubicBezTo>
                  <a:cubicBezTo>
                    <a:pt x="11" y="8"/>
                    <a:pt x="9" y="8"/>
                    <a:pt x="10" y="10"/>
                  </a:cubicBezTo>
                  <a:cubicBezTo>
                    <a:pt x="12" y="15"/>
                    <a:pt x="12" y="14"/>
                    <a:pt x="17" y="17"/>
                  </a:cubicBezTo>
                  <a:cubicBezTo>
                    <a:pt x="20" y="13"/>
                    <a:pt x="19" y="11"/>
                    <a:pt x="16" y="7"/>
                  </a:cubicBezTo>
                  <a:cubicBezTo>
                    <a:pt x="15" y="6"/>
                    <a:pt x="13" y="2"/>
                    <a:pt x="11" y="1"/>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1366"/>
            <p:cNvSpPr/>
            <p:nvPr/>
          </p:nvSpPr>
          <p:spPr bwMode="auto">
            <a:xfrm>
              <a:off x="4747" y="1742"/>
              <a:ext cx="78" cy="45"/>
            </a:xfrm>
            <a:custGeom>
              <a:gdLst>
                <a:gd name="T0" fmla="*/ 4 w 33"/>
                <a:gd name="T1" fmla="*/ 0 h 19"/>
                <a:gd name="T2" fmla="*/ 4 w 33"/>
                <a:gd name="T3" fmla="*/ 0 h 19"/>
                <a:gd name="T4" fmla="*/ 3 w 33"/>
                <a:gd name="T5" fmla="*/ 4 h 19"/>
                <a:gd name="T6" fmla="*/ 3 w 33"/>
                <a:gd name="T7" fmla="*/ 4 h 19"/>
                <a:gd name="T8" fmla="*/ 4 w 33"/>
                <a:gd name="T9" fmla="*/ 4 h 19"/>
                <a:gd name="T10" fmla="*/ 5 w 33"/>
                <a:gd name="T11" fmla="*/ 4 h 19"/>
                <a:gd name="T12" fmla="*/ 7 w 33"/>
                <a:gd name="T13" fmla="*/ 4 h 19"/>
                <a:gd name="T14" fmla="*/ 9 w 33"/>
                <a:gd name="T15" fmla="*/ 11 h 19"/>
                <a:gd name="T16" fmla="*/ 12 w 33"/>
                <a:gd name="T17" fmla="*/ 12 h 19"/>
                <a:gd name="T18" fmla="*/ 18 w 33"/>
                <a:gd name="T19" fmla="*/ 16 h 19"/>
                <a:gd name="T20" fmla="*/ 24 w 33"/>
                <a:gd name="T21" fmla="*/ 18 h 19"/>
                <a:gd name="T22" fmla="*/ 32 w 33"/>
                <a:gd name="T23" fmla="*/ 19 h 19"/>
                <a:gd name="T24" fmla="*/ 33 w 33"/>
                <a:gd name="T25" fmla="*/ 19 h 19"/>
                <a:gd name="T26" fmla="*/ 25 w 33"/>
                <a:gd name="T27" fmla="*/ 8 h 19"/>
                <a:gd name="T28" fmla="*/ 25 w 33"/>
                <a:gd name="T29" fmla="*/ 7 h 19"/>
                <a:gd name="T30" fmla="*/ 24 w 33"/>
                <a:gd name="T31" fmla="*/ 7 h 19"/>
                <a:gd name="T32" fmla="*/ 23 w 33"/>
                <a:gd name="T33" fmla="*/ 8 h 19"/>
                <a:gd name="T34" fmla="*/ 23 w 33"/>
                <a:gd name="T35" fmla="*/ 8 h 19"/>
                <a:gd name="T36" fmla="*/ 11 w 33"/>
                <a:gd name="T37" fmla="*/ 3 h 19"/>
                <a:gd name="T38" fmla="*/ 4 w 33"/>
                <a:gd name="T39" fmla="*/ 0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19">
                  <a:moveTo>
                    <a:pt x="4" y="0"/>
                  </a:moveTo>
                  <a:cubicBezTo>
                    <a:pt x="4" y="0"/>
                    <a:pt x="4" y="0"/>
                    <a:pt x="4" y="0"/>
                  </a:cubicBezTo>
                  <a:cubicBezTo>
                    <a:pt x="1" y="0"/>
                    <a:pt x="0" y="2"/>
                    <a:pt x="3" y="4"/>
                  </a:cubicBezTo>
                  <a:cubicBezTo>
                    <a:pt x="3" y="4"/>
                    <a:pt x="3" y="4"/>
                    <a:pt x="3" y="4"/>
                  </a:cubicBezTo>
                  <a:cubicBezTo>
                    <a:pt x="3" y="4"/>
                    <a:pt x="4" y="4"/>
                    <a:pt x="4" y="4"/>
                  </a:cubicBezTo>
                  <a:cubicBezTo>
                    <a:pt x="5" y="4"/>
                    <a:pt x="5" y="4"/>
                    <a:pt x="5" y="4"/>
                  </a:cubicBezTo>
                  <a:cubicBezTo>
                    <a:pt x="6" y="4"/>
                    <a:pt x="6" y="4"/>
                    <a:pt x="7" y="4"/>
                  </a:cubicBezTo>
                  <a:cubicBezTo>
                    <a:pt x="8" y="5"/>
                    <a:pt x="8" y="9"/>
                    <a:pt x="9" y="11"/>
                  </a:cubicBezTo>
                  <a:cubicBezTo>
                    <a:pt x="10" y="11"/>
                    <a:pt x="12" y="12"/>
                    <a:pt x="12" y="12"/>
                  </a:cubicBezTo>
                  <a:cubicBezTo>
                    <a:pt x="14" y="14"/>
                    <a:pt x="16" y="15"/>
                    <a:pt x="18" y="16"/>
                  </a:cubicBezTo>
                  <a:cubicBezTo>
                    <a:pt x="20" y="16"/>
                    <a:pt x="22" y="17"/>
                    <a:pt x="24" y="18"/>
                  </a:cubicBezTo>
                  <a:cubicBezTo>
                    <a:pt x="26" y="18"/>
                    <a:pt x="29" y="19"/>
                    <a:pt x="32" y="19"/>
                  </a:cubicBezTo>
                  <a:cubicBezTo>
                    <a:pt x="32" y="19"/>
                    <a:pt x="33" y="19"/>
                    <a:pt x="33" y="19"/>
                  </a:cubicBezTo>
                  <a:cubicBezTo>
                    <a:pt x="32" y="15"/>
                    <a:pt x="28" y="11"/>
                    <a:pt x="25" y="8"/>
                  </a:cubicBezTo>
                  <a:cubicBezTo>
                    <a:pt x="25" y="7"/>
                    <a:pt x="25" y="7"/>
                    <a:pt x="25" y="7"/>
                  </a:cubicBezTo>
                  <a:cubicBezTo>
                    <a:pt x="24" y="7"/>
                    <a:pt x="24" y="7"/>
                    <a:pt x="24" y="7"/>
                  </a:cubicBezTo>
                  <a:cubicBezTo>
                    <a:pt x="24" y="8"/>
                    <a:pt x="24" y="8"/>
                    <a:pt x="23" y="8"/>
                  </a:cubicBezTo>
                  <a:cubicBezTo>
                    <a:pt x="23" y="8"/>
                    <a:pt x="23" y="8"/>
                    <a:pt x="23" y="8"/>
                  </a:cubicBezTo>
                  <a:cubicBezTo>
                    <a:pt x="19" y="7"/>
                    <a:pt x="15" y="4"/>
                    <a:pt x="11" y="3"/>
                  </a:cubicBezTo>
                  <a:cubicBezTo>
                    <a:pt x="9" y="2"/>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1367"/>
            <p:cNvSpPr/>
            <p:nvPr/>
          </p:nvSpPr>
          <p:spPr bwMode="auto">
            <a:xfrm>
              <a:off x="4463" y="1601"/>
              <a:ext cx="7" cy="9"/>
            </a:xfrm>
            <a:custGeom>
              <a:gdLst>
                <a:gd name="T0" fmla="*/ 1 w 3"/>
                <a:gd name="T1" fmla="*/ 0 h 4"/>
                <a:gd name="T2" fmla="*/ 0 w 3"/>
                <a:gd name="T3" fmla="*/ 0 h 4"/>
                <a:gd name="T4" fmla="*/ 3 w 3"/>
                <a:gd name="T5" fmla="*/ 4 h 4"/>
                <a:gd name="T6" fmla="*/ 1 w 3"/>
                <a:gd name="T7" fmla="*/ 0 h 4"/>
              </a:gdLst>
              <a:cxnLst>
                <a:cxn ang="0">
                  <a:pos x="T0" y="T1"/>
                </a:cxn>
                <a:cxn ang="0">
                  <a:pos x="T2" y="T3"/>
                </a:cxn>
                <a:cxn ang="0">
                  <a:pos x="T4" y="T5"/>
                </a:cxn>
                <a:cxn ang="0">
                  <a:pos x="T6" y="T7"/>
                </a:cxn>
              </a:cxnLst>
              <a:rect l="0" t="0" r="r" b="b"/>
              <a:pathLst>
                <a:path w="3" h="4">
                  <a:moveTo>
                    <a:pt x="1" y="0"/>
                  </a:moveTo>
                  <a:cubicBezTo>
                    <a:pt x="0" y="0"/>
                    <a:pt x="0" y="0"/>
                    <a:pt x="0" y="0"/>
                  </a:cubicBezTo>
                  <a:cubicBezTo>
                    <a:pt x="1" y="1"/>
                    <a:pt x="2" y="3"/>
                    <a:pt x="3" y="4"/>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1368"/>
            <p:cNvSpPr/>
            <p:nvPr/>
          </p:nvSpPr>
          <p:spPr bwMode="auto">
            <a:xfrm>
              <a:off x="4699" y="1610"/>
              <a:ext cx="57" cy="92"/>
            </a:xfrm>
            <a:custGeom>
              <a:gdLst>
                <a:gd name="T0" fmla="*/ 5 w 24"/>
                <a:gd name="T1" fmla="*/ 0 h 39"/>
                <a:gd name="T2" fmla="*/ 5 w 24"/>
                <a:gd name="T3" fmla="*/ 2 h 39"/>
                <a:gd name="T4" fmla="*/ 2 w 24"/>
                <a:gd name="T5" fmla="*/ 1 h 39"/>
                <a:gd name="T6" fmla="*/ 3 w 24"/>
                <a:gd name="T7" fmla="*/ 5 h 39"/>
                <a:gd name="T8" fmla="*/ 3 w 24"/>
                <a:gd name="T9" fmla="*/ 10 h 39"/>
                <a:gd name="T10" fmla="*/ 9 w 24"/>
                <a:gd name="T11" fmla="*/ 25 h 39"/>
                <a:gd name="T12" fmla="*/ 24 w 24"/>
                <a:gd name="T13" fmla="*/ 39 h 39"/>
                <a:gd name="T14" fmla="*/ 24 w 24"/>
                <a:gd name="T15" fmla="*/ 35 h 39"/>
                <a:gd name="T16" fmla="*/ 22 w 24"/>
                <a:gd name="T17" fmla="*/ 32 h 39"/>
                <a:gd name="T18" fmla="*/ 21 w 24"/>
                <a:gd name="T19" fmla="*/ 28 h 39"/>
                <a:gd name="T20" fmla="*/ 18 w 24"/>
                <a:gd name="T21" fmla="*/ 21 h 39"/>
                <a:gd name="T22" fmla="*/ 15 w 24"/>
                <a:gd name="T23" fmla="*/ 18 h 39"/>
                <a:gd name="T24" fmla="*/ 10 w 24"/>
                <a:gd name="T25" fmla="*/ 7 h 39"/>
                <a:gd name="T26" fmla="*/ 5 w 24"/>
                <a:gd name="T27" fmla="*/ 0 h 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9">
                  <a:moveTo>
                    <a:pt x="5" y="0"/>
                  </a:moveTo>
                  <a:cubicBezTo>
                    <a:pt x="5" y="1"/>
                    <a:pt x="5" y="1"/>
                    <a:pt x="5" y="2"/>
                  </a:cubicBezTo>
                  <a:cubicBezTo>
                    <a:pt x="3" y="1"/>
                    <a:pt x="2" y="1"/>
                    <a:pt x="2" y="1"/>
                  </a:cubicBezTo>
                  <a:cubicBezTo>
                    <a:pt x="0" y="1"/>
                    <a:pt x="2" y="3"/>
                    <a:pt x="3" y="5"/>
                  </a:cubicBezTo>
                  <a:cubicBezTo>
                    <a:pt x="5" y="8"/>
                    <a:pt x="4" y="8"/>
                    <a:pt x="3" y="10"/>
                  </a:cubicBezTo>
                  <a:cubicBezTo>
                    <a:pt x="3" y="14"/>
                    <a:pt x="7" y="22"/>
                    <a:pt x="9" y="25"/>
                  </a:cubicBezTo>
                  <a:cubicBezTo>
                    <a:pt x="14" y="30"/>
                    <a:pt x="19" y="35"/>
                    <a:pt x="24" y="39"/>
                  </a:cubicBezTo>
                  <a:cubicBezTo>
                    <a:pt x="24" y="38"/>
                    <a:pt x="24" y="36"/>
                    <a:pt x="24" y="35"/>
                  </a:cubicBezTo>
                  <a:cubicBezTo>
                    <a:pt x="23" y="34"/>
                    <a:pt x="22" y="33"/>
                    <a:pt x="22" y="32"/>
                  </a:cubicBezTo>
                  <a:cubicBezTo>
                    <a:pt x="21" y="30"/>
                    <a:pt x="21" y="30"/>
                    <a:pt x="21" y="28"/>
                  </a:cubicBezTo>
                  <a:cubicBezTo>
                    <a:pt x="20" y="26"/>
                    <a:pt x="20" y="23"/>
                    <a:pt x="18" y="21"/>
                  </a:cubicBezTo>
                  <a:cubicBezTo>
                    <a:pt x="17" y="20"/>
                    <a:pt x="16" y="18"/>
                    <a:pt x="15" y="18"/>
                  </a:cubicBezTo>
                  <a:cubicBezTo>
                    <a:pt x="13" y="15"/>
                    <a:pt x="13" y="10"/>
                    <a:pt x="10" y="7"/>
                  </a:cubicBezTo>
                  <a:cubicBezTo>
                    <a:pt x="9" y="5"/>
                    <a:pt x="8"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1369"/>
            <p:cNvSpPr/>
            <p:nvPr/>
          </p:nvSpPr>
          <p:spPr bwMode="auto">
            <a:xfrm>
              <a:off x="4425" y="1586"/>
              <a:ext cx="5" cy="17"/>
            </a:xfrm>
            <a:custGeom>
              <a:gdLst>
                <a:gd name="T0" fmla="*/ 0 w 2"/>
                <a:gd name="T1" fmla="*/ 0 h 7"/>
                <a:gd name="T2" fmla="*/ 1 w 2"/>
                <a:gd name="T3" fmla="*/ 7 h 7"/>
                <a:gd name="T4" fmla="*/ 0 w 2"/>
                <a:gd name="T5" fmla="*/ 0 h 7"/>
              </a:gdLst>
              <a:cxnLst>
                <a:cxn ang="0">
                  <a:pos x="T0" y="T1"/>
                </a:cxn>
                <a:cxn ang="0">
                  <a:pos x="T2" y="T3"/>
                </a:cxn>
                <a:cxn ang="0">
                  <a:pos x="T4" y="T5"/>
                </a:cxn>
              </a:cxnLst>
              <a:rect l="0" t="0" r="r" b="b"/>
              <a:pathLst>
                <a:path w="2" h="7">
                  <a:moveTo>
                    <a:pt x="0" y="0"/>
                  </a:moveTo>
                  <a:cubicBezTo>
                    <a:pt x="0" y="2"/>
                    <a:pt x="1" y="5"/>
                    <a:pt x="1" y="7"/>
                  </a:cubicBezTo>
                  <a:cubicBezTo>
                    <a:pt x="2" y="5"/>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1370"/>
            <p:cNvSpPr/>
            <p:nvPr/>
          </p:nvSpPr>
          <p:spPr bwMode="auto">
            <a:xfrm>
              <a:off x="4487" y="1638"/>
              <a:ext cx="11" cy="7"/>
            </a:xfrm>
            <a:custGeom>
              <a:gdLst>
                <a:gd name="T0" fmla="*/ 2 w 5"/>
                <a:gd name="T1" fmla="*/ 0 h 3"/>
                <a:gd name="T2" fmla="*/ 0 w 5"/>
                <a:gd name="T3" fmla="*/ 0 h 3"/>
                <a:gd name="T4" fmla="*/ 5 w 5"/>
                <a:gd name="T5" fmla="*/ 3 h 3"/>
                <a:gd name="T6" fmla="*/ 2 w 5"/>
                <a:gd name="T7" fmla="*/ 0 h 3"/>
              </a:gdLst>
              <a:cxnLst>
                <a:cxn ang="0">
                  <a:pos x="T0" y="T1"/>
                </a:cxn>
                <a:cxn ang="0">
                  <a:pos x="T2" y="T3"/>
                </a:cxn>
                <a:cxn ang="0">
                  <a:pos x="T4" y="T5"/>
                </a:cxn>
                <a:cxn ang="0">
                  <a:pos x="T6" y="T7"/>
                </a:cxn>
              </a:cxnLst>
              <a:rect l="0" t="0" r="r" b="b"/>
              <a:pathLst>
                <a:path w="5" h="3">
                  <a:moveTo>
                    <a:pt x="2" y="0"/>
                  </a:moveTo>
                  <a:cubicBezTo>
                    <a:pt x="2" y="0"/>
                    <a:pt x="1" y="0"/>
                    <a:pt x="0" y="0"/>
                  </a:cubicBezTo>
                  <a:cubicBezTo>
                    <a:pt x="2" y="1"/>
                    <a:pt x="3" y="2"/>
                    <a:pt x="5" y="3"/>
                  </a:cubicBezTo>
                  <a:cubicBezTo>
                    <a:pt x="4"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1371"/>
            <p:cNvSpPr/>
            <p:nvPr/>
          </p:nvSpPr>
          <p:spPr bwMode="auto">
            <a:xfrm>
              <a:off x="4468" y="1619"/>
              <a:ext cx="21" cy="22"/>
            </a:xfrm>
            <a:custGeom>
              <a:gdLst>
                <a:gd name="T0" fmla="*/ 5 w 9"/>
                <a:gd name="T1" fmla="*/ 0 h 9"/>
                <a:gd name="T2" fmla="*/ 2 w 9"/>
                <a:gd name="T3" fmla="*/ 2 h 9"/>
                <a:gd name="T4" fmla="*/ 6 w 9"/>
                <a:gd name="T5" fmla="*/ 9 h 9"/>
                <a:gd name="T6" fmla="*/ 6 w 9"/>
                <a:gd name="T7" fmla="*/ 0 h 9"/>
                <a:gd name="T8" fmla="*/ 5 w 9"/>
                <a:gd name="T9" fmla="*/ 0 h 9"/>
              </a:gdLst>
              <a:cxnLst>
                <a:cxn ang="0">
                  <a:pos x="T0" y="T1"/>
                </a:cxn>
                <a:cxn ang="0">
                  <a:pos x="T2" y="T3"/>
                </a:cxn>
                <a:cxn ang="0">
                  <a:pos x="T4" y="T5"/>
                </a:cxn>
                <a:cxn ang="0">
                  <a:pos x="T6" y="T7"/>
                </a:cxn>
                <a:cxn ang="0">
                  <a:pos x="T8" y="T9"/>
                </a:cxn>
              </a:cxnLst>
              <a:rect l="0" t="0" r="r" b="b"/>
              <a:pathLst>
                <a:path w="9" h="9">
                  <a:moveTo>
                    <a:pt x="5" y="0"/>
                  </a:moveTo>
                  <a:cubicBezTo>
                    <a:pt x="4" y="0"/>
                    <a:pt x="2" y="1"/>
                    <a:pt x="2" y="2"/>
                  </a:cubicBezTo>
                  <a:cubicBezTo>
                    <a:pt x="0" y="5"/>
                    <a:pt x="3" y="7"/>
                    <a:pt x="6" y="9"/>
                  </a:cubicBezTo>
                  <a:cubicBezTo>
                    <a:pt x="2" y="4"/>
                    <a:pt x="9" y="4"/>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1372"/>
            <p:cNvSpPr/>
            <p:nvPr/>
          </p:nvSpPr>
          <p:spPr bwMode="auto">
            <a:xfrm>
              <a:off x="4416" y="1494"/>
              <a:ext cx="80" cy="52"/>
            </a:xfrm>
            <a:custGeom>
              <a:gdLst>
                <a:gd name="T0" fmla="*/ 3 w 34"/>
                <a:gd name="T1" fmla="*/ 0 h 22"/>
                <a:gd name="T2" fmla="*/ 1 w 34"/>
                <a:gd name="T3" fmla="*/ 3 h 22"/>
                <a:gd name="T4" fmla="*/ 7 w 34"/>
                <a:gd name="T5" fmla="*/ 8 h 22"/>
                <a:gd name="T6" fmla="*/ 12 w 34"/>
                <a:gd name="T7" fmla="*/ 15 h 22"/>
                <a:gd name="T8" fmla="*/ 24 w 34"/>
                <a:gd name="T9" fmla="*/ 22 h 22"/>
                <a:gd name="T10" fmla="*/ 27 w 34"/>
                <a:gd name="T11" fmla="*/ 22 h 22"/>
                <a:gd name="T12" fmla="*/ 32 w 34"/>
                <a:gd name="T13" fmla="*/ 20 h 22"/>
                <a:gd name="T14" fmla="*/ 26 w 34"/>
                <a:gd name="T15" fmla="*/ 19 h 22"/>
                <a:gd name="T16" fmla="*/ 22 w 34"/>
                <a:gd name="T17" fmla="*/ 16 h 22"/>
                <a:gd name="T18" fmla="*/ 17 w 34"/>
                <a:gd name="T19" fmla="*/ 8 h 22"/>
                <a:gd name="T20" fmla="*/ 10 w 34"/>
                <a:gd name="T21" fmla="*/ 4 h 22"/>
                <a:gd name="T22" fmla="*/ 5 w 34"/>
                <a:gd name="T23" fmla="*/ 1 h 22"/>
                <a:gd name="T24" fmla="*/ 3 w 34"/>
                <a:gd name="T25"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22">
                  <a:moveTo>
                    <a:pt x="3" y="0"/>
                  </a:moveTo>
                  <a:cubicBezTo>
                    <a:pt x="1" y="0"/>
                    <a:pt x="0" y="1"/>
                    <a:pt x="1" y="3"/>
                  </a:cubicBezTo>
                  <a:cubicBezTo>
                    <a:pt x="2" y="5"/>
                    <a:pt x="5" y="6"/>
                    <a:pt x="7" y="8"/>
                  </a:cubicBezTo>
                  <a:cubicBezTo>
                    <a:pt x="9" y="10"/>
                    <a:pt x="10" y="12"/>
                    <a:pt x="12" y="15"/>
                  </a:cubicBezTo>
                  <a:cubicBezTo>
                    <a:pt x="17" y="18"/>
                    <a:pt x="19" y="20"/>
                    <a:pt x="24" y="22"/>
                  </a:cubicBezTo>
                  <a:cubicBezTo>
                    <a:pt x="25" y="22"/>
                    <a:pt x="26" y="22"/>
                    <a:pt x="27" y="22"/>
                  </a:cubicBezTo>
                  <a:cubicBezTo>
                    <a:pt x="30" y="22"/>
                    <a:pt x="34" y="22"/>
                    <a:pt x="32" y="20"/>
                  </a:cubicBezTo>
                  <a:cubicBezTo>
                    <a:pt x="31" y="20"/>
                    <a:pt x="28" y="20"/>
                    <a:pt x="26" y="19"/>
                  </a:cubicBezTo>
                  <a:cubicBezTo>
                    <a:pt x="25" y="19"/>
                    <a:pt x="23" y="17"/>
                    <a:pt x="22" y="16"/>
                  </a:cubicBezTo>
                  <a:cubicBezTo>
                    <a:pt x="20" y="13"/>
                    <a:pt x="21" y="10"/>
                    <a:pt x="17" y="8"/>
                  </a:cubicBezTo>
                  <a:cubicBezTo>
                    <a:pt x="15" y="7"/>
                    <a:pt x="12" y="6"/>
                    <a:pt x="10" y="4"/>
                  </a:cubicBezTo>
                  <a:cubicBezTo>
                    <a:pt x="8" y="3"/>
                    <a:pt x="7" y="2"/>
                    <a:pt x="5"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1373"/>
            <p:cNvSpPr/>
            <p:nvPr/>
          </p:nvSpPr>
          <p:spPr bwMode="auto">
            <a:xfrm>
              <a:off x="4543" y="1553"/>
              <a:ext cx="10" cy="7"/>
            </a:xfrm>
            <a:custGeom>
              <a:gdLst>
                <a:gd name="T0" fmla="*/ 0 w 4"/>
                <a:gd name="T1" fmla="*/ 0 h 3"/>
                <a:gd name="T2" fmla="*/ 4 w 4"/>
                <a:gd name="T3" fmla="*/ 3 h 3"/>
                <a:gd name="T4" fmla="*/ 0 w 4"/>
                <a:gd name="T5" fmla="*/ 0 h 3"/>
              </a:gdLst>
              <a:cxnLst>
                <a:cxn ang="0">
                  <a:pos x="T0" y="T1"/>
                </a:cxn>
                <a:cxn ang="0">
                  <a:pos x="T2" y="T3"/>
                </a:cxn>
                <a:cxn ang="0">
                  <a:pos x="T4" y="T5"/>
                </a:cxn>
              </a:cxnLst>
              <a:rect l="0" t="0" r="r" b="b"/>
              <a:pathLst>
                <a:path w="4" h="3">
                  <a:moveTo>
                    <a:pt x="0" y="0"/>
                  </a:moveTo>
                  <a:cubicBezTo>
                    <a:pt x="2" y="1"/>
                    <a:pt x="3" y="2"/>
                    <a:pt x="4" y="3"/>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1374"/>
            <p:cNvSpPr/>
            <p:nvPr/>
          </p:nvSpPr>
          <p:spPr bwMode="auto">
            <a:xfrm>
              <a:off x="4794" y="1707"/>
              <a:ext cx="2" cy="12"/>
            </a:xfrm>
            <a:custGeom>
              <a:gdLst>
                <a:gd name="T0" fmla="*/ 1 w 1"/>
                <a:gd name="T1" fmla="*/ 0 h 5"/>
                <a:gd name="T2" fmla="*/ 1 w 1"/>
                <a:gd name="T3" fmla="*/ 5 h 5"/>
                <a:gd name="T4" fmla="*/ 1 w 1"/>
                <a:gd name="T5" fmla="*/ 0 h 5"/>
              </a:gdLst>
              <a:cxnLst>
                <a:cxn ang="0">
                  <a:pos x="T0" y="T1"/>
                </a:cxn>
                <a:cxn ang="0">
                  <a:pos x="T2" y="T3"/>
                </a:cxn>
                <a:cxn ang="0">
                  <a:pos x="T4" y="T5"/>
                </a:cxn>
              </a:cxnLst>
              <a:rect l="0" t="0" r="r" b="b"/>
              <a:pathLst>
                <a:path w="1" h="5">
                  <a:moveTo>
                    <a:pt x="1" y="0"/>
                  </a:moveTo>
                  <a:cubicBezTo>
                    <a:pt x="0" y="1"/>
                    <a:pt x="1" y="3"/>
                    <a:pt x="1" y="5"/>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1375"/>
            <p:cNvSpPr/>
            <p:nvPr/>
          </p:nvSpPr>
          <p:spPr bwMode="auto">
            <a:xfrm>
              <a:off x="4631" y="1676"/>
              <a:ext cx="85" cy="47"/>
            </a:xfrm>
            <a:custGeom>
              <a:gdLst>
                <a:gd name="T0" fmla="*/ 4 w 36"/>
                <a:gd name="T1" fmla="*/ 0 h 20"/>
                <a:gd name="T2" fmla="*/ 1 w 36"/>
                <a:gd name="T3" fmla="*/ 2 h 20"/>
                <a:gd name="T4" fmla="*/ 3 w 36"/>
                <a:gd name="T5" fmla="*/ 10 h 20"/>
                <a:gd name="T6" fmla="*/ 14 w 36"/>
                <a:gd name="T7" fmla="*/ 17 h 20"/>
                <a:gd name="T8" fmla="*/ 15 w 36"/>
                <a:gd name="T9" fmla="*/ 17 h 20"/>
                <a:gd name="T10" fmla="*/ 17 w 36"/>
                <a:gd name="T11" fmla="*/ 16 h 20"/>
                <a:gd name="T12" fmla="*/ 20 w 36"/>
                <a:gd name="T13" fmla="*/ 16 h 20"/>
                <a:gd name="T14" fmla="*/ 23 w 36"/>
                <a:gd name="T15" fmla="*/ 17 h 20"/>
                <a:gd name="T16" fmla="*/ 25 w 36"/>
                <a:gd name="T17" fmla="*/ 19 h 20"/>
                <a:gd name="T18" fmla="*/ 32 w 36"/>
                <a:gd name="T19" fmla="*/ 20 h 20"/>
                <a:gd name="T20" fmla="*/ 35 w 36"/>
                <a:gd name="T21" fmla="*/ 14 h 20"/>
                <a:gd name="T22" fmla="*/ 34 w 36"/>
                <a:gd name="T23" fmla="*/ 13 h 20"/>
                <a:gd name="T24" fmla="*/ 30 w 36"/>
                <a:gd name="T25" fmla="*/ 9 h 20"/>
                <a:gd name="T26" fmla="*/ 18 w 36"/>
                <a:gd name="T27" fmla="*/ 5 h 20"/>
                <a:gd name="T28" fmla="*/ 18 w 36"/>
                <a:gd name="T29" fmla="*/ 5 h 20"/>
                <a:gd name="T30" fmla="*/ 16 w 36"/>
                <a:gd name="T31" fmla="*/ 5 h 20"/>
                <a:gd name="T32" fmla="*/ 15 w 36"/>
                <a:gd name="T33" fmla="*/ 5 h 20"/>
                <a:gd name="T34" fmla="*/ 14 w 36"/>
                <a:gd name="T35" fmla="*/ 5 h 20"/>
                <a:gd name="T36" fmla="*/ 4 w 36"/>
                <a:gd name="T37" fmla="*/ 0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20">
                  <a:moveTo>
                    <a:pt x="4" y="0"/>
                  </a:moveTo>
                  <a:cubicBezTo>
                    <a:pt x="3" y="0"/>
                    <a:pt x="2" y="1"/>
                    <a:pt x="1" y="2"/>
                  </a:cubicBezTo>
                  <a:cubicBezTo>
                    <a:pt x="0" y="5"/>
                    <a:pt x="2" y="8"/>
                    <a:pt x="3" y="10"/>
                  </a:cubicBezTo>
                  <a:cubicBezTo>
                    <a:pt x="6" y="15"/>
                    <a:pt x="9" y="16"/>
                    <a:pt x="14" y="17"/>
                  </a:cubicBezTo>
                  <a:cubicBezTo>
                    <a:pt x="14" y="17"/>
                    <a:pt x="15" y="17"/>
                    <a:pt x="15" y="17"/>
                  </a:cubicBezTo>
                  <a:cubicBezTo>
                    <a:pt x="16" y="17"/>
                    <a:pt x="17" y="17"/>
                    <a:pt x="17" y="16"/>
                  </a:cubicBezTo>
                  <a:cubicBezTo>
                    <a:pt x="18" y="16"/>
                    <a:pt x="19" y="16"/>
                    <a:pt x="20" y="16"/>
                  </a:cubicBezTo>
                  <a:cubicBezTo>
                    <a:pt x="21" y="16"/>
                    <a:pt x="22" y="16"/>
                    <a:pt x="23" y="17"/>
                  </a:cubicBezTo>
                  <a:cubicBezTo>
                    <a:pt x="24" y="17"/>
                    <a:pt x="25" y="18"/>
                    <a:pt x="25" y="19"/>
                  </a:cubicBezTo>
                  <a:cubicBezTo>
                    <a:pt x="27" y="19"/>
                    <a:pt x="30" y="19"/>
                    <a:pt x="32" y="20"/>
                  </a:cubicBezTo>
                  <a:cubicBezTo>
                    <a:pt x="34" y="18"/>
                    <a:pt x="36" y="16"/>
                    <a:pt x="35" y="14"/>
                  </a:cubicBezTo>
                  <a:cubicBezTo>
                    <a:pt x="34" y="13"/>
                    <a:pt x="34" y="13"/>
                    <a:pt x="34" y="13"/>
                  </a:cubicBezTo>
                  <a:cubicBezTo>
                    <a:pt x="33" y="12"/>
                    <a:pt x="31" y="10"/>
                    <a:pt x="30" y="9"/>
                  </a:cubicBezTo>
                  <a:cubicBezTo>
                    <a:pt x="26" y="5"/>
                    <a:pt x="22" y="5"/>
                    <a:pt x="18" y="5"/>
                  </a:cubicBezTo>
                  <a:cubicBezTo>
                    <a:pt x="18" y="5"/>
                    <a:pt x="18" y="5"/>
                    <a:pt x="18" y="5"/>
                  </a:cubicBezTo>
                  <a:cubicBezTo>
                    <a:pt x="17" y="5"/>
                    <a:pt x="17" y="5"/>
                    <a:pt x="16" y="5"/>
                  </a:cubicBezTo>
                  <a:cubicBezTo>
                    <a:pt x="16" y="5"/>
                    <a:pt x="16" y="5"/>
                    <a:pt x="15" y="5"/>
                  </a:cubicBezTo>
                  <a:cubicBezTo>
                    <a:pt x="15" y="5"/>
                    <a:pt x="15" y="5"/>
                    <a:pt x="14" y="5"/>
                  </a:cubicBezTo>
                  <a:cubicBezTo>
                    <a:pt x="12" y="4"/>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1376"/>
            <p:cNvSpPr/>
            <p:nvPr/>
          </p:nvSpPr>
          <p:spPr bwMode="auto">
            <a:xfrm>
              <a:off x="4754" y="1683"/>
              <a:ext cx="14" cy="31"/>
            </a:xfrm>
            <a:custGeom>
              <a:gdLst>
                <a:gd name="T0" fmla="*/ 0 w 6"/>
                <a:gd name="T1" fmla="*/ 0 h 13"/>
                <a:gd name="T2" fmla="*/ 6 w 6"/>
                <a:gd name="T3" fmla="*/ 13 h 13"/>
                <a:gd name="T4" fmla="*/ 0 w 6"/>
                <a:gd name="T5" fmla="*/ 0 h 13"/>
              </a:gdLst>
              <a:cxnLst>
                <a:cxn ang="0">
                  <a:pos x="T0" y="T1"/>
                </a:cxn>
                <a:cxn ang="0">
                  <a:pos x="T2" y="T3"/>
                </a:cxn>
                <a:cxn ang="0">
                  <a:pos x="T4" y="T5"/>
                </a:cxn>
              </a:cxnLst>
              <a:rect l="0" t="0" r="r" b="b"/>
              <a:pathLst>
                <a:path w="6" h="13">
                  <a:moveTo>
                    <a:pt x="0" y="0"/>
                  </a:moveTo>
                  <a:cubicBezTo>
                    <a:pt x="2" y="4"/>
                    <a:pt x="4" y="9"/>
                    <a:pt x="6" y="13"/>
                  </a:cubicBezTo>
                  <a:cubicBezTo>
                    <a:pt x="6" y="8"/>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1377"/>
            <p:cNvSpPr/>
            <p:nvPr/>
          </p:nvSpPr>
          <p:spPr bwMode="auto">
            <a:xfrm>
              <a:off x="4633" y="1617"/>
              <a:ext cx="7" cy="10"/>
            </a:xfrm>
            <a:custGeom>
              <a:gdLst>
                <a:gd name="T0" fmla="*/ 0 w 3"/>
                <a:gd name="T1" fmla="*/ 0 h 4"/>
                <a:gd name="T2" fmla="*/ 3 w 3"/>
                <a:gd name="T3" fmla="*/ 4 h 4"/>
                <a:gd name="T4" fmla="*/ 1 w 3"/>
                <a:gd name="T5" fmla="*/ 0 h 4"/>
                <a:gd name="T6" fmla="*/ 0 w 3"/>
                <a:gd name="T7" fmla="*/ 0 h 4"/>
                <a:gd name="T8" fmla="*/ 0 w 3"/>
                <a:gd name="T9" fmla="*/ 0 h 4"/>
              </a:gdLst>
              <a:cxnLst>
                <a:cxn ang="0">
                  <a:pos x="T0" y="T1"/>
                </a:cxn>
                <a:cxn ang="0">
                  <a:pos x="T2" y="T3"/>
                </a:cxn>
                <a:cxn ang="0">
                  <a:pos x="T4" y="T5"/>
                </a:cxn>
                <a:cxn ang="0">
                  <a:pos x="T6" y="T7"/>
                </a:cxn>
                <a:cxn ang="0">
                  <a:pos x="T8" y="T9"/>
                </a:cxn>
              </a:cxnLst>
              <a:rect l="0" t="0" r="r" b="b"/>
              <a:pathLst>
                <a:path w="3" h="4">
                  <a:moveTo>
                    <a:pt x="0" y="0"/>
                  </a:moveTo>
                  <a:cubicBezTo>
                    <a:pt x="0" y="1"/>
                    <a:pt x="2" y="3"/>
                    <a:pt x="3" y="4"/>
                  </a:cubicBezTo>
                  <a:cubicBezTo>
                    <a:pt x="2" y="3"/>
                    <a:pt x="2" y="1"/>
                    <a:pt x="1" y="0"/>
                  </a:cubicBezTo>
                  <a:cubicBezTo>
                    <a:pt x="1"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1378"/>
            <p:cNvSpPr/>
            <p:nvPr/>
          </p:nvSpPr>
          <p:spPr bwMode="auto">
            <a:xfrm>
              <a:off x="4546" y="1560"/>
              <a:ext cx="14" cy="5"/>
            </a:xfrm>
            <a:custGeom>
              <a:gdLst>
                <a:gd name="T0" fmla="*/ 1 w 6"/>
                <a:gd name="T1" fmla="*/ 0 h 2"/>
                <a:gd name="T2" fmla="*/ 0 w 6"/>
                <a:gd name="T3" fmla="*/ 0 h 2"/>
                <a:gd name="T4" fmla="*/ 6 w 6"/>
                <a:gd name="T5" fmla="*/ 2 h 2"/>
                <a:gd name="T6" fmla="*/ 1 w 6"/>
                <a:gd name="T7" fmla="*/ 0 h 2"/>
              </a:gdLst>
              <a:cxnLst>
                <a:cxn ang="0">
                  <a:pos x="T0" y="T1"/>
                </a:cxn>
                <a:cxn ang="0">
                  <a:pos x="T2" y="T3"/>
                </a:cxn>
                <a:cxn ang="0">
                  <a:pos x="T4" y="T5"/>
                </a:cxn>
                <a:cxn ang="0">
                  <a:pos x="T6" y="T7"/>
                </a:cxn>
              </a:cxnLst>
              <a:rect l="0" t="0" r="r" b="b"/>
              <a:pathLst>
                <a:path w="6" h="2">
                  <a:moveTo>
                    <a:pt x="1" y="0"/>
                  </a:moveTo>
                  <a:cubicBezTo>
                    <a:pt x="1" y="0"/>
                    <a:pt x="1" y="0"/>
                    <a:pt x="0" y="0"/>
                  </a:cubicBezTo>
                  <a:cubicBezTo>
                    <a:pt x="2" y="1"/>
                    <a:pt x="4" y="2"/>
                    <a:pt x="6" y="2"/>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1379"/>
            <p:cNvSpPr/>
            <p:nvPr/>
          </p:nvSpPr>
          <p:spPr bwMode="auto">
            <a:xfrm>
              <a:off x="4449" y="1579"/>
              <a:ext cx="21" cy="22"/>
            </a:xfrm>
            <a:custGeom>
              <a:gdLst>
                <a:gd name="T0" fmla="*/ 5 w 9"/>
                <a:gd name="T1" fmla="*/ 0 h 9"/>
                <a:gd name="T2" fmla="*/ 2 w 9"/>
                <a:gd name="T3" fmla="*/ 3 h 9"/>
                <a:gd name="T4" fmla="*/ 7 w 9"/>
                <a:gd name="T5" fmla="*/ 9 h 9"/>
                <a:gd name="T6" fmla="*/ 7 w 9"/>
                <a:gd name="T7" fmla="*/ 1 h 9"/>
                <a:gd name="T8" fmla="*/ 5 w 9"/>
                <a:gd name="T9" fmla="*/ 0 h 9"/>
              </a:gdLst>
              <a:cxnLst>
                <a:cxn ang="0">
                  <a:pos x="T0" y="T1"/>
                </a:cxn>
                <a:cxn ang="0">
                  <a:pos x="T2" y="T3"/>
                </a:cxn>
                <a:cxn ang="0">
                  <a:pos x="T4" y="T5"/>
                </a:cxn>
                <a:cxn ang="0">
                  <a:pos x="T6" y="T7"/>
                </a:cxn>
                <a:cxn ang="0">
                  <a:pos x="T8" y="T9"/>
                </a:cxn>
              </a:cxnLst>
              <a:rect l="0" t="0" r="r" b="b"/>
              <a:pathLst>
                <a:path w="9" h="9">
                  <a:moveTo>
                    <a:pt x="5" y="0"/>
                  </a:moveTo>
                  <a:cubicBezTo>
                    <a:pt x="4" y="0"/>
                    <a:pt x="3" y="1"/>
                    <a:pt x="2" y="3"/>
                  </a:cubicBezTo>
                  <a:cubicBezTo>
                    <a:pt x="0" y="5"/>
                    <a:pt x="6" y="8"/>
                    <a:pt x="7" y="9"/>
                  </a:cubicBezTo>
                  <a:cubicBezTo>
                    <a:pt x="9" y="7"/>
                    <a:pt x="9" y="2"/>
                    <a:pt x="7" y="1"/>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380"/>
            <p:cNvSpPr/>
            <p:nvPr/>
          </p:nvSpPr>
          <p:spPr bwMode="auto">
            <a:xfrm>
              <a:off x="4536" y="1638"/>
              <a:ext cx="3" cy="10"/>
            </a:xfrm>
            <a:custGeom>
              <a:gdLst>
                <a:gd name="T0" fmla="*/ 1 w 1"/>
                <a:gd name="T1" fmla="*/ 0 h 4"/>
                <a:gd name="T2" fmla="*/ 0 w 1"/>
                <a:gd name="T3" fmla="*/ 4 h 4"/>
                <a:gd name="T4" fmla="*/ 1 w 1"/>
                <a:gd name="T5" fmla="*/ 0 h 4"/>
              </a:gdLst>
              <a:cxnLst>
                <a:cxn ang="0">
                  <a:pos x="T0" y="T1"/>
                </a:cxn>
                <a:cxn ang="0">
                  <a:pos x="T2" y="T3"/>
                </a:cxn>
                <a:cxn ang="0">
                  <a:pos x="T4" y="T5"/>
                </a:cxn>
              </a:cxnLst>
              <a:rect l="0" t="0" r="r" b="b"/>
              <a:pathLst>
                <a:path w="1" h="4">
                  <a:moveTo>
                    <a:pt x="1" y="0"/>
                  </a:moveTo>
                  <a:cubicBezTo>
                    <a:pt x="1" y="1"/>
                    <a:pt x="1" y="2"/>
                    <a:pt x="0" y="4"/>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381"/>
            <p:cNvSpPr/>
            <p:nvPr/>
          </p:nvSpPr>
          <p:spPr bwMode="auto">
            <a:xfrm>
              <a:off x="4368" y="1518"/>
              <a:ext cx="17" cy="12"/>
            </a:xfrm>
            <a:custGeom>
              <a:gdLst>
                <a:gd name="T0" fmla="*/ 0 w 7"/>
                <a:gd name="T1" fmla="*/ 0 h 5"/>
                <a:gd name="T2" fmla="*/ 1 w 7"/>
                <a:gd name="T3" fmla="*/ 5 h 5"/>
                <a:gd name="T4" fmla="*/ 0 w 7"/>
                <a:gd name="T5" fmla="*/ 0 h 5"/>
              </a:gdLst>
              <a:cxnLst>
                <a:cxn ang="0">
                  <a:pos x="T0" y="T1"/>
                </a:cxn>
                <a:cxn ang="0">
                  <a:pos x="T2" y="T3"/>
                </a:cxn>
                <a:cxn ang="0">
                  <a:pos x="T4" y="T5"/>
                </a:cxn>
              </a:cxnLst>
              <a:rect l="0" t="0" r="r" b="b"/>
              <a:pathLst>
                <a:path w="7" h="5">
                  <a:moveTo>
                    <a:pt x="0" y="0"/>
                  </a:moveTo>
                  <a:cubicBezTo>
                    <a:pt x="0" y="2"/>
                    <a:pt x="1" y="3"/>
                    <a:pt x="1" y="5"/>
                  </a:cubicBezTo>
                  <a:cubicBezTo>
                    <a:pt x="7"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382"/>
            <p:cNvSpPr/>
            <p:nvPr/>
          </p:nvSpPr>
          <p:spPr bwMode="auto">
            <a:xfrm>
              <a:off x="4678" y="1667"/>
              <a:ext cx="9" cy="4"/>
            </a:xfrm>
            <a:custGeom>
              <a:gdLst>
                <a:gd name="T0" fmla="*/ 3 w 4"/>
                <a:gd name="T1" fmla="*/ 0 h 2"/>
                <a:gd name="T2" fmla="*/ 0 w 4"/>
                <a:gd name="T3" fmla="*/ 2 h 2"/>
                <a:gd name="T4" fmla="*/ 1 w 4"/>
                <a:gd name="T5" fmla="*/ 2 h 2"/>
                <a:gd name="T6" fmla="*/ 4 w 4"/>
                <a:gd name="T7" fmla="*/ 1 h 2"/>
                <a:gd name="T8" fmla="*/ 3 w 4"/>
                <a:gd name="T9" fmla="*/ 0 h 2"/>
              </a:gdLst>
              <a:cxnLst>
                <a:cxn ang="0">
                  <a:pos x="T0" y="T1"/>
                </a:cxn>
                <a:cxn ang="0">
                  <a:pos x="T2" y="T3"/>
                </a:cxn>
                <a:cxn ang="0">
                  <a:pos x="T4" y="T5"/>
                </a:cxn>
                <a:cxn ang="0">
                  <a:pos x="T6" y="T7"/>
                </a:cxn>
                <a:cxn ang="0">
                  <a:pos x="T8" y="T9"/>
                </a:cxn>
              </a:cxnLst>
              <a:rect l="0" t="0" r="r" b="b"/>
              <a:pathLst>
                <a:path w="4" h="2">
                  <a:moveTo>
                    <a:pt x="3" y="0"/>
                  </a:moveTo>
                  <a:cubicBezTo>
                    <a:pt x="2" y="0"/>
                    <a:pt x="1" y="1"/>
                    <a:pt x="0" y="2"/>
                  </a:cubicBezTo>
                  <a:cubicBezTo>
                    <a:pt x="0" y="2"/>
                    <a:pt x="1" y="2"/>
                    <a:pt x="1" y="2"/>
                  </a:cubicBezTo>
                  <a:cubicBezTo>
                    <a:pt x="3" y="2"/>
                    <a:pt x="4" y="2"/>
                    <a:pt x="4" y="1"/>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1383"/>
            <p:cNvSpPr/>
            <p:nvPr/>
          </p:nvSpPr>
          <p:spPr bwMode="auto">
            <a:xfrm>
              <a:off x="4458" y="1603"/>
              <a:ext cx="7" cy="9"/>
            </a:xfrm>
            <a:custGeom>
              <a:gdLst>
                <a:gd name="T0" fmla="*/ 0 w 3"/>
                <a:gd name="T1" fmla="*/ 0 h 4"/>
                <a:gd name="T2" fmla="*/ 0 w 3"/>
                <a:gd name="T3" fmla="*/ 0 h 4"/>
                <a:gd name="T4" fmla="*/ 3 w 3"/>
                <a:gd name="T5" fmla="*/ 4 h 4"/>
                <a:gd name="T6" fmla="*/ 0 w 3"/>
                <a:gd name="T7" fmla="*/ 0 h 4"/>
              </a:gdLst>
              <a:cxnLst>
                <a:cxn ang="0">
                  <a:pos x="T0" y="T1"/>
                </a:cxn>
                <a:cxn ang="0">
                  <a:pos x="T2" y="T3"/>
                </a:cxn>
                <a:cxn ang="0">
                  <a:pos x="T4" y="T5"/>
                </a:cxn>
                <a:cxn ang="0">
                  <a:pos x="T6" y="T7"/>
                </a:cxn>
              </a:cxnLst>
              <a:rect l="0" t="0" r="r" b="b"/>
              <a:pathLst>
                <a:path w="3" h="4">
                  <a:moveTo>
                    <a:pt x="0" y="0"/>
                  </a:moveTo>
                  <a:cubicBezTo>
                    <a:pt x="0" y="0"/>
                    <a:pt x="0" y="0"/>
                    <a:pt x="0" y="0"/>
                  </a:cubicBezTo>
                  <a:cubicBezTo>
                    <a:pt x="1" y="2"/>
                    <a:pt x="2" y="3"/>
                    <a:pt x="3"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384"/>
            <p:cNvSpPr/>
            <p:nvPr/>
          </p:nvSpPr>
          <p:spPr bwMode="auto">
            <a:xfrm>
              <a:off x="4666" y="1660"/>
              <a:ext cx="17" cy="7"/>
            </a:xfrm>
            <a:custGeom>
              <a:gdLst>
                <a:gd name="T0" fmla="*/ 3 w 7"/>
                <a:gd name="T1" fmla="*/ 0 h 3"/>
                <a:gd name="T2" fmla="*/ 0 w 7"/>
                <a:gd name="T3" fmla="*/ 1 h 3"/>
                <a:gd name="T4" fmla="*/ 6 w 7"/>
                <a:gd name="T5" fmla="*/ 3 h 3"/>
                <a:gd name="T6" fmla="*/ 3 w 7"/>
                <a:gd name="T7" fmla="*/ 0 h 3"/>
              </a:gdLst>
              <a:cxnLst>
                <a:cxn ang="0">
                  <a:pos x="T0" y="T1"/>
                </a:cxn>
                <a:cxn ang="0">
                  <a:pos x="T2" y="T3"/>
                </a:cxn>
                <a:cxn ang="0">
                  <a:pos x="T4" y="T5"/>
                </a:cxn>
                <a:cxn ang="0">
                  <a:pos x="T6" y="T7"/>
                </a:cxn>
              </a:cxnLst>
              <a:rect l="0" t="0" r="r" b="b"/>
              <a:pathLst>
                <a:path w="7" h="3">
                  <a:moveTo>
                    <a:pt x="3" y="0"/>
                  </a:moveTo>
                  <a:cubicBezTo>
                    <a:pt x="2" y="0"/>
                    <a:pt x="1" y="0"/>
                    <a:pt x="0" y="1"/>
                  </a:cubicBezTo>
                  <a:cubicBezTo>
                    <a:pt x="2" y="2"/>
                    <a:pt x="4" y="3"/>
                    <a:pt x="6" y="3"/>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385"/>
            <p:cNvSpPr>
              <a:spLocks noEditPoints="1"/>
            </p:cNvSpPr>
            <p:nvPr/>
          </p:nvSpPr>
          <p:spPr bwMode="auto">
            <a:xfrm>
              <a:off x="4517" y="1624"/>
              <a:ext cx="17" cy="19"/>
            </a:xfrm>
            <a:custGeom>
              <a:gdLst>
                <a:gd name="T0" fmla="*/ 7 w 7"/>
                <a:gd name="T1" fmla="*/ 2 h 8"/>
                <a:gd name="T2" fmla="*/ 7 w 7"/>
                <a:gd name="T3" fmla="*/ 2 h 8"/>
                <a:gd name="T4" fmla="*/ 7 w 7"/>
                <a:gd name="T5" fmla="*/ 2 h 8"/>
                <a:gd name="T6" fmla="*/ 4 w 7"/>
                <a:gd name="T7" fmla="*/ 0 h 8"/>
                <a:gd name="T8" fmla="*/ 0 w 7"/>
                <a:gd name="T9" fmla="*/ 2 h 8"/>
                <a:gd name="T10" fmla="*/ 3 w 7"/>
                <a:gd name="T11" fmla="*/ 8 h 8"/>
                <a:gd name="T12" fmla="*/ 6 w 7"/>
                <a:gd name="T13" fmla="*/ 4 h 8"/>
                <a:gd name="T14" fmla="*/ 6 w 7"/>
                <a:gd name="T15" fmla="*/ 4 h 8"/>
                <a:gd name="T16" fmla="*/ 6 w 7"/>
                <a:gd name="T17" fmla="*/ 3 h 8"/>
                <a:gd name="T18" fmla="*/ 7 w 7"/>
                <a:gd name="T19" fmla="*/ 2 h 8"/>
                <a:gd name="T20" fmla="*/ 7 w 7"/>
                <a:gd name="T21" fmla="*/ 2 h 8"/>
                <a:gd name="T22" fmla="*/ 4 w 7"/>
                <a:gd name="T23" fmla="*/ 0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2"/>
                  </a:moveTo>
                  <a:cubicBezTo>
                    <a:pt x="7" y="2"/>
                    <a:pt x="7" y="2"/>
                    <a:pt x="7" y="2"/>
                  </a:cubicBezTo>
                  <a:cubicBezTo>
                    <a:pt x="7" y="2"/>
                    <a:pt x="7" y="2"/>
                    <a:pt x="7" y="2"/>
                  </a:cubicBezTo>
                  <a:moveTo>
                    <a:pt x="4" y="0"/>
                  </a:moveTo>
                  <a:cubicBezTo>
                    <a:pt x="3" y="0"/>
                    <a:pt x="1" y="1"/>
                    <a:pt x="0" y="2"/>
                  </a:cubicBezTo>
                  <a:cubicBezTo>
                    <a:pt x="1" y="4"/>
                    <a:pt x="2" y="6"/>
                    <a:pt x="3" y="8"/>
                  </a:cubicBezTo>
                  <a:cubicBezTo>
                    <a:pt x="6" y="6"/>
                    <a:pt x="5" y="6"/>
                    <a:pt x="6" y="4"/>
                  </a:cubicBezTo>
                  <a:cubicBezTo>
                    <a:pt x="6" y="4"/>
                    <a:pt x="6" y="4"/>
                    <a:pt x="6" y="4"/>
                  </a:cubicBezTo>
                  <a:cubicBezTo>
                    <a:pt x="6" y="4"/>
                    <a:pt x="6" y="4"/>
                    <a:pt x="6" y="3"/>
                  </a:cubicBezTo>
                  <a:cubicBezTo>
                    <a:pt x="6" y="2"/>
                    <a:pt x="7" y="2"/>
                    <a:pt x="7" y="2"/>
                  </a:cubicBezTo>
                  <a:cubicBezTo>
                    <a:pt x="7" y="2"/>
                    <a:pt x="7" y="2"/>
                    <a:pt x="7"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386"/>
            <p:cNvSpPr/>
            <p:nvPr/>
          </p:nvSpPr>
          <p:spPr bwMode="auto">
            <a:xfrm>
              <a:off x="4428" y="1560"/>
              <a:ext cx="16" cy="26"/>
            </a:xfrm>
            <a:custGeom>
              <a:gdLst>
                <a:gd name="T0" fmla="*/ 0 w 7"/>
                <a:gd name="T1" fmla="*/ 0 h 11"/>
                <a:gd name="T2" fmla="*/ 3 w 7"/>
                <a:gd name="T3" fmla="*/ 11 h 11"/>
                <a:gd name="T4" fmla="*/ 5 w 7"/>
                <a:gd name="T5" fmla="*/ 4 h 11"/>
                <a:gd name="T6" fmla="*/ 0 w 7"/>
                <a:gd name="T7" fmla="*/ 0 h 11"/>
              </a:gdLst>
              <a:cxnLst>
                <a:cxn ang="0">
                  <a:pos x="T0" y="T1"/>
                </a:cxn>
                <a:cxn ang="0">
                  <a:pos x="T2" y="T3"/>
                </a:cxn>
                <a:cxn ang="0">
                  <a:pos x="T4" y="T5"/>
                </a:cxn>
                <a:cxn ang="0">
                  <a:pos x="T6" y="T7"/>
                </a:cxn>
              </a:cxnLst>
              <a:rect l="0" t="0" r="r" b="b"/>
              <a:pathLst>
                <a:path w="7" h="11">
                  <a:moveTo>
                    <a:pt x="0" y="0"/>
                  </a:moveTo>
                  <a:cubicBezTo>
                    <a:pt x="0" y="4"/>
                    <a:pt x="2" y="7"/>
                    <a:pt x="3" y="11"/>
                  </a:cubicBezTo>
                  <a:cubicBezTo>
                    <a:pt x="3" y="7"/>
                    <a:pt x="7" y="7"/>
                    <a:pt x="5" y="4"/>
                  </a:cubicBezTo>
                  <a:cubicBezTo>
                    <a:pt x="5" y="3"/>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387"/>
            <p:cNvSpPr/>
            <p:nvPr/>
          </p:nvSpPr>
          <p:spPr bwMode="auto">
            <a:xfrm>
              <a:off x="4659" y="1830"/>
              <a:ext cx="47" cy="26"/>
            </a:xfrm>
            <a:custGeom>
              <a:gdLst>
                <a:gd name="T0" fmla="*/ 1 w 20"/>
                <a:gd name="T1" fmla="*/ 0 h 11"/>
                <a:gd name="T2" fmla="*/ 0 w 20"/>
                <a:gd name="T3" fmla="*/ 1 h 11"/>
                <a:gd name="T4" fmla="*/ 15 w 20"/>
                <a:gd name="T5" fmla="*/ 11 h 11"/>
                <a:gd name="T6" fmla="*/ 8 w 20"/>
                <a:gd name="T7" fmla="*/ 4 h 11"/>
                <a:gd name="T8" fmla="*/ 1 w 20"/>
                <a:gd name="T9" fmla="*/ 0 h 11"/>
              </a:gdLst>
              <a:cxnLst>
                <a:cxn ang="0">
                  <a:pos x="T0" y="T1"/>
                </a:cxn>
                <a:cxn ang="0">
                  <a:pos x="T2" y="T3"/>
                </a:cxn>
                <a:cxn ang="0">
                  <a:pos x="T4" y="T5"/>
                </a:cxn>
                <a:cxn ang="0">
                  <a:pos x="T6" y="T7"/>
                </a:cxn>
                <a:cxn ang="0">
                  <a:pos x="T8" y="T9"/>
                </a:cxn>
              </a:cxnLst>
              <a:rect l="0" t="0" r="r" b="b"/>
              <a:pathLst>
                <a:path w="20" h="11">
                  <a:moveTo>
                    <a:pt x="1" y="0"/>
                  </a:moveTo>
                  <a:cubicBezTo>
                    <a:pt x="1" y="0"/>
                    <a:pt x="1" y="1"/>
                    <a:pt x="0" y="1"/>
                  </a:cubicBezTo>
                  <a:cubicBezTo>
                    <a:pt x="5" y="5"/>
                    <a:pt x="10" y="8"/>
                    <a:pt x="15" y="11"/>
                  </a:cubicBezTo>
                  <a:cubicBezTo>
                    <a:pt x="20" y="8"/>
                    <a:pt x="10" y="5"/>
                    <a:pt x="8" y="4"/>
                  </a:cubicBezTo>
                  <a:cubicBezTo>
                    <a:pt x="7" y="3"/>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388"/>
            <p:cNvSpPr/>
            <p:nvPr/>
          </p:nvSpPr>
          <p:spPr bwMode="auto">
            <a:xfrm>
              <a:off x="420" y="338"/>
              <a:ext cx="4" cy="10"/>
            </a:xfrm>
            <a:custGeom>
              <a:gdLst>
                <a:gd name="T0" fmla="*/ 1 w 2"/>
                <a:gd name="T1" fmla="*/ 0 h 4"/>
                <a:gd name="T2" fmla="*/ 0 w 2"/>
                <a:gd name="T3" fmla="*/ 4 h 4"/>
                <a:gd name="T4" fmla="*/ 1 w 2"/>
                <a:gd name="T5" fmla="*/ 0 h 4"/>
              </a:gdLst>
              <a:cxnLst>
                <a:cxn ang="0">
                  <a:pos x="T0" y="T1"/>
                </a:cxn>
                <a:cxn ang="0">
                  <a:pos x="T2" y="T3"/>
                </a:cxn>
                <a:cxn ang="0">
                  <a:pos x="T4" y="T5"/>
                </a:cxn>
              </a:cxnLst>
              <a:rect l="0" t="0" r="r" b="b"/>
              <a:pathLst>
                <a:path w="2" h="4">
                  <a:moveTo>
                    <a:pt x="1" y="0"/>
                  </a:moveTo>
                  <a:cubicBezTo>
                    <a:pt x="0" y="1"/>
                    <a:pt x="0" y="3"/>
                    <a:pt x="0" y="4"/>
                  </a:cubicBezTo>
                  <a:cubicBezTo>
                    <a:pt x="1"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389"/>
            <p:cNvSpPr/>
            <p:nvPr/>
          </p:nvSpPr>
          <p:spPr bwMode="auto">
            <a:xfrm>
              <a:off x="422" y="348"/>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390"/>
            <p:cNvSpPr/>
            <p:nvPr/>
          </p:nvSpPr>
          <p:spPr bwMode="auto">
            <a:xfrm>
              <a:off x="410" y="225"/>
              <a:ext cx="3" cy="12"/>
            </a:xfrm>
            <a:custGeom>
              <a:gdLst>
                <a:gd name="T0" fmla="*/ 0 w 1"/>
                <a:gd name="T1" fmla="*/ 0 h 5"/>
                <a:gd name="T2" fmla="*/ 0 w 1"/>
                <a:gd name="T3" fmla="*/ 5 h 5"/>
                <a:gd name="T4" fmla="*/ 0 w 1"/>
                <a:gd name="T5" fmla="*/ 0 h 5"/>
              </a:gdLst>
              <a:cxnLst>
                <a:cxn ang="0">
                  <a:pos x="T0" y="T1"/>
                </a:cxn>
                <a:cxn ang="0">
                  <a:pos x="T2" y="T3"/>
                </a:cxn>
                <a:cxn ang="0">
                  <a:pos x="T4" y="T5"/>
                </a:cxn>
              </a:cxnLst>
              <a:rect l="0" t="0" r="r" b="b"/>
              <a:pathLst>
                <a:path w="1" h="5">
                  <a:moveTo>
                    <a:pt x="0" y="0"/>
                  </a:moveTo>
                  <a:cubicBezTo>
                    <a:pt x="0" y="2"/>
                    <a:pt x="0" y="3"/>
                    <a:pt x="0" y="5"/>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391"/>
            <p:cNvSpPr/>
            <p:nvPr/>
          </p:nvSpPr>
          <p:spPr bwMode="auto">
            <a:xfrm>
              <a:off x="424" y="128"/>
              <a:ext cx="5" cy="17"/>
            </a:xfrm>
            <a:custGeom>
              <a:gdLst>
                <a:gd name="T0" fmla="*/ 0 w 2"/>
                <a:gd name="T1" fmla="*/ 0 h 7"/>
                <a:gd name="T2" fmla="*/ 1 w 2"/>
                <a:gd name="T3" fmla="*/ 6 h 7"/>
                <a:gd name="T4" fmla="*/ 1 w 2"/>
                <a:gd name="T5" fmla="*/ 7 h 7"/>
                <a:gd name="T6" fmla="*/ 2 w 2"/>
                <a:gd name="T7" fmla="*/ 4 h 7"/>
                <a:gd name="T8" fmla="*/ 0 w 2"/>
                <a:gd name="T9" fmla="*/ 0 h 7"/>
              </a:gdLst>
              <a:cxnLst>
                <a:cxn ang="0">
                  <a:pos x="T0" y="T1"/>
                </a:cxn>
                <a:cxn ang="0">
                  <a:pos x="T2" y="T3"/>
                </a:cxn>
                <a:cxn ang="0">
                  <a:pos x="T4" y="T5"/>
                </a:cxn>
                <a:cxn ang="0">
                  <a:pos x="T6" y="T7"/>
                </a:cxn>
                <a:cxn ang="0">
                  <a:pos x="T8" y="T9"/>
                </a:cxn>
              </a:cxnLst>
              <a:rect l="0" t="0" r="r" b="b"/>
              <a:pathLst>
                <a:path w="2" h="7">
                  <a:moveTo>
                    <a:pt x="0" y="0"/>
                  </a:moveTo>
                  <a:cubicBezTo>
                    <a:pt x="0" y="2"/>
                    <a:pt x="1" y="4"/>
                    <a:pt x="1" y="6"/>
                  </a:cubicBezTo>
                  <a:cubicBezTo>
                    <a:pt x="1" y="6"/>
                    <a:pt x="1" y="6"/>
                    <a:pt x="1" y="7"/>
                  </a:cubicBezTo>
                  <a:cubicBezTo>
                    <a:pt x="2" y="6"/>
                    <a:pt x="2" y="5"/>
                    <a:pt x="2" y="4"/>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1392"/>
            <p:cNvSpPr/>
            <p:nvPr/>
          </p:nvSpPr>
          <p:spPr bwMode="auto">
            <a:xfrm>
              <a:off x="429" y="166"/>
              <a:ext cx="14" cy="21"/>
            </a:xfrm>
            <a:custGeom>
              <a:gdLst>
                <a:gd name="T0" fmla="*/ 0 w 6"/>
                <a:gd name="T1" fmla="*/ 0 h 9"/>
                <a:gd name="T2" fmla="*/ 0 w 6"/>
                <a:gd name="T3" fmla="*/ 0 h 9"/>
                <a:gd name="T4" fmla="*/ 0 w 6"/>
                <a:gd name="T5" fmla="*/ 9 h 9"/>
                <a:gd name="T6" fmla="*/ 0 w 6"/>
                <a:gd name="T7" fmla="*/ 0 h 9"/>
                <a:gd name="T8" fmla="*/ 0 w 6"/>
                <a:gd name="T9" fmla="*/ 0 h 9"/>
              </a:gdLst>
              <a:cxnLst>
                <a:cxn ang="0">
                  <a:pos x="T0" y="T1"/>
                </a:cxn>
                <a:cxn ang="0">
                  <a:pos x="T2" y="T3"/>
                </a:cxn>
                <a:cxn ang="0">
                  <a:pos x="T4" y="T5"/>
                </a:cxn>
                <a:cxn ang="0">
                  <a:pos x="T6" y="T7"/>
                </a:cxn>
                <a:cxn ang="0">
                  <a:pos x="T8" y="T9"/>
                </a:cxn>
              </a:cxnLst>
              <a:rect l="0" t="0" r="r" b="b"/>
              <a:pathLst>
                <a:path w="6" h="9">
                  <a:moveTo>
                    <a:pt x="0" y="0"/>
                  </a:moveTo>
                  <a:cubicBezTo>
                    <a:pt x="0" y="0"/>
                    <a:pt x="0" y="0"/>
                    <a:pt x="0" y="0"/>
                  </a:cubicBezTo>
                  <a:cubicBezTo>
                    <a:pt x="0" y="3"/>
                    <a:pt x="0" y="6"/>
                    <a:pt x="0" y="9"/>
                  </a:cubicBezTo>
                  <a:cubicBezTo>
                    <a:pt x="6" y="9"/>
                    <a:pt x="5"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393"/>
            <p:cNvSpPr/>
            <p:nvPr/>
          </p:nvSpPr>
          <p:spPr bwMode="auto">
            <a:xfrm>
              <a:off x="420" y="227"/>
              <a:ext cx="11" cy="24"/>
            </a:xfrm>
            <a:custGeom>
              <a:gdLst>
                <a:gd name="T0" fmla="*/ 4 w 5"/>
                <a:gd name="T1" fmla="*/ 0 h 10"/>
                <a:gd name="T2" fmla="*/ 0 w 5"/>
                <a:gd name="T3" fmla="*/ 10 h 10"/>
                <a:gd name="T4" fmla="*/ 3 w 5"/>
                <a:gd name="T5" fmla="*/ 5 h 10"/>
                <a:gd name="T6" fmla="*/ 4 w 5"/>
                <a:gd name="T7" fmla="*/ 0 h 10"/>
              </a:gdLst>
              <a:cxnLst>
                <a:cxn ang="0">
                  <a:pos x="T0" y="T1"/>
                </a:cxn>
                <a:cxn ang="0">
                  <a:pos x="T2" y="T3"/>
                </a:cxn>
                <a:cxn ang="0">
                  <a:pos x="T4" y="T5"/>
                </a:cxn>
                <a:cxn ang="0">
                  <a:pos x="T6" y="T7"/>
                </a:cxn>
              </a:cxnLst>
              <a:rect l="0" t="0" r="r" b="b"/>
              <a:pathLst>
                <a:path w="5" h="10">
                  <a:moveTo>
                    <a:pt x="4" y="0"/>
                  </a:moveTo>
                  <a:cubicBezTo>
                    <a:pt x="2" y="3"/>
                    <a:pt x="1" y="6"/>
                    <a:pt x="0" y="10"/>
                  </a:cubicBezTo>
                  <a:cubicBezTo>
                    <a:pt x="4" y="9"/>
                    <a:pt x="3" y="8"/>
                    <a:pt x="3" y="5"/>
                  </a:cubicBezTo>
                  <a:cubicBezTo>
                    <a:pt x="4" y="3"/>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394"/>
            <p:cNvSpPr/>
            <p:nvPr/>
          </p:nvSpPr>
          <p:spPr bwMode="auto">
            <a:xfrm>
              <a:off x="431" y="227"/>
              <a:ext cx="15" cy="17"/>
            </a:xfrm>
            <a:custGeom>
              <a:gdLst>
                <a:gd name="T0" fmla="*/ 4 w 6"/>
                <a:gd name="T1" fmla="*/ 0 h 7"/>
                <a:gd name="T2" fmla="*/ 2 w 6"/>
                <a:gd name="T3" fmla="*/ 0 h 7"/>
                <a:gd name="T4" fmla="*/ 2 w 6"/>
                <a:gd name="T5" fmla="*/ 5 h 7"/>
                <a:gd name="T6" fmla="*/ 2 w 6"/>
                <a:gd name="T7" fmla="*/ 5 h 7"/>
                <a:gd name="T8" fmla="*/ 5 w 6"/>
                <a:gd name="T9" fmla="*/ 7 h 7"/>
                <a:gd name="T10" fmla="*/ 6 w 6"/>
                <a:gd name="T11" fmla="*/ 1 h 7"/>
                <a:gd name="T12" fmla="*/ 6 w 6"/>
                <a:gd name="T13" fmla="*/ 0 h 7"/>
                <a:gd name="T14" fmla="*/ 4 w 6"/>
                <a:gd name="T15" fmla="*/ 0 h 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4" y="0"/>
                  </a:moveTo>
                  <a:cubicBezTo>
                    <a:pt x="3" y="0"/>
                    <a:pt x="3" y="0"/>
                    <a:pt x="2" y="0"/>
                  </a:cubicBezTo>
                  <a:cubicBezTo>
                    <a:pt x="0" y="0"/>
                    <a:pt x="1" y="3"/>
                    <a:pt x="2" y="5"/>
                  </a:cubicBezTo>
                  <a:cubicBezTo>
                    <a:pt x="2" y="5"/>
                    <a:pt x="2" y="5"/>
                    <a:pt x="2" y="5"/>
                  </a:cubicBezTo>
                  <a:cubicBezTo>
                    <a:pt x="3" y="6"/>
                    <a:pt x="4" y="6"/>
                    <a:pt x="5" y="7"/>
                  </a:cubicBezTo>
                  <a:cubicBezTo>
                    <a:pt x="5" y="7"/>
                    <a:pt x="6" y="2"/>
                    <a:pt x="6" y="1"/>
                  </a:cubicBezTo>
                  <a:cubicBezTo>
                    <a:pt x="6" y="0"/>
                    <a:pt x="6" y="0"/>
                    <a:pt x="6"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395"/>
            <p:cNvSpPr/>
            <p:nvPr/>
          </p:nvSpPr>
          <p:spPr bwMode="auto">
            <a:xfrm>
              <a:off x="408" y="182"/>
              <a:ext cx="7" cy="10"/>
            </a:xfrm>
            <a:custGeom>
              <a:gdLst>
                <a:gd name="T0" fmla="*/ 3 w 3"/>
                <a:gd name="T1" fmla="*/ 0 h 4"/>
                <a:gd name="T2" fmla="*/ 0 w 3"/>
                <a:gd name="T3" fmla="*/ 4 h 4"/>
                <a:gd name="T4" fmla="*/ 3 w 3"/>
                <a:gd name="T5" fmla="*/ 0 h 4"/>
              </a:gdLst>
              <a:cxnLst>
                <a:cxn ang="0">
                  <a:pos x="T0" y="T1"/>
                </a:cxn>
                <a:cxn ang="0">
                  <a:pos x="T2" y="T3"/>
                </a:cxn>
                <a:cxn ang="0">
                  <a:pos x="T4" y="T5"/>
                </a:cxn>
              </a:cxnLst>
              <a:rect l="0" t="0" r="r" b="b"/>
              <a:pathLst>
                <a:path w="3" h="4">
                  <a:moveTo>
                    <a:pt x="3" y="0"/>
                  </a:moveTo>
                  <a:cubicBezTo>
                    <a:pt x="1" y="1"/>
                    <a:pt x="1" y="3"/>
                    <a:pt x="0" y="4"/>
                  </a:cubicBezTo>
                  <a:cubicBezTo>
                    <a:pt x="1" y="2"/>
                    <a:pt x="3"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396"/>
            <p:cNvSpPr/>
            <p:nvPr/>
          </p:nvSpPr>
          <p:spPr bwMode="auto">
            <a:xfrm>
              <a:off x="3038" y="1983"/>
              <a:ext cx="43" cy="43"/>
            </a:xfrm>
            <a:custGeom>
              <a:gdLst>
                <a:gd name="T0" fmla="*/ 11 w 18"/>
                <a:gd name="T1" fmla="*/ 0 h 18"/>
                <a:gd name="T2" fmla="*/ 8 w 18"/>
                <a:gd name="T3" fmla="*/ 1 h 18"/>
                <a:gd name="T4" fmla="*/ 7 w 18"/>
                <a:gd name="T5" fmla="*/ 1 h 18"/>
                <a:gd name="T6" fmla="*/ 2 w 18"/>
                <a:gd name="T7" fmla="*/ 5 h 18"/>
                <a:gd name="T8" fmla="*/ 1 w 18"/>
                <a:gd name="T9" fmla="*/ 15 h 18"/>
                <a:gd name="T10" fmla="*/ 17 w 18"/>
                <a:gd name="T11" fmla="*/ 18 h 18"/>
                <a:gd name="T12" fmla="*/ 18 w 18"/>
                <a:gd name="T13" fmla="*/ 18 h 18"/>
                <a:gd name="T14" fmla="*/ 18 w 18"/>
                <a:gd name="T15" fmla="*/ 14 h 18"/>
                <a:gd name="T16" fmla="*/ 14 w 18"/>
                <a:gd name="T17" fmla="*/ 16 h 18"/>
                <a:gd name="T18" fmla="*/ 12 w 18"/>
                <a:gd name="T19" fmla="*/ 15 h 18"/>
                <a:gd name="T20" fmla="*/ 14 w 18"/>
                <a:gd name="T21" fmla="*/ 10 h 18"/>
                <a:gd name="T22" fmla="*/ 13 w 18"/>
                <a:gd name="T23" fmla="*/ 10 h 18"/>
                <a:gd name="T24" fmla="*/ 16 w 18"/>
                <a:gd name="T25" fmla="*/ 3 h 18"/>
                <a:gd name="T26" fmla="*/ 16 w 18"/>
                <a:gd name="T27" fmla="*/ 2 h 18"/>
                <a:gd name="T28" fmla="*/ 14 w 18"/>
                <a:gd name="T29" fmla="*/ 5 h 18"/>
                <a:gd name="T30" fmla="*/ 13 w 18"/>
                <a:gd name="T31" fmla="*/ 5 h 18"/>
                <a:gd name="T32" fmla="*/ 11 w 18"/>
                <a:gd name="T33"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8">
                  <a:moveTo>
                    <a:pt x="11" y="0"/>
                  </a:moveTo>
                  <a:cubicBezTo>
                    <a:pt x="10" y="0"/>
                    <a:pt x="9" y="1"/>
                    <a:pt x="8" y="1"/>
                  </a:cubicBezTo>
                  <a:cubicBezTo>
                    <a:pt x="7" y="1"/>
                    <a:pt x="7" y="1"/>
                    <a:pt x="7" y="1"/>
                  </a:cubicBezTo>
                  <a:cubicBezTo>
                    <a:pt x="10" y="5"/>
                    <a:pt x="4" y="3"/>
                    <a:pt x="2" y="5"/>
                  </a:cubicBezTo>
                  <a:cubicBezTo>
                    <a:pt x="0" y="8"/>
                    <a:pt x="5" y="13"/>
                    <a:pt x="1" y="15"/>
                  </a:cubicBezTo>
                  <a:cubicBezTo>
                    <a:pt x="6" y="16"/>
                    <a:pt x="12" y="18"/>
                    <a:pt x="17" y="18"/>
                  </a:cubicBezTo>
                  <a:cubicBezTo>
                    <a:pt x="17" y="18"/>
                    <a:pt x="17" y="18"/>
                    <a:pt x="18" y="18"/>
                  </a:cubicBezTo>
                  <a:cubicBezTo>
                    <a:pt x="17" y="16"/>
                    <a:pt x="18" y="15"/>
                    <a:pt x="18" y="14"/>
                  </a:cubicBezTo>
                  <a:cubicBezTo>
                    <a:pt x="17" y="15"/>
                    <a:pt x="15" y="16"/>
                    <a:pt x="14" y="16"/>
                  </a:cubicBezTo>
                  <a:cubicBezTo>
                    <a:pt x="13" y="16"/>
                    <a:pt x="12" y="16"/>
                    <a:pt x="12" y="15"/>
                  </a:cubicBezTo>
                  <a:cubicBezTo>
                    <a:pt x="10" y="13"/>
                    <a:pt x="11" y="13"/>
                    <a:pt x="14" y="10"/>
                  </a:cubicBezTo>
                  <a:cubicBezTo>
                    <a:pt x="13" y="10"/>
                    <a:pt x="13" y="10"/>
                    <a:pt x="13" y="10"/>
                  </a:cubicBezTo>
                  <a:cubicBezTo>
                    <a:pt x="13" y="9"/>
                    <a:pt x="17" y="3"/>
                    <a:pt x="16" y="3"/>
                  </a:cubicBezTo>
                  <a:cubicBezTo>
                    <a:pt x="16" y="2"/>
                    <a:pt x="16" y="2"/>
                    <a:pt x="16" y="2"/>
                  </a:cubicBezTo>
                  <a:cubicBezTo>
                    <a:pt x="15" y="2"/>
                    <a:pt x="14" y="5"/>
                    <a:pt x="14" y="5"/>
                  </a:cubicBezTo>
                  <a:cubicBezTo>
                    <a:pt x="14" y="5"/>
                    <a:pt x="13" y="5"/>
                    <a:pt x="13" y="5"/>
                  </a:cubicBezTo>
                  <a:cubicBezTo>
                    <a:pt x="11" y="5"/>
                    <a:pt x="11"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397"/>
            <p:cNvSpPr/>
            <p:nvPr/>
          </p:nvSpPr>
          <p:spPr bwMode="auto">
            <a:xfrm>
              <a:off x="3026" y="1830"/>
              <a:ext cx="21" cy="16"/>
            </a:xfrm>
            <a:custGeom>
              <a:gdLst>
                <a:gd name="T0" fmla="*/ 9 w 9"/>
                <a:gd name="T1" fmla="*/ 0 h 7"/>
                <a:gd name="T2" fmla="*/ 0 w 9"/>
                <a:gd name="T3" fmla="*/ 7 h 7"/>
                <a:gd name="T4" fmla="*/ 9 w 9"/>
                <a:gd name="T5" fmla="*/ 0 h 7"/>
              </a:gdLst>
              <a:cxnLst>
                <a:cxn ang="0">
                  <a:pos x="T0" y="T1"/>
                </a:cxn>
                <a:cxn ang="0">
                  <a:pos x="T2" y="T3"/>
                </a:cxn>
                <a:cxn ang="0">
                  <a:pos x="T4" y="T5"/>
                </a:cxn>
              </a:cxnLst>
              <a:rect l="0" t="0" r="r" b="b"/>
              <a:pathLst>
                <a:path w="9" h="7">
                  <a:moveTo>
                    <a:pt x="9" y="0"/>
                  </a:moveTo>
                  <a:cubicBezTo>
                    <a:pt x="6" y="2"/>
                    <a:pt x="3" y="4"/>
                    <a:pt x="0" y="7"/>
                  </a:cubicBezTo>
                  <a:cubicBezTo>
                    <a:pt x="2" y="6"/>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398"/>
            <p:cNvSpPr/>
            <p:nvPr/>
          </p:nvSpPr>
          <p:spPr bwMode="auto">
            <a:xfrm>
              <a:off x="3437" y="1733"/>
              <a:ext cx="3" cy="7"/>
            </a:xfrm>
            <a:custGeom>
              <a:gdLst>
                <a:gd name="T0" fmla="*/ 0 w 1"/>
                <a:gd name="T1" fmla="*/ 0 h 3"/>
                <a:gd name="T2" fmla="*/ 0 w 1"/>
                <a:gd name="T3" fmla="*/ 3 h 3"/>
                <a:gd name="T4" fmla="*/ 0 w 1"/>
                <a:gd name="T5" fmla="*/ 0 h 3"/>
              </a:gdLst>
              <a:cxnLst>
                <a:cxn ang="0">
                  <a:pos x="T0" y="T1"/>
                </a:cxn>
                <a:cxn ang="0">
                  <a:pos x="T2" y="T3"/>
                </a:cxn>
                <a:cxn ang="0">
                  <a:pos x="T4" y="T5"/>
                </a:cxn>
              </a:cxnLst>
              <a:rect l="0" t="0" r="r" b="b"/>
              <a:pathLst>
                <a:path w="1" h="3">
                  <a:moveTo>
                    <a:pt x="0" y="0"/>
                  </a:moveTo>
                  <a:cubicBezTo>
                    <a:pt x="0" y="1"/>
                    <a:pt x="0" y="2"/>
                    <a:pt x="0"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399"/>
            <p:cNvSpPr/>
            <p:nvPr/>
          </p:nvSpPr>
          <p:spPr bwMode="auto">
            <a:xfrm>
              <a:off x="3707" y="2303"/>
              <a:ext cx="21" cy="21"/>
            </a:xfrm>
            <a:custGeom>
              <a:gdLst>
                <a:gd name="T0" fmla="*/ 4 w 9"/>
                <a:gd name="T1" fmla="*/ 0 h 9"/>
                <a:gd name="T2" fmla="*/ 0 w 9"/>
                <a:gd name="T3" fmla="*/ 1 h 9"/>
                <a:gd name="T4" fmla="*/ 6 w 9"/>
                <a:gd name="T5" fmla="*/ 9 h 9"/>
                <a:gd name="T6" fmla="*/ 6 w 9"/>
                <a:gd name="T7" fmla="*/ 1 h 9"/>
                <a:gd name="T8" fmla="*/ 4 w 9"/>
                <a:gd name="T9" fmla="*/ 0 h 9"/>
              </a:gdLst>
              <a:cxnLst>
                <a:cxn ang="0">
                  <a:pos x="T0" y="T1"/>
                </a:cxn>
                <a:cxn ang="0">
                  <a:pos x="T2" y="T3"/>
                </a:cxn>
                <a:cxn ang="0">
                  <a:pos x="T4" y="T5"/>
                </a:cxn>
                <a:cxn ang="0">
                  <a:pos x="T6" y="T7"/>
                </a:cxn>
                <a:cxn ang="0">
                  <a:pos x="T8" y="T9"/>
                </a:cxn>
              </a:cxnLst>
              <a:rect l="0" t="0" r="r" b="b"/>
              <a:pathLst>
                <a:path w="9" h="9">
                  <a:moveTo>
                    <a:pt x="4" y="0"/>
                  </a:moveTo>
                  <a:cubicBezTo>
                    <a:pt x="3" y="0"/>
                    <a:pt x="2" y="1"/>
                    <a:pt x="0" y="1"/>
                  </a:cubicBezTo>
                  <a:cubicBezTo>
                    <a:pt x="2" y="4"/>
                    <a:pt x="4" y="6"/>
                    <a:pt x="6" y="9"/>
                  </a:cubicBezTo>
                  <a:cubicBezTo>
                    <a:pt x="9" y="5"/>
                    <a:pt x="4" y="4"/>
                    <a:pt x="6"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400"/>
            <p:cNvSpPr/>
            <p:nvPr/>
          </p:nvSpPr>
          <p:spPr bwMode="auto">
            <a:xfrm>
              <a:off x="3839" y="3967"/>
              <a:ext cx="31" cy="14"/>
            </a:xfrm>
            <a:custGeom>
              <a:gdLst>
                <a:gd name="T0" fmla="*/ 9 w 13"/>
                <a:gd name="T1" fmla="*/ 0 h 6"/>
                <a:gd name="T2" fmla="*/ 5 w 13"/>
                <a:gd name="T3" fmla="*/ 1 h 6"/>
                <a:gd name="T4" fmla="*/ 4 w 13"/>
                <a:gd name="T5" fmla="*/ 1 h 6"/>
                <a:gd name="T6" fmla="*/ 3 w 13"/>
                <a:gd name="T7" fmla="*/ 1 h 6"/>
                <a:gd name="T8" fmla="*/ 3 w 13"/>
                <a:gd name="T9" fmla="*/ 1 h 6"/>
                <a:gd name="T10" fmla="*/ 0 w 13"/>
                <a:gd name="T11" fmla="*/ 2 h 6"/>
                <a:gd name="T12" fmla="*/ 9 w 13"/>
                <a:gd name="T13" fmla="*/ 6 h 6"/>
                <a:gd name="T14" fmla="*/ 13 w 13"/>
                <a:gd name="T15" fmla="*/ 4 h 6"/>
                <a:gd name="T16" fmla="*/ 13 w 13"/>
                <a:gd name="T17" fmla="*/ 4 h 6"/>
                <a:gd name="T18" fmla="*/ 9 w 13"/>
                <a:gd name="T19" fmla="*/ 0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
                  <a:moveTo>
                    <a:pt x="9" y="0"/>
                  </a:moveTo>
                  <a:cubicBezTo>
                    <a:pt x="8" y="0"/>
                    <a:pt x="7" y="0"/>
                    <a:pt x="5" y="1"/>
                  </a:cubicBezTo>
                  <a:cubicBezTo>
                    <a:pt x="4" y="1"/>
                    <a:pt x="4" y="1"/>
                    <a:pt x="4" y="1"/>
                  </a:cubicBezTo>
                  <a:cubicBezTo>
                    <a:pt x="3" y="1"/>
                    <a:pt x="3" y="1"/>
                    <a:pt x="3" y="1"/>
                  </a:cubicBezTo>
                  <a:cubicBezTo>
                    <a:pt x="3" y="1"/>
                    <a:pt x="3" y="1"/>
                    <a:pt x="3" y="1"/>
                  </a:cubicBezTo>
                  <a:cubicBezTo>
                    <a:pt x="2" y="1"/>
                    <a:pt x="1" y="1"/>
                    <a:pt x="0" y="2"/>
                  </a:cubicBezTo>
                  <a:cubicBezTo>
                    <a:pt x="3" y="3"/>
                    <a:pt x="6" y="4"/>
                    <a:pt x="9" y="6"/>
                  </a:cubicBezTo>
                  <a:cubicBezTo>
                    <a:pt x="11" y="5"/>
                    <a:pt x="12" y="4"/>
                    <a:pt x="13" y="4"/>
                  </a:cubicBezTo>
                  <a:cubicBezTo>
                    <a:pt x="13" y="4"/>
                    <a:pt x="13" y="4"/>
                    <a:pt x="13" y="4"/>
                  </a:cubicBezTo>
                  <a:cubicBezTo>
                    <a:pt x="13" y="1"/>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401"/>
            <p:cNvSpPr/>
            <p:nvPr/>
          </p:nvSpPr>
          <p:spPr bwMode="auto">
            <a:xfrm>
              <a:off x="3903" y="2435"/>
              <a:ext cx="2" cy="7"/>
            </a:xfrm>
            <a:custGeom>
              <a:gdLst>
                <a:gd name="T0" fmla="*/ 1 w 1"/>
                <a:gd name="T1" fmla="*/ 0 h 3"/>
                <a:gd name="T2" fmla="*/ 0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1402"/>
            <p:cNvSpPr/>
            <p:nvPr/>
          </p:nvSpPr>
          <p:spPr bwMode="auto">
            <a:xfrm>
              <a:off x="2773" y="1794"/>
              <a:ext cx="10" cy="26"/>
            </a:xfrm>
            <a:custGeom>
              <a:gdLst>
                <a:gd name="T0" fmla="*/ 3 w 4"/>
                <a:gd name="T1" fmla="*/ 0 h 11"/>
                <a:gd name="T2" fmla="*/ 0 w 4"/>
                <a:gd name="T3" fmla="*/ 2 h 11"/>
                <a:gd name="T4" fmla="*/ 3 w 4"/>
                <a:gd name="T5" fmla="*/ 11 h 11"/>
                <a:gd name="T6" fmla="*/ 4 w 4"/>
                <a:gd name="T7" fmla="*/ 5 h 11"/>
                <a:gd name="T8" fmla="*/ 3 w 4"/>
                <a:gd name="T9" fmla="*/ 0 h 11"/>
              </a:gdLst>
              <a:cxnLst>
                <a:cxn ang="0">
                  <a:pos x="T0" y="T1"/>
                </a:cxn>
                <a:cxn ang="0">
                  <a:pos x="T2" y="T3"/>
                </a:cxn>
                <a:cxn ang="0">
                  <a:pos x="T4" y="T5"/>
                </a:cxn>
                <a:cxn ang="0">
                  <a:pos x="T6" y="T7"/>
                </a:cxn>
                <a:cxn ang="0">
                  <a:pos x="T8" y="T9"/>
                </a:cxn>
              </a:cxnLst>
              <a:rect l="0" t="0" r="r" b="b"/>
              <a:pathLst>
                <a:path w="4" h="11">
                  <a:moveTo>
                    <a:pt x="3" y="0"/>
                  </a:moveTo>
                  <a:cubicBezTo>
                    <a:pt x="2" y="1"/>
                    <a:pt x="1" y="2"/>
                    <a:pt x="0" y="2"/>
                  </a:cubicBezTo>
                  <a:cubicBezTo>
                    <a:pt x="1" y="5"/>
                    <a:pt x="2" y="8"/>
                    <a:pt x="3" y="11"/>
                  </a:cubicBezTo>
                  <a:cubicBezTo>
                    <a:pt x="4" y="8"/>
                    <a:pt x="4" y="6"/>
                    <a:pt x="4" y="5"/>
                  </a:cubicBezTo>
                  <a:cubicBezTo>
                    <a:pt x="3"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403"/>
            <p:cNvSpPr/>
            <p:nvPr/>
          </p:nvSpPr>
          <p:spPr bwMode="auto">
            <a:xfrm>
              <a:off x="3047" y="3588"/>
              <a:ext cx="114" cy="38"/>
            </a:xfrm>
            <a:custGeom>
              <a:gdLst>
                <a:gd name="T0" fmla="*/ 30 w 48"/>
                <a:gd name="T1" fmla="*/ 0 h 16"/>
                <a:gd name="T2" fmla="*/ 24 w 48"/>
                <a:gd name="T3" fmla="*/ 0 h 16"/>
                <a:gd name="T4" fmla="*/ 16 w 48"/>
                <a:gd name="T5" fmla="*/ 3 h 16"/>
                <a:gd name="T6" fmla="*/ 7 w 48"/>
                <a:gd name="T7" fmla="*/ 5 h 16"/>
                <a:gd name="T8" fmla="*/ 3 w 48"/>
                <a:gd name="T9" fmla="*/ 12 h 16"/>
                <a:gd name="T10" fmla="*/ 6 w 48"/>
                <a:gd name="T11" fmla="*/ 15 h 16"/>
                <a:gd name="T12" fmla="*/ 8 w 48"/>
                <a:gd name="T13" fmla="*/ 15 h 16"/>
                <a:gd name="T14" fmla="*/ 10 w 48"/>
                <a:gd name="T15" fmla="*/ 15 h 16"/>
                <a:gd name="T16" fmla="*/ 14 w 48"/>
                <a:gd name="T17" fmla="*/ 15 h 16"/>
                <a:gd name="T18" fmla="*/ 18 w 48"/>
                <a:gd name="T19" fmla="*/ 15 h 16"/>
                <a:gd name="T20" fmla="*/ 24 w 48"/>
                <a:gd name="T21" fmla="*/ 14 h 16"/>
                <a:gd name="T22" fmla="*/ 28 w 48"/>
                <a:gd name="T23" fmla="*/ 16 h 16"/>
                <a:gd name="T24" fmla="*/ 37 w 48"/>
                <a:gd name="T25" fmla="*/ 10 h 16"/>
                <a:gd name="T26" fmla="*/ 48 w 48"/>
                <a:gd name="T27" fmla="*/ 9 h 16"/>
                <a:gd name="T28" fmla="*/ 44 w 48"/>
                <a:gd name="T29" fmla="*/ 5 h 16"/>
                <a:gd name="T30" fmla="*/ 43 w 48"/>
                <a:gd name="T31" fmla="*/ 5 h 16"/>
                <a:gd name="T32" fmla="*/ 40 w 48"/>
                <a:gd name="T33" fmla="*/ 7 h 16"/>
                <a:gd name="T34" fmla="*/ 40 w 48"/>
                <a:gd name="T35" fmla="*/ 7 h 16"/>
                <a:gd name="T36" fmla="*/ 37 w 48"/>
                <a:gd name="T37" fmla="*/ 5 h 16"/>
                <a:gd name="T38" fmla="*/ 35 w 48"/>
                <a:gd name="T39" fmla="*/ 4 h 16"/>
                <a:gd name="T40" fmla="*/ 32 w 48"/>
                <a:gd name="T41" fmla="*/ 0 h 16"/>
                <a:gd name="T42" fmla="*/ 30 w 48"/>
                <a:gd name="T43" fmla="*/ 0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16">
                  <a:moveTo>
                    <a:pt x="30" y="0"/>
                  </a:moveTo>
                  <a:cubicBezTo>
                    <a:pt x="28" y="0"/>
                    <a:pt x="25" y="0"/>
                    <a:pt x="24" y="0"/>
                  </a:cubicBezTo>
                  <a:cubicBezTo>
                    <a:pt x="22" y="1"/>
                    <a:pt x="19" y="3"/>
                    <a:pt x="16" y="3"/>
                  </a:cubicBezTo>
                  <a:cubicBezTo>
                    <a:pt x="13" y="4"/>
                    <a:pt x="10" y="4"/>
                    <a:pt x="7" y="5"/>
                  </a:cubicBezTo>
                  <a:cubicBezTo>
                    <a:pt x="3" y="6"/>
                    <a:pt x="0" y="9"/>
                    <a:pt x="3" y="12"/>
                  </a:cubicBezTo>
                  <a:cubicBezTo>
                    <a:pt x="6" y="15"/>
                    <a:pt x="6" y="15"/>
                    <a:pt x="6" y="15"/>
                  </a:cubicBezTo>
                  <a:cubicBezTo>
                    <a:pt x="7" y="15"/>
                    <a:pt x="8" y="15"/>
                    <a:pt x="8" y="15"/>
                  </a:cubicBezTo>
                  <a:cubicBezTo>
                    <a:pt x="8" y="15"/>
                    <a:pt x="9" y="15"/>
                    <a:pt x="10" y="15"/>
                  </a:cubicBezTo>
                  <a:cubicBezTo>
                    <a:pt x="11" y="15"/>
                    <a:pt x="13" y="15"/>
                    <a:pt x="14" y="15"/>
                  </a:cubicBezTo>
                  <a:cubicBezTo>
                    <a:pt x="16" y="15"/>
                    <a:pt x="17" y="15"/>
                    <a:pt x="18" y="15"/>
                  </a:cubicBezTo>
                  <a:cubicBezTo>
                    <a:pt x="20" y="15"/>
                    <a:pt x="22" y="14"/>
                    <a:pt x="24" y="14"/>
                  </a:cubicBezTo>
                  <a:cubicBezTo>
                    <a:pt x="25" y="14"/>
                    <a:pt x="27" y="14"/>
                    <a:pt x="28" y="16"/>
                  </a:cubicBezTo>
                  <a:cubicBezTo>
                    <a:pt x="31" y="14"/>
                    <a:pt x="34" y="11"/>
                    <a:pt x="37" y="10"/>
                  </a:cubicBezTo>
                  <a:cubicBezTo>
                    <a:pt x="40" y="9"/>
                    <a:pt x="44" y="9"/>
                    <a:pt x="48" y="9"/>
                  </a:cubicBezTo>
                  <a:cubicBezTo>
                    <a:pt x="47" y="8"/>
                    <a:pt x="46" y="6"/>
                    <a:pt x="44" y="5"/>
                  </a:cubicBezTo>
                  <a:cubicBezTo>
                    <a:pt x="44" y="5"/>
                    <a:pt x="44" y="5"/>
                    <a:pt x="43" y="5"/>
                  </a:cubicBezTo>
                  <a:cubicBezTo>
                    <a:pt x="41" y="5"/>
                    <a:pt x="42" y="7"/>
                    <a:pt x="40" y="7"/>
                  </a:cubicBezTo>
                  <a:cubicBezTo>
                    <a:pt x="40" y="7"/>
                    <a:pt x="40" y="7"/>
                    <a:pt x="40" y="7"/>
                  </a:cubicBezTo>
                  <a:cubicBezTo>
                    <a:pt x="38" y="7"/>
                    <a:pt x="38" y="6"/>
                    <a:pt x="37" y="5"/>
                  </a:cubicBezTo>
                  <a:cubicBezTo>
                    <a:pt x="36" y="5"/>
                    <a:pt x="36" y="6"/>
                    <a:pt x="35" y="4"/>
                  </a:cubicBezTo>
                  <a:cubicBezTo>
                    <a:pt x="33" y="2"/>
                    <a:pt x="34" y="1"/>
                    <a:pt x="32" y="0"/>
                  </a:cubicBezTo>
                  <a:cubicBezTo>
                    <a:pt x="31" y="0"/>
                    <a:pt x="31"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404"/>
            <p:cNvSpPr/>
            <p:nvPr/>
          </p:nvSpPr>
          <p:spPr bwMode="auto">
            <a:xfrm>
              <a:off x="2847" y="3331"/>
              <a:ext cx="9" cy="7"/>
            </a:xfrm>
            <a:custGeom>
              <a:gdLst>
                <a:gd name="T0" fmla="*/ 4 w 4"/>
                <a:gd name="T1" fmla="*/ 0 h 3"/>
                <a:gd name="T2" fmla="*/ 0 w 4"/>
                <a:gd name="T3" fmla="*/ 3 h 3"/>
                <a:gd name="T4" fmla="*/ 4 w 4"/>
                <a:gd name="T5" fmla="*/ 0 h 3"/>
              </a:gdLst>
              <a:cxnLst>
                <a:cxn ang="0">
                  <a:pos x="T0" y="T1"/>
                </a:cxn>
                <a:cxn ang="0">
                  <a:pos x="T2" y="T3"/>
                </a:cxn>
                <a:cxn ang="0">
                  <a:pos x="T4" y="T5"/>
                </a:cxn>
              </a:cxnLst>
              <a:rect l="0" t="0" r="r" b="b"/>
              <a:pathLst>
                <a:path w="4" h="3">
                  <a:moveTo>
                    <a:pt x="4" y="0"/>
                  </a:moveTo>
                  <a:cubicBezTo>
                    <a:pt x="2" y="1"/>
                    <a:pt x="1" y="2"/>
                    <a:pt x="0" y="3"/>
                  </a:cubicBezTo>
                  <a:cubicBezTo>
                    <a:pt x="1" y="2"/>
                    <a:pt x="2"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405"/>
            <p:cNvSpPr/>
            <p:nvPr/>
          </p:nvSpPr>
          <p:spPr bwMode="auto">
            <a:xfrm>
              <a:off x="3652" y="3804"/>
              <a:ext cx="15" cy="9"/>
            </a:xfrm>
            <a:custGeom>
              <a:gdLst>
                <a:gd name="T0" fmla="*/ 1 w 6"/>
                <a:gd name="T1" fmla="*/ 0 h 4"/>
                <a:gd name="T2" fmla="*/ 2 w 6"/>
                <a:gd name="T3" fmla="*/ 4 h 4"/>
                <a:gd name="T4" fmla="*/ 6 w 6"/>
                <a:gd name="T5" fmla="*/ 2 h 4"/>
                <a:gd name="T6" fmla="*/ 6 w 6"/>
                <a:gd name="T7" fmla="*/ 2 h 4"/>
                <a:gd name="T8" fmla="*/ 1 w 6"/>
                <a:gd name="T9" fmla="*/ 0 h 4"/>
              </a:gdLst>
              <a:cxnLst>
                <a:cxn ang="0">
                  <a:pos x="T0" y="T1"/>
                </a:cxn>
                <a:cxn ang="0">
                  <a:pos x="T2" y="T3"/>
                </a:cxn>
                <a:cxn ang="0">
                  <a:pos x="T4" y="T5"/>
                </a:cxn>
                <a:cxn ang="0">
                  <a:pos x="T6" y="T7"/>
                </a:cxn>
                <a:cxn ang="0">
                  <a:pos x="T8" y="T9"/>
                </a:cxn>
              </a:cxnLst>
              <a:rect l="0" t="0" r="r" b="b"/>
              <a:pathLst>
                <a:path w="6" h="4">
                  <a:moveTo>
                    <a:pt x="1" y="0"/>
                  </a:moveTo>
                  <a:cubicBezTo>
                    <a:pt x="0" y="1"/>
                    <a:pt x="1" y="3"/>
                    <a:pt x="2" y="4"/>
                  </a:cubicBezTo>
                  <a:cubicBezTo>
                    <a:pt x="3" y="3"/>
                    <a:pt x="4" y="2"/>
                    <a:pt x="6" y="2"/>
                  </a:cubicBezTo>
                  <a:cubicBezTo>
                    <a:pt x="6" y="2"/>
                    <a:pt x="6" y="2"/>
                    <a:pt x="6" y="2"/>
                  </a:cubicBezTo>
                  <a:cubicBezTo>
                    <a:pt x="4"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1406"/>
            <p:cNvSpPr/>
            <p:nvPr/>
          </p:nvSpPr>
          <p:spPr bwMode="auto">
            <a:xfrm>
              <a:off x="1599" y="2477"/>
              <a:ext cx="9" cy="17"/>
            </a:xfrm>
            <a:custGeom>
              <a:gdLst>
                <a:gd name="T0" fmla="*/ 3 w 4"/>
                <a:gd name="T1" fmla="*/ 0 h 7"/>
                <a:gd name="T2" fmla="*/ 0 w 4"/>
                <a:gd name="T3" fmla="*/ 7 h 7"/>
                <a:gd name="T4" fmla="*/ 3 w 4"/>
                <a:gd name="T5" fmla="*/ 0 h 7"/>
              </a:gdLst>
              <a:cxnLst>
                <a:cxn ang="0">
                  <a:pos x="T0" y="T1"/>
                </a:cxn>
                <a:cxn ang="0">
                  <a:pos x="T2" y="T3"/>
                </a:cxn>
                <a:cxn ang="0">
                  <a:pos x="T4" y="T5"/>
                </a:cxn>
              </a:cxnLst>
              <a:rect l="0" t="0" r="r" b="b"/>
              <a:pathLst>
                <a:path w="4" h="7">
                  <a:moveTo>
                    <a:pt x="3" y="0"/>
                  </a:moveTo>
                  <a:cubicBezTo>
                    <a:pt x="2" y="2"/>
                    <a:pt x="1" y="5"/>
                    <a:pt x="0" y="7"/>
                  </a:cubicBezTo>
                  <a:cubicBezTo>
                    <a:pt x="2" y="5"/>
                    <a:pt x="4"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1407"/>
            <p:cNvSpPr/>
            <p:nvPr/>
          </p:nvSpPr>
          <p:spPr bwMode="auto">
            <a:xfrm>
              <a:off x="4009" y="2589"/>
              <a:ext cx="3" cy="9"/>
            </a:xfrm>
            <a:custGeom>
              <a:gdLst>
                <a:gd name="T0" fmla="*/ 0 w 1"/>
                <a:gd name="T1" fmla="*/ 0 h 4"/>
                <a:gd name="T2" fmla="*/ 0 w 1"/>
                <a:gd name="T3" fmla="*/ 4 h 4"/>
                <a:gd name="T4" fmla="*/ 0 w 1"/>
                <a:gd name="T5" fmla="*/ 0 h 4"/>
              </a:gdLst>
              <a:cxnLst>
                <a:cxn ang="0">
                  <a:pos x="T0" y="T1"/>
                </a:cxn>
                <a:cxn ang="0">
                  <a:pos x="T2" y="T3"/>
                </a:cxn>
                <a:cxn ang="0">
                  <a:pos x="T4" y="T5"/>
                </a:cxn>
              </a:cxnLst>
              <a:rect l="0" t="0" r="r" b="b"/>
              <a:pathLst>
                <a:path w="1" h="4">
                  <a:moveTo>
                    <a:pt x="0" y="0"/>
                  </a:moveTo>
                  <a:cubicBezTo>
                    <a:pt x="0" y="2"/>
                    <a:pt x="0" y="3"/>
                    <a:pt x="0" y="4"/>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408"/>
            <p:cNvSpPr>
              <a:spLocks noEditPoints="1"/>
            </p:cNvSpPr>
            <p:nvPr/>
          </p:nvSpPr>
          <p:spPr bwMode="auto">
            <a:xfrm>
              <a:off x="3823" y="3917"/>
              <a:ext cx="47" cy="43"/>
            </a:xfrm>
            <a:custGeom>
              <a:gdLst>
                <a:gd name="T0" fmla="*/ 14 w 20"/>
                <a:gd name="T1" fmla="*/ 17 h 18"/>
                <a:gd name="T2" fmla="*/ 14 w 20"/>
                <a:gd name="T3" fmla="*/ 17 h 18"/>
                <a:gd name="T4" fmla="*/ 14 w 20"/>
                <a:gd name="T5" fmla="*/ 17 h 18"/>
                <a:gd name="T6" fmla="*/ 5 w 20"/>
                <a:gd name="T7" fmla="*/ 0 h 18"/>
                <a:gd name="T8" fmla="*/ 2 w 20"/>
                <a:gd name="T9" fmla="*/ 4 h 18"/>
                <a:gd name="T10" fmla="*/ 0 w 20"/>
                <a:gd name="T11" fmla="*/ 5 h 18"/>
                <a:gd name="T12" fmla="*/ 7 w 20"/>
                <a:gd name="T13" fmla="*/ 16 h 18"/>
                <a:gd name="T14" fmla="*/ 10 w 20"/>
                <a:gd name="T15" fmla="*/ 18 h 18"/>
                <a:gd name="T16" fmla="*/ 12 w 20"/>
                <a:gd name="T17" fmla="*/ 18 h 18"/>
                <a:gd name="T18" fmla="*/ 12 w 20"/>
                <a:gd name="T19" fmla="*/ 18 h 18"/>
                <a:gd name="T20" fmla="*/ 13 w 20"/>
                <a:gd name="T21" fmla="*/ 17 h 18"/>
                <a:gd name="T22" fmla="*/ 14 w 20"/>
                <a:gd name="T23" fmla="*/ 17 h 18"/>
                <a:gd name="T24" fmla="*/ 14 w 20"/>
                <a:gd name="T25" fmla="*/ 17 h 18"/>
                <a:gd name="T26" fmla="*/ 14 w 20"/>
                <a:gd name="T27" fmla="*/ 17 h 18"/>
                <a:gd name="T28" fmla="*/ 15 w 20"/>
                <a:gd name="T29" fmla="*/ 17 h 18"/>
                <a:gd name="T30" fmla="*/ 15 w 20"/>
                <a:gd name="T31" fmla="*/ 18 h 18"/>
                <a:gd name="T32" fmla="*/ 16 w 20"/>
                <a:gd name="T33" fmla="*/ 17 h 18"/>
                <a:gd name="T34" fmla="*/ 5 w 20"/>
                <a:gd name="T35" fmla="*/ 0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8">
                  <a:moveTo>
                    <a:pt x="14" y="17"/>
                  </a:moveTo>
                  <a:cubicBezTo>
                    <a:pt x="14" y="17"/>
                    <a:pt x="14" y="17"/>
                    <a:pt x="14" y="17"/>
                  </a:cubicBezTo>
                  <a:cubicBezTo>
                    <a:pt x="14" y="17"/>
                    <a:pt x="14" y="17"/>
                    <a:pt x="14" y="17"/>
                  </a:cubicBezTo>
                  <a:moveTo>
                    <a:pt x="5" y="0"/>
                  </a:moveTo>
                  <a:cubicBezTo>
                    <a:pt x="3" y="0"/>
                    <a:pt x="2" y="2"/>
                    <a:pt x="2" y="4"/>
                  </a:cubicBezTo>
                  <a:cubicBezTo>
                    <a:pt x="1" y="4"/>
                    <a:pt x="0" y="4"/>
                    <a:pt x="0" y="5"/>
                  </a:cubicBezTo>
                  <a:cubicBezTo>
                    <a:pt x="0" y="8"/>
                    <a:pt x="6" y="14"/>
                    <a:pt x="7" y="16"/>
                  </a:cubicBezTo>
                  <a:cubicBezTo>
                    <a:pt x="8" y="18"/>
                    <a:pt x="9" y="18"/>
                    <a:pt x="10" y="18"/>
                  </a:cubicBezTo>
                  <a:cubicBezTo>
                    <a:pt x="10" y="18"/>
                    <a:pt x="11" y="18"/>
                    <a:pt x="12" y="18"/>
                  </a:cubicBezTo>
                  <a:cubicBezTo>
                    <a:pt x="12" y="18"/>
                    <a:pt x="12" y="18"/>
                    <a:pt x="12" y="18"/>
                  </a:cubicBezTo>
                  <a:cubicBezTo>
                    <a:pt x="12" y="18"/>
                    <a:pt x="12" y="17"/>
                    <a:pt x="13" y="17"/>
                  </a:cubicBezTo>
                  <a:cubicBezTo>
                    <a:pt x="13" y="17"/>
                    <a:pt x="14" y="17"/>
                    <a:pt x="14" y="17"/>
                  </a:cubicBezTo>
                  <a:cubicBezTo>
                    <a:pt x="14" y="17"/>
                    <a:pt x="14" y="17"/>
                    <a:pt x="14" y="17"/>
                  </a:cubicBezTo>
                  <a:cubicBezTo>
                    <a:pt x="14" y="17"/>
                    <a:pt x="14" y="17"/>
                    <a:pt x="14" y="17"/>
                  </a:cubicBezTo>
                  <a:cubicBezTo>
                    <a:pt x="14" y="17"/>
                    <a:pt x="14" y="17"/>
                    <a:pt x="15" y="17"/>
                  </a:cubicBezTo>
                  <a:cubicBezTo>
                    <a:pt x="15" y="17"/>
                    <a:pt x="15" y="18"/>
                    <a:pt x="15" y="18"/>
                  </a:cubicBezTo>
                  <a:cubicBezTo>
                    <a:pt x="16" y="18"/>
                    <a:pt x="16" y="17"/>
                    <a:pt x="16" y="17"/>
                  </a:cubicBezTo>
                  <a:cubicBezTo>
                    <a:pt x="20" y="13"/>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409"/>
            <p:cNvSpPr/>
            <p:nvPr/>
          </p:nvSpPr>
          <p:spPr bwMode="auto">
            <a:xfrm>
              <a:off x="3615" y="3974"/>
              <a:ext cx="4" cy="14"/>
            </a:xfrm>
            <a:custGeom>
              <a:gdLst>
                <a:gd name="T0" fmla="*/ 1 w 2"/>
                <a:gd name="T1" fmla="*/ 0 h 6"/>
                <a:gd name="T2" fmla="*/ 0 w 2"/>
                <a:gd name="T3" fmla="*/ 6 h 6"/>
                <a:gd name="T4" fmla="*/ 1 w 2"/>
                <a:gd name="T5" fmla="*/ 0 h 6"/>
              </a:gdLst>
              <a:cxnLst>
                <a:cxn ang="0">
                  <a:pos x="T0" y="T1"/>
                </a:cxn>
                <a:cxn ang="0">
                  <a:pos x="T2" y="T3"/>
                </a:cxn>
                <a:cxn ang="0">
                  <a:pos x="T4" y="T5"/>
                </a:cxn>
              </a:cxnLst>
              <a:rect l="0" t="0" r="r" b="b"/>
              <a:pathLst>
                <a:path w="2" h="6">
                  <a:moveTo>
                    <a:pt x="1" y="0"/>
                  </a:moveTo>
                  <a:cubicBezTo>
                    <a:pt x="1" y="2"/>
                    <a:pt x="0" y="4"/>
                    <a:pt x="0" y="6"/>
                  </a:cubicBezTo>
                  <a:cubicBezTo>
                    <a:pt x="1"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1410"/>
            <p:cNvSpPr>
              <a:spLocks noEditPoints="1"/>
            </p:cNvSpPr>
            <p:nvPr/>
          </p:nvSpPr>
          <p:spPr bwMode="auto">
            <a:xfrm>
              <a:off x="3605" y="3993"/>
              <a:ext cx="258" cy="243"/>
            </a:xfrm>
            <a:custGeom>
              <a:gdLst>
                <a:gd name="T0" fmla="*/ 109 w 109"/>
                <a:gd name="T1" fmla="*/ 54 h 103"/>
                <a:gd name="T2" fmla="*/ 109 w 109"/>
                <a:gd name="T3" fmla="*/ 54 h 103"/>
                <a:gd name="T4" fmla="*/ 109 w 109"/>
                <a:gd name="T5" fmla="*/ 54 h 103"/>
                <a:gd name="T6" fmla="*/ 3 w 109"/>
                <a:gd name="T7" fmla="*/ 0 h 103"/>
                <a:gd name="T8" fmla="*/ 2 w 109"/>
                <a:gd name="T9" fmla="*/ 18 h 103"/>
                <a:gd name="T10" fmla="*/ 5 w 109"/>
                <a:gd name="T11" fmla="*/ 28 h 103"/>
                <a:gd name="T12" fmla="*/ 11 w 109"/>
                <a:gd name="T13" fmla="*/ 38 h 103"/>
                <a:gd name="T14" fmla="*/ 18 w 109"/>
                <a:gd name="T15" fmla="*/ 49 h 103"/>
                <a:gd name="T16" fmla="*/ 21 w 109"/>
                <a:gd name="T17" fmla="*/ 56 h 103"/>
                <a:gd name="T18" fmla="*/ 25 w 109"/>
                <a:gd name="T19" fmla="*/ 65 h 103"/>
                <a:gd name="T20" fmla="*/ 17 w 109"/>
                <a:gd name="T21" fmla="*/ 54 h 103"/>
                <a:gd name="T22" fmla="*/ 18 w 109"/>
                <a:gd name="T23" fmla="*/ 63 h 103"/>
                <a:gd name="T24" fmla="*/ 25 w 109"/>
                <a:gd name="T25" fmla="*/ 78 h 103"/>
                <a:gd name="T26" fmla="*/ 29 w 109"/>
                <a:gd name="T27" fmla="*/ 81 h 103"/>
                <a:gd name="T28" fmla="*/ 33 w 109"/>
                <a:gd name="T29" fmla="*/ 87 h 103"/>
                <a:gd name="T30" fmla="*/ 36 w 109"/>
                <a:gd name="T31" fmla="*/ 92 h 103"/>
                <a:gd name="T32" fmla="*/ 38 w 109"/>
                <a:gd name="T33" fmla="*/ 90 h 103"/>
                <a:gd name="T34" fmla="*/ 40 w 109"/>
                <a:gd name="T35" fmla="*/ 90 h 103"/>
                <a:gd name="T36" fmla="*/ 47 w 109"/>
                <a:gd name="T37" fmla="*/ 95 h 103"/>
                <a:gd name="T38" fmla="*/ 46 w 109"/>
                <a:gd name="T39" fmla="*/ 95 h 103"/>
                <a:gd name="T40" fmla="*/ 45 w 109"/>
                <a:gd name="T41" fmla="*/ 96 h 103"/>
                <a:gd name="T42" fmla="*/ 44 w 109"/>
                <a:gd name="T43" fmla="*/ 95 h 103"/>
                <a:gd name="T44" fmla="*/ 41 w 109"/>
                <a:gd name="T45" fmla="*/ 101 h 103"/>
                <a:gd name="T46" fmla="*/ 55 w 109"/>
                <a:gd name="T47" fmla="*/ 98 h 103"/>
                <a:gd name="T48" fmla="*/ 56 w 109"/>
                <a:gd name="T49" fmla="*/ 99 h 103"/>
                <a:gd name="T50" fmla="*/ 68 w 109"/>
                <a:gd name="T51" fmla="*/ 103 h 103"/>
                <a:gd name="T52" fmla="*/ 72 w 109"/>
                <a:gd name="T53" fmla="*/ 92 h 103"/>
                <a:gd name="T54" fmla="*/ 70 w 109"/>
                <a:gd name="T55" fmla="*/ 85 h 103"/>
                <a:gd name="T56" fmla="*/ 75 w 109"/>
                <a:gd name="T57" fmla="*/ 92 h 103"/>
                <a:gd name="T58" fmla="*/ 78 w 109"/>
                <a:gd name="T59" fmla="*/ 82 h 103"/>
                <a:gd name="T60" fmla="*/ 78 w 109"/>
                <a:gd name="T61" fmla="*/ 74 h 103"/>
                <a:gd name="T62" fmla="*/ 85 w 109"/>
                <a:gd name="T63" fmla="*/ 82 h 103"/>
                <a:gd name="T64" fmla="*/ 86 w 109"/>
                <a:gd name="T65" fmla="*/ 76 h 103"/>
                <a:gd name="T66" fmla="*/ 86 w 109"/>
                <a:gd name="T67" fmla="*/ 76 h 103"/>
                <a:gd name="T68" fmla="*/ 96 w 109"/>
                <a:gd name="T69" fmla="*/ 83 h 103"/>
                <a:gd name="T70" fmla="*/ 90 w 109"/>
                <a:gd name="T71" fmla="*/ 88 h 103"/>
                <a:gd name="T72" fmla="*/ 94 w 109"/>
                <a:gd name="T73" fmla="*/ 90 h 103"/>
                <a:gd name="T74" fmla="*/ 98 w 109"/>
                <a:gd name="T75" fmla="*/ 89 h 103"/>
                <a:gd name="T76" fmla="*/ 97 w 109"/>
                <a:gd name="T77" fmla="*/ 83 h 103"/>
                <a:gd name="T78" fmla="*/ 97 w 109"/>
                <a:gd name="T79" fmla="*/ 77 h 103"/>
                <a:gd name="T80" fmla="*/ 95 w 109"/>
                <a:gd name="T81" fmla="*/ 78 h 103"/>
                <a:gd name="T82" fmla="*/ 97 w 109"/>
                <a:gd name="T83" fmla="*/ 61 h 103"/>
                <a:gd name="T84" fmla="*/ 103 w 109"/>
                <a:gd name="T85" fmla="*/ 49 h 103"/>
                <a:gd name="T86" fmla="*/ 109 w 109"/>
                <a:gd name="T87" fmla="*/ 54 h 103"/>
                <a:gd name="T88" fmla="*/ 108 w 109"/>
                <a:gd name="T89" fmla="*/ 49 h 103"/>
                <a:gd name="T90" fmla="*/ 107 w 109"/>
                <a:gd name="T91" fmla="*/ 46 h 103"/>
                <a:gd name="T92" fmla="*/ 107 w 109"/>
                <a:gd name="T93" fmla="*/ 29 h 103"/>
                <a:gd name="T94" fmla="*/ 108 w 109"/>
                <a:gd name="T95" fmla="*/ 11 h 103"/>
                <a:gd name="T96" fmla="*/ 105 w 109"/>
                <a:gd name="T97" fmla="*/ 8 h 103"/>
                <a:gd name="T98" fmla="*/ 98 w 109"/>
                <a:gd name="T99" fmla="*/ 3 h 103"/>
                <a:gd name="T100" fmla="*/ 98 w 109"/>
                <a:gd name="T101" fmla="*/ 3 h 103"/>
                <a:gd name="T102" fmla="*/ 90 w 109"/>
                <a:gd name="T103" fmla="*/ 7 h 103"/>
                <a:gd name="T104" fmla="*/ 67 w 109"/>
                <a:gd name="T105" fmla="*/ 13 h 103"/>
                <a:gd name="T106" fmla="*/ 68 w 109"/>
                <a:gd name="T107" fmla="*/ 18 h 103"/>
                <a:gd name="T108" fmla="*/ 59 w 109"/>
                <a:gd name="T109" fmla="*/ 16 h 103"/>
                <a:gd name="T110" fmla="*/ 59 w 109"/>
                <a:gd name="T111" fmla="*/ 16 h 103"/>
                <a:gd name="T112" fmla="*/ 52 w 109"/>
                <a:gd name="T113" fmla="*/ 18 h 103"/>
                <a:gd name="T114" fmla="*/ 51 w 109"/>
                <a:gd name="T115" fmla="*/ 18 h 103"/>
                <a:gd name="T116" fmla="*/ 37 w 109"/>
                <a:gd name="T117" fmla="*/ 14 h 103"/>
                <a:gd name="T118" fmla="*/ 25 w 109"/>
                <a:gd name="T119" fmla="*/ 7 h 103"/>
                <a:gd name="T120" fmla="*/ 10 w 109"/>
                <a:gd name="T121" fmla="*/ 2 h 103"/>
                <a:gd name="T122" fmla="*/ 8 w 109"/>
                <a:gd name="T123" fmla="*/ 3 h 103"/>
                <a:gd name="T124" fmla="*/ 3 w 109"/>
                <a:gd name="T125" fmla="*/ 0 h 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 h="103">
                  <a:moveTo>
                    <a:pt x="109" y="54"/>
                  </a:moveTo>
                  <a:cubicBezTo>
                    <a:pt x="109" y="54"/>
                    <a:pt x="109" y="54"/>
                    <a:pt x="109" y="54"/>
                  </a:cubicBezTo>
                  <a:cubicBezTo>
                    <a:pt x="109" y="54"/>
                    <a:pt x="109" y="54"/>
                    <a:pt x="109" y="54"/>
                  </a:cubicBezTo>
                  <a:moveTo>
                    <a:pt x="3" y="0"/>
                  </a:moveTo>
                  <a:cubicBezTo>
                    <a:pt x="1" y="7"/>
                    <a:pt x="0" y="11"/>
                    <a:pt x="2" y="18"/>
                  </a:cubicBezTo>
                  <a:cubicBezTo>
                    <a:pt x="3" y="21"/>
                    <a:pt x="3" y="25"/>
                    <a:pt x="5" y="28"/>
                  </a:cubicBezTo>
                  <a:cubicBezTo>
                    <a:pt x="7" y="31"/>
                    <a:pt x="9" y="34"/>
                    <a:pt x="11" y="38"/>
                  </a:cubicBezTo>
                  <a:cubicBezTo>
                    <a:pt x="14" y="41"/>
                    <a:pt x="19" y="45"/>
                    <a:pt x="18" y="49"/>
                  </a:cubicBezTo>
                  <a:cubicBezTo>
                    <a:pt x="18" y="53"/>
                    <a:pt x="18" y="54"/>
                    <a:pt x="21" y="56"/>
                  </a:cubicBezTo>
                  <a:cubicBezTo>
                    <a:pt x="24" y="59"/>
                    <a:pt x="28" y="60"/>
                    <a:pt x="25" y="65"/>
                  </a:cubicBezTo>
                  <a:cubicBezTo>
                    <a:pt x="23" y="61"/>
                    <a:pt x="20" y="57"/>
                    <a:pt x="17" y="54"/>
                  </a:cubicBezTo>
                  <a:cubicBezTo>
                    <a:pt x="18" y="56"/>
                    <a:pt x="18" y="60"/>
                    <a:pt x="18" y="63"/>
                  </a:cubicBezTo>
                  <a:cubicBezTo>
                    <a:pt x="19" y="67"/>
                    <a:pt x="22" y="75"/>
                    <a:pt x="25" y="78"/>
                  </a:cubicBezTo>
                  <a:cubicBezTo>
                    <a:pt x="27" y="80"/>
                    <a:pt x="28" y="80"/>
                    <a:pt x="29" y="81"/>
                  </a:cubicBezTo>
                  <a:cubicBezTo>
                    <a:pt x="30" y="83"/>
                    <a:pt x="32" y="85"/>
                    <a:pt x="33" y="87"/>
                  </a:cubicBezTo>
                  <a:cubicBezTo>
                    <a:pt x="34" y="88"/>
                    <a:pt x="35" y="92"/>
                    <a:pt x="36" y="92"/>
                  </a:cubicBezTo>
                  <a:cubicBezTo>
                    <a:pt x="37" y="92"/>
                    <a:pt x="37" y="91"/>
                    <a:pt x="38" y="90"/>
                  </a:cubicBezTo>
                  <a:cubicBezTo>
                    <a:pt x="38" y="90"/>
                    <a:pt x="39" y="90"/>
                    <a:pt x="40" y="90"/>
                  </a:cubicBezTo>
                  <a:cubicBezTo>
                    <a:pt x="43" y="90"/>
                    <a:pt x="48" y="93"/>
                    <a:pt x="47" y="95"/>
                  </a:cubicBezTo>
                  <a:cubicBezTo>
                    <a:pt x="47" y="95"/>
                    <a:pt x="46" y="95"/>
                    <a:pt x="46" y="95"/>
                  </a:cubicBezTo>
                  <a:cubicBezTo>
                    <a:pt x="46" y="95"/>
                    <a:pt x="45" y="95"/>
                    <a:pt x="45" y="96"/>
                  </a:cubicBezTo>
                  <a:cubicBezTo>
                    <a:pt x="45" y="95"/>
                    <a:pt x="44" y="95"/>
                    <a:pt x="44" y="95"/>
                  </a:cubicBezTo>
                  <a:cubicBezTo>
                    <a:pt x="42" y="95"/>
                    <a:pt x="42" y="99"/>
                    <a:pt x="41" y="101"/>
                  </a:cubicBezTo>
                  <a:cubicBezTo>
                    <a:pt x="45" y="100"/>
                    <a:pt x="50" y="98"/>
                    <a:pt x="55" y="98"/>
                  </a:cubicBezTo>
                  <a:cubicBezTo>
                    <a:pt x="55" y="98"/>
                    <a:pt x="55" y="98"/>
                    <a:pt x="56" y="99"/>
                  </a:cubicBezTo>
                  <a:cubicBezTo>
                    <a:pt x="60" y="99"/>
                    <a:pt x="64" y="101"/>
                    <a:pt x="68" y="103"/>
                  </a:cubicBezTo>
                  <a:cubicBezTo>
                    <a:pt x="68" y="98"/>
                    <a:pt x="68" y="95"/>
                    <a:pt x="72" y="92"/>
                  </a:cubicBezTo>
                  <a:cubicBezTo>
                    <a:pt x="71" y="90"/>
                    <a:pt x="68" y="87"/>
                    <a:pt x="70" y="85"/>
                  </a:cubicBezTo>
                  <a:cubicBezTo>
                    <a:pt x="71" y="87"/>
                    <a:pt x="73" y="90"/>
                    <a:pt x="75" y="92"/>
                  </a:cubicBezTo>
                  <a:cubicBezTo>
                    <a:pt x="77" y="88"/>
                    <a:pt x="78" y="86"/>
                    <a:pt x="78" y="82"/>
                  </a:cubicBezTo>
                  <a:cubicBezTo>
                    <a:pt x="78" y="79"/>
                    <a:pt x="77" y="77"/>
                    <a:pt x="78" y="74"/>
                  </a:cubicBezTo>
                  <a:cubicBezTo>
                    <a:pt x="81" y="77"/>
                    <a:pt x="82" y="79"/>
                    <a:pt x="85" y="82"/>
                  </a:cubicBezTo>
                  <a:cubicBezTo>
                    <a:pt x="86" y="80"/>
                    <a:pt x="83" y="77"/>
                    <a:pt x="86" y="76"/>
                  </a:cubicBezTo>
                  <a:cubicBezTo>
                    <a:pt x="86" y="76"/>
                    <a:pt x="86" y="76"/>
                    <a:pt x="86" y="76"/>
                  </a:cubicBezTo>
                  <a:cubicBezTo>
                    <a:pt x="88" y="76"/>
                    <a:pt x="94" y="81"/>
                    <a:pt x="96" y="83"/>
                  </a:cubicBezTo>
                  <a:cubicBezTo>
                    <a:pt x="94" y="83"/>
                    <a:pt x="90" y="85"/>
                    <a:pt x="90" y="88"/>
                  </a:cubicBezTo>
                  <a:cubicBezTo>
                    <a:pt x="90" y="89"/>
                    <a:pt x="92" y="90"/>
                    <a:pt x="94" y="90"/>
                  </a:cubicBezTo>
                  <a:cubicBezTo>
                    <a:pt x="96" y="90"/>
                    <a:pt x="98" y="89"/>
                    <a:pt x="98" y="89"/>
                  </a:cubicBezTo>
                  <a:cubicBezTo>
                    <a:pt x="99" y="87"/>
                    <a:pt x="97" y="86"/>
                    <a:pt x="97" y="83"/>
                  </a:cubicBezTo>
                  <a:cubicBezTo>
                    <a:pt x="98" y="82"/>
                    <a:pt x="99" y="77"/>
                    <a:pt x="97" y="77"/>
                  </a:cubicBezTo>
                  <a:cubicBezTo>
                    <a:pt x="97" y="77"/>
                    <a:pt x="96" y="77"/>
                    <a:pt x="95" y="78"/>
                  </a:cubicBezTo>
                  <a:cubicBezTo>
                    <a:pt x="95" y="73"/>
                    <a:pt x="97" y="66"/>
                    <a:pt x="97" y="61"/>
                  </a:cubicBezTo>
                  <a:cubicBezTo>
                    <a:pt x="98" y="56"/>
                    <a:pt x="103" y="53"/>
                    <a:pt x="103" y="49"/>
                  </a:cubicBezTo>
                  <a:cubicBezTo>
                    <a:pt x="106" y="49"/>
                    <a:pt x="108" y="52"/>
                    <a:pt x="109" y="54"/>
                  </a:cubicBezTo>
                  <a:cubicBezTo>
                    <a:pt x="108" y="52"/>
                    <a:pt x="108" y="50"/>
                    <a:pt x="108" y="49"/>
                  </a:cubicBezTo>
                  <a:cubicBezTo>
                    <a:pt x="108" y="48"/>
                    <a:pt x="107" y="47"/>
                    <a:pt x="107" y="46"/>
                  </a:cubicBezTo>
                  <a:cubicBezTo>
                    <a:pt x="107" y="40"/>
                    <a:pt x="106" y="35"/>
                    <a:pt x="107" y="29"/>
                  </a:cubicBezTo>
                  <a:cubicBezTo>
                    <a:pt x="107" y="24"/>
                    <a:pt x="109" y="16"/>
                    <a:pt x="108" y="11"/>
                  </a:cubicBezTo>
                  <a:cubicBezTo>
                    <a:pt x="107" y="10"/>
                    <a:pt x="106" y="8"/>
                    <a:pt x="105" y="8"/>
                  </a:cubicBezTo>
                  <a:cubicBezTo>
                    <a:pt x="105" y="7"/>
                    <a:pt x="98" y="3"/>
                    <a:pt x="98" y="3"/>
                  </a:cubicBezTo>
                  <a:cubicBezTo>
                    <a:pt x="98" y="3"/>
                    <a:pt x="98" y="3"/>
                    <a:pt x="98" y="3"/>
                  </a:cubicBezTo>
                  <a:cubicBezTo>
                    <a:pt x="95" y="5"/>
                    <a:pt x="93" y="7"/>
                    <a:pt x="90" y="7"/>
                  </a:cubicBezTo>
                  <a:cubicBezTo>
                    <a:pt x="83" y="10"/>
                    <a:pt x="75" y="12"/>
                    <a:pt x="67" y="13"/>
                  </a:cubicBezTo>
                  <a:cubicBezTo>
                    <a:pt x="63" y="14"/>
                    <a:pt x="64" y="16"/>
                    <a:pt x="68" y="18"/>
                  </a:cubicBezTo>
                  <a:cubicBezTo>
                    <a:pt x="65" y="17"/>
                    <a:pt x="62" y="16"/>
                    <a:pt x="59" y="16"/>
                  </a:cubicBezTo>
                  <a:cubicBezTo>
                    <a:pt x="59" y="16"/>
                    <a:pt x="59" y="16"/>
                    <a:pt x="59" y="16"/>
                  </a:cubicBezTo>
                  <a:cubicBezTo>
                    <a:pt x="57" y="16"/>
                    <a:pt x="54" y="18"/>
                    <a:pt x="52" y="18"/>
                  </a:cubicBezTo>
                  <a:cubicBezTo>
                    <a:pt x="52" y="18"/>
                    <a:pt x="52" y="18"/>
                    <a:pt x="51" y="18"/>
                  </a:cubicBezTo>
                  <a:cubicBezTo>
                    <a:pt x="46" y="18"/>
                    <a:pt x="42" y="15"/>
                    <a:pt x="37" y="14"/>
                  </a:cubicBezTo>
                  <a:cubicBezTo>
                    <a:pt x="33" y="12"/>
                    <a:pt x="29" y="9"/>
                    <a:pt x="25" y="7"/>
                  </a:cubicBezTo>
                  <a:cubicBezTo>
                    <a:pt x="22" y="6"/>
                    <a:pt x="15" y="2"/>
                    <a:pt x="10" y="2"/>
                  </a:cubicBezTo>
                  <a:cubicBezTo>
                    <a:pt x="9" y="2"/>
                    <a:pt x="9" y="2"/>
                    <a:pt x="8" y="3"/>
                  </a:cubicBezTo>
                  <a:cubicBezTo>
                    <a:pt x="9"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1411"/>
            <p:cNvSpPr/>
            <p:nvPr/>
          </p:nvSpPr>
          <p:spPr bwMode="auto">
            <a:xfrm>
              <a:off x="2629" y="1811"/>
              <a:ext cx="81" cy="52"/>
            </a:xfrm>
            <a:custGeom>
              <a:gdLst>
                <a:gd name="T0" fmla="*/ 26 w 34"/>
                <a:gd name="T1" fmla="*/ 0 h 22"/>
                <a:gd name="T2" fmla="*/ 25 w 34"/>
                <a:gd name="T3" fmla="*/ 6 h 22"/>
                <a:gd name="T4" fmla="*/ 22 w 34"/>
                <a:gd name="T5" fmla="*/ 2 h 22"/>
                <a:gd name="T6" fmla="*/ 20 w 34"/>
                <a:gd name="T7" fmla="*/ 3 h 22"/>
                <a:gd name="T8" fmla="*/ 10 w 34"/>
                <a:gd name="T9" fmla="*/ 6 h 22"/>
                <a:gd name="T10" fmla="*/ 8 w 34"/>
                <a:gd name="T11" fmla="*/ 6 h 22"/>
                <a:gd name="T12" fmla="*/ 0 w 34"/>
                <a:gd name="T13" fmla="*/ 1 h 22"/>
                <a:gd name="T14" fmla="*/ 5 w 34"/>
                <a:gd name="T15" fmla="*/ 14 h 22"/>
                <a:gd name="T16" fmla="*/ 10 w 34"/>
                <a:gd name="T17" fmla="*/ 18 h 22"/>
                <a:gd name="T18" fmla="*/ 16 w 34"/>
                <a:gd name="T19" fmla="*/ 22 h 22"/>
                <a:gd name="T20" fmla="*/ 17 w 34"/>
                <a:gd name="T21" fmla="*/ 22 h 22"/>
                <a:gd name="T22" fmla="*/ 29 w 34"/>
                <a:gd name="T23" fmla="*/ 13 h 22"/>
                <a:gd name="T24" fmla="*/ 34 w 34"/>
                <a:gd name="T25" fmla="*/ 7 h 22"/>
                <a:gd name="T26" fmla="*/ 31 w 34"/>
                <a:gd name="T27" fmla="*/ 3 h 22"/>
                <a:gd name="T28" fmla="*/ 26 w 34"/>
                <a:gd name="T29" fmla="*/ 0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22">
                  <a:moveTo>
                    <a:pt x="26" y="0"/>
                  </a:moveTo>
                  <a:cubicBezTo>
                    <a:pt x="24" y="0"/>
                    <a:pt x="23" y="2"/>
                    <a:pt x="25" y="6"/>
                  </a:cubicBezTo>
                  <a:cubicBezTo>
                    <a:pt x="23" y="3"/>
                    <a:pt x="23" y="2"/>
                    <a:pt x="22" y="2"/>
                  </a:cubicBezTo>
                  <a:cubicBezTo>
                    <a:pt x="21" y="2"/>
                    <a:pt x="21" y="2"/>
                    <a:pt x="20" y="3"/>
                  </a:cubicBezTo>
                  <a:cubicBezTo>
                    <a:pt x="16" y="3"/>
                    <a:pt x="13" y="5"/>
                    <a:pt x="10" y="6"/>
                  </a:cubicBezTo>
                  <a:cubicBezTo>
                    <a:pt x="9" y="6"/>
                    <a:pt x="9" y="6"/>
                    <a:pt x="8" y="6"/>
                  </a:cubicBezTo>
                  <a:cubicBezTo>
                    <a:pt x="5" y="6"/>
                    <a:pt x="4" y="2"/>
                    <a:pt x="0" y="1"/>
                  </a:cubicBezTo>
                  <a:cubicBezTo>
                    <a:pt x="1" y="5"/>
                    <a:pt x="2" y="11"/>
                    <a:pt x="5" y="14"/>
                  </a:cubicBezTo>
                  <a:cubicBezTo>
                    <a:pt x="7" y="15"/>
                    <a:pt x="8" y="17"/>
                    <a:pt x="10" y="18"/>
                  </a:cubicBezTo>
                  <a:cubicBezTo>
                    <a:pt x="11" y="19"/>
                    <a:pt x="16" y="21"/>
                    <a:pt x="16" y="22"/>
                  </a:cubicBezTo>
                  <a:cubicBezTo>
                    <a:pt x="17" y="22"/>
                    <a:pt x="17" y="22"/>
                    <a:pt x="17" y="22"/>
                  </a:cubicBezTo>
                  <a:cubicBezTo>
                    <a:pt x="20" y="22"/>
                    <a:pt x="26" y="14"/>
                    <a:pt x="29" y="13"/>
                  </a:cubicBezTo>
                  <a:cubicBezTo>
                    <a:pt x="31" y="12"/>
                    <a:pt x="34" y="10"/>
                    <a:pt x="34" y="7"/>
                  </a:cubicBezTo>
                  <a:cubicBezTo>
                    <a:pt x="34" y="5"/>
                    <a:pt x="32" y="5"/>
                    <a:pt x="31" y="3"/>
                  </a:cubicBezTo>
                  <a:cubicBezTo>
                    <a:pt x="30" y="1"/>
                    <a:pt x="28"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1412"/>
            <p:cNvSpPr/>
            <p:nvPr/>
          </p:nvSpPr>
          <p:spPr bwMode="auto">
            <a:xfrm>
              <a:off x="4177" y="2771"/>
              <a:ext cx="33" cy="78"/>
            </a:xfrm>
            <a:custGeom>
              <a:gdLst>
                <a:gd name="T0" fmla="*/ 9 w 14"/>
                <a:gd name="T1" fmla="*/ 0 h 33"/>
                <a:gd name="T2" fmla="*/ 6 w 14"/>
                <a:gd name="T3" fmla="*/ 3 h 33"/>
                <a:gd name="T4" fmla="*/ 2 w 14"/>
                <a:gd name="T5" fmla="*/ 16 h 33"/>
                <a:gd name="T6" fmla="*/ 1 w 14"/>
                <a:gd name="T7" fmla="*/ 24 h 33"/>
                <a:gd name="T8" fmla="*/ 4 w 14"/>
                <a:gd name="T9" fmla="*/ 33 h 33"/>
                <a:gd name="T10" fmla="*/ 11 w 14"/>
                <a:gd name="T11" fmla="*/ 13 h 33"/>
                <a:gd name="T12" fmla="*/ 11 w 14"/>
                <a:gd name="T13" fmla="*/ 5 h 33"/>
                <a:gd name="T14" fmla="*/ 9 w 14"/>
                <a:gd name="T15" fmla="*/ 0 h 3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3">
                  <a:moveTo>
                    <a:pt x="9" y="0"/>
                  </a:moveTo>
                  <a:cubicBezTo>
                    <a:pt x="8" y="0"/>
                    <a:pt x="7" y="1"/>
                    <a:pt x="6" y="3"/>
                  </a:cubicBezTo>
                  <a:cubicBezTo>
                    <a:pt x="14" y="7"/>
                    <a:pt x="4" y="12"/>
                    <a:pt x="2" y="16"/>
                  </a:cubicBezTo>
                  <a:cubicBezTo>
                    <a:pt x="5" y="16"/>
                    <a:pt x="2" y="22"/>
                    <a:pt x="1" y="24"/>
                  </a:cubicBezTo>
                  <a:cubicBezTo>
                    <a:pt x="0" y="26"/>
                    <a:pt x="0" y="31"/>
                    <a:pt x="4" y="33"/>
                  </a:cubicBezTo>
                  <a:cubicBezTo>
                    <a:pt x="6" y="27"/>
                    <a:pt x="9" y="20"/>
                    <a:pt x="11" y="13"/>
                  </a:cubicBezTo>
                  <a:cubicBezTo>
                    <a:pt x="13" y="9"/>
                    <a:pt x="12" y="9"/>
                    <a:pt x="11" y="5"/>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1413"/>
            <p:cNvSpPr/>
            <p:nvPr/>
          </p:nvSpPr>
          <p:spPr bwMode="auto">
            <a:xfrm>
              <a:off x="3021" y="1962"/>
              <a:ext cx="8" cy="12"/>
            </a:xfrm>
            <a:custGeom>
              <a:gdLst>
                <a:gd name="T0" fmla="*/ 0 w 3"/>
                <a:gd name="T1" fmla="*/ 0 h 5"/>
                <a:gd name="T2" fmla="*/ 2 w 3"/>
                <a:gd name="T3" fmla="*/ 5 h 5"/>
                <a:gd name="T4" fmla="*/ 0 w 3"/>
                <a:gd name="T5" fmla="*/ 0 h 5"/>
              </a:gdLst>
              <a:cxnLst>
                <a:cxn ang="0">
                  <a:pos x="T0" y="T1"/>
                </a:cxn>
                <a:cxn ang="0">
                  <a:pos x="T2" y="T3"/>
                </a:cxn>
                <a:cxn ang="0">
                  <a:pos x="T4" y="T5"/>
                </a:cxn>
              </a:cxnLst>
              <a:rect l="0" t="0" r="r" b="b"/>
              <a:pathLst>
                <a:path w="3" h="5">
                  <a:moveTo>
                    <a:pt x="0" y="0"/>
                  </a:moveTo>
                  <a:cubicBezTo>
                    <a:pt x="1" y="2"/>
                    <a:pt x="1" y="3"/>
                    <a:pt x="2"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1414"/>
            <p:cNvSpPr/>
            <p:nvPr/>
          </p:nvSpPr>
          <p:spPr bwMode="auto">
            <a:xfrm>
              <a:off x="3251" y="2217"/>
              <a:ext cx="9" cy="10"/>
            </a:xfrm>
            <a:custGeom>
              <a:gdLst>
                <a:gd name="T0" fmla="*/ 2 w 4"/>
                <a:gd name="T1" fmla="*/ 0 h 4"/>
                <a:gd name="T2" fmla="*/ 0 w 4"/>
                <a:gd name="T3" fmla="*/ 4 h 4"/>
                <a:gd name="T4" fmla="*/ 4 w 4"/>
                <a:gd name="T5" fmla="*/ 2 h 4"/>
                <a:gd name="T6" fmla="*/ 2 w 4"/>
                <a:gd name="T7" fmla="*/ 0 h 4"/>
              </a:gdLst>
              <a:cxnLst>
                <a:cxn ang="0">
                  <a:pos x="T0" y="T1"/>
                </a:cxn>
                <a:cxn ang="0">
                  <a:pos x="T2" y="T3"/>
                </a:cxn>
                <a:cxn ang="0">
                  <a:pos x="T4" y="T5"/>
                </a:cxn>
                <a:cxn ang="0">
                  <a:pos x="T6" y="T7"/>
                </a:cxn>
              </a:cxnLst>
              <a:rect l="0" t="0" r="r" b="b"/>
              <a:pathLst>
                <a:path w="4" h="4">
                  <a:moveTo>
                    <a:pt x="2" y="0"/>
                  </a:moveTo>
                  <a:cubicBezTo>
                    <a:pt x="1" y="0"/>
                    <a:pt x="0" y="3"/>
                    <a:pt x="0" y="4"/>
                  </a:cubicBezTo>
                  <a:cubicBezTo>
                    <a:pt x="1" y="4"/>
                    <a:pt x="4" y="4"/>
                    <a:pt x="4" y="2"/>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1415"/>
            <p:cNvSpPr/>
            <p:nvPr/>
          </p:nvSpPr>
          <p:spPr bwMode="auto">
            <a:xfrm>
              <a:off x="3440" y="1768"/>
              <a:ext cx="9" cy="12"/>
            </a:xfrm>
            <a:custGeom>
              <a:gdLst>
                <a:gd name="T0" fmla="*/ 0 w 4"/>
                <a:gd name="T1" fmla="*/ 0 h 5"/>
                <a:gd name="T2" fmla="*/ 0 w 4"/>
                <a:gd name="T3" fmla="*/ 5 h 5"/>
                <a:gd name="T4" fmla="*/ 0 w 4"/>
                <a:gd name="T5" fmla="*/ 0 h 5"/>
              </a:gdLst>
              <a:cxnLst>
                <a:cxn ang="0">
                  <a:pos x="T0" y="T1"/>
                </a:cxn>
                <a:cxn ang="0">
                  <a:pos x="T2" y="T3"/>
                </a:cxn>
                <a:cxn ang="0">
                  <a:pos x="T4" y="T5"/>
                </a:cxn>
              </a:cxnLst>
              <a:rect l="0" t="0" r="r" b="b"/>
              <a:pathLst>
                <a:path w="4" h="5">
                  <a:moveTo>
                    <a:pt x="0" y="0"/>
                  </a:moveTo>
                  <a:cubicBezTo>
                    <a:pt x="0" y="2"/>
                    <a:pt x="0" y="4"/>
                    <a:pt x="0" y="5"/>
                  </a:cubicBezTo>
                  <a:cubicBezTo>
                    <a:pt x="4" y="5"/>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1416"/>
            <p:cNvSpPr/>
            <p:nvPr/>
          </p:nvSpPr>
          <p:spPr bwMode="auto">
            <a:xfrm>
              <a:off x="4208" y="2967"/>
              <a:ext cx="12" cy="26"/>
            </a:xfrm>
            <a:custGeom>
              <a:gdLst>
                <a:gd name="T0" fmla="*/ 3 w 5"/>
                <a:gd name="T1" fmla="*/ 0 h 11"/>
                <a:gd name="T2" fmla="*/ 1 w 5"/>
                <a:gd name="T3" fmla="*/ 11 h 11"/>
                <a:gd name="T4" fmla="*/ 4 w 5"/>
                <a:gd name="T5" fmla="*/ 3 h 11"/>
                <a:gd name="T6" fmla="*/ 3 w 5"/>
                <a:gd name="T7" fmla="*/ 0 h 11"/>
                <a:gd name="T8" fmla="*/ 3 w 5"/>
                <a:gd name="T9" fmla="*/ 0 h 11"/>
              </a:gdLst>
              <a:cxnLst>
                <a:cxn ang="0">
                  <a:pos x="T0" y="T1"/>
                </a:cxn>
                <a:cxn ang="0">
                  <a:pos x="T2" y="T3"/>
                </a:cxn>
                <a:cxn ang="0">
                  <a:pos x="T4" y="T5"/>
                </a:cxn>
                <a:cxn ang="0">
                  <a:pos x="T6" y="T7"/>
                </a:cxn>
                <a:cxn ang="0">
                  <a:pos x="T8" y="T9"/>
                </a:cxn>
              </a:cxnLst>
              <a:rect l="0" t="0" r="r" b="b"/>
              <a:pathLst>
                <a:path w="5" h="11">
                  <a:moveTo>
                    <a:pt x="3" y="0"/>
                  </a:moveTo>
                  <a:cubicBezTo>
                    <a:pt x="0" y="0"/>
                    <a:pt x="1" y="9"/>
                    <a:pt x="1" y="11"/>
                  </a:cubicBezTo>
                  <a:cubicBezTo>
                    <a:pt x="2" y="9"/>
                    <a:pt x="4" y="5"/>
                    <a:pt x="4" y="3"/>
                  </a:cubicBezTo>
                  <a:cubicBezTo>
                    <a:pt x="4" y="2"/>
                    <a:pt x="5"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1417"/>
            <p:cNvSpPr/>
            <p:nvPr/>
          </p:nvSpPr>
          <p:spPr bwMode="auto">
            <a:xfrm>
              <a:off x="3624" y="3971"/>
              <a:ext cx="5" cy="7"/>
            </a:xfrm>
            <a:custGeom>
              <a:gdLst>
                <a:gd name="T0" fmla="*/ 2 w 2"/>
                <a:gd name="T1" fmla="*/ 0 h 3"/>
                <a:gd name="T2" fmla="*/ 0 w 2"/>
                <a:gd name="T3" fmla="*/ 3 h 3"/>
                <a:gd name="T4" fmla="*/ 2 w 2"/>
                <a:gd name="T5" fmla="*/ 0 h 3"/>
              </a:gd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1418"/>
            <p:cNvSpPr/>
            <p:nvPr/>
          </p:nvSpPr>
          <p:spPr bwMode="auto">
            <a:xfrm>
              <a:off x="3021" y="3539"/>
              <a:ext cx="8" cy="9"/>
            </a:xfrm>
            <a:custGeom>
              <a:gdLst>
                <a:gd name="T0" fmla="*/ 0 w 3"/>
                <a:gd name="T1" fmla="*/ 0 h 4"/>
                <a:gd name="T2" fmla="*/ 3 w 3"/>
                <a:gd name="T3" fmla="*/ 4 h 4"/>
                <a:gd name="T4" fmla="*/ 0 w 3"/>
                <a:gd name="T5" fmla="*/ 0 h 4"/>
              </a:gdLst>
              <a:cxnLst>
                <a:cxn ang="0">
                  <a:pos x="T0" y="T1"/>
                </a:cxn>
                <a:cxn ang="0">
                  <a:pos x="T2" y="T3"/>
                </a:cxn>
                <a:cxn ang="0">
                  <a:pos x="T4" y="T5"/>
                </a:cxn>
              </a:cxnLst>
              <a:rect l="0" t="0" r="r" b="b"/>
              <a:pathLst>
                <a:path w="3" h="4">
                  <a:moveTo>
                    <a:pt x="0" y="0"/>
                  </a:moveTo>
                  <a:cubicBezTo>
                    <a:pt x="1" y="2"/>
                    <a:pt x="2" y="3"/>
                    <a:pt x="3" y="4"/>
                  </a:cubicBezTo>
                  <a:cubicBezTo>
                    <a:pt x="2"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419"/>
            <p:cNvSpPr/>
            <p:nvPr/>
          </p:nvSpPr>
          <p:spPr bwMode="auto">
            <a:xfrm>
              <a:off x="3905" y="2442"/>
              <a:ext cx="10" cy="12"/>
            </a:xfrm>
            <a:custGeom>
              <a:gdLst>
                <a:gd name="T0" fmla="*/ 0 w 4"/>
                <a:gd name="T1" fmla="*/ 0 h 5"/>
                <a:gd name="T2" fmla="*/ 0 w 4"/>
                <a:gd name="T3" fmla="*/ 5 h 5"/>
                <a:gd name="T4" fmla="*/ 0 w 4"/>
                <a:gd name="T5" fmla="*/ 5 h 5"/>
                <a:gd name="T6" fmla="*/ 0 w 4"/>
                <a:gd name="T7" fmla="*/ 0 h 5"/>
              </a:gdLst>
              <a:cxnLst>
                <a:cxn ang="0">
                  <a:pos x="T0" y="T1"/>
                </a:cxn>
                <a:cxn ang="0">
                  <a:pos x="T2" y="T3"/>
                </a:cxn>
                <a:cxn ang="0">
                  <a:pos x="T4" y="T5"/>
                </a:cxn>
                <a:cxn ang="0">
                  <a:pos x="T6" y="T7"/>
                </a:cxn>
              </a:cxnLst>
              <a:rect l="0" t="0" r="r" b="b"/>
              <a:pathLst>
                <a:path w="4" h="5">
                  <a:moveTo>
                    <a:pt x="0" y="0"/>
                  </a:moveTo>
                  <a:cubicBezTo>
                    <a:pt x="0" y="2"/>
                    <a:pt x="0" y="3"/>
                    <a:pt x="0" y="5"/>
                  </a:cubicBezTo>
                  <a:cubicBezTo>
                    <a:pt x="0" y="5"/>
                    <a:pt x="0" y="5"/>
                    <a:pt x="0" y="5"/>
                  </a:cubicBezTo>
                  <a:cubicBezTo>
                    <a:pt x="4" y="5"/>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420"/>
            <p:cNvSpPr/>
            <p:nvPr/>
          </p:nvSpPr>
          <p:spPr bwMode="auto">
            <a:xfrm>
              <a:off x="3050" y="2113"/>
              <a:ext cx="7" cy="8"/>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2"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421"/>
            <p:cNvSpPr/>
            <p:nvPr/>
          </p:nvSpPr>
          <p:spPr bwMode="auto">
            <a:xfrm>
              <a:off x="3029" y="1983"/>
              <a:ext cx="7" cy="15"/>
            </a:xfrm>
            <a:custGeom>
              <a:gdLst>
                <a:gd name="T0" fmla="*/ 1 w 3"/>
                <a:gd name="T1" fmla="*/ 0 h 6"/>
                <a:gd name="T2" fmla="*/ 0 w 3"/>
                <a:gd name="T3" fmla="*/ 6 h 6"/>
                <a:gd name="T4" fmla="*/ 1 w 3"/>
                <a:gd name="T5" fmla="*/ 0 h 6"/>
              </a:gdLst>
              <a:cxnLst>
                <a:cxn ang="0">
                  <a:pos x="T0" y="T1"/>
                </a:cxn>
                <a:cxn ang="0">
                  <a:pos x="T2" y="T3"/>
                </a:cxn>
                <a:cxn ang="0">
                  <a:pos x="T4" y="T5"/>
                </a:cxn>
              </a:cxnLst>
              <a:rect l="0" t="0" r="r" b="b"/>
              <a:pathLst>
                <a:path w="3" h="6">
                  <a:moveTo>
                    <a:pt x="1" y="0"/>
                  </a:moveTo>
                  <a:cubicBezTo>
                    <a:pt x="1" y="0"/>
                    <a:pt x="0" y="2"/>
                    <a:pt x="0" y="6"/>
                  </a:cubicBezTo>
                  <a:cubicBezTo>
                    <a:pt x="3" y="4"/>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422"/>
            <p:cNvSpPr/>
            <p:nvPr/>
          </p:nvSpPr>
          <p:spPr bwMode="auto">
            <a:xfrm>
              <a:off x="3085" y="2118"/>
              <a:ext cx="5" cy="17"/>
            </a:xfrm>
            <a:custGeom>
              <a:gdLst>
                <a:gd name="T0" fmla="*/ 0 w 2"/>
                <a:gd name="T1" fmla="*/ 0 h 7"/>
                <a:gd name="T2" fmla="*/ 1 w 2"/>
                <a:gd name="T3" fmla="*/ 7 h 7"/>
                <a:gd name="T4" fmla="*/ 0 w 2"/>
                <a:gd name="T5" fmla="*/ 0 h 7"/>
              </a:gdLst>
              <a:cxnLst>
                <a:cxn ang="0">
                  <a:pos x="T0" y="T1"/>
                </a:cxn>
                <a:cxn ang="0">
                  <a:pos x="T2" y="T3"/>
                </a:cxn>
                <a:cxn ang="0">
                  <a:pos x="T4" y="T5"/>
                </a:cxn>
              </a:cxnLst>
              <a:rect l="0" t="0" r="r" b="b"/>
              <a:pathLst>
                <a:path w="2" h="7">
                  <a:moveTo>
                    <a:pt x="0" y="0"/>
                  </a:moveTo>
                  <a:cubicBezTo>
                    <a:pt x="0" y="2"/>
                    <a:pt x="0" y="5"/>
                    <a:pt x="1" y="7"/>
                  </a:cubicBezTo>
                  <a:cubicBezTo>
                    <a:pt x="1"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1423"/>
            <p:cNvSpPr/>
            <p:nvPr/>
          </p:nvSpPr>
          <p:spPr bwMode="auto">
            <a:xfrm>
              <a:off x="3641" y="3815"/>
              <a:ext cx="16" cy="10"/>
            </a:xfrm>
            <a:custGeom>
              <a:gdLst>
                <a:gd name="T0" fmla="*/ 3 w 7"/>
                <a:gd name="T1" fmla="*/ 0 h 4"/>
                <a:gd name="T2" fmla="*/ 0 w 7"/>
                <a:gd name="T3" fmla="*/ 2 h 4"/>
                <a:gd name="T4" fmla="*/ 7 w 7"/>
                <a:gd name="T5" fmla="*/ 4 h 4"/>
                <a:gd name="T6" fmla="*/ 3 w 7"/>
                <a:gd name="T7" fmla="*/ 0 h 4"/>
              </a:gdLst>
              <a:cxnLst>
                <a:cxn ang="0">
                  <a:pos x="T0" y="T1"/>
                </a:cxn>
                <a:cxn ang="0">
                  <a:pos x="T2" y="T3"/>
                </a:cxn>
                <a:cxn ang="0">
                  <a:pos x="T4" y="T5"/>
                </a:cxn>
                <a:cxn ang="0">
                  <a:pos x="T6" y="T7"/>
                </a:cxn>
              </a:cxnLst>
              <a:rect l="0" t="0" r="r" b="b"/>
              <a:pathLst>
                <a:path w="7" h="4">
                  <a:moveTo>
                    <a:pt x="3" y="0"/>
                  </a:moveTo>
                  <a:cubicBezTo>
                    <a:pt x="2" y="0"/>
                    <a:pt x="1" y="1"/>
                    <a:pt x="0" y="2"/>
                  </a:cubicBezTo>
                  <a:cubicBezTo>
                    <a:pt x="2" y="3"/>
                    <a:pt x="4" y="3"/>
                    <a:pt x="7" y="4"/>
                  </a:cubicBezTo>
                  <a:cubicBezTo>
                    <a:pt x="6"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1424"/>
            <p:cNvSpPr/>
            <p:nvPr/>
          </p:nvSpPr>
          <p:spPr bwMode="auto">
            <a:xfrm>
              <a:off x="3442" y="1738"/>
              <a:ext cx="10" cy="9"/>
            </a:xfrm>
            <a:custGeom>
              <a:gdLst>
                <a:gd name="T0" fmla="*/ 2 w 4"/>
                <a:gd name="T1" fmla="*/ 0 h 4"/>
                <a:gd name="T2" fmla="*/ 2 w 4"/>
                <a:gd name="T3" fmla="*/ 4 h 4"/>
                <a:gd name="T4" fmla="*/ 2 w 4"/>
                <a:gd name="T5" fmla="*/ 0 h 4"/>
              </a:gdLst>
              <a:cxnLst>
                <a:cxn ang="0">
                  <a:pos x="T0" y="T1"/>
                </a:cxn>
                <a:cxn ang="0">
                  <a:pos x="T2" y="T3"/>
                </a:cxn>
                <a:cxn ang="0">
                  <a:pos x="T4" y="T5"/>
                </a:cxn>
              </a:cxnLst>
              <a:rect l="0" t="0" r="r" b="b"/>
              <a:pathLst>
                <a:path w="4" h="4">
                  <a:moveTo>
                    <a:pt x="2" y="0"/>
                  </a:moveTo>
                  <a:cubicBezTo>
                    <a:pt x="1" y="0"/>
                    <a:pt x="0" y="1"/>
                    <a:pt x="2" y="4"/>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1425"/>
            <p:cNvSpPr/>
            <p:nvPr/>
          </p:nvSpPr>
          <p:spPr bwMode="auto">
            <a:xfrm>
              <a:off x="3969" y="2579"/>
              <a:ext cx="2" cy="12"/>
            </a:xfrm>
            <a:custGeom>
              <a:gdLst>
                <a:gd name="T0" fmla="*/ 0 w 1"/>
                <a:gd name="T1" fmla="*/ 0 h 5"/>
                <a:gd name="T2" fmla="*/ 0 w 1"/>
                <a:gd name="T3" fmla="*/ 5 h 5"/>
                <a:gd name="T4" fmla="*/ 0 w 1"/>
                <a:gd name="T5" fmla="*/ 0 h 5"/>
              </a:gdLst>
              <a:cxnLst>
                <a:cxn ang="0">
                  <a:pos x="T0" y="T1"/>
                </a:cxn>
                <a:cxn ang="0">
                  <a:pos x="T2" y="T3"/>
                </a:cxn>
                <a:cxn ang="0">
                  <a:pos x="T4" y="T5"/>
                </a:cxn>
              </a:cxnLst>
              <a:rect l="0" t="0" r="r" b="b"/>
              <a:pathLst>
                <a:path w="1" h="5">
                  <a:moveTo>
                    <a:pt x="0" y="0"/>
                  </a:moveTo>
                  <a:cubicBezTo>
                    <a:pt x="0" y="1"/>
                    <a:pt x="0" y="3"/>
                    <a:pt x="0" y="5"/>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1426"/>
            <p:cNvSpPr/>
            <p:nvPr/>
          </p:nvSpPr>
          <p:spPr bwMode="auto">
            <a:xfrm>
              <a:off x="3775" y="4194"/>
              <a:ext cx="24" cy="35"/>
            </a:xfrm>
            <a:custGeom>
              <a:gdLst>
                <a:gd name="T0" fmla="*/ 8 w 10"/>
                <a:gd name="T1" fmla="*/ 0 h 15"/>
                <a:gd name="T2" fmla="*/ 4 w 10"/>
                <a:gd name="T3" fmla="*/ 10 h 15"/>
                <a:gd name="T4" fmla="*/ 4 w 10"/>
                <a:gd name="T5" fmla="*/ 9 h 15"/>
                <a:gd name="T6" fmla="*/ 3 w 10"/>
                <a:gd name="T7" fmla="*/ 11 h 15"/>
                <a:gd name="T8" fmla="*/ 3 w 10"/>
                <a:gd name="T9" fmla="*/ 13 h 15"/>
                <a:gd name="T10" fmla="*/ 0 w 10"/>
                <a:gd name="T11" fmla="*/ 12 h 15"/>
                <a:gd name="T12" fmla="*/ 3 w 10"/>
                <a:gd name="T13" fmla="*/ 14 h 15"/>
                <a:gd name="T14" fmla="*/ 5 w 10"/>
                <a:gd name="T15" fmla="*/ 15 h 15"/>
                <a:gd name="T16" fmla="*/ 8 w 10"/>
                <a:gd name="T17" fmla="*/ 6 h 15"/>
                <a:gd name="T18" fmla="*/ 8 w 10"/>
                <a:gd name="T1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5">
                  <a:moveTo>
                    <a:pt x="8" y="0"/>
                  </a:moveTo>
                  <a:cubicBezTo>
                    <a:pt x="6" y="3"/>
                    <a:pt x="5" y="7"/>
                    <a:pt x="4" y="10"/>
                  </a:cubicBezTo>
                  <a:cubicBezTo>
                    <a:pt x="4" y="9"/>
                    <a:pt x="4" y="9"/>
                    <a:pt x="4" y="9"/>
                  </a:cubicBezTo>
                  <a:cubicBezTo>
                    <a:pt x="4" y="9"/>
                    <a:pt x="3" y="10"/>
                    <a:pt x="3" y="11"/>
                  </a:cubicBezTo>
                  <a:cubicBezTo>
                    <a:pt x="2" y="11"/>
                    <a:pt x="3" y="12"/>
                    <a:pt x="3" y="13"/>
                  </a:cubicBezTo>
                  <a:cubicBezTo>
                    <a:pt x="3" y="12"/>
                    <a:pt x="1" y="12"/>
                    <a:pt x="0" y="12"/>
                  </a:cubicBezTo>
                  <a:cubicBezTo>
                    <a:pt x="0" y="12"/>
                    <a:pt x="0" y="12"/>
                    <a:pt x="3" y="14"/>
                  </a:cubicBezTo>
                  <a:cubicBezTo>
                    <a:pt x="3" y="14"/>
                    <a:pt x="4" y="15"/>
                    <a:pt x="5" y="15"/>
                  </a:cubicBezTo>
                  <a:cubicBezTo>
                    <a:pt x="8" y="15"/>
                    <a:pt x="8" y="9"/>
                    <a:pt x="8" y="6"/>
                  </a:cubicBezTo>
                  <a:cubicBezTo>
                    <a:pt x="9" y="4"/>
                    <a:pt x="10"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1427"/>
            <p:cNvSpPr/>
            <p:nvPr/>
          </p:nvSpPr>
          <p:spPr bwMode="auto">
            <a:xfrm>
              <a:off x="3846" y="3981"/>
              <a:ext cx="7" cy="7"/>
            </a:xfrm>
            <a:custGeom>
              <a:gdLst>
                <a:gd name="T0" fmla="*/ 3 w 3"/>
                <a:gd name="T1" fmla="*/ 0 h 3"/>
                <a:gd name="T2" fmla="*/ 0 w 3"/>
                <a:gd name="T3" fmla="*/ 1 h 3"/>
                <a:gd name="T4" fmla="*/ 2 w 3"/>
                <a:gd name="T5" fmla="*/ 3 h 3"/>
                <a:gd name="T6" fmla="*/ 3 w 3"/>
                <a:gd name="T7" fmla="*/ 0 h 3"/>
                <a:gd name="T8" fmla="*/ 3 w 3"/>
                <a:gd name="T9" fmla="*/ 0 h 3"/>
              </a:gdLst>
              <a:cxnLst>
                <a:cxn ang="0">
                  <a:pos x="T0" y="T1"/>
                </a:cxn>
                <a:cxn ang="0">
                  <a:pos x="T2" y="T3"/>
                </a:cxn>
                <a:cxn ang="0">
                  <a:pos x="T4" y="T5"/>
                </a:cxn>
                <a:cxn ang="0">
                  <a:pos x="T6" y="T7"/>
                </a:cxn>
                <a:cxn ang="0">
                  <a:pos x="T8" y="T9"/>
                </a:cxn>
              </a:cxnLst>
              <a:rect l="0" t="0" r="r" b="b"/>
              <a:pathLst>
                <a:path w="3" h="3">
                  <a:moveTo>
                    <a:pt x="3" y="0"/>
                  </a:moveTo>
                  <a:cubicBezTo>
                    <a:pt x="2" y="0"/>
                    <a:pt x="1" y="0"/>
                    <a:pt x="0" y="1"/>
                  </a:cubicBezTo>
                  <a:cubicBezTo>
                    <a:pt x="0" y="2"/>
                    <a:pt x="1" y="3"/>
                    <a:pt x="2" y="3"/>
                  </a:cubicBezTo>
                  <a:cubicBezTo>
                    <a:pt x="3" y="2"/>
                    <a:pt x="3"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1428"/>
            <p:cNvSpPr/>
            <p:nvPr/>
          </p:nvSpPr>
          <p:spPr bwMode="auto">
            <a:xfrm>
              <a:off x="3029" y="1865"/>
              <a:ext cx="7" cy="7"/>
            </a:xfrm>
            <a:custGeom>
              <a:gdLst>
                <a:gd name="T0" fmla="*/ 3 w 3"/>
                <a:gd name="T1" fmla="*/ 0 h 3"/>
                <a:gd name="T2" fmla="*/ 0 w 3"/>
                <a:gd name="T3" fmla="*/ 3 h 3"/>
                <a:gd name="T4" fmla="*/ 3 w 3"/>
                <a:gd name="T5" fmla="*/ 0 h 3"/>
              </a:gdLst>
              <a:cxnLst>
                <a:cxn ang="0">
                  <a:pos x="T0" y="T1"/>
                </a:cxn>
                <a:cxn ang="0">
                  <a:pos x="T2" y="T3"/>
                </a:cxn>
                <a:cxn ang="0">
                  <a:pos x="T4" y="T5"/>
                </a:cxn>
              </a:cxnLst>
              <a:rect l="0" t="0" r="r" b="b"/>
              <a:pathLst>
                <a:path w="3" h="3">
                  <a:moveTo>
                    <a:pt x="3" y="0"/>
                  </a:moveTo>
                  <a:cubicBezTo>
                    <a:pt x="2" y="1"/>
                    <a:pt x="1" y="2"/>
                    <a:pt x="0" y="3"/>
                  </a:cubicBezTo>
                  <a:cubicBezTo>
                    <a:pt x="1"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Freeform 1429"/>
            <p:cNvSpPr/>
            <p:nvPr/>
          </p:nvSpPr>
          <p:spPr bwMode="auto">
            <a:xfrm>
              <a:off x="4047" y="2678"/>
              <a:ext cx="17" cy="24"/>
            </a:xfrm>
            <a:custGeom>
              <a:gdLst>
                <a:gd name="T0" fmla="*/ 0 w 7"/>
                <a:gd name="T1" fmla="*/ 0 h 10"/>
                <a:gd name="T2" fmla="*/ 4 w 7"/>
                <a:gd name="T3" fmla="*/ 8 h 10"/>
                <a:gd name="T4" fmla="*/ 6 w 7"/>
                <a:gd name="T5" fmla="*/ 10 h 10"/>
                <a:gd name="T6" fmla="*/ 5 w 7"/>
                <a:gd name="T7" fmla="*/ 3 h 10"/>
                <a:gd name="T8" fmla="*/ 0 w 7"/>
                <a:gd name="T9" fmla="*/ 0 h 10"/>
              </a:gdLst>
              <a:cxnLst>
                <a:cxn ang="0">
                  <a:pos x="T0" y="T1"/>
                </a:cxn>
                <a:cxn ang="0">
                  <a:pos x="T2" y="T3"/>
                </a:cxn>
                <a:cxn ang="0">
                  <a:pos x="T4" y="T5"/>
                </a:cxn>
                <a:cxn ang="0">
                  <a:pos x="T6" y="T7"/>
                </a:cxn>
                <a:cxn ang="0">
                  <a:pos x="T8" y="T9"/>
                </a:cxn>
              </a:cxnLst>
              <a:rect l="0" t="0" r="r" b="b"/>
              <a:pathLst>
                <a:path w="7" h="10">
                  <a:moveTo>
                    <a:pt x="0" y="0"/>
                  </a:moveTo>
                  <a:cubicBezTo>
                    <a:pt x="1" y="3"/>
                    <a:pt x="3" y="6"/>
                    <a:pt x="4" y="8"/>
                  </a:cubicBezTo>
                  <a:cubicBezTo>
                    <a:pt x="5" y="9"/>
                    <a:pt x="5" y="9"/>
                    <a:pt x="6" y="10"/>
                  </a:cubicBezTo>
                  <a:cubicBezTo>
                    <a:pt x="7" y="9"/>
                    <a:pt x="6" y="4"/>
                    <a:pt x="5" y="3"/>
                  </a:cubicBezTo>
                  <a:cubicBezTo>
                    <a:pt x="4"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1430"/>
            <p:cNvSpPr/>
            <p:nvPr/>
          </p:nvSpPr>
          <p:spPr bwMode="auto">
            <a:xfrm>
              <a:off x="4210" y="2945"/>
              <a:ext cx="2" cy="19"/>
            </a:xfrm>
            <a:custGeom>
              <a:gdLst>
                <a:gd name="T0" fmla="*/ 1 w 1"/>
                <a:gd name="T1" fmla="*/ 0 h 8"/>
                <a:gd name="T2" fmla="*/ 0 w 1"/>
                <a:gd name="T3" fmla="*/ 8 h 8"/>
                <a:gd name="T4" fmla="*/ 1 w 1"/>
                <a:gd name="T5" fmla="*/ 0 h 8"/>
              </a:gdLst>
              <a:cxnLst>
                <a:cxn ang="0">
                  <a:pos x="T0" y="T1"/>
                </a:cxn>
                <a:cxn ang="0">
                  <a:pos x="T2" y="T3"/>
                </a:cxn>
                <a:cxn ang="0">
                  <a:pos x="T4" y="T5"/>
                </a:cxn>
              </a:cxnLst>
              <a:rect l="0" t="0" r="r" b="b"/>
              <a:pathLst>
                <a:path w="1" h="8">
                  <a:moveTo>
                    <a:pt x="1" y="0"/>
                  </a:moveTo>
                  <a:cubicBezTo>
                    <a:pt x="0" y="3"/>
                    <a:pt x="0" y="5"/>
                    <a:pt x="0" y="8"/>
                  </a:cubicBezTo>
                  <a:cubicBezTo>
                    <a:pt x="0" y="5"/>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1431"/>
            <p:cNvSpPr/>
            <p:nvPr/>
          </p:nvSpPr>
          <p:spPr bwMode="auto">
            <a:xfrm>
              <a:off x="3050" y="1799"/>
              <a:ext cx="19" cy="31"/>
            </a:xfrm>
            <a:custGeom>
              <a:gdLst>
                <a:gd name="T0" fmla="*/ 8 w 8"/>
                <a:gd name="T1" fmla="*/ 0 h 13"/>
                <a:gd name="T2" fmla="*/ 0 w 8"/>
                <a:gd name="T3" fmla="*/ 13 h 13"/>
                <a:gd name="T4" fmla="*/ 8 w 8"/>
                <a:gd name="T5" fmla="*/ 0 h 13"/>
              </a:gdLst>
              <a:cxnLst>
                <a:cxn ang="0">
                  <a:pos x="T0" y="T1"/>
                </a:cxn>
                <a:cxn ang="0">
                  <a:pos x="T2" y="T3"/>
                </a:cxn>
                <a:cxn ang="0">
                  <a:pos x="T4" y="T5"/>
                </a:cxn>
              </a:cxnLst>
              <a:rect l="0" t="0" r="r" b="b"/>
              <a:pathLst>
                <a:path w="8" h="13">
                  <a:moveTo>
                    <a:pt x="8" y="0"/>
                  </a:moveTo>
                  <a:cubicBezTo>
                    <a:pt x="5" y="4"/>
                    <a:pt x="2" y="8"/>
                    <a:pt x="0" y="13"/>
                  </a:cubicBezTo>
                  <a:cubicBezTo>
                    <a:pt x="4" y="9"/>
                    <a:pt x="6" y="5"/>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1432"/>
            <p:cNvSpPr/>
            <p:nvPr/>
          </p:nvSpPr>
          <p:spPr bwMode="auto">
            <a:xfrm>
              <a:off x="2601" y="1820"/>
              <a:ext cx="45" cy="36"/>
            </a:xfrm>
            <a:custGeom>
              <a:gdLst>
                <a:gd name="T0" fmla="*/ 10 w 19"/>
                <a:gd name="T1" fmla="*/ 0 h 15"/>
                <a:gd name="T2" fmla="*/ 6 w 19"/>
                <a:gd name="T3" fmla="*/ 4 h 15"/>
                <a:gd name="T4" fmla="*/ 7 w 19"/>
                <a:gd name="T5" fmla="*/ 10 h 15"/>
                <a:gd name="T6" fmla="*/ 5 w 19"/>
                <a:gd name="T7" fmla="*/ 11 h 15"/>
                <a:gd name="T8" fmla="*/ 5 w 19"/>
                <a:gd name="T9" fmla="*/ 10 h 15"/>
                <a:gd name="T10" fmla="*/ 4 w 19"/>
                <a:gd name="T11" fmla="*/ 10 h 15"/>
                <a:gd name="T12" fmla="*/ 4 w 19"/>
                <a:gd name="T13" fmla="*/ 10 h 15"/>
                <a:gd name="T14" fmla="*/ 2 w 19"/>
                <a:gd name="T15" fmla="*/ 13 h 15"/>
                <a:gd name="T16" fmla="*/ 3 w 19"/>
                <a:gd name="T17" fmla="*/ 14 h 15"/>
                <a:gd name="T18" fmla="*/ 15 w 19"/>
                <a:gd name="T19" fmla="*/ 15 h 15"/>
                <a:gd name="T20" fmla="*/ 16 w 19"/>
                <a:gd name="T21" fmla="*/ 15 h 15"/>
                <a:gd name="T22" fmla="*/ 19 w 19"/>
                <a:gd name="T23" fmla="*/ 13 h 15"/>
                <a:gd name="T24" fmla="*/ 15 w 19"/>
                <a:gd name="T25" fmla="*/ 11 h 15"/>
                <a:gd name="T26" fmla="*/ 14 w 19"/>
                <a:gd name="T27" fmla="*/ 11 h 15"/>
                <a:gd name="T28" fmla="*/ 12 w 19"/>
                <a:gd name="T29" fmla="*/ 4 h 15"/>
                <a:gd name="T30" fmla="*/ 11 w 19"/>
                <a:gd name="T31" fmla="*/ 1 h 15"/>
                <a:gd name="T32" fmla="*/ 10 w 19"/>
                <a:gd name="T3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5">
                  <a:moveTo>
                    <a:pt x="10" y="0"/>
                  </a:moveTo>
                  <a:cubicBezTo>
                    <a:pt x="8" y="0"/>
                    <a:pt x="6" y="2"/>
                    <a:pt x="6" y="4"/>
                  </a:cubicBezTo>
                  <a:cubicBezTo>
                    <a:pt x="5" y="5"/>
                    <a:pt x="8" y="8"/>
                    <a:pt x="7" y="10"/>
                  </a:cubicBezTo>
                  <a:cubicBezTo>
                    <a:pt x="6" y="10"/>
                    <a:pt x="6" y="11"/>
                    <a:pt x="5" y="11"/>
                  </a:cubicBezTo>
                  <a:cubicBezTo>
                    <a:pt x="5" y="11"/>
                    <a:pt x="5" y="10"/>
                    <a:pt x="5" y="10"/>
                  </a:cubicBezTo>
                  <a:cubicBezTo>
                    <a:pt x="4" y="10"/>
                    <a:pt x="4" y="10"/>
                    <a:pt x="4" y="10"/>
                  </a:cubicBezTo>
                  <a:cubicBezTo>
                    <a:pt x="4" y="10"/>
                    <a:pt x="4" y="10"/>
                    <a:pt x="4" y="10"/>
                  </a:cubicBezTo>
                  <a:cubicBezTo>
                    <a:pt x="2" y="13"/>
                    <a:pt x="2" y="13"/>
                    <a:pt x="2" y="13"/>
                  </a:cubicBezTo>
                  <a:cubicBezTo>
                    <a:pt x="2" y="13"/>
                    <a:pt x="0" y="13"/>
                    <a:pt x="3" y="14"/>
                  </a:cubicBezTo>
                  <a:cubicBezTo>
                    <a:pt x="7" y="14"/>
                    <a:pt x="11" y="14"/>
                    <a:pt x="15" y="15"/>
                  </a:cubicBezTo>
                  <a:cubicBezTo>
                    <a:pt x="15" y="15"/>
                    <a:pt x="15" y="15"/>
                    <a:pt x="16" y="15"/>
                  </a:cubicBezTo>
                  <a:cubicBezTo>
                    <a:pt x="19" y="15"/>
                    <a:pt x="19" y="14"/>
                    <a:pt x="19" y="13"/>
                  </a:cubicBezTo>
                  <a:cubicBezTo>
                    <a:pt x="18" y="12"/>
                    <a:pt x="16" y="11"/>
                    <a:pt x="15" y="11"/>
                  </a:cubicBezTo>
                  <a:cubicBezTo>
                    <a:pt x="15" y="11"/>
                    <a:pt x="14" y="11"/>
                    <a:pt x="14" y="11"/>
                  </a:cubicBezTo>
                  <a:cubicBezTo>
                    <a:pt x="15" y="8"/>
                    <a:pt x="13" y="6"/>
                    <a:pt x="12" y="4"/>
                  </a:cubicBezTo>
                  <a:cubicBezTo>
                    <a:pt x="12" y="3"/>
                    <a:pt x="12" y="1"/>
                    <a:pt x="11" y="1"/>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433"/>
            <p:cNvSpPr>
              <a:spLocks noEditPoints="1"/>
            </p:cNvSpPr>
            <p:nvPr/>
          </p:nvSpPr>
          <p:spPr bwMode="auto">
            <a:xfrm>
              <a:off x="3232" y="2175"/>
              <a:ext cx="40" cy="24"/>
            </a:xfrm>
            <a:custGeom>
              <a:gdLst>
                <a:gd name="T0" fmla="*/ 7 w 17"/>
                <a:gd name="T1" fmla="*/ 8 h 10"/>
                <a:gd name="T2" fmla="*/ 7 w 17"/>
                <a:gd name="T3" fmla="*/ 8 h 10"/>
                <a:gd name="T4" fmla="*/ 7 w 17"/>
                <a:gd name="T5" fmla="*/ 8 h 10"/>
                <a:gd name="T6" fmla="*/ 7 w 17"/>
                <a:gd name="T7" fmla="*/ 8 h 10"/>
                <a:gd name="T8" fmla="*/ 7 w 17"/>
                <a:gd name="T9" fmla="*/ 8 h 10"/>
                <a:gd name="T10" fmla="*/ 7 w 17"/>
                <a:gd name="T11" fmla="*/ 8 h 10"/>
                <a:gd name="T12" fmla="*/ 13 w 17"/>
                <a:gd name="T13" fmla="*/ 0 h 10"/>
                <a:gd name="T14" fmla="*/ 7 w 17"/>
                <a:gd name="T15" fmla="*/ 1 h 10"/>
                <a:gd name="T16" fmla="*/ 0 w 17"/>
                <a:gd name="T17" fmla="*/ 8 h 10"/>
                <a:gd name="T18" fmla="*/ 3 w 17"/>
                <a:gd name="T19" fmla="*/ 10 h 10"/>
                <a:gd name="T20" fmla="*/ 5 w 17"/>
                <a:gd name="T21" fmla="*/ 9 h 10"/>
                <a:gd name="T22" fmla="*/ 8 w 17"/>
                <a:gd name="T23" fmla="*/ 8 h 10"/>
                <a:gd name="T24" fmla="*/ 7 w 17"/>
                <a:gd name="T25" fmla="*/ 8 h 10"/>
                <a:gd name="T26" fmla="*/ 11 w 17"/>
                <a:gd name="T27" fmla="*/ 3 h 10"/>
                <a:gd name="T28" fmla="*/ 11 w 17"/>
                <a:gd name="T29" fmla="*/ 3 h 10"/>
                <a:gd name="T30" fmla="*/ 12 w 17"/>
                <a:gd name="T31" fmla="*/ 4 h 10"/>
                <a:gd name="T32" fmla="*/ 13 w 17"/>
                <a:gd name="T33" fmla="*/ 4 h 10"/>
                <a:gd name="T34" fmla="*/ 13 w 17"/>
                <a:gd name="T35" fmla="*/ 4 h 10"/>
                <a:gd name="T36" fmla="*/ 14 w 17"/>
                <a:gd name="T37" fmla="*/ 4 h 10"/>
                <a:gd name="T38" fmla="*/ 17 w 17"/>
                <a:gd name="T39" fmla="*/ 2 h 10"/>
                <a:gd name="T40" fmla="*/ 13 w 17"/>
                <a:gd name="T4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0">
                  <a:moveTo>
                    <a:pt x="7" y="8"/>
                  </a:moveTo>
                  <a:cubicBezTo>
                    <a:pt x="7" y="8"/>
                    <a:pt x="7" y="8"/>
                    <a:pt x="7" y="8"/>
                  </a:cubicBezTo>
                  <a:cubicBezTo>
                    <a:pt x="7" y="8"/>
                    <a:pt x="7" y="8"/>
                    <a:pt x="7" y="8"/>
                  </a:cubicBezTo>
                  <a:moveTo>
                    <a:pt x="7" y="8"/>
                  </a:moveTo>
                  <a:cubicBezTo>
                    <a:pt x="7" y="8"/>
                    <a:pt x="7" y="8"/>
                    <a:pt x="7" y="8"/>
                  </a:cubicBezTo>
                  <a:cubicBezTo>
                    <a:pt x="7" y="8"/>
                    <a:pt x="7" y="8"/>
                    <a:pt x="7" y="8"/>
                  </a:cubicBezTo>
                  <a:moveTo>
                    <a:pt x="13" y="0"/>
                  </a:moveTo>
                  <a:cubicBezTo>
                    <a:pt x="11" y="0"/>
                    <a:pt x="9" y="1"/>
                    <a:pt x="7" y="1"/>
                  </a:cubicBezTo>
                  <a:cubicBezTo>
                    <a:pt x="3" y="3"/>
                    <a:pt x="3" y="4"/>
                    <a:pt x="0" y="8"/>
                  </a:cubicBezTo>
                  <a:cubicBezTo>
                    <a:pt x="1" y="9"/>
                    <a:pt x="2" y="10"/>
                    <a:pt x="3" y="10"/>
                  </a:cubicBezTo>
                  <a:cubicBezTo>
                    <a:pt x="3" y="10"/>
                    <a:pt x="4" y="9"/>
                    <a:pt x="5" y="9"/>
                  </a:cubicBezTo>
                  <a:cubicBezTo>
                    <a:pt x="5" y="9"/>
                    <a:pt x="7" y="8"/>
                    <a:pt x="8" y="8"/>
                  </a:cubicBezTo>
                  <a:cubicBezTo>
                    <a:pt x="8" y="8"/>
                    <a:pt x="8" y="8"/>
                    <a:pt x="7" y="8"/>
                  </a:cubicBezTo>
                  <a:cubicBezTo>
                    <a:pt x="8" y="7"/>
                    <a:pt x="10" y="3"/>
                    <a:pt x="11" y="3"/>
                  </a:cubicBezTo>
                  <a:cubicBezTo>
                    <a:pt x="11" y="3"/>
                    <a:pt x="11" y="3"/>
                    <a:pt x="11" y="3"/>
                  </a:cubicBezTo>
                  <a:cubicBezTo>
                    <a:pt x="12" y="3"/>
                    <a:pt x="12" y="3"/>
                    <a:pt x="12" y="4"/>
                  </a:cubicBezTo>
                  <a:cubicBezTo>
                    <a:pt x="12" y="4"/>
                    <a:pt x="13" y="4"/>
                    <a:pt x="13" y="4"/>
                  </a:cubicBezTo>
                  <a:cubicBezTo>
                    <a:pt x="13" y="4"/>
                    <a:pt x="13" y="4"/>
                    <a:pt x="13" y="4"/>
                  </a:cubicBezTo>
                  <a:cubicBezTo>
                    <a:pt x="13" y="4"/>
                    <a:pt x="14" y="4"/>
                    <a:pt x="14" y="4"/>
                  </a:cubicBezTo>
                  <a:cubicBezTo>
                    <a:pt x="15" y="4"/>
                    <a:pt x="17" y="3"/>
                    <a:pt x="17" y="2"/>
                  </a:cubicBezTo>
                  <a:cubicBezTo>
                    <a:pt x="16" y="1"/>
                    <a:pt x="15"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434"/>
            <p:cNvSpPr/>
            <p:nvPr/>
          </p:nvSpPr>
          <p:spPr bwMode="auto">
            <a:xfrm>
              <a:off x="3553" y="3905"/>
              <a:ext cx="19" cy="40"/>
            </a:xfrm>
            <a:custGeom>
              <a:gdLst>
                <a:gd name="T0" fmla="*/ 4 w 8"/>
                <a:gd name="T1" fmla="*/ 0 h 17"/>
                <a:gd name="T2" fmla="*/ 0 w 8"/>
                <a:gd name="T3" fmla="*/ 12 h 17"/>
                <a:gd name="T4" fmla="*/ 1 w 8"/>
                <a:gd name="T5" fmla="*/ 17 h 17"/>
                <a:gd name="T6" fmla="*/ 3 w 8"/>
                <a:gd name="T7" fmla="*/ 17 h 17"/>
                <a:gd name="T8" fmla="*/ 8 w 8"/>
                <a:gd name="T9" fmla="*/ 16 h 17"/>
                <a:gd name="T10" fmla="*/ 8 w 8"/>
                <a:gd name="T11" fmla="*/ 6 h 17"/>
                <a:gd name="T12" fmla="*/ 4 w 8"/>
                <a:gd name="T13" fmla="*/ 0 h 17"/>
              </a:gdLst>
              <a:cxnLst>
                <a:cxn ang="0">
                  <a:pos x="T0" y="T1"/>
                </a:cxn>
                <a:cxn ang="0">
                  <a:pos x="T2" y="T3"/>
                </a:cxn>
                <a:cxn ang="0">
                  <a:pos x="T4" y="T5"/>
                </a:cxn>
                <a:cxn ang="0">
                  <a:pos x="T6" y="T7"/>
                </a:cxn>
                <a:cxn ang="0">
                  <a:pos x="T8" y="T9"/>
                </a:cxn>
                <a:cxn ang="0">
                  <a:pos x="T10" y="T11"/>
                </a:cxn>
                <a:cxn ang="0">
                  <a:pos x="T12" y="T13"/>
                </a:cxn>
              </a:cxnLst>
              <a:rect l="0" t="0" r="r" b="b"/>
              <a:pathLst>
                <a:path w="8" h="17">
                  <a:moveTo>
                    <a:pt x="4" y="0"/>
                  </a:moveTo>
                  <a:cubicBezTo>
                    <a:pt x="1" y="4"/>
                    <a:pt x="0" y="7"/>
                    <a:pt x="0" y="12"/>
                  </a:cubicBezTo>
                  <a:cubicBezTo>
                    <a:pt x="0" y="13"/>
                    <a:pt x="0" y="16"/>
                    <a:pt x="1" y="17"/>
                  </a:cubicBezTo>
                  <a:cubicBezTo>
                    <a:pt x="1" y="17"/>
                    <a:pt x="2" y="17"/>
                    <a:pt x="3" y="17"/>
                  </a:cubicBezTo>
                  <a:cubicBezTo>
                    <a:pt x="5" y="17"/>
                    <a:pt x="7" y="16"/>
                    <a:pt x="8" y="16"/>
                  </a:cubicBezTo>
                  <a:cubicBezTo>
                    <a:pt x="8" y="15"/>
                    <a:pt x="8" y="7"/>
                    <a:pt x="8" y="6"/>
                  </a:cubicBezTo>
                  <a:cubicBezTo>
                    <a:pt x="7" y="3"/>
                    <a:pt x="6"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1435"/>
            <p:cNvSpPr/>
            <p:nvPr/>
          </p:nvSpPr>
          <p:spPr bwMode="auto">
            <a:xfrm>
              <a:off x="3626" y="3990"/>
              <a:ext cx="10" cy="7"/>
            </a:xfrm>
            <a:custGeom>
              <a:gdLst>
                <a:gd name="T0" fmla="*/ 1 w 4"/>
                <a:gd name="T1" fmla="*/ 0 h 3"/>
                <a:gd name="T2" fmla="*/ 0 w 4"/>
                <a:gd name="T3" fmla="*/ 3 h 3"/>
                <a:gd name="T4" fmla="*/ 1 w 4"/>
                <a:gd name="T5" fmla="*/ 3 h 3"/>
                <a:gd name="T6" fmla="*/ 2 w 4"/>
                <a:gd name="T7" fmla="*/ 3 h 3"/>
                <a:gd name="T8" fmla="*/ 3 w 4"/>
                <a:gd name="T9" fmla="*/ 3 h 3"/>
                <a:gd name="T10" fmla="*/ 4 w 4"/>
                <a:gd name="T11" fmla="*/ 3 h 3"/>
                <a:gd name="T12" fmla="*/ 1 w 4"/>
                <a:gd name="T13" fmla="*/ 0 h 3"/>
              </a:gdLst>
              <a:cxnLst>
                <a:cxn ang="0">
                  <a:pos x="T0" y="T1"/>
                </a:cxn>
                <a:cxn ang="0">
                  <a:pos x="T2" y="T3"/>
                </a:cxn>
                <a:cxn ang="0">
                  <a:pos x="T4" y="T5"/>
                </a:cxn>
                <a:cxn ang="0">
                  <a:pos x="T6" y="T7"/>
                </a:cxn>
                <a:cxn ang="0">
                  <a:pos x="T8" y="T9"/>
                </a:cxn>
                <a:cxn ang="0">
                  <a:pos x="T10" y="T11"/>
                </a:cxn>
                <a:cxn ang="0">
                  <a:pos x="T12" y="T13"/>
                </a:cxn>
              </a:cxnLst>
              <a:rect l="0" t="0" r="r" b="b"/>
              <a:pathLst>
                <a:path w="4" h="3">
                  <a:moveTo>
                    <a:pt x="1" y="0"/>
                  </a:moveTo>
                  <a:cubicBezTo>
                    <a:pt x="0" y="0"/>
                    <a:pt x="0" y="1"/>
                    <a:pt x="0" y="3"/>
                  </a:cubicBezTo>
                  <a:cubicBezTo>
                    <a:pt x="0" y="3"/>
                    <a:pt x="1" y="3"/>
                    <a:pt x="1" y="3"/>
                  </a:cubicBezTo>
                  <a:cubicBezTo>
                    <a:pt x="1" y="3"/>
                    <a:pt x="2" y="3"/>
                    <a:pt x="2" y="3"/>
                  </a:cubicBezTo>
                  <a:cubicBezTo>
                    <a:pt x="2" y="3"/>
                    <a:pt x="2" y="3"/>
                    <a:pt x="3" y="3"/>
                  </a:cubicBezTo>
                  <a:cubicBezTo>
                    <a:pt x="3" y="3"/>
                    <a:pt x="4" y="3"/>
                    <a:pt x="4" y="3"/>
                  </a:cubicBezTo>
                  <a:cubicBezTo>
                    <a:pt x="3"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1436"/>
            <p:cNvSpPr/>
            <p:nvPr/>
          </p:nvSpPr>
          <p:spPr bwMode="auto">
            <a:xfrm>
              <a:off x="3839" y="4151"/>
              <a:ext cx="14" cy="14"/>
            </a:xfrm>
            <a:custGeom>
              <a:gdLst>
                <a:gd name="T0" fmla="*/ 3 w 6"/>
                <a:gd name="T1" fmla="*/ 0 h 6"/>
                <a:gd name="T2" fmla="*/ 0 w 6"/>
                <a:gd name="T3" fmla="*/ 6 h 6"/>
                <a:gd name="T4" fmla="*/ 3 w 6"/>
                <a:gd name="T5" fmla="*/ 3 h 6"/>
                <a:gd name="T6" fmla="*/ 3 w 6"/>
                <a:gd name="T7" fmla="*/ 0 h 6"/>
              </a:gdLst>
              <a:cxnLst>
                <a:cxn ang="0">
                  <a:pos x="T0" y="T1"/>
                </a:cxn>
                <a:cxn ang="0">
                  <a:pos x="T2" y="T3"/>
                </a:cxn>
                <a:cxn ang="0">
                  <a:pos x="T4" y="T5"/>
                </a:cxn>
                <a:cxn ang="0">
                  <a:pos x="T6" y="T7"/>
                </a:cxn>
              </a:cxnLst>
              <a:rect l="0" t="0" r="r" b="b"/>
              <a:pathLst>
                <a:path w="6" h="6">
                  <a:moveTo>
                    <a:pt x="3" y="0"/>
                  </a:moveTo>
                  <a:cubicBezTo>
                    <a:pt x="2" y="2"/>
                    <a:pt x="1" y="4"/>
                    <a:pt x="0" y="6"/>
                  </a:cubicBezTo>
                  <a:cubicBezTo>
                    <a:pt x="2" y="6"/>
                    <a:pt x="3" y="4"/>
                    <a:pt x="3" y="3"/>
                  </a:cubicBezTo>
                  <a:cubicBezTo>
                    <a:pt x="3" y="2"/>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1437"/>
            <p:cNvSpPr/>
            <p:nvPr/>
          </p:nvSpPr>
          <p:spPr bwMode="auto">
            <a:xfrm>
              <a:off x="3508" y="1619"/>
              <a:ext cx="31" cy="22"/>
            </a:xfrm>
            <a:custGeom>
              <a:gdLst>
                <a:gd name="T0" fmla="*/ 0 w 13"/>
                <a:gd name="T1" fmla="*/ 0 h 9"/>
                <a:gd name="T2" fmla="*/ 13 w 13"/>
                <a:gd name="T3" fmla="*/ 9 h 9"/>
                <a:gd name="T4" fmla="*/ 0 w 13"/>
                <a:gd name="T5" fmla="*/ 0 h 9"/>
              </a:gdLst>
              <a:cxnLst>
                <a:cxn ang="0">
                  <a:pos x="T0" y="T1"/>
                </a:cxn>
                <a:cxn ang="0">
                  <a:pos x="T2" y="T3"/>
                </a:cxn>
                <a:cxn ang="0">
                  <a:pos x="T4" y="T5"/>
                </a:cxn>
              </a:cxnLst>
              <a:rect l="0" t="0" r="r" b="b"/>
              <a:pathLst>
                <a:path w="13" h="9">
                  <a:moveTo>
                    <a:pt x="0" y="0"/>
                  </a:moveTo>
                  <a:cubicBezTo>
                    <a:pt x="4" y="3"/>
                    <a:pt x="9" y="6"/>
                    <a:pt x="13" y="9"/>
                  </a:cubicBezTo>
                  <a:cubicBezTo>
                    <a:pt x="12" y="3"/>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1438"/>
            <p:cNvSpPr>
              <a:spLocks noEditPoints="1"/>
            </p:cNvSpPr>
            <p:nvPr/>
          </p:nvSpPr>
          <p:spPr bwMode="auto">
            <a:xfrm>
              <a:off x="4038" y="1619"/>
              <a:ext cx="16" cy="29"/>
            </a:xfrm>
            <a:custGeom>
              <a:gdLst>
                <a:gd name="T0" fmla="*/ 6 w 7"/>
                <a:gd name="T1" fmla="*/ 10 h 12"/>
                <a:gd name="T2" fmla="*/ 7 w 7"/>
                <a:gd name="T3" fmla="*/ 12 h 12"/>
                <a:gd name="T4" fmla="*/ 6 w 7"/>
                <a:gd name="T5" fmla="*/ 10 h 12"/>
                <a:gd name="T6" fmla="*/ 6 w 7"/>
                <a:gd name="T7" fmla="*/ 0 h 12"/>
                <a:gd name="T8" fmla="*/ 6 w 7"/>
                <a:gd name="T9" fmla="*/ 10 h 12"/>
                <a:gd name="T10" fmla="*/ 7 w 7"/>
                <a:gd name="T11" fmla="*/ 4 h 12"/>
                <a:gd name="T12" fmla="*/ 6 w 7"/>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7" h="12">
                  <a:moveTo>
                    <a:pt x="6" y="10"/>
                  </a:moveTo>
                  <a:cubicBezTo>
                    <a:pt x="6" y="11"/>
                    <a:pt x="7" y="11"/>
                    <a:pt x="7" y="12"/>
                  </a:cubicBezTo>
                  <a:cubicBezTo>
                    <a:pt x="7" y="11"/>
                    <a:pt x="6" y="11"/>
                    <a:pt x="6" y="10"/>
                  </a:cubicBezTo>
                  <a:moveTo>
                    <a:pt x="6" y="0"/>
                  </a:moveTo>
                  <a:cubicBezTo>
                    <a:pt x="0" y="2"/>
                    <a:pt x="4" y="6"/>
                    <a:pt x="6" y="10"/>
                  </a:cubicBezTo>
                  <a:cubicBezTo>
                    <a:pt x="5" y="8"/>
                    <a:pt x="7" y="7"/>
                    <a:pt x="7" y="4"/>
                  </a:cubicBezTo>
                  <a:cubicBezTo>
                    <a:pt x="7" y="2"/>
                    <a:pt x="6"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1439"/>
            <p:cNvSpPr/>
            <p:nvPr/>
          </p:nvSpPr>
          <p:spPr bwMode="auto">
            <a:xfrm>
              <a:off x="4151" y="1771"/>
              <a:ext cx="21" cy="7"/>
            </a:xfrm>
            <a:custGeom>
              <a:gdLst>
                <a:gd name="T0" fmla="*/ 0 w 9"/>
                <a:gd name="T1" fmla="*/ 0 h 3"/>
                <a:gd name="T2" fmla="*/ 5 w 9"/>
                <a:gd name="T3" fmla="*/ 3 h 3"/>
                <a:gd name="T4" fmla="*/ 9 w 9"/>
                <a:gd name="T5" fmla="*/ 2 h 3"/>
                <a:gd name="T6" fmla="*/ 0 w 9"/>
                <a:gd name="T7" fmla="*/ 0 h 3"/>
              </a:gdLst>
              <a:cxnLst>
                <a:cxn ang="0">
                  <a:pos x="T0" y="T1"/>
                </a:cxn>
                <a:cxn ang="0">
                  <a:pos x="T2" y="T3"/>
                </a:cxn>
                <a:cxn ang="0">
                  <a:pos x="T4" y="T5"/>
                </a:cxn>
                <a:cxn ang="0">
                  <a:pos x="T6" y="T7"/>
                </a:cxn>
              </a:cxnLst>
              <a:rect l="0" t="0" r="r" b="b"/>
              <a:pathLst>
                <a:path w="9" h="3">
                  <a:moveTo>
                    <a:pt x="0" y="0"/>
                  </a:moveTo>
                  <a:cubicBezTo>
                    <a:pt x="1" y="1"/>
                    <a:pt x="3" y="2"/>
                    <a:pt x="5" y="3"/>
                  </a:cubicBezTo>
                  <a:cubicBezTo>
                    <a:pt x="7" y="3"/>
                    <a:pt x="8" y="2"/>
                    <a:pt x="9"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1440"/>
            <p:cNvSpPr/>
            <p:nvPr/>
          </p:nvSpPr>
          <p:spPr bwMode="auto">
            <a:xfrm>
              <a:off x="3979" y="1674"/>
              <a:ext cx="23" cy="21"/>
            </a:xfrm>
            <a:custGeom>
              <a:gdLst>
                <a:gd name="T0" fmla="*/ 5 w 10"/>
                <a:gd name="T1" fmla="*/ 0 h 9"/>
                <a:gd name="T2" fmla="*/ 2 w 10"/>
                <a:gd name="T3" fmla="*/ 2 h 9"/>
                <a:gd name="T4" fmla="*/ 8 w 10"/>
                <a:gd name="T5" fmla="*/ 9 h 9"/>
                <a:gd name="T6" fmla="*/ 7 w 10"/>
                <a:gd name="T7" fmla="*/ 1 h 9"/>
                <a:gd name="T8" fmla="*/ 5 w 10"/>
                <a:gd name="T9" fmla="*/ 0 h 9"/>
              </a:gdLst>
              <a:cxnLst>
                <a:cxn ang="0">
                  <a:pos x="T0" y="T1"/>
                </a:cxn>
                <a:cxn ang="0">
                  <a:pos x="T2" y="T3"/>
                </a:cxn>
                <a:cxn ang="0">
                  <a:pos x="T4" y="T5"/>
                </a:cxn>
                <a:cxn ang="0">
                  <a:pos x="T6" y="T7"/>
                </a:cxn>
                <a:cxn ang="0">
                  <a:pos x="T8" y="T9"/>
                </a:cxn>
              </a:cxnLst>
              <a:rect l="0" t="0" r="r" b="b"/>
              <a:pathLst>
                <a:path w="10" h="9">
                  <a:moveTo>
                    <a:pt x="5" y="0"/>
                  </a:moveTo>
                  <a:cubicBezTo>
                    <a:pt x="4" y="0"/>
                    <a:pt x="3" y="0"/>
                    <a:pt x="2" y="2"/>
                  </a:cubicBezTo>
                  <a:cubicBezTo>
                    <a:pt x="0" y="5"/>
                    <a:pt x="6" y="7"/>
                    <a:pt x="8" y="9"/>
                  </a:cubicBezTo>
                  <a:cubicBezTo>
                    <a:pt x="9" y="6"/>
                    <a:pt x="10" y="3"/>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1441"/>
            <p:cNvSpPr/>
            <p:nvPr/>
          </p:nvSpPr>
          <p:spPr bwMode="auto">
            <a:xfrm>
              <a:off x="4196" y="1820"/>
              <a:ext cx="38" cy="22"/>
            </a:xfrm>
            <a:custGeom>
              <a:gdLst>
                <a:gd name="T0" fmla="*/ 0 w 16"/>
                <a:gd name="T1" fmla="*/ 0 h 9"/>
                <a:gd name="T2" fmla="*/ 10 w 16"/>
                <a:gd name="T3" fmla="*/ 9 h 9"/>
                <a:gd name="T4" fmla="*/ 16 w 16"/>
                <a:gd name="T5" fmla="*/ 8 h 9"/>
                <a:gd name="T6" fmla="*/ 0 w 16"/>
                <a:gd name="T7" fmla="*/ 0 h 9"/>
              </a:gdLst>
              <a:cxnLst>
                <a:cxn ang="0">
                  <a:pos x="T0" y="T1"/>
                </a:cxn>
                <a:cxn ang="0">
                  <a:pos x="T2" y="T3"/>
                </a:cxn>
                <a:cxn ang="0">
                  <a:pos x="T4" y="T5"/>
                </a:cxn>
                <a:cxn ang="0">
                  <a:pos x="T6" y="T7"/>
                </a:cxn>
              </a:cxnLst>
              <a:rect l="0" t="0" r="r" b="b"/>
              <a:pathLst>
                <a:path w="16" h="9">
                  <a:moveTo>
                    <a:pt x="0" y="0"/>
                  </a:moveTo>
                  <a:cubicBezTo>
                    <a:pt x="3" y="3"/>
                    <a:pt x="7" y="6"/>
                    <a:pt x="10" y="9"/>
                  </a:cubicBezTo>
                  <a:cubicBezTo>
                    <a:pt x="12" y="9"/>
                    <a:pt x="14" y="8"/>
                    <a:pt x="16" y="8"/>
                  </a:cubicBezTo>
                  <a:cubicBezTo>
                    <a:pt x="13" y="4"/>
                    <a:pt x="5"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1442"/>
            <p:cNvSpPr/>
            <p:nvPr/>
          </p:nvSpPr>
          <p:spPr bwMode="auto">
            <a:xfrm>
              <a:off x="4028" y="1215"/>
              <a:ext cx="166" cy="156"/>
            </a:xfrm>
            <a:custGeom>
              <a:gdLst>
                <a:gd name="T0" fmla="*/ 1 w 70"/>
                <a:gd name="T1" fmla="*/ 0 h 66"/>
                <a:gd name="T2" fmla="*/ 0 w 70"/>
                <a:gd name="T3" fmla="*/ 6 h 66"/>
                <a:gd name="T4" fmla="*/ 1 w 70"/>
                <a:gd name="T5" fmla="*/ 6 h 66"/>
                <a:gd name="T6" fmla="*/ 2 w 70"/>
                <a:gd name="T7" fmla="*/ 7 h 66"/>
                <a:gd name="T8" fmla="*/ 3 w 70"/>
                <a:gd name="T9" fmla="*/ 6 h 66"/>
                <a:gd name="T10" fmla="*/ 4 w 70"/>
                <a:gd name="T11" fmla="*/ 6 h 66"/>
                <a:gd name="T12" fmla="*/ 5 w 70"/>
                <a:gd name="T13" fmla="*/ 7 h 66"/>
                <a:gd name="T14" fmla="*/ 32 w 70"/>
                <a:gd name="T15" fmla="*/ 23 h 66"/>
                <a:gd name="T16" fmla="*/ 53 w 70"/>
                <a:gd name="T17" fmla="*/ 41 h 66"/>
                <a:gd name="T18" fmla="*/ 56 w 70"/>
                <a:gd name="T19" fmla="*/ 49 h 66"/>
                <a:gd name="T20" fmla="*/ 56 w 70"/>
                <a:gd name="T21" fmla="*/ 53 h 66"/>
                <a:gd name="T22" fmla="*/ 62 w 70"/>
                <a:gd name="T23" fmla="*/ 66 h 66"/>
                <a:gd name="T24" fmla="*/ 69 w 70"/>
                <a:gd name="T25" fmla="*/ 49 h 66"/>
                <a:gd name="T26" fmla="*/ 67 w 70"/>
                <a:gd name="T27" fmla="*/ 47 h 66"/>
                <a:gd name="T28" fmla="*/ 59 w 70"/>
                <a:gd name="T29" fmla="*/ 38 h 66"/>
                <a:gd name="T30" fmla="*/ 59 w 70"/>
                <a:gd name="T31" fmla="*/ 38 h 66"/>
                <a:gd name="T32" fmla="*/ 58 w 70"/>
                <a:gd name="T33" fmla="*/ 38 h 66"/>
                <a:gd name="T34" fmla="*/ 57 w 70"/>
                <a:gd name="T35" fmla="*/ 39 h 66"/>
                <a:gd name="T36" fmla="*/ 56 w 70"/>
                <a:gd name="T37" fmla="*/ 38 h 66"/>
                <a:gd name="T38" fmla="*/ 48 w 70"/>
                <a:gd name="T39" fmla="*/ 31 h 66"/>
                <a:gd name="T40" fmla="*/ 40 w 70"/>
                <a:gd name="T41" fmla="*/ 23 h 66"/>
                <a:gd name="T42" fmla="*/ 29 w 70"/>
                <a:gd name="T43" fmla="*/ 17 h 66"/>
                <a:gd name="T44" fmla="*/ 19 w 70"/>
                <a:gd name="T45" fmla="*/ 10 h 66"/>
                <a:gd name="T46" fmla="*/ 14 w 70"/>
                <a:gd name="T47" fmla="*/ 9 h 66"/>
                <a:gd name="T48" fmla="*/ 1 w 70"/>
                <a:gd name="T49" fmla="*/ 0 h 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0" h="66">
                  <a:moveTo>
                    <a:pt x="1" y="0"/>
                  </a:moveTo>
                  <a:cubicBezTo>
                    <a:pt x="4" y="5"/>
                    <a:pt x="4" y="3"/>
                    <a:pt x="0" y="6"/>
                  </a:cubicBezTo>
                  <a:cubicBezTo>
                    <a:pt x="0" y="6"/>
                    <a:pt x="1" y="6"/>
                    <a:pt x="1" y="6"/>
                  </a:cubicBezTo>
                  <a:cubicBezTo>
                    <a:pt x="1" y="7"/>
                    <a:pt x="2" y="7"/>
                    <a:pt x="2" y="7"/>
                  </a:cubicBezTo>
                  <a:cubicBezTo>
                    <a:pt x="2" y="7"/>
                    <a:pt x="3" y="6"/>
                    <a:pt x="3" y="6"/>
                  </a:cubicBezTo>
                  <a:cubicBezTo>
                    <a:pt x="3" y="6"/>
                    <a:pt x="4" y="6"/>
                    <a:pt x="4" y="6"/>
                  </a:cubicBezTo>
                  <a:cubicBezTo>
                    <a:pt x="4" y="6"/>
                    <a:pt x="5" y="6"/>
                    <a:pt x="5" y="7"/>
                  </a:cubicBezTo>
                  <a:cubicBezTo>
                    <a:pt x="14" y="12"/>
                    <a:pt x="23" y="18"/>
                    <a:pt x="32" y="23"/>
                  </a:cubicBezTo>
                  <a:cubicBezTo>
                    <a:pt x="41" y="28"/>
                    <a:pt x="48" y="32"/>
                    <a:pt x="53" y="41"/>
                  </a:cubicBezTo>
                  <a:cubicBezTo>
                    <a:pt x="54" y="44"/>
                    <a:pt x="56" y="46"/>
                    <a:pt x="56" y="49"/>
                  </a:cubicBezTo>
                  <a:cubicBezTo>
                    <a:pt x="56" y="50"/>
                    <a:pt x="56" y="52"/>
                    <a:pt x="56" y="53"/>
                  </a:cubicBezTo>
                  <a:cubicBezTo>
                    <a:pt x="56" y="58"/>
                    <a:pt x="59" y="62"/>
                    <a:pt x="62" y="66"/>
                  </a:cubicBezTo>
                  <a:cubicBezTo>
                    <a:pt x="64" y="62"/>
                    <a:pt x="70" y="54"/>
                    <a:pt x="69" y="49"/>
                  </a:cubicBezTo>
                  <a:cubicBezTo>
                    <a:pt x="68" y="48"/>
                    <a:pt x="67" y="48"/>
                    <a:pt x="67" y="47"/>
                  </a:cubicBezTo>
                  <a:cubicBezTo>
                    <a:pt x="65" y="44"/>
                    <a:pt x="63" y="39"/>
                    <a:pt x="59" y="38"/>
                  </a:cubicBezTo>
                  <a:cubicBezTo>
                    <a:pt x="59" y="38"/>
                    <a:pt x="59" y="38"/>
                    <a:pt x="59" y="38"/>
                  </a:cubicBezTo>
                  <a:cubicBezTo>
                    <a:pt x="59" y="38"/>
                    <a:pt x="59" y="38"/>
                    <a:pt x="58" y="38"/>
                  </a:cubicBezTo>
                  <a:cubicBezTo>
                    <a:pt x="58" y="38"/>
                    <a:pt x="58" y="39"/>
                    <a:pt x="57" y="39"/>
                  </a:cubicBezTo>
                  <a:cubicBezTo>
                    <a:pt x="57" y="39"/>
                    <a:pt x="57" y="39"/>
                    <a:pt x="56" y="38"/>
                  </a:cubicBezTo>
                  <a:cubicBezTo>
                    <a:pt x="54" y="37"/>
                    <a:pt x="50" y="33"/>
                    <a:pt x="48" y="31"/>
                  </a:cubicBezTo>
                  <a:cubicBezTo>
                    <a:pt x="46" y="28"/>
                    <a:pt x="43" y="26"/>
                    <a:pt x="40" y="23"/>
                  </a:cubicBezTo>
                  <a:cubicBezTo>
                    <a:pt x="37" y="19"/>
                    <a:pt x="33" y="19"/>
                    <a:pt x="29" y="17"/>
                  </a:cubicBezTo>
                  <a:cubicBezTo>
                    <a:pt x="26" y="15"/>
                    <a:pt x="22" y="11"/>
                    <a:pt x="19" y="10"/>
                  </a:cubicBezTo>
                  <a:cubicBezTo>
                    <a:pt x="18" y="9"/>
                    <a:pt x="15" y="10"/>
                    <a:pt x="14" y="9"/>
                  </a:cubicBezTo>
                  <a:cubicBezTo>
                    <a:pt x="10" y="6"/>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1443"/>
            <p:cNvSpPr/>
            <p:nvPr/>
          </p:nvSpPr>
          <p:spPr bwMode="auto">
            <a:xfrm>
              <a:off x="4255" y="1818"/>
              <a:ext cx="14" cy="9"/>
            </a:xfrm>
            <a:custGeom>
              <a:gdLst>
                <a:gd name="T0" fmla="*/ 2 w 6"/>
                <a:gd name="T1" fmla="*/ 0 h 4"/>
                <a:gd name="T2" fmla="*/ 1 w 6"/>
                <a:gd name="T3" fmla="*/ 4 h 4"/>
                <a:gd name="T4" fmla="*/ 6 w 6"/>
                <a:gd name="T5" fmla="*/ 3 h 4"/>
                <a:gd name="T6" fmla="*/ 2 w 6"/>
                <a:gd name="T7" fmla="*/ 0 h 4"/>
              </a:gdLst>
              <a:cxnLst>
                <a:cxn ang="0">
                  <a:pos x="T0" y="T1"/>
                </a:cxn>
                <a:cxn ang="0">
                  <a:pos x="T2" y="T3"/>
                </a:cxn>
                <a:cxn ang="0">
                  <a:pos x="T4" y="T5"/>
                </a:cxn>
                <a:cxn ang="0">
                  <a:pos x="T6" y="T7"/>
                </a:cxn>
              </a:cxnLst>
              <a:rect l="0" t="0" r="r" b="b"/>
              <a:pathLst>
                <a:path w="6" h="4">
                  <a:moveTo>
                    <a:pt x="2" y="0"/>
                  </a:moveTo>
                  <a:cubicBezTo>
                    <a:pt x="1" y="0"/>
                    <a:pt x="0" y="1"/>
                    <a:pt x="1" y="4"/>
                  </a:cubicBezTo>
                  <a:cubicBezTo>
                    <a:pt x="2" y="3"/>
                    <a:pt x="6" y="4"/>
                    <a:pt x="6" y="3"/>
                  </a:cubicBezTo>
                  <a:cubicBezTo>
                    <a:pt x="6"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1444"/>
            <p:cNvSpPr/>
            <p:nvPr/>
          </p:nvSpPr>
          <p:spPr bwMode="auto">
            <a:xfrm>
              <a:off x="4005" y="1683"/>
              <a:ext cx="35" cy="26"/>
            </a:xfrm>
            <a:custGeom>
              <a:gdLst>
                <a:gd name="T0" fmla="*/ 2 w 15"/>
                <a:gd name="T1" fmla="*/ 0 h 11"/>
                <a:gd name="T2" fmla="*/ 2 w 15"/>
                <a:gd name="T3" fmla="*/ 6 h 11"/>
                <a:gd name="T4" fmla="*/ 0 w 15"/>
                <a:gd name="T5" fmla="*/ 7 h 11"/>
                <a:gd name="T6" fmla="*/ 12 w 15"/>
                <a:gd name="T7" fmla="*/ 11 h 11"/>
                <a:gd name="T8" fmla="*/ 13 w 15"/>
                <a:gd name="T9" fmla="*/ 6 h 11"/>
                <a:gd name="T10" fmla="*/ 11 w 15"/>
                <a:gd name="T11" fmla="*/ 2 h 11"/>
                <a:gd name="T12" fmla="*/ 10 w 15"/>
                <a:gd name="T13" fmla="*/ 2 h 11"/>
                <a:gd name="T14" fmla="*/ 9 w 15"/>
                <a:gd name="T15" fmla="*/ 2 h 11"/>
                <a:gd name="T16" fmla="*/ 7 w 15"/>
                <a:gd name="T17" fmla="*/ 2 h 11"/>
                <a:gd name="T18" fmla="*/ 7 w 15"/>
                <a:gd name="T19" fmla="*/ 2 h 11"/>
                <a:gd name="T20" fmla="*/ 4 w 15"/>
                <a:gd name="T21" fmla="*/ 1 h 11"/>
                <a:gd name="T22" fmla="*/ 2 w 15"/>
                <a:gd name="T23" fmla="*/ 0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2" y="0"/>
                  </a:moveTo>
                  <a:cubicBezTo>
                    <a:pt x="0" y="0"/>
                    <a:pt x="2" y="2"/>
                    <a:pt x="2" y="6"/>
                  </a:cubicBezTo>
                  <a:cubicBezTo>
                    <a:pt x="2" y="7"/>
                    <a:pt x="0" y="7"/>
                    <a:pt x="0" y="7"/>
                  </a:cubicBezTo>
                  <a:cubicBezTo>
                    <a:pt x="1" y="10"/>
                    <a:pt x="10" y="10"/>
                    <a:pt x="12" y="11"/>
                  </a:cubicBezTo>
                  <a:cubicBezTo>
                    <a:pt x="15" y="10"/>
                    <a:pt x="15" y="8"/>
                    <a:pt x="13" y="6"/>
                  </a:cubicBezTo>
                  <a:cubicBezTo>
                    <a:pt x="13" y="5"/>
                    <a:pt x="12" y="3"/>
                    <a:pt x="11" y="2"/>
                  </a:cubicBezTo>
                  <a:cubicBezTo>
                    <a:pt x="10" y="2"/>
                    <a:pt x="10" y="2"/>
                    <a:pt x="10" y="2"/>
                  </a:cubicBezTo>
                  <a:cubicBezTo>
                    <a:pt x="9" y="2"/>
                    <a:pt x="9" y="2"/>
                    <a:pt x="9" y="2"/>
                  </a:cubicBezTo>
                  <a:cubicBezTo>
                    <a:pt x="8" y="2"/>
                    <a:pt x="8" y="2"/>
                    <a:pt x="7" y="2"/>
                  </a:cubicBezTo>
                  <a:cubicBezTo>
                    <a:pt x="7" y="2"/>
                    <a:pt x="7" y="2"/>
                    <a:pt x="7" y="2"/>
                  </a:cubicBezTo>
                  <a:cubicBezTo>
                    <a:pt x="6" y="2"/>
                    <a:pt x="5" y="1"/>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1445"/>
            <p:cNvSpPr/>
            <p:nvPr/>
          </p:nvSpPr>
          <p:spPr bwMode="auto">
            <a:xfrm>
              <a:off x="3858" y="1326"/>
              <a:ext cx="286" cy="149"/>
            </a:xfrm>
            <a:custGeom>
              <a:gdLst>
                <a:gd name="T0" fmla="*/ 111 w 121"/>
                <a:gd name="T1" fmla="*/ 0 h 63"/>
                <a:gd name="T2" fmla="*/ 110 w 121"/>
                <a:gd name="T3" fmla="*/ 1 h 63"/>
                <a:gd name="T4" fmla="*/ 109 w 121"/>
                <a:gd name="T5" fmla="*/ 1 h 63"/>
                <a:gd name="T6" fmla="*/ 108 w 121"/>
                <a:gd name="T7" fmla="*/ 0 h 63"/>
                <a:gd name="T8" fmla="*/ 95 w 121"/>
                <a:gd name="T9" fmla="*/ 0 h 63"/>
                <a:gd name="T10" fmla="*/ 93 w 121"/>
                <a:gd name="T11" fmla="*/ 21 h 63"/>
                <a:gd name="T12" fmla="*/ 73 w 121"/>
                <a:gd name="T13" fmla="*/ 37 h 63"/>
                <a:gd name="T14" fmla="*/ 68 w 121"/>
                <a:gd name="T15" fmla="*/ 40 h 63"/>
                <a:gd name="T16" fmla="*/ 63 w 121"/>
                <a:gd name="T17" fmla="*/ 37 h 63"/>
                <a:gd name="T18" fmla="*/ 57 w 121"/>
                <a:gd name="T19" fmla="*/ 40 h 63"/>
                <a:gd name="T20" fmla="*/ 52 w 121"/>
                <a:gd name="T21" fmla="*/ 36 h 63"/>
                <a:gd name="T22" fmla="*/ 53 w 121"/>
                <a:gd name="T23" fmla="*/ 24 h 63"/>
                <a:gd name="T24" fmla="*/ 49 w 121"/>
                <a:gd name="T25" fmla="*/ 32 h 63"/>
                <a:gd name="T26" fmla="*/ 49 w 121"/>
                <a:gd name="T27" fmla="*/ 37 h 63"/>
                <a:gd name="T28" fmla="*/ 41 w 121"/>
                <a:gd name="T29" fmla="*/ 40 h 63"/>
                <a:gd name="T30" fmla="*/ 40 w 121"/>
                <a:gd name="T31" fmla="*/ 38 h 63"/>
                <a:gd name="T32" fmla="*/ 30 w 121"/>
                <a:gd name="T33" fmla="*/ 41 h 63"/>
                <a:gd name="T34" fmla="*/ 23 w 121"/>
                <a:gd name="T35" fmla="*/ 39 h 63"/>
                <a:gd name="T36" fmla="*/ 16 w 121"/>
                <a:gd name="T37" fmla="*/ 39 h 63"/>
                <a:gd name="T38" fmla="*/ 13 w 121"/>
                <a:gd name="T39" fmla="*/ 38 h 63"/>
                <a:gd name="T40" fmla="*/ 11 w 121"/>
                <a:gd name="T41" fmla="*/ 39 h 63"/>
                <a:gd name="T42" fmla="*/ 9 w 121"/>
                <a:gd name="T43" fmla="*/ 39 h 63"/>
                <a:gd name="T44" fmla="*/ 4 w 121"/>
                <a:gd name="T45" fmla="*/ 37 h 63"/>
                <a:gd name="T46" fmla="*/ 3 w 121"/>
                <a:gd name="T47" fmla="*/ 46 h 63"/>
                <a:gd name="T48" fmla="*/ 22 w 121"/>
                <a:gd name="T49" fmla="*/ 55 h 63"/>
                <a:gd name="T50" fmla="*/ 30 w 121"/>
                <a:gd name="T51" fmla="*/ 56 h 63"/>
                <a:gd name="T52" fmla="*/ 37 w 121"/>
                <a:gd name="T53" fmla="*/ 61 h 63"/>
                <a:gd name="T54" fmla="*/ 54 w 121"/>
                <a:gd name="T55" fmla="*/ 61 h 63"/>
                <a:gd name="T56" fmla="*/ 80 w 121"/>
                <a:gd name="T57" fmla="*/ 54 h 63"/>
                <a:gd name="T58" fmla="*/ 89 w 121"/>
                <a:gd name="T59" fmla="*/ 48 h 63"/>
                <a:gd name="T60" fmla="*/ 99 w 121"/>
                <a:gd name="T61" fmla="*/ 40 h 63"/>
                <a:gd name="T62" fmla="*/ 103 w 121"/>
                <a:gd name="T63" fmla="*/ 41 h 63"/>
                <a:gd name="T64" fmla="*/ 111 w 121"/>
                <a:gd name="T65" fmla="*/ 37 h 63"/>
                <a:gd name="T66" fmla="*/ 108 w 121"/>
                <a:gd name="T67" fmla="*/ 23 h 63"/>
                <a:gd name="T68" fmla="*/ 112 w 121"/>
                <a:gd name="T69" fmla="*/ 24 h 63"/>
                <a:gd name="T70" fmla="*/ 118 w 121"/>
                <a:gd name="T71" fmla="*/ 19 h 63"/>
                <a:gd name="T72" fmla="*/ 113 w 121"/>
                <a:gd name="T73" fmla="*/ 1 h 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62">
                  <a:moveTo>
                    <a:pt x="114" y="0"/>
                  </a:moveTo>
                  <a:cubicBezTo>
                    <a:pt x="113" y="0"/>
                    <a:pt x="112" y="0"/>
                    <a:pt x="111" y="0"/>
                  </a:cubicBezTo>
                  <a:cubicBezTo>
                    <a:pt x="111" y="1"/>
                    <a:pt x="110" y="1"/>
                    <a:pt x="110" y="1"/>
                  </a:cubicBezTo>
                  <a:cubicBezTo>
                    <a:pt x="110" y="1"/>
                    <a:pt x="110" y="1"/>
                    <a:pt x="110" y="1"/>
                  </a:cubicBezTo>
                  <a:cubicBezTo>
                    <a:pt x="110" y="1"/>
                    <a:pt x="110" y="1"/>
                    <a:pt x="110" y="1"/>
                  </a:cubicBezTo>
                  <a:cubicBezTo>
                    <a:pt x="109" y="1"/>
                    <a:pt x="109" y="1"/>
                    <a:pt x="109" y="1"/>
                  </a:cubicBezTo>
                  <a:cubicBezTo>
                    <a:pt x="109" y="1"/>
                    <a:pt x="109" y="0"/>
                    <a:pt x="108" y="0"/>
                  </a:cubicBezTo>
                  <a:cubicBezTo>
                    <a:pt x="108" y="0"/>
                    <a:pt x="108" y="0"/>
                    <a:pt x="108" y="0"/>
                  </a:cubicBezTo>
                  <a:cubicBezTo>
                    <a:pt x="107" y="1"/>
                    <a:pt x="105" y="2"/>
                    <a:pt x="104" y="3"/>
                  </a:cubicBezTo>
                  <a:cubicBezTo>
                    <a:pt x="104" y="0"/>
                    <a:pt x="97" y="1"/>
                    <a:pt x="95" y="0"/>
                  </a:cubicBezTo>
                  <a:cubicBezTo>
                    <a:pt x="95" y="8"/>
                    <a:pt x="96" y="15"/>
                    <a:pt x="97" y="22"/>
                  </a:cubicBezTo>
                  <a:cubicBezTo>
                    <a:pt x="96" y="22"/>
                    <a:pt x="94" y="21"/>
                    <a:pt x="93" y="21"/>
                  </a:cubicBezTo>
                  <a:cubicBezTo>
                    <a:pt x="85" y="21"/>
                    <a:pt x="80" y="31"/>
                    <a:pt x="75" y="38"/>
                  </a:cubicBezTo>
                  <a:cubicBezTo>
                    <a:pt x="74" y="37"/>
                    <a:pt x="74" y="37"/>
                    <a:pt x="73" y="37"/>
                  </a:cubicBezTo>
                  <a:cubicBezTo>
                    <a:pt x="72" y="37"/>
                    <a:pt x="72" y="38"/>
                    <a:pt x="71" y="38"/>
                  </a:cubicBezTo>
                  <a:cubicBezTo>
                    <a:pt x="70" y="39"/>
                    <a:pt x="69" y="40"/>
                    <a:pt x="68" y="40"/>
                  </a:cubicBezTo>
                  <a:cubicBezTo>
                    <a:pt x="68" y="40"/>
                    <a:pt x="68" y="40"/>
                    <a:pt x="68" y="40"/>
                  </a:cubicBezTo>
                  <a:cubicBezTo>
                    <a:pt x="66" y="40"/>
                    <a:pt x="66" y="37"/>
                    <a:pt x="63" y="37"/>
                  </a:cubicBezTo>
                  <a:cubicBezTo>
                    <a:pt x="63" y="37"/>
                    <a:pt x="63" y="37"/>
                    <a:pt x="63" y="37"/>
                  </a:cubicBezTo>
                  <a:cubicBezTo>
                    <a:pt x="60" y="37"/>
                    <a:pt x="59" y="40"/>
                    <a:pt x="57" y="40"/>
                  </a:cubicBezTo>
                  <a:cubicBezTo>
                    <a:pt x="57" y="40"/>
                    <a:pt x="56" y="40"/>
                    <a:pt x="56" y="40"/>
                  </a:cubicBezTo>
                  <a:cubicBezTo>
                    <a:pt x="53" y="40"/>
                    <a:pt x="54" y="39"/>
                    <a:pt x="52" y="36"/>
                  </a:cubicBezTo>
                  <a:cubicBezTo>
                    <a:pt x="51" y="33"/>
                    <a:pt x="50" y="29"/>
                    <a:pt x="53" y="28"/>
                  </a:cubicBezTo>
                  <a:cubicBezTo>
                    <a:pt x="56" y="26"/>
                    <a:pt x="54" y="24"/>
                    <a:pt x="53" y="24"/>
                  </a:cubicBezTo>
                  <a:cubicBezTo>
                    <a:pt x="51" y="24"/>
                    <a:pt x="50" y="25"/>
                    <a:pt x="50" y="28"/>
                  </a:cubicBezTo>
                  <a:cubicBezTo>
                    <a:pt x="50" y="31"/>
                    <a:pt x="49" y="31"/>
                    <a:pt x="49" y="32"/>
                  </a:cubicBezTo>
                  <a:cubicBezTo>
                    <a:pt x="48" y="33"/>
                    <a:pt x="48" y="33"/>
                    <a:pt x="47" y="34"/>
                  </a:cubicBezTo>
                  <a:cubicBezTo>
                    <a:pt x="47" y="35"/>
                    <a:pt x="49" y="36"/>
                    <a:pt x="49" y="37"/>
                  </a:cubicBezTo>
                  <a:cubicBezTo>
                    <a:pt x="48" y="40"/>
                    <a:pt x="44" y="39"/>
                    <a:pt x="43" y="39"/>
                  </a:cubicBezTo>
                  <a:cubicBezTo>
                    <a:pt x="43" y="39"/>
                    <a:pt x="42" y="40"/>
                    <a:pt x="41" y="40"/>
                  </a:cubicBezTo>
                  <a:cubicBezTo>
                    <a:pt x="41" y="40"/>
                    <a:pt x="40" y="40"/>
                    <a:pt x="40" y="39"/>
                  </a:cubicBezTo>
                  <a:cubicBezTo>
                    <a:pt x="40" y="39"/>
                    <a:pt x="40" y="38"/>
                    <a:pt x="40" y="38"/>
                  </a:cubicBezTo>
                  <a:cubicBezTo>
                    <a:pt x="39" y="38"/>
                    <a:pt x="38" y="39"/>
                    <a:pt x="37" y="39"/>
                  </a:cubicBezTo>
                  <a:cubicBezTo>
                    <a:pt x="34" y="41"/>
                    <a:pt x="32" y="41"/>
                    <a:pt x="30" y="41"/>
                  </a:cubicBezTo>
                  <a:cubicBezTo>
                    <a:pt x="29" y="41"/>
                    <a:pt x="29" y="41"/>
                    <a:pt x="29" y="41"/>
                  </a:cubicBezTo>
                  <a:cubicBezTo>
                    <a:pt x="27" y="41"/>
                    <a:pt x="26" y="40"/>
                    <a:pt x="23" y="39"/>
                  </a:cubicBezTo>
                  <a:cubicBezTo>
                    <a:pt x="22" y="39"/>
                    <a:pt x="21" y="38"/>
                    <a:pt x="21" y="38"/>
                  </a:cubicBezTo>
                  <a:cubicBezTo>
                    <a:pt x="19" y="38"/>
                    <a:pt x="18" y="39"/>
                    <a:pt x="16" y="39"/>
                  </a:cubicBezTo>
                  <a:cubicBezTo>
                    <a:pt x="16" y="39"/>
                    <a:pt x="16" y="40"/>
                    <a:pt x="16" y="40"/>
                  </a:cubicBezTo>
                  <a:cubicBezTo>
                    <a:pt x="15" y="40"/>
                    <a:pt x="14" y="38"/>
                    <a:pt x="13" y="38"/>
                  </a:cubicBezTo>
                  <a:cubicBezTo>
                    <a:pt x="13" y="38"/>
                    <a:pt x="13" y="38"/>
                    <a:pt x="12" y="38"/>
                  </a:cubicBezTo>
                  <a:cubicBezTo>
                    <a:pt x="12" y="38"/>
                    <a:pt x="11" y="38"/>
                    <a:pt x="11" y="39"/>
                  </a:cubicBezTo>
                  <a:cubicBezTo>
                    <a:pt x="10" y="39"/>
                    <a:pt x="10" y="39"/>
                    <a:pt x="9" y="39"/>
                  </a:cubicBezTo>
                  <a:cubicBezTo>
                    <a:pt x="9" y="39"/>
                    <a:pt x="9" y="39"/>
                    <a:pt x="9" y="39"/>
                  </a:cubicBezTo>
                  <a:cubicBezTo>
                    <a:pt x="7" y="39"/>
                    <a:pt x="8" y="38"/>
                    <a:pt x="6" y="38"/>
                  </a:cubicBezTo>
                  <a:cubicBezTo>
                    <a:pt x="5" y="38"/>
                    <a:pt x="5" y="37"/>
                    <a:pt x="4" y="37"/>
                  </a:cubicBezTo>
                  <a:cubicBezTo>
                    <a:pt x="4" y="37"/>
                    <a:pt x="3" y="37"/>
                    <a:pt x="3" y="38"/>
                  </a:cubicBezTo>
                  <a:cubicBezTo>
                    <a:pt x="0" y="39"/>
                    <a:pt x="1" y="45"/>
                    <a:pt x="3" y="46"/>
                  </a:cubicBezTo>
                  <a:cubicBezTo>
                    <a:pt x="5" y="49"/>
                    <a:pt x="11" y="49"/>
                    <a:pt x="14" y="50"/>
                  </a:cubicBezTo>
                  <a:cubicBezTo>
                    <a:pt x="16" y="52"/>
                    <a:pt x="18" y="53"/>
                    <a:pt x="22" y="55"/>
                  </a:cubicBezTo>
                  <a:cubicBezTo>
                    <a:pt x="22" y="55"/>
                    <a:pt x="23" y="57"/>
                    <a:pt x="22" y="58"/>
                  </a:cubicBezTo>
                  <a:cubicBezTo>
                    <a:pt x="25" y="57"/>
                    <a:pt x="27" y="56"/>
                    <a:pt x="30" y="56"/>
                  </a:cubicBezTo>
                  <a:cubicBezTo>
                    <a:pt x="31" y="56"/>
                    <a:pt x="33" y="56"/>
                    <a:pt x="36" y="58"/>
                  </a:cubicBezTo>
                  <a:cubicBezTo>
                    <a:pt x="36" y="59"/>
                    <a:pt x="37" y="60"/>
                    <a:pt x="37" y="61"/>
                  </a:cubicBezTo>
                  <a:cubicBezTo>
                    <a:pt x="39" y="62"/>
                    <a:pt x="42" y="63"/>
                    <a:pt x="45" y="63"/>
                  </a:cubicBezTo>
                  <a:cubicBezTo>
                    <a:pt x="48" y="63"/>
                    <a:pt x="52" y="62"/>
                    <a:pt x="54" y="61"/>
                  </a:cubicBezTo>
                  <a:cubicBezTo>
                    <a:pt x="61" y="60"/>
                    <a:pt x="69" y="59"/>
                    <a:pt x="75" y="56"/>
                  </a:cubicBezTo>
                  <a:cubicBezTo>
                    <a:pt x="76" y="55"/>
                    <a:pt x="79" y="55"/>
                    <a:pt x="80" y="54"/>
                  </a:cubicBezTo>
                  <a:cubicBezTo>
                    <a:pt x="81" y="54"/>
                    <a:pt x="84" y="52"/>
                    <a:pt x="85" y="51"/>
                  </a:cubicBezTo>
                  <a:cubicBezTo>
                    <a:pt x="86" y="49"/>
                    <a:pt x="88" y="49"/>
                    <a:pt x="89" y="48"/>
                  </a:cubicBezTo>
                  <a:cubicBezTo>
                    <a:pt x="92" y="46"/>
                    <a:pt x="94" y="42"/>
                    <a:pt x="96" y="41"/>
                  </a:cubicBezTo>
                  <a:cubicBezTo>
                    <a:pt x="97" y="40"/>
                    <a:pt x="98" y="40"/>
                    <a:pt x="99" y="40"/>
                  </a:cubicBezTo>
                  <a:cubicBezTo>
                    <a:pt x="100" y="40"/>
                    <a:pt x="100" y="40"/>
                    <a:pt x="101" y="40"/>
                  </a:cubicBezTo>
                  <a:cubicBezTo>
                    <a:pt x="101" y="41"/>
                    <a:pt x="102" y="41"/>
                    <a:pt x="103" y="41"/>
                  </a:cubicBezTo>
                  <a:cubicBezTo>
                    <a:pt x="103" y="41"/>
                    <a:pt x="103" y="41"/>
                    <a:pt x="104" y="41"/>
                  </a:cubicBezTo>
                  <a:cubicBezTo>
                    <a:pt x="105" y="41"/>
                    <a:pt x="110" y="38"/>
                    <a:pt x="111" y="37"/>
                  </a:cubicBezTo>
                  <a:cubicBezTo>
                    <a:pt x="114" y="31"/>
                    <a:pt x="104" y="29"/>
                    <a:pt x="107" y="24"/>
                  </a:cubicBezTo>
                  <a:cubicBezTo>
                    <a:pt x="107" y="23"/>
                    <a:pt x="108" y="23"/>
                    <a:pt x="108" y="23"/>
                  </a:cubicBezTo>
                  <a:cubicBezTo>
                    <a:pt x="109" y="23"/>
                    <a:pt x="110" y="23"/>
                    <a:pt x="110" y="24"/>
                  </a:cubicBezTo>
                  <a:cubicBezTo>
                    <a:pt x="111" y="24"/>
                    <a:pt x="112" y="24"/>
                    <a:pt x="112" y="24"/>
                  </a:cubicBezTo>
                  <a:cubicBezTo>
                    <a:pt x="112" y="24"/>
                    <a:pt x="113" y="24"/>
                    <a:pt x="113" y="24"/>
                  </a:cubicBezTo>
                  <a:cubicBezTo>
                    <a:pt x="115" y="23"/>
                    <a:pt x="117" y="22"/>
                    <a:pt x="118" y="19"/>
                  </a:cubicBezTo>
                  <a:cubicBezTo>
                    <a:pt x="121" y="14"/>
                    <a:pt x="117" y="10"/>
                    <a:pt x="120" y="5"/>
                  </a:cubicBezTo>
                  <a:cubicBezTo>
                    <a:pt x="118" y="4"/>
                    <a:pt x="109" y="4"/>
                    <a:pt x="113" y="1"/>
                  </a:cubicBezTo>
                  <a:cubicBezTo>
                    <a:pt x="114" y="0"/>
                    <a:pt x="114" y="0"/>
                    <a:pt x="1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1446"/>
            <p:cNvSpPr/>
            <p:nvPr/>
          </p:nvSpPr>
          <p:spPr bwMode="auto">
            <a:xfrm>
              <a:off x="4286" y="1385"/>
              <a:ext cx="14" cy="29"/>
            </a:xfrm>
            <a:custGeom>
              <a:gdLst>
                <a:gd name="T0" fmla="*/ 4 w 6"/>
                <a:gd name="T1" fmla="*/ 0 h 12"/>
                <a:gd name="T2" fmla="*/ 0 w 6"/>
                <a:gd name="T3" fmla="*/ 2 h 12"/>
                <a:gd name="T4" fmla="*/ 3 w 6"/>
                <a:gd name="T5" fmla="*/ 12 h 12"/>
                <a:gd name="T6" fmla="*/ 6 w 6"/>
                <a:gd name="T7" fmla="*/ 6 h 12"/>
                <a:gd name="T8" fmla="*/ 5 w 6"/>
                <a:gd name="T9" fmla="*/ 3 h 12"/>
                <a:gd name="T10" fmla="*/ 4 w 6"/>
                <a:gd name="T11" fmla="*/ 0 h 12"/>
                <a:gd name="T12" fmla="*/ 4 w 6"/>
                <a:gd name="T13" fmla="*/ 0 h 12"/>
              </a:gdLst>
              <a:cxnLst>
                <a:cxn ang="0">
                  <a:pos x="T0" y="T1"/>
                </a:cxn>
                <a:cxn ang="0">
                  <a:pos x="T2" y="T3"/>
                </a:cxn>
                <a:cxn ang="0">
                  <a:pos x="T4" y="T5"/>
                </a:cxn>
                <a:cxn ang="0">
                  <a:pos x="T6" y="T7"/>
                </a:cxn>
                <a:cxn ang="0">
                  <a:pos x="T8" y="T9"/>
                </a:cxn>
                <a:cxn ang="0">
                  <a:pos x="T10" y="T11"/>
                </a:cxn>
                <a:cxn ang="0">
                  <a:pos x="T12" y="T13"/>
                </a:cxn>
              </a:cxnLst>
              <a:rect l="0" t="0" r="r" b="b"/>
              <a:pathLst>
                <a:path w="6" h="12">
                  <a:moveTo>
                    <a:pt x="4" y="0"/>
                  </a:moveTo>
                  <a:cubicBezTo>
                    <a:pt x="3" y="0"/>
                    <a:pt x="0" y="2"/>
                    <a:pt x="0" y="2"/>
                  </a:cubicBezTo>
                  <a:cubicBezTo>
                    <a:pt x="0" y="5"/>
                    <a:pt x="3" y="10"/>
                    <a:pt x="3" y="12"/>
                  </a:cubicBezTo>
                  <a:cubicBezTo>
                    <a:pt x="5" y="11"/>
                    <a:pt x="6" y="8"/>
                    <a:pt x="6" y="6"/>
                  </a:cubicBezTo>
                  <a:cubicBezTo>
                    <a:pt x="6" y="5"/>
                    <a:pt x="5" y="5"/>
                    <a:pt x="5" y="3"/>
                  </a:cubicBezTo>
                  <a:cubicBezTo>
                    <a:pt x="4" y="2"/>
                    <a:pt x="5"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1447"/>
            <p:cNvSpPr/>
            <p:nvPr/>
          </p:nvSpPr>
          <p:spPr bwMode="auto">
            <a:xfrm>
              <a:off x="4031" y="1766"/>
              <a:ext cx="7" cy="7"/>
            </a:xfrm>
            <a:custGeom>
              <a:gdLst>
                <a:gd name="T0" fmla="*/ 1 w 3"/>
                <a:gd name="T1" fmla="*/ 0 h 3"/>
                <a:gd name="T2" fmla="*/ 0 w 3"/>
                <a:gd name="T3" fmla="*/ 0 h 3"/>
                <a:gd name="T4" fmla="*/ 2 w 3"/>
                <a:gd name="T5" fmla="*/ 3 h 3"/>
                <a:gd name="T6" fmla="*/ 1 w 3"/>
                <a:gd name="T7" fmla="*/ 0 h 3"/>
              </a:gdLst>
              <a:cxnLst>
                <a:cxn ang="0">
                  <a:pos x="T0" y="T1"/>
                </a:cxn>
                <a:cxn ang="0">
                  <a:pos x="T2" y="T3"/>
                </a:cxn>
                <a:cxn ang="0">
                  <a:pos x="T4" y="T5"/>
                </a:cxn>
                <a:cxn ang="0">
                  <a:pos x="T6" y="T7"/>
                </a:cxn>
              </a:cxnLst>
              <a:rect l="0" t="0" r="r" b="b"/>
              <a:pathLst>
                <a:path w="3" h="3">
                  <a:moveTo>
                    <a:pt x="1" y="0"/>
                  </a:moveTo>
                  <a:cubicBezTo>
                    <a:pt x="1" y="0"/>
                    <a:pt x="0" y="0"/>
                    <a:pt x="0" y="0"/>
                  </a:cubicBezTo>
                  <a:cubicBezTo>
                    <a:pt x="0" y="1"/>
                    <a:pt x="1" y="2"/>
                    <a:pt x="2" y="3"/>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1448"/>
            <p:cNvSpPr/>
            <p:nvPr/>
          </p:nvSpPr>
          <p:spPr bwMode="auto">
            <a:xfrm>
              <a:off x="4298" y="1411"/>
              <a:ext cx="87" cy="102"/>
            </a:xfrm>
            <a:custGeom>
              <a:gdLst>
                <a:gd name="T0" fmla="*/ 1 w 37"/>
                <a:gd name="T1" fmla="*/ 0 h 43"/>
                <a:gd name="T2" fmla="*/ 1 w 37"/>
                <a:gd name="T3" fmla="*/ 12 h 43"/>
                <a:gd name="T4" fmla="*/ 14 w 37"/>
                <a:gd name="T5" fmla="*/ 32 h 43"/>
                <a:gd name="T6" fmla="*/ 13 w 37"/>
                <a:gd name="T7" fmla="*/ 32 h 43"/>
                <a:gd name="T8" fmla="*/ 15 w 37"/>
                <a:gd name="T9" fmla="*/ 34 h 43"/>
                <a:gd name="T10" fmla="*/ 29 w 37"/>
                <a:gd name="T11" fmla="*/ 43 h 43"/>
                <a:gd name="T12" fmla="*/ 34 w 37"/>
                <a:gd name="T13" fmla="*/ 39 h 43"/>
                <a:gd name="T14" fmla="*/ 36 w 37"/>
                <a:gd name="T15" fmla="*/ 39 h 43"/>
                <a:gd name="T16" fmla="*/ 36 w 37"/>
                <a:gd name="T17" fmla="*/ 39 h 43"/>
                <a:gd name="T18" fmla="*/ 36 w 37"/>
                <a:gd name="T19" fmla="*/ 32 h 43"/>
                <a:gd name="T20" fmla="*/ 30 w 37"/>
                <a:gd name="T21" fmla="*/ 26 h 43"/>
                <a:gd name="T22" fmla="*/ 27 w 37"/>
                <a:gd name="T23" fmla="*/ 22 h 43"/>
                <a:gd name="T24" fmla="*/ 24 w 37"/>
                <a:gd name="T25" fmla="*/ 21 h 43"/>
                <a:gd name="T26" fmla="*/ 21 w 37"/>
                <a:gd name="T27" fmla="*/ 19 h 43"/>
                <a:gd name="T28" fmla="*/ 19 w 37"/>
                <a:gd name="T29" fmla="*/ 16 h 43"/>
                <a:gd name="T30" fmla="*/ 15 w 37"/>
                <a:gd name="T31" fmla="*/ 13 h 43"/>
                <a:gd name="T32" fmla="*/ 14 w 37"/>
                <a:gd name="T33" fmla="*/ 9 h 43"/>
                <a:gd name="T34" fmla="*/ 9 w 37"/>
                <a:gd name="T35" fmla="*/ 4 h 43"/>
                <a:gd name="T36" fmla="*/ 1 w 37"/>
                <a:gd name="T37" fmla="*/ 0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3">
                  <a:moveTo>
                    <a:pt x="1" y="0"/>
                  </a:moveTo>
                  <a:cubicBezTo>
                    <a:pt x="0" y="4"/>
                    <a:pt x="0" y="8"/>
                    <a:pt x="1" y="12"/>
                  </a:cubicBezTo>
                  <a:cubicBezTo>
                    <a:pt x="2" y="19"/>
                    <a:pt x="10" y="26"/>
                    <a:pt x="14" y="32"/>
                  </a:cubicBezTo>
                  <a:cubicBezTo>
                    <a:pt x="14" y="32"/>
                    <a:pt x="14" y="32"/>
                    <a:pt x="13" y="32"/>
                  </a:cubicBezTo>
                  <a:cubicBezTo>
                    <a:pt x="13" y="32"/>
                    <a:pt x="14" y="33"/>
                    <a:pt x="15" y="34"/>
                  </a:cubicBezTo>
                  <a:cubicBezTo>
                    <a:pt x="19" y="38"/>
                    <a:pt x="24" y="40"/>
                    <a:pt x="29" y="43"/>
                  </a:cubicBezTo>
                  <a:cubicBezTo>
                    <a:pt x="31" y="40"/>
                    <a:pt x="32" y="40"/>
                    <a:pt x="34" y="39"/>
                  </a:cubicBezTo>
                  <a:cubicBezTo>
                    <a:pt x="34" y="39"/>
                    <a:pt x="35" y="39"/>
                    <a:pt x="36" y="39"/>
                  </a:cubicBezTo>
                  <a:cubicBezTo>
                    <a:pt x="36" y="39"/>
                    <a:pt x="36" y="39"/>
                    <a:pt x="36" y="39"/>
                  </a:cubicBezTo>
                  <a:cubicBezTo>
                    <a:pt x="37" y="38"/>
                    <a:pt x="36" y="33"/>
                    <a:pt x="36" y="32"/>
                  </a:cubicBezTo>
                  <a:cubicBezTo>
                    <a:pt x="35" y="30"/>
                    <a:pt x="32" y="28"/>
                    <a:pt x="30" y="26"/>
                  </a:cubicBezTo>
                  <a:cubicBezTo>
                    <a:pt x="30" y="26"/>
                    <a:pt x="27" y="22"/>
                    <a:pt x="27" y="22"/>
                  </a:cubicBezTo>
                  <a:cubicBezTo>
                    <a:pt x="26" y="21"/>
                    <a:pt x="25" y="21"/>
                    <a:pt x="24" y="21"/>
                  </a:cubicBezTo>
                  <a:cubicBezTo>
                    <a:pt x="23" y="21"/>
                    <a:pt x="22" y="21"/>
                    <a:pt x="21" y="19"/>
                  </a:cubicBezTo>
                  <a:cubicBezTo>
                    <a:pt x="20" y="17"/>
                    <a:pt x="20" y="17"/>
                    <a:pt x="19" y="16"/>
                  </a:cubicBezTo>
                  <a:cubicBezTo>
                    <a:pt x="18" y="15"/>
                    <a:pt x="16" y="14"/>
                    <a:pt x="15" y="13"/>
                  </a:cubicBezTo>
                  <a:cubicBezTo>
                    <a:pt x="14" y="12"/>
                    <a:pt x="15" y="11"/>
                    <a:pt x="14" y="9"/>
                  </a:cubicBezTo>
                  <a:cubicBezTo>
                    <a:pt x="12" y="7"/>
                    <a:pt x="11" y="4"/>
                    <a:pt x="9" y="4"/>
                  </a:cubicBezTo>
                  <a:cubicBezTo>
                    <a:pt x="5" y="2"/>
                    <a:pt x="3"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1449"/>
            <p:cNvSpPr/>
            <p:nvPr/>
          </p:nvSpPr>
          <p:spPr bwMode="auto">
            <a:xfrm>
              <a:off x="4108" y="1225"/>
              <a:ext cx="5" cy="9"/>
            </a:xfrm>
            <a:custGeom>
              <a:gdLst>
                <a:gd name="T0" fmla="*/ 0 w 2"/>
                <a:gd name="T1" fmla="*/ 0 h 4"/>
                <a:gd name="T2" fmla="*/ 1 w 2"/>
                <a:gd name="T3" fmla="*/ 4 h 4"/>
                <a:gd name="T4" fmla="*/ 0 w 2"/>
                <a:gd name="T5" fmla="*/ 0 h 4"/>
              </a:gdLst>
              <a:cxnLst>
                <a:cxn ang="0">
                  <a:pos x="T0" y="T1"/>
                </a:cxn>
                <a:cxn ang="0">
                  <a:pos x="T2" y="T3"/>
                </a:cxn>
                <a:cxn ang="0">
                  <a:pos x="T4" y="T5"/>
                </a:cxn>
              </a:cxnLst>
              <a:rect l="0" t="0" r="r" b="b"/>
              <a:pathLst>
                <a:path w="2" h="4">
                  <a:moveTo>
                    <a:pt x="0" y="0"/>
                  </a:moveTo>
                  <a:cubicBezTo>
                    <a:pt x="0" y="2"/>
                    <a:pt x="0" y="3"/>
                    <a:pt x="1" y="4"/>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1450"/>
            <p:cNvSpPr/>
            <p:nvPr/>
          </p:nvSpPr>
          <p:spPr bwMode="auto">
            <a:xfrm>
              <a:off x="3766" y="1397"/>
              <a:ext cx="21" cy="17"/>
            </a:xfrm>
            <a:custGeom>
              <a:gdLst>
                <a:gd name="T0" fmla="*/ 5 w 9"/>
                <a:gd name="T1" fmla="*/ 0 h 7"/>
                <a:gd name="T2" fmla="*/ 3 w 9"/>
                <a:gd name="T3" fmla="*/ 1 h 7"/>
                <a:gd name="T4" fmla="*/ 5 w 9"/>
                <a:gd name="T5" fmla="*/ 7 h 7"/>
                <a:gd name="T6" fmla="*/ 7 w 9"/>
                <a:gd name="T7" fmla="*/ 1 h 7"/>
                <a:gd name="T8" fmla="*/ 5 w 9"/>
                <a:gd name="T9" fmla="*/ 0 h 7"/>
              </a:gdLst>
              <a:cxnLst>
                <a:cxn ang="0">
                  <a:pos x="T0" y="T1"/>
                </a:cxn>
                <a:cxn ang="0">
                  <a:pos x="T2" y="T3"/>
                </a:cxn>
                <a:cxn ang="0">
                  <a:pos x="T4" y="T5"/>
                </a:cxn>
                <a:cxn ang="0">
                  <a:pos x="T6" y="T7"/>
                </a:cxn>
                <a:cxn ang="0">
                  <a:pos x="T8" y="T9"/>
                </a:cxn>
              </a:cxnLst>
              <a:rect l="0" t="0" r="r" b="b"/>
              <a:pathLst>
                <a:path w="9" h="7">
                  <a:moveTo>
                    <a:pt x="5" y="0"/>
                  </a:moveTo>
                  <a:cubicBezTo>
                    <a:pt x="4" y="0"/>
                    <a:pt x="4" y="0"/>
                    <a:pt x="3" y="1"/>
                  </a:cubicBezTo>
                  <a:cubicBezTo>
                    <a:pt x="0" y="2"/>
                    <a:pt x="5" y="6"/>
                    <a:pt x="5" y="7"/>
                  </a:cubicBezTo>
                  <a:cubicBezTo>
                    <a:pt x="9" y="6"/>
                    <a:pt x="9" y="2"/>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1451"/>
            <p:cNvSpPr/>
            <p:nvPr/>
          </p:nvSpPr>
          <p:spPr bwMode="auto">
            <a:xfrm>
              <a:off x="3823" y="1196"/>
              <a:ext cx="7" cy="5"/>
            </a:xfrm>
            <a:custGeom>
              <a:gdLst>
                <a:gd name="T0" fmla="*/ 3 w 3"/>
                <a:gd name="T1" fmla="*/ 0 h 2"/>
                <a:gd name="T2" fmla="*/ 0 w 3"/>
                <a:gd name="T3" fmla="*/ 2 h 2"/>
                <a:gd name="T4" fmla="*/ 3 w 3"/>
                <a:gd name="T5" fmla="*/ 0 h 2"/>
              </a:gdLst>
              <a:cxnLst>
                <a:cxn ang="0">
                  <a:pos x="T0" y="T1"/>
                </a:cxn>
                <a:cxn ang="0">
                  <a:pos x="T2" y="T3"/>
                </a:cxn>
                <a:cxn ang="0">
                  <a:pos x="T4" y="T5"/>
                </a:cxn>
              </a:cxnLst>
              <a:rect l="0" t="0" r="r" b="b"/>
              <a:pathLst>
                <a:path w="3" h="2">
                  <a:moveTo>
                    <a:pt x="3" y="0"/>
                  </a:moveTo>
                  <a:cubicBezTo>
                    <a:pt x="2" y="1"/>
                    <a:pt x="1" y="1"/>
                    <a:pt x="0" y="2"/>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1452"/>
            <p:cNvSpPr/>
            <p:nvPr/>
          </p:nvSpPr>
          <p:spPr bwMode="auto">
            <a:xfrm>
              <a:off x="4146" y="1248"/>
              <a:ext cx="12" cy="12"/>
            </a:xfrm>
            <a:custGeom>
              <a:gdLst>
                <a:gd name="T0" fmla="*/ 4 w 5"/>
                <a:gd name="T1" fmla="*/ 0 h 5"/>
                <a:gd name="T2" fmla="*/ 4 w 5"/>
                <a:gd name="T3" fmla="*/ 5 h 5"/>
                <a:gd name="T4" fmla="*/ 4 w 5"/>
                <a:gd name="T5" fmla="*/ 0 h 5"/>
              </a:gdLst>
              <a:cxnLst>
                <a:cxn ang="0">
                  <a:pos x="T0" y="T1"/>
                </a:cxn>
                <a:cxn ang="0">
                  <a:pos x="T2" y="T3"/>
                </a:cxn>
                <a:cxn ang="0">
                  <a:pos x="T4" y="T5"/>
                </a:cxn>
              </a:cxnLst>
              <a:rect l="0" t="0" r="r" b="b"/>
              <a:pathLst>
                <a:path w="5" h="5">
                  <a:moveTo>
                    <a:pt x="4" y="0"/>
                  </a:moveTo>
                  <a:cubicBezTo>
                    <a:pt x="0" y="0"/>
                    <a:pt x="3" y="4"/>
                    <a:pt x="4" y="5"/>
                  </a:cubicBezTo>
                  <a:cubicBezTo>
                    <a:pt x="5"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1453"/>
            <p:cNvSpPr/>
            <p:nvPr/>
          </p:nvSpPr>
          <p:spPr bwMode="auto">
            <a:xfrm>
              <a:off x="3697" y="1350"/>
              <a:ext cx="10" cy="17"/>
            </a:xfrm>
            <a:custGeom>
              <a:gdLst>
                <a:gd name="T0" fmla="*/ 1 w 4"/>
                <a:gd name="T1" fmla="*/ 0 h 7"/>
                <a:gd name="T2" fmla="*/ 0 w 4"/>
                <a:gd name="T3" fmla="*/ 7 h 7"/>
                <a:gd name="T4" fmla="*/ 1 w 4"/>
                <a:gd name="T5" fmla="*/ 0 h 7"/>
              </a:gdLst>
              <a:cxnLst>
                <a:cxn ang="0">
                  <a:pos x="T0" y="T1"/>
                </a:cxn>
                <a:cxn ang="0">
                  <a:pos x="T2" y="T3"/>
                </a:cxn>
                <a:cxn ang="0">
                  <a:pos x="T4" y="T5"/>
                </a:cxn>
              </a:cxnLst>
              <a:rect l="0" t="0" r="r" b="b"/>
              <a:pathLst>
                <a:path w="4" h="7">
                  <a:moveTo>
                    <a:pt x="1" y="0"/>
                  </a:moveTo>
                  <a:cubicBezTo>
                    <a:pt x="0" y="2"/>
                    <a:pt x="0" y="5"/>
                    <a:pt x="0" y="7"/>
                  </a:cubicBezTo>
                  <a:cubicBezTo>
                    <a:pt x="3" y="6"/>
                    <a:pt x="4"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1454"/>
            <p:cNvSpPr/>
            <p:nvPr/>
          </p:nvSpPr>
          <p:spPr bwMode="auto">
            <a:xfrm>
              <a:off x="3945" y="1133"/>
              <a:ext cx="15" cy="16"/>
            </a:xfrm>
            <a:custGeom>
              <a:gdLst>
                <a:gd name="T0" fmla="*/ 0 w 6"/>
                <a:gd name="T1" fmla="*/ 0 h 7"/>
                <a:gd name="T2" fmla="*/ 5 w 6"/>
                <a:gd name="T3" fmla="*/ 7 h 7"/>
                <a:gd name="T4" fmla="*/ 0 w 6"/>
                <a:gd name="T5" fmla="*/ 0 h 7"/>
              </a:gdLst>
              <a:cxnLst>
                <a:cxn ang="0">
                  <a:pos x="T0" y="T1"/>
                </a:cxn>
                <a:cxn ang="0">
                  <a:pos x="T2" y="T3"/>
                </a:cxn>
                <a:cxn ang="0">
                  <a:pos x="T4" y="T5"/>
                </a:cxn>
              </a:cxnLst>
              <a:rect l="0" t="0" r="r" b="b"/>
              <a:pathLst>
                <a:path w="6" h="7">
                  <a:moveTo>
                    <a:pt x="0" y="0"/>
                  </a:moveTo>
                  <a:cubicBezTo>
                    <a:pt x="1" y="2"/>
                    <a:pt x="3" y="5"/>
                    <a:pt x="5" y="7"/>
                  </a:cubicBezTo>
                  <a:cubicBezTo>
                    <a:pt x="6" y="3"/>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1455"/>
            <p:cNvSpPr/>
            <p:nvPr/>
          </p:nvSpPr>
          <p:spPr bwMode="auto">
            <a:xfrm>
              <a:off x="3518" y="1615"/>
              <a:ext cx="19" cy="9"/>
            </a:xfrm>
            <a:custGeom>
              <a:gdLst>
                <a:gd name="T0" fmla="*/ 4 w 8"/>
                <a:gd name="T1" fmla="*/ 0 h 4"/>
                <a:gd name="T2" fmla="*/ 0 w 8"/>
                <a:gd name="T3" fmla="*/ 0 h 4"/>
                <a:gd name="T4" fmla="*/ 7 w 8"/>
                <a:gd name="T5" fmla="*/ 4 h 4"/>
                <a:gd name="T6" fmla="*/ 4 w 8"/>
                <a:gd name="T7" fmla="*/ 0 h 4"/>
              </a:gdLst>
              <a:cxnLst>
                <a:cxn ang="0">
                  <a:pos x="T0" y="T1"/>
                </a:cxn>
                <a:cxn ang="0">
                  <a:pos x="T2" y="T3"/>
                </a:cxn>
                <a:cxn ang="0">
                  <a:pos x="T4" y="T5"/>
                </a:cxn>
                <a:cxn ang="0">
                  <a:pos x="T6" y="T7"/>
                </a:cxn>
              </a:cxnLst>
              <a:rect l="0" t="0" r="r" b="b"/>
              <a:pathLst>
                <a:path w="8" h="4">
                  <a:moveTo>
                    <a:pt x="4" y="0"/>
                  </a:moveTo>
                  <a:cubicBezTo>
                    <a:pt x="2" y="0"/>
                    <a:pt x="1" y="0"/>
                    <a:pt x="0" y="0"/>
                  </a:cubicBezTo>
                  <a:cubicBezTo>
                    <a:pt x="2" y="2"/>
                    <a:pt x="5" y="3"/>
                    <a:pt x="7" y="4"/>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1456"/>
            <p:cNvSpPr/>
            <p:nvPr/>
          </p:nvSpPr>
          <p:spPr bwMode="auto">
            <a:xfrm>
              <a:off x="3825" y="1416"/>
              <a:ext cx="26" cy="26"/>
            </a:xfrm>
            <a:custGeom>
              <a:gdLst>
                <a:gd name="T0" fmla="*/ 0 w 11"/>
                <a:gd name="T1" fmla="*/ 0 h 11"/>
                <a:gd name="T2" fmla="*/ 0 w 11"/>
                <a:gd name="T3" fmla="*/ 0 h 11"/>
                <a:gd name="T4" fmla="*/ 5 w 11"/>
                <a:gd name="T5" fmla="*/ 11 h 11"/>
                <a:gd name="T6" fmla="*/ 0 w 11"/>
                <a:gd name="T7" fmla="*/ 0 h 11"/>
              </a:gdLst>
              <a:cxnLst>
                <a:cxn ang="0">
                  <a:pos x="T0" y="T1"/>
                </a:cxn>
                <a:cxn ang="0">
                  <a:pos x="T2" y="T3"/>
                </a:cxn>
                <a:cxn ang="0">
                  <a:pos x="T4" y="T5"/>
                </a:cxn>
                <a:cxn ang="0">
                  <a:pos x="T6" y="T7"/>
                </a:cxn>
              </a:cxnLst>
              <a:rect l="0" t="0" r="r" b="b"/>
              <a:pathLst>
                <a:path w="11" h="11">
                  <a:moveTo>
                    <a:pt x="0" y="0"/>
                  </a:moveTo>
                  <a:cubicBezTo>
                    <a:pt x="0" y="0"/>
                    <a:pt x="0" y="0"/>
                    <a:pt x="0" y="0"/>
                  </a:cubicBezTo>
                  <a:cubicBezTo>
                    <a:pt x="1" y="4"/>
                    <a:pt x="3" y="7"/>
                    <a:pt x="5" y="11"/>
                  </a:cubicBezTo>
                  <a:cubicBezTo>
                    <a:pt x="11" y="6"/>
                    <a:pt x="5"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457"/>
            <p:cNvSpPr/>
            <p:nvPr/>
          </p:nvSpPr>
          <p:spPr bwMode="auto">
            <a:xfrm>
              <a:off x="3938" y="1359"/>
              <a:ext cx="7" cy="5"/>
            </a:xfrm>
            <a:custGeom>
              <a:gdLst>
                <a:gd name="T0" fmla="*/ 0 w 3"/>
                <a:gd name="T1" fmla="*/ 0 h 2"/>
                <a:gd name="T2" fmla="*/ 3 w 3"/>
                <a:gd name="T3" fmla="*/ 2 h 2"/>
                <a:gd name="T4" fmla="*/ 0 w 3"/>
                <a:gd name="T5" fmla="*/ 0 h 2"/>
              </a:gdLst>
              <a:cxnLst>
                <a:cxn ang="0">
                  <a:pos x="T0" y="T1"/>
                </a:cxn>
                <a:cxn ang="0">
                  <a:pos x="T2" y="T3"/>
                </a:cxn>
                <a:cxn ang="0">
                  <a:pos x="T4" y="T5"/>
                </a:cxn>
              </a:cxnLst>
              <a:rect l="0" t="0" r="r" b="b"/>
              <a:pathLst>
                <a:path w="3" h="2">
                  <a:moveTo>
                    <a:pt x="0" y="0"/>
                  </a:moveTo>
                  <a:cubicBezTo>
                    <a:pt x="1" y="1"/>
                    <a:pt x="2" y="1"/>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1458"/>
            <p:cNvSpPr/>
            <p:nvPr/>
          </p:nvSpPr>
          <p:spPr bwMode="auto">
            <a:xfrm>
              <a:off x="4146" y="1657"/>
              <a:ext cx="38" cy="17"/>
            </a:xfrm>
            <a:custGeom>
              <a:gdLst>
                <a:gd name="T0" fmla="*/ 5 w 16"/>
                <a:gd name="T1" fmla="*/ 0 h 7"/>
                <a:gd name="T2" fmla="*/ 0 w 16"/>
                <a:gd name="T3" fmla="*/ 1 h 7"/>
                <a:gd name="T4" fmla="*/ 10 w 16"/>
                <a:gd name="T5" fmla="*/ 7 h 7"/>
                <a:gd name="T6" fmla="*/ 12 w 16"/>
                <a:gd name="T7" fmla="*/ 7 h 7"/>
                <a:gd name="T8" fmla="*/ 14 w 16"/>
                <a:gd name="T9" fmla="*/ 7 h 7"/>
                <a:gd name="T10" fmla="*/ 14 w 16"/>
                <a:gd name="T11" fmla="*/ 5 h 7"/>
                <a:gd name="T12" fmla="*/ 15 w 16"/>
                <a:gd name="T13" fmla="*/ 5 h 7"/>
                <a:gd name="T14" fmla="*/ 13 w 16"/>
                <a:gd name="T15" fmla="*/ 2 h 7"/>
                <a:gd name="T16" fmla="*/ 13 w 16"/>
                <a:gd name="T17" fmla="*/ 2 h 7"/>
                <a:gd name="T18" fmla="*/ 11 w 16"/>
                <a:gd name="T19" fmla="*/ 1 h 7"/>
                <a:gd name="T20" fmla="*/ 10 w 16"/>
                <a:gd name="T21" fmla="*/ 0 h 7"/>
                <a:gd name="T22" fmla="*/ 10 w 16"/>
                <a:gd name="T23" fmla="*/ 0 h 7"/>
                <a:gd name="T24" fmla="*/ 5 w 16"/>
                <a:gd name="T25" fmla="*/ 0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7">
                  <a:moveTo>
                    <a:pt x="5" y="0"/>
                  </a:moveTo>
                  <a:cubicBezTo>
                    <a:pt x="3" y="0"/>
                    <a:pt x="2" y="0"/>
                    <a:pt x="0" y="1"/>
                  </a:cubicBezTo>
                  <a:cubicBezTo>
                    <a:pt x="3" y="4"/>
                    <a:pt x="7" y="5"/>
                    <a:pt x="10" y="7"/>
                  </a:cubicBezTo>
                  <a:cubicBezTo>
                    <a:pt x="11" y="7"/>
                    <a:pt x="12" y="7"/>
                    <a:pt x="12" y="7"/>
                  </a:cubicBezTo>
                  <a:cubicBezTo>
                    <a:pt x="13" y="7"/>
                    <a:pt x="13" y="7"/>
                    <a:pt x="14" y="7"/>
                  </a:cubicBezTo>
                  <a:cubicBezTo>
                    <a:pt x="14" y="7"/>
                    <a:pt x="14" y="6"/>
                    <a:pt x="14" y="5"/>
                  </a:cubicBezTo>
                  <a:cubicBezTo>
                    <a:pt x="14" y="5"/>
                    <a:pt x="14" y="5"/>
                    <a:pt x="15" y="5"/>
                  </a:cubicBezTo>
                  <a:cubicBezTo>
                    <a:pt x="16" y="5"/>
                    <a:pt x="14" y="3"/>
                    <a:pt x="13" y="2"/>
                  </a:cubicBezTo>
                  <a:cubicBezTo>
                    <a:pt x="13" y="2"/>
                    <a:pt x="13" y="2"/>
                    <a:pt x="13" y="2"/>
                  </a:cubicBezTo>
                  <a:cubicBezTo>
                    <a:pt x="13" y="2"/>
                    <a:pt x="12" y="1"/>
                    <a:pt x="11" y="1"/>
                  </a:cubicBezTo>
                  <a:cubicBezTo>
                    <a:pt x="10" y="1"/>
                    <a:pt x="10" y="0"/>
                    <a:pt x="10" y="0"/>
                  </a:cubicBezTo>
                  <a:cubicBezTo>
                    <a:pt x="10" y="0"/>
                    <a:pt x="10" y="0"/>
                    <a:pt x="10"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1459"/>
            <p:cNvSpPr/>
            <p:nvPr/>
          </p:nvSpPr>
          <p:spPr bwMode="auto">
            <a:xfrm>
              <a:off x="3730" y="1173"/>
              <a:ext cx="67" cy="21"/>
            </a:xfrm>
            <a:custGeom>
              <a:gdLst>
                <a:gd name="T0" fmla="*/ 17 w 28"/>
                <a:gd name="T1" fmla="*/ 0 h 9"/>
                <a:gd name="T2" fmla="*/ 10 w 28"/>
                <a:gd name="T3" fmla="*/ 1 h 9"/>
                <a:gd name="T4" fmla="*/ 10 w 28"/>
                <a:gd name="T5" fmla="*/ 1 h 9"/>
                <a:gd name="T6" fmla="*/ 9 w 28"/>
                <a:gd name="T7" fmla="*/ 1 h 9"/>
                <a:gd name="T8" fmla="*/ 7 w 28"/>
                <a:gd name="T9" fmla="*/ 1 h 9"/>
                <a:gd name="T10" fmla="*/ 4 w 28"/>
                <a:gd name="T11" fmla="*/ 2 h 9"/>
                <a:gd name="T12" fmla="*/ 6 w 28"/>
                <a:gd name="T13" fmla="*/ 5 h 9"/>
                <a:gd name="T14" fmla="*/ 4 w 28"/>
                <a:gd name="T15" fmla="*/ 9 h 9"/>
                <a:gd name="T16" fmla="*/ 11 w 28"/>
                <a:gd name="T17" fmla="*/ 6 h 9"/>
                <a:gd name="T18" fmla="*/ 18 w 28"/>
                <a:gd name="T19" fmla="*/ 6 h 9"/>
                <a:gd name="T20" fmla="*/ 21 w 28"/>
                <a:gd name="T21" fmla="*/ 7 h 9"/>
                <a:gd name="T22" fmla="*/ 28 w 28"/>
                <a:gd name="T23" fmla="*/ 3 h 9"/>
                <a:gd name="T24" fmla="*/ 22 w 28"/>
                <a:gd name="T25" fmla="*/ 2 h 9"/>
                <a:gd name="T26" fmla="*/ 21 w 28"/>
                <a:gd name="T27" fmla="*/ 2 h 9"/>
                <a:gd name="T28" fmla="*/ 17 w 28"/>
                <a:gd name="T29"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9">
                  <a:moveTo>
                    <a:pt x="17" y="0"/>
                  </a:moveTo>
                  <a:cubicBezTo>
                    <a:pt x="14" y="0"/>
                    <a:pt x="12" y="1"/>
                    <a:pt x="10" y="1"/>
                  </a:cubicBezTo>
                  <a:cubicBezTo>
                    <a:pt x="10" y="1"/>
                    <a:pt x="10" y="1"/>
                    <a:pt x="10" y="1"/>
                  </a:cubicBezTo>
                  <a:cubicBezTo>
                    <a:pt x="10" y="1"/>
                    <a:pt x="9" y="1"/>
                    <a:pt x="9" y="1"/>
                  </a:cubicBezTo>
                  <a:cubicBezTo>
                    <a:pt x="8" y="1"/>
                    <a:pt x="8" y="1"/>
                    <a:pt x="7" y="1"/>
                  </a:cubicBezTo>
                  <a:cubicBezTo>
                    <a:pt x="6" y="1"/>
                    <a:pt x="5" y="1"/>
                    <a:pt x="4" y="2"/>
                  </a:cubicBezTo>
                  <a:cubicBezTo>
                    <a:pt x="4" y="3"/>
                    <a:pt x="6" y="4"/>
                    <a:pt x="6" y="5"/>
                  </a:cubicBezTo>
                  <a:cubicBezTo>
                    <a:pt x="5" y="6"/>
                    <a:pt x="0" y="5"/>
                    <a:pt x="4" y="9"/>
                  </a:cubicBezTo>
                  <a:cubicBezTo>
                    <a:pt x="7" y="6"/>
                    <a:pt x="9" y="6"/>
                    <a:pt x="11" y="6"/>
                  </a:cubicBezTo>
                  <a:cubicBezTo>
                    <a:pt x="13" y="6"/>
                    <a:pt x="15" y="6"/>
                    <a:pt x="18" y="6"/>
                  </a:cubicBezTo>
                  <a:cubicBezTo>
                    <a:pt x="19" y="7"/>
                    <a:pt x="20" y="7"/>
                    <a:pt x="21" y="7"/>
                  </a:cubicBezTo>
                  <a:cubicBezTo>
                    <a:pt x="24" y="7"/>
                    <a:pt x="25" y="6"/>
                    <a:pt x="28" y="3"/>
                  </a:cubicBezTo>
                  <a:cubicBezTo>
                    <a:pt x="27" y="3"/>
                    <a:pt x="24" y="2"/>
                    <a:pt x="22" y="2"/>
                  </a:cubicBezTo>
                  <a:cubicBezTo>
                    <a:pt x="22" y="2"/>
                    <a:pt x="21" y="2"/>
                    <a:pt x="21" y="2"/>
                  </a:cubicBezTo>
                  <a:cubicBezTo>
                    <a:pt x="20" y="1"/>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1460"/>
            <p:cNvSpPr/>
            <p:nvPr/>
          </p:nvSpPr>
          <p:spPr bwMode="auto">
            <a:xfrm>
              <a:off x="3971" y="1203"/>
              <a:ext cx="38" cy="22"/>
            </a:xfrm>
            <a:custGeom>
              <a:gdLst>
                <a:gd name="T0" fmla="*/ 7 w 16"/>
                <a:gd name="T1" fmla="*/ 0 h 9"/>
                <a:gd name="T2" fmla="*/ 4 w 16"/>
                <a:gd name="T3" fmla="*/ 1 h 9"/>
                <a:gd name="T4" fmla="*/ 1 w 16"/>
                <a:gd name="T5" fmla="*/ 2 h 9"/>
                <a:gd name="T6" fmla="*/ 0 w 16"/>
                <a:gd name="T7" fmla="*/ 2 h 9"/>
                <a:gd name="T8" fmla="*/ 12 w 16"/>
                <a:gd name="T9" fmla="*/ 9 h 9"/>
                <a:gd name="T10" fmla="*/ 15 w 16"/>
                <a:gd name="T11" fmla="*/ 3 h 9"/>
                <a:gd name="T12" fmla="*/ 9 w 16"/>
                <a:gd name="T13" fmla="*/ 0 h 9"/>
                <a:gd name="T14" fmla="*/ 7 w 16"/>
                <a:gd name="T15" fmla="*/ 0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9">
                  <a:moveTo>
                    <a:pt x="7" y="0"/>
                  </a:moveTo>
                  <a:cubicBezTo>
                    <a:pt x="6" y="0"/>
                    <a:pt x="5" y="0"/>
                    <a:pt x="4" y="1"/>
                  </a:cubicBezTo>
                  <a:cubicBezTo>
                    <a:pt x="3" y="1"/>
                    <a:pt x="2" y="2"/>
                    <a:pt x="1" y="2"/>
                  </a:cubicBezTo>
                  <a:cubicBezTo>
                    <a:pt x="1" y="2"/>
                    <a:pt x="0" y="2"/>
                    <a:pt x="0" y="2"/>
                  </a:cubicBezTo>
                  <a:cubicBezTo>
                    <a:pt x="4" y="5"/>
                    <a:pt x="8" y="7"/>
                    <a:pt x="12" y="9"/>
                  </a:cubicBezTo>
                  <a:cubicBezTo>
                    <a:pt x="15" y="8"/>
                    <a:pt x="16" y="5"/>
                    <a:pt x="15" y="3"/>
                  </a:cubicBezTo>
                  <a:cubicBezTo>
                    <a:pt x="14" y="2"/>
                    <a:pt x="11"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1461"/>
            <p:cNvSpPr/>
            <p:nvPr/>
          </p:nvSpPr>
          <p:spPr bwMode="auto">
            <a:xfrm>
              <a:off x="4040" y="1244"/>
              <a:ext cx="2" cy="0"/>
            </a:xfrm>
            <a:custGeom>
              <a:gdLst>
                <a:gd name="T0" fmla="*/ 1 w 1"/>
                <a:gd name="T1" fmla="*/ 0 w 1"/>
                <a:gd name="T2" fmla="*/ 1 w 1"/>
              </a:gdLst>
              <a:cxnLst>
                <a:cxn ang="0">
                  <a:pos x="T0" y="0"/>
                </a:cxn>
                <a:cxn ang="0">
                  <a:pos x="T1" y="0"/>
                </a:cxn>
                <a:cxn ang="0">
                  <a:pos x="T2" y="0"/>
                </a:cxn>
              </a:cxnLst>
              <a:rect l="0" t="0" r="r" b="b"/>
              <a:pathLst>
                <a:path w="1">
                  <a:moveTo>
                    <a:pt x="1" y="0"/>
                  </a:moveTo>
                  <a:cubicBezTo>
                    <a:pt x="1" y="0"/>
                    <a:pt x="1" y="0"/>
                    <a:pt x="0"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1462"/>
            <p:cNvSpPr/>
            <p:nvPr/>
          </p:nvSpPr>
          <p:spPr bwMode="auto">
            <a:xfrm>
              <a:off x="4028" y="1244"/>
              <a:ext cx="10" cy="0"/>
            </a:xfrm>
            <a:custGeom>
              <a:gdLst>
                <a:gd name="T0" fmla="*/ 3 w 4"/>
                <a:gd name="T1" fmla="*/ 0 w 4"/>
                <a:gd name="T2" fmla="*/ 4 w 4"/>
                <a:gd name="T3" fmla="*/ 3 w 4"/>
              </a:gdLst>
              <a:cxnLst>
                <a:cxn ang="0">
                  <a:pos x="T0" y="0"/>
                </a:cxn>
                <a:cxn ang="0">
                  <a:pos x="T1" y="0"/>
                </a:cxn>
                <a:cxn ang="0">
                  <a:pos x="T2" y="0"/>
                </a:cxn>
                <a:cxn ang="0">
                  <a:pos x="T3" y="0"/>
                </a:cxn>
              </a:cxnLst>
              <a:rect l="0" t="0" r="r" b="b"/>
              <a:pathLst>
                <a:path w="4">
                  <a:moveTo>
                    <a:pt x="3" y="0"/>
                  </a:moveTo>
                  <a:cubicBezTo>
                    <a:pt x="2" y="0"/>
                    <a:pt x="1" y="0"/>
                    <a:pt x="0" y="0"/>
                  </a:cubicBezTo>
                  <a:cubicBezTo>
                    <a:pt x="1" y="0"/>
                    <a:pt x="3" y="0"/>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1463"/>
            <p:cNvSpPr/>
            <p:nvPr/>
          </p:nvSpPr>
          <p:spPr bwMode="auto">
            <a:xfrm>
              <a:off x="4042" y="1244"/>
              <a:ext cx="3" cy="0"/>
            </a:xfrm>
            <a:custGeom>
              <a:gdLst>
                <a:gd name="T0" fmla="*/ 0 w 1"/>
                <a:gd name="T1" fmla="*/ 1 w 1"/>
                <a:gd name="T2" fmla="*/ 1 w 1"/>
                <a:gd name="T3" fmla="*/ 0 w 1"/>
              </a:gd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1464"/>
            <p:cNvSpPr/>
            <p:nvPr/>
          </p:nvSpPr>
          <p:spPr bwMode="auto">
            <a:xfrm>
              <a:off x="4028" y="1707"/>
              <a:ext cx="38" cy="35"/>
            </a:xfrm>
            <a:custGeom>
              <a:gdLst>
                <a:gd name="T0" fmla="*/ 0 w 16"/>
                <a:gd name="T1" fmla="*/ 0 h 15"/>
                <a:gd name="T2" fmla="*/ 5 w 16"/>
                <a:gd name="T3" fmla="*/ 11 h 15"/>
                <a:gd name="T4" fmla="*/ 13 w 16"/>
                <a:gd name="T5" fmla="*/ 15 h 15"/>
                <a:gd name="T6" fmla="*/ 15 w 16"/>
                <a:gd name="T7" fmla="*/ 7 h 15"/>
                <a:gd name="T8" fmla="*/ 14 w 16"/>
                <a:gd name="T9" fmla="*/ 6 h 15"/>
                <a:gd name="T10" fmla="*/ 11 w 16"/>
                <a:gd name="T11" fmla="*/ 8 h 15"/>
                <a:gd name="T12" fmla="*/ 10 w 16"/>
                <a:gd name="T13" fmla="*/ 10 h 15"/>
                <a:gd name="T14" fmla="*/ 10 w 16"/>
                <a:gd name="T15" fmla="*/ 10 h 15"/>
                <a:gd name="T16" fmla="*/ 8 w 16"/>
                <a:gd name="T17" fmla="*/ 8 h 15"/>
                <a:gd name="T18" fmla="*/ 6 w 16"/>
                <a:gd name="T19" fmla="*/ 6 h 15"/>
                <a:gd name="T20" fmla="*/ 4 w 16"/>
                <a:gd name="T21" fmla="*/ 4 h 15"/>
                <a:gd name="T22" fmla="*/ 0 w 16"/>
                <a:gd name="T23"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5">
                  <a:moveTo>
                    <a:pt x="0" y="0"/>
                  </a:moveTo>
                  <a:cubicBezTo>
                    <a:pt x="1" y="4"/>
                    <a:pt x="3" y="8"/>
                    <a:pt x="5" y="11"/>
                  </a:cubicBezTo>
                  <a:cubicBezTo>
                    <a:pt x="7" y="13"/>
                    <a:pt x="10" y="14"/>
                    <a:pt x="13" y="15"/>
                  </a:cubicBezTo>
                  <a:cubicBezTo>
                    <a:pt x="13" y="14"/>
                    <a:pt x="16" y="8"/>
                    <a:pt x="15" y="7"/>
                  </a:cubicBezTo>
                  <a:cubicBezTo>
                    <a:pt x="15" y="7"/>
                    <a:pt x="14" y="6"/>
                    <a:pt x="14" y="6"/>
                  </a:cubicBezTo>
                  <a:cubicBezTo>
                    <a:pt x="13" y="6"/>
                    <a:pt x="12" y="7"/>
                    <a:pt x="11" y="8"/>
                  </a:cubicBezTo>
                  <a:cubicBezTo>
                    <a:pt x="11" y="9"/>
                    <a:pt x="10" y="10"/>
                    <a:pt x="10" y="10"/>
                  </a:cubicBezTo>
                  <a:cubicBezTo>
                    <a:pt x="10" y="10"/>
                    <a:pt x="10" y="10"/>
                    <a:pt x="10" y="10"/>
                  </a:cubicBezTo>
                  <a:cubicBezTo>
                    <a:pt x="8" y="10"/>
                    <a:pt x="8" y="9"/>
                    <a:pt x="8" y="8"/>
                  </a:cubicBezTo>
                  <a:cubicBezTo>
                    <a:pt x="6" y="6"/>
                    <a:pt x="6" y="6"/>
                    <a:pt x="6" y="6"/>
                  </a:cubicBezTo>
                  <a:cubicBezTo>
                    <a:pt x="6" y="5"/>
                    <a:pt x="5" y="5"/>
                    <a:pt x="4" y="4"/>
                  </a:cubicBezTo>
                  <a:cubicBezTo>
                    <a:pt x="3"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1465"/>
            <p:cNvSpPr/>
            <p:nvPr/>
          </p:nvSpPr>
          <p:spPr bwMode="auto">
            <a:xfrm>
              <a:off x="4040" y="1771"/>
              <a:ext cx="9" cy="4"/>
            </a:xfrm>
            <a:custGeom>
              <a:gdLst>
                <a:gd name="T0" fmla="*/ 4 w 4"/>
                <a:gd name="T1" fmla="*/ 0 h 2"/>
                <a:gd name="T2" fmla="*/ 0 w 4"/>
                <a:gd name="T3" fmla="*/ 2 h 2"/>
                <a:gd name="T4" fmla="*/ 0 w 4"/>
                <a:gd name="T5" fmla="*/ 2 h 2"/>
                <a:gd name="T6" fmla="*/ 4 w 4"/>
                <a:gd name="T7" fmla="*/ 0 h 2"/>
              </a:gdLst>
              <a:cxnLst>
                <a:cxn ang="0">
                  <a:pos x="T0" y="T1"/>
                </a:cxn>
                <a:cxn ang="0">
                  <a:pos x="T2" y="T3"/>
                </a:cxn>
                <a:cxn ang="0">
                  <a:pos x="T4" y="T5"/>
                </a:cxn>
                <a:cxn ang="0">
                  <a:pos x="T6" y="T7"/>
                </a:cxn>
              </a:cxnLst>
              <a:rect l="0" t="0" r="r" b="b"/>
              <a:pathLst>
                <a:path w="4" h="2">
                  <a:moveTo>
                    <a:pt x="4" y="0"/>
                  </a:moveTo>
                  <a:cubicBezTo>
                    <a:pt x="2" y="0"/>
                    <a:pt x="1" y="1"/>
                    <a:pt x="0" y="2"/>
                  </a:cubicBezTo>
                  <a:cubicBezTo>
                    <a:pt x="0" y="2"/>
                    <a:pt x="0" y="2"/>
                    <a:pt x="0" y="2"/>
                  </a:cubicBezTo>
                  <a:cubicBezTo>
                    <a:pt x="2"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1466"/>
            <p:cNvSpPr/>
            <p:nvPr/>
          </p:nvSpPr>
          <p:spPr bwMode="auto">
            <a:xfrm>
              <a:off x="810" y="322"/>
              <a:ext cx="16" cy="26"/>
            </a:xfrm>
            <a:custGeom>
              <a:gdLst>
                <a:gd name="T0" fmla="*/ 5 w 7"/>
                <a:gd name="T1" fmla="*/ 0 h 11"/>
                <a:gd name="T2" fmla="*/ 3 w 7"/>
                <a:gd name="T3" fmla="*/ 1 h 11"/>
                <a:gd name="T4" fmla="*/ 0 w 7"/>
                <a:gd name="T5" fmla="*/ 1 h 11"/>
                <a:gd name="T6" fmla="*/ 0 w 7"/>
                <a:gd name="T7" fmla="*/ 1 h 11"/>
                <a:gd name="T8" fmla="*/ 4 w 7"/>
                <a:gd name="T9" fmla="*/ 11 h 11"/>
                <a:gd name="T10" fmla="*/ 7 w 7"/>
                <a:gd name="T11" fmla="*/ 2 h 11"/>
                <a:gd name="T12" fmla="*/ 5 w 7"/>
                <a:gd name="T13" fmla="*/ 0 h 11"/>
              </a:gdLst>
              <a:cxnLst>
                <a:cxn ang="0">
                  <a:pos x="T0" y="T1"/>
                </a:cxn>
                <a:cxn ang="0">
                  <a:pos x="T2" y="T3"/>
                </a:cxn>
                <a:cxn ang="0">
                  <a:pos x="T4" y="T5"/>
                </a:cxn>
                <a:cxn ang="0">
                  <a:pos x="T6" y="T7"/>
                </a:cxn>
                <a:cxn ang="0">
                  <a:pos x="T8" y="T9"/>
                </a:cxn>
                <a:cxn ang="0">
                  <a:pos x="T10" y="T11"/>
                </a:cxn>
                <a:cxn ang="0">
                  <a:pos x="T12" y="T13"/>
                </a:cxn>
              </a:cxnLst>
              <a:rect l="0" t="0" r="r" b="b"/>
              <a:pathLst>
                <a:path w="7" h="11">
                  <a:moveTo>
                    <a:pt x="5" y="0"/>
                  </a:moveTo>
                  <a:cubicBezTo>
                    <a:pt x="4" y="0"/>
                    <a:pt x="3" y="0"/>
                    <a:pt x="3" y="1"/>
                  </a:cubicBezTo>
                  <a:cubicBezTo>
                    <a:pt x="2" y="1"/>
                    <a:pt x="1" y="1"/>
                    <a:pt x="0" y="1"/>
                  </a:cubicBezTo>
                  <a:cubicBezTo>
                    <a:pt x="0" y="1"/>
                    <a:pt x="0" y="1"/>
                    <a:pt x="0" y="1"/>
                  </a:cubicBezTo>
                  <a:cubicBezTo>
                    <a:pt x="1" y="5"/>
                    <a:pt x="3" y="8"/>
                    <a:pt x="4" y="11"/>
                  </a:cubicBezTo>
                  <a:cubicBezTo>
                    <a:pt x="5" y="9"/>
                    <a:pt x="7" y="5"/>
                    <a:pt x="7" y="2"/>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1467"/>
            <p:cNvSpPr>
              <a:spLocks noEditPoints="1"/>
            </p:cNvSpPr>
            <p:nvPr/>
          </p:nvSpPr>
          <p:spPr bwMode="auto">
            <a:xfrm>
              <a:off x="911" y="315"/>
              <a:ext cx="104" cy="66"/>
            </a:xfrm>
            <a:custGeom>
              <a:gdLst>
                <a:gd name="T0" fmla="*/ 0 w 44"/>
                <a:gd name="T1" fmla="*/ 0 h 28"/>
                <a:gd name="T2" fmla="*/ 4 w 44"/>
                <a:gd name="T3" fmla="*/ 6 h 28"/>
                <a:gd name="T4" fmla="*/ 9 w 44"/>
                <a:gd name="T5" fmla="*/ 10 h 28"/>
                <a:gd name="T6" fmla="*/ 9 w 44"/>
                <a:gd name="T7" fmla="*/ 10 h 28"/>
                <a:gd name="T8" fmla="*/ 14 w 44"/>
                <a:gd name="T9" fmla="*/ 14 h 28"/>
                <a:gd name="T10" fmla="*/ 14 w 44"/>
                <a:gd name="T11" fmla="*/ 14 h 28"/>
                <a:gd name="T12" fmla="*/ 25 w 44"/>
                <a:gd name="T13" fmla="*/ 22 h 28"/>
                <a:gd name="T14" fmla="*/ 34 w 44"/>
                <a:gd name="T15" fmla="*/ 28 h 28"/>
                <a:gd name="T16" fmla="*/ 35 w 44"/>
                <a:gd name="T17" fmla="*/ 27 h 28"/>
                <a:gd name="T18" fmla="*/ 0 w 44"/>
                <a:gd name="T19" fmla="*/ 0 h 28"/>
                <a:gd name="T20" fmla="*/ 0 w 44"/>
                <a:gd name="T21" fmla="*/ 0 h 28"/>
                <a:gd name="T22" fmla="*/ 0 w 44"/>
                <a:gd name="T23" fmla="*/ 0 h 28"/>
                <a:gd name="T24" fmla="*/ 0 w 44"/>
                <a:gd name="T25" fmla="*/ 0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28">
                  <a:moveTo>
                    <a:pt x="0" y="0"/>
                  </a:moveTo>
                  <a:cubicBezTo>
                    <a:pt x="1" y="2"/>
                    <a:pt x="3" y="3"/>
                    <a:pt x="4" y="6"/>
                  </a:cubicBezTo>
                  <a:cubicBezTo>
                    <a:pt x="6" y="7"/>
                    <a:pt x="7" y="8"/>
                    <a:pt x="9" y="10"/>
                  </a:cubicBezTo>
                  <a:cubicBezTo>
                    <a:pt x="9" y="10"/>
                    <a:pt x="9" y="10"/>
                    <a:pt x="9" y="10"/>
                  </a:cubicBezTo>
                  <a:cubicBezTo>
                    <a:pt x="11" y="11"/>
                    <a:pt x="12" y="13"/>
                    <a:pt x="14" y="14"/>
                  </a:cubicBezTo>
                  <a:cubicBezTo>
                    <a:pt x="14" y="14"/>
                    <a:pt x="14" y="14"/>
                    <a:pt x="14" y="14"/>
                  </a:cubicBezTo>
                  <a:cubicBezTo>
                    <a:pt x="17" y="17"/>
                    <a:pt x="21" y="20"/>
                    <a:pt x="25" y="22"/>
                  </a:cubicBezTo>
                  <a:cubicBezTo>
                    <a:pt x="27" y="24"/>
                    <a:pt x="31" y="28"/>
                    <a:pt x="34" y="28"/>
                  </a:cubicBezTo>
                  <a:cubicBezTo>
                    <a:pt x="34" y="28"/>
                    <a:pt x="35" y="27"/>
                    <a:pt x="35" y="27"/>
                  </a:cubicBezTo>
                  <a:cubicBezTo>
                    <a:pt x="44" y="19"/>
                    <a:pt x="1"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1468"/>
            <p:cNvSpPr/>
            <p:nvPr/>
          </p:nvSpPr>
          <p:spPr bwMode="auto">
            <a:xfrm>
              <a:off x="994" y="438"/>
              <a:ext cx="7" cy="7"/>
            </a:xfrm>
            <a:custGeom>
              <a:gdLst>
                <a:gd name="T0" fmla="*/ 3 w 3"/>
                <a:gd name="T1" fmla="*/ 0 h 3"/>
                <a:gd name="T2" fmla="*/ 1 w 3"/>
                <a:gd name="T3" fmla="*/ 3 h 3"/>
                <a:gd name="T4" fmla="*/ 3 w 3"/>
                <a:gd name="T5" fmla="*/ 0 h 3"/>
              </a:gdLst>
              <a:cxnLst>
                <a:cxn ang="0">
                  <a:pos x="T0" y="T1"/>
                </a:cxn>
                <a:cxn ang="0">
                  <a:pos x="T2" y="T3"/>
                </a:cxn>
                <a:cxn ang="0">
                  <a:pos x="T4" y="T5"/>
                </a:cxn>
              </a:cxnLst>
              <a:rect l="0" t="0" r="r" b="b"/>
              <a:pathLst>
                <a:path w="3" h="3">
                  <a:moveTo>
                    <a:pt x="3" y="0"/>
                  </a:moveTo>
                  <a:cubicBezTo>
                    <a:pt x="2" y="0"/>
                    <a:pt x="0" y="1"/>
                    <a:pt x="1" y="3"/>
                  </a:cubicBezTo>
                  <a:cubicBezTo>
                    <a:pt x="2"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Freeform 1469"/>
            <p:cNvSpPr/>
            <p:nvPr/>
          </p:nvSpPr>
          <p:spPr bwMode="auto">
            <a:xfrm>
              <a:off x="961" y="331"/>
              <a:ext cx="42" cy="33"/>
            </a:xfrm>
            <a:custGeom>
              <a:gdLst>
                <a:gd name="T0" fmla="*/ 0 w 18"/>
                <a:gd name="T1" fmla="*/ 0 h 14"/>
                <a:gd name="T2" fmla="*/ 12 w 18"/>
                <a:gd name="T3" fmla="*/ 11 h 14"/>
                <a:gd name="T4" fmla="*/ 17 w 18"/>
                <a:gd name="T5" fmla="*/ 14 h 14"/>
                <a:gd name="T6" fmla="*/ 18 w 18"/>
                <a:gd name="T7" fmla="*/ 12 h 14"/>
                <a:gd name="T8" fmla="*/ 16 w 18"/>
                <a:gd name="T9" fmla="*/ 10 h 14"/>
                <a:gd name="T10" fmla="*/ 12 w 18"/>
                <a:gd name="T11" fmla="*/ 8 h 14"/>
                <a:gd name="T12" fmla="*/ 7 w 18"/>
                <a:gd name="T13" fmla="*/ 1 h 14"/>
                <a:gd name="T14" fmla="*/ 6 w 18"/>
                <a:gd name="T15" fmla="*/ 1 h 14"/>
                <a:gd name="T16" fmla="*/ 6 w 18"/>
                <a:gd name="T17" fmla="*/ 1 h 14"/>
                <a:gd name="T18" fmla="*/ 4 w 18"/>
                <a:gd name="T19" fmla="*/ 2 h 14"/>
                <a:gd name="T20" fmla="*/ 4 w 18"/>
                <a:gd name="T21" fmla="*/ 2 h 14"/>
                <a:gd name="T22" fmla="*/ 0 w 18"/>
                <a:gd name="T23" fmla="*/ 0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4">
                  <a:moveTo>
                    <a:pt x="0" y="0"/>
                  </a:moveTo>
                  <a:cubicBezTo>
                    <a:pt x="2" y="5"/>
                    <a:pt x="9" y="8"/>
                    <a:pt x="12" y="11"/>
                  </a:cubicBezTo>
                  <a:cubicBezTo>
                    <a:pt x="13" y="11"/>
                    <a:pt x="16" y="14"/>
                    <a:pt x="17" y="14"/>
                  </a:cubicBezTo>
                  <a:cubicBezTo>
                    <a:pt x="18" y="14"/>
                    <a:pt x="18" y="13"/>
                    <a:pt x="18" y="12"/>
                  </a:cubicBezTo>
                  <a:cubicBezTo>
                    <a:pt x="18" y="11"/>
                    <a:pt x="16" y="11"/>
                    <a:pt x="16" y="10"/>
                  </a:cubicBezTo>
                  <a:cubicBezTo>
                    <a:pt x="15" y="9"/>
                    <a:pt x="13" y="9"/>
                    <a:pt x="12" y="8"/>
                  </a:cubicBezTo>
                  <a:cubicBezTo>
                    <a:pt x="10" y="6"/>
                    <a:pt x="9" y="2"/>
                    <a:pt x="7" y="1"/>
                  </a:cubicBezTo>
                  <a:cubicBezTo>
                    <a:pt x="6" y="1"/>
                    <a:pt x="6" y="1"/>
                    <a:pt x="6" y="1"/>
                  </a:cubicBezTo>
                  <a:cubicBezTo>
                    <a:pt x="6" y="1"/>
                    <a:pt x="6" y="1"/>
                    <a:pt x="6" y="1"/>
                  </a:cubicBezTo>
                  <a:cubicBezTo>
                    <a:pt x="6" y="1"/>
                    <a:pt x="5" y="2"/>
                    <a:pt x="4" y="2"/>
                  </a:cubicBezTo>
                  <a:cubicBezTo>
                    <a:pt x="4" y="2"/>
                    <a:pt x="4" y="2"/>
                    <a:pt x="4"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1470"/>
            <p:cNvSpPr/>
            <p:nvPr/>
          </p:nvSpPr>
          <p:spPr bwMode="auto">
            <a:xfrm>
              <a:off x="968" y="331"/>
              <a:ext cx="40" cy="24"/>
            </a:xfrm>
            <a:custGeom>
              <a:gdLst>
                <a:gd name="T0" fmla="*/ 2 w 17"/>
                <a:gd name="T1" fmla="*/ 0 h 10"/>
                <a:gd name="T2" fmla="*/ 0 w 17"/>
                <a:gd name="T3" fmla="*/ 1 h 10"/>
                <a:gd name="T4" fmla="*/ 3 w 17"/>
                <a:gd name="T5" fmla="*/ 1 h 10"/>
                <a:gd name="T6" fmla="*/ 3 w 17"/>
                <a:gd name="T7" fmla="*/ 1 h 10"/>
                <a:gd name="T8" fmla="*/ 6 w 17"/>
                <a:gd name="T9" fmla="*/ 3 h 10"/>
                <a:gd name="T10" fmla="*/ 14 w 17"/>
                <a:gd name="T11" fmla="*/ 10 h 10"/>
                <a:gd name="T12" fmla="*/ 14 w 17"/>
                <a:gd name="T13" fmla="*/ 4 h 10"/>
                <a:gd name="T14" fmla="*/ 14 w 17"/>
                <a:gd name="T15" fmla="*/ 4 h 10"/>
                <a:gd name="T16" fmla="*/ 17 w 17"/>
                <a:gd name="T17" fmla="*/ 3 h 10"/>
                <a:gd name="T18" fmla="*/ 2 w 17"/>
                <a:gd name="T19"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0">
                  <a:moveTo>
                    <a:pt x="2" y="0"/>
                  </a:moveTo>
                  <a:cubicBezTo>
                    <a:pt x="1" y="0"/>
                    <a:pt x="1" y="0"/>
                    <a:pt x="0" y="1"/>
                  </a:cubicBezTo>
                  <a:cubicBezTo>
                    <a:pt x="1" y="1"/>
                    <a:pt x="2" y="1"/>
                    <a:pt x="3" y="1"/>
                  </a:cubicBezTo>
                  <a:cubicBezTo>
                    <a:pt x="3" y="1"/>
                    <a:pt x="3" y="1"/>
                    <a:pt x="3" y="1"/>
                  </a:cubicBezTo>
                  <a:cubicBezTo>
                    <a:pt x="4" y="1"/>
                    <a:pt x="5" y="1"/>
                    <a:pt x="6" y="3"/>
                  </a:cubicBezTo>
                  <a:cubicBezTo>
                    <a:pt x="8" y="6"/>
                    <a:pt x="11" y="8"/>
                    <a:pt x="14" y="10"/>
                  </a:cubicBezTo>
                  <a:cubicBezTo>
                    <a:pt x="14" y="8"/>
                    <a:pt x="14" y="6"/>
                    <a:pt x="14" y="4"/>
                  </a:cubicBezTo>
                  <a:cubicBezTo>
                    <a:pt x="14" y="4"/>
                    <a:pt x="14" y="4"/>
                    <a:pt x="14" y="4"/>
                  </a:cubicBezTo>
                  <a:cubicBezTo>
                    <a:pt x="15" y="4"/>
                    <a:pt x="16" y="4"/>
                    <a:pt x="17" y="3"/>
                  </a:cubicBezTo>
                  <a:cubicBezTo>
                    <a:pt x="13" y="1"/>
                    <a:pt x="7"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1471"/>
            <p:cNvSpPr/>
            <p:nvPr/>
          </p:nvSpPr>
          <p:spPr bwMode="auto">
            <a:xfrm>
              <a:off x="1013" y="312"/>
              <a:ext cx="4" cy="12"/>
            </a:xfrm>
            <a:custGeom>
              <a:gdLst>
                <a:gd name="T0" fmla="*/ 1 w 2"/>
                <a:gd name="T1" fmla="*/ 0 h 5"/>
                <a:gd name="T2" fmla="*/ 0 w 2"/>
                <a:gd name="T3" fmla="*/ 1 h 5"/>
                <a:gd name="T4" fmla="*/ 2 w 2"/>
                <a:gd name="T5" fmla="*/ 5 h 5"/>
                <a:gd name="T6" fmla="*/ 1 w 2"/>
                <a:gd name="T7" fmla="*/ 0 h 5"/>
              </a:gdLst>
              <a:cxnLst>
                <a:cxn ang="0">
                  <a:pos x="T0" y="T1"/>
                </a:cxn>
                <a:cxn ang="0">
                  <a:pos x="T2" y="T3"/>
                </a:cxn>
                <a:cxn ang="0">
                  <a:pos x="T4" y="T5"/>
                </a:cxn>
                <a:cxn ang="0">
                  <a:pos x="T6" y="T7"/>
                </a:cxn>
              </a:cxnLst>
              <a:rect l="0" t="0" r="r" b="b"/>
              <a:pathLst>
                <a:path w="2" h="5">
                  <a:moveTo>
                    <a:pt x="1" y="0"/>
                  </a:moveTo>
                  <a:cubicBezTo>
                    <a:pt x="1" y="0"/>
                    <a:pt x="0" y="1"/>
                    <a:pt x="0" y="1"/>
                  </a:cubicBezTo>
                  <a:cubicBezTo>
                    <a:pt x="0" y="2"/>
                    <a:pt x="1" y="4"/>
                    <a:pt x="2" y="5"/>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1472"/>
            <p:cNvSpPr/>
            <p:nvPr/>
          </p:nvSpPr>
          <p:spPr bwMode="auto">
            <a:xfrm>
              <a:off x="424" y="478"/>
              <a:ext cx="15" cy="28"/>
            </a:xfrm>
            <a:custGeom>
              <a:gdLst>
                <a:gd name="T0" fmla="*/ 3 w 6"/>
                <a:gd name="T1" fmla="*/ 0 h 12"/>
                <a:gd name="T2" fmla="*/ 1 w 6"/>
                <a:gd name="T3" fmla="*/ 8 h 12"/>
                <a:gd name="T4" fmla="*/ 2 w 6"/>
                <a:gd name="T5" fmla="*/ 12 h 12"/>
                <a:gd name="T6" fmla="*/ 2 w 6"/>
                <a:gd name="T7" fmla="*/ 12 h 12"/>
                <a:gd name="T8" fmla="*/ 6 w 6"/>
                <a:gd name="T9" fmla="*/ 8 h 12"/>
                <a:gd name="T10" fmla="*/ 3 w 6"/>
                <a:gd name="T11" fmla="*/ 0 h 12"/>
              </a:gdLst>
              <a:cxnLst>
                <a:cxn ang="0">
                  <a:pos x="T0" y="T1"/>
                </a:cxn>
                <a:cxn ang="0">
                  <a:pos x="T2" y="T3"/>
                </a:cxn>
                <a:cxn ang="0">
                  <a:pos x="T4" y="T5"/>
                </a:cxn>
                <a:cxn ang="0">
                  <a:pos x="T6" y="T7"/>
                </a:cxn>
                <a:cxn ang="0">
                  <a:pos x="T8" y="T9"/>
                </a:cxn>
                <a:cxn ang="0">
                  <a:pos x="T10" y="T11"/>
                </a:cxn>
              </a:cxnLst>
              <a:rect l="0" t="0" r="r" b="b"/>
              <a:pathLst>
                <a:path w="6" h="12">
                  <a:moveTo>
                    <a:pt x="3" y="0"/>
                  </a:moveTo>
                  <a:cubicBezTo>
                    <a:pt x="1" y="2"/>
                    <a:pt x="0" y="7"/>
                    <a:pt x="1" y="8"/>
                  </a:cubicBezTo>
                  <a:cubicBezTo>
                    <a:pt x="1" y="9"/>
                    <a:pt x="1" y="12"/>
                    <a:pt x="2" y="12"/>
                  </a:cubicBezTo>
                  <a:cubicBezTo>
                    <a:pt x="2" y="12"/>
                    <a:pt x="2" y="12"/>
                    <a:pt x="2" y="12"/>
                  </a:cubicBezTo>
                  <a:cubicBezTo>
                    <a:pt x="2" y="12"/>
                    <a:pt x="5" y="9"/>
                    <a:pt x="6" y="8"/>
                  </a:cubicBezTo>
                  <a:cubicBezTo>
                    <a:pt x="6" y="6"/>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1473"/>
            <p:cNvSpPr/>
            <p:nvPr/>
          </p:nvSpPr>
          <p:spPr bwMode="auto">
            <a:xfrm flipH="1">
              <a:off x="450" y="478"/>
              <a:ext cx="0" cy="5"/>
            </a:xfrm>
            <a:custGeom>
              <a:gdLst>
                <a:gd name="T0" fmla="*/ 0 h 2"/>
                <a:gd name="T1" fmla="*/ 2 h 2"/>
                <a:gd name="T2" fmla="*/ 0 h 2"/>
                <a:gd name="T3" fmla="*/ 0 h 2"/>
              </a:gdLst>
              <a:cxnLst>
                <a:cxn ang="0">
                  <a:pos x="0" y="T0"/>
                </a:cxn>
                <a:cxn ang="0">
                  <a:pos x="0" y="T1"/>
                </a:cxn>
                <a:cxn ang="0">
                  <a:pos x="0" y="T2"/>
                </a:cxn>
                <a:cxn ang="0">
                  <a:pos x="0" y="T3"/>
                </a:cxn>
              </a:cxnLst>
              <a:rect l="0" t="0" r="r" b="b"/>
              <a:pathLst>
                <a:path h="2">
                  <a:moveTo>
                    <a:pt x="0" y="0"/>
                  </a:moveTo>
                  <a:cubicBezTo>
                    <a:pt x="0" y="1"/>
                    <a:pt x="0" y="2"/>
                    <a:pt x="0" y="2"/>
                  </a:cubicBezTo>
                  <a:cubicBezTo>
                    <a:pt x="0" y="2"/>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1474"/>
            <p:cNvSpPr/>
            <p:nvPr/>
          </p:nvSpPr>
          <p:spPr bwMode="auto">
            <a:xfrm>
              <a:off x="559" y="665"/>
              <a:ext cx="12" cy="9"/>
            </a:xfrm>
            <a:custGeom>
              <a:gdLst>
                <a:gd name="T0" fmla="*/ 3 w 5"/>
                <a:gd name="T1" fmla="*/ 0 h 4"/>
                <a:gd name="T2" fmla="*/ 0 w 5"/>
                <a:gd name="T3" fmla="*/ 3 h 4"/>
                <a:gd name="T4" fmla="*/ 1 w 5"/>
                <a:gd name="T5" fmla="*/ 4 h 4"/>
                <a:gd name="T6" fmla="*/ 3 w 5"/>
                <a:gd name="T7" fmla="*/ 1 h 4"/>
                <a:gd name="T8" fmla="*/ 3 w 5"/>
                <a:gd name="T9" fmla="*/ 0 h 4"/>
              </a:gdLst>
              <a:cxnLst>
                <a:cxn ang="0">
                  <a:pos x="T0" y="T1"/>
                </a:cxn>
                <a:cxn ang="0">
                  <a:pos x="T2" y="T3"/>
                </a:cxn>
                <a:cxn ang="0">
                  <a:pos x="T4" y="T5"/>
                </a:cxn>
                <a:cxn ang="0">
                  <a:pos x="T6" y="T7"/>
                </a:cxn>
                <a:cxn ang="0">
                  <a:pos x="T8" y="T9"/>
                </a:cxn>
              </a:cxnLst>
              <a:rect l="0" t="0" r="r" b="b"/>
              <a:pathLst>
                <a:path w="5" h="4">
                  <a:moveTo>
                    <a:pt x="3" y="0"/>
                  </a:moveTo>
                  <a:cubicBezTo>
                    <a:pt x="2" y="0"/>
                    <a:pt x="0" y="2"/>
                    <a:pt x="0" y="3"/>
                  </a:cubicBezTo>
                  <a:cubicBezTo>
                    <a:pt x="0" y="4"/>
                    <a:pt x="1" y="4"/>
                    <a:pt x="1" y="4"/>
                  </a:cubicBezTo>
                  <a:cubicBezTo>
                    <a:pt x="3" y="4"/>
                    <a:pt x="5" y="2"/>
                    <a:pt x="3" y="1"/>
                  </a:cubicBezTo>
                  <a:cubicBezTo>
                    <a:pt x="3"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1475"/>
            <p:cNvSpPr/>
            <p:nvPr/>
          </p:nvSpPr>
          <p:spPr bwMode="auto">
            <a:xfrm>
              <a:off x="698" y="201"/>
              <a:ext cx="12" cy="14"/>
            </a:xfrm>
            <a:custGeom>
              <a:gdLst>
                <a:gd name="T0" fmla="*/ 0 w 5"/>
                <a:gd name="T1" fmla="*/ 0 h 6"/>
                <a:gd name="T2" fmla="*/ 2 w 5"/>
                <a:gd name="T3" fmla="*/ 6 h 6"/>
                <a:gd name="T4" fmla="*/ 5 w 5"/>
                <a:gd name="T5" fmla="*/ 5 h 6"/>
                <a:gd name="T6" fmla="*/ 0 w 5"/>
                <a:gd name="T7" fmla="*/ 0 h 6"/>
              </a:gdLst>
              <a:cxnLst>
                <a:cxn ang="0">
                  <a:pos x="T0" y="T1"/>
                </a:cxn>
                <a:cxn ang="0">
                  <a:pos x="T2" y="T3"/>
                </a:cxn>
                <a:cxn ang="0">
                  <a:pos x="T4" y="T5"/>
                </a:cxn>
                <a:cxn ang="0">
                  <a:pos x="T6" y="T7"/>
                </a:cxn>
              </a:cxnLst>
              <a:rect l="0" t="0" r="r" b="b"/>
              <a:pathLst>
                <a:path w="5" h="6">
                  <a:moveTo>
                    <a:pt x="0" y="0"/>
                  </a:moveTo>
                  <a:cubicBezTo>
                    <a:pt x="1" y="2"/>
                    <a:pt x="1" y="4"/>
                    <a:pt x="2" y="6"/>
                  </a:cubicBezTo>
                  <a:cubicBezTo>
                    <a:pt x="3" y="5"/>
                    <a:pt x="4" y="5"/>
                    <a:pt x="5" y="5"/>
                  </a:cubicBezTo>
                  <a:cubicBezTo>
                    <a:pt x="4"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1476"/>
            <p:cNvSpPr/>
            <p:nvPr/>
          </p:nvSpPr>
          <p:spPr bwMode="auto">
            <a:xfrm>
              <a:off x="479" y="513"/>
              <a:ext cx="4" cy="14"/>
            </a:xfrm>
            <a:custGeom>
              <a:gdLst>
                <a:gd name="T0" fmla="*/ 0 w 2"/>
                <a:gd name="T1" fmla="*/ 0 h 6"/>
                <a:gd name="T2" fmla="*/ 2 w 2"/>
                <a:gd name="T3" fmla="*/ 6 h 6"/>
                <a:gd name="T4" fmla="*/ 0 w 2"/>
                <a:gd name="T5" fmla="*/ 0 h 6"/>
              </a:gdLst>
              <a:cxnLst>
                <a:cxn ang="0">
                  <a:pos x="T0" y="T1"/>
                </a:cxn>
                <a:cxn ang="0">
                  <a:pos x="T2" y="T3"/>
                </a:cxn>
                <a:cxn ang="0">
                  <a:pos x="T4" y="T5"/>
                </a:cxn>
              </a:cxnLst>
              <a:rect l="0" t="0" r="r" b="b"/>
              <a:pathLst>
                <a:path w="2" h="6">
                  <a:moveTo>
                    <a:pt x="0" y="0"/>
                  </a:moveTo>
                  <a:cubicBezTo>
                    <a:pt x="0" y="2"/>
                    <a:pt x="1" y="4"/>
                    <a:pt x="2" y="6"/>
                  </a:cubicBezTo>
                  <a:cubicBezTo>
                    <a:pt x="1"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1477"/>
            <p:cNvSpPr/>
            <p:nvPr/>
          </p:nvSpPr>
          <p:spPr bwMode="auto">
            <a:xfrm>
              <a:off x="545" y="364"/>
              <a:ext cx="7" cy="10"/>
            </a:xfrm>
            <a:custGeom>
              <a:gdLst>
                <a:gd name="T0" fmla="*/ 0 w 3"/>
                <a:gd name="T1" fmla="*/ 0 h 4"/>
                <a:gd name="T2" fmla="*/ 0 w 3"/>
                <a:gd name="T3" fmla="*/ 0 h 4"/>
                <a:gd name="T4" fmla="*/ 3 w 3"/>
                <a:gd name="T5" fmla="*/ 4 h 4"/>
                <a:gd name="T6" fmla="*/ 0 w 3"/>
                <a:gd name="T7" fmla="*/ 0 h 4"/>
              </a:gdLst>
              <a:cxnLst>
                <a:cxn ang="0">
                  <a:pos x="T0" y="T1"/>
                </a:cxn>
                <a:cxn ang="0">
                  <a:pos x="T2" y="T3"/>
                </a:cxn>
                <a:cxn ang="0">
                  <a:pos x="T4" y="T5"/>
                </a:cxn>
                <a:cxn ang="0">
                  <a:pos x="T6" y="T7"/>
                </a:cxn>
              </a:cxnLst>
              <a:rect l="0" t="0" r="r" b="b"/>
              <a:pathLst>
                <a:path w="3" h="4">
                  <a:moveTo>
                    <a:pt x="0" y="0"/>
                  </a:moveTo>
                  <a:cubicBezTo>
                    <a:pt x="0" y="0"/>
                    <a:pt x="0" y="0"/>
                    <a:pt x="0" y="0"/>
                  </a:cubicBezTo>
                  <a:cubicBezTo>
                    <a:pt x="1" y="2"/>
                    <a:pt x="2" y="3"/>
                    <a:pt x="3" y="4"/>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1478"/>
            <p:cNvSpPr/>
            <p:nvPr/>
          </p:nvSpPr>
          <p:spPr bwMode="auto">
            <a:xfrm>
              <a:off x="517" y="579"/>
              <a:ext cx="4" cy="15"/>
            </a:xfrm>
            <a:custGeom>
              <a:gdLst>
                <a:gd name="T0" fmla="*/ 2 w 2"/>
                <a:gd name="T1" fmla="*/ 0 h 6"/>
                <a:gd name="T2" fmla="*/ 2 w 2"/>
                <a:gd name="T3" fmla="*/ 6 h 6"/>
                <a:gd name="T4" fmla="*/ 2 w 2"/>
                <a:gd name="T5" fmla="*/ 0 h 6"/>
              </a:gdLst>
              <a:cxnLst>
                <a:cxn ang="0">
                  <a:pos x="T0" y="T1"/>
                </a:cxn>
                <a:cxn ang="0">
                  <a:pos x="T2" y="T3"/>
                </a:cxn>
                <a:cxn ang="0">
                  <a:pos x="T4" y="T5"/>
                </a:cxn>
              </a:cxnLst>
              <a:rect l="0" t="0" r="r" b="b"/>
              <a:pathLst>
                <a:path w="2" h="6">
                  <a:moveTo>
                    <a:pt x="2" y="0"/>
                  </a:moveTo>
                  <a:cubicBezTo>
                    <a:pt x="1" y="3"/>
                    <a:pt x="0" y="3"/>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1479"/>
            <p:cNvSpPr/>
            <p:nvPr/>
          </p:nvSpPr>
          <p:spPr bwMode="auto">
            <a:xfrm>
              <a:off x="446" y="490"/>
              <a:ext cx="2" cy="7"/>
            </a:xfrm>
            <a:custGeom>
              <a:gdLst>
                <a:gd name="T0" fmla="*/ 1 w 1"/>
                <a:gd name="T1" fmla="*/ 0 h 3"/>
                <a:gd name="T2" fmla="*/ 1 w 1"/>
                <a:gd name="T3" fmla="*/ 3 h 3"/>
                <a:gd name="T4" fmla="*/ 1 w 1"/>
                <a:gd name="T5" fmla="*/ 0 h 3"/>
              </a:gd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Freeform 1480"/>
            <p:cNvSpPr/>
            <p:nvPr/>
          </p:nvSpPr>
          <p:spPr bwMode="auto">
            <a:xfrm>
              <a:off x="538" y="381"/>
              <a:ext cx="14" cy="9"/>
            </a:xfrm>
            <a:custGeom>
              <a:gdLst>
                <a:gd name="T0" fmla="*/ 4 w 6"/>
                <a:gd name="T1" fmla="*/ 0 h 4"/>
                <a:gd name="T2" fmla="*/ 2 w 6"/>
                <a:gd name="T3" fmla="*/ 0 h 4"/>
                <a:gd name="T4" fmla="*/ 2 w 6"/>
                <a:gd name="T5" fmla="*/ 4 h 4"/>
                <a:gd name="T6" fmla="*/ 6 w 6"/>
                <a:gd name="T7" fmla="*/ 0 h 4"/>
                <a:gd name="T8" fmla="*/ 4 w 6"/>
                <a:gd name="T9" fmla="*/ 0 h 4"/>
              </a:gdLst>
              <a:cxnLst>
                <a:cxn ang="0">
                  <a:pos x="T0" y="T1"/>
                </a:cxn>
                <a:cxn ang="0">
                  <a:pos x="T2" y="T3"/>
                </a:cxn>
                <a:cxn ang="0">
                  <a:pos x="T4" y="T5"/>
                </a:cxn>
                <a:cxn ang="0">
                  <a:pos x="T6" y="T7"/>
                </a:cxn>
                <a:cxn ang="0">
                  <a:pos x="T8" y="T9"/>
                </a:cxn>
              </a:cxnLst>
              <a:rect l="0" t="0" r="r" b="b"/>
              <a:pathLst>
                <a:path w="6" h="4">
                  <a:moveTo>
                    <a:pt x="4" y="0"/>
                  </a:moveTo>
                  <a:cubicBezTo>
                    <a:pt x="3" y="0"/>
                    <a:pt x="3" y="0"/>
                    <a:pt x="2" y="0"/>
                  </a:cubicBezTo>
                  <a:cubicBezTo>
                    <a:pt x="0" y="0"/>
                    <a:pt x="2" y="3"/>
                    <a:pt x="2" y="4"/>
                  </a:cubicBezTo>
                  <a:cubicBezTo>
                    <a:pt x="3" y="4"/>
                    <a:pt x="6" y="2"/>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1481"/>
            <p:cNvSpPr/>
            <p:nvPr/>
          </p:nvSpPr>
          <p:spPr bwMode="auto">
            <a:xfrm>
              <a:off x="717" y="230"/>
              <a:ext cx="5" cy="11"/>
            </a:xfrm>
            <a:custGeom>
              <a:gdLst>
                <a:gd name="T0" fmla="*/ 1 w 2"/>
                <a:gd name="T1" fmla="*/ 0 h 5"/>
                <a:gd name="T2" fmla="*/ 2 w 2"/>
                <a:gd name="T3" fmla="*/ 5 h 5"/>
                <a:gd name="T4" fmla="*/ 1 w 2"/>
                <a:gd name="T5" fmla="*/ 0 h 5"/>
              </a:gdLst>
              <a:cxnLst>
                <a:cxn ang="0">
                  <a:pos x="T0" y="T1"/>
                </a:cxn>
                <a:cxn ang="0">
                  <a:pos x="T2" y="T3"/>
                </a:cxn>
                <a:cxn ang="0">
                  <a:pos x="T4" y="T5"/>
                </a:cxn>
              </a:cxnLst>
              <a:rect l="0" t="0" r="r" b="b"/>
              <a:pathLst>
                <a:path w="2" h="5">
                  <a:moveTo>
                    <a:pt x="1" y="0"/>
                  </a:moveTo>
                  <a:cubicBezTo>
                    <a:pt x="0" y="2"/>
                    <a:pt x="0" y="4"/>
                    <a:pt x="2" y="5"/>
                  </a:cubicBezTo>
                  <a:cubicBezTo>
                    <a:pt x="2" y="3"/>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1482"/>
            <p:cNvSpPr/>
            <p:nvPr/>
          </p:nvSpPr>
          <p:spPr bwMode="auto">
            <a:xfrm>
              <a:off x="2294" y="1598"/>
              <a:ext cx="9" cy="12"/>
            </a:xfrm>
            <a:custGeom>
              <a:gdLst>
                <a:gd name="T0" fmla="*/ 4 w 4"/>
                <a:gd name="T1" fmla="*/ 0 h 5"/>
                <a:gd name="T2" fmla="*/ 1 w 4"/>
                <a:gd name="T3" fmla="*/ 5 h 5"/>
                <a:gd name="T4" fmla="*/ 4 w 4"/>
                <a:gd name="T5" fmla="*/ 0 h 5"/>
              </a:gdLst>
              <a:cxnLst>
                <a:cxn ang="0">
                  <a:pos x="T0" y="T1"/>
                </a:cxn>
                <a:cxn ang="0">
                  <a:pos x="T2" y="T3"/>
                </a:cxn>
                <a:cxn ang="0">
                  <a:pos x="T4" y="T5"/>
                </a:cxn>
              </a:cxnLst>
              <a:rect l="0" t="0" r="r" b="b"/>
              <a:pathLst>
                <a:path w="4" h="5">
                  <a:moveTo>
                    <a:pt x="4" y="0"/>
                  </a:moveTo>
                  <a:cubicBezTo>
                    <a:pt x="3" y="2"/>
                    <a:pt x="0" y="3"/>
                    <a:pt x="1" y="5"/>
                  </a:cubicBezTo>
                  <a:cubicBezTo>
                    <a:pt x="2"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1483"/>
            <p:cNvSpPr/>
            <p:nvPr/>
          </p:nvSpPr>
          <p:spPr bwMode="auto">
            <a:xfrm>
              <a:off x="5108" y="2459"/>
              <a:ext cx="14" cy="23"/>
            </a:xfrm>
            <a:custGeom>
              <a:gdLst>
                <a:gd name="T0" fmla="*/ 3 w 6"/>
                <a:gd name="T1" fmla="*/ 0 h 10"/>
                <a:gd name="T2" fmla="*/ 0 w 6"/>
                <a:gd name="T3" fmla="*/ 10 h 10"/>
                <a:gd name="T4" fmla="*/ 3 w 6"/>
                <a:gd name="T5" fmla="*/ 3 h 10"/>
                <a:gd name="T6" fmla="*/ 3 w 6"/>
                <a:gd name="T7" fmla="*/ 0 h 10"/>
              </a:gdLst>
              <a:cxnLst>
                <a:cxn ang="0">
                  <a:pos x="T0" y="T1"/>
                </a:cxn>
                <a:cxn ang="0">
                  <a:pos x="T2" y="T3"/>
                </a:cxn>
                <a:cxn ang="0">
                  <a:pos x="T4" y="T5"/>
                </a:cxn>
                <a:cxn ang="0">
                  <a:pos x="T6" y="T7"/>
                </a:cxn>
              </a:cxnLst>
              <a:rect l="0" t="0" r="r" b="b"/>
              <a:pathLst>
                <a:path w="6" h="10">
                  <a:moveTo>
                    <a:pt x="3" y="0"/>
                  </a:moveTo>
                  <a:cubicBezTo>
                    <a:pt x="1" y="3"/>
                    <a:pt x="1" y="6"/>
                    <a:pt x="0" y="10"/>
                  </a:cubicBezTo>
                  <a:cubicBezTo>
                    <a:pt x="4" y="7"/>
                    <a:pt x="2" y="7"/>
                    <a:pt x="3" y="3"/>
                  </a:cubicBezTo>
                  <a:cubicBezTo>
                    <a:pt x="3" y="1"/>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1484"/>
            <p:cNvSpPr/>
            <p:nvPr/>
          </p:nvSpPr>
          <p:spPr bwMode="auto">
            <a:xfrm>
              <a:off x="4910" y="2404"/>
              <a:ext cx="2" cy="5"/>
            </a:xfrm>
            <a:custGeom>
              <a:gdLst>
                <a:gd name="T0" fmla="*/ 0 w 1"/>
                <a:gd name="T1" fmla="*/ 0 h 2"/>
                <a:gd name="T2" fmla="*/ 1 w 1"/>
                <a:gd name="T3" fmla="*/ 2 h 2"/>
                <a:gd name="T4" fmla="*/ 0 w 1"/>
                <a:gd name="T5" fmla="*/ 0 h 2"/>
              </a:gdLst>
              <a:cxnLst>
                <a:cxn ang="0">
                  <a:pos x="T0" y="T1"/>
                </a:cxn>
                <a:cxn ang="0">
                  <a:pos x="T2" y="T3"/>
                </a:cxn>
                <a:cxn ang="0">
                  <a:pos x="T4" y="T5"/>
                </a:cxn>
              </a:cxnLst>
              <a:rect l="0" t="0" r="r" b="b"/>
              <a:pathLst>
                <a:path w="1" h="2">
                  <a:moveTo>
                    <a:pt x="0" y="0"/>
                  </a:moveTo>
                  <a:cubicBezTo>
                    <a:pt x="0" y="1"/>
                    <a:pt x="1" y="1"/>
                    <a:pt x="1"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1485"/>
            <p:cNvSpPr/>
            <p:nvPr/>
          </p:nvSpPr>
          <p:spPr bwMode="auto">
            <a:xfrm>
              <a:off x="5170" y="2612"/>
              <a:ext cx="7" cy="10"/>
            </a:xfrm>
            <a:custGeom>
              <a:gdLst>
                <a:gd name="T0" fmla="*/ 1 w 3"/>
                <a:gd name="T1" fmla="*/ 0 h 4"/>
                <a:gd name="T2" fmla="*/ 3 w 3"/>
                <a:gd name="T3" fmla="*/ 4 h 4"/>
                <a:gd name="T4" fmla="*/ 1 w 3"/>
                <a:gd name="T5" fmla="*/ 0 h 4"/>
              </a:gdLst>
              <a:cxnLst>
                <a:cxn ang="0">
                  <a:pos x="T0" y="T1"/>
                </a:cxn>
                <a:cxn ang="0">
                  <a:pos x="T2" y="T3"/>
                </a:cxn>
                <a:cxn ang="0">
                  <a:pos x="T4" y="T5"/>
                </a:cxn>
              </a:cxnLst>
              <a:rect l="0" t="0" r="r" b="b"/>
              <a:pathLst>
                <a:path w="3" h="4">
                  <a:moveTo>
                    <a:pt x="1" y="0"/>
                  </a:moveTo>
                  <a:cubicBezTo>
                    <a:pt x="0" y="2"/>
                    <a:pt x="1" y="3"/>
                    <a:pt x="3" y="4"/>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1486"/>
            <p:cNvSpPr/>
            <p:nvPr/>
          </p:nvSpPr>
          <p:spPr bwMode="auto">
            <a:xfrm>
              <a:off x="4657" y="2366"/>
              <a:ext cx="2" cy="17"/>
            </a:xfrm>
            <a:custGeom>
              <a:gdLst>
                <a:gd name="T0" fmla="*/ 0 w 1"/>
                <a:gd name="T1" fmla="*/ 0 h 7"/>
                <a:gd name="T2" fmla="*/ 0 w 1"/>
                <a:gd name="T3" fmla="*/ 7 h 7"/>
                <a:gd name="T4" fmla="*/ 0 w 1"/>
                <a:gd name="T5" fmla="*/ 0 h 7"/>
              </a:gdLst>
              <a:cxnLst>
                <a:cxn ang="0">
                  <a:pos x="T0" y="T1"/>
                </a:cxn>
                <a:cxn ang="0">
                  <a:pos x="T2" y="T3"/>
                </a:cxn>
                <a:cxn ang="0">
                  <a:pos x="T4" y="T5"/>
                </a:cxn>
              </a:cxnLst>
              <a:rect l="0" t="0" r="r" b="b"/>
              <a:pathLst>
                <a:path w="1" h="7">
                  <a:moveTo>
                    <a:pt x="0" y="0"/>
                  </a:moveTo>
                  <a:cubicBezTo>
                    <a:pt x="0" y="3"/>
                    <a:pt x="0" y="5"/>
                    <a:pt x="0" y="7"/>
                  </a:cubicBezTo>
                  <a:cubicBezTo>
                    <a:pt x="0" y="5"/>
                    <a:pt x="1"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1487"/>
            <p:cNvSpPr/>
            <p:nvPr/>
          </p:nvSpPr>
          <p:spPr bwMode="auto">
            <a:xfrm>
              <a:off x="5198" y="2527"/>
              <a:ext cx="21" cy="21"/>
            </a:xfrm>
            <a:custGeom>
              <a:gdLst>
                <a:gd name="T0" fmla="*/ 5 w 9"/>
                <a:gd name="T1" fmla="*/ 0 h 9"/>
                <a:gd name="T2" fmla="*/ 0 w 9"/>
                <a:gd name="T3" fmla="*/ 1 h 9"/>
                <a:gd name="T4" fmla="*/ 1 w 9"/>
                <a:gd name="T5" fmla="*/ 7 h 9"/>
                <a:gd name="T6" fmla="*/ 2 w 9"/>
                <a:gd name="T7" fmla="*/ 7 h 9"/>
                <a:gd name="T8" fmla="*/ 5 w 9"/>
                <a:gd name="T9" fmla="*/ 9 h 9"/>
                <a:gd name="T10" fmla="*/ 9 w 9"/>
                <a:gd name="T11" fmla="*/ 3 h 9"/>
                <a:gd name="T12" fmla="*/ 8 w 9"/>
                <a:gd name="T13" fmla="*/ 3 h 9"/>
                <a:gd name="T14" fmla="*/ 5 w 9"/>
                <a:gd name="T15" fmla="*/ 0 h 9"/>
                <a:gd name="T16" fmla="*/ 5 w 9"/>
                <a:gd name="T17"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5" y="0"/>
                  </a:moveTo>
                  <a:cubicBezTo>
                    <a:pt x="4" y="0"/>
                    <a:pt x="0" y="1"/>
                    <a:pt x="0" y="1"/>
                  </a:cubicBezTo>
                  <a:cubicBezTo>
                    <a:pt x="1" y="3"/>
                    <a:pt x="2" y="6"/>
                    <a:pt x="1" y="7"/>
                  </a:cubicBezTo>
                  <a:cubicBezTo>
                    <a:pt x="1" y="7"/>
                    <a:pt x="1" y="7"/>
                    <a:pt x="2" y="7"/>
                  </a:cubicBezTo>
                  <a:cubicBezTo>
                    <a:pt x="3" y="7"/>
                    <a:pt x="4" y="8"/>
                    <a:pt x="5" y="9"/>
                  </a:cubicBezTo>
                  <a:cubicBezTo>
                    <a:pt x="6" y="7"/>
                    <a:pt x="8" y="5"/>
                    <a:pt x="9" y="3"/>
                  </a:cubicBezTo>
                  <a:cubicBezTo>
                    <a:pt x="9" y="3"/>
                    <a:pt x="8" y="3"/>
                    <a:pt x="8" y="3"/>
                  </a:cubicBezTo>
                  <a:cubicBezTo>
                    <a:pt x="7" y="3"/>
                    <a:pt x="6"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1488"/>
            <p:cNvSpPr/>
            <p:nvPr/>
          </p:nvSpPr>
          <p:spPr bwMode="auto">
            <a:xfrm>
              <a:off x="5144" y="2480"/>
              <a:ext cx="30" cy="35"/>
            </a:xfrm>
            <a:custGeom>
              <a:gdLst>
                <a:gd name="T0" fmla="*/ 5 w 13"/>
                <a:gd name="T1" fmla="*/ 0 h 15"/>
                <a:gd name="T2" fmla="*/ 0 w 13"/>
                <a:gd name="T3" fmla="*/ 2 h 15"/>
                <a:gd name="T4" fmla="*/ 4 w 13"/>
                <a:gd name="T5" fmla="*/ 3 h 15"/>
                <a:gd name="T6" fmla="*/ 0 w 13"/>
                <a:gd name="T7" fmla="*/ 7 h 15"/>
                <a:gd name="T8" fmla="*/ 3 w 13"/>
                <a:gd name="T9" fmla="*/ 11 h 15"/>
                <a:gd name="T10" fmla="*/ 6 w 13"/>
                <a:gd name="T11" fmla="*/ 12 h 15"/>
                <a:gd name="T12" fmla="*/ 10 w 13"/>
                <a:gd name="T13" fmla="*/ 15 h 15"/>
                <a:gd name="T14" fmla="*/ 9 w 13"/>
                <a:gd name="T15" fmla="*/ 3 h 15"/>
                <a:gd name="T16" fmla="*/ 6 w 13"/>
                <a:gd name="T17" fmla="*/ 0 h 15"/>
                <a:gd name="T18" fmla="*/ 5 w 13"/>
                <a:gd name="T19" fmla="*/ 0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5" y="0"/>
                  </a:moveTo>
                  <a:cubicBezTo>
                    <a:pt x="3" y="0"/>
                    <a:pt x="0" y="1"/>
                    <a:pt x="0" y="2"/>
                  </a:cubicBezTo>
                  <a:cubicBezTo>
                    <a:pt x="0" y="2"/>
                    <a:pt x="4" y="2"/>
                    <a:pt x="4" y="3"/>
                  </a:cubicBezTo>
                  <a:cubicBezTo>
                    <a:pt x="6" y="5"/>
                    <a:pt x="1" y="6"/>
                    <a:pt x="0" y="7"/>
                  </a:cubicBezTo>
                  <a:cubicBezTo>
                    <a:pt x="1" y="8"/>
                    <a:pt x="1" y="10"/>
                    <a:pt x="3" y="11"/>
                  </a:cubicBezTo>
                  <a:cubicBezTo>
                    <a:pt x="4" y="12"/>
                    <a:pt x="5" y="11"/>
                    <a:pt x="6" y="12"/>
                  </a:cubicBezTo>
                  <a:cubicBezTo>
                    <a:pt x="7" y="13"/>
                    <a:pt x="8" y="14"/>
                    <a:pt x="10" y="15"/>
                  </a:cubicBezTo>
                  <a:cubicBezTo>
                    <a:pt x="13" y="10"/>
                    <a:pt x="11" y="8"/>
                    <a:pt x="9" y="3"/>
                  </a:cubicBezTo>
                  <a:cubicBezTo>
                    <a:pt x="8" y="1"/>
                    <a:pt x="8" y="0"/>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1489"/>
            <p:cNvSpPr/>
            <p:nvPr/>
          </p:nvSpPr>
          <p:spPr bwMode="auto">
            <a:xfrm>
              <a:off x="4933" y="2437"/>
              <a:ext cx="211" cy="163"/>
            </a:xfrm>
            <a:custGeom>
              <a:gdLst>
                <a:gd name="T0" fmla="*/ 1 w 89"/>
                <a:gd name="T1" fmla="*/ 0 h 69"/>
                <a:gd name="T2" fmla="*/ 1 w 89"/>
                <a:gd name="T3" fmla="*/ 0 h 69"/>
                <a:gd name="T4" fmla="*/ 10 w 89"/>
                <a:gd name="T5" fmla="*/ 16 h 69"/>
                <a:gd name="T6" fmla="*/ 47 w 89"/>
                <a:gd name="T7" fmla="*/ 49 h 69"/>
                <a:gd name="T8" fmla="*/ 49 w 89"/>
                <a:gd name="T9" fmla="*/ 50 h 69"/>
                <a:gd name="T10" fmla="*/ 50 w 89"/>
                <a:gd name="T11" fmla="*/ 50 h 69"/>
                <a:gd name="T12" fmla="*/ 51 w 89"/>
                <a:gd name="T13" fmla="*/ 50 h 69"/>
                <a:gd name="T14" fmla="*/ 52 w 89"/>
                <a:gd name="T15" fmla="*/ 50 h 69"/>
                <a:gd name="T16" fmla="*/ 56 w 89"/>
                <a:gd name="T17" fmla="*/ 54 h 69"/>
                <a:gd name="T18" fmla="*/ 68 w 89"/>
                <a:gd name="T19" fmla="*/ 62 h 69"/>
                <a:gd name="T20" fmla="*/ 85 w 89"/>
                <a:gd name="T21" fmla="*/ 69 h 69"/>
                <a:gd name="T22" fmla="*/ 89 w 89"/>
                <a:gd name="T23" fmla="*/ 66 h 69"/>
                <a:gd name="T24" fmla="*/ 79 w 89"/>
                <a:gd name="T25" fmla="*/ 55 h 69"/>
                <a:gd name="T26" fmla="*/ 61 w 89"/>
                <a:gd name="T27" fmla="*/ 42 h 69"/>
                <a:gd name="T28" fmla="*/ 41 w 89"/>
                <a:gd name="T29" fmla="*/ 27 h 69"/>
                <a:gd name="T30" fmla="*/ 22 w 89"/>
                <a:gd name="T31" fmla="*/ 12 h 69"/>
                <a:gd name="T32" fmla="*/ 14 w 89"/>
                <a:gd name="T33" fmla="*/ 6 h 69"/>
                <a:gd name="T34" fmla="*/ 13 w 89"/>
                <a:gd name="T35" fmla="*/ 6 h 69"/>
                <a:gd name="T36" fmla="*/ 12 w 89"/>
                <a:gd name="T37" fmla="*/ 6 h 69"/>
                <a:gd name="T38" fmla="*/ 11 w 89"/>
                <a:gd name="T39" fmla="*/ 7 h 69"/>
                <a:gd name="T40" fmla="*/ 11 w 89"/>
                <a:gd name="T41" fmla="*/ 7 h 69"/>
                <a:gd name="T42" fmla="*/ 6 w 89"/>
                <a:gd name="T43" fmla="*/ 5 h 69"/>
                <a:gd name="T44" fmla="*/ 4 w 89"/>
                <a:gd name="T45" fmla="*/ 2 h 69"/>
                <a:gd name="T46" fmla="*/ 1 w 89"/>
                <a:gd name="T47" fmla="*/ 0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 h="69">
                  <a:moveTo>
                    <a:pt x="1" y="0"/>
                  </a:moveTo>
                  <a:cubicBezTo>
                    <a:pt x="1" y="0"/>
                    <a:pt x="1" y="0"/>
                    <a:pt x="1" y="0"/>
                  </a:cubicBezTo>
                  <a:cubicBezTo>
                    <a:pt x="0" y="0"/>
                    <a:pt x="9" y="14"/>
                    <a:pt x="10" y="16"/>
                  </a:cubicBezTo>
                  <a:cubicBezTo>
                    <a:pt x="22" y="28"/>
                    <a:pt x="31" y="42"/>
                    <a:pt x="47" y="49"/>
                  </a:cubicBezTo>
                  <a:cubicBezTo>
                    <a:pt x="48" y="50"/>
                    <a:pt x="49" y="50"/>
                    <a:pt x="49" y="50"/>
                  </a:cubicBezTo>
                  <a:cubicBezTo>
                    <a:pt x="50" y="50"/>
                    <a:pt x="50" y="50"/>
                    <a:pt x="50" y="50"/>
                  </a:cubicBezTo>
                  <a:cubicBezTo>
                    <a:pt x="50" y="50"/>
                    <a:pt x="50" y="50"/>
                    <a:pt x="51" y="50"/>
                  </a:cubicBezTo>
                  <a:cubicBezTo>
                    <a:pt x="51" y="50"/>
                    <a:pt x="52" y="50"/>
                    <a:pt x="52" y="50"/>
                  </a:cubicBezTo>
                  <a:cubicBezTo>
                    <a:pt x="54" y="52"/>
                    <a:pt x="55" y="53"/>
                    <a:pt x="56" y="54"/>
                  </a:cubicBezTo>
                  <a:cubicBezTo>
                    <a:pt x="61" y="56"/>
                    <a:pt x="65" y="59"/>
                    <a:pt x="68" y="62"/>
                  </a:cubicBezTo>
                  <a:cubicBezTo>
                    <a:pt x="71" y="63"/>
                    <a:pt x="79" y="69"/>
                    <a:pt x="85" y="69"/>
                  </a:cubicBezTo>
                  <a:cubicBezTo>
                    <a:pt x="87" y="69"/>
                    <a:pt x="88" y="68"/>
                    <a:pt x="89" y="66"/>
                  </a:cubicBezTo>
                  <a:cubicBezTo>
                    <a:pt x="89" y="61"/>
                    <a:pt x="82" y="57"/>
                    <a:pt x="79" y="55"/>
                  </a:cubicBezTo>
                  <a:cubicBezTo>
                    <a:pt x="73" y="51"/>
                    <a:pt x="67" y="46"/>
                    <a:pt x="61" y="42"/>
                  </a:cubicBezTo>
                  <a:cubicBezTo>
                    <a:pt x="53" y="38"/>
                    <a:pt x="46" y="33"/>
                    <a:pt x="41" y="27"/>
                  </a:cubicBezTo>
                  <a:cubicBezTo>
                    <a:pt x="36" y="20"/>
                    <a:pt x="28" y="16"/>
                    <a:pt x="22" y="12"/>
                  </a:cubicBezTo>
                  <a:cubicBezTo>
                    <a:pt x="19" y="10"/>
                    <a:pt x="17" y="8"/>
                    <a:pt x="14" y="6"/>
                  </a:cubicBezTo>
                  <a:cubicBezTo>
                    <a:pt x="14" y="6"/>
                    <a:pt x="13" y="6"/>
                    <a:pt x="13" y="6"/>
                  </a:cubicBezTo>
                  <a:cubicBezTo>
                    <a:pt x="13" y="6"/>
                    <a:pt x="12" y="6"/>
                    <a:pt x="12" y="6"/>
                  </a:cubicBezTo>
                  <a:cubicBezTo>
                    <a:pt x="12" y="7"/>
                    <a:pt x="12" y="7"/>
                    <a:pt x="11" y="7"/>
                  </a:cubicBezTo>
                  <a:cubicBezTo>
                    <a:pt x="11" y="7"/>
                    <a:pt x="11" y="7"/>
                    <a:pt x="11" y="7"/>
                  </a:cubicBezTo>
                  <a:cubicBezTo>
                    <a:pt x="9" y="7"/>
                    <a:pt x="8" y="5"/>
                    <a:pt x="6" y="5"/>
                  </a:cubicBezTo>
                  <a:cubicBezTo>
                    <a:pt x="5" y="4"/>
                    <a:pt x="5" y="3"/>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1490"/>
            <p:cNvSpPr/>
            <p:nvPr/>
          </p:nvSpPr>
          <p:spPr bwMode="auto">
            <a:xfrm flipH="1">
              <a:off x="4066" y="3437"/>
              <a:ext cx="0" cy="2"/>
            </a:xfrm>
            <a:custGeom>
              <a:gdLst>
                <a:gd name="T0" fmla="*/ 0 h 1"/>
                <a:gd name="T1" fmla="*/ 1 h 1"/>
                <a:gd name="T2" fmla="*/ 1 h 1"/>
                <a:gd name="T3" fmla="*/ 0 h 1"/>
              </a:gd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1491"/>
            <p:cNvSpPr/>
            <p:nvPr/>
          </p:nvSpPr>
          <p:spPr bwMode="auto">
            <a:xfrm>
              <a:off x="1440" y="2794"/>
              <a:ext cx="5" cy="17"/>
            </a:xfrm>
            <a:custGeom>
              <a:gdLst>
                <a:gd name="T0" fmla="*/ 2 w 2"/>
                <a:gd name="T1" fmla="*/ 0 h 7"/>
                <a:gd name="T2" fmla="*/ 0 w 2"/>
                <a:gd name="T3" fmla="*/ 7 h 7"/>
                <a:gd name="T4" fmla="*/ 2 w 2"/>
                <a:gd name="T5" fmla="*/ 0 h 7"/>
              </a:gdLst>
              <a:cxnLst>
                <a:cxn ang="0">
                  <a:pos x="T0" y="T1"/>
                </a:cxn>
                <a:cxn ang="0">
                  <a:pos x="T2" y="T3"/>
                </a:cxn>
                <a:cxn ang="0">
                  <a:pos x="T4" y="T5"/>
                </a:cxn>
              </a:cxnLst>
              <a:rect l="0" t="0" r="r" b="b"/>
              <a:pathLst>
                <a:path w="2" h="7">
                  <a:moveTo>
                    <a:pt x="2" y="0"/>
                  </a:moveTo>
                  <a:cubicBezTo>
                    <a:pt x="1" y="2"/>
                    <a:pt x="1" y="5"/>
                    <a:pt x="0" y="7"/>
                  </a:cubicBezTo>
                  <a:cubicBezTo>
                    <a:pt x="1" y="5"/>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1492"/>
            <p:cNvSpPr/>
            <p:nvPr/>
          </p:nvSpPr>
          <p:spPr bwMode="auto">
            <a:xfrm>
              <a:off x="1431" y="2827"/>
              <a:ext cx="21" cy="48"/>
            </a:xfrm>
            <a:custGeom>
              <a:gdLst>
                <a:gd name="T0" fmla="*/ 1 w 9"/>
                <a:gd name="T1" fmla="*/ 0 h 20"/>
                <a:gd name="T2" fmla="*/ 8 w 9"/>
                <a:gd name="T3" fmla="*/ 20 h 20"/>
                <a:gd name="T4" fmla="*/ 6 w 9"/>
                <a:gd name="T5" fmla="*/ 14 h 20"/>
                <a:gd name="T6" fmla="*/ 5 w 9"/>
                <a:gd name="T7" fmla="*/ 12 h 20"/>
                <a:gd name="T8" fmla="*/ 5 w 9"/>
                <a:gd name="T9" fmla="*/ 9 h 20"/>
                <a:gd name="T10" fmla="*/ 3 w 9"/>
                <a:gd name="T11" fmla="*/ 0 h 20"/>
                <a:gd name="T12" fmla="*/ 1 w 9"/>
                <a:gd name="T13" fmla="*/ 0 h 20"/>
              </a:gdLst>
              <a:cxnLst>
                <a:cxn ang="0">
                  <a:pos x="T0" y="T1"/>
                </a:cxn>
                <a:cxn ang="0">
                  <a:pos x="T2" y="T3"/>
                </a:cxn>
                <a:cxn ang="0">
                  <a:pos x="T4" y="T5"/>
                </a:cxn>
                <a:cxn ang="0">
                  <a:pos x="T6" y="T7"/>
                </a:cxn>
                <a:cxn ang="0">
                  <a:pos x="T8" y="T9"/>
                </a:cxn>
                <a:cxn ang="0">
                  <a:pos x="T10" y="T11"/>
                </a:cxn>
                <a:cxn ang="0">
                  <a:pos x="T12" y="T13"/>
                </a:cxn>
              </a:cxnLst>
              <a:rect l="0" t="0" r="r" b="b"/>
              <a:pathLst>
                <a:path w="9" h="20">
                  <a:moveTo>
                    <a:pt x="1" y="0"/>
                  </a:moveTo>
                  <a:cubicBezTo>
                    <a:pt x="0" y="8"/>
                    <a:pt x="4" y="13"/>
                    <a:pt x="8" y="20"/>
                  </a:cubicBezTo>
                  <a:cubicBezTo>
                    <a:pt x="9" y="15"/>
                    <a:pt x="7" y="16"/>
                    <a:pt x="6" y="14"/>
                  </a:cubicBezTo>
                  <a:cubicBezTo>
                    <a:pt x="5" y="13"/>
                    <a:pt x="6" y="12"/>
                    <a:pt x="5" y="12"/>
                  </a:cubicBezTo>
                  <a:cubicBezTo>
                    <a:pt x="5" y="11"/>
                    <a:pt x="5" y="10"/>
                    <a:pt x="5" y="9"/>
                  </a:cubicBezTo>
                  <a:cubicBezTo>
                    <a:pt x="4" y="7"/>
                    <a:pt x="1" y="2"/>
                    <a:pt x="3"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1493"/>
            <p:cNvSpPr/>
            <p:nvPr/>
          </p:nvSpPr>
          <p:spPr bwMode="auto">
            <a:xfrm>
              <a:off x="1445" y="1778"/>
              <a:ext cx="2779" cy="2092"/>
            </a:xfrm>
            <a:custGeom>
              <a:gdLst>
                <a:gd name="T0" fmla="*/ 828 w 1176"/>
                <a:gd name="T1" fmla="*/ 64 h 885"/>
                <a:gd name="T2" fmla="*/ 811 w 1176"/>
                <a:gd name="T3" fmla="*/ 183 h 885"/>
                <a:gd name="T4" fmla="*/ 691 w 1176"/>
                <a:gd name="T5" fmla="*/ 154 h 885"/>
                <a:gd name="T6" fmla="*/ 664 w 1176"/>
                <a:gd name="T7" fmla="*/ 76 h 885"/>
                <a:gd name="T8" fmla="*/ 693 w 1176"/>
                <a:gd name="T9" fmla="*/ 48 h 885"/>
                <a:gd name="T10" fmla="*/ 656 w 1176"/>
                <a:gd name="T11" fmla="*/ 46 h 885"/>
                <a:gd name="T12" fmla="*/ 628 w 1176"/>
                <a:gd name="T13" fmla="*/ 36 h 885"/>
                <a:gd name="T14" fmla="*/ 572 w 1176"/>
                <a:gd name="T15" fmla="*/ 20 h 885"/>
                <a:gd name="T16" fmla="*/ 548 w 1176"/>
                <a:gd name="T17" fmla="*/ 21 h 885"/>
                <a:gd name="T18" fmla="*/ 559 w 1176"/>
                <a:gd name="T19" fmla="*/ 49 h 885"/>
                <a:gd name="T20" fmla="*/ 517 w 1176"/>
                <a:gd name="T21" fmla="*/ 52 h 885"/>
                <a:gd name="T22" fmla="*/ 489 w 1176"/>
                <a:gd name="T23" fmla="*/ 83 h 885"/>
                <a:gd name="T24" fmla="*/ 481 w 1176"/>
                <a:gd name="T25" fmla="*/ 132 h 885"/>
                <a:gd name="T26" fmla="*/ 445 w 1176"/>
                <a:gd name="T27" fmla="*/ 122 h 885"/>
                <a:gd name="T28" fmla="*/ 433 w 1176"/>
                <a:gd name="T29" fmla="*/ 112 h 885"/>
                <a:gd name="T30" fmla="*/ 389 w 1176"/>
                <a:gd name="T31" fmla="*/ 99 h 885"/>
                <a:gd name="T32" fmla="*/ 377 w 1176"/>
                <a:gd name="T33" fmla="*/ 103 h 885"/>
                <a:gd name="T34" fmla="*/ 356 w 1176"/>
                <a:gd name="T35" fmla="*/ 113 h 885"/>
                <a:gd name="T36" fmla="*/ 357 w 1176"/>
                <a:gd name="T37" fmla="*/ 130 h 885"/>
                <a:gd name="T38" fmla="*/ 340 w 1176"/>
                <a:gd name="T39" fmla="*/ 137 h 885"/>
                <a:gd name="T40" fmla="*/ 328 w 1176"/>
                <a:gd name="T41" fmla="*/ 166 h 885"/>
                <a:gd name="T42" fmla="*/ 316 w 1176"/>
                <a:gd name="T43" fmla="*/ 167 h 885"/>
                <a:gd name="T44" fmla="*/ 306 w 1176"/>
                <a:gd name="T45" fmla="*/ 170 h 885"/>
                <a:gd name="T46" fmla="*/ 314 w 1176"/>
                <a:gd name="T47" fmla="*/ 180 h 885"/>
                <a:gd name="T48" fmla="*/ 286 w 1176"/>
                <a:gd name="T49" fmla="*/ 167 h 885"/>
                <a:gd name="T50" fmla="*/ 192 w 1176"/>
                <a:gd name="T51" fmla="*/ 276 h 885"/>
                <a:gd name="T52" fmla="*/ 117 w 1176"/>
                <a:gd name="T53" fmla="*/ 295 h 885"/>
                <a:gd name="T54" fmla="*/ 30 w 1176"/>
                <a:gd name="T55" fmla="*/ 353 h 885"/>
                <a:gd name="T56" fmla="*/ 26 w 1176"/>
                <a:gd name="T57" fmla="*/ 472 h 885"/>
                <a:gd name="T58" fmla="*/ 18 w 1176"/>
                <a:gd name="T59" fmla="*/ 478 h 885"/>
                <a:gd name="T60" fmla="*/ 0 w 1176"/>
                <a:gd name="T61" fmla="*/ 464 h 885"/>
                <a:gd name="T62" fmla="*/ 75 w 1176"/>
                <a:gd name="T63" fmla="*/ 674 h 885"/>
                <a:gd name="T64" fmla="*/ 110 w 1176"/>
                <a:gd name="T65" fmla="*/ 748 h 885"/>
                <a:gd name="T66" fmla="*/ 197 w 1176"/>
                <a:gd name="T67" fmla="*/ 715 h 885"/>
                <a:gd name="T68" fmla="*/ 291 w 1176"/>
                <a:gd name="T69" fmla="*/ 714 h 885"/>
                <a:gd name="T70" fmla="*/ 378 w 1176"/>
                <a:gd name="T71" fmla="*/ 658 h 885"/>
                <a:gd name="T72" fmla="*/ 528 w 1176"/>
                <a:gd name="T73" fmla="*/ 635 h 885"/>
                <a:gd name="T74" fmla="*/ 594 w 1176"/>
                <a:gd name="T75" fmla="*/ 653 h 885"/>
                <a:gd name="T76" fmla="*/ 622 w 1176"/>
                <a:gd name="T77" fmla="*/ 689 h 885"/>
                <a:gd name="T78" fmla="*/ 645 w 1176"/>
                <a:gd name="T79" fmla="*/ 736 h 885"/>
                <a:gd name="T80" fmla="*/ 697 w 1176"/>
                <a:gd name="T81" fmla="*/ 705 h 885"/>
                <a:gd name="T82" fmla="*/ 709 w 1176"/>
                <a:gd name="T83" fmla="*/ 717 h 885"/>
                <a:gd name="T84" fmla="*/ 708 w 1176"/>
                <a:gd name="T85" fmla="*/ 751 h 885"/>
                <a:gd name="T86" fmla="*/ 733 w 1176"/>
                <a:gd name="T87" fmla="*/ 768 h 885"/>
                <a:gd name="T88" fmla="*/ 749 w 1176"/>
                <a:gd name="T89" fmla="*/ 766 h 885"/>
                <a:gd name="T90" fmla="*/ 835 w 1176"/>
                <a:gd name="T91" fmla="*/ 857 h 885"/>
                <a:gd name="T92" fmla="*/ 909 w 1176"/>
                <a:gd name="T93" fmla="*/ 852 h 885"/>
                <a:gd name="T94" fmla="*/ 939 w 1176"/>
                <a:gd name="T95" fmla="*/ 855 h 885"/>
                <a:gd name="T96" fmla="*/ 963 w 1176"/>
                <a:gd name="T97" fmla="*/ 877 h 885"/>
                <a:gd name="T98" fmla="*/ 1067 w 1176"/>
                <a:gd name="T99" fmla="*/ 831 h 885"/>
                <a:gd name="T100" fmla="*/ 1094 w 1176"/>
                <a:gd name="T101" fmla="*/ 733 h 885"/>
                <a:gd name="T102" fmla="*/ 1144 w 1176"/>
                <a:gd name="T103" fmla="*/ 658 h 885"/>
                <a:gd name="T104" fmla="*/ 1161 w 1176"/>
                <a:gd name="T105" fmla="*/ 494 h 885"/>
                <a:gd name="T106" fmla="*/ 1141 w 1176"/>
                <a:gd name="T107" fmla="*/ 421 h 885"/>
                <a:gd name="T108" fmla="*/ 1093 w 1176"/>
                <a:gd name="T109" fmla="*/ 353 h 885"/>
                <a:gd name="T110" fmla="*/ 1064 w 1176"/>
                <a:gd name="T111" fmla="*/ 351 h 885"/>
                <a:gd name="T112" fmla="*/ 1025 w 1176"/>
                <a:gd name="T113" fmla="*/ 282 h 885"/>
                <a:gd name="T114" fmla="*/ 984 w 1176"/>
                <a:gd name="T115" fmla="*/ 252 h 885"/>
                <a:gd name="T116" fmla="*/ 939 w 1176"/>
                <a:gd name="T117" fmla="*/ 171 h 885"/>
                <a:gd name="T118" fmla="*/ 904 w 1176"/>
                <a:gd name="T119" fmla="*/ 105 h 885"/>
                <a:gd name="T120" fmla="*/ 872 w 1176"/>
                <a:gd name="T121" fmla="*/ 48 h 8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6" h="885">
                  <a:moveTo>
                    <a:pt x="853" y="0"/>
                  </a:moveTo>
                  <a:cubicBezTo>
                    <a:pt x="851" y="0"/>
                    <a:pt x="843" y="6"/>
                    <a:pt x="842" y="7"/>
                  </a:cubicBezTo>
                  <a:cubicBezTo>
                    <a:pt x="840" y="17"/>
                    <a:pt x="838" y="28"/>
                    <a:pt x="835" y="38"/>
                  </a:cubicBezTo>
                  <a:cubicBezTo>
                    <a:pt x="835" y="37"/>
                    <a:pt x="835" y="37"/>
                    <a:pt x="835" y="37"/>
                  </a:cubicBezTo>
                  <a:cubicBezTo>
                    <a:pt x="830" y="39"/>
                    <a:pt x="829" y="49"/>
                    <a:pt x="827" y="53"/>
                  </a:cubicBezTo>
                  <a:cubicBezTo>
                    <a:pt x="827" y="52"/>
                    <a:pt x="828" y="51"/>
                    <a:pt x="829" y="51"/>
                  </a:cubicBezTo>
                  <a:cubicBezTo>
                    <a:pt x="830" y="51"/>
                    <a:pt x="831" y="51"/>
                    <a:pt x="832" y="52"/>
                  </a:cubicBezTo>
                  <a:cubicBezTo>
                    <a:pt x="834" y="54"/>
                    <a:pt x="836" y="54"/>
                    <a:pt x="836" y="58"/>
                  </a:cubicBezTo>
                  <a:cubicBezTo>
                    <a:pt x="835" y="60"/>
                    <a:pt x="837" y="62"/>
                    <a:pt x="836" y="64"/>
                  </a:cubicBezTo>
                  <a:cubicBezTo>
                    <a:pt x="836" y="62"/>
                    <a:pt x="836" y="58"/>
                    <a:pt x="834" y="58"/>
                  </a:cubicBezTo>
                  <a:cubicBezTo>
                    <a:pt x="833" y="58"/>
                    <a:pt x="833" y="58"/>
                    <a:pt x="833" y="58"/>
                  </a:cubicBezTo>
                  <a:cubicBezTo>
                    <a:pt x="833" y="58"/>
                    <a:pt x="833" y="58"/>
                    <a:pt x="833" y="57"/>
                  </a:cubicBezTo>
                  <a:cubicBezTo>
                    <a:pt x="831" y="60"/>
                    <a:pt x="830" y="63"/>
                    <a:pt x="828" y="64"/>
                  </a:cubicBezTo>
                  <a:cubicBezTo>
                    <a:pt x="828" y="67"/>
                    <a:pt x="830" y="71"/>
                    <a:pt x="829" y="74"/>
                  </a:cubicBezTo>
                  <a:cubicBezTo>
                    <a:pt x="829" y="77"/>
                    <a:pt x="826" y="80"/>
                    <a:pt x="825" y="82"/>
                  </a:cubicBezTo>
                  <a:cubicBezTo>
                    <a:pt x="825" y="84"/>
                    <a:pt x="824" y="85"/>
                    <a:pt x="824" y="86"/>
                  </a:cubicBezTo>
                  <a:cubicBezTo>
                    <a:pt x="824" y="87"/>
                    <a:pt x="823" y="89"/>
                    <a:pt x="823" y="91"/>
                  </a:cubicBezTo>
                  <a:cubicBezTo>
                    <a:pt x="823" y="93"/>
                    <a:pt x="824" y="95"/>
                    <a:pt x="825" y="97"/>
                  </a:cubicBezTo>
                  <a:cubicBezTo>
                    <a:pt x="827" y="101"/>
                    <a:pt x="827" y="104"/>
                    <a:pt x="826" y="109"/>
                  </a:cubicBezTo>
                  <a:cubicBezTo>
                    <a:pt x="826" y="113"/>
                    <a:pt x="826" y="117"/>
                    <a:pt x="827" y="121"/>
                  </a:cubicBezTo>
                  <a:cubicBezTo>
                    <a:pt x="827" y="123"/>
                    <a:pt x="828" y="124"/>
                    <a:pt x="828" y="125"/>
                  </a:cubicBezTo>
                  <a:cubicBezTo>
                    <a:pt x="829" y="128"/>
                    <a:pt x="828" y="130"/>
                    <a:pt x="827" y="134"/>
                  </a:cubicBezTo>
                  <a:cubicBezTo>
                    <a:pt x="825" y="141"/>
                    <a:pt x="822" y="147"/>
                    <a:pt x="821" y="154"/>
                  </a:cubicBezTo>
                  <a:cubicBezTo>
                    <a:pt x="820" y="156"/>
                    <a:pt x="822" y="157"/>
                    <a:pt x="822" y="158"/>
                  </a:cubicBezTo>
                  <a:cubicBezTo>
                    <a:pt x="822" y="160"/>
                    <a:pt x="820" y="164"/>
                    <a:pt x="819" y="166"/>
                  </a:cubicBezTo>
                  <a:cubicBezTo>
                    <a:pt x="816" y="172"/>
                    <a:pt x="814" y="177"/>
                    <a:pt x="811" y="183"/>
                  </a:cubicBezTo>
                  <a:cubicBezTo>
                    <a:pt x="809" y="188"/>
                    <a:pt x="808" y="194"/>
                    <a:pt x="805" y="198"/>
                  </a:cubicBezTo>
                  <a:cubicBezTo>
                    <a:pt x="801" y="202"/>
                    <a:pt x="796" y="205"/>
                    <a:pt x="791" y="206"/>
                  </a:cubicBezTo>
                  <a:cubicBezTo>
                    <a:pt x="789" y="207"/>
                    <a:pt x="786" y="207"/>
                    <a:pt x="783" y="207"/>
                  </a:cubicBezTo>
                  <a:cubicBezTo>
                    <a:pt x="783" y="207"/>
                    <a:pt x="782" y="207"/>
                    <a:pt x="782" y="207"/>
                  </a:cubicBezTo>
                  <a:cubicBezTo>
                    <a:pt x="777" y="207"/>
                    <a:pt x="773" y="202"/>
                    <a:pt x="769" y="199"/>
                  </a:cubicBezTo>
                  <a:cubicBezTo>
                    <a:pt x="765" y="196"/>
                    <a:pt x="761" y="193"/>
                    <a:pt x="757" y="190"/>
                  </a:cubicBezTo>
                  <a:cubicBezTo>
                    <a:pt x="755" y="188"/>
                    <a:pt x="756" y="187"/>
                    <a:pt x="754" y="186"/>
                  </a:cubicBezTo>
                  <a:cubicBezTo>
                    <a:pt x="751" y="184"/>
                    <a:pt x="751" y="182"/>
                    <a:pt x="747" y="181"/>
                  </a:cubicBezTo>
                  <a:cubicBezTo>
                    <a:pt x="738" y="178"/>
                    <a:pt x="730" y="175"/>
                    <a:pt x="722" y="173"/>
                  </a:cubicBezTo>
                  <a:cubicBezTo>
                    <a:pt x="722" y="173"/>
                    <a:pt x="722" y="173"/>
                    <a:pt x="722" y="173"/>
                  </a:cubicBezTo>
                  <a:cubicBezTo>
                    <a:pt x="722" y="171"/>
                    <a:pt x="709" y="165"/>
                    <a:pt x="708" y="164"/>
                  </a:cubicBezTo>
                  <a:cubicBezTo>
                    <a:pt x="702" y="160"/>
                    <a:pt x="697" y="157"/>
                    <a:pt x="691" y="153"/>
                  </a:cubicBezTo>
                  <a:cubicBezTo>
                    <a:pt x="691" y="154"/>
                    <a:pt x="691" y="154"/>
                    <a:pt x="691" y="154"/>
                  </a:cubicBezTo>
                  <a:cubicBezTo>
                    <a:pt x="690" y="154"/>
                    <a:pt x="689" y="154"/>
                    <a:pt x="688" y="154"/>
                  </a:cubicBezTo>
                  <a:cubicBezTo>
                    <a:pt x="688" y="154"/>
                    <a:pt x="687" y="154"/>
                    <a:pt x="687" y="154"/>
                  </a:cubicBezTo>
                  <a:cubicBezTo>
                    <a:pt x="686" y="154"/>
                    <a:pt x="686" y="154"/>
                    <a:pt x="686" y="154"/>
                  </a:cubicBezTo>
                  <a:cubicBezTo>
                    <a:pt x="685" y="154"/>
                    <a:pt x="684" y="154"/>
                    <a:pt x="683" y="153"/>
                  </a:cubicBezTo>
                  <a:cubicBezTo>
                    <a:pt x="673" y="144"/>
                    <a:pt x="663" y="135"/>
                    <a:pt x="652" y="127"/>
                  </a:cubicBezTo>
                  <a:cubicBezTo>
                    <a:pt x="651" y="127"/>
                    <a:pt x="650" y="126"/>
                    <a:pt x="649" y="125"/>
                  </a:cubicBezTo>
                  <a:cubicBezTo>
                    <a:pt x="647" y="117"/>
                    <a:pt x="652" y="113"/>
                    <a:pt x="656" y="107"/>
                  </a:cubicBezTo>
                  <a:cubicBezTo>
                    <a:pt x="660" y="103"/>
                    <a:pt x="661" y="98"/>
                    <a:pt x="663" y="93"/>
                  </a:cubicBezTo>
                  <a:cubicBezTo>
                    <a:pt x="664" y="91"/>
                    <a:pt x="666" y="88"/>
                    <a:pt x="666" y="86"/>
                  </a:cubicBezTo>
                  <a:cubicBezTo>
                    <a:pt x="664" y="87"/>
                    <a:pt x="664" y="89"/>
                    <a:pt x="663" y="89"/>
                  </a:cubicBezTo>
                  <a:cubicBezTo>
                    <a:pt x="662" y="89"/>
                    <a:pt x="662" y="89"/>
                    <a:pt x="661" y="88"/>
                  </a:cubicBezTo>
                  <a:cubicBezTo>
                    <a:pt x="660" y="88"/>
                    <a:pt x="660" y="84"/>
                    <a:pt x="660" y="83"/>
                  </a:cubicBezTo>
                  <a:cubicBezTo>
                    <a:pt x="660" y="80"/>
                    <a:pt x="660" y="76"/>
                    <a:pt x="664" y="76"/>
                  </a:cubicBezTo>
                  <a:cubicBezTo>
                    <a:pt x="664" y="76"/>
                    <a:pt x="664" y="76"/>
                    <a:pt x="664" y="76"/>
                  </a:cubicBezTo>
                  <a:cubicBezTo>
                    <a:pt x="664" y="76"/>
                    <a:pt x="664" y="76"/>
                    <a:pt x="664" y="76"/>
                  </a:cubicBezTo>
                  <a:cubicBezTo>
                    <a:pt x="668" y="76"/>
                    <a:pt x="672" y="73"/>
                    <a:pt x="675" y="71"/>
                  </a:cubicBezTo>
                  <a:cubicBezTo>
                    <a:pt x="676" y="73"/>
                    <a:pt x="674" y="74"/>
                    <a:pt x="674" y="77"/>
                  </a:cubicBezTo>
                  <a:cubicBezTo>
                    <a:pt x="675" y="76"/>
                    <a:pt x="676" y="75"/>
                    <a:pt x="678" y="75"/>
                  </a:cubicBezTo>
                  <a:cubicBezTo>
                    <a:pt x="678" y="72"/>
                    <a:pt x="678" y="66"/>
                    <a:pt x="680" y="66"/>
                  </a:cubicBezTo>
                  <a:cubicBezTo>
                    <a:pt x="681" y="66"/>
                    <a:pt x="682" y="66"/>
                    <a:pt x="683" y="68"/>
                  </a:cubicBezTo>
                  <a:cubicBezTo>
                    <a:pt x="682" y="66"/>
                    <a:pt x="681" y="65"/>
                    <a:pt x="680" y="65"/>
                  </a:cubicBezTo>
                  <a:cubicBezTo>
                    <a:pt x="680" y="65"/>
                    <a:pt x="680" y="65"/>
                    <a:pt x="680" y="65"/>
                  </a:cubicBezTo>
                  <a:cubicBezTo>
                    <a:pt x="679" y="64"/>
                    <a:pt x="678" y="62"/>
                    <a:pt x="678" y="61"/>
                  </a:cubicBezTo>
                  <a:cubicBezTo>
                    <a:pt x="680" y="61"/>
                    <a:pt x="681" y="62"/>
                    <a:pt x="682" y="62"/>
                  </a:cubicBezTo>
                  <a:cubicBezTo>
                    <a:pt x="682" y="62"/>
                    <a:pt x="682" y="61"/>
                    <a:pt x="683" y="59"/>
                  </a:cubicBezTo>
                  <a:cubicBezTo>
                    <a:pt x="686" y="52"/>
                    <a:pt x="686" y="52"/>
                    <a:pt x="693" y="48"/>
                  </a:cubicBezTo>
                  <a:cubicBezTo>
                    <a:pt x="691" y="45"/>
                    <a:pt x="689" y="44"/>
                    <a:pt x="687" y="43"/>
                  </a:cubicBezTo>
                  <a:cubicBezTo>
                    <a:pt x="686" y="45"/>
                    <a:pt x="685" y="46"/>
                    <a:pt x="685" y="46"/>
                  </a:cubicBezTo>
                  <a:cubicBezTo>
                    <a:pt x="682" y="46"/>
                    <a:pt x="681" y="38"/>
                    <a:pt x="678" y="37"/>
                  </a:cubicBezTo>
                  <a:cubicBezTo>
                    <a:pt x="680" y="37"/>
                    <a:pt x="682" y="36"/>
                    <a:pt x="681" y="34"/>
                  </a:cubicBezTo>
                  <a:cubicBezTo>
                    <a:pt x="678" y="36"/>
                    <a:pt x="674" y="39"/>
                    <a:pt x="671" y="41"/>
                  </a:cubicBezTo>
                  <a:cubicBezTo>
                    <a:pt x="667" y="45"/>
                    <a:pt x="674" y="42"/>
                    <a:pt x="675" y="45"/>
                  </a:cubicBezTo>
                  <a:cubicBezTo>
                    <a:pt x="675" y="46"/>
                    <a:pt x="673" y="50"/>
                    <a:pt x="672" y="51"/>
                  </a:cubicBezTo>
                  <a:cubicBezTo>
                    <a:pt x="671" y="51"/>
                    <a:pt x="671" y="51"/>
                    <a:pt x="670" y="51"/>
                  </a:cubicBezTo>
                  <a:cubicBezTo>
                    <a:pt x="668" y="51"/>
                    <a:pt x="666" y="48"/>
                    <a:pt x="665" y="46"/>
                  </a:cubicBezTo>
                  <a:cubicBezTo>
                    <a:pt x="665" y="46"/>
                    <a:pt x="667" y="46"/>
                    <a:pt x="666" y="45"/>
                  </a:cubicBezTo>
                  <a:cubicBezTo>
                    <a:pt x="665" y="44"/>
                    <a:pt x="664" y="44"/>
                    <a:pt x="663" y="43"/>
                  </a:cubicBezTo>
                  <a:cubicBezTo>
                    <a:pt x="664" y="42"/>
                    <a:pt x="665" y="41"/>
                    <a:pt x="666" y="40"/>
                  </a:cubicBezTo>
                  <a:cubicBezTo>
                    <a:pt x="662" y="42"/>
                    <a:pt x="659" y="44"/>
                    <a:pt x="656" y="46"/>
                  </a:cubicBezTo>
                  <a:cubicBezTo>
                    <a:pt x="652" y="43"/>
                    <a:pt x="658" y="38"/>
                    <a:pt x="662" y="37"/>
                  </a:cubicBezTo>
                  <a:cubicBezTo>
                    <a:pt x="657" y="36"/>
                    <a:pt x="661" y="35"/>
                    <a:pt x="661" y="33"/>
                  </a:cubicBezTo>
                  <a:cubicBezTo>
                    <a:pt x="662" y="32"/>
                    <a:pt x="663" y="31"/>
                    <a:pt x="662" y="31"/>
                  </a:cubicBezTo>
                  <a:cubicBezTo>
                    <a:pt x="662" y="31"/>
                    <a:pt x="661" y="31"/>
                    <a:pt x="661" y="31"/>
                  </a:cubicBezTo>
                  <a:cubicBezTo>
                    <a:pt x="660" y="32"/>
                    <a:pt x="659" y="34"/>
                    <a:pt x="658" y="35"/>
                  </a:cubicBezTo>
                  <a:cubicBezTo>
                    <a:pt x="657" y="36"/>
                    <a:pt x="656" y="36"/>
                    <a:pt x="655" y="36"/>
                  </a:cubicBezTo>
                  <a:cubicBezTo>
                    <a:pt x="654" y="37"/>
                    <a:pt x="651" y="40"/>
                    <a:pt x="652" y="40"/>
                  </a:cubicBezTo>
                  <a:cubicBezTo>
                    <a:pt x="653" y="40"/>
                    <a:pt x="653" y="39"/>
                    <a:pt x="654" y="39"/>
                  </a:cubicBezTo>
                  <a:cubicBezTo>
                    <a:pt x="651" y="42"/>
                    <a:pt x="646" y="42"/>
                    <a:pt x="643" y="43"/>
                  </a:cubicBezTo>
                  <a:cubicBezTo>
                    <a:pt x="644" y="44"/>
                    <a:pt x="644" y="44"/>
                    <a:pt x="645" y="45"/>
                  </a:cubicBezTo>
                  <a:cubicBezTo>
                    <a:pt x="644" y="45"/>
                    <a:pt x="643" y="45"/>
                    <a:pt x="642" y="45"/>
                  </a:cubicBezTo>
                  <a:cubicBezTo>
                    <a:pt x="639" y="45"/>
                    <a:pt x="637" y="43"/>
                    <a:pt x="633" y="41"/>
                  </a:cubicBezTo>
                  <a:cubicBezTo>
                    <a:pt x="632" y="40"/>
                    <a:pt x="628" y="39"/>
                    <a:pt x="628" y="36"/>
                  </a:cubicBezTo>
                  <a:cubicBezTo>
                    <a:pt x="625" y="38"/>
                    <a:pt x="624" y="39"/>
                    <a:pt x="620" y="39"/>
                  </a:cubicBezTo>
                  <a:cubicBezTo>
                    <a:pt x="620" y="39"/>
                    <a:pt x="620" y="39"/>
                    <a:pt x="620" y="39"/>
                  </a:cubicBezTo>
                  <a:cubicBezTo>
                    <a:pt x="618" y="39"/>
                    <a:pt x="617" y="39"/>
                    <a:pt x="615" y="39"/>
                  </a:cubicBezTo>
                  <a:cubicBezTo>
                    <a:pt x="614" y="39"/>
                    <a:pt x="613" y="39"/>
                    <a:pt x="612" y="40"/>
                  </a:cubicBezTo>
                  <a:cubicBezTo>
                    <a:pt x="610" y="38"/>
                    <a:pt x="612" y="37"/>
                    <a:pt x="611" y="36"/>
                  </a:cubicBezTo>
                  <a:cubicBezTo>
                    <a:pt x="609" y="33"/>
                    <a:pt x="606" y="33"/>
                    <a:pt x="603" y="31"/>
                  </a:cubicBezTo>
                  <a:cubicBezTo>
                    <a:pt x="604" y="30"/>
                    <a:pt x="604" y="30"/>
                    <a:pt x="603" y="30"/>
                  </a:cubicBezTo>
                  <a:cubicBezTo>
                    <a:pt x="601" y="30"/>
                    <a:pt x="598" y="31"/>
                    <a:pt x="597" y="31"/>
                  </a:cubicBezTo>
                  <a:cubicBezTo>
                    <a:pt x="593" y="34"/>
                    <a:pt x="593" y="34"/>
                    <a:pt x="593" y="34"/>
                  </a:cubicBezTo>
                  <a:cubicBezTo>
                    <a:pt x="594" y="29"/>
                    <a:pt x="585" y="28"/>
                    <a:pt x="582" y="26"/>
                  </a:cubicBezTo>
                  <a:cubicBezTo>
                    <a:pt x="579" y="25"/>
                    <a:pt x="580" y="24"/>
                    <a:pt x="578" y="22"/>
                  </a:cubicBezTo>
                  <a:cubicBezTo>
                    <a:pt x="577" y="21"/>
                    <a:pt x="576" y="19"/>
                    <a:pt x="575" y="19"/>
                  </a:cubicBezTo>
                  <a:cubicBezTo>
                    <a:pt x="574" y="19"/>
                    <a:pt x="573" y="19"/>
                    <a:pt x="572" y="20"/>
                  </a:cubicBezTo>
                  <a:cubicBezTo>
                    <a:pt x="572" y="21"/>
                    <a:pt x="571" y="23"/>
                    <a:pt x="570" y="23"/>
                  </a:cubicBezTo>
                  <a:cubicBezTo>
                    <a:pt x="570" y="23"/>
                    <a:pt x="569" y="23"/>
                    <a:pt x="569" y="23"/>
                  </a:cubicBezTo>
                  <a:cubicBezTo>
                    <a:pt x="567" y="23"/>
                    <a:pt x="566" y="20"/>
                    <a:pt x="564" y="18"/>
                  </a:cubicBezTo>
                  <a:cubicBezTo>
                    <a:pt x="563" y="17"/>
                    <a:pt x="559" y="14"/>
                    <a:pt x="558" y="12"/>
                  </a:cubicBezTo>
                  <a:cubicBezTo>
                    <a:pt x="557" y="13"/>
                    <a:pt x="556" y="15"/>
                    <a:pt x="556" y="16"/>
                  </a:cubicBezTo>
                  <a:cubicBezTo>
                    <a:pt x="555" y="15"/>
                    <a:pt x="554" y="14"/>
                    <a:pt x="553" y="12"/>
                  </a:cubicBezTo>
                  <a:cubicBezTo>
                    <a:pt x="553" y="16"/>
                    <a:pt x="555" y="18"/>
                    <a:pt x="554" y="20"/>
                  </a:cubicBezTo>
                  <a:cubicBezTo>
                    <a:pt x="551" y="16"/>
                    <a:pt x="550" y="13"/>
                    <a:pt x="547" y="13"/>
                  </a:cubicBezTo>
                  <a:cubicBezTo>
                    <a:pt x="546" y="13"/>
                    <a:pt x="545" y="13"/>
                    <a:pt x="543" y="14"/>
                  </a:cubicBezTo>
                  <a:cubicBezTo>
                    <a:pt x="544" y="17"/>
                    <a:pt x="546" y="18"/>
                    <a:pt x="547" y="19"/>
                  </a:cubicBezTo>
                  <a:cubicBezTo>
                    <a:pt x="548" y="21"/>
                    <a:pt x="548" y="21"/>
                    <a:pt x="548" y="21"/>
                  </a:cubicBezTo>
                  <a:cubicBezTo>
                    <a:pt x="548" y="21"/>
                    <a:pt x="548" y="21"/>
                    <a:pt x="548" y="21"/>
                  </a:cubicBezTo>
                  <a:cubicBezTo>
                    <a:pt x="548" y="21"/>
                    <a:pt x="548" y="21"/>
                    <a:pt x="548" y="21"/>
                  </a:cubicBezTo>
                  <a:cubicBezTo>
                    <a:pt x="549" y="21"/>
                    <a:pt x="549" y="21"/>
                    <a:pt x="549" y="21"/>
                  </a:cubicBezTo>
                  <a:cubicBezTo>
                    <a:pt x="549" y="21"/>
                    <a:pt x="549" y="21"/>
                    <a:pt x="549" y="21"/>
                  </a:cubicBezTo>
                  <a:cubicBezTo>
                    <a:pt x="551" y="22"/>
                    <a:pt x="549" y="23"/>
                    <a:pt x="552" y="24"/>
                  </a:cubicBezTo>
                  <a:cubicBezTo>
                    <a:pt x="552" y="24"/>
                    <a:pt x="552" y="24"/>
                    <a:pt x="552" y="24"/>
                  </a:cubicBezTo>
                  <a:cubicBezTo>
                    <a:pt x="552" y="24"/>
                    <a:pt x="554" y="22"/>
                    <a:pt x="555" y="22"/>
                  </a:cubicBezTo>
                  <a:cubicBezTo>
                    <a:pt x="556" y="21"/>
                    <a:pt x="557" y="21"/>
                    <a:pt x="558" y="21"/>
                  </a:cubicBezTo>
                  <a:cubicBezTo>
                    <a:pt x="560" y="21"/>
                    <a:pt x="561" y="22"/>
                    <a:pt x="562" y="22"/>
                  </a:cubicBezTo>
                  <a:cubicBezTo>
                    <a:pt x="563" y="23"/>
                    <a:pt x="564" y="25"/>
                    <a:pt x="564" y="26"/>
                  </a:cubicBezTo>
                  <a:cubicBezTo>
                    <a:pt x="565" y="26"/>
                    <a:pt x="567" y="27"/>
                    <a:pt x="568" y="27"/>
                  </a:cubicBezTo>
                  <a:cubicBezTo>
                    <a:pt x="568" y="29"/>
                    <a:pt x="566" y="35"/>
                    <a:pt x="566" y="37"/>
                  </a:cubicBezTo>
                  <a:cubicBezTo>
                    <a:pt x="567" y="40"/>
                    <a:pt x="567" y="41"/>
                    <a:pt x="570" y="41"/>
                  </a:cubicBezTo>
                  <a:cubicBezTo>
                    <a:pt x="567" y="43"/>
                    <a:pt x="563" y="45"/>
                    <a:pt x="561" y="47"/>
                  </a:cubicBezTo>
                  <a:cubicBezTo>
                    <a:pt x="561" y="47"/>
                    <a:pt x="560" y="48"/>
                    <a:pt x="559" y="49"/>
                  </a:cubicBezTo>
                  <a:cubicBezTo>
                    <a:pt x="560" y="47"/>
                    <a:pt x="560" y="44"/>
                    <a:pt x="558" y="43"/>
                  </a:cubicBezTo>
                  <a:cubicBezTo>
                    <a:pt x="557" y="43"/>
                    <a:pt x="557" y="43"/>
                    <a:pt x="556" y="43"/>
                  </a:cubicBezTo>
                  <a:cubicBezTo>
                    <a:pt x="554" y="43"/>
                    <a:pt x="554" y="45"/>
                    <a:pt x="550" y="46"/>
                  </a:cubicBezTo>
                  <a:cubicBezTo>
                    <a:pt x="549" y="47"/>
                    <a:pt x="547" y="47"/>
                    <a:pt x="544" y="47"/>
                  </a:cubicBezTo>
                  <a:cubicBezTo>
                    <a:pt x="539" y="47"/>
                    <a:pt x="530" y="46"/>
                    <a:pt x="530" y="44"/>
                  </a:cubicBezTo>
                  <a:cubicBezTo>
                    <a:pt x="529" y="43"/>
                    <a:pt x="528" y="41"/>
                    <a:pt x="528" y="39"/>
                  </a:cubicBezTo>
                  <a:cubicBezTo>
                    <a:pt x="527" y="41"/>
                    <a:pt x="526" y="43"/>
                    <a:pt x="526" y="44"/>
                  </a:cubicBezTo>
                  <a:cubicBezTo>
                    <a:pt x="526" y="44"/>
                    <a:pt x="522" y="42"/>
                    <a:pt x="521" y="42"/>
                  </a:cubicBezTo>
                  <a:cubicBezTo>
                    <a:pt x="521" y="42"/>
                    <a:pt x="520" y="42"/>
                    <a:pt x="520" y="42"/>
                  </a:cubicBezTo>
                  <a:cubicBezTo>
                    <a:pt x="519" y="43"/>
                    <a:pt x="519" y="47"/>
                    <a:pt x="520" y="48"/>
                  </a:cubicBezTo>
                  <a:cubicBezTo>
                    <a:pt x="519" y="48"/>
                    <a:pt x="518" y="48"/>
                    <a:pt x="517" y="48"/>
                  </a:cubicBezTo>
                  <a:cubicBezTo>
                    <a:pt x="517" y="48"/>
                    <a:pt x="516" y="48"/>
                    <a:pt x="516" y="49"/>
                  </a:cubicBezTo>
                  <a:cubicBezTo>
                    <a:pt x="516" y="52"/>
                    <a:pt x="517" y="51"/>
                    <a:pt x="517" y="52"/>
                  </a:cubicBezTo>
                  <a:cubicBezTo>
                    <a:pt x="518" y="54"/>
                    <a:pt x="517" y="54"/>
                    <a:pt x="518" y="56"/>
                  </a:cubicBezTo>
                  <a:cubicBezTo>
                    <a:pt x="517" y="56"/>
                    <a:pt x="514" y="54"/>
                    <a:pt x="514" y="54"/>
                  </a:cubicBezTo>
                  <a:cubicBezTo>
                    <a:pt x="513" y="53"/>
                    <a:pt x="513" y="52"/>
                    <a:pt x="513" y="52"/>
                  </a:cubicBezTo>
                  <a:cubicBezTo>
                    <a:pt x="512" y="51"/>
                    <a:pt x="512" y="49"/>
                    <a:pt x="509" y="49"/>
                  </a:cubicBezTo>
                  <a:cubicBezTo>
                    <a:pt x="509" y="49"/>
                    <a:pt x="509" y="49"/>
                    <a:pt x="509" y="49"/>
                  </a:cubicBezTo>
                  <a:cubicBezTo>
                    <a:pt x="506" y="49"/>
                    <a:pt x="507" y="53"/>
                    <a:pt x="508" y="55"/>
                  </a:cubicBezTo>
                  <a:cubicBezTo>
                    <a:pt x="508" y="56"/>
                    <a:pt x="507" y="57"/>
                    <a:pt x="508" y="58"/>
                  </a:cubicBezTo>
                  <a:cubicBezTo>
                    <a:pt x="507" y="57"/>
                    <a:pt x="506" y="56"/>
                    <a:pt x="505" y="56"/>
                  </a:cubicBezTo>
                  <a:cubicBezTo>
                    <a:pt x="504" y="56"/>
                    <a:pt x="504" y="56"/>
                    <a:pt x="504" y="56"/>
                  </a:cubicBezTo>
                  <a:cubicBezTo>
                    <a:pt x="501" y="57"/>
                    <a:pt x="494" y="64"/>
                    <a:pt x="494" y="66"/>
                  </a:cubicBezTo>
                  <a:cubicBezTo>
                    <a:pt x="493" y="70"/>
                    <a:pt x="497" y="75"/>
                    <a:pt x="500" y="77"/>
                  </a:cubicBezTo>
                  <a:cubicBezTo>
                    <a:pt x="496" y="78"/>
                    <a:pt x="495" y="80"/>
                    <a:pt x="492" y="81"/>
                  </a:cubicBezTo>
                  <a:cubicBezTo>
                    <a:pt x="491" y="82"/>
                    <a:pt x="490" y="83"/>
                    <a:pt x="489" y="83"/>
                  </a:cubicBezTo>
                  <a:cubicBezTo>
                    <a:pt x="488" y="83"/>
                    <a:pt x="487" y="82"/>
                    <a:pt x="487" y="80"/>
                  </a:cubicBezTo>
                  <a:cubicBezTo>
                    <a:pt x="484" y="83"/>
                    <a:pt x="484" y="87"/>
                    <a:pt x="483" y="91"/>
                  </a:cubicBezTo>
                  <a:cubicBezTo>
                    <a:pt x="483" y="92"/>
                    <a:pt x="481" y="98"/>
                    <a:pt x="479" y="98"/>
                  </a:cubicBezTo>
                  <a:cubicBezTo>
                    <a:pt x="479" y="98"/>
                    <a:pt x="479" y="97"/>
                    <a:pt x="478" y="97"/>
                  </a:cubicBezTo>
                  <a:cubicBezTo>
                    <a:pt x="478" y="98"/>
                    <a:pt x="478" y="99"/>
                    <a:pt x="477" y="99"/>
                  </a:cubicBezTo>
                  <a:cubicBezTo>
                    <a:pt x="476" y="99"/>
                    <a:pt x="476" y="99"/>
                    <a:pt x="475" y="98"/>
                  </a:cubicBezTo>
                  <a:cubicBezTo>
                    <a:pt x="474" y="100"/>
                    <a:pt x="473" y="102"/>
                    <a:pt x="473" y="104"/>
                  </a:cubicBezTo>
                  <a:cubicBezTo>
                    <a:pt x="472" y="108"/>
                    <a:pt x="473" y="109"/>
                    <a:pt x="476" y="113"/>
                  </a:cubicBezTo>
                  <a:cubicBezTo>
                    <a:pt x="477" y="115"/>
                    <a:pt x="478" y="116"/>
                    <a:pt x="480" y="118"/>
                  </a:cubicBezTo>
                  <a:cubicBezTo>
                    <a:pt x="482" y="121"/>
                    <a:pt x="486" y="120"/>
                    <a:pt x="489" y="121"/>
                  </a:cubicBezTo>
                  <a:cubicBezTo>
                    <a:pt x="486" y="122"/>
                    <a:pt x="479" y="122"/>
                    <a:pt x="479" y="126"/>
                  </a:cubicBezTo>
                  <a:cubicBezTo>
                    <a:pt x="479" y="127"/>
                    <a:pt x="480" y="129"/>
                    <a:pt x="480" y="130"/>
                  </a:cubicBezTo>
                  <a:cubicBezTo>
                    <a:pt x="481" y="130"/>
                    <a:pt x="484" y="132"/>
                    <a:pt x="481" y="132"/>
                  </a:cubicBezTo>
                  <a:cubicBezTo>
                    <a:pt x="481" y="132"/>
                    <a:pt x="481" y="132"/>
                    <a:pt x="481" y="132"/>
                  </a:cubicBezTo>
                  <a:cubicBezTo>
                    <a:pt x="479" y="132"/>
                    <a:pt x="477" y="126"/>
                    <a:pt x="475" y="125"/>
                  </a:cubicBezTo>
                  <a:cubicBezTo>
                    <a:pt x="474" y="124"/>
                    <a:pt x="473" y="124"/>
                    <a:pt x="472" y="124"/>
                  </a:cubicBezTo>
                  <a:cubicBezTo>
                    <a:pt x="470" y="124"/>
                    <a:pt x="469" y="125"/>
                    <a:pt x="468" y="126"/>
                  </a:cubicBezTo>
                  <a:cubicBezTo>
                    <a:pt x="468" y="130"/>
                    <a:pt x="468" y="130"/>
                    <a:pt x="468" y="130"/>
                  </a:cubicBezTo>
                  <a:cubicBezTo>
                    <a:pt x="468" y="131"/>
                    <a:pt x="467" y="133"/>
                    <a:pt x="467" y="133"/>
                  </a:cubicBezTo>
                  <a:cubicBezTo>
                    <a:pt x="466" y="133"/>
                    <a:pt x="466" y="133"/>
                    <a:pt x="466" y="133"/>
                  </a:cubicBezTo>
                  <a:cubicBezTo>
                    <a:pt x="465" y="131"/>
                    <a:pt x="467" y="128"/>
                    <a:pt x="466" y="126"/>
                  </a:cubicBezTo>
                  <a:cubicBezTo>
                    <a:pt x="466" y="125"/>
                    <a:pt x="463" y="123"/>
                    <a:pt x="461" y="122"/>
                  </a:cubicBezTo>
                  <a:cubicBezTo>
                    <a:pt x="461" y="123"/>
                    <a:pt x="461" y="124"/>
                    <a:pt x="461" y="125"/>
                  </a:cubicBezTo>
                  <a:cubicBezTo>
                    <a:pt x="461" y="120"/>
                    <a:pt x="456" y="121"/>
                    <a:pt x="452" y="120"/>
                  </a:cubicBezTo>
                  <a:cubicBezTo>
                    <a:pt x="451" y="120"/>
                    <a:pt x="449" y="120"/>
                    <a:pt x="447" y="120"/>
                  </a:cubicBezTo>
                  <a:cubicBezTo>
                    <a:pt x="444" y="120"/>
                    <a:pt x="442" y="120"/>
                    <a:pt x="445" y="122"/>
                  </a:cubicBezTo>
                  <a:cubicBezTo>
                    <a:pt x="443" y="123"/>
                    <a:pt x="446" y="128"/>
                    <a:pt x="444" y="128"/>
                  </a:cubicBezTo>
                  <a:cubicBezTo>
                    <a:pt x="444" y="128"/>
                    <a:pt x="443" y="128"/>
                    <a:pt x="442" y="127"/>
                  </a:cubicBezTo>
                  <a:cubicBezTo>
                    <a:pt x="442" y="128"/>
                    <a:pt x="442" y="128"/>
                    <a:pt x="442" y="128"/>
                  </a:cubicBezTo>
                  <a:cubicBezTo>
                    <a:pt x="441" y="127"/>
                    <a:pt x="440" y="127"/>
                    <a:pt x="439" y="127"/>
                  </a:cubicBezTo>
                  <a:cubicBezTo>
                    <a:pt x="435" y="127"/>
                    <a:pt x="441" y="135"/>
                    <a:pt x="440" y="138"/>
                  </a:cubicBezTo>
                  <a:cubicBezTo>
                    <a:pt x="439" y="138"/>
                    <a:pt x="437" y="137"/>
                    <a:pt x="435" y="136"/>
                  </a:cubicBezTo>
                  <a:cubicBezTo>
                    <a:pt x="435" y="138"/>
                    <a:pt x="435" y="140"/>
                    <a:pt x="433" y="141"/>
                  </a:cubicBezTo>
                  <a:cubicBezTo>
                    <a:pt x="434" y="136"/>
                    <a:pt x="434" y="133"/>
                    <a:pt x="434" y="127"/>
                  </a:cubicBezTo>
                  <a:cubicBezTo>
                    <a:pt x="435" y="126"/>
                    <a:pt x="435" y="123"/>
                    <a:pt x="436" y="122"/>
                  </a:cubicBezTo>
                  <a:cubicBezTo>
                    <a:pt x="437" y="120"/>
                    <a:pt x="437" y="120"/>
                    <a:pt x="437" y="120"/>
                  </a:cubicBezTo>
                  <a:cubicBezTo>
                    <a:pt x="438" y="119"/>
                    <a:pt x="437" y="119"/>
                    <a:pt x="438" y="119"/>
                  </a:cubicBezTo>
                  <a:cubicBezTo>
                    <a:pt x="438" y="119"/>
                    <a:pt x="438" y="119"/>
                    <a:pt x="438" y="119"/>
                  </a:cubicBezTo>
                  <a:cubicBezTo>
                    <a:pt x="438" y="116"/>
                    <a:pt x="435" y="114"/>
                    <a:pt x="433" y="112"/>
                  </a:cubicBezTo>
                  <a:cubicBezTo>
                    <a:pt x="427" y="107"/>
                    <a:pt x="422" y="102"/>
                    <a:pt x="416" y="96"/>
                  </a:cubicBezTo>
                  <a:cubicBezTo>
                    <a:pt x="415" y="95"/>
                    <a:pt x="414" y="95"/>
                    <a:pt x="413" y="95"/>
                  </a:cubicBezTo>
                  <a:cubicBezTo>
                    <a:pt x="412" y="95"/>
                    <a:pt x="412" y="95"/>
                    <a:pt x="411" y="95"/>
                  </a:cubicBezTo>
                  <a:cubicBezTo>
                    <a:pt x="410" y="95"/>
                    <a:pt x="410" y="95"/>
                    <a:pt x="409" y="95"/>
                  </a:cubicBezTo>
                  <a:cubicBezTo>
                    <a:pt x="409" y="95"/>
                    <a:pt x="408" y="95"/>
                    <a:pt x="407" y="95"/>
                  </a:cubicBezTo>
                  <a:cubicBezTo>
                    <a:pt x="407" y="95"/>
                    <a:pt x="407" y="95"/>
                    <a:pt x="407" y="95"/>
                  </a:cubicBezTo>
                  <a:cubicBezTo>
                    <a:pt x="407" y="95"/>
                    <a:pt x="407" y="95"/>
                    <a:pt x="407" y="95"/>
                  </a:cubicBezTo>
                  <a:cubicBezTo>
                    <a:pt x="407" y="95"/>
                    <a:pt x="407" y="96"/>
                    <a:pt x="407" y="96"/>
                  </a:cubicBezTo>
                  <a:cubicBezTo>
                    <a:pt x="407" y="96"/>
                    <a:pt x="407" y="95"/>
                    <a:pt x="406" y="95"/>
                  </a:cubicBezTo>
                  <a:cubicBezTo>
                    <a:pt x="404" y="94"/>
                    <a:pt x="403" y="90"/>
                    <a:pt x="402" y="89"/>
                  </a:cubicBezTo>
                  <a:cubicBezTo>
                    <a:pt x="400" y="92"/>
                    <a:pt x="396" y="102"/>
                    <a:pt x="392" y="103"/>
                  </a:cubicBezTo>
                  <a:cubicBezTo>
                    <a:pt x="391" y="103"/>
                    <a:pt x="391" y="103"/>
                    <a:pt x="391" y="103"/>
                  </a:cubicBezTo>
                  <a:cubicBezTo>
                    <a:pt x="390" y="103"/>
                    <a:pt x="388" y="100"/>
                    <a:pt x="389" y="99"/>
                  </a:cubicBezTo>
                  <a:cubicBezTo>
                    <a:pt x="388" y="99"/>
                    <a:pt x="388" y="99"/>
                    <a:pt x="387" y="99"/>
                  </a:cubicBezTo>
                  <a:cubicBezTo>
                    <a:pt x="386" y="99"/>
                    <a:pt x="390" y="95"/>
                    <a:pt x="390" y="95"/>
                  </a:cubicBezTo>
                  <a:cubicBezTo>
                    <a:pt x="390" y="95"/>
                    <a:pt x="389" y="95"/>
                    <a:pt x="389" y="95"/>
                  </a:cubicBezTo>
                  <a:cubicBezTo>
                    <a:pt x="387" y="95"/>
                    <a:pt x="380" y="101"/>
                    <a:pt x="379" y="102"/>
                  </a:cubicBezTo>
                  <a:cubicBezTo>
                    <a:pt x="380" y="99"/>
                    <a:pt x="378" y="99"/>
                    <a:pt x="379" y="97"/>
                  </a:cubicBezTo>
                  <a:cubicBezTo>
                    <a:pt x="379" y="97"/>
                    <a:pt x="379" y="97"/>
                    <a:pt x="379" y="96"/>
                  </a:cubicBezTo>
                  <a:cubicBezTo>
                    <a:pt x="379" y="96"/>
                    <a:pt x="378" y="97"/>
                    <a:pt x="377" y="97"/>
                  </a:cubicBezTo>
                  <a:cubicBezTo>
                    <a:pt x="378" y="96"/>
                    <a:pt x="378" y="95"/>
                    <a:pt x="378" y="95"/>
                  </a:cubicBezTo>
                  <a:cubicBezTo>
                    <a:pt x="376" y="94"/>
                    <a:pt x="377" y="95"/>
                    <a:pt x="377" y="94"/>
                  </a:cubicBezTo>
                  <a:cubicBezTo>
                    <a:pt x="376" y="94"/>
                    <a:pt x="375" y="94"/>
                    <a:pt x="375" y="94"/>
                  </a:cubicBezTo>
                  <a:cubicBezTo>
                    <a:pt x="375" y="95"/>
                    <a:pt x="376" y="96"/>
                    <a:pt x="376" y="97"/>
                  </a:cubicBezTo>
                  <a:cubicBezTo>
                    <a:pt x="376" y="97"/>
                    <a:pt x="374" y="97"/>
                    <a:pt x="374" y="97"/>
                  </a:cubicBezTo>
                  <a:cubicBezTo>
                    <a:pt x="374" y="101"/>
                    <a:pt x="379" y="97"/>
                    <a:pt x="377" y="103"/>
                  </a:cubicBezTo>
                  <a:cubicBezTo>
                    <a:pt x="377" y="105"/>
                    <a:pt x="375" y="109"/>
                    <a:pt x="374" y="110"/>
                  </a:cubicBezTo>
                  <a:cubicBezTo>
                    <a:pt x="375" y="112"/>
                    <a:pt x="375" y="112"/>
                    <a:pt x="375" y="112"/>
                  </a:cubicBezTo>
                  <a:cubicBezTo>
                    <a:pt x="374" y="113"/>
                    <a:pt x="370" y="113"/>
                    <a:pt x="369" y="114"/>
                  </a:cubicBezTo>
                  <a:cubicBezTo>
                    <a:pt x="369" y="112"/>
                    <a:pt x="369" y="111"/>
                    <a:pt x="369" y="110"/>
                  </a:cubicBezTo>
                  <a:cubicBezTo>
                    <a:pt x="368" y="110"/>
                    <a:pt x="369" y="110"/>
                    <a:pt x="368" y="110"/>
                  </a:cubicBezTo>
                  <a:cubicBezTo>
                    <a:pt x="368" y="110"/>
                    <a:pt x="367" y="110"/>
                    <a:pt x="366" y="111"/>
                  </a:cubicBezTo>
                  <a:cubicBezTo>
                    <a:pt x="366" y="109"/>
                    <a:pt x="366" y="109"/>
                    <a:pt x="366" y="109"/>
                  </a:cubicBezTo>
                  <a:cubicBezTo>
                    <a:pt x="365" y="109"/>
                    <a:pt x="365" y="109"/>
                    <a:pt x="364" y="110"/>
                  </a:cubicBezTo>
                  <a:cubicBezTo>
                    <a:pt x="364" y="108"/>
                    <a:pt x="364" y="106"/>
                    <a:pt x="365" y="105"/>
                  </a:cubicBezTo>
                  <a:cubicBezTo>
                    <a:pt x="364" y="104"/>
                    <a:pt x="363" y="104"/>
                    <a:pt x="363" y="104"/>
                  </a:cubicBezTo>
                  <a:cubicBezTo>
                    <a:pt x="362" y="104"/>
                    <a:pt x="362" y="105"/>
                    <a:pt x="363" y="108"/>
                  </a:cubicBezTo>
                  <a:cubicBezTo>
                    <a:pt x="363" y="114"/>
                    <a:pt x="360" y="110"/>
                    <a:pt x="357" y="114"/>
                  </a:cubicBezTo>
                  <a:cubicBezTo>
                    <a:pt x="356" y="113"/>
                    <a:pt x="356" y="113"/>
                    <a:pt x="356" y="113"/>
                  </a:cubicBezTo>
                  <a:cubicBezTo>
                    <a:pt x="356" y="113"/>
                    <a:pt x="355" y="114"/>
                    <a:pt x="355" y="114"/>
                  </a:cubicBezTo>
                  <a:cubicBezTo>
                    <a:pt x="355" y="113"/>
                    <a:pt x="355" y="112"/>
                    <a:pt x="355" y="111"/>
                  </a:cubicBezTo>
                  <a:cubicBezTo>
                    <a:pt x="354" y="113"/>
                    <a:pt x="351" y="115"/>
                    <a:pt x="350" y="117"/>
                  </a:cubicBezTo>
                  <a:cubicBezTo>
                    <a:pt x="349" y="119"/>
                    <a:pt x="350" y="121"/>
                    <a:pt x="351" y="122"/>
                  </a:cubicBezTo>
                  <a:cubicBezTo>
                    <a:pt x="352" y="122"/>
                    <a:pt x="352" y="122"/>
                    <a:pt x="352" y="122"/>
                  </a:cubicBezTo>
                  <a:cubicBezTo>
                    <a:pt x="353" y="122"/>
                    <a:pt x="354" y="122"/>
                    <a:pt x="354" y="123"/>
                  </a:cubicBezTo>
                  <a:cubicBezTo>
                    <a:pt x="354" y="124"/>
                    <a:pt x="353" y="125"/>
                    <a:pt x="353" y="126"/>
                  </a:cubicBezTo>
                  <a:cubicBezTo>
                    <a:pt x="355" y="126"/>
                    <a:pt x="355" y="126"/>
                    <a:pt x="355" y="126"/>
                  </a:cubicBezTo>
                  <a:cubicBezTo>
                    <a:pt x="356" y="126"/>
                    <a:pt x="356" y="127"/>
                    <a:pt x="357" y="127"/>
                  </a:cubicBezTo>
                  <a:cubicBezTo>
                    <a:pt x="357" y="127"/>
                    <a:pt x="357" y="127"/>
                    <a:pt x="357" y="127"/>
                  </a:cubicBezTo>
                  <a:cubicBezTo>
                    <a:pt x="357" y="128"/>
                    <a:pt x="356" y="129"/>
                    <a:pt x="356" y="130"/>
                  </a:cubicBezTo>
                  <a:cubicBezTo>
                    <a:pt x="356" y="130"/>
                    <a:pt x="357" y="130"/>
                    <a:pt x="357" y="130"/>
                  </a:cubicBezTo>
                  <a:cubicBezTo>
                    <a:pt x="357" y="130"/>
                    <a:pt x="357" y="130"/>
                    <a:pt x="357" y="130"/>
                  </a:cubicBezTo>
                  <a:cubicBezTo>
                    <a:pt x="357" y="130"/>
                    <a:pt x="356" y="130"/>
                    <a:pt x="356" y="130"/>
                  </a:cubicBezTo>
                  <a:cubicBezTo>
                    <a:pt x="353" y="130"/>
                    <a:pt x="351" y="129"/>
                    <a:pt x="349" y="127"/>
                  </a:cubicBezTo>
                  <a:cubicBezTo>
                    <a:pt x="349" y="127"/>
                    <a:pt x="348" y="128"/>
                    <a:pt x="348" y="128"/>
                  </a:cubicBezTo>
                  <a:cubicBezTo>
                    <a:pt x="347" y="128"/>
                    <a:pt x="347" y="127"/>
                    <a:pt x="347" y="127"/>
                  </a:cubicBezTo>
                  <a:cubicBezTo>
                    <a:pt x="347" y="126"/>
                    <a:pt x="346" y="126"/>
                    <a:pt x="346" y="126"/>
                  </a:cubicBezTo>
                  <a:cubicBezTo>
                    <a:pt x="345" y="126"/>
                    <a:pt x="345" y="126"/>
                    <a:pt x="345" y="126"/>
                  </a:cubicBezTo>
                  <a:cubicBezTo>
                    <a:pt x="345" y="130"/>
                    <a:pt x="346" y="131"/>
                    <a:pt x="345" y="135"/>
                  </a:cubicBezTo>
                  <a:cubicBezTo>
                    <a:pt x="346" y="135"/>
                    <a:pt x="346" y="135"/>
                    <a:pt x="347" y="135"/>
                  </a:cubicBezTo>
                  <a:cubicBezTo>
                    <a:pt x="349" y="135"/>
                    <a:pt x="347" y="139"/>
                    <a:pt x="349" y="141"/>
                  </a:cubicBezTo>
                  <a:cubicBezTo>
                    <a:pt x="348" y="140"/>
                    <a:pt x="346" y="141"/>
                    <a:pt x="345" y="140"/>
                  </a:cubicBezTo>
                  <a:cubicBezTo>
                    <a:pt x="343" y="139"/>
                    <a:pt x="346" y="140"/>
                    <a:pt x="344" y="139"/>
                  </a:cubicBezTo>
                  <a:cubicBezTo>
                    <a:pt x="343" y="138"/>
                    <a:pt x="342" y="137"/>
                    <a:pt x="341" y="137"/>
                  </a:cubicBezTo>
                  <a:cubicBezTo>
                    <a:pt x="340" y="137"/>
                    <a:pt x="340" y="137"/>
                    <a:pt x="340" y="137"/>
                  </a:cubicBezTo>
                  <a:cubicBezTo>
                    <a:pt x="340" y="135"/>
                    <a:pt x="339" y="136"/>
                    <a:pt x="338" y="135"/>
                  </a:cubicBezTo>
                  <a:cubicBezTo>
                    <a:pt x="337" y="135"/>
                    <a:pt x="336" y="134"/>
                    <a:pt x="336" y="134"/>
                  </a:cubicBezTo>
                  <a:cubicBezTo>
                    <a:pt x="335" y="134"/>
                    <a:pt x="335" y="135"/>
                    <a:pt x="334" y="136"/>
                  </a:cubicBezTo>
                  <a:cubicBezTo>
                    <a:pt x="333" y="138"/>
                    <a:pt x="335" y="138"/>
                    <a:pt x="333" y="139"/>
                  </a:cubicBezTo>
                  <a:cubicBezTo>
                    <a:pt x="332" y="139"/>
                    <a:pt x="331" y="140"/>
                    <a:pt x="331" y="140"/>
                  </a:cubicBezTo>
                  <a:cubicBezTo>
                    <a:pt x="330" y="141"/>
                    <a:pt x="327" y="142"/>
                    <a:pt x="327" y="142"/>
                  </a:cubicBezTo>
                  <a:cubicBezTo>
                    <a:pt x="326" y="147"/>
                    <a:pt x="327" y="152"/>
                    <a:pt x="330" y="156"/>
                  </a:cubicBezTo>
                  <a:cubicBezTo>
                    <a:pt x="331" y="154"/>
                    <a:pt x="333" y="151"/>
                    <a:pt x="335" y="150"/>
                  </a:cubicBezTo>
                  <a:cubicBezTo>
                    <a:pt x="334" y="153"/>
                    <a:pt x="333" y="156"/>
                    <a:pt x="333" y="159"/>
                  </a:cubicBezTo>
                  <a:cubicBezTo>
                    <a:pt x="332" y="159"/>
                    <a:pt x="330" y="158"/>
                    <a:pt x="329" y="158"/>
                  </a:cubicBezTo>
                  <a:cubicBezTo>
                    <a:pt x="329" y="158"/>
                    <a:pt x="328" y="158"/>
                    <a:pt x="328" y="159"/>
                  </a:cubicBezTo>
                  <a:cubicBezTo>
                    <a:pt x="328" y="160"/>
                    <a:pt x="327" y="163"/>
                    <a:pt x="327" y="165"/>
                  </a:cubicBezTo>
                  <a:cubicBezTo>
                    <a:pt x="327" y="166"/>
                    <a:pt x="328" y="166"/>
                    <a:pt x="328" y="166"/>
                  </a:cubicBezTo>
                  <a:cubicBezTo>
                    <a:pt x="329" y="166"/>
                    <a:pt x="329" y="166"/>
                    <a:pt x="329" y="166"/>
                  </a:cubicBezTo>
                  <a:cubicBezTo>
                    <a:pt x="330" y="166"/>
                    <a:pt x="330" y="166"/>
                    <a:pt x="331" y="166"/>
                  </a:cubicBezTo>
                  <a:cubicBezTo>
                    <a:pt x="331" y="166"/>
                    <a:pt x="331" y="166"/>
                    <a:pt x="331" y="166"/>
                  </a:cubicBezTo>
                  <a:cubicBezTo>
                    <a:pt x="334" y="166"/>
                    <a:pt x="338" y="168"/>
                    <a:pt x="341" y="168"/>
                  </a:cubicBezTo>
                  <a:cubicBezTo>
                    <a:pt x="340" y="168"/>
                    <a:pt x="339" y="168"/>
                    <a:pt x="338" y="168"/>
                  </a:cubicBezTo>
                  <a:cubicBezTo>
                    <a:pt x="336" y="168"/>
                    <a:pt x="333" y="168"/>
                    <a:pt x="331" y="168"/>
                  </a:cubicBezTo>
                  <a:cubicBezTo>
                    <a:pt x="330" y="168"/>
                    <a:pt x="329" y="168"/>
                    <a:pt x="328" y="167"/>
                  </a:cubicBezTo>
                  <a:cubicBezTo>
                    <a:pt x="328" y="167"/>
                    <a:pt x="328" y="167"/>
                    <a:pt x="327" y="167"/>
                  </a:cubicBezTo>
                  <a:cubicBezTo>
                    <a:pt x="326" y="167"/>
                    <a:pt x="324" y="168"/>
                    <a:pt x="323" y="168"/>
                  </a:cubicBezTo>
                  <a:cubicBezTo>
                    <a:pt x="323" y="168"/>
                    <a:pt x="323" y="168"/>
                    <a:pt x="323" y="168"/>
                  </a:cubicBezTo>
                  <a:cubicBezTo>
                    <a:pt x="321" y="168"/>
                    <a:pt x="321" y="165"/>
                    <a:pt x="319" y="164"/>
                  </a:cubicBezTo>
                  <a:cubicBezTo>
                    <a:pt x="318" y="163"/>
                    <a:pt x="315" y="163"/>
                    <a:pt x="313" y="163"/>
                  </a:cubicBezTo>
                  <a:cubicBezTo>
                    <a:pt x="315" y="164"/>
                    <a:pt x="315" y="166"/>
                    <a:pt x="316" y="167"/>
                  </a:cubicBezTo>
                  <a:cubicBezTo>
                    <a:pt x="315" y="167"/>
                    <a:pt x="314" y="167"/>
                    <a:pt x="313" y="167"/>
                  </a:cubicBezTo>
                  <a:cubicBezTo>
                    <a:pt x="313" y="167"/>
                    <a:pt x="312" y="167"/>
                    <a:pt x="311" y="167"/>
                  </a:cubicBezTo>
                  <a:cubicBezTo>
                    <a:pt x="313" y="165"/>
                    <a:pt x="310" y="166"/>
                    <a:pt x="310" y="165"/>
                  </a:cubicBezTo>
                  <a:cubicBezTo>
                    <a:pt x="310" y="165"/>
                    <a:pt x="309" y="165"/>
                    <a:pt x="309" y="164"/>
                  </a:cubicBezTo>
                  <a:cubicBezTo>
                    <a:pt x="308" y="163"/>
                    <a:pt x="309" y="163"/>
                    <a:pt x="309" y="163"/>
                  </a:cubicBezTo>
                  <a:cubicBezTo>
                    <a:pt x="309" y="161"/>
                    <a:pt x="308" y="161"/>
                    <a:pt x="307" y="161"/>
                  </a:cubicBezTo>
                  <a:cubicBezTo>
                    <a:pt x="306" y="161"/>
                    <a:pt x="305" y="161"/>
                    <a:pt x="305" y="161"/>
                  </a:cubicBezTo>
                  <a:cubicBezTo>
                    <a:pt x="305" y="163"/>
                    <a:pt x="308" y="166"/>
                    <a:pt x="307" y="167"/>
                  </a:cubicBezTo>
                  <a:cubicBezTo>
                    <a:pt x="307" y="168"/>
                    <a:pt x="306" y="168"/>
                    <a:pt x="305" y="168"/>
                  </a:cubicBezTo>
                  <a:cubicBezTo>
                    <a:pt x="305" y="168"/>
                    <a:pt x="304" y="168"/>
                    <a:pt x="304" y="168"/>
                  </a:cubicBezTo>
                  <a:cubicBezTo>
                    <a:pt x="303" y="168"/>
                    <a:pt x="303" y="168"/>
                    <a:pt x="302" y="168"/>
                  </a:cubicBezTo>
                  <a:cubicBezTo>
                    <a:pt x="302" y="168"/>
                    <a:pt x="302" y="168"/>
                    <a:pt x="302" y="168"/>
                  </a:cubicBezTo>
                  <a:cubicBezTo>
                    <a:pt x="303" y="169"/>
                    <a:pt x="304" y="170"/>
                    <a:pt x="306" y="170"/>
                  </a:cubicBezTo>
                  <a:cubicBezTo>
                    <a:pt x="305" y="171"/>
                    <a:pt x="304" y="171"/>
                    <a:pt x="304" y="171"/>
                  </a:cubicBezTo>
                  <a:cubicBezTo>
                    <a:pt x="303" y="171"/>
                    <a:pt x="303" y="171"/>
                    <a:pt x="302" y="170"/>
                  </a:cubicBezTo>
                  <a:cubicBezTo>
                    <a:pt x="302" y="170"/>
                    <a:pt x="301" y="170"/>
                    <a:pt x="301" y="170"/>
                  </a:cubicBezTo>
                  <a:cubicBezTo>
                    <a:pt x="300" y="170"/>
                    <a:pt x="300" y="170"/>
                    <a:pt x="299" y="171"/>
                  </a:cubicBezTo>
                  <a:cubicBezTo>
                    <a:pt x="300" y="172"/>
                    <a:pt x="301" y="172"/>
                    <a:pt x="302" y="172"/>
                  </a:cubicBezTo>
                  <a:cubicBezTo>
                    <a:pt x="303" y="172"/>
                    <a:pt x="303" y="172"/>
                    <a:pt x="303" y="172"/>
                  </a:cubicBezTo>
                  <a:cubicBezTo>
                    <a:pt x="303" y="172"/>
                    <a:pt x="303" y="172"/>
                    <a:pt x="303" y="172"/>
                  </a:cubicBezTo>
                  <a:cubicBezTo>
                    <a:pt x="303" y="172"/>
                    <a:pt x="303" y="172"/>
                    <a:pt x="303" y="172"/>
                  </a:cubicBezTo>
                  <a:cubicBezTo>
                    <a:pt x="305" y="174"/>
                    <a:pt x="303" y="173"/>
                    <a:pt x="304" y="176"/>
                  </a:cubicBezTo>
                  <a:cubicBezTo>
                    <a:pt x="305" y="177"/>
                    <a:pt x="307" y="178"/>
                    <a:pt x="307" y="179"/>
                  </a:cubicBezTo>
                  <a:cubicBezTo>
                    <a:pt x="308" y="180"/>
                    <a:pt x="308" y="182"/>
                    <a:pt x="310" y="183"/>
                  </a:cubicBezTo>
                  <a:cubicBezTo>
                    <a:pt x="310" y="183"/>
                    <a:pt x="310" y="183"/>
                    <a:pt x="310" y="183"/>
                  </a:cubicBezTo>
                  <a:cubicBezTo>
                    <a:pt x="311" y="183"/>
                    <a:pt x="314" y="181"/>
                    <a:pt x="314" y="180"/>
                  </a:cubicBezTo>
                  <a:cubicBezTo>
                    <a:pt x="314" y="185"/>
                    <a:pt x="307" y="189"/>
                    <a:pt x="313" y="192"/>
                  </a:cubicBezTo>
                  <a:cubicBezTo>
                    <a:pt x="311" y="191"/>
                    <a:pt x="307" y="188"/>
                    <a:pt x="306" y="186"/>
                  </a:cubicBezTo>
                  <a:cubicBezTo>
                    <a:pt x="303" y="189"/>
                    <a:pt x="306" y="189"/>
                    <a:pt x="305" y="191"/>
                  </a:cubicBezTo>
                  <a:cubicBezTo>
                    <a:pt x="305" y="193"/>
                    <a:pt x="304" y="195"/>
                    <a:pt x="304" y="196"/>
                  </a:cubicBezTo>
                  <a:cubicBezTo>
                    <a:pt x="303" y="199"/>
                    <a:pt x="304" y="201"/>
                    <a:pt x="304" y="204"/>
                  </a:cubicBezTo>
                  <a:cubicBezTo>
                    <a:pt x="300" y="198"/>
                    <a:pt x="298" y="191"/>
                    <a:pt x="294" y="186"/>
                  </a:cubicBezTo>
                  <a:cubicBezTo>
                    <a:pt x="293" y="185"/>
                    <a:pt x="292" y="184"/>
                    <a:pt x="292" y="184"/>
                  </a:cubicBezTo>
                  <a:cubicBezTo>
                    <a:pt x="291" y="182"/>
                    <a:pt x="289" y="178"/>
                    <a:pt x="290" y="177"/>
                  </a:cubicBezTo>
                  <a:cubicBezTo>
                    <a:pt x="290" y="177"/>
                    <a:pt x="290" y="177"/>
                    <a:pt x="289" y="177"/>
                  </a:cubicBezTo>
                  <a:cubicBezTo>
                    <a:pt x="288" y="177"/>
                    <a:pt x="288" y="176"/>
                    <a:pt x="288" y="175"/>
                  </a:cubicBezTo>
                  <a:cubicBezTo>
                    <a:pt x="286" y="173"/>
                    <a:pt x="286" y="175"/>
                    <a:pt x="286" y="172"/>
                  </a:cubicBezTo>
                  <a:cubicBezTo>
                    <a:pt x="287" y="171"/>
                    <a:pt x="288" y="168"/>
                    <a:pt x="287" y="167"/>
                  </a:cubicBezTo>
                  <a:cubicBezTo>
                    <a:pt x="287" y="167"/>
                    <a:pt x="287" y="167"/>
                    <a:pt x="286" y="167"/>
                  </a:cubicBezTo>
                  <a:cubicBezTo>
                    <a:pt x="284" y="167"/>
                    <a:pt x="281" y="178"/>
                    <a:pt x="281" y="179"/>
                  </a:cubicBezTo>
                  <a:cubicBezTo>
                    <a:pt x="277" y="180"/>
                    <a:pt x="271" y="178"/>
                    <a:pt x="275" y="185"/>
                  </a:cubicBezTo>
                  <a:cubicBezTo>
                    <a:pt x="274" y="184"/>
                    <a:pt x="273" y="184"/>
                    <a:pt x="272" y="184"/>
                  </a:cubicBezTo>
                  <a:cubicBezTo>
                    <a:pt x="266" y="184"/>
                    <a:pt x="261" y="199"/>
                    <a:pt x="262" y="203"/>
                  </a:cubicBezTo>
                  <a:cubicBezTo>
                    <a:pt x="262" y="205"/>
                    <a:pt x="263" y="207"/>
                    <a:pt x="263" y="209"/>
                  </a:cubicBezTo>
                  <a:cubicBezTo>
                    <a:pt x="264" y="211"/>
                    <a:pt x="263" y="213"/>
                    <a:pt x="263" y="216"/>
                  </a:cubicBezTo>
                  <a:cubicBezTo>
                    <a:pt x="264" y="215"/>
                    <a:pt x="265" y="215"/>
                    <a:pt x="266" y="215"/>
                  </a:cubicBezTo>
                  <a:cubicBezTo>
                    <a:pt x="267" y="215"/>
                    <a:pt x="269" y="216"/>
                    <a:pt x="268" y="218"/>
                  </a:cubicBezTo>
                  <a:cubicBezTo>
                    <a:pt x="267" y="222"/>
                    <a:pt x="257" y="226"/>
                    <a:pt x="254" y="229"/>
                  </a:cubicBezTo>
                  <a:cubicBezTo>
                    <a:pt x="252" y="231"/>
                    <a:pt x="252" y="231"/>
                    <a:pt x="251" y="234"/>
                  </a:cubicBezTo>
                  <a:cubicBezTo>
                    <a:pt x="251" y="237"/>
                    <a:pt x="248" y="238"/>
                    <a:pt x="247" y="240"/>
                  </a:cubicBezTo>
                  <a:cubicBezTo>
                    <a:pt x="244" y="245"/>
                    <a:pt x="243" y="250"/>
                    <a:pt x="239" y="254"/>
                  </a:cubicBezTo>
                  <a:cubicBezTo>
                    <a:pt x="229" y="268"/>
                    <a:pt x="208" y="271"/>
                    <a:pt x="192" y="276"/>
                  </a:cubicBezTo>
                  <a:cubicBezTo>
                    <a:pt x="191" y="276"/>
                    <a:pt x="189" y="278"/>
                    <a:pt x="188" y="278"/>
                  </a:cubicBezTo>
                  <a:cubicBezTo>
                    <a:pt x="188" y="278"/>
                    <a:pt x="188" y="278"/>
                    <a:pt x="187" y="278"/>
                  </a:cubicBezTo>
                  <a:cubicBezTo>
                    <a:pt x="185" y="278"/>
                    <a:pt x="182" y="276"/>
                    <a:pt x="180" y="276"/>
                  </a:cubicBezTo>
                  <a:cubicBezTo>
                    <a:pt x="179" y="276"/>
                    <a:pt x="179" y="276"/>
                    <a:pt x="178" y="276"/>
                  </a:cubicBezTo>
                  <a:cubicBezTo>
                    <a:pt x="175" y="276"/>
                    <a:pt x="173" y="279"/>
                    <a:pt x="170" y="281"/>
                  </a:cubicBezTo>
                  <a:cubicBezTo>
                    <a:pt x="165" y="284"/>
                    <a:pt x="162" y="285"/>
                    <a:pt x="156" y="286"/>
                  </a:cubicBezTo>
                  <a:cubicBezTo>
                    <a:pt x="154" y="286"/>
                    <a:pt x="151" y="287"/>
                    <a:pt x="148" y="287"/>
                  </a:cubicBezTo>
                  <a:cubicBezTo>
                    <a:pt x="148" y="287"/>
                    <a:pt x="147" y="287"/>
                    <a:pt x="147" y="287"/>
                  </a:cubicBezTo>
                  <a:cubicBezTo>
                    <a:pt x="143" y="289"/>
                    <a:pt x="140" y="292"/>
                    <a:pt x="136" y="295"/>
                  </a:cubicBezTo>
                  <a:cubicBezTo>
                    <a:pt x="133" y="297"/>
                    <a:pt x="126" y="297"/>
                    <a:pt x="122" y="297"/>
                  </a:cubicBezTo>
                  <a:cubicBezTo>
                    <a:pt x="122" y="297"/>
                    <a:pt x="121" y="297"/>
                    <a:pt x="121" y="297"/>
                  </a:cubicBezTo>
                  <a:cubicBezTo>
                    <a:pt x="120" y="297"/>
                    <a:pt x="119" y="297"/>
                    <a:pt x="118" y="296"/>
                  </a:cubicBezTo>
                  <a:cubicBezTo>
                    <a:pt x="117" y="296"/>
                    <a:pt x="117" y="295"/>
                    <a:pt x="117" y="295"/>
                  </a:cubicBezTo>
                  <a:cubicBezTo>
                    <a:pt x="117" y="295"/>
                    <a:pt x="117" y="295"/>
                    <a:pt x="117" y="295"/>
                  </a:cubicBezTo>
                  <a:cubicBezTo>
                    <a:pt x="117" y="294"/>
                    <a:pt x="117" y="294"/>
                    <a:pt x="117" y="294"/>
                  </a:cubicBezTo>
                  <a:cubicBezTo>
                    <a:pt x="116" y="294"/>
                    <a:pt x="114" y="295"/>
                    <a:pt x="112" y="295"/>
                  </a:cubicBezTo>
                  <a:cubicBezTo>
                    <a:pt x="111" y="296"/>
                    <a:pt x="109" y="296"/>
                    <a:pt x="108" y="296"/>
                  </a:cubicBezTo>
                  <a:cubicBezTo>
                    <a:pt x="106" y="296"/>
                    <a:pt x="106" y="295"/>
                    <a:pt x="108" y="292"/>
                  </a:cubicBezTo>
                  <a:cubicBezTo>
                    <a:pt x="108" y="292"/>
                    <a:pt x="108" y="292"/>
                    <a:pt x="108" y="292"/>
                  </a:cubicBezTo>
                  <a:cubicBezTo>
                    <a:pt x="105" y="292"/>
                    <a:pt x="101" y="296"/>
                    <a:pt x="99" y="298"/>
                  </a:cubicBezTo>
                  <a:cubicBezTo>
                    <a:pt x="91" y="304"/>
                    <a:pt x="82" y="310"/>
                    <a:pt x="74" y="316"/>
                  </a:cubicBezTo>
                  <a:cubicBezTo>
                    <a:pt x="67" y="321"/>
                    <a:pt x="59" y="324"/>
                    <a:pt x="52" y="328"/>
                  </a:cubicBezTo>
                  <a:cubicBezTo>
                    <a:pt x="50" y="329"/>
                    <a:pt x="46" y="330"/>
                    <a:pt x="45" y="332"/>
                  </a:cubicBezTo>
                  <a:cubicBezTo>
                    <a:pt x="40" y="335"/>
                    <a:pt x="39" y="344"/>
                    <a:pt x="37" y="349"/>
                  </a:cubicBezTo>
                  <a:cubicBezTo>
                    <a:pt x="36" y="349"/>
                    <a:pt x="37" y="350"/>
                    <a:pt x="36" y="351"/>
                  </a:cubicBezTo>
                  <a:cubicBezTo>
                    <a:pt x="35" y="352"/>
                    <a:pt x="31" y="352"/>
                    <a:pt x="30" y="353"/>
                  </a:cubicBezTo>
                  <a:cubicBezTo>
                    <a:pt x="28" y="346"/>
                    <a:pt x="28" y="339"/>
                    <a:pt x="26" y="332"/>
                  </a:cubicBezTo>
                  <a:cubicBezTo>
                    <a:pt x="23" y="336"/>
                    <a:pt x="22" y="341"/>
                    <a:pt x="20" y="347"/>
                  </a:cubicBezTo>
                  <a:cubicBezTo>
                    <a:pt x="19" y="349"/>
                    <a:pt x="16" y="352"/>
                    <a:pt x="16" y="354"/>
                  </a:cubicBezTo>
                  <a:cubicBezTo>
                    <a:pt x="15" y="357"/>
                    <a:pt x="19" y="362"/>
                    <a:pt x="20" y="366"/>
                  </a:cubicBezTo>
                  <a:cubicBezTo>
                    <a:pt x="20" y="370"/>
                    <a:pt x="20" y="380"/>
                    <a:pt x="18" y="383"/>
                  </a:cubicBezTo>
                  <a:cubicBezTo>
                    <a:pt x="17" y="386"/>
                    <a:pt x="14" y="386"/>
                    <a:pt x="13" y="389"/>
                  </a:cubicBezTo>
                  <a:cubicBezTo>
                    <a:pt x="11" y="392"/>
                    <a:pt x="11" y="395"/>
                    <a:pt x="9" y="398"/>
                  </a:cubicBezTo>
                  <a:cubicBezTo>
                    <a:pt x="9" y="400"/>
                    <a:pt x="8" y="402"/>
                    <a:pt x="8" y="405"/>
                  </a:cubicBezTo>
                  <a:cubicBezTo>
                    <a:pt x="8" y="411"/>
                    <a:pt x="13" y="418"/>
                    <a:pt x="16" y="424"/>
                  </a:cubicBezTo>
                  <a:cubicBezTo>
                    <a:pt x="20" y="432"/>
                    <a:pt x="24" y="441"/>
                    <a:pt x="27" y="449"/>
                  </a:cubicBezTo>
                  <a:cubicBezTo>
                    <a:pt x="28" y="451"/>
                    <a:pt x="31" y="452"/>
                    <a:pt x="32" y="454"/>
                  </a:cubicBezTo>
                  <a:cubicBezTo>
                    <a:pt x="33" y="456"/>
                    <a:pt x="32" y="457"/>
                    <a:pt x="32" y="460"/>
                  </a:cubicBezTo>
                  <a:cubicBezTo>
                    <a:pt x="31" y="465"/>
                    <a:pt x="29" y="468"/>
                    <a:pt x="26" y="472"/>
                  </a:cubicBezTo>
                  <a:cubicBezTo>
                    <a:pt x="22" y="468"/>
                    <a:pt x="23" y="462"/>
                    <a:pt x="21" y="458"/>
                  </a:cubicBezTo>
                  <a:cubicBezTo>
                    <a:pt x="21" y="460"/>
                    <a:pt x="20" y="466"/>
                    <a:pt x="18" y="466"/>
                  </a:cubicBezTo>
                  <a:cubicBezTo>
                    <a:pt x="18" y="466"/>
                    <a:pt x="17" y="465"/>
                    <a:pt x="17" y="465"/>
                  </a:cubicBezTo>
                  <a:cubicBezTo>
                    <a:pt x="14" y="462"/>
                    <a:pt x="18" y="457"/>
                    <a:pt x="17" y="454"/>
                  </a:cubicBezTo>
                  <a:cubicBezTo>
                    <a:pt x="15" y="450"/>
                    <a:pt x="11" y="449"/>
                    <a:pt x="11" y="444"/>
                  </a:cubicBezTo>
                  <a:cubicBezTo>
                    <a:pt x="9" y="448"/>
                    <a:pt x="7" y="448"/>
                    <a:pt x="9" y="452"/>
                  </a:cubicBezTo>
                  <a:cubicBezTo>
                    <a:pt x="12" y="457"/>
                    <a:pt x="14" y="463"/>
                    <a:pt x="18" y="466"/>
                  </a:cubicBezTo>
                  <a:cubicBezTo>
                    <a:pt x="18" y="467"/>
                    <a:pt x="19" y="467"/>
                    <a:pt x="20" y="468"/>
                  </a:cubicBezTo>
                  <a:cubicBezTo>
                    <a:pt x="21" y="469"/>
                    <a:pt x="21" y="470"/>
                    <a:pt x="21" y="471"/>
                  </a:cubicBezTo>
                  <a:cubicBezTo>
                    <a:pt x="21" y="473"/>
                    <a:pt x="20" y="477"/>
                    <a:pt x="19" y="478"/>
                  </a:cubicBezTo>
                  <a:cubicBezTo>
                    <a:pt x="19" y="478"/>
                    <a:pt x="19" y="478"/>
                    <a:pt x="19" y="478"/>
                  </a:cubicBezTo>
                  <a:cubicBezTo>
                    <a:pt x="19" y="478"/>
                    <a:pt x="19" y="478"/>
                    <a:pt x="19" y="478"/>
                  </a:cubicBezTo>
                  <a:cubicBezTo>
                    <a:pt x="19" y="478"/>
                    <a:pt x="18" y="478"/>
                    <a:pt x="18" y="478"/>
                  </a:cubicBezTo>
                  <a:cubicBezTo>
                    <a:pt x="18" y="478"/>
                    <a:pt x="18" y="478"/>
                    <a:pt x="18" y="478"/>
                  </a:cubicBezTo>
                  <a:cubicBezTo>
                    <a:pt x="17" y="479"/>
                    <a:pt x="16" y="479"/>
                    <a:pt x="16" y="479"/>
                  </a:cubicBezTo>
                  <a:cubicBezTo>
                    <a:pt x="14" y="479"/>
                    <a:pt x="14" y="478"/>
                    <a:pt x="14" y="475"/>
                  </a:cubicBezTo>
                  <a:cubicBezTo>
                    <a:pt x="13" y="476"/>
                    <a:pt x="13" y="477"/>
                    <a:pt x="13" y="479"/>
                  </a:cubicBezTo>
                  <a:cubicBezTo>
                    <a:pt x="11" y="475"/>
                    <a:pt x="12" y="472"/>
                    <a:pt x="11" y="468"/>
                  </a:cubicBezTo>
                  <a:cubicBezTo>
                    <a:pt x="11" y="469"/>
                    <a:pt x="10" y="471"/>
                    <a:pt x="10" y="472"/>
                  </a:cubicBezTo>
                  <a:cubicBezTo>
                    <a:pt x="10" y="469"/>
                    <a:pt x="9" y="466"/>
                    <a:pt x="8" y="464"/>
                  </a:cubicBezTo>
                  <a:cubicBezTo>
                    <a:pt x="8" y="465"/>
                    <a:pt x="8" y="465"/>
                    <a:pt x="8" y="465"/>
                  </a:cubicBezTo>
                  <a:cubicBezTo>
                    <a:pt x="7" y="463"/>
                    <a:pt x="7" y="462"/>
                    <a:pt x="7" y="460"/>
                  </a:cubicBezTo>
                  <a:cubicBezTo>
                    <a:pt x="6" y="464"/>
                    <a:pt x="6" y="468"/>
                    <a:pt x="7" y="472"/>
                  </a:cubicBezTo>
                  <a:cubicBezTo>
                    <a:pt x="4" y="469"/>
                    <a:pt x="5" y="464"/>
                    <a:pt x="5" y="460"/>
                  </a:cubicBezTo>
                  <a:cubicBezTo>
                    <a:pt x="4" y="462"/>
                    <a:pt x="4" y="464"/>
                    <a:pt x="4" y="466"/>
                  </a:cubicBezTo>
                  <a:cubicBezTo>
                    <a:pt x="3" y="465"/>
                    <a:pt x="2" y="464"/>
                    <a:pt x="0" y="464"/>
                  </a:cubicBezTo>
                  <a:cubicBezTo>
                    <a:pt x="6" y="472"/>
                    <a:pt x="11" y="480"/>
                    <a:pt x="16" y="487"/>
                  </a:cubicBezTo>
                  <a:cubicBezTo>
                    <a:pt x="19" y="491"/>
                    <a:pt x="21" y="495"/>
                    <a:pt x="24" y="498"/>
                  </a:cubicBezTo>
                  <a:cubicBezTo>
                    <a:pt x="26" y="501"/>
                    <a:pt x="26" y="506"/>
                    <a:pt x="27" y="509"/>
                  </a:cubicBezTo>
                  <a:cubicBezTo>
                    <a:pt x="28" y="514"/>
                    <a:pt x="28" y="519"/>
                    <a:pt x="30" y="523"/>
                  </a:cubicBezTo>
                  <a:cubicBezTo>
                    <a:pt x="34" y="536"/>
                    <a:pt x="48" y="546"/>
                    <a:pt x="50" y="560"/>
                  </a:cubicBezTo>
                  <a:cubicBezTo>
                    <a:pt x="52" y="569"/>
                    <a:pt x="52" y="578"/>
                    <a:pt x="53" y="587"/>
                  </a:cubicBezTo>
                  <a:cubicBezTo>
                    <a:pt x="55" y="596"/>
                    <a:pt x="59" y="604"/>
                    <a:pt x="61" y="613"/>
                  </a:cubicBezTo>
                  <a:cubicBezTo>
                    <a:pt x="65" y="622"/>
                    <a:pt x="70" y="631"/>
                    <a:pt x="74" y="641"/>
                  </a:cubicBezTo>
                  <a:cubicBezTo>
                    <a:pt x="75" y="640"/>
                    <a:pt x="77" y="639"/>
                    <a:pt x="79" y="639"/>
                  </a:cubicBezTo>
                  <a:cubicBezTo>
                    <a:pt x="83" y="639"/>
                    <a:pt x="87" y="643"/>
                    <a:pt x="87" y="647"/>
                  </a:cubicBezTo>
                  <a:cubicBezTo>
                    <a:pt x="87" y="651"/>
                    <a:pt x="83" y="655"/>
                    <a:pt x="79" y="655"/>
                  </a:cubicBezTo>
                  <a:cubicBezTo>
                    <a:pt x="78" y="655"/>
                    <a:pt x="77" y="655"/>
                    <a:pt x="77" y="655"/>
                  </a:cubicBezTo>
                  <a:cubicBezTo>
                    <a:pt x="77" y="661"/>
                    <a:pt x="77" y="669"/>
                    <a:pt x="75" y="674"/>
                  </a:cubicBezTo>
                  <a:cubicBezTo>
                    <a:pt x="74" y="672"/>
                    <a:pt x="73" y="671"/>
                    <a:pt x="73" y="668"/>
                  </a:cubicBezTo>
                  <a:cubicBezTo>
                    <a:pt x="71" y="671"/>
                    <a:pt x="72" y="674"/>
                    <a:pt x="73" y="676"/>
                  </a:cubicBezTo>
                  <a:cubicBezTo>
                    <a:pt x="74" y="682"/>
                    <a:pt x="76" y="691"/>
                    <a:pt x="71" y="695"/>
                  </a:cubicBezTo>
                  <a:cubicBezTo>
                    <a:pt x="69" y="697"/>
                    <a:pt x="61" y="701"/>
                    <a:pt x="58" y="701"/>
                  </a:cubicBezTo>
                  <a:cubicBezTo>
                    <a:pt x="58" y="701"/>
                    <a:pt x="57" y="701"/>
                    <a:pt x="57" y="701"/>
                  </a:cubicBezTo>
                  <a:cubicBezTo>
                    <a:pt x="57" y="701"/>
                    <a:pt x="56" y="699"/>
                    <a:pt x="55" y="698"/>
                  </a:cubicBezTo>
                  <a:cubicBezTo>
                    <a:pt x="53" y="704"/>
                    <a:pt x="53" y="712"/>
                    <a:pt x="54" y="717"/>
                  </a:cubicBezTo>
                  <a:cubicBezTo>
                    <a:pt x="54" y="718"/>
                    <a:pt x="54" y="721"/>
                    <a:pt x="55" y="721"/>
                  </a:cubicBezTo>
                  <a:cubicBezTo>
                    <a:pt x="56" y="724"/>
                    <a:pt x="61" y="726"/>
                    <a:pt x="65" y="728"/>
                  </a:cubicBezTo>
                  <a:cubicBezTo>
                    <a:pt x="72" y="731"/>
                    <a:pt x="78" y="734"/>
                    <a:pt x="83" y="740"/>
                  </a:cubicBezTo>
                  <a:cubicBezTo>
                    <a:pt x="87" y="744"/>
                    <a:pt x="95" y="746"/>
                    <a:pt x="101" y="748"/>
                  </a:cubicBezTo>
                  <a:cubicBezTo>
                    <a:pt x="102" y="748"/>
                    <a:pt x="103" y="748"/>
                    <a:pt x="105" y="748"/>
                  </a:cubicBezTo>
                  <a:cubicBezTo>
                    <a:pt x="106" y="748"/>
                    <a:pt x="108" y="748"/>
                    <a:pt x="110" y="748"/>
                  </a:cubicBezTo>
                  <a:cubicBezTo>
                    <a:pt x="112" y="748"/>
                    <a:pt x="114" y="747"/>
                    <a:pt x="116" y="747"/>
                  </a:cubicBezTo>
                  <a:cubicBezTo>
                    <a:pt x="117" y="747"/>
                    <a:pt x="117" y="747"/>
                    <a:pt x="118" y="747"/>
                  </a:cubicBezTo>
                  <a:cubicBezTo>
                    <a:pt x="126" y="748"/>
                    <a:pt x="134" y="749"/>
                    <a:pt x="142" y="750"/>
                  </a:cubicBezTo>
                  <a:cubicBezTo>
                    <a:pt x="140" y="749"/>
                    <a:pt x="138" y="749"/>
                    <a:pt x="137" y="748"/>
                  </a:cubicBezTo>
                  <a:cubicBezTo>
                    <a:pt x="141" y="747"/>
                    <a:pt x="146" y="748"/>
                    <a:pt x="150" y="746"/>
                  </a:cubicBezTo>
                  <a:cubicBezTo>
                    <a:pt x="157" y="740"/>
                    <a:pt x="164" y="735"/>
                    <a:pt x="171" y="729"/>
                  </a:cubicBezTo>
                  <a:cubicBezTo>
                    <a:pt x="171" y="729"/>
                    <a:pt x="171" y="729"/>
                    <a:pt x="171" y="729"/>
                  </a:cubicBezTo>
                  <a:cubicBezTo>
                    <a:pt x="172" y="729"/>
                    <a:pt x="174" y="729"/>
                    <a:pt x="175" y="730"/>
                  </a:cubicBezTo>
                  <a:cubicBezTo>
                    <a:pt x="176" y="731"/>
                    <a:pt x="177" y="731"/>
                    <a:pt x="178" y="731"/>
                  </a:cubicBezTo>
                  <a:cubicBezTo>
                    <a:pt x="178" y="731"/>
                    <a:pt x="178" y="731"/>
                    <a:pt x="178" y="731"/>
                  </a:cubicBezTo>
                  <a:cubicBezTo>
                    <a:pt x="179" y="731"/>
                    <a:pt x="181" y="730"/>
                    <a:pt x="182" y="730"/>
                  </a:cubicBezTo>
                  <a:cubicBezTo>
                    <a:pt x="187" y="727"/>
                    <a:pt x="184" y="727"/>
                    <a:pt x="184" y="724"/>
                  </a:cubicBezTo>
                  <a:cubicBezTo>
                    <a:pt x="186" y="718"/>
                    <a:pt x="192" y="716"/>
                    <a:pt x="197" y="715"/>
                  </a:cubicBezTo>
                  <a:cubicBezTo>
                    <a:pt x="206" y="713"/>
                    <a:pt x="215" y="710"/>
                    <a:pt x="225" y="709"/>
                  </a:cubicBezTo>
                  <a:cubicBezTo>
                    <a:pt x="229" y="709"/>
                    <a:pt x="234" y="709"/>
                    <a:pt x="238" y="709"/>
                  </a:cubicBezTo>
                  <a:cubicBezTo>
                    <a:pt x="242" y="709"/>
                    <a:pt x="245" y="709"/>
                    <a:pt x="249" y="710"/>
                  </a:cubicBezTo>
                  <a:cubicBezTo>
                    <a:pt x="250" y="710"/>
                    <a:pt x="250" y="710"/>
                    <a:pt x="251" y="710"/>
                  </a:cubicBezTo>
                  <a:cubicBezTo>
                    <a:pt x="252" y="710"/>
                    <a:pt x="253" y="710"/>
                    <a:pt x="254" y="710"/>
                  </a:cubicBezTo>
                  <a:cubicBezTo>
                    <a:pt x="255" y="710"/>
                    <a:pt x="255" y="710"/>
                    <a:pt x="256" y="710"/>
                  </a:cubicBezTo>
                  <a:cubicBezTo>
                    <a:pt x="258" y="710"/>
                    <a:pt x="259" y="710"/>
                    <a:pt x="260" y="712"/>
                  </a:cubicBezTo>
                  <a:cubicBezTo>
                    <a:pt x="261" y="715"/>
                    <a:pt x="259" y="714"/>
                    <a:pt x="262" y="715"/>
                  </a:cubicBezTo>
                  <a:cubicBezTo>
                    <a:pt x="262" y="715"/>
                    <a:pt x="263" y="715"/>
                    <a:pt x="264" y="715"/>
                  </a:cubicBezTo>
                  <a:cubicBezTo>
                    <a:pt x="268" y="715"/>
                    <a:pt x="275" y="712"/>
                    <a:pt x="279" y="711"/>
                  </a:cubicBezTo>
                  <a:cubicBezTo>
                    <a:pt x="281" y="711"/>
                    <a:pt x="285" y="710"/>
                    <a:pt x="287" y="710"/>
                  </a:cubicBezTo>
                  <a:cubicBezTo>
                    <a:pt x="288" y="710"/>
                    <a:pt x="289" y="710"/>
                    <a:pt x="289" y="710"/>
                  </a:cubicBezTo>
                  <a:cubicBezTo>
                    <a:pt x="290" y="711"/>
                    <a:pt x="290" y="713"/>
                    <a:pt x="291" y="714"/>
                  </a:cubicBezTo>
                  <a:cubicBezTo>
                    <a:pt x="291" y="714"/>
                    <a:pt x="292" y="714"/>
                    <a:pt x="292" y="714"/>
                  </a:cubicBezTo>
                  <a:cubicBezTo>
                    <a:pt x="294" y="714"/>
                    <a:pt x="298" y="712"/>
                    <a:pt x="300" y="711"/>
                  </a:cubicBezTo>
                  <a:cubicBezTo>
                    <a:pt x="300" y="711"/>
                    <a:pt x="300" y="711"/>
                    <a:pt x="301" y="711"/>
                  </a:cubicBezTo>
                  <a:cubicBezTo>
                    <a:pt x="301" y="711"/>
                    <a:pt x="301" y="711"/>
                    <a:pt x="301" y="711"/>
                  </a:cubicBezTo>
                  <a:cubicBezTo>
                    <a:pt x="301" y="711"/>
                    <a:pt x="301" y="711"/>
                    <a:pt x="301" y="711"/>
                  </a:cubicBezTo>
                  <a:cubicBezTo>
                    <a:pt x="302" y="711"/>
                    <a:pt x="302" y="711"/>
                    <a:pt x="303" y="711"/>
                  </a:cubicBezTo>
                  <a:cubicBezTo>
                    <a:pt x="306" y="710"/>
                    <a:pt x="310" y="704"/>
                    <a:pt x="312" y="702"/>
                  </a:cubicBezTo>
                  <a:cubicBezTo>
                    <a:pt x="315" y="699"/>
                    <a:pt x="316" y="696"/>
                    <a:pt x="318" y="693"/>
                  </a:cubicBezTo>
                  <a:cubicBezTo>
                    <a:pt x="319" y="691"/>
                    <a:pt x="321" y="683"/>
                    <a:pt x="323" y="682"/>
                  </a:cubicBezTo>
                  <a:cubicBezTo>
                    <a:pt x="332" y="678"/>
                    <a:pt x="341" y="674"/>
                    <a:pt x="350" y="670"/>
                  </a:cubicBezTo>
                  <a:cubicBezTo>
                    <a:pt x="355" y="668"/>
                    <a:pt x="359" y="667"/>
                    <a:pt x="363" y="664"/>
                  </a:cubicBezTo>
                  <a:cubicBezTo>
                    <a:pt x="365" y="662"/>
                    <a:pt x="368" y="660"/>
                    <a:pt x="371" y="659"/>
                  </a:cubicBezTo>
                  <a:cubicBezTo>
                    <a:pt x="373" y="658"/>
                    <a:pt x="375" y="658"/>
                    <a:pt x="378" y="658"/>
                  </a:cubicBezTo>
                  <a:cubicBezTo>
                    <a:pt x="382" y="658"/>
                    <a:pt x="386" y="659"/>
                    <a:pt x="390" y="659"/>
                  </a:cubicBezTo>
                  <a:cubicBezTo>
                    <a:pt x="392" y="659"/>
                    <a:pt x="395" y="659"/>
                    <a:pt x="398" y="659"/>
                  </a:cubicBezTo>
                  <a:cubicBezTo>
                    <a:pt x="403" y="659"/>
                    <a:pt x="408" y="659"/>
                    <a:pt x="412" y="658"/>
                  </a:cubicBezTo>
                  <a:cubicBezTo>
                    <a:pt x="429" y="653"/>
                    <a:pt x="445" y="645"/>
                    <a:pt x="461" y="639"/>
                  </a:cubicBezTo>
                  <a:cubicBezTo>
                    <a:pt x="461" y="639"/>
                    <a:pt x="461" y="639"/>
                    <a:pt x="461" y="639"/>
                  </a:cubicBezTo>
                  <a:cubicBezTo>
                    <a:pt x="461" y="639"/>
                    <a:pt x="461" y="639"/>
                    <a:pt x="461" y="639"/>
                  </a:cubicBezTo>
                  <a:cubicBezTo>
                    <a:pt x="471" y="638"/>
                    <a:pt x="480" y="637"/>
                    <a:pt x="490" y="636"/>
                  </a:cubicBezTo>
                  <a:cubicBezTo>
                    <a:pt x="491" y="636"/>
                    <a:pt x="492" y="636"/>
                    <a:pt x="493" y="636"/>
                  </a:cubicBezTo>
                  <a:cubicBezTo>
                    <a:pt x="496" y="636"/>
                    <a:pt x="498" y="636"/>
                    <a:pt x="501" y="636"/>
                  </a:cubicBezTo>
                  <a:cubicBezTo>
                    <a:pt x="503" y="637"/>
                    <a:pt x="506" y="637"/>
                    <a:pt x="508" y="637"/>
                  </a:cubicBezTo>
                  <a:cubicBezTo>
                    <a:pt x="511" y="637"/>
                    <a:pt x="514" y="636"/>
                    <a:pt x="517" y="635"/>
                  </a:cubicBezTo>
                  <a:cubicBezTo>
                    <a:pt x="520" y="634"/>
                    <a:pt x="521" y="633"/>
                    <a:pt x="523" y="633"/>
                  </a:cubicBezTo>
                  <a:cubicBezTo>
                    <a:pt x="524" y="633"/>
                    <a:pt x="526" y="634"/>
                    <a:pt x="528" y="635"/>
                  </a:cubicBezTo>
                  <a:cubicBezTo>
                    <a:pt x="535" y="638"/>
                    <a:pt x="545" y="641"/>
                    <a:pt x="551" y="647"/>
                  </a:cubicBezTo>
                  <a:cubicBezTo>
                    <a:pt x="552" y="648"/>
                    <a:pt x="552" y="649"/>
                    <a:pt x="553" y="650"/>
                  </a:cubicBezTo>
                  <a:cubicBezTo>
                    <a:pt x="554" y="650"/>
                    <a:pt x="554" y="650"/>
                    <a:pt x="555" y="650"/>
                  </a:cubicBezTo>
                  <a:cubicBezTo>
                    <a:pt x="557" y="650"/>
                    <a:pt x="561" y="648"/>
                    <a:pt x="563" y="647"/>
                  </a:cubicBezTo>
                  <a:cubicBezTo>
                    <a:pt x="564" y="647"/>
                    <a:pt x="565" y="647"/>
                    <a:pt x="565" y="647"/>
                  </a:cubicBezTo>
                  <a:cubicBezTo>
                    <a:pt x="568" y="647"/>
                    <a:pt x="571" y="648"/>
                    <a:pt x="573" y="649"/>
                  </a:cubicBezTo>
                  <a:cubicBezTo>
                    <a:pt x="578" y="651"/>
                    <a:pt x="582" y="653"/>
                    <a:pt x="587" y="655"/>
                  </a:cubicBezTo>
                  <a:cubicBezTo>
                    <a:pt x="587" y="655"/>
                    <a:pt x="587" y="655"/>
                    <a:pt x="587" y="655"/>
                  </a:cubicBezTo>
                  <a:cubicBezTo>
                    <a:pt x="588" y="655"/>
                    <a:pt x="589" y="655"/>
                    <a:pt x="589" y="654"/>
                  </a:cubicBezTo>
                  <a:cubicBezTo>
                    <a:pt x="590" y="654"/>
                    <a:pt x="591" y="653"/>
                    <a:pt x="592" y="653"/>
                  </a:cubicBezTo>
                  <a:cubicBezTo>
                    <a:pt x="592" y="653"/>
                    <a:pt x="592" y="653"/>
                    <a:pt x="592" y="653"/>
                  </a:cubicBezTo>
                  <a:cubicBezTo>
                    <a:pt x="593" y="653"/>
                    <a:pt x="593" y="653"/>
                    <a:pt x="593" y="653"/>
                  </a:cubicBezTo>
                  <a:cubicBezTo>
                    <a:pt x="593" y="653"/>
                    <a:pt x="594" y="653"/>
                    <a:pt x="594" y="653"/>
                  </a:cubicBezTo>
                  <a:cubicBezTo>
                    <a:pt x="594" y="653"/>
                    <a:pt x="595" y="652"/>
                    <a:pt x="595" y="652"/>
                  </a:cubicBezTo>
                  <a:cubicBezTo>
                    <a:pt x="595" y="652"/>
                    <a:pt x="596" y="652"/>
                    <a:pt x="596" y="653"/>
                  </a:cubicBezTo>
                  <a:cubicBezTo>
                    <a:pt x="599" y="654"/>
                    <a:pt x="602" y="660"/>
                    <a:pt x="603" y="663"/>
                  </a:cubicBezTo>
                  <a:cubicBezTo>
                    <a:pt x="603" y="663"/>
                    <a:pt x="603" y="663"/>
                    <a:pt x="603" y="663"/>
                  </a:cubicBezTo>
                  <a:cubicBezTo>
                    <a:pt x="602" y="663"/>
                    <a:pt x="602" y="665"/>
                    <a:pt x="602" y="666"/>
                  </a:cubicBezTo>
                  <a:cubicBezTo>
                    <a:pt x="602" y="666"/>
                    <a:pt x="602" y="666"/>
                    <a:pt x="603" y="666"/>
                  </a:cubicBezTo>
                  <a:cubicBezTo>
                    <a:pt x="606" y="666"/>
                    <a:pt x="609" y="666"/>
                    <a:pt x="612" y="665"/>
                  </a:cubicBezTo>
                  <a:cubicBezTo>
                    <a:pt x="612" y="668"/>
                    <a:pt x="614" y="672"/>
                    <a:pt x="612" y="675"/>
                  </a:cubicBezTo>
                  <a:cubicBezTo>
                    <a:pt x="612" y="675"/>
                    <a:pt x="609" y="672"/>
                    <a:pt x="608" y="672"/>
                  </a:cubicBezTo>
                  <a:cubicBezTo>
                    <a:pt x="608" y="672"/>
                    <a:pt x="608" y="673"/>
                    <a:pt x="608" y="673"/>
                  </a:cubicBezTo>
                  <a:cubicBezTo>
                    <a:pt x="610" y="677"/>
                    <a:pt x="608" y="676"/>
                    <a:pt x="608" y="678"/>
                  </a:cubicBezTo>
                  <a:cubicBezTo>
                    <a:pt x="608" y="680"/>
                    <a:pt x="613" y="686"/>
                    <a:pt x="614" y="687"/>
                  </a:cubicBezTo>
                  <a:cubicBezTo>
                    <a:pt x="616" y="688"/>
                    <a:pt x="619" y="689"/>
                    <a:pt x="622" y="689"/>
                  </a:cubicBezTo>
                  <a:cubicBezTo>
                    <a:pt x="623" y="689"/>
                    <a:pt x="623" y="689"/>
                    <a:pt x="624" y="689"/>
                  </a:cubicBezTo>
                  <a:cubicBezTo>
                    <a:pt x="624" y="688"/>
                    <a:pt x="624" y="687"/>
                    <a:pt x="624" y="687"/>
                  </a:cubicBezTo>
                  <a:cubicBezTo>
                    <a:pt x="626" y="692"/>
                    <a:pt x="628" y="698"/>
                    <a:pt x="631" y="702"/>
                  </a:cubicBezTo>
                  <a:cubicBezTo>
                    <a:pt x="634" y="707"/>
                    <a:pt x="641" y="708"/>
                    <a:pt x="642" y="715"/>
                  </a:cubicBezTo>
                  <a:cubicBezTo>
                    <a:pt x="643" y="716"/>
                    <a:pt x="643" y="717"/>
                    <a:pt x="643" y="718"/>
                  </a:cubicBezTo>
                  <a:cubicBezTo>
                    <a:pt x="643" y="718"/>
                    <a:pt x="642" y="718"/>
                    <a:pt x="642" y="719"/>
                  </a:cubicBezTo>
                  <a:cubicBezTo>
                    <a:pt x="643" y="720"/>
                    <a:pt x="644" y="720"/>
                    <a:pt x="645" y="721"/>
                  </a:cubicBezTo>
                  <a:cubicBezTo>
                    <a:pt x="647" y="725"/>
                    <a:pt x="645" y="732"/>
                    <a:pt x="648" y="735"/>
                  </a:cubicBezTo>
                  <a:cubicBezTo>
                    <a:pt x="648" y="735"/>
                    <a:pt x="648" y="735"/>
                    <a:pt x="647" y="735"/>
                  </a:cubicBezTo>
                  <a:cubicBezTo>
                    <a:pt x="645" y="735"/>
                    <a:pt x="643" y="733"/>
                    <a:pt x="645" y="731"/>
                  </a:cubicBezTo>
                  <a:cubicBezTo>
                    <a:pt x="643" y="731"/>
                    <a:pt x="641" y="731"/>
                    <a:pt x="641" y="728"/>
                  </a:cubicBezTo>
                  <a:cubicBezTo>
                    <a:pt x="641" y="729"/>
                    <a:pt x="638" y="732"/>
                    <a:pt x="639" y="733"/>
                  </a:cubicBezTo>
                  <a:cubicBezTo>
                    <a:pt x="639" y="735"/>
                    <a:pt x="643" y="735"/>
                    <a:pt x="645" y="736"/>
                  </a:cubicBezTo>
                  <a:cubicBezTo>
                    <a:pt x="644" y="737"/>
                    <a:pt x="646" y="736"/>
                    <a:pt x="647" y="737"/>
                  </a:cubicBezTo>
                  <a:cubicBezTo>
                    <a:pt x="648" y="738"/>
                    <a:pt x="649" y="739"/>
                    <a:pt x="650" y="740"/>
                  </a:cubicBezTo>
                  <a:cubicBezTo>
                    <a:pt x="651" y="741"/>
                    <a:pt x="653" y="743"/>
                    <a:pt x="653" y="745"/>
                  </a:cubicBezTo>
                  <a:cubicBezTo>
                    <a:pt x="655" y="745"/>
                    <a:pt x="657" y="743"/>
                    <a:pt x="659" y="743"/>
                  </a:cubicBezTo>
                  <a:cubicBezTo>
                    <a:pt x="659" y="743"/>
                    <a:pt x="660" y="744"/>
                    <a:pt x="660" y="744"/>
                  </a:cubicBezTo>
                  <a:cubicBezTo>
                    <a:pt x="660" y="744"/>
                    <a:pt x="661" y="745"/>
                    <a:pt x="662" y="746"/>
                  </a:cubicBezTo>
                  <a:cubicBezTo>
                    <a:pt x="663" y="746"/>
                    <a:pt x="662" y="747"/>
                    <a:pt x="663" y="747"/>
                  </a:cubicBezTo>
                  <a:cubicBezTo>
                    <a:pt x="663" y="747"/>
                    <a:pt x="663" y="747"/>
                    <a:pt x="663" y="747"/>
                  </a:cubicBezTo>
                  <a:cubicBezTo>
                    <a:pt x="665" y="746"/>
                    <a:pt x="663" y="741"/>
                    <a:pt x="662" y="739"/>
                  </a:cubicBezTo>
                  <a:cubicBezTo>
                    <a:pt x="662" y="740"/>
                    <a:pt x="661" y="741"/>
                    <a:pt x="659" y="741"/>
                  </a:cubicBezTo>
                  <a:cubicBezTo>
                    <a:pt x="659" y="741"/>
                    <a:pt x="659" y="741"/>
                    <a:pt x="659" y="741"/>
                  </a:cubicBezTo>
                  <a:cubicBezTo>
                    <a:pt x="664" y="731"/>
                    <a:pt x="672" y="722"/>
                    <a:pt x="680" y="713"/>
                  </a:cubicBezTo>
                  <a:cubicBezTo>
                    <a:pt x="684" y="708"/>
                    <a:pt x="692" y="707"/>
                    <a:pt x="697" y="705"/>
                  </a:cubicBezTo>
                  <a:cubicBezTo>
                    <a:pt x="699" y="703"/>
                    <a:pt x="700" y="701"/>
                    <a:pt x="701" y="698"/>
                  </a:cubicBezTo>
                  <a:cubicBezTo>
                    <a:pt x="704" y="692"/>
                    <a:pt x="707" y="687"/>
                    <a:pt x="711" y="682"/>
                  </a:cubicBezTo>
                  <a:cubicBezTo>
                    <a:pt x="712" y="680"/>
                    <a:pt x="713" y="681"/>
                    <a:pt x="714" y="678"/>
                  </a:cubicBezTo>
                  <a:cubicBezTo>
                    <a:pt x="715" y="676"/>
                    <a:pt x="716" y="675"/>
                    <a:pt x="716" y="673"/>
                  </a:cubicBezTo>
                  <a:cubicBezTo>
                    <a:pt x="717" y="672"/>
                    <a:pt x="715" y="671"/>
                    <a:pt x="715" y="670"/>
                  </a:cubicBezTo>
                  <a:cubicBezTo>
                    <a:pt x="715" y="669"/>
                    <a:pt x="715" y="668"/>
                    <a:pt x="715" y="667"/>
                  </a:cubicBezTo>
                  <a:cubicBezTo>
                    <a:pt x="717" y="669"/>
                    <a:pt x="718" y="673"/>
                    <a:pt x="720" y="676"/>
                  </a:cubicBezTo>
                  <a:cubicBezTo>
                    <a:pt x="721" y="678"/>
                    <a:pt x="722" y="681"/>
                    <a:pt x="723" y="683"/>
                  </a:cubicBezTo>
                  <a:cubicBezTo>
                    <a:pt x="724" y="685"/>
                    <a:pt x="720" y="686"/>
                    <a:pt x="719" y="687"/>
                  </a:cubicBezTo>
                  <a:cubicBezTo>
                    <a:pt x="719" y="688"/>
                    <a:pt x="718" y="688"/>
                    <a:pt x="717" y="689"/>
                  </a:cubicBezTo>
                  <a:cubicBezTo>
                    <a:pt x="717" y="691"/>
                    <a:pt x="720" y="694"/>
                    <a:pt x="719" y="696"/>
                  </a:cubicBezTo>
                  <a:cubicBezTo>
                    <a:pt x="718" y="700"/>
                    <a:pt x="717" y="703"/>
                    <a:pt x="714" y="706"/>
                  </a:cubicBezTo>
                  <a:cubicBezTo>
                    <a:pt x="712" y="709"/>
                    <a:pt x="710" y="713"/>
                    <a:pt x="709" y="717"/>
                  </a:cubicBezTo>
                  <a:cubicBezTo>
                    <a:pt x="706" y="725"/>
                    <a:pt x="710" y="734"/>
                    <a:pt x="706" y="742"/>
                  </a:cubicBezTo>
                  <a:cubicBezTo>
                    <a:pt x="706" y="744"/>
                    <a:pt x="704" y="744"/>
                    <a:pt x="702" y="744"/>
                  </a:cubicBezTo>
                  <a:cubicBezTo>
                    <a:pt x="701" y="744"/>
                    <a:pt x="700" y="744"/>
                    <a:pt x="700" y="744"/>
                  </a:cubicBezTo>
                  <a:cubicBezTo>
                    <a:pt x="699" y="744"/>
                    <a:pt x="699" y="744"/>
                    <a:pt x="698" y="744"/>
                  </a:cubicBezTo>
                  <a:cubicBezTo>
                    <a:pt x="697" y="744"/>
                    <a:pt x="697" y="744"/>
                    <a:pt x="696" y="744"/>
                  </a:cubicBezTo>
                  <a:cubicBezTo>
                    <a:pt x="696" y="744"/>
                    <a:pt x="696" y="744"/>
                    <a:pt x="696" y="744"/>
                  </a:cubicBezTo>
                  <a:cubicBezTo>
                    <a:pt x="695" y="744"/>
                    <a:pt x="695" y="744"/>
                    <a:pt x="695" y="744"/>
                  </a:cubicBezTo>
                  <a:cubicBezTo>
                    <a:pt x="694" y="744"/>
                    <a:pt x="694" y="744"/>
                    <a:pt x="694" y="744"/>
                  </a:cubicBezTo>
                  <a:cubicBezTo>
                    <a:pt x="694" y="744"/>
                    <a:pt x="694" y="744"/>
                    <a:pt x="693" y="745"/>
                  </a:cubicBezTo>
                  <a:cubicBezTo>
                    <a:pt x="692" y="746"/>
                    <a:pt x="691" y="749"/>
                    <a:pt x="691" y="750"/>
                  </a:cubicBezTo>
                  <a:cubicBezTo>
                    <a:pt x="692" y="752"/>
                    <a:pt x="689" y="753"/>
                    <a:pt x="688" y="755"/>
                  </a:cubicBezTo>
                  <a:cubicBezTo>
                    <a:pt x="695" y="754"/>
                    <a:pt x="701" y="752"/>
                    <a:pt x="707" y="751"/>
                  </a:cubicBezTo>
                  <a:cubicBezTo>
                    <a:pt x="708" y="751"/>
                    <a:pt x="708" y="751"/>
                    <a:pt x="708" y="751"/>
                  </a:cubicBezTo>
                  <a:cubicBezTo>
                    <a:pt x="709" y="751"/>
                    <a:pt x="710" y="751"/>
                    <a:pt x="710" y="752"/>
                  </a:cubicBezTo>
                  <a:cubicBezTo>
                    <a:pt x="711" y="752"/>
                    <a:pt x="712" y="753"/>
                    <a:pt x="712" y="753"/>
                  </a:cubicBezTo>
                  <a:cubicBezTo>
                    <a:pt x="713" y="753"/>
                    <a:pt x="713" y="752"/>
                    <a:pt x="714" y="752"/>
                  </a:cubicBezTo>
                  <a:cubicBezTo>
                    <a:pt x="717" y="750"/>
                    <a:pt x="718" y="741"/>
                    <a:pt x="718" y="737"/>
                  </a:cubicBezTo>
                  <a:cubicBezTo>
                    <a:pt x="719" y="731"/>
                    <a:pt x="721" y="726"/>
                    <a:pt x="724" y="721"/>
                  </a:cubicBezTo>
                  <a:cubicBezTo>
                    <a:pt x="725" y="720"/>
                    <a:pt x="725" y="720"/>
                    <a:pt x="725" y="719"/>
                  </a:cubicBezTo>
                  <a:cubicBezTo>
                    <a:pt x="728" y="723"/>
                    <a:pt x="730" y="727"/>
                    <a:pt x="732" y="731"/>
                  </a:cubicBezTo>
                  <a:cubicBezTo>
                    <a:pt x="733" y="733"/>
                    <a:pt x="734" y="735"/>
                    <a:pt x="735" y="736"/>
                  </a:cubicBezTo>
                  <a:cubicBezTo>
                    <a:pt x="736" y="737"/>
                    <a:pt x="738" y="738"/>
                    <a:pt x="738" y="739"/>
                  </a:cubicBezTo>
                  <a:cubicBezTo>
                    <a:pt x="739" y="742"/>
                    <a:pt x="737" y="747"/>
                    <a:pt x="737" y="750"/>
                  </a:cubicBezTo>
                  <a:cubicBezTo>
                    <a:pt x="736" y="755"/>
                    <a:pt x="736" y="757"/>
                    <a:pt x="732" y="760"/>
                  </a:cubicBezTo>
                  <a:cubicBezTo>
                    <a:pt x="730" y="762"/>
                    <a:pt x="726" y="764"/>
                    <a:pt x="725" y="767"/>
                  </a:cubicBezTo>
                  <a:cubicBezTo>
                    <a:pt x="728" y="768"/>
                    <a:pt x="730" y="768"/>
                    <a:pt x="733" y="768"/>
                  </a:cubicBezTo>
                  <a:cubicBezTo>
                    <a:pt x="733" y="768"/>
                    <a:pt x="734" y="768"/>
                    <a:pt x="734" y="768"/>
                  </a:cubicBezTo>
                  <a:cubicBezTo>
                    <a:pt x="736" y="768"/>
                    <a:pt x="739" y="766"/>
                    <a:pt x="741" y="765"/>
                  </a:cubicBezTo>
                  <a:cubicBezTo>
                    <a:pt x="744" y="765"/>
                    <a:pt x="748" y="764"/>
                    <a:pt x="751" y="762"/>
                  </a:cubicBezTo>
                  <a:cubicBezTo>
                    <a:pt x="754" y="760"/>
                    <a:pt x="756" y="759"/>
                    <a:pt x="760" y="758"/>
                  </a:cubicBezTo>
                  <a:cubicBezTo>
                    <a:pt x="759" y="762"/>
                    <a:pt x="757" y="763"/>
                    <a:pt x="758" y="766"/>
                  </a:cubicBezTo>
                  <a:cubicBezTo>
                    <a:pt x="758" y="767"/>
                    <a:pt x="759" y="770"/>
                    <a:pt x="759" y="770"/>
                  </a:cubicBezTo>
                  <a:cubicBezTo>
                    <a:pt x="759" y="770"/>
                    <a:pt x="758" y="770"/>
                    <a:pt x="758" y="770"/>
                  </a:cubicBezTo>
                  <a:cubicBezTo>
                    <a:pt x="758" y="769"/>
                    <a:pt x="758" y="767"/>
                    <a:pt x="758" y="766"/>
                  </a:cubicBezTo>
                  <a:cubicBezTo>
                    <a:pt x="758" y="764"/>
                    <a:pt x="757" y="763"/>
                    <a:pt x="756" y="763"/>
                  </a:cubicBezTo>
                  <a:cubicBezTo>
                    <a:pt x="755" y="763"/>
                    <a:pt x="753" y="766"/>
                    <a:pt x="752" y="766"/>
                  </a:cubicBezTo>
                  <a:cubicBezTo>
                    <a:pt x="754" y="767"/>
                    <a:pt x="755" y="769"/>
                    <a:pt x="757" y="770"/>
                  </a:cubicBezTo>
                  <a:cubicBezTo>
                    <a:pt x="754" y="768"/>
                    <a:pt x="751" y="766"/>
                    <a:pt x="749" y="766"/>
                  </a:cubicBezTo>
                  <a:cubicBezTo>
                    <a:pt x="749" y="766"/>
                    <a:pt x="749" y="766"/>
                    <a:pt x="749" y="766"/>
                  </a:cubicBezTo>
                  <a:cubicBezTo>
                    <a:pt x="753" y="770"/>
                    <a:pt x="757" y="775"/>
                    <a:pt x="762" y="779"/>
                  </a:cubicBezTo>
                  <a:cubicBezTo>
                    <a:pt x="765" y="783"/>
                    <a:pt x="770" y="787"/>
                    <a:pt x="772" y="792"/>
                  </a:cubicBezTo>
                  <a:cubicBezTo>
                    <a:pt x="773" y="794"/>
                    <a:pt x="776" y="798"/>
                    <a:pt x="776" y="802"/>
                  </a:cubicBezTo>
                  <a:cubicBezTo>
                    <a:pt x="776" y="806"/>
                    <a:pt x="772" y="811"/>
                    <a:pt x="773" y="815"/>
                  </a:cubicBezTo>
                  <a:cubicBezTo>
                    <a:pt x="773" y="822"/>
                    <a:pt x="778" y="826"/>
                    <a:pt x="783" y="830"/>
                  </a:cubicBezTo>
                  <a:cubicBezTo>
                    <a:pt x="787" y="833"/>
                    <a:pt x="790" y="840"/>
                    <a:pt x="793" y="844"/>
                  </a:cubicBezTo>
                  <a:cubicBezTo>
                    <a:pt x="795" y="848"/>
                    <a:pt x="805" y="848"/>
                    <a:pt x="808" y="849"/>
                  </a:cubicBezTo>
                  <a:cubicBezTo>
                    <a:pt x="808" y="849"/>
                    <a:pt x="808" y="849"/>
                    <a:pt x="808" y="849"/>
                  </a:cubicBezTo>
                  <a:cubicBezTo>
                    <a:pt x="808" y="851"/>
                    <a:pt x="818" y="853"/>
                    <a:pt x="820" y="856"/>
                  </a:cubicBezTo>
                  <a:cubicBezTo>
                    <a:pt x="821" y="858"/>
                    <a:pt x="820" y="859"/>
                    <a:pt x="821" y="860"/>
                  </a:cubicBezTo>
                  <a:cubicBezTo>
                    <a:pt x="821" y="861"/>
                    <a:pt x="822" y="861"/>
                    <a:pt x="823" y="861"/>
                  </a:cubicBezTo>
                  <a:cubicBezTo>
                    <a:pt x="825" y="861"/>
                    <a:pt x="828" y="859"/>
                    <a:pt x="829" y="859"/>
                  </a:cubicBezTo>
                  <a:cubicBezTo>
                    <a:pt x="832" y="858"/>
                    <a:pt x="834" y="857"/>
                    <a:pt x="835" y="857"/>
                  </a:cubicBezTo>
                  <a:cubicBezTo>
                    <a:pt x="837" y="857"/>
                    <a:pt x="839" y="858"/>
                    <a:pt x="842" y="859"/>
                  </a:cubicBezTo>
                  <a:cubicBezTo>
                    <a:pt x="843" y="859"/>
                    <a:pt x="844" y="860"/>
                    <a:pt x="845" y="860"/>
                  </a:cubicBezTo>
                  <a:cubicBezTo>
                    <a:pt x="846" y="860"/>
                    <a:pt x="847" y="859"/>
                    <a:pt x="848" y="859"/>
                  </a:cubicBezTo>
                  <a:cubicBezTo>
                    <a:pt x="849" y="859"/>
                    <a:pt x="850" y="859"/>
                    <a:pt x="851" y="859"/>
                  </a:cubicBezTo>
                  <a:cubicBezTo>
                    <a:pt x="851" y="859"/>
                    <a:pt x="852" y="859"/>
                    <a:pt x="852" y="859"/>
                  </a:cubicBezTo>
                  <a:cubicBezTo>
                    <a:pt x="855" y="860"/>
                    <a:pt x="861" y="865"/>
                    <a:pt x="863" y="866"/>
                  </a:cubicBezTo>
                  <a:cubicBezTo>
                    <a:pt x="866" y="868"/>
                    <a:pt x="881" y="875"/>
                    <a:pt x="884" y="875"/>
                  </a:cubicBezTo>
                  <a:cubicBezTo>
                    <a:pt x="884" y="875"/>
                    <a:pt x="884" y="875"/>
                    <a:pt x="884" y="875"/>
                  </a:cubicBezTo>
                  <a:cubicBezTo>
                    <a:pt x="892" y="869"/>
                    <a:pt x="898" y="863"/>
                    <a:pt x="906" y="858"/>
                  </a:cubicBezTo>
                  <a:cubicBezTo>
                    <a:pt x="909" y="857"/>
                    <a:pt x="913" y="857"/>
                    <a:pt x="915" y="855"/>
                  </a:cubicBezTo>
                  <a:cubicBezTo>
                    <a:pt x="917" y="854"/>
                    <a:pt x="918" y="851"/>
                    <a:pt x="916" y="851"/>
                  </a:cubicBezTo>
                  <a:cubicBezTo>
                    <a:pt x="915" y="851"/>
                    <a:pt x="915" y="851"/>
                    <a:pt x="915" y="851"/>
                  </a:cubicBezTo>
                  <a:cubicBezTo>
                    <a:pt x="915" y="851"/>
                    <a:pt x="911" y="852"/>
                    <a:pt x="909" y="852"/>
                  </a:cubicBezTo>
                  <a:cubicBezTo>
                    <a:pt x="908" y="852"/>
                    <a:pt x="907" y="852"/>
                    <a:pt x="907" y="850"/>
                  </a:cubicBezTo>
                  <a:cubicBezTo>
                    <a:pt x="909" y="849"/>
                    <a:pt x="916" y="847"/>
                    <a:pt x="919" y="845"/>
                  </a:cubicBezTo>
                  <a:cubicBezTo>
                    <a:pt x="920" y="844"/>
                    <a:pt x="922" y="843"/>
                    <a:pt x="923" y="842"/>
                  </a:cubicBezTo>
                  <a:cubicBezTo>
                    <a:pt x="926" y="845"/>
                    <a:pt x="929" y="849"/>
                    <a:pt x="928" y="853"/>
                  </a:cubicBezTo>
                  <a:cubicBezTo>
                    <a:pt x="928" y="854"/>
                    <a:pt x="926" y="856"/>
                    <a:pt x="926" y="856"/>
                  </a:cubicBezTo>
                  <a:cubicBezTo>
                    <a:pt x="924" y="858"/>
                    <a:pt x="923" y="860"/>
                    <a:pt x="921" y="860"/>
                  </a:cubicBezTo>
                  <a:cubicBezTo>
                    <a:pt x="920" y="860"/>
                    <a:pt x="919" y="859"/>
                    <a:pt x="918" y="859"/>
                  </a:cubicBezTo>
                  <a:cubicBezTo>
                    <a:pt x="919" y="860"/>
                    <a:pt x="920" y="862"/>
                    <a:pt x="921" y="862"/>
                  </a:cubicBezTo>
                  <a:cubicBezTo>
                    <a:pt x="922" y="863"/>
                    <a:pt x="922" y="863"/>
                    <a:pt x="923" y="863"/>
                  </a:cubicBezTo>
                  <a:cubicBezTo>
                    <a:pt x="923" y="863"/>
                    <a:pt x="923" y="863"/>
                    <a:pt x="924" y="863"/>
                  </a:cubicBezTo>
                  <a:cubicBezTo>
                    <a:pt x="927" y="862"/>
                    <a:pt x="934" y="859"/>
                    <a:pt x="934" y="857"/>
                  </a:cubicBezTo>
                  <a:cubicBezTo>
                    <a:pt x="935" y="857"/>
                    <a:pt x="935" y="857"/>
                    <a:pt x="935" y="857"/>
                  </a:cubicBezTo>
                  <a:cubicBezTo>
                    <a:pt x="936" y="857"/>
                    <a:pt x="938" y="856"/>
                    <a:pt x="939" y="855"/>
                  </a:cubicBezTo>
                  <a:cubicBezTo>
                    <a:pt x="940" y="856"/>
                    <a:pt x="940" y="858"/>
                    <a:pt x="940" y="859"/>
                  </a:cubicBezTo>
                  <a:cubicBezTo>
                    <a:pt x="940" y="859"/>
                    <a:pt x="940" y="859"/>
                    <a:pt x="940" y="859"/>
                  </a:cubicBezTo>
                  <a:cubicBezTo>
                    <a:pt x="940" y="859"/>
                    <a:pt x="940" y="859"/>
                    <a:pt x="940" y="859"/>
                  </a:cubicBezTo>
                  <a:cubicBezTo>
                    <a:pt x="939" y="861"/>
                    <a:pt x="938" y="863"/>
                    <a:pt x="937" y="864"/>
                  </a:cubicBezTo>
                  <a:cubicBezTo>
                    <a:pt x="938" y="865"/>
                    <a:pt x="939" y="866"/>
                    <a:pt x="940" y="866"/>
                  </a:cubicBezTo>
                  <a:cubicBezTo>
                    <a:pt x="942" y="868"/>
                    <a:pt x="943" y="870"/>
                    <a:pt x="944" y="871"/>
                  </a:cubicBezTo>
                  <a:cubicBezTo>
                    <a:pt x="945" y="872"/>
                    <a:pt x="950" y="877"/>
                    <a:pt x="952" y="877"/>
                  </a:cubicBezTo>
                  <a:cubicBezTo>
                    <a:pt x="953" y="877"/>
                    <a:pt x="953" y="877"/>
                    <a:pt x="953" y="876"/>
                  </a:cubicBezTo>
                  <a:cubicBezTo>
                    <a:pt x="954" y="875"/>
                    <a:pt x="955" y="875"/>
                    <a:pt x="956" y="875"/>
                  </a:cubicBezTo>
                  <a:cubicBezTo>
                    <a:pt x="958" y="875"/>
                    <a:pt x="960" y="877"/>
                    <a:pt x="962" y="879"/>
                  </a:cubicBezTo>
                  <a:cubicBezTo>
                    <a:pt x="964" y="881"/>
                    <a:pt x="963" y="885"/>
                    <a:pt x="966" y="885"/>
                  </a:cubicBezTo>
                  <a:cubicBezTo>
                    <a:pt x="966" y="882"/>
                    <a:pt x="966" y="879"/>
                    <a:pt x="965" y="876"/>
                  </a:cubicBezTo>
                  <a:cubicBezTo>
                    <a:pt x="964" y="877"/>
                    <a:pt x="964" y="877"/>
                    <a:pt x="963" y="877"/>
                  </a:cubicBezTo>
                  <a:cubicBezTo>
                    <a:pt x="962" y="877"/>
                    <a:pt x="961" y="874"/>
                    <a:pt x="960" y="872"/>
                  </a:cubicBezTo>
                  <a:cubicBezTo>
                    <a:pt x="963" y="871"/>
                    <a:pt x="971" y="869"/>
                    <a:pt x="976" y="869"/>
                  </a:cubicBezTo>
                  <a:cubicBezTo>
                    <a:pt x="977" y="869"/>
                    <a:pt x="978" y="869"/>
                    <a:pt x="979" y="870"/>
                  </a:cubicBezTo>
                  <a:cubicBezTo>
                    <a:pt x="984" y="865"/>
                    <a:pt x="989" y="860"/>
                    <a:pt x="995" y="855"/>
                  </a:cubicBezTo>
                  <a:cubicBezTo>
                    <a:pt x="1001" y="851"/>
                    <a:pt x="1009" y="842"/>
                    <a:pt x="1017" y="842"/>
                  </a:cubicBezTo>
                  <a:cubicBezTo>
                    <a:pt x="1026" y="841"/>
                    <a:pt x="1034" y="840"/>
                    <a:pt x="1043" y="840"/>
                  </a:cubicBezTo>
                  <a:cubicBezTo>
                    <a:pt x="1043" y="840"/>
                    <a:pt x="1043" y="840"/>
                    <a:pt x="1044" y="840"/>
                  </a:cubicBezTo>
                  <a:cubicBezTo>
                    <a:pt x="1046" y="840"/>
                    <a:pt x="1048" y="840"/>
                    <a:pt x="1049" y="840"/>
                  </a:cubicBezTo>
                  <a:cubicBezTo>
                    <a:pt x="1049" y="840"/>
                    <a:pt x="1049" y="840"/>
                    <a:pt x="1049" y="840"/>
                  </a:cubicBezTo>
                  <a:cubicBezTo>
                    <a:pt x="1052" y="840"/>
                    <a:pt x="1055" y="839"/>
                    <a:pt x="1057" y="837"/>
                  </a:cubicBezTo>
                  <a:cubicBezTo>
                    <a:pt x="1059" y="836"/>
                    <a:pt x="1062" y="831"/>
                    <a:pt x="1063" y="831"/>
                  </a:cubicBezTo>
                  <a:cubicBezTo>
                    <a:pt x="1064" y="830"/>
                    <a:pt x="1064" y="830"/>
                    <a:pt x="1065" y="830"/>
                  </a:cubicBezTo>
                  <a:cubicBezTo>
                    <a:pt x="1066" y="830"/>
                    <a:pt x="1066" y="830"/>
                    <a:pt x="1067" y="831"/>
                  </a:cubicBezTo>
                  <a:cubicBezTo>
                    <a:pt x="1067" y="831"/>
                    <a:pt x="1068" y="831"/>
                    <a:pt x="1068" y="831"/>
                  </a:cubicBezTo>
                  <a:cubicBezTo>
                    <a:pt x="1069" y="831"/>
                    <a:pt x="1070" y="830"/>
                    <a:pt x="1071" y="828"/>
                  </a:cubicBezTo>
                  <a:cubicBezTo>
                    <a:pt x="1071" y="825"/>
                    <a:pt x="1072" y="823"/>
                    <a:pt x="1071" y="821"/>
                  </a:cubicBezTo>
                  <a:cubicBezTo>
                    <a:pt x="1071" y="818"/>
                    <a:pt x="1069" y="819"/>
                    <a:pt x="1068" y="817"/>
                  </a:cubicBezTo>
                  <a:cubicBezTo>
                    <a:pt x="1067" y="815"/>
                    <a:pt x="1068" y="813"/>
                    <a:pt x="1068" y="811"/>
                  </a:cubicBezTo>
                  <a:cubicBezTo>
                    <a:pt x="1068" y="807"/>
                    <a:pt x="1071" y="802"/>
                    <a:pt x="1072" y="797"/>
                  </a:cubicBezTo>
                  <a:cubicBezTo>
                    <a:pt x="1074" y="789"/>
                    <a:pt x="1075" y="778"/>
                    <a:pt x="1080" y="770"/>
                  </a:cubicBezTo>
                  <a:cubicBezTo>
                    <a:pt x="1082" y="765"/>
                    <a:pt x="1085" y="759"/>
                    <a:pt x="1088" y="754"/>
                  </a:cubicBezTo>
                  <a:cubicBezTo>
                    <a:pt x="1089" y="752"/>
                    <a:pt x="1096" y="753"/>
                    <a:pt x="1091" y="749"/>
                  </a:cubicBezTo>
                  <a:cubicBezTo>
                    <a:pt x="1096" y="749"/>
                    <a:pt x="1094" y="749"/>
                    <a:pt x="1094" y="747"/>
                  </a:cubicBezTo>
                  <a:cubicBezTo>
                    <a:pt x="1094" y="745"/>
                    <a:pt x="1093" y="743"/>
                    <a:pt x="1093" y="741"/>
                  </a:cubicBezTo>
                  <a:cubicBezTo>
                    <a:pt x="1093" y="739"/>
                    <a:pt x="1096" y="736"/>
                    <a:pt x="1097" y="734"/>
                  </a:cubicBezTo>
                  <a:cubicBezTo>
                    <a:pt x="1096" y="734"/>
                    <a:pt x="1095" y="733"/>
                    <a:pt x="1094" y="733"/>
                  </a:cubicBezTo>
                  <a:cubicBezTo>
                    <a:pt x="1096" y="729"/>
                    <a:pt x="1099" y="725"/>
                    <a:pt x="1101" y="721"/>
                  </a:cubicBezTo>
                  <a:cubicBezTo>
                    <a:pt x="1101" y="720"/>
                    <a:pt x="1102" y="719"/>
                    <a:pt x="1103" y="718"/>
                  </a:cubicBezTo>
                  <a:cubicBezTo>
                    <a:pt x="1100" y="716"/>
                    <a:pt x="1098" y="714"/>
                    <a:pt x="1098" y="710"/>
                  </a:cubicBezTo>
                  <a:cubicBezTo>
                    <a:pt x="1098" y="706"/>
                    <a:pt x="1102" y="702"/>
                    <a:pt x="1106" y="702"/>
                  </a:cubicBezTo>
                  <a:cubicBezTo>
                    <a:pt x="1107" y="702"/>
                    <a:pt x="1108" y="703"/>
                    <a:pt x="1109" y="703"/>
                  </a:cubicBezTo>
                  <a:cubicBezTo>
                    <a:pt x="1109" y="701"/>
                    <a:pt x="1108" y="700"/>
                    <a:pt x="1107" y="699"/>
                  </a:cubicBezTo>
                  <a:cubicBezTo>
                    <a:pt x="1107" y="700"/>
                    <a:pt x="1108" y="700"/>
                    <a:pt x="1108" y="700"/>
                  </a:cubicBezTo>
                  <a:cubicBezTo>
                    <a:pt x="1109" y="700"/>
                    <a:pt x="1109" y="698"/>
                    <a:pt x="1110" y="697"/>
                  </a:cubicBezTo>
                  <a:cubicBezTo>
                    <a:pt x="1113" y="693"/>
                    <a:pt x="1116" y="690"/>
                    <a:pt x="1119" y="685"/>
                  </a:cubicBezTo>
                  <a:cubicBezTo>
                    <a:pt x="1121" y="681"/>
                    <a:pt x="1122" y="678"/>
                    <a:pt x="1128" y="676"/>
                  </a:cubicBezTo>
                  <a:cubicBezTo>
                    <a:pt x="1130" y="675"/>
                    <a:pt x="1138" y="673"/>
                    <a:pt x="1131" y="672"/>
                  </a:cubicBezTo>
                  <a:cubicBezTo>
                    <a:pt x="1135" y="669"/>
                    <a:pt x="1143" y="666"/>
                    <a:pt x="1144" y="663"/>
                  </a:cubicBezTo>
                  <a:cubicBezTo>
                    <a:pt x="1145" y="661"/>
                    <a:pt x="1144" y="659"/>
                    <a:pt x="1144" y="658"/>
                  </a:cubicBezTo>
                  <a:cubicBezTo>
                    <a:pt x="1145" y="657"/>
                    <a:pt x="1144" y="652"/>
                    <a:pt x="1144" y="652"/>
                  </a:cubicBezTo>
                  <a:cubicBezTo>
                    <a:pt x="1144" y="652"/>
                    <a:pt x="1144" y="652"/>
                    <a:pt x="1144" y="652"/>
                  </a:cubicBezTo>
                  <a:cubicBezTo>
                    <a:pt x="1147" y="649"/>
                    <a:pt x="1149" y="645"/>
                    <a:pt x="1151" y="642"/>
                  </a:cubicBezTo>
                  <a:cubicBezTo>
                    <a:pt x="1155" y="637"/>
                    <a:pt x="1157" y="629"/>
                    <a:pt x="1157" y="623"/>
                  </a:cubicBezTo>
                  <a:cubicBezTo>
                    <a:pt x="1158" y="616"/>
                    <a:pt x="1157" y="608"/>
                    <a:pt x="1159" y="600"/>
                  </a:cubicBezTo>
                  <a:cubicBezTo>
                    <a:pt x="1162" y="593"/>
                    <a:pt x="1164" y="586"/>
                    <a:pt x="1166" y="579"/>
                  </a:cubicBezTo>
                  <a:cubicBezTo>
                    <a:pt x="1168" y="572"/>
                    <a:pt x="1167" y="565"/>
                    <a:pt x="1170" y="558"/>
                  </a:cubicBezTo>
                  <a:cubicBezTo>
                    <a:pt x="1171" y="554"/>
                    <a:pt x="1173" y="551"/>
                    <a:pt x="1174" y="548"/>
                  </a:cubicBezTo>
                  <a:cubicBezTo>
                    <a:pt x="1176" y="545"/>
                    <a:pt x="1175" y="541"/>
                    <a:pt x="1174" y="538"/>
                  </a:cubicBezTo>
                  <a:cubicBezTo>
                    <a:pt x="1173" y="529"/>
                    <a:pt x="1172" y="520"/>
                    <a:pt x="1167" y="512"/>
                  </a:cubicBezTo>
                  <a:cubicBezTo>
                    <a:pt x="1165" y="509"/>
                    <a:pt x="1159" y="502"/>
                    <a:pt x="1160" y="499"/>
                  </a:cubicBezTo>
                  <a:cubicBezTo>
                    <a:pt x="1160" y="498"/>
                    <a:pt x="1160" y="497"/>
                    <a:pt x="1160" y="495"/>
                  </a:cubicBezTo>
                  <a:cubicBezTo>
                    <a:pt x="1160" y="494"/>
                    <a:pt x="1160" y="494"/>
                    <a:pt x="1161" y="494"/>
                  </a:cubicBezTo>
                  <a:cubicBezTo>
                    <a:pt x="1161" y="494"/>
                    <a:pt x="1161" y="494"/>
                    <a:pt x="1161" y="494"/>
                  </a:cubicBezTo>
                  <a:cubicBezTo>
                    <a:pt x="1161" y="494"/>
                    <a:pt x="1161" y="494"/>
                    <a:pt x="1161" y="494"/>
                  </a:cubicBezTo>
                  <a:cubicBezTo>
                    <a:pt x="1161" y="494"/>
                    <a:pt x="1162" y="494"/>
                    <a:pt x="1162" y="494"/>
                  </a:cubicBezTo>
                  <a:cubicBezTo>
                    <a:pt x="1163" y="493"/>
                    <a:pt x="1163" y="494"/>
                    <a:pt x="1164" y="492"/>
                  </a:cubicBezTo>
                  <a:cubicBezTo>
                    <a:pt x="1165" y="490"/>
                    <a:pt x="1162" y="483"/>
                    <a:pt x="1161" y="480"/>
                  </a:cubicBezTo>
                  <a:cubicBezTo>
                    <a:pt x="1161" y="476"/>
                    <a:pt x="1159" y="470"/>
                    <a:pt x="1161" y="466"/>
                  </a:cubicBezTo>
                  <a:cubicBezTo>
                    <a:pt x="1161" y="463"/>
                    <a:pt x="1162" y="461"/>
                    <a:pt x="1164" y="458"/>
                  </a:cubicBezTo>
                  <a:cubicBezTo>
                    <a:pt x="1162" y="458"/>
                    <a:pt x="1159" y="458"/>
                    <a:pt x="1158" y="457"/>
                  </a:cubicBezTo>
                  <a:cubicBezTo>
                    <a:pt x="1157" y="454"/>
                    <a:pt x="1156" y="452"/>
                    <a:pt x="1155" y="450"/>
                  </a:cubicBezTo>
                  <a:cubicBezTo>
                    <a:pt x="1155" y="447"/>
                    <a:pt x="1154" y="444"/>
                    <a:pt x="1155" y="442"/>
                  </a:cubicBezTo>
                  <a:cubicBezTo>
                    <a:pt x="1155" y="441"/>
                    <a:pt x="1156" y="440"/>
                    <a:pt x="1155" y="439"/>
                  </a:cubicBezTo>
                  <a:cubicBezTo>
                    <a:pt x="1155" y="436"/>
                    <a:pt x="1150" y="436"/>
                    <a:pt x="1147" y="435"/>
                  </a:cubicBezTo>
                  <a:cubicBezTo>
                    <a:pt x="1144" y="434"/>
                    <a:pt x="1143" y="424"/>
                    <a:pt x="1141" y="421"/>
                  </a:cubicBezTo>
                  <a:cubicBezTo>
                    <a:pt x="1139" y="419"/>
                    <a:pt x="1135" y="417"/>
                    <a:pt x="1133" y="416"/>
                  </a:cubicBezTo>
                  <a:cubicBezTo>
                    <a:pt x="1130" y="414"/>
                    <a:pt x="1130" y="412"/>
                    <a:pt x="1129" y="409"/>
                  </a:cubicBezTo>
                  <a:cubicBezTo>
                    <a:pt x="1128" y="407"/>
                    <a:pt x="1128" y="405"/>
                    <a:pt x="1126" y="404"/>
                  </a:cubicBezTo>
                  <a:cubicBezTo>
                    <a:pt x="1124" y="401"/>
                    <a:pt x="1123" y="399"/>
                    <a:pt x="1119" y="399"/>
                  </a:cubicBezTo>
                  <a:cubicBezTo>
                    <a:pt x="1119" y="399"/>
                    <a:pt x="1119" y="399"/>
                    <a:pt x="1119" y="399"/>
                  </a:cubicBezTo>
                  <a:cubicBezTo>
                    <a:pt x="1119" y="399"/>
                    <a:pt x="1118" y="399"/>
                    <a:pt x="1118" y="399"/>
                  </a:cubicBezTo>
                  <a:cubicBezTo>
                    <a:pt x="1116" y="399"/>
                    <a:pt x="1114" y="397"/>
                    <a:pt x="1112" y="395"/>
                  </a:cubicBezTo>
                  <a:cubicBezTo>
                    <a:pt x="1110" y="393"/>
                    <a:pt x="1109" y="391"/>
                    <a:pt x="1107" y="391"/>
                  </a:cubicBezTo>
                  <a:cubicBezTo>
                    <a:pt x="1107" y="391"/>
                    <a:pt x="1106" y="391"/>
                    <a:pt x="1106" y="391"/>
                  </a:cubicBezTo>
                  <a:cubicBezTo>
                    <a:pt x="1104" y="386"/>
                    <a:pt x="1098" y="387"/>
                    <a:pt x="1095" y="383"/>
                  </a:cubicBezTo>
                  <a:cubicBezTo>
                    <a:pt x="1093" y="381"/>
                    <a:pt x="1093" y="375"/>
                    <a:pt x="1093" y="371"/>
                  </a:cubicBezTo>
                  <a:cubicBezTo>
                    <a:pt x="1092" y="369"/>
                    <a:pt x="1093" y="367"/>
                    <a:pt x="1092" y="365"/>
                  </a:cubicBezTo>
                  <a:cubicBezTo>
                    <a:pt x="1096" y="365"/>
                    <a:pt x="1093" y="355"/>
                    <a:pt x="1093" y="353"/>
                  </a:cubicBezTo>
                  <a:cubicBezTo>
                    <a:pt x="1093" y="354"/>
                    <a:pt x="1092" y="355"/>
                    <a:pt x="1092" y="355"/>
                  </a:cubicBezTo>
                  <a:cubicBezTo>
                    <a:pt x="1091" y="355"/>
                    <a:pt x="1091" y="354"/>
                    <a:pt x="1090" y="353"/>
                  </a:cubicBezTo>
                  <a:cubicBezTo>
                    <a:pt x="1090" y="352"/>
                    <a:pt x="1090" y="352"/>
                    <a:pt x="1091" y="352"/>
                  </a:cubicBezTo>
                  <a:cubicBezTo>
                    <a:pt x="1091" y="352"/>
                    <a:pt x="1091" y="352"/>
                    <a:pt x="1091" y="352"/>
                  </a:cubicBezTo>
                  <a:cubicBezTo>
                    <a:pt x="1091" y="352"/>
                    <a:pt x="1092" y="352"/>
                    <a:pt x="1092" y="352"/>
                  </a:cubicBezTo>
                  <a:cubicBezTo>
                    <a:pt x="1092" y="352"/>
                    <a:pt x="1092" y="352"/>
                    <a:pt x="1092" y="352"/>
                  </a:cubicBezTo>
                  <a:cubicBezTo>
                    <a:pt x="1092" y="350"/>
                    <a:pt x="1091" y="350"/>
                    <a:pt x="1090" y="348"/>
                  </a:cubicBezTo>
                  <a:cubicBezTo>
                    <a:pt x="1087" y="350"/>
                    <a:pt x="1087" y="352"/>
                    <a:pt x="1088" y="355"/>
                  </a:cubicBezTo>
                  <a:cubicBezTo>
                    <a:pt x="1085" y="353"/>
                    <a:pt x="1083" y="351"/>
                    <a:pt x="1080" y="350"/>
                  </a:cubicBezTo>
                  <a:cubicBezTo>
                    <a:pt x="1077" y="348"/>
                    <a:pt x="1077" y="348"/>
                    <a:pt x="1076" y="347"/>
                  </a:cubicBezTo>
                  <a:cubicBezTo>
                    <a:pt x="1075" y="345"/>
                    <a:pt x="1074" y="343"/>
                    <a:pt x="1072" y="341"/>
                  </a:cubicBezTo>
                  <a:cubicBezTo>
                    <a:pt x="1071" y="346"/>
                    <a:pt x="1070" y="351"/>
                    <a:pt x="1072" y="356"/>
                  </a:cubicBezTo>
                  <a:cubicBezTo>
                    <a:pt x="1069" y="354"/>
                    <a:pt x="1067" y="351"/>
                    <a:pt x="1064" y="351"/>
                  </a:cubicBezTo>
                  <a:cubicBezTo>
                    <a:pt x="1063" y="351"/>
                    <a:pt x="1062" y="351"/>
                    <a:pt x="1061" y="352"/>
                  </a:cubicBezTo>
                  <a:cubicBezTo>
                    <a:pt x="1058" y="343"/>
                    <a:pt x="1058" y="334"/>
                    <a:pt x="1054" y="326"/>
                  </a:cubicBezTo>
                  <a:cubicBezTo>
                    <a:pt x="1053" y="321"/>
                    <a:pt x="1049" y="318"/>
                    <a:pt x="1048" y="313"/>
                  </a:cubicBezTo>
                  <a:cubicBezTo>
                    <a:pt x="1048" y="309"/>
                    <a:pt x="1048" y="309"/>
                    <a:pt x="1044" y="307"/>
                  </a:cubicBezTo>
                  <a:cubicBezTo>
                    <a:pt x="1039" y="304"/>
                    <a:pt x="1037" y="302"/>
                    <a:pt x="1034" y="297"/>
                  </a:cubicBezTo>
                  <a:cubicBezTo>
                    <a:pt x="1033" y="296"/>
                    <a:pt x="1035" y="289"/>
                    <a:pt x="1036" y="289"/>
                  </a:cubicBezTo>
                  <a:cubicBezTo>
                    <a:pt x="1036" y="289"/>
                    <a:pt x="1036" y="289"/>
                    <a:pt x="1036" y="289"/>
                  </a:cubicBezTo>
                  <a:cubicBezTo>
                    <a:pt x="1036" y="289"/>
                    <a:pt x="1037" y="290"/>
                    <a:pt x="1037" y="291"/>
                  </a:cubicBezTo>
                  <a:cubicBezTo>
                    <a:pt x="1038" y="291"/>
                    <a:pt x="1038" y="292"/>
                    <a:pt x="1039" y="292"/>
                  </a:cubicBezTo>
                  <a:cubicBezTo>
                    <a:pt x="1039" y="292"/>
                    <a:pt x="1039" y="292"/>
                    <a:pt x="1039" y="292"/>
                  </a:cubicBezTo>
                  <a:cubicBezTo>
                    <a:pt x="1036" y="287"/>
                    <a:pt x="1031" y="283"/>
                    <a:pt x="1029" y="278"/>
                  </a:cubicBezTo>
                  <a:cubicBezTo>
                    <a:pt x="1027" y="279"/>
                    <a:pt x="1024" y="280"/>
                    <a:pt x="1026" y="282"/>
                  </a:cubicBezTo>
                  <a:cubicBezTo>
                    <a:pt x="1026" y="282"/>
                    <a:pt x="1025" y="282"/>
                    <a:pt x="1025" y="282"/>
                  </a:cubicBezTo>
                  <a:cubicBezTo>
                    <a:pt x="1023" y="282"/>
                    <a:pt x="1022" y="276"/>
                    <a:pt x="1020" y="275"/>
                  </a:cubicBezTo>
                  <a:cubicBezTo>
                    <a:pt x="1017" y="273"/>
                    <a:pt x="1013" y="271"/>
                    <a:pt x="1009" y="269"/>
                  </a:cubicBezTo>
                  <a:cubicBezTo>
                    <a:pt x="1008" y="269"/>
                    <a:pt x="1007" y="268"/>
                    <a:pt x="1007" y="268"/>
                  </a:cubicBezTo>
                  <a:cubicBezTo>
                    <a:pt x="1006" y="268"/>
                    <a:pt x="1006" y="269"/>
                    <a:pt x="1004" y="271"/>
                  </a:cubicBezTo>
                  <a:cubicBezTo>
                    <a:pt x="1002" y="267"/>
                    <a:pt x="1000" y="263"/>
                    <a:pt x="998" y="260"/>
                  </a:cubicBezTo>
                  <a:cubicBezTo>
                    <a:pt x="997" y="259"/>
                    <a:pt x="997" y="256"/>
                    <a:pt x="996" y="256"/>
                  </a:cubicBezTo>
                  <a:cubicBezTo>
                    <a:pt x="996" y="256"/>
                    <a:pt x="996" y="256"/>
                    <a:pt x="996" y="256"/>
                  </a:cubicBezTo>
                  <a:cubicBezTo>
                    <a:pt x="995" y="256"/>
                    <a:pt x="994" y="256"/>
                    <a:pt x="993" y="257"/>
                  </a:cubicBezTo>
                  <a:cubicBezTo>
                    <a:pt x="993" y="258"/>
                    <a:pt x="992" y="259"/>
                    <a:pt x="991" y="259"/>
                  </a:cubicBezTo>
                  <a:cubicBezTo>
                    <a:pt x="991" y="259"/>
                    <a:pt x="991" y="258"/>
                    <a:pt x="991" y="258"/>
                  </a:cubicBezTo>
                  <a:cubicBezTo>
                    <a:pt x="989" y="258"/>
                    <a:pt x="986" y="257"/>
                    <a:pt x="985" y="255"/>
                  </a:cubicBezTo>
                  <a:cubicBezTo>
                    <a:pt x="985" y="255"/>
                    <a:pt x="986" y="252"/>
                    <a:pt x="985" y="252"/>
                  </a:cubicBezTo>
                  <a:cubicBezTo>
                    <a:pt x="984" y="252"/>
                    <a:pt x="984" y="252"/>
                    <a:pt x="984" y="252"/>
                  </a:cubicBezTo>
                  <a:cubicBezTo>
                    <a:pt x="983" y="252"/>
                    <a:pt x="983" y="253"/>
                    <a:pt x="982" y="253"/>
                  </a:cubicBezTo>
                  <a:cubicBezTo>
                    <a:pt x="981" y="254"/>
                    <a:pt x="981" y="255"/>
                    <a:pt x="980" y="255"/>
                  </a:cubicBezTo>
                  <a:cubicBezTo>
                    <a:pt x="980" y="255"/>
                    <a:pt x="980" y="255"/>
                    <a:pt x="980" y="255"/>
                  </a:cubicBezTo>
                  <a:cubicBezTo>
                    <a:pt x="976" y="253"/>
                    <a:pt x="972" y="251"/>
                    <a:pt x="969" y="248"/>
                  </a:cubicBezTo>
                  <a:cubicBezTo>
                    <a:pt x="964" y="244"/>
                    <a:pt x="963" y="244"/>
                    <a:pt x="963" y="237"/>
                  </a:cubicBezTo>
                  <a:cubicBezTo>
                    <a:pt x="964" y="236"/>
                    <a:pt x="964" y="235"/>
                    <a:pt x="964" y="234"/>
                  </a:cubicBezTo>
                  <a:cubicBezTo>
                    <a:pt x="964" y="230"/>
                    <a:pt x="957" y="228"/>
                    <a:pt x="957" y="225"/>
                  </a:cubicBezTo>
                  <a:cubicBezTo>
                    <a:pt x="957" y="216"/>
                    <a:pt x="958" y="207"/>
                    <a:pt x="956" y="199"/>
                  </a:cubicBezTo>
                  <a:cubicBezTo>
                    <a:pt x="956" y="195"/>
                    <a:pt x="953" y="192"/>
                    <a:pt x="953" y="188"/>
                  </a:cubicBezTo>
                  <a:cubicBezTo>
                    <a:pt x="952" y="187"/>
                    <a:pt x="953" y="184"/>
                    <a:pt x="953" y="184"/>
                  </a:cubicBezTo>
                  <a:cubicBezTo>
                    <a:pt x="952" y="183"/>
                    <a:pt x="953" y="183"/>
                    <a:pt x="953" y="183"/>
                  </a:cubicBezTo>
                  <a:cubicBezTo>
                    <a:pt x="951" y="183"/>
                    <a:pt x="950" y="184"/>
                    <a:pt x="948" y="185"/>
                  </a:cubicBezTo>
                  <a:cubicBezTo>
                    <a:pt x="949" y="181"/>
                    <a:pt x="941" y="174"/>
                    <a:pt x="939" y="171"/>
                  </a:cubicBezTo>
                  <a:cubicBezTo>
                    <a:pt x="938" y="170"/>
                    <a:pt x="938" y="171"/>
                    <a:pt x="937" y="168"/>
                  </a:cubicBezTo>
                  <a:cubicBezTo>
                    <a:pt x="936" y="164"/>
                    <a:pt x="937" y="159"/>
                    <a:pt x="937" y="155"/>
                  </a:cubicBezTo>
                  <a:cubicBezTo>
                    <a:pt x="936" y="148"/>
                    <a:pt x="932" y="141"/>
                    <a:pt x="934" y="135"/>
                  </a:cubicBezTo>
                  <a:cubicBezTo>
                    <a:pt x="935" y="133"/>
                    <a:pt x="936" y="135"/>
                    <a:pt x="934" y="131"/>
                  </a:cubicBezTo>
                  <a:cubicBezTo>
                    <a:pt x="933" y="128"/>
                    <a:pt x="935" y="129"/>
                    <a:pt x="935" y="126"/>
                  </a:cubicBezTo>
                  <a:cubicBezTo>
                    <a:pt x="934" y="124"/>
                    <a:pt x="933" y="123"/>
                    <a:pt x="929" y="121"/>
                  </a:cubicBezTo>
                  <a:cubicBezTo>
                    <a:pt x="928" y="121"/>
                    <a:pt x="927" y="120"/>
                    <a:pt x="925" y="119"/>
                  </a:cubicBezTo>
                  <a:cubicBezTo>
                    <a:pt x="923" y="118"/>
                    <a:pt x="920" y="116"/>
                    <a:pt x="918" y="114"/>
                  </a:cubicBezTo>
                  <a:cubicBezTo>
                    <a:pt x="918" y="113"/>
                    <a:pt x="916" y="113"/>
                    <a:pt x="915" y="112"/>
                  </a:cubicBezTo>
                  <a:cubicBezTo>
                    <a:pt x="913" y="110"/>
                    <a:pt x="912" y="106"/>
                    <a:pt x="909" y="104"/>
                  </a:cubicBezTo>
                  <a:cubicBezTo>
                    <a:pt x="908" y="105"/>
                    <a:pt x="907" y="106"/>
                    <a:pt x="906" y="106"/>
                  </a:cubicBezTo>
                  <a:cubicBezTo>
                    <a:pt x="906" y="106"/>
                    <a:pt x="906" y="106"/>
                    <a:pt x="906" y="106"/>
                  </a:cubicBezTo>
                  <a:cubicBezTo>
                    <a:pt x="905" y="106"/>
                    <a:pt x="905" y="105"/>
                    <a:pt x="904" y="105"/>
                  </a:cubicBezTo>
                  <a:cubicBezTo>
                    <a:pt x="904" y="105"/>
                    <a:pt x="903" y="104"/>
                    <a:pt x="903" y="104"/>
                  </a:cubicBezTo>
                  <a:cubicBezTo>
                    <a:pt x="903" y="104"/>
                    <a:pt x="903" y="104"/>
                    <a:pt x="902" y="105"/>
                  </a:cubicBezTo>
                  <a:cubicBezTo>
                    <a:pt x="902" y="105"/>
                    <a:pt x="901" y="108"/>
                    <a:pt x="899" y="110"/>
                  </a:cubicBezTo>
                  <a:cubicBezTo>
                    <a:pt x="898" y="111"/>
                    <a:pt x="896" y="111"/>
                    <a:pt x="895" y="111"/>
                  </a:cubicBezTo>
                  <a:cubicBezTo>
                    <a:pt x="894" y="111"/>
                    <a:pt x="893" y="111"/>
                    <a:pt x="892" y="110"/>
                  </a:cubicBezTo>
                  <a:cubicBezTo>
                    <a:pt x="889" y="108"/>
                    <a:pt x="889" y="102"/>
                    <a:pt x="888" y="99"/>
                  </a:cubicBezTo>
                  <a:cubicBezTo>
                    <a:pt x="887" y="91"/>
                    <a:pt x="885" y="83"/>
                    <a:pt x="883" y="75"/>
                  </a:cubicBezTo>
                  <a:cubicBezTo>
                    <a:pt x="882" y="72"/>
                    <a:pt x="881" y="65"/>
                    <a:pt x="883" y="63"/>
                  </a:cubicBezTo>
                  <a:cubicBezTo>
                    <a:pt x="883" y="63"/>
                    <a:pt x="883" y="63"/>
                    <a:pt x="882" y="63"/>
                  </a:cubicBezTo>
                  <a:cubicBezTo>
                    <a:pt x="881" y="63"/>
                    <a:pt x="879" y="63"/>
                    <a:pt x="878" y="63"/>
                  </a:cubicBezTo>
                  <a:cubicBezTo>
                    <a:pt x="879" y="58"/>
                    <a:pt x="881" y="57"/>
                    <a:pt x="877" y="53"/>
                  </a:cubicBezTo>
                  <a:cubicBezTo>
                    <a:pt x="876" y="51"/>
                    <a:pt x="874" y="49"/>
                    <a:pt x="872" y="48"/>
                  </a:cubicBezTo>
                  <a:cubicBezTo>
                    <a:pt x="872" y="48"/>
                    <a:pt x="872" y="48"/>
                    <a:pt x="872" y="48"/>
                  </a:cubicBezTo>
                  <a:cubicBezTo>
                    <a:pt x="872" y="48"/>
                    <a:pt x="872" y="48"/>
                    <a:pt x="872" y="48"/>
                  </a:cubicBezTo>
                  <a:cubicBezTo>
                    <a:pt x="871" y="48"/>
                    <a:pt x="871" y="48"/>
                    <a:pt x="871" y="48"/>
                  </a:cubicBezTo>
                  <a:cubicBezTo>
                    <a:pt x="871" y="48"/>
                    <a:pt x="871" y="48"/>
                    <a:pt x="870" y="48"/>
                  </a:cubicBezTo>
                  <a:cubicBezTo>
                    <a:pt x="869" y="46"/>
                    <a:pt x="871" y="38"/>
                    <a:pt x="874" y="37"/>
                  </a:cubicBezTo>
                  <a:cubicBezTo>
                    <a:pt x="871" y="34"/>
                    <a:pt x="867" y="37"/>
                    <a:pt x="865" y="34"/>
                  </a:cubicBezTo>
                  <a:cubicBezTo>
                    <a:pt x="861" y="30"/>
                    <a:pt x="862" y="22"/>
                    <a:pt x="861" y="17"/>
                  </a:cubicBezTo>
                  <a:cubicBezTo>
                    <a:pt x="861" y="15"/>
                    <a:pt x="860" y="5"/>
                    <a:pt x="856" y="5"/>
                  </a:cubicBezTo>
                  <a:cubicBezTo>
                    <a:pt x="855" y="5"/>
                    <a:pt x="854" y="6"/>
                    <a:pt x="853" y="7"/>
                  </a:cubicBezTo>
                  <a:cubicBezTo>
                    <a:pt x="855" y="3"/>
                    <a:pt x="858" y="2"/>
                    <a:pt x="854" y="0"/>
                  </a:cubicBezTo>
                  <a:cubicBezTo>
                    <a:pt x="854" y="0"/>
                    <a:pt x="853" y="0"/>
                    <a:pt x="8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1494"/>
            <p:cNvSpPr/>
            <p:nvPr/>
          </p:nvSpPr>
          <p:spPr bwMode="auto">
            <a:xfrm>
              <a:off x="91" y="475"/>
              <a:ext cx="10" cy="15"/>
            </a:xfrm>
            <a:custGeom>
              <a:gdLst>
                <a:gd name="T0" fmla="*/ 4 w 4"/>
                <a:gd name="T1" fmla="*/ 0 h 6"/>
                <a:gd name="T2" fmla="*/ 3 w 4"/>
                <a:gd name="T3" fmla="*/ 6 h 6"/>
                <a:gd name="T4" fmla="*/ 4 w 4"/>
                <a:gd name="T5" fmla="*/ 0 h 6"/>
              </a:gdLst>
              <a:cxnLst>
                <a:cxn ang="0">
                  <a:pos x="T0" y="T1"/>
                </a:cxn>
                <a:cxn ang="0">
                  <a:pos x="T2" y="T3"/>
                </a:cxn>
                <a:cxn ang="0">
                  <a:pos x="T4" y="T5"/>
                </a:cxn>
              </a:cxnLst>
              <a:rect l="0" t="0" r="r" b="b"/>
              <a:pathLst>
                <a:path w="4" h="6">
                  <a:moveTo>
                    <a:pt x="4" y="0"/>
                  </a:moveTo>
                  <a:cubicBezTo>
                    <a:pt x="0" y="1"/>
                    <a:pt x="3" y="4"/>
                    <a:pt x="3" y="6"/>
                  </a:cubicBezTo>
                  <a:cubicBezTo>
                    <a:pt x="3" y="4"/>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1495"/>
            <p:cNvSpPr/>
            <p:nvPr/>
          </p:nvSpPr>
          <p:spPr bwMode="auto">
            <a:xfrm>
              <a:off x="105" y="530"/>
              <a:ext cx="7" cy="12"/>
            </a:xfrm>
            <a:custGeom>
              <a:gdLst>
                <a:gd name="T0" fmla="*/ 3 w 3"/>
                <a:gd name="T1" fmla="*/ 0 h 5"/>
                <a:gd name="T2" fmla="*/ 1 w 3"/>
                <a:gd name="T3" fmla="*/ 5 h 5"/>
                <a:gd name="T4" fmla="*/ 3 w 3"/>
                <a:gd name="T5" fmla="*/ 0 h 5"/>
              </a:gdLst>
              <a:cxnLst>
                <a:cxn ang="0">
                  <a:pos x="T0" y="T1"/>
                </a:cxn>
                <a:cxn ang="0">
                  <a:pos x="T2" y="T3"/>
                </a:cxn>
                <a:cxn ang="0">
                  <a:pos x="T4" y="T5"/>
                </a:cxn>
              </a:cxnLst>
              <a:rect l="0" t="0" r="r" b="b"/>
              <a:pathLst>
                <a:path w="3" h="5">
                  <a:moveTo>
                    <a:pt x="3" y="0"/>
                  </a:moveTo>
                  <a:cubicBezTo>
                    <a:pt x="1" y="1"/>
                    <a:pt x="0" y="3"/>
                    <a:pt x="1"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1496"/>
            <p:cNvSpPr/>
            <p:nvPr/>
          </p:nvSpPr>
          <p:spPr bwMode="auto">
            <a:xfrm>
              <a:off x="42" y="145"/>
              <a:ext cx="4" cy="11"/>
            </a:xfrm>
            <a:custGeom>
              <a:gdLst>
                <a:gd name="T0" fmla="*/ 2 w 2"/>
                <a:gd name="T1" fmla="*/ 0 h 5"/>
                <a:gd name="T2" fmla="*/ 0 w 2"/>
                <a:gd name="T3" fmla="*/ 4 h 5"/>
                <a:gd name="T4" fmla="*/ 1 w 2"/>
                <a:gd name="T5" fmla="*/ 5 h 5"/>
                <a:gd name="T6" fmla="*/ 1 w 2"/>
                <a:gd name="T7" fmla="*/ 3 h 5"/>
                <a:gd name="T8" fmla="*/ 2 w 2"/>
                <a:gd name="T9" fmla="*/ 0 h 5"/>
              </a:gdLst>
              <a:cxnLst>
                <a:cxn ang="0">
                  <a:pos x="T0" y="T1"/>
                </a:cxn>
                <a:cxn ang="0">
                  <a:pos x="T2" y="T3"/>
                </a:cxn>
                <a:cxn ang="0">
                  <a:pos x="T4" y="T5"/>
                </a:cxn>
                <a:cxn ang="0">
                  <a:pos x="T6" y="T7"/>
                </a:cxn>
                <a:cxn ang="0">
                  <a:pos x="T8" y="T9"/>
                </a:cxn>
              </a:cxnLst>
              <a:rect l="0" t="0" r="r" b="b"/>
              <a:pathLst>
                <a:path w="2" h="5">
                  <a:moveTo>
                    <a:pt x="2" y="0"/>
                  </a:moveTo>
                  <a:cubicBezTo>
                    <a:pt x="1" y="1"/>
                    <a:pt x="0" y="2"/>
                    <a:pt x="0" y="4"/>
                  </a:cubicBezTo>
                  <a:cubicBezTo>
                    <a:pt x="0" y="4"/>
                    <a:pt x="0" y="5"/>
                    <a:pt x="1" y="5"/>
                  </a:cubicBezTo>
                  <a:cubicBezTo>
                    <a:pt x="1" y="4"/>
                    <a:pt x="1" y="3"/>
                    <a:pt x="1"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1497"/>
            <p:cNvSpPr/>
            <p:nvPr/>
          </p:nvSpPr>
          <p:spPr bwMode="auto">
            <a:xfrm>
              <a:off x="72" y="466"/>
              <a:ext cx="5" cy="9"/>
            </a:xfrm>
            <a:custGeom>
              <a:gdLst>
                <a:gd name="T0" fmla="*/ 0 w 2"/>
                <a:gd name="T1" fmla="*/ 0 h 4"/>
                <a:gd name="T2" fmla="*/ 0 w 2"/>
                <a:gd name="T3" fmla="*/ 1 h 4"/>
                <a:gd name="T4" fmla="*/ 2 w 2"/>
                <a:gd name="T5" fmla="*/ 4 h 4"/>
                <a:gd name="T6" fmla="*/ 0 w 2"/>
                <a:gd name="T7" fmla="*/ 1 h 4"/>
                <a:gd name="T8" fmla="*/ 0 w 2"/>
                <a:gd name="T9" fmla="*/ 0 h 4"/>
              </a:gdLst>
              <a:cxnLst>
                <a:cxn ang="0">
                  <a:pos x="T0" y="T1"/>
                </a:cxn>
                <a:cxn ang="0">
                  <a:pos x="T2" y="T3"/>
                </a:cxn>
                <a:cxn ang="0">
                  <a:pos x="T4" y="T5"/>
                </a:cxn>
                <a:cxn ang="0">
                  <a:pos x="T6" y="T7"/>
                </a:cxn>
                <a:cxn ang="0">
                  <a:pos x="T8" y="T9"/>
                </a:cxn>
              </a:cxnLst>
              <a:rect l="0" t="0" r="r" b="b"/>
              <a:pathLst>
                <a:path w="2" h="4">
                  <a:moveTo>
                    <a:pt x="0" y="0"/>
                  </a:moveTo>
                  <a:cubicBezTo>
                    <a:pt x="0" y="1"/>
                    <a:pt x="0" y="1"/>
                    <a:pt x="0" y="1"/>
                  </a:cubicBezTo>
                  <a:cubicBezTo>
                    <a:pt x="1" y="2"/>
                    <a:pt x="1" y="3"/>
                    <a:pt x="2" y="4"/>
                  </a:cubicBezTo>
                  <a:cubicBezTo>
                    <a:pt x="1" y="3"/>
                    <a:pt x="1" y="2"/>
                    <a:pt x="0" y="1"/>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1498"/>
            <p:cNvSpPr/>
            <p:nvPr/>
          </p:nvSpPr>
          <p:spPr bwMode="auto">
            <a:xfrm>
              <a:off x="20" y="291"/>
              <a:ext cx="14" cy="24"/>
            </a:xfrm>
            <a:custGeom>
              <a:gdLst>
                <a:gd name="T0" fmla="*/ 4 w 6"/>
                <a:gd name="T1" fmla="*/ 0 h 10"/>
                <a:gd name="T2" fmla="*/ 0 w 6"/>
                <a:gd name="T3" fmla="*/ 3 h 10"/>
                <a:gd name="T4" fmla="*/ 0 w 6"/>
                <a:gd name="T5" fmla="*/ 7 h 10"/>
                <a:gd name="T6" fmla="*/ 0 w 6"/>
                <a:gd name="T7" fmla="*/ 9 h 10"/>
                <a:gd name="T8" fmla="*/ 3 w 6"/>
                <a:gd name="T9" fmla="*/ 10 h 10"/>
                <a:gd name="T10" fmla="*/ 6 w 6"/>
                <a:gd name="T11" fmla="*/ 2 h 10"/>
                <a:gd name="T12" fmla="*/ 6 w 6"/>
                <a:gd name="T13" fmla="*/ 2 h 10"/>
                <a:gd name="T14" fmla="*/ 4 w 6"/>
                <a:gd name="T15" fmla="*/ 0 h 1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4" y="0"/>
                  </a:moveTo>
                  <a:cubicBezTo>
                    <a:pt x="2" y="0"/>
                    <a:pt x="0" y="2"/>
                    <a:pt x="0" y="3"/>
                  </a:cubicBezTo>
                  <a:cubicBezTo>
                    <a:pt x="0" y="4"/>
                    <a:pt x="0" y="6"/>
                    <a:pt x="0" y="7"/>
                  </a:cubicBezTo>
                  <a:cubicBezTo>
                    <a:pt x="0" y="8"/>
                    <a:pt x="0" y="9"/>
                    <a:pt x="0" y="9"/>
                  </a:cubicBezTo>
                  <a:cubicBezTo>
                    <a:pt x="1" y="10"/>
                    <a:pt x="2" y="10"/>
                    <a:pt x="3" y="10"/>
                  </a:cubicBezTo>
                  <a:cubicBezTo>
                    <a:pt x="5" y="10"/>
                    <a:pt x="6" y="5"/>
                    <a:pt x="6" y="2"/>
                  </a:cubicBezTo>
                  <a:cubicBezTo>
                    <a:pt x="6" y="2"/>
                    <a:pt x="6" y="2"/>
                    <a:pt x="6" y="2"/>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1499"/>
            <p:cNvSpPr/>
            <p:nvPr/>
          </p:nvSpPr>
          <p:spPr bwMode="auto">
            <a:xfrm>
              <a:off x="82" y="490"/>
              <a:ext cx="14" cy="9"/>
            </a:xfrm>
            <a:custGeom>
              <a:gdLst>
                <a:gd name="T0" fmla="*/ 4 w 6"/>
                <a:gd name="T1" fmla="*/ 0 h 4"/>
                <a:gd name="T2" fmla="*/ 5 w 6"/>
                <a:gd name="T3" fmla="*/ 4 h 4"/>
                <a:gd name="T4" fmla="*/ 6 w 6"/>
                <a:gd name="T5" fmla="*/ 4 h 4"/>
                <a:gd name="T6" fmla="*/ 4 w 6"/>
                <a:gd name="T7" fmla="*/ 0 h 4"/>
              </a:gdLst>
              <a:cxnLst>
                <a:cxn ang="0">
                  <a:pos x="T0" y="T1"/>
                </a:cxn>
                <a:cxn ang="0">
                  <a:pos x="T2" y="T3"/>
                </a:cxn>
                <a:cxn ang="0">
                  <a:pos x="T4" y="T5"/>
                </a:cxn>
                <a:cxn ang="0">
                  <a:pos x="T6" y="T7"/>
                </a:cxn>
              </a:cxnLst>
              <a:rect l="0" t="0" r="r" b="b"/>
              <a:pathLst>
                <a:path w="6" h="4">
                  <a:moveTo>
                    <a:pt x="4" y="0"/>
                  </a:moveTo>
                  <a:cubicBezTo>
                    <a:pt x="0" y="1"/>
                    <a:pt x="2" y="4"/>
                    <a:pt x="5" y="4"/>
                  </a:cubicBezTo>
                  <a:cubicBezTo>
                    <a:pt x="5" y="4"/>
                    <a:pt x="5" y="4"/>
                    <a:pt x="6" y="4"/>
                  </a:cubicBezTo>
                  <a:cubicBezTo>
                    <a:pt x="5"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1500"/>
            <p:cNvSpPr>
              <a:spLocks noEditPoints="1"/>
            </p:cNvSpPr>
            <p:nvPr/>
          </p:nvSpPr>
          <p:spPr bwMode="auto">
            <a:xfrm>
              <a:off x="49" y="102"/>
              <a:ext cx="21" cy="90"/>
            </a:xfrm>
            <a:custGeom>
              <a:gdLst>
                <a:gd name="T0" fmla="*/ 6 w 9"/>
                <a:gd name="T1" fmla="*/ 7 h 38"/>
                <a:gd name="T2" fmla="*/ 6 w 9"/>
                <a:gd name="T3" fmla="*/ 7 h 38"/>
                <a:gd name="T4" fmla="*/ 6 w 9"/>
                <a:gd name="T5" fmla="*/ 7 h 38"/>
                <a:gd name="T6" fmla="*/ 8 w 9"/>
                <a:gd name="T7" fmla="*/ 0 h 38"/>
                <a:gd name="T8" fmla="*/ 3 w 9"/>
                <a:gd name="T9" fmla="*/ 17 h 38"/>
                <a:gd name="T10" fmla="*/ 1 w 9"/>
                <a:gd name="T11" fmla="*/ 20 h 38"/>
                <a:gd name="T12" fmla="*/ 2 w 9"/>
                <a:gd name="T13" fmla="*/ 20 h 38"/>
                <a:gd name="T14" fmla="*/ 0 w 9"/>
                <a:gd name="T15" fmla="*/ 30 h 38"/>
                <a:gd name="T16" fmla="*/ 0 w 9"/>
                <a:gd name="T17" fmla="*/ 38 h 38"/>
                <a:gd name="T18" fmla="*/ 1 w 9"/>
                <a:gd name="T19" fmla="*/ 38 h 38"/>
                <a:gd name="T20" fmla="*/ 1 w 9"/>
                <a:gd name="T21" fmla="*/ 38 h 38"/>
                <a:gd name="T22" fmla="*/ 2 w 9"/>
                <a:gd name="T23" fmla="*/ 37 h 38"/>
                <a:gd name="T24" fmla="*/ 6 w 9"/>
                <a:gd name="T25" fmla="*/ 31 h 38"/>
                <a:gd name="T26" fmla="*/ 5 w 9"/>
                <a:gd name="T27" fmla="*/ 25 h 38"/>
                <a:gd name="T28" fmla="*/ 3 w 9"/>
                <a:gd name="T29" fmla="*/ 20 h 38"/>
                <a:gd name="T30" fmla="*/ 3 w 9"/>
                <a:gd name="T31" fmla="*/ 20 h 38"/>
                <a:gd name="T32" fmla="*/ 5 w 9"/>
                <a:gd name="T33" fmla="*/ 15 h 38"/>
                <a:gd name="T34" fmla="*/ 8 w 9"/>
                <a:gd name="T35" fmla="*/ 13 h 38"/>
                <a:gd name="T36" fmla="*/ 9 w 9"/>
                <a:gd name="T37" fmla="*/ 10 h 38"/>
                <a:gd name="T38" fmla="*/ 8 w 9"/>
                <a:gd name="T39" fmla="*/ 8 h 38"/>
                <a:gd name="T40" fmla="*/ 6 w 9"/>
                <a:gd name="T41" fmla="*/ 7 h 38"/>
                <a:gd name="T42" fmla="*/ 7 w 9"/>
                <a:gd name="T43" fmla="*/ 7 h 38"/>
                <a:gd name="T44" fmla="*/ 8 w 9"/>
                <a:gd name="T45" fmla="*/ 6 h 38"/>
                <a:gd name="T46" fmla="*/ 9 w 9"/>
                <a:gd name="T47" fmla="*/ 5 h 38"/>
                <a:gd name="T48" fmla="*/ 9 w 9"/>
                <a:gd name="T49" fmla="*/ 5 h 38"/>
                <a:gd name="T50" fmla="*/ 8 w 9"/>
                <a:gd name="T51" fmla="*/ 0 h 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38">
                  <a:moveTo>
                    <a:pt x="6" y="7"/>
                  </a:moveTo>
                  <a:cubicBezTo>
                    <a:pt x="6" y="7"/>
                    <a:pt x="6" y="7"/>
                    <a:pt x="6" y="7"/>
                  </a:cubicBezTo>
                  <a:cubicBezTo>
                    <a:pt x="6" y="7"/>
                    <a:pt x="6" y="7"/>
                    <a:pt x="6" y="7"/>
                  </a:cubicBezTo>
                  <a:moveTo>
                    <a:pt x="8" y="0"/>
                  </a:moveTo>
                  <a:cubicBezTo>
                    <a:pt x="6" y="6"/>
                    <a:pt x="4" y="11"/>
                    <a:pt x="3" y="17"/>
                  </a:cubicBezTo>
                  <a:cubicBezTo>
                    <a:pt x="2" y="18"/>
                    <a:pt x="2" y="19"/>
                    <a:pt x="1" y="20"/>
                  </a:cubicBezTo>
                  <a:cubicBezTo>
                    <a:pt x="2" y="20"/>
                    <a:pt x="2" y="20"/>
                    <a:pt x="2" y="20"/>
                  </a:cubicBezTo>
                  <a:cubicBezTo>
                    <a:pt x="1" y="21"/>
                    <a:pt x="0" y="26"/>
                    <a:pt x="0" y="30"/>
                  </a:cubicBezTo>
                  <a:cubicBezTo>
                    <a:pt x="0" y="33"/>
                    <a:pt x="0" y="36"/>
                    <a:pt x="0" y="38"/>
                  </a:cubicBezTo>
                  <a:cubicBezTo>
                    <a:pt x="1" y="38"/>
                    <a:pt x="1" y="38"/>
                    <a:pt x="1" y="38"/>
                  </a:cubicBezTo>
                  <a:cubicBezTo>
                    <a:pt x="1" y="38"/>
                    <a:pt x="1" y="38"/>
                    <a:pt x="1" y="38"/>
                  </a:cubicBezTo>
                  <a:cubicBezTo>
                    <a:pt x="2" y="37"/>
                    <a:pt x="2" y="37"/>
                    <a:pt x="2" y="37"/>
                  </a:cubicBezTo>
                  <a:cubicBezTo>
                    <a:pt x="4" y="37"/>
                    <a:pt x="6" y="34"/>
                    <a:pt x="6" y="31"/>
                  </a:cubicBezTo>
                  <a:cubicBezTo>
                    <a:pt x="7" y="30"/>
                    <a:pt x="6" y="27"/>
                    <a:pt x="5" y="25"/>
                  </a:cubicBezTo>
                  <a:cubicBezTo>
                    <a:pt x="5" y="23"/>
                    <a:pt x="4" y="22"/>
                    <a:pt x="3" y="20"/>
                  </a:cubicBezTo>
                  <a:cubicBezTo>
                    <a:pt x="3" y="20"/>
                    <a:pt x="3" y="20"/>
                    <a:pt x="3" y="20"/>
                  </a:cubicBezTo>
                  <a:cubicBezTo>
                    <a:pt x="5" y="19"/>
                    <a:pt x="4" y="16"/>
                    <a:pt x="5" y="15"/>
                  </a:cubicBezTo>
                  <a:cubicBezTo>
                    <a:pt x="6" y="14"/>
                    <a:pt x="7" y="15"/>
                    <a:pt x="8" y="13"/>
                  </a:cubicBezTo>
                  <a:cubicBezTo>
                    <a:pt x="9" y="12"/>
                    <a:pt x="9" y="11"/>
                    <a:pt x="9" y="10"/>
                  </a:cubicBezTo>
                  <a:cubicBezTo>
                    <a:pt x="8" y="10"/>
                    <a:pt x="8" y="9"/>
                    <a:pt x="8" y="8"/>
                  </a:cubicBezTo>
                  <a:cubicBezTo>
                    <a:pt x="8" y="7"/>
                    <a:pt x="6" y="8"/>
                    <a:pt x="6" y="7"/>
                  </a:cubicBezTo>
                  <a:cubicBezTo>
                    <a:pt x="6" y="7"/>
                    <a:pt x="6" y="7"/>
                    <a:pt x="7" y="7"/>
                  </a:cubicBezTo>
                  <a:cubicBezTo>
                    <a:pt x="7" y="7"/>
                    <a:pt x="7" y="6"/>
                    <a:pt x="8" y="6"/>
                  </a:cubicBezTo>
                  <a:cubicBezTo>
                    <a:pt x="8" y="5"/>
                    <a:pt x="8" y="5"/>
                    <a:pt x="9" y="5"/>
                  </a:cubicBezTo>
                  <a:cubicBezTo>
                    <a:pt x="9" y="5"/>
                    <a:pt x="9" y="5"/>
                    <a:pt x="9" y="5"/>
                  </a:cubicBezTo>
                  <a:cubicBezTo>
                    <a:pt x="9" y="4"/>
                    <a:pt x="8"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1501"/>
            <p:cNvSpPr/>
            <p:nvPr/>
          </p:nvSpPr>
          <p:spPr bwMode="auto">
            <a:xfrm>
              <a:off x="30" y="189"/>
              <a:ext cx="26" cy="57"/>
            </a:xfrm>
            <a:custGeom>
              <a:gdLst>
                <a:gd name="T0" fmla="*/ 10 w 11"/>
                <a:gd name="T1" fmla="*/ 0 h 24"/>
                <a:gd name="T2" fmla="*/ 9 w 11"/>
                <a:gd name="T3" fmla="*/ 1 h 24"/>
                <a:gd name="T4" fmla="*/ 9 w 11"/>
                <a:gd name="T5" fmla="*/ 1 h 24"/>
                <a:gd name="T6" fmla="*/ 8 w 11"/>
                <a:gd name="T7" fmla="*/ 5 h 24"/>
                <a:gd name="T8" fmla="*/ 8 w 11"/>
                <a:gd name="T9" fmla="*/ 5 h 24"/>
                <a:gd name="T10" fmla="*/ 6 w 11"/>
                <a:gd name="T11" fmla="*/ 4 h 24"/>
                <a:gd name="T12" fmla="*/ 4 w 11"/>
                <a:gd name="T13" fmla="*/ 6 h 24"/>
                <a:gd name="T14" fmla="*/ 4 w 11"/>
                <a:gd name="T15" fmla="*/ 9 h 24"/>
                <a:gd name="T16" fmla="*/ 3 w 11"/>
                <a:gd name="T17" fmla="*/ 13 h 24"/>
                <a:gd name="T18" fmla="*/ 2 w 11"/>
                <a:gd name="T19" fmla="*/ 12 h 24"/>
                <a:gd name="T20" fmla="*/ 1 w 11"/>
                <a:gd name="T21" fmla="*/ 13 h 24"/>
                <a:gd name="T22" fmla="*/ 3 w 11"/>
                <a:gd name="T23" fmla="*/ 19 h 24"/>
                <a:gd name="T24" fmla="*/ 4 w 11"/>
                <a:gd name="T25" fmla="*/ 20 h 24"/>
                <a:gd name="T26" fmla="*/ 6 w 11"/>
                <a:gd name="T27" fmla="*/ 24 h 24"/>
                <a:gd name="T28" fmla="*/ 7 w 11"/>
                <a:gd name="T29" fmla="*/ 17 h 24"/>
                <a:gd name="T30" fmla="*/ 8 w 11"/>
                <a:gd name="T31" fmla="*/ 8 h 24"/>
                <a:gd name="T32" fmla="*/ 10 w 11"/>
                <a:gd name="T33" fmla="*/ 2 h 24"/>
                <a:gd name="T34" fmla="*/ 11 w 11"/>
                <a:gd name="T35" fmla="*/ 1 h 24"/>
                <a:gd name="T36" fmla="*/ 10 w 11"/>
                <a:gd name="T37"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4">
                  <a:moveTo>
                    <a:pt x="10" y="0"/>
                  </a:moveTo>
                  <a:cubicBezTo>
                    <a:pt x="9" y="1"/>
                    <a:pt x="9" y="1"/>
                    <a:pt x="9" y="1"/>
                  </a:cubicBezTo>
                  <a:cubicBezTo>
                    <a:pt x="9" y="1"/>
                    <a:pt x="9" y="1"/>
                    <a:pt x="9" y="1"/>
                  </a:cubicBezTo>
                  <a:cubicBezTo>
                    <a:pt x="8" y="1"/>
                    <a:pt x="8" y="3"/>
                    <a:pt x="8" y="5"/>
                  </a:cubicBezTo>
                  <a:cubicBezTo>
                    <a:pt x="8" y="5"/>
                    <a:pt x="8" y="5"/>
                    <a:pt x="8" y="5"/>
                  </a:cubicBezTo>
                  <a:cubicBezTo>
                    <a:pt x="7" y="4"/>
                    <a:pt x="7" y="4"/>
                    <a:pt x="6" y="4"/>
                  </a:cubicBezTo>
                  <a:cubicBezTo>
                    <a:pt x="5" y="4"/>
                    <a:pt x="4" y="5"/>
                    <a:pt x="4" y="6"/>
                  </a:cubicBezTo>
                  <a:cubicBezTo>
                    <a:pt x="4" y="7"/>
                    <a:pt x="4" y="8"/>
                    <a:pt x="4" y="9"/>
                  </a:cubicBezTo>
                  <a:cubicBezTo>
                    <a:pt x="4" y="10"/>
                    <a:pt x="4" y="12"/>
                    <a:pt x="3" y="13"/>
                  </a:cubicBezTo>
                  <a:cubicBezTo>
                    <a:pt x="3" y="12"/>
                    <a:pt x="3" y="12"/>
                    <a:pt x="2" y="12"/>
                  </a:cubicBezTo>
                  <a:cubicBezTo>
                    <a:pt x="2" y="12"/>
                    <a:pt x="1" y="12"/>
                    <a:pt x="1" y="13"/>
                  </a:cubicBezTo>
                  <a:cubicBezTo>
                    <a:pt x="0" y="16"/>
                    <a:pt x="3" y="18"/>
                    <a:pt x="3" y="19"/>
                  </a:cubicBezTo>
                  <a:cubicBezTo>
                    <a:pt x="4" y="19"/>
                    <a:pt x="4" y="20"/>
                    <a:pt x="4" y="20"/>
                  </a:cubicBezTo>
                  <a:cubicBezTo>
                    <a:pt x="4" y="22"/>
                    <a:pt x="5" y="23"/>
                    <a:pt x="6" y="24"/>
                  </a:cubicBezTo>
                  <a:cubicBezTo>
                    <a:pt x="7" y="22"/>
                    <a:pt x="7" y="19"/>
                    <a:pt x="7" y="17"/>
                  </a:cubicBezTo>
                  <a:cubicBezTo>
                    <a:pt x="7" y="14"/>
                    <a:pt x="7" y="11"/>
                    <a:pt x="8" y="8"/>
                  </a:cubicBezTo>
                  <a:cubicBezTo>
                    <a:pt x="9" y="6"/>
                    <a:pt x="9" y="4"/>
                    <a:pt x="10" y="2"/>
                  </a:cubicBezTo>
                  <a:cubicBezTo>
                    <a:pt x="11" y="2"/>
                    <a:pt x="11" y="1"/>
                    <a:pt x="11" y="1"/>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1502"/>
            <p:cNvSpPr/>
            <p:nvPr/>
          </p:nvSpPr>
          <p:spPr bwMode="auto">
            <a:xfrm>
              <a:off x="39" y="246"/>
              <a:ext cx="7" cy="12"/>
            </a:xfrm>
            <a:custGeom>
              <a:gdLst>
                <a:gd name="T0" fmla="*/ 1 w 3"/>
                <a:gd name="T1" fmla="*/ 0 h 5"/>
                <a:gd name="T2" fmla="*/ 0 w 3"/>
                <a:gd name="T3" fmla="*/ 5 h 5"/>
                <a:gd name="T4" fmla="*/ 1 w 3"/>
                <a:gd name="T5" fmla="*/ 0 h 5"/>
              </a:gdLst>
              <a:cxnLst>
                <a:cxn ang="0">
                  <a:pos x="T0" y="T1"/>
                </a:cxn>
                <a:cxn ang="0">
                  <a:pos x="T2" y="T3"/>
                </a:cxn>
                <a:cxn ang="0">
                  <a:pos x="T4" y="T5"/>
                </a:cxn>
              </a:cxnLst>
              <a:rect l="0" t="0" r="r" b="b"/>
              <a:pathLst>
                <a:path w="3" h="5">
                  <a:moveTo>
                    <a:pt x="1" y="0"/>
                  </a:moveTo>
                  <a:cubicBezTo>
                    <a:pt x="0" y="2"/>
                    <a:pt x="0" y="3"/>
                    <a:pt x="0" y="5"/>
                  </a:cubicBezTo>
                  <a:cubicBezTo>
                    <a:pt x="1" y="3"/>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1503"/>
            <p:cNvSpPr/>
            <p:nvPr/>
          </p:nvSpPr>
          <p:spPr bwMode="auto">
            <a:xfrm>
              <a:off x="44" y="405"/>
              <a:ext cx="7" cy="7"/>
            </a:xfrm>
            <a:custGeom>
              <a:gdLst>
                <a:gd name="T0" fmla="*/ 3 w 3"/>
                <a:gd name="T1" fmla="*/ 0 h 3"/>
                <a:gd name="T2" fmla="*/ 1 w 3"/>
                <a:gd name="T3" fmla="*/ 3 h 3"/>
                <a:gd name="T4" fmla="*/ 3 w 3"/>
                <a:gd name="T5" fmla="*/ 0 h 3"/>
              </a:gdLst>
              <a:cxnLst>
                <a:cxn ang="0">
                  <a:pos x="T0" y="T1"/>
                </a:cxn>
                <a:cxn ang="0">
                  <a:pos x="T2" y="T3"/>
                </a:cxn>
                <a:cxn ang="0">
                  <a:pos x="T4" y="T5"/>
                </a:cxn>
              </a:cxnLst>
              <a:rect l="0" t="0" r="r" b="b"/>
              <a:pathLst>
                <a:path w="3" h="3">
                  <a:moveTo>
                    <a:pt x="3" y="0"/>
                  </a:moveTo>
                  <a:cubicBezTo>
                    <a:pt x="1" y="0"/>
                    <a:pt x="0" y="1"/>
                    <a:pt x="1"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1504"/>
            <p:cNvSpPr/>
            <p:nvPr/>
          </p:nvSpPr>
          <p:spPr bwMode="auto">
            <a:xfrm>
              <a:off x="105" y="544"/>
              <a:ext cx="19" cy="31"/>
            </a:xfrm>
            <a:custGeom>
              <a:gdLst>
                <a:gd name="T0" fmla="*/ 5 w 8"/>
                <a:gd name="T1" fmla="*/ 0 h 13"/>
                <a:gd name="T2" fmla="*/ 2 w 8"/>
                <a:gd name="T3" fmla="*/ 5 h 13"/>
                <a:gd name="T4" fmla="*/ 3 w 8"/>
                <a:gd name="T5" fmla="*/ 7 h 13"/>
                <a:gd name="T6" fmla="*/ 5 w 8"/>
                <a:gd name="T7" fmla="*/ 10 h 13"/>
                <a:gd name="T8" fmla="*/ 6 w 8"/>
                <a:gd name="T9" fmla="*/ 13 h 13"/>
                <a:gd name="T10" fmla="*/ 8 w 8"/>
                <a:gd name="T11" fmla="*/ 3 h 13"/>
                <a:gd name="T12" fmla="*/ 8 w 8"/>
                <a:gd name="T13" fmla="*/ 1 h 13"/>
                <a:gd name="T14" fmla="*/ 5 w 8"/>
                <a:gd name="T15" fmla="*/ 0 h 1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3">
                  <a:moveTo>
                    <a:pt x="5" y="0"/>
                  </a:moveTo>
                  <a:cubicBezTo>
                    <a:pt x="3" y="0"/>
                    <a:pt x="0" y="2"/>
                    <a:pt x="2" y="5"/>
                  </a:cubicBezTo>
                  <a:cubicBezTo>
                    <a:pt x="2" y="6"/>
                    <a:pt x="3" y="7"/>
                    <a:pt x="3" y="7"/>
                  </a:cubicBezTo>
                  <a:cubicBezTo>
                    <a:pt x="4" y="8"/>
                    <a:pt x="5" y="9"/>
                    <a:pt x="5" y="10"/>
                  </a:cubicBezTo>
                  <a:cubicBezTo>
                    <a:pt x="6" y="11"/>
                    <a:pt x="6" y="12"/>
                    <a:pt x="6" y="13"/>
                  </a:cubicBezTo>
                  <a:cubicBezTo>
                    <a:pt x="7" y="10"/>
                    <a:pt x="7" y="6"/>
                    <a:pt x="8" y="3"/>
                  </a:cubicBezTo>
                  <a:cubicBezTo>
                    <a:pt x="8" y="2"/>
                    <a:pt x="8" y="1"/>
                    <a:pt x="8"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1505"/>
            <p:cNvSpPr/>
            <p:nvPr/>
          </p:nvSpPr>
          <p:spPr bwMode="auto">
            <a:xfrm>
              <a:off x="2778" y="1844"/>
              <a:ext cx="7" cy="5"/>
            </a:xfrm>
            <a:custGeom>
              <a:gdLst>
                <a:gd name="T0" fmla="*/ 3 w 3"/>
                <a:gd name="T1" fmla="*/ 0 h 2"/>
                <a:gd name="T2" fmla="*/ 2 w 3"/>
                <a:gd name="T3" fmla="*/ 0 h 2"/>
                <a:gd name="T4" fmla="*/ 0 w 3"/>
                <a:gd name="T5" fmla="*/ 2 h 2"/>
                <a:gd name="T6" fmla="*/ 0 w 3"/>
                <a:gd name="T7" fmla="*/ 1 h 2"/>
                <a:gd name="T8" fmla="*/ 3 w 3"/>
                <a:gd name="T9" fmla="*/ 0 h 2"/>
              </a:gdLst>
              <a:cxnLst>
                <a:cxn ang="0">
                  <a:pos x="T0" y="T1"/>
                </a:cxn>
                <a:cxn ang="0">
                  <a:pos x="T2" y="T3"/>
                </a:cxn>
                <a:cxn ang="0">
                  <a:pos x="T4" y="T5"/>
                </a:cxn>
                <a:cxn ang="0">
                  <a:pos x="T6" y="T7"/>
                </a:cxn>
                <a:cxn ang="0">
                  <a:pos x="T8" y="T9"/>
                </a:cxn>
              </a:cxnLst>
              <a:rect l="0" t="0" r="r" b="b"/>
              <a:pathLst>
                <a:path w="3" h="2">
                  <a:moveTo>
                    <a:pt x="3" y="0"/>
                  </a:moveTo>
                  <a:cubicBezTo>
                    <a:pt x="2" y="0"/>
                    <a:pt x="2" y="0"/>
                    <a:pt x="2" y="0"/>
                  </a:cubicBezTo>
                  <a:cubicBezTo>
                    <a:pt x="1" y="1"/>
                    <a:pt x="1" y="1"/>
                    <a:pt x="0" y="2"/>
                  </a:cubicBezTo>
                  <a:cubicBezTo>
                    <a:pt x="0" y="1"/>
                    <a:pt x="0" y="1"/>
                    <a:pt x="0" y="1"/>
                  </a:cubicBezTo>
                  <a:cubicBezTo>
                    <a:pt x="1" y="1"/>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1506"/>
            <p:cNvSpPr/>
            <p:nvPr/>
          </p:nvSpPr>
          <p:spPr bwMode="auto">
            <a:xfrm>
              <a:off x="2270" y="2038"/>
              <a:ext cx="5" cy="14"/>
            </a:xfrm>
            <a:custGeom>
              <a:gdLst>
                <a:gd name="T0" fmla="*/ 1 w 2"/>
                <a:gd name="T1" fmla="*/ 0 h 6"/>
                <a:gd name="T2" fmla="*/ 0 w 2"/>
                <a:gd name="T3" fmla="*/ 6 h 6"/>
                <a:gd name="T4" fmla="*/ 1 w 2"/>
                <a:gd name="T5" fmla="*/ 3 h 6"/>
                <a:gd name="T6" fmla="*/ 1 w 2"/>
                <a:gd name="T7" fmla="*/ 3 h 6"/>
                <a:gd name="T8" fmla="*/ 2 w 2"/>
                <a:gd name="T9" fmla="*/ 1 h 6"/>
                <a:gd name="T10" fmla="*/ 2 w 2"/>
                <a:gd name="T11" fmla="*/ 1 h 6"/>
                <a:gd name="T12" fmla="*/ 1 w 2"/>
                <a:gd name="T13" fmla="*/ 0 h 6"/>
              </a:gdLst>
              <a:cxnLst>
                <a:cxn ang="0">
                  <a:pos x="T0" y="T1"/>
                </a:cxn>
                <a:cxn ang="0">
                  <a:pos x="T2" y="T3"/>
                </a:cxn>
                <a:cxn ang="0">
                  <a:pos x="T4" y="T5"/>
                </a:cxn>
                <a:cxn ang="0">
                  <a:pos x="T6" y="T7"/>
                </a:cxn>
                <a:cxn ang="0">
                  <a:pos x="T8" y="T9"/>
                </a:cxn>
                <a:cxn ang="0">
                  <a:pos x="T10" y="T11"/>
                </a:cxn>
                <a:cxn ang="0">
                  <a:pos x="T12" y="T13"/>
                </a:cxn>
              </a:cxnLst>
              <a:rect l="0" t="0" r="r" b="b"/>
              <a:pathLst>
                <a:path w="2" h="6">
                  <a:moveTo>
                    <a:pt x="1" y="0"/>
                  </a:moveTo>
                  <a:cubicBezTo>
                    <a:pt x="0" y="2"/>
                    <a:pt x="0" y="4"/>
                    <a:pt x="0" y="6"/>
                  </a:cubicBezTo>
                  <a:cubicBezTo>
                    <a:pt x="0" y="5"/>
                    <a:pt x="1" y="4"/>
                    <a:pt x="1" y="3"/>
                  </a:cubicBezTo>
                  <a:cubicBezTo>
                    <a:pt x="1" y="3"/>
                    <a:pt x="1" y="3"/>
                    <a:pt x="1" y="3"/>
                  </a:cubicBezTo>
                  <a:cubicBezTo>
                    <a:pt x="1" y="3"/>
                    <a:pt x="2" y="2"/>
                    <a:pt x="2" y="1"/>
                  </a:cubicBezTo>
                  <a:cubicBezTo>
                    <a:pt x="2" y="1"/>
                    <a:pt x="2" y="1"/>
                    <a:pt x="2" y="1"/>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1507"/>
            <p:cNvSpPr/>
            <p:nvPr/>
          </p:nvSpPr>
          <p:spPr bwMode="auto">
            <a:xfrm>
              <a:off x="2227" y="2097"/>
              <a:ext cx="5" cy="12"/>
            </a:xfrm>
            <a:custGeom>
              <a:gdLst>
                <a:gd name="T0" fmla="*/ 1 w 2"/>
                <a:gd name="T1" fmla="*/ 0 h 5"/>
                <a:gd name="T2" fmla="*/ 0 w 2"/>
                <a:gd name="T3" fmla="*/ 5 h 5"/>
                <a:gd name="T4" fmla="*/ 1 w 2"/>
                <a:gd name="T5" fmla="*/ 4 h 5"/>
                <a:gd name="T6" fmla="*/ 2 w 2"/>
                <a:gd name="T7" fmla="*/ 4 h 5"/>
                <a:gd name="T8" fmla="*/ 2 w 2"/>
                <a:gd name="T9" fmla="*/ 3 h 5"/>
                <a:gd name="T10" fmla="*/ 2 w 2"/>
                <a:gd name="T11" fmla="*/ 3 h 5"/>
                <a:gd name="T12" fmla="*/ 2 w 2"/>
                <a:gd name="T13" fmla="*/ 1 h 5"/>
                <a:gd name="T14" fmla="*/ 2 w 2"/>
                <a:gd name="T15" fmla="*/ 1 h 5"/>
                <a:gd name="T16" fmla="*/ 1 w 2"/>
                <a:gd name="T17" fmla="*/ 0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1" y="0"/>
                  </a:moveTo>
                  <a:cubicBezTo>
                    <a:pt x="1" y="2"/>
                    <a:pt x="0" y="3"/>
                    <a:pt x="0" y="5"/>
                  </a:cubicBezTo>
                  <a:cubicBezTo>
                    <a:pt x="0" y="4"/>
                    <a:pt x="1" y="4"/>
                    <a:pt x="1" y="4"/>
                  </a:cubicBezTo>
                  <a:cubicBezTo>
                    <a:pt x="2" y="4"/>
                    <a:pt x="2" y="4"/>
                    <a:pt x="2" y="4"/>
                  </a:cubicBezTo>
                  <a:cubicBezTo>
                    <a:pt x="2" y="3"/>
                    <a:pt x="2" y="3"/>
                    <a:pt x="2" y="3"/>
                  </a:cubicBezTo>
                  <a:cubicBezTo>
                    <a:pt x="2" y="3"/>
                    <a:pt x="2" y="3"/>
                    <a:pt x="2" y="3"/>
                  </a:cubicBezTo>
                  <a:cubicBezTo>
                    <a:pt x="2" y="2"/>
                    <a:pt x="2" y="2"/>
                    <a:pt x="2" y="1"/>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1508"/>
            <p:cNvSpPr/>
            <p:nvPr/>
          </p:nvSpPr>
          <p:spPr bwMode="auto">
            <a:xfrm>
              <a:off x="1757" y="752"/>
              <a:ext cx="17" cy="9"/>
            </a:xfrm>
            <a:custGeom>
              <a:gdLst>
                <a:gd name="T0" fmla="*/ 7 w 7"/>
                <a:gd name="T1" fmla="*/ 0 h 4"/>
                <a:gd name="T2" fmla="*/ 0 w 7"/>
                <a:gd name="T3" fmla="*/ 1 h 4"/>
                <a:gd name="T4" fmla="*/ 4 w 7"/>
                <a:gd name="T5" fmla="*/ 4 h 4"/>
                <a:gd name="T6" fmla="*/ 5 w 7"/>
                <a:gd name="T7" fmla="*/ 4 h 4"/>
                <a:gd name="T8" fmla="*/ 7 w 7"/>
                <a:gd name="T9" fmla="*/ 0 h 4"/>
              </a:gdLst>
              <a:cxnLst>
                <a:cxn ang="0">
                  <a:pos x="T0" y="T1"/>
                </a:cxn>
                <a:cxn ang="0">
                  <a:pos x="T2" y="T3"/>
                </a:cxn>
                <a:cxn ang="0">
                  <a:pos x="T4" y="T5"/>
                </a:cxn>
                <a:cxn ang="0">
                  <a:pos x="T6" y="T7"/>
                </a:cxn>
                <a:cxn ang="0">
                  <a:pos x="T8" y="T9"/>
                </a:cxn>
              </a:cxnLst>
              <a:rect l="0" t="0" r="r" b="b"/>
              <a:pathLst>
                <a:path w="7" h="4">
                  <a:moveTo>
                    <a:pt x="7" y="0"/>
                  </a:moveTo>
                  <a:cubicBezTo>
                    <a:pt x="5" y="0"/>
                    <a:pt x="3" y="0"/>
                    <a:pt x="0" y="1"/>
                  </a:cubicBezTo>
                  <a:cubicBezTo>
                    <a:pt x="2" y="2"/>
                    <a:pt x="3" y="3"/>
                    <a:pt x="4" y="4"/>
                  </a:cubicBezTo>
                  <a:cubicBezTo>
                    <a:pt x="5" y="4"/>
                    <a:pt x="5" y="4"/>
                    <a:pt x="5" y="4"/>
                  </a:cubicBezTo>
                  <a:cubicBezTo>
                    <a:pt x="6" y="4"/>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1509"/>
            <p:cNvSpPr/>
            <p:nvPr/>
          </p:nvSpPr>
          <p:spPr bwMode="auto">
            <a:xfrm>
              <a:off x="1764" y="795"/>
              <a:ext cx="7" cy="7"/>
            </a:xfrm>
            <a:custGeom>
              <a:gdLst>
                <a:gd name="T0" fmla="*/ 0 w 3"/>
                <a:gd name="T1" fmla="*/ 0 h 3"/>
                <a:gd name="T2" fmla="*/ 3 w 3"/>
                <a:gd name="T3" fmla="*/ 3 h 3"/>
                <a:gd name="T4" fmla="*/ 0 w 3"/>
                <a:gd name="T5" fmla="*/ 0 h 3"/>
              </a:gdLst>
              <a:cxnLst>
                <a:cxn ang="0">
                  <a:pos x="T0" y="T1"/>
                </a:cxn>
                <a:cxn ang="0">
                  <a:pos x="T2" y="T3"/>
                </a:cxn>
                <a:cxn ang="0">
                  <a:pos x="T4" y="T5"/>
                </a:cxn>
              </a:cxnLst>
              <a:rect l="0" t="0" r="r" b="b"/>
              <a:pathLst>
                <a:path w="3" h="3">
                  <a:moveTo>
                    <a:pt x="0" y="0"/>
                  </a:moveTo>
                  <a:cubicBezTo>
                    <a:pt x="1" y="1"/>
                    <a:pt x="2" y="3"/>
                    <a:pt x="3"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1510"/>
            <p:cNvSpPr/>
            <p:nvPr/>
          </p:nvSpPr>
          <p:spPr bwMode="auto">
            <a:xfrm>
              <a:off x="1748" y="804"/>
              <a:ext cx="7" cy="12"/>
            </a:xfrm>
            <a:custGeom>
              <a:gdLst>
                <a:gd name="T0" fmla="*/ 1 w 3"/>
                <a:gd name="T1" fmla="*/ 0 h 5"/>
                <a:gd name="T2" fmla="*/ 3 w 3"/>
                <a:gd name="T3" fmla="*/ 5 h 5"/>
                <a:gd name="T4" fmla="*/ 1 w 3"/>
                <a:gd name="T5" fmla="*/ 0 h 5"/>
              </a:gdLst>
              <a:cxnLst>
                <a:cxn ang="0">
                  <a:pos x="T0" y="T1"/>
                </a:cxn>
                <a:cxn ang="0">
                  <a:pos x="T2" y="T3"/>
                </a:cxn>
                <a:cxn ang="0">
                  <a:pos x="T4" y="T5"/>
                </a:cxn>
              </a:cxnLst>
              <a:rect l="0" t="0" r="r" b="b"/>
              <a:pathLst>
                <a:path w="3" h="5">
                  <a:moveTo>
                    <a:pt x="1" y="0"/>
                  </a:moveTo>
                  <a:cubicBezTo>
                    <a:pt x="0" y="3"/>
                    <a:pt x="2" y="4"/>
                    <a:pt x="3" y="5"/>
                  </a:cubicBezTo>
                  <a:cubicBezTo>
                    <a:pt x="3" y="3"/>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1511"/>
            <p:cNvSpPr/>
            <p:nvPr/>
          </p:nvSpPr>
          <p:spPr bwMode="auto">
            <a:xfrm>
              <a:off x="1726" y="795"/>
              <a:ext cx="22" cy="7"/>
            </a:xfrm>
            <a:custGeom>
              <a:gdLst>
                <a:gd name="T0" fmla="*/ 0 w 9"/>
                <a:gd name="T1" fmla="*/ 0 h 3"/>
                <a:gd name="T2" fmla="*/ 2 w 9"/>
                <a:gd name="T3" fmla="*/ 2 h 3"/>
                <a:gd name="T4" fmla="*/ 3 w 9"/>
                <a:gd name="T5" fmla="*/ 2 h 3"/>
                <a:gd name="T6" fmla="*/ 4 w 9"/>
                <a:gd name="T7" fmla="*/ 2 h 3"/>
                <a:gd name="T8" fmla="*/ 7 w 9"/>
                <a:gd name="T9" fmla="*/ 3 h 3"/>
                <a:gd name="T10" fmla="*/ 8 w 9"/>
                <a:gd name="T11" fmla="*/ 3 h 3"/>
                <a:gd name="T12" fmla="*/ 9 w 9"/>
                <a:gd name="T13" fmla="*/ 3 h 3"/>
                <a:gd name="T14" fmla="*/ 0 w 9"/>
                <a:gd name="T15" fmla="*/ 0 h 3"/>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
                  <a:moveTo>
                    <a:pt x="0" y="0"/>
                  </a:moveTo>
                  <a:cubicBezTo>
                    <a:pt x="1" y="0"/>
                    <a:pt x="2" y="1"/>
                    <a:pt x="2" y="2"/>
                  </a:cubicBezTo>
                  <a:cubicBezTo>
                    <a:pt x="3" y="2"/>
                    <a:pt x="3" y="2"/>
                    <a:pt x="3" y="2"/>
                  </a:cubicBezTo>
                  <a:cubicBezTo>
                    <a:pt x="3" y="2"/>
                    <a:pt x="4" y="2"/>
                    <a:pt x="4" y="2"/>
                  </a:cubicBezTo>
                  <a:cubicBezTo>
                    <a:pt x="5" y="3"/>
                    <a:pt x="6" y="3"/>
                    <a:pt x="7" y="3"/>
                  </a:cubicBezTo>
                  <a:cubicBezTo>
                    <a:pt x="7" y="3"/>
                    <a:pt x="7" y="3"/>
                    <a:pt x="8" y="3"/>
                  </a:cubicBezTo>
                  <a:cubicBezTo>
                    <a:pt x="8" y="3"/>
                    <a:pt x="8" y="3"/>
                    <a:pt x="9" y="3"/>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1512"/>
            <p:cNvSpPr/>
            <p:nvPr/>
          </p:nvSpPr>
          <p:spPr bwMode="auto">
            <a:xfrm>
              <a:off x="2185" y="1669"/>
              <a:ext cx="40" cy="24"/>
            </a:xfrm>
            <a:custGeom>
              <a:gdLst>
                <a:gd name="T0" fmla="*/ 17 w 17"/>
                <a:gd name="T1" fmla="*/ 0 h 10"/>
                <a:gd name="T2" fmla="*/ 0 w 17"/>
                <a:gd name="T3" fmla="*/ 9 h 10"/>
                <a:gd name="T4" fmla="*/ 12 w 17"/>
                <a:gd name="T5" fmla="*/ 10 h 10"/>
                <a:gd name="T6" fmla="*/ 15 w 17"/>
                <a:gd name="T7" fmla="*/ 5 h 10"/>
                <a:gd name="T8" fmla="*/ 17 w 17"/>
                <a:gd name="T9" fmla="*/ 0 h 10"/>
              </a:gdLst>
              <a:cxnLst>
                <a:cxn ang="0">
                  <a:pos x="T0" y="T1"/>
                </a:cxn>
                <a:cxn ang="0">
                  <a:pos x="T2" y="T3"/>
                </a:cxn>
                <a:cxn ang="0">
                  <a:pos x="T4" y="T5"/>
                </a:cxn>
                <a:cxn ang="0">
                  <a:pos x="T6" y="T7"/>
                </a:cxn>
                <a:cxn ang="0">
                  <a:pos x="T8" y="T9"/>
                </a:cxn>
              </a:cxnLst>
              <a:rect l="0" t="0" r="r" b="b"/>
              <a:pathLst>
                <a:path w="17" h="10">
                  <a:moveTo>
                    <a:pt x="17" y="0"/>
                  </a:moveTo>
                  <a:cubicBezTo>
                    <a:pt x="17" y="0"/>
                    <a:pt x="0" y="7"/>
                    <a:pt x="0" y="9"/>
                  </a:cubicBezTo>
                  <a:cubicBezTo>
                    <a:pt x="12" y="10"/>
                    <a:pt x="12" y="10"/>
                    <a:pt x="12" y="10"/>
                  </a:cubicBezTo>
                  <a:cubicBezTo>
                    <a:pt x="12" y="10"/>
                    <a:pt x="14" y="6"/>
                    <a:pt x="15" y="5"/>
                  </a:cubicBezTo>
                  <a:cubicBezTo>
                    <a:pt x="16" y="2"/>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1513"/>
            <p:cNvSpPr/>
            <p:nvPr/>
          </p:nvSpPr>
          <p:spPr bwMode="auto">
            <a:xfrm>
              <a:off x="3359" y="1222"/>
              <a:ext cx="676" cy="556"/>
            </a:xfrm>
            <a:custGeom>
              <a:gdLst>
                <a:gd name="T0" fmla="*/ 3 w 286"/>
                <a:gd name="T1" fmla="*/ 64 h 235"/>
                <a:gd name="T2" fmla="*/ 3 w 286"/>
                <a:gd name="T3" fmla="*/ 76 h 235"/>
                <a:gd name="T4" fmla="*/ 2 w 286"/>
                <a:gd name="T5" fmla="*/ 120 h 235"/>
                <a:gd name="T6" fmla="*/ 10 w 286"/>
                <a:gd name="T7" fmla="*/ 191 h 235"/>
                <a:gd name="T8" fmla="*/ 36 w 286"/>
                <a:gd name="T9" fmla="*/ 190 h 235"/>
                <a:gd name="T10" fmla="*/ 59 w 286"/>
                <a:gd name="T11" fmla="*/ 189 h 235"/>
                <a:gd name="T12" fmla="*/ 54 w 286"/>
                <a:gd name="T13" fmla="*/ 168 h 235"/>
                <a:gd name="T14" fmla="*/ 45 w 286"/>
                <a:gd name="T15" fmla="*/ 165 h 235"/>
                <a:gd name="T16" fmla="*/ 42 w 286"/>
                <a:gd name="T17" fmla="*/ 165 h 235"/>
                <a:gd name="T18" fmla="*/ 53 w 286"/>
                <a:gd name="T19" fmla="*/ 164 h 235"/>
                <a:gd name="T20" fmla="*/ 68 w 286"/>
                <a:gd name="T21" fmla="*/ 163 h 235"/>
                <a:gd name="T22" fmla="*/ 69 w 286"/>
                <a:gd name="T23" fmla="*/ 152 h 235"/>
                <a:gd name="T24" fmla="*/ 73 w 286"/>
                <a:gd name="T25" fmla="*/ 155 h 235"/>
                <a:gd name="T26" fmla="*/ 79 w 286"/>
                <a:gd name="T27" fmla="*/ 156 h 235"/>
                <a:gd name="T28" fmla="*/ 85 w 286"/>
                <a:gd name="T29" fmla="*/ 155 h 235"/>
                <a:gd name="T30" fmla="*/ 84 w 286"/>
                <a:gd name="T31" fmla="*/ 146 h 235"/>
                <a:gd name="T32" fmla="*/ 94 w 286"/>
                <a:gd name="T33" fmla="*/ 144 h 235"/>
                <a:gd name="T34" fmla="*/ 97 w 286"/>
                <a:gd name="T35" fmla="*/ 148 h 235"/>
                <a:gd name="T36" fmla="*/ 102 w 286"/>
                <a:gd name="T37" fmla="*/ 145 h 235"/>
                <a:gd name="T38" fmla="*/ 108 w 286"/>
                <a:gd name="T39" fmla="*/ 143 h 235"/>
                <a:gd name="T40" fmla="*/ 111 w 286"/>
                <a:gd name="T41" fmla="*/ 148 h 235"/>
                <a:gd name="T42" fmla="*/ 147 w 286"/>
                <a:gd name="T43" fmla="*/ 158 h 235"/>
                <a:gd name="T44" fmla="*/ 161 w 286"/>
                <a:gd name="T45" fmla="*/ 179 h 235"/>
                <a:gd name="T46" fmla="*/ 173 w 286"/>
                <a:gd name="T47" fmla="*/ 186 h 235"/>
                <a:gd name="T48" fmla="*/ 185 w 286"/>
                <a:gd name="T49" fmla="*/ 204 h 235"/>
                <a:gd name="T50" fmla="*/ 204 w 286"/>
                <a:gd name="T51" fmla="*/ 218 h 235"/>
                <a:gd name="T52" fmla="*/ 215 w 286"/>
                <a:gd name="T53" fmla="*/ 220 h 235"/>
                <a:gd name="T54" fmla="*/ 218 w 286"/>
                <a:gd name="T55" fmla="*/ 219 h 235"/>
                <a:gd name="T56" fmla="*/ 232 w 286"/>
                <a:gd name="T57" fmla="*/ 221 h 235"/>
                <a:gd name="T58" fmla="*/ 271 w 286"/>
                <a:gd name="T59" fmla="*/ 234 h 235"/>
                <a:gd name="T60" fmla="*/ 271 w 286"/>
                <a:gd name="T61" fmla="*/ 223 h 235"/>
                <a:gd name="T62" fmla="*/ 278 w 286"/>
                <a:gd name="T63" fmla="*/ 224 h 235"/>
                <a:gd name="T64" fmla="*/ 277 w 286"/>
                <a:gd name="T65" fmla="*/ 220 h 235"/>
                <a:gd name="T66" fmla="*/ 273 w 286"/>
                <a:gd name="T67" fmla="*/ 220 h 235"/>
                <a:gd name="T68" fmla="*/ 254 w 286"/>
                <a:gd name="T69" fmla="*/ 208 h 235"/>
                <a:gd name="T70" fmla="*/ 257 w 286"/>
                <a:gd name="T71" fmla="*/ 203 h 235"/>
                <a:gd name="T72" fmla="*/ 238 w 286"/>
                <a:gd name="T73" fmla="*/ 194 h 235"/>
                <a:gd name="T74" fmla="*/ 227 w 286"/>
                <a:gd name="T75" fmla="*/ 187 h 235"/>
                <a:gd name="T76" fmla="*/ 209 w 286"/>
                <a:gd name="T77" fmla="*/ 170 h 235"/>
                <a:gd name="T78" fmla="*/ 178 w 286"/>
                <a:gd name="T79" fmla="*/ 136 h 235"/>
                <a:gd name="T80" fmla="*/ 183 w 286"/>
                <a:gd name="T81" fmla="*/ 118 h 235"/>
                <a:gd name="T82" fmla="*/ 198 w 286"/>
                <a:gd name="T83" fmla="*/ 116 h 235"/>
                <a:gd name="T84" fmla="*/ 185 w 286"/>
                <a:gd name="T85" fmla="*/ 96 h 235"/>
                <a:gd name="T86" fmla="*/ 179 w 286"/>
                <a:gd name="T87" fmla="*/ 96 h 235"/>
                <a:gd name="T88" fmla="*/ 146 w 286"/>
                <a:gd name="T89" fmla="*/ 83 h 235"/>
                <a:gd name="T90" fmla="*/ 138 w 286"/>
                <a:gd name="T91" fmla="*/ 68 h 235"/>
                <a:gd name="T92" fmla="*/ 102 w 286"/>
                <a:gd name="T93" fmla="*/ 35 h 2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6" h="235">
                  <a:moveTo>
                    <a:pt x="3" y="0"/>
                  </a:moveTo>
                  <a:cubicBezTo>
                    <a:pt x="3" y="7"/>
                    <a:pt x="3" y="15"/>
                    <a:pt x="3" y="24"/>
                  </a:cubicBezTo>
                  <a:cubicBezTo>
                    <a:pt x="3" y="36"/>
                    <a:pt x="3" y="51"/>
                    <a:pt x="3" y="64"/>
                  </a:cubicBezTo>
                  <a:cubicBezTo>
                    <a:pt x="3" y="68"/>
                    <a:pt x="3" y="68"/>
                    <a:pt x="3" y="68"/>
                  </a:cubicBezTo>
                  <a:cubicBezTo>
                    <a:pt x="3" y="70"/>
                    <a:pt x="3" y="72"/>
                    <a:pt x="3" y="73"/>
                  </a:cubicBezTo>
                  <a:cubicBezTo>
                    <a:pt x="3" y="76"/>
                    <a:pt x="3" y="76"/>
                    <a:pt x="3" y="76"/>
                  </a:cubicBezTo>
                  <a:cubicBezTo>
                    <a:pt x="3" y="81"/>
                    <a:pt x="2" y="86"/>
                    <a:pt x="2" y="91"/>
                  </a:cubicBezTo>
                  <a:cubicBezTo>
                    <a:pt x="0" y="119"/>
                    <a:pt x="0" y="119"/>
                    <a:pt x="0" y="119"/>
                  </a:cubicBezTo>
                  <a:cubicBezTo>
                    <a:pt x="1" y="119"/>
                    <a:pt x="1" y="120"/>
                    <a:pt x="2" y="120"/>
                  </a:cubicBezTo>
                  <a:cubicBezTo>
                    <a:pt x="3" y="122"/>
                    <a:pt x="3" y="123"/>
                    <a:pt x="3" y="124"/>
                  </a:cubicBezTo>
                  <a:cubicBezTo>
                    <a:pt x="3" y="191"/>
                    <a:pt x="3" y="191"/>
                    <a:pt x="3" y="191"/>
                  </a:cubicBezTo>
                  <a:cubicBezTo>
                    <a:pt x="5" y="191"/>
                    <a:pt x="7" y="191"/>
                    <a:pt x="10" y="191"/>
                  </a:cubicBezTo>
                  <a:cubicBezTo>
                    <a:pt x="14" y="191"/>
                    <a:pt x="19" y="191"/>
                    <a:pt x="24" y="191"/>
                  </a:cubicBezTo>
                  <a:cubicBezTo>
                    <a:pt x="28" y="190"/>
                    <a:pt x="32" y="190"/>
                    <a:pt x="35" y="190"/>
                  </a:cubicBezTo>
                  <a:cubicBezTo>
                    <a:pt x="35" y="190"/>
                    <a:pt x="36" y="190"/>
                    <a:pt x="36" y="190"/>
                  </a:cubicBezTo>
                  <a:cubicBezTo>
                    <a:pt x="40" y="191"/>
                    <a:pt x="43" y="193"/>
                    <a:pt x="47" y="194"/>
                  </a:cubicBezTo>
                  <a:cubicBezTo>
                    <a:pt x="47" y="194"/>
                    <a:pt x="47" y="194"/>
                    <a:pt x="48" y="194"/>
                  </a:cubicBezTo>
                  <a:cubicBezTo>
                    <a:pt x="50" y="194"/>
                    <a:pt x="57" y="190"/>
                    <a:pt x="59" y="189"/>
                  </a:cubicBezTo>
                  <a:cubicBezTo>
                    <a:pt x="61" y="188"/>
                    <a:pt x="67" y="186"/>
                    <a:pt x="68" y="185"/>
                  </a:cubicBezTo>
                  <a:cubicBezTo>
                    <a:pt x="70" y="182"/>
                    <a:pt x="69" y="178"/>
                    <a:pt x="67" y="175"/>
                  </a:cubicBezTo>
                  <a:cubicBezTo>
                    <a:pt x="63" y="170"/>
                    <a:pt x="60" y="170"/>
                    <a:pt x="54" y="168"/>
                  </a:cubicBezTo>
                  <a:cubicBezTo>
                    <a:pt x="52" y="167"/>
                    <a:pt x="51" y="165"/>
                    <a:pt x="48" y="165"/>
                  </a:cubicBezTo>
                  <a:cubicBezTo>
                    <a:pt x="48" y="165"/>
                    <a:pt x="48" y="165"/>
                    <a:pt x="48" y="165"/>
                  </a:cubicBezTo>
                  <a:cubicBezTo>
                    <a:pt x="47" y="165"/>
                    <a:pt x="46" y="165"/>
                    <a:pt x="45" y="165"/>
                  </a:cubicBezTo>
                  <a:cubicBezTo>
                    <a:pt x="44" y="166"/>
                    <a:pt x="43" y="166"/>
                    <a:pt x="42" y="166"/>
                  </a:cubicBezTo>
                  <a:cubicBezTo>
                    <a:pt x="41" y="166"/>
                    <a:pt x="41" y="166"/>
                    <a:pt x="40" y="165"/>
                  </a:cubicBezTo>
                  <a:cubicBezTo>
                    <a:pt x="41" y="165"/>
                    <a:pt x="42" y="165"/>
                    <a:pt x="42" y="165"/>
                  </a:cubicBezTo>
                  <a:cubicBezTo>
                    <a:pt x="44" y="165"/>
                    <a:pt x="45" y="165"/>
                    <a:pt x="47" y="164"/>
                  </a:cubicBezTo>
                  <a:cubicBezTo>
                    <a:pt x="48" y="164"/>
                    <a:pt x="50" y="164"/>
                    <a:pt x="51" y="164"/>
                  </a:cubicBezTo>
                  <a:cubicBezTo>
                    <a:pt x="52" y="164"/>
                    <a:pt x="53" y="164"/>
                    <a:pt x="53" y="164"/>
                  </a:cubicBezTo>
                  <a:cubicBezTo>
                    <a:pt x="55" y="164"/>
                    <a:pt x="56" y="165"/>
                    <a:pt x="57" y="165"/>
                  </a:cubicBezTo>
                  <a:cubicBezTo>
                    <a:pt x="58" y="165"/>
                    <a:pt x="59" y="165"/>
                    <a:pt x="60" y="164"/>
                  </a:cubicBezTo>
                  <a:cubicBezTo>
                    <a:pt x="63" y="164"/>
                    <a:pt x="66" y="163"/>
                    <a:pt x="68" y="163"/>
                  </a:cubicBezTo>
                  <a:cubicBezTo>
                    <a:pt x="72" y="162"/>
                    <a:pt x="77" y="164"/>
                    <a:pt x="74" y="158"/>
                  </a:cubicBezTo>
                  <a:cubicBezTo>
                    <a:pt x="73" y="156"/>
                    <a:pt x="70" y="154"/>
                    <a:pt x="68" y="152"/>
                  </a:cubicBezTo>
                  <a:cubicBezTo>
                    <a:pt x="68" y="152"/>
                    <a:pt x="68" y="152"/>
                    <a:pt x="69" y="152"/>
                  </a:cubicBezTo>
                  <a:cubicBezTo>
                    <a:pt x="71" y="152"/>
                    <a:pt x="70" y="154"/>
                    <a:pt x="71" y="155"/>
                  </a:cubicBezTo>
                  <a:cubicBezTo>
                    <a:pt x="72" y="155"/>
                    <a:pt x="72" y="155"/>
                    <a:pt x="73" y="155"/>
                  </a:cubicBezTo>
                  <a:cubicBezTo>
                    <a:pt x="73" y="155"/>
                    <a:pt x="73" y="155"/>
                    <a:pt x="73" y="155"/>
                  </a:cubicBezTo>
                  <a:cubicBezTo>
                    <a:pt x="74" y="155"/>
                    <a:pt x="74" y="155"/>
                    <a:pt x="74" y="155"/>
                  </a:cubicBezTo>
                  <a:cubicBezTo>
                    <a:pt x="74" y="155"/>
                    <a:pt x="75" y="155"/>
                    <a:pt x="75" y="155"/>
                  </a:cubicBezTo>
                  <a:cubicBezTo>
                    <a:pt x="76" y="155"/>
                    <a:pt x="77" y="156"/>
                    <a:pt x="79" y="156"/>
                  </a:cubicBezTo>
                  <a:cubicBezTo>
                    <a:pt x="79" y="156"/>
                    <a:pt x="80" y="156"/>
                    <a:pt x="81" y="156"/>
                  </a:cubicBezTo>
                  <a:cubicBezTo>
                    <a:pt x="83" y="156"/>
                    <a:pt x="85" y="155"/>
                    <a:pt x="83" y="154"/>
                  </a:cubicBezTo>
                  <a:cubicBezTo>
                    <a:pt x="83" y="155"/>
                    <a:pt x="84" y="155"/>
                    <a:pt x="85" y="155"/>
                  </a:cubicBezTo>
                  <a:cubicBezTo>
                    <a:pt x="82" y="150"/>
                    <a:pt x="79" y="145"/>
                    <a:pt x="76" y="139"/>
                  </a:cubicBezTo>
                  <a:cubicBezTo>
                    <a:pt x="77" y="141"/>
                    <a:pt x="79" y="141"/>
                    <a:pt x="80" y="143"/>
                  </a:cubicBezTo>
                  <a:cubicBezTo>
                    <a:pt x="82" y="144"/>
                    <a:pt x="82" y="145"/>
                    <a:pt x="84" y="146"/>
                  </a:cubicBezTo>
                  <a:cubicBezTo>
                    <a:pt x="85" y="147"/>
                    <a:pt x="85" y="147"/>
                    <a:pt x="86" y="147"/>
                  </a:cubicBezTo>
                  <a:cubicBezTo>
                    <a:pt x="88" y="147"/>
                    <a:pt x="89" y="146"/>
                    <a:pt x="90" y="146"/>
                  </a:cubicBezTo>
                  <a:cubicBezTo>
                    <a:pt x="91" y="145"/>
                    <a:pt x="93" y="144"/>
                    <a:pt x="94" y="144"/>
                  </a:cubicBezTo>
                  <a:cubicBezTo>
                    <a:pt x="94" y="144"/>
                    <a:pt x="95" y="144"/>
                    <a:pt x="95" y="145"/>
                  </a:cubicBezTo>
                  <a:cubicBezTo>
                    <a:pt x="96" y="145"/>
                    <a:pt x="96" y="145"/>
                    <a:pt x="97" y="146"/>
                  </a:cubicBezTo>
                  <a:cubicBezTo>
                    <a:pt x="97" y="148"/>
                    <a:pt x="97" y="148"/>
                    <a:pt x="97" y="148"/>
                  </a:cubicBezTo>
                  <a:cubicBezTo>
                    <a:pt x="98" y="148"/>
                    <a:pt x="100" y="148"/>
                    <a:pt x="101" y="149"/>
                  </a:cubicBezTo>
                  <a:cubicBezTo>
                    <a:pt x="99" y="147"/>
                    <a:pt x="99" y="144"/>
                    <a:pt x="98" y="141"/>
                  </a:cubicBezTo>
                  <a:cubicBezTo>
                    <a:pt x="99" y="143"/>
                    <a:pt x="100" y="144"/>
                    <a:pt x="102" y="145"/>
                  </a:cubicBezTo>
                  <a:cubicBezTo>
                    <a:pt x="101" y="144"/>
                    <a:pt x="101" y="142"/>
                    <a:pt x="102" y="141"/>
                  </a:cubicBezTo>
                  <a:cubicBezTo>
                    <a:pt x="102" y="143"/>
                    <a:pt x="103" y="144"/>
                    <a:pt x="105" y="144"/>
                  </a:cubicBezTo>
                  <a:cubicBezTo>
                    <a:pt x="106" y="144"/>
                    <a:pt x="107" y="143"/>
                    <a:pt x="108" y="143"/>
                  </a:cubicBezTo>
                  <a:cubicBezTo>
                    <a:pt x="109" y="143"/>
                    <a:pt x="110" y="143"/>
                    <a:pt x="111" y="143"/>
                  </a:cubicBezTo>
                  <a:cubicBezTo>
                    <a:pt x="111" y="143"/>
                    <a:pt x="111" y="143"/>
                    <a:pt x="111" y="143"/>
                  </a:cubicBezTo>
                  <a:cubicBezTo>
                    <a:pt x="113" y="143"/>
                    <a:pt x="111" y="147"/>
                    <a:pt x="111" y="148"/>
                  </a:cubicBezTo>
                  <a:cubicBezTo>
                    <a:pt x="112" y="149"/>
                    <a:pt x="116" y="149"/>
                    <a:pt x="118" y="150"/>
                  </a:cubicBezTo>
                  <a:cubicBezTo>
                    <a:pt x="125" y="151"/>
                    <a:pt x="132" y="152"/>
                    <a:pt x="138" y="153"/>
                  </a:cubicBezTo>
                  <a:cubicBezTo>
                    <a:pt x="136" y="157"/>
                    <a:pt x="145" y="157"/>
                    <a:pt x="147" y="158"/>
                  </a:cubicBezTo>
                  <a:cubicBezTo>
                    <a:pt x="147" y="160"/>
                    <a:pt x="148" y="161"/>
                    <a:pt x="150" y="163"/>
                  </a:cubicBezTo>
                  <a:cubicBezTo>
                    <a:pt x="151" y="165"/>
                    <a:pt x="151" y="165"/>
                    <a:pt x="152" y="168"/>
                  </a:cubicBezTo>
                  <a:cubicBezTo>
                    <a:pt x="154" y="172"/>
                    <a:pt x="158" y="176"/>
                    <a:pt x="161" y="179"/>
                  </a:cubicBezTo>
                  <a:cubicBezTo>
                    <a:pt x="163" y="182"/>
                    <a:pt x="161" y="184"/>
                    <a:pt x="165" y="186"/>
                  </a:cubicBezTo>
                  <a:cubicBezTo>
                    <a:pt x="166" y="187"/>
                    <a:pt x="168" y="187"/>
                    <a:pt x="169" y="187"/>
                  </a:cubicBezTo>
                  <a:cubicBezTo>
                    <a:pt x="171" y="187"/>
                    <a:pt x="172" y="187"/>
                    <a:pt x="173" y="186"/>
                  </a:cubicBezTo>
                  <a:cubicBezTo>
                    <a:pt x="172" y="187"/>
                    <a:pt x="172" y="188"/>
                    <a:pt x="173" y="190"/>
                  </a:cubicBezTo>
                  <a:cubicBezTo>
                    <a:pt x="174" y="193"/>
                    <a:pt x="175" y="198"/>
                    <a:pt x="178" y="199"/>
                  </a:cubicBezTo>
                  <a:cubicBezTo>
                    <a:pt x="182" y="200"/>
                    <a:pt x="182" y="200"/>
                    <a:pt x="185" y="204"/>
                  </a:cubicBezTo>
                  <a:cubicBezTo>
                    <a:pt x="188" y="209"/>
                    <a:pt x="192" y="215"/>
                    <a:pt x="197" y="217"/>
                  </a:cubicBezTo>
                  <a:cubicBezTo>
                    <a:pt x="199" y="218"/>
                    <a:pt x="201" y="218"/>
                    <a:pt x="202" y="218"/>
                  </a:cubicBezTo>
                  <a:cubicBezTo>
                    <a:pt x="203" y="218"/>
                    <a:pt x="203" y="218"/>
                    <a:pt x="204" y="218"/>
                  </a:cubicBezTo>
                  <a:cubicBezTo>
                    <a:pt x="204" y="218"/>
                    <a:pt x="205" y="218"/>
                    <a:pt x="205" y="218"/>
                  </a:cubicBezTo>
                  <a:cubicBezTo>
                    <a:pt x="208" y="218"/>
                    <a:pt x="211" y="219"/>
                    <a:pt x="214" y="220"/>
                  </a:cubicBezTo>
                  <a:cubicBezTo>
                    <a:pt x="214" y="220"/>
                    <a:pt x="214" y="220"/>
                    <a:pt x="215" y="220"/>
                  </a:cubicBezTo>
                  <a:cubicBezTo>
                    <a:pt x="215" y="220"/>
                    <a:pt x="216" y="220"/>
                    <a:pt x="216" y="219"/>
                  </a:cubicBezTo>
                  <a:cubicBezTo>
                    <a:pt x="217" y="219"/>
                    <a:pt x="218" y="219"/>
                    <a:pt x="218" y="219"/>
                  </a:cubicBezTo>
                  <a:cubicBezTo>
                    <a:pt x="218" y="219"/>
                    <a:pt x="218" y="219"/>
                    <a:pt x="218" y="219"/>
                  </a:cubicBezTo>
                  <a:cubicBezTo>
                    <a:pt x="221" y="219"/>
                    <a:pt x="223" y="220"/>
                    <a:pt x="225" y="221"/>
                  </a:cubicBezTo>
                  <a:cubicBezTo>
                    <a:pt x="227" y="221"/>
                    <a:pt x="228" y="221"/>
                    <a:pt x="229" y="221"/>
                  </a:cubicBezTo>
                  <a:cubicBezTo>
                    <a:pt x="230" y="221"/>
                    <a:pt x="231" y="221"/>
                    <a:pt x="232" y="221"/>
                  </a:cubicBezTo>
                  <a:cubicBezTo>
                    <a:pt x="232" y="221"/>
                    <a:pt x="233" y="221"/>
                    <a:pt x="233" y="221"/>
                  </a:cubicBezTo>
                  <a:cubicBezTo>
                    <a:pt x="242" y="221"/>
                    <a:pt x="259" y="223"/>
                    <a:pt x="264" y="230"/>
                  </a:cubicBezTo>
                  <a:cubicBezTo>
                    <a:pt x="267" y="235"/>
                    <a:pt x="266" y="233"/>
                    <a:pt x="271" y="234"/>
                  </a:cubicBezTo>
                  <a:cubicBezTo>
                    <a:pt x="271" y="234"/>
                    <a:pt x="271" y="234"/>
                    <a:pt x="271" y="234"/>
                  </a:cubicBezTo>
                  <a:cubicBezTo>
                    <a:pt x="274" y="234"/>
                    <a:pt x="277" y="232"/>
                    <a:pt x="279" y="231"/>
                  </a:cubicBezTo>
                  <a:cubicBezTo>
                    <a:pt x="276" y="229"/>
                    <a:pt x="273" y="226"/>
                    <a:pt x="271" y="223"/>
                  </a:cubicBezTo>
                  <a:cubicBezTo>
                    <a:pt x="272" y="223"/>
                    <a:pt x="272" y="223"/>
                    <a:pt x="273" y="223"/>
                  </a:cubicBezTo>
                  <a:cubicBezTo>
                    <a:pt x="274" y="223"/>
                    <a:pt x="275" y="224"/>
                    <a:pt x="277" y="224"/>
                  </a:cubicBezTo>
                  <a:cubicBezTo>
                    <a:pt x="277" y="224"/>
                    <a:pt x="277" y="224"/>
                    <a:pt x="278" y="224"/>
                  </a:cubicBezTo>
                  <a:cubicBezTo>
                    <a:pt x="281" y="224"/>
                    <a:pt x="283" y="222"/>
                    <a:pt x="286" y="220"/>
                  </a:cubicBezTo>
                  <a:cubicBezTo>
                    <a:pt x="284" y="221"/>
                    <a:pt x="283" y="221"/>
                    <a:pt x="282" y="221"/>
                  </a:cubicBezTo>
                  <a:cubicBezTo>
                    <a:pt x="281" y="221"/>
                    <a:pt x="280" y="221"/>
                    <a:pt x="277" y="220"/>
                  </a:cubicBezTo>
                  <a:cubicBezTo>
                    <a:pt x="277" y="220"/>
                    <a:pt x="276" y="220"/>
                    <a:pt x="275" y="220"/>
                  </a:cubicBezTo>
                  <a:cubicBezTo>
                    <a:pt x="275" y="220"/>
                    <a:pt x="275" y="220"/>
                    <a:pt x="274" y="220"/>
                  </a:cubicBezTo>
                  <a:cubicBezTo>
                    <a:pt x="274" y="220"/>
                    <a:pt x="273" y="220"/>
                    <a:pt x="273" y="220"/>
                  </a:cubicBezTo>
                  <a:cubicBezTo>
                    <a:pt x="272" y="220"/>
                    <a:pt x="271" y="220"/>
                    <a:pt x="270" y="220"/>
                  </a:cubicBezTo>
                  <a:cubicBezTo>
                    <a:pt x="266" y="218"/>
                    <a:pt x="261" y="214"/>
                    <a:pt x="257" y="212"/>
                  </a:cubicBezTo>
                  <a:cubicBezTo>
                    <a:pt x="253" y="210"/>
                    <a:pt x="252" y="210"/>
                    <a:pt x="254" y="208"/>
                  </a:cubicBezTo>
                  <a:cubicBezTo>
                    <a:pt x="257" y="206"/>
                    <a:pt x="260" y="209"/>
                    <a:pt x="261" y="203"/>
                  </a:cubicBezTo>
                  <a:cubicBezTo>
                    <a:pt x="260" y="203"/>
                    <a:pt x="259" y="203"/>
                    <a:pt x="258" y="203"/>
                  </a:cubicBezTo>
                  <a:cubicBezTo>
                    <a:pt x="258" y="203"/>
                    <a:pt x="257" y="203"/>
                    <a:pt x="257" y="203"/>
                  </a:cubicBezTo>
                  <a:cubicBezTo>
                    <a:pt x="253" y="203"/>
                    <a:pt x="245" y="203"/>
                    <a:pt x="243" y="201"/>
                  </a:cubicBezTo>
                  <a:cubicBezTo>
                    <a:pt x="241" y="200"/>
                    <a:pt x="237" y="197"/>
                    <a:pt x="237" y="195"/>
                  </a:cubicBezTo>
                  <a:cubicBezTo>
                    <a:pt x="237" y="194"/>
                    <a:pt x="238" y="194"/>
                    <a:pt x="238" y="194"/>
                  </a:cubicBezTo>
                  <a:cubicBezTo>
                    <a:pt x="239" y="192"/>
                    <a:pt x="241" y="187"/>
                    <a:pt x="240" y="186"/>
                  </a:cubicBezTo>
                  <a:cubicBezTo>
                    <a:pt x="240" y="185"/>
                    <a:pt x="239" y="184"/>
                    <a:pt x="238" y="184"/>
                  </a:cubicBezTo>
                  <a:cubicBezTo>
                    <a:pt x="234" y="184"/>
                    <a:pt x="229" y="187"/>
                    <a:pt x="227" y="187"/>
                  </a:cubicBezTo>
                  <a:cubicBezTo>
                    <a:pt x="226" y="187"/>
                    <a:pt x="225" y="187"/>
                    <a:pt x="224" y="187"/>
                  </a:cubicBezTo>
                  <a:cubicBezTo>
                    <a:pt x="220" y="187"/>
                    <a:pt x="219" y="185"/>
                    <a:pt x="217" y="181"/>
                  </a:cubicBezTo>
                  <a:cubicBezTo>
                    <a:pt x="215" y="177"/>
                    <a:pt x="210" y="174"/>
                    <a:pt x="209" y="170"/>
                  </a:cubicBezTo>
                  <a:cubicBezTo>
                    <a:pt x="209" y="169"/>
                    <a:pt x="210" y="169"/>
                    <a:pt x="209" y="168"/>
                  </a:cubicBezTo>
                  <a:cubicBezTo>
                    <a:pt x="208" y="165"/>
                    <a:pt x="206" y="162"/>
                    <a:pt x="204" y="159"/>
                  </a:cubicBezTo>
                  <a:cubicBezTo>
                    <a:pt x="198" y="149"/>
                    <a:pt x="182" y="147"/>
                    <a:pt x="178" y="136"/>
                  </a:cubicBezTo>
                  <a:cubicBezTo>
                    <a:pt x="176" y="132"/>
                    <a:pt x="169" y="122"/>
                    <a:pt x="173" y="119"/>
                  </a:cubicBezTo>
                  <a:cubicBezTo>
                    <a:pt x="175" y="118"/>
                    <a:pt x="176" y="118"/>
                    <a:pt x="177" y="118"/>
                  </a:cubicBezTo>
                  <a:cubicBezTo>
                    <a:pt x="179" y="118"/>
                    <a:pt x="181" y="118"/>
                    <a:pt x="183" y="118"/>
                  </a:cubicBezTo>
                  <a:cubicBezTo>
                    <a:pt x="185" y="119"/>
                    <a:pt x="187" y="119"/>
                    <a:pt x="188" y="119"/>
                  </a:cubicBezTo>
                  <a:cubicBezTo>
                    <a:pt x="188" y="119"/>
                    <a:pt x="188" y="119"/>
                    <a:pt x="189" y="119"/>
                  </a:cubicBezTo>
                  <a:cubicBezTo>
                    <a:pt x="191" y="119"/>
                    <a:pt x="196" y="118"/>
                    <a:pt x="198" y="116"/>
                  </a:cubicBezTo>
                  <a:cubicBezTo>
                    <a:pt x="199" y="115"/>
                    <a:pt x="198" y="109"/>
                    <a:pt x="197" y="107"/>
                  </a:cubicBezTo>
                  <a:cubicBezTo>
                    <a:pt x="197" y="106"/>
                    <a:pt x="195" y="105"/>
                    <a:pt x="194" y="104"/>
                  </a:cubicBezTo>
                  <a:cubicBezTo>
                    <a:pt x="192" y="101"/>
                    <a:pt x="189" y="97"/>
                    <a:pt x="185" y="96"/>
                  </a:cubicBezTo>
                  <a:cubicBezTo>
                    <a:pt x="184" y="96"/>
                    <a:pt x="184" y="95"/>
                    <a:pt x="183" y="95"/>
                  </a:cubicBezTo>
                  <a:cubicBezTo>
                    <a:pt x="182" y="95"/>
                    <a:pt x="182" y="96"/>
                    <a:pt x="181" y="96"/>
                  </a:cubicBezTo>
                  <a:cubicBezTo>
                    <a:pt x="180" y="96"/>
                    <a:pt x="180" y="96"/>
                    <a:pt x="179" y="96"/>
                  </a:cubicBezTo>
                  <a:cubicBezTo>
                    <a:pt x="179" y="96"/>
                    <a:pt x="178" y="96"/>
                    <a:pt x="178" y="96"/>
                  </a:cubicBezTo>
                  <a:cubicBezTo>
                    <a:pt x="171" y="96"/>
                    <a:pt x="165" y="88"/>
                    <a:pt x="159" y="86"/>
                  </a:cubicBezTo>
                  <a:cubicBezTo>
                    <a:pt x="155" y="85"/>
                    <a:pt x="150" y="84"/>
                    <a:pt x="146" y="83"/>
                  </a:cubicBezTo>
                  <a:cubicBezTo>
                    <a:pt x="144" y="83"/>
                    <a:pt x="138" y="83"/>
                    <a:pt x="137" y="81"/>
                  </a:cubicBezTo>
                  <a:cubicBezTo>
                    <a:pt x="135" y="79"/>
                    <a:pt x="138" y="77"/>
                    <a:pt x="138" y="75"/>
                  </a:cubicBezTo>
                  <a:cubicBezTo>
                    <a:pt x="139" y="73"/>
                    <a:pt x="139" y="70"/>
                    <a:pt x="138" y="68"/>
                  </a:cubicBezTo>
                  <a:cubicBezTo>
                    <a:pt x="136" y="62"/>
                    <a:pt x="130" y="57"/>
                    <a:pt x="127" y="52"/>
                  </a:cubicBezTo>
                  <a:cubicBezTo>
                    <a:pt x="124" y="49"/>
                    <a:pt x="124" y="51"/>
                    <a:pt x="121" y="49"/>
                  </a:cubicBezTo>
                  <a:cubicBezTo>
                    <a:pt x="114" y="46"/>
                    <a:pt x="105" y="42"/>
                    <a:pt x="102" y="35"/>
                  </a:cubicBezTo>
                  <a:cubicBezTo>
                    <a:pt x="101" y="33"/>
                    <a:pt x="99" y="34"/>
                    <a:pt x="97" y="33"/>
                  </a:cubicBezTo>
                  <a:cubicBezTo>
                    <a:pt x="66" y="22"/>
                    <a:pt x="34" y="1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1514"/>
            <p:cNvSpPr/>
            <p:nvPr/>
          </p:nvSpPr>
          <p:spPr bwMode="auto">
            <a:xfrm>
              <a:off x="2667" y="1064"/>
              <a:ext cx="683" cy="596"/>
            </a:xfrm>
            <a:custGeom>
              <a:gdLst>
                <a:gd name="T0" fmla="*/ 15 w 289"/>
                <a:gd name="T1" fmla="*/ 12 h 252"/>
                <a:gd name="T2" fmla="*/ 21 w 289"/>
                <a:gd name="T3" fmla="*/ 33 h 252"/>
                <a:gd name="T4" fmla="*/ 29 w 289"/>
                <a:gd name="T5" fmla="*/ 43 h 252"/>
                <a:gd name="T6" fmla="*/ 41 w 289"/>
                <a:gd name="T7" fmla="*/ 55 h 252"/>
                <a:gd name="T8" fmla="*/ 53 w 289"/>
                <a:gd name="T9" fmla="*/ 55 h 252"/>
                <a:gd name="T10" fmla="*/ 67 w 289"/>
                <a:gd name="T11" fmla="*/ 54 h 252"/>
                <a:gd name="T12" fmla="*/ 77 w 289"/>
                <a:gd name="T13" fmla="*/ 54 h 252"/>
                <a:gd name="T14" fmla="*/ 83 w 289"/>
                <a:gd name="T15" fmla="*/ 56 h 252"/>
                <a:gd name="T16" fmla="*/ 85 w 289"/>
                <a:gd name="T17" fmla="*/ 56 h 252"/>
                <a:gd name="T18" fmla="*/ 86 w 289"/>
                <a:gd name="T19" fmla="*/ 58 h 252"/>
                <a:gd name="T20" fmla="*/ 89 w 289"/>
                <a:gd name="T21" fmla="*/ 59 h 252"/>
                <a:gd name="T22" fmla="*/ 78 w 289"/>
                <a:gd name="T23" fmla="*/ 64 h 252"/>
                <a:gd name="T24" fmla="*/ 71 w 289"/>
                <a:gd name="T25" fmla="*/ 67 h 252"/>
                <a:gd name="T26" fmla="*/ 52 w 289"/>
                <a:gd name="T27" fmla="*/ 71 h 252"/>
                <a:gd name="T28" fmla="*/ 45 w 289"/>
                <a:gd name="T29" fmla="*/ 69 h 252"/>
                <a:gd name="T30" fmla="*/ 39 w 289"/>
                <a:gd name="T31" fmla="*/ 67 h 252"/>
                <a:gd name="T32" fmla="*/ 52 w 289"/>
                <a:gd name="T33" fmla="*/ 86 h 252"/>
                <a:gd name="T34" fmla="*/ 53 w 289"/>
                <a:gd name="T35" fmla="*/ 95 h 252"/>
                <a:gd name="T36" fmla="*/ 62 w 289"/>
                <a:gd name="T37" fmla="*/ 108 h 252"/>
                <a:gd name="T38" fmla="*/ 66 w 289"/>
                <a:gd name="T39" fmla="*/ 108 h 252"/>
                <a:gd name="T40" fmla="*/ 81 w 289"/>
                <a:gd name="T41" fmla="*/ 83 h 252"/>
                <a:gd name="T42" fmla="*/ 82 w 289"/>
                <a:gd name="T43" fmla="*/ 95 h 252"/>
                <a:gd name="T44" fmla="*/ 90 w 289"/>
                <a:gd name="T45" fmla="*/ 101 h 252"/>
                <a:gd name="T46" fmla="*/ 107 w 289"/>
                <a:gd name="T47" fmla="*/ 105 h 252"/>
                <a:gd name="T48" fmla="*/ 116 w 289"/>
                <a:gd name="T49" fmla="*/ 104 h 252"/>
                <a:gd name="T50" fmla="*/ 108 w 289"/>
                <a:gd name="T51" fmla="*/ 108 h 252"/>
                <a:gd name="T52" fmla="*/ 206 w 289"/>
                <a:gd name="T53" fmla="*/ 148 h 252"/>
                <a:gd name="T54" fmla="*/ 215 w 289"/>
                <a:gd name="T55" fmla="*/ 154 h 252"/>
                <a:gd name="T56" fmla="*/ 217 w 289"/>
                <a:gd name="T57" fmla="*/ 170 h 252"/>
                <a:gd name="T58" fmla="*/ 233 w 289"/>
                <a:gd name="T59" fmla="*/ 189 h 252"/>
                <a:gd name="T60" fmla="*/ 224 w 289"/>
                <a:gd name="T61" fmla="*/ 193 h 252"/>
                <a:gd name="T62" fmla="*/ 229 w 289"/>
                <a:gd name="T63" fmla="*/ 199 h 252"/>
                <a:gd name="T64" fmla="*/ 225 w 289"/>
                <a:gd name="T65" fmla="*/ 199 h 252"/>
                <a:gd name="T66" fmla="*/ 236 w 289"/>
                <a:gd name="T67" fmla="*/ 210 h 252"/>
                <a:gd name="T68" fmla="*/ 230 w 289"/>
                <a:gd name="T69" fmla="*/ 227 h 252"/>
                <a:gd name="T70" fmla="*/ 240 w 289"/>
                <a:gd name="T71" fmla="*/ 222 h 252"/>
                <a:gd name="T72" fmla="*/ 254 w 289"/>
                <a:gd name="T73" fmla="*/ 226 h 252"/>
                <a:gd name="T74" fmla="*/ 263 w 289"/>
                <a:gd name="T75" fmla="*/ 225 h 252"/>
                <a:gd name="T76" fmla="*/ 271 w 289"/>
                <a:gd name="T77" fmla="*/ 235 h 252"/>
                <a:gd name="T78" fmla="*/ 287 w 289"/>
                <a:gd name="T79" fmla="*/ 190 h 252"/>
                <a:gd name="T80" fmla="*/ 289 w 289"/>
                <a:gd name="T81" fmla="*/ 139 h 252"/>
                <a:gd name="T82" fmla="*/ 289 w 289"/>
                <a:gd name="T83" fmla="*/ 65 h 252"/>
                <a:gd name="T84" fmla="*/ 266 w 289"/>
                <a:gd name="T85" fmla="*/ 58 h 252"/>
                <a:gd name="T86" fmla="*/ 250 w 289"/>
                <a:gd name="T87" fmla="*/ 55 h 252"/>
                <a:gd name="T88" fmla="*/ 195 w 289"/>
                <a:gd name="T89" fmla="*/ 35 h 252"/>
                <a:gd name="T90" fmla="*/ 183 w 289"/>
                <a:gd name="T91" fmla="*/ 49 h 252"/>
                <a:gd name="T92" fmla="*/ 162 w 289"/>
                <a:gd name="T93" fmla="*/ 53 h 252"/>
                <a:gd name="T94" fmla="*/ 140 w 289"/>
                <a:gd name="T95" fmla="*/ 79 h 252"/>
                <a:gd name="T96" fmla="*/ 127 w 289"/>
                <a:gd name="T97" fmla="*/ 88 h 252"/>
                <a:gd name="T98" fmla="*/ 108 w 289"/>
                <a:gd name="T99" fmla="*/ 72 h 252"/>
                <a:gd name="T100" fmla="*/ 104 w 289"/>
                <a:gd name="T101" fmla="*/ 72 h 252"/>
                <a:gd name="T102" fmla="*/ 92 w 289"/>
                <a:gd name="T103" fmla="*/ 40 h 252"/>
                <a:gd name="T104" fmla="*/ 92 w 289"/>
                <a:gd name="T105" fmla="*/ 21 h 252"/>
                <a:gd name="T106" fmla="*/ 48 w 289"/>
                <a:gd name="T107" fmla="*/ 0 h 2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9" h="251">
                  <a:moveTo>
                    <a:pt x="46" y="0"/>
                  </a:moveTo>
                  <a:cubicBezTo>
                    <a:pt x="43" y="0"/>
                    <a:pt x="41" y="1"/>
                    <a:pt x="39" y="2"/>
                  </a:cubicBezTo>
                  <a:cubicBezTo>
                    <a:pt x="35" y="4"/>
                    <a:pt x="31" y="8"/>
                    <a:pt x="28" y="10"/>
                  </a:cubicBezTo>
                  <a:cubicBezTo>
                    <a:pt x="24" y="11"/>
                    <a:pt x="19" y="11"/>
                    <a:pt x="15" y="12"/>
                  </a:cubicBezTo>
                  <a:cubicBezTo>
                    <a:pt x="14" y="12"/>
                    <a:pt x="10" y="13"/>
                    <a:pt x="9" y="13"/>
                  </a:cubicBezTo>
                  <a:cubicBezTo>
                    <a:pt x="8" y="15"/>
                    <a:pt x="10" y="17"/>
                    <a:pt x="10" y="18"/>
                  </a:cubicBezTo>
                  <a:cubicBezTo>
                    <a:pt x="9" y="22"/>
                    <a:pt x="3" y="28"/>
                    <a:pt x="0" y="31"/>
                  </a:cubicBezTo>
                  <a:cubicBezTo>
                    <a:pt x="7" y="32"/>
                    <a:pt x="14" y="32"/>
                    <a:pt x="21" y="33"/>
                  </a:cubicBezTo>
                  <a:cubicBezTo>
                    <a:pt x="23" y="34"/>
                    <a:pt x="26" y="35"/>
                    <a:pt x="29" y="35"/>
                  </a:cubicBezTo>
                  <a:cubicBezTo>
                    <a:pt x="29" y="35"/>
                    <a:pt x="29" y="35"/>
                    <a:pt x="30" y="35"/>
                  </a:cubicBezTo>
                  <a:cubicBezTo>
                    <a:pt x="28" y="36"/>
                    <a:pt x="27" y="37"/>
                    <a:pt x="29" y="39"/>
                  </a:cubicBezTo>
                  <a:cubicBezTo>
                    <a:pt x="30" y="42"/>
                    <a:pt x="29" y="41"/>
                    <a:pt x="29" y="43"/>
                  </a:cubicBezTo>
                  <a:cubicBezTo>
                    <a:pt x="31" y="49"/>
                    <a:pt x="34" y="51"/>
                    <a:pt x="39" y="55"/>
                  </a:cubicBezTo>
                  <a:cubicBezTo>
                    <a:pt x="39" y="55"/>
                    <a:pt x="40" y="55"/>
                    <a:pt x="40" y="55"/>
                  </a:cubicBezTo>
                  <a:cubicBezTo>
                    <a:pt x="40" y="55"/>
                    <a:pt x="40" y="55"/>
                    <a:pt x="40" y="55"/>
                  </a:cubicBezTo>
                  <a:cubicBezTo>
                    <a:pt x="41" y="55"/>
                    <a:pt x="41" y="55"/>
                    <a:pt x="41" y="55"/>
                  </a:cubicBezTo>
                  <a:cubicBezTo>
                    <a:pt x="41" y="55"/>
                    <a:pt x="41" y="55"/>
                    <a:pt x="41" y="55"/>
                  </a:cubicBezTo>
                  <a:cubicBezTo>
                    <a:pt x="43" y="55"/>
                    <a:pt x="45" y="53"/>
                    <a:pt x="47" y="53"/>
                  </a:cubicBezTo>
                  <a:cubicBezTo>
                    <a:pt x="47" y="53"/>
                    <a:pt x="47" y="53"/>
                    <a:pt x="47" y="53"/>
                  </a:cubicBezTo>
                  <a:cubicBezTo>
                    <a:pt x="49" y="53"/>
                    <a:pt x="52" y="54"/>
                    <a:pt x="53" y="55"/>
                  </a:cubicBezTo>
                  <a:cubicBezTo>
                    <a:pt x="55" y="55"/>
                    <a:pt x="57" y="56"/>
                    <a:pt x="59" y="56"/>
                  </a:cubicBezTo>
                  <a:cubicBezTo>
                    <a:pt x="59" y="56"/>
                    <a:pt x="59" y="56"/>
                    <a:pt x="59" y="56"/>
                  </a:cubicBezTo>
                  <a:cubicBezTo>
                    <a:pt x="61" y="56"/>
                    <a:pt x="64" y="54"/>
                    <a:pt x="66" y="54"/>
                  </a:cubicBezTo>
                  <a:cubicBezTo>
                    <a:pt x="66" y="54"/>
                    <a:pt x="67" y="54"/>
                    <a:pt x="67" y="54"/>
                  </a:cubicBezTo>
                  <a:cubicBezTo>
                    <a:pt x="67" y="54"/>
                    <a:pt x="68" y="54"/>
                    <a:pt x="70" y="54"/>
                  </a:cubicBezTo>
                  <a:cubicBezTo>
                    <a:pt x="71" y="54"/>
                    <a:pt x="72" y="54"/>
                    <a:pt x="73" y="54"/>
                  </a:cubicBezTo>
                  <a:cubicBezTo>
                    <a:pt x="74" y="54"/>
                    <a:pt x="75" y="54"/>
                    <a:pt x="75" y="54"/>
                  </a:cubicBezTo>
                  <a:cubicBezTo>
                    <a:pt x="75" y="54"/>
                    <a:pt x="76" y="54"/>
                    <a:pt x="77" y="54"/>
                  </a:cubicBezTo>
                  <a:cubicBezTo>
                    <a:pt x="78" y="54"/>
                    <a:pt x="80" y="53"/>
                    <a:pt x="82" y="52"/>
                  </a:cubicBezTo>
                  <a:cubicBezTo>
                    <a:pt x="83" y="52"/>
                    <a:pt x="85" y="51"/>
                    <a:pt x="87" y="51"/>
                  </a:cubicBezTo>
                  <a:cubicBezTo>
                    <a:pt x="87" y="51"/>
                    <a:pt x="87" y="51"/>
                    <a:pt x="87" y="51"/>
                  </a:cubicBezTo>
                  <a:cubicBezTo>
                    <a:pt x="86" y="52"/>
                    <a:pt x="83" y="55"/>
                    <a:pt x="83" y="56"/>
                  </a:cubicBezTo>
                  <a:cubicBezTo>
                    <a:pt x="84" y="56"/>
                    <a:pt x="84" y="56"/>
                    <a:pt x="84" y="56"/>
                  </a:cubicBezTo>
                  <a:cubicBezTo>
                    <a:pt x="84" y="56"/>
                    <a:pt x="84" y="56"/>
                    <a:pt x="85" y="56"/>
                  </a:cubicBezTo>
                  <a:cubicBezTo>
                    <a:pt x="85" y="56"/>
                    <a:pt x="85" y="56"/>
                    <a:pt x="85" y="56"/>
                  </a:cubicBezTo>
                  <a:cubicBezTo>
                    <a:pt x="85" y="56"/>
                    <a:pt x="85" y="56"/>
                    <a:pt x="85" y="56"/>
                  </a:cubicBezTo>
                  <a:cubicBezTo>
                    <a:pt x="85" y="56"/>
                    <a:pt x="85" y="56"/>
                    <a:pt x="85" y="56"/>
                  </a:cubicBezTo>
                  <a:cubicBezTo>
                    <a:pt x="86" y="56"/>
                    <a:pt x="86" y="56"/>
                    <a:pt x="86" y="56"/>
                  </a:cubicBezTo>
                  <a:cubicBezTo>
                    <a:pt x="86" y="56"/>
                    <a:pt x="87" y="56"/>
                    <a:pt x="87" y="56"/>
                  </a:cubicBezTo>
                  <a:cubicBezTo>
                    <a:pt x="88" y="56"/>
                    <a:pt x="88" y="56"/>
                    <a:pt x="86" y="58"/>
                  </a:cubicBezTo>
                  <a:cubicBezTo>
                    <a:pt x="87" y="57"/>
                    <a:pt x="87" y="58"/>
                    <a:pt x="88" y="57"/>
                  </a:cubicBezTo>
                  <a:cubicBezTo>
                    <a:pt x="87" y="58"/>
                    <a:pt x="87" y="58"/>
                    <a:pt x="86" y="59"/>
                  </a:cubicBezTo>
                  <a:cubicBezTo>
                    <a:pt x="87" y="59"/>
                    <a:pt x="88" y="59"/>
                    <a:pt x="89" y="59"/>
                  </a:cubicBezTo>
                  <a:cubicBezTo>
                    <a:pt x="89" y="59"/>
                    <a:pt x="89" y="59"/>
                    <a:pt x="89" y="59"/>
                  </a:cubicBezTo>
                  <a:cubicBezTo>
                    <a:pt x="86" y="61"/>
                    <a:pt x="84" y="63"/>
                    <a:pt x="84" y="66"/>
                  </a:cubicBezTo>
                  <a:cubicBezTo>
                    <a:pt x="83" y="65"/>
                    <a:pt x="82" y="64"/>
                    <a:pt x="81" y="63"/>
                  </a:cubicBezTo>
                  <a:cubicBezTo>
                    <a:pt x="81" y="65"/>
                    <a:pt x="80" y="66"/>
                    <a:pt x="80" y="68"/>
                  </a:cubicBezTo>
                  <a:cubicBezTo>
                    <a:pt x="79" y="65"/>
                    <a:pt x="79" y="64"/>
                    <a:pt x="78" y="64"/>
                  </a:cubicBezTo>
                  <a:cubicBezTo>
                    <a:pt x="77" y="64"/>
                    <a:pt x="76" y="65"/>
                    <a:pt x="74" y="66"/>
                  </a:cubicBezTo>
                  <a:cubicBezTo>
                    <a:pt x="73" y="65"/>
                    <a:pt x="73" y="64"/>
                    <a:pt x="73" y="62"/>
                  </a:cubicBezTo>
                  <a:cubicBezTo>
                    <a:pt x="72" y="64"/>
                    <a:pt x="72" y="66"/>
                    <a:pt x="72" y="67"/>
                  </a:cubicBezTo>
                  <a:cubicBezTo>
                    <a:pt x="71" y="67"/>
                    <a:pt x="71" y="67"/>
                    <a:pt x="71" y="67"/>
                  </a:cubicBezTo>
                  <a:cubicBezTo>
                    <a:pt x="71" y="64"/>
                    <a:pt x="72" y="62"/>
                    <a:pt x="68" y="61"/>
                  </a:cubicBezTo>
                  <a:cubicBezTo>
                    <a:pt x="67" y="61"/>
                    <a:pt x="67" y="61"/>
                    <a:pt x="66" y="61"/>
                  </a:cubicBezTo>
                  <a:cubicBezTo>
                    <a:pt x="61" y="61"/>
                    <a:pt x="59" y="65"/>
                    <a:pt x="56" y="68"/>
                  </a:cubicBezTo>
                  <a:cubicBezTo>
                    <a:pt x="54" y="70"/>
                    <a:pt x="54" y="71"/>
                    <a:pt x="52" y="71"/>
                  </a:cubicBezTo>
                  <a:cubicBezTo>
                    <a:pt x="52" y="71"/>
                    <a:pt x="51" y="71"/>
                    <a:pt x="50" y="70"/>
                  </a:cubicBezTo>
                  <a:cubicBezTo>
                    <a:pt x="49" y="70"/>
                    <a:pt x="48" y="69"/>
                    <a:pt x="47" y="68"/>
                  </a:cubicBezTo>
                  <a:cubicBezTo>
                    <a:pt x="47" y="68"/>
                    <a:pt x="47" y="68"/>
                    <a:pt x="47" y="68"/>
                  </a:cubicBezTo>
                  <a:cubicBezTo>
                    <a:pt x="46" y="68"/>
                    <a:pt x="45" y="69"/>
                    <a:pt x="45" y="69"/>
                  </a:cubicBezTo>
                  <a:cubicBezTo>
                    <a:pt x="44" y="69"/>
                    <a:pt x="44" y="69"/>
                    <a:pt x="44" y="69"/>
                  </a:cubicBezTo>
                  <a:cubicBezTo>
                    <a:pt x="44" y="69"/>
                    <a:pt x="44" y="69"/>
                    <a:pt x="44" y="69"/>
                  </a:cubicBezTo>
                  <a:cubicBezTo>
                    <a:pt x="43" y="69"/>
                    <a:pt x="41" y="68"/>
                    <a:pt x="40" y="68"/>
                  </a:cubicBezTo>
                  <a:cubicBezTo>
                    <a:pt x="40" y="67"/>
                    <a:pt x="39" y="67"/>
                    <a:pt x="39" y="67"/>
                  </a:cubicBezTo>
                  <a:cubicBezTo>
                    <a:pt x="38" y="67"/>
                    <a:pt x="37" y="67"/>
                    <a:pt x="36" y="68"/>
                  </a:cubicBezTo>
                  <a:cubicBezTo>
                    <a:pt x="34" y="68"/>
                    <a:pt x="32" y="69"/>
                    <a:pt x="30" y="70"/>
                  </a:cubicBezTo>
                  <a:cubicBezTo>
                    <a:pt x="34" y="74"/>
                    <a:pt x="39" y="74"/>
                    <a:pt x="43" y="77"/>
                  </a:cubicBezTo>
                  <a:cubicBezTo>
                    <a:pt x="47" y="80"/>
                    <a:pt x="49" y="83"/>
                    <a:pt x="52" y="86"/>
                  </a:cubicBezTo>
                  <a:cubicBezTo>
                    <a:pt x="52" y="85"/>
                    <a:pt x="53" y="85"/>
                    <a:pt x="53" y="85"/>
                  </a:cubicBezTo>
                  <a:cubicBezTo>
                    <a:pt x="54" y="85"/>
                    <a:pt x="54" y="85"/>
                    <a:pt x="55" y="86"/>
                  </a:cubicBezTo>
                  <a:cubicBezTo>
                    <a:pt x="55" y="88"/>
                    <a:pt x="58" y="92"/>
                    <a:pt x="58" y="93"/>
                  </a:cubicBezTo>
                  <a:cubicBezTo>
                    <a:pt x="57" y="94"/>
                    <a:pt x="54" y="94"/>
                    <a:pt x="53" y="95"/>
                  </a:cubicBezTo>
                  <a:cubicBezTo>
                    <a:pt x="52" y="97"/>
                    <a:pt x="54" y="103"/>
                    <a:pt x="56" y="106"/>
                  </a:cubicBezTo>
                  <a:cubicBezTo>
                    <a:pt x="57" y="109"/>
                    <a:pt x="57" y="109"/>
                    <a:pt x="57" y="109"/>
                  </a:cubicBezTo>
                  <a:cubicBezTo>
                    <a:pt x="58" y="109"/>
                    <a:pt x="58" y="109"/>
                    <a:pt x="59" y="109"/>
                  </a:cubicBezTo>
                  <a:cubicBezTo>
                    <a:pt x="60" y="109"/>
                    <a:pt x="61" y="108"/>
                    <a:pt x="62" y="108"/>
                  </a:cubicBezTo>
                  <a:cubicBezTo>
                    <a:pt x="62" y="108"/>
                    <a:pt x="62" y="108"/>
                    <a:pt x="63" y="108"/>
                  </a:cubicBezTo>
                  <a:cubicBezTo>
                    <a:pt x="63" y="108"/>
                    <a:pt x="64" y="108"/>
                    <a:pt x="64" y="108"/>
                  </a:cubicBezTo>
                  <a:cubicBezTo>
                    <a:pt x="65" y="108"/>
                    <a:pt x="65" y="108"/>
                    <a:pt x="66" y="108"/>
                  </a:cubicBezTo>
                  <a:cubicBezTo>
                    <a:pt x="66" y="108"/>
                    <a:pt x="66" y="108"/>
                    <a:pt x="66" y="108"/>
                  </a:cubicBezTo>
                  <a:cubicBezTo>
                    <a:pt x="71" y="107"/>
                    <a:pt x="72" y="100"/>
                    <a:pt x="74" y="96"/>
                  </a:cubicBezTo>
                  <a:cubicBezTo>
                    <a:pt x="77" y="89"/>
                    <a:pt x="79" y="80"/>
                    <a:pt x="86" y="76"/>
                  </a:cubicBezTo>
                  <a:cubicBezTo>
                    <a:pt x="85" y="78"/>
                    <a:pt x="84" y="79"/>
                    <a:pt x="83" y="81"/>
                  </a:cubicBezTo>
                  <a:cubicBezTo>
                    <a:pt x="82" y="82"/>
                    <a:pt x="81" y="82"/>
                    <a:pt x="81" y="83"/>
                  </a:cubicBezTo>
                  <a:cubicBezTo>
                    <a:pt x="80" y="85"/>
                    <a:pt x="81" y="86"/>
                    <a:pt x="80" y="89"/>
                  </a:cubicBezTo>
                  <a:cubicBezTo>
                    <a:pt x="80" y="90"/>
                    <a:pt x="79" y="90"/>
                    <a:pt x="79" y="91"/>
                  </a:cubicBezTo>
                  <a:cubicBezTo>
                    <a:pt x="79" y="94"/>
                    <a:pt x="79" y="95"/>
                    <a:pt x="80" y="95"/>
                  </a:cubicBezTo>
                  <a:cubicBezTo>
                    <a:pt x="80" y="95"/>
                    <a:pt x="81" y="95"/>
                    <a:pt x="82" y="95"/>
                  </a:cubicBezTo>
                  <a:cubicBezTo>
                    <a:pt x="82" y="94"/>
                    <a:pt x="83" y="94"/>
                    <a:pt x="83" y="94"/>
                  </a:cubicBezTo>
                  <a:cubicBezTo>
                    <a:pt x="84" y="94"/>
                    <a:pt x="84" y="94"/>
                    <a:pt x="84" y="94"/>
                  </a:cubicBezTo>
                  <a:cubicBezTo>
                    <a:pt x="87" y="95"/>
                    <a:pt x="86" y="101"/>
                    <a:pt x="89" y="101"/>
                  </a:cubicBezTo>
                  <a:cubicBezTo>
                    <a:pt x="89" y="101"/>
                    <a:pt x="90" y="101"/>
                    <a:pt x="90" y="101"/>
                  </a:cubicBezTo>
                  <a:cubicBezTo>
                    <a:pt x="92" y="101"/>
                    <a:pt x="93" y="101"/>
                    <a:pt x="93" y="99"/>
                  </a:cubicBezTo>
                  <a:cubicBezTo>
                    <a:pt x="95" y="101"/>
                    <a:pt x="96" y="104"/>
                    <a:pt x="98" y="106"/>
                  </a:cubicBezTo>
                  <a:cubicBezTo>
                    <a:pt x="99" y="105"/>
                    <a:pt x="100" y="104"/>
                    <a:pt x="99" y="102"/>
                  </a:cubicBezTo>
                  <a:cubicBezTo>
                    <a:pt x="101" y="103"/>
                    <a:pt x="104" y="105"/>
                    <a:pt x="107" y="105"/>
                  </a:cubicBezTo>
                  <a:cubicBezTo>
                    <a:pt x="107" y="105"/>
                    <a:pt x="107" y="105"/>
                    <a:pt x="107" y="105"/>
                  </a:cubicBezTo>
                  <a:cubicBezTo>
                    <a:pt x="108" y="105"/>
                    <a:pt x="108" y="103"/>
                    <a:pt x="109" y="103"/>
                  </a:cubicBezTo>
                  <a:cubicBezTo>
                    <a:pt x="109" y="103"/>
                    <a:pt x="110" y="103"/>
                    <a:pt x="110" y="103"/>
                  </a:cubicBezTo>
                  <a:cubicBezTo>
                    <a:pt x="112" y="103"/>
                    <a:pt x="115" y="104"/>
                    <a:pt x="116" y="104"/>
                  </a:cubicBezTo>
                  <a:cubicBezTo>
                    <a:pt x="115" y="104"/>
                    <a:pt x="114" y="104"/>
                    <a:pt x="113" y="104"/>
                  </a:cubicBezTo>
                  <a:cubicBezTo>
                    <a:pt x="113" y="104"/>
                    <a:pt x="112" y="104"/>
                    <a:pt x="112" y="104"/>
                  </a:cubicBezTo>
                  <a:cubicBezTo>
                    <a:pt x="112" y="104"/>
                    <a:pt x="111" y="104"/>
                    <a:pt x="111" y="104"/>
                  </a:cubicBezTo>
                  <a:cubicBezTo>
                    <a:pt x="110" y="104"/>
                    <a:pt x="109" y="105"/>
                    <a:pt x="108" y="108"/>
                  </a:cubicBezTo>
                  <a:cubicBezTo>
                    <a:pt x="107" y="112"/>
                    <a:pt x="133" y="119"/>
                    <a:pt x="134" y="120"/>
                  </a:cubicBezTo>
                  <a:cubicBezTo>
                    <a:pt x="152" y="125"/>
                    <a:pt x="170" y="131"/>
                    <a:pt x="187" y="136"/>
                  </a:cubicBezTo>
                  <a:cubicBezTo>
                    <a:pt x="195" y="139"/>
                    <a:pt x="201" y="143"/>
                    <a:pt x="206" y="148"/>
                  </a:cubicBezTo>
                  <a:cubicBezTo>
                    <a:pt x="206" y="148"/>
                    <a:pt x="206" y="148"/>
                    <a:pt x="206" y="148"/>
                  </a:cubicBezTo>
                  <a:cubicBezTo>
                    <a:pt x="207" y="147"/>
                    <a:pt x="207" y="148"/>
                    <a:pt x="207" y="147"/>
                  </a:cubicBezTo>
                  <a:cubicBezTo>
                    <a:pt x="207" y="149"/>
                    <a:pt x="205" y="156"/>
                    <a:pt x="209" y="156"/>
                  </a:cubicBezTo>
                  <a:cubicBezTo>
                    <a:pt x="209" y="156"/>
                    <a:pt x="209" y="156"/>
                    <a:pt x="209" y="156"/>
                  </a:cubicBezTo>
                  <a:cubicBezTo>
                    <a:pt x="211" y="155"/>
                    <a:pt x="213" y="155"/>
                    <a:pt x="215" y="154"/>
                  </a:cubicBezTo>
                  <a:cubicBezTo>
                    <a:pt x="214" y="155"/>
                    <a:pt x="212" y="156"/>
                    <a:pt x="210" y="157"/>
                  </a:cubicBezTo>
                  <a:cubicBezTo>
                    <a:pt x="212" y="158"/>
                    <a:pt x="214" y="159"/>
                    <a:pt x="216" y="159"/>
                  </a:cubicBezTo>
                  <a:cubicBezTo>
                    <a:pt x="216" y="159"/>
                    <a:pt x="217" y="159"/>
                    <a:pt x="217" y="159"/>
                  </a:cubicBezTo>
                  <a:cubicBezTo>
                    <a:pt x="210" y="162"/>
                    <a:pt x="214" y="164"/>
                    <a:pt x="217" y="170"/>
                  </a:cubicBezTo>
                  <a:cubicBezTo>
                    <a:pt x="219" y="176"/>
                    <a:pt x="224" y="180"/>
                    <a:pt x="229" y="184"/>
                  </a:cubicBezTo>
                  <a:cubicBezTo>
                    <a:pt x="228" y="184"/>
                    <a:pt x="226" y="184"/>
                    <a:pt x="225" y="184"/>
                  </a:cubicBezTo>
                  <a:cubicBezTo>
                    <a:pt x="225" y="184"/>
                    <a:pt x="225" y="184"/>
                    <a:pt x="225" y="184"/>
                  </a:cubicBezTo>
                  <a:cubicBezTo>
                    <a:pt x="225" y="184"/>
                    <a:pt x="229" y="187"/>
                    <a:pt x="233" y="189"/>
                  </a:cubicBezTo>
                  <a:cubicBezTo>
                    <a:pt x="232" y="189"/>
                    <a:pt x="232" y="189"/>
                    <a:pt x="231" y="189"/>
                  </a:cubicBezTo>
                  <a:cubicBezTo>
                    <a:pt x="230" y="189"/>
                    <a:pt x="229" y="189"/>
                    <a:pt x="228" y="189"/>
                  </a:cubicBezTo>
                  <a:cubicBezTo>
                    <a:pt x="227" y="189"/>
                    <a:pt x="223" y="189"/>
                    <a:pt x="222" y="190"/>
                  </a:cubicBezTo>
                  <a:cubicBezTo>
                    <a:pt x="220" y="191"/>
                    <a:pt x="223" y="192"/>
                    <a:pt x="224" y="193"/>
                  </a:cubicBezTo>
                  <a:cubicBezTo>
                    <a:pt x="229" y="195"/>
                    <a:pt x="234" y="197"/>
                    <a:pt x="240" y="200"/>
                  </a:cubicBezTo>
                  <a:cubicBezTo>
                    <a:pt x="239" y="200"/>
                    <a:pt x="238" y="200"/>
                    <a:pt x="237" y="200"/>
                  </a:cubicBezTo>
                  <a:cubicBezTo>
                    <a:pt x="236" y="200"/>
                    <a:pt x="235" y="200"/>
                    <a:pt x="233" y="199"/>
                  </a:cubicBezTo>
                  <a:cubicBezTo>
                    <a:pt x="232" y="199"/>
                    <a:pt x="231" y="199"/>
                    <a:pt x="229" y="199"/>
                  </a:cubicBezTo>
                  <a:cubicBezTo>
                    <a:pt x="228" y="199"/>
                    <a:pt x="228" y="199"/>
                    <a:pt x="227" y="199"/>
                  </a:cubicBezTo>
                  <a:cubicBezTo>
                    <a:pt x="227" y="199"/>
                    <a:pt x="227" y="199"/>
                    <a:pt x="227" y="199"/>
                  </a:cubicBezTo>
                  <a:cubicBezTo>
                    <a:pt x="227" y="199"/>
                    <a:pt x="226" y="199"/>
                    <a:pt x="226" y="199"/>
                  </a:cubicBezTo>
                  <a:cubicBezTo>
                    <a:pt x="226" y="199"/>
                    <a:pt x="225" y="199"/>
                    <a:pt x="225" y="199"/>
                  </a:cubicBezTo>
                  <a:cubicBezTo>
                    <a:pt x="225" y="199"/>
                    <a:pt x="225" y="199"/>
                    <a:pt x="225" y="199"/>
                  </a:cubicBezTo>
                  <a:cubicBezTo>
                    <a:pt x="224" y="200"/>
                    <a:pt x="228" y="204"/>
                    <a:pt x="229" y="205"/>
                  </a:cubicBezTo>
                  <a:cubicBezTo>
                    <a:pt x="231" y="206"/>
                    <a:pt x="233" y="208"/>
                    <a:pt x="234" y="209"/>
                  </a:cubicBezTo>
                  <a:cubicBezTo>
                    <a:pt x="235" y="210"/>
                    <a:pt x="236" y="209"/>
                    <a:pt x="236" y="210"/>
                  </a:cubicBezTo>
                  <a:cubicBezTo>
                    <a:pt x="236" y="211"/>
                    <a:pt x="234" y="217"/>
                    <a:pt x="234" y="218"/>
                  </a:cubicBezTo>
                  <a:cubicBezTo>
                    <a:pt x="233" y="220"/>
                    <a:pt x="232" y="219"/>
                    <a:pt x="232" y="221"/>
                  </a:cubicBezTo>
                  <a:cubicBezTo>
                    <a:pt x="231" y="222"/>
                    <a:pt x="232" y="224"/>
                    <a:pt x="232" y="225"/>
                  </a:cubicBezTo>
                  <a:cubicBezTo>
                    <a:pt x="231" y="226"/>
                    <a:pt x="230" y="225"/>
                    <a:pt x="230" y="227"/>
                  </a:cubicBezTo>
                  <a:cubicBezTo>
                    <a:pt x="230" y="228"/>
                    <a:pt x="231" y="230"/>
                    <a:pt x="232" y="231"/>
                  </a:cubicBezTo>
                  <a:cubicBezTo>
                    <a:pt x="233" y="229"/>
                    <a:pt x="235" y="228"/>
                    <a:pt x="237" y="227"/>
                  </a:cubicBezTo>
                  <a:cubicBezTo>
                    <a:pt x="237" y="226"/>
                    <a:pt x="240" y="226"/>
                    <a:pt x="241" y="225"/>
                  </a:cubicBezTo>
                  <a:cubicBezTo>
                    <a:pt x="241" y="224"/>
                    <a:pt x="240" y="222"/>
                    <a:pt x="240" y="222"/>
                  </a:cubicBezTo>
                  <a:cubicBezTo>
                    <a:pt x="240" y="221"/>
                    <a:pt x="241" y="221"/>
                    <a:pt x="241" y="221"/>
                  </a:cubicBezTo>
                  <a:cubicBezTo>
                    <a:pt x="242" y="221"/>
                    <a:pt x="241" y="226"/>
                    <a:pt x="242" y="226"/>
                  </a:cubicBezTo>
                  <a:cubicBezTo>
                    <a:pt x="243" y="228"/>
                    <a:pt x="244" y="228"/>
                    <a:pt x="245" y="228"/>
                  </a:cubicBezTo>
                  <a:cubicBezTo>
                    <a:pt x="248" y="228"/>
                    <a:pt x="252" y="226"/>
                    <a:pt x="254" y="226"/>
                  </a:cubicBezTo>
                  <a:cubicBezTo>
                    <a:pt x="255" y="226"/>
                    <a:pt x="255" y="226"/>
                    <a:pt x="256" y="226"/>
                  </a:cubicBezTo>
                  <a:cubicBezTo>
                    <a:pt x="256" y="226"/>
                    <a:pt x="257" y="226"/>
                    <a:pt x="257" y="226"/>
                  </a:cubicBezTo>
                  <a:cubicBezTo>
                    <a:pt x="258" y="226"/>
                    <a:pt x="259" y="226"/>
                    <a:pt x="259" y="226"/>
                  </a:cubicBezTo>
                  <a:cubicBezTo>
                    <a:pt x="260" y="226"/>
                    <a:pt x="262" y="226"/>
                    <a:pt x="263" y="225"/>
                  </a:cubicBezTo>
                  <a:cubicBezTo>
                    <a:pt x="265" y="224"/>
                    <a:pt x="264" y="220"/>
                    <a:pt x="266" y="220"/>
                  </a:cubicBezTo>
                  <a:cubicBezTo>
                    <a:pt x="264" y="222"/>
                    <a:pt x="266" y="222"/>
                    <a:pt x="265" y="224"/>
                  </a:cubicBezTo>
                  <a:cubicBezTo>
                    <a:pt x="265" y="225"/>
                    <a:pt x="263" y="225"/>
                    <a:pt x="263" y="226"/>
                  </a:cubicBezTo>
                  <a:cubicBezTo>
                    <a:pt x="262" y="229"/>
                    <a:pt x="269" y="233"/>
                    <a:pt x="271" y="235"/>
                  </a:cubicBezTo>
                  <a:cubicBezTo>
                    <a:pt x="277" y="241"/>
                    <a:pt x="283" y="246"/>
                    <a:pt x="289" y="252"/>
                  </a:cubicBezTo>
                  <a:cubicBezTo>
                    <a:pt x="289" y="192"/>
                    <a:pt x="289" y="192"/>
                    <a:pt x="289" y="192"/>
                  </a:cubicBezTo>
                  <a:cubicBezTo>
                    <a:pt x="288" y="192"/>
                    <a:pt x="288" y="192"/>
                    <a:pt x="288" y="192"/>
                  </a:cubicBezTo>
                  <a:cubicBezTo>
                    <a:pt x="288" y="191"/>
                    <a:pt x="287" y="191"/>
                    <a:pt x="287" y="190"/>
                  </a:cubicBezTo>
                  <a:cubicBezTo>
                    <a:pt x="286" y="189"/>
                    <a:pt x="286" y="188"/>
                    <a:pt x="286" y="187"/>
                  </a:cubicBezTo>
                  <a:cubicBezTo>
                    <a:pt x="288" y="158"/>
                    <a:pt x="288" y="158"/>
                    <a:pt x="288" y="158"/>
                  </a:cubicBezTo>
                  <a:cubicBezTo>
                    <a:pt x="288" y="153"/>
                    <a:pt x="289" y="148"/>
                    <a:pt x="289" y="143"/>
                  </a:cubicBezTo>
                  <a:cubicBezTo>
                    <a:pt x="289" y="139"/>
                    <a:pt x="289" y="139"/>
                    <a:pt x="289" y="139"/>
                  </a:cubicBezTo>
                  <a:cubicBezTo>
                    <a:pt x="289" y="137"/>
                    <a:pt x="289" y="136"/>
                    <a:pt x="289" y="135"/>
                  </a:cubicBezTo>
                  <a:cubicBezTo>
                    <a:pt x="289" y="131"/>
                    <a:pt x="289" y="131"/>
                    <a:pt x="289" y="131"/>
                  </a:cubicBezTo>
                  <a:cubicBezTo>
                    <a:pt x="289" y="118"/>
                    <a:pt x="289" y="103"/>
                    <a:pt x="289" y="91"/>
                  </a:cubicBezTo>
                  <a:cubicBezTo>
                    <a:pt x="289" y="82"/>
                    <a:pt x="289" y="74"/>
                    <a:pt x="289" y="65"/>
                  </a:cubicBezTo>
                  <a:cubicBezTo>
                    <a:pt x="287" y="65"/>
                    <a:pt x="286" y="65"/>
                    <a:pt x="285" y="66"/>
                  </a:cubicBezTo>
                  <a:cubicBezTo>
                    <a:pt x="284" y="65"/>
                    <a:pt x="283" y="61"/>
                    <a:pt x="282" y="61"/>
                  </a:cubicBezTo>
                  <a:cubicBezTo>
                    <a:pt x="278" y="60"/>
                    <a:pt x="273" y="59"/>
                    <a:pt x="269" y="59"/>
                  </a:cubicBezTo>
                  <a:cubicBezTo>
                    <a:pt x="268" y="58"/>
                    <a:pt x="267" y="58"/>
                    <a:pt x="266" y="58"/>
                  </a:cubicBezTo>
                  <a:cubicBezTo>
                    <a:pt x="265" y="58"/>
                    <a:pt x="264" y="58"/>
                    <a:pt x="263" y="58"/>
                  </a:cubicBezTo>
                  <a:cubicBezTo>
                    <a:pt x="262" y="59"/>
                    <a:pt x="261" y="59"/>
                    <a:pt x="260" y="59"/>
                  </a:cubicBezTo>
                  <a:cubicBezTo>
                    <a:pt x="260" y="59"/>
                    <a:pt x="259" y="59"/>
                    <a:pt x="258" y="58"/>
                  </a:cubicBezTo>
                  <a:cubicBezTo>
                    <a:pt x="255" y="58"/>
                    <a:pt x="253" y="56"/>
                    <a:pt x="250" y="55"/>
                  </a:cubicBezTo>
                  <a:cubicBezTo>
                    <a:pt x="242" y="51"/>
                    <a:pt x="234" y="48"/>
                    <a:pt x="226" y="44"/>
                  </a:cubicBezTo>
                  <a:cubicBezTo>
                    <a:pt x="219" y="40"/>
                    <a:pt x="212" y="37"/>
                    <a:pt x="204" y="34"/>
                  </a:cubicBezTo>
                  <a:cubicBezTo>
                    <a:pt x="204" y="33"/>
                    <a:pt x="203" y="33"/>
                    <a:pt x="202" y="33"/>
                  </a:cubicBezTo>
                  <a:cubicBezTo>
                    <a:pt x="199" y="33"/>
                    <a:pt x="197" y="34"/>
                    <a:pt x="195" y="35"/>
                  </a:cubicBezTo>
                  <a:cubicBezTo>
                    <a:pt x="191" y="36"/>
                    <a:pt x="188" y="38"/>
                    <a:pt x="185" y="40"/>
                  </a:cubicBezTo>
                  <a:cubicBezTo>
                    <a:pt x="183" y="41"/>
                    <a:pt x="180" y="41"/>
                    <a:pt x="180" y="43"/>
                  </a:cubicBezTo>
                  <a:cubicBezTo>
                    <a:pt x="181" y="45"/>
                    <a:pt x="182" y="46"/>
                    <a:pt x="182" y="48"/>
                  </a:cubicBezTo>
                  <a:cubicBezTo>
                    <a:pt x="183" y="49"/>
                    <a:pt x="183" y="49"/>
                    <a:pt x="183" y="49"/>
                  </a:cubicBezTo>
                  <a:cubicBezTo>
                    <a:pt x="182" y="51"/>
                    <a:pt x="179" y="51"/>
                    <a:pt x="177" y="52"/>
                  </a:cubicBezTo>
                  <a:cubicBezTo>
                    <a:pt x="173" y="53"/>
                    <a:pt x="169" y="55"/>
                    <a:pt x="166" y="55"/>
                  </a:cubicBezTo>
                  <a:cubicBezTo>
                    <a:pt x="165" y="55"/>
                    <a:pt x="165" y="55"/>
                    <a:pt x="165" y="55"/>
                  </a:cubicBezTo>
                  <a:cubicBezTo>
                    <a:pt x="163" y="55"/>
                    <a:pt x="163" y="53"/>
                    <a:pt x="162" y="53"/>
                  </a:cubicBezTo>
                  <a:cubicBezTo>
                    <a:pt x="158" y="53"/>
                    <a:pt x="157" y="57"/>
                    <a:pt x="155" y="60"/>
                  </a:cubicBezTo>
                  <a:cubicBezTo>
                    <a:pt x="152" y="64"/>
                    <a:pt x="147" y="69"/>
                    <a:pt x="145" y="74"/>
                  </a:cubicBezTo>
                  <a:cubicBezTo>
                    <a:pt x="145" y="74"/>
                    <a:pt x="145" y="75"/>
                    <a:pt x="144" y="77"/>
                  </a:cubicBezTo>
                  <a:cubicBezTo>
                    <a:pt x="143" y="78"/>
                    <a:pt x="141" y="78"/>
                    <a:pt x="140" y="79"/>
                  </a:cubicBezTo>
                  <a:cubicBezTo>
                    <a:pt x="139" y="79"/>
                    <a:pt x="141" y="80"/>
                    <a:pt x="139" y="81"/>
                  </a:cubicBezTo>
                  <a:cubicBezTo>
                    <a:pt x="138" y="82"/>
                    <a:pt x="137" y="82"/>
                    <a:pt x="136" y="82"/>
                  </a:cubicBezTo>
                  <a:cubicBezTo>
                    <a:pt x="135" y="83"/>
                    <a:pt x="135" y="85"/>
                    <a:pt x="134" y="86"/>
                  </a:cubicBezTo>
                  <a:cubicBezTo>
                    <a:pt x="132" y="87"/>
                    <a:pt x="130" y="88"/>
                    <a:pt x="127" y="88"/>
                  </a:cubicBezTo>
                  <a:cubicBezTo>
                    <a:pt x="125" y="88"/>
                    <a:pt x="123" y="88"/>
                    <a:pt x="121" y="87"/>
                  </a:cubicBezTo>
                  <a:cubicBezTo>
                    <a:pt x="115" y="86"/>
                    <a:pt x="114" y="81"/>
                    <a:pt x="114" y="74"/>
                  </a:cubicBezTo>
                  <a:cubicBezTo>
                    <a:pt x="112" y="75"/>
                    <a:pt x="111" y="76"/>
                    <a:pt x="111" y="76"/>
                  </a:cubicBezTo>
                  <a:cubicBezTo>
                    <a:pt x="110" y="76"/>
                    <a:pt x="109" y="75"/>
                    <a:pt x="108" y="72"/>
                  </a:cubicBezTo>
                  <a:cubicBezTo>
                    <a:pt x="108" y="71"/>
                    <a:pt x="109" y="65"/>
                    <a:pt x="108" y="64"/>
                  </a:cubicBezTo>
                  <a:cubicBezTo>
                    <a:pt x="107" y="63"/>
                    <a:pt x="106" y="62"/>
                    <a:pt x="106" y="62"/>
                  </a:cubicBezTo>
                  <a:cubicBezTo>
                    <a:pt x="104" y="62"/>
                    <a:pt x="103" y="64"/>
                    <a:pt x="103" y="66"/>
                  </a:cubicBezTo>
                  <a:cubicBezTo>
                    <a:pt x="103" y="68"/>
                    <a:pt x="105" y="71"/>
                    <a:pt x="104" y="72"/>
                  </a:cubicBezTo>
                  <a:cubicBezTo>
                    <a:pt x="104" y="73"/>
                    <a:pt x="104" y="73"/>
                    <a:pt x="103" y="73"/>
                  </a:cubicBezTo>
                  <a:cubicBezTo>
                    <a:pt x="103" y="73"/>
                    <a:pt x="102" y="72"/>
                    <a:pt x="102" y="71"/>
                  </a:cubicBezTo>
                  <a:cubicBezTo>
                    <a:pt x="100" y="65"/>
                    <a:pt x="98" y="60"/>
                    <a:pt x="96" y="54"/>
                  </a:cubicBezTo>
                  <a:cubicBezTo>
                    <a:pt x="94" y="50"/>
                    <a:pt x="92" y="45"/>
                    <a:pt x="92" y="40"/>
                  </a:cubicBezTo>
                  <a:cubicBezTo>
                    <a:pt x="92" y="38"/>
                    <a:pt x="92" y="39"/>
                    <a:pt x="93" y="37"/>
                  </a:cubicBezTo>
                  <a:cubicBezTo>
                    <a:pt x="95" y="35"/>
                    <a:pt x="96" y="34"/>
                    <a:pt x="96" y="31"/>
                  </a:cubicBezTo>
                  <a:cubicBezTo>
                    <a:pt x="96" y="28"/>
                    <a:pt x="97" y="30"/>
                    <a:pt x="96" y="27"/>
                  </a:cubicBezTo>
                  <a:cubicBezTo>
                    <a:pt x="95" y="25"/>
                    <a:pt x="93" y="23"/>
                    <a:pt x="92" y="21"/>
                  </a:cubicBezTo>
                  <a:cubicBezTo>
                    <a:pt x="90" y="18"/>
                    <a:pt x="90" y="15"/>
                    <a:pt x="94" y="15"/>
                  </a:cubicBezTo>
                  <a:cubicBezTo>
                    <a:pt x="94" y="15"/>
                    <a:pt x="94" y="15"/>
                    <a:pt x="94" y="15"/>
                  </a:cubicBezTo>
                  <a:cubicBezTo>
                    <a:pt x="86" y="13"/>
                    <a:pt x="77" y="13"/>
                    <a:pt x="70" y="10"/>
                  </a:cubicBezTo>
                  <a:cubicBezTo>
                    <a:pt x="62" y="6"/>
                    <a:pt x="56" y="1"/>
                    <a:pt x="48" y="0"/>
                  </a:cubicBezTo>
                  <a:cubicBezTo>
                    <a:pt x="47" y="0"/>
                    <a:pt x="46"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Freeform 1515"/>
            <p:cNvSpPr/>
            <p:nvPr/>
          </p:nvSpPr>
          <p:spPr bwMode="auto">
            <a:xfrm>
              <a:off x="1155" y="745"/>
              <a:ext cx="694" cy="581"/>
            </a:xfrm>
            <a:custGeom>
              <a:gdLst>
                <a:gd name="T0" fmla="*/ 206 w 294"/>
                <a:gd name="T1" fmla="*/ 2 h 246"/>
                <a:gd name="T2" fmla="*/ 190 w 294"/>
                <a:gd name="T3" fmla="*/ 40 h 246"/>
                <a:gd name="T4" fmla="*/ 184 w 294"/>
                <a:gd name="T5" fmla="*/ 46 h 246"/>
                <a:gd name="T6" fmla="*/ 188 w 294"/>
                <a:gd name="T7" fmla="*/ 50 h 246"/>
                <a:gd name="T8" fmla="*/ 179 w 294"/>
                <a:gd name="T9" fmla="*/ 59 h 246"/>
                <a:gd name="T10" fmla="*/ 176 w 294"/>
                <a:gd name="T11" fmla="*/ 62 h 246"/>
                <a:gd name="T12" fmla="*/ 173 w 294"/>
                <a:gd name="T13" fmla="*/ 74 h 246"/>
                <a:gd name="T14" fmla="*/ 162 w 294"/>
                <a:gd name="T15" fmla="*/ 87 h 246"/>
                <a:gd name="T16" fmla="*/ 159 w 294"/>
                <a:gd name="T17" fmla="*/ 86 h 246"/>
                <a:gd name="T18" fmla="*/ 153 w 294"/>
                <a:gd name="T19" fmla="*/ 87 h 246"/>
                <a:gd name="T20" fmla="*/ 138 w 294"/>
                <a:gd name="T21" fmla="*/ 92 h 246"/>
                <a:gd name="T22" fmla="*/ 113 w 294"/>
                <a:gd name="T23" fmla="*/ 84 h 246"/>
                <a:gd name="T24" fmla="*/ 99 w 294"/>
                <a:gd name="T25" fmla="*/ 86 h 246"/>
                <a:gd name="T26" fmla="*/ 82 w 294"/>
                <a:gd name="T27" fmla="*/ 99 h 246"/>
                <a:gd name="T28" fmla="*/ 64 w 294"/>
                <a:gd name="T29" fmla="*/ 99 h 246"/>
                <a:gd name="T30" fmla="*/ 48 w 294"/>
                <a:gd name="T31" fmla="*/ 103 h 246"/>
                <a:gd name="T32" fmla="*/ 39 w 294"/>
                <a:gd name="T33" fmla="*/ 97 h 246"/>
                <a:gd name="T34" fmla="*/ 17 w 294"/>
                <a:gd name="T35" fmla="*/ 67 h 246"/>
                <a:gd name="T36" fmla="*/ 1 w 294"/>
                <a:gd name="T37" fmla="*/ 90 h 246"/>
                <a:gd name="T38" fmla="*/ 8 w 294"/>
                <a:gd name="T39" fmla="*/ 120 h 246"/>
                <a:gd name="T40" fmla="*/ 9 w 294"/>
                <a:gd name="T41" fmla="*/ 131 h 246"/>
                <a:gd name="T42" fmla="*/ 14 w 294"/>
                <a:gd name="T43" fmla="*/ 150 h 246"/>
                <a:gd name="T44" fmla="*/ 32 w 294"/>
                <a:gd name="T45" fmla="*/ 175 h 246"/>
                <a:gd name="T46" fmla="*/ 36 w 294"/>
                <a:gd name="T47" fmla="*/ 184 h 246"/>
                <a:gd name="T48" fmla="*/ 48 w 294"/>
                <a:gd name="T49" fmla="*/ 213 h 246"/>
                <a:gd name="T50" fmla="*/ 54 w 294"/>
                <a:gd name="T51" fmla="*/ 213 h 246"/>
                <a:gd name="T52" fmla="*/ 61 w 294"/>
                <a:gd name="T53" fmla="*/ 214 h 246"/>
                <a:gd name="T54" fmla="*/ 75 w 294"/>
                <a:gd name="T55" fmla="*/ 211 h 246"/>
                <a:gd name="T56" fmla="*/ 83 w 294"/>
                <a:gd name="T57" fmla="*/ 205 h 246"/>
                <a:gd name="T58" fmla="*/ 121 w 294"/>
                <a:gd name="T59" fmla="*/ 210 h 246"/>
                <a:gd name="T60" fmla="*/ 137 w 294"/>
                <a:gd name="T61" fmla="*/ 217 h 246"/>
                <a:gd name="T62" fmla="*/ 152 w 294"/>
                <a:gd name="T63" fmla="*/ 218 h 246"/>
                <a:gd name="T64" fmla="*/ 162 w 294"/>
                <a:gd name="T65" fmla="*/ 226 h 246"/>
                <a:gd name="T66" fmla="*/ 167 w 294"/>
                <a:gd name="T67" fmla="*/ 246 h 246"/>
                <a:gd name="T68" fmla="*/ 184 w 294"/>
                <a:gd name="T69" fmla="*/ 238 h 246"/>
                <a:gd name="T70" fmla="*/ 214 w 294"/>
                <a:gd name="T71" fmla="*/ 215 h 246"/>
                <a:gd name="T72" fmla="*/ 215 w 294"/>
                <a:gd name="T73" fmla="*/ 198 h 246"/>
                <a:gd name="T74" fmla="*/ 213 w 294"/>
                <a:gd name="T75" fmla="*/ 176 h 246"/>
                <a:gd name="T76" fmla="*/ 232 w 294"/>
                <a:gd name="T77" fmla="*/ 161 h 246"/>
                <a:gd name="T78" fmla="*/ 254 w 294"/>
                <a:gd name="T79" fmla="*/ 147 h 246"/>
                <a:gd name="T80" fmla="*/ 250 w 294"/>
                <a:gd name="T81" fmla="*/ 125 h 246"/>
                <a:gd name="T82" fmla="*/ 263 w 294"/>
                <a:gd name="T83" fmla="*/ 101 h 246"/>
                <a:gd name="T84" fmla="*/ 262 w 294"/>
                <a:gd name="T85" fmla="*/ 92 h 246"/>
                <a:gd name="T86" fmla="*/ 294 w 294"/>
                <a:gd name="T87" fmla="*/ 94 h 246"/>
                <a:gd name="T88" fmla="*/ 260 w 294"/>
                <a:gd name="T89" fmla="*/ 63 h 246"/>
                <a:gd name="T90" fmla="*/ 253 w 294"/>
                <a:gd name="T91" fmla="*/ 42 h 246"/>
                <a:gd name="T92" fmla="*/ 249 w 294"/>
                <a:gd name="T93" fmla="*/ 34 h 246"/>
                <a:gd name="T94" fmla="*/ 244 w 294"/>
                <a:gd name="T95" fmla="*/ 30 h 246"/>
                <a:gd name="T96" fmla="*/ 246 w 294"/>
                <a:gd name="T97" fmla="*/ 30 h 246"/>
                <a:gd name="T98" fmla="*/ 245 w 294"/>
                <a:gd name="T99" fmla="*/ 24 h 246"/>
                <a:gd name="T100" fmla="*/ 240 w 294"/>
                <a:gd name="T101" fmla="*/ 20 h 246"/>
                <a:gd name="T102" fmla="*/ 246 w 294"/>
                <a:gd name="T103" fmla="*/ 20 h 246"/>
                <a:gd name="T104" fmla="*/ 255 w 294"/>
                <a:gd name="T105" fmla="*/ 12 h 246"/>
                <a:gd name="T106" fmla="*/ 246 w 294"/>
                <a:gd name="T107" fmla="*/ 5 h 2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46">
                  <a:moveTo>
                    <a:pt x="224" y="0"/>
                  </a:moveTo>
                  <a:cubicBezTo>
                    <a:pt x="223" y="0"/>
                    <a:pt x="222" y="0"/>
                    <a:pt x="221" y="1"/>
                  </a:cubicBezTo>
                  <a:cubicBezTo>
                    <a:pt x="216" y="1"/>
                    <a:pt x="212" y="2"/>
                    <a:pt x="209" y="2"/>
                  </a:cubicBezTo>
                  <a:cubicBezTo>
                    <a:pt x="207" y="2"/>
                    <a:pt x="207" y="2"/>
                    <a:pt x="206" y="2"/>
                  </a:cubicBezTo>
                  <a:cubicBezTo>
                    <a:pt x="205" y="2"/>
                    <a:pt x="205" y="1"/>
                    <a:pt x="204" y="1"/>
                  </a:cubicBezTo>
                  <a:cubicBezTo>
                    <a:pt x="200" y="5"/>
                    <a:pt x="197" y="10"/>
                    <a:pt x="198" y="13"/>
                  </a:cubicBezTo>
                  <a:cubicBezTo>
                    <a:pt x="199" y="21"/>
                    <a:pt x="199" y="27"/>
                    <a:pt x="197" y="34"/>
                  </a:cubicBezTo>
                  <a:cubicBezTo>
                    <a:pt x="196" y="36"/>
                    <a:pt x="195" y="40"/>
                    <a:pt x="190" y="40"/>
                  </a:cubicBezTo>
                  <a:cubicBezTo>
                    <a:pt x="190" y="40"/>
                    <a:pt x="189" y="40"/>
                    <a:pt x="189" y="40"/>
                  </a:cubicBezTo>
                  <a:cubicBezTo>
                    <a:pt x="189" y="40"/>
                    <a:pt x="189" y="40"/>
                    <a:pt x="189" y="40"/>
                  </a:cubicBezTo>
                  <a:cubicBezTo>
                    <a:pt x="187" y="40"/>
                    <a:pt x="186" y="40"/>
                    <a:pt x="185" y="42"/>
                  </a:cubicBezTo>
                  <a:cubicBezTo>
                    <a:pt x="184" y="43"/>
                    <a:pt x="184" y="44"/>
                    <a:pt x="184" y="46"/>
                  </a:cubicBezTo>
                  <a:cubicBezTo>
                    <a:pt x="185" y="46"/>
                    <a:pt x="186" y="47"/>
                    <a:pt x="187" y="48"/>
                  </a:cubicBezTo>
                  <a:cubicBezTo>
                    <a:pt x="190" y="47"/>
                    <a:pt x="190" y="47"/>
                    <a:pt x="190" y="47"/>
                  </a:cubicBezTo>
                  <a:cubicBezTo>
                    <a:pt x="187" y="49"/>
                    <a:pt x="187" y="49"/>
                    <a:pt x="187" y="49"/>
                  </a:cubicBezTo>
                  <a:cubicBezTo>
                    <a:pt x="188" y="50"/>
                    <a:pt x="188" y="50"/>
                    <a:pt x="188" y="50"/>
                  </a:cubicBezTo>
                  <a:cubicBezTo>
                    <a:pt x="189" y="52"/>
                    <a:pt x="189" y="52"/>
                    <a:pt x="189" y="52"/>
                  </a:cubicBezTo>
                  <a:cubicBezTo>
                    <a:pt x="187" y="54"/>
                    <a:pt x="187" y="54"/>
                    <a:pt x="187" y="54"/>
                  </a:cubicBezTo>
                  <a:cubicBezTo>
                    <a:pt x="185" y="55"/>
                    <a:pt x="183" y="56"/>
                    <a:pt x="181" y="58"/>
                  </a:cubicBezTo>
                  <a:cubicBezTo>
                    <a:pt x="180" y="58"/>
                    <a:pt x="179" y="58"/>
                    <a:pt x="179" y="59"/>
                  </a:cubicBezTo>
                  <a:cubicBezTo>
                    <a:pt x="179" y="59"/>
                    <a:pt x="178" y="59"/>
                    <a:pt x="177" y="60"/>
                  </a:cubicBezTo>
                  <a:cubicBezTo>
                    <a:pt x="177" y="60"/>
                    <a:pt x="177" y="60"/>
                    <a:pt x="177" y="60"/>
                  </a:cubicBezTo>
                  <a:cubicBezTo>
                    <a:pt x="176" y="60"/>
                    <a:pt x="176" y="61"/>
                    <a:pt x="176" y="61"/>
                  </a:cubicBezTo>
                  <a:cubicBezTo>
                    <a:pt x="176" y="61"/>
                    <a:pt x="176" y="62"/>
                    <a:pt x="176" y="62"/>
                  </a:cubicBezTo>
                  <a:cubicBezTo>
                    <a:pt x="176" y="63"/>
                    <a:pt x="177" y="64"/>
                    <a:pt x="177" y="64"/>
                  </a:cubicBezTo>
                  <a:cubicBezTo>
                    <a:pt x="177" y="66"/>
                    <a:pt x="178" y="68"/>
                    <a:pt x="177" y="70"/>
                  </a:cubicBezTo>
                  <a:cubicBezTo>
                    <a:pt x="176" y="72"/>
                    <a:pt x="174" y="73"/>
                    <a:pt x="173" y="74"/>
                  </a:cubicBezTo>
                  <a:cubicBezTo>
                    <a:pt x="173" y="74"/>
                    <a:pt x="173" y="74"/>
                    <a:pt x="173" y="74"/>
                  </a:cubicBezTo>
                  <a:cubicBezTo>
                    <a:pt x="172" y="74"/>
                    <a:pt x="172" y="75"/>
                    <a:pt x="172" y="75"/>
                  </a:cubicBezTo>
                  <a:cubicBezTo>
                    <a:pt x="172" y="75"/>
                    <a:pt x="171" y="76"/>
                    <a:pt x="171" y="77"/>
                  </a:cubicBezTo>
                  <a:cubicBezTo>
                    <a:pt x="170" y="81"/>
                    <a:pt x="170" y="81"/>
                    <a:pt x="170" y="81"/>
                  </a:cubicBezTo>
                  <a:cubicBezTo>
                    <a:pt x="168" y="85"/>
                    <a:pt x="166" y="86"/>
                    <a:pt x="162" y="87"/>
                  </a:cubicBezTo>
                  <a:cubicBezTo>
                    <a:pt x="162" y="87"/>
                    <a:pt x="162" y="87"/>
                    <a:pt x="161" y="87"/>
                  </a:cubicBezTo>
                  <a:cubicBezTo>
                    <a:pt x="161" y="87"/>
                    <a:pt x="160" y="87"/>
                    <a:pt x="160" y="86"/>
                  </a:cubicBezTo>
                  <a:cubicBezTo>
                    <a:pt x="159" y="85"/>
                    <a:pt x="159" y="85"/>
                    <a:pt x="159" y="85"/>
                  </a:cubicBezTo>
                  <a:cubicBezTo>
                    <a:pt x="159" y="86"/>
                    <a:pt x="159" y="86"/>
                    <a:pt x="159" y="86"/>
                  </a:cubicBezTo>
                  <a:cubicBezTo>
                    <a:pt x="159" y="86"/>
                    <a:pt x="158" y="86"/>
                    <a:pt x="158" y="86"/>
                  </a:cubicBezTo>
                  <a:cubicBezTo>
                    <a:pt x="158" y="86"/>
                    <a:pt x="157" y="86"/>
                    <a:pt x="157" y="87"/>
                  </a:cubicBezTo>
                  <a:cubicBezTo>
                    <a:pt x="156" y="87"/>
                    <a:pt x="156" y="87"/>
                    <a:pt x="156" y="87"/>
                  </a:cubicBezTo>
                  <a:cubicBezTo>
                    <a:pt x="153" y="87"/>
                    <a:pt x="153" y="87"/>
                    <a:pt x="153" y="87"/>
                  </a:cubicBezTo>
                  <a:cubicBezTo>
                    <a:pt x="149" y="88"/>
                    <a:pt x="147" y="88"/>
                    <a:pt x="144" y="90"/>
                  </a:cubicBezTo>
                  <a:cubicBezTo>
                    <a:pt x="144" y="90"/>
                    <a:pt x="144" y="90"/>
                    <a:pt x="144" y="90"/>
                  </a:cubicBezTo>
                  <a:cubicBezTo>
                    <a:pt x="143" y="90"/>
                    <a:pt x="142" y="91"/>
                    <a:pt x="141" y="92"/>
                  </a:cubicBezTo>
                  <a:cubicBezTo>
                    <a:pt x="140" y="92"/>
                    <a:pt x="139" y="92"/>
                    <a:pt x="138" y="92"/>
                  </a:cubicBezTo>
                  <a:cubicBezTo>
                    <a:pt x="134" y="92"/>
                    <a:pt x="130" y="90"/>
                    <a:pt x="126" y="88"/>
                  </a:cubicBezTo>
                  <a:cubicBezTo>
                    <a:pt x="125" y="88"/>
                    <a:pt x="125" y="88"/>
                    <a:pt x="125" y="88"/>
                  </a:cubicBezTo>
                  <a:cubicBezTo>
                    <a:pt x="123" y="87"/>
                    <a:pt x="121" y="86"/>
                    <a:pt x="119" y="86"/>
                  </a:cubicBezTo>
                  <a:cubicBezTo>
                    <a:pt x="113" y="84"/>
                    <a:pt x="113" y="84"/>
                    <a:pt x="113" y="84"/>
                  </a:cubicBezTo>
                  <a:cubicBezTo>
                    <a:pt x="113" y="83"/>
                    <a:pt x="113" y="83"/>
                    <a:pt x="113" y="83"/>
                  </a:cubicBezTo>
                  <a:cubicBezTo>
                    <a:pt x="111" y="84"/>
                    <a:pt x="108" y="84"/>
                    <a:pt x="103" y="85"/>
                  </a:cubicBezTo>
                  <a:cubicBezTo>
                    <a:pt x="100" y="86"/>
                    <a:pt x="100" y="86"/>
                    <a:pt x="100" y="86"/>
                  </a:cubicBezTo>
                  <a:cubicBezTo>
                    <a:pt x="100" y="86"/>
                    <a:pt x="100" y="86"/>
                    <a:pt x="99" y="86"/>
                  </a:cubicBezTo>
                  <a:cubicBezTo>
                    <a:pt x="99" y="86"/>
                    <a:pt x="99" y="87"/>
                    <a:pt x="99" y="88"/>
                  </a:cubicBezTo>
                  <a:cubicBezTo>
                    <a:pt x="99" y="88"/>
                    <a:pt x="99" y="88"/>
                    <a:pt x="99" y="88"/>
                  </a:cubicBezTo>
                  <a:cubicBezTo>
                    <a:pt x="99" y="88"/>
                    <a:pt x="98" y="90"/>
                    <a:pt x="98" y="91"/>
                  </a:cubicBezTo>
                  <a:cubicBezTo>
                    <a:pt x="95" y="95"/>
                    <a:pt x="87" y="99"/>
                    <a:pt x="82" y="99"/>
                  </a:cubicBezTo>
                  <a:cubicBezTo>
                    <a:pt x="82" y="99"/>
                    <a:pt x="81" y="99"/>
                    <a:pt x="81" y="99"/>
                  </a:cubicBezTo>
                  <a:cubicBezTo>
                    <a:pt x="80" y="98"/>
                    <a:pt x="78" y="98"/>
                    <a:pt x="77" y="98"/>
                  </a:cubicBezTo>
                  <a:cubicBezTo>
                    <a:pt x="74" y="98"/>
                    <a:pt x="72" y="97"/>
                    <a:pt x="70" y="97"/>
                  </a:cubicBezTo>
                  <a:cubicBezTo>
                    <a:pt x="68" y="97"/>
                    <a:pt x="66" y="98"/>
                    <a:pt x="64" y="99"/>
                  </a:cubicBezTo>
                  <a:cubicBezTo>
                    <a:pt x="64" y="99"/>
                    <a:pt x="63" y="99"/>
                    <a:pt x="62" y="100"/>
                  </a:cubicBezTo>
                  <a:cubicBezTo>
                    <a:pt x="61" y="100"/>
                    <a:pt x="61" y="100"/>
                    <a:pt x="61" y="100"/>
                  </a:cubicBezTo>
                  <a:cubicBezTo>
                    <a:pt x="58" y="102"/>
                    <a:pt x="54" y="103"/>
                    <a:pt x="50" y="103"/>
                  </a:cubicBezTo>
                  <a:cubicBezTo>
                    <a:pt x="49" y="103"/>
                    <a:pt x="48" y="103"/>
                    <a:pt x="48" y="103"/>
                  </a:cubicBezTo>
                  <a:cubicBezTo>
                    <a:pt x="45" y="103"/>
                    <a:pt x="43" y="101"/>
                    <a:pt x="41" y="99"/>
                  </a:cubicBezTo>
                  <a:cubicBezTo>
                    <a:pt x="41" y="98"/>
                    <a:pt x="41" y="98"/>
                    <a:pt x="41" y="98"/>
                  </a:cubicBezTo>
                  <a:cubicBezTo>
                    <a:pt x="40" y="98"/>
                    <a:pt x="40" y="98"/>
                    <a:pt x="40" y="98"/>
                  </a:cubicBezTo>
                  <a:cubicBezTo>
                    <a:pt x="39" y="97"/>
                    <a:pt x="39" y="97"/>
                    <a:pt x="39" y="97"/>
                  </a:cubicBezTo>
                  <a:cubicBezTo>
                    <a:pt x="36" y="94"/>
                    <a:pt x="33" y="92"/>
                    <a:pt x="30" y="89"/>
                  </a:cubicBezTo>
                  <a:cubicBezTo>
                    <a:pt x="28" y="88"/>
                    <a:pt x="28" y="88"/>
                    <a:pt x="28" y="88"/>
                  </a:cubicBezTo>
                  <a:cubicBezTo>
                    <a:pt x="24" y="84"/>
                    <a:pt x="18" y="79"/>
                    <a:pt x="17" y="73"/>
                  </a:cubicBezTo>
                  <a:cubicBezTo>
                    <a:pt x="16" y="70"/>
                    <a:pt x="17" y="68"/>
                    <a:pt x="17" y="67"/>
                  </a:cubicBezTo>
                  <a:cubicBezTo>
                    <a:pt x="15" y="68"/>
                    <a:pt x="13" y="69"/>
                    <a:pt x="12" y="71"/>
                  </a:cubicBezTo>
                  <a:cubicBezTo>
                    <a:pt x="7" y="78"/>
                    <a:pt x="5" y="79"/>
                    <a:pt x="7" y="87"/>
                  </a:cubicBezTo>
                  <a:cubicBezTo>
                    <a:pt x="5" y="88"/>
                    <a:pt x="4" y="90"/>
                    <a:pt x="1" y="90"/>
                  </a:cubicBezTo>
                  <a:cubicBezTo>
                    <a:pt x="1" y="90"/>
                    <a:pt x="1" y="90"/>
                    <a:pt x="1" y="90"/>
                  </a:cubicBezTo>
                  <a:cubicBezTo>
                    <a:pt x="1" y="92"/>
                    <a:pt x="3" y="95"/>
                    <a:pt x="3" y="96"/>
                  </a:cubicBezTo>
                  <a:cubicBezTo>
                    <a:pt x="0" y="100"/>
                    <a:pt x="0" y="101"/>
                    <a:pt x="1" y="105"/>
                  </a:cubicBezTo>
                  <a:cubicBezTo>
                    <a:pt x="1" y="107"/>
                    <a:pt x="0" y="115"/>
                    <a:pt x="1" y="115"/>
                  </a:cubicBezTo>
                  <a:cubicBezTo>
                    <a:pt x="4" y="117"/>
                    <a:pt x="6" y="117"/>
                    <a:pt x="8" y="120"/>
                  </a:cubicBezTo>
                  <a:cubicBezTo>
                    <a:pt x="9" y="122"/>
                    <a:pt x="10" y="123"/>
                    <a:pt x="12" y="124"/>
                  </a:cubicBezTo>
                  <a:cubicBezTo>
                    <a:pt x="10" y="124"/>
                    <a:pt x="9" y="124"/>
                    <a:pt x="9" y="124"/>
                  </a:cubicBezTo>
                  <a:cubicBezTo>
                    <a:pt x="8" y="124"/>
                    <a:pt x="8" y="125"/>
                    <a:pt x="8" y="127"/>
                  </a:cubicBezTo>
                  <a:cubicBezTo>
                    <a:pt x="8" y="128"/>
                    <a:pt x="9" y="130"/>
                    <a:pt x="9" y="131"/>
                  </a:cubicBezTo>
                  <a:cubicBezTo>
                    <a:pt x="8" y="131"/>
                    <a:pt x="7" y="131"/>
                    <a:pt x="7" y="131"/>
                  </a:cubicBezTo>
                  <a:cubicBezTo>
                    <a:pt x="4" y="131"/>
                    <a:pt x="6" y="135"/>
                    <a:pt x="7" y="138"/>
                  </a:cubicBezTo>
                  <a:cubicBezTo>
                    <a:pt x="8" y="141"/>
                    <a:pt x="9" y="145"/>
                    <a:pt x="11" y="148"/>
                  </a:cubicBezTo>
                  <a:cubicBezTo>
                    <a:pt x="12" y="149"/>
                    <a:pt x="11" y="149"/>
                    <a:pt x="14" y="150"/>
                  </a:cubicBezTo>
                  <a:cubicBezTo>
                    <a:pt x="16" y="151"/>
                    <a:pt x="19" y="152"/>
                    <a:pt x="21" y="152"/>
                  </a:cubicBezTo>
                  <a:cubicBezTo>
                    <a:pt x="23" y="152"/>
                    <a:pt x="25" y="152"/>
                    <a:pt x="26" y="150"/>
                  </a:cubicBezTo>
                  <a:cubicBezTo>
                    <a:pt x="29" y="155"/>
                    <a:pt x="35" y="161"/>
                    <a:pt x="34" y="167"/>
                  </a:cubicBezTo>
                  <a:cubicBezTo>
                    <a:pt x="33" y="170"/>
                    <a:pt x="33" y="173"/>
                    <a:pt x="32" y="175"/>
                  </a:cubicBezTo>
                  <a:cubicBezTo>
                    <a:pt x="32" y="175"/>
                    <a:pt x="31" y="175"/>
                    <a:pt x="31" y="176"/>
                  </a:cubicBezTo>
                  <a:cubicBezTo>
                    <a:pt x="31" y="176"/>
                    <a:pt x="29" y="176"/>
                    <a:pt x="30" y="177"/>
                  </a:cubicBezTo>
                  <a:cubicBezTo>
                    <a:pt x="31" y="179"/>
                    <a:pt x="33" y="179"/>
                    <a:pt x="34" y="180"/>
                  </a:cubicBezTo>
                  <a:cubicBezTo>
                    <a:pt x="35" y="181"/>
                    <a:pt x="36" y="183"/>
                    <a:pt x="36" y="184"/>
                  </a:cubicBezTo>
                  <a:cubicBezTo>
                    <a:pt x="37" y="188"/>
                    <a:pt x="39" y="191"/>
                    <a:pt x="39" y="195"/>
                  </a:cubicBezTo>
                  <a:cubicBezTo>
                    <a:pt x="40" y="199"/>
                    <a:pt x="38" y="198"/>
                    <a:pt x="37" y="200"/>
                  </a:cubicBezTo>
                  <a:cubicBezTo>
                    <a:pt x="37" y="203"/>
                    <a:pt x="39" y="207"/>
                    <a:pt x="39" y="209"/>
                  </a:cubicBezTo>
                  <a:cubicBezTo>
                    <a:pt x="41" y="214"/>
                    <a:pt x="43" y="212"/>
                    <a:pt x="48" y="213"/>
                  </a:cubicBezTo>
                  <a:cubicBezTo>
                    <a:pt x="49" y="213"/>
                    <a:pt x="51" y="214"/>
                    <a:pt x="51" y="214"/>
                  </a:cubicBezTo>
                  <a:cubicBezTo>
                    <a:pt x="51" y="214"/>
                    <a:pt x="51" y="214"/>
                    <a:pt x="51" y="214"/>
                  </a:cubicBezTo>
                  <a:cubicBezTo>
                    <a:pt x="52" y="214"/>
                    <a:pt x="53" y="213"/>
                    <a:pt x="55" y="212"/>
                  </a:cubicBezTo>
                  <a:cubicBezTo>
                    <a:pt x="54" y="213"/>
                    <a:pt x="54" y="213"/>
                    <a:pt x="54" y="213"/>
                  </a:cubicBezTo>
                  <a:cubicBezTo>
                    <a:pt x="54" y="213"/>
                    <a:pt x="55" y="213"/>
                    <a:pt x="55" y="213"/>
                  </a:cubicBezTo>
                  <a:cubicBezTo>
                    <a:pt x="56" y="213"/>
                    <a:pt x="57" y="213"/>
                    <a:pt x="58" y="213"/>
                  </a:cubicBezTo>
                  <a:cubicBezTo>
                    <a:pt x="59" y="214"/>
                    <a:pt x="60" y="214"/>
                    <a:pt x="61" y="214"/>
                  </a:cubicBezTo>
                  <a:cubicBezTo>
                    <a:pt x="61" y="214"/>
                    <a:pt x="61" y="214"/>
                    <a:pt x="61" y="214"/>
                  </a:cubicBezTo>
                  <a:cubicBezTo>
                    <a:pt x="63" y="214"/>
                    <a:pt x="65" y="213"/>
                    <a:pt x="66" y="212"/>
                  </a:cubicBezTo>
                  <a:cubicBezTo>
                    <a:pt x="68" y="211"/>
                    <a:pt x="70" y="210"/>
                    <a:pt x="72" y="210"/>
                  </a:cubicBezTo>
                  <a:cubicBezTo>
                    <a:pt x="72" y="210"/>
                    <a:pt x="72" y="210"/>
                    <a:pt x="72" y="210"/>
                  </a:cubicBezTo>
                  <a:cubicBezTo>
                    <a:pt x="73" y="210"/>
                    <a:pt x="74" y="210"/>
                    <a:pt x="75" y="211"/>
                  </a:cubicBezTo>
                  <a:cubicBezTo>
                    <a:pt x="76" y="211"/>
                    <a:pt x="77" y="212"/>
                    <a:pt x="78" y="212"/>
                  </a:cubicBezTo>
                  <a:cubicBezTo>
                    <a:pt x="78" y="212"/>
                    <a:pt x="78" y="212"/>
                    <a:pt x="78" y="212"/>
                  </a:cubicBezTo>
                  <a:cubicBezTo>
                    <a:pt x="79" y="212"/>
                    <a:pt x="79" y="211"/>
                    <a:pt x="81" y="211"/>
                  </a:cubicBezTo>
                  <a:cubicBezTo>
                    <a:pt x="82" y="210"/>
                    <a:pt x="82" y="207"/>
                    <a:pt x="83" y="205"/>
                  </a:cubicBezTo>
                  <a:cubicBezTo>
                    <a:pt x="83" y="208"/>
                    <a:pt x="85" y="210"/>
                    <a:pt x="86" y="214"/>
                  </a:cubicBezTo>
                  <a:cubicBezTo>
                    <a:pt x="86" y="218"/>
                    <a:pt x="86" y="224"/>
                    <a:pt x="86" y="228"/>
                  </a:cubicBezTo>
                  <a:cubicBezTo>
                    <a:pt x="91" y="225"/>
                    <a:pt x="95" y="221"/>
                    <a:pt x="101" y="221"/>
                  </a:cubicBezTo>
                  <a:cubicBezTo>
                    <a:pt x="111" y="220"/>
                    <a:pt x="119" y="221"/>
                    <a:pt x="121" y="210"/>
                  </a:cubicBezTo>
                  <a:cubicBezTo>
                    <a:pt x="121" y="212"/>
                    <a:pt x="122" y="213"/>
                    <a:pt x="124" y="214"/>
                  </a:cubicBezTo>
                  <a:cubicBezTo>
                    <a:pt x="126" y="215"/>
                    <a:pt x="128" y="219"/>
                    <a:pt x="131" y="219"/>
                  </a:cubicBezTo>
                  <a:cubicBezTo>
                    <a:pt x="131" y="219"/>
                    <a:pt x="131" y="219"/>
                    <a:pt x="131" y="219"/>
                  </a:cubicBezTo>
                  <a:cubicBezTo>
                    <a:pt x="133" y="219"/>
                    <a:pt x="136" y="217"/>
                    <a:pt x="137" y="217"/>
                  </a:cubicBezTo>
                  <a:cubicBezTo>
                    <a:pt x="138" y="221"/>
                    <a:pt x="137" y="225"/>
                    <a:pt x="142" y="225"/>
                  </a:cubicBezTo>
                  <a:cubicBezTo>
                    <a:pt x="142" y="225"/>
                    <a:pt x="142" y="225"/>
                    <a:pt x="142" y="225"/>
                  </a:cubicBezTo>
                  <a:cubicBezTo>
                    <a:pt x="143" y="225"/>
                    <a:pt x="144" y="225"/>
                    <a:pt x="146" y="224"/>
                  </a:cubicBezTo>
                  <a:cubicBezTo>
                    <a:pt x="149" y="223"/>
                    <a:pt x="150" y="221"/>
                    <a:pt x="152" y="218"/>
                  </a:cubicBezTo>
                  <a:cubicBezTo>
                    <a:pt x="152" y="220"/>
                    <a:pt x="154" y="221"/>
                    <a:pt x="155" y="223"/>
                  </a:cubicBezTo>
                  <a:cubicBezTo>
                    <a:pt x="156" y="221"/>
                    <a:pt x="157" y="220"/>
                    <a:pt x="159" y="218"/>
                  </a:cubicBezTo>
                  <a:cubicBezTo>
                    <a:pt x="157" y="220"/>
                    <a:pt x="157" y="222"/>
                    <a:pt x="157" y="224"/>
                  </a:cubicBezTo>
                  <a:cubicBezTo>
                    <a:pt x="158" y="225"/>
                    <a:pt x="161" y="226"/>
                    <a:pt x="162" y="226"/>
                  </a:cubicBezTo>
                  <a:cubicBezTo>
                    <a:pt x="162" y="226"/>
                    <a:pt x="162" y="226"/>
                    <a:pt x="162" y="226"/>
                  </a:cubicBezTo>
                  <a:cubicBezTo>
                    <a:pt x="163" y="226"/>
                    <a:pt x="163" y="224"/>
                    <a:pt x="163" y="223"/>
                  </a:cubicBezTo>
                  <a:cubicBezTo>
                    <a:pt x="165" y="225"/>
                    <a:pt x="164" y="230"/>
                    <a:pt x="165" y="233"/>
                  </a:cubicBezTo>
                  <a:cubicBezTo>
                    <a:pt x="165" y="235"/>
                    <a:pt x="165" y="245"/>
                    <a:pt x="167" y="246"/>
                  </a:cubicBezTo>
                  <a:cubicBezTo>
                    <a:pt x="167" y="246"/>
                    <a:pt x="168" y="246"/>
                    <a:pt x="168" y="246"/>
                  </a:cubicBezTo>
                  <a:cubicBezTo>
                    <a:pt x="169" y="246"/>
                    <a:pt x="170" y="245"/>
                    <a:pt x="171" y="245"/>
                  </a:cubicBezTo>
                  <a:cubicBezTo>
                    <a:pt x="173" y="244"/>
                    <a:pt x="175" y="242"/>
                    <a:pt x="177" y="241"/>
                  </a:cubicBezTo>
                  <a:cubicBezTo>
                    <a:pt x="179" y="240"/>
                    <a:pt x="181" y="239"/>
                    <a:pt x="184" y="238"/>
                  </a:cubicBezTo>
                  <a:cubicBezTo>
                    <a:pt x="186" y="237"/>
                    <a:pt x="189" y="237"/>
                    <a:pt x="192" y="235"/>
                  </a:cubicBezTo>
                  <a:cubicBezTo>
                    <a:pt x="195" y="234"/>
                    <a:pt x="203" y="232"/>
                    <a:pt x="206" y="229"/>
                  </a:cubicBezTo>
                  <a:cubicBezTo>
                    <a:pt x="208" y="227"/>
                    <a:pt x="208" y="221"/>
                    <a:pt x="210" y="219"/>
                  </a:cubicBezTo>
                  <a:cubicBezTo>
                    <a:pt x="212" y="217"/>
                    <a:pt x="214" y="217"/>
                    <a:pt x="214" y="215"/>
                  </a:cubicBezTo>
                  <a:cubicBezTo>
                    <a:pt x="214" y="213"/>
                    <a:pt x="212" y="210"/>
                    <a:pt x="211" y="208"/>
                  </a:cubicBezTo>
                  <a:cubicBezTo>
                    <a:pt x="212" y="209"/>
                    <a:pt x="213" y="209"/>
                    <a:pt x="214" y="209"/>
                  </a:cubicBezTo>
                  <a:cubicBezTo>
                    <a:pt x="215" y="209"/>
                    <a:pt x="216" y="209"/>
                    <a:pt x="217" y="207"/>
                  </a:cubicBezTo>
                  <a:cubicBezTo>
                    <a:pt x="218" y="205"/>
                    <a:pt x="217" y="199"/>
                    <a:pt x="215" y="198"/>
                  </a:cubicBezTo>
                  <a:cubicBezTo>
                    <a:pt x="218" y="198"/>
                    <a:pt x="219" y="196"/>
                    <a:pt x="221" y="195"/>
                  </a:cubicBezTo>
                  <a:cubicBezTo>
                    <a:pt x="227" y="190"/>
                    <a:pt x="219" y="190"/>
                    <a:pt x="215" y="187"/>
                  </a:cubicBezTo>
                  <a:cubicBezTo>
                    <a:pt x="216" y="186"/>
                    <a:pt x="219" y="186"/>
                    <a:pt x="219" y="183"/>
                  </a:cubicBezTo>
                  <a:cubicBezTo>
                    <a:pt x="220" y="175"/>
                    <a:pt x="219" y="176"/>
                    <a:pt x="213" y="176"/>
                  </a:cubicBezTo>
                  <a:cubicBezTo>
                    <a:pt x="215" y="176"/>
                    <a:pt x="216" y="174"/>
                    <a:pt x="218" y="173"/>
                  </a:cubicBezTo>
                  <a:cubicBezTo>
                    <a:pt x="220" y="172"/>
                    <a:pt x="221" y="172"/>
                    <a:pt x="223" y="170"/>
                  </a:cubicBezTo>
                  <a:cubicBezTo>
                    <a:pt x="228" y="166"/>
                    <a:pt x="229" y="163"/>
                    <a:pt x="228" y="157"/>
                  </a:cubicBezTo>
                  <a:cubicBezTo>
                    <a:pt x="229" y="159"/>
                    <a:pt x="230" y="161"/>
                    <a:pt x="232" y="161"/>
                  </a:cubicBezTo>
                  <a:cubicBezTo>
                    <a:pt x="232" y="161"/>
                    <a:pt x="233" y="161"/>
                    <a:pt x="234" y="161"/>
                  </a:cubicBezTo>
                  <a:cubicBezTo>
                    <a:pt x="238" y="159"/>
                    <a:pt x="241" y="152"/>
                    <a:pt x="244" y="148"/>
                  </a:cubicBezTo>
                  <a:cubicBezTo>
                    <a:pt x="245" y="149"/>
                    <a:pt x="245" y="149"/>
                    <a:pt x="246" y="149"/>
                  </a:cubicBezTo>
                  <a:cubicBezTo>
                    <a:pt x="249" y="149"/>
                    <a:pt x="252" y="147"/>
                    <a:pt x="254" y="147"/>
                  </a:cubicBezTo>
                  <a:cubicBezTo>
                    <a:pt x="249" y="145"/>
                    <a:pt x="256" y="138"/>
                    <a:pt x="254" y="137"/>
                  </a:cubicBezTo>
                  <a:cubicBezTo>
                    <a:pt x="254" y="137"/>
                    <a:pt x="254" y="137"/>
                    <a:pt x="253" y="137"/>
                  </a:cubicBezTo>
                  <a:cubicBezTo>
                    <a:pt x="252" y="137"/>
                    <a:pt x="249" y="139"/>
                    <a:pt x="249" y="140"/>
                  </a:cubicBezTo>
                  <a:cubicBezTo>
                    <a:pt x="249" y="134"/>
                    <a:pt x="249" y="131"/>
                    <a:pt x="250" y="125"/>
                  </a:cubicBezTo>
                  <a:cubicBezTo>
                    <a:pt x="250" y="120"/>
                    <a:pt x="251" y="114"/>
                    <a:pt x="254" y="110"/>
                  </a:cubicBezTo>
                  <a:cubicBezTo>
                    <a:pt x="255" y="108"/>
                    <a:pt x="257" y="102"/>
                    <a:pt x="260" y="101"/>
                  </a:cubicBezTo>
                  <a:cubicBezTo>
                    <a:pt x="260" y="101"/>
                    <a:pt x="261" y="101"/>
                    <a:pt x="261" y="101"/>
                  </a:cubicBezTo>
                  <a:cubicBezTo>
                    <a:pt x="262" y="101"/>
                    <a:pt x="262" y="101"/>
                    <a:pt x="263" y="101"/>
                  </a:cubicBezTo>
                  <a:cubicBezTo>
                    <a:pt x="264" y="101"/>
                    <a:pt x="264" y="101"/>
                    <a:pt x="265" y="101"/>
                  </a:cubicBezTo>
                  <a:cubicBezTo>
                    <a:pt x="265" y="101"/>
                    <a:pt x="265" y="101"/>
                    <a:pt x="265" y="101"/>
                  </a:cubicBezTo>
                  <a:cubicBezTo>
                    <a:pt x="266" y="100"/>
                    <a:pt x="265" y="100"/>
                    <a:pt x="265" y="99"/>
                  </a:cubicBezTo>
                  <a:cubicBezTo>
                    <a:pt x="264" y="96"/>
                    <a:pt x="262" y="94"/>
                    <a:pt x="262" y="92"/>
                  </a:cubicBezTo>
                  <a:cubicBezTo>
                    <a:pt x="266" y="94"/>
                    <a:pt x="265" y="98"/>
                    <a:pt x="270" y="99"/>
                  </a:cubicBezTo>
                  <a:cubicBezTo>
                    <a:pt x="273" y="100"/>
                    <a:pt x="276" y="100"/>
                    <a:pt x="279" y="100"/>
                  </a:cubicBezTo>
                  <a:cubicBezTo>
                    <a:pt x="281" y="100"/>
                    <a:pt x="283" y="101"/>
                    <a:pt x="285" y="101"/>
                  </a:cubicBezTo>
                  <a:cubicBezTo>
                    <a:pt x="289" y="101"/>
                    <a:pt x="291" y="100"/>
                    <a:pt x="294" y="94"/>
                  </a:cubicBezTo>
                  <a:cubicBezTo>
                    <a:pt x="291" y="93"/>
                    <a:pt x="289" y="92"/>
                    <a:pt x="287" y="91"/>
                  </a:cubicBezTo>
                  <a:cubicBezTo>
                    <a:pt x="277" y="83"/>
                    <a:pt x="266" y="75"/>
                    <a:pt x="257" y="65"/>
                  </a:cubicBezTo>
                  <a:cubicBezTo>
                    <a:pt x="258" y="65"/>
                    <a:pt x="258" y="66"/>
                    <a:pt x="259" y="66"/>
                  </a:cubicBezTo>
                  <a:cubicBezTo>
                    <a:pt x="260" y="66"/>
                    <a:pt x="261" y="65"/>
                    <a:pt x="260" y="63"/>
                  </a:cubicBezTo>
                  <a:cubicBezTo>
                    <a:pt x="260" y="64"/>
                    <a:pt x="261" y="64"/>
                    <a:pt x="261" y="64"/>
                  </a:cubicBezTo>
                  <a:cubicBezTo>
                    <a:pt x="263" y="64"/>
                    <a:pt x="264" y="62"/>
                    <a:pt x="264" y="61"/>
                  </a:cubicBezTo>
                  <a:cubicBezTo>
                    <a:pt x="266" y="56"/>
                    <a:pt x="263" y="52"/>
                    <a:pt x="259" y="49"/>
                  </a:cubicBezTo>
                  <a:cubicBezTo>
                    <a:pt x="259" y="48"/>
                    <a:pt x="253" y="44"/>
                    <a:pt x="253" y="42"/>
                  </a:cubicBezTo>
                  <a:cubicBezTo>
                    <a:pt x="256" y="40"/>
                    <a:pt x="256" y="40"/>
                    <a:pt x="256" y="40"/>
                  </a:cubicBezTo>
                  <a:cubicBezTo>
                    <a:pt x="255" y="40"/>
                    <a:pt x="253" y="40"/>
                    <a:pt x="251" y="40"/>
                  </a:cubicBezTo>
                  <a:cubicBezTo>
                    <a:pt x="253" y="39"/>
                    <a:pt x="253" y="37"/>
                    <a:pt x="253" y="35"/>
                  </a:cubicBezTo>
                  <a:cubicBezTo>
                    <a:pt x="252" y="35"/>
                    <a:pt x="250" y="34"/>
                    <a:pt x="249" y="34"/>
                  </a:cubicBezTo>
                  <a:cubicBezTo>
                    <a:pt x="248" y="33"/>
                    <a:pt x="243" y="31"/>
                    <a:pt x="243" y="30"/>
                  </a:cubicBezTo>
                  <a:cubicBezTo>
                    <a:pt x="243" y="30"/>
                    <a:pt x="243" y="30"/>
                    <a:pt x="243" y="30"/>
                  </a:cubicBezTo>
                  <a:cubicBezTo>
                    <a:pt x="244" y="30"/>
                    <a:pt x="244" y="30"/>
                    <a:pt x="244" y="30"/>
                  </a:cubicBezTo>
                  <a:cubicBezTo>
                    <a:pt x="244" y="30"/>
                    <a:pt x="244" y="30"/>
                    <a:pt x="244" y="30"/>
                  </a:cubicBezTo>
                  <a:cubicBezTo>
                    <a:pt x="244" y="30"/>
                    <a:pt x="244" y="30"/>
                    <a:pt x="244" y="30"/>
                  </a:cubicBezTo>
                  <a:cubicBezTo>
                    <a:pt x="244" y="31"/>
                    <a:pt x="244" y="31"/>
                    <a:pt x="244" y="31"/>
                  </a:cubicBezTo>
                  <a:cubicBezTo>
                    <a:pt x="245" y="31"/>
                    <a:pt x="245" y="30"/>
                    <a:pt x="245" y="30"/>
                  </a:cubicBezTo>
                  <a:cubicBezTo>
                    <a:pt x="246" y="30"/>
                    <a:pt x="246" y="30"/>
                    <a:pt x="246" y="30"/>
                  </a:cubicBezTo>
                  <a:cubicBezTo>
                    <a:pt x="246" y="30"/>
                    <a:pt x="246" y="30"/>
                    <a:pt x="246" y="30"/>
                  </a:cubicBezTo>
                  <a:cubicBezTo>
                    <a:pt x="247" y="29"/>
                    <a:pt x="248" y="26"/>
                    <a:pt x="248" y="25"/>
                  </a:cubicBezTo>
                  <a:cubicBezTo>
                    <a:pt x="248" y="25"/>
                    <a:pt x="248" y="25"/>
                    <a:pt x="248" y="25"/>
                  </a:cubicBezTo>
                  <a:cubicBezTo>
                    <a:pt x="247" y="25"/>
                    <a:pt x="246" y="25"/>
                    <a:pt x="245" y="24"/>
                  </a:cubicBezTo>
                  <a:cubicBezTo>
                    <a:pt x="245" y="24"/>
                    <a:pt x="244" y="23"/>
                    <a:pt x="244" y="23"/>
                  </a:cubicBezTo>
                  <a:cubicBezTo>
                    <a:pt x="244" y="22"/>
                    <a:pt x="243" y="22"/>
                    <a:pt x="243" y="22"/>
                  </a:cubicBezTo>
                  <a:cubicBezTo>
                    <a:pt x="243" y="22"/>
                    <a:pt x="244" y="22"/>
                    <a:pt x="244" y="23"/>
                  </a:cubicBezTo>
                  <a:cubicBezTo>
                    <a:pt x="242" y="21"/>
                    <a:pt x="242" y="21"/>
                    <a:pt x="240" y="20"/>
                  </a:cubicBezTo>
                  <a:cubicBezTo>
                    <a:pt x="241" y="20"/>
                    <a:pt x="241" y="20"/>
                    <a:pt x="241" y="20"/>
                  </a:cubicBezTo>
                  <a:cubicBezTo>
                    <a:pt x="241" y="20"/>
                    <a:pt x="241" y="20"/>
                    <a:pt x="241" y="20"/>
                  </a:cubicBezTo>
                  <a:cubicBezTo>
                    <a:pt x="242" y="20"/>
                    <a:pt x="243" y="20"/>
                    <a:pt x="244" y="20"/>
                  </a:cubicBezTo>
                  <a:cubicBezTo>
                    <a:pt x="245" y="20"/>
                    <a:pt x="246" y="20"/>
                    <a:pt x="246" y="20"/>
                  </a:cubicBezTo>
                  <a:cubicBezTo>
                    <a:pt x="247" y="20"/>
                    <a:pt x="249" y="20"/>
                    <a:pt x="250" y="20"/>
                  </a:cubicBezTo>
                  <a:cubicBezTo>
                    <a:pt x="252" y="20"/>
                    <a:pt x="250" y="16"/>
                    <a:pt x="249" y="15"/>
                  </a:cubicBezTo>
                  <a:cubicBezTo>
                    <a:pt x="252" y="16"/>
                    <a:pt x="256" y="17"/>
                    <a:pt x="260" y="17"/>
                  </a:cubicBezTo>
                  <a:cubicBezTo>
                    <a:pt x="258" y="16"/>
                    <a:pt x="258" y="13"/>
                    <a:pt x="255" y="12"/>
                  </a:cubicBezTo>
                  <a:cubicBezTo>
                    <a:pt x="256" y="11"/>
                    <a:pt x="252" y="7"/>
                    <a:pt x="250" y="7"/>
                  </a:cubicBezTo>
                  <a:cubicBezTo>
                    <a:pt x="249" y="7"/>
                    <a:pt x="249" y="7"/>
                    <a:pt x="249" y="7"/>
                  </a:cubicBezTo>
                  <a:cubicBezTo>
                    <a:pt x="249" y="7"/>
                    <a:pt x="249" y="6"/>
                    <a:pt x="249" y="6"/>
                  </a:cubicBezTo>
                  <a:cubicBezTo>
                    <a:pt x="248" y="6"/>
                    <a:pt x="247" y="5"/>
                    <a:pt x="246" y="5"/>
                  </a:cubicBezTo>
                  <a:cubicBezTo>
                    <a:pt x="239" y="3"/>
                    <a:pt x="230" y="0"/>
                    <a:pt x="2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Freeform 1516"/>
            <p:cNvSpPr>
              <a:spLocks noEditPoints="1"/>
            </p:cNvSpPr>
            <p:nvPr/>
          </p:nvSpPr>
          <p:spPr bwMode="auto">
            <a:xfrm>
              <a:off x="1592" y="556"/>
              <a:ext cx="276" cy="194"/>
            </a:xfrm>
            <a:custGeom>
              <a:gdLst>
                <a:gd name="T0" fmla="*/ 94 w 117"/>
                <a:gd name="T1" fmla="*/ 72 h 82"/>
                <a:gd name="T2" fmla="*/ 94 w 117"/>
                <a:gd name="T3" fmla="*/ 72 h 82"/>
                <a:gd name="T4" fmla="*/ 39 w 117"/>
                <a:gd name="T5" fmla="*/ 11 h 82"/>
                <a:gd name="T6" fmla="*/ 16 w 117"/>
                <a:gd name="T7" fmla="*/ 44 h 82"/>
                <a:gd name="T8" fmla="*/ 7 w 117"/>
                <a:gd name="T9" fmla="*/ 44 h 82"/>
                <a:gd name="T10" fmla="*/ 4 w 117"/>
                <a:gd name="T11" fmla="*/ 50 h 82"/>
                <a:gd name="T12" fmla="*/ 5 w 117"/>
                <a:gd name="T13" fmla="*/ 58 h 82"/>
                <a:gd name="T14" fmla="*/ 3 w 117"/>
                <a:gd name="T15" fmla="*/ 68 h 82"/>
                <a:gd name="T16" fmla="*/ 6 w 117"/>
                <a:gd name="T17" fmla="*/ 77 h 82"/>
                <a:gd name="T18" fmla="*/ 16 w 117"/>
                <a:gd name="T19" fmla="*/ 74 h 82"/>
                <a:gd name="T20" fmla="*/ 21 w 117"/>
                <a:gd name="T21" fmla="*/ 74 h 82"/>
                <a:gd name="T22" fmla="*/ 23 w 117"/>
                <a:gd name="T23" fmla="*/ 75 h 82"/>
                <a:gd name="T24" fmla="*/ 35 w 117"/>
                <a:gd name="T25" fmla="*/ 73 h 82"/>
                <a:gd name="T26" fmla="*/ 39 w 117"/>
                <a:gd name="T27" fmla="*/ 73 h 82"/>
                <a:gd name="T28" fmla="*/ 69 w 117"/>
                <a:gd name="T29" fmla="*/ 80 h 82"/>
                <a:gd name="T30" fmla="*/ 76 w 117"/>
                <a:gd name="T31" fmla="*/ 79 h 82"/>
                <a:gd name="T32" fmla="*/ 98 w 117"/>
                <a:gd name="T33" fmla="*/ 75 h 82"/>
                <a:gd name="T34" fmla="*/ 95 w 117"/>
                <a:gd name="T35" fmla="*/ 74 h 82"/>
                <a:gd name="T36" fmla="*/ 94 w 117"/>
                <a:gd name="T37" fmla="*/ 74 h 82"/>
                <a:gd name="T38" fmla="*/ 91 w 117"/>
                <a:gd name="T39" fmla="*/ 71 h 82"/>
                <a:gd name="T40" fmla="*/ 90 w 117"/>
                <a:gd name="T41" fmla="*/ 59 h 82"/>
                <a:gd name="T42" fmla="*/ 95 w 117"/>
                <a:gd name="T43" fmla="*/ 61 h 82"/>
                <a:gd name="T44" fmla="*/ 110 w 117"/>
                <a:gd name="T45" fmla="*/ 54 h 82"/>
                <a:gd name="T46" fmla="*/ 115 w 117"/>
                <a:gd name="T47" fmla="*/ 48 h 82"/>
                <a:gd name="T48" fmla="*/ 107 w 117"/>
                <a:gd name="T49" fmla="*/ 48 h 82"/>
                <a:gd name="T50" fmla="*/ 96 w 117"/>
                <a:gd name="T51" fmla="*/ 44 h 82"/>
                <a:gd name="T52" fmla="*/ 86 w 117"/>
                <a:gd name="T53" fmla="*/ 36 h 82"/>
                <a:gd name="T54" fmla="*/ 80 w 117"/>
                <a:gd name="T55" fmla="*/ 39 h 82"/>
                <a:gd name="T56" fmla="*/ 78 w 117"/>
                <a:gd name="T57" fmla="*/ 36 h 82"/>
                <a:gd name="T58" fmla="*/ 81 w 117"/>
                <a:gd name="T59" fmla="*/ 36 h 82"/>
                <a:gd name="T60" fmla="*/ 79 w 117"/>
                <a:gd name="T61" fmla="*/ 29 h 82"/>
                <a:gd name="T62" fmla="*/ 77 w 117"/>
                <a:gd name="T63" fmla="*/ 31 h 82"/>
                <a:gd name="T64" fmla="*/ 68 w 117"/>
                <a:gd name="T65" fmla="*/ 32 h 82"/>
                <a:gd name="T66" fmla="*/ 69 w 117"/>
                <a:gd name="T67" fmla="*/ 26 h 82"/>
                <a:gd name="T68" fmla="*/ 72 w 117"/>
                <a:gd name="T69" fmla="*/ 21 h 82"/>
                <a:gd name="T70" fmla="*/ 62 w 117"/>
                <a:gd name="T71" fmla="*/ 12 h 82"/>
                <a:gd name="T72" fmla="*/ 53 w 117"/>
                <a:gd name="T73" fmla="*/ 1 h 82"/>
                <a:gd name="T74" fmla="*/ 44 w 117"/>
                <a:gd name="T75" fmla="*/ 13 h 82"/>
                <a:gd name="T76" fmla="*/ 44 w 117"/>
                <a:gd name="T77" fmla="*/ 0 h 8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7" h="82">
                  <a:moveTo>
                    <a:pt x="94" y="72"/>
                  </a:moveTo>
                  <a:cubicBezTo>
                    <a:pt x="94" y="72"/>
                    <a:pt x="94" y="72"/>
                    <a:pt x="94" y="72"/>
                  </a:cubicBezTo>
                  <a:cubicBezTo>
                    <a:pt x="94" y="72"/>
                    <a:pt x="94" y="72"/>
                    <a:pt x="94" y="72"/>
                  </a:cubicBezTo>
                  <a:cubicBezTo>
                    <a:pt x="94" y="72"/>
                    <a:pt x="94" y="72"/>
                    <a:pt x="94" y="72"/>
                  </a:cubicBezTo>
                  <a:moveTo>
                    <a:pt x="44" y="0"/>
                  </a:moveTo>
                  <a:cubicBezTo>
                    <a:pt x="42" y="3"/>
                    <a:pt x="42" y="8"/>
                    <a:pt x="39" y="11"/>
                  </a:cubicBezTo>
                  <a:cubicBezTo>
                    <a:pt x="35" y="15"/>
                    <a:pt x="32" y="19"/>
                    <a:pt x="28" y="23"/>
                  </a:cubicBezTo>
                  <a:cubicBezTo>
                    <a:pt x="22" y="29"/>
                    <a:pt x="19" y="37"/>
                    <a:pt x="16" y="44"/>
                  </a:cubicBezTo>
                  <a:cubicBezTo>
                    <a:pt x="13" y="43"/>
                    <a:pt x="12" y="42"/>
                    <a:pt x="11" y="42"/>
                  </a:cubicBezTo>
                  <a:cubicBezTo>
                    <a:pt x="10" y="42"/>
                    <a:pt x="9" y="42"/>
                    <a:pt x="7" y="44"/>
                  </a:cubicBezTo>
                  <a:cubicBezTo>
                    <a:pt x="6" y="46"/>
                    <a:pt x="3" y="47"/>
                    <a:pt x="3" y="50"/>
                  </a:cubicBezTo>
                  <a:cubicBezTo>
                    <a:pt x="4" y="50"/>
                    <a:pt x="4" y="50"/>
                    <a:pt x="4" y="50"/>
                  </a:cubicBezTo>
                  <a:cubicBezTo>
                    <a:pt x="4" y="51"/>
                    <a:pt x="6" y="51"/>
                    <a:pt x="6" y="52"/>
                  </a:cubicBezTo>
                  <a:cubicBezTo>
                    <a:pt x="6" y="54"/>
                    <a:pt x="6" y="56"/>
                    <a:pt x="5" y="58"/>
                  </a:cubicBezTo>
                  <a:cubicBezTo>
                    <a:pt x="5" y="61"/>
                    <a:pt x="3" y="61"/>
                    <a:pt x="0" y="62"/>
                  </a:cubicBezTo>
                  <a:cubicBezTo>
                    <a:pt x="1" y="64"/>
                    <a:pt x="2" y="66"/>
                    <a:pt x="3" y="68"/>
                  </a:cubicBezTo>
                  <a:cubicBezTo>
                    <a:pt x="3" y="69"/>
                    <a:pt x="3" y="69"/>
                    <a:pt x="3" y="69"/>
                  </a:cubicBezTo>
                  <a:cubicBezTo>
                    <a:pt x="4" y="72"/>
                    <a:pt x="5" y="75"/>
                    <a:pt x="6" y="77"/>
                  </a:cubicBezTo>
                  <a:cubicBezTo>
                    <a:pt x="9" y="82"/>
                    <a:pt x="9" y="82"/>
                    <a:pt x="9" y="82"/>
                  </a:cubicBezTo>
                  <a:cubicBezTo>
                    <a:pt x="11" y="79"/>
                    <a:pt x="14" y="77"/>
                    <a:pt x="16" y="74"/>
                  </a:cubicBezTo>
                  <a:cubicBezTo>
                    <a:pt x="20" y="71"/>
                    <a:pt x="20" y="71"/>
                    <a:pt x="20" y="71"/>
                  </a:cubicBezTo>
                  <a:cubicBezTo>
                    <a:pt x="21" y="74"/>
                    <a:pt x="21" y="74"/>
                    <a:pt x="21" y="74"/>
                  </a:cubicBezTo>
                  <a:cubicBezTo>
                    <a:pt x="21" y="74"/>
                    <a:pt x="21" y="74"/>
                    <a:pt x="21" y="74"/>
                  </a:cubicBezTo>
                  <a:cubicBezTo>
                    <a:pt x="22" y="75"/>
                    <a:pt x="22" y="75"/>
                    <a:pt x="23" y="75"/>
                  </a:cubicBezTo>
                  <a:cubicBezTo>
                    <a:pt x="23" y="75"/>
                    <a:pt x="23" y="75"/>
                    <a:pt x="23" y="75"/>
                  </a:cubicBezTo>
                  <a:cubicBezTo>
                    <a:pt x="25" y="74"/>
                    <a:pt x="29" y="74"/>
                    <a:pt x="35" y="73"/>
                  </a:cubicBezTo>
                  <a:cubicBezTo>
                    <a:pt x="35" y="73"/>
                    <a:pt x="35" y="73"/>
                    <a:pt x="35" y="73"/>
                  </a:cubicBezTo>
                  <a:cubicBezTo>
                    <a:pt x="36" y="73"/>
                    <a:pt x="37" y="73"/>
                    <a:pt x="39" y="73"/>
                  </a:cubicBezTo>
                  <a:cubicBezTo>
                    <a:pt x="47" y="73"/>
                    <a:pt x="55" y="76"/>
                    <a:pt x="63" y="78"/>
                  </a:cubicBezTo>
                  <a:cubicBezTo>
                    <a:pt x="65" y="79"/>
                    <a:pt x="67" y="80"/>
                    <a:pt x="69" y="80"/>
                  </a:cubicBezTo>
                  <a:cubicBezTo>
                    <a:pt x="69" y="79"/>
                    <a:pt x="69" y="77"/>
                    <a:pt x="70" y="76"/>
                  </a:cubicBezTo>
                  <a:cubicBezTo>
                    <a:pt x="71" y="78"/>
                    <a:pt x="73" y="79"/>
                    <a:pt x="76" y="79"/>
                  </a:cubicBezTo>
                  <a:cubicBezTo>
                    <a:pt x="77" y="79"/>
                    <a:pt x="80" y="79"/>
                    <a:pt x="83" y="79"/>
                  </a:cubicBezTo>
                  <a:cubicBezTo>
                    <a:pt x="90" y="79"/>
                    <a:pt x="98" y="79"/>
                    <a:pt x="98" y="75"/>
                  </a:cubicBezTo>
                  <a:cubicBezTo>
                    <a:pt x="98" y="74"/>
                    <a:pt x="97" y="74"/>
                    <a:pt x="96" y="74"/>
                  </a:cubicBezTo>
                  <a:cubicBezTo>
                    <a:pt x="96" y="74"/>
                    <a:pt x="95" y="74"/>
                    <a:pt x="95" y="74"/>
                  </a:cubicBezTo>
                  <a:cubicBezTo>
                    <a:pt x="95" y="74"/>
                    <a:pt x="95" y="74"/>
                    <a:pt x="94" y="74"/>
                  </a:cubicBezTo>
                  <a:cubicBezTo>
                    <a:pt x="94" y="74"/>
                    <a:pt x="94" y="74"/>
                    <a:pt x="94" y="74"/>
                  </a:cubicBezTo>
                  <a:cubicBezTo>
                    <a:pt x="94" y="73"/>
                    <a:pt x="94" y="72"/>
                    <a:pt x="94" y="72"/>
                  </a:cubicBezTo>
                  <a:cubicBezTo>
                    <a:pt x="93" y="71"/>
                    <a:pt x="92" y="71"/>
                    <a:pt x="91" y="71"/>
                  </a:cubicBezTo>
                  <a:cubicBezTo>
                    <a:pt x="90" y="70"/>
                    <a:pt x="87" y="68"/>
                    <a:pt x="86" y="66"/>
                  </a:cubicBezTo>
                  <a:cubicBezTo>
                    <a:pt x="84" y="62"/>
                    <a:pt x="87" y="59"/>
                    <a:pt x="90" y="59"/>
                  </a:cubicBezTo>
                  <a:cubicBezTo>
                    <a:pt x="91" y="59"/>
                    <a:pt x="92" y="59"/>
                    <a:pt x="92" y="59"/>
                  </a:cubicBezTo>
                  <a:cubicBezTo>
                    <a:pt x="94" y="60"/>
                    <a:pt x="93" y="61"/>
                    <a:pt x="95" y="61"/>
                  </a:cubicBezTo>
                  <a:cubicBezTo>
                    <a:pt x="95" y="61"/>
                    <a:pt x="95" y="61"/>
                    <a:pt x="96" y="61"/>
                  </a:cubicBezTo>
                  <a:cubicBezTo>
                    <a:pt x="100" y="61"/>
                    <a:pt x="107" y="56"/>
                    <a:pt x="110" y="54"/>
                  </a:cubicBezTo>
                  <a:cubicBezTo>
                    <a:pt x="111" y="54"/>
                    <a:pt x="116" y="53"/>
                    <a:pt x="116" y="52"/>
                  </a:cubicBezTo>
                  <a:cubicBezTo>
                    <a:pt x="117" y="50"/>
                    <a:pt x="116" y="48"/>
                    <a:pt x="115" y="48"/>
                  </a:cubicBezTo>
                  <a:cubicBezTo>
                    <a:pt x="113" y="48"/>
                    <a:pt x="112" y="48"/>
                    <a:pt x="110" y="48"/>
                  </a:cubicBezTo>
                  <a:cubicBezTo>
                    <a:pt x="109" y="48"/>
                    <a:pt x="107" y="48"/>
                    <a:pt x="107" y="48"/>
                  </a:cubicBezTo>
                  <a:cubicBezTo>
                    <a:pt x="104" y="46"/>
                    <a:pt x="101" y="41"/>
                    <a:pt x="98" y="41"/>
                  </a:cubicBezTo>
                  <a:cubicBezTo>
                    <a:pt x="97" y="41"/>
                    <a:pt x="97" y="42"/>
                    <a:pt x="96" y="44"/>
                  </a:cubicBezTo>
                  <a:cubicBezTo>
                    <a:pt x="97" y="40"/>
                    <a:pt x="91" y="36"/>
                    <a:pt x="87" y="36"/>
                  </a:cubicBezTo>
                  <a:cubicBezTo>
                    <a:pt x="87" y="36"/>
                    <a:pt x="86" y="36"/>
                    <a:pt x="86" y="36"/>
                  </a:cubicBezTo>
                  <a:cubicBezTo>
                    <a:pt x="84" y="36"/>
                    <a:pt x="85" y="38"/>
                    <a:pt x="82" y="38"/>
                  </a:cubicBezTo>
                  <a:cubicBezTo>
                    <a:pt x="82" y="38"/>
                    <a:pt x="81" y="39"/>
                    <a:pt x="80" y="39"/>
                  </a:cubicBezTo>
                  <a:cubicBezTo>
                    <a:pt x="78" y="39"/>
                    <a:pt x="76" y="38"/>
                    <a:pt x="77" y="36"/>
                  </a:cubicBezTo>
                  <a:cubicBezTo>
                    <a:pt x="77" y="36"/>
                    <a:pt x="78" y="36"/>
                    <a:pt x="78" y="36"/>
                  </a:cubicBezTo>
                  <a:cubicBezTo>
                    <a:pt x="79" y="36"/>
                    <a:pt x="79" y="36"/>
                    <a:pt x="80" y="36"/>
                  </a:cubicBezTo>
                  <a:cubicBezTo>
                    <a:pt x="80" y="36"/>
                    <a:pt x="80" y="36"/>
                    <a:pt x="81" y="36"/>
                  </a:cubicBezTo>
                  <a:cubicBezTo>
                    <a:pt x="82" y="36"/>
                    <a:pt x="83" y="36"/>
                    <a:pt x="83" y="34"/>
                  </a:cubicBezTo>
                  <a:cubicBezTo>
                    <a:pt x="84" y="33"/>
                    <a:pt x="80" y="29"/>
                    <a:pt x="79" y="29"/>
                  </a:cubicBezTo>
                  <a:cubicBezTo>
                    <a:pt x="79" y="29"/>
                    <a:pt x="79" y="29"/>
                    <a:pt x="79" y="29"/>
                  </a:cubicBezTo>
                  <a:cubicBezTo>
                    <a:pt x="78" y="29"/>
                    <a:pt x="77" y="31"/>
                    <a:pt x="77" y="31"/>
                  </a:cubicBezTo>
                  <a:cubicBezTo>
                    <a:pt x="73" y="33"/>
                    <a:pt x="70" y="33"/>
                    <a:pt x="64" y="34"/>
                  </a:cubicBezTo>
                  <a:cubicBezTo>
                    <a:pt x="65" y="33"/>
                    <a:pt x="67" y="33"/>
                    <a:pt x="68" y="32"/>
                  </a:cubicBezTo>
                  <a:cubicBezTo>
                    <a:pt x="70" y="31"/>
                    <a:pt x="69" y="32"/>
                    <a:pt x="69" y="30"/>
                  </a:cubicBezTo>
                  <a:cubicBezTo>
                    <a:pt x="69" y="28"/>
                    <a:pt x="69" y="27"/>
                    <a:pt x="69" y="26"/>
                  </a:cubicBezTo>
                  <a:cubicBezTo>
                    <a:pt x="69" y="24"/>
                    <a:pt x="68" y="25"/>
                    <a:pt x="70" y="23"/>
                  </a:cubicBezTo>
                  <a:cubicBezTo>
                    <a:pt x="71" y="22"/>
                    <a:pt x="72" y="23"/>
                    <a:pt x="72" y="21"/>
                  </a:cubicBezTo>
                  <a:cubicBezTo>
                    <a:pt x="72" y="19"/>
                    <a:pt x="69" y="16"/>
                    <a:pt x="68" y="14"/>
                  </a:cubicBezTo>
                  <a:cubicBezTo>
                    <a:pt x="66" y="12"/>
                    <a:pt x="65" y="12"/>
                    <a:pt x="62" y="12"/>
                  </a:cubicBezTo>
                  <a:cubicBezTo>
                    <a:pt x="57" y="12"/>
                    <a:pt x="57" y="1"/>
                    <a:pt x="54" y="1"/>
                  </a:cubicBezTo>
                  <a:cubicBezTo>
                    <a:pt x="53" y="1"/>
                    <a:pt x="53" y="1"/>
                    <a:pt x="53" y="1"/>
                  </a:cubicBezTo>
                  <a:cubicBezTo>
                    <a:pt x="52" y="2"/>
                    <a:pt x="52" y="4"/>
                    <a:pt x="52" y="5"/>
                  </a:cubicBezTo>
                  <a:cubicBezTo>
                    <a:pt x="50" y="9"/>
                    <a:pt x="49" y="11"/>
                    <a:pt x="44" y="13"/>
                  </a:cubicBezTo>
                  <a:cubicBezTo>
                    <a:pt x="44" y="11"/>
                    <a:pt x="45" y="10"/>
                    <a:pt x="46" y="9"/>
                  </a:cubicBezTo>
                  <a:cubicBezTo>
                    <a:pt x="46" y="6"/>
                    <a:pt x="45" y="4"/>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1517"/>
            <p:cNvSpPr/>
            <p:nvPr/>
          </p:nvSpPr>
          <p:spPr bwMode="auto">
            <a:xfrm>
              <a:off x="1209" y="717"/>
              <a:ext cx="404" cy="255"/>
            </a:xfrm>
            <a:custGeom>
              <a:gdLst>
                <a:gd name="T0" fmla="*/ 152 w 171"/>
                <a:gd name="T1" fmla="*/ 1 h 108"/>
                <a:gd name="T2" fmla="*/ 153 w 171"/>
                <a:gd name="T3" fmla="*/ 8 h 108"/>
                <a:gd name="T4" fmla="*/ 153 w 171"/>
                <a:gd name="T5" fmla="*/ 11 h 108"/>
                <a:gd name="T6" fmla="*/ 151 w 171"/>
                <a:gd name="T7" fmla="*/ 19 h 108"/>
                <a:gd name="T8" fmla="*/ 143 w 171"/>
                <a:gd name="T9" fmla="*/ 23 h 108"/>
                <a:gd name="T10" fmla="*/ 133 w 171"/>
                <a:gd name="T11" fmla="*/ 13 h 108"/>
                <a:gd name="T12" fmla="*/ 131 w 171"/>
                <a:gd name="T13" fmla="*/ 11 h 108"/>
                <a:gd name="T14" fmla="*/ 126 w 171"/>
                <a:gd name="T15" fmla="*/ 7 h 108"/>
                <a:gd name="T16" fmla="*/ 99 w 171"/>
                <a:gd name="T17" fmla="*/ 43 h 108"/>
                <a:gd name="T18" fmla="*/ 60 w 171"/>
                <a:gd name="T19" fmla="*/ 54 h 108"/>
                <a:gd name="T20" fmla="*/ 51 w 171"/>
                <a:gd name="T21" fmla="*/ 68 h 108"/>
                <a:gd name="T22" fmla="*/ 46 w 171"/>
                <a:gd name="T23" fmla="*/ 67 h 108"/>
                <a:gd name="T24" fmla="*/ 45 w 171"/>
                <a:gd name="T25" fmla="*/ 67 h 108"/>
                <a:gd name="T26" fmla="*/ 45 w 171"/>
                <a:gd name="T27" fmla="*/ 69 h 108"/>
                <a:gd name="T28" fmla="*/ 46 w 171"/>
                <a:gd name="T29" fmla="*/ 90 h 108"/>
                <a:gd name="T30" fmla="*/ 49 w 171"/>
                <a:gd name="T31" fmla="*/ 98 h 108"/>
                <a:gd name="T32" fmla="*/ 39 w 171"/>
                <a:gd name="T33" fmla="*/ 96 h 108"/>
                <a:gd name="T34" fmla="*/ 29 w 171"/>
                <a:gd name="T35" fmla="*/ 95 h 108"/>
                <a:gd name="T36" fmla="*/ 24 w 171"/>
                <a:gd name="T37" fmla="*/ 86 h 108"/>
                <a:gd name="T38" fmla="*/ 23 w 171"/>
                <a:gd name="T39" fmla="*/ 86 h 108"/>
                <a:gd name="T40" fmla="*/ 13 w 171"/>
                <a:gd name="T41" fmla="*/ 88 h 108"/>
                <a:gd name="T42" fmla="*/ 1 w 171"/>
                <a:gd name="T43" fmla="*/ 80 h 108"/>
                <a:gd name="T44" fmla="*/ 1 w 171"/>
                <a:gd name="T45" fmla="*/ 83 h 108"/>
                <a:gd name="T46" fmla="*/ 12 w 171"/>
                <a:gd name="T47" fmla="*/ 96 h 108"/>
                <a:gd name="T48" fmla="*/ 21 w 171"/>
                <a:gd name="T49" fmla="*/ 104 h 108"/>
                <a:gd name="T50" fmla="*/ 26 w 171"/>
                <a:gd name="T51" fmla="*/ 108 h 108"/>
                <a:gd name="T52" fmla="*/ 35 w 171"/>
                <a:gd name="T53" fmla="*/ 105 h 108"/>
                <a:gd name="T54" fmla="*/ 39 w 171"/>
                <a:gd name="T55" fmla="*/ 104 h 108"/>
                <a:gd name="T56" fmla="*/ 55 w 171"/>
                <a:gd name="T57" fmla="*/ 103 h 108"/>
                <a:gd name="T58" fmla="*/ 59 w 171"/>
                <a:gd name="T59" fmla="*/ 104 h 108"/>
                <a:gd name="T60" fmla="*/ 68 w 171"/>
                <a:gd name="T61" fmla="*/ 100 h 108"/>
                <a:gd name="T62" fmla="*/ 69 w 171"/>
                <a:gd name="T63" fmla="*/ 99 h 108"/>
                <a:gd name="T64" fmla="*/ 78 w 171"/>
                <a:gd name="T65" fmla="*/ 90 h 108"/>
                <a:gd name="T66" fmla="*/ 101 w 171"/>
                <a:gd name="T67" fmla="*/ 91 h 108"/>
                <a:gd name="T68" fmla="*/ 105 w 171"/>
                <a:gd name="T69" fmla="*/ 93 h 108"/>
                <a:gd name="T70" fmla="*/ 115 w 171"/>
                <a:gd name="T71" fmla="*/ 97 h 108"/>
                <a:gd name="T72" fmla="*/ 116 w 171"/>
                <a:gd name="T73" fmla="*/ 97 h 108"/>
                <a:gd name="T74" fmla="*/ 118 w 171"/>
                <a:gd name="T75" fmla="*/ 95 h 108"/>
                <a:gd name="T76" fmla="*/ 130 w 171"/>
                <a:gd name="T77" fmla="*/ 92 h 108"/>
                <a:gd name="T78" fmla="*/ 136 w 171"/>
                <a:gd name="T79" fmla="*/ 91 h 108"/>
                <a:gd name="T80" fmla="*/ 137 w 171"/>
                <a:gd name="T81" fmla="*/ 91 h 108"/>
                <a:gd name="T82" fmla="*/ 140 w 171"/>
                <a:gd name="T83" fmla="*/ 90 h 108"/>
                <a:gd name="T84" fmla="*/ 142 w 171"/>
                <a:gd name="T85" fmla="*/ 84 h 108"/>
                <a:gd name="T86" fmla="*/ 145 w 171"/>
                <a:gd name="T87" fmla="*/ 80 h 108"/>
                <a:gd name="T88" fmla="*/ 147 w 171"/>
                <a:gd name="T89" fmla="*/ 79 h 108"/>
                <a:gd name="T90" fmla="*/ 146 w 171"/>
                <a:gd name="T91" fmla="*/ 77 h 108"/>
                <a:gd name="T92" fmla="*/ 151 w 171"/>
                <a:gd name="T93" fmla="*/ 66 h 108"/>
                <a:gd name="T94" fmla="*/ 154 w 171"/>
                <a:gd name="T95" fmla="*/ 63 h 108"/>
                <a:gd name="T96" fmla="*/ 155 w 171"/>
                <a:gd name="T97" fmla="*/ 62 h 108"/>
                <a:gd name="T98" fmla="*/ 166 w 171"/>
                <a:gd name="T99" fmla="*/ 45 h 108"/>
                <a:gd name="T100" fmla="*/ 167 w 171"/>
                <a:gd name="T101" fmla="*/ 44 h 108"/>
                <a:gd name="T102" fmla="*/ 171 w 171"/>
                <a:gd name="T103" fmla="*/ 15 h 108"/>
                <a:gd name="T104" fmla="*/ 162 w 171"/>
                <a:gd name="T105" fmla="*/ 14 h 108"/>
                <a:gd name="T106" fmla="*/ 154 w 171"/>
                <a:gd name="T107" fmla="*/ 10 h 108"/>
                <a:gd name="T108" fmla="*/ 152 w 171"/>
                <a:gd name="T109" fmla="*/ 0 h 1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1" h="108">
                  <a:moveTo>
                    <a:pt x="152" y="0"/>
                  </a:moveTo>
                  <a:cubicBezTo>
                    <a:pt x="152" y="1"/>
                    <a:pt x="152" y="1"/>
                    <a:pt x="152" y="1"/>
                  </a:cubicBezTo>
                  <a:cubicBezTo>
                    <a:pt x="152" y="1"/>
                    <a:pt x="152" y="1"/>
                    <a:pt x="152" y="2"/>
                  </a:cubicBezTo>
                  <a:cubicBezTo>
                    <a:pt x="153" y="4"/>
                    <a:pt x="153" y="6"/>
                    <a:pt x="153" y="8"/>
                  </a:cubicBezTo>
                  <a:cubicBezTo>
                    <a:pt x="153" y="8"/>
                    <a:pt x="153" y="8"/>
                    <a:pt x="153" y="8"/>
                  </a:cubicBezTo>
                  <a:cubicBezTo>
                    <a:pt x="153" y="9"/>
                    <a:pt x="153" y="10"/>
                    <a:pt x="153" y="11"/>
                  </a:cubicBezTo>
                  <a:cubicBezTo>
                    <a:pt x="153" y="12"/>
                    <a:pt x="153" y="14"/>
                    <a:pt x="153" y="15"/>
                  </a:cubicBezTo>
                  <a:cubicBezTo>
                    <a:pt x="152" y="17"/>
                    <a:pt x="152" y="18"/>
                    <a:pt x="151" y="19"/>
                  </a:cubicBezTo>
                  <a:cubicBezTo>
                    <a:pt x="149" y="22"/>
                    <a:pt x="146" y="23"/>
                    <a:pt x="144" y="23"/>
                  </a:cubicBezTo>
                  <a:cubicBezTo>
                    <a:pt x="144" y="23"/>
                    <a:pt x="143" y="23"/>
                    <a:pt x="143" y="23"/>
                  </a:cubicBezTo>
                  <a:cubicBezTo>
                    <a:pt x="140" y="23"/>
                    <a:pt x="137" y="19"/>
                    <a:pt x="134" y="15"/>
                  </a:cubicBezTo>
                  <a:cubicBezTo>
                    <a:pt x="133" y="14"/>
                    <a:pt x="133" y="13"/>
                    <a:pt x="133" y="13"/>
                  </a:cubicBezTo>
                  <a:cubicBezTo>
                    <a:pt x="132" y="13"/>
                    <a:pt x="132" y="12"/>
                    <a:pt x="132" y="12"/>
                  </a:cubicBezTo>
                  <a:cubicBezTo>
                    <a:pt x="131" y="11"/>
                    <a:pt x="131" y="11"/>
                    <a:pt x="131" y="11"/>
                  </a:cubicBezTo>
                  <a:cubicBezTo>
                    <a:pt x="131" y="11"/>
                    <a:pt x="131" y="10"/>
                    <a:pt x="130" y="9"/>
                  </a:cubicBezTo>
                  <a:cubicBezTo>
                    <a:pt x="130" y="9"/>
                    <a:pt x="129" y="8"/>
                    <a:pt x="126" y="7"/>
                  </a:cubicBezTo>
                  <a:cubicBezTo>
                    <a:pt x="121" y="13"/>
                    <a:pt x="115" y="20"/>
                    <a:pt x="110" y="27"/>
                  </a:cubicBezTo>
                  <a:cubicBezTo>
                    <a:pt x="106" y="32"/>
                    <a:pt x="103" y="38"/>
                    <a:pt x="99" y="43"/>
                  </a:cubicBezTo>
                  <a:cubicBezTo>
                    <a:pt x="96" y="45"/>
                    <a:pt x="92" y="46"/>
                    <a:pt x="89" y="48"/>
                  </a:cubicBezTo>
                  <a:cubicBezTo>
                    <a:pt x="79" y="50"/>
                    <a:pt x="70" y="52"/>
                    <a:pt x="60" y="54"/>
                  </a:cubicBezTo>
                  <a:cubicBezTo>
                    <a:pt x="55" y="55"/>
                    <a:pt x="56" y="56"/>
                    <a:pt x="54" y="61"/>
                  </a:cubicBezTo>
                  <a:cubicBezTo>
                    <a:pt x="54" y="64"/>
                    <a:pt x="54" y="68"/>
                    <a:pt x="51" y="68"/>
                  </a:cubicBezTo>
                  <a:cubicBezTo>
                    <a:pt x="49" y="68"/>
                    <a:pt x="48" y="67"/>
                    <a:pt x="46" y="67"/>
                  </a:cubicBezTo>
                  <a:cubicBezTo>
                    <a:pt x="46" y="67"/>
                    <a:pt x="46" y="67"/>
                    <a:pt x="46" y="67"/>
                  </a:cubicBezTo>
                  <a:cubicBezTo>
                    <a:pt x="46" y="67"/>
                    <a:pt x="46" y="67"/>
                    <a:pt x="46" y="67"/>
                  </a:cubicBezTo>
                  <a:cubicBezTo>
                    <a:pt x="45" y="67"/>
                    <a:pt x="45" y="67"/>
                    <a:pt x="45" y="67"/>
                  </a:cubicBezTo>
                  <a:cubicBezTo>
                    <a:pt x="45" y="67"/>
                    <a:pt x="45" y="67"/>
                    <a:pt x="45" y="67"/>
                  </a:cubicBezTo>
                  <a:cubicBezTo>
                    <a:pt x="45" y="67"/>
                    <a:pt x="45" y="67"/>
                    <a:pt x="45" y="69"/>
                  </a:cubicBezTo>
                  <a:cubicBezTo>
                    <a:pt x="46" y="71"/>
                    <a:pt x="47" y="74"/>
                    <a:pt x="48" y="75"/>
                  </a:cubicBezTo>
                  <a:cubicBezTo>
                    <a:pt x="43" y="78"/>
                    <a:pt x="37" y="88"/>
                    <a:pt x="46" y="90"/>
                  </a:cubicBezTo>
                  <a:cubicBezTo>
                    <a:pt x="42" y="90"/>
                    <a:pt x="36" y="89"/>
                    <a:pt x="40" y="94"/>
                  </a:cubicBezTo>
                  <a:cubicBezTo>
                    <a:pt x="42" y="97"/>
                    <a:pt x="47" y="96"/>
                    <a:pt x="49" y="98"/>
                  </a:cubicBezTo>
                  <a:cubicBezTo>
                    <a:pt x="48" y="98"/>
                    <a:pt x="48" y="98"/>
                    <a:pt x="47" y="98"/>
                  </a:cubicBezTo>
                  <a:cubicBezTo>
                    <a:pt x="44" y="98"/>
                    <a:pt x="42" y="97"/>
                    <a:pt x="39" y="96"/>
                  </a:cubicBezTo>
                  <a:cubicBezTo>
                    <a:pt x="37" y="95"/>
                    <a:pt x="34" y="94"/>
                    <a:pt x="32" y="94"/>
                  </a:cubicBezTo>
                  <a:cubicBezTo>
                    <a:pt x="31" y="94"/>
                    <a:pt x="30" y="94"/>
                    <a:pt x="29" y="95"/>
                  </a:cubicBezTo>
                  <a:cubicBezTo>
                    <a:pt x="32" y="92"/>
                    <a:pt x="30" y="92"/>
                    <a:pt x="28" y="90"/>
                  </a:cubicBezTo>
                  <a:cubicBezTo>
                    <a:pt x="28" y="90"/>
                    <a:pt x="24" y="86"/>
                    <a:pt x="24" y="86"/>
                  </a:cubicBezTo>
                  <a:cubicBezTo>
                    <a:pt x="24" y="86"/>
                    <a:pt x="24" y="86"/>
                    <a:pt x="24" y="86"/>
                  </a:cubicBezTo>
                  <a:cubicBezTo>
                    <a:pt x="24" y="86"/>
                    <a:pt x="23" y="86"/>
                    <a:pt x="23" y="86"/>
                  </a:cubicBezTo>
                  <a:cubicBezTo>
                    <a:pt x="20" y="86"/>
                    <a:pt x="17" y="88"/>
                    <a:pt x="15" y="88"/>
                  </a:cubicBezTo>
                  <a:cubicBezTo>
                    <a:pt x="14" y="88"/>
                    <a:pt x="14" y="88"/>
                    <a:pt x="13" y="88"/>
                  </a:cubicBezTo>
                  <a:cubicBezTo>
                    <a:pt x="11" y="88"/>
                    <a:pt x="10" y="88"/>
                    <a:pt x="9" y="88"/>
                  </a:cubicBezTo>
                  <a:cubicBezTo>
                    <a:pt x="6" y="87"/>
                    <a:pt x="4" y="83"/>
                    <a:pt x="1" y="80"/>
                  </a:cubicBezTo>
                  <a:cubicBezTo>
                    <a:pt x="1" y="80"/>
                    <a:pt x="1" y="80"/>
                    <a:pt x="1" y="80"/>
                  </a:cubicBezTo>
                  <a:cubicBezTo>
                    <a:pt x="1" y="81"/>
                    <a:pt x="0" y="83"/>
                    <a:pt x="1" y="83"/>
                  </a:cubicBezTo>
                  <a:cubicBezTo>
                    <a:pt x="1" y="87"/>
                    <a:pt x="6" y="91"/>
                    <a:pt x="10" y="94"/>
                  </a:cubicBezTo>
                  <a:cubicBezTo>
                    <a:pt x="12" y="96"/>
                    <a:pt x="12" y="96"/>
                    <a:pt x="12" y="96"/>
                  </a:cubicBezTo>
                  <a:cubicBezTo>
                    <a:pt x="14" y="98"/>
                    <a:pt x="17" y="100"/>
                    <a:pt x="19" y="102"/>
                  </a:cubicBezTo>
                  <a:cubicBezTo>
                    <a:pt x="21" y="104"/>
                    <a:pt x="21" y="104"/>
                    <a:pt x="21" y="104"/>
                  </a:cubicBezTo>
                  <a:cubicBezTo>
                    <a:pt x="22" y="105"/>
                    <a:pt x="22" y="105"/>
                    <a:pt x="23" y="106"/>
                  </a:cubicBezTo>
                  <a:cubicBezTo>
                    <a:pt x="24" y="106"/>
                    <a:pt x="26" y="108"/>
                    <a:pt x="26" y="108"/>
                  </a:cubicBezTo>
                  <a:cubicBezTo>
                    <a:pt x="26" y="108"/>
                    <a:pt x="27" y="108"/>
                    <a:pt x="27" y="108"/>
                  </a:cubicBezTo>
                  <a:cubicBezTo>
                    <a:pt x="29" y="108"/>
                    <a:pt x="33" y="106"/>
                    <a:pt x="35" y="105"/>
                  </a:cubicBezTo>
                  <a:cubicBezTo>
                    <a:pt x="36" y="105"/>
                    <a:pt x="36" y="105"/>
                    <a:pt x="36" y="105"/>
                  </a:cubicBezTo>
                  <a:cubicBezTo>
                    <a:pt x="37" y="105"/>
                    <a:pt x="38" y="104"/>
                    <a:pt x="39" y="104"/>
                  </a:cubicBezTo>
                  <a:cubicBezTo>
                    <a:pt x="42" y="103"/>
                    <a:pt x="45" y="102"/>
                    <a:pt x="47" y="102"/>
                  </a:cubicBezTo>
                  <a:cubicBezTo>
                    <a:pt x="50" y="102"/>
                    <a:pt x="52" y="103"/>
                    <a:pt x="55" y="103"/>
                  </a:cubicBezTo>
                  <a:cubicBezTo>
                    <a:pt x="56" y="103"/>
                    <a:pt x="56" y="103"/>
                    <a:pt x="56" y="103"/>
                  </a:cubicBezTo>
                  <a:cubicBezTo>
                    <a:pt x="57" y="103"/>
                    <a:pt x="58" y="103"/>
                    <a:pt x="59" y="104"/>
                  </a:cubicBezTo>
                  <a:cubicBezTo>
                    <a:pt x="59" y="104"/>
                    <a:pt x="59" y="104"/>
                    <a:pt x="59" y="104"/>
                  </a:cubicBezTo>
                  <a:cubicBezTo>
                    <a:pt x="62" y="104"/>
                    <a:pt x="67" y="101"/>
                    <a:pt x="68" y="100"/>
                  </a:cubicBezTo>
                  <a:cubicBezTo>
                    <a:pt x="68" y="100"/>
                    <a:pt x="68" y="100"/>
                    <a:pt x="68" y="100"/>
                  </a:cubicBezTo>
                  <a:cubicBezTo>
                    <a:pt x="69" y="99"/>
                    <a:pt x="69" y="99"/>
                    <a:pt x="69" y="99"/>
                  </a:cubicBezTo>
                  <a:cubicBezTo>
                    <a:pt x="70" y="93"/>
                    <a:pt x="71" y="91"/>
                    <a:pt x="76" y="91"/>
                  </a:cubicBezTo>
                  <a:cubicBezTo>
                    <a:pt x="78" y="90"/>
                    <a:pt x="78" y="90"/>
                    <a:pt x="78" y="90"/>
                  </a:cubicBezTo>
                  <a:cubicBezTo>
                    <a:pt x="86" y="89"/>
                    <a:pt x="91" y="88"/>
                    <a:pt x="94" y="88"/>
                  </a:cubicBezTo>
                  <a:cubicBezTo>
                    <a:pt x="99" y="88"/>
                    <a:pt x="100" y="89"/>
                    <a:pt x="101" y="91"/>
                  </a:cubicBezTo>
                  <a:cubicBezTo>
                    <a:pt x="101" y="91"/>
                    <a:pt x="101" y="91"/>
                    <a:pt x="101" y="92"/>
                  </a:cubicBezTo>
                  <a:cubicBezTo>
                    <a:pt x="103" y="92"/>
                    <a:pt x="104" y="93"/>
                    <a:pt x="105" y="93"/>
                  </a:cubicBezTo>
                  <a:cubicBezTo>
                    <a:pt x="106" y="94"/>
                    <a:pt x="106" y="94"/>
                    <a:pt x="106" y="94"/>
                  </a:cubicBezTo>
                  <a:cubicBezTo>
                    <a:pt x="109" y="95"/>
                    <a:pt x="112" y="97"/>
                    <a:pt x="115" y="97"/>
                  </a:cubicBezTo>
                  <a:cubicBezTo>
                    <a:pt x="115" y="97"/>
                    <a:pt x="116" y="97"/>
                    <a:pt x="116" y="97"/>
                  </a:cubicBezTo>
                  <a:cubicBezTo>
                    <a:pt x="116" y="97"/>
                    <a:pt x="116" y="97"/>
                    <a:pt x="116" y="97"/>
                  </a:cubicBezTo>
                  <a:cubicBezTo>
                    <a:pt x="116" y="97"/>
                    <a:pt x="116" y="97"/>
                    <a:pt x="117" y="96"/>
                  </a:cubicBezTo>
                  <a:cubicBezTo>
                    <a:pt x="117" y="96"/>
                    <a:pt x="118" y="95"/>
                    <a:pt x="118" y="95"/>
                  </a:cubicBezTo>
                  <a:cubicBezTo>
                    <a:pt x="121" y="94"/>
                    <a:pt x="125" y="93"/>
                    <a:pt x="129" y="92"/>
                  </a:cubicBezTo>
                  <a:cubicBezTo>
                    <a:pt x="129" y="92"/>
                    <a:pt x="130" y="92"/>
                    <a:pt x="130" y="92"/>
                  </a:cubicBezTo>
                  <a:cubicBezTo>
                    <a:pt x="136" y="90"/>
                    <a:pt x="136" y="90"/>
                    <a:pt x="136" y="90"/>
                  </a:cubicBezTo>
                  <a:cubicBezTo>
                    <a:pt x="136" y="91"/>
                    <a:pt x="136" y="91"/>
                    <a:pt x="136" y="91"/>
                  </a:cubicBezTo>
                  <a:cubicBezTo>
                    <a:pt x="136" y="91"/>
                    <a:pt x="136" y="91"/>
                    <a:pt x="136" y="91"/>
                  </a:cubicBezTo>
                  <a:cubicBezTo>
                    <a:pt x="137" y="91"/>
                    <a:pt x="137" y="91"/>
                    <a:pt x="137" y="91"/>
                  </a:cubicBezTo>
                  <a:cubicBezTo>
                    <a:pt x="137" y="91"/>
                    <a:pt x="138" y="91"/>
                    <a:pt x="139" y="91"/>
                  </a:cubicBezTo>
                  <a:cubicBezTo>
                    <a:pt x="140" y="91"/>
                    <a:pt x="140" y="91"/>
                    <a:pt x="140" y="90"/>
                  </a:cubicBezTo>
                  <a:cubicBezTo>
                    <a:pt x="141" y="87"/>
                    <a:pt x="141" y="87"/>
                    <a:pt x="141" y="87"/>
                  </a:cubicBezTo>
                  <a:cubicBezTo>
                    <a:pt x="142" y="86"/>
                    <a:pt x="142" y="85"/>
                    <a:pt x="142" y="84"/>
                  </a:cubicBezTo>
                  <a:cubicBezTo>
                    <a:pt x="142" y="83"/>
                    <a:pt x="143" y="83"/>
                    <a:pt x="143" y="83"/>
                  </a:cubicBezTo>
                  <a:cubicBezTo>
                    <a:pt x="144" y="82"/>
                    <a:pt x="145" y="81"/>
                    <a:pt x="145" y="80"/>
                  </a:cubicBezTo>
                  <a:cubicBezTo>
                    <a:pt x="146" y="80"/>
                    <a:pt x="146" y="80"/>
                    <a:pt x="146" y="80"/>
                  </a:cubicBezTo>
                  <a:cubicBezTo>
                    <a:pt x="147" y="79"/>
                    <a:pt x="147" y="79"/>
                    <a:pt x="147" y="79"/>
                  </a:cubicBezTo>
                  <a:cubicBezTo>
                    <a:pt x="147" y="79"/>
                    <a:pt x="147" y="79"/>
                    <a:pt x="147" y="78"/>
                  </a:cubicBezTo>
                  <a:cubicBezTo>
                    <a:pt x="147" y="78"/>
                    <a:pt x="147" y="77"/>
                    <a:pt x="146" y="77"/>
                  </a:cubicBezTo>
                  <a:cubicBezTo>
                    <a:pt x="146" y="75"/>
                    <a:pt x="145" y="72"/>
                    <a:pt x="146" y="70"/>
                  </a:cubicBezTo>
                  <a:cubicBezTo>
                    <a:pt x="146" y="68"/>
                    <a:pt x="147" y="68"/>
                    <a:pt x="151" y="66"/>
                  </a:cubicBezTo>
                  <a:cubicBezTo>
                    <a:pt x="152" y="65"/>
                    <a:pt x="152" y="65"/>
                    <a:pt x="152" y="65"/>
                  </a:cubicBezTo>
                  <a:cubicBezTo>
                    <a:pt x="152" y="64"/>
                    <a:pt x="153" y="64"/>
                    <a:pt x="154" y="63"/>
                  </a:cubicBezTo>
                  <a:cubicBezTo>
                    <a:pt x="155" y="63"/>
                    <a:pt x="155" y="63"/>
                    <a:pt x="155" y="63"/>
                  </a:cubicBezTo>
                  <a:cubicBezTo>
                    <a:pt x="155" y="62"/>
                    <a:pt x="155" y="62"/>
                    <a:pt x="155" y="62"/>
                  </a:cubicBezTo>
                  <a:cubicBezTo>
                    <a:pt x="153" y="57"/>
                    <a:pt x="154" y="53"/>
                    <a:pt x="157" y="49"/>
                  </a:cubicBezTo>
                  <a:cubicBezTo>
                    <a:pt x="159" y="46"/>
                    <a:pt x="162" y="45"/>
                    <a:pt x="166" y="45"/>
                  </a:cubicBezTo>
                  <a:cubicBezTo>
                    <a:pt x="166" y="45"/>
                    <a:pt x="166" y="45"/>
                    <a:pt x="167" y="45"/>
                  </a:cubicBezTo>
                  <a:cubicBezTo>
                    <a:pt x="167" y="45"/>
                    <a:pt x="167" y="44"/>
                    <a:pt x="167" y="44"/>
                  </a:cubicBezTo>
                  <a:cubicBezTo>
                    <a:pt x="169" y="38"/>
                    <a:pt x="169" y="33"/>
                    <a:pt x="168" y="26"/>
                  </a:cubicBezTo>
                  <a:cubicBezTo>
                    <a:pt x="167" y="22"/>
                    <a:pt x="169" y="18"/>
                    <a:pt x="171" y="15"/>
                  </a:cubicBezTo>
                  <a:cubicBezTo>
                    <a:pt x="164" y="14"/>
                    <a:pt x="164" y="14"/>
                    <a:pt x="164" y="14"/>
                  </a:cubicBezTo>
                  <a:cubicBezTo>
                    <a:pt x="164" y="14"/>
                    <a:pt x="163" y="14"/>
                    <a:pt x="162" y="14"/>
                  </a:cubicBezTo>
                  <a:cubicBezTo>
                    <a:pt x="161" y="14"/>
                    <a:pt x="161" y="14"/>
                    <a:pt x="161" y="14"/>
                  </a:cubicBezTo>
                  <a:cubicBezTo>
                    <a:pt x="158" y="14"/>
                    <a:pt x="155" y="12"/>
                    <a:pt x="154" y="10"/>
                  </a:cubicBezTo>
                  <a:cubicBezTo>
                    <a:pt x="154" y="8"/>
                    <a:pt x="154" y="8"/>
                    <a:pt x="154" y="8"/>
                  </a:cubicBezTo>
                  <a:cubicBezTo>
                    <a:pt x="153" y="6"/>
                    <a:pt x="152" y="3"/>
                    <a:pt x="1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1518"/>
            <p:cNvSpPr/>
            <p:nvPr/>
          </p:nvSpPr>
          <p:spPr bwMode="auto">
            <a:xfrm>
              <a:off x="1502" y="714"/>
              <a:ext cx="2" cy="3"/>
            </a:xfrm>
            <a:custGeom>
              <a:gdLst>
                <a:gd name="T0" fmla="*/ 0 w 2"/>
                <a:gd name="T1" fmla="*/ 0 h 3"/>
                <a:gd name="T2" fmla="*/ 0 w 2"/>
                <a:gd name="T3" fmla="*/ 3 h 3"/>
                <a:gd name="T4" fmla="*/ 2 w 2"/>
                <a:gd name="T5" fmla="*/ 0 h 3"/>
                <a:gd name="T6" fmla="*/ 0 w 2"/>
                <a:gd name="T7" fmla="*/ 0 h 3"/>
              </a:gdLst>
              <a:cxnLst>
                <a:cxn ang="0">
                  <a:pos x="T0" y="T1"/>
                </a:cxn>
                <a:cxn ang="0">
                  <a:pos x="T2" y="T3"/>
                </a:cxn>
                <a:cxn ang="0">
                  <a:pos x="T4" y="T5"/>
                </a:cxn>
                <a:cxn ang="0">
                  <a:pos x="T6" y="T7"/>
                </a:cxn>
              </a:cxnLst>
              <a:rect l="0" t="0" r="r" b="b"/>
              <a:pathLst>
                <a:path w="2" h="3">
                  <a:moveTo>
                    <a:pt x="0" y="0"/>
                  </a:moveTo>
                  <a:lnTo>
                    <a:pt x="0" y="3"/>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1519"/>
            <p:cNvSpPr/>
            <p:nvPr/>
          </p:nvSpPr>
          <p:spPr bwMode="auto">
            <a:xfrm>
              <a:off x="1502" y="714"/>
              <a:ext cx="2" cy="3"/>
            </a:xfrm>
            <a:custGeom>
              <a:gdLst>
                <a:gd name="T0" fmla="*/ 0 w 2"/>
                <a:gd name="T1" fmla="*/ 0 h 3"/>
                <a:gd name="T2" fmla="*/ 0 w 2"/>
                <a:gd name="T3" fmla="*/ 3 h 3"/>
                <a:gd name="T4" fmla="*/ 2 w 2"/>
                <a:gd name="T5" fmla="*/ 0 h 3"/>
                <a:gd name="T6" fmla="*/ 0 w 2"/>
                <a:gd name="T7" fmla="*/ 0 h 3"/>
              </a:gdLst>
              <a:cxnLst>
                <a:cxn ang="0">
                  <a:pos x="T0" y="T1"/>
                </a:cxn>
                <a:cxn ang="0">
                  <a:pos x="T2" y="T3"/>
                </a:cxn>
                <a:cxn ang="0">
                  <a:pos x="T4" y="T5"/>
                </a:cxn>
                <a:cxn ang="0">
                  <a:pos x="T6" y="T7"/>
                </a:cxn>
              </a:cxnLst>
              <a:rect l="0" t="0" r="r" b="b"/>
              <a:pathLst>
                <a:path w="2" h="3">
                  <a:moveTo>
                    <a:pt x="0" y="0"/>
                  </a:moveTo>
                  <a:lnTo>
                    <a:pt x="0" y="3"/>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1520"/>
            <p:cNvSpPr/>
            <p:nvPr/>
          </p:nvSpPr>
          <p:spPr bwMode="auto">
            <a:xfrm>
              <a:off x="1523" y="695"/>
              <a:ext cx="47" cy="59"/>
            </a:xfrm>
            <a:custGeom>
              <a:gdLst>
                <a:gd name="T0" fmla="*/ 20 w 20"/>
                <a:gd name="T1" fmla="*/ 0 h 25"/>
                <a:gd name="T2" fmla="*/ 10 w 20"/>
                <a:gd name="T3" fmla="*/ 7 h 25"/>
                <a:gd name="T4" fmla="*/ 0 w 20"/>
                <a:gd name="T5" fmla="*/ 12 h 25"/>
                <a:gd name="T6" fmla="*/ 3 w 20"/>
                <a:gd name="T7" fmla="*/ 14 h 25"/>
                <a:gd name="T8" fmla="*/ 5 w 20"/>
                <a:gd name="T9" fmla="*/ 17 h 25"/>
                <a:gd name="T10" fmla="*/ 5 w 20"/>
                <a:gd name="T11" fmla="*/ 17 h 25"/>
                <a:gd name="T12" fmla="*/ 7 w 20"/>
                <a:gd name="T13" fmla="*/ 19 h 25"/>
                <a:gd name="T14" fmla="*/ 11 w 20"/>
                <a:gd name="T15" fmla="*/ 25 h 25"/>
                <a:gd name="T16" fmla="*/ 12 w 20"/>
                <a:gd name="T17" fmla="*/ 24 h 25"/>
                <a:gd name="T18" fmla="*/ 13 w 20"/>
                <a:gd name="T19" fmla="*/ 23 h 25"/>
                <a:gd name="T20" fmla="*/ 13 w 20"/>
                <a:gd name="T21" fmla="*/ 22 h 25"/>
                <a:gd name="T22" fmla="*/ 13 w 20"/>
                <a:gd name="T23" fmla="*/ 20 h 25"/>
                <a:gd name="T24" fmla="*/ 13 w 20"/>
                <a:gd name="T25" fmla="*/ 18 h 25"/>
                <a:gd name="T26" fmla="*/ 12 w 20"/>
                <a:gd name="T27" fmla="*/ 12 h 25"/>
                <a:gd name="T28" fmla="*/ 12 w 20"/>
                <a:gd name="T29" fmla="*/ 11 h 25"/>
                <a:gd name="T30" fmla="*/ 12 w 20"/>
                <a:gd name="T31" fmla="*/ 7 h 25"/>
                <a:gd name="T32" fmla="*/ 12 w 20"/>
                <a:gd name="T33" fmla="*/ 6 h 25"/>
                <a:gd name="T34" fmla="*/ 13 w 20"/>
                <a:gd name="T35" fmla="*/ 5 h 25"/>
                <a:gd name="T36" fmla="*/ 14 w 20"/>
                <a:gd name="T37" fmla="*/ 4 h 25"/>
                <a:gd name="T38" fmla="*/ 16 w 20"/>
                <a:gd name="T39" fmla="*/ 3 h 25"/>
                <a:gd name="T40" fmla="*/ 17 w 20"/>
                <a:gd name="T41" fmla="*/ 2 h 25"/>
                <a:gd name="T42" fmla="*/ 19 w 20"/>
                <a:gd name="T43" fmla="*/ 1 h 25"/>
                <a:gd name="T44" fmla="*/ 20 w 20"/>
                <a:gd name="T45"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5">
                  <a:moveTo>
                    <a:pt x="20" y="0"/>
                  </a:moveTo>
                  <a:cubicBezTo>
                    <a:pt x="16" y="2"/>
                    <a:pt x="12" y="4"/>
                    <a:pt x="10" y="7"/>
                  </a:cubicBezTo>
                  <a:cubicBezTo>
                    <a:pt x="7" y="10"/>
                    <a:pt x="4" y="11"/>
                    <a:pt x="0" y="12"/>
                  </a:cubicBezTo>
                  <a:cubicBezTo>
                    <a:pt x="2" y="13"/>
                    <a:pt x="3" y="14"/>
                    <a:pt x="3" y="14"/>
                  </a:cubicBezTo>
                  <a:cubicBezTo>
                    <a:pt x="4" y="15"/>
                    <a:pt x="4" y="16"/>
                    <a:pt x="5" y="17"/>
                  </a:cubicBezTo>
                  <a:cubicBezTo>
                    <a:pt x="5" y="17"/>
                    <a:pt x="5" y="17"/>
                    <a:pt x="5" y="17"/>
                  </a:cubicBezTo>
                  <a:cubicBezTo>
                    <a:pt x="5" y="18"/>
                    <a:pt x="6" y="18"/>
                    <a:pt x="7" y="19"/>
                  </a:cubicBezTo>
                  <a:cubicBezTo>
                    <a:pt x="9" y="23"/>
                    <a:pt x="11" y="24"/>
                    <a:pt x="11" y="25"/>
                  </a:cubicBezTo>
                  <a:cubicBezTo>
                    <a:pt x="12" y="24"/>
                    <a:pt x="12" y="24"/>
                    <a:pt x="12" y="24"/>
                  </a:cubicBezTo>
                  <a:cubicBezTo>
                    <a:pt x="13" y="23"/>
                    <a:pt x="13" y="23"/>
                    <a:pt x="13" y="23"/>
                  </a:cubicBezTo>
                  <a:cubicBezTo>
                    <a:pt x="13" y="22"/>
                    <a:pt x="13" y="22"/>
                    <a:pt x="13" y="22"/>
                  </a:cubicBezTo>
                  <a:cubicBezTo>
                    <a:pt x="13" y="21"/>
                    <a:pt x="13" y="20"/>
                    <a:pt x="13" y="20"/>
                  </a:cubicBezTo>
                  <a:cubicBezTo>
                    <a:pt x="13" y="20"/>
                    <a:pt x="13" y="19"/>
                    <a:pt x="13" y="18"/>
                  </a:cubicBezTo>
                  <a:cubicBezTo>
                    <a:pt x="13" y="16"/>
                    <a:pt x="13" y="14"/>
                    <a:pt x="12" y="12"/>
                  </a:cubicBezTo>
                  <a:cubicBezTo>
                    <a:pt x="12" y="12"/>
                    <a:pt x="12" y="11"/>
                    <a:pt x="12" y="11"/>
                  </a:cubicBezTo>
                  <a:cubicBezTo>
                    <a:pt x="11" y="10"/>
                    <a:pt x="11" y="8"/>
                    <a:pt x="12" y="7"/>
                  </a:cubicBezTo>
                  <a:cubicBezTo>
                    <a:pt x="12" y="7"/>
                    <a:pt x="12" y="6"/>
                    <a:pt x="12" y="6"/>
                  </a:cubicBezTo>
                  <a:cubicBezTo>
                    <a:pt x="13" y="5"/>
                    <a:pt x="13" y="5"/>
                    <a:pt x="13" y="5"/>
                  </a:cubicBezTo>
                  <a:cubicBezTo>
                    <a:pt x="14" y="4"/>
                    <a:pt x="14" y="4"/>
                    <a:pt x="14" y="4"/>
                  </a:cubicBezTo>
                  <a:cubicBezTo>
                    <a:pt x="15" y="4"/>
                    <a:pt x="15" y="3"/>
                    <a:pt x="16" y="3"/>
                  </a:cubicBezTo>
                  <a:cubicBezTo>
                    <a:pt x="17" y="2"/>
                    <a:pt x="17" y="2"/>
                    <a:pt x="17" y="2"/>
                  </a:cubicBezTo>
                  <a:cubicBezTo>
                    <a:pt x="18" y="2"/>
                    <a:pt x="19" y="2"/>
                    <a:pt x="19" y="1"/>
                  </a:cubicBezTo>
                  <a:cubicBezTo>
                    <a:pt x="20" y="0"/>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1521"/>
            <p:cNvSpPr/>
            <p:nvPr/>
          </p:nvSpPr>
          <p:spPr bwMode="auto">
            <a:xfrm>
              <a:off x="394" y="0"/>
              <a:ext cx="118" cy="338"/>
            </a:xfrm>
            <a:custGeom>
              <a:gdLst>
                <a:gd name="T0" fmla="*/ 0 w 50"/>
                <a:gd name="T1" fmla="*/ 0 h 143"/>
                <a:gd name="T2" fmla="*/ 1 w 50"/>
                <a:gd name="T3" fmla="*/ 5 h 143"/>
                <a:gd name="T4" fmla="*/ 7 w 50"/>
                <a:gd name="T5" fmla="*/ 11 h 143"/>
                <a:gd name="T6" fmla="*/ 6 w 50"/>
                <a:gd name="T7" fmla="*/ 11 h 143"/>
                <a:gd name="T8" fmla="*/ 7 w 50"/>
                <a:gd name="T9" fmla="*/ 22 h 143"/>
                <a:gd name="T10" fmla="*/ 10 w 50"/>
                <a:gd name="T11" fmla="*/ 42 h 143"/>
                <a:gd name="T12" fmla="*/ 11 w 50"/>
                <a:gd name="T13" fmla="*/ 44 h 143"/>
                <a:gd name="T14" fmla="*/ 11 w 50"/>
                <a:gd name="T15" fmla="*/ 39 h 143"/>
                <a:gd name="T16" fmla="*/ 15 w 50"/>
                <a:gd name="T17" fmla="*/ 36 h 143"/>
                <a:gd name="T18" fmla="*/ 20 w 50"/>
                <a:gd name="T19" fmla="*/ 50 h 143"/>
                <a:gd name="T20" fmla="*/ 24 w 50"/>
                <a:gd name="T21" fmla="*/ 61 h 143"/>
                <a:gd name="T22" fmla="*/ 26 w 50"/>
                <a:gd name="T23" fmla="*/ 70 h 143"/>
                <a:gd name="T24" fmla="*/ 21 w 50"/>
                <a:gd name="T25" fmla="*/ 82 h 143"/>
                <a:gd name="T26" fmla="*/ 26 w 50"/>
                <a:gd name="T27" fmla="*/ 83 h 143"/>
                <a:gd name="T28" fmla="*/ 25 w 50"/>
                <a:gd name="T29" fmla="*/ 88 h 143"/>
                <a:gd name="T30" fmla="*/ 20 w 50"/>
                <a:gd name="T31" fmla="*/ 88 h 143"/>
                <a:gd name="T32" fmla="*/ 19 w 50"/>
                <a:gd name="T33" fmla="*/ 89 h 143"/>
                <a:gd name="T34" fmla="*/ 20 w 50"/>
                <a:gd name="T35" fmla="*/ 93 h 143"/>
                <a:gd name="T36" fmla="*/ 25 w 50"/>
                <a:gd name="T37" fmla="*/ 92 h 143"/>
                <a:gd name="T38" fmla="*/ 23 w 50"/>
                <a:gd name="T39" fmla="*/ 96 h 143"/>
                <a:gd name="T40" fmla="*/ 26 w 50"/>
                <a:gd name="T41" fmla="*/ 99 h 143"/>
                <a:gd name="T42" fmla="*/ 29 w 50"/>
                <a:gd name="T43" fmla="*/ 99 h 143"/>
                <a:gd name="T44" fmla="*/ 28 w 50"/>
                <a:gd name="T45" fmla="*/ 103 h 143"/>
                <a:gd name="T46" fmla="*/ 27 w 50"/>
                <a:gd name="T47" fmla="*/ 118 h 143"/>
                <a:gd name="T48" fmla="*/ 20 w 50"/>
                <a:gd name="T49" fmla="*/ 133 h 143"/>
                <a:gd name="T50" fmla="*/ 21 w 50"/>
                <a:gd name="T51" fmla="*/ 143 h 143"/>
                <a:gd name="T52" fmla="*/ 27 w 50"/>
                <a:gd name="T53" fmla="*/ 130 h 143"/>
                <a:gd name="T54" fmla="*/ 40 w 50"/>
                <a:gd name="T55" fmla="*/ 111 h 143"/>
                <a:gd name="T56" fmla="*/ 50 w 50"/>
                <a:gd name="T57" fmla="*/ 95 h 143"/>
                <a:gd name="T58" fmla="*/ 48 w 50"/>
                <a:gd name="T59" fmla="*/ 90 h 143"/>
                <a:gd name="T60" fmla="*/ 46 w 50"/>
                <a:gd name="T61" fmla="*/ 87 h 143"/>
                <a:gd name="T62" fmla="*/ 45 w 50"/>
                <a:gd name="T63" fmla="*/ 77 h 143"/>
                <a:gd name="T64" fmla="*/ 40 w 50"/>
                <a:gd name="T65" fmla="*/ 68 h 143"/>
                <a:gd name="T66" fmla="*/ 38 w 50"/>
                <a:gd name="T67" fmla="*/ 64 h 143"/>
                <a:gd name="T68" fmla="*/ 37 w 50"/>
                <a:gd name="T69" fmla="*/ 53 h 143"/>
                <a:gd name="T70" fmla="*/ 37 w 50"/>
                <a:gd name="T71" fmla="*/ 52 h 143"/>
                <a:gd name="T72" fmla="*/ 37 w 50"/>
                <a:gd name="T73" fmla="*/ 47 h 143"/>
                <a:gd name="T74" fmla="*/ 36 w 50"/>
                <a:gd name="T75" fmla="*/ 39 h 143"/>
                <a:gd name="T76" fmla="*/ 34 w 50"/>
                <a:gd name="T77" fmla="*/ 36 h 143"/>
                <a:gd name="T78" fmla="*/ 32 w 50"/>
                <a:gd name="T79" fmla="*/ 34 h 143"/>
                <a:gd name="T80" fmla="*/ 26 w 50"/>
                <a:gd name="T81" fmla="*/ 27 h 143"/>
                <a:gd name="T82" fmla="*/ 12 w 50"/>
                <a:gd name="T83" fmla="*/ 8 h 1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143">
                  <a:moveTo>
                    <a:pt x="9" y="0"/>
                  </a:moveTo>
                  <a:cubicBezTo>
                    <a:pt x="0" y="0"/>
                    <a:pt x="0" y="0"/>
                    <a:pt x="0" y="0"/>
                  </a:cubicBezTo>
                  <a:cubicBezTo>
                    <a:pt x="0" y="1"/>
                    <a:pt x="0" y="2"/>
                    <a:pt x="0" y="2"/>
                  </a:cubicBezTo>
                  <a:cubicBezTo>
                    <a:pt x="0" y="4"/>
                    <a:pt x="0" y="4"/>
                    <a:pt x="1" y="5"/>
                  </a:cubicBezTo>
                  <a:cubicBezTo>
                    <a:pt x="2" y="7"/>
                    <a:pt x="5" y="9"/>
                    <a:pt x="6" y="11"/>
                  </a:cubicBezTo>
                  <a:cubicBezTo>
                    <a:pt x="7" y="11"/>
                    <a:pt x="7" y="11"/>
                    <a:pt x="7" y="11"/>
                  </a:cubicBezTo>
                  <a:cubicBezTo>
                    <a:pt x="6" y="11"/>
                    <a:pt x="6" y="11"/>
                    <a:pt x="6" y="11"/>
                  </a:cubicBezTo>
                  <a:cubicBezTo>
                    <a:pt x="6" y="11"/>
                    <a:pt x="6" y="11"/>
                    <a:pt x="6" y="11"/>
                  </a:cubicBezTo>
                  <a:cubicBezTo>
                    <a:pt x="6" y="12"/>
                    <a:pt x="6" y="12"/>
                    <a:pt x="6" y="12"/>
                  </a:cubicBezTo>
                  <a:cubicBezTo>
                    <a:pt x="6" y="15"/>
                    <a:pt x="6" y="19"/>
                    <a:pt x="7" y="22"/>
                  </a:cubicBezTo>
                  <a:cubicBezTo>
                    <a:pt x="7" y="25"/>
                    <a:pt x="7" y="29"/>
                    <a:pt x="8" y="32"/>
                  </a:cubicBezTo>
                  <a:cubicBezTo>
                    <a:pt x="8" y="35"/>
                    <a:pt x="9" y="38"/>
                    <a:pt x="10" y="42"/>
                  </a:cubicBezTo>
                  <a:cubicBezTo>
                    <a:pt x="10" y="42"/>
                    <a:pt x="10" y="43"/>
                    <a:pt x="10" y="44"/>
                  </a:cubicBezTo>
                  <a:cubicBezTo>
                    <a:pt x="10" y="44"/>
                    <a:pt x="11" y="44"/>
                    <a:pt x="11" y="44"/>
                  </a:cubicBezTo>
                  <a:cubicBezTo>
                    <a:pt x="10" y="43"/>
                    <a:pt x="11" y="41"/>
                    <a:pt x="11" y="40"/>
                  </a:cubicBezTo>
                  <a:cubicBezTo>
                    <a:pt x="11" y="39"/>
                    <a:pt x="11" y="39"/>
                    <a:pt x="11" y="39"/>
                  </a:cubicBezTo>
                  <a:cubicBezTo>
                    <a:pt x="12" y="36"/>
                    <a:pt x="11" y="33"/>
                    <a:pt x="11" y="30"/>
                  </a:cubicBezTo>
                  <a:cubicBezTo>
                    <a:pt x="13" y="30"/>
                    <a:pt x="14" y="33"/>
                    <a:pt x="15" y="36"/>
                  </a:cubicBezTo>
                  <a:cubicBezTo>
                    <a:pt x="16" y="39"/>
                    <a:pt x="17" y="42"/>
                    <a:pt x="18" y="45"/>
                  </a:cubicBezTo>
                  <a:cubicBezTo>
                    <a:pt x="19" y="47"/>
                    <a:pt x="19" y="49"/>
                    <a:pt x="20" y="50"/>
                  </a:cubicBezTo>
                  <a:cubicBezTo>
                    <a:pt x="20" y="51"/>
                    <a:pt x="21" y="52"/>
                    <a:pt x="21" y="53"/>
                  </a:cubicBezTo>
                  <a:cubicBezTo>
                    <a:pt x="22" y="55"/>
                    <a:pt x="23" y="58"/>
                    <a:pt x="24" y="61"/>
                  </a:cubicBezTo>
                  <a:cubicBezTo>
                    <a:pt x="25" y="64"/>
                    <a:pt x="26" y="66"/>
                    <a:pt x="26" y="68"/>
                  </a:cubicBezTo>
                  <a:cubicBezTo>
                    <a:pt x="26" y="69"/>
                    <a:pt x="26" y="70"/>
                    <a:pt x="26" y="70"/>
                  </a:cubicBezTo>
                  <a:cubicBezTo>
                    <a:pt x="25" y="73"/>
                    <a:pt x="23" y="76"/>
                    <a:pt x="24" y="79"/>
                  </a:cubicBezTo>
                  <a:cubicBezTo>
                    <a:pt x="24" y="80"/>
                    <a:pt x="23" y="81"/>
                    <a:pt x="21" y="82"/>
                  </a:cubicBezTo>
                  <a:cubicBezTo>
                    <a:pt x="22" y="82"/>
                    <a:pt x="24" y="82"/>
                    <a:pt x="25" y="82"/>
                  </a:cubicBezTo>
                  <a:cubicBezTo>
                    <a:pt x="26" y="83"/>
                    <a:pt x="26" y="83"/>
                    <a:pt x="26" y="83"/>
                  </a:cubicBezTo>
                  <a:cubicBezTo>
                    <a:pt x="26" y="83"/>
                    <a:pt x="26" y="83"/>
                    <a:pt x="26" y="83"/>
                  </a:cubicBezTo>
                  <a:cubicBezTo>
                    <a:pt x="26" y="83"/>
                    <a:pt x="25" y="88"/>
                    <a:pt x="25" y="88"/>
                  </a:cubicBezTo>
                  <a:cubicBezTo>
                    <a:pt x="25" y="90"/>
                    <a:pt x="25" y="91"/>
                    <a:pt x="25" y="91"/>
                  </a:cubicBezTo>
                  <a:cubicBezTo>
                    <a:pt x="23" y="90"/>
                    <a:pt x="22" y="89"/>
                    <a:pt x="20" y="88"/>
                  </a:cubicBezTo>
                  <a:cubicBezTo>
                    <a:pt x="19" y="87"/>
                    <a:pt x="19" y="87"/>
                    <a:pt x="19" y="87"/>
                  </a:cubicBezTo>
                  <a:cubicBezTo>
                    <a:pt x="19" y="88"/>
                    <a:pt x="19" y="88"/>
                    <a:pt x="19" y="89"/>
                  </a:cubicBezTo>
                  <a:cubicBezTo>
                    <a:pt x="19" y="90"/>
                    <a:pt x="19" y="90"/>
                    <a:pt x="19" y="90"/>
                  </a:cubicBezTo>
                  <a:cubicBezTo>
                    <a:pt x="19" y="92"/>
                    <a:pt x="19" y="93"/>
                    <a:pt x="20" y="93"/>
                  </a:cubicBezTo>
                  <a:cubicBezTo>
                    <a:pt x="22" y="93"/>
                    <a:pt x="23" y="92"/>
                    <a:pt x="25" y="91"/>
                  </a:cubicBezTo>
                  <a:cubicBezTo>
                    <a:pt x="25" y="92"/>
                    <a:pt x="25" y="92"/>
                    <a:pt x="25" y="92"/>
                  </a:cubicBezTo>
                  <a:cubicBezTo>
                    <a:pt x="23" y="92"/>
                    <a:pt x="23" y="92"/>
                    <a:pt x="23" y="92"/>
                  </a:cubicBezTo>
                  <a:cubicBezTo>
                    <a:pt x="23" y="93"/>
                    <a:pt x="22" y="95"/>
                    <a:pt x="23" y="96"/>
                  </a:cubicBezTo>
                  <a:cubicBezTo>
                    <a:pt x="23" y="97"/>
                    <a:pt x="23" y="97"/>
                    <a:pt x="24" y="98"/>
                  </a:cubicBezTo>
                  <a:cubicBezTo>
                    <a:pt x="24" y="98"/>
                    <a:pt x="25" y="99"/>
                    <a:pt x="26" y="99"/>
                  </a:cubicBezTo>
                  <a:cubicBezTo>
                    <a:pt x="27" y="99"/>
                    <a:pt x="28" y="96"/>
                    <a:pt x="30" y="95"/>
                  </a:cubicBezTo>
                  <a:cubicBezTo>
                    <a:pt x="32" y="99"/>
                    <a:pt x="30" y="97"/>
                    <a:pt x="29" y="99"/>
                  </a:cubicBezTo>
                  <a:cubicBezTo>
                    <a:pt x="28" y="100"/>
                    <a:pt x="28" y="101"/>
                    <a:pt x="28" y="103"/>
                  </a:cubicBezTo>
                  <a:cubicBezTo>
                    <a:pt x="28" y="103"/>
                    <a:pt x="28" y="103"/>
                    <a:pt x="28" y="103"/>
                  </a:cubicBezTo>
                  <a:cubicBezTo>
                    <a:pt x="27" y="107"/>
                    <a:pt x="27" y="110"/>
                    <a:pt x="27" y="114"/>
                  </a:cubicBezTo>
                  <a:cubicBezTo>
                    <a:pt x="27" y="115"/>
                    <a:pt x="27" y="117"/>
                    <a:pt x="27" y="118"/>
                  </a:cubicBezTo>
                  <a:cubicBezTo>
                    <a:pt x="26" y="122"/>
                    <a:pt x="24" y="124"/>
                    <a:pt x="20" y="127"/>
                  </a:cubicBezTo>
                  <a:cubicBezTo>
                    <a:pt x="19" y="127"/>
                    <a:pt x="19" y="130"/>
                    <a:pt x="20" y="133"/>
                  </a:cubicBezTo>
                  <a:cubicBezTo>
                    <a:pt x="21" y="135"/>
                    <a:pt x="21" y="136"/>
                    <a:pt x="21" y="137"/>
                  </a:cubicBezTo>
                  <a:cubicBezTo>
                    <a:pt x="21" y="139"/>
                    <a:pt x="21" y="141"/>
                    <a:pt x="21" y="143"/>
                  </a:cubicBezTo>
                  <a:cubicBezTo>
                    <a:pt x="21" y="143"/>
                    <a:pt x="21" y="143"/>
                    <a:pt x="21" y="143"/>
                  </a:cubicBezTo>
                  <a:cubicBezTo>
                    <a:pt x="27" y="130"/>
                    <a:pt x="27" y="130"/>
                    <a:pt x="27" y="130"/>
                  </a:cubicBezTo>
                  <a:cubicBezTo>
                    <a:pt x="28" y="126"/>
                    <a:pt x="30" y="122"/>
                    <a:pt x="34" y="118"/>
                  </a:cubicBezTo>
                  <a:cubicBezTo>
                    <a:pt x="36" y="116"/>
                    <a:pt x="38" y="114"/>
                    <a:pt x="40" y="111"/>
                  </a:cubicBezTo>
                  <a:cubicBezTo>
                    <a:pt x="42" y="108"/>
                    <a:pt x="44" y="105"/>
                    <a:pt x="46" y="102"/>
                  </a:cubicBezTo>
                  <a:cubicBezTo>
                    <a:pt x="47" y="99"/>
                    <a:pt x="49" y="97"/>
                    <a:pt x="50" y="95"/>
                  </a:cubicBezTo>
                  <a:cubicBezTo>
                    <a:pt x="49" y="93"/>
                    <a:pt x="49" y="91"/>
                    <a:pt x="48" y="90"/>
                  </a:cubicBezTo>
                  <a:cubicBezTo>
                    <a:pt x="48" y="90"/>
                    <a:pt x="48" y="90"/>
                    <a:pt x="48" y="90"/>
                  </a:cubicBezTo>
                  <a:cubicBezTo>
                    <a:pt x="48" y="90"/>
                    <a:pt x="48" y="90"/>
                    <a:pt x="48" y="90"/>
                  </a:cubicBezTo>
                  <a:cubicBezTo>
                    <a:pt x="46" y="87"/>
                    <a:pt x="46" y="87"/>
                    <a:pt x="46" y="87"/>
                  </a:cubicBezTo>
                  <a:cubicBezTo>
                    <a:pt x="46" y="84"/>
                    <a:pt x="45" y="81"/>
                    <a:pt x="45" y="78"/>
                  </a:cubicBezTo>
                  <a:cubicBezTo>
                    <a:pt x="45" y="77"/>
                    <a:pt x="45" y="77"/>
                    <a:pt x="45" y="77"/>
                  </a:cubicBezTo>
                  <a:cubicBezTo>
                    <a:pt x="45" y="77"/>
                    <a:pt x="44" y="76"/>
                    <a:pt x="44" y="75"/>
                  </a:cubicBezTo>
                  <a:cubicBezTo>
                    <a:pt x="44" y="73"/>
                    <a:pt x="42" y="70"/>
                    <a:pt x="40" y="68"/>
                  </a:cubicBezTo>
                  <a:cubicBezTo>
                    <a:pt x="40" y="67"/>
                    <a:pt x="39" y="66"/>
                    <a:pt x="38" y="65"/>
                  </a:cubicBezTo>
                  <a:cubicBezTo>
                    <a:pt x="38" y="64"/>
                    <a:pt x="38" y="64"/>
                    <a:pt x="38" y="64"/>
                  </a:cubicBezTo>
                  <a:cubicBezTo>
                    <a:pt x="36" y="62"/>
                    <a:pt x="35" y="60"/>
                    <a:pt x="35" y="57"/>
                  </a:cubicBezTo>
                  <a:cubicBezTo>
                    <a:pt x="35" y="55"/>
                    <a:pt x="36" y="54"/>
                    <a:pt x="37" y="53"/>
                  </a:cubicBezTo>
                  <a:cubicBezTo>
                    <a:pt x="37" y="53"/>
                    <a:pt x="37" y="53"/>
                    <a:pt x="37" y="53"/>
                  </a:cubicBezTo>
                  <a:cubicBezTo>
                    <a:pt x="37" y="53"/>
                    <a:pt x="37" y="52"/>
                    <a:pt x="37" y="52"/>
                  </a:cubicBezTo>
                  <a:cubicBezTo>
                    <a:pt x="37" y="51"/>
                    <a:pt x="37" y="51"/>
                    <a:pt x="37" y="50"/>
                  </a:cubicBezTo>
                  <a:cubicBezTo>
                    <a:pt x="37" y="49"/>
                    <a:pt x="37" y="48"/>
                    <a:pt x="37" y="47"/>
                  </a:cubicBezTo>
                  <a:cubicBezTo>
                    <a:pt x="37" y="43"/>
                    <a:pt x="37" y="41"/>
                    <a:pt x="37" y="40"/>
                  </a:cubicBezTo>
                  <a:cubicBezTo>
                    <a:pt x="36" y="39"/>
                    <a:pt x="36" y="39"/>
                    <a:pt x="36" y="39"/>
                  </a:cubicBezTo>
                  <a:cubicBezTo>
                    <a:pt x="36" y="39"/>
                    <a:pt x="36" y="39"/>
                    <a:pt x="35" y="38"/>
                  </a:cubicBezTo>
                  <a:cubicBezTo>
                    <a:pt x="35" y="37"/>
                    <a:pt x="34" y="37"/>
                    <a:pt x="34" y="36"/>
                  </a:cubicBezTo>
                  <a:cubicBezTo>
                    <a:pt x="33" y="36"/>
                    <a:pt x="33" y="36"/>
                    <a:pt x="33" y="36"/>
                  </a:cubicBezTo>
                  <a:cubicBezTo>
                    <a:pt x="33" y="35"/>
                    <a:pt x="32" y="35"/>
                    <a:pt x="32" y="34"/>
                  </a:cubicBezTo>
                  <a:cubicBezTo>
                    <a:pt x="28" y="30"/>
                    <a:pt x="28" y="30"/>
                    <a:pt x="28" y="30"/>
                  </a:cubicBezTo>
                  <a:cubicBezTo>
                    <a:pt x="27" y="29"/>
                    <a:pt x="26" y="28"/>
                    <a:pt x="26" y="27"/>
                  </a:cubicBezTo>
                  <a:cubicBezTo>
                    <a:pt x="24" y="25"/>
                    <a:pt x="24" y="25"/>
                    <a:pt x="24" y="25"/>
                  </a:cubicBezTo>
                  <a:cubicBezTo>
                    <a:pt x="20" y="20"/>
                    <a:pt x="15" y="15"/>
                    <a:pt x="12" y="8"/>
                  </a:cubicBezTo>
                  <a:cubicBezTo>
                    <a:pt x="10" y="5"/>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1522"/>
            <p:cNvSpPr/>
            <p:nvPr/>
          </p:nvSpPr>
          <p:spPr bwMode="auto">
            <a:xfrm>
              <a:off x="420" y="0"/>
              <a:ext cx="498" cy="641"/>
            </a:xfrm>
            <a:custGeom>
              <a:gdLst>
                <a:gd name="T0" fmla="*/ 7 w 211"/>
                <a:gd name="T1" fmla="*/ 5 h 271"/>
                <a:gd name="T2" fmla="*/ 22 w 211"/>
                <a:gd name="T3" fmla="*/ 25 h 271"/>
                <a:gd name="T4" fmla="*/ 27 w 211"/>
                <a:gd name="T5" fmla="*/ 31 h 271"/>
                <a:gd name="T6" fmla="*/ 33 w 211"/>
                <a:gd name="T7" fmla="*/ 47 h 271"/>
                <a:gd name="T8" fmla="*/ 33 w 211"/>
                <a:gd name="T9" fmla="*/ 51 h 271"/>
                <a:gd name="T10" fmla="*/ 31 w 211"/>
                <a:gd name="T11" fmla="*/ 58 h 271"/>
                <a:gd name="T12" fmla="*/ 33 w 211"/>
                <a:gd name="T13" fmla="*/ 61 h 271"/>
                <a:gd name="T14" fmla="*/ 41 w 211"/>
                <a:gd name="T15" fmla="*/ 77 h 271"/>
                <a:gd name="T16" fmla="*/ 45 w 211"/>
                <a:gd name="T17" fmla="*/ 89 h 271"/>
                <a:gd name="T18" fmla="*/ 46 w 211"/>
                <a:gd name="T19" fmla="*/ 96 h 271"/>
                <a:gd name="T20" fmla="*/ 28 w 211"/>
                <a:gd name="T21" fmla="*/ 123 h 271"/>
                <a:gd name="T22" fmla="*/ 12 w 211"/>
                <a:gd name="T23" fmla="*/ 151 h 271"/>
                <a:gd name="T24" fmla="*/ 4 w 211"/>
                <a:gd name="T25" fmla="*/ 175 h 271"/>
                <a:gd name="T26" fmla="*/ 4 w 211"/>
                <a:gd name="T27" fmla="*/ 175 h 271"/>
                <a:gd name="T28" fmla="*/ 1 w 211"/>
                <a:gd name="T29" fmla="*/ 190 h 271"/>
                <a:gd name="T30" fmla="*/ 7 w 211"/>
                <a:gd name="T31" fmla="*/ 198 h 271"/>
                <a:gd name="T32" fmla="*/ 26 w 211"/>
                <a:gd name="T33" fmla="*/ 209 h 271"/>
                <a:gd name="T34" fmla="*/ 32 w 211"/>
                <a:gd name="T35" fmla="*/ 218 h 271"/>
                <a:gd name="T36" fmla="*/ 38 w 211"/>
                <a:gd name="T37" fmla="*/ 226 h 271"/>
                <a:gd name="T38" fmla="*/ 45 w 211"/>
                <a:gd name="T39" fmla="*/ 232 h 271"/>
                <a:gd name="T40" fmla="*/ 54 w 211"/>
                <a:gd name="T41" fmla="*/ 248 h 271"/>
                <a:gd name="T42" fmla="*/ 61 w 211"/>
                <a:gd name="T43" fmla="*/ 242 h 271"/>
                <a:gd name="T44" fmla="*/ 76 w 211"/>
                <a:gd name="T45" fmla="*/ 248 h 271"/>
                <a:gd name="T46" fmla="*/ 81 w 211"/>
                <a:gd name="T47" fmla="*/ 255 h 271"/>
                <a:gd name="T48" fmla="*/ 88 w 211"/>
                <a:gd name="T49" fmla="*/ 256 h 271"/>
                <a:gd name="T50" fmla="*/ 86 w 211"/>
                <a:gd name="T51" fmla="*/ 270 h 271"/>
                <a:gd name="T52" fmla="*/ 90 w 211"/>
                <a:gd name="T53" fmla="*/ 268 h 271"/>
                <a:gd name="T54" fmla="*/ 103 w 211"/>
                <a:gd name="T55" fmla="*/ 268 h 271"/>
                <a:gd name="T56" fmla="*/ 111 w 211"/>
                <a:gd name="T57" fmla="*/ 256 h 271"/>
                <a:gd name="T58" fmla="*/ 90 w 211"/>
                <a:gd name="T59" fmla="*/ 237 h 271"/>
                <a:gd name="T60" fmla="*/ 88 w 211"/>
                <a:gd name="T61" fmla="*/ 240 h 271"/>
                <a:gd name="T62" fmla="*/ 70 w 211"/>
                <a:gd name="T63" fmla="*/ 230 h 271"/>
                <a:gd name="T64" fmla="*/ 65 w 211"/>
                <a:gd name="T65" fmla="*/ 231 h 271"/>
                <a:gd name="T66" fmla="*/ 59 w 211"/>
                <a:gd name="T67" fmla="*/ 214 h 271"/>
                <a:gd name="T68" fmla="*/ 63 w 211"/>
                <a:gd name="T69" fmla="*/ 209 h 271"/>
                <a:gd name="T70" fmla="*/ 45 w 211"/>
                <a:gd name="T71" fmla="*/ 168 h 271"/>
                <a:gd name="T72" fmla="*/ 30 w 211"/>
                <a:gd name="T73" fmla="*/ 168 h 271"/>
                <a:gd name="T74" fmla="*/ 28 w 211"/>
                <a:gd name="T75" fmla="*/ 153 h 271"/>
                <a:gd name="T76" fmla="*/ 40 w 211"/>
                <a:gd name="T77" fmla="*/ 115 h 271"/>
                <a:gd name="T78" fmla="*/ 52 w 211"/>
                <a:gd name="T79" fmla="*/ 71 h 271"/>
                <a:gd name="T80" fmla="*/ 64 w 211"/>
                <a:gd name="T81" fmla="*/ 46 h 271"/>
                <a:gd name="T82" fmla="*/ 69 w 211"/>
                <a:gd name="T83" fmla="*/ 30 h 271"/>
                <a:gd name="T84" fmla="*/ 81 w 211"/>
                <a:gd name="T85" fmla="*/ 46 h 271"/>
                <a:gd name="T86" fmla="*/ 83 w 211"/>
                <a:gd name="T87" fmla="*/ 71 h 271"/>
                <a:gd name="T88" fmla="*/ 106 w 211"/>
                <a:gd name="T89" fmla="*/ 70 h 271"/>
                <a:gd name="T90" fmla="*/ 123 w 211"/>
                <a:gd name="T91" fmla="*/ 85 h 271"/>
                <a:gd name="T92" fmla="*/ 131 w 211"/>
                <a:gd name="T93" fmla="*/ 88 h 271"/>
                <a:gd name="T94" fmla="*/ 130 w 211"/>
                <a:gd name="T95" fmla="*/ 79 h 271"/>
                <a:gd name="T96" fmla="*/ 125 w 211"/>
                <a:gd name="T97" fmla="*/ 74 h 271"/>
                <a:gd name="T98" fmla="*/ 123 w 211"/>
                <a:gd name="T99" fmla="*/ 63 h 271"/>
                <a:gd name="T100" fmla="*/ 120 w 211"/>
                <a:gd name="T101" fmla="*/ 43 h 271"/>
                <a:gd name="T102" fmla="*/ 132 w 211"/>
                <a:gd name="T103" fmla="*/ 29 h 271"/>
                <a:gd name="T104" fmla="*/ 151 w 211"/>
                <a:gd name="T105" fmla="*/ 16 h 271"/>
                <a:gd name="T106" fmla="*/ 167 w 211"/>
                <a:gd name="T107" fmla="*/ 16 h 271"/>
                <a:gd name="T108" fmla="*/ 176 w 211"/>
                <a:gd name="T109" fmla="*/ 16 h 271"/>
                <a:gd name="T110" fmla="*/ 194 w 211"/>
                <a:gd name="T111" fmla="*/ 15 h 271"/>
                <a:gd name="T112" fmla="*/ 200 w 211"/>
                <a:gd name="T113" fmla="*/ 16 h 271"/>
                <a:gd name="T114" fmla="*/ 205 w 211"/>
                <a:gd name="T115" fmla="*/ 16 h 271"/>
                <a:gd name="T116" fmla="*/ 209 w 211"/>
                <a:gd name="T117" fmla="*/ 4 h 2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 h="271">
                  <a:moveTo>
                    <a:pt x="208" y="0"/>
                  </a:moveTo>
                  <a:cubicBezTo>
                    <a:pt x="5" y="0"/>
                    <a:pt x="5" y="0"/>
                    <a:pt x="5" y="0"/>
                  </a:cubicBezTo>
                  <a:cubicBezTo>
                    <a:pt x="5" y="1"/>
                    <a:pt x="6" y="3"/>
                    <a:pt x="7" y="5"/>
                  </a:cubicBezTo>
                  <a:cubicBezTo>
                    <a:pt x="10" y="10"/>
                    <a:pt x="14" y="15"/>
                    <a:pt x="19" y="21"/>
                  </a:cubicBezTo>
                  <a:cubicBezTo>
                    <a:pt x="20" y="23"/>
                    <a:pt x="20" y="23"/>
                    <a:pt x="20" y="23"/>
                  </a:cubicBezTo>
                  <a:cubicBezTo>
                    <a:pt x="21" y="23"/>
                    <a:pt x="22" y="24"/>
                    <a:pt x="22" y="25"/>
                  </a:cubicBezTo>
                  <a:cubicBezTo>
                    <a:pt x="26" y="29"/>
                    <a:pt x="26" y="29"/>
                    <a:pt x="26" y="29"/>
                  </a:cubicBezTo>
                  <a:cubicBezTo>
                    <a:pt x="27" y="30"/>
                    <a:pt x="27" y="30"/>
                    <a:pt x="27" y="30"/>
                  </a:cubicBezTo>
                  <a:cubicBezTo>
                    <a:pt x="27" y="31"/>
                    <a:pt x="27" y="31"/>
                    <a:pt x="27" y="31"/>
                  </a:cubicBezTo>
                  <a:cubicBezTo>
                    <a:pt x="28" y="32"/>
                    <a:pt x="29" y="32"/>
                    <a:pt x="30" y="33"/>
                  </a:cubicBezTo>
                  <a:cubicBezTo>
                    <a:pt x="31" y="35"/>
                    <a:pt x="32" y="36"/>
                    <a:pt x="32" y="37"/>
                  </a:cubicBezTo>
                  <a:cubicBezTo>
                    <a:pt x="33" y="39"/>
                    <a:pt x="33" y="42"/>
                    <a:pt x="33" y="47"/>
                  </a:cubicBezTo>
                  <a:cubicBezTo>
                    <a:pt x="33" y="48"/>
                    <a:pt x="33" y="48"/>
                    <a:pt x="33" y="48"/>
                  </a:cubicBezTo>
                  <a:cubicBezTo>
                    <a:pt x="33" y="48"/>
                    <a:pt x="33" y="49"/>
                    <a:pt x="33" y="50"/>
                  </a:cubicBezTo>
                  <a:cubicBezTo>
                    <a:pt x="33" y="51"/>
                    <a:pt x="33" y="51"/>
                    <a:pt x="33" y="51"/>
                  </a:cubicBezTo>
                  <a:cubicBezTo>
                    <a:pt x="34" y="52"/>
                    <a:pt x="34" y="55"/>
                    <a:pt x="32" y="57"/>
                  </a:cubicBezTo>
                  <a:cubicBezTo>
                    <a:pt x="32" y="58"/>
                    <a:pt x="32" y="58"/>
                    <a:pt x="32" y="58"/>
                  </a:cubicBezTo>
                  <a:cubicBezTo>
                    <a:pt x="31" y="58"/>
                    <a:pt x="31" y="58"/>
                    <a:pt x="31" y="58"/>
                  </a:cubicBezTo>
                  <a:cubicBezTo>
                    <a:pt x="31" y="59"/>
                    <a:pt x="32" y="59"/>
                    <a:pt x="32" y="60"/>
                  </a:cubicBezTo>
                  <a:cubicBezTo>
                    <a:pt x="32" y="60"/>
                    <a:pt x="32" y="60"/>
                    <a:pt x="32" y="60"/>
                  </a:cubicBezTo>
                  <a:cubicBezTo>
                    <a:pt x="33" y="60"/>
                    <a:pt x="33" y="61"/>
                    <a:pt x="33" y="61"/>
                  </a:cubicBezTo>
                  <a:cubicBezTo>
                    <a:pt x="34" y="62"/>
                    <a:pt x="34" y="63"/>
                    <a:pt x="35" y="64"/>
                  </a:cubicBezTo>
                  <a:cubicBezTo>
                    <a:pt x="37" y="67"/>
                    <a:pt x="40" y="70"/>
                    <a:pt x="40" y="74"/>
                  </a:cubicBezTo>
                  <a:cubicBezTo>
                    <a:pt x="41" y="75"/>
                    <a:pt x="41" y="76"/>
                    <a:pt x="41" y="77"/>
                  </a:cubicBezTo>
                  <a:cubicBezTo>
                    <a:pt x="41" y="78"/>
                    <a:pt x="41" y="78"/>
                    <a:pt x="41" y="78"/>
                  </a:cubicBezTo>
                  <a:cubicBezTo>
                    <a:pt x="41" y="79"/>
                    <a:pt x="41" y="81"/>
                    <a:pt x="42" y="83"/>
                  </a:cubicBezTo>
                  <a:cubicBezTo>
                    <a:pt x="44" y="84"/>
                    <a:pt x="44" y="87"/>
                    <a:pt x="45" y="89"/>
                  </a:cubicBezTo>
                  <a:cubicBezTo>
                    <a:pt x="45" y="90"/>
                    <a:pt x="45" y="91"/>
                    <a:pt x="45" y="92"/>
                  </a:cubicBezTo>
                  <a:cubicBezTo>
                    <a:pt x="48" y="93"/>
                    <a:pt x="48" y="93"/>
                    <a:pt x="48" y="93"/>
                  </a:cubicBezTo>
                  <a:cubicBezTo>
                    <a:pt x="46" y="96"/>
                    <a:pt x="46" y="96"/>
                    <a:pt x="46" y="96"/>
                  </a:cubicBezTo>
                  <a:cubicBezTo>
                    <a:pt x="45" y="99"/>
                    <a:pt x="43" y="102"/>
                    <a:pt x="41" y="106"/>
                  </a:cubicBezTo>
                  <a:cubicBezTo>
                    <a:pt x="39" y="109"/>
                    <a:pt x="37" y="112"/>
                    <a:pt x="35" y="115"/>
                  </a:cubicBezTo>
                  <a:cubicBezTo>
                    <a:pt x="32" y="118"/>
                    <a:pt x="30" y="121"/>
                    <a:pt x="28" y="123"/>
                  </a:cubicBezTo>
                  <a:cubicBezTo>
                    <a:pt x="25" y="126"/>
                    <a:pt x="24" y="130"/>
                    <a:pt x="22" y="133"/>
                  </a:cubicBezTo>
                  <a:cubicBezTo>
                    <a:pt x="14" y="152"/>
                    <a:pt x="14" y="152"/>
                    <a:pt x="14" y="152"/>
                  </a:cubicBezTo>
                  <a:cubicBezTo>
                    <a:pt x="12" y="151"/>
                    <a:pt x="12" y="151"/>
                    <a:pt x="12" y="151"/>
                  </a:cubicBezTo>
                  <a:cubicBezTo>
                    <a:pt x="12" y="151"/>
                    <a:pt x="12" y="151"/>
                    <a:pt x="12" y="151"/>
                  </a:cubicBezTo>
                  <a:cubicBezTo>
                    <a:pt x="10" y="157"/>
                    <a:pt x="5" y="165"/>
                    <a:pt x="4" y="172"/>
                  </a:cubicBezTo>
                  <a:cubicBezTo>
                    <a:pt x="4" y="173"/>
                    <a:pt x="4" y="174"/>
                    <a:pt x="4" y="175"/>
                  </a:cubicBezTo>
                  <a:cubicBezTo>
                    <a:pt x="4" y="175"/>
                    <a:pt x="3" y="174"/>
                    <a:pt x="3" y="173"/>
                  </a:cubicBezTo>
                  <a:cubicBezTo>
                    <a:pt x="3" y="173"/>
                    <a:pt x="3" y="173"/>
                    <a:pt x="3" y="173"/>
                  </a:cubicBezTo>
                  <a:cubicBezTo>
                    <a:pt x="3" y="174"/>
                    <a:pt x="4" y="175"/>
                    <a:pt x="4" y="175"/>
                  </a:cubicBezTo>
                  <a:cubicBezTo>
                    <a:pt x="4" y="177"/>
                    <a:pt x="4" y="179"/>
                    <a:pt x="3" y="182"/>
                  </a:cubicBezTo>
                  <a:cubicBezTo>
                    <a:pt x="1" y="185"/>
                    <a:pt x="2" y="188"/>
                    <a:pt x="1" y="191"/>
                  </a:cubicBezTo>
                  <a:cubicBezTo>
                    <a:pt x="1" y="190"/>
                    <a:pt x="1" y="190"/>
                    <a:pt x="1" y="190"/>
                  </a:cubicBezTo>
                  <a:cubicBezTo>
                    <a:pt x="0" y="192"/>
                    <a:pt x="2" y="197"/>
                    <a:pt x="3" y="199"/>
                  </a:cubicBezTo>
                  <a:cubicBezTo>
                    <a:pt x="4" y="201"/>
                    <a:pt x="6" y="202"/>
                    <a:pt x="7" y="202"/>
                  </a:cubicBezTo>
                  <a:cubicBezTo>
                    <a:pt x="8" y="202"/>
                    <a:pt x="8" y="201"/>
                    <a:pt x="7" y="198"/>
                  </a:cubicBezTo>
                  <a:cubicBezTo>
                    <a:pt x="9" y="197"/>
                    <a:pt x="11" y="197"/>
                    <a:pt x="12" y="197"/>
                  </a:cubicBezTo>
                  <a:cubicBezTo>
                    <a:pt x="14" y="197"/>
                    <a:pt x="16" y="198"/>
                    <a:pt x="18" y="201"/>
                  </a:cubicBezTo>
                  <a:cubicBezTo>
                    <a:pt x="19" y="203"/>
                    <a:pt x="24" y="209"/>
                    <a:pt x="26" y="209"/>
                  </a:cubicBezTo>
                  <a:cubicBezTo>
                    <a:pt x="26" y="209"/>
                    <a:pt x="26" y="209"/>
                    <a:pt x="26" y="209"/>
                  </a:cubicBezTo>
                  <a:cubicBezTo>
                    <a:pt x="26" y="211"/>
                    <a:pt x="25" y="215"/>
                    <a:pt x="25" y="215"/>
                  </a:cubicBezTo>
                  <a:cubicBezTo>
                    <a:pt x="27" y="216"/>
                    <a:pt x="31" y="216"/>
                    <a:pt x="32" y="218"/>
                  </a:cubicBezTo>
                  <a:cubicBezTo>
                    <a:pt x="32" y="220"/>
                    <a:pt x="33" y="224"/>
                    <a:pt x="34" y="225"/>
                  </a:cubicBezTo>
                  <a:cubicBezTo>
                    <a:pt x="35" y="226"/>
                    <a:pt x="35" y="226"/>
                    <a:pt x="36" y="226"/>
                  </a:cubicBezTo>
                  <a:cubicBezTo>
                    <a:pt x="36" y="226"/>
                    <a:pt x="37" y="226"/>
                    <a:pt x="38" y="226"/>
                  </a:cubicBezTo>
                  <a:cubicBezTo>
                    <a:pt x="38" y="225"/>
                    <a:pt x="39" y="225"/>
                    <a:pt x="40" y="225"/>
                  </a:cubicBezTo>
                  <a:cubicBezTo>
                    <a:pt x="40" y="225"/>
                    <a:pt x="41" y="225"/>
                    <a:pt x="41" y="225"/>
                  </a:cubicBezTo>
                  <a:cubicBezTo>
                    <a:pt x="39" y="230"/>
                    <a:pt x="40" y="232"/>
                    <a:pt x="45" y="232"/>
                  </a:cubicBezTo>
                  <a:cubicBezTo>
                    <a:pt x="44" y="234"/>
                    <a:pt x="43" y="236"/>
                    <a:pt x="44" y="239"/>
                  </a:cubicBezTo>
                  <a:cubicBezTo>
                    <a:pt x="45" y="242"/>
                    <a:pt x="50" y="247"/>
                    <a:pt x="54" y="250"/>
                  </a:cubicBezTo>
                  <a:cubicBezTo>
                    <a:pt x="54" y="248"/>
                    <a:pt x="54" y="248"/>
                    <a:pt x="54" y="248"/>
                  </a:cubicBezTo>
                  <a:cubicBezTo>
                    <a:pt x="54" y="247"/>
                    <a:pt x="55" y="246"/>
                    <a:pt x="55" y="245"/>
                  </a:cubicBezTo>
                  <a:cubicBezTo>
                    <a:pt x="57" y="238"/>
                    <a:pt x="57" y="238"/>
                    <a:pt x="57" y="238"/>
                  </a:cubicBezTo>
                  <a:cubicBezTo>
                    <a:pt x="61" y="242"/>
                    <a:pt x="61" y="242"/>
                    <a:pt x="61" y="242"/>
                  </a:cubicBezTo>
                  <a:cubicBezTo>
                    <a:pt x="65" y="245"/>
                    <a:pt x="66" y="246"/>
                    <a:pt x="68" y="246"/>
                  </a:cubicBezTo>
                  <a:cubicBezTo>
                    <a:pt x="71" y="246"/>
                    <a:pt x="73" y="246"/>
                    <a:pt x="75" y="247"/>
                  </a:cubicBezTo>
                  <a:cubicBezTo>
                    <a:pt x="76" y="248"/>
                    <a:pt x="76" y="248"/>
                    <a:pt x="76" y="248"/>
                  </a:cubicBezTo>
                  <a:cubicBezTo>
                    <a:pt x="77" y="248"/>
                    <a:pt x="77" y="248"/>
                    <a:pt x="78" y="249"/>
                  </a:cubicBezTo>
                  <a:cubicBezTo>
                    <a:pt x="78" y="249"/>
                    <a:pt x="78" y="249"/>
                    <a:pt x="78" y="249"/>
                  </a:cubicBezTo>
                  <a:cubicBezTo>
                    <a:pt x="80" y="251"/>
                    <a:pt x="81" y="253"/>
                    <a:pt x="81" y="255"/>
                  </a:cubicBezTo>
                  <a:cubicBezTo>
                    <a:pt x="81" y="255"/>
                    <a:pt x="81" y="255"/>
                    <a:pt x="81" y="255"/>
                  </a:cubicBezTo>
                  <a:cubicBezTo>
                    <a:pt x="82" y="254"/>
                    <a:pt x="83" y="254"/>
                    <a:pt x="84" y="254"/>
                  </a:cubicBezTo>
                  <a:cubicBezTo>
                    <a:pt x="85" y="254"/>
                    <a:pt x="87" y="255"/>
                    <a:pt x="88" y="256"/>
                  </a:cubicBezTo>
                  <a:cubicBezTo>
                    <a:pt x="90" y="258"/>
                    <a:pt x="90" y="260"/>
                    <a:pt x="89" y="263"/>
                  </a:cubicBezTo>
                  <a:cubicBezTo>
                    <a:pt x="89" y="265"/>
                    <a:pt x="88" y="266"/>
                    <a:pt x="87" y="268"/>
                  </a:cubicBezTo>
                  <a:cubicBezTo>
                    <a:pt x="86" y="269"/>
                    <a:pt x="86" y="270"/>
                    <a:pt x="86" y="270"/>
                  </a:cubicBezTo>
                  <a:cubicBezTo>
                    <a:pt x="87" y="271"/>
                    <a:pt x="87" y="271"/>
                    <a:pt x="87" y="271"/>
                  </a:cubicBezTo>
                  <a:cubicBezTo>
                    <a:pt x="87" y="271"/>
                    <a:pt x="88" y="271"/>
                    <a:pt x="88" y="270"/>
                  </a:cubicBezTo>
                  <a:cubicBezTo>
                    <a:pt x="90" y="268"/>
                    <a:pt x="90" y="268"/>
                    <a:pt x="90" y="268"/>
                  </a:cubicBezTo>
                  <a:cubicBezTo>
                    <a:pt x="91" y="267"/>
                    <a:pt x="94" y="265"/>
                    <a:pt x="97" y="265"/>
                  </a:cubicBezTo>
                  <a:cubicBezTo>
                    <a:pt x="99" y="265"/>
                    <a:pt x="101" y="267"/>
                    <a:pt x="102" y="268"/>
                  </a:cubicBezTo>
                  <a:cubicBezTo>
                    <a:pt x="103" y="268"/>
                    <a:pt x="103" y="268"/>
                    <a:pt x="103" y="268"/>
                  </a:cubicBezTo>
                  <a:cubicBezTo>
                    <a:pt x="106" y="267"/>
                    <a:pt x="107" y="266"/>
                    <a:pt x="108" y="264"/>
                  </a:cubicBezTo>
                  <a:cubicBezTo>
                    <a:pt x="109" y="262"/>
                    <a:pt x="110" y="259"/>
                    <a:pt x="111" y="256"/>
                  </a:cubicBezTo>
                  <a:cubicBezTo>
                    <a:pt x="111" y="256"/>
                    <a:pt x="111" y="256"/>
                    <a:pt x="111" y="256"/>
                  </a:cubicBezTo>
                  <a:cubicBezTo>
                    <a:pt x="110" y="255"/>
                    <a:pt x="109" y="254"/>
                    <a:pt x="108" y="253"/>
                  </a:cubicBezTo>
                  <a:cubicBezTo>
                    <a:pt x="106" y="251"/>
                    <a:pt x="103" y="249"/>
                    <a:pt x="102" y="247"/>
                  </a:cubicBezTo>
                  <a:cubicBezTo>
                    <a:pt x="99" y="242"/>
                    <a:pt x="96" y="238"/>
                    <a:pt x="90" y="237"/>
                  </a:cubicBezTo>
                  <a:cubicBezTo>
                    <a:pt x="91" y="238"/>
                    <a:pt x="92" y="239"/>
                    <a:pt x="92" y="240"/>
                  </a:cubicBezTo>
                  <a:cubicBezTo>
                    <a:pt x="92" y="239"/>
                    <a:pt x="92" y="239"/>
                    <a:pt x="91" y="239"/>
                  </a:cubicBezTo>
                  <a:cubicBezTo>
                    <a:pt x="90" y="239"/>
                    <a:pt x="89" y="240"/>
                    <a:pt x="88" y="240"/>
                  </a:cubicBezTo>
                  <a:cubicBezTo>
                    <a:pt x="87" y="240"/>
                    <a:pt x="86" y="240"/>
                    <a:pt x="85" y="240"/>
                  </a:cubicBezTo>
                  <a:cubicBezTo>
                    <a:pt x="85" y="240"/>
                    <a:pt x="84" y="240"/>
                    <a:pt x="84" y="240"/>
                  </a:cubicBezTo>
                  <a:cubicBezTo>
                    <a:pt x="82" y="240"/>
                    <a:pt x="73" y="230"/>
                    <a:pt x="70" y="230"/>
                  </a:cubicBezTo>
                  <a:cubicBezTo>
                    <a:pt x="70" y="230"/>
                    <a:pt x="70" y="230"/>
                    <a:pt x="70" y="230"/>
                  </a:cubicBezTo>
                  <a:cubicBezTo>
                    <a:pt x="69" y="231"/>
                    <a:pt x="68" y="231"/>
                    <a:pt x="67" y="231"/>
                  </a:cubicBezTo>
                  <a:cubicBezTo>
                    <a:pt x="66" y="231"/>
                    <a:pt x="66" y="231"/>
                    <a:pt x="65" y="231"/>
                  </a:cubicBezTo>
                  <a:cubicBezTo>
                    <a:pt x="64" y="230"/>
                    <a:pt x="65" y="228"/>
                    <a:pt x="64" y="227"/>
                  </a:cubicBezTo>
                  <a:cubicBezTo>
                    <a:pt x="62" y="225"/>
                    <a:pt x="61" y="224"/>
                    <a:pt x="59" y="222"/>
                  </a:cubicBezTo>
                  <a:cubicBezTo>
                    <a:pt x="57" y="219"/>
                    <a:pt x="58" y="217"/>
                    <a:pt x="59" y="214"/>
                  </a:cubicBezTo>
                  <a:cubicBezTo>
                    <a:pt x="62" y="219"/>
                    <a:pt x="66" y="225"/>
                    <a:pt x="70" y="230"/>
                  </a:cubicBezTo>
                  <a:cubicBezTo>
                    <a:pt x="69" y="229"/>
                    <a:pt x="69" y="229"/>
                    <a:pt x="68" y="227"/>
                  </a:cubicBezTo>
                  <a:cubicBezTo>
                    <a:pt x="65" y="221"/>
                    <a:pt x="65" y="215"/>
                    <a:pt x="63" y="209"/>
                  </a:cubicBezTo>
                  <a:cubicBezTo>
                    <a:pt x="60" y="200"/>
                    <a:pt x="56" y="191"/>
                    <a:pt x="52" y="183"/>
                  </a:cubicBezTo>
                  <a:cubicBezTo>
                    <a:pt x="50" y="178"/>
                    <a:pt x="49" y="174"/>
                    <a:pt x="47" y="169"/>
                  </a:cubicBezTo>
                  <a:cubicBezTo>
                    <a:pt x="47" y="169"/>
                    <a:pt x="46" y="168"/>
                    <a:pt x="45" y="168"/>
                  </a:cubicBezTo>
                  <a:cubicBezTo>
                    <a:pt x="43" y="168"/>
                    <a:pt x="39" y="170"/>
                    <a:pt x="38" y="170"/>
                  </a:cubicBezTo>
                  <a:cubicBezTo>
                    <a:pt x="37" y="170"/>
                    <a:pt x="35" y="171"/>
                    <a:pt x="33" y="171"/>
                  </a:cubicBezTo>
                  <a:cubicBezTo>
                    <a:pt x="31" y="171"/>
                    <a:pt x="30" y="170"/>
                    <a:pt x="30" y="168"/>
                  </a:cubicBezTo>
                  <a:cubicBezTo>
                    <a:pt x="31" y="167"/>
                    <a:pt x="32" y="166"/>
                    <a:pt x="33" y="166"/>
                  </a:cubicBezTo>
                  <a:cubicBezTo>
                    <a:pt x="32" y="165"/>
                    <a:pt x="31" y="163"/>
                    <a:pt x="30" y="161"/>
                  </a:cubicBezTo>
                  <a:cubicBezTo>
                    <a:pt x="29" y="159"/>
                    <a:pt x="28" y="156"/>
                    <a:pt x="28" y="153"/>
                  </a:cubicBezTo>
                  <a:cubicBezTo>
                    <a:pt x="30" y="148"/>
                    <a:pt x="31" y="143"/>
                    <a:pt x="29" y="137"/>
                  </a:cubicBezTo>
                  <a:cubicBezTo>
                    <a:pt x="30" y="137"/>
                    <a:pt x="32" y="132"/>
                    <a:pt x="33" y="130"/>
                  </a:cubicBezTo>
                  <a:cubicBezTo>
                    <a:pt x="35" y="125"/>
                    <a:pt x="38" y="120"/>
                    <a:pt x="40" y="115"/>
                  </a:cubicBezTo>
                  <a:cubicBezTo>
                    <a:pt x="44" y="106"/>
                    <a:pt x="48" y="96"/>
                    <a:pt x="52" y="87"/>
                  </a:cubicBezTo>
                  <a:cubicBezTo>
                    <a:pt x="54" y="84"/>
                    <a:pt x="53" y="84"/>
                    <a:pt x="53" y="82"/>
                  </a:cubicBezTo>
                  <a:cubicBezTo>
                    <a:pt x="53" y="78"/>
                    <a:pt x="52" y="74"/>
                    <a:pt x="52" y="71"/>
                  </a:cubicBezTo>
                  <a:cubicBezTo>
                    <a:pt x="52" y="66"/>
                    <a:pt x="56" y="62"/>
                    <a:pt x="55" y="58"/>
                  </a:cubicBezTo>
                  <a:cubicBezTo>
                    <a:pt x="55" y="55"/>
                    <a:pt x="51" y="52"/>
                    <a:pt x="53" y="50"/>
                  </a:cubicBezTo>
                  <a:cubicBezTo>
                    <a:pt x="56" y="47"/>
                    <a:pt x="59" y="47"/>
                    <a:pt x="64" y="46"/>
                  </a:cubicBezTo>
                  <a:cubicBezTo>
                    <a:pt x="64" y="46"/>
                    <a:pt x="65" y="46"/>
                    <a:pt x="66" y="45"/>
                  </a:cubicBezTo>
                  <a:cubicBezTo>
                    <a:pt x="63" y="44"/>
                    <a:pt x="61" y="41"/>
                    <a:pt x="61" y="38"/>
                  </a:cubicBezTo>
                  <a:cubicBezTo>
                    <a:pt x="61" y="34"/>
                    <a:pt x="64" y="30"/>
                    <a:pt x="69" y="30"/>
                  </a:cubicBezTo>
                  <a:cubicBezTo>
                    <a:pt x="73" y="30"/>
                    <a:pt x="77" y="34"/>
                    <a:pt x="77" y="38"/>
                  </a:cubicBezTo>
                  <a:cubicBezTo>
                    <a:pt x="77" y="41"/>
                    <a:pt x="75" y="43"/>
                    <a:pt x="73" y="44"/>
                  </a:cubicBezTo>
                  <a:cubicBezTo>
                    <a:pt x="76" y="46"/>
                    <a:pt x="79" y="46"/>
                    <a:pt x="81" y="46"/>
                  </a:cubicBezTo>
                  <a:cubicBezTo>
                    <a:pt x="80" y="53"/>
                    <a:pt x="79" y="60"/>
                    <a:pt x="78" y="67"/>
                  </a:cubicBezTo>
                  <a:cubicBezTo>
                    <a:pt x="77" y="70"/>
                    <a:pt x="79" y="71"/>
                    <a:pt x="80" y="71"/>
                  </a:cubicBezTo>
                  <a:cubicBezTo>
                    <a:pt x="81" y="71"/>
                    <a:pt x="82" y="71"/>
                    <a:pt x="83" y="71"/>
                  </a:cubicBezTo>
                  <a:cubicBezTo>
                    <a:pt x="88" y="70"/>
                    <a:pt x="93" y="70"/>
                    <a:pt x="98" y="70"/>
                  </a:cubicBezTo>
                  <a:cubicBezTo>
                    <a:pt x="100" y="69"/>
                    <a:pt x="101" y="69"/>
                    <a:pt x="103" y="69"/>
                  </a:cubicBezTo>
                  <a:cubicBezTo>
                    <a:pt x="104" y="69"/>
                    <a:pt x="105" y="69"/>
                    <a:pt x="106" y="70"/>
                  </a:cubicBezTo>
                  <a:cubicBezTo>
                    <a:pt x="109" y="72"/>
                    <a:pt x="115" y="80"/>
                    <a:pt x="119" y="80"/>
                  </a:cubicBezTo>
                  <a:cubicBezTo>
                    <a:pt x="120" y="80"/>
                    <a:pt x="121" y="80"/>
                    <a:pt x="121" y="79"/>
                  </a:cubicBezTo>
                  <a:cubicBezTo>
                    <a:pt x="119" y="85"/>
                    <a:pt x="119" y="83"/>
                    <a:pt x="123" y="85"/>
                  </a:cubicBezTo>
                  <a:cubicBezTo>
                    <a:pt x="125" y="86"/>
                    <a:pt x="126" y="87"/>
                    <a:pt x="127" y="88"/>
                  </a:cubicBezTo>
                  <a:cubicBezTo>
                    <a:pt x="128" y="88"/>
                    <a:pt x="129" y="88"/>
                    <a:pt x="129" y="88"/>
                  </a:cubicBezTo>
                  <a:cubicBezTo>
                    <a:pt x="130" y="88"/>
                    <a:pt x="130" y="88"/>
                    <a:pt x="131" y="88"/>
                  </a:cubicBezTo>
                  <a:cubicBezTo>
                    <a:pt x="130" y="86"/>
                    <a:pt x="130" y="83"/>
                    <a:pt x="130" y="81"/>
                  </a:cubicBezTo>
                  <a:cubicBezTo>
                    <a:pt x="130" y="80"/>
                    <a:pt x="130" y="80"/>
                    <a:pt x="130" y="79"/>
                  </a:cubicBezTo>
                  <a:cubicBezTo>
                    <a:pt x="130" y="79"/>
                    <a:pt x="130" y="79"/>
                    <a:pt x="130" y="79"/>
                  </a:cubicBezTo>
                  <a:cubicBezTo>
                    <a:pt x="130" y="78"/>
                    <a:pt x="130" y="78"/>
                    <a:pt x="130" y="78"/>
                  </a:cubicBezTo>
                  <a:cubicBezTo>
                    <a:pt x="130" y="77"/>
                    <a:pt x="129" y="77"/>
                    <a:pt x="128" y="76"/>
                  </a:cubicBezTo>
                  <a:cubicBezTo>
                    <a:pt x="125" y="74"/>
                    <a:pt x="125" y="74"/>
                    <a:pt x="125" y="74"/>
                  </a:cubicBezTo>
                  <a:cubicBezTo>
                    <a:pt x="125" y="73"/>
                    <a:pt x="124" y="72"/>
                    <a:pt x="124" y="72"/>
                  </a:cubicBezTo>
                  <a:cubicBezTo>
                    <a:pt x="122" y="69"/>
                    <a:pt x="122" y="67"/>
                    <a:pt x="123" y="64"/>
                  </a:cubicBezTo>
                  <a:cubicBezTo>
                    <a:pt x="123" y="63"/>
                    <a:pt x="123" y="63"/>
                    <a:pt x="123" y="63"/>
                  </a:cubicBezTo>
                  <a:cubicBezTo>
                    <a:pt x="122" y="62"/>
                    <a:pt x="122" y="61"/>
                    <a:pt x="121" y="59"/>
                  </a:cubicBezTo>
                  <a:cubicBezTo>
                    <a:pt x="121" y="58"/>
                    <a:pt x="121" y="58"/>
                    <a:pt x="121" y="58"/>
                  </a:cubicBezTo>
                  <a:cubicBezTo>
                    <a:pt x="118" y="54"/>
                    <a:pt x="115" y="47"/>
                    <a:pt x="120" y="43"/>
                  </a:cubicBezTo>
                  <a:cubicBezTo>
                    <a:pt x="121" y="41"/>
                    <a:pt x="121" y="41"/>
                    <a:pt x="121" y="41"/>
                  </a:cubicBezTo>
                  <a:cubicBezTo>
                    <a:pt x="122" y="41"/>
                    <a:pt x="123" y="40"/>
                    <a:pt x="123" y="39"/>
                  </a:cubicBezTo>
                  <a:cubicBezTo>
                    <a:pt x="127" y="36"/>
                    <a:pt x="129" y="33"/>
                    <a:pt x="132" y="29"/>
                  </a:cubicBezTo>
                  <a:cubicBezTo>
                    <a:pt x="133" y="27"/>
                    <a:pt x="134" y="25"/>
                    <a:pt x="136" y="23"/>
                  </a:cubicBezTo>
                  <a:cubicBezTo>
                    <a:pt x="136" y="22"/>
                    <a:pt x="137" y="22"/>
                    <a:pt x="138" y="21"/>
                  </a:cubicBezTo>
                  <a:cubicBezTo>
                    <a:pt x="140" y="18"/>
                    <a:pt x="145" y="16"/>
                    <a:pt x="151" y="16"/>
                  </a:cubicBezTo>
                  <a:cubicBezTo>
                    <a:pt x="152" y="16"/>
                    <a:pt x="153" y="16"/>
                    <a:pt x="155" y="15"/>
                  </a:cubicBezTo>
                  <a:cubicBezTo>
                    <a:pt x="156" y="15"/>
                    <a:pt x="157" y="15"/>
                    <a:pt x="158" y="15"/>
                  </a:cubicBezTo>
                  <a:cubicBezTo>
                    <a:pt x="161" y="15"/>
                    <a:pt x="164" y="16"/>
                    <a:pt x="167" y="16"/>
                  </a:cubicBezTo>
                  <a:cubicBezTo>
                    <a:pt x="168" y="16"/>
                    <a:pt x="168" y="16"/>
                    <a:pt x="168" y="16"/>
                  </a:cubicBezTo>
                  <a:cubicBezTo>
                    <a:pt x="171" y="16"/>
                    <a:pt x="173" y="16"/>
                    <a:pt x="175" y="16"/>
                  </a:cubicBezTo>
                  <a:cubicBezTo>
                    <a:pt x="176" y="16"/>
                    <a:pt x="176" y="16"/>
                    <a:pt x="176" y="16"/>
                  </a:cubicBezTo>
                  <a:cubicBezTo>
                    <a:pt x="179" y="16"/>
                    <a:pt x="182" y="16"/>
                    <a:pt x="185" y="16"/>
                  </a:cubicBezTo>
                  <a:cubicBezTo>
                    <a:pt x="187" y="16"/>
                    <a:pt x="187" y="16"/>
                    <a:pt x="187" y="16"/>
                  </a:cubicBezTo>
                  <a:cubicBezTo>
                    <a:pt x="189" y="15"/>
                    <a:pt x="191" y="15"/>
                    <a:pt x="194" y="15"/>
                  </a:cubicBezTo>
                  <a:cubicBezTo>
                    <a:pt x="194" y="15"/>
                    <a:pt x="194" y="15"/>
                    <a:pt x="194" y="15"/>
                  </a:cubicBezTo>
                  <a:cubicBezTo>
                    <a:pt x="195" y="15"/>
                    <a:pt x="195" y="15"/>
                    <a:pt x="195" y="15"/>
                  </a:cubicBezTo>
                  <a:cubicBezTo>
                    <a:pt x="197" y="15"/>
                    <a:pt x="199" y="15"/>
                    <a:pt x="200" y="16"/>
                  </a:cubicBezTo>
                  <a:cubicBezTo>
                    <a:pt x="201" y="17"/>
                    <a:pt x="201" y="17"/>
                    <a:pt x="201" y="18"/>
                  </a:cubicBezTo>
                  <a:cubicBezTo>
                    <a:pt x="205" y="16"/>
                    <a:pt x="205" y="16"/>
                    <a:pt x="205" y="16"/>
                  </a:cubicBezTo>
                  <a:cubicBezTo>
                    <a:pt x="205" y="16"/>
                    <a:pt x="205" y="16"/>
                    <a:pt x="205" y="16"/>
                  </a:cubicBezTo>
                  <a:cubicBezTo>
                    <a:pt x="207" y="15"/>
                    <a:pt x="208" y="15"/>
                    <a:pt x="209" y="14"/>
                  </a:cubicBezTo>
                  <a:cubicBezTo>
                    <a:pt x="210" y="14"/>
                    <a:pt x="210" y="14"/>
                    <a:pt x="210" y="14"/>
                  </a:cubicBezTo>
                  <a:cubicBezTo>
                    <a:pt x="211" y="11"/>
                    <a:pt x="210" y="8"/>
                    <a:pt x="209" y="4"/>
                  </a:cubicBezTo>
                  <a:cubicBezTo>
                    <a:pt x="209" y="3"/>
                    <a:pt x="209" y="1"/>
                    <a:pt x="2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1523"/>
            <p:cNvSpPr/>
            <p:nvPr/>
          </p:nvSpPr>
          <p:spPr bwMode="auto">
            <a:xfrm>
              <a:off x="916" y="0"/>
              <a:ext cx="137" cy="69"/>
            </a:xfrm>
            <a:custGeom>
              <a:gdLst>
                <a:gd name="T0" fmla="*/ 57 w 58"/>
                <a:gd name="T1" fmla="*/ 0 h 29"/>
                <a:gd name="T2" fmla="*/ 6 w 58"/>
                <a:gd name="T3" fmla="*/ 0 h 29"/>
                <a:gd name="T4" fmla="*/ 6 w 58"/>
                <a:gd name="T5" fmla="*/ 3 h 29"/>
                <a:gd name="T6" fmla="*/ 7 w 58"/>
                <a:gd name="T7" fmla="*/ 16 h 29"/>
                <a:gd name="T8" fmla="*/ 6 w 58"/>
                <a:gd name="T9" fmla="*/ 17 h 29"/>
                <a:gd name="T10" fmla="*/ 3 w 58"/>
                <a:gd name="T11" fmla="*/ 20 h 29"/>
                <a:gd name="T12" fmla="*/ 0 w 58"/>
                <a:gd name="T13" fmla="*/ 22 h 29"/>
                <a:gd name="T14" fmla="*/ 0 w 58"/>
                <a:gd name="T15" fmla="*/ 22 h 29"/>
                <a:gd name="T16" fmla="*/ 2 w 58"/>
                <a:gd name="T17" fmla="*/ 24 h 29"/>
                <a:gd name="T18" fmla="*/ 2 w 58"/>
                <a:gd name="T19" fmla="*/ 24 h 29"/>
                <a:gd name="T20" fmla="*/ 4 w 58"/>
                <a:gd name="T21" fmla="*/ 24 h 29"/>
                <a:gd name="T22" fmla="*/ 7 w 58"/>
                <a:gd name="T23" fmla="*/ 24 h 29"/>
                <a:gd name="T24" fmla="*/ 7 w 58"/>
                <a:gd name="T25" fmla="*/ 24 h 29"/>
                <a:gd name="T26" fmla="*/ 9 w 58"/>
                <a:gd name="T27" fmla="*/ 24 h 29"/>
                <a:gd name="T28" fmla="*/ 14 w 58"/>
                <a:gd name="T29" fmla="*/ 26 h 29"/>
                <a:gd name="T30" fmla="*/ 15 w 58"/>
                <a:gd name="T31" fmla="*/ 27 h 29"/>
                <a:gd name="T32" fmla="*/ 16 w 58"/>
                <a:gd name="T33" fmla="*/ 29 h 29"/>
                <a:gd name="T34" fmla="*/ 16 w 58"/>
                <a:gd name="T35" fmla="*/ 29 h 29"/>
                <a:gd name="T36" fmla="*/ 17 w 58"/>
                <a:gd name="T37" fmla="*/ 29 h 29"/>
                <a:gd name="T38" fmla="*/ 17 w 58"/>
                <a:gd name="T39" fmla="*/ 29 h 29"/>
                <a:gd name="T40" fmla="*/ 18 w 58"/>
                <a:gd name="T41" fmla="*/ 29 h 29"/>
                <a:gd name="T42" fmla="*/ 18 w 58"/>
                <a:gd name="T43" fmla="*/ 29 h 29"/>
                <a:gd name="T44" fmla="*/ 18 w 58"/>
                <a:gd name="T45" fmla="*/ 29 h 29"/>
                <a:gd name="T46" fmla="*/ 16 w 58"/>
                <a:gd name="T47" fmla="*/ 25 h 29"/>
                <a:gd name="T48" fmla="*/ 14 w 58"/>
                <a:gd name="T49" fmla="*/ 21 h 29"/>
                <a:gd name="T50" fmla="*/ 9 w 58"/>
                <a:gd name="T51" fmla="*/ 12 h 29"/>
                <a:gd name="T52" fmla="*/ 19 w 58"/>
                <a:gd name="T53" fmla="*/ 16 h 29"/>
                <a:gd name="T54" fmla="*/ 19 w 58"/>
                <a:gd name="T55" fmla="*/ 16 h 29"/>
                <a:gd name="T56" fmla="*/ 22 w 58"/>
                <a:gd name="T57" fmla="*/ 14 h 29"/>
                <a:gd name="T58" fmla="*/ 23 w 58"/>
                <a:gd name="T59" fmla="*/ 14 h 29"/>
                <a:gd name="T60" fmla="*/ 29 w 58"/>
                <a:gd name="T61" fmla="*/ 10 h 29"/>
                <a:gd name="T62" fmla="*/ 31 w 58"/>
                <a:gd name="T63" fmla="*/ 10 h 29"/>
                <a:gd name="T64" fmla="*/ 31 w 58"/>
                <a:gd name="T65" fmla="*/ 9 h 29"/>
                <a:gd name="T66" fmla="*/ 33 w 58"/>
                <a:gd name="T67" fmla="*/ 9 h 29"/>
                <a:gd name="T68" fmla="*/ 34 w 58"/>
                <a:gd name="T69" fmla="*/ 9 h 29"/>
                <a:gd name="T70" fmla="*/ 37 w 58"/>
                <a:gd name="T71" fmla="*/ 13 h 29"/>
                <a:gd name="T72" fmla="*/ 38 w 58"/>
                <a:gd name="T73" fmla="*/ 14 h 29"/>
                <a:gd name="T74" fmla="*/ 44 w 58"/>
                <a:gd name="T75" fmla="*/ 16 h 29"/>
                <a:gd name="T76" fmla="*/ 45 w 58"/>
                <a:gd name="T77" fmla="*/ 16 h 29"/>
                <a:gd name="T78" fmla="*/ 46 w 58"/>
                <a:gd name="T79" fmla="*/ 16 h 29"/>
                <a:gd name="T80" fmla="*/ 46 w 58"/>
                <a:gd name="T81" fmla="*/ 16 h 29"/>
                <a:gd name="T82" fmla="*/ 52 w 58"/>
                <a:gd name="T83" fmla="*/ 12 h 29"/>
                <a:gd name="T84" fmla="*/ 56 w 58"/>
                <a:gd name="T85" fmla="*/ 9 h 29"/>
                <a:gd name="T86" fmla="*/ 57 w 58"/>
                <a:gd name="T87" fmla="*/ 8 h 29"/>
                <a:gd name="T88" fmla="*/ 58 w 58"/>
                <a:gd name="T89" fmla="*/ 8 h 29"/>
                <a:gd name="T90" fmla="*/ 58 w 58"/>
                <a:gd name="T91" fmla="*/ 7 h 29"/>
                <a:gd name="T92" fmla="*/ 57 w 58"/>
                <a:gd name="T93" fmla="*/ 5 h 29"/>
                <a:gd name="T94" fmla="*/ 57 w 58"/>
                <a:gd name="T95" fmla="*/ 5 h 29"/>
                <a:gd name="T96" fmla="*/ 57 w 58"/>
                <a:gd name="T97" fmla="*/ 3 h 29"/>
                <a:gd name="T98" fmla="*/ 57 w 58"/>
                <a:gd name="T99" fmla="*/ 0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28">
                  <a:moveTo>
                    <a:pt x="57" y="0"/>
                  </a:moveTo>
                  <a:cubicBezTo>
                    <a:pt x="6" y="0"/>
                    <a:pt x="6" y="0"/>
                    <a:pt x="6" y="0"/>
                  </a:cubicBezTo>
                  <a:cubicBezTo>
                    <a:pt x="6" y="1"/>
                    <a:pt x="6" y="2"/>
                    <a:pt x="6" y="3"/>
                  </a:cubicBezTo>
                  <a:cubicBezTo>
                    <a:pt x="7" y="7"/>
                    <a:pt x="8" y="12"/>
                    <a:pt x="7" y="16"/>
                  </a:cubicBezTo>
                  <a:cubicBezTo>
                    <a:pt x="6" y="16"/>
                    <a:pt x="6" y="17"/>
                    <a:pt x="6" y="17"/>
                  </a:cubicBezTo>
                  <a:cubicBezTo>
                    <a:pt x="5" y="18"/>
                    <a:pt x="4" y="19"/>
                    <a:pt x="3" y="20"/>
                  </a:cubicBezTo>
                  <a:cubicBezTo>
                    <a:pt x="2" y="21"/>
                    <a:pt x="1" y="21"/>
                    <a:pt x="0" y="22"/>
                  </a:cubicBezTo>
                  <a:cubicBezTo>
                    <a:pt x="0" y="22"/>
                    <a:pt x="0" y="22"/>
                    <a:pt x="0" y="22"/>
                  </a:cubicBezTo>
                  <a:cubicBezTo>
                    <a:pt x="1" y="23"/>
                    <a:pt x="1" y="23"/>
                    <a:pt x="2" y="24"/>
                  </a:cubicBezTo>
                  <a:cubicBezTo>
                    <a:pt x="2" y="24"/>
                    <a:pt x="2" y="24"/>
                    <a:pt x="2" y="24"/>
                  </a:cubicBezTo>
                  <a:cubicBezTo>
                    <a:pt x="2" y="24"/>
                    <a:pt x="3" y="24"/>
                    <a:pt x="4" y="24"/>
                  </a:cubicBezTo>
                  <a:cubicBezTo>
                    <a:pt x="5" y="24"/>
                    <a:pt x="6" y="24"/>
                    <a:pt x="7" y="24"/>
                  </a:cubicBezTo>
                  <a:cubicBezTo>
                    <a:pt x="7" y="24"/>
                    <a:pt x="7" y="24"/>
                    <a:pt x="7" y="24"/>
                  </a:cubicBezTo>
                  <a:cubicBezTo>
                    <a:pt x="8" y="24"/>
                    <a:pt x="8" y="24"/>
                    <a:pt x="9" y="24"/>
                  </a:cubicBezTo>
                  <a:cubicBezTo>
                    <a:pt x="11" y="24"/>
                    <a:pt x="12" y="25"/>
                    <a:pt x="14" y="26"/>
                  </a:cubicBezTo>
                  <a:cubicBezTo>
                    <a:pt x="15" y="27"/>
                    <a:pt x="15" y="27"/>
                    <a:pt x="15" y="27"/>
                  </a:cubicBezTo>
                  <a:cubicBezTo>
                    <a:pt x="15" y="28"/>
                    <a:pt x="16" y="28"/>
                    <a:pt x="16" y="29"/>
                  </a:cubicBezTo>
                  <a:cubicBezTo>
                    <a:pt x="16" y="29"/>
                    <a:pt x="16" y="29"/>
                    <a:pt x="16" y="29"/>
                  </a:cubicBezTo>
                  <a:cubicBezTo>
                    <a:pt x="17" y="29"/>
                    <a:pt x="17" y="29"/>
                    <a:pt x="17" y="29"/>
                  </a:cubicBezTo>
                  <a:cubicBezTo>
                    <a:pt x="17" y="29"/>
                    <a:pt x="17" y="29"/>
                    <a:pt x="17" y="29"/>
                  </a:cubicBezTo>
                  <a:cubicBezTo>
                    <a:pt x="18" y="29"/>
                    <a:pt x="18" y="29"/>
                    <a:pt x="18" y="29"/>
                  </a:cubicBezTo>
                  <a:cubicBezTo>
                    <a:pt x="18" y="29"/>
                    <a:pt x="18" y="29"/>
                    <a:pt x="18" y="29"/>
                  </a:cubicBezTo>
                  <a:cubicBezTo>
                    <a:pt x="18" y="29"/>
                    <a:pt x="18" y="29"/>
                    <a:pt x="18" y="29"/>
                  </a:cubicBezTo>
                  <a:cubicBezTo>
                    <a:pt x="18" y="28"/>
                    <a:pt x="18" y="27"/>
                    <a:pt x="16" y="25"/>
                  </a:cubicBezTo>
                  <a:cubicBezTo>
                    <a:pt x="15" y="23"/>
                    <a:pt x="14" y="22"/>
                    <a:pt x="14" y="21"/>
                  </a:cubicBezTo>
                  <a:cubicBezTo>
                    <a:pt x="9" y="12"/>
                    <a:pt x="9" y="12"/>
                    <a:pt x="9" y="12"/>
                  </a:cubicBezTo>
                  <a:cubicBezTo>
                    <a:pt x="19" y="16"/>
                    <a:pt x="19" y="16"/>
                    <a:pt x="19" y="16"/>
                  </a:cubicBezTo>
                  <a:cubicBezTo>
                    <a:pt x="19" y="16"/>
                    <a:pt x="19" y="16"/>
                    <a:pt x="19" y="16"/>
                  </a:cubicBezTo>
                  <a:cubicBezTo>
                    <a:pt x="19" y="16"/>
                    <a:pt x="20" y="16"/>
                    <a:pt x="22" y="14"/>
                  </a:cubicBezTo>
                  <a:cubicBezTo>
                    <a:pt x="23" y="14"/>
                    <a:pt x="23" y="14"/>
                    <a:pt x="23" y="14"/>
                  </a:cubicBezTo>
                  <a:cubicBezTo>
                    <a:pt x="24" y="13"/>
                    <a:pt x="26" y="11"/>
                    <a:pt x="29" y="10"/>
                  </a:cubicBezTo>
                  <a:cubicBezTo>
                    <a:pt x="29" y="10"/>
                    <a:pt x="30" y="10"/>
                    <a:pt x="31" y="10"/>
                  </a:cubicBezTo>
                  <a:cubicBezTo>
                    <a:pt x="31" y="9"/>
                    <a:pt x="31" y="9"/>
                    <a:pt x="31" y="9"/>
                  </a:cubicBezTo>
                  <a:cubicBezTo>
                    <a:pt x="32" y="9"/>
                    <a:pt x="32" y="9"/>
                    <a:pt x="33" y="9"/>
                  </a:cubicBezTo>
                  <a:cubicBezTo>
                    <a:pt x="34" y="9"/>
                    <a:pt x="34" y="9"/>
                    <a:pt x="34" y="9"/>
                  </a:cubicBezTo>
                  <a:cubicBezTo>
                    <a:pt x="36" y="10"/>
                    <a:pt x="37" y="12"/>
                    <a:pt x="37" y="13"/>
                  </a:cubicBezTo>
                  <a:cubicBezTo>
                    <a:pt x="37" y="13"/>
                    <a:pt x="38" y="13"/>
                    <a:pt x="38" y="14"/>
                  </a:cubicBezTo>
                  <a:cubicBezTo>
                    <a:pt x="44" y="16"/>
                    <a:pt x="44" y="16"/>
                    <a:pt x="44" y="16"/>
                  </a:cubicBezTo>
                  <a:cubicBezTo>
                    <a:pt x="45" y="16"/>
                    <a:pt x="45" y="16"/>
                    <a:pt x="45" y="16"/>
                  </a:cubicBezTo>
                  <a:cubicBezTo>
                    <a:pt x="45" y="16"/>
                    <a:pt x="46" y="16"/>
                    <a:pt x="46" y="16"/>
                  </a:cubicBezTo>
                  <a:cubicBezTo>
                    <a:pt x="46" y="16"/>
                    <a:pt x="46" y="16"/>
                    <a:pt x="46" y="16"/>
                  </a:cubicBezTo>
                  <a:cubicBezTo>
                    <a:pt x="48" y="15"/>
                    <a:pt x="50" y="13"/>
                    <a:pt x="52" y="12"/>
                  </a:cubicBezTo>
                  <a:cubicBezTo>
                    <a:pt x="56" y="9"/>
                    <a:pt x="56" y="9"/>
                    <a:pt x="56" y="9"/>
                  </a:cubicBezTo>
                  <a:cubicBezTo>
                    <a:pt x="56" y="9"/>
                    <a:pt x="57" y="9"/>
                    <a:pt x="57" y="8"/>
                  </a:cubicBezTo>
                  <a:cubicBezTo>
                    <a:pt x="58" y="8"/>
                    <a:pt x="58" y="8"/>
                    <a:pt x="58" y="8"/>
                  </a:cubicBezTo>
                  <a:cubicBezTo>
                    <a:pt x="58" y="7"/>
                    <a:pt x="58" y="7"/>
                    <a:pt x="58" y="7"/>
                  </a:cubicBezTo>
                  <a:cubicBezTo>
                    <a:pt x="58" y="6"/>
                    <a:pt x="58" y="6"/>
                    <a:pt x="57" y="5"/>
                  </a:cubicBezTo>
                  <a:cubicBezTo>
                    <a:pt x="57" y="5"/>
                    <a:pt x="57" y="5"/>
                    <a:pt x="57" y="5"/>
                  </a:cubicBezTo>
                  <a:cubicBezTo>
                    <a:pt x="57" y="4"/>
                    <a:pt x="57" y="4"/>
                    <a:pt x="57" y="3"/>
                  </a:cubicBezTo>
                  <a:cubicBezTo>
                    <a:pt x="57" y="2"/>
                    <a:pt x="57" y="1"/>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7" name="Freeform 1524"/>
            <p:cNvSpPr/>
            <p:nvPr/>
          </p:nvSpPr>
          <p:spPr bwMode="auto">
            <a:xfrm>
              <a:off x="909" y="0"/>
              <a:ext cx="286" cy="331"/>
            </a:xfrm>
            <a:custGeom>
              <a:gdLst>
                <a:gd name="T0" fmla="*/ 69 w 121"/>
                <a:gd name="T1" fmla="*/ 0 h 140"/>
                <a:gd name="T2" fmla="*/ 67 w 121"/>
                <a:gd name="T3" fmla="*/ 2 h 140"/>
                <a:gd name="T4" fmla="*/ 67 w 121"/>
                <a:gd name="T5" fmla="*/ 4 h 140"/>
                <a:gd name="T6" fmla="*/ 68 w 121"/>
                <a:gd name="T7" fmla="*/ 8 h 140"/>
                <a:gd name="T8" fmla="*/ 68 w 121"/>
                <a:gd name="T9" fmla="*/ 12 h 140"/>
                <a:gd name="T10" fmla="*/ 64 w 121"/>
                <a:gd name="T11" fmla="*/ 23 h 140"/>
                <a:gd name="T12" fmla="*/ 65 w 121"/>
                <a:gd name="T13" fmla="*/ 29 h 140"/>
                <a:gd name="T14" fmla="*/ 66 w 121"/>
                <a:gd name="T15" fmla="*/ 34 h 140"/>
                <a:gd name="T16" fmla="*/ 68 w 121"/>
                <a:gd name="T17" fmla="*/ 40 h 140"/>
                <a:gd name="T18" fmla="*/ 71 w 121"/>
                <a:gd name="T19" fmla="*/ 51 h 140"/>
                <a:gd name="T20" fmla="*/ 68 w 121"/>
                <a:gd name="T21" fmla="*/ 61 h 140"/>
                <a:gd name="T22" fmla="*/ 69 w 121"/>
                <a:gd name="T23" fmla="*/ 67 h 140"/>
                <a:gd name="T24" fmla="*/ 70 w 121"/>
                <a:gd name="T25" fmla="*/ 74 h 140"/>
                <a:gd name="T26" fmla="*/ 70 w 121"/>
                <a:gd name="T27" fmla="*/ 76 h 140"/>
                <a:gd name="T28" fmla="*/ 63 w 121"/>
                <a:gd name="T29" fmla="*/ 85 h 140"/>
                <a:gd name="T30" fmla="*/ 58 w 121"/>
                <a:gd name="T31" fmla="*/ 85 h 140"/>
                <a:gd name="T32" fmla="*/ 56 w 121"/>
                <a:gd name="T33" fmla="*/ 84 h 140"/>
                <a:gd name="T34" fmla="*/ 54 w 121"/>
                <a:gd name="T35" fmla="*/ 88 h 140"/>
                <a:gd name="T36" fmla="*/ 45 w 121"/>
                <a:gd name="T37" fmla="*/ 91 h 140"/>
                <a:gd name="T38" fmla="*/ 37 w 121"/>
                <a:gd name="T39" fmla="*/ 96 h 140"/>
                <a:gd name="T40" fmla="*/ 37 w 121"/>
                <a:gd name="T41" fmla="*/ 99 h 140"/>
                <a:gd name="T42" fmla="*/ 21 w 121"/>
                <a:gd name="T43" fmla="*/ 100 h 140"/>
                <a:gd name="T44" fmla="*/ 19 w 121"/>
                <a:gd name="T45" fmla="*/ 104 h 140"/>
                <a:gd name="T46" fmla="*/ 25 w 121"/>
                <a:gd name="T47" fmla="*/ 114 h 140"/>
                <a:gd name="T48" fmla="*/ 37 w 121"/>
                <a:gd name="T49" fmla="*/ 125 h 140"/>
                <a:gd name="T50" fmla="*/ 29 w 121"/>
                <a:gd name="T51" fmla="*/ 124 h 140"/>
                <a:gd name="T52" fmla="*/ 25 w 121"/>
                <a:gd name="T53" fmla="*/ 129 h 140"/>
                <a:gd name="T54" fmla="*/ 14 w 121"/>
                <a:gd name="T55" fmla="*/ 123 h 140"/>
                <a:gd name="T56" fmla="*/ 12 w 121"/>
                <a:gd name="T57" fmla="*/ 123 h 140"/>
                <a:gd name="T58" fmla="*/ 5 w 121"/>
                <a:gd name="T59" fmla="*/ 124 h 140"/>
                <a:gd name="T60" fmla="*/ 0 w 121"/>
                <a:gd name="T61" fmla="*/ 125 h 140"/>
                <a:gd name="T62" fmla="*/ 23 w 121"/>
                <a:gd name="T63" fmla="*/ 140 h 140"/>
                <a:gd name="T64" fmla="*/ 31 w 121"/>
                <a:gd name="T65" fmla="*/ 139 h 140"/>
                <a:gd name="T66" fmla="*/ 39 w 121"/>
                <a:gd name="T67" fmla="*/ 140 h 140"/>
                <a:gd name="T68" fmla="*/ 40 w 121"/>
                <a:gd name="T69" fmla="*/ 134 h 140"/>
                <a:gd name="T70" fmla="*/ 37 w 121"/>
                <a:gd name="T71" fmla="*/ 132 h 140"/>
                <a:gd name="T72" fmla="*/ 42 w 121"/>
                <a:gd name="T73" fmla="*/ 126 h 140"/>
                <a:gd name="T74" fmla="*/ 47 w 121"/>
                <a:gd name="T75" fmla="*/ 126 h 140"/>
                <a:gd name="T76" fmla="*/ 50 w 121"/>
                <a:gd name="T77" fmla="*/ 134 h 140"/>
                <a:gd name="T78" fmla="*/ 53 w 121"/>
                <a:gd name="T79" fmla="*/ 137 h 140"/>
                <a:gd name="T80" fmla="*/ 53 w 121"/>
                <a:gd name="T81" fmla="*/ 138 h 140"/>
                <a:gd name="T82" fmla="*/ 85 w 121"/>
                <a:gd name="T83" fmla="*/ 121 h 140"/>
                <a:gd name="T84" fmla="*/ 113 w 121"/>
                <a:gd name="T85" fmla="*/ 96 h 140"/>
                <a:gd name="T86" fmla="*/ 116 w 121"/>
                <a:gd name="T87" fmla="*/ 93 h 140"/>
                <a:gd name="T88" fmla="*/ 114 w 121"/>
                <a:gd name="T89" fmla="*/ 82 h 140"/>
                <a:gd name="T90" fmla="*/ 112 w 121"/>
                <a:gd name="T91" fmla="*/ 76 h 140"/>
                <a:gd name="T92" fmla="*/ 117 w 121"/>
                <a:gd name="T93" fmla="*/ 78 h 140"/>
                <a:gd name="T94" fmla="*/ 116 w 121"/>
                <a:gd name="T95" fmla="*/ 76 h 140"/>
                <a:gd name="T96" fmla="*/ 120 w 121"/>
                <a:gd name="T97" fmla="*/ 73 h 140"/>
                <a:gd name="T98" fmla="*/ 119 w 121"/>
                <a:gd name="T99" fmla="*/ 67 h 140"/>
                <a:gd name="T100" fmla="*/ 121 w 121"/>
                <a:gd name="T101" fmla="*/ 64 h 140"/>
                <a:gd name="T102" fmla="*/ 114 w 121"/>
                <a:gd name="T103" fmla="*/ 40 h 140"/>
                <a:gd name="T104" fmla="*/ 115 w 121"/>
                <a:gd name="T105" fmla="*/ 31 h 140"/>
                <a:gd name="T106" fmla="*/ 106 w 121"/>
                <a:gd name="T107" fmla="*/ 0 h 1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140">
                  <a:moveTo>
                    <a:pt x="106" y="0"/>
                  </a:moveTo>
                  <a:cubicBezTo>
                    <a:pt x="69" y="0"/>
                    <a:pt x="69" y="0"/>
                    <a:pt x="69" y="0"/>
                  </a:cubicBezTo>
                  <a:cubicBezTo>
                    <a:pt x="68" y="0"/>
                    <a:pt x="68" y="0"/>
                    <a:pt x="68" y="0"/>
                  </a:cubicBezTo>
                  <a:cubicBezTo>
                    <a:pt x="68" y="0"/>
                    <a:pt x="67" y="1"/>
                    <a:pt x="67" y="2"/>
                  </a:cubicBezTo>
                  <a:cubicBezTo>
                    <a:pt x="67" y="2"/>
                    <a:pt x="67" y="3"/>
                    <a:pt x="67" y="3"/>
                  </a:cubicBezTo>
                  <a:cubicBezTo>
                    <a:pt x="67" y="4"/>
                    <a:pt x="67" y="4"/>
                    <a:pt x="67" y="4"/>
                  </a:cubicBezTo>
                  <a:cubicBezTo>
                    <a:pt x="68" y="4"/>
                    <a:pt x="68" y="5"/>
                    <a:pt x="68" y="5"/>
                  </a:cubicBezTo>
                  <a:cubicBezTo>
                    <a:pt x="68" y="8"/>
                    <a:pt x="68" y="8"/>
                    <a:pt x="68" y="8"/>
                  </a:cubicBezTo>
                  <a:cubicBezTo>
                    <a:pt x="70" y="10"/>
                    <a:pt x="70" y="10"/>
                    <a:pt x="70" y="10"/>
                  </a:cubicBezTo>
                  <a:cubicBezTo>
                    <a:pt x="68" y="12"/>
                    <a:pt x="68" y="12"/>
                    <a:pt x="68" y="12"/>
                  </a:cubicBezTo>
                  <a:cubicBezTo>
                    <a:pt x="68" y="13"/>
                    <a:pt x="68" y="13"/>
                    <a:pt x="68" y="13"/>
                  </a:cubicBezTo>
                  <a:cubicBezTo>
                    <a:pt x="67" y="17"/>
                    <a:pt x="65" y="20"/>
                    <a:pt x="64" y="23"/>
                  </a:cubicBezTo>
                  <a:cubicBezTo>
                    <a:pt x="63" y="27"/>
                    <a:pt x="63" y="27"/>
                    <a:pt x="63" y="27"/>
                  </a:cubicBezTo>
                  <a:cubicBezTo>
                    <a:pt x="63" y="28"/>
                    <a:pt x="64" y="28"/>
                    <a:pt x="65" y="29"/>
                  </a:cubicBezTo>
                  <a:cubicBezTo>
                    <a:pt x="65" y="30"/>
                    <a:pt x="65" y="30"/>
                    <a:pt x="65" y="30"/>
                  </a:cubicBezTo>
                  <a:cubicBezTo>
                    <a:pt x="66" y="31"/>
                    <a:pt x="67" y="33"/>
                    <a:pt x="66" y="34"/>
                  </a:cubicBezTo>
                  <a:cubicBezTo>
                    <a:pt x="66" y="36"/>
                    <a:pt x="67" y="37"/>
                    <a:pt x="67" y="38"/>
                  </a:cubicBezTo>
                  <a:cubicBezTo>
                    <a:pt x="68" y="40"/>
                    <a:pt x="68" y="40"/>
                    <a:pt x="68" y="40"/>
                  </a:cubicBezTo>
                  <a:cubicBezTo>
                    <a:pt x="70" y="43"/>
                    <a:pt x="72" y="46"/>
                    <a:pt x="71" y="49"/>
                  </a:cubicBezTo>
                  <a:cubicBezTo>
                    <a:pt x="71" y="51"/>
                    <a:pt x="71" y="51"/>
                    <a:pt x="71" y="51"/>
                  </a:cubicBezTo>
                  <a:cubicBezTo>
                    <a:pt x="70" y="53"/>
                    <a:pt x="69" y="57"/>
                    <a:pt x="69" y="59"/>
                  </a:cubicBezTo>
                  <a:cubicBezTo>
                    <a:pt x="68" y="61"/>
                    <a:pt x="68" y="61"/>
                    <a:pt x="68" y="61"/>
                  </a:cubicBezTo>
                  <a:cubicBezTo>
                    <a:pt x="68" y="62"/>
                    <a:pt x="69" y="65"/>
                    <a:pt x="69" y="66"/>
                  </a:cubicBezTo>
                  <a:cubicBezTo>
                    <a:pt x="69" y="67"/>
                    <a:pt x="69" y="67"/>
                    <a:pt x="69" y="67"/>
                  </a:cubicBezTo>
                  <a:cubicBezTo>
                    <a:pt x="69" y="69"/>
                    <a:pt x="70" y="72"/>
                    <a:pt x="70" y="74"/>
                  </a:cubicBezTo>
                  <a:cubicBezTo>
                    <a:pt x="70" y="74"/>
                    <a:pt x="70" y="74"/>
                    <a:pt x="70" y="74"/>
                  </a:cubicBezTo>
                  <a:cubicBezTo>
                    <a:pt x="77" y="75"/>
                    <a:pt x="77" y="75"/>
                    <a:pt x="77" y="75"/>
                  </a:cubicBezTo>
                  <a:cubicBezTo>
                    <a:pt x="70" y="76"/>
                    <a:pt x="70" y="76"/>
                    <a:pt x="70" y="76"/>
                  </a:cubicBezTo>
                  <a:cubicBezTo>
                    <a:pt x="70" y="77"/>
                    <a:pt x="70" y="77"/>
                    <a:pt x="69" y="78"/>
                  </a:cubicBezTo>
                  <a:cubicBezTo>
                    <a:pt x="69" y="83"/>
                    <a:pt x="66" y="85"/>
                    <a:pt x="63" y="85"/>
                  </a:cubicBezTo>
                  <a:cubicBezTo>
                    <a:pt x="63" y="85"/>
                    <a:pt x="62" y="86"/>
                    <a:pt x="62" y="86"/>
                  </a:cubicBezTo>
                  <a:cubicBezTo>
                    <a:pt x="60" y="86"/>
                    <a:pt x="59" y="85"/>
                    <a:pt x="58" y="85"/>
                  </a:cubicBezTo>
                  <a:cubicBezTo>
                    <a:pt x="57" y="85"/>
                    <a:pt x="57" y="84"/>
                    <a:pt x="56" y="84"/>
                  </a:cubicBezTo>
                  <a:cubicBezTo>
                    <a:pt x="56" y="84"/>
                    <a:pt x="56" y="84"/>
                    <a:pt x="56" y="84"/>
                  </a:cubicBezTo>
                  <a:cubicBezTo>
                    <a:pt x="56" y="85"/>
                    <a:pt x="55" y="86"/>
                    <a:pt x="55" y="86"/>
                  </a:cubicBezTo>
                  <a:cubicBezTo>
                    <a:pt x="54" y="88"/>
                    <a:pt x="54" y="88"/>
                    <a:pt x="54" y="88"/>
                  </a:cubicBezTo>
                  <a:cubicBezTo>
                    <a:pt x="52" y="90"/>
                    <a:pt x="48" y="90"/>
                    <a:pt x="46" y="91"/>
                  </a:cubicBezTo>
                  <a:cubicBezTo>
                    <a:pt x="45" y="91"/>
                    <a:pt x="45" y="91"/>
                    <a:pt x="45" y="91"/>
                  </a:cubicBezTo>
                  <a:cubicBezTo>
                    <a:pt x="42" y="91"/>
                    <a:pt x="39" y="92"/>
                    <a:pt x="36" y="93"/>
                  </a:cubicBezTo>
                  <a:cubicBezTo>
                    <a:pt x="36" y="94"/>
                    <a:pt x="36" y="95"/>
                    <a:pt x="37" y="96"/>
                  </a:cubicBezTo>
                  <a:cubicBezTo>
                    <a:pt x="37" y="97"/>
                    <a:pt x="37" y="97"/>
                    <a:pt x="37" y="97"/>
                  </a:cubicBezTo>
                  <a:cubicBezTo>
                    <a:pt x="37" y="98"/>
                    <a:pt x="37" y="99"/>
                    <a:pt x="37" y="99"/>
                  </a:cubicBezTo>
                  <a:cubicBezTo>
                    <a:pt x="37" y="104"/>
                    <a:pt x="37" y="104"/>
                    <a:pt x="37" y="104"/>
                  </a:cubicBezTo>
                  <a:cubicBezTo>
                    <a:pt x="21" y="100"/>
                    <a:pt x="21" y="100"/>
                    <a:pt x="21" y="100"/>
                  </a:cubicBezTo>
                  <a:cubicBezTo>
                    <a:pt x="20" y="101"/>
                    <a:pt x="19" y="102"/>
                    <a:pt x="19" y="102"/>
                  </a:cubicBezTo>
                  <a:cubicBezTo>
                    <a:pt x="19" y="104"/>
                    <a:pt x="19" y="104"/>
                    <a:pt x="19" y="104"/>
                  </a:cubicBezTo>
                  <a:cubicBezTo>
                    <a:pt x="19" y="107"/>
                    <a:pt x="20" y="109"/>
                    <a:pt x="21" y="110"/>
                  </a:cubicBezTo>
                  <a:cubicBezTo>
                    <a:pt x="22" y="112"/>
                    <a:pt x="23" y="113"/>
                    <a:pt x="25" y="114"/>
                  </a:cubicBezTo>
                  <a:cubicBezTo>
                    <a:pt x="26" y="115"/>
                    <a:pt x="28" y="116"/>
                    <a:pt x="29" y="117"/>
                  </a:cubicBezTo>
                  <a:cubicBezTo>
                    <a:pt x="37" y="125"/>
                    <a:pt x="37" y="125"/>
                    <a:pt x="37" y="125"/>
                  </a:cubicBezTo>
                  <a:cubicBezTo>
                    <a:pt x="29" y="124"/>
                    <a:pt x="29" y="124"/>
                    <a:pt x="29" y="124"/>
                  </a:cubicBezTo>
                  <a:cubicBezTo>
                    <a:pt x="29" y="124"/>
                    <a:pt x="29" y="124"/>
                    <a:pt x="29" y="124"/>
                  </a:cubicBezTo>
                  <a:cubicBezTo>
                    <a:pt x="31" y="130"/>
                    <a:pt x="31" y="130"/>
                    <a:pt x="31" y="130"/>
                  </a:cubicBezTo>
                  <a:cubicBezTo>
                    <a:pt x="25" y="129"/>
                    <a:pt x="25" y="129"/>
                    <a:pt x="25" y="129"/>
                  </a:cubicBezTo>
                  <a:cubicBezTo>
                    <a:pt x="21" y="128"/>
                    <a:pt x="18" y="126"/>
                    <a:pt x="15" y="124"/>
                  </a:cubicBezTo>
                  <a:cubicBezTo>
                    <a:pt x="14" y="123"/>
                    <a:pt x="14" y="123"/>
                    <a:pt x="14" y="123"/>
                  </a:cubicBezTo>
                  <a:cubicBezTo>
                    <a:pt x="14" y="123"/>
                    <a:pt x="14" y="123"/>
                    <a:pt x="14" y="123"/>
                  </a:cubicBezTo>
                  <a:cubicBezTo>
                    <a:pt x="14" y="123"/>
                    <a:pt x="14" y="123"/>
                    <a:pt x="12" y="123"/>
                  </a:cubicBezTo>
                  <a:cubicBezTo>
                    <a:pt x="12" y="123"/>
                    <a:pt x="11" y="123"/>
                    <a:pt x="11" y="123"/>
                  </a:cubicBezTo>
                  <a:cubicBezTo>
                    <a:pt x="9" y="123"/>
                    <a:pt x="7" y="124"/>
                    <a:pt x="5" y="124"/>
                  </a:cubicBezTo>
                  <a:cubicBezTo>
                    <a:pt x="5" y="124"/>
                    <a:pt x="5" y="124"/>
                    <a:pt x="5" y="124"/>
                  </a:cubicBezTo>
                  <a:cubicBezTo>
                    <a:pt x="3" y="124"/>
                    <a:pt x="2" y="125"/>
                    <a:pt x="0" y="125"/>
                  </a:cubicBezTo>
                  <a:cubicBezTo>
                    <a:pt x="5" y="129"/>
                    <a:pt x="9" y="133"/>
                    <a:pt x="14" y="138"/>
                  </a:cubicBezTo>
                  <a:cubicBezTo>
                    <a:pt x="16" y="139"/>
                    <a:pt x="19" y="140"/>
                    <a:pt x="23" y="140"/>
                  </a:cubicBezTo>
                  <a:cubicBezTo>
                    <a:pt x="25" y="140"/>
                    <a:pt x="27" y="140"/>
                    <a:pt x="29" y="139"/>
                  </a:cubicBezTo>
                  <a:cubicBezTo>
                    <a:pt x="30" y="139"/>
                    <a:pt x="30" y="139"/>
                    <a:pt x="31" y="139"/>
                  </a:cubicBezTo>
                  <a:cubicBezTo>
                    <a:pt x="33" y="139"/>
                    <a:pt x="36" y="140"/>
                    <a:pt x="39" y="140"/>
                  </a:cubicBezTo>
                  <a:cubicBezTo>
                    <a:pt x="39" y="140"/>
                    <a:pt x="39" y="140"/>
                    <a:pt x="39" y="140"/>
                  </a:cubicBezTo>
                  <a:cubicBezTo>
                    <a:pt x="46" y="140"/>
                    <a:pt x="43" y="138"/>
                    <a:pt x="38" y="136"/>
                  </a:cubicBezTo>
                  <a:cubicBezTo>
                    <a:pt x="39" y="135"/>
                    <a:pt x="39" y="135"/>
                    <a:pt x="40" y="134"/>
                  </a:cubicBezTo>
                  <a:cubicBezTo>
                    <a:pt x="40" y="134"/>
                    <a:pt x="40" y="134"/>
                    <a:pt x="40" y="134"/>
                  </a:cubicBezTo>
                  <a:cubicBezTo>
                    <a:pt x="37" y="132"/>
                    <a:pt x="37" y="132"/>
                    <a:pt x="37" y="132"/>
                  </a:cubicBezTo>
                  <a:cubicBezTo>
                    <a:pt x="39" y="130"/>
                    <a:pt x="39" y="130"/>
                    <a:pt x="39" y="130"/>
                  </a:cubicBezTo>
                  <a:cubicBezTo>
                    <a:pt x="42" y="126"/>
                    <a:pt x="42" y="126"/>
                    <a:pt x="42" y="126"/>
                  </a:cubicBezTo>
                  <a:cubicBezTo>
                    <a:pt x="44" y="128"/>
                    <a:pt x="44" y="128"/>
                    <a:pt x="44" y="128"/>
                  </a:cubicBezTo>
                  <a:cubicBezTo>
                    <a:pt x="47" y="126"/>
                    <a:pt x="47" y="126"/>
                    <a:pt x="47" y="126"/>
                  </a:cubicBezTo>
                  <a:cubicBezTo>
                    <a:pt x="47" y="128"/>
                    <a:pt x="47" y="129"/>
                    <a:pt x="46" y="131"/>
                  </a:cubicBezTo>
                  <a:cubicBezTo>
                    <a:pt x="48" y="132"/>
                    <a:pt x="49" y="133"/>
                    <a:pt x="50" y="134"/>
                  </a:cubicBezTo>
                  <a:cubicBezTo>
                    <a:pt x="50" y="132"/>
                    <a:pt x="50" y="131"/>
                    <a:pt x="50" y="130"/>
                  </a:cubicBezTo>
                  <a:cubicBezTo>
                    <a:pt x="51" y="134"/>
                    <a:pt x="49" y="135"/>
                    <a:pt x="53" y="137"/>
                  </a:cubicBezTo>
                  <a:cubicBezTo>
                    <a:pt x="53" y="137"/>
                    <a:pt x="51" y="138"/>
                    <a:pt x="52" y="138"/>
                  </a:cubicBezTo>
                  <a:cubicBezTo>
                    <a:pt x="52" y="138"/>
                    <a:pt x="52" y="138"/>
                    <a:pt x="53" y="138"/>
                  </a:cubicBezTo>
                  <a:cubicBezTo>
                    <a:pt x="55" y="138"/>
                    <a:pt x="60" y="135"/>
                    <a:pt x="62" y="134"/>
                  </a:cubicBezTo>
                  <a:cubicBezTo>
                    <a:pt x="70" y="130"/>
                    <a:pt x="77" y="125"/>
                    <a:pt x="85" y="121"/>
                  </a:cubicBezTo>
                  <a:cubicBezTo>
                    <a:pt x="93" y="116"/>
                    <a:pt x="103" y="113"/>
                    <a:pt x="107" y="105"/>
                  </a:cubicBezTo>
                  <a:cubicBezTo>
                    <a:pt x="108" y="103"/>
                    <a:pt x="116" y="98"/>
                    <a:pt x="113" y="96"/>
                  </a:cubicBezTo>
                  <a:cubicBezTo>
                    <a:pt x="110" y="94"/>
                    <a:pt x="112" y="89"/>
                    <a:pt x="113" y="86"/>
                  </a:cubicBezTo>
                  <a:cubicBezTo>
                    <a:pt x="113" y="88"/>
                    <a:pt x="114" y="91"/>
                    <a:pt x="116" y="93"/>
                  </a:cubicBezTo>
                  <a:cubicBezTo>
                    <a:pt x="116" y="91"/>
                    <a:pt x="114" y="91"/>
                    <a:pt x="114" y="90"/>
                  </a:cubicBezTo>
                  <a:cubicBezTo>
                    <a:pt x="114" y="87"/>
                    <a:pt x="115" y="84"/>
                    <a:pt x="114" y="82"/>
                  </a:cubicBezTo>
                  <a:cubicBezTo>
                    <a:pt x="114" y="80"/>
                    <a:pt x="112" y="78"/>
                    <a:pt x="112" y="77"/>
                  </a:cubicBezTo>
                  <a:cubicBezTo>
                    <a:pt x="112" y="77"/>
                    <a:pt x="112" y="76"/>
                    <a:pt x="112" y="76"/>
                  </a:cubicBezTo>
                  <a:cubicBezTo>
                    <a:pt x="113" y="76"/>
                    <a:pt x="114" y="77"/>
                    <a:pt x="115" y="77"/>
                  </a:cubicBezTo>
                  <a:cubicBezTo>
                    <a:pt x="116" y="77"/>
                    <a:pt x="117" y="78"/>
                    <a:pt x="117" y="78"/>
                  </a:cubicBezTo>
                  <a:cubicBezTo>
                    <a:pt x="117" y="78"/>
                    <a:pt x="117" y="78"/>
                    <a:pt x="117" y="78"/>
                  </a:cubicBezTo>
                  <a:cubicBezTo>
                    <a:pt x="117" y="78"/>
                    <a:pt x="116" y="77"/>
                    <a:pt x="116" y="76"/>
                  </a:cubicBezTo>
                  <a:cubicBezTo>
                    <a:pt x="116" y="71"/>
                    <a:pt x="112" y="70"/>
                    <a:pt x="118" y="66"/>
                  </a:cubicBezTo>
                  <a:cubicBezTo>
                    <a:pt x="118" y="68"/>
                    <a:pt x="119" y="71"/>
                    <a:pt x="120" y="73"/>
                  </a:cubicBezTo>
                  <a:cubicBezTo>
                    <a:pt x="121" y="70"/>
                    <a:pt x="120" y="71"/>
                    <a:pt x="119" y="69"/>
                  </a:cubicBezTo>
                  <a:cubicBezTo>
                    <a:pt x="119" y="68"/>
                    <a:pt x="119" y="68"/>
                    <a:pt x="119" y="67"/>
                  </a:cubicBezTo>
                  <a:cubicBezTo>
                    <a:pt x="119" y="66"/>
                    <a:pt x="118" y="65"/>
                    <a:pt x="119" y="65"/>
                  </a:cubicBezTo>
                  <a:cubicBezTo>
                    <a:pt x="121" y="64"/>
                    <a:pt x="121" y="64"/>
                    <a:pt x="121" y="64"/>
                  </a:cubicBezTo>
                  <a:cubicBezTo>
                    <a:pt x="120" y="60"/>
                    <a:pt x="119" y="56"/>
                    <a:pt x="118" y="52"/>
                  </a:cubicBezTo>
                  <a:cubicBezTo>
                    <a:pt x="116" y="48"/>
                    <a:pt x="115" y="44"/>
                    <a:pt x="114" y="40"/>
                  </a:cubicBezTo>
                  <a:cubicBezTo>
                    <a:pt x="114" y="38"/>
                    <a:pt x="116" y="36"/>
                    <a:pt x="116" y="35"/>
                  </a:cubicBezTo>
                  <a:cubicBezTo>
                    <a:pt x="116" y="34"/>
                    <a:pt x="115" y="32"/>
                    <a:pt x="115" y="31"/>
                  </a:cubicBezTo>
                  <a:cubicBezTo>
                    <a:pt x="114" y="23"/>
                    <a:pt x="111" y="15"/>
                    <a:pt x="108" y="8"/>
                  </a:cubicBezTo>
                  <a:cubicBezTo>
                    <a:pt x="107" y="5"/>
                    <a:pt x="106" y="3"/>
                    <a:pt x="10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1525"/>
            <p:cNvSpPr/>
            <p:nvPr/>
          </p:nvSpPr>
          <p:spPr bwMode="auto">
            <a:xfrm>
              <a:off x="854" y="296"/>
              <a:ext cx="116" cy="151"/>
            </a:xfrm>
            <a:custGeom>
              <a:gdLst>
                <a:gd name="T0" fmla="*/ 22 w 49"/>
                <a:gd name="T1" fmla="*/ 0 h 64"/>
                <a:gd name="T2" fmla="*/ 19 w 49"/>
                <a:gd name="T3" fmla="*/ 0 h 64"/>
                <a:gd name="T4" fmla="*/ 18 w 49"/>
                <a:gd name="T5" fmla="*/ 0 h 64"/>
                <a:gd name="T6" fmla="*/ 18 w 49"/>
                <a:gd name="T7" fmla="*/ 1 h 64"/>
                <a:gd name="T8" fmla="*/ 7 w 49"/>
                <a:gd name="T9" fmla="*/ 11 h 64"/>
                <a:gd name="T10" fmla="*/ 0 w 49"/>
                <a:gd name="T11" fmla="*/ 14 h 64"/>
                <a:gd name="T12" fmla="*/ 3 w 49"/>
                <a:gd name="T13" fmla="*/ 19 h 64"/>
                <a:gd name="T14" fmla="*/ 17 w 49"/>
                <a:gd name="T15" fmla="*/ 27 h 64"/>
                <a:gd name="T16" fmla="*/ 16 w 49"/>
                <a:gd name="T17" fmla="*/ 26 h 64"/>
                <a:gd name="T18" fmla="*/ 11 w 49"/>
                <a:gd name="T19" fmla="*/ 29 h 64"/>
                <a:gd name="T20" fmla="*/ 9 w 49"/>
                <a:gd name="T21" fmla="*/ 47 h 64"/>
                <a:gd name="T22" fmla="*/ 11 w 49"/>
                <a:gd name="T23" fmla="*/ 62 h 64"/>
                <a:gd name="T24" fmla="*/ 13 w 49"/>
                <a:gd name="T25" fmla="*/ 61 h 64"/>
                <a:gd name="T26" fmla="*/ 6 w 49"/>
                <a:gd name="T27" fmla="*/ 64 h 64"/>
                <a:gd name="T28" fmla="*/ 20 w 49"/>
                <a:gd name="T29" fmla="*/ 61 h 64"/>
                <a:gd name="T30" fmla="*/ 25 w 49"/>
                <a:gd name="T31" fmla="*/ 55 h 64"/>
                <a:gd name="T32" fmla="*/ 42 w 49"/>
                <a:gd name="T33" fmla="*/ 44 h 64"/>
                <a:gd name="T34" fmla="*/ 46 w 49"/>
                <a:gd name="T35" fmla="*/ 37 h 64"/>
                <a:gd name="T36" fmla="*/ 40 w 49"/>
                <a:gd name="T37" fmla="*/ 26 h 64"/>
                <a:gd name="T38" fmla="*/ 38 w 49"/>
                <a:gd name="T39" fmla="*/ 22 h 64"/>
                <a:gd name="T40" fmla="*/ 38 w 49"/>
                <a:gd name="T41" fmla="*/ 22 h 64"/>
                <a:gd name="T42" fmla="*/ 33 w 49"/>
                <a:gd name="T43" fmla="*/ 18 h 64"/>
                <a:gd name="T44" fmla="*/ 33 w 49"/>
                <a:gd name="T45" fmla="*/ 18 h 64"/>
                <a:gd name="T46" fmla="*/ 26 w 49"/>
                <a:gd name="T47" fmla="*/ 11 h 64"/>
                <a:gd name="T48" fmla="*/ 22 w 49"/>
                <a:gd name="T49" fmla="*/ 7 h 64"/>
                <a:gd name="T50" fmla="*/ 23 w 49"/>
                <a:gd name="T51" fmla="*/ 7 h 64"/>
                <a:gd name="T52" fmla="*/ 23 w 49"/>
                <a:gd name="T53" fmla="*/ 7 h 64"/>
                <a:gd name="T54" fmla="*/ 22 w 49"/>
                <a:gd name="T55" fmla="*/ 0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64">
                  <a:moveTo>
                    <a:pt x="22" y="0"/>
                  </a:moveTo>
                  <a:cubicBezTo>
                    <a:pt x="21" y="0"/>
                    <a:pt x="20" y="0"/>
                    <a:pt x="19" y="0"/>
                  </a:cubicBezTo>
                  <a:cubicBezTo>
                    <a:pt x="19" y="0"/>
                    <a:pt x="19" y="0"/>
                    <a:pt x="18" y="0"/>
                  </a:cubicBezTo>
                  <a:cubicBezTo>
                    <a:pt x="18" y="1"/>
                    <a:pt x="18" y="1"/>
                    <a:pt x="18" y="1"/>
                  </a:cubicBezTo>
                  <a:cubicBezTo>
                    <a:pt x="19" y="5"/>
                    <a:pt x="12" y="10"/>
                    <a:pt x="7" y="11"/>
                  </a:cubicBezTo>
                  <a:cubicBezTo>
                    <a:pt x="3" y="12"/>
                    <a:pt x="1" y="14"/>
                    <a:pt x="0" y="14"/>
                  </a:cubicBezTo>
                  <a:cubicBezTo>
                    <a:pt x="1" y="16"/>
                    <a:pt x="2" y="18"/>
                    <a:pt x="3" y="19"/>
                  </a:cubicBezTo>
                  <a:cubicBezTo>
                    <a:pt x="7" y="21"/>
                    <a:pt x="18" y="21"/>
                    <a:pt x="17" y="27"/>
                  </a:cubicBezTo>
                  <a:cubicBezTo>
                    <a:pt x="17" y="26"/>
                    <a:pt x="17" y="26"/>
                    <a:pt x="16" y="26"/>
                  </a:cubicBezTo>
                  <a:cubicBezTo>
                    <a:pt x="14" y="26"/>
                    <a:pt x="12" y="28"/>
                    <a:pt x="11" y="29"/>
                  </a:cubicBezTo>
                  <a:cubicBezTo>
                    <a:pt x="8" y="34"/>
                    <a:pt x="9" y="42"/>
                    <a:pt x="9" y="47"/>
                  </a:cubicBezTo>
                  <a:cubicBezTo>
                    <a:pt x="9" y="50"/>
                    <a:pt x="6" y="62"/>
                    <a:pt x="11" y="62"/>
                  </a:cubicBezTo>
                  <a:cubicBezTo>
                    <a:pt x="12" y="62"/>
                    <a:pt x="12" y="61"/>
                    <a:pt x="13" y="61"/>
                  </a:cubicBezTo>
                  <a:cubicBezTo>
                    <a:pt x="10" y="62"/>
                    <a:pt x="9" y="63"/>
                    <a:pt x="6" y="64"/>
                  </a:cubicBezTo>
                  <a:cubicBezTo>
                    <a:pt x="13" y="64"/>
                    <a:pt x="16" y="64"/>
                    <a:pt x="20" y="61"/>
                  </a:cubicBezTo>
                  <a:cubicBezTo>
                    <a:pt x="23" y="59"/>
                    <a:pt x="24" y="58"/>
                    <a:pt x="25" y="55"/>
                  </a:cubicBezTo>
                  <a:cubicBezTo>
                    <a:pt x="28" y="48"/>
                    <a:pt x="37" y="47"/>
                    <a:pt x="42" y="44"/>
                  </a:cubicBezTo>
                  <a:cubicBezTo>
                    <a:pt x="47" y="41"/>
                    <a:pt x="49" y="42"/>
                    <a:pt x="46" y="37"/>
                  </a:cubicBezTo>
                  <a:cubicBezTo>
                    <a:pt x="44" y="34"/>
                    <a:pt x="42" y="30"/>
                    <a:pt x="40" y="26"/>
                  </a:cubicBezTo>
                  <a:cubicBezTo>
                    <a:pt x="40" y="25"/>
                    <a:pt x="39" y="23"/>
                    <a:pt x="38" y="22"/>
                  </a:cubicBezTo>
                  <a:cubicBezTo>
                    <a:pt x="38" y="22"/>
                    <a:pt x="38" y="22"/>
                    <a:pt x="38" y="22"/>
                  </a:cubicBezTo>
                  <a:cubicBezTo>
                    <a:pt x="36" y="21"/>
                    <a:pt x="35" y="19"/>
                    <a:pt x="33" y="18"/>
                  </a:cubicBezTo>
                  <a:cubicBezTo>
                    <a:pt x="33" y="18"/>
                    <a:pt x="33" y="18"/>
                    <a:pt x="33" y="18"/>
                  </a:cubicBezTo>
                  <a:cubicBezTo>
                    <a:pt x="30" y="16"/>
                    <a:pt x="28" y="13"/>
                    <a:pt x="26" y="11"/>
                  </a:cubicBezTo>
                  <a:cubicBezTo>
                    <a:pt x="24" y="9"/>
                    <a:pt x="23" y="8"/>
                    <a:pt x="22" y="7"/>
                  </a:cubicBezTo>
                  <a:cubicBezTo>
                    <a:pt x="22" y="7"/>
                    <a:pt x="23" y="7"/>
                    <a:pt x="23" y="7"/>
                  </a:cubicBezTo>
                  <a:cubicBezTo>
                    <a:pt x="23" y="7"/>
                    <a:pt x="23" y="7"/>
                    <a:pt x="23" y="7"/>
                  </a:cubicBezTo>
                  <a:cubicBezTo>
                    <a:pt x="26" y="7"/>
                    <a:pt x="24" y="3"/>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Freeform 1526"/>
            <p:cNvSpPr/>
            <p:nvPr/>
          </p:nvSpPr>
          <p:spPr bwMode="auto">
            <a:xfrm>
              <a:off x="743" y="230"/>
              <a:ext cx="3" cy="7"/>
            </a:xfrm>
            <a:custGeom>
              <a:gdLst>
                <a:gd name="T0" fmla="*/ 0 w 1"/>
                <a:gd name="T1" fmla="*/ 0 h 3"/>
                <a:gd name="T2" fmla="*/ 0 w 1"/>
                <a:gd name="T3" fmla="*/ 0 h 3"/>
                <a:gd name="T4" fmla="*/ 0 w 1"/>
                <a:gd name="T5" fmla="*/ 0 h 3"/>
                <a:gd name="T6" fmla="*/ 1 w 1"/>
                <a:gd name="T7" fmla="*/ 3 h 3"/>
                <a:gd name="T8" fmla="*/ 0 w 1"/>
                <a:gd name="T9" fmla="*/ 0 h 3"/>
              </a:gd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0" y="0"/>
                    <a:pt x="0" y="0"/>
                    <a:pt x="0" y="0"/>
                  </a:cubicBezTo>
                  <a:cubicBezTo>
                    <a:pt x="0" y="1"/>
                    <a:pt x="0" y="2"/>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1527"/>
            <p:cNvSpPr>
              <a:spLocks noEditPoints="1"/>
            </p:cNvSpPr>
            <p:nvPr/>
          </p:nvSpPr>
          <p:spPr bwMode="auto">
            <a:xfrm>
              <a:off x="713" y="41"/>
              <a:ext cx="347" cy="276"/>
            </a:xfrm>
            <a:custGeom>
              <a:gdLst>
                <a:gd name="T0" fmla="*/ 16 w 147"/>
                <a:gd name="T1" fmla="*/ 86 h 117"/>
                <a:gd name="T2" fmla="*/ 112 w 147"/>
                <a:gd name="T3" fmla="*/ 3 h 117"/>
                <a:gd name="T4" fmla="*/ 112 w 147"/>
                <a:gd name="T5" fmla="*/ 12 h 117"/>
                <a:gd name="T6" fmla="*/ 105 w 147"/>
                <a:gd name="T7" fmla="*/ 23 h 117"/>
                <a:gd name="T8" fmla="*/ 101 w 147"/>
                <a:gd name="T9" fmla="*/ 19 h 117"/>
                <a:gd name="T10" fmla="*/ 97 w 147"/>
                <a:gd name="T11" fmla="*/ 17 h 117"/>
                <a:gd name="T12" fmla="*/ 94 w 147"/>
                <a:gd name="T13" fmla="*/ 14 h 117"/>
                <a:gd name="T14" fmla="*/ 91 w 147"/>
                <a:gd name="T15" fmla="*/ 14 h 117"/>
                <a:gd name="T16" fmla="*/ 87 w 147"/>
                <a:gd name="T17" fmla="*/ 14 h 117"/>
                <a:gd name="T18" fmla="*/ 80 w 147"/>
                <a:gd name="T19" fmla="*/ 9 h 117"/>
                <a:gd name="T20" fmla="*/ 72 w 147"/>
                <a:gd name="T21" fmla="*/ 6 h 117"/>
                <a:gd name="T22" fmla="*/ 71 w 147"/>
                <a:gd name="T23" fmla="*/ 5 h 117"/>
                <a:gd name="T24" fmla="*/ 64 w 147"/>
                <a:gd name="T25" fmla="*/ 6 h 117"/>
                <a:gd name="T26" fmla="*/ 51 w 147"/>
                <a:gd name="T27" fmla="*/ 6 h 117"/>
                <a:gd name="T28" fmla="*/ 33 w 147"/>
                <a:gd name="T29" fmla="*/ 6 h 117"/>
                <a:gd name="T30" fmla="*/ 18 w 147"/>
                <a:gd name="T31" fmla="*/ 10 h 117"/>
                <a:gd name="T32" fmla="*/ 4 w 147"/>
                <a:gd name="T33" fmla="*/ 28 h 117"/>
                <a:gd name="T34" fmla="*/ 3 w 147"/>
                <a:gd name="T35" fmla="*/ 38 h 117"/>
                <a:gd name="T36" fmla="*/ 6 w 147"/>
                <a:gd name="T37" fmla="*/ 48 h 117"/>
                <a:gd name="T38" fmla="*/ 8 w 147"/>
                <a:gd name="T39" fmla="*/ 54 h 117"/>
                <a:gd name="T40" fmla="*/ 13 w 147"/>
                <a:gd name="T41" fmla="*/ 60 h 117"/>
                <a:gd name="T42" fmla="*/ 13 w 147"/>
                <a:gd name="T43" fmla="*/ 64 h 117"/>
                <a:gd name="T44" fmla="*/ 15 w 147"/>
                <a:gd name="T45" fmla="*/ 79 h 117"/>
                <a:gd name="T46" fmla="*/ 20 w 147"/>
                <a:gd name="T47" fmla="*/ 94 h 117"/>
                <a:gd name="T48" fmla="*/ 28 w 147"/>
                <a:gd name="T49" fmla="*/ 105 h 117"/>
                <a:gd name="T50" fmla="*/ 33 w 147"/>
                <a:gd name="T51" fmla="*/ 111 h 117"/>
                <a:gd name="T52" fmla="*/ 55 w 147"/>
                <a:gd name="T53" fmla="*/ 117 h 117"/>
                <a:gd name="T54" fmla="*/ 65 w 147"/>
                <a:gd name="T55" fmla="*/ 112 h 117"/>
                <a:gd name="T56" fmla="*/ 75 w 147"/>
                <a:gd name="T57" fmla="*/ 101 h 117"/>
                <a:gd name="T58" fmla="*/ 80 w 147"/>
                <a:gd name="T59" fmla="*/ 101 h 117"/>
                <a:gd name="T60" fmla="*/ 95 w 147"/>
                <a:gd name="T61" fmla="*/ 99 h 117"/>
                <a:gd name="T62" fmla="*/ 99 w 147"/>
                <a:gd name="T63" fmla="*/ 98 h 117"/>
                <a:gd name="T64" fmla="*/ 94 w 147"/>
                <a:gd name="T65" fmla="*/ 85 h 117"/>
                <a:gd name="T66" fmla="*/ 105 w 147"/>
                <a:gd name="T67" fmla="*/ 76 h 117"/>
                <a:gd name="T68" fmla="*/ 127 w 147"/>
                <a:gd name="T69" fmla="*/ 67 h 117"/>
                <a:gd name="T70" fmla="*/ 132 w 147"/>
                <a:gd name="T71" fmla="*/ 65 h 117"/>
                <a:gd name="T72" fmla="*/ 140 w 147"/>
                <a:gd name="T73" fmla="*/ 60 h 117"/>
                <a:gd name="T74" fmla="*/ 145 w 147"/>
                <a:gd name="T75" fmla="*/ 61 h 117"/>
                <a:gd name="T76" fmla="*/ 146 w 147"/>
                <a:gd name="T77" fmla="*/ 58 h 117"/>
                <a:gd name="T78" fmla="*/ 144 w 147"/>
                <a:gd name="T79" fmla="*/ 42 h 117"/>
                <a:gd name="T80" fmla="*/ 147 w 147"/>
                <a:gd name="T81" fmla="*/ 30 h 117"/>
                <a:gd name="T82" fmla="*/ 142 w 147"/>
                <a:gd name="T83" fmla="*/ 18 h 117"/>
                <a:gd name="T84" fmla="*/ 139 w 147"/>
                <a:gd name="T85" fmla="*/ 9 h 117"/>
                <a:gd name="T86" fmla="*/ 140 w 147"/>
                <a:gd name="T87" fmla="*/ 3 h 117"/>
                <a:gd name="T88" fmla="*/ 131 w 147"/>
                <a:gd name="T89" fmla="*/ 6 h 117"/>
                <a:gd name="T90" fmla="*/ 118 w 147"/>
                <a:gd name="T91" fmla="*/ 1 h 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7" h="117">
                  <a:moveTo>
                    <a:pt x="16" y="86"/>
                  </a:moveTo>
                  <a:cubicBezTo>
                    <a:pt x="16" y="86"/>
                    <a:pt x="16" y="86"/>
                    <a:pt x="16" y="86"/>
                  </a:cubicBezTo>
                  <a:cubicBezTo>
                    <a:pt x="16" y="86"/>
                    <a:pt x="16" y="86"/>
                    <a:pt x="16" y="86"/>
                  </a:cubicBezTo>
                  <a:moveTo>
                    <a:pt x="117" y="0"/>
                  </a:moveTo>
                  <a:cubicBezTo>
                    <a:pt x="116" y="1"/>
                    <a:pt x="114" y="2"/>
                    <a:pt x="113" y="3"/>
                  </a:cubicBezTo>
                  <a:cubicBezTo>
                    <a:pt x="112" y="3"/>
                    <a:pt x="112" y="3"/>
                    <a:pt x="112" y="3"/>
                  </a:cubicBezTo>
                  <a:cubicBezTo>
                    <a:pt x="112" y="4"/>
                    <a:pt x="111" y="4"/>
                    <a:pt x="110" y="5"/>
                  </a:cubicBezTo>
                  <a:cubicBezTo>
                    <a:pt x="110" y="5"/>
                    <a:pt x="110" y="5"/>
                    <a:pt x="109" y="5"/>
                  </a:cubicBezTo>
                  <a:cubicBezTo>
                    <a:pt x="110" y="7"/>
                    <a:pt x="112" y="10"/>
                    <a:pt x="112" y="12"/>
                  </a:cubicBezTo>
                  <a:cubicBezTo>
                    <a:pt x="112" y="13"/>
                    <a:pt x="111" y="14"/>
                    <a:pt x="111" y="15"/>
                  </a:cubicBezTo>
                  <a:cubicBezTo>
                    <a:pt x="109" y="18"/>
                    <a:pt x="107" y="19"/>
                    <a:pt x="105" y="19"/>
                  </a:cubicBezTo>
                  <a:cubicBezTo>
                    <a:pt x="105" y="23"/>
                    <a:pt x="105" y="23"/>
                    <a:pt x="105" y="23"/>
                  </a:cubicBezTo>
                  <a:cubicBezTo>
                    <a:pt x="103" y="19"/>
                    <a:pt x="103" y="19"/>
                    <a:pt x="103" y="19"/>
                  </a:cubicBezTo>
                  <a:cubicBezTo>
                    <a:pt x="102" y="19"/>
                    <a:pt x="102" y="19"/>
                    <a:pt x="102" y="19"/>
                  </a:cubicBezTo>
                  <a:cubicBezTo>
                    <a:pt x="101" y="19"/>
                    <a:pt x="101" y="19"/>
                    <a:pt x="101" y="19"/>
                  </a:cubicBezTo>
                  <a:cubicBezTo>
                    <a:pt x="101" y="19"/>
                    <a:pt x="100" y="19"/>
                    <a:pt x="100" y="19"/>
                  </a:cubicBezTo>
                  <a:cubicBezTo>
                    <a:pt x="99" y="18"/>
                    <a:pt x="99" y="18"/>
                    <a:pt x="99" y="18"/>
                  </a:cubicBezTo>
                  <a:cubicBezTo>
                    <a:pt x="98" y="18"/>
                    <a:pt x="98" y="18"/>
                    <a:pt x="97" y="17"/>
                  </a:cubicBezTo>
                  <a:cubicBezTo>
                    <a:pt x="97" y="16"/>
                    <a:pt x="96" y="16"/>
                    <a:pt x="96" y="15"/>
                  </a:cubicBezTo>
                  <a:cubicBezTo>
                    <a:pt x="95" y="14"/>
                    <a:pt x="95" y="14"/>
                    <a:pt x="95" y="14"/>
                  </a:cubicBezTo>
                  <a:cubicBezTo>
                    <a:pt x="94" y="14"/>
                    <a:pt x="94" y="14"/>
                    <a:pt x="94" y="14"/>
                  </a:cubicBezTo>
                  <a:cubicBezTo>
                    <a:pt x="94" y="14"/>
                    <a:pt x="94" y="14"/>
                    <a:pt x="94" y="14"/>
                  </a:cubicBezTo>
                  <a:cubicBezTo>
                    <a:pt x="93" y="14"/>
                    <a:pt x="93" y="14"/>
                    <a:pt x="93" y="14"/>
                  </a:cubicBezTo>
                  <a:cubicBezTo>
                    <a:pt x="93" y="14"/>
                    <a:pt x="92" y="14"/>
                    <a:pt x="91" y="14"/>
                  </a:cubicBezTo>
                  <a:cubicBezTo>
                    <a:pt x="91" y="14"/>
                    <a:pt x="91" y="14"/>
                    <a:pt x="91" y="14"/>
                  </a:cubicBezTo>
                  <a:cubicBezTo>
                    <a:pt x="90" y="14"/>
                    <a:pt x="89" y="14"/>
                    <a:pt x="88" y="14"/>
                  </a:cubicBezTo>
                  <a:cubicBezTo>
                    <a:pt x="87" y="14"/>
                    <a:pt x="87" y="14"/>
                    <a:pt x="87" y="14"/>
                  </a:cubicBezTo>
                  <a:cubicBezTo>
                    <a:pt x="87" y="14"/>
                    <a:pt x="86" y="14"/>
                    <a:pt x="86" y="14"/>
                  </a:cubicBezTo>
                  <a:cubicBezTo>
                    <a:pt x="86" y="14"/>
                    <a:pt x="84" y="14"/>
                    <a:pt x="83" y="12"/>
                  </a:cubicBezTo>
                  <a:cubicBezTo>
                    <a:pt x="82" y="11"/>
                    <a:pt x="81" y="10"/>
                    <a:pt x="80" y="9"/>
                  </a:cubicBezTo>
                  <a:cubicBezTo>
                    <a:pt x="80" y="10"/>
                    <a:pt x="79" y="10"/>
                    <a:pt x="77" y="10"/>
                  </a:cubicBezTo>
                  <a:cubicBezTo>
                    <a:pt x="75" y="10"/>
                    <a:pt x="74" y="9"/>
                    <a:pt x="73" y="8"/>
                  </a:cubicBezTo>
                  <a:cubicBezTo>
                    <a:pt x="72" y="8"/>
                    <a:pt x="72" y="7"/>
                    <a:pt x="72" y="6"/>
                  </a:cubicBezTo>
                  <a:cubicBezTo>
                    <a:pt x="71" y="6"/>
                    <a:pt x="71" y="6"/>
                    <a:pt x="71" y="6"/>
                  </a:cubicBezTo>
                  <a:cubicBezTo>
                    <a:pt x="71" y="5"/>
                    <a:pt x="71" y="5"/>
                    <a:pt x="71" y="5"/>
                  </a:cubicBezTo>
                  <a:cubicBezTo>
                    <a:pt x="71" y="5"/>
                    <a:pt x="71" y="5"/>
                    <a:pt x="71" y="5"/>
                  </a:cubicBezTo>
                  <a:cubicBezTo>
                    <a:pt x="71" y="5"/>
                    <a:pt x="70" y="5"/>
                    <a:pt x="70" y="5"/>
                  </a:cubicBezTo>
                  <a:cubicBezTo>
                    <a:pt x="70" y="5"/>
                    <a:pt x="70" y="5"/>
                    <a:pt x="70" y="5"/>
                  </a:cubicBezTo>
                  <a:cubicBezTo>
                    <a:pt x="68" y="5"/>
                    <a:pt x="66" y="5"/>
                    <a:pt x="64" y="6"/>
                  </a:cubicBezTo>
                  <a:cubicBezTo>
                    <a:pt x="63" y="6"/>
                    <a:pt x="62" y="6"/>
                    <a:pt x="62" y="6"/>
                  </a:cubicBezTo>
                  <a:cubicBezTo>
                    <a:pt x="58" y="6"/>
                    <a:pt x="56" y="6"/>
                    <a:pt x="53" y="6"/>
                  </a:cubicBezTo>
                  <a:cubicBezTo>
                    <a:pt x="52" y="6"/>
                    <a:pt x="51" y="6"/>
                    <a:pt x="51" y="6"/>
                  </a:cubicBezTo>
                  <a:cubicBezTo>
                    <a:pt x="49" y="6"/>
                    <a:pt x="47" y="6"/>
                    <a:pt x="45" y="6"/>
                  </a:cubicBezTo>
                  <a:cubicBezTo>
                    <a:pt x="43" y="6"/>
                    <a:pt x="43" y="6"/>
                    <a:pt x="43" y="6"/>
                  </a:cubicBezTo>
                  <a:cubicBezTo>
                    <a:pt x="40" y="6"/>
                    <a:pt x="37" y="6"/>
                    <a:pt x="33" y="6"/>
                  </a:cubicBezTo>
                  <a:cubicBezTo>
                    <a:pt x="32" y="6"/>
                    <a:pt x="32" y="6"/>
                    <a:pt x="31" y="6"/>
                  </a:cubicBezTo>
                  <a:cubicBezTo>
                    <a:pt x="30" y="6"/>
                    <a:pt x="29" y="6"/>
                    <a:pt x="28" y="6"/>
                  </a:cubicBezTo>
                  <a:cubicBezTo>
                    <a:pt x="24" y="6"/>
                    <a:pt x="20" y="8"/>
                    <a:pt x="18" y="10"/>
                  </a:cubicBezTo>
                  <a:cubicBezTo>
                    <a:pt x="17" y="10"/>
                    <a:pt x="17" y="11"/>
                    <a:pt x="17" y="11"/>
                  </a:cubicBezTo>
                  <a:cubicBezTo>
                    <a:pt x="16" y="12"/>
                    <a:pt x="15" y="14"/>
                    <a:pt x="14" y="16"/>
                  </a:cubicBezTo>
                  <a:cubicBezTo>
                    <a:pt x="11" y="20"/>
                    <a:pt x="8" y="24"/>
                    <a:pt x="4" y="28"/>
                  </a:cubicBezTo>
                  <a:cubicBezTo>
                    <a:pt x="3" y="28"/>
                    <a:pt x="3" y="29"/>
                    <a:pt x="2" y="29"/>
                  </a:cubicBezTo>
                  <a:cubicBezTo>
                    <a:pt x="0" y="31"/>
                    <a:pt x="0" y="31"/>
                    <a:pt x="0" y="31"/>
                  </a:cubicBezTo>
                  <a:cubicBezTo>
                    <a:pt x="0" y="31"/>
                    <a:pt x="1" y="34"/>
                    <a:pt x="3" y="38"/>
                  </a:cubicBezTo>
                  <a:cubicBezTo>
                    <a:pt x="4" y="39"/>
                    <a:pt x="4" y="39"/>
                    <a:pt x="4" y="39"/>
                  </a:cubicBezTo>
                  <a:cubicBezTo>
                    <a:pt x="5" y="42"/>
                    <a:pt x="5" y="44"/>
                    <a:pt x="6" y="46"/>
                  </a:cubicBezTo>
                  <a:cubicBezTo>
                    <a:pt x="6" y="48"/>
                    <a:pt x="6" y="48"/>
                    <a:pt x="6" y="48"/>
                  </a:cubicBezTo>
                  <a:cubicBezTo>
                    <a:pt x="6" y="49"/>
                    <a:pt x="6" y="51"/>
                    <a:pt x="6" y="51"/>
                  </a:cubicBezTo>
                  <a:cubicBezTo>
                    <a:pt x="6" y="52"/>
                    <a:pt x="6" y="52"/>
                    <a:pt x="6" y="52"/>
                  </a:cubicBezTo>
                  <a:cubicBezTo>
                    <a:pt x="8" y="54"/>
                    <a:pt x="8" y="54"/>
                    <a:pt x="8" y="54"/>
                  </a:cubicBezTo>
                  <a:cubicBezTo>
                    <a:pt x="10" y="55"/>
                    <a:pt x="11" y="56"/>
                    <a:pt x="12" y="57"/>
                  </a:cubicBezTo>
                  <a:cubicBezTo>
                    <a:pt x="12" y="58"/>
                    <a:pt x="12" y="58"/>
                    <a:pt x="12" y="58"/>
                  </a:cubicBezTo>
                  <a:cubicBezTo>
                    <a:pt x="13" y="59"/>
                    <a:pt x="13" y="59"/>
                    <a:pt x="13" y="60"/>
                  </a:cubicBezTo>
                  <a:cubicBezTo>
                    <a:pt x="13" y="60"/>
                    <a:pt x="13" y="60"/>
                    <a:pt x="13" y="60"/>
                  </a:cubicBezTo>
                  <a:cubicBezTo>
                    <a:pt x="13" y="61"/>
                    <a:pt x="13" y="61"/>
                    <a:pt x="13" y="62"/>
                  </a:cubicBezTo>
                  <a:cubicBezTo>
                    <a:pt x="13" y="62"/>
                    <a:pt x="13" y="63"/>
                    <a:pt x="13" y="64"/>
                  </a:cubicBezTo>
                  <a:cubicBezTo>
                    <a:pt x="13" y="68"/>
                    <a:pt x="14" y="73"/>
                    <a:pt x="15" y="77"/>
                  </a:cubicBezTo>
                  <a:cubicBezTo>
                    <a:pt x="15" y="79"/>
                    <a:pt x="15" y="79"/>
                    <a:pt x="15" y="79"/>
                  </a:cubicBezTo>
                  <a:cubicBezTo>
                    <a:pt x="15" y="79"/>
                    <a:pt x="15" y="79"/>
                    <a:pt x="15" y="79"/>
                  </a:cubicBezTo>
                  <a:cubicBezTo>
                    <a:pt x="16" y="81"/>
                    <a:pt x="18" y="84"/>
                    <a:pt x="16" y="86"/>
                  </a:cubicBezTo>
                  <a:cubicBezTo>
                    <a:pt x="17" y="85"/>
                    <a:pt x="17" y="85"/>
                    <a:pt x="17" y="85"/>
                  </a:cubicBezTo>
                  <a:cubicBezTo>
                    <a:pt x="20" y="85"/>
                    <a:pt x="22" y="92"/>
                    <a:pt x="20" y="94"/>
                  </a:cubicBezTo>
                  <a:cubicBezTo>
                    <a:pt x="16" y="96"/>
                    <a:pt x="20" y="102"/>
                    <a:pt x="21" y="106"/>
                  </a:cubicBezTo>
                  <a:cubicBezTo>
                    <a:pt x="21" y="106"/>
                    <a:pt x="22" y="106"/>
                    <a:pt x="22" y="106"/>
                  </a:cubicBezTo>
                  <a:cubicBezTo>
                    <a:pt x="24" y="106"/>
                    <a:pt x="28" y="105"/>
                    <a:pt x="28" y="105"/>
                  </a:cubicBezTo>
                  <a:cubicBezTo>
                    <a:pt x="30" y="104"/>
                    <a:pt x="31" y="99"/>
                    <a:pt x="32" y="97"/>
                  </a:cubicBezTo>
                  <a:cubicBezTo>
                    <a:pt x="33" y="101"/>
                    <a:pt x="35" y="105"/>
                    <a:pt x="36" y="109"/>
                  </a:cubicBezTo>
                  <a:cubicBezTo>
                    <a:pt x="36" y="110"/>
                    <a:pt x="34" y="110"/>
                    <a:pt x="33" y="111"/>
                  </a:cubicBezTo>
                  <a:cubicBezTo>
                    <a:pt x="31" y="111"/>
                    <a:pt x="32" y="114"/>
                    <a:pt x="32" y="115"/>
                  </a:cubicBezTo>
                  <a:cubicBezTo>
                    <a:pt x="36" y="114"/>
                    <a:pt x="39" y="114"/>
                    <a:pt x="42" y="114"/>
                  </a:cubicBezTo>
                  <a:cubicBezTo>
                    <a:pt x="47" y="114"/>
                    <a:pt x="51" y="115"/>
                    <a:pt x="55" y="117"/>
                  </a:cubicBezTo>
                  <a:cubicBezTo>
                    <a:pt x="55" y="117"/>
                    <a:pt x="55" y="117"/>
                    <a:pt x="55" y="117"/>
                  </a:cubicBezTo>
                  <a:cubicBezTo>
                    <a:pt x="56" y="116"/>
                    <a:pt x="56" y="116"/>
                    <a:pt x="56" y="116"/>
                  </a:cubicBezTo>
                  <a:cubicBezTo>
                    <a:pt x="58" y="115"/>
                    <a:pt x="61" y="113"/>
                    <a:pt x="65" y="112"/>
                  </a:cubicBezTo>
                  <a:cubicBezTo>
                    <a:pt x="69" y="112"/>
                    <a:pt x="71" y="109"/>
                    <a:pt x="71" y="109"/>
                  </a:cubicBezTo>
                  <a:cubicBezTo>
                    <a:pt x="71" y="106"/>
                    <a:pt x="71" y="104"/>
                    <a:pt x="73" y="102"/>
                  </a:cubicBezTo>
                  <a:cubicBezTo>
                    <a:pt x="74" y="101"/>
                    <a:pt x="75" y="101"/>
                    <a:pt x="75" y="101"/>
                  </a:cubicBezTo>
                  <a:cubicBezTo>
                    <a:pt x="76" y="101"/>
                    <a:pt x="76" y="101"/>
                    <a:pt x="77" y="101"/>
                  </a:cubicBezTo>
                  <a:cubicBezTo>
                    <a:pt x="77" y="101"/>
                    <a:pt x="78" y="101"/>
                    <a:pt x="78" y="101"/>
                  </a:cubicBezTo>
                  <a:cubicBezTo>
                    <a:pt x="79" y="101"/>
                    <a:pt x="79" y="101"/>
                    <a:pt x="80" y="101"/>
                  </a:cubicBezTo>
                  <a:cubicBezTo>
                    <a:pt x="82" y="101"/>
                    <a:pt x="85" y="100"/>
                    <a:pt x="86" y="100"/>
                  </a:cubicBezTo>
                  <a:cubicBezTo>
                    <a:pt x="87" y="100"/>
                    <a:pt x="87" y="100"/>
                    <a:pt x="87" y="100"/>
                  </a:cubicBezTo>
                  <a:cubicBezTo>
                    <a:pt x="89" y="100"/>
                    <a:pt x="95" y="99"/>
                    <a:pt x="95" y="99"/>
                  </a:cubicBezTo>
                  <a:cubicBezTo>
                    <a:pt x="95" y="99"/>
                    <a:pt x="95" y="99"/>
                    <a:pt x="95" y="99"/>
                  </a:cubicBezTo>
                  <a:cubicBezTo>
                    <a:pt x="97" y="99"/>
                    <a:pt x="99" y="99"/>
                    <a:pt x="100" y="100"/>
                  </a:cubicBezTo>
                  <a:cubicBezTo>
                    <a:pt x="100" y="99"/>
                    <a:pt x="99" y="99"/>
                    <a:pt x="99" y="98"/>
                  </a:cubicBezTo>
                  <a:cubicBezTo>
                    <a:pt x="96" y="95"/>
                    <a:pt x="95" y="91"/>
                    <a:pt x="95" y="88"/>
                  </a:cubicBezTo>
                  <a:cubicBezTo>
                    <a:pt x="95" y="87"/>
                    <a:pt x="95" y="87"/>
                    <a:pt x="95" y="87"/>
                  </a:cubicBezTo>
                  <a:cubicBezTo>
                    <a:pt x="95" y="87"/>
                    <a:pt x="95" y="86"/>
                    <a:pt x="94" y="85"/>
                  </a:cubicBezTo>
                  <a:cubicBezTo>
                    <a:pt x="94" y="82"/>
                    <a:pt x="99" y="78"/>
                    <a:pt x="101" y="77"/>
                  </a:cubicBezTo>
                  <a:cubicBezTo>
                    <a:pt x="102" y="76"/>
                    <a:pt x="103" y="76"/>
                    <a:pt x="104" y="76"/>
                  </a:cubicBezTo>
                  <a:cubicBezTo>
                    <a:pt x="104" y="76"/>
                    <a:pt x="105" y="76"/>
                    <a:pt x="105" y="76"/>
                  </a:cubicBezTo>
                  <a:cubicBezTo>
                    <a:pt x="112" y="78"/>
                    <a:pt x="112" y="78"/>
                    <a:pt x="112" y="78"/>
                  </a:cubicBezTo>
                  <a:cubicBezTo>
                    <a:pt x="112" y="75"/>
                    <a:pt x="112" y="71"/>
                    <a:pt x="115" y="70"/>
                  </a:cubicBezTo>
                  <a:cubicBezTo>
                    <a:pt x="119" y="69"/>
                    <a:pt x="123" y="68"/>
                    <a:pt x="127" y="67"/>
                  </a:cubicBezTo>
                  <a:cubicBezTo>
                    <a:pt x="128" y="67"/>
                    <a:pt x="128" y="67"/>
                    <a:pt x="128" y="67"/>
                  </a:cubicBezTo>
                  <a:cubicBezTo>
                    <a:pt x="130" y="66"/>
                    <a:pt x="131" y="66"/>
                    <a:pt x="131" y="66"/>
                  </a:cubicBezTo>
                  <a:cubicBezTo>
                    <a:pt x="132" y="65"/>
                    <a:pt x="132" y="65"/>
                    <a:pt x="132" y="65"/>
                  </a:cubicBezTo>
                  <a:cubicBezTo>
                    <a:pt x="133" y="64"/>
                    <a:pt x="134" y="63"/>
                    <a:pt x="135" y="62"/>
                  </a:cubicBezTo>
                  <a:cubicBezTo>
                    <a:pt x="136" y="61"/>
                    <a:pt x="137" y="61"/>
                    <a:pt x="137" y="61"/>
                  </a:cubicBezTo>
                  <a:cubicBezTo>
                    <a:pt x="138" y="60"/>
                    <a:pt x="139" y="60"/>
                    <a:pt x="140" y="60"/>
                  </a:cubicBezTo>
                  <a:cubicBezTo>
                    <a:pt x="141" y="60"/>
                    <a:pt x="142" y="61"/>
                    <a:pt x="143" y="61"/>
                  </a:cubicBezTo>
                  <a:cubicBezTo>
                    <a:pt x="144" y="61"/>
                    <a:pt x="144" y="61"/>
                    <a:pt x="145" y="61"/>
                  </a:cubicBezTo>
                  <a:cubicBezTo>
                    <a:pt x="145" y="61"/>
                    <a:pt x="145" y="61"/>
                    <a:pt x="145" y="61"/>
                  </a:cubicBezTo>
                  <a:cubicBezTo>
                    <a:pt x="145" y="61"/>
                    <a:pt x="145" y="61"/>
                    <a:pt x="145" y="59"/>
                  </a:cubicBezTo>
                  <a:cubicBezTo>
                    <a:pt x="146" y="59"/>
                    <a:pt x="146" y="59"/>
                    <a:pt x="146" y="59"/>
                  </a:cubicBezTo>
                  <a:cubicBezTo>
                    <a:pt x="146" y="58"/>
                    <a:pt x="146" y="58"/>
                    <a:pt x="146" y="58"/>
                  </a:cubicBezTo>
                  <a:cubicBezTo>
                    <a:pt x="146" y="57"/>
                    <a:pt x="146" y="57"/>
                    <a:pt x="146" y="57"/>
                  </a:cubicBezTo>
                  <a:cubicBezTo>
                    <a:pt x="145" y="55"/>
                    <a:pt x="145" y="53"/>
                    <a:pt x="145" y="51"/>
                  </a:cubicBezTo>
                  <a:cubicBezTo>
                    <a:pt x="144" y="47"/>
                    <a:pt x="144" y="45"/>
                    <a:pt x="144" y="42"/>
                  </a:cubicBezTo>
                  <a:cubicBezTo>
                    <a:pt x="145" y="40"/>
                    <a:pt x="145" y="40"/>
                    <a:pt x="145" y="40"/>
                  </a:cubicBezTo>
                  <a:cubicBezTo>
                    <a:pt x="145" y="38"/>
                    <a:pt x="146" y="35"/>
                    <a:pt x="146" y="33"/>
                  </a:cubicBezTo>
                  <a:cubicBezTo>
                    <a:pt x="147" y="30"/>
                    <a:pt x="147" y="30"/>
                    <a:pt x="147" y="30"/>
                  </a:cubicBezTo>
                  <a:cubicBezTo>
                    <a:pt x="147" y="30"/>
                    <a:pt x="146" y="27"/>
                    <a:pt x="145" y="26"/>
                  </a:cubicBezTo>
                  <a:cubicBezTo>
                    <a:pt x="144" y="25"/>
                    <a:pt x="144" y="25"/>
                    <a:pt x="144" y="24"/>
                  </a:cubicBezTo>
                  <a:cubicBezTo>
                    <a:pt x="143" y="22"/>
                    <a:pt x="142" y="20"/>
                    <a:pt x="142" y="18"/>
                  </a:cubicBezTo>
                  <a:cubicBezTo>
                    <a:pt x="142" y="17"/>
                    <a:pt x="142" y="17"/>
                    <a:pt x="142" y="17"/>
                  </a:cubicBezTo>
                  <a:cubicBezTo>
                    <a:pt x="142" y="17"/>
                    <a:pt x="142" y="17"/>
                    <a:pt x="142" y="17"/>
                  </a:cubicBezTo>
                  <a:cubicBezTo>
                    <a:pt x="140" y="14"/>
                    <a:pt x="138" y="11"/>
                    <a:pt x="139" y="9"/>
                  </a:cubicBezTo>
                  <a:cubicBezTo>
                    <a:pt x="140" y="4"/>
                    <a:pt x="140" y="4"/>
                    <a:pt x="140" y="4"/>
                  </a:cubicBezTo>
                  <a:cubicBezTo>
                    <a:pt x="141" y="3"/>
                    <a:pt x="141" y="2"/>
                    <a:pt x="142" y="1"/>
                  </a:cubicBezTo>
                  <a:cubicBezTo>
                    <a:pt x="141" y="2"/>
                    <a:pt x="140" y="2"/>
                    <a:pt x="140" y="3"/>
                  </a:cubicBezTo>
                  <a:cubicBezTo>
                    <a:pt x="138" y="4"/>
                    <a:pt x="137" y="4"/>
                    <a:pt x="136" y="5"/>
                  </a:cubicBezTo>
                  <a:cubicBezTo>
                    <a:pt x="135" y="6"/>
                    <a:pt x="135" y="6"/>
                    <a:pt x="135" y="6"/>
                  </a:cubicBezTo>
                  <a:cubicBezTo>
                    <a:pt x="134" y="6"/>
                    <a:pt x="132" y="6"/>
                    <a:pt x="131" y="6"/>
                  </a:cubicBezTo>
                  <a:cubicBezTo>
                    <a:pt x="130" y="6"/>
                    <a:pt x="129" y="6"/>
                    <a:pt x="127" y="6"/>
                  </a:cubicBezTo>
                  <a:cubicBezTo>
                    <a:pt x="119" y="2"/>
                    <a:pt x="119" y="2"/>
                    <a:pt x="119" y="2"/>
                  </a:cubicBezTo>
                  <a:cubicBezTo>
                    <a:pt x="119" y="2"/>
                    <a:pt x="118" y="2"/>
                    <a:pt x="118" y="1"/>
                  </a:cubicBezTo>
                  <a:cubicBezTo>
                    <a:pt x="117" y="0"/>
                    <a:pt x="117" y="0"/>
                    <a:pt x="1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1" name="Freeform 1528"/>
            <p:cNvSpPr/>
            <p:nvPr/>
          </p:nvSpPr>
          <p:spPr bwMode="auto">
            <a:xfrm>
              <a:off x="2261" y="1612"/>
              <a:ext cx="158" cy="76"/>
            </a:xfrm>
            <a:custGeom>
              <a:gdLst>
                <a:gd name="T0" fmla="*/ 64 w 67"/>
                <a:gd name="T1" fmla="*/ 0 h 32"/>
                <a:gd name="T2" fmla="*/ 22 w 67"/>
                <a:gd name="T3" fmla="*/ 6 h 32"/>
                <a:gd name="T4" fmla="*/ 8 w 67"/>
                <a:gd name="T5" fmla="*/ 8 h 32"/>
                <a:gd name="T6" fmla="*/ 0 w 67"/>
                <a:gd name="T7" fmla="*/ 15 h 32"/>
                <a:gd name="T8" fmla="*/ 1 w 67"/>
                <a:gd name="T9" fmla="*/ 15 h 32"/>
                <a:gd name="T10" fmla="*/ 1 w 67"/>
                <a:gd name="T11" fmla="*/ 15 h 32"/>
                <a:gd name="T12" fmla="*/ 5 w 67"/>
                <a:gd name="T13" fmla="*/ 16 h 32"/>
                <a:gd name="T14" fmla="*/ 5 w 67"/>
                <a:gd name="T15" fmla="*/ 17 h 32"/>
                <a:gd name="T16" fmla="*/ 6 w 67"/>
                <a:gd name="T17" fmla="*/ 17 h 32"/>
                <a:gd name="T18" fmla="*/ 7 w 67"/>
                <a:gd name="T19" fmla="*/ 19 h 32"/>
                <a:gd name="T20" fmla="*/ 8 w 67"/>
                <a:gd name="T21" fmla="*/ 19 h 32"/>
                <a:gd name="T22" fmla="*/ 8 w 67"/>
                <a:gd name="T23" fmla="*/ 20 h 32"/>
                <a:gd name="T24" fmla="*/ 8 w 67"/>
                <a:gd name="T25" fmla="*/ 23 h 32"/>
                <a:gd name="T26" fmla="*/ 8 w 67"/>
                <a:gd name="T27" fmla="*/ 24 h 32"/>
                <a:gd name="T28" fmla="*/ 7 w 67"/>
                <a:gd name="T29" fmla="*/ 26 h 32"/>
                <a:gd name="T30" fmla="*/ 7 w 67"/>
                <a:gd name="T31" fmla="*/ 26 h 32"/>
                <a:gd name="T32" fmla="*/ 6 w 67"/>
                <a:gd name="T33" fmla="*/ 30 h 32"/>
                <a:gd name="T34" fmla="*/ 6 w 67"/>
                <a:gd name="T35" fmla="*/ 32 h 32"/>
                <a:gd name="T36" fmla="*/ 40 w 67"/>
                <a:gd name="T37" fmla="*/ 18 h 32"/>
                <a:gd name="T38" fmla="*/ 57 w 67"/>
                <a:gd name="T39" fmla="*/ 11 h 32"/>
                <a:gd name="T40" fmla="*/ 65 w 67"/>
                <a:gd name="T41" fmla="*/ 4 h 32"/>
                <a:gd name="T42" fmla="*/ 64 w 67"/>
                <a:gd name="T43" fmla="*/ 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32">
                  <a:moveTo>
                    <a:pt x="64" y="0"/>
                  </a:moveTo>
                  <a:cubicBezTo>
                    <a:pt x="50" y="2"/>
                    <a:pt x="36" y="4"/>
                    <a:pt x="22" y="6"/>
                  </a:cubicBezTo>
                  <a:cubicBezTo>
                    <a:pt x="17" y="6"/>
                    <a:pt x="13" y="7"/>
                    <a:pt x="8" y="8"/>
                  </a:cubicBezTo>
                  <a:cubicBezTo>
                    <a:pt x="4" y="9"/>
                    <a:pt x="2" y="12"/>
                    <a:pt x="0" y="15"/>
                  </a:cubicBezTo>
                  <a:cubicBezTo>
                    <a:pt x="1" y="15"/>
                    <a:pt x="1" y="15"/>
                    <a:pt x="1" y="15"/>
                  </a:cubicBezTo>
                  <a:cubicBezTo>
                    <a:pt x="1" y="15"/>
                    <a:pt x="1" y="15"/>
                    <a:pt x="1" y="15"/>
                  </a:cubicBezTo>
                  <a:cubicBezTo>
                    <a:pt x="3" y="16"/>
                    <a:pt x="4" y="16"/>
                    <a:pt x="5" y="16"/>
                  </a:cubicBezTo>
                  <a:cubicBezTo>
                    <a:pt x="5" y="17"/>
                    <a:pt x="5" y="17"/>
                    <a:pt x="5" y="17"/>
                  </a:cubicBezTo>
                  <a:cubicBezTo>
                    <a:pt x="6" y="17"/>
                    <a:pt x="6" y="17"/>
                    <a:pt x="6" y="17"/>
                  </a:cubicBezTo>
                  <a:cubicBezTo>
                    <a:pt x="6" y="17"/>
                    <a:pt x="7" y="18"/>
                    <a:pt x="7" y="19"/>
                  </a:cubicBezTo>
                  <a:cubicBezTo>
                    <a:pt x="8" y="19"/>
                    <a:pt x="8" y="19"/>
                    <a:pt x="8" y="19"/>
                  </a:cubicBezTo>
                  <a:cubicBezTo>
                    <a:pt x="8" y="20"/>
                    <a:pt x="8" y="20"/>
                    <a:pt x="8" y="20"/>
                  </a:cubicBezTo>
                  <a:cubicBezTo>
                    <a:pt x="8" y="21"/>
                    <a:pt x="8" y="22"/>
                    <a:pt x="8" y="23"/>
                  </a:cubicBezTo>
                  <a:cubicBezTo>
                    <a:pt x="8" y="24"/>
                    <a:pt x="8" y="24"/>
                    <a:pt x="8" y="24"/>
                  </a:cubicBezTo>
                  <a:cubicBezTo>
                    <a:pt x="8" y="24"/>
                    <a:pt x="8" y="25"/>
                    <a:pt x="7" y="26"/>
                  </a:cubicBezTo>
                  <a:cubicBezTo>
                    <a:pt x="7" y="26"/>
                    <a:pt x="7" y="26"/>
                    <a:pt x="7" y="26"/>
                  </a:cubicBezTo>
                  <a:cubicBezTo>
                    <a:pt x="7" y="27"/>
                    <a:pt x="6" y="29"/>
                    <a:pt x="6" y="30"/>
                  </a:cubicBezTo>
                  <a:cubicBezTo>
                    <a:pt x="6" y="32"/>
                    <a:pt x="6" y="32"/>
                    <a:pt x="6" y="32"/>
                  </a:cubicBezTo>
                  <a:cubicBezTo>
                    <a:pt x="17" y="27"/>
                    <a:pt x="29" y="21"/>
                    <a:pt x="40" y="18"/>
                  </a:cubicBezTo>
                  <a:cubicBezTo>
                    <a:pt x="46" y="17"/>
                    <a:pt x="51" y="13"/>
                    <a:pt x="57" y="11"/>
                  </a:cubicBezTo>
                  <a:cubicBezTo>
                    <a:pt x="59" y="10"/>
                    <a:pt x="64" y="7"/>
                    <a:pt x="65" y="4"/>
                  </a:cubicBezTo>
                  <a:cubicBezTo>
                    <a:pt x="66" y="2"/>
                    <a:pt x="67" y="2"/>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Freeform 1529"/>
            <p:cNvSpPr/>
            <p:nvPr/>
          </p:nvSpPr>
          <p:spPr bwMode="auto">
            <a:xfrm>
              <a:off x="2154" y="1657"/>
              <a:ext cx="111" cy="97"/>
            </a:xfrm>
            <a:custGeom>
              <a:gdLst>
                <a:gd name="T0" fmla="*/ 42 w 47"/>
                <a:gd name="T1" fmla="*/ 0 h 41"/>
                <a:gd name="T2" fmla="*/ 33 w 47"/>
                <a:gd name="T3" fmla="*/ 4 h 41"/>
                <a:gd name="T4" fmla="*/ 34 w 47"/>
                <a:gd name="T5" fmla="*/ 4 h 41"/>
                <a:gd name="T6" fmla="*/ 33 w 47"/>
                <a:gd name="T7" fmla="*/ 5 h 41"/>
                <a:gd name="T8" fmla="*/ 31 w 47"/>
                <a:gd name="T9" fmla="*/ 12 h 41"/>
                <a:gd name="T10" fmla="*/ 28 w 47"/>
                <a:gd name="T11" fmla="*/ 17 h 41"/>
                <a:gd name="T12" fmla="*/ 27 w 47"/>
                <a:gd name="T13" fmla="*/ 19 h 41"/>
                <a:gd name="T14" fmla="*/ 10 w 47"/>
                <a:gd name="T15" fmla="*/ 16 h 41"/>
                <a:gd name="T16" fmla="*/ 10 w 47"/>
                <a:gd name="T17" fmla="*/ 16 h 41"/>
                <a:gd name="T18" fmla="*/ 7 w 47"/>
                <a:gd name="T19" fmla="*/ 19 h 41"/>
                <a:gd name="T20" fmla="*/ 6 w 47"/>
                <a:gd name="T21" fmla="*/ 26 h 41"/>
                <a:gd name="T22" fmla="*/ 7 w 47"/>
                <a:gd name="T23" fmla="*/ 31 h 41"/>
                <a:gd name="T24" fmla="*/ 9 w 47"/>
                <a:gd name="T25" fmla="*/ 32 h 41"/>
                <a:gd name="T26" fmla="*/ 0 w 47"/>
                <a:gd name="T27" fmla="*/ 41 h 41"/>
                <a:gd name="T28" fmla="*/ 18 w 47"/>
                <a:gd name="T29" fmla="*/ 36 h 41"/>
                <a:gd name="T30" fmla="*/ 29 w 47"/>
                <a:gd name="T31" fmla="*/ 34 h 41"/>
                <a:gd name="T32" fmla="*/ 46 w 47"/>
                <a:gd name="T33" fmla="*/ 16 h 41"/>
                <a:gd name="T34" fmla="*/ 44 w 47"/>
                <a:gd name="T35" fmla="*/ 15 h 41"/>
                <a:gd name="T36" fmla="*/ 44 w 47"/>
                <a:gd name="T37" fmla="*/ 14 h 41"/>
                <a:gd name="T38" fmla="*/ 44 w 47"/>
                <a:gd name="T39" fmla="*/ 13 h 41"/>
                <a:gd name="T40" fmla="*/ 44 w 47"/>
                <a:gd name="T41" fmla="*/ 11 h 41"/>
                <a:gd name="T42" fmla="*/ 46 w 47"/>
                <a:gd name="T43" fmla="*/ 5 h 41"/>
                <a:gd name="T44" fmla="*/ 46 w 47"/>
                <a:gd name="T45" fmla="*/ 4 h 41"/>
                <a:gd name="T46" fmla="*/ 46 w 47"/>
                <a:gd name="T47" fmla="*/ 4 h 41"/>
                <a:gd name="T48" fmla="*/ 47 w 47"/>
                <a:gd name="T49" fmla="*/ 3 h 41"/>
                <a:gd name="T50" fmla="*/ 47 w 47"/>
                <a:gd name="T51" fmla="*/ 3 h 41"/>
                <a:gd name="T52" fmla="*/ 45 w 47"/>
                <a:gd name="T53" fmla="*/ 3 h 41"/>
                <a:gd name="T54" fmla="*/ 44 w 47"/>
                <a:gd name="T55" fmla="*/ 2 h 41"/>
                <a:gd name="T56" fmla="*/ 43 w 47"/>
                <a:gd name="T57" fmla="*/ 2 h 41"/>
                <a:gd name="T58" fmla="*/ 41 w 47"/>
                <a:gd name="T59" fmla="*/ 1 h 41"/>
                <a:gd name="T60" fmla="*/ 42 w 47"/>
                <a:gd name="T61" fmla="*/ 0 h 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41">
                  <a:moveTo>
                    <a:pt x="42" y="0"/>
                  </a:moveTo>
                  <a:cubicBezTo>
                    <a:pt x="39" y="1"/>
                    <a:pt x="36" y="3"/>
                    <a:pt x="33" y="4"/>
                  </a:cubicBezTo>
                  <a:cubicBezTo>
                    <a:pt x="34" y="4"/>
                    <a:pt x="34" y="4"/>
                    <a:pt x="34" y="4"/>
                  </a:cubicBezTo>
                  <a:cubicBezTo>
                    <a:pt x="33" y="5"/>
                    <a:pt x="33" y="5"/>
                    <a:pt x="33" y="5"/>
                  </a:cubicBezTo>
                  <a:cubicBezTo>
                    <a:pt x="33" y="6"/>
                    <a:pt x="32" y="9"/>
                    <a:pt x="31" y="12"/>
                  </a:cubicBezTo>
                  <a:cubicBezTo>
                    <a:pt x="30" y="13"/>
                    <a:pt x="28" y="17"/>
                    <a:pt x="28" y="17"/>
                  </a:cubicBezTo>
                  <a:cubicBezTo>
                    <a:pt x="27" y="19"/>
                    <a:pt x="27" y="19"/>
                    <a:pt x="27" y="19"/>
                  </a:cubicBezTo>
                  <a:cubicBezTo>
                    <a:pt x="10" y="16"/>
                    <a:pt x="10" y="16"/>
                    <a:pt x="10" y="16"/>
                  </a:cubicBezTo>
                  <a:cubicBezTo>
                    <a:pt x="10" y="16"/>
                    <a:pt x="10" y="16"/>
                    <a:pt x="10" y="16"/>
                  </a:cubicBezTo>
                  <a:cubicBezTo>
                    <a:pt x="9" y="16"/>
                    <a:pt x="7" y="18"/>
                    <a:pt x="7" y="19"/>
                  </a:cubicBezTo>
                  <a:cubicBezTo>
                    <a:pt x="6" y="21"/>
                    <a:pt x="6" y="24"/>
                    <a:pt x="6" y="26"/>
                  </a:cubicBezTo>
                  <a:cubicBezTo>
                    <a:pt x="6" y="28"/>
                    <a:pt x="7" y="30"/>
                    <a:pt x="7" y="31"/>
                  </a:cubicBezTo>
                  <a:cubicBezTo>
                    <a:pt x="8" y="32"/>
                    <a:pt x="10" y="31"/>
                    <a:pt x="9" y="32"/>
                  </a:cubicBezTo>
                  <a:cubicBezTo>
                    <a:pt x="6" y="35"/>
                    <a:pt x="3" y="38"/>
                    <a:pt x="0" y="41"/>
                  </a:cubicBezTo>
                  <a:cubicBezTo>
                    <a:pt x="6" y="39"/>
                    <a:pt x="12" y="38"/>
                    <a:pt x="18" y="36"/>
                  </a:cubicBezTo>
                  <a:cubicBezTo>
                    <a:pt x="21" y="35"/>
                    <a:pt x="27" y="36"/>
                    <a:pt x="29" y="34"/>
                  </a:cubicBezTo>
                  <a:cubicBezTo>
                    <a:pt x="33" y="30"/>
                    <a:pt x="43" y="23"/>
                    <a:pt x="46" y="16"/>
                  </a:cubicBezTo>
                  <a:cubicBezTo>
                    <a:pt x="44" y="15"/>
                    <a:pt x="44" y="15"/>
                    <a:pt x="44" y="15"/>
                  </a:cubicBezTo>
                  <a:cubicBezTo>
                    <a:pt x="44" y="14"/>
                    <a:pt x="44" y="14"/>
                    <a:pt x="44" y="14"/>
                  </a:cubicBezTo>
                  <a:cubicBezTo>
                    <a:pt x="44" y="14"/>
                    <a:pt x="44" y="13"/>
                    <a:pt x="44" y="13"/>
                  </a:cubicBezTo>
                  <a:cubicBezTo>
                    <a:pt x="44" y="11"/>
                    <a:pt x="44" y="11"/>
                    <a:pt x="44" y="11"/>
                  </a:cubicBezTo>
                  <a:cubicBezTo>
                    <a:pt x="45" y="9"/>
                    <a:pt x="45" y="7"/>
                    <a:pt x="46" y="5"/>
                  </a:cubicBezTo>
                  <a:cubicBezTo>
                    <a:pt x="46" y="4"/>
                    <a:pt x="46" y="4"/>
                    <a:pt x="46" y="4"/>
                  </a:cubicBezTo>
                  <a:cubicBezTo>
                    <a:pt x="46" y="4"/>
                    <a:pt x="46" y="4"/>
                    <a:pt x="46" y="4"/>
                  </a:cubicBezTo>
                  <a:cubicBezTo>
                    <a:pt x="47" y="3"/>
                    <a:pt x="47" y="3"/>
                    <a:pt x="47" y="3"/>
                  </a:cubicBezTo>
                  <a:cubicBezTo>
                    <a:pt x="47" y="3"/>
                    <a:pt x="47" y="3"/>
                    <a:pt x="47" y="3"/>
                  </a:cubicBezTo>
                  <a:cubicBezTo>
                    <a:pt x="47" y="3"/>
                    <a:pt x="46" y="3"/>
                    <a:pt x="45" y="3"/>
                  </a:cubicBezTo>
                  <a:cubicBezTo>
                    <a:pt x="44" y="2"/>
                    <a:pt x="44" y="2"/>
                    <a:pt x="44" y="2"/>
                  </a:cubicBezTo>
                  <a:cubicBezTo>
                    <a:pt x="44" y="2"/>
                    <a:pt x="43" y="2"/>
                    <a:pt x="43" y="2"/>
                  </a:cubicBezTo>
                  <a:cubicBezTo>
                    <a:pt x="41" y="1"/>
                    <a:pt x="41" y="1"/>
                    <a:pt x="41" y="1"/>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3" name="Freeform 1530"/>
            <p:cNvSpPr>
              <a:spLocks noEditPoints="1"/>
            </p:cNvSpPr>
            <p:nvPr/>
          </p:nvSpPr>
          <p:spPr bwMode="auto">
            <a:xfrm>
              <a:off x="557" y="594"/>
              <a:ext cx="288" cy="359"/>
            </a:xfrm>
            <a:custGeom>
              <a:gdLst>
                <a:gd name="T0" fmla="*/ 38 w 122"/>
                <a:gd name="T1" fmla="*/ 21 h 152"/>
                <a:gd name="T2" fmla="*/ 3 w 122"/>
                <a:gd name="T3" fmla="*/ 0 h 152"/>
                <a:gd name="T4" fmla="*/ 0 w 122"/>
                <a:gd name="T5" fmla="*/ 5 h 152"/>
                <a:gd name="T6" fmla="*/ 5 w 122"/>
                <a:gd name="T7" fmla="*/ 15 h 152"/>
                <a:gd name="T8" fmla="*/ 7 w 122"/>
                <a:gd name="T9" fmla="*/ 39 h 152"/>
                <a:gd name="T10" fmla="*/ 12 w 122"/>
                <a:gd name="T11" fmla="*/ 61 h 152"/>
                <a:gd name="T12" fmla="*/ 15 w 122"/>
                <a:gd name="T13" fmla="*/ 75 h 152"/>
                <a:gd name="T14" fmla="*/ 26 w 122"/>
                <a:gd name="T15" fmla="*/ 87 h 152"/>
                <a:gd name="T16" fmla="*/ 35 w 122"/>
                <a:gd name="T17" fmla="*/ 107 h 152"/>
                <a:gd name="T18" fmla="*/ 55 w 122"/>
                <a:gd name="T19" fmla="*/ 121 h 152"/>
                <a:gd name="T20" fmla="*/ 85 w 122"/>
                <a:gd name="T21" fmla="*/ 140 h 152"/>
                <a:gd name="T22" fmla="*/ 104 w 122"/>
                <a:gd name="T23" fmla="*/ 147 h 152"/>
                <a:gd name="T24" fmla="*/ 108 w 122"/>
                <a:gd name="T25" fmla="*/ 147 h 152"/>
                <a:gd name="T26" fmla="*/ 111 w 122"/>
                <a:gd name="T27" fmla="*/ 142 h 152"/>
                <a:gd name="T28" fmla="*/ 116 w 122"/>
                <a:gd name="T29" fmla="*/ 150 h 152"/>
                <a:gd name="T30" fmla="*/ 114 w 122"/>
                <a:gd name="T31" fmla="*/ 133 h 152"/>
                <a:gd name="T32" fmla="*/ 95 w 122"/>
                <a:gd name="T33" fmla="*/ 102 h 152"/>
                <a:gd name="T34" fmla="*/ 95 w 122"/>
                <a:gd name="T35" fmla="*/ 64 h 152"/>
                <a:gd name="T36" fmla="*/ 73 w 122"/>
                <a:gd name="T37" fmla="*/ 22 h 152"/>
                <a:gd name="T38" fmla="*/ 59 w 122"/>
                <a:gd name="T39" fmla="*/ 9 h 152"/>
                <a:gd name="T40" fmla="*/ 58 w 122"/>
                <a:gd name="T41" fmla="*/ 12 h 152"/>
                <a:gd name="T42" fmla="*/ 57 w 122"/>
                <a:gd name="T43" fmla="*/ 15 h 152"/>
                <a:gd name="T44" fmla="*/ 45 w 122"/>
                <a:gd name="T45" fmla="*/ 25 h 152"/>
                <a:gd name="T46" fmla="*/ 38 w 122"/>
                <a:gd name="T47" fmla="*/ 21 h 152"/>
                <a:gd name="T48" fmla="*/ 35 w 122"/>
                <a:gd name="T49" fmla="*/ 24 h 152"/>
                <a:gd name="T50" fmla="*/ 33 w 122"/>
                <a:gd name="T51" fmla="*/ 26 h 152"/>
                <a:gd name="T52" fmla="*/ 31 w 122"/>
                <a:gd name="T53" fmla="*/ 27 h 152"/>
                <a:gd name="T54" fmla="*/ 27 w 122"/>
                <a:gd name="T55" fmla="*/ 28 h 152"/>
                <a:gd name="T56" fmla="*/ 23 w 122"/>
                <a:gd name="T57" fmla="*/ 14 h 152"/>
                <a:gd name="T58" fmla="*/ 22 w 122"/>
                <a:gd name="T59" fmla="*/ 11 h 152"/>
                <a:gd name="T60" fmla="*/ 16 w 122"/>
                <a:gd name="T61" fmla="*/ 7 h 152"/>
                <a:gd name="T62" fmla="*/ 16 w 122"/>
                <a:gd name="T63" fmla="*/ 3 h 152"/>
                <a:gd name="T64" fmla="*/ 14 w 122"/>
                <a:gd name="T65" fmla="*/ 3 h 152"/>
                <a:gd name="T66" fmla="*/ 10 w 122"/>
                <a:gd name="T67" fmla="*/ 2 h 1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152">
                  <a:moveTo>
                    <a:pt x="38" y="21"/>
                  </a:moveTo>
                  <a:cubicBezTo>
                    <a:pt x="38" y="21"/>
                    <a:pt x="38" y="21"/>
                    <a:pt x="38" y="21"/>
                  </a:cubicBezTo>
                  <a:cubicBezTo>
                    <a:pt x="38" y="21"/>
                    <a:pt x="38" y="21"/>
                    <a:pt x="38" y="21"/>
                  </a:cubicBezTo>
                  <a:moveTo>
                    <a:pt x="3" y="0"/>
                  </a:moveTo>
                  <a:cubicBezTo>
                    <a:pt x="2" y="5"/>
                    <a:pt x="2" y="5"/>
                    <a:pt x="2" y="5"/>
                  </a:cubicBezTo>
                  <a:cubicBezTo>
                    <a:pt x="0" y="5"/>
                    <a:pt x="0" y="5"/>
                    <a:pt x="0" y="5"/>
                  </a:cubicBezTo>
                  <a:cubicBezTo>
                    <a:pt x="0" y="5"/>
                    <a:pt x="0" y="5"/>
                    <a:pt x="0" y="5"/>
                  </a:cubicBezTo>
                  <a:cubicBezTo>
                    <a:pt x="1" y="9"/>
                    <a:pt x="4" y="11"/>
                    <a:pt x="5" y="15"/>
                  </a:cubicBezTo>
                  <a:cubicBezTo>
                    <a:pt x="6" y="18"/>
                    <a:pt x="6" y="23"/>
                    <a:pt x="5" y="26"/>
                  </a:cubicBezTo>
                  <a:cubicBezTo>
                    <a:pt x="5" y="30"/>
                    <a:pt x="6" y="35"/>
                    <a:pt x="7" y="39"/>
                  </a:cubicBezTo>
                  <a:cubicBezTo>
                    <a:pt x="7" y="43"/>
                    <a:pt x="9" y="46"/>
                    <a:pt x="11" y="50"/>
                  </a:cubicBezTo>
                  <a:cubicBezTo>
                    <a:pt x="13" y="55"/>
                    <a:pt x="13" y="56"/>
                    <a:pt x="12" y="61"/>
                  </a:cubicBezTo>
                  <a:cubicBezTo>
                    <a:pt x="11" y="65"/>
                    <a:pt x="15" y="68"/>
                    <a:pt x="19" y="72"/>
                  </a:cubicBezTo>
                  <a:cubicBezTo>
                    <a:pt x="17" y="72"/>
                    <a:pt x="14" y="73"/>
                    <a:pt x="15" y="75"/>
                  </a:cubicBezTo>
                  <a:cubicBezTo>
                    <a:pt x="16" y="76"/>
                    <a:pt x="19" y="77"/>
                    <a:pt x="21" y="78"/>
                  </a:cubicBezTo>
                  <a:cubicBezTo>
                    <a:pt x="23" y="81"/>
                    <a:pt x="25" y="84"/>
                    <a:pt x="26" y="87"/>
                  </a:cubicBezTo>
                  <a:cubicBezTo>
                    <a:pt x="29" y="91"/>
                    <a:pt x="33" y="94"/>
                    <a:pt x="33" y="100"/>
                  </a:cubicBezTo>
                  <a:cubicBezTo>
                    <a:pt x="33" y="103"/>
                    <a:pt x="32" y="104"/>
                    <a:pt x="35" y="107"/>
                  </a:cubicBezTo>
                  <a:cubicBezTo>
                    <a:pt x="37" y="108"/>
                    <a:pt x="39" y="111"/>
                    <a:pt x="42" y="112"/>
                  </a:cubicBezTo>
                  <a:cubicBezTo>
                    <a:pt x="46" y="115"/>
                    <a:pt x="51" y="118"/>
                    <a:pt x="55" y="121"/>
                  </a:cubicBezTo>
                  <a:cubicBezTo>
                    <a:pt x="60" y="124"/>
                    <a:pt x="65" y="127"/>
                    <a:pt x="70" y="130"/>
                  </a:cubicBezTo>
                  <a:cubicBezTo>
                    <a:pt x="75" y="134"/>
                    <a:pt x="80" y="137"/>
                    <a:pt x="85" y="140"/>
                  </a:cubicBezTo>
                  <a:cubicBezTo>
                    <a:pt x="90" y="143"/>
                    <a:pt x="93" y="148"/>
                    <a:pt x="97" y="152"/>
                  </a:cubicBezTo>
                  <a:cubicBezTo>
                    <a:pt x="98" y="150"/>
                    <a:pt x="102" y="147"/>
                    <a:pt x="104" y="147"/>
                  </a:cubicBezTo>
                  <a:cubicBezTo>
                    <a:pt x="105" y="146"/>
                    <a:pt x="105" y="146"/>
                    <a:pt x="106" y="146"/>
                  </a:cubicBezTo>
                  <a:cubicBezTo>
                    <a:pt x="106" y="146"/>
                    <a:pt x="107" y="147"/>
                    <a:pt x="108" y="147"/>
                  </a:cubicBezTo>
                  <a:cubicBezTo>
                    <a:pt x="108" y="147"/>
                    <a:pt x="109" y="147"/>
                    <a:pt x="109" y="147"/>
                  </a:cubicBezTo>
                  <a:cubicBezTo>
                    <a:pt x="111" y="147"/>
                    <a:pt x="112" y="146"/>
                    <a:pt x="111" y="142"/>
                  </a:cubicBezTo>
                  <a:cubicBezTo>
                    <a:pt x="116" y="144"/>
                    <a:pt x="114" y="144"/>
                    <a:pt x="115" y="149"/>
                  </a:cubicBezTo>
                  <a:cubicBezTo>
                    <a:pt x="115" y="149"/>
                    <a:pt x="115" y="150"/>
                    <a:pt x="116" y="150"/>
                  </a:cubicBezTo>
                  <a:cubicBezTo>
                    <a:pt x="117" y="150"/>
                    <a:pt x="118" y="148"/>
                    <a:pt x="119" y="148"/>
                  </a:cubicBezTo>
                  <a:cubicBezTo>
                    <a:pt x="122" y="143"/>
                    <a:pt x="115" y="136"/>
                    <a:pt x="114" y="133"/>
                  </a:cubicBezTo>
                  <a:cubicBezTo>
                    <a:pt x="111" y="125"/>
                    <a:pt x="105" y="118"/>
                    <a:pt x="101" y="111"/>
                  </a:cubicBezTo>
                  <a:cubicBezTo>
                    <a:pt x="99" y="109"/>
                    <a:pt x="95" y="105"/>
                    <a:pt x="95" y="102"/>
                  </a:cubicBezTo>
                  <a:cubicBezTo>
                    <a:pt x="94" y="97"/>
                    <a:pt x="94" y="92"/>
                    <a:pt x="94" y="87"/>
                  </a:cubicBezTo>
                  <a:cubicBezTo>
                    <a:pt x="93" y="79"/>
                    <a:pt x="95" y="72"/>
                    <a:pt x="95" y="64"/>
                  </a:cubicBezTo>
                  <a:cubicBezTo>
                    <a:pt x="96" y="54"/>
                    <a:pt x="94" y="48"/>
                    <a:pt x="90" y="39"/>
                  </a:cubicBezTo>
                  <a:cubicBezTo>
                    <a:pt x="85" y="31"/>
                    <a:pt x="80" y="27"/>
                    <a:pt x="73" y="22"/>
                  </a:cubicBezTo>
                  <a:cubicBezTo>
                    <a:pt x="69" y="20"/>
                    <a:pt x="67" y="17"/>
                    <a:pt x="65" y="13"/>
                  </a:cubicBezTo>
                  <a:cubicBezTo>
                    <a:pt x="65" y="12"/>
                    <a:pt x="62" y="10"/>
                    <a:pt x="59" y="9"/>
                  </a:cubicBezTo>
                  <a:cubicBezTo>
                    <a:pt x="59" y="9"/>
                    <a:pt x="59" y="9"/>
                    <a:pt x="59" y="9"/>
                  </a:cubicBezTo>
                  <a:cubicBezTo>
                    <a:pt x="59" y="10"/>
                    <a:pt x="58" y="11"/>
                    <a:pt x="58" y="12"/>
                  </a:cubicBezTo>
                  <a:cubicBezTo>
                    <a:pt x="58" y="12"/>
                    <a:pt x="58" y="12"/>
                    <a:pt x="58" y="12"/>
                  </a:cubicBezTo>
                  <a:cubicBezTo>
                    <a:pt x="58" y="13"/>
                    <a:pt x="57" y="15"/>
                    <a:pt x="57" y="15"/>
                  </a:cubicBezTo>
                  <a:cubicBezTo>
                    <a:pt x="55" y="18"/>
                    <a:pt x="53" y="23"/>
                    <a:pt x="47" y="24"/>
                  </a:cubicBezTo>
                  <a:cubicBezTo>
                    <a:pt x="46" y="24"/>
                    <a:pt x="45" y="25"/>
                    <a:pt x="45" y="25"/>
                  </a:cubicBezTo>
                  <a:cubicBezTo>
                    <a:pt x="42" y="25"/>
                    <a:pt x="41" y="23"/>
                    <a:pt x="39" y="22"/>
                  </a:cubicBezTo>
                  <a:cubicBezTo>
                    <a:pt x="38" y="21"/>
                    <a:pt x="38" y="21"/>
                    <a:pt x="38" y="21"/>
                  </a:cubicBezTo>
                  <a:cubicBezTo>
                    <a:pt x="39" y="21"/>
                    <a:pt x="38" y="21"/>
                    <a:pt x="37" y="23"/>
                  </a:cubicBezTo>
                  <a:cubicBezTo>
                    <a:pt x="35" y="24"/>
                    <a:pt x="35" y="24"/>
                    <a:pt x="35" y="24"/>
                  </a:cubicBezTo>
                  <a:cubicBezTo>
                    <a:pt x="34" y="25"/>
                    <a:pt x="34" y="25"/>
                    <a:pt x="34" y="25"/>
                  </a:cubicBezTo>
                  <a:cubicBezTo>
                    <a:pt x="33" y="26"/>
                    <a:pt x="33" y="26"/>
                    <a:pt x="33" y="26"/>
                  </a:cubicBezTo>
                  <a:cubicBezTo>
                    <a:pt x="33" y="26"/>
                    <a:pt x="32" y="27"/>
                    <a:pt x="32" y="27"/>
                  </a:cubicBezTo>
                  <a:cubicBezTo>
                    <a:pt x="31" y="27"/>
                    <a:pt x="31" y="27"/>
                    <a:pt x="31" y="27"/>
                  </a:cubicBezTo>
                  <a:cubicBezTo>
                    <a:pt x="30" y="28"/>
                    <a:pt x="29" y="28"/>
                    <a:pt x="28" y="28"/>
                  </a:cubicBezTo>
                  <a:cubicBezTo>
                    <a:pt x="27" y="28"/>
                    <a:pt x="27" y="28"/>
                    <a:pt x="27" y="28"/>
                  </a:cubicBezTo>
                  <a:cubicBezTo>
                    <a:pt x="26" y="27"/>
                    <a:pt x="24" y="26"/>
                    <a:pt x="23" y="24"/>
                  </a:cubicBezTo>
                  <a:cubicBezTo>
                    <a:pt x="19" y="21"/>
                    <a:pt x="21" y="16"/>
                    <a:pt x="23" y="14"/>
                  </a:cubicBezTo>
                  <a:cubicBezTo>
                    <a:pt x="23" y="12"/>
                    <a:pt x="24" y="11"/>
                    <a:pt x="24" y="11"/>
                  </a:cubicBezTo>
                  <a:cubicBezTo>
                    <a:pt x="23" y="11"/>
                    <a:pt x="23" y="11"/>
                    <a:pt x="22" y="11"/>
                  </a:cubicBezTo>
                  <a:cubicBezTo>
                    <a:pt x="22" y="11"/>
                    <a:pt x="22" y="11"/>
                    <a:pt x="22" y="11"/>
                  </a:cubicBezTo>
                  <a:cubicBezTo>
                    <a:pt x="18" y="11"/>
                    <a:pt x="17" y="8"/>
                    <a:pt x="16" y="7"/>
                  </a:cubicBezTo>
                  <a:cubicBezTo>
                    <a:pt x="16" y="6"/>
                    <a:pt x="16" y="6"/>
                    <a:pt x="16" y="5"/>
                  </a:cubicBezTo>
                  <a:cubicBezTo>
                    <a:pt x="16" y="4"/>
                    <a:pt x="16" y="4"/>
                    <a:pt x="16" y="3"/>
                  </a:cubicBezTo>
                  <a:cubicBezTo>
                    <a:pt x="15" y="3"/>
                    <a:pt x="15" y="3"/>
                    <a:pt x="15" y="3"/>
                  </a:cubicBezTo>
                  <a:cubicBezTo>
                    <a:pt x="14" y="3"/>
                    <a:pt x="14" y="3"/>
                    <a:pt x="14" y="3"/>
                  </a:cubicBezTo>
                  <a:cubicBezTo>
                    <a:pt x="13" y="3"/>
                    <a:pt x="12" y="2"/>
                    <a:pt x="10" y="2"/>
                  </a:cubicBezTo>
                  <a:cubicBezTo>
                    <a:pt x="10" y="2"/>
                    <a:pt x="10" y="2"/>
                    <a:pt x="10" y="2"/>
                  </a:cubicBezTo>
                  <a:cubicBezTo>
                    <a:pt x="7" y="2"/>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31325034"/>
      </p:ext>
    </p:extLst>
  </p:cSld>
  <p:clrMapOvr>
    <a:masterClrMapping/>
  </p:clrMapOvr>
  <p:transition/>
  <p:timing/>
</p:sldLayout>
</file>

<file path=ppt/slideLayouts/slideLayout9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_HeroBlue">
    <p:bg>
      <p:bgPr>
        <a:solidFill>
          <a:schemeClr val="accent1"/>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Tree>
    <p:extLst>
      <p:ext uri="{BB962C8B-B14F-4D97-AF65-F5344CB8AC3E}">
        <p14:creationId xmlns:p14="http://schemas.microsoft.com/office/powerpoint/2010/main" val="3144683122"/>
      </p:ext>
    </p:extLst>
  </p:cSld>
  <p:clrMapOvr>
    <a:overrideClrMapping bg1="lt1" tx1="dk1" bg2="lt2" tx2="dk2" accent1="accent1" accent2="accent2" accent3="accent3" accent4="accent4" accent5="accent5" accent6="accent6" hlink="hlink" folHlink="folHlink"/>
  </p:clrMapOvr>
  <p:transition/>
  <p:timing/>
</p:sldLayout>
</file>

<file path=ppt/slideLayouts/slideLayout9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_Blue3">
    <p:bg>
      <p:bgPr>
        <a:solidFill>
          <a:schemeClr val="accent3"/>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Tree>
    <p:extLst>
      <p:ext uri="{BB962C8B-B14F-4D97-AF65-F5344CB8AC3E}">
        <p14:creationId xmlns:p14="http://schemas.microsoft.com/office/powerpoint/2010/main" val="1795275735"/>
      </p:ext>
    </p:extLst>
  </p:cSld>
  <p:clrMapOvr>
    <a:overrideClrMapping bg1="lt1" tx1="dk1" bg2="lt2" tx2="dk2" accent1="accent1" accent2="accent2" accent3="accent3" accent4="accent4" accent5="accent5" accent6="accent6" hlink="hlink" folHlink="folHlink"/>
  </p:clrMapOvr>
  <p:transition/>
  <p:timing/>
</p:sldLayout>
</file>

<file path=ppt/slideLayouts/slideLayout9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_Blue4">
    <p:bg>
      <p:bgPr>
        <a:solidFill>
          <a:schemeClr val="accent4"/>
        </a:solidFill>
        <a:effectLst/>
      </p:bgPr>
    </p:bg>
    <p:spTree>
      <p:nvGrpSpPr>
        <p:cNvPr id="1" name=""/>
        <p:cNvGrpSpPr/>
        <p:nvPr/>
      </p:nvGrpSpPr>
      <p:grpSpPr>
        <a:xfrm>
          <a:off x="0" y="0"/>
          <a:ext cx="0" cy="0"/>
        </a:xfrm>
      </p:grpSpPr>
      <p:sp>
        <p:nvSpPr>
          <p:cNvPr id="2" name="Footer Placeholder 1"/>
          <p:cNvSpPr>
            <a:spLocks noGrp="1"/>
          </p:cNvSpPr>
          <p:nvPr>
            <p:ph type="ftr" sz="quarter" idx="34"/>
          </p:nvPr>
        </p:nvSpPr>
        <p:spPr/>
        <p:txBody>
          <a:bodyPr/>
          <a:lstStyle>
            <a:lvl1pPr>
              <a:defRPr>
                <a:solidFill>
                  <a:schemeClr val="bg1">
                    <a:alpha val="50000"/>
                  </a:schemeClr>
                </a:solidFill>
              </a:defRPr>
            </a:lvl1p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5" name="Title 3"/>
          <p:cNvSpPr>
            <a:spLocks noGrp="1"/>
          </p:cNvSpPr>
          <p:nvPr>
            <p:ph type="title" hasCustomPrompt="1"/>
          </p:nvPr>
        </p:nvSpPr>
        <p:spPr>
          <a:xfrm>
            <a:off x="345018" y="332076"/>
            <a:ext cx="10027707" cy="776139"/>
          </a:xfrm>
        </p:spPr>
        <p:txBody>
          <a:bodyPr/>
          <a:lstStyle>
            <a:lvl1pPr>
              <a:defRPr>
                <a:solidFill>
                  <a:schemeClr val="bg1"/>
                </a:solidFill>
              </a:defRPr>
            </a:lvl1pPr>
          </a:lstStyle>
          <a:p>
            <a:r>
              <a:rPr lang="en-US"/>
              <a:t>INSERT MAIN TITLE AT 32PT MIN 30PT</a:t>
            </a:r>
          </a:p>
        </p:txBody>
      </p:sp>
    </p:spTree>
    <p:extLst>
      <p:ext uri="{BB962C8B-B14F-4D97-AF65-F5344CB8AC3E}">
        <p14:creationId xmlns:p14="http://schemas.microsoft.com/office/powerpoint/2010/main" val="2937699532"/>
      </p:ext>
    </p:extLst>
  </p:cSld>
  <p:clrMapOvr>
    <a:overrideClrMapping bg1="lt1" tx1="dk1" bg2="lt2" tx2="dk2" accent1="accent1" accent2="accent2" accent3="accent3" accent4="accent4" accent5="accent5" accent6="accent6" hlink="hlink" folHlink="folHlink"/>
  </p:clrMapOvr>
  <p:transition/>
  <p:timing/>
</p:sldLayout>
</file>

<file path=ppt/slideLayouts/slideLayout9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_Light_Full Bleed Image">
    <p:bg>
      <p:bgPr>
        <a:solidFill>
          <a:schemeClr val="bg1"/>
        </a:solidFill>
        <a:effectLst/>
      </p:bgPr>
    </p:bg>
    <p:spTree>
      <p:nvGrpSpPr>
        <p:cNvPr id="1" name=""/>
        <p:cNvGrpSpPr/>
        <p:nvPr/>
      </p:nvGrpSpPr>
      <p:grpSpPr>
        <a:xfrm>
          <a:off x="0" y="0"/>
          <a:ext cx="0" cy="0"/>
        </a:xfrm>
      </p:grpSpPr>
      <p:sp>
        <p:nvSpPr>
          <p:cNvPr id="7" name="Picture Placeholder 13"/>
          <p:cNvSpPr>
            <a:spLocks noGrp="1"/>
          </p:cNvSpPr>
          <p:nvPr>
            <p:ph type="pic" sz="quarter" idx="12" hasCustomPrompt="1"/>
          </p:nvPr>
        </p:nvSpPr>
        <p:spPr>
          <a:xfrm>
            <a:off x="0" y="0"/>
            <a:ext cx="12192000" cy="6874525"/>
          </a:xfrm>
          <a:solidFill>
            <a:schemeClr val="tx2">
              <a:lumMod val="20000"/>
              <a:lumOff val="80000"/>
            </a:schemeClr>
          </a:solidFill>
        </p:spPr>
        <p:txBody>
          <a:bodyPr lIns="720000" rIns="720000" anchor="ctr" anchorCtr="0"/>
          <a:lstStyle>
            <a:lvl1pPr algn="ctr">
              <a:defRPr sz="1000" cap="all" baseline="0"/>
            </a:lvl1pPr>
          </a:lstStyle>
          <a:p>
            <a:r>
              <a:rPr lang="en-US"/>
              <a:t>Click on the icon to Insert image in placeholder and USE THE CROP TOOL TO CENTER THE IMAGE</a:t>
            </a:r>
          </a:p>
        </p:txBody>
      </p:sp>
      <p:sp>
        <p:nvSpPr>
          <p:cNvPr id="2" name="Footer Placeholder 1"/>
          <p:cNvSpPr>
            <a:spLocks noGrp="1"/>
          </p:cNvSpPr>
          <p:nvPr>
            <p:ph type="ftr" sz="quarter" idx="34"/>
          </p:nvPr>
        </p:nvSpPr>
        <p:spPr/>
        <p:txBody>
          <a:bodyPr/>
          <a:lstStyle/>
          <a:p>
            <a:r>
              <a:rPr lang="en-US"/>
              <a:t>Copyright © 2017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6" name="Title 3"/>
          <p:cNvSpPr>
            <a:spLocks noGrp="1"/>
          </p:cNvSpPr>
          <p:nvPr>
            <p:ph type="title" hasCustomPrompt="1"/>
          </p:nvPr>
        </p:nvSpPr>
        <p:spPr>
          <a:xfrm>
            <a:off x="345018" y="332076"/>
            <a:ext cx="10027707" cy="776139"/>
          </a:xfrm>
        </p:spPr>
        <p:txBody>
          <a:bodyPr/>
          <a:lstStyle>
            <a:lvl1pPr>
              <a:defRPr/>
            </a:lvl1pPr>
          </a:lstStyle>
          <a:p>
            <a:r>
              <a:rPr lang="en-US"/>
              <a:t>INSERT MAIN TITLE AT 32PT MIN 30PT</a:t>
            </a:r>
          </a:p>
        </p:txBody>
      </p:sp>
    </p:spTree>
    <p:extLst>
      <p:ext uri="{BB962C8B-B14F-4D97-AF65-F5344CB8AC3E}">
        <p14:creationId xmlns:p14="http://schemas.microsoft.com/office/powerpoint/2010/main" val="3726079848"/>
      </p:ext>
    </p:extLst>
  </p:cSld>
  <p:clrMapOvr>
    <a:overrideClrMapping bg1="lt1" tx1="dk1" bg2="lt2" tx2="dk2" accent1="accent1" accent2="accent2" accent3="accent3" accent4="accent4" accent5="accent5" accent6="accent6" hlink="hlink" folHlink="folHlink"/>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10.jpeg" /><Relationship Id="rId11" Type="http://schemas.openxmlformats.org/officeDocument/2006/relationships/image" Target="../media/image11.jpeg" /><Relationship Id="rId12" Type="http://schemas.openxmlformats.org/officeDocument/2006/relationships/image" Target="../media/image12.jpeg" /><Relationship Id="rId13" Type="http://schemas.openxmlformats.org/officeDocument/2006/relationships/image" Target="../media/image13.jpeg" /><Relationship Id="rId14"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image" Target="../media/image6.jpeg" /><Relationship Id="rId7" Type="http://schemas.openxmlformats.org/officeDocument/2006/relationships/image" Target="../media/image7.jpeg" /><Relationship Id="rId8" Type="http://schemas.openxmlformats.org/officeDocument/2006/relationships/image" Target="../media/image8.jpeg" /><Relationship Id="rId9" Type="http://schemas.openxmlformats.org/officeDocument/2006/relationships/image" Target="../media/image9.jpeg"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6.xml" /><Relationship Id="rId10" Type="http://schemas.openxmlformats.org/officeDocument/2006/relationships/slideLayout" Target="../slideLayouts/slideLayout15.xml" /><Relationship Id="rId11" Type="http://schemas.openxmlformats.org/officeDocument/2006/relationships/slideLayout" Target="../slideLayouts/slideLayout16.xml" /><Relationship Id="rId12" Type="http://schemas.openxmlformats.org/officeDocument/2006/relationships/slideLayout" Target="../slideLayouts/slideLayout17.xml" /><Relationship Id="rId13" Type="http://schemas.openxmlformats.org/officeDocument/2006/relationships/slideLayout" Target="../slideLayouts/slideLayout18.xml" /><Relationship Id="rId14" Type="http://schemas.openxmlformats.org/officeDocument/2006/relationships/slideLayout" Target="../slideLayouts/slideLayout19.xml" /><Relationship Id="rId15" Type="http://schemas.openxmlformats.org/officeDocument/2006/relationships/slideLayout" Target="../slideLayouts/slideLayout20.xml" /><Relationship Id="rId16" Type="http://schemas.openxmlformats.org/officeDocument/2006/relationships/slideLayout" Target="../slideLayouts/slideLayout21.xml" /><Relationship Id="rId17" Type="http://schemas.openxmlformats.org/officeDocument/2006/relationships/slideLayout" Target="../slideLayouts/slideLayout22.xml" /><Relationship Id="rId18" Type="http://schemas.openxmlformats.org/officeDocument/2006/relationships/slideLayout" Target="../slideLayouts/slideLayout23.xml" /><Relationship Id="rId19" Type="http://schemas.openxmlformats.org/officeDocument/2006/relationships/slideLayout" Target="../slideLayouts/slideLayout24.xml" /><Relationship Id="rId2" Type="http://schemas.openxmlformats.org/officeDocument/2006/relationships/slideLayout" Target="../slideLayouts/slideLayout7.xml" /><Relationship Id="rId20" Type="http://schemas.openxmlformats.org/officeDocument/2006/relationships/slideLayout" Target="../slideLayouts/slideLayout25.xml" /><Relationship Id="rId21" Type="http://schemas.openxmlformats.org/officeDocument/2006/relationships/slideLayout" Target="../slideLayouts/slideLayout26.xml" /><Relationship Id="rId22" Type="http://schemas.openxmlformats.org/officeDocument/2006/relationships/slideLayout" Target="../slideLayouts/slideLayout27.xml" /><Relationship Id="rId23" Type="http://schemas.openxmlformats.org/officeDocument/2006/relationships/slideLayout" Target="../slideLayouts/slideLayout28.xml" /><Relationship Id="rId24" Type="http://schemas.openxmlformats.org/officeDocument/2006/relationships/theme" Target="../theme/theme2.xml" /><Relationship Id="rId3" Type="http://schemas.openxmlformats.org/officeDocument/2006/relationships/slideLayout" Target="../slideLayouts/slideLayout8.xml" /><Relationship Id="rId4" Type="http://schemas.openxmlformats.org/officeDocument/2006/relationships/slideLayout" Target="../slideLayouts/slideLayout9.xml" /><Relationship Id="rId5" Type="http://schemas.openxmlformats.org/officeDocument/2006/relationships/slideLayout" Target="../slideLayouts/slideLayout10.xml" /><Relationship Id="rId6" Type="http://schemas.openxmlformats.org/officeDocument/2006/relationships/slideLayout" Target="../slideLayouts/slideLayout11.xml" /><Relationship Id="rId7" Type="http://schemas.openxmlformats.org/officeDocument/2006/relationships/slideLayout" Target="../slideLayouts/slideLayout12.xml" /><Relationship Id="rId8" Type="http://schemas.openxmlformats.org/officeDocument/2006/relationships/slideLayout" Target="../slideLayouts/slideLayout13.xml" /><Relationship Id="rId9" Type="http://schemas.openxmlformats.org/officeDocument/2006/relationships/slideLayout" Target="../slideLayouts/slideLayout14.xml" /></Relationships>
</file>

<file path=ppt/slideMasters/_rels/slideMaster3.xml.rels>&#65279;<?xml version="1.0" encoding="utf-8" standalone="yes"?><Relationships xmlns="http://schemas.openxmlformats.org/package/2006/relationships"><Relationship Id="rId1" Type="http://schemas.openxmlformats.org/officeDocument/2006/relationships/slideLayout" Target="../slideLayouts/slideLayout29.xml" /><Relationship Id="rId10" Type="http://schemas.openxmlformats.org/officeDocument/2006/relationships/slideLayout" Target="../slideLayouts/slideLayout38.xml" /><Relationship Id="rId11" Type="http://schemas.openxmlformats.org/officeDocument/2006/relationships/slideLayout" Target="../slideLayouts/slideLayout39.xml" /><Relationship Id="rId12" Type="http://schemas.openxmlformats.org/officeDocument/2006/relationships/tags" Target="../tags/tag3.xml" /><Relationship Id="rId13" Type="http://schemas.openxmlformats.org/officeDocument/2006/relationships/oleObject" Target="../embeddings/oleObject3.bin" TargetMode="Internal" /><Relationship Id="rId14" Type="http://schemas.openxmlformats.org/officeDocument/2006/relationships/image" Target="../media/image36.jpeg" /><Relationship Id="rId15" Type="http://schemas.openxmlformats.org/officeDocument/2006/relationships/tags" Target="../tags/tag4.xml" /><Relationship Id="rId16" Type="http://schemas.openxmlformats.org/officeDocument/2006/relationships/vmlDrawing" Target="../drawings/vmlDrawing3.vml" /><Relationship Id="rId17" Type="http://schemas.openxmlformats.org/officeDocument/2006/relationships/theme" Target="../theme/theme3.xml" /><Relationship Id="rId2" Type="http://schemas.openxmlformats.org/officeDocument/2006/relationships/slideLayout" Target="../slideLayouts/slideLayout30.xml" /><Relationship Id="rId3" Type="http://schemas.openxmlformats.org/officeDocument/2006/relationships/slideLayout" Target="../slideLayouts/slideLayout31.xml" /><Relationship Id="rId4" Type="http://schemas.openxmlformats.org/officeDocument/2006/relationships/slideLayout" Target="../slideLayouts/slideLayout32.xml" /><Relationship Id="rId5" Type="http://schemas.openxmlformats.org/officeDocument/2006/relationships/slideLayout" Target="../slideLayouts/slideLayout33.xml" /><Relationship Id="rId6" Type="http://schemas.openxmlformats.org/officeDocument/2006/relationships/slideLayout" Target="../slideLayouts/slideLayout34.xml" /><Relationship Id="rId7" Type="http://schemas.openxmlformats.org/officeDocument/2006/relationships/slideLayout" Target="../slideLayouts/slideLayout35.xml" /><Relationship Id="rId8" Type="http://schemas.openxmlformats.org/officeDocument/2006/relationships/slideLayout" Target="../slideLayouts/slideLayout36.xml" /><Relationship Id="rId9" Type="http://schemas.openxmlformats.org/officeDocument/2006/relationships/slideLayout" Target="../slideLayouts/slideLayout37.xml" /></Relationships>
</file>

<file path=ppt/slideMasters/_rels/slideMaster4.xml.rels>&#65279;<?xml version="1.0" encoding="utf-8" standalone="yes"?><Relationships xmlns="http://schemas.openxmlformats.org/package/2006/relationships"><Relationship Id="rId1" Type="http://schemas.openxmlformats.org/officeDocument/2006/relationships/slideLayout" Target="../slideLayouts/slideLayout40.xml" /><Relationship Id="rId10" Type="http://schemas.openxmlformats.org/officeDocument/2006/relationships/slideLayout" Target="../slideLayouts/slideLayout49.xml" /><Relationship Id="rId11" Type="http://schemas.openxmlformats.org/officeDocument/2006/relationships/slideLayout" Target="../slideLayouts/slideLayout50.xml" /><Relationship Id="rId12" Type="http://schemas.openxmlformats.org/officeDocument/2006/relationships/tags" Target="../tags/tag5.xml" /><Relationship Id="rId13" Type="http://schemas.openxmlformats.org/officeDocument/2006/relationships/oleObject" Target="../embeddings/oleObject4.bin" TargetMode="Internal" /><Relationship Id="rId14" Type="http://schemas.openxmlformats.org/officeDocument/2006/relationships/image" Target="../media/image36.jpeg" /><Relationship Id="rId15" Type="http://schemas.openxmlformats.org/officeDocument/2006/relationships/tags" Target="../tags/tag6.xml" /><Relationship Id="rId16" Type="http://schemas.openxmlformats.org/officeDocument/2006/relationships/vmlDrawing" Target="../drawings/vmlDrawing4.vml" /><Relationship Id="rId17" Type="http://schemas.openxmlformats.org/officeDocument/2006/relationships/theme" Target="../theme/theme4.xml" /><Relationship Id="rId2" Type="http://schemas.openxmlformats.org/officeDocument/2006/relationships/slideLayout" Target="../slideLayouts/slideLayout41.xml" /><Relationship Id="rId3" Type="http://schemas.openxmlformats.org/officeDocument/2006/relationships/slideLayout" Target="../slideLayouts/slideLayout42.xml" /><Relationship Id="rId4" Type="http://schemas.openxmlformats.org/officeDocument/2006/relationships/slideLayout" Target="../slideLayouts/slideLayout43.xml" /><Relationship Id="rId5" Type="http://schemas.openxmlformats.org/officeDocument/2006/relationships/slideLayout" Target="../slideLayouts/slideLayout44.xml" /><Relationship Id="rId6" Type="http://schemas.openxmlformats.org/officeDocument/2006/relationships/slideLayout" Target="../slideLayouts/slideLayout45.xml" /><Relationship Id="rId7" Type="http://schemas.openxmlformats.org/officeDocument/2006/relationships/slideLayout" Target="../slideLayouts/slideLayout46.xml" /><Relationship Id="rId8" Type="http://schemas.openxmlformats.org/officeDocument/2006/relationships/slideLayout" Target="../slideLayouts/slideLayout47.xml" /><Relationship Id="rId9" Type="http://schemas.openxmlformats.org/officeDocument/2006/relationships/slideLayout" Target="../slideLayouts/slideLayout48.xml" /></Relationships>
</file>

<file path=ppt/slideMasters/_rels/slideMaster5.xml.rels>&#65279;<?xml version="1.0" encoding="utf-8" standalone="yes"?><Relationships xmlns="http://schemas.openxmlformats.org/package/2006/relationships"><Relationship Id="rId1" Type="http://schemas.openxmlformats.org/officeDocument/2006/relationships/slideLayout" Target="../slideLayouts/slideLayout51.xml" /><Relationship Id="rId10" Type="http://schemas.openxmlformats.org/officeDocument/2006/relationships/slideLayout" Target="../slideLayouts/slideLayout60.xml" /><Relationship Id="rId11" Type="http://schemas.openxmlformats.org/officeDocument/2006/relationships/slideLayout" Target="../slideLayouts/slideLayout61.xml" /><Relationship Id="rId12" Type="http://schemas.openxmlformats.org/officeDocument/2006/relationships/slideLayout" Target="../slideLayouts/slideLayout62.xml" /><Relationship Id="rId13" Type="http://schemas.openxmlformats.org/officeDocument/2006/relationships/slideLayout" Target="../slideLayouts/slideLayout63.xml" /><Relationship Id="rId14" Type="http://schemas.openxmlformats.org/officeDocument/2006/relationships/slideLayout" Target="../slideLayouts/slideLayout64.xml" /><Relationship Id="rId15" Type="http://schemas.openxmlformats.org/officeDocument/2006/relationships/slideLayout" Target="../slideLayouts/slideLayout65.xml" /><Relationship Id="rId16" Type="http://schemas.openxmlformats.org/officeDocument/2006/relationships/slideLayout" Target="../slideLayouts/slideLayout66.xml" /><Relationship Id="rId17" Type="http://schemas.openxmlformats.org/officeDocument/2006/relationships/slideLayout" Target="../slideLayouts/slideLayout67.xml" /><Relationship Id="rId18" Type="http://schemas.openxmlformats.org/officeDocument/2006/relationships/slideLayout" Target="../slideLayouts/slideLayout68.xml" /><Relationship Id="rId19" Type="http://schemas.openxmlformats.org/officeDocument/2006/relationships/slideLayout" Target="../slideLayouts/slideLayout69.xml" /><Relationship Id="rId2" Type="http://schemas.openxmlformats.org/officeDocument/2006/relationships/slideLayout" Target="../slideLayouts/slideLayout52.xml" /><Relationship Id="rId20" Type="http://schemas.openxmlformats.org/officeDocument/2006/relationships/slideLayout" Target="../slideLayouts/slideLayout70.xml" /><Relationship Id="rId21" Type="http://schemas.openxmlformats.org/officeDocument/2006/relationships/slideLayout" Target="../slideLayouts/slideLayout71.xml" /><Relationship Id="rId22" Type="http://schemas.openxmlformats.org/officeDocument/2006/relationships/slideLayout" Target="../slideLayouts/slideLayout72.xml" /><Relationship Id="rId23" Type="http://schemas.openxmlformats.org/officeDocument/2006/relationships/slideLayout" Target="../slideLayouts/slideLayout73.xml" /><Relationship Id="rId24" Type="http://schemas.openxmlformats.org/officeDocument/2006/relationships/slideLayout" Target="../slideLayouts/slideLayout74.xml" /><Relationship Id="rId25" Type="http://schemas.openxmlformats.org/officeDocument/2006/relationships/slideLayout" Target="../slideLayouts/slideLayout75.xml" /><Relationship Id="rId26" Type="http://schemas.openxmlformats.org/officeDocument/2006/relationships/slideLayout" Target="../slideLayouts/slideLayout76.xml" /><Relationship Id="rId27" Type="http://schemas.openxmlformats.org/officeDocument/2006/relationships/slideLayout" Target="../slideLayouts/slideLayout77.xml" /><Relationship Id="rId28" Type="http://schemas.openxmlformats.org/officeDocument/2006/relationships/slideLayout" Target="../slideLayouts/slideLayout78.xml" /><Relationship Id="rId29" Type="http://schemas.openxmlformats.org/officeDocument/2006/relationships/slideLayout" Target="../slideLayouts/slideLayout79.xml" /><Relationship Id="rId3" Type="http://schemas.openxmlformats.org/officeDocument/2006/relationships/slideLayout" Target="../slideLayouts/slideLayout53.xml" /><Relationship Id="rId30" Type="http://schemas.openxmlformats.org/officeDocument/2006/relationships/slideLayout" Target="../slideLayouts/slideLayout80.xml" /><Relationship Id="rId31" Type="http://schemas.openxmlformats.org/officeDocument/2006/relationships/slideLayout" Target="../slideLayouts/slideLayout81.xml" /><Relationship Id="rId32" Type="http://schemas.openxmlformats.org/officeDocument/2006/relationships/slideLayout" Target="../slideLayouts/slideLayout82.xml" /><Relationship Id="rId33" Type="http://schemas.openxmlformats.org/officeDocument/2006/relationships/slideLayout" Target="../slideLayouts/slideLayout83.xml" /><Relationship Id="rId34" Type="http://schemas.openxmlformats.org/officeDocument/2006/relationships/slideLayout" Target="../slideLayouts/slideLayout84.xml" /><Relationship Id="rId35" Type="http://schemas.openxmlformats.org/officeDocument/2006/relationships/slideLayout" Target="../slideLayouts/slideLayout85.xml" /><Relationship Id="rId36" Type="http://schemas.openxmlformats.org/officeDocument/2006/relationships/slideLayout" Target="../slideLayouts/slideLayout86.xml" /><Relationship Id="rId37" Type="http://schemas.openxmlformats.org/officeDocument/2006/relationships/slideLayout" Target="../slideLayouts/slideLayout87.xml" /><Relationship Id="rId38" Type="http://schemas.openxmlformats.org/officeDocument/2006/relationships/slideLayout" Target="../slideLayouts/slideLayout88.xml" /><Relationship Id="rId39" Type="http://schemas.openxmlformats.org/officeDocument/2006/relationships/slideLayout" Target="../slideLayouts/slideLayout89.xml" /><Relationship Id="rId4" Type="http://schemas.openxmlformats.org/officeDocument/2006/relationships/slideLayout" Target="../slideLayouts/slideLayout54.xml" /><Relationship Id="rId40" Type="http://schemas.openxmlformats.org/officeDocument/2006/relationships/slideLayout" Target="../slideLayouts/slideLayout90.xml" /><Relationship Id="rId41" Type="http://schemas.openxmlformats.org/officeDocument/2006/relationships/slideLayout" Target="../slideLayouts/slideLayout91.xml" /><Relationship Id="rId42" Type="http://schemas.openxmlformats.org/officeDocument/2006/relationships/slideLayout" Target="../slideLayouts/slideLayout92.xml" /><Relationship Id="rId43" Type="http://schemas.openxmlformats.org/officeDocument/2006/relationships/slideLayout" Target="../slideLayouts/slideLayout93.xml" /><Relationship Id="rId44" Type="http://schemas.openxmlformats.org/officeDocument/2006/relationships/slideLayout" Target="../slideLayouts/slideLayout94.xml" /><Relationship Id="rId45" Type="http://schemas.openxmlformats.org/officeDocument/2006/relationships/slideLayout" Target="../slideLayouts/slideLayout95.xml" /><Relationship Id="rId46" Type="http://schemas.openxmlformats.org/officeDocument/2006/relationships/slideLayout" Target="../slideLayouts/slideLayout96.xml" /><Relationship Id="rId47" Type="http://schemas.openxmlformats.org/officeDocument/2006/relationships/slideLayout" Target="../slideLayouts/slideLayout97.xml" /><Relationship Id="rId48" Type="http://schemas.openxmlformats.org/officeDocument/2006/relationships/slideLayout" Target="../slideLayouts/slideLayout98.xml" /><Relationship Id="rId49" Type="http://schemas.openxmlformats.org/officeDocument/2006/relationships/slideLayout" Target="../slideLayouts/slideLayout99.xml" /><Relationship Id="rId5" Type="http://schemas.openxmlformats.org/officeDocument/2006/relationships/slideLayout" Target="../slideLayouts/slideLayout55.xml" /><Relationship Id="rId50" Type="http://schemas.openxmlformats.org/officeDocument/2006/relationships/slideLayout" Target="../slideLayouts/slideLayout100.xml" /><Relationship Id="rId51" Type="http://schemas.openxmlformats.org/officeDocument/2006/relationships/slideLayout" Target="../slideLayouts/slideLayout101.xml" /><Relationship Id="rId52" Type="http://schemas.openxmlformats.org/officeDocument/2006/relationships/slideLayout" Target="../slideLayouts/slideLayout102.xml" /><Relationship Id="rId53" Type="http://schemas.openxmlformats.org/officeDocument/2006/relationships/slideLayout" Target="../slideLayouts/slideLayout103.xml" /><Relationship Id="rId54" Type="http://schemas.openxmlformats.org/officeDocument/2006/relationships/slideLayout" Target="../slideLayouts/slideLayout104.xml" /><Relationship Id="rId55" Type="http://schemas.openxmlformats.org/officeDocument/2006/relationships/slideLayout" Target="../slideLayouts/slideLayout105.xml" /><Relationship Id="rId56" Type="http://schemas.openxmlformats.org/officeDocument/2006/relationships/slideLayout" Target="../slideLayouts/slideLayout106.xml" /><Relationship Id="rId57" Type="http://schemas.openxmlformats.org/officeDocument/2006/relationships/slideLayout" Target="../slideLayouts/slideLayout107.xml" /><Relationship Id="rId58" Type="http://schemas.openxmlformats.org/officeDocument/2006/relationships/slideLayout" Target="../slideLayouts/slideLayout108.xml" /><Relationship Id="rId59" Type="http://schemas.openxmlformats.org/officeDocument/2006/relationships/slideLayout" Target="../slideLayouts/slideLayout109.xml" /><Relationship Id="rId6" Type="http://schemas.openxmlformats.org/officeDocument/2006/relationships/slideLayout" Target="../slideLayouts/slideLayout56.xml" /><Relationship Id="rId60" Type="http://schemas.openxmlformats.org/officeDocument/2006/relationships/slideLayout" Target="../slideLayouts/slideLayout110.xml" /><Relationship Id="rId61" Type="http://schemas.openxmlformats.org/officeDocument/2006/relationships/slideLayout" Target="../slideLayouts/slideLayout111.xml" /><Relationship Id="rId62" Type="http://schemas.openxmlformats.org/officeDocument/2006/relationships/slideLayout" Target="../slideLayouts/slideLayout112.xml" /><Relationship Id="rId63" Type="http://schemas.openxmlformats.org/officeDocument/2006/relationships/slideLayout" Target="../slideLayouts/slideLayout113.xml" /><Relationship Id="rId64" Type="http://schemas.openxmlformats.org/officeDocument/2006/relationships/slideLayout" Target="../slideLayouts/slideLayout114.xml" /><Relationship Id="rId65" Type="http://schemas.openxmlformats.org/officeDocument/2006/relationships/slideLayout" Target="../slideLayouts/slideLayout115.xml" /><Relationship Id="rId66" Type="http://schemas.openxmlformats.org/officeDocument/2006/relationships/slideLayout" Target="../slideLayouts/slideLayout116.xml" /><Relationship Id="rId67" Type="http://schemas.openxmlformats.org/officeDocument/2006/relationships/slideLayout" Target="../slideLayouts/slideLayout117.xml" /><Relationship Id="rId68" Type="http://schemas.openxmlformats.org/officeDocument/2006/relationships/slideLayout" Target="../slideLayouts/slideLayout118.xml" /><Relationship Id="rId69" Type="http://schemas.openxmlformats.org/officeDocument/2006/relationships/slideLayout" Target="../slideLayouts/slideLayout119.xml" /><Relationship Id="rId7" Type="http://schemas.openxmlformats.org/officeDocument/2006/relationships/slideLayout" Target="../slideLayouts/slideLayout57.xml" /><Relationship Id="rId70" Type="http://schemas.openxmlformats.org/officeDocument/2006/relationships/slideLayout" Target="../slideLayouts/slideLayout120.xml" /><Relationship Id="rId71" Type="http://schemas.openxmlformats.org/officeDocument/2006/relationships/slideLayout" Target="../slideLayouts/slideLayout121.xml" /><Relationship Id="rId72" Type="http://schemas.openxmlformats.org/officeDocument/2006/relationships/slideLayout" Target="../slideLayouts/slideLayout122.xml" /><Relationship Id="rId73" Type="http://schemas.openxmlformats.org/officeDocument/2006/relationships/slideLayout" Target="../slideLayouts/slideLayout123.xml" /><Relationship Id="rId74" Type="http://schemas.openxmlformats.org/officeDocument/2006/relationships/slideLayout" Target="../slideLayouts/slideLayout124.xml" /><Relationship Id="rId75" Type="http://schemas.openxmlformats.org/officeDocument/2006/relationships/slideLayout" Target="../slideLayouts/slideLayout125.xml" /><Relationship Id="rId76" Type="http://schemas.openxmlformats.org/officeDocument/2006/relationships/slideLayout" Target="../slideLayouts/slideLayout126.xml" /><Relationship Id="rId77" Type="http://schemas.openxmlformats.org/officeDocument/2006/relationships/slideLayout" Target="../slideLayouts/slideLayout127.xml" /><Relationship Id="rId78" Type="http://schemas.openxmlformats.org/officeDocument/2006/relationships/slideLayout" Target="../slideLayouts/slideLayout128.xml" /><Relationship Id="rId79" Type="http://schemas.openxmlformats.org/officeDocument/2006/relationships/slideLayout" Target="../slideLayouts/slideLayout129.xml" /><Relationship Id="rId8" Type="http://schemas.openxmlformats.org/officeDocument/2006/relationships/slideLayout" Target="../slideLayouts/slideLayout58.xml" /><Relationship Id="rId80" Type="http://schemas.openxmlformats.org/officeDocument/2006/relationships/slideLayout" Target="../slideLayouts/slideLayout130.xml" /><Relationship Id="rId81" Type="http://schemas.openxmlformats.org/officeDocument/2006/relationships/slideLayout" Target="../slideLayouts/slideLayout131.xml" /><Relationship Id="rId82" Type="http://schemas.openxmlformats.org/officeDocument/2006/relationships/slideLayout" Target="../slideLayouts/slideLayout132.xml" /><Relationship Id="rId83" Type="http://schemas.openxmlformats.org/officeDocument/2006/relationships/slideLayout" Target="../slideLayouts/slideLayout133.xml" /><Relationship Id="rId84" Type="http://schemas.openxmlformats.org/officeDocument/2006/relationships/slideLayout" Target="../slideLayouts/slideLayout134.xml" /><Relationship Id="rId85" Type="http://schemas.openxmlformats.org/officeDocument/2006/relationships/slideLayout" Target="../slideLayouts/slideLayout135.xml" /><Relationship Id="rId86" Type="http://schemas.openxmlformats.org/officeDocument/2006/relationships/slideLayout" Target="../slideLayouts/slideLayout136.xml" /><Relationship Id="rId87" Type="http://schemas.openxmlformats.org/officeDocument/2006/relationships/slideLayout" Target="../slideLayouts/slideLayout137.xml" /><Relationship Id="rId88" Type="http://schemas.openxmlformats.org/officeDocument/2006/relationships/slideLayout" Target="../slideLayouts/slideLayout138.xml" /><Relationship Id="rId89" Type="http://schemas.openxmlformats.org/officeDocument/2006/relationships/slideLayout" Target="../slideLayouts/slideLayout139.xml" /><Relationship Id="rId9" Type="http://schemas.openxmlformats.org/officeDocument/2006/relationships/slideLayout" Target="../slideLayouts/slideLayout59.xml" /><Relationship Id="rId90" Type="http://schemas.openxmlformats.org/officeDocument/2006/relationships/slideLayout" Target="../slideLayouts/slideLayout140.xml" /><Relationship Id="rId91" Type="http://schemas.openxmlformats.org/officeDocument/2006/relationships/slideLayout" Target="../slideLayouts/slideLayout141.xml" /><Relationship Id="rId92" Type="http://schemas.openxmlformats.org/officeDocument/2006/relationships/slideLayout" Target="../slideLayouts/slideLayout142.xml" /><Relationship Id="rId93" Type="http://schemas.openxmlformats.org/officeDocument/2006/relationships/slideLayout" Target="../slideLayouts/slideLayout143.xml" /><Relationship Id="rId94" Type="http://schemas.openxmlformats.org/officeDocument/2006/relationships/theme" Target="../theme/theme5.xml" /></Relationships>
</file>

<file path=ppt/slideMasters/_rels/slideMaster6.xml.rels>&#65279;<?xml version="1.0" encoding="utf-8" standalone="yes"?><Relationships xmlns="http://schemas.openxmlformats.org/package/2006/relationships"><Relationship Id="rId1" Type="http://schemas.openxmlformats.org/officeDocument/2006/relationships/slideLayout" Target="../slideLayouts/slideLayout144.xml" /><Relationship Id="rId2" Type="http://schemas.openxmlformats.org/officeDocument/2006/relationships/image" Target="../media/image30.jpeg" /><Relationship Id="rId3" Type="http://schemas.openxmlformats.org/officeDocument/2006/relationships/theme" Target="../theme/theme6.xml" /></Relationships>
</file>

<file path=ppt/slideMasters/_rels/slideMaster7.xml.rels>&#65279;<?xml version="1.0" encoding="utf-8" standalone="yes"?><Relationships xmlns="http://schemas.openxmlformats.org/package/2006/relationships"><Relationship Id="rId1" Type="http://schemas.openxmlformats.org/officeDocument/2006/relationships/slideLayout" Target="../slideLayouts/slideLayout145.xml" /><Relationship Id="rId10" Type="http://schemas.openxmlformats.org/officeDocument/2006/relationships/slideLayout" Target="../slideLayouts/slideLayout154.xml" /><Relationship Id="rId11" Type="http://schemas.openxmlformats.org/officeDocument/2006/relationships/slideLayout" Target="../slideLayouts/slideLayout155.xml" /><Relationship Id="rId12" Type="http://schemas.openxmlformats.org/officeDocument/2006/relationships/slideLayout" Target="../slideLayouts/slideLayout156.xml" /><Relationship Id="rId13" Type="http://schemas.openxmlformats.org/officeDocument/2006/relationships/slideLayout" Target="../slideLayouts/slideLayout157.xml" /><Relationship Id="rId14" Type="http://schemas.openxmlformats.org/officeDocument/2006/relationships/slideLayout" Target="../slideLayouts/slideLayout158.xml" /><Relationship Id="rId15" Type="http://schemas.openxmlformats.org/officeDocument/2006/relationships/slideLayout" Target="../slideLayouts/slideLayout159.xml" /><Relationship Id="rId16" Type="http://schemas.openxmlformats.org/officeDocument/2006/relationships/slideLayout" Target="../slideLayouts/slideLayout160.xml" /><Relationship Id="rId17" Type="http://schemas.openxmlformats.org/officeDocument/2006/relationships/slideLayout" Target="../slideLayouts/slideLayout161.xml" /><Relationship Id="rId18" Type="http://schemas.openxmlformats.org/officeDocument/2006/relationships/slideLayout" Target="../slideLayouts/slideLayout162.xml" /><Relationship Id="rId19" Type="http://schemas.openxmlformats.org/officeDocument/2006/relationships/slideLayout" Target="../slideLayouts/slideLayout163.xml" /><Relationship Id="rId2" Type="http://schemas.openxmlformats.org/officeDocument/2006/relationships/slideLayout" Target="../slideLayouts/slideLayout146.xml" /><Relationship Id="rId20" Type="http://schemas.openxmlformats.org/officeDocument/2006/relationships/slideLayout" Target="../slideLayouts/slideLayout164.xml" /><Relationship Id="rId21" Type="http://schemas.openxmlformats.org/officeDocument/2006/relationships/slideLayout" Target="../slideLayouts/slideLayout165.xml" /><Relationship Id="rId22" Type="http://schemas.openxmlformats.org/officeDocument/2006/relationships/slideLayout" Target="../slideLayouts/slideLayout166.xml" /><Relationship Id="rId23" Type="http://schemas.openxmlformats.org/officeDocument/2006/relationships/slideLayout" Target="../slideLayouts/slideLayout167.xml" /><Relationship Id="rId24" Type="http://schemas.openxmlformats.org/officeDocument/2006/relationships/slideLayout" Target="../slideLayouts/slideLayout168.xml" /><Relationship Id="rId25" Type="http://schemas.openxmlformats.org/officeDocument/2006/relationships/slideLayout" Target="../slideLayouts/slideLayout169.xml" /><Relationship Id="rId26" Type="http://schemas.openxmlformats.org/officeDocument/2006/relationships/slideLayout" Target="../slideLayouts/slideLayout170.xml" /><Relationship Id="rId27" Type="http://schemas.openxmlformats.org/officeDocument/2006/relationships/slideLayout" Target="../slideLayouts/slideLayout171.xml" /><Relationship Id="rId28" Type="http://schemas.openxmlformats.org/officeDocument/2006/relationships/slideLayout" Target="../slideLayouts/slideLayout172.xml" /><Relationship Id="rId29" Type="http://schemas.openxmlformats.org/officeDocument/2006/relationships/slideLayout" Target="../slideLayouts/slideLayout173.xml" /><Relationship Id="rId3" Type="http://schemas.openxmlformats.org/officeDocument/2006/relationships/slideLayout" Target="../slideLayouts/slideLayout147.xml" /><Relationship Id="rId30" Type="http://schemas.openxmlformats.org/officeDocument/2006/relationships/slideLayout" Target="../slideLayouts/slideLayout174.xml" /><Relationship Id="rId31" Type="http://schemas.openxmlformats.org/officeDocument/2006/relationships/slideLayout" Target="../slideLayouts/slideLayout175.xml" /><Relationship Id="rId32" Type="http://schemas.openxmlformats.org/officeDocument/2006/relationships/slideLayout" Target="../slideLayouts/slideLayout176.xml" /><Relationship Id="rId33" Type="http://schemas.openxmlformats.org/officeDocument/2006/relationships/slideLayout" Target="../slideLayouts/slideLayout177.xml" /><Relationship Id="rId34" Type="http://schemas.openxmlformats.org/officeDocument/2006/relationships/slideLayout" Target="../slideLayouts/slideLayout178.xml" /><Relationship Id="rId35" Type="http://schemas.openxmlformats.org/officeDocument/2006/relationships/slideLayout" Target="../slideLayouts/slideLayout179.xml" /><Relationship Id="rId36" Type="http://schemas.openxmlformats.org/officeDocument/2006/relationships/slideLayout" Target="../slideLayouts/slideLayout180.xml" /><Relationship Id="rId37" Type="http://schemas.openxmlformats.org/officeDocument/2006/relationships/slideLayout" Target="../slideLayouts/slideLayout181.xml" /><Relationship Id="rId38" Type="http://schemas.openxmlformats.org/officeDocument/2006/relationships/slideLayout" Target="../slideLayouts/slideLayout182.xml" /><Relationship Id="rId39" Type="http://schemas.openxmlformats.org/officeDocument/2006/relationships/slideLayout" Target="../slideLayouts/slideLayout183.xml" /><Relationship Id="rId4" Type="http://schemas.openxmlformats.org/officeDocument/2006/relationships/slideLayout" Target="../slideLayouts/slideLayout148.xml" /><Relationship Id="rId40" Type="http://schemas.openxmlformats.org/officeDocument/2006/relationships/slideLayout" Target="../slideLayouts/slideLayout184.xml" /><Relationship Id="rId41" Type="http://schemas.openxmlformats.org/officeDocument/2006/relationships/slideLayout" Target="../slideLayouts/slideLayout185.xml" /><Relationship Id="rId42" Type="http://schemas.openxmlformats.org/officeDocument/2006/relationships/slideLayout" Target="../slideLayouts/slideLayout186.xml" /><Relationship Id="rId43" Type="http://schemas.openxmlformats.org/officeDocument/2006/relationships/slideLayout" Target="../slideLayouts/slideLayout187.xml" /><Relationship Id="rId44" Type="http://schemas.openxmlformats.org/officeDocument/2006/relationships/slideLayout" Target="../slideLayouts/slideLayout188.xml" /><Relationship Id="rId45" Type="http://schemas.openxmlformats.org/officeDocument/2006/relationships/slideLayout" Target="../slideLayouts/slideLayout189.xml" /><Relationship Id="rId46" Type="http://schemas.openxmlformats.org/officeDocument/2006/relationships/slideLayout" Target="../slideLayouts/slideLayout190.xml" /><Relationship Id="rId47" Type="http://schemas.openxmlformats.org/officeDocument/2006/relationships/slideLayout" Target="../slideLayouts/slideLayout191.xml" /><Relationship Id="rId48" Type="http://schemas.openxmlformats.org/officeDocument/2006/relationships/slideLayout" Target="../slideLayouts/slideLayout192.xml" /><Relationship Id="rId49" Type="http://schemas.openxmlformats.org/officeDocument/2006/relationships/slideLayout" Target="../slideLayouts/slideLayout193.xml" /><Relationship Id="rId5" Type="http://schemas.openxmlformats.org/officeDocument/2006/relationships/slideLayout" Target="../slideLayouts/slideLayout149.xml" /><Relationship Id="rId50" Type="http://schemas.openxmlformats.org/officeDocument/2006/relationships/slideLayout" Target="../slideLayouts/slideLayout194.xml" /><Relationship Id="rId51" Type="http://schemas.openxmlformats.org/officeDocument/2006/relationships/slideLayout" Target="../slideLayouts/slideLayout195.xml" /><Relationship Id="rId52" Type="http://schemas.openxmlformats.org/officeDocument/2006/relationships/slideLayout" Target="../slideLayouts/slideLayout196.xml" /><Relationship Id="rId53" Type="http://schemas.openxmlformats.org/officeDocument/2006/relationships/slideLayout" Target="../slideLayouts/slideLayout197.xml" /><Relationship Id="rId54" Type="http://schemas.openxmlformats.org/officeDocument/2006/relationships/slideLayout" Target="../slideLayouts/slideLayout198.xml" /><Relationship Id="rId55" Type="http://schemas.openxmlformats.org/officeDocument/2006/relationships/slideLayout" Target="../slideLayouts/slideLayout199.xml" /><Relationship Id="rId56" Type="http://schemas.openxmlformats.org/officeDocument/2006/relationships/slideLayout" Target="../slideLayouts/slideLayout200.xml" /><Relationship Id="rId57" Type="http://schemas.openxmlformats.org/officeDocument/2006/relationships/slideLayout" Target="../slideLayouts/slideLayout201.xml" /><Relationship Id="rId58" Type="http://schemas.openxmlformats.org/officeDocument/2006/relationships/slideLayout" Target="../slideLayouts/slideLayout202.xml" /><Relationship Id="rId59" Type="http://schemas.openxmlformats.org/officeDocument/2006/relationships/slideLayout" Target="../slideLayouts/slideLayout203.xml" /><Relationship Id="rId6" Type="http://schemas.openxmlformats.org/officeDocument/2006/relationships/slideLayout" Target="../slideLayouts/slideLayout150.xml" /><Relationship Id="rId60" Type="http://schemas.openxmlformats.org/officeDocument/2006/relationships/slideLayout" Target="../slideLayouts/slideLayout204.xml" /><Relationship Id="rId61" Type="http://schemas.openxmlformats.org/officeDocument/2006/relationships/slideLayout" Target="../slideLayouts/slideLayout205.xml" /><Relationship Id="rId62" Type="http://schemas.openxmlformats.org/officeDocument/2006/relationships/slideLayout" Target="../slideLayouts/slideLayout206.xml" /><Relationship Id="rId63" Type="http://schemas.openxmlformats.org/officeDocument/2006/relationships/slideLayout" Target="../slideLayouts/slideLayout207.xml" /><Relationship Id="rId64" Type="http://schemas.openxmlformats.org/officeDocument/2006/relationships/slideLayout" Target="../slideLayouts/slideLayout208.xml" /><Relationship Id="rId65" Type="http://schemas.openxmlformats.org/officeDocument/2006/relationships/slideLayout" Target="../slideLayouts/slideLayout209.xml" /><Relationship Id="rId66" Type="http://schemas.openxmlformats.org/officeDocument/2006/relationships/slideLayout" Target="../slideLayouts/slideLayout210.xml" /><Relationship Id="rId67" Type="http://schemas.openxmlformats.org/officeDocument/2006/relationships/slideLayout" Target="../slideLayouts/slideLayout211.xml" /><Relationship Id="rId68" Type="http://schemas.openxmlformats.org/officeDocument/2006/relationships/slideLayout" Target="../slideLayouts/slideLayout212.xml" /><Relationship Id="rId69" Type="http://schemas.openxmlformats.org/officeDocument/2006/relationships/slideLayout" Target="../slideLayouts/slideLayout213.xml" /><Relationship Id="rId7" Type="http://schemas.openxmlformats.org/officeDocument/2006/relationships/slideLayout" Target="../slideLayouts/slideLayout151.xml" /><Relationship Id="rId70" Type="http://schemas.openxmlformats.org/officeDocument/2006/relationships/slideLayout" Target="../slideLayouts/slideLayout214.xml" /><Relationship Id="rId71" Type="http://schemas.openxmlformats.org/officeDocument/2006/relationships/slideLayout" Target="../slideLayouts/slideLayout215.xml" /><Relationship Id="rId72" Type="http://schemas.openxmlformats.org/officeDocument/2006/relationships/slideLayout" Target="../slideLayouts/slideLayout216.xml" /><Relationship Id="rId73" Type="http://schemas.openxmlformats.org/officeDocument/2006/relationships/slideLayout" Target="../slideLayouts/slideLayout217.xml" /><Relationship Id="rId74" Type="http://schemas.openxmlformats.org/officeDocument/2006/relationships/slideLayout" Target="../slideLayouts/slideLayout218.xml" /><Relationship Id="rId75" Type="http://schemas.openxmlformats.org/officeDocument/2006/relationships/slideLayout" Target="../slideLayouts/slideLayout219.xml" /><Relationship Id="rId76" Type="http://schemas.openxmlformats.org/officeDocument/2006/relationships/slideLayout" Target="../slideLayouts/slideLayout220.xml" /><Relationship Id="rId77" Type="http://schemas.openxmlformats.org/officeDocument/2006/relationships/slideLayout" Target="../slideLayouts/slideLayout221.xml" /><Relationship Id="rId78" Type="http://schemas.openxmlformats.org/officeDocument/2006/relationships/slideLayout" Target="../slideLayouts/slideLayout222.xml" /><Relationship Id="rId79" Type="http://schemas.openxmlformats.org/officeDocument/2006/relationships/slideLayout" Target="../slideLayouts/slideLayout223.xml" /><Relationship Id="rId8" Type="http://schemas.openxmlformats.org/officeDocument/2006/relationships/slideLayout" Target="../slideLayouts/slideLayout152.xml" /><Relationship Id="rId80" Type="http://schemas.openxmlformats.org/officeDocument/2006/relationships/slideLayout" Target="../slideLayouts/slideLayout224.xml" /><Relationship Id="rId81" Type="http://schemas.openxmlformats.org/officeDocument/2006/relationships/slideLayout" Target="../slideLayouts/slideLayout225.xml" /><Relationship Id="rId82" Type="http://schemas.openxmlformats.org/officeDocument/2006/relationships/slideLayout" Target="../slideLayouts/slideLayout226.xml" /><Relationship Id="rId83" Type="http://schemas.openxmlformats.org/officeDocument/2006/relationships/slideLayout" Target="../slideLayouts/slideLayout227.xml" /><Relationship Id="rId84" Type="http://schemas.openxmlformats.org/officeDocument/2006/relationships/slideLayout" Target="../slideLayouts/slideLayout228.xml" /><Relationship Id="rId85" Type="http://schemas.openxmlformats.org/officeDocument/2006/relationships/slideLayout" Target="../slideLayouts/slideLayout229.xml" /><Relationship Id="rId86" Type="http://schemas.openxmlformats.org/officeDocument/2006/relationships/slideLayout" Target="../slideLayouts/slideLayout230.xml" /><Relationship Id="rId87" Type="http://schemas.openxmlformats.org/officeDocument/2006/relationships/slideLayout" Target="../slideLayouts/slideLayout231.xml" /><Relationship Id="rId88" Type="http://schemas.openxmlformats.org/officeDocument/2006/relationships/slideLayout" Target="../slideLayouts/slideLayout232.xml" /><Relationship Id="rId89" Type="http://schemas.openxmlformats.org/officeDocument/2006/relationships/slideLayout" Target="../slideLayouts/slideLayout233.xml" /><Relationship Id="rId9" Type="http://schemas.openxmlformats.org/officeDocument/2006/relationships/slideLayout" Target="../slideLayouts/slideLayout153.xml" /><Relationship Id="rId90" Type="http://schemas.openxmlformats.org/officeDocument/2006/relationships/slideLayout" Target="../slideLayouts/slideLayout234.xml" /><Relationship Id="rId91" Type="http://schemas.openxmlformats.org/officeDocument/2006/relationships/slideLayout" Target="../slideLayouts/slideLayout235.xml" /><Relationship Id="rId92" Type="http://schemas.openxmlformats.org/officeDocument/2006/relationships/slideLayout" Target="../slideLayouts/slideLayout236.xml" /><Relationship Id="rId93" Type="http://schemas.openxmlformats.org/officeDocument/2006/relationships/slideLayout" Target="../slideLayouts/slideLayout237.xml" /><Relationship Id="rId94" Type="http://schemas.openxmlformats.org/officeDocument/2006/relationships/slideLayout" Target="../slideLayouts/slideLayout238.xml" /><Relationship Id="rId95" Type="http://schemas.openxmlformats.org/officeDocument/2006/relationships/theme" Target="../theme/theme7.xml" /></Relationships>
</file>

<file path=ppt/slideMasters/_rels/slideMaster8.xml.rels>&#65279;<?xml version="1.0" encoding="utf-8" standalone="yes"?><Relationships xmlns="http://schemas.openxmlformats.org/package/2006/relationships"><Relationship Id="rId1" Type="http://schemas.openxmlformats.org/officeDocument/2006/relationships/slideLayout" Target="../slideLayouts/slideLayout239.xml" /><Relationship Id="rId10" Type="http://schemas.openxmlformats.org/officeDocument/2006/relationships/slideLayout" Target="../slideLayouts/slideLayout248.xml" /><Relationship Id="rId11" Type="http://schemas.openxmlformats.org/officeDocument/2006/relationships/slideLayout" Target="../slideLayouts/slideLayout249.xml" /><Relationship Id="rId12" Type="http://schemas.openxmlformats.org/officeDocument/2006/relationships/slideLayout" Target="../slideLayouts/slideLayout250.xml" /><Relationship Id="rId13" Type="http://schemas.openxmlformats.org/officeDocument/2006/relationships/slideLayout" Target="../slideLayouts/slideLayout251.xml" /><Relationship Id="rId14" Type="http://schemas.openxmlformats.org/officeDocument/2006/relationships/slideLayout" Target="../slideLayouts/slideLayout252.xml" /><Relationship Id="rId15" Type="http://schemas.openxmlformats.org/officeDocument/2006/relationships/slideLayout" Target="../slideLayouts/slideLayout253.xml" /><Relationship Id="rId16" Type="http://schemas.openxmlformats.org/officeDocument/2006/relationships/slideLayout" Target="../slideLayouts/slideLayout254.xml" /><Relationship Id="rId17" Type="http://schemas.openxmlformats.org/officeDocument/2006/relationships/slideLayout" Target="../slideLayouts/slideLayout255.xml" /><Relationship Id="rId18" Type="http://schemas.openxmlformats.org/officeDocument/2006/relationships/slideLayout" Target="../slideLayouts/slideLayout256.xml" /><Relationship Id="rId19" Type="http://schemas.openxmlformats.org/officeDocument/2006/relationships/slideLayout" Target="../slideLayouts/slideLayout257.xml" /><Relationship Id="rId2" Type="http://schemas.openxmlformats.org/officeDocument/2006/relationships/slideLayout" Target="../slideLayouts/slideLayout240.xml" /><Relationship Id="rId20" Type="http://schemas.openxmlformats.org/officeDocument/2006/relationships/slideLayout" Target="../slideLayouts/slideLayout258.xml" /><Relationship Id="rId21" Type="http://schemas.openxmlformats.org/officeDocument/2006/relationships/slideLayout" Target="../slideLayouts/slideLayout259.xml" /><Relationship Id="rId22" Type="http://schemas.openxmlformats.org/officeDocument/2006/relationships/slideLayout" Target="../slideLayouts/slideLayout260.xml" /><Relationship Id="rId23" Type="http://schemas.openxmlformats.org/officeDocument/2006/relationships/slideLayout" Target="../slideLayouts/slideLayout261.xml" /><Relationship Id="rId24" Type="http://schemas.openxmlformats.org/officeDocument/2006/relationships/slideLayout" Target="../slideLayouts/slideLayout262.xml" /><Relationship Id="rId25" Type="http://schemas.openxmlformats.org/officeDocument/2006/relationships/slideLayout" Target="../slideLayouts/slideLayout263.xml" /><Relationship Id="rId26" Type="http://schemas.openxmlformats.org/officeDocument/2006/relationships/slideLayout" Target="../slideLayouts/slideLayout264.xml" /><Relationship Id="rId27" Type="http://schemas.openxmlformats.org/officeDocument/2006/relationships/slideLayout" Target="../slideLayouts/slideLayout265.xml" /><Relationship Id="rId28" Type="http://schemas.openxmlformats.org/officeDocument/2006/relationships/slideLayout" Target="../slideLayouts/slideLayout266.xml" /><Relationship Id="rId29" Type="http://schemas.openxmlformats.org/officeDocument/2006/relationships/slideLayout" Target="../slideLayouts/slideLayout267.xml" /><Relationship Id="rId3" Type="http://schemas.openxmlformats.org/officeDocument/2006/relationships/slideLayout" Target="../slideLayouts/slideLayout241.xml" /><Relationship Id="rId30" Type="http://schemas.openxmlformats.org/officeDocument/2006/relationships/slideLayout" Target="../slideLayouts/slideLayout268.xml" /><Relationship Id="rId31" Type="http://schemas.openxmlformats.org/officeDocument/2006/relationships/slideLayout" Target="../slideLayouts/slideLayout269.xml" /><Relationship Id="rId32" Type="http://schemas.openxmlformats.org/officeDocument/2006/relationships/slideLayout" Target="../slideLayouts/slideLayout270.xml" /><Relationship Id="rId33" Type="http://schemas.openxmlformats.org/officeDocument/2006/relationships/slideLayout" Target="../slideLayouts/slideLayout271.xml" /><Relationship Id="rId34" Type="http://schemas.openxmlformats.org/officeDocument/2006/relationships/slideLayout" Target="../slideLayouts/slideLayout272.xml" /><Relationship Id="rId35" Type="http://schemas.openxmlformats.org/officeDocument/2006/relationships/slideLayout" Target="../slideLayouts/slideLayout273.xml" /><Relationship Id="rId36" Type="http://schemas.openxmlformats.org/officeDocument/2006/relationships/image" Target="../media/image55.jpeg" /><Relationship Id="rId37" Type="http://schemas.openxmlformats.org/officeDocument/2006/relationships/theme" Target="../theme/theme8.xml" /><Relationship Id="rId4" Type="http://schemas.openxmlformats.org/officeDocument/2006/relationships/slideLayout" Target="../slideLayouts/slideLayout242.xml" /><Relationship Id="rId5" Type="http://schemas.openxmlformats.org/officeDocument/2006/relationships/slideLayout" Target="../slideLayouts/slideLayout243.xml" /><Relationship Id="rId6" Type="http://schemas.openxmlformats.org/officeDocument/2006/relationships/slideLayout" Target="../slideLayouts/slideLayout244.xml" /><Relationship Id="rId7" Type="http://schemas.openxmlformats.org/officeDocument/2006/relationships/slideLayout" Target="../slideLayouts/slideLayout245.xml" /><Relationship Id="rId8" Type="http://schemas.openxmlformats.org/officeDocument/2006/relationships/slideLayout" Target="../slideLayouts/slideLayout246.xml" /><Relationship Id="rId9" Type="http://schemas.openxmlformats.org/officeDocument/2006/relationships/slideLayout" Target="../slideLayouts/slideLayout247.xml" /></Relationships>
</file>

<file path=ppt/slideMasters/slideMaster1.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Pr>
        <a:solidFill>
          <a:schemeClr val="bg1"/>
        </a:solidFill>
        <a:effectLst/>
      </p:bgPr>
    </p:bg>
    <p:spTree>
      <p:nvGrpSpPr>
        <p:cNvPr id="1" name=""/>
        <p:cNvGrpSpPr/>
        <p:nvPr/>
      </p:nvGrpSpPr>
      <p:grpSpPr>
        <a:xfrm>
          <a:off x="0" y="0"/>
          <a:ext cx="0" cy="0"/>
        </a:xfrm>
      </p:grpSpPr>
      <p:pic>
        <p:nvPicPr>
          <p:cNvPr id="10" name="Accenture_Strategy" hidden="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22" name="Accenture_Operations" hidden="1"/>
          <p:cNvPicPr>
            <a:picLocks noChangeAspect="1"/>
          </p:cNvPicPr>
          <p:nvPr userDrawn="1"/>
        </p:nvPicPr>
        <p:blipFill>
          <a:blip r:embed="rId7"/>
          <a:stretch>
            <a:fillRect/>
          </a:stretch>
        </p:blipFill>
        <p:spPr>
          <a:xfrm>
            <a:off x="352728" y="6252513"/>
            <a:ext cx="1958068" cy="324500"/>
          </a:xfrm>
          <a:prstGeom prst="rect">
            <a:avLst/>
          </a:prstGeom>
        </p:spPr>
      </p:pic>
      <p:pic>
        <p:nvPicPr>
          <p:cNvPr id="27" name="Accenture_Mobility" hidden="1"/>
          <p:cNvPicPr>
            <a:picLocks noChangeAspect="1"/>
          </p:cNvPicPr>
          <p:nvPr userDrawn="1"/>
        </p:nvPicPr>
        <p:blipFill>
          <a:blip r:embed="rId8"/>
          <a:stretch>
            <a:fillRect/>
          </a:stretch>
        </p:blipFill>
        <p:spPr>
          <a:xfrm>
            <a:off x="334963" y="6339423"/>
            <a:ext cx="2040630" cy="361414"/>
          </a:xfrm>
          <a:prstGeom prst="rect">
            <a:avLst/>
          </a:prstGeom>
        </p:spPr>
      </p:pic>
      <p:pic>
        <p:nvPicPr>
          <p:cNvPr id="25" name="Accenture_Interactive" hidden="1"/>
          <p:cNvPicPr>
            <a:picLocks noChangeAspect="1"/>
          </p:cNvPicPr>
          <p:nvPr userDrawn="1"/>
        </p:nvPicPr>
        <p:blipFill>
          <a:blip r:embed="rId9"/>
          <a:stretch>
            <a:fillRect/>
          </a:stretch>
        </p:blipFill>
        <p:spPr>
          <a:xfrm>
            <a:off x="338798" y="6341000"/>
            <a:ext cx="2041200" cy="360863"/>
          </a:xfrm>
          <a:prstGeom prst="rect">
            <a:avLst/>
          </a:prstGeom>
        </p:spPr>
      </p:pic>
      <p:pic>
        <p:nvPicPr>
          <p:cNvPr id="26" name="Accenture_Analytics" hidden="1"/>
          <p:cNvPicPr>
            <a:picLocks noChangeAspect="1"/>
          </p:cNvPicPr>
          <p:nvPr userDrawn="1"/>
        </p:nvPicPr>
        <p:blipFill>
          <a:blip r:embed="rId10"/>
          <a:stretch>
            <a:fillRect/>
          </a:stretch>
        </p:blipFill>
        <p:spPr>
          <a:xfrm>
            <a:off x="338798" y="6338829"/>
            <a:ext cx="2023200" cy="362168"/>
          </a:xfrm>
          <a:prstGeom prst="rect">
            <a:avLst/>
          </a:prstGeom>
        </p:spPr>
      </p:pic>
      <p:pic>
        <p:nvPicPr>
          <p:cNvPr id="7" name="Accenture_Digital" hidden="1"/>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4" name="Accenture_Consulting" hidden="1"/>
          <p:cNvPicPr>
            <a:picLocks noChangeAspect="1"/>
          </p:cNvPicPr>
          <p:nvPr userDrawn="1"/>
        </p:nvPicPr>
        <p:blipFill>
          <a:blip r:embed="rId12">
            <a:extLs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grpSp>
        <p:nvGrpSpPr>
          <p:cNvPr id="14" name="Accenture_Master" hidden="1"/>
          <p:cNvGrpSpPr/>
          <p:nvPr userDrawn="1"/>
        </p:nvGrpSpPr>
        <p:grpSpPr>
          <a:xfrm>
            <a:off x="345019" y="6249814"/>
            <a:ext cx="957526" cy="276934"/>
            <a:chOff x="476250" y="397668"/>
            <a:chExt cx="2195577" cy="635000"/>
          </a:xfrm>
        </p:grpSpPr>
        <p:sp>
          <p:nvSpPr>
            <p:cNvPr id="15" name="Freeform 14"/>
            <p:cNvSpPr/>
            <p:nvPr/>
          </p:nvSpPr>
          <p:spPr bwMode="auto">
            <a:xfrm>
              <a:off x="1758865" y="397668"/>
              <a:ext cx="206059" cy="214470"/>
            </a:xfrm>
            <a:custGeom>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pic>
          <p:nvPicPr>
            <p:cNvPr id="16" name="Accenture Black"/>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
        <p:nvSpPr>
          <p:cNvPr id="17" name="Inhaltsplatzhalter 13">
            <a:extLst>
              <a:ext uri="{FF2B5EF4-FFF2-40B4-BE49-F238E27FC236}">
                <a16:creationId xmlns:a16="http://schemas.microsoft.com/office/drawing/2014/main" id="{619567A4-0EA6-4AAD-90B4-A44ADE5E55B9}"/>
              </a:ext>
            </a:extLst>
          </p:cNvPr>
          <p:cNvSpPr txBox="1"/>
          <p:nvPr userDrawn="1"/>
        </p:nvSpPr>
        <p:spPr>
          <a:xfrm>
            <a:off x="11329868" y="6366598"/>
            <a:ext cx="528848" cy="227013"/>
          </a:xfrm>
          <a:prstGeom prst="rect">
            <a:avLst/>
          </a:prstGeom>
        </p:spPr>
        <p:txBody>
          <a:bodyPr lIns="0" tIns="47992" rIns="0" bIns="0">
            <a:noAutofit/>
          </a:bodyPr>
          <a:lstStyle>
            <a:lvl1pPr marL="0" marR="0" indent="0" algn="l" defTabSz="914400" rtl="0" eaLnBrk="1" fontAlgn="auto" latinLnBrk="0" hangingPunct="1">
              <a:lnSpc>
                <a:spcPct val="100000"/>
              </a:lnSpc>
              <a:spcBef>
                <a:spcPct val="0"/>
              </a:spcBef>
              <a:spcAft>
                <a:spcPct val="0"/>
              </a:spcAft>
              <a:buClrTx/>
              <a:buSzTx/>
              <a:buFontTx/>
              <a:buNone/>
              <a:defRPr/>
            </a:lvl1pPr>
          </a:lstStyle>
          <a:p>
            <a:pPr marL="0" marR="0" lvl="0" indent="0" algn="r" defTabSz="1218987" rtl="0" eaLnBrk="1"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endParaRPr>
          </a:p>
        </p:txBody>
      </p:sp>
      <p:sp>
        <p:nvSpPr>
          <p:cNvPr id="29" name="Title Placeholder 1">
            <a:extLst>
              <a:ext uri="{FF2B5EF4-FFF2-40B4-BE49-F238E27FC236}">
                <a16:creationId xmlns:a16="http://schemas.microsoft.com/office/drawing/2014/main" id="{40B99788-1F40-4F37-8548-ECC6506804C0}"/>
              </a:ext>
            </a:extLst>
          </p:cNvPr>
          <p:cNvSpPr>
            <a:spLocks noGrp="1"/>
          </p:cNvSpPr>
          <p:nvPr>
            <p:ph type="title"/>
          </p:nvPr>
        </p:nvSpPr>
        <p:spPr>
          <a:xfrm>
            <a:off x="345018" y="332076"/>
            <a:ext cx="10027707" cy="776139"/>
          </a:xfrm>
          <a:prstGeom prst="rect">
            <a:avLst/>
          </a:prstGeom>
        </p:spPr>
        <p:txBody>
          <a:bodyPr vert="horz" lIns="0" tIns="0" rIns="130101" bIns="0" rtlCol="0" anchor="t" anchorCtr="0">
            <a:noAutofit/>
          </a:bodyPr>
          <a:lstStyle/>
          <a:p>
            <a:r>
              <a:rPr lang="en-US"/>
              <a:t>CONTENT TITLE</a:t>
            </a:r>
          </a:p>
        </p:txBody>
      </p:sp>
      <p:sp>
        <p:nvSpPr>
          <p:cNvPr id="18" name="Footer Placeholder 4">
            <a:extLst>
              <a:ext uri="{FF2B5EF4-FFF2-40B4-BE49-F238E27FC236}">
                <a16:creationId xmlns:a16="http://schemas.microsoft.com/office/drawing/2014/main" id="{F203C7CB-E742-4415-A6CF-7953BBDC1FE0}"/>
              </a:ext>
            </a:extLst>
          </p:cNvPr>
          <p:cNvSpPr>
            <a:spLocks noGrp="1"/>
          </p:cNvSpPr>
          <p:nvPr>
            <p:ph type="ftr" sz="quarter" idx="3"/>
          </p:nvPr>
        </p:nvSpPr>
        <p:spPr>
          <a:xfrm>
            <a:off x="381003" y="6519010"/>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Copyright © 2018 Accenture. All rights reserved.</a:t>
            </a:r>
          </a:p>
        </p:txBody>
      </p:sp>
      <p:sp>
        <p:nvSpPr>
          <p:cNvPr id="19" name="Slide Number Placeholder 5">
            <a:extLst>
              <a:ext uri="{FF2B5EF4-FFF2-40B4-BE49-F238E27FC236}">
                <a16:creationId xmlns:a16="http://schemas.microsoft.com/office/drawing/2014/main" id="{BE3761FD-979F-436B-949B-12F2C1E4B33C}"/>
              </a:ext>
            </a:extLst>
          </p:cNvPr>
          <p:cNvSpPr>
            <a:spLocks noGrp="1"/>
          </p:cNvSpPr>
          <p:nvPr>
            <p:ph type="sldNum" sz="quarter" idx="4"/>
          </p:nvPr>
        </p:nvSpPr>
        <p:spPr>
          <a:xfrm>
            <a:off x="11506203" y="6519010"/>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t>‹#›</a:t>
            </a:fld>
            <a:endParaRPr lang="en-US"/>
          </a:p>
        </p:txBody>
      </p:sp>
    </p:spTree>
    <p:extLst>
      <p:ext uri="{BB962C8B-B14F-4D97-AF65-F5344CB8AC3E}">
        <p14:creationId xmlns:p14="http://schemas.microsoft.com/office/powerpoint/2010/main" val="368132400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2" r:id="rId5"/>
  </p:sldLayoutIdLst>
  <p:transition/>
  <p:timing/>
  <p:hf hdr="0" ftr="0" dt="0"/>
  <p:txStyles>
    <p:titleStyle>
      <a:lvl1pPr algn="l" defTabSz="1734634" rtl="0" eaLnBrk="1" latinLnBrk="0" hangingPunct="1">
        <a:lnSpc>
          <a:spcPct val="80000"/>
        </a:lnSpc>
        <a:spcBef>
          <a:spcPct val="0"/>
        </a:spcBef>
        <a:buNone/>
        <a:defRPr sz="2800" b="0" i="0" kern="1200" cap="all" spc="-133" baseline="0">
          <a:solidFill>
            <a:schemeClr val="tx1"/>
          </a:solidFill>
          <a:latin typeface="+mj-lt"/>
          <a:ea typeface="Arial Black" charset="0"/>
          <a:cs typeface="Arial Black" charset="0"/>
        </a:defRPr>
      </a:lvl1pPr>
    </p:titleStyle>
    <p:bodyStyle>
      <a:lvl1pPr marL="0" indent="0" algn="l" defTabSz="1734634" rtl="0" eaLnBrk="1" latinLnBrk="0" hangingPunct="1">
        <a:lnSpc>
          <a:spcPct val="90000"/>
        </a:lnSpc>
        <a:spcBef>
          <a:spcPts val="800"/>
        </a:spcBef>
        <a:buFont typeface="Arial"/>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a:buNone/>
        <a:defRPr sz="1800" b="0" i="0" kern="1200" cap="none" baseline="0">
          <a:solidFill>
            <a:schemeClr val="tx2"/>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a:buChar char="•"/>
        <a:defRPr sz="1800" b="0" i="0" kern="1200" cap="none" baseline="0">
          <a:solidFill>
            <a:schemeClr val="tx2"/>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a:buChar char="•"/>
        <a:defRPr sz="1867"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4634" rtl="0" eaLnBrk="1" latinLnBrk="0" hangingPunct="1">
        <a:defRPr sz="3467" kern="1200">
          <a:solidFill>
            <a:schemeClr val="tx1"/>
          </a:solidFill>
          <a:latin typeface="+mn-lt"/>
          <a:ea typeface="+mn-ea"/>
          <a:cs typeface="+mn-cs"/>
        </a:defRPr>
      </a:lvl1pPr>
      <a:lvl2pPr marL="867317" algn="l" defTabSz="1734634" rtl="0" eaLnBrk="1" latinLnBrk="0" hangingPunct="1">
        <a:defRPr sz="3467" kern="1200">
          <a:solidFill>
            <a:schemeClr val="tx1"/>
          </a:solidFill>
          <a:latin typeface="+mn-lt"/>
          <a:ea typeface="+mn-ea"/>
          <a:cs typeface="+mn-cs"/>
        </a:defRPr>
      </a:lvl2pPr>
      <a:lvl3pPr marL="1734634" algn="l" defTabSz="1734634" rtl="0" eaLnBrk="1" latinLnBrk="0" hangingPunct="1">
        <a:defRPr sz="3467" kern="1200">
          <a:solidFill>
            <a:schemeClr val="tx1"/>
          </a:solidFill>
          <a:latin typeface="+mn-lt"/>
          <a:ea typeface="+mn-ea"/>
          <a:cs typeface="+mn-cs"/>
        </a:defRPr>
      </a:lvl3pPr>
      <a:lvl4pPr marL="2601951" algn="l" defTabSz="1734634" rtl="0" eaLnBrk="1" latinLnBrk="0" hangingPunct="1">
        <a:defRPr sz="3467" kern="1200">
          <a:solidFill>
            <a:schemeClr val="tx1"/>
          </a:solidFill>
          <a:latin typeface="+mn-lt"/>
          <a:ea typeface="+mn-ea"/>
          <a:cs typeface="+mn-cs"/>
        </a:defRPr>
      </a:lvl4pPr>
      <a:lvl5pPr marL="3469269" algn="l" defTabSz="1734634" rtl="0" eaLnBrk="1" latinLnBrk="0" hangingPunct="1">
        <a:defRPr sz="3467" kern="1200">
          <a:solidFill>
            <a:schemeClr val="tx1"/>
          </a:solidFill>
          <a:latin typeface="+mn-lt"/>
          <a:ea typeface="+mn-ea"/>
          <a:cs typeface="+mn-cs"/>
        </a:defRPr>
      </a:lvl5pPr>
      <a:lvl6pPr marL="4336586" algn="l" defTabSz="1734634" rtl="0" eaLnBrk="1" latinLnBrk="0" hangingPunct="1">
        <a:defRPr sz="3467" kern="1200">
          <a:solidFill>
            <a:schemeClr val="tx1"/>
          </a:solidFill>
          <a:latin typeface="+mn-lt"/>
          <a:ea typeface="+mn-ea"/>
          <a:cs typeface="+mn-cs"/>
        </a:defRPr>
      </a:lvl6pPr>
      <a:lvl7pPr marL="5203903" algn="l" defTabSz="1734634" rtl="0" eaLnBrk="1" latinLnBrk="0" hangingPunct="1">
        <a:defRPr sz="3467" kern="1200">
          <a:solidFill>
            <a:schemeClr val="tx1"/>
          </a:solidFill>
          <a:latin typeface="+mn-lt"/>
          <a:ea typeface="+mn-ea"/>
          <a:cs typeface="+mn-cs"/>
        </a:defRPr>
      </a:lvl7pPr>
      <a:lvl8pPr marL="6071220" algn="l" defTabSz="1734634" rtl="0" eaLnBrk="1" latinLnBrk="0" hangingPunct="1">
        <a:defRPr sz="3467" kern="1200">
          <a:solidFill>
            <a:schemeClr val="tx1"/>
          </a:solidFill>
          <a:latin typeface="+mn-lt"/>
          <a:ea typeface="+mn-ea"/>
          <a:cs typeface="+mn-cs"/>
        </a:defRPr>
      </a:lvl8pPr>
      <a:lvl9pPr marL="6938537" algn="l" defTabSz="1734634" rtl="0" eaLnBrk="1" latinLnBrk="0" hangingPunct="1">
        <a:defRPr sz="34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5" orient="horz" pos="2610">
          <p15:clr>
            <a:srgbClr val="F26B43"/>
          </p15:clr>
        </p15:guide>
        <p15:guide id="7" orient="horz" pos="204">
          <p15:clr>
            <a:srgbClr val="F26B43"/>
          </p15:clr>
        </p15:guide>
        <p15:guide id="8" orient="horz" pos="3816">
          <p15:clr>
            <a:srgbClr val="F26B43"/>
          </p15:clr>
        </p15:guide>
        <p15:guide id="9" orient="horz" pos="1111">
          <p15:clr>
            <a:srgbClr val="F26B43"/>
          </p15:clr>
        </p15:guide>
        <p15:guide id="11" pos="7468">
          <p15:clr>
            <a:srgbClr val="F26B43"/>
          </p15:clr>
        </p15:guide>
        <p15:guide id="12" pos="1872">
          <p15:clr>
            <a:srgbClr val="F26B43"/>
          </p15:clr>
        </p15:guide>
        <p15:guide id="13" pos="4884">
          <p15:clr>
            <a:srgbClr val="F26B43"/>
          </p15:clr>
        </p15:guide>
        <p15:guide id="14" pos="5604">
          <p15:clr>
            <a:srgbClr val="F26B43"/>
          </p15:clr>
        </p15:guide>
        <p15:guide id="15" pos="2088">
          <p15:clr>
            <a:srgbClr val="F26B43"/>
          </p15:clr>
        </p15:guide>
        <p15:guide id="16" pos="3954">
          <p15:clr>
            <a:srgbClr val="F26B43"/>
          </p15:clr>
        </p15:guide>
        <p15:guide id="17" pos="6534">
          <p15:clr>
            <a:srgbClr val="F26B43"/>
          </p15:clr>
        </p15:guide>
        <p15:guide id="18" pos="930">
          <p15:clr>
            <a:srgbClr val="F26B43"/>
          </p15:clr>
        </p15:guide>
        <p15:guide id="19" pos="2802">
          <p15:clr>
            <a:srgbClr val="F26B43"/>
          </p15:clr>
        </p15:guide>
        <p15:guide id="20" pos="3024">
          <p15:clr>
            <a:srgbClr val="F26B43"/>
          </p15:clr>
        </p15:guide>
        <p15:guide id="21" pos="3738">
          <p15:clr>
            <a:srgbClr val="F26B43"/>
          </p15:clr>
        </p15:guide>
        <p15:guide id="22" pos="4668">
          <p15:clr>
            <a:srgbClr val="F26B43"/>
          </p15:clr>
        </p15:guide>
        <p15:guide id="23" pos="5820">
          <p15:clr>
            <a:srgbClr val="F26B43"/>
          </p15:clr>
        </p15:guide>
        <p15:guide id="24" pos="6750">
          <p15:clr>
            <a:srgbClr val="F26B43"/>
          </p15:clr>
        </p15:guide>
        <p15:guide id="25" orient="horz" pos="1410">
          <p15:clr>
            <a:srgbClr val="F26B43"/>
          </p15:clr>
        </p15:guide>
        <p15:guide id="26" orient="horz" pos="411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4" name="Footer Placeholder 1">
            <a:extLst>
              <a:ext uri="{FF2B5EF4-FFF2-40B4-BE49-F238E27FC236}">
                <a16:creationId xmlns:a16="http://schemas.microsoft.com/office/drawing/2014/main" id="{2DF688E0-A889-4AEE-8D84-818809F8221F}"/>
              </a:ext>
            </a:extLst>
          </p:cNvPr>
          <p:cNvSpPr txBox="1"/>
          <p:nvPr userDrawn="1"/>
        </p:nvSpPr>
        <p:spPr>
          <a:xfrm>
            <a:off x="381002" y="6519009"/>
            <a:ext cx="9243765"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FFFFFF">
                    <a:lumMod val="65000"/>
                  </a:srgbClr>
                </a:solidFill>
                <a:latin typeface="Graphik" panose="020b0503030202060203" pitchFamily="34" charset="77"/>
              </a:rPr>
              <a:t>Copyright © 2020 Accenture. All rights reserved. </a:t>
            </a:r>
          </a:p>
        </p:txBody>
      </p:sp>
      <p:sp>
        <p:nvSpPr>
          <p:cNvPr id="5" name="Slide Number Placeholder 2">
            <a:extLst>
              <a:ext uri="{FF2B5EF4-FFF2-40B4-BE49-F238E27FC236}">
                <a16:creationId xmlns:a16="http://schemas.microsoft.com/office/drawing/2014/main" id="{F79A07CA-1ECC-42DA-B44E-BA188D9E421C}"/>
              </a:ext>
            </a:extLst>
          </p:cNvPr>
          <p:cNvSpPr txBox="1"/>
          <p:nvPr userDrawn="1"/>
        </p:nvSpPr>
        <p:spPr>
          <a:xfrm>
            <a:off x="11506202" y="6519009"/>
            <a:ext cx="304799"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rgbClr val="FFFFFF">
                    <a:lumMod val="65000"/>
                  </a:srgbClr>
                </a:solidFill>
                <a:latin typeface="Graphik" panose="020b0503030202060203" pitchFamily="34" charset="77"/>
              </a:rPr>
              <a:t>‹#›</a:t>
            </a:fld>
            <a:endParaRPr lang="en-US">
              <a:solidFill>
                <a:srgbClr val="FFFFFF">
                  <a:lumMod val="65000"/>
                </a:srgbClr>
              </a:solidFill>
              <a:latin typeface="Graphik" panose="020b0503030202060203" pitchFamily="34" charset="77"/>
            </a:endParaRPr>
          </a:p>
        </p:txBody>
      </p:sp>
    </p:spTree>
    <p:extLst>
      <p:ext uri="{BB962C8B-B14F-4D97-AF65-F5344CB8AC3E}">
        <p14:creationId xmlns:p14="http://schemas.microsoft.com/office/powerpoint/2010/main" val="405532582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p:transition/>
  <p:timing/>
  <p:hf hdr="0"/>
  <p:txStyles>
    <p:titleStyle>
      <a:lvl1pPr marL="0" indent="0" algn="l" defTabSz="914377" rtl="0" eaLnBrk="1" latinLnBrk="0" hangingPunct="1">
        <a:lnSpc>
          <a:spcPct val="70000"/>
        </a:lnSpc>
        <a:spcBef>
          <a:spcPct val="0"/>
        </a:spcBef>
        <a:buNone/>
        <a:defRPr sz="28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ct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ct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ct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ct val="0"/>
        </a:spcBef>
        <a:spcAft>
          <a:spcPct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ct val="0"/>
        </a:spcBef>
        <a:spcAft>
          <a:spcPct val="0"/>
        </a:spcAft>
        <a:buFont typeface="Graphik" panose="020b0503030202060203" pitchFamily="34" charset="77"/>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ct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ct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guide id="17" orient="horz" pos="412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3" name="Object 2" hidden="1">
            <a:extLst>
              <a:ext uri="{FF2B5EF4-FFF2-40B4-BE49-F238E27FC236}">
                <a16:creationId xmlns:a16="http://schemas.microsoft.com/office/drawing/2014/main" id="{9EB11577-62F9-4093-B7CE-EB5DBAAD70AA}"/>
              </a:ext>
            </a:extLst>
          </p:cNvPr>
          <p:cNvGraphicFramePr>
            <a:graphicFrameLocks noChangeAspect="1"/>
          </p:cNvGraphicFramePr>
          <p:nvPr userDrawn="1">
            <p:custDataLst>
              <p:tags r:id="rId12"/>
            </p:custDataLst>
            <p:extLst>
              <p:ext uri="{D42A27DB-BD31-4B8C-83A1-F6EECF244321}">
                <p14:modId xmlns:p14="http://schemas.microsoft.com/office/powerpoint/2010/main" val="1053595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13" progId="TCLayout.ActiveDocument.1">
                  <p:embed/>
                </p:oleObj>
              </mc:Choice>
              <mc:Fallback>
                <p:oleObj name="think-cell Slide" r:id="rId13" progId="TCLayout.ActiveDocument.1">
                  <p:embed/>
                  <p:pic>
                    <p:nvPicPr>
                      <p:cNvPr id="0" name="OLE substitute imag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53567F-D254-40B3-A36C-D5CB2154AAB9}"/>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800" b="1" i="0" u="none" cap="none" baseline="0">
              <a:latin typeface="Graphik Black" panose="020b0503030202060203" pitchFamily="34" charset="77"/>
              <a:ea typeface="+mj-ea"/>
              <a:cs typeface="+mj-cs"/>
            </a:endParaRPr>
          </a:p>
        </p:txBody>
      </p:sp>
      <p:sp>
        <p:nvSpPr>
          <p:cNvPr id="16" name="Title Placeholder 3">
            <a:extLst>
              <a:ext uri="{FF2B5EF4-FFF2-40B4-BE49-F238E27FC236}">
                <a16:creationId xmlns:a16="http://schemas.microsoft.com/office/drawing/2014/main" id="{DEB30C2B-2C7A-486C-A3CE-A1E7A4190ACD}"/>
              </a:ext>
            </a:extLst>
          </p:cNvPr>
          <p:cNvSpPr>
            <a:spLocks noGrp="1"/>
          </p:cNvSpPr>
          <p:nvPr>
            <p:ph type="title"/>
          </p:nvPr>
        </p:nvSpPr>
        <p:spPr>
          <a:xfrm>
            <a:off x="380999" y="388539"/>
            <a:ext cx="11430001" cy="517698"/>
          </a:xfrm>
          <a:prstGeom prst="rect">
            <a:avLst/>
          </a:prstGeom>
        </p:spPr>
        <p:txBody>
          <a:bodyPr vert="horz" lIns="0" tIns="0" rIns="0" bIns="0" rtlCol="0" anchor="ctr">
            <a:noAutofit/>
          </a:bodyPr>
          <a:lstStyle/>
          <a:p>
            <a:r>
              <a:rPr lang="en-US"/>
              <a:t>CLICK TO EDIT MASTER TITLE STYLE</a:t>
            </a:r>
          </a:p>
        </p:txBody>
      </p:sp>
      <p:sp>
        <p:nvSpPr>
          <p:cNvPr id="17" name="Footer Placeholder 4">
            <a:extLst>
              <a:ext uri="{FF2B5EF4-FFF2-40B4-BE49-F238E27FC236}">
                <a16:creationId xmlns:a16="http://schemas.microsoft.com/office/drawing/2014/main" id="{E6D5F956-2305-4FE0-9DF2-AD1B4D152D8C}"/>
              </a:ext>
            </a:extLst>
          </p:cNvPr>
          <p:cNvSpPr>
            <a:spLocks noGrp="1"/>
          </p:cNvSpPr>
          <p:nvPr>
            <p:ph type="ftr" sz="quarter" idx="3"/>
          </p:nvPr>
        </p:nvSpPr>
        <p:spPr>
          <a:xfrm>
            <a:off x="381002" y="6519009"/>
            <a:ext cx="8785858"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Copyright © 2020 Accenture. All Rights Reserved. Accenture, its logo, and High Performance Delivered are trademarks of Accenture</a:t>
            </a:r>
          </a:p>
        </p:txBody>
      </p:sp>
      <p:sp>
        <p:nvSpPr>
          <p:cNvPr id="18" name="Slide Number Placeholder 5">
            <a:extLst>
              <a:ext uri="{FF2B5EF4-FFF2-40B4-BE49-F238E27FC236}">
                <a16:creationId xmlns:a16="http://schemas.microsoft.com/office/drawing/2014/main" id="{7C61CEA6-AA54-45A0-8E76-BCDB65B0BECB}"/>
              </a:ext>
            </a:extLst>
          </p:cNvPr>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t>‹#›</a:t>
            </a:fld>
            <a:endParaRPr lang="en-US"/>
          </a:p>
        </p:txBody>
      </p:sp>
    </p:spTree>
    <p:extLst>
      <p:ext uri="{BB962C8B-B14F-4D97-AF65-F5344CB8AC3E}">
        <p14:creationId xmlns:p14="http://schemas.microsoft.com/office/powerpoint/2010/main" val="1547918963"/>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Lst>
  <p:transition/>
  <p:timing/>
  <p:hf hdr="0"/>
  <p:txStyles>
    <p:titleStyle>
      <a:lvl1pPr marL="0" indent="0" algn="l" defTabSz="914377" rtl="0" eaLnBrk="1" latinLnBrk="0" hangingPunct="1">
        <a:lnSpc>
          <a:spcPct val="70000"/>
        </a:lnSpc>
        <a:spcBef>
          <a:spcPct val="0"/>
        </a:spcBef>
        <a:buNone/>
        <a:defRPr sz="28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ct val="0"/>
        </a:spcBef>
        <a:buFont typeface="Arial" panose="020b0604020202020204" pitchFamily="34" charset="0"/>
        <a:buNone/>
        <a:defRPr sz="1400" b="1" kern="1200" cap="all" baseline="0">
          <a:solidFill>
            <a:schemeClr val="accent1"/>
          </a:solidFill>
          <a:latin typeface="+mn-lt"/>
          <a:ea typeface="+mn-ea"/>
          <a:cs typeface="+mn-cs"/>
        </a:defRPr>
      </a:lvl1pPr>
      <a:lvl2pPr marL="0" indent="0" algn="l" defTabSz="914377" rtl="0" eaLnBrk="1" latinLnBrk="0" hangingPunct="1">
        <a:lnSpc>
          <a:spcPct val="90000"/>
        </a:lnSpc>
        <a:spcBef>
          <a:spcPct val="0"/>
        </a:spcBef>
        <a:spcAft>
          <a:spcPts val="1200"/>
        </a:spcAft>
        <a:buFont typeface="Arial" panose="020b0604020202020204" pitchFamily="34" charset="0"/>
        <a:buNone/>
        <a:defRPr sz="1600" kern="1200">
          <a:solidFill>
            <a:schemeClr val="tx1"/>
          </a:solidFill>
          <a:latin typeface="+mn-lt"/>
          <a:ea typeface="+mn-ea"/>
          <a:cs typeface="+mn-cs"/>
        </a:defRPr>
      </a:lvl2pPr>
      <a:lvl3pPr marL="0" indent="0" algn="l" defTabSz="914377" rtl="0" eaLnBrk="1" latinLnBrk="0" hangingPunct="1">
        <a:lnSpc>
          <a:spcPct val="110000"/>
        </a:lnSpc>
        <a:spcBef>
          <a:spcPct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ct val="0"/>
        </a:spcBef>
        <a:spcAft>
          <a:spcPct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ct val="0"/>
        </a:spcBef>
        <a:spcAft>
          <a:spcPct val="0"/>
        </a:spcAft>
        <a:buFont typeface="Graphik" panose="020b0503030202060203" pitchFamily="34" charset="77"/>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ct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ct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89">
          <p15:clr>
            <a:srgbClr val="F26B43"/>
          </p15:clr>
        </p15:guide>
        <p15:guide id="2" pos="5640">
          <p15:clr>
            <a:srgbClr val="F26B43"/>
          </p15:clr>
        </p15:guide>
        <p15:guide id="4">
          <p15:clr>
            <a:srgbClr val="F26B43"/>
          </p15:clr>
        </p15:guide>
        <p15:guide id="5" orient="horz" pos="96">
          <p15:clr>
            <a:srgbClr val="F26B43"/>
          </p15:clr>
        </p15:guide>
        <p15:guide id="6" orient="horz">
          <p15:clr>
            <a:srgbClr val="F26B43"/>
          </p15:clr>
        </p15:guide>
        <p15:guide id="9" pos="240">
          <p15:clr>
            <a:srgbClr val="F26B43"/>
          </p15:clr>
        </p15:guide>
        <p15:guide id="10" orient="horz" pos="4096">
          <p15:clr>
            <a:srgbClr val="F26B43"/>
          </p15:clr>
        </p15:guide>
        <p15:guide id="11" pos="3840">
          <p15:clr>
            <a:srgbClr val="F26B43"/>
          </p15:clr>
        </p15:guide>
        <p15:guide id="13" pos="2040">
          <p15:clr>
            <a:srgbClr val="F26B43"/>
          </p15:clr>
        </p15:guide>
        <p15:guide id="14" pos="7440">
          <p15:clr>
            <a:srgbClr val="F26B43"/>
          </p15:clr>
        </p15:guide>
        <p15:guide id="15" orient="horz" pos="624">
          <p15:clr>
            <a:srgbClr val="F26B43"/>
          </p15:clr>
        </p15:guide>
        <p15:guide id="16" orient="horz" pos="414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3" name="Object 2" hidden="1">
            <a:extLst>
              <a:ext uri="{FF2B5EF4-FFF2-40B4-BE49-F238E27FC236}">
                <a16:creationId xmlns:a16="http://schemas.microsoft.com/office/drawing/2014/main" id="{9EB11577-62F9-4093-B7CE-EB5DBAAD70AA}"/>
              </a:ext>
            </a:extLst>
          </p:cNvPr>
          <p:cNvGraphicFramePr>
            <a:graphicFrameLocks noChangeAspect="1"/>
          </p:cNvGraphicFramePr>
          <p:nvPr userDrawn="1">
            <p:custDataLst>
              <p:tags r:id="rId12"/>
            </p:custDataLst>
            <p:extLst>
              <p:ext uri="{D42A27DB-BD31-4B8C-83A1-F6EECF244321}">
                <p14:modId xmlns:p14="http://schemas.microsoft.com/office/powerpoint/2010/main" val="197798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13" progId="TCLayout.ActiveDocument.1">
                  <p:embed/>
                </p:oleObj>
              </mc:Choice>
              <mc:Fallback>
                <p:oleObj name="think-cell Slide" r:id="rId13" progId="TCLayout.ActiveDocument.1">
                  <p:embed/>
                  <p:pic>
                    <p:nvPicPr>
                      <p:cNvPr id="0" name="OLE substitute imag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53567F-D254-40B3-A36C-D5CB2154AAB9}"/>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800" b="1" i="0" u="none" cap="none" baseline="0">
              <a:latin typeface="Graphik Black" panose="020b0503030202060203" pitchFamily="34" charset="77"/>
              <a:ea typeface="+mj-ea"/>
              <a:cs typeface="+mj-cs"/>
            </a:endParaRPr>
          </a:p>
        </p:txBody>
      </p:sp>
      <p:sp>
        <p:nvSpPr>
          <p:cNvPr id="16" name="Title Placeholder 3">
            <a:extLst>
              <a:ext uri="{FF2B5EF4-FFF2-40B4-BE49-F238E27FC236}">
                <a16:creationId xmlns:a16="http://schemas.microsoft.com/office/drawing/2014/main" id="{DEB30C2B-2C7A-486C-A3CE-A1E7A4190ACD}"/>
              </a:ext>
            </a:extLst>
          </p:cNvPr>
          <p:cNvSpPr>
            <a:spLocks noGrp="1"/>
          </p:cNvSpPr>
          <p:nvPr>
            <p:ph type="title"/>
          </p:nvPr>
        </p:nvSpPr>
        <p:spPr>
          <a:xfrm>
            <a:off x="380999" y="388539"/>
            <a:ext cx="11430001" cy="517698"/>
          </a:xfrm>
          <a:prstGeom prst="rect">
            <a:avLst/>
          </a:prstGeom>
        </p:spPr>
        <p:txBody>
          <a:bodyPr vert="horz" lIns="0" tIns="0" rIns="0" bIns="0" rtlCol="0" anchor="ctr">
            <a:noAutofit/>
          </a:bodyPr>
          <a:lstStyle/>
          <a:p>
            <a:r>
              <a:rPr lang="en-US"/>
              <a:t>CLICK TO EDIT MASTER TITLE STYLE</a:t>
            </a:r>
          </a:p>
        </p:txBody>
      </p:sp>
      <p:sp>
        <p:nvSpPr>
          <p:cNvPr id="17" name="Footer Placeholder 4">
            <a:extLst>
              <a:ext uri="{FF2B5EF4-FFF2-40B4-BE49-F238E27FC236}">
                <a16:creationId xmlns:a16="http://schemas.microsoft.com/office/drawing/2014/main" id="{E6D5F956-2305-4FE0-9DF2-AD1B4D152D8C}"/>
              </a:ext>
            </a:extLst>
          </p:cNvPr>
          <p:cNvSpPr>
            <a:spLocks noGrp="1"/>
          </p:cNvSpPr>
          <p:nvPr>
            <p:ph type="ftr" sz="quarter" idx="3"/>
          </p:nvPr>
        </p:nvSpPr>
        <p:spPr>
          <a:xfrm>
            <a:off x="381002" y="6519009"/>
            <a:ext cx="8785858"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Copyright © 2020 Accenture. All Rights Reserved. Accenture, its logo, and High Performance Delivered are trademarks of Accenture</a:t>
            </a:r>
          </a:p>
        </p:txBody>
      </p:sp>
      <p:sp>
        <p:nvSpPr>
          <p:cNvPr id="18" name="Slide Number Placeholder 5">
            <a:extLst>
              <a:ext uri="{FF2B5EF4-FFF2-40B4-BE49-F238E27FC236}">
                <a16:creationId xmlns:a16="http://schemas.microsoft.com/office/drawing/2014/main" id="{7C61CEA6-AA54-45A0-8E76-BCDB65B0BECB}"/>
              </a:ext>
            </a:extLst>
          </p:cNvPr>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t>‹#›</a:t>
            </a:fld>
            <a:endParaRPr lang="en-US"/>
          </a:p>
        </p:txBody>
      </p:sp>
    </p:spTree>
    <p:extLst>
      <p:ext uri="{BB962C8B-B14F-4D97-AF65-F5344CB8AC3E}">
        <p14:creationId xmlns:p14="http://schemas.microsoft.com/office/powerpoint/2010/main" val="153259140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ransition/>
  <p:timing/>
  <p:hf hdr="0"/>
  <p:txStyles>
    <p:titleStyle>
      <a:lvl1pPr marL="0" indent="0" algn="l" defTabSz="914377" rtl="0" eaLnBrk="1" latinLnBrk="0" hangingPunct="1">
        <a:lnSpc>
          <a:spcPct val="70000"/>
        </a:lnSpc>
        <a:spcBef>
          <a:spcPct val="0"/>
        </a:spcBef>
        <a:buNone/>
        <a:defRPr sz="28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ct val="0"/>
        </a:spcBef>
        <a:buFont typeface="Arial" panose="020b0604020202020204" pitchFamily="34" charset="0"/>
        <a:buNone/>
        <a:defRPr sz="1400" b="1" kern="1200" cap="all" baseline="0">
          <a:solidFill>
            <a:schemeClr val="accent1"/>
          </a:solidFill>
          <a:latin typeface="+mn-lt"/>
          <a:ea typeface="+mn-ea"/>
          <a:cs typeface="+mn-cs"/>
        </a:defRPr>
      </a:lvl1pPr>
      <a:lvl2pPr marL="0" indent="0" algn="l" defTabSz="914377" rtl="0" eaLnBrk="1" latinLnBrk="0" hangingPunct="1">
        <a:lnSpc>
          <a:spcPct val="90000"/>
        </a:lnSpc>
        <a:spcBef>
          <a:spcPct val="0"/>
        </a:spcBef>
        <a:spcAft>
          <a:spcPts val="1200"/>
        </a:spcAft>
        <a:buFont typeface="Arial" panose="020b0604020202020204" pitchFamily="34" charset="0"/>
        <a:buNone/>
        <a:defRPr sz="1600" kern="1200">
          <a:solidFill>
            <a:schemeClr val="tx1"/>
          </a:solidFill>
          <a:latin typeface="+mn-lt"/>
          <a:ea typeface="+mn-ea"/>
          <a:cs typeface="+mn-cs"/>
        </a:defRPr>
      </a:lvl2pPr>
      <a:lvl3pPr marL="0" indent="0" algn="l" defTabSz="914377" rtl="0" eaLnBrk="1" latinLnBrk="0" hangingPunct="1">
        <a:lnSpc>
          <a:spcPct val="110000"/>
        </a:lnSpc>
        <a:spcBef>
          <a:spcPct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ct val="0"/>
        </a:spcBef>
        <a:spcAft>
          <a:spcPct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ct val="0"/>
        </a:spcBef>
        <a:spcAft>
          <a:spcPct val="0"/>
        </a:spcAft>
        <a:buFont typeface="Graphik" panose="020b0503030202060203" pitchFamily="34" charset="77"/>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ct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ct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89">
          <p15:clr>
            <a:srgbClr val="F26B43"/>
          </p15:clr>
        </p15:guide>
        <p15:guide id="2" pos="5640">
          <p15:clr>
            <a:srgbClr val="F26B43"/>
          </p15:clr>
        </p15:guide>
        <p15:guide id="4">
          <p15:clr>
            <a:srgbClr val="F26B43"/>
          </p15:clr>
        </p15:guide>
        <p15:guide id="5" orient="horz" pos="96">
          <p15:clr>
            <a:srgbClr val="F26B43"/>
          </p15:clr>
        </p15:guide>
        <p15:guide id="6" orient="horz">
          <p15:clr>
            <a:srgbClr val="F26B43"/>
          </p15:clr>
        </p15:guide>
        <p15:guide id="9" pos="240">
          <p15:clr>
            <a:srgbClr val="F26B43"/>
          </p15:clr>
        </p15:guide>
        <p15:guide id="10" orient="horz" pos="4096">
          <p15:clr>
            <a:srgbClr val="F26B43"/>
          </p15:clr>
        </p15:guide>
        <p15:guide id="11" pos="3840">
          <p15:clr>
            <a:srgbClr val="F26B43"/>
          </p15:clr>
        </p15:guide>
        <p15:guide id="13" pos="2040">
          <p15:clr>
            <a:srgbClr val="F26B43"/>
          </p15:clr>
        </p15:guide>
        <p15:guide id="14" pos="7440">
          <p15:clr>
            <a:srgbClr val="F26B43"/>
          </p15:clr>
        </p15:guide>
        <p15:guide id="15" orient="horz" pos="624">
          <p15:clr>
            <a:srgbClr val="F26B43"/>
          </p15:clr>
        </p15:guide>
        <p15:guide id="16" orient="horz" pos="414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Pr>
        <a:solidFill>
          <a:schemeClr val="bg1"/>
        </a:solidFill>
        <a:effectLst/>
      </p:bgPr>
    </p:bg>
    <p:spTree>
      <p:nvGrpSpPr>
        <p:cNvPr id="1" name=""/>
        <p:cNvGrpSpPr/>
        <p:nvPr/>
      </p:nvGrpSpPr>
      <p:grpSpPr>
        <a:xfrm>
          <a:off x="0" y="0"/>
          <a:ext cx="0" cy="0"/>
        </a:xfrm>
      </p:grpSpPr>
      <p:sp>
        <p:nvSpPr>
          <p:cNvPr id="2" name="Title Placeholder 1"/>
          <p:cNvSpPr>
            <a:spLocks noGrp="1"/>
          </p:cNvSpPr>
          <p:nvPr>
            <p:ph type="title"/>
          </p:nvPr>
        </p:nvSpPr>
        <p:spPr>
          <a:xfrm>
            <a:off x="340256" y="332076"/>
            <a:ext cx="10027707" cy="776139"/>
          </a:xfrm>
          <a:prstGeom prst="rect">
            <a:avLst/>
          </a:prstGeom>
        </p:spPr>
        <p:txBody>
          <a:bodyPr vert="horz" lIns="0" tIns="0" rIns="130101" bIns="0" rtlCol="0" anchor="b" anchorCtr="0">
            <a:noAutofit/>
          </a:bodyPr>
          <a:lstStyle/>
          <a:p>
            <a:r>
              <a:rPr lang="en-US"/>
              <a:t>INSERT MAIN TITLE AT 32PT MIN 30PT maximum 2 lines</a:t>
            </a:r>
          </a:p>
        </p:txBody>
      </p:sp>
      <p:sp>
        <p:nvSpPr>
          <p:cNvPr id="3" name="Text Placeholder 2"/>
          <p:cNvSpPr>
            <a:spLocks noGrp="1"/>
          </p:cNvSpPr>
          <p:nvPr>
            <p:ph type="body" idx="1"/>
          </p:nvPr>
        </p:nvSpPr>
        <p:spPr>
          <a:xfrm>
            <a:off x="340256" y="1764072"/>
            <a:ext cx="11491383" cy="429382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p:txBody>
      </p:sp>
      <p:sp>
        <p:nvSpPr>
          <p:cNvPr id="4" name="Footer Placeholder 3"/>
          <p:cNvSpPr>
            <a:spLocks noGrp="1"/>
          </p:cNvSpPr>
          <p:nvPr>
            <p:ph type="ftr" sz="quarter" idx="3"/>
          </p:nvPr>
        </p:nvSpPr>
        <p:spPr>
          <a:xfrm>
            <a:off x="7410450" y="6386400"/>
            <a:ext cx="4114800" cy="140400"/>
          </a:xfrm>
          <a:prstGeom prst="rect">
            <a:avLst/>
          </a:prstGeom>
        </p:spPr>
        <p:txBody>
          <a:bodyPr vert="horz" lIns="0" tIns="0" rIns="0" bIns="0" rtlCol="0" anchor="ctr"/>
          <a:lstStyle>
            <a:lvl1pPr algn="r">
              <a:defRPr sz="900">
                <a:solidFill>
                  <a:schemeClr val="tx1">
                    <a:alpha val="50000"/>
                  </a:schemeClr>
                </a:solidFill>
              </a:defRPr>
            </a:lvl1pPr>
          </a:lstStyle>
          <a:p>
            <a:r>
              <a:rPr lang="en-US"/>
              <a:t>Copyright © 2017 Accenture. All rights reserved.</a:t>
            </a:r>
            <a:endParaRPr lang="en-GB"/>
          </a:p>
        </p:txBody>
      </p:sp>
      <p:sp>
        <p:nvSpPr>
          <p:cNvPr id="5" name="Slide Number Placeholder 4"/>
          <p:cNvSpPr>
            <a:spLocks noGrp="1"/>
          </p:cNvSpPr>
          <p:nvPr>
            <p:ph type="sldNum" sz="quarter" idx="4"/>
          </p:nvPr>
        </p:nvSpPr>
        <p:spPr>
          <a:xfrm>
            <a:off x="11639450" y="6386400"/>
            <a:ext cx="216000" cy="140400"/>
          </a:xfrm>
          <a:prstGeom prst="rect">
            <a:avLst/>
          </a:prstGeom>
        </p:spPr>
        <p:txBody>
          <a:bodyPr vert="horz" lIns="0" tIns="0" rIns="0" bIns="0" rtlCol="0" anchor="ctr"/>
          <a:lstStyle>
            <a:lvl1pPr algn="r">
              <a:defRPr sz="900">
                <a:solidFill>
                  <a:schemeClr val="tx1">
                    <a:alpha val="50000"/>
                  </a:schemeClr>
                </a:solidFill>
              </a:defRPr>
            </a:lvl1pPr>
          </a:lstStyle>
          <a:p>
            <a:fld id="{17D800ED-CB1B-4EBC-A0D2-2190AF4D8872}" type="slidenum">
              <a:rPr lang="en-GB" smtClean="0"/>
              <a:t>‹#›</a:t>
            </a:fld>
            <a:endParaRPr lang="en-GB"/>
          </a:p>
        </p:txBody>
      </p:sp>
    </p:spTree>
    <p:extLst>
      <p:ext uri="{BB962C8B-B14F-4D97-AF65-F5344CB8AC3E}">
        <p14:creationId xmlns:p14="http://schemas.microsoft.com/office/powerpoint/2010/main" val="4130526451"/>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 id="2147483766" r:id="rId32"/>
    <p:sldLayoutId id="2147483767" r:id="rId33"/>
    <p:sldLayoutId id="2147483768" r:id="rId34"/>
    <p:sldLayoutId id="2147483769" r:id="rId35"/>
    <p:sldLayoutId id="2147483770" r:id="rId36"/>
    <p:sldLayoutId id="2147483771" r:id="rId37"/>
    <p:sldLayoutId id="2147483772" r:id="rId38"/>
    <p:sldLayoutId id="2147483773" r:id="rId39"/>
    <p:sldLayoutId id="2147483774" r:id="rId40"/>
    <p:sldLayoutId id="2147483775" r:id="rId41"/>
    <p:sldLayoutId id="2147483776" r:id="rId42"/>
    <p:sldLayoutId id="2147483777" r:id="rId43"/>
    <p:sldLayoutId id="2147483778" r:id="rId44"/>
    <p:sldLayoutId id="2147483779" r:id="rId45"/>
    <p:sldLayoutId id="2147483780" r:id="rId46"/>
    <p:sldLayoutId id="2147483781" r:id="rId47"/>
    <p:sldLayoutId id="2147483782" r:id="rId48"/>
    <p:sldLayoutId id="2147483783" r:id="rId49"/>
    <p:sldLayoutId id="2147483784" r:id="rId50"/>
    <p:sldLayoutId id="2147483785" r:id="rId51"/>
    <p:sldLayoutId id="2147483786" r:id="rId52"/>
    <p:sldLayoutId id="2147483787" r:id="rId53"/>
    <p:sldLayoutId id="2147483788" r:id="rId54"/>
    <p:sldLayoutId id="2147483789" r:id="rId55"/>
    <p:sldLayoutId id="2147483790" r:id="rId56"/>
    <p:sldLayoutId id="2147483791" r:id="rId57"/>
    <p:sldLayoutId id="2147483792" r:id="rId58"/>
    <p:sldLayoutId id="2147483793" r:id="rId59"/>
    <p:sldLayoutId id="2147483794" r:id="rId60"/>
    <p:sldLayoutId id="2147483795" r:id="rId61"/>
    <p:sldLayoutId id="2147483796" r:id="rId62"/>
    <p:sldLayoutId id="2147483797" r:id="rId63"/>
    <p:sldLayoutId id="2147483798" r:id="rId64"/>
    <p:sldLayoutId id="2147483799" r:id="rId65"/>
    <p:sldLayoutId id="2147483800" r:id="rId66"/>
    <p:sldLayoutId id="2147483801" r:id="rId67"/>
    <p:sldLayoutId id="2147483802" r:id="rId68"/>
    <p:sldLayoutId id="2147483803" r:id="rId69"/>
    <p:sldLayoutId id="2147483804" r:id="rId70"/>
    <p:sldLayoutId id="2147483805" r:id="rId71"/>
    <p:sldLayoutId id="2147483806" r:id="rId72"/>
    <p:sldLayoutId id="2147483807" r:id="rId73"/>
    <p:sldLayoutId id="2147483808" r:id="rId74"/>
    <p:sldLayoutId id="2147483809" r:id="rId75"/>
    <p:sldLayoutId id="2147483810" r:id="rId76"/>
    <p:sldLayoutId id="2147483811" r:id="rId77"/>
    <p:sldLayoutId id="2147483812" r:id="rId78"/>
    <p:sldLayoutId id="2147483813" r:id="rId79"/>
    <p:sldLayoutId id="2147483814" r:id="rId80"/>
    <p:sldLayoutId id="2147483815" r:id="rId81"/>
    <p:sldLayoutId id="2147483816" r:id="rId82"/>
    <p:sldLayoutId id="2147483817" r:id="rId83"/>
    <p:sldLayoutId id="2147483818" r:id="rId84"/>
    <p:sldLayoutId id="2147483819" r:id="rId85"/>
    <p:sldLayoutId id="2147483820" r:id="rId86"/>
    <p:sldLayoutId id="2147483821" r:id="rId87"/>
    <p:sldLayoutId id="2147483822" r:id="rId88"/>
    <p:sldLayoutId id="2147483823" r:id="rId89"/>
    <p:sldLayoutId id="2147483824" r:id="rId90"/>
    <p:sldLayoutId id="2147483825" r:id="rId91"/>
    <p:sldLayoutId id="2147483826" r:id="rId92"/>
    <p:sldLayoutId id="2147483827" r:id="rId93"/>
  </p:sldLayoutIdLst>
  <p:transition/>
  <p:timing/>
  <p:hf hdr="0" dt="0"/>
  <p:txStyles>
    <p:titleStyle>
      <a:lvl1pPr algn="l" defTabSz="1734634" rtl="0" eaLnBrk="1" latinLnBrk="0" hangingPunct="1">
        <a:lnSpc>
          <a:spcPct val="80000"/>
        </a:lnSpc>
        <a:spcBef>
          <a:spcPct val="0"/>
        </a:spcBef>
        <a:buNone/>
        <a:defRPr sz="3200" b="0" i="0" kern="1200" cap="all" spc="0" baseline="0">
          <a:solidFill>
            <a:schemeClr val="accent1"/>
          </a:solidFill>
          <a:latin typeface="+mj-lt"/>
          <a:ea typeface="Arial Black" charset="0"/>
          <a:cs typeface="Arial Black" charset="0"/>
        </a:defRPr>
      </a:lvl1pPr>
    </p:titleStyle>
    <p:bodyStyle>
      <a:lvl1pPr marL="0" indent="0" algn="l" defTabSz="1734634" rtl="0" eaLnBrk="1" latinLnBrk="0" hangingPunct="1">
        <a:lnSpc>
          <a:spcPct val="100000"/>
        </a:lnSpc>
        <a:spcBef>
          <a:spcPts val="800"/>
        </a:spcBef>
        <a:buFont typeface="Arial"/>
        <a:buNone/>
        <a:defRPr sz="1800" b="0"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100000"/>
        </a:lnSpc>
        <a:spcBef>
          <a:spcPts val="800"/>
        </a:spcBef>
        <a:buFont typeface="Arial"/>
        <a:buChar char="•"/>
        <a:defRPr sz="1600" b="0"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100000"/>
        </a:lnSpc>
        <a:spcBef>
          <a:spcPts val="800"/>
        </a:spcBef>
        <a:buFont typeface="Arial" panose="020b0604020202020204" pitchFamily="34" charset="0"/>
        <a:buChar char="‒"/>
        <a:defRPr sz="1400" b="0" i="0" kern="1200" cap="none" baseline="0">
          <a:solidFill>
            <a:schemeClr val="tx1"/>
          </a:solidFill>
          <a:latin typeface="+mn-lt"/>
          <a:ea typeface="Arial Black" charset="0"/>
          <a:cs typeface="Arial Black" charset="0"/>
        </a:defRPr>
      </a:lvl3pPr>
      <a:lvl4pPr marL="0" indent="0" algn="l" defTabSz="1734634" rtl="0" eaLnBrk="1" latinLnBrk="0" hangingPunct="1">
        <a:lnSpc>
          <a:spcPct val="100000"/>
        </a:lnSpc>
        <a:spcBef>
          <a:spcPts val="800"/>
        </a:spcBef>
        <a:buFont typeface="Arial"/>
        <a:buNone/>
        <a:defRPr sz="1800" b="0" i="0" kern="1200" cap="none" baseline="0">
          <a:solidFill>
            <a:schemeClr val="tx2"/>
          </a:solidFill>
          <a:latin typeface="+mn-lt"/>
          <a:ea typeface="Arial Black" charset="0"/>
          <a:cs typeface="Arial Black" charset="0"/>
        </a:defRPr>
      </a:lvl4pPr>
      <a:lvl5pPr marL="182875" indent="-182875" algn="l" defTabSz="1734634" rtl="0" eaLnBrk="1" latinLnBrk="0" hangingPunct="1">
        <a:lnSpc>
          <a:spcPct val="100000"/>
        </a:lnSpc>
        <a:spcBef>
          <a:spcPts val="800"/>
        </a:spcBef>
        <a:buFont typeface="Arial"/>
        <a:buChar char="•"/>
        <a:defRPr sz="1800" b="0" i="0" kern="1200" cap="none" baseline="0">
          <a:solidFill>
            <a:schemeClr val="tx2"/>
          </a:solidFill>
          <a:latin typeface="+mn-lt"/>
          <a:ea typeface="Arial Black" charset="0"/>
          <a:cs typeface="Arial Black" charset="0"/>
        </a:defRPr>
      </a:lvl5pPr>
      <a:lvl6pPr marL="365751" indent="-182875" algn="l" defTabSz="1734634" rtl="0" eaLnBrk="1" latinLnBrk="0" hangingPunct="1">
        <a:lnSpc>
          <a:spcPct val="100000"/>
        </a:lnSpc>
        <a:spcBef>
          <a:spcPts val="800"/>
        </a:spcBef>
        <a:buFont typeface="Arial"/>
        <a:buChar char="•"/>
        <a:defRPr sz="1800" b="0" i="0" kern="1200" cap="none" baseline="0">
          <a:solidFill>
            <a:schemeClr val="tx2"/>
          </a:solidFill>
          <a:latin typeface="+mn-lt"/>
          <a:ea typeface="Arial Bold" charset="0"/>
          <a:cs typeface="Arial Bold" charset="0"/>
        </a:defRPr>
      </a:lvl6pPr>
      <a:lvl7pPr marL="0" indent="0" algn="l" defTabSz="1734634" rtl="0" eaLnBrk="1" latinLnBrk="0" hangingPunct="1">
        <a:lnSpc>
          <a:spcPct val="90000"/>
        </a:lnSpc>
        <a:spcBef>
          <a:spcPts val="800"/>
        </a:spcBef>
        <a:buFont typeface="Arial"/>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a:buChar char="•"/>
        <a:defRPr sz="1867"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4634" rtl="0" eaLnBrk="1" latinLnBrk="0" hangingPunct="1">
        <a:defRPr sz="3467" kern="1200">
          <a:solidFill>
            <a:schemeClr val="tx1"/>
          </a:solidFill>
          <a:latin typeface="+mn-lt"/>
          <a:ea typeface="+mn-ea"/>
          <a:cs typeface="+mn-cs"/>
        </a:defRPr>
      </a:lvl1pPr>
      <a:lvl2pPr marL="867317" algn="l" defTabSz="1734634" rtl="0" eaLnBrk="1" latinLnBrk="0" hangingPunct="1">
        <a:defRPr sz="3467" kern="1200">
          <a:solidFill>
            <a:schemeClr val="tx1"/>
          </a:solidFill>
          <a:latin typeface="+mn-lt"/>
          <a:ea typeface="+mn-ea"/>
          <a:cs typeface="+mn-cs"/>
        </a:defRPr>
      </a:lvl2pPr>
      <a:lvl3pPr marL="1734634" algn="l" defTabSz="1734634" rtl="0" eaLnBrk="1" latinLnBrk="0" hangingPunct="1">
        <a:defRPr sz="3467" kern="1200">
          <a:solidFill>
            <a:schemeClr val="tx1"/>
          </a:solidFill>
          <a:latin typeface="+mn-lt"/>
          <a:ea typeface="+mn-ea"/>
          <a:cs typeface="+mn-cs"/>
        </a:defRPr>
      </a:lvl3pPr>
      <a:lvl4pPr marL="2601951" algn="l" defTabSz="1734634" rtl="0" eaLnBrk="1" latinLnBrk="0" hangingPunct="1">
        <a:defRPr sz="3467" kern="1200">
          <a:solidFill>
            <a:schemeClr val="tx1"/>
          </a:solidFill>
          <a:latin typeface="+mn-lt"/>
          <a:ea typeface="+mn-ea"/>
          <a:cs typeface="+mn-cs"/>
        </a:defRPr>
      </a:lvl4pPr>
      <a:lvl5pPr marL="3469269" algn="l" defTabSz="1734634" rtl="0" eaLnBrk="1" latinLnBrk="0" hangingPunct="1">
        <a:defRPr sz="3467" kern="1200">
          <a:solidFill>
            <a:schemeClr val="tx1"/>
          </a:solidFill>
          <a:latin typeface="+mn-lt"/>
          <a:ea typeface="+mn-ea"/>
          <a:cs typeface="+mn-cs"/>
        </a:defRPr>
      </a:lvl5pPr>
      <a:lvl6pPr marL="4336586" algn="l" defTabSz="1734634" rtl="0" eaLnBrk="1" latinLnBrk="0" hangingPunct="1">
        <a:defRPr sz="3467" kern="1200">
          <a:solidFill>
            <a:schemeClr val="tx1"/>
          </a:solidFill>
          <a:latin typeface="+mn-lt"/>
          <a:ea typeface="+mn-ea"/>
          <a:cs typeface="+mn-cs"/>
        </a:defRPr>
      </a:lvl6pPr>
      <a:lvl7pPr marL="5203903" algn="l" defTabSz="1734634" rtl="0" eaLnBrk="1" latinLnBrk="0" hangingPunct="1">
        <a:defRPr sz="3467" kern="1200">
          <a:solidFill>
            <a:schemeClr val="tx1"/>
          </a:solidFill>
          <a:latin typeface="+mn-lt"/>
          <a:ea typeface="+mn-ea"/>
          <a:cs typeface="+mn-cs"/>
        </a:defRPr>
      </a:lvl7pPr>
      <a:lvl8pPr marL="6071220" algn="l" defTabSz="1734634" rtl="0" eaLnBrk="1" latinLnBrk="0" hangingPunct="1">
        <a:defRPr sz="3467" kern="1200">
          <a:solidFill>
            <a:schemeClr val="tx1"/>
          </a:solidFill>
          <a:latin typeface="+mn-lt"/>
          <a:ea typeface="+mn-ea"/>
          <a:cs typeface="+mn-cs"/>
        </a:defRPr>
      </a:lvl8pPr>
      <a:lvl9pPr marL="6938537" algn="l" defTabSz="1734634" rtl="0" eaLnBrk="1" latinLnBrk="0" hangingPunct="1">
        <a:defRPr sz="34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5" orient="horz" pos="2610">
          <p15:clr>
            <a:srgbClr val="F26B43"/>
          </p15:clr>
        </p15:guide>
        <p15:guide id="7" orient="horz" pos="204">
          <p15:clr>
            <a:srgbClr val="F26B43"/>
          </p15:clr>
        </p15:guide>
        <p15:guide id="8" orient="horz" pos="3816">
          <p15:clr>
            <a:srgbClr val="F26B43"/>
          </p15:clr>
        </p15:guide>
        <p15:guide id="9" orient="horz" pos="1111">
          <p15:clr>
            <a:srgbClr val="F26B43"/>
          </p15:clr>
        </p15:guide>
        <p15:guide id="11" pos="7468">
          <p15:clr>
            <a:srgbClr val="F26B43"/>
          </p15:clr>
        </p15:guide>
        <p15:guide id="12" pos="1872">
          <p15:clr>
            <a:srgbClr val="F26B43"/>
          </p15:clr>
        </p15:guide>
        <p15:guide id="13" pos="4884">
          <p15:clr>
            <a:srgbClr val="F26B43"/>
          </p15:clr>
        </p15:guide>
        <p15:guide id="14" pos="5604">
          <p15:clr>
            <a:srgbClr val="F26B43"/>
          </p15:clr>
        </p15:guide>
        <p15:guide id="15" pos="2088">
          <p15:clr>
            <a:srgbClr val="F26B43"/>
          </p15:clr>
        </p15:guide>
        <p15:guide id="16" pos="3954">
          <p15:clr>
            <a:srgbClr val="F26B43"/>
          </p15:clr>
        </p15:guide>
        <p15:guide id="17" pos="6534">
          <p15:clr>
            <a:srgbClr val="F26B43"/>
          </p15:clr>
        </p15:guide>
        <p15:guide id="18" pos="930">
          <p15:clr>
            <a:srgbClr val="F26B43"/>
          </p15:clr>
        </p15:guide>
        <p15:guide id="19" pos="2802">
          <p15:clr>
            <a:srgbClr val="F26B43"/>
          </p15:clr>
        </p15:guide>
        <p15:guide id="20" pos="3024">
          <p15:clr>
            <a:srgbClr val="F26B43"/>
          </p15:clr>
        </p15:guide>
        <p15:guide id="21" pos="3738">
          <p15:clr>
            <a:srgbClr val="F26B43"/>
          </p15:clr>
        </p15:guide>
        <p15:guide id="22" pos="4668">
          <p15:clr>
            <a:srgbClr val="F26B43"/>
          </p15:clr>
        </p15:guide>
        <p15:guide id="23" pos="5820">
          <p15:clr>
            <a:srgbClr val="F26B43"/>
          </p15:clr>
        </p15:guide>
        <p15:guide id="24" pos="6750">
          <p15:clr>
            <a:srgbClr val="F26B43"/>
          </p15:clr>
        </p15:guide>
        <p15:guide id="25" orient="horz" pos="1410">
          <p15:clr>
            <a:srgbClr val="F26B43"/>
          </p15:clr>
        </p15:guide>
        <p15:guide id="26" orient="horz" pos="4110">
          <p15:clr>
            <a:srgbClr val="F26B43"/>
          </p15:clr>
        </p15:guide>
        <p15:guide id="27" orient="horz" pos="890">
          <p15:clr>
            <a:srgbClr val="F26B43"/>
          </p15:clr>
        </p15:guide>
        <p15:guide id="28" orient="horz" pos="63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381000" y="381001"/>
            <a:ext cx="11430000" cy="368299"/>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p:txBody>
      </p:sp>
      <p:pic>
        <p:nvPicPr>
          <p:cNvPr id="4" name="Picture 3" descr="A picture containing drawing, clock&#10;&#10;Description automatically generated">
            <a:extLst>
              <a:ext uri="{FF2B5EF4-FFF2-40B4-BE49-F238E27FC236}">
                <a16:creationId xmlns:a16="http://schemas.microsoft.com/office/drawing/2014/main" id="{FDDE31C8-EDFF-4CC1-A39F-514E98B5470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1000" y="6512996"/>
            <a:ext cx="192024" cy="202328"/>
          </a:xfrm>
          <a:prstGeom prst="rect">
            <a:avLst/>
          </a:prstGeom>
        </p:spPr>
      </p:pic>
      <p:sp>
        <p:nvSpPr>
          <p:cNvPr id="5" name="Footer Placeholder 1">
            <a:extLst>
              <a:ext uri="{FF2B5EF4-FFF2-40B4-BE49-F238E27FC236}">
                <a16:creationId xmlns:a16="http://schemas.microsoft.com/office/drawing/2014/main" id="{5DBEDD7D-61E8-4105-B891-B26C214FD06B}"/>
              </a:ext>
            </a:extLst>
          </p:cNvPr>
          <p:cNvSpPr txBox="1"/>
          <p:nvPr userDrawn="1"/>
        </p:nvSpPr>
        <p:spPr>
          <a:xfrm>
            <a:off x="5846064" y="6508849"/>
            <a:ext cx="5233673" cy="196751"/>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chemeClr val="bg1">
                    <a:lumMod val="65000"/>
                  </a:schemeClr>
                </a:solidFill>
                <a:latin typeface="Graphik" panose="020b0503030202060203" pitchFamily="34" charset="77"/>
              </a:rPr>
              <a:t>Copyright 2021 Accenture. All rights reserved. Accenture Confidential</a:t>
            </a:r>
          </a:p>
        </p:txBody>
      </p:sp>
      <p:sp>
        <p:nvSpPr>
          <p:cNvPr id="6" name="Slide Number Placeholder 2">
            <a:extLst>
              <a:ext uri="{FF2B5EF4-FFF2-40B4-BE49-F238E27FC236}">
                <a16:creationId xmlns:a16="http://schemas.microsoft.com/office/drawing/2014/main" id="{75094E09-F592-4719-86E7-4E3B46708C4C}"/>
              </a:ext>
            </a:extLst>
          </p:cNvPr>
          <p:cNvSpPr txBox="1"/>
          <p:nvPr userDrawn="1"/>
        </p:nvSpPr>
        <p:spPr>
          <a:xfrm>
            <a:off x="11367125" y="6508849"/>
            <a:ext cx="446257"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F9AC08D-23A9-440E-BCB9-AA1E9877CC38}" type="slidenum">
              <a:rPr lang="en-US" smtClean="0">
                <a:solidFill>
                  <a:schemeClr val="bg1">
                    <a:lumMod val="65000"/>
                  </a:schemeClr>
                </a:solidFill>
                <a:latin typeface="Graphik" panose="020b0503030202060203" pitchFamily="34" charset="77"/>
              </a:rPr>
              <a:pPr algn="r"/>
              <a:t>‹#›</a:t>
            </a:fld>
            <a:endParaRPr lang="en-US">
              <a:solidFill>
                <a:schemeClr val="bg1">
                  <a:lumMod val="65000"/>
                </a:schemeClr>
              </a:solidFill>
              <a:latin typeface="Graphik" panose="020b0503030202060203" pitchFamily="34" charset="77"/>
            </a:endParaRPr>
          </a:p>
        </p:txBody>
      </p:sp>
    </p:spTree>
    <p:extLst>
      <p:ext uri="{BB962C8B-B14F-4D97-AF65-F5344CB8AC3E}">
        <p14:creationId xmlns:p14="http://schemas.microsoft.com/office/powerpoint/2010/main" val="2897307016"/>
      </p:ext>
    </p:extLst>
  </p:cSld>
  <p:clrMap bg1="lt1" tx1="dk1" bg2="lt2" tx2="dk2" accent1="accent1" accent2="accent2" accent3="accent3" accent4="accent4" accent5="accent5" accent6="accent6" hlink="hlink" folHlink="folHlink"/>
  <p:sldLayoutIdLst>
    <p:sldLayoutId id="2147483830" r:id="rId1"/>
  </p:sldLayoutIdLst>
  <p:transition/>
  <p:timing/>
  <p:hf hdr="0"/>
  <p:txStyles>
    <p:titleStyle>
      <a:lvl1pPr marL="0" indent="0" algn="l" defTabSz="914377" rtl="0" eaLnBrk="1" latinLnBrk="0" hangingPunct="1">
        <a:lnSpc>
          <a:spcPct val="70000"/>
        </a:lnSpc>
        <a:spcBef>
          <a:spcPct val="0"/>
        </a:spcBef>
        <a:buNone/>
        <a:defRPr sz="24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ct val="0"/>
        </a:spcBef>
        <a:buFont typeface="Arial" panose="020b0604020202020204" pitchFamily="34" charset="0"/>
        <a:buNone/>
        <a:defRPr sz="1800" b="1" kern="1200" cap="none" baseline="0">
          <a:solidFill>
            <a:schemeClr val="tx1"/>
          </a:solidFill>
          <a:latin typeface="+mj-lt"/>
          <a:ea typeface="+mn-ea"/>
          <a:cs typeface="+mn-cs"/>
        </a:defRPr>
      </a:lvl1pPr>
      <a:lvl2pPr marL="0" indent="0" algn="l" defTabSz="914377" rtl="0" eaLnBrk="1" latinLnBrk="0" hangingPunct="1">
        <a:lnSpc>
          <a:spcPct val="90000"/>
        </a:lnSpc>
        <a:spcBef>
          <a:spcPct val="0"/>
        </a:spcBef>
        <a:spcAft>
          <a:spcPts val="1200"/>
        </a:spcAft>
        <a:buFont typeface="Arial" panose="020b0604020202020204" pitchFamily="34" charset="0"/>
        <a:buNone/>
        <a:defRPr sz="2800" kern="1200" cap="none" baseline="0">
          <a:solidFill>
            <a:schemeClr val="tx1"/>
          </a:solidFill>
          <a:latin typeface="+mn-lt"/>
          <a:ea typeface="+mn-ea"/>
          <a:cs typeface="+mn-cs"/>
        </a:defRPr>
      </a:lvl2pPr>
      <a:lvl3pPr marL="0" indent="0" algn="l" defTabSz="914377" rtl="0" eaLnBrk="1" latinLnBrk="0" hangingPunct="1">
        <a:lnSpc>
          <a:spcPct val="110000"/>
        </a:lnSpc>
        <a:spcBef>
          <a:spcPct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ct val="0"/>
        </a:spcBef>
        <a:spcAft>
          <a:spcPct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ct val="0"/>
        </a:spcBef>
        <a:spcAft>
          <a:spcPct val="0"/>
        </a:spcAft>
        <a:buFont typeface="Graphik" panose="020b0503030202060203" pitchFamily="34" charset="77"/>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ct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ct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4" pos="74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Pr>
        <a:solidFill>
          <a:schemeClr val="bg1"/>
        </a:solidFill>
        <a:effectLst/>
      </p:bgPr>
    </p:bg>
    <p:spTree>
      <p:nvGrpSpPr>
        <p:cNvPr id="1" name=""/>
        <p:cNvGrpSpPr/>
        <p:nvPr/>
      </p:nvGrpSpPr>
      <p:grpSpPr>
        <a:xfrm>
          <a:off x="0" y="0"/>
          <a:ext cx="0" cy="0"/>
        </a:xfrm>
      </p:grpSpPr>
      <p:sp>
        <p:nvSpPr>
          <p:cNvPr id="2" name="Title Placeholder 1"/>
          <p:cNvSpPr>
            <a:spLocks noGrp="1"/>
          </p:cNvSpPr>
          <p:nvPr>
            <p:ph type="title"/>
          </p:nvPr>
        </p:nvSpPr>
        <p:spPr>
          <a:xfrm>
            <a:off x="340256" y="332076"/>
            <a:ext cx="10027707" cy="776139"/>
          </a:xfrm>
          <a:prstGeom prst="rect">
            <a:avLst/>
          </a:prstGeom>
        </p:spPr>
        <p:txBody>
          <a:bodyPr vert="horz" lIns="0" tIns="0" rIns="130101" bIns="0" rtlCol="0" anchor="b" anchorCtr="0">
            <a:noAutofit/>
          </a:bodyPr>
          <a:lstStyle/>
          <a:p>
            <a:r>
              <a:rPr lang="en-US"/>
              <a:t>INSERT MAIN TITLE AT 32PT MIN 30PT maximum 2 lines</a:t>
            </a:r>
          </a:p>
        </p:txBody>
      </p:sp>
      <p:sp>
        <p:nvSpPr>
          <p:cNvPr id="3" name="Text Placeholder 2"/>
          <p:cNvSpPr>
            <a:spLocks noGrp="1"/>
          </p:cNvSpPr>
          <p:nvPr>
            <p:ph type="body" idx="1"/>
          </p:nvPr>
        </p:nvSpPr>
        <p:spPr>
          <a:xfrm>
            <a:off x="340256" y="1764072"/>
            <a:ext cx="11491383" cy="429382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p:txBody>
      </p:sp>
      <p:sp>
        <p:nvSpPr>
          <p:cNvPr id="4" name="Footer Placeholder 3"/>
          <p:cNvSpPr>
            <a:spLocks noGrp="1"/>
          </p:cNvSpPr>
          <p:nvPr>
            <p:ph type="ftr" sz="quarter" idx="3"/>
          </p:nvPr>
        </p:nvSpPr>
        <p:spPr>
          <a:xfrm>
            <a:off x="7410450" y="6386400"/>
            <a:ext cx="4114800" cy="140400"/>
          </a:xfrm>
          <a:prstGeom prst="rect">
            <a:avLst/>
          </a:prstGeom>
        </p:spPr>
        <p:txBody>
          <a:bodyPr vert="horz" lIns="0" tIns="0" rIns="0" bIns="0" rtlCol="0" anchor="ctr"/>
          <a:lstStyle>
            <a:lvl1pPr algn="r">
              <a:defRPr sz="900">
                <a:solidFill>
                  <a:schemeClr val="tx1">
                    <a:alpha val="50000"/>
                  </a:schemeClr>
                </a:solidFill>
              </a:defRPr>
            </a:lvl1pPr>
          </a:lstStyle>
          <a:p>
            <a:r>
              <a:rPr lang="en-US"/>
              <a:t>Copyright © 2017 Accenture. All rights reserved.</a:t>
            </a:r>
            <a:endParaRPr lang="en-GB"/>
          </a:p>
        </p:txBody>
      </p:sp>
      <p:sp>
        <p:nvSpPr>
          <p:cNvPr id="5" name="Slide Number Placeholder 4"/>
          <p:cNvSpPr>
            <a:spLocks noGrp="1"/>
          </p:cNvSpPr>
          <p:nvPr>
            <p:ph type="sldNum" sz="quarter" idx="4"/>
          </p:nvPr>
        </p:nvSpPr>
        <p:spPr>
          <a:xfrm>
            <a:off x="11639450" y="6386400"/>
            <a:ext cx="216000" cy="140400"/>
          </a:xfrm>
          <a:prstGeom prst="rect">
            <a:avLst/>
          </a:prstGeom>
        </p:spPr>
        <p:txBody>
          <a:bodyPr vert="horz" lIns="0" tIns="0" rIns="0" bIns="0" rtlCol="0" anchor="ctr"/>
          <a:lstStyle>
            <a:lvl1pPr algn="r">
              <a:defRPr sz="900">
                <a:solidFill>
                  <a:schemeClr val="tx1">
                    <a:alpha val="50000"/>
                  </a:schemeClr>
                </a:solidFill>
              </a:defRPr>
            </a:lvl1pPr>
          </a:lstStyle>
          <a:p>
            <a:fld id="{17D800ED-CB1B-4EBC-A0D2-2190AF4D8872}" type="slidenum">
              <a:rPr lang="en-GB" smtClean="0"/>
              <a:t>‹#›</a:t>
            </a:fld>
            <a:endParaRPr lang="en-GB"/>
          </a:p>
        </p:txBody>
      </p:sp>
    </p:spTree>
    <p:extLst>
      <p:ext uri="{BB962C8B-B14F-4D97-AF65-F5344CB8AC3E}">
        <p14:creationId xmlns:p14="http://schemas.microsoft.com/office/powerpoint/2010/main" val="1290943194"/>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 id="2147483857" r:id="rId25"/>
    <p:sldLayoutId id="2147483858" r:id="rId26"/>
    <p:sldLayoutId id="2147483859" r:id="rId27"/>
    <p:sldLayoutId id="2147483860" r:id="rId28"/>
    <p:sldLayoutId id="2147483861" r:id="rId29"/>
    <p:sldLayoutId id="2147483862" r:id="rId30"/>
    <p:sldLayoutId id="2147483863" r:id="rId31"/>
    <p:sldLayoutId id="2147483864" r:id="rId32"/>
    <p:sldLayoutId id="2147483865" r:id="rId33"/>
    <p:sldLayoutId id="2147483866" r:id="rId34"/>
    <p:sldLayoutId id="2147483867" r:id="rId35"/>
    <p:sldLayoutId id="2147483868" r:id="rId36"/>
    <p:sldLayoutId id="2147483869" r:id="rId37"/>
    <p:sldLayoutId id="2147483870" r:id="rId38"/>
    <p:sldLayoutId id="2147483871" r:id="rId39"/>
    <p:sldLayoutId id="2147483872" r:id="rId40"/>
    <p:sldLayoutId id="2147483873" r:id="rId41"/>
    <p:sldLayoutId id="2147483874" r:id="rId42"/>
    <p:sldLayoutId id="2147483875" r:id="rId43"/>
    <p:sldLayoutId id="2147483876" r:id="rId44"/>
    <p:sldLayoutId id="2147483877" r:id="rId45"/>
    <p:sldLayoutId id="2147483878" r:id="rId46"/>
    <p:sldLayoutId id="2147483879" r:id="rId47"/>
    <p:sldLayoutId id="2147483880" r:id="rId48"/>
    <p:sldLayoutId id="2147483881" r:id="rId49"/>
    <p:sldLayoutId id="2147483882" r:id="rId50"/>
    <p:sldLayoutId id="2147483883" r:id="rId51"/>
    <p:sldLayoutId id="2147483884" r:id="rId52"/>
    <p:sldLayoutId id="2147483885" r:id="rId53"/>
    <p:sldLayoutId id="2147483886" r:id="rId54"/>
    <p:sldLayoutId id="2147483887" r:id="rId55"/>
    <p:sldLayoutId id="2147483888" r:id="rId56"/>
    <p:sldLayoutId id="2147483889" r:id="rId57"/>
    <p:sldLayoutId id="2147483890" r:id="rId58"/>
    <p:sldLayoutId id="2147483891" r:id="rId59"/>
    <p:sldLayoutId id="2147483892" r:id="rId60"/>
    <p:sldLayoutId id="2147483893" r:id="rId61"/>
    <p:sldLayoutId id="2147483894" r:id="rId62"/>
    <p:sldLayoutId id="2147483895" r:id="rId63"/>
    <p:sldLayoutId id="2147483896" r:id="rId64"/>
    <p:sldLayoutId id="2147483897" r:id="rId65"/>
    <p:sldLayoutId id="2147483898" r:id="rId66"/>
    <p:sldLayoutId id="2147483899" r:id="rId67"/>
    <p:sldLayoutId id="2147483900" r:id="rId68"/>
    <p:sldLayoutId id="2147483901" r:id="rId69"/>
    <p:sldLayoutId id="2147483902" r:id="rId70"/>
    <p:sldLayoutId id="2147483903" r:id="rId71"/>
    <p:sldLayoutId id="2147483904" r:id="rId72"/>
    <p:sldLayoutId id="2147483905" r:id="rId73"/>
    <p:sldLayoutId id="2147483906" r:id="rId74"/>
    <p:sldLayoutId id="2147483907" r:id="rId75"/>
    <p:sldLayoutId id="2147483908" r:id="rId76"/>
    <p:sldLayoutId id="2147483909" r:id="rId77"/>
    <p:sldLayoutId id="2147483910" r:id="rId78"/>
    <p:sldLayoutId id="2147483911" r:id="rId79"/>
    <p:sldLayoutId id="2147483912" r:id="rId80"/>
    <p:sldLayoutId id="2147483913" r:id="rId81"/>
    <p:sldLayoutId id="2147483914" r:id="rId82"/>
    <p:sldLayoutId id="2147483915" r:id="rId83"/>
    <p:sldLayoutId id="2147483916" r:id="rId84"/>
    <p:sldLayoutId id="2147483917" r:id="rId85"/>
    <p:sldLayoutId id="2147483918" r:id="rId86"/>
    <p:sldLayoutId id="2147483919" r:id="rId87"/>
    <p:sldLayoutId id="2147483920" r:id="rId88"/>
    <p:sldLayoutId id="2147483921" r:id="rId89"/>
    <p:sldLayoutId id="2147483922" r:id="rId90"/>
    <p:sldLayoutId id="2147483923" r:id="rId91"/>
    <p:sldLayoutId id="2147483924" r:id="rId92"/>
    <p:sldLayoutId id="2147483925" r:id="rId93"/>
    <p:sldLayoutId id="2147483927" r:id="rId94"/>
  </p:sldLayoutIdLst>
  <p:transition/>
  <p:timing/>
  <p:hf hdr="0" dt="0"/>
  <p:txStyles>
    <p:titleStyle>
      <a:lvl1pPr algn="l" defTabSz="1734634" rtl="0" eaLnBrk="1" latinLnBrk="0" hangingPunct="1">
        <a:lnSpc>
          <a:spcPct val="80000"/>
        </a:lnSpc>
        <a:spcBef>
          <a:spcPct val="0"/>
        </a:spcBef>
        <a:buNone/>
        <a:defRPr sz="3200" b="0" i="0" kern="1200" cap="all" spc="0" baseline="0">
          <a:solidFill>
            <a:schemeClr val="accent1"/>
          </a:solidFill>
          <a:latin typeface="+mj-lt"/>
          <a:ea typeface="Arial Black" charset="0"/>
          <a:cs typeface="Arial Black" charset="0"/>
        </a:defRPr>
      </a:lvl1pPr>
    </p:titleStyle>
    <p:bodyStyle>
      <a:lvl1pPr marL="0" indent="0" algn="l" defTabSz="1734634" rtl="0" eaLnBrk="1" latinLnBrk="0" hangingPunct="1">
        <a:lnSpc>
          <a:spcPct val="100000"/>
        </a:lnSpc>
        <a:spcBef>
          <a:spcPts val="800"/>
        </a:spcBef>
        <a:buFont typeface="Arial"/>
        <a:buNone/>
        <a:defRPr sz="1800" b="0"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100000"/>
        </a:lnSpc>
        <a:spcBef>
          <a:spcPts val="800"/>
        </a:spcBef>
        <a:buFont typeface="Arial"/>
        <a:buChar char="•"/>
        <a:defRPr sz="1600" b="0"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100000"/>
        </a:lnSpc>
        <a:spcBef>
          <a:spcPts val="800"/>
        </a:spcBef>
        <a:buFont typeface="Arial" panose="020b0604020202020204" pitchFamily="34" charset="0"/>
        <a:buChar char="‒"/>
        <a:defRPr sz="1400" b="0" i="0" kern="1200" cap="none" baseline="0">
          <a:solidFill>
            <a:schemeClr val="tx1"/>
          </a:solidFill>
          <a:latin typeface="+mn-lt"/>
          <a:ea typeface="Arial Black" charset="0"/>
          <a:cs typeface="Arial Black" charset="0"/>
        </a:defRPr>
      </a:lvl3pPr>
      <a:lvl4pPr marL="0" indent="0" algn="l" defTabSz="1734634" rtl="0" eaLnBrk="1" latinLnBrk="0" hangingPunct="1">
        <a:lnSpc>
          <a:spcPct val="100000"/>
        </a:lnSpc>
        <a:spcBef>
          <a:spcPts val="800"/>
        </a:spcBef>
        <a:buFont typeface="Arial"/>
        <a:buNone/>
        <a:defRPr sz="1800" b="0" i="0" kern="1200" cap="none" baseline="0">
          <a:solidFill>
            <a:schemeClr val="tx2"/>
          </a:solidFill>
          <a:latin typeface="+mn-lt"/>
          <a:ea typeface="Arial Black" charset="0"/>
          <a:cs typeface="Arial Black" charset="0"/>
        </a:defRPr>
      </a:lvl4pPr>
      <a:lvl5pPr marL="182875" indent="-182875" algn="l" defTabSz="1734634" rtl="0" eaLnBrk="1" latinLnBrk="0" hangingPunct="1">
        <a:lnSpc>
          <a:spcPct val="100000"/>
        </a:lnSpc>
        <a:spcBef>
          <a:spcPts val="800"/>
        </a:spcBef>
        <a:buFont typeface="Arial"/>
        <a:buChar char="•"/>
        <a:defRPr sz="1800" b="0" i="0" kern="1200" cap="none" baseline="0">
          <a:solidFill>
            <a:schemeClr val="tx2"/>
          </a:solidFill>
          <a:latin typeface="+mn-lt"/>
          <a:ea typeface="Arial Black" charset="0"/>
          <a:cs typeface="Arial Black" charset="0"/>
        </a:defRPr>
      </a:lvl5pPr>
      <a:lvl6pPr marL="365751" indent="-182875" algn="l" defTabSz="1734634" rtl="0" eaLnBrk="1" latinLnBrk="0" hangingPunct="1">
        <a:lnSpc>
          <a:spcPct val="100000"/>
        </a:lnSpc>
        <a:spcBef>
          <a:spcPts val="800"/>
        </a:spcBef>
        <a:buFont typeface="Arial"/>
        <a:buChar char="•"/>
        <a:defRPr sz="1800" b="0" i="0" kern="1200" cap="none" baseline="0">
          <a:solidFill>
            <a:schemeClr val="tx2"/>
          </a:solidFill>
          <a:latin typeface="+mn-lt"/>
          <a:ea typeface="Arial Bold" charset="0"/>
          <a:cs typeface="Arial Bold" charset="0"/>
        </a:defRPr>
      </a:lvl6pPr>
      <a:lvl7pPr marL="0" indent="0" algn="l" defTabSz="1734634" rtl="0" eaLnBrk="1" latinLnBrk="0" hangingPunct="1">
        <a:lnSpc>
          <a:spcPct val="90000"/>
        </a:lnSpc>
        <a:spcBef>
          <a:spcPts val="800"/>
        </a:spcBef>
        <a:buFont typeface="Arial"/>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a:buChar char="•"/>
        <a:defRPr sz="1867"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4634" rtl="0" eaLnBrk="1" latinLnBrk="0" hangingPunct="1">
        <a:defRPr sz="3467" kern="1200">
          <a:solidFill>
            <a:schemeClr val="tx1"/>
          </a:solidFill>
          <a:latin typeface="+mn-lt"/>
          <a:ea typeface="+mn-ea"/>
          <a:cs typeface="+mn-cs"/>
        </a:defRPr>
      </a:lvl1pPr>
      <a:lvl2pPr marL="867317" algn="l" defTabSz="1734634" rtl="0" eaLnBrk="1" latinLnBrk="0" hangingPunct="1">
        <a:defRPr sz="3467" kern="1200">
          <a:solidFill>
            <a:schemeClr val="tx1"/>
          </a:solidFill>
          <a:latin typeface="+mn-lt"/>
          <a:ea typeface="+mn-ea"/>
          <a:cs typeface="+mn-cs"/>
        </a:defRPr>
      </a:lvl2pPr>
      <a:lvl3pPr marL="1734634" algn="l" defTabSz="1734634" rtl="0" eaLnBrk="1" latinLnBrk="0" hangingPunct="1">
        <a:defRPr sz="3467" kern="1200">
          <a:solidFill>
            <a:schemeClr val="tx1"/>
          </a:solidFill>
          <a:latin typeface="+mn-lt"/>
          <a:ea typeface="+mn-ea"/>
          <a:cs typeface="+mn-cs"/>
        </a:defRPr>
      </a:lvl3pPr>
      <a:lvl4pPr marL="2601951" algn="l" defTabSz="1734634" rtl="0" eaLnBrk="1" latinLnBrk="0" hangingPunct="1">
        <a:defRPr sz="3467" kern="1200">
          <a:solidFill>
            <a:schemeClr val="tx1"/>
          </a:solidFill>
          <a:latin typeface="+mn-lt"/>
          <a:ea typeface="+mn-ea"/>
          <a:cs typeface="+mn-cs"/>
        </a:defRPr>
      </a:lvl4pPr>
      <a:lvl5pPr marL="3469269" algn="l" defTabSz="1734634" rtl="0" eaLnBrk="1" latinLnBrk="0" hangingPunct="1">
        <a:defRPr sz="3467" kern="1200">
          <a:solidFill>
            <a:schemeClr val="tx1"/>
          </a:solidFill>
          <a:latin typeface="+mn-lt"/>
          <a:ea typeface="+mn-ea"/>
          <a:cs typeface="+mn-cs"/>
        </a:defRPr>
      </a:lvl5pPr>
      <a:lvl6pPr marL="4336586" algn="l" defTabSz="1734634" rtl="0" eaLnBrk="1" latinLnBrk="0" hangingPunct="1">
        <a:defRPr sz="3467" kern="1200">
          <a:solidFill>
            <a:schemeClr val="tx1"/>
          </a:solidFill>
          <a:latin typeface="+mn-lt"/>
          <a:ea typeface="+mn-ea"/>
          <a:cs typeface="+mn-cs"/>
        </a:defRPr>
      </a:lvl6pPr>
      <a:lvl7pPr marL="5203903" algn="l" defTabSz="1734634" rtl="0" eaLnBrk="1" latinLnBrk="0" hangingPunct="1">
        <a:defRPr sz="3467" kern="1200">
          <a:solidFill>
            <a:schemeClr val="tx1"/>
          </a:solidFill>
          <a:latin typeface="+mn-lt"/>
          <a:ea typeface="+mn-ea"/>
          <a:cs typeface="+mn-cs"/>
        </a:defRPr>
      </a:lvl7pPr>
      <a:lvl8pPr marL="6071220" algn="l" defTabSz="1734634" rtl="0" eaLnBrk="1" latinLnBrk="0" hangingPunct="1">
        <a:defRPr sz="3467" kern="1200">
          <a:solidFill>
            <a:schemeClr val="tx1"/>
          </a:solidFill>
          <a:latin typeface="+mn-lt"/>
          <a:ea typeface="+mn-ea"/>
          <a:cs typeface="+mn-cs"/>
        </a:defRPr>
      </a:lvl8pPr>
      <a:lvl9pPr marL="6938537" algn="l" defTabSz="1734634" rtl="0" eaLnBrk="1" latinLnBrk="0" hangingPunct="1">
        <a:defRPr sz="34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5" orient="horz" pos="2610">
          <p15:clr>
            <a:srgbClr val="F26B43"/>
          </p15:clr>
        </p15:guide>
        <p15:guide id="7" orient="horz" pos="204">
          <p15:clr>
            <a:srgbClr val="F26B43"/>
          </p15:clr>
        </p15:guide>
        <p15:guide id="8" orient="horz" pos="3816">
          <p15:clr>
            <a:srgbClr val="F26B43"/>
          </p15:clr>
        </p15:guide>
        <p15:guide id="9" orient="horz" pos="1111">
          <p15:clr>
            <a:srgbClr val="F26B43"/>
          </p15:clr>
        </p15:guide>
        <p15:guide id="11" pos="7468">
          <p15:clr>
            <a:srgbClr val="F26B43"/>
          </p15:clr>
        </p15:guide>
        <p15:guide id="12" pos="1872">
          <p15:clr>
            <a:srgbClr val="F26B43"/>
          </p15:clr>
        </p15:guide>
        <p15:guide id="13" pos="4884">
          <p15:clr>
            <a:srgbClr val="F26B43"/>
          </p15:clr>
        </p15:guide>
        <p15:guide id="14" pos="5604">
          <p15:clr>
            <a:srgbClr val="F26B43"/>
          </p15:clr>
        </p15:guide>
        <p15:guide id="15" pos="2088">
          <p15:clr>
            <a:srgbClr val="F26B43"/>
          </p15:clr>
        </p15:guide>
        <p15:guide id="16" pos="3954">
          <p15:clr>
            <a:srgbClr val="F26B43"/>
          </p15:clr>
        </p15:guide>
        <p15:guide id="17" pos="6534">
          <p15:clr>
            <a:srgbClr val="F26B43"/>
          </p15:clr>
        </p15:guide>
        <p15:guide id="18" pos="930">
          <p15:clr>
            <a:srgbClr val="F26B43"/>
          </p15:clr>
        </p15:guide>
        <p15:guide id="19" pos="2802">
          <p15:clr>
            <a:srgbClr val="F26B43"/>
          </p15:clr>
        </p15:guide>
        <p15:guide id="20" pos="3024">
          <p15:clr>
            <a:srgbClr val="F26B43"/>
          </p15:clr>
        </p15:guide>
        <p15:guide id="21" pos="3738">
          <p15:clr>
            <a:srgbClr val="F26B43"/>
          </p15:clr>
        </p15:guide>
        <p15:guide id="22" pos="4668">
          <p15:clr>
            <a:srgbClr val="F26B43"/>
          </p15:clr>
        </p15:guide>
        <p15:guide id="23" pos="5820">
          <p15:clr>
            <a:srgbClr val="F26B43"/>
          </p15:clr>
        </p15:guide>
        <p15:guide id="24" pos="6750">
          <p15:clr>
            <a:srgbClr val="F26B43"/>
          </p15:clr>
        </p15:guide>
        <p15:guide id="25" orient="horz" pos="1410">
          <p15:clr>
            <a:srgbClr val="F26B43"/>
          </p15:clr>
        </p15:guide>
        <p15:guide id="26" orient="horz" pos="4110">
          <p15:clr>
            <a:srgbClr val="F26B43"/>
          </p15:clr>
        </p15:guide>
        <p15:guide id="27" orient="horz" pos="890">
          <p15:clr>
            <a:srgbClr val="F26B43"/>
          </p15:clr>
        </p15:guide>
        <p15:guide id="28" orient="horz" pos="63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sp>
        <p:nvSpPr>
          <p:cNvPr id="25" name="TextBox 24">
            <a:extLst>
              <a:ext uri="{FF2B5EF4-FFF2-40B4-BE49-F238E27FC236}">
                <a16:creationId xmlns:a16="http://schemas.microsoft.com/office/drawing/2014/main" id="{8DEAF7F0-ADBE-DA4B-80DE-727BD0E615AA}"/>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ct val="0"/>
              </a:spcBef>
              <a:spcAft>
                <a:spcPts val="1200"/>
              </a:spcAft>
              <a:buClrTx/>
              <a:buSzTx/>
              <a:buFontTx/>
              <a:buNone/>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ct val="0"/>
              </a:spcBef>
              <a:spcAft>
                <a:spcPts val="1200"/>
              </a:spcAft>
              <a:buClrTx/>
              <a:buSzTx/>
              <a:buFontTx/>
              <a:buNone/>
              <a:defRPr/>
            </a:pPr>
            <a:fld id="{8A1971D9-5B62-3C46-9EC9-FDAAB88557B2}" type="slidenum">
              <a:rPr lang="en-GB" sz="800" smtClean="0">
                <a:solidFill>
                  <a:schemeClr val="tx1">
                    <a:alpha val="75000"/>
                  </a:schemeClr>
                </a:solidFill>
              </a:rPr>
              <a:t>1</a:t>
            </a:fld>
            <a:endParaRPr lang="en-US" noProof="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Monday, September 27, 2021</a:t>
            </a:fld>
            <a:endParaRPr lang="en-US"/>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36">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Tree>
    <p:extLst>
      <p:ext uri="{BB962C8B-B14F-4D97-AF65-F5344CB8AC3E}">
        <p14:creationId xmlns:p14="http://schemas.microsoft.com/office/powerpoint/2010/main" val="2038232022"/>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 id="2147483941" r:id="rId12"/>
    <p:sldLayoutId id="2147483942" r:id="rId13"/>
    <p:sldLayoutId id="2147483943" r:id="rId14"/>
    <p:sldLayoutId id="2147483944" r:id="rId15"/>
    <p:sldLayoutId id="2147483945" r:id="rId16"/>
    <p:sldLayoutId id="2147483946" r:id="rId17"/>
    <p:sldLayoutId id="2147483947" r:id="rId18"/>
    <p:sldLayoutId id="2147483948" r:id="rId19"/>
    <p:sldLayoutId id="2147483949" r:id="rId20"/>
    <p:sldLayoutId id="2147483950" r:id="rId21"/>
    <p:sldLayoutId id="2147483951" r:id="rId22"/>
    <p:sldLayoutId id="2147483952" r:id="rId23"/>
    <p:sldLayoutId id="2147483953" r:id="rId24"/>
    <p:sldLayoutId id="2147483954" r:id="rId25"/>
    <p:sldLayoutId id="2147483955" r:id="rId26"/>
    <p:sldLayoutId id="2147483956" r:id="rId27"/>
    <p:sldLayoutId id="2147483957" r:id="rId28"/>
    <p:sldLayoutId id="2147483958" r:id="rId29"/>
    <p:sldLayoutId id="2147483959" r:id="rId30"/>
    <p:sldLayoutId id="2147483960" r:id="rId31"/>
    <p:sldLayoutId id="2147483961" r:id="rId32"/>
    <p:sldLayoutId id="2147483962" r:id="rId33"/>
    <p:sldLayoutId id="2147483963" r:id="rId34"/>
    <p:sldLayoutId id="2147483964" r:id="rId35"/>
  </p:sldLayoutIdLst>
  <p:transition/>
  <p:timing/>
  <p:hf hdr="0" ftr="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0" indent="0" algn="l" defTabSz="228600" rtl="0" eaLnBrk="1" latinLnBrk="0" hangingPunct="1">
        <a:lnSpc>
          <a:spcPct val="100000"/>
        </a:lnSpc>
        <a:spcBef>
          <a:spcPct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ct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ct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ct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ct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ct val="0"/>
        </a:spcBef>
        <a:spcAft>
          <a:spcPts val="1200"/>
        </a:spcAft>
        <a:buFont typeface="Graphik" panose="020b0503030202060203" pitchFamily="34" charset="77"/>
        <a:buNone/>
        <a:defRPr sz="1600" kern="1200">
          <a:solidFill>
            <a:schemeClr val="tx1"/>
          </a:solidFill>
          <a:latin typeface="+mn-lt"/>
          <a:ea typeface="+mn-ea"/>
          <a:cs typeface="+mn-cs"/>
        </a:defRPr>
      </a:lvl6pPr>
      <a:lvl7pPr marL="0" indent="0" algn="l" defTabSz="228600" rtl="0" eaLnBrk="1" latinLnBrk="0" hangingPunct="1">
        <a:lnSpc>
          <a:spcPct val="90000"/>
        </a:lnSpc>
        <a:spcBef>
          <a:spcPct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ct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ct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2" orient="horz" pos="3976">
          <p15:clr>
            <a:srgbClr val="5ACBF0"/>
          </p15:clr>
        </p15:guide>
        <p15:guide id="3" pos="240">
          <p15:clr>
            <a:srgbClr val="5ACBF0"/>
          </p15:clr>
        </p15:guide>
        <p15:guide id="4" pos="7440">
          <p15:clr>
            <a:srgbClr val="5ACBF0"/>
          </p15:clr>
        </p15:guide>
        <p15:guide id="5" orient="horz" pos="4148">
          <p15:clr>
            <a:srgbClr val="5ACBF0"/>
          </p15:clr>
        </p15:guide>
      </p15:sldGuideLst>
    </p:ext>
  </p:extLst>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252.xml" /><Relationship Id="rId2" Type="http://schemas.openxmlformats.org/officeDocument/2006/relationships/notesSlide" Target="../notesSlides/notesSlide1.xml" /><Relationship Id="rId3" Type="http://schemas.openxmlformats.org/officeDocument/2006/relationships/image" Target="../media/image56.jpe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252.xml" /><Relationship Id="rId2" Type="http://schemas.openxmlformats.org/officeDocument/2006/relationships/notesSlide" Target="../notesSlides/notesSlide2.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252.xml" /><Relationship Id="rId10" Type="http://schemas.openxmlformats.org/officeDocument/2006/relationships/image" Target="../media/image64.jpeg" /><Relationship Id="rId2" Type="http://schemas.openxmlformats.org/officeDocument/2006/relationships/notesSlide" Target="../notesSlides/notesSlide3.xml" /><Relationship Id="rId3" Type="http://schemas.openxmlformats.org/officeDocument/2006/relationships/image" Target="../media/image57.jpeg" /><Relationship Id="rId4" Type="http://schemas.openxmlformats.org/officeDocument/2006/relationships/image" Target="../media/image58.jpeg" /><Relationship Id="rId5" Type="http://schemas.openxmlformats.org/officeDocument/2006/relationships/image" Target="../media/image59.jpeg" /><Relationship Id="rId6" Type="http://schemas.openxmlformats.org/officeDocument/2006/relationships/image" Target="../media/image60.jpeg" /><Relationship Id="rId7" Type="http://schemas.openxmlformats.org/officeDocument/2006/relationships/image" Target="../media/image61.jpeg" /><Relationship Id="rId8" Type="http://schemas.openxmlformats.org/officeDocument/2006/relationships/image" Target="../media/image62.jpeg" /><Relationship Id="rId9" Type="http://schemas.openxmlformats.org/officeDocument/2006/relationships/image" Target="../media/image63.jpe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273.xml" /><Relationship Id="rId2" Type="http://schemas.openxmlformats.org/officeDocument/2006/relationships/notesSlide" Target="../notesSlides/notesSlide4.xml" /><Relationship Id="rId3" Type="http://schemas.openxmlformats.org/officeDocument/2006/relationships/image" Target="../media/image65.jpeg" /><Relationship Id="rId4" Type="http://schemas.openxmlformats.org/officeDocument/2006/relationships/image" Target="../media/image66.jpe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273.xml" /><Relationship Id="rId2" Type="http://schemas.openxmlformats.org/officeDocument/2006/relationships/notesSlide" Target="../notesSlides/notesSlide5.xml" /><Relationship Id="rId3" Type="http://schemas.openxmlformats.org/officeDocument/2006/relationships/image" Target="../media/image67.jpeg" /><Relationship Id="rId4" Type="http://schemas.openxmlformats.org/officeDocument/2006/relationships/image" Target="../media/image68.jpeg" /><Relationship Id="rId5" Type="http://schemas.openxmlformats.org/officeDocument/2006/relationships/image" Target="../media/image69.jpeg" /><Relationship Id="rId6" Type="http://schemas.openxmlformats.org/officeDocument/2006/relationships/image" Target="../media/image70.jpeg" /><Relationship Id="rId7" Type="http://schemas.openxmlformats.org/officeDocument/2006/relationships/image" Target="../media/image71.jpeg" /><Relationship Id="rId8" Type="http://schemas.openxmlformats.org/officeDocument/2006/relationships/image" Target="../media/image72.jpeg" /></Relationships>
</file>

<file path=ppt/slides/slide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Pr>
        <a:solidFill>
          <a:schemeClr val="bg1"/>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858C4CCB-F26E-41A0-972D-C66F720ED8FF}"/>
              </a:ext>
            </a:extLst>
          </p:cNvPr>
          <p:cNvSpPr>
            <a:spLocks noGrp="1"/>
          </p:cNvSpPr>
          <p:nvPr>
            <p:ph type="title"/>
          </p:nvPr>
        </p:nvSpPr>
        <p:spPr>
          <a:xfrm>
            <a:off x="6476214" y="640081"/>
            <a:ext cx="5075705" cy="3637373"/>
          </a:xfrm>
          <a:noFill/>
        </p:spPr>
        <p:txBody>
          <a:bodyPr vert="horz" lIns="91440" tIns="45720" rIns="91440" bIns="45720" rtlCol="0" anchor="b">
            <a:normAutofit/>
          </a:bodyPr>
          <a:lstStyle/>
          <a:p>
            <a:pPr algn="ctr">
              <a:lnSpc>
                <a:spcPct val="90000"/>
              </a:lnSpc>
            </a:pPr>
            <a:r>
              <a:rPr lang="en-US" sz="6600" err="1">
                <a:solidFill>
                  <a:schemeClr val="accent1"/>
                </a:solidFill>
              </a:rPr>
              <a:t>Parenchute</a:t>
            </a:r>
            <a:br>
              <a:rPr lang="en-US" sz="6600" err="1">
                <a:solidFill>
                  <a:schemeClr val="accent1"/>
                </a:solidFill>
              </a:rPr>
            </a:br>
            <a:r>
              <a:rPr lang="en-US" sz="3200">
                <a:solidFill>
                  <a:schemeClr val="accent1"/>
                </a:solidFill>
              </a:rPr>
              <a:t>(Parent + Parachute)</a:t>
            </a:r>
            <a:endParaRPr lang="en-US" sz="6600">
              <a:solidFill>
                <a:schemeClr val="accent1"/>
              </a:solidFill>
            </a:endParaRPr>
          </a:p>
        </p:txBody>
      </p:sp>
      <p:pic>
        <p:nvPicPr>
          <p:cNvPr id="4" name="Picture 4" descr="Logo, icon, company name&#10;&#10;Description automatically generated">
            <a:extLst>
              <a:ext uri="{FF2B5EF4-FFF2-40B4-BE49-F238E27FC236}">
                <a16:creationId xmlns:a16="http://schemas.microsoft.com/office/drawing/2014/main" id="{C4E97EB8-D5EE-4DF4-9EB2-7B654073B4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 y="10"/>
            <a:ext cx="6105635" cy="6857990"/>
          </a:xfrm>
          <a:prstGeom prst="rect">
            <a:avLst/>
          </a:prstGeom>
        </p:spPr>
      </p:pic>
      <p:sp>
        <p:nvSpPr>
          <p:cNvPr id="3" name="TextBox 2">
            <a:extLst>
              <a:ext uri="{FF2B5EF4-FFF2-40B4-BE49-F238E27FC236}">
                <a16:creationId xmlns:a16="http://schemas.microsoft.com/office/drawing/2014/main" id="{524A33D2-F713-40BE-AA6B-EEF2231AD2D6}"/>
              </a:ext>
            </a:extLst>
          </p:cNvPr>
          <p:cNvSpPr txBox="1"/>
          <p:nvPr/>
        </p:nvSpPr>
        <p:spPr>
          <a:xfrm>
            <a:off x="6825006" y="6217919"/>
            <a:ext cx="4957935" cy="552895"/>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228600">
              <a:spcAft>
                <a:spcPts val="1200"/>
              </a:spcAft>
            </a:pPr>
            <a:r>
              <a:rPr lang="en-US" b="1"/>
              <a:t>Presented by: Sandeep Kumar Rai, Aparna Ramesh &amp; Rae-Anne Pinckney</a:t>
            </a:r>
            <a:endParaRPr lang="en-US" b="1" noProof="0"/>
          </a:p>
        </p:txBody>
      </p:sp>
    </p:spTree>
    <p:extLst>
      <p:ext uri="{BB962C8B-B14F-4D97-AF65-F5344CB8AC3E}">
        <p14:creationId xmlns:p14="http://schemas.microsoft.com/office/powerpoint/2010/main" val="741987554"/>
      </p:ext>
    </p:extLst>
  </p:cSld>
  <p:clrMapOvr>
    <a:masterClrMapping/>
  </p:clrMapOvr>
  <p:transition/>
  <p:timing/>
</p:sld>
</file>

<file path=ppt/slides/slide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085ECFE9-5337-4608-A326-BB42F7EC29E0}"/>
              </a:ext>
            </a:extLst>
          </p:cNvPr>
          <p:cNvSpPr>
            <a:spLocks noGrp="1"/>
          </p:cNvSpPr>
          <p:nvPr>
            <p:ph type="title"/>
          </p:nvPr>
        </p:nvSpPr>
        <p:spPr>
          <a:xfrm>
            <a:off x="381000" y="381000"/>
            <a:ext cx="11767278" cy="978109"/>
          </a:xfrm>
        </p:spPr>
        <p:txBody>
          <a:bodyPr/>
          <a:lstStyle/>
          <a:p>
            <a:pPr algn="ctr"/>
            <a:r>
              <a:rPr lang="en-US"/>
              <a:t>Who, Where &amp; Why....</a:t>
            </a:r>
            <a:r>
              <a:rPr lang="en-US" err="1">
                <a:solidFill>
                  <a:schemeClr val="accent1"/>
                </a:solidFill>
              </a:rPr>
              <a:t>Parenchute</a:t>
            </a:r>
          </a:p>
        </p:txBody>
      </p:sp>
      <p:sp>
        <p:nvSpPr>
          <p:cNvPr id="3" name="Content Placeholder 2">
            <a:extLst>
              <a:ext uri="{FF2B5EF4-FFF2-40B4-BE49-F238E27FC236}">
                <a16:creationId xmlns:a16="http://schemas.microsoft.com/office/drawing/2014/main" id="{8728B8C5-AC35-4DC3-B7DB-9830D7EC754A}"/>
              </a:ext>
            </a:extLst>
          </p:cNvPr>
          <p:cNvSpPr>
            <a:spLocks noGrp="1"/>
          </p:cNvSpPr>
          <p:nvPr>
            <p:ph sz="quarter" idx="10"/>
          </p:nvPr>
        </p:nvSpPr>
        <p:spPr>
          <a:xfrm>
            <a:off x="381000" y="1188721"/>
            <a:ext cx="11430000" cy="4940300"/>
          </a:xfrm>
        </p:spPr>
        <p:txBody>
          <a:bodyPr vert="horz" lIns="0" tIns="0" rIns="0" bIns="0" rtlCol="0" anchor="t">
            <a:noAutofit/>
          </a:bodyPr>
          <a:lstStyle/>
          <a:p>
            <a:r>
              <a:rPr lang="en-US" sz="2400" b="1">
                <a:solidFill>
                  <a:schemeClr val="accent1"/>
                </a:solidFill>
                <a:latin typeface="+mj-lt"/>
                <a:ea typeface="+mj-ea"/>
                <a:cs typeface="+mj-cs"/>
              </a:rPr>
              <a:t>Who</a:t>
            </a:r>
            <a:r>
              <a:rPr lang="en-US" sz="3600" b="1">
                <a:solidFill>
                  <a:schemeClr val="accent1"/>
                </a:solidFill>
                <a:latin typeface="+mj-lt"/>
                <a:ea typeface="+mj-ea"/>
                <a:cs typeface="+mj-cs"/>
              </a:rPr>
              <a:t>:</a:t>
            </a:r>
            <a:r>
              <a:rPr lang="en-US" sz="2400"/>
              <a:t> Black Birth Givers </a:t>
            </a:r>
          </a:p>
          <a:p>
            <a:endParaRPr lang="en-US" sz="2400"/>
          </a:p>
          <a:p>
            <a:r>
              <a:rPr lang="en-US" sz="2400" b="1">
                <a:solidFill>
                  <a:schemeClr val="accent1"/>
                </a:solidFill>
                <a:latin typeface="+mj-lt"/>
                <a:ea typeface="+mj-ea"/>
                <a:cs typeface="+mj-cs"/>
              </a:rPr>
              <a:t>Where: </a:t>
            </a:r>
            <a:r>
              <a:rPr lang="en-US" sz="2400"/>
              <a:t>Rural areas of Georgia classified as a "maternity desert"</a:t>
            </a:r>
          </a:p>
          <a:p>
            <a:endParaRPr lang="en-US" sz="2400"/>
          </a:p>
          <a:p>
            <a:r>
              <a:rPr lang="en-US" sz="2400" b="1">
                <a:solidFill>
                  <a:schemeClr val="accent1"/>
                </a:solidFill>
                <a:latin typeface="+mj-lt"/>
                <a:ea typeface="+mj-ea"/>
                <a:cs typeface="+mj-cs"/>
              </a:rPr>
              <a:t>Why: </a:t>
            </a:r>
            <a:r>
              <a:rPr lang="en-US" sz="2400"/>
              <a:t>Limited Access to Care</a:t>
            </a:r>
          </a:p>
          <a:p>
            <a:pPr marL="800100" lvl="2" indent="-342900"/>
            <a:r>
              <a:rPr lang="en-US" sz="2400" b="1"/>
              <a:t>37 Counties in Georgia are in a maternity dessert</a:t>
            </a:r>
          </a:p>
          <a:p>
            <a:pPr marL="800100" lvl="2" indent="-342900"/>
            <a:r>
              <a:rPr lang="en-US" sz="2400" b="1"/>
              <a:t>Barriers:</a:t>
            </a:r>
          </a:p>
          <a:p>
            <a:pPr lvl="3"/>
            <a:r>
              <a:rPr lang="en-US" sz="2200" b="1"/>
              <a:t>Lack of knowledge</a:t>
            </a:r>
          </a:p>
          <a:p>
            <a:pPr lvl="3"/>
            <a:r>
              <a:rPr lang="en-US" sz="2200" b="1"/>
              <a:t>Lack of available appts</a:t>
            </a:r>
          </a:p>
          <a:p>
            <a:pPr lvl="3"/>
            <a:r>
              <a:rPr lang="en-US" sz="2200" b="1"/>
              <a:t>Lack of transportation </a:t>
            </a:r>
          </a:p>
          <a:p>
            <a:endParaRPr lang="en-US" b="1"/>
          </a:p>
        </p:txBody>
      </p:sp>
    </p:spTree>
    <p:extLst>
      <p:ext uri="{BB962C8B-B14F-4D97-AF65-F5344CB8AC3E}">
        <p14:creationId xmlns:p14="http://schemas.microsoft.com/office/powerpoint/2010/main" val="2983477495"/>
      </p:ext>
    </p:extLst>
  </p:cSld>
  <p:clrMapOvr>
    <a:masterClrMapping/>
  </p:clrMapOvr>
  <p:transition/>
  <p:timing/>
</p:sld>
</file>

<file path=ppt/slides/slide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CD5445D4-0A46-48ED-BBD6-9647C9EBCBAA}"/>
              </a:ext>
            </a:extLst>
          </p:cNvPr>
          <p:cNvSpPr>
            <a:spLocks noGrp="1"/>
          </p:cNvSpPr>
          <p:nvPr>
            <p:ph type="title"/>
          </p:nvPr>
        </p:nvSpPr>
        <p:spPr>
          <a:xfrm>
            <a:off x="381000" y="87313"/>
            <a:ext cx="11430000" cy="990600"/>
          </a:xfrm>
        </p:spPr>
        <p:txBody>
          <a:bodyPr/>
          <a:lstStyle/>
          <a:p>
            <a:pPr algn="r"/>
            <a:r>
              <a:rPr lang="en-US"/>
              <a:t>CONCEPT </a:t>
            </a:r>
            <a:r>
              <a:rPr lang="en-US">
                <a:solidFill>
                  <a:schemeClr val="accent1"/>
                </a:solidFill>
              </a:rPr>
              <a:t>STORYLINE</a:t>
            </a:r>
          </a:p>
        </p:txBody>
      </p:sp>
      <p:sp>
        <p:nvSpPr>
          <p:cNvPr id="7" name="Rectangle 6">
            <a:extLst>
              <a:ext uri="{FF2B5EF4-FFF2-40B4-BE49-F238E27FC236}">
                <a16:creationId xmlns:a16="http://schemas.microsoft.com/office/drawing/2014/main" id="{95453F88-49BF-48BF-BBBA-03BADD7A096D}"/>
              </a:ext>
            </a:extLst>
          </p:cNvPr>
          <p:cNvSpPr/>
          <p:nvPr/>
        </p:nvSpPr>
        <p:spPr>
          <a:xfrm>
            <a:off x="395511" y="854148"/>
            <a:ext cx="1322798"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2000" b="1" i="0" u="none" strike="noStrike" kern="1200" cap="none" spc="0" normalizeH="0" baseline="0" noProof="0">
                <a:ln w="0"/>
                <a:solidFill>
                  <a:srgbClr val="A100FF">
                    <a:lumMod val="60000"/>
                    <a:lumOff val="40000"/>
                  </a:srgbClr>
                </a:solidFill>
                <a:effectLst>
                  <a:outerShdw blurRad="38100" dist="25400" dir="5400000" algn="ctr" rotWithShape="0">
                    <a:srgbClr val="6E747A">
                      <a:alpha val="43000"/>
                    </a:srgbClr>
                  </a:outerShdw>
                </a:effectLst>
                <a:uLnTx/>
                <a:uFillTx/>
                <a:latin typeface="Graphik"/>
                <a:ea typeface="+mn-ea"/>
                <a:cs typeface="+mn-cs"/>
              </a:rPr>
              <a:t>PATIENT</a:t>
            </a:r>
          </a:p>
        </p:txBody>
      </p:sp>
      <p:sp>
        <p:nvSpPr>
          <p:cNvPr id="10" name="Arrow: Striped Right 9">
            <a:extLst>
              <a:ext uri="{FF2B5EF4-FFF2-40B4-BE49-F238E27FC236}">
                <a16:creationId xmlns:a16="http://schemas.microsoft.com/office/drawing/2014/main" id="{4F8BFE06-EC7A-4E91-A04E-95017EE55DC2}"/>
              </a:ext>
            </a:extLst>
          </p:cNvPr>
          <p:cNvSpPr/>
          <p:nvPr/>
        </p:nvSpPr>
        <p:spPr>
          <a:xfrm>
            <a:off x="2083963" y="1607754"/>
            <a:ext cx="660185" cy="351641"/>
          </a:xfrm>
          <a:prstGeom prst="strip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1" name="Rectangle 10">
            <a:extLst>
              <a:ext uri="{FF2B5EF4-FFF2-40B4-BE49-F238E27FC236}">
                <a16:creationId xmlns:a16="http://schemas.microsoft.com/office/drawing/2014/main" id="{95BF8394-D2FF-40E3-AA7C-F57548B6E94C}"/>
              </a:ext>
            </a:extLst>
          </p:cNvPr>
          <p:cNvSpPr/>
          <p:nvPr/>
        </p:nvSpPr>
        <p:spPr>
          <a:xfrm>
            <a:off x="6410149" y="686302"/>
            <a:ext cx="20088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en-US" sz="2000" b="1">
                <a:ln w="0"/>
                <a:solidFill>
                  <a:srgbClr val="A100FF">
                    <a:lumMod val="60000"/>
                    <a:lumOff val="40000"/>
                  </a:srgbClr>
                </a:solidFill>
                <a:effectLst>
                  <a:outerShdw blurRad="38100" dist="25400" dir="5400000" algn="ctr" rotWithShape="0">
                    <a:srgbClr val="6E747A">
                      <a:alpha val="43000"/>
                    </a:srgbClr>
                  </a:outerShdw>
                </a:effectLst>
                <a:latin typeface="Graphik"/>
              </a:rPr>
              <a:t>PARENCHUTE</a:t>
            </a:r>
            <a:endParaRPr kumimoji="0" lang="en-US" sz="2000" b="1" i="0" u="none" strike="noStrike" kern="1200" cap="none" spc="0" normalizeH="0" baseline="0" noProof="0">
              <a:ln w="0"/>
              <a:solidFill>
                <a:srgbClr val="A100FF">
                  <a:lumMod val="60000"/>
                  <a:lumOff val="40000"/>
                </a:srgbClr>
              </a:solidFill>
              <a:effectLst>
                <a:outerShdw blurRad="38100" dist="25400" dir="5400000" algn="ctr" rotWithShape="0">
                  <a:srgbClr val="6E747A">
                    <a:alpha val="43000"/>
                  </a:srgbClr>
                </a:outerShdw>
              </a:effectLst>
              <a:uLnTx/>
              <a:uFillTx/>
              <a:latin typeface="Graphik"/>
              <a:ea typeface="+mn-ea"/>
              <a:cs typeface="+mn-cs"/>
            </a:endParaRPr>
          </a:p>
        </p:txBody>
      </p:sp>
      <p:sp>
        <p:nvSpPr>
          <p:cNvPr id="24" name="Rectangle 23">
            <a:extLst>
              <a:ext uri="{FF2B5EF4-FFF2-40B4-BE49-F238E27FC236}">
                <a16:creationId xmlns:a16="http://schemas.microsoft.com/office/drawing/2014/main" id="{D2DEEA09-3DC2-4EF9-8C5B-B854A3E9B42D}"/>
              </a:ext>
            </a:extLst>
          </p:cNvPr>
          <p:cNvSpPr/>
          <p:nvPr/>
        </p:nvSpPr>
        <p:spPr>
          <a:xfrm>
            <a:off x="245866" y="1351080"/>
            <a:ext cx="1631469" cy="1809607"/>
          </a:xfrm>
          <a:prstGeom prst="rect">
            <a:avLst/>
          </a:prstGeom>
          <a:noFill/>
          <a:ln w="57150" cap="flat" cmpd="sng" algn="ctr">
            <a:solidFill>
              <a:srgbClr val="7030A0"/>
            </a:solid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79CAB3AF-CFF1-4458-835E-6B17E01CFEC1}"/>
              </a:ext>
            </a:extLst>
          </p:cNvPr>
          <p:cNvSpPr/>
          <p:nvPr/>
        </p:nvSpPr>
        <p:spPr>
          <a:xfrm>
            <a:off x="2872408" y="619495"/>
            <a:ext cx="9084366" cy="6151192"/>
          </a:xfrm>
          <a:prstGeom prst="rect">
            <a:avLst/>
          </a:prstGeom>
          <a:noFill/>
          <a:ln w="57150" cap="flat" cmpd="sng" algn="ctr">
            <a:solidFill>
              <a:srgbClr val="7030A0"/>
            </a:solid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31" name="Picture 12" descr="Robot What Sticker by O2">
            <a:extLst>
              <a:ext uri="{FF2B5EF4-FFF2-40B4-BE49-F238E27FC236}">
                <a16:creationId xmlns:a16="http://schemas.microsoft.com/office/drawing/2014/main" id="{69953D97-1E05-459A-A310-3D19965495F2}"/>
              </a:ext>
            </a:extLst>
          </p:cNvPr>
          <p:cNvPicPr>
            <a:picLocks noChangeAspect="1" noChangeArrowheads="1" noCrop="1"/>
          </p:cNvPicPr>
          <p:nvPr/>
        </p:nvPicPr>
        <p:blipFill>
          <a:blip r:embed="rId3">
            <a:extLst>
              <a:ext uri="{28A0092B-C50C-407E-A947-70E740481C1C}">
                <a14:useLocalDpi xmlns:a14="http://schemas.microsoft.com/office/drawing/2010/main"/>
              </a:ext>
            </a:extLst>
          </a:blip>
          <a:stretch>
            <a:fillRect/>
          </a:stretch>
        </p:blipFill>
        <p:spPr bwMode="auto">
          <a:xfrm>
            <a:off x="1764262" y="1932563"/>
            <a:ext cx="1299586" cy="129958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pell | Baamboozle">
            <a:extLst>
              <a:ext uri="{FF2B5EF4-FFF2-40B4-BE49-F238E27FC236}">
                <a16:creationId xmlns:a16="http://schemas.microsoft.com/office/drawing/2014/main" id="{D8E55FBF-31FA-4153-B0B3-534F3BD98E1B}"/>
              </a:ext>
            </a:extLst>
          </p:cNvPr>
          <p:cNvPicPr>
            <a:picLocks noChangeAspect="1" noChangeArrowheads="1" noCrop="1"/>
          </p:cNvPicPr>
          <p:nvPr/>
        </p:nvPicPr>
        <p:blipFill>
          <a:blip r:embed="rId4">
            <a:extLst>
              <a:ext uri="{28A0092B-C50C-407E-A947-70E740481C1C}">
                <a14:useLocalDpi xmlns:a14="http://schemas.microsoft.com/office/drawing/2010/main"/>
              </a:ext>
            </a:extLst>
          </a:blip>
          <a:stretch>
            <a:fillRect/>
          </a:stretch>
        </p:blipFill>
        <p:spPr bwMode="auto">
          <a:xfrm>
            <a:off x="133311" y="1309857"/>
            <a:ext cx="1951936" cy="1809607"/>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7261E590-AEC9-45AE-8B73-965A9FACF157}"/>
              </a:ext>
            </a:extLst>
          </p:cNvPr>
          <p:cNvSpPr/>
          <p:nvPr/>
        </p:nvSpPr>
        <p:spPr>
          <a:xfrm>
            <a:off x="562621" y="3813632"/>
            <a:ext cx="990870" cy="40011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2000" b="1" i="0" u="none" strike="noStrike" kern="1200" cap="none" spc="0" normalizeH="0" baseline="0" noProof="0">
                <a:ln w="0"/>
                <a:solidFill>
                  <a:srgbClr val="A100FF">
                    <a:lumMod val="60000"/>
                    <a:lumOff val="40000"/>
                  </a:srgbClr>
                </a:solidFill>
                <a:effectLst>
                  <a:outerShdw blurRad="38100" dist="25400" dir="5400000" algn="ctr" rotWithShape="0">
                    <a:srgbClr val="6E747A">
                      <a:alpha val="43000"/>
                    </a:srgbClr>
                  </a:outerShdw>
                </a:effectLst>
                <a:uLnTx/>
                <a:uFillTx/>
                <a:latin typeface="Graphik"/>
                <a:ea typeface="+mn-ea"/>
                <a:cs typeface="+mn-cs"/>
              </a:rPr>
              <a:t> EHR</a:t>
            </a:r>
          </a:p>
        </p:txBody>
      </p:sp>
      <p:pic>
        <p:nvPicPr>
          <p:cNvPr id="33" name="Picture 4" descr="What is Network Redundancy and Why Does It Matter?">
            <a:extLst>
              <a:ext uri="{FF2B5EF4-FFF2-40B4-BE49-F238E27FC236}">
                <a16:creationId xmlns:a16="http://schemas.microsoft.com/office/drawing/2014/main" id="{4B906AC8-FA58-43AF-8366-F96FF53E659C}"/>
              </a:ext>
            </a:extLst>
          </p:cNvPr>
          <p:cNvPicPr>
            <a:picLocks noChangeAspect="1" noChangeArrowheads="1" noCrop="1"/>
          </p:cNvPicPr>
          <p:nvPr/>
        </p:nvPicPr>
        <p:blipFill>
          <a:blip r:embed="rId5">
            <a:extLst>
              <a:ext uri="{28A0092B-C50C-407E-A947-70E740481C1C}">
                <a14:useLocalDpi xmlns:a14="http://schemas.microsoft.com/office/drawing/2010/main"/>
              </a:ext>
            </a:extLst>
          </a:blip>
          <a:stretch>
            <a:fillRect/>
          </a:stretch>
        </p:blipFill>
        <p:spPr bwMode="auto">
          <a:xfrm>
            <a:off x="289575" y="4465111"/>
            <a:ext cx="1536961" cy="1544469"/>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1DADC5E5-2B23-4D4B-B670-1B2731805D09}"/>
              </a:ext>
            </a:extLst>
          </p:cNvPr>
          <p:cNvSpPr/>
          <p:nvPr/>
        </p:nvSpPr>
        <p:spPr>
          <a:xfrm>
            <a:off x="244993" y="4291320"/>
            <a:ext cx="1632342" cy="1822763"/>
          </a:xfrm>
          <a:prstGeom prst="rect">
            <a:avLst/>
          </a:prstGeom>
          <a:noFill/>
          <a:ln w="57150" cap="flat" cmpd="sng" algn="ctr">
            <a:solidFill>
              <a:srgbClr val="7030A0"/>
            </a:solid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8" name="Arrow: Up-Down 37">
            <a:extLst>
              <a:ext uri="{FF2B5EF4-FFF2-40B4-BE49-F238E27FC236}">
                <a16:creationId xmlns:a16="http://schemas.microsoft.com/office/drawing/2014/main" id="{724DD542-B5AA-4092-8466-34D22E5D825D}"/>
              </a:ext>
            </a:extLst>
          </p:cNvPr>
          <p:cNvSpPr/>
          <p:nvPr/>
        </p:nvSpPr>
        <p:spPr>
          <a:xfrm>
            <a:off x="935362" y="3266980"/>
            <a:ext cx="243095" cy="546652"/>
          </a:xfrm>
          <a:prstGeom prst="up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cxnSp>
        <p:nvCxnSpPr>
          <p:cNvPr id="5" name="Straight Connector 4">
            <a:extLst>
              <a:ext uri="{FF2B5EF4-FFF2-40B4-BE49-F238E27FC236}">
                <a16:creationId xmlns:a16="http://schemas.microsoft.com/office/drawing/2014/main" id="{B74D4861-2F99-43F1-A370-898AB0B8AC67}"/>
              </a:ext>
            </a:extLst>
          </p:cNvPr>
          <p:cNvCxnSpPr>
            <a:stCxn id="11" idx="2"/>
          </p:cNvCxnSpPr>
          <p:nvPr/>
        </p:nvCxnSpPr>
        <p:spPr>
          <a:xfrm flipH="1">
            <a:off x="7404653" y="1086412"/>
            <a:ext cx="9938" cy="5542988"/>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F8EE12AE-5CE0-4978-B4C2-1ECAB6D7F877}"/>
              </a:ext>
            </a:extLst>
          </p:cNvPr>
          <p:cNvSpPr/>
          <p:nvPr/>
        </p:nvSpPr>
        <p:spPr>
          <a:xfrm>
            <a:off x="8932003" y="790508"/>
            <a:ext cx="1911101"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2000" b="1" i="0" u="none" strike="noStrike" kern="1200" cap="none" spc="0" normalizeH="0" baseline="0" noProof="0">
                <a:ln w="0"/>
                <a:solidFill>
                  <a:srgbClr val="A100FF">
                    <a:lumMod val="60000"/>
                    <a:lumOff val="40000"/>
                  </a:srgbClr>
                </a:solidFill>
                <a:effectLst>
                  <a:outerShdw blurRad="38100" dist="25400" dir="5400000" algn="ctr" rotWithShape="0">
                    <a:srgbClr val="6E747A">
                      <a:alpha val="43000"/>
                    </a:srgbClr>
                  </a:outerShdw>
                </a:effectLst>
                <a:uLnTx/>
                <a:uFillTx/>
                <a:latin typeface="Graphik"/>
                <a:ea typeface="+mn-ea"/>
                <a:cs typeface="+mn-cs"/>
              </a:rPr>
              <a:t>COMMUNITY</a:t>
            </a:r>
          </a:p>
        </p:txBody>
      </p:sp>
      <p:sp>
        <p:nvSpPr>
          <p:cNvPr id="41" name="Rectangle 40">
            <a:extLst>
              <a:ext uri="{FF2B5EF4-FFF2-40B4-BE49-F238E27FC236}">
                <a16:creationId xmlns:a16="http://schemas.microsoft.com/office/drawing/2014/main" id="{C39D1E43-89EE-428A-B086-33ED15D0B409}"/>
              </a:ext>
            </a:extLst>
          </p:cNvPr>
          <p:cNvSpPr/>
          <p:nvPr/>
        </p:nvSpPr>
        <p:spPr>
          <a:xfrm>
            <a:off x="4325595" y="790508"/>
            <a:ext cx="1561646"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en-US" sz="2000" b="1">
                <a:ln w="0"/>
                <a:solidFill>
                  <a:srgbClr val="A100FF">
                    <a:lumMod val="60000"/>
                    <a:lumOff val="40000"/>
                  </a:srgbClr>
                </a:solidFill>
                <a:effectLst>
                  <a:outerShdw blurRad="38100" dist="25400" dir="5400000" algn="ctr" rotWithShape="0">
                    <a:srgbClr val="6E747A">
                      <a:alpha val="43000"/>
                    </a:srgbClr>
                  </a:outerShdw>
                </a:effectLst>
                <a:latin typeface="Graphik"/>
              </a:rPr>
              <a:t>PROVIDER</a:t>
            </a:r>
            <a:endParaRPr kumimoji="0" lang="en-US" sz="2000" b="1" i="0" u="none" strike="noStrike" kern="1200" cap="none" spc="0" normalizeH="0" baseline="0" noProof="0">
              <a:ln w="0"/>
              <a:solidFill>
                <a:srgbClr val="A100FF">
                  <a:lumMod val="60000"/>
                  <a:lumOff val="40000"/>
                </a:srgbClr>
              </a:solidFill>
              <a:effectLst>
                <a:outerShdw blurRad="38100" dist="25400" dir="5400000" algn="ctr" rotWithShape="0">
                  <a:srgbClr val="6E747A">
                    <a:alpha val="43000"/>
                  </a:srgbClr>
                </a:outerShdw>
              </a:effectLst>
              <a:uLnTx/>
              <a:uFillTx/>
              <a:latin typeface="Graphik"/>
              <a:ea typeface="+mn-ea"/>
              <a:cs typeface="+mn-cs"/>
            </a:endParaRPr>
          </a:p>
        </p:txBody>
      </p:sp>
      <p:pic>
        <p:nvPicPr>
          <p:cNvPr id="1042" name="Picture 18" descr="[crop output image]">
            <a:extLst>
              <a:ext uri="{FF2B5EF4-FFF2-40B4-BE49-F238E27FC236}">
                <a16:creationId xmlns:a16="http://schemas.microsoft.com/office/drawing/2014/main" id="{C8714D2E-2911-475B-B4AD-F22C507F50E9}"/>
              </a:ext>
            </a:extLst>
          </p:cNvPr>
          <p:cNvPicPr>
            <a:picLocks noChangeAspect="1" noChangeArrowheads="1" noCrop="1"/>
          </p:cNvPicPr>
          <p:nvPr/>
        </p:nvPicPr>
        <p:blipFill>
          <a:blip r:embed="rId6">
            <a:extLst>
              <a:ext uri="{28A0092B-C50C-407E-A947-70E740481C1C}">
                <a14:useLocalDpi xmlns:a14="http://schemas.microsoft.com/office/drawing/2010/main"/>
              </a:ext>
            </a:extLst>
          </a:blip>
          <a:stretch>
            <a:fillRect/>
          </a:stretch>
        </p:blipFill>
        <p:spPr bwMode="auto">
          <a:xfrm>
            <a:off x="7451677" y="3736714"/>
            <a:ext cx="1689660" cy="2952637"/>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cut output image]">
            <a:extLst>
              <a:ext uri="{FF2B5EF4-FFF2-40B4-BE49-F238E27FC236}">
                <a16:creationId xmlns:a16="http://schemas.microsoft.com/office/drawing/2014/main" id="{ACDA5FF7-D0C2-4084-A36A-ED25581090B8}"/>
              </a:ext>
            </a:extLst>
          </p:cNvPr>
          <p:cNvPicPr>
            <a:picLocks noChangeAspect="1" noChangeArrowheads="1" noCrop="1"/>
          </p:cNvPicPr>
          <p:nvPr/>
        </p:nvPicPr>
        <p:blipFill>
          <a:blip r:embed="rId7">
            <a:extLst>
              <a:ext uri="{28A0092B-C50C-407E-A947-70E740481C1C}">
                <a14:useLocalDpi xmlns:a14="http://schemas.microsoft.com/office/drawing/2010/main" val="0"/>
              </a:ext>
            </a:extLst>
          </a:blip>
          <a:stretch>
            <a:fillRect/>
          </a:stretch>
        </p:blipFill>
        <p:spPr bwMode="auto">
          <a:xfrm>
            <a:off x="3041223" y="1300614"/>
            <a:ext cx="4219330" cy="3164497"/>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D04C4895-9098-44D6-A55F-87A58A1A9DF7}"/>
              </a:ext>
            </a:extLst>
          </p:cNvPr>
          <p:cNvSpPr/>
          <p:nvPr/>
        </p:nvSpPr>
        <p:spPr>
          <a:xfrm>
            <a:off x="3044950" y="1223940"/>
            <a:ext cx="2302232"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en-US" sz="2000" b="1">
                <a:ln w="0"/>
                <a:effectLst>
                  <a:outerShdw blurRad="38100" dist="25400" dir="5400000" algn="ctr" rotWithShape="0">
                    <a:srgbClr val="6E747A">
                      <a:alpha val="43000"/>
                    </a:srgbClr>
                  </a:outerShdw>
                </a:effectLst>
                <a:latin typeface="Graphik"/>
              </a:rPr>
              <a:t>E MEET OB/GYN</a:t>
            </a:r>
            <a:endParaRPr kumimoji="0" lang="en-US" sz="2000" b="1" i="0" u="none" strike="noStrike" kern="1200" cap="none" spc="0" normalizeH="0" baseline="0" noProof="0">
              <a:ln w="0"/>
              <a:effectLst>
                <a:outerShdw blurRad="38100" dist="25400" dir="5400000" algn="ctr" rotWithShape="0">
                  <a:srgbClr val="6E747A">
                    <a:alpha val="43000"/>
                  </a:srgbClr>
                </a:outerShdw>
              </a:effectLst>
              <a:uLnTx/>
              <a:uFillTx/>
              <a:latin typeface="Graphik"/>
              <a:ea typeface="+mn-ea"/>
              <a:cs typeface="+mn-cs"/>
            </a:endParaRPr>
          </a:p>
        </p:txBody>
      </p:sp>
      <p:sp>
        <p:nvSpPr>
          <p:cNvPr id="55" name="Rectangle 54">
            <a:extLst>
              <a:ext uri="{FF2B5EF4-FFF2-40B4-BE49-F238E27FC236}">
                <a16:creationId xmlns:a16="http://schemas.microsoft.com/office/drawing/2014/main" id="{CFD00FD3-9FD8-4662-A3AA-768DC577555C}"/>
              </a:ext>
            </a:extLst>
          </p:cNvPr>
          <p:cNvSpPr/>
          <p:nvPr/>
        </p:nvSpPr>
        <p:spPr>
          <a:xfrm>
            <a:off x="3041223" y="4110645"/>
            <a:ext cx="2654894"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en-US" sz="2000" b="1">
                <a:ln w="0"/>
                <a:effectLst>
                  <a:outerShdw blurRad="38100" dist="25400" dir="5400000" algn="ctr" rotWithShape="0">
                    <a:srgbClr val="6E747A">
                      <a:alpha val="43000"/>
                    </a:srgbClr>
                  </a:outerShdw>
                </a:effectLst>
                <a:latin typeface="Graphik"/>
              </a:rPr>
              <a:t>PROVIDE FEEBACK</a:t>
            </a:r>
            <a:endParaRPr kumimoji="0" lang="en-US" sz="2000" b="1" i="0" u="none" strike="noStrike" kern="1200" cap="none" spc="0" normalizeH="0" baseline="0" noProof="0">
              <a:ln w="0"/>
              <a:effectLst>
                <a:outerShdw blurRad="38100" dist="25400" dir="5400000" algn="ctr" rotWithShape="0">
                  <a:srgbClr val="6E747A">
                    <a:alpha val="43000"/>
                  </a:srgbClr>
                </a:outerShdw>
              </a:effectLst>
              <a:uLnTx/>
              <a:uFillTx/>
              <a:latin typeface="Graphik"/>
              <a:ea typeface="+mn-ea"/>
              <a:cs typeface="+mn-cs"/>
            </a:endParaRPr>
          </a:p>
        </p:txBody>
      </p:sp>
      <p:sp>
        <p:nvSpPr>
          <p:cNvPr id="56" name="Rectangle 55">
            <a:extLst>
              <a:ext uri="{FF2B5EF4-FFF2-40B4-BE49-F238E27FC236}">
                <a16:creationId xmlns:a16="http://schemas.microsoft.com/office/drawing/2014/main" id="{CD74EC5F-F94E-4657-879A-6E3C2C47DA6D}"/>
              </a:ext>
            </a:extLst>
          </p:cNvPr>
          <p:cNvSpPr/>
          <p:nvPr/>
        </p:nvSpPr>
        <p:spPr>
          <a:xfrm>
            <a:off x="6340108" y="4110645"/>
            <a:ext cx="920445"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en-US" sz="2000" b="1">
                <a:ln w="0"/>
                <a:effectLst>
                  <a:outerShdw blurRad="38100" dist="25400" dir="5400000" algn="ctr" rotWithShape="0">
                    <a:srgbClr val="6E747A">
                      <a:alpha val="43000"/>
                    </a:srgbClr>
                  </a:outerShdw>
                </a:effectLst>
                <a:latin typeface="Graphik"/>
              </a:rPr>
              <a:t>EARN</a:t>
            </a:r>
            <a:endParaRPr kumimoji="0" lang="en-US" sz="2000" b="1" i="0" u="none" strike="noStrike" kern="1200" cap="none" spc="0" normalizeH="0" baseline="0" noProof="0">
              <a:ln w="0"/>
              <a:effectLst>
                <a:outerShdw blurRad="38100" dist="25400" dir="5400000" algn="ctr" rotWithShape="0">
                  <a:srgbClr val="6E747A">
                    <a:alpha val="43000"/>
                  </a:srgbClr>
                </a:outerShdw>
              </a:effectLst>
              <a:uLnTx/>
              <a:uFillTx/>
              <a:latin typeface="Graphik"/>
              <a:ea typeface="+mn-ea"/>
              <a:cs typeface="+mn-cs"/>
            </a:endParaRPr>
          </a:p>
        </p:txBody>
      </p:sp>
      <p:pic>
        <p:nvPicPr>
          <p:cNvPr id="57" name="Picture 4" descr="Cyber Health App Explainer Video on Behance">
            <a:extLst>
              <a:ext uri="{FF2B5EF4-FFF2-40B4-BE49-F238E27FC236}">
                <a16:creationId xmlns:a16="http://schemas.microsoft.com/office/drawing/2014/main" id="{723A2C77-85BC-476D-81C9-9FE559D1EC51}"/>
              </a:ext>
            </a:extLst>
          </p:cNvPr>
          <p:cNvPicPr>
            <a:picLocks noChangeAspect="1" noChangeArrowheads="1" noCrop="1"/>
          </p:cNvPicPr>
          <p:nvPr/>
        </p:nvPicPr>
        <p:blipFill>
          <a:blip r:embed="rId8">
            <a:extLst>
              <a:ext uri="{28A0092B-C50C-407E-A947-70E740481C1C}">
                <a14:useLocalDpi xmlns:a14="http://schemas.microsoft.com/office/drawing/2010/main"/>
              </a:ext>
            </a:extLst>
          </a:blip>
          <a:stretch>
            <a:fillRect/>
          </a:stretch>
        </p:blipFill>
        <p:spPr bwMode="auto">
          <a:xfrm>
            <a:off x="3343948" y="4659289"/>
            <a:ext cx="3515426" cy="1977427"/>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5A2F53CC-6F59-44AA-81D3-D5DA0F9386D7}"/>
              </a:ext>
            </a:extLst>
          </p:cNvPr>
          <p:cNvSpPr/>
          <p:nvPr/>
        </p:nvSpPr>
        <p:spPr>
          <a:xfrm>
            <a:off x="3535072" y="4659289"/>
            <a:ext cx="3227165"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en-US" sz="2000" b="1">
                <a:ln w="0"/>
                <a:effectLst>
                  <a:outerShdw blurRad="38100" dist="25400" dir="5400000" algn="ctr" rotWithShape="0">
                    <a:srgbClr val="6E747A">
                      <a:alpha val="43000"/>
                    </a:srgbClr>
                  </a:outerShdw>
                </a:effectLst>
                <a:latin typeface="Graphik"/>
              </a:rPr>
              <a:t>ON DEMAND CONTENT </a:t>
            </a:r>
            <a:endParaRPr kumimoji="0" lang="en-US" sz="2000" b="1" i="0" u="none" strike="noStrike" kern="1200" cap="none" spc="0" normalizeH="0" baseline="0" noProof="0">
              <a:ln w="0"/>
              <a:effectLst>
                <a:outerShdw blurRad="38100" dist="25400" dir="5400000" algn="ctr" rotWithShape="0">
                  <a:srgbClr val="6E747A">
                    <a:alpha val="43000"/>
                  </a:srgbClr>
                </a:outerShdw>
              </a:effectLst>
              <a:uLnTx/>
              <a:uFillTx/>
              <a:latin typeface="Graphik"/>
              <a:ea typeface="+mn-ea"/>
              <a:cs typeface="+mn-cs"/>
            </a:endParaRPr>
          </a:p>
        </p:txBody>
      </p:sp>
      <p:pic>
        <p:nvPicPr>
          <p:cNvPr id="1046" name="Picture 22">
            <a:extLst>
              <a:ext uri="{FF2B5EF4-FFF2-40B4-BE49-F238E27FC236}">
                <a16:creationId xmlns:a16="http://schemas.microsoft.com/office/drawing/2014/main" id="{3DEFE106-A39B-4CC8-A3FA-E35CD454782C}"/>
              </a:ext>
            </a:extLst>
          </p:cNvPr>
          <p:cNvPicPr>
            <a:picLocks noChangeAspect="1" noChangeArrowheads="1" noCrop="1"/>
          </p:cNvPicPr>
          <p:nvPr/>
        </p:nvPicPr>
        <p:blipFill>
          <a:blip r:embed="rId9">
            <a:extLst>
              <a:ext uri="{28A0092B-C50C-407E-A947-70E740481C1C}">
                <a14:useLocalDpi xmlns:a14="http://schemas.microsoft.com/office/drawing/2010/main" val="0"/>
              </a:ext>
            </a:extLst>
          </a:blip>
          <a:stretch>
            <a:fillRect/>
          </a:stretch>
        </p:blipFill>
        <p:spPr bwMode="auto">
          <a:xfrm>
            <a:off x="9394631" y="3560565"/>
            <a:ext cx="3310708" cy="3310708"/>
          </a:xfrm>
          <a:prstGeom prst="rect">
            <a:avLst/>
          </a:prstGeom>
          <a:noFill/>
          <a:extLst>
            <a:ext uri="{909E8E84-426E-40DD-AFC4-6F175D3DCCD1}">
              <a14:hiddenFill xmlns:a14="http://schemas.microsoft.com/office/drawing/2010/main">
                <a:solidFill>
                  <a:srgbClr val="FFFFFF"/>
                </a:solidFill>
              </a14:hiddenFill>
            </a:ext>
          </a:extLst>
        </p:spPr>
      </p:pic>
      <p:sp>
        <p:nvSpPr>
          <p:cNvPr id="60" name="Content Placeholder 2">
            <a:extLst>
              <a:ext uri="{FF2B5EF4-FFF2-40B4-BE49-F238E27FC236}">
                <a16:creationId xmlns:a16="http://schemas.microsoft.com/office/drawing/2014/main" id="{D4D0E976-1EEE-464C-BC54-FB07CD4833D8}"/>
              </a:ext>
            </a:extLst>
          </p:cNvPr>
          <p:cNvSpPr txBox="1"/>
          <p:nvPr/>
        </p:nvSpPr>
        <p:spPr>
          <a:xfrm>
            <a:off x="9141337" y="5740159"/>
            <a:ext cx="1535819" cy="747848"/>
          </a:xfrm>
          <a:prstGeom prst="rect">
            <a:avLst/>
          </a:prstGeom>
        </p:spPr>
        <p:txBody>
          <a:bodyPr vert="horz" lIns="0" tIns="0" rIns="0" bIns="0" rtlCol="0">
            <a:noAutofit/>
          </a:bodyPr>
          <a:lstStyle>
            <a:lvl1pPr marL="0" indent="0" algn="l" defTabSz="228600" rtl="0" eaLnBrk="1" latinLnBrk="0" hangingPunct="1">
              <a:lnSpc>
                <a:spcPct val="100000"/>
              </a:lnSpc>
              <a:spcBef>
                <a:spcPct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ct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ct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ct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ct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ct val="0"/>
              </a:spcBef>
              <a:spcAft>
                <a:spcPts val="1200"/>
              </a:spcAft>
              <a:buFont typeface="Graphik" panose="020b0503030202060203" pitchFamily="34" charset="77"/>
              <a:buNone/>
              <a:defRPr sz="1600" kern="1200">
                <a:solidFill>
                  <a:schemeClr val="tx1"/>
                </a:solidFill>
                <a:latin typeface="+mn-lt"/>
                <a:ea typeface="+mn-ea"/>
                <a:cs typeface="+mn-cs"/>
              </a:defRPr>
            </a:lvl6pPr>
            <a:lvl7pPr marL="0" indent="0" algn="l" defTabSz="228600" rtl="0" eaLnBrk="1" latinLnBrk="0" hangingPunct="1">
              <a:lnSpc>
                <a:spcPct val="90000"/>
              </a:lnSpc>
              <a:spcBef>
                <a:spcPct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ct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ct val="0"/>
              </a:spcBef>
              <a:spcAft>
                <a:spcPts val="1200"/>
              </a:spcAft>
              <a:buFont typeface="Arial" panose="020b0604020202020204" pitchFamily="34" charset="0"/>
              <a:buNone/>
              <a:defRPr sz="800" kern="1200">
                <a:solidFill>
                  <a:schemeClr val="tx2"/>
                </a:solidFill>
                <a:latin typeface="+mn-lt"/>
                <a:ea typeface="+mn-ea"/>
                <a:cs typeface="+mn-cs"/>
              </a:defRPr>
            </a:lvl9pPr>
          </a:lstStyle>
          <a:p>
            <a:pPr algn="l"/>
            <a:r>
              <a:rPr lang="en-US" sz="1600" b="1">
                <a:ea typeface="+mj-ea"/>
                <a:cs typeface="+mj-cs"/>
              </a:rPr>
              <a:t>RESOURCE SHARING</a:t>
            </a:r>
          </a:p>
        </p:txBody>
      </p:sp>
      <p:sp>
        <p:nvSpPr>
          <p:cNvPr id="61" name="Content Placeholder 2">
            <a:extLst>
              <a:ext uri="{FF2B5EF4-FFF2-40B4-BE49-F238E27FC236}">
                <a16:creationId xmlns:a16="http://schemas.microsoft.com/office/drawing/2014/main" id="{502A9A3A-E566-4B3B-ACBD-3A469C94A7F1}"/>
              </a:ext>
            </a:extLst>
          </p:cNvPr>
          <p:cNvSpPr txBox="1"/>
          <p:nvPr/>
        </p:nvSpPr>
        <p:spPr>
          <a:xfrm>
            <a:off x="9098778" y="4110645"/>
            <a:ext cx="812274" cy="669166"/>
          </a:xfrm>
          <a:prstGeom prst="rect">
            <a:avLst/>
          </a:prstGeom>
        </p:spPr>
        <p:txBody>
          <a:bodyPr vert="horz" lIns="0" tIns="0" rIns="0" bIns="0" rtlCol="0">
            <a:noAutofit/>
          </a:bodyPr>
          <a:lstStyle>
            <a:lvl1pPr marL="0" indent="0" algn="l" defTabSz="228600" rtl="0" eaLnBrk="1" latinLnBrk="0" hangingPunct="1">
              <a:lnSpc>
                <a:spcPct val="100000"/>
              </a:lnSpc>
              <a:spcBef>
                <a:spcPct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ct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ct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ct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ct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ct val="0"/>
              </a:spcBef>
              <a:spcAft>
                <a:spcPts val="1200"/>
              </a:spcAft>
              <a:buFont typeface="Graphik" panose="020b0503030202060203" pitchFamily="34" charset="77"/>
              <a:buNone/>
              <a:defRPr sz="1600" kern="1200">
                <a:solidFill>
                  <a:schemeClr val="tx1"/>
                </a:solidFill>
                <a:latin typeface="+mn-lt"/>
                <a:ea typeface="+mn-ea"/>
                <a:cs typeface="+mn-cs"/>
              </a:defRPr>
            </a:lvl6pPr>
            <a:lvl7pPr marL="0" indent="0" algn="l" defTabSz="228600" rtl="0" eaLnBrk="1" latinLnBrk="0" hangingPunct="1">
              <a:lnSpc>
                <a:spcPct val="90000"/>
              </a:lnSpc>
              <a:spcBef>
                <a:spcPct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ct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ct val="0"/>
              </a:spcBef>
              <a:spcAft>
                <a:spcPts val="1200"/>
              </a:spcAft>
              <a:buFont typeface="Arial" panose="020b0604020202020204" pitchFamily="34" charset="0"/>
              <a:buNone/>
              <a:defRPr sz="800" kern="1200">
                <a:solidFill>
                  <a:schemeClr val="tx2"/>
                </a:solidFill>
                <a:latin typeface="+mn-lt"/>
                <a:ea typeface="+mn-ea"/>
                <a:cs typeface="+mn-cs"/>
              </a:defRPr>
            </a:lvl9pPr>
          </a:lstStyle>
          <a:p>
            <a:pPr algn="l"/>
            <a:r>
              <a:rPr lang="en-US" sz="1600" b="1">
                <a:ea typeface="+mj-ea"/>
                <a:cs typeface="+mj-cs"/>
              </a:rPr>
              <a:t>VOICE MEETS</a:t>
            </a:r>
            <a:endParaRPr lang="en-US" sz="1600" b="1">
              <a:solidFill>
                <a:schemeClr val="accent1"/>
              </a:solidFill>
              <a:ea typeface="+mj-ea"/>
              <a:cs typeface="+mj-cs"/>
            </a:endParaRPr>
          </a:p>
        </p:txBody>
      </p:sp>
      <p:sp>
        <p:nvSpPr>
          <p:cNvPr id="62" name="Rectangle 61">
            <a:extLst>
              <a:ext uri="{FF2B5EF4-FFF2-40B4-BE49-F238E27FC236}">
                <a16:creationId xmlns:a16="http://schemas.microsoft.com/office/drawing/2014/main" id="{70DC3EC9-7B26-42FD-B7FC-C5E627344BE5}"/>
              </a:ext>
            </a:extLst>
          </p:cNvPr>
          <p:cNvSpPr/>
          <p:nvPr/>
        </p:nvSpPr>
        <p:spPr>
          <a:xfrm>
            <a:off x="3041395" y="1294823"/>
            <a:ext cx="4219158" cy="3189012"/>
          </a:xfrm>
          <a:prstGeom prst="rect">
            <a:avLst/>
          </a:prstGeom>
          <a:noFill/>
          <a:ln w="57150" cap="flat" cmpd="sng" algn="ctr">
            <a:solidFill>
              <a:srgbClr val="7030A0"/>
            </a:solid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63" name="Rectangle 62">
            <a:extLst>
              <a:ext uri="{FF2B5EF4-FFF2-40B4-BE49-F238E27FC236}">
                <a16:creationId xmlns:a16="http://schemas.microsoft.com/office/drawing/2014/main" id="{0EF954EA-AB79-40EA-A6B4-1537CD70AF9F}"/>
              </a:ext>
            </a:extLst>
          </p:cNvPr>
          <p:cNvSpPr/>
          <p:nvPr/>
        </p:nvSpPr>
        <p:spPr>
          <a:xfrm>
            <a:off x="3332864" y="4659289"/>
            <a:ext cx="3526510" cy="1977427"/>
          </a:xfrm>
          <a:prstGeom prst="rect">
            <a:avLst/>
          </a:prstGeom>
          <a:noFill/>
          <a:ln w="57150" cap="flat" cmpd="sng" algn="ctr">
            <a:solidFill>
              <a:srgbClr val="7030A0"/>
            </a:solid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36" name="Picture 2" descr="Utah Education And Telehealth Network GIFs - Get the best GIF on GIPHY">
            <a:extLst>
              <a:ext uri="{FF2B5EF4-FFF2-40B4-BE49-F238E27FC236}">
                <a16:creationId xmlns:a16="http://schemas.microsoft.com/office/drawing/2014/main" id="{007DDD88-FBA1-4CA0-AF2F-4AC157FD4FFC}"/>
              </a:ext>
            </a:extLst>
          </p:cNvPr>
          <p:cNvPicPr>
            <a:picLocks noChangeAspect="1" noChangeArrowheads="1" noCrop="1"/>
          </p:cNvPicPr>
          <p:nvPr/>
        </p:nvPicPr>
        <p:blipFill>
          <a:blip r:embed="rId10">
            <a:extLst>
              <a:ext uri="{28A0092B-C50C-407E-A947-70E740481C1C}">
                <a14:useLocalDpi xmlns:a14="http://schemas.microsoft.com/office/drawing/2010/main" val="0"/>
              </a:ext>
            </a:extLst>
          </a:blip>
          <a:stretch>
            <a:fillRect/>
          </a:stretch>
        </p:blipFill>
        <p:spPr bwMode="auto">
          <a:xfrm>
            <a:off x="7550490" y="1264288"/>
            <a:ext cx="4215941" cy="2371467"/>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9FDD303D-2041-41F6-99F1-D2CAAF71A5D6}"/>
              </a:ext>
            </a:extLst>
          </p:cNvPr>
          <p:cNvSpPr/>
          <p:nvPr/>
        </p:nvSpPr>
        <p:spPr>
          <a:xfrm>
            <a:off x="10427602" y="3254381"/>
            <a:ext cx="1338829"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2000" b="1" i="0" u="none" strike="noStrike" kern="1200" cap="none" spc="0" normalizeH="0" baseline="0" noProof="0">
                <a:ln w="0"/>
                <a:effectLst>
                  <a:outerShdw blurRad="38100" dist="25400" dir="5400000" algn="ctr" rotWithShape="0">
                    <a:srgbClr val="6E747A">
                      <a:alpha val="43000"/>
                    </a:srgbClr>
                  </a:outerShdw>
                </a:effectLst>
                <a:uLnTx/>
                <a:uFillTx/>
                <a:latin typeface="Graphik"/>
                <a:ea typeface="+mn-ea"/>
                <a:cs typeface="+mn-cs"/>
              </a:rPr>
              <a:t>FORUMS</a:t>
            </a:r>
          </a:p>
        </p:txBody>
      </p:sp>
      <p:sp>
        <p:nvSpPr>
          <p:cNvPr id="39" name="Rectangle 38">
            <a:extLst>
              <a:ext uri="{FF2B5EF4-FFF2-40B4-BE49-F238E27FC236}">
                <a16:creationId xmlns:a16="http://schemas.microsoft.com/office/drawing/2014/main" id="{8D35EA92-F0DD-472E-8232-33BEFB0F4781}"/>
              </a:ext>
            </a:extLst>
          </p:cNvPr>
          <p:cNvSpPr/>
          <p:nvPr/>
        </p:nvSpPr>
        <p:spPr>
          <a:xfrm>
            <a:off x="7542851" y="1255789"/>
            <a:ext cx="4230071" cy="2379966"/>
          </a:xfrm>
          <a:prstGeom prst="rect">
            <a:avLst/>
          </a:prstGeom>
          <a:noFill/>
          <a:ln w="57150" cap="flat" cmpd="sng" algn="ctr">
            <a:solidFill>
              <a:srgbClr val="7030A0"/>
            </a:solid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18023483"/>
      </p:ext>
    </p:extLst>
  </p:cSld>
  <p:clrMapOvr>
    <a:masterClrMapping/>
  </p:clrMapOvr>
  <p:transition/>
  <p:timing/>
</p:sld>
</file>

<file path=ppt/slides/slide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grpSp>
        <p:nvGrpSpPr>
          <p:cNvPr id="2" name="object 2"/>
          <p:cNvGrpSpPr/>
          <p:nvPr/>
        </p:nvGrpSpPr>
        <p:grpSpPr>
          <a:xfrm>
            <a:off x="326136" y="4613147"/>
            <a:ext cx="11511280" cy="1774189"/>
            <a:chOff x="326136" y="4613147"/>
            <a:chExt cx="11511280" cy="1774189"/>
          </a:xfrm>
        </p:grpSpPr>
        <p:sp>
          <p:nvSpPr>
            <p:cNvPr id="3" name="object 3"/>
            <p:cNvSpPr/>
            <p:nvPr/>
          </p:nvSpPr>
          <p:spPr>
            <a:xfrm>
              <a:off x="326136" y="4613147"/>
              <a:ext cx="11511280" cy="1774189"/>
            </a:xfrm>
            <a:custGeom>
              <a:rect l="l" t="t" r="r" b="b"/>
              <a:pathLst>
                <a:path w="11511280" h="1774189">
                  <a:moveTo>
                    <a:pt x="11510772" y="0"/>
                  </a:moveTo>
                  <a:lnTo>
                    <a:pt x="0" y="0"/>
                  </a:lnTo>
                  <a:lnTo>
                    <a:pt x="0" y="1773936"/>
                  </a:lnTo>
                  <a:lnTo>
                    <a:pt x="11510772" y="1773936"/>
                  </a:lnTo>
                  <a:lnTo>
                    <a:pt x="11510772" y="0"/>
                  </a:lnTo>
                  <a:close/>
                </a:path>
              </a:pathLst>
            </a:custGeom>
            <a:solidFill>
              <a:srgbClr val="EAEAEA"/>
            </a:solidFill>
          </p:spPr>
          <p:txBody>
            <a:bodyPr wrap="square" lIns="0" tIns="0" rIns="0" bIns="0" rtlCol="0"/>
            <a:lstStyle/>
            <a:p>
              <a:endParaRPr/>
            </a:p>
          </p:txBody>
        </p:sp>
        <p:sp>
          <p:nvSpPr>
            <p:cNvPr id="4" name="object 4"/>
            <p:cNvSpPr/>
            <p:nvPr/>
          </p:nvSpPr>
          <p:spPr>
            <a:xfrm>
              <a:off x="588899" y="5069344"/>
              <a:ext cx="2527935" cy="329565"/>
            </a:xfrm>
            <a:custGeom>
              <a:rect l="l" t="t" r="r" b="b"/>
              <a:pathLst>
                <a:path w="2527935" h="329564">
                  <a:moveTo>
                    <a:pt x="152349" y="228904"/>
                  </a:moveTo>
                  <a:lnTo>
                    <a:pt x="145072" y="188645"/>
                  </a:lnTo>
                  <a:lnTo>
                    <a:pt x="127863" y="169481"/>
                  </a:lnTo>
                  <a:lnTo>
                    <a:pt x="127863" y="218782"/>
                  </a:lnTo>
                  <a:lnTo>
                    <a:pt x="126238" y="231978"/>
                  </a:lnTo>
                  <a:lnTo>
                    <a:pt x="100876" y="264020"/>
                  </a:lnTo>
                  <a:lnTo>
                    <a:pt x="86258" y="269240"/>
                  </a:lnTo>
                  <a:lnTo>
                    <a:pt x="86258" y="177749"/>
                  </a:lnTo>
                  <a:lnTo>
                    <a:pt x="125412" y="205968"/>
                  </a:lnTo>
                  <a:lnTo>
                    <a:pt x="127863" y="218782"/>
                  </a:lnTo>
                  <a:lnTo>
                    <a:pt x="127863" y="169481"/>
                  </a:lnTo>
                  <a:lnTo>
                    <a:pt x="121602" y="165087"/>
                  </a:lnTo>
                  <a:lnTo>
                    <a:pt x="110236" y="159486"/>
                  </a:lnTo>
                  <a:lnTo>
                    <a:pt x="98298" y="155028"/>
                  </a:lnTo>
                  <a:lnTo>
                    <a:pt x="86258" y="151168"/>
                  </a:lnTo>
                  <a:lnTo>
                    <a:pt x="86258" y="143814"/>
                  </a:lnTo>
                  <a:lnTo>
                    <a:pt x="86258" y="60744"/>
                  </a:lnTo>
                  <a:lnTo>
                    <a:pt x="86258" y="58559"/>
                  </a:lnTo>
                  <a:lnTo>
                    <a:pt x="97624" y="60655"/>
                  </a:lnTo>
                  <a:lnTo>
                    <a:pt x="108394" y="64668"/>
                  </a:lnTo>
                  <a:lnTo>
                    <a:pt x="118287" y="70485"/>
                  </a:lnTo>
                  <a:lnTo>
                    <a:pt x="127101" y="77978"/>
                  </a:lnTo>
                  <a:lnTo>
                    <a:pt x="145491" y="60363"/>
                  </a:lnTo>
                  <a:lnTo>
                    <a:pt x="102743" y="35877"/>
                  </a:lnTo>
                  <a:lnTo>
                    <a:pt x="86258" y="33286"/>
                  </a:lnTo>
                  <a:lnTo>
                    <a:pt x="86258" y="0"/>
                  </a:lnTo>
                  <a:lnTo>
                    <a:pt x="63258" y="0"/>
                  </a:lnTo>
                  <a:lnTo>
                    <a:pt x="63258" y="34747"/>
                  </a:lnTo>
                  <a:lnTo>
                    <a:pt x="63258" y="60744"/>
                  </a:lnTo>
                  <a:lnTo>
                    <a:pt x="63258" y="143814"/>
                  </a:lnTo>
                  <a:lnTo>
                    <a:pt x="56324" y="141287"/>
                  </a:lnTo>
                  <a:lnTo>
                    <a:pt x="49847" y="137642"/>
                  </a:lnTo>
                  <a:lnTo>
                    <a:pt x="44107" y="133019"/>
                  </a:lnTo>
                  <a:lnTo>
                    <a:pt x="33070" y="117144"/>
                  </a:lnTo>
                  <a:lnTo>
                    <a:pt x="31026" y="98488"/>
                  </a:lnTo>
                  <a:lnTo>
                    <a:pt x="37109" y="80492"/>
                  </a:lnTo>
                  <a:lnTo>
                    <a:pt x="50507" y="66611"/>
                  </a:lnTo>
                  <a:lnTo>
                    <a:pt x="54457" y="64071"/>
                  </a:lnTo>
                  <a:lnTo>
                    <a:pt x="58750" y="62090"/>
                  </a:lnTo>
                  <a:lnTo>
                    <a:pt x="63258" y="60744"/>
                  </a:lnTo>
                  <a:lnTo>
                    <a:pt x="63258" y="34747"/>
                  </a:lnTo>
                  <a:lnTo>
                    <a:pt x="21805" y="58216"/>
                  </a:lnTo>
                  <a:lnTo>
                    <a:pt x="4648" y="102895"/>
                  </a:lnTo>
                  <a:lnTo>
                    <a:pt x="8775" y="127038"/>
                  </a:lnTo>
                  <a:lnTo>
                    <a:pt x="17945" y="142798"/>
                  </a:lnTo>
                  <a:lnTo>
                    <a:pt x="30861" y="154546"/>
                  </a:lnTo>
                  <a:lnTo>
                    <a:pt x="46342" y="163283"/>
                  </a:lnTo>
                  <a:lnTo>
                    <a:pt x="63258" y="170014"/>
                  </a:lnTo>
                  <a:lnTo>
                    <a:pt x="63258" y="270268"/>
                  </a:lnTo>
                  <a:lnTo>
                    <a:pt x="50457" y="267208"/>
                  </a:lnTo>
                  <a:lnTo>
                    <a:pt x="38747" y="261658"/>
                  </a:lnTo>
                  <a:lnTo>
                    <a:pt x="28067" y="254114"/>
                  </a:lnTo>
                  <a:lnTo>
                    <a:pt x="18389" y="245110"/>
                  </a:lnTo>
                  <a:lnTo>
                    <a:pt x="0" y="262686"/>
                  </a:lnTo>
                  <a:lnTo>
                    <a:pt x="30848" y="287235"/>
                  </a:lnTo>
                  <a:lnTo>
                    <a:pt x="63258" y="295783"/>
                  </a:lnTo>
                  <a:lnTo>
                    <a:pt x="63258" y="329361"/>
                  </a:lnTo>
                  <a:lnTo>
                    <a:pt x="86258" y="329361"/>
                  </a:lnTo>
                  <a:lnTo>
                    <a:pt x="86258" y="294894"/>
                  </a:lnTo>
                  <a:lnTo>
                    <a:pt x="105435" y="289420"/>
                  </a:lnTo>
                  <a:lnTo>
                    <a:pt x="122732" y="279781"/>
                  </a:lnTo>
                  <a:lnTo>
                    <a:pt x="132740" y="270268"/>
                  </a:lnTo>
                  <a:lnTo>
                    <a:pt x="133832" y="269240"/>
                  </a:lnTo>
                  <a:lnTo>
                    <a:pt x="137033" y="266204"/>
                  </a:lnTo>
                  <a:lnTo>
                    <a:pt x="147256" y="248945"/>
                  </a:lnTo>
                  <a:lnTo>
                    <a:pt x="152349" y="228904"/>
                  </a:lnTo>
                  <a:close/>
                </a:path>
                <a:path w="2527935" h="329564">
                  <a:moveTo>
                    <a:pt x="2527617" y="149682"/>
                  </a:moveTo>
                  <a:lnTo>
                    <a:pt x="2526487" y="146850"/>
                  </a:lnTo>
                  <a:lnTo>
                    <a:pt x="2524785" y="142608"/>
                  </a:lnTo>
                  <a:lnTo>
                    <a:pt x="2519134" y="137414"/>
                  </a:lnTo>
                  <a:lnTo>
                    <a:pt x="2518194" y="136461"/>
                  </a:lnTo>
                  <a:lnTo>
                    <a:pt x="2516784" y="135521"/>
                  </a:lnTo>
                  <a:lnTo>
                    <a:pt x="2515832" y="134581"/>
                  </a:lnTo>
                  <a:lnTo>
                    <a:pt x="2515832" y="53365"/>
                  </a:lnTo>
                  <a:lnTo>
                    <a:pt x="2515832" y="43929"/>
                  </a:lnTo>
                  <a:lnTo>
                    <a:pt x="2514346" y="36588"/>
                  </a:lnTo>
                  <a:lnTo>
                    <a:pt x="2510307" y="30581"/>
                  </a:lnTo>
                  <a:lnTo>
                    <a:pt x="2509710" y="30187"/>
                  </a:lnTo>
                  <a:lnTo>
                    <a:pt x="2509710" y="154406"/>
                  </a:lnTo>
                  <a:lnTo>
                    <a:pt x="2509710" y="160070"/>
                  </a:lnTo>
                  <a:lnTo>
                    <a:pt x="2462136" y="207759"/>
                  </a:lnTo>
                  <a:lnTo>
                    <a:pt x="2456484" y="207759"/>
                  </a:lnTo>
                  <a:lnTo>
                    <a:pt x="2449893" y="201142"/>
                  </a:lnTo>
                  <a:lnTo>
                    <a:pt x="2448941" y="200202"/>
                  </a:lnTo>
                  <a:lnTo>
                    <a:pt x="2448941" y="194538"/>
                  </a:lnTo>
                  <a:lnTo>
                    <a:pt x="2495575" y="147789"/>
                  </a:lnTo>
                  <a:lnTo>
                    <a:pt x="2496515" y="146850"/>
                  </a:lnTo>
                  <a:lnTo>
                    <a:pt x="2502179" y="146850"/>
                  </a:lnTo>
                  <a:lnTo>
                    <a:pt x="2509710" y="154406"/>
                  </a:lnTo>
                  <a:lnTo>
                    <a:pt x="2509710" y="30187"/>
                  </a:lnTo>
                  <a:lnTo>
                    <a:pt x="2504313" y="26530"/>
                  </a:lnTo>
                  <a:lnTo>
                    <a:pt x="2496997" y="25031"/>
                  </a:lnTo>
                  <a:lnTo>
                    <a:pt x="2487574" y="25031"/>
                  </a:lnTo>
                  <a:lnTo>
                    <a:pt x="2487574" y="53365"/>
                  </a:lnTo>
                  <a:lnTo>
                    <a:pt x="2487574" y="131267"/>
                  </a:lnTo>
                  <a:lnTo>
                    <a:pt x="2484755" y="132689"/>
                  </a:lnTo>
                  <a:lnTo>
                    <a:pt x="2481923" y="134581"/>
                  </a:lnTo>
                  <a:lnTo>
                    <a:pt x="2479103" y="136931"/>
                  </a:lnTo>
                  <a:lnTo>
                    <a:pt x="2468727" y="147789"/>
                  </a:lnTo>
                  <a:lnTo>
                    <a:pt x="2468727" y="111988"/>
                  </a:lnTo>
                  <a:lnTo>
                    <a:pt x="2468727" y="111442"/>
                  </a:lnTo>
                  <a:lnTo>
                    <a:pt x="2468727" y="72250"/>
                  </a:lnTo>
                  <a:lnTo>
                    <a:pt x="2415489" y="72250"/>
                  </a:lnTo>
                  <a:lnTo>
                    <a:pt x="2415489" y="191236"/>
                  </a:lnTo>
                  <a:lnTo>
                    <a:pt x="2414079" y="197370"/>
                  </a:lnTo>
                  <a:lnTo>
                    <a:pt x="2409367" y="199732"/>
                  </a:lnTo>
                  <a:lnTo>
                    <a:pt x="2407958" y="200672"/>
                  </a:lnTo>
                  <a:lnTo>
                    <a:pt x="2406078" y="201142"/>
                  </a:lnTo>
                  <a:lnTo>
                    <a:pt x="2401366" y="201142"/>
                  </a:lnTo>
                  <a:lnTo>
                    <a:pt x="2398534" y="199732"/>
                  </a:lnTo>
                  <a:lnTo>
                    <a:pt x="2396655" y="196430"/>
                  </a:lnTo>
                  <a:lnTo>
                    <a:pt x="2396286" y="195961"/>
                  </a:lnTo>
                  <a:lnTo>
                    <a:pt x="2383117" y="178828"/>
                  </a:lnTo>
                  <a:lnTo>
                    <a:pt x="2364727" y="159778"/>
                  </a:lnTo>
                  <a:lnTo>
                    <a:pt x="2346160" y="143116"/>
                  </a:lnTo>
                  <a:lnTo>
                    <a:pt x="2332101" y="132689"/>
                  </a:lnTo>
                  <a:lnTo>
                    <a:pt x="2333371" y="143116"/>
                  </a:lnTo>
                  <a:lnTo>
                    <a:pt x="2334755" y="151752"/>
                  </a:lnTo>
                  <a:lnTo>
                    <a:pt x="2336419" y="160210"/>
                  </a:lnTo>
                  <a:lnTo>
                    <a:pt x="2337968" y="167271"/>
                  </a:lnTo>
                  <a:lnTo>
                    <a:pt x="2339505" y="174828"/>
                  </a:lnTo>
                  <a:lnTo>
                    <a:pt x="2340114" y="181737"/>
                  </a:lnTo>
                  <a:lnTo>
                    <a:pt x="2338946" y="187121"/>
                  </a:lnTo>
                  <a:lnTo>
                    <a:pt x="2335403" y="191236"/>
                  </a:lnTo>
                  <a:lnTo>
                    <a:pt x="2328811" y="195961"/>
                  </a:lnTo>
                  <a:lnTo>
                    <a:pt x="2321268" y="191236"/>
                  </a:lnTo>
                  <a:lnTo>
                    <a:pt x="2272741" y="152222"/>
                  </a:lnTo>
                  <a:lnTo>
                    <a:pt x="2244001" y="124663"/>
                  </a:lnTo>
                  <a:lnTo>
                    <a:pt x="2244001" y="118999"/>
                  </a:lnTo>
                  <a:lnTo>
                    <a:pt x="2251545" y="111442"/>
                  </a:lnTo>
                  <a:lnTo>
                    <a:pt x="2257196" y="111442"/>
                  </a:lnTo>
                  <a:lnTo>
                    <a:pt x="2260968" y="115214"/>
                  </a:lnTo>
                  <a:lnTo>
                    <a:pt x="2266632" y="120738"/>
                  </a:lnTo>
                  <a:lnTo>
                    <a:pt x="2280513" y="133870"/>
                  </a:lnTo>
                  <a:lnTo>
                    <a:pt x="2298992" y="150545"/>
                  </a:lnTo>
                  <a:lnTo>
                    <a:pt x="2318448" y="166687"/>
                  </a:lnTo>
                  <a:lnTo>
                    <a:pt x="2317038" y="160210"/>
                  </a:lnTo>
                  <a:lnTo>
                    <a:pt x="2315680" y="152806"/>
                  </a:lnTo>
                  <a:lnTo>
                    <a:pt x="2314397" y="144437"/>
                  </a:lnTo>
                  <a:lnTo>
                    <a:pt x="2313317" y="135521"/>
                  </a:lnTo>
                  <a:lnTo>
                    <a:pt x="2313343" y="125272"/>
                  </a:lnTo>
                  <a:lnTo>
                    <a:pt x="2315680" y="118821"/>
                  </a:lnTo>
                  <a:lnTo>
                    <a:pt x="2319159" y="114935"/>
                  </a:lnTo>
                  <a:lnTo>
                    <a:pt x="2322677" y="112852"/>
                  </a:lnTo>
                  <a:lnTo>
                    <a:pt x="2329446" y="111988"/>
                  </a:lnTo>
                  <a:lnTo>
                    <a:pt x="2339352" y="115163"/>
                  </a:lnTo>
                  <a:lnTo>
                    <a:pt x="2374036" y="142608"/>
                  </a:lnTo>
                  <a:lnTo>
                    <a:pt x="2406700" y="178460"/>
                  </a:lnTo>
                  <a:lnTo>
                    <a:pt x="2415489" y="191236"/>
                  </a:lnTo>
                  <a:lnTo>
                    <a:pt x="2415489" y="72250"/>
                  </a:lnTo>
                  <a:lnTo>
                    <a:pt x="2186051" y="72250"/>
                  </a:lnTo>
                  <a:lnTo>
                    <a:pt x="2186051" y="242227"/>
                  </a:lnTo>
                  <a:lnTo>
                    <a:pt x="2468727" y="242227"/>
                  </a:lnTo>
                  <a:lnTo>
                    <a:pt x="2468727" y="223812"/>
                  </a:lnTo>
                  <a:lnTo>
                    <a:pt x="2472499" y="222389"/>
                  </a:lnTo>
                  <a:lnTo>
                    <a:pt x="2476271" y="220040"/>
                  </a:lnTo>
                  <a:lnTo>
                    <a:pt x="2479103" y="217195"/>
                  </a:lnTo>
                  <a:lnTo>
                    <a:pt x="2487574" y="209169"/>
                  </a:lnTo>
                  <a:lnTo>
                    <a:pt x="2487574" y="261112"/>
                  </a:lnTo>
                  <a:lnTo>
                    <a:pt x="2167204" y="261112"/>
                  </a:lnTo>
                  <a:lnTo>
                    <a:pt x="2167204" y="53365"/>
                  </a:lnTo>
                  <a:lnTo>
                    <a:pt x="2487574" y="53365"/>
                  </a:lnTo>
                  <a:lnTo>
                    <a:pt x="2487574" y="25031"/>
                  </a:lnTo>
                  <a:lnTo>
                    <a:pt x="2157780" y="25031"/>
                  </a:lnTo>
                  <a:lnTo>
                    <a:pt x="2150465" y="26530"/>
                  </a:lnTo>
                  <a:lnTo>
                    <a:pt x="2144484" y="30581"/>
                  </a:lnTo>
                  <a:lnTo>
                    <a:pt x="2140432" y="36588"/>
                  </a:lnTo>
                  <a:lnTo>
                    <a:pt x="2138946" y="43929"/>
                  </a:lnTo>
                  <a:lnTo>
                    <a:pt x="2138946" y="270548"/>
                  </a:lnTo>
                  <a:lnTo>
                    <a:pt x="2140432" y="277888"/>
                  </a:lnTo>
                  <a:lnTo>
                    <a:pt x="2144484" y="283895"/>
                  </a:lnTo>
                  <a:lnTo>
                    <a:pt x="2150465" y="287947"/>
                  </a:lnTo>
                  <a:lnTo>
                    <a:pt x="2157793" y="289445"/>
                  </a:lnTo>
                  <a:lnTo>
                    <a:pt x="2496997" y="289445"/>
                  </a:lnTo>
                  <a:lnTo>
                    <a:pt x="2504313" y="287947"/>
                  </a:lnTo>
                  <a:lnTo>
                    <a:pt x="2510307" y="283895"/>
                  </a:lnTo>
                  <a:lnTo>
                    <a:pt x="2514346" y="277888"/>
                  </a:lnTo>
                  <a:lnTo>
                    <a:pt x="2515832" y="270548"/>
                  </a:lnTo>
                  <a:lnTo>
                    <a:pt x="2515832" y="261112"/>
                  </a:lnTo>
                  <a:lnTo>
                    <a:pt x="2515832" y="209169"/>
                  </a:lnTo>
                  <a:lnTo>
                    <a:pt x="2515832" y="207759"/>
                  </a:lnTo>
                  <a:lnTo>
                    <a:pt x="2515832" y="180848"/>
                  </a:lnTo>
                  <a:lnTo>
                    <a:pt x="2524315" y="172351"/>
                  </a:lnTo>
                  <a:lnTo>
                    <a:pt x="2527617" y="165265"/>
                  </a:lnTo>
                  <a:lnTo>
                    <a:pt x="2527617" y="149682"/>
                  </a:lnTo>
                  <a:close/>
                </a:path>
              </a:pathLst>
            </a:custGeom>
            <a:solidFill>
              <a:srgbClr val="5A5A5A"/>
            </a:solidFill>
          </p:spPr>
          <p:txBody>
            <a:bodyPr wrap="square" lIns="0" tIns="0" rIns="0" bIns="0" rtlCol="0"/>
            <a:lstStyle/>
            <a:p>
              <a:endParaRPr/>
            </a:p>
          </p:txBody>
        </p:sp>
        <p:pic>
          <p:nvPicPr>
            <p:cNvPr id="5" name="object 5"/>
            <p:cNvPicPr/>
            <p:nvPr/>
          </p:nvPicPr>
          <p:blipFill>
            <a:blip r:embed="rId3"/>
            <a:stretch>
              <a:fillRect/>
            </a:stretch>
          </p:blipFill>
          <p:spPr>
            <a:xfrm>
              <a:off x="5114184" y="5096931"/>
              <a:ext cx="251987" cy="241301"/>
            </a:xfrm>
            <a:prstGeom prst="rect">
              <a:avLst/>
            </a:prstGeom>
          </p:spPr>
        </p:pic>
        <p:sp>
          <p:nvSpPr>
            <p:cNvPr id="6" name="object 6"/>
            <p:cNvSpPr/>
            <p:nvPr/>
          </p:nvSpPr>
          <p:spPr>
            <a:xfrm>
              <a:off x="7310958" y="5087822"/>
              <a:ext cx="2826385" cy="277495"/>
            </a:xfrm>
            <a:custGeom>
              <a:rect l="l" t="t" r="r" b="b"/>
              <a:pathLst>
                <a:path w="2826384" h="277495">
                  <a:moveTo>
                    <a:pt x="389051" y="144792"/>
                  </a:moveTo>
                  <a:lnTo>
                    <a:pt x="236905" y="198589"/>
                  </a:lnTo>
                  <a:lnTo>
                    <a:pt x="84759" y="144792"/>
                  </a:lnTo>
                  <a:lnTo>
                    <a:pt x="84759" y="208381"/>
                  </a:lnTo>
                  <a:lnTo>
                    <a:pt x="96697" y="230327"/>
                  </a:lnTo>
                  <a:lnTo>
                    <a:pt x="129247" y="249478"/>
                  </a:lnTo>
                  <a:lnTo>
                    <a:pt x="177609" y="263017"/>
                  </a:lnTo>
                  <a:lnTo>
                    <a:pt x="236905" y="268147"/>
                  </a:lnTo>
                  <a:lnTo>
                    <a:pt x="296214" y="263017"/>
                  </a:lnTo>
                  <a:lnTo>
                    <a:pt x="344563" y="249478"/>
                  </a:lnTo>
                  <a:lnTo>
                    <a:pt x="377126" y="230327"/>
                  </a:lnTo>
                  <a:lnTo>
                    <a:pt x="389051" y="208381"/>
                  </a:lnTo>
                  <a:lnTo>
                    <a:pt x="389051" y="144792"/>
                  </a:lnTo>
                  <a:close/>
                </a:path>
                <a:path w="2826384" h="277495">
                  <a:moveTo>
                    <a:pt x="473811" y="92075"/>
                  </a:moveTo>
                  <a:lnTo>
                    <a:pt x="236905" y="7302"/>
                  </a:lnTo>
                  <a:lnTo>
                    <a:pt x="0" y="92075"/>
                  </a:lnTo>
                  <a:lnTo>
                    <a:pt x="30429" y="102946"/>
                  </a:lnTo>
                  <a:lnTo>
                    <a:pt x="30429" y="208915"/>
                  </a:lnTo>
                  <a:lnTo>
                    <a:pt x="35318" y="213804"/>
                  </a:lnTo>
                  <a:lnTo>
                    <a:pt x="47269" y="213804"/>
                  </a:lnTo>
                  <a:lnTo>
                    <a:pt x="52158" y="208915"/>
                  </a:lnTo>
                  <a:lnTo>
                    <a:pt x="52158" y="110553"/>
                  </a:lnTo>
                  <a:lnTo>
                    <a:pt x="236905" y="175221"/>
                  </a:lnTo>
                  <a:lnTo>
                    <a:pt x="473811" y="92075"/>
                  </a:lnTo>
                  <a:close/>
                </a:path>
                <a:path w="2826384" h="277495">
                  <a:moveTo>
                    <a:pt x="2494394" y="24726"/>
                  </a:moveTo>
                  <a:lnTo>
                    <a:pt x="2492451" y="15100"/>
                  </a:lnTo>
                  <a:lnTo>
                    <a:pt x="2487142" y="7239"/>
                  </a:lnTo>
                  <a:lnTo>
                    <a:pt x="2479281" y="1943"/>
                  </a:lnTo>
                  <a:lnTo>
                    <a:pt x="2469654" y="0"/>
                  </a:lnTo>
                  <a:lnTo>
                    <a:pt x="2460028" y="1943"/>
                  </a:lnTo>
                  <a:lnTo>
                    <a:pt x="2452166" y="7239"/>
                  </a:lnTo>
                  <a:lnTo>
                    <a:pt x="2446871" y="15100"/>
                  </a:lnTo>
                  <a:lnTo>
                    <a:pt x="2444927" y="24726"/>
                  </a:lnTo>
                  <a:lnTo>
                    <a:pt x="2446871" y="34340"/>
                  </a:lnTo>
                  <a:lnTo>
                    <a:pt x="2452166" y="42202"/>
                  </a:lnTo>
                  <a:lnTo>
                    <a:pt x="2460028" y="47498"/>
                  </a:lnTo>
                  <a:lnTo>
                    <a:pt x="2469654" y="49441"/>
                  </a:lnTo>
                  <a:lnTo>
                    <a:pt x="2479281" y="47498"/>
                  </a:lnTo>
                  <a:lnTo>
                    <a:pt x="2487142" y="42202"/>
                  </a:lnTo>
                  <a:lnTo>
                    <a:pt x="2492451" y="34340"/>
                  </a:lnTo>
                  <a:lnTo>
                    <a:pt x="2494394" y="24726"/>
                  </a:lnTo>
                  <a:close/>
                </a:path>
                <a:path w="2826384" h="277495">
                  <a:moveTo>
                    <a:pt x="2593327" y="24726"/>
                  </a:moveTo>
                  <a:lnTo>
                    <a:pt x="2591384" y="15100"/>
                  </a:lnTo>
                  <a:lnTo>
                    <a:pt x="2586088" y="7239"/>
                  </a:lnTo>
                  <a:lnTo>
                    <a:pt x="2578227" y="1943"/>
                  </a:lnTo>
                  <a:lnTo>
                    <a:pt x="2568600" y="0"/>
                  </a:lnTo>
                  <a:lnTo>
                    <a:pt x="2558973" y="1943"/>
                  </a:lnTo>
                  <a:lnTo>
                    <a:pt x="2551099" y="7239"/>
                  </a:lnTo>
                  <a:lnTo>
                    <a:pt x="2545804" y="15100"/>
                  </a:lnTo>
                  <a:lnTo>
                    <a:pt x="2543860" y="24726"/>
                  </a:lnTo>
                  <a:lnTo>
                    <a:pt x="2545804" y="34340"/>
                  </a:lnTo>
                  <a:lnTo>
                    <a:pt x="2551099" y="42202"/>
                  </a:lnTo>
                  <a:lnTo>
                    <a:pt x="2558973" y="47498"/>
                  </a:lnTo>
                  <a:lnTo>
                    <a:pt x="2568600" y="49441"/>
                  </a:lnTo>
                  <a:lnTo>
                    <a:pt x="2578227" y="47498"/>
                  </a:lnTo>
                  <a:lnTo>
                    <a:pt x="2586088" y="42202"/>
                  </a:lnTo>
                  <a:lnTo>
                    <a:pt x="2591384" y="34340"/>
                  </a:lnTo>
                  <a:lnTo>
                    <a:pt x="2593327" y="24726"/>
                  </a:lnTo>
                  <a:close/>
                </a:path>
                <a:path w="2826384" h="277495">
                  <a:moveTo>
                    <a:pt x="2692273" y="24726"/>
                  </a:moveTo>
                  <a:lnTo>
                    <a:pt x="2690330" y="15100"/>
                  </a:lnTo>
                  <a:lnTo>
                    <a:pt x="2685021" y="7239"/>
                  </a:lnTo>
                  <a:lnTo>
                    <a:pt x="2677160" y="1943"/>
                  </a:lnTo>
                  <a:lnTo>
                    <a:pt x="2667533" y="0"/>
                  </a:lnTo>
                  <a:lnTo>
                    <a:pt x="2657906" y="1943"/>
                  </a:lnTo>
                  <a:lnTo>
                    <a:pt x="2650045" y="7239"/>
                  </a:lnTo>
                  <a:lnTo>
                    <a:pt x="2644737" y="15100"/>
                  </a:lnTo>
                  <a:lnTo>
                    <a:pt x="2642793" y="24726"/>
                  </a:lnTo>
                  <a:lnTo>
                    <a:pt x="2644737" y="34340"/>
                  </a:lnTo>
                  <a:lnTo>
                    <a:pt x="2650045" y="42202"/>
                  </a:lnTo>
                  <a:lnTo>
                    <a:pt x="2657906" y="47498"/>
                  </a:lnTo>
                  <a:lnTo>
                    <a:pt x="2667533" y="49441"/>
                  </a:lnTo>
                  <a:lnTo>
                    <a:pt x="2677160" y="47498"/>
                  </a:lnTo>
                  <a:lnTo>
                    <a:pt x="2685021" y="42202"/>
                  </a:lnTo>
                  <a:lnTo>
                    <a:pt x="2690330" y="34340"/>
                  </a:lnTo>
                  <a:lnTo>
                    <a:pt x="2692273" y="24726"/>
                  </a:lnTo>
                  <a:close/>
                </a:path>
                <a:path w="2826384" h="277495">
                  <a:moveTo>
                    <a:pt x="2791193" y="24726"/>
                  </a:moveTo>
                  <a:lnTo>
                    <a:pt x="2789250" y="15100"/>
                  </a:lnTo>
                  <a:lnTo>
                    <a:pt x="2783954" y="7239"/>
                  </a:lnTo>
                  <a:lnTo>
                    <a:pt x="2776093" y="1943"/>
                  </a:lnTo>
                  <a:lnTo>
                    <a:pt x="2766466" y="0"/>
                  </a:lnTo>
                  <a:lnTo>
                    <a:pt x="2756839" y="1943"/>
                  </a:lnTo>
                  <a:lnTo>
                    <a:pt x="2748978" y="7239"/>
                  </a:lnTo>
                  <a:lnTo>
                    <a:pt x="2743682" y="15100"/>
                  </a:lnTo>
                  <a:lnTo>
                    <a:pt x="2741739" y="24726"/>
                  </a:lnTo>
                  <a:lnTo>
                    <a:pt x="2743682" y="34340"/>
                  </a:lnTo>
                  <a:lnTo>
                    <a:pt x="2748978" y="42202"/>
                  </a:lnTo>
                  <a:lnTo>
                    <a:pt x="2756839" y="47498"/>
                  </a:lnTo>
                  <a:lnTo>
                    <a:pt x="2766466" y="49441"/>
                  </a:lnTo>
                  <a:lnTo>
                    <a:pt x="2776093" y="47498"/>
                  </a:lnTo>
                  <a:lnTo>
                    <a:pt x="2783954" y="42202"/>
                  </a:lnTo>
                  <a:lnTo>
                    <a:pt x="2789250" y="34340"/>
                  </a:lnTo>
                  <a:lnTo>
                    <a:pt x="2791193" y="24726"/>
                  </a:lnTo>
                  <a:close/>
                </a:path>
                <a:path w="2826384" h="277495">
                  <a:moveTo>
                    <a:pt x="2826321" y="150799"/>
                  </a:moveTo>
                  <a:lnTo>
                    <a:pt x="2811780" y="84048"/>
                  </a:lnTo>
                  <a:lnTo>
                    <a:pt x="2786253" y="57848"/>
                  </a:lnTo>
                  <a:lnTo>
                    <a:pt x="2779826" y="55867"/>
                  </a:lnTo>
                  <a:lnTo>
                    <a:pt x="2773400" y="54381"/>
                  </a:lnTo>
                  <a:lnTo>
                    <a:pt x="2759545" y="54381"/>
                  </a:lnTo>
                  <a:lnTo>
                    <a:pt x="2752623" y="55372"/>
                  </a:lnTo>
                  <a:lnTo>
                    <a:pt x="2746679" y="57848"/>
                  </a:lnTo>
                  <a:lnTo>
                    <a:pt x="2739263" y="60325"/>
                  </a:lnTo>
                  <a:lnTo>
                    <a:pt x="2717000" y="102844"/>
                  </a:lnTo>
                  <a:lnTo>
                    <a:pt x="2712859" y="84048"/>
                  </a:lnTo>
                  <a:lnTo>
                    <a:pt x="2687320" y="57848"/>
                  </a:lnTo>
                  <a:lnTo>
                    <a:pt x="2680893" y="55867"/>
                  </a:lnTo>
                  <a:lnTo>
                    <a:pt x="2674455" y="54381"/>
                  </a:lnTo>
                  <a:lnTo>
                    <a:pt x="2660612" y="54381"/>
                  </a:lnTo>
                  <a:lnTo>
                    <a:pt x="2653677" y="55372"/>
                  </a:lnTo>
                  <a:lnTo>
                    <a:pt x="2647746" y="57848"/>
                  </a:lnTo>
                  <a:lnTo>
                    <a:pt x="2640330" y="60325"/>
                  </a:lnTo>
                  <a:lnTo>
                    <a:pt x="2618067" y="102349"/>
                  </a:lnTo>
                  <a:lnTo>
                    <a:pt x="2618067" y="102844"/>
                  </a:lnTo>
                  <a:lnTo>
                    <a:pt x="2613926" y="84048"/>
                  </a:lnTo>
                  <a:lnTo>
                    <a:pt x="2588387" y="57848"/>
                  </a:lnTo>
                  <a:lnTo>
                    <a:pt x="2581948" y="55867"/>
                  </a:lnTo>
                  <a:lnTo>
                    <a:pt x="2575522" y="54381"/>
                  </a:lnTo>
                  <a:lnTo>
                    <a:pt x="2561666" y="54381"/>
                  </a:lnTo>
                  <a:lnTo>
                    <a:pt x="2554744" y="55372"/>
                  </a:lnTo>
                  <a:lnTo>
                    <a:pt x="2548813" y="57848"/>
                  </a:lnTo>
                  <a:lnTo>
                    <a:pt x="2541384" y="60325"/>
                  </a:lnTo>
                  <a:lnTo>
                    <a:pt x="2519134" y="102349"/>
                  </a:lnTo>
                  <a:lnTo>
                    <a:pt x="2515019" y="84048"/>
                  </a:lnTo>
                  <a:lnTo>
                    <a:pt x="2489441" y="57848"/>
                  </a:lnTo>
                  <a:lnTo>
                    <a:pt x="2483015" y="55867"/>
                  </a:lnTo>
                  <a:lnTo>
                    <a:pt x="2476589" y="54381"/>
                  </a:lnTo>
                  <a:lnTo>
                    <a:pt x="2462733" y="54381"/>
                  </a:lnTo>
                  <a:lnTo>
                    <a:pt x="2455811" y="55372"/>
                  </a:lnTo>
                  <a:lnTo>
                    <a:pt x="2449868" y="57848"/>
                  </a:lnTo>
                  <a:lnTo>
                    <a:pt x="2442451" y="60325"/>
                  </a:lnTo>
                  <a:lnTo>
                    <a:pt x="2410790" y="145364"/>
                  </a:lnTo>
                  <a:lnTo>
                    <a:pt x="2409304" y="150799"/>
                  </a:lnTo>
                  <a:lnTo>
                    <a:pt x="2412771" y="156730"/>
                  </a:lnTo>
                  <a:lnTo>
                    <a:pt x="2418702" y="157721"/>
                  </a:lnTo>
                  <a:lnTo>
                    <a:pt x="2424646" y="157721"/>
                  </a:lnTo>
                  <a:lnTo>
                    <a:pt x="2428595" y="154762"/>
                  </a:lnTo>
                  <a:lnTo>
                    <a:pt x="2430081" y="149809"/>
                  </a:lnTo>
                  <a:lnTo>
                    <a:pt x="2444927" y="84048"/>
                  </a:lnTo>
                  <a:lnTo>
                    <a:pt x="2444826" y="119646"/>
                  </a:lnTo>
                  <a:lnTo>
                    <a:pt x="2430081" y="192824"/>
                  </a:lnTo>
                  <a:lnTo>
                    <a:pt x="2444927" y="192824"/>
                  </a:lnTo>
                  <a:lnTo>
                    <a:pt x="2444927" y="276885"/>
                  </a:lnTo>
                  <a:lnTo>
                    <a:pt x="2464714" y="276885"/>
                  </a:lnTo>
                  <a:lnTo>
                    <a:pt x="2464714" y="192824"/>
                  </a:lnTo>
                  <a:lnTo>
                    <a:pt x="2474607" y="192824"/>
                  </a:lnTo>
                  <a:lnTo>
                    <a:pt x="2474607" y="276885"/>
                  </a:lnTo>
                  <a:lnTo>
                    <a:pt x="2494394" y="276885"/>
                  </a:lnTo>
                  <a:lnTo>
                    <a:pt x="2494394" y="192824"/>
                  </a:lnTo>
                  <a:lnTo>
                    <a:pt x="2509228" y="192824"/>
                  </a:lnTo>
                  <a:lnTo>
                    <a:pt x="2494496" y="119646"/>
                  </a:lnTo>
                  <a:lnTo>
                    <a:pt x="2494394" y="84048"/>
                  </a:lnTo>
                  <a:lnTo>
                    <a:pt x="2510218" y="154762"/>
                  </a:lnTo>
                  <a:lnTo>
                    <a:pt x="2514181" y="158216"/>
                  </a:lnTo>
                  <a:lnTo>
                    <a:pt x="2523083" y="158216"/>
                  </a:lnTo>
                  <a:lnTo>
                    <a:pt x="2527046" y="155244"/>
                  </a:lnTo>
                  <a:lnTo>
                    <a:pt x="2528036" y="150304"/>
                  </a:lnTo>
                  <a:lnTo>
                    <a:pt x="2539492" y="102349"/>
                  </a:lnTo>
                  <a:lnTo>
                    <a:pt x="2543860" y="84048"/>
                  </a:lnTo>
                  <a:lnTo>
                    <a:pt x="2543860" y="276885"/>
                  </a:lnTo>
                  <a:lnTo>
                    <a:pt x="2563647" y="276885"/>
                  </a:lnTo>
                  <a:lnTo>
                    <a:pt x="2563647" y="163156"/>
                  </a:lnTo>
                  <a:lnTo>
                    <a:pt x="2573540" y="163156"/>
                  </a:lnTo>
                  <a:lnTo>
                    <a:pt x="2573540" y="276885"/>
                  </a:lnTo>
                  <a:lnTo>
                    <a:pt x="2593327" y="276885"/>
                  </a:lnTo>
                  <a:lnTo>
                    <a:pt x="2593327" y="163156"/>
                  </a:lnTo>
                  <a:lnTo>
                    <a:pt x="2593327" y="84048"/>
                  </a:lnTo>
                  <a:lnTo>
                    <a:pt x="2609164" y="154762"/>
                  </a:lnTo>
                  <a:lnTo>
                    <a:pt x="2613114" y="158216"/>
                  </a:lnTo>
                  <a:lnTo>
                    <a:pt x="2622512" y="158216"/>
                  </a:lnTo>
                  <a:lnTo>
                    <a:pt x="2626474" y="155244"/>
                  </a:lnTo>
                  <a:lnTo>
                    <a:pt x="2627465" y="150304"/>
                  </a:lnTo>
                  <a:lnTo>
                    <a:pt x="2638450" y="102844"/>
                  </a:lnTo>
                  <a:lnTo>
                    <a:pt x="2642793" y="84048"/>
                  </a:lnTo>
                  <a:lnTo>
                    <a:pt x="2642793" y="119646"/>
                  </a:lnTo>
                  <a:lnTo>
                    <a:pt x="2627960" y="192824"/>
                  </a:lnTo>
                  <a:lnTo>
                    <a:pt x="2642793" y="192824"/>
                  </a:lnTo>
                  <a:lnTo>
                    <a:pt x="2642793" y="276885"/>
                  </a:lnTo>
                  <a:lnTo>
                    <a:pt x="2662580" y="276885"/>
                  </a:lnTo>
                  <a:lnTo>
                    <a:pt x="2662580" y="192824"/>
                  </a:lnTo>
                  <a:lnTo>
                    <a:pt x="2672486" y="192824"/>
                  </a:lnTo>
                  <a:lnTo>
                    <a:pt x="2672486" y="276885"/>
                  </a:lnTo>
                  <a:lnTo>
                    <a:pt x="2692273" y="276885"/>
                  </a:lnTo>
                  <a:lnTo>
                    <a:pt x="2692273" y="192824"/>
                  </a:lnTo>
                  <a:lnTo>
                    <a:pt x="2707106" y="192824"/>
                  </a:lnTo>
                  <a:lnTo>
                    <a:pt x="2692362" y="119151"/>
                  </a:lnTo>
                  <a:lnTo>
                    <a:pt x="2692273" y="84048"/>
                  </a:lnTo>
                  <a:lnTo>
                    <a:pt x="2708097" y="154762"/>
                  </a:lnTo>
                  <a:lnTo>
                    <a:pt x="2712059" y="158216"/>
                  </a:lnTo>
                  <a:lnTo>
                    <a:pt x="2721457" y="158216"/>
                  </a:lnTo>
                  <a:lnTo>
                    <a:pt x="2725407" y="155244"/>
                  </a:lnTo>
                  <a:lnTo>
                    <a:pt x="2726893" y="150304"/>
                  </a:lnTo>
                  <a:lnTo>
                    <a:pt x="2737523" y="102844"/>
                  </a:lnTo>
                  <a:lnTo>
                    <a:pt x="2741739" y="84048"/>
                  </a:lnTo>
                  <a:lnTo>
                    <a:pt x="2741739" y="276885"/>
                  </a:lnTo>
                  <a:lnTo>
                    <a:pt x="2761526" y="276885"/>
                  </a:lnTo>
                  <a:lnTo>
                    <a:pt x="2761526" y="163156"/>
                  </a:lnTo>
                  <a:lnTo>
                    <a:pt x="2771419" y="163156"/>
                  </a:lnTo>
                  <a:lnTo>
                    <a:pt x="2771419" y="276885"/>
                  </a:lnTo>
                  <a:lnTo>
                    <a:pt x="2791193" y="276885"/>
                  </a:lnTo>
                  <a:lnTo>
                    <a:pt x="2791193" y="163156"/>
                  </a:lnTo>
                  <a:lnTo>
                    <a:pt x="2791193" y="84048"/>
                  </a:lnTo>
                  <a:lnTo>
                    <a:pt x="2807030" y="154762"/>
                  </a:lnTo>
                  <a:lnTo>
                    <a:pt x="2810980" y="158216"/>
                  </a:lnTo>
                  <a:lnTo>
                    <a:pt x="2818409" y="158216"/>
                  </a:lnTo>
                  <a:lnTo>
                    <a:pt x="2819400" y="157721"/>
                  </a:lnTo>
                  <a:lnTo>
                    <a:pt x="2823845" y="155740"/>
                  </a:lnTo>
                  <a:lnTo>
                    <a:pt x="2826321" y="150799"/>
                  </a:lnTo>
                  <a:close/>
                </a:path>
              </a:pathLst>
            </a:custGeom>
            <a:solidFill>
              <a:srgbClr val="5A5A5A"/>
            </a:solidFill>
          </p:spPr>
          <p:txBody>
            <a:bodyPr wrap="square" lIns="0" tIns="0" rIns="0" bIns="0" rtlCol="0"/>
            <a:lstStyle/>
            <a:p>
              <a:endParaRPr/>
            </a:p>
          </p:txBody>
        </p:sp>
      </p:grpSp>
      <p:sp>
        <p:nvSpPr>
          <p:cNvPr id="7" name="object 7"/>
          <p:cNvSpPr txBox="1">
            <a:spLocks noGrp="1"/>
          </p:cNvSpPr>
          <p:nvPr>
            <p:ph type="title"/>
          </p:nvPr>
        </p:nvSpPr>
        <p:spPr>
          <a:xfrm>
            <a:off x="326136" y="100079"/>
            <a:ext cx="11612416" cy="566822"/>
          </a:xfrm>
          <a:prstGeom prst="rect">
            <a:avLst/>
          </a:prstGeom>
        </p:spPr>
        <p:txBody>
          <a:bodyPr vert="horz" wrap="square" lIns="0" tIns="12700" rIns="0" bIns="0" rtlCol="0">
            <a:spAutoFit/>
          </a:bodyPr>
          <a:lstStyle/>
          <a:p>
            <a:pPr marL="12700">
              <a:lnSpc>
                <a:spcPct val="100000"/>
              </a:lnSpc>
              <a:spcBef>
                <a:spcPts val="100"/>
              </a:spcBef>
            </a:pPr>
            <a:r>
              <a:rPr sz="3600">
                <a:latin typeface="+mj-lt"/>
                <a:cs typeface="+mj-cs"/>
              </a:rPr>
              <a:t>MAXIMIZING OUR </a:t>
            </a:r>
            <a:r>
              <a:rPr sz="3600">
                <a:solidFill>
                  <a:schemeClr val="accent1"/>
                </a:solidFill>
                <a:latin typeface="+mj-lt"/>
                <a:cs typeface="+mj-cs"/>
              </a:rPr>
              <a:t>IMPACT </a:t>
            </a:r>
            <a:endParaRPr sz="3600">
              <a:latin typeface="+mj-lt"/>
              <a:cs typeface="+mj-cs"/>
            </a:endParaRPr>
          </a:p>
        </p:txBody>
      </p:sp>
      <p:sp>
        <p:nvSpPr>
          <p:cNvPr id="8" name="object 8"/>
          <p:cNvSpPr/>
          <p:nvPr/>
        </p:nvSpPr>
        <p:spPr>
          <a:xfrm>
            <a:off x="11808206" y="6449834"/>
            <a:ext cx="48895" cy="74930"/>
          </a:xfrm>
          <a:custGeom>
            <a:rect l="l" t="t" r="r" b="b"/>
            <a:pathLst>
              <a:path w="48895" h="74929">
                <a:moveTo>
                  <a:pt x="28828" y="0"/>
                </a:moveTo>
                <a:lnTo>
                  <a:pt x="22351" y="0"/>
                </a:lnTo>
                <a:lnTo>
                  <a:pt x="19430" y="520"/>
                </a:lnTo>
                <a:lnTo>
                  <a:pt x="2921" y="20002"/>
                </a:lnTo>
                <a:lnTo>
                  <a:pt x="8000" y="20002"/>
                </a:lnTo>
                <a:lnTo>
                  <a:pt x="8509" y="15557"/>
                </a:lnTo>
                <a:lnTo>
                  <a:pt x="10160" y="11887"/>
                </a:lnTo>
                <a:lnTo>
                  <a:pt x="16383" y="6134"/>
                </a:lnTo>
                <a:lnTo>
                  <a:pt x="20447" y="4686"/>
                </a:lnTo>
                <a:lnTo>
                  <a:pt x="30479" y="4686"/>
                </a:lnTo>
                <a:lnTo>
                  <a:pt x="34163" y="6070"/>
                </a:lnTo>
                <a:lnTo>
                  <a:pt x="39243" y="11607"/>
                </a:lnTo>
                <a:lnTo>
                  <a:pt x="40513" y="15074"/>
                </a:lnTo>
                <a:lnTo>
                  <a:pt x="40513" y="21158"/>
                </a:lnTo>
                <a:lnTo>
                  <a:pt x="28448" y="33185"/>
                </a:lnTo>
                <a:lnTo>
                  <a:pt x="20827" y="33185"/>
                </a:lnTo>
                <a:lnTo>
                  <a:pt x="20827" y="37871"/>
                </a:lnTo>
                <a:lnTo>
                  <a:pt x="31876" y="37871"/>
                </a:lnTo>
                <a:lnTo>
                  <a:pt x="36068" y="39306"/>
                </a:lnTo>
                <a:lnTo>
                  <a:pt x="41401" y="45046"/>
                </a:lnTo>
                <a:lnTo>
                  <a:pt x="42799" y="48831"/>
                </a:lnTo>
                <a:lnTo>
                  <a:pt x="42799" y="58737"/>
                </a:lnTo>
                <a:lnTo>
                  <a:pt x="41275" y="62763"/>
                </a:lnTo>
                <a:lnTo>
                  <a:pt x="34925" y="68503"/>
                </a:lnTo>
                <a:lnTo>
                  <a:pt x="30479" y="69938"/>
                </a:lnTo>
                <a:lnTo>
                  <a:pt x="21336" y="69938"/>
                </a:lnTo>
                <a:lnTo>
                  <a:pt x="5207" y="53086"/>
                </a:lnTo>
                <a:lnTo>
                  <a:pt x="0" y="53086"/>
                </a:lnTo>
                <a:lnTo>
                  <a:pt x="20700" y="74637"/>
                </a:lnTo>
                <a:lnTo>
                  <a:pt x="24384" y="74637"/>
                </a:lnTo>
                <a:lnTo>
                  <a:pt x="27940" y="74637"/>
                </a:lnTo>
                <a:lnTo>
                  <a:pt x="48641" y="56921"/>
                </a:lnTo>
                <a:lnTo>
                  <a:pt x="48641" y="48463"/>
                </a:lnTo>
                <a:lnTo>
                  <a:pt x="47244" y="44361"/>
                </a:lnTo>
                <a:lnTo>
                  <a:pt x="42037" y="38163"/>
                </a:lnTo>
                <a:lnTo>
                  <a:pt x="38480" y="36131"/>
                </a:lnTo>
                <a:lnTo>
                  <a:pt x="34163" y="35179"/>
                </a:lnTo>
                <a:lnTo>
                  <a:pt x="37719" y="34023"/>
                </a:lnTo>
                <a:lnTo>
                  <a:pt x="40640" y="32067"/>
                </a:lnTo>
                <a:lnTo>
                  <a:pt x="44958" y="26555"/>
                </a:lnTo>
                <a:lnTo>
                  <a:pt x="46100" y="23177"/>
                </a:lnTo>
                <a:lnTo>
                  <a:pt x="46100" y="16586"/>
                </a:lnTo>
                <a:lnTo>
                  <a:pt x="31750" y="508"/>
                </a:lnTo>
                <a:lnTo>
                  <a:pt x="28828" y="0"/>
                </a:lnTo>
                <a:close/>
              </a:path>
            </a:pathLst>
          </a:custGeom>
          <a:solidFill>
            <a:srgbClr val="000000">
              <a:alpha val="50195"/>
            </a:srgbClr>
          </a:solidFill>
        </p:spPr>
        <p:txBody>
          <a:bodyPr wrap="square" lIns="0" tIns="0" rIns="0" bIns="0" rtlCol="0"/>
          <a:lstStyle/>
          <a:p>
            <a:endParaRPr/>
          </a:p>
        </p:txBody>
      </p:sp>
      <p:sp>
        <p:nvSpPr>
          <p:cNvPr id="9" name="object 9"/>
          <p:cNvSpPr txBox="1"/>
          <p:nvPr/>
        </p:nvSpPr>
        <p:spPr>
          <a:xfrm>
            <a:off x="314045" y="729399"/>
            <a:ext cx="11761999" cy="1749838"/>
          </a:xfrm>
          <a:prstGeom prst="rect">
            <a:avLst/>
          </a:prstGeom>
        </p:spPr>
        <p:txBody>
          <a:bodyPr vert="horz" wrap="square" lIns="0" tIns="13335" rIns="0" bIns="0" rtlCol="0">
            <a:spAutoFit/>
          </a:bodyPr>
          <a:lstStyle/>
          <a:p>
            <a:pPr marL="12700" marR="5080">
              <a:spcBef>
                <a:spcPts val="105"/>
              </a:spcBef>
            </a:pPr>
            <a:r>
              <a:rPr sz="1400">
                <a:latin typeface="+mj-lt"/>
                <a:ea typeface="+mj-ea"/>
                <a:cs typeface="+mj-cs"/>
              </a:rPr>
              <a:t>By enabling </a:t>
            </a:r>
            <a:r>
              <a:rPr sz="1400" b="1">
                <a:solidFill>
                  <a:schemeClr val="accent1"/>
                </a:solidFill>
                <a:latin typeface="+mj-lt"/>
                <a:ea typeface="+mj-ea"/>
                <a:cs typeface="+mj-cs"/>
              </a:rPr>
              <a:t>greater visibility </a:t>
            </a:r>
            <a:r>
              <a:rPr sz="1400">
                <a:latin typeface="+mj-lt"/>
                <a:ea typeface="+mj-ea"/>
                <a:cs typeface="+mj-cs"/>
              </a:rPr>
              <a:t>through real time metrics</a:t>
            </a:r>
            <a:r>
              <a:rPr lang="en-US" sz="1400">
                <a:latin typeface="+mj-lt"/>
                <a:ea typeface="+mj-ea"/>
                <a:cs typeface="+mj-cs"/>
              </a:rPr>
              <a:t> for patient scheduling</a:t>
            </a:r>
            <a:r>
              <a:rPr sz="1400">
                <a:latin typeface="+mj-lt"/>
                <a:ea typeface="+mj-ea"/>
                <a:cs typeface="+mj-cs"/>
              </a:rPr>
              <a:t>, there is an opportunity for </a:t>
            </a:r>
            <a:r>
              <a:rPr lang="en-US" sz="1400">
                <a:latin typeface="+mj-lt"/>
                <a:ea typeface="+mj-ea"/>
                <a:cs typeface="+mj-cs"/>
              </a:rPr>
              <a:t>Healthcare </a:t>
            </a:r>
            <a:r>
              <a:rPr sz="1400">
                <a:latin typeface="+mj-lt"/>
                <a:ea typeface="+mj-ea"/>
                <a:cs typeface="+mj-cs"/>
              </a:rPr>
              <a:t>industry to take greater accountability for their operations &amp; </a:t>
            </a:r>
            <a:r>
              <a:rPr lang="en-US" sz="1400">
                <a:latin typeface="+mj-lt"/>
                <a:ea typeface="+mj-ea"/>
                <a:cs typeface="+mj-cs"/>
              </a:rPr>
              <a:t>governance</a:t>
            </a:r>
            <a:r>
              <a:rPr sz="1400">
                <a:latin typeface="+mj-lt"/>
                <a:ea typeface="+mj-ea"/>
                <a:cs typeface="+mj-cs"/>
              </a:rPr>
              <a:t> and transition towards </a:t>
            </a:r>
            <a:r>
              <a:rPr sz="1400" b="1">
                <a:solidFill>
                  <a:schemeClr val="accent1"/>
                </a:solidFill>
                <a:latin typeface="+mj-lt"/>
                <a:ea typeface="+mj-ea"/>
                <a:cs typeface="+mj-cs"/>
              </a:rPr>
              <a:t>a sustainable </a:t>
            </a:r>
            <a:r>
              <a:rPr lang="en-US" sz="1400" b="1">
                <a:solidFill>
                  <a:schemeClr val="accent1"/>
                </a:solidFill>
                <a:latin typeface="+mj-lt"/>
                <a:ea typeface="+mj-ea"/>
                <a:cs typeface="+mj-cs"/>
              </a:rPr>
              <a:t>patient-oriented </a:t>
            </a:r>
            <a:r>
              <a:rPr sz="1400" b="1">
                <a:solidFill>
                  <a:schemeClr val="accent1"/>
                </a:solidFill>
                <a:latin typeface="+mj-lt"/>
                <a:ea typeface="+mj-ea"/>
                <a:cs typeface="+mj-cs"/>
              </a:rPr>
              <a:t>future.</a:t>
            </a:r>
            <a:endParaRPr lang="en-US" sz="1400" b="1">
              <a:solidFill>
                <a:schemeClr val="accent1"/>
              </a:solidFill>
              <a:latin typeface="+mj-lt"/>
              <a:ea typeface="+mj-ea"/>
              <a:cs typeface="+mj-cs"/>
            </a:endParaRPr>
          </a:p>
          <a:p>
            <a:pPr marL="12700" marR="5080">
              <a:spcBef>
                <a:spcPts val="105"/>
              </a:spcBef>
            </a:pPr>
            <a:endParaRPr sz="1400" b="1">
              <a:solidFill>
                <a:schemeClr val="accent1"/>
              </a:solidFill>
              <a:latin typeface="+mj-lt"/>
              <a:ea typeface="+mj-ea"/>
              <a:cs typeface="+mj-cs"/>
            </a:endParaRPr>
          </a:p>
          <a:p>
            <a:pPr marL="12700" marR="5080" rtl="0">
              <a:spcBef>
                <a:spcPct val="0"/>
              </a:spcBef>
              <a:spcAft>
                <a:spcPct val="0"/>
              </a:spcAft>
            </a:pPr>
            <a:r>
              <a:rPr lang="en-US" sz="1400"/>
              <a:t>The age of remote connectedness is here and integrating advanced technologies into Healthcare functions. </a:t>
            </a:r>
            <a:r>
              <a:rPr sz="1400">
                <a:latin typeface="+mj-lt"/>
                <a:ea typeface="+mj-ea"/>
                <a:cs typeface="+mj-cs"/>
              </a:rPr>
              <a:t>However</a:t>
            </a:r>
            <a:r>
              <a:rPr lang="en-US" sz="1400">
                <a:latin typeface="+mj-lt"/>
                <a:ea typeface="+mj-ea"/>
                <a:cs typeface="+mj-cs"/>
              </a:rPr>
              <a:t> </a:t>
            </a:r>
            <a:r>
              <a:rPr sz="1400">
                <a:latin typeface="+mj-lt"/>
                <a:ea typeface="+mj-ea"/>
                <a:cs typeface="+mj-cs"/>
              </a:rPr>
              <a:t>due to current</a:t>
            </a:r>
            <a:r>
              <a:rPr sz="1400" spc="-45">
                <a:latin typeface="Arial"/>
                <a:cs typeface="Arial"/>
              </a:rPr>
              <a:t> </a:t>
            </a:r>
            <a:r>
              <a:rPr lang="en-US" sz="1400" b="1">
                <a:solidFill>
                  <a:schemeClr val="accent1"/>
                </a:solidFill>
                <a:latin typeface="+mj-lt"/>
                <a:ea typeface="+mj-ea"/>
                <a:cs typeface="+mj-cs"/>
              </a:rPr>
              <a:t>racial disparity, which accounts for 45% mortality rate .</a:t>
            </a:r>
            <a:r>
              <a:rPr sz="1400">
                <a:latin typeface="+mj-lt"/>
                <a:ea typeface="+mj-ea"/>
                <a:cs typeface="+mj-cs"/>
              </a:rPr>
              <a:t>Through </a:t>
            </a:r>
            <a:r>
              <a:rPr lang="en-US" sz="1400">
                <a:latin typeface="+mj-lt"/>
                <a:ea typeface="+mj-ea"/>
                <a:cs typeface="+mj-cs"/>
              </a:rPr>
              <a:t>enabling </a:t>
            </a:r>
            <a:r>
              <a:rPr lang="en-US" sz="1400" b="1">
                <a:solidFill>
                  <a:schemeClr val="accent1"/>
                </a:solidFill>
                <a:latin typeface="+mj-lt"/>
                <a:ea typeface="+mj-ea"/>
                <a:cs typeface="+mj-cs"/>
              </a:rPr>
              <a:t>feedback loops, gamification and community-based efforts</a:t>
            </a:r>
            <a:r>
              <a:rPr sz="1400">
                <a:latin typeface="+mj-lt"/>
                <a:ea typeface="+mj-ea"/>
                <a:cs typeface="+mj-cs"/>
              </a:rPr>
              <a:t>,</a:t>
            </a:r>
            <a:endParaRPr lang="en-US" sz="1400">
              <a:latin typeface="+mj-lt"/>
              <a:ea typeface="+mj-ea"/>
              <a:cs typeface="+mj-cs"/>
            </a:endParaRPr>
          </a:p>
          <a:p>
            <a:pPr marL="12700" marR="5080" rtl="0">
              <a:spcBef>
                <a:spcPct val="0"/>
              </a:spcBef>
              <a:spcAft>
                <a:spcPct val="0"/>
              </a:spcAft>
            </a:pPr>
            <a:r>
              <a:rPr lang="en-US" sz="1400">
                <a:latin typeface="+mj-lt"/>
                <a:ea typeface="+mj-ea"/>
                <a:cs typeface="+mj-cs"/>
              </a:rPr>
              <a:t>to connect women to providers and needed resources and referrals for a healthy and successful pregnancy. </a:t>
            </a:r>
          </a:p>
          <a:p>
            <a:br>
              <a:rPr lang="en-US" sz="1400"/>
            </a:br>
            <a:endParaRPr sz="1400" b="1">
              <a:solidFill>
                <a:schemeClr val="accent1"/>
              </a:solidFill>
              <a:latin typeface="+mj-lt"/>
              <a:ea typeface="+mj-ea"/>
              <a:cs typeface="+mj-cs"/>
            </a:endParaRPr>
          </a:p>
        </p:txBody>
      </p:sp>
      <p:sp>
        <p:nvSpPr>
          <p:cNvPr id="10" name="object 10"/>
          <p:cNvSpPr/>
          <p:nvPr/>
        </p:nvSpPr>
        <p:spPr>
          <a:xfrm>
            <a:off x="9654540" y="2388107"/>
            <a:ext cx="2182495" cy="1214755"/>
          </a:xfrm>
          <a:custGeom>
            <a:rect l="l" t="t" r="r" b="b"/>
            <a:pathLst>
              <a:path w="2182495" h="1214754">
                <a:moveTo>
                  <a:pt x="1928367" y="0"/>
                </a:moveTo>
                <a:lnTo>
                  <a:pt x="0" y="0"/>
                </a:lnTo>
                <a:lnTo>
                  <a:pt x="254000" y="607313"/>
                </a:lnTo>
                <a:lnTo>
                  <a:pt x="0" y="1214627"/>
                </a:lnTo>
                <a:lnTo>
                  <a:pt x="1928367" y="1214627"/>
                </a:lnTo>
                <a:lnTo>
                  <a:pt x="2182367" y="607313"/>
                </a:lnTo>
                <a:lnTo>
                  <a:pt x="1928367" y="0"/>
                </a:lnTo>
                <a:close/>
              </a:path>
            </a:pathLst>
          </a:custGeom>
          <a:solidFill>
            <a:srgbClr val="A000FF"/>
          </a:solidFill>
        </p:spPr>
        <p:txBody>
          <a:bodyPr wrap="square" lIns="0" tIns="0" rIns="0" bIns="0" rtlCol="0"/>
          <a:lstStyle/>
          <a:p>
            <a:endParaRPr/>
          </a:p>
        </p:txBody>
      </p:sp>
      <p:sp>
        <p:nvSpPr>
          <p:cNvPr id="11" name="object 11"/>
          <p:cNvSpPr txBox="1"/>
          <p:nvPr/>
        </p:nvSpPr>
        <p:spPr>
          <a:xfrm>
            <a:off x="9990836" y="2507988"/>
            <a:ext cx="1509901" cy="1305486"/>
          </a:xfrm>
          <a:prstGeom prst="rect">
            <a:avLst/>
          </a:prstGeom>
        </p:spPr>
        <p:txBody>
          <a:bodyPr vert="horz" wrap="square" lIns="0" tIns="12700" rIns="0" bIns="0" rtlCol="0">
            <a:spAutoFit/>
          </a:bodyPr>
          <a:lstStyle/>
          <a:p>
            <a:pPr marR="5080" algn="ctr" rtl="0">
              <a:spcBef>
                <a:spcPct val="0"/>
              </a:spcBef>
              <a:spcAft>
                <a:spcPct val="0"/>
              </a:spcAft>
            </a:pPr>
            <a:r>
              <a:rPr lang="en-US" sz="1200" b="1">
                <a:solidFill>
                  <a:schemeClr val="bg1"/>
                </a:solidFill>
                <a:latin typeface="+mj-lt"/>
                <a:ea typeface="+mj-ea"/>
                <a:cs typeface="+mj-cs"/>
              </a:rPr>
              <a:t>Improved access to perinatal care</a:t>
            </a:r>
          </a:p>
          <a:p>
            <a:pPr marL="12065" marR="5080" algn="ctr" rtl="0">
              <a:spcBef>
                <a:spcPct val="0"/>
              </a:spcBef>
              <a:spcAft>
                <a:spcPct val="0"/>
              </a:spcAft>
            </a:pPr>
            <a:br>
              <a:rPr lang="en-US" sz="1200" b="1">
                <a:solidFill>
                  <a:schemeClr val="bg1"/>
                </a:solidFill>
                <a:latin typeface="+mj-lt"/>
                <a:ea typeface="+mj-ea"/>
                <a:cs typeface="+mj-cs"/>
              </a:rPr>
            </a:br>
            <a:r>
              <a:rPr lang="en-US" sz="1200" b="1">
                <a:solidFill>
                  <a:schemeClr val="bg1"/>
                </a:solidFill>
                <a:latin typeface="+mj-lt"/>
                <a:ea typeface="+mj-ea"/>
                <a:cs typeface="+mj-cs"/>
              </a:rPr>
              <a:t>Improved maternal health literacy</a:t>
            </a:r>
          </a:p>
          <a:p>
            <a:br>
              <a:rPr lang="en-US" sz="1200" b="1">
                <a:solidFill>
                  <a:schemeClr val="bg1"/>
                </a:solidFill>
                <a:latin typeface="+mj-lt"/>
                <a:ea typeface="+mj-ea"/>
                <a:cs typeface="+mj-cs"/>
              </a:rPr>
            </a:br>
            <a:endParaRPr sz="1200" b="1">
              <a:solidFill>
                <a:schemeClr val="bg1"/>
              </a:solidFill>
              <a:latin typeface="+mj-lt"/>
              <a:ea typeface="+mj-ea"/>
              <a:cs typeface="+mj-cs"/>
            </a:endParaRPr>
          </a:p>
        </p:txBody>
      </p:sp>
      <p:grpSp>
        <p:nvGrpSpPr>
          <p:cNvPr id="12" name="object 12"/>
          <p:cNvGrpSpPr/>
          <p:nvPr/>
        </p:nvGrpSpPr>
        <p:grpSpPr>
          <a:xfrm>
            <a:off x="326136" y="2388107"/>
            <a:ext cx="9441180" cy="1221105"/>
            <a:chOff x="326136" y="2388107"/>
            <a:chExt cx="9441180" cy="1221105"/>
          </a:xfrm>
        </p:grpSpPr>
        <p:pic>
          <p:nvPicPr>
            <p:cNvPr id="13" name="object 13"/>
            <p:cNvPicPr/>
            <p:nvPr/>
          </p:nvPicPr>
          <p:blipFill>
            <a:blip r:embed="rId4"/>
            <a:stretch>
              <a:fillRect/>
            </a:stretch>
          </p:blipFill>
          <p:spPr>
            <a:xfrm>
              <a:off x="2404871" y="2394203"/>
              <a:ext cx="7362444" cy="1214628"/>
            </a:xfrm>
            <a:prstGeom prst="rect">
              <a:avLst/>
            </a:prstGeom>
          </p:spPr>
        </p:pic>
        <p:sp>
          <p:nvSpPr>
            <p:cNvPr id="14" name="object 14"/>
            <p:cNvSpPr/>
            <p:nvPr/>
          </p:nvSpPr>
          <p:spPr>
            <a:xfrm>
              <a:off x="326136" y="2388107"/>
              <a:ext cx="2184400" cy="1214755"/>
            </a:xfrm>
            <a:custGeom>
              <a:rect l="l" t="t" r="r" b="b"/>
              <a:pathLst>
                <a:path w="2184400" h="1214754">
                  <a:moveTo>
                    <a:pt x="1929891" y="0"/>
                  </a:moveTo>
                  <a:lnTo>
                    <a:pt x="0" y="0"/>
                  </a:lnTo>
                  <a:lnTo>
                    <a:pt x="254012" y="607313"/>
                  </a:lnTo>
                  <a:lnTo>
                    <a:pt x="0" y="1214627"/>
                  </a:lnTo>
                  <a:lnTo>
                    <a:pt x="1929891" y="1214627"/>
                  </a:lnTo>
                  <a:lnTo>
                    <a:pt x="2183891" y="607313"/>
                  </a:lnTo>
                  <a:lnTo>
                    <a:pt x="1929891" y="0"/>
                  </a:lnTo>
                  <a:close/>
                </a:path>
              </a:pathLst>
            </a:custGeom>
            <a:solidFill>
              <a:srgbClr val="460073"/>
            </a:solidFill>
          </p:spPr>
          <p:txBody>
            <a:bodyPr wrap="square" lIns="0" tIns="0" rIns="0" bIns="0" rtlCol="0"/>
            <a:lstStyle/>
            <a:p>
              <a:endParaRPr/>
            </a:p>
          </p:txBody>
        </p:sp>
      </p:grpSp>
      <p:sp>
        <p:nvSpPr>
          <p:cNvPr id="15" name="object 15"/>
          <p:cNvSpPr txBox="1"/>
          <p:nvPr/>
        </p:nvSpPr>
        <p:spPr>
          <a:xfrm>
            <a:off x="591439" y="2420450"/>
            <a:ext cx="1668271" cy="1490152"/>
          </a:xfrm>
          <a:prstGeom prst="rect">
            <a:avLst/>
          </a:prstGeom>
        </p:spPr>
        <p:txBody>
          <a:bodyPr vert="horz" wrap="square" lIns="0" tIns="12700" rIns="0" bIns="0" rtlCol="0">
            <a:spAutoFit/>
          </a:bodyPr>
          <a:lstStyle/>
          <a:p>
            <a:pPr marL="12700" marR="5080" algn="ctr" rtl="0">
              <a:spcBef>
                <a:spcPct val="0"/>
              </a:spcBef>
              <a:spcAft>
                <a:spcPct val="0"/>
              </a:spcAft>
            </a:pPr>
            <a:r>
              <a:rPr lang="en-US" sz="1200" b="1">
                <a:solidFill>
                  <a:schemeClr val="bg1"/>
                </a:solidFill>
                <a:latin typeface="+mj-lt"/>
                <a:ea typeface="+mj-ea"/>
                <a:cs typeface="+mj-cs"/>
              </a:rPr>
              <a:t>In the U.S. there is an ongoing maternal health crisis. In Georgia,37 Counties are in “maternity desert”.</a:t>
            </a:r>
          </a:p>
          <a:p>
            <a:br>
              <a:rPr lang="en-US" sz="1200"/>
            </a:br>
            <a:endParaRPr sz="1200" b="1">
              <a:solidFill>
                <a:schemeClr val="bg1"/>
              </a:solidFill>
              <a:latin typeface="+mj-lt"/>
              <a:ea typeface="+mj-ea"/>
              <a:cs typeface="+mj-cs"/>
            </a:endParaRPr>
          </a:p>
        </p:txBody>
      </p:sp>
      <p:sp>
        <p:nvSpPr>
          <p:cNvPr id="16" name="object 16"/>
          <p:cNvSpPr txBox="1"/>
          <p:nvPr/>
        </p:nvSpPr>
        <p:spPr>
          <a:xfrm>
            <a:off x="5265165" y="2450973"/>
            <a:ext cx="1725295" cy="259686"/>
          </a:xfrm>
          <a:prstGeom prst="rect">
            <a:avLst/>
          </a:prstGeom>
        </p:spPr>
        <p:txBody>
          <a:bodyPr vert="horz" wrap="square" lIns="0" tIns="13335" rIns="0" bIns="0" rtlCol="0">
            <a:spAutoFit/>
          </a:bodyPr>
          <a:lstStyle/>
          <a:p>
            <a:pPr marL="12700">
              <a:lnSpc>
                <a:spcPct val="100000"/>
              </a:lnSpc>
              <a:spcBef>
                <a:spcPts val="105"/>
              </a:spcBef>
            </a:pPr>
            <a:r>
              <a:rPr sz="1600" b="1">
                <a:solidFill>
                  <a:schemeClr val="accent1"/>
                </a:solidFill>
                <a:latin typeface="+mj-lt"/>
                <a:ea typeface="+mj-ea"/>
                <a:cs typeface="+mj-cs"/>
              </a:rPr>
              <a:t>Solution Impact</a:t>
            </a:r>
          </a:p>
        </p:txBody>
      </p:sp>
      <p:sp>
        <p:nvSpPr>
          <p:cNvPr id="17" name="object 17"/>
          <p:cNvSpPr/>
          <p:nvPr/>
        </p:nvSpPr>
        <p:spPr>
          <a:xfrm>
            <a:off x="2721864" y="2753867"/>
            <a:ext cx="1725295" cy="708660"/>
          </a:xfrm>
          <a:custGeom>
            <a:rect l="l" t="t" r="r" b="b"/>
            <a:pathLst>
              <a:path w="1725295" h="708660">
                <a:moveTo>
                  <a:pt x="1576959" y="0"/>
                </a:moveTo>
                <a:lnTo>
                  <a:pt x="0" y="0"/>
                </a:lnTo>
                <a:lnTo>
                  <a:pt x="148209" y="354330"/>
                </a:lnTo>
                <a:lnTo>
                  <a:pt x="0" y="708660"/>
                </a:lnTo>
                <a:lnTo>
                  <a:pt x="1576959" y="708660"/>
                </a:lnTo>
                <a:lnTo>
                  <a:pt x="1725168" y="354330"/>
                </a:lnTo>
                <a:lnTo>
                  <a:pt x="1576959" y="0"/>
                </a:lnTo>
                <a:close/>
              </a:path>
            </a:pathLst>
          </a:custGeom>
          <a:solidFill>
            <a:srgbClr val="C0C0B9"/>
          </a:solidFill>
        </p:spPr>
        <p:txBody>
          <a:bodyPr wrap="square" lIns="0" tIns="0" rIns="0" bIns="0" rtlCol="0"/>
          <a:lstStyle/>
          <a:p>
            <a:endParaRPr/>
          </a:p>
        </p:txBody>
      </p:sp>
      <p:sp>
        <p:nvSpPr>
          <p:cNvPr id="18" name="object 18"/>
          <p:cNvSpPr txBox="1"/>
          <p:nvPr/>
        </p:nvSpPr>
        <p:spPr>
          <a:xfrm>
            <a:off x="2886836" y="2914351"/>
            <a:ext cx="1515492" cy="346249"/>
          </a:xfrm>
          <a:prstGeom prst="rect">
            <a:avLst/>
          </a:prstGeom>
        </p:spPr>
        <p:txBody>
          <a:bodyPr vert="horz" wrap="square" lIns="0" tIns="12700" rIns="0" bIns="0" rtlCol="0">
            <a:spAutoFit/>
          </a:bodyPr>
          <a:lstStyle/>
          <a:p>
            <a:pPr marL="62865">
              <a:lnSpc>
                <a:spcPts val="1330"/>
              </a:lnSpc>
              <a:spcBef>
                <a:spcPts val="100"/>
              </a:spcBef>
            </a:pPr>
            <a:r>
              <a:rPr sz="1200" b="1">
                <a:latin typeface="+mj-lt"/>
                <a:ea typeface="+mj-ea"/>
                <a:cs typeface="+mj-cs"/>
              </a:rPr>
              <a:t>Real time metrics</a:t>
            </a:r>
          </a:p>
          <a:p>
            <a:pPr marL="12700">
              <a:lnSpc>
                <a:spcPts val="1330"/>
              </a:lnSpc>
            </a:pPr>
            <a:r>
              <a:rPr lang="en-US" sz="1200" b="1">
                <a:latin typeface="+mj-lt"/>
                <a:ea typeface="+mj-ea"/>
                <a:cs typeface="+mj-cs"/>
              </a:rPr>
              <a:t>on patient's details </a:t>
            </a:r>
            <a:endParaRPr sz="1200" b="1">
              <a:latin typeface="+mj-lt"/>
              <a:ea typeface="+mj-ea"/>
              <a:cs typeface="+mj-cs"/>
            </a:endParaRPr>
          </a:p>
        </p:txBody>
      </p:sp>
      <p:sp>
        <p:nvSpPr>
          <p:cNvPr id="19" name="object 19"/>
          <p:cNvSpPr/>
          <p:nvPr/>
        </p:nvSpPr>
        <p:spPr>
          <a:xfrm>
            <a:off x="4416552" y="2753867"/>
            <a:ext cx="1725295" cy="708660"/>
          </a:xfrm>
          <a:custGeom>
            <a:rect l="l" t="t" r="r" b="b"/>
            <a:pathLst>
              <a:path w="1725295" h="708660">
                <a:moveTo>
                  <a:pt x="1576959" y="0"/>
                </a:moveTo>
                <a:lnTo>
                  <a:pt x="0" y="0"/>
                </a:lnTo>
                <a:lnTo>
                  <a:pt x="148209" y="354330"/>
                </a:lnTo>
                <a:lnTo>
                  <a:pt x="0" y="708660"/>
                </a:lnTo>
                <a:lnTo>
                  <a:pt x="1576959" y="708660"/>
                </a:lnTo>
                <a:lnTo>
                  <a:pt x="1725168" y="354330"/>
                </a:lnTo>
                <a:lnTo>
                  <a:pt x="1576959" y="0"/>
                </a:lnTo>
                <a:close/>
              </a:path>
            </a:pathLst>
          </a:custGeom>
          <a:solidFill>
            <a:srgbClr val="C0C0B9"/>
          </a:solidFill>
        </p:spPr>
        <p:txBody>
          <a:bodyPr wrap="square" lIns="0" tIns="0" rIns="0" bIns="0" rtlCol="0"/>
          <a:lstStyle/>
          <a:p>
            <a:endParaRPr/>
          </a:p>
        </p:txBody>
      </p:sp>
      <p:sp>
        <p:nvSpPr>
          <p:cNvPr id="20" name="object 20"/>
          <p:cNvSpPr txBox="1"/>
          <p:nvPr/>
        </p:nvSpPr>
        <p:spPr>
          <a:xfrm>
            <a:off x="4562538" y="2784594"/>
            <a:ext cx="1430020" cy="668260"/>
          </a:xfrm>
          <a:prstGeom prst="rect">
            <a:avLst/>
          </a:prstGeom>
        </p:spPr>
        <p:txBody>
          <a:bodyPr vert="horz" wrap="square" lIns="0" tIns="40005" rIns="0" bIns="0" rtlCol="0">
            <a:spAutoFit/>
          </a:bodyPr>
          <a:lstStyle/>
          <a:p>
            <a:pPr marL="12065" marR="5080" indent="2540" algn="ctr">
              <a:lnSpc>
                <a:spcPct val="85000"/>
              </a:lnSpc>
              <a:spcBef>
                <a:spcPts val="315"/>
              </a:spcBef>
            </a:pPr>
            <a:r>
              <a:rPr lang="en-US" sz="1200" b="1">
                <a:latin typeface="+mj-lt"/>
                <a:ea typeface="+mj-ea"/>
                <a:cs typeface="+mj-cs"/>
              </a:rPr>
              <a:t>Continuous</a:t>
            </a:r>
            <a:r>
              <a:rPr sz="1200" b="1">
                <a:latin typeface="+mj-lt"/>
                <a:ea typeface="+mj-ea"/>
                <a:cs typeface="+mj-cs"/>
              </a:rPr>
              <a:t> and  transparent </a:t>
            </a:r>
            <a:r>
              <a:rPr lang="en-US" sz="1200" b="1">
                <a:latin typeface="+mj-lt"/>
                <a:ea typeface="+mj-ea"/>
                <a:cs typeface="+mj-cs"/>
              </a:rPr>
              <a:t>scheduling with OBs</a:t>
            </a:r>
            <a:endParaRPr sz="1200" b="1">
              <a:latin typeface="+mj-lt"/>
              <a:ea typeface="+mj-ea"/>
              <a:cs typeface="+mj-cs"/>
            </a:endParaRPr>
          </a:p>
        </p:txBody>
      </p:sp>
      <p:sp>
        <p:nvSpPr>
          <p:cNvPr id="21" name="object 21"/>
          <p:cNvSpPr/>
          <p:nvPr/>
        </p:nvSpPr>
        <p:spPr>
          <a:xfrm>
            <a:off x="6091428" y="2753867"/>
            <a:ext cx="1727200" cy="708660"/>
          </a:xfrm>
          <a:custGeom>
            <a:rect l="l" t="t" r="r" b="b"/>
            <a:pathLst>
              <a:path w="1727200" h="708660">
                <a:moveTo>
                  <a:pt x="1578482" y="0"/>
                </a:moveTo>
                <a:lnTo>
                  <a:pt x="0" y="0"/>
                </a:lnTo>
                <a:lnTo>
                  <a:pt x="148209" y="354330"/>
                </a:lnTo>
                <a:lnTo>
                  <a:pt x="0" y="708660"/>
                </a:lnTo>
                <a:lnTo>
                  <a:pt x="1578482" y="708660"/>
                </a:lnTo>
                <a:lnTo>
                  <a:pt x="1726692" y="354330"/>
                </a:lnTo>
                <a:lnTo>
                  <a:pt x="1578482" y="0"/>
                </a:lnTo>
                <a:close/>
              </a:path>
            </a:pathLst>
          </a:custGeom>
          <a:solidFill>
            <a:srgbClr val="C0C0B9"/>
          </a:solidFill>
        </p:spPr>
        <p:txBody>
          <a:bodyPr wrap="square" lIns="0" tIns="0" rIns="0" bIns="0" rtlCol="0"/>
          <a:lstStyle/>
          <a:p>
            <a:endParaRPr/>
          </a:p>
        </p:txBody>
      </p:sp>
      <p:sp>
        <p:nvSpPr>
          <p:cNvPr id="22" name="object 22"/>
          <p:cNvSpPr txBox="1"/>
          <p:nvPr/>
        </p:nvSpPr>
        <p:spPr>
          <a:xfrm>
            <a:off x="6180195" y="2752344"/>
            <a:ext cx="1516507" cy="668260"/>
          </a:xfrm>
          <a:prstGeom prst="rect">
            <a:avLst/>
          </a:prstGeom>
        </p:spPr>
        <p:txBody>
          <a:bodyPr vert="horz" wrap="square" lIns="0" tIns="40005" rIns="0" bIns="0" rtlCol="0">
            <a:spAutoFit/>
          </a:bodyPr>
          <a:lstStyle/>
          <a:p>
            <a:pPr marL="12700" marR="5080" algn="ctr">
              <a:lnSpc>
                <a:spcPct val="85000"/>
              </a:lnSpc>
              <a:spcBef>
                <a:spcPts val="315"/>
              </a:spcBef>
            </a:pPr>
            <a:r>
              <a:rPr lang="en-US" sz="1200" b="1">
                <a:latin typeface="+mj-lt"/>
                <a:ea typeface="+mj-ea"/>
                <a:cs typeface="+mj-cs"/>
              </a:rPr>
              <a:t>Empowering women with knowledge to thrive in pregnancy </a:t>
            </a:r>
            <a:endParaRPr sz="1200" b="1">
              <a:latin typeface="+mj-lt"/>
              <a:ea typeface="+mj-ea"/>
              <a:cs typeface="+mj-cs"/>
            </a:endParaRPr>
          </a:p>
        </p:txBody>
      </p:sp>
      <p:sp>
        <p:nvSpPr>
          <p:cNvPr id="23" name="object 23"/>
          <p:cNvSpPr/>
          <p:nvPr/>
        </p:nvSpPr>
        <p:spPr>
          <a:xfrm>
            <a:off x="7754111" y="2752344"/>
            <a:ext cx="1725295" cy="708660"/>
          </a:xfrm>
          <a:custGeom>
            <a:rect l="l" t="t" r="r" b="b"/>
            <a:pathLst>
              <a:path w="1725295" h="708660">
                <a:moveTo>
                  <a:pt x="1576959" y="0"/>
                </a:moveTo>
                <a:lnTo>
                  <a:pt x="0" y="0"/>
                </a:lnTo>
                <a:lnTo>
                  <a:pt x="148209" y="354329"/>
                </a:lnTo>
                <a:lnTo>
                  <a:pt x="0" y="708659"/>
                </a:lnTo>
                <a:lnTo>
                  <a:pt x="1576959" y="708659"/>
                </a:lnTo>
                <a:lnTo>
                  <a:pt x="1725168" y="354329"/>
                </a:lnTo>
                <a:lnTo>
                  <a:pt x="1576959" y="0"/>
                </a:lnTo>
                <a:close/>
              </a:path>
            </a:pathLst>
          </a:custGeom>
          <a:solidFill>
            <a:srgbClr val="C0C0B9"/>
          </a:solidFill>
        </p:spPr>
        <p:txBody>
          <a:bodyPr wrap="square" lIns="0" tIns="0" rIns="0" bIns="0" rtlCol="0"/>
          <a:lstStyle/>
          <a:p>
            <a:endParaRPr/>
          </a:p>
        </p:txBody>
      </p:sp>
      <p:sp>
        <p:nvSpPr>
          <p:cNvPr id="24" name="object 24"/>
          <p:cNvSpPr txBox="1"/>
          <p:nvPr/>
        </p:nvSpPr>
        <p:spPr>
          <a:xfrm>
            <a:off x="7901684" y="2829305"/>
            <a:ext cx="1502029" cy="503343"/>
          </a:xfrm>
          <a:prstGeom prst="rect">
            <a:avLst/>
          </a:prstGeom>
        </p:spPr>
        <p:txBody>
          <a:bodyPr vert="horz" wrap="square" lIns="0" tIns="41275" rIns="0" bIns="0" rtlCol="0">
            <a:spAutoFit/>
          </a:bodyPr>
          <a:lstStyle/>
          <a:p>
            <a:pPr marL="12700" marR="5080" indent="-635" algn="ctr">
              <a:lnSpc>
                <a:spcPts val="1220"/>
              </a:lnSpc>
              <a:spcBef>
                <a:spcPts val="325"/>
              </a:spcBef>
            </a:pPr>
            <a:r>
              <a:rPr lang="en-US" sz="1200" b="1">
                <a:latin typeface="+mj-lt"/>
                <a:ea typeface="+mj-ea"/>
                <a:cs typeface="+mj-cs"/>
              </a:rPr>
              <a:t>Community based effort for providing required resources</a:t>
            </a:r>
            <a:endParaRPr sz="1200" b="1">
              <a:latin typeface="+mj-lt"/>
              <a:ea typeface="+mj-ea"/>
              <a:cs typeface="+mj-cs"/>
            </a:endParaRPr>
          </a:p>
        </p:txBody>
      </p:sp>
      <p:sp>
        <p:nvSpPr>
          <p:cNvPr id="25" name="object 25"/>
          <p:cNvSpPr txBox="1"/>
          <p:nvPr/>
        </p:nvSpPr>
        <p:spPr>
          <a:xfrm>
            <a:off x="1122680" y="2132152"/>
            <a:ext cx="1516127" cy="259686"/>
          </a:xfrm>
          <a:prstGeom prst="rect">
            <a:avLst/>
          </a:prstGeom>
        </p:spPr>
        <p:txBody>
          <a:bodyPr vert="horz" wrap="square" lIns="0" tIns="13335" rIns="0" bIns="0" rtlCol="0">
            <a:spAutoFit/>
          </a:bodyPr>
          <a:lstStyle/>
          <a:p>
            <a:pPr marL="12700">
              <a:lnSpc>
                <a:spcPct val="100000"/>
              </a:lnSpc>
              <a:spcBef>
                <a:spcPts val="105"/>
              </a:spcBef>
            </a:pPr>
            <a:r>
              <a:rPr sz="1600" b="1">
                <a:solidFill>
                  <a:schemeClr val="accent1"/>
                </a:solidFill>
                <a:latin typeface="+mj-lt"/>
                <a:ea typeface="+mj-ea"/>
                <a:cs typeface="+mj-cs"/>
              </a:rPr>
              <a:t>Issue</a:t>
            </a:r>
            <a:endParaRPr sz="3600" b="1">
              <a:solidFill>
                <a:schemeClr val="accent1"/>
              </a:solidFill>
              <a:latin typeface="+mj-lt"/>
              <a:ea typeface="+mj-ea"/>
              <a:cs typeface="+mj-cs"/>
            </a:endParaRPr>
          </a:p>
        </p:txBody>
      </p:sp>
      <p:sp>
        <p:nvSpPr>
          <p:cNvPr id="26" name="object 26"/>
          <p:cNvSpPr txBox="1"/>
          <p:nvPr/>
        </p:nvSpPr>
        <p:spPr>
          <a:xfrm>
            <a:off x="10325480" y="2086813"/>
            <a:ext cx="1150493" cy="259686"/>
          </a:xfrm>
          <a:prstGeom prst="rect">
            <a:avLst/>
          </a:prstGeom>
        </p:spPr>
        <p:txBody>
          <a:bodyPr vert="horz" wrap="square" lIns="0" tIns="13335" rIns="0" bIns="0" rtlCol="0">
            <a:spAutoFit/>
          </a:bodyPr>
          <a:lstStyle/>
          <a:p>
            <a:pPr marL="12700">
              <a:lnSpc>
                <a:spcPct val="100000"/>
              </a:lnSpc>
              <a:spcBef>
                <a:spcPts val="105"/>
              </a:spcBef>
            </a:pPr>
            <a:r>
              <a:rPr sz="1600" b="1">
                <a:solidFill>
                  <a:schemeClr val="accent1"/>
                </a:solidFill>
                <a:latin typeface="+mj-lt"/>
                <a:ea typeface="+mj-ea"/>
                <a:cs typeface="+mj-cs"/>
              </a:rPr>
              <a:t>Outcome</a:t>
            </a:r>
          </a:p>
        </p:txBody>
      </p:sp>
      <p:sp>
        <p:nvSpPr>
          <p:cNvPr id="27" name="object 27"/>
          <p:cNvSpPr txBox="1"/>
          <p:nvPr/>
        </p:nvSpPr>
        <p:spPr>
          <a:xfrm>
            <a:off x="314045" y="3753992"/>
            <a:ext cx="11543056" cy="443711"/>
          </a:xfrm>
          <a:prstGeom prst="rect">
            <a:avLst/>
          </a:prstGeom>
        </p:spPr>
        <p:txBody>
          <a:bodyPr vert="horz" wrap="square" lIns="0" tIns="12700" rIns="0" bIns="0" rtlCol="0" anchor="t">
            <a:spAutoFit/>
          </a:bodyPr>
          <a:lstStyle/>
          <a:p>
            <a:pPr marL="12700" marR="5080">
              <a:spcBef>
                <a:spcPts val="100"/>
              </a:spcBef>
            </a:pPr>
            <a:r>
              <a:rPr lang="en-US" sz="1400"/>
              <a:t>With greater accessibility to consistently scheduling with OB/GYN remotely and having </a:t>
            </a:r>
            <a:r>
              <a:rPr lang="en-US" sz="1400" b="1">
                <a:solidFill>
                  <a:schemeClr val="accent1"/>
                </a:solidFill>
                <a:latin typeface="+mj-lt"/>
                <a:ea typeface="+mj-ea"/>
                <a:cs typeface="+mj-cs"/>
              </a:rPr>
              <a:t>customized planning based on the health data from patients</a:t>
            </a:r>
            <a:r>
              <a:rPr lang="en-US" sz="1400"/>
              <a:t>, healthcare organizations can provide cheaper and effective access with quality delivery for assisting women in dark from </a:t>
            </a:r>
            <a:r>
              <a:rPr lang="en-US" sz="1400" b="1">
                <a:solidFill>
                  <a:schemeClr val="accent1"/>
                </a:solidFill>
                <a:latin typeface="+mj-lt"/>
                <a:ea typeface="+mj-ea"/>
                <a:cs typeface="+mj-cs"/>
              </a:rPr>
              <a:t>pregnancy planning to postpartum</a:t>
            </a:r>
            <a:r>
              <a:rPr lang="en-US" sz="1400"/>
              <a:t>. </a:t>
            </a:r>
            <a:endParaRPr lang="en-US" sz="1400" b="1">
              <a:solidFill>
                <a:schemeClr val="accent1"/>
              </a:solidFill>
              <a:latin typeface="+mj-lt"/>
              <a:ea typeface="+mj-ea"/>
              <a:cs typeface="+mj-cs"/>
            </a:endParaRPr>
          </a:p>
        </p:txBody>
      </p:sp>
      <p:sp>
        <p:nvSpPr>
          <p:cNvPr id="28" name="object 28"/>
          <p:cNvSpPr txBox="1"/>
          <p:nvPr/>
        </p:nvSpPr>
        <p:spPr>
          <a:xfrm>
            <a:off x="835761" y="5008879"/>
            <a:ext cx="1588032" cy="1262524"/>
          </a:xfrm>
          <a:prstGeom prst="rect">
            <a:avLst/>
          </a:prstGeom>
        </p:spPr>
        <p:txBody>
          <a:bodyPr vert="horz" wrap="square" lIns="0" tIns="31114" rIns="0" bIns="0" rtlCol="0">
            <a:spAutoFit/>
          </a:bodyPr>
          <a:lstStyle/>
          <a:p>
            <a:pPr>
              <a:lnSpc>
                <a:spcPct val="100000"/>
              </a:lnSpc>
              <a:spcBef>
                <a:spcPts val="244"/>
              </a:spcBef>
            </a:pPr>
            <a:r>
              <a:rPr lang="en-US" sz="2400" b="1">
                <a:solidFill>
                  <a:schemeClr val="accent1"/>
                </a:solidFill>
                <a:latin typeface="+mj-lt"/>
                <a:ea typeface="+mj-ea"/>
                <a:cs typeface="+mj-cs"/>
              </a:rPr>
              <a:t>9</a:t>
            </a:r>
            <a:r>
              <a:rPr sz="2400" b="1">
                <a:solidFill>
                  <a:schemeClr val="accent1"/>
                </a:solidFill>
                <a:latin typeface="+mj-lt"/>
                <a:ea typeface="+mj-ea"/>
                <a:cs typeface="+mj-cs"/>
              </a:rPr>
              <a:t>0%+</a:t>
            </a:r>
          </a:p>
          <a:p>
            <a:pPr marR="5080">
              <a:lnSpc>
                <a:spcPct val="100000"/>
              </a:lnSpc>
            </a:pPr>
            <a:r>
              <a:rPr lang="en-US" sz="1400" b="1">
                <a:solidFill>
                  <a:srgbClr val="A100FF"/>
                </a:solidFill>
                <a:latin typeface="+mj-lt"/>
                <a:ea typeface="+mj-ea"/>
                <a:cs typeface="+mj-cs"/>
              </a:rPr>
              <a:t>Reduction</a:t>
            </a:r>
            <a:r>
              <a:rPr lang="en-US" sz="1400">
                <a:latin typeface="+mj-lt"/>
                <a:ea typeface="+mj-ea"/>
                <a:cs typeface="+mj-cs"/>
              </a:rPr>
              <a:t> in avoidable pregnancy related </a:t>
            </a:r>
            <a:r>
              <a:rPr lang="en-US" sz="1400" b="1">
                <a:solidFill>
                  <a:srgbClr val="A100FF"/>
                </a:solidFill>
                <a:latin typeface="+mj-lt"/>
                <a:ea typeface="+mj-ea"/>
                <a:cs typeface="+mj-cs"/>
              </a:rPr>
              <a:t>hospitalizations</a:t>
            </a:r>
            <a:r>
              <a:rPr lang="en-US" sz="1400">
                <a:latin typeface="+mj-lt"/>
                <a:ea typeface="+mj-ea"/>
                <a:cs typeface="+mj-cs"/>
              </a:rPr>
              <a:t>.</a:t>
            </a:r>
            <a:endParaRPr sz="1400">
              <a:latin typeface="+mj-lt"/>
              <a:ea typeface="+mj-ea"/>
              <a:cs typeface="+mj-cs"/>
            </a:endParaRPr>
          </a:p>
        </p:txBody>
      </p:sp>
      <p:sp>
        <p:nvSpPr>
          <p:cNvPr id="29" name="object 29"/>
          <p:cNvSpPr txBox="1"/>
          <p:nvPr/>
        </p:nvSpPr>
        <p:spPr>
          <a:xfrm>
            <a:off x="419100" y="4662932"/>
            <a:ext cx="5060061" cy="602088"/>
          </a:xfrm>
          <a:prstGeom prst="rect">
            <a:avLst/>
          </a:prstGeom>
        </p:spPr>
        <p:txBody>
          <a:bodyPr vert="horz" wrap="square" lIns="0" tIns="12065" rIns="0" bIns="0" rtlCol="0">
            <a:spAutoFit/>
          </a:bodyPr>
          <a:lstStyle/>
          <a:p>
            <a:pPr>
              <a:lnSpc>
                <a:spcPct val="100000"/>
              </a:lnSpc>
              <a:spcBef>
                <a:spcPts val="95"/>
              </a:spcBef>
            </a:pPr>
            <a:r>
              <a:rPr sz="1600" b="1">
                <a:solidFill>
                  <a:schemeClr val="accent1"/>
                </a:solidFill>
                <a:latin typeface="+mj-lt"/>
                <a:ea typeface="+mj-ea"/>
                <a:cs typeface="+mj-cs"/>
              </a:rPr>
              <a:t>This Enhanced Visibility Will Deliver 360ᵒ Value</a:t>
            </a:r>
          </a:p>
          <a:p>
            <a:pPr marL="2791460">
              <a:lnSpc>
                <a:spcPct val="100000"/>
              </a:lnSpc>
              <a:spcBef>
                <a:spcPts val="1025"/>
              </a:spcBef>
            </a:pPr>
            <a:r>
              <a:rPr sz="1400">
                <a:latin typeface="+mj-lt"/>
                <a:ea typeface="+mj-ea"/>
                <a:cs typeface="+mj-cs"/>
              </a:rPr>
              <a:t>Improved </a:t>
            </a:r>
            <a:r>
              <a:rPr lang="en-US" sz="1400">
                <a:latin typeface="+mj-lt"/>
                <a:ea typeface="+mj-ea"/>
                <a:cs typeface="+mj-cs"/>
              </a:rPr>
              <a:t>Strategic</a:t>
            </a:r>
            <a:endParaRPr sz="1400">
              <a:latin typeface="+mj-lt"/>
              <a:ea typeface="+mj-ea"/>
              <a:cs typeface="+mj-cs"/>
            </a:endParaRPr>
          </a:p>
        </p:txBody>
      </p:sp>
      <p:sp>
        <p:nvSpPr>
          <p:cNvPr id="30" name="object 30"/>
          <p:cNvSpPr txBox="1"/>
          <p:nvPr/>
        </p:nvSpPr>
        <p:spPr>
          <a:xfrm>
            <a:off x="3211360" y="5253542"/>
            <a:ext cx="1621154" cy="1305486"/>
          </a:xfrm>
          <a:prstGeom prst="rect">
            <a:avLst/>
          </a:prstGeom>
        </p:spPr>
        <p:txBody>
          <a:bodyPr vert="horz" wrap="square" lIns="0" tIns="12700" rIns="0" bIns="0" rtlCol="0">
            <a:spAutoFit/>
          </a:bodyPr>
          <a:lstStyle/>
          <a:p>
            <a:pPr marR="5080" rtl="0">
              <a:spcBef>
                <a:spcPct val="0"/>
              </a:spcBef>
              <a:spcAft>
                <a:spcPct val="0"/>
              </a:spcAft>
            </a:pPr>
            <a:r>
              <a:rPr lang="en-US" sz="1400" b="1">
                <a:solidFill>
                  <a:srgbClr val="A100FF"/>
                </a:solidFill>
                <a:latin typeface="+mj-lt"/>
                <a:ea typeface="+mj-ea"/>
                <a:cs typeface="+mj-cs"/>
              </a:rPr>
              <a:t>collaboration with stakeholders </a:t>
            </a:r>
            <a:r>
              <a:rPr lang="en-US" sz="1400">
                <a:latin typeface="+mj-lt"/>
                <a:ea typeface="+mj-ea"/>
                <a:cs typeface="+mj-cs"/>
              </a:rPr>
              <a:t>and government agencies</a:t>
            </a:r>
          </a:p>
          <a:p>
            <a:br>
              <a:rPr lang="en-US" sz="1400"/>
            </a:br>
            <a:endParaRPr sz="1400">
              <a:latin typeface="+mj-lt"/>
              <a:ea typeface="+mj-ea"/>
              <a:cs typeface="+mj-cs"/>
            </a:endParaRPr>
          </a:p>
        </p:txBody>
      </p:sp>
      <p:sp>
        <p:nvSpPr>
          <p:cNvPr id="31" name="object 31"/>
          <p:cNvSpPr txBox="1"/>
          <p:nvPr/>
        </p:nvSpPr>
        <p:spPr>
          <a:xfrm>
            <a:off x="5498845" y="5008879"/>
            <a:ext cx="1864675" cy="1693411"/>
          </a:xfrm>
          <a:prstGeom prst="rect">
            <a:avLst/>
          </a:prstGeom>
        </p:spPr>
        <p:txBody>
          <a:bodyPr vert="horz" wrap="square" lIns="0" tIns="31114" rIns="0" bIns="0" rtlCol="0">
            <a:spAutoFit/>
          </a:bodyPr>
          <a:lstStyle/>
          <a:p>
            <a:pPr>
              <a:lnSpc>
                <a:spcPct val="100000"/>
              </a:lnSpc>
              <a:spcBef>
                <a:spcPts val="244"/>
              </a:spcBef>
            </a:pPr>
            <a:r>
              <a:rPr lang="en-US" sz="2400" b="1">
                <a:solidFill>
                  <a:schemeClr val="accent1"/>
                </a:solidFill>
                <a:latin typeface="+mj-lt"/>
                <a:ea typeface="+mj-ea"/>
                <a:cs typeface="+mj-cs"/>
              </a:rPr>
              <a:t>1</a:t>
            </a:r>
            <a:r>
              <a:rPr sz="2400" b="1">
                <a:solidFill>
                  <a:schemeClr val="accent1"/>
                </a:solidFill>
                <a:latin typeface="+mj-lt"/>
                <a:ea typeface="+mj-ea"/>
                <a:cs typeface="+mj-cs"/>
              </a:rPr>
              <a:t>5%+</a:t>
            </a:r>
            <a:r>
              <a:rPr lang="en-US" sz="2400" b="1">
                <a:solidFill>
                  <a:schemeClr val="accent1"/>
                </a:solidFill>
                <a:latin typeface="+mj-lt"/>
                <a:ea typeface="+mj-ea"/>
                <a:cs typeface="+mj-cs"/>
              </a:rPr>
              <a:t> </a:t>
            </a:r>
            <a:r>
              <a:rPr lang="en-US" sz="1400" b="1">
                <a:solidFill>
                  <a:srgbClr val="A100FF"/>
                </a:solidFill>
                <a:latin typeface="+mj-lt"/>
                <a:ea typeface="+mj-ea"/>
                <a:cs typeface="+mj-cs"/>
              </a:rPr>
              <a:t>Reduction</a:t>
            </a:r>
            <a:r>
              <a:rPr lang="en-US" sz="1400">
                <a:latin typeface="+mj-lt"/>
                <a:ea typeface="+mj-ea"/>
                <a:cs typeface="+mj-cs"/>
              </a:rPr>
              <a:t> in pregnancy related </a:t>
            </a:r>
            <a:r>
              <a:rPr lang="en-US" sz="1400" b="1">
                <a:solidFill>
                  <a:srgbClr val="A100FF"/>
                </a:solidFill>
                <a:latin typeface="+mj-lt"/>
                <a:ea typeface="+mj-ea"/>
                <a:cs typeface="+mj-cs"/>
              </a:rPr>
              <a:t>complications</a:t>
            </a:r>
            <a:r>
              <a:rPr lang="en-US" sz="1400">
                <a:latin typeface="+mj-lt"/>
                <a:ea typeface="+mj-ea"/>
                <a:cs typeface="+mj-cs"/>
              </a:rPr>
              <a:t> leading to maternal and infant mortality </a:t>
            </a:r>
          </a:p>
          <a:p>
            <a:br>
              <a:rPr lang="en-US" sz="1400"/>
            </a:br>
            <a:endParaRPr sz="1400">
              <a:latin typeface="+mj-lt"/>
              <a:ea typeface="+mj-ea"/>
              <a:cs typeface="+mj-cs"/>
            </a:endParaRPr>
          </a:p>
        </p:txBody>
      </p:sp>
      <p:sp>
        <p:nvSpPr>
          <p:cNvPr id="32" name="object 32"/>
          <p:cNvSpPr txBox="1"/>
          <p:nvPr/>
        </p:nvSpPr>
        <p:spPr>
          <a:xfrm>
            <a:off x="7833359" y="5036311"/>
            <a:ext cx="1933956" cy="1736373"/>
          </a:xfrm>
          <a:prstGeom prst="rect">
            <a:avLst/>
          </a:prstGeom>
        </p:spPr>
        <p:txBody>
          <a:bodyPr vert="horz" wrap="square" lIns="0" tIns="12700" rIns="0" bIns="0" rtlCol="0">
            <a:spAutoFit/>
          </a:bodyPr>
          <a:lstStyle/>
          <a:p>
            <a:pPr marR="5080" rtl="0">
              <a:spcBef>
                <a:spcPct val="0"/>
              </a:spcBef>
              <a:spcAft>
                <a:spcPct val="0"/>
              </a:spcAft>
            </a:pPr>
            <a:r>
              <a:rPr lang="en-US" sz="1400">
                <a:latin typeface="+mj-lt"/>
                <a:ea typeface="+mj-ea"/>
                <a:cs typeface="+mj-cs"/>
              </a:rPr>
              <a:t>Increased knowledge with access to </a:t>
            </a:r>
            <a:r>
              <a:rPr lang="en-US" sz="1400" b="1">
                <a:solidFill>
                  <a:srgbClr val="A100FF"/>
                </a:solidFill>
                <a:latin typeface="+mj-lt"/>
                <a:ea typeface="+mj-ea"/>
                <a:cs typeface="+mj-cs"/>
              </a:rPr>
              <a:t>on demand educational tools</a:t>
            </a:r>
            <a:r>
              <a:rPr lang="en-US" sz="1400">
                <a:latin typeface="+mj-lt"/>
                <a:ea typeface="+mj-ea"/>
                <a:cs typeface="+mj-cs"/>
              </a:rPr>
              <a:t> on coping with PMADS, creating a birth plan, etc.</a:t>
            </a:r>
          </a:p>
          <a:p>
            <a:br>
              <a:rPr lang="en-US" sz="1400"/>
            </a:br>
            <a:endParaRPr sz="1400">
              <a:latin typeface="+mj-lt"/>
              <a:ea typeface="+mj-ea"/>
              <a:cs typeface="+mj-cs"/>
            </a:endParaRPr>
          </a:p>
        </p:txBody>
      </p:sp>
      <p:sp>
        <p:nvSpPr>
          <p:cNvPr id="33" name="object 33"/>
          <p:cNvSpPr txBox="1"/>
          <p:nvPr/>
        </p:nvSpPr>
        <p:spPr>
          <a:xfrm>
            <a:off x="10210800" y="5036311"/>
            <a:ext cx="1621154" cy="1736373"/>
          </a:xfrm>
          <a:prstGeom prst="rect">
            <a:avLst/>
          </a:prstGeom>
        </p:spPr>
        <p:txBody>
          <a:bodyPr vert="horz" wrap="square" lIns="0" tIns="12700" rIns="0" bIns="0" rtlCol="0">
            <a:spAutoFit/>
          </a:bodyPr>
          <a:lstStyle/>
          <a:p>
            <a:pPr marR="5080" rtl="0">
              <a:spcBef>
                <a:spcPct val="0"/>
              </a:spcBef>
              <a:spcAft>
                <a:spcPct val="0"/>
              </a:spcAft>
            </a:pPr>
            <a:r>
              <a:rPr sz="1400">
                <a:latin typeface="+mj-lt"/>
                <a:ea typeface="+mj-ea"/>
                <a:cs typeface="+mj-cs"/>
              </a:rPr>
              <a:t>Draw younger, more </a:t>
            </a:r>
            <a:r>
              <a:rPr sz="1400" b="1">
                <a:solidFill>
                  <a:srgbClr val="A100FF"/>
                </a:solidFill>
                <a:latin typeface="+mj-lt"/>
                <a:ea typeface="+mj-ea"/>
                <a:cs typeface="+mj-cs"/>
              </a:rPr>
              <a:t>diverse</a:t>
            </a:r>
            <a:r>
              <a:rPr sz="1400">
                <a:latin typeface="+mj-lt"/>
                <a:ea typeface="+mj-ea"/>
                <a:cs typeface="+mj-cs"/>
              </a:rPr>
              <a:t> </a:t>
            </a:r>
            <a:r>
              <a:rPr sz="1400" b="1">
                <a:solidFill>
                  <a:srgbClr val="A100FF"/>
                </a:solidFill>
                <a:latin typeface="+mj-lt"/>
                <a:ea typeface="+mj-ea"/>
                <a:cs typeface="+mj-cs"/>
              </a:rPr>
              <a:t>talent</a:t>
            </a:r>
            <a:r>
              <a:rPr sz="1400">
                <a:latin typeface="+mj-lt"/>
                <a:ea typeface="+mj-ea"/>
                <a:cs typeface="+mj-cs"/>
              </a:rPr>
              <a:t> </a:t>
            </a:r>
            <a:r>
              <a:rPr lang="en-US" sz="1400">
                <a:latin typeface="+mj-lt"/>
                <a:ea typeface="+mj-ea"/>
                <a:cs typeface="+mj-cs"/>
              </a:rPr>
              <a:t>and Increased access to social support &amp; </a:t>
            </a:r>
            <a:r>
              <a:rPr lang="en-US" sz="1400" b="1">
                <a:solidFill>
                  <a:srgbClr val="A100FF"/>
                </a:solidFill>
                <a:latin typeface="+mj-lt"/>
                <a:ea typeface="+mj-ea"/>
                <a:cs typeface="+mj-cs"/>
              </a:rPr>
              <a:t>resources</a:t>
            </a:r>
            <a:r>
              <a:rPr lang="en-US" sz="1400">
                <a:latin typeface="+mj-lt"/>
                <a:ea typeface="+mj-ea"/>
                <a:cs typeface="+mj-cs"/>
              </a:rPr>
              <a:t> </a:t>
            </a:r>
          </a:p>
          <a:p>
            <a:br>
              <a:rPr lang="en-US" sz="1400">
                <a:latin typeface="+mj-lt"/>
                <a:ea typeface="+mj-ea"/>
                <a:cs typeface="+mj-cs"/>
              </a:rPr>
            </a:br>
            <a:endParaRPr sz="1400">
              <a:latin typeface="+mj-lt"/>
              <a:ea typeface="+mj-ea"/>
              <a:cs typeface="+mj-cs"/>
            </a:endParaRPr>
          </a:p>
        </p:txBody>
      </p:sp>
      <p:sp>
        <p:nvSpPr>
          <p:cNvPr id="34" name="object 34"/>
          <p:cNvSpPr/>
          <p:nvPr/>
        </p:nvSpPr>
        <p:spPr>
          <a:xfrm>
            <a:off x="419100" y="4985003"/>
            <a:ext cx="11226800" cy="0"/>
          </a:xfrm>
          <a:custGeom>
            <a:rect l="l" t="t" r="r" b="b"/>
            <a:pathLst>
              <a:path w="11226800">
                <a:moveTo>
                  <a:pt x="0" y="0"/>
                </a:moveTo>
                <a:lnTo>
                  <a:pt x="11226800" y="0"/>
                </a:lnTo>
              </a:path>
            </a:pathLst>
          </a:custGeom>
          <a:ln w="12700">
            <a:solidFill>
              <a:srgbClr val="A000FF"/>
            </a:solidFill>
          </a:ln>
        </p:spPr>
        <p:txBody>
          <a:bodyPr wrap="square" lIns="0" tIns="0" rIns="0" bIns="0" rtlCol="0"/>
          <a:lstStyle/>
          <a:p>
            <a:endParaRPr/>
          </a:p>
        </p:txBody>
      </p:sp>
    </p:spTree>
  </p:cSld>
  <p:clrMapOvr>
    <a:masterClrMapping/>
  </p:clrMapOvr>
  <p:transition/>
  <p:timing/>
</p:sld>
</file>

<file path=ppt/slides/slide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object 3"/>
          <p:cNvSpPr txBox="1">
            <a:spLocks noGrp="1"/>
          </p:cNvSpPr>
          <p:nvPr>
            <p:ph type="title"/>
          </p:nvPr>
        </p:nvSpPr>
        <p:spPr>
          <a:xfrm>
            <a:off x="310134" y="97157"/>
            <a:ext cx="12126102" cy="443711"/>
          </a:xfrm>
          <a:prstGeom prst="rect">
            <a:avLst/>
          </a:prstGeom>
        </p:spPr>
        <p:txBody>
          <a:bodyPr vert="horz" wrap="square" lIns="0" tIns="12700" rIns="0" bIns="0" rtlCol="0">
            <a:spAutoFit/>
          </a:bodyPr>
          <a:lstStyle/>
          <a:p>
            <a:pPr marL="12700">
              <a:lnSpc>
                <a:spcPct val="100000"/>
              </a:lnSpc>
              <a:spcBef>
                <a:spcPts val="100"/>
              </a:spcBef>
            </a:pPr>
            <a:r>
              <a:rPr sz="2800">
                <a:latin typeface="+mj-lt"/>
                <a:cs typeface="+mj-cs"/>
              </a:rPr>
              <a:t>WE</a:t>
            </a:r>
            <a:r>
              <a:rPr sz="1800" spc="-125"/>
              <a:t> </a:t>
            </a:r>
            <a:r>
              <a:rPr sz="2800">
                <a:latin typeface="+mj-lt"/>
                <a:cs typeface="+mj-cs"/>
              </a:rPr>
              <a:t>BRING</a:t>
            </a:r>
            <a:r>
              <a:rPr sz="1800" spc="-140"/>
              <a:t> </a:t>
            </a:r>
            <a:r>
              <a:rPr sz="2800">
                <a:solidFill>
                  <a:schemeClr val="accent1"/>
                </a:solidFill>
                <a:latin typeface="+mj-lt"/>
                <a:cs typeface="+mj-cs"/>
              </a:rPr>
              <a:t>EVERYONE</a:t>
            </a:r>
            <a:r>
              <a:rPr sz="1800" spc="-114">
                <a:solidFill>
                  <a:srgbClr val="7500C0"/>
                </a:solidFill>
              </a:rPr>
              <a:t> </a:t>
            </a:r>
            <a:r>
              <a:rPr sz="2800">
                <a:solidFill>
                  <a:schemeClr val="accent1"/>
                </a:solidFill>
                <a:latin typeface="+mj-lt"/>
                <a:cs typeface="+mj-cs"/>
              </a:rPr>
              <a:t>TOGETHER</a:t>
            </a:r>
            <a:r>
              <a:rPr sz="1800" spc="-114">
                <a:solidFill>
                  <a:srgbClr val="7500C0"/>
                </a:solidFill>
              </a:rPr>
              <a:t> </a:t>
            </a:r>
            <a:r>
              <a:rPr sz="2800">
                <a:latin typeface="+mj-lt"/>
                <a:cs typeface="+mj-cs"/>
              </a:rPr>
              <a:t>TO REALIZE </a:t>
            </a:r>
            <a:r>
              <a:rPr sz="2800">
                <a:solidFill>
                  <a:schemeClr val="accent1"/>
                </a:solidFill>
                <a:latin typeface="+mj-lt"/>
                <a:cs typeface="+mj-cs"/>
              </a:rPr>
              <a:t>VALUE AT SPEED</a:t>
            </a:r>
          </a:p>
        </p:txBody>
      </p:sp>
      <p:grpSp>
        <p:nvGrpSpPr>
          <p:cNvPr id="4" name="object 4"/>
          <p:cNvGrpSpPr/>
          <p:nvPr/>
        </p:nvGrpSpPr>
        <p:grpSpPr>
          <a:xfrm>
            <a:off x="5881115" y="5669279"/>
            <a:ext cx="5977255" cy="1141730"/>
            <a:chOff x="5881115" y="5669279"/>
            <a:chExt cx="5977255" cy="1141730"/>
          </a:xfrm>
        </p:grpSpPr>
        <p:sp>
          <p:nvSpPr>
            <p:cNvPr id="5" name="object 5"/>
            <p:cNvSpPr/>
            <p:nvPr/>
          </p:nvSpPr>
          <p:spPr>
            <a:xfrm>
              <a:off x="11804776" y="6450647"/>
              <a:ext cx="53340" cy="73025"/>
            </a:xfrm>
            <a:custGeom>
              <a:rect l="l" t="t" r="r" b="b"/>
              <a:pathLst>
                <a:path w="53340" h="73025">
                  <a:moveTo>
                    <a:pt x="43306" y="56565"/>
                  </a:moveTo>
                  <a:lnTo>
                    <a:pt x="37719" y="56565"/>
                  </a:lnTo>
                  <a:lnTo>
                    <a:pt x="37719" y="73012"/>
                  </a:lnTo>
                  <a:lnTo>
                    <a:pt x="43306" y="73012"/>
                  </a:lnTo>
                  <a:lnTo>
                    <a:pt x="43306" y="56565"/>
                  </a:lnTo>
                  <a:close/>
                </a:path>
                <a:path w="53340" h="73025">
                  <a:moveTo>
                    <a:pt x="43306" y="0"/>
                  </a:moveTo>
                  <a:lnTo>
                    <a:pt x="35305" y="0"/>
                  </a:lnTo>
                  <a:lnTo>
                    <a:pt x="0" y="54825"/>
                  </a:lnTo>
                  <a:lnTo>
                    <a:pt x="0" y="56565"/>
                  </a:lnTo>
                  <a:lnTo>
                    <a:pt x="53340" y="56565"/>
                  </a:lnTo>
                  <a:lnTo>
                    <a:pt x="53340" y="51866"/>
                  </a:lnTo>
                  <a:lnTo>
                    <a:pt x="7493" y="51866"/>
                  </a:lnTo>
                  <a:lnTo>
                    <a:pt x="37719" y="4190"/>
                  </a:lnTo>
                  <a:lnTo>
                    <a:pt x="43306" y="4190"/>
                  </a:lnTo>
                  <a:lnTo>
                    <a:pt x="43306" y="0"/>
                  </a:lnTo>
                  <a:close/>
                </a:path>
                <a:path w="53340" h="73025">
                  <a:moveTo>
                    <a:pt x="43306" y="4190"/>
                  </a:moveTo>
                  <a:lnTo>
                    <a:pt x="37719" y="4190"/>
                  </a:lnTo>
                  <a:lnTo>
                    <a:pt x="37719" y="51866"/>
                  </a:lnTo>
                  <a:lnTo>
                    <a:pt x="43306" y="51866"/>
                  </a:lnTo>
                  <a:lnTo>
                    <a:pt x="43306" y="4190"/>
                  </a:lnTo>
                  <a:close/>
                </a:path>
              </a:pathLst>
            </a:custGeom>
            <a:solidFill>
              <a:srgbClr val="000000">
                <a:alpha val="50195"/>
              </a:srgbClr>
            </a:solidFill>
          </p:spPr>
          <p:txBody>
            <a:bodyPr wrap="square" lIns="0" tIns="0" rIns="0" bIns="0" rtlCol="0"/>
            <a:lstStyle/>
            <a:p>
              <a:endParaRPr/>
            </a:p>
          </p:txBody>
        </p:sp>
        <p:pic>
          <p:nvPicPr>
            <p:cNvPr id="6" name="object 6"/>
            <p:cNvPicPr/>
            <p:nvPr/>
          </p:nvPicPr>
          <p:blipFill>
            <a:blip r:embed="rId3">
              <a:extLst>
                <a:ext uri="{28A0092B-C50C-407E-A947-70E740481C1C}">
                  <a14:useLocalDpi xmlns:a14="http://schemas.microsoft.com/office/drawing/2010/main"/>
                </a:ext>
              </a:extLst>
            </a:blip>
            <a:stretch>
              <a:fillRect/>
            </a:stretch>
          </p:blipFill>
          <p:spPr>
            <a:xfrm>
              <a:off x="5881115" y="5669279"/>
              <a:ext cx="5955792" cy="1141463"/>
            </a:xfrm>
            <a:prstGeom prst="rect">
              <a:avLst/>
            </a:prstGeom>
          </p:spPr>
        </p:pic>
        <p:sp>
          <p:nvSpPr>
            <p:cNvPr id="7" name="object 7"/>
            <p:cNvSpPr/>
            <p:nvPr/>
          </p:nvSpPr>
          <p:spPr>
            <a:xfrm>
              <a:off x="5943599" y="5739383"/>
              <a:ext cx="338455" cy="954405"/>
            </a:xfrm>
            <a:custGeom>
              <a:rect l="l" t="t" r="r" b="b"/>
              <a:pathLst>
                <a:path w="338454" h="954403">
                  <a:moveTo>
                    <a:pt x="338327" y="0"/>
                  </a:moveTo>
                  <a:lnTo>
                    <a:pt x="0" y="0"/>
                  </a:lnTo>
                  <a:lnTo>
                    <a:pt x="0" y="954024"/>
                  </a:lnTo>
                  <a:lnTo>
                    <a:pt x="338327" y="954024"/>
                  </a:lnTo>
                  <a:lnTo>
                    <a:pt x="338327" y="0"/>
                  </a:lnTo>
                  <a:close/>
                </a:path>
              </a:pathLst>
            </a:custGeom>
            <a:solidFill>
              <a:srgbClr val="A000FF"/>
            </a:solidFill>
          </p:spPr>
          <p:txBody>
            <a:bodyPr wrap="square" lIns="0" tIns="0" rIns="0" bIns="0" rtlCol="0"/>
            <a:lstStyle/>
            <a:p>
              <a:endParaRPr/>
            </a:p>
          </p:txBody>
        </p:sp>
        <p:sp>
          <p:nvSpPr>
            <p:cNvPr id="8" name="object 8"/>
            <p:cNvSpPr/>
            <p:nvPr/>
          </p:nvSpPr>
          <p:spPr>
            <a:xfrm>
              <a:off x="5943599" y="5739383"/>
              <a:ext cx="338455" cy="954405"/>
            </a:xfrm>
            <a:custGeom>
              <a:rect l="l" t="t" r="r" b="b"/>
              <a:pathLst>
                <a:path w="338454" h="954403">
                  <a:moveTo>
                    <a:pt x="0" y="954024"/>
                  </a:moveTo>
                  <a:lnTo>
                    <a:pt x="338327" y="954024"/>
                  </a:lnTo>
                  <a:lnTo>
                    <a:pt x="338327" y="0"/>
                  </a:lnTo>
                  <a:lnTo>
                    <a:pt x="0" y="0"/>
                  </a:lnTo>
                  <a:lnTo>
                    <a:pt x="0" y="954024"/>
                  </a:lnTo>
                  <a:close/>
                </a:path>
              </a:pathLst>
            </a:custGeom>
            <a:ln w="12700">
              <a:solidFill>
                <a:srgbClr val="A000FF"/>
              </a:solidFill>
            </a:ln>
          </p:spPr>
          <p:txBody>
            <a:bodyPr wrap="square" lIns="0" tIns="0" rIns="0" bIns="0" rtlCol="0"/>
            <a:lstStyle/>
            <a:p>
              <a:endParaRPr/>
            </a:p>
          </p:txBody>
        </p:sp>
      </p:grpSp>
      <p:sp>
        <p:nvSpPr>
          <p:cNvPr id="15" name="object 15"/>
          <p:cNvSpPr txBox="1"/>
          <p:nvPr/>
        </p:nvSpPr>
        <p:spPr>
          <a:xfrm>
            <a:off x="6881494" y="974609"/>
            <a:ext cx="861060" cy="203200"/>
          </a:xfrm>
          <a:prstGeom prst="rect">
            <a:avLst/>
          </a:prstGeom>
        </p:spPr>
        <p:txBody>
          <a:bodyPr vert="horz" wrap="square" lIns="0" tIns="0" rIns="0" bIns="0" rtlCol="0">
            <a:spAutoFit/>
          </a:bodyPr>
          <a:lstStyle/>
          <a:p>
            <a:pPr>
              <a:lnSpc>
                <a:spcPts val="1595"/>
              </a:lnSpc>
            </a:pPr>
            <a:r>
              <a:rPr sz="1600" b="1" spc="35">
                <a:solidFill>
                  <a:srgbClr val="FFFFFF"/>
                </a:solidFill>
                <a:latin typeface="Arial"/>
                <a:cs typeface="Arial"/>
              </a:rPr>
              <a:t>Timeline</a:t>
            </a:r>
            <a:endParaRPr sz="1600">
              <a:latin typeface="Arial"/>
              <a:cs typeface="Arial"/>
            </a:endParaRPr>
          </a:p>
        </p:txBody>
      </p:sp>
      <p:sp>
        <p:nvSpPr>
          <p:cNvPr id="16" name="object 16"/>
          <p:cNvSpPr txBox="1"/>
          <p:nvPr/>
        </p:nvSpPr>
        <p:spPr>
          <a:xfrm>
            <a:off x="5996686" y="5821426"/>
            <a:ext cx="254000" cy="789940"/>
          </a:xfrm>
          <a:prstGeom prst="rect">
            <a:avLst/>
          </a:prstGeom>
        </p:spPr>
        <p:txBody>
          <a:bodyPr vert="vert270" wrap="square" lIns="0" tIns="0" rIns="0" bIns="0" rtlCol="0">
            <a:spAutoFit/>
          </a:bodyPr>
          <a:lstStyle/>
          <a:p>
            <a:pPr marL="12700">
              <a:lnSpc>
                <a:spcPts val="1930"/>
              </a:lnSpc>
            </a:pPr>
            <a:r>
              <a:rPr sz="1800" spc="5">
                <a:solidFill>
                  <a:srgbClr val="FFFFFF"/>
                </a:solidFill>
                <a:latin typeface="Arial"/>
                <a:cs typeface="Arial"/>
              </a:rPr>
              <a:t>Budg</a:t>
            </a:r>
            <a:r>
              <a:rPr sz="1800" spc="10">
                <a:solidFill>
                  <a:srgbClr val="FFFFFF"/>
                </a:solidFill>
                <a:latin typeface="Arial"/>
                <a:cs typeface="Arial"/>
              </a:rPr>
              <a:t>e</a:t>
            </a:r>
            <a:r>
              <a:rPr sz="1800">
                <a:solidFill>
                  <a:srgbClr val="FFFFFF"/>
                </a:solidFill>
                <a:latin typeface="Arial"/>
                <a:cs typeface="Arial"/>
              </a:rPr>
              <a:t>t</a:t>
            </a:r>
            <a:endParaRPr sz="1800">
              <a:latin typeface="Arial"/>
              <a:cs typeface="Arial"/>
            </a:endParaRPr>
          </a:p>
        </p:txBody>
      </p:sp>
      <p:grpSp>
        <p:nvGrpSpPr>
          <p:cNvPr id="17" name="object 17"/>
          <p:cNvGrpSpPr/>
          <p:nvPr/>
        </p:nvGrpSpPr>
        <p:grpSpPr>
          <a:xfrm>
            <a:off x="6275578" y="5733034"/>
            <a:ext cx="5485765" cy="967105"/>
            <a:chOff x="6275578" y="5733034"/>
            <a:chExt cx="5485765" cy="967105"/>
          </a:xfrm>
        </p:grpSpPr>
        <p:pic>
          <p:nvPicPr>
            <p:cNvPr id="18" name="object 18"/>
            <p:cNvPicPr/>
            <p:nvPr/>
          </p:nvPicPr>
          <p:blipFill>
            <a:blip r:embed="rId4"/>
            <a:stretch>
              <a:fillRect/>
            </a:stretch>
          </p:blipFill>
          <p:spPr>
            <a:xfrm>
              <a:off x="6281928" y="5739384"/>
              <a:ext cx="5472683" cy="954024"/>
            </a:xfrm>
            <a:prstGeom prst="rect">
              <a:avLst/>
            </a:prstGeom>
          </p:spPr>
        </p:pic>
        <p:sp>
          <p:nvSpPr>
            <p:cNvPr id="19" name="object 19"/>
            <p:cNvSpPr/>
            <p:nvPr/>
          </p:nvSpPr>
          <p:spPr>
            <a:xfrm>
              <a:off x="6281928" y="5739384"/>
              <a:ext cx="5473065" cy="954405"/>
            </a:xfrm>
            <a:custGeom>
              <a:rect l="l" t="t" r="r" b="b"/>
              <a:pathLst>
                <a:path w="5473065" h="954403">
                  <a:moveTo>
                    <a:pt x="0" y="954024"/>
                  </a:moveTo>
                  <a:lnTo>
                    <a:pt x="5472683" y="954024"/>
                  </a:lnTo>
                  <a:lnTo>
                    <a:pt x="5472683" y="0"/>
                  </a:lnTo>
                  <a:lnTo>
                    <a:pt x="0" y="0"/>
                  </a:lnTo>
                  <a:lnTo>
                    <a:pt x="0" y="954024"/>
                  </a:lnTo>
                  <a:close/>
                </a:path>
              </a:pathLst>
            </a:custGeom>
            <a:ln w="12699">
              <a:solidFill>
                <a:srgbClr val="A000FF"/>
              </a:solidFill>
            </a:ln>
          </p:spPr>
          <p:txBody>
            <a:bodyPr wrap="square" lIns="0" tIns="0" rIns="0" bIns="0" rtlCol="0"/>
            <a:lstStyle/>
            <a:p>
              <a:endParaRPr/>
            </a:p>
          </p:txBody>
        </p:sp>
      </p:grpSp>
      <p:sp>
        <p:nvSpPr>
          <p:cNvPr id="20" name="object 20"/>
          <p:cNvSpPr txBox="1"/>
          <p:nvPr/>
        </p:nvSpPr>
        <p:spPr>
          <a:xfrm>
            <a:off x="9335769" y="4941823"/>
            <a:ext cx="2369820" cy="705321"/>
          </a:xfrm>
          <a:prstGeom prst="rect">
            <a:avLst/>
          </a:prstGeom>
        </p:spPr>
        <p:txBody>
          <a:bodyPr vert="horz" wrap="square" lIns="0" tIns="12700" rIns="0" bIns="0" rtlCol="0">
            <a:spAutoFit/>
          </a:bodyPr>
          <a:lstStyle/>
          <a:p>
            <a:pPr marL="1270" algn="ctr">
              <a:lnSpc>
                <a:spcPct val="100000"/>
              </a:lnSpc>
              <a:spcBef>
                <a:spcPts val="100"/>
              </a:spcBef>
            </a:pPr>
            <a:r>
              <a:rPr sz="1200" b="1">
                <a:solidFill>
                  <a:schemeClr val="accent1"/>
                </a:solidFill>
                <a:latin typeface="+mj-lt"/>
                <a:ea typeface="+mj-ea"/>
                <a:cs typeface="+mj-cs"/>
              </a:rPr>
              <a:t>PHASE 1 BEGINS</a:t>
            </a:r>
          </a:p>
          <a:p>
            <a:pPr marL="12700" marR="5080" indent="-635" algn="ctr">
              <a:spcBef>
                <a:spcPts val="40"/>
              </a:spcBef>
            </a:pPr>
            <a:r>
              <a:rPr sz="1100"/>
              <a:t>Define next target areas, scaling  talent and technology capabilities  and gathering more POC data</a:t>
            </a:r>
          </a:p>
        </p:txBody>
      </p:sp>
      <p:sp>
        <p:nvSpPr>
          <p:cNvPr id="42" name="object 42"/>
          <p:cNvSpPr txBox="1"/>
          <p:nvPr/>
        </p:nvSpPr>
        <p:spPr>
          <a:xfrm>
            <a:off x="6749159" y="5898286"/>
            <a:ext cx="1917827" cy="566822"/>
          </a:xfrm>
          <a:prstGeom prst="rect">
            <a:avLst/>
          </a:prstGeom>
        </p:spPr>
        <p:txBody>
          <a:bodyPr vert="horz" wrap="square" lIns="0" tIns="12700" rIns="0" bIns="0" rtlCol="0">
            <a:spAutoFit/>
          </a:bodyPr>
          <a:lstStyle/>
          <a:p>
            <a:pPr marR="5080" algn="ctr">
              <a:lnSpc>
                <a:spcPct val="100000"/>
              </a:lnSpc>
              <a:spcBef>
                <a:spcPts val="100"/>
              </a:spcBef>
            </a:pPr>
            <a:r>
              <a:rPr b="1">
                <a:solidFill>
                  <a:schemeClr val="accent1"/>
                </a:solidFill>
                <a:latin typeface="+mj-lt"/>
                <a:ea typeface="+mj-ea"/>
                <a:cs typeface="+mj-cs"/>
              </a:rPr>
              <a:t>POC</a:t>
            </a:r>
            <a:endParaRPr sz="2800" b="1">
              <a:solidFill>
                <a:schemeClr val="accent1"/>
              </a:solidFill>
              <a:latin typeface="+mj-lt"/>
              <a:ea typeface="+mj-ea"/>
              <a:cs typeface="+mj-cs"/>
            </a:endParaRPr>
          </a:p>
          <a:p>
            <a:pPr marR="5080" algn="ctr">
              <a:lnSpc>
                <a:spcPct val="100000"/>
              </a:lnSpc>
            </a:pPr>
            <a:r>
              <a:rPr b="1">
                <a:latin typeface="+mj-lt"/>
                <a:ea typeface="+mj-ea"/>
                <a:cs typeface="+mj-cs"/>
              </a:rPr>
              <a:t>$300K – $400K</a:t>
            </a:r>
          </a:p>
        </p:txBody>
      </p:sp>
      <p:sp>
        <p:nvSpPr>
          <p:cNvPr id="43" name="object 43"/>
          <p:cNvSpPr txBox="1"/>
          <p:nvPr/>
        </p:nvSpPr>
        <p:spPr>
          <a:xfrm>
            <a:off x="9623299" y="5898286"/>
            <a:ext cx="1464801" cy="566822"/>
          </a:xfrm>
          <a:prstGeom prst="rect">
            <a:avLst/>
          </a:prstGeom>
        </p:spPr>
        <p:txBody>
          <a:bodyPr vert="horz" wrap="square" lIns="0" tIns="12700" rIns="0" bIns="0" rtlCol="0">
            <a:spAutoFit/>
          </a:bodyPr>
          <a:lstStyle/>
          <a:p>
            <a:pPr marR="4445" algn="ctr">
              <a:lnSpc>
                <a:spcPct val="100000"/>
              </a:lnSpc>
              <a:spcBef>
                <a:spcPts val="100"/>
              </a:spcBef>
            </a:pPr>
            <a:r>
              <a:rPr b="1">
                <a:solidFill>
                  <a:schemeClr val="accent1"/>
                </a:solidFill>
                <a:latin typeface="+mj-lt"/>
                <a:ea typeface="+mj-ea"/>
                <a:cs typeface="+mj-cs"/>
              </a:rPr>
              <a:t>Phase 1</a:t>
            </a:r>
          </a:p>
          <a:p>
            <a:pPr marR="5080" algn="ctr">
              <a:lnSpc>
                <a:spcPct val="100000"/>
              </a:lnSpc>
            </a:pPr>
            <a:r>
              <a:rPr b="1">
                <a:latin typeface="+mj-lt"/>
                <a:ea typeface="+mj-ea"/>
                <a:cs typeface="+mj-cs"/>
              </a:rPr>
              <a:t>$750,000+</a:t>
            </a:r>
          </a:p>
        </p:txBody>
      </p:sp>
      <p:pic>
        <p:nvPicPr>
          <p:cNvPr id="44" name="object 44"/>
          <p:cNvPicPr/>
          <p:nvPr/>
        </p:nvPicPr>
        <p:blipFill>
          <a:blip r:embed="rId5">
            <a:extLst>
              <a:ext uri="{28A0092B-C50C-407E-A947-70E740481C1C}">
                <a14:useLocalDpi xmlns:a14="http://schemas.microsoft.com/office/drawing/2010/main"/>
              </a:ext>
            </a:extLst>
          </a:blip>
          <a:stretch>
            <a:fillRect/>
          </a:stretch>
        </p:blipFill>
        <p:spPr>
          <a:xfrm>
            <a:off x="5925311" y="934211"/>
            <a:ext cx="5568695" cy="1120139"/>
          </a:xfrm>
          <a:prstGeom prst="rect">
            <a:avLst/>
          </a:prstGeom>
        </p:spPr>
      </p:pic>
      <p:sp>
        <p:nvSpPr>
          <p:cNvPr id="45" name="object 45"/>
          <p:cNvSpPr txBox="1"/>
          <p:nvPr/>
        </p:nvSpPr>
        <p:spPr>
          <a:xfrm>
            <a:off x="8341614" y="666750"/>
            <a:ext cx="1673860" cy="1815241"/>
          </a:xfrm>
          <a:prstGeom prst="rect">
            <a:avLst/>
          </a:prstGeom>
          <a:ln w="38100">
            <a:solidFill>
              <a:srgbClr val="A000FF"/>
            </a:solidFill>
          </a:ln>
        </p:spPr>
        <p:txBody>
          <a:bodyPr vert="horz" wrap="square" lIns="0" tIns="90805" rIns="0" bIns="0" rtlCol="0">
            <a:spAutoFit/>
          </a:bodyPr>
          <a:lstStyle/>
          <a:p>
            <a:pPr algn="ctr">
              <a:lnSpc>
                <a:spcPct val="100000"/>
              </a:lnSpc>
              <a:spcBef>
                <a:spcPts val="715"/>
              </a:spcBef>
            </a:pPr>
            <a:r>
              <a:rPr sz="1200" b="1">
                <a:solidFill>
                  <a:schemeClr val="accent1"/>
                </a:solidFill>
                <a:latin typeface="+mj-lt"/>
                <a:ea typeface="+mj-ea"/>
                <a:cs typeface="+mj-cs"/>
              </a:rPr>
              <a:t>POC TARGET AREA</a:t>
            </a:r>
          </a:p>
          <a:p>
            <a:pPr>
              <a:lnSpc>
                <a:spcPct val="100000"/>
              </a:lnSpc>
            </a:pPr>
            <a:endParaRPr sz="1200">
              <a:latin typeface="Tahoma"/>
              <a:cs typeface="Tahoma"/>
            </a:endParaRPr>
          </a:p>
          <a:p>
            <a:pPr>
              <a:lnSpc>
                <a:spcPct val="100000"/>
              </a:lnSpc>
            </a:pPr>
            <a:endParaRPr sz="1200">
              <a:latin typeface="Tahoma"/>
              <a:cs typeface="Tahoma"/>
            </a:endParaRPr>
          </a:p>
          <a:p>
            <a:pPr>
              <a:lnSpc>
                <a:spcPct val="100000"/>
              </a:lnSpc>
            </a:pPr>
            <a:endParaRPr sz="1200">
              <a:latin typeface="Tahoma"/>
              <a:cs typeface="Tahoma"/>
            </a:endParaRPr>
          </a:p>
          <a:p>
            <a:pPr>
              <a:lnSpc>
                <a:spcPct val="100000"/>
              </a:lnSpc>
            </a:pPr>
            <a:endParaRPr sz="1200">
              <a:latin typeface="Tahoma"/>
              <a:cs typeface="Tahoma"/>
            </a:endParaRPr>
          </a:p>
          <a:p>
            <a:pPr>
              <a:lnSpc>
                <a:spcPct val="100000"/>
              </a:lnSpc>
            </a:pPr>
            <a:endParaRPr sz="1200">
              <a:latin typeface="Tahoma"/>
              <a:cs typeface="Tahoma"/>
            </a:endParaRPr>
          </a:p>
          <a:p>
            <a:pPr>
              <a:lnSpc>
                <a:spcPct val="100000"/>
              </a:lnSpc>
              <a:spcBef>
                <a:spcPts val="25"/>
              </a:spcBef>
            </a:pPr>
            <a:endParaRPr sz="1000" b="1">
              <a:latin typeface="+mj-lt"/>
              <a:ea typeface="+mj-ea"/>
              <a:cs typeface="+mj-cs"/>
            </a:endParaRPr>
          </a:p>
          <a:p>
            <a:pPr marL="2540" algn="ctr">
              <a:lnSpc>
                <a:spcPct val="100000"/>
              </a:lnSpc>
              <a:spcBef>
                <a:spcPts val="5"/>
              </a:spcBef>
            </a:pPr>
            <a:r>
              <a:rPr lang="en-US" sz="1000" b="1">
                <a:latin typeface="+mj-lt"/>
                <a:ea typeface="+mj-ea"/>
                <a:cs typeface="+mj-cs"/>
              </a:rPr>
              <a:t>PROCESSING</a:t>
            </a:r>
            <a:r>
              <a:rPr sz="1000" b="1">
                <a:latin typeface="+mj-lt"/>
                <a:ea typeface="+mj-ea"/>
                <a:cs typeface="+mj-cs"/>
              </a:rPr>
              <a:t> &amp;</a:t>
            </a:r>
          </a:p>
          <a:p>
            <a:pPr marL="3175" algn="ctr">
              <a:lnSpc>
                <a:spcPct val="100000"/>
              </a:lnSpc>
            </a:pPr>
            <a:r>
              <a:rPr lang="en-US" sz="1000" b="1">
                <a:latin typeface="+mj-lt"/>
                <a:ea typeface="+mj-ea"/>
                <a:cs typeface="+mj-cs"/>
              </a:rPr>
              <a:t>TRANSMISSION</a:t>
            </a:r>
          </a:p>
          <a:p>
            <a:pPr marL="3175" algn="ctr">
              <a:lnSpc>
                <a:spcPct val="100000"/>
              </a:lnSpc>
            </a:pPr>
            <a:endParaRPr sz="1000" b="1">
              <a:latin typeface="+mj-lt"/>
              <a:ea typeface="+mj-ea"/>
              <a:cs typeface="+mj-cs"/>
            </a:endParaRPr>
          </a:p>
        </p:txBody>
      </p:sp>
      <p:sp>
        <p:nvSpPr>
          <p:cNvPr id="46" name="object 46"/>
          <p:cNvSpPr txBox="1"/>
          <p:nvPr/>
        </p:nvSpPr>
        <p:spPr>
          <a:xfrm>
            <a:off x="5872331" y="1972321"/>
            <a:ext cx="1477419" cy="388376"/>
          </a:xfrm>
          <a:prstGeom prst="rect">
            <a:avLst/>
          </a:prstGeom>
        </p:spPr>
        <p:txBody>
          <a:bodyPr vert="horz" wrap="square" lIns="0" tIns="12700" rIns="0" bIns="0" rtlCol="0">
            <a:spAutoFit/>
          </a:bodyPr>
          <a:lstStyle/>
          <a:p>
            <a:pPr marL="38100" marR="30480" indent="138430">
              <a:lnSpc>
                <a:spcPct val="125000"/>
              </a:lnSpc>
              <a:spcBef>
                <a:spcPts val="100"/>
              </a:spcBef>
            </a:pPr>
            <a:r>
              <a:rPr lang="en-US" sz="1000" b="1">
                <a:latin typeface="+mj-lt"/>
                <a:ea typeface="+mj-ea"/>
                <a:cs typeface="+mj-cs"/>
              </a:rPr>
              <a:t>         DATA </a:t>
            </a:r>
          </a:p>
          <a:p>
            <a:pPr marL="38100" marR="30480" indent="138430">
              <a:lnSpc>
                <a:spcPct val="125000"/>
              </a:lnSpc>
              <a:spcBef>
                <a:spcPts val="100"/>
              </a:spcBef>
            </a:pPr>
            <a:r>
              <a:rPr lang="en-US" sz="1000" b="1">
                <a:latin typeface="+mj-lt"/>
                <a:ea typeface="+mj-ea"/>
                <a:cs typeface="+mj-cs"/>
              </a:rPr>
              <a:t>GENERATION</a:t>
            </a:r>
            <a:r>
              <a:rPr sz="1000" b="1">
                <a:latin typeface="+mj-lt"/>
                <a:ea typeface="+mj-ea"/>
                <a:cs typeface="+mj-cs"/>
              </a:rPr>
              <a:t>  </a:t>
            </a:r>
            <a:r>
              <a:rPr lang="en-US" sz="1000" b="1">
                <a:latin typeface="+mj-lt"/>
                <a:ea typeface="+mj-ea"/>
                <a:cs typeface="+mj-cs"/>
              </a:rPr>
              <a:t>  </a:t>
            </a:r>
            <a:endParaRPr sz="1000" b="1">
              <a:latin typeface="+mj-lt"/>
              <a:ea typeface="+mj-ea"/>
              <a:cs typeface="+mj-cs"/>
            </a:endParaRPr>
          </a:p>
        </p:txBody>
      </p:sp>
      <p:sp>
        <p:nvSpPr>
          <p:cNvPr id="47" name="object 47"/>
          <p:cNvSpPr txBox="1"/>
          <p:nvPr/>
        </p:nvSpPr>
        <p:spPr>
          <a:xfrm>
            <a:off x="7064247" y="2051075"/>
            <a:ext cx="1220853" cy="185692"/>
          </a:xfrm>
          <a:prstGeom prst="rect">
            <a:avLst/>
          </a:prstGeom>
        </p:spPr>
        <p:txBody>
          <a:bodyPr vert="horz" wrap="square" lIns="0" tIns="12700" rIns="0" bIns="0" rtlCol="0">
            <a:spAutoFit/>
          </a:bodyPr>
          <a:lstStyle/>
          <a:p>
            <a:pPr marL="12700" marR="5080" indent="104775">
              <a:lnSpc>
                <a:spcPct val="125000"/>
              </a:lnSpc>
              <a:spcBef>
                <a:spcPts val="100"/>
              </a:spcBef>
            </a:pPr>
            <a:r>
              <a:rPr lang="en-US" sz="1000" b="1">
                <a:latin typeface="+mj-lt"/>
                <a:ea typeface="+mj-ea"/>
                <a:cs typeface="+mj-cs"/>
              </a:rPr>
              <a:t>DATA STORAGE</a:t>
            </a:r>
            <a:endParaRPr sz="1000" b="1">
              <a:latin typeface="+mj-lt"/>
              <a:ea typeface="+mj-ea"/>
              <a:cs typeface="+mj-cs"/>
            </a:endParaRPr>
          </a:p>
        </p:txBody>
      </p:sp>
      <p:sp>
        <p:nvSpPr>
          <p:cNvPr id="48" name="object 48"/>
          <p:cNvSpPr txBox="1"/>
          <p:nvPr/>
        </p:nvSpPr>
        <p:spPr>
          <a:xfrm>
            <a:off x="10184382" y="2051075"/>
            <a:ext cx="1156165" cy="166712"/>
          </a:xfrm>
          <a:prstGeom prst="rect">
            <a:avLst/>
          </a:prstGeom>
        </p:spPr>
        <p:txBody>
          <a:bodyPr vert="horz" wrap="square" lIns="0" tIns="12700" rIns="0" bIns="0" rtlCol="0">
            <a:spAutoFit/>
          </a:bodyPr>
          <a:lstStyle/>
          <a:p>
            <a:pPr marL="12700" marR="5080" indent="66675">
              <a:spcBef>
                <a:spcPts val="100"/>
              </a:spcBef>
            </a:pPr>
            <a:r>
              <a:rPr sz="1000" b="1">
                <a:latin typeface="+mj-lt"/>
                <a:ea typeface="+mj-ea"/>
                <a:cs typeface="+mj-cs"/>
              </a:rPr>
              <a:t>DISTRIBUTION  </a:t>
            </a:r>
          </a:p>
        </p:txBody>
      </p:sp>
      <p:grpSp>
        <p:nvGrpSpPr>
          <p:cNvPr id="49" name="object 49"/>
          <p:cNvGrpSpPr/>
          <p:nvPr/>
        </p:nvGrpSpPr>
        <p:grpSpPr>
          <a:xfrm>
            <a:off x="8458961" y="2559557"/>
            <a:ext cx="1229360" cy="649605"/>
            <a:chOff x="8458961" y="2559557"/>
            <a:chExt cx="1229360" cy="649605"/>
          </a:xfrm>
        </p:grpSpPr>
        <p:sp>
          <p:nvSpPr>
            <p:cNvPr id="50" name="object 50"/>
            <p:cNvSpPr/>
            <p:nvPr/>
          </p:nvSpPr>
          <p:spPr>
            <a:xfrm>
              <a:off x="8458961" y="2559557"/>
              <a:ext cx="734695" cy="649605"/>
            </a:xfrm>
            <a:custGeom>
              <a:rect l="l" t="t" r="r" b="b"/>
              <a:pathLst>
                <a:path w="734695" h="649605">
                  <a:moveTo>
                    <a:pt x="85725" y="563499"/>
                  </a:moveTo>
                  <a:lnTo>
                    <a:pt x="0" y="606297"/>
                  </a:lnTo>
                  <a:lnTo>
                    <a:pt x="85725" y="649224"/>
                  </a:lnTo>
                  <a:lnTo>
                    <a:pt x="85725" y="620649"/>
                  </a:lnTo>
                  <a:lnTo>
                    <a:pt x="71501" y="620649"/>
                  </a:lnTo>
                  <a:lnTo>
                    <a:pt x="71501" y="592074"/>
                  </a:lnTo>
                  <a:lnTo>
                    <a:pt x="85725" y="592074"/>
                  </a:lnTo>
                  <a:lnTo>
                    <a:pt x="85725" y="563499"/>
                  </a:lnTo>
                  <a:close/>
                </a:path>
                <a:path w="734695" h="649605">
                  <a:moveTo>
                    <a:pt x="85725" y="592074"/>
                  </a:moveTo>
                  <a:lnTo>
                    <a:pt x="71501" y="592074"/>
                  </a:lnTo>
                  <a:lnTo>
                    <a:pt x="71501" y="620649"/>
                  </a:lnTo>
                  <a:lnTo>
                    <a:pt x="85725" y="620649"/>
                  </a:lnTo>
                  <a:lnTo>
                    <a:pt x="85725" y="592074"/>
                  </a:lnTo>
                  <a:close/>
                </a:path>
                <a:path w="734695" h="649605">
                  <a:moveTo>
                    <a:pt x="705739" y="592074"/>
                  </a:moveTo>
                  <a:lnTo>
                    <a:pt x="85725" y="592074"/>
                  </a:lnTo>
                  <a:lnTo>
                    <a:pt x="85725" y="620649"/>
                  </a:lnTo>
                  <a:lnTo>
                    <a:pt x="734314" y="620649"/>
                  </a:lnTo>
                  <a:lnTo>
                    <a:pt x="734314" y="606297"/>
                  </a:lnTo>
                  <a:lnTo>
                    <a:pt x="705739" y="606297"/>
                  </a:lnTo>
                  <a:lnTo>
                    <a:pt x="705739" y="592074"/>
                  </a:lnTo>
                  <a:close/>
                </a:path>
                <a:path w="734695" h="649605">
                  <a:moveTo>
                    <a:pt x="734314" y="0"/>
                  </a:moveTo>
                  <a:lnTo>
                    <a:pt x="705739" y="0"/>
                  </a:lnTo>
                  <a:lnTo>
                    <a:pt x="705739" y="606297"/>
                  </a:lnTo>
                  <a:lnTo>
                    <a:pt x="720090" y="592074"/>
                  </a:lnTo>
                  <a:lnTo>
                    <a:pt x="734314" y="592074"/>
                  </a:lnTo>
                  <a:lnTo>
                    <a:pt x="734314" y="0"/>
                  </a:lnTo>
                  <a:close/>
                </a:path>
                <a:path w="734695" h="649605">
                  <a:moveTo>
                    <a:pt x="734314" y="592074"/>
                  </a:moveTo>
                  <a:lnTo>
                    <a:pt x="720090" y="592074"/>
                  </a:lnTo>
                  <a:lnTo>
                    <a:pt x="705739" y="606297"/>
                  </a:lnTo>
                  <a:lnTo>
                    <a:pt x="734314" y="606297"/>
                  </a:lnTo>
                  <a:lnTo>
                    <a:pt x="734314" y="592074"/>
                  </a:lnTo>
                  <a:close/>
                </a:path>
              </a:pathLst>
            </a:custGeom>
            <a:solidFill>
              <a:srgbClr val="A000FF"/>
            </a:solidFill>
          </p:spPr>
          <p:txBody>
            <a:bodyPr wrap="square" lIns="0" tIns="0" rIns="0" bIns="0" rtlCol="0"/>
            <a:lstStyle/>
            <a:p>
              <a:endParaRPr/>
            </a:p>
          </p:txBody>
        </p:sp>
        <p:sp>
          <p:nvSpPr>
            <p:cNvPr id="51" name="object 51"/>
            <p:cNvSpPr/>
            <p:nvPr/>
          </p:nvSpPr>
          <p:spPr>
            <a:xfrm>
              <a:off x="8666987" y="2578607"/>
              <a:ext cx="1021080" cy="241300"/>
            </a:xfrm>
            <a:custGeom>
              <a:rect l="l" t="t" r="r" b="b"/>
              <a:pathLst>
                <a:path w="1021078" h="241300">
                  <a:moveTo>
                    <a:pt x="1021079" y="0"/>
                  </a:moveTo>
                  <a:lnTo>
                    <a:pt x="0" y="0"/>
                  </a:lnTo>
                  <a:lnTo>
                    <a:pt x="0" y="240791"/>
                  </a:lnTo>
                  <a:lnTo>
                    <a:pt x="1021079" y="240791"/>
                  </a:lnTo>
                  <a:lnTo>
                    <a:pt x="1021079" y="0"/>
                  </a:lnTo>
                  <a:close/>
                </a:path>
              </a:pathLst>
            </a:custGeom>
            <a:solidFill>
              <a:srgbClr val="FFFFFF"/>
            </a:solidFill>
          </p:spPr>
          <p:txBody>
            <a:bodyPr wrap="square" lIns="0" tIns="0" rIns="0" bIns="0" rtlCol="0"/>
            <a:lstStyle/>
            <a:p>
              <a:endParaRPr/>
            </a:p>
          </p:txBody>
        </p:sp>
      </p:grpSp>
      <p:sp>
        <p:nvSpPr>
          <p:cNvPr id="52" name="object 52"/>
          <p:cNvSpPr txBox="1"/>
          <p:nvPr/>
        </p:nvSpPr>
        <p:spPr>
          <a:xfrm>
            <a:off x="5881115" y="2687018"/>
            <a:ext cx="2548255" cy="874598"/>
          </a:xfrm>
          <a:prstGeom prst="rect">
            <a:avLst/>
          </a:prstGeom>
        </p:spPr>
        <p:txBody>
          <a:bodyPr vert="horz" wrap="square" lIns="0" tIns="12700" rIns="0" bIns="0" rtlCol="0">
            <a:spAutoFit/>
          </a:bodyPr>
          <a:lstStyle/>
          <a:p>
            <a:pPr marL="1270" algn="ctr">
              <a:lnSpc>
                <a:spcPct val="100000"/>
              </a:lnSpc>
              <a:spcBef>
                <a:spcPts val="100"/>
              </a:spcBef>
            </a:pPr>
            <a:r>
              <a:rPr sz="1200" b="1">
                <a:solidFill>
                  <a:schemeClr val="accent1"/>
                </a:solidFill>
                <a:latin typeface="+mj-lt"/>
                <a:ea typeface="+mj-ea"/>
                <a:cs typeface="+mj-cs"/>
              </a:rPr>
              <a:t>STEP 1 (Month 1-</a:t>
            </a:r>
            <a:r>
              <a:rPr lang="en-US" sz="1200" b="1">
                <a:solidFill>
                  <a:schemeClr val="accent1"/>
                </a:solidFill>
                <a:latin typeface="+mj-lt"/>
                <a:ea typeface="+mj-ea"/>
                <a:cs typeface="+mj-cs"/>
              </a:rPr>
              <a:t>2</a:t>
            </a:r>
            <a:r>
              <a:rPr sz="1200" b="1">
                <a:solidFill>
                  <a:schemeClr val="accent1"/>
                </a:solidFill>
                <a:latin typeface="+mj-lt"/>
                <a:ea typeface="+mj-ea"/>
                <a:cs typeface="+mj-cs"/>
              </a:rPr>
              <a:t>)</a:t>
            </a:r>
          </a:p>
          <a:p>
            <a:pPr marL="12700" marR="5080" indent="-635" algn="ctr">
              <a:lnSpc>
                <a:spcPct val="100000"/>
              </a:lnSpc>
              <a:spcBef>
                <a:spcPts val="40"/>
              </a:spcBef>
            </a:pPr>
            <a:r>
              <a:rPr sz="1100"/>
              <a:t>Engage stakeholders to define key </a:t>
            </a:r>
            <a:r>
              <a:rPr lang="en-US" sz="1100"/>
              <a:t>framework </a:t>
            </a:r>
            <a:r>
              <a:rPr sz="1100"/>
              <a:t>and storage assets, evaluate current capabilities</a:t>
            </a:r>
            <a:r>
              <a:rPr lang="en-US" sz="1100"/>
              <a:t> and  data availability</a:t>
            </a:r>
            <a:endParaRPr sz="1100"/>
          </a:p>
        </p:txBody>
      </p:sp>
      <p:sp>
        <p:nvSpPr>
          <p:cNvPr id="53" name="object 53"/>
          <p:cNvSpPr/>
          <p:nvPr/>
        </p:nvSpPr>
        <p:spPr>
          <a:xfrm>
            <a:off x="7100823" y="3642867"/>
            <a:ext cx="2187575" cy="259715"/>
          </a:xfrm>
          <a:custGeom>
            <a:rect l="l" t="t" r="r" b="b"/>
            <a:pathLst>
              <a:path w="2187575" h="259714">
                <a:moveTo>
                  <a:pt x="2101850" y="173989"/>
                </a:moveTo>
                <a:lnTo>
                  <a:pt x="2101850" y="259714"/>
                </a:lnTo>
                <a:lnTo>
                  <a:pt x="2159084" y="231139"/>
                </a:lnTo>
                <a:lnTo>
                  <a:pt x="2116201" y="231139"/>
                </a:lnTo>
                <a:lnTo>
                  <a:pt x="2116201" y="202564"/>
                </a:lnTo>
                <a:lnTo>
                  <a:pt x="2158915" y="202564"/>
                </a:lnTo>
                <a:lnTo>
                  <a:pt x="2101850" y="173989"/>
                </a:lnTo>
                <a:close/>
              </a:path>
              <a:path w="2187575" h="259714">
                <a:moveTo>
                  <a:pt x="28575" y="82828"/>
                </a:moveTo>
                <a:lnTo>
                  <a:pt x="28575" y="231139"/>
                </a:lnTo>
                <a:lnTo>
                  <a:pt x="2101850" y="231139"/>
                </a:lnTo>
                <a:lnTo>
                  <a:pt x="2101850" y="216915"/>
                </a:lnTo>
                <a:lnTo>
                  <a:pt x="57150" y="216915"/>
                </a:lnTo>
                <a:lnTo>
                  <a:pt x="42925" y="202564"/>
                </a:lnTo>
                <a:lnTo>
                  <a:pt x="57150" y="202564"/>
                </a:lnTo>
                <a:lnTo>
                  <a:pt x="57150" y="85724"/>
                </a:lnTo>
                <a:lnTo>
                  <a:pt x="42925" y="85724"/>
                </a:lnTo>
                <a:lnTo>
                  <a:pt x="28575" y="82828"/>
                </a:lnTo>
                <a:close/>
              </a:path>
              <a:path w="2187575" h="259714">
                <a:moveTo>
                  <a:pt x="2158915" y="202564"/>
                </a:moveTo>
                <a:lnTo>
                  <a:pt x="2116201" y="202564"/>
                </a:lnTo>
                <a:lnTo>
                  <a:pt x="2116201" y="231139"/>
                </a:lnTo>
                <a:lnTo>
                  <a:pt x="2159084" y="231139"/>
                </a:lnTo>
                <a:lnTo>
                  <a:pt x="2187575" y="216915"/>
                </a:lnTo>
                <a:lnTo>
                  <a:pt x="2158915" y="202564"/>
                </a:lnTo>
                <a:close/>
              </a:path>
              <a:path w="2187575" h="259714">
                <a:moveTo>
                  <a:pt x="57150" y="202564"/>
                </a:moveTo>
                <a:lnTo>
                  <a:pt x="42925" y="202564"/>
                </a:lnTo>
                <a:lnTo>
                  <a:pt x="57150" y="216915"/>
                </a:lnTo>
                <a:lnTo>
                  <a:pt x="57150" y="202564"/>
                </a:lnTo>
                <a:close/>
              </a:path>
              <a:path w="2187575" h="259714">
                <a:moveTo>
                  <a:pt x="2101850" y="202564"/>
                </a:moveTo>
                <a:lnTo>
                  <a:pt x="57150" y="202564"/>
                </a:lnTo>
                <a:lnTo>
                  <a:pt x="57150" y="216915"/>
                </a:lnTo>
                <a:lnTo>
                  <a:pt x="2101850" y="216915"/>
                </a:lnTo>
                <a:lnTo>
                  <a:pt x="2101850" y="202564"/>
                </a:lnTo>
                <a:close/>
              </a:path>
              <a:path w="2187575" h="259714">
                <a:moveTo>
                  <a:pt x="57150" y="42925"/>
                </a:moveTo>
                <a:lnTo>
                  <a:pt x="28575" y="42925"/>
                </a:lnTo>
                <a:lnTo>
                  <a:pt x="28685" y="82850"/>
                </a:lnTo>
                <a:lnTo>
                  <a:pt x="42925" y="85724"/>
                </a:lnTo>
                <a:lnTo>
                  <a:pt x="57150" y="82850"/>
                </a:lnTo>
                <a:lnTo>
                  <a:pt x="57150" y="42925"/>
                </a:lnTo>
                <a:close/>
              </a:path>
              <a:path w="2187575" h="259714">
                <a:moveTo>
                  <a:pt x="57150" y="82850"/>
                </a:moveTo>
                <a:lnTo>
                  <a:pt x="42925" y="85724"/>
                </a:lnTo>
                <a:lnTo>
                  <a:pt x="57150" y="85724"/>
                </a:lnTo>
                <a:lnTo>
                  <a:pt x="57150" y="82850"/>
                </a:lnTo>
                <a:close/>
              </a:path>
              <a:path w="2187575" h="259714">
                <a:moveTo>
                  <a:pt x="85725" y="42925"/>
                </a:moveTo>
                <a:lnTo>
                  <a:pt x="57150" y="42925"/>
                </a:lnTo>
                <a:lnTo>
                  <a:pt x="57150" y="82850"/>
                </a:lnTo>
                <a:lnTo>
                  <a:pt x="59578" y="82359"/>
                </a:lnTo>
                <a:lnTo>
                  <a:pt x="73183" y="73183"/>
                </a:lnTo>
                <a:lnTo>
                  <a:pt x="82359" y="59578"/>
                </a:lnTo>
                <a:lnTo>
                  <a:pt x="85725" y="42925"/>
                </a:lnTo>
                <a:close/>
              </a:path>
              <a:path w="2187575" h="259714">
                <a:moveTo>
                  <a:pt x="42925" y="0"/>
                </a:moveTo>
                <a:lnTo>
                  <a:pt x="26253" y="3385"/>
                </a:lnTo>
                <a:lnTo>
                  <a:pt x="12604" y="12604"/>
                </a:lnTo>
                <a:lnTo>
                  <a:pt x="3385" y="26253"/>
                </a:lnTo>
                <a:lnTo>
                  <a:pt x="0" y="42925"/>
                </a:lnTo>
                <a:lnTo>
                  <a:pt x="3385" y="59578"/>
                </a:lnTo>
                <a:lnTo>
                  <a:pt x="12604" y="73183"/>
                </a:lnTo>
                <a:lnTo>
                  <a:pt x="26253" y="82359"/>
                </a:lnTo>
                <a:lnTo>
                  <a:pt x="28575" y="82828"/>
                </a:lnTo>
                <a:lnTo>
                  <a:pt x="28575" y="42925"/>
                </a:lnTo>
                <a:lnTo>
                  <a:pt x="85725" y="42925"/>
                </a:lnTo>
                <a:lnTo>
                  <a:pt x="82359" y="26253"/>
                </a:lnTo>
                <a:lnTo>
                  <a:pt x="73183" y="12604"/>
                </a:lnTo>
                <a:lnTo>
                  <a:pt x="59578" y="3385"/>
                </a:lnTo>
                <a:lnTo>
                  <a:pt x="42925" y="0"/>
                </a:lnTo>
                <a:close/>
              </a:path>
            </a:pathLst>
          </a:custGeom>
          <a:solidFill>
            <a:srgbClr val="A000FF"/>
          </a:solidFill>
        </p:spPr>
        <p:txBody>
          <a:bodyPr wrap="square" lIns="0" tIns="0" rIns="0" bIns="0" rtlCol="0"/>
          <a:lstStyle/>
          <a:p>
            <a:endParaRPr/>
          </a:p>
        </p:txBody>
      </p:sp>
      <p:sp>
        <p:nvSpPr>
          <p:cNvPr id="54" name="object 54"/>
          <p:cNvSpPr txBox="1"/>
          <p:nvPr/>
        </p:nvSpPr>
        <p:spPr>
          <a:xfrm>
            <a:off x="9288017" y="3345865"/>
            <a:ext cx="2712594" cy="705321"/>
          </a:xfrm>
          <a:prstGeom prst="rect">
            <a:avLst/>
          </a:prstGeom>
        </p:spPr>
        <p:txBody>
          <a:bodyPr vert="horz" wrap="square" lIns="0" tIns="12700" rIns="0" bIns="0" rtlCol="0">
            <a:spAutoFit/>
          </a:bodyPr>
          <a:lstStyle/>
          <a:p>
            <a:pPr marL="1270" algn="ctr">
              <a:spcBef>
                <a:spcPts val="100"/>
              </a:spcBef>
            </a:pPr>
            <a:r>
              <a:rPr sz="1200" b="1">
                <a:solidFill>
                  <a:schemeClr val="accent1"/>
                </a:solidFill>
                <a:latin typeface="+mj-lt"/>
                <a:ea typeface="+mj-ea"/>
                <a:cs typeface="+mj-cs"/>
              </a:rPr>
              <a:t>STEP 2 (Month 3-</a:t>
            </a:r>
            <a:r>
              <a:rPr lang="en-US" sz="1200" b="1">
                <a:solidFill>
                  <a:schemeClr val="accent1"/>
                </a:solidFill>
                <a:latin typeface="+mj-lt"/>
                <a:ea typeface="+mj-ea"/>
                <a:cs typeface="+mj-cs"/>
              </a:rPr>
              <a:t>8</a:t>
            </a:r>
            <a:r>
              <a:rPr sz="1200" b="1">
                <a:solidFill>
                  <a:schemeClr val="accent1"/>
                </a:solidFill>
                <a:latin typeface="+mj-lt"/>
                <a:ea typeface="+mj-ea"/>
                <a:cs typeface="+mj-cs"/>
              </a:rPr>
              <a:t>)</a:t>
            </a:r>
          </a:p>
          <a:p>
            <a:pPr marL="12700" marR="5080" indent="-635" algn="ctr">
              <a:spcBef>
                <a:spcPts val="40"/>
              </a:spcBef>
            </a:pPr>
            <a:r>
              <a:rPr sz="1100"/>
              <a:t>Define </a:t>
            </a:r>
            <a:r>
              <a:rPr lang="en-US" sz="1100"/>
              <a:t>APP &amp; Analytics</a:t>
            </a:r>
            <a:r>
              <a:rPr sz="1100"/>
              <a:t> ecosystem across existing infrastructure and establish POC KPIs</a:t>
            </a:r>
          </a:p>
        </p:txBody>
      </p:sp>
      <p:sp>
        <p:nvSpPr>
          <p:cNvPr id="55" name="object 55"/>
          <p:cNvSpPr/>
          <p:nvPr/>
        </p:nvSpPr>
        <p:spPr>
          <a:xfrm>
            <a:off x="8166354" y="4255515"/>
            <a:ext cx="2397760" cy="372745"/>
          </a:xfrm>
          <a:custGeom>
            <a:rect l="l" t="t" r="r" b="b"/>
            <a:pathLst>
              <a:path w="2397759" h="372745">
                <a:moveTo>
                  <a:pt x="85725" y="287019"/>
                </a:moveTo>
                <a:lnTo>
                  <a:pt x="0" y="329818"/>
                </a:lnTo>
                <a:lnTo>
                  <a:pt x="85725" y="372744"/>
                </a:lnTo>
                <a:lnTo>
                  <a:pt x="85725" y="344169"/>
                </a:lnTo>
                <a:lnTo>
                  <a:pt x="71374" y="344169"/>
                </a:lnTo>
                <a:lnTo>
                  <a:pt x="71374" y="315594"/>
                </a:lnTo>
                <a:lnTo>
                  <a:pt x="85725" y="315594"/>
                </a:lnTo>
                <a:lnTo>
                  <a:pt x="85725" y="287019"/>
                </a:lnTo>
                <a:close/>
              </a:path>
              <a:path w="2397759" h="372745">
                <a:moveTo>
                  <a:pt x="85725" y="315594"/>
                </a:moveTo>
                <a:lnTo>
                  <a:pt x="71374" y="315594"/>
                </a:lnTo>
                <a:lnTo>
                  <a:pt x="71374" y="344169"/>
                </a:lnTo>
                <a:lnTo>
                  <a:pt x="85725" y="344169"/>
                </a:lnTo>
                <a:lnTo>
                  <a:pt x="85725" y="315594"/>
                </a:lnTo>
                <a:close/>
              </a:path>
              <a:path w="2397759" h="372745">
                <a:moveTo>
                  <a:pt x="2340482" y="315594"/>
                </a:moveTo>
                <a:lnTo>
                  <a:pt x="85725" y="315594"/>
                </a:lnTo>
                <a:lnTo>
                  <a:pt x="85725" y="344169"/>
                </a:lnTo>
                <a:lnTo>
                  <a:pt x="2369057" y="344169"/>
                </a:lnTo>
                <a:lnTo>
                  <a:pt x="2369057" y="329818"/>
                </a:lnTo>
                <a:lnTo>
                  <a:pt x="2340482" y="329818"/>
                </a:lnTo>
                <a:lnTo>
                  <a:pt x="2340482" y="315594"/>
                </a:lnTo>
                <a:close/>
              </a:path>
              <a:path w="2397759" h="372745">
                <a:moveTo>
                  <a:pt x="2340482" y="82850"/>
                </a:moveTo>
                <a:lnTo>
                  <a:pt x="2340482" y="329818"/>
                </a:lnTo>
                <a:lnTo>
                  <a:pt x="2354706" y="315594"/>
                </a:lnTo>
                <a:lnTo>
                  <a:pt x="2369057" y="315594"/>
                </a:lnTo>
                <a:lnTo>
                  <a:pt x="2369057" y="85724"/>
                </a:lnTo>
                <a:lnTo>
                  <a:pt x="2354706" y="85724"/>
                </a:lnTo>
                <a:lnTo>
                  <a:pt x="2340482" y="82850"/>
                </a:lnTo>
                <a:close/>
              </a:path>
              <a:path w="2397759" h="372745">
                <a:moveTo>
                  <a:pt x="2369057" y="315594"/>
                </a:moveTo>
                <a:lnTo>
                  <a:pt x="2354706" y="315594"/>
                </a:lnTo>
                <a:lnTo>
                  <a:pt x="2340482" y="329818"/>
                </a:lnTo>
                <a:lnTo>
                  <a:pt x="2369057" y="329818"/>
                </a:lnTo>
                <a:lnTo>
                  <a:pt x="2369057" y="315594"/>
                </a:lnTo>
                <a:close/>
              </a:path>
              <a:path w="2397759" h="372745">
                <a:moveTo>
                  <a:pt x="2369057" y="42925"/>
                </a:moveTo>
                <a:lnTo>
                  <a:pt x="2340482" y="42925"/>
                </a:lnTo>
                <a:lnTo>
                  <a:pt x="2340482" y="82850"/>
                </a:lnTo>
                <a:lnTo>
                  <a:pt x="2354706" y="85724"/>
                </a:lnTo>
                <a:lnTo>
                  <a:pt x="2368993" y="82850"/>
                </a:lnTo>
                <a:lnTo>
                  <a:pt x="2369057" y="42925"/>
                </a:lnTo>
                <a:close/>
              </a:path>
              <a:path w="2397759" h="372745">
                <a:moveTo>
                  <a:pt x="2369057" y="82837"/>
                </a:moveTo>
                <a:lnTo>
                  <a:pt x="2354706" y="85724"/>
                </a:lnTo>
                <a:lnTo>
                  <a:pt x="2369057" y="85724"/>
                </a:lnTo>
                <a:lnTo>
                  <a:pt x="2369057" y="82837"/>
                </a:lnTo>
                <a:close/>
              </a:path>
              <a:path w="2397759" h="372745">
                <a:moveTo>
                  <a:pt x="2354706" y="0"/>
                </a:moveTo>
                <a:lnTo>
                  <a:pt x="2338054" y="3385"/>
                </a:lnTo>
                <a:lnTo>
                  <a:pt x="2324449" y="12604"/>
                </a:lnTo>
                <a:lnTo>
                  <a:pt x="2315273" y="26253"/>
                </a:lnTo>
                <a:lnTo>
                  <a:pt x="2311907" y="42925"/>
                </a:lnTo>
                <a:lnTo>
                  <a:pt x="2315273" y="59578"/>
                </a:lnTo>
                <a:lnTo>
                  <a:pt x="2324449" y="73183"/>
                </a:lnTo>
                <a:lnTo>
                  <a:pt x="2338054" y="82359"/>
                </a:lnTo>
                <a:lnTo>
                  <a:pt x="2340482" y="82850"/>
                </a:lnTo>
                <a:lnTo>
                  <a:pt x="2340482" y="42925"/>
                </a:lnTo>
                <a:lnTo>
                  <a:pt x="2397632" y="42925"/>
                </a:lnTo>
                <a:lnTo>
                  <a:pt x="2394265" y="26253"/>
                </a:lnTo>
                <a:lnTo>
                  <a:pt x="2385075" y="12604"/>
                </a:lnTo>
                <a:lnTo>
                  <a:pt x="2371433" y="3385"/>
                </a:lnTo>
                <a:lnTo>
                  <a:pt x="2354706" y="0"/>
                </a:lnTo>
                <a:close/>
              </a:path>
              <a:path w="2397759" h="372745">
                <a:moveTo>
                  <a:pt x="2397632" y="42925"/>
                </a:moveTo>
                <a:lnTo>
                  <a:pt x="2369057" y="42925"/>
                </a:lnTo>
                <a:lnTo>
                  <a:pt x="2369057" y="82837"/>
                </a:lnTo>
                <a:lnTo>
                  <a:pt x="2371433" y="82359"/>
                </a:lnTo>
                <a:lnTo>
                  <a:pt x="2385075" y="73183"/>
                </a:lnTo>
                <a:lnTo>
                  <a:pt x="2394265" y="59578"/>
                </a:lnTo>
                <a:lnTo>
                  <a:pt x="2397632" y="42925"/>
                </a:lnTo>
                <a:close/>
              </a:path>
            </a:pathLst>
          </a:custGeom>
          <a:solidFill>
            <a:srgbClr val="A000FF"/>
          </a:solidFill>
        </p:spPr>
        <p:txBody>
          <a:bodyPr wrap="square" lIns="0" tIns="0" rIns="0" bIns="0" rtlCol="0"/>
          <a:lstStyle/>
          <a:p>
            <a:endParaRPr/>
          </a:p>
        </p:txBody>
      </p:sp>
      <p:sp>
        <p:nvSpPr>
          <p:cNvPr id="56" name="object 56"/>
          <p:cNvSpPr txBox="1"/>
          <p:nvPr/>
        </p:nvSpPr>
        <p:spPr>
          <a:xfrm>
            <a:off x="6131136" y="4090479"/>
            <a:ext cx="1945135" cy="705321"/>
          </a:xfrm>
          <a:prstGeom prst="rect">
            <a:avLst/>
          </a:prstGeom>
        </p:spPr>
        <p:txBody>
          <a:bodyPr vert="horz" wrap="square" lIns="0" tIns="12700" rIns="0" bIns="0" rtlCol="0">
            <a:spAutoFit/>
          </a:bodyPr>
          <a:lstStyle/>
          <a:p>
            <a:pPr marL="1270" algn="ctr">
              <a:spcBef>
                <a:spcPts val="100"/>
              </a:spcBef>
            </a:pPr>
            <a:r>
              <a:rPr sz="1200" b="1">
                <a:solidFill>
                  <a:schemeClr val="accent1"/>
                </a:solidFill>
                <a:latin typeface="+mj-lt"/>
                <a:ea typeface="+mj-ea"/>
                <a:cs typeface="+mj-cs"/>
              </a:rPr>
              <a:t>STEP 3 (Month </a:t>
            </a:r>
            <a:r>
              <a:rPr lang="en-US" sz="1200" b="1">
                <a:solidFill>
                  <a:schemeClr val="accent1"/>
                </a:solidFill>
                <a:latin typeface="+mj-lt"/>
                <a:ea typeface="+mj-ea"/>
                <a:cs typeface="+mj-cs"/>
              </a:rPr>
              <a:t>9</a:t>
            </a:r>
            <a:r>
              <a:rPr sz="1200" b="1">
                <a:solidFill>
                  <a:schemeClr val="accent1"/>
                </a:solidFill>
                <a:latin typeface="+mj-lt"/>
                <a:ea typeface="+mj-ea"/>
                <a:cs typeface="+mj-cs"/>
              </a:rPr>
              <a:t>-1</a:t>
            </a:r>
            <a:r>
              <a:rPr lang="en-US" sz="1200" b="1">
                <a:solidFill>
                  <a:schemeClr val="accent1"/>
                </a:solidFill>
                <a:latin typeface="+mj-lt"/>
                <a:ea typeface="+mj-ea"/>
                <a:cs typeface="+mj-cs"/>
              </a:rPr>
              <a:t>5</a:t>
            </a:r>
            <a:r>
              <a:rPr sz="1200" b="1">
                <a:solidFill>
                  <a:schemeClr val="accent1"/>
                </a:solidFill>
                <a:latin typeface="+mj-lt"/>
                <a:ea typeface="+mj-ea"/>
                <a:cs typeface="+mj-cs"/>
              </a:rPr>
              <a:t>)</a:t>
            </a:r>
          </a:p>
          <a:p>
            <a:pPr marL="12700" marR="5080" indent="-635" algn="ctr">
              <a:lnSpc>
                <a:spcPct val="100000"/>
              </a:lnSpc>
              <a:spcBef>
                <a:spcPts val="40"/>
              </a:spcBef>
            </a:pPr>
            <a:r>
              <a:rPr sz="1100"/>
              <a:t>Prototyp</a:t>
            </a:r>
            <a:r>
              <a:rPr lang="en-US" sz="1100"/>
              <a:t>ing of</a:t>
            </a:r>
            <a:r>
              <a:rPr sz="1100"/>
              <a:t> </a:t>
            </a:r>
            <a:r>
              <a:rPr lang="en-US" sz="1100"/>
              <a:t>app </a:t>
            </a:r>
            <a:r>
              <a:rPr sz="1100"/>
              <a:t>and iterate on output to realize established KPIs</a:t>
            </a:r>
          </a:p>
        </p:txBody>
      </p:sp>
      <p:sp>
        <p:nvSpPr>
          <p:cNvPr id="57" name="object 57"/>
          <p:cNvSpPr/>
          <p:nvPr/>
        </p:nvSpPr>
        <p:spPr>
          <a:xfrm>
            <a:off x="7064247" y="4996179"/>
            <a:ext cx="2223770" cy="398145"/>
          </a:xfrm>
          <a:custGeom>
            <a:rect l="l" t="t" r="r" b="b"/>
            <a:pathLst>
              <a:path w="2223770" h="398145">
                <a:moveTo>
                  <a:pt x="2138045" y="311912"/>
                </a:moveTo>
                <a:lnTo>
                  <a:pt x="2138045" y="397637"/>
                </a:lnTo>
                <a:lnTo>
                  <a:pt x="2195110" y="369062"/>
                </a:lnTo>
                <a:lnTo>
                  <a:pt x="2152269" y="369062"/>
                </a:lnTo>
                <a:lnTo>
                  <a:pt x="2152269" y="340487"/>
                </a:lnTo>
                <a:lnTo>
                  <a:pt x="2195279" y="340487"/>
                </a:lnTo>
                <a:lnTo>
                  <a:pt x="2138045" y="311912"/>
                </a:lnTo>
                <a:close/>
              </a:path>
              <a:path w="2223770" h="398145">
                <a:moveTo>
                  <a:pt x="28575" y="82828"/>
                </a:moveTo>
                <a:lnTo>
                  <a:pt x="28575" y="369062"/>
                </a:lnTo>
                <a:lnTo>
                  <a:pt x="2138045" y="369062"/>
                </a:lnTo>
                <a:lnTo>
                  <a:pt x="2138045" y="354711"/>
                </a:lnTo>
                <a:lnTo>
                  <a:pt x="57150" y="354711"/>
                </a:lnTo>
                <a:lnTo>
                  <a:pt x="42925" y="340487"/>
                </a:lnTo>
                <a:lnTo>
                  <a:pt x="57150" y="340487"/>
                </a:lnTo>
                <a:lnTo>
                  <a:pt x="57150" y="85725"/>
                </a:lnTo>
                <a:lnTo>
                  <a:pt x="42925" y="85725"/>
                </a:lnTo>
                <a:lnTo>
                  <a:pt x="28575" y="82828"/>
                </a:lnTo>
                <a:close/>
              </a:path>
              <a:path w="2223770" h="398145">
                <a:moveTo>
                  <a:pt x="2195279" y="340487"/>
                </a:moveTo>
                <a:lnTo>
                  <a:pt x="2152269" y="340487"/>
                </a:lnTo>
                <a:lnTo>
                  <a:pt x="2152269" y="369062"/>
                </a:lnTo>
                <a:lnTo>
                  <a:pt x="2195110" y="369062"/>
                </a:lnTo>
                <a:lnTo>
                  <a:pt x="2223770" y="354711"/>
                </a:lnTo>
                <a:lnTo>
                  <a:pt x="2195279" y="340487"/>
                </a:lnTo>
                <a:close/>
              </a:path>
              <a:path w="2223770" h="398145">
                <a:moveTo>
                  <a:pt x="57150" y="340487"/>
                </a:moveTo>
                <a:lnTo>
                  <a:pt x="42925" y="340487"/>
                </a:lnTo>
                <a:lnTo>
                  <a:pt x="57150" y="354711"/>
                </a:lnTo>
                <a:lnTo>
                  <a:pt x="57150" y="340487"/>
                </a:lnTo>
                <a:close/>
              </a:path>
              <a:path w="2223770" h="398145">
                <a:moveTo>
                  <a:pt x="2138045" y="340487"/>
                </a:moveTo>
                <a:lnTo>
                  <a:pt x="57150" y="340487"/>
                </a:lnTo>
                <a:lnTo>
                  <a:pt x="57150" y="354711"/>
                </a:lnTo>
                <a:lnTo>
                  <a:pt x="2138045" y="354711"/>
                </a:lnTo>
                <a:lnTo>
                  <a:pt x="2138045" y="340487"/>
                </a:lnTo>
                <a:close/>
              </a:path>
              <a:path w="2223770" h="398145">
                <a:moveTo>
                  <a:pt x="57150" y="42926"/>
                </a:moveTo>
                <a:lnTo>
                  <a:pt x="28575" y="42926"/>
                </a:lnTo>
                <a:lnTo>
                  <a:pt x="28685" y="82850"/>
                </a:lnTo>
                <a:lnTo>
                  <a:pt x="42925" y="85725"/>
                </a:lnTo>
                <a:lnTo>
                  <a:pt x="57150" y="82850"/>
                </a:lnTo>
                <a:lnTo>
                  <a:pt x="57150" y="42926"/>
                </a:lnTo>
                <a:close/>
              </a:path>
              <a:path w="2223770" h="398145">
                <a:moveTo>
                  <a:pt x="57150" y="82850"/>
                </a:moveTo>
                <a:lnTo>
                  <a:pt x="42925" y="85725"/>
                </a:lnTo>
                <a:lnTo>
                  <a:pt x="57150" y="85725"/>
                </a:lnTo>
                <a:lnTo>
                  <a:pt x="57150" y="82850"/>
                </a:lnTo>
                <a:close/>
              </a:path>
              <a:path w="2223770" h="398145">
                <a:moveTo>
                  <a:pt x="85725" y="42926"/>
                </a:moveTo>
                <a:lnTo>
                  <a:pt x="57150" y="42926"/>
                </a:lnTo>
                <a:lnTo>
                  <a:pt x="57150" y="82850"/>
                </a:lnTo>
                <a:lnTo>
                  <a:pt x="59578" y="82359"/>
                </a:lnTo>
                <a:lnTo>
                  <a:pt x="73183" y="73183"/>
                </a:lnTo>
                <a:lnTo>
                  <a:pt x="82359" y="59578"/>
                </a:lnTo>
                <a:lnTo>
                  <a:pt x="85725" y="42926"/>
                </a:lnTo>
                <a:close/>
              </a:path>
              <a:path w="2223770" h="398145">
                <a:moveTo>
                  <a:pt x="42925" y="0"/>
                </a:moveTo>
                <a:lnTo>
                  <a:pt x="26253" y="3385"/>
                </a:lnTo>
                <a:lnTo>
                  <a:pt x="12604" y="12604"/>
                </a:lnTo>
                <a:lnTo>
                  <a:pt x="3385" y="26253"/>
                </a:lnTo>
                <a:lnTo>
                  <a:pt x="0" y="42926"/>
                </a:lnTo>
                <a:lnTo>
                  <a:pt x="3385" y="59578"/>
                </a:lnTo>
                <a:lnTo>
                  <a:pt x="12604" y="73183"/>
                </a:lnTo>
                <a:lnTo>
                  <a:pt x="26253" y="82359"/>
                </a:lnTo>
                <a:lnTo>
                  <a:pt x="28575" y="82828"/>
                </a:lnTo>
                <a:lnTo>
                  <a:pt x="28575" y="42926"/>
                </a:lnTo>
                <a:lnTo>
                  <a:pt x="85725" y="42926"/>
                </a:lnTo>
                <a:lnTo>
                  <a:pt x="82359" y="26253"/>
                </a:lnTo>
                <a:lnTo>
                  <a:pt x="73183" y="12604"/>
                </a:lnTo>
                <a:lnTo>
                  <a:pt x="59578" y="3385"/>
                </a:lnTo>
                <a:lnTo>
                  <a:pt x="42925" y="0"/>
                </a:lnTo>
                <a:close/>
              </a:path>
            </a:pathLst>
          </a:custGeom>
          <a:solidFill>
            <a:srgbClr val="A000FF"/>
          </a:solidFill>
        </p:spPr>
        <p:txBody>
          <a:bodyPr wrap="square" lIns="0" tIns="0" rIns="0" bIns="0" rtlCol="0"/>
          <a:lstStyle/>
          <a:p>
            <a:endParaRPr/>
          </a:p>
        </p:txBody>
      </p:sp>
      <p:sp>
        <p:nvSpPr>
          <p:cNvPr id="58" name="object 58"/>
          <p:cNvSpPr txBox="1"/>
          <p:nvPr/>
        </p:nvSpPr>
        <p:spPr>
          <a:xfrm>
            <a:off x="8782557" y="2565019"/>
            <a:ext cx="793750" cy="228909"/>
          </a:xfrm>
          <a:prstGeom prst="rect">
            <a:avLst/>
          </a:prstGeom>
        </p:spPr>
        <p:txBody>
          <a:bodyPr vert="horz" wrap="square" lIns="0" tIns="13335" rIns="0" bIns="0" rtlCol="0">
            <a:spAutoFit/>
          </a:bodyPr>
          <a:lstStyle/>
          <a:p>
            <a:pPr marL="12700">
              <a:lnSpc>
                <a:spcPct val="100000"/>
              </a:lnSpc>
              <a:spcBef>
                <a:spcPts val="105"/>
              </a:spcBef>
            </a:pPr>
            <a:r>
              <a:rPr sz="1400" b="1">
                <a:solidFill>
                  <a:schemeClr val="accent1"/>
                </a:solidFill>
                <a:latin typeface="+mj-lt"/>
                <a:ea typeface="+mj-ea"/>
                <a:cs typeface="+mj-cs"/>
              </a:rPr>
              <a:t>Timeline</a:t>
            </a:r>
          </a:p>
        </p:txBody>
      </p:sp>
      <p:sp>
        <p:nvSpPr>
          <p:cNvPr id="60" name="object 8">
            <a:extLst>
              <a:ext uri="{FF2B5EF4-FFF2-40B4-BE49-F238E27FC236}">
                <a16:creationId xmlns:a16="http://schemas.microsoft.com/office/drawing/2014/main" id="{6D5AEFCE-F153-4578-8EB6-DD1006EE1ED0}"/>
              </a:ext>
            </a:extLst>
          </p:cNvPr>
          <p:cNvSpPr txBox="1"/>
          <p:nvPr/>
        </p:nvSpPr>
        <p:spPr>
          <a:xfrm>
            <a:off x="1126797" y="3972722"/>
            <a:ext cx="1345953" cy="197490"/>
          </a:xfrm>
          <a:prstGeom prst="rect">
            <a:avLst/>
          </a:prstGeom>
        </p:spPr>
        <p:txBody>
          <a:bodyPr vert="horz" wrap="square" lIns="0" tIns="12700" rIns="0" bIns="0" rtlCol="0">
            <a:spAutoFit/>
          </a:bodyPr>
          <a:lstStyle/>
          <a:p>
            <a:pPr marL="12700">
              <a:lnSpc>
                <a:spcPct val="100000"/>
              </a:lnSpc>
              <a:spcBef>
                <a:spcPts val="100"/>
              </a:spcBef>
            </a:pPr>
            <a:r>
              <a:rPr sz="1200" b="1">
                <a:solidFill>
                  <a:srgbClr val="460073"/>
                </a:solidFill>
                <a:latin typeface="+mj-lt"/>
                <a:ea typeface="+mj-ea"/>
                <a:cs typeface="+mj-cs"/>
              </a:rPr>
              <a:t>SUSTAINABILITY</a:t>
            </a:r>
          </a:p>
        </p:txBody>
      </p:sp>
      <p:sp>
        <p:nvSpPr>
          <p:cNvPr id="61" name="object 9">
            <a:extLst>
              <a:ext uri="{FF2B5EF4-FFF2-40B4-BE49-F238E27FC236}">
                <a16:creationId xmlns:a16="http://schemas.microsoft.com/office/drawing/2014/main" id="{0C79E0B1-ECFE-4297-A5C2-020A9999EA94}"/>
              </a:ext>
            </a:extLst>
          </p:cNvPr>
          <p:cNvSpPr txBox="1"/>
          <p:nvPr/>
        </p:nvSpPr>
        <p:spPr>
          <a:xfrm>
            <a:off x="4133290" y="3972722"/>
            <a:ext cx="953775" cy="197490"/>
          </a:xfrm>
          <a:prstGeom prst="rect">
            <a:avLst/>
          </a:prstGeom>
        </p:spPr>
        <p:txBody>
          <a:bodyPr vert="horz" wrap="square" lIns="0" tIns="12700" rIns="0" bIns="0" rtlCol="0">
            <a:spAutoFit/>
          </a:bodyPr>
          <a:lstStyle/>
          <a:p>
            <a:pPr marL="12700">
              <a:lnSpc>
                <a:spcPct val="100000"/>
              </a:lnSpc>
              <a:spcBef>
                <a:spcPts val="100"/>
              </a:spcBef>
            </a:pPr>
            <a:r>
              <a:rPr sz="1200" b="1">
                <a:solidFill>
                  <a:srgbClr val="B440FF"/>
                </a:solidFill>
                <a:latin typeface="+mj-lt"/>
                <a:ea typeface="+mj-ea"/>
                <a:cs typeface="+mj-cs"/>
              </a:rPr>
              <a:t>FINANCIAL</a:t>
            </a:r>
          </a:p>
        </p:txBody>
      </p:sp>
      <p:sp>
        <p:nvSpPr>
          <p:cNvPr id="62" name="object 10">
            <a:extLst>
              <a:ext uri="{FF2B5EF4-FFF2-40B4-BE49-F238E27FC236}">
                <a16:creationId xmlns:a16="http://schemas.microsoft.com/office/drawing/2014/main" id="{E002897C-C7B9-44C7-B4FC-D1F91E395F95}"/>
              </a:ext>
            </a:extLst>
          </p:cNvPr>
          <p:cNvSpPr txBox="1"/>
          <p:nvPr/>
        </p:nvSpPr>
        <p:spPr>
          <a:xfrm>
            <a:off x="4628208" y="4884075"/>
            <a:ext cx="1023731" cy="197490"/>
          </a:xfrm>
          <a:prstGeom prst="rect">
            <a:avLst/>
          </a:prstGeom>
        </p:spPr>
        <p:txBody>
          <a:bodyPr vert="horz" wrap="square" lIns="0" tIns="12700" rIns="0" bIns="0" rtlCol="0">
            <a:spAutoFit/>
          </a:bodyPr>
          <a:lstStyle/>
          <a:p>
            <a:pPr marL="12700">
              <a:lnSpc>
                <a:spcPct val="100000"/>
              </a:lnSpc>
              <a:spcBef>
                <a:spcPts val="100"/>
              </a:spcBef>
            </a:pPr>
            <a:r>
              <a:rPr sz="1200" b="1">
                <a:solidFill>
                  <a:srgbClr val="CD80FF"/>
                </a:solidFill>
                <a:latin typeface="+mj-lt"/>
                <a:ea typeface="+mj-ea"/>
                <a:cs typeface="+mj-cs"/>
              </a:rPr>
              <a:t>EXPERIENCE</a:t>
            </a:r>
          </a:p>
        </p:txBody>
      </p:sp>
      <p:sp>
        <p:nvSpPr>
          <p:cNvPr id="63" name="object 11">
            <a:extLst>
              <a:ext uri="{FF2B5EF4-FFF2-40B4-BE49-F238E27FC236}">
                <a16:creationId xmlns:a16="http://schemas.microsoft.com/office/drawing/2014/main" id="{C2FDC32E-FAB5-4142-9E38-3C04F6568FBD}"/>
              </a:ext>
            </a:extLst>
          </p:cNvPr>
          <p:cNvSpPr txBox="1"/>
          <p:nvPr/>
        </p:nvSpPr>
        <p:spPr>
          <a:xfrm>
            <a:off x="4131083" y="5804571"/>
            <a:ext cx="876868" cy="197490"/>
          </a:xfrm>
          <a:prstGeom prst="rect">
            <a:avLst/>
          </a:prstGeom>
        </p:spPr>
        <p:txBody>
          <a:bodyPr vert="horz" wrap="square" lIns="0" tIns="12700" rIns="0" bIns="0" rtlCol="0">
            <a:spAutoFit/>
          </a:bodyPr>
          <a:lstStyle/>
          <a:p>
            <a:pPr marL="12700">
              <a:lnSpc>
                <a:spcPct val="100000"/>
              </a:lnSpc>
              <a:spcBef>
                <a:spcPts val="100"/>
              </a:spcBef>
            </a:pPr>
            <a:r>
              <a:rPr sz="1200" b="1">
                <a:solidFill>
                  <a:srgbClr val="ECCCFF"/>
                </a:solidFill>
                <a:latin typeface="+mj-lt"/>
                <a:ea typeface="+mj-ea"/>
                <a:cs typeface="+mj-cs"/>
              </a:rPr>
              <a:t>CUSTOM</a:t>
            </a:r>
          </a:p>
        </p:txBody>
      </p:sp>
      <p:sp>
        <p:nvSpPr>
          <p:cNvPr id="64" name="object 12">
            <a:extLst>
              <a:ext uri="{FF2B5EF4-FFF2-40B4-BE49-F238E27FC236}">
                <a16:creationId xmlns:a16="http://schemas.microsoft.com/office/drawing/2014/main" id="{E2A1D7F7-60ED-4EEA-B8BF-23EA0C89A6AE}"/>
              </a:ext>
            </a:extLst>
          </p:cNvPr>
          <p:cNvSpPr txBox="1"/>
          <p:nvPr/>
        </p:nvSpPr>
        <p:spPr>
          <a:xfrm>
            <a:off x="1123622" y="4890170"/>
            <a:ext cx="650726" cy="197490"/>
          </a:xfrm>
          <a:prstGeom prst="rect">
            <a:avLst/>
          </a:prstGeom>
        </p:spPr>
        <p:txBody>
          <a:bodyPr vert="horz" wrap="square" lIns="0" tIns="12700" rIns="0" bIns="0" rtlCol="0">
            <a:spAutoFit/>
          </a:bodyPr>
          <a:lstStyle/>
          <a:p>
            <a:pPr marL="12700">
              <a:lnSpc>
                <a:spcPct val="100000"/>
              </a:lnSpc>
              <a:spcBef>
                <a:spcPts val="100"/>
              </a:spcBef>
            </a:pPr>
            <a:r>
              <a:rPr sz="1200" b="1">
                <a:solidFill>
                  <a:srgbClr val="7500C0"/>
                </a:solidFill>
                <a:latin typeface="+mj-lt"/>
                <a:ea typeface="+mj-ea"/>
                <a:cs typeface="+mj-cs"/>
              </a:rPr>
              <a:t>TALENT</a:t>
            </a:r>
          </a:p>
        </p:txBody>
      </p:sp>
      <p:sp>
        <p:nvSpPr>
          <p:cNvPr id="65" name="object 13">
            <a:extLst>
              <a:ext uri="{FF2B5EF4-FFF2-40B4-BE49-F238E27FC236}">
                <a16:creationId xmlns:a16="http://schemas.microsoft.com/office/drawing/2014/main" id="{5B7DDCCF-9BFB-4CF2-BEE6-8F35D0B32325}"/>
              </a:ext>
            </a:extLst>
          </p:cNvPr>
          <p:cNvSpPr txBox="1"/>
          <p:nvPr/>
        </p:nvSpPr>
        <p:spPr>
          <a:xfrm>
            <a:off x="1805548" y="5801522"/>
            <a:ext cx="373772" cy="197490"/>
          </a:xfrm>
          <a:prstGeom prst="rect">
            <a:avLst/>
          </a:prstGeom>
        </p:spPr>
        <p:txBody>
          <a:bodyPr vert="horz" wrap="square" lIns="0" tIns="12700" rIns="0" bIns="0" rtlCol="0">
            <a:spAutoFit/>
          </a:bodyPr>
          <a:lstStyle/>
          <a:p>
            <a:pPr marL="12700">
              <a:lnSpc>
                <a:spcPct val="100000"/>
              </a:lnSpc>
              <a:spcBef>
                <a:spcPts val="100"/>
              </a:spcBef>
            </a:pPr>
            <a:r>
              <a:rPr sz="1200" b="1">
                <a:solidFill>
                  <a:srgbClr val="A100FF"/>
                </a:solidFill>
                <a:latin typeface="+mj-lt"/>
                <a:ea typeface="+mj-ea"/>
                <a:cs typeface="+mj-cs"/>
              </a:rPr>
              <a:t>I&amp;D</a:t>
            </a:r>
          </a:p>
        </p:txBody>
      </p:sp>
      <p:sp>
        <p:nvSpPr>
          <p:cNvPr id="66" name="object 14">
            <a:extLst>
              <a:ext uri="{FF2B5EF4-FFF2-40B4-BE49-F238E27FC236}">
                <a16:creationId xmlns:a16="http://schemas.microsoft.com/office/drawing/2014/main" id="{26C8770E-7BA3-4AAE-90E0-01A3572C2731}"/>
              </a:ext>
            </a:extLst>
          </p:cNvPr>
          <p:cNvSpPr txBox="1"/>
          <p:nvPr/>
        </p:nvSpPr>
        <p:spPr>
          <a:xfrm>
            <a:off x="560486" y="4342903"/>
            <a:ext cx="1568765" cy="497572"/>
          </a:xfrm>
          <a:prstGeom prst="rect">
            <a:avLst/>
          </a:prstGeom>
        </p:spPr>
        <p:txBody>
          <a:bodyPr vert="horz" wrap="square" lIns="0" tIns="12700" rIns="0" bIns="0" rtlCol="0">
            <a:spAutoFit/>
          </a:bodyPr>
          <a:lstStyle/>
          <a:p>
            <a:pPr marL="12700" rtl="0">
              <a:spcBef>
                <a:spcPct val="0"/>
              </a:spcBef>
              <a:spcAft>
                <a:spcPct val="0"/>
              </a:spcAft>
            </a:pPr>
            <a:r>
              <a:rPr lang="en-US" sz="1050"/>
              <a:t>Stakeholder Support</a:t>
            </a:r>
          </a:p>
          <a:p>
            <a:br>
              <a:rPr lang="en-US" sz="1050"/>
            </a:br>
            <a:endParaRPr sz="1050"/>
          </a:p>
        </p:txBody>
      </p:sp>
      <p:sp>
        <p:nvSpPr>
          <p:cNvPr id="67" name="object 15">
            <a:extLst>
              <a:ext uri="{FF2B5EF4-FFF2-40B4-BE49-F238E27FC236}">
                <a16:creationId xmlns:a16="http://schemas.microsoft.com/office/drawing/2014/main" id="{E0CB0504-2A60-4AEA-B84E-0B94657DEE85}"/>
              </a:ext>
            </a:extLst>
          </p:cNvPr>
          <p:cNvSpPr txBox="1"/>
          <p:nvPr/>
        </p:nvSpPr>
        <p:spPr>
          <a:xfrm>
            <a:off x="4493137" y="4596840"/>
            <a:ext cx="1386176" cy="174407"/>
          </a:xfrm>
          <a:prstGeom prst="rect">
            <a:avLst/>
          </a:prstGeom>
        </p:spPr>
        <p:txBody>
          <a:bodyPr vert="horz" wrap="square" lIns="0" tIns="12700" rIns="0" bIns="0" rtlCol="0">
            <a:spAutoFit/>
          </a:bodyPr>
          <a:lstStyle/>
          <a:p>
            <a:pPr marL="12700">
              <a:lnSpc>
                <a:spcPct val="100000"/>
              </a:lnSpc>
              <a:spcBef>
                <a:spcPts val="100"/>
              </a:spcBef>
            </a:pPr>
            <a:r>
              <a:rPr lang="en-US" sz="1050"/>
              <a:t>Improvised Skillset</a:t>
            </a:r>
            <a:endParaRPr sz="1050"/>
          </a:p>
        </p:txBody>
      </p:sp>
      <p:pic>
        <p:nvPicPr>
          <p:cNvPr id="68" name="object 16">
            <a:extLst>
              <a:ext uri="{FF2B5EF4-FFF2-40B4-BE49-F238E27FC236}">
                <a16:creationId xmlns:a16="http://schemas.microsoft.com/office/drawing/2014/main" id="{DEDA8BE0-A864-4434-8C92-33D82002BB7B}"/>
              </a:ext>
            </a:extLst>
          </p:cNvPr>
          <p:cNvPicPr/>
          <p:nvPr/>
        </p:nvPicPr>
        <p:blipFill>
          <a:blip r:embed="rId6">
            <a:extLst>
              <a:ext uri="{28A0092B-C50C-407E-A947-70E740481C1C}">
                <a14:useLocalDpi xmlns:a14="http://schemas.microsoft.com/office/drawing/2010/main"/>
              </a:ext>
            </a:extLst>
          </a:blip>
          <a:stretch>
            <a:fillRect/>
          </a:stretch>
        </p:blipFill>
        <p:spPr>
          <a:xfrm>
            <a:off x="1118917" y="3991868"/>
            <a:ext cx="4301468" cy="2377296"/>
          </a:xfrm>
          <a:prstGeom prst="rect">
            <a:avLst/>
          </a:prstGeom>
        </p:spPr>
      </p:pic>
      <p:sp>
        <p:nvSpPr>
          <p:cNvPr id="69" name="object 17">
            <a:extLst>
              <a:ext uri="{FF2B5EF4-FFF2-40B4-BE49-F238E27FC236}">
                <a16:creationId xmlns:a16="http://schemas.microsoft.com/office/drawing/2014/main" id="{EDED53FE-E0C3-4DDB-969D-D36384B08AA3}"/>
              </a:ext>
            </a:extLst>
          </p:cNvPr>
          <p:cNvSpPr txBox="1"/>
          <p:nvPr/>
        </p:nvSpPr>
        <p:spPr>
          <a:xfrm>
            <a:off x="4314863" y="4360672"/>
            <a:ext cx="1778316" cy="497572"/>
          </a:xfrm>
          <a:prstGeom prst="rect">
            <a:avLst/>
          </a:prstGeom>
        </p:spPr>
        <p:txBody>
          <a:bodyPr vert="horz" wrap="square" lIns="0" tIns="12700" rIns="0" bIns="0" rtlCol="0">
            <a:spAutoFit/>
          </a:bodyPr>
          <a:lstStyle/>
          <a:p>
            <a:pPr marL="12700" rtl="0">
              <a:spcBef>
                <a:spcPct val="0"/>
              </a:spcBef>
              <a:spcAft>
                <a:spcPct val="0"/>
              </a:spcAft>
            </a:pPr>
            <a:r>
              <a:rPr lang="en-US" sz="1050"/>
              <a:t>Reduced Health care costs</a:t>
            </a:r>
          </a:p>
          <a:p>
            <a:br>
              <a:rPr lang="en-US" sz="1050"/>
            </a:br>
            <a:endParaRPr sz="1050"/>
          </a:p>
        </p:txBody>
      </p:sp>
      <p:sp>
        <p:nvSpPr>
          <p:cNvPr id="70" name="object 18">
            <a:extLst>
              <a:ext uri="{FF2B5EF4-FFF2-40B4-BE49-F238E27FC236}">
                <a16:creationId xmlns:a16="http://schemas.microsoft.com/office/drawing/2014/main" id="{0D2AA35C-4C67-42AD-9C38-51893419E5C7}"/>
              </a:ext>
            </a:extLst>
          </p:cNvPr>
          <p:cNvSpPr txBox="1"/>
          <p:nvPr/>
        </p:nvSpPr>
        <p:spPr>
          <a:xfrm>
            <a:off x="80537" y="5450210"/>
            <a:ext cx="1818781" cy="174407"/>
          </a:xfrm>
          <a:prstGeom prst="rect">
            <a:avLst/>
          </a:prstGeom>
        </p:spPr>
        <p:txBody>
          <a:bodyPr vert="horz" wrap="square" lIns="0" tIns="12700" rIns="0" bIns="0" rtlCol="0">
            <a:spAutoFit/>
          </a:bodyPr>
          <a:lstStyle/>
          <a:p>
            <a:pPr marL="12700">
              <a:lnSpc>
                <a:spcPct val="100000"/>
              </a:lnSpc>
              <a:spcBef>
                <a:spcPts val="100"/>
              </a:spcBef>
            </a:pPr>
            <a:r>
              <a:rPr sz="1050"/>
              <a:t>Artificial Intelligence Skills</a:t>
            </a:r>
          </a:p>
        </p:txBody>
      </p:sp>
      <p:sp>
        <p:nvSpPr>
          <p:cNvPr id="71" name="object 19">
            <a:extLst>
              <a:ext uri="{FF2B5EF4-FFF2-40B4-BE49-F238E27FC236}">
                <a16:creationId xmlns:a16="http://schemas.microsoft.com/office/drawing/2014/main" id="{2927FBB9-8F2D-4018-8FA7-BC1BA8A34799}"/>
              </a:ext>
            </a:extLst>
          </p:cNvPr>
          <p:cNvSpPr txBox="1"/>
          <p:nvPr/>
        </p:nvSpPr>
        <p:spPr>
          <a:xfrm>
            <a:off x="631852" y="5236804"/>
            <a:ext cx="1316439" cy="497572"/>
          </a:xfrm>
          <a:prstGeom prst="rect">
            <a:avLst/>
          </a:prstGeom>
        </p:spPr>
        <p:txBody>
          <a:bodyPr vert="horz" wrap="square" lIns="0" tIns="12700" rIns="0" bIns="0" rtlCol="0">
            <a:spAutoFit/>
          </a:bodyPr>
          <a:lstStyle/>
          <a:p>
            <a:pPr marL="12700" rtl="0">
              <a:spcBef>
                <a:spcPct val="0"/>
              </a:spcBef>
              <a:spcAft>
                <a:spcPct val="0"/>
              </a:spcAft>
            </a:pPr>
            <a:r>
              <a:rPr lang="en-US" sz="1050"/>
              <a:t>Healthcare Experts</a:t>
            </a:r>
          </a:p>
          <a:p>
            <a:br>
              <a:rPr lang="en-US" sz="1050"/>
            </a:br>
            <a:endParaRPr sz="1050"/>
          </a:p>
        </p:txBody>
      </p:sp>
      <p:sp>
        <p:nvSpPr>
          <p:cNvPr id="72" name="object 20">
            <a:extLst>
              <a:ext uri="{FF2B5EF4-FFF2-40B4-BE49-F238E27FC236}">
                <a16:creationId xmlns:a16="http://schemas.microsoft.com/office/drawing/2014/main" id="{6E9C8192-C4D1-4F1D-A885-B89A60D87B39}"/>
              </a:ext>
            </a:extLst>
          </p:cNvPr>
          <p:cNvSpPr txBox="1"/>
          <p:nvPr/>
        </p:nvSpPr>
        <p:spPr>
          <a:xfrm>
            <a:off x="4084884" y="6228874"/>
            <a:ext cx="1752750" cy="335989"/>
          </a:xfrm>
          <a:prstGeom prst="rect">
            <a:avLst/>
          </a:prstGeom>
        </p:spPr>
        <p:txBody>
          <a:bodyPr vert="horz" wrap="square" lIns="0" tIns="12700" rIns="0" bIns="0" rtlCol="0">
            <a:spAutoFit/>
          </a:bodyPr>
          <a:lstStyle/>
          <a:p>
            <a:pPr marL="12700">
              <a:lnSpc>
                <a:spcPct val="100000"/>
              </a:lnSpc>
              <a:spcBef>
                <a:spcPts val="100"/>
              </a:spcBef>
            </a:pPr>
            <a:r>
              <a:rPr lang="en-US" sz="1050"/>
              <a:t>Establish unbiased healthcare</a:t>
            </a:r>
            <a:endParaRPr sz="1050"/>
          </a:p>
        </p:txBody>
      </p:sp>
      <p:sp>
        <p:nvSpPr>
          <p:cNvPr id="73" name="object 21">
            <a:extLst>
              <a:ext uri="{FF2B5EF4-FFF2-40B4-BE49-F238E27FC236}">
                <a16:creationId xmlns:a16="http://schemas.microsoft.com/office/drawing/2014/main" id="{C95CFEF9-6E5C-4813-B467-451BC0A33823}"/>
              </a:ext>
            </a:extLst>
          </p:cNvPr>
          <p:cNvSpPr txBox="1"/>
          <p:nvPr/>
        </p:nvSpPr>
        <p:spPr>
          <a:xfrm>
            <a:off x="560486" y="6138363"/>
            <a:ext cx="1791310" cy="497572"/>
          </a:xfrm>
          <a:prstGeom prst="rect">
            <a:avLst/>
          </a:prstGeom>
        </p:spPr>
        <p:txBody>
          <a:bodyPr vert="horz" wrap="square" lIns="0" tIns="12700" rIns="0" bIns="0" rtlCol="0">
            <a:spAutoFit/>
          </a:bodyPr>
          <a:lstStyle/>
          <a:p>
            <a:pPr marL="12700" rtl="0">
              <a:spcBef>
                <a:spcPct val="0"/>
              </a:spcBef>
              <a:spcAft>
                <a:spcPct val="0"/>
              </a:spcAft>
            </a:pPr>
            <a:r>
              <a:rPr lang="en-US" sz="1050"/>
              <a:t>Empowered Birth Givers</a:t>
            </a:r>
          </a:p>
          <a:p>
            <a:br>
              <a:rPr lang="en-US" sz="1050"/>
            </a:br>
            <a:endParaRPr sz="1050"/>
          </a:p>
        </p:txBody>
      </p:sp>
      <p:sp>
        <p:nvSpPr>
          <p:cNvPr id="74" name="object 22">
            <a:extLst>
              <a:ext uri="{FF2B5EF4-FFF2-40B4-BE49-F238E27FC236}">
                <a16:creationId xmlns:a16="http://schemas.microsoft.com/office/drawing/2014/main" id="{BA7A94BE-6C80-440E-89BB-E809C38CF550}"/>
              </a:ext>
            </a:extLst>
          </p:cNvPr>
          <p:cNvSpPr txBox="1"/>
          <p:nvPr/>
        </p:nvSpPr>
        <p:spPr>
          <a:xfrm>
            <a:off x="4585901" y="5294841"/>
            <a:ext cx="1842772" cy="174407"/>
          </a:xfrm>
          <a:prstGeom prst="rect">
            <a:avLst/>
          </a:prstGeom>
        </p:spPr>
        <p:txBody>
          <a:bodyPr vert="horz" wrap="square" lIns="0" tIns="12700" rIns="0" bIns="0" rtlCol="0">
            <a:spAutoFit/>
          </a:bodyPr>
          <a:lstStyle/>
          <a:p>
            <a:pPr marL="12700" marR="5080">
              <a:lnSpc>
                <a:spcPct val="100000"/>
              </a:lnSpc>
              <a:spcBef>
                <a:spcPts val="100"/>
              </a:spcBef>
            </a:pPr>
            <a:r>
              <a:rPr sz="1050"/>
              <a:t>Consolidated Insights</a:t>
            </a:r>
          </a:p>
        </p:txBody>
      </p:sp>
      <p:sp>
        <p:nvSpPr>
          <p:cNvPr id="75" name="object 23">
            <a:extLst>
              <a:ext uri="{FF2B5EF4-FFF2-40B4-BE49-F238E27FC236}">
                <a16:creationId xmlns:a16="http://schemas.microsoft.com/office/drawing/2014/main" id="{BCF61788-960E-4B9E-8479-0B448140BC78}"/>
              </a:ext>
            </a:extLst>
          </p:cNvPr>
          <p:cNvSpPr txBox="1"/>
          <p:nvPr/>
        </p:nvSpPr>
        <p:spPr>
          <a:xfrm>
            <a:off x="4416960" y="5545529"/>
            <a:ext cx="1435427" cy="174407"/>
          </a:xfrm>
          <a:prstGeom prst="rect">
            <a:avLst/>
          </a:prstGeom>
        </p:spPr>
        <p:txBody>
          <a:bodyPr vert="horz" wrap="square" lIns="0" tIns="12700" rIns="0" bIns="0" rtlCol="0">
            <a:spAutoFit/>
          </a:bodyPr>
          <a:lstStyle/>
          <a:p>
            <a:pPr marL="12700">
              <a:lnSpc>
                <a:spcPct val="100000"/>
              </a:lnSpc>
              <a:spcBef>
                <a:spcPts val="100"/>
              </a:spcBef>
            </a:pPr>
            <a:r>
              <a:rPr lang="en-US" sz="1050"/>
              <a:t>Executive</a:t>
            </a:r>
            <a:r>
              <a:rPr sz="1050"/>
              <a:t> Dashboard</a:t>
            </a:r>
          </a:p>
        </p:txBody>
      </p:sp>
      <p:pic>
        <p:nvPicPr>
          <p:cNvPr id="76" name="object 24">
            <a:extLst>
              <a:ext uri="{FF2B5EF4-FFF2-40B4-BE49-F238E27FC236}">
                <a16:creationId xmlns:a16="http://schemas.microsoft.com/office/drawing/2014/main" id="{516E1F2F-8800-4C49-AF40-D331F91B1555}"/>
              </a:ext>
            </a:extLst>
          </p:cNvPr>
          <p:cNvPicPr/>
          <p:nvPr/>
        </p:nvPicPr>
        <p:blipFill>
          <a:blip r:embed="rId7"/>
          <a:stretch>
            <a:fillRect/>
          </a:stretch>
        </p:blipFill>
        <p:spPr>
          <a:xfrm>
            <a:off x="2777665" y="4489866"/>
            <a:ext cx="932688" cy="932688"/>
          </a:xfrm>
          <a:prstGeom prst="rect">
            <a:avLst/>
          </a:prstGeom>
        </p:spPr>
      </p:pic>
      <p:sp>
        <p:nvSpPr>
          <p:cNvPr id="77" name="object 25">
            <a:extLst>
              <a:ext uri="{FF2B5EF4-FFF2-40B4-BE49-F238E27FC236}">
                <a16:creationId xmlns:a16="http://schemas.microsoft.com/office/drawing/2014/main" id="{2340C30F-4427-431B-B938-2194879F3150}"/>
              </a:ext>
            </a:extLst>
          </p:cNvPr>
          <p:cNvSpPr txBox="1"/>
          <p:nvPr/>
        </p:nvSpPr>
        <p:spPr>
          <a:xfrm>
            <a:off x="2739013" y="5307804"/>
            <a:ext cx="1117619" cy="282129"/>
          </a:xfrm>
          <a:prstGeom prst="rect">
            <a:avLst/>
          </a:prstGeom>
        </p:spPr>
        <p:txBody>
          <a:bodyPr vert="horz" wrap="square" lIns="0" tIns="12700" rIns="0" bIns="0" rtlCol="0">
            <a:spAutoFit/>
          </a:bodyPr>
          <a:lstStyle/>
          <a:p>
            <a:pPr marL="12700">
              <a:lnSpc>
                <a:spcPts val="1305"/>
              </a:lnSpc>
              <a:spcBef>
                <a:spcPts val="100"/>
              </a:spcBef>
            </a:pPr>
            <a:r>
              <a:rPr sz="1300" b="1">
                <a:solidFill>
                  <a:schemeClr val="accent1"/>
                </a:solidFill>
                <a:latin typeface="+mj-lt"/>
                <a:ea typeface="+mj-ea"/>
                <a:cs typeface="+mj-cs"/>
              </a:rPr>
              <a:t>360° VALUE</a:t>
            </a:r>
          </a:p>
          <a:p>
            <a:pPr marL="29845">
              <a:lnSpc>
                <a:spcPts val="825"/>
              </a:lnSpc>
            </a:pPr>
            <a:r>
              <a:rPr lang="en-US" sz="800" b="1">
                <a:solidFill>
                  <a:schemeClr val="accent1"/>
                </a:solidFill>
                <a:latin typeface="+mj-lt"/>
                <a:ea typeface="+mj-ea"/>
                <a:cs typeface="+mj-cs"/>
              </a:rPr>
              <a:t>S</a:t>
            </a:r>
            <a:r>
              <a:rPr sz="800" b="1">
                <a:solidFill>
                  <a:schemeClr val="accent1"/>
                </a:solidFill>
                <a:latin typeface="+mj-lt"/>
                <a:ea typeface="+mj-ea"/>
                <a:cs typeface="+mj-cs"/>
              </a:rPr>
              <a:t>uccess </a:t>
            </a:r>
            <a:r>
              <a:rPr lang="en-US" sz="800" b="1">
                <a:solidFill>
                  <a:schemeClr val="accent1"/>
                </a:solidFill>
                <a:latin typeface="+mj-lt"/>
                <a:ea typeface="+mj-ea"/>
                <a:cs typeface="+mj-cs"/>
              </a:rPr>
              <a:t>I</a:t>
            </a:r>
            <a:r>
              <a:rPr sz="800" b="1">
                <a:solidFill>
                  <a:schemeClr val="accent1"/>
                </a:solidFill>
                <a:latin typeface="+mj-lt"/>
                <a:ea typeface="+mj-ea"/>
                <a:cs typeface="+mj-cs"/>
              </a:rPr>
              <a:t>ndicators</a:t>
            </a:r>
          </a:p>
        </p:txBody>
      </p:sp>
      <p:sp>
        <p:nvSpPr>
          <p:cNvPr id="78" name="object 30">
            <a:extLst>
              <a:ext uri="{FF2B5EF4-FFF2-40B4-BE49-F238E27FC236}">
                <a16:creationId xmlns:a16="http://schemas.microsoft.com/office/drawing/2014/main" id="{1B7C3025-1F67-4DE1-A0C5-82923F3FFE14}"/>
              </a:ext>
            </a:extLst>
          </p:cNvPr>
          <p:cNvSpPr/>
          <p:nvPr/>
        </p:nvSpPr>
        <p:spPr>
          <a:xfrm>
            <a:off x="1451674" y="6277724"/>
            <a:ext cx="959485" cy="182880"/>
          </a:xfrm>
          <a:custGeom>
            <a:rect l="l" t="t" r="r" b="b"/>
            <a:pathLst>
              <a:path w="959485" h="182879">
                <a:moveTo>
                  <a:pt x="928999" y="0"/>
                </a:moveTo>
                <a:lnTo>
                  <a:pt x="30479" y="0"/>
                </a:lnTo>
                <a:lnTo>
                  <a:pt x="18615" y="2395"/>
                </a:lnTo>
                <a:lnTo>
                  <a:pt x="8927" y="8927"/>
                </a:lnTo>
                <a:lnTo>
                  <a:pt x="2395" y="18615"/>
                </a:lnTo>
                <a:lnTo>
                  <a:pt x="0" y="30480"/>
                </a:lnTo>
                <a:lnTo>
                  <a:pt x="0" y="152399"/>
                </a:lnTo>
                <a:lnTo>
                  <a:pt x="2395" y="164264"/>
                </a:lnTo>
                <a:lnTo>
                  <a:pt x="8927" y="173952"/>
                </a:lnTo>
                <a:lnTo>
                  <a:pt x="18615" y="180484"/>
                </a:lnTo>
                <a:lnTo>
                  <a:pt x="30479" y="182879"/>
                </a:lnTo>
                <a:lnTo>
                  <a:pt x="928999" y="182879"/>
                </a:lnTo>
                <a:lnTo>
                  <a:pt x="940863" y="180484"/>
                </a:lnTo>
                <a:lnTo>
                  <a:pt x="950552" y="173952"/>
                </a:lnTo>
                <a:lnTo>
                  <a:pt x="957084" y="164264"/>
                </a:lnTo>
                <a:lnTo>
                  <a:pt x="959479" y="152399"/>
                </a:lnTo>
                <a:lnTo>
                  <a:pt x="959479" y="30480"/>
                </a:lnTo>
                <a:lnTo>
                  <a:pt x="957084" y="18615"/>
                </a:lnTo>
                <a:lnTo>
                  <a:pt x="950552" y="8927"/>
                </a:lnTo>
                <a:lnTo>
                  <a:pt x="940863" y="2395"/>
                </a:lnTo>
                <a:lnTo>
                  <a:pt x="928999" y="0"/>
                </a:lnTo>
                <a:close/>
              </a:path>
            </a:pathLst>
          </a:custGeom>
          <a:solidFill>
            <a:srgbClr val="FFFFFF"/>
          </a:solidFill>
        </p:spPr>
        <p:txBody>
          <a:bodyPr wrap="square" lIns="0" tIns="0" rIns="0" bIns="0" rtlCol="0"/>
          <a:lstStyle/>
          <a:p>
            <a:endParaRPr/>
          </a:p>
        </p:txBody>
      </p:sp>
      <p:sp>
        <p:nvSpPr>
          <p:cNvPr id="79" name="object 31">
            <a:extLst>
              <a:ext uri="{FF2B5EF4-FFF2-40B4-BE49-F238E27FC236}">
                <a16:creationId xmlns:a16="http://schemas.microsoft.com/office/drawing/2014/main" id="{F19167DD-0DBF-4C76-BBF8-3A39128A74D2}"/>
              </a:ext>
            </a:extLst>
          </p:cNvPr>
          <p:cNvSpPr txBox="1"/>
          <p:nvPr/>
        </p:nvSpPr>
        <p:spPr>
          <a:xfrm>
            <a:off x="800120" y="6355721"/>
            <a:ext cx="1845639" cy="174407"/>
          </a:xfrm>
          <a:prstGeom prst="rect">
            <a:avLst/>
          </a:prstGeom>
        </p:spPr>
        <p:txBody>
          <a:bodyPr vert="horz" wrap="square" lIns="0" tIns="12700" rIns="0" bIns="0" rtlCol="0">
            <a:spAutoFit/>
          </a:bodyPr>
          <a:lstStyle/>
          <a:p>
            <a:pPr marL="12700">
              <a:lnSpc>
                <a:spcPct val="100000"/>
              </a:lnSpc>
              <a:spcBef>
                <a:spcPts val="100"/>
              </a:spcBef>
            </a:pPr>
            <a:r>
              <a:rPr lang="en-US" sz="1050"/>
              <a:t>Increased Risk Intelligence</a:t>
            </a:r>
            <a:endParaRPr sz="1050"/>
          </a:p>
        </p:txBody>
      </p:sp>
      <p:sp>
        <p:nvSpPr>
          <p:cNvPr id="80" name="object 32">
            <a:extLst>
              <a:ext uri="{FF2B5EF4-FFF2-40B4-BE49-F238E27FC236}">
                <a16:creationId xmlns:a16="http://schemas.microsoft.com/office/drawing/2014/main" id="{74094747-8708-4124-A299-FDED8138C8F1}"/>
              </a:ext>
            </a:extLst>
          </p:cNvPr>
          <p:cNvSpPr txBox="1"/>
          <p:nvPr/>
        </p:nvSpPr>
        <p:spPr>
          <a:xfrm>
            <a:off x="256047" y="4611325"/>
            <a:ext cx="1618847" cy="174407"/>
          </a:xfrm>
          <a:prstGeom prst="rect">
            <a:avLst/>
          </a:prstGeom>
        </p:spPr>
        <p:txBody>
          <a:bodyPr vert="horz" wrap="square" lIns="0" tIns="12700" rIns="0" bIns="0" rtlCol="0">
            <a:spAutoFit/>
          </a:bodyPr>
          <a:lstStyle/>
          <a:p>
            <a:pPr marL="12700">
              <a:lnSpc>
                <a:spcPct val="100000"/>
              </a:lnSpc>
              <a:spcBef>
                <a:spcPts val="100"/>
              </a:spcBef>
            </a:pPr>
            <a:r>
              <a:rPr lang="en-US" sz="1050"/>
              <a:t>Process Standardization</a:t>
            </a:r>
            <a:endParaRPr sz="1050"/>
          </a:p>
        </p:txBody>
      </p:sp>
      <p:sp>
        <p:nvSpPr>
          <p:cNvPr id="81" name="object 35">
            <a:extLst>
              <a:ext uri="{FF2B5EF4-FFF2-40B4-BE49-F238E27FC236}">
                <a16:creationId xmlns:a16="http://schemas.microsoft.com/office/drawing/2014/main" id="{20FB3DB8-644E-4222-8E43-2874AF48D973}"/>
              </a:ext>
            </a:extLst>
          </p:cNvPr>
          <p:cNvSpPr txBox="1"/>
          <p:nvPr/>
        </p:nvSpPr>
        <p:spPr>
          <a:xfrm>
            <a:off x="810329" y="5677602"/>
            <a:ext cx="1703076" cy="174407"/>
          </a:xfrm>
          <a:prstGeom prst="rect">
            <a:avLst/>
          </a:prstGeom>
        </p:spPr>
        <p:txBody>
          <a:bodyPr vert="horz" wrap="square" lIns="0" tIns="12700" rIns="0" bIns="0" rtlCol="0">
            <a:spAutoFit/>
          </a:bodyPr>
          <a:lstStyle/>
          <a:p>
            <a:pPr marL="12700">
              <a:lnSpc>
                <a:spcPct val="100000"/>
              </a:lnSpc>
              <a:spcBef>
                <a:spcPts val="100"/>
              </a:spcBef>
            </a:pPr>
            <a:r>
              <a:rPr lang="en-US" sz="1050"/>
              <a:t>Analytical </a:t>
            </a:r>
            <a:r>
              <a:rPr sz="1050"/>
              <a:t>Skills</a:t>
            </a:r>
          </a:p>
        </p:txBody>
      </p:sp>
      <p:pic>
        <p:nvPicPr>
          <p:cNvPr id="2056" name="Picture 8" descr="Warehouse Icon Png #261666 - Free Icons Library">
            <a:extLst>
              <a:ext uri="{FF2B5EF4-FFF2-40B4-BE49-F238E27FC236}">
                <a16:creationId xmlns:a16="http://schemas.microsoft.com/office/drawing/2014/main" id="{27CECB1B-9C6A-494A-A534-4471C5D2B84C}"/>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7192056" y="1022234"/>
            <a:ext cx="861060" cy="861060"/>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a:extLst>
              <a:ext uri="{FF2B5EF4-FFF2-40B4-BE49-F238E27FC236}">
                <a16:creationId xmlns:a16="http://schemas.microsoft.com/office/drawing/2014/main" id="{291A7107-DD39-4864-9AA6-34788CD1F10F}"/>
              </a:ext>
            </a:extLst>
          </p:cNvPr>
          <p:cNvSpPr txBox="1"/>
          <p:nvPr/>
        </p:nvSpPr>
        <p:spPr>
          <a:xfrm>
            <a:off x="256047" y="672599"/>
            <a:ext cx="5837132" cy="2821478"/>
          </a:xfrm>
          <a:prstGeom prst="rect">
            <a:avLst/>
          </a:prstGeom>
          <a:noFill/>
        </p:spPr>
        <p:txBody>
          <a:bodyPr wrap="square">
            <a:spAutoFit/>
          </a:bodyPr>
          <a:lstStyle/>
          <a:p>
            <a:pPr>
              <a:lnSpc>
                <a:spcPct val="150000"/>
              </a:lnSpc>
            </a:pPr>
            <a:r>
              <a:rPr lang="en-US" sz="1400">
                <a:latin typeface="+mj-lt"/>
                <a:ea typeface="+mj-ea"/>
                <a:cs typeface="+mj-cs"/>
              </a:rPr>
              <a:t>• </a:t>
            </a:r>
            <a:r>
              <a:rPr lang="en-US" sz="1400" b="1">
                <a:solidFill>
                  <a:schemeClr val="accent1"/>
                </a:solidFill>
                <a:latin typeface="+mj-lt"/>
                <a:ea typeface="+mj-ea"/>
                <a:cs typeface="+mj-cs"/>
              </a:rPr>
              <a:t>Establish clearly defined roles and responsibilities</a:t>
            </a:r>
            <a:r>
              <a:rPr lang="en-US" sz="1400">
                <a:latin typeface="+mj-lt"/>
                <a:ea typeface="+mj-ea"/>
                <a:cs typeface="+mj-cs"/>
              </a:rPr>
              <a:t>, governance model that enables clear visibility into results &amp; thematic trends</a:t>
            </a:r>
          </a:p>
          <a:p>
            <a:pPr>
              <a:lnSpc>
                <a:spcPct val="150000"/>
              </a:lnSpc>
            </a:pPr>
            <a:r>
              <a:rPr lang="en-US" sz="1400">
                <a:latin typeface="+mj-lt"/>
                <a:ea typeface="+mj-ea"/>
                <a:cs typeface="+mj-cs"/>
              </a:rPr>
              <a:t> </a:t>
            </a:r>
            <a:r>
              <a:rPr lang="en-US" sz="1800" b="0" i="0" u="none" strike="noStrike">
                <a:solidFill>
                  <a:srgbClr val="000000"/>
                </a:solidFill>
                <a:effectLst/>
                <a:latin typeface="Arial" panose="020b0604020202020204" pitchFamily="34" charset="0"/>
              </a:rPr>
              <a:t>• </a:t>
            </a:r>
            <a:r>
              <a:rPr lang="en-US" sz="1400" b="1">
                <a:solidFill>
                  <a:schemeClr val="accent1"/>
                </a:solidFill>
                <a:latin typeface="+mj-lt"/>
                <a:ea typeface="+mj-ea"/>
                <a:cs typeface="+mj-cs"/>
              </a:rPr>
              <a:t>Enhance resources capabilities </a:t>
            </a:r>
            <a:r>
              <a:rPr lang="en-US" sz="1400">
                <a:latin typeface="+mj-lt"/>
                <a:ea typeface="+mj-ea"/>
                <a:cs typeface="+mj-cs"/>
              </a:rPr>
              <a:t>and develop community resource database that patients can access to address social determinants of health</a:t>
            </a:r>
          </a:p>
          <a:p>
            <a:pPr>
              <a:lnSpc>
                <a:spcPct val="150000"/>
              </a:lnSpc>
            </a:pPr>
            <a:r>
              <a:rPr lang="en-US" sz="1800" b="0" i="0" u="none" strike="noStrike">
                <a:solidFill>
                  <a:srgbClr val="000000"/>
                </a:solidFill>
                <a:effectLst/>
                <a:latin typeface="Arial" panose="020b0604020202020204" pitchFamily="34" charset="0"/>
              </a:rPr>
              <a:t>• </a:t>
            </a:r>
            <a:r>
              <a:rPr lang="en-US" sz="1400" b="1">
                <a:solidFill>
                  <a:schemeClr val="accent1"/>
                </a:solidFill>
                <a:latin typeface="+mj-lt"/>
                <a:ea typeface="+mj-ea"/>
                <a:cs typeface="+mj-cs"/>
              </a:rPr>
              <a:t>Use subject matter experts </a:t>
            </a:r>
            <a:r>
              <a:rPr lang="en-US" sz="1400">
                <a:latin typeface="+mj-lt"/>
                <a:ea typeface="+mj-ea"/>
                <a:cs typeface="+mj-cs"/>
              </a:rPr>
              <a:t>such as social workers, nurses, &amp; IT experts, alongside physicians to create a culturally sensitive and user-friendly mobile application </a:t>
            </a:r>
          </a:p>
        </p:txBody>
      </p:sp>
    </p:spTree>
  </p:cSld>
  <p:clrMapOvr>
    <a:masterClrMapping/>
  </p:clrMapOvr>
  <p:transition/>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oa6ksnVoYJ8lqUDaxydf7Q"/>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oa6ksnVoYJ8lqUDaxydf7Q"/>
</p:tagLst>
</file>

<file path=ppt/tags/tag7.xml><?xml version="1.0" encoding="utf-8"?>
<p:tagLst xmlns:p="http://schemas.openxmlformats.org/presentationml/2006/main">
  <p:tag name="AS_NET" val="4.0.30319.42000"/>
  <p:tag name="AS_OS" val="Microsoft Windows NT 6.2.9200.0"/>
  <p:tag name="AS_RELEASE_DATE" val="2017.01.13"/>
  <p:tag name="AS_TITLE" val="Aspose.Slides for .NET 4.0"/>
  <p:tag name="AS_VERSION" val="16.12.1.0"/>
</p:tagLst>
</file>

<file path=ppt/theme/theme1.xml><?xml version="1.0" encoding="utf-8"?>
<a:theme xmlns:r="http://schemas.openxmlformats.org/officeDocument/2006/relationships" xmlns:a="http://schemas.openxmlformats.org/drawingml/2006/main" name="2_16-3406 Accenture Security Template 16x9">
  <a:themeElements>
    <a:clrScheme name="Custom 16">
      <a:dk1>
        <a:srgbClr val="000000"/>
      </a:dk1>
      <a:lt1>
        <a:srgbClr val="FFFFFF"/>
      </a:lt1>
      <a:dk2>
        <a:srgbClr val="969696"/>
      </a:dk2>
      <a:lt2>
        <a:srgbClr val="5A5A5A"/>
      </a:lt2>
      <a:accent1>
        <a:srgbClr val="460073"/>
      </a:accent1>
      <a:accent2>
        <a:srgbClr val="7500C0"/>
      </a:accent2>
      <a:accent3>
        <a:srgbClr val="A100FF"/>
      </a:accent3>
      <a:accent4>
        <a:srgbClr val="5A5A5A"/>
      </a:accent4>
      <a:accent5>
        <a:srgbClr val="969696"/>
      </a:accent5>
      <a:accent6>
        <a:srgbClr val="BEBEBE"/>
      </a:accent6>
      <a:hlink>
        <a:srgbClr val="7500C0"/>
      </a:hlink>
      <a:folHlink>
        <a:srgbClr val="7500C0"/>
      </a:folHlink>
    </a:clrScheme>
    <a:fontScheme name="Graphik">
      <a:majorFont>
        <a:latin typeface="Graphik Black"/>
        <a:ea typeface="Arial"/>
        <a:cs typeface="Arial"/>
      </a:majorFont>
      <a:minorFont>
        <a:latin typeface="Graphik"/>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Lst>
    <a:ext uri="{05A4C25C-085E-4340-85A3-A5531E510DB2}">
      <thm15:themeFamily xmlns:thm15="http://schemas.microsoft.com/office/thememl/2012/main" name="17-1143 Accenture Technology Brand PPT (002) [Read-Only]" id="{3DF19122-EAFB-4EB2-A5CF-D0BBC7E1244B}" vid="{4B9FB44B-5063-4951-9157-8DCE94C9B8E9}"/>
    </a:ext>
  </a:extLst>
</a:theme>
</file>

<file path=ppt/theme/theme2.xml><?xml version="1.0" encoding="utf-8"?>
<a:theme xmlns:r="http://schemas.openxmlformats.org/officeDocument/2006/relationships" xmlns:a="http://schemas.openxmlformats.org/drawingml/2006/main" name="4_Pfizer_Master(GO)">
  <a:themeElements>
    <a:clrScheme name="Custom 3">
      <a:dk1>
        <a:srgbClr val="000000"/>
      </a:dk1>
      <a:lt1>
        <a:srgbClr val="FFFFFF"/>
      </a:lt1>
      <a:dk2>
        <a:srgbClr val="595959"/>
      </a:dk2>
      <a:lt2>
        <a:srgbClr val="D8D8D8"/>
      </a:lt2>
      <a:accent1>
        <a:srgbClr val="A000FF"/>
      </a:accent1>
      <a:accent2>
        <a:srgbClr val="7500C0"/>
      </a:accent2>
      <a:accent3>
        <a:srgbClr val="460073"/>
      </a:accent3>
      <a:accent4>
        <a:srgbClr val="004DFF"/>
      </a:accent4>
      <a:accent5>
        <a:srgbClr val="008EFF"/>
      </a:accent5>
      <a:accent6>
        <a:srgbClr val="00BAFF"/>
      </a:accent6>
      <a:hlink>
        <a:srgbClr val="2800FF"/>
      </a:hlink>
      <a:folHlink>
        <a:srgbClr val="7E00FF"/>
      </a:folHlink>
    </a:clrScheme>
    <a:fontScheme name="INTRIGO - TEST">
      <a:majorFont>
        <a:latin typeface="Graphik Black"/>
        <a:ea typeface="Arial"/>
        <a:cs typeface="Arial"/>
      </a:majorFont>
      <a:minorFont>
        <a:latin typeface="Graphik"/>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2" id="{1E38D599-50EE-4A36-8E46-59A108016C04}" vid="{2AABC2FC-491B-4B1D-AA79-A69AF944AAA0}"/>
    </a:ext>
  </a:extLst>
</a:theme>
</file>

<file path=ppt/theme/theme3.xml><?xml version="1.0" encoding="utf-8"?>
<a:theme xmlns:r="http://schemas.openxmlformats.org/officeDocument/2006/relationships" xmlns:a="http://schemas.openxmlformats.org/drawingml/2006/main" name="Pfizer content Master PW&amp;AD">
  <a:themeElements>
    <a:clrScheme name="Pfizer">
      <a:dk1>
        <a:srgbClr val="000000"/>
      </a:dk1>
      <a:lt1>
        <a:srgbClr val="FFFFFF"/>
      </a:lt1>
      <a:dk2>
        <a:srgbClr val="595959"/>
      </a:dk2>
      <a:lt2>
        <a:srgbClr val="D8D8D8"/>
      </a:lt2>
      <a:accent1>
        <a:srgbClr val="A000FF"/>
      </a:accent1>
      <a:accent2>
        <a:srgbClr val="7500C0"/>
      </a:accent2>
      <a:accent3>
        <a:srgbClr val="460073"/>
      </a:accent3>
      <a:accent4>
        <a:srgbClr val="004DFF"/>
      </a:accent4>
      <a:accent5>
        <a:srgbClr val="008EFF"/>
      </a:accent5>
      <a:accent6>
        <a:srgbClr val="00BAFF"/>
      </a:accent6>
      <a:hlink>
        <a:srgbClr val="2800FF"/>
      </a:hlink>
      <a:folHlink>
        <a:srgbClr val="7E00FF"/>
      </a:folHlink>
    </a:clrScheme>
    <a:fontScheme name="Custom 52">
      <a:majorFont>
        <a:latin typeface="Graphik Black"/>
        <a:ea typeface="Arial"/>
        <a:cs typeface="Arial"/>
      </a:majorFont>
      <a:minorFont>
        <a:latin typeface="Graphik"/>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78550A33-A983-4183-922A-851E5C78E480}"/>
    </a:ext>
  </a:extLst>
</a:theme>
</file>

<file path=ppt/theme/theme4.xml><?xml version="1.0" encoding="utf-8"?>
<a:theme xmlns:r="http://schemas.openxmlformats.org/officeDocument/2006/relationships" xmlns:a="http://schemas.openxmlformats.org/drawingml/2006/main" name="1_Pfizer content Master PW&amp;AD">
  <a:themeElements>
    <a:clrScheme name="Pfizer">
      <a:dk1>
        <a:srgbClr val="000000"/>
      </a:dk1>
      <a:lt1>
        <a:srgbClr val="FFFFFF"/>
      </a:lt1>
      <a:dk2>
        <a:srgbClr val="595959"/>
      </a:dk2>
      <a:lt2>
        <a:srgbClr val="D8D8D8"/>
      </a:lt2>
      <a:accent1>
        <a:srgbClr val="A000FF"/>
      </a:accent1>
      <a:accent2>
        <a:srgbClr val="7500C0"/>
      </a:accent2>
      <a:accent3>
        <a:srgbClr val="460073"/>
      </a:accent3>
      <a:accent4>
        <a:srgbClr val="004DFF"/>
      </a:accent4>
      <a:accent5>
        <a:srgbClr val="008EFF"/>
      </a:accent5>
      <a:accent6>
        <a:srgbClr val="00BAFF"/>
      </a:accent6>
      <a:hlink>
        <a:srgbClr val="2800FF"/>
      </a:hlink>
      <a:folHlink>
        <a:srgbClr val="7E00FF"/>
      </a:folHlink>
    </a:clrScheme>
    <a:fontScheme name="Custom 52">
      <a:majorFont>
        <a:latin typeface="Graphik Black"/>
        <a:ea typeface="Arial"/>
        <a:cs typeface="Arial"/>
      </a:majorFont>
      <a:minorFont>
        <a:latin typeface="Graphik"/>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78550A33-A983-4183-922A-851E5C78E480}"/>
    </a:ext>
  </a:extLst>
</a:theme>
</file>

<file path=ppt/theme/theme5.xml><?xml version="1.0" encoding="utf-8"?>
<a:theme xmlns:r="http://schemas.openxmlformats.org/officeDocument/2006/relationships" xmlns:a="http://schemas.openxmlformats.org/drawingml/2006/main" name="171529 AO SLIDE DESIGN PACK">
  <a:themeElements>
    <a:clrScheme name="NEW_AO_TOOLKIT">
      <a:dk1>
        <a:srgbClr val="000000"/>
      </a:dk1>
      <a:lt1>
        <a:srgbClr val="FFFFFF"/>
      </a:lt1>
      <a:dk2>
        <a:srgbClr val="919191"/>
      </a:dk2>
      <a:lt2>
        <a:srgbClr val="6C6C6C"/>
      </a:lt2>
      <a:accent1>
        <a:srgbClr val="00BAFF"/>
      </a:accent1>
      <a:accent2>
        <a:srgbClr val="00F3FF"/>
      </a:accent2>
      <a:accent3>
        <a:srgbClr val="008EFF"/>
      </a:accent3>
      <a:accent4>
        <a:srgbClr val="004DFF"/>
      </a:accent4>
      <a:accent5>
        <a:srgbClr val="2800FF"/>
      </a:accent5>
      <a:accent6>
        <a:srgbClr val="000088"/>
      </a:accent6>
      <a:hlink>
        <a:srgbClr val="7C7C7C"/>
      </a:hlink>
      <a:folHlink>
        <a:srgbClr val="A9A9A9"/>
      </a:folHlink>
    </a:clrScheme>
    <a:fontScheme name="Arial Black-Arial">
      <a:majorFont>
        <a:latin typeface="Arial Black" charset="0"/>
        <a:ea typeface="Arial"/>
        <a:cs typeface="Arial"/>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Lst>
    <a:ext uri="{05A4C25C-085E-4340-85A3-A5531E510DB2}">
      <thm15:themeFamily xmlns:thm15="http://schemas.microsoft.com/office/thememl/2012/main" name="Acc_NEW_Template16x9_080217.potx" id="{D984459F-8CEA-47B9-9CAE-35A7900C4F60}" vid="{FB3843C2-9C29-46E6-85EC-57083784382C}"/>
    </a:ext>
  </a:extLst>
</a:theme>
</file>

<file path=ppt/theme/theme6.xml><?xml version="1.0" encoding="utf-8"?>
<a:theme xmlns:r="http://schemas.openxmlformats.org/officeDocument/2006/relationships" xmlns:a="http://schemas.openxmlformats.org/drawingml/2006/main" name="Cover &amp; Dividers">
  <a:themeElements>
    <a:clrScheme name="ACN_Global">
      <a:dk1>
        <a:srgbClr val="000000"/>
      </a:dk1>
      <a:lt1>
        <a:srgbClr val="FFFFFF"/>
      </a:lt1>
      <a:dk2>
        <a:srgbClr val="595959"/>
      </a:dk2>
      <a:lt2>
        <a:srgbClr val="D8D8D8"/>
      </a:lt2>
      <a:accent1>
        <a:srgbClr val="A000FF"/>
      </a:accent1>
      <a:accent2>
        <a:srgbClr val="7500C0"/>
      </a:accent2>
      <a:accent3>
        <a:srgbClr val="460073"/>
      </a:accent3>
      <a:accent4>
        <a:srgbClr val="004DFF"/>
      </a:accent4>
      <a:accent5>
        <a:srgbClr val="008EFF"/>
      </a:accent5>
      <a:accent6>
        <a:srgbClr val="00BAFF"/>
      </a:accent6>
      <a:hlink>
        <a:srgbClr val="2800FF"/>
      </a:hlink>
      <a:folHlink>
        <a:srgbClr val="7E00FF"/>
      </a:folHlink>
    </a:clrScheme>
    <a:fontScheme name="Accenture_Graphik">
      <a:majorFont>
        <a:latin typeface="Graphik"/>
        <a:ea typeface="Arial"/>
        <a:cs typeface="Arial"/>
      </a:majorFont>
      <a:minorFont>
        <a:latin typeface="Graphik"/>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2" id="{1E38D599-50EE-4A36-8E46-59A108016C04}" vid="{2AABC2FC-491B-4B1D-AA79-A69AF944AAA0}"/>
    </a:ext>
  </a:extLst>
</a:theme>
</file>

<file path=ppt/theme/theme7.xml><?xml version="1.0" encoding="utf-8"?>
<a:theme xmlns:r="http://schemas.openxmlformats.org/officeDocument/2006/relationships" xmlns:a="http://schemas.openxmlformats.org/drawingml/2006/main" name="1_171529 AO SLIDE DESIGN PACK">
  <a:themeElements>
    <a:clrScheme name="NEW_AO_TOOLKIT">
      <a:dk1>
        <a:srgbClr val="000000"/>
      </a:dk1>
      <a:lt1>
        <a:srgbClr val="FFFFFF"/>
      </a:lt1>
      <a:dk2>
        <a:srgbClr val="919191"/>
      </a:dk2>
      <a:lt2>
        <a:srgbClr val="6C6C6C"/>
      </a:lt2>
      <a:accent1>
        <a:srgbClr val="00BAFF"/>
      </a:accent1>
      <a:accent2>
        <a:srgbClr val="00F3FF"/>
      </a:accent2>
      <a:accent3>
        <a:srgbClr val="008EFF"/>
      </a:accent3>
      <a:accent4>
        <a:srgbClr val="004DFF"/>
      </a:accent4>
      <a:accent5>
        <a:srgbClr val="2800FF"/>
      </a:accent5>
      <a:accent6>
        <a:srgbClr val="000088"/>
      </a:accent6>
      <a:hlink>
        <a:srgbClr val="7C7C7C"/>
      </a:hlink>
      <a:folHlink>
        <a:srgbClr val="A9A9A9"/>
      </a:folHlink>
    </a:clrScheme>
    <a:fontScheme name="Arial Black-Arial">
      <a:majorFont>
        <a:latin typeface="Arial Black" charset="0"/>
        <a:ea typeface="Arial"/>
        <a:cs typeface="Arial"/>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Lst>
    <a:ext uri="{05A4C25C-085E-4340-85A3-A5531E510DB2}">
      <thm15:themeFamily xmlns:thm15="http://schemas.microsoft.com/office/thememl/2012/main" name="Acc_NEW_Template16x9_080217.potx" id="{D984459F-8CEA-47B9-9CAE-35A7900C4F60}" vid="{FB3843C2-9C29-46E6-85EC-57083784382C}"/>
    </a:ext>
  </a:extLst>
</a:theme>
</file>

<file path=ppt/theme/theme8.xml><?xml version="1.0" encoding="utf-8"?>
<a:theme xmlns:r="http://schemas.openxmlformats.org/officeDocument/2006/relationships" xmlns:a="http://schemas.openxmlformats.org/drawingml/2006/main" name="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Arial"/>
        <a:cs typeface="Arial"/>
      </a:majorFont>
      <a:minorFont>
        <a:latin typeface="Graphik"/>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Lst>
    <a:ext uri="{05A4C25C-085E-4340-85A3-A5531E510DB2}">
      <thm15:themeFamily xmlns:thm15="http://schemas.microsoft.com/office/thememl/2012/main" name="Acc_TechnologyTemplate_Graphik_102220" id="{53895ED1-AA32-C643-8D40-AF2524B02901}" vid="{60D64E58-8894-1F40-B8FE-2D4DFF5D1B8A}"/>
    </a:ext>
  </a:extLst>
</a:theme>
</file>

<file path=ppt/theme/theme9.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CD3E242F8F8C4E8CFAF91FA31EE80E" ma:contentTypeVersion="12" ma:contentTypeDescription="Create a new document." ma:contentTypeScope="" ma:versionID="aa0255b002c408ff0223e3f711ec376d">
  <xsd:schema xmlns:xsd="http://www.w3.org/2001/XMLSchema" xmlns:xs="http://www.w3.org/2001/XMLSchema" xmlns:p="http://schemas.microsoft.com/office/2006/metadata/properties" xmlns:ns2="fe288501-e394-4c46-a138-a4f4a1aa4877" xmlns:ns3="545c68ba-fa8e-4be6-8fa3-e4f2c4a2c8f4" targetNamespace="http://schemas.microsoft.com/office/2006/metadata/properties" ma:root="true" ma:fieldsID="72ba4ab266baccf00b96c8a0d1ae16a2" ns2:_="" ns3:_="">
    <xsd:import namespace="fe288501-e394-4c46-a138-a4f4a1aa4877"/>
    <xsd:import namespace="545c68ba-fa8e-4be6-8fa3-e4f2c4a2c8f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288501-e394-4c46-a138-a4f4a1aa4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45c68ba-fa8e-4be6-8fa3-e4f2c4a2c8f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0ED3118-3A4F-47CF-9202-EDAD12AF8527}">
  <ds:schemaRefs>
    <ds:schemaRef ds:uri="545c68ba-fa8e-4be6-8fa3-e4f2c4a2c8f4"/>
    <ds:schemaRef ds:uri="fe288501-e394-4c46-a138-a4f4a1aa48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4135C14-1CDE-4AB6-A0FB-9D083D49A67B}">
  <ds:schemaRefs>
    <ds:schemaRef ds:uri="http://schemas.microsoft.com/sharepoint/v3/contenttype/forms"/>
  </ds:schemaRefs>
</ds:datastoreItem>
</file>

<file path=customXml/itemProps3.xml><?xml version="1.0" encoding="utf-8"?>
<ds:datastoreItem xmlns:ds="http://schemas.openxmlformats.org/officeDocument/2006/customXml" ds:itemID="{56E6BA9D-354A-43CD-8285-E4A445F08146}">
  <ds:schemaRefs>
    <ds:schemaRef ds:uri="31e7a629-e28d-41a7-aa24-fa1c8333310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vt="http://schemas.openxmlformats.org/officeDocument/2006/docPropsVTypes" xmlns="http://schemas.openxmlformats.org/officeDocument/2006/extended-properties">
  <Company/>
  <PresentationFormat>Widescreen</PresentationFormat>
  <Paragraphs>105</Paragraphs>
  <Slides>5</Slides>
  <Notes>5</Notes>
  <TotalTime>12</TotalTime>
  <HiddenSlides>0</HiddenSlides>
  <MMClips>0</MMClips>
  <ScaleCrop>0</ScaleCrop>
  <HeadingPairs>
    <vt:vector baseType="variant" size="4">
      <vt:variant>
        <vt:lpstr>Theme</vt:lpstr>
      </vt:variant>
      <vt:variant>
        <vt:i4>1</vt:i4>
      </vt:variant>
      <vt:variant>
        <vt:lpstr>Slide Titles</vt:lpstr>
      </vt:variant>
      <vt:variant>
        <vt:i4>5</vt:i4>
      </vt:variant>
    </vt:vector>
  </HeadingPairs>
  <TitlesOfParts>
    <vt:vector baseType="lpstr" size="6">
      <vt:lpstr>2_16-3406 Accenture Security Template 16x9</vt:lpstr>
      <vt:lpstr>Parenchute(Parent + Parachute)</vt:lpstr>
      <vt:lpstr>Who, Where &amp; Why....Parenchute</vt:lpstr>
      <vt:lpstr>CONCEPT STORYLINE</vt:lpstr>
      <vt:lpstr>MAXIMIZING OUR IMPACT </vt:lpstr>
      <vt:lpstr>WE BRING EVERYONE TOGETHER TO REALIZE VALUE AT SPEED</vt:lpstr>
    </vt:vector>
  </TitlesOfParts>
  <LinksUpToDate>0</LinksUpToDate>
  <SharedDoc>0</SharedDoc>
  <HyperlinksChanged>0</HyperlinksChanged>
  <Application>Aspose.Slides for .NET</Application>
  <AppVersion>16.1201</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Presentation</dc:title>
  <dc:creator>Sundaram, Ravi Kumar</dc:creator>
  <cp:lastModifiedBy>Kumar Rai, Sandeep A.</cp:lastModifiedBy>
  <cp:revision>4</cp:revision>
  <dcterms:created xsi:type="dcterms:W3CDTF">2021-01-21T10:37:50Z</dcterms:created>
  <dcterms:modified xsi:type="dcterms:W3CDTF">2021-09-27T07:46:27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6ECD3E242F8F8C4E8CFAF91FA31EE80E</vt:lpwstr>
  </property>
</Properties>
</file>